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9"/>
  </p:notesMasterIdLst>
  <p:sldIdLst>
    <p:sldId id="2134806936" r:id="rId2"/>
    <p:sldId id="2134806743" r:id="rId3"/>
    <p:sldId id="256" r:id="rId4"/>
    <p:sldId id="990" r:id="rId5"/>
    <p:sldId id="265" r:id="rId6"/>
    <p:sldId id="991" r:id="rId7"/>
    <p:sldId id="260" r:id="rId8"/>
    <p:sldId id="332" r:id="rId9"/>
    <p:sldId id="1488" r:id="rId10"/>
    <p:sldId id="262" r:id="rId11"/>
    <p:sldId id="264" r:id="rId12"/>
    <p:sldId id="287" r:id="rId13"/>
    <p:sldId id="336" r:id="rId14"/>
    <p:sldId id="392" r:id="rId15"/>
    <p:sldId id="273" r:id="rId16"/>
    <p:sldId id="310" r:id="rId17"/>
    <p:sldId id="999" r:id="rId18"/>
    <p:sldId id="334" r:id="rId19"/>
    <p:sldId id="383" r:id="rId20"/>
    <p:sldId id="294" r:id="rId21"/>
    <p:sldId id="1000" r:id="rId22"/>
    <p:sldId id="1001" r:id="rId23"/>
    <p:sldId id="292" r:id="rId24"/>
    <p:sldId id="293" r:id="rId25"/>
    <p:sldId id="290" r:id="rId26"/>
    <p:sldId id="401" r:id="rId27"/>
    <p:sldId id="402" r:id="rId28"/>
    <p:sldId id="998" r:id="rId29"/>
    <p:sldId id="403" r:id="rId30"/>
    <p:sldId id="995" r:id="rId31"/>
    <p:sldId id="996" r:id="rId32"/>
    <p:sldId id="997" r:id="rId33"/>
    <p:sldId id="342" r:id="rId34"/>
    <p:sldId id="355" r:id="rId35"/>
    <p:sldId id="324" r:id="rId36"/>
    <p:sldId id="354" r:id="rId37"/>
    <p:sldId id="994" r:id="rId3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25A3006A-6F42-BE4B-B71D-F4A4D70A1199}">
          <p14:sldIdLst>
            <p14:sldId id="2134806936"/>
            <p14:sldId id="2134806743"/>
          </p14:sldIdLst>
        </p14:section>
        <p14:section name="Shapes and Things" id="{C95A246A-6C1A-974C-8EA5-CA7C4BD15C57}">
          <p14:sldIdLst>
            <p14:sldId id="256"/>
            <p14:sldId id="990"/>
            <p14:sldId id="265"/>
            <p14:sldId id="991"/>
            <p14:sldId id="260"/>
            <p14:sldId id="332"/>
            <p14:sldId id="1488"/>
            <p14:sldId id="262"/>
            <p14:sldId id="264"/>
            <p14:sldId id="287"/>
            <p14:sldId id="336"/>
            <p14:sldId id="392"/>
            <p14:sldId id="273"/>
            <p14:sldId id="310"/>
            <p14:sldId id="999"/>
          </p14:sldIdLst>
        </p14:section>
        <p14:section name="Maps" id="{3AD860F9-501C-D64A-B07B-F0832D43EC0A}">
          <p14:sldIdLst>
            <p14:sldId id="334"/>
            <p14:sldId id="383"/>
            <p14:sldId id="294"/>
            <p14:sldId id="1000"/>
            <p14:sldId id="1001"/>
            <p14:sldId id="292"/>
            <p14:sldId id="293"/>
            <p14:sldId id="290"/>
            <p14:sldId id="401"/>
            <p14:sldId id="402"/>
            <p14:sldId id="998"/>
            <p14:sldId id="403"/>
            <p14:sldId id="995"/>
            <p14:sldId id="996"/>
            <p14:sldId id="997"/>
            <p14:sldId id="342"/>
            <p14:sldId id="355"/>
          </p14:sldIdLst>
        </p14:section>
        <p14:section name="Social Media" id="{F052E13E-4D46-C440-98FB-8C4AF5038F5C}">
          <p14:sldIdLst>
            <p14:sldId id="324"/>
            <p14:sldId id="354"/>
            <p14:sldId id="99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93856"/>
    <a:srgbClr val="C0C0C0"/>
    <a:srgbClr val="FFFFFF"/>
    <a:srgbClr val="3A4A54"/>
    <a:srgbClr val="BFC9D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5268" autoAdjust="0"/>
    <p:restoredTop sz="94568"/>
  </p:normalViewPr>
  <p:slideViewPr>
    <p:cSldViewPr snapToGrid="0" snapToObjects="1">
      <p:cViewPr>
        <p:scale>
          <a:sx n="125" d="100"/>
          <a:sy n="125" d="100"/>
        </p:scale>
        <p:origin x="1992" y="1552"/>
      </p:cViewPr>
      <p:guideLst>
        <p:guide orient="horz" pos="2160"/>
        <p:guide pos="3840"/>
      </p:guideLst>
    </p:cSldViewPr>
  </p:slideViewPr>
  <p:notesTextViewPr>
    <p:cViewPr>
      <p:scale>
        <a:sx n="100" d="100"/>
        <a:sy n="100" d="100"/>
      </p:scale>
      <p:origin x="0" y="0"/>
    </p:cViewPr>
  </p:notesTextViewPr>
  <p:sorterViewPr>
    <p:cViewPr>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2D71D61-690E-0844-8D6B-A27ED406D4B7}" type="datetimeFigureOut">
              <a:rPr lang="en-US" smtClean="0"/>
              <a:t>1/31/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4807268-3AFB-C742-9F13-CE50B98F6651}" type="slidenum">
              <a:rPr lang="en-US" smtClean="0"/>
              <a:t>‹#›</a:t>
            </a:fld>
            <a:endParaRPr lang="en-US"/>
          </a:p>
        </p:txBody>
      </p:sp>
    </p:spTree>
    <p:extLst>
      <p:ext uri="{BB962C8B-B14F-4D97-AF65-F5344CB8AC3E}">
        <p14:creationId xmlns:p14="http://schemas.microsoft.com/office/powerpoint/2010/main" val="1042149501"/>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4063" y="6350"/>
            <a:ext cx="3451226" cy="1941513"/>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09348" rtl="0" eaLnBrk="1" fontAlgn="auto" latinLnBrk="0" hangingPunct="1">
              <a:lnSpc>
                <a:spcPct val="100000"/>
              </a:lnSpc>
              <a:spcBef>
                <a:spcPts val="0"/>
              </a:spcBef>
              <a:spcAft>
                <a:spcPts val="0"/>
              </a:spcAft>
              <a:buClrTx/>
              <a:buSzTx/>
              <a:buFontTx/>
              <a:buNone/>
              <a:tabLst/>
              <a:defRPr/>
            </a:pPr>
            <a:fld id="{8E2D8A65-45B7-B64C-8943-F69E7E17808A}" type="slidenum">
              <a:rPr kumimoji="0" lang="uk-UA" sz="1100" b="0" i="0" u="none" strike="noStrike" kern="1200" cap="none" spc="0" normalizeH="0" baseline="0" noProof="0" smtClean="0">
                <a:ln>
                  <a:noFill/>
                </a:ln>
                <a:solidFill>
                  <a:prstClr val="black"/>
                </a:solidFill>
                <a:effectLst/>
                <a:uLnTx/>
                <a:uFillTx/>
                <a:latin typeface="Tw Cen MT" panose="020B0602020104020603" pitchFamily="34" charset="0"/>
                <a:ea typeface="+mn-ea"/>
                <a:cs typeface="+mn-cs"/>
              </a:rPr>
              <a:pPr marL="0" marR="0" lvl="0" indent="0" algn="r" defTabSz="909348" rtl="0" eaLnBrk="1" fontAlgn="auto" latinLnBrk="0" hangingPunct="1">
                <a:lnSpc>
                  <a:spcPct val="100000"/>
                </a:lnSpc>
                <a:spcBef>
                  <a:spcPts val="0"/>
                </a:spcBef>
                <a:spcAft>
                  <a:spcPts val="0"/>
                </a:spcAft>
                <a:buClrTx/>
                <a:buSzTx/>
                <a:buFontTx/>
                <a:buNone/>
                <a:tabLst/>
                <a:defRPr/>
              </a:pPr>
              <a:t>1</a:t>
            </a:fld>
            <a:endParaRPr kumimoji="0" lang="uk-UA" sz="1100" b="0" i="0" u="none" strike="noStrike" kern="1200" cap="none" spc="0" normalizeH="0" baseline="0" noProof="0">
              <a:ln>
                <a:noFill/>
              </a:ln>
              <a:solidFill>
                <a:prstClr val="black"/>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3777352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54063" y="6350"/>
            <a:ext cx="3451226" cy="194151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09348" rtl="0" eaLnBrk="1" fontAlgn="auto" latinLnBrk="0" hangingPunct="1">
              <a:lnSpc>
                <a:spcPct val="100000"/>
              </a:lnSpc>
              <a:spcBef>
                <a:spcPts val="0"/>
              </a:spcBef>
              <a:spcAft>
                <a:spcPts val="0"/>
              </a:spcAft>
              <a:buClrTx/>
              <a:buSzTx/>
              <a:buFontTx/>
              <a:buNone/>
              <a:tabLst/>
              <a:defRPr/>
            </a:pPr>
            <a:fld id="{8E2D8A65-45B7-B64C-8943-F69E7E17808A}" type="slidenum">
              <a:rPr kumimoji="0" lang="uk-UA"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09348" rtl="0" eaLnBrk="1" fontAlgn="auto" latinLnBrk="0" hangingPunct="1">
                <a:lnSpc>
                  <a:spcPct val="100000"/>
                </a:lnSpc>
                <a:spcBef>
                  <a:spcPts val="0"/>
                </a:spcBef>
                <a:spcAft>
                  <a:spcPts val="0"/>
                </a:spcAft>
                <a:buClrTx/>
                <a:buSzTx/>
                <a:buFontTx/>
                <a:buNone/>
                <a:tabLst/>
                <a:defRPr/>
              </a:pPr>
              <a:t>2</a:t>
            </a:fld>
            <a:endParaRPr kumimoji="0" lang="uk-UA" sz="11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390587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807268-3AFB-C742-9F13-CE50B98F6651}" type="slidenum">
              <a:rPr lang="en-US" smtClean="0"/>
              <a:t>5</a:t>
            </a:fld>
            <a:endParaRPr lang="en-US"/>
          </a:p>
        </p:txBody>
      </p:sp>
    </p:spTree>
    <p:extLst>
      <p:ext uri="{BB962C8B-B14F-4D97-AF65-F5344CB8AC3E}">
        <p14:creationId xmlns:p14="http://schemas.microsoft.com/office/powerpoint/2010/main" val="17433887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4807268-3AFB-C742-9F13-CE50B98F6651}" type="slidenum">
              <a:rPr lang="en-US" smtClean="0"/>
              <a:t>6</a:t>
            </a:fld>
            <a:endParaRPr lang="en-US"/>
          </a:p>
        </p:txBody>
      </p:sp>
    </p:spTree>
    <p:extLst>
      <p:ext uri="{BB962C8B-B14F-4D97-AF65-F5344CB8AC3E}">
        <p14:creationId xmlns:p14="http://schemas.microsoft.com/office/powerpoint/2010/main" val="1562649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uzzle pieces, chain, supply chain</a:t>
            </a:r>
          </a:p>
        </p:txBody>
      </p:sp>
      <p:sp>
        <p:nvSpPr>
          <p:cNvPr id="4" name="Slide Number Placeholder 3"/>
          <p:cNvSpPr>
            <a:spLocks noGrp="1"/>
          </p:cNvSpPr>
          <p:nvPr>
            <p:ph type="sldNum" sz="quarter" idx="10"/>
          </p:nvPr>
        </p:nvSpPr>
        <p:spPr/>
        <p:txBody>
          <a:bodyPr/>
          <a:lstStyle/>
          <a:p>
            <a:fld id="{34807268-3AFB-C742-9F13-CE50B98F6651}" type="slidenum">
              <a:rPr lang="en-US" smtClean="0"/>
              <a:t>13</a:t>
            </a:fld>
            <a:endParaRPr lang="en-US"/>
          </a:p>
        </p:txBody>
      </p:sp>
    </p:spTree>
    <p:extLst>
      <p:ext uri="{BB962C8B-B14F-4D97-AF65-F5344CB8AC3E}">
        <p14:creationId xmlns:p14="http://schemas.microsoft.com/office/powerpoint/2010/main" val="18150514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ptop</a:t>
            </a:r>
          </a:p>
        </p:txBody>
      </p:sp>
      <p:sp>
        <p:nvSpPr>
          <p:cNvPr id="4" name="Slide Number Placeholder 3"/>
          <p:cNvSpPr>
            <a:spLocks noGrp="1"/>
          </p:cNvSpPr>
          <p:nvPr>
            <p:ph type="sldNum" sz="quarter" idx="10"/>
          </p:nvPr>
        </p:nvSpPr>
        <p:spPr/>
        <p:txBody>
          <a:bodyPr/>
          <a:lstStyle/>
          <a:p>
            <a:fld id="{34807268-3AFB-C742-9F13-CE50B98F6651}" type="slidenum">
              <a:rPr lang="en-US" smtClean="0"/>
              <a:t>16</a:t>
            </a:fld>
            <a:endParaRPr lang="en-US"/>
          </a:p>
        </p:txBody>
      </p:sp>
    </p:spTree>
    <p:extLst>
      <p:ext uri="{BB962C8B-B14F-4D97-AF65-F5344CB8AC3E}">
        <p14:creationId xmlns:p14="http://schemas.microsoft.com/office/powerpoint/2010/main" val="137398002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defRPr b="0" i="0"/>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04E41BB-2B0D-434D-AD49-81A54DA89A9E}" type="datetimeFigureOut">
              <a:rPr lang="en-US" smtClean="0"/>
              <a:t>1/31/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12B74A-9F41-B04B-AFB4-AA836DB26C5E}" type="slidenum">
              <a:rPr lang="en-US" smtClean="0"/>
              <a:t>‹#›</a:t>
            </a:fld>
            <a:endParaRPr lang="en-US"/>
          </a:p>
        </p:txBody>
      </p:sp>
    </p:spTree>
    <p:extLst>
      <p:ext uri="{BB962C8B-B14F-4D97-AF65-F5344CB8AC3E}">
        <p14:creationId xmlns:p14="http://schemas.microsoft.com/office/powerpoint/2010/main" val="2596022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4E41BB-2B0D-434D-AD49-81A54DA89A9E}" type="datetimeFigureOut">
              <a:rPr lang="en-US" smtClean="0"/>
              <a:t>1/31/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12B74A-9F41-B04B-AFB4-AA836DB26C5E}" type="slidenum">
              <a:rPr lang="en-US" smtClean="0"/>
              <a:t>‹#›</a:t>
            </a:fld>
            <a:endParaRPr lang="en-US"/>
          </a:p>
        </p:txBody>
      </p:sp>
    </p:spTree>
    <p:extLst>
      <p:ext uri="{BB962C8B-B14F-4D97-AF65-F5344CB8AC3E}">
        <p14:creationId xmlns:p14="http://schemas.microsoft.com/office/powerpoint/2010/main" val="32970223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0" i="0"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04E41BB-2B0D-434D-AD49-81A54DA89A9E}" type="datetimeFigureOut">
              <a:rPr lang="en-US" smtClean="0"/>
              <a:t>1/31/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A12B74A-9F41-B04B-AFB4-AA836DB26C5E}" type="slidenum">
              <a:rPr lang="en-US" smtClean="0"/>
              <a:t>‹#›</a:t>
            </a:fld>
            <a:endParaRPr lang="en-US"/>
          </a:p>
        </p:txBody>
      </p:sp>
    </p:spTree>
    <p:extLst>
      <p:ext uri="{BB962C8B-B14F-4D97-AF65-F5344CB8AC3E}">
        <p14:creationId xmlns:p14="http://schemas.microsoft.com/office/powerpoint/2010/main" val="1508223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vl1pPr>
          </a:lstStyle>
          <a:p>
            <a:r>
              <a:rPr lang="en-US" dirty="0"/>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04E41BB-2B0D-434D-AD49-81A54DA89A9E}" type="datetimeFigureOut">
              <a:rPr lang="en-US" smtClean="0"/>
              <a:t>1/31/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A12B74A-9F41-B04B-AFB4-AA836DB26C5E}" type="slidenum">
              <a:rPr lang="en-US" smtClean="0"/>
              <a:t>‹#›</a:t>
            </a:fld>
            <a:endParaRPr lang="en-US"/>
          </a:p>
        </p:txBody>
      </p:sp>
    </p:spTree>
    <p:extLst>
      <p:ext uri="{BB962C8B-B14F-4D97-AF65-F5344CB8AC3E}">
        <p14:creationId xmlns:p14="http://schemas.microsoft.com/office/powerpoint/2010/main" val="9981068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vl1pPr>
          </a:lstStyle>
          <a:p>
            <a:r>
              <a:rPr lang="en-US" dirty="0"/>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04E41BB-2B0D-434D-AD49-81A54DA89A9E}" type="datetimeFigureOut">
              <a:rPr lang="en-US" smtClean="0"/>
              <a:t>1/31/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A12B74A-9F41-B04B-AFB4-AA836DB26C5E}" type="slidenum">
              <a:rPr lang="en-US" smtClean="0"/>
              <a:t>‹#›</a:t>
            </a:fld>
            <a:endParaRPr lang="en-US"/>
          </a:p>
        </p:txBody>
      </p:sp>
    </p:spTree>
    <p:extLst>
      <p:ext uri="{BB962C8B-B14F-4D97-AF65-F5344CB8AC3E}">
        <p14:creationId xmlns:p14="http://schemas.microsoft.com/office/powerpoint/2010/main" val="1128347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chorCtr="0">
            <a:noAutofit/>
          </a:bodyPr>
          <a:lstStyle>
            <a:lvl1pPr algn="l">
              <a:defRPr b="0" i="0"/>
            </a:lvl1pPr>
          </a:lstStyle>
          <a:p>
            <a:r>
              <a:rPr lang="en-US" dirty="0"/>
              <a:t>Click to edit Master title style</a:t>
            </a:r>
          </a:p>
        </p:txBody>
      </p:sp>
    </p:spTree>
    <p:extLst>
      <p:ext uri="{BB962C8B-B14F-4D97-AF65-F5344CB8AC3E}">
        <p14:creationId xmlns:p14="http://schemas.microsoft.com/office/powerpoint/2010/main" val="4176978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04E41BB-2B0D-434D-AD49-81A54DA89A9E}" type="datetimeFigureOut">
              <a:rPr lang="en-US" smtClean="0"/>
              <a:t>1/31/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A12B74A-9F41-B04B-AFB4-AA836DB26C5E}" type="slidenum">
              <a:rPr lang="en-US" smtClean="0"/>
              <a:t>‹#›</a:t>
            </a:fld>
            <a:endParaRPr lang="en-US"/>
          </a:p>
        </p:txBody>
      </p:sp>
    </p:spTree>
    <p:extLst>
      <p:ext uri="{BB962C8B-B14F-4D97-AF65-F5344CB8AC3E}">
        <p14:creationId xmlns:p14="http://schemas.microsoft.com/office/powerpoint/2010/main" val="42701360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06404" y="274639"/>
            <a:ext cx="10972800" cy="419629"/>
          </a:xfrm>
          <a:prstGeom prst="rect">
            <a:avLst/>
          </a:prstGeom>
        </p:spPr>
        <p:txBody>
          <a:bodyPr vert="horz" lIns="91440" tIns="45720" rIns="91440" bIns="45720" rtlCol="0" anchor="ctr">
            <a:normAutofit/>
          </a:bodyPr>
          <a:lstStyle/>
          <a:p>
            <a:pPr lvl="0" algn="l"/>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b="0" i="0">
                <a:solidFill>
                  <a:schemeClr val="tx1">
                    <a:tint val="75000"/>
                  </a:schemeClr>
                </a:solidFill>
                <a:latin typeface="Tw Cen MT Regular"/>
              </a:defRPr>
            </a:lvl1pPr>
          </a:lstStyle>
          <a:p>
            <a:fld id="{C04E41BB-2B0D-434D-AD49-81A54DA89A9E}" type="datetimeFigureOut">
              <a:rPr lang="en-US" smtClean="0"/>
              <a:pPr/>
              <a:t>1/31/22</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b="0" i="0">
                <a:solidFill>
                  <a:schemeClr val="tx1">
                    <a:tint val="75000"/>
                  </a:schemeClr>
                </a:solidFill>
                <a:latin typeface="Tw Cen MT Regular"/>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b="0" i="0">
                <a:solidFill>
                  <a:schemeClr val="tx1">
                    <a:tint val="75000"/>
                  </a:schemeClr>
                </a:solidFill>
                <a:latin typeface="Tw Cen MT Regular"/>
              </a:defRPr>
            </a:lvl1pPr>
          </a:lstStyle>
          <a:p>
            <a:fld id="{4A12B74A-9F41-B04B-AFB4-AA836DB26C5E}" type="slidenum">
              <a:rPr lang="en-US" smtClean="0"/>
              <a:pPr/>
              <a:t>‹#›</a:t>
            </a:fld>
            <a:endParaRPr lang="en-US" dirty="0"/>
          </a:p>
        </p:txBody>
      </p:sp>
    </p:spTree>
    <p:extLst>
      <p:ext uri="{BB962C8B-B14F-4D97-AF65-F5344CB8AC3E}">
        <p14:creationId xmlns:p14="http://schemas.microsoft.com/office/powerpoint/2010/main" val="100392695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txStyles>
    <p:titleStyle>
      <a:lvl1pPr algn="ctr" defTabSz="457200" rtl="0" eaLnBrk="1" latinLnBrk="0" hangingPunct="1">
        <a:spcBef>
          <a:spcPct val="0"/>
        </a:spcBef>
        <a:buNone/>
        <a:defRPr lang="en-US" sz="2000" b="0" i="0" kern="1200">
          <a:solidFill>
            <a:srgbClr val="7F7F7F"/>
          </a:solidFill>
          <a:latin typeface="Tw Cen MT Regular"/>
          <a:ea typeface="+mj-ea"/>
          <a:cs typeface="Gill Sans"/>
        </a:defRPr>
      </a:lvl1pPr>
    </p:titleStyle>
    <p:bodyStyle>
      <a:lvl1pPr marL="342900" indent="-342900" algn="l" defTabSz="457200" rtl="0" eaLnBrk="1" latinLnBrk="0" hangingPunct="1">
        <a:spcBef>
          <a:spcPct val="20000"/>
        </a:spcBef>
        <a:buFont typeface="Arial"/>
        <a:buChar char="•"/>
        <a:defRPr sz="3200" b="0" i="0" kern="1200">
          <a:solidFill>
            <a:schemeClr val="tx1"/>
          </a:solidFill>
          <a:latin typeface="Tw Cen MT Regular"/>
          <a:ea typeface="+mn-ea"/>
          <a:cs typeface="+mn-cs"/>
        </a:defRPr>
      </a:lvl1pPr>
      <a:lvl2pPr marL="742950" indent="-285750" algn="l" defTabSz="457200" rtl="0" eaLnBrk="1" latinLnBrk="0" hangingPunct="1">
        <a:spcBef>
          <a:spcPct val="20000"/>
        </a:spcBef>
        <a:buFont typeface="Arial"/>
        <a:buChar char="–"/>
        <a:defRPr sz="2800" b="0" i="0" kern="1200">
          <a:solidFill>
            <a:schemeClr val="tx1"/>
          </a:solidFill>
          <a:latin typeface="Tw Cen MT Regular"/>
          <a:ea typeface="+mn-ea"/>
          <a:cs typeface="+mn-cs"/>
        </a:defRPr>
      </a:lvl2pPr>
      <a:lvl3pPr marL="1143000" indent="-228600" algn="l" defTabSz="457200" rtl="0" eaLnBrk="1" latinLnBrk="0" hangingPunct="1">
        <a:spcBef>
          <a:spcPct val="20000"/>
        </a:spcBef>
        <a:buFont typeface="Arial"/>
        <a:buChar char="•"/>
        <a:defRPr sz="2400" b="0" i="0" kern="1200">
          <a:solidFill>
            <a:schemeClr val="tx1"/>
          </a:solidFill>
          <a:latin typeface="Tw Cen MT Regular"/>
          <a:ea typeface="+mn-ea"/>
          <a:cs typeface="+mn-cs"/>
        </a:defRPr>
      </a:lvl3pPr>
      <a:lvl4pPr marL="1600200" indent="-228600" algn="l" defTabSz="457200" rtl="0" eaLnBrk="1" latinLnBrk="0" hangingPunct="1">
        <a:spcBef>
          <a:spcPct val="20000"/>
        </a:spcBef>
        <a:buFont typeface="Arial"/>
        <a:buChar char="–"/>
        <a:defRPr sz="2000" b="0" i="0" kern="1200">
          <a:solidFill>
            <a:schemeClr val="tx1"/>
          </a:solidFill>
          <a:latin typeface="Tw Cen MT Regular"/>
          <a:ea typeface="+mn-ea"/>
          <a:cs typeface="+mn-cs"/>
        </a:defRPr>
      </a:lvl4pPr>
      <a:lvl5pPr marL="2057400" indent="-228600" algn="l" defTabSz="457200" rtl="0" eaLnBrk="1" latinLnBrk="0" hangingPunct="1">
        <a:spcBef>
          <a:spcPct val="20000"/>
        </a:spcBef>
        <a:buFont typeface="Arial"/>
        <a:buChar char="»"/>
        <a:defRPr sz="2000" b="0" i="0" kern="1200">
          <a:solidFill>
            <a:schemeClr val="tx1"/>
          </a:solidFill>
          <a:latin typeface="Tw Cen MT Regular"/>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notesSlide" Target="../notesSlides/notesSlide1.xml"/><Relationship Id="rId7" Type="http://schemas.openxmlformats.org/officeDocument/2006/relationships/image" Target="../media/image3.png"/><Relationship Id="rId12" Type="http://schemas.openxmlformats.org/officeDocument/2006/relationships/image" Target="../media/image8.sv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hyperlink" Target="MediabrandsStoryLoop.pptx" TargetMode="External"/><Relationship Id="rId11" Type="http://schemas.openxmlformats.org/officeDocument/2006/relationships/image" Target="../media/image7.png"/><Relationship Id="rId5" Type="http://schemas.openxmlformats.org/officeDocument/2006/relationships/image" Target="../media/image2.svg"/><Relationship Id="rId10" Type="http://schemas.openxmlformats.org/officeDocument/2006/relationships/image" Target="../media/image6.svg"/><Relationship Id="rId4" Type="http://schemas.openxmlformats.org/officeDocument/2006/relationships/image" Target="../media/image1.png"/><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5.tiff"/><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1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6" Type="http://schemas.openxmlformats.org/officeDocument/2006/relationships/tags" Target="../tags/tag28.xml"/><Relationship Id="rId21" Type="http://schemas.openxmlformats.org/officeDocument/2006/relationships/tags" Target="../tags/tag23.xml"/><Relationship Id="rId42" Type="http://schemas.openxmlformats.org/officeDocument/2006/relationships/tags" Target="../tags/tag44.xml"/><Relationship Id="rId47" Type="http://schemas.openxmlformats.org/officeDocument/2006/relationships/tags" Target="../tags/tag49.xml"/><Relationship Id="rId63" Type="http://schemas.openxmlformats.org/officeDocument/2006/relationships/tags" Target="../tags/tag65.xml"/><Relationship Id="rId68" Type="http://schemas.openxmlformats.org/officeDocument/2006/relationships/tags" Target="../tags/tag70.xml"/><Relationship Id="rId7" Type="http://schemas.openxmlformats.org/officeDocument/2006/relationships/tags" Target="../tags/tag9.xml"/><Relationship Id="rId2" Type="http://schemas.openxmlformats.org/officeDocument/2006/relationships/tags" Target="../tags/tag4.xml"/><Relationship Id="rId16" Type="http://schemas.openxmlformats.org/officeDocument/2006/relationships/tags" Target="../tags/tag18.xml"/><Relationship Id="rId29" Type="http://schemas.openxmlformats.org/officeDocument/2006/relationships/tags" Target="../tags/tag31.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tags" Target="../tags/tag34.xml"/><Relationship Id="rId37" Type="http://schemas.openxmlformats.org/officeDocument/2006/relationships/tags" Target="../tags/tag39.xml"/><Relationship Id="rId40" Type="http://schemas.openxmlformats.org/officeDocument/2006/relationships/tags" Target="../tags/tag42.xml"/><Relationship Id="rId45" Type="http://schemas.openxmlformats.org/officeDocument/2006/relationships/tags" Target="../tags/tag47.xml"/><Relationship Id="rId53" Type="http://schemas.openxmlformats.org/officeDocument/2006/relationships/tags" Target="../tags/tag55.xml"/><Relationship Id="rId58" Type="http://schemas.openxmlformats.org/officeDocument/2006/relationships/tags" Target="../tags/tag60.xml"/><Relationship Id="rId66" Type="http://schemas.openxmlformats.org/officeDocument/2006/relationships/tags" Target="../tags/tag68.xml"/><Relationship Id="rId5" Type="http://schemas.openxmlformats.org/officeDocument/2006/relationships/tags" Target="../tags/tag7.xml"/><Relationship Id="rId61" Type="http://schemas.openxmlformats.org/officeDocument/2006/relationships/tags" Target="../tags/tag63.xml"/><Relationship Id="rId19" Type="http://schemas.openxmlformats.org/officeDocument/2006/relationships/tags" Target="../tags/tag2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tags" Target="../tags/tag37.xml"/><Relationship Id="rId43" Type="http://schemas.openxmlformats.org/officeDocument/2006/relationships/tags" Target="../tags/tag45.xml"/><Relationship Id="rId48" Type="http://schemas.openxmlformats.org/officeDocument/2006/relationships/tags" Target="../tags/tag50.xml"/><Relationship Id="rId56" Type="http://schemas.openxmlformats.org/officeDocument/2006/relationships/tags" Target="../tags/tag58.xml"/><Relationship Id="rId64" Type="http://schemas.openxmlformats.org/officeDocument/2006/relationships/tags" Target="../tags/tag66.xml"/><Relationship Id="rId69" Type="http://schemas.openxmlformats.org/officeDocument/2006/relationships/tags" Target="../tags/tag71.xml"/><Relationship Id="rId8" Type="http://schemas.openxmlformats.org/officeDocument/2006/relationships/tags" Target="../tags/tag10.xml"/><Relationship Id="rId51" Type="http://schemas.openxmlformats.org/officeDocument/2006/relationships/tags" Target="../tags/tag53.xml"/><Relationship Id="rId3" Type="http://schemas.openxmlformats.org/officeDocument/2006/relationships/tags" Target="../tags/tag5.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tags" Target="../tags/tag35.xml"/><Relationship Id="rId38" Type="http://schemas.openxmlformats.org/officeDocument/2006/relationships/tags" Target="../tags/tag40.xml"/><Relationship Id="rId46" Type="http://schemas.openxmlformats.org/officeDocument/2006/relationships/tags" Target="../tags/tag48.xml"/><Relationship Id="rId59" Type="http://schemas.openxmlformats.org/officeDocument/2006/relationships/tags" Target="../tags/tag61.xml"/><Relationship Id="rId67" Type="http://schemas.openxmlformats.org/officeDocument/2006/relationships/tags" Target="../tags/tag69.xml"/><Relationship Id="rId20" Type="http://schemas.openxmlformats.org/officeDocument/2006/relationships/tags" Target="../tags/tag22.xml"/><Relationship Id="rId41" Type="http://schemas.openxmlformats.org/officeDocument/2006/relationships/tags" Target="../tags/tag43.xml"/><Relationship Id="rId54" Type="http://schemas.openxmlformats.org/officeDocument/2006/relationships/tags" Target="../tags/tag56.xml"/><Relationship Id="rId62" Type="http://schemas.openxmlformats.org/officeDocument/2006/relationships/tags" Target="../tags/tag64.xml"/><Relationship Id="rId70"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tags" Target="../tags/tag8.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36" Type="http://schemas.openxmlformats.org/officeDocument/2006/relationships/tags" Target="../tags/tag38.xml"/><Relationship Id="rId49" Type="http://schemas.openxmlformats.org/officeDocument/2006/relationships/tags" Target="../tags/tag51.xml"/><Relationship Id="rId57" Type="http://schemas.openxmlformats.org/officeDocument/2006/relationships/tags" Target="../tags/tag59.xml"/><Relationship Id="rId10" Type="http://schemas.openxmlformats.org/officeDocument/2006/relationships/tags" Target="../tags/tag12.xml"/><Relationship Id="rId31" Type="http://schemas.openxmlformats.org/officeDocument/2006/relationships/tags" Target="../tags/tag33.xml"/><Relationship Id="rId44" Type="http://schemas.openxmlformats.org/officeDocument/2006/relationships/tags" Target="../tags/tag46.xml"/><Relationship Id="rId52" Type="http://schemas.openxmlformats.org/officeDocument/2006/relationships/tags" Target="../tags/tag54.xml"/><Relationship Id="rId60" Type="http://schemas.openxmlformats.org/officeDocument/2006/relationships/tags" Target="../tags/tag62.xml"/><Relationship Id="rId65" Type="http://schemas.openxmlformats.org/officeDocument/2006/relationships/tags" Target="../tags/tag67.xml"/><Relationship Id="rId4" Type="http://schemas.openxmlformats.org/officeDocument/2006/relationships/tags" Target="../tags/tag6.xml"/><Relationship Id="rId9" Type="http://schemas.openxmlformats.org/officeDocument/2006/relationships/tags" Target="../tags/tag11.xml"/><Relationship Id="rId13" Type="http://schemas.openxmlformats.org/officeDocument/2006/relationships/tags" Target="../tags/tag15.xml"/><Relationship Id="rId18" Type="http://schemas.openxmlformats.org/officeDocument/2006/relationships/tags" Target="../tags/tag20.xml"/><Relationship Id="rId39" Type="http://schemas.openxmlformats.org/officeDocument/2006/relationships/tags" Target="../tags/tag41.xml"/><Relationship Id="rId34" Type="http://schemas.openxmlformats.org/officeDocument/2006/relationships/tags" Target="../tags/tag36.xml"/><Relationship Id="rId50" Type="http://schemas.openxmlformats.org/officeDocument/2006/relationships/tags" Target="../tags/tag52.xml"/><Relationship Id="rId55" Type="http://schemas.openxmlformats.org/officeDocument/2006/relationships/tags" Target="../tags/tag5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18" Type="http://schemas.openxmlformats.org/officeDocument/2006/relationships/image" Target="../media/image46.png"/><Relationship Id="rId26" Type="http://schemas.openxmlformats.org/officeDocument/2006/relationships/image" Target="../media/image54.png"/><Relationship Id="rId3" Type="http://schemas.openxmlformats.org/officeDocument/2006/relationships/image" Target="../media/image31.svg"/><Relationship Id="rId21" Type="http://schemas.openxmlformats.org/officeDocument/2006/relationships/image" Target="../media/image49.svg"/><Relationship Id="rId7" Type="http://schemas.openxmlformats.org/officeDocument/2006/relationships/image" Target="../media/image35.svg"/><Relationship Id="rId12" Type="http://schemas.openxmlformats.org/officeDocument/2006/relationships/image" Target="../media/image40.png"/><Relationship Id="rId17" Type="http://schemas.openxmlformats.org/officeDocument/2006/relationships/image" Target="../media/image45.svg"/><Relationship Id="rId25" Type="http://schemas.openxmlformats.org/officeDocument/2006/relationships/image" Target="../media/image53.svg"/><Relationship Id="rId2" Type="http://schemas.openxmlformats.org/officeDocument/2006/relationships/image" Target="../media/image30.png"/><Relationship Id="rId16" Type="http://schemas.openxmlformats.org/officeDocument/2006/relationships/image" Target="../media/image44.png"/><Relationship Id="rId20" Type="http://schemas.openxmlformats.org/officeDocument/2006/relationships/image" Target="../media/image48.png"/><Relationship Id="rId29" Type="http://schemas.openxmlformats.org/officeDocument/2006/relationships/image" Target="../media/image57.svg"/><Relationship Id="rId1" Type="http://schemas.openxmlformats.org/officeDocument/2006/relationships/slideLayout" Target="../slideLayouts/slideLayout6.xml"/><Relationship Id="rId6" Type="http://schemas.openxmlformats.org/officeDocument/2006/relationships/image" Target="../media/image34.png"/><Relationship Id="rId11" Type="http://schemas.openxmlformats.org/officeDocument/2006/relationships/image" Target="../media/image39.svg"/><Relationship Id="rId24" Type="http://schemas.openxmlformats.org/officeDocument/2006/relationships/image" Target="../media/image52.png"/><Relationship Id="rId5" Type="http://schemas.openxmlformats.org/officeDocument/2006/relationships/image" Target="../media/image33.svg"/><Relationship Id="rId15" Type="http://schemas.openxmlformats.org/officeDocument/2006/relationships/image" Target="../media/image43.svg"/><Relationship Id="rId23" Type="http://schemas.openxmlformats.org/officeDocument/2006/relationships/image" Target="../media/image51.svg"/><Relationship Id="rId28" Type="http://schemas.openxmlformats.org/officeDocument/2006/relationships/image" Target="../media/image56.png"/><Relationship Id="rId10" Type="http://schemas.openxmlformats.org/officeDocument/2006/relationships/image" Target="../media/image38.png"/><Relationship Id="rId19" Type="http://schemas.openxmlformats.org/officeDocument/2006/relationships/image" Target="../media/image47.svg"/><Relationship Id="rId4" Type="http://schemas.openxmlformats.org/officeDocument/2006/relationships/image" Target="../media/image32.png"/><Relationship Id="rId9" Type="http://schemas.openxmlformats.org/officeDocument/2006/relationships/image" Target="../media/image37.svg"/><Relationship Id="rId14" Type="http://schemas.openxmlformats.org/officeDocument/2006/relationships/image" Target="../media/image42.png"/><Relationship Id="rId22" Type="http://schemas.openxmlformats.org/officeDocument/2006/relationships/image" Target="../media/image50.png"/><Relationship Id="rId27" Type="http://schemas.openxmlformats.org/officeDocument/2006/relationships/image" Target="../media/image55.sv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 name="Freeform 542">
            <a:extLst>
              <a:ext uri="{FF2B5EF4-FFF2-40B4-BE49-F238E27FC236}">
                <a16:creationId xmlns:a16="http://schemas.microsoft.com/office/drawing/2014/main" id="{5B1CC9E2-7AB5-7148-AEEE-5A640E2DB4E8}"/>
              </a:ext>
            </a:extLst>
          </p:cNvPr>
          <p:cNvSpPr/>
          <p:nvPr/>
        </p:nvSpPr>
        <p:spPr>
          <a:xfrm>
            <a:off x="1588" y="0"/>
            <a:ext cx="12209063" cy="6858000"/>
          </a:xfrm>
          <a:custGeom>
            <a:avLst/>
            <a:gdLst>
              <a:gd name="connsiteX0" fmla="*/ 0 w 2731389"/>
              <a:gd name="connsiteY0" fmla="*/ 0 h 852599"/>
              <a:gd name="connsiteX1" fmla="*/ 2731389 w 2731389"/>
              <a:gd name="connsiteY1" fmla="*/ 0 h 852599"/>
              <a:gd name="connsiteX2" fmla="*/ 2731389 w 2731389"/>
              <a:gd name="connsiteY2" fmla="*/ 852599 h 852599"/>
              <a:gd name="connsiteX3" fmla="*/ 0 w 2731389"/>
              <a:gd name="connsiteY3" fmla="*/ 852599 h 852599"/>
            </a:gdLst>
            <a:ahLst/>
            <a:cxnLst>
              <a:cxn ang="0">
                <a:pos x="connsiteX0" y="connsiteY0"/>
              </a:cxn>
              <a:cxn ang="0">
                <a:pos x="connsiteX1" y="connsiteY1"/>
              </a:cxn>
              <a:cxn ang="0">
                <a:pos x="connsiteX2" y="connsiteY2"/>
              </a:cxn>
              <a:cxn ang="0">
                <a:pos x="connsiteX3" y="connsiteY3"/>
              </a:cxn>
            </a:cxnLst>
            <a:rect l="l" t="t" r="r" b="b"/>
            <a:pathLst>
              <a:path w="2731389" h="852599">
                <a:moveTo>
                  <a:pt x="0" y="0"/>
                </a:moveTo>
                <a:lnTo>
                  <a:pt x="2731389" y="0"/>
                </a:lnTo>
                <a:lnTo>
                  <a:pt x="2731389" y="852599"/>
                </a:lnTo>
                <a:lnTo>
                  <a:pt x="0" y="852599"/>
                </a:lnTo>
                <a:close/>
              </a:path>
            </a:pathLst>
          </a:custGeom>
          <a:solidFill>
            <a:srgbClr val="FFCB09"/>
          </a:solidFill>
          <a:ln w="4266" cap="flat">
            <a:noFill/>
            <a:prstDash val="solid"/>
            <a:miter/>
          </a:ln>
        </p:spPr>
        <p:txBody>
          <a:bodyPr rtlCol="0" anchor="ctr"/>
          <a:lstStyle/>
          <a:p>
            <a:endParaRPr lang="en-US" dirty="0"/>
          </a:p>
        </p:txBody>
      </p:sp>
      <p:grpSp>
        <p:nvGrpSpPr>
          <p:cNvPr id="37" name="Group 36">
            <a:extLst>
              <a:ext uri="{FF2B5EF4-FFF2-40B4-BE49-F238E27FC236}">
                <a16:creationId xmlns:a16="http://schemas.microsoft.com/office/drawing/2014/main" id="{3589AEE1-CC70-4E48-9A9C-9A9076B58CB2}"/>
              </a:ext>
            </a:extLst>
          </p:cNvPr>
          <p:cNvGrpSpPr/>
          <p:nvPr/>
        </p:nvGrpSpPr>
        <p:grpSpPr>
          <a:xfrm>
            <a:off x="1704136" y="5798525"/>
            <a:ext cx="2906685" cy="567770"/>
            <a:chOff x="316009" y="6036133"/>
            <a:chExt cx="2987184" cy="583494"/>
          </a:xfrm>
          <a:solidFill>
            <a:srgbClr val="2A3856"/>
          </a:solidFill>
        </p:grpSpPr>
        <p:pic>
          <p:nvPicPr>
            <p:cNvPr id="54" name="Graphic 53">
              <a:extLst>
                <a:ext uri="{FF2B5EF4-FFF2-40B4-BE49-F238E27FC236}">
                  <a16:creationId xmlns:a16="http://schemas.microsoft.com/office/drawing/2014/main" id="{C16D6659-9EA2-1448-96AF-E65E5AD1BBF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976073" y="6036133"/>
              <a:ext cx="1327120" cy="583494"/>
            </a:xfrm>
            <a:prstGeom prst="rect">
              <a:avLst/>
            </a:prstGeom>
          </p:spPr>
        </p:pic>
        <p:sp>
          <p:nvSpPr>
            <p:cNvPr id="546" name="Freeform 545">
              <a:extLst>
                <a:ext uri="{FF2B5EF4-FFF2-40B4-BE49-F238E27FC236}">
                  <a16:creationId xmlns:a16="http://schemas.microsoft.com/office/drawing/2014/main" id="{BD9E95F5-5945-F847-9DC9-047004DD54E8}"/>
                </a:ext>
              </a:extLst>
            </p:cNvPr>
            <p:cNvSpPr/>
            <p:nvPr/>
          </p:nvSpPr>
          <p:spPr>
            <a:xfrm>
              <a:off x="316009" y="6036133"/>
              <a:ext cx="1465782" cy="583494"/>
            </a:xfrm>
            <a:custGeom>
              <a:avLst/>
              <a:gdLst>
                <a:gd name="connsiteX0" fmla="*/ 1190353 w 1465782"/>
                <a:gd name="connsiteY0" fmla="*/ 463427 h 583494"/>
                <a:gd name="connsiteX1" fmla="*/ 1190597 w 1465782"/>
                <a:gd name="connsiteY1" fmla="*/ 473211 h 583494"/>
                <a:gd name="connsiteX2" fmla="*/ 1186612 w 1465782"/>
                <a:gd name="connsiteY2" fmla="*/ 487247 h 583494"/>
                <a:gd name="connsiteX3" fmla="*/ 1175878 w 1465782"/>
                <a:gd name="connsiteY3" fmla="*/ 492622 h 583494"/>
                <a:gd name="connsiteX4" fmla="*/ 1167746 w 1465782"/>
                <a:gd name="connsiteY4" fmla="*/ 489253 h 583494"/>
                <a:gd name="connsiteX5" fmla="*/ 1164738 w 1465782"/>
                <a:gd name="connsiteY5" fmla="*/ 480269 h 583494"/>
                <a:gd name="connsiteX6" fmla="*/ 1176447 w 1465782"/>
                <a:gd name="connsiteY6" fmla="*/ 466474 h 583494"/>
                <a:gd name="connsiteX7" fmla="*/ 1053412 w 1465782"/>
                <a:gd name="connsiteY7" fmla="*/ 437840 h 583494"/>
                <a:gd name="connsiteX8" fmla="*/ 1065366 w 1465782"/>
                <a:gd name="connsiteY8" fmla="*/ 444899 h 583494"/>
                <a:gd name="connsiteX9" fmla="*/ 1069513 w 1465782"/>
                <a:gd name="connsiteY9" fmla="*/ 464950 h 583494"/>
                <a:gd name="connsiteX10" fmla="*/ 1053249 w 1465782"/>
                <a:gd name="connsiteY10" fmla="*/ 492702 h 583494"/>
                <a:gd name="connsiteX11" fmla="*/ 1036984 w 1465782"/>
                <a:gd name="connsiteY11" fmla="*/ 465352 h 583494"/>
                <a:gd name="connsiteX12" fmla="*/ 1041294 w 1465782"/>
                <a:gd name="connsiteY12" fmla="*/ 444979 h 583494"/>
                <a:gd name="connsiteX13" fmla="*/ 1053412 w 1465782"/>
                <a:gd name="connsiteY13" fmla="*/ 437840 h 583494"/>
                <a:gd name="connsiteX14" fmla="*/ 771233 w 1465782"/>
                <a:gd name="connsiteY14" fmla="*/ 437840 h 583494"/>
                <a:gd name="connsiteX15" fmla="*/ 771640 w 1465782"/>
                <a:gd name="connsiteY15" fmla="*/ 437840 h 583494"/>
                <a:gd name="connsiteX16" fmla="*/ 783594 w 1465782"/>
                <a:gd name="connsiteY16" fmla="*/ 444739 h 583494"/>
                <a:gd name="connsiteX17" fmla="*/ 787742 w 1465782"/>
                <a:gd name="connsiteY17" fmla="*/ 464790 h 583494"/>
                <a:gd name="connsiteX18" fmla="*/ 771477 w 1465782"/>
                <a:gd name="connsiteY18" fmla="*/ 492541 h 583494"/>
                <a:gd name="connsiteX19" fmla="*/ 755213 w 1465782"/>
                <a:gd name="connsiteY19" fmla="*/ 465191 h 583494"/>
                <a:gd name="connsiteX20" fmla="*/ 759117 w 1465782"/>
                <a:gd name="connsiteY20" fmla="*/ 444980 h 583494"/>
                <a:gd name="connsiteX21" fmla="*/ 771233 w 1465782"/>
                <a:gd name="connsiteY21" fmla="*/ 437840 h 583494"/>
                <a:gd name="connsiteX22" fmla="*/ 868084 w 1465782"/>
                <a:gd name="connsiteY22" fmla="*/ 437280 h 583494"/>
                <a:gd name="connsiteX23" fmla="*/ 881421 w 1465782"/>
                <a:gd name="connsiteY23" fmla="*/ 459577 h 583494"/>
                <a:gd name="connsiteX24" fmla="*/ 852471 w 1465782"/>
                <a:gd name="connsiteY24" fmla="*/ 459577 h 583494"/>
                <a:gd name="connsiteX25" fmla="*/ 857188 w 1465782"/>
                <a:gd name="connsiteY25" fmla="*/ 442894 h 583494"/>
                <a:gd name="connsiteX26" fmla="*/ 868084 w 1465782"/>
                <a:gd name="connsiteY26" fmla="*/ 437280 h 583494"/>
                <a:gd name="connsiteX27" fmla="*/ 1002342 w 1465782"/>
                <a:gd name="connsiteY27" fmla="*/ 430383 h 583494"/>
                <a:gd name="connsiteX28" fmla="*/ 1002342 w 1465782"/>
                <a:gd name="connsiteY28" fmla="*/ 500081 h 583494"/>
                <a:gd name="connsiteX29" fmla="*/ 1012345 w 1465782"/>
                <a:gd name="connsiteY29" fmla="*/ 500081 h 583494"/>
                <a:gd name="connsiteX30" fmla="*/ 1012345 w 1465782"/>
                <a:gd name="connsiteY30" fmla="*/ 430383 h 583494"/>
                <a:gd name="connsiteX31" fmla="*/ 736430 w 1465782"/>
                <a:gd name="connsiteY31" fmla="*/ 429339 h 583494"/>
                <a:gd name="connsiteX32" fmla="*/ 720653 w 1465782"/>
                <a:gd name="connsiteY32" fmla="*/ 442654 h 583494"/>
                <a:gd name="connsiteX33" fmla="*/ 720653 w 1465782"/>
                <a:gd name="connsiteY33" fmla="*/ 430382 h 583494"/>
                <a:gd name="connsiteX34" fmla="*/ 710569 w 1465782"/>
                <a:gd name="connsiteY34" fmla="*/ 430382 h 583494"/>
                <a:gd name="connsiteX35" fmla="*/ 710569 w 1465782"/>
                <a:gd name="connsiteY35" fmla="*/ 500081 h 583494"/>
                <a:gd name="connsiteX36" fmla="*/ 720653 w 1465782"/>
                <a:gd name="connsiteY36" fmla="*/ 500081 h 583494"/>
                <a:gd name="connsiteX37" fmla="*/ 720653 w 1465782"/>
                <a:gd name="connsiteY37" fmla="*/ 464550 h 583494"/>
                <a:gd name="connsiteX38" fmla="*/ 735941 w 1465782"/>
                <a:gd name="connsiteY38" fmla="*/ 438804 h 583494"/>
                <a:gd name="connsiteX39" fmla="*/ 742447 w 1465782"/>
                <a:gd name="connsiteY39" fmla="*/ 440168 h 583494"/>
                <a:gd name="connsiteX40" fmla="*/ 742122 w 1465782"/>
                <a:gd name="connsiteY40" fmla="*/ 430141 h 583494"/>
                <a:gd name="connsiteX41" fmla="*/ 736430 w 1465782"/>
                <a:gd name="connsiteY41" fmla="*/ 429339 h 583494"/>
                <a:gd name="connsiteX42" fmla="*/ 868409 w 1465782"/>
                <a:gd name="connsiteY42" fmla="*/ 429180 h 583494"/>
                <a:gd name="connsiteX43" fmla="*/ 849056 w 1465782"/>
                <a:gd name="connsiteY43" fmla="*/ 439125 h 583494"/>
                <a:gd name="connsiteX44" fmla="*/ 841981 w 1465782"/>
                <a:gd name="connsiteY44" fmla="*/ 464871 h 583494"/>
                <a:gd name="connsiteX45" fmla="*/ 848975 w 1465782"/>
                <a:gd name="connsiteY45" fmla="*/ 492061 h 583494"/>
                <a:gd name="connsiteX46" fmla="*/ 869466 w 1465782"/>
                <a:gd name="connsiteY46" fmla="*/ 501285 h 583494"/>
                <a:gd name="connsiteX47" fmla="*/ 887113 w 1465782"/>
                <a:gd name="connsiteY47" fmla="*/ 496633 h 583494"/>
                <a:gd name="connsiteX48" fmla="*/ 887113 w 1465782"/>
                <a:gd name="connsiteY48" fmla="*/ 487328 h 583494"/>
                <a:gd name="connsiteX49" fmla="*/ 870849 w 1465782"/>
                <a:gd name="connsiteY49" fmla="*/ 492862 h 583494"/>
                <a:gd name="connsiteX50" fmla="*/ 852309 w 1465782"/>
                <a:gd name="connsiteY50" fmla="*/ 467598 h 583494"/>
                <a:gd name="connsiteX51" fmla="*/ 891260 w 1465782"/>
                <a:gd name="connsiteY51" fmla="*/ 467919 h 583494"/>
                <a:gd name="connsiteX52" fmla="*/ 891260 w 1465782"/>
                <a:gd name="connsiteY52" fmla="*/ 461262 h 583494"/>
                <a:gd name="connsiteX53" fmla="*/ 868409 w 1465782"/>
                <a:gd name="connsiteY53" fmla="*/ 429180 h 583494"/>
                <a:gd name="connsiteX54" fmla="*/ 972904 w 1465782"/>
                <a:gd name="connsiteY54" fmla="*/ 429179 h 583494"/>
                <a:gd name="connsiteX55" fmla="*/ 956640 w 1465782"/>
                <a:gd name="connsiteY55" fmla="*/ 434633 h 583494"/>
                <a:gd name="connsiteX56" fmla="*/ 950541 w 1465782"/>
                <a:gd name="connsiteY56" fmla="*/ 448508 h 583494"/>
                <a:gd name="connsiteX57" fmla="*/ 953469 w 1465782"/>
                <a:gd name="connsiteY57" fmla="*/ 458775 h 583494"/>
                <a:gd name="connsiteX58" fmla="*/ 966724 w 1465782"/>
                <a:gd name="connsiteY58" fmla="*/ 469121 h 583494"/>
                <a:gd name="connsiteX59" fmla="*/ 975913 w 1465782"/>
                <a:gd name="connsiteY59" fmla="*/ 475778 h 583494"/>
                <a:gd name="connsiteX60" fmla="*/ 978272 w 1465782"/>
                <a:gd name="connsiteY60" fmla="*/ 482114 h 583494"/>
                <a:gd name="connsiteX61" fmla="*/ 965829 w 1465782"/>
                <a:gd name="connsiteY61" fmla="*/ 493022 h 583494"/>
                <a:gd name="connsiteX62" fmla="*/ 950460 w 1465782"/>
                <a:gd name="connsiteY62" fmla="*/ 487809 h 583494"/>
                <a:gd name="connsiteX63" fmla="*/ 950460 w 1465782"/>
                <a:gd name="connsiteY63" fmla="*/ 497674 h 583494"/>
                <a:gd name="connsiteX64" fmla="*/ 966724 w 1465782"/>
                <a:gd name="connsiteY64" fmla="*/ 501283 h 583494"/>
                <a:gd name="connsiteX65" fmla="*/ 982988 w 1465782"/>
                <a:gd name="connsiteY65" fmla="*/ 495829 h 583494"/>
                <a:gd name="connsiteX66" fmla="*/ 989005 w 1465782"/>
                <a:gd name="connsiteY66" fmla="*/ 482034 h 583494"/>
                <a:gd name="connsiteX67" fmla="*/ 986159 w 1465782"/>
                <a:gd name="connsiteY67" fmla="*/ 471687 h 583494"/>
                <a:gd name="connsiteX68" fmla="*/ 973148 w 1465782"/>
                <a:gd name="connsiteY68" fmla="*/ 461501 h 583494"/>
                <a:gd name="connsiteX69" fmla="*/ 963390 w 1465782"/>
                <a:gd name="connsiteY69" fmla="*/ 454283 h 583494"/>
                <a:gd name="connsiteX70" fmla="*/ 961357 w 1465782"/>
                <a:gd name="connsiteY70" fmla="*/ 448107 h 583494"/>
                <a:gd name="connsiteX71" fmla="*/ 964528 w 1465782"/>
                <a:gd name="connsiteY71" fmla="*/ 440086 h 583494"/>
                <a:gd name="connsiteX72" fmla="*/ 973148 w 1465782"/>
                <a:gd name="connsiteY72" fmla="*/ 437199 h 583494"/>
                <a:gd name="connsiteX73" fmla="*/ 986566 w 1465782"/>
                <a:gd name="connsiteY73" fmla="*/ 441129 h 583494"/>
                <a:gd name="connsiteX74" fmla="*/ 986566 w 1465782"/>
                <a:gd name="connsiteY74" fmla="*/ 431986 h 583494"/>
                <a:gd name="connsiteX75" fmla="*/ 972904 w 1465782"/>
                <a:gd name="connsiteY75" fmla="*/ 429179 h 583494"/>
                <a:gd name="connsiteX76" fmla="*/ 924032 w 1465782"/>
                <a:gd name="connsiteY76" fmla="*/ 429179 h 583494"/>
                <a:gd name="connsiteX77" fmla="*/ 907768 w 1465782"/>
                <a:gd name="connsiteY77" fmla="*/ 434633 h 583494"/>
                <a:gd name="connsiteX78" fmla="*/ 901670 w 1465782"/>
                <a:gd name="connsiteY78" fmla="*/ 448509 h 583494"/>
                <a:gd name="connsiteX79" fmla="*/ 904598 w 1465782"/>
                <a:gd name="connsiteY79" fmla="*/ 458775 h 583494"/>
                <a:gd name="connsiteX80" fmla="*/ 917771 w 1465782"/>
                <a:gd name="connsiteY80" fmla="*/ 469121 h 583494"/>
                <a:gd name="connsiteX81" fmla="*/ 926959 w 1465782"/>
                <a:gd name="connsiteY81" fmla="*/ 475778 h 583494"/>
                <a:gd name="connsiteX82" fmla="*/ 929399 w 1465782"/>
                <a:gd name="connsiteY82" fmla="*/ 482115 h 583494"/>
                <a:gd name="connsiteX83" fmla="*/ 916876 w 1465782"/>
                <a:gd name="connsiteY83" fmla="*/ 493022 h 583494"/>
                <a:gd name="connsiteX84" fmla="*/ 901507 w 1465782"/>
                <a:gd name="connsiteY84" fmla="*/ 487809 h 583494"/>
                <a:gd name="connsiteX85" fmla="*/ 901507 w 1465782"/>
                <a:gd name="connsiteY85" fmla="*/ 497674 h 583494"/>
                <a:gd name="connsiteX86" fmla="*/ 917771 w 1465782"/>
                <a:gd name="connsiteY86" fmla="*/ 501284 h 583494"/>
                <a:gd name="connsiteX87" fmla="*/ 934034 w 1465782"/>
                <a:gd name="connsiteY87" fmla="*/ 495829 h 583494"/>
                <a:gd name="connsiteX88" fmla="*/ 940051 w 1465782"/>
                <a:gd name="connsiteY88" fmla="*/ 482034 h 583494"/>
                <a:gd name="connsiteX89" fmla="*/ 937206 w 1465782"/>
                <a:gd name="connsiteY89" fmla="*/ 471688 h 583494"/>
                <a:gd name="connsiteX90" fmla="*/ 924276 w 1465782"/>
                <a:gd name="connsiteY90" fmla="*/ 461502 h 583494"/>
                <a:gd name="connsiteX91" fmla="*/ 914518 w 1465782"/>
                <a:gd name="connsiteY91" fmla="*/ 454283 h 583494"/>
                <a:gd name="connsiteX92" fmla="*/ 912404 w 1465782"/>
                <a:gd name="connsiteY92" fmla="*/ 448107 h 583494"/>
                <a:gd name="connsiteX93" fmla="*/ 915575 w 1465782"/>
                <a:gd name="connsiteY93" fmla="*/ 440086 h 583494"/>
                <a:gd name="connsiteX94" fmla="*/ 924276 w 1465782"/>
                <a:gd name="connsiteY94" fmla="*/ 437199 h 583494"/>
                <a:gd name="connsiteX95" fmla="*/ 937693 w 1465782"/>
                <a:gd name="connsiteY95" fmla="*/ 441130 h 583494"/>
                <a:gd name="connsiteX96" fmla="*/ 937693 w 1465782"/>
                <a:gd name="connsiteY96" fmla="*/ 431986 h 583494"/>
                <a:gd name="connsiteX97" fmla="*/ 924032 w 1465782"/>
                <a:gd name="connsiteY97" fmla="*/ 429179 h 583494"/>
                <a:gd name="connsiteX98" fmla="*/ 1179862 w 1465782"/>
                <a:gd name="connsiteY98" fmla="*/ 429178 h 583494"/>
                <a:gd name="connsiteX99" fmla="*/ 1160590 w 1465782"/>
                <a:gd name="connsiteY99" fmla="*/ 434873 h 583494"/>
                <a:gd name="connsiteX100" fmla="*/ 1160590 w 1465782"/>
                <a:gd name="connsiteY100" fmla="*/ 444577 h 583494"/>
                <a:gd name="connsiteX101" fmla="*/ 1178480 w 1465782"/>
                <a:gd name="connsiteY101" fmla="*/ 437279 h 583494"/>
                <a:gd name="connsiteX102" fmla="*/ 1190678 w 1465782"/>
                <a:gd name="connsiteY102" fmla="*/ 450834 h 583494"/>
                <a:gd name="connsiteX103" fmla="*/ 1190678 w 1465782"/>
                <a:gd name="connsiteY103" fmla="*/ 455486 h 583494"/>
                <a:gd name="connsiteX104" fmla="*/ 1173926 w 1465782"/>
                <a:gd name="connsiteY104" fmla="*/ 459175 h 583494"/>
                <a:gd name="connsiteX105" fmla="*/ 1155060 w 1465782"/>
                <a:gd name="connsiteY105" fmla="*/ 481553 h 583494"/>
                <a:gd name="connsiteX106" fmla="*/ 1159858 w 1465782"/>
                <a:gd name="connsiteY106" fmla="*/ 495509 h 583494"/>
                <a:gd name="connsiteX107" fmla="*/ 1172463 w 1465782"/>
                <a:gd name="connsiteY107" fmla="*/ 500963 h 583494"/>
                <a:gd name="connsiteX108" fmla="*/ 1190353 w 1465782"/>
                <a:gd name="connsiteY108" fmla="*/ 489253 h 583494"/>
                <a:gd name="connsiteX109" fmla="*/ 1190353 w 1465782"/>
                <a:gd name="connsiteY109" fmla="*/ 500081 h 583494"/>
                <a:gd name="connsiteX110" fmla="*/ 1200680 w 1465782"/>
                <a:gd name="connsiteY110" fmla="*/ 500001 h 583494"/>
                <a:gd name="connsiteX111" fmla="*/ 1200680 w 1465782"/>
                <a:gd name="connsiteY111" fmla="*/ 451876 h 583494"/>
                <a:gd name="connsiteX112" fmla="*/ 1179862 w 1465782"/>
                <a:gd name="connsiteY112" fmla="*/ 429178 h 583494"/>
                <a:gd name="connsiteX113" fmla="*/ 1053493 w 1465782"/>
                <a:gd name="connsiteY113" fmla="*/ 429178 h 583494"/>
                <a:gd name="connsiteX114" fmla="*/ 1033732 w 1465782"/>
                <a:gd name="connsiteY114" fmla="*/ 438803 h 583494"/>
                <a:gd name="connsiteX115" fmla="*/ 1026494 w 1465782"/>
                <a:gd name="connsiteY115" fmla="*/ 465832 h 583494"/>
                <a:gd name="connsiteX116" fmla="*/ 1033406 w 1465782"/>
                <a:gd name="connsiteY116" fmla="*/ 491820 h 583494"/>
                <a:gd name="connsiteX117" fmla="*/ 1052923 w 1465782"/>
                <a:gd name="connsiteY117" fmla="*/ 501284 h 583494"/>
                <a:gd name="connsiteX118" fmla="*/ 1073010 w 1465782"/>
                <a:gd name="connsiteY118" fmla="*/ 491579 h 583494"/>
                <a:gd name="connsiteX119" fmla="*/ 1079922 w 1465782"/>
                <a:gd name="connsiteY119" fmla="*/ 464469 h 583494"/>
                <a:gd name="connsiteX120" fmla="*/ 1072928 w 1465782"/>
                <a:gd name="connsiteY120" fmla="*/ 438643 h 583494"/>
                <a:gd name="connsiteX121" fmla="*/ 1053493 w 1465782"/>
                <a:gd name="connsiteY121" fmla="*/ 429178 h 583494"/>
                <a:gd name="connsiteX122" fmla="*/ 771803 w 1465782"/>
                <a:gd name="connsiteY122" fmla="*/ 429178 h 583494"/>
                <a:gd name="connsiteX123" fmla="*/ 752042 w 1465782"/>
                <a:gd name="connsiteY123" fmla="*/ 438804 h 583494"/>
                <a:gd name="connsiteX124" fmla="*/ 744804 w 1465782"/>
                <a:gd name="connsiteY124" fmla="*/ 465832 h 583494"/>
                <a:gd name="connsiteX125" fmla="*/ 751716 w 1465782"/>
                <a:gd name="connsiteY125" fmla="*/ 491820 h 583494"/>
                <a:gd name="connsiteX126" fmla="*/ 771233 w 1465782"/>
                <a:gd name="connsiteY126" fmla="*/ 501284 h 583494"/>
                <a:gd name="connsiteX127" fmla="*/ 791320 w 1465782"/>
                <a:gd name="connsiteY127" fmla="*/ 491579 h 583494"/>
                <a:gd name="connsiteX128" fmla="*/ 798232 w 1465782"/>
                <a:gd name="connsiteY128" fmla="*/ 464469 h 583494"/>
                <a:gd name="connsiteX129" fmla="*/ 791239 w 1465782"/>
                <a:gd name="connsiteY129" fmla="*/ 438643 h 583494"/>
                <a:gd name="connsiteX130" fmla="*/ 771803 w 1465782"/>
                <a:gd name="connsiteY130" fmla="*/ 429178 h 583494"/>
                <a:gd name="connsiteX131" fmla="*/ 1122208 w 1465782"/>
                <a:gd name="connsiteY131" fmla="*/ 429178 h 583494"/>
                <a:gd name="connsiteX132" fmla="*/ 1104074 w 1465782"/>
                <a:gd name="connsiteY132" fmla="*/ 441129 h 583494"/>
                <a:gd name="connsiteX133" fmla="*/ 1104074 w 1465782"/>
                <a:gd name="connsiteY133" fmla="*/ 430381 h 583494"/>
                <a:gd name="connsiteX134" fmla="*/ 1094071 w 1465782"/>
                <a:gd name="connsiteY134" fmla="*/ 430381 h 583494"/>
                <a:gd name="connsiteX135" fmla="*/ 1094071 w 1465782"/>
                <a:gd name="connsiteY135" fmla="*/ 499999 h 583494"/>
                <a:gd name="connsiteX136" fmla="*/ 1104074 w 1465782"/>
                <a:gd name="connsiteY136" fmla="*/ 499999 h 583494"/>
                <a:gd name="connsiteX137" fmla="*/ 1104074 w 1465782"/>
                <a:gd name="connsiteY137" fmla="*/ 455164 h 583494"/>
                <a:gd name="connsiteX138" fmla="*/ 1108139 w 1465782"/>
                <a:gd name="connsiteY138" fmla="*/ 442412 h 583494"/>
                <a:gd name="connsiteX139" fmla="*/ 1118792 w 1465782"/>
                <a:gd name="connsiteY139" fmla="*/ 437760 h 583494"/>
                <a:gd name="connsiteX140" fmla="*/ 1131559 w 1465782"/>
                <a:gd name="connsiteY140" fmla="*/ 453801 h 583494"/>
                <a:gd name="connsiteX141" fmla="*/ 1131559 w 1465782"/>
                <a:gd name="connsiteY141" fmla="*/ 500079 h 583494"/>
                <a:gd name="connsiteX142" fmla="*/ 1141400 w 1465782"/>
                <a:gd name="connsiteY142" fmla="*/ 500079 h 583494"/>
                <a:gd name="connsiteX143" fmla="*/ 1141400 w 1465782"/>
                <a:gd name="connsiteY143" fmla="*/ 451475 h 583494"/>
                <a:gd name="connsiteX144" fmla="*/ 1122208 w 1465782"/>
                <a:gd name="connsiteY144" fmla="*/ 429178 h 583494"/>
                <a:gd name="connsiteX145" fmla="*/ 667795 w 1465782"/>
                <a:gd name="connsiteY145" fmla="*/ 411613 h 583494"/>
                <a:gd name="connsiteX146" fmla="*/ 685441 w 1465782"/>
                <a:gd name="connsiteY146" fmla="*/ 432066 h 583494"/>
                <a:gd name="connsiteX147" fmla="*/ 680643 w 1465782"/>
                <a:gd name="connsiteY147" fmla="*/ 448107 h 583494"/>
                <a:gd name="connsiteX148" fmla="*/ 666819 w 1465782"/>
                <a:gd name="connsiteY148" fmla="*/ 453962 h 583494"/>
                <a:gd name="connsiteX149" fmla="*/ 657630 w 1465782"/>
                <a:gd name="connsiteY149" fmla="*/ 453962 h 583494"/>
                <a:gd name="connsiteX150" fmla="*/ 657630 w 1465782"/>
                <a:gd name="connsiteY150" fmla="*/ 411774 h 583494"/>
                <a:gd name="connsiteX151" fmla="*/ 1002423 w 1465782"/>
                <a:gd name="connsiteY151" fmla="*/ 403434 h 583494"/>
                <a:gd name="connsiteX152" fmla="*/ 1000309 w 1465782"/>
                <a:gd name="connsiteY152" fmla="*/ 408407 h 583494"/>
                <a:gd name="connsiteX153" fmla="*/ 1002423 w 1465782"/>
                <a:gd name="connsiteY153" fmla="*/ 413379 h 583494"/>
                <a:gd name="connsiteX154" fmla="*/ 1007384 w 1465782"/>
                <a:gd name="connsiteY154" fmla="*/ 415384 h 583494"/>
                <a:gd name="connsiteX155" fmla="*/ 1007385 w 1465782"/>
                <a:gd name="connsiteY155" fmla="*/ 415384 h 583494"/>
                <a:gd name="connsiteX156" fmla="*/ 1012507 w 1465782"/>
                <a:gd name="connsiteY156" fmla="*/ 413379 h 583494"/>
                <a:gd name="connsiteX157" fmla="*/ 1014459 w 1465782"/>
                <a:gd name="connsiteY157" fmla="*/ 408407 h 583494"/>
                <a:gd name="connsiteX158" fmla="*/ 1012426 w 1465782"/>
                <a:gd name="connsiteY158" fmla="*/ 403434 h 583494"/>
                <a:gd name="connsiteX159" fmla="*/ 1002423 w 1465782"/>
                <a:gd name="connsiteY159" fmla="*/ 403434 h 583494"/>
                <a:gd name="connsiteX160" fmla="*/ 647058 w 1465782"/>
                <a:gd name="connsiteY160" fmla="*/ 402551 h 583494"/>
                <a:gd name="connsiteX161" fmla="*/ 647058 w 1465782"/>
                <a:gd name="connsiteY161" fmla="*/ 500081 h 583494"/>
                <a:gd name="connsiteX162" fmla="*/ 657630 w 1465782"/>
                <a:gd name="connsiteY162" fmla="*/ 500081 h 583494"/>
                <a:gd name="connsiteX163" fmla="*/ 657630 w 1465782"/>
                <a:gd name="connsiteY163" fmla="*/ 463266 h 583494"/>
                <a:gd name="connsiteX164" fmla="*/ 667306 w 1465782"/>
                <a:gd name="connsiteY164" fmla="*/ 463266 h 583494"/>
                <a:gd name="connsiteX165" fmla="*/ 688531 w 1465782"/>
                <a:gd name="connsiteY165" fmla="*/ 454203 h 583494"/>
                <a:gd name="connsiteX166" fmla="*/ 696662 w 1465782"/>
                <a:gd name="connsiteY166" fmla="*/ 431345 h 583494"/>
                <a:gd name="connsiteX167" fmla="*/ 689669 w 1465782"/>
                <a:gd name="connsiteY167" fmla="*/ 409929 h 583494"/>
                <a:gd name="connsiteX168" fmla="*/ 669664 w 1465782"/>
                <a:gd name="connsiteY168" fmla="*/ 402551 h 583494"/>
                <a:gd name="connsiteX169" fmla="*/ 1217595 w 1465782"/>
                <a:gd name="connsiteY169" fmla="*/ 396936 h 583494"/>
                <a:gd name="connsiteX170" fmla="*/ 1217595 w 1465782"/>
                <a:gd name="connsiteY170" fmla="*/ 500081 h 583494"/>
                <a:gd name="connsiteX171" fmla="*/ 1227923 w 1465782"/>
                <a:gd name="connsiteY171" fmla="*/ 500081 h 583494"/>
                <a:gd name="connsiteX172" fmla="*/ 1227923 w 1465782"/>
                <a:gd name="connsiteY172" fmla="*/ 396936 h 583494"/>
                <a:gd name="connsiteX173" fmla="*/ 832384 w 1465782"/>
                <a:gd name="connsiteY173" fmla="*/ 395813 h 583494"/>
                <a:gd name="connsiteX174" fmla="*/ 818154 w 1465782"/>
                <a:gd name="connsiteY174" fmla="*/ 401347 h 583494"/>
                <a:gd name="connsiteX175" fmla="*/ 813193 w 1465782"/>
                <a:gd name="connsiteY175" fmla="*/ 416426 h 583494"/>
                <a:gd name="connsiteX176" fmla="*/ 813193 w 1465782"/>
                <a:gd name="connsiteY176" fmla="*/ 430382 h 583494"/>
                <a:gd name="connsiteX177" fmla="*/ 803354 w 1465782"/>
                <a:gd name="connsiteY177" fmla="*/ 430382 h 583494"/>
                <a:gd name="connsiteX178" fmla="*/ 803354 w 1465782"/>
                <a:gd name="connsiteY178" fmla="*/ 438804 h 583494"/>
                <a:gd name="connsiteX179" fmla="*/ 813193 w 1465782"/>
                <a:gd name="connsiteY179" fmla="*/ 438804 h 583494"/>
                <a:gd name="connsiteX180" fmla="*/ 813193 w 1465782"/>
                <a:gd name="connsiteY180" fmla="*/ 500081 h 583494"/>
                <a:gd name="connsiteX181" fmla="*/ 823440 w 1465782"/>
                <a:gd name="connsiteY181" fmla="*/ 500081 h 583494"/>
                <a:gd name="connsiteX182" fmla="*/ 823440 w 1465782"/>
                <a:gd name="connsiteY182" fmla="*/ 438804 h 583494"/>
                <a:gd name="connsiteX183" fmla="*/ 837589 w 1465782"/>
                <a:gd name="connsiteY183" fmla="*/ 438804 h 583494"/>
                <a:gd name="connsiteX184" fmla="*/ 837589 w 1465782"/>
                <a:gd name="connsiteY184" fmla="*/ 430382 h 583494"/>
                <a:gd name="connsiteX185" fmla="*/ 823521 w 1465782"/>
                <a:gd name="connsiteY185" fmla="*/ 430382 h 583494"/>
                <a:gd name="connsiteX186" fmla="*/ 823521 w 1465782"/>
                <a:gd name="connsiteY186" fmla="*/ 416346 h 583494"/>
                <a:gd name="connsiteX187" fmla="*/ 833279 w 1465782"/>
                <a:gd name="connsiteY187" fmla="*/ 404476 h 583494"/>
                <a:gd name="connsiteX188" fmla="*/ 838971 w 1465782"/>
                <a:gd name="connsiteY188" fmla="*/ 405278 h 583494"/>
                <a:gd name="connsiteX189" fmla="*/ 838646 w 1465782"/>
                <a:gd name="connsiteY189" fmla="*/ 396536 h 583494"/>
                <a:gd name="connsiteX190" fmla="*/ 832384 w 1465782"/>
                <a:gd name="connsiteY190" fmla="*/ 395813 h 583494"/>
                <a:gd name="connsiteX191" fmla="*/ 1174576 w 1465782"/>
                <a:gd name="connsiteY191" fmla="*/ 324191 h 583494"/>
                <a:gd name="connsiteX192" fmla="*/ 1174820 w 1465782"/>
                <a:gd name="connsiteY192" fmla="*/ 334297 h 583494"/>
                <a:gd name="connsiteX193" fmla="*/ 1170836 w 1465782"/>
                <a:gd name="connsiteY193" fmla="*/ 348332 h 583494"/>
                <a:gd name="connsiteX194" fmla="*/ 1160102 w 1465782"/>
                <a:gd name="connsiteY194" fmla="*/ 353706 h 583494"/>
                <a:gd name="connsiteX195" fmla="*/ 1151970 w 1465782"/>
                <a:gd name="connsiteY195" fmla="*/ 350258 h 583494"/>
                <a:gd name="connsiteX196" fmla="*/ 1149261 w 1465782"/>
                <a:gd name="connsiteY196" fmla="*/ 344409 h 583494"/>
                <a:gd name="connsiteX197" fmla="*/ 1160671 w 1465782"/>
                <a:gd name="connsiteY197" fmla="*/ 327238 h 583494"/>
                <a:gd name="connsiteX198" fmla="*/ 1022998 w 1465782"/>
                <a:gd name="connsiteY198" fmla="*/ 324191 h 583494"/>
                <a:gd name="connsiteX199" fmla="*/ 1023323 w 1465782"/>
                <a:gd name="connsiteY199" fmla="*/ 334297 h 583494"/>
                <a:gd name="connsiteX200" fmla="*/ 1019338 w 1465782"/>
                <a:gd name="connsiteY200" fmla="*/ 348332 h 583494"/>
                <a:gd name="connsiteX201" fmla="*/ 1008604 w 1465782"/>
                <a:gd name="connsiteY201" fmla="*/ 353706 h 583494"/>
                <a:gd name="connsiteX202" fmla="*/ 1000472 w 1465782"/>
                <a:gd name="connsiteY202" fmla="*/ 350258 h 583494"/>
                <a:gd name="connsiteX203" fmla="*/ 997383 w 1465782"/>
                <a:gd name="connsiteY203" fmla="*/ 341114 h 583494"/>
                <a:gd name="connsiteX204" fmla="*/ 1009174 w 1465782"/>
                <a:gd name="connsiteY204" fmla="*/ 327238 h 583494"/>
                <a:gd name="connsiteX205" fmla="*/ 768306 w 1465782"/>
                <a:gd name="connsiteY205" fmla="*/ 298444 h 583494"/>
                <a:gd name="connsiteX206" fmla="*/ 768713 w 1465782"/>
                <a:gd name="connsiteY206" fmla="*/ 298444 h 583494"/>
                <a:gd name="connsiteX207" fmla="*/ 780667 w 1465782"/>
                <a:gd name="connsiteY207" fmla="*/ 305502 h 583494"/>
                <a:gd name="connsiteX208" fmla="*/ 784488 w 1465782"/>
                <a:gd name="connsiteY208" fmla="*/ 325634 h 583494"/>
                <a:gd name="connsiteX209" fmla="*/ 768224 w 1465782"/>
                <a:gd name="connsiteY209" fmla="*/ 353304 h 583494"/>
                <a:gd name="connsiteX210" fmla="*/ 751960 w 1465782"/>
                <a:gd name="connsiteY210" fmla="*/ 326035 h 583494"/>
                <a:gd name="connsiteX211" fmla="*/ 756271 w 1465782"/>
                <a:gd name="connsiteY211" fmla="*/ 305582 h 583494"/>
                <a:gd name="connsiteX212" fmla="*/ 768306 w 1465782"/>
                <a:gd name="connsiteY212" fmla="*/ 298444 h 583494"/>
                <a:gd name="connsiteX213" fmla="*/ 1227678 w 1465782"/>
                <a:gd name="connsiteY213" fmla="*/ 298364 h 583494"/>
                <a:gd name="connsiteX214" fmla="*/ 1238494 w 1465782"/>
                <a:gd name="connsiteY214" fmla="*/ 304781 h 583494"/>
                <a:gd name="connsiteX215" fmla="*/ 1242479 w 1465782"/>
                <a:gd name="connsiteY215" fmla="*/ 323468 h 583494"/>
                <a:gd name="connsiteX216" fmla="*/ 1226215 w 1465782"/>
                <a:gd name="connsiteY216" fmla="*/ 353305 h 583494"/>
                <a:gd name="connsiteX217" fmla="*/ 1215481 w 1465782"/>
                <a:gd name="connsiteY217" fmla="*/ 347210 h 583494"/>
                <a:gd name="connsiteX218" fmla="*/ 1211658 w 1465782"/>
                <a:gd name="connsiteY218" fmla="*/ 331569 h 583494"/>
                <a:gd name="connsiteX219" fmla="*/ 1211658 w 1465782"/>
                <a:gd name="connsiteY219" fmla="*/ 321864 h 583494"/>
                <a:gd name="connsiteX220" fmla="*/ 1215887 w 1465782"/>
                <a:gd name="connsiteY220" fmla="*/ 304941 h 583494"/>
                <a:gd name="connsiteX221" fmla="*/ 1227678 w 1465782"/>
                <a:gd name="connsiteY221" fmla="*/ 298364 h 583494"/>
                <a:gd name="connsiteX222" fmla="*/ 1317293 w 1465782"/>
                <a:gd name="connsiteY222" fmla="*/ 297883 h 583494"/>
                <a:gd name="connsiteX223" fmla="*/ 1330629 w 1465782"/>
                <a:gd name="connsiteY223" fmla="*/ 320260 h 583494"/>
                <a:gd name="connsiteX224" fmla="*/ 1301679 w 1465782"/>
                <a:gd name="connsiteY224" fmla="*/ 320260 h 583494"/>
                <a:gd name="connsiteX225" fmla="*/ 1306395 w 1465782"/>
                <a:gd name="connsiteY225" fmla="*/ 303578 h 583494"/>
                <a:gd name="connsiteX226" fmla="*/ 1317293 w 1465782"/>
                <a:gd name="connsiteY226" fmla="*/ 297883 h 583494"/>
                <a:gd name="connsiteX227" fmla="*/ 1077889 w 1465782"/>
                <a:gd name="connsiteY227" fmla="*/ 291065 h 583494"/>
                <a:gd name="connsiteX228" fmla="*/ 1077889 w 1465782"/>
                <a:gd name="connsiteY228" fmla="*/ 339670 h 583494"/>
                <a:gd name="connsiteX229" fmla="*/ 1097243 w 1465782"/>
                <a:gd name="connsiteY229" fmla="*/ 361967 h 583494"/>
                <a:gd name="connsiteX230" fmla="*/ 1115215 w 1465782"/>
                <a:gd name="connsiteY230" fmla="*/ 350257 h 583494"/>
                <a:gd name="connsiteX231" fmla="*/ 1115215 w 1465782"/>
                <a:gd name="connsiteY231" fmla="*/ 360924 h 583494"/>
                <a:gd name="connsiteX232" fmla="*/ 1125543 w 1465782"/>
                <a:gd name="connsiteY232" fmla="*/ 360924 h 583494"/>
                <a:gd name="connsiteX233" fmla="*/ 1125543 w 1465782"/>
                <a:gd name="connsiteY233" fmla="*/ 291065 h 583494"/>
                <a:gd name="connsiteX234" fmla="*/ 1115540 w 1465782"/>
                <a:gd name="connsiteY234" fmla="*/ 291065 h 583494"/>
                <a:gd name="connsiteX235" fmla="*/ 1115540 w 1465782"/>
                <a:gd name="connsiteY235" fmla="*/ 335980 h 583494"/>
                <a:gd name="connsiteX236" fmla="*/ 1111393 w 1465782"/>
                <a:gd name="connsiteY236" fmla="*/ 348653 h 583494"/>
                <a:gd name="connsiteX237" fmla="*/ 1100659 w 1465782"/>
                <a:gd name="connsiteY237" fmla="*/ 353384 h 583494"/>
                <a:gd name="connsiteX238" fmla="*/ 1087892 w 1465782"/>
                <a:gd name="connsiteY238" fmla="*/ 337343 h 583494"/>
                <a:gd name="connsiteX239" fmla="*/ 1087892 w 1465782"/>
                <a:gd name="connsiteY239" fmla="*/ 291065 h 583494"/>
                <a:gd name="connsiteX240" fmla="*/ 768794 w 1465782"/>
                <a:gd name="connsiteY240" fmla="*/ 290183 h 583494"/>
                <a:gd name="connsiteX241" fmla="*/ 749033 w 1465782"/>
                <a:gd name="connsiteY241" fmla="*/ 299888 h 583494"/>
                <a:gd name="connsiteX242" fmla="*/ 741877 w 1465782"/>
                <a:gd name="connsiteY242" fmla="*/ 326836 h 583494"/>
                <a:gd name="connsiteX243" fmla="*/ 748708 w 1465782"/>
                <a:gd name="connsiteY243" fmla="*/ 352904 h 583494"/>
                <a:gd name="connsiteX244" fmla="*/ 768306 w 1465782"/>
                <a:gd name="connsiteY244" fmla="*/ 361966 h 583494"/>
                <a:gd name="connsiteX245" fmla="*/ 788310 w 1465782"/>
                <a:gd name="connsiteY245" fmla="*/ 352663 h 583494"/>
                <a:gd name="connsiteX246" fmla="*/ 795222 w 1465782"/>
                <a:gd name="connsiteY246" fmla="*/ 325473 h 583494"/>
                <a:gd name="connsiteX247" fmla="*/ 788229 w 1465782"/>
                <a:gd name="connsiteY247" fmla="*/ 299647 h 583494"/>
                <a:gd name="connsiteX248" fmla="*/ 768794 w 1465782"/>
                <a:gd name="connsiteY248" fmla="*/ 290183 h 583494"/>
                <a:gd name="connsiteX249" fmla="*/ 1317374 w 1465782"/>
                <a:gd name="connsiteY249" fmla="*/ 289782 h 583494"/>
                <a:gd name="connsiteX250" fmla="*/ 1298346 w 1465782"/>
                <a:gd name="connsiteY250" fmla="*/ 299968 h 583494"/>
                <a:gd name="connsiteX251" fmla="*/ 1291271 w 1465782"/>
                <a:gd name="connsiteY251" fmla="*/ 325714 h 583494"/>
                <a:gd name="connsiteX252" fmla="*/ 1298346 w 1465782"/>
                <a:gd name="connsiteY252" fmla="*/ 352904 h 583494"/>
                <a:gd name="connsiteX253" fmla="*/ 1318756 w 1465782"/>
                <a:gd name="connsiteY253" fmla="*/ 361967 h 583494"/>
                <a:gd name="connsiteX254" fmla="*/ 1336403 w 1465782"/>
                <a:gd name="connsiteY254" fmla="*/ 357235 h 583494"/>
                <a:gd name="connsiteX255" fmla="*/ 1336403 w 1465782"/>
                <a:gd name="connsiteY255" fmla="*/ 347931 h 583494"/>
                <a:gd name="connsiteX256" fmla="*/ 1320139 w 1465782"/>
                <a:gd name="connsiteY256" fmla="*/ 353545 h 583494"/>
                <a:gd name="connsiteX257" fmla="*/ 1301516 w 1465782"/>
                <a:gd name="connsiteY257" fmla="*/ 328281 h 583494"/>
                <a:gd name="connsiteX258" fmla="*/ 1340306 w 1465782"/>
                <a:gd name="connsiteY258" fmla="*/ 328522 h 583494"/>
                <a:gd name="connsiteX259" fmla="*/ 1340306 w 1465782"/>
                <a:gd name="connsiteY259" fmla="*/ 321864 h 583494"/>
                <a:gd name="connsiteX260" fmla="*/ 1317374 w 1465782"/>
                <a:gd name="connsiteY260" fmla="*/ 289782 h 583494"/>
                <a:gd name="connsiteX261" fmla="*/ 1164086 w 1465782"/>
                <a:gd name="connsiteY261" fmla="*/ 289782 h 583494"/>
                <a:gd name="connsiteX262" fmla="*/ 1144732 w 1465782"/>
                <a:gd name="connsiteY262" fmla="*/ 295557 h 583494"/>
                <a:gd name="connsiteX263" fmla="*/ 1144732 w 1465782"/>
                <a:gd name="connsiteY263" fmla="*/ 305502 h 583494"/>
                <a:gd name="connsiteX264" fmla="*/ 1162704 w 1465782"/>
                <a:gd name="connsiteY264" fmla="*/ 298284 h 583494"/>
                <a:gd name="connsiteX265" fmla="*/ 1174902 w 1465782"/>
                <a:gd name="connsiteY265" fmla="*/ 311759 h 583494"/>
                <a:gd name="connsiteX266" fmla="*/ 1174902 w 1465782"/>
                <a:gd name="connsiteY266" fmla="*/ 316411 h 583494"/>
                <a:gd name="connsiteX267" fmla="*/ 1158150 w 1465782"/>
                <a:gd name="connsiteY267" fmla="*/ 320180 h 583494"/>
                <a:gd name="connsiteX268" fmla="*/ 1139284 w 1465782"/>
                <a:gd name="connsiteY268" fmla="*/ 342477 h 583494"/>
                <a:gd name="connsiteX269" fmla="*/ 1144082 w 1465782"/>
                <a:gd name="connsiteY269" fmla="*/ 356513 h 583494"/>
                <a:gd name="connsiteX270" fmla="*/ 1156605 w 1465782"/>
                <a:gd name="connsiteY270" fmla="*/ 361968 h 583494"/>
                <a:gd name="connsiteX271" fmla="*/ 1174576 w 1465782"/>
                <a:gd name="connsiteY271" fmla="*/ 350258 h 583494"/>
                <a:gd name="connsiteX272" fmla="*/ 1174576 w 1465782"/>
                <a:gd name="connsiteY272" fmla="*/ 360924 h 583494"/>
                <a:gd name="connsiteX273" fmla="*/ 1184823 w 1465782"/>
                <a:gd name="connsiteY273" fmla="*/ 360604 h 583494"/>
                <a:gd name="connsiteX274" fmla="*/ 1184823 w 1465782"/>
                <a:gd name="connsiteY274" fmla="*/ 312481 h 583494"/>
                <a:gd name="connsiteX275" fmla="*/ 1164086 w 1465782"/>
                <a:gd name="connsiteY275" fmla="*/ 289782 h 583494"/>
                <a:gd name="connsiteX276" fmla="*/ 1012101 w 1465782"/>
                <a:gd name="connsiteY276" fmla="*/ 289782 h 583494"/>
                <a:gd name="connsiteX277" fmla="*/ 992747 w 1465782"/>
                <a:gd name="connsiteY277" fmla="*/ 295557 h 583494"/>
                <a:gd name="connsiteX278" fmla="*/ 992747 w 1465782"/>
                <a:gd name="connsiteY278" fmla="*/ 305502 h 583494"/>
                <a:gd name="connsiteX279" fmla="*/ 1010719 w 1465782"/>
                <a:gd name="connsiteY279" fmla="*/ 298284 h 583494"/>
                <a:gd name="connsiteX280" fmla="*/ 1022835 w 1465782"/>
                <a:gd name="connsiteY280" fmla="*/ 311759 h 583494"/>
                <a:gd name="connsiteX281" fmla="*/ 1022835 w 1465782"/>
                <a:gd name="connsiteY281" fmla="*/ 316411 h 583494"/>
                <a:gd name="connsiteX282" fmla="*/ 1006572 w 1465782"/>
                <a:gd name="connsiteY282" fmla="*/ 320180 h 583494"/>
                <a:gd name="connsiteX283" fmla="*/ 987624 w 1465782"/>
                <a:gd name="connsiteY283" fmla="*/ 342477 h 583494"/>
                <a:gd name="connsiteX284" fmla="*/ 992422 w 1465782"/>
                <a:gd name="connsiteY284" fmla="*/ 356513 h 583494"/>
                <a:gd name="connsiteX285" fmla="*/ 1005026 w 1465782"/>
                <a:gd name="connsiteY285" fmla="*/ 361968 h 583494"/>
                <a:gd name="connsiteX286" fmla="*/ 1022998 w 1465782"/>
                <a:gd name="connsiteY286" fmla="*/ 350258 h 583494"/>
                <a:gd name="connsiteX287" fmla="*/ 1022998 w 1465782"/>
                <a:gd name="connsiteY287" fmla="*/ 360924 h 583494"/>
                <a:gd name="connsiteX288" fmla="*/ 1032838 w 1465782"/>
                <a:gd name="connsiteY288" fmla="*/ 360604 h 583494"/>
                <a:gd name="connsiteX289" fmla="*/ 1032838 w 1465782"/>
                <a:gd name="connsiteY289" fmla="*/ 312481 h 583494"/>
                <a:gd name="connsiteX290" fmla="*/ 1012101 w 1465782"/>
                <a:gd name="connsiteY290" fmla="*/ 289782 h 583494"/>
                <a:gd name="connsiteX291" fmla="*/ 828482 w 1465782"/>
                <a:gd name="connsiteY291" fmla="*/ 289782 h 583494"/>
                <a:gd name="connsiteX292" fmla="*/ 812705 w 1465782"/>
                <a:gd name="connsiteY292" fmla="*/ 295236 h 583494"/>
                <a:gd name="connsiteX293" fmla="*/ 806606 w 1465782"/>
                <a:gd name="connsiteY293" fmla="*/ 309112 h 583494"/>
                <a:gd name="connsiteX294" fmla="*/ 809534 w 1465782"/>
                <a:gd name="connsiteY294" fmla="*/ 319458 h 583494"/>
                <a:gd name="connsiteX295" fmla="*/ 822708 w 1465782"/>
                <a:gd name="connsiteY295" fmla="*/ 329805 h 583494"/>
                <a:gd name="connsiteX296" fmla="*/ 831897 w 1465782"/>
                <a:gd name="connsiteY296" fmla="*/ 336462 h 583494"/>
                <a:gd name="connsiteX297" fmla="*/ 834337 w 1465782"/>
                <a:gd name="connsiteY297" fmla="*/ 342799 h 583494"/>
                <a:gd name="connsiteX298" fmla="*/ 821813 w 1465782"/>
                <a:gd name="connsiteY298" fmla="*/ 353626 h 583494"/>
                <a:gd name="connsiteX299" fmla="*/ 806444 w 1465782"/>
                <a:gd name="connsiteY299" fmla="*/ 348493 h 583494"/>
                <a:gd name="connsiteX300" fmla="*/ 806444 w 1465782"/>
                <a:gd name="connsiteY300" fmla="*/ 358358 h 583494"/>
                <a:gd name="connsiteX301" fmla="*/ 822301 w 1465782"/>
                <a:gd name="connsiteY301" fmla="*/ 362288 h 583494"/>
                <a:gd name="connsiteX302" fmla="*/ 838565 w 1465782"/>
                <a:gd name="connsiteY302" fmla="*/ 356834 h 583494"/>
                <a:gd name="connsiteX303" fmla="*/ 844582 w 1465782"/>
                <a:gd name="connsiteY303" fmla="*/ 342958 h 583494"/>
                <a:gd name="connsiteX304" fmla="*/ 841736 w 1465782"/>
                <a:gd name="connsiteY304" fmla="*/ 332613 h 583494"/>
                <a:gd name="connsiteX305" fmla="*/ 828807 w 1465782"/>
                <a:gd name="connsiteY305" fmla="*/ 322506 h 583494"/>
                <a:gd name="connsiteX306" fmla="*/ 818968 w 1465782"/>
                <a:gd name="connsiteY306" fmla="*/ 315207 h 583494"/>
                <a:gd name="connsiteX307" fmla="*/ 816934 w 1465782"/>
                <a:gd name="connsiteY307" fmla="*/ 309032 h 583494"/>
                <a:gd name="connsiteX308" fmla="*/ 820106 w 1465782"/>
                <a:gd name="connsiteY308" fmla="*/ 301011 h 583494"/>
                <a:gd name="connsiteX309" fmla="*/ 828807 w 1465782"/>
                <a:gd name="connsiteY309" fmla="*/ 298123 h 583494"/>
                <a:gd name="connsiteX310" fmla="*/ 842143 w 1465782"/>
                <a:gd name="connsiteY310" fmla="*/ 302053 h 583494"/>
                <a:gd name="connsiteX311" fmla="*/ 842143 w 1465782"/>
                <a:gd name="connsiteY311" fmla="*/ 292589 h 583494"/>
                <a:gd name="connsiteX312" fmla="*/ 828482 w 1465782"/>
                <a:gd name="connsiteY312" fmla="*/ 289782 h 583494"/>
                <a:gd name="connsiteX313" fmla="*/ 870199 w 1465782"/>
                <a:gd name="connsiteY313" fmla="*/ 270533 h 583494"/>
                <a:gd name="connsiteX314" fmla="*/ 860196 w 1465782"/>
                <a:gd name="connsiteY314" fmla="*/ 273742 h 583494"/>
                <a:gd name="connsiteX315" fmla="*/ 860196 w 1465782"/>
                <a:gd name="connsiteY315" fmla="*/ 291387 h 583494"/>
                <a:gd name="connsiteX316" fmla="*/ 850519 w 1465782"/>
                <a:gd name="connsiteY316" fmla="*/ 291387 h 583494"/>
                <a:gd name="connsiteX317" fmla="*/ 850519 w 1465782"/>
                <a:gd name="connsiteY317" fmla="*/ 299407 h 583494"/>
                <a:gd name="connsiteX318" fmla="*/ 860196 w 1465782"/>
                <a:gd name="connsiteY318" fmla="*/ 299407 h 583494"/>
                <a:gd name="connsiteX319" fmla="*/ 860196 w 1465782"/>
                <a:gd name="connsiteY319" fmla="*/ 344002 h 583494"/>
                <a:gd name="connsiteX320" fmla="*/ 875565 w 1465782"/>
                <a:gd name="connsiteY320" fmla="*/ 361968 h 583494"/>
                <a:gd name="connsiteX321" fmla="*/ 884754 w 1465782"/>
                <a:gd name="connsiteY321" fmla="*/ 360203 h 583494"/>
                <a:gd name="connsiteX322" fmla="*/ 884754 w 1465782"/>
                <a:gd name="connsiteY322" fmla="*/ 351461 h 583494"/>
                <a:gd name="connsiteX323" fmla="*/ 878249 w 1465782"/>
                <a:gd name="connsiteY323" fmla="*/ 352985 h 583494"/>
                <a:gd name="connsiteX324" fmla="*/ 870117 w 1465782"/>
                <a:gd name="connsiteY324" fmla="*/ 342719 h 583494"/>
                <a:gd name="connsiteX325" fmla="*/ 870117 w 1465782"/>
                <a:gd name="connsiteY325" fmla="*/ 299087 h 583494"/>
                <a:gd name="connsiteX326" fmla="*/ 884754 w 1465782"/>
                <a:gd name="connsiteY326" fmla="*/ 299087 h 583494"/>
                <a:gd name="connsiteX327" fmla="*/ 884754 w 1465782"/>
                <a:gd name="connsiteY327" fmla="*/ 291066 h 583494"/>
                <a:gd name="connsiteX328" fmla="*/ 870199 w 1465782"/>
                <a:gd name="connsiteY328" fmla="*/ 291066 h 583494"/>
                <a:gd name="connsiteX329" fmla="*/ 972092 w 1465782"/>
                <a:gd name="connsiteY329" fmla="*/ 263234 h 583494"/>
                <a:gd name="connsiteX330" fmla="*/ 951599 w 1465782"/>
                <a:gd name="connsiteY330" fmla="*/ 336542 h 583494"/>
                <a:gd name="connsiteX331" fmla="*/ 949485 w 1465782"/>
                <a:gd name="connsiteY331" fmla="*/ 346969 h 583494"/>
                <a:gd name="connsiteX332" fmla="*/ 947696 w 1465782"/>
                <a:gd name="connsiteY332" fmla="*/ 336863 h 583494"/>
                <a:gd name="connsiteX333" fmla="*/ 928017 w 1465782"/>
                <a:gd name="connsiteY333" fmla="*/ 263315 h 583494"/>
                <a:gd name="connsiteX334" fmla="*/ 916713 w 1465782"/>
                <a:gd name="connsiteY334" fmla="*/ 263315 h 583494"/>
                <a:gd name="connsiteX335" fmla="*/ 944118 w 1465782"/>
                <a:gd name="connsiteY335" fmla="*/ 360924 h 583494"/>
                <a:gd name="connsiteX336" fmla="*/ 954608 w 1465782"/>
                <a:gd name="connsiteY336" fmla="*/ 360924 h 583494"/>
                <a:gd name="connsiteX337" fmla="*/ 983070 w 1465782"/>
                <a:gd name="connsiteY337" fmla="*/ 263234 h 583494"/>
                <a:gd name="connsiteX338" fmla="*/ 647058 w 1465782"/>
                <a:gd name="connsiteY338" fmla="*/ 263153 h 583494"/>
                <a:gd name="connsiteX339" fmla="*/ 647058 w 1465782"/>
                <a:gd name="connsiteY339" fmla="*/ 360363 h 583494"/>
                <a:gd name="connsiteX340" fmla="*/ 656166 w 1465782"/>
                <a:gd name="connsiteY340" fmla="*/ 360363 h 583494"/>
                <a:gd name="connsiteX341" fmla="*/ 656166 w 1465782"/>
                <a:gd name="connsiteY341" fmla="*/ 296198 h 583494"/>
                <a:gd name="connsiteX342" fmla="*/ 655271 w 1465782"/>
                <a:gd name="connsiteY342" fmla="*/ 277189 h 583494"/>
                <a:gd name="connsiteX343" fmla="*/ 655841 w 1465782"/>
                <a:gd name="connsiteY343" fmla="*/ 277189 h 583494"/>
                <a:gd name="connsiteX344" fmla="*/ 658687 w 1465782"/>
                <a:gd name="connsiteY344" fmla="*/ 290503 h 583494"/>
                <a:gd name="connsiteX345" fmla="*/ 682513 w 1465782"/>
                <a:gd name="connsiteY345" fmla="*/ 360924 h 583494"/>
                <a:gd name="connsiteX346" fmla="*/ 689995 w 1465782"/>
                <a:gd name="connsiteY346" fmla="*/ 360924 h 583494"/>
                <a:gd name="connsiteX347" fmla="*/ 712683 w 1465782"/>
                <a:gd name="connsiteY347" fmla="*/ 289942 h 583494"/>
                <a:gd name="connsiteX348" fmla="*/ 715611 w 1465782"/>
                <a:gd name="connsiteY348" fmla="*/ 277670 h 583494"/>
                <a:gd name="connsiteX349" fmla="*/ 716098 w 1465782"/>
                <a:gd name="connsiteY349" fmla="*/ 277670 h 583494"/>
                <a:gd name="connsiteX350" fmla="*/ 715611 w 1465782"/>
                <a:gd name="connsiteY350" fmla="*/ 285049 h 583494"/>
                <a:gd name="connsiteX351" fmla="*/ 715611 w 1465782"/>
                <a:gd name="connsiteY351" fmla="*/ 295316 h 583494"/>
                <a:gd name="connsiteX352" fmla="*/ 715611 w 1465782"/>
                <a:gd name="connsiteY352" fmla="*/ 360924 h 583494"/>
                <a:gd name="connsiteX353" fmla="*/ 725125 w 1465782"/>
                <a:gd name="connsiteY353" fmla="*/ 360924 h 583494"/>
                <a:gd name="connsiteX354" fmla="*/ 725125 w 1465782"/>
                <a:gd name="connsiteY354" fmla="*/ 263394 h 583494"/>
                <a:gd name="connsiteX355" fmla="*/ 712114 w 1465782"/>
                <a:gd name="connsiteY355" fmla="*/ 263394 h 583494"/>
                <a:gd name="connsiteX356" fmla="*/ 689263 w 1465782"/>
                <a:gd name="connsiteY356" fmla="*/ 333333 h 583494"/>
                <a:gd name="connsiteX357" fmla="*/ 686580 w 1465782"/>
                <a:gd name="connsiteY357" fmla="*/ 344883 h 583494"/>
                <a:gd name="connsiteX358" fmla="*/ 683896 w 1465782"/>
                <a:gd name="connsiteY358" fmla="*/ 333735 h 583494"/>
                <a:gd name="connsiteX359" fmla="*/ 660476 w 1465782"/>
                <a:gd name="connsiteY359" fmla="*/ 263153 h 583494"/>
                <a:gd name="connsiteX360" fmla="*/ 1267038 w 1465782"/>
                <a:gd name="connsiteY360" fmla="*/ 257539 h 583494"/>
                <a:gd name="connsiteX361" fmla="*/ 1267038 w 1465782"/>
                <a:gd name="connsiteY361" fmla="*/ 360923 h 583494"/>
                <a:gd name="connsiteX362" fmla="*/ 1276716 w 1465782"/>
                <a:gd name="connsiteY362" fmla="*/ 360923 h 583494"/>
                <a:gd name="connsiteX363" fmla="*/ 1276716 w 1465782"/>
                <a:gd name="connsiteY363" fmla="*/ 257539 h 583494"/>
                <a:gd name="connsiteX364" fmla="*/ 1202144 w 1465782"/>
                <a:gd name="connsiteY364" fmla="*/ 257539 h 583494"/>
                <a:gd name="connsiteX365" fmla="*/ 1202144 w 1465782"/>
                <a:gd name="connsiteY365" fmla="*/ 360924 h 583494"/>
                <a:gd name="connsiteX366" fmla="*/ 1212147 w 1465782"/>
                <a:gd name="connsiteY366" fmla="*/ 360924 h 583494"/>
                <a:gd name="connsiteX367" fmla="*/ 1212147 w 1465782"/>
                <a:gd name="connsiteY367" fmla="*/ 351781 h 583494"/>
                <a:gd name="connsiteX368" fmla="*/ 1227435 w 1465782"/>
                <a:gd name="connsiteY368" fmla="*/ 362048 h 583494"/>
                <a:gd name="connsiteX369" fmla="*/ 1245894 w 1465782"/>
                <a:gd name="connsiteY369" fmla="*/ 351621 h 583494"/>
                <a:gd name="connsiteX370" fmla="*/ 1252237 w 1465782"/>
                <a:gd name="connsiteY370" fmla="*/ 322666 h 583494"/>
                <a:gd name="connsiteX371" fmla="*/ 1246544 w 1465782"/>
                <a:gd name="connsiteY371" fmla="*/ 298605 h 583494"/>
                <a:gd name="connsiteX372" fmla="*/ 1230280 w 1465782"/>
                <a:gd name="connsiteY372" fmla="*/ 289782 h 583494"/>
                <a:gd name="connsiteX373" fmla="*/ 1211658 w 1465782"/>
                <a:gd name="connsiteY373" fmla="*/ 302454 h 583494"/>
                <a:gd name="connsiteX374" fmla="*/ 1211658 w 1465782"/>
                <a:gd name="connsiteY374" fmla="*/ 257539 h 583494"/>
                <a:gd name="connsiteX375" fmla="*/ 1050240 w 1465782"/>
                <a:gd name="connsiteY375" fmla="*/ 257539 h 583494"/>
                <a:gd name="connsiteX376" fmla="*/ 1050240 w 1465782"/>
                <a:gd name="connsiteY376" fmla="*/ 360923 h 583494"/>
                <a:gd name="connsiteX377" fmla="*/ 1060243 w 1465782"/>
                <a:gd name="connsiteY377" fmla="*/ 360923 h 583494"/>
                <a:gd name="connsiteX378" fmla="*/ 1060243 w 1465782"/>
                <a:gd name="connsiteY378" fmla="*/ 257539 h 583494"/>
                <a:gd name="connsiteX379" fmla="*/ 449777 w 1465782"/>
                <a:gd name="connsiteY379" fmla="*/ 235644 h 583494"/>
                <a:gd name="connsiteX380" fmla="*/ 449777 w 1465782"/>
                <a:gd name="connsiteY380" fmla="*/ 285611 h 583494"/>
                <a:gd name="connsiteX381" fmla="*/ 460023 w 1465782"/>
                <a:gd name="connsiteY381" fmla="*/ 285611 h 583494"/>
                <a:gd name="connsiteX382" fmla="*/ 480435 w 1465782"/>
                <a:gd name="connsiteY382" fmla="*/ 260427 h 583494"/>
                <a:gd name="connsiteX383" fmla="*/ 474742 w 1465782"/>
                <a:gd name="connsiteY383" fmla="*/ 241899 h 583494"/>
                <a:gd name="connsiteX384" fmla="*/ 459779 w 1465782"/>
                <a:gd name="connsiteY384" fmla="*/ 235644 h 583494"/>
                <a:gd name="connsiteX385" fmla="*/ 419851 w 1465782"/>
                <a:gd name="connsiteY385" fmla="*/ 209977 h 583494"/>
                <a:gd name="connsiteX386" fmla="*/ 464740 w 1465782"/>
                <a:gd name="connsiteY386" fmla="*/ 209977 h 583494"/>
                <a:gd name="connsiteX387" fmla="*/ 499219 w 1465782"/>
                <a:gd name="connsiteY387" fmla="*/ 222490 h 583494"/>
                <a:gd name="connsiteX388" fmla="*/ 511580 w 1465782"/>
                <a:gd name="connsiteY388" fmla="*/ 258823 h 583494"/>
                <a:gd name="connsiteX389" fmla="*/ 498081 w 1465782"/>
                <a:gd name="connsiteY389" fmla="*/ 296278 h 583494"/>
                <a:gd name="connsiteX390" fmla="*/ 462219 w 1465782"/>
                <a:gd name="connsiteY390" fmla="*/ 311036 h 583494"/>
                <a:gd name="connsiteX391" fmla="*/ 449777 w 1465782"/>
                <a:gd name="connsiteY391" fmla="*/ 311036 h 583494"/>
                <a:gd name="connsiteX392" fmla="*/ 449777 w 1465782"/>
                <a:gd name="connsiteY392" fmla="*/ 363410 h 583494"/>
                <a:gd name="connsiteX393" fmla="*/ 419851 w 1465782"/>
                <a:gd name="connsiteY393" fmla="*/ 363410 h 583494"/>
                <a:gd name="connsiteX394" fmla="*/ 380493 w 1465782"/>
                <a:gd name="connsiteY394" fmla="*/ 209977 h 583494"/>
                <a:gd name="connsiteX395" fmla="*/ 410662 w 1465782"/>
                <a:gd name="connsiteY395" fmla="*/ 209977 h 583494"/>
                <a:gd name="connsiteX396" fmla="*/ 370979 w 1465782"/>
                <a:gd name="connsiteY396" fmla="*/ 363410 h 583494"/>
                <a:gd name="connsiteX397" fmla="*/ 338939 w 1465782"/>
                <a:gd name="connsiteY397" fmla="*/ 363410 h 583494"/>
                <a:gd name="connsiteX398" fmla="*/ 300312 w 1465782"/>
                <a:gd name="connsiteY398" fmla="*/ 210138 h 583494"/>
                <a:gd name="connsiteX399" fmla="*/ 331376 w 1465782"/>
                <a:gd name="connsiteY399" fmla="*/ 210138 h 583494"/>
                <a:gd name="connsiteX400" fmla="*/ 352926 w 1465782"/>
                <a:gd name="connsiteY400" fmla="*/ 311197 h 583494"/>
                <a:gd name="connsiteX401" fmla="*/ 355365 w 1465782"/>
                <a:gd name="connsiteY401" fmla="*/ 330687 h 583494"/>
                <a:gd name="connsiteX402" fmla="*/ 356097 w 1465782"/>
                <a:gd name="connsiteY402" fmla="*/ 330687 h 583494"/>
                <a:gd name="connsiteX403" fmla="*/ 356666 w 1465782"/>
                <a:gd name="connsiteY403" fmla="*/ 326596 h 583494"/>
                <a:gd name="connsiteX404" fmla="*/ 358943 w 1465782"/>
                <a:gd name="connsiteY404" fmla="*/ 310555 h 583494"/>
                <a:gd name="connsiteX405" fmla="*/ 157841 w 1465782"/>
                <a:gd name="connsiteY405" fmla="*/ 209977 h 583494"/>
                <a:gd name="connsiteX406" fmla="*/ 199802 w 1465782"/>
                <a:gd name="connsiteY406" fmla="*/ 209977 h 583494"/>
                <a:gd name="connsiteX407" fmla="*/ 221595 w 1465782"/>
                <a:gd name="connsiteY407" fmla="*/ 302936 h 583494"/>
                <a:gd name="connsiteX408" fmla="*/ 225498 w 1465782"/>
                <a:gd name="connsiteY408" fmla="*/ 326997 h 583494"/>
                <a:gd name="connsiteX409" fmla="*/ 226067 w 1465782"/>
                <a:gd name="connsiteY409" fmla="*/ 326997 h 583494"/>
                <a:gd name="connsiteX410" fmla="*/ 226800 w 1465782"/>
                <a:gd name="connsiteY410" fmla="*/ 321383 h 583494"/>
                <a:gd name="connsiteX411" fmla="*/ 229483 w 1465782"/>
                <a:gd name="connsiteY411" fmla="*/ 302535 h 583494"/>
                <a:gd name="connsiteX412" fmla="*/ 249488 w 1465782"/>
                <a:gd name="connsiteY412" fmla="*/ 209977 h 583494"/>
                <a:gd name="connsiteX413" fmla="*/ 290148 w 1465782"/>
                <a:gd name="connsiteY413" fmla="*/ 209977 h 583494"/>
                <a:gd name="connsiteX414" fmla="*/ 290148 w 1465782"/>
                <a:gd name="connsiteY414" fmla="*/ 363410 h 583494"/>
                <a:gd name="connsiteX415" fmla="*/ 264451 w 1465782"/>
                <a:gd name="connsiteY415" fmla="*/ 363410 h 583494"/>
                <a:gd name="connsiteX416" fmla="*/ 264451 w 1465782"/>
                <a:gd name="connsiteY416" fmla="*/ 274142 h 583494"/>
                <a:gd name="connsiteX417" fmla="*/ 265508 w 1465782"/>
                <a:gd name="connsiteY417" fmla="*/ 239413 h 583494"/>
                <a:gd name="connsiteX418" fmla="*/ 264857 w 1465782"/>
                <a:gd name="connsiteY418" fmla="*/ 239413 h 583494"/>
                <a:gd name="connsiteX419" fmla="*/ 260222 w 1465782"/>
                <a:gd name="connsiteY419" fmla="*/ 265158 h 583494"/>
                <a:gd name="connsiteX420" fmla="*/ 238184 w 1465782"/>
                <a:gd name="connsiteY420" fmla="*/ 363410 h 583494"/>
                <a:gd name="connsiteX421" fmla="*/ 210861 w 1465782"/>
                <a:gd name="connsiteY421" fmla="*/ 363410 h 583494"/>
                <a:gd name="connsiteX422" fmla="*/ 187035 w 1465782"/>
                <a:gd name="connsiteY422" fmla="*/ 266522 h 583494"/>
                <a:gd name="connsiteX423" fmla="*/ 182399 w 1465782"/>
                <a:gd name="connsiteY423" fmla="*/ 239413 h 583494"/>
                <a:gd name="connsiteX424" fmla="*/ 181586 w 1465782"/>
                <a:gd name="connsiteY424" fmla="*/ 239413 h 583494"/>
                <a:gd name="connsiteX425" fmla="*/ 182643 w 1465782"/>
                <a:gd name="connsiteY425" fmla="*/ 282082 h 583494"/>
                <a:gd name="connsiteX426" fmla="*/ 182643 w 1465782"/>
                <a:gd name="connsiteY426" fmla="*/ 363410 h 583494"/>
                <a:gd name="connsiteX427" fmla="*/ 157841 w 1465782"/>
                <a:gd name="connsiteY427" fmla="*/ 363410 h 583494"/>
                <a:gd name="connsiteX428" fmla="*/ 1134324 w 1465782"/>
                <a:gd name="connsiteY428" fmla="*/ 146294 h 583494"/>
                <a:gd name="connsiteX429" fmla="*/ 1134731 w 1465782"/>
                <a:gd name="connsiteY429" fmla="*/ 146294 h 583494"/>
                <a:gd name="connsiteX430" fmla="*/ 1147742 w 1465782"/>
                <a:gd name="connsiteY430" fmla="*/ 173644 h 583494"/>
                <a:gd name="connsiteX431" fmla="*/ 1134324 w 1465782"/>
                <a:gd name="connsiteY431" fmla="*/ 203480 h 583494"/>
                <a:gd name="connsiteX432" fmla="*/ 1120825 w 1465782"/>
                <a:gd name="connsiteY432" fmla="*/ 174526 h 583494"/>
                <a:gd name="connsiteX433" fmla="*/ 1134324 w 1465782"/>
                <a:gd name="connsiteY433" fmla="*/ 146294 h 583494"/>
                <a:gd name="connsiteX434" fmla="*/ 979492 w 1465782"/>
                <a:gd name="connsiteY434" fmla="*/ 146294 h 583494"/>
                <a:gd name="connsiteX435" fmla="*/ 979899 w 1465782"/>
                <a:gd name="connsiteY435" fmla="*/ 146294 h 583494"/>
                <a:gd name="connsiteX436" fmla="*/ 992910 w 1465782"/>
                <a:gd name="connsiteY436" fmla="*/ 173645 h 583494"/>
                <a:gd name="connsiteX437" fmla="*/ 979492 w 1465782"/>
                <a:gd name="connsiteY437" fmla="*/ 203481 h 583494"/>
                <a:gd name="connsiteX438" fmla="*/ 965993 w 1465782"/>
                <a:gd name="connsiteY438" fmla="*/ 174527 h 583494"/>
                <a:gd name="connsiteX439" fmla="*/ 979492 w 1465782"/>
                <a:gd name="connsiteY439" fmla="*/ 146294 h 583494"/>
                <a:gd name="connsiteX440" fmla="*/ 780017 w 1465782"/>
                <a:gd name="connsiteY440" fmla="*/ 128328 h 583494"/>
                <a:gd name="connsiteX441" fmla="*/ 780017 w 1465782"/>
                <a:gd name="connsiteY441" fmla="*/ 221367 h 583494"/>
                <a:gd name="connsiteX442" fmla="*/ 804413 w 1465782"/>
                <a:gd name="connsiteY442" fmla="*/ 221367 h 583494"/>
                <a:gd name="connsiteX443" fmla="*/ 804413 w 1465782"/>
                <a:gd name="connsiteY443" fmla="*/ 128328 h 583494"/>
                <a:gd name="connsiteX444" fmla="*/ 1132419 w 1465782"/>
                <a:gd name="connsiteY444" fmla="*/ 126943 h 583494"/>
                <a:gd name="connsiteX445" fmla="*/ 1106268 w 1465782"/>
                <a:gd name="connsiteY445" fmla="*/ 139316 h 583494"/>
                <a:gd name="connsiteX446" fmla="*/ 1096022 w 1465782"/>
                <a:gd name="connsiteY446" fmla="*/ 174687 h 583494"/>
                <a:gd name="connsiteX447" fmla="*/ 1105943 w 1465782"/>
                <a:gd name="connsiteY447" fmla="*/ 210377 h 583494"/>
                <a:gd name="connsiteX448" fmla="*/ 1118566 w 1465782"/>
                <a:gd name="connsiteY448" fmla="*/ 220111 h 583494"/>
                <a:gd name="connsiteX449" fmla="*/ 1134324 w 1465782"/>
                <a:gd name="connsiteY449" fmla="*/ 222970 h 583494"/>
                <a:gd name="connsiteX450" fmla="*/ 1150166 w 1465782"/>
                <a:gd name="connsiteY450" fmla="*/ 220013 h 583494"/>
                <a:gd name="connsiteX451" fmla="*/ 1162867 w 1465782"/>
                <a:gd name="connsiteY451" fmla="*/ 210218 h 583494"/>
                <a:gd name="connsiteX452" fmla="*/ 1172706 w 1465782"/>
                <a:gd name="connsiteY452" fmla="*/ 173644 h 583494"/>
                <a:gd name="connsiteX453" fmla="*/ 1162704 w 1465782"/>
                <a:gd name="connsiteY453" fmla="*/ 139316 h 583494"/>
                <a:gd name="connsiteX454" fmla="*/ 1159780 w 1465782"/>
                <a:gd name="connsiteY454" fmla="*/ 136432 h 583494"/>
                <a:gd name="connsiteX455" fmla="*/ 1132419 w 1465782"/>
                <a:gd name="connsiteY455" fmla="*/ 126943 h 583494"/>
                <a:gd name="connsiteX456" fmla="*/ 977587 w 1465782"/>
                <a:gd name="connsiteY456" fmla="*/ 126943 h 583494"/>
                <a:gd name="connsiteX457" fmla="*/ 951437 w 1465782"/>
                <a:gd name="connsiteY457" fmla="*/ 139316 h 583494"/>
                <a:gd name="connsiteX458" fmla="*/ 941516 w 1465782"/>
                <a:gd name="connsiteY458" fmla="*/ 174687 h 583494"/>
                <a:gd name="connsiteX459" fmla="*/ 951437 w 1465782"/>
                <a:gd name="connsiteY459" fmla="*/ 210378 h 583494"/>
                <a:gd name="connsiteX460" fmla="*/ 979492 w 1465782"/>
                <a:gd name="connsiteY460" fmla="*/ 222971 h 583494"/>
                <a:gd name="connsiteX461" fmla="*/ 1008361 w 1465782"/>
                <a:gd name="connsiteY461" fmla="*/ 210219 h 583494"/>
                <a:gd name="connsiteX462" fmla="*/ 1017956 w 1465782"/>
                <a:gd name="connsiteY462" fmla="*/ 173645 h 583494"/>
                <a:gd name="connsiteX463" fmla="*/ 1007873 w 1465782"/>
                <a:gd name="connsiteY463" fmla="*/ 139316 h 583494"/>
                <a:gd name="connsiteX464" fmla="*/ 1004949 w 1465782"/>
                <a:gd name="connsiteY464" fmla="*/ 136432 h 583494"/>
                <a:gd name="connsiteX465" fmla="*/ 977587 w 1465782"/>
                <a:gd name="connsiteY465" fmla="*/ 126943 h 583494"/>
                <a:gd name="connsiteX466" fmla="*/ 858571 w 1465782"/>
                <a:gd name="connsiteY466" fmla="*/ 126805 h 583494"/>
                <a:gd name="connsiteX467" fmla="*/ 830027 w 1465782"/>
                <a:gd name="connsiteY467" fmla="*/ 140119 h 583494"/>
                <a:gd name="connsiteX468" fmla="*/ 819131 w 1465782"/>
                <a:gd name="connsiteY468" fmla="*/ 177014 h 583494"/>
                <a:gd name="connsiteX469" fmla="*/ 829458 w 1465782"/>
                <a:gd name="connsiteY469" fmla="*/ 209978 h 583494"/>
                <a:gd name="connsiteX470" fmla="*/ 855805 w 1465782"/>
                <a:gd name="connsiteY470" fmla="*/ 222972 h 583494"/>
                <a:gd name="connsiteX471" fmla="*/ 874997 w 1465782"/>
                <a:gd name="connsiteY471" fmla="*/ 217678 h 583494"/>
                <a:gd name="connsiteX472" fmla="*/ 874835 w 1465782"/>
                <a:gd name="connsiteY472" fmla="*/ 198349 h 583494"/>
                <a:gd name="connsiteX473" fmla="*/ 861092 w 1465782"/>
                <a:gd name="connsiteY473" fmla="*/ 203482 h 583494"/>
                <a:gd name="connsiteX474" fmla="*/ 848487 w 1465782"/>
                <a:gd name="connsiteY474" fmla="*/ 196264 h 583494"/>
                <a:gd name="connsiteX475" fmla="*/ 843933 w 1465782"/>
                <a:gd name="connsiteY475" fmla="*/ 175250 h 583494"/>
                <a:gd name="connsiteX476" fmla="*/ 848893 w 1465782"/>
                <a:gd name="connsiteY476" fmla="*/ 154155 h 583494"/>
                <a:gd name="connsiteX477" fmla="*/ 862149 w 1465782"/>
                <a:gd name="connsiteY477" fmla="*/ 146135 h 583494"/>
                <a:gd name="connsiteX478" fmla="*/ 874835 w 1465782"/>
                <a:gd name="connsiteY478" fmla="*/ 151508 h 583494"/>
                <a:gd name="connsiteX479" fmla="*/ 874835 w 1465782"/>
                <a:gd name="connsiteY479" fmla="*/ 130735 h 583494"/>
                <a:gd name="connsiteX480" fmla="*/ 858571 w 1465782"/>
                <a:gd name="connsiteY480" fmla="*/ 126805 h 583494"/>
                <a:gd name="connsiteX481" fmla="*/ 933466 w 1465782"/>
                <a:gd name="connsiteY481" fmla="*/ 126644 h 583494"/>
                <a:gd name="connsiteX482" fmla="*/ 914030 w 1465782"/>
                <a:gd name="connsiteY482" fmla="*/ 143728 h 583494"/>
                <a:gd name="connsiteX483" fmla="*/ 913624 w 1465782"/>
                <a:gd name="connsiteY483" fmla="*/ 143728 h 583494"/>
                <a:gd name="connsiteX484" fmla="*/ 913624 w 1465782"/>
                <a:gd name="connsiteY484" fmla="*/ 128329 h 583494"/>
                <a:gd name="connsiteX485" fmla="*/ 889634 w 1465782"/>
                <a:gd name="connsiteY485" fmla="*/ 128329 h 583494"/>
                <a:gd name="connsiteX486" fmla="*/ 889634 w 1465782"/>
                <a:gd name="connsiteY486" fmla="*/ 221366 h 583494"/>
                <a:gd name="connsiteX487" fmla="*/ 913786 w 1465782"/>
                <a:gd name="connsiteY487" fmla="*/ 221366 h 583494"/>
                <a:gd name="connsiteX488" fmla="*/ 913786 w 1465782"/>
                <a:gd name="connsiteY488" fmla="*/ 174526 h 583494"/>
                <a:gd name="connsiteX489" fmla="*/ 931270 w 1465782"/>
                <a:gd name="connsiteY489" fmla="*/ 148861 h 583494"/>
                <a:gd name="connsiteX490" fmla="*/ 939402 w 1465782"/>
                <a:gd name="connsiteY490" fmla="*/ 150626 h 583494"/>
                <a:gd name="connsiteX491" fmla="*/ 939402 w 1465782"/>
                <a:gd name="connsiteY491" fmla="*/ 127526 h 583494"/>
                <a:gd name="connsiteX492" fmla="*/ 933466 w 1465782"/>
                <a:gd name="connsiteY492" fmla="*/ 126644 h 583494"/>
                <a:gd name="connsiteX493" fmla="*/ 1063332 w 1465782"/>
                <a:gd name="connsiteY493" fmla="*/ 126565 h 583494"/>
                <a:gd name="connsiteX494" fmla="*/ 1038937 w 1465782"/>
                <a:gd name="connsiteY494" fmla="*/ 134585 h 583494"/>
                <a:gd name="connsiteX495" fmla="*/ 1030235 w 1465782"/>
                <a:gd name="connsiteY495" fmla="*/ 154876 h 583494"/>
                <a:gd name="connsiteX496" fmla="*/ 1034220 w 1465782"/>
                <a:gd name="connsiteY496" fmla="*/ 169554 h 583494"/>
                <a:gd name="connsiteX497" fmla="*/ 1051378 w 1465782"/>
                <a:gd name="connsiteY497" fmla="*/ 183831 h 583494"/>
                <a:gd name="connsiteX498" fmla="*/ 1059510 w 1465782"/>
                <a:gd name="connsiteY498" fmla="*/ 189365 h 583494"/>
                <a:gd name="connsiteX499" fmla="*/ 1062438 w 1465782"/>
                <a:gd name="connsiteY499" fmla="*/ 195461 h 583494"/>
                <a:gd name="connsiteX500" fmla="*/ 1051297 w 1465782"/>
                <a:gd name="connsiteY500" fmla="*/ 204684 h 583494"/>
                <a:gd name="connsiteX501" fmla="*/ 1030397 w 1465782"/>
                <a:gd name="connsiteY501" fmla="*/ 197786 h 583494"/>
                <a:gd name="connsiteX502" fmla="*/ 1030397 w 1465782"/>
                <a:gd name="connsiteY502" fmla="*/ 218399 h 583494"/>
                <a:gd name="connsiteX503" fmla="*/ 1053980 w 1465782"/>
                <a:gd name="connsiteY503" fmla="*/ 223131 h 583494"/>
                <a:gd name="connsiteX504" fmla="*/ 1078376 w 1465782"/>
                <a:gd name="connsiteY504" fmla="*/ 215110 h 583494"/>
                <a:gd name="connsiteX505" fmla="*/ 1086508 w 1465782"/>
                <a:gd name="connsiteY505" fmla="*/ 194738 h 583494"/>
                <a:gd name="connsiteX506" fmla="*/ 1082524 w 1465782"/>
                <a:gd name="connsiteY506" fmla="*/ 179900 h 583494"/>
                <a:gd name="connsiteX507" fmla="*/ 1066260 w 1465782"/>
                <a:gd name="connsiteY507" fmla="*/ 166586 h 583494"/>
                <a:gd name="connsiteX508" fmla="*/ 1056176 w 1465782"/>
                <a:gd name="connsiteY508" fmla="*/ 159689 h 583494"/>
                <a:gd name="connsiteX509" fmla="*/ 1054225 w 1465782"/>
                <a:gd name="connsiteY509" fmla="*/ 154315 h 583494"/>
                <a:gd name="connsiteX510" fmla="*/ 1065284 w 1465782"/>
                <a:gd name="connsiteY510" fmla="*/ 145172 h 583494"/>
                <a:gd name="connsiteX511" fmla="*/ 1082767 w 1465782"/>
                <a:gd name="connsiteY511" fmla="*/ 150145 h 583494"/>
                <a:gd name="connsiteX512" fmla="*/ 1082767 w 1465782"/>
                <a:gd name="connsiteY512" fmla="*/ 130013 h 583494"/>
                <a:gd name="connsiteX513" fmla="*/ 1063332 w 1465782"/>
                <a:gd name="connsiteY513" fmla="*/ 126565 h 583494"/>
                <a:gd name="connsiteX514" fmla="*/ 1312657 w 1465782"/>
                <a:gd name="connsiteY514" fmla="*/ 117099 h 583494"/>
                <a:gd name="connsiteX515" fmla="*/ 1315828 w 1465782"/>
                <a:gd name="connsiteY515" fmla="*/ 117099 h 583494"/>
                <a:gd name="connsiteX516" fmla="*/ 1321277 w 1465782"/>
                <a:gd name="connsiteY516" fmla="*/ 121110 h 583494"/>
                <a:gd name="connsiteX517" fmla="*/ 1319976 w 1465782"/>
                <a:gd name="connsiteY517" fmla="*/ 124077 h 583494"/>
                <a:gd name="connsiteX518" fmla="*/ 1316479 w 1465782"/>
                <a:gd name="connsiteY518" fmla="*/ 125120 h 583494"/>
                <a:gd name="connsiteX519" fmla="*/ 1312657 w 1465782"/>
                <a:gd name="connsiteY519" fmla="*/ 125120 h 583494"/>
                <a:gd name="connsiteX520" fmla="*/ 1307128 w 1465782"/>
                <a:gd name="connsiteY520" fmla="*/ 112287 h 583494"/>
                <a:gd name="connsiteX521" fmla="*/ 1307128 w 1465782"/>
                <a:gd name="connsiteY521" fmla="*/ 140519 h 583494"/>
                <a:gd name="connsiteX522" fmla="*/ 1312657 w 1465782"/>
                <a:gd name="connsiteY522" fmla="*/ 140519 h 583494"/>
                <a:gd name="connsiteX523" fmla="*/ 1312657 w 1465782"/>
                <a:gd name="connsiteY523" fmla="*/ 129290 h 583494"/>
                <a:gd name="connsiteX524" fmla="*/ 1315016 w 1465782"/>
                <a:gd name="connsiteY524" fmla="*/ 129290 h 583494"/>
                <a:gd name="connsiteX525" fmla="*/ 1319081 w 1465782"/>
                <a:gd name="connsiteY525" fmla="*/ 133461 h 583494"/>
                <a:gd name="connsiteX526" fmla="*/ 1321683 w 1465782"/>
                <a:gd name="connsiteY526" fmla="*/ 140519 h 583494"/>
                <a:gd name="connsiteX527" fmla="*/ 1328189 w 1465782"/>
                <a:gd name="connsiteY527" fmla="*/ 140199 h 583494"/>
                <a:gd name="connsiteX528" fmla="*/ 1324855 w 1465782"/>
                <a:gd name="connsiteY528" fmla="*/ 132178 h 583494"/>
                <a:gd name="connsiteX529" fmla="*/ 1320382 w 1465782"/>
                <a:gd name="connsiteY529" fmla="*/ 127526 h 583494"/>
                <a:gd name="connsiteX530" fmla="*/ 1327213 w 1465782"/>
                <a:gd name="connsiteY530" fmla="*/ 120147 h 583494"/>
                <a:gd name="connsiteX531" fmla="*/ 1324449 w 1465782"/>
                <a:gd name="connsiteY531" fmla="*/ 114372 h 583494"/>
                <a:gd name="connsiteX532" fmla="*/ 1316317 w 1465782"/>
                <a:gd name="connsiteY532" fmla="*/ 112287 h 583494"/>
                <a:gd name="connsiteX533" fmla="*/ 1316723 w 1465782"/>
                <a:gd name="connsiteY533" fmla="*/ 107876 h 583494"/>
                <a:gd name="connsiteX534" fmla="*/ 1316804 w 1465782"/>
                <a:gd name="connsiteY534" fmla="*/ 107876 h 583494"/>
                <a:gd name="connsiteX535" fmla="*/ 1330385 w 1465782"/>
                <a:gd name="connsiteY535" fmla="*/ 113410 h 583494"/>
                <a:gd name="connsiteX536" fmla="*/ 1330385 w 1465782"/>
                <a:gd name="connsiteY536" fmla="*/ 140439 h 583494"/>
                <a:gd name="connsiteX537" fmla="*/ 1302980 w 1465782"/>
                <a:gd name="connsiteY537" fmla="*/ 140439 h 583494"/>
                <a:gd name="connsiteX538" fmla="*/ 1297287 w 1465782"/>
                <a:gd name="connsiteY538" fmla="*/ 126884 h 583494"/>
                <a:gd name="connsiteX539" fmla="*/ 1297292 w 1465782"/>
                <a:gd name="connsiteY539" fmla="*/ 125909 h 583494"/>
                <a:gd name="connsiteX540" fmla="*/ 1316723 w 1465782"/>
                <a:gd name="connsiteY540" fmla="*/ 107876 h 583494"/>
                <a:gd name="connsiteX541" fmla="*/ 1316804 w 1465782"/>
                <a:gd name="connsiteY541" fmla="*/ 104476 h 583494"/>
                <a:gd name="connsiteX542" fmla="*/ 1300540 w 1465782"/>
                <a:gd name="connsiteY542" fmla="*/ 110603 h 583494"/>
                <a:gd name="connsiteX543" fmla="*/ 1293872 w 1465782"/>
                <a:gd name="connsiteY543" fmla="*/ 126644 h 583494"/>
                <a:gd name="connsiteX544" fmla="*/ 1300459 w 1465782"/>
                <a:gd name="connsiteY544" fmla="*/ 142685 h 583494"/>
                <a:gd name="connsiteX545" fmla="*/ 1316723 w 1465782"/>
                <a:gd name="connsiteY545" fmla="*/ 148941 h 583494"/>
                <a:gd name="connsiteX546" fmla="*/ 1332906 w 1465782"/>
                <a:gd name="connsiteY546" fmla="*/ 142685 h 583494"/>
                <a:gd name="connsiteX547" fmla="*/ 1339574 w 1465782"/>
                <a:gd name="connsiteY547" fmla="*/ 126644 h 583494"/>
                <a:gd name="connsiteX548" fmla="*/ 1333068 w 1465782"/>
                <a:gd name="connsiteY548" fmla="*/ 110603 h 583494"/>
                <a:gd name="connsiteX549" fmla="*/ 1316804 w 1465782"/>
                <a:gd name="connsiteY549" fmla="*/ 104476 h 583494"/>
                <a:gd name="connsiteX550" fmla="*/ 724637 w 1465782"/>
                <a:gd name="connsiteY550" fmla="*/ 91193 h 583494"/>
                <a:gd name="connsiteX551" fmla="*/ 707316 w 1465782"/>
                <a:gd name="connsiteY551" fmla="*/ 169634 h 583494"/>
                <a:gd name="connsiteX552" fmla="*/ 704957 w 1465782"/>
                <a:gd name="connsiteY552" fmla="*/ 185675 h 583494"/>
                <a:gd name="connsiteX553" fmla="*/ 704306 w 1465782"/>
                <a:gd name="connsiteY553" fmla="*/ 190487 h 583494"/>
                <a:gd name="connsiteX554" fmla="*/ 700972 w 1465782"/>
                <a:gd name="connsiteY554" fmla="*/ 170436 h 583494"/>
                <a:gd name="connsiteX555" fmla="*/ 682513 w 1465782"/>
                <a:gd name="connsiteY555" fmla="*/ 91274 h 583494"/>
                <a:gd name="connsiteX556" fmla="*/ 646895 w 1465782"/>
                <a:gd name="connsiteY556" fmla="*/ 91274 h 583494"/>
                <a:gd name="connsiteX557" fmla="*/ 646895 w 1465782"/>
                <a:gd name="connsiteY557" fmla="*/ 221366 h 583494"/>
                <a:gd name="connsiteX558" fmla="*/ 667713 w 1465782"/>
                <a:gd name="connsiteY558" fmla="*/ 221366 h 583494"/>
                <a:gd name="connsiteX559" fmla="*/ 667713 w 1465782"/>
                <a:gd name="connsiteY559" fmla="*/ 152390 h 583494"/>
                <a:gd name="connsiteX560" fmla="*/ 666818 w 1465782"/>
                <a:gd name="connsiteY560" fmla="*/ 116217 h 583494"/>
                <a:gd name="connsiteX561" fmla="*/ 667794 w 1465782"/>
                <a:gd name="connsiteY561" fmla="*/ 116217 h 583494"/>
                <a:gd name="connsiteX562" fmla="*/ 671372 w 1465782"/>
                <a:gd name="connsiteY562" fmla="*/ 139236 h 583494"/>
                <a:gd name="connsiteX563" fmla="*/ 691214 w 1465782"/>
                <a:gd name="connsiteY563" fmla="*/ 221366 h 583494"/>
                <a:gd name="connsiteX564" fmla="*/ 714715 w 1465782"/>
                <a:gd name="connsiteY564" fmla="*/ 221366 h 583494"/>
                <a:gd name="connsiteX565" fmla="*/ 733907 w 1465782"/>
                <a:gd name="connsiteY565" fmla="*/ 138033 h 583494"/>
                <a:gd name="connsiteX566" fmla="*/ 737892 w 1465782"/>
                <a:gd name="connsiteY566" fmla="*/ 116217 h 583494"/>
                <a:gd name="connsiteX567" fmla="*/ 738379 w 1465782"/>
                <a:gd name="connsiteY567" fmla="*/ 116217 h 583494"/>
                <a:gd name="connsiteX568" fmla="*/ 737485 w 1465782"/>
                <a:gd name="connsiteY568" fmla="*/ 145653 h 583494"/>
                <a:gd name="connsiteX569" fmla="*/ 737485 w 1465782"/>
                <a:gd name="connsiteY569" fmla="*/ 221366 h 583494"/>
                <a:gd name="connsiteX570" fmla="*/ 758872 w 1465782"/>
                <a:gd name="connsiteY570" fmla="*/ 221366 h 583494"/>
                <a:gd name="connsiteX571" fmla="*/ 758872 w 1465782"/>
                <a:gd name="connsiteY571" fmla="*/ 91193 h 583494"/>
                <a:gd name="connsiteX572" fmla="*/ 792052 w 1465782"/>
                <a:gd name="connsiteY572" fmla="*/ 86747 h 583494"/>
                <a:gd name="connsiteX573" fmla="*/ 781562 w 1465782"/>
                <a:gd name="connsiteY573" fmla="*/ 90712 h 583494"/>
                <a:gd name="connsiteX574" fmla="*/ 777414 w 1465782"/>
                <a:gd name="connsiteY574" fmla="*/ 101139 h 583494"/>
                <a:gd name="connsiteX575" fmla="*/ 781480 w 1465782"/>
                <a:gd name="connsiteY575" fmla="*/ 111405 h 583494"/>
                <a:gd name="connsiteX576" fmla="*/ 791889 w 1465782"/>
                <a:gd name="connsiteY576" fmla="*/ 115656 h 583494"/>
                <a:gd name="connsiteX577" fmla="*/ 802542 w 1465782"/>
                <a:gd name="connsiteY577" fmla="*/ 111485 h 583494"/>
                <a:gd name="connsiteX578" fmla="*/ 806608 w 1465782"/>
                <a:gd name="connsiteY578" fmla="*/ 101058 h 583494"/>
                <a:gd name="connsiteX579" fmla="*/ 802542 w 1465782"/>
                <a:gd name="connsiteY579" fmla="*/ 90712 h 583494"/>
                <a:gd name="connsiteX580" fmla="*/ 792052 w 1465782"/>
                <a:gd name="connsiteY580" fmla="*/ 86747 h 583494"/>
                <a:gd name="connsiteX581" fmla="*/ 1219792 w 1465782"/>
                <a:gd name="connsiteY581" fmla="*/ 82211 h 583494"/>
                <a:gd name="connsiteX582" fmla="*/ 1196697 w 1465782"/>
                <a:gd name="connsiteY582" fmla="*/ 90392 h 583494"/>
                <a:gd name="connsiteX583" fmla="*/ 1188565 w 1465782"/>
                <a:gd name="connsiteY583" fmla="*/ 114454 h 583494"/>
                <a:gd name="connsiteX584" fmla="*/ 1188565 w 1465782"/>
                <a:gd name="connsiteY584" fmla="*/ 128329 h 583494"/>
                <a:gd name="connsiteX585" fmla="*/ 1177586 w 1465782"/>
                <a:gd name="connsiteY585" fmla="*/ 128329 h 583494"/>
                <a:gd name="connsiteX586" fmla="*/ 1177586 w 1465782"/>
                <a:gd name="connsiteY586" fmla="*/ 147739 h 583494"/>
                <a:gd name="connsiteX587" fmla="*/ 1188565 w 1465782"/>
                <a:gd name="connsiteY587" fmla="*/ 147739 h 583494"/>
                <a:gd name="connsiteX588" fmla="*/ 1188565 w 1465782"/>
                <a:gd name="connsiteY588" fmla="*/ 221367 h 583494"/>
                <a:gd name="connsiteX589" fmla="*/ 1212472 w 1465782"/>
                <a:gd name="connsiteY589" fmla="*/ 221367 h 583494"/>
                <a:gd name="connsiteX590" fmla="*/ 1212472 w 1465782"/>
                <a:gd name="connsiteY590" fmla="*/ 147579 h 583494"/>
                <a:gd name="connsiteX591" fmla="*/ 1221824 w 1465782"/>
                <a:gd name="connsiteY591" fmla="*/ 147579 h 583494"/>
                <a:gd name="connsiteX592" fmla="*/ 1221824 w 1465782"/>
                <a:gd name="connsiteY592" fmla="*/ 147738 h 583494"/>
                <a:gd name="connsiteX593" fmla="*/ 1241015 w 1465782"/>
                <a:gd name="connsiteY593" fmla="*/ 147738 h 583494"/>
                <a:gd name="connsiteX594" fmla="*/ 1241015 w 1465782"/>
                <a:gd name="connsiteY594" fmla="*/ 194578 h 583494"/>
                <a:gd name="connsiteX595" fmla="*/ 1265411 w 1465782"/>
                <a:gd name="connsiteY595" fmla="*/ 222971 h 583494"/>
                <a:gd name="connsiteX596" fmla="*/ 1281675 w 1465782"/>
                <a:gd name="connsiteY596" fmla="*/ 220084 h 583494"/>
                <a:gd name="connsiteX597" fmla="*/ 1280943 w 1465782"/>
                <a:gd name="connsiteY597" fmla="*/ 201797 h 583494"/>
                <a:gd name="connsiteX598" fmla="*/ 1273624 w 1465782"/>
                <a:gd name="connsiteY598" fmla="*/ 203401 h 583494"/>
                <a:gd name="connsiteX599" fmla="*/ 1264924 w 1465782"/>
                <a:gd name="connsiteY599" fmla="*/ 192493 h 583494"/>
                <a:gd name="connsiteX600" fmla="*/ 1264924 w 1465782"/>
                <a:gd name="connsiteY600" fmla="*/ 147578 h 583494"/>
                <a:gd name="connsiteX601" fmla="*/ 1281188 w 1465782"/>
                <a:gd name="connsiteY601" fmla="*/ 147578 h 583494"/>
                <a:gd name="connsiteX602" fmla="*/ 1281188 w 1465782"/>
                <a:gd name="connsiteY602" fmla="*/ 128329 h 583494"/>
                <a:gd name="connsiteX603" fmla="*/ 1264924 w 1465782"/>
                <a:gd name="connsiteY603" fmla="*/ 128329 h 583494"/>
                <a:gd name="connsiteX604" fmla="*/ 1264924 w 1465782"/>
                <a:gd name="connsiteY604" fmla="*/ 100096 h 583494"/>
                <a:gd name="connsiteX605" fmla="*/ 1242886 w 1465782"/>
                <a:gd name="connsiteY605" fmla="*/ 106913 h 583494"/>
                <a:gd name="connsiteX606" fmla="*/ 1241015 w 1465782"/>
                <a:gd name="connsiteY606" fmla="*/ 107475 h 583494"/>
                <a:gd name="connsiteX607" fmla="*/ 1241015 w 1465782"/>
                <a:gd name="connsiteY607" fmla="*/ 128329 h 583494"/>
                <a:gd name="connsiteX608" fmla="*/ 1221824 w 1465782"/>
                <a:gd name="connsiteY608" fmla="*/ 128329 h 583494"/>
                <a:gd name="connsiteX609" fmla="*/ 1221824 w 1465782"/>
                <a:gd name="connsiteY609" fmla="*/ 128329 h 583494"/>
                <a:gd name="connsiteX610" fmla="*/ 1212472 w 1465782"/>
                <a:gd name="connsiteY610" fmla="*/ 128329 h 583494"/>
                <a:gd name="connsiteX611" fmla="*/ 1212472 w 1465782"/>
                <a:gd name="connsiteY611" fmla="*/ 113571 h 583494"/>
                <a:gd name="connsiteX612" fmla="*/ 1222475 w 1465782"/>
                <a:gd name="connsiteY612" fmla="*/ 101701 h 583494"/>
                <a:gd name="connsiteX613" fmla="*/ 1229469 w 1465782"/>
                <a:gd name="connsiteY613" fmla="*/ 102744 h 583494"/>
                <a:gd name="connsiteX614" fmla="*/ 1229469 w 1465782"/>
                <a:gd name="connsiteY614" fmla="*/ 83414 h 583494"/>
                <a:gd name="connsiteX615" fmla="*/ 1225402 w 1465782"/>
                <a:gd name="connsiteY615" fmla="*/ 82612 h 583494"/>
                <a:gd name="connsiteX616" fmla="*/ 1219792 w 1465782"/>
                <a:gd name="connsiteY616" fmla="*/ 82211 h 583494"/>
                <a:gd name="connsiteX617" fmla="*/ 323325 w 1465782"/>
                <a:gd name="connsiteY617" fmla="*/ 37375 h 583494"/>
                <a:gd name="connsiteX618" fmla="*/ 65543 w 1465782"/>
                <a:gd name="connsiteY618" fmla="*/ 291707 h 583494"/>
                <a:gd name="connsiteX619" fmla="*/ 323488 w 1465782"/>
                <a:gd name="connsiteY619" fmla="*/ 546118 h 583494"/>
                <a:gd name="connsiteX620" fmla="*/ 581352 w 1465782"/>
                <a:gd name="connsiteY620" fmla="*/ 291867 h 583494"/>
                <a:gd name="connsiteX621" fmla="*/ 0 w 1465782"/>
                <a:gd name="connsiteY621" fmla="*/ 0 h 583494"/>
                <a:gd name="connsiteX622" fmla="*/ 1465782 w 1465782"/>
                <a:gd name="connsiteY622" fmla="*/ 0 h 583494"/>
                <a:gd name="connsiteX623" fmla="*/ 1465782 w 1465782"/>
                <a:gd name="connsiteY623" fmla="*/ 583494 h 583494"/>
                <a:gd name="connsiteX624" fmla="*/ 0 w 1465782"/>
                <a:gd name="connsiteY624" fmla="*/ 583494 h 58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Lst>
              <a:rect l="l" t="t" r="r" b="b"/>
              <a:pathLst>
                <a:path w="1465782" h="583494">
                  <a:moveTo>
                    <a:pt x="1190353" y="463427"/>
                  </a:moveTo>
                  <a:lnTo>
                    <a:pt x="1190597" y="473211"/>
                  </a:lnTo>
                  <a:cubicBezTo>
                    <a:pt x="1190772" y="478184"/>
                    <a:pt x="1189380" y="483088"/>
                    <a:pt x="1186612" y="487247"/>
                  </a:cubicBezTo>
                  <a:cubicBezTo>
                    <a:pt x="1184188" y="490717"/>
                    <a:pt x="1180148" y="492739"/>
                    <a:pt x="1175878" y="492622"/>
                  </a:cubicBezTo>
                  <a:cubicBezTo>
                    <a:pt x="1172787" y="492789"/>
                    <a:pt x="1169789" y="491548"/>
                    <a:pt x="1167746" y="489253"/>
                  </a:cubicBezTo>
                  <a:cubicBezTo>
                    <a:pt x="1165669" y="486719"/>
                    <a:pt x="1164599" y="483525"/>
                    <a:pt x="1164738" y="480269"/>
                  </a:cubicBezTo>
                  <a:cubicBezTo>
                    <a:pt x="1164302" y="473332"/>
                    <a:pt x="1169447" y="467271"/>
                    <a:pt x="1176447" y="466474"/>
                  </a:cubicBezTo>
                  <a:close/>
                  <a:moveTo>
                    <a:pt x="1053412" y="437840"/>
                  </a:moveTo>
                  <a:cubicBezTo>
                    <a:pt x="1058445" y="437714"/>
                    <a:pt x="1063101" y="440463"/>
                    <a:pt x="1065366" y="444899"/>
                  </a:cubicBezTo>
                  <a:cubicBezTo>
                    <a:pt x="1068483" y="451116"/>
                    <a:pt x="1069911" y="458026"/>
                    <a:pt x="1069513" y="464950"/>
                  </a:cubicBezTo>
                  <a:cubicBezTo>
                    <a:pt x="1069513" y="483478"/>
                    <a:pt x="1064064" y="492702"/>
                    <a:pt x="1053249" y="492702"/>
                  </a:cubicBezTo>
                  <a:cubicBezTo>
                    <a:pt x="1042433" y="492702"/>
                    <a:pt x="1036984" y="483558"/>
                    <a:pt x="1036984" y="465352"/>
                  </a:cubicBezTo>
                  <a:cubicBezTo>
                    <a:pt x="1036551" y="458303"/>
                    <a:pt x="1038039" y="451268"/>
                    <a:pt x="1041294" y="444979"/>
                  </a:cubicBezTo>
                  <a:cubicBezTo>
                    <a:pt x="1043622" y="440514"/>
                    <a:pt x="1048322" y="437745"/>
                    <a:pt x="1053412" y="437840"/>
                  </a:cubicBezTo>
                  <a:close/>
                  <a:moveTo>
                    <a:pt x="771233" y="437840"/>
                  </a:moveTo>
                  <a:lnTo>
                    <a:pt x="771640" y="437840"/>
                  </a:lnTo>
                  <a:cubicBezTo>
                    <a:pt x="776643" y="437664"/>
                    <a:pt x="781299" y="440351"/>
                    <a:pt x="783594" y="444739"/>
                  </a:cubicBezTo>
                  <a:cubicBezTo>
                    <a:pt x="786712" y="450956"/>
                    <a:pt x="788140" y="457865"/>
                    <a:pt x="787742" y="464790"/>
                  </a:cubicBezTo>
                  <a:cubicBezTo>
                    <a:pt x="787742" y="483317"/>
                    <a:pt x="782212" y="492541"/>
                    <a:pt x="771477" y="492541"/>
                  </a:cubicBezTo>
                  <a:cubicBezTo>
                    <a:pt x="760743" y="492541"/>
                    <a:pt x="755213" y="483397"/>
                    <a:pt x="755213" y="465191"/>
                  </a:cubicBezTo>
                  <a:cubicBezTo>
                    <a:pt x="754710" y="458234"/>
                    <a:pt x="756055" y="451267"/>
                    <a:pt x="759117" y="444980"/>
                  </a:cubicBezTo>
                  <a:cubicBezTo>
                    <a:pt x="761458" y="440528"/>
                    <a:pt x="766149" y="437764"/>
                    <a:pt x="771233" y="437840"/>
                  </a:cubicBezTo>
                  <a:close/>
                  <a:moveTo>
                    <a:pt x="868084" y="437280"/>
                  </a:moveTo>
                  <a:cubicBezTo>
                    <a:pt x="876948" y="437280"/>
                    <a:pt x="881421" y="444739"/>
                    <a:pt x="881421" y="459577"/>
                  </a:cubicBezTo>
                  <a:lnTo>
                    <a:pt x="852471" y="459577"/>
                  </a:lnTo>
                  <a:cubicBezTo>
                    <a:pt x="852393" y="453686"/>
                    <a:pt x="854030" y="447896"/>
                    <a:pt x="857188" y="442894"/>
                  </a:cubicBezTo>
                  <a:cubicBezTo>
                    <a:pt x="859618" y="439320"/>
                    <a:pt x="863721" y="437205"/>
                    <a:pt x="868084" y="437280"/>
                  </a:cubicBezTo>
                  <a:close/>
                  <a:moveTo>
                    <a:pt x="1002342" y="430383"/>
                  </a:moveTo>
                  <a:lnTo>
                    <a:pt x="1002342" y="500081"/>
                  </a:lnTo>
                  <a:lnTo>
                    <a:pt x="1012345" y="500081"/>
                  </a:lnTo>
                  <a:lnTo>
                    <a:pt x="1012345" y="430383"/>
                  </a:lnTo>
                  <a:close/>
                  <a:moveTo>
                    <a:pt x="736430" y="429339"/>
                  </a:moveTo>
                  <a:cubicBezTo>
                    <a:pt x="728494" y="429149"/>
                    <a:pt x="721689" y="434891"/>
                    <a:pt x="720653" y="442654"/>
                  </a:cubicBezTo>
                  <a:lnTo>
                    <a:pt x="720653" y="430382"/>
                  </a:lnTo>
                  <a:lnTo>
                    <a:pt x="710569" y="430382"/>
                  </a:lnTo>
                  <a:lnTo>
                    <a:pt x="710569" y="500081"/>
                  </a:lnTo>
                  <a:lnTo>
                    <a:pt x="720653" y="500081"/>
                  </a:lnTo>
                  <a:lnTo>
                    <a:pt x="720653" y="464550"/>
                  </a:lnTo>
                  <a:cubicBezTo>
                    <a:pt x="720653" y="447386"/>
                    <a:pt x="725695" y="438804"/>
                    <a:pt x="735941" y="438804"/>
                  </a:cubicBezTo>
                  <a:cubicBezTo>
                    <a:pt x="738180" y="438831"/>
                    <a:pt x="740390" y="439295"/>
                    <a:pt x="742447" y="440168"/>
                  </a:cubicBezTo>
                  <a:lnTo>
                    <a:pt x="742122" y="430141"/>
                  </a:lnTo>
                  <a:cubicBezTo>
                    <a:pt x="740288" y="429543"/>
                    <a:pt x="738360" y="429271"/>
                    <a:pt x="736430" y="429339"/>
                  </a:cubicBezTo>
                  <a:close/>
                  <a:moveTo>
                    <a:pt x="868409" y="429180"/>
                  </a:moveTo>
                  <a:cubicBezTo>
                    <a:pt x="860649" y="428970"/>
                    <a:pt x="853329" y="432731"/>
                    <a:pt x="849056" y="439125"/>
                  </a:cubicBezTo>
                  <a:cubicBezTo>
                    <a:pt x="844040" y="446773"/>
                    <a:pt x="841568" y="455772"/>
                    <a:pt x="841981" y="464871"/>
                  </a:cubicBezTo>
                  <a:cubicBezTo>
                    <a:pt x="841338" y="474436"/>
                    <a:pt x="843786" y="483955"/>
                    <a:pt x="848975" y="492061"/>
                  </a:cubicBezTo>
                  <a:cubicBezTo>
                    <a:pt x="853871" y="498248"/>
                    <a:pt x="861520" y="501690"/>
                    <a:pt x="869466" y="501285"/>
                  </a:cubicBezTo>
                  <a:cubicBezTo>
                    <a:pt x="875665" y="501322"/>
                    <a:pt x="881760" y="499715"/>
                    <a:pt x="887113" y="496633"/>
                  </a:cubicBezTo>
                  <a:lnTo>
                    <a:pt x="887113" y="487328"/>
                  </a:lnTo>
                  <a:cubicBezTo>
                    <a:pt x="882381" y="490747"/>
                    <a:pt x="876712" y="492676"/>
                    <a:pt x="870849" y="492862"/>
                  </a:cubicBezTo>
                  <a:cubicBezTo>
                    <a:pt x="858489" y="492862"/>
                    <a:pt x="852309" y="484441"/>
                    <a:pt x="852309" y="467598"/>
                  </a:cubicBezTo>
                  <a:lnTo>
                    <a:pt x="891260" y="467919"/>
                  </a:lnTo>
                  <a:lnTo>
                    <a:pt x="891260" y="461262"/>
                  </a:lnTo>
                  <a:cubicBezTo>
                    <a:pt x="891260" y="439767"/>
                    <a:pt x="883698" y="429180"/>
                    <a:pt x="868409" y="429180"/>
                  </a:cubicBezTo>
                  <a:close/>
                  <a:moveTo>
                    <a:pt x="972904" y="429179"/>
                  </a:moveTo>
                  <a:cubicBezTo>
                    <a:pt x="966970" y="428841"/>
                    <a:pt x="961136" y="430798"/>
                    <a:pt x="956640" y="434633"/>
                  </a:cubicBezTo>
                  <a:cubicBezTo>
                    <a:pt x="952599" y="438121"/>
                    <a:pt x="950360" y="443214"/>
                    <a:pt x="950541" y="448508"/>
                  </a:cubicBezTo>
                  <a:cubicBezTo>
                    <a:pt x="950517" y="452133"/>
                    <a:pt x="951532" y="455693"/>
                    <a:pt x="953469" y="458775"/>
                  </a:cubicBezTo>
                  <a:cubicBezTo>
                    <a:pt x="957019" y="463186"/>
                    <a:pt x="961555" y="466727"/>
                    <a:pt x="966724" y="469121"/>
                  </a:cubicBezTo>
                  <a:cubicBezTo>
                    <a:pt x="970122" y="470850"/>
                    <a:pt x="973223" y="473097"/>
                    <a:pt x="975913" y="475778"/>
                  </a:cubicBezTo>
                  <a:cubicBezTo>
                    <a:pt x="977455" y="477536"/>
                    <a:pt x="978294" y="479789"/>
                    <a:pt x="978272" y="482114"/>
                  </a:cubicBezTo>
                  <a:cubicBezTo>
                    <a:pt x="978272" y="489413"/>
                    <a:pt x="973961" y="493022"/>
                    <a:pt x="965829" y="493022"/>
                  </a:cubicBezTo>
                  <a:cubicBezTo>
                    <a:pt x="960292" y="492847"/>
                    <a:pt x="954935" y="491030"/>
                    <a:pt x="950460" y="487809"/>
                  </a:cubicBezTo>
                  <a:lnTo>
                    <a:pt x="950460" y="497674"/>
                  </a:lnTo>
                  <a:cubicBezTo>
                    <a:pt x="955451" y="500304"/>
                    <a:pt x="961071" y="501551"/>
                    <a:pt x="966724" y="501283"/>
                  </a:cubicBezTo>
                  <a:cubicBezTo>
                    <a:pt x="972652" y="501579"/>
                    <a:pt x="978471" y="499627"/>
                    <a:pt x="982988" y="495829"/>
                  </a:cubicBezTo>
                  <a:cubicBezTo>
                    <a:pt x="986930" y="492311"/>
                    <a:pt x="989127" y="487276"/>
                    <a:pt x="989005" y="482034"/>
                  </a:cubicBezTo>
                  <a:cubicBezTo>
                    <a:pt x="989048" y="478391"/>
                    <a:pt x="988062" y="474810"/>
                    <a:pt x="986159" y="471687"/>
                  </a:cubicBezTo>
                  <a:cubicBezTo>
                    <a:pt x="982655" y="467369"/>
                    <a:pt x="978208" y="463887"/>
                    <a:pt x="973148" y="461501"/>
                  </a:cubicBezTo>
                  <a:cubicBezTo>
                    <a:pt x="969463" y="459724"/>
                    <a:pt x="966152" y="457275"/>
                    <a:pt x="963390" y="454283"/>
                  </a:cubicBezTo>
                  <a:cubicBezTo>
                    <a:pt x="962068" y="452488"/>
                    <a:pt x="961356" y="450326"/>
                    <a:pt x="961357" y="448107"/>
                  </a:cubicBezTo>
                  <a:cubicBezTo>
                    <a:pt x="961125" y="445098"/>
                    <a:pt x="962292" y="442147"/>
                    <a:pt x="964528" y="440086"/>
                  </a:cubicBezTo>
                  <a:cubicBezTo>
                    <a:pt x="966916" y="438063"/>
                    <a:pt x="970005" y="437028"/>
                    <a:pt x="973148" y="437199"/>
                  </a:cubicBezTo>
                  <a:cubicBezTo>
                    <a:pt x="977895" y="437312"/>
                    <a:pt x="982526" y="438668"/>
                    <a:pt x="986566" y="441129"/>
                  </a:cubicBezTo>
                  <a:lnTo>
                    <a:pt x="986566" y="431986"/>
                  </a:lnTo>
                  <a:cubicBezTo>
                    <a:pt x="982282" y="430056"/>
                    <a:pt x="977613" y="429097"/>
                    <a:pt x="972904" y="429179"/>
                  </a:cubicBezTo>
                  <a:close/>
                  <a:moveTo>
                    <a:pt x="924032" y="429179"/>
                  </a:moveTo>
                  <a:cubicBezTo>
                    <a:pt x="918099" y="428841"/>
                    <a:pt x="912264" y="430798"/>
                    <a:pt x="907768" y="434633"/>
                  </a:cubicBezTo>
                  <a:cubicBezTo>
                    <a:pt x="903728" y="438121"/>
                    <a:pt x="901488" y="443214"/>
                    <a:pt x="901670" y="448509"/>
                  </a:cubicBezTo>
                  <a:cubicBezTo>
                    <a:pt x="901645" y="452134"/>
                    <a:pt x="902660" y="455693"/>
                    <a:pt x="904598" y="458775"/>
                  </a:cubicBezTo>
                  <a:cubicBezTo>
                    <a:pt x="908111" y="463189"/>
                    <a:pt x="912622" y="466732"/>
                    <a:pt x="917771" y="469121"/>
                  </a:cubicBezTo>
                  <a:cubicBezTo>
                    <a:pt x="921183" y="470828"/>
                    <a:pt x="924287" y="473077"/>
                    <a:pt x="926959" y="475778"/>
                  </a:cubicBezTo>
                  <a:cubicBezTo>
                    <a:pt x="928525" y="477528"/>
                    <a:pt x="929392" y="479780"/>
                    <a:pt x="929399" y="482115"/>
                  </a:cubicBezTo>
                  <a:cubicBezTo>
                    <a:pt x="929399" y="489413"/>
                    <a:pt x="925008" y="493022"/>
                    <a:pt x="916876" y="493022"/>
                  </a:cubicBezTo>
                  <a:cubicBezTo>
                    <a:pt x="911339" y="492847"/>
                    <a:pt x="905982" y="491030"/>
                    <a:pt x="901507" y="487809"/>
                  </a:cubicBezTo>
                  <a:lnTo>
                    <a:pt x="901507" y="497674"/>
                  </a:lnTo>
                  <a:cubicBezTo>
                    <a:pt x="906502" y="500293"/>
                    <a:pt x="912120" y="501540"/>
                    <a:pt x="917771" y="501284"/>
                  </a:cubicBezTo>
                  <a:cubicBezTo>
                    <a:pt x="923699" y="501579"/>
                    <a:pt x="929517" y="499628"/>
                    <a:pt x="934034" y="495829"/>
                  </a:cubicBezTo>
                  <a:cubicBezTo>
                    <a:pt x="938014" y="492337"/>
                    <a:pt x="940218" y="487285"/>
                    <a:pt x="940051" y="482034"/>
                  </a:cubicBezTo>
                  <a:cubicBezTo>
                    <a:pt x="940134" y="478387"/>
                    <a:pt x="939146" y="474794"/>
                    <a:pt x="937206" y="471688"/>
                  </a:cubicBezTo>
                  <a:cubicBezTo>
                    <a:pt x="933756" y="467349"/>
                    <a:pt x="929329" y="463861"/>
                    <a:pt x="924276" y="461502"/>
                  </a:cubicBezTo>
                  <a:cubicBezTo>
                    <a:pt x="920577" y="459746"/>
                    <a:pt x="917263" y="457294"/>
                    <a:pt x="914518" y="454283"/>
                  </a:cubicBezTo>
                  <a:cubicBezTo>
                    <a:pt x="913172" y="452495"/>
                    <a:pt x="912432" y="450334"/>
                    <a:pt x="912404" y="448107"/>
                  </a:cubicBezTo>
                  <a:cubicBezTo>
                    <a:pt x="912172" y="445098"/>
                    <a:pt x="913339" y="442147"/>
                    <a:pt x="915575" y="440086"/>
                  </a:cubicBezTo>
                  <a:cubicBezTo>
                    <a:pt x="917992" y="438058"/>
                    <a:pt x="921108" y="437024"/>
                    <a:pt x="924276" y="437199"/>
                  </a:cubicBezTo>
                  <a:cubicBezTo>
                    <a:pt x="929023" y="437312"/>
                    <a:pt x="933654" y="438668"/>
                    <a:pt x="937693" y="441130"/>
                  </a:cubicBezTo>
                  <a:lnTo>
                    <a:pt x="937693" y="431986"/>
                  </a:lnTo>
                  <a:cubicBezTo>
                    <a:pt x="933407" y="430064"/>
                    <a:pt x="928740" y="429105"/>
                    <a:pt x="924032" y="429179"/>
                  </a:cubicBezTo>
                  <a:close/>
                  <a:moveTo>
                    <a:pt x="1179862" y="429178"/>
                  </a:moveTo>
                  <a:cubicBezTo>
                    <a:pt x="1173036" y="429329"/>
                    <a:pt x="1166377" y="431296"/>
                    <a:pt x="1160590" y="434873"/>
                  </a:cubicBezTo>
                  <a:lnTo>
                    <a:pt x="1160590" y="444577"/>
                  </a:lnTo>
                  <a:cubicBezTo>
                    <a:pt x="1165552" y="440230"/>
                    <a:pt x="1171854" y="437659"/>
                    <a:pt x="1178480" y="437279"/>
                  </a:cubicBezTo>
                  <a:cubicBezTo>
                    <a:pt x="1186612" y="437279"/>
                    <a:pt x="1190678" y="441851"/>
                    <a:pt x="1190678" y="450834"/>
                  </a:cubicBezTo>
                  <a:lnTo>
                    <a:pt x="1190678" y="455486"/>
                  </a:lnTo>
                  <a:lnTo>
                    <a:pt x="1173926" y="459175"/>
                  </a:lnTo>
                  <a:cubicBezTo>
                    <a:pt x="1162613" y="460514"/>
                    <a:pt x="1154332" y="470338"/>
                    <a:pt x="1155060" y="481553"/>
                  </a:cubicBezTo>
                  <a:cubicBezTo>
                    <a:pt x="1154854" y="486630"/>
                    <a:pt x="1156563" y="491602"/>
                    <a:pt x="1159858" y="495509"/>
                  </a:cubicBezTo>
                  <a:cubicBezTo>
                    <a:pt x="1162984" y="499143"/>
                    <a:pt x="1167634" y="501156"/>
                    <a:pt x="1172463" y="500963"/>
                  </a:cubicBezTo>
                  <a:cubicBezTo>
                    <a:pt x="1180365" y="501284"/>
                    <a:pt x="1187583" y="496560"/>
                    <a:pt x="1190353" y="489253"/>
                  </a:cubicBezTo>
                  <a:lnTo>
                    <a:pt x="1190353" y="500081"/>
                  </a:lnTo>
                  <a:lnTo>
                    <a:pt x="1200680" y="500001"/>
                  </a:lnTo>
                  <a:lnTo>
                    <a:pt x="1200680" y="451876"/>
                  </a:lnTo>
                  <a:cubicBezTo>
                    <a:pt x="1200680" y="436718"/>
                    <a:pt x="1193768" y="429178"/>
                    <a:pt x="1179862" y="429178"/>
                  </a:cubicBezTo>
                  <a:close/>
                  <a:moveTo>
                    <a:pt x="1053493" y="429178"/>
                  </a:moveTo>
                  <a:cubicBezTo>
                    <a:pt x="1045682" y="428895"/>
                    <a:pt x="1038251" y="432514"/>
                    <a:pt x="1033732" y="438803"/>
                  </a:cubicBezTo>
                  <a:cubicBezTo>
                    <a:pt x="1028455" y="446819"/>
                    <a:pt x="1025919" y="456292"/>
                    <a:pt x="1026494" y="465832"/>
                  </a:cubicBezTo>
                  <a:cubicBezTo>
                    <a:pt x="1025986" y="474995"/>
                    <a:pt x="1028404" y="484083"/>
                    <a:pt x="1033406" y="491820"/>
                  </a:cubicBezTo>
                  <a:cubicBezTo>
                    <a:pt x="1037825" y="498079"/>
                    <a:pt x="1045199" y="501656"/>
                    <a:pt x="1052923" y="501284"/>
                  </a:cubicBezTo>
                  <a:cubicBezTo>
                    <a:pt x="1060869" y="501691"/>
                    <a:pt x="1068465" y="498021"/>
                    <a:pt x="1073010" y="491579"/>
                  </a:cubicBezTo>
                  <a:cubicBezTo>
                    <a:pt x="1078072" y="483453"/>
                    <a:pt x="1080484" y="473991"/>
                    <a:pt x="1079922" y="464469"/>
                  </a:cubicBezTo>
                  <a:cubicBezTo>
                    <a:pt x="1080473" y="455342"/>
                    <a:pt x="1078019" y="446283"/>
                    <a:pt x="1072928" y="438643"/>
                  </a:cubicBezTo>
                  <a:cubicBezTo>
                    <a:pt x="1068505" y="432431"/>
                    <a:pt x="1061182" y="428865"/>
                    <a:pt x="1053493" y="429178"/>
                  </a:cubicBezTo>
                  <a:close/>
                  <a:moveTo>
                    <a:pt x="771803" y="429178"/>
                  </a:moveTo>
                  <a:cubicBezTo>
                    <a:pt x="763988" y="428880"/>
                    <a:pt x="756552" y="432502"/>
                    <a:pt x="752042" y="438804"/>
                  </a:cubicBezTo>
                  <a:cubicBezTo>
                    <a:pt x="746765" y="446819"/>
                    <a:pt x="744229" y="456292"/>
                    <a:pt x="744804" y="465832"/>
                  </a:cubicBezTo>
                  <a:cubicBezTo>
                    <a:pt x="744296" y="474995"/>
                    <a:pt x="746714" y="484083"/>
                    <a:pt x="751716" y="491820"/>
                  </a:cubicBezTo>
                  <a:cubicBezTo>
                    <a:pt x="756135" y="498079"/>
                    <a:pt x="763509" y="501656"/>
                    <a:pt x="771233" y="501284"/>
                  </a:cubicBezTo>
                  <a:cubicBezTo>
                    <a:pt x="779179" y="501691"/>
                    <a:pt x="786775" y="498021"/>
                    <a:pt x="791320" y="491579"/>
                  </a:cubicBezTo>
                  <a:cubicBezTo>
                    <a:pt x="796383" y="483453"/>
                    <a:pt x="798795" y="473991"/>
                    <a:pt x="798232" y="464469"/>
                  </a:cubicBezTo>
                  <a:cubicBezTo>
                    <a:pt x="798748" y="455346"/>
                    <a:pt x="796298" y="446298"/>
                    <a:pt x="791239" y="438643"/>
                  </a:cubicBezTo>
                  <a:cubicBezTo>
                    <a:pt x="786805" y="432442"/>
                    <a:pt x="779489" y="428880"/>
                    <a:pt x="771803" y="429178"/>
                  </a:cubicBezTo>
                  <a:close/>
                  <a:moveTo>
                    <a:pt x="1122208" y="429178"/>
                  </a:moveTo>
                  <a:cubicBezTo>
                    <a:pt x="1114161" y="428811"/>
                    <a:pt x="1106810" y="433656"/>
                    <a:pt x="1104074" y="441129"/>
                  </a:cubicBezTo>
                  <a:lnTo>
                    <a:pt x="1104074" y="430381"/>
                  </a:lnTo>
                  <a:lnTo>
                    <a:pt x="1094071" y="430381"/>
                  </a:lnTo>
                  <a:lnTo>
                    <a:pt x="1094071" y="499999"/>
                  </a:lnTo>
                  <a:lnTo>
                    <a:pt x="1104074" y="499999"/>
                  </a:lnTo>
                  <a:lnTo>
                    <a:pt x="1104074" y="455164"/>
                  </a:lnTo>
                  <a:cubicBezTo>
                    <a:pt x="1103826" y="450569"/>
                    <a:pt x="1105270" y="446040"/>
                    <a:pt x="1108139" y="442412"/>
                  </a:cubicBezTo>
                  <a:cubicBezTo>
                    <a:pt x="1110787" y="439342"/>
                    <a:pt x="1114709" y="437630"/>
                    <a:pt x="1118792" y="437760"/>
                  </a:cubicBezTo>
                  <a:cubicBezTo>
                    <a:pt x="1127250" y="437760"/>
                    <a:pt x="1131559" y="443133"/>
                    <a:pt x="1131559" y="453801"/>
                  </a:cubicBezTo>
                  <a:lnTo>
                    <a:pt x="1131559" y="500079"/>
                  </a:lnTo>
                  <a:lnTo>
                    <a:pt x="1141400" y="500079"/>
                  </a:lnTo>
                  <a:lnTo>
                    <a:pt x="1141400" y="451475"/>
                  </a:lnTo>
                  <a:cubicBezTo>
                    <a:pt x="1141400" y="436637"/>
                    <a:pt x="1134975" y="429178"/>
                    <a:pt x="1122208" y="429178"/>
                  </a:cubicBezTo>
                  <a:close/>
                  <a:moveTo>
                    <a:pt x="667795" y="411613"/>
                  </a:moveTo>
                  <a:cubicBezTo>
                    <a:pt x="679586" y="411613"/>
                    <a:pt x="685441" y="418432"/>
                    <a:pt x="685441" y="432066"/>
                  </a:cubicBezTo>
                  <a:cubicBezTo>
                    <a:pt x="685838" y="437807"/>
                    <a:pt x="684135" y="443499"/>
                    <a:pt x="680643" y="448107"/>
                  </a:cubicBezTo>
                  <a:cubicBezTo>
                    <a:pt x="677224" y="452095"/>
                    <a:pt x="672104" y="454264"/>
                    <a:pt x="666819" y="453962"/>
                  </a:cubicBezTo>
                  <a:lnTo>
                    <a:pt x="657630" y="453962"/>
                  </a:lnTo>
                  <a:lnTo>
                    <a:pt x="657630" y="411774"/>
                  </a:lnTo>
                  <a:close/>
                  <a:moveTo>
                    <a:pt x="1002423" y="403434"/>
                  </a:moveTo>
                  <a:cubicBezTo>
                    <a:pt x="1001022" y="404711"/>
                    <a:pt x="1000251" y="406525"/>
                    <a:pt x="1000309" y="408407"/>
                  </a:cubicBezTo>
                  <a:cubicBezTo>
                    <a:pt x="1000292" y="410281"/>
                    <a:pt x="1001056" y="412079"/>
                    <a:pt x="1002423" y="413379"/>
                  </a:cubicBezTo>
                  <a:cubicBezTo>
                    <a:pt x="1003720" y="414703"/>
                    <a:pt x="1005519" y="415430"/>
                    <a:pt x="1007384" y="415384"/>
                  </a:cubicBezTo>
                  <a:lnTo>
                    <a:pt x="1007385" y="415384"/>
                  </a:lnTo>
                  <a:cubicBezTo>
                    <a:pt x="1009306" y="415476"/>
                    <a:pt x="1011173" y="414745"/>
                    <a:pt x="1012507" y="413379"/>
                  </a:cubicBezTo>
                  <a:cubicBezTo>
                    <a:pt x="1013792" y="412037"/>
                    <a:pt x="1014493" y="410252"/>
                    <a:pt x="1014459" y="408407"/>
                  </a:cubicBezTo>
                  <a:cubicBezTo>
                    <a:pt x="1014550" y="406536"/>
                    <a:pt x="1013808" y="404719"/>
                    <a:pt x="1012426" y="403434"/>
                  </a:cubicBezTo>
                  <a:cubicBezTo>
                    <a:pt x="1009555" y="400984"/>
                    <a:pt x="1005296" y="400984"/>
                    <a:pt x="1002423" y="403434"/>
                  </a:cubicBezTo>
                  <a:close/>
                  <a:moveTo>
                    <a:pt x="647058" y="402551"/>
                  </a:moveTo>
                  <a:lnTo>
                    <a:pt x="647058" y="500081"/>
                  </a:lnTo>
                  <a:lnTo>
                    <a:pt x="657630" y="500081"/>
                  </a:lnTo>
                  <a:lnTo>
                    <a:pt x="657630" y="463266"/>
                  </a:lnTo>
                  <a:lnTo>
                    <a:pt x="667306" y="463266"/>
                  </a:lnTo>
                  <a:cubicBezTo>
                    <a:pt x="675422" y="463645"/>
                    <a:pt x="683258" y="460299"/>
                    <a:pt x="688531" y="454203"/>
                  </a:cubicBezTo>
                  <a:cubicBezTo>
                    <a:pt x="693942" y="447796"/>
                    <a:pt x="696829" y="439681"/>
                    <a:pt x="696662" y="431345"/>
                  </a:cubicBezTo>
                  <a:cubicBezTo>
                    <a:pt x="697178" y="423589"/>
                    <a:pt x="694677" y="415931"/>
                    <a:pt x="689669" y="409929"/>
                  </a:cubicBezTo>
                  <a:cubicBezTo>
                    <a:pt x="684379" y="404760"/>
                    <a:pt x="677096" y="402074"/>
                    <a:pt x="669664" y="402551"/>
                  </a:cubicBezTo>
                  <a:close/>
                  <a:moveTo>
                    <a:pt x="1217595" y="396936"/>
                  </a:moveTo>
                  <a:lnTo>
                    <a:pt x="1217595" y="500081"/>
                  </a:lnTo>
                  <a:lnTo>
                    <a:pt x="1227923" y="500081"/>
                  </a:lnTo>
                  <a:lnTo>
                    <a:pt x="1227923" y="396936"/>
                  </a:lnTo>
                  <a:close/>
                  <a:moveTo>
                    <a:pt x="832384" y="395813"/>
                  </a:moveTo>
                  <a:cubicBezTo>
                    <a:pt x="827044" y="395486"/>
                    <a:pt x="821831" y="397514"/>
                    <a:pt x="818154" y="401347"/>
                  </a:cubicBezTo>
                  <a:cubicBezTo>
                    <a:pt x="814649" y="405586"/>
                    <a:pt x="812879" y="410966"/>
                    <a:pt x="813193" y="416426"/>
                  </a:cubicBezTo>
                  <a:lnTo>
                    <a:pt x="813193" y="430382"/>
                  </a:lnTo>
                  <a:lnTo>
                    <a:pt x="803354" y="430382"/>
                  </a:lnTo>
                  <a:lnTo>
                    <a:pt x="803354" y="438804"/>
                  </a:lnTo>
                  <a:lnTo>
                    <a:pt x="813193" y="438804"/>
                  </a:lnTo>
                  <a:lnTo>
                    <a:pt x="813193" y="500081"/>
                  </a:lnTo>
                  <a:lnTo>
                    <a:pt x="823440" y="500081"/>
                  </a:lnTo>
                  <a:lnTo>
                    <a:pt x="823440" y="438804"/>
                  </a:lnTo>
                  <a:lnTo>
                    <a:pt x="837589" y="438804"/>
                  </a:lnTo>
                  <a:lnTo>
                    <a:pt x="837589" y="430382"/>
                  </a:lnTo>
                  <a:lnTo>
                    <a:pt x="823521" y="430382"/>
                  </a:lnTo>
                  <a:lnTo>
                    <a:pt x="823521" y="416346"/>
                  </a:lnTo>
                  <a:cubicBezTo>
                    <a:pt x="823521" y="408405"/>
                    <a:pt x="826774" y="404476"/>
                    <a:pt x="833279" y="404476"/>
                  </a:cubicBezTo>
                  <a:cubicBezTo>
                    <a:pt x="835209" y="404425"/>
                    <a:pt x="837133" y="404697"/>
                    <a:pt x="838971" y="405278"/>
                  </a:cubicBezTo>
                  <a:lnTo>
                    <a:pt x="838646" y="396536"/>
                  </a:lnTo>
                  <a:cubicBezTo>
                    <a:pt x="836587" y="396098"/>
                    <a:pt x="834491" y="395856"/>
                    <a:pt x="832384" y="395813"/>
                  </a:cubicBezTo>
                  <a:close/>
                  <a:moveTo>
                    <a:pt x="1174576" y="324191"/>
                  </a:moveTo>
                  <a:lnTo>
                    <a:pt x="1174820" y="334297"/>
                  </a:lnTo>
                  <a:cubicBezTo>
                    <a:pt x="1174995" y="339269"/>
                    <a:pt x="1173603" y="344173"/>
                    <a:pt x="1170836" y="348332"/>
                  </a:cubicBezTo>
                  <a:cubicBezTo>
                    <a:pt x="1168382" y="351769"/>
                    <a:pt x="1164362" y="353781"/>
                    <a:pt x="1160102" y="353706"/>
                  </a:cubicBezTo>
                  <a:cubicBezTo>
                    <a:pt x="1156997" y="353854"/>
                    <a:pt x="1153997" y="352581"/>
                    <a:pt x="1151970" y="350258"/>
                  </a:cubicBezTo>
                  <a:cubicBezTo>
                    <a:pt x="1150635" y="348532"/>
                    <a:pt x="1149709" y="346534"/>
                    <a:pt x="1149261" y="344409"/>
                  </a:cubicBezTo>
                  <a:cubicBezTo>
                    <a:pt x="1147604" y="336560"/>
                    <a:pt x="1152713" y="328873"/>
                    <a:pt x="1160671" y="327238"/>
                  </a:cubicBezTo>
                  <a:close/>
                  <a:moveTo>
                    <a:pt x="1022998" y="324191"/>
                  </a:moveTo>
                  <a:lnTo>
                    <a:pt x="1023323" y="334297"/>
                  </a:lnTo>
                  <a:cubicBezTo>
                    <a:pt x="1023565" y="339277"/>
                    <a:pt x="1022168" y="344200"/>
                    <a:pt x="1019338" y="348332"/>
                  </a:cubicBezTo>
                  <a:cubicBezTo>
                    <a:pt x="1016915" y="351802"/>
                    <a:pt x="1012875" y="353825"/>
                    <a:pt x="1008604" y="353706"/>
                  </a:cubicBezTo>
                  <a:cubicBezTo>
                    <a:pt x="1005499" y="353854"/>
                    <a:pt x="1002499" y="352581"/>
                    <a:pt x="1000472" y="350258"/>
                  </a:cubicBezTo>
                  <a:cubicBezTo>
                    <a:pt x="998314" y="347701"/>
                    <a:pt x="997210" y="344437"/>
                    <a:pt x="997383" y="341114"/>
                  </a:cubicBezTo>
                  <a:cubicBezTo>
                    <a:pt x="996905" y="334118"/>
                    <a:pt x="1002106" y="327997"/>
                    <a:pt x="1009174" y="327238"/>
                  </a:cubicBezTo>
                  <a:close/>
                  <a:moveTo>
                    <a:pt x="768306" y="298444"/>
                  </a:moveTo>
                  <a:lnTo>
                    <a:pt x="768713" y="298444"/>
                  </a:lnTo>
                  <a:cubicBezTo>
                    <a:pt x="773751" y="298297"/>
                    <a:pt x="778418" y="301053"/>
                    <a:pt x="780667" y="305502"/>
                  </a:cubicBezTo>
                  <a:cubicBezTo>
                    <a:pt x="783664" y="311780"/>
                    <a:pt x="784981" y="318711"/>
                    <a:pt x="784488" y="325634"/>
                  </a:cubicBezTo>
                  <a:cubicBezTo>
                    <a:pt x="784488" y="344081"/>
                    <a:pt x="779040" y="353304"/>
                    <a:pt x="768224" y="353304"/>
                  </a:cubicBezTo>
                  <a:cubicBezTo>
                    <a:pt x="757409" y="353304"/>
                    <a:pt x="751960" y="344242"/>
                    <a:pt x="751960" y="326035"/>
                  </a:cubicBezTo>
                  <a:cubicBezTo>
                    <a:pt x="751579" y="318964"/>
                    <a:pt x="753063" y="311917"/>
                    <a:pt x="756271" y="305582"/>
                  </a:cubicBezTo>
                  <a:cubicBezTo>
                    <a:pt x="758599" y="301157"/>
                    <a:pt x="763251" y="298397"/>
                    <a:pt x="768306" y="298444"/>
                  </a:cubicBezTo>
                  <a:close/>
                  <a:moveTo>
                    <a:pt x="1227678" y="298364"/>
                  </a:moveTo>
                  <a:cubicBezTo>
                    <a:pt x="1232218" y="298336"/>
                    <a:pt x="1236392" y="300812"/>
                    <a:pt x="1238494" y="304781"/>
                  </a:cubicBezTo>
                  <a:cubicBezTo>
                    <a:pt x="1241462" y="310557"/>
                    <a:pt x="1242837" y="317002"/>
                    <a:pt x="1242479" y="323468"/>
                  </a:cubicBezTo>
                  <a:cubicBezTo>
                    <a:pt x="1242479" y="343359"/>
                    <a:pt x="1237057" y="353305"/>
                    <a:pt x="1226215" y="353305"/>
                  </a:cubicBezTo>
                  <a:cubicBezTo>
                    <a:pt x="1221770" y="353385"/>
                    <a:pt x="1217642" y="351040"/>
                    <a:pt x="1215481" y="347210"/>
                  </a:cubicBezTo>
                  <a:cubicBezTo>
                    <a:pt x="1212751" y="342450"/>
                    <a:pt x="1211427" y="337032"/>
                    <a:pt x="1211658" y="331569"/>
                  </a:cubicBezTo>
                  <a:lnTo>
                    <a:pt x="1211658" y="321864"/>
                  </a:lnTo>
                  <a:cubicBezTo>
                    <a:pt x="1211391" y="315940"/>
                    <a:pt x="1212859" y="310065"/>
                    <a:pt x="1215887" y="304941"/>
                  </a:cubicBezTo>
                  <a:cubicBezTo>
                    <a:pt x="1218324" y="300809"/>
                    <a:pt x="1222832" y="298295"/>
                    <a:pt x="1227678" y="298364"/>
                  </a:cubicBezTo>
                  <a:close/>
                  <a:moveTo>
                    <a:pt x="1317293" y="297883"/>
                  </a:moveTo>
                  <a:cubicBezTo>
                    <a:pt x="1326237" y="297883"/>
                    <a:pt x="1330629" y="305342"/>
                    <a:pt x="1330629" y="320260"/>
                  </a:cubicBezTo>
                  <a:lnTo>
                    <a:pt x="1301679" y="320260"/>
                  </a:lnTo>
                  <a:cubicBezTo>
                    <a:pt x="1301628" y="314373"/>
                    <a:pt x="1303263" y="308589"/>
                    <a:pt x="1306395" y="303578"/>
                  </a:cubicBezTo>
                  <a:cubicBezTo>
                    <a:pt x="1308817" y="299983"/>
                    <a:pt x="1312917" y="297841"/>
                    <a:pt x="1317293" y="297883"/>
                  </a:cubicBezTo>
                  <a:close/>
                  <a:moveTo>
                    <a:pt x="1077889" y="291065"/>
                  </a:moveTo>
                  <a:lnTo>
                    <a:pt x="1077889" y="339670"/>
                  </a:lnTo>
                  <a:cubicBezTo>
                    <a:pt x="1077889" y="354508"/>
                    <a:pt x="1084314" y="361967"/>
                    <a:pt x="1097243" y="361967"/>
                  </a:cubicBezTo>
                  <a:cubicBezTo>
                    <a:pt x="1105126" y="362151"/>
                    <a:pt x="1112294" y="357481"/>
                    <a:pt x="1115215" y="350257"/>
                  </a:cubicBezTo>
                  <a:lnTo>
                    <a:pt x="1115215" y="360924"/>
                  </a:lnTo>
                  <a:lnTo>
                    <a:pt x="1125543" y="360924"/>
                  </a:lnTo>
                  <a:lnTo>
                    <a:pt x="1125543" y="291065"/>
                  </a:lnTo>
                  <a:lnTo>
                    <a:pt x="1115540" y="291065"/>
                  </a:lnTo>
                  <a:lnTo>
                    <a:pt x="1115540" y="335980"/>
                  </a:lnTo>
                  <a:cubicBezTo>
                    <a:pt x="1115783" y="340564"/>
                    <a:pt x="1114306" y="345074"/>
                    <a:pt x="1111393" y="348653"/>
                  </a:cubicBezTo>
                  <a:cubicBezTo>
                    <a:pt x="1108728" y="351755"/>
                    <a:pt x="1104780" y="353496"/>
                    <a:pt x="1100659" y="353384"/>
                  </a:cubicBezTo>
                  <a:cubicBezTo>
                    <a:pt x="1092201" y="353384"/>
                    <a:pt x="1087892" y="348011"/>
                    <a:pt x="1087892" y="337343"/>
                  </a:cubicBezTo>
                  <a:lnTo>
                    <a:pt x="1087892" y="291065"/>
                  </a:lnTo>
                  <a:close/>
                  <a:moveTo>
                    <a:pt x="768794" y="290183"/>
                  </a:moveTo>
                  <a:cubicBezTo>
                    <a:pt x="760971" y="289932"/>
                    <a:pt x="753545" y="293580"/>
                    <a:pt x="749033" y="299888"/>
                  </a:cubicBezTo>
                  <a:cubicBezTo>
                    <a:pt x="743797" y="307889"/>
                    <a:pt x="741289" y="317331"/>
                    <a:pt x="741877" y="326836"/>
                  </a:cubicBezTo>
                  <a:cubicBezTo>
                    <a:pt x="741361" y="336014"/>
                    <a:pt x="743747" y="345123"/>
                    <a:pt x="748708" y="352904"/>
                  </a:cubicBezTo>
                  <a:cubicBezTo>
                    <a:pt x="753274" y="358990"/>
                    <a:pt x="760642" y="362398"/>
                    <a:pt x="768306" y="361966"/>
                  </a:cubicBezTo>
                  <a:cubicBezTo>
                    <a:pt x="776147" y="362436"/>
                    <a:pt x="783689" y="358929"/>
                    <a:pt x="788310" y="352663"/>
                  </a:cubicBezTo>
                  <a:cubicBezTo>
                    <a:pt x="793384" y="344512"/>
                    <a:pt x="795797" y="335021"/>
                    <a:pt x="795222" y="325473"/>
                  </a:cubicBezTo>
                  <a:cubicBezTo>
                    <a:pt x="795762" y="316347"/>
                    <a:pt x="793310" y="307293"/>
                    <a:pt x="788229" y="299647"/>
                  </a:cubicBezTo>
                  <a:cubicBezTo>
                    <a:pt x="783786" y="293458"/>
                    <a:pt x="776476" y="289899"/>
                    <a:pt x="768794" y="290183"/>
                  </a:cubicBezTo>
                  <a:close/>
                  <a:moveTo>
                    <a:pt x="1317374" y="289782"/>
                  </a:moveTo>
                  <a:cubicBezTo>
                    <a:pt x="1309692" y="289781"/>
                    <a:pt x="1302531" y="293615"/>
                    <a:pt x="1298346" y="299968"/>
                  </a:cubicBezTo>
                  <a:cubicBezTo>
                    <a:pt x="1293340" y="307620"/>
                    <a:pt x="1290868" y="316616"/>
                    <a:pt x="1291271" y="325714"/>
                  </a:cubicBezTo>
                  <a:cubicBezTo>
                    <a:pt x="1290600" y="335292"/>
                    <a:pt x="1293081" y="344828"/>
                    <a:pt x="1298346" y="352904"/>
                  </a:cubicBezTo>
                  <a:cubicBezTo>
                    <a:pt x="1303206" y="359074"/>
                    <a:pt x="1310850" y="362468"/>
                    <a:pt x="1318756" y="361967"/>
                  </a:cubicBezTo>
                  <a:cubicBezTo>
                    <a:pt x="1324960" y="361966"/>
                    <a:pt x="1331051" y="360332"/>
                    <a:pt x="1336403" y="357235"/>
                  </a:cubicBezTo>
                  <a:lnTo>
                    <a:pt x="1336403" y="347931"/>
                  </a:lnTo>
                  <a:cubicBezTo>
                    <a:pt x="1331663" y="351348"/>
                    <a:pt x="1326003" y="353302"/>
                    <a:pt x="1320139" y="353545"/>
                  </a:cubicBezTo>
                  <a:cubicBezTo>
                    <a:pt x="1307697" y="353545"/>
                    <a:pt x="1301516" y="345124"/>
                    <a:pt x="1301516" y="328281"/>
                  </a:cubicBezTo>
                  <a:lnTo>
                    <a:pt x="1340306" y="328522"/>
                  </a:lnTo>
                  <a:lnTo>
                    <a:pt x="1340306" y="321864"/>
                  </a:lnTo>
                  <a:cubicBezTo>
                    <a:pt x="1340306" y="300450"/>
                    <a:pt x="1332662" y="289782"/>
                    <a:pt x="1317374" y="289782"/>
                  </a:cubicBezTo>
                  <a:close/>
                  <a:moveTo>
                    <a:pt x="1164086" y="289782"/>
                  </a:moveTo>
                  <a:cubicBezTo>
                    <a:pt x="1157223" y="289938"/>
                    <a:pt x="1150532" y="291935"/>
                    <a:pt x="1144732" y="295557"/>
                  </a:cubicBezTo>
                  <a:lnTo>
                    <a:pt x="1144732" y="305502"/>
                  </a:lnTo>
                  <a:cubicBezTo>
                    <a:pt x="1149727" y="301168"/>
                    <a:pt x="1156060" y="298624"/>
                    <a:pt x="1162704" y="298284"/>
                  </a:cubicBezTo>
                  <a:cubicBezTo>
                    <a:pt x="1170836" y="298284"/>
                    <a:pt x="1174902" y="302775"/>
                    <a:pt x="1174902" y="311759"/>
                  </a:cubicBezTo>
                  <a:lnTo>
                    <a:pt x="1174902" y="316411"/>
                  </a:lnTo>
                  <a:lnTo>
                    <a:pt x="1158150" y="320180"/>
                  </a:lnTo>
                  <a:cubicBezTo>
                    <a:pt x="1146849" y="321480"/>
                    <a:pt x="1138559" y="331279"/>
                    <a:pt x="1139284" y="342477"/>
                  </a:cubicBezTo>
                  <a:cubicBezTo>
                    <a:pt x="1139057" y="347582"/>
                    <a:pt x="1140768" y="352587"/>
                    <a:pt x="1144082" y="356513"/>
                  </a:cubicBezTo>
                  <a:cubicBezTo>
                    <a:pt x="1147198" y="360116"/>
                    <a:pt x="1151807" y="362124"/>
                    <a:pt x="1156605" y="361968"/>
                  </a:cubicBezTo>
                  <a:cubicBezTo>
                    <a:pt x="1164523" y="362273"/>
                    <a:pt x="1171755" y="357561"/>
                    <a:pt x="1174576" y="350258"/>
                  </a:cubicBezTo>
                  <a:lnTo>
                    <a:pt x="1174576" y="360924"/>
                  </a:lnTo>
                  <a:lnTo>
                    <a:pt x="1184823" y="360604"/>
                  </a:lnTo>
                  <a:lnTo>
                    <a:pt x="1184823" y="312481"/>
                  </a:lnTo>
                  <a:cubicBezTo>
                    <a:pt x="1184823" y="297402"/>
                    <a:pt x="1177911" y="289782"/>
                    <a:pt x="1164086" y="289782"/>
                  </a:cubicBezTo>
                  <a:close/>
                  <a:moveTo>
                    <a:pt x="1012101" y="289782"/>
                  </a:moveTo>
                  <a:cubicBezTo>
                    <a:pt x="1005238" y="289938"/>
                    <a:pt x="998547" y="291935"/>
                    <a:pt x="992747" y="295557"/>
                  </a:cubicBezTo>
                  <a:lnTo>
                    <a:pt x="992747" y="305502"/>
                  </a:lnTo>
                  <a:cubicBezTo>
                    <a:pt x="997742" y="301168"/>
                    <a:pt x="1004074" y="298624"/>
                    <a:pt x="1010719" y="298284"/>
                  </a:cubicBezTo>
                  <a:cubicBezTo>
                    <a:pt x="1018769" y="298284"/>
                    <a:pt x="1022835" y="302775"/>
                    <a:pt x="1022835" y="311759"/>
                  </a:cubicBezTo>
                  <a:lnTo>
                    <a:pt x="1022835" y="316411"/>
                  </a:lnTo>
                  <a:lnTo>
                    <a:pt x="1006572" y="320180"/>
                  </a:lnTo>
                  <a:cubicBezTo>
                    <a:pt x="995259" y="321479"/>
                    <a:pt x="986944" y="331264"/>
                    <a:pt x="987624" y="342477"/>
                  </a:cubicBezTo>
                  <a:cubicBezTo>
                    <a:pt x="987436" y="347576"/>
                    <a:pt x="989141" y="352568"/>
                    <a:pt x="992422" y="356513"/>
                  </a:cubicBezTo>
                  <a:cubicBezTo>
                    <a:pt x="995597" y="360082"/>
                    <a:pt x="1000214" y="362079"/>
                    <a:pt x="1005026" y="361968"/>
                  </a:cubicBezTo>
                  <a:cubicBezTo>
                    <a:pt x="1012944" y="362273"/>
                    <a:pt x="1020177" y="357561"/>
                    <a:pt x="1022998" y="350258"/>
                  </a:cubicBezTo>
                  <a:lnTo>
                    <a:pt x="1022998" y="360924"/>
                  </a:lnTo>
                  <a:lnTo>
                    <a:pt x="1032838" y="360604"/>
                  </a:lnTo>
                  <a:lnTo>
                    <a:pt x="1032838" y="312481"/>
                  </a:lnTo>
                  <a:cubicBezTo>
                    <a:pt x="1032838" y="297402"/>
                    <a:pt x="1025925" y="289782"/>
                    <a:pt x="1012101" y="289782"/>
                  </a:cubicBezTo>
                  <a:close/>
                  <a:moveTo>
                    <a:pt x="828482" y="289782"/>
                  </a:moveTo>
                  <a:cubicBezTo>
                    <a:pt x="822712" y="289561"/>
                    <a:pt x="817073" y="291511"/>
                    <a:pt x="812705" y="295236"/>
                  </a:cubicBezTo>
                  <a:cubicBezTo>
                    <a:pt x="808693" y="298744"/>
                    <a:pt x="806459" y="303825"/>
                    <a:pt x="806606" y="309112"/>
                  </a:cubicBezTo>
                  <a:cubicBezTo>
                    <a:pt x="806572" y="312765"/>
                    <a:pt x="807587" y="316352"/>
                    <a:pt x="809534" y="319458"/>
                  </a:cubicBezTo>
                  <a:cubicBezTo>
                    <a:pt x="813048" y="323873"/>
                    <a:pt x="817559" y="327416"/>
                    <a:pt x="822708" y="329805"/>
                  </a:cubicBezTo>
                  <a:cubicBezTo>
                    <a:pt x="826137" y="331485"/>
                    <a:pt x="829247" y="333737"/>
                    <a:pt x="831897" y="336462"/>
                  </a:cubicBezTo>
                  <a:cubicBezTo>
                    <a:pt x="833475" y="338205"/>
                    <a:pt x="834344" y="340462"/>
                    <a:pt x="834337" y="342799"/>
                  </a:cubicBezTo>
                  <a:cubicBezTo>
                    <a:pt x="834337" y="350017"/>
                    <a:pt x="829945" y="353626"/>
                    <a:pt x="821813" y="353626"/>
                  </a:cubicBezTo>
                  <a:cubicBezTo>
                    <a:pt x="816283" y="353480"/>
                    <a:pt x="810927" y="351691"/>
                    <a:pt x="806444" y="348493"/>
                  </a:cubicBezTo>
                  <a:lnTo>
                    <a:pt x="806444" y="358358"/>
                  </a:lnTo>
                  <a:cubicBezTo>
                    <a:pt x="811288" y="361020"/>
                    <a:pt x="816757" y="362375"/>
                    <a:pt x="822301" y="362288"/>
                  </a:cubicBezTo>
                  <a:cubicBezTo>
                    <a:pt x="828225" y="362552"/>
                    <a:pt x="834032" y="360605"/>
                    <a:pt x="838565" y="356834"/>
                  </a:cubicBezTo>
                  <a:cubicBezTo>
                    <a:pt x="842548" y="353311"/>
                    <a:pt x="844751" y="348233"/>
                    <a:pt x="844582" y="342958"/>
                  </a:cubicBezTo>
                  <a:cubicBezTo>
                    <a:pt x="844624" y="339316"/>
                    <a:pt x="843639" y="335734"/>
                    <a:pt x="841736" y="332613"/>
                  </a:cubicBezTo>
                  <a:cubicBezTo>
                    <a:pt x="838279" y="328300"/>
                    <a:pt x="833853" y="324841"/>
                    <a:pt x="828807" y="322506"/>
                  </a:cubicBezTo>
                  <a:cubicBezTo>
                    <a:pt x="825110" y="320674"/>
                    <a:pt x="821778" y="318201"/>
                    <a:pt x="818968" y="315207"/>
                  </a:cubicBezTo>
                  <a:cubicBezTo>
                    <a:pt x="817645" y="313413"/>
                    <a:pt x="816934" y="311250"/>
                    <a:pt x="816934" y="309032"/>
                  </a:cubicBezTo>
                  <a:cubicBezTo>
                    <a:pt x="816738" y="306028"/>
                    <a:pt x="817899" y="303091"/>
                    <a:pt x="820106" y="301011"/>
                  </a:cubicBezTo>
                  <a:cubicBezTo>
                    <a:pt x="822523" y="298982"/>
                    <a:pt x="825638" y="297948"/>
                    <a:pt x="828807" y="298123"/>
                  </a:cubicBezTo>
                  <a:cubicBezTo>
                    <a:pt x="833528" y="298234"/>
                    <a:pt x="838133" y="299592"/>
                    <a:pt x="842143" y="302053"/>
                  </a:cubicBezTo>
                  <a:lnTo>
                    <a:pt x="842143" y="292589"/>
                  </a:lnTo>
                  <a:cubicBezTo>
                    <a:pt x="837861" y="290651"/>
                    <a:pt x="833192" y="289692"/>
                    <a:pt x="828482" y="289782"/>
                  </a:cubicBezTo>
                  <a:close/>
                  <a:moveTo>
                    <a:pt x="870199" y="270533"/>
                  </a:moveTo>
                  <a:lnTo>
                    <a:pt x="860196" y="273742"/>
                  </a:lnTo>
                  <a:lnTo>
                    <a:pt x="860196" y="291387"/>
                  </a:lnTo>
                  <a:lnTo>
                    <a:pt x="850519" y="291387"/>
                  </a:lnTo>
                  <a:lnTo>
                    <a:pt x="850519" y="299407"/>
                  </a:lnTo>
                  <a:lnTo>
                    <a:pt x="860196" y="299407"/>
                  </a:lnTo>
                  <a:lnTo>
                    <a:pt x="860196" y="344002"/>
                  </a:lnTo>
                  <a:cubicBezTo>
                    <a:pt x="860196" y="355953"/>
                    <a:pt x="865319" y="361968"/>
                    <a:pt x="875565" y="361968"/>
                  </a:cubicBezTo>
                  <a:cubicBezTo>
                    <a:pt x="878715" y="361970"/>
                    <a:pt x="881835" y="361371"/>
                    <a:pt x="884754" y="360203"/>
                  </a:cubicBezTo>
                  <a:lnTo>
                    <a:pt x="884754" y="351461"/>
                  </a:lnTo>
                  <a:cubicBezTo>
                    <a:pt x="882749" y="352499"/>
                    <a:pt x="880513" y="353023"/>
                    <a:pt x="878249" y="352985"/>
                  </a:cubicBezTo>
                  <a:cubicBezTo>
                    <a:pt x="872801" y="352985"/>
                    <a:pt x="870117" y="349536"/>
                    <a:pt x="870117" y="342719"/>
                  </a:cubicBezTo>
                  <a:lnTo>
                    <a:pt x="870117" y="299087"/>
                  </a:lnTo>
                  <a:lnTo>
                    <a:pt x="884754" y="299087"/>
                  </a:lnTo>
                  <a:lnTo>
                    <a:pt x="884754" y="291066"/>
                  </a:lnTo>
                  <a:lnTo>
                    <a:pt x="870199" y="291066"/>
                  </a:lnTo>
                  <a:close/>
                  <a:moveTo>
                    <a:pt x="972092" y="263234"/>
                  </a:moveTo>
                  <a:lnTo>
                    <a:pt x="951599" y="336542"/>
                  </a:lnTo>
                  <a:cubicBezTo>
                    <a:pt x="950298" y="342397"/>
                    <a:pt x="949485" y="345926"/>
                    <a:pt x="949485" y="346969"/>
                  </a:cubicBezTo>
                  <a:cubicBezTo>
                    <a:pt x="949142" y="343562"/>
                    <a:pt x="948544" y="340183"/>
                    <a:pt x="947696" y="336863"/>
                  </a:cubicBezTo>
                  <a:lnTo>
                    <a:pt x="928017" y="263315"/>
                  </a:lnTo>
                  <a:lnTo>
                    <a:pt x="916713" y="263315"/>
                  </a:lnTo>
                  <a:lnTo>
                    <a:pt x="944118" y="360924"/>
                  </a:lnTo>
                  <a:lnTo>
                    <a:pt x="954608" y="360924"/>
                  </a:lnTo>
                  <a:lnTo>
                    <a:pt x="983070" y="263234"/>
                  </a:lnTo>
                  <a:close/>
                  <a:moveTo>
                    <a:pt x="647058" y="263153"/>
                  </a:moveTo>
                  <a:lnTo>
                    <a:pt x="647058" y="360363"/>
                  </a:lnTo>
                  <a:lnTo>
                    <a:pt x="656166" y="360363"/>
                  </a:lnTo>
                  <a:lnTo>
                    <a:pt x="656166" y="296198"/>
                  </a:lnTo>
                  <a:cubicBezTo>
                    <a:pt x="656166" y="290343"/>
                    <a:pt x="655841" y="284007"/>
                    <a:pt x="655271" y="277189"/>
                  </a:cubicBezTo>
                  <a:lnTo>
                    <a:pt x="655841" y="277189"/>
                  </a:lnTo>
                  <a:cubicBezTo>
                    <a:pt x="657223" y="284488"/>
                    <a:pt x="658118" y="288899"/>
                    <a:pt x="658687" y="290503"/>
                  </a:cubicBezTo>
                  <a:lnTo>
                    <a:pt x="682513" y="360924"/>
                  </a:lnTo>
                  <a:lnTo>
                    <a:pt x="689995" y="360924"/>
                  </a:lnTo>
                  <a:lnTo>
                    <a:pt x="712683" y="289942"/>
                  </a:lnTo>
                  <a:cubicBezTo>
                    <a:pt x="714109" y="285969"/>
                    <a:pt x="715091" y="281854"/>
                    <a:pt x="715611" y="277670"/>
                  </a:cubicBezTo>
                  <a:lnTo>
                    <a:pt x="716098" y="277670"/>
                  </a:lnTo>
                  <a:lnTo>
                    <a:pt x="715611" y="285049"/>
                  </a:lnTo>
                  <a:cubicBezTo>
                    <a:pt x="715611" y="288178"/>
                    <a:pt x="715611" y="291547"/>
                    <a:pt x="715611" y="295316"/>
                  </a:cubicBezTo>
                  <a:lnTo>
                    <a:pt x="715611" y="360924"/>
                  </a:lnTo>
                  <a:lnTo>
                    <a:pt x="725125" y="360924"/>
                  </a:lnTo>
                  <a:lnTo>
                    <a:pt x="725125" y="263394"/>
                  </a:lnTo>
                  <a:lnTo>
                    <a:pt x="712114" y="263394"/>
                  </a:lnTo>
                  <a:lnTo>
                    <a:pt x="689263" y="333333"/>
                  </a:lnTo>
                  <a:lnTo>
                    <a:pt x="686580" y="344883"/>
                  </a:lnTo>
                  <a:cubicBezTo>
                    <a:pt x="685954" y="341109"/>
                    <a:pt x="685057" y="337384"/>
                    <a:pt x="683896" y="333735"/>
                  </a:cubicBezTo>
                  <a:lnTo>
                    <a:pt x="660476" y="263153"/>
                  </a:lnTo>
                  <a:close/>
                  <a:moveTo>
                    <a:pt x="1267038" y="257539"/>
                  </a:moveTo>
                  <a:lnTo>
                    <a:pt x="1267038" y="360923"/>
                  </a:lnTo>
                  <a:lnTo>
                    <a:pt x="1276716" y="360923"/>
                  </a:lnTo>
                  <a:lnTo>
                    <a:pt x="1276716" y="257539"/>
                  </a:lnTo>
                  <a:close/>
                  <a:moveTo>
                    <a:pt x="1202144" y="257539"/>
                  </a:moveTo>
                  <a:lnTo>
                    <a:pt x="1202144" y="360924"/>
                  </a:lnTo>
                  <a:lnTo>
                    <a:pt x="1212147" y="360924"/>
                  </a:lnTo>
                  <a:lnTo>
                    <a:pt x="1212147" y="351781"/>
                  </a:lnTo>
                  <a:cubicBezTo>
                    <a:pt x="1214582" y="358006"/>
                    <a:pt x="1220670" y="362095"/>
                    <a:pt x="1227435" y="362048"/>
                  </a:cubicBezTo>
                  <a:cubicBezTo>
                    <a:pt x="1235088" y="362277"/>
                    <a:pt x="1242223" y="358248"/>
                    <a:pt x="1245894" y="351621"/>
                  </a:cubicBezTo>
                  <a:cubicBezTo>
                    <a:pt x="1250598" y="342703"/>
                    <a:pt x="1252789" y="332703"/>
                    <a:pt x="1252237" y="322666"/>
                  </a:cubicBezTo>
                  <a:cubicBezTo>
                    <a:pt x="1252716" y="314274"/>
                    <a:pt x="1250741" y="305921"/>
                    <a:pt x="1246544" y="298605"/>
                  </a:cubicBezTo>
                  <a:cubicBezTo>
                    <a:pt x="1243151" y="292968"/>
                    <a:pt x="1236924" y="289591"/>
                    <a:pt x="1230280" y="289782"/>
                  </a:cubicBezTo>
                  <a:cubicBezTo>
                    <a:pt x="1221940" y="289564"/>
                    <a:pt x="1214413" y="294687"/>
                    <a:pt x="1211658" y="302454"/>
                  </a:cubicBezTo>
                  <a:lnTo>
                    <a:pt x="1211658" y="257539"/>
                  </a:lnTo>
                  <a:close/>
                  <a:moveTo>
                    <a:pt x="1050240" y="257539"/>
                  </a:moveTo>
                  <a:lnTo>
                    <a:pt x="1050240" y="360923"/>
                  </a:lnTo>
                  <a:lnTo>
                    <a:pt x="1060243" y="360923"/>
                  </a:lnTo>
                  <a:lnTo>
                    <a:pt x="1060243" y="257539"/>
                  </a:lnTo>
                  <a:close/>
                  <a:moveTo>
                    <a:pt x="449777" y="235644"/>
                  </a:moveTo>
                  <a:lnTo>
                    <a:pt x="449777" y="285611"/>
                  </a:lnTo>
                  <a:lnTo>
                    <a:pt x="460023" y="285611"/>
                  </a:lnTo>
                  <a:cubicBezTo>
                    <a:pt x="473685" y="285611"/>
                    <a:pt x="480435" y="277270"/>
                    <a:pt x="480435" y="260427"/>
                  </a:cubicBezTo>
                  <a:cubicBezTo>
                    <a:pt x="480985" y="253763"/>
                    <a:pt x="478951" y="247141"/>
                    <a:pt x="474742" y="241899"/>
                  </a:cubicBezTo>
                  <a:cubicBezTo>
                    <a:pt x="470933" y="237740"/>
                    <a:pt x="465458" y="235451"/>
                    <a:pt x="459779" y="235644"/>
                  </a:cubicBezTo>
                  <a:close/>
                  <a:moveTo>
                    <a:pt x="419851" y="209977"/>
                  </a:moveTo>
                  <a:lnTo>
                    <a:pt x="464740" y="209977"/>
                  </a:lnTo>
                  <a:cubicBezTo>
                    <a:pt x="477501" y="209207"/>
                    <a:pt x="490006" y="213746"/>
                    <a:pt x="499219" y="222490"/>
                  </a:cubicBezTo>
                  <a:cubicBezTo>
                    <a:pt x="508095" y="232486"/>
                    <a:pt x="512547" y="245569"/>
                    <a:pt x="511580" y="258823"/>
                  </a:cubicBezTo>
                  <a:cubicBezTo>
                    <a:pt x="512108" y="272552"/>
                    <a:pt x="507277" y="285958"/>
                    <a:pt x="498081" y="296278"/>
                  </a:cubicBezTo>
                  <a:cubicBezTo>
                    <a:pt x="488908" y="306159"/>
                    <a:pt x="475791" y="311557"/>
                    <a:pt x="462219" y="311036"/>
                  </a:cubicBezTo>
                  <a:lnTo>
                    <a:pt x="449777" y="311036"/>
                  </a:lnTo>
                  <a:lnTo>
                    <a:pt x="449777" y="363410"/>
                  </a:lnTo>
                  <a:lnTo>
                    <a:pt x="419851" y="363410"/>
                  </a:lnTo>
                  <a:close/>
                  <a:moveTo>
                    <a:pt x="380493" y="209977"/>
                  </a:moveTo>
                  <a:lnTo>
                    <a:pt x="410662" y="209977"/>
                  </a:lnTo>
                  <a:lnTo>
                    <a:pt x="370979" y="363410"/>
                  </a:lnTo>
                  <a:lnTo>
                    <a:pt x="338939" y="363410"/>
                  </a:lnTo>
                  <a:lnTo>
                    <a:pt x="300312" y="210138"/>
                  </a:lnTo>
                  <a:lnTo>
                    <a:pt x="331376" y="210138"/>
                  </a:lnTo>
                  <a:lnTo>
                    <a:pt x="352926" y="311197"/>
                  </a:lnTo>
                  <a:cubicBezTo>
                    <a:pt x="354231" y="317624"/>
                    <a:pt x="355047" y="324139"/>
                    <a:pt x="355365" y="330687"/>
                  </a:cubicBezTo>
                  <a:lnTo>
                    <a:pt x="356097" y="330687"/>
                  </a:lnTo>
                  <a:lnTo>
                    <a:pt x="356666" y="326596"/>
                  </a:lnTo>
                  <a:cubicBezTo>
                    <a:pt x="357154" y="321383"/>
                    <a:pt x="357886" y="316090"/>
                    <a:pt x="358943" y="310555"/>
                  </a:cubicBezTo>
                  <a:close/>
                  <a:moveTo>
                    <a:pt x="157841" y="209977"/>
                  </a:moveTo>
                  <a:lnTo>
                    <a:pt x="199802" y="209977"/>
                  </a:lnTo>
                  <a:lnTo>
                    <a:pt x="221595" y="302936"/>
                  </a:lnTo>
                  <a:cubicBezTo>
                    <a:pt x="223542" y="310841"/>
                    <a:pt x="224847" y="318887"/>
                    <a:pt x="225498" y="326997"/>
                  </a:cubicBezTo>
                  <a:lnTo>
                    <a:pt x="226067" y="326997"/>
                  </a:lnTo>
                  <a:lnTo>
                    <a:pt x="226800" y="321383"/>
                  </a:lnTo>
                  <a:cubicBezTo>
                    <a:pt x="227775" y="312721"/>
                    <a:pt x="228670" y="306464"/>
                    <a:pt x="229483" y="302535"/>
                  </a:cubicBezTo>
                  <a:lnTo>
                    <a:pt x="249488" y="209977"/>
                  </a:lnTo>
                  <a:lnTo>
                    <a:pt x="290148" y="209977"/>
                  </a:lnTo>
                  <a:lnTo>
                    <a:pt x="290148" y="363410"/>
                  </a:lnTo>
                  <a:lnTo>
                    <a:pt x="264451" y="363410"/>
                  </a:lnTo>
                  <a:lnTo>
                    <a:pt x="264451" y="274142"/>
                  </a:lnTo>
                  <a:cubicBezTo>
                    <a:pt x="264451" y="266443"/>
                    <a:pt x="264776" y="254892"/>
                    <a:pt x="265508" y="239413"/>
                  </a:cubicBezTo>
                  <a:lnTo>
                    <a:pt x="264857" y="239413"/>
                  </a:lnTo>
                  <a:cubicBezTo>
                    <a:pt x="263881" y="245830"/>
                    <a:pt x="262336" y="254492"/>
                    <a:pt x="260222" y="265158"/>
                  </a:cubicBezTo>
                  <a:lnTo>
                    <a:pt x="238184" y="363410"/>
                  </a:lnTo>
                  <a:lnTo>
                    <a:pt x="210861" y="363410"/>
                  </a:lnTo>
                  <a:lnTo>
                    <a:pt x="187035" y="266522"/>
                  </a:lnTo>
                  <a:lnTo>
                    <a:pt x="182399" y="239413"/>
                  </a:lnTo>
                  <a:lnTo>
                    <a:pt x="181586" y="239413"/>
                  </a:lnTo>
                  <a:cubicBezTo>
                    <a:pt x="182643" y="253769"/>
                    <a:pt x="182643" y="268046"/>
                    <a:pt x="182643" y="282082"/>
                  </a:cubicBezTo>
                  <a:lnTo>
                    <a:pt x="182643" y="363410"/>
                  </a:lnTo>
                  <a:lnTo>
                    <a:pt x="157841" y="363410"/>
                  </a:lnTo>
                  <a:close/>
                  <a:moveTo>
                    <a:pt x="1134324" y="146294"/>
                  </a:moveTo>
                  <a:lnTo>
                    <a:pt x="1134731" y="146294"/>
                  </a:lnTo>
                  <a:cubicBezTo>
                    <a:pt x="1143675" y="146294"/>
                    <a:pt x="1148148" y="155437"/>
                    <a:pt x="1147742" y="173644"/>
                  </a:cubicBezTo>
                  <a:cubicBezTo>
                    <a:pt x="1147742" y="193535"/>
                    <a:pt x="1143350" y="203480"/>
                    <a:pt x="1134324" y="203480"/>
                  </a:cubicBezTo>
                  <a:cubicBezTo>
                    <a:pt x="1125297" y="203480"/>
                    <a:pt x="1120825" y="193294"/>
                    <a:pt x="1120825" y="174526"/>
                  </a:cubicBezTo>
                  <a:cubicBezTo>
                    <a:pt x="1120825" y="155758"/>
                    <a:pt x="1125297" y="146294"/>
                    <a:pt x="1134324" y="146294"/>
                  </a:cubicBezTo>
                  <a:close/>
                  <a:moveTo>
                    <a:pt x="979492" y="146294"/>
                  </a:moveTo>
                  <a:lnTo>
                    <a:pt x="979899" y="146294"/>
                  </a:lnTo>
                  <a:cubicBezTo>
                    <a:pt x="988844" y="146294"/>
                    <a:pt x="993316" y="155438"/>
                    <a:pt x="992910" y="173645"/>
                  </a:cubicBezTo>
                  <a:cubicBezTo>
                    <a:pt x="992910" y="193535"/>
                    <a:pt x="988519" y="203481"/>
                    <a:pt x="979492" y="203481"/>
                  </a:cubicBezTo>
                  <a:cubicBezTo>
                    <a:pt x="970465" y="203481"/>
                    <a:pt x="965993" y="193295"/>
                    <a:pt x="965993" y="174527"/>
                  </a:cubicBezTo>
                  <a:cubicBezTo>
                    <a:pt x="965993" y="155759"/>
                    <a:pt x="970465" y="146294"/>
                    <a:pt x="979492" y="146294"/>
                  </a:cubicBezTo>
                  <a:close/>
                  <a:moveTo>
                    <a:pt x="780017" y="128328"/>
                  </a:moveTo>
                  <a:lnTo>
                    <a:pt x="780017" y="221367"/>
                  </a:lnTo>
                  <a:lnTo>
                    <a:pt x="804413" y="221367"/>
                  </a:lnTo>
                  <a:lnTo>
                    <a:pt x="804413" y="128328"/>
                  </a:lnTo>
                  <a:close/>
                  <a:moveTo>
                    <a:pt x="1132419" y="126943"/>
                  </a:moveTo>
                  <a:cubicBezTo>
                    <a:pt x="1122735" y="127465"/>
                    <a:pt x="1113253" y="131631"/>
                    <a:pt x="1106268" y="139316"/>
                  </a:cubicBezTo>
                  <a:cubicBezTo>
                    <a:pt x="1098822" y="149589"/>
                    <a:pt x="1095202" y="162084"/>
                    <a:pt x="1096022" y="174687"/>
                  </a:cubicBezTo>
                  <a:cubicBezTo>
                    <a:pt x="1095233" y="187338"/>
                    <a:pt x="1098722" y="199892"/>
                    <a:pt x="1105943" y="210377"/>
                  </a:cubicBezTo>
                  <a:cubicBezTo>
                    <a:pt x="1109343" y="214641"/>
                    <a:pt x="1113693" y="217949"/>
                    <a:pt x="1118566" y="220111"/>
                  </a:cubicBezTo>
                  <a:lnTo>
                    <a:pt x="1134324" y="222970"/>
                  </a:lnTo>
                  <a:lnTo>
                    <a:pt x="1150166" y="220013"/>
                  </a:lnTo>
                  <a:cubicBezTo>
                    <a:pt x="1155063" y="217825"/>
                    <a:pt x="1159437" y="214497"/>
                    <a:pt x="1162867" y="210218"/>
                  </a:cubicBezTo>
                  <a:cubicBezTo>
                    <a:pt x="1170110" y="199414"/>
                    <a:pt x="1173566" y="186568"/>
                    <a:pt x="1172706" y="173644"/>
                  </a:cubicBezTo>
                  <a:cubicBezTo>
                    <a:pt x="1173445" y="161410"/>
                    <a:pt x="1169915" y="149296"/>
                    <a:pt x="1162704" y="139316"/>
                  </a:cubicBezTo>
                  <a:cubicBezTo>
                    <a:pt x="1161783" y="138303"/>
                    <a:pt x="1160807" y="137340"/>
                    <a:pt x="1159780" y="136432"/>
                  </a:cubicBezTo>
                  <a:cubicBezTo>
                    <a:pt x="1151988" y="129543"/>
                    <a:pt x="1142103" y="126422"/>
                    <a:pt x="1132419" y="126943"/>
                  </a:cubicBezTo>
                  <a:close/>
                  <a:moveTo>
                    <a:pt x="977587" y="126943"/>
                  </a:moveTo>
                  <a:cubicBezTo>
                    <a:pt x="967903" y="127465"/>
                    <a:pt x="958422" y="131631"/>
                    <a:pt x="951437" y="139316"/>
                  </a:cubicBezTo>
                  <a:cubicBezTo>
                    <a:pt x="944105" y="149630"/>
                    <a:pt x="940601" y="162122"/>
                    <a:pt x="941516" y="174687"/>
                  </a:cubicBezTo>
                  <a:cubicBezTo>
                    <a:pt x="940727" y="187339"/>
                    <a:pt x="944216" y="199892"/>
                    <a:pt x="951437" y="210378"/>
                  </a:cubicBezTo>
                  <a:cubicBezTo>
                    <a:pt x="958168" y="218811"/>
                    <a:pt x="968624" y="223504"/>
                    <a:pt x="979492" y="222971"/>
                  </a:cubicBezTo>
                  <a:cubicBezTo>
                    <a:pt x="990653" y="223650"/>
                    <a:pt x="1001443" y="218884"/>
                    <a:pt x="1008361" y="210219"/>
                  </a:cubicBezTo>
                  <a:cubicBezTo>
                    <a:pt x="1015486" y="199372"/>
                    <a:pt x="1018852" y="186538"/>
                    <a:pt x="1017956" y="173645"/>
                  </a:cubicBezTo>
                  <a:cubicBezTo>
                    <a:pt x="1018671" y="161401"/>
                    <a:pt x="1015112" y="149286"/>
                    <a:pt x="1007873" y="139316"/>
                  </a:cubicBezTo>
                  <a:cubicBezTo>
                    <a:pt x="1006952" y="138303"/>
                    <a:pt x="1005976" y="137341"/>
                    <a:pt x="1004949" y="136432"/>
                  </a:cubicBezTo>
                  <a:cubicBezTo>
                    <a:pt x="997156" y="129543"/>
                    <a:pt x="987271" y="126422"/>
                    <a:pt x="977587" y="126943"/>
                  </a:cubicBezTo>
                  <a:close/>
                  <a:moveTo>
                    <a:pt x="858571" y="126805"/>
                  </a:moveTo>
                  <a:cubicBezTo>
                    <a:pt x="847451" y="126512"/>
                    <a:pt x="836853" y="131456"/>
                    <a:pt x="830027" y="140119"/>
                  </a:cubicBezTo>
                  <a:cubicBezTo>
                    <a:pt x="822170" y="150801"/>
                    <a:pt x="818319" y="163842"/>
                    <a:pt x="819131" y="177014"/>
                  </a:cubicBezTo>
                  <a:cubicBezTo>
                    <a:pt x="818641" y="188845"/>
                    <a:pt x="822286" y="200483"/>
                    <a:pt x="829458" y="209978"/>
                  </a:cubicBezTo>
                  <a:cubicBezTo>
                    <a:pt x="835635" y="218209"/>
                    <a:pt x="845424" y="223036"/>
                    <a:pt x="855805" y="222972"/>
                  </a:cubicBezTo>
                  <a:cubicBezTo>
                    <a:pt x="862622" y="223358"/>
                    <a:pt x="869373" y="221496"/>
                    <a:pt x="874997" y="217678"/>
                  </a:cubicBezTo>
                  <a:lnTo>
                    <a:pt x="874835" y="198349"/>
                  </a:lnTo>
                  <a:cubicBezTo>
                    <a:pt x="871080" y="201718"/>
                    <a:pt x="866168" y="203552"/>
                    <a:pt x="861092" y="203482"/>
                  </a:cubicBezTo>
                  <a:cubicBezTo>
                    <a:pt x="855851" y="203596"/>
                    <a:pt x="850985" y="200809"/>
                    <a:pt x="848487" y="196264"/>
                  </a:cubicBezTo>
                  <a:cubicBezTo>
                    <a:pt x="845059" y="189797"/>
                    <a:pt x="843485" y="182532"/>
                    <a:pt x="843933" y="175250"/>
                  </a:cubicBezTo>
                  <a:cubicBezTo>
                    <a:pt x="843594" y="167902"/>
                    <a:pt x="845310" y="160605"/>
                    <a:pt x="848893" y="154155"/>
                  </a:cubicBezTo>
                  <a:cubicBezTo>
                    <a:pt x="851432" y="149237"/>
                    <a:pt x="856553" y="146137"/>
                    <a:pt x="862149" y="146135"/>
                  </a:cubicBezTo>
                  <a:cubicBezTo>
                    <a:pt x="866977" y="145979"/>
                    <a:pt x="871625" y="147948"/>
                    <a:pt x="874835" y="151508"/>
                  </a:cubicBezTo>
                  <a:lnTo>
                    <a:pt x="874835" y="130735"/>
                  </a:lnTo>
                  <a:cubicBezTo>
                    <a:pt x="870003" y="127688"/>
                    <a:pt x="864283" y="126306"/>
                    <a:pt x="858571" y="126805"/>
                  </a:cubicBezTo>
                  <a:close/>
                  <a:moveTo>
                    <a:pt x="933466" y="126644"/>
                  </a:moveTo>
                  <a:cubicBezTo>
                    <a:pt x="923789" y="126644"/>
                    <a:pt x="917364" y="132339"/>
                    <a:pt x="914030" y="143728"/>
                  </a:cubicBezTo>
                  <a:lnTo>
                    <a:pt x="913624" y="143728"/>
                  </a:lnTo>
                  <a:lnTo>
                    <a:pt x="913624" y="128329"/>
                  </a:lnTo>
                  <a:lnTo>
                    <a:pt x="889634" y="128329"/>
                  </a:lnTo>
                  <a:lnTo>
                    <a:pt x="889634" y="221366"/>
                  </a:lnTo>
                  <a:lnTo>
                    <a:pt x="913786" y="221366"/>
                  </a:lnTo>
                  <a:lnTo>
                    <a:pt x="913786" y="174526"/>
                  </a:lnTo>
                  <a:cubicBezTo>
                    <a:pt x="913786" y="157443"/>
                    <a:pt x="919641" y="148861"/>
                    <a:pt x="931270" y="148861"/>
                  </a:cubicBezTo>
                  <a:cubicBezTo>
                    <a:pt x="934075" y="148889"/>
                    <a:pt x="936844" y="149490"/>
                    <a:pt x="939402" y="150626"/>
                  </a:cubicBezTo>
                  <a:lnTo>
                    <a:pt x="939402" y="127526"/>
                  </a:lnTo>
                  <a:cubicBezTo>
                    <a:pt x="937473" y="126970"/>
                    <a:pt x="935476" y="126674"/>
                    <a:pt x="933466" y="126644"/>
                  </a:cubicBezTo>
                  <a:close/>
                  <a:moveTo>
                    <a:pt x="1063332" y="126565"/>
                  </a:moveTo>
                  <a:cubicBezTo>
                    <a:pt x="1054456" y="126035"/>
                    <a:pt x="1045715" y="128908"/>
                    <a:pt x="1038937" y="134585"/>
                  </a:cubicBezTo>
                  <a:cubicBezTo>
                    <a:pt x="1033147" y="139755"/>
                    <a:pt x="1029964" y="147179"/>
                    <a:pt x="1030235" y="154876"/>
                  </a:cubicBezTo>
                  <a:cubicBezTo>
                    <a:pt x="1030245" y="160028"/>
                    <a:pt x="1031619" y="165087"/>
                    <a:pt x="1034220" y="169554"/>
                  </a:cubicBezTo>
                  <a:cubicBezTo>
                    <a:pt x="1038675" y="175621"/>
                    <a:pt x="1044564" y="180522"/>
                    <a:pt x="1051378" y="183831"/>
                  </a:cubicBezTo>
                  <a:cubicBezTo>
                    <a:pt x="1054246" y="185440"/>
                    <a:pt x="1056967" y="187291"/>
                    <a:pt x="1059510" y="189365"/>
                  </a:cubicBezTo>
                  <a:cubicBezTo>
                    <a:pt x="1061347" y="190874"/>
                    <a:pt x="1062417" y="193103"/>
                    <a:pt x="1062438" y="195461"/>
                  </a:cubicBezTo>
                  <a:cubicBezTo>
                    <a:pt x="1062438" y="201636"/>
                    <a:pt x="1058696" y="204684"/>
                    <a:pt x="1051297" y="204684"/>
                  </a:cubicBezTo>
                  <a:cubicBezTo>
                    <a:pt x="1043773" y="204584"/>
                    <a:pt x="1036468" y="202173"/>
                    <a:pt x="1030397" y="197786"/>
                  </a:cubicBezTo>
                  <a:lnTo>
                    <a:pt x="1030397" y="218399"/>
                  </a:lnTo>
                  <a:cubicBezTo>
                    <a:pt x="1037711" y="221964"/>
                    <a:pt x="1045837" y="223595"/>
                    <a:pt x="1053980" y="223131"/>
                  </a:cubicBezTo>
                  <a:cubicBezTo>
                    <a:pt x="1062854" y="223644"/>
                    <a:pt x="1071589" y="220773"/>
                    <a:pt x="1078376" y="215110"/>
                  </a:cubicBezTo>
                  <a:cubicBezTo>
                    <a:pt x="1083941" y="209796"/>
                    <a:pt x="1086906" y="202368"/>
                    <a:pt x="1086508" y="194738"/>
                  </a:cubicBezTo>
                  <a:cubicBezTo>
                    <a:pt x="1086594" y="189525"/>
                    <a:pt x="1085215" y="184389"/>
                    <a:pt x="1082524" y="179900"/>
                  </a:cubicBezTo>
                  <a:cubicBezTo>
                    <a:pt x="1078268" y="174236"/>
                    <a:pt x="1072688" y="169668"/>
                    <a:pt x="1066260" y="166586"/>
                  </a:cubicBezTo>
                  <a:cubicBezTo>
                    <a:pt x="1062546" y="164834"/>
                    <a:pt x="1059141" y="162505"/>
                    <a:pt x="1056176" y="159689"/>
                  </a:cubicBezTo>
                  <a:cubicBezTo>
                    <a:pt x="1054928" y="158167"/>
                    <a:pt x="1054241" y="156272"/>
                    <a:pt x="1054225" y="154315"/>
                  </a:cubicBezTo>
                  <a:cubicBezTo>
                    <a:pt x="1054225" y="148220"/>
                    <a:pt x="1057884" y="145172"/>
                    <a:pt x="1065284" y="145172"/>
                  </a:cubicBezTo>
                  <a:cubicBezTo>
                    <a:pt x="1071438" y="145382"/>
                    <a:pt x="1077445" y="147090"/>
                    <a:pt x="1082767" y="150145"/>
                  </a:cubicBezTo>
                  <a:lnTo>
                    <a:pt x="1082767" y="130013"/>
                  </a:lnTo>
                  <a:cubicBezTo>
                    <a:pt x="1076574" y="127641"/>
                    <a:pt x="1069975" y="126470"/>
                    <a:pt x="1063332" y="126565"/>
                  </a:cubicBezTo>
                  <a:close/>
                  <a:moveTo>
                    <a:pt x="1312657" y="117099"/>
                  </a:moveTo>
                  <a:lnTo>
                    <a:pt x="1315828" y="117099"/>
                  </a:lnTo>
                  <a:cubicBezTo>
                    <a:pt x="1319488" y="117099"/>
                    <a:pt x="1321277" y="118462"/>
                    <a:pt x="1321277" y="121110"/>
                  </a:cubicBezTo>
                  <a:cubicBezTo>
                    <a:pt x="1321317" y="122241"/>
                    <a:pt x="1320840" y="123331"/>
                    <a:pt x="1319976" y="124077"/>
                  </a:cubicBezTo>
                  <a:cubicBezTo>
                    <a:pt x="1318987" y="124851"/>
                    <a:pt x="1317736" y="125223"/>
                    <a:pt x="1316479" y="125120"/>
                  </a:cubicBezTo>
                  <a:lnTo>
                    <a:pt x="1312657" y="125120"/>
                  </a:lnTo>
                  <a:close/>
                  <a:moveTo>
                    <a:pt x="1307128" y="112287"/>
                  </a:moveTo>
                  <a:lnTo>
                    <a:pt x="1307128" y="140519"/>
                  </a:lnTo>
                  <a:lnTo>
                    <a:pt x="1312657" y="140519"/>
                  </a:lnTo>
                  <a:lnTo>
                    <a:pt x="1312657" y="129290"/>
                  </a:lnTo>
                  <a:lnTo>
                    <a:pt x="1315016" y="129290"/>
                  </a:lnTo>
                  <a:cubicBezTo>
                    <a:pt x="1316723" y="129290"/>
                    <a:pt x="1318105" y="130654"/>
                    <a:pt x="1319081" y="133461"/>
                  </a:cubicBezTo>
                  <a:lnTo>
                    <a:pt x="1321683" y="140519"/>
                  </a:lnTo>
                  <a:lnTo>
                    <a:pt x="1328189" y="140199"/>
                  </a:lnTo>
                  <a:lnTo>
                    <a:pt x="1324855" y="132178"/>
                  </a:lnTo>
                  <a:cubicBezTo>
                    <a:pt x="1324205" y="130010"/>
                    <a:pt x="1322542" y="128280"/>
                    <a:pt x="1320382" y="127526"/>
                  </a:cubicBezTo>
                  <a:cubicBezTo>
                    <a:pt x="1324936" y="126403"/>
                    <a:pt x="1327213" y="123917"/>
                    <a:pt x="1327213" y="120147"/>
                  </a:cubicBezTo>
                  <a:cubicBezTo>
                    <a:pt x="1327334" y="117886"/>
                    <a:pt x="1326295" y="115717"/>
                    <a:pt x="1324449" y="114372"/>
                  </a:cubicBezTo>
                  <a:cubicBezTo>
                    <a:pt x="1322032" y="112841"/>
                    <a:pt x="1319183" y="112111"/>
                    <a:pt x="1316317" y="112287"/>
                  </a:cubicBezTo>
                  <a:close/>
                  <a:moveTo>
                    <a:pt x="1316723" y="107876"/>
                  </a:moveTo>
                  <a:lnTo>
                    <a:pt x="1316804" y="107876"/>
                  </a:lnTo>
                  <a:cubicBezTo>
                    <a:pt x="1321910" y="107796"/>
                    <a:pt x="1326824" y="109799"/>
                    <a:pt x="1330385" y="113410"/>
                  </a:cubicBezTo>
                  <a:cubicBezTo>
                    <a:pt x="1337833" y="120922"/>
                    <a:pt x="1337833" y="132926"/>
                    <a:pt x="1330385" y="140439"/>
                  </a:cubicBezTo>
                  <a:cubicBezTo>
                    <a:pt x="1322768" y="147785"/>
                    <a:pt x="1310596" y="147785"/>
                    <a:pt x="1302980" y="140439"/>
                  </a:cubicBezTo>
                  <a:cubicBezTo>
                    <a:pt x="1299205" y="136931"/>
                    <a:pt x="1297133" y="131998"/>
                    <a:pt x="1297287" y="126884"/>
                  </a:cubicBezTo>
                  <a:cubicBezTo>
                    <a:pt x="1297281" y="126559"/>
                    <a:pt x="1297281" y="126234"/>
                    <a:pt x="1297292" y="125909"/>
                  </a:cubicBezTo>
                  <a:cubicBezTo>
                    <a:pt x="1297608" y="115636"/>
                    <a:pt x="1306308" y="107563"/>
                    <a:pt x="1316723" y="107876"/>
                  </a:cubicBezTo>
                  <a:close/>
                  <a:moveTo>
                    <a:pt x="1316804" y="104476"/>
                  </a:moveTo>
                  <a:cubicBezTo>
                    <a:pt x="1310988" y="104476"/>
                    <a:pt x="1305171" y="106518"/>
                    <a:pt x="1300540" y="110603"/>
                  </a:cubicBezTo>
                  <a:cubicBezTo>
                    <a:pt x="1296125" y="114783"/>
                    <a:pt x="1293703" y="120609"/>
                    <a:pt x="1293872" y="126644"/>
                  </a:cubicBezTo>
                  <a:cubicBezTo>
                    <a:pt x="1293597" y="132681"/>
                    <a:pt x="1296002" y="138537"/>
                    <a:pt x="1300459" y="142685"/>
                  </a:cubicBezTo>
                  <a:cubicBezTo>
                    <a:pt x="1304817" y="146826"/>
                    <a:pt x="1310672" y="149079"/>
                    <a:pt x="1316723" y="148941"/>
                  </a:cubicBezTo>
                  <a:cubicBezTo>
                    <a:pt x="1322745" y="149057"/>
                    <a:pt x="1328567" y="146806"/>
                    <a:pt x="1332906" y="142685"/>
                  </a:cubicBezTo>
                  <a:cubicBezTo>
                    <a:pt x="1337356" y="138527"/>
                    <a:pt x="1339785" y="132686"/>
                    <a:pt x="1339574" y="126644"/>
                  </a:cubicBezTo>
                  <a:cubicBezTo>
                    <a:pt x="1339806" y="120629"/>
                    <a:pt x="1337442" y="114800"/>
                    <a:pt x="1333068" y="110603"/>
                  </a:cubicBezTo>
                  <a:cubicBezTo>
                    <a:pt x="1328438" y="106518"/>
                    <a:pt x="1322621" y="104476"/>
                    <a:pt x="1316804" y="104476"/>
                  </a:cubicBezTo>
                  <a:close/>
                  <a:moveTo>
                    <a:pt x="724637" y="91193"/>
                  </a:moveTo>
                  <a:lnTo>
                    <a:pt x="707316" y="169634"/>
                  </a:lnTo>
                  <a:cubicBezTo>
                    <a:pt x="706583" y="173083"/>
                    <a:pt x="705770" y="178376"/>
                    <a:pt x="704957" y="185675"/>
                  </a:cubicBezTo>
                  <a:lnTo>
                    <a:pt x="704306" y="190487"/>
                  </a:lnTo>
                  <a:cubicBezTo>
                    <a:pt x="703701" y="183731"/>
                    <a:pt x="702586" y="177029"/>
                    <a:pt x="700972" y="170436"/>
                  </a:cubicBezTo>
                  <a:lnTo>
                    <a:pt x="682513" y="91274"/>
                  </a:lnTo>
                  <a:lnTo>
                    <a:pt x="646895" y="91274"/>
                  </a:lnTo>
                  <a:lnTo>
                    <a:pt x="646895" y="221366"/>
                  </a:lnTo>
                  <a:lnTo>
                    <a:pt x="667713" y="221366"/>
                  </a:lnTo>
                  <a:lnTo>
                    <a:pt x="667713" y="152390"/>
                  </a:lnTo>
                  <a:cubicBezTo>
                    <a:pt x="667713" y="140278"/>
                    <a:pt x="667388" y="128409"/>
                    <a:pt x="666818" y="116217"/>
                  </a:cubicBezTo>
                  <a:lnTo>
                    <a:pt x="667794" y="116217"/>
                  </a:lnTo>
                  <a:lnTo>
                    <a:pt x="671372" y="139236"/>
                  </a:lnTo>
                  <a:lnTo>
                    <a:pt x="691214" y="221366"/>
                  </a:lnTo>
                  <a:lnTo>
                    <a:pt x="714715" y="221366"/>
                  </a:lnTo>
                  <a:lnTo>
                    <a:pt x="733907" y="138033"/>
                  </a:lnTo>
                  <a:cubicBezTo>
                    <a:pt x="735777" y="128970"/>
                    <a:pt x="737078" y="121671"/>
                    <a:pt x="737892" y="116217"/>
                  </a:cubicBezTo>
                  <a:lnTo>
                    <a:pt x="738379" y="116217"/>
                  </a:lnTo>
                  <a:cubicBezTo>
                    <a:pt x="737485" y="129612"/>
                    <a:pt x="737485" y="139156"/>
                    <a:pt x="737485" y="145653"/>
                  </a:cubicBezTo>
                  <a:lnTo>
                    <a:pt x="737485" y="221366"/>
                  </a:lnTo>
                  <a:lnTo>
                    <a:pt x="758872" y="221366"/>
                  </a:lnTo>
                  <a:lnTo>
                    <a:pt x="758872" y="91193"/>
                  </a:lnTo>
                  <a:close/>
                  <a:moveTo>
                    <a:pt x="792052" y="86747"/>
                  </a:moveTo>
                  <a:cubicBezTo>
                    <a:pt x="788298" y="86747"/>
                    <a:pt x="784545" y="88068"/>
                    <a:pt x="781562" y="90712"/>
                  </a:cubicBezTo>
                  <a:cubicBezTo>
                    <a:pt x="778738" y="93447"/>
                    <a:pt x="777229" y="97240"/>
                    <a:pt x="777414" y="101139"/>
                  </a:cubicBezTo>
                  <a:cubicBezTo>
                    <a:pt x="777357" y="104953"/>
                    <a:pt x="778817" y="108638"/>
                    <a:pt x="781480" y="111405"/>
                  </a:cubicBezTo>
                  <a:cubicBezTo>
                    <a:pt x="784174" y="114224"/>
                    <a:pt x="787963" y="115771"/>
                    <a:pt x="791889" y="115656"/>
                  </a:cubicBezTo>
                  <a:cubicBezTo>
                    <a:pt x="795876" y="115800"/>
                    <a:pt x="799741" y="114286"/>
                    <a:pt x="802542" y="111485"/>
                  </a:cubicBezTo>
                  <a:cubicBezTo>
                    <a:pt x="805269" y="108694"/>
                    <a:pt x="806736" y="104933"/>
                    <a:pt x="806608" y="101058"/>
                  </a:cubicBezTo>
                  <a:cubicBezTo>
                    <a:pt x="806751" y="97206"/>
                    <a:pt x="805281" y="93464"/>
                    <a:pt x="802542" y="90712"/>
                  </a:cubicBezTo>
                  <a:cubicBezTo>
                    <a:pt x="799559" y="88068"/>
                    <a:pt x="795806" y="86747"/>
                    <a:pt x="792052" y="86747"/>
                  </a:cubicBezTo>
                  <a:close/>
                  <a:moveTo>
                    <a:pt x="1219792" y="82211"/>
                  </a:moveTo>
                  <a:cubicBezTo>
                    <a:pt x="1211266" y="81587"/>
                    <a:pt x="1202872" y="84561"/>
                    <a:pt x="1196697" y="90392"/>
                  </a:cubicBezTo>
                  <a:cubicBezTo>
                    <a:pt x="1190911" y="97061"/>
                    <a:pt x="1187993" y="105694"/>
                    <a:pt x="1188565" y="114454"/>
                  </a:cubicBezTo>
                  <a:lnTo>
                    <a:pt x="1188565" y="128329"/>
                  </a:lnTo>
                  <a:lnTo>
                    <a:pt x="1177586" y="128329"/>
                  </a:lnTo>
                  <a:lnTo>
                    <a:pt x="1177586" y="147739"/>
                  </a:lnTo>
                  <a:lnTo>
                    <a:pt x="1188565" y="147739"/>
                  </a:lnTo>
                  <a:lnTo>
                    <a:pt x="1188565" y="221367"/>
                  </a:lnTo>
                  <a:lnTo>
                    <a:pt x="1212472" y="221367"/>
                  </a:lnTo>
                  <a:lnTo>
                    <a:pt x="1212472" y="147579"/>
                  </a:lnTo>
                  <a:lnTo>
                    <a:pt x="1221824" y="147579"/>
                  </a:lnTo>
                  <a:lnTo>
                    <a:pt x="1221824" y="147738"/>
                  </a:lnTo>
                  <a:lnTo>
                    <a:pt x="1241015" y="147738"/>
                  </a:lnTo>
                  <a:lnTo>
                    <a:pt x="1241015" y="194578"/>
                  </a:lnTo>
                  <a:cubicBezTo>
                    <a:pt x="1241015" y="213507"/>
                    <a:pt x="1249147" y="222971"/>
                    <a:pt x="1265411" y="222971"/>
                  </a:cubicBezTo>
                  <a:cubicBezTo>
                    <a:pt x="1270971" y="223056"/>
                    <a:pt x="1276494" y="222076"/>
                    <a:pt x="1281675" y="220084"/>
                  </a:cubicBezTo>
                  <a:lnTo>
                    <a:pt x="1280943" y="201797"/>
                  </a:lnTo>
                  <a:cubicBezTo>
                    <a:pt x="1278664" y="202887"/>
                    <a:pt x="1276157" y="203436"/>
                    <a:pt x="1273624" y="203401"/>
                  </a:cubicBezTo>
                  <a:cubicBezTo>
                    <a:pt x="1267769" y="203401"/>
                    <a:pt x="1264924" y="199792"/>
                    <a:pt x="1264924" y="192493"/>
                  </a:cubicBezTo>
                  <a:lnTo>
                    <a:pt x="1264924" y="147578"/>
                  </a:lnTo>
                  <a:lnTo>
                    <a:pt x="1281188" y="147578"/>
                  </a:lnTo>
                  <a:lnTo>
                    <a:pt x="1281188" y="128329"/>
                  </a:lnTo>
                  <a:lnTo>
                    <a:pt x="1264924" y="128329"/>
                  </a:lnTo>
                  <a:lnTo>
                    <a:pt x="1264924" y="100096"/>
                  </a:lnTo>
                  <a:cubicBezTo>
                    <a:pt x="1264110" y="100096"/>
                    <a:pt x="1256792" y="102342"/>
                    <a:pt x="1242886" y="106913"/>
                  </a:cubicBezTo>
                  <a:lnTo>
                    <a:pt x="1241015" y="107475"/>
                  </a:lnTo>
                  <a:lnTo>
                    <a:pt x="1241015" y="128329"/>
                  </a:lnTo>
                  <a:lnTo>
                    <a:pt x="1221824" y="128329"/>
                  </a:lnTo>
                  <a:lnTo>
                    <a:pt x="1221824" y="128329"/>
                  </a:lnTo>
                  <a:lnTo>
                    <a:pt x="1212472" y="128329"/>
                  </a:lnTo>
                  <a:lnTo>
                    <a:pt x="1212472" y="113571"/>
                  </a:lnTo>
                  <a:cubicBezTo>
                    <a:pt x="1212472" y="105631"/>
                    <a:pt x="1215806" y="101701"/>
                    <a:pt x="1222475" y="101701"/>
                  </a:cubicBezTo>
                  <a:cubicBezTo>
                    <a:pt x="1224850" y="101637"/>
                    <a:pt x="1227218" y="101991"/>
                    <a:pt x="1229469" y="102744"/>
                  </a:cubicBezTo>
                  <a:lnTo>
                    <a:pt x="1229469" y="83414"/>
                  </a:lnTo>
                  <a:lnTo>
                    <a:pt x="1225402" y="82612"/>
                  </a:lnTo>
                  <a:cubicBezTo>
                    <a:pt x="1223551" y="82295"/>
                    <a:pt x="1221671" y="82160"/>
                    <a:pt x="1219792" y="82211"/>
                  </a:cubicBezTo>
                  <a:close/>
                  <a:moveTo>
                    <a:pt x="323325" y="37375"/>
                  </a:moveTo>
                  <a:lnTo>
                    <a:pt x="65543" y="291707"/>
                  </a:lnTo>
                  <a:lnTo>
                    <a:pt x="323488" y="546118"/>
                  </a:lnTo>
                  <a:lnTo>
                    <a:pt x="581352" y="291867"/>
                  </a:lnTo>
                  <a:close/>
                  <a:moveTo>
                    <a:pt x="0" y="0"/>
                  </a:moveTo>
                  <a:lnTo>
                    <a:pt x="1465782" y="0"/>
                  </a:lnTo>
                  <a:lnTo>
                    <a:pt x="1465782" y="583494"/>
                  </a:lnTo>
                  <a:lnTo>
                    <a:pt x="0" y="583494"/>
                  </a:lnTo>
                  <a:close/>
                </a:path>
              </a:pathLst>
            </a:custGeom>
            <a:grpFill/>
            <a:ln w="9525" cap="flat">
              <a:noFill/>
              <a:prstDash val="solid"/>
              <a:miter/>
            </a:ln>
          </p:spPr>
          <p:txBody>
            <a:bodyPr wrap="square" rtlCol="0" anchor="ctr">
              <a:noAutofit/>
            </a:bodyPr>
            <a:lstStyle/>
            <a:p>
              <a:endParaRPr lang="en-US"/>
            </a:p>
          </p:txBody>
        </p:sp>
      </p:grpSp>
      <p:grpSp>
        <p:nvGrpSpPr>
          <p:cNvPr id="153" name="Group 152">
            <a:extLst>
              <a:ext uri="{FF2B5EF4-FFF2-40B4-BE49-F238E27FC236}">
                <a16:creationId xmlns:a16="http://schemas.microsoft.com/office/drawing/2014/main" id="{1D17CB33-6246-164C-ABD8-F8DB60438F27}"/>
              </a:ext>
            </a:extLst>
          </p:cNvPr>
          <p:cNvGrpSpPr/>
          <p:nvPr/>
        </p:nvGrpSpPr>
        <p:grpSpPr>
          <a:xfrm>
            <a:off x="1466670" y="2962187"/>
            <a:ext cx="3278662" cy="2168213"/>
            <a:chOff x="16031004" y="163023"/>
            <a:chExt cx="2492113" cy="1648060"/>
          </a:xfrm>
        </p:grpSpPr>
        <p:sp>
          <p:nvSpPr>
            <p:cNvPr id="154" name="Freeform 153">
              <a:extLst>
                <a:ext uri="{FF2B5EF4-FFF2-40B4-BE49-F238E27FC236}">
                  <a16:creationId xmlns:a16="http://schemas.microsoft.com/office/drawing/2014/main" id="{4D6985FF-88F1-C14A-9A43-CD6577029C78}"/>
                </a:ext>
              </a:extLst>
            </p:cNvPr>
            <p:cNvSpPr/>
            <p:nvPr/>
          </p:nvSpPr>
          <p:spPr>
            <a:xfrm>
              <a:off x="16387327" y="1655921"/>
              <a:ext cx="1361979" cy="155162"/>
            </a:xfrm>
            <a:custGeom>
              <a:avLst/>
              <a:gdLst>
                <a:gd name="connsiteX0" fmla="*/ 1361980 w 1361979"/>
                <a:gd name="connsiteY0" fmla="*/ 77629 h 155162"/>
                <a:gd name="connsiteX1" fmla="*/ 789908 w 1361979"/>
                <a:gd name="connsiteY1" fmla="*/ 155162 h 155162"/>
                <a:gd name="connsiteX2" fmla="*/ 0 w 1361979"/>
                <a:gd name="connsiteY2" fmla="*/ 77629 h 155162"/>
                <a:gd name="connsiteX3" fmla="*/ 789908 w 1361979"/>
                <a:gd name="connsiteY3" fmla="*/ 0 h 155162"/>
                <a:gd name="connsiteX4" fmla="*/ 1361980 w 1361979"/>
                <a:gd name="connsiteY4" fmla="*/ 77629 h 155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1979" h="155162">
                  <a:moveTo>
                    <a:pt x="1361980" y="77629"/>
                  </a:moveTo>
                  <a:cubicBezTo>
                    <a:pt x="1361980" y="120491"/>
                    <a:pt x="1166050" y="155162"/>
                    <a:pt x="789908" y="155162"/>
                  </a:cubicBezTo>
                  <a:cubicBezTo>
                    <a:pt x="413766" y="155162"/>
                    <a:pt x="0" y="120491"/>
                    <a:pt x="0" y="77629"/>
                  </a:cubicBezTo>
                  <a:cubicBezTo>
                    <a:pt x="0" y="34766"/>
                    <a:pt x="413861" y="0"/>
                    <a:pt x="789908" y="0"/>
                  </a:cubicBezTo>
                  <a:cubicBezTo>
                    <a:pt x="1165955" y="0"/>
                    <a:pt x="1361980" y="35147"/>
                    <a:pt x="1361980" y="77629"/>
                  </a:cubicBezTo>
                  <a:close/>
                </a:path>
              </a:pathLst>
            </a:custGeom>
            <a:solidFill>
              <a:srgbClr val="2A3856">
                <a:alpha val="10000"/>
              </a:srgbClr>
            </a:solidFill>
            <a:ln w="9525" cap="flat">
              <a:noFill/>
              <a:prstDash val="solid"/>
              <a:miter/>
            </a:ln>
          </p:spPr>
          <p:txBody>
            <a:bodyPr rtlCol="0" anchor="ctr"/>
            <a:lstStyle/>
            <a:p>
              <a:endParaRPr lang="en-US"/>
            </a:p>
          </p:txBody>
        </p:sp>
        <p:sp>
          <p:nvSpPr>
            <p:cNvPr id="155" name="Freeform 154">
              <a:extLst>
                <a:ext uri="{FF2B5EF4-FFF2-40B4-BE49-F238E27FC236}">
                  <a16:creationId xmlns:a16="http://schemas.microsoft.com/office/drawing/2014/main" id="{8E27B270-F0A5-1C4C-B176-4A177E813ED0}"/>
                </a:ext>
              </a:extLst>
            </p:cNvPr>
            <p:cNvSpPr/>
            <p:nvPr/>
          </p:nvSpPr>
          <p:spPr>
            <a:xfrm>
              <a:off x="16031004" y="168208"/>
              <a:ext cx="1497600" cy="1214078"/>
            </a:xfrm>
            <a:custGeom>
              <a:avLst/>
              <a:gdLst>
                <a:gd name="connsiteX0" fmla="*/ 1027835 w 1497600"/>
                <a:gd name="connsiteY0" fmla="*/ 7146 h 1214078"/>
                <a:gd name="connsiteX1" fmla="*/ 447953 w 1497600"/>
                <a:gd name="connsiteY1" fmla="*/ 186788 h 1214078"/>
                <a:gd name="connsiteX2" fmla="*/ 278 w 1497600"/>
                <a:gd name="connsiteY2" fmla="*/ 641988 h 1214078"/>
                <a:gd name="connsiteX3" fmla="*/ 276503 w 1497600"/>
                <a:gd name="connsiteY3" fmla="*/ 1191961 h 1214078"/>
                <a:gd name="connsiteX4" fmla="*/ 1249672 w 1497600"/>
                <a:gd name="connsiteY4" fmla="*/ 880208 h 1214078"/>
                <a:gd name="connsiteX5" fmla="*/ 1399691 w 1497600"/>
                <a:gd name="connsiteY5" fmla="*/ 174691 h 1214078"/>
                <a:gd name="connsiteX6" fmla="*/ 1027835 w 1497600"/>
                <a:gd name="connsiteY6" fmla="*/ 7146 h 1214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7600" h="1214078">
                  <a:moveTo>
                    <a:pt x="1027835" y="7146"/>
                  </a:moveTo>
                  <a:cubicBezTo>
                    <a:pt x="895723" y="42008"/>
                    <a:pt x="540536" y="169071"/>
                    <a:pt x="447953" y="186788"/>
                  </a:cubicBezTo>
                  <a:cubicBezTo>
                    <a:pt x="355370" y="204504"/>
                    <a:pt x="-198" y="303755"/>
                    <a:pt x="278" y="641988"/>
                  </a:cubicBezTo>
                  <a:cubicBezTo>
                    <a:pt x="754" y="980220"/>
                    <a:pt x="-22963" y="1104903"/>
                    <a:pt x="276503" y="1191961"/>
                  </a:cubicBezTo>
                  <a:cubicBezTo>
                    <a:pt x="575969" y="1279020"/>
                    <a:pt x="1035550" y="1095378"/>
                    <a:pt x="1249672" y="880208"/>
                  </a:cubicBezTo>
                  <a:cubicBezTo>
                    <a:pt x="1463794" y="665038"/>
                    <a:pt x="1600288" y="508733"/>
                    <a:pt x="1399691" y="174691"/>
                  </a:cubicBezTo>
                  <a:cubicBezTo>
                    <a:pt x="1271580" y="7527"/>
                    <a:pt x="1111750" y="-15047"/>
                    <a:pt x="1027835" y="7146"/>
                  </a:cubicBezTo>
                  <a:close/>
                </a:path>
              </a:pathLst>
            </a:custGeom>
            <a:solidFill>
              <a:srgbClr val="293758">
                <a:alpha val="20000"/>
              </a:srgbClr>
            </a:solidFill>
            <a:ln w="9525" cap="flat">
              <a:noFill/>
              <a:prstDash val="solid"/>
              <a:miter/>
            </a:ln>
          </p:spPr>
          <p:txBody>
            <a:bodyPr rtlCol="0" anchor="ctr"/>
            <a:lstStyle/>
            <a:p>
              <a:endParaRPr lang="en-US"/>
            </a:p>
          </p:txBody>
        </p:sp>
        <p:sp>
          <p:nvSpPr>
            <p:cNvPr id="156" name="Freeform 155">
              <a:extLst>
                <a:ext uri="{FF2B5EF4-FFF2-40B4-BE49-F238E27FC236}">
                  <a16:creationId xmlns:a16="http://schemas.microsoft.com/office/drawing/2014/main" id="{BB0A1B64-E155-5D4D-9861-752D38A15261}"/>
                </a:ext>
              </a:extLst>
            </p:cNvPr>
            <p:cNvSpPr/>
            <p:nvPr/>
          </p:nvSpPr>
          <p:spPr>
            <a:xfrm>
              <a:off x="16648216" y="920019"/>
              <a:ext cx="150876" cy="834390"/>
            </a:xfrm>
            <a:custGeom>
              <a:avLst/>
              <a:gdLst>
                <a:gd name="connsiteX0" fmla="*/ 0 w 150876"/>
                <a:gd name="connsiteY0" fmla="*/ 834390 h 834390"/>
                <a:gd name="connsiteX1" fmla="*/ 120777 w 150876"/>
                <a:gd name="connsiteY1" fmla="*/ 0 h 834390"/>
                <a:gd name="connsiteX2" fmla="*/ 150876 w 150876"/>
                <a:gd name="connsiteY2" fmla="*/ 4382 h 834390"/>
                <a:gd name="connsiteX3" fmla="*/ 30766 w 150876"/>
                <a:gd name="connsiteY3" fmla="*/ 834390 h 834390"/>
                <a:gd name="connsiteX4" fmla="*/ 0 w 150876"/>
                <a:gd name="connsiteY4" fmla="*/ 834390 h 83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76" h="834390">
                  <a:moveTo>
                    <a:pt x="0" y="834390"/>
                  </a:moveTo>
                  <a:lnTo>
                    <a:pt x="120777" y="0"/>
                  </a:lnTo>
                  <a:lnTo>
                    <a:pt x="150876" y="4382"/>
                  </a:lnTo>
                  <a:lnTo>
                    <a:pt x="30766" y="834390"/>
                  </a:lnTo>
                  <a:lnTo>
                    <a:pt x="0" y="834390"/>
                  </a:lnTo>
                  <a:close/>
                </a:path>
              </a:pathLst>
            </a:custGeom>
            <a:solidFill>
              <a:srgbClr val="FFFFFF"/>
            </a:solidFill>
            <a:ln w="9525" cap="flat">
              <a:noFill/>
              <a:prstDash val="solid"/>
              <a:miter/>
            </a:ln>
          </p:spPr>
          <p:txBody>
            <a:bodyPr rtlCol="0" anchor="ctr"/>
            <a:lstStyle/>
            <a:p>
              <a:endParaRPr lang="en-US"/>
            </a:p>
          </p:txBody>
        </p:sp>
        <p:sp>
          <p:nvSpPr>
            <p:cNvPr id="157" name="Freeform 156">
              <a:extLst>
                <a:ext uri="{FF2B5EF4-FFF2-40B4-BE49-F238E27FC236}">
                  <a16:creationId xmlns:a16="http://schemas.microsoft.com/office/drawing/2014/main" id="{A7108013-EF3D-9743-A0DC-017298F1B35B}"/>
                </a:ext>
              </a:extLst>
            </p:cNvPr>
            <p:cNvSpPr/>
            <p:nvPr/>
          </p:nvSpPr>
          <p:spPr>
            <a:xfrm>
              <a:off x="17390023" y="920019"/>
              <a:ext cx="150971" cy="834390"/>
            </a:xfrm>
            <a:custGeom>
              <a:avLst/>
              <a:gdLst>
                <a:gd name="connsiteX0" fmla="*/ 120205 w 150971"/>
                <a:gd name="connsiteY0" fmla="*/ 834390 h 834390"/>
                <a:gd name="connsiteX1" fmla="*/ 0 w 150971"/>
                <a:gd name="connsiteY1" fmla="*/ 4382 h 834390"/>
                <a:gd name="connsiteX2" fmla="*/ 30194 w 150971"/>
                <a:gd name="connsiteY2" fmla="*/ 0 h 834390"/>
                <a:gd name="connsiteX3" fmla="*/ 150971 w 150971"/>
                <a:gd name="connsiteY3" fmla="*/ 834390 h 834390"/>
                <a:gd name="connsiteX4" fmla="*/ 120205 w 150971"/>
                <a:gd name="connsiteY4" fmla="*/ 834390 h 8343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71" h="834390">
                  <a:moveTo>
                    <a:pt x="120205" y="834390"/>
                  </a:moveTo>
                  <a:lnTo>
                    <a:pt x="0" y="4382"/>
                  </a:lnTo>
                  <a:lnTo>
                    <a:pt x="30194" y="0"/>
                  </a:lnTo>
                  <a:lnTo>
                    <a:pt x="150971" y="834390"/>
                  </a:lnTo>
                  <a:lnTo>
                    <a:pt x="120205" y="834390"/>
                  </a:lnTo>
                  <a:close/>
                </a:path>
              </a:pathLst>
            </a:custGeom>
            <a:solidFill>
              <a:srgbClr val="FFFFFF"/>
            </a:solidFill>
            <a:ln w="9525" cap="flat">
              <a:noFill/>
              <a:prstDash val="solid"/>
              <a:miter/>
            </a:ln>
          </p:spPr>
          <p:txBody>
            <a:bodyPr rtlCol="0" anchor="ctr"/>
            <a:lstStyle/>
            <a:p>
              <a:endParaRPr lang="en-US"/>
            </a:p>
          </p:txBody>
        </p:sp>
        <p:sp>
          <p:nvSpPr>
            <p:cNvPr id="158" name="Freeform 157">
              <a:extLst>
                <a:ext uri="{FF2B5EF4-FFF2-40B4-BE49-F238E27FC236}">
                  <a16:creationId xmlns:a16="http://schemas.microsoft.com/office/drawing/2014/main" id="{5F5ABE1E-5FBE-9044-B689-31524F51F2B0}"/>
                </a:ext>
              </a:extLst>
            </p:cNvPr>
            <p:cNvSpPr/>
            <p:nvPr/>
          </p:nvSpPr>
          <p:spPr>
            <a:xfrm>
              <a:off x="17079318" y="952690"/>
              <a:ext cx="30479" cy="778097"/>
            </a:xfrm>
            <a:custGeom>
              <a:avLst/>
              <a:gdLst>
                <a:gd name="connsiteX0" fmla="*/ 0 w 30479"/>
                <a:gd name="connsiteY0" fmla="*/ 0 h 778097"/>
                <a:gd name="connsiteX1" fmla="*/ 30480 w 30479"/>
                <a:gd name="connsiteY1" fmla="*/ 0 h 778097"/>
                <a:gd name="connsiteX2" fmla="*/ 30480 w 30479"/>
                <a:gd name="connsiteY2" fmla="*/ 778097 h 778097"/>
                <a:gd name="connsiteX3" fmla="*/ 0 w 30479"/>
                <a:gd name="connsiteY3" fmla="*/ 778097 h 778097"/>
              </a:gdLst>
              <a:ahLst/>
              <a:cxnLst>
                <a:cxn ang="0">
                  <a:pos x="connsiteX0" y="connsiteY0"/>
                </a:cxn>
                <a:cxn ang="0">
                  <a:pos x="connsiteX1" y="connsiteY1"/>
                </a:cxn>
                <a:cxn ang="0">
                  <a:pos x="connsiteX2" y="connsiteY2"/>
                </a:cxn>
                <a:cxn ang="0">
                  <a:pos x="connsiteX3" y="connsiteY3"/>
                </a:cxn>
              </a:cxnLst>
              <a:rect l="l" t="t" r="r" b="b"/>
              <a:pathLst>
                <a:path w="30479" h="778097">
                  <a:moveTo>
                    <a:pt x="0" y="0"/>
                  </a:moveTo>
                  <a:lnTo>
                    <a:pt x="30480" y="0"/>
                  </a:lnTo>
                  <a:lnTo>
                    <a:pt x="30480" y="778097"/>
                  </a:lnTo>
                  <a:lnTo>
                    <a:pt x="0" y="778097"/>
                  </a:lnTo>
                  <a:close/>
                </a:path>
              </a:pathLst>
            </a:custGeom>
            <a:solidFill>
              <a:srgbClr val="FFFFFF"/>
            </a:solidFill>
            <a:ln w="9525" cap="flat">
              <a:noFill/>
              <a:prstDash val="solid"/>
              <a:miter/>
            </a:ln>
          </p:spPr>
          <p:txBody>
            <a:bodyPr rtlCol="0" anchor="ctr"/>
            <a:lstStyle/>
            <a:p>
              <a:endParaRPr lang="en-US"/>
            </a:p>
          </p:txBody>
        </p:sp>
        <p:sp>
          <p:nvSpPr>
            <p:cNvPr id="159" name="Freeform 158">
              <a:extLst>
                <a:ext uri="{FF2B5EF4-FFF2-40B4-BE49-F238E27FC236}">
                  <a16:creationId xmlns:a16="http://schemas.microsoft.com/office/drawing/2014/main" id="{075B75BE-3125-EB4A-84E2-774BC6DEDE76}"/>
                </a:ext>
              </a:extLst>
            </p:cNvPr>
            <p:cNvSpPr/>
            <p:nvPr/>
          </p:nvSpPr>
          <p:spPr>
            <a:xfrm>
              <a:off x="16479910" y="278987"/>
              <a:ext cx="1198245" cy="755046"/>
            </a:xfrm>
            <a:custGeom>
              <a:avLst/>
              <a:gdLst>
                <a:gd name="connsiteX0" fmla="*/ 0 w 1198245"/>
                <a:gd name="connsiteY0" fmla="*/ 0 h 755046"/>
                <a:gd name="connsiteX1" fmla="*/ 1198245 w 1198245"/>
                <a:gd name="connsiteY1" fmla="*/ 0 h 755046"/>
                <a:gd name="connsiteX2" fmla="*/ 1198245 w 1198245"/>
                <a:gd name="connsiteY2" fmla="*/ 755047 h 755046"/>
                <a:gd name="connsiteX3" fmla="*/ 0 w 1198245"/>
                <a:gd name="connsiteY3" fmla="*/ 755047 h 755046"/>
              </a:gdLst>
              <a:ahLst/>
              <a:cxnLst>
                <a:cxn ang="0">
                  <a:pos x="connsiteX0" y="connsiteY0"/>
                </a:cxn>
                <a:cxn ang="0">
                  <a:pos x="connsiteX1" y="connsiteY1"/>
                </a:cxn>
                <a:cxn ang="0">
                  <a:pos x="connsiteX2" y="connsiteY2"/>
                </a:cxn>
                <a:cxn ang="0">
                  <a:pos x="connsiteX3" y="connsiteY3"/>
                </a:cxn>
              </a:cxnLst>
              <a:rect l="l" t="t" r="r" b="b"/>
              <a:pathLst>
                <a:path w="1198245" h="755046">
                  <a:moveTo>
                    <a:pt x="0" y="0"/>
                  </a:moveTo>
                  <a:lnTo>
                    <a:pt x="1198245" y="0"/>
                  </a:lnTo>
                  <a:lnTo>
                    <a:pt x="1198245" y="755047"/>
                  </a:lnTo>
                  <a:lnTo>
                    <a:pt x="0" y="755047"/>
                  </a:lnTo>
                  <a:close/>
                </a:path>
              </a:pathLst>
            </a:custGeom>
            <a:solidFill>
              <a:srgbClr val="F3F3F3"/>
            </a:solidFill>
            <a:ln w="9525" cap="flat">
              <a:noFill/>
              <a:prstDash val="solid"/>
              <a:miter/>
            </a:ln>
          </p:spPr>
          <p:txBody>
            <a:bodyPr rtlCol="0" anchor="ctr"/>
            <a:lstStyle/>
            <a:p>
              <a:endParaRPr lang="en-US"/>
            </a:p>
          </p:txBody>
        </p:sp>
        <p:sp>
          <p:nvSpPr>
            <p:cNvPr id="160" name="Freeform 159">
              <a:extLst>
                <a:ext uri="{FF2B5EF4-FFF2-40B4-BE49-F238E27FC236}">
                  <a16:creationId xmlns:a16="http://schemas.microsoft.com/office/drawing/2014/main" id="{73B44E79-1B01-B84F-85FD-83EF35148223}"/>
                </a:ext>
              </a:extLst>
            </p:cNvPr>
            <p:cNvSpPr/>
            <p:nvPr/>
          </p:nvSpPr>
          <p:spPr>
            <a:xfrm>
              <a:off x="16479910" y="252507"/>
              <a:ext cx="1198245" cy="26574"/>
            </a:xfrm>
            <a:custGeom>
              <a:avLst/>
              <a:gdLst>
                <a:gd name="connsiteX0" fmla="*/ 0 w 1198245"/>
                <a:gd name="connsiteY0" fmla="*/ 0 h 26574"/>
                <a:gd name="connsiteX1" fmla="*/ 1198245 w 1198245"/>
                <a:gd name="connsiteY1" fmla="*/ 0 h 26574"/>
                <a:gd name="connsiteX2" fmla="*/ 1198245 w 1198245"/>
                <a:gd name="connsiteY2" fmla="*/ 26575 h 26574"/>
                <a:gd name="connsiteX3" fmla="*/ 0 w 1198245"/>
                <a:gd name="connsiteY3" fmla="*/ 26575 h 26574"/>
              </a:gdLst>
              <a:ahLst/>
              <a:cxnLst>
                <a:cxn ang="0">
                  <a:pos x="connsiteX0" y="connsiteY0"/>
                </a:cxn>
                <a:cxn ang="0">
                  <a:pos x="connsiteX1" y="connsiteY1"/>
                </a:cxn>
                <a:cxn ang="0">
                  <a:pos x="connsiteX2" y="connsiteY2"/>
                </a:cxn>
                <a:cxn ang="0">
                  <a:pos x="connsiteX3" y="connsiteY3"/>
                </a:cxn>
              </a:cxnLst>
              <a:rect l="l" t="t" r="r" b="b"/>
              <a:pathLst>
                <a:path w="1198245" h="26574">
                  <a:moveTo>
                    <a:pt x="0" y="0"/>
                  </a:moveTo>
                  <a:lnTo>
                    <a:pt x="1198245" y="0"/>
                  </a:lnTo>
                  <a:lnTo>
                    <a:pt x="1198245" y="26575"/>
                  </a:lnTo>
                  <a:lnTo>
                    <a:pt x="0" y="26575"/>
                  </a:lnTo>
                  <a:close/>
                </a:path>
              </a:pathLst>
            </a:custGeom>
            <a:solidFill>
              <a:srgbClr val="2A3856"/>
            </a:solidFill>
            <a:ln w="9525" cap="flat">
              <a:noFill/>
              <a:prstDash val="solid"/>
              <a:miter/>
            </a:ln>
          </p:spPr>
          <p:txBody>
            <a:bodyPr rtlCol="0" anchor="ctr"/>
            <a:lstStyle/>
            <a:p>
              <a:endParaRPr lang="en-US"/>
            </a:p>
          </p:txBody>
        </p:sp>
        <p:sp>
          <p:nvSpPr>
            <p:cNvPr id="161" name="Freeform 160">
              <a:extLst>
                <a:ext uri="{FF2B5EF4-FFF2-40B4-BE49-F238E27FC236}">
                  <a16:creationId xmlns:a16="http://schemas.microsoft.com/office/drawing/2014/main" id="{9E39A5B5-0688-754E-9139-0E547762270B}"/>
                </a:ext>
              </a:extLst>
            </p:cNvPr>
            <p:cNvSpPr/>
            <p:nvPr/>
          </p:nvSpPr>
          <p:spPr>
            <a:xfrm>
              <a:off x="16479910" y="1031652"/>
              <a:ext cx="1198245" cy="31337"/>
            </a:xfrm>
            <a:custGeom>
              <a:avLst/>
              <a:gdLst>
                <a:gd name="connsiteX0" fmla="*/ 0 w 1198245"/>
                <a:gd name="connsiteY0" fmla="*/ 0 h 31337"/>
                <a:gd name="connsiteX1" fmla="*/ 1198245 w 1198245"/>
                <a:gd name="connsiteY1" fmla="*/ 0 h 31337"/>
                <a:gd name="connsiteX2" fmla="*/ 1198245 w 1198245"/>
                <a:gd name="connsiteY2" fmla="*/ 31337 h 31337"/>
                <a:gd name="connsiteX3" fmla="*/ 0 w 1198245"/>
                <a:gd name="connsiteY3" fmla="*/ 31337 h 31337"/>
              </a:gdLst>
              <a:ahLst/>
              <a:cxnLst>
                <a:cxn ang="0">
                  <a:pos x="connsiteX0" y="connsiteY0"/>
                </a:cxn>
                <a:cxn ang="0">
                  <a:pos x="connsiteX1" y="connsiteY1"/>
                </a:cxn>
                <a:cxn ang="0">
                  <a:pos x="connsiteX2" y="connsiteY2"/>
                </a:cxn>
                <a:cxn ang="0">
                  <a:pos x="connsiteX3" y="connsiteY3"/>
                </a:cxn>
              </a:cxnLst>
              <a:rect l="l" t="t" r="r" b="b"/>
              <a:pathLst>
                <a:path w="1198245" h="31337">
                  <a:moveTo>
                    <a:pt x="0" y="0"/>
                  </a:moveTo>
                  <a:lnTo>
                    <a:pt x="1198245" y="0"/>
                  </a:lnTo>
                  <a:lnTo>
                    <a:pt x="1198245" y="31337"/>
                  </a:lnTo>
                  <a:lnTo>
                    <a:pt x="0" y="31337"/>
                  </a:lnTo>
                  <a:close/>
                </a:path>
              </a:pathLst>
            </a:custGeom>
            <a:solidFill>
              <a:srgbClr val="2A3856"/>
            </a:solidFill>
            <a:ln w="9525" cap="flat">
              <a:noFill/>
              <a:prstDash val="solid"/>
              <a:miter/>
            </a:ln>
          </p:spPr>
          <p:txBody>
            <a:bodyPr rtlCol="0" anchor="ctr"/>
            <a:lstStyle/>
            <a:p>
              <a:endParaRPr lang="en-US"/>
            </a:p>
          </p:txBody>
        </p:sp>
        <p:sp>
          <p:nvSpPr>
            <p:cNvPr id="162" name="Freeform 161">
              <a:extLst>
                <a:ext uri="{FF2B5EF4-FFF2-40B4-BE49-F238E27FC236}">
                  <a16:creationId xmlns:a16="http://schemas.microsoft.com/office/drawing/2014/main" id="{E9B256E3-F6A7-EA40-96E3-9C38380EDE3A}"/>
                </a:ext>
              </a:extLst>
            </p:cNvPr>
            <p:cNvSpPr/>
            <p:nvPr/>
          </p:nvSpPr>
          <p:spPr>
            <a:xfrm>
              <a:off x="17064173" y="565499"/>
              <a:ext cx="465963" cy="92202"/>
            </a:xfrm>
            <a:custGeom>
              <a:avLst/>
              <a:gdLst>
                <a:gd name="connsiteX0" fmla="*/ 310420 w 465963"/>
                <a:gd name="connsiteY0" fmla="*/ 92202 h 92202"/>
                <a:gd name="connsiteX1" fmla="*/ 156686 w 465963"/>
                <a:gd name="connsiteY1" fmla="*/ 10192 h 92202"/>
                <a:gd name="connsiteX2" fmla="*/ 2477 w 465963"/>
                <a:gd name="connsiteY2" fmla="*/ 50673 h 92202"/>
                <a:gd name="connsiteX3" fmla="*/ 0 w 465963"/>
                <a:gd name="connsiteY3" fmla="*/ 41529 h 92202"/>
                <a:gd name="connsiteX4" fmla="*/ 157829 w 465963"/>
                <a:gd name="connsiteY4" fmla="*/ 0 h 92202"/>
                <a:gd name="connsiteX5" fmla="*/ 311563 w 465963"/>
                <a:gd name="connsiteY5" fmla="*/ 82010 h 92202"/>
                <a:gd name="connsiteX6" fmla="*/ 463487 w 465963"/>
                <a:gd name="connsiteY6" fmla="*/ 41529 h 92202"/>
                <a:gd name="connsiteX7" fmla="*/ 465963 w 465963"/>
                <a:gd name="connsiteY7" fmla="*/ 50673 h 92202"/>
                <a:gd name="connsiteX8" fmla="*/ 310420 w 465963"/>
                <a:gd name="connsiteY8" fmla="*/ 92202 h 9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963" h="92202">
                  <a:moveTo>
                    <a:pt x="310420" y="92202"/>
                  </a:moveTo>
                  <a:lnTo>
                    <a:pt x="156686" y="10192"/>
                  </a:lnTo>
                  <a:lnTo>
                    <a:pt x="2477" y="50673"/>
                  </a:lnTo>
                  <a:lnTo>
                    <a:pt x="0" y="41529"/>
                  </a:lnTo>
                  <a:lnTo>
                    <a:pt x="157829" y="0"/>
                  </a:lnTo>
                  <a:lnTo>
                    <a:pt x="311563" y="82010"/>
                  </a:lnTo>
                  <a:lnTo>
                    <a:pt x="463487" y="41529"/>
                  </a:lnTo>
                  <a:lnTo>
                    <a:pt x="465963" y="50673"/>
                  </a:lnTo>
                  <a:lnTo>
                    <a:pt x="310420" y="92202"/>
                  </a:lnTo>
                  <a:close/>
                </a:path>
              </a:pathLst>
            </a:custGeom>
            <a:solidFill>
              <a:srgbClr val="283757">
                <a:alpha val="37000"/>
              </a:srgbClr>
            </a:solidFill>
            <a:ln w="9525" cap="flat">
              <a:noFill/>
              <a:prstDash val="solid"/>
              <a:miter/>
            </a:ln>
          </p:spPr>
          <p:txBody>
            <a:bodyPr rtlCol="0" anchor="ctr"/>
            <a:lstStyle/>
            <a:p>
              <a:endParaRPr lang="en-US"/>
            </a:p>
          </p:txBody>
        </p:sp>
        <p:sp>
          <p:nvSpPr>
            <p:cNvPr id="163" name="Freeform 162">
              <a:extLst>
                <a:ext uri="{FF2B5EF4-FFF2-40B4-BE49-F238E27FC236}">
                  <a16:creationId xmlns:a16="http://schemas.microsoft.com/office/drawing/2014/main" id="{85B64C37-C900-FE4B-A444-47F69230DB7D}"/>
                </a:ext>
              </a:extLst>
            </p:cNvPr>
            <p:cNvSpPr/>
            <p:nvPr/>
          </p:nvSpPr>
          <p:spPr>
            <a:xfrm>
              <a:off x="17040170" y="586454"/>
              <a:ext cx="51244" cy="51244"/>
            </a:xfrm>
            <a:custGeom>
              <a:avLst/>
              <a:gdLst>
                <a:gd name="connsiteX0" fmla="*/ 51244 w 51244"/>
                <a:gd name="connsiteY0" fmla="*/ 25622 h 51244"/>
                <a:gd name="connsiteX1" fmla="*/ 25622 w 51244"/>
                <a:gd name="connsiteY1" fmla="*/ 51245 h 51244"/>
                <a:gd name="connsiteX2" fmla="*/ 0 w 51244"/>
                <a:gd name="connsiteY2" fmla="*/ 25622 h 51244"/>
                <a:gd name="connsiteX3" fmla="*/ 25622 w 51244"/>
                <a:gd name="connsiteY3" fmla="*/ 0 h 51244"/>
                <a:gd name="connsiteX4" fmla="*/ 51244 w 51244"/>
                <a:gd name="connsiteY4" fmla="*/ 25622 h 5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44" h="51244">
                  <a:moveTo>
                    <a:pt x="51244" y="25622"/>
                  </a:moveTo>
                  <a:cubicBezTo>
                    <a:pt x="51244" y="39773"/>
                    <a:pt x="39773" y="51245"/>
                    <a:pt x="25622" y="51245"/>
                  </a:cubicBezTo>
                  <a:cubicBezTo>
                    <a:pt x="11471" y="51245"/>
                    <a:pt x="0" y="39773"/>
                    <a:pt x="0" y="25622"/>
                  </a:cubicBezTo>
                  <a:cubicBezTo>
                    <a:pt x="0" y="11471"/>
                    <a:pt x="11471" y="0"/>
                    <a:pt x="25622" y="0"/>
                  </a:cubicBezTo>
                  <a:cubicBezTo>
                    <a:pt x="39773" y="0"/>
                    <a:pt x="51244" y="11471"/>
                    <a:pt x="51244" y="25622"/>
                  </a:cubicBezTo>
                  <a:close/>
                </a:path>
              </a:pathLst>
            </a:custGeom>
            <a:solidFill>
              <a:srgbClr val="A8A1CF"/>
            </a:solidFill>
            <a:ln w="9525" cap="flat">
              <a:noFill/>
              <a:prstDash val="solid"/>
              <a:miter/>
            </a:ln>
          </p:spPr>
          <p:txBody>
            <a:bodyPr rtlCol="0" anchor="ctr"/>
            <a:lstStyle/>
            <a:p>
              <a:endParaRPr lang="en-US"/>
            </a:p>
          </p:txBody>
        </p:sp>
        <p:sp>
          <p:nvSpPr>
            <p:cNvPr id="164" name="Freeform 163">
              <a:extLst>
                <a:ext uri="{FF2B5EF4-FFF2-40B4-BE49-F238E27FC236}">
                  <a16:creationId xmlns:a16="http://schemas.microsoft.com/office/drawing/2014/main" id="{E6A5835D-4BAA-6748-B1B2-1B7D2B399812}"/>
                </a:ext>
              </a:extLst>
            </p:cNvPr>
            <p:cNvSpPr/>
            <p:nvPr/>
          </p:nvSpPr>
          <p:spPr>
            <a:xfrm>
              <a:off x="17194380" y="545401"/>
              <a:ext cx="51244" cy="51244"/>
            </a:xfrm>
            <a:custGeom>
              <a:avLst/>
              <a:gdLst>
                <a:gd name="connsiteX0" fmla="*/ 51244 w 51244"/>
                <a:gd name="connsiteY0" fmla="*/ 25622 h 51244"/>
                <a:gd name="connsiteX1" fmla="*/ 25622 w 51244"/>
                <a:gd name="connsiteY1" fmla="*/ 51244 h 51244"/>
                <a:gd name="connsiteX2" fmla="*/ 0 w 51244"/>
                <a:gd name="connsiteY2" fmla="*/ 25622 h 51244"/>
                <a:gd name="connsiteX3" fmla="*/ 25622 w 51244"/>
                <a:gd name="connsiteY3" fmla="*/ 0 h 51244"/>
                <a:gd name="connsiteX4" fmla="*/ 51244 w 51244"/>
                <a:gd name="connsiteY4" fmla="*/ 25622 h 5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44" h="51244">
                  <a:moveTo>
                    <a:pt x="51244" y="25622"/>
                  </a:moveTo>
                  <a:cubicBezTo>
                    <a:pt x="51244" y="39773"/>
                    <a:pt x="39773" y="51244"/>
                    <a:pt x="25622" y="51244"/>
                  </a:cubicBezTo>
                  <a:cubicBezTo>
                    <a:pt x="11471" y="51244"/>
                    <a:pt x="0" y="39773"/>
                    <a:pt x="0" y="25622"/>
                  </a:cubicBezTo>
                  <a:cubicBezTo>
                    <a:pt x="0" y="11471"/>
                    <a:pt x="11471" y="0"/>
                    <a:pt x="25622" y="0"/>
                  </a:cubicBezTo>
                  <a:cubicBezTo>
                    <a:pt x="39773" y="0"/>
                    <a:pt x="51244" y="11471"/>
                    <a:pt x="51244" y="25622"/>
                  </a:cubicBezTo>
                  <a:close/>
                </a:path>
              </a:pathLst>
            </a:custGeom>
            <a:solidFill>
              <a:srgbClr val="DFC623"/>
            </a:solidFill>
            <a:ln w="9525" cap="flat">
              <a:noFill/>
              <a:prstDash val="solid"/>
              <a:miter/>
            </a:ln>
          </p:spPr>
          <p:txBody>
            <a:bodyPr rtlCol="0" anchor="ctr"/>
            <a:lstStyle/>
            <a:p>
              <a:endParaRPr lang="en-US"/>
            </a:p>
          </p:txBody>
        </p:sp>
        <p:sp>
          <p:nvSpPr>
            <p:cNvPr id="165" name="Freeform 164">
              <a:extLst>
                <a:ext uri="{FF2B5EF4-FFF2-40B4-BE49-F238E27FC236}">
                  <a16:creationId xmlns:a16="http://schemas.microsoft.com/office/drawing/2014/main" id="{CC9F8288-7D4D-664D-B79A-4AAD0EC51FEE}"/>
                </a:ext>
              </a:extLst>
            </p:cNvPr>
            <p:cNvSpPr/>
            <p:nvPr/>
          </p:nvSpPr>
          <p:spPr>
            <a:xfrm>
              <a:off x="17348590" y="627411"/>
              <a:ext cx="51244" cy="51244"/>
            </a:xfrm>
            <a:custGeom>
              <a:avLst/>
              <a:gdLst>
                <a:gd name="connsiteX0" fmla="*/ 51244 w 51244"/>
                <a:gd name="connsiteY0" fmla="*/ 25622 h 51244"/>
                <a:gd name="connsiteX1" fmla="*/ 25622 w 51244"/>
                <a:gd name="connsiteY1" fmla="*/ 51245 h 51244"/>
                <a:gd name="connsiteX2" fmla="*/ 0 w 51244"/>
                <a:gd name="connsiteY2" fmla="*/ 25622 h 51244"/>
                <a:gd name="connsiteX3" fmla="*/ 25622 w 51244"/>
                <a:gd name="connsiteY3" fmla="*/ 0 h 51244"/>
                <a:gd name="connsiteX4" fmla="*/ 51244 w 51244"/>
                <a:gd name="connsiteY4" fmla="*/ 25622 h 5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44" h="51244">
                  <a:moveTo>
                    <a:pt x="51244" y="25622"/>
                  </a:moveTo>
                  <a:cubicBezTo>
                    <a:pt x="51244" y="39773"/>
                    <a:pt x="39773" y="51245"/>
                    <a:pt x="25622" y="51245"/>
                  </a:cubicBezTo>
                  <a:cubicBezTo>
                    <a:pt x="11471" y="51245"/>
                    <a:pt x="0" y="39773"/>
                    <a:pt x="0" y="25622"/>
                  </a:cubicBezTo>
                  <a:cubicBezTo>
                    <a:pt x="0" y="11471"/>
                    <a:pt x="11471" y="0"/>
                    <a:pt x="25622" y="0"/>
                  </a:cubicBezTo>
                  <a:cubicBezTo>
                    <a:pt x="39773" y="0"/>
                    <a:pt x="51244" y="11471"/>
                    <a:pt x="51244" y="25622"/>
                  </a:cubicBezTo>
                  <a:close/>
                </a:path>
              </a:pathLst>
            </a:custGeom>
            <a:solidFill>
              <a:srgbClr val="505FAB"/>
            </a:solidFill>
            <a:ln w="9525" cap="flat">
              <a:noFill/>
              <a:prstDash val="solid"/>
              <a:miter/>
            </a:ln>
          </p:spPr>
          <p:txBody>
            <a:bodyPr rtlCol="0" anchor="ctr"/>
            <a:lstStyle/>
            <a:p>
              <a:endParaRPr lang="en-US"/>
            </a:p>
          </p:txBody>
        </p:sp>
        <p:sp>
          <p:nvSpPr>
            <p:cNvPr id="166" name="Freeform 165">
              <a:extLst>
                <a:ext uri="{FF2B5EF4-FFF2-40B4-BE49-F238E27FC236}">
                  <a16:creationId xmlns:a16="http://schemas.microsoft.com/office/drawing/2014/main" id="{6700D047-8C8F-B347-A772-DE5AC212904D}"/>
                </a:ext>
              </a:extLst>
            </p:cNvPr>
            <p:cNvSpPr/>
            <p:nvPr/>
          </p:nvSpPr>
          <p:spPr>
            <a:xfrm>
              <a:off x="17502800" y="586454"/>
              <a:ext cx="51244" cy="51244"/>
            </a:xfrm>
            <a:custGeom>
              <a:avLst/>
              <a:gdLst>
                <a:gd name="connsiteX0" fmla="*/ 51244 w 51244"/>
                <a:gd name="connsiteY0" fmla="*/ 25622 h 51244"/>
                <a:gd name="connsiteX1" fmla="*/ 25622 w 51244"/>
                <a:gd name="connsiteY1" fmla="*/ 51245 h 51244"/>
                <a:gd name="connsiteX2" fmla="*/ 0 w 51244"/>
                <a:gd name="connsiteY2" fmla="*/ 25622 h 51244"/>
                <a:gd name="connsiteX3" fmla="*/ 25622 w 51244"/>
                <a:gd name="connsiteY3" fmla="*/ 0 h 51244"/>
                <a:gd name="connsiteX4" fmla="*/ 51244 w 51244"/>
                <a:gd name="connsiteY4" fmla="*/ 25622 h 5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244" h="51244">
                  <a:moveTo>
                    <a:pt x="51244" y="25622"/>
                  </a:moveTo>
                  <a:cubicBezTo>
                    <a:pt x="51244" y="39773"/>
                    <a:pt x="39773" y="51245"/>
                    <a:pt x="25622" y="51245"/>
                  </a:cubicBezTo>
                  <a:cubicBezTo>
                    <a:pt x="11471" y="51245"/>
                    <a:pt x="0" y="39773"/>
                    <a:pt x="0" y="25622"/>
                  </a:cubicBezTo>
                  <a:cubicBezTo>
                    <a:pt x="0" y="11471"/>
                    <a:pt x="11471" y="0"/>
                    <a:pt x="25622" y="0"/>
                  </a:cubicBezTo>
                  <a:cubicBezTo>
                    <a:pt x="39773" y="0"/>
                    <a:pt x="51244" y="11471"/>
                    <a:pt x="51244" y="25622"/>
                  </a:cubicBezTo>
                  <a:close/>
                </a:path>
              </a:pathLst>
            </a:custGeom>
            <a:solidFill>
              <a:srgbClr val="A8A1CF"/>
            </a:solidFill>
            <a:ln w="9525" cap="flat">
              <a:noFill/>
              <a:prstDash val="solid"/>
              <a:miter/>
            </a:ln>
          </p:spPr>
          <p:txBody>
            <a:bodyPr rtlCol="0" anchor="ctr"/>
            <a:lstStyle/>
            <a:p>
              <a:endParaRPr lang="en-US"/>
            </a:p>
          </p:txBody>
        </p:sp>
        <p:sp>
          <p:nvSpPr>
            <p:cNvPr id="167" name="Freeform 166">
              <a:extLst>
                <a:ext uri="{FF2B5EF4-FFF2-40B4-BE49-F238E27FC236}">
                  <a16:creationId xmlns:a16="http://schemas.microsoft.com/office/drawing/2014/main" id="{5583C8E7-A8A0-734F-BA71-280E6434927E}"/>
                </a:ext>
              </a:extLst>
            </p:cNvPr>
            <p:cNvSpPr/>
            <p:nvPr/>
          </p:nvSpPr>
          <p:spPr>
            <a:xfrm>
              <a:off x="17005690" y="730279"/>
              <a:ext cx="163353" cy="46484"/>
            </a:xfrm>
            <a:custGeom>
              <a:avLst/>
              <a:gdLst>
                <a:gd name="connsiteX0" fmla="*/ 129159 w 163353"/>
                <a:gd name="connsiteY0" fmla="*/ 2 h 46484"/>
                <a:gd name="connsiteX1" fmla="*/ 33909 w 163353"/>
                <a:gd name="connsiteY1" fmla="*/ 2 h 46484"/>
                <a:gd name="connsiteX2" fmla="*/ 0 w 163353"/>
                <a:gd name="connsiteY2" fmla="*/ 33720 h 46484"/>
                <a:gd name="connsiteX3" fmla="*/ 0 w 163353"/>
                <a:gd name="connsiteY3" fmla="*/ 33816 h 46484"/>
                <a:gd name="connsiteX4" fmla="*/ 0 w 163353"/>
                <a:gd name="connsiteY4" fmla="*/ 46484 h 46484"/>
                <a:gd name="connsiteX5" fmla="*/ 163354 w 163353"/>
                <a:gd name="connsiteY5" fmla="*/ 46484 h 46484"/>
                <a:gd name="connsiteX6" fmla="*/ 163354 w 163353"/>
                <a:gd name="connsiteY6" fmla="*/ 33816 h 46484"/>
                <a:gd name="connsiteX7" fmla="*/ 129542 w 163353"/>
                <a:gd name="connsiteY7" fmla="*/ 0 h 46484"/>
                <a:gd name="connsiteX8" fmla="*/ 129159 w 163353"/>
                <a:gd name="connsiteY8" fmla="*/ 2 h 46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353" h="46484">
                  <a:moveTo>
                    <a:pt x="129159" y="2"/>
                  </a:moveTo>
                  <a:lnTo>
                    <a:pt x="33909" y="2"/>
                  </a:lnTo>
                  <a:cubicBezTo>
                    <a:pt x="15235" y="-51"/>
                    <a:pt x="53" y="15046"/>
                    <a:pt x="0" y="33720"/>
                  </a:cubicBezTo>
                  <a:cubicBezTo>
                    <a:pt x="0" y="33752"/>
                    <a:pt x="0" y="33784"/>
                    <a:pt x="0" y="33816"/>
                  </a:cubicBezTo>
                  <a:lnTo>
                    <a:pt x="0" y="46484"/>
                  </a:lnTo>
                  <a:lnTo>
                    <a:pt x="163354" y="46484"/>
                  </a:lnTo>
                  <a:lnTo>
                    <a:pt x="163354" y="33816"/>
                  </a:lnTo>
                  <a:cubicBezTo>
                    <a:pt x="163355" y="15141"/>
                    <a:pt x="148217" y="1"/>
                    <a:pt x="129542" y="0"/>
                  </a:cubicBezTo>
                  <a:cubicBezTo>
                    <a:pt x="129415" y="0"/>
                    <a:pt x="129287" y="1"/>
                    <a:pt x="129159" y="2"/>
                  </a:cubicBezTo>
                  <a:close/>
                </a:path>
              </a:pathLst>
            </a:custGeom>
            <a:solidFill>
              <a:srgbClr val="505FAB">
                <a:alpha val="97000"/>
              </a:srgbClr>
            </a:solidFill>
            <a:ln w="9525" cap="flat">
              <a:noFill/>
              <a:prstDash val="solid"/>
              <a:miter/>
            </a:ln>
          </p:spPr>
          <p:txBody>
            <a:bodyPr rtlCol="0" anchor="ctr"/>
            <a:lstStyle/>
            <a:p>
              <a:endParaRPr lang="en-US"/>
            </a:p>
          </p:txBody>
        </p:sp>
        <p:grpSp>
          <p:nvGrpSpPr>
            <p:cNvPr id="168" name="Graphic 5">
              <a:extLst>
                <a:ext uri="{FF2B5EF4-FFF2-40B4-BE49-F238E27FC236}">
                  <a16:creationId xmlns:a16="http://schemas.microsoft.com/office/drawing/2014/main" id="{3FF35665-37AD-3944-87BB-826F95748531}"/>
                </a:ext>
              </a:extLst>
            </p:cNvPr>
            <p:cNvGrpSpPr/>
            <p:nvPr/>
          </p:nvGrpSpPr>
          <p:grpSpPr>
            <a:xfrm>
              <a:off x="17032359" y="807720"/>
              <a:ext cx="109442" cy="158495"/>
              <a:chOff x="17032359" y="807720"/>
              <a:chExt cx="109442" cy="158495"/>
            </a:xfrm>
            <a:solidFill>
              <a:srgbClr val="283757">
                <a:alpha val="97000"/>
              </a:srgbClr>
            </a:solidFill>
          </p:grpSpPr>
          <p:sp>
            <p:nvSpPr>
              <p:cNvPr id="224" name="Freeform 223">
                <a:extLst>
                  <a:ext uri="{FF2B5EF4-FFF2-40B4-BE49-F238E27FC236}">
                    <a16:creationId xmlns:a16="http://schemas.microsoft.com/office/drawing/2014/main" id="{1C625A2F-B80B-1643-9943-11EB3188CFDC}"/>
                  </a:ext>
                </a:extLst>
              </p:cNvPr>
              <p:cNvSpPr/>
              <p:nvPr/>
            </p:nvSpPr>
            <p:spPr>
              <a:xfrm>
                <a:off x="17032360" y="807720"/>
                <a:ext cx="109442" cy="12668"/>
              </a:xfrm>
              <a:custGeom>
                <a:avLst/>
                <a:gdLst>
                  <a:gd name="connsiteX0" fmla="*/ 103061 w 109442"/>
                  <a:gd name="connsiteY0" fmla="*/ 12668 h 12668"/>
                  <a:gd name="connsiteX1" fmla="*/ 6382 w 109442"/>
                  <a:gd name="connsiteY1" fmla="*/ 12668 h 12668"/>
                  <a:gd name="connsiteX2" fmla="*/ 1 w 109442"/>
                  <a:gd name="connsiteY2" fmla="*/ 6478 h 12668"/>
                  <a:gd name="connsiteX3" fmla="*/ 0 w 109442"/>
                  <a:gd name="connsiteY3" fmla="*/ 6382 h 12668"/>
                  <a:gd name="connsiteX4" fmla="*/ 0 w 109442"/>
                  <a:gd name="connsiteY4" fmla="*/ 6382 h 12668"/>
                  <a:gd name="connsiteX5" fmla="*/ 6382 w 109442"/>
                  <a:gd name="connsiteY5" fmla="*/ 0 h 12668"/>
                  <a:gd name="connsiteX6" fmla="*/ 103061 w 109442"/>
                  <a:gd name="connsiteY6" fmla="*/ 0 h 12668"/>
                  <a:gd name="connsiteX7" fmla="*/ 109442 w 109442"/>
                  <a:gd name="connsiteY7" fmla="*/ 6382 h 12668"/>
                  <a:gd name="connsiteX8" fmla="*/ 109442 w 109442"/>
                  <a:gd name="connsiteY8" fmla="*/ 6382 h 12668"/>
                  <a:gd name="connsiteX9" fmla="*/ 103156 w 109442"/>
                  <a:gd name="connsiteY9" fmla="*/ 12669 h 12668"/>
                  <a:gd name="connsiteX10" fmla="*/ 103061 w 109442"/>
                  <a:gd name="connsiteY10" fmla="*/ 12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442" h="12668">
                    <a:moveTo>
                      <a:pt x="103061" y="12668"/>
                    </a:moveTo>
                    <a:lnTo>
                      <a:pt x="6382" y="12668"/>
                    </a:lnTo>
                    <a:cubicBezTo>
                      <a:pt x="2910" y="12721"/>
                      <a:pt x="53" y="9949"/>
                      <a:pt x="1" y="6478"/>
                    </a:cubicBezTo>
                    <a:cubicBezTo>
                      <a:pt x="0" y="6446"/>
                      <a:pt x="0" y="6414"/>
                      <a:pt x="0" y="6382"/>
                    </a:cubicBezTo>
                    <a:lnTo>
                      <a:pt x="0" y="6382"/>
                    </a:lnTo>
                    <a:cubicBezTo>
                      <a:pt x="0" y="2857"/>
                      <a:pt x="2857" y="0"/>
                      <a:pt x="6382" y="0"/>
                    </a:cubicBezTo>
                    <a:lnTo>
                      <a:pt x="103061" y="0"/>
                    </a:lnTo>
                    <a:cubicBezTo>
                      <a:pt x="106585" y="0"/>
                      <a:pt x="109442" y="2857"/>
                      <a:pt x="109442" y="6382"/>
                    </a:cubicBezTo>
                    <a:lnTo>
                      <a:pt x="109442" y="6382"/>
                    </a:lnTo>
                    <a:cubicBezTo>
                      <a:pt x="109442" y="9854"/>
                      <a:pt x="106628" y="12669"/>
                      <a:pt x="103156" y="12669"/>
                    </a:cubicBezTo>
                    <a:cubicBezTo>
                      <a:pt x="103125" y="12669"/>
                      <a:pt x="103093" y="12669"/>
                      <a:pt x="103061"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25" name="Freeform 224">
                <a:extLst>
                  <a:ext uri="{FF2B5EF4-FFF2-40B4-BE49-F238E27FC236}">
                    <a16:creationId xmlns:a16="http://schemas.microsoft.com/office/drawing/2014/main" id="{33FB20C7-6658-194D-9086-AEC8B039B55C}"/>
                  </a:ext>
                </a:extLst>
              </p:cNvPr>
              <p:cNvSpPr/>
              <p:nvPr/>
            </p:nvSpPr>
            <p:spPr>
              <a:xfrm>
                <a:off x="17032360" y="832008"/>
                <a:ext cx="109442" cy="12669"/>
              </a:xfrm>
              <a:custGeom>
                <a:avLst/>
                <a:gdLst>
                  <a:gd name="connsiteX0" fmla="*/ 103061 w 109442"/>
                  <a:gd name="connsiteY0" fmla="*/ 12668 h 12669"/>
                  <a:gd name="connsiteX1" fmla="*/ 6382 w 109442"/>
                  <a:gd name="connsiteY1" fmla="*/ 12668 h 12669"/>
                  <a:gd name="connsiteX2" fmla="*/ 1 w 109442"/>
                  <a:gd name="connsiteY2" fmla="*/ 6478 h 12669"/>
                  <a:gd name="connsiteX3" fmla="*/ 0 w 109442"/>
                  <a:gd name="connsiteY3" fmla="*/ 6382 h 12669"/>
                  <a:gd name="connsiteX4" fmla="*/ 0 w 109442"/>
                  <a:gd name="connsiteY4" fmla="*/ 6382 h 12669"/>
                  <a:gd name="connsiteX5" fmla="*/ 6382 w 109442"/>
                  <a:gd name="connsiteY5" fmla="*/ 0 h 12669"/>
                  <a:gd name="connsiteX6" fmla="*/ 103061 w 109442"/>
                  <a:gd name="connsiteY6" fmla="*/ 0 h 12669"/>
                  <a:gd name="connsiteX7" fmla="*/ 109442 w 109442"/>
                  <a:gd name="connsiteY7" fmla="*/ 6382 h 12669"/>
                  <a:gd name="connsiteX8" fmla="*/ 109442 w 109442"/>
                  <a:gd name="connsiteY8" fmla="*/ 6382 h 12669"/>
                  <a:gd name="connsiteX9" fmla="*/ 103156 w 109442"/>
                  <a:gd name="connsiteY9" fmla="*/ 12669 h 12669"/>
                  <a:gd name="connsiteX10" fmla="*/ 103061 w 109442"/>
                  <a:gd name="connsiteY10" fmla="*/ 12668 h 1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442" h="12669">
                    <a:moveTo>
                      <a:pt x="103061" y="12668"/>
                    </a:moveTo>
                    <a:lnTo>
                      <a:pt x="6382" y="12668"/>
                    </a:lnTo>
                    <a:cubicBezTo>
                      <a:pt x="2910" y="12721"/>
                      <a:pt x="53" y="9949"/>
                      <a:pt x="1" y="6478"/>
                    </a:cubicBezTo>
                    <a:cubicBezTo>
                      <a:pt x="0" y="6446"/>
                      <a:pt x="0" y="6414"/>
                      <a:pt x="0" y="6382"/>
                    </a:cubicBezTo>
                    <a:lnTo>
                      <a:pt x="0" y="6382"/>
                    </a:lnTo>
                    <a:cubicBezTo>
                      <a:pt x="0" y="2857"/>
                      <a:pt x="2857" y="0"/>
                      <a:pt x="6382" y="0"/>
                    </a:cubicBezTo>
                    <a:lnTo>
                      <a:pt x="103061" y="0"/>
                    </a:lnTo>
                    <a:cubicBezTo>
                      <a:pt x="106585" y="0"/>
                      <a:pt x="109442" y="2857"/>
                      <a:pt x="109442" y="6382"/>
                    </a:cubicBezTo>
                    <a:lnTo>
                      <a:pt x="109442" y="6382"/>
                    </a:lnTo>
                    <a:cubicBezTo>
                      <a:pt x="109442" y="9854"/>
                      <a:pt x="106628" y="12669"/>
                      <a:pt x="103156" y="12669"/>
                    </a:cubicBezTo>
                    <a:cubicBezTo>
                      <a:pt x="103125" y="12669"/>
                      <a:pt x="103093" y="12669"/>
                      <a:pt x="103061"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26" name="Freeform 225">
                <a:extLst>
                  <a:ext uri="{FF2B5EF4-FFF2-40B4-BE49-F238E27FC236}">
                    <a16:creationId xmlns:a16="http://schemas.microsoft.com/office/drawing/2014/main" id="{CF4B4E14-BBE4-9442-85D3-513BCECEEF2C}"/>
                  </a:ext>
                </a:extLst>
              </p:cNvPr>
              <p:cNvSpPr/>
              <p:nvPr/>
            </p:nvSpPr>
            <p:spPr>
              <a:xfrm>
                <a:off x="17032360" y="856297"/>
                <a:ext cx="109442" cy="12669"/>
              </a:xfrm>
              <a:custGeom>
                <a:avLst/>
                <a:gdLst>
                  <a:gd name="connsiteX0" fmla="*/ 103061 w 109442"/>
                  <a:gd name="connsiteY0" fmla="*/ 12668 h 12669"/>
                  <a:gd name="connsiteX1" fmla="*/ 6382 w 109442"/>
                  <a:gd name="connsiteY1" fmla="*/ 12668 h 12669"/>
                  <a:gd name="connsiteX2" fmla="*/ 1 w 109442"/>
                  <a:gd name="connsiteY2" fmla="*/ 6478 h 12669"/>
                  <a:gd name="connsiteX3" fmla="*/ 0 w 109442"/>
                  <a:gd name="connsiteY3" fmla="*/ 6382 h 12669"/>
                  <a:gd name="connsiteX4" fmla="*/ 0 w 109442"/>
                  <a:gd name="connsiteY4" fmla="*/ 6382 h 12669"/>
                  <a:gd name="connsiteX5" fmla="*/ 6382 w 109442"/>
                  <a:gd name="connsiteY5" fmla="*/ 0 h 12669"/>
                  <a:gd name="connsiteX6" fmla="*/ 103061 w 109442"/>
                  <a:gd name="connsiteY6" fmla="*/ 0 h 12669"/>
                  <a:gd name="connsiteX7" fmla="*/ 109442 w 109442"/>
                  <a:gd name="connsiteY7" fmla="*/ 6382 h 12669"/>
                  <a:gd name="connsiteX8" fmla="*/ 109442 w 109442"/>
                  <a:gd name="connsiteY8" fmla="*/ 6382 h 12669"/>
                  <a:gd name="connsiteX9" fmla="*/ 103156 w 109442"/>
                  <a:gd name="connsiteY9" fmla="*/ 12669 h 12669"/>
                  <a:gd name="connsiteX10" fmla="*/ 103061 w 109442"/>
                  <a:gd name="connsiteY10" fmla="*/ 12668 h 1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442" h="12669">
                    <a:moveTo>
                      <a:pt x="103061" y="12668"/>
                    </a:moveTo>
                    <a:lnTo>
                      <a:pt x="6382" y="12668"/>
                    </a:lnTo>
                    <a:cubicBezTo>
                      <a:pt x="2910" y="12721"/>
                      <a:pt x="53" y="9949"/>
                      <a:pt x="1" y="6478"/>
                    </a:cubicBezTo>
                    <a:cubicBezTo>
                      <a:pt x="0" y="6446"/>
                      <a:pt x="0" y="6414"/>
                      <a:pt x="0" y="6382"/>
                    </a:cubicBezTo>
                    <a:lnTo>
                      <a:pt x="0" y="6382"/>
                    </a:lnTo>
                    <a:cubicBezTo>
                      <a:pt x="0" y="2857"/>
                      <a:pt x="2857" y="0"/>
                      <a:pt x="6382" y="0"/>
                    </a:cubicBezTo>
                    <a:lnTo>
                      <a:pt x="103061" y="0"/>
                    </a:lnTo>
                    <a:cubicBezTo>
                      <a:pt x="106585" y="0"/>
                      <a:pt x="109442" y="2857"/>
                      <a:pt x="109442" y="6382"/>
                    </a:cubicBezTo>
                    <a:lnTo>
                      <a:pt x="109442" y="6382"/>
                    </a:lnTo>
                    <a:cubicBezTo>
                      <a:pt x="109442" y="9854"/>
                      <a:pt x="106628" y="12669"/>
                      <a:pt x="103156" y="12669"/>
                    </a:cubicBezTo>
                    <a:cubicBezTo>
                      <a:pt x="103125" y="12669"/>
                      <a:pt x="103093" y="12669"/>
                      <a:pt x="103061"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27" name="Freeform 226">
                <a:extLst>
                  <a:ext uri="{FF2B5EF4-FFF2-40B4-BE49-F238E27FC236}">
                    <a16:creationId xmlns:a16="http://schemas.microsoft.com/office/drawing/2014/main" id="{945E86C1-2659-D644-8A0F-412B5A30BFFC}"/>
                  </a:ext>
                </a:extLst>
              </p:cNvPr>
              <p:cNvSpPr/>
              <p:nvPr/>
            </p:nvSpPr>
            <p:spPr>
              <a:xfrm>
                <a:off x="17032360" y="880586"/>
                <a:ext cx="109347" cy="12668"/>
              </a:xfrm>
              <a:custGeom>
                <a:avLst/>
                <a:gdLst>
                  <a:gd name="connsiteX0" fmla="*/ 104680 w 109347"/>
                  <a:gd name="connsiteY0" fmla="*/ 0 h 12668"/>
                  <a:gd name="connsiteX1" fmla="*/ 109347 w 109347"/>
                  <a:gd name="connsiteY1" fmla="*/ 0 h 12668"/>
                  <a:gd name="connsiteX2" fmla="*/ 109347 w 109347"/>
                  <a:gd name="connsiteY2" fmla="*/ 12668 h 12668"/>
                  <a:gd name="connsiteX3" fmla="*/ 104680 w 109347"/>
                  <a:gd name="connsiteY3" fmla="*/ 12668 h 12668"/>
                  <a:gd name="connsiteX4" fmla="*/ 4667 w 109347"/>
                  <a:gd name="connsiteY4" fmla="*/ 12668 h 12668"/>
                  <a:gd name="connsiteX5" fmla="*/ 0 w 109347"/>
                  <a:gd name="connsiteY5" fmla="*/ 12668 h 12668"/>
                  <a:gd name="connsiteX6" fmla="*/ 0 w 109347"/>
                  <a:gd name="connsiteY6" fmla="*/ 0 h 12668"/>
                  <a:gd name="connsiteX7" fmla="*/ 4667 w 109347"/>
                  <a:gd name="connsiteY7" fmla="*/ 0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47" h="12668">
                    <a:moveTo>
                      <a:pt x="104680" y="0"/>
                    </a:moveTo>
                    <a:cubicBezTo>
                      <a:pt x="107257" y="0"/>
                      <a:pt x="109347" y="0"/>
                      <a:pt x="109347" y="0"/>
                    </a:cubicBezTo>
                    <a:lnTo>
                      <a:pt x="109347" y="12668"/>
                    </a:lnTo>
                    <a:cubicBezTo>
                      <a:pt x="109347" y="12668"/>
                      <a:pt x="107257" y="12668"/>
                      <a:pt x="104680" y="12668"/>
                    </a:cubicBezTo>
                    <a:lnTo>
                      <a:pt x="4667" y="12668"/>
                    </a:lnTo>
                    <a:cubicBezTo>
                      <a:pt x="2089" y="12668"/>
                      <a:pt x="0" y="12668"/>
                      <a:pt x="0" y="12668"/>
                    </a:cubicBezTo>
                    <a:lnTo>
                      <a:pt x="0" y="0"/>
                    </a:lnTo>
                    <a:cubicBezTo>
                      <a:pt x="0" y="0"/>
                      <a:pt x="2090" y="0"/>
                      <a:pt x="4667" y="0"/>
                    </a:cubicBezTo>
                    <a:close/>
                  </a:path>
                </a:pathLst>
              </a:custGeom>
              <a:solidFill>
                <a:srgbClr val="283757">
                  <a:alpha val="97000"/>
                </a:srgbClr>
              </a:solidFill>
              <a:ln w="9525" cap="flat">
                <a:noFill/>
                <a:prstDash val="solid"/>
                <a:miter/>
              </a:ln>
            </p:spPr>
            <p:txBody>
              <a:bodyPr rtlCol="0" anchor="ctr"/>
              <a:lstStyle/>
              <a:p>
                <a:endParaRPr lang="en-US"/>
              </a:p>
            </p:txBody>
          </p:sp>
          <p:sp>
            <p:nvSpPr>
              <p:cNvPr id="228" name="Freeform 227">
                <a:extLst>
                  <a:ext uri="{FF2B5EF4-FFF2-40B4-BE49-F238E27FC236}">
                    <a16:creationId xmlns:a16="http://schemas.microsoft.com/office/drawing/2014/main" id="{4B47EDF4-8106-2D45-A21A-2ADD03FE881A}"/>
                  </a:ext>
                </a:extLst>
              </p:cNvPr>
              <p:cNvSpPr/>
              <p:nvPr/>
            </p:nvSpPr>
            <p:spPr>
              <a:xfrm>
                <a:off x="17032359" y="929163"/>
                <a:ext cx="109442" cy="12763"/>
              </a:xfrm>
              <a:custGeom>
                <a:avLst/>
                <a:gdLst>
                  <a:gd name="connsiteX0" fmla="*/ 103061 w 109442"/>
                  <a:gd name="connsiteY0" fmla="*/ 12763 h 12763"/>
                  <a:gd name="connsiteX1" fmla="*/ 6382 w 109442"/>
                  <a:gd name="connsiteY1" fmla="*/ 12763 h 12763"/>
                  <a:gd name="connsiteX2" fmla="*/ 0 w 109442"/>
                  <a:gd name="connsiteY2" fmla="*/ 6382 h 12763"/>
                  <a:gd name="connsiteX3" fmla="*/ 0 w 109442"/>
                  <a:gd name="connsiteY3" fmla="*/ 6382 h 12763"/>
                  <a:gd name="connsiteX4" fmla="*/ 6382 w 109442"/>
                  <a:gd name="connsiteY4" fmla="*/ 0 h 12763"/>
                  <a:gd name="connsiteX5" fmla="*/ 103061 w 109442"/>
                  <a:gd name="connsiteY5" fmla="*/ 0 h 12763"/>
                  <a:gd name="connsiteX6" fmla="*/ 109443 w 109442"/>
                  <a:gd name="connsiteY6" fmla="*/ 6382 h 12763"/>
                  <a:gd name="connsiteX7" fmla="*/ 109442 w 109442"/>
                  <a:gd name="connsiteY7" fmla="*/ 6382 h 12763"/>
                  <a:gd name="connsiteX8" fmla="*/ 103061 w 109442"/>
                  <a:gd name="connsiteY8" fmla="*/ 12763 h 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442" h="12763">
                    <a:moveTo>
                      <a:pt x="103061" y="12763"/>
                    </a:moveTo>
                    <a:lnTo>
                      <a:pt x="6382" y="12763"/>
                    </a:lnTo>
                    <a:cubicBezTo>
                      <a:pt x="2857" y="12763"/>
                      <a:pt x="0" y="9906"/>
                      <a:pt x="0" y="6382"/>
                    </a:cubicBezTo>
                    <a:lnTo>
                      <a:pt x="0" y="6382"/>
                    </a:lnTo>
                    <a:cubicBezTo>
                      <a:pt x="0" y="2857"/>
                      <a:pt x="2857" y="0"/>
                      <a:pt x="6382" y="0"/>
                    </a:cubicBezTo>
                    <a:lnTo>
                      <a:pt x="103061" y="0"/>
                    </a:lnTo>
                    <a:cubicBezTo>
                      <a:pt x="106585" y="0"/>
                      <a:pt x="109443" y="2857"/>
                      <a:pt x="109443" y="6382"/>
                    </a:cubicBezTo>
                    <a:lnTo>
                      <a:pt x="109442" y="6382"/>
                    </a:lnTo>
                    <a:cubicBezTo>
                      <a:pt x="109442" y="9906"/>
                      <a:pt x="106585" y="12763"/>
                      <a:pt x="103061" y="12763"/>
                    </a:cubicBezTo>
                    <a:close/>
                  </a:path>
                </a:pathLst>
              </a:custGeom>
              <a:solidFill>
                <a:srgbClr val="283757">
                  <a:alpha val="97000"/>
                </a:srgbClr>
              </a:solidFill>
              <a:ln w="9525" cap="flat">
                <a:noFill/>
                <a:prstDash val="solid"/>
                <a:miter/>
              </a:ln>
            </p:spPr>
            <p:txBody>
              <a:bodyPr rtlCol="0" anchor="ctr"/>
              <a:lstStyle/>
              <a:p>
                <a:endParaRPr lang="en-US"/>
              </a:p>
            </p:txBody>
          </p:sp>
          <p:sp>
            <p:nvSpPr>
              <p:cNvPr id="229" name="Freeform 228">
                <a:extLst>
                  <a:ext uri="{FF2B5EF4-FFF2-40B4-BE49-F238E27FC236}">
                    <a16:creationId xmlns:a16="http://schemas.microsoft.com/office/drawing/2014/main" id="{5AC5E1C3-DE87-0547-AF12-38A6F8E41C8C}"/>
                  </a:ext>
                </a:extLst>
              </p:cNvPr>
              <p:cNvSpPr/>
              <p:nvPr/>
            </p:nvSpPr>
            <p:spPr>
              <a:xfrm>
                <a:off x="17032359" y="953452"/>
                <a:ext cx="74009" cy="12763"/>
              </a:xfrm>
              <a:custGeom>
                <a:avLst/>
                <a:gdLst>
                  <a:gd name="connsiteX0" fmla="*/ 67628 w 74009"/>
                  <a:gd name="connsiteY0" fmla="*/ 12764 h 12763"/>
                  <a:gd name="connsiteX1" fmla="*/ 6382 w 74009"/>
                  <a:gd name="connsiteY1" fmla="*/ 12764 h 12763"/>
                  <a:gd name="connsiteX2" fmla="*/ 0 w 74009"/>
                  <a:gd name="connsiteY2" fmla="*/ 6382 h 12763"/>
                  <a:gd name="connsiteX3" fmla="*/ 0 w 74009"/>
                  <a:gd name="connsiteY3" fmla="*/ 6382 h 12763"/>
                  <a:gd name="connsiteX4" fmla="*/ 6382 w 74009"/>
                  <a:gd name="connsiteY4" fmla="*/ 0 h 12763"/>
                  <a:gd name="connsiteX5" fmla="*/ 67628 w 74009"/>
                  <a:gd name="connsiteY5" fmla="*/ 0 h 12763"/>
                  <a:gd name="connsiteX6" fmla="*/ 74010 w 74009"/>
                  <a:gd name="connsiteY6" fmla="*/ 6382 h 12763"/>
                  <a:gd name="connsiteX7" fmla="*/ 74009 w 74009"/>
                  <a:gd name="connsiteY7" fmla="*/ 6382 h 12763"/>
                  <a:gd name="connsiteX8" fmla="*/ 67628 w 74009"/>
                  <a:gd name="connsiteY8" fmla="*/ 12763 h 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009" h="12763">
                    <a:moveTo>
                      <a:pt x="67628" y="12764"/>
                    </a:moveTo>
                    <a:lnTo>
                      <a:pt x="6382" y="12764"/>
                    </a:lnTo>
                    <a:cubicBezTo>
                      <a:pt x="2857" y="12764"/>
                      <a:pt x="0" y="9906"/>
                      <a:pt x="0" y="6382"/>
                    </a:cubicBezTo>
                    <a:lnTo>
                      <a:pt x="0" y="6382"/>
                    </a:lnTo>
                    <a:cubicBezTo>
                      <a:pt x="0" y="2857"/>
                      <a:pt x="2857" y="0"/>
                      <a:pt x="6382" y="0"/>
                    </a:cubicBezTo>
                    <a:lnTo>
                      <a:pt x="67628" y="0"/>
                    </a:lnTo>
                    <a:cubicBezTo>
                      <a:pt x="71152" y="0"/>
                      <a:pt x="74010" y="2857"/>
                      <a:pt x="74010" y="6382"/>
                    </a:cubicBezTo>
                    <a:lnTo>
                      <a:pt x="74009" y="6382"/>
                    </a:lnTo>
                    <a:cubicBezTo>
                      <a:pt x="74009" y="9906"/>
                      <a:pt x="71152" y="12763"/>
                      <a:pt x="67628" y="12763"/>
                    </a:cubicBezTo>
                    <a:close/>
                  </a:path>
                </a:pathLst>
              </a:custGeom>
              <a:solidFill>
                <a:srgbClr val="283757">
                  <a:alpha val="97000"/>
                </a:srgbClr>
              </a:solidFill>
              <a:ln w="9525" cap="flat">
                <a:noFill/>
                <a:prstDash val="solid"/>
                <a:miter/>
              </a:ln>
            </p:spPr>
            <p:txBody>
              <a:bodyPr rtlCol="0" anchor="ctr"/>
              <a:lstStyle/>
              <a:p>
                <a:endParaRPr lang="en-US"/>
              </a:p>
            </p:txBody>
          </p:sp>
        </p:grpSp>
        <p:sp>
          <p:nvSpPr>
            <p:cNvPr id="169" name="Freeform 168">
              <a:extLst>
                <a:ext uri="{FF2B5EF4-FFF2-40B4-BE49-F238E27FC236}">
                  <a16:creationId xmlns:a16="http://schemas.microsoft.com/office/drawing/2014/main" id="{194A61DC-19D6-3641-BF32-93F6D0B5872E}"/>
                </a:ext>
              </a:extLst>
            </p:cNvPr>
            <p:cNvSpPr/>
            <p:nvPr/>
          </p:nvSpPr>
          <p:spPr>
            <a:xfrm>
              <a:off x="17215811" y="730279"/>
              <a:ext cx="163353" cy="46484"/>
            </a:xfrm>
            <a:custGeom>
              <a:avLst/>
              <a:gdLst>
                <a:gd name="connsiteX0" fmla="*/ 129159 w 163353"/>
                <a:gd name="connsiteY0" fmla="*/ 2 h 46484"/>
                <a:gd name="connsiteX1" fmla="*/ 33909 w 163353"/>
                <a:gd name="connsiteY1" fmla="*/ 2 h 46484"/>
                <a:gd name="connsiteX2" fmla="*/ 0 w 163353"/>
                <a:gd name="connsiteY2" fmla="*/ 33816 h 46484"/>
                <a:gd name="connsiteX3" fmla="*/ 0 w 163353"/>
                <a:gd name="connsiteY3" fmla="*/ 46484 h 46484"/>
                <a:gd name="connsiteX4" fmla="*/ 163354 w 163353"/>
                <a:gd name="connsiteY4" fmla="*/ 46484 h 46484"/>
                <a:gd name="connsiteX5" fmla="*/ 163354 w 163353"/>
                <a:gd name="connsiteY5" fmla="*/ 33816 h 46484"/>
                <a:gd name="connsiteX6" fmla="*/ 129542 w 163353"/>
                <a:gd name="connsiteY6" fmla="*/ 0 h 46484"/>
                <a:gd name="connsiteX7" fmla="*/ 129159 w 163353"/>
                <a:gd name="connsiteY7" fmla="*/ 2 h 46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53" h="46484">
                  <a:moveTo>
                    <a:pt x="129159" y="2"/>
                  </a:moveTo>
                  <a:lnTo>
                    <a:pt x="33909" y="2"/>
                  </a:lnTo>
                  <a:cubicBezTo>
                    <a:pt x="15219" y="2"/>
                    <a:pt x="53" y="15126"/>
                    <a:pt x="0" y="33816"/>
                  </a:cubicBezTo>
                  <a:lnTo>
                    <a:pt x="0" y="46484"/>
                  </a:lnTo>
                  <a:lnTo>
                    <a:pt x="163354" y="46484"/>
                  </a:lnTo>
                  <a:lnTo>
                    <a:pt x="163354" y="33816"/>
                  </a:lnTo>
                  <a:cubicBezTo>
                    <a:pt x="163355" y="15141"/>
                    <a:pt x="148217" y="1"/>
                    <a:pt x="129542" y="0"/>
                  </a:cubicBezTo>
                  <a:cubicBezTo>
                    <a:pt x="129414" y="0"/>
                    <a:pt x="129287" y="1"/>
                    <a:pt x="129159" y="2"/>
                  </a:cubicBezTo>
                  <a:close/>
                </a:path>
              </a:pathLst>
            </a:custGeom>
            <a:solidFill>
              <a:srgbClr val="A8A1CF">
                <a:alpha val="97000"/>
              </a:srgbClr>
            </a:solidFill>
            <a:ln w="9525" cap="flat">
              <a:noFill/>
              <a:prstDash val="solid"/>
              <a:miter/>
            </a:ln>
          </p:spPr>
          <p:txBody>
            <a:bodyPr rtlCol="0" anchor="ctr"/>
            <a:lstStyle/>
            <a:p>
              <a:endParaRPr lang="en-US"/>
            </a:p>
          </p:txBody>
        </p:sp>
        <p:grpSp>
          <p:nvGrpSpPr>
            <p:cNvPr id="170" name="Graphic 5">
              <a:extLst>
                <a:ext uri="{FF2B5EF4-FFF2-40B4-BE49-F238E27FC236}">
                  <a16:creationId xmlns:a16="http://schemas.microsoft.com/office/drawing/2014/main" id="{97EF37E9-003E-3B49-818E-7961263F070C}"/>
                </a:ext>
              </a:extLst>
            </p:cNvPr>
            <p:cNvGrpSpPr/>
            <p:nvPr/>
          </p:nvGrpSpPr>
          <p:grpSpPr>
            <a:xfrm>
              <a:off x="17242481" y="807720"/>
              <a:ext cx="109347" cy="158495"/>
              <a:chOff x="17242481" y="807720"/>
              <a:chExt cx="109347" cy="158495"/>
            </a:xfrm>
            <a:solidFill>
              <a:srgbClr val="283757">
                <a:alpha val="97000"/>
              </a:srgbClr>
            </a:solidFill>
          </p:grpSpPr>
          <p:sp>
            <p:nvSpPr>
              <p:cNvPr id="218" name="Freeform 217">
                <a:extLst>
                  <a:ext uri="{FF2B5EF4-FFF2-40B4-BE49-F238E27FC236}">
                    <a16:creationId xmlns:a16="http://schemas.microsoft.com/office/drawing/2014/main" id="{912B59E1-F25E-D14C-9F53-DE0BE8A527EC}"/>
                  </a:ext>
                </a:extLst>
              </p:cNvPr>
              <p:cNvSpPr/>
              <p:nvPr/>
            </p:nvSpPr>
            <p:spPr>
              <a:xfrm>
                <a:off x="17242481" y="807720"/>
                <a:ext cx="109347" cy="12668"/>
              </a:xfrm>
              <a:custGeom>
                <a:avLst/>
                <a:gdLst>
                  <a:gd name="connsiteX0" fmla="*/ 102965 w 109347"/>
                  <a:gd name="connsiteY0" fmla="*/ 12668 h 12668"/>
                  <a:gd name="connsiteX1" fmla="*/ 6287 w 109347"/>
                  <a:gd name="connsiteY1" fmla="*/ 12668 h 12668"/>
                  <a:gd name="connsiteX2" fmla="*/ 0 w 109347"/>
                  <a:gd name="connsiteY2" fmla="*/ 6382 h 12668"/>
                  <a:gd name="connsiteX3" fmla="*/ 0 w 109347"/>
                  <a:gd name="connsiteY3" fmla="*/ 6382 h 12668"/>
                  <a:gd name="connsiteX4" fmla="*/ 6287 w 109347"/>
                  <a:gd name="connsiteY4" fmla="*/ 0 h 12668"/>
                  <a:gd name="connsiteX5" fmla="*/ 102965 w 109347"/>
                  <a:gd name="connsiteY5" fmla="*/ 0 h 12668"/>
                  <a:gd name="connsiteX6" fmla="*/ 109347 w 109347"/>
                  <a:gd name="connsiteY6" fmla="*/ 6382 h 12668"/>
                  <a:gd name="connsiteX7" fmla="*/ 109347 w 109347"/>
                  <a:gd name="connsiteY7" fmla="*/ 6382 h 12668"/>
                  <a:gd name="connsiteX8" fmla="*/ 103061 w 109347"/>
                  <a:gd name="connsiteY8" fmla="*/ 12669 h 12668"/>
                  <a:gd name="connsiteX9" fmla="*/ 102966 w 109347"/>
                  <a:gd name="connsiteY9" fmla="*/ 12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347" h="12668">
                    <a:moveTo>
                      <a:pt x="102965" y="12668"/>
                    </a:moveTo>
                    <a:lnTo>
                      <a:pt x="6287" y="12668"/>
                    </a:lnTo>
                    <a:cubicBezTo>
                      <a:pt x="2815" y="12668"/>
                      <a:pt x="0" y="9854"/>
                      <a:pt x="0" y="6382"/>
                    </a:cubicBezTo>
                    <a:lnTo>
                      <a:pt x="0" y="6382"/>
                    </a:lnTo>
                    <a:cubicBezTo>
                      <a:pt x="0" y="2894"/>
                      <a:pt x="2799" y="52"/>
                      <a:pt x="6287" y="0"/>
                    </a:cubicBezTo>
                    <a:lnTo>
                      <a:pt x="102965" y="0"/>
                    </a:lnTo>
                    <a:cubicBezTo>
                      <a:pt x="106490" y="0"/>
                      <a:pt x="109347" y="2857"/>
                      <a:pt x="109347" y="6382"/>
                    </a:cubicBezTo>
                    <a:lnTo>
                      <a:pt x="109347" y="6382"/>
                    </a:lnTo>
                    <a:cubicBezTo>
                      <a:pt x="109347" y="9854"/>
                      <a:pt x="106533" y="12669"/>
                      <a:pt x="103061" y="12669"/>
                    </a:cubicBezTo>
                    <a:cubicBezTo>
                      <a:pt x="103029" y="12669"/>
                      <a:pt x="102997" y="12669"/>
                      <a:pt x="102966"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2A7AD7AF-0E14-C44B-A8E0-CAB24B016CBA}"/>
                  </a:ext>
                </a:extLst>
              </p:cNvPr>
              <p:cNvSpPr/>
              <p:nvPr/>
            </p:nvSpPr>
            <p:spPr>
              <a:xfrm>
                <a:off x="17242481" y="856297"/>
                <a:ext cx="109347" cy="12668"/>
              </a:xfrm>
              <a:custGeom>
                <a:avLst/>
                <a:gdLst>
                  <a:gd name="connsiteX0" fmla="*/ 102965 w 109347"/>
                  <a:gd name="connsiteY0" fmla="*/ 12668 h 12668"/>
                  <a:gd name="connsiteX1" fmla="*/ 6287 w 109347"/>
                  <a:gd name="connsiteY1" fmla="*/ 12668 h 12668"/>
                  <a:gd name="connsiteX2" fmla="*/ 0 w 109347"/>
                  <a:gd name="connsiteY2" fmla="*/ 6382 h 12668"/>
                  <a:gd name="connsiteX3" fmla="*/ 0 w 109347"/>
                  <a:gd name="connsiteY3" fmla="*/ 6382 h 12668"/>
                  <a:gd name="connsiteX4" fmla="*/ 6287 w 109347"/>
                  <a:gd name="connsiteY4" fmla="*/ 0 h 12668"/>
                  <a:gd name="connsiteX5" fmla="*/ 102965 w 109347"/>
                  <a:gd name="connsiteY5" fmla="*/ 0 h 12668"/>
                  <a:gd name="connsiteX6" fmla="*/ 109347 w 109347"/>
                  <a:gd name="connsiteY6" fmla="*/ 6382 h 12668"/>
                  <a:gd name="connsiteX7" fmla="*/ 109347 w 109347"/>
                  <a:gd name="connsiteY7" fmla="*/ 6382 h 12668"/>
                  <a:gd name="connsiteX8" fmla="*/ 103061 w 109347"/>
                  <a:gd name="connsiteY8" fmla="*/ 12669 h 12668"/>
                  <a:gd name="connsiteX9" fmla="*/ 102966 w 109347"/>
                  <a:gd name="connsiteY9" fmla="*/ 12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347" h="12668">
                    <a:moveTo>
                      <a:pt x="102965" y="12668"/>
                    </a:moveTo>
                    <a:lnTo>
                      <a:pt x="6287" y="12668"/>
                    </a:lnTo>
                    <a:cubicBezTo>
                      <a:pt x="2815" y="12668"/>
                      <a:pt x="0" y="9854"/>
                      <a:pt x="0" y="6382"/>
                    </a:cubicBezTo>
                    <a:lnTo>
                      <a:pt x="0" y="6382"/>
                    </a:lnTo>
                    <a:cubicBezTo>
                      <a:pt x="0" y="2894"/>
                      <a:pt x="2799" y="52"/>
                      <a:pt x="6287" y="0"/>
                    </a:cubicBezTo>
                    <a:lnTo>
                      <a:pt x="102965" y="0"/>
                    </a:lnTo>
                    <a:cubicBezTo>
                      <a:pt x="106490" y="0"/>
                      <a:pt x="109347" y="2857"/>
                      <a:pt x="109347" y="6382"/>
                    </a:cubicBezTo>
                    <a:lnTo>
                      <a:pt x="109347" y="6382"/>
                    </a:lnTo>
                    <a:cubicBezTo>
                      <a:pt x="109347" y="9854"/>
                      <a:pt x="106533" y="12669"/>
                      <a:pt x="103061" y="12669"/>
                    </a:cubicBezTo>
                    <a:cubicBezTo>
                      <a:pt x="103029" y="12669"/>
                      <a:pt x="102997" y="12669"/>
                      <a:pt x="102966"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20" name="Freeform 219">
                <a:extLst>
                  <a:ext uri="{FF2B5EF4-FFF2-40B4-BE49-F238E27FC236}">
                    <a16:creationId xmlns:a16="http://schemas.microsoft.com/office/drawing/2014/main" id="{45D7A88E-4D97-2C42-9AAD-7B8AA877D22B}"/>
                  </a:ext>
                </a:extLst>
              </p:cNvPr>
              <p:cNvSpPr/>
              <p:nvPr/>
            </p:nvSpPr>
            <p:spPr>
              <a:xfrm>
                <a:off x="17242481" y="880586"/>
                <a:ext cx="109347" cy="12668"/>
              </a:xfrm>
              <a:custGeom>
                <a:avLst/>
                <a:gdLst>
                  <a:gd name="connsiteX0" fmla="*/ 104680 w 109347"/>
                  <a:gd name="connsiteY0" fmla="*/ 0 h 12668"/>
                  <a:gd name="connsiteX1" fmla="*/ 109347 w 109347"/>
                  <a:gd name="connsiteY1" fmla="*/ 0 h 12668"/>
                  <a:gd name="connsiteX2" fmla="*/ 109347 w 109347"/>
                  <a:gd name="connsiteY2" fmla="*/ 12668 h 12668"/>
                  <a:gd name="connsiteX3" fmla="*/ 104680 w 109347"/>
                  <a:gd name="connsiteY3" fmla="*/ 12668 h 12668"/>
                  <a:gd name="connsiteX4" fmla="*/ 4667 w 109347"/>
                  <a:gd name="connsiteY4" fmla="*/ 12668 h 12668"/>
                  <a:gd name="connsiteX5" fmla="*/ 0 w 109347"/>
                  <a:gd name="connsiteY5" fmla="*/ 12668 h 12668"/>
                  <a:gd name="connsiteX6" fmla="*/ 0 w 109347"/>
                  <a:gd name="connsiteY6" fmla="*/ 0 h 12668"/>
                  <a:gd name="connsiteX7" fmla="*/ 4667 w 109347"/>
                  <a:gd name="connsiteY7" fmla="*/ 0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47" h="12668">
                    <a:moveTo>
                      <a:pt x="104680" y="0"/>
                    </a:moveTo>
                    <a:cubicBezTo>
                      <a:pt x="107257" y="0"/>
                      <a:pt x="109347" y="0"/>
                      <a:pt x="109347" y="0"/>
                    </a:cubicBezTo>
                    <a:lnTo>
                      <a:pt x="109347" y="12668"/>
                    </a:lnTo>
                    <a:cubicBezTo>
                      <a:pt x="109347" y="12668"/>
                      <a:pt x="107257" y="12668"/>
                      <a:pt x="104680" y="12668"/>
                    </a:cubicBezTo>
                    <a:lnTo>
                      <a:pt x="4667" y="12668"/>
                    </a:lnTo>
                    <a:cubicBezTo>
                      <a:pt x="2089" y="12668"/>
                      <a:pt x="0" y="12668"/>
                      <a:pt x="0" y="12668"/>
                    </a:cubicBezTo>
                    <a:lnTo>
                      <a:pt x="0" y="0"/>
                    </a:lnTo>
                    <a:cubicBezTo>
                      <a:pt x="0" y="0"/>
                      <a:pt x="2090" y="0"/>
                      <a:pt x="4667" y="0"/>
                    </a:cubicBezTo>
                    <a:close/>
                  </a:path>
                </a:pathLst>
              </a:custGeom>
              <a:solidFill>
                <a:srgbClr val="283757">
                  <a:alpha val="97000"/>
                </a:srgbClr>
              </a:solidFill>
              <a:ln w="9525" cap="flat">
                <a:noFill/>
                <a:prstDash val="solid"/>
                <a:miter/>
              </a:ln>
            </p:spPr>
            <p:txBody>
              <a:bodyPr rtlCol="0" anchor="ctr"/>
              <a:lstStyle/>
              <a:p>
                <a:endParaRPr lang="en-US"/>
              </a:p>
            </p:txBody>
          </p:sp>
          <p:sp>
            <p:nvSpPr>
              <p:cNvPr id="221" name="Freeform 220">
                <a:extLst>
                  <a:ext uri="{FF2B5EF4-FFF2-40B4-BE49-F238E27FC236}">
                    <a16:creationId xmlns:a16="http://schemas.microsoft.com/office/drawing/2014/main" id="{6CAC0083-5ED9-1B4E-AA55-8F5112D6E8C9}"/>
                  </a:ext>
                </a:extLst>
              </p:cNvPr>
              <p:cNvSpPr/>
              <p:nvPr/>
            </p:nvSpPr>
            <p:spPr>
              <a:xfrm>
                <a:off x="17242481" y="904875"/>
                <a:ext cx="109347" cy="12763"/>
              </a:xfrm>
              <a:custGeom>
                <a:avLst/>
                <a:gdLst>
                  <a:gd name="connsiteX0" fmla="*/ 102965 w 109347"/>
                  <a:gd name="connsiteY0" fmla="*/ 12763 h 12763"/>
                  <a:gd name="connsiteX1" fmla="*/ 6287 w 109347"/>
                  <a:gd name="connsiteY1" fmla="*/ 12763 h 12763"/>
                  <a:gd name="connsiteX2" fmla="*/ 0 w 109347"/>
                  <a:gd name="connsiteY2" fmla="*/ 6382 h 12763"/>
                  <a:gd name="connsiteX3" fmla="*/ 0 w 109347"/>
                  <a:gd name="connsiteY3" fmla="*/ 6382 h 12763"/>
                  <a:gd name="connsiteX4" fmla="*/ 6287 w 109347"/>
                  <a:gd name="connsiteY4" fmla="*/ 0 h 12763"/>
                  <a:gd name="connsiteX5" fmla="*/ 102965 w 109347"/>
                  <a:gd name="connsiteY5" fmla="*/ 0 h 12763"/>
                  <a:gd name="connsiteX6" fmla="*/ 109347 w 109347"/>
                  <a:gd name="connsiteY6" fmla="*/ 6382 h 12763"/>
                  <a:gd name="connsiteX7" fmla="*/ 109347 w 109347"/>
                  <a:gd name="connsiteY7" fmla="*/ 6382 h 12763"/>
                  <a:gd name="connsiteX8" fmla="*/ 102965 w 109347"/>
                  <a:gd name="connsiteY8" fmla="*/ 12763 h 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347" h="12763">
                    <a:moveTo>
                      <a:pt x="102965" y="12763"/>
                    </a:moveTo>
                    <a:lnTo>
                      <a:pt x="6287" y="12763"/>
                    </a:lnTo>
                    <a:cubicBezTo>
                      <a:pt x="2799" y="12711"/>
                      <a:pt x="0" y="9869"/>
                      <a:pt x="0" y="6382"/>
                    </a:cubicBezTo>
                    <a:lnTo>
                      <a:pt x="0" y="6382"/>
                    </a:lnTo>
                    <a:cubicBezTo>
                      <a:pt x="0" y="2894"/>
                      <a:pt x="2799" y="52"/>
                      <a:pt x="6287" y="0"/>
                    </a:cubicBezTo>
                    <a:lnTo>
                      <a:pt x="102965" y="0"/>
                    </a:lnTo>
                    <a:cubicBezTo>
                      <a:pt x="106490" y="0"/>
                      <a:pt x="109347" y="2857"/>
                      <a:pt x="109347" y="6382"/>
                    </a:cubicBezTo>
                    <a:lnTo>
                      <a:pt x="109347" y="6382"/>
                    </a:lnTo>
                    <a:cubicBezTo>
                      <a:pt x="109347" y="9906"/>
                      <a:pt x="106490" y="12763"/>
                      <a:pt x="102965" y="12763"/>
                    </a:cubicBezTo>
                    <a:close/>
                  </a:path>
                </a:pathLst>
              </a:custGeom>
              <a:solidFill>
                <a:srgbClr val="283757">
                  <a:alpha val="97000"/>
                </a:srgbClr>
              </a:solidFill>
              <a:ln w="9525" cap="flat">
                <a:noFill/>
                <a:prstDash val="solid"/>
                <a:miter/>
              </a:ln>
            </p:spPr>
            <p:txBody>
              <a:bodyPr rtlCol="0" anchor="ctr"/>
              <a:lstStyle/>
              <a:p>
                <a:endParaRPr lang="en-US"/>
              </a:p>
            </p:txBody>
          </p:sp>
          <p:sp>
            <p:nvSpPr>
              <p:cNvPr id="222" name="Freeform 221">
                <a:extLst>
                  <a:ext uri="{FF2B5EF4-FFF2-40B4-BE49-F238E27FC236}">
                    <a16:creationId xmlns:a16="http://schemas.microsoft.com/office/drawing/2014/main" id="{E7079308-8AEF-E44B-B8F2-55F556AA778D}"/>
                  </a:ext>
                </a:extLst>
              </p:cNvPr>
              <p:cNvSpPr/>
              <p:nvPr/>
            </p:nvSpPr>
            <p:spPr>
              <a:xfrm>
                <a:off x="17242481" y="929163"/>
                <a:ext cx="109347" cy="12763"/>
              </a:xfrm>
              <a:custGeom>
                <a:avLst/>
                <a:gdLst>
                  <a:gd name="connsiteX0" fmla="*/ 102965 w 109347"/>
                  <a:gd name="connsiteY0" fmla="*/ 12763 h 12763"/>
                  <a:gd name="connsiteX1" fmla="*/ 6287 w 109347"/>
                  <a:gd name="connsiteY1" fmla="*/ 12763 h 12763"/>
                  <a:gd name="connsiteX2" fmla="*/ 0 w 109347"/>
                  <a:gd name="connsiteY2" fmla="*/ 6382 h 12763"/>
                  <a:gd name="connsiteX3" fmla="*/ 0 w 109347"/>
                  <a:gd name="connsiteY3" fmla="*/ 6382 h 12763"/>
                  <a:gd name="connsiteX4" fmla="*/ 6287 w 109347"/>
                  <a:gd name="connsiteY4" fmla="*/ 0 h 12763"/>
                  <a:gd name="connsiteX5" fmla="*/ 102965 w 109347"/>
                  <a:gd name="connsiteY5" fmla="*/ 0 h 12763"/>
                  <a:gd name="connsiteX6" fmla="*/ 109347 w 109347"/>
                  <a:gd name="connsiteY6" fmla="*/ 6382 h 12763"/>
                  <a:gd name="connsiteX7" fmla="*/ 109347 w 109347"/>
                  <a:gd name="connsiteY7" fmla="*/ 6382 h 12763"/>
                  <a:gd name="connsiteX8" fmla="*/ 102965 w 109347"/>
                  <a:gd name="connsiteY8" fmla="*/ 12763 h 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347" h="12763">
                    <a:moveTo>
                      <a:pt x="102965" y="12763"/>
                    </a:moveTo>
                    <a:lnTo>
                      <a:pt x="6287" y="12763"/>
                    </a:lnTo>
                    <a:cubicBezTo>
                      <a:pt x="2799" y="12711"/>
                      <a:pt x="0" y="9869"/>
                      <a:pt x="0" y="6382"/>
                    </a:cubicBezTo>
                    <a:lnTo>
                      <a:pt x="0" y="6382"/>
                    </a:lnTo>
                    <a:cubicBezTo>
                      <a:pt x="0" y="2894"/>
                      <a:pt x="2799" y="52"/>
                      <a:pt x="6287" y="0"/>
                    </a:cubicBezTo>
                    <a:lnTo>
                      <a:pt x="102965" y="0"/>
                    </a:lnTo>
                    <a:cubicBezTo>
                      <a:pt x="106490" y="0"/>
                      <a:pt x="109347" y="2857"/>
                      <a:pt x="109347" y="6382"/>
                    </a:cubicBezTo>
                    <a:lnTo>
                      <a:pt x="109347" y="6382"/>
                    </a:lnTo>
                    <a:cubicBezTo>
                      <a:pt x="109347" y="9906"/>
                      <a:pt x="106490" y="12763"/>
                      <a:pt x="102965" y="12763"/>
                    </a:cubicBezTo>
                    <a:close/>
                  </a:path>
                </a:pathLst>
              </a:custGeom>
              <a:solidFill>
                <a:srgbClr val="283757">
                  <a:alpha val="97000"/>
                </a:srgbClr>
              </a:solidFill>
              <a:ln w="9525" cap="flat">
                <a:noFill/>
                <a:prstDash val="solid"/>
                <a:miter/>
              </a:ln>
            </p:spPr>
            <p:txBody>
              <a:bodyPr rtlCol="0" anchor="ctr"/>
              <a:lstStyle/>
              <a:p>
                <a:endParaRPr lang="en-US"/>
              </a:p>
            </p:txBody>
          </p:sp>
          <p:sp>
            <p:nvSpPr>
              <p:cNvPr id="223" name="Freeform 222">
                <a:extLst>
                  <a:ext uri="{FF2B5EF4-FFF2-40B4-BE49-F238E27FC236}">
                    <a16:creationId xmlns:a16="http://schemas.microsoft.com/office/drawing/2014/main" id="{2C5078F2-5259-C54C-A831-B0937F36A4EE}"/>
                  </a:ext>
                </a:extLst>
              </p:cNvPr>
              <p:cNvSpPr/>
              <p:nvPr/>
            </p:nvSpPr>
            <p:spPr>
              <a:xfrm>
                <a:off x="17242481" y="953452"/>
                <a:ext cx="91630" cy="12763"/>
              </a:xfrm>
              <a:custGeom>
                <a:avLst/>
                <a:gdLst>
                  <a:gd name="connsiteX0" fmla="*/ 85344 w 91630"/>
                  <a:gd name="connsiteY0" fmla="*/ 12764 h 12763"/>
                  <a:gd name="connsiteX1" fmla="*/ 6287 w 91630"/>
                  <a:gd name="connsiteY1" fmla="*/ 12764 h 12763"/>
                  <a:gd name="connsiteX2" fmla="*/ 0 w 91630"/>
                  <a:gd name="connsiteY2" fmla="*/ 6382 h 12763"/>
                  <a:gd name="connsiteX3" fmla="*/ 0 w 91630"/>
                  <a:gd name="connsiteY3" fmla="*/ 6382 h 12763"/>
                  <a:gd name="connsiteX4" fmla="*/ 6287 w 91630"/>
                  <a:gd name="connsiteY4" fmla="*/ 0 h 12763"/>
                  <a:gd name="connsiteX5" fmla="*/ 85344 w 91630"/>
                  <a:gd name="connsiteY5" fmla="*/ 0 h 12763"/>
                  <a:gd name="connsiteX6" fmla="*/ 91630 w 91630"/>
                  <a:gd name="connsiteY6" fmla="*/ 6382 h 12763"/>
                  <a:gd name="connsiteX7" fmla="*/ 91630 w 91630"/>
                  <a:gd name="connsiteY7" fmla="*/ 6382 h 12763"/>
                  <a:gd name="connsiteX8" fmla="*/ 85344 w 91630"/>
                  <a:gd name="connsiteY8" fmla="*/ 12763 h 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630" h="12763">
                    <a:moveTo>
                      <a:pt x="85344" y="12764"/>
                    </a:moveTo>
                    <a:lnTo>
                      <a:pt x="6287" y="12764"/>
                    </a:lnTo>
                    <a:cubicBezTo>
                      <a:pt x="2799" y="12712"/>
                      <a:pt x="0" y="9869"/>
                      <a:pt x="0" y="6382"/>
                    </a:cubicBezTo>
                    <a:lnTo>
                      <a:pt x="0" y="6382"/>
                    </a:lnTo>
                    <a:cubicBezTo>
                      <a:pt x="0" y="2894"/>
                      <a:pt x="2799" y="52"/>
                      <a:pt x="6287" y="0"/>
                    </a:cubicBezTo>
                    <a:lnTo>
                      <a:pt x="85344" y="0"/>
                    </a:lnTo>
                    <a:cubicBezTo>
                      <a:pt x="88831" y="52"/>
                      <a:pt x="91631" y="2894"/>
                      <a:pt x="91630" y="6382"/>
                    </a:cubicBezTo>
                    <a:lnTo>
                      <a:pt x="91630" y="6382"/>
                    </a:lnTo>
                    <a:cubicBezTo>
                      <a:pt x="91631" y="9869"/>
                      <a:pt x="88831" y="12711"/>
                      <a:pt x="85344" y="12763"/>
                    </a:cubicBezTo>
                    <a:close/>
                  </a:path>
                </a:pathLst>
              </a:custGeom>
              <a:solidFill>
                <a:srgbClr val="283757">
                  <a:alpha val="97000"/>
                </a:srgbClr>
              </a:solidFill>
              <a:ln w="9525" cap="flat">
                <a:noFill/>
                <a:prstDash val="solid"/>
                <a:miter/>
              </a:ln>
            </p:spPr>
            <p:txBody>
              <a:bodyPr rtlCol="0" anchor="ctr"/>
              <a:lstStyle/>
              <a:p>
                <a:endParaRPr lang="en-US"/>
              </a:p>
            </p:txBody>
          </p:sp>
        </p:grpSp>
        <p:sp>
          <p:nvSpPr>
            <p:cNvPr id="171" name="Freeform 170">
              <a:extLst>
                <a:ext uri="{FF2B5EF4-FFF2-40B4-BE49-F238E27FC236}">
                  <a16:creationId xmlns:a16="http://schemas.microsoft.com/office/drawing/2014/main" id="{EF5CA990-1643-8842-8507-161BED340A69}"/>
                </a:ext>
              </a:extLst>
            </p:cNvPr>
            <p:cNvSpPr/>
            <p:nvPr/>
          </p:nvSpPr>
          <p:spPr>
            <a:xfrm>
              <a:off x="17425838" y="730279"/>
              <a:ext cx="163353" cy="46484"/>
            </a:xfrm>
            <a:custGeom>
              <a:avLst/>
              <a:gdLst>
                <a:gd name="connsiteX0" fmla="*/ 129159 w 163353"/>
                <a:gd name="connsiteY0" fmla="*/ 2 h 46484"/>
                <a:gd name="connsiteX1" fmla="*/ 33909 w 163353"/>
                <a:gd name="connsiteY1" fmla="*/ 2 h 46484"/>
                <a:gd name="connsiteX2" fmla="*/ 0 w 163353"/>
                <a:gd name="connsiteY2" fmla="*/ 33720 h 46484"/>
                <a:gd name="connsiteX3" fmla="*/ 0 w 163353"/>
                <a:gd name="connsiteY3" fmla="*/ 33816 h 46484"/>
                <a:gd name="connsiteX4" fmla="*/ 0 w 163353"/>
                <a:gd name="connsiteY4" fmla="*/ 46484 h 46484"/>
                <a:gd name="connsiteX5" fmla="*/ 163354 w 163353"/>
                <a:gd name="connsiteY5" fmla="*/ 46484 h 46484"/>
                <a:gd name="connsiteX6" fmla="*/ 163354 w 163353"/>
                <a:gd name="connsiteY6" fmla="*/ 33816 h 46484"/>
                <a:gd name="connsiteX7" fmla="*/ 129542 w 163353"/>
                <a:gd name="connsiteY7" fmla="*/ 0 h 46484"/>
                <a:gd name="connsiteX8" fmla="*/ 129159 w 163353"/>
                <a:gd name="connsiteY8" fmla="*/ 2 h 46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3353" h="46484">
                  <a:moveTo>
                    <a:pt x="129159" y="2"/>
                  </a:moveTo>
                  <a:lnTo>
                    <a:pt x="33909" y="2"/>
                  </a:lnTo>
                  <a:cubicBezTo>
                    <a:pt x="15234" y="-51"/>
                    <a:pt x="53" y="15046"/>
                    <a:pt x="0" y="33720"/>
                  </a:cubicBezTo>
                  <a:cubicBezTo>
                    <a:pt x="0" y="33752"/>
                    <a:pt x="0" y="33784"/>
                    <a:pt x="0" y="33816"/>
                  </a:cubicBezTo>
                  <a:lnTo>
                    <a:pt x="0" y="46484"/>
                  </a:lnTo>
                  <a:lnTo>
                    <a:pt x="163354" y="46484"/>
                  </a:lnTo>
                  <a:lnTo>
                    <a:pt x="163354" y="33816"/>
                  </a:lnTo>
                  <a:cubicBezTo>
                    <a:pt x="163355" y="15141"/>
                    <a:pt x="148217" y="1"/>
                    <a:pt x="129542" y="0"/>
                  </a:cubicBezTo>
                  <a:cubicBezTo>
                    <a:pt x="129414" y="0"/>
                    <a:pt x="129287" y="1"/>
                    <a:pt x="129159" y="2"/>
                  </a:cubicBezTo>
                  <a:close/>
                </a:path>
              </a:pathLst>
            </a:custGeom>
            <a:solidFill>
              <a:srgbClr val="DFC623">
                <a:alpha val="97000"/>
              </a:srgbClr>
            </a:solidFill>
            <a:ln w="9525" cap="flat">
              <a:noFill/>
              <a:prstDash val="solid"/>
              <a:miter/>
            </a:ln>
          </p:spPr>
          <p:txBody>
            <a:bodyPr rtlCol="0" anchor="ctr"/>
            <a:lstStyle/>
            <a:p>
              <a:endParaRPr lang="en-US"/>
            </a:p>
          </p:txBody>
        </p:sp>
        <p:grpSp>
          <p:nvGrpSpPr>
            <p:cNvPr id="172" name="Graphic 5">
              <a:extLst>
                <a:ext uri="{FF2B5EF4-FFF2-40B4-BE49-F238E27FC236}">
                  <a16:creationId xmlns:a16="http://schemas.microsoft.com/office/drawing/2014/main" id="{2EB1C0A5-6DA1-654A-8639-D2CEA6F2C88E}"/>
                </a:ext>
              </a:extLst>
            </p:cNvPr>
            <p:cNvGrpSpPr/>
            <p:nvPr/>
          </p:nvGrpSpPr>
          <p:grpSpPr>
            <a:xfrm>
              <a:off x="17452507" y="807720"/>
              <a:ext cx="109442" cy="158495"/>
              <a:chOff x="17452507" y="807720"/>
              <a:chExt cx="109442" cy="158495"/>
            </a:xfrm>
            <a:solidFill>
              <a:srgbClr val="283757">
                <a:alpha val="97000"/>
              </a:srgbClr>
            </a:solidFill>
          </p:grpSpPr>
          <p:sp>
            <p:nvSpPr>
              <p:cNvPr id="212" name="Freeform 211">
                <a:extLst>
                  <a:ext uri="{FF2B5EF4-FFF2-40B4-BE49-F238E27FC236}">
                    <a16:creationId xmlns:a16="http://schemas.microsoft.com/office/drawing/2014/main" id="{05975A7A-91FE-844B-8739-D98DB8B6E360}"/>
                  </a:ext>
                </a:extLst>
              </p:cNvPr>
              <p:cNvSpPr/>
              <p:nvPr/>
            </p:nvSpPr>
            <p:spPr>
              <a:xfrm>
                <a:off x="17452507" y="807720"/>
                <a:ext cx="65151" cy="12668"/>
              </a:xfrm>
              <a:custGeom>
                <a:avLst/>
                <a:gdLst>
                  <a:gd name="connsiteX0" fmla="*/ 58769 w 65151"/>
                  <a:gd name="connsiteY0" fmla="*/ 12668 h 12668"/>
                  <a:gd name="connsiteX1" fmla="*/ 6382 w 65151"/>
                  <a:gd name="connsiteY1" fmla="*/ 12668 h 12668"/>
                  <a:gd name="connsiteX2" fmla="*/ 1 w 65151"/>
                  <a:gd name="connsiteY2" fmla="*/ 6478 h 12668"/>
                  <a:gd name="connsiteX3" fmla="*/ 0 w 65151"/>
                  <a:gd name="connsiteY3" fmla="*/ 6382 h 12668"/>
                  <a:gd name="connsiteX4" fmla="*/ 0 w 65151"/>
                  <a:gd name="connsiteY4" fmla="*/ 6382 h 12668"/>
                  <a:gd name="connsiteX5" fmla="*/ 6382 w 65151"/>
                  <a:gd name="connsiteY5" fmla="*/ 0 h 12668"/>
                  <a:gd name="connsiteX6" fmla="*/ 58769 w 65151"/>
                  <a:gd name="connsiteY6" fmla="*/ 0 h 12668"/>
                  <a:gd name="connsiteX7" fmla="*/ 65151 w 65151"/>
                  <a:gd name="connsiteY7" fmla="*/ 6382 h 12668"/>
                  <a:gd name="connsiteX8" fmla="*/ 65151 w 65151"/>
                  <a:gd name="connsiteY8" fmla="*/ 6382 h 12668"/>
                  <a:gd name="connsiteX9" fmla="*/ 58865 w 65151"/>
                  <a:gd name="connsiteY9" fmla="*/ 12669 h 12668"/>
                  <a:gd name="connsiteX10" fmla="*/ 58769 w 65151"/>
                  <a:gd name="connsiteY10" fmla="*/ 12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151" h="12668">
                    <a:moveTo>
                      <a:pt x="58769" y="12668"/>
                    </a:moveTo>
                    <a:lnTo>
                      <a:pt x="6382" y="12668"/>
                    </a:lnTo>
                    <a:cubicBezTo>
                      <a:pt x="2910" y="12721"/>
                      <a:pt x="53" y="9949"/>
                      <a:pt x="1" y="6478"/>
                    </a:cubicBezTo>
                    <a:cubicBezTo>
                      <a:pt x="0" y="6446"/>
                      <a:pt x="0" y="6414"/>
                      <a:pt x="0" y="6382"/>
                    </a:cubicBezTo>
                    <a:lnTo>
                      <a:pt x="0" y="6382"/>
                    </a:lnTo>
                    <a:cubicBezTo>
                      <a:pt x="0" y="2857"/>
                      <a:pt x="2857" y="0"/>
                      <a:pt x="6382" y="0"/>
                    </a:cubicBezTo>
                    <a:lnTo>
                      <a:pt x="58769" y="0"/>
                    </a:lnTo>
                    <a:cubicBezTo>
                      <a:pt x="62294" y="0"/>
                      <a:pt x="65151" y="2857"/>
                      <a:pt x="65151" y="6382"/>
                    </a:cubicBezTo>
                    <a:lnTo>
                      <a:pt x="65151" y="6382"/>
                    </a:lnTo>
                    <a:cubicBezTo>
                      <a:pt x="65151" y="9854"/>
                      <a:pt x="62337" y="12669"/>
                      <a:pt x="58865" y="12669"/>
                    </a:cubicBezTo>
                    <a:cubicBezTo>
                      <a:pt x="58833" y="12669"/>
                      <a:pt x="58801" y="12669"/>
                      <a:pt x="58769"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10CC86F6-F317-A34E-B200-0E33E9DAA9DB}"/>
                  </a:ext>
                </a:extLst>
              </p:cNvPr>
              <p:cNvSpPr/>
              <p:nvPr/>
            </p:nvSpPr>
            <p:spPr>
              <a:xfrm>
                <a:off x="17452507" y="832008"/>
                <a:ext cx="109350" cy="12669"/>
              </a:xfrm>
              <a:custGeom>
                <a:avLst/>
                <a:gdLst>
                  <a:gd name="connsiteX0" fmla="*/ 103061 w 109350"/>
                  <a:gd name="connsiteY0" fmla="*/ 12668 h 12669"/>
                  <a:gd name="connsiteX1" fmla="*/ 6382 w 109350"/>
                  <a:gd name="connsiteY1" fmla="*/ 12668 h 12669"/>
                  <a:gd name="connsiteX2" fmla="*/ 1 w 109350"/>
                  <a:gd name="connsiteY2" fmla="*/ 6478 h 12669"/>
                  <a:gd name="connsiteX3" fmla="*/ 0 w 109350"/>
                  <a:gd name="connsiteY3" fmla="*/ 6382 h 12669"/>
                  <a:gd name="connsiteX4" fmla="*/ 0 w 109350"/>
                  <a:gd name="connsiteY4" fmla="*/ 6382 h 12669"/>
                  <a:gd name="connsiteX5" fmla="*/ 6382 w 109350"/>
                  <a:gd name="connsiteY5" fmla="*/ 0 h 12669"/>
                  <a:gd name="connsiteX6" fmla="*/ 103061 w 109350"/>
                  <a:gd name="connsiteY6" fmla="*/ 0 h 12669"/>
                  <a:gd name="connsiteX7" fmla="*/ 109347 w 109350"/>
                  <a:gd name="connsiteY7" fmla="*/ 6191 h 12669"/>
                  <a:gd name="connsiteX8" fmla="*/ 109347 w 109350"/>
                  <a:gd name="connsiteY8" fmla="*/ 6191 h 12669"/>
                  <a:gd name="connsiteX9" fmla="*/ 103254 w 109350"/>
                  <a:gd name="connsiteY9" fmla="*/ 12665 h 12669"/>
                  <a:gd name="connsiteX10" fmla="*/ 103061 w 109350"/>
                  <a:gd name="connsiteY10" fmla="*/ 12668 h 1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350" h="12669">
                    <a:moveTo>
                      <a:pt x="103061" y="12668"/>
                    </a:moveTo>
                    <a:lnTo>
                      <a:pt x="6382" y="12668"/>
                    </a:lnTo>
                    <a:cubicBezTo>
                      <a:pt x="2910" y="12721"/>
                      <a:pt x="53" y="9949"/>
                      <a:pt x="1" y="6478"/>
                    </a:cubicBezTo>
                    <a:cubicBezTo>
                      <a:pt x="0" y="6446"/>
                      <a:pt x="0" y="6414"/>
                      <a:pt x="0" y="6382"/>
                    </a:cubicBezTo>
                    <a:lnTo>
                      <a:pt x="0" y="6382"/>
                    </a:lnTo>
                    <a:cubicBezTo>
                      <a:pt x="0" y="2857"/>
                      <a:pt x="2857" y="0"/>
                      <a:pt x="6382" y="0"/>
                    </a:cubicBezTo>
                    <a:lnTo>
                      <a:pt x="103061" y="0"/>
                    </a:lnTo>
                    <a:cubicBezTo>
                      <a:pt x="106475" y="49"/>
                      <a:pt x="109245" y="2778"/>
                      <a:pt x="109347" y="6191"/>
                    </a:cubicBezTo>
                    <a:lnTo>
                      <a:pt x="109347" y="6191"/>
                    </a:lnTo>
                    <a:cubicBezTo>
                      <a:pt x="109452" y="9662"/>
                      <a:pt x="106724" y="12560"/>
                      <a:pt x="103254" y="12665"/>
                    </a:cubicBezTo>
                    <a:cubicBezTo>
                      <a:pt x="103189" y="12667"/>
                      <a:pt x="103125" y="12668"/>
                      <a:pt x="103061"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3E4BDDF2-2197-344D-962E-6806C718D232}"/>
                  </a:ext>
                </a:extLst>
              </p:cNvPr>
              <p:cNvSpPr/>
              <p:nvPr/>
            </p:nvSpPr>
            <p:spPr>
              <a:xfrm>
                <a:off x="17452507" y="856297"/>
                <a:ext cx="109442" cy="12669"/>
              </a:xfrm>
              <a:custGeom>
                <a:avLst/>
                <a:gdLst>
                  <a:gd name="connsiteX0" fmla="*/ 103061 w 109442"/>
                  <a:gd name="connsiteY0" fmla="*/ 12668 h 12669"/>
                  <a:gd name="connsiteX1" fmla="*/ 6382 w 109442"/>
                  <a:gd name="connsiteY1" fmla="*/ 12668 h 12669"/>
                  <a:gd name="connsiteX2" fmla="*/ 1 w 109442"/>
                  <a:gd name="connsiteY2" fmla="*/ 6478 h 12669"/>
                  <a:gd name="connsiteX3" fmla="*/ 0 w 109442"/>
                  <a:gd name="connsiteY3" fmla="*/ 6382 h 12669"/>
                  <a:gd name="connsiteX4" fmla="*/ 0 w 109442"/>
                  <a:gd name="connsiteY4" fmla="*/ 6382 h 12669"/>
                  <a:gd name="connsiteX5" fmla="*/ 6382 w 109442"/>
                  <a:gd name="connsiteY5" fmla="*/ 0 h 12669"/>
                  <a:gd name="connsiteX6" fmla="*/ 103061 w 109442"/>
                  <a:gd name="connsiteY6" fmla="*/ 0 h 12669"/>
                  <a:gd name="connsiteX7" fmla="*/ 109442 w 109442"/>
                  <a:gd name="connsiteY7" fmla="*/ 6382 h 12669"/>
                  <a:gd name="connsiteX8" fmla="*/ 109442 w 109442"/>
                  <a:gd name="connsiteY8" fmla="*/ 6382 h 12669"/>
                  <a:gd name="connsiteX9" fmla="*/ 103157 w 109442"/>
                  <a:gd name="connsiteY9" fmla="*/ 12669 h 12669"/>
                  <a:gd name="connsiteX10" fmla="*/ 103061 w 109442"/>
                  <a:gd name="connsiteY10" fmla="*/ 12668 h 1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442" h="12669">
                    <a:moveTo>
                      <a:pt x="103061" y="12668"/>
                    </a:moveTo>
                    <a:lnTo>
                      <a:pt x="6382" y="12668"/>
                    </a:lnTo>
                    <a:cubicBezTo>
                      <a:pt x="2910" y="12721"/>
                      <a:pt x="53" y="9949"/>
                      <a:pt x="1" y="6478"/>
                    </a:cubicBezTo>
                    <a:cubicBezTo>
                      <a:pt x="0" y="6446"/>
                      <a:pt x="0" y="6414"/>
                      <a:pt x="0" y="6382"/>
                    </a:cubicBezTo>
                    <a:lnTo>
                      <a:pt x="0" y="6382"/>
                    </a:lnTo>
                    <a:cubicBezTo>
                      <a:pt x="0" y="2857"/>
                      <a:pt x="2857" y="0"/>
                      <a:pt x="6382" y="0"/>
                    </a:cubicBezTo>
                    <a:lnTo>
                      <a:pt x="103061" y="0"/>
                    </a:lnTo>
                    <a:cubicBezTo>
                      <a:pt x="106585" y="0"/>
                      <a:pt x="109442" y="2857"/>
                      <a:pt x="109442" y="6382"/>
                    </a:cubicBezTo>
                    <a:lnTo>
                      <a:pt x="109442" y="6382"/>
                    </a:lnTo>
                    <a:cubicBezTo>
                      <a:pt x="109443" y="9854"/>
                      <a:pt x="106629" y="12669"/>
                      <a:pt x="103157" y="12669"/>
                    </a:cubicBezTo>
                    <a:cubicBezTo>
                      <a:pt x="103125" y="12669"/>
                      <a:pt x="103093" y="12669"/>
                      <a:pt x="103061"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15" name="Freeform 214">
                <a:extLst>
                  <a:ext uri="{FF2B5EF4-FFF2-40B4-BE49-F238E27FC236}">
                    <a16:creationId xmlns:a16="http://schemas.microsoft.com/office/drawing/2014/main" id="{C193EB56-8351-2244-AC8B-7740AD1EBE41}"/>
                  </a:ext>
                </a:extLst>
              </p:cNvPr>
              <p:cNvSpPr/>
              <p:nvPr/>
            </p:nvSpPr>
            <p:spPr>
              <a:xfrm>
                <a:off x="17452508" y="880586"/>
                <a:ext cx="109347" cy="12668"/>
              </a:xfrm>
              <a:custGeom>
                <a:avLst/>
                <a:gdLst>
                  <a:gd name="connsiteX0" fmla="*/ 104680 w 109347"/>
                  <a:gd name="connsiteY0" fmla="*/ 0 h 12668"/>
                  <a:gd name="connsiteX1" fmla="*/ 109347 w 109347"/>
                  <a:gd name="connsiteY1" fmla="*/ 0 h 12668"/>
                  <a:gd name="connsiteX2" fmla="*/ 109347 w 109347"/>
                  <a:gd name="connsiteY2" fmla="*/ 12668 h 12668"/>
                  <a:gd name="connsiteX3" fmla="*/ 104680 w 109347"/>
                  <a:gd name="connsiteY3" fmla="*/ 12668 h 12668"/>
                  <a:gd name="connsiteX4" fmla="*/ 4667 w 109347"/>
                  <a:gd name="connsiteY4" fmla="*/ 12668 h 12668"/>
                  <a:gd name="connsiteX5" fmla="*/ 0 w 109347"/>
                  <a:gd name="connsiteY5" fmla="*/ 12668 h 12668"/>
                  <a:gd name="connsiteX6" fmla="*/ 0 w 109347"/>
                  <a:gd name="connsiteY6" fmla="*/ 0 h 12668"/>
                  <a:gd name="connsiteX7" fmla="*/ 4667 w 109347"/>
                  <a:gd name="connsiteY7" fmla="*/ 0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47" h="12668">
                    <a:moveTo>
                      <a:pt x="104680" y="0"/>
                    </a:moveTo>
                    <a:cubicBezTo>
                      <a:pt x="107258" y="0"/>
                      <a:pt x="109347" y="0"/>
                      <a:pt x="109347" y="0"/>
                    </a:cubicBezTo>
                    <a:lnTo>
                      <a:pt x="109347" y="12668"/>
                    </a:lnTo>
                    <a:cubicBezTo>
                      <a:pt x="109347" y="12668"/>
                      <a:pt x="107257" y="12668"/>
                      <a:pt x="104680" y="12668"/>
                    </a:cubicBezTo>
                    <a:lnTo>
                      <a:pt x="4667" y="12668"/>
                    </a:lnTo>
                    <a:cubicBezTo>
                      <a:pt x="2090" y="12668"/>
                      <a:pt x="0" y="12668"/>
                      <a:pt x="0" y="12668"/>
                    </a:cubicBezTo>
                    <a:lnTo>
                      <a:pt x="0" y="0"/>
                    </a:lnTo>
                    <a:cubicBezTo>
                      <a:pt x="0" y="0"/>
                      <a:pt x="2090" y="0"/>
                      <a:pt x="4667" y="0"/>
                    </a:cubicBezTo>
                    <a:close/>
                  </a:path>
                </a:pathLst>
              </a:custGeom>
              <a:solidFill>
                <a:srgbClr val="283757">
                  <a:alpha val="97000"/>
                </a:srgbClr>
              </a:solidFill>
              <a:ln w="9525" cap="flat">
                <a:no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47A44E6B-EDBF-BA4A-93F3-FBB06D29F67F}"/>
                  </a:ext>
                </a:extLst>
              </p:cNvPr>
              <p:cNvSpPr/>
              <p:nvPr/>
            </p:nvSpPr>
            <p:spPr>
              <a:xfrm>
                <a:off x="17452507" y="904875"/>
                <a:ext cx="109442" cy="12763"/>
              </a:xfrm>
              <a:custGeom>
                <a:avLst/>
                <a:gdLst>
                  <a:gd name="connsiteX0" fmla="*/ 103061 w 109442"/>
                  <a:gd name="connsiteY0" fmla="*/ 12763 h 12763"/>
                  <a:gd name="connsiteX1" fmla="*/ 6382 w 109442"/>
                  <a:gd name="connsiteY1" fmla="*/ 12763 h 12763"/>
                  <a:gd name="connsiteX2" fmla="*/ 0 w 109442"/>
                  <a:gd name="connsiteY2" fmla="*/ 6382 h 12763"/>
                  <a:gd name="connsiteX3" fmla="*/ 0 w 109442"/>
                  <a:gd name="connsiteY3" fmla="*/ 6382 h 12763"/>
                  <a:gd name="connsiteX4" fmla="*/ 6382 w 109442"/>
                  <a:gd name="connsiteY4" fmla="*/ 0 h 12763"/>
                  <a:gd name="connsiteX5" fmla="*/ 103061 w 109442"/>
                  <a:gd name="connsiteY5" fmla="*/ 0 h 12763"/>
                  <a:gd name="connsiteX6" fmla="*/ 109442 w 109442"/>
                  <a:gd name="connsiteY6" fmla="*/ 6382 h 12763"/>
                  <a:gd name="connsiteX7" fmla="*/ 109442 w 109442"/>
                  <a:gd name="connsiteY7" fmla="*/ 6382 h 12763"/>
                  <a:gd name="connsiteX8" fmla="*/ 103061 w 109442"/>
                  <a:gd name="connsiteY8" fmla="*/ 12763 h 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442" h="12763">
                    <a:moveTo>
                      <a:pt x="103061" y="12763"/>
                    </a:moveTo>
                    <a:lnTo>
                      <a:pt x="6382" y="12763"/>
                    </a:lnTo>
                    <a:cubicBezTo>
                      <a:pt x="2857" y="12763"/>
                      <a:pt x="0" y="9906"/>
                      <a:pt x="0" y="6382"/>
                    </a:cubicBezTo>
                    <a:lnTo>
                      <a:pt x="0" y="6382"/>
                    </a:lnTo>
                    <a:cubicBezTo>
                      <a:pt x="0" y="2857"/>
                      <a:pt x="2857" y="0"/>
                      <a:pt x="6382" y="0"/>
                    </a:cubicBezTo>
                    <a:lnTo>
                      <a:pt x="103061" y="0"/>
                    </a:lnTo>
                    <a:cubicBezTo>
                      <a:pt x="106585" y="0"/>
                      <a:pt x="109442" y="2857"/>
                      <a:pt x="109442" y="6382"/>
                    </a:cubicBezTo>
                    <a:lnTo>
                      <a:pt x="109442" y="6382"/>
                    </a:lnTo>
                    <a:cubicBezTo>
                      <a:pt x="109442" y="9906"/>
                      <a:pt x="106585" y="12763"/>
                      <a:pt x="103061" y="12763"/>
                    </a:cubicBezTo>
                    <a:close/>
                  </a:path>
                </a:pathLst>
              </a:custGeom>
              <a:solidFill>
                <a:srgbClr val="283757">
                  <a:alpha val="97000"/>
                </a:srgbClr>
              </a:solidFill>
              <a:ln w="9525" cap="flat">
                <a:no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D0306395-8128-DC4C-A1E1-BD1CB847BB6D}"/>
                  </a:ext>
                </a:extLst>
              </p:cNvPr>
              <p:cNvSpPr/>
              <p:nvPr/>
            </p:nvSpPr>
            <p:spPr>
              <a:xfrm>
                <a:off x="17452507" y="953452"/>
                <a:ext cx="109442" cy="12763"/>
              </a:xfrm>
              <a:custGeom>
                <a:avLst/>
                <a:gdLst>
                  <a:gd name="connsiteX0" fmla="*/ 103061 w 109442"/>
                  <a:gd name="connsiteY0" fmla="*/ 12764 h 12763"/>
                  <a:gd name="connsiteX1" fmla="*/ 6382 w 109442"/>
                  <a:gd name="connsiteY1" fmla="*/ 12764 h 12763"/>
                  <a:gd name="connsiteX2" fmla="*/ 0 w 109442"/>
                  <a:gd name="connsiteY2" fmla="*/ 6382 h 12763"/>
                  <a:gd name="connsiteX3" fmla="*/ 0 w 109442"/>
                  <a:gd name="connsiteY3" fmla="*/ 6382 h 12763"/>
                  <a:gd name="connsiteX4" fmla="*/ 6382 w 109442"/>
                  <a:gd name="connsiteY4" fmla="*/ 0 h 12763"/>
                  <a:gd name="connsiteX5" fmla="*/ 103061 w 109442"/>
                  <a:gd name="connsiteY5" fmla="*/ 0 h 12763"/>
                  <a:gd name="connsiteX6" fmla="*/ 109442 w 109442"/>
                  <a:gd name="connsiteY6" fmla="*/ 6382 h 12763"/>
                  <a:gd name="connsiteX7" fmla="*/ 109442 w 109442"/>
                  <a:gd name="connsiteY7" fmla="*/ 6382 h 12763"/>
                  <a:gd name="connsiteX8" fmla="*/ 103061 w 109442"/>
                  <a:gd name="connsiteY8" fmla="*/ 12763 h 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442" h="12763">
                    <a:moveTo>
                      <a:pt x="103061" y="12764"/>
                    </a:moveTo>
                    <a:lnTo>
                      <a:pt x="6382" y="12764"/>
                    </a:lnTo>
                    <a:cubicBezTo>
                      <a:pt x="2857" y="12764"/>
                      <a:pt x="0" y="9906"/>
                      <a:pt x="0" y="6382"/>
                    </a:cubicBezTo>
                    <a:lnTo>
                      <a:pt x="0" y="6382"/>
                    </a:lnTo>
                    <a:cubicBezTo>
                      <a:pt x="0" y="2857"/>
                      <a:pt x="2857" y="0"/>
                      <a:pt x="6382" y="0"/>
                    </a:cubicBezTo>
                    <a:lnTo>
                      <a:pt x="103061" y="0"/>
                    </a:lnTo>
                    <a:cubicBezTo>
                      <a:pt x="106585" y="0"/>
                      <a:pt x="109442" y="2857"/>
                      <a:pt x="109442" y="6382"/>
                    </a:cubicBezTo>
                    <a:lnTo>
                      <a:pt x="109442" y="6382"/>
                    </a:lnTo>
                    <a:cubicBezTo>
                      <a:pt x="109442" y="9906"/>
                      <a:pt x="106585" y="12763"/>
                      <a:pt x="103061" y="12763"/>
                    </a:cubicBezTo>
                    <a:close/>
                  </a:path>
                </a:pathLst>
              </a:custGeom>
              <a:solidFill>
                <a:srgbClr val="283757">
                  <a:alpha val="97000"/>
                </a:srgbClr>
              </a:solidFill>
              <a:ln w="9525" cap="flat">
                <a:noFill/>
                <a:prstDash val="solid"/>
                <a:miter/>
              </a:ln>
            </p:spPr>
            <p:txBody>
              <a:bodyPr rtlCol="0" anchor="ctr"/>
              <a:lstStyle/>
              <a:p>
                <a:endParaRPr lang="en-US"/>
              </a:p>
            </p:txBody>
          </p:sp>
        </p:grpSp>
        <p:sp>
          <p:nvSpPr>
            <p:cNvPr id="173" name="Freeform 172">
              <a:extLst>
                <a:ext uri="{FF2B5EF4-FFF2-40B4-BE49-F238E27FC236}">
                  <a16:creationId xmlns:a16="http://schemas.microsoft.com/office/drawing/2014/main" id="{3AA8C69C-EC10-6344-A2F5-4174C46DFFB7}"/>
                </a:ext>
              </a:extLst>
            </p:cNvPr>
            <p:cNvSpPr/>
            <p:nvPr/>
          </p:nvSpPr>
          <p:spPr>
            <a:xfrm>
              <a:off x="17375355" y="354901"/>
              <a:ext cx="213550" cy="31527"/>
            </a:xfrm>
            <a:custGeom>
              <a:avLst/>
              <a:gdLst>
                <a:gd name="connsiteX0" fmla="*/ 15716 w 213550"/>
                <a:gd name="connsiteY0" fmla="*/ 31528 h 31527"/>
                <a:gd name="connsiteX1" fmla="*/ 197834 w 213550"/>
                <a:gd name="connsiteY1" fmla="*/ 31528 h 31527"/>
                <a:gd name="connsiteX2" fmla="*/ 213551 w 213550"/>
                <a:gd name="connsiteY2" fmla="*/ 15812 h 31527"/>
                <a:gd name="connsiteX3" fmla="*/ 213551 w 213550"/>
                <a:gd name="connsiteY3" fmla="*/ 15716 h 31527"/>
                <a:gd name="connsiteX4" fmla="*/ 213551 w 213550"/>
                <a:gd name="connsiteY4" fmla="*/ 15716 h 31527"/>
                <a:gd name="connsiteX5" fmla="*/ 197834 w 213550"/>
                <a:gd name="connsiteY5" fmla="*/ 0 h 31527"/>
                <a:gd name="connsiteX6" fmla="*/ 15716 w 213550"/>
                <a:gd name="connsiteY6" fmla="*/ 0 h 31527"/>
                <a:gd name="connsiteX7" fmla="*/ 0 w 213550"/>
                <a:gd name="connsiteY7" fmla="*/ 15716 h 31527"/>
                <a:gd name="connsiteX8" fmla="*/ 0 w 213550"/>
                <a:gd name="connsiteY8" fmla="*/ 15716 h 31527"/>
                <a:gd name="connsiteX9" fmla="*/ 15621 w 213550"/>
                <a:gd name="connsiteY9" fmla="*/ 31527 h 31527"/>
                <a:gd name="connsiteX10" fmla="*/ 15717 w 213550"/>
                <a:gd name="connsiteY10" fmla="*/ 31528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550" h="31527">
                  <a:moveTo>
                    <a:pt x="15716" y="31528"/>
                  </a:moveTo>
                  <a:lnTo>
                    <a:pt x="197834" y="31528"/>
                  </a:lnTo>
                  <a:cubicBezTo>
                    <a:pt x="206514" y="31528"/>
                    <a:pt x="213551" y="24492"/>
                    <a:pt x="213551" y="15812"/>
                  </a:cubicBezTo>
                  <a:cubicBezTo>
                    <a:pt x="213551" y="15780"/>
                    <a:pt x="213551" y="15748"/>
                    <a:pt x="213551" y="15716"/>
                  </a:cubicBezTo>
                  <a:lnTo>
                    <a:pt x="213551" y="15716"/>
                  </a:lnTo>
                  <a:cubicBezTo>
                    <a:pt x="213551" y="7036"/>
                    <a:pt x="206514" y="0"/>
                    <a:pt x="197834" y="0"/>
                  </a:cubicBezTo>
                  <a:lnTo>
                    <a:pt x="15716" y="0"/>
                  </a:lnTo>
                  <a:cubicBezTo>
                    <a:pt x="7037" y="0"/>
                    <a:pt x="0" y="7036"/>
                    <a:pt x="0" y="15716"/>
                  </a:cubicBezTo>
                  <a:lnTo>
                    <a:pt x="0" y="15716"/>
                  </a:lnTo>
                  <a:cubicBezTo>
                    <a:pt x="-52" y="24396"/>
                    <a:pt x="6941" y="31475"/>
                    <a:pt x="15621" y="31527"/>
                  </a:cubicBezTo>
                  <a:cubicBezTo>
                    <a:pt x="15653" y="31528"/>
                    <a:pt x="15685" y="31528"/>
                    <a:pt x="15717" y="31528"/>
                  </a:cubicBezTo>
                  <a:close/>
                </a:path>
              </a:pathLst>
            </a:custGeom>
            <a:solidFill>
              <a:srgbClr val="A8A1CF"/>
            </a:solidFill>
            <a:ln w="9525" cap="flat">
              <a:noFill/>
              <a:prstDash val="solid"/>
              <a:miter/>
            </a:ln>
          </p:spPr>
          <p:txBody>
            <a:bodyPr rtlCol="0" anchor="ctr"/>
            <a:lstStyle/>
            <a:p>
              <a:endParaRPr lang="en-US"/>
            </a:p>
          </p:txBody>
        </p:sp>
        <p:sp>
          <p:nvSpPr>
            <p:cNvPr id="174" name="Freeform 173">
              <a:extLst>
                <a:ext uri="{FF2B5EF4-FFF2-40B4-BE49-F238E27FC236}">
                  <a16:creationId xmlns:a16="http://schemas.microsoft.com/office/drawing/2014/main" id="{EBFD7E14-9BC3-5840-9FB0-78A8B98BE20A}"/>
                </a:ext>
              </a:extLst>
            </p:cNvPr>
            <p:cNvSpPr/>
            <p:nvPr/>
          </p:nvSpPr>
          <p:spPr>
            <a:xfrm>
              <a:off x="17375355" y="354901"/>
              <a:ext cx="213550" cy="31527"/>
            </a:xfrm>
            <a:custGeom>
              <a:avLst/>
              <a:gdLst>
                <a:gd name="connsiteX0" fmla="*/ 15716 w 213550"/>
                <a:gd name="connsiteY0" fmla="*/ 31528 h 31527"/>
                <a:gd name="connsiteX1" fmla="*/ 197834 w 213550"/>
                <a:gd name="connsiteY1" fmla="*/ 31528 h 31527"/>
                <a:gd name="connsiteX2" fmla="*/ 213551 w 213550"/>
                <a:gd name="connsiteY2" fmla="*/ 15812 h 31527"/>
                <a:gd name="connsiteX3" fmla="*/ 213551 w 213550"/>
                <a:gd name="connsiteY3" fmla="*/ 15716 h 31527"/>
                <a:gd name="connsiteX4" fmla="*/ 213551 w 213550"/>
                <a:gd name="connsiteY4" fmla="*/ 15716 h 31527"/>
                <a:gd name="connsiteX5" fmla="*/ 197834 w 213550"/>
                <a:gd name="connsiteY5" fmla="*/ 0 h 31527"/>
                <a:gd name="connsiteX6" fmla="*/ 15716 w 213550"/>
                <a:gd name="connsiteY6" fmla="*/ 0 h 31527"/>
                <a:gd name="connsiteX7" fmla="*/ 0 w 213550"/>
                <a:gd name="connsiteY7" fmla="*/ 15716 h 31527"/>
                <a:gd name="connsiteX8" fmla="*/ 0 w 213550"/>
                <a:gd name="connsiteY8" fmla="*/ 15716 h 31527"/>
                <a:gd name="connsiteX9" fmla="*/ 15621 w 213550"/>
                <a:gd name="connsiteY9" fmla="*/ 31527 h 31527"/>
                <a:gd name="connsiteX10" fmla="*/ 15717 w 213550"/>
                <a:gd name="connsiteY10" fmla="*/ 31528 h 31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3550" h="31527">
                  <a:moveTo>
                    <a:pt x="15716" y="31528"/>
                  </a:moveTo>
                  <a:lnTo>
                    <a:pt x="197834" y="31528"/>
                  </a:lnTo>
                  <a:cubicBezTo>
                    <a:pt x="206514" y="31528"/>
                    <a:pt x="213551" y="24492"/>
                    <a:pt x="213551" y="15812"/>
                  </a:cubicBezTo>
                  <a:cubicBezTo>
                    <a:pt x="213551" y="15780"/>
                    <a:pt x="213551" y="15748"/>
                    <a:pt x="213551" y="15716"/>
                  </a:cubicBezTo>
                  <a:lnTo>
                    <a:pt x="213551" y="15716"/>
                  </a:lnTo>
                  <a:cubicBezTo>
                    <a:pt x="213551" y="7036"/>
                    <a:pt x="206514" y="0"/>
                    <a:pt x="197834" y="0"/>
                  </a:cubicBezTo>
                  <a:lnTo>
                    <a:pt x="15716" y="0"/>
                  </a:lnTo>
                  <a:cubicBezTo>
                    <a:pt x="7037" y="0"/>
                    <a:pt x="0" y="7036"/>
                    <a:pt x="0" y="15716"/>
                  </a:cubicBezTo>
                  <a:lnTo>
                    <a:pt x="0" y="15716"/>
                  </a:lnTo>
                  <a:cubicBezTo>
                    <a:pt x="-52" y="24396"/>
                    <a:pt x="6941" y="31475"/>
                    <a:pt x="15621" y="31527"/>
                  </a:cubicBezTo>
                  <a:cubicBezTo>
                    <a:pt x="15653" y="31528"/>
                    <a:pt x="15685" y="31528"/>
                    <a:pt x="15717" y="31528"/>
                  </a:cubicBezTo>
                  <a:close/>
                </a:path>
              </a:pathLst>
            </a:custGeom>
            <a:solidFill>
              <a:srgbClr val="A8A1CF"/>
            </a:solidFill>
            <a:ln w="9525" cap="flat">
              <a:noFill/>
              <a:prstDash val="solid"/>
              <a:miter/>
            </a:ln>
          </p:spPr>
          <p:txBody>
            <a:bodyPr rtlCol="0" anchor="ctr"/>
            <a:lstStyle/>
            <a:p>
              <a:endParaRPr lang="en-US"/>
            </a:p>
          </p:txBody>
        </p:sp>
        <p:sp>
          <p:nvSpPr>
            <p:cNvPr id="175" name="Freeform 174">
              <a:extLst>
                <a:ext uri="{FF2B5EF4-FFF2-40B4-BE49-F238E27FC236}">
                  <a16:creationId xmlns:a16="http://schemas.microsoft.com/office/drawing/2014/main" id="{7D9A1FF0-7E3E-8844-8EE1-814A53623467}"/>
                </a:ext>
              </a:extLst>
            </p:cNvPr>
            <p:cNvSpPr/>
            <p:nvPr/>
          </p:nvSpPr>
          <p:spPr>
            <a:xfrm rot="10800000">
              <a:off x="17455556" y="403669"/>
              <a:ext cx="133350" cy="31432"/>
            </a:xfrm>
            <a:custGeom>
              <a:avLst/>
              <a:gdLst>
                <a:gd name="connsiteX0" fmla="*/ 121825 w 133350"/>
                <a:gd name="connsiteY0" fmla="*/ 0 h 31432"/>
                <a:gd name="connsiteX1" fmla="*/ 133350 w 133350"/>
                <a:gd name="connsiteY1" fmla="*/ 0 h 31432"/>
                <a:gd name="connsiteX2" fmla="*/ 133350 w 133350"/>
                <a:gd name="connsiteY2" fmla="*/ 31433 h 31432"/>
                <a:gd name="connsiteX3" fmla="*/ 121825 w 133350"/>
                <a:gd name="connsiteY3" fmla="*/ 31433 h 31432"/>
                <a:gd name="connsiteX4" fmla="*/ 11525 w 133350"/>
                <a:gd name="connsiteY4" fmla="*/ 31433 h 31432"/>
                <a:gd name="connsiteX5" fmla="*/ 0 w 133350"/>
                <a:gd name="connsiteY5" fmla="*/ 31433 h 31432"/>
                <a:gd name="connsiteX6" fmla="*/ 0 w 133350"/>
                <a:gd name="connsiteY6" fmla="*/ 0 h 31432"/>
                <a:gd name="connsiteX7" fmla="*/ 11525 w 133350"/>
                <a:gd name="connsiteY7" fmla="*/ 0 h 31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350" h="31432">
                  <a:moveTo>
                    <a:pt x="121825" y="0"/>
                  </a:moveTo>
                  <a:cubicBezTo>
                    <a:pt x="128190" y="0"/>
                    <a:pt x="133350" y="0"/>
                    <a:pt x="133350" y="0"/>
                  </a:cubicBezTo>
                  <a:lnTo>
                    <a:pt x="133350" y="31433"/>
                  </a:lnTo>
                  <a:cubicBezTo>
                    <a:pt x="133350" y="31433"/>
                    <a:pt x="128190" y="31433"/>
                    <a:pt x="121825" y="31433"/>
                  </a:cubicBezTo>
                  <a:lnTo>
                    <a:pt x="11525" y="31433"/>
                  </a:lnTo>
                  <a:cubicBezTo>
                    <a:pt x="5160" y="31433"/>
                    <a:pt x="0" y="31433"/>
                    <a:pt x="0" y="31433"/>
                  </a:cubicBezTo>
                  <a:lnTo>
                    <a:pt x="0" y="0"/>
                  </a:lnTo>
                  <a:cubicBezTo>
                    <a:pt x="0" y="0"/>
                    <a:pt x="5160" y="0"/>
                    <a:pt x="11525" y="0"/>
                  </a:cubicBezTo>
                  <a:close/>
                </a:path>
              </a:pathLst>
            </a:custGeom>
            <a:solidFill>
              <a:srgbClr val="505FAB"/>
            </a:solidFill>
            <a:ln w="9525" cap="flat">
              <a:noFill/>
              <a:prstDash val="solid"/>
              <a:miter/>
            </a:ln>
          </p:spPr>
          <p:txBody>
            <a:bodyPr rtlCol="0" anchor="ctr"/>
            <a:lstStyle/>
            <a:p>
              <a:endParaRPr lang="en-US"/>
            </a:p>
          </p:txBody>
        </p:sp>
        <p:sp>
          <p:nvSpPr>
            <p:cNvPr id="176" name="Freeform 175">
              <a:extLst>
                <a:ext uri="{FF2B5EF4-FFF2-40B4-BE49-F238E27FC236}">
                  <a16:creationId xmlns:a16="http://schemas.microsoft.com/office/drawing/2014/main" id="{6D077BAF-7859-6A4F-8DC6-72A82CE9E126}"/>
                </a:ext>
              </a:extLst>
            </p:cNvPr>
            <p:cNvSpPr/>
            <p:nvPr/>
          </p:nvSpPr>
          <p:spPr>
            <a:xfrm>
              <a:off x="17508610" y="452437"/>
              <a:ext cx="80295" cy="31433"/>
            </a:xfrm>
            <a:custGeom>
              <a:avLst/>
              <a:gdLst>
                <a:gd name="connsiteX0" fmla="*/ 15812 w 80295"/>
                <a:gd name="connsiteY0" fmla="*/ 31433 h 31433"/>
                <a:gd name="connsiteX1" fmla="*/ 64579 w 80295"/>
                <a:gd name="connsiteY1" fmla="*/ 31433 h 31433"/>
                <a:gd name="connsiteX2" fmla="*/ 80296 w 80295"/>
                <a:gd name="connsiteY2" fmla="*/ 15717 h 31433"/>
                <a:gd name="connsiteX3" fmla="*/ 80296 w 80295"/>
                <a:gd name="connsiteY3" fmla="*/ 15717 h 31433"/>
                <a:gd name="connsiteX4" fmla="*/ 64579 w 80295"/>
                <a:gd name="connsiteY4" fmla="*/ 0 h 31433"/>
                <a:gd name="connsiteX5" fmla="*/ 15812 w 80295"/>
                <a:gd name="connsiteY5" fmla="*/ 0 h 31433"/>
                <a:gd name="connsiteX6" fmla="*/ 0 w 80295"/>
                <a:gd name="connsiteY6" fmla="*/ 15621 h 31433"/>
                <a:gd name="connsiteX7" fmla="*/ 0 w 80295"/>
                <a:gd name="connsiteY7" fmla="*/ 15717 h 31433"/>
                <a:gd name="connsiteX8" fmla="*/ 0 w 80295"/>
                <a:gd name="connsiteY8" fmla="*/ 15717 h 31433"/>
                <a:gd name="connsiteX9" fmla="*/ 15716 w 80295"/>
                <a:gd name="connsiteY9" fmla="*/ 31433 h 31433"/>
                <a:gd name="connsiteX10" fmla="*/ 15812 w 80295"/>
                <a:gd name="connsiteY10" fmla="*/ 31433 h 3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295" h="31433">
                  <a:moveTo>
                    <a:pt x="15812" y="31433"/>
                  </a:moveTo>
                  <a:lnTo>
                    <a:pt x="64579" y="31433"/>
                  </a:lnTo>
                  <a:cubicBezTo>
                    <a:pt x="73259" y="31433"/>
                    <a:pt x="80296" y="24396"/>
                    <a:pt x="80296" y="15717"/>
                  </a:cubicBezTo>
                  <a:lnTo>
                    <a:pt x="80296" y="15717"/>
                  </a:lnTo>
                  <a:cubicBezTo>
                    <a:pt x="80296" y="7037"/>
                    <a:pt x="73259" y="0"/>
                    <a:pt x="64579" y="0"/>
                  </a:cubicBezTo>
                  <a:lnTo>
                    <a:pt x="15812" y="0"/>
                  </a:lnTo>
                  <a:cubicBezTo>
                    <a:pt x="7132" y="-52"/>
                    <a:pt x="53" y="6941"/>
                    <a:pt x="0" y="15621"/>
                  </a:cubicBezTo>
                  <a:cubicBezTo>
                    <a:pt x="0" y="15653"/>
                    <a:pt x="0" y="15685"/>
                    <a:pt x="0" y="15717"/>
                  </a:cubicBezTo>
                  <a:lnTo>
                    <a:pt x="0" y="15717"/>
                  </a:lnTo>
                  <a:cubicBezTo>
                    <a:pt x="0" y="24396"/>
                    <a:pt x="7036" y="31433"/>
                    <a:pt x="15716" y="31433"/>
                  </a:cubicBezTo>
                  <a:cubicBezTo>
                    <a:pt x="15748" y="31433"/>
                    <a:pt x="15780" y="31433"/>
                    <a:pt x="15812" y="31433"/>
                  </a:cubicBezTo>
                  <a:close/>
                </a:path>
              </a:pathLst>
            </a:custGeom>
            <a:solidFill>
              <a:srgbClr val="DFC623"/>
            </a:solidFill>
            <a:ln w="9525" cap="flat">
              <a:noFill/>
              <a:prstDash val="solid"/>
              <a:miter/>
            </a:ln>
          </p:spPr>
          <p:txBody>
            <a:bodyPr rtlCol="0" anchor="ctr"/>
            <a:lstStyle/>
            <a:p>
              <a:endParaRPr lang="en-US"/>
            </a:p>
          </p:txBody>
        </p:sp>
        <p:grpSp>
          <p:nvGrpSpPr>
            <p:cNvPr id="177" name="Graphic 5">
              <a:extLst>
                <a:ext uri="{FF2B5EF4-FFF2-40B4-BE49-F238E27FC236}">
                  <a16:creationId xmlns:a16="http://schemas.microsoft.com/office/drawing/2014/main" id="{466EB0FB-D638-654E-98E6-1431A9086C70}"/>
                </a:ext>
              </a:extLst>
            </p:cNvPr>
            <p:cNvGrpSpPr/>
            <p:nvPr/>
          </p:nvGrpSpPr>
          <p:grpSpPr>
            <a:xfrm>
              <a:off x="17005404" y="357568"/>
              <a:ext cx="313468" cy="133921"/>
              <a:chOff x="17005404" y="357568"/>
              <a:chExt cx="313468" cy="133921"/>
            </a:xfrm>
            <a:solidFill>
              <a:srgbClr val="283757">
                <a:alpha val="97000"/>
              </a:srgbClr>
            </a:solidFill>
          </p:grpSpPr>
          <p:sp>
            <p:nvSpPr>
              <p:cNvPr id="207" name="Freeform 206">
                <a:extLst>
                  <a:ext uri="{FF2B5EF4-FFF2-40B4-BE49-F238E27FC236}">
                    <a16:creationId xmlns:a16="http://schemas.microsoft.com/office/drawing/2014/main" id="{B5B50D6D-F925-8246-924A-5132A1850454}"/>
                  </a:ext>
                </a:extLst>
              </p:cNvPr>
              <p:cNvSpPr/>
              <p:nvPr/>
            </p:nvSpPr>
            <p:spPr>
              <a:xfrm>
                <a:off x="17033788" y="357568"/>
                <a:ext cx="285084" cy="12669"/>
              </a:xfrm>
              <a:custGeom>
                <a:avLst/>
                <a:gdLst>
                  <a:gd name="connsiteX0" fmla="*/ 278797 w 285084"/>
                  <a:gd name="connsiteY0" fmla="*/ 12668 h 12669"/>
                  <a:gd name="connsiteX1" fmla="*/ 6287 w 285084"/>
                  <a:gd name="connsiteY1" fmla="*/ 12668 h 12669"/>
                  <a:gd name="connsiteX2" fmla="*/ 1 w 285084"/>
                  <a:gd name="connsiteY2" fmla="*/ 6574 h 12669"/>
                  <a:gd name="connsiteX3" fmla="*/ 1 w 285084"/>
                  <a:gd name="connsiteY3" fmla="*/ 6382 h 12669"/>
                  <a:gd name="connsiteX4" fmla="*/ 1 w 285084"/>
                  <a:gd name="connsiteY4" fmla="*/ 6382 h 12669"/>
                  <a:gd name="connsiteX5" fmla="*/ 6191 w 285084"/>
                  <a:gd name="connsiteY5" fmla="*/ 1 h 12669"/>
                  <a:gd name="connsiteX6" fmla="*/ 6287 w 285084"/>
                  <a:gd name="connsiteY6" fmla="*/ 0 h 12669"/>
                  <a:gd name="connsiteX7" fmla="*/ 278797 w 285084"/>
                  <a:gd name="connsiteY7" fmla="*/ 0 h 12669"/>
                  <a:gd name="connsiteX8" fmla="*/ 285085 w 285084"/>
                  <a:gd name="connsiteY8" fmla="*/ 6286 h 12669"/>
                  <a:gd name="connsiteX9" fmla="*/ 285084 w 285084"/>
                  <a:gd name="connsiteY9" fmla="*/ 6382 h 12669"/>
                  <a:gd name="connsiteX10" fmla="*/ 285084 w 285084"/>
                  <a:gd name="connsiteY10" fmla="*/ 6382 h 12669"/>
                  <a:gd name="connsiteX11" fmla="*/ 278990 w 285084"/>
                  <a:gd name="connsiteY11" fmla="*/ 12668 h 12669"/>
                  <a:gd name="connsiteX12" fmla="*/ 278798 w 285084"/>
                  <a:gd name="connsiteY12" fmla="*/ 12668 h 1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5084" h="12669">
                    <a:moveTo>
                      <a:pt x="278797" y="12668"/>
                    </a:moveTo>
                    <a:lnTo>
                      <a:pt x="6287" y="12668"/>
                    </a:lnTo>
                    <a:cubicBezTo>
                      <a:pt x="2868" y="12721"/>
                      <a:pt x="54" y="9993"/>
                      <a:pt x="1" y="6574"/>
                    </a:cubicBezTo>
                    <a:cubicBezTo>
                      <a:pt x="0" y="6510"/>
                      <a:pt x="0" y="6446"/>
                      <a:pt x="1" y="6382"/>
                    </a:cubicBezTo>
                    <a:lnTo>
                      <a:pt x="1" y="6382"/>
                    </a:lnTo>
                    <a:cubicBezTo>
                      <a:pt x="-52" y="2910"/>
                      <a:pt x="2720" y="53"/>
                      <a:pt x="6191" y="1"/>
                    </a:cubicBezTo>
                    <a:cubicBezTo>
                      <a:pt x="6223" y="0"/>
                      <a:pt x="6255" y="0"/>
                      <a:pt x="6287" y="0"/>
                    </a:cubicBezTo>
                    <a:lnTo>
                      <a:pt x="278797" y="0"/>
                    </a:lnTo>
                    <a:cubicBezTo>
                      <a:pt x="282269" y="0"/>
                      <a:pt x="285084" y="2814"/>
                      <a:pt x="285085" y="6286"/>
                    </a:cubicBezTo>
                    <a:cubicBezTo>
                      <a:pt x="285085" y="6318"/>
                      <a:pt x="285084" y="6350"/>
                      <a:pt x="285084" y="6382"/>
                    </a:cubicBezTo>
                    <a:lnTo>
                      <a:pt x="285084" y="6382"/>
                    </a:lnTo>
                    <a:cubicBezTo>
                      <a:pt x="285137" y="9801"/>
                      <a:pt x="282408" y="12615"/>
                      <a:pt x="278990" y="12668"/>
                    </a:cubicBezTo>
                    <a:cubicBezTo>
                      <a:pt x="278926" y="12669"/>
                      <a:pt x="278862" y="12669"/>
                      <a:pt x="278798"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B95CE09D-6713-0B47-A0E2-B04A0D7210AA}"/>
                  </a:ext>
                </a:extLst>
              </p:cNvPr>
              <p:cNvSpPr/>
              <p:nvPr/>
            </p:nvSpPr>
            <p:spPr>
              <a:xfrm>
                <a:off x="17005404" y="381857"/>
                <a:ext cx="313468" cy="12763"/>
              </a:xfrm>
              <a:custGeom>
                <a:avLst/>
                <a:gdLst>
                  <a:gd name="connsiteX0" fmla="*/ 307181 w 313468"/>
                  <a:gd name="connsiteY0" fmla="*/ 12764 h 12763"/>
                  <a:gd name="connsiteX1" fmla="*/ 6382 w 313468"/>
                  <a:gd name="connsiteY1" fmla="*/ 12764 h 12763"/>
                  <a:gd name="connsiteX2" fmla="*/ 0 w 313468"/>
                  <a:gd name="connsiteY2" fmla="*/ 6382 h 12763"/>
                  <a:gd name="connsiteX3" fmla="*/ 0 w 313468"/>
                  <a:gd name="connsiteY3" fmla="*/ 6382 h 12763"/>
                  <a:gd name="connsiteX4" fmla="*/ 6382 w 313468"/>
                  <a:gd name="connsiteY4" fmla="*/ 0 h 12763"/>
                  <a:gd name="connsiteX5" fmla="*/ 307181 w 313468"/>
                  <a:gd name="connsiteY5" fmla="*/ 0 h 12763"/>
                  <a:gd name="connsiteX6" fmla="*/ 313468 w 313468"/>
                  <a:gd name="connsiteY6" fmla="*/ 6286 h 12763"/>
                  <a:gd name="connsiteX7" fmla="*/ 313468 w 313468"/>
                  <a:gd name="connsiteY7" fmla="*/ 6382 h 12763"/>
                  <a:gd name="connsiteX8" fmla="*/ 313468 w 313468"/>
                  <a:gd name="connsiteY8" fmla="*/ 6382 h 12763"/>
                  <a:gd name="connsiteX9" fmla="*/ 307277 w 313468"/>
                  <a:gd name="connsiteY9" fmla="*/ 12763 h 12763"/>
                  <a:gd name="connsiteX10" fmla="*/ 307181 w 313468"/>
                  <a:gd name="connsiteY10" fmla="*/ 12764 h 1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3468" h="12763">
                    <a:moveTo>
                      <a:pt x="307181" y="12764"/>
                    </a:moveTo>
                    <a:lnTo>
                      <a:pt x="6382" y="12764"/>
                    </a:lnTo>
                    <a:cubicBezTo>
                      <a:pt x="2857" y="12764"/>
                      <a:pt x="0" y="9906"/>
                      <a:pt x="0" y="6382"/>
                    </a:cubicBezTo>
                    <a:lnTo>
                      <a:pt x="0" y="6382"/>
                    </a:lnTo>
                    <a:cubicBezTo>
                      <a:pt x="0" y="2857"/>
                      <a:pt x="2857" y="0"/>
                      <a:pt x="6382" y="0"/>
                    </a:cubicBezTo>
                    <a:lnTo>
                      <a:pt x="307181" y="0"/>
                    </a:lnTo>
                    <a:cubicBezTo>
                      <a:pt x="310653" y="0"/>
                      <a:pt x="313468" y="2814"/>
                      <a:pt x="313468" y="6286"/>
                    </a:cubicBezTo>
                    <a:cubicBezTo>
                      <a:pt x="313468" y="6318"/>
                      <a:pt x="313468" y="6350"/>
                      <a:pt x="313468" y="6382"/>
                    </a:cubicBezTo>
                    <a:lnTo>
                      <a:pt x="313468" y="6382"/>
                    </a:lnTo>
                    <a:cubicBezTo>
                      <a:pt x="313520" y="9853"/>
                      <a:pt x="310749" y="12710"/>
                      <a:pt x="307277" y="12763"/>
                    </a:cubicBezTo>
                    <a:cubicBezTo>
                      <a:pt x="307245" y="12763"/>
                      <a:pt x="307213" y="12764"/>
                      <a:pt x="307181" y="12764"/>
                    </a:cubicBezTo>
                    <a:close/>
                  </a:path>
                </a:pathLst>
              </a:custGeom>
              <a:solidFill>
                <a:srgbClr val="283757">
                  <a:alpha val="97000"/>
                </a:srgbClr>
              </a:solidFill>
              <a:ln w="9525" cap="flat">
                <a:no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C8F4D52D-D8B1-274B-890F-2C27140FDCAF}"/>
                  </a:ext>
                </a:extLst>
              </p:cNvPr>
              <p:cNvSpPr/>
              <p:nvPr/>
            </p:nvSpPr>
            <p:spPr>
              <a:xfrm>
                <a:off x="17033788" y="430244"/>
                <a:ext cx="285084" cy="12668"/>
              </a:xfrm>
              <a:custGeom>
                <a:avLst/>
                <a:gdLst>
                  <a:gd name="connsiteX0" fmla="*/ 278797 w 285084"/>
                  <a:gd name="connsiteY0" fmla="*/ 12668 h 12668"/>
                  <a:gd name="connsiteX1" fmla="*/ 6287 w 285084"/>
                  <a:gd name="connsiteY1" fmla="*/ 12668 h 12668"/>
                  <a:gd name="connsiteX2" fmla="*/ 1 w 285084"/>
                  <a:gd name="connsiteY2" fmla="*/ 6382 h 12668"/>
                  <a:gd name="connsiteX3" fmla="*/ 1 w 285084"/>
                  <a:gd name="connsiteY3" fmla="*/ 6382 h 12668"/>
                  <a:gd name="connsiteX4" fmla="*/ 6191 w 285084"/>
                  <a:gd name="connsiteY4" fmla="*/ 1 h 12668"/>
                  <a:gd name="connsiteX5" fmla="*/ 6287 w 285084"/>
                  <a:gd name="connsiteY5" fmla="*/ 0 h 12668"/>
                  <a:gd name="connsiteX6" fmla="*/ 278797 w 285084"/>
                  <a:gd name="connsiteY6" fmla="*/ 0 h 12668"/>
                  <a:gd name="connsiteX7" fmla="*/ 285085 w 285084"/>
                  <a:gd name="connsiteY7" fmla="*/ 6286 h 12668"/>
                  <a:gd name="connsiteX8" fmla="*/ 285084 w 285084"/>
                  <a:gd name="connsiteY8" fmla="*/ 6382 h 12668"/>
                  <a:gd name="connsiteX9" fmla="*/ 285084 w 285084"/>
                  <a:gd name="connsiteY9" fmla="*/ 6382 h 12668"/>
                  <a:gd name="connsiteX10" fmla="*/ 278797 w 285084"/>
                  <a:gd name="connsiteY10" fmla="*/ 12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5084" h="12668">
                    <a:moveTo>
                      <a:pt x="278797" y="12668"/>
                    </a:moveTo>
                    <a:lnTo>
                      <a:pt x="6287" y="12668"/>
                    </a:lnTo>
                    <a:cubicBezTo>
                      <a:pt x="2815" y="12668"/>
                      <a:pt x="1" y="9854"/>
                      <a:pt x="1" y="6382"/>
                    </a:cubicBezTo>
                    <a:lnTo>
                      <a:pt x="1" y="6382"/>
                    </a:lnTo>
                    <a:cubicBezTo>
                      <a:pt x="-52" y="2910"/>
                      <a:pt x="2720" y="53"/>
                      <a:pt x="6191" y="1"/>
                    </a:cubicBezTo>
                    <a:cubicBezTo>
                      <a:pt x="6223" y="0"/>
                      <a:pt x="6255" y="0"/>
                      <a:pt x="6287" y="0"/>
                    </a:cubicBezTo>
                    <a:lnTo>
                      <a:pt x="278797" y="0"/>
                    </a:lnTo>
                    <a:cubicBezTo>
                      <a:pt x="282269" y="0"/>
                      <a:pt x="285084" y="2814"/>
                      <a:pt x="285085" y="6286"/>
                    </a:cubicBezTo>
                    <a:cubicBezTo>
                      <a:pt x="285085" y="6318"/>
                      <a:pt x="285084" y="6350"/>
                      <a:pt x="285084" y="6382"/>
                    </a:cubicBezTo>
                    <a:lnTo>
                      <a:pt x="285084" y="6382"/>
                    </a:lnTo>
                    <a:cubicBezTo>
                      <a:pt x="285084" y="9854"/>
                      <a:pt x="282269" y="12668"/>
                      <a:pt x="278797"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019F34AA-C7B9-AD4D-8926-093700F46737}"/>
                  </a:ext>
                </a:extLst>
              </p:cNvPr>
              <p:cNvSpPr/>
              <p:nvPr/>
            </p:nvSpPr>
            <p:spPr>
              <a:xfrm>
                <a:off x="17005404" y="454533"/>
                <a:ext cx="313468" cy="12668"/>
              </a:xfrm>
              <a:custGeom>
                <a:avLst/>
                <a:gdLst>
                  <a:gd name="connsiteX0" fmla="*/ 307181 w 313468"/>
                  <a:gd name="connsiteY0" fmla="*/ 12668 h 12668"/>
                  <a:gd name="connsiteX1" fmla="*/ 6382 w 313468"/>
                  <a:gd name="connsiteY1" fmla="*/ 12668 h 12668"/>
                  <a:gd name="connsiteX2" fmla="*/ 0 w 313468"/>
                  <a:gd name="connsiteY2" fmla="*/ 6382 h 12668"/>
                  <a:gd name="connsiteX3" fmla="*/ 0 w 313468"/>
                  <a:gd name="connsiteY3" fmla="*/ 6382 h 12668"/>
                  <a:gd name="connsiteX4" fmla="*/ 6382 w 313468"/>
                  <a:gd name="connsiteY4" fmla="*/ 0 h 12668"/>
                  <a:gd name="connsiteX5" fmla="*/ 307181 w 313468"/>
                  <a:gd name="connsiteY5" fmla="*/ 0 h 12668"/>
                  <a:gd name="connsiteX6" fmla="*/ 313468 w 313468"/>
                  <a:gd name="connsiteY6" fmla="*/ 6286 h 12668"/>
                  <a:gd name="connsiteX7" fmla="*/ 313468 w 313468"/>
                  <a:gd name="connsiteY7" fmla="*/ 6382 h 12668"/>
                  <a:gd name="connsiteX8" fmla="*/ 313468 w 313468"/>
                  <a:gd name="connsiteY8" fmla="*/ 6382 h 12668"/>
                  <a:gd name="connsiteX9" fmla="*/ 307181 w 313468"/>
                  <a:gd name="connsiteY9" fmla="*/ 12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468" h="12668">
                    <a:moveTo>
                      <a:pt x="307181" y="12668"/>
                    </a:moveTo>
                    <a:lnTo>
                      <a:pt x="6382" y="12668"/>
                    </a:lnTo>
                    <a:cubicBezTo>
                      <a:pt x="2894" y="12669"/>
                      <a:pt x="52" y="9869"/>
                      <a:pt x="0" y="6382"/>
                    </a:cubicBezTo>
                    <a:lnTo>
                      <a:pt x="0" y="6382"/>
                    </a:lnTo>
                    <a:cubicBezTo>
                      <a:pt x="0" y="2857"/>
                      <a:pt x="2857" y="0"/>
                      <a:pt x="6382" y="0"/>
                    </a:cubicBezTo>
                    <a:lnTo>
                      <a:pt x="307181" y="0"/>
                    </a:lnTo>
                    <a:cubicBezTo>
                      <a:pt x="310653" y="0"/>
                      <a:pt x="313468" y="2814"/>
                      <a:pt x="313468" y="6286"/>
                    </a:cubicBezTo>
                    <a:cubicBezTo>
                      <a:pt x="313468" y="6318"/>
                      <a:pt x="313468" y="6350"/>
                      <a:pt x="313468" y="6382"/>
                    </a:cubicBezTo>
                    <a:lnTo>
                      <a:pt x="313468" y="6382"/>
                    </a:lnTo>
                    <a:cubicBezTo>
                      <a:pt x="313468" y="9854"/>
                      <a:pt x="310653" y="12668"/>
                      <a:pt x="307181" y="12668"/>
                    </a:cubicBezTo>
                    <a:close/>
                  </a:path>
                </a:pathLst>
              </a:custGeom>
              <a:solidFill>
                <a:srgbClr val="283757">
                  <a:alpha val="97000"/>
                </a:srgbClr>
              </a:solidFill>
              <a:ln w="9525" cap="flat">
                <a:no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E3C191AE-F831-E641-ADFE-71C56174D2D6}"/>
                  </a:ext>
                </a:extLst>
              </p:cNvPr>
              <p:cNvSpPr/>
              <p:nvPr/>
            </p:nvSpPr>
            <p:spPr>
              <a:xfrm>
                <a:off x="17005404" y="478821"/>
                <a:ext cx="129254" cy="12668"/>
              </a:xfrm>
              <a:custGeom>
                <a:avLst/>
                <a:gdLst>
                  <a:gd name="connsiteX0" fmla="*/ 122873 w 129254"/>
                  <a:gd name="connsiteY0" fmla="*/ 12668 h 12668"/>
                  <a:gd name="connsiteX1" fmla="*/ 6382 w 129254"/>
                  <a:gd name="connsiteY1" fmla="*/ 12668 h 12668"/>
                  <a:gd name="connsiteX2" fmla="*/ 0 w 129254"/>
                  <a:gd name="connsiteY2" fmla="*/ 6382 h 12668"/>
                  <a:gd name="connsiteX3" fmla="*/ 0 w 129254"/>
                  <a:gd name="connsiteY3" fmla="*/ 6382 h 12668"/>
                  <a:gd name="connsiteX4" fmla="*/ 6382 w 129254"/>
                  <a:gd name="connsiteY4" fmla="*/ 0 h 12668"/>
                  <a:gd name="connsiteX5" fmla="*/ 122873 w 129254"/>
                  <a:gd name="connsiteY5" fmla="*/ 0 h 12668"/>
                  <a:gd name="connsiteX6" fmla="*/ 129255 w 129254"/>
                  <a:gd name="connsiteY6" fmla="*/ 6382 h 12668"/>
                  <a:gd name="connsiteX7" fmla="*/ 129254 w 129254"/>
                  <a:gd name="connsiteY7" fmla="*/ 6382 h 12668"/>
                  <a:gd name="connsiteX8" fmla="*/ 122872 w 129254"/>
                  <a:gd name="connsiteY8" fmla="*/ 12668 h 12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9254" h="12668">
                    <a:moveTo>
                      <a:pt x="122873" y="12668"/>
                    </a:moveTo>
                    <a:lnTo>
                      <a:pt x="6382" y="12668"/>
                    </a:lnTo>
                    <a:cubicBezTo>
                      <a:pt x="2894" y="12669"/>
                      <a:pt x="52" y="9869"/>
                      <a:pt x="0" y="6382"/>
                    </a:cubicBezTo>
                    <a:lnTo>
                      <a:pt x="0" y="6382"/>
                    </a:lnTo>
                    <a:cubicBezTo>
                      <a:pt x="0" y="2857"/>
                      <a:pt x="2857" y="0"/>
                      <a:pt x="6382" y="0"/>
                    </a:cubicBezTo>
                    <a:lnTo>
                      <a:pt x="122873" y="0"/>
                    </a:lnTo>
                    <a:cubicBezTo>
                      <a:pt x="126397" y="0"/>
                      <a:pt x="129255" y="2857"/>
                      <a:pt x="129255" y="6382"/>
                    </a:cubicBezTo>
                    <a:lnTo>
                      <a:pt x="129254" y="6382"/>
                    </a:lnTo>
                    <a:cubicBezTo>
                      <a:pt x="129202" y="9869"/>
                      <a:pt x="126360" y="12669"/>
                      <a:pt x="122872" y="12668"/>
                    </a:cubicBezTo>
                    <a:close/>
                  </a:path>
                </a:pathLst>
              </a:custGeom>
              <a:solidFill>
                <a:srgbClr val="283757">
                  <a:alpha val="97000"/>
                </a:srgbClr>
              </a:solidFill>
              <a:ln w="9525" cap="flat">
                <a:noFill/>
                <a:prstDash val="solid"/>
                <a:miter/>
              </a:ln>
            </p:spPr>
            <p:txBody>
              <a:bodyPr rtlCol="0" anchor="ctr"/>
              <a:lstStyle/>
              <a:p>
                <a:endParaRPr lang="en-US"/>
              </a:p>
            </p:txBody>
          </p:sp>
        </p:grpSp>
        <p:sp>
          <p:nvSpPr>
            <p:cNvPr id="178" name="Freeform 177">
              <a:extLst>
                <a:ext uri="{FF2B5EF4-FFF2-40B4-BE49-F238E27FC236}">
                  <a16:creationId xmlns:a16="http://schemas.microsoft.com/office/drawing/2014/main" id="{8E6458C8-2BD5-D745-A77A-5F80FDDF790C}"/>
                </a:ext>
              </a:extLst>
            </p:cNvPr>
            <p:cNvSpPr/>
            <p:nvPr/>
          </p:nvSpPr>
          <p:spPr>
            <a:xfrm>
              <a:off x="16603734" y="368331"/>
              <a:ext cx="288036" cy="560070"/>
            </a:xfrm>
            <a:custGeom>
              <a:avLst/>
              <a:gdLst>
                <a:gd name="connsiteX0" fmla="*/ 42101 w 288036"/>
                <a:gd name="connsiteY0" fmla="*/ 0 h 560070"/>
                <a:gd name="connsiteX1" fmla="*/ 0 w 288036"/>
                <a:gd name="connsiteY1" fmla="*/ 44958 h 560070"/>
                <a:gd name="connsiteX2" fmla="*/ 0 w 288036"/>
                <a:gd name="connsiteY2" fmla="*/ 515684 h 560070"/>
                <a:gd name="connsiteX3" fmla="*/ 43720 w 288036"/>
                <a:gd name="connsiteY3" fmla="*/ 560070 h 560070"/>
                <a:gd name="connsiteX4" fmla="*/ 243745 w 288036"/>
                <a:gd name="connsiteY4" fmla="*/ 560070 h 560070"/>
                <a:gd name="connsiteX5" fmla="*/ 288036 w 288036"/>
                <a:gd name="connsiteY5" fmla="*/ 516255 h 560070"/>
                <a:gd name="connsiteX6" fmla="*/ 288036 w 288036"/>
                <a:gd name="connsiteY6" fmla="*/ 44387 h 560070"/>
                <a:gd name="connsiteX7" fmla="*/ 245936 w 288036"/>
                <a:gd name="connsiteY7" fmla="*/ 0 h 560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036" h="560070">
                  <a:moveTo>
                    <a:pt x="42101" y="0"/>
                  </a:moveTo>
                  <a:cubicBezTo>
                    <a:pt x="18687" y="2121"/>
                    <a:pt x="581" y="21456"/>
                    <a:pt x="0" y="44958"/>
                  </a:cubicBezTo>
                  <a:lnTo>
                    <a:pt x="0" y="515684"/>
                  </a:lnTo>
                  <a:cubicBezTo>
                    <a:pt x="1533" y="539281"/>
                    <a:pt x="20148" y="558181"/>
                    <a:pt x="43720" y="560070"/>
                  </a:cubicBezTo>
                  <a:lnTo>
                    <a:pt x="243745" y="560070"/>
                  </a:lnTo>
                  <a:cubicBezTo>
                    <a:pt x="267339" y="558486"/>
                    <a:pt x="286198" y="539831"/>
                    <a:pt x="288036" y="516255"/>
                  </a:cubicBezTo>
                  <a:lnTo>
                    <a:pt x="288036" y="44387"/>
                  </a:lnTo>
                  <a:cubicBezTo>
                    <a:pt x="287427" y="20998"/>
                    <a:pt x="269259" y="1844"/>
                    <a:pt x="245936" y="0"/>
                  </a:cubicBezTo>
                  <a:close/>
                </a:path>
              </a:pathLst>
            </a:custGeom>
            <a:solidFill>
              <a:srgbClr val="6E7ABB"/>
            </a:solidFill>
            <a:ln w="9525" cap="flat">
              <a:noFill/>
              <a:prstDash val="solid"/>
              <a:miter/>
            </a:ln>
          </p:spPr>
          <p:txBody>
            <a:bodyPr rtlCol="0" anchor="ctr"/>
            <a:lstStyle/>
            <a:p>
              <a:endParaRPr lang="en-US"/>
            </a:p>
          </p:txBody>
        </p:sp>
        <p:sp>
          <p:nvSpPr>
            <p:cNvPr id="179" name="Freeform 178">
              <a:extLst>
                <a:ext uri="{FF2B5EF4-FFF2-40B4-BE49-F238E27FC236}">
                  <a16:creationId xmlns:a16="http://schemas.microsoft.com/office/drawing/2014/main" id="{8AAF3721-DD3F-A944-BA4C-C49A3316B7F8}"/>
                </a:ext>
              </a:extLst>
            </p:cNvPr>
            <p:cNvSpPr/>
            <p:nvPr/>
          </p:nvSpPr>
          <p:spPr>
            <a:xfrm>
              <a:off x="16603735" y="641985"/>
              <a:ext cx="106108" cy="209168"/>
            </a:xfrm>
            <a:custGeom>
              <a:avLst/>
              <a:gdLst>
                <a:gd name="connsiteX0" fmla="*/ 106108 w 106108"/>
                <a:gd name="connsiteY0" fmla="*/ 103061 h 209168"/>
                <a:gd name="connsiteX1" fmla="*/ 3143 w 106108"/>
                <a:gd name="connsiteY1" fmla="*/ 0 h 209168"/>
                <a:gd name="connsiteX2" fmla="*/ 0 w 106108"/>
                <a:gd name="connsiteY2" fmla="*/ 3238 h 209168"/>
                <a:gd name="connsiteX3" fmla="*/ 0 w 106108"/>
                <a:gd name="connsiteY3" fmla="*/ 209169 h 209168"/>
                <a:gd name="connsiteX4" fmla="*/ 106108 w 106108"/>
                <a:gd name="connsiteY4" fmla="*/ 103061 h 209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108" h="209168">
                  <a:moveTo>
                    <a:pt x="106108" y="103061"/>
                  </a:moveTo>
                  <a:lnTo>
                    <a:pt x="3143" y="0"/>
                  </a:lnTo>
                  <a:lnTo>
                    <a:pt x="0" y="3238"/>
                  </a:lnTo>
                  <a:lnTo>
                    <a:pt x="0" y="209169"/>
                  </a:lnTo>
                  <a:lnTo>
                    <a:pt x="106108" y="103061"/>
                  </a:lnTo>
                  <a:close/>
                </a:path>
              </a:pathLst>
            </a:custGeom>
            <a:solidFill>
              <a:srgbClr val="3D518C">
                <a:alpha val="70000"/>
              </a:srgbClr>
            </a:solidFill>
            <a:ln w="9525" cap="flat">
              <a:noFill/>
              <a:prstDash val="solid"/>
              <a:miter/>
            </a:ln>
          </p:spPr>
          <p:txBody>
            <a:bodyPr rtlCol="0" anchor="ctr"/>
            <a:lstStyle/>
            <a:p>
              <a:endParaRPr lang="en-US"/>
            </a:p>
          </p:txBody>
        </p:sp>
        <p:sp>
          <p:nvSpPr>
            <p:cNvPr id="180" name="Freeform 179">
              <a:extLst>
                <a:ext uri="{FF2B5EF4-FFF2-40B4-BE49-F238E27FC236}">
                  <a16:creationId xmlns:a16="http://schemas.microsoft.com/office/drawing/2014/main" id="{BB22C6CA-261A-C44A-81CD-C4327AC3F4B3}"/>
                </a:ext>
              </a:extLst>
            </p:cNvPr>
            <p:cNvSpPr/>
            <p:nvPr/>
          </p:nvSpPr>
          <p:spPr>
            <a:xfrm>
              <a:off x="16603735" y="567023"/>
              <a:ext cx="288035" cy="361378"/>
            </a:xfrm>
            <a:custGeom>
              <a:avLst/>
              <a:gdLst>
                <a:gd name="connsiteX0" fmla="*/ 284131 w 288035"/>
                <a:gd name="connsiteY0" fmla="*/ 0 h 361378"/>
                <a:gd name="connsiteX1" fmla="*/ 0 w 288035"/>
                <a:gd name="connsiteY1" fmla="*/ 284131 h 361378"/>
                <a:gd name="connsiteX2" fmla="*/ 0 w 288035"/>
                <a:gd name="connsiteY2" fmla="*/ 316992 h 361378"/>
                <a:gd name="connsiteX3" fmla="*/ 43720 w 288035"/>
                <a:gd name="connsiteY3" fmla="*/ 361379 h 361378"/>
                <a:gd name="connsiteX4" fmla="*/ 243745 w 288035"/>
                <a:gd name="connsiteY4" fmla="*/ 361379 h 361378"/>
                <a:gd name="connsiteX5" fmla="*/ 275272 w 288035"/>
                <a:gd name="connsiteY5" fmla="*/ 346615 h 361378"/>
                <a:gd name="connsiteX6" fmla="*/ 288036 w 288035"/>
                <a:gd name="connsiteY6" fmla="*/ 318040 h 361378"/>
                <a:gd name="connsiteX7" fmla="*/ 288036 w 288035"/>
                <a:gd name="connsiteY7" fmla="*/ 3715 h 361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035" h="361378">
                  <a:moveTo>
                    <a:pt x="284131" y="0"/>
                  </a:moveTo>
                  <a:lnTo>
                    <a:pt x="0" y="284131"/>
                  </a:lnTo>
                  <a:lnTo>
                    <a:pt x="0" y="316992"/>
                  </a:lnTo>
                  <a:cubicBezTo>
                    <a:pt x="1532" y="340590"/>
                    <a:pt x="20148" y="359489"/>
                    <a:pt x="43720" y="361379"/>
                  </a:cubicBezTo>
                  <a:lnTo>
                    <a:pt x="243745" y="361379"/>
                  </a:lnTo>
                  <a:cubicBezTo>
                    <a:pt x="255810" y="360891"/>
                    <a:pt x="267172" y="355570"/>
                    <a:pt x="275272" y="346615"/>
                  </a:cubicBezTo>
                  <a:cubicBezTo>
                    <a:pt x="282969" y="339033"/>
                    <a:pt x="287526" y="328831"/>
                    <a:pt x="288036" y="318040"/>
                  </a:cubicBezTo>
                  <a:lnTo>
                    <a:pt x="288036" y="3715"/>
                  </a:lnTo>
                  <a:close/>
                </a:path>
              </a:pathLst>
            </a:custGeom>
            <a:solidFill>
              <a:srgbClr val="324678">
                <a:alpha val="70000"/>
              </a:srgbClr>
            </a:solidFill>
            <a:ln w="9525" cap="flat">
              <a:noFill/>
              <a:prstDash val="solid"/>
              <a:miter/>
            </a:ln>
          </p:spPr>
          <p:txBody>
            <a:bodyPr rtlCol="0" anchor="ctr"/>
            <a:lstStyle/>
            <a:p>
              <a:endParaRPr lang="en-US"/>
            </a:p>
          </p:txBody>
        </p:sp>
        <p:sp>
          <p:nvSpPr>
            <p:cNvPr id="181" name="Freeform 180">
              <a:extLst>
                <a:ext uri="{FF2B5EF4-FFF2-40B4-BE49-F238E27FC236}">
                  <a16:creationId xmlns:a16="http://schemas.microsoft.com/office/drawing/2014/main" id="{0C8753B9-44EA-0645-9B3C-74D2A703C4A4}"/>
                </a:ext>
              </a:extLst>
            </p:cNvPr>
            <p:cNvSpPr/>
            <p:nvPr/>
          </p:nvSpPr>
          <p:spPr>
            <a:xfrm rot="21046800">
              <a:off x="16650633" y="446657"/>
              <a:ext cx="97536" cy="97535"/>
            </a:xfrm>
            <a:custGeom>
              <a:avLst/>
              <a:gdLst>
                <a:gd name="connsiteX0" fmla="*/ 97536 w 97536"/>
                <a:gd name="connsiteY0" fmla="*/ 48768 h 97535"/>
                <a:gd name="connsiteX1" fmla="*/ 48768 w 97536"/>
                <a:gd name="connsiteY1" fmla="*/ 97536 h 97535"/>
                <a:gd name="connsiteX2" fmla="*/ 0 w 97536"/>
                <a:gd name="connsiteY2" fmla="*/ 48768 h 97535"/>
                <a:gd name="connsiteX3" fmla="*/ 48768 w 97536"/>
                <a:gd name="connsiteY3" fmla="*/ 0 h 97535"/>
                <a:gd name="connsiteX4" fmla="*/ 97536 w 97536"/>
                <a:gd name="connsiteY4" fmla="*/ 48768 h 97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536" h="97535">
                  <a:moveTo>
                    <a:pt x="97536" y="48768"/>
                  </a:moveTo>
                  <a:cubicBezTo>
                    <a:pt x="97536" y="75702"/>
                    <a:pt x="75702" y="97536"/>
                    <a:pt x="48768" y="97536"/>
                  </a:cubicBezTo>
                  <a:cubicBezTo>
                    <a:pt x="21834" y="97536"/>
                    <a:pt x="0" y="75702"/>
                    <a:pt x="0" y="48768"/>
                  </a:cubicBezTo>
                  <a:cubicBezTo>
                    <a:pt x="0" y="21834"/>
                    <a:pt x="21834" y="0"/>
                    <a:pt x="48768" y="0"/>
                  </a:cubicBezTo>
                  <a:cubicBezTo>
                    <a:pt x="75702" y="0"/>
                    <a:pt x="97536" y="21834"/>
                    <a:pt x="97536" y="48768"/>
                  </a:cubicBezTo>
                  <a:close/>
                </a:path>
              </a:pathLst>
            </a:custGeom>
            <a:solidFill>
              <a:srgbClr val="F8EF63"/>
            </a:solidFill>
            <a:ln w="9525" cap="flat">
              <a:noFill/>
              <a:prstDash val="solid"/>
              <a:miter/>
            </a:ln>
          </p:spPr>
          <p:txBody>
            <a:bodyPr rtlCol="0" anchor="ctr"/>
            <a:lstStyle/>
            <a:p>
              <a:endParaRPr lang="en-US"/>
            </a:p>
          </p:txBody>
        </p:sp>
        <p:sp>
          <p:nvSpPr>
            <p:cNvPr id="182" name="Freeform 181">
              <a:extLst>
                <a:ext uri="{FF2B5EF4-FFF2-40B4-BE49-F238E27FC236}">
                  <a16:creationId xmlns:a16="http://schemas.microsoft.com/office/drawing/2014/main" id="{027823BA-ACF8-FF40-AFEC-3D6A2EE8C5DD}"/>
                </a:ext>
              </a:extLst>
            </p:cNvPr>
            <p:cNvSpPr/>
            <p:nvPr/>
          </p:nvSpPr>
          <p:spPr>
            <a:xfrm>
              <a:off x="17852938" y="1738598"/>
              <a:ext cx="664940" cy="42767"/>
            </a:xfrm>
            <a:custGeom>
              <a:avLst/>
              <a:gdLst>
                <a:gd name="connsiteX0" fmla="*/ 664940 w 664940"/>
                <a:gd name="connsiteY0" fmla="*/ 21431 h 42767"/>
                <a:gd name="connsiteX1" fmla="*/ 332423 w 664940"/>
                <a:gd name="connsiteY1" fmla="*/ 42767 h 42767"/>
                <a:gd name="connsiteX2" fmla="*/ 0 w 664940"/>
                <a:gd name="connsiteY2" fmla="*/ 21431 h 42767"/>
                <a:gd name="connsiteX3" fmla="*/ 332423 w 664940"/>
                <a:gd name="connsiteY3" fmla="*/ 0 h 42767"/>
                <a:gd name="connsiteX4" fmla="*/ 664940 w 664940"/>
                <a:gd name="connsiteY4" fmla="*/ 21431 h 427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4940" h="42767">
                  <a:moveTo>
                    <a:pt x="664940" y="21431"/>
                  </a:moveTo>
                  <a:cubicBezTo>
                    <a:pt x="664940" y="33242"/>
                    <a:pt x="516064" y="42767"/>
                    <a:pt x="332423" y="42767"/>
                  </a:cubicBezTo>
                  <a:cubicBezTo>
                    <a:pt x="148780" y="42767"/>
                    <a:pt x="0" y="33242"/>
                    <a:pt x="0" y="21431"/>
                  </a:cubicBezTo>
                  <a:cubicBezTo>
                    <a:pt x="0" y="9620"/>
                    <a:pt x="148780" y="0"/>
                    <a:pt x="332423" y="0"/>
                  </a:cubicBezTo>
                  <a:cubicBezTo>
                    <a:pt x="516064" y="0"/>
                    <a:pt x="664940" y="9620"/>
                    <a:pt x="664940" y="21431"/>
                  </a:cubicBezTo>
                  <a:close/>
                </a:path>
              </a:pathLst>
            </a:custGeom>
            <a:solidFill>
              <a:srgbClr val="2A3856">
                <a:alpha val="10000"/>
              </a:srgbClr>
            </a:solidFill>
            <a:ln w="9525" cap="flat">
              <a:noFill/>
              <a:prstDash val="solid"/>
              <a:miter/>
            </a:ln>
          </p:spPr>
          <p:txBody>
            <a:bodyPr rtlCol="0" anchor="ctr"/>
            <a:lstStyle/>
            <a:p>
              <a:endParaRPr lang="en-US"/>
            </a:p>
          </p:txBody>
        </p:sp>
        <p:grpSp>
          <p:nvGrpSpPr>
            <p:cNvPr id="183" name="Graphic 5">
              <a:extLst>
                <a:ext uri="{FF2B5EF4-FFF2-40B4-BE49-F238E27FC236}">
                  <a16:creationId xmlns:a16="http://schemas.microsoft.com/office/drawing/2014/main" id="{DFF9EC4E-9FD7-9A4A-AED1-EF58C903F529}"/>
                </a:ext>
              </a:extLst>
            </p:cNvPr>
            <p:cNvGrpSpPr/>
            <p:nvPr/>
          </p:nvGrpSpPr>
          <p:grpSpPr>
            <a:xfrm>
              <a:off x="17880660" y="163023"/>
              <a:ext cx="642457" cy="1587671"/>
              <a:chOff x="17880660" y="163023"/>
              <a:chExt cx="642457" cy="1587671"/>
            </a:xfrm>
          </p:grpSpPr>
          <p:grpSp>
            <p:nvGrpSpPr>
              <p:cNvPr id="184" name="Graphic 5">
                <a:extLst>
                  <a:ext uri="{FF2B5EF4-FFF2-40B4-BE49-F238E27FC236}">
                    <a16:creationId xmlns:a16="http://schemas.microsoft.com/office/drawing/2014/main" id="{5D9A02C9-E6B7-3D4F-BD0B-BD9EA48D6AA3}"/>
                  </a:ext>
                </a:extLst>
              </p:cNvPr>
              <p:cNvGrpSpPr/>
              <p:nvPr/>
            </p:nvGrpSpPr>
            <p:grpSpPr>
              <a:xfrm>
                <a:off x="18020769" y="894853"/>
                <a:ext cx="187928" cy="855841"/>
                <a:chOff x="18020769" y="894853"/>
                <a:chExt cx="187928" cy="855841"/>
              </a:xfrm>
            </p:grpSpPr>
            <p:sp>
              <p:nvSpPr>
                <p:cNvPr id="204" name="Freeform 203">
                  <a:extLst>
                    <a:ext uri="{FF2B5EF4-FFF2-40B4-BE49-F238E27FC236}">
                      <a16:creationId xmlns:a16="http://schemas.microsoft.com/office/drawing/2014/main" id="{301D6791-9E62-E14C-AD16-AB42325C63F4}"/>
                    </a:ext>
                  </a:extLst>
                </p:cNvPr>
                <p:cNvSpPr/>
                <p:nvPr/>
              </p:nvSpPr>
              <p:spPr>
                <a:xfrm>
                  <a:off x="18059536" y="1619154"/>
                  <a:ext cx="55435" cy="79629"/>
                </a:xfrm>
                <a:custGeom>
                  <a:avLst/>
                  <a:gdLst>
                    <a:gd name="connsiteX0" fmla="*/ 51245 w 55435"/>
                    <a:gd name="connsiteY0" fmla="*/ 79629 h 79629"/>
                    <a:gd name="connsiteX1" fmla="*/ 0 w 55435"/>
                    <a:gd name="connsiteY1" fmla="*/ 65627 h 79629"/>
                    <a:gd name="connsiteX2" fmla="*/ 1143 w 55435"/>
                    <a:gd name="connsiteY2" fmla="*/ 0 h 79629"/>
                    <a:gd name="connsiteX3" fmla="*/ 55436 w 55435"/>
                    <a:gd name="connsiteY3" fmla="*/ 0 h 79629"/>
                    <a:gd name="connsiteX4" fmla="*/ 51245 w 55435"/>
                    <a:gd name="connsiteY4" fmla="*/ 79629 h 79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35" h="79629">
                      <a:moveTo>
                        <a:pt x="51245" y="79629"/>
                      </a:moveTo>
                      <a:lnTo>
                        <a:pt x="0" y="65627"/>
                      </a:lnTo>
                      <a:lnTo>
                        <a:pt x="1143" y="0"/>
                      </a:lnTo>
                      <a:lnTo>
                        <a:pt x="55436" y="0"/>
                      </a:lnTo>
                      <a:lnTo>
                        <a:pt x="51245" y="79629"/>
                      </a:lnTo>
                      <a:close/>
                    </a:path>
                  </a:pathLst>
                </a:custGeom>
                <a:solidFill>
                  <a:srgbClr val="E2857E"/>
                </a:solidFill>
                <a:ln w="9525" cap="flat">
                  <a:no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F94F75DE-6AC3-0E45-954C-D9A990699CCF}"/>
                    </a:ext>
                  </a:extLst>
                </p:cNvPr>
                <p:cNvSpPr/>
                <p:nvPr/>
              </p:nvSpPr>
              <p:spPr>
                <a:xfrm>
                  <a:off x="18020769" y="894853"/>
                  <a:ext cx="187928" cy="729063"/>
                </a:xfrm>
                <a:custGeom>
                  <a:avLst/>
                  <a:gdLst>
                    <a:gd name="connsiteX0" fmla="*/ 0 w 187928"/>
                    <a:gd name="connsiteY0" fmla="*/ 38596 h 729063"/>
                    <a:gd name="connsiteX1" fmla="*/ 24955 w 187928"/>
                    <a:gd name="connsiteY1" fmla="*/ 412358 h 729063"/>
                    <a:gd name="connsiteX2" fmla="*/ 26098 w 187928"/>
                    <a:gd name="connsiteY2" fmla="*/ 729064 h 729063"/>
                    <a:gd name="connsiteX3" fmla="*/ 102298 w 187928"/>
                    <a:gd name="connsiteY3" fmla="*/ 729064 h 729063"/>
                    <a:gd name="connsiteX4" fmla="*/ 128016 w 187928"/>
                    <a:gd name="connsiteY4" fmla="*/ 419882 h 729063"/>
                    <a:gd name="connsiteX5" fmla="*/ 187928 w 187928"/>
                    <a:gd name="connsiteY5" fmla="*/ 25357 h 729063"/>
                    <a:gd name="connsiteX6" fmla="*/ 0 w 187928"/>
                    <a:gd name="connsiteY6" fmla="*/ 38596 h 72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928" h="729063">
                      <a:moveTo>
                        <a:pt x="0" y="38596"/>
                      </a:moveTo>
                      <a:cubicBezTo>
                        <a:pt x="0" y="38596"/>
                        <a:pt x="18193" y="232906"/>
                        <a:pt x="24955" y="412358"/>
                      </a:cubicBezTo>
                      <a:cubicBezTo>
                        <a:pt x="17455" y="517808"/>
                        <a:pt x="17837" y="623670"/>
                        <a:pt x="26098" y="729064"/>
                      </a:cubicBezTo>
                      <a:lnTo>
                        <a:pt x="102298" y="729064"/>
                      </a:lnTo>
                      <a:cubicBezTo>
                        <a:pt x="102870" y="689821"/>
                        <a:pt x="111823" y="548089"/>
                        <a:pt x="128016" y="419882"/>
                      </a:cubicBezTo>
                      <a:cubicBezTo>
                        <a:pt x="152400" y="232049"/>
                        <a:pt x="187928" y="25357"/>
                        <a:pt x="187928" y="25357"/>
                      </a:cubicBezTo>
                      <a:cubicBezTo>
                        <a:pt x="187928" y="25357"/>
                        <a:pt x="31242" y="-39699"/>
                        <a:pt x="0" y="38596"/>
                      </a:cubicBezTo>
                      <a:close/>
                    </a:path>
                  </a:pathLst>
                </a:custGeom>
                <a:solidFill>
                  <a:srgbClr val="F4F4F4"/>
                </a:solidFill>
                <a:ln w="9525" cap="flat">
                  <a:no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7BEA69BB-1C25-C642-BCE0-2050BE81F0BA}"/>
                    </a:ext>
                  </a:extLst>
                </p:cNvPr>
                <p:cNvSpPr/>
                <p:nvPr/>
              </p:nvSpPr>
              <p:spPr>
                <a:xfrm>
                  <a:off x="18033913" y="1670494"/>
                  <a:ext cx="88868" cy="80200"/>
                </a:xfrm>
                <a:custGeom>
                  <a:avLst/>
                  <a:gdLst>
                    <a:gd name="connsiteX0" fmla="*/ 88868 w 88868"/>
                    <a:gd name="connsiteY0" fmla="*/ 80200 h 80200"/>
                    <a:gd name="connsiteX1" fmla="*/ 0 w 88868"/>
                    <a:gd name="connsiteY1" fmla="*/ 80200 h 80200"/>
                    <a:gd name="connsiteX2" fmla="*/ 0 w 88868"/>
                    <a:gd name="connsiteY2" fmla="*/ 59246 h 80200"/>
                    <a:gd name="connsiteX3" fmla="*/ 24193 w 88868"/>
                    <a:gd name="connsiteY3" fmla="*/ 0 h 80200"/>
                    <a:gd name="connsiteX4" fmla="*/ 78391 w 88868"/>
                    <a:gd name="connsiteY4" fmla="*/ 0 h 80200"/>
                    <a:gd name="connsiteX5" fmla="*/ 88868 w 88868"/>
                    <a:gd name="connsiteY5" fmla="*/ 59246 h 80200"/>
                    <a:gd name="connsiteX6" fmla="*/ 88868 w 88868"/>
                    <a:gd name="connsiteY6" fmla="*/ 80200 h 8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868" h="80200">
                      <a:moveTo>
                        <a:pt x="88868" y="80200"/>
                      </a:moveTo>
                      <a:lnTo>
                        <a:pt x="0" y="80200"/>
                      </a:lnTo>
                      <a:lnTo>
                        <a:pt x="0" y="59246"/>
                      </a:lnTo>
                      <a:lnTo>
                        <a:pt x="24193" y="0"/>
                      </a:lnTo>
                      <a:lnTo>
                        <a:pt x="78391" y="0"/>
                      </a:lnTo>
                      <a:lnTo>
                        <a:pt x="88868" y="59246"/>
                      </a:lnTo>
                      <a:lnTo>
                        <a:pt x="88868" y="80200"/>
                      </a:lnTo>
                      <a:close/>
                    </a:path>
                  </a:pathLst>
                </a:custGeom>
                <a:solidFill>
                  <a:srgbClr val="FFFFFF"/>
                </a:solidFill>
                <a:ln w="9525" cap="flat">
                  <a:noFill/>
                  <a:prstDash val="solid"/>
                  <a:miter/>
                </a:ln>
              </p:spPr>
              <p:txBody>
                <a:bodyPr rtlCol="0" anchor="ctr"/>
                <a:lstStyle/>
                <a:p>
                  <a:endParaRPr lang="en-US"/>
                </a:p>
              </p:txBody>
            </p:sp>
          </p:grpSp>
          <p:grpSp>
            <p:nvGrpSpPr>
              <p:cNvPr id="185" name="Graphic 5">
                <a:extLst>
                  <a:ext uri="{FF2B5EF4-FFF2-40B4-BE49-F238E27FC236}">
                    <a16:creationId xmlns:a16="http://schemas.microsoft.com/office/drawing/2014/main" id="{9C573D35-ABCF-F247-87D0-7ECDBB3B4E6A}"/>
                  </a:ext>
                </a:extLst>
              </p:cNvPr>
              <p:cNvGrpSpPr/>
              <p:nvPr/>
            </p:nvGrpSpPr>
            <p:grpSpPr>
              <a:xfrm>
                <a:off x="18149452" y="894762"/>
                <a:ext cx="187928" cy="855932"/>
                <a:chOff x="18149452" y="894762"/>
                <a:chExt cx="187928" cy="855932"/>
              </a:xfrm>
            </p:grpSpPr>
            <p:sp>
              <p:nvSpPr>
                <p:cNvPr id="201" name="Freeform 200">
                  <a:extLst>
                    <a:ext uri="{FF2B5EF4-FFF2-40B4-BE49-F238E27FC236}">
                      <a16:creationId xmlns:a16="http://schemas.microsoft.com/office/drawing/2014/main" id="{E0763B88-C01F-D141-B52E-E48CE25DF488}"/>
                    </a:ext>
                  </a:extLst>
                </p:cNvPr>
                <p:cNvSpPr/>
                <p:nvPr/>
              </p:nvSpPr>
              <p:spPr>
                <a:xfrm>
                  <a:off x="18243178" y="1619154"/>
                  <a:ext cx="55434" cy="79629"/>
                </a:xfrm>
                <a:custGeom>
                  <a:avLst/>
                  <a:gdLst>
                    <a:gd name="connsiteX0" fmla="*/ 4190 w 55434"/>
                    <a:gd name="connsiteY0" fmla="*/ 79629 h 79629"/>
                    <a:gd name="connsiteX1" fmla="*/ 55435 w 55434"/>
                    <a:gd name="connsiteY1" fmla="*/ 65627 h 79629"/>
                    <a:gd name="connsiteX2" fmla="*/ 54292 w 55434"/>
                    <a:gd name="connsiteY2" fmla="*/ 0 h 79629"/>
                    <a:gd name="connsiteX3" fmla="*/ 0 w 55434"/>
                    <a:gd name="connsiteY3" fmla="*/ 0 h 79629"/>
                    <a:gd name="connsiteX4" fmla="*/ 4190 w 55434"/>
                    <a:gd name="connsiteY4" fmla="*/ 79629 h 796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34" h="79629">
                      <a:moveTo>
                        <a:pt x="4190" y="79629"/>
                      </a:moveTo>
                      <a:lnTo>
                        <a:pt x="55435" y="65627"/>
                      </a:lnTo>
                      <a:lnTo>
                        <a:pt x="54292" y="0"/>
                      </a:lnTo>
                      <a:lnTo>
                        <a:pt x="0" y="0"/>
                      </a:lnTo>
                      <a:lnTo>
                        <a:pt x="4190" y="79629"/>
                      </a:lnTo>
                      <a:close/>
                    </a:path>
                  </a:pathLst>
                </a:custGeom>
                <a:solidFill>
                  <a:srgbClr val="E2857E"/>
                </a:solidFill>
                <a:ln w="9525" cap="flat">
                  <a:no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F92B6398-BD73-9C45-B3AB-E3D4F0FA3647}"/>
                    </a:ext>
                  </a:extLst>
                </p:cNvPr>
                <p:cNvSpPr/>
                <p:nvPr/>
              </p:nvSpPr>
              <p:spPr>
                <a:xfrm>
                  <a:off x="18149452" y="894762"/>
                  <a:ext cx="187928" cy="728868"/>
                </a:xfrm>
                <a:custGeom>
                  <a:avLst/>
                  <a:gdLst>
                    <a:gd name="connsiteX0" fmla="*/ 187928 w 187928"/>
                    <a:gd name="connsiteY0" fmla="*/ 38687 h 728868"/>
                    <a:gd name="connsiteX1" fmla="*/ 163259 w 187928"/>
                    <a:gd name="connsiteY1" fmla="*/ 410162 h 728868"/>
                    <a:gd name="connsiteX2" fmla="*/ 161830 w 187928"/>
                    <a:gd name="connsiteY2" fmla="*/ 728869 h 728868"/>
                    <a:gd name="connsiteX3" fmla="*/ 85630 w 187928"/>
                    <a:gd name="connsiteY3" fmla="*/ 728869 h 728868"/>
                    <a:gd name="connsiteX4" fmla="*/ 59912 w 187928"/>
                    <a:gd name="connsiteY4" fmla="*/ 419878 h 728868"/>
                    <a:gd name="connsiteX5" fmla="*/ 0 w 187928"/>
                    <a:gd name="connsiteY5" fmla="*/ 25162 h 728868"/>
                    <a:gd name="connsiteX6" fmla="*/ 187928 w 187928"/>
                    <a:gd name="connsiteY6" fmla="*/ 38687 h 72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928" h="728868">
                      <a:moveTo>
                        <a:pt x="187928" y="38687"/>
                      </a:moveTo>
                      <a:cubicBezTo>
                        <a:pt x="187928" y="38687"/>
                        <a:pt x="156972" y="233283"/>
                        <a:pt x="163259" y="410162"/>
                      </a:cubicBezTo>
                      <a:cubicBezTo>
                        <a:pt x="168593" y="559229"/>
                        <a:pt x="163830" y="708676"/>
                        <a:pt x="161830" y="728869"/>
                      </a:cubicBezTo>
                      <a:lnTo>
                        <a:pt x="85630" y="728869"/>
                      </a:lnTo>
                      <a:cubicBezTo>
                        <a:pt x="85058" y="689626"/>
                        <a:pt x="76105" y="547894"/>
                        <a:pt x="59912" y="419878"/>
                      </a:cubicBezTo>
                      <a:cubicBezTo>
                        <a:pt x="35528" y="231950"/>
                        <a:pt x="0" y="25162"/>
                        <a:pt x="0" y="25162"/>
                      </a:cubicBezTo>
                      <a:cubicBezTo>
                        <a:pt x="0" y="25162"/>
                        <a:pt x="156686" y="-39608"/>
                        <a:pt x="187928" y="38687"/>
                      </a:cubicBezTo>
                      <a:close/>
                    </a:path>
                  </a:pathLst>
                </a:custGeom>
                <a:solidFill>
                  <a:srgbClr val="F4F4F4"/>
                </a:solidFill>
                <a:ln w="9525" cap="flat">
                  <a:no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77856349-CA37-5A4D-A780-5510FCF31F5C}"/>
                    </a:ext>
                  </a:extLst>
                </p:cNvPr>
                <p:cNvSpPr/>
                <p:nvPr/>
              </p:nvSpPr>
              <p:spPr>
                <a:xfrm>
                  <a:off x="18235367" y="1670494"/>
                  <a:ext cx="88867" cy="80200"/>
                </a:xfrm>
                <a:custGeom>
                  <a:avLst/>
                  <a:gdLst>
                    <a:gd name="connsiteX0" fmla="*/ 0 w 88867"/>
                    <a:gd name="connsiteY0" fmla="*/ 80200 h 80200"/>
                    <a:gd name="connsiteX1" fmla="*/ 88868 w 88867"/>
                    <a:gd name="connsiteY1" fmla="*/ 80200 h 80200"/>
                    <a:gd name="connsiteX2" fmla="*/ 88868 w 88867"/>
                    <a:gd name="connsiteY2" fmla="*/ 59246 h 80200"/>
                    <a:gd name="connsiteX3" fmla="*/ 64675 w 88867"/>
                    <a:gd name="connsiteY3" fmla="*/ 0 h 80200"/>
                    <a:gd name="connsiteX4" fmla="*/ 10477 w 88867"/>
                    <a:gd name="connsiteY4" fmla="*/ 0 h 80200"/>
                    <a:gd name="connsiteX5" fmla="*/ 0 w 88867"/>
                    <a:gd name="connsiteY5" fmla="*/ 59246 h 80200"/>
                    <a:gd name="connsiteX6" fmla="*/ 0 w 88867"/>
                    <a:gd name="connsiteY6" fmla="*/ 80200 h 8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867" h="80200">
                      <a:moveTo>
                        <a:pt x="0" y="80200"/>
                      </a:moveTo>
                      <a:lnTo>
                        <a:pt x="88868" y="80200"/>
                      </a:lnTo>
                      <a:lnTo>
                        <a:pt x="88868" y="59246"/>
                      </a:lnTo>
                      <a:lnTo>
                        <a:pt x="64675" y="0"/>
                      </a:lnTo>
                      <a:lnTo>
                        <a:pt x="10477" y="0"/>
                      </a:lnTo>
                      <a:lnTo>
                        <a:pt x="0" y="59246"/>
                      </a:lnTo>
                      <a:lnTo>
                        <a:pt x="0" y="80200"/>
                      </a:lnTo>
                      <a:close/>
                    </a:path>
                  </a:pathLst>
                </a:custGeom>
                <a:solidFill>
                  <a:srgbClr val="FFFFFF"/>
                </a:solidFill>
                <a:ln w="9525" cap="flat">
                  <a:noFill/>
                  <a:prstDash val="solid"/>
                  <a:miter/>
                </a:ln>
              </p:spPr>
              <p:txBody>
                <a:bodyPr rtlCol="0" anchor="ctr"/>
                <a:lstStyle/>
                <a:p>
                  <a:endParaRPr lang="en-US"/>
                </a:p>
              </p:txBody>
            </p:sp>
          </p:grpSp>
          <p:sp>
            <p:nvSpPr>
              <p:cNvPr id="186" name="Freeform 185">
                <a:extLst>
                  <a:ext uri="{FF2B5EF4-FFF2-40B4-BE49-F238E27FC236}">
                    <a16:creationId xmlns:a16="http://schemas.microsoft.com/office/drawing/2014/main" id="{091E35C0-9527-8442-99B9-0E2035465157}"/>
                  </a:ext>
                </a:extLst>
              </p:cNvPr>
              <p:cNvSpPr/>
              <p:nvPr/>
            </p:nvSpPr>
            <p:spPr>
              <a:xfrm>
                <a:off x="18012958" y="384039"/>
                <a:ext cx="340631" cy="626849"/>
              </a:xfrm>
              <a:custGeom>
                <a:avLst/>
                <a:gdLst>
                  <a:gd name="connsiteX0" fmla="*/ 130397 w 340631"/>
                  <a:gd name="connsiteY0" fmla="*/ 4581 h 626849"/>
                  <a:gd name="connsiteX1" fmla="*/ 29242 w 340631"/>
                  <a:gd name="connsiteY1" fmla="*/ 44014 h 626849"/>
                  <a:gd name="connsiteX2" fmla="*/ 0 w 340631"/>
                  <a:gd name="connsiteY2" fmla="*/ 624468 h 626849"/>
                  <a:gd name="connsiteX3" fmla="*/ 332327 w 340631"/>
                  <a:gd name="connsiteY3" fmla="*/ 626849 h 626849"/>
                  <a:gd name="connsiteX4" fmla="*/ 312039 w 340631"/>
                  <a:gd name="connsiteY4" fmla="*/ 60397 h 626849"/>
                  <a:gd name="connsiteX5" fmla="*/ 192977 w 340631"/>
                  <a:gd name="connsiteY5" fmla="*/ 4581 h 626849"/>
                  <a:gd name="connsiteX6" fmla="*/ 130397 w 340631"/>
                  <a:gd name="connsiteY6" fmla="*/ 4581 h 62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0631" h="626849">
                    <a:moveTo>
                      <a:pt x="130397" y="4581"/>
                    </a:moveTo>
                    <a:cubicBezTo>
                      <a:pt x="95631" y="6772"/>
                      <a:pt x="39434" y="33918"/>
                      <a:pt x="29242" y="44014"/>
                    </a:cubicBezTo>
                    <a:cubicBezTo>
                      <a:pt x="12097" y="162410"/>
                      <a:pt x="0" y="624468"/>
                      <a:pt x="0" y="624468"/>
                    </a:cubicBezTo>
                    <a:lnTo>
                      <a:pt x="332327" y="626849"/>
                    </a:lnTo>
                    <a:cubicBezTo>
                      <a:pt x="332327" y="626849"/>
                      <a:pt x="360902" y="234133"/>
                      <a:pt x="312039" y="60397"/>
                    </a:cubicBezTo>
                    <a:cubicBezTo>
                      <a:pt x="286798" y="34299"/>
                      <a:pt x="204883" y="9058"/>
                      <a:pt x="192977" y="4581"/>
                    </a:cubicBezTo>
                    <a:cubicBezTo>
                      <a:pt x="170688" y="-4754"/>
                      <a:pt x="159925" y="2771"/>
                      <a:pt x="130397" y="4581"/>
                    </a:cubicBezTo>
                    <a:close/>
                  </a:path>
                </a:pathLst>
              </a:custGeom>
              <a:solidFill>
                <a:srgbClr val="2A3856"/>
              </a:solidFill>
              <a:ln w="9525" cap="flat">
                <a:noFill/>
                <a:prstDash val="solid"/>
                <a:miter/>
              </a:ln>
            </p:spPr>
            <p:txBody>
              <a:bodyPr rtlCol="0" anchor="ctr"/>
              <a:lstStyle/>
              <a:p>
                <a:endParaRPr lang="en-US"/>
              </a:p>
            </p:txBody>
          </p:sp>
          <p:grpSp>
            <p:nvGrpSpPr>
              <p:cNvPr id="187" name="Graphic 5">
                <a:extLst>
                  <a:ext uri="{FF2B5EF4-FFF2-40B4-BE49-F238E27FC236}">
                    <a16:creationId xmlns:a16="http://schemas.microsoft.com/office/drawing/2014/main" id="{AC0B8680-0714-7647-BC90-D229EA5B4E29}"/>
                  </a:ext>
                </a:extLst>
              </p:cNvPr>
              <p:cNvGrpSpPr/>
              <p:nvPr/>
            </p:nvGrpSpPr>
            <p:grpSpPr>
              <a:xfrm>
                <a:off x="18098332" y="163023"/>
                <a:ext cx="142488" cy="234909"/>
                <a:chOff x="18098332" y="163023"/>
                <a:chExt cx="142488" cy="234909"/>
              </a:xfrm>
            </p:grpSpPr>
            <p:sp>
              <p:nvSpPr>
                <p:cNvPr id="196" name="Freeform 195">
                  <a:extLst>
                    <a:ext uri="{FF2B5EF4-FFF2-40B4-BE49-F238E27FC236}">
                      <a16:creationId xmlns:a16="http://schemas.microsoft.com/office/drawing/2014/main" id="{EC02A4CF-C272-5E48-9F18-6816A6835D81}"/>
                    </a:ext>
                  </a:extLst>
                </p:cNvPr>
                <p:cNvSpPr/>
                <p:nvPr/>
              </p:nvSpPr>
              <p:spPr>
                <a:xfrm>
                  <a:off x="18143356" y="321278"/>
                  <a:ext cx="62579" cy="76655"/>
                </a:xfrm>
                <a:custGeom>
                  <a:avLst/>
                  <a:gdLst>
                    <a:gd name="connsiteX0" fmla="*/ 62579 w 62579"/>
                    <a:gd name="connsiteY0" fmla="*/ 67342 h 76655"/>
                    <a:gd name="connsiteX1" fmla="*/ 0 w 62579"/>
                    <a:gd name="connsiteY1" fmla="*/ 67342 h 76655"/>
                    <a:gd name="connsiteX2" fmla="*/ 5429 w 62579"/>
                    <a:gd name="connsiteY2" fmla="*/ 0 h 76655"/>
                    <a:gd name="connsiteX3" fmla="*/ 56674 w 62579"/>
                    <a:gd name="connsiteY3" fmla="*/ 0 h 76655"/>
                  </a:gdLst>
                  <a:ahLst/>
                  <a:cxnLst>
                    <a:cxn ang="0">
                      <a:pos x="connsiteX0" y="connsiteY0"/>
                    </a:cxn>
                    <a:cxn ang="0">
                      <a:pos x="connsiteX1" y="connsiteY1"/>
                    </a:cxn>
                    <a:cxn ang="0">
                      <a:pos x="connsiteX2" y="connsiteY2"/>
                    </a:cxn>
                    <a:cxn ang="0">
                      <a:pos x="connsiteX3" y="connsiteY3"/>
                    </a:cxn>
                  </a:cxnLst>
                  <a:rect l="l" t="t" r="r" b="b"/>
                  <a:pathLst>
                    <a:path w="62579" h="76655">
                      <a:moveTo>
                        <a:pt x="62579" y="67342"/>
                      </a:moveTo>
                      <a:cubicBezTo>
                        <a:pt x="62579" y="67342"/>
                        <a:pt x="38195" y="88297"/>
                        <a:pt x="0" y="67342"/>
                      </a:cubicBezTo>
                      <a:lnTo>
                        <a:pt x="5429" y="0"/>
                      </a:lnTo>
                      <a:lnTo>
                        <a:pt x="56674" y="0"/>
                      </a:lnTo>
                      <a:close/>
                    </a:path>
                  </a:pathLst>
                </a:custGeom>
                <a:solidFill>
                  <a:srgbClr val="D37976"/>
                </a:solidFill>
                <a:ln w="9525" cap="flat">
                  <a:noFill/>
                  <a:prstDash val="solid"/>
                  <a:miter/>
                </a:ln>
              </p:spPr>
              <p:txBody>
                <a:bodyPr rtlCol="0" anchor="ctr"/>
                <a:lstStyle/>
                <a:p>
                  <a:endParaRPr lang="en-US"/>
                </a:p>
              </p:txBody>
            </p:sp>
            <p:sp>
              <p:nvSpPr>
                <p:cNvPr id="197" name="Freeform 196">
                  <a:extLst>
                    <a:ext uri="{FF2B5EF4-FFF2-40B4-BE49-F238E27FC236}">
                      <a16:creationId xmlns:a16="http://schemas.microsoft.com/office/drawing/2014/main" id="{F7492C7C-00E7-1844-BAE7-5339EECFD068}"/>
                    </a:ext>
                  </a:extLst>
                </p:cNvPr>
                <p:cNvSpPr/>
                <p:nvPr/>
              </p:nvSpPr>
              <p:spPr>
                <a:xfrm>
                  <a:off x="18098332" y="163023"/>
                  <a:ext cx="134970" cy="112058"/>
                </a:xfrm>
                <a:custGeom>
                  <a:avLst/>
                  <a:gdLst>
                    <a:gd name="connsiteX0" fmla="*/ 5495 w 134970"/>
                    <a:gd name="connsiteY0" fmla="*/ 112058 h 112058"/>
                    <a:gd name="connsiteX1" fmla="*/ 4828 w 134970"/>
                    <a:gd name="connsiteY1" fmla="*/ 41573 h 112058"/>
                    <a:gd name="connsiteX2" fmla="*/ 98659 w 134970"/>
                    <a:gd name="connsiteY2" fmla="*/ 6363 h 112058"/>
                    <a:gd name="connsiteX3" fmla="*/ 112556 w 134970"/>
                    <a:gd name="connsiteY3" fmla="*/ 14713 h 112058"/>
                    <a:gd name="connsiteX4" fmla="*/ 134463 w 134970"/>
                    <a:gd name="connsiteY4" fmla="*/ 103962 h 112058"/>
                    <a:gd name="connsiteX5" fmla="*/ 43690 w 134970"/>
                    <a:gd name="connsiteY5" fmla="*/ 75387 h 112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970" h="112058">
                      <a:moveTo>
                        <a:pt x="5495" y="112058"/>
                      </a:moveTo>
                      <a:cubicBezTo>
                        <a:pt x="5495" y="112058"/>
                        <a:pt x="-6411" y="69577"/>
                        <a:pt x="4828" y="41573"/>
                      </a:cubicBezTo>
                      <a:cubicBezTo>
                        <a:pt x="21015" y="5940"/>
                        <a:pt x="63025" y="-9825"/>
                        <a:pt x="98659" y="6363"/>
                      </a:cubicBezTo>
                      <a:cubicBezTo>
                        <a:pt x="103595" y="8605"/>
                        <a:pt x="108258" y="11407"/>
                        <a:pt x="112556" y="14713"/>
                      </a:cubicBezTo>
                      <a:cubicBezTo>
                        <a:pt x="140273" y="34525"/>
                        <a:pt x="134463" y="103962"/>
                        <a:pt x="134463" y="103962"/>
                      </a:cubicBezTo>
                      <a:lnTo>
                        <a:pt x="43690" y="75387"/>
                      </a:lnTo>
                      <a:close/>
                    </a:path>
                  </a:pathLst>
                </a:custGeom>
                <a:solidFill>
                  <a:srgbClr val="FFFFFF"/>
                </a:solidFill>
                <a:ln w="9525" cap="flat">
                  <a:no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B8EAEB42-C510-3E47-95E0-EA7054FA2DA4}"/>
                    </a:ext>
                  </a:extLst>
                </p:cNvPr>
                <p:cNvSpPr/>
                <p:nvPr/>
              </p:nvSpPr>
              <p:spPr>
                <a:xfrm>
                  <a:off x="18109565" y="193751"/>
                  <a:ext cx="122298" cy="165057"/>
                </a:xfrm>
                <a:custGeom>
                  <a:avLst/>
                  <a:gdLst>
                    <a:gd name="connsiteX0" fmla="*/ 115801 w 122298"/>
                    <a:gd name="connsiteY0" fmla="*/ 47898 h 165057"/>
                    <a:gd name="connsiteX1" fmla="*/ 52936 w 122298"/>
                    <a:gd name="connsiteY1" fmla="*/ 273 h 165057"/>
                    <a:gd name="connsiteX2" fmla="*/ 263 w 122298"/>
                    <a:gd name="connsiteY2" fmla="*/ 58756 h 165057"/>
                    <a:gd name="connsiteX3" fmla="*/ 1882 w 122298"/>
                    <a:gd name="connsiteY3" fmla="*/ 101714 h 165057"/>
                    <a:gd name="connsiteX4" fmla="*/ 68557 w 122298"/>
                    <a:gd name="connsiteY4" fmla="*/ 164960 h 165057"/>
                    <a:gd name="connsiteX5" fmla="*/ 122183 w 122298"/>
                    <a:gd name="connsiteY5" fmla="*/ 90189 h 165057"/>
                    <a:gd name="connsiteX6" fmla="*/ 115801 w 122298"/>
                    <a:gd name="connsiteY6" fmla="*/ 47898 h 16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298" h="165057">
                      <a:moveTo>
                        <a:pt x="115801" y="47898"/>
                      </a:moveTo>
                      <a:cubicBezTo>
                        <a:pt x="112658" y="15894"/>
                        <a:pt x="84844" y="-2489"/>
                        <a:pt x="52936" y="273"/>
                      </a:cubicBezTo>
                      <a:cubicBezTo>
                        <a:pt x="21027" y="3035"/>
                        <a:pt x="-2785" y="26752"/>
                        <a:pt x="263" y="58756"/>
                      </a:cubicBezTo>
                      <a:cubicBezTo>
                        <a:pt x="263" y="58756"/>
                        <a:pt x="1691" y="99809"/>
                        <a:pt x="1882" y="101714"/>
                      </a:cubicBezTo>
                      <a:cubicBezTo>
                        <a:pt x="4835" y="132194"/>
                        <a:pt x="45697" y="167151"/>
                        <a:pt x="68557" y="164960"/>
                      </a:cubicBezTo>
                      <a:cubicBezTo>
                        <a:pt x="95132" y="162388"/>
                        <a:pt x="124373" y="113239"/>
                        <a:pt x="122183" y="90189"/>
                      </a:cubicBezTo>
                      <a:cubicBezTo>
                        <a:pt x="122183" y="88474"/>
                        <a:pt x="115801" y="47898"/>
                        <a:pt x="115801" y="47898"/>
                      </a:cubicBezTo>
                      <a:close/>
                    </a:path>
                  </a:pathLst>
                </a:custGeom>
                <a:solidFill>
                  <a:srgbClr val="E2857E"/>
                </a:solidFill>
                <a:ln w="9525" cap="flat">
                  <a:no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A39D5D45-9CB1-994A-8456-5458C9F32ED7}"/>
                    </a:ext>
                  </a:extLst>
                </p:cNvPr>
                <p:cNvSpPr/>
                <p:nvPr/>
              </p:nvSpPr>
              <p:spPr>
                <a:xfrm>
                  <a:off x="18099035" y="259378"/>
                  <a:ext cx="23106" cy="40133"/>
                </a:xfrm>
                <a:custGeom>
                  <a:avLst/>
                  <a:gdLst>
                    <a:gd name="connsiteX0" fmla="*/ 14412 w 23106"/>
                    <a:gd name="connsiteY0" fmla="*/ 1035 h 40133"/>
                    <a:gd name="connsiteX1" fmla="*/ 1648 w 23106"/>
                    <a:gd name="connsiteY1" fmla="*/ 5131 h 40133"/>
                    <a:gd name="connsiteX2" fmla="*/ 17460 w 23106"/>
                    <a:gd name="connsiteY2" fmla="*/ 40087 h 40133"/>
                    <a:gd name="connsiteX3" fmla="*/ 14412 w 23106"/>
                    <a:gd name="connsiteY3" fmla="*/ 1035 h 40133"/>
                  </a:gdLst>
                  <a:ahLst/>
                  <a:cxnLst>
                    <a:cxn ang="0">
                      <a:pos x="connsiteX0" y="connsiteY0"/>
                    </a:cxn>
                    <a:cxn ang="0">
                      <a:pos x="connsiteX1" y="connsiteY1"/>
                    </a:cxn>
                    <a:cxn ang="0">
                      <a:pos x="connsiteX2" y="connsiteY2"/>
                    </a:cxn>
                    <a:cxn ang="0">
                      <a:pos x="connsiteX3" y="connsiteY3"/>
                    </a:cxn>
                  </a:cxnLst>
                  <a:rect l="l" t="t" r="r" b="b"/>
                  <a:pathLst>
                    <a:path w="23106" h="40133">
                      <a:moveTo>
                        <a:pt x="14412" y="1035"/>
                      </a:moveTo>
                      <a:cubicBezTo>
                        <a:pt x="9754" y="-1331"/>
                        <a:pt x="4060" y="496"/>
                        <a:pt x="1648" y="5131"/>
                      </a:cubicBezTo>
                      <a:cubicBezTo>
                        <a:pt x="-3304" y="13227"/>
                        <a:pt x="3173" y="41421"/>
                        <a:pt x="17460" y="40087"/>
                      </a:cubicBezTo>
                      <a:cubicBezTo>
                        <a:pt x="31748" y="38754"/>
                        <a:pt x="14412" y="1035"/>
                        <a:pt x="14412" y="1035"/>
                      </a:cubicBezTo>
                      <a:close/>
                    </a:path>
                  </a:pathLst>
                </a:custGeom>
                <a:solidFill>
                  <a:srgbClr val="E2857E"/>
                </a:solidFill>
                <a:ln w="9525" cap="flat">
                  <a:no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1A016CBC-CB3C-0A49-9879-02FFF997AAF6}"/>
                    </a:ext>
                  </a:extLst>
                </p:cNvPr>
                <p:cNvSpPr/>
                <p:nvPr/>
              </p:nvSpPr>
              <p:spPr>
                <a:xfrm>
                  <a:off x="18220366" y="247783"/>
                  <a:ext cx="20453" cy="40951"/>
                </a:xfrm>
                <a:custGeom>
                  <a:avLst/>
                  <a:gdLst>
                    <a:gd name="connsiteX0" fmla="*/ 3285 w 20453"/>
                    <a:gd name="connsiteY0" fmla="*/ 2057 h 40951"/>
                    <a:gd name="connsiteX1" fmla="*/ 16665 w 20453"/>
                    <a:gd name="connsiteY1" fmla="*/ 3613 h 40951"/>
                    <a:gd name="connsiteX2" fmla="*/ 16715 w 20453"/>
                    <a:gd name="connsiteY2" fmla="*/ 3677 h 40951"/>
                    <a:gd name="connsiteX3" fmla="*/ 7762 w 20453"/>
                    <a:gd name="connsiteY3" fmla="*/ 40919 h 40951"/>
                    <a:gd name="connsiteX4" fmla="*/ 3285 w 20453"/>
                    <a:gd name="connsiteY4" fmla="*/ 2057 h 409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53" h="40951">
                      <a:moveTo>
                        <a:pt x="3285" y="2057"/>
                      </a:moveTo>
                      <a:cubicBezTo>
                        <a:pt x="7409" y="-1208"/>
                        <a:pt x="13400" y="-511"/>
                        <a:pt x="16665" y="3613"/>
                      </a:cubicBezTo>
                      <a:cubicBezTo>
                        <a:pt x="16682" y="3634"/>
                        <a:pt x="16698" y="3655"/>
                        <a:pt x="16715" y="3677"/>
                      </a:cubicBezTo>
                      <a:cubicBezTo>
                        <a:pt x="23097" y="10725"/>
                        <a:pt x="22049" y="39586"/>
                        <a:pt x="7762" y="40919"/>
                      </a:cubicBezTo>
                      <a:cubicBezTo>
                        <a:pt x="-6526" y="42253"/>
                        <a:pt x="3285" y="2057"/>
                        <a:pt x="3285" y="2057"/>
                      </a:cubicBezTo>
                      <a:close/>
                    </a:path>
                  </a:pathLst>
                </a:custGeom>
                <a:solidFill>
                  <a:srgbClr val="E2857E"/>
                </a:solidFill>
                <a:ln w="9525" cap="flat">
                  <a:noFill/>
                  <a:prstDash val="solid"/>
                  <a:miter/>
                </a:ln>
              </p:spPr>
              <p:txBody>
                <a:bodyPr rtlCol="0" anchor="ctr"/>
                <a:lstStyle/>
                <a:p>
                  <a:endParaRPr lang="en-US"/>
                </a:p>
              </p:txBody>
            </p:sp>
          </p:grpSp>
          <p:sp>
            <p:nvSpPr>
              <p:cNvPr id="188" name="Freeform 187">
                <a:extLst>
                  <a:ext uri="{FF2B5EF4-FFF2-40B4-BE49-F238E27FC236}">
                    <a16:creationId xmlns:a16="http://schemas.microsoft.com/office/drawing/2014/main" id="{B6FDC671-FEF5-D743-BE73-446B67171C6D}"/>
                  </a:ext>
                </a:extLst>
              </p:cNvPr>
              <p:cNvSpPr/>
              <p:nvPr/>
            </p:nvSpPr>
            <p:spPr>
              <a:xfrm>
                <a:off x="17880660" y="418433"/>
                <a:ext cx="198047" cy="441111"/>
              </a:xfrm>
              <a:custGeom>
                <a:avLst/>
                <a:gdLst>
                  <a:gd name="connsiteX0" fmla="*/ 175827 w 198047"/>
                  <a:gd name="connsiteY0" fmla="*/ 0 h 441111"/>
                  <a:gd name="connsiteX1" fmla="*/ 2758 w 198047"/>
                  <a:gd name="connsiteY1" fmla="*/ 326993 h 441111"/>
                  <a:gd name="connsiteX2" fmla="*/ 197163 w 198047"/>
                  <a:gd name="connsiteY2" fmla="*/ 354997 h 441111"/>
                  <a:gd name="connsiteX3" fmla="*/ 175827 w 198047"/>
                  <a:gd name="connsiteY3" fmla="*/ 0 h 441111"/>
                </a:gdLst>
                <a:ahLst/>
                <a:cxnLst>
                  <a:cxn ang="0">
                    <a:pos x="connsiteX0" y="connsiteY0"/>
                  </a:cxn>
                  <a:cxn ang="0">
                    <a:pos x="connsiteX1" y="connsiteY1"/>
                  </a:cxn>
                  <a:cxn ang="0">
                    <a:pos x="connsiteX2" y="connsiteY2"/>
                  </a:cxn>
                  <a:cxn ang="0">
                    <a:pos x="connsiteX3" y="connsiteY3"/>
                  </a:cxn>
                </a:cxnLst>
                <a:rect l="l" t="t" r="r" b="b"/>
                <a:pathLst>
                  <a:path w="198047" h="441111">
                    <a:moveTo>
                      <a:pt x="175827" y="0"/>
                    </a:moveTo>
                    <a:cubicBezTo>
                      <a:pt x="175827" y="0"/>
                      <a:pt x="39334" y="69914"/>
                      <a:pt x="2758" y="326993"/>
                    </a:cubicBezTo>
                    <a:cubicBezTo>
                      <a:pt x="-26674" y="533781"/>
                      <a:pt x="188972" y="406432"/>
                      <a:pt x="197163" y="354997"/>
                    </a:cubicBezTo>
                    <a:cubicBezTo>
                      <a:pt x="203259" y="316516"/>
                      <a:pt x="175827" y="0"/>
                      <a:pt x="175827" y="0"/>
                    </a:cubicBezTo>
                    <a:close/>
                  </a:path>
                </a:pathLst>
              </a:custGeom>
              <a:solidFill>
                <a:srgbClr val="2A3856"/>
              </a:solidFill>
              <a:ln w="9525" cap="flat">
                <a:noFill/>
                <a:prstDash val="solid"/>
                <a:miter/>
              </a:ln>
            </p:spPr>
            <p:txBody>
              <a:bodyPr rtlCol="0" anchor="ctr"/>
              <a:lstStyle/>
              <a:p>
                <a:endParaRPr lang="en-US"/>
              </a:p>
            </p:txBody>
          </p:sp>
          <p:sp>
            <p:nvSpPr>
              <p:cNvPr id="189" name="Freeform 188">
                <a:extLst>
                  <a:ext uri="{FF2B5EF4-FFF2-40B4-BE49-F238E27FC236}">
                    <a16:creationId xmlns:a16="http://schemas.microsoft.com/office/drawing/2014/main" id="{25A5AB24-1D18-7E48-AF53-D1F9DA9209B3}"/>
                  </a:ext>
                </a:extLst>
              </p:cNvPr>
              <p:cNvSpPr/>
              <p:nvPr/>
            </p:nvSpPr>
            <p:spPr>
              <a:xfrm>
                <a:off x="18269547" y="444436"/>
                <a:ext cx="184676" cy="433467"/>
              </a:xfrm>
              <a:custGeom>
                <a:avLst/>
                <a:gdLst>
                  <a:gd name="connsiteX0" fmla="*/ 55450 w 184676"/>
                  <a:gd name="connsiteY0" fmla="*/ 0 h 433467"/>
                  <a:gd name="connsiteX1" fmla="*/ 180133 w 184676"/>
                  <a:gd name="connsiteY1" fmla="*/ 309086 h 433467"/>
                  <a:gd name="connsiteX2" fmla="*/ 4206 w 184676"/>
                  <a:gd name="connsiteY2" fmla="*/ 403670 h 433467"/>
                  <a:gd name="connsiteX3" fmla="*/ 301 w 184676"/>
                  <a:gd name="connsiteY3" fmla="*/ 192119 h 433467"/>
                  <a:gd name="connsiteX4" fmla="*/ 55450 w 184676"/>
                  <a:gd name="connsiteY4" fmla="*/ 0 h 4334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4676" h="433467">
                    <a:moveTo>
                      <a:pt x="55450" y="0"/>
                    </a:moveTo>
                    <a:cubicBezTo>
                      <a:pt x="55450" y="0"/>
                      <a:pt x="129650" y="40957"/>
                      <a:pt x="180133" y="309086"/>
                    </a:cubicBezTo>
                    <a:cubicBezTo>
                      <a:pt x="218233" y="514350"/>
                      <a:pt x="4206" y="403670"/>
                      <a:pt x="4206" y="403670"/>
                    </a:cubicBezTo>
                    <a:cubicBezTo>
                      <a:pt x="8027" y="333151"/>
                      <a:pt x="6722" y="262448"/>
                      <a:pt x="301" y="192119"/>
                    </a:cubicBezTo>
                    <a:cubicBezTo>
                      <a:pt x="-4748" y="131064"/>
                      <a:pt x="55450" y="0"/>
                      <a:pt x="55450" y="0"/>
                    </a:cubicBezTo>
                    <a:close/>
                  </a:path>
                </a:pathLst>
              </a:custGeom>
              <a:solidFill>
                <a:srgbClr val="2A3856"/>
              </a:solidFill>
              <a:ln w="9525" cap="flat">
                <a:noFill/>
                <a:prstDash val="solid"/>
                <a:miter/>
              </a:ln>
            </p:spPr>
            <p:txBody>
              <a:bodyPr rtlCol="0" anchor="ctr"/>
              <a:lstStyle/>
              <a:p>
                <a:endParaRPr lang="en-US"/>
              </a:p>
            </p:txBody>
          </p:sp>
          <p:grpSp>
            <p:nvGrpSpPr>
              <p:cNvPr id="190" name="Graphic 5">
                <a:extLst>
                  <a:ext uri="{FF2B5EF4-FFF2-40B4-BE49-F238E27FC236}">
                    <a16:creationId xmlns:a16="http://schemas.microsoft.com/office/drawing/2014/main" id="{E8DF560F-5B12-AE49-B4D9-36F64F5CE249}"/>
                  </a:ext>
                </a:extLst>
              </p:cNvPr>
              <p:cNvGrpSpPr/>
              <p:nvPr/>
            </p:nvGrpSpPr>
            <p:grpSpPr>
              <a:xfrm>
                <a:off x="18104493" y="548544"/>
                <a:ext cx="418624" cy="198786"/>
                <a:chOff x="18104493" y="548544"/>
                <a:chExt cx="418624" cy="198786"/>
              </a:xfrm>
            </p:grpSpPr>
            <p:sp>
              <p:nvSpPr>
                <p:cNvPr id="193" name="Freeform 192">
                  <a:extLst>
                    <a:ext uri="{FF2B5EF4-FFF2-40B4-BE49-F238E27FC236}">
                      <a16:creationId xmlns:a16="http://schemas.microsoft.com/office/drawing/2014/main" id="{1C48AA0B-88C1-CC4E-A304-C50EBA44080B}"/>
                    </a:ext>
                  </a:extLst>
                </p:cNvPr>
                <p:cNvSpPr/>
                <p:nvPr/>
              </p:nvSpPr>
              <p:spPr>
                <a:xfrm>
                  <a:off x="18213936" y="548544"/>
                  <a:ext cx="309181" cy="198786"/>
                </a:xfrm>
                <a:custGeom>
                  <a:avLst/>
                  <a:gdLst>
                    <a:gd name="connsiteX0" fmla="*/ 0 w 309181"/>
                    <a:gd name="connsiteY0" fmla="*/ 0 h 198786"/>
                    <a:gd name="connsiteX1" fmla="*/ 309182 w 309181"/>
                    <a:gd name="connsiteY1" fmla="*/ 0 h 198786"/>
                    <a:gd name="connsiteX2" fmla="*/ 309182 w 309181"/>
                    <a:gd name="connsiteY2" fmla="*/ 198787 h 198786"/>
                    <a:gd name="connsiteX3" fmla="*/ 0 w 309181"/>
                    <a:gd name="connsiteY3" fmla="*/ 198787 h 198786"/>
                  </a:gdLst>
                  <a:ahLst/>
                  <a:cxnLst>
                    <a:cxn ang="0">
                      <a:pos x="connsiteX0" y="connsiteY0"/>
                    </a:cxn>
                    <a:cxn ang="0">
                      <a:pos x="connsiteX1" y="connsiteY1"/>
                    </a:cxn>
                    <a:cxn ang="0">
                      <a:pos x="connsiteX2" y="connsiteY2"/>
                    </a:cxn>
                    <a:cxn ang="0">
                      <a:pos x="connsiteX3" y="connsiteY3"/>
                    </a:cxn>
                  </a:cxnLst>
                  <a:rect l="l" t="t" r="r" b="b"/>
                  <a:pathLst>
                    <a:path w="309181" h="198786">
                      <a:moveTo>
                        <a:pt x="0" y="0"/>
                      </a:moveTo>
                      <a:lnTo>
                        <a:pt x="309182" y="0"/>
                      </a:lnTo>
                      <a:lnTo>
                        <a:pt x="309182" y="198787"/>
                      </a:lnTo>
                      <a:lnTo>
                        <a:pt x="0" y="198787"/>
                      </a:lnTo>
                      <a:close/>
                    </a:path>
                  </a:pathLst>
                </a:custGeom>
                <a:solidFill>
                  <a:srgbClr val="DDE7F0"/>
                </a:solidFill>
                <a:ln w="9525" cap="flat">
                  <a:noFill/>
                  <a:prstDash val="solid"/>
                  <a:miter/>
                </a:ln>
              </p:spPr>
              <p:txBody>
                <a:bodyPr rtlCol="0" anchor="ctr"/>
                <a:lstStyle/>
                <a:p>
                  <a:endParaRPr lang="en-US"/>
                </a:p>
              </p:txBody>
            </p:sp>
            <p:sp>
              <p:nvSpPr>
                <p:cNvPr id="194" name="Freeform 193">
                  <a:extLst>
                    <a:ext uri="{FF2B5EF4-FFF2-40B4-BE49-F238E27FC236}">
                      <a16:creationId xmlns:a16="http://schemas.microsoft.com/office/drawing/2014/main" id="{8251BA07-3478-914F-B1B7-E21B7CA91ED4}"/>
                    </a:ext>
                  </a:extLst>
                </p:cNvPr>
                <p:cNvSpPr/>
                <p:nvPr/>
              </p:nvSpPr>
              <p:spPr>
                <a:xfrm>
                  <a:off x="18104493" y="735996"/>
                  <a:ext cx="128016" cy="11334"/>
                </a:xfrm>
                <a:custGeom>
                  <a:avLst/>
                  <a:gdLst>
                    <a:gd name="connsiteX0" fmla="*/ 128016 w 128016"/>
                    <a:gd name="connsiteY0" fmla="*/ 11335 h 11334"/>
                    <a:gd name="connsiteX1" fmla="*/ 0 w 128016"/>
                    <a:gd name="connsiteY1" fmla="*/ 11335 h 11334"/>
                    <a:gd name="connsiteX2" fmla="*/ 0 w 128016"/>
                    <a:gd name="connsiteY2" fmla="*/ 5620 h 11334"/>
                    <a:gd name="connsiteX3" fmla="*/ 128016 w 128016"/>
                    <a:gd name="connsiteY3" fmla="*/ 0 h 11334"/>
                    <a:gd name="connsiteX4" fmla="*/ 128016 w 128016"/>
                    <a:gd name="connsiteY4" fmla="*/ 11335 h 11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16" h="11334">
                      <a:moveTo>
                        <a:pt x="128016" y="11335"/>
                      </a:moveTo>
                      <a:lnTo>
                        <a:pt x="0" y="11335"/>
                      </a:lnTo>
                      <a:lnTo>
                        <a:pt x="0" y="5620"/>
                      </a:lnTo>
                      <a:lnTo>
                        <a:pt x="128016" y="0"/>
                      </a:lnTo>
                      <a:lnTo>
                        <a:pt x="128016" y="11335"/>
                      </a:lnTo>
                      <a:close/>
                    </a:path>
                  </a:pathLst>
                </a:custGeom>
                <a:solidFill>
                  <a:srgbClr val="DDE7F0"/>
                </a:solidFill>
                <a:ln w="9525" cap="flat">
                  <a:no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62C4EF7E-EE54-7D41-8053-DECF5F70045F}"/>
                    </a:ext>
                  </a:extLst>
                </p:cNvPr>
                <p:cNvSpPr/>
                <p:nvPr/>
              </p:nvSpPr>
              <p:spPr>
                <a:xfrm>
                  <a:off x="18351858" y="631221"/>
                  <a:ext cx="33527" cy="33527"/>
                </a:xfrm>
                <a:custGeom>
                  <a:avLst/>
                  <a:gdLst>
                    <a:gd name="connsiteX0" fmla="*/ 0 w 33527"/>
                    <a:gd name="connsiteY0" fmla="*/ 0 h 33527"/>
                    <a:gd name="connsiteX1" fmla="*/ 33528 w 33527"/>
                    <a:gd name="connsiteY1" fmla="*/ 0 h 33527"/>
                    <a:gd name="connsiteX2" fmla="*/ 33528 w 33527"/>
                    <a:gd name="connsiteY2" fmla="*/ 33528 h 33527"/>
                    <a:gd name="connsiteX3" fmla="*/ 0 w 33527"/>
                    <a:gd name="connsiteY3" fmla="*/ 33528 h 33527"/>
                  </a:gdLst>
                  <a:ahLst/>
                  <a:cxnLst>
                    <a:cxn ang="0">
                      <a:pos x="connsiteX0" y="connsiteY0"/>
                    </a:cxn>
                    <a:cxn ang="0">
                      <a:pos x="connsiteX1" y="connsiteY1"/>
                    </a:cxn>
                    <a:cxn ang="0">
                      <a:pos x="connsiteX2" y="connsiteY2"/>
                    </a:cxn>
                    <a:cxn ang="0">
                      <a:pos x="connsiteX3" y="connsiteY3"/>
                    </a:cxn>
                  </a:cxnLst>
                  <a:rect l="l" t="t" r="r" b="b"/>
                  <a:pathLst>
                    <a:path w="33527" h="33527">
                      <a:moveTo>
                        <a:pt x="0" y="0"/>
                      </a:moveTo>
                      <a:lnTo>
                        <a:pt x="33528" y="0"/>
                      </a:lnTo>
                      <a:lnTo>
                        <a:pt x="33528" y="33528"/>
                      </a:lnTo>
                      <a:lnTo>
                        <a:pt x="0" y="33528"/>
                      </a:lnTo>
                      <a:close/>
                    </a:path>
                  </a:pathLst>
                </a:custGeom>
                <a:solidFill>
                  <a:srgbClr val="FFFFFF"/>
                </a:solidFill>
                <a:ln w="9525" cap="flat">
                  <a:noFill/>
                  <a:prstDash val="solid"/>
                  <a:miter/>
                </a:ln>
              </p:spPr>
              <p:txBody>
                <a:bodyPr rtlCol="0" anchor="ctr"/>
                <a:lstStyle/>
                <a:p>
                  <a:endParaRPr lang="en-US"/>
                </a:p>
              </p:txBody>
            </p:sp>
          </p:grpSp>
          <p:sp>
            <p:nvSpPr>
              <p:cNvPr id="191" name="Freeform 190">
                <a:extLst>
                  <a:ext uri="{FF2B5EF4-FFF2-40B4-BE49-F238E27FC236}">
                    <a16:creationId xmlns:a16="http://schemas.microsoft.com/office/drawing/2014/main" id="{6AD99067-1613-6E4C-BA4D-5BE8BA96B175}"/>
                  </a:ext>
                </a:extLst>
              </p:cNvPr>
              <p:cNvSpPr/>
              <p:nvPr/>
            </p:nvSpPr>
            <p:spPr>
              <a:xfrm>
                <a:off x="18130588" y="666275"/>
                <a:ext cx="71763" cy="70027"/>
              </a:xfrm>
              <a:custGeom>
                <a:avLst/>
                <a:gdLst>
                  <a:gd name="connsiteX0" fmla="*/ 28102 w 71763"/>
                  <a:gd name="connsiteY0" fmla="*/ 475 h 70027"/>
                  <a:gd name="connsiteX1" fmla="*/ 58392 w 71763"/>
                  <a:gd name="connsiteY1" fmla="*/ 3999 h 70027"/>
                  <a:gd name="connsiteX2" fmla="*/ 70584 w 71763"/>
                  <a:gd name="connsiteY2" fmla="*/ 30193 h 70027"/>
                  <a:gd name="connsiteX3" fmla="*/ 63917 w 71763"/>
                  <a:gd name="connsiteY3" fmla="*/ 29335 h 70027"/>
                  <a:gd name="connsiteX4" fmla="*/ 68394 w 71763"/>
                  <a:gd name="connsiteY4" fmla="*/ 46480 h 70027"/>
                  <a:gd name="connsiteX5" fmla="*/ 47629 w 71763"/>
                  <a:gd name="connsiteY5" fmla="*/ 33050 h 70027"/>
                  <a:gd name="connsiteX6" fmla="*/ 55440 w 71763"/>
                  <a:gd name="connsiteY6" fmla="*/ 61625 h 70027"/>
                  <a:gd name="connsiteX7" fmla="*/ 39533 w 71763"/>
                  <a:gd name="connsiteY7" fmla="*/ 45814 h 70027"/>
                  <a:gd name="connsiteX8" fmla="*/ 42771 w 71763"/>
                  <a:gd name="connsiteY8" fmla="*/ 69912 h 70027"/>
                  <a:gd name="connsiteX9" fmla="*/ 23245 w 71763"/>
                  <a:gd name="connsiteY9" fmla="*/ 47242 h 70027"/>
                  <a:gd name="connsiteX10" fmla="*/ 1052 w 71763"/>
                  <a:gd name="connsiteY10" fmla="*/ 52291 h 70027"/>
                  <a:gd name="connsiteX11" fmla="*/ 28102 w 71763"/>
                  <a:gd name="connsiteY11" fmla="*/ 475 h 70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763" h="70027">
                    <a:moveTo>
                      <a:pt x="28102" y="475"/>
                    </a:moveTo>
                    <a:cubicBezTo>
                      <a:pt x="28102" y="475"/>
                      <a:pt x="51344" y="-1907"/>
                      <a:pt x="58392" y="3999"/>
                    </a:cubicBezTo>
                    <a:cubicBezTo>
                      <a:pt x="65441" y="9904"/>
                      <a:pt x="75156" y="25335"/>
                      <a:pt x="70584" y="30193"/>
                    </a:cubicBezTo>
                    <a:cubicBezTo>
                      <a:pt x="67918" y="33050"/>
                      <a:pt x="63917" y="29335"/>
                      <a:pt x="63917" y="29335"/>
                    </a:cubicBezTo>
                    <a:cubicBezTo>
                      <a:pt x="63917" y="29335"/>
                      <a:pt x="73442" y="42194"/>
                      <a:pt x="68394" y="46480"/>
                    </a:cubicBezTo>
                    <a:cubicBezTo>
                      <a:pt x="63345" y="50767"/>
                      <a:pt x="47629" y="33050"/>
                      <a:pt x="47629" y="33050"/>
                    </a:cubicBezTo>
                    <a:cubicBezTo>
                      <a:pt x="47629" y="33050"/>
                      <a:pt x="61631" y="58006"/>
                      <a:pt x="55440" y="61625"/>
                    </a:cubicBezTo>
                    <a:cubicBezTo>
                      <a:pt x="49248" y="65245"/>
                      <a:pt x="39533" y="45814"/>
                      <a:pt x="39533" y="45814"/>
                    </a:cubicBezTo>
                    <a:cubicBezTo>
                      <a:pt x="39533" y="45814"/>
                      <a:pt x="47152" y="67912"/>
                      <a:pt x="42771" y="69912"/>
                    </a:cubicBezTo>
                    <a:cubicBezTo>
                      <a:pt x="38390" y="71912"/>
                      <a:pt x="23245" y="47242"/>
                      <a:pt x="23245" y="47242"/>
                    </a:cubicBezTo>
                    <a:lnTo>
                      <a:pt x="1052" y="52291"/>
                    </a:lnTo>
                    <a:cubicBezTo>
                      <a:pt x="1052" y="52291"/>
                      <a:pt x="-8188" y="10000"/>
                      <a:pt x="28102" y="475"/>
                    </a:cubicBezTo>
                    <a:close/>
                  </a:path>
                </a:pathLst>
              </a:custGeom>
              <a:solidFill>
                <a:srgbClr val="E2857E"/>
              </a:solidFill>
              <a:ln w="9525" cap="flat">
                <a:noFill/>
                <a:prstDash val="solid"/>
                <a:miter/>
              </a:ln>
            </p:spPr>
            <p:txBody>
              <a:bodyPr rtlCol="0" anchor="ctr"/>
              <a:lstStyle/>
              <a:p>
                <a:endParaRPr lang="en-US"/>
              </a:p>
            </p:txBody>
          </p:sp>
          <p:sp>
            <p:nvSpPr>
              <p:cNvPr id="192" name="Freeform 191">
                <a:extLst>
                  <a:ext uri="{FF2B5EF4-FFF2-40B4-BE49-F238E27FC236}">
                    <a16:creationId xmlns:a16="http://schemas.microsoft.com/office/drawing/2014/main" id="{8FB040F2-F9B2-F046-8B66-58151ED13861}"/>
                  </a:ext>
                </a:extLst>
              </p:cNvPr>
              <p:cNvSpPr/>
              <p:nvPr/>
            </p:nvSpPr>
            <p:spPr>
              <a:xfrm>
                <a:off x="18342815" y="699650"/>
                <a:ext cx="67716" cy="74419"/>
              </a:xfrm>
              <a:custGeom>
                <a:avLst/>
                <a:gdLst>
                  <a:gd name="connsiteX0" fmla="*/ 56096 w 67716"/>
                  <a:gd name="connsiteY0" fmla="*/ 62349 h 74419"/>
                  <a:gd name="connsiteX1" fmla="*/ 67717 w 67716"/>
                  <a:gd name="connsiteY1" fmla="*/ 33774 h 74419"/>
                  <a:gd name="connsiteX2" fmla="*/ 61049 w 67716"/>
                  <a:gd name="connsiteY2" fmla="*/ 12819 h 74419"/>
                  <a:gd name="connsiteX3" fmla="*/ 46476 w 67716"/>
                  <a:gd name="connsiteY3" fmla="*/ 1103 h 74419"/>
                  <a:gd name="connsiteX4" fmla="*/ 43333 w 67716"/>
                  <a:gd name="connsiteY4" fmla="*/ 10628 h 74419"/>
                  <a:gd name="connsiteX5" fmla="*/ 30855 w 67716"/>
                  <a:gd name="connsiteY5" fmla="*/ 532 h 74419"/>
                  <a:gd name="connsiteX6" fmla="*/ 31808 w 67716"/>
                  <a:gd name="connsiteY6" fmla="*/ 16343 h 74419"/>
                  <a:gd name="connsiteX7" fmla="*/ 12758 w 67716"/>
                  <a:gd name="connsiteY7" fmla="*/ 2723 h 74419"/>
                  <a:gd name="connsiteX8" fmla="*/ 19901 w 67716"/>
                  <a:gd name="connsiteY8" fmla="*/ 32631 h 74419"/>
                  <a:gd name="connsiteX9" fmla="*/ 851 w 67716"/>
                  <a:gd name="connsiteY9" fmla="*/ 15200 h 74419"/>
                  <a:gd name="connsiteX10" fmla="*/ 14853 w 67716"/>
                  <a:gd name="connsiteY10" fmla="*/ 46728 h 74419"/>
                  <a:gd name="connsiteX11" fmla="*/ 14853 w 67716"/>
                  <a:gd name="connsiteY11" fmla="*/ 67112 h 74419"/>
                  <a:gd name="connsiteX12" fmla="*/ 56096 w 67716"/>
                  <a:gd name="connsiteY12" fmla="*/ 62349 h 74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716" h="74419">
                    <a:moveTo>
                      <a:pt x="56096" y="62349"/>
                    </a:moveTo>
                    <a:cubicBezTo>
                      <a:pt x="60469" y="53035"/>
                      <a:pt x="64348" y="43496"/>
                      <a:pt x="67717" y="33774"/>
                    </a:cubicBezTo>
                    <a:cubicBezTo>
                      <a:pt x="67385" y="26323"/>
                      <a:pt x="65085" y="19092"/>
                      <a:pt x="61049" y="12819"/>
                    </a:cubicBezTo>
                    <a:cubicBezTo>
                      <a:pt x="58192" y="8342"/>
                      <a:pt x="49524" y="-1468"/>
                      <a:pt x="46476" y="1103"/>
                    </a:cubicBezTo>
                    <a:cubicBezTo>
                      <a:pt x="44349" y="3814"/>
                      <a:pt x="43237" y="7184"/>
                      <a:pt x="43333" y="10628"/>
                    </a:cubicBezTo>
                    <a:cubicBezTo>
                      <a:pt x="43333" y="10628"/>
                      <a:pt x="33808" y="-2802"/>
                      <a:pt x="30855" y="532"/>
                    </a:cubicBezTo>
                    <a:cubicBezTo>
                      <a:pt x="26664" y="5580"/>
                      <a:pt x="31808" y="16343"/>
                      <a:pt x="31808" y="16343"/>
                    </a:cubicBezTo>
                    <a:cubicBezTo>
                      <a:pt x="31808" y="16343"/>
                      <a:pt x="16187" y="-2707"/>
                      <a:pt x="12758" y="2723"/>
                    </a:cubicBezTo>
                    <a:cubicBezTo>
                      <a:pt x="9328" y="8152"/>
                      <a:pt x="20187" y="26440"/>
                      <a:pt x="19901" y="32631"/>
                    </a:cubicBezTo>
                    <a:cubicBezTo>
                      <a:pt x="16091" y="30250"/>
                      <a:pt x="5899" y="9866"/>
                      <a:pt x="851" y="15200"/>
                    </a:cubicBezTo>
                    <a:cubicBezTo>
                      <a:pt x="-4197" y="20534"/>
                      <a:pt x="14853" y="46728"/>
                      <a:pt x="14853" y="46728"/>
                    </a:cubicBezTo>
                    <a:cubicBezTo>
                      <a:pt x="14853" y="46728"/>
                      <a:pt x="11900" y="63492"/>
                      <a:pt x="14853" y="67112"/>
                    </a:cubicBezTo>
                    <a:cubicBezTo>
                      <a:pt x="21140" y="74446"/>
                      <a:pt x="46285" y="80828"/>
                      <a:pt x="56096" y="62349"/>
                    </a:cubicBezTo>
                    <a:close/>
                  </a:path>
                </a:pathLst>
              </a:custGeom>
              <a:solidFill>
                <a:srgbClr val="E2857E"/>
              </a:solidFill>
              <a:ln w="9525" cap="flat">
                <a:noFill/>
                <a:prstDash val="solid"/>
                <a:miter/>
              </a:ln>
            </p:spPr>
            <p:txBody>
              <a:bodyPr rtlCol="0" anchor="ctr"/>
              <a:lstStyle/>
              <a:p>
                <a:endParaRPr lang="en-US"/>
              </a:p>
            </p:txBody>
          </p:sp>
        </p:grpSp>
      </p:grpSp>
      <p:pic>
        <p:nvPicPr>
          <p:cNvPr id="230" name="Graphic 229" descr="Play with solid fill">
            <a:hlinkClick r:id="rId6"/>
            <a:extLst>
              <a:ext uri="{FF2B5EF4-FFF2-40B4-BE49-F238E27FC236}">
                <a16:creationId xmlns:a16="http://schemas.microsoft.com/office/drawing/2014/main" id="{7D2EDF48-FD39-864E-96CA-E312A83752B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882636" y="1"/>
            <a:ext cx="307777" cy="307777"/>
          </a:xfrm>
          <a:prstGeom prst="rect">
            <a:avLst/>
          </a:prstGeom>
        </p:spPr>
      </p:pic>
      <p:sp>
        <p:nvSpPr>
          <p:cNvPr id="231" name="TextBox 230">
            <a:extLst>
              <a:ext uri="{FF2B5EF4-FFF2-40B4-BE49-F238E27FC236}">
                <a16:creationId xmlns:a16="http://schemas.microsoft.com/office/drawing/2014/main" id="{869592DC-DFB2-AE4E-BE47-237BDC28E060}"/>
              </a:ext>
            </a:extLst>
          </p:cNvPr>
          <p:cNvSpPr txBox="1"/>
          <p:nvPr/>
        </p:nvSpPr>
        <p:spPr>
          <a:xfrm>
            <a:off x="7669476" y="3087785"/>
            <a:ext cx="2813272" cy="276999"/>
          </a:xfrm>
          <a:prstGeom prst="rect">
            <a:avLst/>
          </a:prstGeom>
          <a:noFill/>
        </p:spPr>
        <p:txBody>
          <a:bodyPr wrap="none" lIns="0" tIns="0" rIns="0" bIns="0" rtlCol="0">
            <a:spAutoFit/>
          </a:bodyPr>
          <a:lstStyle/>
          <a:p>
            <a:pPr defTabSz="914126">
              <a:defRPr/>
            </a:pPr>
            <a:r>
              <a:rPr lang="en-US" b="1" kern="0" dirty="0">
                <a:solidFill>
                  <a:srgbClr val="2A3856"/>
                </a:solidFill>
                <a:latin typeface="Gill Sans Nova" panose="020B0602020104020203" pitchFamily="34" charset="0"/>
                <a:ea typeface="Source Sans Pro" panose="020B0503030403020204" pitchFamily="34" charset="0"/>
                <a:cs typeface="Century Gothic" charset="0"/>
              </a:rPr>
              <a:t>NolanHaimsCreative.com</a:t>
            </a:r>
          </a:p>
        </p:txBody>
      </p:sp>
      <p:sp>
        <p:nvSpPr>
          <p:cNvPr id="233" name="TextBox 232">
            <a:extLst>
              <a:ext uri="{FF2B5EF4-FFF2-40B4-BE49-F238E27FC236}">
                <a16:creationId xmlns:a16="http://schemas.microsoft.com/office/drawing/2014/main" id="{700297E2-FF81-AE4A-94A4-D0E765A18881}"/>
              </a:ext>
            </a:extLst>
          </p:cNvPr>
          <p:cNvSpPr txBox="1"/>
          <p:nvPr/>
        </p:nvSpPr>
        <p:spPr>
          <a:xfrm>
            <a:off x="7669476" y="4595592"/>
            <a:ext cx="1564532" cy="276999"/>
          </a:xfrm>
          <a:prstGeom prst="rect">
            <a:avLst/>
          </a:prstGeom>
          <a:noFill/>
        </p:spPr>
        <p:txBody>
          <a:bodyPr wrap="none" lIns="0" tIns="0" rIns="0" bIns="0" rtlCol="0">
            <a:spAutoFit/>
          </a:bodyPr>
          <a:lstStyle/>
          <a:p>
            <a:r>
              <a:rPr lang="en-US" b="1" dirty="0">
                <a:solidFill>
                  <a:srgbClr val="2A3856"/>
                </a:solidFill>
                <a:latin typeface="Gill Sans Nova" panose="020B0602020104020203" pitchFamily="34" charset="0"/>
                <a:ea typeface="Source Sans Pro" panose="020B0503030403020204" pitchFamily="34" charset="0"/>
                <a:cs typeface="Century Gothic" charset="0"/>
              </a:rPr>
              <a:t>@</a:t>
            </a:r>
            <a:r>
              <a:rPr lang="en-US" b="1" dirty="0" err="1">
                <a:solidFill>
                  <a:srgbClr val="2A3856"/>
                </a:solidFill>
                <a:latin typeface="Gill Sans Nova" panose="020B0602020104020203" pitchFamily="34" charset="0"/>
                <a:ea typeface="Source Sans Pro" panose="020B0503030403020204" pitchFamily="34" charset="0"/>
                <a:cs typeface="Century Gothic" charset="0"/>
              </a:rPr>
              <a:t>NolanHaims</a:t>
            </a:r>
            <a:endParaRPr lang="en-US" b="1" dirty="0">
              <a:solidFill>
                <a:srgbClr val="2A3856"/>
              </a:solidFill>
              <a:latin typeface="Gill Sans Nova" panose="020B0602020104020203" pitchFamily="34" charset="0"/>
              <a:ea typeface="Source Sans Pro" panose="020B0503030403020204" pitchFamily="34" charset="0"/>
              <a:cs typeface="Century Gothic" charset="0"/>
            </a:endParaRPr>
          </a:p>
        </p:txBody>
      </p:sp>
      <p:sp>
        <p:nvSpPr>
          <p:cNvPr id="236" name="AutoShape 1">
            <a:extLst>
              <a:ext uri="{FF2B5EF4-FFF2-40B4-BE49-F238E27FC236}">
                <a16:creationId xmlns:a16="http://schemas.microsoft.com/office/drawing/2014/main" id="{CDC5B983-ABEA-5E48-A33F-F86C27196FFE}"/>
              </a:ext>
            </a:extLst>
          </p:cNvPr>
          <p:cNvSpPr>
            <a:spLocks noChangeAspect="1"/>
          </p:cNvSpPr>
          <p:nvPr/>
        </p:nvSpPr>
        <p:spPr bwMode="auto">
          <a:xfrm>
            <a:off x="7127099" y="4593525"/>
            <a:ext cx="368983" cy="299798"/>
          </a:xfrm>
          <a:custGeom>
            <a:avLst/>
            <a:gdLst/>
            <a:ahLst/>
            <a:cxnLst/>
            <a:rect l="0" t="0" r="r" b="b"/>
            <a:pathLst>
              <a:path w="21600" h="21600">
                <a:moveTo>
                  <a:pt x="21600" y="2557"/>
                </a:moveTo>
                <a:cubicBezTo>
                  <a:pt x="20805" y="2991"/>
                  <a:pt x="19951" y="3284"/>
                  <a:pt x="19055" y="3416"/>
                </a:cubicBezTo>
                <a:cubicBezTo>
                  <a:pt x="19970" y="2741"/>
                  <a:pt x="20672" y="1672"/>
                  <a:pt x="21003" y="399"/>
                </a:cubicBezTo>
                <a:cubicBezTo>
                  <a:pt x="20147" y="1024"/>
                  <a:pt x="19199" y="1477"/>
                  <a:pt x="18189" y="1722"/>
                </a:cubicBezTo>
                <a:cubicBezTo>
                  <a:pt x="17381" y="662"/>
                  <a:pt x="16229" y="0"/>
                  <a:pt x="14955" y="0"/>
                </a:cubicBezTo>
                <a:cubicBezTo>
                  <a:pt x="12507" y="0"/>
                  <a:pt x="10523" y="2441"/>
                  <a:pt x="10523" y="5453"/>
                </a:cubicBezTo>
                <a:cubicBezTo>
                  <a:pt x="10523" y="5880"/>
                  <a:pt x="10562" y="6296"/>
                  <a:pt x="10638" y="6695"/>
                </a:cubicBezTo>
                <a:cubicBezTo>
                  <a:pt x="6955" y="6468"/>
                  <a:pt x="3689" y="4297"/>
                  <a:pt x="1504" y="998"/>
                </a:cubicBezTo>
                <a:cubicBezTo>
                  <a:pt x="1122" y="1803"/>
                  <a:pt x="904" y="2740"/>
                  <a:pt x="904" y="3739"/>
                </a:cubicBezTo>
                <a:cubicBezTo>
                  <a:pt x="904" y="5631"/>
                  <a:pt x="1686" y="7300"/>
                  <a:pt x="2875" y="8278"/>
                </a:cubicBezTo>
                <a:cubicBezTo>
                  <a:pt x="2149" y="8250"/>
                  <a:pt x="1465" y="8005"/>
                  <a:pt x="868" y="7596"/>
                </a:cubicBezTo>
                <a:cubicBezTo>
                  <a:pt x="868" y="7619"/>
                  <a:pt x="868" y="7642"/>
                  <a:pt x="868" y="7665"/>
                </a:cubicBezTo>
                <a:cubicBezTo>
                  <a:pt x="868" y="10307"/>
                  <a:pt x="2395" y="12511"/>
                  <a:pt x="4422" y="13012"/>
                </a:cubicBezTo>
                <a:cubicBezTo>
                  <a:pt x="4051" y="13136"/>
                  <a:pt x="3659" y="13203"/>
                  <a:pt x="3255" y="13203"/>
                </a:cubicBezTo>
                <a:cubicBezTo>
                  <a:pt x="2969" y="13203"/>
                  <a:pt x="2692" y="13169"/>
                  <a:pt x="2421" y="13105"/>
                </a:cubicBezTo>
                <a:cubicBezTo>
                  <a:pt x="2985" y="15271"/>
                  <a:pt x="4622" y="16848"/>
                  <a:pt x="6561" y="16892"/>
                </a:cubicBezTo>
                <a:cubicBezTo>
                  <a:pt x="5044" y="18354"/>
                  <a:pt x="3133" y="19226"/>
                  <a:pt x="1057" y="19226"/>
                </a:cubicBezTo>
                <a:cubicBezTo>
                  <a:pt x="699" y="19226"/>
                  <a:pt x="347" y="19200"/>
                  <a:pt x="0" y="19150"/>
                </a:cubicBezTo>
                <a:cubicBezTo>
                  <a:pt x="1961" y="20697"/>
                  <a:pt x="4291" y="21600"/>
                  <a:pt x="6793" y="21600"/>
                </a:cubicBezTo>
                <a:cubicBezTo>
                  <a:pt x="14944" y="21600"/>
                  <a:pt x="19402" y="13291"/>
                  <a:pt x="19402" y="6085"/>
                </a:cubicBezTo>
                <a:cubicBezTo>
                  <a:pt x="19402" y="5849"/>
                  <a:pt x="19397" y="5614"/>
                  <a:pt x="19389" y="5380"/>
                </a:cubicBezTo>
                <a:cubicBezTo>
                  <a:pt x="20255" y="4611"/>
                  <a:pt x="21006" y="3650"/>
                  <a:pt x="21600" y="2557"/>
                </a:cubicBezTo>
                <a:close/>
                <a:moveTo>
                  <a:pt x="21600" y="2557"/>
                </a:moveTo>
              </a:path>
            </a:pathLst>
          </a:custGeom>
          <a:solidFill>
            <a:srgbClr val="2A3856"/>
          </a:solidFill>
          <a:ln>
            <a:noFill/>
          </a:ln>
        </p:spPr>
        <p:txBody>
          <a:bodyPr lIns="0" tIns="0" rIns="0" bIns="0"/>
          <a:lstStyle/>
          <a:p>
            <a:pPr defTabSz="914126">
              <a:defRPr/>
            </a:pPr>
            <a:endParaRPr lang="en-US" b="1" kern="0">
              <a:solidFill>
                <a:srgbClr val="2A3856"/>
              </a:solidFill>
              <a:latin typeface="Gill Sans Nova" panose="020B0602020104020203" pitchFamily="34" charset="0"/>
              <a:ea typeface="Century Gothic" charset="0"/>
              <a:cs typeface="Century Gothic" charset="0"/>
            </a:endParaRPr>
          </a:p>
        </p:txBody>
      </p:sp>
      <p:sp>
        <p:nvSpPr>
          <p:cNvPr id="237" name="TextBox 236">
            <a:extLst>
              <a:ext uri="{FF2B5EF4-FFF2-40B4-BE49-F238E27FC236}">
                <a16:creationId xmlns:a16="http://schemas.microsoft.com/office/drawing/2014/main" id="{B8BEA079-AF00-9B40-A475-4ABE1403AA6D}"/>
              </a:ext>
            </a:extLst>
          </p:cNvPr>
          <p:cNvSpPr txBox="1"/>
          <p:nvPr/>
        </p:nvSpPr>
        <p:spPr>
          <a:xfrm>
            <a:off x="7669476" y="4061259"/>
            <a:ext cx="3234860" cy="276999"/>
          </a:xfrm>
          <a:prstGeom prst="rect">
            <a:avLst/>
          </a:prstGeom>
          <a:noFill/>
        </p:spPr>
        <p:txBody>
          <a:bodyPr wrap="none" lIns="0" tIns="0" rIns="0" bIns="0" rtlCol="0">
            <a:spAutoFit/>
          </a:bodyPr>
          <a:lstStyle>
            <a:defPPr>
              <a:defRPr lang="en-US"/>
            </a:defPPr>
            <a:lvl1pPr algn="ctr" defTabSz="914126">
              <a:defRPr sz="1600" kern="0">
                <a:solidFill>
                  <a:schemeClr val="accent5">
                    <a:lumMod val="75000"/>
                  </a:schemeClr>
                </a:solidFill>
                <a:latin typeface="Century Gothic" charset="0"/>
                <a:ea typeface="Century Gothic" charset="0"/>
                <a:cs typeface="Century Gothic" charset="0"/>
              </a:defRPr>
            </a:lvl1pPr>
          </a:lstStyle>
          <a:p>
            <a:pPr algn="l"/>
            <a:r>
              <a:rPr lang="en-US" sz="1800" b="1" dirty="0" err="1">
                <a:solidFill>
                  <a:srgbClr val="2A3856"/>
                </a:solidFill>
                <a:latin typeface="Gill Sans Nova" panose="020B0602020104020203" pitchFamily="34" charset="0"/>
                <a:ea typeface="Source Sans Pro" panose="020B0503030403020204" pitchFamily="34" charset="0"/>
              </a:rPr>
              <a:t>ThePresentationPodcast.com</a:t>
            </a:r>
            <a:endParaRPr lang="en-US" sz="1800" b="1" dirty="0">
              <a:solidFill>
                <a:srgbClr val="2A3856"/>
              </a:solidFill>
              <a:latin typeface="Gill Sans Nova" panose="020B0602020104020203" pitchFamily="34" charset="0"/>
              <a:ea typeface="Source Sans Pro" panose="020B0503030403020204" pitchFamily="34" charset="0"/>
            </a:endParaRPr>
          </a:p>
        </p:txBody>
      </p:sp>
      <p:sp>
        <p:nvSpPr>
          <p:cNvPr id="238" name="AutoShape 2">
            <a:extLst>
              <a:ext uri="{FF2B5EF4-FFF2-40B4-BE49-F238E27FC236}">
                <a16:creationId xmlns:a16="http://schemas.microsoft.com/office/drawing/2014/main" id="{DD77AF91-7D33-5C4A-A5AF-28B7298B60E5}"/>
              </a:ext>
            </a:extLst>
          </p:cNvPr>
          <p:cNvSpPr>
            <a:spLocks noChangeAspect="1"/>
          </p:cNvSpPr>
          <p:nvPr/>
        </p:nvSpPr>
        <p:spPr bwMode="auto">
          <a:xfrm>
            <a:off x="7179810" y="4009708"/>
            <a:ext cx="263558" cy="395338"/>
          </a:xfrm>
          <a:custGeom>
            <a:avLst/>
            <a:gdLst/>
            <a:ahLst/>
            <a:cxnLst/>
            <a:rect l="0" t="0" r="r" b="b"/>
            <a:pathLst>
              <a:path w="21600" h="21600">
                <a:moveTo>
                  <a:pt x="17549" y="6300"/>
                </a:moveTo>
                <a:lnTo>
                  <a:pt x="12656" y="6300"/>
                </a:lnTo>
                <a:cubicBezTo>
                  <a:pt x="12284" y="6300"/>
                  <a:pt x="11981" y="6099"/>
                  <a:pt x="11981" y="5850"/>
                </a:cubicBezTo>
                <a:cubicBezTo>
                  <a:pt x="11981" y="5601"/>
                  <a:pt x="12284" y="5400"/>
                  <a:pt x="12656" y="5400"/>
                </a:cubicBezTo>
                <a:lnTo>
                  <a:pt x="17549" y="5400"/>
                </a:lnTo>
                <a:lnTo>
                  <a:pt x="17549" y="4500"/>
                </a:lnTo>
                <a:lnTo>
                  <a:pt x="12656" y="4500"/>
                </a:lnTo>
                <a:cubicBezTo>
                  <a:pt x="12284" y="4500"/>
                  <a:pt x="11981" y="4299"/>
                  <a:pt x="11981" y="4050"/>
                </a:cubicBezTo>
                <a:cubicBezTo>
                  <a:pt x="11981" y="3801"/>
                  <a:pt x="12284" y="3600"/>
                  <a:pt x="12656" y="3600"/>
                </a:cubicBezTo>
                <a:lnTo>
                  <a:pt x="17414" y="3600"/>
                </a:lnTo>
                <a:cubicBezTo>
                  <a:pt x="17319" y="3287"/>
                  <a:pt x="17172" y="2986"/>
                  <a:pt x="16984" y="2700"/>
                </a:cubicBezTo>
                <a:lnTo>
                  <a:pt x="12656" y="2700"/>
                </a:lnTo>
                <a:cubicBezTo>
                  <a:pt x="12284" y="2700"/>
                  <a:pt x="11981" y="2499"/>
                  <a:pt x="11981" y="2250"/>
                </a:cubicBezTo>
                <a:cubicBezTo>
                  <a:pt x="11981" y="2001"/>
                  <a:pt x="12284" y="1800"/>
                  <a:pt x="12656" y="1800"/>
                </a:cubicBezTo>
                <a:lnTo>
                  <a:pt x="16190" y="1800"/>
                </a:lnTo>
                <a:cubicBezTo>
                  <a:pt x="14959" y="709"/>
                  <a:pt x="13006" y="0"/>
                  <a:pt x="10800" y="0"/>
                </a:cubicBezTo>
                <a:cubicBezTo>
                  <a:pt x="8594" y="0"/>
                  <a:pt x="6641" y="709"/>
                  <a:pt x="5409" y="1800"/>
                </a:cubicBezTo>
                <a:lnTo>
                  <a:pt x="8944" y="1800"/>
                </a:lnTo>
                <a:cubicBezTo>
                  <a:pt x="9316" y="1800"/>
                  <a:pt x="9619" y="2001"/>
                  <a:pt x="9619" y="2250"/>
                </a:cubicBezTo>
                <a:cubicBezTo>
                  <a:pt x="9619" y="2499"/>
                  <a:pt x="9316" y="2700"/>
                  <a:pt x="8944" y="2700"/>
                </a:cubicBezTo>
                <a:lnTo>
                  <a:pt x="4615" y="2700"/>
                </a:lnTo>
                <a:cubicBezTo>
                  <a:pt x="4428" y="2986"/>
                  <a:pt x="4281" y="3287"/>
                  <a:pt x="4186" y="3600"/>
                </a:cubicBezTo>
                <a:lnTo>
                  <a:pt x="8944" y="3600"/>
                </a:lnTo>
                <a:cubicBezTo>
                  <a:pt x="9316" y="3600"/>
                  <a:pt x="9619" y="3801"/>
                  <a:pt x="9619" y="4050"/>
                </a:cubicBezTo>
                <a:cubicBezTo>
                  <a:pt x="9619" y="4299"/>
                  <a:pt x="9316" y="4500"/>
                  <a:pt x="8944" y="4500"/>
                </a:cubicBezTo>
                <a:lnTo>
                  <a:pt x="4050" y="4500"/>
                </a:lnTo>
                <a:lnTo>
                  <a:pt x="4050" y="5400"/>
                </a:lnTo>
                <a:lnTo>
                  <a:pt x="8944" y="5400"/>
                </a:lnTo>
                <a:cubicBezTo>
                  <a:pt x="9316" y="5400"/>
                  <a:pt x="9619" y="5601"/>
                  <a:pt x="9619" y="5850"/>
                </a:cubicBezTo>
                <a:cubicBezTo>
                  <a:pt x="9619" y="6099"/>
                  <a:pt x="9316" y="6300"/>
                  <a:pt x="8944" y="6300"/>
                </a:cubicBezTo>
                <a:lnTo>
                  <a:pt x="4050" y="6300"/>
                </a:lnTo>
                <a:lnTo>
                  <a:pt x="4050" y="8100"/>
                </a:lnTo>
                <a:lnTo>
                  <a:pt x="17550" y="8100"/>
                </a:lnTo>
                <a:cubicBezTo>
                  <a:pt x="17550" y="8100"/>
                  <a:pt x="17549" y="6300"/>
                  <a:pt x="17549" y="6300"/>
                </a:cubicBezTo>
                <a:close/>
                <a:moveTo>
                  <a:pt x="20250" y="9000"/>
                </a:moveTo>
                <a:lnTo>
                  <a:pt x="18900" y="9000"/>
                </a:lnTo>
                <a:lnTo>
                  <a:pt x="18900" y="11772"/>
                </a:lnTo>
                <a:cubicBezTo>
                  <a:pt x="18900" y="14750"/>
                  <a:pt x="15267" y="17172"/>
                  <a:pt x="10800" y="17172"/>
                </a:cubicBezTo>
                <a:cubicBezTo>
                  <a:pt x="6333" y="17172"/>
                  <a:pt x="2700" y="14750"/>
                  <a:pt x="2699" y="11772"/>
                </a:cubicBezTo>
                <a:lnTo>
                  <a:pt x="2699" y="9000"/>
                </a:lnTo>
                <a:lnTo>
                  <a:pt x="1350" y="9000"/>
                </a:lnTo>
                <a:cubicBezTo>
                  <a:pt x="604" y="9000"/>
                  <a:pt x="0" y="9403"/>
                  <a:pt x="0" y="9900"/>
                </a:cubicBezTo>
                <a:cubicBezTo>
                  <a:pt x="0" y="10397"/>
                  <a:pt x="604" y="10800"/>
                  <a:pt x="1350" y="10800"/>
                </a:cubicBezTo>
                <a:lnTo>
                  <a:pt x="1350" y="11772"/>
                </a:lnTo>
                <a:cubicBezTo>
                  <a:pt x="1350" y="14940"/>
                  <a:pt x="4878" y="17561"/>
                  <a:pt x="9450" y="18000"/>
                </a:cubicBezTo>
                <a:lnTo>
                  <a:pt x="9450" y="19800"/>
                </a:lnTo>
                <a:lnTo>
                  <a:pt x="5400" y="19800"/>
                </a:lnTo>
                <a:cubicBezTo>
                  <a:pt x="4654" y="19800"/>
                  <a:pt x="4050" y="20203"/>
                  <a:pt x="4050" y="20700"/>
                </a:cubicBezTo>
                <a:lnTo>
                  <a:pt x="4050" y="21600"/>
                </a:lnTo>
                <a:lnTo>
                  <a:pt x="17550" y="21600"/>
                </a:lnTo>
                <a:lnTo>
                  <a:pt x="17550" y="20700"/>
                </a:lnTo>
                <a:cubicBezTo>
                  <a:pt x="17551" y="20203"/>
                  <a:pt x="16946" y="19800"/>
                  <a:pt x="16201" y="19800"/>
                </a:cubicBezTo>
                <a:lnTo>
                  <a:pt x="12150" y="19800"/>
                </a:lnTo>
                <a:lnTo>
                  <a:pt x="12150" y="18000"/>
                </a:lnTo>
                <a:cubicBezTo>
                  <a:pt x="16722" y="17561"/>
                  <a:pt x="20250" y="14922"/>
                  <a:pt x="20249" y="11772"/>
                </a:cubicBezTo>
                <a:lnTo>
                  <a:pt x="20249" y="10800"/>
                </a:lnTo>
                <a:cubicBezTo>
                  <a:pt x="20995" y="10800"/>
                  <a:pt x="21600" y="10397"/>
                  <a:pt x="21600" y="9900"/>
                </a:cubicBezTo>
                <a:cubicBezTo>
                  <a:pt x="21600" y="9403"/>
                  <a:pt x="20995" y="9000"/>
                  <a:pt x="20250" y="9000"/>
                </a:cubicBezTo>
                <a:close/>
                <a:moveTo>
                  <a:pt x="10800" y="16200"/>
                </a:moveTo>
                <a:cubicBezTo>
                  <a:pt x="14527" y="16200"/>
                  <a:pt x="17550" y="14186"/>
                  <a:pt x="17549" y="11700"/>
                </a:cubicBezTo>
                <a:lnTo>
                  <a:pt x="17550" y="9000"/>
                </a:lnTo>
                <a:lnTo>
                  <a:pt x="4050" y="9000"/>
                </a:lnTo>
                <a:lnTo>
                  <a:pt x="4050" y="11700"/>
                </a:lnTo>
                <a:cubicBezTo>
                  <a:pt x="4050" y="14186"/>
                  <a:pt x="7072" y="16200"/>
                  <a:pt x="10800" y="16200"/>
                </a:cubicBezTo>
                <a:close/>
                <a:moveTo>
                  <a:pt x="10800" y="16200"/>
                </a:moveTo>
              </a:path>
            </a:pathLst>
          </a:custGeom>
          <a:solidFill>
            <a:srgbClr val="2A3856"/>
          </a:solidFill>
          <a:ln>
            <a:noFill/>
          </a:ln>
          <a:extLst>
            <a:ext uri="{91240B29-F687-4f45-9708-019B960494DF}">
              <a14:hiddenLine xmlns:a14="http://schemas.microsoft.com/office/drawing/2010/main" xmlns:p159="http://schemas.microsoft.com/office/powerpoint/2015/09/main" xmlns:mc="http://schemas.openxmlformats.org/markup-compatibility/2006" xmlns:p14="http://schemas.microsoft.com/office/powerpoint/2010/main" xmlns:asvg="http://schemas.microsoft.com/office/drawing/2016/SVG/main" xmlns:a16="http://schemas.microsoft.com/office/drawing/2014/main" xmlns="" w="12700" cap="flat">
                <a:solidFill>
                  <a:schemeClr val="tx1"/>
                </a:solidFill>
                <a:miter lim="800000"/>
                <a:headEnd type="none" w="med" len="med"/>
                <a:tailEnd type="none" w="med" len="med"/>
              </a14:hiddenLine>
            </a:ext>
          </a:extLst>
        </p:spPr>
        <p:txBody>
          <a:bodyPr lIns="0" tIns="0" rIns="0" bIns="0"/>
          <a:lstStyle/>
          <a:p>
            <a:endParaRPr lang="en-US" b="1">
              <a:solidFill>
                <a:srgbClr val="2A3856"/>
              </a:solidFill>
              <a:latin typeface="Gill Sans Nova" panose="020B0602020104020203" pitchFamily="34" charset="0"/>
            </a:endParaRPr>
          </a:p>
        </p:txBody>
      </p:sp>
      <p:sp>
        <p:nvSpPr>
          <p:cNvPr id="239" name="Shape 175">
            <a:extLst>
              <a:ext uri="{FF2B5EF4-FFF2-40B4-BE49-F238E27FC236}">
                <a16:creationId xmlns:a16="http://schemas.microsoft.com/office/drawing/2014/main" id="{DE25EE26-C76B-924A-967D-87B5140E89C2}"/>
              </a:ext>
            </a:extLst>
          </p:cNvPr>
          <p:cNvSpPr>
            <a:spLocks noChangeAspect="1"/>
          </p:cNvSpPr>
          <p:nvPr/>
        </p:nvSpPr>
        <p:spPr>
          <a:xfrm>
            <a:off x="7153455" y="3078218"/>
            <a:ext cx="316271" cy="316270"/>
          </a:xfrm>
          <a:custGeom>
            <a:avLst/>
            <a:gdLst/>
            <a:ahLst/>
            <a:cxnLst>
              <a:cxn ang="0">
                <a:pos x="wd2" y="hd2"/>
              </a:cxn>
              <a:cxn ang="5400000">
                <a:pos x="wd2" y="hd2"/>
              </a:cxn>
              <a:cxn ang="10800000">
                <a:pos x="wd2" y="hd2"/>
              </a:cxn>
              <a:cxn ang="16200000">
                <a:pos x="wd2" y="hd2"/>
              </a:cxn>
            </a:cxnLst>
            <a:rect l="0" t="0" r="r" b="b"/>
            <a:pathLst>
              <a:path w="21600" h="21600" extrusionOk="0">
                <a:moveTo>
                  <a:pt x="11299" y="15430"/>
                </a:moveTo>
                <a:cubicBezTo>
                  <a:pt x="12400" y="15483"/>
                  <a:pt x="13460" y="15706"/>
                  <a:pt x="14450" y="16075"/>
                </a:cubicBezTo>
                <a:cubicBezTo>
                  <a:pt x="14590" y="16128"/>
                  <a:pt x="14729" y="16183"/>
                  <a:pt x="14865" y="16240"/>
                </a:cubicBezTo>
                <a:cubicBezTo>
                  <a:pt x="15397" y="14825"/>
                  <a:pt x="15727" y="13132"/>
                  <a:pt x="15778" y="11299"/>
                </a:cubicBezTo>
                <a:lnTo>
                  <a:pt x="11299" y="11299"/>
                </a:lnTo>
                <a:cubicBezTo>
                  <a:pt x="11299" y="11299"/>
                  <a:pt x="11299" y="15430"/>
                  <a:pt x="11299" y="15430"/>
                </a:cubicBezTo>
                <a:close/>
                <a:moveTo>
                  <a:pt x="10301" y="15430"/>
                </a:moveTo>
                <a:lnTo>
                  <a:pt x="10301" y="11299"/>
                </a:lnTo>
                <a:lnTo>
                  <a:pt x="5822" y="11299"/>
                </a:lnTo>
                <a:cubicBezTo>
                  <a:pt x="5873" y="13132"/>
                  <a:pt x="6204" y="14825"/>
                  <a:pt x="6735" y="16240"/>
                </a:cubicBezTo>
                <a:cubicBezTo>
                  <a:pt x="6873" y="16183"/>
                  <a:pt x="7010" y="16128"/>
                  <a:pt x="7150" y="16075"/>
                </a:cubicBezTo>
                <a:cubicBezTo>
                  <a:pt x="8140" y="15706"/>
                  <a:pt x="9200" y="15483"/>
                  <a:pt x="10301" y="15430"/>
                </a:cubicBezTo>
                <a:cubicBezTo>
                  <a:pt x="10301" y="15430"/>
                  <a:pt x="10301" y="15430"/>
                  <a:pt x="10301" y="15430"/>
                </a:cubicBezTo>
                <a:close/>
                <a:moveTo>
                  <a:pt x="10301" y="6170"/>
                </a:moveTo>
                <a:cubicBezTo>
                  <a:pt x="9201" y="6118"/>
                  <a:pt x="8141" y="5895"/>
                  <a:pt x="7150" y="5526"/>
                </a:cubicBezTo>
                <a:cubicBezTo>
                  <a:pt x="7010" y="5474"/>
                  <a:pt x="6871" y="5417"/>
                  <a:pt x="6735" y="5361"/>
                </a:cubicBezTo>
                <a:cubicBezTo>
                  <a:pt x="6203" y="6776"/>
                  <a:pt x="5873" y="8470"/>
                  <a:pt x="5822" y="10301"/>
                </a:cubicBezTo>
                <a:lnTo>
                  <a:pt x="10301" y="10301"/>
                </a:lnTo>
                <a:lnTo>
                  <a:pt x="10301" y="6170"/>
                </a:lnTo>
                <a:cubicBezTo>
                  <a:pt x="10301" y="6170"/>
                  <a:pt x="10301" y="6170"/>
                  <a:pt x="10301" y="6170"/>
                </a:cubicBezTo>
                <a:close/>
                <a:moveTo>
                  <a:pt x="14866" y="5361"/>
                </a:moveTo>
                <a:cubicBezTo>
                  <a:pt x="14729" y="5417"/>
                  <a:pt x="14590" y="5474"/>
                  <a:pt x="14452" y="5526"/>
                </a:cubicBezTo>
                <a:cubicBezTo>
                  <a:pt x="13459" y="5895"/>
                  <a:pt x="12400" y="6118"/>
                  <a:pt x="11299" y="6170"/>
                </a:cubicBezTo>
                <a:lnTo>
                  <a:pt x="11299" y="10301"/>
                </a:lnTo>
                <a:lnTo>
                  <a:pt x="15778" y="10301"/>
                </a:lnTo>
                <a:cubicBezTo>
                  <a:pt x="15727" y="8470"/>
                  <a:pt x="15397" y="6776"/>
                  <a:pt x="14866" y="5361"/>
                </a:cubicBezTo>
                <a:cubicBezTo>
                  <a:pt x="14866" y="5361"/>
                  <a:pt x="14866" y="5361"/>
                  <a:pt x="14866" y="5361"/>
                </a:cubicBezTo>
                <a:close/>
                <a:moveTo>
                  <a:pt x="17035" y="17481"/>
                </a:moveTo>
                <a:lnTo>
                  <a:pt x="17262" y="17262"/>
                </a:lnTo>
                <a:cubicBezTo>
                  <a:pt x="18805" y="15718"/>
                  <a:pt x="19800" y="13623"/>
                  <a:pt x="19925" y="11299"/>
                </a:cubicBezTo>
                <a:lnTo>
                  <a:pt x="16776" y="11299"/>
                </a:lnTo>
                <a:cubicBezTo>
                  <a:pt x="16723" y="13285"/>
                  <a:pt x="16357" y="15129"/>
                  <a:pt x="15766" y="16673"/>
                </a:cubicBezTo>
                <a:cubicBezTo>
                  <a:pt x="16210" y="16912"/>
                  <a:pt x="16634" y="17182"/>
                  <a:pt x="17035" y="17481"/>
                </a:cubicBezTo>
                <a:cubicBezTo>
                  <a:pt x="17035" y="17481"/>
                  <a:pt x="17035" y="17481"/>
                  <a:pt x="17035" y="17481"/>
                </a:cubicBezTo>
                <a:close/>
                <a:moveTo>
                  <a:pt x="14389" y="19206"/>
                </a:moveTo>
                <a:cubicBezTo>
                  <a:pt x="15053" y="18923"/>
                  <a:pt x="15678" y="18563"/>
                  <a:pt x="16249" y="18137"/>
                </a:cubicBezTo>
                <a:cubicBezTo>
                  <a:pt x="15967" y="17938"/>
                  <a:pt x="15674" y="17754"/>
                  <a:pt x="15372" y="17587"/>
                </a:cubicBezTo>
                <a:cubicBezTo>
                  <a:pt x="15288" y="17759"/>
                  <a:pt x="15201" y="17926"/>
                  <a:pt x="15113" y="18089"/>
                </a:cubicBezTo>
                <a:cubicBezTo>
                  <a:pt x="14890" y="18495"/>
                  <a:pt x="14647" y="18868"/>
                  <a:pt x="14389" y="19206"/>
                </a:cubicBezTo>
                <a:cubicBezTo>
                  <a:pt x="14389" y="19206"/>
                  <a:pt x="14389" y="19206"/>
                  <a:pt x="14389" y="19206"/>
                </a:cubicBezTo>
                <a:close/>
                <a:moveTo>
                  <a:pt x="11299" y="19925"/>
                </a:moveTo>
                <a:cubicBezTo>
                  <a:pt x="11641" y="19907"/>
                  <a:pt x="11977" y="19870"/>
                  <a:pt x="12308" y="19815"/>
                </a:cubicBezTo>
                <a:cubicBezTo>
                  <a:pt x="13036" y="19365"/>
                  <a:pt x="13696" y="18602"/>
                  <a:pt x="14241" y="17610"/>
                </a:cubicBezTo>
                <a:cubicBezTo>
                  <a:pt x="14322" y="17462"/>
                  <a:pt x="14400" y="17310"/>
                  <a:pt x="14476" y="17153"/>
                </a:cubicBezTo>
                <a:cubicBezTo>
                  <a:pt x="14353" y="17102"/>
                  <a:pt x="14229" y="17053"/>
                  <a:pt x="14103" y="17006"/>
                </a:cubicBezTo>
                <a:cubicBezTo>
                  <a:pt x="13227" y="16679"/>
                  <a:pt x="12283" y="16479"/>
                  <a:pt x="11299" y="16429"/>
                </a:cubicBezTo>
                <a:lnTo>
                  <a:pt x="11299" y="19925"/>
                </a:lnTo>
                <a:cubicBezTo>
                  <a:pt x="11299" y="19925"/>
                  <a:pt x="11299" y="19925"/>
                  <a:pt x="11299" y="19925"/>
                </a:cubicBezTo>
                <a:close/>
                <a:moveTo>
                  <a:pt x="5351" y="18137"/>
                </a:moveTo>
                <a:cubicBezTo>
                  <a:pt x="5923" y="18563"/>
                  <a:pt x="6547" y="18923"/>
                  <a:pt x="7211" y="19206"/>
                </a:cubicBezTo>
                <a:cubicBezTo>
                  <a:pt x="6953" y="18868"/>
                  <a:pt x="6711" y="18495"/>
                  <a:pt x="6487" y="18089"/>
                </a:cubicBezTo>
                <a:cubicBezTo>
                  <a:pt x="6399" y="17926"/>
                  <a:pt x="6312" y="17759"/>
                  <a:pt x="6229" y="17587"/>
                </a:cubicBezTo>
                <a:cubicBezTo>
                  <a:pt x="5926" y="17754"/>
                  <a:pt x="5634" y="17939"/>
                  <a:pt x="5351" y="18137"/>
                </a:cubicBezTo>
                <a:cubicBezTo>
                  <a:pt x="5351" y="18137"/>
                  <a:pt x="5351" y="18137"/>
                  <a:pt x="5351" y="18137"/>
                </a:cubicBezTo>
                <a:close/>
                <a:moveTo>
                  <a:pt x="1675" y="11299"/>
                </a:moveTo>
                <a:cubicBezTo>
                  <a:pt x="1800" y="13623"/>
                  <a:pt x="2795" y="15718"/>
                  <a:pt x="4339" y="17262"/>
                </a:cubicBezTo>
                <a:lnTo>
                  <a:pt x="4565" y="17481"/>
                </a:lnTo>
                <a:cubicBezTo>
                  <a:pt x="4966" y="17182"/>
                  <a:pt x="5391" y="16912"/>
                  <a:pt x="5835" y="16673"/>
                </a:cubicBezTo>
                <a:cubicBezTo>
                  <a:pt x="5243" y="15129"/>
                  <a:pt x="4878" y="13285"/>
                  <a:pt x="4826" y="11299"/>
                </a:cubicBezTo>
                <a:lnTo>
                  <a:pt x="1675" y="11299"/>
                </a:lnTo>
                <a:cubicBezTo>
                  <a:pt x="1675" y="11299"/>
                  <a:pt x="1675" y="11299"/>
                  <a:pt x="1675" y="11299"/>
                </a:cubicBezTo>
                <a:close/>
                <a:moveTo>
                  <a:pt x="4565" y="4120"/>
                </a:moveTo>
                <a:cubicBezTo>
                  <a:pt x="4488" y="4191"/>
                  <a:pt x="4412" y="4265"/>
                  <a:pt x="4339" y="4339"/>
                </a:cubicBezTo>
                <a:cubicBezTo>
                  <a:pt x="2795" y="5882"/>
                  <a:pt x="1800" y="7977"/>
                  <a:pt x="1675" y="10301"/>
                </a:cubicBezTo>
                <a:lnTo>
                  <a:pt x="4826" y="10301"/>
                </a:lnTo>
                <a:cubicBezTo>
                  <a:pt x="4878" y="8315"/>
                  <a:pt x="5243" y="6472"/>
                  <a:pt x="5834" y="4930"/>
                </a:cubicBezTo>
                <a:cubicBezTo>
                  <a:pt x="5391" y="4690"/>
                  <a:pt x="4966" y="4419"/>
                  <a:pt x="4565" y="4120"/>
                </a:cubicBezTo>
                <a:cubicBezTo>
                  <a:pt x="4565" y="4120"/>
                  <a:pt x="4565" y="4120"/>
                  <a:pt x="4565" y="4120"/>
                </a:cubicBezTo>
                <a:close/>
                <a:moveTo>
                  <a:pt x="7213" y="2394"/>
                </a:moveTo>
                <a:cubicBezTo>
                  <a:pt x="6547" y="2677"/>
                  <a:pt x="5923" y="3037"/>
                  <a:pt x="5351" y="3463"/>
                </a:cubicBezTo>
                <a:cubicBezTo>
                  <a:pt x="5634" y="3662"/>
                  <a:pt x="5926" y="3846"/>
                  <a:pt x="6229" y="4013"/>
                </a:cubicBezTo>
                <a:cubicBezTo>
                  <a:pt x="6312" y="3841"/>
                  <a:pt x="6399" y="3674"/>
                  <a:pt x="6487" y="3512"/>
                </a:cubicBezTo>
                <a:cubicBezTo>
                  <a:pt x="6711" y="3106"/>
                  <a:pt x="6954" y="2732"/>
                  <a:pt x="7213" y="2394"/>
                </a:cubicBezTo>
                <a:cubicBezTo>
                  <a:pt x="7213" y="2394"/>
                  <a:pt x="7213" y="2394"/>
                  <a:pt x="7213" y="2394"/>
                </a:cubicBezTo>
                <a:close/>
                <a:moveTo>
                  <a:pt x="10301" y="1675"/>
                </a:moveTo>
                <a:cubicBezTo>
                  <a:pt x="9959" y="1693"/>
                  <a:pt x="9623" y="1731"/>
                  <a:pt x="9292" y="1786"/>
                </a:cubicBezTo>
                <a:cubicBezTo>
                  <a:pt x="8565" y="2236"/>
                  <a:pt x="7904" y="2998"/>
                  <a:pt x="7359" y="3991"/>
                </a:cubicBezTo>
                <a:cubicBezTo>
                  <a:pt x="7278" y="4138"/>
                  <a:pt x="7200" y="4290"/>
                  <a:pt x="7124" y="4448"/>
                </a:cubicBezTo>
                <a:cubicBezTo>
                  <a:pt x="7247" y="4499"/>
                  <a:pt x="7371" y="4549"/>
                  <a:pt x="7497" y="4595"/>
                </a:cubicBezTo>
                <a:cubicBezTo>
                  <a:pt x="8373" y="4922"/>
                  <a:pt x="9317" y="5122"/>
                  <a:pt x="10301" y="5172"/>
                </a:cubicBezTo>
                <a:lnTo>
                  <a:pt x="10301" y="1675"/>
                </a:lnTo>
                <a:cubicBezTo>
                  <a:pt x="10301" y="1675"/>
                  <a:pt x="10301" y="1675"/>
                  <a:pt x="10301" y="1675"/>
                </a:cubicBezTo>
                <a:close/>
                <a:moveTo>
                  <a:pt x="12308" y="1786"/>
                </a:moveTo>
                <a:cubicBezTo>
                  <a:pt x="11977" y="1731"/>
                  <a:pt x="11640" y="1693"/>
                  <a:pt x="11299" y="1675"/>
                </a:cubicBezTo>
                <a:lnTo>
                  <a:pt x="11299" y="5172"/>
                </a:lnTo>
                <a:cubicBezTo>
                  <a:pt x="12283" y="5122"/>
                  <a:pt x="13227" y="4922"/>
                  <a:pt x="14105" y="4595"/>
                </a:cubicBezTo>
                <a:cubicBezTo>
                  <a:pt x="14229" y="4549"/>
                  <a:pt x="14353" y="4499"/>
                  <a:pt x="14477" y="4448"/>
                </a:cubicBezTo>
                <a:cubicBezTo>
                  <a:pt x="14400" y="4290"/>
                  <a:pt x="14322" y="4138"/>
                  <a:pt x="14241" y="3991"/>
                </a:cubicBezTo>
                <a:cubicBezTo>
                  <a:pt x="13696" y="2998"/>
                  <a:pt x="13036" y="2236"/>
                  <a:pt x="12308" y="1786"/>
                </a:cubicBezTo>
                <a:cubicBezTo>
                  <a:pt x="12308" y="1786"/>
                  <a:pt x="12308" y="1786"/>
                  <a:pt x="12308" y="1786"/>
                </a:cubicBezTo>
                <a:close/>
                <a:moveTo>
                  <a:pt x="16249" y="3463"/>
                </a:moveTo>
                <a:cubicBezTo>
                  <a:pt x="15677" y="3037"/>
                  <a:pt x="15053" y="2677"/>
                  <a:pt x="14387" y="2394"/>
                </a:cubicBezTo>
                <a:cubicBezTo>
                  <a:pt x="14647" y="2732"/>
                  <a:pt x="14890" y="3106"/>
                  <a:pt x="15113" y="3512"/>
                </a:cubicBezTo>
                <a:cubicBezTo>
                  <a:pt x="15201" y="3674"/>
                  <a:pt x="15288" y="3841"/>
                  <a:pt x="15372" y="4013"/>
                </a:cubicBezTo>
                <a:cubicBezTo>
                  <a:pt x="15674" y="3846"/>
                  <a:pt x="15967" y="3662"/>
                  <a:pt x="16249" y="3463"/>
                </a:cubicBezTo>
                <a:cubicBezTo>
                  <a:pt x="16249" y="3463"/>
                  <a:pt x="16249" y="3463"/>
                  <a:pt x="16249" y="3463"/>
                </a:cubicBezTo>
                <a:close/>
                <a:moveTo>
                  <a:pt x="17262" y="4339"/>
                </a:moveTo>
                <a:cubicBezTo>
                  <a:pt x="17188" y="4265"/>
                  <a:pt x="17112" y="4191"/>
                  <a:pt x="17035" y="4120"/>
                </a:cubicBezTo>
                <a:cubicBezTo>
                  <a:pt x="16635" y="4419"/>
                  <a:pt x="16210" y="4690"/>
                  <a:pt x="15766" y="4930"/>
                </a:cubicBezTo>
                <a:cubicBezTo>
                  <a:pt x="16357" y="6472"/>
                  <a:pt x="16723" y="8315"/>
                  <a:pt x="16776" y="10301"/>
                </a:cubicBezTo>
                <a:lnTo>
                  <a:pt x="19925" y="10301"/>
                </a:lnTo>
                <a:cubicBezTo>
                  <a:pt x="19800" y="7977"/>
                  <a:pt x="18805" y="5882"/>
                  <a:pt x="17262" y="4339"/>
                </a:cubicBezTo>
                <a:cubicBezTo>
                  <a:pt x="17262" y="4339"/>
                  <a:pt x="17262" y="4339"/>
                  <a:pt x="17262" y="4339"/>
                </a:cubicBezTo>
                <a:close/>
                <a:moveTo>
                  <a:pt x="10301" y="19925"/>
                </a:moveTo>
                <a:lnTo>
                  <a:pt x="10301" y="16429"/>
                </a:lnTo>
                <a:cubicBezTo>
                  <a:pt x="9317" y="16479"/>
                  <a:pt x="8375" y="16679"/>
                  <a:pt x="7497" y="17006"/>
                </a:cubicBezTo>
                <a:cubicBezTo>
                  <a:pt x="7372" y="17053"/>
                  <a:pt x="7248" y="17102"/>
                  <a:pt x="7124" y="17153"/>
                </a:cubicBezTo>
                <a:cubicBezTo>
                  <a:pt x="7200" y="17310"/>
                  <a:pt x="7278" y="17462"/>
                  <a:pt x="7359" y="17610"/>
                </a:cubicBezTo>
                <a:cubicBezTo>
                  <a:pt x="7904" y="18602"/>
                  <a:pt x="8565" y="19365"/>
                  <a:pt x="9292" y="19815"/>
                </a:cubicBezTo>
                <a:cubicBezTo>
                  <a:pt x="9623" y="19870"/>
                  <a:pt x="9959" y="19907"/>
                  <a:pt x="10301" y="19925"/>
                </a:cubicBezTo>
                <a:cubicBezTo>
                  <a:pt x="10301" y="19925"/>
                  <a:pt x="10301" y="19925"/>
                  <a:pt x="10301" y="19925"/>
                </a:cubicBezTo>
                <a:close/>
                <a:moveTo>
                  <a:pt x="10801" y="0"/>
                </a:moveTo>
                <a:cubicBezTo>
                  <a:pt x="13782" y="0"/>
                  <a:pt x="16482" y="1209"/>
                  <a:pt x="18437" y="3163"/>
                </a:cubicBezTo>
                <a:cubicBezTo>
                  <a:pt x="20391" y="5118"/>
                  <a:pt x="21600" y="7818"/>
                  <a:pt x="21600" y="10801"/>
                </a:cubicBezTo>
                <a:cubicBezTo>
                  <a:pt x="21600" y="13782"/>
                  <a:pt x="20391" y="16482"/>
                  <a:pt x="18437" y="18437"/>
                </a:cubicBezTo>
                <a:cubicBezTo>
                  <a:pt x="16482" y="20391"/>
                  <a:pt x="13782" y="21600"/>
                  <a:pt x="10801" y="21600"/>
                </a:cubicBezTo>
                <a:cubicBezTo>
                  <a:pt x="7818" y="21600"/>
                  <a:pt x="5118" y="20391"/>
                  <a:pt x="3163" y="18437"/>
                </a:cubicBezTo>
                <a:cubicBezTo>
                  <a:pt x="1210" y="16482"/>
                  <a:pt x="0" y="13782"/>
                  <a:pt x="0" y="10801"/>
                </a:cubicBezTo>
                <a:cubicBezTo>
                  <a:pt x="0" y="7818"/>
                  <a:pt x="1210" y="5118"/>
                  <a:pt x="3163" y="3163"/>
                </a:cubicBezTo>
                <a:cubicBezTo>
                  <a:pt x="5118" y="1209"/>
                  <a:pt x="7818" y="0"/>
                  <a:pt x="10801" y="0"/>
                </a:cubicBezTo>
                <a:cubicBezTo>
                  <a:pt x="10801" y="0"/>
                  <a:pt x="10801" y="0"/>
                  <a:pt x="10801" y="0"/>
                </a:cubicBezTo>
                <a:close/>
              </a:path>
            </a:pathLst>
          </a:custGeom>
          <a:solidFill>
            <a:srgbClr val="2A3856"/>
          </a:solidFill>
          <a:ln w="12700" cap="flat">
            <a:noFill/>
            <a:miter lim="400000"/>
          </a:ln>
          <a:effectLst/>
        </p:spPr>
        <p:txBody>
          <a:bodyPr wrap="square" lIns="38100" tIns="38100" rIns="38100" bIns="38100" numCol="1" anchor="ctr">
            <a:noAutofit/>
          </a:bodyPr>
          <a:lstStyle/>
          <a:p>
            <a:pPr algn="ctr" defTabSz="321201">
              <a:defRPr sz="3000">
                <a:solidFill>
                  <a:srgbClr val="FFFFFF"/>
                </a:solidFill>
                <a:effectLst>
                  <a:outerShdw blurRad="38100" dist="12700" dir="5400000" rotWithShape="0">
                    <a:srgbClr val="000000">
                      <a:alpha val="50000"/>
                    </a:srgbClr>
                  </a:outerShdw>
                </a:effectLst>
                <a:latin typeface="+mn-lt"/>
                <a:ea typeface="+mn-ea"/>
                <a:cs typeface="+mn-cs"/>
                <a:sym typeface="Gill Sans"/>
              </a:defRPr>
            </a:pPr>
            <a:endParaRPr b="1">
              <a:solidFill>
                <a:srgbClr val="2A3856"/>
              </a:solidFill>
              <a:effectLst>
                <a:outerShdw blurRad="38100" dist="12700" dir="5400000" rotWithShape="0">
                  <a:srgbClr val="000000">
                    <a:alpha val="50000"/>
                  </a:srgbClr>
                </a:outerShdw>
              </a:effectLst>
              <a:latin typeface="Gill Sans Nova" panose="020B0602020104020203" pitchFamily="34" charset="0"/>
              <a:ea typeface="Gill Sans"/>
              <a:cs typeface="Gill Sans"/>
              <a:sym typeface="Gill Sans"/>
            </a:endParaRPr>
          </a:p>
        </p:txBody>
      </p:sp>
      <p:sp>
        <p:nvSpPr>
          <p:cNvPr id="240" name="TextBox 239">
            <a:extLst>
              <a:ext uri="{FF2B5EF4-FFF2-40B4-BE49-F238E27FC236}">
                <a16:creationId xmlns:a16="http://schemas.microsoft.com/office/drawing/2014/main" id="{771ED2E5-4339-9F4A-AB0A-9D3B9007B895}"/>
              </a:ext>
            </a:extLst>
          </p:cNvPr>
          <p:cNvSpPr txBox="1"/>
          <p:nvPr/>
        </p:nvSpPr>
        <p:spPr>
          <a:xfrm>
            <a:off x="7669477" y="3551081"/>
            <a:ext cx="2869375" cy="276999"/>
          </a:xfrm>
          <a:prstGeom prst="rect">
            <a:avLst/>
          </a:prstGeom>
          <a:noFill/>
        </p:spPr>
        <p:txBody>
          <a:bodyPr wrap="none" lIns="0" tIns="0" rIns="0" bIns="0" rtlCol="0">
            <a:spAutoFit/>
          </a:bodyPr>
          <a:lstStyle/>
          <a:p>
            <a:pPr defTabSz="914126">
              <a:defRPr/>
            </a:pPr>
            <a:r>
              <a:rPr lang="en-US" b="1" kern="0" dirty="0" err="1">
                <a:solidFill>
                  <a:srgbClr val="2A3856"/>
                </a:solidFill>
                <a:latin typeface="Gill Sans Nova" panose="020B0602020104020203" pitchFamily="34" charset="0"/>
                <a:ea typeface="Source Sans Pro" panose="020B0503030403020204" pitchFamily="34" charset="0"/>
                <a:cs typeface="Century Gothic" charset="0"/>
              </a:rPr>
              <a:t>TheBetterDeckDeck.com</a:t>
            </a:r>
            <a:endParaRPr lang="en-US" sz="1600" b="1" kern="0" dirty="0">
              <a:solidFill>
                <a:srgbClr val="2A3856"/>
              </a:solidFill>
              <a:latin typeface="Gill Sans Nova" panose="020B0602020104020203" pitchFamily="34" charset="0"/>
              <a:ea typeface="Source Sans Pro" panose="020B0503030403020204" pitchFamily="34" charset="0"/>
              <a:cs typeface="Century Gothic" charset="0"/>
            </a:endParaRPr>
          </a:p>
        </p:txBody>
      </p:sp>
      <p:pic>
        <p:nvPicPr>
          <p:cNvPr id="241" name="Graphic 240">
            <a:extLst>
              <a:ext uri="{FF2B5EF4-FFF2-40B4-BE49-F238E27FC236}">
                <a16:creationId xmlns:a16="http://schemas.microsoft.com/office/drawing/2014/main" id="{D9FF078A-644A-8841-BA61-A70445814351}"/>
              </a:ext>
            </a:extLst>
          </p:cNvPr>
          <p:cNvPicPr>
            <a:picLocks/>
          </p:cNvPicPr>
          <p:nvPr/>
        </p:nvPicPr>
        <p:blipFill>
          <a:blip r:embed="rId9">
            <a:extLst>
              <a:ext uri="{96DAC541-7B7A-43D3-8B79-37D633B846F1}">
                <asvg:svgBlip xmlns:asvg="http://schemas.microsoft.com/office/drawing/2016/SVG/main" r:embed="rId10"/>
              </a:ext>
            </a:extLst>
          </a:blip>
          <a:stretch>
            <a:fillRect/>
          </a:stretch>
        </p:blipFill>
        <p:spPr>
          <a:xfrm>
            <a:off x="7100788" y="3484138"/>
            <a:ext cx="421605" cy="421605"/>
          </a:xfrm>
          <a:prstGeom prst="rect">
            <a:avLst/>
          </a:prstGeom>
          <a:effectLst/>
        </p:spPr>
      </p:pic>
      <p:sp>
        <p:nvSpPr>
          <p:cNvPr id="242" name="TextBox 241">
            <a:extLst>
              <a:ext uri="{FF2B5EF4-FFF2-40B4-BE49-F238E27FC236}">
                <a16:creationId xmlns:a16="http://schemas.microsoft.com/office/drawing/2014/main" id="{51095A4B-6826-9A41-BD62-494B1A61EB33}"/>
              </a:ext>
            </a:extLst>
          </p:cNvPr>
          <p:cNvSpPr txBox="1"/>
          <p:nvPr/>
        </p:nvSpPr>
        <p:spPr>
          <a:xfrm>
            <a:off x="7669476" y="5071080"/>
            <a:ext cx="3683894" cy="276999"/>
          </a:xfrm>
          <a:prstGeom prst="rect">
            <a:avLst/>
          </a:prstGeom>
          <a:noFill/>
        </p:spPr>
        <p:txBody>
          <a:bodyPr wrap="none" lIns="0" tIns="0" rIns="0" bIns="0" rtlCol="0">
            <a:spAutoFit/>
          </a:bodyPr>
          <a:lstStyle/>
          <a:p>
            <a:r>
              <a:rPr lang="en-US" b="1" dirty="0" err="1">
                <a:solidFill>
                  <a:srgbClr val="2A3856"/>
                </a:solidFill>
                <a:latin typeface="Gill Sans Nova" panose="020B0602020104020203" pitchFamily="34" charset="0"/>
                <a:ea typeface="Source Sans Pro" panose="020B0503030403020204" pitchFamily="34" charset="0"/>
                <a:cs typeface="Century Gothic" charset="0"/>
              </a:rPr>
              <a:t>Nolan@NolanHaimsCreative.com</a:t>
            </a:r>
            <a:endParaRPr lang="en-US" b="1" dirty="0">
              <a:solidFill>
                <a:srgbClr val="2A3856"/>
              </a:solidFill>
              <a:latin typeface="Gill Sans Nova" panose="020B0602020104020203" pitchFamily="34" charset="0"/>
              <a:ea typeface="Source Sans Pro" panose="020B0503030403020204" pitchFamily="34" charset="0"/>
              <a:cs typeface="Century Gothic" charset="0"/>
            </a:endParaRPr>
          </a:p>
        </p:txBody>
      </p:sp>
      <p:pic>
        <p:nvPicPr>
          <p:cNvPr id="243" name="Graphic 242">
            <a:extLst>
              <a:ext uri="{FF2B5EF4-FFF2-40B4-BE49-F238E27FC236}">
                <a16:creationId xmlns:a16="http://schemas.microsoft.com/office/drawing/2014/main" id="{00BE4933-EC8A-9244-82CF-FF6AD9D79758}"/>
              </a:ext>
            </a:extLst>
          </p:cNvPr>
          <p:cNvPicPr>
            <a:picLocks/>
          </p:cNvPicPr>
          <p:nvPr/>
        </p:nvPicPr>
        <p:blipFill>
          <a:blip r:embed="rId11">
            <a:extLst>
              <a:ext uri="{96DAC541-7B7A-43D3-8B79-37D633B846F1}">
                <asvg:svgBlip xmlns:asvg="http://schemas.microsoft.com/office/drawing/2016/SVG/main" r:embed="rId12"/>
              </a:ext>
            </a:extLst>
          </a:blip>
          <a:stretch>
            <a:fillRect/>
          </a:stretch>
        </p:blipFill>
        <p:spPr>
          <a:xfrm>
            <a:off x="7130335" y="5034338"/>
            <a:ext cx="362508" cy="362508"/>
          </a:xfrm>
          <a:prstGeom prst="rect">
            <a:avLst/>
          </a:prstGeom>
          <a:effectLst/>
        </p:spPr>
      </p:pic>
      <p:sp>
        <p:nvSpPr>
          <p:cNvPr id="2" name="TextBox 1">
            <a:extLst>
              <a:ext uri="{FF2B5EF4-FFF2-40B4-BE49-F238E27FC236}">
                <a16:creationId xmlns:a16="http://schemas.microsoft.com/office/drawing/2014/main" id="{70281316-D117-0B45-BF87-390E54CF5A04}"/>
              </a:ext>
            </a:extLst>
          </p:cNvPr>
          <p:cNvSpPr txBox="1"/>
          <p:nvPr/>
        </p:nvSpPr>
        <p:spPr>
          <a:xfrm>
            <a:off x="709372" y="1011527"/>
            <a:ext cx="5061915" cy="1569660"/>
          </a:xfrm>
          <a:prstGeom prst="rect">
            <a:avLst/>
          </a:prstGeom>
          <a:noFill/>
        </p:spPr>
        <p:txBody>
          <a:bodyPr wrap="square" rtlCol="0">
            <a:spAutoFit/>
          </a:bodyPr>
          <a:lstStyle/>
          <a:p>
            <a:pPr algn="ctr"/>
            <a:r>
              <a:rPr lang="en-US" sz="4800" b="1" dirty="0">
                <a:solidFill>
                  <a:srgbClr val="293856"/>
                </a:solidFill>
                <a:latin typeface="Arial Black" panose="020B0604020202020204" pitchFamily="34" charset="0"/>
                <a:cs typeface="Arial Black" panose="020B0604020202020204" pitchFamily="34" charset="0"/>
              </a:rPr>
              <a:t>POWERPOINT ASSETS</a:t>
            </a:r>
          </a:p>
        </p:txBody>
      </p:sp>
    </p:spTree>
    <p:custDataLst>
      <p:tags r:id="rId1"/>
    </p:custDataLst>
    <p:extLst>
      <p:ext uri="{BB962C8B-B14F-4D97-AF65-F5344CB8AC3E}">
        <p14:creationId xmlns:p14="http://schemas.microsoft.com/office/powerpoint/2010/main" val="18706838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videoicon_thinkstocknic_174437285 2 [Converted].eps.png"/>
          <p:cNvPicPr>
            <a:picLocks noChangeAspect="1"/>
          </p:cNvPicPr>
          <p:nvPr/>
        </p:nvPicPr>
        <p:blipFill rotWithShape="1">
          <a:blip r:embed="rId2" cstate="print">
            <a:extLst>
              <a:ext uri="{28A0092B-C50C-407E-A947-70E740481C1C}">
                <a14:useLocalDpi xmlns:a14="http://schemas.microsoft.com/office/drawing/2010/main" val="0"/>
              </a:ext>
            </a:extLst>
          </a:blip>
          <a:srcRect t="8426" b="15151"/>
          <a:stretch/>
        </p:blipFill>
        <p:spPr>
          <a:xfrm>
            <a:off x="2438684" y="1490613"/>
            <a:ext cx="7354146" cy="4147705"/>
          </a:xfrm>
          <a:prstGeom prst="rect">
            <a:avLst/>
          </a:prstGeom>
          <a:effectLst>
            <a:outerShdw blurRad="104775" dist="76200" dir="8100000" algn="tl" rotWithShape="0">
              <a:srgbClr val="000000">
                <a:alpha val="32000"/>
              </a:srgbClr>
            </a:outerShdw>
          </a:effectLst>
        </p:spPr>
      </p:pic>
      <p:sp>
        <p:nvSpPr>
          <p:cNvPr id="2" name="Title 1"/>
          <p:cNvSpPr>
            <a:spLocks noGrp="1"/>
          </p:cNvSpPr>
          <p:nvPr>
            <p:ph type="title"/>
          </p:nvPr>
        </p:nvSpPr>
        <p:spPr/>
        <p:txBody>
          <a:bodyPr/>
          <a:lstStyle/>
          <a:p>
            <a:r>
              <a:rPr lang="en-US" dirty="0"/>
              <a:t>Video Placeholder .</a:t>
            </a:r>
            <a:r>
              <a:rPr lang="en-US" dirty="0" err="1"/>
              <a:t>png</a:t>
            </a:r>
            <a:endParaRPr lang="en-US" dirty="0"/>
          </a:p>
        </p:txBody>
      </p:sp>
    </p:spTree>
    <p:extLst>
      <p:ext uri="{BB962C8B-B14F-4D97-AF65-F5344CB8AC3E}">
        <p14:creationId xmlns:p14="http://schemas.microsoft.com/office/powerpoint/2010/main" val="36903803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rot="300000">
            <a:off x="2469042" y="531448"/>
            <a:ext cx="7557169" cy="1511962"/>
            <a:chOff x="3474899" y="3211513"/>
            <a:chExt cx="3122751" cy="1345627"/>
          </a:xfrm>
        </p:grpSpPr>
        <p:sp>
          <p:nvSpPr>
            <p:cNvPr id="11" name="AutoShape 1"/>
            <p:cNvSpPr>
              <a:spLocks/>
            </p:cNvSpPr>
            <p:nvPr/>
          </p:nvSpPr>
          <p:spPr bwMode="auto">
            <a:xfrm>
              <a:off x="6032500" y="3211513"/>
              <a:ext cx="565150" cy="608012"/>
            </a:xfrm>
            <a:custGeom>
              <a:avLst/>
              <a:gdLst/>
              <a:ahLst/>
              <a:cxnLst/>
              <a:rect l="0" t="0" r="r" b="b"/>
              <a:pathLst>
                <a:path w="21600" h="21600">
                  <a:moveTo>
                    <a:pt x="21600" y="0"/>
                  </a:moveTo>
                  <a:lnTo>
                    <a:pt x="0" y="3691"/>
                  </a:lnTo>
                  <a:lnTo>
                    <a:pt x="0" y="21600"/>
                  </a:lnTo>
                  <a:lnTo>
                    <a:pt x="21600" y="17908"/>
                  </a:lnTo>
                  <a:cubicBezTo>
                    <a:pt x="21600" y="17908"/>
                    <a:pt x="21600" y="0"/>
                    <a:pt x="21600" y="0"/>
                  </a:cubicBezTo>
                  <a:close/>
                  <a:moveTo>
                    <a:pt x="21600" y="0"/>
                  </a:moveTo>
                </a:path>
              </a:pathLst>
            </a:custGeom>
            <a:gradFill flip="none" rotWithShape="1">
              <a:gsLst>
                <a:gs pos="54000">
                  <a:srgbClr val="C4221E"/>
                </a:gs>
                <a:gs pos="100000">
                  <a:srgbClr val="C4221E">
                    <a:lumMod val="50000"/>
                  </a:srgbClr>
                </a:gs>
                <a:gs pos="0">
                  <a:srgbClr val="C4221E">
                    <a:lumMod val="50000"/>
                  </a:srgbClr>
                </a:gs>
                <a:gs pos="59000">
                  <a:srgbClr val="C4221E"/>
                </a:gs>
                <a:gs pos="41000">
                  <a:srgbClr val="C4221E"/>
                </a:gs>
              </a:gsLst>
              <a:lin ang="0" scaled="1"/>
              <a:tileRect/>
            </a:gra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defTabSz="914400">
                <a:defRPr/>
              </a:pPr>
              <a:endParaRPr lang="en-US" kern="0" dirty="0">
                <a:solidFill>
                  <a:sysClr val="windowText" lastClr="000000"/>
                </a:solidFill>
                <a:latin typeface="Georgia"/>
              </a:endParaRPr>
            </a:p>
          </p:txBody>
        </p:sp>
        <p:sp>
          <p:nvSpPr>
            <p:cNvPr id="12" name="AutoShape 2"/>
            <p:cNvSpPr>
              <a:spLocks/>
            </p:cNvSpPr>
            <p:nvPr/>
          </p:nvSpPr>
          <p:spPr bwMode="auto">
            <a:xfrm>
              <a:off x="6032500" y="3314700"/>
              <a:ext cx="138113" cy="146050"/>
            </a:xfrm>
            <a:custGeom>
              <a:avLst/>
              <a:gdLst/>
              <a:ahLst/>
              <a:cxnLst/>
              <a:rect l="0" t="0" r="r" b="b"/>
              <a:pathLst>
                <a:path w="21600" h="21600">
                  <a:moveTo>
                    <a:pt x="0" y="0"/>
                  </a:moveTo>
                  <a:lnTo>
                    <a:pt x="0" y="21600"/>
                  </a:lnTo>
                  <a:lnTo>
                    <a:pt x="21600" y="11655"/>
                  </a:lnTo>
                  <a:cubicBezTo>
                    <a:pt x="21600" y="11655"/>
                    <a:pt x="0" y="0"/>
                    <a:pt x="0" y="0"/>
                  </a:cubicBezTo>
                  <a:close/>
                  <a:moveTo>
                    <a:pt x="0" y="0"/>
                  </a:moveTo>
                </a:path>
              </a:pathLst>
            </a:custGeom>
            <a:solidFill>
              <a:srgbClr val="080D15"/>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defTabSz="914400">
                <a:defRPr/>
              </a:pPr>
              <a:endParaRPr lang="en-US" kern="0" dirty="0">
                <a:solidFill>
                  <a:sysClr val="windowText" lastClr="000000"/>
                </a:solidFill>
                <a:latin typeface="Georgia"/>
              </a:endParaRPr>
            </a:p>
          </p:txBody>
        </p:sp>
        <p:sp>
          <p:nvSpPr>
            <p:cNvPr id="13" name="AutoShape 3"/>
            <p:cNvSpPr>
              <a:spLocks/>
            </p:cNvSpPr>
            <p:nvPr/>
          </p:nvSpPr>
          <p:spPr bwMode="auto">
            <a:xfrm>
              <a:off x="3474899" y="3950715"/>
              <a:ext cx="565150" cy="606425"/>
            </a:xfrm>
            <a:custGeom>
              <a:avLst/>
              <a:gdLst/>
              <a:ahLst/>
              <a:cxnLst/>
              <a:rect l="0" t="0" r="r" b="b"/>
              <a:pathLst>
                <a:path w="21600" h="21600">
                  <a:moveTo>
                    <a:pt x="21600" y="0"/>
                  </a:moveTo>
                  <a:lnTo>
                    <a:pt x="0" y="3692"/>
                  </a:lnTo>
                  <a:lnTo>
                    <a:pt x="0" y="21600"/>
                  </a:lnTo>
                  <a:lnTo>
                    <a:pt x="21600" y="17908"/>
                  </a:lnTo>
                  <a:cubicBezTo>
                    <a:pt x="21600" y="17908"/>
                    <a:pt x="21600" y="0"/>
                    <a:pt x="21600" y="0"/>
                  </a:cubicBezTo>
                  <a:close/>
                  <a:moveTo>
                    <a:pt x="21600" y="0"/>
                  </a:moveTo>
                </a:path>
              </a:pathLst>
            </a:custGeom>
            <a:gradFill flip="none" rotWithShape="1">
              <a:gsLst>
                <a:gs pos="54000">
                  <a:srgbClr val="C4221E"/>
                </a:gs>
                <a:gs pos="100000">
                  <a:srgbClr val="C4221E">
                    <a:lumMod val="50000"/>
                  </a:srgbClr>
                </a:gs>
                <a:gs pos="0">
                  <a:srgbClr val="C4221E">
                    <a:lumMod val="50000"/>
                  </a:srgbClr>
                </a:gs>
                <a:gs pos="59000">
                  <a:srgbClr val="C4221E"/>
                </a:gs>
                <a:gs pos="41000">
                  <a:srgbClr val="C4221E"/>
                </a:gs>
              </a:gsLst>
              <a:lin ang="0" scaled="1"/>
              <a:tileRect/>
            </a:gra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defTabSz="914400">
                <a:defRPr/>
              </a:pPr>
              <a:endParaRPr lang="en-US" kern="0" dirty="0">
                <a:solidFill>
                  <a:sysClr val="windowText" lastClr="000000"/>
                </a:solidFill>
                <a:latin typeface="Georgia"/>
              </a:endParaRPr>
            </a:p>
          </p:txBody>
        </p:sp>
        <p:sp>
          <p:nvSpPr>
            <p:cNvPr id="14" name="AutoShape 4"/>
            <p:cNvSpPr>
              <a:spLocks/>
            </p:cNvSpPr>
            <p:nvPr/>
          </p:nvSpPr>
          <p:spPr bwMode="auto">
            <a:xfrm>
              <a:off x="3911600" y="4292600"/>
              <a:ext cx="127000" cy="158750"/>
            </a:xfrm>
            <a:custGeom>
              <a:avLst/>
              <a:gdLst/>
              <a:ahLst/>
              <a:cxnLst/>
              <a:rect l="0" t="0" r="r" b="b"/>
              <a:pathLst>
                <a:path w="21600" h="21600">
                  <a:moveTo>
                    <a:pt x="21600" y="0"/>
                  </a:moveTo>
                  <a:lnTo>
                    <a:pt x="0" y="3195"/>
                  </a:lnTo>
                  <a:lnTo>
                    <a:pt x="21600" y="21600"/>
                  </a:lnTo>
                  <a:cubicBezTo>
                    <a:pt x="21600" y="21600"/>
                    <a:pt x="21600" y="0"/>
                    <a:pt x="21600" y="0"/>
                  </a:cubicBezTo>
                  <a:close/>
                  <a:moveTo>
                    <a:pt x="21600" y="0"/>
                  </a:moveTo>
                </a:path>
              </a:pathLst>
            </a:custGeom>
            <a:solidFill>
              <a:srgbClr val="080D15"/>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defTabSz="914400">
                <a:defRPr/>
              </a:pPr>
              <a:endParaRPr lang="en-US" kern="0" dirty="0">
                <a:solidFill>
                  <a:sysClr val="windowText" lastClr="000000"/>
                </a:solidFill>
                <a:latin typeface="Georgia"/>
              </a:endParaRPr>
            </a:p>
          </p:txBody>
        </p:sp>
        <p:sp>
          <p:nvSpPr>
            <p:cNvPr id="15" name="AutoShape 5"/>
            <p:cNvSpPr>
              <a:spLocks/>
            </p:cNvSpPr>
            <p:nvPr/>
          </p:nvSpPr>
          <p:spPr bwMode="auto">
            <a:xfrm>
              <a:off x="3911600" y="3403600"/>
              <a:ext cx="2254250" cy="915988"/>
            </a:xfrm>
            <a:custGeom>
              <a:avLst/>
              <a:gdLst/>
              <a:ahLst/>
              <a:cxnLst/>
              <a:rect l="0" t="0" r="r" b="b"/>
              <a:pathLst>
                <a:path w="21600" h="21600">
                  <a:moveTo>
                    <a:pt x="21600" y="0"/>
                  </a:moveTo>
                  <a:lnTo>
                    <a:pt x="0" y="9744"/>
                  </a:lnTo>
                  <a:lnTo>
                    <a:pt x="0" y="21600"/>
                  </a:lnTo>
                  <a:lnTo>
                    <a:pt x="21600" y="11856"/>
                  </a:lnTo>
                  <a:cubicBezTo>
                    <a:pt x="21600" y="11856"/>
                    <a:pt x="21600" y="0"/>
                    <a:pt x="21600" y="0"/>
                  </a:cubicBezTo>
                  <a:close/>
                  <a:moveTo>
                    <a:pt x="21600" y="0"/>
                  </a:moveTo>
                </a:path>
              </a:pathLst>
            </a:custGeom>
            <a:gradFill flip="none" rotWithShape="1">
              <a:gsLst>
                <a:gs pos="54000">
                  <a:srgbClr val="C4221E"/>
                </a:gs>
                <a:gs pos="100000">
                  <a:srgbClr val="C4221E">
                    <a:lumMod val="50000"/>
                  </a:srgbClr>
                </a:gs>
                <a:gs pos="0">
                  <a:srgbClr val="C4221E">
                    <a:lumMod val="50000"/>
                  </a:srgbClr>
                </a:gs>
                <a:gs pos="90000">
                  <a:srgbClr val="C4221E"/>
                </a:gs>
                <a:gs pos="8000">
                  <a:srgbClr val="C4221E"/>
                </a:gs>
              </a:gsLst>
              <a:lin ang="0" scaled="1"/>
              <a:tileRect/>
            </a:gra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defTabSz="914400">
                <a:defRPr/>
              </a:pPr>
              <a:endParaRPr lang="en-US" kern="0" dirty="0">
                <a:solidFill>
                  <a:sysClr val="windowText" lastClr="000000"/>
                </a:solidFill>
                <a:latin typeface="Georgia"/>
              </a:endParaRPr>
            </a:p>
          </p:txBody>
        </p:sp>
      </p:grpSp>
      <p:grpSp>
        <p:nvGrpSpPr>
          <p:cNvPr id="24" name="Group 23"/>
          <p:cNvGrpSpPr/>
          <p:nvPr/>
        </p:nvGrpSpPr>
        <p:grpSpPr>
          <a:xfrm>
            <a:off x="2463692" y="4212676"/>
            <a:ext cx="7553434" cy="919429"/>
            <a:chOff x="-24914" y="4846249"/>
            <a:chExt cx="12290758" cy="1496072"/>
          </a:xfrm>
        </p:grpSpPr>
        <p:sp>
          <p:nvSpPr>
            <p:cNvPr id="25" name="Rectangle 24"/>
            <p:cNvSpPr/>
            <p:nvPr/>
          </p:nvSpPr>
          <p:spPr>
            <a:xfrm>
              <a:off x="-24914" y="4846249"/>
              <a:ext cx="2814755" cy="1212665"/>
            </a:xfrm>
            <a:prstGeom prst="rect">
              <a:avLst/>
            </a:prstGeom>
            <a:gradFill flip="none" rotWithShape="1">
              <a:gsLst>
                <a:gs pos="54000">
                  <a:srgbClr val="1F497D">
                    <a:lumMod val="75000"/>
                  </a:srgbClr>
                </a:gs>
                <a:gs pos="96000">
                  <a:srgbClr val="1F497D">
                    <a:lumMod val="50000"/>
                  </a:srgbClr>
                </a:gs>
                <a:gs pos="7000">
                  <a:srgbClr val="1F497D">
                    <a:lumMod val="50000"/>
                  </a:srgbClr>
                </a:gs>
                <a:gs pos="76000">
                  <a:srgbClr val="1F497D">
                    <a:lumMod val="75000"/>
                  </a:srgbClr>
                </a:gs>
                <a:gs pos="45000">
                  <a:srgbClr val="1F497D">
                    <a:lumMod val="75000"/>
                  </a:srgbClr>
                </a:gs>
              </a:gsLst>
              <a:lin ang="0" scaled="1"/>
              <a:tileRect/>
            </a:gradFill>
            <a:ln>
              <a:noFill/>
            </a:ln>
            <a:effectLst>
              <a:outerShdw blurRad="50800" dist="38100" dir="2700000" algn="tl" rotWithShape="0">
                <a:prstClr val="black">
                  <a:alpha val="40000"/>
                </a:prstClr>
              </a:outerShdw>
            </a:effectLst>
          </p:spPr>
          <p:txBody>
            <a:bodyPr lIns="0" tIns="0" rIns="0" bIns="0"/>
            <a:lstStyle/>
            <a:p>
              <a:pPr defTabSz="914400">
                <a:defRPr/>
              </a:pPr>
              <a:endParaRPr lang="en-US" kern="0">
                <a:solidFill>
                  <a:sysClr val="windowText" lastClr="000000"/>
                </a:solidFill>
                <a:latin typeface="Georgia"/>
              </a:endParaRPr>
            </a:p>
          </p:txBody>
        </p:sp>
        <p:sp>
          <p:nvSpPr>
            <p:cNvPr id="26" name="Rectangle 25"/>
            <p:cNvSpPr/>
            <p:nvPr/>
          </p:nvSpPr>
          <p:spPr>
            <a:xfrm>
              <a:off x="2298749" y="5129656"/>
              <a:ext cx="9967095" cy="1212665"/>
            </a:xfrm>
            <a:prstGeom prst="rect">
              <a:avLst/>
            </a:prstGeom>
            <a:gradFill flip="none" rotWithShape="1">
              <a:gsLst>
                <a:gs pos="54000">
                  <a:srgbClr val="1F497D">
                    <a:lumMod val="75000"/>
                  </a:srgbClr>
                </a:gs>
                <a:gs pos="100000">
                  <a:srgbClr val="1F497D">
                    <a:lumMod val="50000"/>
                  </a:srgbClr>
                </a:gs>
                <a:gs pos="0">
                  <a:srgbClr val="1F497D">
                    <a:lumMod val="50000"/>
                  </a:srgbClr>
                </a:gs>
                <a:gs pos="90000">
                  <a:srgbClr val="1F497D">
                    <a:lumMod val="75000"/>
                  </a:srgbClr>
                </a:gs>
                <a:gs pos="8000">
                  <a:srgbClr val="1F497D">
                    <a:lumMod val="75000"/>
                  </a:srgbClr>
                </a:gs>
              </a:gsLst>
              <a:lin ang="0" scaled="1"/>
              <a:tileRect/>
            </a:gradFill>
            <a:ln>
              <a:noFill/>
            </a:ln>
            <a:effectLst>
              <a:outerShdw blurRad="50800" dist="38100" dir="2700000" algn="tl" rotWithShape="0">
                <a:prstClr val="black">
                  <a:alpha val="40000"/>
                </a:prstClr>
              </a:outerShdw>
            </a:effectLst>
          </p:spPr>
          <p:txBody>
            <a:bodyPr lIns="0" tIns="0" rIns="0" bIns="0"/>
            <a:lstStyle/>
            <a:p>
              <a:pPr defTabSz="914400">
                <a:defRPr/>
              </a:pPr>
              <a:endParaRPr lang="en-US" kern="0">
                <a:solidFill>
                  <a:sysClr val="windowText" lastClr="000000"/>
                </a:solidFill>
                <a:latin typeface="Georgia"/>
              </a:endParaRPr>
            </a:p>
          </p:txBody>
        </p:sp>
        <p:sp>
          <p:nvSpPr>
            <p:cNvPr id="27" name="AutoShape 4"/>
            <p:cNvSpPr>
              <a:spLocks/>
            </p:cNvSpPr>
            <p:nvPr/>
          </p:nvSpPr>
          <p:spPr bwMode="auto">
            <a:xfrm rot="21300000" flipV="1">
              <a:off x="2298991" y="4867655"/>
              <a:ext cx="503975" cy="292492"/>
            </a:xfrm>
            <a:custGeom>
              <a:avLst/>
              <a:gdLst/>
              <a:ahLst/>
              <a:cxnLst/>
              <a:rect l="0" t="0" r="r" b="b"/>
              <a:pathLst>
                <a:path w="21600" h="21600">
                  <a:moveTo>
                    <a:pt x="21600" y="0"/>
                  </a:moveTo>
                  <a:lnTo>
                    <a:pt x="0" y="3195"/>
                  </a:lnTo>
                  <a:lnTo>
                    <a:pt x="21600" y="21600"/>
                  </a:lnTo>
                  <a:cubicBezTo>
                    <a:pt x="21600" y="21600"/>
                    <a:pt x="21600" y="0"/>
                    <a:pt x="21600" y="0"/>
                  </a:cubicBezTo>
                  <a:close/>
                  <a:moveTo>
                    <a:pt x="21600" y="0"/>
                  </a:moveTo>
                </a:path>
              </a:pathLst>
            </a:custGeom>
            <a:solidFill>
              <a:srgbClr val="080D15"/>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defTabSz="914400">
                <a:defRPr/>
              </a:pPr>
              <a:endParaRPr lang="en-US" kern="0" dirty="0">
                <a:solidFill>
                  <a:sysClr val="windowText" lastClr="000000"/>
                </a:solidFill>
                <a:latin typeface="Georgia"/>
              </a:endParaRPr>
            </a:p>
          </p:txBody>
        </p:sp>
      </p:grpSp>
      <p:grpSp>
        <p:nvGrpSpPr>
          <p:cNvPr id="28" name="Group 27"/>
          <p:cNvGrpSpPr/>
          <p:nvPr/>
        </p:nvGrpSpPr>
        <p:grpSpPr>
          <a:xfrm>
            <a:off x="2455225" y="2896714"/>
            <a:ext cx="7568939" cy="1066616"/>
            <a:chOff x="-24914" y="2839984"/>
            <a:chExt cx="12290758" cy="1732016"/>
          </a:xfrm>
        </p:grpSpPr>
        <p:sp>
          <p:nvSpPr>
            <p:cNvPr id="29" name="Rectangle 28"/>
            <p:cNvSpPr/>
            <p:nvPr/>
          </p:nvSpPr>
          <p:spPr>
            <a:xfrm>
              <a:off x="-24914" y="2839984"/>
              <a:ext cx="2814755" cy="1471055"/>
            </a:xfrm>
            <a:prstGeom prst="rect">
              <a:avLst/>
            </a:prstGeom>
            <a:gradFill flip="none" rotWithShape="1">
              <a:gsLst>
                <a:gs pos="8000">
                  <a:srgbClr val="FFFFFF"/>
                </a:gs>
                <a:gs pos="100000">
                  <a:sysClr val="window" lastClr="FFFFFF">
                    <a:lumMod val="75000"/>
                  </a:sysClr>
                </a:gs>
                <a:gs pos="92000">
                  <a:srgbClr val="FFFFFF"/>
                </a:gs>
                <a:gs pos="0">
                  <a:sysClr val="window" lastClr="FFFFFF">
                    <a:lumMod val="75000"/>
                  </a:sysClr>
                </a:gs>
              </a:gsLst>
              <a:lin ang="0" scaled="1"/>
              <a:tileRect/>
            </a:gradFill>
            <a:ln>
              <a:noFill/>
            </a:ln>
            <a:effectLst>
              <a:outerShdw blurRad="50800" dist="38100" dir="2700000" algn="tl" rotWithShape="0">
                <a:prstClr val="black">
                  <a:alpha val="40000"/>
                </a:prstClr>
              </a:outerShdw>
            </a:effectLst>
          </p:spPr>
          <p:txBody>
            <a:bodyPr lIns="0" tIns="0" rIns="0" bIns="0"/>
            <a:lstStyle/>
            <a:p>
              <a:pPr defTabSz="914400">
                <a:defRPr/>
              </a:pPr>
              <a:endParaRPr lang="en-US" kern="0">
                <a:solidFill>
                  <a:sysClr val="windowText" lastClr="000000"/>
                </a:solidFill>
                <a:latin typeface="Georgia"/>
              </a:endParaRPr>
            </a:p>
          </p:txBody>
        </p:sp>
        <p:sp>
          <p:nvSpPr>
            <p:cNvPr id="30" name="Rectangle 29"/>
            <p:cNvSpPr/>
            <p:nvPr/>
          </p:nvSpPr>
          <p:spPr>
            <a:xfrm>
              <a:off x="2298749" y="3100945"/>
              <a:ext cx="9967095" cy="1471055"/>
            </a:xfrm>
            <a:prstGeom prst="rect">
              <a:avLst/>
            </a:prstGeom>
            <a:gradFill flip="none" rotWithShape="1">
              <a:gsLst>
                <a:gs pos="8000">
                  <a:srgbClr val="FFFFFF"/>
                </a:gs>
                <a:gs pos="100000">
                  <a:sysClr val="window" lastClr="FFFFFF">
                    <a:lumMod val="75000"/>
                  </a:sysClr>
                </a:gs>
                <a:gs pos="92000">
                  <a:srgbClr val="FFFFFF"/>
                </a:gs>
                <a:gs pos="0">
                  <a:sysClr val="window" lastClr="FFFFFF">
                    <a:lumMod val="75000"/>
                  </a:sysClr>
                </a:gs>
              </a:gsLst>
              <a:lin ang="0" scaled="1"/>
              <a:tileRect/>
            </a:gradFill>
            <a:ln>
              <a:noFill/>
            </a:ln>
            <a:effectLst>
              <a:outerShdw blurRad="50800" dist="38100" dir="2700000" algn="tl" rotWithShape="0">
                <a:prstClr val="black">
                  <a:alpha val="40000"/>
                </a:prstClr>
              </a:outerShdw>
            </a:effectLst>
          </p:spPr>
          <p:txBody>
            <a:bodyPr lIns="0" tIns="0" rIns="0" bIns="0"/>
            <a:lstStyle/>
            <a:p>
              <a:pPr defTabSz="914400">
                <a:defRPr/>
              </a:pPr>
              <a:endParaRPr lang="en-US" kern="0">
                <a:solidFill>
                  <a:sysClr val="windowText" lastClr="000000"/>
                </a:solidFill>
                <a:latin typeface="Georgia"/>
              </a:endParaRPr>
            </a:p>
          </p:txBody>
        </p:sp>
        <p:sp>
          <p:nvSpPr>
            <p:cNvPr id="31" name="AutoShape 4"/>
            <p:cNvSpPr>
              <a:spLocks/>
            </p:cNvSpPr>
            <p:nvPr/>
          </p:nvSpPr>
          <p:spPr bwMode="auto">
            <a:xfrm rot="21300000" flipV="1">
              <a:off x="2298992" y="2861390"/>
              <a:ext cx="503975" cy="292492"/>
            </a:xfrm>
            <a:custGeom>
              <a:avLst/>
              <a:gdLst/>
              <a:ahLst/>
              <a:cxnLst/>
              <a:rect l="0" t="0" r="r" b="b"/>
              <a:pathLst>
                <a:path w="21600" h="21600">
                  <a:moveTo>
                    <a:pt x="21600" y="0"/>
                  </a:moveTo>
                  <a:lnTo>
                    <a:pt x="0" y="3195"/>
                  </a:lnTo>
                  <a:lnTo>
                    <a:pt x="21600" y="21600"/>
                  </a:lnTo>
                  <a:cubicBezTo>
                    <a:pt x="21600" y="21600"/>
                    <a:pt x="21600" y="0"/>
                    <a:pt x="21600" y="0"/>
                  </a:cubicBezTo>
                  <a:close/>
                  <a:moveTo>
                    <a:pt x="21600" y="0"/>
                  </a:moveTo>
                </a:path>
              </a:pathLst>
            </a:custGeom>
            <a:solidFill>
              <a:sysClr val="windowText" lastClr="000000">
                <a:lumMod val="85000"/>
                <a:lumOff val="15000"/>
              </a:sysClr>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defTabSz="914400">
                <a:defRPr/>
              </a:pPr>
              <a:endParaRPr lang="en-US" kern="0" dirty="0">
                <a:solidFill>
                  <a:sysClr val="windowText" lastClr="000000"/>
                </a:solidFill>
                <a:latin typeface="Georgia"/>
              </a:endParaRPr>
            </a:p>
          </p:txBody>
        </p:sp>
      </p:grpSp>
      <p:grpSp>
        <p:nvGrpSpPr>
          <p:cNvPr id="32" name="Group 31"/>
          <p:cNvGrpSpPr/>
          <p:nvPr/>
        </p:nvGrpSpPr>
        <p:grpSpPr>
          <a:xfrm rot="11083667">
            <a:off x="2193942" y="1440783"/>
            <a:ext cx="7971990" cy="1540654"/>
            <a:chOff x="3479800" y="3211513"/>
            <a:chExt cx="3117850" cy="1344612"/>
          </a:xfrm>
          <a:effectLst>
            <a:outerShdw blurRad="50800" dist="38100" dir="2700000" algn="tl" rotWithShape="0">
              <a:prstClr val="black">
                <a:alpha val="40000"/>
              </a:prstClr>
            </a:outerShdw>
          </a:effectLst>
        </p:grpSpPr>
        <p:sp>
          <p:nvSpPr>
            <p:cNvPr id="33" name="AutoShape 1"/>
            <p:cNvSpPr>
              <a:spLocks/>
            </p:cNvSpPr>
            <p:nvPr/>
          </p:nvSpPr>
          <p:spPr bwMode="auto">
            <a:xfrm>
              <a:off x="6032500" y="3211513"/>
              <a:ext cx="565150" cy="608012"/>
            </a:xfrm>
            <a:custGeom>
              <a:avLst/>
              <a:gdLst/>
              <a:ahLst/>
              <a:cxnLst/>
              <a:rect l="0" t="0" r="r" b="b"/>
              <a:pathLst>
                <a:path w="21600" h="21600">
                  <a:moveTo>
                    <a:pt x="21600" y="0"/>
                  </a:moveTo>
                  <a:lnTo>
                    <a:pt x="0" y="3691"/>
                  </a:lnTo>
                  <a:lnTo>
                    <a:pt x="0" y="21600"/>
                  </a:lnTo>
                  <a:lnTo>
                    <a:pt x="21600" y="17908"/>
                  </a:lnTo>
                  <a:cubicBezTo>
                    <a:pt x="21600" y="17908"/>
                    <a:pt x="21600" y="0"/>
                    <a:pt x="21600" y="0"/>
                  </a:cubicBezTo>
                  <a:close/>
                  <a:moveTo>
                    <a:pt x="21600" y="0"/>
                  </a:moveTo>
                </a:path>
              </a:pathLst>
            </a:custGeom>
            <a:gradFill flip="none" rotWithShape="1">
              <a:gsLst>
                <a:gs pos="54000">
                  <a:schemeClr val="tx2">
                    <a:lumMod val="75000"/>
                  </a:schemeClr>
                </a:gs>
                <a:gs pos="96000">
                  <a:schemeClr val="tx2">
                    <a:lumMod val="50000"/>
                  </a:schemeClr>
                </a:gs>
                <a:gs pos="7000">
                  <a:schemeClr val="tx2">
                    <a:lumMod val="50000"/>
                  </a:schemeClr>
                </a:gs>
                <a:gs pos="76000">
                  <a:schemeClr val="tx2">
                    <a:lumMod val="75000"/>
                  </a:schemeClr>
                </a:gs>
                <a:gs pos="45000">
                  <a:schemeClr val="tx2">
                    <a:lumMod val="75000"/>
                  </a:schemeClr>
                </a:gs>
              </a:gsLst>
              <a:lin ang="0" scaled="1"/>
              <a:tileRect/>
            </a:gra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kern="0" dirty="0">
                <a:solidFill>
                  <a:sysClr val="windowText" lastClr="000000"/>
                </a:solidFill>
                <a:latin typeface="Georgia"/>
              </a:endParaRPr>
            </a:p>
          </p:txBody>
        </p:sp>
        <p:sp>
          <p:nvSpPr>
            <p:cNvPr id="34" name="AutoShape 2"/>
            <p:cNvSpPr>
              <a:spLocks/>
            </p:cNvSpPr>
            <p:nvPr/>
          </p:nvSpPr>
          <p:spPr bwMode="auto">
            <a:xfrm>
              <a:off x="6032500" y="3314700"/>
              <a:ext cx="138113" cy="146050"/>
            </a:xfrm>
            <a:custGeom>
              <a:avLst/>
              <a:gdLst/>
              <a:ahLst/>
              <a:cxnLst/>
              <a:rect l="0" t="0" r="r" b="b"/>
              <a:pathLst>
                <a:path w="21600" h="21600">
                  <a:moveTo>
                    <a:pt x="0" y="0"/>
                  </a:moveTo>
                  <a:lnTo>
                    <a:pt x="0" y="21600"/>
                  </a:lnTo>
                  <a:lnTo>
                    <a:pt x="21600" y="11655"/>
                  </a:lnTo>
                  <a:cubicBezTo>
                    <a:pt x="21600" y="11655"/>
                    <a:pt x="0" y="0"/>
                    <a:pt x="0" y="0"/>
                  </a:cubicBezTo>
                  <a:close/>
                  <a:moveTo>
                    <a:pt x="0" y="0"/>
                  </a:moveTo>
                </a:path>
              </a:pathLst>
            </a:custGeom>
            <a:solidFill>
              <a:srgbClr val="080D15"/>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defTabSz="914400">
                <a:defRPr/>
              </a:pPr>
              <a:endParaRPr lang="en-US" kern="0" dirty="0">
                <a:solidFill>
                  <a:sysClr val="windowText" lastClr="000000"/>
                </a:solidFill>
                <a:latin typeface="Georgia"/>
              </a:endParaRPr>
            </a:p>
          </p:txBody>
        </p:sp>
        <p:sp>
          <p:nvSpPr>
            <p:cNvPr id="35" name="AutoShape 3"/>
            <p:cNvSpPr>
              <a:spLocks/>
            </p:cNvSpPr>
            <p:nvPr/>
          </p:nvSpPr>
          <p:spPr bwMode="auto">
            <a:xfrm>
              <a:off x="3479800" y="3949700"/>
              <a:ext cx="565150" cy="606425"/>
            </a:xfrm>
            <a:custGeom>
              <a:avLst/>
              <a:gdLst/>
              <a:ahLst/>
              <a:cxnLst/>
              <a:rect l="0" t="0" r="r" b="b"/>
              <a:pathLst>
                <a:path w="21600" h="21600">
                  <a:moveTo>
                    <a:pt x="21600" y="0"/>
                  </a:moveTo>
                  <a:lnTo>
                    <a:pt x="0" y="3692"/>
                  </a:lnTo>
                  <a:lnTo>
                    <a:pt x="0" y="21600"/>
                  </a:lnTo>
                  <a:lnTo>
                    <a:pt x="21600" y="17908"/>
                  </a:lnTo>
                  <a:cubicBezTo>
                    <a:pt x="21600" y="17908"/>
                    <a:pt x="21600" y="0"/>
                    <a:pt x="21600" y="0"/>
                  </a:cubicBezTo>
                  <a:close/>
                  <a:moveTo>
                    <a:pt x="21600" y="0"/>
                  </a:moveTo>
                </a:path>
              </a:pathLst>
            </a:custGeom>
            <a:gradFill flip="none" rotWithShape="1">
              <a:gsLst>
                <a:gs pos="54000">
                  <a:schemeClr val="tx2">
                    <a:lumMod val="75000"/>
                  </a:schemeClr>
                </a:gs>
                <a:gs pos="96000">
                  <a:schemeClr val="tx2">
                    <a:lumMod val="50000"/>
                  </a:schemeClr>
                </a:gs>
                <a:gs pos="7000">
                  <a:schemeClr val="tx2">
                    <a:lumMod val="50000"/>
                  </a:schemeClr>
                </a:gs>
                <a:gs pos="76000">
                  <a:schemeClr val="tx2">
                    <a:lumMod val="75000"/>
                  </a:schemeClr>
                </a:gs>
                <a:gs pos="45000">
                  <a:schemeClr val="tx2">
                    <a:lumMod val="75000"/>
                  </a:schemeClr>
                </a:gs>
              </a:gsLst>
              <a:lin ang="0" scaled="1"/>
              <a:tileRect/>
            </a:gra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kern="0" dirty="0">
                <a:solidFill>
                  <a:sysClr val="windowText" lastClr="000000"/>
                </a:solidFill>
                <a:latin typeface="Georgia"/>
              </a:endParaRPr>
            </a:p>
          </p:txBody>
        </p:sp>
        <p:sp>
          <p:nvSpPr>
            <p:cNvPr id="36" name="AutoShape 4"/>
            <p:cNvSpPr>
              <a:spLocks/>
            </p:cNvSpPr>
            <p:nvPr/>
          </p:nvSpPr>
          <p:spPr bwMode="auto">
            <a:xfrm>
              <a:off x="3911600" y="4292600"/>
              <a:ext cx="127000" cy="158750"/>
            </a:xfrm>
            <a:custGeom>
              <a:avLst/>
              <a:gdLst/>
              <a:ahLst/>
              <a:cxnLst/>
              <a:rect l="0" t="0" r="r" b="b"/>
              <a:pathLst>
                <a:path w="21600" h="21600">
                  <a:moveTo>
                    <a:pt x="21600" y="0"/>
                  </a:moveTo>
                  <a:lnTo>
                    <a:pt x="0" y="3195"/>
                  </a:lnTo>
                  <a:lnTo>
                    <a:pt x="21600" y="21600"/>
                  </a:lnTo>
                  <a:cubicBezTo>
                    <a:pt x="21600" y="21600"/>
                    <a:pt x="21600" y="0"/>
                    <a:pt x="21600" y="0"/>
                  </a:cubicBezTo>
                  <a:close/>
                  <a:moveTo>
                    <a:pt x="21600" y="0"/>
                  </a:moveTo>
                </a:path>
              </a:pathLst>
            </a:custGeom>
            <a:solidFill>
              <a:srgbClr val="080D15"/>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kern="0" dirty="0">
                <a:solidFill>
                  <a:sysClr val="windowText" lastClr="000000"/>
                </a:solidFill>
                <a:latin typeface="Georgia"/>
              </a:endParaRPr>
            </a:p>
          </p:txBody>
        </p:sp>
        <p:sp>
          <p:nvSpPr>
            <p:cNvPr id="37" name="AutoShape 5"/>
            <p:cNvSpPr>
              <a:spLocks/>
            </p:cNvSpPr>
            <p:nvPr/>
          </p:nvSpPr>
          <p:spPr bwMode="auto">
            <a:xfrm>
              <a:off x="3911600" y="3403600"/>
              <a:ext cx="2254250" cy="915988"/>
            </a:xfrm>
            <a:custGeom>
              <a:avLst/>
              <a:gdLst/>
              <a:ahLst/>
              <a:cxnLst/>
              <a:rect l="0" t="0" r="r" b="b"/>
              <a:pathLst>
                <a:path w="21600" h="21600">
                  <a:moveTo>
                    <a:pt x="21600" y="0"/>
                  </a:moveTo>
                  <a:lnTo>
                    <a:pt x="0" y="9744"/>
                  </a:lnTo>
                  <a:lnTo>
                    <a:pt x="0" y="21600"/>
                  </a:lnTo>
                  <a:lnTo>
                    <a:pt x="21600" y="11856"/>
                  </a:lnTo>
                  <a:cubicBezTo>
                    <a:pt x="21600" y="11856"/>
                    <a:pt x="21600" y="0"/>
                    <a:pt x="21600" y="0"/>
                  </a:cubicBezTo>
                  <a:close/>
                  <a:moveTo>
                    <a:pt x="21600" y="0"/>
                  </a:moveTo>
                </a:path>
              </a:pathLst>
            </a:custGeom>
            <a:gradFill flip="none" rotWithShape="1">
              <a:gsLst>
                <a:gs pos="54000">
                  <a:schemeClr val="tx2">
                    <a:lumMod val="75000"/>
                  </a:schemeClr>
                </a:gs>
                <a:gs pos="100000">
                  <a:schemeClr val="tx2">
                    <a:lumMod val="50000"/>
                  </a:schemeClr>
                </a:gs>
                <a:gs pos="0">
                  <a:schemeClr val="tx2">
                    <a:lumMod val="50000"/>
                  </a:schemeClr>
                </a:gs>
                <a:gs pos="90000">
                  <a:schemeClr val="tx2">
                    <a:lumMod val="75000"/>
                  </a:schemeClr>
                </a:gs>
                <a:gs pos="8000">
                  <a:schemeClr val="tx2">
                    <a:lumMod val="75000"/>
                  </a:schemeClr>
                </a:gs>
              </a:gsLst>
              <a:lin ang="0" scaled="1"/>
              <a:tileRect/>
            </a:gra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pPr defTabSz="914400">
                <a:defRPr/>
              </a:pPr>
              <a:endParaRPr lang="en-US" kern="0" dirty="0">
                <a:solidFill>
                  <a:sysClr val="windowText" lastClr="000000"/>
                </a:solidFill>
                <a:latin typeface="Georgia"/>
              </a:endParaRPr>
            </a:p>
          </p:txBody>
        </p:sp>
      </p:grpSp>
      <p:sp>
        <p:nvSpPr>
          <p:cNvPr id="2" name="Title 1"/>
          <p:cNvSpPr>
            <a:spLocks noGrp="1"/>
          </p:cNvSpPr>
          <p:nvPr>
            <p:ph type="title"/>
          </p:nvPr>
        </p:nvSpPr>
        <p:spPr/>
        <p:txBody>
          <a:bodyPr/>
          <a:lstStyle/>
          <a:p>
            <a:r>
              <a:rPr lang="en-US" dirty="0"/>
              <a:t>Banners &amp; Ribbons (PPT Native)</a:t>
            </a:r>
          </a:p>
        </p:txBody>
      </p:sp>
      <p:grpSp>
        <p:nvGrpSpPr>
          <p:cNvPr id="23" name="Group 22"/>
          <p:cNvGrpSpPr/>
          <p:nvPr/>
        </p:nvGrpSpPr>
        <p:grpSpPr>
          <a:xfrm>
            <a:off x="4260517" y="5338787"/>
            <a:ext cx="4054476" cy="1178168"/>
            <a:chOff x="534185" y="5222599"/>
            <a:chExt cx="8152615" cy="3749951"/>
          </a:xfrm>
        </p:grpSpPr>
        <p:sp>
          <p:nvSpPr>
            <p:cNvPr id="38" name="Rectangle 8"/>
            <p:cNvSpPr>
              <a:spLocks noChangeArrowheads="1"/>
            </p:cNvSpPr>
            <p:nvPr/>
          </p:nvSpPr>
          <p:spPr bwMode="auto">
            <a:xfrm>
              <a:off x="534185" y="6974997"/>
              <a:ext cx="3300984" cy="1997553"/>
            </a:xfrm>
            <a:prstGeom prst="rect">
              <a:avLst/>
            </a:prstGeom>
            <a:gradFill flip="none" rotWithShape="1">
              <a:gsLst>
                <a:gs pos="0">
                  <a:srgbClr val="093667"/>
                </a:gs>
                <a:gs pos="100000">
                  <a:srgbClr val="011E39"/>
                </a:gs>
              </a:gsLst>
              <a:lin ang="0" scaled="1"/>
              <a:tileRect/>
            </a:gradFill>
            <a:ln>
              <a:solidFill>
                <a:srgbClr val="013253"/>
              </a:solidFill>
            </a:ln>
            <a:effectLst>
              <a:outerShdw blurRad="38100" dist="25400" dir="5400000" algn="ctr" rotWithShape="0">
                <a:srgbClr val="000000">
                  <a:alpha val="27000"/>
                </a:srgbClr>
              </a:outerShdw>
            </a:effectLst>
          </p:spPr>
          <p:txBody>
            <a:bodyPr/>
            <a:lstStyle/>
            <a:p>
              <a:pPr>
                <a:defRPr/>
              </a:pPr>
              <a:endParaRPr lang="en-US" dirty="0">
                <a:latin typeface="Franklin Gothic Book"/>
              </a:endParaRPr>
            </a:p>
          </p:txBody>
        </p:sp>
        <p:sp>
          <p:nvSpPr>
            <p:cNvPr id="39" name="Rectangle 9"/>
            <p:cNvSpPr>
              <a:spLocks noChangeArrowheads="1"/>
            </p:cNvSpPr>
            <p:nvPr/>
          </p:nvSpPr>
          <p:spPr bwMode="auto">
            <a:xfrm>
              <a:off x="2659336" y="6269801"/>
              <a:ext cx="3297476" cy="1997553"/>
            </a:xfrm>
            <a:prstGeom prst="rect">
              <a:avLst/>
            </a:prstGeom>
            <a:gradFill flip="none" rotWithShape="1">
              <a:gsLst>
                <a:gs pos="100000">
                  <a:srgbClr val="043E72"/>
                </a:gs>
                <a:gs pos="0">
                  <a:srgbClr val="0560B3"/>
                </a:gs>
              </a:gsLst>
              <a:lin ang="0" scaled="1"/>
              <a:tileRect/>
            </a:gradFill>
            <a:ln w="9525" cap="flat" cmpd="sng" algn="ctr">
              <a:solidFill>
                <a:srgbClr val="01568F"/>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400" dirty="0">
                <a:latin typeface="Franklin Gothic Book"/>
              </a:endParaRPr>
            </a:p>
          </p:txBody>
        </p:sp>
        <p:sp>
          <p:nvSpPr>
            <p:cNvPr id="40" name="Freeform 10"/>
            <p:cNvSpPr>
              <a:spLocks/>
            </p:cNvSpPr>
            <p:nvPr/>
          </p:nvSpPr>
          <p:spPr bwMode="auto">
            <a:xfrm>
              <a:off x="2659336" y="8267353"/>
              <a:ext cx="1175833" cy="697630"/>
            </a:xfrm>
            <a:custGeom>
              <a:avLst/>
              <a:gdLst>
                <a:gd name="T0" fmla="*/ 780 w 780"/>
                <a:gd name="T1" fmla="*/ 463 h 463"/>
                <a:gd name="T2" fmla="*/ 0 w 780"/>
                <a:gd name="T3" fmla="*/ 0 h 463"/>
                <a:gd name="T4" fmla="*/ 780 w 780"/>
                <a:gd name="T5" fmla="*/ 0 h 463"/>
                <a:gd name="T6" fmla="*/ 780 w 780"/>
                <a:gd name="T7" fmla="*/ 463 h 463"/>
              </a:gdLst>
              <a:ahLst/>
              <a:cxnLst>
                <a:cxn ang="0">
                  <a:pos x="T0" y="T1"/>
                </a:cxn>
                <a:cxn ang="0">
                  <a:pos x="T2" y="T3"/>
                </a:cxn>
                <a:cxn ang="0">
                  <a:pos x="T4" y="T5"/>
                </a:cxn>
                <a:cxn ang="0">
                  <a:pos x="T6" y="T7"/>
                </a:cxn>
              </a:cxnLst>
              <a:rect l="0" t="0" r="r" b="b"/>
              <a:pathLst>
                <a:path w="780" h="463">
                  <a:moveTo>
                    <a:pt x="780" y="463"/>
                  </a:moveTo>
                  <a:lnTo>
                    <a:pt x="0" y="0"/>
                  </a:lnTo>
                  <a:lnTo>
                    <a:pt x="780" y="0"/>
                  </a:lnTo>
                  <a:lnTo>
                    <a:pt x="780" y="463"/>
                  </a:lnTo>
                  <a:close/>
                </a:path>
              </a:pathLst>
            </a:custGeom>
            <a:gradFill flip="none" rotWithShape="1">
              <a:gsLst>
                <a:gs pos="100000">
                  <a:srgbClr val="043E72"/>
                </a:gs>
                <a:gs pos="0">
                  <a:srgbClr val="0560B3"/>
                </a:gs>
              </a:gsLst>
              <a:lin ang="16200000" scaled="1"/>
              <a:tileRect/>
            </a:gradFill>
            <a:ln w="9525" cap="flat" cmpd="sng" algn="ctr">
              <a:solidFill>
                <a:srgbClr val="01568F"/>
              </a:solidFill>
              <a:prstDash val="solid"/>
              <a:round/>
              <a:headEnd type="none" w="med" len="med"/>
              <a:tailEnd type="none" w="med" len="med"/>
            </a:ln>
            <a:effectLst>
              <a:outerShdw blurRad="38100" dist="25400" dir="5400000" algn="t" rotWithShape="0">
                <a:prstClr val="black">
                  <a:alpha val="27000"/>
                </a:prstClr>
              </a:outerShdw>
            </a:effectLst>
          </p:spPr>
          <p:txBody>
            <a:bodyPr lIns="82124" tIns="41061" rIns="82124" bIns="41061" anchor="ctr"/>
            <a:lstStyle/>
            <a:p>
              <a:pPr algn="ctr" defTabSz="814388">
                <a:lnSpc>
                  <a:spcPct val="90000"/>
                </a:lnSpc>
                <a:defRPr/>
              </a:pPr>
              <a:endParaRPr lang="en-US" sz="2400" dirty="0">
                <a:latin typeface="Franklin Gothic Book"/>
              </a:endParaRPr>
            </a:p>
          </p:txBody>
        </p:sp>
        <p:sp>
          <p:nvSpPr>
            <p:cNvPr id="41" name="Freeform 11"/>
            <p:cNvSpPr>
              <a:spLocks/>
            </p:cNvSpPr>
            <p:nvPr/>
          </p:nvSpPr>
          <p:spPr bwMode="auto">
            <a:xfrm>
              <a:off x="4794599" y="7569723"/>
              <a:ext cx="1175832" cy="697631"/>
            </a:xfrm>
            <a:custGeom>
              <a:avLst/>
              <a:gdLst>
                <a:gd name="T0" fmla="*/ 780 w 780"/>
                <a:gd name="T1" fmla="*/ 463 h 463"/>
                <a:gd name="T2" fmla="*/ 0 w 780"/>
                <a:gd name="T3" fmla="*/ 0 h 463"/>
                <a:gd name="T4" fmla="*/ 780 w 780"/>
                <a:gd name="T5" fmla="*/ 0 h 463"/>
                <a:gd name="T6" fmla="*/ 780 w 780"/>
                <a:gd name="T7" fmla="*/ 463 h 463"/>
              </a:gdLst>
              <a:ahLst/>
              <a:cxnLst>
                <a:cxn ang="0">
                  <a:pos x="T0" y="T1"/>
                </a:cxn>
                <a:cxn ang="0">
                  <a:pos x="T2" y="T3"/>
                </a:cxn>
                <a:cxn ang="0">
                  <a:pos x="T4" y="T5"/>
                </a:cxn>
                <a:cxn ang="0">
                  <a:pos x="T6" y="T7"/>
                </a:cxn>
              </a:cxnLst>
              <a:rect l="0" t="0" r="r" b="b"/>
              <a:pathLst>
                <a:path w="780" h="463">
                  <a:moveTo>
                    <a:pt x="780" y="463"/>
                  </a:moveTo>
                  <a:lnTo>
                    <a:pt x="0" y="0"/>
                  </a:lnTo>
                  <a:lnTo>
                    <a:pt x="780" y="0"/>
                  </a:lnTo>
                  <a:lnTo>
                    <a:pt x="780" y="463"/>
                  </a:lnTo>
                  <a:close/>
                </a:path>
              </a:pathLst>
            </a:custGeom>
            <a:gradFill flip="none" rotWithShape="1">
              <a:gsLst>
                <a:gs pos="0">
                  <a:srgbClr val="037AB5"/>
                </a:gs>
                <a:gs pos="100000">
                  <a:srgbClr val="08A7EE">
                    <a:lumMod val="100000"/>
                  </a:srgbClr>
                </a:gs>
              </a:gsLst>
              <a:lin ang="5400000" scaled="1"/>
              <a:tileRect/>
            </a:gradFill>
            <a:ln w="9525" cap="flat" cmpd="sng" algn="ctr">
              <a:solidFill>
                <a:srgbClr val="0195F9"/>
              </a:solidFill>
              <a:prstDash val="solid"/>
              <a:round/>
              <a:headEnd type="none" w="med" len="med"/>
              <a:tailEnd type="none" w="med" len="med"/>
            </a:ln>
            <a:effectLst>
              <a:outerShdw blurRad="38100" dist="25400" dir="5400000" algn="ctr" rotWithShape="0">
                <a:srgbClr val="000000">
                  <a:alpha val="27000"/>
                </a:srgbClr>
              </a:outerShdw>
            </a:effectLst>
          </p:spPr>
          <p:txBody>
            <a:bodyPr lIns="82124" tIns="41061" rIns="82124" bIns="41061" anchor="ctr"/>
            <a:lstStyle/>
            <a:p>
              <a:pPr algn="ctr" defTabSz="814388">
                <a:lnSpc>
                  <a:spcPct val="90000"/>
                </a:lnSpc>
                <a:defRPr/>
              </a:pPr>
              <a:endParaRPr lang="en-US" sz="2400" dirty="0">
                <a:latin typeface="Franklin Gothic Book"/>
              </a:endParaRPr>
            </a:p>
          </p:txBody>
        </p:sp>
        <p:sp>
          <p:nvSpPr>
            <p:cNvPr id="42" name="Freeform 12"/>
            <p:cNvSpPr>
              <a:spLocks/>
            </p:cNvSpPr>
            <p:nvPr/>
          </p:nvSpPr>
          <p:spPr bwMode="auto">
            <a:xfrm>
              <a:off x="4794642" y="5222599"/>
              <a:ext cx="3892158" cy="2696407"/>
            </a:xfrm>
            <a:custGeom>
              <a:avLst/>
              <a:gdLst>
                <a:gd name="T0" fmla="*/ 4082702 w 2582"/>
                <a:gd name="T1" fmla="*/ 1412027 h 1789"/>
                <a:gd name="T2" fmla="*/ 2857259 w 2582"/>
                <a:gd name="T3" fmla="*/ 2828797 h 1789"/>
                <a:gd name="T4" fmla="*/ 2857259 w 2582"/>
                <a:gd name="T5" fmla="*/ 2461955 h 1789"/>
                <a:gd name="T6" fmla="*/ 0 w 2582"/>
                <a:gd name="T7" fmla="*/ 2461955 h 1789"/>
                <a:gd name="T8" fmla="*/ 0 w 2582"/>
                <a:gd name="T9" fmla="*/ 366842 h 1789"/>
                <a:gd name="T10" fmla="*/ 2857259 w 2582"/>
                <a:gd name="T11" fmla="*/ 366842 h 1789"/>
                <a:gd name="T12" fmla="*/ 2857259 w 2582"/>
                <a:gd name="T13" fmla="*/ 0 h 1789"/>
                <a:gd name="T14" fmla="*/ 4082702 w 2582"/>
                <a:gd name="T15" fmla="*/ 1412027 h 178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582" h="1789">
                  <a:moveTo>
                    <a:pt x="2582" y="893"/>
                  </a:moveTo>
                  <a:lnTo>
                    <a:pt x="1807" y="1789"/>
                  </a:lnTo>
                  <a:lnTo>
                    <a:pt x="1807" y="1557"/>
                  </a:lnTo>
                  <a:lnTo>
                    <a:pt x="0" y="1557"/>
                  </a:lnTo>
                  <a:lnTo>
                    <a:pt x="0" y="232"/>
                  </a:lnTo>
                  <a:lnTo>
                    <a:pt x="1807" y="232"/>
                  </a:lnTo>
                  <a:lnTo>
                    <a:pt x="1807" y="0"/>
                  </a:lnTo>
                  <a:lnTo>
                    <a:pt x="2582" y="893"/>
                  </a:lnTo>
                  <a:close/>
                </a:path>
              </a:pathLst>
            </a:custGeom>
            <a:gradFill rotWithShape="0">
              <a:gsLst>
                <a:gs pos="0">
                  <a:srgbClr val="08A7EE"/>
                </a:gs>
                <a:gs pos="99001">
                  <a:srgbClr val="17B2F7"/>
                </a:gs>
                <a:gs pos="100000">
                  <a:srgbClr val="17B2F7"/>
                </a:gs>
              </a:gsLst>
              <a:lin ang="5400000" scaled="1"/>
            </a:gradFill>
            <a:ln w="9525" cap="flat" cmpd="sng" algn="ctr">
              <a:solidFill>
                <a:srgbClr val="0195F9"/>
              </a:solidFill>
              <a:prstDash val="solid"/>
              <a:round/>
              <a:headEnd type="none" w="med" len="med"/>
              <a:tailEnd type="none" w="med" len="med"/>
            </a:ln>
          </p:spPr>
          <p:txBody>
            <a:bodyPr lIns="82124" tIns="41061" rIns="82124" bIns="41061" anchor="ctr"/>
            <a:lstStyle/>
            <a:p>
              <a:endParaRPr lang="en-US" dirty="0">
                <a:latin typeface="Franklin Gothic Book"/>
              </a:endParaRPr>
            </a:p>
          </p:txBody>
        </p:sp>
      </p:grpSp>
    </p:spTree>
    <p:extLst>
      <p:ext uri="{BB962C8B-B14F-4D97-AF65-F5344CB8AC3E}">
        <p14:creationId xmlns:p14="http://schemas.microsoft.com/office/powerpoint/2010/main" val="3916107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wipe(left)">
                                      <p:cBhvr>
                                        <p:cTn id="7" dur="500"/>
                                        <p:tgtEl>
                                          <p:spTgt spid="28"/>
                                        </p:tgtEl>
                                      </p:cBhvr>
                                    </p:animEffect>
                                  </p:childTnLst>
                                </p:cTn>
                              </p:par>
                              <p:par>
                                <p:cTn id="8" presetID="22" presetClass="entr" presetSubtype="8"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wipe(left)">
                                      <p:cBhvr>
                                        <p:cTn id="10"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nn Diagram &amp; Circle Segments</a:t>
            </a:r>
          </a:p>
        </p:txBody>
      </p:sp>
      <p:grpSp>
        <p:nvGrpSpPr>
          <p:cNvPr id="6" name="Group 5"/>
          <p:cNvGrpSpPr/>
          <p:nvPr/>
        </p:nvGrpSpPr>
        <p:grpSpPr>
          <a:xfrm>
            <a:off x="3985707" y="1039381"/>
            <a:ext cx="4220589" cy="2738950"/>
            <a:chOff x="1980763" y="1066800"/>
            <a:chExt cx="8081618" cy="5244562"/>
          </a:xfrm>
        </p:grpSpPr>
        <p:sp>
          <p:nvSpPr>
            <p:cNvPr id="3" name="Oval 4"/>
            <p:cNvSpPr/>
            <p:nvPr/>
          </p:nvSpPr>
          <p:spPr>
            <a:xfrm>
              <a:off x="4898020" y="1525965"/>
              <a:ext cx="2247103" cy="4326232"/>
            </a:xfrm>
            <a:custGeom>
              <a:avLst/>
              <a:gdLst/>
              <a:ahLst/>
              <a:cxnLst/>
              <a:rect l="l" t="t" r="r" b="b"/>
              <a:pathLst>
                <a:path w="2384740" h="4591218">
                  <a:moveTo>
                    <a:pt x="1192370" y="0"/>
                  </a:moveTo>
                  <a:lnTo>
                    <a:pt x="1387511" y="148190"/>
                  </a:lnTo>
                  <a:cubicBezTo>
                    <a:pt x="1996544" y="658614"/>
                    <a:pt x="2384740" y="1431074"/>
                    <a:pt x="2384740" y="2295609"/>
                  </a:cubicBezTo>
                  <a:cubicBezTo>
                    <a:pt x="2384740" y="3160145"/>
                    <a:pt x="1996544" y="3932604"/>
                    <a:pt x="1387511" y="4443029"/>
                  </a:cubicBezTo>
                  <a:lnTo>
                    <a:pt x="1192370" y="4591218"/>
                  </a:lnTo>
                  <a:lnTo>
                    <a:pt x="997230" y="4443029"/>
                  </a:lnTo>
                  <a:cubicBezTo>
                    <a:pt x="388197" y="3932604"/>
                    <a:pt x="0" y="3160145"/>
                    <a:pt x="0" y="2295609"/>
                  </a:cubicBezTo>
                  <a:cubicBezTo>
                    <a:pt x="0" y="1431074"/>
                    <a:pt x="388197" y="658614"/>
                    <a:pt x="997230" y="148190"/>
                  </a:cubicBez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Oval 11"/>
            <p:cNvSpPr/>
            <p:nvPr/>
          </p:nvSpPr>
          <p:spPr>
            <a:xfrm>
              <a:off x="1980763" y="1066800"/>
              <a:ext cx="4040810" cy="5244562"/>
            </a:xfrm>
            <a:custGeom>
              <a:avLst/>
              <a:gdLst/>
              <a:ahLst/>
              <a:cxnLst/>
              <a:rect l="l" t="t" r="r" b="b"/>
              <a:pathLst>
                <a:path w="4288312" h="5565796">
                  <a:moveTo>
                    <a:pt x="2740341" y="0"/>
                  </a:moveTo>
                  <a:cubicBezTo>
                    <a:pt x="3307885" y="0"/>
                    <a:pt x="3835131" y="175211"/>
                    <a:pt x="4272492" y="475275"/>
                  </a:cubicBezTo>
                  <a:lnTo>
                    <a:pt x="4288312" y="487289"/>
                  </a:lnTo>
                  <a:lnTo>
                    <a:pt x="4093172" y="635479"/>
                  </a:lnTo>
                  <a:cubicBezTo>
                    <a:pt x="3484139" y="1145903"/>
                    <a:pt x="3095942" y="1918363"/>
                    <a:pt x="3095942" y="2782898"/>
                  </a:cubicBezTo>
                  <a:cubicBezTo>
                    <a:pt x="3095942" y="3647434"/>
                    <a:pt x="3484139" y="4419893"/>
                    <a:pt x="4093172" y="4930318"/>
                  </a:cubicBezTo>
                  <a:lnTo>
                    <a:pt x="4288312" y="5078507"/>
                  </a:lnTo>
                  <a:lnTo>
                    <a:pt x="4272492" y="5090521"/>
                  </a:lnTo>
                  <a:cubicBezTo>
                    <a:pt x="3835131" y="5390585"/>
                    <a:pt x="3307885" y="5565796"/>
                    <a:pt x="2740341" y="5565796"/>
                  </a:cubicBezTo>
                  <a:cubicBezTo>
                    <a:pt x="1226892" y="5565796"/>
                    <a:pt x="0" y="4319850"/>
                    <a:pt x="0" y="2782898"/>
                  </a:cubicBezTo>
                  <a:cubicBezTo>
                    <a:pt x="0" y="1245946"/>
                    <a:pt x="1226892" y="0"/>
                    <a:pt x="2740341" y="0"/>
                  </a:cubicBezTo>
                  <a:close/>
                </a:path>
              </a:pathLst>
            </a:cu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Oval 14"/>
            <p:cNvSpPr/>
            <p:nvPr/>
          </p:nvSpPr>
          <p:spPr>
            <a:xfrm>
              <a:off x="6021572" y="1066800"/>
              <a:ext cx="4040809" cy="5244562"/>
            </a:xfrm>
            <a:custGeom>
              <a:avLst/>
              <a:gdLst/>
              <a:ahLst/>
              <a:cxnLst/>
              <a:rect l="l" t="t" r="r" b="b"/>
              <a:pathLst>
                <a:path w="4288312" h="5565796">
                  <a:moveTo>
                    <a:pt x="1547971" y="0"/>
                  </a:moveTo>
                  <a:cubicBezTo>
                    <a:pt x="3061420" y="0"/>
                    <a:pt x="4288312" y="1245946"/>
                    <a:pt x="4288312" y="2782898"/>
                  </a:cubicBezTo>
                  <a:cubicBezTo>
                    <a:pt x="4288312" y="4319850"/>
                    <a:pt x="3061420" y="5565796"/>
                    <a:pt x="1547971" y="5565796"/>
                  </a:cubicBezTo>
                  <a:cubicBezTo>
                    <a:pt x="980428" y="5565796"/>
                    <a:pt x="453182" y="5390585"/>
                    <a:pt x="15820" y="5090521"/>
                  </a:cubicBezTo>
                  <a:lnTo>
                    <a:pt x="0" y="5078507"/>
                  </a:lnTo>
                  <a:lnTo>
                    <a:pt x="195141" y="4930318"/>
                  </a:lnTo>
                  <a:cubicBezTo>
                    <a:pt x="804174" y="4419893"/>
                    <a:pt x="1192370" y="3647434"/>
                    <a:pt x="1192370" y="2782898"/>
                  </a:cubicBezTo>
                  <a:cubicBezTo>
                    <a:pt x="1192370" y="1918363"/>
                    <a:pt x="804174" y="1145903"/>
                    <a:pt x="195141" y="635479"/>
                  </a:cubicBezTo>
                  <a:lnTo>
                    <a:pt x="0" y="487289"/>
                  </a:lnTo>
                  <a:lnTo>
                    <a:pt x="15820" y="475275"/>
                  </a:lnTo>
                  <a:cubicBezTo>
                    <a:pt x="453182" y="175211"/>
                    <a:pt x="980428" y="0"/>
                    <a:pt x="1547971" y="0"/>
                  </a:cubicBezTo>
                  <a:close/>
                </a:path>
              </a:pathLst>
            </a:cu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7" name="AutoShape 1"/>
          <p:cNvSpPr>
            <a:spLocks/>
          </p:cNvSpPr>
          <p:nvPr/>
        </p:nvSpPr>
        <p:spPr bwMode="auto">
          <a:xfrm>
            <a:off x="6682770" y="4194175"/>
            <a:ext cx="2235200" cy="2235200"/>
          </a:xfrm>
          <a:custGeom>
            <a:avLst/>
            <a:gdLst/>
            <a:ahLst/>
            <a:cxnLst/>
            <a:rect l="0" t="0" r="r" b="b"/>
            <a:pathLst>
              <a:path w="21600" h="21600">
                <a:moveTo>
                  <a:pt x="10800" y="0"/>
                </a:moveTo>
                <a:cubicBezTo>
                  <a:pt x="4835" y="0"/>
                  <a:pt x="0" y="4835"/>
                  <a:pt x="0" y="10800"/>
                </a:cubicBezTo>
                <a:lnTo>
                  <a:pt x="10800" y="10800"/>
                </a:lnTo>
                <a:lnTo>
                  <a:pt x="10800" y="21600"/>
                </a:lnTo>
                <a:cubicBezTo>
                  <a:pt x="16765" y="21600"/>
                  <a:pt x="21600" y="16765"/>
                  <a:pt x="21600" y="10800"/>
                </a:cubicBezTo>
                <a:cubicBezTo>
                  <a:pt x="21600" y="4835"/>
                  <a:pt x="16765" y="0"/>
                  <a:pt x="10800" y="0"/>
                </a:cubicBezTo>
                <a:close/>
                <a:moveTo>
                  <a:pt x="10800" y="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8" name="AutoShape 2"/>
          <p:cNvSpPr>
            <a:spLocks/>
          </p:cNvSpPr>
          <p:nvPr/>
        </p:nvSpPr>
        <p:spPr bwMode="auto">
          <a:xfrm>
            <a:off x="5203825" y="4194175"/>
            <a:ext cx="1117600" cy="2235200"/>
          </a:xfrm>
          <a:custGeom>
            <a:avLst/>
            <a:gdLst/>
            <a:ahLst/>
            <a:cxnLst/>
            <a:rect l="0" t="0" r="r" b="b"/>
            <a:pathLst>
              <a:path w="21600" h="21600">
                <a:moveTo>
                  <a:pt x="0" y="0"/>
                </a:moveTo>
                <a:lnTo>
                  <a:pt x="0" y="21600"/>
                </a:lnTo>
                <a:cubicBezTo>
                  <a:pt x="11929" y="21600"/>
                  <a:pt x="21600" y="16765"/>
                  <a:pt x="21600" y="10800"/>
                </a:cubicBezTo>
                <a:cubicBezTo>
                  <a:pt x="21600" y="4835"/>
                  <a:pt x="11929" y="0"/>
                  <a:pt x="0" y="0"/>
                </a:cubicBezTo>
                <a:close/>
                <a:moveTo>
                  <a:pt x="0" y="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9" name="AutoShape 3"/>
          <p:cNvSpPr>
            <a:spLocks/>
          </p:cNvSpPr>
          <p:nvPr/>
        </p:nvSpPr>
        <p:spPr bwMode="auto">
          <a:xfrm>
            <a:off x="3565525" y="4194175"/>
            <a:ext cx="1117600" cy="1117600"/>
          </a:xfrm>
          <a:custGeom>
            <a:avLst/>
            <a:gdLst/>
            <a:ahLst/>
            <a:cxnLst/>
            <a:rect l="0" t="0" r="r" b="b"/>
            <a:pathLst>
              <a:path w="21600" h="21600">
                <a:moveTo>
                  <a:pt x="0" y="21600"/>
                </a:moveTo>
                <a:cubicBezTo>
                  <a:pt x="0" y="9671"/>
                  <a:pt x="9671" y="0"/>
                  <a:pt x="21600" y="0"/>
                </a:cubicBezTo>
                <a:lnTo>
                  <a:pt x="21600" y="21600"/>
                </a:lnTo>
                <a:cubicBezTo>
                  <a:pt x="21600" y="21600"/>
                  <a:pt x="0" y="21600"/>
                  <a:pt x="0" y="21600"/>
                </a:cubicBezTo>
                <a:close/>
                <a:moveTo>
                  <a:pt x="0" y="2160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grpSp>
        <p:nvGrpSpPr>
          <p:cNvPr id="10" name="Group 9">
            <a:extLst>
              <a:ext uri="{FF2B5EF4-FFF2-40B4-BE49-F238E27FC236}">
                <a16:creationId xmlns:a16="http://schemas.microsoft.com/office/drawing/2014/main" id="{91A1EF06-6A4E-DE46-AC4A-E5688CB33CA8}"/>
              </a:ext>
            </a:extLst>
          </p:cNvPr>
          <p:cNvGrpSpPr/>
          <p:nvPr/>
        </p:nvGrpSpPr>
        <p:grpSpPr>
          <a:xfrm>
            <a:off x="9559727" y="1687356"/>
            <a:ext cx="1513730" cy="1513730"/>
            <a:chOff x="5129957" y="2914650"/>
            <a:chExt cx="2736850" cy="2736850"/>
          </a:xfrm>
        </p:grpSpPr>
        <p:sp>
          <p:nvSpPr>
            <p:cNvPr id="11" name="AutoShape 1">
              <a:extLst>
                <a:ext uri="{FF2B5EF4-FFF2-40B4-BE49-F238E27FC236}">
                  <a16:creationId xmlns:a16="http://schemas.microsoft.com/office/drawing/2014/main" id="{26CF3EF7-DD3E-034D-9C13-9C0820D4A2D8}"/>
                </a:ext>
              </a:extLst>
            </p:cNvPr>
            <p:cNvSpPr>
              <a:spLocks/>
            </p:cNvSpPr>
            <p:nvPr/>
          </p:nvSpPr>
          <p:spPr bwMode="auto">
            <a:xfrm>
              <a:off x="6106270" y="2965450"/>
              <a:ext cx="1760537" cy="2686050"/>
            </a:xfrm>
            <a:custGeom>
              <a:avLst/>
              <a:gdLst/>
              <a:ahLst/>
              <a:cxnLst/>
              <a:rect l="0" t="0" r="r" b="b"/>
              <a:pathLst>
                <a:path w="19067" h="20401">
                  <a:moveTo>
                    <a:pt x="8406" y="0"/>
                  </a:moveTo>
                  <a:cubicBezTo>
                    <a:pt x="8406" y="0"/>
                    <a:pt x="-822" y="3521"/>
                    <a:pt x="4203" y="9987"/>
                  </a:cubicBezTo>
                  <a:cubicBezTo>
                    <a:pt x="11353" y="19187"/>
                    <a:pt x="0" y="19974"/>
                    <a:pt x="0" y="19974"/>
                  </a:cubicBezTo>
                  <a:cubicBezTo>
                    <a:pt x="7872" y="21600"/>
                    <a:pt x="16135" y="18447"/>
                    <a:pt x="18457" y="12932"/>
                  </a:cubicBezTo>
                  <a:cubicBezTo>
                    <a:pt x="20778" y="7416"/>
                    <a:pt x="16278" y="1626"/>
                    <a:pt x="8406" y="0"/>
                  </a:cubicBezTo>
                  <a:close/>
                  <a:moveTo>
                    <a:pt x="8406" y="0"/>
                  </a:moveTo>
                </a:path>
              </a:pathLst>
            </a:custGeom>
            <a:solidFill>
              <a:schemeClr val="accent1"/>
            </a:solid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12" name="AutoShape 2">
              <a:extLst>
                <a:ext uri="{FF2B5EF4-FFF2-40B4-BE49-F238E27FC236}">
                  <a16:creationId xmlns:a16="http://schemas.microsoft.com/office/drawing/2014/main" id="{9EE7B9BB-D8BA-0A4F-AA1C-32FC32E7AC5E}"/>
                </a:ext>
              </a:extLst>
            </p:cNvPr>
            <p:cNvSpPr>
              <a:spLocks/>
            </p:cNvSpPr>
            <p:nvPr/>
          </p:nvSpPr>
          <p:spPr bwMode="auto">
            <a:xfrm>
              <a:off x="5129957" y="2914650"/>
              <a:ext cx="1758950" cy="2686050"/>
            </a:xfrm>
            <a:custGeom>
              <a:avLst/>
              <a:gdLst/>
              <a:ahLst/>
              <a:cxnLst/>
              <a:rect l="0" t="0" r="r" b="b"/>
              <a:pathLst>
                <a:path w="17360" h="20401">
                  <a:moveTo>
                    <a:pt x="13533" y="10414"/>
                  </a:moveTo>
                  <a:cubicBezTo>
                    <a:pt x="8958" y="3948"/>
                    <a:pt x="17360" y="427"/>
                    <a:pt x="17360" y="427"/>
                  </a:cubicBezTo>
                  <a:cubicBezTo>
                    <a:pt x="10193" y="-1199"/>
                    <a:pt x="2670" y="1954"/>
                    <a:pt x="556" y="7469"/>
                  </a:cubicBezTo>
                  <a:cubicBezTo>
                    <a:pt x="-1557" y="12985"/>
                    <a:pt x="2540" y="18775"/>
                    <a:pt x="9707" y="20401"/>
                  </a:cubicBezTo>
                  <a:cubicBezTo>
                    <a:pt x="9707" y="20401"/>
                    <a:pt x="20043" y="19614"/>
                    <a:pt x="13533" y="10414"/>
                  </a:cubicBezTo>
                  <a:close/>
                  <a:moveTo>
                    <a:pt x="13533" y="10414"/>
                  </a:moveTo>
                </a:path>
              </a:pathLst>
            </a:custGeom>
            <a:solidFill>
              <a:schemeClr val="bg1">
                <a:lumMod val="75000"/>
              </a:schemeClr>
            </a:solidFill>
            <a:ln>
              <a:noFill/>
            </a:ln>
          </p:spPr>
          <p:txBody>
            <a:bodyPr lIns="0" tIns="0" rIns="0" bIns="0"/>
            <a:lstStyle/>
            <a:p>
              <a:endParaRPr lang="en-US"/>
            </a:p>
          </p:txBody>
        </p:sp>
      </p:grpSp>
    </p:spTree>
    <p:extLst>
      <p:ext uri="{BB962C8B-B14F-4D97-AF65-F5344CB8AC3E}">
        <p14:creationId xmlns:p14="http://schemas.microsoft.com/office/powerpoint/2010/main" val="4743358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zzles</a:t>
            </a:r>
          </a:p>
        </p:txBody>
      </p:sp>
      <p:sp>
        <p:nvSpPr>
          <p:cNvPr id="3" name="AutoShape 1"/>
          <p:cNvSpPr>
            <a:spLocks/>
          </p:cNvSpPr>
          <p:nvPr/>
        </p:nvSpPr>
        <p:spPr bwMode="auto">
          <a:xfrm>
            <a:off x="5317933" y="3572493"/>
            <a:ext cx="725319" cy="565159"/>
          </a:xfrm>
          <a:custGeom>
            <a:avLst/>
            <a:gdLst/>
            <a:ahLst/>
            <a:cxnLst/>
            <a:rect l="0" t="0" r="r" b="b"/>
            <a:pathLst>
              <a:path w="21311" h="21326">
                <a:moveTo>
                  <a:pt x="21203" y="10151"/>
                </a:moveTo>
                <a:cubicBezTo>
                  <a:pt x="20853" y="12091"/>
                  <a:pt x="19795" y="12495"/>
                  <a:pt x="18936" y="12573"/>
                </a:cubicBezTo>
                <a:cubicBezTo>
                  <a:pt x="18083" y="12655"/>
                  <a:pt x="17163" y="12136"/>
                  <a:pt x="16709" y="11962"/>
                </a:cubicBezTo>
                <a:cubicBezTo>
                  <a:pt x="16257" y="11791"/>
                  <a:pt x="15643" y="11685"/>
                  <a:pt x="15419" y="12554"/>
                </a:cubicBezTo>
                <a:cubicBezTo>
                  <a:pt x="15190" y="13422"/>
                  <a:pt x="15869" y="16028"/>
                  <a:pt x="16096" y="17123"/>
                </a:cubicBezTo>
                <a:cubicBezTo>
                  <a:pt x="16234" y="17772"/>
                  <a:pt x="16420" y="18818"/>
                  <a:pt x="16617" y="19798"/>
                </a:cubicBezTo>
                <a:cubicBezTo>
                  <a:pt x="15060" y="20253"/>
                  <a:pt x="13246" y="20787"/>
                  <a:pt x="12737" y="20947"/>
                </a:cubicBezTo>
                <a:cubicBezTo>
                  <a:pt x="11878" y="21213"/>
                  <a:pt x="11070" y="21599"/>
                  <a:pt x="10410" y="21038"/>
                </a:cubicBezTo>
                <a:cubicBezTo>
                  <a:pt x="9746" y="20486"/>
                  <a:pt x="10002" y="19515"/>
                  <a:pt x="10167" y="18905"/>
                </a:cubicBezTo>
                <a:cubicBezTo>
                  <a:pt x="10328" y="18295"/>
                  <a:pt x="11053" y="17522"/>
                  <a:pt x="10944" y="15845"/>
                </a:cubicBezTo>
                <a:cubicBezTo>
                  <a:pt x="10827" y="14174"/>
                  <a:pt x="8728" y="13596"/>
                  <a:pt x="7307" y="13894"/>
                </a:cubicBezTo>
                <a:cubicBezTo>
                  <a:pt x="5885" y="14208"/>
                  <a:pt x="4981" y="15513"/>
                  <a:pt x="4965" y="16805"/>
                </a:cubicBezTo>
                <a:cubicBezTo>
                  <a:pt x="4943" y="18095"/>
                  <a:pt x="5544" y="18534"/>
                  <a:pt x="5671" y="19598"/>
                </a:cubicBezTo>
                <a:cubicBezTo>
                  <a:pt x="5806" y="20660"/>
                  <a:pt x="5368" y="21021"/>
                  <a:pt x="4605" y="21193"/>
                </a:cubicBezTo>
                <a:cubicBezTo>
                  <a:pt x="3852" y="21369"/>
                  <a:pt x="2308" y="20906"/>
                  <a:pt x="1555" y="20559"/>
                </a:cubicBezTo>
                <a:cubicBezTo>
                  <a:pt x="1188" y="20391"/>
                  <a:pt x="574" y="20100"/>
                  <a:pt x="2" y="19798"/>
                </a:cubicBezTo>
                <a:cubicBezTo>
                  <a:pt x="-3" y="17788"/>
                  <a:pt x="2" y="0"/>
                  <a:pt x="2" y="0"/>
                </a:cubicBezTo>
                <a:cubicBezTo>
                  <a:pt x="2" y="0"/>
                  <a:pt x="15269" y="-1"/>
                  <a:pt x="16617" y="0"/>
                </a:cubicBezTo>
                <a:cubicBezTo>
                  <a:pt x="16213" y="1353"/>
                  <a:pt x="15563" y="3538"/>
                  <a:pt x="15384" y="4912"/>
                </a:cubicBezTo>
                <a:cubicBezTo>
                  <a:pt x="15144" y="6758"/>
                  <a:pt x="15609" y="7046"/>
                  <a:pt x="16471" y="6882"/>
                </a:cubicBezTo>
                <a:cubicBezTo>
                  <a:pt x="17424" y="6713"/>
                  <a:pt x="17481" y="5582"/>
                  <a:pt x="19065" y="5673"/>
                </a:cubicBezTo>
                <a:cubicBezTo>
                  <a:pt x="20913" y="5789"/>
                  <a:pt x="21597" y="7973"/>
                  <a:pt x="21203" y="10151"/>
                </a:cubicBezTo>
                <a:close/>
                <a:moveTo>
                  <a:pt x="21203" y="1015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 name="AutoShape 2"/>
          <p:cNvSpPr>
            <a:spLocks/>
          </p:cNvSpPr>
          <p:nvPr/>
        </p:nvSpPr>
        <p:spPr bwMode="auto">
          <a:xfrm>
            <a:off x="5715822" y="4063490"/>
            <a:ext cx="886961" cy="602240"/>
          </a:xfrm>
          <a:custGeom>
            <a:avLst/>
            <a:gdLst/>
            <a:ahLst/>
            <a:cxnLst/>
            <a:rect l="0" t="0" r="r" b="b"/>
            <a:pathLst>
              <a:path w="21237" h="21070">
                <a:moveTo>
                  <a:pt x="21150" y="10706"/>
                </a:moveTo>
                <a:cubicBezTo>
                  <a:pt x="20865" y="12495"/>
                  <a:pt x="20003" y="12876"/>
                  <a:pt x="19303" y="12952"/>
                </a:cubicBezTo>
                <a:cubicBezTo>
                  <a:pt x="18607" y="13019"/>
                  <a:pt x="17856" y="12534"/>
                  <a:pt x="17488" y="12374"/>
                </a:cubicBezTo>
                <a:cubicBezTo>
                  <a:pt x="17117" y="12212"/>
                  <a:pt x="16619" y="12128"/>
                  <a:pt x="16433" y="12931"/>
                </a:cubicBezTo>
                <a:cubicBezTo>
                  <a:pt x="16246" y="13732"/>
                  <a:pt x="16801" y="16143"/>
                  <a:pt x="16986" y="17163"/>
                </a:cubicBezTo>
                <a:cubicBezTo>
                  <a:pt x="17098" y="17777"/>
                  <a:pt x="17253" y="18741"/>
                  <a:pt x="17413" y="19643"/>
                </a:cubicBezTo>
                <a:cubicBezTo>
                  <a:pt x="16142" y="20066"/>
                  <a:pt x="14660" y="20563"/>
                  <a:pt x="14246" y="20712"/>
                </a:cubicBezTo>
                <a:cubicBezTo>
                  <a:pt x="13546" y="20968"/>
                  <a:pt x="12886" y="21320"/>
                  <a:pt x="12348" y="20807"/>
                </a:cubicBezTo>
                <a:cubicBezTo>
                  <a:pt x="11807" y="20282"/>
                  <a:pt x="12017" y="19392"/>
                  <a:pt x="12150" y="18827"/>
                </a:cubicBezTo>
                <a:cubicBezTo>
                  <a:pt x="12282" y="18247"/>
                  <a:pt x="12874" y="17539"/>
                  <a:pt x="12782" y="15980"/>
                </a:cubicBezTo>
                <a:cubicBezTo>
                  <a:pt x="12688" y="14423"/>
                  <a:pt x="10976" y="13890"/>
                  <a:pt x="9817" y="14179"/>
                </a:cubicBezTo>
                <a:cubicBezTo>
                  <a:pt x="8659" y="14470"/>
                  <a:pt x="7920" y="15678"/>
                  <a:pt x="7907" y="16877"/>
                </a:cubicBezTo>
                <a:cubicBezTo>
                  <a:pt x="7890" y="18077"/>
                  <a:pt x="8382" y="18484"/>
                  <a:pt x="8484" y="19469"/>
                </a:cubicBezTo>
                <a:cubicBezTo>
                  <a:pt x="8591" y="20443"/>
                  <a:pt x="8235" y="20784"/>
                  <a:pt x="7614" y="20946"/>
                </a:cubicBezTo>
                <a:cubicBezTo>
                  <a:pt x="6997" y="21107"/>
                  <a:pt x="5740" y="20682"/>
                  <a:pt x="5129" y="20361"/>
                </a:cubicBezTo>
                <a:cubicBezTo>
                  <a:pt x="4826" y="20205"/>
                  <a:pt x="4326" y="19936"/>
                  <a:pt x="3859" y="19643"/>
                </a:cubicBezTo>
                <a:cubicBezTo>
                  <a:pt x="4273" y="18218"/>
                  <a:pt x="4597" y="16898"/>
                  <a:pt x="4748" y="16166"/>
                </a:cubicBezTo>
                <a:cubicBezTo>
                  <a:pt x="4915" y="15331"/>
                  <a:pt x="5067" y="14581"/>
                  <a:pt x="4865" y="13806"/>
                </a:cubicBezTo>
                <a:cubicBezTo>
                  <a:pt x="4692" y="13151"/>
                  <a:pt x="4126" y="12965"/>
                  <a:pt x="3491" y="13272"/>
                </a:cubicBezTo>
                <a:cubicBezTo>
                  <a:pt x="2887" y="13558"/>
                  <a:pt x="2303" y="14261"/>
                  <a:pt x="1174" y="13837"/>
                </a:cubicBezTo>
                <a:cubicBezTo>
                  <a:pt x="134" y="13450"/>
                  <a:pt x="-129" y="11407"/>
                  <a:pt x="54" y="9683"/>
                </a:cubicBezTo>
                <a:cubicBezTo>
                  <a:pt x="237" y="7949"/>
                  <a:pt x="943" y="7222"/>
                  <a:pt x="1990" y="7395"/>
                </a:cubicBezTo>
                <a:cubicBezTo>
                  <a:pt x="2568" y="7481"/>
                  <a:pt x="3074" y="8233"/>
                  <a:pt x="3875" y="7873"/>
                </a:cubicBezTo>
                <a:cubicBezTo>
                  <a:pt x="4677" y="7520"/>
                  <a:pt x="4553" y="5648"/>
                  <a:pt x="4400" y="4627"/>
                </a:cubicBezTo>
                <a:cubicBezTo>
                  <a:pt x="4210" y="3305"/>
                  <a:pt x="4025" y="2292"/>
                  <a:pt x="3859" y="1287"/>
                </a:cubicBezTo>
                <a:cubicBezTo>
                  <a:pt x="4769" y="917"/>
                  <a:pt x="5756" y="584"/>
                  <a:pt x="6523" y="323"/>
                </a:cubicBezTo>
                <a:cubicBezTo>
                  <a:pt x="8342" y="-280"/>
                  <a:pt x="8959" y="55"/>
                  <a:pt x="9117" y="556"/>
                </a:cubicBezTo>
                <a:cubicBezTo>
                  <a:pt x="9274" y="1060"/>
                  <a:pt x="9065" y="1669"/>
                  <a:pt x="8828" y="2315"/>
                </a:cubicBezTo>
                <a:cubicBezTo>
                  <a:pt x="8591" y="2956"/>
                  <a:pt x="8208" y="3445"/>
                  <a:pt x="8501" y="5020"/>
                </a:cubicBezTo>
                <a:cubicBezTo>
                  <a:pt x="8789" y="6594"/>
                  <a:pt x="10569" y="7213"/>
                  <a:pt x="11886" y="6402"/>
                </a:cubicBezTo>
                <a:cubicBezTo>
                  <a:pt x="13202" y="5577"/>
                  <a:pt x="13191" y="3894"/>
                  <a:pt x="12980" y="3147"/>
                </a:cubicBezTo>
                <a:cubicBezTo>
                  <a:pt x="12767" y="2396"/>
                  <a:pt x="12387" y="1184"/>
                  <a:pt x="12649" y="470"/>
                </a:cubicBezTo>
                <a:cubicBezTo>
                  <a:pt x="12914" y="-248"/>
                  <a:pt x="14832" y="131"/>
                  <a:pt x="15859" y="538"/>
                </a:cubicBezTo>
                <a:cubicBezTo>
                  <a:pt x="16126" y="646"/>
                  <a:pt x="16721" y="920"/>
                  <a:pt x="17413" y="1287"/>
                </a:cubicBezTo>
                <a:cubicBezTo>
                  <a:pt x="17081" y="2529"/>
                  <a:pt x="16551" y="4567"/>
                  <a:pt x="16404" y="5843"/>
                </a:cubicBezTo>
                <a:cubicBezTo>
                  <a:pt x="16211" y="7559"/>
                  <a:pt x="16589" y="7814"/>
                  <a:pt x="17294" y="7673"/>
                </a:cubicBezTo>
                <a:cubicBezTo>
                  <a:pt x="18069" y="7514"/>
                  <a:pt x="18116" y="6457"/>
                  <a:pt x="19407" y="6548"/>
                </a:cubicBezTo>
                <a:cubicBezTo>
                  <a:pt x="20915" y="6657"/>
                  <a:pt x="21471" y="8674"/>
                  <a:pt x="21150" y="10706"/>
                </a:cubicBezTo>
                <a:close/>
                <a:moveTo>
                  <a:pt x="21150" y="10706"/>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5" name="AutoShape 3"/>
          <p:cNvSpPr>
            <a:spLocks/>
          </p:cNvSpPr>
          <p:nvPr/>
        </p:nvSpPr>
        <p:spPr bwMode="auto">
          <a:xfrm>
            <a:off x="5317933" y="3940742"/>
            <a:ext cx="612031" cy="840067"/>
          </a:xfrm>
          <a:custGeom>
            <a:avLst/>
            <a:gdLst/>
            <a:ahLst/>
            <a:cxnLst/>
            <a:rect l="0" t="0" r="r" b="b"/>
            <a:pathLst>
              <a:path w="21445" h="21121">
                <a:moveTo>
                  <a:pt x="21133" y="14682"/>
                </a:moveTo>
                <a:cubicBezTo>
                  <a:pt x="20912" y="15209"/>
                  <a:pt x="20438" y="16158"/>
                  <a:pt x="19832" y="17182"/>
                </a:cubicBezTo>
                <a:cubicBezTo>
                  <a:pt x="18825" y="16927"/>
                  <a:pt x="17952" y="16719"/>
                  <a:pt x="17560" y="16643"/>
                </a:cubicBezTo>
                <a:cubicBezTo>
                  <a:pt x="16058" y="16360"/>
                  <a:pt x="13249" y="16087"/>
                  <a:pt x="12864" y="16598"/>
                </a:cubicBezTo>
                <a:cubicBezTo>
                  <a:pt x="12481" y="17110"/>
                  <a:pt x="13037" y="17988"/>
                  <a:pt x="13351" y="18528"/>
                </a:cubicBezTo>
                <a:cubicBezTo>
                  <a:pt x="13657" y="19066"/>
                  <a:pt x="13673" y="20272"/>
                  <a:pt x="11747" y="20857"/>
                </a:cubicBezTo>
                <a:cubicBezTo>
                  <a:pt x="9822" y="21451"/>
                  <a:pt x="7218" y="21007"/>
                  <a:pt x="6793" y="19874"/>
                </a:cubicBezTo>
                <a:cubicBezTo>
                  <a:pt x="6364" y="18742"/>
                  <a:pt x="6929" y="18379"/>
                  <a:pt x="7276" y="17919"/>
                </a:cubicBezTo>
                <a:cubicBezTo>
                  <a:pt x="7622" y="17455"/>
                  <a:pt x="7927" y="17022"/>
                  <a:pt x="7696" y="16665"/>
                </a:cubicBezTo>
                <a:cubicBezTo>
                  <a:pt x="7463" y="16301"/>
                  <a:pt x="6560" y="16056"/>
                  <a:pt x="3900" y="16493"/>
                </a:cubicBezTo>
                <a:cubicBezTo>
                  <a:pt x="2778" y="16676"/>
                  <a:pt x="1332" y="16924"/>
                  <a:pt x="3" y="17182"/>
                </a:cubicBezTo>
                <a:cubicBezTo>
                  <a:pt x="-1" y="15984"/>
                  <a:pt x="-1" y="5664"/>
                  <a:pt x="3" y="3987"/>
                </a:cubicBezTo>
                <a:cubicBezTo>
                  <a:pt x="686" y="4189"/>
                  <a:pt x="1418" y="4383"/>
                  <a:pt x="1857" y="4495"/>
                </a:cubicBezTo>
                <a:cubicBezTo>
                  <a:pt x="2756" y="4727"/>
                  <a:pt x="4598" y="5035"/>
                  <a:pt x="5497" y="4918"/>
                </a:cubicBezTo>
                <a:cubicBezTo>
                  <a:pt x="6408" y="4803"/>
                  <a:pt x="6929" y="4563"/>
                  <a:pt x="6769" y="3854"/>
                </a:cubicBezTo>
                <a:cubicBezTo>
                  <a:pt x="6617" y="3145"/>
                  <a:pt x="5900" y="2852"/>
                  <a:pt x="5926" y="1991"/>
                </a:cubicBezTo>
                <a:cubicBezTo>
                  <a:pt x="5945" y="1129"/>
                  <a:pt x="7025" y="260"/>
                  <a:pt x="8721" y="50"/>
                </a:cubicBezTo>
                <a:cubicBezTo>
                  <a:pt x="10417" y="-149"/>
                  <a:pt x="12922" y="237"/>
                  <a:pt x="13061" y="1351"/>
                </a:cubicBezTo>
                <a:cubicBezTo>
                  <a:pt x="13192" y="2469"/>
                  <a:pt x="12326" y="2985"/>
                  <a:pt x="12134" y="3392"/>
                </a:cubicBezTo>
                <a:cubicBezTo>
                  <a:pt x="11937" y="3799"/>
                  <a:pt x="11632" y="4447"/>
                  <a:pt x="12425" y="4815"/>
                </a:cubicBezTo>
                <a:cubicBezTo>
                  <a:pt x="13212" y="5189"/>
                  <a:pt x="14176" y="4931"/>
                  <a:pt x="15202" y="4754"/>
                </a:cubicBezTo>
                <a:cubicBezTo>
                  <a:pt x="15809" y="4647"/>
                  <a:pt x="17974" y="4291"/>
                  <a:pt x="19832" y="3987"/>
                </a:cubicBezTo>
                <a:cubicBezTo>
                  <a:pt x="20075" y="4709"/>
                  <a:pt x="20345" y="5437"/>
                  <a:pt x="20624" y="6388"/>
                </a:cubicBezTo>
                <a:cubicBezTo>
                  <a:pt x="20847" y="7122"/>
                  <a:pt x="21030" y="8468"/>
                  <a:pt x="19856" y="8722"/>
                </a:cubicBezTo>
                <a:cubicBezTo>
                  <a:pt x="18683" y="8980"/>
                  <a:pt x="17943" y="8440"/>
                  <a:pt x="17098" y="8378"/>
                </a:cubicBezTo>
                <a:cubicBezTo>
                  <a:pt x="15565" y="8253"/>
                  <a:pt x="14533" y="8776"/>
                  <a:pt x="14264" y="10022"/>
                </a:cubicBezTo>
                <a:cubicBezTo>
                  <a:pt x="13996" y="11262"/>
                  <a:pt x="14381" y="12730"/>
                  <a:pt x="15904" y="13008"/>
                </a:cubicBezTo>
                <a:cubicBezTo>
                  <a:pt x="17555" y="13313"/>
                  <a:pt x="18410" y="12808"/>
                  <a:pt x="19294" y="12602"/>
                </a:cubicBezTo>
                <a:cubicBezTo>
                  <a:pt x="20223" y="12381"/>
                  <a:pt x="21051" y="12516"/>
                  <a:pt x="21304" y="12986"/>
                </a:cubicBezTo>
                <a:cubicBezTo>
                  <a:pt x="21599" y="13543"/>
                  <a:pt x="21378" y="14083"/>
                  <a:pt x="21133" y="14682"/>
                </a:cubicBezTo>
                <a:close/>
                <a:moveTo>
                  <a:pt x="21133" y="14682"/>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6" name="AutoShape 4"/>
          <p:cNvSpPr>
            <a:spLocks/>
          </p:cNvSpPr>
          <p:nvPr/>
        </p:nvSpPr>
        <p:spPr bwMode="auto">
          <a:xfrm>
            <a:off x="5837399" y="3572492"/>
            <a:ext cx="656241" cy="681516"/>
          </a:xfrm>
          <a:custGeom>
            <a:avLst/>
            <a:gdLst/>
            <a:ahLst/>
            <a:cxnLst/>
            <a:rect l="0" t="0" r="r" b="b"/>
            <a:pathLst>
              <a:path w="21262" h="21196">
                <a:moveTo>
                  <a:pt x="20973" y="13230"/>
                </a:moveTo>
                <a:cubicBezTo>
                  <a:pt x="20771" y="13893"/>
                  <a:pt x="20332" y="15055"/>
                  <a:pt x="19773" y="16332"/>
                </a:cubicBezTo>
                <a:cubicBezTo>
                  <a:pt x="18837" y="16005"/>
                  <a:pt x="18032" y="15762"/>
                  <a:pt x="17670" y="15666"/>
                </a:cubicBezTo>
                <a:cubicBezTo>
                  <a:pt x="16281" y="15304"/>
                  <a:pt x="13684" y="14967"/>
                  <a:pt x="13326" y="15606"/>
                </a:cubicBezTo>
                <a:cubicBezTo>
                  <a:pt x="12971" y="16240"/>
                  <a:pt x="13486" y="17318"/>
                  <a:pt x="13774" y="17986"/>
                </a:cubicBezTo>
                <a:cubicBezTo>
                  <a:pt x="14060" y="18650"/>
                  <a:pt x="14074" y="20146"/>
                  <a:pt x="12293" y="20879"/>
                </a:cubicBezTo>
                <a:cubicBezTo>
                  <a:pt x="10511" y="21600"/>
                  <a:pt x="8101" y="21050"/>
                  <a:pt x="7712" y="19651"/>
                </a:cubicBezTo>
                <a:cubicBezTo>
                  <a:pt x="7315" y="18250"/>
                  <a:pt x="7834" y="17816"/>
                  <a:pt x="8154" y="17245"/>
                </a:cubicBezTo>
                <a:cubicBezTo>
                  <a:pt x="8476" y="16671"/>
                  <a:pt x="8758" y="16130"/>
                  <a:pt x="8545" y="15682"/>
                </a:cubicBezTo>
                <a:cubicBezTo>
                  <a:pt x="8331" y="15237"/>
                  <a:pt x="7497" y="14939"/>
                  <a:pt x="5035" y="15475"/>
                </a:cubicBezTo>
                <a:cubicBezTo>
                  <a:pt x="3997" y="15707"/>
                  <a:pt x="2662" y="16003"/>
                  <a:pt x="1430" y="16332"/>
                </a:cubicBezTo>
                <a:cubicBezTo>
                  <a:pt x="1213" y="15523"/>
                  <a:pt x="1007" y="14661"/>
                  <a:pt x="855" y="14126"/>
                </a:cubicBezTo>
                <a:cubicBezTo>
                  <a:pt x="604" y="13223"/>
                  <a:pt x="-146" y="11073"/>
                  <a:pt x="107" y="10357"/>
                </a:cubicBezTo>
                <a:cubicBezTo>
                  <a:pt x="355" y="9640"/>
                  <a:pt x="1032" y="9727"/>
                  <a:pt x="1532" y="9868"/>
                </a:cubicBezTo>
                <a:cubicBezTo>
                  <a:pt x="2032" y="10012"/>
                  <a:pt x="3048" y="10440"/>
                  <a:pt x="3989" y="10372"/>
                </a:cubicBezTo>
                <a:cubicBezTo>
                  <a:pt x="4938" y="10308"/>
                  <a:pt x="6105" y="9975"/>
                  <a:pt x="6491" y="8375"/>
                </a:cubicBezTo>
                <a:cubicBezTo>
                  <a:pt x="6927" y="6578"/>
                  <a:pt x="6172" y="4776"/>
                  <a:pt x="4132" y="4680"/>
                </a:cubicBezTo>
                <a:cubicBezTo>
                  <a:pt x="2383" y="4605"/>
                  <a:pt x="2321" y="5538"/>
                  <a:pt x="1269" y="5678"/>
                </a:cubicBezTo>
                <a:cubicBezTo>
                  <a:pt x="318" y="5813"/>
                  <a:pt x="-196" y="5575"/>
                  <a:pt x="69" y="4053"/>
                </a:cubicBezTo>
                <a:cubicBezTo>
                  <a:pt x="266" y="2920"/>
                  <a:pt x="984" y="1117"/>
                  <a:pt x="1430" y="1"/>
                </a:cubicBezTo>
                <a:cubicBezTo>
                  <a:pt x="3021" y="0"/>
                  <a:pt x="17692" y="0"/>
                  <a:pt x="19773" y="1"/>
                </a:cubicBezTo>
                <a:cubicBezTo>
                  <a:pt x="19994" y="895"/>
                  <a:pt x="20246" y="1794"/>
                  <a:pt x="20504" y="2975"/>
                </a:cubicBezTo>
                <a:cubicBezTo>
                  <a:pt x="20709" y="3891"/>
                  <a:pt x="20880" y="5545"/>
                  <a:pt x="19792" y="5859"/>
                </a:cubicBezTo>
                <a:cubicBezTo>
                  <a:pt x="18706" y="6180"/>
                  <a:pt x="18022" y="5522"/>
                  <a:pt x="17242" y="5431"/>
                </a:cubicBezTo>
                <a:cubicBezTo>
                  <a:pt x="15821" y="5286"/>
                  <a:pt x="14869" y="5926"/>
                  <a:pt x="14622" y="7467"/>
                </a:cubicBezTo>
                <a:cubicBezTo>
                  <a:pt x="14371" y="9013"/>
                  <a:pt x="14731" y="10819"/>
                  <a:pt x="16138" y="11168"/>
                </a:cubicBezTo>
                <a:cubicBezTo>
                  <a:pt x="17665" y="11549"/>
                  <a:pt x="18456" y="10915"/>
                  <a:pt x="19273" y="10656"/>
                </a:cubicBezTo>
                <a:cubicBezTo>
                  <a:pt x="20131" y="10395"/>
                  <a:pt x="20899" y="10548"/>
                  <a:pt x="21129" y="11132"/>
                </a:cubicBezTo>
                <a:cubicBezTo>
                  <a:pt x="21404" y="11818"/>
                  <a:pt x="21202" y="12488"/>
                  <a:pt x="20973" y="13230"/>
                </a:cubicBezTo>
                <a:close/>
                <a:moveTo>
                  <a:pt x="20973" y="13230"/>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7" name="AutoShape 5"/>
          <p:cNvSpPr>
            <a:spLocks/>
          </p:cNvSpPr>
          <p:nvPr/>
        </p:nvSpPr>
        <p:spPr bwMode="auto">
          <a:xfrm>
            <a:off x="6854226" y="4063490"/>
            <a:ext cx="726700" cy="602240"/>
          </a:xfrm>
          <a:custGeom>
            <a:avLst/>
            <a:gdLst/>
            <a:ahLst/>
            <a:cxnLst/>
            <a:rect l="0" t="0" r="r" b="b"/>
            <a:pathLst>
              <a:path w="21438" h="21070">
                <a:moveTo>
                  <a:pt x="21437" y="19643"/>
                </a:moveTo>
                <a:cubicBezTo>
                  <a:pt x="19873" y="20066"/>
                  <a:pt x="18046" y="20563"/>
                  <a:pt x="17537" y="20712"/>
                </a:cubicBezTo>
                <a:cubicBezTo>
                  <a:pt x="16673" y="20968"/>
                  <a:pt x="15867" y="21320"/>
                  <a:pt x="15200" y="20807"/>
                </a:cubicBezTo>
                <a:cubicBezTo>
                  <a:pt x="14533" y="20282"/>
                  <a:pt x="14796" y="19392"/>
                  <a:pt x="14956" y="18827"/>
                </a:cubicBezTo>
                <a:cubicBezTo>
                  <a:pt x="15117" y="18247"/>
                  <a:pt x="15845" y="17539"/>
                  <a:pt x="15735" y="15980"/>
                </a:cubicBezTo>
                <a:cubicBezTo>
                  <a:pt x="15623" y="14423"/>
                  <a:pt x="13511" y="13890"/>
                  <a:pt x="12083" y="14179"/>
                </a:cubicBezTo>
                <a:cubicBezTo>
                  <a:pt x="10660" y="14470"/>
                  <a:pt x="9746" y="15678"/>
                  <a:pt x="9734" y="16877"/>
                </a:cubicBezTo>
                <a:cubicBezTo>
                  <a:pt x="9716" y="18077"/>
                  <a:pt x="10319" y="18484"/>
                  <a:pt x="10447" y="19469"/>
                </a:cubicBezTo>
                <a:cubicBezTo>
                  <a:pt x="10573" y="20443"/>
                  <a:pt x="10135" y="20784"/>
                  <a:pt x="9376" y="20946"/>
                </a:cubicBezTo>
                <a:cubicBezTo>
                  <a:pt x="8615" y="21107"/>
                  <a:pt x="7064" y="20682"/>
                  <a:pt x="6316" y="20361"/>
                </a:cubicBezTo>
                <a:cubicBezTo>
                  <a:pt x="5938" y="20205"/>
                  <a:pt x="5326" y="19936"/>
                  <a:pt x="4754" y="19643"/>
                </a:cubicBezTo>
                <a:cubicBezTo>
                  <a:pt x="5258" y="18218"/>
                  <a:pt x="5658" y="16898"/>
                  <a:pt x="5842" y="16166"/>
                </a:cubicBezTo>
                <a:cubicBezTo>
                  <a:pt x="6051" y="15331"/>
                  <a:pt x="6235" y="14581"/>
                  <a:pt x="5984" y="13806"/>
                </a:cubicBezTo>
                <a:cubicBezTo>
                  <a:pt x="5777" y="13151"/>
                  <a:pt x="5081" y="12965"/>
                  <a:pt x="4300" y="13272"/>
                </a:cubicBezTo>
                <a:cubicBezTo>
                  <a:pt x="3550" y="13558"/>
                  <a:pt x="2836" y="14261"/>
                  <a:pt x="1446" y="13837"/>
                </a:cubicBezTo>
                <a:cubicBezTo>
                  <a:pt x="166" y="13450"/>
                  <a:pt x="-162" y="11407"/>
                  <a:pt x="67" y="9683"/>
                </a:cubicBezTo>
                <a:cubicBezTo>
                  <a:pt x="290" y="7949"/>
                  <a:pt x="1157" y="7222"/>
                  <a:pt x="2452" y="7395"/>
                </a:cubicBezTo>
                <a:cubicBezTo>
                  <a:pt x="3158" y="7481"/>
                  <a:pt x="3784" y="8233"/>
                  <a:pt x="4767" y="7873"/>
                </a:cubicBezTo>
                <a:cubicBezTo>
                  <a:pt x="5757" y="7520"/>
                  <a:pt x="5601" y="5648"/>
                  <a:pt x="5419" y="4627"/>
                </a:cubicBezTo>
                <a:cubicBezTo>
                  <a:pt x="5183" y="3305"/>
                  <a:pt x="4954" y="2292"/>
                  <a:pt x="4754" y="1287"/>
                </a:cubicBezTo>
                <a:cubicBezTo>
                  <a:pt x="5873" y="917"/>
                  <a:pt x="7087" y="584"/>
                  <a:pt x="8030" y="323"/>
                </a:cubicBezTo>
                <a:cubicBezTo>
                  <a:pt x="10270" y="-280"/>
                  <a:pt x="11030" y="55"/>
                  <a:pt x="11225" y="556"/>
                </a:cubicBezTo>
                <a:cubicBezTo>
                  <a:pt x="11419" y="1060"/>
                  <a:pt x="11158" y="1669"/>
                  <a:pt x="10866" y="2315"/>
                </a:cubicBezTo>
                <a:cubicBezTo>
                  <a:pt x="10573" y="2956"/>
                  <a:pt x="10106" y="3445"/>
                  <a:pt x="10466" y="5020"/>
                </a:cubicBezTo>
                <a:cubicBezTo>
                  <a:pt x="10817" y="6594"/>
                  <a:pt x="13009" y="7213"/>
                  <a:pt x="14630" y="6402"/>
                </a:cubicBezTo>
                <a:cubicBezTo>
                  <a:pt x="16255" y="5577"/>
                  <a:pt x="16236" y="3894"/>
                  <a:pt x="15979" y="3147"/>
                </a:cubicBezTo>
                <a:cubicBezTo>
                  <a:pt x="15720" y="2396"/>
                  <a:pt x="15248" y="1184"/>
                  <a:pt x="15575" y="470"/>
                </a:cubicBezTo>
                <a:cubicBezTo>
                  <a:pt x="15894" y="-248"/>
                  <a:pt x="18261" y="131"/>
                  <a:pt x="19526" y="538"/>
                </a:cubicBezTo>
                <a:cubicBezTo>
                  <a:pt x="19851" y="646"/>
                  <a:pt x="20586" y="920"/>
                  <a:pt x="21437" y="1287"/>
                </a:cubicBezTo>
                <a:cubicBezTo>
                  <a:pt x="21438" y="3527"/>
                  <a:pt x="21437" y="17761"/>
                  <a:pt x="21437" y="19643"/>
                </a:cubicBezTo>
                <a:close/>
                <a:moveTo>
                  <a:pt x="21437" y="19643"/>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8" name="AutoShape 6"/>
          <p:cNvSpPr>
            <a:spLocks/>
          </p:cNvSpPr>
          <p:nvPr/>
        </p:nvSpPr>
        <p:spPr bwMode="auto">
          <a:xfrm>
            <a:off x="6964752" y="3572492"/>
            <a:ext cx="610649" cy="681516"/>
          </a:xfrm>
          <a:custGeom>
            <a:avLst/>
            <a:gdLst/>
            <a:ahLst/>
            <a:cxnLst/>
            <a:rect l="0" t="0" r="r" b="b"/>
            <a:pathLst>
              <a:path w="21392" h="21196">
                <a:moveTo>
                  <a:pt x="21392" y="16331"/>
                </a:moveTo>
                <a:cubicBezTo>
                  <a:pt x="20380" y="16004"/>
                  <a:pt x="19506" y="15761"/>
                  <a:pt x="19120" y="15665"/>
                </a:cubicBezTo>
                <a:cubicBezTo>
                  <a:pt x="17616" y="15303"/>
                  <a:pt x="14800" y="14966"/>
                  <a:pt x="14421" y="15605"/>
                </a:cubicBezTo>
                <a:cubicBezTo>
                  <a:pt x="14032" y="16239"/>
                  <a:pt x="14593" y="17317"/>
                  <a:pt x="14901" y="17985"/>
                </a:cubicBezTo>
                <a:cubicBezTo>
                  <a:pt x="15207" y="18649"/>
                  <a:pt x="15230" y="20145"/>
                  <a:pt x="13297" y="20878"/>
                </a:cubicBezTo>
                <a:cubicBezTo>
                  <a:pt x="11369" y="21599"/>
                  <a:pt x="8763" y="21049"/>
                  <a:pt x="8344" y="19650"/>
                </a:cubicBezTo>
                <a:cubicBezTo>
                  <a:pt x="7917" y="18249"/>
                  <a:pt x="8473" y="17815"/>
                  <a:pt x="8821" y="17244"/>
                </a:cubicBezTo>
                <a:cubicBezTo>
                  <a:pt x="9168" y="16670"/>
                  <a:pt x="9478" y="16129"/>
                  <a:pt x="9248" y="15681"/>
                </a:cubicBezTo>
                <a:cubicBezTo>
                  <a:pt x="9016" y="15236"/>
                  <a:pt x="8112" y="14938"/>
                  <a:pt x="5449" y="15474"/>
                </a:cubicBezTo>
                <a:cubicBezTo>
                  <a:pt x="4326" y="15706"/>
                  <a:pt x="2882" y="16002"/>
                  <a:pt x="1552" y="16331"/>
                </a:cubicBezTo>
                <a:cubicBezTo>
                  <a:pt x="1317" y="15522"/>
                  <a:pt x="1091" y="14660"/>
                  <a:pt x="925" y="14125"/>
                </a:cubicBezTo>
                <a:cubicBezTo>
                  <a:pt x="652" y="13222"/>
                  <a:pt x="-159" y="11072"/>
                  <a:pt x="114" y="10356"/>
                </a:cubicBezTo>
                <a:cubicBezTo>
                  <a:pt x="388" y="9639"/>
                  <a:pt x="1113" y="9726"/>
                  <a:pt x="1661" y="9867"/>
                </a:cubicBezTo>
                <a:cubicBezTo>
                  <a:pt x="2201" y="10011"/>
                  <a:pt x="3300" y="10439"/>
                  <a:pt x="4319" y="10371"/>
                </a:cubicBezTo>
                <a:cubicBezTo>
                  <a:pt x="5340" y="10307"/>
                  <a:pt x="6605" y="9974"/>
                  <a:pt x="7019" y="8374"/>
                </a:cubicBezTo>
                <a:cubicBezTo>
                  <a:pt x="7491" y="6577"/>
                  <a:pt x="6675" y="4775"/>
                  <a:pt x="4466" y="4679"/>
                </a:cubicBezTo>
                <a:cubicBezTo>
                  <a:pt x="2582" y="4604"/>
                  <a:pt x="2508" y="5537"/>
                  <a:pt x="1376" y="5677"/>
                </a:cubicBezTo>
                <a:cubicBezTo>
                  <a:pt x="344" y="5812"/>
                  <a:pt x="-208" y="5574"/>
                  <a:pt x="73" y="4052"/>
                </a:cubicBezTo>
                <a:cubicBezTo>
                  <a:pt x="287" y="2919"/>
                  <a:pt x="1066" y="1116"/>
                  <a:pt x="1552" y="0"/>
                </a:cubicBezTo>
                <a:cubicBezTo>
                  <a:pt x="3126" y="-1"/>
                  <a:pt x="21392" y="0"/>
                  <a:pt x="21392" y="0"/>
                </a:cubicBezTo>
                <a:cubicBezTo>
                  <a:pt x="21392" y="0"/>
                  <a:pt x="21390" y="14180"/>
                  <a:pt x="21392" y="16331"/>
                </a:cubicBezTo>
                <a:close/>
                <a:moveTo>
                  <a:pt x="21392" y="1633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9" name="AutoShape 7"/>
          <p:cNvSpPr>
            <a:spLocks/>
          </p:cNvSpPr>
          <p:nvPr/>
        </p:nvSpPr>
        <p:spPr bwMode="auto">
          <a:xfrm>
            <a:off x="6279498" y="3572493"/>
            <a:ext cx="886961" cy="565159"/>
          </a:xfrm>
          <a:custGeom>
            <a:avLst/>
            <a:gdLst/>
            <a:ahLst/>
            <a:cxnLst/>
            <a:rect l="0" t="0" r="r" b="b"/>
            <a:pathLst>
              <a:path w="21235" h="21327">
                <a:moveTo>
                  <a:pt x="21147" y="10152"/>
                </a:moveTo>
                <a:cubicBezTo>
                  <a:pt x="20864" y="12092"/>
                  <a:pt x="20000" y="12496"/>
                  <a:pt x="19303" y="12574"/>
                </a:cubicBezTo>
                <a:cubicBezTo>
                  <a:pt x="18607" y="12656"/>
                  <a:pt x="17856" y="12137"/>
                  <a:pt x="17487" y="11963"/>
                </a:cubicBezTo>
                <a:cubicBezTo>
                  <a:pt x="17113" y="11792"/>
                  <a:pt x="16618" y="11686"/>
                  <a:pt x="16431" y="12555"/>
                </a:cubicBezTo>
                <a:cubicBezTo>
                  <a:pt x="16244" y="13423"/>
                  <a:pt x="16799" y="16029"/>
                  <a:pt x="16985" y="17124"/>
                </a:cubicBezTo>
                <a:cubicBezTo>
                  <a:pt x="17098" y="17773"/>
                  <a:pt x="17252" y="18819"/>
                  <a:pt x="17413" y="19799"/>
                </a:cubicBezTo>
                <a:cubicBezTo>
                  <a:pt x="16142" y="20254"/>
                  <a:pt x="14659" y="20788"/>
                  <a:pt x="14245" y="20948"/>
                </a:cubicBezTo>
                <a:cubicBezTo>
                  <a:pt x="13543" y="21214"/>
                  <a:pt x="12887" y="21600"/>
                  <a:pt x="12348" y="21039"/>
                </a:cubicBezTo>
                <a:cubicBezTo>
                  <a:pt x="11804" y="20487"/>
                  <a:pt x="12018" y="19516"/>
                  <a:pt x="12150" y="18906"/>
                </a:cubicBezTo>
                <a:cubicBezTo>
                  <a:pt x="12279" y="18296"/>
                  <a:pt x="12871" y="17523"/>
                  <a:pt x="12782" y="15846"/>
                </a:cubicBezTo>
                <a:cubicBezTo>
                  <a:pt x="12689" y="14175"/>
                  <a:pt x="10974" y="13597"/>
                  <a:pt x="9815" y="13895"/>
                </a:cubicBezTo>
                <a:cubicBezTo>
                  <a:pt x="8659" y="14209"/>
                  <a:pt x="7917" y="15514"/>
                  <a:pt x="7907" y="16806"/>
                </a:cubicBezTo>
                <a:cubicBezTo>
                  <a:pt x="7890" y="18096"/>
                  <a:pt x="8381" y="18535"/>
                  <a:pt x="8484" y="19599"/>
                </a:cubicBezTo>
                <a:cubicBezTo>
                  <a:pt x="8589" y="20661"/>
                  <a:pt x="8233" y="21021"/>
                  <a:pt x="7614" y="21194"/>
                </a:cubicBezTo>
                <a:cubicBezTo>
                  <a:pt x="6998" y="21370"/>
                  <a:pt x="5739" y="20907"/>
                  <a:pt x="5129" y="20560"/>
                </a:cubicBezTo>
                <a:cubicBezTo>
                  <a:pt x="4824" y="20392"/>
                  <a:pt x="4324" y="20101"/>
                  <a:pt x="3860" y="19799"/>
                </a:cubicBezTo>
                <a:cubicBezTo>
                  <a:pt x="4273" y="18251"/>
                  <a:pt x="4598" y="16841"/>
                  <a:pt x="4747" y="16038"/>
                </a:cubicBezTo>
                <a:cubicBezTo>
                  <a:pt x="4916" y="15138"/>
                  <a:pt x="5065" y="14327"/>
                  <a:pt x="4862" y="13495"/>
                </a:cubicBezTo>
                <a:cubicBezTo>
                  <a:pt x="4692" y="12788"/>
                  <a:pt x="4125" y="12601"/>
                  <a:pt x="3491" y="12918"/>
                </a:cubicBezTo>
                <a:cubicBezTo>
                  <a:pt x="2887" y="13232"/>
                  <a:pt x="2303" y="14001"/>
                  <a:pt x="1175" y="13538"/>
                </a:cubicBezTo>
                <a:cubicBezTo>
                  <a:pt x="135" y="13115"/>
                  <a:pt x="-131" y="10926"/>
                  <a:pt x="55" y="9052"/>
                </a:cubicBezTo>
                <a:cubicBezTo>
                  <a:pt x="237" y="7184"/>
                  <a:pt x="940" y="6408"/>
                  <a:pt x="1990" y="6584"/>
                </a:cubicBezTo>
                <a:cubicBezTo>
                  <a:pt x="2566" y="6694"/>
                  <a:pt x="3072" y="7492"/>
                  <a:pt x="3874" y="7103"/>
                </a:cubicBezTo>
                <a:cubicBezTo>
                  <a:pt x="4678" y="6722"/>
                  <a:pt x="4552" y="4717"/>
                  <a:pt x="4401" y="3606"/>
                </a:cubicBezTo>
                <a:cubicBezTo>
                  <a:pt x="4209" y="2175"/>
                  <a:pt x="4023" y="1085"/>
                  <a:pt x="3860" y="1"/>
                </a:cubicBezTo>
                <a:cubicBezTo>
                  <a:pt x="4915" y="0"/>
                  <a:pt x="16271" y="0"/>
                  <a:pt x="17413" y="1"/>
                </a:cubicBezTo>
                <a:cubicBezTo>
                  <a:pt x="17081" y="1354"/>
                  <a:pt x="16549" y="3539"/>
                  <a:pt x="16403" y="4913"/>
                </a:cubicBezTo>
                <a:cubicBezTo>
                  <a:pt x="16211" y="6759"/>
                  <a:pt x="16588" y="7047"/>
                  <a:pt x="17293" y="6883"/>
                </a:cubicBezTo>
                <a:cubicBezTo>
                  <a:pt x="18066" y="6714"/>
                  <a:pt x="18117" y="5583"/>
                  <a:pt x="19403" y="5674"/>
                </a:cubicBezTo>
                <a:cubicBezTo>
                  <a:pt x="20912" y="5790"/>
                  <a:pt x="21469" y="7974"/>
                  <a:pt x="21147" y="10152"/>
                </a:cubicBezTo>
                <a:close/>
                <a:moveTo>
                  <a:pt x="21147" y="10152"/>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0" name="AutoShape 8"/>
          <p:cNvSpPr>
            <a:spLocks/>
          </p:cNvSpPr>
          <p:nvPr/>
        </p:nvSpPr>
        <p:spPr bwMode="auto">
          <a:xfrm>
            <a:off x="6401076" y="3940742"/>
            <a:ext cx="656241" cy="840067"/>
          </a:xfrm>
          <a:custGeom>
            <a:avLst/>
            <a:gdLst/>
            <a:ahLst/>
            <a:cxnLst/>
            <a:rect l="0" t="0" r="r" b="b"/>
            <a:pathLst>
              <a:path w="21264" h="21121">
                <a:moveTo>
                  <a:pt x="20975" y="14682"/>
                </a:moveTo>
                <a:cubicBezTo>
                  <a:pt x="20772" y="15209"/>
                  <a:pt x="20332" y="16158"/>
                  <a:pt x="19778" y="17182"/>
                </a:cubicBezTo>
                <a:cubicBezTo>
                  <a:pt x="18840" y="16927"/>
                  <a:pt x="18033" y="16719"/>
                  <a:pt x="17675" y="16643"/>
                </a:cubicBezTo>
                <a:cubicBezTo>
                  <a:pt x="16285" y="16360"/>
                  <a:pt x="13683" y="16087"/>
                  <a:pt x="13330" y="16598"/>
                </a:cubicBezTo>
                <a:cubicBezTo>
                  <a:pt x="12975" y="17110"/>
                  <a:pt x="13490" y="17988"/>
                  <a:pt x="13779" y="18528"/>
                </a:cubicBezTo>
                <a:cubicBezTo>
                  <a:pt x="14059" y="19066"/>
                  <a:pt x="14079" y="20272"/>
                  <a:pt x="12293" y="20857"/>
                </a:cubicBezTo>
                <a:cubicBezTo>
                  <a:pt x="10511" y="21451"/>
                  <a:pt x="8103" y="21007"/>
                  <a:pt x="7714" y="19874"/>
                </a:cubicBezTo>
                <a:cubicBezTo>
                  <a:pt x="7317" y="18742"/>
                  <a:pt x="7834" y="18379"/>
                  <a:pt x="8156" y="17919"/>
                </a:cubicBezTo>
                <a:cubicBezTo>
                  <a:pt x="8477" y="17455"/>
                  <a:pt x="8760" y="17022"/>
                  <a:pt x="8548" y="16665"/>
                </a:cubicBezTo>
                <a:cubicBezTo>
                  <a:pt x="8334" y="16301"/>
                  <a:pt x="7500" y="16056"/>
                  <a:pt x="5037" y="16493"/>
                </a:cubicBezTo>
                <a:cubicBezTo>
                  <a:pt x="4000" y="16676"/>
                  <a:pt x="2664" y="16924"/>
                  <a:pt x="1433" y="17182"/>
                </a:cubicBezTo>
                <a:cubicBezTo>
                  <a:pt x="1217" y="16534"/>
                  <a:pt x="1007" y="15840"/>
                  <a:pt x="855" y="15400"/>
                </a:cubicBezTo>
                <a:cubicBezTo>
                  <a:pt x="605" y="14666"/>
                  <a:pt x="-146" y="12933"/>
                  <a:pt x="107" y="12358"/>
                </a:cubicBezTo>
                <a:cubicBezTo>
                  <a:pt x="359" y="11780"/>
                  <a:pt x="1032" y="11840"/>
                  <a:pt x="1535" y="11957"/>
                </a:cubicBezTo>
                <a:cubicBezTo>
                  <a:pt x="2033" y="12072"/>
                  <a:pt x="3050" y="12421"/>
                  <a:pt x="3992" y="12372"/>
                </a:cubicBezTo>
                <a:cubicBezTo>
                  <a:pt x="4939" y="12318"/>
                  <a:pt x="6107" y="12044"/>
                  <a:pt x="6491" y="10758"/>
                </a:cubicBezTo>
                <a:cubicBezTo>
                  <a:pt x="6926" y="9297"/>
                  <a:pt x="6173" y="7847"/>
                  <a:pt x="4133" y="7769"/>
                </a:cubicBezTo>
                <a:cubicBezTo>
                  <a:pt x="2385" y="7703"/>
                  <a:pt x="2322" y="8463"/>
                  <a:pt x="1273" y="8578"/>
                </a:cubicBezTo>
                <a:cubicBezTo>
                  <a:pt x="319" y="8679"/>
                  <a:pt x="-194" y="8496"/>
                  <a:pt x="68" y="7262"/>
                </a:cubicBezTo>
                <a:cubicBezTo>
                  <a:pt x="266" y="6345"/>
                  <a:pt x="984" y="4880"/>
                  <a:pt x="1433" y="3987"/>
                </a:cubicBezTo>
                <a:cubicBezTo>
                  <a:pt x="2061" y="4189"/>
                  <a:pt x="2738" y="4383"/>
                  <a:pt x="3150" y="4495"/>
                </a:cubicBezTo>
                <a:cubicBezTo>
                  <a:pt x="3976" y="4727"/>
                  <a:pt x="5680" y="5035"/>
                  <a:pt x="6514" y="4918"/>
                </a:cubicBezTo>
                <a:cubicBezTo>
                  <a:pt x="7353" y="4803"/>
                  <a:pt x="7834" y="4563"/>
                  <a:pt x="7692" y="3854"/>
                </a:cubicBezTo>
                <a:cubicBezTo>
                  <a:pt x="7553" y="3145"/>
                  <a:pt x="6888" y="2852"/>
                  <a:pt x="6910" y="1991"/>
                </a:cubicBezTo>
                <a:cubicBezTo>
                  <a:pt x="6925" y="1129"/>
                  <a:pt x="7929" y="260"/>
                  <a:pt x="9494" y="50"/>
                </a:cubicBezTo>
                <a:cubicBezTo>
                  <a:pt x="11063" y="-149"/>
                  <a:pt x="13384" y="237"/>
                  <a:pt x="13510" y="1351"/>
                </a:cubicBezTo>
                <a:cubicBezTo>
                  <a:pt x="13630" y="2469"/>
                  <a:pt x="12829" y="2985"/>
                  <a:pt x="12654" y="3392"/>
                </a:cubicBezTo>
                <a:cubicBezTo>
                  <a:pt x="12475" y="3799"/>
                  <a:pt x="12186" y="4447"/>
                  <a:pt x="12922" y="4815"/>
                </a:cubicBezTo>
                <a:cubicBezTo>
                  <a:pt x="13652" y="5189"/>
                  <a:pt x="14540" y="4931"/>
                  <a:pt x="15491" y="4754"/>
                </a:cubicBezTo>
                <a:cubicBezTo>
                  <a:pt x="16050" y="4647"/>
                  <a:pt x="18057" y="4291"/>
                  <a:pt x="19778" y="3987"/>
                </a:cubicBezTo>
                <a:cubicBezTo>
                  <a:pt x="19999" y="4709"/>
                  <a:pt x="20250" y="5437"/>
                  <a:pt x="20509" y="6388"/>
                </a:cubicBezTo>
                <a:cubicBezTo>
                  <a:pt x="20710" y="7122"/>
                  <a:pt x="20881" y="8468"/>
                  <a:pt x="19793" y="8722"/>
                </a:cubicBezTo>
                <a:cubicBezTo>
                  <a:pt x="18712" y="8980"/>
                  <a:pt x="18023" y="8440"/>
                  <a:pt x="17247" y="8378"/>
                </a:cubicBezTo>
                <a:cubicBezTo>
                  <a:pt x="15824" y="8253"/>
                  <a:pt x="14870" y="8776"/>
                  <a:pt x="14625" y="10022"/>
                </a:cubicBezTo>
                <a:cubicBezTo>
                  <a:pt x="14373" y="11262"/>
                  <a:pt x="14734" y="12730"/>
                  <a:pt x="16141" y="13008"/>
                </a:cubicBezTo>
                <a:cubicBezTo>
                  <a:pt x="17670" y="13313"/>
                  <a:pt x="18455" y="12808"/>
                  <a:pt x="19279" y="12602"/>
                </a:cubicBezTo>
                <a:cubicBezTo>
                  <a:pt x="20138" y="12381"/>
                  <a:pt x="20903" y="12516"/>
                  <a:pt x="21131" y="12986"/>
                </a:cubicBezTo>
                <a:cubicBezTo>
                  <a:pt x="21406" y="13543"/>
                  <a:pt x="21204" y="14083"/>
                  <a:pt x="20975" y="14682"/>
                </a:cubicBezTo>
                <a:close/>
                <a:moveTo>
                  <a:pt x="20975" y="14682"/>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1" name="AutoShape 9"/>
          <p:cNvSpPr>
            <a:spLocks/>
          </p:cNvSpPr>
          <p:nvPr/>
        </p:nvSpPr>
        <p:spPr bwMode="auto">
          <a:xfrm>
            <a:off x="5316551" y="4585176"/>
            <a:ext cx="726700" cy="561324"/>
          </a:xfrm>
          <a:custGeom>
            <a:avLst/>
            <a:gdLst/>
            <a:ahLst/>
            <a:cxnLst/>
            <a:rect l="0" t="0" r="r" b="b"/>
            <a:pathLst>
              <a:path w="21311" h="21293">
                <a:moveTo>
                  <a:pt x="21203" y="11595"/>
                </a:moveTo>
                <a:cubicBezTo>
                  <a:pt x="20854" y="13549"/>
                  <a:pt x="19796" y="13962"/>
                  <a:pt x="18937" y="14035"/>
                </a:cubicBezTo>
                <a:cubicBezTo>
                  <a:pt x="18084" y="14112"/>
                  <a:pt x="17163" y="13592"/>
                  <a:pt x="16710" y="13417"/>
                </a:cubicBezTo>
                <a:cubicBezTo>
                  <a:pt x="16258" y="13243"/>
                  <a:pt x="15644" y="13151"/>
                  <a:pt x="15419" y="14022"/>
                </a:cubicBezTo>
                <a:cubicBezTo>
                  <a:pt x="15190" y="14889"/>
                  <a:pt x="15870" y="17502"/>
                  <a:pt x="16097" y="18604"/>
                </a:cubicBezTo>
                <a:cubicBezTo>
                  <a:pt x="16235" y="19273"/>
                  <a:pt x="16421" y="20320"/>
                  <a:pt x="16618" y="21293"/>
                </a:cubicBezTo>
                <a:cubicBezTo>
                  <a:pt x="14510" y="21293"/>
                  <a:pt x="1" y="21293"/>
                  <a:pt x="1" y="21293"/>
                </a:cubicBezTo>
                <a:cubicBezTo>
                  <a:pt x="1" y="21293"/>
                  <a:pt x="-2" y="3248"/>
                  <a:pt x="1" y="1390"/>
                </a:cubicBezTo>
                <a:cubicBezTo>
                  <a:pt x="1115" y="1002"/>
                  <a:pt x="2327" y="628"/>
                  <a:pt x="3267" y="352"/>
                </a:cubicBezTo>
                <a:cubicBezTo>
                  <a:pt x="5496" y="-307"/>
                  <a:pt x="6253" y="62"/>
                  <a:pt x="6448" y="610"/>
                </a:cubicBezTo>
                <a:cubicBezTo>
                  <a:pt x="6641" y="1150"/>
                  <a:pt x="6386" y="1802"/>
                  <a:pt x="6096" y="2502"/>
                </a:cubicBezTo>
                <a:cubicBezTo>
                  <a:pt x="5805" y="3195"/>
                  <a:pt x="5332" y="3743"/>
                  <a:pt x="5691" y="5449"/>
                </a:cubicBezTo>
                <a:cubicBezTo>
                  <a:pt x="6048" y="7156"/>
                  <a:pt x="8230" y="7826"/>
                  <a:pt x="9842" y="6931"/>
                </a:cubicBezTo>
                <a:cubicBezTo>
                  <a:pt x="11456" y="6049"/>
                  <a:pt x="11443" y="4230"/>
                  <a:pt x="11186" y="3420"/>
                </a:cubicBezTo>
                <a:cubicBezTo>
                  <a:pt x="10924" y="2605"/>
                  <a:pt x="10458" y="1282"/>
                  <a:pt x="10779" y="510"/>
                </a:cubicBezTo>
                <a:cubicBezTo>
                  <a:pt x="11101" y="-260"/>
                  <a:pt x="13455" y="150"/>
                  <a:pt x="14714" y="577"/>
                </a:cubicBezTo>
                <a:cubicBezTo>
                  <a:pt x="15043" y="692"/>
                  <a:pt x="15773" y="1006"/>
                  <a:pt x="16618" y="1390"/>
                </a:cubicBezTo>
                <a:cubicBezTo>
                  <a:pt x="16213" y="2746"/>
                  <a:pt x="15563" y="4944"/>
                  <a:pt x="15385" y="6339"/>
                </a:cubicBezTo>
                <a:cubicBezTo>
                  <a:pt x="15145" y="8201"/>
                  <a:pt x="15610" y="8476"/>
                  <a:pt x="16472" y="8321"/>
                </a:cubicBezTo>
                <a:cubicBezTo>
                  <a:pt x="17425" y="8146"/>
                  <a:pt x="17482" y="6999"/>
                  <a:pt x="19066" y="7097"/>
                </a:cubicBezTo>
                <a:cubicBezTo>
                  <a:pt x="20914" y="7215"/>
                  <a:pt x="21598" y="9408"/>
                  <a:pt x="21203" y="11595"/>
                </a:cubicBezTo>
                <a:close/>
                <a:moveTo>
                  <a:pt x="21203" y="11595"/>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2" name="AutoShape 10"/>
          <p:cNvSpPr>
            <a:spLocks/>
          </p:cNvSpPr>
          <p:nvPr/>
        </p:nvSpPr>
        <p:spPr bwMode="auto">
          <a:xfrm>
            <a:off x="5837399" y="4472655"/>
            <a:ext cx="656241" cy="682794"/>
          </a:xfrm>
          <a:custGeom>
            <a:avLst/>
            <a:gdLst/>
            <a:ahLst/>
            <a:cxnLst/>
            <a:rect l="0" t="0" r="r" b="b"/>
            <a:pathLst>
              <a:path w="21262" h="21408">
                <a:moveTo>
                  <a:pt x="20973" y="18296"/>
                </a:moveTo>
                <a:cubicBezTo>
                  <a:pt x="20771" y="18952"/>
                  <a:pt x="20332" y="20132"/>
                  <a:pt x="19773" y="21408"/>
                </a:cubicBezTo>
                <a:cubicBezTo>
                  <a:pt x="18440" y="21408"/>
                  <a:pt x="2995" y="21408"/>
                  <a:pt x="1430" y="21408"/>
                </a:cubicBezTo>
                <a:cubicBezTo>
                  <a:pt x="1213" y="20604"/>
                  <a:pt x="1007" y="19738"/>
                  <a:pt x="855" y="19186"/>
                </a:cubicBezTo>
                <a:cubicBezTo>
                  <a:pt x="604" y="18275"/>
                  <a:pt x="-146" y="16116"/>
                  <a:pt x="107" y="15399"/>
                </a:cubicBezTo>
                <a:cubicBezTo>
                  <a:pt x="355" y="14679"/>
                  <a:pt x="1032" y="14755"/>
                  <a:pt x="1532" y="14899"/>
                </a:cubicBezTo>
                <a:cubicBezTo>
                  <a:pt x="2032" y="15044"/>
                  <a:pt x="3048" y="15474"/>
                  <a:pt x="3989" y="15410"/>
                </a:cubicBezTo>
                <a:cubicBezTo>
                  <a:pt x="4938" y="15350"/>
                  <a:pt x="6105" y="15009"/>
                  <a:pt x="6491" y="13393"/>
                </a:cubicBezTo>
                <a:cubicBezTo>
                  <a:pt x="6927" y="11586"/>
                  <a:pt x="6172" y="9774"/>
                  <a:pt x="4132" y="9676"/>
                </a:cubicBezTo>
                <a:cubicBezTo>
                  <a:pt x="2383" y="9595"/>
                  <a:pt x="2321" y="10543"/>
                  <a:pt x="1269" y="10688"/>
                </a:cubicBezTo>
                <a:cubicBezTo>
                  <a:pt x="318" y="10816"/>
                  <a:pt x="-196" y="10588"/>
                  <a:pt x="69" y="9050"/>
                </a:cubicBezTo>
                <a:cubicBezTo>
                  <a:pt x="266" y="7897"/>
                  <a:pt x="984" y="6080"/>
                  <a:pt x="1430" y="4960"/>
                </a:cubicBezTo>
                <a:cubicBezTo>
                  <a:pt x="2061" y="5223"/>
                  <a:pt x="2738" y="5464"/>
                  <a:pt x="3148" y="5603"/>
                </a:cubicBezTo>
                <a:cubicBezTo>
                  <a:pt x="3976" y="5891"/>
                  <a:pt x="5677" y="6271"/>
                  <a:pt x="6512" y="6128"/>
                </a:cubicBezTo>
                <a:cubicBezTo>
                  <a:pt x="7352" y="5982"/>
                  <a:pt x="7834" y="5677"/>
                  <a:pt x="7689" y="4804"/>
                </a:cubicBezTo>
                <a:cubicBezTo>
                  <a:pt x="7551" y="3923"/>
                  <a:pt x="6886" y="3558"/>
                  <a:pt x="6909" y="2483"/>
                </a:cubicBezTo>
                <a:cubicBezTo>
                  <a:pt x="6925" y="1409"/>
                  <a:pt x="7927" y="327"/>
                  <a:pt x="9493" y="67"/>
                </a:cubicBezTo>
                <a:cubicBezTo>
                  <a:pt x="11062" y="-192"/>
                  <a:pt x="13379" y="286"/>
                  <a:pt x="13506" y="1680"/>
                </a:cubicBezTo>
                <a:cubicBezTo>
                  <a:pt x="13631" y="3076"/>
                  <a:pt x="12828" y="3710"/>
                  <a:pt x="12650" y="4230"/>
                </a:cubicBezTo>
                <a:cubicBezTo>
                  <a:pt x="12470" y="4736"/>
                  <a:pt x="12186" y="5532"/>
                  <a:pt x="12918" y="6003"/>
                </a:cubicBezTo>
                <a:cubicBezTo>
                  <a:pt x="13647" y="6462"/>
                  <a:pt x="14540" y="6147"/>
                  <a:pt x="15487" y="5917"/>
                </a:cubicBezTo>
                <a:cubicBezTo>
                  <a:pt x="16048" y="5784"/>
                  <a:pt x="18054" y="5339"/>
                  <a:pt x="19773" y="4960"/>
                </a:cubicBezTo>
                <a:cubicBezTo>
                  <a:pt x="19994" y="5870"/>
                  <a:pt x="20246" y="6779"/>
                  <a:pt x="20504" y="7953"/>
                </a:cubicBezTo>
                <a:cubicBezTo>
                  <a:pt x="20709" y="8876"/>
                  <a:pt x="20880" y="10543"/>
                  <a:pt x="19792" y="10870"/>
                </a:cubicBezTo>
                <a:cubicBezTo>
                  <a:pt x="18706" y="11184"/>
                  <a:pt x="18022" y="10518"/>
                  <a:pt x="17242" y="10440"/>
                </a:cubicBezTo>
                <a:cubicBezTo>
                  <a:pt x="15821" y="10286"/>
                  <a:pt x="14869" y="10930"/>
                  <a:pt x="14622" y="12478"/>
                </a:cubicBezTo>
                <a:cubicBezTo>
                  <a:pt x="14371" y="14035"/>
                  <a:pt x="14731" y="15855"/>
                  <a:pt x="16138" y="16210"/>
                </a:cubicBezTo>
                <a:cubicBezTo>
                  <a:pt x="17665" y="16591"/>
                  <a:pt x="18456" y="15952"/>
                  <a:pt x="19273" y="15699"/>
                </a:cubicBezTo>
                <a:cubicBezTo>
                  <a:pt x="20131" y="15428"/>
                  <a:pt x="20899" y="15596"/>
                  <a:pt x="21129" y="16180"/>
                </a:cubicBezTo>
                <a:cubicBezTo>
                  <a:pt x="21404" y="16863"/>
                  <a:pt x="21202" y="17535"/>
                  <a:pt x="20973" y="18296"/>
                </a:cubicBezTo>
                <a:close/>
                <a:moveTo>
                  <a:pt x="20973" y="18296"/>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3" name="AutoShape 11"/>
          <p:cNvSpPr>
            <a:spLocks/>
          </p:cNvSpPr>
          <p:nvPr/>
        </p:nvSpPr>
        <p:spPr bwMode="auto">
          <a:xfrm>
            <a:off x="6964752" y="4472655"/>
            <a:ext cx="610649" cy="682794"/>
          </a:xfrm>
          <a:custGeom>
            <a:avLst/>
            <a:gdLst/>
            <a:ahLst/>
            <a:cxnLst/>
            <a:rect l="0" t="0" r="r" b="b"/>
            <a:pathLst>
              <a:path w="21392" h="21408">
                <a:moveTo>
                  <a:pt x="21392" y="21408"/>
                </a:moveTo>
                <a:cubicBezTo>
                  <a:pt x="21392" y="21408"/>
                  <a:pt x="3193" y="21408"/>
                  <a:pt x="1552" y="21408"/>
                </a:cubicBezTo>
                <a:cubicBezTo>
                  <a:pt x="1317" y="20604"/>
                  <a:pt x="1091" y="19738"/>
                  <a:pt x="925" y="19186"/>
                </a:cubicBezTo>
                <a:cubicBezTo>
                  <a:pt x="652" y="18275"/>
                  <a:pt x="-159" y="16116"/>
                  <a:pt x="114" y="15399"/>
                </a:cubicBezTo>
                <a:cubicBezTo>
                  <a:pt x="388" y="14679"/>
                  <a:pt x="1113" y="14755"/>
                  <a:pt x="1661" y="14899"/>
                </a:cubicBezTo>
                <a:cubicBezTo>
                  <a:pt x="2201" y="15044"/>
                  <a:pt x="3300" y="15474"/>
                  <a:pt x="4319" y="15410"/>
                </a:cubicBezTo>
                <a:cubicBezTo>
                  <a:pt x="5340" y="15350"/>
                  <a:pt x="6605" y="15009"/>
                  <a:pt x="7019" y="13393"/>
                </a:cubicBezTo>
                <a:cubicBezTo>
                  <a:pt x="7491" y="11586"/>
                  <a:pt x="6675" y="9774"/>
                  <a:pt x="4466" y="9676"/>
                </a:cubicBezTo>
                <a:cubicBezTo>
                  <a:pt x="2582" y="9595"/>
                  <a:pt x="2508" y="10543"/>
                  <a:pt x="1376" y="10688"/>
                </a:cubicBezTo>
                <a:cubicBezTo>
                  <a:pt x="344" y="10816"/>
                  <a:pt x="-208" y="10588"/>
                  <a:pt x="73" y="9050"/>
                </a:cubicBezTo>
                <a:cubicBezTo>
                  <a:pt x="287" y="7897"/>
                  <a:pt x="1066" y="6080"/>
                  <a:pt x="1552" y="4960"/>
                </a:cubicBezTo>
                <a:cubicBezTo>
                  <a:pt x="2233" y="5223"/>
                  <a:pt x="2960" y="5464"/>
                  <a:pt x="3409" y="5603"/>
                </a:cubicBezTo>
                <a:cubicBezTo>
                  <a:pt x="4299" y="5891"/>
                  <a:pt x="6143" y="6271"/>
                  <a:pt x="7049" y="6128"/>
                </a:cubicBezTo>
                <a:cubicBezTo>
                  <a:pt x="7951" y="5982"/>
                  <a:pt x="8473" y="5677"/>
                  <a:pt x="8323" y="4804"/>
                </a:cubicBezTo>
                <a:cubicBezTo>
                  <a:pt x="8170" y="3923"/>
                  <a:pt x="7453" y="3558"/>
                  <a:pt x="7474" y="2483"/>
                </a:cubicBezTo>
                <a:cubicBezTo>
                  <a:pt x="7489" y="1409"/>
                  <a:pt x="8576" y="327"/>
                  <a:pt x="10268" y="67"/>
                </a:cubicBezTo>
                <a:cubicBezTo>
                  <a:pt x="11966" y="-192"/>
                  <a:pt x="14478" y="286"/>
                  <a:pt x="14612" y="1680"/>
                </a:cubicBezTo>
                <a:cubicBezTo>
                  <a:pt x="14742" y="3076"/>
                  <a:pt x="13876" y="3710"/>
                  <a:pt x="13685" y="4230"/>
                </a:cubicBezTo>
                <a:cubicBezTo>
                  <a:pt x="13494" y="4736"/>
                  <a:pt x="13181" y="5532"/>
                  <a:pt x="13975" y="6003"/>
                </a:cubicBezTo>
                <a:cubicBezTo>
                  <a:pt x="14768" y="6462"/>
                  <a:pt x="15727" y="6147"/>
                  <a:pt x="16754" y="5917"/>
                </a:cubicBezTo>
                <a:cubicBezTo>
                  <a:pt x="17360" y="5784"/>
                  <a:pt x="19532" y="5339"/>
                  <a:pt x="21392" y="4960"/>
                </a:cubicBezTo>
                <a:cubicBezTo>
                  <a:pt x="21390" y="6381"/>
                  <a:pt x="21392" y="21408"/>
                  <a:pt x="21392" y="21408"/>
                </a:cubicBezTo>
                <a:close/>
                <a:moveTo>
                  <a:pt x="21392" y="21408"/>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4" name="AutoShape 12"/>
          <p:cNvSpPr>
            <a:spLocks/>
          </p:cNvSpPr>
          <p:nvPr/>
        </p:nvSpPr>
        <p:spPr bwMode="auto">
          <a:xfrm>
            <a:off x="6279498" y="4585176"/>
            <a:ext cx="886961" cy="561324"/>
          </a:xfrm>
          <a:custGeom>
            <a:avLst/>
            <a:gdLst/>
            <a:ahLst/>
            <a:cxnLst/>
            <a:rect l="0" t="0" r="r" b="b"/>
            <a:pathLst>
              <a:path w="21235" h="21293">
                <a:moveTo>
                  <a:pt x="21147" y="11595"/>
                </a:moveTo>
                <a:cubicBezTo>
                  <a:pt x="20864" y="13549"/>
                  <a:pt x="20000" y="13962"/>
                  <a:pt x="19303" y="14035"/>
                </a:cubicBezTo>
                <a:cubicBezTo>
                  <a:pt x="18607" y="14112"/>
                  <a:pt x="17856" y="13592"/>
                  <a:pt x="17487" y="13417"/>
                </a:cubicBezTo>
                <a:cubicBezTo>
                  <a:pt x="17113" y="13243"/>
                  <a:pt x="16618" y="13151"/>
                  <a:pt x="16431" y="14022"/>
                </a:cubicBezTo>
                <a:cubicBezTo>
                  <a:pt x="16244" y="14889"/>
                  <a:pt x="16799" y="17502"/>
                  <a:pt x="16985" y="18604"/>
                </a:cubicBezTo>
                <a:cubicBezTo>
                  <a:pt x="17098" y="19273"/>
                  <a:pt x="17252" y="20320"/>
                  <a:pt x="17413" y="21293"/>
                </a:cubicBezTo>
                <a:cubicBezTo>
                  <a:pt x="15990" y="21293"/>
                  <a:pt x="4587" y="21293"/>
                  <a:pt x="3860" y="21293"/>
                </a:cubicBezTo>
                <a:cubicBezTo>
                  <a:pt x="4273" y="19749"/>
                  <a:pt x="4598" y="18321"/>
                  <a:pt x="4747" y="17528"/>
                </a:cubicBezTo>
                <a:cubicBezTo>
                  <a:pt x="4916" y="16606"/>
                  <a:pt x="5065" y="15793"/>
                  <a:pt x="4862" y="14967"/>
                </a:cubicBezTo>
                <a:cubicBezTo>
                  <a:pt x="4692" y="14260"/>
                  <a:pt x="4125" y="14057"/>
                  <a:pt x="3491" y="14385"/>
                </a:cubicBezTo>
                <a:cubicBezTo>
                  <a:pt x="2887" y="14691"/>
                  <a:pt x="2303" y="15464"/>
                  <a:pt x="1175" y="15003"/>
                </a:cubicBezTo>
                <a:cubicBezTo>
                  <a:pt x="135" y="14573"/>
                  <a:pt x="-131" y="12371"/>
                  <a:pt x="55" y="10488"/>
                </a:cubicBezTo>
                <a:cubicBezTo>
                  <a:pt x="237" y="8614"/>
                  <a:pt x="940" y="7835"/>
                  <a:pt x="1990" y="8022"/>
                </a:cubicBezTo>
                <a:cubicBezTo>
                  <a:pt x="2566" y="8116"/>
                  <a:pt x="3072" y="8922"/>
                  <a:pt x="3874" y="8542"/>
                </a:cubicBezTo>
                <a:cubicBezTo>
                  <a:pt x="4678" y="8146"/>
                  <a:pt x="4552" y="6128"/>
                  <a:pt x="4401" y="5012"/>
                </a:cubicBezTo>
                <a:cubicBezTo>
                  <a:pt x="4209" y="3591"/>
                  <a:pt x="4023" y="2491"/>
                  <a:pt x="3860" y="1390"/>
                </a:cubicBezTo>
                <a:cubicBezTo>
                  <a:pt x="4770" y="1002"/>
                  <a:pt x="5756" y="628"/>
                  <a:pt x="6523" y="352"/>
                </a:cubicBezTo>
                <a:cubicBezTo>
                  <a:pt x="8342" y="-307"/>
                  <a:pt x="8958" y="62"/>
                  <a:pt x="9116" y="610"/>
                </a:cubicBezTo>
                <a:cubicBezTo>
                  <a:pt x="9273" y="1150"/>
                  <a:pt x="9064" y="1802"/>
                  <a:pt x="8827" y="2502"/>
                </a:cubicBezTo>
                <a:cubicBezTo>
                  <a:pt x="8589" y="3195"/>
                  <a:pt x="8207" y="3743"/>
                  <a:pt x="8500" y="5449"/>
                </a:cubicBezTo>
                <a:cubicBezTo>
                  <a:pt x="8788" y="7156"/>
                  <a:pt x="10567" y="7826"/>
                  <a:pt x="11883" y="6931"/>
                </a:cubicBezTo>
                <a:cubicBezTo>
                  <a:pt x="13202" y="6049"/>
                  <a:pt x="13188" y="4230"/>
                  <a:pt x="12981" y="3420"/>
                </a:cubicBezTo>
                <a:cubicBezTo>
                  <a:pt x="12767" y="2605"/>
                  <a:pt x="12387" y="1282"/>
                  <a:pt x="12649" y="510"/>
                </a:cubicBezTo>
                <a:cubicBezTo>
                  <a:pt x="12910" y="-260"/>
                  <a:pt x="14833" y="150"/>
                  <a:pt x="15859" y="577"/>
                </a:cubicBezTo>
                <a:cubicBezTo>
                  <a:pt x="16123" y="692"/>
                  <a:pt x="16720" y="1006"/>
                  <a:pt x="17413" y="1390"/>
                </a:cubicBezTo>
                <a:cubicBezTo>
                  <a:pt x="17081" y="2746"/>
                  <a:pt x="16549" y="4944"/>
                  <a:pt x="16403" y="6339"/>
                </a:cubicBezTo>
                <a:cubicBezTo>
                  <a:pt x="16211" y="8201"/>
                  <a:pt x="16588" y="8476"/>
                  <a:pt x="17293" y="8321"/>
                </a:cubicBezTo>
                <a:cubicBezTo>
                  <a:pt x="18066" y="8146"/>
                  <a:pt x="18117" y="6999"/>
                  <a:pt x="19403" y="7097"/>
                </a:cubicBezTo>
                <a:cubicBezTo>
                  <a:pt x="20912" y="7215"/>
                  <a:pt x="21469" y="9408"/>
                  <a:pt x="21147" y="11595"/>
                </a:cubicBezTo>
                <a:close/>
                <a:moveTo>
                  <a:pt x="21147" y="11595"/>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5" name="AutoShape 13"/>
          <p:cNvSpPr>
            <a:spLocks/>
          </p:cNvSpPr>
          <p:nvPr/>
        </p:nvSpPr>
        <p:spPr bwMode="auto">
          <a:xfrm>
            <a:off x="2831127" y="4063491"/>
            <a:ext cx="750187" cy="584339"/>
          </a:xfrm>
          <a:custGeom>
            <a:avLst/>
            <a:gdLst/>
            <a:ahLst/>
            <a:cxnLst/>
            <a:rect l="0" t="0" r="r" b="b"/>
            <a:pathLst>
              <a:path w="21311" h="21328">
                <a:moveTo>
                  <a:pt x="21203" y="10150"/>
                </a:moveTo>
                <a:cubicBezTo>
                  <a:pt x="20852" y="12088"/>
                  <a:pt x="19796" y="12499"/>
                  <a:pt x="18939" y="12576"/>
                </a:cubicBezTo>
                <a:cubicBezTo>
                  <a:pt x="18083" y="12653"/>
                  <a:pt x="17164" y="12133"/>
                  <a:pt x="16711" y="11960"/>
                </a:cubicBezTo>
                <a:cubicBezTo>
                  <a:pt x="16258" y="11788"/>
                  <a:pt x="15645" y="11693"/>
                  <a:pt x="15418" y="12558"/>
                </a:cubicBezTo>
                <a:cubicBezTo>
                  <a:pt x="15191" y="13423"/>
                  <a:pt x="15872" y="16024"/>
                  <a:pt x="16097" y="17121"/>
                </a:cubicBezTo>
                <a:cubicBezTo>
                  <a:pt x="16234" y="17780"/>
                  <a:pt x="16423" y="18821"/>
                  <a:pt x="16619" y="19795"/>
                </a:cubicBezTo>
                <a:cubicBezTo>
                  <a:pt x="15061" y="20250"/>
                  <a:pt x="13247" y="20784"/>
                  <a:pt x="12735" y="20947"/>
                </a:cubicBezTo>
                <a:cubicBezTo>
                  <a:pt x="11879" y="21216"/>
                  <a:pt x="11070" y="21599"/>
                  <a:pt x="10409" y="21042"/>
                </a:cubicBezTo>
                <a:cubicBezTo>
                  <a:pt x="9747" y="20483"/>
                  <a:pt x="10005" y="19521"/>
                  <a:pt x="10166" y="18907"/>
                </a:cubicBezTo>
                <a:cubicBezTo>
                  <a:pt x="10330" y="18290"/>
                  <a:pt x="11054" y="17521"/>
                  <a:pt x="10941" y="15842"/>
                </a:cubicBezTo>
                <a:cubicBezTo>
                  <a:pt x="10827" y="14169"/>
                  <a:pt x="8728" y="13592"/>
                  <a:pt x="7306" y="13898"/>
                </a:cubicBezTo>
                <a:cubicBezTo>
                  <a:pt x="5886" y="14207"/>
                  <a:pt x="4979" y="15517"/>
                  <a:pt x="4964" y="16807"/>
                </a:cubicBezTo>
                <a:cubicBezTo>
                  <a:pt x="4946" y="18097"/>
                  <a:pt x="5547" y="18540"/>
                  <a:pt x="5677" y="19599"/>
                </a:cubicBezTo>
                <a:cubicBezTo>
                  <a:pt x="5806" y="20658"/>
                  <a:pt x="5368" y="21023"/>
                  <a:pt x="4607" y="21197"/>
                </a:cubicBezTo>
                <a:cubicBezTo>
                  <a:pt x="3848" y="21370"/>
                  <a:pt x="2307" y="20912"/>
                  <a:pt x="1557" y="20566"/>
                </a:cubicBezTo>
                <a:cubicBezTo>
                  <a:pt x="1187" y="20395"/>
                  <a:pt x="575" y="20107"/>
                  <a:pt x="2" y="19795"/>
                </a:cubicBezTo>
                <a:cubicBezTo>
                  <a:pt x="-2" y="17794"/>
                  <a:pt x="2" y="0"/>
                  <a:pt x="2" y="0"/>
                </a:cubicBezTo>
                <a:cubicBezTo>
                  <a:pt x="2" y="0"/>
                  <a:pt x="15270" y="-1"/>
                  <a:pt x="16619" y="0"/>
                </a:cubicBezTo>
                <a:cubicBezTo>
                  <a:pt x="16216" y="1346"/>
                  <a:pt x="15564" y="3536"/>
                  <a:pt x="15386" y="4916"/>
                </a:cubicBezTo>
                <a:cubicBezTo>
                  <a:pt x="15148" y="6765"/>
                  <a:pt x="15611" y="7043"/>
                  <a:pt x="16472" y="6886"/>
                </a:cubicBezTo>
                <a:cubicBezTo>
                  <a:pt x="17427" y="6715"/>
                  <a:pt x="17484" y="5577"/>
                  <a:pt x="19066" y="5673"/>
                </a:cubicBezTo>
                <a:cubicBezTo>
                  <a:pt x="20916" y="5790"/>
                  <a:pt x="21598" y="7970"/>
                  <a:pt x="21203" y="10150"/>
                </a:cubicBezTo>
                <a:close/>
                <a:moveTo>
                  <a:pt x="21203" y="10150"/>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6" name="AutoShape 14"/>
          <p:cNvSpPr>
            <a:spLocks/>
          </p:cNvSpPr>
          <p:nvPr/>
        </p:nvSpPr>
        <p:spPr bwMode="auto">
          <a:xfrm>
            <a:off x="3372697" y="4063491"/>
            <a:ext cx="678346" cy="704531"/>
          </a:xfrm>
          <a:custGeom>
            <a:avLst/>
            <a:gdLst/>
            <a:ahLst/>
            <a:cxnLst/>
            <a:rect l="0" t="0" r="r" b="b"/>
            <a:pathLst>
              <a:path w="21264" h="21191">
                <a:moveTo>
                  <a:pt x="20975" y="13231"/>
                </a:moveTo>
                <a:cubicBezTo>
                  <a:pt x="20773" y="13884"/>
                  <a:pt x="20334" y="15055"/>
                  <a:pt x="19773" y="16325"/>
                </a:cubicBezTo>
                <a:cubicBezTo>
                  <a:pt x="18841" y="16007"/>
                  <a:pt x="18034" y="15753"/>
                  <a:pt x="17672" y="15659"/>
                </a:cubicBezTo>
                <a:cubicBezTo>
                  <a:pt x="16282" y="15301"/>
                  <a:pt x="13684" y="14966"/>
                  <a:pt x="13328" y="15600"/>
                </a:cubicBezTo>
                <a:cubicBezTo>
                  <a:pt x="12971" y="16236"/>
                  <a:pt x="13489" y="17314"/>
                  <a:pt x="13774" y="17982"/>
                </a:cubicBezTo>
                <a:cubicBezTo>
                  <a:pt x="14061" y="18648"/>
                  <a:pt x="14076" y="20138"/>
                  <a:pt x="12293" y="20868"/>
                </a:cubicBezTo>
                <a:cubicBezTo>
                  <a:pt x="10510" y="21600"/>
                  <a:pt x="8102" y="21045"/>
                  <a:pt x="7709" y="19649"/>
                </a:cubicBezTo>
                <a:cubicBezTo>
                  <a:pt x="7317" y="18252"/>
                  <a:pt x="7835" y="17806"/>
                  <a:pt x="8155" y="17235"/>
                </a:cubicBezTo>
                <a:cubicBezTo>
                  <a:pt x="8477" y="16662"/>
                  <a:pt x="8762" y="16123"/>
                  <a:pt x="8548" y="15679"/>
                </a:cubicBezTo>
                <a:cubicBezTo>
                  <a:pt x="8334" y="15235"/>
                  <a:pt x="7494" y="14933"/>
                  <a:pt x="5034" y="15473"/>
                </a:cubicBezTo>
                <a:cubicBezTo>
                  <a:pt x="3996" y="15700"/>
                  <a:pt x="2661" y="16006"/>
                  <a:pt x="1430" y="16325"/>
                </a:cubicBezTo>
                <a:cubicBezTo>
                  <a:pt x="1213" y="15522"/>
                  <a:pt x="1005" y="14664"/>
                  <a:pt x="854" y="14120"/>
                </a:cubicBezTo>
                <a:cubicBezTo>
                  <a:pt x="606" y="13216"/>
                  <a:pt x="-146" y="11070"/>
                  <a:pt x="105" y="10357"/>
                </a:cubicBezTo>
                <a:cubicBezTo>
                  <a:pt x="355" y="9643"/>
                  <a:pt x="1032" y="9722"/>
                  <a:pt x="1532" y="9864"/>
                </a:cubicBezTo>
                <a:cubicBezTo>
                  <a:pt x="2032" y="10007"/>
                  <a:pt x="3046" y="10435"/>
                  <a:pt x="3992" y="10372"/>
                </a:cubicBezTo>
                <a:cubicBezTo>
                  <a:pt x="4937" y="10308"/>
                  <a:pt x="6103" y="9969"/>
                  <a:pt x="6490" y="8371"/>
                </a:cubicBezTo>
                <a:cubicBezTo>
                  <a:pt x="6926" y="6574"/>
                  <a:pt x="6173" y="4776"/>
                  <a:pt x="4132" y="4679"/>
                </a:cubicBezTo>
                <a:cubicBezTo>
                  <a:pt x="2385" y="4600"/>
                  <a:pt x="2322" y="5539"/>
                  <a:pt x="1268" y="5680"/>
                </a:cubicBezTo>
                <a:cubicBezTo>
                  <a:pt x="318" y="5809"/>
                  <a:pt x="-194" y="5579"/>
                  <a:pt x="69" y="4055"/>
                </a:cubicBezTo>
                <a:cubicBezTo>
                  <a:pt x="265" y="2917"/>
                  <a:pt x="986" y="1111"/>
                  <a:pt x="1430" y="1"/>
                </a:cubicBezTo>
                <a:cubicBezTo>
                  <a:pt x="3024" y="0"/>
                  <a:pt x="17692" y="0"/>
                  <a:pt x="19773" y="1"/>
                </a:cubicBezTo>
                <a:cubicBezTo>
                  <a:pt x="19995" y="896"/>
                  <a:pt x="20247" y="1801"/>
                  <a:pt x="20508" y="2973"/>
                </a:cubicBezTo>
                <a:cubicBezTo>
                  <a:pt x="20712" y="3887"/>
                  <a:pt x="20881" y="5545"/>
                  <a:pt x="19795" y="5862"/>
                </a:cubicBezTo>
                <a:cubicBezTo>
                  <a:pt x="18706" y="6179"/>
                  <a:pt x="18022" y="5515"/>
                  <a:pt x="17245" y="5434"/>
                </a:cubicBezTo>
                <a:cubicBezTo>
                  <a:pt x="15822" y="5284"/>
                  <a:pt x="14870" y="5925"/>
                  <a:pt x="14622" y="7465"/>
                </a:cubicBezTo>
                <a:cubicBezTo>
                  <a:pt x="14371" y="9006"/>
                  <a:pt x="14729" y="10815"/>
                  <a:pt x="16139" y="11164"/>
                </a:cubicBezTo>
                <a:cubicBezTo>
                  <a:pt x="17668" y="11542"/>
                  <a:pt x="18456" y="10912"/>
                  <a:pt x="19277" y="10657"/>
                </a:cubicBezTo>
                <a:cubicBezTo>
                  <a:pt x="20136" y="10389"/>
                  <a:pt x="20897" y="10552"/>
                  <a:pt x="21131" y="11132"/>
                </a:cubicBezTo>
                <a:cubicBezTo>
                  <a:pt x="21406" y="11816"/>
                  <a:pt x="21205" y="12483"/>
                  <a:pt x="20975" y="13231"/>
                </a:cubicBezTo>
                <a:close/>
                <a:moveTo>
                  <a:pt x="20975" y="1323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7" name="AutoShape 15"/>
          <p:cNvSpPr>
            <a:spLocks/>
          </p:cNvSpPr>
          <p:nvPr/>
        </p:nvSpPr>
        <p:spPr bwMode="auto">
          <a:xfrm>
            <a:off x="4544260" y="4063491"/>
            <a:ext cx="631373" cy="704531"/>
          </a:xfrm>
          <a:custGeom>
            <a:avLst/>
            <a:gdLst/>
            <a:ahLst/>
            <a:cxnLst/>
            <a:rect l="0" t="0" r="r" b="b"/>
            <a:pathLst>
              <a:path w="21390" h="21191">
                <a:moveTo>
                  <a:pt x="21390" y="16324"/>
                </a:moveTo>
                <a:cubicBezTo>
                  <a:pt x="20382" y="16006"/>
                  <a:pt x="19506" y="15752"/>
                  <a:pt x="19116" y="15658"/>
                </a:cubicBezTo>
                <a:cubicBezTo>
                  <a:pt x="17613" y="15300"/>
                  <a:pt x="14804" y="14965"/>
                  <a:pt x="14418" y="15599"/>
                </a:cubicBezTo>
                <a:cubicBezTo>
                  <a:pt x="14032" y="16235"/>
                  <a:pt x="14590" y="17313"/>
                  <a:pt x="14900" y="17981"/>
                </a:cubicBezTo>
                <a:cubicBezTo>
                  <a:pt x="15210" y="18647"/>
                  <a:pt x="15229" y="20137"/>
                  <a:pt x="13300" y="20867"/>
                </a:cubicBezTo>
                <a:cubicBezTo>
                  <a:pt x="11371" y="21599"/>
                  <a:pt x="8765" y="21044"/>
                  <a:pt x="8339" y="19648"/>
                </a:cubicBezTo>
                <a:cubicBezTo>
                  <a:pt x="7917" y="18251"/>
                  <a:pt x="8476" y="17805"/>
                  <a:pt x="8822" y="17234"/>
                </a:cubicBezTo>
                <a:cubicBezTo>
                  <a:pt x="9170" y="16661"/>
                  <a:pt x="9479" y="16122"/>
                  <a:pt x="9248" y="15678"/>
                </a:cubicBezTo>
                <a:cubicBezTo>
                  <a:pt x="9016" y="15234"/>
                  <a:pt x="8107" y="14932"/>
                  <a:pt x="5446" y="15472"/>
                </a:cubicBezTo>
                <a:cubicBezTo>
                  <a:pt x="4324" y="15699"/>
                  <a:pt x="2877" y="16005"/>
                  <a:pt x="1547" y="16324"/>
                </a:cubicBezTo>
                <a:cubicBezTo>
                  <a:pt x="1312" y="15521"/>
                  <a:pt x="1086" y="14663"/>
                  <a:pt x="923" y="14119"/>
                </a:cubicBezTo>
                <a:cubicBezTo>
                  <a:pt x="654" y="13215"/>
                  <a:pt x="-158" y="11069"/>
                  <a:pt x="113" y="10356"/>
                </a:cubicBezTo>
                <a:cubicBezTo>
                  <a:pt x="384" y="9642"/>
                  <a:pt x="1117" y="9721"/>
                  <a:pt x="1658" y="9863"/>
                </a:cubicBezTo>
                <a:cubicBezTo>
                  <a:pt x="2198" y="10006"/>
                  <a:pt x="3295" y="10434"/>
                  <a:pt x="4318" y="10371"/>
                </a:cubicBezTo>
                <a:cubicBezTo>
                  <a:pt x="5342" y="10307"/>
                  <a:pt x="6602" y="9968"/>
                  <a:pt x="7020" y="8370"/>
                </a:cubicBezTo>
                <a:cubicBezTo>
                  <a:pt x="7493" y="6573"/>
                  <a:pt x="6677" y="4775"/>
                  <a:pt x="4467" y="4678"/>
                </a:cubicBezTo>
                <a:cubicBezTo>
                  <a:pt x="2580" y="4599"/>
                  <a:pt x="2512" y="5538"/>
                  <a:pt x="1370" y="5679"/>
                </a:cubicBezTo>
                <a:cubicBezTo>
                  <a:pt x="343" y="5808"/>
                  <a:pt x="-210" y="5578"/>
                  <a:pt x="74" y="4054"/>
                </a:cubicBezTo>
                <a:cubicBezTo>
                  <a:pt x="285" y="2916"/>
                  <a:pt x="1064" y="1110"/>
                  <a:pt x="1547" y="0"/>
                </a:cubicBezTo>
                <a:cubicBezTo>
                  <a:pt x="3123" y="-1"/>
                  <a:pt x="21390" y="0"/>
                  <a:pt x="21390" y="0"/>
                </a:cubicBezTo>
                <a:cubicBezTo>
                  <a:pt x="21390" y="0"/>
                  <a:pt x="21389" y="14173"/>
                  <a:pt x="21390" y="16324"/>
                </a:cubicBezTo>
                <a:close/>
                <a:moveTo>
                  <a:pt x="21390" y="16324"/>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8" name="AutoShape 16"/>
          <p:cNvSpPr>
            <a:spLocks/>
          </p:cNvSpPr>
          <p:nvPr/>
        </p:nvSpPr>
        <p:spPr bwMode="auto">
          <a:xfrm>
            <a:off x="3836902" y="4063491"/>
            <a:ext cx="917355" cy="584339"/>
          </a:xfrm>
          <a:custGeom>
            <a:avLst/>
            <a:gdLst/>
            <a:ahLst/>
            <a:cxnLst/>
            <a:rect l="0" t="0" r="r" b="b"/>
            <a:pathLst>
              <a:path w="21235" h="21328">
                <a:moveTo>
                  <a:pt x="21146" y="10151"/>
                </a:moveTo>
                <a:cubicBezTo>
                  <a:pt x="20861" y="12089"/>
                  <a:pt x="20001" y="12500"/>
                  <a:pt x="19301" y="12577"/>
                </a:cubicBezTo>
                <a:cubicBezTo>
                  <a:pt x="18603" y="12654"/>
                  <a:pt x="17854" y="12134"/>
                  <a:pt x="17485" y="11961"/>
                </a:cubicBezTo>
                <a:cubicBezTo>
                  <a:pt x="17115" y="11789"/>
                  <a:pt x="16615" y="11694"/>
                  <a:pt x="16430" y="12559"/>
                </a:cubicBezTo>
                <a:cubicBezTo>
                  <a:pt x="16245" y="13424"/>
                  <a:pt x="16799" y="16025"/>
                  <a:pt x="16983" y="17122"/>
                </a:cubicBezTo>
                <a:cubicBezTo>
                  <a:pt x="17094" y="17781"/>
                  <a:pt x="17249" y="18822"/>
                  <a:pt x="17409" y="19796"/>
                </a:cubicBezTo>
                <a:cubicBezTo>
                  <a:pt x="16139" y="20251"/>
                  <a:pt x="14659" y="20785"/>
                  <a:pt x="14243" y="20948"/>
                </a:cubicBezTo>
                <a:cubicBezTo>
                  <a:pt x="13543" y="21217"/>
                  <a:pt x="12885" y="21600"/>
                  <a:pt x="12345" y="21043"/>
                </a:cubicBezTo>
                <a:cubicBezTo>
                  <a:pt x="11806" y="20484"/>
                  <a:pt x="12016" y="19522"/>
                  <a:pt x="12147" y="18908"/>
                </a:cubicBezTo>
                <a:cubicBezTo>
                  <a:pt x="12281" y="18291"/>
                  <a:pt x="12873" y="17522"/>
                  <a:pt x="12779" y="15843"/>
                </a:cubicBezTo>
                <a:cubicBezTo>
                  <a:pt x="12688" y="14170"/>
                  <a:pt x="10975" y="13593"/>
                  <a:pt x="9814" y="13899"/>
                </a:cubicBezTo>
                <a:cubicBezTo>
                  <a:pt x="8656" y="14208"/>
                  <a:pt x="7917" y="15518"/>
                  <a:pt x="7906" y="16808"/>
                </a:cubicBezTo>
                <a:cubicBezTo>
                  <a:pt x="7891" y="18098"/>
                  <a:pt x="8380" y="18541"/>
                  <a:pt x="8485" y="19600"/>
                </a:cubicBezTo>
                <a:cubicBezTo>
                  <a:pt x="8591" y="20659"/>
                  <a:pt x="8233" y="21024"/>
                  <a:pt x="7615" y="21198"/>
                </a:cubicBezTo>
                <a:cubicBezTo>
                  <a:pt x="6996" y="21371"/>
                  <a:pt x="5739" y="20913"/>
                  <a:pt x="5127" y="20567"/>
                </a:cubicBezTo>
                <a:cubicBezTo>
                  <a:pt x="4824" y="20396"/>
                  <a:pt x="4327" y="20108"/>
                  <a:pt x="3859" y="19796"/>
                </a:cubicBezTo>
                <a:cubicBezTo>
                  <a:pt x="4274" y="18256"/>
                  <a:pt x="4598" y="16836"/>
                  <a:pt x="4747" y="16044"/>
                </a:cubicBezTo>
                <a:cubicBezTo>
                  <a:pt x="4917" y="15137"/>
                  <a:pt x="5066" y="14328"/>
                  <a:pt x="4862" y="13499"/>
                </a:cubicBezTo>
                <a:cubicBezTo>
                  <a:pt x="4690" y="12795"/>
                  <a:pt x="4128" y="12598"/>
                  <a:pt x="3493" y="12923"/>
                </a:cubicBezTo>
                <a:cubicBezTo>
                  <a:pt x="2886" y="13232"/>
                  <a:pt x="2304" y="13996"/>
                  <a:pt x="1175" y="13538"/>
                </a:cubicBezTo>
                <a:cubicBezTo>
                  <a:pt x="133" y="13115"/>
                  <a:pt x="-131" y="10921"/>
                  <a:pt x="54" y="9052"/>
                </a:cubicBezTo>
                <a:cubicBezTo>
                  <a:pt x="238" y="7185"/>
                  <a:pt x="941" y="6407"/>
                  <a:pt x="1992" y="6590"/>
                </a:cubicBezTo>
                <a:cubicBezTo>
                  <a:pt x="2566" y="6688"/>
                  <a:pt x="3071" y="7492"/>
                  <a:pt x="3876" y="7108"/>
                </a:cubicBezTo>
                <a:cubicBezTo>
                  <a:pt x="4678" y="6723"/>
                  <a:pt x="4553" y="4713"/>
                  <a:pt x="4402" y="3605"/>
                </a:cubicBezTo>
                <a:cubicBezTo>
                  <a:pt x="4210" y="2184"/>
                  <a:pt x="4023" y="1087"/>
                  <a:pt x="3859" y="1"/>
                </a:cubicBezTo>
                <a:cubicBezTo>
                  <a:pt x="4916" y="0"/>
                  <a:pt x="16269" y="0"/>
                  <a:pt x="17409" y="1"/>
                </a:cubicBezTo>
                <a:cubicBezTo>
                  <a:pt x="17080" y="1347"/>
                  <a:pt x="16547" y="3537"/>
                  <a:pt x="16403" y="4917"/>
                </a:cubicBezTo>
                <a:cubicBezTo>
                  <a:pt x="16210" y="6766"/>
                  <a:pt x="16587" y="7044"/>
                  <a:pt x="17288" y="6887"/>
                </a:cubicBezTo>
                <a:cubicBezTo>
                  <a:pt x="18068" y="6716"/>
                  <a:pt x="18115" y="5578"/>
                  <a:pt x="19403" y="5674"/>
                </a:cubicBezTo>
                <a:cubicBezTo>
                  <a:pt x="20912" y="5791"/>
                  <a:pt x="21469" y="7971"/>
                  <a:pt x="21146" y="10151"/>
                </a:cubicBezTo>
                <a:close/>
                <a:moveTo>
                  <a:pt x="21146" y="1015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19" name="AutoShape 17"/>
          <p:cNvSpPr>
            <a:spLocks/>
          </p:cNvSpPr>
          <p:nvPr/>
        </p:nvSpPr>
        <p:spPr bwMode="auto">
          <a:xfrm>
            <a:off x="3249739" y="4564719"/>
            <a:ext cx="918736" cy="580503"/>
          </a:xfrm>
          <a:custGeom>
            <a:avLst/>
            <a:gdLst/>
            <a:ahLst/>
            <a:cxnLst/>
            <a:rect l="0" t="0" r="r" b="b"/>
            <a:pathLst>
              <a:path w="21236" h="21294">
                <a:moveTo>
                  <a:pt x="21148" y="11597"/>
                </a:moveTo>
                <a:cubicBezTo>
                  <a:pt x="20863" y="13545"/>
                  <a:pt x="20004" y="13960"/>
                  <a:pt x="19302" y="14037"/>
                </a:cubicBezTo>
                <a:cubicBezTo>
                  <a:pt x="18604" y="14114"/>
                  <a:pt x="17854" y="13593"/>
                  <a:pt x="17486" y="13418"/>
                </a:cubicBezTo>
                <a:cubicBezTo>
                  <a:pt x="17116" y="13243"/>
                  <a:pt x="16616" y="13146"/>
                  <a:pt x="16431" y="14018"/>
                </a:cubicBezTo>
                <a:cubicBezTo>
                  <a:pt x="16246" y="14888"/>
                  <a:pt x="16801" y="17504"/>
                  <a:pt x="16984" y="18607"/>
                </a:cubicBezTo>
                <a:cubicBezTo>
                  <a:pt x="17096" y="19268"/>
                  <a:pt x="17250" y="20317"/>
                  <a:pt x="17410" y="21294"/>
                </a:cubicBezTo>
                <a:cubicBezTo>
                  <a:pt x="16009" y="21293"/>
                  <a:pt x="4941" y="21292"/>
                  <a:pt x="3861" y="21294"/>
                </a:cubicBezTo>
                <a:cubicBezTo>
                  <a:pt x="4274" y="19746"/>
                  <a:pt x="4600" y="18321"/>
                  <a:pt x="4748" y="17524"/>
                </a:cubicBezTo>
                <a:cubicBezTo>
                  <a:pt x="4918" y="16610"/>
                  <a:pt x="5066" y="15797"/>
                  <a:pt x="4865" y="14964"/>
                </a:cubicBezTo>
                <a:cubicBezTo>
                  <a:pt x="4691" y="14255"/>
                  <a:pt x="4129" y="14059"/>
                  <a:pt x="3494" y="14383"/>
                </a:cubicBezTo>
                <a:cubicBezTo>
                  <a:pt x="2887" y="14692"/>
                  <a:pt x="2305" y="15464"/>
                  <a:pt x="1176" y="15002"/>
                </a:cubicBezTo>
                <a:cubicBezTo>
                  <a:pt x="134" y="14575"/>
                  <a:pt x="-130" y="12371"/>
                  <a:pt x="55" y="10492"/>
                </a:cubicBezTo>
                <a:cubicBezTo>
                  <a:pt x="239" y="8613"/>
                  <a:pt x="943" y="7830"/>
                  <a:pt x="1992" y="8017"/>
                </a:cubicBezTo>
                <a:cubicBezTo>
                  <a:pt x="2568" y="8115"/>
                  <a:pt x="3072" y="8923"/>
                  <a:pt x="3877" y="8535"/>
                </a:cubicBezTo>
                <a:cubicBezTo>
                  <a:pt x="4679" y="8147"/>
                  <a:pt x="4554" y="6127"/>
                  <a:pt x="4404" y="5015"/>
                </a:cubicBezTo>
                <a:cubicBezTo>
                  <a:pt x="4211" y="3584"/>
                  <a:pt x="4024" y="2482"/>
                  <a:pt x="3861" y="1392"/>
                </a:cubicBezTo>
                <a:cubicBezTo>
                  <a:pt x="4770" y="1002"/>
                  <a:pt x="5756" y="630"/>
                  <a:pt x="6523" y="353"/>
                </a:cubicBezTo>
                <a:cubicBezTo>
                  <a:pt x="8340" y="-306"/>
                  <a:pt x="8961" y="62"/>
                  <a:pt x="9119" y="604"/>
                </a:cubicBezTo>
                <a:cubicBezTo>
                  <a:pt x="9276" y="1146"/>
                  <a:pt x="9066" y="1802"/>
                  <a:pt x="8828" y="2502"/>
                </a:cubicBezTo>
                <a:cubicBezTo>
                  <a:pt x="8592" y="3197"/>
                  <a:pt x="8209" y="3742"/>
                  <a:pt x="8498" y="5444"/>
                </a:cubicBezTo>
                <a:cubicBezTo>
                  <a:pt x="8789" y="7147"/>
                  <a:pt x="10568" y="7824"/>
                  <a:pt x="11885" y="6931"/>
                </a:cubicBezTo>
                <a:cubicBezTo>
                  <a:pt x="13202" y="6041"/>
                  <a:pt x="13191" y="4224"/>
                  <a:pt x="12979" y="3412"/>
                </a:cubicBezTo>
                <a:cubicBezTo>
                  <a:pt x="12768" y="2598"/>
                  <a:pt x="12386" y="1283"/>
                  <a:pt x="12650" y="507"/>
                </a:cubicBezTo>
                <a:cubicBezTo>
                  <a:pt x="12912" y="-266"/>
                  <a:pt x="14831" y="143"/>
                  <a:pt x="15859" y="580"/>
                </a:cubicBezTo>
                <a:cubicBezTo>
                  <a:pt x="16126" y="695"/>
                  <a:pt x="16722" y="1004"/>
                  <a:pt x="17410" y="1392"/>
                </a:cubicBezTo>
                <a:cubicBezTo>
                  <a:pt x="17082" y="2744"/>
                  <a:pt x="16550" y="4947"/>
                  <a:pt x="16405" y="6335"/>
                </a:cubicBezTo>
                <a:cubicBezTo>
                  <a:pt x="16210" y="8193"/>
                  <a:pt x="16588" y="8475"/>
                  <a:pt x="17291" y="8317"/>
                </a:cubicBezTo>
                <a:cubicBezTo>
                  <a:pt x="18069" y="8142"/>
                  <a:pt x="18117" y="6998"/>
                  <a:pt x="19406" y="7096"/>
                </a:cubicBezTo>
                <a:cubicBezTo>
                  <a:pt x="20914" y="7212"/>
                  <a:pt x="21470" y="9406"/>
                  <a:pt x="21148" y="11597"/>
                </a:cubicBezTo>
                <a:close/>
                <a:moveTo>
                  <a:pt x="21148" y="11597"/>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0" name="AutoShape 18"/>
          <p:cNvSpPr>
            <a:spLocks/>
          </p:cNvSpPr>
          <p:nvPr/>
        </p:nvSpPr>
        <p:spPr bwMode="auto">
          <a:xfrm>
            <a:off x="2831126" y="4441969"/>
            <a:ext cx="632754" cy="707089"/>
          </a:xfrm>
          <a:custGeom>
            <a:avLst/>
            <a:gdLst/>
            <a:ahLst/>
            <a:cxnLst/>
            <a:rect l="0" t="0" r="r" b="b"/>
            <a:pathLst>
              <a:path w="21446" h="21411">
                <a:moveTo>
                  <a:pt x="21132" y="18296"/>
                </a:moveTo>
                <a:cubicBezTo>
                  <a:pt x="20915" y="18955"/>
                  <a:pt x="20439" y="20132"/>
                  <a:pt x="19834" y="21411"/>
                </a:cubicBezTo>
                <a:cubicBezTo>
                  <a:pt x="18522" y="21410"/>
                  <a:pt x="1" y="21411"/>
                  <a:pt x="1" y="21411"/>
                </a:cubicBezTo>
                <a:cubicBezTo>
                  <a:pt x="1" y="21411"/>
                  <a:pt x="-2" y="6905"/>
                  <a:pt x="1" y="4965"/>
                </a:cubicBezTo>
                <a:cubicBezTo>
                  <a:pt x="685" y="5224"/>
                  <a:pt x="1416" y="5464"/>
                  <a:pt x="1858" y="5606"/>
                </a:cubicBezTo>
                <a:cubicBezTo>
                  <a:pt x="2752" y="5893"/>
                  <a:pt x="4592" y="6274"/>
                  <a:pt x="5497" y="6130"/>
                </a:cubicBezTo>
                <a:cubicBezTo>
                  <a:pt x="6406" y="5986"/>
                  <a:pt x="6928" y="5682"/>
                  <a:pt x="6774" y="4802"/>
                </a:cubicBezTo>
                <a:cubicBezTo>
                  <a:pt x="6620" y="3922"/>
                  <a:pt x="5903" y="3554"/>
                  <a:pt x="5924" y="2482"/>
                </a:cubicBezTo>
                <a:cubicBezTo>
                  <a:pt x="5941" y="1411"/>
                  <a:pt x="7024" y="322"/>
                  <a:pt x="8719" y="65"/>
                </a:cubicBezTo>
                <a:cubicBezTo>
                  <a:pt x="10416" y="-189"/>
                  <a:pt x="12921" y="290"/>
                  <a:pt x="13057" y="1681"/>
                </a:cubicBezTo>
                <a:cubicBezTo>
                  <a:pt x="13192" y="3076"/>
                  <a:pt x="12327" y="3715"/>
                  <a:pt x="12131" y="4227"/>
                </a:cubicBezTo>
                <a:cubicBezTo>
                  <a:pt x="11940" y="4738"/>
                  <a:pt x="11632" y="5537"/>
                  <a:pt x="12422" y="6002"/>
                </a:cubicBezTo>
                <a:cubicBezTo>
                  <a:pt x="13211" y="6464"/>
                  <a:pt x="14177" y="6146"/>
                  <a:pt x="15198" y="5923"/>
                </a:cubicBezTo>
                <a:cubicBezTo>
                  <a:pt x="15810" y="5787"/>
                  <a:pt x="17974" y="5343"/>
                  <a:pt x="19834" y="4965"/>
                </a:cubicBezTo>
                <a:cubicBezTo>
                  <a:pt x="20072" y="5866"/>
                  <a:pt x="20346" y="6777"/>
                  <a:pt x="20628" y="7960"/>
                </a:cubicBezTo>
                <a:cubicBezTo>
                  <a:pt x="20848" y="8878"/>
                  <a:pt x="21031" y="10547"/>
                  <a:pt x="19858" y="10867"/>
                </a:cubicBezTo>
                <a:cubicBezTo>
                  <a:pt x="18679" y="11188"/>
                  <a:pt x="17941" y="10521"/>
                  <a:pt x="17099" y="10440"/>
                </a:cubicBezTo>
                <a:cubicBezTo>
                  <a:pt x="15563" y="10286"/>
                  <a:pt x="14532" y="10932"/>
                  <a:pt x="14263" y="12485"/>
                </a:cubicBezTo>
                <a:cubicBezTo>
                  <a:pt x="13993" y="14038"/>
                  <a:pt x="14379" y="15859"/>
                  <a:pt x="15905" y="16212"/>
                </a:cubicBezTo>
                <a:cubicBezTo>
                  <a:pt x="17557" y="16594"/>
                  <a:pt x="18409" y="15956"/>
                  <a:pt x="19297" y="15700"/>
                </a:cubicBezTo>
                <a:cubicBezTo>
                  <a:pt x="20226" y="15432"/>
                  <a:pt x="21049" y="15595"/>
                  <a:pt x="21303" y="16181"/>
                </a:cubicBezTo>
                <a:cubicBezTo>
                  <a:pt x="21598" y="16869"/>
                  <a:pt x="21382" y="17541"/>
                  <a:pt x="21132" y="18296"/>
                </a:cubicBezTo>
                <a:close/>
                <a:moveTo>
                  <a:pt x="21132" y="18296"/>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1" name="AutoShape 19"/>
          <p:cNvSpPr>
            <a:spLocks/>
          </p:cNvSpPr>
          <p:nvPr/>
        </p:nvSpPr>
        <p:spPr bwMode="auto">
          <a:xfrm>
            <a:off x="4422682" y="4564719"/>
            <a:ext cx="751568" cy="580503"/>
          </a:xfrm>
          <a:custGeom>
            <a:avLst/>
            <a:gdLst/>
            <a:ahLst/>
            <a:cxnLst/>
            <a:rect l="0" t="0" r="r" b="b"/>
            <a:pathLst>
              <a:path w="21440" h="21294">
                <a:moveTo>
                  <a:pt x="21440" y="21294"/>
                </a:moveTo>
                <a:cubicBezTo>
                  <a:pt x="21440" y="21294"/>
                  <a:pt x="6535" y="21293"/>
                  <a:pt x="4753" y="21294"/>
                </a:cubicBezTo>
                <a:cubicBezTo>
                  <a:pt x="5262" y="19746"/>
                  <a:pt x="5664" y="18321"/>
                  <a:pt x="5847" y="17524"/>
                </a:cubicBezTo>
                <a:cubicBezTo>
                  <a:pt x="6057" y="16610"/>
                  <a:pt x="6239" y="15797"/>
                  <a:pt x="5990" y="14964"/>
                </a:cubicBezTo>
                <a:cubicBezTo>
                  <a:pt x="5777" y="14255"/>
                  <a:pt x="5084" y="14059"/>
                  <a:pt x="4303" y="14383"/>
                </a:cubicBezTo>
                <a:cubicBezTo>
                  <a:pt x="3556" y="14692"/>
                  <a:pt x="2838" y="15464"/>
                  <a:pt x="1447" y="15002"/>
                </a:cubicBezTo>
                <a:cubicBezTo>
                  <a:pt x="165" y="14575"/>
                  <a:pt x="-160" y="12371"/>
                  <a:pt x="67" y="10492"/>
                </a:cubicBezTo>
                <a:cubicBezTo>
                  <a:pt x="294" y="8613"/>
                  <a:pt x="1159" y="7830"/>
                  <a:pt x="2452" y="8017"/>
                </a:cubicBezTo>
                <a:cubicBezTo>
                  <a:pt x="3162" y="8115"/>
                  <a:pt x="3784" y="8923"/>
                  <a:pt x="4773" y="8535"/>
                </a:cubicBezTo>
                <a:cubicBezTo>
                  <a:pt x="5763" y="8147"/>
                  <a:pt x="5606" y="6127"/>
                  <a:pt x="5422" y="5015"/>
                </a:cubicBezTo>
                <a:cubicBezTo>
                  <a:pt x="5184" y="3584"/>
                  <a:pt x="4955" y="2482"/>
                  <a:pt x="4753" y="1392"/>
                </a:cubicBezTo>
                <a:cubicBezTo>
                  <a:pt x="5872" y="1002"/>
                  <a:pt x="7089" y="630"/>
                  <a:pt x="8033" y="353"/>
                </a:cubicBezTo>
                <a:cubicBezTo>
                  <a:pt x="10270" y="-306"/>
                  <a:pt x="11034" y="62"/>
                  <a:pt x="11229" y="604"/>
                </a:cubicBezTo>
                <a:cubicBezTo>
                  <a:pt x="11423" y="1146"/>
                  <a:pt x="11164" y="1802"/>
                  <a:pt x="10871" y="2502"/>
                </a:cubicBezTo>
                <a:cubicBezTo>
                  <a:pt x="10580" y="3197"/>
                  <a:pt x="10110" y="3742"/>
                  <a:pt x="10465" y="5444"/>
                </a:cubicBezTo>
                <a:cubicBezTo>
                  <a:pt x="10823" y="7147"/>
                  <a:pt x="13015" y="7824"/>
                  <a:pt x="14637" y="6931"/>
                </a:cubicBezTo>
                <a:cubicBezTo>
                  <a:pt x="16259" y="6041"/>
                  <a:pt x="16243" y="4224"/>
                  <a:pt x="15983" y="3412"/>
                </a:cubicBezTo>
                <a:cubicBezTo>
                  <a:pt x="15722" y="2598"/>
                  <a:pt x="15253" y="1283"/>
                  <a:pt x="15577" y="507"/>
                </a:cubicBezTo>
                <a:cubicBezTo>
                  <a:pt x="15901" y="-266"/>
                  <a:pt x="18264" y="143"/>
                  <a:pt x="19528" y="580"/>
                </a:cubicBezTo>
                <a:cubicBezTo>
                  <a:pt x="19856" y="695"/>
                  <a:pt x="20593" y="1004"/>
                  <a:pt x="21440" y="1392"/>
                </a:cubicBezTo>
                <a:cubicBezTo>
                  <a:pt x="21439" y="3459"/>
                  <a:pt x="21440" y="21294"/>
                  <a:pt x="21440" y="21294"/>
                </a:cubicBezTo>
                <a:close/>
                <a:moveTo>
                  <a:pt x="21440" y="21294"/>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2" name="AutoShape 20"/>
          <p:cNvSpPr>
            <a:spLocks/>
          </p:cNvSpPr>
          <p:nvPr/>
        </p:nvSpPr>
        <p:spPr bwMode="auto">
          <a:xfrm>
            <a:off x="3958478" y="4441969"/>
            <a:ext cx="678346" cy="707089"/>
          </a:xfrm>
          <a:custGeom>
            <a:avLst/>
            <a:gdLst/>
            <a:ahLst/>
            <a:cxnLst/>
            <a:rect l="0" t="0" r="r" b="b"/>
            <a:pathLst>
              <a:path w="21264" h="21411">
                <a:moveTo>
                  <a:pt x="20974" y="18296"/>
                </a:moveTo>
                <a:cubicBezTo>
                  <a:pt x="20773" y="18955"/>
                  <a:pt x="20331" y="20132"/>
                  <a:pt x="19772" y="21411"/>
                </a:cubicBezTo>
                <a:cubicBezTo>
                  <a:pt x="18114" y="21409"/>
                  <a:pt x="3272" y="21410"/>
                  <a:pt x="1430" y="21411"/>
                </a:cubicBezTo>
                <a:cubicBezTo>
                  <a:pt x="1213" y="20604"/>
                  <a:pt x="1004" y="19737"/>
                  <a:pt x="853" y="19190"/>
                </a:cubicBezTo>
                <a:cubicBezTo>
                  <a:pt x="605" y="18279"/>
                  <a:pt x="-146" y="16117"/>
                  <a:pt x="104" y="15398"/>
                </a:cubicBezTo>
                <a:cubicBezTo>
                  <a:pt x="355" y="14678"/>
                  <a:pt x="1032" y="14758"/>
                  <a:pt x="1532" y="14903"/>
                </a:cubicBezTo>
                <a:cubicBezTo>
                  <a:pt x="2031" y="15047"/>
                  <a:pt x="3046" y="15478"/>
                  <a:pt x="3990" y="15414"/>
                </a:cubicBezTo>
                <a:cubicBezTo>
                  <a:pt x="4940" y="15350"/>
                  <a:pt x="6103" y="15008"/>
                  <a:pt x="6489" y="13398"/>
                </a:cubicBezTo>
                <a:cubicBezTo>
                  <a:pt x="6925" y="11587"/>
                  <a:pt x="6172" y="9774"/>
                  <a:pt x="4131" y="9678"/>
                </a:cubicBezTo>
                <a:cubicBezTo>
                  <a:pt x="2386" y="9598"/>
                  <a:pt x="2321" y="10543"/>
                  <a:pt x="1268" y="10688"/>
                </a:cubicBezTo>
                <a:cubicBezTo>
                  <a:pt x="317" y="10818"/>
                  <a:pt x="-195" y="10586"/>
                  <a:pt x="69" y="9050"/>
                </a:cubicBezTo>
                <a:cubicBezTo>
                  <a:pt x="265" y="7903"/>
                  <a:pt x="986" y="6083"/>
                  <a:pt x="1430" y="4965"/>
                </a:cubicBezTo>
                <a:cubicBezTo>
                  <a:pt x="2063" y="5224"/>
                  <a:pt x="2737" y="5464"/>
                  <a:pt x="3146" y="5606"/>
                </a:cubicBezTo>
                <a:cubicBezTo>
                  <a:pt x="3974" y="5893"/>
                  <a:pt x="5676" y="6274"/>
                  <a:pt x="6514" y="6130"/>
                </a:cubicBezTo>
                <a:cubicBezTo>
                  <a:pt x="7351" y="5986"/>
                  <a:pt x="7835" y="5682"/>
                  <a:pt x="7692" y="4802"/>
                </a:cubicBezTo>
                <a:cubicBezTo>
                  <a:pt x="7549" y="3922"/>
                  <a:pt x="6887" y="3554"/>
                  <a:pt x="6907" y="2482"/>
                </a:cubicBezTo>
                <a:cubicBezTo>
                  <a:pt x="6923" y="1411"/>
                  <a:pt x="7923" y="322"/>
                  <a:pt x="9491" y="65"/>
                </a:cubicBezTo>
                <a:cubicBezTo>
                  <a:pt x="11063" y="-189"/>
                  <a:pt x="13381" y="290"/>
                  <a:pt x="13504" y="1681"/>
                </a:cubicBezTo>
                <a:cubicBezTo>
                  <a:pt x="13632" y="3076"/>
                  <a:pt x="12830" y="3715"/>
                  <a:pt x="12648" y="4227"/>
                </a:cubicBezTo>
                <a:cubicBezTo>
                  <a:pt x="12471" y="4738"/>
                  <a:pt x="12187" y="5537"/>
                  <a:pt x="12917" y="6002"/>
                </a:cubicBezTo>
                <a:cubicBezTo>
                  <a:pt x="13648" y="6464"/>
                  <a:pt x="14539" y="6146"/>
                  <a:pt x="15485" y="5923"/>
                </a:cubicBezTo>
                <a:cubicBezTo>
                  <a:pt x="16050" y="5787"/>
                  <a:pt x="18052" y="5343"/>
                  <a:pt x="19772" y="4965"/>
                </a:cubicBezTo>
                <a:cubicBezTo>
                  <a:pt x="19993" y="5866"/>
                  <a:pt x="20245" y="6777"/>
                  <a:pt x="20507" y="7960"/>
                </a:cubicBezTo>
                <a:cubicBezTo>
                  <a:pt x="20709" y="8878"/>
                  <a:pt x="20881" y="10547"/>
                  <a:pt x="19793" y="10867"/>
                </a:cubicBezTo>
                <a:cubicBezTo>
                  <a:pt x="18706" y="11188"/>
                  <a:pt x="18023" y="10521"/>
                  <a:pt x="17242" y="10440"/>
                </a:cubicBezTo>
                <a:cubicBezTo>
                  <a:pt x="15822" y="10286"/>
                  <a:pt x="14870" y="10932"/>
                  <a:pt x="14621" y="12485"/>
                </a:cubicBezTo>
                <a:cubicBezTo>
                  <a:pt x="14371" y="14038"/>
                  <a:pt x="14728" y="15859"/>
                  <a:pt x="16138" y="16212"/>
                </a:cubicBezTo>
                <a:cubicBezTo>
                  <a:pt x="17667" y="16594"/>
                  <a:pt x="18456" y="15956"/>
                  <a:pt x="19277" y="15700"/>
                </a:cubicBezTo>
                <a:cubicBezTo>
                  <a:pt x="20135" y="15432"/>
                  <a:pt x="20897" y="15595"/>
                  <a:pt x="21131" y="16181"/>
                </a:cubicBezTo>
                <a:cubicBezTo>
                  <a:pt x="21405" y="16869"/>
                  <a:pt x="21204" y="17541"/>
                  <a:pt x="20974" y="18296"/>
                </a:cubicBezTo>
                <a:close/>
                <a:moveTo>
                  <a:pt x="20974" y="18296"/>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3" name="AutoShape 21"/>
          <p:cNvSpPr>
            <a:spLocks/>
          </p:cNvSpPr>
          <p:nvPr/>
        </p:nvSpPr>
        <p:spPr bwMode="auto">
          <a:xfrm>
            <a:off x="4046899" y="1588042"/>
            <a:ext cx="719793" cy="561324"/>
          </a:xfrm>
          <a:custGeom>
            <a:avLst/>
            <a:gdLst/>
            <a:ahLst/>
            <a:cxnLst/>
            <a:rect l="0" t="0" r="r" b="b"/>
            <a:pathLst>
              <a:path w="21311" h="21328">
                <a:moveTo>
                  <a:pt x="21203" y="10151"/>
                </a:moveTo>
                <a:cubicBezTo>
                  <a:pt x="20852" y="12090"/>
                  <a:pt x="19795" y="12500"/>
                  <a:pt x="18939" y="12577"/>
                </a:cubicBezTo>
                <a:cubicBezTo>
                  <a:pt x="18082" y="12655"/>
                  <a:pt x="17164" y="12133"/>
                  <a:pt x="16712" y="11961"/>
                </a:cubicBezTo>
                <a:cubicBezTo>
                  <a:pt x="16257" y="11788"/>
                  <a:pt x="15644" y="11692"/>
                  <a:pt x="15418" y="12558"/>
                </a:cubicBezTo>
                <a:cubicBezTo>
                  <a:pt x="15190" y="13424"/>
                  <a:pt x="15870" y="16023"/>
                  <a:pt x="16096" y="17120"/>
                </a:cubicBezTo>
                <a:cubicBezTo>
                  <a:pt x="16230" y="17780"/>
                  <a:pt x="16421" y="18821"/>
                  <a:pt x="16617" y="19793"/>
                </a:cubicBezTo>
                <a:cubicBezTo>
                  <a:pt x="15062" y="20251"/>
                  <a:pt x="13246" y="20783"/>
                  <a:pt x="12734" y="20946"/>
                </a:cubicBezTo>
                <a:cubicBezTo>
                  <a:pt x="11878" y="21216"/>
                  <a:pt x="11070" y="21599"/>
                  <a:pt x="10407" y="21043"/>
                </a:cubicBezTo>
                <a:cubicBezTo>
                  <a:pt x="9747" y="20483"/>
                  <a:pt x="10004" y="19521"/>
                  <a:pt x="10165" y="18906"/>
                </a:cubicBezTo>
                <a:cubicBezTo>
                  <a:pt x="10328" y="18292"/>
                  <a:pt x="11053" y="17520"/>
                  <a:pt x="10941" y="15844"/>
                </a:cubicBezTo>
                <a:cubicBezTo>
                  <a:pt x="10826" y="14169"/>
                  <a:pt x="8728" y="13592"/>
                  <a:pt x="7305" y="13900"/>
                </a:cubicBezTo>
                <a:cubicBezTo>
                  <a:pt x="5885" y="14208"/>
                  <a:pt x="4979" y="15517"/>
                  <a:pt x="4963" y="16808"/>
                </a:cubicBezTo>
                <a:cubicBezTo>
                  <a:pt x="4945" y="18098"/>
                  <a:pt x="5544" y="18540"/>
                  <a:pt x="5674" y="19599"/>
                </a:cubicBezTo>
                <a:cubicBezTo>
                  <a:pt x="5804" y="20659"/>
                  <a:pt x="5365" y="21022"/>
                  <a:pt x="4608" y="21197"/>
                </a:cubicBezTo>
                <a:cubicBezTo>
                  <a:pt x="3847" y="21370"/>
                  <a:pt x="2307" y="20913"/>
                  <a:pt x="1556" y="20567"/>
                </a:cubicBezTo>
                <a:cubicBezTo>
                  <a:pt x="1185" y="20395"/>
                  <a:pt x="575" y="20107"/>
                  <a:pt x="2" y="19793"/>
                </a:cubicBezTo>
                <a:cubicBezTo>
                  <a:pt x="-3" y="17792"/>
                  <a:pt x="2" y="0"/>
                  <a:pt x="2" y="0"/>
                </a:cubicBezTo>
                <a:cubicBezTo>
                  <a:pt x="2" y="0"/>
                  <a:pt x="15267" y="-1"/>
                  <a:pt x="16617" y="0"/>
                </a:cubicBezTo>
                <a:cubicBezTo>
                  <a:pt x="16214" y="1347"/>
                  <a:pt x="15561" y="3537"/>
                  <a:pt x="15384" y="4916"/>
                </a:cubicBezTo>
                <a:cubicBezTo>
                  <a:pt x="15147" y="6765"/>
                  <a:pt x="15609" y="7043"/>
                  <a:pt x="16471" y="6888"/>
                </a:cubicBezTo>
                <a:cubicBezTo>
                  <a:pt x="17426" y="6714"/>
                  <a:pt x="17483" y="5577"/>
                  <a:pt x="19066" y="5673"/>
                </a:cubicBezTo>
                <a:cubicBezTo>
                  <a:pt x="20915" y="5790"/>
                  <a:pt x="21597" y="7972"/>
                  <a:pt x="21203" y="10151"/>
                </a:cubicBezTo>
                <a:close/>
                <a:moveTo>
                  <a:pt x="21203" y="1015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4" name="AutoShape 22"/>
          <p:cNvSpPr>
            <a:spLocks/>
          </p:cNvSpPr>
          <p:nvPr/>
        </p:nvSpPr>
        <p:spPr bwMode="auto">
          <a:xfrm>
            <a:off x="4566365" y="1588043"/>
            <a:ext cx="650715" cy="676401"/>
          </a:xfrm>
          <a:custGeom>
            <a:avLst/>
            <a:gdLst/>
            <a:ahLst/>
            <a:cxnLst/>
            <a:rect l="0" t="0" r="r" b="b"/>
            <a:pathLst>
              <a:path w="21266" h="21192">
                <a:moveTo>
                  <a:pt x="20975" y="13231"/>
                </a:moveTo>
                <a:cubicBezTo>
                  <a:pt x="20776" y="13885"/>
                  <a:pt x="20334" y="15055"/>
                  <a:pt x="19774" y="16324"/>
                </a:cubicBezTo>
                <a:cubicBezTo>
                  <a:pt x="18842" y="16006"/>
                  <a:pt x="18037" y="15752"/>
                  <a:pt x="17675" y="15660"/>
                </a:cubicBezTo>
                <a:cubicBezTo>
                  <a:pt x="16285" y="15300"/>
                  <a:pt x="13685" y="14966"/>
                  <a:pt x="13328" y="15600"/>
                </a:cubicBezTo>
                <a:cubicBezTo>
                  <a:pt x="12971" y="16236"/>
                  <a:pt x="13490" y="17314"/>
                  <a:pt x="13776" y="17982"/>
                </a:cubicBezTo>
                <a:cubicBezTo>
                  <a:pt x="14061" y="18647"/>
                  <a:pt x="14078" y="20139"/>
                  <a:pt x="12294" y="20869"/>
                </a:cubicBezTo>
                <a:cubicBezTo>
                  <a:pt x="10511" y="21600"/>
                  <a:pt x="8105" y="21047"/>
                  <a:pt x="7713" y="19649"/>
                </a:cubicBezTo>
                <a:cubicBezTo>
                  <a:pt x="7320" y="18252"/>
                  <a:pt x="7835" y="17807"/>
                  <a:pt x="8156" y="17235"/>
                </a:cubicBezTo>
                <a:cubicBezTo>
                  <a:pt x="8477" y="16662"/>
                  <a:pt x="8761" y="16125"/>
                  <a:pt x="8549" y="15679"/>
                </a:cubicBezTo>
                <a:cubicBezTo>
                  <a:pt x="8333" y="15234"/>
                  <a:pt x="7497" y="14933"/>
                  <a:pt x="5035" y="15473"/>
                </a:cubicBezTo>
                <a:cubicBezTo>
                  <a:pt x="3998" y="15700"/>
                  <a:pt x="2661" y="16004"/>
                  <a:pt x="1429" y="16324"/>
                </a:cubicBezTo>
                <a:cubicBezTo>
                  <a:pt x="1213" y="15522"/>
                  <a:pt x="1003" y="14663"/>
                  <a:pt x="854" y="14119"/>
                </a:cubicBezTo>
                <a:cubicBezTo>
                  <a:pt x="605" y="13214"/>
                  <a:pt x="-145" y="11071"/>
                  <a:pt x="106" y="10357"/>
                </a:cubicBezTo>
                <a:cubicBezTo>
                  <a:pt x="355" y="9643"/>
                  <a:pt x="1033" y="9722"/>
                  <a:pt x="1534" y="9864"/>
                </a:cubicBezTo>
                <a:cubicBezTo>
                  <a:pt x="2033" y="10007"/>
                  <a:pt x="3047" y="10437"/>
                  <a:pt x="3993" y="10373"/>
                </a:cubicBezTo>
                <a:cubicBezTo>
                  <a:pt x="4938" y="10309"/>
                  <a:pt x="6105" y="9971"/>
                  <a:pt x="6492" y="8372"/>
                </a:cubicBezTo>
                <a:cubicBezTo>
                  <a:pt x="6927" y="6575"/>
                  <a:pt x="6174" y="4776"/>
                  <a:pt x="4133" y="4679"/>
                </a:cubicBezTo>
                <a:cubicBezTo>
                  <a:pt x="2385" y="4600"/>
                  <a:pt x="2322" y="5538"/>
                  <a:pt x="1268" y="5681"/>
                </a:cubicBezTo>
                <a:cubicBezTo>
                  <a:pt x="316" y="5809"/>
                  <a:pt x="-193" y="5580"/>
                  <a:pt x="69" y="4055"/>
                </a:cubicBezTo>
                <a:cubicBezTo>
                  <a:pt x="264" y="2917"/>
                  <a:pt x="985" y="1112"/>
                  <a:pt x="1429" y="1"/>
                </a:cubicBezTo>
                <a:cubicBezTo>
                  <a:pt x="3025" y="0"/>
                  <a:pt x="17694" y="0"/>
                  <a:pt x="19774" y="1"/>
                </a:cubicBezTo>
                <a:cubicBezTo>
                  <a:pt x="19997" y="896"/>
                  <a:pt x="20250" y="1801"/>
                  <a:pt x="20508" y="2973"/>
                </a:cubicBezTo>
                <a:cubicBezTo>
                  <a:pt x="20714" y="3886"/>
                  <a:pt x="20884" y="5543"/>
                  <a:pt x="19795" y="5860"/>
                </a:cubicBezTo>
                <a:cubicBezTo>
                  <a:pt x="18707" y="6177"/>
                  <a:pt x="18025" y="5516"/>
                  <a:pt x="17247" y="5435"/>
                </a:cubicBezTo>
                <a:cubicBezTo>
                  <a:pt x="15824" y="5282"/>
                  <a:pt x="14871" y="5924"/>
                  <a:pt x="14622" y="7465"/>
                </a:cubicBezTo>
                <a:cubicBezTo>
                  <a:pt x="14372" y="9007"/>
                  <a:pt x="14731" y="10815"/>
                  <a:pt x="16140" y="11163"/>
                </a:cubicBezTo>
                <a:cubicBezTo>
                  <a:pt x="17670" y="11543"/>
                  <a:pt x="18459" y="10911"/>
                  <a:pt x="19280" y="10656"/>
                </a:cubicBezTo>
                <a:cubicBezTo>
                  <a:pt x="20138" y="10390"/>
                  <a:pt x="20901" y="10551"/>
                  <a:pt x="21134" y="11133"/>
                </a:cubicBezTo>
                <a:cubicBezTo>
                  <a:pt x="21407" y="11816"/>
                  <a:pt x="21207" y="12483"/>
                  <a:pt x="20975" y="13231"/>
                </a:cubicBezTo>
                <a:close/>
                <a:moveTo>
                  <a:pt x="20975" y="1323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5" name="AutoShape 23"/>
          <p:cNvSpPr>
            <a:spLocks/>
          </p:cNvSpPr>
          <p:nvPr/>
        </p:nvSpPr>
        <p:spPr bwMode="auto">
          <a:xfrm>
            <a:off x="5019516" y="1588042"/>
            <a:ext cx="721174" cy="561324"/>
          </a:xfrm>
          <a:custGeom>
            <a:avLst/>
            <a:gdLst/>
            <a:ahLst/>
            <a:cxnLst/>
            <a:rect l="0" t="0" r="r" b="b"/>
            <a:pathLst>
              <a:path w="21439" h="21328">
                <a:moveTo>
                  <a:pt x="21439" y="19793"/>
                </a:moveTo>
                <a:cubicBezTo>
                  <a:pt x="19876" y="20251"/>
                  <a:pt x="18055" y="20783"/>
                  <a:pt x="17540" y="20946"/>
                </a:cubicBezTo>
                <a:cubicBezTo>
                  <a:pt x="16682" y="21216"/>
                  <a:pt x="15869" y="21599"/>
                  <a:pt x="15203" y="21043"/>
                </a:cubicBezTo>
                <a:cubicBezTo>
                  <a:pt x="14540" y="20483"/>
                  <a:pt x="14799" y="19521"/>
                  <a:pt x="14960" y="18906"/>
                </a:cubicBezTo>
                <a:cubicBezTo>
                  <a:pt x="15124" y="18292"/>
                  <a:pt x="15852" y="17520"/>
                  <a:pt x="15740" y="15844"/>
                </a:cubicBezTo>
                <a:cubicBezTo>
                  <a:pt x="15625" y="14169"/>
                  <a:pt x="13516" y="13592"/>
                  <a:pt x="12087" y="13900"/>
                </a:cubicBezTo>
                <a:cubicBezTo>
                  <a:pt x="10660" y="14208"/>
                  <a:pt x="9753" y="15517"/>
                  <a:pt x="9737" y="16808"/>
                </a:cubicBezTo>
                <a:cubicBezTo>
                  <a:pt x="9719" y="18098"/>
                  <a:pt x="10320" y="18540"/>
                  <a:pt x="10450" y="19599"/>
                </a:cubicBezTo>
                <a:cubicBezTo>
                  <a:pt x="10580" y="20659"/>
                  <a:pt x="10140" y="21022"/>
                  <a:pt x="9379" y="21197"/>
                </a:cubicBezTo>
                <a:cubicBezTo>
                  <a:pt x="8615" y="21370"/>
                  <a:pt x="7070" y="20913"/>
                  <a:pt x="6315" y="20567"/>
                </a:cubicBezTo>
                <a:cubicBezTo>
                  <a:pt x="5942" y="20395"/>
                  <a:pt x="5327" y="20107"/>
                  <a:pt x="4753" y="19793"/>
                </a:cubicBezTo>
                <a:cubicBezTo>
                  <a:pt x="5262" y="18254"/>
                  <a:pt x="5664" y="16836"/>
                  <a:pt x="5846" y="16043"/>
                </a:cubicBezTo>
                <a:cubicBezTo>
                  <a:pt x="6057" y="15136"/>
                  <a:pt x="6239" y="14328"/>
                  <a:pt x="5990" y="13499"/>
                </a:cubicBezTo>
                <a:cubicBezTo>
                  <a:pt x="5778" y="12794"/>
                  <a:pt x="5084" y="12598"/>
                  <a:pt x="4303" y="12921"/>
                </a:cubicBezTo>
                <a:cubicBezTo>
                  <a:pt x="3557" y="13230"/>
                  <a:pt x="2839" y="13996"/>
                  <a:pt x="1448" y="13535"/>
                </a:cubicBezTo>
                <a:cubicBezTo>
                  <a:pt x="165" y="13113"/>
                  <a:pt x="-161" y="10921"/>
                  <a:pt x="67" y="9051"/>
                </a:cubicBezTo>
                <a:cubicBezTo>
                  <a:pt x="293" y="7183"/>
                  <a:pt x="1160" y="6405"/>
                  <a:pt x="2454" y="6589"/>
                </a:cubicBezTo>
                <a:cubicBezTo>
                  <a:pt x="3162" y="6688"/>
                  <a:pt x="3783" y="7490"/>
                  <a:pt x="4772" y="7105"/>
                </a:cubicBezTo>
                <a:cubicBezTo>
                  <a:pt x="5763" y="6721"/>
                  <a:pt x="5608" y="4711"/>
                  <a:pt x="5421" y="3604"/>
                </a:cubicBezTo>
                <a:cubicBezTo>
                  <a:pt x="5186" y="2183"/>
                  <a:pt x="4956" y="1085"/>
                  <a:pt x="4753" y="0"/>
                </a:cubicBezTo>
                <a:cubicBezTo>
                  <a:pt x="6056" y="-1"/>
                  <a:pt x="21439" y="0"/>
                  <a:pt x="21439" y="0"/>
                </a:cubicBezTo>
                <a:cubicBezTo>
                  <a:pt x="21439" y="0"/>
                  <a:pt x="21436" y="17837"/>
                  <a:pt x="21439" y="19793"/>
                </a:cubicBezTo>
                <a:close/>
                <a:moveTo>
                  <a:pt x="21439" y="19793"/>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6" name="AutoShape 24"/>
          <p:cNvSpPr>
            <a:spLocks/>
          </p:cNvSpPr>
          <p:nvPr/>
        </p:nvSpPr>
        <p:spPr bwMode="auto">
          <a:xfrm>
            <a:off x="4455839" y="2079041"/>
            <a:ext cx="880054" cy="557487"/>
          </a:xfrm>
          <a:custGeom>
            <a:avLst/>
            <a:gdLst/>
            <a:ahLst/>
            <a:cxnLst/>
            <a:rect l="0" t="0" r="r" b="b"/>
            <a:pathLst>
              <a:path w="21236" h="21294">
                <a:moveTo>
                  <a:pt x="21147" y="11598"/>
                </a:moveTo>
                <a:cubicBezTo>
                  <a:pt x="20862" y="13546"/>
                  <a:pt x="20001" y="13959"/>
                  <a:pt x="19302" y="14037"/>
                </a:cubicBezTo>
                <a:cubicBezTo>
                  <a:pt x="18604" y="14115"/>
                  <a:pt x="17854" y="13592"/>
                  <a:pt x="17485" y="13419"/>
                </a:cubicBezTo>
                <a:cubicBezTo>
                  <a:pt x="17113" y="13244"/>
                  <a:pt x="16615" y="13148"/>
                  <a:pt x="16430" y="14018"/>
                </a:cubicBezTo>
                <a:cubicBezTo>
                  <a:pt x="16245" y="14888"/>
                  <a:pt x="16799" y="17504"/>
                  <a:pt x="16983" y="18605"/>
                </a:cubicBezTo>
                <a:cubicBezTo>
                  <a:pt x="17096" y="19268"/>
                  <a:pt x="17248" y="20317"/>
                  <a:pt x="17409" y="21294"/>
                </a:cubicBezTo>
                <a:cubicBezTo>
                  <a:pt x="16007" y="21293"/>
                  <a:pt x="4938" y="21292"/>
                  <a:pt x="3858" y="21294"/>
                </a:cubicBezTo>
                <a:cubicBezTo>
                  <a:pt x="4273" y="19747"/>
                  <a:pt x="4598" y="18321"/>
                  <a:pt x="4747" y="17524"/>
                </a:cubicBezTo>
                <a:cubicBezTo>
                  <a:pt x="4916" y="16609"/>
                  <a:pt x="5065" y="15797"/>
                  <a:pt x="4862" y="14964"/>
                </a:cubicBezTo>
                <a:cubicBezTo>
                  <a:pt x="4691" y="14255"/>
                  <a:pt x="4126" y="14058"/>
                  <a:pt x="3492" y="14382"/>
                </a:cubicBezTo>
                <a:cubicBezTo>
                  <a:pt x="2886" y="14693"/>
                  <a:pt x="2304" y="15463"/>
                  <a:pt x="1174" y="15002"/>
                </a:cubicBezTo>
                <a:cubicBezTo>
                  <a:pt x="134" y="14575"/>
                  <a:pt x="-130" y="12371"/>
                  <a:pt x="53" y="10491"/>
                </a:cubicBezTo>
                <a:cubicBezTo>
                  <a:pt x="237" y="8615"/>
                  <a:pt x="940" y="7832"/>
                  <a:pt x="1990" y="8016"/>
                </a:cubicBezTo>
                <a:cubicBezTo>
                  <a:pt x="2567" y="8114"/>
                  <a:pt x="3070" y="8923"/>
                  <a:pt x="3874" y="8537"/>
                </a:cubicBezTo>
                <a:cubicBezTo>
                  <a:pt x="4678" y="8147"/>
                  <a:pt x="4550" y="6129"/>
                  <a:pt x="4402" y="5015"/>
                </a:cubicBezTo>
                <a:cubicBezTo>
                  <a:pt x="4209" y="3584"/>
                  <a:pt x="4021" y="2483"/>
                  <a:pt x="3858" y="1390"/>
                </a:cubicBezTo>
                <a:cubicBezTo>
                  <a:pt x="4768" y="1001"/>
                  <a:pt x="5756" y="630"/>
                  <a:pt x="6521" y="353"/>
                </a:cubicBezTo>
                <a:cubicBezTo>
                  <a:pt x="8340" y="-306"/>
                  <a:pt x="8958" y="61"/>
                  <a:pt x="9117" y="604"/>
                </a:cubicBezTo>
                <a:cubicBezTo>
                  <a:pt x="9274" y="1147"/>
                  <a:pt x="9064" y="1802"/>
                  <a:pt x="8826" y="2501"/>
                </a:cubicBezTo>
                <a:cubicBezTo>
                  <a:pt x="8590" y="3198"/>
                  <a:pt x="8209" y="3742"/>
                  <a:pt x="8499" y="5445"/>
                </a:cubicBezTo>
                <a:cubicBezTo>
                  <a:pt x="8789" y="7149"/>
                  <a:pt x="10566" y="7823"/>
                  <a:pt x="11884" y="6932"/>
                </a:cubicBezTo>
                <a:cubicBezTo>
                  <a:pt x="13201" y="6042"/>
                  <a:pt x="13189" y="4223"/>
                  <a:pt x="12978" y="3411"/>
                </a:cubicBezTo>
                <a:cubicBezTo>
                  <a:pt x="12767" y="2598"/>
                  <a:pt x="12384" y="1283"/>
                  <a:pt x="12648" y="507"/>
                </a:cubicBezTo>
                <a:cubicBezTo>
                  <a:pt x="12911" y="-265"/>
                  <a:pt x="14831" y="142"/>
                  <a:pt x="15858" y="581"/>
                </a:cubicBezTo>
                <a:cubicBezTo>
                  <a:pt x="16126" y="692"/>
                  <a:pt x="16721" y="1002"/>
                  <a:pt x="17409" y="1390"/>
                </a:cubicBezTo>
                <a:cubicBezTo>
                  <a:pt x="17081" y="2744"/>
                  <a:pt x="16550" y="4946"/>
                  <a:pt x="16404" y="6333"/>
                </a:cubicBezTo>
                <a:cubicBezTo>
                  <a:pt x="16209" y="8193"/>
                  <a:pt x="16586" y="8476"/>
                  <a:pt x="17290" y="8317"/>
                </a:cubicBezTo>
                <a:cubicBezTo>
                  <a:pt x="18068" y="8144"/>
                  <a:pt x="18114" y="6998"/>
                  <a:pt x="19404" y="7095"/>
                </a:cubicBezTo>
                <a:cubicBezTo>
                  <a:pt x="20913" y="7212"/>
                  <a:pt x="21470" y="9405"/>
                  <a:pt x="21147" y="11598"/>
                </a:cubicBezTo>
                <a:close/>
                <a:moveTo>
                  <a:pt x="21147" y="11598"/>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7" name="AutoShape 25"/>
          <p:cNvSpPr>
            <a:spLocks/>
          </p:cNvSpPr>
          <p:nvPr/>
        </p:nvSpPr>
        <p:spPr bwMode="auto">
          <a:xfrm>
            <a:off x="4046899" y="1956292"/>
            <a:ext cx="606505" cy="678959"/>
          </a:xfrm>
          <a:custGeom>
            <a:avLst/>
            <a:gdLst/>
            <a:ahLst/>
            <a:cxnLst/>
            <a:rect l="0" t="0" r="r" b="b"/>
            <a:pathLst>
              <a:path w="21444" h="21410">
                <a:moveTo>
                  <a:pt x="21132" y="18295"/>
                </a:moveTo>
                <a:cubicBezTo>
                  <a:pt x="20914" y="18953"/>
                  <a:pt x="20438" y="20131"/>
                  <a:pt x="19831" y="21410"/>
                </a:cubicBezTo>
                <a:cubicBezTo>
                  <a:pt x="18522" y="21409"/>
                  <a:pt x="2" y="21410"/>
                  <a:pt x="2" y="21410"/>
                </a:cubicBezTo>
                <a:cubicBezTo>
                  <a:pt x="2" y="21410"/>
                  <a:pt x="-2" y="6904"/>
                  <a:pt x="2" y="4963"/>
                </a:cubicBezTo>
                <a:cubicBezTo>
                  <a:pt x="685" y="5223"/>
                  <a:pt x="1414" y="5462"/>
                  <a:pt x="1856" y="5606"/>
                </a:cubicBezTo>
                <a:cubicBezTo>
                  <a:pt x="2753" y="5893"/>
                  <a:pt x="4591" y="6272"/>
                  <a:pt x="5498" y="6129"/>
                </a:cubicBezTo>
                <a:cubicBezTo>
                  <a:pt x="6402" y="5984"/>
                  <a:pt x="6926" y="5682"/>
                  <a:pt x="6771" y="4801"/>
                </a:cubicBezTo>
                <a:cubicBezTo>
                  <a:pt x="6616" y="3921"/>
                  <a:pt x="5902" y="3554"/>
                  <a:pt x="5923" y="2482"/>
                </a:cubicBezTo>
                <a:cubicBezTo>
                  <a:pt x="5942" y="1409"/>
                  <a:pt x="7023" y="322"/>
                  <a:pt x="8717" y="66"/>
                </a:cubicBezTo>
                <a:cubicBezTo>
                  <a:pt x="10416" y="-190"/>
                  <a:pt x="12920" y="290"/>
                  <a:pt x="13057" y="1681"/>
                </a:cubicBezTo>
                <a:cubicBezTo>
                  <a:pt x="13190" y="3074"/>
                  <a:pt x="12325" y="3715"/>
                  <a:pt x="12131" y="4226"/>
                </a:cubicBezTo>
                <a:cubicBezTo>
                  <a:pt x="11939" y="4736"/>
                  <a:pt x="11633" y="5536"/>
                  <a:pt x="12420" y="6001"/>
                </a:cubicBezTo>
                <a:cubicBezTo>
                  <a:pt x="13211" y="6463"/>
                  <a:pt x="14176" y="6145"/>
                  <a:pt x="15197" y="5921"/>
                </a:cubicBezTo>
                <a:cubicBezTo>
                  <a:pt x="15808" y="5785"/>
                  <a:pt x="17975" y="5343"/>
                  <a:pt x="19831" y="4963"/>
                </a:cubicBezTo>
                <a:cubicBezTo>
                  <a:pt x="20070" y="5866"/>
                  <a:pt x="20344" y="6776"/>
                  <a:pt x="20627" y="7958"/>
                </a:cubicBezTo>
                <a:cubicBezTo>
                  <a:pt x="20844" y="8879"/>
                  <a:pt x="21031" y="10546"/>
                  <a:pt x="19854" y="10868"/>
                </a:cubicBezTo>
                <a:cubicBezTo>
                  <a:pt x="18678" y="11187"/>
                  <a:pt x="17941" y="10519"/>
                  <a:pt x="17098" y="10438"/>
                </a:cubicBezTo>
                <a:cubicBezTo>
                  <a:pt x="15561" y="10286"/>
                  <a:pt x="14532" y="10933"/>
                  <a:pt x="14263" y="12483"/>
                </a:cubicBezTo>
                <a:cubicBezTo>
                  <a:pt x="13995" y="14037"/>
                  <a:pt x="14381" y="15858"/>
                  <a:pt x="15903" y="16210"/>
                </a:cubicBezTo>
                <a:cubicBezTo>
                  <a:pt x="17557" y="16592"/>
                  <a:pt x="18409" y="15955"/>
                  <a:pt x="19295" y="15699"/>
                </a:cubicBezTo>
                <a:cubicBezTo>
                  <a:pt x="20223" y="15430"/>
                  <a:pt x="21050" y="15594"/>
                  <a:pt x="21301" y="16179"/>
                </a:cubicBezTo>
                <a:cubicBezTo>
                  <a:pt x="21598" y="16868"/>
                  <a:pt x="21380" y="17539"/>
                  <a:pt x="21132" y="18295"/>
                </a:cubicBezTo>
                <a:close/>
                <a:moveTo>
                  <a:pt x="21132" y="18295"/>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8" name="AutoShape 26"/>
          <p:cNvSpPr>
            <a:spLocks/>
          </p:cNvSpPr>
          <p:nvPr/>
        </p:nvSpPr>
        <p:spPr bwMode="auto">
          <a:xfrm>
            <a:off x="5130041" y="1956292"/>
            <a:ext cx="605123" cy="678959"/>
          </a:xfrm>
          <a:custGeom>
            <a:avLst/>
            <a:gdLst/>
            <a:ahLst/>
            <a:cxnLst/>
            <a:rect l="0" t="0" r="r" b="b"/>
            <a:pathLst>
              <a:path w="21389" h="21410">
                <a:moveTo>
                  <a:pt x="21389" y="21410"/>
                </a:moveTo>
                <a:cubicBezTo>
                  <a:pt x="21389" y="21410"/>
                  <a:pt x="3541" y="21409"/>
                  <a:pt x="1547" y="21410"/>
                </a:cubicBezTo>
                <a:cubicBezTo>
                  <a:pt x="1311" y="20602"/>
                  <a:pt x="1088" y="19736"/>
                  <a:pt x="922" y="19188"/>
                </a:cubicBezTo>
                <a:cubicBezTo>
                  <a:pt x="653" y="18278"/>
                  <a:pt x="-158" y="16116"/>
                  <a:pt x="114" y="15397"/>
                </a:cubicBezTo>
                <a:cubicBezTo>
                  <a:pt x="384" y="14678"/>
                  <a:pt x="1114" y="14758"/>
                  <a:pt x="1658" y="14903"/>
                </a:cubicBezTo>
                <a:cubicBezTo>
                  <a:pt x="2198" y="15046"/>
                  <a:pt x="3297" y="15478"/>
                  <a:pt x="4318" y="15413"/>
                </a:cubicBezTo>
                <a:cubicBezTo>
                  <a:pt x="5342" y="15349"/>
                  <a:pt x="6603" y="15008"/>
                  <a:pt x="7020" y="13398"/>
                </a:cubicBezTo>
                <a:cubicBezTo>
                  <a:pt x="7494" y="11586"/>
                  <a:pt x="6678" y="9774"/>
                  <a:pt x="4468" y="9677"/>
                </a:cubicBezTo>
                <a:cubicBezTo>
                  <a:pt x="2579" y="9597"/>
                  <a:pt x="2512" y="10544"/>
                  <a:pt x="1372" y="10687"/>
                </a:cubicBezTo>
                <a:cubicBezTo>
                  <a:pt x="342" y="10818"/>
                  <a:pt x="-211" y="10584"/>
                  <a:pt x="74" y="9048"/>
                </a:cubicBezTo>
                <a:cubicBezTo>
                  <a:pt x="288" y="7901"/>
                  <a:pt x="1066" y="6082"/>
                  <a:pt x="1547" y="4963"/>
                </a:cubicBezTo>
                <a:cubicBezTo>
                  <a:pt x="2230" y="5223"/>
                  <a:pt x="2961" y="5462"/>
                  <a:pt x="3405" y="5606"/>
                </a:cubicBezTo>
                <a:cubicBezTo>
                  <a:pt x="4302" y="5893"/>
                  <a:pt x="6139" y="6272"/>
                  <a:pt x="7048" y="6129"/>
                </a:cubicBezTo>
                <a:cubicBezTo>
                  <a:pt x="7952" y="5984"/>
                  <a:pt x="8475" y="5682"/>
                  <a:pt x="8321" y="4801"/>
                </a:cubicBezTo>
                <a:cubicBezTo>
                  <a:pt x="8166" y="3921"/>
                  <a:pt x="7452" y="3554"/>
                  <a:pt x="7473" y="2482"/>
                </a:cubicBezTo>
                <a:cubicBezTo>
                  <a:pt x="7492" y="1409"/>
                  <a:pt x="8571" y="322"/>
                  <a:pt x="10268" y="66"/>
                </a:cubicBezTo>
                <a:cubicBezTo>
                  <a:pt x="11967" y="-190"/>
                  <a:pt x="14475" y="290"/>
                  <a:pt x="14611" y="1681"/>
                </a:cubicBezTo>
                <a:cubicBezTo>
                  <a:pt x="14746" y="3074"/>
                  <a:pt x="13880" y="3715"/>
                  <a:pt x="13685" y="4226"/>
                </a:cubicBezTo>
                <a:cubicBezTo>
                  <a:pt x="13493" y="4736"/>
                  <a:pt x="13185" y="5536"/>
                  <a:pt x="13973" y="6001"/>
                </a:cubicBezTo>
                <a:cubicBezTo>
                  <a:pt x="14766" y="6463"/>
                  <a:pt x="15732" y="6145"/>
                  <a:pt x="16752" y="5921"/>
                </a:cubicBezTo>
                <a:cubicBezTo>
                  <a:pt x="17365" y="5785"/>
                  <a:pt x="19530" y="5343"/>
                  <a:pt x="21389" y="4963"/>
                </a:cubicBezTo>
                <a:cubicBezTo>
                  <a:pt x="21386" y="6307"/>
                  <a:pt x="21389" y="21410"/>
                  <a:pt x="21389" y="21410"/>
                </a:cubicBezTo>
                <a:close/>
                <a:moveTo>
                  <a:pt x="21389" y="21410"/>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29" name="AutoShape 27"/>
          <p:cNvSpPr>
            <a:spLocks/>
          </p:cNvSpPr>
          <p:nvPr/>
        </p:nvSpPr>
        <p:spPr bwMode="auto">
          <a:xfrm>
            <a:off x="5815294" y="1588043"/>
            <a:ext cx="751568" cy="584339"/>
          </a:xfrm>
          <a:custGeom>
            <a:avLst/>
            <a:gdLst/>
            <a:ahLst/>
            <a:cxnLst/>
            <a:rect l="0" t="0" r="r" b="b"/>
            <a:pathLst>
              <a:path w="21301" h="21323">
                <a:moveTo>
                  <a:pt x="21193" y="10152"/>
                </a:moveTo>
                <a:cubicBezTo>
                  <a:pt x="20845" y="12088"/>
                  <a:pt x="19789" y="12498"/>
                  <a:pt x="18933" y="12575"/>
                </a:cubicBezTo>
                <a:cubicBezTo>
                  <a:pt x="18079" y="12653"/>
                  <a:pt x="17159" y="12133"/>
                  <a:pt x="16707" y="11959"/>
                </a:cubicBezTo>
                <a:cubicBezTo>
                  <a:pt x="16252" y="11788"/>
                  <a:pt x="15640" y="11691"/>
                  <a:pt x="15415" y="12558"/>
                </a:cubicBezTo>
                <a:cubicBezTo>
                  <a:pt x="15186" y="13422"/>
                  <a:pt x="15865" y="16021"/>
                  <a:pt x="16093" y="17118"/>
                </a:cubicBezTo>
                <a:cubicBezTo>
                  <a:pt x="16228" y="17777"/>
                  <a:pt x="16417" y="18819"/>
                  <a:pt x="16613" y="19789"/>
                </a:cubicBezTo>
                <a:cubicBezTo>
                  <a:pt x="15057" y="20248"/>
                  <a:pt x="13244" y="20780"/>
                  <a:pt x="12733" y="20943"/>
                </a:cubicBezTo>
                <a:cubicBezTo>
                  <a:pt x="11879" y="21211"/>
                  <a:pt x="11070" y="21595"/>
                  <a:pt x="10408" y="21037"/>
                </a:cubicBezTo>
                <a:cubicBezTo>
                  <a:pt x="9748" y="20480"/>
                  <a:pt x="10005" y="19518"/>
                  <a:pt x="10165" y="18903"/>
                </a:cubicBezTo>
                <a:cubicBezTo>
                  <a:pt x="10329" y="18287"/>
                  <a:pt x="11056" y="17518"/>
                  <a:pt x="10940" y="15842"/>
                </a:cubicBezTo>
                <a:cubicBezTo>
                  <a:pt x="10828" y="14167"/>
                  <a:pt x="8731" y="13592"/>
                  <a:pt x="7309" y="13899"/>
                </a:cubicBezTo>
                <a:cubicBezTo>
                  <a:pt x="5888" y="14208"/>
                  <a:pt x="4984" y="15516"/>
                  <a:pt x="4967" y="16804"/>
                </a:cubicBezTo>
                <a:cubicBezTo>
                  <a:pt x="4951" y="18093"/>
                  <a:pt x="5548" y="18538"/>
                  <a:pt x="5679" y="19594"/>
                </a:cubicBezTo>
                <a:cubicBezTo>
                  <a:pt x="5808" y="20654"/>
                  <a:pt x="5371" y="21017"/>
                  <a:pt x="4613" y="21192"/>
                </a:cubicBezTo>
                <a:cubicBezTo>
                  <a:pt x="3853" y="21366"/>
                  <a:pt x="2314" y="20909"/>
                  <a:pt x="1566" y="20562"/>
                </a:cubicBezTo>
                <a:cubicBezTo>
                  <a:pt x="1194" y="20393"/>
                  <a:pt x="583" y="20103"/>
                  <a:pt x="10" y="19789"/>
                </a:cubicBezTo>
                <a:cubicBezTo>
                  <a:pt x="-11" y="12311"/>
                  <a:pt x="10" y="5"/>
                  <a:pt x="10" y="5"/>
                </a:cubicBezTo>
                <a:cubicBezTo>
                  <a:pt x="10" y="5"/>
                  <a:pt x="12401" y="-5"/>
                  <a:pt x="16613" y="5"/>
                </a:cubicBezTo>
                <a:cubicBezTo>
                  <a:pt x="16211" y="1350"/>
                  <a:pt x="15560" y="3540"/>
                  <a:pt x="15380" y="4918"/>
                </a:cubicBezTo>
                <a:cubicBezTo>
                  <a:pt x="15144" y="6767"/>
                  <a:pt x="15606" y="7045"/>
                  <a:pt x="16467" y="6889"/>
                </a:cubicBezTo>
                <a:cubicBezTo>
                  <a:pt x="17419" y="6717"/>
                  <a:pt x="17478" y="5580"/>
                  <a:pt x="19059" y="5676"/>
                </a:cubicBezTo>
                <a:cubicBezTo>
                  <a:pt x="20906" y="5793"/>
                  <a:pt x="21589" y="7971"/>
                  <a:pt x="21193" y="10152"/>
                </a:cubicBezTo>
                <a:close/>
                <a:moveTo>
                  <a:pt x="21193" y="10152"/>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0" name="AutoShape 28"/>
          <p:cNvSpPr>
            <a:spLocks/>
          </p:cNvSpPr>
          <p:nvPr/>
        </p:nvSpPr>
        <p:spPr bwMode="auto">
          <a:xfrm>
            <a:off x="6235288" y="2099499"/>
            <a:ext cx="917355" cy="621419"/>
          </a:xfrm>
          <a:custGeom>
            <a:avLst/>
            <a:gdLst/>
            <a:ahLst/>
            <a:cxnLst/>
            <a:rect l="0" t="0" r="r" b="b"/>
            <a:pathLst>
              <a:path w="21236" h="21066">
                <a:moveTo>
                  <a:pt x="21147" y="10699"/>
                </a:moveTo>
                <a:cubicBezTo>
                  <a:pt x="20861" y="12497"/>
                  <a:pt x="20002" y="12877"/>
                  <a:pt x="19301" y="12949"/>
                </a:cubicBezTo>
                <a:cubicBezTo>
                  <a:pt x="18604" y="13020"/>
                  <a:pt x="17853" y="12539"/>
                  <a:pt x="17484" y="12378"/>
                </a:cubicBezTo>
                <a:cubicBezTo>
                  <a:pt x="17116" y="12218"/>
                  <a:pt x="16614" y="12128"/>
                  <a:pt x="16431" y="12932"/>
                </a:cubicBezTo>
                <a:cubicBezTo>
                  <a:pt x="16246" y="13736"/>
                  <a:pt x="16800" y="16147"/>
                  <a:pt x="16984" y="17166"/>
                </a:cubicBezTo>
                <a:cubicBezTo>
                  <a:pt x="17094" y="17775"/>
                  <a:pt x="17248" y="18742"/>
                  <a:pt x="17408" y="19643"/>
                </a:cubicBezTo>
                <a:cubicBezTo>
                  <a:pt x="16139" y="20069"/>
                  <a:pt x="14660" y="20561"/>
                  <a:pt x="14242" y="20715"/>
                </a:cubicBezTo>
                <a:cubicBezTo>
                  <a:pt x="13545" y="20964"/>
                  <a:pt x="12887" y="21318"/>
                  <a:pt x="12344" y="20801"/>
                </a:cubicBezTo>
                <a:cubicBezTo>
                  <a:pt x="11806" y="20286"/>
                  <a:pt x="12018" y="19391"/>
                  <a:pt x="12147" y="18822"/>
                </a:cubicBezTo>
                <a:cubicBezTo>
                  <a:pt x="12280" y="18248"/>
                  <a:pt x="12873" y="17537"/>
                  <a:pt x="12779" y="15981"/>
                </a:cubicBezTo>
                <a:cubicBezTo>
                  <a:pt x="12689" y="14427"/>
                  <a:pt x="10976" y="13893"/>
                  <a:pt x="9815" y="14177"/>
                </a:cubicBezTo>
                <a:cubicBezTo>
                  <a:pt x="8658" y="14464"/>
                  <a:pt x="7918" y="15677"/>
                  <a:pt x="7906" y="16875"/>
                </a:cubicBezTo>
                <a:cubicBezTo>
                  <a:pt x="7891" y="18070"/>
                  <a:pt x="8380" y="18481"/>
                  <a:pt x="8485" y="19464"/>
                </a:cubicBezTo>
                <a:cubicBezTo>
                  <a:pt x="8590" y="20447"/>
                  <a:pt x="8233" y="20782"/>
                  <a:pt x="7615" y="20944"/>
                </a:cubicBezTo>
                <a:cubicBezTo>
                  <a:pt x="6997" y="21106"/>
                  <a:pt x="5739" y="20682"/>
                  <a:pt x="5127" y="20361"/>
                </a:cubicBezTo>
                <a:cubicBezTo>
                  <a:pt x="4825" y="20203"/>
                  <a:pt x="4327" y="19934"/>
                  <a:pt x="3859" y="19643"/>
                </a:cubicBezTo>
                <a:cubicBezTo>
                  <a:pt x="4273" y="18216"/>
                  <a:pt x="4598" y="16901"/>
                  <a:pt x="4748" y="16165"/>
                </a:cubicBezTo>
                <a:cubicBezTo>
                  <a:pt x="4917" y="15325"/>
                  <a:pt x="5066" y="14574"/>
                  <a:pt x="4864" y="13805"/>
                </a:cubicBezTo>
                <a:cubicBezTo>
                  <a:pt x="4691" y="13150"/>
                  <a:pt x="4127" y="12969"/>
                  <a:pt x="3493" y="13268"/>
                </a:cubicBezTo>
                <a:cubicBezTo>
                  <a:pt x="2888" y="13554"/>
                  <a:pt x="2305" y="14266"/>
                  <a:pt x="1175" y="13840"/>
                </a:cubicBezTo>
                <a:cubicBezTo>
                  <a:pt x="134" y="13446"/>
                  <a:pt x="-130" y="11413"/>
                  <a:pt x="54" y="9678"/>
                </a:cubicBezTo>
                <a:cubicBezTo>
                  <a:pt x="240" y="7948"/>
                  <a:pt x="943" y="7226"/>
                  <a:pt x="1991" y="7395"/>
                </a:cubicBezTo>
                <a:cubicBezTo>
                  <a:pt x="2568" y="7487"/>
                  <a:pt x="3072" y="8232"/>
                  <a:pt x="3876" y="7875"/>
                </a:cubicBezTo>
                <a:cubicBezTo>
                  <a:pt x="4678" y="7518"/>
                  <a:pt x="4552" y="5654"/>
                  <a:pt x="4402" y="4626"/>
                </a:cubicBezTo>
                <a:cubicBezTo>
                  <a:pt x="4210" y="3306"/>
                  <a:pt x="4023" y="2292"/>
                  <a:pt x="3859" y="1283"/>
                </a:cubicBezTo>
                <a:cubicBezTo>
                  <a:pt x="4769" y="923"/>
                  <a:pt x="5756" y="581"/>
                  <a:pt x="6522" y="326"/>
                </a:cubicBezTo>
                <a:cubicBezTo>
                  <a:pt x="8341" y="-282"/>
                  <a:pt x="8960" y="58"/>
                  <a:pt x="9118" y="558"/>
                </a:cubicBezTo>
                <a:cubicBezTo>
                  <a:pt x="9275" y="1058"/>
                  <a:pt x="9064" y="1664"/>
                  <a:pt x="8827" y="2308"/>
                </a:cubicBezTo>
                <a:cubicBezTo>
                  <a:pt x="8590" y="2951"/>
                  <a:pt x="8209" y="3451"/>
                  <a:pt x="8500" y="5022"/>
                </a:cubicBezTo>
                <a:cubicBezTo>
                  <a:pt x="8788" y="6594"/>
                  <a:pt x="10567" y="7219"/>
                  <a:pt x="11884" y="6395"/>
                </a:cubicBezTo>
                <a:cubicBezTo>
                  <a:pt x="13202" y="5575"/>
                  <a:pt x="13190" y="3896"/>
                  <a:pt x="12977" y="3148"/>
                </a:cubicBezTo>
                <a:cubicBezTo>
                  <a:pt x="12768" y="2397"/>
                  <a:pt x="12384" y="1183"/>
                  <a:pt x="12650" y="470"/>
                </a:cubicBezTo>
                <a:cubicBezTo>
                  <a:pt x="12913" y="-245"/>
                  <a:pt x="14830" y="133"/>
                  <a:pt x="15857" y="534"/>
                </a:cubicBezTo>
                <a:cubicBezTo>
                  <a:pt x="16125" y="639"/>
                  <a:pt x="16721" y="926"/>
                  <a:pt x="17408" y="1283"/>
                </a:cubicBezTo>
                <a:cubicBezTo>
                  <a:pt x="17081" y="2532"/>
                  <a:pt x="16549" y="4563"/>
                  <a:pt x="16404" y="5843"/>
                </a:cubicBezTo>
                <a:cubicBezTo>
                  <a:pt x="16210" y="7558"/>
                  <a:pt x="16587" y="7817"/>
                  <a:pt x="17289" y="7672"/>
                </a:cubicBezTo>
                <a:cubicBezTo>
                  <a:pt x="18068" y="7512"/>
                  <a:pt x="18114" y="6456"/>
                  <a:pt x="19406" y="6547"/>
                </a:cubicBezTo>
                <a:cubicBezTo>
                  <a:pt x="20913" y="6655"/>
                  <a:pt x="21470" y="8677"/>
                  <a:pt x="21147" y="10699"/>
                </a:cubicBezTo>
                <a:close/>
                <a:moveTo>
                  <a:pt x="21147" y="10699"/>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1" name="AutoShape 29"/>
          <p:cNvSpPr>
            <a:spLocks/>
          </p:cNvSpPr>
          <p:nvPr/>
        </p:nvSpPr>
        <p:spPr bwMode="auto">
          <a:xfrm>
            <a:off x="5815294" y="1976750"/>
            <a:ext cx="634136" cy="868197"/>
          </a:xfrm>
          <a:custGeom>
            <a:avLst/>
            <a:gdLst/>
            <a:ahLst/>
            <a:cxnLst/>
            <a:rect l="0" t="0" r="r" b="b"/>
            <a:pathLst>
              <a:path w="21441" h="21118">
                <a:moveTo>
                  <a:pt x="21129" y="14681"/>
                </a:moveTo>
                <a:cubicBezTo>
                  <a:pt x="20910" y="15210"/>
                  <a:pt x="20435" y="16155"/>
                  <a:pt x="19829" y="17181"/>
                </a:cubicBezTo>
                <a:cubicBezTo>
                  <a:pt x="18822" y="16924"/>
                  <a:pt x="17950" y="16719"/>
                  <a:pt x="17561" y="16644"/>
                </a:cubicBezTo>
                <a:cubicBezTo>
                  <a:pt x="16059" y="16356"/>
                  <a:pt x="13257" y="16084"/>
                  <a:pt x="12869" y="16597"/>
                </a:cubicBezTo>
                <a:cubicBezTo>
                  <a:pt x="12483" y="17110"/>
                  <a:pt x="13041" y="17983"/>
                  <a:pt x="13351" y="18523"/>
                </a:cubicBezTo>
                <a:cubicBezTo>
                  <a:pt x="13662" y="19061"/>
                  <a:pt x="13676" y="20268"/>
                  <a:pt x="11753" y="20857"/>
                </a:cubicBezTo>
                <a:cubicBezTo>
                  <a:pt x="9827" y="21448"/>
                  <a:pt x="7226" y="21000"/>
                  <a:pt x="6801" y="19870"/>
                </a:cubicBezTo>
                <a:cubicBezTo>
                  <a:pt x="6378" y="18740"/>
                  <a:pt x="6936" y="18381"/>
                  <a:pt x="7283" y="17918"/>
                </a:cubicBezTo>
                <a:cubicBezTo>
                  <a:pt x="7630" y="17455"/>
                  <a:pt x="7938" y="17021"/>
                  <a:pt x="7708" y="16662"/>
                </a:cubicBezTo>
                <a:cubicBezTo>
                  <a:pt x="7476" y="16300"/>
                  <a:pt x="6569" y="16058"/>
                  <a:pt x="3911" y="16494"/>
                </a:cubicBezTo>
                <a:cubicBezTo>
                  <a:pt x="2793" y="16679"/>
                  <a:pt x="1350" y="16923"/>
                  <a:pt x="18" y="17181"/>
                </a:cubicBezTo>
                <a:cubicBezTo>
                  <a:pt x="-6" y="15063"/>
                  <a:pt x="-6" y="5939"/>
                  <a:pt x="18" y="3982"/>
                </a:cubicBezTo>
                <a:cubicBezTo>
                  <a:pt x="703" y="4192"/>
                  <a:pt x="1431" y="4385"/>
                  <a:pt x="1875" y="4498"/>
                </a:cubicBezTo>
                <a:cubicBezTo>
                  <a:pt x="2768" y="4729"/>
                  <a:pt x="4605" y="5034"/>
                  <a:pt x="5512" y="4918"/>
                </a:cubicBezTo>
                <a:cubicBezTo>
                  <a:pt x="6416" y="4802"/>
                  <a:pt x="6936" y="4559"/>
                  <a:pt x="6783" y="3852"/>
                </a:cubicBezTo>
                <a:cubicBezTo>
                  <a:pt x="6626" y="3147"/>
                  <a:pt x="5915" y="2851"/>
                  <a:pt x="5933" y="1991"/>
                </a:cubicBezTo>
                <a:cubicBezTo>
                  <a:pt x="5954" y="1131"/>
                  <a:pt x="7032" y="259"/>
                  <a:pt x="8728" y="53"/>
                </a:cubicBezTo>
                <a:cubicBezTo>
                  <a:pt x="10425" y="-152"/>
                  <a:pt x="12926" y="232"/>
                  <a:pt x="13061" y="1349"/>
                </a:cubicBezTo>
                <a:cubicBezTo>
                  <a:pt x="13198" y="2467"/>
                  <a:pt x="12332" y="2980"/>
                  <a:pt x="12136" y="3391"/>
                </a:cubicBezTo>
                <a:cubicBezTo>
                  <a:pt x="11945" y="3801"/>
                  <a:pt x="11638" y="4443"/>
                  <a:pt x="12426" y="4815"/>
                </a:cubicBezTo>
                <a:cubicBezTo>
                  <a:pt x="13215" y="5187"/>
                  <a:pt x="14181" y="4931"/>
                  <a:pt x="15200" y="4752"/>
                </a:cubicBezTo>
                <a:cubicBezTo>
                  <a:pt x="15810" y="4643"/>
                  <a:pt x="17973" y="4288"/>
                  <a:pt x="19829" y="3982"/>
                </a:cubicBezTo>
                <a:cubicBezTo>
                  <a:pt x="20069" y="4708"/>
                  <a:pt x="20342" y="5437"/>
                  <a:pt x="20623" y="6386"/>
                </a:cubicBezTo>
                <a:cubicBezTo>
                  <a:pt x="20842" y="7125"/>
                  <a:pt x="21027" y="8465"/>
                  <a:pt x="19854" y="8722"/>
                </a:cubicBezTo>
                <a:cubicBezTo>
                  <a:pt x="18679" y="8978"/>
                  <a:pt x="17942" y="8443"/>
                  <a:pt x="17098" y="8376"/>
                </a:cubicBezTo>
                <a:cubicBezTo>
                  <a:pt x="15565" y="8255"/>
                  <a:pt x="14537" y="8774"/>
                  <a:pt x="14266" y="10018"/>
                </a:cubicBezTo>
                <a:cubicBezTo>
                  <a:pt x="13997" y="11265"/>
                  <a:pt x="14383" y="12726"/>
                  <a:pt x="15905" y="13009"/>
                </a:cubicBezTo>
                <a:cubicBezTo>
                  <a:pt x="17557" y="13316"/>
                  <a:pt x="18409" y="12804"/>
                  <a:pt x="19295" y="12599"/>
                </a:cubicBezTo>
                <a:cubicBezTo>
                  <a:pt x="20221" y="12383"/>
                  <a:pt x="21046" y="12514"/>
                  <a:pt x="21298" y="12984"/>
                </a:cubicBezTo>
                <a:cubicBezTo>
                  <a:pt x="21594" y="13537"/>
                  <a:pt x="21375" y="14077"/>
                  <a:pt x="21129" y="14681"/>
                </a:cubicBezTo>
                <a:close/>
                <a:moveTo>
                  <a:pt x="21129" y="1468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2" name="AutoShape 30"/>
          <p:cNvSpPr>
            <a:spLocks/>
          </p:cNvSpPr>
          <p:nvPr/>
        </p:nvSpPr>
        <p:spPr bwMode="auto">
          <a:xfrm>
            <a:off x="6356865" y="1588043"/>
            <a:ext cx="678346" cy="704531"/>
          </a:xfrm>
          <a:custGeom>
            <a:avLst/>
            <a:gdLst/>
            <a:ahLst/>
            <a:cxnLst/>
            <a:rect l="0" t="0" r="r" b="b"/>
            <a:pathLst>
              <a:path w="21264" h="21189">
                <a:moveTo>
                  <a:pt x="20976" y="13232"/>
                </a:moveTo>
                <a:cubicBezTo>
                  <a:pt x="20774" y="13886"/>
                  <a:pt x="20334" y="15053"/>
                  <a:pt x="19772" y="16323"/>
                </a:cubicBezTo>
                <a:cubicBezTo>
                  <a:pt x="18841" y="16005"/>
                  <a:pt x="18034" y="15751"/>
                  <a:pt x="17672" y="15658"/>
                </a:cubicBezTo>
                <a:cubicBezTo>
                  <a:pt x="16281" y="15301"/>
                  <a:pt x="13686" y="14965"/>
                  <a:pt x="13330" y="15600"/>
                </a:cubicBezTo>
                <a:cubicBezTo>
                  <a:pt x="12970" y="16234"/>
                  <a:pt x="13490" y="17313"/>
                  <a:pt x="13773" y="17980"/>
                </a:cubicBezTo>
                <a:cubicBezTo>
                  <a:pt x="14062" y="18645"/>
                  <a:pt x="14078" y="20137"/>
                  <a:pt x="12293" y="20866"/>
                </a:cubicBezTo>
                <a:cubicBezTo>
                  <a:pt x="10511" y="21598"/>
                  <a:pt x="8103" y="21043"/>
                  <a:pt x="7712" y="19645"/>
                </a:cubicBezTo>
                <a:cubicBezTo>
                  <a:pt x="7318" y="18249"/>
                  <a:pt x="7834" y="17805"/>
                  <a:pt x="8156" y="17234"/>
                </a:cubicBezTo>
                <a:cubicBezTo>
                  <a:pt x="8476" y="16661"/>
                  <a:pt x="8762" y="16123"/>
                  <a:pt x="8549" y="15679"/>
                </a:cubicBezTo>
                <a:cubicBezTo>
                  <a:pt x="8335" y="15234"/>
                  <a:pt x="7497" y="14932"/>
                  <a:pt x="5036" y="15473"/>
                </a:cubicBezTo>
                <a:cubicBezTo>
                  <a:pt x="3998" y="15699"/>
                  <a:pt x="2662" y="16004"/>
                  <a:pt x="1431" y="16323"/>
                </a:cubicBezTo>
                <a:cubicBezTo>
                  <a:pt x="1214" y="15522"/>
                  <a:pt x="1005" y="14663"/>
                  <a:pt x="856" y="14120"/>
                </a:cubicBezTo>
                <a:cubicBezTo>
                  <a:pt x="604" y="13215"/>
                  <a:pt x="-146" y="11072"/>
                  <a:pt x="107" y="10359"/>
                </a:cubicBezTo>
                <a:cubicBezTo>
                  <a:pt x="355" y="9644"/>
                  <a:pt x="1031" y="9724"/>
                  <a:pt x="1534" y="9865"/>
                </a:cubicBezTo>
                <a:cubicBezTo>
                  <a:pt x="2033" y="10009"/>
                  <a:pt x="3049" y="10437"/>
                  <a:pt x="3993" y="10373"/>
                </a:cubicBezTo>
                <a:cubicBezTo>
                  <a:pt x="4938" y="10310"/>
                  <a:pt x="6105" y="9972"/>
                  <a:pt x="6490" y="8375"/>
                </a:cubicBezTo>
                <a:cubicBezTo>
                  <a:pt x="6927" y="6576"/>
                  <a:pt x="6173" y="4780"/>
                  <a:pt x="4132" y="4683"/>
                </a:cubicBezTo>
                <a:cubicBezTo>
                  <a:pt x="2386" y="4604"/>
                  <a:pt x="2321" y="5542"/>
                  <a:pt x="1269" y="5683"/>
                </a:cubicBezTo>
                <a:cubicBezTo>
                  <a:pt x="318" y="5813"/>
                  <a:pt x="-193" y="5583"/>
                  <a:pt x="68" y="4058"/>
                </a:cubicBezTo>
                <a:cubicBezTo>
                  <a:pt x="267" y="2921"/>
                  <a:pt x="986" y="1115"/>
                  <a:pt x="1431" y="6"/>
                </a:cubicBezTo>
                <a:cubicBezTo>
                  <a:pt x="5124" y="-2"/>
                  <a:pt x="15143" y="-2"/>
                  <a:pt x="19772" y="6"/>
                </a:cubicBezTo>
                <a:cubicBezTo>
                  <a:pt x="19994" y="902"/>
                  <a:pt x="20246" y="1804"/>
                  <a:pt x="20508" y="2977"/>
                </a:cubicBezTo>
                <a:cubicBezTo>
                  <a:pt x="20712" y="3890"/>
                  <a:pt x="20883" y="5547"/>
                  <a:pt x="19794" y="5865"/>
                </a:cubicBezTo>
                <a:cubicBezTo>
                  <a:pt x="18706" y="6182"/>
                  <a:pt x="18025" y="5519"/>
                  <a:pt x="17244" y="5438"/>
                </a:cubicBezTo>
                <a:cubicBezTo>
                  <a:pt x="15823" y="5287"/>
                  <a:pt x="14872" y="5929"/>
                  <a:pt x="14621" y="7468"/>
                </a:cubicBezTo>
                <a:cubicBezTo>
                  <a:pt x="14371" y="9007"/>
                  <a:pt x="14729" y="10816"/>
                  <a:pt x="16139" y="11165"/>
                </a:cubicBezTo>
                <a:cubicBezTo>
                  <a:pt x="17668" y="11543"/>
                  <a:pt x="18458" y="10912"/>
                  <a:pt x="19277" y="10657"/>
                </a:cubicBezTo>
                <a:cubicBezTo>
                  <a:pt x="20134" y="10390"/>
                  <a:pt x="20898" y="10553"/>
                  <a:pt x="21131" y="11133"/>
                </a:cubicBezTo>
                <a:cubicBezTo>
                  <a:pt x="21407" y="11818"/>
                  <a:pt x="21205" y="12485"/>
                  <a:pt x="20976" y="13232"/>
                </a:cubicBezTo>
                <a:close/>
                <a:moveTo>
                  <a:pt x="20976" y="13232"/>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3" name="AutoShape 31"/>
          <p:cNvSpPr>
            <a:spLocks/>
          </p:cNvSpPr>
          <p:nvPr/>
        </p:nvSpPr>
        <p:spPr bwMode="auto">
          <a:xfrm>
            <a:off x="5815294" y="2641643"/>
            <a:ext cx="751568" cy="580503"/>
          </a:xfrm>
          <a:custGeom>
            <a:avLst/>
            <a:gdLst/>
            <a:ahLst/>
            <a:cxnLst/>
            <a:rect l="0" t="0" r="r" b="b"/>
            <a:pathLst>
              <a:path w="21301" h="21296">
                <a:moveTo>
                  <a:pt x="21193" y="11601"/>
                </a:moveTo>
                <a:cubicBezTo>
                  <a:pt x="20845" y="13547"/>
                  <a:pt x="19789" y="13960"/>
                  <a:pt x="18933" y="14040"/>
                </a:cubicBezTo>
                <a:cubicBezTo>
                  <a:pt x="18079" y="14114"/>
                  <a:pt x="17159" y="13595"/>
                  <a:pt x="16707" y="13419"/>
                </a:cubicBezTo>
                <a:cubicBezTo>
                  <a:pt x="16252" y="13246"/>
                  <a:pt x="15640" y="13149"/>
                  <a:pt x="15415" y="14020"/>
                </a:cubicBezTo>
                <a:cubicBezTo>
                  <a:pt x="15186" y="14890"/>
                  <a:pt x="15865" y="17506"/>
                  <a:pt x="16093" y="18608"/>
                </a:cubicBezTo>
                <a:cubicBezTo>
                  <a:pt x="16228" y="19271"/>
                  <a:pt x="16417" y="20320"/>
                  <a:pt x="16613" y="21296"/>
                </a:cubicBezTo>
                <a:cubicBezTo>
                  <a:pt x="13356" y="21285"/>
                  <a:pt x="10" y="21296"/>
                  <a:pt x="10" y="21296"/>
                </a:cubicBezTo>
                <a:cubicBezTo>
                  <a:pt x="10" y="21296"/>
                  <a:pt x="-11" y="4217"/>
                  <a:pt x="10" y="1390"/>
                </a:cubicBezTo>
                <a:cubicBezTo>
                  <a:pt x="1126" y="1000"/>
                  <a:pt x="2335" y="631"/>
                  <a:pt x="3272" y="352"/>
                </a:cubicBezTo>
                <a:cubicBezTo>
                  <a:pt x="5499" y="-304"/>
                  <a:pt x="6260" y="60"/>
                  <a:pt x="6454" y="606"/>
                </a:cubicBezTo>
                <a:cubicBezTo>
                  <a:pt x="6647" y="1148"/>
                  <a:pt x="6389" y="1802"/>
                  <a:pt x="6098" y="2500"/>
                </a:cubicBezTo>
                <a:cubicBezTo>
                  <a:pt x="5808" y="3199"/>
                  <a:pt x="5340" y="3740"/>
                  <a:pt x="5694" y="5445"/>
                </a:cubicBezTo>
                <a:cubicBezTo>
                  <a:pt x="6050" y="7149"/>
                  <a:pt x="8230" y="7824"/>
                  <a:pt x="9844" y="6933"/>
                </a:cubicBezTo>
                <a:cubicBezTo>
                  <a:pt x="11456" y="6045"/>
                  <a:pt x="11445" y="4225"/>
                  <a:pt x="11184" y="3412"/>
                </a:cubicBezTo>
                <a:cubicBezTo>
                  <a:pt x="10924" y="2599"/>
                  <a:pt x="10456" y="1282"/>
                  <a:pt x="10780" y="509"/>
                </a:cubicBezTo>
                <a:cubicBezTo>
                  <a:pt x="11105" y="-266"/>
                  <a:pt x="13453" y="144"/>
                  <a:pt x="14712" y="579"/>
                </a:cubicBezTo>
                <a:cubicBezTo>
                  <a:pt x="15038" y="692"/>
                  <a:pt x="15769" y="1001"/>
                  <a:pt x="16613" y="1390"/>
                </a:cubicBezTo>
                <a:cubicBezTo>
                  <a:pt x="16211" y="2744"/>
                  <a:pt x="15560" y="4948"/>
                  <a:pt x="15380" y="6335"/>
                </a:cubicBezTo>
                <a:cubicBezTo>
                  <a:pt x="15144" y="8195"/>
                  <a:pt x="15606" y="8474"/>
                  <a:pt x="16467" y="8318"/>
                </a:cubicBezTo>
                <a:cubicBezTo>
                  <a:pt x="17419" y="8144"/>
                  <a:pt x="17478" y="6998"/>
                  <a:pt x="19059" y="7098"/>
                </a:cubicBezTo>
                <a:cubicBezTo>
                  <a:pt x="20906" y="7216"/>
                  <a:pt x="21589" y="9405"/>
                  <a:pt x="21193" y="11601"/>
                </a:cubicBezTo>
                <a:close/>
                <a:moveTo>
                  <a:pt x="21193" y="1160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4" name="AutoShape 32"/>
          <p:cNvSpPr>
            <a:spLocks/>
          </p:cNvSpPr>
          <p:nvPr/>
        </p:nvSpPr>
        <p:spPr bwMode="auto">
          <a:xfrm>
            <a:off x="6356865" y="2518892"/>
            <a:ext cx="678346" cy="705810"/>
          </a:xfrm>
          <a:custGeom>
            <a:avLst/>
            <a:gdLst/>
            <a:ahLst/>
            <a:cxnLst/>
            <a:rect l="0" t="0" r="r" b="b"/>
            <a:pathLst>
              <a:path w="21264" h="21406">
                <a:moveTo>
                  <a:pt x="20976" y="18279"/>
                </a:moveTo>
                <a:cubicBezTo>
                  <a:pt x="20774" y="18937"/>
                  <a:pt x="20334" y="20115"/>
                  <a:pt x="19772" y="21392"/>
                </a:cubicBezTo>
                <a:cubicBezTo>
                  <a:pt x="16947" y="21411"/>
                  <a:pt x="3899" y="21411"/>
                  <a:pt x="1431" y="21392"/>
                </a:cubicBezTo>
                <a:cubicBezTo>
                  <a:pt x="1214" y="20586"/>
                  <a:pt x="1005" y="19720"/>
                  <a:pt x="856" y="19173"/>
                </a:cubicBezTo>
                <a:cubicBezTo>
                  <a:pt x="604" y="18263"/>
                  <a:pt x="-146" y="16103"/>
                  <a:pt x="107" y="15385"/>
                </a:cubicBezTo>
                <a:cubicBezTo>
                  <a:pt x="355" y="14666"/>
                  <a:pt x="1031" y="14746"/>
                  <a:pt x="1534" y="14889"/>
                </a:cubicBezTo>
                <a:cubicBezTo>
                  <a:pt x="2033" y="15034"/>
                  <a:pt x="3049" y="15463"/>
                  <a:pt x="3993" y="15401"/>
                </a:cubicBezTo>
                <a:cubicBezTo>
                  <a:pt x="4938" y="15336"/>
                  <a:pt x="6105" y="14995"/>
                  <a:pt x="6490" y="13388"/>
                </a:cubicBezTo>
                <a:cubicBezTo>
                  <a:pt x="6927" y="11575"/>
                  <a:pt x="6173" y="9768"/>
                  <a:pt x="4132" y="9671"/>
                </a:cubicBezTo>
                <a:cubicBezTo>
                  <a:pt x="2386" y="9588"/>
                  <a:pt x="2321" y="10534"/>
                  <a:pt x="1269" y="10678"/>
                </a:cubicBezTo>
                <a:cubicBezTo>
                  <a:pt x="318" y="10806"/>
                  <a:pt x="-193" y="10576"/>
                  <a:pt x="68" y="9041"/>
                </a:cubicBezTo>
                <a:cubicBezTo>
                  <a:pt x="267" y="7896"/>
                  <a:pt x="986" y="6076"/>
                  <a:pt x="1431" y="4958"/>
                </a:cubicBezTo>
                <a:cubicBezTo>
                  <a:pt x="2063" y="5218"/>
                  <a:pt x="2739" y="5459"/>
                  <a:pt x="3147" y="5600"/>
                </a:cubicBezTo>
                <a:cubicBezTo>
                  <a:pt x="3976" y="5888"/>
                  <a:pt x="5678" y="6267"/>
                  <a:pt x="6515" y="6123"/>
                </a:cubicBezTo>
                <a:cubicBezTo>
                  <a:pt x="7352" y="5978"/>
                  <a:pt x="7834" y="5678"/>
                  <a:pt x="7692" y="4798"/>
                </a:cubicBezTo>
                <a:cubicBezTo>
                  <a:pt x="7550" y="3918"/>
                  <a:pt x="6889" y="3550"/>
                  <a:pt x="6909" y="2480"/>
                </a:cubicBezTo>
                <a:cubicBezTo>
                  <a:pt x="6925" y="1408"/>
                  <a:pt x="7926" y="322"/>
                  <a:pt x="9493" y="65"/>
                </a:cubicBezTo>
                <a:cubicBezTo>
                  <a:pt x="11064" y="-189"/>
                  <a:pt x="13384" y="290"/>
                  <a:pt x="13505" y="1680"/>
                </a:cubicBezTo>
                <a:cubicBezTo>
                  <a:pt x="13632" y="3073"/>
                  <a:pt x="12830" y="3710"/>
                  <a:pt x="12649" y="4223"/>
                </a:cubicBezTo>
                <a:cubicBezTo>
                  <a:pt x="12474" y="4732"/>
                  <a:pt x="12187" y="5533"/>
                  <a:pt x="12917" y="5995"/>
                </a:cubicBezTo>
                <a:cubicBezTo>
                  <a:pt x="13651" y="6457"/>
                  <a:pt x="14542" y="6140"/>
                  <a:pt x="15485" y="5917"/>
                </a:cubicBezTo>
                <a:cubicBezTo>
                  <a:pt x="16052" y="5780"/>
                  <a:pt x="18053" y="5340"/>
                  <a:pt x="19772" y="4958"/>
                </a:cubicBezTo>
                <a:cubicBezTo>
                  <a:pt x="19994" y="5862"/>
                  <a:pt x="20246" y="6770"/>
                  <a:pt x="20508" y="7950"/>
                </a:cubicBezTo>
                <a:cubicBezTo>
                  <a:pt x="20712" y="8870"/>
                  <a:pt x="20883" y="10540"/>
                  <a:pt x="19794" y="10860"/>
                </a:cubicBezTo>
                <a:cubicBezTo>
                  <a:pt x="18706" y="11178"/>
                  <a:pt x="18025" y="10510"/>
                  <a:pt x="17244" y="10430"/>
                </a:cubicBezTo>
                <a:cubicBezTo>
                  <a:pt x="15823" y="10277"/>
                  <a:pt x="14872" y="10924"/>
                  <a:pt x="14621" y="12472"/>
                </a:cubicBezTo>
                <a:cubicBezTo>
                  <a:pt x="14371" y="14024"/>
                  <a:pt x="14729" y="15845"/>
                  <a:pt x="16139" y="16197"/>
                </a:cubicBezTo>
                <a:cubicBezTo>
                  <a:pt x="17668" y="16578"/>
                  <a:pt x="18458" y="15941"/>
                  <a:pt x="19277" y="15687"/>
                </a:cubicBezTo>
                <a:cubicBezTo>
                  <a:pt x="20134" y="15418"/>
                  <a:pt x="20898" y="15581"/>
                  <a:pt x="21131" y="16166"/>
                </a:cubicBezTo>
                <a:cubicBezTo>
                  <a:pt x="21407" y="16855"/>
                  <a:pt x="21205" y="17528"/>
                  <a:pt x="20976" y="18279"/>
                </a:cubicBezTo>
                <a:close/>
                <a:moveTo>
                  <a:pt x="20976" y="18279"/>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5" name="AutoShape 33"/>
          <p:cNvSpPr>
            <a:spLocks/>
          </p:cNvSpPr>
          <p:nvPr/>
        </p:nvSpPr>
        <p:spPr bwMode="auto">
          <a:xfrm>
            <a:off x="6821069" y="2641643"/>
            <a:ext cx="752950" cy="580503"/>
          </a:xfrm>
          <a:custGeom>
            <a:avLst/>
            <a:gdLst/>
            <a:ahLst/>
            <a:cxnLst/>
            <a:rect l="0" t="0" r="r" b="b"/>
            <a:pathLst>
              <a:path w="21437" h="21283">
                <a:moveTo>
                  <a:pt x="21436" y="21272"/>
                </a:moveTo>
                <a:cubicBezTo>
                  <a:pt x="21436" y="21272"/>
                  <a:pt x="8522" y="21296"/>
                  <a:pt x="4752" y="21272"/>
                </a:cubicBezTo>
                <a:cubicBezTo>
                  <a:pt x="5264" y="19727"/>
                  <a:pt x="5664" y="18302"/>
                  <a:pt x="5848" y="17506"/>
                </a:cubicBezTo>
                <a:cubicBezTo>
                  <a:pt x="6056" y="16598"/>
                  <a:pt x="6240" y="15782"/>
                  <a:pt x="5989" y="14949"/>
                </a:cubicBezTo>
                <a:cubicBezTo>
                  <a:pt x="5776" y="14241"/>
                  <a:pt x="5082" y="14044"/>
                  <a:pt x="4302" y="14369"/>
                </a:cubicBezTo>
                <a:cubicBezTo>
                  <a:pt x="3557" y="14677"/>
                  <a:pt x="2839" y="15447"/>
                  <a:pt x="1448" y="14986"/>
                </a:cubicBezTo>
                <a:cubicBezTo>
                  <a:pt x="165" y="14560"/>
                  <a:pt x="-160" y="12357"/>
                  <a:pt x="67" y="10480"/>
                </a:cubicBezTo>
                <a:cubicBezTo>
                  <a:pt x="296" y="8607"/>
                  <a:pt x="1160" y="7824"/>
                  <a:pt x="2453" y="8008"/>
                </a:cubicBezTo>
                <a:cubicBezTo>
                  <a:pt x="3163" y="8106"/>
                  <a:pt x="3783" y="8913"/>
                  <a:pt x="4773" y="8529"/>
                </a:cubicBezTo>
                <a:cubicBezTo>
                  <a:pt x="5763" y="8141"/>
                  <a:pt x="5607" y="6121"/>
                  <a:pt x="5422" y="5008"/>
                </a:cubicBezTo>
                <a:cubicBezTo>
                  <a:pt x="5184" y="3580"/>
                  <a:pt x="4955" y="2482"/>
                  <a:pt x="4752" y="1388"/>
                </a:cubicBezTo>
                <a:cubicBezTo>
                  <a:pt x="5872" y="998"/>
                  <a:pt x="7088" y="630"/>
                  <a:pt x="8031" y="352"/>
                </a:cubicBezTo>
                <a:cubicBezTo>
                  <a:pt x="10271" y="-304"/>
                  <a:pt x="11033" y="60"/>
                  <a:pt x="11228" y="605"/>
                </a:cubicBezTo>
                <a:cubicBezTo>
                  <a:pt x="11421" y="1146"/>
                  <a:pt x="11163" y="1800"/>
                  <a:pt x="10870" y="2497"/>
                </a:cubicBezTo>
                <a:cubicBezTo>
                  <a:pt x="10578" y="3195"/>
                  <a:pt x="10107" y="3736"/>
                  <a:pt x="10466" y="5438"/>
                </a:cubicBezTo>
                <a:cubicBezTo>
                  <a:pt x="10822" y="7141"/>
                  <a:pt x="13013" y="7815"/>
                  <a:pt x="14634" y="6925"/>
                </a:cubicBezTo>
                <a:cubicBezTo>
                  <a:pt x="16257" y="6038"/>
                  <a:pt x="16241" y="4219"/>
                  <a:pt x="15982" y="3408"/>
                </a:cubicBezTo>
                <a:cubicBezTo>
                  <a:pt x="15721" y="2596"/>
                  <a:pt x="15250" y="1280"/>
                  <a:pt x="15576" y="508"/>
                </a:cubicBezTo>
                <a:cubicBezTo>
                  <a:pt x="15899" y="-266"/>
                  <a:pt x="18263" y="144"/>
                  <a:pt x="19526" y="578"/>
                </a:cubicBezTo>
                <a:cubicBezTo>
                  <a:pt x="19854" y="691"/>
                  <a:pt x="20589" y="1000"/>
                  <a:pt x="21436" y="1388"/>
                </a:cubicBezTo>
                <a:cubicBezTo>
                  <a:pt x="21440" y="4053"/>
                  <a:pt x="21436" y="21272"/>
                  <a:pt x="21436" y="21272"/>
                </a:cubicBezTo>
                <a:close/>
                <a:moveTo>
                  <a:pt x="21436" y="21272"/>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6" name="AutoShape 34"/>
          <p:cNvSpPr>
            <a:spLocks/>
          </p:cNvSpPr>
          <p:nvPr/>
        </p:nvSpPr>
        <p:spPr bwMode="auto">
          <a:xfrm>
            <a:off x="6821069" y="1588043"/>
            <a:ext cx="751568" cy="584339"/>
          </a:xfrm>
          <a:custGeom>
            <a:avLst/>
            <a:gdLst/>
            <a:ahLst/>
            <a:cxnLst/>
            <a:rect l="0" t="0" r="r" b="b"/>
            <a:pathLst>
              <a:path w="21440" h="21325">
                <a:moveTo>
                  <a:pt x="21440" y="19791"/>
                </a:moveTo>
                <a:cubicBezTo>
                  <a:pt x="19877" y="20249"/>
                  <a:pt x="18055" y="20782"/>
                  <a:pt x="17541" y="20945"/>
                </a:cubicBezTo>
                <a:cubicBezTo>
                  <a:pt x="16681" y="21213"/>
                  <a:pt x="15871" y="21597"/>
                  <a:pt x="15204" y="21039"/>
                </a:cubicBezTo>
                <a:cubicBezTo>
                  <a:pt x="14540" y="20481"/>
                  <a:pt x="14800" y="19519"/>
                  <a:pt x="14961" y="18904"/>
                </a:cubicBezTo>
                <a:cubicBezTo>
                  <a:pt x="15124" y="18288"/>
                  <a:pt x="15853" y="17519"/>
                  <a:pt x="15741" y="15843"/>
                </a:cubicBezTo>
                <a:cubicBezTo>
                  <a:pt x="15627" y="14168"/>
                  <a:pt x="13517" y="13593"/>
                  <a:pt x="12088" y="13900"/>
                </a:cubicBezTo>
                <a:cubicBezTo>
                  <a:pt x="10663" y="14209"/>
                  <a:pt x="9753" y="15517"/>
                  <a:pt x="9737" y="16806"/>
                </a:cubicBezTo>
                <a:cubicBezTo>
                  <a:pt x="9718" y="18095"/>
                  <a:pt x="10321" y="18539"/>
                  <a:pt x="10450" y="19596"/>
                </a:cubicBezTo>
                <a:cubicBezTo>
                  <a:pt x="10580" y="20656"/>
                  <a:pt x="10142" y="21019"/>
                  <a:pt x="9378" y="21194"/>
                </a:cubicBezTo>
                <a:cubicBezTo>
                  <a:pt x="8616" y="21368"/>
                  <a:pt x="7071" y="20911"/>
                  <a:pt x="6315" y="20564"/>
                </a:cubicBezTo>
                <a:cubicBezTo>
                  <a:pt x="5944" y="20395"/>
                  <a:pt x="5328" y="20105"/>
                  <a:pt x="4753" y="19791"/>
                </a:cubicBezTo>
                <a:cubicBezTo>
                  <a:pt x="5265" y="18250"/>
                  <a:pt x="5665" y="16835"/>
                  <a:pt x="5849" y="16043"/>
                </a:cubicBezTo>
                <a:cubicBezTo>
                  <a:pt x="6057" y="15136"/>
                  <a:pt x="6241" y="14327"/>
                  <a:pt x="5990" y="13497"/>
                </a:cubicBezTo>
                <a:cubicBezTo>
                  <a:pt x="5777" y="12794"/>
                  <a:pt x="5083" y="12596"/>
                  <a:pt x="4303" y="12919"/>
                </a:cubicBezTo>
                <a:cubicBezTo>
                  <a:pt x="3558" y="13229"/>
                  <a:pt x="2840" y="13994"/>
                  <a:pt x="1448" y="13535"/>
                </a:cubicBezTo>
                <a:cubicBezTo>
                  <a:pt x="165" y="13112"/>
                  <a:pt x="-160" y="10918"/>
                  <a:pt x="67" y="9052"/>
                </a:cubicBezTo>
                <a:cubicBezTo>
                  <a:pt x="296" y="7185"/>
                  <a:pt x="1161" y="6407"/>
                  <a:pt x="2454" y="6590"/>
                </a:cubicBezTo>
                <a:cubicBezTo>
                  <a:pt x="3164" y="6689"/>
                  <a:pt x="3783" y="7492"/>
                  <a:pt x="4774" y="7108"/>
                </a:cubicBezTo>
                <a:cubicBezTo>
                  <a:pt x="5764" y="6722"/>
                  <a:pt x="5608" y="4713"/>
                  <a:pt x="5423" y="3606"/>
                </a:cubicBezTo>
                <a:cubicBezTo>
                  <a:pt x="5185" y="2183"/>
                  <a:pt x="4956" y="1089"/>
                  <a:pt x="4753" y="2"/>
                </a:cubicBezTo>
                <a:cubicBezTo>
                  <a:pt x="8572" y="-3"/>
                  <a:pt x="21440" y="2"/>
                  <a:pt x="21440" y="2"/>
                </a:cubicBezTo>
                <a:cubicBezTo>
                  <a:pt x="21440" y="2"/>
                  <a:pt x="21420" y="15771"/>
                  <a:pt x="21440" y="19791"/>
                </a:cubicBezTo>
                <a:close/>
                <a:moveTo>
                  <a:pt x="21440" y="1979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7" name="AutoShape 35"/>
          <p:cNvSpPr>
            <a:spLocks/>
          </p:cNvSpPr>
          <p:nvPr/>
        </p:nvSpPr>
        <p:spPr bwMode="auto">
          <a:xfrm>
            <a:off x="6942647" y="1976750"/>
            <a:ext cx="631373" cy="868197"/>
          </a:xfrm>
          <a:custGeom>
            <a:avLst/>
            <a:gdLst/>
            <a:ahLst/>
            <a:cxnLst/>
            <a:rect l="0" t="0" r="r" b="b"/>
            <a:pathLst>
              <a:path w="21386" h="21118">
                <a:moveTo>
                  <a:pt x="21385" y="17181"/>
                </a:moveTo>
                <a:cubicBezTo>
                  <a:pt x="20378" y="16924"/>
                  <a:pt x="19504" y="16719"/>
                  <a:pt x="19114" y="16644"/>
                </a:cubicBezTo>
                <a:cubicBezTo>
                  <a:pt x="17612" y="16356"/>
                  <a:pt x="14800" y="16084"/>
                  <a:pt x="14416" y="16597"/>
                </a:cubicBezTo>
                <a:cubicBezTo>
                  <a:pt x="14029" y="17110"/>
                  <a:pt x="14588" y="17983"/>
                  <a:pt x="14899" y="18523"/>
                </a:cubicBezTo>
                <a:cubicBezTo>
                  <a:pt x="15207" y="19061"/>
                  <a:pt x="15226" y="20268"/>
                  <a:pt x="13296" y="20857"/>
                </a:cubicBezTo>
                <a:cubicBezTo>
                  <a:pt x="11369" y="21448"/>
                  <a:pt x="8763" y="21000"/>
                  <a:pt x="8340" y="19870"/>
                </a:cubicBezTo>
                <a:cubicBezTo>
                  <a:pt x="7913" y="18740"/>
                  <a:pt x="8473" y="18381"/>
                  <a:pt x="8820" y="17918"/>
                </a:cubicBezTo>
                <a:cubicBezTo>
                  <a:pt x="9168" y="17455"/>
                  <a:pt x="9475" y="17021"/>
                  <a:pt x="9245" y="16662"/>
                </a:cubicBezTo>
                <a:cubicBezTo>
                  <a:pt x="9013" y="16300"/>
                  <a:pt x="8107" y="16058"/>
                  <a:pt x="5444" y="16494"/>
                </a:cubicBezTo>
                <a:cubicBezTo>
                  <a:pt x="4322" y="16679"/>
                  <a:pt x="2876" y="16923"/>
                  <a:pt x="1544" y="17181"/>
                </a:cubicBezTo>
                <a:cubicBezTo>
                  <a:pt x="1310" y="16533"/>
                  <a:pt x="1084" y="15838"/>
                  <a:pt x="922" y="15401"/>
                </a:cubicBezTo>
                <a:cubicBezTo>
                  <a:pt x="653" y="14668"/>
                  <a:pt x="-158" y="12935"/>
                  <a:pt x="113" y="12357"/>
                </a:cubicBezTo>
                <a:cubicBezTo>
                  <a:pt x="381" y="11779"/>
                  <a:pt x="1116" y="11844"/>
                  <a:pt x="1655" y="11958"/>
                </a:cubicBezTo>
                <a:cubicBezTo>
                  <a:pt x="2196" y="12074"/>
                  <a:pt x="3295" y="12420"/>
                  <a:pt x="4316" y="12369"/>
                </a:cubicBezTo>
                <a:cubicBezTo>
                  <a:pt x="5343" y="12317"/>
                  <a:pt x="6600" y="12044"/>
                  <a:pt x="7019" y="10752"/>
                </a:cubicBezTo>
                <a:cubicBezTo>
                  <a:pt x="7492" y="9298"/>
                  <a:pt x="6676" y="7845"/>
                  <a:pt x="4469" y="7767"/>
                </a:cubicBezTo>
                <a:cubicBezTo>
                  <a:pt x="2577" y="7702"/>
                  <a:pt x="2510" y="8461"/>
                  <a:pt x="1370" y="8575"/>
                </a:cubicBezTo>
                <a:cubicBezTo>
                  <a:pt x="341" y="8680"/>
                  <a:pt x="-210" y="8494"/>
                  <a:pt x="74" y="7261"/>
                </a:cubicBezTo>
                <a:cubicBezTo>
                  <a:pt x="286" y="6340"/>
                  <a:pt x="1065" y="4880"/>
                  <a:pt x="1544" y="3982"/>
                </a:cubicBezTo>
                <a:cubicBezTo>
                  <a:pt x="2228" y="4192"/>
                  <a:pt x="2960" y="4385"/>
                  <a:pt x="3401" y="4498"/>
                </a:cubicBezTo>
                <a:cubicBezTo>
                  <a:pt x="4300" y="4729"/>
                  <a:pt x="6138" y="5034"/>
                  <a:pt x="7044" y="4918"/>
                </a:cubicBezTo>
                <a:cubicBezTo>
                  <a:pt x="7951" y="4802"/>
                  <a:pt x="8473" y="4559"/>
                  <a:pt x="8318" y="3852"/>
                </a:cubicBezTo>
                <a:cubicBezTo>
                  <a:pt x="8165" y="3147"/>
                  <a:pt x="7448" y="2851"/>
                  <a:pt x="7470" y="1991"/>
                </a:cubicBezTo>
                <a:cubicBezTo>
                  <a:pt x="7489" y="1131"/>
                  <a:pt x="8572" y="259"/>
                  <a:pt x="10266" y="53"/>
                </a:cubicBezTo>
                <a:cubicBezTo>
                  <a:pt x="11965" y="-152"/>
                  <a:pt x="14474" y="232"/>
                  <a:pt x="14609" y="1349"/>
                </a:cubicBezTo>
                <a:cubicBezTo>
                  <a:pt x="14743" y="2467"/>
                  <a:pt x="13876" y="2980"/>
                  <a:pt x="13681" y="3391"/>
                </a:cubicBezTo>
                <a:cubicBezTo>
                  <a:pt x="13490" y="3801"/>
                  <a:pt x="13181" y="4443"/>
                  <a:pt x="13971" y="4815"/>
                </a:cubicBezTo>
                <a:cubicBezTo>
                  <a:pt x="14763" y="5187"/>
                  <a:pt x="15727" y="4931"/>
                  <a:pt x="16749" y="4752"/>
                </a:cubicBezTo>
                <a:cubicBezTo>
                  <a:pt x="17360" y="4643"/>
                  <a:pt x="19526" y="4288"/>
                  <a:pt x="21385" y="3982"/>
                </a:cubicBezTo>
                <a:cubicBezTo>
                  <a:pt x="21390" y="8126"/>
                  <a:pt x="21362" y="12325"/>
                  <a:pt x="21385" y="17181"/>
                </a:cubicBezTo>
                <a:close/>
                <a:moveTo>
                  <a:pt x="21385" y="1718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8" name="AutoShape 36"/>
          <p:cNvSpPr>
            <a:spLocks/>
          </p:cNvSpPr>
          <p:nvPr/>
        </p:nvSpPr>
        <p:spPr bwMode="auto">
          <a:xfrm>
            <a:off x="2831127" y="5290986"/>
            <a:ext cx="761239" cy="592011"/>
          </a:xfrm>
          <a:custGeom>
            <a:avLst/>
            <a:gdLst/>
            <a:ahLst/>
            <a:cxnLst/>
            <a:rect l="0" t="0" r="r" b="b"/>
            <a:pathLst>
              <a:path w="21302" h="21322">
                <a:moveTo>
                  <a:pt x="21194" y="10151"/>
                </a:moveTo>
                <a:cubicBezTo>
                  <a:pt x="20843" y="12087"/>
                  <a:pt x="19789" y="12497"/>
                  <a:pt x="18932" y="12574"/>
                </a:cubicBezTo>
                <a:cubicBezTo>
                  <a:pt x="18077" y="12652"/>
                  <a:pt x="17157" y="12133"/>
                  <a:pt x="16706" y="11958"/>
                </a:cubicBezTo>
                <a:cubicBezTo>
                  <a:pt x="16253" y="11786"/>
                  <a:pt x="15640" y="11690"/>
                  <a:pt x="15414" y="12556"/>
                </a:cubicBezTo>
                <a:cubicBezTo>
                  <a:pt x="15186" y="13421"/>
                  <a:pt x="15866" y="16020"/>
                  <a:pt x="16091" y="17117"/>
                </a:cubicBezTo>
                <a:cubicBezTo>
                  <a:pt x="16228" y="17775"/>
                  <a:pt x="16417" y="18817"/>
                  <a:pt x="16613" y="19789"/>
                </a:cubicBezTo>
                <a:cubicBezTo>
                  <a:pt x="15057" y="20245"/>
                  <a:pt x="13244" y="20779"/>
                  <a:pt x="12732" y="20941"/>
                </a:cubicBezTo>
                <a:cubicBezTo>
                  <a:pt x="11878" y="21210"/>
                  <a:pt x="11071" y="21593"/>
                  <a:pt x="10408" y="21036"/>
                </a:cubicBezTo>
                <a:cubicBezTo>
                  <a:pt x="9747" y="20478"/>
                  <a:pt x="10004" y="19517"/>
                  <a:pt x="10166" y="18901"/>
                </a:cubicBezTo>
                <a:cubicBezTo>
                  <a:pt x="10328" y="18286"/>
                  <a:pt x="11054" y="17517"/>
                  <a:pt x="10941" y="15841"/>
                </a:cubicBezTo>
                <a:cubicBezTo>
                  <a:pt x="10828" y="14167"/>
                  <a:pt x="8729" y="13591"/>
                  <a:pt x="7307" y="13898"/>
                </a:cubicBezTo>
                <a:cubicBezTo>
                  <a:pt x="5888" y="14206"/>
                  <a:pt x="4983" y="15514"/>
                  <a:pt x="4967" y="16805"/>
                </a:cubicBezTo>
                <a:cubicBezTo>
                  <a:pt x="4950" y="18092"/>
                  <a:pt x="5548" y="18534"/>
                  <a:pt x="5677" y="19594"/>
                </a:cubicBezTo>
                <a:cubicBezTo>
                  <a:pt x="5807" y="20652"/>
                  <a:pt x="5370" y="21017"/>
                  <a:pt x="4612" y="21190"/>
                </a:cubicBezTo>
                <a:cubicBezTo>
                  <a:pt x="3852" y="21363"/>
                  <a:pt x="2314" y="20907"/>
                  <a:pt x="1563" y="20562"/>
                </a:cubicBezTo>
                <a:cubicBezTo>
                  <a:pt x="1193" y="20390"/>
                  <a:pt x="582" y="20101"/>
                  <a:pt x="8" y="19789"/>
                </a:cubicBezTo>
                <a:cubicBezTo>
                  <a:pt x="-11" y="12310"/>
                  <a:pt x="8" y="5"/>
                  <a:pt x="8" y="5"/>
                </a:cubicBezTo>
                <a:cubicBezTo>
                  <a:pt x="8" y="5"/>
                  <a:pt x="12400" y="-7"/>
                  <a:pt x="16613" y="5"/>
                </a:cubicBezTo>
                <a:cubicBezTo>
                  <a:pt x="16211" y="1350"/>
                  <a:pt x="15558" y="3538"/>
                  <a:pt x="15381" y="4917"/>
                </a:cubicBezTo>
                <a:cubicBezTo>
                  <a:pt x="15143" y="6765"/>
                  <a:pt x="15605" y="7044"/>
                  <a:pt x="16467" y="6888"/>
                </a:cubicBezTo>
                <a:cubicBezTo>
                  <a:pt x="17420" y="6716"/>
                  <a:pt x="17478" y="5577"/>
                  <a:pt x="19059" y="5676"/>
                </a:cubicBezTo>
                <a:cubicBezTo>
                  <a:pt x="20906" y="5792"/>
                  <a:pt x="21589" y="7971"/>
                  <a:pt x="21194" y="10151"/>
                </a:cubicBezTo>
                <a:close/>
                <a:moveTo>
                  <a:pt x="21194" y="1015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39" name="AutoShape 37"/>
          <p:cNvSpPr>
            <a:spLocks/>
          </p:cNvSpPr>
          <p:nvPr/>
        </p:nvSpPr>
        <p:spPr bwMode="auto">
          <a:xfrm>
            <a:off x="6644229" y="5290985"/>
            <a:ext cx="929790" cy="630370"/>
          </a:xfrm>
          <a:custGeom>
            <a:avLst/>
            <a:gdLst/>
            <a:ahLst/>
            <a:cxnLst/>
            <a:rect l="0" t="0" r="r" b="b"/>
            <a:pathLst>
              <a:path w="21236" h="21066">
                <a:moveTo>
                  <a:pt x="21147" y="10698"/>
                </a:moveTo>
                <a:cubicBezTo>
                  <a:pt x="20862" y="12496"/>
                  <a:pt x="20001" y="12876"/>
                  <a:pt x="19302" y="12947"/>
                </a:cubicBezTo>
                <a:cubicBezTo>
                  <a:pt x="18605" y="13019"/>
                  <a:pt x="17854" y="12538"/>
                  <a:pt x="17485" y="12376"/>
                </a:cubicBezTo>
                <a:cubicBezTo>
                  <a:pt x="17115" y="12217"/>
                  <a:pt x="16615" y="12127"/>
                  <a:pt x="16431" y="12931"/>
                </a:cubicBezTo>
                <a:cubicBezTo>
                  <a:pt x="16245" y="13733"/>
                  <a:pt x="16800" y="16146"/>
                  <a:pt x="16984" y="17163"/>
                </a:cubicBezTo>
                <a:cubicBezTo>
                  <a:pt x="17095" y="17774"/>
                  <a:pt x="17249" y="18741"/>
                  <a:pt x="17409" y="19643"/>
                </a:cubicBezTo>
                <a:cubicBezTo>
                  <a:pt x="16140" y="20067"/>
                  <a:pt x="14660" y="20561"/>
                  <a:pt x="14242" y="20712"/>
                </a:cubicBezTo>
                <a:cubicBezTo>
                  <a:pt x="13545" y="20961"/>
                  <a:pt x="12886" y="21318"/>
                  <a:pt x="12345" y="20800"/>
                </a:cubicBezTo>
                <a:cubicBezTo>
                  <a:pt x="11806" y="20282"/>
                  <a:pt x="12016" y="19389"/>
                  <a:pt x="12147" y="18820"/>
                </a:cubicBezTo>
                <a:cubicBezTo>
                  <a:pt x="12280" y="18247"/>
                  <a:pt x="12872" y="17534"/>
                  <a:pt x="12780" y="15979"/>
                </a:cubicBezTo>
                <a:cubicBezTo>
                  <a:pt x="12688" y="14425"/>
                  <a:pt x="10975" y="13891"/>
                  <a:pt x="9816" y="14176"/>
                </a:cubicBezTo>
                <a:cubicBezTo>
                  <a:pt x="8657" y="14463"/>
                  <a:pt x="7918" y="15677"/>
                  <a:pt x="7905" y="16872"/>
                </a:cubicBezTo>
                <a:cubicBezTo>
                  <a:pt x="7891" y="18068"/>
                  <a:pt x="8380" y="18479"/>
                  <a:pt x="8485" y="19461"/>
                </a:cubicBezTo>
                <a:cubicBezTo>
                  <a:pt x="8591" y="20443"/>
                  <a:pt x="8234" y="20782"/>
                  <a:pt x="7615" y="20943"/>
                </a:cubicBezTo>
                <a:cubicBezTo>
                  <a:pt x="6996" y="21105"/>
                  <a:pt x="5740" y="20681"/>
                  <a:pt x="5127" y="20359"/>
                </a:cubicBezTo>
                <a:cubicBezTo>
                  <a:pt x="4825" y="20201"/>
                  <a:pt x="4327" y="19932"/>
                  <a:pt x="3859" y="19643"/>
                </a:cubicBezTo>
                <a:cubicBezTo>
                  <a:pt x="4274" y="18214"/>
                  <a:pt x="4599" y="16901"/>
                  <a:pt x="4748" y="16164"/>
                </a:cubicBezTo>
                <a:cubicBezTo>
                  <a:pt x="4918" y="15324"/>
                  <a:pt x="5066" y="14573"/>
                  <a:pt x="4863" y="13802"/>
                </a:cubicBezTo>
                <a:cubicBezTo>
                  <a:pt x="4691" y="13149"/>
                  <a:pt x="4127" y="12968"/>
                  <a:pt x="3493" y="13267"/>
                </a:cubicBezTo>
                <a:cubicBezTo>
                  <a:pt x="2887" y="13553"/>
                  <a:pt x="2305" y="14264"/>
                  <a:pt x="1175" y="13838"/>
                </a:cubicBezTo>
                <a:cubicBezTo>
                  <a:pt x="134" y="13445"/>
                  <a:pt x="-130" y="11411"/>
                  <a:pt x="54" y="9678"/>
                </a:cubicBezTo>
                <a:cubicBezTo>
                  <a:pt x="239" y="7945"/>
                  <a:pt x="942" y="7225"/>
                  <a:pt x="1992" y="7394"/>
                </a:cubicBezTo>
                <a:cubicBezTo>
                  <a:pt x="2568" y="7485"/>
                  <a:pt x="3072" y="8231"/>
                  <a:pt x="3875" y="7874"/>
                </a:cubicBezTo>
                <a:cubicBezTo>
                  <a:pt x="4679" y="7517"/>
                  <a:pt x="4553" y="5653"/>
                  <a:pt x="4402" y="4624"/>
                </a:cubicBezTo>
                <a:cubicBezTo>
                  <a:pt x="4210" y="3304"/>
                  <a:pt x="4023" y="2290"/>
                  <a:pt x="3859" y="1283"/>
                </a:cubicBezTo>
                <a:cubicBezTo>
                  <a:pt x="4769" y="924"/>
                  <a:pt x="5756" y="581"/>
                  <a:pt x="6521" y="325"/>
                </a:cubicBezTo>
                <a:cubicBezTo>
                  <a:pt x="8340" y="-282"/>
                  <a:pt x="8959" y="56"/>
                  <a:pt x="9118" y="559"/>
                </a:cubicBezTo>
                <a:cubicBezTo>
                  <a:pt x="9275" y="1058"/>
                  <a:pt x="9065" y="1665"/>
                  <a:pt x="8828" y="2308"/>
                </a:cubicBezTo>
                <a:cubicBezTo>
                  <a:pt x="8591" y="2950"/>
                  <a:pt x="8209" y="3451"/>
                  <a:pt x="8498" y="5021"/>
                </a:cubicBezTo>
                <a:cubicBezTo>
                  <a:pt x="8789" y="6594"/>
                  <a:pt x="10568" y="7217"/>
                  <a:pt x="11885" y="6395"/>
                </a:cubicBezTo>
                <a:cubicBezTo>
                  <a:pt x="13202" y="5575"/>
                  <a:pt x="13189" y="3896"/>
                  <a:pt x="12978" y="3148"/>
                </a:cubicBezTo>
                <a:cubicBezTo>
                  <a:pt x="12767" y="2396"/>
                  <a:pt x="12385" y="1183"/>
                  <a:pt x="12649" y="468"/>
                </a:cubicBezTo>
                <a:cubicBezTo>
                  <a:pt x="12912" y="-245"/>
                  <a:pt x="14830" y="133"/>
                  <a:pt x="15858" y="535"/>
                </a:cubicBezTo>
                <a:cubicBezTo>
                  <a:pt x="16124" y="640"/>
                  <a:pt x="16721" y="924"/>
                  <a:pt x="17409" y="1283"/>
                </a:cubicBezTo>
                <a:cubicBezTo>
                  <a:pt x="17081" y="2531"/>
                  <a:pt x="16548" y="4563"/>
                  <a:pt x="16404" y="5843"/>
                </a:cubicBezTo>
                <a:cubicBezTo>
                  <a:pt x="16210" y="7557"/>
                  <a:pt x="16587" y="7816"/>
                  <a:pt x="17289" y="7671"/>
                </a:cubicBezTo>
                <a:cubicBezTo>
                  <a:pt x="18068" y="7512"/>
                  <a:pt x="18115" y="6456"/>
                  <a:pt x="19405" y="6546"/>
                </a:cubicBezTo>
                <a:cubicBezTo>
                  <a:pt x="20913" y="6653"/>
                  <a:pt x="21470" y="8675"/>
                  <a:pt x="21147" y="10698"/>
                </a:cubicBezTo>
                <a:close/>
                <a:moveTo>
                  <a:pt x="21147" y="10698"/>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0" name="AutoShape 38"/>
          <p:cNvSpPr>
            <a:spLocks/>
          </p:cNvSpPr>
          <p:nvPr/>
        </p:nvSpPr>
        <p:spPr bwMode="auto">
          <a:xfrm>
            <a:off x="4687942" y="5290985"/>
            <a:ext cx="949131" cy="594568"/>
          </a:xfrm>
          <a:custGeom>
            <a:avLst/>
            <a:gdLst/>
            <a:ahLst/>
            <a:cxnLst/>
            <a:rect l="0" t="0" r="r" b="b"/>
            <a:pathLst>
              <a:path w="21118" h="21440">
                <a:moveTo>
                  <a:pt x="6437" y="21128"/>
                </a:moveTo>
                <a:cubicBezTo>
                  <a:pt x="5908" y="20910"/>
                  <a:pt x="4963" y="20435"/>
                  <a:pt x="3936" y="19829"/>
                </a:cubicBezTo>
                <a:cubicBezTo>
                  <a:pt x="4194" y="18823"/>
                  <a:pt x="4399" y="17950"/>
                  <a:pt x="4474" y="17561"/>
                </a:cubicBezTo>
                <a:cubicBezTo>
                  <a:pt x="4763" y="16059"/>
                  <a:pt x="5035" y="13254"/>
                  <a:pt x="4522" y="12869"/>
                </a:cubicBezTo>
                <a:cubicBezTo>
                  <a:pt x="4008" y="12483"/>
                  <a:pt x="3136" y="13042"/>
                  <a:pt x="2596" y="13350"/>
                </a:cubicBezTo>
                <a:cubicBezTo>
                  <a:pt x="2058" y="13660"/>
                  <a:pt x="851" y="13678"/>
                  <a:pt x="261" y="11752"/>
                </a:cubicBezTo>
                <a:cubicBezTo>
                  <a:pt x="-330" y="9827"/>
                  <a:pt x="119" y="7225"/>
                  <a:pt x="1249" y="6802"/>
                </a:cubicBezTo>
                <a:cubicBezTo>
                  <a:pt x="2378" y="6377"/>
                  <a:pt x="2737" y="6935"/>
                  <a:pt x="3199" y="7283"/>
                </a:cubicBezTo>
                <a:cubicBezTo>
                  <a:pt x="3662" y="7630"/>
                  <a:pt x="4098" y="7936"/>
                  <a:pt x="4457" y="7706"/>
                </a:cubicBezTo>
                <a:cubicBezTo>
                  <a:pt x="4818" y="7476"/>
                  <a:pt x="5062" y="6570"/>
                  <a:pt x="4625" y="3912"/>
                </a:cubicBezTo>
                <a:cubicBezTo>
                  <a:pt x="4441" y="2792"/>
                  <a:pt x="4195" y="1348"/>
                  <a:pt x="3936" y="20"/>
                </a:cubicBezTo>
                <a:cubicBezTo>
                  <a:pt x="6055" y="-6"/>
                  <a:pt x="15178" y="-6"/>
                  <a:pt x="17135" y="20"/>
                </a:cubicBezTo>
                <a:cubicBezTo>
                  <a:pt x="16927" y="703"/>
                  <a:pt x="16733" y="1431"/>
                  <a:pt x="16620" y="1874"/>
                </a:cubicBezTo>
                <a:cubicBezTo>
                  <a:pt x="16389" y="2768"/>
                  <a:pt x="16084" y="4605"/>
                  <a:pt x="16200" y="5510"/>
                </a:cubicBezTo>
                <a:cubicBezTo>
                  <a:pt x="16316" y="6415"/>
                  <a:pt x="16559" y="6935"/>
                  <a:pt x="17265" y="6781"/>
                </a:cubicBezTo>
                <a:cubicBezTo>
                  <a:pt x="17971" y="6627"/>
                  <a:pt x="18267" y="5914"/>
                  <a:pt x="19126" y="5934"/>
                </a:cubicBezTo>
                <a:cubicBezTo>
                  <a:pt x="19986" y="5953"/>
                  <a:pt x="20859" y="7033"/>
                  <a:pt x="21065" y="8726"/>
                </a:cubicBezTo>
                <a:cubicBezTo>
                  <a:pt x="21270" y="10423"/>
                  <a:pt x="20885" y="12927"/>
                  <a:pt x="19769" y="13061"/>
                </a:cubicBezTo>
                <a:cubicBezTo>
                  <a:pt x="18651" y="13196"/>
                  <a:pt x="18137" y="12331"/>
                  <a:pt x="17727" y="12137"/>
                </a:cubicBezTo>
                <a:cubicBezTo>
                  <a:pt x="17317" y="11944"/>
                  <a:pt x="16676" y="11637"/>
                  <a:pt x="16303" y="12426"/>
                </a:cubicBezTo>
                <a:cubicBezTo>
                  <a:pt x="15931" y="13216"/>
                  <a:pt x="16186" y="14179"/>
                  <a:pt x="16366" y="15199"/>
                </a:cubicBezTo>
                <a:cubicBezTo>
                  <a:pt x="16474" y="15809"/>
                  <a:pt x="16830" y="17972"/>
                  <a:pt x="17135" y="19829"/>
                </a:cubicBezTo>
                <a:cubicBezTo>
                  <a:pt x="16410" y="20069"/>
                  <a:pt x="15681" y="20341"/>
                  <a:pt x="14732" y="20623"/>
                </a:cubicBezTo>
                <a:cubicBezTo>
                  <a:pt x="13993" y="20844"/>
                  <a:pt x="12653" y="21027"/>
                  <a:pt x="12396" y="19852"/>
                </a:cubicBezTo>
                <a:cubicBezTo>
                  <a:pt x="12140" y="18677"/>
                  <a:pt x="12676" y="17941"/>
                  <a:pt x="12742" y="17098"/>
                </a:cubicBezTo>
                <a:cubicBezTo>
                  <a:pt x="12863" y="15564"/>
                  <a:pt x="12345" y="14536"/>
                  <a:pt x="11100" y="14265"/>
                </a:cubicBezTo>
                <a:cubicBezTo>
                  <a:pt x="9854" y="13996"/>
                  <a:pt x="8391" y="14383"/>
                  <a:pt x="8110" y="15903"/>
                </a:cubicBezTo>
                <a:cubicBezTo>
                  <a:pt x="7803" y="17556"/>
                  <a:pt x="8314" y="18408"/>
                  <a:pt x="8519" y="19294"/>
                </a:cubicBezTo>
                <a:cubicBezTo>
                  <a:pt x="8735" y="20221"/>
                  <a:pt x="8604" y="21046"/>
                  <a:pt x="8134" y="21297"/>
                </a:cubicBezTo>
                <a:cubicBezTo>
                  <a:pt x="7581" y="21594"/>
                  <a:pt x="7042" y="21376"/>
                  <a:pt x="6437" y="21128"/>
                </a:cubicBezTo>
                <a:close/>
                <a:moveTo>
                  <a:pt x="6437" y="21128"/>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1" name="AutoShape 39"/>
          <p:cNvSpPr>
            <a:spLocks/>
          </p:cNvSpPr>
          <p:nvPr/>
        </p:nvSpPr>
        <p:spPr bwMode="auto">
          <a:xfrm>
            <a:off x="5837398" y="5290985"/>
            <a:ext cx="688016" cy="713482"/>
          </a:xfrm>
          <a:custGeom>
            <a:avLst/>
            <a:gdLst/>
            <a:ahLst/>
            <a:cxnLst/>
            <a:rect l="0" t="0" r="r" b="b"/>
            <a:pathLst>
              <a:path w="21264" h="21190">
                <a:moveTo>
                  <a:pt x="20975" y="13233"/>
                </a:moveTo>
                <a:cubicBezTo>
                  <a:pt x="20773" y="13887"/>
                  <a:pt x="20333" y="15055"/>
                  <a:pt x="19772" y="16323"/>
                </a:cubicBezTo>
                <a:cubicBezTo>
                  <a:pt x="18839" y="16006"/>
                  <a:pt x="18033" y="15752"/>
                  <a:pt x="17671" y="15660"/>
                </a:cubicBezTo>
                <a:cubicBezTo>
                  <a:pt x="16281" y="15302"/>
                  <a:pt x="13684" y="14965"/>
                  <a:pt x="13328" y="15600"/>
                </a:cubicBezTo>
                <a:cubicBezTo>
                  <a:pt x="12970" y="16236"/>
                  <a:pt x="13488" y="17314"/>
                  <a:pt x="13774" y="17981"/>
                </a:cubicBezTo>
                <a:cubicBezTo>
                  <a:pt x="14059" y="18646"/>
                  <a:pt x="14077" y="20138"/>
                  <a:pt x="12293" y="20867"/>
                </a:cubicBezTo>
                <a:cubicBezTo>
                  <a:pt x="10510" y="21598"/>
                  <a:pt x="8102" y="21043"/>
                  <a:pt x="7710" y="19647"/>
                </a:cubicBezTo>
                <a:cubicBezTo>
                  <a:pt x="7317" y="18250"/>
                  <a:pt x="7834" y="17806"/>
                  <a:pt x="8155" y="17235"/>
                </a:cubicBezTo>
                <a:cubicBezTo>
                  <a:pt x="8476" y="16663"/>
                  <a:pt x="8761" y="16123"/>
                  <a:pt x="8548" y="15681"/>
                </a:cubicBezTo>
                <a:cubicBezTo>
                  <a:pt x="8333" y="15234"/>
                  <a:pt x="7495" y="14932"/>
                  <a:pt x="5033" y="15473"/>
                </a:cubicBezTo>
                <a:cubicBezTo>
                  <a:pt x="3997" y="15700"/>
                  <a:pt x="2660" y="16005"/>
                  <a:pt x="1429" y="16323"/>
                </a:cubicBezTo>
                <a:cubicBezTo>
                  <a:pt x="1213" y="15523"/>
                  <a:pt x="1004" y="14664"/>
                  <a:pt x="853" y="14121"/>
                </a:cubicBezTo>
                <a:cubicBezTo>
                  <a:pt x="604" y="13216"/>
                  <a:pt x="-146" y="11072"/>
                  <a:pt x="105" y="10359"/>
                </a:cubicBezTo>
                <a:cubicBezTo>
                  <a:pt x="354" y="9645"/>
                  <a:pt x="1031" y="9724"/>
                  <a:pt x="1532" y="9866"/>
                </a:cubicBezTo>
                <a:cubicBezTo>
                  <a:pt x="2031" y="10010"/>
                  <a:pt x="3047" y="10437"/>
                  <a:pt x="3992" y="10374"/>
                </a:cubicBezTo>
                <a:cubicBezTo>
                  <a:pt x="4938" y="10311"/>
                  <a:pt x="6102" y="9972"/>
                  <a:pt x="6490" y="8375"/>
                </a:cubicBezTo>
                <a:cubicBezTo>
                  <a:pt x="6927" y="6577"/>
                  <a:pt x="6173" y="4780"/>
                  <a:pt x="4131" y="4684"/>
                </a:cubicBezTo>
                <a:cubicBezTo>
                  <a:pt x="2384" y="4604"/>
                  <a:pt x="2321" y="5542"/>
                  <a:pt x="1268" y="5684"/>
                </a:cubicBezTo>
                <a:cubicBezTo>
                  <a:pt x="316" y="5814"/>
                  <a:pt x="-194" y="5583"/>
                  <a:pt x="68" y="4059"/>
                </a:cubicBezTo>
                <a:cubicBezTo>
                  <a:pt x="265" y="2922"/>
                  <a:pt x="986" y="1115"/>
                  <a:pt x="1429" y="6"/>
                </a:cubicBezTo>
                <a:cubicBezTo>
                  <a:pt x="5121" y="-2"/>
                  <a:pt x="15141" y="-2"/>
                  <a:pt x="19772" y="6"/>
                </a:cubicBezTo>
                <a:cubicBezTo>
                  <a:pt x="19993" y="903"/>
                  <a:pt x="20246" y="1804"/>
                  <a:pt x="20507" y="2977"/>
                </a:cubicBezTo>
                <a:cubicBezTo>
                  <a:pt x="20710" y="3891"/>
                  <a:pt x="20881" y="5547"/>
                  <a:pt x="19793" y="5866"/>
                </a:cubicBezTo>
                <a:cubicBezTo>
                  <a:pt x="18706" y="6181"/>
                  <a:pt x="18024" y="5520"/>
                  <a:pt x="17244" y="5438"/>
                </a:cubicBezTo>
                <a:cubicBezTo>
                  <a:pt x="15822" y="5288"/>
                  <a:pt x="14870" y="5929"/>
                  <a:pt x="14621" y="7468"/>
                </a:cubicBezTo>
                <a:cubicBezTo>
                  <a:pt x="14371" y="9008"/>
                  <a:pt x="14728" y="10816"/>
                  <a:pt x="16138" y="11165"/>
                </a:cubicBezTo>
                <a:cubicBezTo>
                  <a:pt x="17668" y="11544"/>
                  <a:pt x="18456" y="10913"/>
                  <a:pt x="19276" y="10658"/>
                </a:cubicBezTo>
                <a:cubicBezTo>
                  <a:pt x="20134" y="10391"/>
                  <a:pt x="20897" y="10553"/>
                  <a:pt x="21130" y="11133"/>
                </a:cubicBezTo>
                <a:cubicBezTo>
                  <a:pt x="21406" y="11818"/>
                  <a:pt x="21204" y="12485"/>
                  <a:pt x="20975" y="13233"/>
                </a:cubicBezTo>
                <a:close/>
                <a:moveTo>
                  <a:pt x="20975" y="13233"/>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2" name="AutoShape 40"/>
          <p:cNvSpPr>
            <a:spLocks/>
          </p:cNvSpPr>
          <p:nvPr/>
        </p:nvSpPr>
        <p:spPr bwMode="auto">
          <a:xfrm>
            <a:off x="3836901" y="5290985"/>
            <a:ext cx="639662" cy="705810"/>
          </a:xfrm>
          <a:custGeom>
            <a:avLst/>
            <a:gdLst/>
            <a:ahLst/>
            <a:cxnLst/>
            <a:rect l="0" t="0" r="r" b="b"/>
            <a:pathLst>
              <a:path w="21325" h="21439">
                <a:moveTo>
                  <a:pt x="19791" y="0"/>
                </a:moveTo>
                <a:cubicBezTo>
                  <a:pt x="20247" y="1564"/>
                  <a:pt x="20781" y="3385"/>
                  <a:pt x="20943" y="3900"/>
                </a:cubicBezTo>
                <a:cubicBezTo>
                  <a:pt x="21212" y="4759"/>
                  <a:pt x="21596" y="5570"/>
                  <a:pt x="21038" y="6235"/>
                </a:cubicBezTo>
                <a:cubicBezTo>
                  <a:pt x="20480" y="6899"/>
                  <a:pt x="19519" y="6641"/>
                  <a:pt x="18903" y="6480"/>
                </a:cubicBezTo>
                <a:cubicBezTo>
                  <a:pt x="18287" y="6316"/>
                  <a:pt x="17518" y="5587"/>
                  <a:pt x="15842" y="5700"/>
                </a:cubicBezTo>
                <a:cubicBezTo>
                  <a:pt x="14168" y="5814"/>
                  <a:pt x="13592" y="7924"/>
                  <a:pt x="13899" y="9351"/>
                </a:cubicBezTo>
                <a:cubicBezTo>
                  <a:pt x="14207" y="10778"/>
                  <a:pt x="15515" y="11687"/>
                  <a:pt x="16805" y="11704"/>
                </a:cubicBezTo>
                <a:cubicBezTo>
                  <a:pt x="18093" y="11721"/>
                  <a:pt x="18537" y="11120"/>
                  <a:pt x="19596" y="10990"/>
                </a:cubicBezTo>
                <a:cubicBezTo>
                  <a:pt x="20654" y="10859"/>
                  <a:pt x="21019" y="11299"/>
                  <a:pt x="21192" y="12061"/>
                </a:cubicBezTo>
                <a:cubicBezTo>
                  <a:pt x="21366" y="12824"/>
                  <a:pt x="20910" y="14370"/>
                  <a:pt x="20563" y="15126"/>
                </a:cubicBezTo>
                <a:cubicBezTo>
                  <a:pt x="20393" y="15497"/>
                  <a:pt x="20103" y="16111"/>
                  <a:pt x="19791" y="16688"/>
                </a:cubicBezTo>
                <a:cubicBezTo>
                  <a:pt x="18251" y="16176"/>
                  <a:pt x="16835" y="15776"/>
                  <a:pt x="16041" y="15592"/>
                </a:cubicBezTo>
                <a:cubicBezTo>
                  <a:pt x="15135" y="15384"/>
                  <a:pt x="14326" y="15201"/>
                  <a:pt x="13497" y="15449"/>
                </a:cubicBezTo>
                <a:cubicBezTo>
                  <a:pt x="12792" y="15663"/>
                  <a:pt x="12597" y="16357"/>
                  <a:pt x="12919" y="17138"/>
                </a:cubicBezTo>
                <a:cubicBezTo>
                  <a:pt x="13228" y="17884"/>
                  <a:pt x="13994" y="18601"/>
                  <a:pt x="13534" y="19993"/>
                </a:cubicBezTo>
                <a:cubicBezTo>
                  <a:pt x="13111" y="21274"/>
                  <a:pt x="10919" y="21600"/>
                  <a:pt x="9050" y="21373"/>
                </a:cubicBezTo>
                <a:cubicBezTo>
                  <a:pt x="7184" y="21146"/>
                  <a:pt x="6407" y="20279"/>
                  <a:pt x="6589" y="18986"/>
                </a:cubicBezTo>
                <a:cubicBezTo>
                  <a:pt x="6687" y="18277"/>
                  <a:pt x="7491" y="17657"/>
                  <a:pt x="7107" y="16667"/>
                </a:cubicBezTo>
                <a:cubicBezTo>
                  <a:pt x="6721" y="15677"/>
                  <a:pt x="4712" y="15833"/>
                  <a:pt x="3605" y="16018"/>
                </a:cubicBezTo>
                <a:cubicBezTo>
                  <a:pt x="2182" y="16255"/>
                  <a:pt x="1089" y="16485"/>
                  <a:pt x="2" y="16688"/>
                </a:cubicBezTo>
                <a:cubicBezTo>
                  <a:pt x="-4" y="12869"/>
                  <a:pt x="2" y="0"/>
                  <a:pt x="2" y="0"/>
                </a:cubicBezTo>
                <a:cubicBezTo>
                  <a:pt x="2" y="0"/>
                  <a:pt x="15770" y="20"/>
                  <a:pt x="19791" y="0"/>
                </a:cubicBezTo>
                <a:close/>
                <a:moveTo>
                  <a:pt x="19791" y="0"/>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3" name="AutoShape 41"/>
          <p:cNvSpPr>
            <a:spLocks/>
          </p:cNvSpPr>
          <p:nvPr/>
        </p:nvSpPr>
        <p:spPr bwMode="auto">
          <a:xfrm>
            <a:off x="3527432" y="3388369"/>
            <a:ext cx="703214" cy="507621"/>
          </a:xfrm>
          <a:custGeom>
            <a:avLst/>
            <a:gdLst/>
            <a:ahLst/>
            <a:cxnLst/>
            <a:rect l="0" t="0" r="r" b="b"/>
            <a:pathLst>
              <a:path w="21313" h="21594">
                <a:moveTo>
                  <a:pt x="21205" y="11077"/>
                </a:moveTo>
                <a:cubicBezTo>
                  <a:pt x="20854" y="13190"/>
                  <a:pt x="19799" y="13638"/>
                  <a:pt x="18941" y="13721"/>
                </a:cubicBezTo>
                <a:cubicBezTo>
                  <a:pt x="18085" y="13805"/>
                  <a:pt x="17165" y="13240"/>
                  <a:pt x="16713" y="13050"/>
                </a:cubicBezTo>
                <a:cubicBezTo>
                  <a:pt x="16259" y="12862"/>
                  <a:pt x="15646" y="12755"/>
                  <a:pt x="15420" y="13702"/>
                </a:cubicBezTo>
                <a:cubicBezTo>
                  <a:pt x="15192" y="14645"/>
                  <a:pt x="15871" y="17480"/>
                  <a:pt x="16097" y="18678"/>
                </a:cubicBezTo>
                <a:cubicBezTo>
                  <a:pt x="16234" y="19398"/>
                  <a:pt x="16423" y="20534"/>
                  <a:pt x="16620" y="21594"/>
                </a:cubicBezTo>
                <a:cubicBezTo>
                  <a:pt x="14980" y="21592"/>
                  <a:pt x="0" y="21594"/>
                  <a:pt x="0" y="21594"/>
                </a:cubicBezTo>
                <a:lnTo>
                  <a:pt x="0" y="4"/>
                </a:lnTo>
                <a:cubicBezTo>
                  <a:pt x="0" y="4"/>
                  <a:pt x="12403" y="-6"/>
                  <a:pt x="16620" y="4"/>
                </a:cubicBezTo>
                <a:cubicBezTo>
                  <a:pt x="16217" y="1473"/>
                  <a:pt x="15563" y="3861"/>
                  <a:pt x="15386" y="5365"/>
                </a:cubicBezTo>
                <a:cubicBezTo>
                  <a:pt x="15149" y="7383"/>
                  <a:pt x="15611" y="7687"/>
                  <a:pt x="16473" y="7516"/>
                </a:cubicBezTo>
                <a:cubicBezTo>
                  <a:pt x="17427" y="7329"/>
                  <a:pt x="17486" y="6087"/>
                  <a:pt x="19068" y="6193"/>
                </a:cubicBezTo>
                <a:cubicBezTo>
                  <a:pt x="20917" y="6321"/>
                  <a:pt x="21600" y="8697"/>
                  <a:pt x="21205" y="11077"/>
                </a:cubicBezTo>
                <a:close/>
                <a:moveTo>
                  <a:pt x="21205" y="11077"/>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4" name="AutoShape 42"/>
          <p:cNvSpPr>
            <a:spLocks/>
          </p:cNvSpPr>
          <p:nvPr/>
        </p:nvSpPr>
        <p:spPr bwMode="auto">
          <a:xfrm>
            <a:off x="4024794" y="3388369"/>
            <a:ext cx="635517" cy="507621"/>
          </a:xfrm>
          <a:custGeom>
            <a:avLst/>
            <a:gdLst/>
            <a:ahLst/>
            <a:cxnLst/>
            <a:rect l="0" t="0" r="r" b="b"/>
            <a:pathLst>
              <a:path w="21264" h="21597">
                <a:moveTo>
                  <a:pt x="20976" y="17506"/>
                </a:moveTo>
                <a:cubicBezTo>
                  <a:pt x="20775" y="18372"/>
                  <a:pt x="20334" y="19917"/>
                  <a:pt x="19773" y="21597"/>
                </a:cubicBezTo>
                <a:cubicBezTo>
                  <a:pt x="18400" y="21595"/>
                  <a:pt x="2926" y="21595"/>
                  <a:pt x="1430" y="21597"/>
                </a:cubicBezTo>
                <a:cubicBezTo>
                  <a:pt x="1214" y="20537"/>
                  <a:pt x="1004" y="19401"/>
                  <a:pt x="854" y="18681"/>
                </a:cubicBezTo>
                <a:cubicBezTo>
                  <a:pt x="604" y="17483"/>
                  <a:pt x="-146" y="14648"/>
                  <a:pt x="106" y="13705"/>
                </a:cubicBezTo>
                <a:cubicBezTo>
                  <a:pt x="356" y="12758"/>
                  <a:pt x="1032" y="12865"/>
                  <a:pt x="1533" y="13053"/>
                </a:cubicBezTo>
                <a:cubicBezTo>
                  <a:pt x="2032" y="13243"/>
                  <a:pt x="3048" y="13808"/>
                  <a:pt x="3993" y="13724"/>
                </a:cubicBezTo>
                <a:cubicBezTo>
                  <a:pt x="4939" y="13641"/>
                  <a:pt x="6103" y="13193"/>
                  <a:pt x="6491" y="11080"/>
                </a:cubicBezTo>
                <a:cubicBezTo>
                  <a:pt x="6927" y="8700"/>
                  <a:pt x="6174" y="6324"/>
                  <a:pt x="4132" y="6196"/>
                </a:cubicBezTo>
                <a:cubicBezTo>
                  <a:pt x="2386" y="6090"/>
                  <a:pt x="2321" y="7332"/>
                  <a:pt x="1268" y="7519"/>
                </a:cubicBezTo>
                <a:cubicBezTo>
                  <a:pt x="317" y="7690"/>
                  <a:pt x="-193" y="7386"/>
                  <a:pt x="69" y="5368"/>
                </a:cubicBezTo>
                <a:cubicBezTo>
                  <a:pt x="265" y="3864"/>
                  <a:pt x="986" y="1476"/>
                  <a:pt x="1430" y="7"/>
                </a:cubicBezTo>
                <a:cubicBezTo>
                  <a:pt x="5123" y="-3"/>
                  <a:pt x="15143" y="-3"/>
                  <a:pt x="19773" y="7"/>
                </a:cubicBezTo>
                <a:cubicBezTo>
                  <a:pt x="19995" y="1192"/>
                  <a:pt x="20248" y="2385"/>
                  <a:pt x="20509" y="3938"/>
                </a:cubicBezTo>
                <a:cubicBezTo>
                  <a:pt x="20712" y="5146"/>
                  <a:pt x="20883" y="7338"/>
                  <a:pt x="19795" y="7759"/>
                </a:cubicBezTo>
                <a:cubicBezTo>
                  <a:pt x="18707" y="8178"/>
                  <a:pt x="18025" y="7301"/>
                  <a:pt x="17246" y="7194"/>
                </a:cubicBezTo>
                <a:cubicBezTo>
                  <a:pt x="15824" y="6995"/>
                  <a:pt x="14872" y="7844"/>
                  <a:pt x="14622" y="9879"/>
                </a:cubicBezTo>
                <a:cubicBezTo>
                  <a:pt x="14373" y="11918"/>
                  <a:pt x="14730" y="14309"/>
                  <a:pt x="16139" y="14771"/>
                </a:cubicBezTo>
                <a:cubicBezTo>
                  <a:pt x="17669" y="15272"/>
                  <a:pt x="18458" y="14437"/>
                  <a:pt x="19278" y="14099"/>
                </a:cubicBezTo>
                <a:cubicBezTo>
                  <a:pt x="20136" y="13748"/>
                  <a:pt x="20899" y="13961"/>
                  <a:pt x="21132" y="14731"/>
                </a:cubicBezTo>
                <a:cubicBezTo>
                  <a:pt x="21407" y="15635"/>
                  <a:pt x="21205" y="16517"/>
                  <a:pt x="20976" y="17506"/>
                </a:cubicBezTo>
                <a:close/>
                <a:moveTo>
                  <a:pt x="20976" y="17506"/>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5" name="AutoShape 43"/>
          <p:cNvSpPr>
            <a:spLocks/>
          </p:cNvSpPr>
          <p:nvPr/>
        </p:nvSpPr>
        <p:spPr bwMode="auto">
          <a:xfrm>
            <a:off x="4466893" y="3388369"/>
            <a:ext cx="704595" cy="507621"/>
          </a:xfrm>
          <a:custGeom>
            <a:avLst/>
            <a:gdLst/>
            <a:ahLst/>
            <a:cxnLst/>
            <a:rect l="0" t="0" r="r" b="b"/>
            <a:pathLst>
              <a:path w="21440" h="21596">
                <a:moveTo>
                  <a:pt x="21440" y="21596"/>
                </a:moveTo>
                <a:cubicBezTo>
                  <a:pt x="21440" y="21596"/>
                  <a:pt x="5720" y="21594"/>
                  <a:pt x="4753" y="21596"/>
                </a:cubicBezTo>
                <a:cubicBezTo>
                  <a:pt x="5263" y="19916"/>
                  <a:pt x="5664" y="18371"/>
                  <a:pt x="5847" y="17504"/>
                </a:cubicBezTo>
                <a:cubicBezTo>
                  <a:pt x="6055" y="16515"/>
                  <a:pt x="6239" y="15633"/>
                  <a:pt x="5989" y="14728"/>
                </a:cubicBezTo>
                <a:cubicBezTo>
                  <a:pt x="5777" y="13958"/>
                  <a:pt x="5083" y="13745"/>
                  <a:pt x="4302" y="14097"/>
                </a:cubicBezTo>
                <a:cubicBezTo>
                  <a:pt x="3556" y="14434"/>
                  <a:pt x="2838" y="15270"/>
                  <a:pt x="1446" y="14768"/>
                </a:cubicBezTo>
                <a:cubicBezTo>
                  <a:pt x="165" y="14307"/>
                  <a:pt x="-160" y="11915"/>
                  <a:pt x="66" y="9875"/>
                </a:cubicBezTo>
                <a:cubicBezTo>
                  <a:pt x="293" y="7840"/>
                  <a:pt x="1159" y="6992"/>
                  <a:pt x="2453" y="7190"/>
                </a:cubicBezTo>
                <a:cubicBezTo>
                  <a:pt x="3162" y="7298"/>
                  <a:pt x="3783" y="8174"/>
                  <a:pt x="4772" y="7755"/>
                </a:cubicBezTo>
                <a:cubicBezTo>
                  <a:pt x="5762" y="7334"/>
                  <a:pt x="5607" y="5142"/>
                  <a:pt x="5422" y="3934"/>
                </a:cubicBezTo>
                <a:cubicBezTo>
                  <a:pt x="5184" y="2380"/>
                  <a:pt x="4954" y="1188"/>
                  <a:pt x="4753" y="2"/>
                </a:cubicBezTo>
                <a:cubicBezTo>
                  <a:pt x="8570" y="-4"/>
                  <a:pt x="21440" y="2"/>
                  <a:pt x="21440" y="2"/>
                </a:cubicBezTo>
                <a:cubicBezTo>
                  <a:pt x="21440" y="2"/>
                  <a:pt x="21440" y="21596"/>
                  <a:pt x="21440" y="21596"/>
                </a:cubicBezTo>
                <a:close/>
                <a:moveTo>
                  <a:pt x="21440" y="21596"/>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6" name="AutoShape 44"/>
          <p:cNvSpPr>
            <a:spLocks/>
          </p:cNvSpPr>
          <p:nvPr/>
        </p:nvSpPr>
        <p:spPr bwMode="auto">
          <a:xfrm>
            <a:off x="4577417" y="2793802"/>
            <a:ext cx="589926" cy="508899"/>
          </a:xfrm>
          <a:custGeom>
            <a:avLst/>
            <a:gdLst/>
            <a:ahLst/>
            <a:cxnLst/>
            <a:rect l="0" t="0" r="r" b="b"/>
            <a:pathLst>
              <a:path w="21328" h="21585">
                <a:moveTo>
                  <a:pt x="1534" y="21585"/>
                </a:moveTo>
                <a:cubicBezTo>
                  <a:pt x="1077" y="19564"/>
                  <a:pt x="543" y="17208"/>
                  <a:pt x="381" y="16543"/>
                </a:cubicBezTo>
                <a:cubicBezTo>
                  <a:pt x="111" y="15432"/>
                  <a:pt x="-272" y="14384"/>
                  <a:pt x="286" y="13522"/>
                </a:cubicBezTo>
                <a:cubicBezTo>
                  <a:pt x="844" y="12665"/>
                  <a:pt x="1806" y="13000"/>
                  <a:pt x="2422" y="13207"/>
                </a:cubicBezTo>
                <a:cubicBezTo>
                  <a:pt x="3038" y="13420"/>
                  <a:pt x="3807" y="14362"/>
                  <a:pt x="5484" y="14215"/>
                </a:cubicBezTo>
                <a:cubicBezTo>
                  <a:pt x="7158" y="14069"/>
                  <a:pt x="7734" y="11343"/>
                  <a:pt x="7428" y="9495"/>
                </a:cubicBezTo>
                <a:cubicBezTo>
                  <a:pt x="7118" y="7649"/>
                  <a:pt x="5810" y="6475"/>
                  <a:pt x="4521" y="6454"/>
                </a:cubicBezTo>
                <a:cubicBezTo>
                  <a:pt x="3231" y="6432"/>
                  <a:pt x="2787" y="7209"/>
                  <a:pt x="1729" y="7377"/>
                </a:cubicBezTo>
                <a:cubicBezTo>
                  <a:pt x="670" y="7545"/>
                  <a:pt x="305" y="6976"/>
                  <a:pt x="131" y="5990"/>
                </a:cubicBezTo>
                <a:cubicBezTo>
                  <a:pt x="-43" y="5004"/>
                  <a:pt x="415" y="3006"/>
                  <a:pt x="761" y="2030"/>
                </a:cubicBezTo>
                <a:cubicBezTo>
                  <a:pt x="930" y="1549"/>
                  <a:pt x="1221" y="756"/>
                  <a:pt x="1534" y="11"/>
                </a:cubicBezTo>
                <a:cubicBezTo>
                  <a:pt x="9016" y="-15"/>
                  <a:pt x="21328" y="11"/>
                  <a:pt x="21328" y="11"/>
                </a:cubicBezTo>
                <a:lnTo>
                  <a:pt x="21328" y="21585"/>
                </a:lnTo>
                <a:cubicBezTo>
                  <a:pt x="21328" y="21585"/>
                  <a:pt x="2786" y="21584"/>
                  <a:pt x="1534" y="21585"/>
                </a:cubicBezTo>
                <a:close/>
                <a:moveTo>
                  <a:pt x="1534" y="21585"/>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7" name="AutoShape 45"/>
          <p:cNvSpPr>
            <a:spLocks/>
          </p:cNvSpPr>
          <p:nvPr/>
        </p:nvSpPr>
        <p:spPr bwMode="auto">
          <a:xfrm>
            <a:off x="3903216" y="2795080"/>
            <a:ext cx="877290" cy="508899"/>
          </a:xfrm>
          <a:custGeom>
            <a:avLst/>
            <a:gdLst/>
            <a:ahLst/>
            <a:cxnLst/>
            <a:rect l="0" t="0" r="r" b="b"/>
            <a:pathLst>
              <a:path w="21118" h="21593">
                <a:moveTo>
                  <a:pt x="3937" y="21593"/>
                </a:moveTo>
                <a:cubicBezTo>
                  <a:pt x="4194" y="20497"/>
                  <a:pt x="4399" y="19548"/>
                  <a:pt x="4475" y="19124"/>
                </a:cubicBezTo>
                <a:cubicBezTo>
                  <a:pt x="4764" y="17488"/>
                  <a:pt x="5035" y="14433"/>
                  <a:pt x="4522" y="14015"/>
                </a:cubicBezTo>
                <a:cubicBezTo>
                  <a:pt x="4009" y="13593"/>
                  <a:pt x="3136" y="14200"/>
                  <a:pt x="2596" y="14537"/>
                </a:cubicBezTo>
                <a:cubicBezTo>
                  <a:pt x="2058" y="14874"/>
                  <a:pt x="852" y="14894"/>
                  <a:pt x="261" y="12798"/>
                </a:cubicBezTo>
                <a:cubicBezTo>
                  <a:pt x="-330" y="10701"/>
                  <a:pt x="119" y="7868"/>
                  <a:pt x="1249" y="7407"/>
                </a:cubicBezTo>
                <a:cubicBezTo>
                  <a:pt x="2379" y="6944"/>
                  <a:pt x="2738" y="7553"/>
                  <a:pt x="3199" y="7930"/>
                </a:cubicBezTo>
                <a:cubicBezTo>
                  <a:pt x="3663" y="8307"/>
                  <a:pt x="4099" y="8641"/>
                  <a:pt x="4457" y="8392"/>
                </a:cubicBezTo>
                <a:cubicBezTo>
                  <a:pt x="4818" y="8140"/>
                  <a:pt x="5062" y="7154"/>
                  <a:pt x="4625" y="4259"/>
                </a:cubicBezTo>
                <a:cubicBezTo>
                  <a:pt x="4441" y="3038"/>
                  <a:pt x="4195" y="1467"/>
                  <a:pt x="3937" y="19"/>
                </a:cubicBezTo>
                <a:cubicBezTo>
                  <a:pt x="6055" y="-7"/>
                  <a:pt x="15179" y="-7"/>
                  <a:pt x="17136" y="19"/>
                </a:cubicBezTo>
                <a:cubicBezTo>
                  <a:pt x="16927" y="764"/>
                  <a:pt x="16733" y="1557"/>
                  <a:pt x="16620" y="2038"/>
                </a:cubicBezTo>
                <a:cubicBezTo>
                  <a:pt x="16389" y="3014"/>
                  <a:pt x="16084" y="5012"/>
                  <a:pt x="16200" y="5998"/>
                </a:cubicBezTo>
                <a:cubicBezTo>
                  <a:pt x="16316" y="6984"/>
                  <a:pt x="16559" y="7553"/>
                  <a:pt x="17266" y="7385"/>
                </a:cubicBezTo>
                <a:cubicBezTo>
                  <a:pt x="17971" y="7217"/>
                  <a:pt x="18267" y="6440"/>
                  <a:pt x="19127" y="6462"/>
                </a:cubicBezTo>
                <a:cubicBezTo>
                  <a:pt x="19987" y="6483"/>
                  <a:pt x="20859" y="7657"/>
                  <a:pt x="21066" y="9503"/>
                </a:cubicBezTo>
                <a:cubicBezTo>
                  <a:pt x="21270" y="11351"/>
                  <a:pt x="20886" y="14077"/>
                  <a:pt x="19769" y="14223"/>
                </a:cubicBezTo>
                <a:cubicBezTo>
                  <a:pt x="18651" y="14370"/>
                  <a:pt x="18138" y="13428"/>
                  <a:pt x="17728" y="13215"/>
                </a:cubicBezTo>
                <a:cubicBezTo>
                  <a:pt x="17317" y="13008"/>
                  <a:pt x="16675" y="12673"/>
                  <a:pt x="16303" y="13530"/>
                </a:cubicBezTo>
                <a:cubicBezTo>
                  <a:pt x="15931" y="14392"/>
                  <a:pt x="16187" y="15440"/>
                  <a:pt x="16367" y="16551"/>
                </a:cubicBezTo>
                <a:cubicBezTo>
                  <a:pt x="16475" y="17216"/>
                  <a:pt x="16831" y="19572"/>
                  <a:pt x="17136" y="21593"/>
                </a:cubicBezTo>
                <a:cubicBezTo>
                  <a:pt x="16169" y="21592"/>
                  <a:pt x="5251" y="21592"/>
                  <a:pt x="3937" y="21593"/>
                </a:cubicBezTo>
                <a:close/>
                <a:moveTo>
                  <a:pt x="3937" y="21593"/>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8" name="AutoShape 46"/>
          <p:cNvSpPr>
            <a:spLocks/>
          </p:cNvSpPr>
          <p:nvPr/>
        </p:nvSpPr>
        <p:spPr bwMode="auto">
          <a:xfrm>
            <a:off x="3527433" y="2793802"/>
            <a:ext cx="585781" cy="508899"/>
          </a:xfrm>
          <a:custGeom>
            <a:avLst/>
            <a:gdLst/>
            <a:ahLst/>
            <a:cxnLst/>
            <a:rect l="0" t="0" r="r" b="b"/>
            <a:pathLst>
              <a:path w="21294" h="21585">
                <a:moveTo>
                  <a:pt x="0" y="21585"/>
                </a:moveTo>
                <a:lnTo>
                  <a:pt x="0" y="11"/>
                </a:lnTo>
                <a:cubicBezTo>
                  <a:pt x="0" y="11"/>
                  <a:pt x="17077" y="-15"/>
                  <a:pt x="19903" y="11"/>
                </a:cubicBezTo>
                <a:cubicBezTo>
                  <a:pt x="20293" y="1459"/>
                  <a:pt x="20664" y="3030"/>
                  <a:pt x="20941" y="4251"/>
                </a:cubicBezTo>
                <a:cubicBezTo>
                  <a:pt x="21600" y="7146"/>
                  <a:pt x="21232" y="8132"/>
                  <a:pt x="20688" y="8384"/>
                </a:cubicBezTo>
                <a:cubicBezTo>
                  <a:pt x="20147" y="8633"/>
                  <a:pt x="19490" y="8299"/>
                  <a:pt x="18791" y="7922"/>
                </a:cubicBezTo>
                <a:cubicBezTo>
                  <a:pt x="18095" y="7545"/>
                  <a:pt x="17553" y="6936"/>
                  <a:pt x="15850" y="7399"/>
                </a:cubicBezTo>
                <a:cubicBezTo>
                  <a:pt x="14146" y="7860"/>
                  <a:pt x="13469" y="10693"/>
                  <a:pt x="14360" y="12790"/>
                </a:cubicBezTo>
                <a:cubicBezTo>
                  <a:pt x="15251" y="14886"/>
                  <a:pt x="17070" y="14866"/>
                  <a:pt x="17882" y="14529"/>
                </a:cubicBezTo>
                <a:cubicBezTo>
                  <a:pt x="18696" y="14192"/>
                  <a:pt x="20011" y="13585"/>
                  <a:pt x="20785" y="14007"/>
                </a:cubicBezTo>
                <a:cubicBezTo>
                  <a:pt x="21560" y="14425"/>
                  <a:pt x="21150" y="17480"/>
                  <a:pt x="20714" y="19116"/>
                </a:cubicBezTo>
                <a:cubicBezTo>
                  <a:pt x="20600" y="19540"/>
                  <a:pt x="20291" y="20489"/>
                  <a:pt x="19903" y="21585"/>
                </a:cubicBezTo>
                <a:cubicBezTo>
                  <a:pt x="18172" y="21584"/>
                  <a:pt x="0" y="21585"/>
                  <a:pt x="0" y="21585"/>
                </a:cubicBezTo>
                <a:close/>
                <a:moveTo>
                  <a:pt x="0" y="21585"/>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49" name="AutoShape 47"/>
          <p:cNvSpPr>
            <a:spLocks/>
          </p:cNvSpPr>
          <p:nvPr/>
        </p:nvSpPr>
        <p:spPr bwMode="auto">
          <a:xfrm>
            <a:off x="2838067" y="1588695"/>
            <a:ext cx="722556" cy="561324"/>
          </a:xfrm>
          <a:custGeom>
            <a:avLst/>
            <a:gdLst/>
            <a:ahLst/>
            <a:cxnLst/>
            <a:rect l="0" t="0" r="r" b="b"/>
            <a:pathLst>
              <a:path w="21310" h="21323">
                <a:moveTo>
                  <a:pt x="21202" y="10151"/>
                </a:moveTo>
                <a:cubicBezTo>
                  <a:pt x="20851" y="12087"/>
                  <a:pt x="19796" y="12496"/>
                  <a:pt x="18939" y="12574"/>
                </a:cubicBezTo>
                <a:cubicBezTo>
                  <a:pt x="18083" y="12650"/>
                  <a:pt x="17163" y="12133"/>
                  <a:pt x="16711" y="11959"/>
                </a:cubicBezTo>
                <a:cubicBezTo>
                  <a:pt x="16258" y="11786"/>
                  <a:pt x="15644" y="11689"/>
                  <a:pt x="15417" y="12556"/>
                </a:cubicBezTo>
                <a:cubicBezTo>
                  <a:pt x="15190" y="13421"/>
                  <a:pt x="15870" y="16021"/>
                  <a:pt x="16096" y="17118"/>
                </a:cubicBezTo>
                <a:cubicBezTo>
                  <a:pt x="16232" y="17777"/>
                  <a:pt x="16422" y="18819"/>
                  <a:pt x="16617" y="19790"/>
                </a:cubicBezTo>
                <a:cubicBezTo>
                  <a:pt x="15061" y="20247"/>
                  <a:pt x="13245" y="20781"/>
                  <a:pt x="12735" y="20942"/>
                </a:cubicBezTo>
                <a:cubicBezTo>
                  <a:pt x="11878" y="21211"/>
                  <a:pt x="11071" y="21595"/>
                  <a:pt x="10408" y="21037"/>
                </a:cubicBezTo>
                <a:cubicBezTo>
                  <a:pt x="9748" y="20479"/>
                  <a:pt x="10004" y="19518"/>
                  <a:pt x="10166" y="18902"/>
                </a:cubicBezTo>
                <a:cubicBezTo>
                  <a:pt x="10328" y="18287"/>
                  <a:pt x="11055" y="17518"/>
                  <a:pt x="10942" y="15841"/>
                </a:cubicBezTo>
                <a:cubicBezTo>
                  <a:pt x="10829" y="14167"/>
                  <a:pt x="8728" y="13592"/>
                  <a:pt x="7305" y="13899"/>
                </a:cubicBezTo>
                <a:cubicBezTo>
                  <a:pt x="5885" y="14206"/>
                  <a:pt x="4980" y="15515"/>
                  <a:pt x="4963" y="16805"/>
                </a:cubicBezTo>
                <a:cubicBezTo>
                  <a:pt x="4946" y="18093"/>
                  <a:pt x="5544" y="18537"/>
                  <a:pt x="5674" y="19595"/>
                </a:cubicBezTo>
                <a:cubicBezTo>
                  <a:pt x="5802" y="20653"/>
                  <a:pt x="5367" y="21017"/>
                  <a:pt x="4607" y="21191"/>
                </a:cubicBezTo>
                <a:cubicBezTo>
                  <a:pt x="3847" y="21366"/>
                  <a:pt x="2310" y="20908"/>
                  <a:pt x="1558" y="20562"/>
                </a:cubicBezTo>
                <a:cubicBezTo>
                  <a:pt x="1185" y="20393"/>
                  <a:pt x="576" y="20103"/>
                  <a:pt x="2" y="19790"/>
                </a:cubicBezTo>
                <a:cubicBezTo>
                  <a:pt x="-3" y="15352"/>
                  <a:pt x="2" y="5"/>
                  <a:pt x="2" y="5"/>
                </a:cubicBezTo>
                <a:cubicBezTo>
                  <a:pt x="2" y="5"/>
                  <a:pt x="11900" y="-5"/>
                  <a:pt x="16617" y="5"/>
                </a:cubicBezTo>
                <a:cubicBezTo>
                  <a:pt x="16215" y="1346"/>
                  <a:pt x="15562" y="3538"/>
                  <a:pt x="15384" y="4917"/>
                </a:cubicBezTo>
                <a:cubicBezTo>
                  <a:pt x="15146" y="6765"/>
                  <a:pt x="15609" y="7043"/>
                  <a:pt x="16471" y="6888"/>
                </a:cubicBezTo>
                <a:cubicBezTo>
                  <a:pt x="17425" y="6715"/>
                  <a:pt x="17484" y="5578"/>
                  <a:pt x="19065" y="5674"/>
                </a:cubicBezTo>
                <a:cubicBezTo>
                  <a:pt x="20914" y="5791"/>
                  <a:pt x="21597" y="7970"/>
                  <a:pt x="21202" y="10151"/>
                </a:cubicBezTo>
                <a:close/>
                <a:moveTo>
                  <a:pt x="21202" y="1015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50" name="AutoShape 48"/>
          <p:cNvSpPr>
            <a:spLocks/>
          </p:cNvSpPr>
          <p:nvPr/>
        </p:nvSpPr>
        <p:spPr bwMode="auto">
          <a:xfrm>
            <a:off x="3240068" y="2079041"/>
            <a:ext cx="723937" cy="557487"/>
          </a:xfrm>
          <a:custGeom>
            <a:avLst/>
            <a:gdLst/>
            <a:ahLst/>
            <a:cxnLst/>
            <a:rect l="0" t="0" r="r" b="b"/>
            <a:pathLst>
              <a:path w="21439" h="21294">
                <a:moveTo>
                  <a:pt x="21439" y="21294"/>
                </a:moveTo>
                <a:cubicBezTo>
                  <a:pt x="21439" y="21294"/>
                  <a:pt x="9150" y="21285"/>
                  <a:pt x="4752" y="21294"/>
                </a:cubicBezTo>
                <a:cubicBezTo>
                  <a:pt x="5262" y="19746"/>
                  <a:pt x="5662" y="18322"/>
                  <a:pt x="5847" y="17523"/>
                </a:cubicBezTo>
                <a:cubicBezTo>
                  <a:pt x="6054" y="16612"/>
                  <a:pt x="6239" y="15798"/>
                  <a:pt x="5987" y="14964"/>
                </a:cubicBezTo>
                <a:cubicBezTo>
                  <a:pt x="5776" y="14256"/>
                  <a:pt x="5082" y="14058"/>
                  <a:pt x="4300" y="14383"/>
                </a:cubicBezTo>
                <a:cubicBezTo>
                  <a:pt x="3555" y="14693"/>
                  <a:pt x="2838" y="15464"/>
                  <a:pt x="1445" y="15002"/>
                </a:cubicBezTo>
                <a:cubicBezTo>
                  <a:pt x="165" y="14576"/>
                  <a:pt x="-161" y="12371"/>
                  <a:pt x="67" y="10493"/>
                </a:cubicBezTo>
                <a:cubicBezTo>
                  <a:pt x="293" y="8615"/>
                  <a:pt x="1159" y="7833"/>
                  <a:pt x="2452" y="8016"/>
                </a:cubicBezTo>
                <a:cubicBezTo>
                  <a:pt x="3161" y="8115"/>
                  <a:pt x="3782" y="8923"/>
                  <a:pt x="4771" y="8537"/>
                </a:cubicBezTo>
                <a:cubicBezTo>
                  <a:pt x="5761" y="8149"/>
                  <a:pt x="5606" y="6129"/>
                  <a:pt x="5421" y="5014"/>
                </a:cubicBezTo>
                <a:cubicBezTo>
                  <a:pt x="5184" y="3583"/>
                  <a:pt x="4953" y="2485"/>
                  <a:pt x="4752" y="1391"/>
                </a:cubicBezTo>
                <a:cubicBezTo>
                  <a:pt x="5871" y="1001"/>
                  <a:pt x="7087" y="630"/>
                  <a:pt x="8031" y="353"/>
                </a:cubicBezTo>
                <a:cubicBezTo>
                  <a:pt x="10270" y="-306"/>
                  <a:pt x="11033" y="63"/>
                  <a:pt x="11228" y="606"/>
                </a:cubicBezTo>
                <a:cubicBezTo>
                  <a:pt x="11422" y="1147"/>
                  <a:pt x="11163" y="1804"/>
                  <a:pt x="10871" y="2503"/>
                </a:cubicBezTo>
                <a:cubicBezTo>
                  <a:pt x="10578" y="3199"/>
                  <a:pt x="10108" y="3740"/>
                  <a:pt x="10464" y="5443"/>
                </a:cubicBezTo>
                <a:cubicBezTo>
                  <a:pt x="10822" y="7148"/>
                  <a:pt x="13014" y="7825"/>
                  <a:pt x="14636" y="6933"/>
                </a:cubicBezTo>
                <a:cubicBezTo>
                  <a:pt x="16257" y="6044"/>
                  <a:pt x="16242" y="4225"/>
                  <a:pt x="15983" y="3412"/>
                </a:cubicBezTo>
                <a:cubicBezTo>
                  <a:pt x="15722" y="2598"/>
                  <a:pt x="15251" y="1283"/>
                  <a:pt x="15577" y="508"/>
                </a:cubicBezTo>
                <a:cubicBezTo>
                  <a:pt x="15901" y="-266"/>
                  <a:pt x="18264" y="144"/>
                  <a:pt x="19529" y="581"/>
                </a:cubicBezTo>
                <a:cubicBezTo>
                  <a:pt x="19858" y="694"/>
                  <a:pt x="20592" y="1003"/>
                  <a:pt x="21439" y="1391"/>
                </a:cubicBezTo>
                <a:cubicBezTo>
                  <a:pt x="21436" y="5909"/>
                  <a:pt x="21439" y="21294"/>
                  <a:pt x="21439" y="21294"/>
                </a:cubicBezTo>
                <a:close/>
                <a:moveTo>
                  <a:pt x="21439" y="21294"/>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51" name="AutoShape 49"/>
          <p:cNvSpPr>
            <a:spLocks/>
          </p:cNvSpPr>
          <p:nvPr/>
        </p:nvSpPr>
        <p:spPr bwMode="auto">
          <a:xfrm>
            <a:off x="2831126" y="1956292"/>
            <a:ext cx="609268" cy="678959"/>
          </a:xfrm>
          <a:custGeom>
            <a:avLst/>
            <a:gdLst/>
            <a:ahLst/>
            <a:cxnLst/>
            <a:rect l="0" t="0" r="r" b="b"/>
            <a:pathLst>
              <a:path w="21442" h="21411">
                <a:moveTo>
                  <a:pt x="21130" y="18295"/>
                </a:moveTo>
                <a:cubicBezTo>
                  <a:pt x="20911" y="18955"/>
                  <a:pt x="20436" y="20132"/>
                  <a:pt x="19829" y="21411"/>
                </a:cubicBezTo>
                <a:cubicBezTo>
                  <a:pt x="14174" y="21403"/>
                  <a:pt x="2" y="21411"/>
                  <a:pt x="2" y="21411"/>
                </a:cubicBezTo>
                <a:cubicBezTo>
                  <a:pt x="2" y="21411"/>
                  <a:pt x="-4" y="7114"/>
                  <a:pt x="2" y="4963"/>
                </a:cubicBezTo>
                <a:cubicBezTo>
                  <a:pt x="686" y="5223"/>
                  <a:pt x="1414" y="5464"/>
                  <a:pt x="1858" y="5605"/>
                </a:cubicBezTo>
                <a:cubicBezTo>
                  <a:pt x="2756" y="5892"/>
                  <a:pt x="4591" y="6272"/>
                  <a:pt x="5497" y="6128"/>
                </a:cubicBezTo>
                <a:cubicBezTo>
                  <a:pt x="6404" y="5983"/>
                  <a:pt x="6924" y="5680"/>
                  <a:pt x="6770" y="4801"/>
                </a:cubicBezTo>
                <a:cubicBezTo>
                  <a:pt x="6615" y="3921"/>
                  <a:pt x="5902" y="3553"/>
                  <a:pt x="5922" y="2481"/>
                </a:cubicBezTo>
                <a:cubicBezTo>
                  <a:pt x="5942" y="1410"/>
                  <a:pt x="7022" y="322"/>
                  <a:pt x="8717" y="66"/>
                </a:cubicBezTo>
                <a:cubicBezTo>
                  <a:pt x="10415" y="-189"/>
                  <a:pt x="12921" y="289"/>
                  <a:pt x="13056" y="1681"/>
                </a:cubicBezTo>
                <a:cubicBezTo>
                  <a:pt x="13191" y="3074"/>
                  <a:pt x="12324" y="3714"/>
                  <a:pt x="12131" y="4225"/>
                </a:cubicBezTo>
                <a:cubicBezTo>
                  <a:pt x="11938" y="4737"/>
                  <a:pt x="11631" y="5536"/>
                  <a:pt x="12419" y="5999"/>
                </a:cubicBezTo>
                <a:cubicBezTo>
                  <a:pt x="13211" y="6463"/>
                  <a:pt x="14173" y="6144"/>
                  <a:pt x="15196" y="5920"/>
                </a:cubicBezTo>
                <a:cubicBezTo>
                  <a:pt x="15805" y="5787"/>
                  <a:pt x="17972" y="5343"/>
                  <a:pt x="19829" y="4963"/>
                </a:cubicBezTo>
                <a:cubicBezTo>
                  <a:pt x="20068" y="5867"/>
                  <a:pt x="20343" y="6774"/>
                  <a:pt x="20624" y="7957"/>
                </a:cubicBezTo>
                <a:cubicBezTo>
                  <a:pt x="20844" y="8878"/>
                  <a:pt x="21028" y="10548"/>
                  <a:pt x="19852" y="10869"/>
                </a:cubicBezTo>
                <a:cubicBezTo>
                  <a:pt x="18677" y="11187"/>
                  <a:pt x="17939" y="10520"/>
                  <a:pt x="17096" y="10438"/>
                </a:cubicBezTo>
                <a:cubicBezTo>
                  <a:pt x="15560" y="10286"/>
                  <a:pt x="14532" y="10933"/>
                  <a:pt x="14262" y="12485"/>
                </a:cubicBezTo>
                <a:cubicBezTo>
                  <a:pt x="13992" y="14036"/>
                  <a:pt x="14379" y="15859"/>
                  <a:pt x="15900" y="16211"/>
                </a:cubicBezTo>
                <a:cubicBezTo>
                  <a:pt x="17555" y="16593"/>
                  <a:pt x="18407" y="15956"/>
                  <a:pt x="19293" y="15699"/>
                </a:cubicBezTo>
                <a:cubicBezTo>
                  <a:pt x="20221" y="15431"/>
                  <a:pt x="21046" y="15594"/>
                  <a:pt x="21297" y="16180"/>
                </a:cubicBezTo>
                <a:cubicBezTo>
                  <a:pt x="21596" y="16869"/>
                  <a:pt x="21377" y="17541"/>
                  <a:pt x="21130" y="18295"/>
                </a:cubicBezTo>
                <a:close/>
                <a:moveTo>
                  <a:pt x="21130" y="18295"/>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52" name="AutoShape 50"/>
          <p:cNvSpPr>
            <a:spLocks/>
          </p:cNvSpPr>
          <p:nvPr/>
        </p:nvSpPr>
        <p:spPr bwMode="auto">
          <a:xfrm>
            <a:off x="3361645" y="1588042"/>
            <a:ext cx="607886" cy="677680"/>
          </a:xfrm>
          <a:custGeom>
            <a:avLst/>
            <a:gdLst/>
            <a:ahLst/>
            <a:cxnLst/>
            <a:rect l="0" t="0" r="r" b="b"/>
            <a:pathLst>
              <a:path w="21390" h="21187">
                <a:moveTo>
                  <a:pt x="21390" y="16321"/>
                </a:moveTo>
                <a:cubicBezTo>
                  <a:pt x="20382" y="16002"/>
                  <a:pt x="19510" y="15749"/>
                  <a:pt x="19118" y="15656"/>
                </a:cubicBezTo>
                <a:cubicBezTo>
                  <a:pt x="17614" y="15298"/>
                  <a:pt x="14804" y="14962"/>
                  <a:pt x="14420" y="15597"/>
                </a:cubicBezTo>
                <a:cubicBezTo>
                  <a:pt x="14032" y="16232"/>
                  <a:pt x="14592" y="17311"/>
                  <a:pt x="14902" y="17978"/>
                </a:cubicBezTo>
                <a:cubicBezTo>
                  <a:pt x="15211" y="18644"/>
                  <a:pt x="15228" y="20136"/>
                  <a:pt x="13300" y="20865"/>
                </a:cubicBezTo>
                <a:cubicBezTo>
                  <a:pt x="11372" y="21596"/>
                  <a:pt x="8765" y="21041"/>
                  <a:pt x="8340" y="19644"/>
                </a:cubicBezTo>
                <a:cubicBezTo>
                  <a:pt x="7916" y="18247"/>
                  <a:pt x="8475" y="17804"/>
                  <a:pt x="8823" y="17233"/>
                </a:cubicBezTo>
                <a:cubicBezTo>
                  <a:pt x="9171" y="16660"/>
                  <a:pt x="9478" y="16120"/>
                  <a:pt x="9248" y="15677"/>
                </a:cubicBezTo>
                <a:cubicBezTo>
                  <a:pt x="9016" y="15232"/>
                  <a:pt x="8109" y="14929"/>
                  <a:pt x="5446" y="15470"/>
                </a:cubicBezTo>
                <a:cubicBezTo>
                  <a:pt x="4324" y="15697"/>
                  <a:pt x="2878" y="16001"/>
                  <a:pt x="1547" y="16321"/>
                </a:cubicBezTo>
                <a:cubicBezTo>
                  <a:pt x="1313" y="15520"/>
                  <a:pt x="1087" y="14661"/>
                  <a:pt x="924" y="14117"/>
                </a:cubicBezTo>
                <a:cubicBezTo>
                  <a:pt x="654" y="13213"/>
                  <a:pt x="-158" y="11068"/>
                  <a:pt x="113" y="10355"/>
                </a:cubicBezTo>
                <a:cubicBezTo>
                  <a:pt x="384" y="9640"/>
                  <a:pt x="1117" y="9720"/>
                  <a:pt x="1658" y="9862"/>
                </a:cubicBezTo>
                <a:cubicBezTo>
                  <a:pt x="2198" y="10006"/>
                  <a:pt x="3297" y="10433"/>
                  <a:pt x="4320" y="10370"/>
                </a:cubicBezTo>
                <a:cubicBezTo>
                  <a:pt x="5343" y="10306"/>
                  <a:pt x="6603" y="9968"/>
                  <a:pt x="7022" y="8372"/>
                </a:cubicBezTo>
                <a:cubicBezTo>
                  <a:pt x="7494" y="6573"/>
                  <a:pt x="6678" y="4776"/>
                  <a:pt x="4470" y="4680"/>
                </a:cubicBezTo>
                <a:cubicBezTo>
                  <a:pt x="2582" y="4600"/>
                  <a:pt x="2512" y="5538"/>
                  <a:pt x="1372" y="5680"/>
                </a:cubicBezTo>
                <a:cubicBezTo>
                  <a:pt x="343" y="5808"/>
                  <a:pt x="-210" y="5579"/>
                  <a:pt x="74" y="4055"/>
                </a:cubicBezTo>
                <a:cubicBezTo>
                  <a:pt x="287" y="2918"/>
                  <a:pt x="1067" y="1111"/>
                  <a:pt x="1547" y="4"/>
                </a:cubicBezTo>
                <a:cubicBezTo>
                  <a:pt x="5314" y="-4"/>
                  <a:pt x="21390" y="4"/>
                  <a:pt x="21390" y="4"/>
                </a:cubicBezTo>
                <a:cubicBezTo>
                  <a:pt x="21390" y="4"/>
                  <a:pt x="21386" y="12642"/>
                  <a:pt x="21390" y="16321"/>
                </a:cubicBezTo>
                <a:close/>
                <a:moveTo>
                  <a:pt x="21390" y="16321"/>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53" name="AutoShape 51"/>
          <p:cNvSpPr>
            <a:spLocks/>
          </p:cNvSpPr>
          <p:nvPr/>
        </p:nvSpPr>
        <p:spPr bwMode="auto">
          <a:xfrm>
            <a:off x="2831126" y="2805308"/>
            <a:ext cx="594070" cy="589454"/>
          </a:xfrm>
          <a:custGeom>
            <a:avLst/>
            <a:gdLst/>
            <a:ahLst/>
            <a:cxnLst/>
            <a:rect l="0" t="0" r="r" b="b"/>
            <a:pathLst>
              <a:path w="21598" h="21329">
                <a:moveTo>
                  <a:pt x="21598" y="19794"/>
                </a:moveTo>
                <a:cubicBezTo>
                  <a:pt x="19575" y="20252"/>
                  <a:pt x="17216" y="20785"/>
                  <a:pt x="16551" y="20948"/>
                </a:cubicBezTo>
                <a:cubicBezTo>
                  <a:pt x="15439" y="21218"/>
                  <a:pt x="14389" y="21600"/>
                  <a:pt x="13528" y="21043"/>
                </a:cubicBezTo>
                <a:cubicBezTo>
                  <a:pt x="12668" y="20485"/>
                  <a:pt x="13003" y="19523"/>
                  <a:pt x="13212" y="18907"/>
                </a:cubicBezTo>
                <a:cubicBezTo>
                  <a:pt x="13424" y="18291"/>
                  <a:pt x="14368" y="17521"/>
                  <a:pt x="14221" y="15845"/>
                </a:cubicBezTo>
                <a:cubicBezTo>
                  <a:pt x="14074" y="14170"/>
                  <a:pt x="11344" y="13593"/>
                  <a:pt x="9495" y="13901"/>
                </a:cubicBezTo>
                <a:cubicBezTo>
                  <a:pt x="7649" y="14209"/>
                  <a:pt x="6471" y="15519"/>
                  <a:pt x="6450" y="16808"/>
                </a:cubicBezTo>
                <a:cubicBezTo>
                  <a:pt x="6429" y="18097"/>
                  <a:pt x="7207" y="18540"/>
                  <a:pt x="7375" y="19599"/>
                </a:cubicBezTo>
                <a:cubicBezTo>
                  <a:pt x="7544" y="20659"/>
                  <a:pt x="6974" y="21023"/>
                  <a:pt x="5989" y="21198"/>
                </a:cubicBezTo>
                <a:cubicBezTo>
                  <a:pt x="5001" y="21371"/>
                  <a:pt x="2999" y="20913"/>
                  <a:pt x="2022" y="20567"/>
                </a:cubicBezTo>
                <a:cubicBezTo>
                  <a:pt x="1541" y="20398"/>
                  <a:pt x="746" y="20107"/>
                  <a:pt x="2" y="19794"/>
                </a:cubicBezTo>
                <a:cubicBezTo>
                  <a:pt x="-2" y="15356"/>
                  <a:pt x="2" y="0"/>
                  <a:pt x="2" y="0"/>
                </a:cubicBezTo>
                <a:lnTo>
                  <a:pt x="21598" y="0"/>
                </a:lnTo>
                <a:cubicBezTo>
                  <a:pt x="21598" y="0"/>
                  <a:pt x="21596" y="18041"/>
                  <a:pt x="21598" y="19794"/>
                </a:cubicBezTo>
                <a:close/>
                <a:moveTo>
                  <a:pt x="21598" y="19794"/>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sp>
        <p:nvSpPr>
          <p:cNvPr id="54" name="AutoShape 52"/>
          <p:cNvSpPr>
            <a:spLocks/>
          </p:cNvSpPr>
          <p:nvPr/>
        </p:nvSpPr>
        <p:spPr bwMode="auto">
          <a:xfrm>
            <a:off x="2831126" y="3183787"/>
            <a:ext cx="594070" cy="712203"/>
          </a:xfrm>
          <a:custGeom>
            <a:avLst/>
            <a:gdLst/>
            <a:ahLst/>
            <a:cxnLst/>
            <a:rect l="0" t="0" r="r" b="b"/>
            <a:pathLst>
              <a:path w="21598" h="21410">
                <a:moveTo>
                  <a:pt x="21598" y="21410"/>
                </a:moveTo>
                <a:lnTo>
                  <a:pt x="2" y="21410"/>
                </a:lnTo>
                <a:cubicBezTo>
                  <a:pt x="2" y="21410"/>
                  <a:pt x="-2" y="7113"/>
                  <a:pt x="2" y="4962"/>
                </a:cubicBezTo>
                <a:cubicBezTo>
                  <a:pt x="746" y="5222"/>
                  <a:pt x="1541" y="5463"/>
                  <a:pt x="2022" y="5604"/>
                </a:cubicBezTo>
                <a:cubicBezTo>
                  <a:pt x="2999" y="5892"/>
                  <a:pt x="5001" y="6273"/>
                  <a:pt x="5989" y="6128"/>
                </a:cubicBezTo>
                <a:cubicBezTo>
                  <a:pt x="6974" y="5983"/>
                  <a:pt x="7544" y="5681"/>
                  <a:pt x="7375" y="4800"/>
                </a:cubicBezTo>
                <a:cubicBezTo>
                  <a:pt x="7207" y="3920"/>
                  <a:pt x="6429" y="3551"/>
                  <a:pt x="6450" y="2481"/>
                </a:cubicBezTo>
                <a:cubicBezTo>
                  <a:pt x="6471" y="1410"/>
                  <a:pt x="7649" y="321"/>
                  <a:pt x="9495" y="65"/>
                </a:cubicBezTo>
                <a:cubicBezTo>
                  <a:pt x="11344" y="-190"/>
                  <a:pt x="14074" y="289"/>
                  <a:pt x="14221" y="1681"/>
                </a:cubicBezTo>
                <a:cubicBezTo>
                  <a:pt x="14368" y="3073"/>
                  <a:pt x="13424" y="3713"/>
                  <a:pt x="13212" y="4225"/>
                </a:cubicBezTo>
                <a:cubicBezTo>
                  <a:pt x="13003" y="4737"/>
                  <a:pt x="12668" y="5536"/>
                  <a:pt x="13528" y="6000"/>
                </a:cubicBezTo>
                <a:cubicBezTo>
                  <a:pt x="14389" y="6462"/>
                  <a:pt x="15439" y="6145"/>
                  <a:pt x="16551" y="5920"/>
                </a:cubicBezTo>
                <a:cubicBezTo>
                  <a:pt x="17216" y="5785"/>
                  <a:pt x="19575" y="5342"/>
                  <a:pt x="21598" y="4962"/>
                </a:cubicBezTo>
                <a:cubicBezTo>
                  <a:pt x="21598" y="6072"/>
                  <a:pt x="21598" y="21410"/>
                  <a:pt x="21598" y="21410"/>
                </a:cubicBezTo>
                <a:close/>
                <a:moveTo>
                  <a:pt x="21598" y="21410"/>
                </a:moveTo>
              </a:path>
            </a:pathLst>
          </a:custGeom>
          <a:solidFill>
            <a:schemeClr val="accent1"/>
          </a:solidFill>
          <a:ln w="11430" cap="flat">
            <a:solidFill>
              <a:srgbClr val="FFFFFF"/>
            </a:solidFill>
            <a:prstDash val="solid"/>
            <a:miter lim="800000"/>
            <a:headEnd type="none" w="med" len="med"/>
            <a:tailEnd type="none" w="med" len="med"/>
          </a:ln>
        </p:spPr>
        <p:txBody>
          <a:bodyPr lIns="0" tIns="0" rIns="0" bIns="0"/>
          <a:lstStyle/>
          <a:p>
            <a:endParaRPr lang="en-US"/>
          </a:p>
        </p:txBody>
      </p:sp>
      <p:grpSp>
        <p:nvGrpSpPr>
          <p:cNvPr id="55" name="Group 54"/>
          <p:cNvGrpSpPr/>
          <p:nvPr/>
        </p:nvGrpSpPr>
        <p:grpSpPr>
          <a:xfrm>
            <a:off x="8323267" y="1525416"/>
            <a:ext cx="1586451" cy="1586451"/>
            <a:chOff x="3060700" y="4533900"/>
            <a:chExt cx="1336675" cy="1336675"/>
          </a:xfrm>
          <a:solidFill>
            <a:schemeClr val="accent1"/>
          </a:solidFill>
        </p:grpSpPr>
        <p:sp>
          <p:nvSpPr>
            <p:cNvPr id="56" name="AutoShape 1"/>
            <p:cNvSpPr>
              <a:spLocks/>
            </p:cNvSpPr>
            <p:nvPr/>
          </p:nvSpPr>
          <p:spPr bwMode="auto">
            <a:xfrm>
              <a:off x="3657600" y="4533900"/>
              <a:ext cx="739775" cy="739775"/>
            </a:xfrm>
            <a:custGeom>
              <a:avLst/>
              <a:gdLst/>
              <a:ahLst/>
              <a:cxnLst/>
              <a:rect l="0" t="0" r="r" b="b"/>
              <a:pathLst>
                <a:path w="21600" h="21600">
                  <a:moveTo>
                    <a:pt x="4686" y="4685"/>
                  </a:moveTo>
                  <a:cubicBezTo>
                    <a:pt x="6776" y="4685"/>
                    <a:pt x="8867" y="4685"/>
                    <a:pt x="10958" y="4685"/>
                  </a:cubicBezTo>
                  <a:cubicBezTo>
                    <a:pt x="11763" y="4685"/>
                    <a:pt x="12179" y="4054"/>
                    <a:pt x="11858" y="3314"/>
                  </a:cubicBezTo>
                  <a:cubicBezTo>
                    <a:pt x="11857" y="3312"/>
                    <a:pt x="11856" y="3311"/>
                    <a:pt x="11856" y="3309"/>
                  </a:cubicBezTo>
                  <a:lnTo>
                    <a:pt x="11855" y="3306"/>
                  </a:lnTo>
                  <a:lnTo>
                    <a:pt x="11853" y="3303"/>
                  </a:lnTo>
                  <a:cubicBezTo>
                    <a:pt x="11511" y="2517"/>
                    <a:pt x="11157" y="1650"/>
                    <a:pt x="11648" y="842"/>
                  </a:cubicBezTo>
                  <a:cubicBezTo>
                    <a:pt x="11663" y="818"/>
                    <a:pt x="11678" y="794"/>
                    <a:pt x="11694" y="771"/>
                  </a:cubicBezTo>
                  <a:cubicBezTo>
                    <a:pt x="12020" y="288"/>
                    <a:pt x="12561" y="0"/>
                    <a:pt x="13144" y="0"/>
                  </a:cubicBezTo>
                  <a:cubicBezTo>
                    <a:pt x="13727" y="0"/>
                    <a:pt x="14267" y="288"/>
                    <a:pt x="14593" y="771"/>
                  </a:cubicBezTo>
                  <a:cubicBezTo>
                    <a:pt x="14609" y="794"/>
                    <a:pt x="14625" y="818"/>
                    <a:pt x="14639" y="842"/>
                  </a:cubicBezTo>
                  <a:cubicBezTo>
                    <a:pt x="15130" y="1650"/>
                    <a:pt x="14776" y="2517"/>
                    <a:pt x="14434" y="3303"/>
                  </a:cubicBezTo>
                  <a:lnTo>
                    <a:pt x="14433" y="3307"/>
                  </a:lnTo>
                  <a:cubicBezTo>
                    <a:pt x="14432" y="3310"/>
                    <a:pt x="14430" y="3313"/>
                    <a:pt x="14430" y="3314"/>
                  </a:cubicBezTo>
                  <a:cubicBezTo>
                    <a:pt x="14109" y="4054"/>
                    <a:pt x="14524" y="4685"/>
                    <a:pt x="15330" y="4685"/>
                  </a:cubicBezTo>
                  <a:lnTo>
                    <a:pt x="21600" y="4685"/>
                  </a:lnTo>
                  <a:lnTo>
                    <a:pt x="21600" y="10955"/>
                  </a:lnTo>
                  <a:cubicBezTo>
                    <a:pt x="21600" y="11575"/>
                    <a:pt x="21160" y="11862"/>
                    <a:pt x="20593" y="11613"/>
                  </a:cubicBezTo>
                  <a:cubicBezTo>
                    <a:pt x="19048" y="10936"/>
                    <a:pt x="16915" y="10928"/>
                    <a:pt x="16915" y="13142"/>
                  </a:cubicBezTo>
                  <a:cubicBezTo>
                    <a:pt x="16915" y="15357"/>
                    <a:pt x="19048" y="15349"/>
                    <a:pt x="20593" y="14671"/>
                  </a:cubicBezTo>
                  <a:cubicBezTo>
                    <a:pt x="21160" y="14422"/>
                    <a:pt x="21600" y="14710"/>
                    <a:pt x="21600" y="15329"/>
                  </a:cubicBezTo>
                  <a:lnTo>
                    <a:pt x="21600" y="21600"/>
                  </a:lnTo>
                  <a:lnTo>
                    <a:pt x="15330" y="21600"/>
                  </a:lnTo>
                  <a:cubicBezTo>
                    <a:pt x="14714" y="21600"/>
                    <a:pt x="14426" y="21162"/>
                    <a:pt x="14671" y="20597"/>
                  </a:cubicBezTo>
                  <a:lnTo>
                    <a:pt x="14672" y="20594"/>
                  </a:lnTo>
                  <a:cubicBezTo>
                    <a:pt x="14674" y="20590"/>
                    <a:pt x="14676" y="20586"/>
                    <a:pt x="14676" y="20586"/>
                  </a:cubicBezTo>
                  <a:cubicBezTo>
                    <a:pt x="15057" y="19708"/>
                    <a:pt x="15409" y="18781"/>
                    <a:pt x="14864" y="17883"/>
                  </a:cubicBezTo>
                  <a:cubicBezTo>
                    <a:pt x="14847" y="17855"/>
                    <a:pt x="14830" y="17828"/>
                    <a:pt x="14812" y="17801"/>
                  </a:cubicBezTo>
                  <a:cubicBezTo>
                    <a:pt x="14437" y="17246"/>
                    <a:pt x="13814" y="16915"/>
                    <a:pt x="13144" y="16915"/>
                  </a:cubicBezTo>
                  <a:cubicBezTo>
                    <a:pt x="12473" y="16915"/>
                    <a:pt x="11851" y="17246"/>
                    <a:pt x="11476" y="17801"/>
                  </a:cubicBezTo>
                  <a:cubicBezTo>
                    <a:pt x="11458" y="17828"/>
                    <a:pt x="11440" y="17855"/>
                    <a:pt x="11424" y="17883"/>
                  </a:cubicBezTo>
                  <a:cubicBezTo>
                    <a:pt x="10879" y="18780"/>
                    <a:pt x="11229" y="19705"/>
                    <a:pt x="11611" y="20583"/>
                  </a:cubicBezTo>
                  <a:cubicBezTo>
                    <a:pt x="11613" y="20588"/>
                    <a:pt x="11614" y="20592"/>
                    <a:pt x="11616" y="20597"/>
                  </a:cubicBezTo>
                  <a:cubicBezTo>
                    <a:pt x="11862" y="21162"/>
                    <a:pt x="11574" y="21599"/>
                    <a:pt x="10958" y="21600"/>
                  </a:cubicBezTo>
                  <a:cubicBezTo>
                    <a:pt x="8867" y="21600"/>
                    <a:pt x="6776" y="21600"/>
                    <a:pt x="4686" y="21600"/>
                  </a:cubicBezTo>
                  <a:lnTo>
                    <a:pt x="4686" y="15329"/>
                  </a:lnTo>
                  <a:cubicBezTo>
                    <a:pt x="4686" y="14522"/>
                    <a:pt x="4049" y="14106"/>
                    <a:pt x="3309" y="14430"/>
                  </a:cubicBezTo>
                  <a:cubicBezTo>
                    <a:pt x="3118" y="14514"/>
                    <a:pt x="2921" y="14586"/>
                    <a:pt x="2721" y="14644"/>
                  </a:cubicBezTo>
                  <a:cubicBezTo>
                    <a:pt x="2073" y="14834"/>
                    <a:pt x="1182" y="14934"/>
                    <a:pt x="593" y="14527"/>
                  </a:cubicBezTo>
                  <a:cubicBezTo>
                    <a:pt x="135" y="14209"/>
                    <a:pt x="0" y="13673"/>
                    <a:pt x="0" y="13142"/>
                  </a:cubicBezTo>
                  <a:cubicBezTo>
                    <a:pt x="0" y="12612"/>
                    <a:pt x="135" y="12075"/>
                    <a:pt x="593" y="11757"/>
                  </a:cubicBezTo>
                  <a:cubicBezTo>
                    <a:pt x="1330" y="11247"/>
                    <a:pt x="2542" y="11518"/>
                    <a:pt x="3309" y="11854"/>
                  </a:cubicBezTo>
                  <a:cubicBezTo>
                    <a:pt x="4049" y="12178"/>
                    <a:pt x="4686" y="11762"/>
                    <a:pt x="4686" y="10955"/>
                  </a:cubicBezTo>
                  <a:cubicBezTo>
                    <a:pt x="4686" y="10955"/>
                    <a:pt x="4686" y="4685"/>
                    <a:pt x="4686" y="4685"/>
                  </a:cubicBezTo>
                  <a:close/>
                  <a:moveTo>
                    <a:pt x="4686" y="468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57" name="AutoShape 2"/>
            <p:cNvSpPr>
              <a:spLocks/>
            </p:cNvSpPr>
            <p:nvPr/>
          </p:nvSpPr>
          <p:spPr bwMode="auto">
            <a:xfrm>
              <a:off x="3060700" y="4533900"/>
              <a:ext cx="739775" cy="739775"/>
            </a:xfrm>
            <a:custGeom>
              <a:avLst/>
              <a:gdLst/>
              <a:ahLst/>
              <a:cxnLst/>
              <a:rect l="0" t="0" r="r" b="b"/>
              <a:pathLst>
                <a:path w="21600" h="21600">
                  <a:moveTo>
                    <a:pt x="4685" y="4685"/>
                  </a:moveTo>
                  <a:cubicBezTo>
                    <a:pt x="6776" y="4685"/>
                    <a:pt x="8867" y="4685"/>
                    <a:pt x="10957" y="4685"/>
                  </a:cubicBezTo>
                  <a:cubicBezTo>
                    <a:pt x="11763" y="4685"/>
                    <a:pt x="12179" y="4054"/>
                    <a:pt x="11857" y="3314"/>
                  </a:cubicBezTo>
                  <a:cubicBezTo>
                    <a:pt x="11857" y="3312"/>
                    <a:pt x="11856" y="3311"/>
                    <a:pt x="11855" y="3309"/>
                  </a:cubicBezTo>
                  <a:lnTo>
                    <a:pt x="11854" y="3306"/>
                  </a:lnTo>
                  <a:lnTo>
                    <a:pt x="11853" y="3303"/>
                  </a:lnTo>
                  <a:cubicBezTo>
                    <a:pt x="11511" y="2517"/>
                    <a:pt x="11157" y="1650"/>
                    <a:pt x="11648" y="842"/>
                  </a:cubicBezTo>
                  <a:cubicBezTo>
                    <a:pt x="11663" y="818"/>
                    <a:pt x="11678" y="794"/>
                    <a:pt x="11694" y="771"/>
                  </a:cubicBezTo>
                  <a:cubicBezTo>
                    <a:pt x="12020" y="288"/>
                    <a:pt x="12561" y="0"/>
                    <a:pt x="13143" y="0"/>
                  </a:cubicBezTo>
                  <a:cubicBezTo>
                    <a:pt x="13726" y="0"/>
                    <a:pt x="14267" y="288"/>
                    <a:pt x="14593" y="771"/>
                  </a:cubicBezTo>
                  <a:cubicBezTo>
                    <a:pt x="14609" y="794"/>
                    <a:pt x="14624" y="818"/>
                    <a:pt x="14639" y="842"/>
                  </a:cubicBezTo>
                  <a:cubicBezTo>
                    <a:pt x="15130" y="1650"/>
                    <a:pt x="14776" y="2517"/>
                    <a:pt x="14434" y="3303"/>
                  </a:cubicBezTo>
                  <a:lnTo>
                    <a:pt x="14433" y="3307"/>
                  </a:lnTo>
                  <a:cubicBezTo>
                    <a:pt x="14431" y="3310"/>
                    <a:pt x="14430" y="3313"/>
                    <a:pt x="14430" y="3314"/>
                  </a:cubicBezTo>
                  <a:cubicBezTo>
                    <a:pt x="14108" y="4054"/>
                    <a:pt x="14524" y="4685"/>
                    <a:pt x="15330" y="4685"/>
                  </a:cubicBezTo>
                  <a:lnTo>
                    <a:pt x="21600" y="4685"/>
                  </a:lnTo>
                  <a:lnTo>
                    <a:pt x="21600" y="10955"/>
                  </a:lnTo>
                  <a:cubicBezTo>
                    <a:pt x="21600" y="11575"/>
                    <a:pt x="21160" y="11862"/>
                    <a:pt x="20592" y="11613"/>
                  </a:cubicBezTo>
                  <a:cubicBezTo>
                    <a:pt x="19047" y="10936"/>
                    <a:pt x="16914" y="10928"/>
                    <a:pt x="16914" y="13142"/>
                  </a:cubicBezTo>
                  <a:cubicBezTo>
                    <a:pt x="16914" y="15357"/>
                    <a:pt x="19047" y="15349"/>
                    <a:pt x="20592" y="14671"/>
                  </a:cubicBezTo>
                  <a:cubicBezTo>
                    <a:pt x="21160" y="14422"/>
                    <a:pt x="21600" y="14710"/>
                    <a:pt x="21600" y="15329"/>
                  </a:cubicBezTo>
                  <a:lnTo>
                    <a:pt x="21600" y="21600"/>
                  </a:lnTo>
                  <a:lnTo>
                    <a:pt x="15330" y="21600"/>
                  </a:lnTo>
                  <a:cubicBezTo>
                    <a:pt x="14714" y="21600"/>
                    <a:pt x="14425" y="21162"/>
                    <a:pt x="14671" y="20597"/>
                  </a:cubicBezTo>
                  <a:lnTo>
                    <a:pt x="14672" y="20594"/>
                  </a:lnTo>
                  <a:cubicBezTo>
                    <a:pt x="14674" y="20590"/>
                    <a:pt x="14675" y="20586"/>
                    <a:pt x="14676" y="20586"/>
                  </a:cubicBezTo>
                  <a:cubicBezTo>
                    <a:pt x="15057" y="19708"/>
                    <a:pt x="15409" y="18781"/>
                    <a:pt x="14864" y="17883"/>
                  </a:cubicBezTo>
                  <a:cubicBezTo>
                    <a:pt x="14847" y="17855"/>
                    <a:pt x="14829" y="17828"/>
                    <a:pt x="14811" y="17801"/>
                  </a:cubicBezTo>
                  <a:cubicBezTo>
                    <a:pt x="14436" y="17246"/>
                    <a:pt x="13814" y="16915"/>
                    <a:pt x="13143" y="16915"/>
                  </a:cubicBezTo>
                  <a:cubicBezTo>
                    <a:pt x="12473" y="16915"/>
                    <a:pt x="11851" y="17246"/>
                    <a:pt x="11476" y="17801"/>
                  </a:cubicBezTo>
                  <a:cubicBezTo>
                    <a:pt x="11458" y="17828"/>
                    <a:pt x="11440" y="17855"/>
                    <a:pt x="11423" y="17883"/>
                  </a:cubicBezTo>
                  <a:cubicBezTo>
                    <a:pt x="10878" y="18780"/>
                    <a:pt x="11229" y="19705"/>
                    <a:pt x="11610" y="20583"/>
                  </a:cubicBezTo>
                  <a:cubicBezTo>
                    <a:pt x="11612" y="20588"/>
                    <a:pt x="11614" y="20592"/>
                    <a:pt x="11616" y="20597"/>
                  </a:cubicBezTo>
                  <a:cubicBezTo>
                    <a:pt x="11862" y="21162"/>
                    <a:pt x="11573" y="21599"/>
                    <a:pt x="10957" y="21600"/>
                  </a:cubicBezTo>
                  <a:cubicBezTo>
                    <a:pt x="8867" y="21600"/>
                    <a:pt x="6776" y="21600"/>
                    <a:pt x="4685" y="21600"/>
                  </a:cubicBezTo>
                  <a:lnTo>
                    <a:pt x="4685" y="15329"/>
                  </a:lnTo>
                  <a:cubicBezTo>
                    <a:pt x="4685" y="14522"/>
                    <a:pt x="4048" y="14106"/>
                    <a:pt x="3309" y="14430"/>
                  </a:cubicBezTo>
                  <a:cubicBezTo>
                    <a:pt x="3118" y="14514"/>
                    <a:pt x="2921" y="14586"/>
                    <a:pt x="2721" y="14644"/>
                  </a:cubicBezTo>
                  <a:cubicBezTo>
                    <a:pt x="2073" y="14834"/>
                    <a:pt x="1181" y="14934"/>
                    <a:pt x="593" y="14527"/>
                  </a:cubicBezTo>
                  <a:cubicBezTo>
                    <a:pt x="135" y="14209"/>
                    <a:pt x="0" y="13673"/>
                    <a:pt x="0" y="13142"/>
                  </a:cubicBezTo>
                  <a:cubicBezTo>
                    <a:pt x="0" y="12612"/>
                    <a:pt x="135" y="12075"/>
                    <a:pt x="593" y="11757"/>
                  </a:cubicBezTo>
                  <a:cubicBezTo>
                    <a:pt x="1330" y="11247"/>
                    <a:pt x="2542" y="11518"/>
                    <a:pt x="3309" y="11854"/>
                  </a:cubicBezTo>
                  <a:cubicBezTo>
                    <a:pt x="4048" y="12178"/>
                    <a:pt x="4685" y="11762"/>
                    <a:pt x="4685" y="10955"/>
                  </a:cubicBezTo>
                  <a:cubicBezTo>
                    <a:pt x="4685" y="10955"/>
                    <a:pt x="4685" y="4685"/>
                    <a:pt x="4685" y="4685"/>
                  </a:cubicBezTo>
                  <a:close/>
                  <a:moveTo>
                    <a:pt x="4685" y="468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58" name="AutoShape 3"/>
            <p:cNvSpPr>
              <a:spLocks/>
            </p:cNvSpPr>
            <p:nvPr/>
          </p:nvSpPr>
          <p:spPr bwMode="auto">
            <a:xfrm>
              <a:off x="3657600" y="5130800"/>
              <a:ext cx="739775" cy="739775"/>
            </a:xfrm>
            <a:custGeom>
              <a:avLst/>
              <a:gdLst/>
              <a:ahLst/>
              <a:cxnLst/>
              <a:rect l="0" t="0" r="r" b="b"/>
              <a:pathLst>
                <a:path w="21600" h="21600">
                  <a:moveTo>
                    <a:pt x="4686" y="4685"/>
                  </a:moveTo>
                  <a:cubicBezTo>
                    <a:pt x="6776" y="4685"/>
                    <a:pt x="8867" y="4685"/>
                    <a:pt x="10958" y="4685"/>
                  </a:cubicBezTo>
                  <a:cubicBezTo>
                    <a:pt x="11763" y="4685"/>
                    <a:pt x="12179" y="4054"/>
                    <a:pt x="11858" y="3314"/>
                  </a:cubicBezTo>
                  <a:cubicBezTo>
                    <a:pt x="11857" y="3312"/>
                    <a:pt x="11856" y="3311"/>
                    <a:pt x="11856" y="3309"/>
                  </a:cubicBezTo>
                  <a:lnTo>
                    <a:pt x="11855" y="3306"/>
                  </a:lnTo>
                  <a:lnTo>
                    <a:pt x="11853" y="3303"/>
                  </a:lnTo>
                  <a:cubicBezTo>
                    <a:pt x="11511" y="2516"/>
                    <a:pt x="11157" y="1649"/>
                    <a:pt x="11648" y="842"/>
                  </a:cubicBezTo>
                  <a:cubicBezTo>
                    <a:pt x="11663" y="818"/>
                    <a:pt x="11678" y="794"/>
                    <a:pt x="11694" y="771"/>
                  </a:cubicBezTo>
                  <a:cubicBezTo>
                    <a:pt x="12020" y="288"/>
                    <a:pt x="12561" y="0"/>
                    <a:pt x="13144" y="0"/>
                  </a:cubicBezTo>
                  <a:cubicBezTo>
                    <a:pt x="13727" y="0"/>
                    <a:pt x="14267" y="288"/>
                    <a:pt x="14593" y="771"/>
                  </a:cubicBezTo>
                  <a:cubicBezTo>
                    <a:pt x="14609" y="794"/>
                    <a:pt x="14625" y="818"/>
                    <a:pt x="14639" y="842"/>
                  </a:cubicBezTo>
                  <a:cubicBezTo>
                    <a:pt x="15130" y="1649"/>
                    <a:pt x="14776" y="2517"/>
                    <a:pt x="14434" y="3303"/>
                  </a:cubicBezTo>
                  <a:lnTo>
                    <a:pt x="14433" y="3307"/>
                  </a:lnTo>
                  <a:cubicBezTo>
                    <a:pt x="14432" y="3310"/>
                    <a:pt x="14430" y="3313"/>
                    <a:pt x="14430" y="3314"/>
                  </a:cubicBezTo>
                  <a:cubicBezTo>
                    <a:pt x="14109" y="4054"/>
                    <a:pt x="14524" y="4685"/>
                    <a:pt x="15330" y="4685"/>
                  </a:cubicBezTo>
                  <a:lnTo>
                    <a:pt x="21600" y="4685"/>
                  </a:lnTo>
                  <a:lnTo>
                    <a:pt x="21600" y="10955"/>
                  </a:lnTo>
                  <a:cubicBezTo>
                    <a:pt x="21600" y="11575"/>
                    <a:pt x="21160" y="11862"/>
                    <a:pt x="20593" y="11613"/>
                  </a:cubicBezTo>
                  <a:cubicBezTo>
                    <a:pt x="19048" y="10935"/>
                    <a:pt x="16915" y="10928"/>
                    <a:pt x="16915" y="13142"/>
                  </a:cubicBezTo>
                  <a:cubicBezTo>
                    <a:pt x="16915" y="15356"/>
                    <a:pt x="19048" y="15349"/>
                    <a:pt x="20593" y="14671"/>
                  </a:cubicBezTo>
                  <a:cubicBezTo>
                    <a:pt x="21160" y="14422"/>
                    <a:pt x="21600" y="14710"/>
                    <a:pt x="21600" y="15329"/>
                  </a:cubicBezTo>
                  <a:lnTo>
                    <a:pt x="21600" y="21600"/>
                  </a:lnTo>
                  <a:lnTo>
                    <a:pt x="15330" y="21600"/>
                  </a:lnTo>
                  <a:cubicBezTo>
                    <a:pt x="14714" y="21600"/>
                    <a:pt x="14426" y="21162"/>
                    <a:pt x="14671" y="20597"/>
                  </a:cubicBezTo>
                  <a:lnTo>
                    <a:pt x="14672" y="20594"/>
                  </a:lnTo>
                  <a:cubicBezTo>
                    <a:pt x="14674" y="20590"/>
                    <a:pt x="14676" y="20586"/>
                    <a:pt x="14676" y="20586"/>
                  </a:cubicBezTo>
                  <a:cubicBezTo>
                    <a:pt x="15057" y="19708"/>
                    <a:pt x="15409" y="18781"/>
                    <a:pt x="14864" y="17883"/>
                  </a:cubicBezTo>
                  <a:cubicBezTo>
                    <a:pt x="14847" y="17855"/>
                    <a:pt x="14830" y="17828"/>
                    <a:pt x="14812" y="17801"/>
                  </a:cubicBezTo>
                  <a:cubicBezTo>
                    <a:pt x="14437" y="17246"/>
                    <a:pt x="13814" y="16915"/>
                    <a:pt x="13144" y="16915"/>
                  </a:cubicBezTo>
                  <a:cubicBezTo>
                    <a:pt x="12473" y="16915"/>
                    <a:pt x="11851" y="17246"/>
                    <a:pt x="11476" y="17801"/>
                  </a:cubicBezTo>
                  <a:cubicBezTo>
                    <a:pt x="11458" y="17828"/>
                    <a:pt x="11440" y="17855"/>
                    <a:pt x="11424" y="17883"/>
                  </a:cubicBezTo>
                  <a:cubicBezTo>
                    <a:pt x="10879" y="18780"/>
                    <a:pt x="11229" y="19705"/>
                    <a:pt x="11611" y="20583"/>
                  </a:cubicBezTo>
                  <a:cubicBezTo>
                    <a:pt x="11613" y="20587"/>
                    <a:pt x="11614" y="20592"/>
                    <a:pt x="11616" y="20597"/>
                  </a:cubicBezTo>
                  <a:cubicBezTo>
                    <a:pt x="11862" y="21162"/>
                    <a:pt x="11574" y="21599"/>
                    <a:pt x="10958" y="21600"/>
                  </a:cubicBezTo>
                  <a:cubicBezTo>
                    <a:pt x="8867" y="21600"/>
                    <a:pt x="6776" y="21600"/>
                    <a:pt x="4686" y="21600"/>
                  </a:cubicBezTo>
                  <a:lnTo>
                    <a:pt x="4686" y="15329"/>
                  </a:lnTo>
                  <a:cubicBezTo>
                    <a:pt x="4686" y="14522"/>
                    <a:pt x="4049" y="14106"/>
                    <a:pt x="3309" y="14430"/>
                  </a:cubicBezTo>
                  <a:cubicBezTo>
                    <a:pt x="3118" y="14514"/>
                    <a:pt x="2921" y="14586"/>
                    <a:pt x="2721" y="14644"/>
                  </a:cubicBezTo>
                  <a:cubicBezTo>
                    <a:pt x="2073" y="14834"/>
                    <a:pt x="1182" y="14934"/>
                    <a:pt x="593" y="14527"/>
                  </a:cubicBezTo>
                  <a:cubicBezTo>
                    <a:pt x="135" y="14209"/>
                    <a:pt x="0" y="13673"/>
                    <a:pt x="0" y="13142"/>
                  </a:cubicBezTo>
                  <a:cubicBezTo>
                    <a:pt x="0" y="12612"/>
                    <a:pt x="135" y="12075"/>
                    <a:pt x="593" y="11757"/>
                  </a:cubicBezTo>
                  <a:cubicBezTo>
                    <a:pt x="1330" y="11247"/>
                    <a:pt x="2542" y="11518"/>
                    <a:pt x="3309" y="11854"/>
                  </a:cubicBezTo>
                  <a:cubicBezTo>
                    <a:pt x="4049" y="12178"/>
                    <a:pt x="4686" y="11762"/>
                    <a:pt x="4686" y="10955"/>
                  </a:cubicBezTo>
                  <a:cubicBezTo>
                    <a:pt x="4686" y="10955"/>
                    <a:pt x="4686" y="4685"/>
                    <a:pt x="4686" y="4685"/>
                  </a:cubicBezTo>
                  <a:close/>
                  <a:moveTo>
                    <a:pt x="4686" y="468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59" name="AutoShape 4"/>
            <p:cNvSpPr>
              <a:spLocks/>
            </p:cNvSpPr>
            <p:nvPr/>
          </p:nvSpPr>
          <p:spPr bwMode="auto">
            <a:xfrm>
              <a:off x="3060700" y="5130800"/>
              <a:ext cx="739775" cy="739775"/>
            </a:xfrm>
            <a:custGeom>
              <a:avLst/>
              <a:gdLst/>
              <a:ahLst/>
              <a:cxnLst/>
              <a:rect l="0" t="0" r="r" b="b"/>
              <a:pathLst>
                <a:path w="21600" h="21600">
                  <a:moveTo>
                    <a:pt x="4685" y="4685"/>
                  </a:moveTo>
                  <a:cubicBezTo>
                    <a:pt x="6776" y="4685"/>
                    <a:pt x="8867" y="4685"/>
                    <a:pt x="10957" y="4685"/>
                  </a:cubicBezTo>
                  <a:cubicBezTo>
                    <a:pt x="11763" y="4685"/>
                    <a:pt x="12179" y="4054"/>
                    <a:pt x="11857" y="3314"/>
                  </a:cubicBezTo>
                  <a:cubicBezTo>
                    <a:pt x="11857" y="3312"/>
                    <a:pt x="11856" y="3311"/>
                    <a:pt x="11855" y="3309"/>
                  </a:cubicBezTo>
                  <a:lnTo>
                    <a:pt x="11854" y="3306"/>
                  </a:lnTo>
                  <a:lnTo>
                    <a:pt x="11853" y="3303"/>
                  </a:lnTo>
                  <a:cubicBezTo>
                    <a:pt x="11511" y="2516"/>
                    <a:pt x="11157" y="1649"/>
                    <a:pt x="11648" y="842"/>
                  </a:cubicBezTo>
                  <a:cubicBezTo>
                    <a:pt x="11663" y="818"/>
                    <a:pt x="11678" y="794"/>
                    <a:pt x="11694" y="771"/>
                  </a:cubicBezTo>
                  <a:cubicBezTo>
                    <a:pt x="12020" y="288"/>
                    <a:pt x="12561" y="0"/>
                    <a:pt x="13143" y="0"/>
                  </a:cubicBezTo>
                  <a:cubicBezTo>
                    <a:pt x="13726" y="0"/>
                    <a:pt x="14267" y="288"/>
                    <a:pt x="14593" y="771"/>
                  </a:cubicBezTo>
                  <a:cubicBezTo>
                    <a:pt x="14609" y="794"/>
                    <a:pt x="14624" y="818"/>
                    <a:pt x="14639" y="842"/>
                  </a:cubicBezTo>
                  <a:cubicBezTo>
                    <a:pt x="15130" y="1649"/>
                    <a:pt x="14776" y="2517"/>
                    <a:pt x="14434" y="3303"/>
                  </a:cubicBezTo>
                  <a:lnTo>
                    <a:pt x="14433" y="3307"/>
                  </a:lnTo>
                  <a:cubicBezTo>
                    <a:pt x="14431" y="3310"/>
                    <a:pt x="14430" y="3313"/>
                    <a:pt x="14430" y="3314"/>
                  </a:cubicBezTo>
                  <a:cubicBezTo>
                    <a:pt x="14108" y="4054"/>
                    <a:pt x="14524" y="4685"/>
                    <a:pt x="15330" y="4685"/>
                  </a:cubicBezTo>
                  <a:lnTo>
                    <a:pt x="21600" y="4685"/>
                  </a:lnTo>
                  <a:lnTo>
                    <a:pt x="21600" y="10955"/>
                  </a:lnTo>
                  <a:cubicBezTo>
                    <a:pt x="21600" y="11575"/>
                    <a:pt x="21160" y="11862"/>
                    <a:pt x="20592" y="11613"/>
                  </a:cubicBezTo>
                  <a:cubicBezTo>
                    <a:pt x="19047" y="10935"/>
                    <a:pt x="16914" y="10928"/>
                    <a:pt x="16914" y="13142"/>
                  </a:cubicBezTo>
                  <a:cubicBezTo>
                    <a:pt x="16914" y="15356"/>
                    <a:pt x="19047" y="15349"/>
                    <a:pt x="20592" y="14671"/>
                  </a:cubicBezTo>
                  <a:cubicBezTo>
                    <a:pt x="21160" y="14422"/>
                    <a:pt x="21600" y="14710"/>
                    <a:pt x="21600" y="15329"/>
                  </a:cubicBezTo>
                  <a:lnTo>
                    <a:pt x="21600" y="21600"/>
                  </a:lnTo>
                  <a:lnTo>
                    <a:pt x="15330" y="21600"/>
                  </a:lnTo>
                  <a:cubicBezTo>
                    <a:pt x="14714" y="21600"/>
                    <a:pt x="14425" y="21162"/>
                    <a:pt x="14671" y="20597"/>
                  </a:cubicBezTo>
                  <a:lnTo>
                    <a:pt x="14672" y="20594"/>
                  </a:lnTo>
                  <a:cubicBezTo>
                    <a:pt x="14674" y="20590"/>
                    <a:pt x="14675" y="20586"/>
                    <a:pt x="14676" y="20586"/>
                  </a:cubicBezTo>
                  <a:cubicBezTo>
                    <a:pt x="15057" y="19708"/>
                    <a:pt x="15409" y="18781"/>
                    <a:pt x="14864" y="17883"/>
                  </a:cubicBezTo>
                  <a:cubicBezTo>
                    <a:pt x="14847" y="17855"/>
                    <a:pt x="14829" y="17828"/>
                    <a:pt x="14811" y="17801"/>
                  </a:cubicBezTo>
                  <a:cubicBezTo>
                    <a:pt x="14436" y="17246"/>
                    <a:pt x="13814" y="16915"/>
                    <a:pt x="13143" y="16915"/>
                  </a:cubicBezTo>
                  <a:cubicBezTo>
                    <a:pt x="12473" y="16915"/>
                    <a:pt x="11851" y="17246"/>
                    <a:pt x="11476" y="17801"/>
                  </a:cubicBezTo>
                  <a:cubicBezTo>
                    <a:pt x="11458" y="17828"/>
                    <a:pt x="11440" y="17855"/>
                    <a:pt x="11423" y="17883"/>
                  </a:cubicBezTo>
                  <a:cubicBezTo>
                    <a:pt x="10878" y="18780"/>
                    <a:pt x="11229" y="19705"/>
                    <a:pt x="11610" y="20583"/>
                  </a:cubicBezTo>
                  <a:cubicBezTo>
                    <a:pt x="11612" y="20587"/>
                    <a:pt x="11614" y="20592"/>
                    <a:pt x="11616" y="20597"/>
                  </a:cubicBezTo>
                  <a:cubicBezTo>
                    <a:pt x="11862" y="21162"/>
                    <a:pt x="11573" y="21599"/>
                    <a:pt x="10957" y="21600"/>
                  </a:cubicBezTo>
                  <a:cubicBezTo>
                    <a:pt x="8867" y="21600"/>
                    <a:pt x="6776" y="21600"/>
                    <a:pt x="4685" y="21600"/>
                  </a:cubicBezTo>
                  <a:lnTo>
                    <a:pt x="4685" y="15329"/>
                  </a:lnTo>
                  <a:cubicBezTo>
                    <a:pt x="4685" y="14522"/>
                    <a:pt x="4048" y="14106"/>
                    <a:pt x="3309" y="14430"/>
                  </a:cubicBezTo>
                  <a:cubicBezTo>
                    <a:pt x="3118" y="14514"/>
                    <a:pt x="2921" y="14586"/>
                    <a:pt x="2721" y="14644"/>
                  </a:cubicBezTo>
                  <a:cubicBezTo>
                    <a:pt x="2073" y="14834"/>
                    <a:pt x="1181" y="14934"/>
                    <a:pt x="593" y="14527"/>
                  </a:cubicBezTo>
                  <a:cubicBezTo>
                    <a:pt x="135" y="14209"/>
                    <a:pt x="0" y="13673"/>
                    <a:pt x="0" y="13142"/>
                  </a:cubicBezTo>
                  <a:cubicBezTo>
                    <a:pt x="0" y="12612"/>
                    <a:pt x="135" y="12075"/>
                    <a:pt x="593" y="11757"/>
                  </a:cubicBezTo>
                  <a:cubicBezTo>
                    <a:pt x="1330" y="11247"/>
                    <a:pt x="2542" y="11518"/>
                    <a:pt x="3309" y="11854"/>
                  </a:cubicBezTo>
                  <a:cubicBezTo>
                    <a:pt x="4048" y="12178"/>
                    <a:pt x="4685" y="11762"/>
                    <a:pt x="4685" y="10955"/>
                  </a:cubicBezTo>
                  <a:cubicBezTo>
                    <a:pt x="4685" y="10955"/>
                    <a:pt x="4685" y="4685"/>
                    <a:pt x="4685" y="4685"/>
                  </a:cubicBezTo>
                  <a:close/>
                  <a:moveTo>
                    <a:pt x="4685" y="4685"/>
                  </a:moveTo>
                </a:path>
              </a:pathLst>
            </a:custGeom>
            <a:grpFill/>
            <a:ln>
              <a:no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grpSp>
    </p:spTree>
    <p:extLst>
      <p:ext uri="{BB962C8B-B14F-4D97-AF65-F5344CB8AC3E}">
        <p14:creationId xmlns:p14="http://schemas.microsoft.com/office/powerpoint/2010/main" val="24843703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id</a:t>
            </a:r>
          </a:p>
        </p:txBody>
      </p:sp>
      <p:grpSp>
        <p:nvGrpSpPr>
          <p:cNvPr id="3" name="Group 2"/>
          <p:cNvGrpSpPr/>
          <p:nvPr/>
        </p:nvGrpSpPr>
        <p:grpSpPr>
          <a:xfrm>
            <a:off x="1981200" y="1103809"/>
            <a:ext cx="8229600" cy="4634180"/>
            <a:chOff x="457200" y="1601114"/>
            <a:chExt cx="8229600" cy="4634180"/>
          </a:xfrm>
        </p:grpSpPr>
        <p:cxnSp>
          <p:nvCxnSpPr>
            <p:cNvPr id="4" name="Straight Connector 3"/>
            <p:cNvCxnSpPr/>
            <p:nvPr/>
          </p:nvCxnSpPr>
          <p:spPr>
            <a:xfrm>
              <a:off x="2040492" y="2807512"/>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nvCxnSpPr>
          <p:spPr>
            <a:xfrm>
              <a:off x="3724255" y="2807512"/>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5408018" y="2807512"/>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7091782" y="2807512"/>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2040492" y="1601114"/>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3724255" y="1601114"/>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5408018" y="1601114"/>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7091782" y="1601114"/>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457200" y="2711805"/>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2169983" y="2711805"/>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3854839" y="2711805"/>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5539695" y="2711805"/>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7217531" y="2711805"/>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2040492" y="4013910"/>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3724255" y="4013910"/>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5408018" y="4013910"/>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7091782" y="4013910"/>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2040492" y="5220310"/>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3724255" y="5220310"/>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5408018" y="5220310"/>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7091782" y="5220310"/>
              <a:ext cx="0" cy="1014984"/>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a:off x="457200" y="3918203"/>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a:off x="2169983" y="3918203"/>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3854839" y="3918203"/>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p:nvCxnSpPr>
          <p:spPr>
            <a:xfrm>
              <a:off x="5539695" y="3918203"/>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7217531" y="3918203"/>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a:off x="457200" y="5124601"/>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2169983" y="5124601"/>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3854839" y="5124601"/>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5539695" y="5124601"/>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7217531" y="5124601"/>
              <a:ext cx="1469269" cy="0"/>
            </a:xfrm>
            <a:prstGeom prst="line">
              <a:avLst/>
            </a:prstGeom>
            <a:ln w="12700" cap="rnd" cmpd="sng">
              <a:solidFill>
                <a:schemeClr val="accent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894890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ecklist</a:t>
            </a:r>
          </a:p>
        </p:txBody>
      </p:sp>
      <p:grpSp>
        <p:nvGrpSpPr>
          <p:cNvPr id="3" name="Group 2"/>
          <p:cNvGrpSpPr/>
          <p:nvPr/>
        </p:nvGrpSpPr>
        <p:grpSpPr>
          <a:xfrm rot="21425390">
            <a:off x="2382762" y="887402"/>
            <a:ext cx="7747534" cy="5486399"/>
            <a:chOff x="762000" y="685800"/>
            <a:chExt cx="7747534" cy="5486399"/>
          </a:xfrm>
        </p:grpSpPr>
        <p:grpSp>
          <p:nvGrpSpPr>
            <p:cNvPr id="4" name="Group 3"/>
            <p:cNvGrpSpPr/>
            <p:nvPr/>
          </p:nvGrpSpPr>
          <p:grpSpPr>
            <a:xfrm>
              <a:off x="762000" y="685800"/>
              <a:ext cx="7747534" cy="5486399"/>
              <a:chOff x="914406" y="609601"/>
              <a:chExt cx="7747534" cy="5486399"/>
            </a:xfrm>
          </p:grpSpPr>
          <p:sp>
            <p:nvSpPr>
              <p:cNvPr id="24" name="Rectangle 95"/>
              <p:cNvSpPr/>
              <p:nvPr/>
            </p:nvSpPr>
            <p:spPr>
              <a:xfrm>
                <a:off x="914406" y="609601"/>
                <a:ext cx="7747534" cy="5486399"/>
              </a:xfrm>
              <a:custGeom>
                <a:avLst/>
                <a:gdLst>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7863" h="2487863">
                    <a:moveTo>
                      <a:pt x="0" y="0"/>
                    </a:moveTo>
                    <a:lnTo>
                      <a:pt x="2487863" y="0"/>
                    </a:lnTo>
                    <a:lnTo>
                      <a:pt x="2487863" y="2487863"/>
                    </a:lnTo>
                    <a:cubicBezTo>
                      <a:pt x="1243156" y="2339408"/>
                      <a:pt x="1241059" y="2352572"/>
                      <a:pt x="0" y="2487863"/>
                    </a:cubicBezTo>
                    <a:lnTo>
                      <a:pt x="0" y="0"/>
                    </a:lnTo>
                    <a:close/>
                  </a:path>
                </a:pathLst>
              </a:custGeom>
              <a:solidFill>
                <a:schemeClr val="tx1">
                  <a:alpha val="37000"/>
                </a:schemeClr>
              </a:solidFill>
              <a:ln>
                <a:noFill/>
              </a:ln>
              <a:effectLst>
                <a:outerShdw blurRad="40000" dist="23000" dir="5400000" rotWithShape="0">
                  <a:srgbClr val="000000">
                    <a:alpha val="35000"/>
                  </a:srgbClr>
                </a:outerShdw>
                <a:softEdge rad="1270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sp>
            <p:nvSpPr>
              <p:cNvPr id="25" name="Rectangle 24"/>
              <p:cNvSpPr/>
              <p:nvPr/>
            </p:nvSpPr>
            <p:spPr>
              <a:xfrm>
                <a:off x="1110559" y="770275"/>
                <a:ext cx="7355228" cy="49084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grpSp>
        <p:grpSp>
          <p:nvGrpSpPr>
            <p:cNvPr id="5" name="Group 4"/>
            <p:cNvGrpSpPr/>
            <p:nvPr/>
          </p:nvGrpSpPr>
          <p:grpSpPr>
            <a:xfrm>
              <a:off x="1936390" y="1669474"/>
              <a:ext cx="502004" cy="417945"/>
              <a:chOff x="1657925" y="1258455"/>
              <a:chExt cx="698923" cy="581890"/>
            </a:xfrm>
          </p:grpSpPr>
          <p:sp>
            <p:nvSpPr>
              <p:cNvPr id="22" name="Rounded Rectangle 21"/>
              <p:cNvSpPr/>
              <p:nvPr/>
            </p:nvSpPr>
            <p:spPr>
              <a:xfrm>
                <a:off x="1657925" y="1306945"/>
                <a:ext cx="533400" cy="533400"/>
              </a:xfrm>
              <a:prstGeom prst="roundRect">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AutoShape 1"/>
              <p:cNvSpPr>
                <a:spLocks/>
              </p:cNvSpPr>
              <p:nvPr/>
            </p:nvSpPr>
            <p:spPr bwMode="auto">
              <a:xfrm>
                <a:off x="1687945" y="1258455"/>
                <a:ext cx="668903" cy="517236"/>
              </a:xfrm>
              <a:custGeom>
                <a:avLst/>
                <a:gdLst/>
                <a:ahLst/>
                <a:cxnLst/>
                <a:rect l="0" t="0" r="r" b="b"/>
                <a:pathLst>
                  <a:path w="21600" h="21600">
                    <a:moveTo>
                      <a:pt x="6791" y="12073"/>
                    </a:moveTo>
                    <a:cubicBezTo>
                      <a:pt x="7553" y="10476"/>
                      <a:pt x="13096" y="1229"/>
                      <a:pt x="21600" y="0"/>
                    </a:cubicBezTo>
                    <a:cubicBezTo>
                      <a:pt x="16238" y="3068"/>
                      <a:pt x="9745" y="11250"/>
                      <a:pt x="6874" y="21600"/>
                    </a:cubicBezTo>
                    <a:cubicBezTo>
                      <a:pt x="5498" y="16476"/>
                      <a:pt x="1661" y="10501"/>
                      <a:pt x="0" y="8599"/>
                    </a:cubicBezTo>
                    <a:cubicBezTo>
                      <a:pt x="1452" y="8599"/>
                      <a:pt x="4097" y="9056"/>
                      <a:pt x="6791" y="12073"/>
                    </a:cubicBezTo>
                    <a:close/>
                    <a:moveTo>
                      <a:pt x="6791" y="12073"/>
                    </a:moveTo>
                  </a:path>
                </a:pathLst>
              </a:custGeom>
              <a:solidFill>
                <a:schemeClr val="accent1"/>
              </a:solidFill>
              <a:ln>
                <a:noFill/>
              </a:ln>
            </p:spPr>
            <p:txBody>
              <a:bodyPr lIns="0" tIns="0" rIns="0" bIns="0"/>
              <a:lstStyle/>
              <a:p>
                <a:endParaRPr lang="en-US">
                  <a:solidFill>
                    <a:schemeClr val="accent1"/>
                  </a:solidFill>
                </a:endParaRPr>
              </a:p>
            </p:txBody>
          </p:sp>
        </p:grpSp>
        <p:sp>
          <p:nvSpPr>
            <p:cNvPr id="6" name="Rectangle 5"/>
            <p:cNvSpPr/>
            <p:nvPr/>
          </p:nvSpPr>
          <p:spPr>
            <a:xfrm>
              <a:off x="2443818" y="1447799"/>
              <a:ext cx="5404776" cy="3703578"/>
            </a:xfrm>
            <a:prstGeom prst="rect">
              <a:avLst/>
            </a:prstGeom>
          </p:spPr>
          <p:txBody>
            <a:bodyPr wrap="square" anchor="t">
              <a:spAutoFit/>
            </a:bodyPr>
            <a:lstStyle/>
            <a:p>
              <a:pPr>
                <a:lnSpc>
                  <a:spcPct val="180000"/>
                </a:lnSpc>
              </a:pPr>
              <a:r>
                <a:rPr lang="en-US" sz="2200" dirty="0" err="1">
                  <a:latin typeface="Georgia"/>
                  <a:cs typeface="Georgia"/>
                </a:rPr>
                <a:t>Lorem</a:t>
              </a:r>
              <a:r>
                <a:rPr lang="en-US" sz="2200" dirty="0">
                  <a:latin typeface="Georgia"/>
                  <a:cs typeface="Georgia"/>
                </a:rPr>
                <a:t> </a:t>
              </a:r>
              <a:r>
                <a:rPr lang="en-US" sz="2200" dirty="0" err="1">
                  <a:latin typeface="Georgia"/>
                  <a:cs typeface="Georgia"/>
                </a:rPr>
                <a:t>Ipsum</a:t>
              </a:r>
              <a:endParaRPr lang="en-US" sz="2200" dirty="0">
                <a:latin typeface="Georgia"/>
                <a:cs typeface="Georgia"/>
              </a:endParaRPr>
            </a:p>
            <a:p>
              <a:pPr>
                <a:lnSpc>
                  <a:spcPct val="180000"/>
                </a:lnSpc>
              </a:pPr>
              <a:r>
                <a:rPr lang="en-US" sz="2200" dirty="0" err="1">
                  <a:latin typeface="Georgia"/>
                  <a:cs typeface="Georgia"/>
                </a:rPr>
                <a:t>Lorem</a:t>
              </a:r>
              <a:r>
                <a:rPr lang="en-US" sz="2200" dirty="0">
                  <a:latin typeface="Georgia"/>
                  <a:cs typeface="Georgia"/>
                </a:rPr>
                <a:t> </a:t>
              </a:r>
              <a:r>
                <a:rPr lang="en-US" sz="2200" dirty="0" err="1">
                  <a:latin typeface="Georgia"/>
                  <a:cs typeface="Georgia"/>
                </a:rPr>
                <a:t>Ipsum</a:t>
              </a:r>
              <a:endParaRPr lang="en-US" sz="2200" dirty="0">
                <a:latin typeface="Georgia"/>
                <a:cs typeface="Georgia"/>
              </a:endParaRPr>
            </a:p>
            <a:p>
              <a:pPr>
                <a:lnSpc>
                  <a:spcPct val="180000"/>
                </a:lnSpc>
              </a:pPr>
              <a:r>
                <a:rPr lang="en-US" sz="2200" dirty="0" err="1">
                  <a:latin typeface="Georgia"/>
                  <a:cs typeface="Georgia"/>
                </a:rPr>
                <a:t>Lorem</a:t>
              </a:r>
              <a:r>
                <a:rPr lang="en-US" sz="2200" dirty="0">
                  <a:latin typeface="Georgia"/>
                  <a:cs typeface="Georgia"/>
                </a:rPr>
                <a:t> </a:t>
              </a:r>
              <a:r>
                <a:rPr lang="en-US" sz="2200" dirty="0" err="1">
                  <a:latin typeface="Georgia"/>
                  <a:cs typeface="Georgia"/>
                </a:rPr>
                <a:t>Ipsum</a:t>
              </a:r>
              <a:endParaRPr lang="en-US" sz="2200" dirty="0">
                <a:latin typeface="Georgia"/>
                <a:cs typeface="Georgia"/>
              </a:endParaRPr>
            </a:p>
            <a:p>
              <a:pPr>
                <a:lnSpc>
                  <a:spcPct val="180000"/>
                </a:lnSpc>
              </a:pPr>
              <a:r>
                <a:rPr lang="en-US" sz="2200" dirty="0" err="1">
                  <a:latin typeface="Georgia"/>
                  <a:cs typeface="Georgia"/>
                </a:rPr>
                <a:t>Lorem</a:t>
              </a:r>
              <a:r>
                <a:rPr lang="en-US" sz="2200" dirty="0">
                  <a:latin typeface="Georgia"/>
                  <a:cs typeface="Georgia"/>
                </a:rPr>
                <a:t> </a:t>
              </a:r>
              <a:r>
                <a:rPr lang="en-US" sz="2200" dirty="0" err="1">
                  <a:latin typeface="Georgia"/>
                  <a:cs typeface="Georgia"/>
                </a:rPr>
                <a:t>Ipsum</a:t>
              </a:r>
              <a:endParaRPr lang="en-US" sz="2200" dirty="0">
                <a:latin typeface="Georgia"/>
                <a:cs typeface="Georgia"/>
              </a:endParaRPr>
            </a:p>
            <a:p>
              <a:pPr>
                <a:lnSpc>
                  <a:spcPct val="180000"/>
                </a:lnSpc>
              </a:pPr>
              <a:r>
                <a:rPr lang="en-US" sz="2200" dirty="0" err="1">
                  <a:latin typeface="Georgia"/>
                  <a:cs typeface="Georgia"/>
                </a:rPr>
                <a:t>Lorem</a:t>
              </a:r>
              <a:r>
                <a:rPr lang="en-US" sz="2200" dirty="0">
                  <a:latin typeface="Georgia"/>
                  <a:cs typeface="Georgia"/>
                </a:rPr>
                <a:t> </a:t>
              </a:r>
              <a:r>
                <a:rPr lang="en-US" sz="2200" dirty="0" err="1">
                  <a:latin typeface="Georgia"/>
                  <a:cs typeface="Georgia"/>
                </a:rPr>
                <a:t>Ipsum</a:t>
              </a:r>
              <a:endParaRPr lang="en-US" sz="2200" dirty="0">
                <a:latin typeface="Georgia"/>
                <a:cs typeface="Georgia"/>
              </a:endParaRPr>
            </a:p>
            <a:p>
              <a:pPr>
                <a:lnSpc>
                  <a:spcPct val="180000"/>
                </a:lnSpc>
              </a:pPr>
              <a:r>
                <a:rPr lang="en-US" sz="2200" dirty="0" err="1">
                  <a:latin typeface="Georgia"/>
                  <a:cs typeface="Georgia"/>
                </a:rPr>
                <a:t>Lorem</a:t>
              </a:r>
              <a:r>
                <a:rPr lang="en-US" sz="2200" dirty="0">
                  <a:latin typeface="Georgia"/>
                  <a:cs typeface="Georgia"/>
                </a:rPr>
                <a:t> </a:t>
              </a:r>
              <a:r>
                <a:rPr lang="en-US" sz="2200" dirty="0" err="1">
                  <a:latin typeface="Georgia"/>
                  <a:cs typeface="Georgia"/>
                </a:rPr>
                <a:t>Ipsum</a:t>
              </a:r>
              <a:endParaRPr lang="en-US" sz="2200" dirty="0">
                <a:latin typeface="Georgia"/>
                <a:cs typeface="Georgia"/>
              </a:endParaRPr>
            </a:p>
          </p:txBody>
        </p:sp>
        <p:grpSp>
          <p:nvGrpSpPr>
            <p:cNvPr id="7" name="Group 6"/>
            <p:cNvGrpSpPr/>
            <p:nvPr/>
          </p:nvGrpSpPr>
          <p:grpSpPr>
            <a:xfrm>
              <a:off x="1936390" y="2272147"/>
              <a:ext cx="502004" cy="417945"/>
              <a:chOff x="1657925" y="1258455"/>
              <a:chExt cx="698923" cy="581890"/>
            </a:xfrm>
          </p:grpSpPr>
          <p:sp>
            <p:nvSpPr>
              <p:cNvPr id="20" name="Rounded Rectangle 19"/>
              <p:cNvSpPr/>
              <p:nvPr/>
            </p:nvSpPr>
            <p:spPr>
              <a:xfrm>
                <a:off x="1657925" y="1306945"/>
                <a:ext cx="533400" cy="533400"/>
              </a:xfrm>
              <a:prstGeom prst="roundRect">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AutoShape 1"/>
              <p:cNvSpPr>
                <a:spLocks/>
              </p:cNvSpPr>
              <p:nvPr/>
            </p:nvSpPr>
            <p:spPr bwMode="auto">
              <a:xfrm>
                <a:off x="1687945" y="1258455"/>
                <a:ext cx="668903" cy="517236"/>
              </a:xfrm>
              <a:custGeom>
                <a:avLst/>
                <a:gdLst/>
                <a:ahLst/>
                <a:cxnLst/>
                <a:rect l="0" t="0" r="r" b="b"/>
                <a:pathLst>
                  <a:path w="21600" h="21600">
                    <a:moveTo>
                      <a:pt x="6791" y="12073"/>
                    </a:moveTo>
                    <a:cubicBezTo>
                      <a:pt x="7553" y="10476"/>
                      <a:pt x="13096" y="1229"/>
                      <a:pt x="21600" y="0"/>
                    </a:cubicBezTo>
                    <a:cubicBezTo>
                      <a:pt x="16238" y="3068"/>
                      <a:pt x="9745" y="11250"/>
                      <a:pt x="6874" y="21600"/>
                    </a:cubicBezTo>
                    <a:cubicBezTo>
                      <a:pt x="5498" y="16476"/>
                      <a:pt x="1661" y="10501"/>
                      <a:pt x="0" y="8599"/>
                    </a:cubicBezTo>
                    <a:cubicBezTo>
                      <a:pt x="1452" y="8599"/>
                      <a:pt x="4097" y="9056"/>
                      <a:pt x="6791" y="12073"/>
                    </a:cubicBezTo>
                    <a:close/>
                    <a:moveTo>
                      <a:pt x="6791" y="12073"/>
                    </a:moveTo>
                  </a:path>
                </a:pathLst>
              </a:custGeom>
              <a:solidFill>
                <a:schemeClr val="accent1"/>
              </a:solidFill>
              <a:ln>
                <a:noFill/>
              </a:ln>
            </p:spPr>
            <p:txBody>
              <a:bodyPr lIns="0" tIns="0" rIns="0" bIns="0"/>
              <a:lstStyle/>
              <a:p>
                <a:endParaRPr lang="en-US">
                  <a:solidFill>
                    <a:schemeClr val="accent1"/>
                  </a:solidFill>
                </a:endParaRPr>
              </a:p>
            </p:txBody>
          </p:sp>
        </p:grpSp>
        <p:grpSp>
          <p:nvGrpSpPr>
            <p:cNvPr id="8" name="Group 7"/>
            <p:cNvGrpSpPr/>
            <p:nvPr/>
          </p:nvGrpSpPr>
          <p:grpSpPr>
            <a:xfrm>
              <a:off x="1936390" y="2874820"/>
              <a:ext cx="502004" cy="417945"/>
              <a:chOff x="1657925" y="1258455"/>
              <a:chExt cx="698923" cy="581890"/>
            </a:xfrm>
          </p:grpSpPr>
          <p:sp>
            <p:nvSpPr>
              <p:cNvPr id="18" name="Rounded Rectangle 17"/>
              <p:cNvSpPr/>
              <p:nvPr/>
            </p:nvSpPr>
            <p:spPr>
              <a:xfrm>
                <a:off x="1657925" y="1306945"/>
                <a:ext cx="533400" cy="533400"/>
              </a:xfrm>
              <a:prstGeom prst="roundRect">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9" name="AutoShape 1"/>
              <p:cNvSpPr>
                <a:spLocks/>
              </p:cNvSpPr>
              <p:nvPr/>
            </p:nvSpPr>
            <p:spPr bwMode="auto">
              <a:xfrm>
                <a:off x="1687945" y="1258455"/>
                <a:ext cx="668903" cy="517236"/>
              </a:xfrm>
              <a:custGeom>
                <a:avLst/>
                <a:gdLst/>
                <a:ahLst/>
                <a:cxnLst/>
                <a:rect l="0" t="0" r="r" b="b"/>
                <a:pathLst>
                  <a:path w="21600" h="21600">
                    <a:moveTo>
                      <a:pt x="6791" y="12073"/>
                    </a:moveTo>
                    <a:cubicBezTo>
                      <a:pt x="7553" y="10476"/>
                      <a:pt x="13096" y="1229"/>
                      <a:pt x="21600" y="0"/>
                    </a:cubicBezTo>
                    <a:cubicBezTo>
                      <a:pt x="16238" y="3068"/>
                      <a:pt x="9745" y="11250"/>
                      <a:pt x="6874" y="21600"/>
                    </a:cubicBezTo>
                    <a:cubicBezTo>
                      <a:pt x="5498" y="16476"/>
                      <a:pt x="1661" y="10501"/>
                      <a:pt x="0" y="8599"/>
                    </a:cubicBezTo>
                    <a:cubicBezTo>
                      <a:pt x="1452" y="8599"/>
                      <a:pt x="4097" y="9056"/>
                      <a:pt x="6791" y="12073"/>
                    </a:cubicBezTo>
                    <a:close/>
                    <a:moveTo>
                      <a:pt x="6791" y="12073"/>
                    </a:moveTo>
                  </a:path>
                </a:pathLst>
              </a:custGeom>
              <a:solidFill>
                <a:schemeClr val="accent1"/>
              </a:solidFill>
              <a:ln>
                <a:noFill/>
              </a:ln>
            </p:spPr>
            <p:txBody>
              <a:bodyPr lIns="0" tIns="0" rIns="0" bIns="0"/>
              <a:lstStyle/>
              <a:p>
                <a:endParaRPr lang="en-US">
                  <a:solidFill>
                    <a:schemeClr val="accent1"/>
                  </a:solidFill>
                </a:endParaRPr>
              </a:p>
            </p:txBody>
          </p:sp>
        </p:grpSp>
        <p:grpSp>
          <p:nvGrpSpPr>
            <p:cNvPr id="9" name="Group 8"/>
            <p:cNvGrpSpPr/>
            <p:nvPr/>
          </p:nvGrpSpPr>
          <p:grpSpPr>
            <a:xfrm>
              <a:off x="1936390" y="3477493"/>
              <a:ext cx="502004" cy="417945"/>
              <a:chOff x="1657925" y="1258455"/>
              <a:chExt cx="698923" cy="581890"/>
            </a:xfrm>
          </p:grpSpPr>
          <p:sp>
            <p:nvSpPr>
              <p:cNvPr id="16" name="Rounded Rectangle 15"/>
              <p:cNvSpPr/>
              <p:nvPr/>
            </p:nvSpPr>
            <p:spPr>
              <a:xfrm>
                <a:off x="1657925" y="1306945"/>
                <a:ext cx="533400" cy="533400"/>
              </a:xfrm>
              <a:prstGeom prst="roundRect">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AutoShape 1"/>
              <p:cNvSpPr>
                <a:spLocks/>
              </p:cNvSpPr>
              <p:nvPr/>
            </p:nvSpPr>
            <p:spPr bwMode="auto">
              <a:xfrm>
                <a:off x="1687945" y="1258455"/>
                <a:ext cx="668903" cy="517236"/>
              </a:xfrm>
              <a:custGeom>
                <a:avLst/>
                <a:gdLst/>
                <a:ahLst/>
                <a:cxnLst/>
                <a:rect l="0" t="0" r="r" b="b"/>
                <a:pathLst>
                  <a:path w="21600" h="21600">
                    <a:moveTo>
                      <a:pt x="6791" y="12073"/>
                    </a:moveTo>
                    <a:cubicBezTo>
                      <a:pt x="7553" y="10476"/>
                      <a:pt x="13096" y="1229"/>
                      <a:pt x="21600" y="0"/>
                    </a:cubicBezTo>
                    <a:cubicBezTo>
                      <a:pt x="16238" y="3068"/>
                      <a:pt x="9745" y="11250"/>
                      <a:pt x="6874" y="21600"/>
                    </a:cubicBezTo>
                    <a:cubicBezTo>
                      <a:pt x="5498" y="16476"/>
                      <a:pt x="1661" y="10501"/>
                      <a:pt x="0" y="8599"/>
                    </a:cubicBezTo>
                    <a:cubicBezTo>
                      <a:pt x="1452" y="8599"/>
                      <a:pt x="4097" y="9056"/>
                      <a:pt x="6791" y="12073"/>
                    </a:cubicBezTo>
                    <a:close/>
                    <a:moveTo>
                      <a:pt x="6791" y="12073"/>
                    </a:moveTo>
                  </a:path>
                </a:pathLst>
              </a:custGeom>
              <a:solidFill>
                <a:schemeClr val="accent1"/>
              </a:solidFill>
              <a:ln>
                <a:noFill/>
              </a:ln>
            </p:spPr>
            <p:txBody>
              <a:bodyPr lIns="0" tIns="0" rIns="0" bIns="0"/>
              <a:lstStyle/>
              <a:p>
                <a:endParaRPr lang="en-US">
                  <a:solidFill>
                    <a:schemeClr val="accent1"/>
                  </a:solidFill>
                </a:endParaRPr>
              </a:p>
            </p:txBody>
          </p:sp>
        </p:grpSp>
        <p:grpSp>
          <p:nvGrpSpPr>
            <p:cNvPr id="10" name="Group 9"/>
            <p:cNvGrpSpPr/>
            <p:nvPr/>
          </p:nvGrpSpPr>
          <p:grpSpPr>
            <a:xfrm>
              <a:off x="1936390" y="4080166"/>
              <a:ext cx="502004" cy="417945"/>
              <a:chOff x="1657925" y="1258455"/>
              <a:chExt cx="698923" cy="581890"/>
            </a:xfrm>
          </p:grpSpPr>
          <p:sp>
            <p:nvSpPr>
              <p:cNvPr id="14" name="Rounded Rectangle 13"/>
              <p:cNvSpPr/>
              <p:nvPr/>
            </p:nvSpPr>
            <p:spPr>
              <a:xfrm>
                <a:off x="1657925" y="1306945"/>
                <a:ext cx="533400" cy="533400"/>
              </a:xfrm>
              <a:prstGeom prst="roundRect">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AutoShape 1"/>
              <p:cNvSpPr>
                <a:spLocks/>
              </p:cNvSpPr>
              <p:nvPr/>
            </p:nvSpPr>
            <p:spPr bwMode="auto">
              <a:xfrm>
                <a:off x="1687945" y="1258455"/>
                <a:ext cx="668903" cy="517236"/>
              </a:xfrm>
              <a:custGeom>
                <a:avLst/>
                <a:gdLst/>
                <a:ahLst/>
                <a:cxnLst/>
                <a:rect l="0" t="0" r="r" b="b"/>
                <a:pathLst>
                  <a:path w="21600" h="21600">
                    <a:moveTo>
                      <a:pt x="6791" y="12073"/>
                    </a:moveTo>
                    <a:cubicBezTo>
                      <a:pt x="7553" y="10476"/>
                      <a:pt x="13096" y="1229"/>
                      <a:pt x="21600" y="0"/>
                    </a:cubicBezTo>
                    <a:cubicBezTo>
                      <a:pt x="16238" y="3068"/>
                      <a:pt x="9745" y="11250"/>
                      <a:pt x="6874" y="21600"/>
                    </a:cubicBezTo>
                    <a:cubicBezTo>
                      <a:pt x="5498" y="16476"/>
                      <a:pt x="1661" y="10501"/>
                      <a:pt x="0" y="8599"/>
                    </a:cubicBezTo>
                    <a:cubicBezTo>
                      <a:pt x="1452" y="8599"/>
                      <a:pt x="4097" y="9056"/>
                      <a:pt x="6791" y="12073"/>
                    </a:cubicBezTo>
                    <a:close/>
                    <a:moveTo>
                      <a:pt x="6791" y="12073"/>
                    </a:moveTo>
                  </a:path>
                </a:pathLst>
              </a:custGeom>
              <a:solidFill>
                <a:schemeClr val="accent1"/>
              </a:solidFill>
              <a:ln>
                <a:noFill/>
              </a:ln>
            </p:spPr>
            <p:txBody>
              <a:bodyPr lIns="0" tIns="0" rIns="0" bIns="0"/>
              <a:lstStyle/>
              <a:p>
                <a:endParaRPr lang="en-US">
                  <a:solidFill>
                    <a:schemeClr val="accent1"/>
                  </a:solidFill>
                </a:endParaRPr>
              </a:p>
            </p:txBody>
          </p:sp>
        </p:grpSp>
        <p:grpSp>
          <p:nvGrpSpPr>
            <p:cNvPr id="11" name="Group 10"/>
            <p:cNvGrpSpPr/>
            <p:nvPr/>
          </p:nvGrpSpPr>
          <p:grpSpPr>
            <a:xfrm>
              <a:off x="1936390" y="4682839"/>
              <a:ext cx="502004" cy="417945"/>
              <a:chOff x="1657925" y="1258455"/>
              <a:chExt cx="698923" cy="581890"/>
            </a:xfrm>
          </p:grpSpPr>
          <p:sp>
            <p:nvSpPr>
              <p:cNvPr id="12" name="Rounded Rectangle 11"/>
              <p:cNvSpPr/>
              <p:nvPr/>
            </p:nvSpPr>
            <p:spPr>
              <a:xfrm>
                <a:off x="1657925" y="1306945"/>
                <a:ext cx="533400" cy="533400"/>
              </a:xfrm>
              <a:prstGeom prst="roundRect">
                <a:avLst/>
              </a:prstGeom>
              <a:noFill/>
              <a:ln w="19050" cmpd="sng">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AutoShape 1"/>
              <p:cNvSpPr>
                <a:spLocks/>
              </p:cNvSpPr>
              <p:nvPr/>
            </p:nvSpPr>
            <p:spPr bwMode="auto">
              <a:xfrm>
                <a:off x="1687945" y="1258455"/>
                <a:ext cx="668903" cy="517236"/>
              </a:xfrm>
              <a:custGeom>
                <a:avLst/>
                <a:gdLst/>
                <a:ahLst/>
                <a:cxnLst/>
                <a:rect l="0" t="0" r="r" b="b"/>
                <a:pathLst>
                  <a:path w="21600" h="21600">
                    <a:moveTo>
                      <a:pt x="6791" y="12073"/>
                    </a:moveTo>
                    <a:cubicBezTo>
                      <a:pt x="7553" y="10476"/>
                      <a:pt x="13096" y="1229"/>
                      <a:pt x="21600" y="0"/>
                    </a:cubicBezTo>
                    <a:cubicBezTo>
                      <a:pt x="16238" y="3068"/>
                      <a:pt x="9745" y="11250"/>
                      <a:pt x="6874" y="21600"/>
                    </a:cubicBezTo>
                    <a:cubicBezTo>
                      <a:pt x="5498" y="16476"/>
                      <a:pt x="1661" y="10501"/>
                      <a:pt x="0" y="8599"/>
                    </a:cubicBezTo>
                    <a:cubicBezTo>
                      <a:pt x="1452" y="8599"/>
                      <a:pt x="4097" y="9056"/>
                      <a:pt x="6791" y="12073"/>
                    </a:cubicBezTo>
                    <a:close/>
                    <a:moveTo>
                      <a:pt x="6791" y="12073"/>
                    </a:moveTo>
                  </a:path>
                </a:pathLst>
              </a:custGeom>
              <a:solidFill>
                <a:schemeClr val="accent1"/>
              </a:solidFill>
              <a:ln>
                <a:noFill/>
              </a:ln>
            </p:spPr>
            <p:txBody>
              <a:bodyPr lIns="0" tIns="0" rIns="0" bIns="0"/>
              <a:lstStyle/>
              <a:p>
                <a:endParaRPr lang="en-US">
                  <a:solidFill>
                    <a:schemeClr val="accent1"/>
                  </a:solidFill>
                </a:endParaRPr>
              </a:p>
            </p:txBody>
          </p:sp>
        </p:grpSp>
      </p:grpSp>
    </p:spTree>
    <p:extLst>
      <p:ext uri="{BB962C8B-B14F-4D97-AF65-F5344CB8AC3E}">
        <p14:creationId xmlns:p14="http://schemas.microsoft.com/office/powerpoint/2010/main" val="42504336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cBook Air, iPad, iPhone, Watch</a:t>
            </a:r>
          </a:p>
        </p:txBody>
      </p:sp>
      <p:pic>
        <p:nvPicPr>
          <p:cNvPr id="4" name="Picture 3" descr="macbook-ai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35042" y="3455624"/>
            <a:ext cx="4846243" cy="2907746"/>
          </a:xfrm>
          <a:prstGeom prst="rect">
            <a:avLst/>
          </a:prstGeom>
        </p:spPr>
      </p:pic>
      <p:pic>
        <p:nvPicPr>
          <p:cNvPr id="5" name="Picture 4" descr="newipad.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28050" y="946875"/>
            <a:ext cx="1730113" cy="2221466"/>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10779" y="948561"/>
            <a:ext cx="1518993" cy="2254455"/>
          </a:xfrm>
          <a:prstGeom prst="rect">
            <a:avLst/>
          </a:prstGeom>
          <a:effectLst>
            <a:outerShdw blurRad="127000" dist="76200" dir="2700000" algn="tl" rotWithShape="0">
              <a:prstClr val="black">
                <a:alpha val="25000"/>
              </a:prstClr>
            </a:outerShdw>
          </a:effectLst>
        </p:spPr>
      </p:pic>
      <p:grpSp>
        <p:nvGrpSpPr>
          <p:cNvPr id="11" name="Group 10"/>
          <p:cNvGrpSpPr/>
          <p:nvPr/>
        </p:nvGrpSpPr>
        <p:grpSpPr>
          <a:xfrm>
            <a:off x="6303403" y="946875"/>
            <a:ext cx="1142764" cy="2256140"/>
            <a:chOff x="11222987" y="-2149306"/>
            <a:chExt cx="2791189" cy="5510595"/>
          </a:xfrm>
        </p:grpSpPr>
        <p:pic>
          <p:nvPicPr>
            <p:cNvPr id="14" name="Picture 13"/>
            <p:cNvPicPr>
              <a:picLocks noChangeAspect="1"/>
            </p:cNvPicPr>
            <p:nvPr/>
          </p:nvPicPr>
          <p:blipFill rotWithShape="1">
            <a:blip r:embed="rId6"/>
            <a:srcRect l="30000" t="9655" r="29301" b="9992"/>
            <a:stretch/>
          </p:blipFill>
          <p:spPr>
            <a:xfrm>
              <a:off x="11222987" y="-2149306"/>
              <a:ext cx="2791189" cy="5510595"/>
            </a:xfrm>
            <a:prstGeom prst="rect">
              <a:avLst/>
            </a:prstGeom>
            <a:effectLst>
              <a:outerShdw blurRad="50800" dist="76200" dir="2700000" algn="tl" rotWithShape="0">
                <a:prstClr val="black">
                  <a:alpha val="18000"/>
                </a:prstClr>
              </a:outerShdw>
            </a:effectLst>
          </p:spPr>
        </p:pic>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507374" y="-1321603"/>
              <a:ext cx="2217109" cy="3952508"/>
            </a:xfrm>
            <a:prstGeom prst="rect">
              <a:avLst/>
            </a:prstGeom>
            <a:effectLst>
              <a:innerShdw blurRad="63500" dist="25400" dir="13500000">
                <a:prstClr val="black">
                  <a:alpha val="33000"/>
                </a:prstClr>
              </a:innerShdw>
            </a:effectLst>
          </p:spPr>
        </p:pic>
      </p:grpSp>
      <p:pic>
        <p:nvPicPr>
          <p:cNvPr id="9" name="Picture 8"/>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578966" y="3847932"/>
            <a:ext cx="2101483" cy="2338987"/>
          </a:xfrm>
          <a:prstGeom prst="rect">
            <a:avLst/>
          </a:prstGeom>
        </p:spPr>
      </p:pic>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719800" y="981685"/>
            <a:ext cx="2439684" cy="2186657"/>
          </a:xfrm>
          <a:prstGeom prst="rect">
            <a:avLst/>
          </a:prstGeom>
        </p:spPr>
      </p:pic>
    </p:spTree>
    <p:extLst>
      <p:ext uri="{BB962C8B-B14F-4D97-AF65-F5344CB8AC3E}">
        <p14:creationId xmlns:p14="http://schemas.microsoft.com/office/powerpoint/2010/main" val="34934640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370FF-B8C0-0B41-B847-0CAFF0005BFB}"/>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8BE1C32E-5E97-D94F-B6F0-2640CB04A3A3}"/>
              </a:ext>
            </a:extLst>
          </p:cNvPr>
          <p:cNvPicPr>
            <a:picLocks noChangeAspect="1"/>
          </p:cNvPicPr>
          <p:nvPr/>
        </p:nvPicPr>
        <p:blipFill>
          <a:blip r:embed="rId2"/>
          <a:stretch>
            <a:fillRect/>
          </a:stretch>
        </p:blipFill>
        <p:spPr>
          <a:xfrm>
            <a:off x="2011248" y="1091793"/>
            <a:ext cx="8169504" cy="4674414"/>
          </a:xfrm>
          <a:prstGeom prst="rect">
            <a:avLst/>
          </a:prstGeom>
        </p:spPr>
      </p:pic>
    </p:spTree>
    <p:extLst>
      <p:ext uri="{BB962C8B-B14F-4D97-AF65-F5344CB8AC3E}">
        <p14:creationId xmlns:p14="http://schemas.microsoft.com/office/powerpoint/2010/main" val="30452128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ld Map for Highlighting and Recoloring </a:t>
            </a:r>
            <a:br>
              <a:rPr lang="en-US" sz="1600" i="1" dirty="0"/>
            </a:br>
            <a:r>
              <a:rPr lang="en-US" sz="1600" i="1" dirty="0"/>
              <a:t>Countries named in selection pane</a:t>
            </a:r>
            <a:endParaRPr lang="en-US" i="1" dirty="0"/>
          </a:p>
        </p:txBody>
      </p:sp>
      <p:grpSp>
        <p:nvGrpSpPr>
          <p:cNvPr id="3" name="Group 2">
            <a:extLst>
              <a:ext uri="{FF2B5EF4-FFF2-40B4-BE49-F238E27FC236}">
                <a16:creationId xmlns:a16="http://schemas.microsoft.com/office/drawing/2014/main" id="{404B5A27-0C6F-5147-812C-9F5D1D647808}"/>
              </a:ext>
            </a:extLst>
          </p:cNvPr>
          <p:cNvGrpSpPr/>
          <p:nvPr/>
        </p:nvGrpSpPr>
        <p:grpSpPr>
          <a:xfrm>
            <a:off x="1834224" y="2055118"/>
            <a:ext cx="8523555" cy="4214426"/>
            <a:chOff x="1834224" y="2055118"/>
            <a:chExt cx="8523555" cy="4214426"/>
          </a:xfrm>
        </p:grpSpPr>
        <p:grpSp>
          <p:nvGrpSpPr>
            <p:cNvPr id="14" name="Africa">
              <a:extLst>
                <a:ext uri="{FF2B5EF4-FFF2-40B4-BE49-F238E27FC236}">
                  <a16:creationId xmlns:a16="http://schemas.microsoft.com/office/drawing/2014/main" id="{269A0984-C4B5-A34D-9116-93B62BACB8CB}"/>
                </a:ext>
              </a:extLst>
            </p:cNvPr>
            <p:cNvGrpSpPr/>
            <p:nvPr/>
          </p:nvGrpSpPr>
          <p:grpSpPr>
            <a:xfrm>
              <a:off x="5440456" y="3839737"/>
              <a:ext cx="1608526" cy="1803856"/>
              <a:chOff x="3916456" y="3374516"/>
              <a:chExt cx="1608526" cy="1803856"/>
            </a:xfrm>
            <a:solidFill>
              <a:schemeClr val="bg1">
                <a:lumMod val="75000"/>
              </a:schemeClr>
            </a:solidFill>
          </p:grpSpPr>
          <p:sp>
            <p:nvSpPr>
              <p:cNvPr id="511" name="Egypt"/>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4" name="Tunisia"/>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3" name="Morocco"/>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46" name="Swaziland"/>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47" name="Lesotho"/>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1" name="Rwanda"/>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2" name="Somalia"/>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60" name="Central African Republic"/>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8" name="Republic of the Congo"/>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80" name="Djibouti"/>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65" name="Uganda"/>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79" name="Burundi"/>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82" name="Malawi"/>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82" name="Ethiopia"/>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45" name="Botswana"/>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44" name="Zimbabwe"/>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80" name="Mozambique"/>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0" name="Zambia"/>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173" name="Namibia"/>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64" name="Kenya"/>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49" name="Angola"/>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81" name="Tanzania"/>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78" name="DR Congo"/>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48" name="South Africa"/>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507" name="Madagasca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66" name="Ghana"/>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368" name="Liberia"/>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65" name="Cote d'Ivoire"/>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62" name="Benin"/>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63" name="Togo"/>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64" name="Cameroon"/>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61" name="Nigeria"/>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7" name="Equatorial Guinea"/>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6" name="Gabon"/>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1" name="Mauritania"/>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5" name="Algeria"/>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4" name="Nige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2" name="Mali"/>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3" name="Burkina Faso"/>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5" name="Chad"/>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0" name="Western Sahara"/>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8" name="Senegal"/>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7" name="Gambia"/>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9" name="Guinea-Bissau"/>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67" name="Guinea"/>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69" name="Sierra Leone"/>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79" name="Sudan"/>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56" name="Libya"/>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81" name="Eritrea"/>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grpSp>
        <p:grpSp>
          <p:nvGrpSpPr>
            <p:cNvPr id="12" name="Asia">
              <a:extLst>
                <a:ext uri="{FF2B5EF4-FFF2-40B4-BE49-F238E27FC236}">
                  <a16:creationId xmlns:a16="http://schemas.microsoft.com/office/drawing/2014/main" id="{3FEB6EF5-06F9-BF4C-BE47-8D2097194693}"/>
                </a:ext>
              </a:extLst>
            </p:cNvPr>
            <p:cNvGrpSpPr/>
            <p:nvPr/>
          </p:nvGrpSpPr>
          <p:grpSpPr>
            <a:xfrm>
              <a:off x="7467761" y="3361769"/>
              <a:ext cx="2216715" cy="1682513"/>
              <a:chOff x="5943760" y="2896547"/>
              <a:chExt cx="2216715" cy="1682513"/>
            </a:xfrm>
            <a:solidFill>
              <a:schemeClr val="bg1">
                <a:lumMod val="75000"/>
              </a:schemeClr>
            </a:solidFill>
          </p:grpSpPr>
          <p:sp>
            <p:nvSpPr>
              <p:cNvPr id="393" name="China (Aksai Chin)"/>
              <p:cNvSpPr>
                <a:spLocks/>
              </p:cNvSpPr>
              <p:nvPr/>
            </p:nvSpPr>
            <p:spPr bwMode="auto">
              <a:xfrm>
                <a:off x="6174607" y="3417430"/>
                <a:ext cx="54753" cy="50312"/>
              </a:xfrm>
              <a:custGeom>
                <a:avLst/>
                <a:gdLst/>
                <a:ahLst/>
                <a:cxnLst>
                  <a:cxn ang="0">
                    <a:pos x="19" y="0"/>
                  </a:cxn>
                  <a:cxn ang="0">
                    <a:pos x="19" y="0"/>
                  </a:cxn>
                  <a:cxn ang="0">
                    <a:pos x="13" y="0"/>
                  </a:cxn>
                  <a:cxn ang="0">
                    <a:pos x="7" y="3"/>
                  </a:cxn>
                  <a:cxn ang="0">
                    <a:pos x="3" y="5"/>
                  </a:cxn>
                  <a:cxn ang="0">
                    <a:pos x="0" y="10"/>
                  </a:cxn>
                  <a:cxn ang="0">
                    <a:pos x="0" y="10"/>
                  </a:cxn>
                  <a:cxn ang="0">
                    <a:pos x="3" y="14"/>
                  </a:cxn>
                  <a:cxn ang="0">
                    <a:pos x="3" y="14"/>
                  </a:cxn>
                  <a:cxn ang="0">
                    <a:pos x="5" y="17"/>
                  </a:cxn>
                  <a:cxn ang="0">
                    <a:pos x="6" y="20"/>
                  </a:cxn>
                  <a:cxn ang="0">
                    <a:pos x="13" y="25"/>
                  </a:cxn>
                  <a:cxn ang="0">
                    <a:pos x="13" y="25"/>
                  </a:cxn>
                  <a:cxn ang="0">
                    <a:pos x="15" y="27"/>
                  </a:cxn>
                  <a:cxn ang="0">
                    <a:pos x="15" y="28"/>
                  </a:cxn>
                  <a:cxn ang="0">
                    <a:pos x="15" y="34"/>
                  </a:cxn>
                  <a:cxn ang="0">
                    <a:pos x="15" y="34"/>
                  </a:cxn>
                  <a:cxn ang="0">
                    <a:pos x="22" y="34"/>
                  </a:cxn>
                  <a:cxn ang="0">
                    <a:pos x="22" y="34"/>
                  </a:cxn>
                  <a:cxn ang="0">
                    <a:pos x="26" y="31"/>
                  </a:cxn>
                  <a:cxn ang="0">
                    <a:pos x="30" y="25"/>
                  </a:cxn>
                  <a:cxn ang="0">
                    <a:pos x="37" y="14"/>
                  </a:cxn>
                  <a:cxn ang="0">
                    <a:pos x="37" y="14"/>
                  </a:cxn>
                  <a:cxn ang="0">
                    <a:pos x="37" y="13"/>
                  </a:cxn>
                  <a:cxn ang="0">
                    <a:pos x="36" y="11"/>
                  </a:cxn>
                  <a:cxn ang="0">
                    <a:pos x="30" y="5"/>
                  </a:cxn>
                  <a:cxn ang="0">
                    <a:pos x="24" y="1"/>
                  </a:cxn>
                  <a:cxn ang="0">
                    <a:pos x="19" y="0"/>
                  </a:cxn>
                  <a:cxn ang="0">
                    <a:pos x="19" y="0"/>
                  </a:cxn>
                </a:cxnLst>
                <a:rect l="0" t="0" r="r" b="b"/>
                <a:pathLst>
                  <a:path w="37" h="34">
                    <a:moveTo>
                      <a:pt x="19" y="0"/>
                    </a:moveTo>
                    <a:lnTo>
                      <a:pt x="19" y="0"/>
                    </a:lnTo>
                    <a:lnTo>
                      <a:pt x="13" y="0"/>
                    </a:lnTo>
                    <a:lnTo>
                      <a:pt x="7" y="3"/>
                    </a:lnTo>
                    <a:lnTo>
                      <a:pt x="3" y="5"/>
                    </a:lnTo>
                    <a:lnTo>
                      <a:pt x="0" y="10"/>
                    </a:lnTo>
                    <a:lnTo>
                      <a:pt x="0" y="10"/>
                    </a:lnTo>
                    <a:lnTo>
                      <a:pt x="3" y="14"/>
                    </a:lnTo>
                    <a:lnTo>
                      <a:pt x="3" y="14"/>
                    </a:lnTo>
                    <a:lnTo>
                      <a:pt x="5" y="17"/>
                    </a:lnTo>
                    <a:lnTo>
                      <a:pt x="6" y="20"/>
                    </a:lnTo>
                    <a:lnTo>
                      <a:pt x="13" y="25"/>
                    </a:lnTo>
                    <a:lnTo>
                      <a:pt x="13" y="25"/>
                    </a:lnTo>
                    <a:lnTo>
                      <a:pt x="15" y="27"/>
                    </a:lnTo>
                    <a:lnTo>
                      <a:pt x="15" y="28"/>
                    </a:lnTo>
                    <a:lnTo>
                      <a:pt x="15" y="34"/>
                    </a:lnTo>
                    <a:lnTo>
                      <a:pt x="15" y="34"/>
                    </a:lnTo>
                    <a:lnTo>
                      <a:pt x="22" y="34"/>
                    </a:lnTo>
                    <a:lnTo>
                      <a:pt x="22" y="34"/>
                    </a:lnTo>
                    <a:lnTo>
                      <a:pt x="26" y="31"/>
                    </a:lnTo>
                    <a:lnTo>
                      <a:pt x="30" y="25"/>
                    </a:lnTo>
                    <a:lnTo>
                      <a:pt x="37" y="14"/>
                    </a:lnTo>
                    <a:lnTo>
                      <a:pt x="37" y="14"/>
                    </a:lnTo>
                    <a:lnTo>
                      <a:pt x="37" y="13"/>
                    </a:lnTo>
                    <a:lnTo>
                      <a:pt x="36" y="11"/>
                    </a:lnTo>
                    <a:lnTo>
                      <a:pt x="30" y="5"/>
                    </a:lnTo>
                    <a:lnTo>
                      <a:pt x="24" y="1"/>
                    </a:lnTo>
                    <a:lnTo>
                      <a:pt x="19" y="0"/>
                    </a:lnTo>
                    <a:lnTo>
                      <a:pt x="19"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508" name="Indonesia"/>
              <p:cNvSpPr>
                <a:spLocks noEditPoints="1"/>
              </p:cNvSpPr>
              <p:nvPr/>
            </p:nvSpPr>
            <p:spPr bwMode="auto">
              <a:xfrm>
                <a:off x="6557870" y="4180999"/>
                <a:ext cx="1086162" cy="383264"/>
              </a:xfrm>
              <a:custGeom>
                <a:avLst/>
                <a:gdLst/>
                <a:ahLst/>
                <a:cxnLst>
                  <a:cxn ang="0">
                    <a:pos x="397" y="182"/>
                  </a:cxn>
                  <a:cxn ang="0">
                    <a:pos x="406" y="138"/>
                  </a:cxn>
                  <a:cxn ang="0">
                    <a:pos x="418" y="167"/>
                  </a:cxn>
                  <a:cxn ang="0">
                    <a:pos x="431" y="135"/>
                  </a:cxn>
                  <a:cxn ang="0">
                    <a:pos x="448" y="103"/>
                  </a:cxn>
                  <a:cxn ang="0">
                    <a:pos x="396" y="103"/>
                  </a:cxn>
                  <a:cxn ang="0">
                    <a:pos x="461" y="84"/>
                  </a:cxn>
                  <a:cxn ang="0">
                    <a:pos x="420" y="71"/>
                  </a:cxn>
                  <a:cxn ang="0">
                    <a:pos x="389" y="103"/>
                  </a:cxn>
                  <a:cxn ang="0">
                    <a:pos x="169" y="162"/>
                  </a:cxn>
                  <a:cxn ang="0">
                    <a:pos x="181" y="134"/>
                  </a:cxn>
                  <a:cxn ang="0">
                    <a:pos x="167" y="127"/>
                  </a:cxn>
                  <a:cxn ang="0">
                    <a:pos x="151" y="123"/>
                  </a:cxn>
                  <a:cxn ang="0">
                    <a:pos x="132" y="97"/>
                  </a:cxn>
                  <a:cxn ang="0">
                    <a:pos x="115" y="74"/>
                  </a:cxn>
                  <a:cxn ang="0">
                    <a:pos x="86" y="57"/>
                  </a:cxn>
                  <a:cxn ang="0">
                    <a:pos x="41" y="13"/>
                  </a:cxn>
                  <a:cxn ang="0">
                    <a:pos x="6" y="19"/>
                  </a:cxn>
                  <a:cxn ang="0">
                    <a:pos x="57" y="81"/>
                  </a:cxn>
                  <a:cxn ang="0">
                    <a:pos x="110" y="152"/>
                  </a:cxn>
                  <a:cxn ang="0">
                    <a:pos x="154" y="184"/>
                  </a:cxn>
                  <a:cxn ang="0">
                    <a:pos x="537" y="74"/>
                  </a:cxn>
                  <a:cxn ang="0">
                    <a:pos x="517" y="64"/>
                  </a:cxn>
                  <a:cxn ang="0">
                    <a:pos x="528" y="86"/>
                  </a:cxn>
                  <a:cxn ang="0">
                    <a:pos x="502" y="142"/>
                  </a:cxn>
                  <a:cxn ang="0">
                    <a:pos x="421" y="228"/>
                  </a:cxn>
                  <a:cxn ang="0">
                    <a:pos x="443" y="232"/>
                  </a:cxn>
                  <a:cxn ang="0">
                    <a:pos x="525" y="144"/>
                  </a:cxn>
                  <a:cxn ang="0">
                    <a:pos x="568" y="148"/>
                  </a:cxn>
                  <a:cxn ang="0">
                    <a:pos x="276" y="214"/>
                  </a:cxn>
                  <a:cxn ang="0">
                    <a:pos x="245" y="199"/>
                  </a:cxn>
                  <a:cxn ang="0">
                    <a:pos x="174" y="188"/>
                  </a:cxn>
                  <a:cxn ang="0">
                    <a:pos x="181" y="211"/>
                  </a:cxn>
                  <a:cxn ang="0">
                    <a:pos x="246" y="225"/>
                  </a:cxn>
                  <a:cxn ang="0">
                    <a:pos x="310" y="231"/>
                  </a:cxn>
                  <a:cxn ang="0">
                    <a:pos x="677" y="117"/>
                  </a:cxn>
                  <a:cxn ang="0">
                    <a:pos x="636" y="145"/>
                  </a:cxn>
                  <a:cxn ang="0">
                    <a:pos x="586" y="101"/>
                  </a:cxn>
                  <a:cxn ang="0">
                    <a:pos x="586" y="120"/>
                  </a:cxn>
                  <a:cxn ang="0">
                    <a:pos x="606" y="134"/>
                  </a:cxn>
                  <a:cxn ang="0">
                    <a:pos x="606" y="158"/>
                  </a:cxn>
                  <a:cxn ang="0">
                    <a:pos x="642" y="165"/>
                  </a:cxn>
                  <a:cxn ang="0">
                    <a:pos x="702" y="211"/>
                  </a:cxn>
                  <a:cxn ang="0">
                    <a:pos x="717" y="224"/>
                  </a:cxn>
                  <a:cxn ang="0">
                    <a:pos x="470" y="239"/>
                  </a:cxn>
                  <a:cxn ang="0">
                    <a:pos x="454" y="259"/>
                  </a:cxn>
                  <a:cxn ang="0">
                    <a:pos x="474" y="236"/>
                  </a:cxn>
                  <a:cxn ang="0">
                    <a:pos x="377" y="76"/>
                  </a:cxn>
                  <a:cxn ang="0">
                    <a:pos x="353" y="37"/>
                  </a:cxn>
                  <a:cxn ang="0">
                    <a:pos x="343" y="22"/>
                  </a:cxn>
                  <a:cxn ang="0">
                    <a:pos x="316" y="50"/>
                  </a:cxn>
                  <a:cxn ang="0">
                    <a:pos x="282" y="67"/>
                  </a:cxn>
                  <a:cxn ang="0">
                    <a:pos x="235" y="71"/>
                  </a:cxn>
                  <a:cxn ang="0">
                    <a:pos x="215" y="81"/>
                  </a:cxn>
                  <a:cxn ang="0">
                    <a:pos x="242" y="135"/>
                  </a:cxn>
                  <a:cxn ang="0">
                    <a:pos x="286" y="145"/>
                  </a:cxn>
                  <a:cxn ang="0">
                    <a:pos x="336" y="134"/>
                  </a:cxn>
                  <a:cxn ang="0">
                    <a:pos x="406" y="259"/>
                  </a:cxn>
                  <a:cxn ang="0">
                    <a:pos x="347" y="228"/>
                  </a:cxn>
                  <a:cxn ang="0">
                    <a:pos x="356" y="239"/>
                  </a:cxn>
                  <a:cxn ang="0">
                    <a:pos x="354" y="225"/>
                  </a:cxn>
                </a:cxnLst>
                <a:rect l="0" t="0" r="r" b="b"/>
                <a:pathLst>
                  <a:path w="734" h="259">
                    <a:moveTo>
                      <a:pt x="386" y="150"/>
                    </a:moveTo>
                    <a:lnTo>
                      <a:pt x="386" y="150"/>
                    </a:lnTo>
                    <a:lnTo>
                      <a:pt x="387" y="150"/>
                    </a:lnTo>
                    <a:lnTo>
                      <a:pt x="390" y="151"/>
                    </a:lnTo>
                    <a:lnTo>
                      <a:pt x="391" y="155"/>
                    </a:lnTo>
                    <a:lnTo>
                      <a:pt x="391" y="161"/>
                    </a:lnTo>
                    <a:lnTo>
                      <a:pt x="390" y="167"/>
                    </a:lnTo>
                    <a:lnTo>
                      <a:pt x="390" y="167"/>
                    </a:lnTo>
                    <a:lnTo>
                      <a:pt x="389" y="179"/>
                    </a:lnTo>
                    <a:lnTo>
                      <a:pt x="389" y="184"/>
                    </a:lnTo>
                    <a:lnTo>
                      <a:pt x="390" y="185"/>
                    </a:lnTo>
                    <a:lnTo>
                      <a:pt x="393" y="185"/>
                    </a:lnTo>
                    <a:lnTo>
                      <a:pt x="393" y="185"/>
                    </a:lnTo>
                    <a:lnTo>
                      <a:pt x="397" y="182"/>
                    </a:lnTo>
                    <a:lnTo>
                      <a:pt x="400" y="178"/>
                    </a:lnTo>
                    <a:lnTo>
                      <a:pt x="401" y="172"/>
                    </a:lnTo>
                    <a:lnTo>
                      <a:pt x="401" y="171"/>
                    </a:lnTo>
                    <a:lnTo>
                      <a:pt x="400" y="169"/>
                    </a:lnTo>
                    <a:lnTo>
                      <a:pt x="400" y="169"/>
                    </a:lnTo>
                    <a:lnTo>
                      <a:pt x="399" y="168"/>
                    </a:lnTo>
                    <a:lnTo>
                      <a:pt x="399" y="164"/>
                    </a:lnTo>
                    <a:lnTo>
                      <a:pt x="397" y="155"/>
                    </a:lnTo>
                    <a:lnTo>
                      <a:pt x="397" y="147"/>
                    </a:lnTo>
                    <a:lnTo>
                      <a:pt x="399" y="140"/>
                    </a:lnTo>
                    <a:lnTo>
                      <a:pt x="399" y="140"/>
                    </a:lnTo>
                    <a:lnTo>
                      <a:pt x="400" y="138"/>
                    </a:lnTo>
                    <a:lnTo>
                      <a:pt x="401" y="138"/>
                    </a:lnTo>
                    <a:lnTo>
                      <a:pt x="406" y="138"/>
                    </a:lnTo>
                    <a:lnTo>
                      <a:pt x="408" y="140"/>
                    </a:lnTo>
                    <a:lnTo>
                      <a:pt x="408" y="141"/>
                    </a:lnTo>
                    <a:lnTo>
                      <a:pt x="410" y="144"/>
                    </a:lnTo>
                    <a:lnTo>
                      <a:pt x="408" y="147"/>
                    </a:lnTo>
                    <a:lnTo>
                      <a:pt x="408" y="147"/>
                    </a:lnTo>
                    <a:lnTo>
                      <a:pt x="408" y="150"/>
                    </a:lnTo>
                    <a:lnTo>
                      <a:pt x="408" y="151"/>
                    </a:lnTo>
                    <a:lnTo>
                      <a:pt x="411" y="154"/>
                    </a:lnTo>
                    <a:lnTo>
                      <a:pt x="416" y="158"/>
                    </a:lnTo>
                    <a:lnTo>
                      <a:pt x="416" y="160"/>
                    </a:lnTo>
                    <a:lnTo>
                      <a:pt x="417" y="162"/>
                    </a:lnTo>
                    <a:lnTo>
                      <a:pt x="417" y="162"/>
                    </a:lnTo>
                    <a:lnTo>
                      <a:pt x="417" y="165"/>
                    </a:lnTo>
                    <a:lnTo>
                      <a:pt x="418" y="167"/>
                    </a:lnTo>
                    <a:lnTo>
                      <a:pt x="420" y="168"/>
                    </a:lnTo>
                    <a:lnTo>
                      <a:pt x="421" y="168"/>
                    </a:lnTo>
                    <a:lnTo>
                      <a:pt x="431" y="165"/>
                    </a:lnTo>
                    <a:lnTo>
                      <a:pt x="431" y="165"/>
                    </a:lnTo>
                    <a:lnTo>
                      <a:pt x="436" y="162"/>
                    </a:lnTo>
                    <a:lnTo>
                      <a:pt x="437" y="160"/>
                    </a:lnTo>
                    <a:lnTo>
                      <a:pt x="436" y="157"/>
                    </a:lnTo>
                    <a:lnTo>
                      <a:pt x="433" y="152"/>
                    </a:lnTo>
                    <a:lnTo>
                      <a:pt x="433" y="152"/>
                    </a:lnTo>
                    <a:lnTo>
                      <a:pt x="431" y="150"/>
                    </a:lnTo>
                    <a:lnTo>
                      <a:pt x="431" y="148"/>
                    </a:lnTo>
                    <a:lnTo>
                      <a:pt x="431" y="142"/>
                    </a:lnTo>
                    <a:lnTo>
                      <a:pt x="431" y="138"/>
                    </a:lnTo>
                    <a:lnTo>
                      <a:pt x="431" y="135"/>
                    </a:lnTo>
                    <a:lnTo>
                      <a:pt x="430" y="134"/>
                    </a:lnTo>
                    <a:lnTo>
                      <a:pt x="430" y="134"/>
                    </a:lnTo>
                    <a:lnTo>
                      <a:pt x="424" y="130"/>
                    </a:lnTo>
                    <a:lnTo>
                      <a:pt x="421" y="125"/>
                    </a:lnTo>
                    <a:lnTo>
                      <a:pt x="421" y="123"/>
                    </a:lnTo>
                    <a:lnTo>
                      <a:pt x="421" y="121"/>
                    </a:lnTo>
                    <a:lnTo>
                      <a:pt x="424" y="121"/>
                    </a:lnTo>
                    <a:lnTo>
                      <a:pt x="424" y="121"/>
                    </a:lnTo>
                    <a:lnTo>
                      <a:pt x="431" y="118"/>
                    </a:lnTo>
                    <a:lnTo>
                      <a:pt x="440" y="113"/>
                    </a:lnTo>
                    <a:lnTo>
                      <a:pt x="447" y="107"/>
                    </a:lnTo>
                    <a:lnTo>
                      <a:pt x="448" y="105"/>
                    </a:lnTo>
                    <a:lnTo>
                      <a:pt x="448" y="103"/>
                    </a:lnTo>
                    <a:lnTo>
                      <a:pt x="448" y="103"/>
                    </a:lnTo>
                    <a:lnTo>
                      <a:pt x="445" y="101"/>
                    </a:lnTo>
                    <a:lnTo>
                      <a:pt x="443" y="101"/>
                    </a:lnTo>
                    <a:lnTo>
                      <a:pt x="431" y="103"/>
                    </a:lnTo>
                    <a:lnTo>
                      <a:pt x="421" y="107"/>
                    </a:lnTo>
                    <a:lnTo>
                      <a:pt x="417" y="110"/>
                    </a:lnTo>
                    <a:lnTo>
                      <a:pt x="416" y="113"/>
                    </a:lnTo>
                    <a:lnTo>
                      <a:pt x="416" y="113"/>
                    </a:lnTo>
                    <a:lnTo>
                      <a:pt x="414" y="115"/>
                    </a:lnTo>
                    <a:lnTo>
                      <a:pt x="411" y="115"/>
                    </a:lnTo>
                    <a:lnTo>
                      <a:pt x="407" y="115"/>
                    </a:lnTo>
                    <a:lnTo>
                      <a:pt x="404" y="114"/>
                    </a:lnTo>
                    <a:lnTo>
                      <a:pt x="400" y="111"/>
                    </a:lnTo>
                    <a:lnTo>
                      <a:pt x="397" y="107"/>
                    </a:lnTo>
                    <a:lnTo>
                      <a:pt x="396" y="103"/>
                    </a:lnTo>
                    <a:lnTo>
                      <a:pt x="396" y="97"/>
                    </a:lnTo>
                    <a:lnTo>
                      <a:pt x="396" y="97"/>
                    </a:lnTo>
                    <a:lnTo>
                      <a:pt x="399" y="91"/>
                    </a:lnTo>
                    <a:lnTo>
                      <a:pt x="403" y="88"/>
                    </a:lnTo>
                    <a:lnTo>
                      <a:pt x="410" y="86"/>
                    </a:lnTo>
                    <a:lnTo>
                      <a:pt x="418" y="83"/>
                    </a:lnTo>
                    <a:lnTo>
                      <a:pt x="427" y="83"/>
                    </a:lnTo>
                    <a:lnTo>
                      <a:pt x="436" y="83"/>
                    </a:lnTo>
                    <a:lnTo>
                      <a:pt x="443" y="83"/>
                    </a:lnTo>
                    <a:lnTo>
                      <a:pt x="448" y="86"/>
                    </a:lnTo>
                    <a:lnTo>
                      <a:pt x="448" y="86"/>
                    </a:lnTo>
                    <a:lnTo>
                      <a:pt x="453" y="86"/>
                    </a:lnTo>
                    <a:lnTo>
                      <a:pt x="457" y="86"/>
                    </a:lnTo>
                    <a:lnTo>
                      <a:pt x="461" y="84"/>
                    </a:lnTo>
                    <a:lnTo>
                      <a:pt x="465" y="81"/>
                    </a:lnTo>
                    <a:lnTo>
                      <a:pt x="472" y="76"/>
                    </a:lnTo>
                    <a:lnTo>
                      <a:pt x="477" y="68"/>
                    </a:lnTo>
                    <a:lnTo>
                      <a:pt x="477" y="68"/>
                    </a:lnTo>
                    <a:lnTo>
                      <a:pt x="477" y="66"/>
                    </a:lnTo>
                    <a:lnTo>
                      <a:pt x="477" y="66"/>
                    </a:lnTo>
                    <a:lnTo>
                      <a:pt x="472" y="67"/>
                    </a:lnTo>
                    <a:lnTo>
                      <a:pt x="460" y="76"/>
                    </a:lnTo>
                    <a:lnTo>
                      <a:pt x="460" y="76"/>
                    </a:lnTo>
                    <a:lnTo>
                      <a:pt x="455" y="77"/>
                    </a:lnTo>
                    <a:lnTo>
                      <a:pt x="451" y="77"/>
                    </a:lnTo>
                    <a:lnTo>
                      <a:pt x="440" y="76"/>
                    </a:lnTo>
                    <a:lnTo>
                      <a:pt x="428" y="74"/>
                    </a:lnTo>
                    <a:lnTo>
                      <a:pt x="420" y="71"/>
                    </a:lnTo>
                    <a:lnTo>
                      <a:pt x="420" y="71"/>
                    </a:lnTo>
                    <a:lnTo>
                      <a:pt x="416" y="70"/>
                    </a:lnTo>
                    <a:lnTo>
                      <a:pt x="413" y="70"/>
                    </a:lnTo>
                    <a:lnTo>
                      <a:pt x="408" y="73"/>
                    </a:lnTo>
                    <a:lnTo>
                      <a:pt x="406" y="77"/>
                    </a:lnTo>
                    <a:lnTo>
                      <a:pt x="403" y="78"/>
                    </a:lnTo>
                    <a:lnTo>
                      <a:pt x="400" y="78"/>
                    </a:lnTo>
                    <a:lnTo>
                      <a:pt x="400" y="78"/>
                    </a:lnTo>
                    <a:lnTo>
                      <a:pt x="397" y="80"/>
                    </a:lnTo>
                    <a:lnTo>
                      <a:pt x="394" y="83"/>
                    </a:lnTo>
                    <a:lnTo>
                      <a:pt x="393" y="90"/>
                    </a:lnTo>
                    <a:lnTo>
                      <a:pt x="390" y="98"/>
                    </a:lnTo>
                    <a:lnTo>
                      <a:pt x="390" y="101"/>
                    </a:lnTo>
                    <a:lnTo>
                      <a:pt x="389" y="103"/>
                    </a:lnTo>
                    <a:lnTo>
                      <a:pt x="389" y="103"/>
                    </a:lnTo>
                    <a:lnTo>
                      <a:pt x="386" y="107"/>
                    </a:lnTo>
                    <a:lnTo>
                      <a:pt x="383" y="114"/>
                    </a:lnTo>
                    <a:lnTo>
                      <a:pt x="380" y="123"/>
                    </a:lnTo>
                    <a:lnTo>
                      <a:pt x="376" y="134"/>
                    </a:lnTo>
                    <a:lnTo>
                      <a:pt x="376" y="134"/>
                    </a:lnTo>
                    <a:lnTo>
                      <a:pt x="373" y="138"/>
                    </a:lnTo>
                    <a:lnTo>
                      <a:pt x="373" y="141"/>
                    </a:lnTo>
                    <a:lnTo>
                      <a:pt x="373" y="144"/>
                    </a:lnTo>
                    <a:lnTo>
                      <a:pt x="374" y="147"/>
                    </a:lnTo>
                    <a:lnTo>
                      <a:pt x="380" y="148"/>
                    </a:lnTo>
                    <a:lnTo>
                      <a:pt x="386" y="150"/>
                    </a:lnTo>
                    <a:lnTo>
                      <a:pt x="386" y="150"/>
                    </a:lnTo>
                    <a:close/>
                    <a:moveTo>
                      <a:pt x="169" y="162"/>
                    </a:moveTo>
                    <a:lnTo>
                      <a:pt x="169" y="162"/>
                    </a:lnTo>
                    <a:lnTo>
                      <a:pt x="169" y="157"/>
                    </a:lnTo>
                    <a:lnTo>
                      <a:pt x="169" y="152"/>
                    </a:lnTo>
                    <a:lnTo>
                      <a:pt x="171" y="145"/>
                    </a:lnTo>
                    <a:lnTo>
                      <a:pt x="171" y="145"/>
                    </a:lnTo>
                    <a:lnTo>
                      <a:pt x="171" y="142"/>
                    </a:lnTo>
                    <a:lnTo>
                      <a:pt x="172" y="141"/>
                    </a:lnTo>
                    <a:lnTo>
                      <a:pt x="175" y="141"/>
                    </a:lnTo>
                    <a:lnTo>
                      <a:pt x="178" y="141"/>
                    </a:lnTo>
                    <a:lnTo>
                      <a:pt x="178" y="141"/>
                    </a:lnTo>
                    <a:lnTo>
                      <a:pt x="179" y="141"/>
                    </a:lnTo>
                    <a:lnTo>
                      <a:pt x="179" y="141"/>
                    </a:lnTo>
                    <a:lnTo>
                      <a:pt x="181" y="137"/>
                    </a:lnTo>
                    <a:lnTo>
                      <a:pt x="181" y="134"/>
                    </a:lnTo>
                    <a:lnTo>
                      <a:pt x="178" y="131"/>
                    </a:lnTo>
                    <a:lnTo>
                      <a:pt x="178" y="131"/>
                    </a:lnTo>
                    <a:lnTo>
                      <a:pt x="177" y="130"/>
                    </a:lnTo>
                    <a:lnTo>
                      <a:pt x="174" y="125"/>
                    </a:lnTo>
                    <a:lnTo>
                      <a:pt x="169" y="121"/>
                    </a:lnTo>
                    <a:lnTo>
                      <a:pt x="168" y="120"/>
                    </a:lnTo>
                    <a:lnTo>
                      <a:pt x="165" y="118"/>
                    </a:lnTo>
                    <a:lnTo>
                      <a:pt x="165" y="118"/>
                    </a:lnTo>
                    <a:lnTo>
                      <a:pt x="161" y="120"/>
                    </a:lnTo>
                    <a:lnTo>
                      <a:pt x="160" y="123"/>
                    </a:lnTo>
                    <a:lnTo>
                      <a:pt x="161" y="124"/>
                    </a:lnTo>
                    <a:lnTo>
                      <a:pt x="164" y="125"/>
                    </a:lnTo>
                    <a:lnTo>
                      <a:pt x="164" y="125"/>
                    </a:lnTo>
                    <a:lnTo>
                      <a:pt x="167" y="127"/>
                    </a:lnTo>
                    <a:lnTo>
                      <a:pt x="168" y="128"/>
                    </a:lnTo>
                    <a:lnTo>
                      <a:pt x="169" y="131"/>
                    </a:lnTo>
                    <a:lnTo>
                      <a:pt x="169" y="134"/>
                    </a:lnTo>
                    <a:lnTo>
                      <a:pt x="169" y="134"/>
                    </a:lnTo>
                    <a:lnTo>
                      <a:pt x="168" y="134"/>
                    </a:lnTo>
                    <a:lnTo>
                      <a:pt x="167" y="132"/>
                    </a:lnTo>
                    <a:lnTo>
                      <a:pt x="164" y="131"/>
                    </a:lnTo>
                    <a:lnTo>
                      <a:pt x="160" y="131"/>
                    </a:lnTo>
                    <a:lnTo>
                      <a:pt x="160" y="131"/>
                    </a:lnTo>
                    <a:lnTo>
                      <a:pt x="157" y="130"/>
                    </a:lnTo>
                    <a:lnTo>
                      <a:pt x="157" y="130"/>
                    </a:lnTo>
                    <a:lnTo>
                      <a:pt x="155" y="127"/>
                    </a:lnTo>
                    <a:lnTo>
                      <a:pt x="154" y="124"/>
                    </a:lnTo>
                    <a:lnTo>
                      <a:pt x="151" y="123"/>
                    </a:lnTo>
                    <a:lnTo>
                      <a:pt x="150" y="123"/>
                    </a:lnTo>
                    <a:lnTo>
                      <a:pt x="150" y="123"/>
                    </a:lnTo>
                    <a:lnTo>
                      <a:pt x="147" y="121"/>
                    </a:lnTo>
                    <a:lnTo>
                      <a:pt x="145" y="120"/>
                    </a:lnTo>
                    <a:lnTo>
                      <a:pt x="142" y="114"/>
                    </a:lnTo>
                    <a:lnTo>
                      <a:pt x="140" y="110"/>
                    </a:lnTo>
                    <a:lnTo>
                      <a:pt x="138" y="108"/>
                    </a:lnTo>
                    <a:lnTo>
                      <a:pt x="135" y="108"/>
                    </a:lnTo>
                    <a:lnTo>
                      <a:pt x="135" y="108"/>
                    </a:lnTo>
                    <a:lnTo>
                      <a:pt x="131" y="107"/>
                    </a:lnTo>
                    <a:lnTo>
                      <a:pt x="128" y="104"/>
                    </a:lnTo>
                    <a:lnTo>
                      <a:pt x="130" y="100"/>
                    </a:lnTo>
                    <a:lnTo>
                      <a:pt x="132" y="97"/>
                    </a:lnTo>
                    <a:lnTo>
                      <a:pt x="132" y="97"/>
                    </a:lnTo>
                    <a:lnTo>
                      <a:pt x="132" y="94"/>
                    </a:lnTo>
                    <a:lnTo>
                      <a:pt x="132" y="93"/>
                    </a:lnTo>
                    <a:lnTo>
                      <a:pt x="130" y="90"/>
                    </a:lnTo>
                    <a:lnTo>
                      <a:pt x="125" y="86"/>
                    </a:lnTo>
                    <a:lnTo>
                      <a:pt x="124" y="84"/>
                    </a:lnTo>
                    <a:lnTo>
                      <a:pt x="124" y="81"/>
                    </a:lnTo>
                    <a:lnTo>
                      <a:pt x="124" y="81"/>
                    </a:lnTo>
                    <a:lnTo>
                      <a:pt x="124" y="80"/>
                    </a:lnTo>
                    <a:lnTo>
                      <a:pt x="123" y="78"/>
                    </a:lnTo>
                    <a:lnTo>
                      <a:pt x="120" y="78"/>
                    </a:lnTo>
                    <a:lnTo>
                      <a:pt x="117" y="77"/>
                    </a:lnTo>
                    <a:lnTo>
                      <a:pt x="115" y="76"/>
                    </a:lnTo>
                    <a:lnTo>
                      <a:pt x="115" y="74"/>
                    </a:lnTo>
                    <a:lnTo>
                      <a:pt x="115" y="74"/>
                    </a:lnTo>
                    <a:lnTo>
                      <a:pt x="114" y="73"/>
                    </a:lnTo>
                    <a:lnTo>
                      <a:pt x="113" y="71"/>
                    </a:lnTo>
                    <a:lnTo>
                      <a:pt x="110" y="70"/>
                    </a:lnTo>
                    <a:lnTo>
                      <a:pt x="107" y="67"/>
                    </a:lnTo>
                    <a:lnTo>
                      <a:pt x="107" y="67"/>
                    </a:lnTo>
                    <a:lnTo>
                      <a:pt x="104" y="64"/>
                    </a:lnTo>
                    <a:lnTo>
                      <a:pt x="103" y="64"/>
                    </a:lnTo>
                    <a:lnTo>
                      <a:pt x="100" y="63"/>
                    </a:lnTo>
                    <a:lnTo>
                      <a:pt x="97" y="61"/>
                    </a:lnTo>
                    <a:lnTo>
                      <a:pt x="97" y="61"/>
                    </a:lnTo>
                    <a:lnTo>
                      <a:pt x="94" y="59"/>
                    </a:lnTo>
                    <a:lnTo>
                      <a:pt x="91" y="57"/>
                    </a:lnTo>
                    <a:lnTo>
                      <a:pt x="87" y="56"/>
                    </a:lnTo>
                    <a:lnTo>
                      <a:pt x="86" y="57"/>
                    </a:lnTo>
                    <a:lnTo>
                      <a:pt x="86" y="57"/>
                    </a:lnTo>
                    <a:lnTo>
                      <a:pt x="81" y="56"/>
                    </a:lnTo>
                    <a:lnTo>
                      <a:pt x="78" y="53"/>
                    </a:lnTo>
                    <a:lnTo>
                      <a:pt x="74" y="49"/>
                    </a:lnTo>
                    <a:lnTo>
                      <a:pt x="71" y="43"/>
                    </a:lnTo>
                    <a:lnTo>
                      <a:pt x="71" y="43"/>
                    </a:lnTo>
                    <a:lnTo>
                      <a:pt x="70" y="40"/>
                    </a:lnTo>
                    <a:lnTo>
                      <a:pt x="66" y="37"/>
                    </a:lnTo>
                    <a:lnTo>
                      <a:pt x="57" y="31"/>
                    </a:lnTo>
                    <a:lnTo>
                      <a:pt x="49" y="24"/>
                    </a:lnTo>
                    <a:lnTo>
                      <a:pt x="46" y="22"/>
                    </a:lnTo>
                    <a:lnTo>
                      <a:pt x="44" y="19"/>
                    </a:lnTo>
                    <a:lnTo>
                      <a:pt x="44" y="19"/>
                    </a:lnTo>
                    <a:lnTo>
                      <a:pt x="41" y="13"/>
                    </a:lnTo>
                    <a:lnTo>
                      <a:pt x="36" y="10"/>
                    </a:lnTo>
                    <a:lnTo>
                      <a:pt x="30" y="9"/>
                    </a:lnTo>
                    <a:lnTo>
                      <a:pt x="22" y="7"/>
                    </a:lnTo>
                    <a:lnTo>
                      <a:pt x="22" y="7"/>
                    </a:lnTo>
                    <a:lnTo>
                      <a:pt x="16" y="7"/>
                    </a:lnTo>
                    <a:lnTo>
                      <a:pt x="13" y="6"/>
                    </a:lnTo>
                    <a:lnTo>
                      <a:pt x="7" y="3"/>
                    </a:lnTo>
                    <a:lnTo>
                      <a:pt x="3" y="0"/>
                    </a:lnTo>
                    <a:lnTo>
                      <a:pt x="2" y="0"/>
                    </a:lnTo>
                    <a:lnTo>
                      <a:pt x="0" y="2"/>
                    </a:lnTo>
                    <a:lnTo>
                      <a:pt x="0" y="2"/>
                    </a:lnTo>
                    <a:lnTo>
                      <a:pt x="0" y="4"/>
                    </a:lnTo>
                    <a:lnTo>
                      <a:pt x="0" y="9"/>
                    </a:lnTo>
                    <a:lnTo>
                      <a:pt x="6" y="19"/>
                    </a:lnTo>
                    <a:lnTo>
                      <a:pt x="14" y="27"/>
                    </a:lnTo>
                    <a:lnTo>
                      <a:pt x="22" y="33"/>
                    </a:lnTo>
                    <a:lnTo>
                      <a:pt x="22" y="33"/>
                    </a:lnTo>
                    <a:lnTo>
                      <a:pt x="24" y="34"/>
                    </a:lnTo>
                    <a:lnTo>
                      <a:pt x="27" y="37"/>
                    </a:lnTo>
                    <a:lnTo>
                      <a:pt x="31" y="46"/>
                    </a:lnTo>
                    <a:lnTo>
                      <a:pt x="37" y="51"/>
                    </a:lnTo>
                    <a:lnTo>
                      <a:pt x="40" y="54"/>
                    </a:lnTo>
                    <a:lnTo>
                      <a:pt x="44" y="56"/>
                    </a:lnTo>
                    <a:lnTo>
                      <a:pt x="44" y="56"/>
                    </a:lnTo>
                    <a:lnTo>
                      <a:pt x="47" y="57"/>
                    </a:lnTo>
                    <a:lnTo>
                      <a:pt x="50" y="60"/>
                    </a:lnTo>
                    <a:lnTo>
                      <a:pt x="53" y="71"/>
                    </a:lnTo>
                    <a:lnTo>
                      <a:pt x="57" y="81"/>
                    </a:lnTo>
                    <a:lnTo>
                      <a:pt x="59" y="86"/>
                    </a:lnTo>
                    <a:lnTo>
                      <a:pt x="61" y="87"/>
                    </a:lnTo>
                    <a:lnTo>
                      <a:pt x="61" y="87"/>
                    </a:lnTo>
                    <a:lnTo>
                      <a:pt x="64" y="88"/>
                    </a:lnTo>
                    <a:lnTo>
                      <a:pt x="67" y="93"/>
                    </a:lnTo>
                    <a:lnTo>
                      <a:pt x="76" y="101"/>
                    </a:lnTo>
                    <a:lnTo>
                      <a:pt x="81" y="114"/>
                    </a:lnTo>
                    <a:lnTo>
                      <a:pt x="86" y="124"/>
                    </a:lnTo>
                    <a:lnTo>
                      <a:pt x="86" y="124"/>
                    </a:lnTo>
                    <a:lnTo>
                      <a:pt x="87" y="128"/>
                    </a:lnTo>
                    <a:lnTo>
                      <a:pt x="90" y="132"/>
                    </a:lnTo>
                    <a:lnTo>
                      <a:pt x="97" y="140"/>
                    </a:lnTo>
                    <a:lnTo>
                      <a:pt x="104" y="145"/>
                    </a:lnTo>
                    <a:lnTo>
                      <a:pt x="110" y="152"/>
                    </a:lnTo>
                    <a:lnTo>
                      <a:pt x="110" y="152"/>
                    </a:lnTo>
                    <a:lnTo>
                      <a:pt x="115" y="160"/>
                    </a:lnTo>
                    <a:lnTo>
                      <a:pt x="124" y="167"/>
                    </a:lnTo>
                    <a:lnTo>
                      <a:pt x="132" y="172"/>
                    </a:lnTo>
                    <a:lnTo>
                      <a:pt x="138" y="177"/>
                    </a:lnTo>
                    <a:lnTo>
                      <a:pt x="138" y="177"/>
                    </a:lnTo>
                    <a:lnTo>
                      <a:pt x="142" y="184"/>
                    </a:lnTo>
                    <a:lnTo>
                      <a:pt x="144" y="187"/>
                    </a:lnTo>
                    <a:lnTo>
                      <a:pt x="145" y="187"/>
                    </a:lnTo>
                    <a:lnTo>
                      <a:pt x="147" y="185"/>
                    </a:lnTo>
                    <a:lnTo>
                      <a:pt x="147" y="185"/>
                    </a:lnTo>
                    <a:lnTo>
                      <a:pt x="147" y="184"/>
                    </a:lnTo>
                    <a:lnTo>
                      <a:pt x="150" y="184"/>
                    </a:lnTo>
                    <a:lnTo>
                      <a:pt x="154" y="184"/>
                    </a:lnTo>
                    <a:lnTo>
                      <a:pt x="164" y="185"/>
                    </a:lnTo>
                    <a:lnTo>
                      <a:pt x="164" y="185"/>
                    </a:lnTo>
                    <a:lnTo>
                      <a:pt x="165" y="185"/>
                    </a:lnTo>
                    <a:lnTo>
                      <a:pt x="167" y="182"/>
                    </a:lnTo>
                    <a:lnTo>
                      <a:pt x="168" y="177"/>
                    </a:lnTo>
                    <a:lnTo>
                      <a:pt x="168" y="168"/>
                    </a:lnTo>
                    <a:lnTo>
                      <a:pt x="169" y="162"/>
                    </a:lnTo>
                    <a:lnTo>
                      <a:pt x="169" y="162"/>
                    </a:lnTo>
                    <a:close/>
                    <a:moveTo>
                      <a:pt x="531" y="86"/>
                    </a:moveTo>
                    <a:lnTo>
                      <a:pt x="531" y="86"/>
                    </a:lnTo>
                    <a:lnTo>
                      <a:pt x="537" y="86"/>
                    </a:lnTo>
                    <a:lnTo>
                      <a:pt x="538" y="84"/>
                    </a:lnTo>
                    <a:lnTo>
                      <a:pt x="538" y="83"/>
                    </a:lnTo>
                    <a:lnTo>
                      <a:pt x="537" y="74"/>
                    </a:lnTo>
                    <a:lnTo>
                      <a:pt x="537" y="74"/>
                    </a:lnTo>
                    <a:lnTo>
                      <a:pt x="537" y="73"/>
                    </a:lnTo>
                    <a:lnTo>
                      <a:pt x="535" y="71"/>
                    </a:lnTo>
                    <a:lnTo>
                      <a:pt x="532" y="71"/>
                    </a:lnTo>
                    <a:lnTo>
                      <a:pt x="529" y="71"/>
                    </a:lnTo>
                    <a:lnTo>
                      <a:pt x="528" y="71"/>
                    </a:lnTo>
                    <a:lnTo>
                      <a:pt x="528" y="70"/>
                    </a:lnTo>
                    <a:lnTo>
                      <a:pt x="528" y="70"/>
                    </a:lnTo>
                    <a:lnTo>
                      <a:pt x="527" y="66"/>
                    </a:lnTo>
                    <a:lnTo>
                      <a:pt x="525" y="61"/>
                    </a:lnTo>
                    <a:lnTo>
                      <a:pt x="524" y="60"/>
                    </a:lnTo>
                    <a:lnTo>
                      <a:pt x="521" y="60"/>
                    </a:lnTo>
                    <a:lnTo>
                      <a:pt x="519" y="61"/>
                    </a:lnTo>
                    <a:lnTo>
                      <a:pt x="517" y="64"/>
                    </a:lnTo>
                    <a:lnTo>
                      <a:pt x="517" y="64"/>
                    </a:lnTo>
                    <a:lnTo>
                      <a:pt x="514" y="68"/>
                    </a:lnTo>
                    <a:lnTo>
                      <a:pt x="514" y="74"/>
                    </a:lnTo>
                    <a:lnTo>
                      <a:pt x="514" y="80"/>
                    </a:lnTo>
                    <a:lnTo>
                      <a:pt x="515" y="86"/>
                    </a:lnTo>
                    <a:lnTo>
                      <a:pt x="519" y="96"/>
                    </a:lnTo>
                    <a:lnTo>
                      <a:pt x="522" y="98"/>
                    </a:lnTo>
                    <a:lnTo>
                      <a:pt x="525" y="98"/>
                    </a:lnTo>
                    <a:lnTo>
                      <a:pt x="525" y="98"/>
                    </a:lnTo>
                    <a:lnTo>
                      <a:pt x="527" y="98"/>
                    </a:lnTo>
                    <a:lnTo>
                      <a:pt x="527" y="96"/>
                    </a:lnTo>
                    <a:lnTo>
                      <a:pt x="527" y="91"/>
                    </a:lnTo>
                    <a:lnTo>
                      <a:pt x="527" y="87"/>
                    </a:lnTo>
                    <a:lnTo>
                      <a:pt x="528" y="86"/>
                    </a:lnTo>
                    <a:lnTo>
                      <a:pt x="531" y="86"/>
                    </a:lnTo>
                    <a:lnTo>
                      <a:pt x="531" y="86"/>
                    </a:lnTo>
                    <a:close/>
                    <a:moveTo>
                      <a:pt x="492" y="145"/>
                    </a:moveTo>
                    <a:lnTo>
                      <a:pt x="492" y="145"/>
                    </a:lnTo>
                    <a:lnTo>
                      <a:pt x="494" y="148"/>
                    </a:lnTo>
                    <a:lnTo>
                      <a:pt x="495" y="150"/>
                    </a:lnTo>
                    <a:lnTo>
                      <a:pt x="501" y="152"/>
                    </a:lnTo>
                    <a:lnTo>
                      <a:pt x="507" y="154"/>
                    </a:lnTo>
                    <a:lnTo>
                      <a:pt x="509" y="152"/>
                    </a:lnTo>
                    <a:lnTo>
                      <a:pt x="512" y="151"/>
                    </a:lnTo>
                    <a:lnTo>
                      <a:pt x="512" y="151"/>
                    </a:lnTo>
                    <a:lnTo>
                      <a:pt x="512" y="148"/>
                    </a:lnTo>
                    <a:lnTo>
                      <a:pt x="509" y="145"/>
                    </a:lnTo>
                    <a:lnTo>
                      <a:pt x="502" y="142"/>
                    </a:lnTo>
                    <a:lnTo>
                      <a:pt x="498" y="141"/>
                    </a:lnTo>
                    <a:lnTo>
                      <a:pt x="495" y="141"/>
                    </a:lnTo>
                    <a:lnTo>
                      <a:pt x="492" y="142"/>
                    </a:lnTo>
                    <a:lnTo>
                      <a:pt x="492" y="145"/>
                    </a:lnTo>
                    <a:lnTo>
                      <a:pt x="492" y="145"/>
                    </a:lnTo>
                    <a:close/>
                    <a:moveTo>
                      <a:pt x="455" y="225"/>
                    </a:moveTo>
                    <a:lnTo>
                      <a:pt x="455" y="225"/>
                    </a:lnTo>
                    <a:lnTo>
                      <a:pt x="450" y="225"/>
                    </a:lnTo>
                    <a:lnTo>
                      <a:pt x="445" y="225"/>
                    </a:lnTo>
                    <a:lnTo>
                      <a:pt x="438" y="228"/>
                    </a:lnTo>
                    <a:lnTo>
                      <a:pt x="430" y="229"/>
                    </a:lnTo>
                    <a:lnTo>
                      <a:pt x="426" y="229"/>
                    </a:lnTo>
                    <a:lnTo>
                      <a:pt x="421" y="228"/>
                    </a:lnTo>
                    <a:lnTo>
                      <a:pt x="421" y="228"/>
                    </a:lnTo>
                    <a:lnTo>
                      <a:pt x="416" y="226"/>
                    </a:lnTo>
                    <a:lnTo>
                      <a:pt x="410" y="226"/>
                    </a:lnTo>
                    <a:lnTo>
                      <a:pt x="400" y="226"/>
                    </a:lnTo>
                    <a:lnTo>
                      <a:pt x="393" y="229"/>
                    </a:lnTo>
                    <a:lnTo>
                      <a:pt x="391" y="231"/>
                    </a:lnTo>
                    <a:lnTo>
                      <a:pt x="391" y="232"/>
                    </a:lnTo>
                    <a:lnTo>
                      <a:pt x="391" y="232"/>
                    </a:lnTo>
                    <a:lnTo>
                      <a:pt x="394" y="235"/>
                    </a:lnTo>
                    <a:lnTo>
                      <a:pt x="400" y="236"/>
                    </a:lnTo>
                    <a:lnTo>
                      <a:pt x="417" y="238"/>
                    </a:lnTo>
                    <a:lnTo>
                      <a:pt x="417" y="238"/>
                    </a:lnTo>
                    <a:lnTo>
                      <a:pt x="426" y="236"/>
                    </a:lnTo>
                    <a:lnTo>
                      <a:pt x="434" y="233"/>
                    </a:lnTo>
                    <a:lnTo>
                      <a:pt x="443" y="232"/>
                    </a:lnTo>
                    <a:lnTo>
                      <a:pt x="450" y="231"/>
                    </a:lnTo>
                    <a:lnTo>
                      <a:pt x="450" y="231"/>
                    </a:lnTo>
                    <a:lnTo>
                      <a:pt x="460" y="228"/>
                    </a:lnTo>
                    <a:lnTo>
                      <a:pt x="461" y="228"/>
                    </a:lnTo>
                    <a:lnTo>
                      <a:pt x="461" y="226"/>
                    </a:lnTo>
                    <a:lnTo>
                      <a:pt x="455" y="225"/>
                    </a:lnTo>
                    <a:lnTo>
                      <a:pt x="455" y="225"/>
                    </a:lnTo>
                    <a:close/>
                    <a:moveTo>
                      <a:pt x="556" y="138"/>
                    </a:moveTo>
                    <a:lnTo>
                      <a:pt x="556" y="138"/>
                    </a:lnTo>
                    <a:lnTo>
                      <a:pt x="546" y="137"/>
                    </a:lnTo>
                    <a:lnTo>
                      <a:pt x="535" y="138"/>
                    </a:lnTo>
                    <a:lnTo>
                      <a:pt x="527" y="140"/>
                    </a:lnTo>
                    <a:lnTo>
                      <a:pt x="525" y="142"/>
                    </a:lnTo>
                    <a:lnTo>
                      <a:pt x="525" y="144"/>
                    </a:lnTo>
                    <a:lnTo>
                      <a:pt x="525" y="144"/>
                    </a:lnTo>
                    <a:lnTo>
                      <a:pt x="527" y="145"/>
                    </a:lnTo>
                    <a:lnTo>
                      <a:pt x="528" y="147"/>
                    </a:lnTo>
                    <a:lnTo>
                      <a:pt x="532" y="148"/>
                    </a:lnTo>
                    <a:lnTo>
                      <a:pt x="546" y="148"/>
                    </a:lnTo>
                    <a:lnTo>
                      <a:pt x="546" y="148"/>
                    </a:lnTo>
                    <a:lnTo>
                      <a:pt x="554" y="148"/>
                    </a:lnTo>
                    <a:lnTo>
                      <a:pt x="559" y="151"/>
                    </a:lnTo>
                    <a:lnTo>
                      <a:pt x="564" y="154"/>
                    </a:lnTo>
                    <a:lnTo>
                      <a:pt x="568" y="155"/>
                    </a:lnTo>
                    <a:lnTo>
                      <a:pt x="568" y="155"/>
                    </a:lnTo>
                    <a:lnTo>
                      <a:pt x="569" y="154"/>
                    </a:lnTo>
                    <a:lnTo>
                      <a:pt x="569" y="152"/>
                    </a:lnTo>
                    <a:lnTo>
                      <a:pt x="568" y="148"/>
                    </a:lnTo>
                    <a:lnTo>
                      <a:pt x="564" y="142"/>
                    </a:lnTo>
                    <a:lnTo>
                      <a:pt x="561" y="141"/>
                    </a:lnTo>
                    <a:lnTo>
                      <a:pt x="556" y="138"/>
                    </a:lnTo>
                    <a:lnTo>
                      <a:pt x="556" y="138"/>
                    </a:lnTo>
                    <a:close/>
                    <a:moveTo>
                      <a:pt x="306" y="221"/>
                    </a:moveTo>
                    <a:lnTo>
                      <a:pt x="306" y="221"/>
                    </a:lnTo>
                    <a:lnTo>
                      <a:pt x="306" y="218"/>
                    </a:lnTo>
                    <a:lnTo>
                      <a:pt x="303" y="218"/>
                    </a:lnTo>
                    <a:lnTo>
                      <a:pt x="296" y="218"/>
                    </a:lnTo>
                    <a:lnTo>
                      <a:pt x="286" y="218"/>
                    </a:lnTo>
                    <a:lnTo>
                      <a:pt x="279" y="216"/>
                    </a:lnTo>
                    <a:lnTo>
                      <a:pt x="279" y="216"/>
                    </a:lnTo>
                    <a:lnTo>
                      <a:pt x="276" y="215"/>
                    </a:lnTo>
                    <a:lnTo>
                      <a:pt x="276" y="214"/>
                    </a:lnTo>
                    <a:lnTo>
                      <a:pt x="280" y="211"/>
                    </a:lnTo>
                    <a:lnTo>
                      <a:pt x="288" y="208"/>
                    </a:lnTo>
                    <a:lnTo>
                      <a:pt x="295" y="205"/>
                    </a:lnTo>
                    <a:lnTo>
                      <a:pt x="295" y="205"/>
                    </a:lnTo>
                    <a:lnTo>
                      <a:pt x="296" y="204"/>
                    </a:lnTo>
                    <a:lnTo>
                      <a:pt x="296" y="202"/>
                    </a:lnTo>
                    <a:lnTo>
                      <a:pt x="293" y="201"/>
                    </a:lnTo>
                    <a:lnTo>
                      <a:pt x="286" y="202"/>
                    </a:lnTo>
                    <a:lnTo>
                      <a:pt x="276" y="205"/>
                    </a:lnTo>
                    <a:lnTo>
                      <a:pt x="276" y="205"/>
                    </a:lnTo>
                    <a:lnTo>
                      <a:pt x="269" y="205"/>
                    </a:lnTo>
                    <a:lnTo>
                      <a:pt x="263" y="205"/>
                    </a:lnTo>
                    <a:lnTo>
                      <a:pt x="253" y="202"/>
                    </a:lnTo>
                    <a:lnTo>
                      <a:pt x="245" y="199"/>
                    </a:lnTo>
                    <a:lnTo>
                      <a:pt x="243" y="199"/>
                    </a:lnTo>
                    <a:lnTo>
                      <a:pt x="242" y="201"/>
                    </a:lnTo>
                    <a:lnTo>
                      <a:pt x="242" y="201"/>
                    </a:lnTo>
                    <a:lnTo>
                      <a:pt x="241" y="202"/>
                    </a:lnTo>
                    <a:lnTo>
                      <a:pt x="238" y="204"/>
                    </a:lnTo>
                    <a:lnTo>
                      <a:pt x="228" y="201"/>
                    </a:lnTo>
                    <a:lnTo>
                      <a:pt x="216" y="197"/>
                    </a:lnTo>
                    <a:lnTo>
                      <a:pt x="208" y="194"/>
                    </a:lnTo>
                    <a:lnTo>
                      <a:pt x="208" y="194"/>
                    </a:lnTo>
                    <a:lnTo>
                      <a:pt x="201" y="189"/>
                    </a:lnTo>
                    <a:lnTo>
                      <a:pt x="189" y="187"/>
                    </a:lnTo>
                    <a:lnTo>
                      <a:pt x="184" y="187"/>
                    </a:lnTo>
                    <a:lnTo>
                      <a:pt x="178" y="187"/>
                    </a:lnTo>
                    <a:lnTo>
                      <a:pt x="174" y="188"/>
                    </a:lnTo>
                    <a:lnTo>
                      <a:pt x="171" y="191"/>
                    </a:lnTo>
                    <a:lnTo>
                      <a:pt x="171" y="191"/>
                    </a:lnTo>
                    <a:lnTo>
                      <a:pt x="167" y="195"/>
                    </a:lnTo>
                    <a:lnTo>
                      <a:pt x="164" y="197"/>
                    </a:lnTo>
                    <a:lnTo>
                      <a:pt x="162" y="197"/>
                    </a:lnTo>
                    <a:lnTo>
                      <a:pt x="164" y="201"/>
                    </a:lnTo>
                    <a:lnTo>
                      <a:pt x="164" y="201"/>
                    </a:lnTo>
                    <a:lnTo>
                      <a:pt x="165" y="204"/>
                    </a:lnTo>
                    <a:lnTo>
                      <a:pt x="168" y="204"/>
                    </a:lnTo>
                    <a:lnTo>
                      <a:pt x="175" y="204"/>
                    </a:lnTo>
                    <a:lnTo>
                      <a:pt x="175" y="204"/>
                    </a:lnTo>
                    <a:lnTo>
                      <a:pt x="177" y="204"/>
                    </a:lnTo>
                    <a:lnTo>
                      <a:pt x="178" y="208"/>
                    </a:lnTo>
                    <a:lnTo>
                      <a:pt x="181" y="211"/>
                    </a:lnTo>
                    <a:lnTo>
                      <a:pt x="184" y="212"/>
                    </a:lnTo>
                    <a:lnTo>
                      <a:pt x="184" y="212"/>
                    </a:lnTo>
                    <a:lnTo>
                      <a:pt x="199" y="215"/>
                    </a:lnTo>
                    <a:lnTo>
                      <a:pt x="208" y="216"/>
                    </a:lnTo>
                    <a:lnTo>
                      <a:pt x="211" y="215"/>
                    </a:lnTo>
                    <a:lnTo>
                      <a:pt x="212" y="215"/>
                    </a:lnTo>
                    <a:lnTo>
                      <a:pt x="212" y="215"/>
                    </a:lnTo>
                    <a:lnTo>
                      <a:pt x="214" y="214"/>
                    </a:lnTo>
                    <a:lnTo>
                      <a:pt x="216" y="212"/>
                    </a:lnTo>
                    <a:lnTo>
                      <a:pt x="225" y="214"/>
                    </a:lnTo>
                    <a:lnTo>
                      <a:pt x="234" y="216"/>
                    </a:lnTo>
                    <a:lnTo>
                      <a:pt x="242" y="222"/>
                    </a:lnTo>
                    <a:lnTo>
                      <a:pt x="242" y="222"/>
                    </a:lnTo>
                    <a:lnTo>
                      <a:pt x="246" y="225"/>
                    </a:lnTo>
                    <a:lnTo>
                      <a:pt x="252" y="226"/>
                    </a:lnTo>
                    <a:lnTo>
                      <a:pt x="262" y="229"/>
                    </a:lnTo>
                    <a:lnTo>
                      <a:pt x="273" y="229"/>
                    </a:lnTo>
                    <a:lnTo>
                      <a:pt x="282" y="229"/>
                    </a:lnTo>
                    <a:lnTo>
                      <a:pt x="282" y="229"/>
                    </a:lnTo>
                    <a:lnTo>
                      <a:pt x="289" y="229"/>
                    </a:lnTo>
                    <a:lnTo>
                      <a:pt x="295" y="231"/>
                    </a:lnTo>
                    <a:lnTo>
                      <a:pt x="300" y="231"/>
                    </a:lnTo>
                    <a:lnTo>
                      <a:pt x="302" y="231"/>
                    </a:lnTo>
                    <a:lnTo>
                      <a:pt x="303" y="229"/>
                    </a:lnTo>
                    <a:lnTo>
                      <a:pt x="303" y="229"/>
                    </a:lnTo>
                    <a:lnTo>
                      <a:pt x="305" y="229"/>
                    </a:lnTo>
                    <a:lnTo>
                      <a:pt x="306" y="229"/>
                    </a:lnTo>
                    <a:lnTo>
                      <a:pt x="310" y="231"/>
                    </a:lnTo>
                    <a:lnTo>
                      <a:pt x="316" y="232"/>
                    </a:lnTo>
                    <a:lnTo>
                      <a:pt x="319" y="232"/>
                    </a:lnTo>
                    <a:lnTo>
                      <a:pt x="323" y="231"/>
                    </a:lnTo>
                    <a:lnTo>
                      <a:pt x="323" y="231"/>
                    </a:lnTo>
                    <a:lnTo>
                      <a:pt x="325" y="228"/>
                    </a:lnTo>
                    <a:lnTo>
                      <a:pt x="325" y="226"/>
                    </a:lnTo>
                    <a:lnTo>
                      <a:pt x="317" y="225"/>
                    </a:lnTo>
                    <a:lnTo>
                      <a:pt x="310" y="224"/>
                    </a:lnTo>
                    <a:lnTo>
                      <a:pt x="307" y="222"/>
                    </a:lnTo>
                    <a:lnTo>
                      <a:pt x="306" y="221"/>
                    </a:lnTo>
                    <a:lnTo>
                      <a:pt x="306" y="221"/>
                    </a:lnTo>
                    <a:close/>
                    <a:moveTo>
                      <a:pt x="680" y="117"/>
                    </a:moveTo>
                    <a:lnTo>
                      <a:pt x="680" y="117"/>
                    </a:lnTo>
                    <a:lnTo>
                      <a:pt x="677" y="117"/>
                    </a:lnTo>
                    <a:lnTo>
                      <a:pt x="674" y="118"/>
                    </a:lnTo>
                    <a:lnTo>
                      <a:pt x="672" y="124"/>
                    </a:lnTo>
                    <a:lnTo>
                      <a:pt x="669" y="128"/>
                    </a:lnTo>
                    <a:lnTo>
                      <a:pt x="667" y="130"/>
                    </a:lnTo>
                    <a:lnTo>
                      <a:pt x="666" y="130"/>
                    </a:lnTo>
                    <a:lnTo>
                      <a:pt x="666" y="130"/>
                    </a:lnTo>
                    <a:lnTo>
                      <a:pt x="663" y="130"/>
                    </a:lnTo>
                    <a:lnTo>
                      <a:pt x="660" y="131"/>
                    </a:lnTo>
                    <a:lnTo>
                      <a:pt x="655" y="137"/>
                    </a:lnTo>
                    <a:lnTo>
                      <a:pt x="647" y="142"/>
                    </a:lnTo>
                    <a:lnTo>
                      <a:pt x="639" y="147"/>
                    </a:lnTo>
                    <a:lnTo>
                      <a:pt x="639" y="147"/>
                    </a:lnTo>
                    <a:lnTo>
                      <a:pt x="638" y="147"/>
                    </a:lnTo>
                    <a:lnTo>
                      <a:pt x="636" y="145"/>
                    </a:lnTo>
                    <a:lnTo>
                      <a:pt x="632" y="142"/>
                    </a:lnTo>
                    <a:lnTo>
                      <a:pt x="630" y="137"/>
                    </a:lnTo>
                    <a:lnTo>
                      <a:pt x="629" y="130"/>
                    </a:lnTo>
                    <a:lnTo>
                      <a:pt x="625" y="115"/>
                    </a:lnTo>
                    <a:lnTo>
                      <a:pt x="623" y="110"/>
                    </a:lnTo>
                    <a:lnTo>
                      <a:pt x="622" y="107"/>
                    </a:lnTo>
                    <a:lnTo>
                      <a:pt x="622" y="107"/>
                    </a:lnTo>
                    <a:lnTo>
                      <a:pt x="619" y="104"/>
                    </a:lnTo>
                    <a:lnTo>
                      <a:pt x="615" y="101"/>
                    </a:lnTo>
                    <a:lnTo>
                      <a:pt x="603" y="98"/>
                    </a:lnTo>
                    <a:lnTo>
                      <a:pt x="598" y="97"/>
                    </a:lnTo>
                    <a:lnTo>
                      <a:pt x="592" y="98"/>
                    </a:lnTo>
                    <a:lnTo>
                      <a:pt x="588" y="100"/>
                    </a:lnTo>
                    <a:lnTo>
                      <a:pt x="586" y="101"/>
                    </a:lnTo>
                    <a:lnTo>
                      <a:pt x="586" y="101"/>
                    </a:lnTo>
                    <a:lnTo>
                      <a:pt x="585" y="104"/>
                    </a:lnTo>
                    <a:lnTo>
                      <a:pt x="582" y="105"/>
                    </a:lnTo>
                    <a:lnTo>
                      <a:pt x="578" y="107"/>
                    </a:lnTo>
                    <a:lnTo>
                      <a:pt x="573" y="108"/>
                    </a:lnTo>
                    <a:lnTo>
                      <a:pt x="572" y="110"/>
                    </a:lnTo>
                    <a:lnTo>
                      <a:pt x="572" y="113"/>
                    </a:lnTo>
                    <a:lnTo>
                      <a:pt x="572" y="113"/>
                    </a:lnTo>
                    <a:lnTo>
                      <a:pt x="572" y="115"/>
                    </a:lnTo>
                    <a:lnTo>
                      <a:pt x="573" y="117"/>
                    </a:lnTo>
                    <a:lnTo>
                      <a:pt x="581" y="117"/>
                    </a:lnTo>
                    <a:lnTo>
                      <a:pt x="581" y="117"/>
                    </a:lnTo>
                    <a:lnTo>
                      <a:pt x="583" y="117"/>
                    </a:lnTo>
                    <a:lnTo>
                      <a:pt x="586" y="120"/>
                    </a:lnTo>
                    <a:lnTo>
                      <a:pt x="589" y="127"/>
                    </a:lnTo>
                    <a:lnTo>
                      <a:pt x="589" y="127"/>
                    </a:lnTo>
                    <a:lnTo>
                      <a:pt x="591" y="130"/>
                    </a:lnTo>
                    <a:lnTo>
                      <a:pt x="593" y="130"/>
                    </a:lnTo>
                    <a:lnTo>
                      <a:pt x="601" y="131"/>
                    </a:lnTo>
                    <a:lnTo>
                      <a:pt x="615" y="128"/>
                    </a:lnTo>
                    <a:lnTo>
                      <a:pt x="615" y="128"/>
                    </a:lnTo>
                    <a:lnTo>
                      <a:pt x="619" y="130"/>
                    </a:lnTo>
                    <a:lnTo>
                      <a:pt x="619" y="132"/>
                    </a:lnTo>
                    <a:lnTo>
                      <a:pt x="618" y="134"/>
                    </a:lnTo>
                    <a:lnTo>
                      <a:pt x="613" y="134"/>
                    </a:lnTo>
                    <a:lnTo>
                      <a:pt x="613" y="134"/>
                    </a:lnTo>
                    <a:lnTo>
                      <a:pt x="609" y="132"/>
                    </a:lnTo>
                    <a:lnTo>
                      <a:pt x="606" y="134"/>
                    </a:lnTo>
                    <a:lnTo>
                      <a:pt x="603" y="135"/>
                    </a:lnTo>
                    <a:lnTo>
                      <a:pt x="601" y="135"/>
                    </a:lnTo>
                    <a:lnTo>
                      <a:pt x="601" y="135"/>
                    </a:lnTo>
                    <a:lnTo>
                      <a:pt x="592" y="135"/>
                    </a:lnTo>
                    <a:lnTo>
                      <a:pt x="589" y="137"/>
                    </a:lnTo>
                    <a:lnTo>
                      <a:pt x="591" y="138"/>
                    </a:lnTo>
                    <a:lnTo>
                      <a:pt x="591" y="138"/>
                    </a:lnTo>
                    <a:lnTo>
                      <a:pt x="596" y="144"/>
                    </a:lnTo>
                    <a:lnTo>
                      <a:pt x="599" y="147"/>
                    </a:lnTo>
                    <a:lnTo>
                      <a:pt x="601" y="152"/>
                    </a:lnTo>
                    <a:lnTo>
                      <a:pt x="601" y="152"/>
                    </a:lnTo>
                    <a:lnTo>
                      <a:pt x="601" y="155"/>
                    </a:lnTo>
                    <a:lnTo>
                      <a:pt x="602" y="157"/>
                    </a:lnTo>
                    <a:lnTo>
                      <a:pt x="606" y="158"/>
                    </a:lnTo>
                    <a:lnTo>
                      <a:pt x="609" y="155"/>
                    </a:lnTo>
                    <a:lnTo>
                      <a:pt x="610" y="154"/>
                    </a:lnTo>
                    <a:lnTo>
                      <a:pt x="612" y="152"/>
                    </a:lnTo>
                    <a:lnTo>
                      <a:pt x="612" y="152"/>
                    </a:lnTo>
                    <a:lnTo>
                      <a:pt x="612" y="151"/>
                    </a:lnTo>
                    <a:lnTo>
                      <a:pt x="612" y="150"/>
                    </a:lnTo>
                    <a:lnTo>
                      <a:pt x="615" y="151"/>
                    </a:lnTo>
                    <a:lnTo>
                      <a:pt x="620" y="154"/>
                    </a:lnTo>
                    <a:lnTo>
                      <a:pt x="628" y="157"/>
                    </a:lnTo>
                    <a:lnTo>
                      <a:pt x="628" y="157"/>
                    </a:lnTo>
                    <a:lnTo>
                      <a:pt x="633" y="160"/>
                    </a:lnTo>
                    <a:lnTo>
                      <a:pt x="635" y="162"/>
                    </a:lnTo>
                    <a:lnTo>
                      <a:pt x="636" y="164"/>
                    </a:lnTo>
                    <a:lnTo>
                      <a:pt x="642" y="165"/>
                    </a:lnTo>
                    <a:lnTo>
                      <a:pt x="642" y="165"/>
                    </a:lnTo>
                    <a:lnTo>
                      <a:pt x="652" y="167"/>
                    </a:lnTo>
                    <a:lnTo>
                      <a:pt x="665" y="169"/>
                    </a:lnTo>
                    <a:lnTo>
                      <a:pt x="677" y="175"/>
                    </a:lnTo>
                    <a:lnTo>
                      <a:pt x="687" y="181"/>
                    </a:lnTo>
                    <a:lnTo>
                      <a:pt x="687" y="181"/>
                    </a:lnTo>
                    <a:lnTo>
                      <a:pt x="692" y="185"/>
                    </a:lnTo>
                    <a:lnTo>
                      <a:pt x="693" y="189"/>
                    </a:lnTo>
                    <a:lnTo>
                      <a:pt x="693" y="194"/>
                    </a:lnTo>
                    <a:lnTo>
                      <a:pt x="696" y="199"/>
                    </a:lnTo>
                    <a:lnTo>
                      <a:pt x="696" y="199"/>
                    </a:lnTo>
                    <a:lnTo>
                      <a:pt x="700" y="204"/>
                    </a:lnTo>
                    <a:lnTo>
                      <a:pt x="702" y="208"/>
                    </a:lnTo>
                    <a:lnTo>
                      <a:pt x="702" y="211"/>
                    </a:lnTo>
                    <a:lnTo>
                      <a:pt x="700" y="212"/>
                    </a:lnTo>
                    <a:lnTo>
                      <a:pt x="699" y="212"/>
                    </a:lnTo>
                    <a:lnTo>
                      <a:pt x="696" y="214"/>
                    </a:lnTo>
                    <a:lnTo>
                      <a:pt x="696" y="214"/>
                    </a:lnTo>
                    <a:lnTo>
                      <a:pt x="689" y="215"/>
                    </a:lnTo>
                    <a:lnTo>
                      <a:pt x="684" y="218"/>
                    </a:lnTo>
                    <a:lnTo>
                      <a:pt x="680" y="222"/>
                    </a:lnTo>
                    <a:lnTo>
                      <a:pt x="680" y="224"/>
                    </a:lnTo>
                    <a:lnTo>
                      <a:pt x="680" y="226"/>
                    </a:lnTo>
                    <a:lnTo>
                      <a:pt x="680" y="226"/>
                    </a:lnTo>
                    <a:lnTo>
                      <a:pt x="683" y="226"/>
                    </a:lnTo>
                    <a:lnTo>
                      <a:pt x="686" y="228"/>
                    </a:lnTo>
                    <a:lnTo>
                      <a:pt x="697" y="226"/>
                    </a:lnTo>
                    <a:lnTo>
                      <a:pt x="717" y="224"/>
                    </a:lnTo>
                    <a:lnTo>
                      <a:pt x="717" y="224"/>
                    </a:lnTo>
                    <a:lnTo>
                      <a:pt x="721" y="225"/>
                    </a:lnTo>
                    <a:lnTo>
                      <a:pt x="724" y="228"/>
                    </a:lnTo>
                    <a:lnTo>
                      <a:pt x="729" y="232"/>
                    </a:lnTo>
                    <a:lnTo>
                      <a:pt x="734" y="238"/>
                    </a:lnTo>
                    <a:lnTo>
                      <a:pt x="734" y="135"/>
                    </a:lnTo>
                    <a:lnTo>
                      <a:pt x="734" y="135"/>
                    </a:lnTo>
                    <a:lnTo>
                      <a:pt x="702" y="124"/>
                    </a:lnTo>
                    <a:lnTo>
                      <a:pt x="687" y="118"/>
                    </a:lnTo>
                    <a:lnTo>
                      <a:pt x="680" y="117"/>
                    </a:lnTo>
                    <a:lnTo>
                      <a:pt x="680" y="117"/>
                    </a:lnTo>
                    <a:close/>
                    <a:moveTo>
                      <a:pt x="474" y="236"/>
                    </a:moveTo>
                    <a:lnTo>
                      <a:pt x="474" y="236"/>
                    </a:lnTo>
                    <a:lnTo>
                      <a:pt x="470" y="239"/>
                    </a:lnTo>
                    <a:lnTo>
                      <a:pt x="470" y="239"/>
                    </a:lnTo>
                    <a:lnTo>
                      <a:pt x="468" y="242"/>
                    </a:lnTo>
                    <a:lnTo>
                      <a:pt x="467" y="243"/>
                    </a:lnTo>
                    <a:lnTo>
                      <a:pt x="467" y="243"/>
                    </a:lnTo>
                    <a:lnTo>
                      <a:pt x="465" y="243"/>
                    </a:lnTo>
                    <a:lnTo>
                      <a:pt x="464" y="243"/>
                    </a:lnTo>
                    <a:lnTo>
                      <a:pt x="461" y="241"/>
                    </a:lnTo>
                    <a:lnTo>
                      <a:pt x="461" y="241"/>
                    </a:lnTo>
                    <a:lnTo>
                      <a:pt x="455" y="245"/>
                    </a:lnTo>
                    <a:lnTo>
                      <a:pt x="451" y="251"/>
                    </a:lnTo>
                    <a:lnTo>
                      <a:pt x="451" y="255"/>
                    </a:lnTo>
                    <a:lnTo>
                      <a:pt x="453" y="258"/>
                    </a:lnTo>
                    <a:lnTo>
                      <a:pt x="454" y="259"/>
                    </a:lnTo>
                    <a:lnTo>
                      <a:pt x="454" y="259"/>
                    </a:lnTo>
                    <a:lnTo>
                      <a:pt x="457" y="259"/>
                    </a:lnTo>
                    <a:lnTo>
                      <a:pt x="458" y="259"/>
                    </a:lnTo>
                    <a:lnTo>
                      <a:pt x="464" y="256"/>
                    </a:lnTo>
                    <a:lnTo>
                      <a:pt x="470" y="252"/>
                    </a:lnTo>
                    <a:lnTo>
                      <a:pt x="474" y="248"/>
                    </a:lnTo>
                    <a:lnTo>
                      <a:pt x="474" y="248"/>
                    </a:lnTo>
                    <a:lnTo>
                      <a:pt x="477" y="245"/>
                    </a:lnTo>
                    <a:lnTo>
                      <a:pt x="477" y="245"/>
                    </a:lnTo>
                    <a:lnTo>
                      <a:pt x="478" y="243"/>
                    </a:lnTo>
                    <a:lnTo>
                      <a:pt x="478" y="243"/>
                    </a:lnTo>
                    <a:lnTo>
                      <a:pt x="480" y="242"/>
                    </a:lnTo>
                    <a:lnTo>
                      <a:pt x="480" y="242"/>
                    </a:lnTo>
                    <a:lnTo>
                      <a:pt x="474" y="236"/>
                    </a:lnTo>
                    <a:lnTo>
                      <a:pt x="474" y="236"/>
                    </a:lnTo>
                    <a:close/>
                    <a:moveTo>
                      <a:pt x="343" y="115"/>
                    </a:moveTo>
                    <a:lnTo>
                      <a:pt x="343" y="115"/>
                    </a:lnTo>
                    <a:lnTo>
                      <a:pt x="347" y="110"/>
                    </a:lnTo>
                    <a:lnTo>
                      <a:pt x="350" y="104"/>
                    </a:lnTo>
                    <a:lnTo>
                      <a:pt x="352" y="97"/>
                    </a:lnTo>
                    <a:lnTo>
                      <a:pt x="352" y="90"/>
                    </a:lnTo>
                    <a:lnTo>
                      <a:pt x="352" y="90"/>
                    </a:lnTo>
                    <a:lnTo>
                      <a:pt x="353" y="87"/>
                    </a:lnTo>
                    <a:lnTo>
                      <a:pt x="354" y="84"/>
                    </a:lnTo>
                    <a:lnTo>
                      <a:pt x="363" y="81"/>
                    </a:lnTo>
                    <a:lnTo>
                      <a:pt x="370" y="78"/>
                    </a:lnTo>
                    <a:lnTo>
                      <a:pt x="376" y="77"/>
                    </a:lnTo>
                    <a:lnTo>
                      <a:pt x="376" y="77"/>
                    </a:lnTo>
                    <a:lnTo>
                      <a:pt x="377" y="76"/>
                    </a:lnTo>
                    <a:lnTo>
                      <a:pt x="377" y="73"/>
                    </a:lnTo>
                    <a:lnTo>
                      <a:pt x="374" y="70"/>
                    </a:lnTo>
                    <a:lnTo>
                      <a:pt x="370" y="66"/>
                    </a:lnTo>
                    <a:lnTo>
                      <a:pt x="366" y="64"/>
                    </a:lnTo>
                    <a:lnTo>
                      <a:pt x="366" y="64"/>
                    </a:lnTo>
                    <a:lnTo>
                      <a:pt x="363" y="61"/>
                    </a:lnTo>
                    <a:lnTo>
                      <a:pt x="362" y="57"/>
                    </a:lnTo>
                    <a:lnTo>
                      <a:pt x="362" y="54"/>
                    </a:lnTo>
                    <a:lnTo>
                      <a:pt x="360" y="51"/>
                    </a:lnTo>
                    <a:lnTo>
                      <a:pt x="360" y="51"/>
                    </a:lnTo>
                    <a:lnTo>
                      <a:pt x="356" y="47"/>
                    </a:lnTo>
                    <a:lnTo>
                      <a:pt x="353" y="43"/>
                    </a:lnTo>
                    <a:lnTo>
                      <a:pt x="353" y="39"/>
                    </a:lnTo>
                    <a:lnTo>
                      <a:pt x="353" y="37"/>
                    </a:lnTo>
                    <a:lnTo>
                      <a:pt x="354" y="37"/>
                    </a:lnTo>
                    <a:lnTo>
                      <a:pt x="354" y="37"/>
                    </a:lnTo>
                    <a:lnTo>
                      <a:pt x="356" y="36"/>
                    </a:lnTo>
                    <a:lnTo>
                      <a:pt x="357" y="34"/>
                    </a:lnTo>
                    <a:lnTo>
                      <a:pt x="356" y="31"/>
                    </a:lnTo>
                    <a:lnTo>
                      <a:pt x="354" y="27"/>
                    </a:lnTo>
                    <a:lnTo>
                      <a:pt x="354" y="26"/>
                    </a:lnTo>
                    <a:lnTo>
                      <a:pt x="356" y="24"/>
                    </a:lnTo>
                    <a:lnTo>
                      <a:pt x="356" y="24"/>
                    </a:lnTo>
                    <a:lnTo>
                      <a:pt x="359" y="23"/>
                    </a:lnTo>
                    <a:lnTo>
                      <a:pt x="359" y="23"/>
                    </a:lnTo>
                    <a:lnTo>
                      <a:pt x="350" y="22"/>
                    </a:lnTo>
                    <a:lnTo>
                      <a:pt x="350" y="22"/>
                    </a:lnTo>
                    <a:lnTo>
                      <a:pt x="343" y="22"/>
                    </a:lnTo>
                    <a:lnTo>
                      <a:pt x="335" y="22"/>
                    </a:lnTo>
                    <a:lnTo>
                      <a:pt x="332" y="23"/>
                    </a:lnTo>
                    <a:lnTo>
                      <a:pt x="329" y="24"/>
                    </a:lnTo>
                    <a:lnTo>
                      <a:pt x="326" y="27"/>
                    </a:lnTo>
                    <a:lnTo>
                      <a:pt x="326" y="31"/>
                    </a:lnTo>
                    <a:lnTo>
                      <a:pt x="326" y="31"/>
                    </a:lnTo>
                    <a:lnTo>
                      <a:pt x="326" y="36"/>
                    </a:lnTo>
                    <a:lnTo>
                      <a:pt x="325" y="37"/>
                    </a:lnTo>
                    <a:lnTo>
                      <a:pt x="322" y="40"/>
                    </a:lnTo>
                    <a:lnTo>
                      <a:pt x="317" y="43"/>
                    </a:lnTo>
                    <a:lnTo>
                      <a:pt x="316" y="44"/>
                    </a:lnTo>
                    <a:lnTo>
                      <a:pt x="316" y="46"/>
                    </a:lnTo>
                    <a:lnTo>
                      <a:pt x="316" y="46"/>
                    </a:lnTo>
                    <a:lnTo>
                      <a:pt x="316" y="50"/>
                    </a:lnTo>
                    <a:lnTo>
                      <a:pt x="315" y="53"/>
                    </a:lnTo>
                    <a:lnTo>
                      <a:pt x="312" y="56"/>
                    </a:lnTo>
                    <a:lnTo>
                      <a:pt x="312" y="61"/>
                    </a:lnTo>
                    <a:lnTo>
                      <a:pt x="312" y="61"/>
                    </a:lnTo>
                    <a:lnTo>
                      <a:pt x="312" y="66"/>
                    </a:lnTo>
                    <a:lnTo>
                      <a:pt x="309" y="67"/>
                    </a:lnTo>
                    <a:lnTo>
                      <a:pt x="303" y="68"/>
                    </a:lnTo>
                    <a:lnTo>
                      <a:pt x="298" y="70"/>
                    </a:lnTo>
                    <a:lnTo>
                      <a:pt x="298" y="70"/>
                    </a:lnTo>
                    <a:lnTo>
                      <a:pt x="292" y="71"/>
                    </a:lnTo>
                    <a:lnTo>
                      <a:pt x="290" y="71"/>
                    </a:lnTo>
                    <a:lnTo>
                      <a:pt x="288" y="68"/>
                    </a:lnTo>
                    <a:lnTo>
                      <a:pt x="282" y="67"/>
                    </a:lnTo>
                    <a:lnTo>
                      <a:pt x="282" y="67"/>
                    </a:lnTo>
                    <a:lnTo>
                      <a:pt x="276" y="68"/>
                    </a:lnTo>
                    <a:lnTo>
                      <a:pt x="273" y="70"/>
                    </a:lnTo>
                    <a:lnTo>
                      <a:pt x="269" y="73"/>
                    </a:lnTo>
                    <a:lnTo>
                      <a:pt x="266" y="74"/>
                    </a:lnTo>
                    <a:lnTo>
                      <a:pt x="266" y="74"/>
                    </a:lnTo>
                    <a:lnTo>
                      <a:pt x="261" y="74"/>
                    </a:lnTo>
                    <a:lnTo>
                      <a:pt x="255" y="74"/>
                    </a:lnTo>
                    <a:lnTo>
                      <a:pt x="249" y="74"/>
                    </a:lnTo>
                    <a:lnTo>
                      <a:pt x="245" y="76"/>
                    </a:lnTo>
                    <a:lnTo>
                      <a:pt x="245" y="76"/>
                    </a:lnTo>
                    <a:lnTo>
                      <a:pt x="243" y="77"/>
                    </a:lnTo>
                    <a:lnTo>
                      <a:pt x="242" y="76"/>
                    </a:lnTo>
                    <a:lnTo>
                      <a:pt x="239" y="74"/>
                    </a:lnTo>
                    <a:lnTo>
                      <a:pt x="235" y="71"/>
                    </a:lnTo>
                    <a:lnTo>
                      <a:pt x="232" y="70"/>
                    </a:lnTo>
                    <a:lnTo>
                      <a:pt x="232" y="70"/>
                    </a:lnTo>
                    <a:lnTo>
                      <a:pt x="231" y="68"/>
                    </a:lnTo>
                    <a:lnTo>
                      <a:pt x="229" y="66"/>
                    </a:lnTo>
                    <a:lnTo>
                      <a:pt x="226" y="59"/>
                    </a:lnTo>
                    <a:lnTo>
                      <a:pt x="226" y="59"/>
                    </a:lnTo>
                    <a:lnTo>
                      <a:pt x="225" y="59"/>
                    </a:lnTo>
                    <a:lnTo>
                      <a:pt x="225" y="59"/>
                    </a:lnTo>
                    <a:lnTo>
                      <a:pt x="222" y="60"/>
                    </a:lnTo>
                    <a:lnTo>
                      <a:pt x="221" y="61"/>
                    </a:lnTo>
                    <a:lnTo>
                      <a:pt x="215" y="68"/>
                    </a:lnTo>
                    <a:lnTo>
                      <a:pt x="214" y="76"/>
                    </a:lnTo>
                    <a:lnTo>
                      <a:pt x="214" y="78"/>
                    </a:lnTo>
                    <a:lnTo>
                      <a:pt x="215" y="81"/>
                    </a:lnTo>
                    <a:lnTo>
                      <a:pt x="215" y="81"/>
                    </a:lnTo>
                    <a:lnTo>
                      <a:pt x="219" y="87"/>
                    </a:lnTo>
                    <a:lnTo>
                      <a:pt x="221" y="93"/>
                    </a:lnTo>
                    <a:lnTo>
                      <a:pt x="222" y="98"/>
                    </a:lnTo>
                    <a:lnTo>
                      <a:pt x="224" y="104"/>
                    </a:lnTo>
                    <a:lnTo>
                      <a:pt x="224" y="104"/>
                    </a:lnTo>
                    <a:lnTo>
                      <a:pt x="226" y="107"/>
                    </a:lnTo>
                    <a:lnTo>
                      <a:pt x="232" y="110"/>
                    </a:lnTo>
                    <a:lnTo>
                      <a:pt x="235" y="114"/>
                    </a:lnTo>
                    <a:lnTo>
                      <a:pt x="236" y="117"/>
                    </a:lnTo>
                    <a:lnTo>
                      <a:pt x="238" y="120"/>
                    </a:lnTo>
                    <a:lnTo>
                      <a:pt x="238" y="120"/>
                    </a:lnTo>
                    <a:lnTo>
                      <a:pt x="239" y="128"/>
                    </a:lnTo>
                    <a:lnTo>
                      <a:pt x="242" y="135"/>
                    </a:lnTo>
                    <a:lnTo>
                      <a:pt x="248" y="141"/>
                    </a:lnTo>
                    <a:lnTo>
                      <a:pt x="249" y="141"/>
                    </a:lnTo>
                    <a:lnTo>
                      <a:pt x="252" y="141"/>
                    </a:lnTo>
                    <a:lnTo>
                      <a:pt x="252" y="141"/>
                    </a:lnTo>
                    <a:lnTo>
                      <a:pt x="256" y="140"/>
                    </a:lnTo>
                    <a:lnTo>
                      <a:pt x="261" y="141"/>
                    </a:lnTo>
                    <a:lnTo>
                      <a:pt x="263" y="144"/>
                    </a:lnTo>
                    <a:lnTo>
                      <a:pt x="265" y="147"/>
                    </a:lnTo>
                    <a:lnTo>
                      <a:pt x="265" y="147"/>
                    </a:lnTo>
                    <a:lnTo>
                      <a:pt x="266" y="148"/>
                    </a:lnTo>
                    <a:lnTo>
                      <a:pt x="269" y="148"/>
                    </a:lnTo>
                    <a:lnTo>
                      <a:pt x="275" y="147"/>
                    </a:lnTo>
                    <a:lnTo>
                      <a:pt x="282" y="145"/>
                    </a:lnTo>
                    <a:lnTo>
                      <a:pt x="286" y="145"/>
                    </a:lnTo>
                    <a:lnTo>
                      <a:pt x="286" y="145"/>
                    </a:lnTo>
                    <a:lnTo>
                      <a:pt x="298" y="148"/>
                    </a:lnTo>
                    <a:lnTo>
                      <a:pt x="303" y="151"/>
                    </a:lnTo>
                    <a:lnTo>
                      <a:pt x="306" y="152"/>
                    </a:lnTo>
                    <a:lnTo>
                      <a:pt x="307" y="154"/>
                    </a:lnTo>
                    <a:lnTo>
                      <a:pt x="307" y="154"/>
                    </a:lnTo>
                    <a:lnTo>
                      <a:pt x="307" y="155"/>
                    </a:lnTo>
                    <a:lnTo>
                      <a:pt x="309" y="157"/>
                    </a:lnTo>
                    <a:lnTo>
                      <a:pt x="316" y="155"/>
                    </a:lnTo>
                    <a:lnTo>
                      <a:pt x="330" y="151"/>
                    </a:lnTo>
                    <a:lnTo>
                      <a:pt x="330" y="151"/>
                    </a:lnTo>
                    <a:lnTo>
                      <a:pt x="333" y="148"/>
                    </a:lnTo>
                    <a:lnTo>
                      <a:pt x="335" y="144"/>
                    </a:lnTo>
                    <a:lnTo>
                      <a:pt x="336" y="134"/>
                    </a:lnTo>
                    <a:lnTo>
                      <a:pt x="339" y="123"/>
                    </a:lnTo>
                    <a:lnTo>
                      <a:pt x="340" y="118"/>
                    </a:lnTo>
                    <a:lnTo>
                      <a:pt x="343" y="115"/>
                    </a:lnTo>
                    <a:lnTo>
                      <a:pt x="343" y="115"/>
                    </a:lnTo>
                    <a:close/>
                    <a:moveTo>
                      <a:pt x="379" y="248"/>
                    </a:moveTo>
                    <a:lnTo>
                      <a:pt x="379" y="248"/>
                    </a:lnTo>
                    <a:lnTo>
                      <a:pt x="381" y="251"/>
                    </a:lnTo>
                    <a:lnTo>
                      <a:pt x="384" y="252"/>
                    </a:lnTo>
                    <a:lnTo>
                      <a:pt x="389" y="253"/>
                    </a:lnTo>
                    <a:lnTo>
                      <a:pt x="393" y="255"/>
                    </a:lnTo>
                    <a:lnTo>
                      <a:pt x="393" y="255"/>
                    </a:lnTo>
                    <a:lnTo>
                      <a:pt x="396" y="258"/>
                    </a:lnTo>
                    <a:lnTo>
                      <a:pt x="401" y="259"/>
                    </a:lnTo>
                    <a:lnTo>
                      <a:pt x="406" y="259"/>
                    </a:lnTo>
                    <a:lnTo>
                      <a:pt x="407" y="258"/>
                    </a:lnTo>
                    <a:lnTo>
                      <a:pt x="407" y="256"/>
                    </a:lnTo>
                    <a:lnTo>
                      <a:pt x="407" y="256"/>
                    </a:lnTo>
                    <a:lnTo>
                      <a:pt x="406" y="253"/>
                    </a:lnTo>
                    <a:lnTo>
                      <a:pt x="403" y="251"/>
                    </a:lnTo>
                    <a:lnTo>
                      <a:pt x="391" y="246"/>
                    </a:lnTo>
                    <a:lnTo>
                      <a:pt x="381" y="246"/>
                    </a:lnTo>
                    <a:lnTo>
                      <a:pt x="379" y="246"/>
                    </a:lnTo>
                    <a:lnTo>
                      <a:pt x="379" y="248"/>
                    </a:lnTo>
                    <a:lnTo>
                      <a:pt x="379" y="248"/>
                    </a:lnTo>
                    <a:close/>
                    <a:moveTo>
                      <a:pt x="354" y="225"/>
                    </a:moveTo>
                    <a:lnTo>
                      <a:pt x="354" y="225"/>
                    </a:lnTo>
                    <a:lnTo>
                      <a:pt x="352" y="226"/>
                    </a:lnTo>
                    <a:lnTo>
                      <a:pt x="347" y="228"/>
                    </a:lnTo>
                    <a:lnTo>
                      <a:pt x="343" y="228"/>
                    </a:lnTo>
                    <a:lnTo>
                      <a:pt x="340" y="226"/>
                    </a:lnTo>
                    <a:lnTo>
                      <a:pt x="340" y="226"/>
                    </a:lnTo>
                    <a:lnTo>
                      <a:pt x="337" y="225"/>
                    </a:lnTo>
                    <a:lnTo>
                      <a:pt x="336" y="225"/>
                    </a:lnTo>
                    <a:lnTo>
                      <a:pt x="333" y="228"/>
                    </a:lnTo>
                    <a:lnTo>
                      <a:pt x="332" y="231"/>
                    </a:lnTo>
                    <a:lnTo>
                      <a:pt x="332" y="235"/>
                    </a:lnTo>
                    <a:lnTo>
                      <a:pt x="332" y="235"/>
                    </a:lnTo>
                    <a:lnTo>
                      <a:pt x="335" y="236"/>
                    </a:lnTo>
                    <a:lnTo>
                      <a:pt x="340" y="239"/>
                    </a:lnTo>
                    <a:lnTo>
                      <a:pt x="347" y="241"/>
                    </a:lnTo>
                    <a:lnTo>
                      <a:pt x="350" y="241"/>
                    </a:lnTo>
                    <a:lnTo>
                      <a:pt x="356" y="239"/>
                    </a:lnTo>
                    <a:lnTo>
                      <a:pt x="356" y="239"/>
                    </a:lnTo>
                    <a:lnTo>
                      <a:pt x="363" y="236"/>
                    </a:lnTo>
                    <a:lnTo>
                      <a:pt x="370" y="235"/>
                    </a:lnTo>
                    <a:lnTo>
                      <a:pt x="374" y="235"/>
                    </a:lnTo>
                    <a:lnTo>
                      <a:pt x="377" y="233"/>
                    </a:lnTo>
                    <a:lnTo>
                      <a:pt x="379" y="232"/>
                    </a:lnTo>
                    <a:lnTo>
                      <a:pt x="379" y="232"/>
                    </a:lnTo>
                    <a:lnTo>
                      <a:pt x="377" y="229"/>
                    </a:lnTo>
                    <a:lnTo>
                      <a:pt x="376" y="228"/>
                    </a:lnTo>
                    <a:lnTo>
                      <a:pt x="367" y="225"/>
                    </a:lnTo>
                    <a:lnTo>
                      <a:pt x="359" y="224"/>
                    </a:lnTo>
                    <a:lnTo>
                      <a:pt x="356" y="224"/>
                    </a:lnTo>
                    <a:lnTo>
                      <a:pt x="354" y="225"/>
                    </a:lnTo>
                    <a:lnTo>
                      <a:pt x="354" y="22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509" name="China"/>
              <p:cNvSpPr>
                <a:spLocks noEditPoints="1"/>
              </p:cNvSpPr>
              <p:nvPr/>
            </p:nvSpPr>
            <p:spPr bwMode="auto">
              <a:xfrm>
                <a:off x="6075460" y="2896547"/>
                <a:ext cx="1422073" cy="976657"/>
              </a:xfrm>
              <a:custGeom>
                <a:avLst/>
                <a:gdLst/>
                <a:ahLst/>
                <a:cxnLst>
                  <a:cxn ang="0">
                    <a:pos x="911" y="124"/>
                  </a:cxn>
                  <a:cxn ang="0">
                    <a:pos x="870" y="89"/>
                  </a:cxn>
                  <a:cxn ang="0">
                    <a:pos x="833" y="43"/>
                  </a:cxn>
                  <a:cxn ang="0">
                    <a:pos x="793" y="3"/>
                  </a:cxn>
                  <a:cxn ang="0">
                    <a:pos x="732" y="17"/>
                  </a:cxn>
                  <a:cxn ang="0">
                    <a:pos x="712" y="72"/>
                  </a:cxn>
                  <a:cxn ang="0">
                    <a:pos x="655" y="120"/>
                  </a:cxn>
                  <a:cxn ang="0">
                    <a:pos x="707" y="126"/>
                  </a:cxn>
                  <a:cxn ang="0">
                    <a:pos x="676" y="150"/>
                  </a:cxn>
                  <a:cxn ang="0">
                    <a:pos x="598" y="178"/>
                  </a:cxn>
                  <a:cxn ang="0">
                    <a:pos x="557" y="228"/>
                  </a:cxn>
                  <a:cxn ang="0">
                    <a:pos x="466" y="239"/>
                  </a:cxn>
                  <a:cxn ang="0">
                    <a:pos x="346" y="224"/>
                  </a:cxn>
                  <a:cxn ang="0">
                    <a:pos x="312" y="184"/>
                  </a:cxn>
                  <a:cxn ang="0">
                    <a:pos x="269" y="141"/>
                  </a:cxn>
                  <a:cxn ang="0">
                    <a:pos x="220" y="93"/>
                  </a:cxn>
                  <a:cxn ang="0">
                    <a:pos x="197" y="107"/>
                  </a:cxn>
                  <a:cxn ang="0">
                    <a:pos x="158" y="137"/>
                  </a:cxn>
                  <a:cxn ang="0">
                    <a:pos x="126" y="171"/>
                  </a:cxn>
                  <a:cxn ang="0">
                    <a:pos x="111" y="212"/>
                  </a:cxn>
                  <a:cxn ang="0">
                    <a:pos x="74" y="252"/>
                  </a:cxn>
                  <a:cxn ang="0">
                    <a:pos x="23" y="265"/>
                  </a:cxn>
                  <a:cxn ang="0">
                    <a:pos x="16" y="305"/>
                  </a:cxn>
                  <a:cxn ang="0">
                    <a:pos x="57" y="359"/>
                  </a:cxn>
                  <a:cxn ang="0">
                    <a:pos x="89" y="386"/>
                  </a:cxn>
                  <a:cxn ang="0">
                    <a:pos x="74" y="416"/>
                  </a:cxn>
                  <a:cxn ang="0">
                    <a:pos x="110" y="454"/>
                  </a:cxn>
                  <a:cxn ang="0">
                    <a:pos x="183" y="488"/>
                  </a:cxn>
                  <a:cxn ang="0">
                    <a:pos x="232" y="501"/>
                  </a:cxn>
                  <a:cxn ang="0">
                    <a:pos x="279" y="498"/>
                  </a:cxn>
                  <a:cxn ang="0">
                    <a:pos x="332" y="474"/>
                  </a:cxn>
                  <a:cxn ang="0">
                    <a:pos x="369" y="488"/>
                  </a:cxn>
                  <a:cxn ang="0">
                    <a:pos x="363" y="550"/>
                  </a:cxn>
                  <a:cxn ang="0">
                    <a:pos x="385" y="578"/>
                  </a:cxn>
                  <a:cxn ang="0">
                    <a:pos x="410" y="605"/>
                  </a:cxn>
                  <a:cxn ang="0">
                    <a:pos x="426" y="591"/>
                  </a:cxn>
                  <a:cxn ang="0">
                    <a:pos x="460" y="587"/>
                  </a:cxn>
                  <a:cxn ang="0">
                    <a:pos x="507" y="587"/>
                  </a:cxn>
                  <a:cxn ang="0">
                    <a:pos x="544" y="604"/>
                  </a:cxn>
                  <a:cxn ang="0">
                    <a:pos x="564" y="626"/>
                  </a:cxn>
                  <a:cxn ang="0">
                    <a:pos x="632" y="588"/>
                  </a:cxn>
                  <a:cxn ang="0">
                    <a:pos x="690" y="557"/>
                  </a:cxn>
                  <a:cxn ang="0">
                    <a:pos x="716" y="530"/>
                  </a:cxn>
                  <a:cxn ang="0">
                    <a:pos x="744" y="490"/>
                  </a:cxn>
                  <a:cxn ang="0">
                    <a:pos x="752" y="458"/>
                  </a:cxn>
                  <a:cxn ang="0">
                    <a:pos x="754" y="443"/>
                  </a:cxn>
                  <a:cxn ang="0">
                    <a:pos x="753" y="427"/>
                  </a:cxn>
                  <a:cxn ang="0">
                    <a:pos x="715" y="375"/>
                  </a:cxn>
                  <a:cxn ang="0">
                    <a:pos x="737" y="340"/>
                  </a:cxn>
                  <a:cxn ang="0">
                    <a:pos x="742" y="319"/>
                  </a:cxn>
                  <a:cxn ang="0">
                    <a:pos x="697" y="312"/>
                  </a:cxn>
                  <a:cxn ang="0">
                    <a:pos x="712" y="282"/>
                  </a:cxn>
                  <a:cxn ang="0">
                    <a:pos x="749" y="279"/>
                  </a:cxn>
                  <a:cxn ang="0">
                    <a:pos x="791" y="278"/>
                  </a:cxn>
                  <a:cxn ang="0">
                    <a:pos x="858" y="247"/>
                  </a:cxn>
                  <a:cxn ang="0">
                    <a:pos x="884" y="218"/>
                  </a:cxn>
                  <a:cxn ang="0">
                    <a:pos x="904" y="183"/>
                  </a:cxn>
                  <a:cxn ang="0">
                    <a:pos x="941" y="164"/>
                  </a:cxn>
                  <a:cxn ang="0">
                    <a:pos x="725" y="574"/>
                  </a:cxn>
                  <a:cxn ang="0">
                    <a:pos x="732" y="555"/>
                  </a:cxn>
                  <a:cxn ang="0">
                    <a:pos x="567" y="653"/>
                  </a:cxn>
                </a:cxnLst>
                <a:rect l="0" t="0" r="r" b="b"/>
                <a:pathLst>
                  <a:path w="961" h="660">
                    <a:moveTo>
                      <a:pt x="959" y="118"/>
                    </a:moveTo>
                    <a:lnTo>
                      <a:pt x="959" y="118"/>
                    </a:lnTo>
                    <a:lnTo>
                      <a:pt x="958" y="116"/>
                    </a:lnTo>
                    <a:lnTo>
                      <a:pt x="958" y="113"/>
                    </a:lnTo>
                    <a:lnTo>
                      <a:pt x="954" y="113"/>
                    </a:lnTo>
                    <a:lnTo>
                      <a:pt x="949" y="113"/>
                    </a:lnTo>
                    <a:lnTo>
                      <a:pt x="946" y="114"/>
                    </a:lnTo>
                    <a:lnTo>
                      <a:pt x="946" y="114"/>
                    </a:lnTo>
                    <a:lnTo>
                      <a:pt x="942" y="116"/>
                    </a:lnTo>
                    <a:lnTo>
                      <a:pt x="938" y="116"/>
                    </a:lnTo>
                    <a:lnTo>
                      <a:pt x="934" y="117"/>
                    </a:lnTo>
                    <a:lnTo>
                      <a:pt x="931" y="120"/>
                    </a:lnTo>
                    <a:lnTo>
                      <a:pt x="931" y="120"/>
                    </a:lnTo>
                    <a:lnTo>
                      <a:pt x="928" y="123"/>
                    </a:lnTo>
                    <a:lnTo>
                      <a:pt x="925" y="124"/>
                    </a:lnTo>
                    <a:lnTo>
                      <a:pt x="917" y="124"/>
                    </a:lnTo>
                    <a:lnTo>
                      <a:pt x="917" y="124"/>
                    </a:lnTo>
                    <a:lnTo>
                      <a:pt x="911" y="124"/>
                    </a:lnTo>
                    <a:lnTo>
                      <a:pt x="905" y="123"/>
                    </a:lnTo>
                    <a:lnTo>
                      <a:pt x="901" y="120"/>
                    </a:lnTo>
                    <a:lnTo>
                      <a:pt x="901" y="117"/>
                    </a:lnTo>
                    <a:lnTo>
                      <a:pt x="901" y="117"/>
                    </a:lnTo>
                    <a:lnTo>
                      <a:pt x="899" y="114"/>
                    </a:lnTo>
                    <a:lnTo>
                      <a:pt x="898" y="111"/>
                    </a:lnTo>
                    <a:lnTo>
                      <a:pt x="897" y="107"/>
                    </a:lnTo>
                    <a:lnTo>
                      <a:pt x="897" y="104"/>
                    </a:lnTo>
                    <a:lnTo>
                      <a:pt x="897" y="104"/>
                    </a:lnTo>
                    <a:lnTo>
                      <a:pt x="897" y="101"/>
                    </a:lnTo>
                    <a:lnTo>
                      <a:pt x="894" y="100"/>
                    </a:lnTo>
                    <a:lnTo>
                      <a:pt x="890" y="99"/>
                    </a:lnTo>
                    <a:lnTo>
                      <a:pt x="885" y="96"/>
                    </a:lnTo>
                    <a:lnTo>
                      <a:pt x="885" y="96"/>
                    </a:lnTo>
                    <a:lnTo>
                      <a:pt x="881" y="93"/>
                    </a:lnTo>
                    <a:lnTo>
                      <a:pt x="877" y="90"/>
                    </a:lnTo>
                    <a:lnTo>
                      <a:pt x="872" y="89"/>
                    </a:lnTo>
                    <a:lnTo>
                      <a:pt x="870" y="89"/>
                    </a:lnTo>
                    <a:lnTo>
                      <a:pt x="870" y="89"/>
                    </a:lnTo>
                    <a:lnTo>
                      <a:pt x="867" y="89"/>
                    </a:lnTo>
                    <a:lnTo>
                      <a:pt x="864" y="87"/>
                    </a:lnTo>
                    <a:lnTo>
                      <a:pt x="860" y="84"/>
                    </a:lnTo>
                    <a:lnTo>
                      <a:pt x="854" y="83"/>
                    </a:lnTo>
                    <a:lnTo>
                      <a:pt x="854" y="83"/>
                    </a:lnTo>
                    <a:lnTo>
                      <a:pt x="850" y="82"/>
                    </a:lnTo>
                    <a:lnTo>
                      <a:pt x="847" y="80"/>
                    </a:lnTo>
                    <a:lnTo>
                      <a:pt x="847" y="77"/>
                    </a:lnTo>
                    <a:lnTo>
                      <a:pt x="848" y="74"/>
                    </a:lnTo>
                    <a:lnTo>
                      <a:pt x="848" y="74"/>
                    </a:lnTo>
                    <a:lnTo>
                      <a:pt x="847" y="70"/>
                    </a:lnTo>
                    <a:lnTo>
                      <a:pt x="844" y="66"/>
                    </a:lnTo>
                    <a:lnTo>
                      <a:pt x="840" y="54"/>
                    </a:lnTo>
                    <a:lnTo>
                      <a:pt x="840" y="54"/>
                    </a:lnTo>
                    <a:lnTo>
                      <a:pt x="838" y="52"/>
                    </a:lnTo>
                    <a:lnTo>
                      <a:pt x="835" y="47"/>
                    </a:lnTo>
                    <a:lnTo>
                      <a:pt x="833" y="43"/>
                    </a:lnTo>
                    <a:lnTo>
                      <a:pt x="830" y="36"/>
                    </a:lnTo>
                    <a:lnTo>
                      <a:pt x="830" y="36"/>
                    </a:lnTo>
                    <a:lnTo>
                      <a:pt x="828" y="29"/>
                    </a:lnTo>
                    <a:lnTo>
                      <a:pt x="826" y="26"/>
                    </a:lnTo>
                    <a:lnTo>
                      <a:pt x="823" y="25"/>
                    </a:lnTo>
                    <a:lnTo>
                      <a:pt x="823" y="22"/>
                    </a:lnTo>
                    <a:lnTo>
                      <a:pt x="823" y="22"/>
                    </a:lnTo>
                    <a:lnTo>
                      <a:pt x="823" y="19"/>
                    </a:lnTo>
                    <a:lnTo>
                      <a:pt x="821" y="17"/>
                    </a:lnTo>
                    <a:lnTo>
                      <a:pt x="818" y="15"/>
                    </a:lnTo>
                    <a:lnTo>
                      <a:pt x="816" y="12"/>
                    </a:lnTo>
                    <a:lnTo>
                      <a:pt x="813" y="9"/>
                    </a:lnTo>
                    <a:lnTo>
                      <a:pt x="813" y="9"/>
                    </a:lnTo>
                    <a:lnTo>
                      <a:pt x="808" y="8"/>
                    </a:lnTo>
                    <a:lnTo>
                      <a:pt x="804" y="6"/>
                    </a:lnTo>
                    <a:lnTo>
                      <a:pt x="798" y="6"/>
                    </a:lnTo>
                    <a:lnTo>
                      <a:pt x="793" y="3"/>
                    </a:lnTo>
                    <a:lnTo>
                      <a:pt x="793" y="3"/>
                    </a:lnTo>
                    <a:lnTo>
                      <a:pt x="787" y="2"/>
                    </a:lnTo>
                    <a:lnTo>
                      <a:pt x="783" y="2"/>
                    </a:lnTo>
                    <a:lnTo>
                      <a:pt x="779" y="2"/>
                    </a:lnTo>
                    <a:lnTo>
                      <a:pt x="774" y="0"/>
                    </a:lnTo>
                    <a:lnTo>
                      <a:pt x="774" y="0"/>
                    </a:lnTo>
                    <a:lnTo>
                      <a:pt x="769" y="0"/>
                    </a:lnTo>
                    <a:lnTo>
                      <a:pt x="762" y="0"/>
                    </a:lnTo>
                    <a:lnTo>
                      <a:pt x="752" y="3"/>
                    </a:lnTo>
                    <a:lnTo>
                      <a:pt x="752" y="3"/>
                    </a:lnTo>
                    <a:lnTo>
                      <a:pt x="743" y="3"/>
                    </a:lnTo>
                    <a:lnTo>
                      <a:pt x="736" y="5"/>
                    </a:lnTo>
                    <a:lnTo>
                      <a:pt x="733" y="6"/>
                    </a:lnTo>
                    <a:lnTo>
                      <a:pt x="730" y="9"/>
                    </a:lnTo>
                    <a:lnTo>
                      <a:pt x="730" y="9"/>
                    </a:lnTo>
                    <a:lnTo>
                      <a:pt x="727" y="15"/>
                    </a:lnTo>
                    <a:lnTo>
                      <a:pt x="727" y="17"/>
                    </a:lnTo>
                    <a:lnTo>
                      <a:pt x="730" y="17"/>
                    </a:lnTo>
                    <a:lnTo>
                      <a:pt x="732" y="17"/>
                    </a:lnTo>
                    <a:lnTo>
                      <a:pt x="732" y="17"/>
                    </a:lnTo>
                    <a:lnTo>
                      <a:pt x="733" y="19"/>
                    </a:lnTo>
                    <a:lnTo>
                      <a:pt x="734" y="22"/>
                    </a:lnTo>
                    <a:lnTo>
                      <a:pt x="737" y="29"/>
                    </a:lnTo>
                    <a:lnTo>
                      <a:pt x="737" y="29"/>
                    </a:lnTo>
                    <a:lnTo>
                      <a:pt x="736" y="32"/>
                    </a:lnTo>
                    <a:lnTo>
                      <a:pt x="734" y="35"/>
                    </a:lnTo>
                    <a:lnTo>
                      <a:pt x="730" y="37"/>
                    </a:lnTo>
                    <a:lnTo>
                      <a:pt x="730" y="37"/>
                    </a:lnTo>
                    <a:lnTo>
                      <a:pt x="727" y="39"/>
                    </a:lnTo>
                    <a:lnTo>
                      <a:pt x="725" y="43"/>
                    </a:lnTo>
                    <a:lnTo>
                      <a:pt x="720" y="53"/>
                    </a:lnTo>
                    <a:lnTo>
                      <a:pt x="720" y="53"/>
                    </a:lnTo>
                    <a:lnTo>
                      <a:pt x="715" y="62"/>
                    </a:lnTo>
                    <a:lnTo>
                      <a:pt x="713" y="66"/>
                    </a:lnTo>
                    <a:lnTo>
                      <a:pt x="712" y="69"/>
                    </a:lnTo>
                    <a:lnTo>
                      <a:pt x="712" y="69"/>
                    </a:lnTo>
                    <a:lnTo>
                      <a:pt x="712" y="72"/>
                    </a:lnTo>
                    <a:lnTo>
                      <a:pt x="710" y="73"/>
                    </a:lnTo>
                    <a:lnTo>
                      <a:pt x="705" y="76"/>
                    </a:lnTo>
                    <a:lnTo>
                      <a:pt x="705" y="76"/>
                    </a:lnTo>
                    <a:lnTo>
                      <a:pt x="697" y="80"/>
                    </a:lnTo>
                    <a:lnTo>
                      <a:pt x="690" y="84"/>
                    </a:lnTo>
                    <a:lnTo>
                      <a:pt x="690" y="84"/>
                    </a:lnTo>
                    <a:lnTo>
                      <a:pt x="682" y="84"/>
                    </a:lnTo>
                    <a:lnTo>
                      <a:pt x="676" y="82"/>
                    </a:lnTo>
                    <a:lnTo>
                      <a:pt x="675" y="80"/>
                    </a:lnTo>
                    <a:lnTo>
                      <a:pt x="675" y="80"/>
                    </a:lnTo>
                    <a:lnTo>
                      <a:pt x="673" y="79"/>
                    </a:lnTo>
                    <a:lnTo>
                      <a:pt x="670" y="77"/>
                    </a:lnTo>
                    <a:lnTo>
                      <a:pt x="658" y="103"/>
                    </a:lnTo>
                    <a:lnTo>
                      <a:pt x="656" y="111"/>
                    </a:lnTo>
                    <a:lnTo>
                      <a:pt x="656" y="111"/>
                    </a:lnTo>
                    <a:lnTo>
                      <a:pt x="653" y="113"/>
                    </a:lnTo>
                    <a:lnTo>
                      <a:pt x="652" y="116"/>
                    </a:lnTo>
                    <a:lnTo>
                      <a:pt x="655" y="120"/>
                    </a:lnTo>
                    <a:lnTo>
                      <a:pt x="655" y="120"/>
                    </a:lnTo>
                    <a:lnTo>
                      <a:pt x="659" y="123"/>
                    </a:lnTo>
                    <a:lnTo>
                      <a:pt x="662" y="123"/>
                    </a:lnTo>
                    <a:lnTo>
                      <a:pt x="665" y="121"/>
                    </a:lnTo>
                    <a:lnTo>
                      <a:pt x="670" y="120"/>
                    </a:lnTo>
                    <a:lnTo>
                      <a:pt x="670" y="120"/>
                    </a:lnTo>
                    <a:lnTo>
                      <a:pt x="678" y="121"/>
                    </a:lnTo>
                    <a:lnTo>
                      <a:pt x="682" y="124"/>
                    </a:lnTo>
                    <a:lnTo>
                      <a:pt x="685" y="124"/>
                    </a:lnTo>
                    <a:lnTo>
                      <a:pt x="686" y="124"/>
                    </a:lnTo>
                    <a:lnTo>
                      <a:pt x="686" y="123"/>
                    </a:lnTo>
                    <a:lnTo>
                      <a:pt x="686" y="123"/>
                    </a:lnTo>
                    <a:lnTo>
                      <a:pt x="689" y="118"/>
                    </a:lnTo>
                    <a:lnTo>
                      <a:pt x="693" y="117"/>
                    </a:lnTo>
                    <a:lnTo>
                      <a:pt x="697" y="117"/>
                    </a:lnTo>
                    <a:lnTo>
                      <a:pt x="702" y="120"/>
                    </a:lnTo>
                    <a:lnTo>
                      <a:pt x="702" y="120"/>
                    </a:lnTo>
                    <a:lnTo>
                      <a:pt x="707" y="126"/>
                    </a:lnTo>
                    <a:lnTo>
                      <a:pt x="715" y="131"/>
                    </a:lnTo>
                    <a:lnTo>
                      <a:pt x="720" y="137"/>
                    </a:lnTo>
                    <a:lnTo>
                      <a:pt x="722" y="140"/>
                    </a:lnTo>
                    <a:lnTo>
                      <a:pt x="723" y="143"/>
                    </a:lnTo>
                    <a:lnTo>
                      <a:pt x="723" y="143"/>
                    </a:lnTo>
                    <a:lnTo>
                      <a:pt x="722" y="144"/>
                    </a:lnTo>
                    <a:lnTo>
                      <a:pt x="720" y="146"/>
                    </a:lnTo>
                    <a:lnTo>
                      <a:pt x="716" y="146"/>
                    </a:lnTo>
                    <a:lnTo>
                      <a:pt x="712" y="146"/>
                    </a:lnTo>
                    <a:lnTo>
                      <a:pt x="706" y="144"/>
                    </a:lnTo>
                    <a:lnTo>
                      <a:pt x="706" y="144"/>
                    </a:lnTo>
                    <a:lnTo>
                      <a:pt x="702" y="144"/>
                    </a:lnTo>
                    <a:lnTo>
                      <a:pt x="696" y="146"/>
                    </a:lnTo>
                    <a:lnTo>
                      <a:pt x="690" y="147"/>
                    </a:lnTo>
                    <a:lnTo>
                      <a:pt x="686" y="148"/>
                    </a:lnTo>
                    <a:lnTo>
                      <a:pt x="686" y="148"/>
                    </a:lnTo>
                    <a:lnTo>
                      <a:pt x="680" y="148"/>
                    </a:lnTo>
                    <a:lnTo>
                      <a:pt x="676" y="150"/>
                    </a:lnTo>
                    <a:lnTo>
                      <a:pt x="670" y="153"/>
                    </a:lnTo>
                    <a:lnTo>
                      <a:pt x="666" y="157"/>
                    </a:lnTo>
                    <a:lnTo>
                      <a:pt x="666" y="157"/>
                    </a:lnTo>
                    <a:lnTo>
                      <a:pt x="662" y="161"/>
                    </a:lnTo>
                    <a:lnTo>
                      <a:pt x="661" y="165"/>
                    </a:lnTo>
                    <a:lnTo>
                      <a:pt x="656" y="168"/>
                    </a:lnTo>
                    <a:lnTo>
                      <a:pt x="652" y="170"/>
                    </a:lnTo>
                    <a:lnTo>
                      <a:pt x="652" y="170"/>
                    </a:lnTo>
                    <a:lnTo>
                      <a:pt x="641" y="171"/>
                    </a:lnTo>
                    <a:lnTo>
                      <a:pt x="635" y="174"/>
                    </a:lnTo>
                    <a:lnTo>
                      <a:pt x="628" y="177"/>
                    </a:lnTo>
                    <a:lnTo>
                      <a:pt x="628" y="177"/>
                    </a:lnTo>
                    <a:lnTo>
                      <a:pt x="619" y="181"/>
                    </a:lnTo>
                    <a:lnTo>
                      <a:pt x="612" y="183"/>
                    </a:lnTo>
                    <a:lnTo>
                      <a:pt x="606" y="181"/>
                    </a:lnTo>
                    <a:lnTo>
                      <a:pt x="602" y="180"/>
                    </a:lnTo>
                    <a:lnTo>
                      <a:pt x="602" y="180"/>
                    </a:lnTo>
                    <a:lnTo>
                      <a:pt x="598" y="178"/>
                    </a:lnTo>
                    <a:lnTo>
                      <a:pt x="594" y="178"/>
                    </a:lnTo>
                    <a:lnTo>
                      <a:pt x="589" y="180"/>
                    </a:lnTo>
                    <a:lnTo>
                      <a:pt x="587" y="184"/>
                    </a:lnTo>
                    <a:lnTo>
                      <a:pt x="587" y="184"/>
                    </a:lnTo>
                    <a:lnTo>
                      <a:pt x="585" y="185"/>
                    </a:lnTo>
                    <a:lnTo>
                      <a:pt x="585" y="188"/>
                    </a:lnTo>
                    <a:lnTo>
                      <a:pt x="588" y="192"/>
                    </a:lnTo>
                    <a:lnTo>
                      <a:pt x="589" y="197"/>
                    </a:lnTo>
                    <a:lnTo>
                      <a:pt x="591" y="202"/>
                    </a:lnTo>
                    <a:lnTo>
                      <a:pt x="591" y="202"/>
                    </a:lnTo>
                    <a:lnTo>
                      <a:pt x="589" y="205"/>
                    </a:lnTo>
                    <a:lnTo>
                      <a:pt x="588" y="207"/>
                    </a:lnTo>
                    <a:lnTo>
                      <a:pt x="584" y="210"/>
                    </a:lnTo>
                    <a:lnTo>
                      <a:pt x="577" y="212"/>
                    </a:lnTo>
                    <a:lnTo>
                      <a:pt x="571" y="218"/>
                    </a:lnTo>
                    <a:lnTo>
                      <a:pt x="571" y="218"/>
                    </a:lnTo>
                    <a:lnTo>
                      <a:pt x="564" y="224"/>
                    </a:lnTo>
                    <a:lnTo>
                      <a:pt x="557" y="228"/>
                    </a:lnTo>
                    <a:lnTo>
                      <a:pt x="548" y="229"/>
                    </a:lnTo>
                    <a:lnTo>
                      <a:pt x="542" y="229"/>
                    </a:lnTo>
                    <a:lnTo>
                      <a:pt x="542" y="229"/>
                    </a:lnTo>
                    <a:lnTo>
                      <a:pt x="527" y="228"/>
                    </a:lnTo>
                    <a:lnTo>
                      <a:pt x="515" y="228"/>
                    </a:lnTo>
                    <a:lnTo>
                      <a:pt x="511" y="229"/>
                    </a:lnTo>
                    <a:lnTo>
                      <a:pt x="505" y="231"/>
                    </a:lnTo>
                    <a:lnTo>
                      <a:pt x="505" y="231"/>
                    </a:lnTo>
                    <a:lnTo>
                      <a:pt x="497" y="237"/>
                    </a:lnTo>
                    <a:lnTo>
                      <a:pt x="488" y="241"/>
                    </a:lnTo>
                    <a:lnTo>
                      <a:pt x="483" y="245"/>
                    </a:lnTo>
                    <a:lnTo>
                      <a:pt x="478" y="245"/>
                    </a:lnTo>
                    <a:lnTo>
                      <a:pt x="478" y="245"/>
                    </a:lnTo>
                    <a:lnTo>
                      <a:pt x="474" y="244"/>
                    </a:lnTo>
                    <a:lnTo>
                      <a:pt x="473" y="242"/>
                    </a:lnTo>
                    <a:lnTo>
                      <a:pt x="470" y="239"/>
                    </a:lnTo>
                    <a:lnTo>
                      <a:pt x="466" y="239"/>
                    </a:lnTo>
                    <a:lnTo>
                      <a:pt x="466" y="239"/>
                    </a:lnTo>
                    <a:lnTo>
                      <a:pt x="460" y="239"/>
                    </a:lnTo>
                    <a:lnTo>
                      <a:pt x="457" y="239"/>
                    </a:lnTo>
                    <a:lnTo>
                      <a:pt x="449" y="235"/>
                    </a:lnTo>
                    <a:lnTo>
                      <a:pt x="449" y="235"/>
                    </a:lnTo>
                    <a:lnTo>
                      <a:pt x="446" y="234"/>
                    </a:lnTo>
                    <a:lnTo>
                      <a:pt x="441" y="234"/>
                    </a:lnTo>
                    <a:lnTo>
                      <a:pt x="437" y="234"/>
                    </a:lnTo>
                    <a:lnTo>
                      <a:pt x="431" y="231"/>
                    </a:lnTo>
                    <a:lnTo>
                      <a:pt x="431" y="231"/>
                    </a:lnTo>
                    <a:lnTo>
                      <a:pt x="424" y="228"/>
                    </a:lnTo>
                    <a:lnTo>
                      <a:pt x="416" y="227"/>
                    </a:lnTo>
                    <a:lnTo>
                      <a:pt x="403" y="225"/>
                    </a:lnTo>
                    <a:lnTo>
                      <a:pt x="403" y="225"/>
                    </a:lnTo>
                    <a:lnTo>
                      <a:pt x="385" y="224"/>
                    </a:lnTo>
                    <a:lnTo>
                      <a:pt x="365" y="224"/>
                    </a:lnTo>
                    <a:lnTo>
                      <a:pt x="365" y="224"/>
                    </a:lnTo>
                    <a:lnTo>
                      <a:pt x="352" y="224"/>
                    </a:lnTo>
                    <a:lnTo>
                      <a:pt x="346" y="224"/>
                    </a:lnTo>
                    <a:lnTo>
                      <a:pt x="345" y="222"/>
                    </a:lnTo>
                    <a:lnTo>
                      <a:pt x="343" y="222"/>
                    </a:lnTo>
                    <a:lnTo>
                      <a:pt x="343" y="222"/>
                    </a:lnTo>
                    <a:lnTo>
                      <a:pt x="342" y="218"/>
                    </a:lnTo>
                    <a:lnTo>
                      <a:pt x="339" y="215"/>
                    </a:lnTo>
                    <a:lnTo>
                      <a:pt x="336" y="211"/>
                    </a:lnTo>
                    <a:lnTo>
                      <a:pt x="335" y="205"/>
                    </a:lnTo>
                    <a:lnTo>
                      <a:pt x="335" y="205"/>
                    </a:lnTo>
                    <a:lnTo>
                      <a:pt x="332" y="200"/>
                    </a:lnTo>
                    <a:lnTo>
                      <a:pt x="329" y="195"/>
                    </a:lnTo>
                    <a:lnTo>
                      <a:pt x="326" y="192"/>
                    </a:lnTo>
                    <a:lnTo>
                      <a:pt x="322" y="192"/>
                    </a:lnTo>
                    <a:lnTo>
                      <a:pt x="322" y="192"/>
                    </a:lnTo>
                    <a:lnTo>
                      <a:pt x="319" y="190"/>
                    </a:lnTo>
                    <a:lnTo>
                      <a:pt x="316" y="188"/>
                    </a:lnTo>
                    <a:lnTo>
                      <a:pt x="315" y="185"/>
                    </a:lnTo>
                    <a:lnTo>
                      <a:pt x="312" y="184"/>
                    </a:lnTo>
                    <a:lnTo>
                      <a:pt x="312" y="184"/>
                    </a:lnTo>
                    <a:lnTo>
                      <a:pt x="309" y="184"/>
                    </a:lnTo>
                    <a:lnTo>
                      <a:pt x="308" y="181"/>
                    </a:lnTo>
                    <a:lnTo>
                      <a:pt x="303" y="178"/>
                    </a:lnTo>
                    <a:lnTo>
                      <a:pt x="299" y="177"/>
                    </a:lnTo>
                    <a:lnTo>
                      <a:pt x="299" y="177"/>
                    </a:lnTo>
                    <a:lnTo>
                      <a:pt x="292" y="177"/>
                    </a:lnTo>
                    <a:lnTo>
                      <a:pt x="281" y="175"/>
                    </a:lnTo>
                    <a:lnTo>
                      <a:pt x="269" y="173"/>
                    </a:lnTo>
                    <a:lnTo>
                      <a:pt x="265" y="171"/>
                    </a:lnTo>
                    <a:lnTo>
                      <a:pt x="264" y="168"/>
                    </a:lnTo>
                    <a:lnTo>
                      <a:pt x="264" y="168"/>
                    </a:lnTo>
                    <a:lnTo>
                      <a:pt x="262" y="165"/>
                    </a:lnTo>
                    <a:lnTo>
                      <a:pt x="264" y="163"/>
                    </a:lnTo>
                    <a:lnTo>
                      <a:pt x="266" y="158"/>
                    </a:lnTo>
                    <a:lnTo>
                      <a:pt x="266" y="155"/>
                    </a:lnTo>
                    <a:lnTo>
                      <a:pt x="266" y="155"/>
                    </a:lnTo>
                    <a:lnTo>
                      <a:pt x="269" y="146"/>
                    </a:lnTo>
                    <a:lnTo>
                      <a:pt x="269" y="141"/>
                    </a:lnTo>
                    <a:lnTo>
                      <a:pt x="268" y="140"/>
                    </a:lnTo>
                    <a:lnTo>
                      <a:pt x="268" y="140"/>
                    </a:lnTo>
                    <a:lnTo>
                      <a:pt x="262" y="134"/>
                    </a:lnTo>
                    <a:lnTo>
                      <a:pt x="261" y="131"/>
                    </a:lnTo>
                    <a:lnTo>
                      <a:pt x="259" y="127"/>
                    </a:lnTo>
                    <a:lnTo>
                      <a:pt x="259" y="127"/>
                    </a:lnTo>
                    <a:lnTo>
                      <a:pt x="258" y="123"/>
                    </a:lnTo>
                    <a:lnTo>
                      <a:pt x="254" y="120"/>
                    </a:lnTo>
                    <a:lnTo>
                      <a:pt x="249" y="117"/>
                    </a:lnTo>
                    <a:lnTo>
                      <a:pt x="245" y="116"/>
                    </a:lnTo>
                    <a:lnTo>
                      <a:pt x="245" y="116"/>
                    </a:lnTo>
                    <a:lnTo>
                      <a:pt x="242" y="116"/>
                    </a:lnTo>
                    <a:lnTo>
                      <a:pt x="238" y="113"/>
                    </a:lnTo>
                    <a:lnTo>
                      <a:pt x="231" y="109"/>
                    </a:lnTo>
                    <a:lnTo>
                      <a:pt x="231" y="109"/>
                    </a:lnTo>
                    <a:lnTo>
                      <a:pt x="224" y="103"/>
                    </a:lnTo>
                    <a:lnTo>
                      <a:pt x="222" y="100"/>
                    </a:lnTo>
                    <a:lnTo>
                      <a:pt x="220" y="93"/>
                    </a:lnTo>
                    <a:lnTo>
                      <a:pt x="220" y="93"/>
                    </a:lnTo>
                    <a:lnTo>
                      <a:pt x="220" y="91"/>
                    </a:lnTo>
                    <a:lnTo>
                      <a:pt x="220" y="91"/>
                    </a:lnTo>
                    <a:lnTo>
                      <a:pt x="214" y="90"/>
                    </a:lnTo>
                    <a:lnTo>
                      <a:pt x="214" y="90"/>
                    </a:lnTo>
                    <a:lnTo>
                      <a:pt x="211" y="90"/>
                    </a:lnTo>
                    <a:lnTo>
                      <a:pt x="210" y="87"/>
                    </a:lnTo>
                    <a:lnTo>
                      <a:pt x="210" y="87"/>
                    </a:lnTo>
                    <a:lnTo>
                      <a:pt x="208" y="91"/>
                    </a:lnTo>
                    <a:lnTo>
                      <a:pt x="205" y="93"/>
                    </a:lnTo>
                    <a:lnTo>
                      <a:pt x="204" y="96"/>
                    </a:lnTo>
                    <a:lnTo>
                      <a:pt x="204" y="99"/>
                    </a:lnTo>
                    <a:lnTo>
                      <a:pt x="204" y="99"/>
                    </a:lnTo>
                    <a:lnTo>
                      <a:pt x="202" y="101"/>
                    </a:lnTo>
                    <a:lnTo>
                      <a:pt x="202" y="104"/>
                    </a:lnTo>
                    <a:lnTo>
                      <a:pt x="200" y="106"/>
                    </a:lnTo>
                    <a:lnTo>
                      <a:pt x="197" y="107"/>
                    </a:lnTo>
                    <a:lnTo>
                      <a:pt x="197" y="107"/>
                    </a:lnTo>
                    <a:lnTo>
                      <a:pt x="192" y="107"/>
                    </a:lnTo>
                    <a:lnTo>
                      <a:pt x="190" y="110"/>
                    </a:lnTo>
                    <a:lnTo>
                      <a:pt x="187" y="114"/>
                    </a:lnTo>
                    <a:lnTo>
                      <a:pt x="185" y="120"/>
                    </a:lnTo>
                    <a:lnTo>
                      <a:pt x="185" y="120"/>
                    </a:lnTo>
                    <a:lnTo>
                      <a:pt x="187" y="124"/>
                    </a:lnTo>
                    <a:lnTo>
                      <a:pt x="188" y="127"/>
                    </a:lnTo>
                    <a:lnTo>
                      <a:pt x="188" y="130"/>
                    </a:lnTo>
                    <a:lnTo>
                      <a:pt x="188" y="133"/>
                    </a:lnTo>
                    <a:lnTo>
                      <a:pt x="188" y="133"/>
                    </a:lnTo>
                    <a:lnTo>
                      <a:pt x="185" y="134"/>
                    </a:lnTo>
                    <a:lnTo>
                      <a:pt x="181" y="137"/>
                    </a:lnTo>
                    <a:lnTo>
                      <a:pt x="177" y="138"/>
                    </a:lnTo>
                    <a:lnTo>
                      <a:pt x="173" y="137"/>
                    </a:lnTo>
                    <a:lnTo>
                      <a:pt x="173" y="137"/>
                    </a:lnTo>
                    <a:lnTo>
                      <a:pt x="167" y="137"/>
                    </a:lnTo>
                    <a:lnTo>
                      <a:pt x="158" y="137"/>
                    </a:lnTo>
                    <a:lnTo>
                      <a:pt x="158" y="137"/>
                    </a:lnTo>
                    <a:lnTo>
                      <a:pt x="154" y="136"/>
                    </a:lnTo>
                    <a:lnTo>
                      <a:pt x="151" y="133"/>
                    </a:lnTo>
                    <a:lnTo>
                      <a:pt x="150" y="133"/>
                    </a:lnTo>
                    <a:lnTo>
                      <a:pt x="147" y="137"/>
                    </a:lnTo>
                    <a:lnTo>
                      <a:pt x="147" y="137"/>
                    </a:lnTo>
                    <a:lnTo>
                      <a:pt x="141" y="154"/>
                    </a:lnTo>
                    <a:lnTo>
                      <a:pt x="138" y="163"/>
                    </a:lnTo>
                    <a:lnTo>
                      <a:pt x="137" y="165"/>
                    </a:lnTo>
                    <a:lnTo>
                      <a:pt x="138" y="167"/>
                    </a:lnTo>
                    <a:lnTo>
                      <a:pt x="138" y="167"/>
                    </a:lnTo>
                    <a:lnTo>
                      <a:pt x="140" y="170"/>
                    </a:lnTo>
                    <a:lnTo>
                      <a:pt x="140" y="171"/>
                    </a:lnTo>
                    <a:lnTo>
                      <a:pt x="140" y="174"/>
                    </a:lnTo>
                    <a:lnTo>
                      <a:pt x="138" y="174"/>
                    </a:lnTo>
                    <a:lnTo>
                      <a:pt x="138" y="174"/>
                    </a:lnTo>
                    <a:lnTo>
                      <a:pt x="131" y="174"/>
                    </a:lnTo>
                    <a:lnTo>
                      <a:pt x="126" y="171"/>
                    </a:lnTo>
                    <a:lnTo>
                      <a:pt x="126" y="171"/>
                    </a:lnTo>
                    <a:lnTo>
                      <a:pt x="124" y="171"/>
                    </a:lnTo>
                    <a:lnTo>
                      <a:pt x="120" y="173"/>
                    </a:lnTo>
                    <a:lnTo>
                      <a:pt x="116" y="174"/>
                    </a:lnTo>
                    <a:lnTo>
                      <a:pt x="111" y="174"/>
                    </a:lnTo>
                    <a:lnTo>
                      <a:pt x="111" y="174"/>
                    </a:lnTo>
                    <a:lnTo>
                      <a:pt x="104" y="177"/>
                    </a:lnTo>
                    <a:lnTo>
                      <a:pt x="101" y="180"/>
                    </a:lnTo>
                    <a:lnTo>
                      <a:pt x="101" y="180"/>
                    </a:lnTo>
                    <a:lnTo>
                      <a:pt x="101" y="181"/>
                    </a:lnTo>
                    <a:lnTo>
                      <a:pt x="101" y="181"/>
                    </a:lnTo>
                    <a:lnTo>
                      <a:pt x="104" y="184"/>
                    </a:lnTo>
                    <a:lnTo>
                      <a:pt x="106" y="187"/>
                    </a:lnTo>
                    <a:lnTo>
                      <a:pt x="106" y="195"/>
                    </a:lnTo>
                    <a:lnTo>
                      <a:pt x="106" y="195"/>
                    </a:lnTo>
                    <a:lnTo>
                      <a:pt x="107" y="198"/>
                    </a:lnTo>
                    <a:lnTo>
                      <a:pt x="109" y="204"/>
                    </a:lnTo>
                    <a:lnTo>
                      <a:pt x="111" y="210"/>
                    </a:lnTo>
                    <a:lnTo>
                      <a:pt x="111" y="212"/>
                    </a:lnTo>
                    <a:lnTo>
                      <a:pt x="111" y="212"/>
                    </a:lnTo>
                    <a:lnTo>
                      <a:pt x="110" y="215"/>
                    </a:lnTo>
                    <a:lnTo>
                      <a:pt x="107" y="218"/>
                    </a:lnTo>
                    <a:lnTo>
                      <a:pt x="104" y="221"/>
                    </a:lnTo>
                    <a:lnTo>
                      <a:pt x="103" y="225"/>
                    </a:lnTo>
                    <a:lnTo>
                      <a:pt x="103" y="225"/>
                    </a:lnTo>
                    <a:lnTo>
                      <a:pt x="104" y="231"/>
                    </a:lnTo>
                    <a:lnTo>
                      <a:pt x="103" y="234"/>
                    </a:lnTo>
                    <a:lnTo>
                      <a:pt x="103" y="235"/>
                    </a:lnTo>
                    <a:lnTo>
                      <a:pt x="103" y="235"/>
                    </a:lnTo>
                    <a:lnTo>
                      <a:pt x="96" y="238"/>
                    </a:lnTo>
                    <a:lnTo>
                      <a:pt x="89" y="242"/>
                    </a:lnTo>
                    <a:lnTo>
                      <a:pt x="89" y="242"/>
                    </a:lnTo>
                    <a:lnTo>
                      <a:pt x="82" y="245"/>
                    </a:lnTo>
                    <a:lnTo>
                      <a:pt x="77" y="247"/>
                    </a:lnTo>
                    <a:lnTo>
                      <a:pt x="76" y="249"/>
                    </a:lnTo>
                    <a:lnTo>
                      <a:pt x="76" y="249"/>
                    </a:lnTo>
                    <a:lnTo>
                      <a:pt x="74" y="252"/>
                    </a:lnTo>
                    <a:lnTo>
                      <a:pt x="72" y="255"/>
                    </a:lnTo>
                    <a:lnTo>
                      <a:pt x="67" y="256"/>
                    </a:lnTo>
                    <a:lnTo>
                      <a:pt x="63" y="256"/>
                    </a:lnTo>
                    <a:lnTo>
                      <a:pt x="63" y="256"/>
                    </a:lnTo>
                    <a:lnTo>
                      <a:pt x="54" y="255"/>
                    </a:lnTo>
                    <a:lnTo>
                      <a:pt x="52" y="256"/>
                    </a:lnTo>
                    <a:lnTo>
                      <a:pt x="49" y="261"/>
                    </a:lnTo>
                    <a:lnTo>
                      <a:pt x="49" y="261"/>
                    </a:lnTo>
                    <a:lnTo>
                      <a:pt x="45" y="264"/>
                    </a:lnTo>
                    <a:lnTo>
                      <a:pt x="43" y="265"/>
                    </a:lnTo>
                    <a:lnTo>
                      <a:pt x="39" y="266"/>
                    </a:lnTo>
                    <a:lnTo>
                      <a:pt x="39" y="266"/>
                    </a:lnTo>
                    <a:lnTo>
                      <a:pt x="36" y="268"/>
                    </a:lnTo>
                    <a:lnTo>
                      <a:pt x="33" y="266"/>
                    </a:lnTo>
                    <a:lnTo>
                      <a:pt x="29" y="264"/>
                    </a:lnTo>
                    <a:lnTo>
                      <a:pt x="29" y="264"/>
                    </a:lnTo>
                    <a:lnTo>
                      <a:pt x="26" y="264"/>
                    </a:lnTo>
                    <a:lnTo>
                      <a:pt x="23" y="265"/>
                    </a:lnTo>
                    <a:lnTo>
                      <a:pt x="19" y="266"/>
                    </a:lnTo>
                    <a:lnTo>
                      <a:pt x="19" y="266"/>
                    </a:lnTo>
                    <a:lnTo>
                      <a:pt x="17" y="268"/>
                    </a:lnTo>
                    <a:lnTo>
                      <a:pt x="15" y="269"/>
                    </a:lnTo>
                    <a:lnTo>
                      <a:pt x="13" y="271"/>
                    </a:lnTo>
                    <a:lnTo>
                      <a:pt x="10" y="272"/>
                    </a:lnTo>
                    <a:lnTo>
                      <a:pt x="10" y="272"/>
                    </a:lnTo>
                    <a:lnTo>
                      <a:pt x="5" y="274"/>
                    </a:lnTo>
                    <a:lnTo>
                      <a:pt x="3" y="275"/>
                    </a:lnTo>
                    <a:lnTo>
                      <a:pt x="3" y="276"/>
                    </a:lnTo>
                    <a:lnTo>
                      <a:pt x="3" y="276"/>
                    </a:lnTo>
                    <a:lnTo>
                      <a:pt x="2" y="281"/>
                    </a:lnTo>
                    <a:lnTo>
                      <a:pt x="0" y="285"/>
                    </a:lnTo>
                    <a:lnTo>
                      <a:pt x="0" y="285"/>
                    </a:lnTo>
                    <a:lnTo>
                      <a:pt x="3" y="299"/>
                    </a:lnTo>
                    <a:lnTo>
                      <a:pt x="3" y="299"/>
                    </a:lnTo>
                    <a:lnTo>
                      <a:pt x="10" y="302"/>
                    </a:lnTo>
                    <a:lnTo>
                      <a:pt x="16" y="305"/>
                    </a:lnTo>
                    <a:lnTo>
                      <a:pt x="17" y="306"/>
                    </a:lnTo>
                    <a:lnTo>
                      <a:pt x="19" y="309"/>
                    </a:lnTo>
                    <a:lnTo>
                      <a:pt x="19" y="309"/>
                    </a:lnTo>
                    <a:lnTo>
                      <a:pt x="22" y="330"/>
                    </a:lnTo>
                    <a:lnTo>
                      <a:pt x="22" y="330"/>
                    </a:lnTo>
                    <a:lnTo>
                      <a:pt x="22" y="330"/>
                    </a:lnTo>
                    <a:lnTo>
                      <a:pt x="22" y="330"/>
                    </a:lnTo>
                    <a:lnTo>
                      <a:pt x="32" y="338"/>
                    </a:lnTo>
                    <a:lnTo>
                      <a:pt x="35" y="340"/>
                    </a:lnTo>
                    <a:lnTo>
                      <a:pt x="36" y="342"/>
                    </a:lnTo>
                    <a:lnTo>
                      <a:pt x="36" y="342"/>
                    </a:lnTo>
                    <a:lnTo>
                      <a:pt x="37" y="348"/>
                    </a:lnTo>
                    <a:lnTo>
                      <a:pt x="40" y="350"/>
                    </a:lnTo>
                    <a:lnTo>
                      <a:pt x="45" y="355"/>
                    </a:lnTo>
                    <a:lnTo>
                      <a:pt x="45" y="355"/>
                    </a:lnTo>
                    <a:lnTo>
                      <a:pt x="57" y="360"/>
                    </a:lnTo>
                    <a:lnTo>
                      <a:pt x="57" y="360"/>
                    </a:lnTo>
                    <a:lnTo>
                      <a:pt x="57" y="359"/>
                    </a:lnTo>
                    <a:lnTo>
                      <a:pt x="64" y="359"/>
                    </a:lnTo>
                    <a:lnTo>
                      <a:pt x="64" y="359"/>
                    </a:lnTo>
                    <a:lnTo>
                      <a:pt x="67" y="362"/>
                    </a:lnTo>
                    <a:lnTo>
                      <a:pt x="67" y="362"/>
                    </a:lnTo>
                    <a:lnTo>
                      <a:pt x="70" y="357"/>
                    </a:lnTo>
                    <a:lnTo>
                      <a:pt x="74" y="355"/>
                    </a:lnTo>
                    <a:lnTo>
                      <a:pt x="80" y="352"/>
                    </a:lnTo>
                    <a:lnTo>
                      <a:pt x="86" y="352"/>
                    </a:lnTo>
                    <a:lnTo>
                      <a:pt x="86" y="352"/>
                    </a:lnTo>
                    <a:lnTo>
                      <a:pt x="91" y="353"/>
                    </a:lnTo>
                    <a:lnTo>
                      <a:pt x="97" y="357"/>
                    </a:lnTo>
                    <a:lnTo>
                      <a:pt x="103" y="363"/>
                    </a:lnTo>
                    <a:lnTo>
                      <a:pt x="104" y="365"/>
                    </a:lnTo>
                    <a:lnTo>
                      <a:pt x="104" y="366"/>
                    </a:lnTo>
                    <a:lnTo>
                      <a:pt x="104" y="366"/>
                    </a:lnTo>
                    <a:lnTo>
                      <a:pt x="97" y="377"/>
                    </a:lnTo>
                    <a:lnTo>
                      <a:pt x="93" y="383"/>
                    </a:lnTo>
                    <a:lnTo>
                      <a:pt x="89" y="386"/>
                    </a:lnTo>
                    <a:lnTo>
                      <a:pt x="89" y="386"/>
                    </a:lnTo>
                    <a:lnTo>
                      <a:pt x="82" y="386"/>
                    </a:lnTo>
                    <a:lnTo>
                      <a:pt x="82" y="386"/>
                    </a:lnTo>
                    <a:lnTo>
                      <a:pt x="80" y="392"/>
                    </a:lnTo>
                    <a:lnTo>
                      <a:pt x="80" y="392"/>
                    </a:lnTo>
                    <a:lnTo>
                      <a:pt x="82" y="394"/>
                    </a:lnTo>
                    <a:lnTo>
                      <a:pt x="83" y="399"/>
                    </a:lnTo>
                    <a:lnTo>
                      <a:pt x="89" y="406"/>
                    </a:lnTo>
                    <a:lnTo>
                      <a:pt x="89" y="406"/>
                    </a:lnTo>
                    <a:lnTo>
                      <a:pt x="90" y="409"/>
                    </a:lnTo>
                    <a:lnTo>
                      <a:pt x="90" y="410"/>
                    </a:lnTo>
                    <a:lnTo>
                      <a:pt x="87" y="413"/>
                    </a:lnTo>
                    <a:lnTo>
                      <a:pt x="83" y="413"/>
                    </a:lnTo>
                    <a:lnTo>
                      <a:pt x="80" y="412"/>
                    </a:lnTo>
                    <a:lnTo>
                      <a:pt x="80" y="412"/>
                    </a:lnTo>
                    <a:lnTo>
                      <a:pt x="77" y="412"/>
                    </a:lnTo>
                    <a:lnTo>
                      <a:pt x="74" y="413"/>
                    </a:lnTo>
                    <a:lnTo>
                      <a:pt x="74" y="416"/>
                    </a:lnTo>
                    <a:lnTo>
                      <a:pt x="76" y="419"/>
                    </a:lnTo>
                    <a:lnTo>
                      <a:pt x="76" y="419"/>
                    </a:lnTo>
                    <a:lnTo>
                      <a:pt x="77" y="422"/>
                    </a:lnTo>
                    <a:lnTo>
                      <a:pt x="77" y="426"/>
                    </a:lnTo>
                    <a:lnTo>
                      <a:pt x="79" y="430"/>
                    </a:lnTo>
                    <a:lnTo>
                      <a:pt x="82" y="431"/>
                    </a:lnTo>
                    <a:lnTo>
                      <a:pt x="82" y="431"/>
                    </a:lnTo>
                    <a:lnTo>
                      <a:pt x="84" y="433"/>
                    </a:lnTo>
                    <a:lnTo>
                      <a:pt x="87" y="437"/>
                    </a:lnTo>
                    <a:lnTo>
                      <a:pt x="91" y="440"/>
                    </a:lnTo>
                    <a:lnTo>
                      <a:pt x="94" y="441"/>
                    </a:lnTo>
                    <a:lnTo>
                      <a:pt x="94" y="441"/>
                    </a:lnTo>
                    <a:lnTo>
                      <a:pt x="99" y="443"/>
                    </a:lnTo>
                    <a:lnTo>
                      <a:pt x="101" y="446"/>
                    </a:lnTo>
                    <a:lnTo>
                      <a:pt x="104" y="449"/>
                    </a:lnTo>
                    <a:lnTo>
                      <a:pt x="104" y="449"/>
                    </a:lnTo>
                    <a:lnTo>
                      <a:pt x="107" y="451"/>
                    </a:lnTo>
                    <a:lnTo>
                      <a:pt x="110" y="454"/>
                    </a:lnTo>
                    <a:lnTo>
                      <a:pt x="111" y="456"/>
                    </a:lnTo>
                    <a:lnTo>
                      <a:pt x="111" y="456"/>
                    </a:lnTo>
                    <a:lnTo>
                      <a:pt x="111" y="457"/>
                    </a:lnTo>
                    <a:lnTo>
                      <a:pt x="111" y="457"/>
                    </a:lnTo>
                    <a:lnTo>
                      <a:pt x="117" y="456"/>
                    </a:lnTo>
                    <a:lnTo>
                      <a:pt x="120" y="456"/>
                    </a:lnTo>
                    <a:lnTo>
                      <a:pt x="121" y="454"/>
                    </a:lnTo>
                    <a:lnTo>
                      <a:pt x="121" y="454"/>
                    </a:lnTo>
                    <a:lnTo>
                      <a:pt x="123" y="453"/>
                    </a:lnTo>
                    <a:lnTo>
                      <a:pt x="126" y="453"/>
                    </a:lnTo>
                    <a:lnTo>
                      <a:pt x="130" y="454"/>
                    </a:lnTo>
                    <a:lnTo>
                      <a:pt x="134" y="457"/>
                    </a:lnTo>
                    <a:lnTo>
                      <a:pt x="134" y="457"/>
                    </a:lnTo>
                    <a:lnTo>
                      <a:pt x="148" y="468"/>
                    </a:lnTo>
                    <a:lnTo>
                      <a:pt x="167" y="480"/>
                    </a:lnTo>
                    <a:lnTo>
                      <a:pt x="167" y="480"/>
                    </a:lnTo>
                    <a:lnTo>
                      <a:pt x="174" y="486"/>
                    </a:lnTo>
                    <a:lnTo>
                      <a:pt x="183" y="488"/>
                    </a:lnTo>
                    <a:lnTo>
                      <a:pt x="191" y="491"/>
                    </a:lnTo>
                    <a:lnTo>
                      <a:pt x="197" y="493"/>
                    </a:lnTo>
                    <a:lnTo>
                      <a:pt x="197" y="493"/>
                    </a:lnTo>
                    <a:lnTo>
                      <a:pt x="202" y="494"/>
                    </a:lnTo>
                    <a:lnTo>
                      <a:pt x="207" y="495"/>
                    </a:lnTo>
                    <a:lnTo>
                      <a:pt x="212" y="497"/>
                    </a:lnTo>
                    <a:lnTo>
                      <a:pt x="218" y="497"/>
                    </a:lnTo>
                    <a:lnTo>
                      <a:pt x="218" y="497"/>
                    </a:lnTo>
                    <a:lnTo>
                      <a:pt x="222" y="497"/>
                    </a:lnTo>
                    <a:lnTo>
                      <a:pt x="222" y="497"/>
                    </a:lnTo>
                    <a:lnTo>
                      <a:pt x="224" y="495"/>
                    </a:lnTo>
                    <a:lnTo>
                      <a:pt x="227" y="493"/>
                    </a:lnTo>
                    <a:lnTo>
                      <a:pt x="227" y="493"/>
                    </a:lnTo>
                    <a:lnTo>
                      <a:pt x="229" y="491"/>
                    </a:lnTo>
                    <a:lnTo>
                      <a:pt x="231" y="494"/>
                    </a:lnTo>
                    <a:lnTo>
                      <a:pt x="232" y="497"/>
                    </a:lnTo>
                    <a:lnTo>
                      <a:pt x="232" y="501"/>
                    </a:lnTo>
                    <a:lnTo>
                      <a:pt x="232" y="501"/>
                    </a:lnTo>
                    <a:lnTo>
                      <a:pt x="232" y="505"/>
                    </a:lnTo>
                    <a:lnTo>
                      <a:pt x="234" y="508"/>
                    </a:lnTo>
                    <a:lnTo>
                      <a:pt x="234" y="508"/>
                    </a:lnTo>
                    <a:lnTo>
                      <a:pt x="237" y="501"/>
                    </a:lnTo>
                    <a:lnTo>
                      <a:pt x="237" y="501"/>
                    </a:lnTo>
                    <a:lnTo>
                      <a:pt x="239" y="497"/>
                    </a:lnTo>
                    <a:lnTo>
                      <a:pt x="242" y="494"/>
                    </a:lnTo>
                    <a:lnTo>
                      <a:pt x="248" y="491"/>
                    </a:lnTo>
                    <a:lnTo>
                      <a:pt x="248" y="491"/>
                    </a:lnTo>
                    <a:lnTo>
                      <a:pt x="251" y="490"/>
                    </a:lnTo>
                    <a:lnTo>
                      <a:pt x="254" y="490"/>
                    </a:lnTo>
                    <a:lnTo>
                      <a:pt x="261" y="494"/>
                    </a:lnTo>
                    <a:lnTo>
                      <a:pt x="261" y="494"/>
                    </a:lnTo>
                    <a:lnTo>
                      <a:pt x="265" y="494"/>
                    </a:lnTo>
                    <a:lnTo>
                      <a:pt x="269" y="494"/>
                    </a:lnTo>
                    <a:lnTo>
                      <a:pt x="274" y="494"/>
                    </a:lnTo>
                    <a:lnTo>
                      <a:pt x="279" y="498"/>
                    </a:lnTo>
                    <a:lnTo>
                      <a:pt x="279" y="498"/>
                    </a:lnTo>
                    <a:lnTo>
                      <a:pt x="285" y="497"/>
                    </a:lnTo>
                    <a:lnTo>
                      <a:pt x="285" y="497"/>
                    </a:lnTo>
                    <a:lnTo>
                      <a:pt x="289" y="494"/>
                    </a:lnTo>
                    <a:lnTo>
                      <a:pt x="293" y="490"/>
                    </a:lnTo>
                    <a:lnTo>
                      <a:pt x="293" y="490"/>
                    </a:lnTo>
                    <a:lnTo>
                      <a:pt x="296" y="486"/>
                    </a:lnTo>
                    <a:lnTo>
                      <a:pt x="298" y="484"/>
                    </a:lnTo>
                    <a:lnTo>
                      <a:pt x="299" y="484"/>
                    </a:lnTo>
                    <a:lnTo>
                      <a:pt x="299" y="484"/>
                    </a:lnTo>
                    <a:lnTo>
                      <a:pt x="302" y="483"/>
                    </a:lnTo>
                    <a:lnTo>
                      <a:pt x="305" y="481"/>
                    </a:lnTo>
                    <a:lnTo>
                      <a:pt x="308" y="478"/>
                    </a:lnTo>
                    <a:lnTo>
                      <a:pt x="313" y="474"/>
                    </a:lnTo>
                    <a:lnTo>
                      <a:pt x="313" y="474"/>
                    </a:lnTo>
                    <a:lnTo>
                      <a:pt x="319" y="473"/>
                    </a:lnTo>
                    <a:lnTo>
                      <a:pt x="325" y="474"/>
                    </a:lnTo>
                    <a:lnTo>
                      <a:pt x="329" y="474"/>
                    </a:lnTo>
                    <a:lnTo>
                      <a:pt x="332" y="474"/>
                    </a:lnTo>
                    <a:lnTo>
                      <a:pt x="332" y="474"/>
                    </a:lnTo>
                    <a:lnTo>
                      <a:pt x="338" y="471"/>
                    </a:lnTo>
                    <a:lnTo>
                      <a:pt x="339" y="471"/>
                    </a:lnTo>
                    <a:lnTo>
                      <a:pt x="340" y="473"/>
                    </a:lnTo>
                    <a:lnTo>
                      <a:pt x="340" y="473"/>
                    </a:lnTo>
                    <a:lnTo>
                      <a:pt x="342" y="476"/>
                    </a:lnTo>
                    <a:lnTo>
                      <a:pt x="343" y="478"/>
                    </a:lnTo>
                    <a:lnTo>
                      <a:pt x="346" y="484"/>
                    </a:lnTo>
                    <a:lnTo>
                      <a:pt x="346" y="484"/>
                    </a:lnTo>
                    <a:lnTo>
                      <a:pt x="349" y="486"/>
                    </a:lnTo>
                    <a:lnTo>
                      <a:pt x="352" y="487"/>
                    </a:lnTo>
                    <a:lnTo>
                      <a:pt x="356" y="488"/>
                    </a:lnTo>
                    <a:lnTo>
                      <a:pt x="356" y="488"/>
                    </a:lnTo>
                    <a:lnTo>
                      <a:pt x="359" y="487"/>
                    </a:lnTo>
                    <a:lnTo>
                      <a:pt x="359" y="487"/>
                    </a:lnTo>
                    <a:lnTo>
                      <a:pt x="362" y="486"/>
                    </a:lnTo>
                    <a:lnTo>
                      <a:pt x="366" y="487"/>
                    </a:lnTo>
                    <a:lnTo>
                      <a:pt x="369" y="488"/>
                    </a:lnTo>
                    <a:lnTo>
                      <a:pt x="369" y="491"/>
                    </a:lnTo>
                    <a:lnTo>
                      <a:pt x="369" y="491"/>
                    </a:lnTo>
                    <a:lnTo>
                      <a:pt x="370" y="497"/>
                    </a:lnTo>
                    <a:lnTo>
                      <a:pt x="372" y="500"/>
                    </a:lnTo>
                    <a:lnTo>
                      <a:pt x="373" y="500"/>
                    </a:lnTo>
                    <a:lnTo>
                      <a:pt x="373" y="500"/>
                    </a:lnTo>
                    <a:lnTo>
                      <a:pt x="375" y="500"/>
                    </a:lnTo>
                    <a:lnTo>
                      <a:pt x="377" y="501"/>
                    </a:lnTo>
                    <a:lnTo>
                      <a:pt x="379" y="504"/>
                    </a:lnTo>
                    <a:lnTo>
                      <a:pt x="379" y="508"/>
                    </a:lnTo>
                    <a:lnTo>
                      <a:pt x="379" y="508"/>
                    </a:lnTo>
                    <a:lnTo>
                      <a:pt x="380" y="520"/>
                    </a:lnTo>
                    <a:lnTo>
                      <a:pt x="379" y="527"/>
                    </a:lnTo>
                    <a:lnTo>
                      <a:pt x="376" y="531"/>
                    </a:lnTo>
                    <a:lnTo>
                      <a:pt x="376" y="531"/>
                    </a:lnTo>
                    <a:lnTo>
                      <a:pt x="370" y="538"/>
                    </a:lnTo>
                    <a:lnTo>
                      <a:pt x="366" y="544"/>
                    </a:lnTo>
                    <a:lnTo>
                      <a:pt x="363" y="550"/>
                    </a:lnTo>
                    <a:lnTo>
                      <a:pt x="362" y="554"/>
                    </a:lnTo>
                    <a:lnTo>
                      <a:pt x="362" y="554"/>
                    </a:lnTo>
                    <a:lnTo>
                      <a:pt x="363" y="557"/>
                    </a:lnTo>
                    <a:lnTo>
                      <a:pt x="362" y="561"/>
                    </a:lnTo>
                    <a:lnTo>
                      <a:pt x="363" y="562"/>
                    </a:lnTo>
                    <a:lnTo>
                      <a:pt x="365" y="562"/>
                    </a:lnTo>
                    <a:lnTo>
                      <a:pt x="365" y="562"/>
                    </a:lnTo>
                    <a:lnTo>
                      <a:pt x="370" y="561"/>
                    </a:lnTo>
                    <a:lnTo>
                      <a:pt x="375" y="561"/>
                    </a:lnTo>
                    <a:lnTo>
                      <a:pt x="379" y="562"/>
                    </a:lnTo>
                    <a:lnTo>
                      <a:pt x="380" y="564"/>
                    </a:lnTo>
                    <a:lnTo>
                      <a:pt x="380" y="565"/>
                    </a:lnTo>
                    <a:lnTo>
                      <a:pt x="380" y="565"/>
                    </a:lnTo>
                    <a:lnTo>
                      <a:pt x="379" y="568"/>
                    </a:lnTo>
                    <a:lnTo>
                      <a:pt x="380" y="572"/>
                    </a:lnTo>
                    <a:lnTo>
                      <a:pt x="382" y="577"/>
                    </a:lnTo>
                    <a:lnTo>
                      <a:pt x="385" y="578"/>
                    </a:lnTo>
                    <a:lnTo>
                      <a:pt x="385" y="578"/>
                    </a:lnTo>
                    <a:lnTo>
                      <a:pt x="387" y="578"/>
                    </a:lnTo>
                    <a:lnTo>
                      <a:pt x="390" y="579"/>
                    </a:lnTo>
                    <a:lnTo>
                      <a:pt x="392" y="582"/>
                    </a:lnTo>
                    <a:lnTo>
                      <a:pt x="390" y="585"/>
                    </a:lnTo>
                    <a:lnTo>
                      <a:pt x="390" y="585"/>
                    </a:lnTo>
                    <a:lnTo>
                      <a:pt x="389" y="592"/>
                    </a:lnTo>
                    <a:lnTo>
                      <a:pt x="389" y="595"/>
                    </a:lnTo>
                    <a:lnTo>
                      <a:pt x="390" y="595"/>
                    </a:lnTo>
                    <a:lnTo>
                      <a:pt x="390" y="595"/>
                    </a:lnTo>
                    <a:lnTo>
                      <a:pt x="397" y="596"/>
                    </a:lnTo>
                    <a:lnTo>
                      <a:pt x="399" y="598"/>
                    </a:lnTo>
                    <a:lnTo>
                      <a:pt x="400" y="599"/>
                    </a:lnTo>
                    <a:lnTo>
                      <a:pt x="400" y="599"/>
                    </a:lnTo>
                    <a:lnTo>
                      <a:pt x="400" y="604"/>
                    </a:lnTo>
                    <a:lnTo>
                      <a:pt x="402" y="605"/>
                    </a:lnTo>
                    <a:lnTo>
                      <a:pt x="404" y="606"/>
                    </a:lnTo>
                    <a:lnTo>
                      <a:pt x="410" y="605"/>
                    </a:lnTo>
                    <a:lnTo>
                      <a:pt x="410" y="605"/>
                    </a:lnTo>
                    <a:lnTo>
                      <a:pt x="414" y="604"/>
                    </a:lnTo>
                    <a:lnTo>
                      <a:pt x="416" y="604"/>
                    </a:lnTo>
                    <a:lnTo>
                      <a:pt x="417" y="604"/>
                    </a:lnTo>
                    <a:lnTo>
                      <a:pt x="417" y="604"/>
                    </a:lnTo>
                    <a:lnTo>
                      <a:pt x="419" y="605"/>
                    </a:lnTo>
                    <a:lnTo>
                      <a:pt x="420" y="606"/>
                    </a:lnTo>
                    <a:lnTo>
                      <a:pt x="422" y="609"/>
                    </a:lnTo>
                    <a:lnTo>
                      <a:pt x="424" y="611"/>
                    </a:lnTo>
                    <a:lnTo>
                      <a:pt x="424" y="611"/>
                    </a:lnTo>
                    <a:lnTo>
                      <a:pt x="426" y="611"/>
                    </a:lnTo>
                    <a:lnTo>
                      <a:pt x="427" y="611"/>
                    </a:lnTo>
                    <a:lnTo>
                      <a:pt x="427" y="606"/>
                    </a:lnTo>
                    <a:lnTo>
                      <a:pt x="427" y="602"/>
                    </a:lnTo>
                    <a:lnTo>
                      <a:pt x="426" y="599"/>
                    </a:lnTo>
                    <a:lnTo>
                      <a:pt x="426" y="599"/>
                    </a:lnTo>
                    <a:lnTo>
                      <a:pt x="424" y="596"/>
                    </a:lnTo>
                    <a:lnTo>
                      <a:pt x="426" y="594"/>
                    </a:lnTo>
                    <a:lnTo>
                      <a:pt x="426" y="591"/>
                    </a:lnTo>
                    <a:lnTo>
                      <a:pt x="427" y="591"/>
                    </a:lnTo>
                    <a:lnTo>
                      <a:pt x="427" y="591"/>
                    </a:lnTo>
                    <a:lnTo>
                      <a:pt x="430" y="591"/>
                    </a:lnTo>
                    <a:lnTo>
                      <a:pt x="433" y="591"/>
                    </a:lnTo>
                    <a:lnTo>
                      <a:pt x="436" y="589"/>
                    </a:lnTo>
                    <a:lnTo>
                      <a:pt x="439" y="587"/>
                    </a:lnTo>
                    <a:lnTo>
                      <a:pt x="439" y="587"/>
                    </a:lnTo>
                    <a:lnTo>
                      <a:pt x="440" y="585"/>
                    </a:lnTo>
                    <a:lnTo>
                      <a:pt x="441" y="585"/>
                    </a:lnTo>
                    <a:lnTo>
                      <a:pt x="444" y="587"/>
                    </a:lnTo>
                    <a:lnTo>
                      <a:pt x="449" y="587"/>
                    </a:lnTo>
                    <a:lnTo>
                      <a:pt x="450" y="587"/>
                    </a:lnTo>
                    <a:lnTo>
                      <a:pt x="450" y="585"/>
                    </a:lnTo>
                    <a:lnTo>
                      <a:pt x="450" y="585"/>
                    </a:lnTo>
                    <a:lnTo>
                      <a:pt x="451" y="584"/>
                    </a:lnTo>
                    <a:lnTo>
                      <a:pt x="453" y="584"/>
                    </a:lnTo>
                    <a:lnTo>
                      <a:pt x="457" y="585"/>
                    </a:lnTo>
                    <a:lnTo>
                      <a:pt x="460" y="587"/>
                    </a:lnTo>
                    <a:lnTo>
                      <a:pt x="464" y="585"/>
                    </a:lnTo>
                    <a:lnTo>
                      <a:pt x="464" y="585"/>
                    </a:lnTo>
                    <a:lnTo>
                      <a:pt x="468" y="584"/>
                    </a:lnTo>
                    <a:lnTo>
                      <a:pt x="471" y="585"/>
                    </a:lnTo>
                    <a:lnTo>
                      <a:pt x="473" y="585"/>
                    </a:lnTo>
                    <a:lnTo>
                      <a:pt x="476" y="584"/>
                    </a:lnTo>
                    <a:lnTo>
                      <a:pt x="476" y="584"/>
                    </a:lnTo>
                    <a:lnTo>
                      <a:pt x="478" y="579"/>
                    </a:lnTo>
                    <a:lnTo>
                      <a:pt x="481" y="577"/>
                    </a:lnTo>
                    <a:lnTo>
                      <a:pt x="486" y="575"/>
                    </a:lnTo>
                    <a:lnTo>
                      <a:pt x="488" y="575"/>
                    </a:lnTo>
                    <a:lnTo>
                      <a:pt x="488" y="575"/>
                    </a:lnTo>
                    <a:lnTo>
                      <a:pt x="491" y="579"/>
                    </a:lnTo>
                    <a:lnTo>
                      <a:pt x="495" y="581"/>
                    </a:lnTo>
                    <a:lnTo>
                      <a:pt x="501" y="582"/>
                    </a:lnTo>
                    <a:lnTo>
                      <a:pt x="501" y="582"/>
                    </a:lnTo>
                    <a:lnTo>
                      <a:pt x="507" y="584"/>
                    </a:lnTo>
                    <a:lnTo>
                      <a:pt x="507" y="587"/>
                    </a:lnTo>
                    <a:lnTo>
                      <a:pt x="505" y="592"/>
                    </a:lnTo>
                    <a:lnTo>
                      <a:pt x="505" y="592"/>
                    </a:lnTo>
                    <a:lnTo>
                      <a:pt x="507" y="595"/>
                    </a:lnTo>
                    <a:lnTo>
                      <a:pt x="513" y="599"/>
                    </a:lnTo>
                    <a:lnTo>
                      <a:pt x="517" y="602"/>
                    </a:lnTo>
                    <a:lnTo>
                      <a:pt x="521" y="604"/>
                    </a:lnTo>
                    <a:lnTo>
                      <a:pt x="521" y="604"/>
                    </a:lnTo>
                    <a:lnTo>
                      <a:pt x="525" y="606"/>
                    </a:lnTo>
                    <a:lnTo>
                      <a:pt x="525" y="606"/>
                    </a:lnTo>
                    <a:lnTo>
                      <a:pt x="528" y="606"/>
                    </a:lnTo>
                    <a:lnTo>
                      <a:pt x="531" y="606"/>
                    </a:lnTo>
                    <a:lnTo>
                      <a:pt x="532" y="605"/>
                    </a:lnTo>
                    <a:lnTo>
                      <a:pt x="535" y="604"/>
                    </a:lnTo>
                    <a:lnTo>
                      <a:pt x="535" y="604"/>
                    </a:lnTo>
                    <a:lnTo>
                      <a:pt x="537" y="602"/>
                    </a:lnTo>
                    <a:lnTo>
                      <a:pt x="538" y="601"/>
                    </a:lnTo>
                    <a:lnTo>
                      <a:pt x="541" y="602"/>
                    </a:lnTo>
                    <a:lnTo>
                      <a:pt x="544" y="604"/>
                    </a:lnTo>
                    <a:lnTo>
                      <a:pt x="544" y="604"/>
                    </a:lnTo>
                    <a:lnTo>
                      <a:pt x="545" y="606"/>
                    </a:lnTo>
                    <a:lnTo>
                      <a:pt x="547" y="606"/>
                    </a:lnTo>
                    <a:lnTo>
                      <a:pt x="550" y="606"/>
                    </a:lnTo>
                    <a:lnTo>
                      <a:pt x="552" y="604"/>
                    </a:lnTo>
                    <a:lnTo>
                      <a:pt x="552" y="604"/>
                    </a:lnTo>
                    <a:lnTo>
                      <a:pt x="554" y="604"/>
                    </a:lnTo>
                    <a:lnTo>
                      <a:pt x="555" y="604"/>
                    </a:lnTo>
                    <a:lnTo>
                      <a:pt x="558" y="605"/>
                    </a:lnTo>
                    <a:lnTo>
                      <a:pt x="558" y="608"/>
                    </a:lnTo>
                    <a:lnTo>
                      <a:pt x="557" y="611"/>
                    </a:lnTo>
                    <a:lnTo>
                      <a:pt x="557" y="611"/>
                    </a:lnTo>
                    <a:lnTo>
                      <a:pt x="555" y="614"/>
                    </a:lnTo>
                    <a:lnTo>
                      <a:pt x="555" y="616"/>
                    </a:lnTo>
                    <a:lnTo>
                      <a:pt x="558" y="621"/>
                    </a:lnTo>
                    <a:lnTo>
                      <a:pt x="561" y="625"/>
                    </a:lnTo>
                    <a:lnTo>
                      <a:pt x="561" y="625"/>
                    </a:lnTo>
                    <a:lnTo>
                      <a:pt x="564" y="626"/>
                    </a:lnTo>
                    <a:lnTo>
                      <a:pt x="565" y="625"/>
                    </a:lnTo>
                    <a:lnTo>
                      <a:pt x="565" y="622"/>
                    </a:lnTo>
                    <a:lnTo>
                      <a:pt x="565" y="618"/>
                    </a:lnTo>
                    <a:lnTo>
                      <a:pt x="565" y="618"/>
                    </a:lnTo>
                    <a:lnTo>
                      <a:pt x="565" y="615"/>
                    </a:lnTo>
                    <a:lnTo>
                      <a:pt x="569" y="612"/>
                    </a:lnTo>
                    <a:lnTo>
                      <a:pt x="578" y="608"/>
                    </a:lnTo>
                    <a:lnTo>
                      <a:pt x="588" y="605"/>
                    </a:lnTo>
                    <a:lnTo>
                      <a:pt x="588" y="605"/>
                    </a:lnTo>
                    <a:lnTo>
                      <a:pt x="598" y="599"/>
                    </a:lnTo>
                    <a:lnTo>
                      <a:pt x="608" y="594"/>
                    </a:lnTo>
                    <a:lnTo>
                      <a:pt x="615" y="589"/>
                    </a:lnTo>
                    <a:lnTo>
                      <a:pt x="619" y="587"/>
                    </a:lnTo>
                    <a:lnTo>
                      <a:pt x="619" y="587"/>
                    </a:lnTo>
                    <a:lnTo>
                      <a:pt x="621" y="585"/>
                    </a:lnTo>
                    <a:lnTo>
                      <a:pt x="625" y="587"/>
                    </a:lnTo>
                    <a:lnTo>
                      <a:pt x="629" y="588"/>
                    </a:lnTo>
                    <a:lnTo>
                      <a:pt x="632" y="588"/>
                    </a:lnTo>
                    <a:lnTo>
                      <a:pt x="635" y="587"/>
                    </a:lnTo>
                    <a:lnTo>
                      <a:pt x="635" y="587"/>
                    </a:lnTo>
                    <a:lnTo>
                      <a:pt x="641" y="584"/>
                    </a:lnTo>
                    <a:lnTo>
                      <a:pt x="648" y="584"/>
                    </a:lnTo>
                    <a:lnTo>
                      <a:pt x="662" y="582"/>
                    </a:lnTo>
                    <a:lnTo>
                      <a:pt x="662" y="582"/>
                    </a:lnTo>
                    <a:lnTo>
                      <a:pt x="665" y="581"/>
                    </a:lnTo>
                    <a:lnTo>
                      <a:pt x="666" y="579"/>
                    </a:lnTo>
                    <a:lnTo>
                      <a:pt x="672" y="574"/>
                    </a:lnTo>
                    <a:lnTo>
                      <a:pt x="672" y="574"/>
                    </a:lnTo>
                    <a:lnTo>
                      <a:pt x="676" y="569"/>
                    </a:lnTo>
                    <a:lnTo>
                      <a:pt x="678" y="568"/>
                    </a:lnTo>
                    <a:lnTo>
                      <a:pt x="680" y="567"/>
                    </a:lnTo>
                    <a:lnTo>
                      <a:pt x="680" y="567"/>
                    </a:lnTo>
                    <a:lnTo>
                      <a:pt x="685" y="564"/>
                    </a:lnTo>
                    <a:lnTo>
                      <a:pt x="688" y="562"/>
                    </a:lnTo>
                    <a:lnTo>
                      <a:pt x="689" y="559"/>
                    </a:lnTo>
                    <a:lnTo>
                      <a:pt x="690" y="557"/>
                    </a:lnTo>
                    <a:lnTo>
                      <a:pt x="690" y="557"/>
                    </a:lnTo>
                    <a:lnTo>
                      <a:pt x="692" y="555"/>
                    </a:lnTo>
                    <a:lnTo>
                      <a:pt x="696" y="554"/>
                    </a:lnTo>
                    <a:lnTo>
                      <a:pt x="699" y="551"/>
                    </a:lnTo>
                    <a:lnTo>
                      <a:pt x="702" y="550"/>
                    </a:lnTo>
                    <a:lnTo>
                      <a:pt x="702" y="550"/>
                    </a:lnTo>
                    <a:lnTo>
                      <a:pt x="702" y="548"/>
                    </a:lnTo>
                    <a:lnTo>
                      <a:pt x="705" y="547"/>
                    </a:lnTo>
                    <a:lnTo>
                      <a:pt x="707" y="544"/>
                    </a:lnTo>
                    <a:lnTo>
                      <a:pt x="709" y="542"/>
                    </a:lnTo>
                    <a:lnTo>
                      <a:pt x="709" y="542"/>
                    </a:lnTo>
                    <a:lnTo>
                      <a:pt x="710" y="540"/>
                    </a:lnTo>
                    <a:lnTo>
                      <a:pt x="712" y="538"/>
                    </a:lnTo>
                    <a:lnTo>
                      <a:pt x="715" y="538"/>
                    </a:lnTo>
                    <a:lnTo>
                      <a:pt x="716" y="535"/>
                    </a:lnTo>
                    <a:lnTo>
                      <a:pt x="716" y="535"/>
                    </a:lnTo>
                    <a:lnTo>
                      <a:pt x="717" y="532"/>
                    </a:lnTo>
                    <a:lnTo>
                      <a:pt x="716" y="530"/>
                    </a:lnTo>
                    <a:lnTo>
                      <a:pt x="716" y="525"/>
                    </a:lnTo>
                    <a:lnTo>
                      <a:pt x="719" y="524"/>
                    </a:lnTo>
                    <a:lnTo>
                      <a:pt x="719" y="524"/>
                    </a:lnTo>
                    <a:lnTo>
                      <a:pt x="719" y="523"/>
                    </a:lnTo>
                    <a:lnTo>
                      <a:pt x="719" y="520"/>
                    </a:lnTo>
                    <a:lnTo>
                      <a:pt x="716" y="515"/>
                    </a:lnTo>
                    <a:lnTo>
                      <a:pt x="716" y="515"/>
                    </a:lnTo>
                    <a:lnTo>
                      <a:pt x="717" y="514"/>
                    </a:lnTo>
                    <a:lnTo>
                      <a:pt x="720" y="514"/>
                    </a:lnTo>
                    <a:lnTo>
                      <a:pt x="727" y="511"/>
                    </a:lnTo>
                    <a:lnTo>
                      <a:pt x="727" y="511"/>
                    </a:lnTo>
                    <a:lnTo>
                      <a:pt x="732" y="505"/>
                    </a:lnTo>
                    <a:lnTo>
                      <a:pt x="734" y="500"/>
                    </a:lnTo>
                    <a:lnTo>
                      <a:pt x="734" y="500"/>
                    </a:lnTo>
                    <a:lnTo>
                      <a:pt x="736" y="495"/>
                    </a:lnTo>
                    <a:lnTo>
                      <a:pt x="739" y="493"/>
                    </a:lnTo>
                    <a:lnTo>
                      <a:pt x="744" y="490"/>
                    </a:lnTo>
                    <a:lnTo>
                      <a:pt x="744" y="490"/>
                    </a:lnTo>
                    <a:lnTo>
                      <a:pt x="747" y="488"/>
                    </a:lnTo>
                    <a:lnTo>
                      <a:pt x="749" y="484"/>
                    </a:lnTo>
                    <a:lnTo>
                      <a:pt x="749" y="477"/>
                    </a:lnTo>
                    <a:lnTo>
                      <a:pt x="749" y="477"/>
                    </a:lnTo>
                    <a:lnTo>
                      <a:pt x="749" y="474"/>
                    </a:lnTo>
                    <a:lnTo>
                      <a:pt x="750" y="473"/>
                    </a:lnTo>
                    <a:lnTo>
                      <a:pt x="752" y="471"/>
                    </a:lnTo>
                    <a:lnTo>
                      <a:pt x="752" y="470"/>
                    </a:lnTo>
                    <a:lnTo>
                      <a:pt x="752" y="470"/>
                    </a:lnTo>
                    <a:lnTo>
                      <a:pt x="750" y="468"/>
                    </a:lnTo>
                    <a:lnTo>
                      <a:pt x="752" y="466"/>
                    </a:lnTo>
                    <a:lnTo>
                      <a:pt x="754" y="463"/>
                    </a:lnTo>
                    <a:lnTo>
                      <a:pt x="757" y="461"/>
                    </a:lnTo>
                    <a:lnTo>
                      <a:pt x="757" y="461"/>
                    </a:lnTo>
                    <a:lnTo>
                      <a:pt x="760" y="460"/>
                    </a:lnTo>
                    <a:lnTo>
                      <a:pt x="757" y="458"/>
                    </a:lnTo>
                    <a:lnTo>
                      <a:pt x="754" y="458"/>
                    </a:lnTo>
                    <a:lnTo>
                      <a:pt x="752" y="458"/>
                    </a:lnTo>
                    <a:lnTo>
                      <a:pt x="752" y="458"/>
                    </a:lnTo>
                    <a:lnTo>
                      <a:pt x="750" y="460"/>
                    </a:lnTo>
                    <a:lnTo>
                      <a:pt x="749" y="458"/>
                    </a:lnTo>
                    <a:lnTo>
                      <a:pt x="746" y="457"/>
                    </a:lnTo>
                    <a:lnTo>
                      <a:pt x="744" y="454"/>
                    </a:lnTo>
                    <a:lnTo>
                      <a:pt x="743" y="454"/>
                    </a:lnTo>
                    <a:lnTo>
                      <a:pt x="742" y="456"/>
                    </a:lnTo>
                    <a:lnTo>
                      <a:pt x="742" y="456"/>
                    </a:lnTo>
                    <a:lnTo>
                      <a:pt x="739" y="457"/>
                    </a:lnTo>
                    <a:lnTo>
                      <a:pt x="736" y="456"/>
                    </a:lnTo>
                    <a:lnTo>
                      <a:pt x="734" y="454"/>
                    </a:lnTo>
                    <a:lnTo>
                      <a:pt x="734" y="453"/>
                    </a:lnTo>
                    <a:lnTo>
                      <a:pt x="736" y="453"/>
                    </a:lnTo>
                    <a:lnTo>
                      <a:pt x="736" y="453"/>
                    </a:lnTo>
                    <a:lnTo>
                      <a:pt x="746" y="449"/>
                    </a:lnTo>
                    <a:lnTo>
                      <a:pt x="753" y="444"/>
                    </a:lnTo>
                    <a:lnTo>
                      <a:pt x="753" y="444"/>
                    </a:lnTo>
                    <a:lnTo>
                      <a:pt x="754" y="443"/>
                    </a:lnTo>
                    <a:lnTo>
                      <a:pt x="753" y="441"/>
                    </a:lnTo>
                    <a:lnTo>
                      <a:pt x="752" y="439"/>
                    </a:lnTo>
                    <a:lnTo>
                      <a:pt x="747" y="436"/>
                    </a:lnTo>
                    <a:lnTo>
                      <a:pt x="743" y="436"/>
                    </a:lnTo>
                    <a:lnTo>
                      <a:pt x="743" y="436"/>
                    </a:lnTo>
                    <a:lnTo>
                      <a:pt x="740" y="434"/>
                    </a:lnTo>
                    <a:lnTo>
                      <a:pt x="736" y="430"/>
                    </a:lnTo>
                    <a:lnTo>
                      <a:pt x="733" y="426"/>
                    </a:lnTo>
                    <a:lnTo>
                      <a:pt x="729" y="424"/>
                    </a:lnTo>
                    <a:lnTo>
                      <a:pt x="729" y="424"/>
                    </a:lnTo>
                    <a:lnTo>
                      <a:pt x="727" y="424"/>
                    </a:lnTo>
                    <a:lnTo>
                      <a:pt x="730" y="423"/>
                    </a:lnTo>
                    <a:lnTo>
                      <a:pt x="733" y="423"/>
                    </a:lnTo>
                    <a:lnTo>
                      <a:pt x="739" y="424"/>
                    </a:lnTo>
                    <a:lnTo>
                      <a:pt x="739" y="424"/>
                    </a:lnTo>
                    <a:lnTo>
                      <a:pt x="746" y="427"/>
                    </a:lnTo>
                    <a:lnTo>
                      <a:pt x="750" y="429"/>
                    </a:lnTo>
                    <a:lnTo>
                      <a:pt x="753" y="427"/>
                    </a:lnTo>
                    <a:lnTo>
                      <a:pt x="753" y="427"/>
                    </a:lnTo>
                    <a:lnTo>
                      <a:pt x="753" y="426"/>
                    </a:lnTo>
                    <a:lnTo>
                      <a:pt x="752" y="424"/>
                    </a:lnTo>
                    <a:lnTo>
                      <a:pt x="749" y="420"/>
                    </a:lnTo>
                    <a:lnTo>
                      <a:pt x="739" y="412"/>
                    </a:lnTo>
                    <a:lnTo>
                      <a:pt x="739" y="412"/>
                    </a:lnTo>
                    <a:lnTo>
                      <a:pt x="737" y="409"/>
                    </a:lnTo>
                    <a:lnTo>
                      <a:pt x="737" y="406"/>
                    </a:lnTo>
                    <a:lnTo>
                      <a:pt x="737" y="404"/>
                    </a:lnTo>
                    <a:lnTo>
                      <a:pt x="736" y="402"/>
                    </a:lnTo>
                    <a:lnTo>
                      <a:pt x="736" y="402"/>
                    </a:lnTo>
                    <a:lnTo>
                      <a:pt x="733" y="399"/>
                    </a:lnTo>
                    <a:lnTo>
                      <a:pt x="730" y="394"/>
                    </a:lnTo>
                    <a:lnTo>
                      <a:pt x="726" y="383"/>
                    </a:lnTo>
                    <a:lnTo>
                      <a:pt x="726" y="383"/>
                    </a:lnTo>
                    <a:lnTo>
                      <a:pt x="723" y="379"/>
                    </a:lnTo>
                    <a:lnTo>
                      <a:pt x="719" y="377"/>
                    </a:lnTo>
                    <a:lnTo>
                      <a:pt x="715" y="375"/>
                    </a:lnTo>
                    <a:lnTo>
                      <a:pt x="712" y="373"/>
                    </a:lnTo>
                    <a:lnTo>
                      <a:pt x="712" y="373"/>
                    </a:lnTo>
                    <a:lnTo>
                      <a:pt x="710" y="369"/>
                    </a:lnTo>
                    <a:lnTo>
                      <a:pt x="712" y="365"/>
                    </a:lnTo>
                    <a:lnTo>
                      <a:pt x="715" y="360"/>
                    </a:lnTo>
                    <a:lnTo>
                      <a:pt x="719" y="357"/>
                    </a:lnTo>
                    <a:lnTo>
                      <a:pt x="719" y="357"/>
                    </a:lnTo>
                    <a:lnTo>
                      <a:pt x="723" y="355"/>
                    </a:lnTo>
                    <a:lnTo>
                      <a:pt x="725" y="352"/>
                    </a:lnTo>
                    <a:lnTo>
                      <a:pt x="725" y="350"/>
                    </a:lnTo>
                    <a:lnTo>
                      <a:pt x="727" y="349"/>
                    </a:lnTo>
                    <a:lnTo>
                      <a:pt x="727" y="349"/>
                    </a:lnTo>
                    <a:lnTo>
                      <a:pt x="729" y="349"/>
                    </a:lnTo>
                    <a:lnTo>
                      <a:pt x="732" y="349"/>
                    </a:lnTo>
                    <a:lnTo>
                      <a:pt x="733" y="346"/>
                    </a:lnTo>
                    <a:lnTo>
                      <a:pt x="736" y="343"/>
                    </a:lnTo>
                    <a:lnTo>
                      <a:pt x="736" y="343"/>
                    </a:lnTo>
                    <a:lnTo>
                      <a:pt x="737" y="340"/>
                    </a:lnTo>
                    <a:lnTo>
                      <a:pt x="740" y="339"/>
                    </a:lnTo>
                    <a:lnTo>
                      <a:pt x="743" y="339"/>
                    </a:lnTo>
                    <a:lnTo>
                      <a:pt x="746" y="338"/>
                    </a:lnTo>
                    <a:lnTo>
                      <a:pt x="746" y="338"/>
                    </a:lnTo>
                    <a:lnTo>
                      <a:pt x="749" y="336"/>
                    </a:lnTo>
                    <a:lnTo>
                      <a:pt x="754" y="335"/>
                    </a:lnTo>
                    <a:lnTo>
                      <a:pt x="759" y="335"/>
                    </a:lnTo>
                    <a:lnTo>
                      <a:pt x="763" y="333"/>
                    </a:lnTo>
                    <a:lnTo>
                      <a:pt x="763" y="333"/>
                    </a:lnTo>
                    <a:lnTo>
                      <a:pt x="764" y="332"/>
                    </a:lnTo>
                    <a:lnTo>
                      <a:pt x="764" y="329"/>
                    </a:lnTo>
                    <a:lnTo>
                      <a:pt x="763" y="326"/>
                    </a:lnTo>
                    <a:lnTo>
                      <a:pt x="759" y="323"/>
                    </a:lnTo>
                    <a:lnTo>
                      <a:pt x="754" y="322"/>
                    </a:lnTo>
                    <a:lnTo>
                      <a:pt x="754" y="322"/>
                    </a:lnTo>
                    <a:lnTo>
                      <a:pt x="750" y="323"/>
                    </a:lnTo>
                    <a:lnTo>
                      <a:pt x="746" y="322"/>
                    </a:lnTo>
                    <a:lnTo>
                      <a:pt x="742" y="319"/>
                    </a:lnTo>
                    <a:lnTo>
                      <a:pt x="739" y="316"/>
                    </a:lnTo>
                    <a:lnTo>
                      <a:pt x="739" y="316"/>
                    </a:lnTo>
                    <a:lnTo>
                      <a:pt x="737" y="315"/>
                    </a:lnTo>
                    <a:lnTo>
                      <a:pt x="734" y="315"/>
                    </a:lnTo>
                    <a:lnTo>
                      <a:pt x="729" y="319"/>
                    </a:lnTo>
                    <a:lnTo>
                      <a:pt x="723" y="326"/>
                    </a:lnTo>
                    <a:lnTo>
                      <a:pt x="717" y="330"/>
                    </a:lnTo>
                    <a:lnTo>
                      <a:pt x="717" y="330"/>
                    </a:lnTo>
                    <a:lnTo>
                      <a:pt x="715" y="330"/>
                    </a:lnTo>
                    <a:lnTo>
                      <a:pt x="712" y="330"/>
                    </a:lnTo>
                    <a:lnTo>
                      <a:pt x="709" y="328"/>
                    </a:lnTo>
                    <a:lnTo>
                      <a:pt x="706" y="322"/>
                    </a:lnTo>
                    <a:lnTo>
                      <a:pt x="707" y="318"/>
                    </a:lnTo>
                    <a:lnTo>
                      <a:pt x="707" y="318"/>
                    </a:lnTo>
                    <a:lnTo>
                      <a:pt x="707" y="315"/>
                    </a:lnTo>
                    <a:lnTo>
                      <a:pt x="707" y="313"/>
                    </a:lnTo>
                    <a:lnTo>
                      <a:pt x="705" y="312"/>
                    </a:lnTo>
                    <a:lnTo>
                      <a:pt x="697" y="312"/>
                    </a:lnTo>
                    <a:lnTo>
                      <a:pt x="690" y="312"/>
                    </a:lnTo>
                    <a:lnTo>
                      <a:pt x="690" y="312"/>
                    </a:lnTo>
                    <a:lnTo>
                      <a:pt x="688" y="311"/>
                    </a:lnTo>
                    <a:lnTo>
                      <a:pt x="685" y="309"/>
                    </a:lnTo>
                    <a:lnTo>
                      <a:pt x="685" y="306"/>
                    </a:lnTo>
                    <a:lnTo>
                      <a:pt x="685" y="302"/>
                    </a:lnTo>
                    <a:lnTo>
                      <a:pt x="686" y="295"/>
                    </a:lnTo>
                    <a:lnTo>
                      <a:pt x="688" y="293"/>
                    </a:lnTo>
                    <a:lnTo>
                      <a:pt x="690" y="292"/>
                    </a:lnTo>
                    <a:lnTo>
                      <a:pt x="690" y="292"/>
                    </a:lnTo>
                    <a:lnTo>
                      <a:pt x="696" y="292"/>
                    </a:lnTo>
                    <a:lnTo>
                      <a:pt x="702" y="293"/>
                    </a:lnTo>
                    <a:lnTo>
                      <a:pt x="705" y="292"/>
                    </a:lnTo>
                    <a:lnTo>
                      <a:pt x="706" y="292"/>
                    </a:lnTo>
                    <a:lnTo>
                      <a:pt x="709" y="289"/>
                    </a:lnTo>
                    <a:lnTo>
                      <a:pt x="710" y="286"/>
                    </a:lnTo>
                    <a:lnTo>
                      <a:pt x="710" y="286"/>
                    </a:lnTo>
                    <a:lnTo>
                      <a:pt x="712" y="282"/>
                    </a:lnTo>
                    <a:lnTo>
                      <a:pt x="713" y="281"/>
                    </a:lnTo>
                    <a:lnTo>
                      <a:pt x="717" y="279"/>
                    </a:lnTo>
                    <a:lnTo>
                      <a:pt x="723" y="278"/>
                    </a:lnTo>
                    <a:lnTo>
                      <a:pt x="726" y="276"/>
                    </a:lnTo>
                    <a:lnTo>
                      <a:pt x="729" y="272"/>
                    </a:lnTo>
                    <a:lnTo>
                      <a:pt x="729" y="272"/>
                    </a:lnTo>
                    <a:lnTo>
                      <a:pt x="736" y="266"/>
                    </a:lnTo>
                    <a:lnTo>
                      <a:pt x="743" y="261"/>
                    </a:lnTo>
                    <a:lnTo>
                      <a:pt x="747" y="259"/>
                    </a:lnTo>
                    <a:lnTo>
                      <a:pt x="750" y="259"/>
                    </a:lnTo>
                    <a:lnTo>
                      <a:pt x="753" y="261"/>
                    </a:lnTo>
                    <a:lnTo>
                      <a:pt x="756" y="262"/>
                    </a:lnTo>
                    <a:lnTo>
                      <a:pt x="756" y="262"/>
                    </a:lnTo>
                    <a:lnTo>
                      <a:pt x="759" y="265"/>
                    </a:lnTo>
                    <a:lnTo>
                      <a:pt x="759" y="268"/>
                    </a:lnTo>
                    <a:lnTo>
                      <a:pt x="757" y="271"/>
                    </a:lnTo>
                    <a:lnTo>
                      <a:pt x="754" y="274"/>
                    </a:lnTo>
                    <a:lnTo>
                      <a:pt x="749" y="279"/>
                    </a:lnTo>
                    <a:lnTo>
                      <a:pt x="746" y="284"/>
                    </a:lnTo>
                    <a:lnTo>
                      <a:pt x="746" y="284"/>
                    </a:lnTo>
                    <a:lnTo>
                      <a:pt x="744" y="288"/>
                    </a:lnTo>
                    <a:lnTo>
                      <a:pt x="744" y="291"/>
                    </a:lnTo>
                    <a:lnTo>
                      <a:pt x="744" y="293"/>
                    </a:lnTo>
                    <a:lnTo>
                      <a:pt x="743" y="296"/>
                    </a:lnTo>
                    <a:lnTo>
                      <a:pt x="743" y="296"/>
                    </a:lnTo>
                    <a:lnTo>
                      <a:pt x="742" y="299"/>
                    </a:lnTo>
                    <a:lnTo>
                      <a:pt x="743" y="301"/>
                    </a:lnTo>
                    <a:lnTo>
                      <a:pt x="747" y="299"/>
                    </a:lnTo>
                    <a:lnTo>
                      <a:pt x="754" y="296"/>
                    </a:lnTo>
                    <a:lnTo>
                      <a:pt x="754" y="296"/>
                    </a:lnTo>
                    <a:lnTo>
                      <a:pt x="769" y="286"/>
                    </a:lnTo>
                    <a:lnTo>
                      <a:pt x="784" y="279"/>
                    </a:lnTo>
                    <a:lnTo>
                      <a:pt x="784" y="279"/>
                    </a:lnTo>
                    <a:lnTo>
                      <a:pt x="787" y="278"/>
                    </a:lnTo>
                    <a:lnTo>
                      <a:pt x="791" y="278"/>
                    </a:lnTo>
                    <a:lnTo>
                      <a:pt x="791" y="278"/>
                    </a:lnTo>
                    <a:lnTo>
                      <a:pt x="794" y="274"/>
                    </a:lnTo>
                    <a:lnTo>
                      <a:pt x="796" y="271"/>
                    </a:lnTo>
                    <a:lnTo>
                      <a:pt x="796" y="271"/>
                    </a:lnTo>
                    <a:lnTo>
                      <a:pt x="813" y="264"/>
                    </a:lnTo>
                    <a:lnTo>
                      <a:pt x="821" y="259"/>
                    </a:lnTo>
                    <a:lnTo>
                      <a:pt x="826" y="255"/>
                    </a:lnTo>
                    <a:lnTo>
                      <a:pt x="826" y="255"/>
                    </a:lnTo>
                    <a:lnTo>
                      <a:pt x="831" y="248"/>
                    </a:lnTo>
                    <a:lnTo>
                      <a:pt x="834" y="245"/>
                    </a:lnTo>
                    <a:lnTo>
                      <a:pt x="837" y="244"/>
                    </a:lnTo>
                    <a:lnTo>
                      <a:pt x="837" y="244"/>
                    </a:lnTo>
                    <a:lnTo>
                      <a:pt x="838" y="244"/>
                    </a:lnTo>
                    <a:lnTo>
                      <a:pt x="841" y="245"/>
                    </a:lnTo>
                    <a:lnTo>
                      <a:pt x="843" y="247"/>
                    </a:lnTo>
                    <a:lnTo>
                      <a:pt x="847" y="248"/>
                    </a:lnTo>
                    <a:lnTo>
                      <a:pt x="847" y="248"/>
                    </a:lnTo>
                    <a:lnTo>
                      <a:pt x="855" y="248"/>
                    </a:lnTo>
                    <a:lnTo>
                      <a:pt x="858" y="247"/>
                    </a:lnTo>
                    <a:lnTo>
                      <a:pt x="857" y="245"/>
                    </a:lnTo>
                    <a:lnTo>
                      <a:pt x="857" y="245"/>
                    </a:lnTo>
                    <a:lnTo>
                      <a:pt x="855" y="241"/>
                    </a:lnTo>
                    <a:lnTo>
                      <a:pt x="857" y="239"/>
                    </a:lnTo>
                    <a:lnTo>
                      <a:pt x="864" y="238"/>
                    </a:lnTo>
                    <a:lnTo>
                      <a:pt x="864" y="238"/>
                    </a:lnTo>
                    <a:lnTo>
                      <a:pt x="867" y="237"/>
                    </a:lnTo>
                    <a:lnTo>
                      <a:pt x="870" y="234"/>
                    </a:lnTo>
                    <a:lnTo>
                      <a:pt x="871" y="231"/>
                    </a:lnTo>
                    <a:lnTo>
                      <a:pt x="874" y="229"/>
                    </a:lnTo>
                    <a:lnTo>
                      <a:pt x="874" y="229"/>
                    </a:lnTo>
                    <a:lnTo>
                      <a:pt x="877" y="229"/>
                    </a:lnTo>
                    <a:lnTo>
                      <a:pt x="878" y="228"/>
                    </a:lnTo>
                    <a:lnTo>
                      <a:pt x="880" y="224"/>
                    </a:lnTo>
                    <a:lnTo>
                      <a:pt x="881" y="219"/>
                    </a:lnTo>
                    <a:lnTo>
                      <a:pt x="882" y="218"/>
                    </a:lnTo>
                    <a:lnTo>
                      <a:pt x="884" y="218"/>
                    </a:lnTo>
                    <a:lnTo>
                      <a:pt x="884" y="218"/>
                    </a:lnTo>
                    <a:lnTo>
                      <a:pt x="887" y="218"/>
                    </a:lnTo>
                    <a:lnTo>
                      <a:pt x="890" y="221"/>
                    </a:lnTo>
                    <a:lnTo>
                      <a:pt x="894" y="222"/>
                    </a:lnTo>
                    <a:lnTo>
                      <a:pt x="897" y="222"/>
                    </a:lnTo>
                    <a:lnTo>
                      <a:pt x="897" y="222"/>
                    </a:lnTo>
                    <a:lnTo>
                      <a:pt x="902" y="224"/>
                    </a:lnTo>
                    <a:lnTo>
                      <a:pt x="902" y="224"/>
                    </a:lnTo>
                    <a:lnTo>
                      <a:pt x="905" y="221"/>
                    </a:lnTo>
                    <a:lnTo>
                      <a:pt x="905" y="221"/>
                    </a:lnTo>
                    <a:lnTo>
                      <a:pt x="905" y="211"/>
                    </a:lnTo>
                    <a:lnTo>
                      <a:pt x="905" y="205"/>
                    </a:lnTo>
                    <a:lnTo>
                      <a:pt x="905" y="205"/>
                    </a:lnTo>
                    <a:lnTo>
                      <a:pt x="904" y="201"/>
                    </a:lnTo>
                    <a:lnTo>
                      <a:pt x="904" y="198"/>
                    </a:lnTo>
                    <a:lnTo>
                      <a:pt x="904" y="192"/>
                    </a:lnTo>
                    <a:lnTo>
                      <a:pt x="904" y="192"/>
                    </a:lnTo>
                    <a:lnTo>
                      <a:pt x="902" y="185"/>
                    </a:lnTo>
                    <a:lnTo>
                      <a:pt x="904" y="183"/>
                    </a:lnTo>
                    <a:lnTo>
                      <a:pt x="907" y="181"/>
                    </a:lnTo>
                    <a:lnTo>
                      <a:pt x="907" y="181"/>
                    </a:lnTo>
                    <a:lnTo>
                      <a:pt x="909" y="180"/>
                    </a:lnTo>
                    <a:lnTo>
                      <a:pt x="912" y="177"/>
                    </a:lnTo>
                    <a:lnTo>
                      <a:pt x="915" y="174"/>
                    </a:lnTo>
                    <a:lnTo>
                      <a:pt x="918" y="174"/>
                    </a:lnTo>
                    <a:lnTo>
                      <a:pt x="919" y="174"/>
                    </a:lnTo>
                    <a:lnTo>
                      <a:pt x="919" y="174"/>
                    </a:lnTo>
                    <a:lnTo>
                      <a:pt x="924" y="177"/>
                    </a:lnTo>
                    <a:lnTo>
                      <a:pt x="928" y="177"/>
                    </a:lnTo>
                    <a:lnTo>
                      <a:pt x="932" y="177"/>
                    </a:lnTo>
                    <a:lnTo>
                      <a:pt x="934" y="175"/>
                    </a:lnTo>
                    <a:lnTo>
                      <a:pt x="934" y="174"/>
                    </a:lnTo>
                    <a:lnTo>
                      <a:pt x="934" y="174"/>
                    </a:lnTo>
                    <a:lnTo>
                      <a:pt x="935" y="171"/>
                    </a:lnTo>
                    <a:lnTo>
                      <a:pt x="936" y="170"/>
                    </a:lnTo>
                    <a:lnTo>
                      <a:pt x="939" y="167"/>
                    </a:lnTo>
                    <a:lnTo>
                      <a:pt x="941" y="164"/>
                    </a:lnTo>
                    <a:lnTo>
                      <a:pt x="941" y="164"/>
                    </a:lnTo>
                    <a:lnTo>
                      <a:pt x="942" y="160"/>
                    </a:lnTo>
                    <a:lnTo>
                      <a:pt x="945" y="157"/>
                    </a:lnTo>
                    <a:lnTo>
                      <a:pt x="948" y="155"/>
                    </a:lnTo>
                    <a:lnTo>
                      <a:pt x="951" y="151"/>
                    </a:lnTo>
                    <a:lnTo>
                      <a:pt x="951" y="151"/>
                    </a:lnTo>
                    <a:lnTo>
                      <a:pt x="954" y="140"/>
                    </a:lnTo>
                    <a:lnTo>
                      <a:pt x="956" y="134"/>
                    </a:lnTo>
                    <a:lnTo>
                      <a:pt x="959" y="131"/>
                    </a:lnTo>
                    <a:lnTo>
                      <a:pt x="959" y="131"/>
                    </a:lnTo>
                    <a:lnTo>
                      <a:pt x="961" y="128"/>
                    </a:lnTo>
                    <a:lnTo>
                      <a:pt x="961" y="127"/>
                    </a:lnTo>
                    <a:lnTo>
                      <a:pt x="959" y="123"/>
                    </a:lnTo>
                    <a:lnTo>
                      <a:pt x="959" y="118"/>
                    </a:lnTo>
                    <a:lnTo>
                      <a:pt x="959" y="118"/>
                    </a:lnTo>
                    <a:close/>
                    <a:moveTo>
                      <a:pt x="726" y="567"/>
                    </a:moveTo>
                    <a:lnTo>
                      <a:pt x="726" y="567"/>
                    </a:lnTo>
                    <a:lnTo>
                      <a:pt x="725" y="574"/>
                    </a:lnTo>
                    <a:lnTo>
                      <a:pt x="725" y="579"/>
                    </a:lnTo>
                    <a:lnTo>
                      <a:pt x="726" y="584"/>
                    </a:lnTo>
                    <a:lnTo>
                      <a:pt x="727" y="588"/>
                    </a:lnTo>
                    <a:lnTo>
                      <a:pt x="732" y="594"/>
                    </a:lnTo>
                    <a:lnTo>
                      <a:pt x="734" y="595"/>
                    </a:lnTo>
                    <a:lnTo>
                      <a:pt x="734" y="595"/>
                    </a:lnTo>
                    <a:lnTo>
                      <a:pt x="740" y="587"/>
                    </a:lnTo>
                    <a:lnTo>
                      <a:pt x="749" y="571"/>
                    </a:lnTo>
                    <a:lnTo>
                      <a:pt x="754" y="554"/>
                    </a:lnTo>
                    <a:lnTo>
                      <a:pt x="756" y="548"/>
                    </a:lnTo>
                    <a:lnTo>
                      <a:pt x="754" y="545"/>
                    </a:lnTo>
                    <a:lnTo>
                      <a:pt x="754" y="545"/>
                    </a:lnTo>
                    <a:lnTo>
                      <a:pt x="753" y="544"/>
                    </a:lnTo>
                    <a:lnTo>
                      <a:pt x="749" y="542"/>
                    </a:lnTo>
                    <a:lnTo>
                      <a:pt x="744" y="544"/>
                    </a:lnTo>
                    <a:lnTo>
                      <a:pt x="740" y="547"/>
                    </a:lnTo>
                    <a:lnTo>
                      <a:pt x="736" y="550"/>
                    </a:lnTo>
                    <a:lnTo>
                      <a:pt x="732" y="555"/>
                    </a:lnTo>
                    <a:lnTo>
                      <a:pt x="729" y="561"/>
                    </a:lnTo>
                    <a:lnTo>
                      <a:pt x="726" y="567"/>
                    </a:lnTo>
                    <a:lnTo>
                      <a:pt x="726" y="567"/>
                    </a:lnTo>
                    <a:close/>
                    <a:moveTo>
                      <a:pt x="557" y="632"/>
                    </a:moveTo>
                    <a:lnTo>
                      <a:pt x="557" y="632"/>
                    </a:lnTo>
                    <a:lnTo>
                      <a:pt x="551" y="633"/>
                    </a:lnTo>
                    <a:lnTo>
                      <a:pt x="544" y="638"/>
                    </a:lnTo>
                    <a:lnTo>
                      <a:pt x="542" y="641"/>
                    </a:lnTo>
                    <a:lnTo>
                      <a:pt x="540" y="645"/>
                    </a:lnTo>
                    <a:lnTo>
                      <a:pt x="540" y="649"/>
                    </a:lnTo>
                    <a:lnTo>
                      <a:pt x="541" y="653"/>
                    </a:lnTo>
                    <a:lnTo>
                      <a:pt x="541" y="653"/>
                    </a:lnTo>
                    <a:lnTo>
                      <a:pt x="544" y="658"/>
                    </a:lnTo>
                    <a:lnTo>
                      <a:pt x="548" y="659"/>
                    </a:lnTo>
                    <a:lnTo>
                      <a:pt x="552" y="660"/>
                    </a:lnTo>
                    <a:lnTo>
                      <a:pt x="557" y="659"/>
                    </a:lnTo>
                    <a:lnTo>
                      <a:pt x="565" y="656"/>
                    </a:lnTo>
                    <a:lnTo>
                      <a:pt x="567" y="653"/>
                    </a:lnTo>
                    <a:lnTo>
                      <a:pt x="568" y="652"/>
                    </a:lnTo>
                    <a:lnTo>
                      <a:pt x="568" y="652"/>
                    </a:lnTo>
                    <a:lnTo>
                      <a:pt x="569" y="648"/>
                    </a:lnTo>
                    <a:lnTo>
                      <a:pt x="574" y="642"/>
                    </a:lnTo>
                    <a:lnTo>
                      <a:pt x="577" y="636"/>
                    </a:lnTo>
                    <a:lnTo>
                      <a:pt x="577" y="633"/>
                    </a:lnTo>
                    <a:lnTo>
                      <a:pt x="577" y="633"/>
                    </a:lnTo>
                    <a:lnTo>
                      <a:pt x="577" y="632"/>
                    </a:lnTo>
                    <a:lnTo>
                      <a:pt x="574" y="631"/>
                    </a:lnTo>
                    <a:lnTo>
                      <a:pt x="569" y="631"/>
                    </a:lnTo>
                    <a:lnTo>
                      <a:pt x="557" y="632"/>
                    </a:lnTo>
                    <a:lnTo>
                      <a:pt x="557" y="63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501" name="India"/>
              <p:cNvSpPr>
                <a:spLocks/>
              </p:cNvSpPr>
              <p:nvPr/>
            </p:nvSpPr>
            <p:spPr bwMode="auto">
              <a:xfrm>
                <a:off x="5943760" y="3427788"/>
                <a:ext cx="658504" cy="694019"/>
              </a:xfrm>
              <a:custGeom>
                <a:avLst/>
                <a:gdLst/>
                <a:ahLst/>
                <a:cxnLst>
                  <a:cxn ang="0">
                    <a:pos x="321" y="185"/>
                  </a:cxn>
                  <a:cxn ang="0">
                    <a:pos x="313" y="168"/>
                  </a:cxn>
                  <a:cxn ang="0">
                    <a:pos x="337" y="176"/>
                  </a:cxn>
                  <a:cxn ang="0">
                    <a:pos x="374" y="185"/>
                  </a:cxn>
                  <a:cxn ang="0">
                    <a:pos x="360" y="205"/>
                  </a:cxn>
                  <a:cxn ang="0">
                    <a:pos x="367" y="215"/>
                  </a:cxn>
                  <a:cxn ang="0">
                    <a:pos x="381" y="237"/>
                  </a:cxn>
                  <a:cxn ang="0">
                    <a:pos x="388" y="206"/>
                  </a:cxn>
                  <a:cxn ang="0">
                    <a:pos x="405" y="196"/>
                  </a:cxn>
                  <a:cxn ang="0">
                    <a:pos x="412" y="162"/>
                  </a:cxn>
                  <a:cxn ang="0">
                    <a:pos x="438" y="149"/>
                  </a:cxn>
                  <a:cxn ang="0">
                    <a:pos x="441" y="136"/>
                  </a:cxn>
                  <a:cxn ang="0">
                    <a:pos x="435" y="125"/>
                  </a:cxn>
                  <a:cxn ang="0">
                    <a:pos x="418" y="115"/>
                  </a:cxn>
                  <a:cxn ang="0">
                    <a:pos x="388" y="125"/>
                  </a:cxn>
                  <a:cxn ang="0">
                    <a:pos x="367" y="141"/>
                  </a:cxn>
                  <a:cxn ang="0">
                    <a:pos x="353" y="156"/>
                  </a:cxn>
                  <a:cxn ang="0">
                    <a:pos x="328" y="154"/>
                  </a:cxn>
                  <a:cxn ang="0">
                    <a:pos x="320" y="135"/>
                  </a:cxn>
                  <a:cxn ang="0">
                    <a:pos x="311" y="151"/>
                  </a:cxn>
                  <a:cxn ang="0">
                    <a:pos x="277" y="158"/>
                  </a:cxn>
                  <a:cxn ang="0">
                    <a:pos x="243" y="145"/>
                  </a:cxn>
                  <a:cxn ang="0">
                    <a:pos x="213" y="134"/>
                  </a:cxn>
                  <a:cxn ang="0">
                    <a:pos x="193" y="122"/>
                  </a:cxn>
                  <a:cxn ang="0">
                    <a:pos x="199" y="99"/>
                  </a:cxn>
                  <a:cxn ang="0">
                    <a:pos x="183" y="82"/>
                  </a:cxn>
                  <a:cxn ang="0">
                    <a:pos x="166" y="63"/>
                  </a:cxn>
                  <a:cxn ang="0">
                    <a:pos x="176" y="54"/>
                  </a:cxn>
                  <a:cxn ang="0">
                    <a:pos x="171" y="26"/>
                  </a:cxn>
                  <a:cxn ang="0">
                    <a:pos x="158" y="4"/>
                  </a:cxn>
                  <a:cxn ang="0">
                    <a:pos x="134" y="14"/>
                  </a:cxn>
                  <a:cxn ang="0">
                    <a:pos x="95" y="14"/>
                  </a:cxn>
                  <a:cxn ang="0">
                    <a:pos x="97" y="45"/>
                  </a:cxn>
                  <a:cxn ang="0">
                    <a:pos x="112" y="60"/>
                  </a:cxn>
                  <a:cxn ang="0">
                    <a:pos x="101" y="84"/>
                  </a:cxn>
                  <a:cxn ang="0">
                    <a:pos x="88" y="98"/>
                  </a:cxn>
                  <a:cxn ang="0">
                    <a:pos x="64" y="124"/>
                  </a:cxn>
                  <a:cxn ang="0">
                    <a:pos x="45" y="136"/>
                  </a:cxn>
                  <a:cxn ang="0">
                    <a:pos x="25" y="144"/>
                  </a:cxn>
                  <a:cxn ang="0">
                    <a:pos x="30" y="164"/>
                  </a:cxn>
                  <a:cxn ang="0">
                    <a:pos x="42" y="195"/>
                  </a:cxn>
                  <a:cxn ang="0">
                    <a:pos x="15" y="199"/>
                  </a:cxn>
                  <a:cxn ang="0">
                    <a:pos x="14" y="223"/>
                  </a:cxn>
                  <a:cxn ang="0">
                    <a:pos x="31" y="226"/>
                  </a:cxn>
                  <a:cxn ang="0">
                    <a:pos x="40" y="259"/>
                  </a:cxn>
                  <a:cxn ang="0">
                    <a:pos x="61" y="243"/>
                  </a:cxn>
                  <a:cxn ang="0">
                    <a:pos x="70" y="252"/>
                  </a:cxn>
                  <a:cxn ang="0">
                    <a:pos x="72" y="293"/>
                  </a:cxn>
                  <a:cxn ang="0">
                    <a:pos x="99" y="375"/>
                  </a:cxn>
                  <a:cxn ang="0">
                    <a:pos x="126" y="444"/>
                  </a:cxn>
                  <a:cxn ang="0">
                    <a:pos x="156" y="458"/>
                  </a:cxn>
                  <a:cxn ang="0">
                    <a:pos x="175" y="434"/>
                  </a:cxn>
                  <a:cxn ang="0">
                    <a:pos x="186" y="401"/>
                  </a:cxn>
                  <a:cxn ang="0">
                    <a:pos x="190" y="354"/>
                  </a:cxn>
                  <a:cxn ang="0">
                    <a:pos x="212" y="330"/>
                  </a:cxn>
                  <a:cxn ang="0">
                    <a:pos x="263" y="284"/>
                  </a:cxn>
                  <a:cxn ang="0">
                    <a:pos x="291" y="252"/>
                  </a:cxn>
                  <a:cxn ang="0">
                    <a:pos x="324" y="233"/>
                  </a:cxn>
                </a:cxnLst>
                <a:rect l="0" t="0" r="r" b="b"/>
                <a:pathLst>
                  <a:path w="445" h="469">
                    <a:moveTo>
                      <a:pt x="318" y="212"/>
                    </a:moveTo>
                    <a:lnTo>
                      <a:pt x="318" y="212"/>
                    </a:lnTo>
                    <a:lnTo>
                      <a:pt x="316" y="199"/>
                    </a:lnTo>
                    <a:lnTo>
                      <a:pt x="314" y="193"/>
                    </a:lnTo>
                    <a:lnTo>
                      <a:pt x="314" y="188"/>
                    </a:lnTo>
                    <a:lnTo>
                      <a:pt x="314" y="188"/>
                    </a:lnTo>
                    <a:lnTo>
                      <a:pt x="317" y="186"/>
                    </a:lnTo>
                    <a:lnTo>
                      <a:pt x="318" y="185"/>
                    </a:lnTo>
                    <a:lnTo>
                      <a:pt x="321" y="185"/>
                    </a:lnTo>
                    <a:lnTo>
                      <a:pt x="324" y="182"/>
                    </a:lnTo>
                    <a:lnTo>
                      <a:pt x="324" y="182"/>
                    </a:lnTo>
                    <a:lnTo>
                      <a:pt x="323" y="179"/>
                    </a:lnTo>
                    <a:lnTo>
                      <a:pt x="321" y="178"/>
                    </a:lnTo>
                    <a:lnTo>
                      <a:pt x="317" y="175"/>
                    </a:lnTo>
                    <a:lnTo>
                      <a:pt x="313" y="172"/>
                    </a:lnTo>
                    <a:lnTo>
                      <a:pt x="311" y="171"/>
                    </a:lnTo>
                    <a:lnTo>
                      <a:pt x="313" y="168"/>
                    </a:lnTo>
                    <a:lnTo>
                      <a:pt x="313" y="168"/>
                    </a:lnTo>
                    <a:lnTo>
                      <a:pt x="317" y="165"/>
                    </a:lnTo>
                    <a:lnTo>
                      <a:pt x="318" y="165"/>
                    </a:lnTo>
                    <a:lnTo>
                      <a:pt x="321" y="166"/>
                    </a:lnTo>
                    <a:lnTo>
                      <a:pt x="327" y="168"/>
                    </a:lnTo>
                    <a:lnTo>
                      <a:pt x="327" y="168"/>
                    </a:lnTo>
                    <a:lnTo>
                      <a:pt x="331" y="169"/>
                    </a:lnTo>
                    <a:lnTo>
                      <a:pt x="334" y="171"/>
                    </a:lnTo>
                    <a:lnTo>
                      <a:pt x="337" y="173"/>
                    </a:lnTo>
                    <a:lnTo>
                      <a:pt x="337" y="176"/>
                    </a:lnTo>
                    <a:lnTo>
                      <a:pt x="337" y="176"/>
                    </a:lnTo>
                    <a:lnTo>
                      <a:pt x="338" y="179"/>
                    </a:lnTo>
                    <a:lnTo>
                      <a:pt x="341" y="182"/>
                    </a:lnTo>
                    <a:lnTo>
                      <a:pt x="344" y="185"/>
                    </a:lnTo>
                    <a:lnTo>
                      <a:pt x="344" y="185"/>
                    </a:lnTo>
                    <a:lnTo>
                      <a:pt x="363" y="183"/>
                    </a:lnTo>
                    <a:lnTo>
                      <a:pt x="363" y="183"/>
                    </a:lnTo>
                    <a:lnTo>
                      <a:pt x="371" y="183"/>
                    </a:lnTo>
                    <a:lnTo>
                      <a:pt x="374" y="185"/>
                    </a:lnTo>
                    <a:lnTo>
                      <a:pt x="374" y="188"/>
                    </a:lnTo>
                    <a:lnTo>
                      <a:pt x="374" y="188"/>
                    </a:lnTo>
                    <a:lnTo>
                      <a:pt x="374" y="192"/>
                    </a:lnTo>
                    <a:lnTo>
                      <a:pt x="370" y="196"/>
                    </a:lnTo>
                    <a:lnTo>
                      <a:pt x="367" y="202"/>
                    </a:lnTo>
                    <a:lnTo>
                      <a:pt x="364" y="203"/>
                    </a:lnTo>
                    <a:lnTo>
                      <a:pt x="363" y="203"/>
                    </a:lnTo>
                    <a:lnTo>
                      <a:pt x="363" y="203"/>
                    </a:lnTo>
                    <a:lnTo>
                      <a:pt x="360" y="205"/>
                    </a:lnTo>
                    <a:lnTo>
                      <a:pt x="358" y="206"/>
                    </a:lnTo>
                    <a:lnTo>
                      <a:pt x="357" y="212"/>
                    </a:lnTo>
                    <a:lnTo>
                      <a:pt x="358" y="218"/>
                    </a:lnTo>
                    <a:lnTo>
                      <a:pt x="360" y="220"/>
                    </a:lnTo>
                    <a:lnTo>
                      <a:pt x="361" y="220"/>
                    </a:lnTo>
                    <a:lnTo>
                      <a:pt x="361" y="220"/>
                    </a:lnTo>
                    <a:lnTo>
                      <a:pt x="363" y="220"/>
                    </a:lnTo>
                    <a:lnTo>
                      <a:pt x="364" y="219"/>
                    </a:lnTo>
                    <a:lnTo>
                      <a:pt x="367" y="215"/>
                    </a:lnTo>
                    <a:lnTo>
                      <a:pt x="370" y="210"/>
                    </a:lnTo>
                    <a:lnTo>
                      <a:pt x="373" y="208"/>
                    </a:lnTo>
                    <a:lnTo>
                      <a:pt x="373" y="208"/>
                    </a:lnTo>
                    <a:lnTo>
                      <a:pt x="374" y="210"/>
                    </a:lnTo>
                    <a:lnTo>
                      <a:pt x="375" y="218"/>
                    </a:lnTo>
                    <a:lnTo>
                      <a:pt x="380" y="239"/>
                    </a:lnTo>
                    <a:lnTo>
                      <a:pt x="380" y="239"/>
                    </a:lnTo>
                    <a:lnTo>
                      <a:pt x="381" y="237"/>
                    </a:lnTo>
                    <a:lnTo>
                      <a:pt x="381" y="237"/>
                    </a:lnTo>
                    <a:lnTo>
                      <a:pt x="382" y="237"/>
                    </a:lnTo>
                    <a:lnTo>
                      <a:pt x="384" y="236"/>
                    </a:lnTo>
                    <a:lnTo>
                      <a:pt x="384" y="230"/>
                    </a:lnTo>
                    <a:lnTo>
                      <a:pt x="384" y="225"/>
                    </a:lnTo>
                    <a:lnTo>
                      <a:pt x="385" y="220"/>
                    </a:lnTo>
                    <a:lnTo>
                      <a:pt x="385" y="220"/>
                    </a:lnTo>
                    <a:lnTo>
                      <a:pt x="387" y="216"/>
                    </a:lnTo>
                    <a:lnTo>
                      <a:pt x="388" y="212"/>
                    </a:lnTo>
                    <a:lnTo>
                      <a:pt x="388" y="206"/>
                    </a:lnTo>
                    <a:lnTo>
                      <a:pt x="390" y="205"/>
                    </a:lnTo>
                    <a:lnTo>
                      <a:pt x="390" y="205"/>
                    </a:lnTo>
                    <a:lnTo>
                      <a:pt x="397" y="206"/>
                    </a:lnTo>
                    <a:lnTo>
                      <a:pt x="400" y="206"/>
                    </a:lnTo>
                    <a:lnTo>
                      <a:pt x="401" y="206"/>
                    </a:lnTo>
                    <a:lnTo>
                      <a:pt x="401" y="205"/>
                    </a:lnTo>
                    <a:lnTo>
                      <a:pt x="401" y="205"/>
                    </a:lnTo>
                    <a:lnTo>
                      <a:pt x="402" y="202"/>
                    </a:lnTo>
                    <a:lnTo>
                      <a:pt x="405" y="196"/>
                    </a:lnTo>
                    <a:lnTo>
                      <a:pt x="407" y="191"/>
                    </a:lnTo>
                    <a:lnTo>
                      <a:pt x="407" y="186"/>
                    </a:lnTo>
                    <a:lnTo>
                      <a:pt x="407" y="186"/>
                    </a:lnTo>
                    <a:lnTo>
                      <a:pt x="408" y="182"/>
                    </a:lnTo>
                    <a:lnTo>
                      <a:pt x="410" y="176"/>
                    </a:lnTo>
                    <a:lnTo>
                      <a:pt x="411" y="172"/>
                    </a:lnTo>
                    <a:lnTo>
                      <a:pt x="412" y="166"/>
                    </a:lnTo>
                    <a:lnTo>
                      <a:pt x="412" y="166"/>
                    </a:lnTo>
                    <a:lnTo>
                      <a:pt x="412" y="162"/>
                    </a:lnTo>
                    <a:lnTo>
                      <a:pt x="415" y="159"/>
                    </a:lnTo>
                    <a:lnTo>
                      <a:pt x="422" y="154"/>
                    </a:lnTo>
                    <a:lnTo>
                      <a:pt x="422" y="154"/>
                    </a:lnTo>
                    <a:lnTo>
                      <a:pt x="431" y="148"/>
                    </a:lnTo>
                    <a:lnTo>
                      <a:pt x="434" y="146"/>
                    </a:lnTo>
                    <a:lnTo>
                      <a:pt x="435" y="146"/>
                    </a:lnTo>
                    <a:lnTo>
                      <a:pt x="435" y="148"/>
                    </a:lnTo>
                    <a:lnTo>
                      <a:pt x="435" y="148"/>
                    </a:lnTo>
                    <a:lnTo>
                      <a:pt x="438" y="149"/>
                    </a:lnTo>
                    <a:lnTo>
                      <a:pt x="441" y="151"/>
                    </a:lnTo>
                    <a:lnTo>
                      <a:pt x="444" y="151"/>
                    </a:lnTo>
                    <a:lnTo>
                      <a:pt x="444" y="149"/>
                    </a:lnTo>
                    <a:lnTo>
                      <a:pt x="442" y="148"/>
                    </a:lnTo>
                    <a:lnTo>
                      <a:pt x="442" y="148"/>
                    </a:lnTo>
                    <a:lnTo>
                      <a:pt x="441" y="144"/>
                    </a:lnTo>
                    <a:lnTo>
                      <a:pt x="439" y="141"/>
                    </a:lnTo>
                    <a:lnTo>
                      <a:pt x="439" y="138"/>
                    </a:lnTo>
                    <a:lnTo>
                      <a:pt x="441" y="136"/>
                    </a:lnTo>
                    <a:lnTo>
                      <a:pt x="441" y="136"/>
                    </a:lnTo>
                    <a:lnTo>
                      <a:pt x="444" y="135"/>
                    </a:lnTo>
                    <a:lnTo>
                      <a:pt x="444" y="132"/>
                    </a:lnTo>
                    <a:lnTo>
                      <a:pt x="445" y="129"/>
                    </a:lnTo>
                    <a:lnTo>
                      <a:pt x="445" y="129"/>
                    </a:lnTo>
                    <a:lnTo>
                      <a:pt x="441" y="128"/>
                    </a:lnTo>
                    <a:lnTo>
                      <a:pt x="438" y="127"/>
                    </a:lnTo>
                    <a:lnTo>
                      <a:pt x="435" y="125"/>
                    </a:lnTo>
                    <a:lnTo>
                      <a:pt x="435" y="125"/>
                    </a:lnTo>
                    <a:lnTo>
                      <a:pt x="432" y="119"/>
                    </a:lnTo>
                    <a:lnTo>
                      <a:pt x="431" y="117"/>
                    </a:lnTo>
                    <a:lnTo>
                      <a:pt x="429" y="114"/>
                    </a:lnTo>
                    <a:lnTo>
                      <a:pt x="429" y="114"/>
                    </a:lnTo>
                    <a:lnTo>
                      <a:pt x="428" y="112"/>
                    </a:lnTo>
                    <a:lnTo>
                      <a:pt x="427" y="112"/>
                    </a:lnTo>
                    <a:lnTo>
                      <a:pt x="421" y="115"/>
                    </a:lnTo>
                    <a:lnTo>
                      <a:pt x="421" y="115"/>
                    </a:lnTo>
                    <a:lnTo>
                      <a:pt x="418" y="115"/>
                    </a:lnTo>
                    <a:lnTo>
                      <a:pt x="414" y="115"/>
                    </a:lnTo>
                    <a:lnTo>
                      <a:pt x="408" y="114"/>
                    </a:lnTo>
                    <a:lnTo>
                      <a:pt x="402" y="115"/>
                    </a:lnTo>
                    <a:lnTo>
                      <a:pt x="402" y="115"/>
                    </a:lnTo>
                    <a:lnTo>
                      <a:pt x="397" y="119"/>
                    </a:lnTo>
                    <a:lnTo>
                      <a:pt x="394" y="122"/>
                    </a:lnTo>
                    <a:lnTo>
                      <a:pt x="391" y="124"/>
                    </a:lnTo>
                    <a:lnTo>
                      <a:pt x="388" y="125"/>
                    </a:lnTo>
                    <a:lnTo>
                      <a:pt x="388" y="125"/>
                    </a:lnTo>
                    <a:lnTo>
                      <a:pt x="387" y="125"/>
                    </a:lnTo>
                    <a:lnTo>
                      <a:pt x="385" y="127"/>
                    </a:lnTo>
                    <a:lnTo>
                      <a:pt x="382" y="131"/>
                    </a:lnTo>
                    <a:lnTo>
                      <a:pt x="382" y="131"/>
                    </a:lnTo>
                    <a:lnTo>
                      <a:pt x="378" y="135"/>
                    </a:lnTo>
                    <a:lnTo>
                      <a:pt x="374" y="138"/>
                    </a:lnTo>
                    <a:lnTo>
                      <a:pt x="374" y="138"/>
                    </a:lnTo>
                    <a:lnTo>
                      <a:pt x="370" y="139"/>
                    </a:lnTo>
                    <a:lnTo>
                      <a:pt x="367" y="141"/>
                    </a:lnTo>
                    <a:lnTo>
                      <a:pt x="367" y="141"/>
                    </a:lnTo>
                    <a:lnTo>
                      <a:pt x="368" y="146"/>
                    </a:lnTo>
                    <a:lnTo>
                      <a:pt x="368" y="151"/>
                    </a:lnTo>
                    <a:lnTo>
                      <a:pt x="368" y="155"/>
                    </a:lnTo>
                    <a:lnTo>
                      <a:pt x="368" y="155"/>
                    </a:lnTo>
                    <a:lnTo>
                      <a:pt x="365" y="156"/>
                    </a:lnTo>
                    <a:lnTo>
                      <a:pt x="361" y="156"/>
                    </a:lnTo>
                    <a:lnTo>
                      <a:pt x="357" y="156"/>
                    </a:lnTo>
                    <a:lnTo>
                      <a:pt x="353" y="156"/>
                    </a:lnTo>
                    <a:lnTo>
                      <a:pt x="353" y="156"/>
                    </a:lnTo>
                    <a:lnTo>
                      <a:pt x="347" y="158"/>
                    </a:lnTo>
                    <a:lnTo>
                      <a:pt x="344" y="156"/>
                    </a:lnTo>
                    <a:lnTo>
                      <a:pt x="341" y="155"/>
                    </a:lnTo>
                    <a:lnTo>
                      <a:pt x="337" y="155"/>
                    </a:lnTo>
                    <a:lnTo>
                      <a:pt x="337" y="155"/>
                    </a:lnTo>
                    <a:lnTo>
                      <a:pt x="334" y="155"/>
                    </a:lnTo>
                    <a:lnTo>
                      <a:pt x="331" y="155"/>
                    </a:lnTo>
                    <a:lnTo>
                      <a:pt x="328" y="154"/>
                    </a:lnTo>
                    <a:lnTo>
                      <a:pt x="326" y="154"/>
                    </a:lnTo>
                    <a:lnTo>
                      <a:pt x="326" y="154"/>
                    </a:lnTo>
                    <a:lnTo>
                      <a:pt x="324" y="152"/>
                    </a:lnTo>
                    <a:lnTo>
                      <a:pt x="323" y="149"/>
                    </a:lnTo>
                    <a:lnTo>
                      <a:pt x="321" y="146"/>
                    </a:lnTo>
                    <a:lnTo>
                      <a:pt x="321" y="142"/>
                    </a:lnTo>
                    <a:lnTo>
                      <a:pt x="321" y="142"/>
                    </a:lnTo>
                    <a:lnTo>
                      <a:pt x="321" y="138"/>
                    </a:lnTo>
                    <a:lnTo>
                      <a:pt x="320" y="135"/>
                    </a:lnTo>
                    <a:lnTo>
                      <a:pt x="318" y="132"/>
                    </a:lnTo>
                    <a:lnTo>
                      <a:pt x="316" y="134"/>
                    </a:lnTo>
                    <a:lnTo>
                      <a:pt x="316" y="134"/>
                    </a:lnTo>
                    <a:lnTo>
                      <a:pt x="314" y="136"/>
                    </a:lnTo>
                    <a:lnTo>
                      <a:pt x="311" y="136"/>
                    </a:lnTo>
                    <a:lnTo>
                      <a:pt x="310" y="138"/>
                    </a:lnTo>
                    <a:lnTo>
                      <a:pt x="310" y="142"/>
                    </a:lnTo>
                    <a:lnTo>
                      <a:pt x="310" y="142"/>
                    </a:lnTo>
                    <a:lnTo>
                      <a:pt x="311" y="151"/>
                    </a:lnTo>
                    <a:lnTo>
                      <a:pt x="311" y="155"/>
                    </a:lnTo>
                    <a:lnTo>
                      <a:pt x="309" y="158"/>
                    </a:lnTo>
                    <a:lnTo>
                      <a:pt x="309" y="158"/>
                    </a:lnTo>
                    <a:lnTo>
                      <a:pt x="304" y="161"/>
                    </a:lnTo>
                    <a:lnTo>
                      <a:pt x="296" y="162"/>
                    </a:lnTo>
                    <a:lnTo>
                      <a:pt x="287" y="162"/>
                    </a:lnTo>
                    <a:lnTo>
                      <a:pt x="281" y="161"/>
                    </a:lnTo>
                    <a:lnTo>
                      <a:pt x="281" y="161"/>
                    </a:lnTo>
                    <a:lnTo>
                      <a:pt x="277" y="158"/>
                    </a:lnTo>
                    <a:lnTo>
                      <a:pt x="270" y="156"/>
                    </a:lnTo>
                    <a:lnTo>
                      <a:pt x="263" y="155"/>
                    </a:lnTo>
                    <a:lnTo>
                      <a:pt x="260" y="152"/>
                    </a:lnTo>
                    <a:lnTo>
                      <a:pt x="260" y="152"/>
                    </a:lnTo>
                    <a:lnTo>
                      <a:pt x="257" y="146"/>
                    </a:lnTo>
                    <a:lnTo>
                      <a:pt x="254" y="145"/>
                    </a:lnTo>
                    <a:lnTo>
                      <a:pt x="252" y="144"/>
                    </a:lnTo>
                    <a:lnTo>
                      <a:pt x="252" y="144"/>
                    </a:lnTo>
                    <a:lnTo>
                      <a:pt x="243" y="145"/>
                    </a:lnTo>
                    <a:lnTo>
                      <a:pt x="239" y="146"/>
                    </a:lnTo>
                    <a:lnTo>
                      <a:pt x="236" y="146"/>
                    </a:lnTo>
                    <a:lnTo>
                      <a:pt x="236" y="146"/>
                    </a:lnTo>
                    <a:lnTo>
                      <a:pt x="230" y="142"/>
                    </a:lnTo>
                    <a:lnTo>
                      <a:pt x="226" y="139"/>
                    </a:lnTo>
                    <a:lnTo>
                      <a:pt x="223" y="138"/>
                    </a:lnTo>
                    <a:lnTo>
                      <a:pt x="223" y="138"/>
                    </a:lnTo>
                    <a:lnTo>
                      <a:pt x="216" y="136"/>
                    </a:lnTo>
                    <a:lnTo>
                      <a:pt x="213" y="134"/>
                    </a:lnTo>
                    <a:lnTo>
                      <a:pt x="210" y="132"/>
                    </a:lnTo>
                    <a:lnTo>
                      <a:pt x="210" y="132"/>
                    </a:lnTo>
                    <a:lnTo>
                      <a:pt x="209" y="131"/>
                    </a:lnTo>
                    <a:lnTo>
                      <a:pt x="205" y="129"/>
                    </a:lnTo>
                    <a:lnTo>
                      <a:pt x="200" y="128"/>
                    </a:lnTo>
                    <a:lnTo>
                      <a:pt x="199" y="125"/>
                    </a:lnTo>
                    <a:lnTo>
                      <a:pt x="199" y="125"/>
                    </a:lnTo>
                    <a:lnTo>
                      <a:pt x="196" y="124"/>
                    </a:lnTo>
                    <a:lnTo>
                      <a:pt x="193" y="122"/>
                    </a:lnTo>
                    <a:lnTo>
                      <a:pt x="190" y="121"/>
                    </a:lnTo>
                    <a:lnTo>
                      <a:pt x="190" y="119"/>
                    </a:lnTo>
                    <a:lnTo>
                      <a:pt x="190" y="119"/>
                    </a:lnTo>
                    <a:lnTo>
                      <a:pt x="192" y="114"/>
                    </a:lnTo>
                    <a:lnTo>
                      <a:pt x="193" y="107"/>
                    </a:lnTo>
                    <a:lnTo>
                      <a:pt x="193" y="107"/>
                    </a:lnTo>
                    <a:lnTo>
                      <a:pt x="193" y="105"/>
                    </a:lnTo>
                    <a:lnTo>
                      <a:pt x="196" y="102"/>
                    </a:lnTo>
                    <a:lnTo>
                      <a:pt x="199" y="99"/>
                    </a:lnTo>
                    <a:lnTo>
                      <a:pt x="200" y="97"/>
                    </a:lnTo>
                    <a:lnTo>
                      <a:pt x="200" y="97"/>
                    </a:lnTo>
                    <a:lnTo>
                      <a:pt x="199" y="95"/>
                    </a:lnTo>
                    <a:lnTo>
                      <a:pt x="196" y="92"/>
                    </a:lnTo>
                    <a:lnTo>
                      <a:pt x="193" y="90"/>
                    </a:lnTo>
                    <a:lnTo>
                      <a:pt x="193" y="90"/>
                    </a:lnTo>
                    <a:lnTo>
                      <a:pt x="190" y="87"/>
                    </a:lnTo>
                    <a:lnTo>
                      <a:pt x="188" y="84"/>
                    </a:lnTo>
                    <a:lnTo>
                      <a:pt x="183" y="82"/>
                    </a:lnTo>
                    <a:lnTo>
                      <a:pt x="183" y="82"/>
                    </a:lnTo>
                    <a:lnTo>
                      <a:pt x="180" y="81"/>
                    </a:lnTo>
                    <a:lnTo>
                      <a:pt x="176" y="78"/>
                    </a:lnTo>
                    <a:lnTo>
                      <a:pt x="173" y="74"/>
                    </a:lnTo>
                    <a:lnTo>
                      <a:pt x="171" y="72"/>
                    </a:lnTo>
                    <a:lnTo>
                      <a:pt x="171" y="72"/>
                    </a:lnTo>
                    <a:lnTo>
                      <a:pt x="168" y="71"/>
                    </a:lnTo>
                    <a:lnTo>
                      <a:pt x="166" y="67"/>
                    </a:lnTo>
                    <a:lnTo>
                      <a:pt x="166" y="63"/>
                    </a:lnTo>
                    <a:lnTo>
                      <a:pt x="165" y="60"/>
                    </a:lnTo>
                    <a:lnTo>
                      <a:pt x="165" y="60"/>
                    </a:lnTo>
                    <a:lnTo>
                      <a:pt x="163" y="57"/>
                    </a:lnTo>
                    <a:lnTo>
                      <a:pt x="163" y="54"/>
                    </a:lnTo>
                    <a:lnTo>
                      <a:pt x="166" y="53"/>
                    </a:lnTo>
                    <a:lnTo>
                      <a:pt x="169" y="53"/>
                    </a:lnTo>
                    <a:lnTo>
                      <a:pt x="169" y="53"/>
                    </a:lnTo>
                    <a:lnTo>
                      <a:pt x="172" y="54"/>
                    </a:lnTo>
                    <a:lnTo>
                      <a:pt x="176" y="54"/>
                    </a:lnTo>
                    <a:lnTo>
                      <a:pt x="179" y="51"/>
                    </a:lnTo>
                    <a:lnTo>
                      <a:pt x="179" y="50"/>
                    </a:lnTo>
                    <a:lnTo>
                      <a:pt x="178" y="47"/>
                    </a:lnTo>
                    <a:lnTo>
                      <a:pt x="178" y="47"/>
                    </a:lnTo>
                    <a:lnTo>
                      <a:pt x="172" y="40"/>
                    </a:lnTo>
                    <a:lnTo>
                      <a:pt x="171" y="35"/>
                    </a:lnTo>
                    <a:lnTo>
                      <a:pt x="169" y="33"/>
                    </a:lnTo>
                    <a:lnTo>
                      <a:pt x="169" y="33"/>
                    </a:lnTo>
                    <a:lnTo>
                      <a:pt x="171" y="26"/>
                    </a:lnTo>
                    <a:lnTo>
                      <a:pt x="171" y="21"/>
                    </a:lnTo>
                    <a:lnTo>
                      <a:pt x="171" y="20"/>
                    </a:lnTo>
                    <a:lnTo>
                      <a:pt x="169" y="18"/>
                    </a:lnTo>
                    <a:lnTo>
                      <a:pt x="169" y="18"/>
                    </a:lnTo>
                    <a:lnTo>
                      <a:pt x="162" y="13"/>
                    </a:lnTo>
                    <a:lnTo>
                      <a:pt x="161" y="10"/>
                    </a:lnTo>
                    <a:lnTo>
                      <a:pt x="159" y="7"/>
                    </a:lnTo>
                    <a:lnTo>
                      <a:pt x="159" y="7"/>
                    </a:lnTo>
                    <a:lnTo>
                      <a:pt x="158" y="4"/>
                    </a:lnTo>
                    <a:lnTo>
                      <a:pt x="155" y="1"/>
                    </a:lnTo>
                    <a:lnTo>
                      <a:pt x="153" y="0"/>
                    </a:lnTo>
                    <a:lnTo>
                      <a:pt x="146" y="0"/>
                    </a:lnTo>
                    <a:lnTo>
                      <a:pt x="146" y="0"/>
                    </a:lnTo>
                    <a:lnTo>
                      <a:pt x="145" y="6"/>
                    </a:lnTo>
                    <a:lnTo>
                      <a:pt x="142" y="10"/>
                    </a:lnTo>
                    <a:lnTo>
                      <a:pt x="141" y="11"/>
                    </a:lnTo>
                    <a:lnTo>
                      <a:pt x="141" y="11"/>
                    </a:lnTo>
                    <a:lnTo>
                      <a:pt x="134" y="14"/>
                    </a:lnTo>
                    <a:lnTo>
                      <a:pt x="124" y="18"/>
                    </a:lnTo>
                    <a:lnTo>
                      <a:pt x="124" y="18"/>
                    </a:lnTo>
                    <a:lnTo>
                      <a:pt x="122" y="18"/>
                    </a:lnTo>
                    <a:lnTo>
                      <a:pt x="119" y="18"/>
                    </a:lnTo>
                    <a:lnTo>
                      <a:pt x="114" y="17"/>
                    </a:lnTo>
                    <a:lnTo>
                      <a:pt x="106" y="14"/>
                    </a:lnTo>
                    <a:lnTo>
                      <a:pt x="101" y="14"/>
                    </a:lnTo>
                    <a:lnTo>
                      <a:pt x="101" y="14"/>
                    </a:lnTo>
                    <a:lnTo>
                      <a:pt x="95" y="14"/>
                    </a:lnTo>
                    <a:lnTo>
                      <a:pt x="92" y="17"/>
                    </a:lnTo>
                    <a:lnTo>
                      <a:pt x="91" y="20"/>
                    </a:lnTo>
                    <a:lnTo>
                      <a:pt x="92" y="23"/>
                    </a:lnTo>
                    <a:lnTo>
                      <a:pt x="92" y="23"/>
                    </a:lnTo>
                    <a:lnTo>
                      <a:pt x="94" y="26"/>
                    </a:lnTo>
                    <a:lnTo>
                      <a:pt x="95" y="31"/>
                    </a:lnTo>
                    <a:lnTo>
                      <a:pt x="95" y="38"/>
                    </a:lnTo>
                    <a:lnTo>
                      <a:pt x="95" y="38"/>
                    </a:lnTo>
                    <a:lnTo>
                      <a:pt x="97" y="45"/>
                    </a:lnTo>
                    <a:lnTo>
                      <a:pt x="101" y="51"/>
                    </a:lnTo>
                    <a:lnTo>
                      <a:pt x="102" y="53"/>
                    </a:lnTo>
                    <a:lnTo>
                      <a:pt x="104" y="53"/>
                    </a:lnTo>
                    <a:lnTo>
                      <a:pt x="104" y="53"/>
                    </a:lnTo>
                    <a:lnTo>
                      <a:pt x="108" y="53"/>
                    </a:lnTo>
                    <a:lnTo>
                      <a:pt x="112" y="55"/>
                    </a:lnTo>
                    <a:lnTo>
                      <a:pt x="114" y="58"/>
                    </a:lnTo>
                    <a:lnTo>
                      <a:pt x="114" y="60"/>
                    </a:lnTo>
                    <a:lnTo>
                      <a:pt x="112" y="60"/>
                    </a:lnTo>
                    <a:lnTo>
                      <a:pt x="112" y="60"/>
                    </a:lnTo>
                    <a:lnTo>
                      <a:pt x="108" y="61"/>
                    </a:lnTo>
                    <a:lnTo>
                      <a:pt x="106" y="64"/>
                    </a:lnTo>
                    <a:lnTo>
                      <a:pt x="104" y="68"/>
                    </a:lnTo>
                    <a:lnTo>
                      <a:pt x="104" y="72"/>
                    </a:lnTo>
                    <a:lnTo>
                      <a:pt x="104" y="72"/>
                    </a:lnTo>
                    <a:lnTo>
                      <a:pt x="104" y="80"/>
                    </a:lnTo>
                    <a:lnTo>
                      <a:pt x="102" y="82"/>
                    </a:lnTo>
                    <a:lnTo>
                      <a:pt x="101" y="84"/>
                    </a:lnTo>
                    <a:lnTo>
                      <a:pt x="101" y="84"/>
                    </a:lnTo>
                    <a:lnTo>
                      <a:pt x="98" y="84"/>
                    </a:lnTo>
                    <a:lnTo>
                      <a:pt x="95" y="85"/>
                    </a:lnTo>
                    <a:lnTo>
                      <a:pt x="94" y="88"/>
                    </a:lnTo>
                    <a:lnTo>
                      <a:pt x="92" y="92"/>
                    </a:lnTo>
                    <a:lnTo>
                      <a:pt x="92" y="92"/>
                    </a:lnTo>
                    <a:lnTo>
                      <a:pt x="92" y="95"/>
                    </a:lnTo>
                    <a:lnTo>
                      <a:pt x="91" y="97"/>
                    </a:lnTo>
                    <a:lnTo>
                      <a:pt x="88" y="98"/>
                    </a:lnTo>
                    <a:lnTo>
                      <a:pt x="85" y="99"/>
                    </a:lnTo>
                    <a:lnTo>
                      <a:pt x="84" y="101"/>
                    </a:lnTo>
                    <a:lnTo>
                      <a:pt x="84" y="101"/>
                    </a:lnTo>
                    <a:lnTo>
                      <a:pt x="81" y="109"/>
                    </a:lnTo>
                    <a:lnTo>
                      <a:pt x="77" y="118"/>
                    </a:lnTo>
                    <a:lnTo>
                      <a:pt x="77" y="118"/>
                    </a:lnTo>
                    <a:lnTo>
                      <a:pt x="70" y="121"/>
                    </a:lnTo>
                    <a:lnTo>
                      <a:pt x="65" y="122"/>
                    </a:lnTo>
                    <a:lnTo>
                      <a:pt x="64" y="124"/>
                    </a:lnTo>
                    <a:lnTo>
                      <a:pt x="64" y="125"/>
                    </a:lnTo>
                    <a:lnTo>
                      <a:pt x="64" y="125"/>
                    </a:lnTo>
                    <a:lnTo>
                      <a:pt x="62" y="129"/>
                    </a:lnTo>
                    <a:lnTo>
                      <a:pt x="60" y="134"/>
                    </a:lnTo>
                    <a:lnTo>
                      <a:pt x="57" y="136"/>
                    </a:lnTo>
                    <a:lnTo>
                      <a:pt x="55" y="138"/>
                    </a:lnTo>
                    <a:lnTo>
                      <a:pt x="55" y="138"/>
                    </a:lnTo>
                    <a:lnTo>
                      <a:pt x="48" y="136"/>
                    </a:lnTo>
                    <a:lnTo>
                      <a:pt x="45" y="136"/>
                    </a:lnTo>
                    <a:lnTo>
                      <a:pt x="44" y="138"/>
                    </a:lnTo>
                    <a:lnTo>
                      <a:pt x="44" y="138"/>
                    </a:lnTo>
                    <a:lnTo>
                      <a:pt x="42" y="139"/>
                    </a:lnTo>
                    <a:lnTo>
                      <a:pt x="41" y="139"/>
                    </a:lnTo>
                    <a:lnTo>
                      <a:pt x="38" y="138"/>
                    </a:lnTo>
                    <a:lnTo>
                      <a:pt x="34" y="136"/>
                    </a:lnTo>
                    <a:lnTo>
                      <a:pt x="33" y="136"/>
                    </a:lnTo>
                    <a:lnTo>
                      <a:pt x="33" y="136"/>
                    </a:lnTo>
                    <a:lnTo>
                      <a:pt x="25" y="144"/>
                    </a:lnTo>
                    <a:lnTo>
                      <a:pt x="21" y="148"/>
                    </a:lnTo>
                    <a:lnTo>
                      <a:pt x="20" y="152"/>
                    </a:lnTo>
                    <a:lnTo>
                      <a:pt x="20" y="152"/>
                    </a:lnTo>
                    <a:lnTo>
                      <a:pt x="20" y="154"/>
                    </a:lnTo>
                    <a:lnTo>
                      <a:pt x="21" y="155"/>
                    </a:lnTo>
                    <a:lnTo>
                      <a:pt x="25" y="158"/>
                    </a:lnTo>
                    <a:lnTo>
                      <a:pt x="28" y="159"/>
                    </a:lnTo>
                    <a:lnTo>
                      <a:pt x="30" y="162"/>
                    </a:lnTo>
                    <a:lnTo>
                      <a:pt x="30" y="164"/>
                    </a:lnTo>
                    <a:lnTo>
                      <a:pt x="30" y="164"/>
                    </a:lnTo>
                    <a:lnTo>
                      <a:pt x="30" y="168"/>
                    </a:lnTo>
                    <a:lnTo>
                      <a:pt x="33" y="173"/>
                    </a:lnTo>
                    <a:lnTo>
                      <a:pt x="37" y="181"/>
                    </a:lnTo>
                    <a:lnTo>
                      <a:pt x="37" y="181"/>
                    </a:lnTo>
                    <a:lnTo>
                      <a:pt x="42" y="188"/>
                    </a:lnTo>
                    <a:lnTo>
                      <a:pt x="44" y="192"/>
                    </a:lnTo>
                    <a:lnTo>
                      <a:pt x="42" y="195"/>
                    </a:lnTo>
                    <a:lnTo>
                      <a:pt x="42" y="195"/>
                    </a:lnTo>
                    <a:lnTo>
                      <a:pt x="41" y="198"/>
                    </a:lnTo>
                    <a:lnTo>
                      <a:pt x="38" y="198"/>
                    </a:lnTo>
                    <a:lnTo>
                      <a:pt x="31" y="198"/>
                    </a:lnTo>
                    <a:lnTo>
                      <a:pt x="31" y="198"/>
                    </a:lnTo>
                    <a:lnTo>
                      <a:pt x="27" y="198"/>
                    </a:lnTo>
                    <a:lnTo>
                      <a:pt x="24" y="199"/>
                    </a:lnTo>
                    <a:lnTo>
                      <a:pt x="21" y="199"/>
                    </a:lnTo>
                    <a:lnTo>
                      <a:pt x="15" y="199"/>
                    </a:lnTo>
                    <a:lnTo>
                      <a:pt x="15" y="199"/>
                    </a:lnTo>
                    <a:lnTo>
                      <a:pt x="10" y="199"/>
                    </a:lnTo>
                    <a:lnTo>
                      <a:pt x="5" y="200"/>
                    </a:lnTo>
                    <a:lnTo>
                      <a:pt x="1" y="209"/>
                    </a:lnTo>
                    <a:lnTo>
                      <a:pt x="1" y="209"/>
                    </a:lnTo>
                    <a:lnTo>
                      <a:pt x="0" y="210"/>
                    </a:lnTo>
                    <a:lnTo>
                      <a:pt x="0" y="210"/>
                    </a:lnTo>
                    <a:lnTo>
                      <a:pt x="5" y="216"/>
                    </a:lnTo>
                    <a:lnTo>
                      <a:pt x="10" y="220"/>
                    </a:lnTo>
                    <a:lnTo>
                      <a:pt x="14" y="223"/>
                    </a:lnTo>
                    <a:lnTo>
                      <a:pt x="14" y="223"/>
                    </a:lnTo>
                    <a:lnTo>
                      <a:pt x="18" y="225"/>
                    </a:lnTo>
                    <a:lnTo>
                      <a:pt x="21" y="225"/>
                    </a:lnTo>
                    <a:lnTo>
                      <a:pt x="27" y="223"/>
                    </a:lnTo>
                    <a:lnTo>
                      <a:pt x="31" y="222"/>
                    </a:lnTo>
                    <a:lnTo>
                      <a:pt x="31" y="222"/>
                    </a:lnTo>
                    <a:lnTo>
                      <a:pt x="33" y="225"/>
                    </a:lnTo>
                    <a:lnTo>
                      <a:pt x="33" y="225"/>
                    </a:lnTo>
                    <a:lnTo>
                      <a:pt x="31" y="226"/>
                    </a:lnTo>
                    <a:lnTo>
                      <a:pt x="28" y="228"/>
                    </a:lnTo>
                    <a:lnTo>
                      <a:pt x="21" y="230"/>
                    </a:lnTo>
                    <a:lnTo>
                      <a:pt x="14" y="230"/>
                    </a:lnTo>
                    <a:lnTo>
                      <a:pt x="10" y="232"/>
                    </a:lnTo>
                    <a:lnTo>
                      <a:pt x="10" y="232"/>
                    </a:lnTo>
                    <a:lnTo>
                      <a:pt x="13" y="237"/>
                    </a:lnTo>
                    <a:lnTo>
                      <a:pt x="23" y="247"/>
                    </a:lnTo>
                    <a:lnTo>
                      <a:pt x="34" y="256"/>
                    </a:lnTo>
                    <a:lnTo>
                      <a:pt x="40" y="259"/>
                    </a:lnTo>
                    <a:lnTo>
                      <a:pt x="44" y="260"/>
                    </a:lnTo>
                    <a:lnTo>
                      <a:pt x="44" y="260"/>
                    </a:lnTo>
                    <a:lnTo>
                      <a:pt x="48" y="259"/>
                    </a:lnTo>
                    <a:lnTo>
                      <a:pt x="52" y="256"/>
                    </a:lnTo>
                    <a:lnTo>
                      <a:pt x="58" y="252"/>
                    </a:lnTo>
                    <a:lnTo>
                      <a:pt x="61" y="246"/>
                    </a:lnTo>
                    <a:lnTo>
                      <a:pt x="61" y="245"/>
                    </a:lnTo>
                    <a:lnTo>
                      <a:pt x="61" y="243"/>
                    </a:lnTo>
                    <a:lnTo>
                      <a:pt x="61" y="243"/>
                    </a:lnTo>
                    <a:lnTo>
                      <a:pt x="60" y="240"/>
                    </a:lnTo>
                    <a:lnTo>
                      <a:pt x="61" y="237"/>
                    </a:lnTo>
                    <a:lnTo>
                      <a:pt x="64" y="235"/>
                    </a:lnTo>
                    <a:lnTo>
                      <a:pt x="65" y="235"/>
                    </a:lnTo>
                    <a:lnTo>
                      <a:pt x="65" y="235"/>
                    </a:lnTo>
                    <a:lnTo>
                      <a:pt x="67" y="237"/>
                    </a:lnTo>
                    <a:lnTo>
                      <a:pt x="68" y="243"/>
                    </a:lnTo>
                    <a:lnTo>
                      <a:pt x="68" y="247"/>
                    </a:lnTo>
                    <a:lnTo>
                      <a:pt x="70" y="252"/>
                    </a:lnTo>
                    <a:lnTo>
                      <a:pt x="70" y="252"/>
                    </a:lnTo>
                    <a:lnTo>
                      <a:pt x="71" y="255"/>
                    </a:lnTo>
                    <a:lnTo>
                      <a:pt x="72" y="257"/>
                    </a:lnTo>
                    <a:lnTo>
                      <a:pt x="70" y="266"/>
                    </a:lnTo>
                    <a:lnTo>
                      <a:pt x="70" y="266"/>
                    </a:lnTo>
                    <a:lnTo>
                      <a:pt x="70" y="272"/>
                    </a:lnTo>
                    <a:lnTo>
                      <a:pt x="70" y="279"/>
                    </a:lnTo>
                    <a:lnTo>
                      <a:pt x="72" y="293"/>
                    </a:lnTo>
                    <a:lnTo>
                      <a:pt x="72" y="293"/>
                    </a:lnTo>
                    <a:lnTo>
                      <a:pt x="77" y="306"/>
                    </a:lnTo>
                    <a:lnTo>
                      <a:pt x="81" y="321"/>
                    </a:lnTo>
                    <a:lnTo>
                      <a:pt x="81" y="321"/>
                    </a:lnTo>
                    <a:lnTo>
                      <a:pt x="82" y="331"/>
                    </a:lnTo>
                    <a:lnTo>
                      <a:pt x="87" y="343"/>
                    </a:lnTo>
                    <a:lnTo>
                      <a:pt x="91" y="354"/>
                    </a:lnTo>
                    <a:lnTo>
                      <a:pt x="95" y="366"/>
                    </a:lnTo>
                    <a:lnTo>
                      <a:pt x="95" y="366"/>
                    </a:lnTo>
                    <a:lnTo>
                      <a:pt x="99" y="375"/>
                    </a:lnTo>
                    <a:lnTo>
                      <a:pt x="104" y="388"/>
                    </a:lnTo>
                    <a:lnTo>
                      <a:pt x="108" y="400"/>
                    </a:lnTo>
                    <a:lnTo>
                      <a:pt x="111" y="407"/>
                    </a:lnTo>
                    <a:lnTo>
                      <a:pt x="111" y="407"/>
                    </a:lnTo>
                    <a:lnTo>
                      <a:pt x="119" y="421"/>
                    </a:lnTo>
                    <a:lnTo>
                      <a:pt x="124" y="431"/>
                    </a:lnTo>
                    <a:lnTo>
                      <a:pt x="126" y="439"/>
                    </a:lnTo>
                    <a:lnTo>
                      <a:pt x="126" y="439"/>
                    </a:lnTo>
                    <a:lnTo>
                      <a:pt x="126" y="444"/>
                    </a:lnTo>
                    <a:lnTo>
                      <a:pt x="128" y="448"/>
                    </a:lnTo>
                    <a:lnTo>
                      <a:pt x="132" y="457"/>
                    </a:lnTo>
                    <a:lnTo>
                      <a:pt x="138" y="464"/>
                    </a:lnTo>
                    <a:lnTo>
                      <a:pt x="142" y="468"/>
                    </a:lnTo>
                    <a:lnTo>
                      <a:pt x="142" y="468"/>
                    </a:lnTo>
                    <a:lnTo>
                      <a:pt x="145" y="469"/>
                    </a:lnTo>
                    <a:lnTo>
                      <a:pt x="149" y="467"/>
                    </a:lnTo>
                    <a:lnTo>
                      <a:pt x="153" y="464"/>
                    </a:lnTo>
                    <a:lnTo>
                      <a:pt x="156" y="458"/>
                    </a:lnTo>
                    <a:lnTo>
                      <a:pt x="156" y="458"/>
                    </a:lnTo>
                    <a:lnTo>
                      <a:pt x="159" y="454"/>
                    </a:lnTo>
                    <a:lnTo>
                      <a:pt x="165" y="451"/>
                    </a:lnTo>
                    <a:lnTo>
                      <a:pt x="169" y="448"/>
                    </a:lnTo>
                    <a:lnTo>
                      <a:pt x="171" y="445"/>
                    </a:lnTo>
                    <a:lnTo>
                      <a:pt x="172" y="444"/>
                    </a:lnTo>
                    <a:lnTo>
                      <a:pt x="172" y="444"/>
                    </a:lnTo>
                    <a:lnTo>
                      <a:pt x="173" y="437"/>
                    </a:lnTo>
                    <a:lnTo>
                      <a:pt x="175" y="434"/>
                    </a:lnTo>
                    <a:lnTo>
                      <a:pt x="178" y="432"/>
                    </a:lnTo>
                    <a:lnTo>
                      <a:pt x="178" y="432"/>
                    </a:lnTo>
                    <a:lnTo>
                      <a:pt x="180" y="431"/>
                    </a:lnTo>
                    <a:lnTo>
                      <a:pt x="182" y="430"/>
                    </a:lnTo>
                    <a:lnTo>
                      <a:pt x="182" y="421"/>
                    </a:lnTo>
                    <a:lnTo>
                      <a:pt x="182" y="421"/>
                    </a:lnTo>
                    <a:lnTo>
                      <a:pt x="183" y="411"/>
                    </a:lnTo>
                    <a:lnTo>
                      <a:pt x="185" y="405"/>
                    </a:lnTo>
                    <a:lnTo>
                      <a:pt x="186" y="401"/>
                    </a:lnTo>
                    <a:lnTo>
                      <a:pt x="186" y="401"/>
                    </a:lnTo>
                    <a:lnTo>
                      <a:pt x="189" y="395"/>
                    </a:lnTo>
                    <a:lnTo>
                      <a:pt x="190" y="388"/>
                    </a:lnTo>
                    <a:lnTo>
                      <a:pt x="190" y="381"/>
                    </a:lnTo>
                    <a:lnTo>
                      <a:pt x="189" y="375"/>
                    </a:lnTo>
                    <a:lnTo>
                      <a:pt x="189" y="375"/>
                    </a:lnTo>
                    <a:lnTo>
                      <a:pt x="188" y="370"/>
                    </a:lnTo>
                    <a:lnTo>
                      <a:pt x="188" y="366"/>
                    </a:lnTo>
                    <a:lnTo>
                      <a:pt x="190" y="354"/>
                    </a:lnTo>
                    <a:lnTo>
                      <a:pt x="190" y="354"/>
                    </a:lnTo>
                    <a:lnTo>
                      <a:pt x="192" y="346"/>
                    </a:lnTo>
                    <a:lnTo>
                      <a:pt x="193" y="343"/>
                    </a:lnTo>
                    <a:lnTo>
                      <a:pt x="196" y="341"/>
                    </a:lnTo>
                    <a:lnTo>
                      <a:pt x="196" y="341"/>
                    </a:lnTo>
                    <a:lnTo>
                      <a:pt x="200" y="340"/>
                    </a:lnTo>
                    <a:lnTo>
                      <a:pt x="205" y="338"/>
                    </a:lnTo>
                    <a:lnTo>
                      <a:pt x="208" y="334"/>
                    </a:lnTo>
                    <a:lnTo>
                      <a:pt x="212" y="330"/>
                    </a:lnTo>
                    <a:lnTo>
                      <a:pt x="212" y="330"/>
                    </a:lnTo>
                    <a:lnTo>
                      <a:pt x="217" y="326"/>
                    </a:lnTo>
                    <a:lnTo>
                      <a:pt x="225" y="320"/>
                    </a:lnTo>
                    <a:lnTo>
                      <a:pt x="236" y="311"/>
                    </a:lnTo>
                    <a:lnTo>
                      <a:pt x="236" y="311"/>
                    </a:lnTo>
                    <a:lnTo>
                      <a:pt x="250" y="300"/>
                    </a:lnTo>
                    <a:lnTo>
                      <a:pt x="257" y="292"/>
                    </a:lnTo>
                    <a:lnTo>
                      <a:pt x="263" y="284"/>
                    </a:lnTo>
                    <a:lnTo>
                      <a:pt x="263" y="284"/>
                    </a:lnTo>
                    <a:lnTo>
                      <a:pt x="267" y="280"/>
                    </a:lnTo>
                    <a:lnTo>
                      <a:pt x="274" y="276"/>
                    </a:lnTo>
                    <a:lnTo>
                      <a:pt x="281" y="273"/>
                    </a:lnTo>
                    <a:lnTo>
                      <a:pt x="287" y="269"/>
                    </a:lnTo>
                    <a:lnTo>
                      <a:pt x="287" y="269"/>
                    </a:lnTo>
                    <a:lnTo>
                      <a:pt x="290" y="265"/>
                    </a:lnTo>
                    <a:lnTo>
                      <a:pt x="291" y="260"/>
                    </a:lnTo>
                    <a:lnTo>
                      <a:pt x="291" y="252"/>
                    </a:lnTo>
                    <a:lnTo>
                      <a:pt x="291" y="252"/>
                    </a:lnTo>
                    <a:lnTo>
                      <a:pt x="293" y="249"/>
                    </a:lnTo>
                    <a:lnTo>
                      <a:pt x="296" y="247"/>
                    </a:lnTo>
                    <a:lnTo>
                      <a:pt x="304" y="245"/>
                    </a:lnTo>
                    <a:lnTo>
                      <a:pt x="313" y="242"/>
                    </a:lnTo>
                    <a:lnTo>
                      <a:pt x="320" y="242"/>
                    </a:lnTo>
                    <a:lnTo>
                      <a:pt x="320" y="242"/>
                    </a:lnTo>
                    <a:lnTo>
                      <a:pt x="324" y="242"/>
                    </a:lnTo>
                    <a:lnTo>
                      <a:pt x="324" y="242"/>
                    </a:lnTo>
                    <a:lnTo>
                      <a:pt x="324" y="233"/>
                    </a:lnTo>
                    <a:lnTo>
                      <a:pt x="323" y="225"/>
                    </a:lnTo>
                    <a:lnTo>
                      <a:pt x="318" y="212"/>
                    </a:lnTo>
                    <a:lnTo>
                      <a:pt x="318" y="21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503" name="South Korea"/>
              <p:cNvSpPr>
                <a:spLocks/>
              </p:cNvSpPr>
              <p:nvPr/>
            </p:nvSpPr>
            <p:spPr bwMode="auto">
              <a:xfrm>
                <a:off x="7297761" y="3347880"/>
                <a:ext cx="81389" cy="109504"/>
              </a:xfrm>
              <a:custGeom>
                <a:avLst/>
                <a:gdLst/>
                <a:ahLst/>
                <a:cxnLst>
                  <a:cxn ang="0">
                    <a:pos x="11" y="6"/>
                  </a:cxn>
                  <a:cxn ang="0">
                    <a:pos x="11" y="6"/>
                  </a:cxn>
                  <a:cxn ang="0">
                    <a:pos x="1" y="13"/>
                  </a:cxn>
                  <a:cxn ang="0">
                    <a:pos x="1" y="13"/>
                  </a:cxn>
                  <a:cxn ang="0">
                    <a:pos x="4" y="18"/>
                  </a:cxn>
                  <a:cxn ang="0">
                    <a:pos x="4" y="21"/>
                  </a:cxn>
                  <a:cxn ang="0">
                    <a:pos x="7" y="21"/>
                  </a:cxn>
                  <a:cxn ang="0">
                    <a:pos x="7" y="21"/>
                  </a:cxn>
                  <a:cxn ang="0">
                    <a:pos x="9" y="23"/>
                  </a:cxn>
                  <a:cxn ang="0">
                    <a:pos x="9" y="25"/>
                  </a:cxn>
                  <a:cxn ang="0">
                    <a:pos x="8" y="28"/>
                  </a:cxn>
                  <a:cxn ang="0">
                    <a:pos x="5" y="28"/>
                  </a:cxn>
                  <a:cxn ang="0">
                    <a:pos x="5" y="28"/>
                  </a:cxn>
                  <a:cxn ang="0">
                    <a:pos x="4" y="28"/>
                  </a:cxn>
                  <a:cxn ang="0">
                    <a:pos x="2" y="30"/>
                  </a:cxn>
                  <a:cxn ang="0">
                    <a:pos x="1" y="33"/>
                  </a:cxn>
                  <a:cxn ang="0">
                    <a:pos x="2" y="38"/>
                  </a:cxn>
                  <a:cxn ang="0">
                    <a:pos x="5" y="44"/>
                  </a:cxn>
                  <a:cxn ang="0">
                    <a:pos x="5" y="44"/>
                  </a:cxn>
                  <a:cxn ang="0">
                    <a:pos x="5" y="47"/>
                  </a:cxn>
                  <a:cxn ang="0">
                    <a:pos x="5" y="50"/>
                  </a:cxn>
                  <a:cxn ang="0">
                    <a:pos x="2" y="54"/>
                  </a:cxn>
                  <a:cxn ang="0">
                    <a:pos x="0" y="60"/>
                  </a:cxn>
                  <a:cxn ang="0">
                    <a:pos x="0" y="61"/>
                  </a:cxn>
                  <a:cxn ang="0">
                    <a:pos x="0" y="62"/>
                  </a:cxn>
                  <a:cxn ang="0">
                    <a:pos x="0" y="62"/>
                  </a:cxn>
                  <a:cxn ang="0">
                    <a:pos x="1" y="65"/>
                  </a:cxn>
                  <a:cxn ang="0">
                    <a:pos x="1" y="68"/>
                  </a:cxn>
                  <a:cxn ang="0">
                    <a:pos x="1" y="71"/>
                  </a:cxn>
                  <a:cxn ang="0">
                    <a:pos x="2" y="74"/>
                  </a:cxn>
                  <a:cxn ang="0">
                    <a:pos x="2" y="74"/>
                  </a:cxn>
                  <a:cxn ang="0">
                    <a:pos x="7" y="74"/>
                  </a:cxn>
                  <a:cxn ang="0">
                    <a:pos x="15" y="72"/>
                  </a:cxn>
                  <a:cxn ang="0">
                    <a:pos x="24" y="70"/>
                  </a:cxn>
                  <a:cxn ang="0">
                    <a:pos x="29" y="67"/>
                  </a:cxn>
                  <a:cxn ang="0">
                    <a:pos x="32" y="64"/>
                  </a:cxn>
                  <a:cxn ang="0">
                    <a:pos x="32" y="64"/>
                  </a:cxn>
                  <a:cxn ang="0">
                    <a:pos x="38" y="58"/>
                  </a:cxn>
                  <a:cxn ang="0">
                    <a:pos x="42" y="57"/>
                  </a:cxn>
                  <a:cxn ang="0">
                    <a:pos x="45" y="57"/>
                  </a:cxn>
                  <a:cxn ang="0">
                    <a:pos x="48" y="57"/>
                  </a:cxn>
                  <a:cxn ang="0">
                    <a:pos x="48" y="57"/>
                  </a:cxn>
                  <a:cxn ang="0">
                    <a:pos x="51" y="57"/>
                  </a:cxn>
                  <a:cxn ang="0">
                    <a:pos x="54" y="55"/>
                  </a:cxn>
                  <a:cxn ang="0">
                    <a:pos x="55" y="52"/>
                  </a:cxn>
                  <a:cxn ang="0">
                    <a:pos x="55" y="50"/>
                  </a:cxn>
                  <a:cxn ang="0">
                    <a:pos x="55" y="50"/>
                  </a:cxn>
                  <a:cxn ang="0">
                    <a:pos x="54" y="47"/>
                  </a:cxn>
                  <a:cxn ang="0">
                    <a:pos x="52" y="41"/>
                  </a:cxn>
                  <a:cxn ang="0">
                    <a:pos x="51" y="34"/>
                  </a:cxn>
                  <a:cxn ang="0">
                    <a:pos x="51" y="27"/>
                  </a:cxn>
                  <a:cxn ang="0">
                    <a:pos x="51" y="27"/>
                  </a:cxn>
                  <a:cxn ang="0">
                    <a:pos x="49" y="21"/>
                  </a:cxn>
                  <a:cxn ang="0">
                    <a:pos x="45" y="14"/>
                  </a:cxn>
                  <a:cxn ang="0">
                    <a:pos x="34" y="0"/>
                  </a:cxn>
                  <a:cxn ang="0">
                    <a:pos x="34" y="0"/>
                  </a:cxn>
                  <a:cxn ang="0">
                    <a:pos x="29" y="3"/>
                  </a:cxn>
                  <a:cxn ang="0">
                    <a:pos x="25" y="3"/>
                  </a:cxn>
                  <a:cxn ang="0">
                    <a:pos x="25" y="3"/>
                  </a:cxn>
                  <a:cxn ang="0">
                    <a:pos x="17" y="4"/>
                  </a:cxn>
                  <a:cxn ang="0">
                    <a:pos x="14" y="4"/>
                  </a:cxn>
                  <a:cxn ang="0">
                    <a:pos x="11" y="6"/>
                  </a:cxn>
                  <a:cxn ang="0">
                    <a:pos x="11" y="6"/>
                  </a:cxn>
                </a:cxnLst>
                <a:rect l="0" t="0" r="r" b="b"/>
                <a:pathLst>
                  <a:path w="55" h="74">
                    <a:moveTo>
                      <a:pt x="11" y="6"/>
                    </a:moveTo>
                    <a:lnTo>
                      <a:pt x="11" y="6"/>
                    </a:lnTo>
                    <a:lnTo>
                      <a:pt x="1" y="13"/>
                    </a:lnTo>
                    <a:lnTo>
                      <a:pt x="1" y="13"/>
                    </a:lnTo>
                    <a:lnTo>
                      <a:pt x="4" y="18"/>
                    </a:lnTo>
                    <a:lnTo>
                      <a:pt x="4" y="21"/>
                    </a:lnTo>
                    <a:lnTo>
                      <a:pt x="7" y="21"/>
                    </a:lnTo>
                    <a:lnTo>
                      <a:pt x="7" y="21"/>
                    </a:lnTo>
                    <a:lnTo>
                      <a:pt x="9" y="23"/>
                    </a:lnTo>
                    <a:lnTo>
                      <a:pt x="9" y="25"/>
                    </a:lnTo>
                    <a:lnTo>
                      <a:pt x="8" y="28"/>
                    </a:lnTo>
                    <a:lnTo>
                      <a:pt x="5" y="28"/>
                    </a:lnTo>
                    <a:lnTo>
                      <a:pt x="5" y="28"/>
                    </a:lnTo>
                    <a:lnTo>
                      <a:pt x="4" y="28"/>
                    </a:lnTo>
                    <a:lnTo>
                      <a:pt x="2" y="30"/>
                    </a:lnTo>
                    <a:lnTo>
                      <a:pt x="1" y="33"/>
                    </a:lnTo>
                    <a:lnTo>
                      <a:pt x="2" y="38"/>
                    </a:lnTo>
                    <a:lnTo>
                      <a:pt x="5" y="44"/>
                    </a:lnTo>
                    <a:lnTo>
                      <a:pt x="5" y="44"/>
                    </a:lnTo>
                    <a:lnTo>
                      <a:pt x="5" y="47"/>
                    </a:lnTo>
                    <a:lnTo>
                      <a:pt x="5" y="50"/>
                    </a:lnTo>
                    <a:lnTo>
                      <a:pt x="2" y="54"/>
                    </a:lnTo>
                    <a:lnTo>
                      <a:pt x="0" y="60"/>
                    </a:lnTo>
                    <a:lnTo>
                      <a:pt x="0" y="61"/>
                    </a:lnTo>
                    <a:lnTo>
                      <a:pt x="0" y="62"/>
                    </a:lnTo>
                    <a:lnTo>
                      <a:pt x="0" y="62"/>
                    </a:lnTo>
                    <a:lnTo>
                      <a:pt x="1" y="65"/>
                    </a:lnTo>
                    <a:lnTo>
                      <a:pt x="1" y="68"/>
                    </a:lnTo>
                    <a:lnTo>
                      <a:pt x="1" y="71"/>
                    </a:lnTo>
                    <a:lnTo>
                      <a:pt x="2" y="74"/>
                    </a:lnTo>
                    <a:lnTo>
                      <a:pt x="2" y="74"/>
                    </a:lnTo>
                    <a:lnTo>
                      <a:pt x="7" y="74"/>
                    </a:lnTo>
                    <a:lnTo>
                      <a:pt x="15" y="72"/>
                    </a:lnTo>
                    <a:lnTo>
                      <a:pt x="24" y="70"/>
                    </a:lnTo>
                    <a:lnTo>
                      <a:pt x="29" y="67"/>
                    </a:lnTo>
                    <a:lnTo>
                      <a:pt x="32" y="64"/>
                    </a:lnTo>
                    <a:lnTo>
                      <a:pt x="32" y="64"/>
                    </a:lnTo>
                    <a:lnTo>
                      <a:pt x="38" y="58"/>
                    </a:lnTo>
                    <a:lnTo>
                      <a:pt x="42" y="57"/>
                    </a:lnTo>
                    <a:lnTo>
                      <a:pt x="45" y="57"/>
                    </a:lnTo>
                    <a:lnTo>
                      <a:pt x="48" y="57"/>
                    </a:lnTo>
                    <a:lnTo>
                      <a:pt x="48" y="57"/>
                    </a:lnTo>
                    <a:lnTo>
                      <a:pt x="51" y="57"/>
                    </a:lnTo>
                    <a:lnTo>
                      <a:pt x="54" y="55"/>
                    </a:lnTo>
                    <a:lnTo>
                      <a:pt x="55" y="52"/>
                    </a:lnTo>
                    <a:lnTo>
                      <a:pt x="55" y="50"/>
                    </a:lnTo>
                    <a:lnTo>
                      <a:pt x="55" y="50"/>
                    </a:lnTo>
                    <a:lnTo>
                      <a:pt x="54" y="47"/>
                    </a:lnTo>
                    <a:lnTo>
                      <a:pt x="52" y="41"/>
                    </a:lnTo>
                    <a:lnTo>
                      <a:pt x="51" y="34"/>
                    </a:lnTo>
                    <a:lnTo>
                      <a:pt x="51" y="27"/>
                    </a:lnTo>
                    <a:lnTo>
                      <a:pt x="51" y="27"/>
                    </a:lnTo>
                    <a:lnTo>
                      <a:pt x="49" y="21"/>
                    </a:lnTo>
                    <a:lnTo>
                      <a:pt x="45" y="14"/>
                    </a:lnTo>
                    <a:lnTo>
                      <a:pt x="34" y="0"/>
                    </a:lnTo>
                    <a:lnTo>
                      <a:pt x="34" y="0"/>
                    </a:lnTo>
                    <a:lnTo>
                      <a:pt x="29" y="3"/>
                    </a:lnTo>
                    <a:lnTo>
                      <a:pt x="25" y="3"/>
                    </a:lnTo>
                    <a:lnTo>
                      <a:pt x="25" y="3"/>
                    </a:lnTo>
                    <a:lnTo>
                      <a:pt x="17" y="4"/>
                    </a:lnTo>
                    <a:lnTo>
                      <a:pt x="14" y="4"/>
                    </a:lnTo>
                    <a:lnTo>
                      <a:pt x="11" y="6"/>
                    </a:lnTo>
                    <a:lnTo>
                      <a:pt x="11" y="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504" name="Japan"/>
              <p:cNvSpPr>
                <a:spLocks noEditPoints="1"/>
              </p:cNvSpPr>
              <p:nvPr/>
            </p:nvSpPr>
            <p:spPr bwMode="auto">
              <a:xfrm>
                <a:off x="7377670" y="3148110"/>
                <a:ext cx="401022" cy="399542"/>
              </a:xfrm>
              <a:custGeom>
                <a:avLst/>
                <a:gdLst/>
                <a:ahLst/>
                <a:cxnLst>
                  <a:cxn ang="0">
                    <a:pos x="246" y="28"/>
                  </a:cxn>
                  <a:cxn ang="0">
                    <a:pos x="213" y="11"/>
                  </a:cxn>
                  <a:cxn ang="0">
                    <a:pos x="196" y="1"/>
                  </a:cxn>
                  <a:cxn ang="0">
                    <a:pos x="197" y="13"/>
                  </a:cxn>
                  <a:cxn ang="0">
                    <a:pos x="192" y="34"/>
                  </a:cxn>
                  <a:cxn ang="0">
                    <a:pos x="186" y="44"/>
                  </a:cxn>
                  <a:cxn ang="0">
                    <a:pos x="170" y="55"/>
                  </a:cxn>
                  <a:cxn ang="0">
                    <a:pos x="167" y="64"/>
                  </a:cxn>
                  <a:cxn ang="0">
                    <a:pos x="169" y="78"/>
                  </a:cxn>
                  <a:cxn ang="0">
                    <a:pos x="185" y="71"/>
                  </a:cxn>
                  <a:cxn ang="0">
                    <a:pos x="175" y="61"/>
                  </a:cxn>
                  <a:cxn ang="0">
                    <a:pos x="183" y="58"/>
                  </a:cxn>
                  <a:cxn ang="0">
                    <a:pos x="212" y="64"/>
                  </a:cxn>
                  <a:cxn ang="0">
                    <a:pos x="223" y="59"/>
                  </a:cxn>
                  <a:cxn ang="0">
                    <a:pos x="246" y="49"/>
                  </a:cxn>
                  <a:cxn ang="0">
                    <a:pos x="254" y="40"/>
                  </a:cxn>
                  <a:cxn ang="0">
                    <a:pos x="271" y="21"/>
                  </a:cxn>
                  <a:cxn ang="0">
                    <a:pos x="257" y="25"/>
                  </a:cxn>
                  <a:cxn ang="0">
                    <a:pos x="165" y="108"/>
                  </a:cxn>
                  <a:cxn ang="0">
                    <a:pos x="165" y="121"/>
                  </a:cxn>
                  <a:cxn ang="0">
                    <a:pos x="157" y="139"/>
                  </a:cxn>
                  <a:cxn ang="0">
                    <a:pos x="143" y="155"/>
                  </a:cxn>
                  <a:cxn ang="0">
                    <a:pos x="125" y="162"/>
                  </a:cxn>
                  <a:cxn ang="0">
                    <a:pos x="118" y="156"/>
                  </a:cxn>
                  <a:cxn ang="0">
                    <a:pos x="111" y="175"/>
                  </a:cxn>
                  <a:cxn ang="0">
                    <a:pos x="102" y="186"/>
                  </a:cxn>
                  <a:cxn ang="0">
                    <a:pos x="92" y="187"/>
                  </a:cxn>
                  <a:cxn ang="0">
                    <a:pos x="68" y="190"/>
                  </a:cxn>
                  <a:cxn ang="0">
                    <a:pos x="49" y="192"/>
                  </a:cxn>
                  <a:cxn ang="0">
                    <a:pos x="19" y="212"/>
                  </a:cxn>
                  <a:cxn ang="0">
                    <a:pos x="29" y="217"/>
                  </a:cxn>
                  <a:cxn ang="0">
                    <a:pos x="58" y="209"/>
                  </a:cxn>
                  <a:cxn ang="0">
                    <a:pos x="91" y="207"/>
                  </a:cxn>
                  <a:cxn ang="0">
                    <a:pos x="91" y="223"/>
                  </a:cxn>
                  <a:cxn ang="0">
                    <a:pos x="115" y="210"/>
                  </a:cxn>
                  <a:cxn ang="0">
                    <a:pos x="118" y="205"/>
                  </a:cxn>
                  <a:cxn ang="0">
                    <a:pos x="139" y="203"/>
                  </a:cxn>
                  <a:cxn ang="0">
                    <a:pos x="150" y="205"/>
                  </a:cxn>
                  <a:cxn ang="0">
                    <a:pos x="160" y="195"/>
                  </a:cxn>
                  <a:cxn ang="0">
                    <a:pos x="175" y="193"/>
                  </a:cxn>
                  <a:cxn ang="0">
                    <a:pos x="179" y="170"/>
                  </a:cxn>
                  <a:cxn ang="0">
                    <a:pos x="183" y="145"/>
                  </a:cxn>
                  <a:cxn ang="0">
                    <a:pos x="199" y="125"/>
                  </a:cxn>
                  <a:cxn ang="0">
                    <a:pos x="189" y="82"/>
                  </a:cxn>
                  <a:cxn ang="0">
                    <a:pos x="65" y="215"/>
                  </a:cxn>
                  <a:cxn ang="0">
                    <a:pos x="45" y="222"/>
                  </a:cxn>
                  <a:cxn ang="0">
                    <a:pos x="51" y="240"/>
                  </a:cxn>
                  <a:cxn ang="0">
                    <a:pos x="62" y="230"/>
                  </a:cxn>
                  <a:cxn ang="0">
                    <a:pos x="78" y="226"/>
                  </a:cxn>
                  <a:cxn ang="0">
                    <a:pos x="74" y="210"/>
                  </a:cxn>
                  <a:cxn ang="0">
                    <a:pos x="32" y="233"/>
                  </a:cxn>
                  <a:cxn ang="0">
                    <a:pos x="22" y="224"/>
                  </a:cxn>
                  <a:cxn ang="0">
                    <a:pos x="7" y="227"/>
                  </a:cxn>
                  <a:cxn ang="0">
                    <a:pos x="5" y="240"/>
                  </a:cxn>
                  <a:cxn ang="0">
                    <a:pos x="12" y="237"/>
                  </a:cxn>
                  <a:cxn ang="0">
                    <a:pos x="14" y="269"/>
                  </a:cxn>
                  <a:cxn ang="0">
                    <a:pos x="27" y="260"/>
                  </a:cxn>
                  <a:cxn ang="0">
                    <a:pos x="37" y="236"/>
                  </a:cxn>
                </a:cxnLst>
                <a:rect l="0" t="0" r="r" b="b"/>
                <a:pathLst>
                  <a:path w="271" h="270">
                    <a:moveTo>
                      <a:pt x="257" y="25"/>
                    </a:moveTo>
                    <a:lnTo>
                      <a:pt x="257" y="25"/>
                    </a:lnTo>
                    <a:lnTo>
                      <a:pt x="256" y="24"/>
                    </a:lnTo>
                    <a:lnTo>
                      <a:pt x="254" y="24"/>
                    </a:lnTo>
                    <a:lnTo>
                      <a:pt x="250" y="25"/>
                    </a:lnTo>
                    <a:lnTo>
                      <a:pt x="246" y="28"/>
                    </a:lnTo>
                    <a:lnTo>
                      <a:pt x="241" y="30"/>
                    </a:lnTo>
                    <a:lnTo>
                      <a:pt x="241" y="30"/>
                    </a:lnTo>
                    <a:lnTo>
                      <a:pt x="237" y="30"/>
                    </a:lnTo>
                    <a:lnTo>
                      <a:pt x="233" y="27"/>
                    </a:lnTo>
                    <a:lnTo>
                      <a:pt x="223" y="21"/>
                    </a:lnTo>
                    <a:lnTo>
                      <a:pt x="213" y="11"/>
                    </a:lnTo>
                    <a:lnTo>
                      <a:pt x="206" y="4"/>
                    </a:lnTo>
                    <a:lnTo>
                      <a:pt x="206" y="4"/>
                    </a:lnTo>
                    <a:lnTo>
                      <a:pt x="203" y="1"/>
                    </a:lnTo>
                    <a:lnTo>
                      <a:pt x="202" y="0"/>
                    </a:lnTo>
                    <a:lnTo>
                      <a:pt x="199" y="0"/>
                    </a:lnTo>
                    <a:lnTo>
                      <a:pt x="196" y="1"/>
                    </a:lnTo>
                    <a:lnTo>
                      <a:pt x="194" y="3"/>
                    </a:lnTo>
                    <a:lnTo>
                      <a:pt x="194" y="4"/>
                    </a:lnTo>
                    <a:lnTo>
                      <a:pt x="194" y="7"/>
                    </a:lnTo>
                    <a:lnTo>
                      <a:pt x="196" y="8"/>
                    </a:lnTo>
                    <a:lnTo>
                      <a:pt x="196" y="8"/>
                    </a:lnTo>
                    <a:lnTo>
                      <a:pt x="197" y="13"/>
                    </a:lnTo>
                    <a:lnTo>
                      <a:pt x="196" y="15"/>
                    </a:lnTo>
                    <a:lnTo>
                      <a:pt x="194" y="20"/>
                    </a:lnTo>
                    <a:lnTo>
                      <a:pt x="194" y="25"/>
                    </a:lnTo>
                    <a:lnTo>
                      <a:pt x="194" y="25"/>
                    </a:lnTo>
                    <a:lnTo>
                      <a:pt x="193" y="30"/>
                    </a:lnTo>
                    <a:lnTo>
                      <a:pt x="192" y="34"/>
                    </a:lnTo>
                    <a:lnTo>
                      <a:pt x="190" y="37"/>
                    </a:lnTo>
                    <a:lnTo>
                      <a:pt x="190" y="40"/>
                    </a:lnTo>
                    <a:lnTo>
                      <a:pt x="190" y="40"/>
                    </a:lnTo>
                    <a:lnTo>
                      <a:pt x="189" y="41"/>
                    </a:lnTo>
                    <a:lnTo>
                      <a:pt x="189" y="42"/>
                    </a:lnTo>
                    <a:lnTo>
                      <a:pt x="186" y="44"/>
                    </a:lnTo>
                    <a:lnTo>
                      <a:pt x="176" y="45"/>
                    </a:lnTo>
                    <a:lnTo>
                      <a:pt x="176" y="45"/>
                    </a:lnTo>
                    <a:lnTo>
                      <a:pt x="173" y="47"/>
                    </a:lnTo>
                    <a:lnTo>
                      <a:pt x="173" y="49"/>
                    </a:lnTo>
                    <a:lnTo>
                      <a:pt x="173" y="52"/>
                    </a:lnTo>
                    <a:lnTo>
                      <a:pt x="170" y="55"/>
                    </a:lnTo>
                    <a:lnTo>
                      <a:pt x="170" y="55"/>
                    </a:lnTo>
                    <a:lnTo>
                      <a:pt x="166" y="57"/>
                    </a:lnTo>
                    <a:lnTo>
                      <a:pt x="165" y="59"/>
                    </a:lnTo>
                    <a:lnTo>
                      <a:pt x="166" y="62"/>
                    </a:lnTo>
                    <a:lnTo>
                      <a:pt x="167" y="64"/>
                    </a:lnTo>
                    <a:lnTo>
                      <a:pt x="167" y="64"/>
                    </a:lnTo>
                    <a:lnTo>
                      <a:pt x="169" y="67"/>
                    </a:lnTo>
                    <a:lnTo>
                      <a:pt x="169" y="69"/>
                    </a:lnTo>
                    <a:lnTo>
                      <a:pt x="167" y="77"/>
                    </a:lnTo>
                    <a:lnTo>
                      <a:pt x="167" y="77"/>
                    </a:lnTo>
                    <a:lnTo>
                      <a:pt x="167" y="78"/>
                    </a:lnTo>
                    <a:lnTo>
                      <a:pt x="169" y="78"/>
                    </a:lnTo>
                    <a:lnTo>
                      <a:pt x="176" y="74"/>
                    </a:lnTo>
                    <a:lnTo>
                      <a:pt x="176" y="74"/>
                    </a:lnTo>
                    <a:lnTo>
                      <a:pt x="177" y="72"/>
                    </a:lnTo>
                    <a:lnTo>
                      <a:pt x="180" y="72"/>
                    </a:lnTo>
                    <a:lnTo>
                      <a:pt x="183" y="72"/>
                    </a:lnTo>
                    <a:lnTo>
                      <a:pt x="185" y="71"/>
                    </a:lnTo>
                    <a:lnTo>
                      <a:pt x="185" y="71"/>
                    </a:lnTo>
                    <a:lnTo>
                      <a:pt x="183" y="69"/>
                    </a:lnTo>
                    <a:lnTo>
                      <a:pt x="183" y="68"/>
                    </a:lnTo>
                    <a:lnTo>
                      <a:pt x="179" y="65"/>
                    </a:lnTo>
                    <a:lnTo>
                      <a:pt x="176" y="62"/>
                    </a:lnTo>
                    <a:lnTo>
                      <a:pt x="175" y="61"/>
                    </a:lnTo>
                    <a:lnTo>
                      <a:pt x="175" y="59"/>
                    </a:lnTo>
                    <a:lnTo>
                      <a:pt x="175" y="59"/>
                    </a:lnTo>
                    <a:lnTo>
                      <a:pt x="175" y="58"/>
                    </a:lnTo>
                    <a:lnTo>
                      <a:pt x="176" y="58"/>
                    </a:lnTo>
                    <a:lnTo>
                      <a:pt x="179" y="58"/>
                    </a:lnTo>
                    <a:lnTo>
                      <a:pt x="183" y="58"/>
                    </a:lnTo>
                    <a:lnTo>
                      <a:pt x="187" y="58"/>
                    </a:lnTo>
                    <a:lnTo>
                      <a:pt x="187" y="58"/>
                    </a:lnTo>
                    <a:lnTo>
                      <a:pt x="193" y="57"/>
                    </a:lnTo>
                    <a:lnTo>
                      <a:pt x="199" y="58"/>
                    </a:lnTo>
                    <a:lnTo>
                      <a:pt x="206" y="59"/>
                    </a:lnTo>
                    <a:lnTo>
                      <a:pt x="212" y="64"/>
                    </a:lnTo>
                    <a:lnTo>
                      <a:pt x="212" y="64"/>
                    </a:lnTo>
                    <a:lnTo>
                      <a:pt x="216" y="67"/>
                    </a:lnTo>
                    <a:lnTo>
                      <a:pt x="219" y="67"/>
                    </a:lnTo>
                    <a:lnTo>
                      <a:pt x="222" y="65"/>
                    </a:lnTo>
                    <a:lnTo>
                      <a:pt x="223" y="59"/>
                    </a:lnTo>
                    <a:lnTo>
                      <a:pt x="223" y="59"/>
                    </a:lnTo>
                    <a:lnTo>
                      <a:pt x="223" y="57"/>
                    </a:lnTo>
                    <a:lnTo>
                      <a:pt x="224" y="55"/>
                    </a:lnTo>
                    <a:lnTo>
                      <a:pt x="230" y="51"/>
                    </a:lnTo>
                    <a:lnTo>
                      <a:pt x="237" y="49"/>
                    </a:lnTo>
                    <a:lnTo>
                      <a:pt x="246" y="49"/>
                    </a:lnTo>
                    <a:lnTo>
                      <a:pt x="246" y="49"/>
                    </a:lnTo>
                    <a:lnTo>
                      <a:pt x="251" y="48"/>
                    </a:lnTo>
                    <a:lnTo>
                      <a:pt x="256" y="47"/>
                    </a:lnTo>
                    <a:lnTo>
                      <a:pt x="256" y="44"/>
                    </a:lnTo>
                    <a:lnTo>
                      <a:pt x="254" y="41"/>
                    </a:lnTo>
                    <a:lnTo>
                      <a:pt x="254" y="41"/>
                    </a:lnTo>
                    <a:lnTo>
                      <a:pt x="254" y="40"/>
                    </a:lnTo>
                    <a:lnTo>
                      <a:pt x="256" y="38"/>
                    </a:lnTo>
                    <a:lnTo>
                      <a:pt x="261" y="32"/>
                    </a:lnTo>
                    <a:lnTo>
                      <a:pt x="268" y="25"/>
                    </a:lnTo>
                    <a:lnTo>
                      <a:pt x="271" y="24"/>
                    </a:lnTo>
                    <a:lnTo>
                      <a:pt x="271" y="21"/>
                    </a:lnTo>
                    <a:lnTo>
                      <a:pt x="271" y="21"/>
                    </a:lnTo>
                    <a:lnTo>
                      <a:pt x="271" y="21"/>
                    </a:lnTo>
                    <a:lnTo>
                      <a:pt x="270" y="21"/>
                    </a:lnTo>
                    <a:lnTo>
                      <a:pt x="266" y="24"/>
                    </a:lnTo>
                    <a:lnTo>
                      <a:pt x="260" y="27"/>
                    </a:lnTo>
                    <a:lnTo>
                      <a:pt x="258" y="27"/>
                    </a:lnTo>
                    <a:lnTo>
                      <a:pt x="257" y="25"/>
                    </a:lnTo>
                    <a:lnTo>
                      <a:pt x="257" y="25"/>
                    </a:lnTo>
                    <a:close/>
                    <a:moveTo>
                      <a:pt x="170" y="91"/>
                    </a:moveTo>
                    <a:lnTo>
                      <a:pt x="170" y="91"/>
                    </a:lnTo>
                    <a:lnTo>
                      <a:pt x="166" y="95"/>
                    </a:lnTo>
                    <a:lnTo>
                      <a:pt x="165" y="101"/>
                    </a:lnTo>
                    <a:lnTo>
                      <a:pt x="165" y="108"/>
                    </a:lnTo>
                    <a:lnTo>
                      <a:pt x="165" y="109"/>
                    </a:lnTo>
                    <a:lnTo>
                      <a:pt x="167" y="112"/>
                    </a:lnTo>
                    <a:lnTo>
                      <a:pt x="167" y="112"/>
                    </a:lnTo>
                    <a:lnTo>
                      <a:pt x="167" y="114"/>
                    </a:lnTo>
                    <a:lnTo>
                      <a:pt x="167" y="116"/>
                    </a:lnTo>
                    <a:lnTo>
                      <a:pt x="165" y="121"/>
                    </a:lnTo>
                    <a:lnTo>
                      <a:pt x="160" y="126"/>
                    </a:lnTo>
                    <a:lnTo>
                      <a:pt x="159" y="131"/>
                    </a:lnTo>
                    <a:lnTo>
                      <a:pt x="159" y="133"/>
                    </a:lnTo>
                    <a:lnTo>
                      <a:pt x="159" y="133"/>
                    </a:lnTo>
                    <a:lnTo>
                      <a:pt x="159" y="136"/>
                    </a:lnTo>
                    <a:lnTo>
                      <a:pt x="157" y="139"/>
                    </a:lnTo>
                    <a:lnTo>
                      <a:pt x="155" y="142"/>
                    </a:lnTo>
                    <a:lnTo>
                      <a:pt x="150" y="145"/>
                    </a:lnTo>
                    <a:lnTo>
                      <a:pt x="149" y="149"/>
                    </a:lnTo>
                    <a:lnTo>
                      <a:pt x="149" y="149"/>
                    </a:lnTo>
                    <a:lnTo>
                      <a:pt x="148" y="153"/>
                    </a:lnTo>
                    <a:lnTo>
                      <a:pt x="143" y="155"/>
                    </a:lnTo>
                    <a:lnTo>
                      <a:pt x="139" y="156"/>
                    </a:lnTo>
                    <a:lnTo>
                      <a:pt x="135" y="160"/>
                    </a:lnTo>
                    <a:lnTo>
                      <a:pt x="135" y="160"/>
                    </a:lnTo>
                    <a:lnTo>
                      <a:pt x="132" y="162"/>
                    </a:lnTo>
                    <a:lnTo>
                      <a:pt x="129" y="163"/>
                    </a:lnTo>
                    <a:lnTo>
                      <a:pt x="125" y="162"/>
                    </a:lnTo>
                    <a:lnTo>
                      <a:pt x="123" y="159"/>
                    </a:lnTo>
                    <a:lnTo>
                      <a:pt x="123" y="155"/>
                    </a:lnTo>
                    <a:lnTo>
                      <a:pt x="123" y="155"/>
                    </a:lnTo>
                    <a:lnTo>
                      <a:pt x="123" y="153"/>
                    </a:lnTo>
                    <a:lnTo>
                      <a:pt x="122" y="153"/>
                    </a:lnTo>
                    <a:lnTo>
                      <a:pt x="118" y="156"/>
                    </a:lnTo>
                    <a:lnTo>
                      <a:pt x="113" y="160"/>
                    </a:lnTo>
                    <a:lnTo>
                      <a:pt x="112" y="165"/>
                    </a:lnTo>
                    <a:lnTo>
                      <a:pt x="112" y="168"/>
                    </a:lnTo>
                    <a:lnTo>
                      <a:pt x="112" y="168"/>
                    </a:lnTo>
                    <a:lnTo>
                      <a:pt x="112" y="172"/>
                    </a:lnTo>
                    <a:lnTo>
                      <a:pt x="111" y="175"/>
                    </a:lnTo>
                    <a:lnTo>
                      <a:pt x="106" y="178"/>
                    </a:lnTo>
                    <a:lnTo>
                      <a:pt x="102" y="180"/>
                    </a:lnTo>
                    <a:lnTo>
                      <a:pt x="101" y="182"/>
                    </a:lnTo>
                    <a:lnTo>
                      <a:pt x="102" y="185"/>
                    </a:lnTo>
                    <a:lnTo>
                      <a:pt x="102" y="185"/>
                    </a:lnTo>
                    <a:lnTo>
                      <a:pt x="102" y="186"/>
                    </a:lnTo>
                    <a:lnTo>
                      <a:pt x="102" y="187"/>
                    </a:lnTo>
                    <a:lnTo>
                      <a:pt x="98" y="189"/>
                    </a:lnTo>
                    <a:lnTo>
                      <a:pt x="93" y="189"/>
                    </a:lnTo>
                    <a:lnTo>
                      <a:pt x="92" y="189"/>
                    </a:lnTo>
                    <a:lnTo>
                      <a:pt x="92" y="187"/>
                    </a:lnTo>
                    <a:lnTo>
                      <a:pt x="92" y="187"/>
                    </a:lnTo>
                    <a:lnTo>
                      <a:pt x="92" y="186"/>
                    </a:lnTo>
                    <a:lnTo>
                      <a:pt x="91" y="185"/>
                    </a:lnTo>
                    <a:lnTo>
                      <a:pt x="86" y="185"/>
                    </a:lnTo>
                    <a:lnTo>
                      <a:pt x="72" y="190"/>
                    </a:lnTo>
                    <a:lnTo>
                      <a:pt x="72" y="190"/>
                    </a:lnTo>
                    <a:lnTo>
                      <a:pt x="68" y="190"/>
                    </a:lnTo>
                    <a:lnTo>
                      <a:pt x="65" y="190"/>
                    </a:lnTo>
                    <a:lnTo>
                      <a:pt x="59" y="190"/>
                    </a:lnTo>
                    <a:lnTo>
                      <a:pt x="54" y="189"/>
                    </a:lnTo>
                    <a:lnTo>
                      <a:pt x="51" y="189"/>
                    </a:lnTo>
                    <a:lnTo>
                      <a:pt x="49" y="192"/>
                    </a:lnTo>
                    <a:lnTo>
                      <a:pt x="49" y="192"/>
                    </a:lnTo>
                    <a:lnTo>
                      <a:pt x="37" y="202"/>
                    </a:lnTo>
                    <a:lnTo>
                      <a:pt x="31" y="207"/>
                    </a:lnTo>
                    <a:lnTo>
                      <a:pt x="24" y="210"/>
                    </a:lnTo>
                    <a:lnTo>
                      <a:pt x="24" y="210"/>
                    </a:lnTo>
                    <a:lnTo>
                      <a:pt x="21" y="210"/>
                    </a:lnTo>
                    <a:lnTo>
                      <a:pt x="19" y="212"/>
                    </a:lnTo>
                    <a:lnTo>
                      <a:pt x="19" y="216"/>
                    </a:lnTo>
                    <a:lnTo>
                      <a:pt x="21" y="219"/>
                    </a:lnTo>
                    <a:lnTo>
                      <a:pt x="22" y="219"/>
                    </a:lnTo>
                    <a:lnTo>
                      <a:pt x="24" y="219"/>
                    </a:lnTo>
                    <a:lnTo>
                      <a:pt x="24" y="219"/>
                    </a:lnTo>
                    <a:lnTo>
                      <a:pt x="29" y="217"/>
                    </a:lnTo>
                    <a:lnTo>
                      <a:pt x="34" y="217"/>
                    </a:lnTo>
                    <a:lnTo>
                      <a:pt x="38" y="217"/>
                    </a:lnTo>
                    <a:lnTo>
                      <a:pt x="42" y="215"/>
                    </a:lnTo>
                    <a:lnTo>
                      <a:pt x="42" y="215"/>
                    </a:lnTo>
                    <a:lnTo>
                      <a:pt x="47" y="212"/>
                    </a:lnTo>
                    <a:lnTo>
                      <a:pt x="58" y="209"/>
                    </a:lnTo>
                    <a:lnTo>
                      <a:pt x="69" y="206"/>
                    </a:lnTo>
                    <a:lnTo>
                      <a:pt x="82" y="205"/>
                    </a:lnTo>
                    <a:lnTo>
                      <a:pt x="82" y="205"/>
                    </a:lnTo>
                    <a:lnTo>
                      <a:pt x="86" y="205"/>
                    </a:lnTo>
                    <a:lnTo>
                      <a:pt x="89" y="206"/>
                    </a:lnTo>
                    <a:lnTo>
                      <a:pt x="91" y="207"/>
                    </a:lnTo>
                    <a:lnTo>
                      <a:pt x="91" y="209"/>
                    </a:lnTo>
                    <a:lnTo>
                      <a:pt x="89" y="213"/>
                    </a:lnTo>
                    <a:lnTo>
                      <a:pt x="89" y="219"/>
                    </a:lnTo>
                    <a:lnTo>
                      <a:pt x="89" y="219"/>
                    </a:lnTo>
                    <a:lnTo>
                      <a:pt x="89" y="222"/>
                    </a:lnTo>
                    <a:lnTo>
                      <a:pt x="91" y="223"/>
                    </a:lnTo>
                    <a:lnTo>
                      <a:pt x="96" y="224"/>
                    </a:lnTo>
                    <a:lnTo>
                      <a:pt x="102" y="223"/>
                    </a:lnTo>
                    <a:lnTo>
                      <a:pt x="108" y="219"/>
                    </a:lnTo>
                    <a:lnTo>
                      <a:pt x="108" y="219"/>
                    </a:lnTo>
                    <a:lnTo>
                      <a:pt x="115" y="212"/>
                    </a:lnTo>
                    <a:lnTo>
                      <a:pt x="115" y="210"/>
                    </a:lnTo>
                    <a:lnTo>
                      <a:pt x="113" y="207"/>
                    </a:lnTo>
                    <a:lnTo>
                      <a:pt x="113" y="207"/>
                    </a:lnTo>
                    <a:lnTo>
                      <a:pt x="111" y="205"/>
                    </a:lnTo>
                    <a:lnTo>
                      <a:pt x="112" y="202"/>
                    </a:lnTo>
                    <a:lnTo>
                      <a:pt x="115" y="202"/>
                    </a:lnTo>
                    <a:lnTo>
                      <a:pt x="118" y="205"/>
                    </a:lnTo>
                    <a:lnTo>
                      <a:pt x="118" y="205"/>
                    </a:lnTo>
                    <a:lnTo>
                      <a:pt x="122" y="209"/>
                    </a:lnTo>
                    <a:lnTo>
                      <a:pt x="128" y="209"/>
                    </a:lnTo>
                    <a:lnTo>
                      <a:pt x="133" y="207"/>
                    </a:lnTo>
                    <a:lnTo>
                      <a:pt x="136" y="206"/>
                    </a:lnTo>
                    <a:lnTo>
                      <a:pt x="139" y="203"/>
                    </a:lnTo>
                    <a:lnTo>
                      <a:pt x="139" y="203"/>
                    </a:lnTo>
                    <a:lnTo>
                      <a:pt x="142" y="200"/>
                    </a:lnTo>
                    <a:lnTo>
                      <a:pt x="143" y="202"/>
                    </a:lnTo>
                    <a:lnTo>
                      <a:pt x="146" y="203"/>
                    </a:lnTo>
                    <a:lnTo>
                      <a:pt x="150" y="205"/>
                    </a:lnTo>
                    <a:lnTo>
                      <a:pt x="150" y="205"/>
                    </a:lnTo>
                    <a:lnTo>
                      <a:pt x="152" y="203"/>
                    </a:lnTo>
                    <a:lnTo>
                      <a:pt x="155" y="202"/>
                    </a:lnTo>
                    <a:lnTo>
                      <a:pt x="157" y="197"/>
                    </a:lnTo>
                    <a:lnTo>
                      <a:pt x="159" y="195"/>
                    </a:lnTo>
                    <a:lnTo>
                      <a:pt x="159" y="193"/>
                    </a:lnTo>
                    <a:lnTo>
                      <a:pt x="160" y="195"/>
                    </a:lnTo>
                    <a:lnTo>
                      <a:pt x="160" y="195"/>
                    </a:lnTo>
                    <a:lnTo>
                      <a:pt x="160" y="196"/>
                    </a:lnTo>
                    <a:lnTo>
                      <a:pt x="162" y="197"/>
                    </a:lnTo>
                    <a:lnTo>
                      <a:pt x="165" y="197"/>
                    </a:lnTo>
                    <a:lnTo>
                      <a:pt x="170" y="196"/>
                    </a:lnTo>
                    <a:lnTo>
                      <a:pt x="175" y="193"/>
                    </a:lnTo>
                    <a:lnTo>
                      <a:pt x="175" y="193"/>
                    </a:lnTo>
                    <a:lnTo>
                      <a:pt x="176" y="190"/>
                    </a:lnTo>
                    <a:lnTo>
                      <a:pt x="177" y="187"/>
                    </a:lnTo>
                    <a:lnTo>
                      <a:pt x="177" y="180"/>
                    </a:lnTo>
                    <a:lnTo>
                      <a:pt x="177" y="175"/>
                    </a:lnTo>
                    <a:lnTo>
                      <a:pt x="179" y="170"/>
                    </a:lnTo>
                    <a:lnTo>
                      <a:pt x="179" y="170"/>
                    </a:lnTo>
                    <a:lnTo>
                      <a:pt x="182" y="165"/>
                    </a:lnTo>
                    <a:lnTo>
                      <a:pt x="185" y="158"/>
                    </a:lnTo>
                    <a:lnTo>
                      <a:pt x="185" y="152"/>
                    </a:lnTo>
                    <a:lnTo>
                      <a:pt x="183" y="145"/>
                    </a:lnTo>
                    <a:lnTo>
                      <a:pt x="183" y="145"/>
                    </a:lnTo>
                    <a:lnTo>
                      <a:pt x="182" y="142"/>
                    </a:lnTo>
                    <a:lnTo>
                      <a:pt x="183" y="141"/>
                    </a:lnTo>
                    <a:lnTo>
                      <a:pt x="186" y="136"/>
                    </a:lnTo>
                    <a:lnTo>
                      <a:pt x="197" y="128"/>
                    </a:lnTo>
                    <a:lnTo>
                      <a:pt x="197" y="128"/>
                    </a:lnTo>
                    <a:lnTo>
                      <a:pt x="199" y="125"/>
                    </a:lnTo>
                    <a:lnTo>
                      <a:pt x="199" y="119"/>
                    </a:lnTo>
                    <a:lnTo>
                      <a:pt x="196" y="108"/>
                    </a:lnTo>
                    <a:lnTo>
                      <a:pt x="192" y="95"/>
                    </a:lnTo>
                    <a:lnTo>
                      <a:pt x="190" y="85"/>
                    </a:lnTo>
                    <a:lnTo>
                      <a:pt x="190" y="85"/>
                    </a:lnTo>
                    <a:lnTo>
                      <a:pt x="189" y="82"/>
                    </a:lnTo>
                    <a:lnTo>
                      <a:pt x="187" y="82"/>
                    </a:lnTo>
                    <a:lnTo>
                      <a:pt x="182" y="84"/>
                    </a:lnTo>
                    <a:lnTo>
                      <a:pt x="170" y="91"/>
                    </a:lnTo>
                    <a:lnTo>
                      <a:pt x="170" y="91"/>
                    </a:lnTo>
                    <a:close/>
                    <a:moveTo>
                      <a:pt x="65" y="215"/>
                    </a:moveTo>
                    <a:lnTo>
                      <a:pt x="65" y="215"/>
                    </a:lnTo>
                    <a:lnTo>
                      <a:pt x="64" y="216"/>
                    </a:lnTo>
                    <a:lnTo>
                      <a:pt x="59" y="217"/>
                    </a:lnTo>
                    <a:lnTo>
                      <a:pt x="51" y="219"/>
                    </a:lnTo>
                    <a:lnTo>
                      <a:pt x="51" y="219"/>
                    </a:lnTo>
                    <a:lnTo>
                      <a:pt x="48" y="219"/>
                    </a:lnTo>
                    <a:lnTo>
                      <a:pt x="45" y="222"/>
                    </a:lnTo>
                    <a:lnTo>
                      <a:pt x="44" y="229"/>
                    </a:lnTo>
                    <a:lnTo>
                      <a:pt x="45" y="236"/>
                    </a:lnTo>
                    <a:lnTo>
                      <a:pt x="47" y="239"/>
                    </a:lnTo>
                    <a:lnTo>
                      <a:pt x="48" y="240"/>
                    </a:lnTo>
                    <a:lnTo>
                      <a:pt x="48" y="240"/>
                    </a:lnTo>
                    <a:lnTo>
                      <a:pt x="51" y="240"/>
                    </a:lnTo>
                    <a:lnTo>
                      <a:pt x="54" y="240"/>
                    </a:lnTo>
                    <a:lnTo>
                      <a:pt x="55" y="239"/>
                    </a:lnTo>
                    <a:lnTo>
                      <a:pt x="56" y="236"/>
                    </a:lnTo>
                    <a:lnTo>
                      <a:pt x="56" y="236"/>
                    </a:lnTo>
                    <a:lnTo>
                      <a:pt x="59" y="232"/>
                    </a:lnTo>
                    <a:lnTo>
                      <a:pt x="62" y="230"/>
                    </a:lnTo>
                    <a:lnTo>
                      <a:pt x="66" y="229"/>
                    </a:lnTo>
                    <a:lnTo>
                      <a:pt x="71" y="230"/>
                    </a:lnTo>
                    <a:lnTo>
                      <a:pt x="71" y="230"/>
                    </a:lnTo>
                    <a:lnTo>
                      <a:pt x="72" y="230"/>
                    </a:lnTo>
                    <a:lnTo>
                      <a:pt x="74" y="230"/>
                    </a:lnTo>
                    <a:lnTo>
                      <a:pt x="78" y="226"/>
                    </a:lnTo>
                    <a:lnTo>
                      <a:pt x="81" y="222"/>
                    </a:lnTo>
                    <a:lnTo>
                      <a:pt x="82" y="216"/>
                    </a:lnTo>
                    <a:lnTo>
                      <a:pt x="82" y="216"/>
                    </a:lnTo>
                    <a:lnTo>
                      <a:pt x="81" y="213"/>
                    </a:lnTo>
                    <a:lnTo>
                      <a:pt x="79" y="212"/>
                    </a:lnTo>
                    <a:lnTo>
                      <a:pt x="74" y="210"/>
                    </a:lnTo>
                    <a:lnTo>
                      <a:pt x="69" y="212"/>
                    </a:lnTo>
                    <a:lnTo>
                      <a:pt x="66" y="212"/>
                    </a:lnTo>
                    <a:lnTo>
                      <a:pt x="65" y="215"/>
                    </a:lnTo>
                    <a:lnTo>
                      <a:pt x="65" y="215"/>
                    </a:lnTo>
                    <a:close/>
                    <a:moveTo>
                      <a:pt x="32" y="233"/>
                    </a:moveTo>
                    <a:lnTo>
                      <a:pt x="32" y="233"/>
                    </a:lnTo>
                    <a:lnTo>
                      <a:pt x="32" y="232"/>
                    </a:lnTo>
                    <a:lnTo>
                      <a:pt x="31" y="230"/>
                    </a:lnTo>
                    <a:lnTo>
                      <a:pt x="27" y="229"/>
                    </a:lnTo>
                    <a:lnTo>
                      <a:pt x="24" y="227"/>
                    </a:lnTo>
                    <a:lnTo>
                      <a:pt x="22" y="226"/>
                    </a:lnTo>
                    <a:lnTo>
                      <a:pt x="22" y="224"/>
                    </a:lnTo>
                    <a:lnTo>
                      <a:pt x="22" y="224"/>
                    </a:lnTo>
                    <a:lnTo>
                      <a:pt x="19" y="222"/>
                    </a:lnTo>
                    <a:lnTo>
                      <a:pt x="17" y="223"/>
                    </a:lnTo>
                    <a:lnTo>
                      <a:pt x="12" y="224"/>
                    </a:lnTo>
                    <a:lnTo>
                      <a:pt x="7" y="227"/>
                    </a:lnTo>
                    <a:lnTo>
                      <a:pt x="7" y="227"/>
                    </a:lnTo>
                    <a:lnTo>
                      <a:pt x="0" y="233"/>
                    </a:lnTo>
                    <a:lnTo>
                      <a:pt x="0" y="236"/>
                    </a:lnTo>
                    <a:lnTo>
                      <a:pt x="1" y="239"/>
                    </a:lnTo>
                    <a:lnTo>
                      <a:pt x="1" y="239"/>
                    </a:lnTo>
                    <a:lnTo>
                      <a:pt x="2" y="242"/>
                    </a:lnTo>
                    <a:lnTo>
                      <a:pt x="5" y="240"/>
                    </a:lnTo>
                    <a:lnTo>
                      <a:pt x="8" y="237"/>
                    </a:lnTo>
                    <a:lnTo>
                      <a:pt x="10" y="234"/>
                    </a:lnTo>
                    <a:lnTo>
                      <a:pt x="10" y="234"/>
                    </a:lnTo>
                    <a:lnTo>
                      <a:pt x="10" y="233"/>
                    </a:lnTo>
                    <a:lnTo>
                      <a:pt x="11" y="233"/>
                    </a:lnTo>
                    <a:lnTo>
                      <a:pt x="12" y="237"/>
                    </a:lnTo>
                    <a:lnTo>
                      <a:pt x="14" y="243"/>
                    </a:lnTo>
                    <a:lnTo>
                      <a:pt x="12" y="250"/>
                    </a:lnTo>
                    <a:lnTo>
                      <a:pt x="12" y="250"/>
                    </a:lnTo>
                    <a:lnTo>
                      <a:pt x="10" y="257"/>
                    </a:lnTo>
                    <a:lnTo>
                      <a:pt x="11" y="264"/>
                    </a:lnTo>
                    <a:lnTo>
                      <a:pt x="14" y="269"/>
                    </a:lnTo>
                    <a:lnTo>
                      <a:pt x="15" y="270"/>
                    </a:lnTo>
                    <a:lnTo>
                      <a:pt x="18" y="270"/>
                    </a:lnTo>
                    <a:lnTo>
                      <a:pt x="18" y="270"/>
                    </a:lnTo>
                    <a:lnTo>
                      <a:pt x="19" y="269"/>
                    </a:lnTo>
                    <a:lnTo>
                      <a:pt x="22" y="267"/>
                    </a:lnTo>
                    <a:lnTo>
                      <a:pt x="27" y="260"/>
                    </a:lnTo>
                    <a:lnTo>
                      <a:pt x="31" y="250"/>
                    </a:lnTo>
                    <a:lnTo>
                      <a:pt x="37" y="243"/>
                    </a:lnTo>
                    <a:lnTo>
                      <a:pt x="37" y="243"/>
                    </a:lnTo>
                    <a:lnTo>
                      <a:pt x="38" y="239"/>
                    </a:lnTo>
                    <a:lnTo>
                      <a:pt x="38" y="237"/>
                    </a:lnTo>
                    <a:lnTo>
                      <a:pt x="37" y="236"/>
                    </a:lnTo>
                    <a:lnTo>
                      <a:pt x="34" y="234"/>
                    </a:lnTo>
                    <a:lnTo>
                      <a:pt x="32" y="234"/>
                    </a:lnTo>
                    <a:lnTo>
                      <a:pt x="32" y="233"/>
                    </a:lnTo>
                    <a:lnTo>
                      <a:pt x="32" y="23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69" name="Papua New Guinea"/>
              <p:cNvSpPr>
                <a:spLocks noEditPoints="1"/>
              </p:cNvSpPr>
              <p:nvPr/>
            </p:nvSpPr>
            <p:spPr bwMode="auto">
              <a:xfrm>
                <a:off x="7644031" y="4380769"/>
                <a:ext cx="294478" cy="192372"/>
              </a:xfrm>
              <a:custGeom>
                <a:avLst/>
                <a:gdLst/>
                <a:ahLst/>
                <a:cxnLst>
                  <a:cxn ang="0">
                    <a:pos x="140" y="116"/>
                  </a:cxn>
                  <a:cxn ang="0">
                    <a:pos x="135" y="110"/>
                  </a:cxn>
                  <a:cxn ang="0">
                    <a:pos x="130" y="106"/>
                  </a:cxn>
                  <a:cxn ang="0">
                    <a:pos x="120" y="101"/>
                  </a:cxn>
                  <a:cxn ang="0">
                    <a:pos x="114" y="91"/>
                  </a:cxn>
                  <a:cxn ang="0">
                    <a:pos x="108" y="80"/>
                  </a:cxn>
                  <a:cxn ang="0">
                    <a:pos x="100" y="73"/>
                  </a:cxn>
                  <a:cxn ang="0">
                    <a:pos x="101" y="67"/>
                  </a:cxn>
                  <a:cxn ang="0">
                    <a:pos x="108" y="67"/>
                  </a:cxn>
                  <a:cxn ang="0">
                    <a:pos x="107" y="57"/>
                  </a:cxn>
                  <a:cxn ang="0">
                    <a:pos x="100" y="53"/>
                  </a:cxn>
                  <a:cxn ang="0">
                    <a:pos x="77" y="42"/>
                  </a:cxn>
                  <a:cxn ang="0">
                    <a:pos x="73" y="36"/>
                  </a:cxn>
                  <a:cxn ang="0">
                    <a:pos x="30" y="10"/>
                  </a:cxn>
                  <a:cxn ang="0">
                    <a:pos x="0" y="0"/>
                  </a:cxn>
                  <a:cxn ang="0">
                    <a:pos x="7" y="106"/>
                  </a:cxn>
                  <a:cxn ang="0">
                    <a:pos x="24" y="107"/>
                  </a:cxn>
                  <a:cxn ang="0">
                    <a:pos x="34" y="103"/>
                  </a:cxn>
                  <a:cxn ang="0">
                    <a:pos x="37" y="97"/>
                  </a:cxn>
                  <a:cxn ang="0">
                    <a:pos x="42" y="93"/>
                  </a:cxn>
                  <a:cxn ang="0">
                    <a:pos x="49" y="84"/>
                  </a:cxn>
                  <a:cxn ang="0">
                    <a:pos x="71" y="87"/>
                  </a:cxn>
                  <a:cxn ang="0">
                    <a:pos x="88" y="101"/>
                  </a:cxn>
                  <a:cxn ang="0">
                    <a:pos x="111" y="124"/>
                  </a:cxn>
                  <a:cxn ang="0">
                    <a:pos x="120" y="124"/>
                  </a:cxn>
                  <a:cxn ang="0">
                    <a:pos x="141" y="128"/>
                  </a:cxn>
                  <a:cxn ang="0">
                    <a:pos x="152" y="130"/>
                  </a:cxn>
                  <a:cxn ang="0">
                    <a:pos x="152" y="126"/>
                  </a:cxn>
                  <a:cxn ang="0">
                    <a:pos x="147" y="120"/>
                  </a:cxn>
                  <a:cxn ang="0">
                    <a:pos x="172" y="39"/>
                  </a:cxn>
                  <a:cxn ang="0">
                    <a:pos x="154" y="47"/>
                  </a:cxn>
                  <a:cxn ang="0">
                    <a:pos x="133" y="47"/>
                  </a:cxn>
                  <a:cxn ang="0">
                    <a:pos x="120" y="49"/>
                  </a:cxn>
                  <a:cxn ang="0">
                    <a:pos x="123" y="52"/>
                  </a:cxn>
                  <a:cxn ang="0">
                    <a:pos x="147" y="60"/>
                  </a:cxn>
                  <a:cxn ang="0">
                    <a:pos x="157" y="59"/>
                  </a:cxn>
                  <a:cxn ang="0">
                    <a:pos x="178" y="46"/>
                  </a:cxn>
                  <a:cxn ang="0">
                    <a:pos x="181" y="40"/>
                  </a:cxn>
                  <a:cxn ang="0">
                    <a:pos x="185" y="32"/>
                  </a:cxn>
                  <a:cxn ang="0">
                    <a:pos x="181" y="29"/>
                  </a:cxn>
                  <a:cxn ang="0">
                    <a:pos x="174" y="36"/>
                  </a:cxn>
                  <a:cxn ang="0">
                    <a:pos x="189" y="17"/>
                  </a:cxn>
                  <a:cxn ang="0">
                    <a:pos x="181" y="15"/>
                  </a:cxn>
                  <a:cxn ang="0">
                    <a:pos x="189" y="25"/>
                  </a:cxn>
                  <a:cxn ang="0">
                    <a:pos x="194" y="34"/>
                  </a:cxn>
                  <a:cxn ang="0">
                    <a:pos x="198" y="33"/>
                  </a:cxn>
                  <a:cxn ang="0">
                    <a:pos x="198" y="27"/>
                  </a:cxn>
                  <a:cxn ang="0">
                    <a:pos x="189" y="17"/>
                  </a:cxn>
                </a:cxnLst>
                <a:rect l="0" t="0" r="r" b="b"/>
                <a:pathLst>
                  <a:path w="199" h="130">
                    <a:moveTo>
                      <a:pt x="147" y="120"/>
                    </a:moveTo>
                    <a:lnTo>
                      <a:pt x="147" y="120"/>
                    </a:lnTo>
                    <a:lnTo>
                      <a:pt x="140" y="116"/>
                    </a:lnTo>
                    <a:lnTo>
                      <a:pt x="137" y="113"/>
                    </a:lnTo>
                    <a:lnTo>
                      <a:pt x="135" y="110"/>
                    </a:lnTo>
                    <a:lnTo>
                      <a:pt x="135" y="110"/>
                    </a:lnTo>
                    <a:lnTo>
                      <a:pt x="135" y="108"/>
                    </a:lnTo>
                    <a:lnTo>
                      <a:pt x="134" y="107"/>
                    </a:lnTo>
                    <a:lnTo>
                      <a:pt x="130" y="106"/>
                    </a:lnTo>
                    <a:lnTo>
                      <a:pt x="124" y="104"/>
                    </a:lnTo>
                    <a:lnTo>
                      <a:pt x="120" y="101"/>
                    </a:lnTo>
                    <a:lnTo>
                      <a:pt x="120" y="101"/>
                    </a:lnTo>
                    <a:lnTo>
                      <a:pt x="117" y="100"/>
                    </a:lnTo>
                    <a:lnTo>
                      <a:pt x="115" y="97"/>
                    </a:lnTo>
                    <a:lnTo>
                      <a:pt x="114" y="91"/>
                    </a:lnTo>
                    <a:lnTo>
                      <a:pt x="111" y="84"/>
                    </a:lnTo>
                    <a:lnTo>
                      <a:pt x="110" y="81"/>
                    </a:lnTo>
                    <a:lnTo>
                      <a:pt x="108" y="80"/>
                    </a:lnTo>
                    <a:lnTo>
                      <a:pt x="108" y="80"/>
                    </a:lnTo>
                    <a:lnTo>
                      <a:pt x="103" y="77"/>
                    </a:lnTo>
                    <a:lnTo>
                      <a:pt x="100" y="73"/>
                    </a:lnTo>
                    <a:lnTo>
                      <a:pt x="100" y="70"/>
                    </a:lnTo>
                    <a:lnTo>
                      <a:pt x="100" y="69"/>
                    </a:lnTo>
                    <a:lnTo>
                      <a:pt x="101" y="67"/>
                    </a:lnTo>
                    <a:lnTo>
                      <a:pt x="104" y="67"/>
                    </a:lnTo>
                    <a:lnTo>
                      <a:pt x="104" y="67"/>
                    </a:lnTo>
                    <a:lnTo>
                      <a:pt x="108" y="67"/>
                    </a:lnTo>
                    <a:lnTo>
                      <a:pt x="111" y="64"/>
                    </a:lnTo>
                    <a:lnTo>
                      <a:pt x="111" y="62"/>
                    </a:lnTo>
                    <a:lnTo>
                      <a:pt x="107" y="57"/>
                    </a:lnTo>
                    <a:lnTo>
                      <a:pt x="107" y="57"/>
                    </a:lnTo>
                    <a:lnTo>
                      <a:pt x="104" y="54"/>
                    </a:lnTo>
                    <a:lnTo>
                      <a:pt x="100" y="53"/>
                    </a:lnTo>
                    <a:lnTo>
                      <a:pt x="90" y="49"/>
                    </a:lnTo>
                    <a:lnTo>
                      <a:pt x="80" y="44"/>
                    </a:lnTo>
                    <a:lnTo>
                      <a:pt x="77" y="42"/>
                    </a:lnTo>
                    <a:lnTo>
                      <a:pt x="76" y="39"/>
                    </a:lnTo>
                    <a:lnTo>
                      <a:pt x="76" y="39"/>
                    </a:lnTo>
                    <a:lnTo>
                      <a:pt x="73" y="36"/>
                    </a:lnTo>
                    <a:lnTo>
                      <a:pt x="69" y="30"/>
                    </a:lnTo>
                    <a:lnTo>
                      <a:pt x="50" y="20"/>
                    </a:lnTo>
                    <a:lnTo>
                      <a:pt x="30" y="10"/>
                    </a:lnTo>
                    <a:lnTo>
                      <a:pt x="13" y="5"/>
                    </a:lnTo>
                    <a:lnTo>
                      <a:pt x="13" y="5"/>
                    </a:lnTo>
                    <a:lnTo>
                      <a:pt x="0" y="0"/>
                    </a:lnTo>
                    <a:lnTo>
                      <a:pt x="0" y="103"/>
                    </a:lnTo>
                    <a:lnTo>
                      <a:pt x="0" y="103"/>
                    </a:lnTo>
                    <a:lnTo>
                      <a:pt x="7" y="106"/>
                    </a:lnTo>
                    <a:lnTo>
                      <a:pt x="17" y="108"/>
                    </a:lnTo>
                    <a:lnTo>
                      <a:pt x="17" y="108"/>
                    </a:lnTo>
                    <a:lnTo>
                      <a:pt x="24" y="107"/>
                    </a:lnTo>
                    <a:lnTo>
                      <a:pt x="29" y="107"/>
                    </a:lnTo>
                    <a:lnTo>
                      <a:pt x="32" y="104"/>
                    </a:lnTo>
                    <a:lnTo>
                      <a:pt x="34" y="103"/>
                    </a:lnTo>
                    <a:lnTo>
                      <a:pt x="36" y="98"/>
                    </a:lnTo>
                    <a:lnTo>
                      <a:pt x="36" y="97"/>
                    </a:lnTo>
                    <a:lnTo>
                      <a:pt x="37" y="97"/>
                    </a:lnTo>
                    <a:lnTo>
                      <a:pt x="37" y="97"/>
                    </a:lnTo>
                    <a:lnTo>
                      <a:pt x="40" y="96"/>
                    </a:lnTo>
                    <a:lnTo>
                      <a:pt x="42" y="93"/>
                    </a:lnTo>
                    <a:lnTo>
                      <a:pt x="47" y="86"/>
                    </a:lnTo>
                    <a:lnTo>
                      <a:pt x="47" y="86"/>
                    </a:lnTo>
                    <a:lnTo>
                      <a:pt x="49" y="84"/>
                    </a:lnTo>
                    <a:lnTo>
                      <a:pt x="51" y="83"/>
                    </a:lnTo>
                    <a:lnTo>
                      <a:pt x="61" y="84"/>
                    </a:lnTo>
                    <a:lnTo>
                      <a:pt x="71" y="87"/>
                    </a:lnTo>
                    <a:lnTo>
                      <a:pt x="80" y="93"/>
                    </a:lnTo>
                    <a:lnTo>
                      <a:pt x="80" y="93"/>
                    </a:lnTo>
                    <a:lnTo>
                      <a:pt x="88" y="101"/>
                    </a:lnTo>
                    <a:lnTo>
                      <a:pt x="97" y="113"/>
                    </a:lnTo>
                    <a:lnTo>
                      <a:pt x="107" y="121"/>
                    </a:lnTo>
                    <a:lnTo>
                      <a:pt x="111" y="124"/>
                    </a:lnTo>
                    <a:lnTo>
                      <a:pt x="115" y="124"/>
                    </a:lnTo>
                    <a:lnTo>
                      <a:pt x="115" y="124"/>
                    </a:lnTo>
                    <a:lnTo>
                      <a:pt x="120" y="124"/>
                    </a:lnTo>
                    <a:lnTo>
                      <a:pt x="124" y="124"/>
                    </a:lnTo>
                    <a:lnTo>
                      <a:pt x="133" y="127"/>
                    </a:lnTo>
                    <a:lnTo>
                      <a:pt x="141" y="128"/>
                    </a:lnTo>
                    <a:lnTo>
                      <a:pt x="150" y="130"/>
                    </a:lnTo>
                    <a:lnTo>
                      <a:pt x="150" y="130"/>
                    </a:lnTo>
                    <a:lnTo>
                      <a:pt x="152" y="130"/>
                    </a:lnTo>
                    <a:lnTo>
                      <a:pt x="154" y="128"/>
                    </a:lnTo>
                    <a:lnTo>
                      <a:pt x="154" y="127"/>
                    </a:lnTo>
                    <a:lnTo>
                      <a:pt x="152" y="126"/>
                    </a:lnTo>
                    <a:lnTo>
                      <a:pt x="150" y="123"/>
                    </a:lnTo>
                    <a:lnTo>
                      <a:pt x="147" y="120"/>
                    </a:lnTo>
                    <a:lnTo>
                      <a:pt x="147" y="120"/>
                    </a:lnTo>
                    <a:close/>
                    <a:moveTo>
                      <a:pt x="174" y="36"/>
                    </a:moveTo>
                    <a:lnTo>
                      <a:pt x="174" y="36"/>
                    </a:lnTo>
                    <a:lnTo>
                      <a:pt x="172" y="39"/>
                    </a:lnTo>
                    <a:lnTo>
                      <a:pt x="168" y="42"/>
                    </a:lnTo>
                    <a:lnTo>
                      <a:pt x="154" y="47"/>
                    </a:lnTo>
                    <a:lnTo>
                      <a:pt x="154" y="47"/>
                    </a:lnTo>
                    <a:lnTo>
                      <a:pt x="150" y="49"/>
                    </a:lnTo>
                    <a:lnTo>
                      <a:pt x="144" y="49"/>
                    </a:lnTo>
                    <a:lnTo>
                      <a:pt x="133" y="47"/>
                    </a:lnTo>
                    <a:lnTo>
                      <a:pt x="124" y="46"/>
                    </a:lnTo>
                    <a:lnTo>
                      <a:pt x="121" y="47"/>
                    </a:lnTo>
                    <a:lnTo>
                      <a:pt x="120" y="49"/>
                    </a:lnTo>
                    <a:lnTo>
                      <a:pt x="120" y="49"/>
                    </a:lnTo>
                    <a:lnTo>
                      <a:pt x="121" y="50"/>
                    </a:lnTo>
                    <a:lnTo>
                      <a:pt x="123" y="52"/>
                    </a:lnTo>
                    <a:lnTo>
                      <a:pt x="128" y="56"/>
                    </a:lnTo>
                    <a:lnTo>
                      <a:pt x="137" y="59"/>
                    </a:lnTo>
                    <a:lnTo>
                      <a:pt x="147" y="60"/>
                    </a:lnTo>
                    <a:lnTo>
                      <a:pt x="147" y="60"/>
                    </a:lnTo>
                    <a:lnTo>
                      <a:pt x="151" y="60"/>
                    </a:lnTo>
                    <a:lnTo>
                      <a:pt x="157" y="59"/>
                    </a:lnTo>
                    <a:lnTo>
                      <a:pt x="168" y="53"/>
                    </a:lnTo>
                    <a:lnTo>
                      <a:pt x="175" y="49"/>
                    </a:lnTo>
                    <a:lnTo>
                      <a:pt x="178" y="46"/>
                    </a:lnTo>
                    <a:lnTo>
                      <a:pt x="179" y="44"/>
                    </a:lnTo>
                    <a:lnTo>
                      <a:pt x="179" y="44"/>
                    </a:lnTo>
                    <a:lnTo>
                      <a:pt x="181" y="40"/>
                    </a:lnTo>
                    <a:lnTo>
                      <a:pt x="182" y="37"/>
                    </a:lnTo>
                    <a:lnTo>
                      <a:pt x="185" y="33"/>
                    </a:lnTo>
                    <a:lnTo>
                      <a:pt x="185" y="32"/>
                    </a:lnTo>
                    <a:lnTo>
                      <a:pt x="184" y="30"/>
                    </a:lnTo>
                    <a:lnTo>
                      <a:pt x="184" y="30"/>
                    </a:lnTo>
                    <a:lnTo>
                      <a:pt x="181" y="29"/>
                    </a:lnTo>
                    <a:lnTo>
                      <a:pt x="178" y="30"/>
                    </a:lnTo>
                    <a:lnTo>
                      <a:pt x="175" y="33"/>
                    </a:lnTo>
                    <a:lnTo>
                      <a:pt x="174" y="36"/>
                    </a:lnTo>
                    <a:lnTo>
                      <a:pt x="174" y="36"/>
                    </a:lnTo>
                    <a:close/>
                    <a:moveTo>
                      <a:pt x="189" y="17"/>
                    </a:moveTo>
                    <a:lnTo>
                      <a:pt x="189" y="17"/>
                    </a:lnTo>
                    <a:lnTo>
                      <a:pt x="181" y="13"/>
                    </a:lnTo>
                    <a:lnTo>
                      <a:pt x="181" y="13"/>
                    </a:lnTo>
                    <a:lnTo>
                      <a:pt x="181" y="15"/>
                    </a:lnTo>
                    <a:lnTo>
                      <a:pt x="185" y="19"/>
                    </a:lnTo>
                    <a:lnTo>
                      <a:pt x="185" y="19"/>
                    </a:lnTo>
                    <a:lnTo>
                      <a:pt x="189" y="25"/>
                    </a:lnTo>
                    <a:lnTo>
                      <a:pt x="191" y="30"/>
                    </a:lnTo>
                    <a:lnTo>
                      <a:pt x="192" y="33"/>
                    </a:lnTo>
                    <a:lnTo>
                      <a:pt x="194" y="34"/>
                    </a:lnTo>
                    <a:lnTo>
                      <a:pt x="195" y="34"/>
                    </a:lnTo>
                    <a:lnTo>
                      <a:pt x="195" y="34"/>
                    </a:lnTo>
                    <a:lnTo>
                      <a:pt x="198" y="33"/>
                    </a:lnTo>
                    <a:lnTo>
                      <a:pt x="199" y="32"/>
                    </a:lnTo>
                    <a:lnTo>
                      <a:pt x="199" y="29"/>
                    </a:lnTo>
                    <a:lnTo>
                      <a:pt x="198" y="27"/>
                    </a:lnTo>
                    <a:lnTo>
                      <a:pt x="195" y="22"/>
                    </a:lnTo>
                    <a:lnTo>
                      <a:pt x="189" y="17"/>
                    </a:lnTo>
                    <a:lnTo>
                      <a:pt x="189" y="1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94" name="North Korea"/>
              <p:cNvSpPr>
                <a:spLocks/>
              </p:cNvSpPr>
              <p:nvPr/>
            </p:nvSpPr>
            <p:spPr bwMode="auto">
              <a:xfrm>
                <a:off x="7245970" y="3219139"/>
                <a:ext cx="164256" cy="152418"/>
              </a:xfrm>
              <a:custGeom>
                <a:avLst/>
                <a:gdLst/>
                <a:ahLst/>
                <a:cxnLst>
                  <a:cxn ang="0">
                    <a:pos x="106" y="4"/>
                  </a:cxn>
                  <a:cxn ang="0">
                    <a:pos x="99" y="3"/>
                  </a:cxn>
                  <a:cxn ang="0">
                    <a:pos x="93" y="0"/>
                  </a:cxn>
                  <a:cxn ang="0">
                    <a:pos x="91" y="0"/>
                  </a:cxn>
                  <a:cxn ang="0">
                    <a:pos x="89" y="6"/>
                  </a:cxn>
                  <a:cxn ang="0">
                    <a:pos x="86" y="11"/>
                  </a:cxn>
                  <a:cxn ang="0">
                    <a:pos x="83" y="11"/>
                  </a:cxn>
                  <a:cxn ang="0">
                    <a:pos x="79" y="16"/>
                  </a:cxn>
                  <a:cxn ang="0">
                    <a:pos x="73" y="20"/>
                  </a:cxn>
                  <a:cxn ang="0">
                    <a:pos x="66" y="21"/>
                  </a:cxn>
                  <a:cxn ang="0">
                    <a:pos x="66" y="27"/>
                  </a:cxn>
                  <a:cxn ang="0">
                    <a:pos x="67" y="29"/>
                  </a:cxn>
                  <a:cxn ang="0">
                    <a:pos x="56" y="30"/>
                  </a:cxn>
                  <a:cxn ang="0">
                    <a:pos x="52" y="29"/>
                  </a:cxn>
                  <a:cxn ang="0">
                    <a:pos x="47" y="26"/>
                  </a:cxn>
                  <a:cxn ang="0">
                    <a:pos x="46" y="26"/>
                  </a:cxn>
                  <a:cxn ang="0">
                    <a:pos x="40" y="30"/>
                  </a:cxn>
                  <a:cxn ang="0">
                    <a:pos x="35" y="37"/>
                  </a:cxn>
                  <a:cxn ang="0">
                    <a:pos x="22" y="46"/>
                  </a:cxn>
                  <a:cxn ang="0">
                    <a:pos x="5" y="53"/>
                  </a:cxn>
                  <a:cxn ang="0">
                    <a:pos x="0" y="60"/>
                  </a:cxn>
                  <a:cxn ang="0">
                    <a:pos x="6" y="61"/>
                  </a:cxn>
                  <a:cxn ang="0">
                    <a:pos x="16" y="67"/>
                  </a:cxn>
                  <a:cxn ang="0">
                    <a:pos x="19" y="70"/>
                  </a:cxn>
                  <a:cxn ang="0">
                    <a:pos x="20" y="74"/>
                  </a:cxn>
                  <a:cxn ang="0">
                    <a:pos x="9" y="87"/>
                  </a:cxn>
                  <a:cxn ang="0">
                    <a:pos x="7" y="90"/>
                  </a:cxn>
                  <a:cxn ang="0">
                    <a:pos x="12" y="94"/>
                  </a:cxn>
                  <a:cxn ang="0">
                    <a:pos x="12" y="97"/>
                  </a:cxn>
                  <a:cxn ang="0">
                    <a:pos x="16" y="101"/>
                  </a:cxn>
                  <a:cxn ang="0">
                    <a:pos x="20" y="101"/>
                  </a:cxn>
                  <a:cxn ang="0">
                    <a:pos x="22" y="98"/>
                  </a:cxn>
                  <a:cxn ang="0">
                    <a:pos x="33" y="98"/>
                  </a:cxn>
                  <a:cxn ang="0">
                    <a:pos x="35" y="98"/>
                  </a:cxn>
                  <a:cxn ang="0">
                    <a:pos x="36" y="100"/>
                  </a:cxn>
                  <a:cxn ang="0">
                    <a:pos x="46" y="93"/>
                  </a:cxn>
                  <a:cxn ang="0">
                    <a:pos x="52" y="91"/>
                  </a:cxn>
                  <a:cxn ang="0">
                    <a:pos x="60" y="90"/>
                  </a:cxn>
                  <a:cxn ang="0">
                    <a:pos x="69" y="87"/>
                  </a:cxn>
                  <a:cxn ang="0">
                    <a:pos x="60" y="78"/>
                  </a:cxn>
                  <a:cxn ang="0">
                    <a:pos x="54" y="74"/>
                  </a:cxn>
                  <a:cxn ang="0">
                    <a:pos x="52" y="70"/>
                  </a:cxn>
                  <a:cxn ang="0">
                    <a:pos x="54" y="61"/>
                  </a:cxn>
                  <a:cxn ang="0">
                    <a:pos x="59" y="60"/>
                  </a:cxn>
                  <a:cxn ang="0">
                    <a:pos x="74" y="51"/>
                  </a:cxn>
                  <a:cxn ang="0">
                    <a:pos x="87" y="43"/>
                  </a:cxn>
                  <a:cxn ang="0">
                    <a:pos x="90" y="34"/>
                  </a:cxn>
                  <a:cxn ang="0">
                    <a:pos x="93" y="23"/>
                  </a:cxn>
                  <a:cxn ang="0">
                    <a:pos x="100" y="14"/>
                  </a:cxn>
                  <a:cxn ang="0">
                    <a:pos x="111" y="6"/>
                  </a:cxn>
                  <a:cxn ang="0">
                    <a:pos x="106" y="4"/>
                  </a:cxn>
                </a:cxnLst>
                <a:rect l="0" t="0" r="r" b="b"/>
                <a:pathLst>
                  <a:path w="111" h="103">
                    <a:moveTo>
                      <a:pt x="106" y="4"/>
                    </a:moveTo>
                    <a:lnTo>
                      <a:pt x="106" y="4"/>
                    </a:lnTo>
                    <a:lnTo>
                      <a:pt x="103" y="4"/>
                    </a:lnTo>
                    <a:lnTo>
                      <a:pt x="99" y="3"/>
                    </a:lnTo>
                    <a:lnTo>
                      <a:pt x="96" y="0"/>
                    </a:lnTo>
                    <a:lnTo>
                      <a:pt x="93" y="0"/>
                    </a:lnTo>
                    <a:lnTo>
                      <a:pt x="93" y="0"/>
                    </a:lnTo>
                    <a:lnTo>
                      <a:pt x="91" y="0"/>
                    </a:lnTo>
                    <a:lnTo>
                      <a:pt x="90" y="1"/>
                    </a:lnTo>
                    <a:lnTo>
                      <a:pt x="89" y="6"/>
                    </a:lnTo>
                    <a:lnTo>
                      <a:pt x="87" y="10"/>
                    </a:lnTo>
                    <a:lnTo>
                      <a:pt x="86" y="11"/>
                    </a:lnTo>
                    <a:lnTo>
                      <a:pt x="83" y="11"/>
                    </a:lnTo>
                    <a:lnTo>
                      <a:pt x="83" y="11"/>
                    </a:lnTo>
                    <a:lnTo>
                      <a:pt x="80" y="13"/>
                    </a:lnTo>
                    <a:lnTo>
                      <a:pt x="79" y="16"/>
                    </a:lnTo>
                    <a:lnTo>
                      <a:pt x="76" y="19"/>
                    </a:lnTo>
                    <a:lnTo>
                      <a:pt x="73" y="20"/>
                    </a:lnTo>
                    <a:lnTo>
                      <a:pt x="73" y="20"/>
                    </a:lnTo>
                    <a:lnTo>
                      <a:pt x="66" y="21"/>
                    </a:lnTo>
                    <a:lnTo>
                      <a:pt x="64" y="23"/>
                    </a:lnTo>
                    <a:lnTo>
                      <a:pt x="66" y="27"/>
                    </a:lnTo>
                    <a:lnTo>
                      <a:pt x="66" y="27"/>
                    </a:lnTo>
                    <a:lnTo>
                      <a:pt x="67" y="29"/>
                    </a:lnTo>
                    <a:lnTo>
                      <a:pt x="64" y="30"/>
                    </a:lnTo>
                    <a:lnTo>
                      <a:pt x="56" y="30"/>
                    </a:lnTo>
                    <a:lnTo>
                      <a:pt x="56" y="30"/>
                    </a:lnTo>
                    <a:lnTo>
                      <a:pt x="52" y="29"/>
                    </a:lnTo>
                    <a:lnTo>
                      <a:pt x="50" y="27"/>
                    </a:lnTo>
                    <a:lnTo>
                      <a:pt x="47" y="26"/>
                    </a:lnTo>
                    <a:lnTo>
                      <a:pt x="46" y="26"/>
                    </a:lnTo>
                    <a:lnTo>
                      <a:pt x="46" y="26"/>
                    </a:lnTo>
                    <a:lnTo>
                      <a:pt x="43" y="27"/>
                    </a:lnTo>
                    <a:lnTo>
                      <a:pt x="40" y="30"/>
                    </a:lnTo>
                    <a:lnTo>
                      <a:pt x="35" y="37"/>
                    </a:lnTo>
                    <a:lnTo>
                      <a:pt x="35" y="37"/>
                    </a:lnTo>
                    <a:lnTo>
                      <a:pt x="30" y="41"/>
                    </a:lnTo>
                    <a:lnTo>
                      <a:pt x="22" y="46"/>
                    </a:lnTo>
                    <a:lnTo>
                      <a:pt x="5" y="53"/>
                    </a:lnTo>
                    <a:lnTo>
                      <a:pt x="5" y="53"/>
                    </a:lnTo>
                    <a:lnTo>
                      <a:pt x="3" y="56"/>
                    </a:lnTo>
                    <a:lnTo>
                      <a:pt x="0" y="60"/>
                    </a:lnTo>
                    <a:lnTo>
                      <a:pt x="0" y="60"/>
                    </a:lnTo>
                    <a:lnTo>
                      <a:pt x="6" y="61"/>
                    </a:lnTo>
                    <a:lnTo>
                      <a:pt x="12" y="64"/>
                    </a:lnTo>
                    <a:lnTo>
                      <a:pt x="16" y="67"/>
                    </a:lnTo>
                    <a:lnTo>
                      <a:pt x="19" y="70"/>
                    </a:lnTo>
                    <a:lnTo>
                      <a:pt x="19" y="70"/>
                    </a:lnTo>
                    <a:lnTo>
                      <a:pt x="20" y="71"/>
                    </a:lnTo>
                    <a:lnTo>
                      <a:pt x="20" y="74"/>
                    </a:lnTo>
                    <a:lnTo>
                      <a:pt x="17" y="78"/>
                    </a:lnTo>
                    <a:lnTo>
                      <a:pt x="9" y="87"/>
                    </a:lnTo>
                    <a:lnTo>
                      <a:pt x="9" y="87"/>
                    </a:lnTo>
                    <a:lnTo>
                      <a:pt x="7" y="90"/>
                    </a:lnTo>
                    <a:lnTo>
                      <a:pt x="9" y="93"/>
                    </a:lnTo>
                    <a:lnTo>
                      <a:pt x="12" y="94"/>
                    </a:lnTo>
                    <a:lnTo>
                      <a:pt x="12" y="97"/>
                    </a:lnTo>
                    <a:lnTo>
                      <a:pt x="12" y="97"/>
                    </a:lnTo>
                    <a:lnTo>
                      <a:pt x="13" y="100"/>
                    </a:lnTo>
                    <a:lnTo>
                      <a:pt x="16" y="101"/>
                    </a:lnTo>
                    <a:lnTo>
                      <a:pt x="19" y="103"/>
                    </a:lnTo>
                    <a:lnTo>
                      <a:pt x="20" y="101"/>
                    </a:lnTo>
                    <a:lnTo>
                      <a:pt x="20" y="101"/>
                    </a:lnTo>
                    <a:lnTo>
                      <a:pt x="22" y="98"/>
                    </a:lnTo>
                    <a:lnTo>
                      <a:pt x="25" y="98"/>
                    </a:lnTo>
                    <a:lnTo>
                      <a:pt x="33" y="98"/>
                    </a:lnTo>
                    <a:lnTo>
                      <a:pt x="33" y="98"/>
                    </a:lnTo>
                    <a:lnTo>
                      <a:pt x="35" y="98"/>
                    </a:lnTo>
                    <a:lnTo>
                      <a:pt x="36" y="100"/>
                    </a:lnTo>
                    <a:lnTo>
                      <a:pt x="36" y="100"/>
                    </a:lnTo>
                    <a:lnTo>
                      <a:pt x="46" y="93"/>
                    </a:lnTo>
                    <a:lnTo>
                      <a:pt x="46" y="93"/>
                    </a:lnTo>
                    <a:lnTo>
                      <a:pt x="49" y="91"/>
                    </a:lnTo>
                    <a:lnTo>
                      <a:pt x="52" y="91"/>
                    </a:lnTo>
                    <a:lnTo>
                      <a:pt x="60" y="90"/>
                    </a:lnTo>
                    <a:lnTo>
                      <a:pt x="60" y="90"/>
                    </a:lnTo>
                    <a:lnTo>
                      <a:pt x="64" y="90"/>
                    </a:lnTo>
                    <a:lnTo>
                      <a:pt x="69" y="87"/>
                    </a:lnTo>
                    <a:lnTo>
                      <a:pt x="69" y="87"/>
                    </a:lnTo>
                    <a:lnTo>
                      <a:pt x="60" y="78"/>
                    </a:lnTo>
                    <a:lnTo>
                      <a:pt x="54" y="74"/>
                    </a:lnTo>
                    <a:lnTo>
                      <a:pt x="54" y="74"/>
                    </a:lnTo>
                    <a:lnTo>
                      <a:pt x="53" y="73"/>
                    </a:lnTo>
                    <a:lnTo>
                      <a:pt x="52" y="70"/>
                    </a:lnTo>
                    <a:lnTo>
                      <a:pt x="53" y="66"/>
                    </a:lnTo>
                    <a:lnTo>
                      <a:pt x="54" y="61"/>
                    </a:lnTo>
                    <a:lnTo>
                      <a:pt x="59" y="60"/>
                    </a:lnTo>
                    <a:lnTo>
                      <a:pt x="59" y="60"/>
                    </a:lnTo>
                    <a:lnTo>
                      <a:pt x="66" y="57"/>
                    </a:lnTo>
                    <a:lnTo>
                      <a:pt x="74" y="51"/>
                    </a:lnTo>
                    <a:lnTo>
                      <a:pt x="87" y="43"/>
                    </a:lnTo>
                    <a:lnTo>
                      <a:pt x="87" y="43"/>
                    </a:lnTo>
                    <a:lnTo>
                      <a:pt x="90" y="38"/>
                    </a:lnTo>
                    <a:lnTo>
                      <a:pt x="90" y="34"/>
                    </a:lnTo>
                    <a:lnTo>
                      <a:pt x="91" y="29"/>
                    </a:lnTo>
                    <a:lnTo>
                      <a:pt x="93" y="23"/>
                    </a:lnTo>
                    <a:lnTo>
                      <a:pt x="93" y="23"/>
                    </a:lnTo>
                    <a:lnTo>
                      <a:pt x="100" y="14"/>
                    </a:lnTo>
                    <a:lnTo>
                      <a:pt x="111" y="6"/>
                    </a:lnTo>
                    <a:lnTo>
                      <a:pt x="111" y="6"/>
                    </a:lnTo>
                    <a:lnTo>
                      <a:pt x="106" y="4"/>
                    </a:lnTo>
                    <a:lnTo>
                      <a:pt x="106" y="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95" name="Nepal"/>
              <p:cNvSpPr>
                <a:spLocks/>
              </p:cNvSpPr>
              <p:nvPr/>
            </p:nvSpPr>
            <p:spPr bwMode="auto">
              <a:xfrm>
                <a:off x="6224919" y="3566888"/>
                <a:ext cx="179055" cy="100626"/>
              </a:xfrm>
              <a:custGeom>
                <a:avLst/>
                <a:gdLst/>
                <a:ahLst/>
                <a:cxnLst>
                  <a:cxn ang="0">
                    <a:pos x="121" y="44"/>
                  </a:cxn>
                  <a:cxn ang="0">
                    <a:pos x="117" y="44"/>
                  </a:cxn>
                  <a:cxn ang="0">
                    <a:pos x="106" y="42"/>
                  </a:cxn>
                  <a:cxn ang="0">
                    <a:pos x="96" y="40"/>
                  </a:cxn>
                  <a:cxn ang="0">
                    <a:pos x="90" y="38"/>
                  </a:cxn>
                  <a:cxn ang="0">
                    <a:pos x="73" y="33"/>
                  </a:cxn>
                  <a:cxn ang="0">
                    <a:pos x="66" y="27"/>
                  </a:cxn>
                  <a:cxn ang="0">
                    <a:pos x="33" y="4"/>
                  </a:cxn>
                  <a:cxn ang="0">
                    <a:pos x="29" y="1"/>
                  </a:cxn>
                  <a:cxn ang="0">
                    <a:pos x="22" y="0"/>
                  </a:cxn>
                  <a:cxn ang="0">
                    <a:pos x="20" y="1"/>
                  </a:cxn>
                  <a:cxn ang="0">
                    <a:pos x="16" y="3"/>
                  </a:cxn>
                  <a:cxn ang="0">
                    <a:pos x="10" y="4"/>
                  </a:cxn>
                  <a:cxn ang="0">
                    <a:pos x="3" y="11"/>
                  </a:cxn>
                  <a:cxn ang="0">
                    <a:pos x="3" y="13"/>
                  </a:cxn>
                  <a:cxn ang="0">
                    <a:pos x="0" y="25"/>
                  </a:cxn>
                  <a:cxn ang="0">
                    <a:pos x="0" y="27"/>
                  </a:cxn>
                  <a:cxn ang="0">
                    <a:pos x="6" y="30"/>
                  </a:cxn>
                  <a:cxn ang="0">
                    <a:pos x="9" y="31"/>
                  </a:cxn>
                  <a:cxn ang="0">
                    <a:pos x="15" y="35"/>
                  </a:cxn>
                  <a:cxn ang="0">
                    <a:pos x="20" y="38"/>
                  </a:cxn>
                  <a:cxn ang="0">
                    <a:pos x="23" y="40"/>
                  </a:cxn>
                  <a:cxn ang="0">
                    <a:pos x="33" y="44"/>
                  </a:cxn>
                  <a:cxn ang="0">
                    <a:pos x="36" y="45"/>
                  </a:cxn>
                  <a:cxn ang="0">
                    <a:pos x="46" y="52"/>
                  </a:cxn>
                  <a:cxn ang="0">
                    <a:pos x="49" y="52"/>
                  </a:cxn>
                  <a:cxn ang="0">
                    <a:pos x="62" y="50"/>
                  </a:cxn>
                  <a:cxn ang="0">
                    <a:pos x="64" y="51"/>
                  </a:cxn>
                  <a:cxn ang="0">
                    <a:pos x="70" y="58"/>
                  </a:cxn>
                  <a:cxn ang="0">
                    <a:pos x="73" y="61"/>
                  </a:cxn>
                  <a:cxn ang="0">
                    <a:pos x="87" y="64"/>
                  </a:cxn>
                  <a:cxn ang="0">
                    <a:pos x="91" y="67"/>
                  </a:cxn>
                  <a:cxn ang="0">
                    <a:pos x="106" y="68"/>
                  </a:cxn>
                  <a:cxn ang="0">
                    <a:pos x="119" y="64"/>
                  </a:cxn>
                  <a:cxn ang="0">
                    <a:pos x="121" y="61"/>
                  </a:cxn>
                  <a:cxn ang="0">
                    <a:pos x="120" y="48"/>
                  </a:cxn>
                  <a:cxn ang="0">
                    <a:pos x="121" y="44"/>
                  </a:cxn>
                </a:cxnLst>
                <a:rect l="0" t="0" r="r" b="b"/>
                <a:pathLst>
                  <a:path w="121" h="68">
                    <a:moveTo>
                      <a:pt x="121" y="44"/>
                    </a:moveTo>
                    <a:lnTo>
                      <a:pt x="121" y="44"/>
                    </a:lnTo>
                    <a:lnTo>
                      <a:pt x="117" y="44"/>
                    </a:lnTo>
                    <a:lnTo>
                      <a:pt x="117" y="44"/>
                    </a:lnTo>
                    <a:lnTo>
                      <a:pt x="111" y="44"/>
                    </a:lnTo>
                    <a:lnTo>
                      <a:pt x="106" y="42"/>
                    </a:lnTo>
                    <a:lnTo>
                      <a:pt x="101" y="41"/>
                    </a:lnTo>
                    <a:lnTo>
                      <a:pt x="96" y="40"/>
                    </a:lnTo>
                    <a:lnTo>
                      <a:pt x="96" y="40"/>
                    </a:lnTo>
                    <a:lnTo>
                      <a:pt x="90" y="38"/>
                    </a:lnTo>
                    <a:lnTo>
                      <a:pt x="82" y="35"/>
                    </a:lnTo>
                    <a:lnTo>
                      <a:pt x="73" y="33"/>
                    </a:lnTo>
                    <a:lnTo>
                      <a:pt x="66" y="27"/>
                    </a:lnTo>
                    <a:lnTo>
                      <a:pt x="66" y="27"/>
                    </a:lnTo>
                    <a:lnTo>
                      <a:pt x="47" y="15"/>
                    </a:lnTo>
                    <a:lnTo>
                      <a:pt x="33" y="4"/>
                    </a:lnTo>
                    <a:lnTo>
                      <a:pt x="33" y="4"/>
                    </a:lnTo>
                    <a:lnTo>
                      <a:pt x="29" y="1"/>
                    </a:lnTo>
                    <a:lnTo>
                      <a:pt x="25" y="0"/>
                    </a:lnTo>
                    <a:lnTo>
                      <a:pt x="22" y="0"/>
                    </a:lnTo>
                    <a:lnTo>
                      <a:pt x="20" y="1"/>
                    </a:lnTo>
                    <a:lnTo>
                      <a:pt x="20" y="1"/>
                    </a:lnTo>
                    <a:lnTo>
                      <a:pt x="19" y="3"/>
                    </a:lnTo>
                    <a:lnTo>
                      <a:pt x="16" y="3"/>
                    </a:lnTo>
                    <a:lnTo>
                      <a:pt x="10" y="4"/>
                    </a:lnTo>
                    <a:lnTo>
                      <a:pt x="10" y="4"/>
                    </a:lnTo>
                    <a:lnTo>
                      <a:pt x="6" y="8"/>
                    </a:lnTo>
                    <a:lnTo>
                      <a:pt x="3" y="11"/>
                    </a:lnTo>
                    <a:lnTo>
                      <a:pt x="3" y="13"/>
                    </a:lnTo>
                    <a:lnTo>
                      <a:pt x="3" y="13"/>
                    </a:lnTo>
                    <a:lnTo>
                      <a:pt x="2" y="20"/>
                    </a:lnTo>
                    <a:lnTo>
                      <a:pt x="0" y="25"/>
                    </a:lnTo>
                    <a:lnTo>
                      <a:pt x="0" y="25"/>
                    </a:lnTo>
                    <a:lnTo>
                      <a:pt x="0" y="27"/>
                    </a:lnTo>
                    <a:lnTo>
                      <a:pt x="3" y="28"/>
                    </a:lnTo>
                    <a:lnTo>
                      <a:pt x="6" y="30"/>
                    </a:lnTo>
                    <a:lnTo>
                      <a:pt x="9" y="31"/>
                    </a:lnTo>
                    <a:lnTo>
                      <a:pt x="9" y="31"/>
                    </a:lnTo>
                    <a:lnTo>
                      <a:pt x="10" y="34"/>
                    </a:lnTo>
                    <a:lnTo>
                      <a:pt x="15" y="35"/>
                    </a:lnTo>
                    <a:lnTo>
                      <a:pt x="19" y="37"/>
                    </a:lnTo>
                    <a:lnTo>
                      <a:pt x="20" y="38"/>
                    </a:lnTo>
                    <a:lnTo>
                      <a:pt x="20" y="38"/>
                    </a:lnTo>
                    <a:lnTo>
                      <a:pt x="23" y="40"/>
                    </a:lnTo>
                    <a:lnTo>
                      <a:pt x="26" y="42"/>
                    </a:lnTo>
                    <a:lnTo>
                      <a:pt x="33" y="44"/>
                    </a:lnTo>
                    <a:lnTo>
                      <a:pt x="33" y="44"/>
                    </a:lnTo>
                    <a:lnTo>
                      <a:pt x="36" y="45"/>
                    </a:lnTo>
                    <a:lnTo>
                      <a:pt x="40" y="48"/>
                    </a:lnTo>
                    <a:lnTo>
                      <a:pt x="46" y="52"/>
                    </a:lnTo>
                    <a:lnTo>
                      <a:pt x="46" y="52"/>
                    </a:lnTo>
                    <a:lnTo>
                      <a:pt x="49" y="52"/>
                    </a:lnTo>
                    <a:lnTo>
                      <a:pt x="53" y="51"/>
                    </a:lnTo>
                    <a:lnTo>
                      <a:pt x="62" y="50"/>
                    </a:lnTo>
                    <a:lnTo>
                      <a:pt x="62" y="50"/>
                    </a:lnTo>
                    <a:lnTo>
                      <a:pt x="64" y="51"/>
                    </a:lnTo>
                    <a:lnTo>
                      <a:pt x="67" y="52"/>
                    </a:lnTo>
                    <a:lnTo>
                      <a:pt x="70" y="58"/>
                    </a:lnTo>
                    <a:lnTo>
                      <a:pt x="70" y="58"/>
                    </a:lnTo>
                    <a:lnTo>
                      <a:pt x="73" y="61"/>
                    </a:lnTo>
                    <a:lnTo>
                      <a:pt x="80" y="62"/>
                    </a:lnTo>
                    <a:lnTo>
                      <a:pt x="87" y="64"/>
                    </a:lnTo>
                    <a:lnTo>
                      <a:pt x="91" y="67"/>
                    </a:lnTo>
                    <a:lnTo>
                      <a:pt x="91" y="67"/>
                    </a:lnTo>
                    <a:lnTo>
                      <a:pt x="97" y="68"/>
                    </a:lnTo>
                    <a:lnTo>
                      <a:pt x="106" y="68"/>
                    </a:lnTo>
                    <a:lnTo>
                      <a:pt x="114" y="67"/>
                    </a:lnTo>
                    <a:lnTo>
                      <a:pt x="119" y="64"/>
                    </a:lnTo>
                    <a:lnTo>
                      <a:pt x="119" y="64"/>
                    </a:lnTo>
                    <a:lnTo>
                      <a:pt x="121" y="61"/>
                    </a:lnTo>
                    <a:lnTo>
                      <a:pt x="121" y="57"/>
                    </a:lnTo>
                    <a:lnTo>
                      <a:pt x="120" y="48"/>
                    </a:lnTo>
                    <a:lnTo>
                      <a:pt x="120" y="48"/>
                    </a:lnTo>
                    <a:lnTo>
                      <a:pt x="121" y="44"/>
                    </a:lnTo>
                    <a:lnTo>
                      <a:pt x="121" y="4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96" name="Myanmar"/>
              <p:cNvSpPr>
                <a:spLocks/>
              </p:cNvSpPr>
              <p:nvPr/>
            </p:nvSpPr>
            <p:spPr bwMode="auto">
              <a:xfrm>
                <a:off x="6488321" y="3615721"/>
                <a:ext cx="204210" cy="443935"/>
              </a:xfrm>
              <a:custGeom>
                <a:avLst/>
                <a:gdLst/>
                <a:ahLst/>
                <a:cxnLst>
                  <a:cxn ang="0">
                    <a:pos x="108" y="267"/>
                  </a:cxn>
                  <a:cxn ang="0">
                    <a:pos x="106" y="251"/>
                  </a:cxn>
                  <a:cxn ang="0">
                    <a:pos x="96" y="237"/>
                  </a:cxn>
                  <a:cxn ang="0">
                    <a:pos x="94" y="224"/>
                  </a:cxn>
                  <a:cxn ang="0">
                    <a:pos x="97" y="213"/>
                  </a:cxn>
                  <a:cxn ang="0">
                    <a:pos x="100" y="207"/>
                  </a:cxn>
                  <a:cxn ang="0">
                    <a:pos x="96" y="200"/>
                  </a:cxn>
                  <a:cxn ang="0">
                    <a:pos x="91" y="193"/>
                  </a:cxn>
                  <a:cxn ang="0">
                    <a:pos x="83" y="180"/>
                  </a:cxn>
                  <a:cxn ang="0">
                    <a:pos x="90" y="150"/>
                  </a:cxn>
                  <a:cxn ang="0">
                    <a:pos x="104" y="149"/>
                  </a:cxn>
                  <a:cxn ang="0">
                    <a:pos x="114" y="142"/>
                  </a:cxn>
                  <a:cxn ang="0">
                    <a:pos x="123" y="136"/>
                  </a:cxn>
                  <a:cxn ang="0">
                    <a:pos x="130" y="130"/>
                  </a:cxn>
                  <a:cxn ang="0">
                    <a:pos x="137" y="118"/>
                  </a:cxn>
                  <a:cxn ang="0">
                    <a:pos x="135" y="118"/>
                  </a:cxn>
                  <a:cxn ang="0">
                    <a:pos x="123" y="119"/>
                  </a:cxn>
                  <a:cxn ang="0">
                    <a:pos x="120" y="112"/>
                  </a:cxn>
                  <a:cxn ang="0">
                    <a:pos x="110" y="109"/>
                  </a:cxn>
                  <a:cxn ang="0">
                    <a:pos x="113" y="96"/>
                  </a:cxn>
                  <a:cxn ang="0">
                    <a:pos x="106" y="92"/>
                  </a:cxn>
                  <a:cxn ang="0">
                    <a:pos x="101" y="79"/>
                  </a:cxn>
                  <a:cxn ang="0">
                    <a:pos x="96" y="75"/>
                  </a:cxn>
                  <a:cxn ang="0">
                    <a:pos x="84" y="76"/>
                  </a:cxn>
                  <a:cxn ang="0">
                    <a:pos x="83" y="68"/>
                  </a:cxn>
                  <a:cxn ang="0">
                    <a:pos x="97" y="45"/>
                  </a:cxn>
                  <a:cxn ang="0">
                    <a:pos x="100" y="22"/>
                  </a:cxn>
                  <a:cxn ang="0">
                    <a:pos x="96" y="14"/>
                  </a:cxn>
                  <a:cxn ang="0">
                    <a:pos x="91" y="11"/>
                  </a:cxn>
                  <a:cxn ang="0">
                    <a:pos x="87" y="1"/>
                  </a:cxn>
                  <a:cxn ang="0">
                    <a:pos x="77" y="2"/>
                  </a:cxn>
                  <a:cxn ang="0">
                    <a:pos x="76" y="5"/>
                  </a:cxn>
                  <a:cxn ang="0">
                    <a:pos x="71" y="11"/>
                  </a:cxn>
                  <a:cxn ang="0">
                    <a:pos x="74" y="21"/>
                  </a:cxn>
                  <a:cxn ang="0">
                    <a:pos x="70" y="22"/>
                  </a:cxn>
                  <a:cxn ang="0">
                    <a:pos x="66" y="19"/>
                  </a:cxn>
                  <a:cxn ang="0">
                    <a:pos x="47" y="32"/>
                  </a:cxn>
                  <a:cxn ang="0">
                    <a:pos x="43" y="45"/>
                  </a:cxn>
                  <a:cxn ang="0">
                    <a:pos x="39" y="59"/>
                  </a:cxn>
                  <a:cxn ang="0">
                    <a:pos x="33" y="78"/>
                  </a:cxn>
                  <a:cxn ang="0">
                    <a:pos x="29" y="79"/>
                  </a:cxn>
                  <a:cxn ang="0">
                    <a:pos x="20" y="85"/>
                  </a:cxn>
                  <a:cxn ang="0">
                    <a:pos x="16" y="98"/>
                  </a:cxn>
                  <a:cxn ang="0">
                    <a:pos x="13" y="110"/>
                  </a:cxn>
                  <a:cxn ang="0">
                    <a:pos x="6" y="123"/>
                  </a:cxn>
                  <a:cxn ang="0">
                    <a:pos x="7" y="138"/>
                  </a:cxn>
                  <a:cxn ang="0">
                    <a:pos x="19" y="146"/>
                  </a:cxn>
                  <a:cxn ang="0">
                    <a:pos x="34" y="176"/>
                  </a:cxn>
                  <a:cxn ang="0">
                    <a:pos x="34" y="197"/>
                  </a:cxn>
                  <a:cxn ang="0">
                    <a:pos x="32" y="207"/>
                  </a:cxn>
                  <a:cxn ang="0">
                    <a:pos x="47" y="213"/>
                  </a:cxn>
                  <a:cxn ang="0">
                    <a:pos x="57" y="204"/>
                  </a:cxn>
                  <a:cxn ang="0">
                    <a:pos x="67" y="193"/>
                  </a:cxn>
                  <a:cxn ang="0">
                    <a:pos x="76" y="199"/>
                  </a:cxn>
                  <a:cxn ang="0">
                    <a:pos x="83" y="217"/>
                  </a:cxn>
                  <a:cxn ang="0">
                    <a:pos x="88" y="248"/>
                  </a:cxn>
                  <a:cxn ang="0">
                    <a:pos x="97" y="264"/>
                  </a:cxn>
                  <a:cxn ang="0">
                    <a:pos x="96" y="281"/>
                  </a:cxn>
                  <a:cxn ang="0">
                    <a:pos x="98" y="295"/>
                  </a:cxn>
                  <a:cxn ang="0">
                    <a:pos x="103" y="297"/>
                  </a:cxn>
                </a:cxnLst>
                <a:rect l="0" t="0" r="r" b="b"/>
                <a:pathLst>
                  <a:path w="138" h="300">
                    <a:moveTo>
                      <a:pt x="111" y="274"/>
                    </a:moveTo>
                    <a:lnTo>
                      <a:pt x="111" y="274"/>
                    </a:lnTo>
                    <a:lnTo>
                      <a:pt x="111" y="270"/>
                    </a:lnTo>
                    <a:lnTo>
                      <a:pt x="108" y="267"/>
                    </a:lnTo>
                    <a:lnTo>
                      <a:pt x="107" y="264"/>
                    </a:lnTo>
                    <a:lnTo>
                      <a:pt x="107" y="261"/>
                    </a:lnTo>
                    <a:lnTo>
                      <a:pt x="107" y="261"/>
                    </a:lnTo>
                    <a:lnTo>
                      <a:pt x="106" y="251"/>
                    </a:lnTo>
                    <a:lnTo>
                      <a:pt x="104" y="247"/>
                    </a:lnTo>
                    <a:lnTo>
                      <a:pt x="100" y="241"/>
                    </a:lnTo>
                    <a:lnTo>
                      <a:pt x="100" y="241"/>
                    </a:lnTo>
                    <a:lnTo>
                      <a:pt x="96" y="237"/>
                    </a:lnTo>
                    <a:lnTo>
                      <a:pt x="94" y="233"/>
                    </a:lnTo>
                    <a:lnTo>
                      <a:pt x="93" y="229"/>
                    </a:lnTo>
                    <a:lnTo>
                      <a:pt x="94" y="224"/>
                    </a:lnTo>
                    <a:lnTo>
                      <a:pt x="94" y="224"/>
                    </a:lnTo>
                    <a:lnTo>
                      <a:pt x="96" y="221"/>
                    </a:lnTo>
                    <a:lnTo>
                      <a:pt x="97" y="217"/>
                    </a:lnTo>
                    <a:lnTo>
                      <a:pt x="96" y="214"/>
                    </a:lnTo>
                    <a:lnTo>
                      <a:pt x="97" y="213"/>
                    </a:lnTo>
                    <a:lnTo>
                      <a:pt x="97" y="213"/>
                    </a:lnTo>
                    <a:lnTo>
                      <a:pt x="98" y="213"/>
                    </a:lnTo>
                    <a:lnTo>
                      <a:pt x="100" y="210"/>
                    </a:lnTo>
                    <a:lnTo>
                      <a:pt x="100" y="207"/>
                    </a:lnTo>
                    <a:lnTo>
                      <a:pt x="97" y="206"/>
                    </a:lnTo>
                    <a:lnTo>
                      <a:pt x="97" y="206"/>
                    </a:lnTo>
                    <a:lnTo>
                      <a:pt x="96" y="203"/>
                    </a:lnTo>
                    <a:lnTo>
                      <a:pt x="96" y="200"/>
                    </a:lnTo>
                    <a:lnTo>
                      <a:pt x="96" y="197"/>
                    </a:lnTo>
                    <a:lnTo>
                      <a:pt x="94" y="194"/>
                    </a:lnTo>
                    <a:lnTo>
                      <a:pt x="94" y="194"/>
                    </a:lnTo>
                    <a:lnTo>
                      <a:pt x="91" y="193"/>
                    </a:lnTo>
                    <a:lnTo>
                      <a:pt x="87" y="189"/>
                    </a:lnTo>
                    <a:lnTo>
                      <a:pt x="84" y="184"/>
                    </a:lnTo>
                    <a:lnTo>
                      <a:pt x="83" y="180"/>
                    </a:lnTo>
                    <a:lnTo>
                      <a:pt x="83" y="180"/>
                    </a:lnTo>
                    <a:lnTo>
                      <a:pt x="86" y="155"/>
                    </a:lnTo>
                    <a:lnTo>
                      <a:pt x="86" y="155"/>
                    </a:lnTo>
                    <a:lnTo>
                      <a:pt x="87" y="152"/>
                    </a:lnTo>
                    <a:lnTo>
                      <a:pt x="90" y="150"/>
                    </a:lnTo>
                    <a:lnTo>
                      <a:pt x="94" y="150"/>
                    </a:lnTo>
                    <a:lnTo>
                      <a:pt x="94" y="150"/>
                    </a:lnTo>
                    <a:lnTo>
                      <a:pt x="100" y="150"/>
                    </a:lnTo>
                    <a:lnTo>
                      <a:pt x="104" y="149"/>
                    </a:lnTo>
                    <a:lnTo>
                      <a:pt x="107" y="146"/>
                    </a:lnTo>
                    <a:lnTo>
                      <a:pt x="107" y="146"/>
                    </a:lnTo>
                    <a:lnTo>
                      <a:pt x="110" y="143"/>
                    </a:lnTo>
                    <a:lnTo>
                      <a:pt x="114" y="142"/>
                    </a:lnTo>
                    <a:lnTo>
                      <a:pt x="118" y="140"/>
                    </a:lnTo>
                    <a:lnTo>
                      <a:pt x="121" y="138"/>
                    </a:lnTo>
                    <a:lnTo>
                      <a:pt x="121" y="138"/>
                    </a:lnTo>
                    <a:lnTo>
                      <a:pt x="123" y="136"/>
                    </a:lnTo>
                    <a:lnTo>
                      <a:pt x="125" y="135"/>
                    </a:lnTo>
                    <a:lnTo>
                      <a:pt x="128" y="133"/>
                    </a:lnTo>
                    <a:lnTo>
                      <a:pt x="130" y="130"/>
                    </a:lnTo>
                    <a:lnTo>
                      <a:pt x="130" y="130"/>
                    </a:lnTo>
                    <a:lnTo>
                      <a:pt x="131" y="128"/>
                    </a:lnTo>
                    <a:lnTo>
                      <a:pt x="134" y="123"/>
                    </a:lnTo>
                    <a:lnTo>
                      <a:pt x="137" y="118"/>
                    </a:lnTo>
                    <a:lnTo>
                      <a:pt x="137" y="118"/>
                    </a:lnTo>
                    <a:lnTo>
                      <a:pt x="138" y="118"/>
                    </a:lnTo>
                    <a:lnTo>
                      <a:pt x="138" y="118"/>
                    </a:lnTo>
                    <a:lnTo>
                      <a:pt x="137" y="118"/>
                    </a:lnTo>
                    <a:lnTo>
                      <a:pt x="135" y="118"/>
                    </a:lnTo>
                    <a:lnTo>
                      <a:pt x="131" y="119"/>
                    </a:lnTo>
                    <a:lnTo>
                      <a:pt x="131" y="119"/>
                    </a:lnTo>
                    <a:lnTo>
                      <a:pt x="125" y="120"/>
                    </a:lnTo>
                    <a:lnTo>
                      <a:pt x="123" y="119"/>
                    </a:lnTo>
                    <a:lnTo>
                      <a:pt x="121" y="118"/>
                    </a:lnTo>
                    <a:lnTo>
                      <a:pt x="121" y="113"/>
                    </a:lnTo>
                    <a:lnTo>
                      <a:pt x="121" y="113"/>
                    </a:lnTo>
                    <a:lnTo>
                      <a:pt x="120" y="112"/>
                    </a:lnTo>
                    <a:lnTo>
                      <a:pt x="118" y="110"/>
                    </a:lnTo>
                    <a:lnTo>
                      <a:pt x="111" y="109"/>
                    </a:lnTo>
                    <a:lnTo>
                      <a:pt x="111" y="109"/>
                    </a:lnTo>
                    <a:lnTo>
                      <a:pt x="110" y="109"/>
                    </a:lnTo>
                    <a:lnTo>
                      <a:pt x="110" y="106"/>
                    </a:lnTo>
                    <a:lnTo>
                      <a:pt x="111" y="99"/>
                    </a:lnTo>
                    <a:lnTo>
                      <a:pt x="111" y="99"/>
                    </a:lnTo>
                    <a:lnTo>
                      <a:pt x="113" y="96"/>
                    </a:lnTo>
                    <a:lnTo>
                      <a:pt x="111" y="93"/>
                    </a:lnTo>
                    <a:lnTo>
                      <a:pt x="108" y="92"/>
                    </a:lnTo>
                    <a:lnTo>
                      <a:pt x="106" y="92"/>
                    </a:lnTo>
                    <a:lnTo>
                      <a:pt x="106" y="92"/>
                    </a:lnTo>
                    <a:lnTo>
                      <a:pt x="103" y="91"/>
                    </a:lnTo>
                    <a:lnTo>
                      <a:pt x="101" y="86"/>
                    </a:lnTo>
                    <a:lnTo>
                      <a:pt x="100" y="82"/>
                    </a:lnTo>
                    <a:lnTo>
                      <a:pt x="101" y="79"/>
                    </a:lnTo>
                    <a:lnTo>
                      <a:pt x="101" y="79"/>
                    </a:lnTo>
                    <a:lnTo>
                      <a:pt x="101" y="78"/>
                    </a:lnTo>
                    <a:lnTo>
                      <a:pt x="100" y="76"/>
                    </a:lnTo>
                    <a:lnTo>
                      <a:pt x="96" y="75"/>
                    </a:lnTo>
                    <a:lnTo>
                      <a:pt x="91" y="75"/>
                    </a:lnTo>
                    <a:lnTo>
                      <a:pt x="86" y="76"/>
                    </a:lnTo>
                    <a:lnTo>
                      <a:pt x="86" y="76"/>
                    </a:lnTo>
                    <a:lnTo>
                      <a:pt x="84" y="76"/>
                    </a:lnTo>
                    <a:lnTo>
                      <a:pt x="83" y="75"/>
                    </a:lnTo>
                    <a:lnTo>
                      <a:pt x="84" y="71"/>
                    </a:lnTo>
                    <a:lnTo>
                      <a:pt x="83" y="68"/>
                    </a:lnTo>
                    <a:lnTo>
                      <a:pt x="83" y="68"/>
                    </a:lnTo>
                    <a:lnTo>
                      <a:pt x="84" y="64"/>
                    </a:lnTo>
                    <a:lnTo>
                      <a:pt x="87" y="58"/>
                    </a:lnTo>
                    <a:lnTo>
                      <a:pt x="91" y="52"/>
                    </a:lnTo>
                    <a:lnTo>
                      <a:pt x="97" y="45"/>
                    </a:lnTo>
                    <a:lnTo>
                      <a:pt x="97" y="45"/>
                    </a:lnTo>
                    <a:lnTo>
                      <a:pt x="100" y="41"/>
                    </a:lnTo>
                    <a:lnTo>
                      <a:pt x="101" y="34"/>
                    </a:lnTo>
                    <a:lnTo>
                      <a:pt x="100" y="22"/>
                    </a:lnTo>
                    <a:lnTo>
                      <a:pt x="100" y="22"/>
                    </a:lnTo>
                    <a:lnTo>
                      <a:pt x="100" y="18"/>
                    </a:lnTo>
                    <a:lnTo>
                      <a:pt x="98" y="15"/>
                    </a:lnTo>
                    <a:lnTo>
                      <a:pt x="96" y="14"/>
                    </a:lnTo>
                    <a:lnTo>
                      <a:pt x="94" y="14"/>
                    </a:lnTo>
                    <a:lnTo>
                      <a:pt x="94" y="14"/>
                    </a:lnTo>
                    <a:lnTo>
                      <a:pt x="93" y="14"/>
                    </a:lnTo>
                    <a:lnTo>
                      <a:pt x="91" y="11"/>
                    </a:lnTo>
                    <a:lnTo>
                      <a:pt x="90" y="5"/>
                    </a:lnTo>
                    <a:lnTo>
                      <a:pt x="90" y="5"/>
                    </a:lnTo>
                    <a:lnTo>
                      <a:pt x="90" y="2"/>
                    </a:lnTo>
                    <a:lnTo>
                      <a:pt x="87" y="1"/>
                    </a:lnTo>
                    <a:lnTo>
                      <a:pt x="83" y="0"/>
                    </a:lnTo>
                    <a:lnTo>
                      <a:pt x="80" y="1"/>
                    </a:lnTo>
                    <a:lnTo>
                      <a:pt x="80" y="1"/>
                    </a:lnTo>
                    <a:lnTo>
                      <a:pt x="77" y="2"/>
                    </a:lnTo>
                    <a:lnTo>
                      <a:pt x="77" y="2"/>
                    </a:lnTo>
                    <a:lnTo>
                      <a:pt x="77" y="2"/>
                    </a:lnTo>
                    <a:lnTo>
                      <a:pt x="77" y="2"/>
                    </a:lnTo>
                    <a:lnTo>
                      <a:pt x="76" y="5"/>
                    </a:lnTo>
                    <a:lnTo>
                      <a:pt x="76" y="8"/>
                    </a:lnTo>
                    <a:lnTo>
                      <a:pt x="73" y="9"/>
                    </a:lnTo>
                    <a:lnTo>
                      <a:pt x="73" y="9"/>
                    </a:lnTo>
                    <a:lnTo>
                      <a:pt x="71" y="11"/>
                    </a:lnTo>
                    <a:lnTo>
                      <a:pt x="71" y="14"/>
                    </a:lnTo>
                    <a:lnTo>
                      <a:pt x="73" y="17"/>
                    </a:lnTo>
                    <a:lnTo>
                      <a:pt x="74" y="21"/>
                    </a:lnTo>
                    <a:lnTo>
                      <a:pt x="74" y="21"/>
                    </a:lnTo>
                    <a:lnTo>
                      <a:pt x="76" y="22"/>
                    </a:lnTo>
                    <a:lnTo>
                      <a:pt x="76" y="24"/>
                    </a:lnTo>
                    <a:lnTo>
                      <a:pt x="73" y="24"/>
                    </a:lnTo>
                    <a:lnTo>
                      <a:pt x="70" y="22"/>
                    </a:lnTo>
                    <a:lnTo>
                      <a:pt x="67" y="21"/>
                    </a:lnTo>
                    <a:lnTo>
                      <a:pt x="67" y="21"/>
                    </a:lnTo>
                    <a:lnTo>
                      <a:pt x="67" y="19"/>
                    </a:lnTo>
                    <a:lnTo>
                      <a:pt x="66" y="19"/>
                    </a:lnTo>
                    <a:lnTo>
                      <a:pt x="63" y="21"/>
                    </a:lnTo>
                    <a:lnTo>
                      <a:pt x="54" y="27"/>
                    </a:lnTo>
                    <a:lnTo>
                      <a:pt x="54" y="27"/>
                    </a:lnTo>
                    <a:lnTo>
                      <a:pt x="47" y="32"/>
                    </a:lnTo>
                    <a:lnTo>
                      <a:pt x="44" y="35"/>
                    </a:lnTo>
                    <a:lnTo>
                      <a:pt x="44" y="39"/>
                    </a:lnTo>
                    <a:lnTo>
                      <a:pt x="44" y="39"/>
                    </a:lnTo>
                    <a:lnTo>
                      <a:pt x="43" y="45"/>
                    </a:lnTo>
                    <a:lnTo>
                      <a:pt x="42" y="49"/>
                    </a:lnTo>
                    <a:lnTo>
                      <a:pt x="40" y="55"/>
                    </a:lnTo>
                    <a:lnTo>
                      <a:pt x="39" y="59"/>
                    </a:lnTo>
                    <a:lnTo>
                      <a:pt x="39" y="59"/>
                    </a:lnTo>
                    <a:lnTo>
                      <a:pt x="39" y="64"/>
                    </a:lnTo>
                    <a:lnTo>
                      <a:pt x="37" y="69"/>
                    </a:lnTo>
                    <a:lnTo>
                      <a:pt x="34" y="75"/>
                    </a:lnTo>
                    <a:lnTo>
                      <a:pt x="33" y="78"/>
                    </a:lnTo>
                    <a:lnTo>
                      <a:pt x="33" y="78"/>
                    </a:lnTo>
                    <a:lnTo>
                      <a:pt x="33" y="79"/>
                    </a:lnTo>
                    <a:lnTo>
                      <a:pt x="32" y="79"/>
                    </a:lnTo>
                    <a:lnTo>
                      <a:pt x="29" y="79"/>
                    </a:lnTo>
                    <a:lnTo>
                      <a:pt x="22" y="78"/>
                    </a:lnTo>
                    <a:lnTo>
                      <a:pt x="22" y="78"/>
                    </a:lnTo>
                    <a:lnTo>
                      <a:pt x="20" y="79"/>
                    </a:lnTo>
                    <a:lnTo>
                      <a:pt x="20" y="85"/>
                    </a:lnTo>
                    <a:lnTo>
                      <a:pt x="19" y="89"/>
                    </a:lnTo>
                    <a:lnTo>
                      <a:pt x="17" y="93"/>
                    </a:lnTo>
                    <a:lnTo>
                      <a:pt x="17" y="93"/>
                    </a:lnTo>
                    <a:lnTo>
                      <a:pt x="16" y="98"/>
                    </a:lnTo>
                    <a:lnTo>
                      <a:pt x="16" y="103"/>
                    </a:lnTo>
                    <a:lnTo>
                      <a:pt x="16" y="109"/>
                    </a:lnTo>
                    <a:lnTo>
                      <a:pt x="14" y="110"/>
                    </a:lnTo>
                    <a:lnTo>
                      <a:pt x="13" y="110"/>
                    </a:lnTo>
                    <a:lnTo>
                      <a:pt x="13" y="110"/>
                    </a:lnTo>
                    <a:lnTo>
                      <a:pt x="10" y="113"/>
                    </a:lnTo>
                    <a:lnTo>
                      <a:pt x="9" y="116"/>
                    </a:lnTo>
                    <a:lnTo>
                      <a:pt x="6" y="123"/>
                    </a:lnTo>
                    <a:lnTo>
                      <a:pt x="6" y="123"/>
                    </a:lnTo>
                    <a:lnTo>
                      <a:pt x="0" y="128"/>
                    </a:lnTo>
                    <a:lnTo>
                      <a:pt x="0" y="128"/>
                    </a:lnTo>
                    <a:lnTo>
                      <a:pt x="7" y="138"/>
                    </a:lnTo>
                    <a:lnTo>
                      <a:pt x="12" y="140"/>
                    </a:lnTo>
                    <a:lnTo>
                      <a:pt x="16" y="143"/>
                    </a:lnTo>
                    <a:lnTo>
                      <a:pt x="16" y="143"/>
                    </a:lnTo>
                    <a:lnTo>
                      <a:pt x="19" y="146"/>
                    </a:lnTo>
                    <a:lnTo>
                      <a:pt x="22" y="149"/>
                    </a:lnTo>
                    <a:lnTo>
                      <a:pt x="27" y="157"/>
                    </a:lnTo>
                    <a:lnTo>
                      <a:pt x="32" y="167"/>
                    </a:lnTo>
                    <a:lnTo>
                      <a:pt x="34" y="176"/>
                    </a:lnTo>
                    <a:lnTo>
                      <a:pt x="34" y="176"/>
                    </a:lnTo>
                    <a:lnTo>
                      <a:pt x="36" y="183"/>
                    </a:lnTo>
                    <a:lnTo>
                      <a:pt x="34" y="190"/>
                    </a:lnTo>
                    <a:lnTo>
                      <a:pt x="34" y="197"/>
                    </a:lnTo>
                    <a:lnTo>
                      <a:pt x="32" y="202"/>
                    </a:lnTo>
                    <a:lnTo>
                      <a:pt x="32" y="202"/>
                    </a:lnTo>
                    <a:lnTo>
                      <a:pt x="30" y="204"/>
                    </a:lnTo>
                    <a:lnTo>
                      <a:pt x="32" y="207"/>
                    </a:lnTo>
                    <a:lnTo>
                      <a:pt x="39" y="210"/>
                    </a:lnTo>
                    <a:lnTo>
                      <a:pt x="39" y="210"/>
                    </a:lnTo>
                    <a:lnTo>
                      <a:pt x="43" y="211"/>
                    </a:lnTo>
                    <a:lnTo>
                      <a:pt x="47" y="213"/>
                    </a:lnTo>
                    <a:lnTo>
                      <a:pt x="50" y="211"/>
                    </a:lnTo>
                    <a:lnTo>
                      <a:pt x="54" y="209"/>
                    </a:lnTo>
                    <a:lnTo>
                      <a:pt x="54" y="209"/>
                    </a:lnTo>
                    <a:lnTo>
                      <a:pt x="57" y="204"/>
                    </a:lnTo>
                    <a:lnTo>
                      <a:pt x="61" y="200"/>
                    </a:lnTo>
                    <a:lnTo>
                      <a:pt x="66" y="197"/>
                    </a:lnTo>
                    <a:lnTo>
                      <a:pt x="67" y="193"/>
                    </a:lnTo>
                    <a:lnTo>
                      <a:pt x="67" y="193"/>
                    </a:lnTo>
                    <a:lnTo>
                      <a:pt x="69" y="190"/>
                    </a:lnTo>
                    <a:lnTo>
                      <a:pt x="69" y="190"/>
                    </a:lnTo>
                    <a:lnTo>
                      <a:pt x="71" y="192"/>
                    </a:lnTo>
                    <a:lnTo>
                      <a:pt x="76" y="199"/>
                    </a:lnTo>
                    <a:lnTo>
                      <a:pt x="76" y="199"/>
                    </a:lnTo>
                    <a:lnTo>
                      <a:pt x="78" y="202"/>
                    </a:lnTo>
                    <a:lnTo>
                      <a:pt x="80" y="206"/>
                    </a:lnTo>
                    <a:lnTo>
                      <a:pt x="83" y="217"/>
                    </a:lnTo>
                    <a:lnTo>
                      <a:pt x="83" y="217"/>
                    </a:lnTo>
                    <a:lnTo>
                      <a:pt x="84" y="234"/>
                    </a:lnTo>
                    <a:lnTo>
                      <a:pt x="86" y="244"/>
                    </a:lnTo>
                    <a:lnTo>
                      <a:pt x="88" y="248"/>
                    </a:lnTo>
                    <a:lnTo>
                      <a:pt x="90" y="251"/>
                    </a:lnTo>
                    <a:lnTo>
                      <a:pt x="90" y="251"/>
                    </a:lnTo>
                    <a:lnTo>
                      <a:pt x="94" y="257"/>
                    </a:lnTo>
                    <a:lnTo>
                      <a:pt x="97" y="264"/>
                    </a:lnTo>
                    <a:lnTo>
                      <a:pt x="97" y="271"/>
                    </a:lnTo>
                    <a:lnTo>
                      <a:pt x="97" y="277"/>
                    </a:lnTo>
                    <a:lnTo>
                      <a:pt x="97" y="277"/>
                    </a:lnTo>
                    <a:lnTo>
                      <a:pt x="96" y="281"/>
                    </a:lnTo>
                    <a:lnTo>
                      <a:pt x="97" y="285"/>
                    </a:lnTo>
                    <a:lnTo>
                      <a:pt x="98" y="291"/>
                    </a:lnTo>
                    <a:lnTo>
                      <a:pt x="98" y="295"/>
                    </a:lnTo>
                    <a:lnTo>
                      <a:pt x="98" y="295"/>
                    </a:lnTo>
                    <a:lnTo>
                      <a:pt x="98" y="300"/>
                    </a:lnTo>
                    <a:lnTo>
                      <a:pt x="98" y="300"/>
                    </a:lnTo>
                    <a:lnTo>
                      <a:pt x="100" y="300"/>
                    </a:lnTo>
                    <a:lnTo>
                      <a:pt x="103" y="297"/>
                    </a:lnTo>
                    <a:lnTo>
                      <a:pt x="107" y="287"/>
                    </a:lnTo>
                    <a:lnTo>
                      <a:pt x="111" y="274"/>
                    </a:lnTo>
                    <a:lnTo>
                      <a:pt x="111" y="27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97" name="Bhutan"/>
              <p:cNvSpPr>
                <a:spLocks/>
              </p:cNvSpPr>
              <p:nvPr/>
            </p:nvSpPr>
            <p:spPr bwMode="auto">
              <a:xfrm>
                <a:off x="6421730" y="3621641"/>
                <a:ext cx="66591" cy="39954"/>
              </a:xfrm>
              <a:custGeom>
                <a:avLst/>
                <a:gdLst/>
                <a:ahLst/>
                <a:cxnLst>
                  <a:cxn ang="0">
                    <a:pos x="45" y="8"/>
                  </a:cxn>
                  <a:cxn ang="0">
                    <a:pos x="45" y="8"/>
                  </a:cxn>
                  <a:cxn ang="0">
                    <a:pos x="40" y="4"/>
                  </a:cxn>
                  <a:cxn ang="0">
                    <a:pos x="35" y="4"/>
                  </a:cxn>
                  <a:cxn ang="0">
                    <a:pos x="31" y="4"/>
                  </a:cxn>
                  <a:cxn ang="0">
                    <a:pos x="27" y="4"/>
                  </a:cxn>
                  <a:cxn ang="0">
                    <a:pos x="27" y="4"/>
                  </a:cxn>
                  <a:cxn ang="0">
                    <a:pos x="20" y="0"/>
                  </a:cxn>
                  <a:cxn ang="0">
                    <a:pos x="17" y="0"/>
                  </a:cxn>
                  <a:cxn ang="0">
                    <a:pos x="14" y="1"/>
                  </a:cxn>
                  <a:cxn ang="0">
                    <a:pos x="14" y="1"/>
                  </a:cxn>
                  <a:cxn ang="0">
                    <a:pos x="8" y="4"/>
                  </a:cxn>
                  <a:cxn ang="0">
                    <a:pos x="5" y="7"/>
                  </a:cxn>
                  <a:cxn ang="0">
                    <a:pos x="3" y="11"/>
                  </a:cxn>
                  <a:cxn ang="0">
                    <a:pos x="3" y="11"/>
                  </a:cxn>
                  <a:cxn ang="0">
                    <a:pos x="0" y="18"/>
                  </a:cxn>
                  <a:cxn ang="0">
                    <a:pos x="0" y="18"/>
                  </a:cxn>
                  <a:cxn ang="0">
                    <a:pos x="1" y="21"/>
                  </a:cxn>
                  <a:cxn ang="0">
                    <a:pos x="3" y="23"/>
                  </a:cxn>
                  <a:cxn ang="0">
                    <a:pos x="3" y="23"/>
                  </a:cxn>
                  <a:cxn ang="0">
                    <a:pos x="5" y="23"/>
                  </a:cxn>
                  <a:cxn ang="0">
                    <a:pos x="8" y="24"/>
                  </a:cxn>
                  <a:cxn ang="0">
                    <a:pos x="11" y="24"/>
                  </a:cxn>
                  <a:cxn ang="0">
                    <a:pos x="14" y="24"/>
                  </a:cxn>
                  <a:cxn ang="0">
                    <a:pos x="14" y="24"/>
                  </a:cxn>
                  <a:cxn ang="0">
                    <a:pos x="18" y="24"/>
                  </a:cxn>
                  <a:cxn ang="0">
                    <a:pos x="21" y="25"/>
                  </a:cxn>
                  <a:cxn ang="0">
                    <a:pos x="24" y="27"/>
                  </a:cxn>
                  <a:cxn ang="0">
                    <a:pos x="30" y="25"/>
                  </a:cxn>
                  <a:cxn ang="0">
                    <a:pos x="30" y="25"/>
                  </a:cxn>
                  <a:cxn ang="0">
                    <a:pos x="34" y="25"/>
                  </a:cxn>
                  <a:cxn ang="0">
                    <a:pos x="38" y="25"/>
                  </a:cxn>
                  <a:cxn ang="0">
                    <a:pos x="42" y="25"/>
                  </a:cxn>
                  <a:cxn ang="0">
                    <a:pos x="45" y="24"/>
                  </a:cxn>
                  <a:cxn ang="0">
                    <a:pos x="45" y="24"/>
                  </a:cxn>
                  <a:cxn ang="0">
                    <a:pos x="45" y="20"/>
                  </a:cxn>
                  <a:cxn ang="0">
                    <a:pos x="45" y="15"/>
                  </a:cxn>
                  <a:cxn ang="0">
                    <a:pos x="44" y="10"/>
                  </a:cxn>
                  <a:cxn ang="0">
                    <a:pos x="44" y="10"/>
                  </a:cxn>
                  <a:cxn ang="0">
                    <a:pos x="45" y="8"/>
                  </a:cxn>
                  <a:cxn ang="0">
                    <a:pos x="45" y="8"/>
                  </a:cxn>
                </a:cxnLst>
                <a:rect l="0" t="0" r="r" b="b"/>
                <a:pathLst>
                  <a:path w="45" h="27">
                    <a:moveTo>
                      <a:pt x="45" y="8"/>
                    </a:moveTo>
                    <a:lnTo>
                      <a:pt x="45" y="8"/>
                    </a:lnTo>
                    <a:lnTo>
                      <a:pt x="40" y="4"/>
                    </a:lnTo>
                    <a:lnTo>
                      <a:pt x="35" y="4"/>
                    </a:lnTo>
                    <a:lnTo>
                      <a:pt x="31" y="4"/>
                    </a:lnTo>
                    <a:lnTo>
                      <a:pt x="27" y="4"/>
                    </a:lnTo>
                    <a:lnTo>
                      <a:pt x="27" y="4"/>
                    </a:lnTo>
                    <a:lnTo>
                      <a:pt x="20" y="0"/>
                    </a:lnTo>
                    <a:lnTo>
                      <a:pt x="17" y="0"/>
                    </a:lnTo>
                    <a:lnTo>
                      <a:pt x="14" y="1"/>
                    </a:lnTo>
                    <a:lnTo>
                      <a:pt x="14" y="1"/>
                    </a:lnTo>
                    <a:lnTo>
                      <a:pt x="8" y="4"/>
                    </a:lnTo>
                    <a:lnTo>
                      <a:pt x="5" y="7"/>
                    </a:lnTo>
                    <a:lnTo>
                      <a:pt x="3" y="11"/>
                    </a:lnTo>
                    <a:lnTo>
                      <a:pt x="3" y="11"/>
                    </a:lnTo>
                    <a:lnTo>
                      <a:pt x="0" y="18"/>
                    </a:lnTo>
                    <a:lnTo>
                      <a:pt x="0" y="18"/>
                    </a:lnTo>
                    <a:lnTo>
                      <a:pt x="1" y="21"/>
                    </a:lnTo>
                    <a:lnTo>
                      <a:pt x="3" y="23"/>
                    </a:lnTo>
                    <a:lnTo>
                      <a:pt x="3" y="23"/>
                    </a:lnTo>
                    <a:lnTo>
                      <a:pt x="5" y="23"/>
                    </a:lnTo>
                    <a:lnTo>
                      <a:pt x="8" y="24"/>
                    </a:lnTo>
                    <a:lnTo>
                      <a:pt x="11" y="24"/>
                    </a:lnTo>
                    <a:lnTo>
                      <a:pt x="14" y="24"/>
                    </a:lnTo>
                    <a:lnTo>
                      <a:pt x="14" y="24"/>
                    </a:lnTo>
                    <a:lnTo>
                      <a:pt x="18" y="24"/>
                    </a:lnTo>
                    <a:lnTo>
                      <a:pt x="21" y="25"/>
                    </a:lnTo>
                    <a:lnTo>
                      <a:pt x="24" y="27"/>
                    </a:lnTo>
                    <a:lnTo>
                      <a:pt x="30" y="25"/>
                    </a:lnTo>
                    <a:lnTo>
                      <a:pt x="30" y="25"/>
                    </a:lnTo>
                    <a:lnTo>
                      <a:pt x="34" y="25"/>
                    </a:lnTo>
                    <a:lnTo>
                      <a:pt x="38" y="25"/>
                    </a:lnTo>
                    <a:lnTo>
                      <a:pt x="42" y="25"/>
                    </a:lnTo>
                    <a:lnTo>
                      <a:pt x="45" y="24"/>
                    </a:lnTo>
                    <a:lnTo>
                      <a:pt x="45" y="24"/>
                    </a:lnTo>
                    <a:lnTo>
                      <a:pt x="45" y="20"/>
                    </a:lnTo>
                    <a:lnTo>
                      <a:pt x="45" y="15"/>
                    </a:lnTo>
                    <a:lnTo>
                      <a:pt x="44" y="10"/>
                    </a:lnTo>
                    <a:lnTo>
                      <a:pt x="44" y="10"/>
                    </a:lnTo>
                    <a:lnTo>
                      <a:pt x="45" y="8"/>
                    </a:lnTo>
                    <a:lnTo>
                      <a:pt x="45" y="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98" name="Vietnam"/>
              <p:cNvSpPr>
                <a:spLocks/>
              </p:cNvSpPr>
              <p:nvPr/>
            </p:nvSpPr>
            <p:spPr bwMode="auto">
              <a:xfrm>
                <a:off x="6717687" y="3747422"/>
                <a:ext cx="171655" cy="359588"/>
              </a:xfrm>
              <a:custGeom>
                <a:avLst/>
                <a:gdLst/>
                <a:ahLst/>
                <a:cxnLst>
                  <a:cxn ang="0">
                    <a:pos x="79" y="24"/>
                  </a:cxn>
                  <a:cxn ang="0">
                    <a:pos x="73" y="12"/>
                  </a:cxn>
                  <a:cxn ang="0">
                    <a:pos x="61" y="6"/>
                  </a:cxn>
                  <a:cxn ang="0">
                    <a:pos x="52" y="0"/>
                  </a:cxn>
                  <a:cxn ang="0">
                    <a:pos x="42" y="9"/>
                  </a:cxn>
                  <a:cxn ang="0">
                    <a:pos x="30" y="10"/>
                  </a:cxn>
                  <a:cxn ang="0">
                    <a:pos x="19" y="9"/>
                  </a:cxn>
                  <a:cxn ang="0">
                    <a:pos x="16" y="12"/>
                  </a:cxn>
                  <a:cxn ang="0">
                    <a:pos x="6" y="10"/>
                  </a:cxn>
                  <a:cxn ang="0">
                    <a:pos x="0" y="14"/>
                  </a:cxn>
                  <a:cxn ang="0">
                    <a:pos x="7" y="26"/>
                  </a:cxn>
                  <a:cxn ang="0">
                    <a:pos x="15" y="36"/>
                  </a:cxn>
                  <a:cxn ang="0">
                    <a:pos x="27" y="43"/>
                  </a:cxn>
                  <a:cxn ang="0">
                    <a:pos x="37" y="41"/>
                  </a:cxn>
                  <a:cxn ang="0">
                    <a:pos x="42" y="53"/>
                  </a:cxn>
                  <a:cxn ang="0">
                    <a:pos x="43" y="60"/>
                  </a:cxn>
                  <a:cxn ang="0">
                    <a:pos x="33" y="64"/>
                  </a:cxn>
                  <a:cxn ang="0">
                    <a:pos x="33" y="68"/>
                  </a:cxn>
                  <a:cxn ang="0">
                    <a:pos x="49" y="80"/>
                  </a:cxn>
                  <a:cxn ang="0">
                    <a:pos x="57" y="94"/>
                  </a:cxn>
                  <a:cxn ang="0">
                    <a:pos x="67" y="107"/>
                  </a:cxn>
                  <a:cxn ang="0">
                    <a:pos x="76" y="120"/>
                  </a:cxn>
                  <a:cxn ang="0">
                    <a:pos x="86" y="131"/>
                  </a:cxn>
                  <a:cxn ang="0">
                    <a:pos x="86" y="152"/>
                  </a:cxn>
                  <a:cxn ang="0">
                    <a:pos x="93" y="169"/>
                  </a:cxn>
                  <a:cxn ang="0">
                    <a:pos x="84" y="181"/>
                  </a:cxn>
                  <a:cxn ang="0">
                    <a:pos x="76" y="192"/>
                  </a:cxn>
                  <a:cxn ang="0">
                    <a:pos x="66" y="194"/>
                  </a:cxn>
                  <a:cxn ang="0">
                    <a:pos x="61" y="198"/>
                  </a:cxn>
                  <a:cxn ang="0">
                    <a:pos x="66" y="208"/>
                  </a:cxn>
                  <a:cxn ang="0">
                    <a:pos x="50" y="208"/>
                  </a:cxn>
                  <a:cxn ang="0">
                    <a:pos x="47" y="211"/>
                  </a:cxn>
                  <a:cxn ang="0">
                    <a:pos x="42" y="219"/>
                  </a:cxn>
                  <a:cxn ang="0">
                    <a:pos x="46" y="223"/>
                  </a:cxn>
                  <a:cxn ang="0">
                    <a:pos x="40" y="235"/>
                  </a:cxn>
                  <a:cxn ang="0">
                    <a:pos x="49" y="242"/>
                  </a:cxn>
                  <a:cxn ang="0">
                    <a:pos x="63" y="231"/>
                  </a:cxn>
                  <a:cxn ang="0">
                    <a:pos x="67" y="225"/>
                  </a:cxn>
                  <a:cxn ang="0">
                    <a:pos x="71" y="216"/>
                  </a:cxn>
                  <a:cxn ang="0">
                    <a:pos x="81" y="215"/>
                  </a:cxn>
                  <a:cxn ang="0">
                    <a:pos x="103" y="204"/>
                  </a:cxn>
                  <a:cxn ang="0">
                    <a:pos x="113" y="192"/>
                  </a:cxn>
                  <a:cxn ang="0">
                    <a:pos x="114" y="159"/>
                  </a:cxn>
                  <a:cxn ang="0">
                    <a:pos x="106" y="131"/>
                  </a:cxn>
                  <a:cxn ang="0">
                    <a:pos x="97" y="120"/>
                  </a:cxn>
                  <a:cxn ang="0">
                    <a:pos x="70" y="98"/>
                  </a:cxn>
                  <a:cxn ang="0">
                    <a:pos x="63" y="85"/>
                  </a:cxn>
                  <a:cxn ang="0">
                    <a:pos x="59" y="70"/>
                  </a:cxn>
                  <a:cxn ang="0">
                    <a:pos x="66" y="57"/>
                  </a:cxn>
                  <a:cxn ang="0">
                    <a:pos x="71" y="50"/>
                  </a:cxn>
                  <a:cxn ang="0">
                    <a:pos x="77" y="41"/>
                  </a:cxn>
                  <a:cxn ang="0">
                    <a:pos x="90" y="33"/>
                  </a:cxn>
                  <a:cxn ang="0">
                    <a:pos x="87" y="29"/>
                  </a:cxn>
                </a:cxnLst>
                <a:rect l="0" t="0" r="r" b="b"/>
                <a:pathLst>
                  <a:path w="116" h="243">
                    <a:moveTo>
                      <a:pt x="87" y="29"/>
                    </a:moveTo>
                    <a:lnTo>
                      <a:pt x="87" y="29"/>
                    </a:lnTo>
                    <a:lnTo>
                      <a:pt x="83" y="27"/>
                    </a:lnTo>
                    <a:lnTo>
                      <a:pt x="79" y="24"/>
                    </a:lnTo>
                    <a:lnTo>
                      <a:pt x="73" y="20"/>
                    </a:lnTo>
                    <a:lnTo>
                      <a:pt x="71" y="17"/>
                    </a:lnTo>
                    <a:lnTo>
                      <a:pt x="71" y="17"/>
                    </a:lnTo>
                    <a:lnTo>
                      <a:pt x="73" y="12"/>
                    </a:lnTo>
                    <a:lnTo>
                      <a:pt x="73" y="9"/>
                    </a:lnTo>
                    <a:lnTo>
                      <a:pt x="67" y="7"/>
                    </a:lnTo>
                    <a:lnTo>
                      <a:pt x="67" y="7"/>
                    </a:lnTo>
                    <a:lnTo>
                      <a:pt x="61" y="6"/>
                    </a:lnTo>
                    <a:lnTo>
                      <a:pt x="57" y="4"/>
                    </a:lnTo>
                    <a:lnTo>
                      <a:pt x="54" y="0"/>
                    </a:lnTo>
                    <a:lnTo>
                      <a:pt x="54" y="0"/>
                    </a:lnTo>
                    <a:lnTo>
                      <a:pt x="52" y="0"/>
                    </a:lnTo>
                    <a:lnTo>
                      <a:pt x="47" y="2"/>
                    </a:lnTo>
                    <a:lnTo>
                      <a:pt x="44" y="4"/>
                    </a:lnTo>
                    <a:lnTo>
                      <a:pt x="42" y="9"/>
                    </a:lnTo>
                    <a:lnTo>
                      <a:pt x="42" y="9"/>
                    </a:lnTo>
                    <a:lnTo>
                      <a:pt x="39" y="10"/>
                    </a:lnTo>
                    <a:lnTo>
                      <a:pt x="37" y="10"/>
                    </a:lnTo>
                    <a:lnTo>
                      <a:pt x="34" y="9"/>
                    </a:lnTo>
                    <a:lnTo>
                      <a:pt x="30" y="10"/>
                    </a:lnTo>
                    <a:lnTo>
                      <a:pt x="30" y="10"/>
                    </a:lnTo>
                    <a:lnTo>
                      <a:pt x="26" y="12"/>
                    </a:lnTo>
                    <a:lnTo>
                      <a:pt x="23" y="10"/>
                    </a:lnTo>
                    <a:lnTo>
                      <a:pt x="19" y="9"/>
                    </a:lnTo>
                    <a:lnTo>
                      <a:pt x="17" y="9"/>
                    </a:lnTo>
                    <a:lnTo>
                      <a:pt x="16" y="10"/>
                    </a:lnTo>
                    <a:lnTo>
                      <a:pt x="16" y="10"/>
                    </a:lnTo>
                    <a:lnTo>
                      <a:pt x="16" y="12"/>
                    </a:lnTo>
                    <a:lnTo>
                      <a:pt x="15" y="12"/>
                    </a:lnTo>
                    <a:lnTo>
                      <a:pt x="10" y="12"/>
                    </a:lnTo>
                    <a:lnTo>
                      <a:pt x="7" y="10"/>
                    </a:lnTo>
                    <a:lnTo>
                      <a:pt x="6" y="10"/>
                    </a:lnTo>
                    <a:lnTo>
                      <a:pt x="5" y="12"/>
                    </a:lnTo>
                    <a:lnTo>
                      <a:pt x="5" y="12"/>
                    </a:lnTo>
                    <a:lnTo>
                      <a:pt x="0" y="14"/>
                    </a:lnTo>
                    <a:lnTo>
                      <a:pt x="0" y="14"/>
                    </a:lnTo>
                    <a:lnTo>
                      <a:pt x="5" y="20"/>
                    </a:lnTo>
                    <a:lnTo>
                      <a:pt x="6" y="23"/>
                    </a:lnTo>
                    <a:lnTo>
                      <a:pt x="6" y="23"/>
                    </a:lnTo>
                    <a:lnTo>
                      <a:pt x="7" y="26"/>
                    </a:lnTo>
                    <a:lnTo>
                      <a:pt x="10" y="29"/>
                    </a:lnTo>
                    <a:lnTo>
                      <a:pt x="13" y="33"/>
                    </a:lnTo>
                    <a:lnTo>
                      <a:pt x="15" y="36"/>
                    </a:lnTo>
                    <a:lnTo>
                      <a:pt x="15" y="36"/>
                    </a:lnTo>
                    <a:lnTo>
                      <a:pt x="16" y="39"/>
                    </a:lnTo>
                    <a:lnTo>
                      <a:pt x="20" y="41"/>
                    </a:lnTo>
                    <a:lnTo>
                      <a:pt x="24" y="43"/>
                    </a:lnTo>
                    <a:lnTo>
                      <a:pt x="27" y="43"/>
                    </a:lnTo>
                    <a:lnTo>
                      <a:pt x="27" y="43"/>
                    </a:lnTo>
                    <a:lnTo>
                      <a:pt x="30" y="41"/>
                    </a:lnTo>
                    <a:lnTo>
                      <a:pt x="33" y="41"/>
                    </a:lnTo>
                    <a:lnTo>
                      <a:pt x="37" y="41"/>
                    </a:lnTo>
                    <a:lnTo>
                      <a:pt x="39" y="46"/>
                    </a:lnTo>
                    <a:lnTo>
                      <a:pt x="39" y="46"/>
                    </a:lnTo>
                    <a:lnTo>
                      <a:pt x="40" y="50"/>
                    </a:lnTo>
                    <a:lnTo>
                      <a:pt x="42" y="53"/>
                    </a:lnTo>
                    <a:lnTo>
                      <a:pt x="43" y="56"/>
                    </a:lnTo>
                    <a:lnTo>
                      <a:pt x="43" y="58"/>
                    </a:lnTo>
                    <a:lnTo>
                      <a:pt x="43" y="58"/>
                    </a:lnTo>
                    <a:lnTo>
                      <a:pt x="43" y="60"/>
                    </a:lnTo>
                    <a:lnTo>
                      <a:pt x="42" y="60"/>
                    </a:lnTo>
                    <a:lnTo>
                      <a:pt x="39" y="61"/>
                    </a:lnTo>
                    <a:lnTo>
                      <a:pt x="34" y="63"/>
                    </a:lnTo>
                    <a:lnTo>
                      <a:pt x="33" y="64"/>
                    </a:lnTo>
                    <a:lnTo>
                      <a:pt x="32" y="66"/>
                    </a:lnTo>
                    <a:lnTo>
                      <a:pt x="32" y="66"/>
                    </a:lnTo>
                    <a:lnTo>
                      <a:pt x="32" y="67"/>
                    </a:lnTo>
                    <a:lnTo>
                      <a:pt x="33" y="68"/>
                    </a:lnTo>
                    <a:lnTo>
                      <a:pt x="39" y="73"/>
                    </a:lnTo>
                    <a:lnTo>
                      <a:pt x="46" y="77"/>
                    </a:lnTo>
                    <a:lnTo>
                      <a:pt x="47" y="78"/>
                    </a:lnTo>
                    <a:lnTo>
                      <a:pt x="49" y="80"/>
                    </a:lnTo>
                    <a:lnTo>
                      <a:pt x="49" y="80"/>
                    </a:lnTo>
                    <a:lnTo>
                      <a:pt x="50" y="84"/>
                    </a:lnTo>
                    <a:lnTo>
                      <a:pt x="52" y="87"/>
                    </a:lnTo>
                    <a:lnTo>
                      <a:pt x="57" y="94"/>
                    </a:lnTo>
                    <a:lnTo>
                      <a:pt x="57" y="94"/>
                    </a:lnTo>
                    <a:lnTo>
                      <a:pt x="60" y="98"/>
                    </a:lnTo>
                    <a:lnTo>
                      <a:pt x="63" y="103"/>
                    </a:lnTo>
                    <a:lnTo>
                      <a:pt x="67" y="107"/>
                    </a:lnTo>
                    <a:lnTo>
                      <a:pt x="70" y="113"/>
                    </a:lnTo>
                    <a:lnTo>
                      <a:pt x="70" y="113"/>
                    </a:lnTo>
                    <a:lnTo>
                      <a:pt x="73" y="115"/>
                    </a:lnTo>
                    <a:lnTo>
                      <a:pt x="76" y="120"/>
                    </a:lnTo>
                    <a:lnTo>
                      <a:pt x="83" y="124"/>
                    </a:lnTo>
                    <a:lnTo>
                      <a:pt x="83" y="124"/>
                    </a:lnTo>
                    <a:lnTo>
                      <a:pt x="86" y="127"/>
                    </a:lnTo>
                    <a:lnTo>
                      <a:pt x="86" y="131"/>
                    </a:lnTo>
                    <a:lnTo>
                      <a:pt x="86" y="141"/>
                    </a:lnTo>
                    <a:lnTo>
                      <a:pt x="86" y="141"/>
                    </a:lnTo>
                    <a:lnTo>
                      <a:pt x="86" y="145"/>
                    </a:lnTo>
                    <a:lnTo>
                      <a:pt x="86" y="152"/>
                    </a:lnTo>
                    <a:lnTo>
                      <a:pt x="89" y="159"/>
                    </a:lnTo>
                    <a:lnTo>
                      <a:pt x="91" y="167"/>
                    </a:lnTo>
                    <a:lnTo>
                      <a:pt x="91" y="167"/>
                    </a:lnTo>
                    <a:lnTo>
                      <a:pt x="93" y="169"/>
                    </a:lnTo>
                    <a:lnTo>
                      <a:pt x="93" y="172"/>
                    </a:lnTo>
                    <a:lnTo>
                      <a:pt x="91" y="175"/>
                    </a:lnTo>
                    <a:lnTo>
                      <a:pt x="90" y="178"/>
                    </a:lnTo>
                    <a:lnTo>
                      <a:pt x="84" y="181"/>
                    </a:lnTo>
                    <a:lnTo>
                      <a:pt x="80" y="185"/>
                    </a:lnTo>
                    <a:lnTo>
                      <a:pt x="80" y="185"/>
                    </a:lnTo>
                    <a:lnTo>
                      <a:pt x="79" y="189"/>
                    </a:lnTo>
                    <a:lnTo>
                      <a:pt x="76" y="192"/>
                    </a:lnTo>
                    <a:lnTo>
                      <a:pt x="74" y="194"/>
                    </a:lnTo>
                    <a:lnTo>
                      <a:pt x="73" y="195"/>
                    </a:lnTo>
                    <a:lnTo>
                      <a:pt x="66" y="194"/>
                    </a:lnTo>
                    <a:lnTo>
                      <a:pt x="66" y="194"/>
                    </a:lnTo>
                    <a:lnTo>
                      <a:pt x="63" y="194"/>
                    </a:lnTo>
                    <a:lnTo>
                      <a:pt x="61" y="195"/>
                    </a:lnTo>
                    <a:lnTo>
                      <a:pt x="61" y="196"/>
                    </a:lnTo>
                    <a:lnTo>
                      <a:pt x="61" y="198"/>
                    </a:lnTo>
                    <a:lnTo>
                      <a:pt x="66" y="204"/>
                    </a:lnTo>
                    <a:lnTo>
                      <a:pt x="66" y="206"/>
                    </a:lnTo>
                    <a:lnTo>
                      <a:pt x="66" y="208"/>
                    </a:lnTo>
                    <a:lnTo>
                      <a:pt x="66" y="208"/>
                    </a:lnTo>
                    <a:lnTo>
                      <a:pt x="64" y="209"/>
                    </a:lnTo>
                    <a:lnTo>
                      <a:pt x="63" y="209"/>
                    </a:lnTo>
                    <a:lnTo>
                      <a:pt x="56" y="208"/>
                    </a:lnTo>
                    <a:lnTo>
                      <a:pt x="50" y="208"/>
                    </a:lnTo>
                    <a:lnTo>
                      <a:pt x="49" y="208"/>
                    </a:lnTo>
                    <a:lnTo>
                      <a:pt x="47" y="208"/>
                    </a:lnTo>
                    <a:lnTo>
                      <a:pt x="47" y="208"/>
                    </a:lnTo>
                    <a:lnTo>
                      <a:pt x="47" y="211"/>
                    </a:lnTo>
                    <a:lnTo>
                      <a:pt x="44" y="212"/>
                    </a:lnTo>
                    <a:lnTo>
                      <a:pt x="37" y="216"/>
                    </a:lnTo>
                    <a:lnTo>
                      <a:pt x="37" y="216"/>
                    </a:lnTo>
                    <a:lnTo>
                      <a:pt x="42" y="219"/>
                    </a:lnTo>
                    <a:lnTo>
                      <a:pt x="44" y="222"/>
                    </a:lnTo>
                    <a:lnTo>
                      <a:pt x="44" y="222"/>
                    </a:lnTo>
                    <a:lnTo>
                      <a:pt x="46" y="222"/>
                    </a:lnTo>
                    <a:lnTo>
                      <a:pt x="46" y="223"/>
                    </a:lnTo>
                    <a:lnTo>
                      <a:pt x="44" y="226"/>
                    </a:lnTo>
                    <a:lnTo>
                      <a:pt x="42" y="231"/>
                    </a:lnTo>
                    <a:lnTo>
                      <a:pt x="40" y="235"/>
                    </a:lnTo>
                    <a:lnTo>
                      <a:pt x="40" y="235"/>
                    </a:lnTo>
                    <a:lnTo>
                      <a:pt x="42" y="241"/>
                    </a:lnTo>
                    <a:lnTo>
                      <a:pt x="44" y="242"/>
                    </a:lnTo>
                    <a:lnTo>
                      <a:pt x="46" y="243"/>
                    </a:lnTo>
                    <a:lnTo>
                      <a:pt x="49" y="242"/>
                    </a:lnTo>
                    <a:lnTo>
                      <a:pt x="49" y="242"/>
                    </a:lnTo>
                    <a:lnTo>
                      <a:pt x="56" y="235"/>
                    </a:lnTo>
                    <a:lnTo>
                      <a:pt x="63" y="231"/>
                    </a:lnTo>
                    <a:lnTo>
                      <a:pt x="63" y="231"/>
                    </a:lnTo>
                    <a:lnTo>
                      <a:pt x="64" y="229"/>
                    </a:lnTo>
                    <a:lnTo>
                      <a:pt x="64" y="228"/>
                    </a:lnTo>
                    <a:lnTo>
                      <a:pt x="64" y="225"/>
                    </a:lnTo>
                    <a:lnTo>
                      <a:pt x="67" y="225"/>
                    </a:lnTo>
                    <a:lnTo>
                      <a:pt x="67" y="225"/>
                    </a:lnTo>
                    <a:lnTo>
                      <a:pt x="69" y="223"/>
                    </a:lnTo>
                    <a:lnTo>
                      <a:pt x="70" y="222"/>
                    </a:lnTo>
                    <a:lnTo>
                      <a:pt x="71" y="216"/>
                    </a:lnTo>
                    <a:lnTo>
                      <a:pt x="71" y="216"/>
                    </a:lnTo>
                    <a:lnTo>
                      <a:pt x="73" y="215"/>
                    </a:lnTo>
                    <a:lnTo>
                      <a:pt x="74" y="214"/>
                    </a:lnTo>
                    <a:lnTo>
                      <a:pt x="81" y="215"/>
                    </a:lnTo>
                    <a:lnTo>
                      <a:pt x="81" y="215"/>
                    </a:lnTo>
                    <a:lnTo>
                      <a:pt x="86" y="214"/>
                    </a:lnTo>
                    <a:lnTo>
                      <a:pt x="91" y="211"/>
                    </a:lnTo>
                    <a:lnTo>
                      <a:pt x="103" y="204"/>
                    </a:lnTo>
                    <a:lnTo>
                      <a:pt x="103" y="204"/>
                    </a:lnTo>
                    <a:lnTo>
                      <a:pt x="107" y="201"/>
                    </a:lnTo>
                    <a:lnTo>
                      <a:pt x="111" y="196"/>
                    </a:lnTo>
                    <a:lnTo>
                      <a:pt x="113" y="192"/>
                    </a:lnTo>
                    <a:lnTo>
                      <a:pt x="116" y="182"/>
                    </a:lnTo>
                    <a:lnTo>
                      <a:pt x="116" y="182"/>
                    </a:lnTo>
                    <a:lnTo>
                      <a:pt x="116" y="171"/>
                    </a:lnTo>
                    <a:lnTo>
                      <a:pt x="114" y="159"/>
                    </a:lnTo>
                    <a:lnTo>
                      <a:pt x="111" y="145"/>
                    </a:lnTo>
                    <a:lnTo>
                      <a:pt x="111" y="145"/>
                    </a:lnTo>
                    <a:lnTo>
                      <a:pt x="110" y="140"/>
                    </a:lnTo>
                    <a:lnTo>
                      <a:pt x="106" y="131"/>
                    </a:lnTo>
                    <a:lnTo>
                      <a:pt x="100" y="124"/>
                    </a:lnTo>
                    <a:lnTo>
                      <a:pt x="98" y="121"/>
                    </a:lnTo>
                    <a:lnTo>
                      <a:pt x="97" y="120"/>
                    </a:lnTo>
                    <a:lnTo>
                      <a:pt x="97" y="120"/>
                    </a:lnTo>
                    <a:lnTo>
                      <a:pt x="91" y="117"/>
                    </a:lnTo>
                    <a:lnTo>
                      <a:pt x="83" y="111"/>
                    </a:lnTo>
                    <a:lnTo>
                      <a:pt x="70" y="98"/>
                    </a:lnTo>
                    <a:lnTo>
                      <a:pt x="70" y="98"/>
                    </a:lnTo>
                    <a:lnTo>
                      <a:pt x="69" y="95"/>
                    </a:lnTo>
                    <a:lnTo>
                      <a:pt x="67" y="93"/>
                    </a:lnTo>
                    <a:lnTo>
                      <a:pt x="66" y="90"/>
                    </a:lnTo>
                    <a:lnTo>
                      <a:pt x="63" y="85"/>
                    </a:lnTo>
                    <a:lnTo>
                      <a:pt x="63" y="85"/>
                    </a:lnTo>
                    <a:lnTo>
                      <a:pt x="60" y="83"/>
                    </a:lnTo>
                    <a:lnTo>
                      <a:pt x="59" y="77"/>
                    </a:lnTo>
                    <a:lnTo>
                      <a:pt x="59" y="70"/>
                    </a:lnTo>
                    <a:lnTo>
                      <a:pt x="60" y="64"/>
                    </a:lnTo>
                    <a:lnTo>
                      <a:pt x="60" y="64"/>
                    </a:lnTo>
                    <a:lnTo>
                      <a:pt x="61" y="60"/>
                    </a:lnTo>
                    <a:lnTo>
                      <a:pt x="66" y="57"/>
                    </a:lnTo>
                    <a:lnTo>
                      <a:pt x="69" y="54"/>
                    </a:lnTo>
                    <a:lnTo>
                      <a:pt x="70" y="51"/>
                    </a:lnTo>
                    <a:lnTo>
                      <a:pt x="71" y="50"/>
                    </a:lnTo>
                    <a:lnTo>
                      <a:pt x="71" y="50"/>
                    </a:lnTo>
                    <a:lnTo>
                      <a:pt x="71" y="47"/>
                    </a:lnTo>
                    <a:lnTo>
                      <a:pt x="71" y="44"/>
                    </a:lnTo>
                    <a:lnTo>
                      <a:pt x="74" y="41"/>
                    </a:lnTo>
                    <a:lnTo>
                      <a:pt x="77" y="41"/>
                    </a:lnTo>
                    <a:lnTo>
                      <a:pt x="77" y="41"/>
                    </a:lnTo>
                    <a:lnTo>
                      <a:pt x="81" y="40"/>
                    </a:lnTo>
                    <a:lnTo>
                      <a:pt x="84" y="39"/>
                    </a:lnTo>
                    <a:lnTo>
                      <a:pt x="90" y="33"/>
                    </a:lnTo>
                    <a:lnTo>
                      <a:pt x="90" y="33"/>
                    </a:lnTo>
                    <a:lnTo>
                      <a:pt x="91" y="31"/>
                    </a:lnTo>
                    <a:lnTo>
                      <a:pt x="91" y="31"/>
                    </a:lnTo>
                    <a:lnTo>
                      <a:pt x="87" y="29"/>
                    </a:lnTo>
                    <a:lnTo>
                      <a:pt x="87" y="2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99" name="Cambodia"/>
              <p:cNvSpPr>
                <a:spLocks/>
              </p:cNvSpPr>
              <p:nvPr/>
            </p:nvSpPr>
            <p:spPr bwMode="auto">
              <a:xfrm>
                <a:off x="6722126" y="3964951"/>
                <a:ext cx="133181" cy="102106"/>
              </a:xfrm>
              <a:custGeom>
                <a:avLst/>
                <a:gdLst/>
                <a:ahLst/>
                <a:cxnLst>
                  <a:cxn ang="0">
                    <a:pos x="44" y="61"/>
                  </a:cxn>
                  <a:cxn ang="0">
                    <a:pos x="47" y="61"/>
                  </a:cxn>
                  <a:cxn ang="0">
                    <a:pos x="60" y="62"/>
                  </a:cxn>
                  <a:cxn ang="0">
                    <a:pos x="63" y="61"/>
                  </a:cxn>
                  <a:cxn ang="0">
                    <a:pos x="63" y="59"/>
                  </a:cxn>
                  <a:cxn ang="0">
                    <a:pos x="58" y="51"/>
                  </a:cxn>
                  <a:cxn ang="0">
                    <a:pos x="58" y="48"/>
                  </a:cxn>
                  <a:cxn ang="0">
                    <a:pos x="63" y="47"/>
                  </a:cxn>
                  <a:cxn ang="0">
                    <a:pos x="70" y="48"/>
                  </a:cxn>
                  <a:cxn ang="0">
                    <a:pos x="73" y="45"/>
                  </a:cxn>
                  <a:cxn ang="0">
                    <a:pos x="77" y="38"/>
                  </a:cxn>
                  <a:cxn ang="0">
                    <a:pos x="81" y="34"/>
                  </a:cxn>
                  <a:cxn ang="0">
                    <a:pos x="88" y="28"/>
                  </a:cxn>
                  <a:cxn ang="0">
                    <a:pos x="90" y="22"/>
                  </a:cxn>
                  <a:cxn ang="0">
                    <a:pos x="88" y="20"/>
                  </a:cxn>
                  <a:cxn ang="0">
                    <a:pos x="84" y="10"/>
                  </a:cxn>
                  <a:cxn ang="0">
                    <a:pos x="83" y="0"/>
                  </a:cxn>
                  <a:cxn ang="0">
                    <a:pos x="77" y="3"/>
                  </a:cxn>
                  <a:cxn ang="0">
                    <a:pos x="71" y="3"/>
                  </a:cxn>
                  <a:cxn ang="0">
                    <a:pos x="64" y="1"/>
                  </a:cxn>
                  <a:cxn ang="0">
                    <a:pos x="60" y="5"/>
                  </a:cxn>
                  <a:cxn ang="0">
                    <a:pos x="60" y="8"/>
                  </a:cxn>
                  <a:cxn ang="0">
                    <a:pos x="56" y="11"/>
                  </a:cxn>
                  <a:cxn ang="0">
                    <a:pos x="56" y="10"/>
                  </a:cxn>
                  <a:cxn ang="0">
                    <a:pos x="53" y="7"/>
                  </a:cxn>
                  <a:cxn ang="0">
                    <a:pos x="47" y="4"/>
                  </a:cxn>
                  <a:cxn ang="0">
                    <a:pos x="46" y="3"/>
                  </a:cxn>
                  <a:cxn ang="0">
                    <a:pos x="37" y="3"/>
                  </a:cxn>
                  <a:cxn ang="0">
                    <a:pos x="24" y="3"/>
                  </a:cxn>
                  <a:cxn ang="0">
                    <a:pos x="20" y="3"/>
                  </a:cxn>
                  <a:cxn ang="0">
                    <a:pos x="9" y="8"/>
                  </a:cxn>
                  <a:cxn ang="0">
                    <a:pos x="3" y="14"/>
                  </a:cxn>
                  <a:cxn ang="0">
                    <a:pos x="2" y="21"/>
                  </a:cxn>
                  <a:cxn ang="0">
                    <a:pos x="3" y="28"/>
                  </a:cxn>
                  <a:cxn ang="0">
                    <a:pos x="4" y="32"/>
                  </a:cxn>
                  <a:cxn ang="0">
                    <a:pos x="6" y="37"/>
                  </a:cxn>
                  <a:cxn ang="0">
                    <a:pos x="6" y="41"/>
                  </a:cxn>
                  <a:cxn ang="0">
                    <a:pos x="6" y="41"/>
                  </a:cxn>
                  <a:cxn ang="0">
                    <a:pos x="10" y="48"/>
                  </a:cxn>
                  <a:cxn ang="0">
                    <a:pos x="10" y="55"/>
                  </a:cxn>
                  <a:cxn ang="0">
                    <a:pos x="14" y="58"/>
                  </a:cxn>
                  <a:cxn ang="0">
                    <a:pos x="20" y="57"/>
                  </a:cxn>
                  <a:cxn ang="0">
                    <a:pos x="20" y="59"/>
                  </a:cxn>
                  <a:cxn ang="0">
                    <a:pos x="20" y="65"/>
                  </a:cxn>
                  <a:cxn ang="0">
                    <a:pos x="23" y="67"/>
                  </a:cxn>
                  <a:cxn ang="0">
                    <a:pos x="31" y="65"/>
                  </a:cxn>
                  <a:cxn ang="0">
                    <a:pos x="33" y="67"/>
                  </a:cxn>
                  <a:cxn ang="0">
                    <a:pos x="34" y="69"/>
                  </a:cxn>
                  <a:cxn ang="0">
                    <a:pos x="41" y="65"/>
                  </a:cxn>
                  <a:cxn ang="0">
                    <a:pos x="44" y="61"/>
                  </a:cxn>
                </a:cxnLst>
                <a:rect l="0" t="0" r="r" b="b"/>
                <a:pathLst>
                  <a:path w="90" h="69">
                    <a:moveTo>
                      <a:pt x="44" y="61"/>
                    </a:moveTo>
                    <a:lnTo>
                      <a:pt x="44" y="61"/>
                    </a:lnTo>
                    <a:lnTo>
                      <a:pt x="46" y="61"/>
                    </a:lnTo>
                    <a:lnTo>
                      <a:pt x="47" y="61"/>
                    </a:lnTo>
                    <a:lnTo>
                      <a:pt x="53" y="61"/>
                    </a:lnTo>
                    <a:lnTo>
                      <a:pt x="60" y="62"/>
                    </a:lnTo>
                    <a:lnTo>
                      <a:pt x="61" y="62"/>
                    </a:lnTo>
                    <a:lnTo>
                      <a:pt x="63" y="61"/>
                    </a:lnTo>
                    <a:lnTo>
                      <a:pt x="63" y="61"/>
                    </a:lnTo>
                    <a:lnTo>
                      <a:pt x="63" y="59"/>
                    </a:lnTo>
                    <a:lnTo>
                      <a:pt x="63" y="57"/>
                    </a:lnTo>
                    <a:lnTo>
                      <a:pt x="58" y="51"/>
                    </a:lnTo>
                    <a:lnTo>
                      <a:pt x="58" y="49"/>
                    </a:lnTo>
                    <a:lnTo>
                      <a:pt x="58" y="48"/>
                    </a:lnTo>
                    <a:lnTo>
                      <a:pt x="60" y="47"/>
                    </a:lnTo>
                    <a:lnTo>
                      <a:pt x="63" y="47"/>
                    </a:lnTo>
                    <a:lnTo>
                      <a:pt x="63" y="47"/>
                    </a:lnTo>
                    <a:lnTo>
                      <a:pt x="70" y="48"/>
                    </a:lnTo>
                    <a:lnTo>
                      <a:pt x="71" y="47"/>
                    </a:lnTo>
                    <a:lnTo>
                      <a:pt x="73" y="45"/>
                    </a:lnTo>
                    <a:lnTo>
                      <a:pt x="76" y="42"/>
                    </a:lnTo>
                    <a:lnTo>
                      <a:pt x="77" y="38"/>
                    </a:lnTo>
                    <a:lnTo>
                      <a:pt x="77" y="38"/>
                    </a:lnTo>
                    <a:lnTo>
                      <a:pt x="81" y="34"/>
                    </a:lnTo>
                    <a:lnTo>
                      <a:pt x="87" y="31"/>
                    </a:lnTo>
                    <a:lnTo>
                      <a:pt x="88" y="28"/>
                    </a:lnTo>
                    <a:lnTo>
                      <a:pt x="90" y="25"/>
                    </a:lnTo>
                    <a:lnTo>
                      <a:pt x="90" y="22"/>
                    </a:lnTo>
                    <a:lnTo>
                      <a:pt x="88" y="20"/>
                    </a:lnTo>
                    <a:lnTo>
                      <a:pt x="88" y="20"/>
                    </a:lnTo>
                    <a:lnTo>
                      <a:pt x="86" y="15"/>
                    </a:lnTo>
                    <a:lnTo>
                      <a:pt x="84" y="10"/>
                    </a:lnTo>
                    <a:lnTo>
                      <a:pt x="83" y="0"/>
                    </a:lnTo>
                    <a:lnTo>
                      <a:pt x="83" y="0"/>
                    </a:lnTo>
                    <a:lnTo>
                      <a:pt x="80" y="1"/>
                    </a:lnTo>
                    <a:lnTo>
                      <a:pt x="77" y="3"/>
                    </a:lnTo>
                    <a:lnTo>
                      <a:pt x="71" y="3"/>
                    </a:lnTo>
                    <a:lnTo>
                      <a:pt x="71" y="3"/>
                    </a:lnTo>
                    <a:lnTo>
                      <a:pt x="68" y="1"/>
                    </a:lnTo>
                    <a:lnTo>
                      <a:pt x="64" y="1"/>
                    </a:lnTo>
                    <a:lnTo>
                      <a:pt x="61" y="3"/>
                    </a:lnTo>
                    <a:lnTo>
                      <a:pt x="60" y="5"/>
                    </a:lnTo>
                    <a:lnTo>
                      <a:pt x="60" y="5"/>
                    </a:lnTo>
                    <a:lnTo>
                      <a:pt x="60" y="8"/>
                    </a:lnTo>
                    <a:lnTo>
                      <a:pt x="58" y="11"/>
                    </a:lnTo>
                    <a:lnTo>
                      <a:pt x="56" y="11"/>
                    </a:lnTo>
                    <a:lnTo>
                      <a:pt x="56" y="10"/>
                    </a:lnTo>
                    <a:lnTo>
                      <a:pt x="56" y="10"/>
                    </a:lnTo>
                    <a:lnTo>
                      <a:pt x="56" y="8"/>
                    </a:lnTo>
                    <a:lnTo>
                      <a:pt x="53" y="7"/>
                    </a:lnTo>
                    <a:lnTo>
                      <a:pt x="50" y="5"/>
                    </a:lnTo>
                    <a:lnTo>
                      <a:pt x="47" y="4"/>
                    </a:lnTo>
                    <a:lnTo>
                      <a:pt x="47" y="4"/>
                    </a:lnTo>
                    <a:lnTo>
                      <a:pt x="46" y="3"/>
                    </a:lnTo>
                    <a:lnTo>
                      <a:pt x="43" y="3"/>
                    </a:lnTo>
                    <a:lnTo>
                      <a:pt x="37" y="3"/>
                    </a:lnTo>
                    <a:lnTo>
                      <a:pt x="30" y="3"/>
                    </a:lnTo>
                    <a:lnTo>
                      <a:pt x="24" y="3"/>
                    </a:lnTo>
                    <a:lnTo>
                      <a:pt x="24" y="3"/>
                    </a:lnTo>
                    <a:lnTo>
                      <a:pt x="20" y="3"/>
                    </a:lnTo>
                    <a:lnTo>
                      <a:pt x="14" y="4"/>
                    </a:lnTo>
                    <a:lnTo>
                      <a:pt x="9" y="8"/>
                    </a:lnTo>
                    <a:lnTo>
                      <a:pt x="3" y="14"/>
                    </a:lnTo>
                    <a:lnTo>
                      <a:pt x="3" y="14"/>
                    </a:lnTo>
                    <a:lnTo>
                      <a:pt x="0" y="18"/>
                    </a:lnTo>
                    <a:lnTo>
                      <a:pt x="2" y="21"/>
                    </a:lnTo>
                    <a:lnTo>
                      <a:pt x="3" y="24"/>
                    </a:lnTo>
                    <a:lnTo>
                      <a:pt x="3" y="28"/>
                    </a:lnTo>
                    <a:lnTo>
                      <a:pt x="3" y="28"/>
                    </a:lnTo>
                    <a:lnTo>
                      <a:pt x="4" y="32"/>
                    </a:lnTo>
                    <a:lnTo>
                      <a:pt x="6" y="35"/>
                    </a:lnTo>
                    <a:lnTo>
                      <a:pt x="6" y="37"/>
                    </a:lnTo>
                    <a:lnTo>
                      <a:pt x="6" y="41"/>
                    </a:lnTo>
                    <a:lnTo>
                      <a:pt x="6" y="41"/>
                    </a:lnTo>
                    <a:lnTo>
                      <a:pt x="6" y="41"/>
                    </a:lnTo>
                    <a:lnTo>
                      <a:pt x="6" y="41"/>
                    </a:lnTo>
                    <a:lnTo>
                      <a:pt x="9" y="44"/>
                    </a:lnTo>
                    <a:lnTo>
                      <a:pt x="10" y="48"/>
                    </a:lnTo>
                    <a:lnTo>
                      <a:pt x="10" y="55"/>
                    </a:lnTo>
                    <a:lnTo>
                      <a:pt x="10" y="55"/>
                    </a:lnTo>
                    <a:lnTo>
                      <a:pt x="12" y="58"/>
                    </a:lnTo>
                    <a:lnTo>
                      <a:pt x="14" y="58"/>
                    </a:lnTo>
                    <a:lnTo>
                      <a:pt x="20" y="57"/>
                    </a:lnTo>
                    <a:lnTo>
                      <a:pt x="20" y="57"/>
                    </a:lnTo>
                    <a:lnTo>
                      <a:pt x="21" y="58"/>
                    </a:lnTo>
                    <a:lnTo>
                      <a:pt x="20" y="59"/>
                    </a:lnTo>
                    <a:lnTo>
                      <a:pt x="20" y="62"/>
                    </a:lnTo>
                    <a:lnTo>
                      <a:pt x="20" y="65"/>
                    </a:lnTo>
                    <a:lnTo>
                      <a:pt x="20" y="65"/>
                    </a:lnTo>
                    <a:lnTo>
                      <a:pt x="23" y="67"/>
                    </a:lnTo>
                    <a:lnTo>
                      <a:pt x="27" y="65"/>
                    </a:lnTo>
                    <a:lnTo>
                      <a:pt x="31" y="65"/>
                    </a:lnTo>
                    <a:lnTo>
                      <a:pt x="33" y="65"/>
                    </a:lnTo>
                    <a:lnTo>
                      <a:pt x="33" y="67"/>
                    </a:lnTo>
                    <a:lnTo>
                      <a:pt x="33" y="67"/>
                    </a:lnTo>
                    <a:lnTo>
                      <a:pt x="34" y="69"/>
                    </a:lnTo>
                    <a:lnTo>
                      <a:pt x="34" y="69"/>
                    </a:lnTo>
                    <a:lnTo>
                      <a:pt x="41" y="65"/>
                    </a:lnTo>
                    <a:lnTo>
                      <a:pt x="44" y="64"/>
                    </a:lnTo>
                    <a:lnTo>
                      <a:pt x="44" y="61"/>
                    </a:lnTo>
                    <a:lnTo>
                      <a:pt x="44" y="6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00" name="Laos"/>
              <p:cNvSpPr>
                <a:spLocks/>
              </p:cNvSpPr>
              <p:nvPr/>
            </p:nvSpPr>
            <p:spPr bwMode="auto">
              <a:xfrm>
                <a:off x="6671814" y="3768139"/>
                <a:ext cx="173135" cy="213089"/>
              </a:xfrm>
              <a:custGeom>
                <a:avLst/>
                <a:gdLst/>
                <a:ahLst/>
                <a:cxnLst>
                  <a:cxn ang="0">
                    <a:pos x="78" y="64"/>
                  </a:cxn>
                  <a:cxn ang="0">
                    <a:pos x="64" y="54"/>
                  </a:cxn>
                  <a:cxn ang="0">
                    <a:pos x="63" y="52"/>
                  </a:cxn>
                  <a:cxn ang="0">
                    <a:pos x="70" y="47"/>
                  </a:cxn>
                  <a:cxn ang="0">
                    <a:pos x="74" y="44"/>
                  </a:cxn>
                  <a:cxn ang="0">
                    <a:pos x="73" y="39"/>
                  </a:cxn>
                  <a:cxn ang="0">
                    <a:pos x="70" y="32"/>
                  </a:cxn>
                  <a:cxn ang="0">
                    <a:pos x="61" y="27"/>
                  </a:cxn>
                  <a:cxn ang="0">
                    <a:pos x="55" y="29"/>
                  </a:cxn>
                  <a:cxn ang="0">
                    <a:pos x="46" y="22"/>
                  </a:cxn>
                  <a:cxn ang="0">
                    <a:pos x="41" y="15"/>
                  </a:cxn>
                  <a:cxn ang="0">
                    <a:pos x="37" y="9"/>
                  </a:cxn>
                  <a:cxn ang="0">
                    <a:pos x="31" y="0"/>
                  </a:cxn>
                  <a:cxn ang="0">
                    <a:pos x="24" y="2"/>
                  </a:cxn>
                  <a:cxn ang="0">
                    <a:pos x="21" y="7"/>
                  </a:cxn>
                  <a:cxn ang="0">
                    <a:pos x="24" y="13"/>
                  </a:cxn>
                  <a:cxn ang="0">
                    <a:pos x="23" y="22"/>
                  </a:cxn>
                  <a:cxn ang="0">
                    <a:pos x="19" y="20"/>
                  </a:cxn>
                  <a:cxn ang="0">
                    <a:pos x="13" y="15"/>
                  </a:cxn>
                  <a:cxn ang="0">
                    <a:pos x="7" y="25"/>
                  </a:cxn>
                  <a:cxn ang="0">
                    <a:pos x="4" y="30"/>
                  </a:cxn>
                  <a:cxn ang="0">
                    <a:pos x="0" y="33"/>
                  </a:cxn>
                  <a:cxn ang="0">
                    <a:pos x="3" y="37"/>
                  </a:cxn>
                  <a:cxn ang="0">
                    <a:pos x="4" y="49"/>
                  </a:cxn>
                  <a:cxn ang="0">
                    <a:pos x="6" y="50"/>
                  </a:cxn>
                  <a:cxn ang="0">
                    <a:pos x="14" y="50"/>
                  </a:cxn>
                  <a:cxn ang="0">
                    <a:pos x="16" y="57"/>
                  </a:cxn>
                  <a:cxn ang="0">
                    <a:pos x="14" y="69"/>
                  </a:cxn>
                  <a:cxn ang="0">
                    <a:pos x="11" y="76"/>
                  </a:cxn>
                  <a:cxn ang="0">
                    <a:pos x="10" y="81"/>
                  </a:cxn>
                  <a:cxn ang="0">
                    <a:pos x="16" y="83"/>
                  </a:cxn>
                  <a:cxn ang="0">
                    <a:pos x="28" y="74"/>
                  </a:cxn>
                  <a:cxn ang="0">
                    <a:pos x="36" y="76"/>
                  </a:cxn>
                  <a:cxn ang="0">
                    <a:pos x="41" y="76"/>
                  </a:cxn>
                  <a:cxn ang="0">
                    <a:pos x="46" y="73"/>
                  </a:cxn>
                  <a:cxn ang="0">
                    <a:pos x="57" y="70"/>
                  </a:cxn>
                  <a:cxn ang="0">
                    <a:pos x="67" y="79"/>
                  </a:cxn>
                  <a:cxn ang="0">
                    <a:pos x="74" y="86"/>
                  </a:cxn>
                  <a:cxn ang="0">
                    <a:pos x="73" y="100"/>
                  </a:cxn>
                  <a:cxn ang="0">
                    <a:pos x="74" y="103"/>
                  </a:cxn>
                  <a:cxn ang="0">
                    <a:pos x="84" y="114"/>
                  </a:cxn>
                  <a:cxn ang="0">
                    <a:pos x="85" y="126"/>
                  </a:cxn>
                  <a:cxn ang="0">
                    <a:pos x="83" y="138"/>
                  </a:cxn>
                  <a:cxn ang="0">
                    <a:pos x="90" y="141"/>
                  </a:cxn>
                  <a:cxn ang="0">
                    <a:pos x="90" y="144"/>
                  </a:cxn>
                  <a:cxn ang="0">
                    <a:pos x="94" y="138"/>
                  </a:cxn>
                  <a:cxn ang="0">
                    <a:pos x="98" y="134"/>
                  </a:cxn>
                  <a:cxn ang="0">
                    <a:pos x="105" y="136"/>
                  </a:cxn>
                  <a:cxn ang="0">
                    <a:pos x="117" y="133"/>
                  </a:cxn>
                  <a:cxn ang="0">
                    <a:pos x="117" y="127"/>
                  </a:cxn>
                  <a:cxn ang="0">
                    <a:pos x="114" y="110"/>
                  </a:cxn>
                  <a:cxn ang="0">
                    <a:pos x="104" y="101"/>
                  </a:cxn>
                  <a:cxn ang="0">
                    <a:pos x="98" y="93"/>
                  </a:cxn>
                  <a:cxn ang="0">
                    <a:pos x="88" y="80"/>
                  </a:cxn>
                  <a:cxn ang="0">
                    <a:pos x="81" y="70"/>
                  </a:cxn>
                </a:cxnLst>
                <a:rect l="0" t="0" r="r" b="b"/>
                <a:pathLst>
                  <a:path w="117" h="144">
                    <a:moveTo>
                      <a:pt x="80" y="66"/>
                    </a:moveTo>
                    <a:lnTo>
                      <a:pt x="80" y="66"/>
                    </a:lnTo>
                    <a:lnTo>
                      <a:pt x="78" y="64"/>
                    </a:lnTo>
                    <a:lnTo>
                      <a:pt x="77" y="63"/>
                    </a:lnTo>
                    <a:lnTo>
                      <a:pt x="70" y="59"/>
                    </a:lnTo>
                    <a:lnTo>
                      <a:pt x="64" y="54"/>
                    </a:lnTo>
                    <a:lnTo>
                      <a:pt x="63" y="53"/>
                    </a:lnTo>
                    <a:lnTo>
                      <a:pt x="63" y="52"/>
                    </a:lnTo>
                    <a:lnTo>
                      <a:pt x="63" y="52"/>
                    </a:lnTo>
                    <a:lnTo>
                      <a:pt x="64" y="50"/>
                    </a:lnTo>
                    <a:lnTo>
                      <a:pt x="65" y="49"/>
                    </a:lnTo>
                    <a:lnTo>
                      <a:pt x="70" y="47"/>
                    </a:lnTo>
                    <a:lnTo>
                      <a:pt x="73" y="46"/>
                    </a:lnTo>
                    <a:lnTo>
                      <a:pt x="74" y="46"/>
                    </a:lnTo>
                    <a:lnTo>
                      <a:pt x="74" y="44"/>
                    </a:lnTo>
                    <a:lnTo>
                      <a:pt x="74" y="44"/>
                    </a:lnTo>
                    <a:lnTo>
                      <a:pt x="74" y="42"/>
                    </a:lnTo>
                    <a:lnTo>
                      <a:pt x="73" y="39"/>
                    </a:lnTo>
                    <a:lnTo>
                      <a:pt x="71" y="36"/>
                    </a:lnTo>
                    <a:lnTo>
                      <a:pt x="70" y="32"/>
                    </a:lnTo>
                    <a:lnTo>
                      <a:pt x="70" y="32"/>
                    </a:lnTo>
                    <a:lnTo>
                      <a:pt x="68" y="27"/>
                    </a:lnTo>
                    <a:lnTo>
                      <a:pt x="64" y="27"/>
                    </a:lnTo>
                    <a:lnTo>
                      <a:pt x="61" y="27"/>
                    </a:lnTo>
                    <a:lnTo>
                      <a:pt x="58" y="29"/>
                    </a:lnTo>
                    <a:lnTo>
                      <a:pt x="58" y="29"/>
                    </a:lnTo>
                    <a:lnTo>
                      <a:pt x="55" y="29"/>
                    </a:lnTo>
                    <a:lnTo>
                      <a:pt x="51" y="27"/>
                    </a:lnTo>
                    <a:lnTo>
                      <a:pt x="47" y="25"/>
                    </a:lnTo>
                    <a:lnTo>
                      <a:pt x="46" y="22"/>
                    </a:lnTo>
                    <a:lnTo>
                      <a:pt x="46" y="22"/>
                    </a:lnTo>
                    <a:lnTo>
                      <a:pt x="44" y="19"/>
                    </a:lnTo>
                    <a:lnTo>
                      <a:pt x="41" y="15"/>
                    </a:lnTo>
                    <a:lnTo>
                      <a:pt x="38" y="12"/>
                    </a:lnTo>
                    <a:lnTo>
                      <a:pt x="37" y="9"/>
                    </a:lnTo>
                    <a:lnTo>
                      <a:pt x="37" y="9"/>
                    </a:lnTo>
                    <a:lnTo>
                      <a:pt x="36" y="6"/>
                    </a:lnTo>
                    <a:lnTo>
                      <a:pt x="31" y="0"/>
                    </a:lnTo>
                    <a:lnTo>
                      <a:pt x="31" y="0"/>
                    </a:lnTo>
                    <a:lnTo>
                      <a:pt x="27" y="2"/>
                    </a:lnTo>
                    <a:lnTo>
                      <a:pt x="24" y="2"/>
                    </a:lnTo>
                    <a:lnTo>
                      <a:pt x="24" y="2"/>
                    </a:lnTo>
                    <a:lnTo>
                      <a:pt x="23" y="2"/>
                    </a:lnTo>
                    <a:lnTo>
                      <a:pt x="23" y="5"/>
                    </a:lnTo>
                    <a:lnTo>
                      <a:pt x="21" y="7"/>
                    </a:lnTo>
                    <a:lnTo>
                      <a:pt x="23" y="10"/>
                    </a:lnTo>
                    <a:lnTo>
                      <a:pt x="23" y="10"/>
                    </a:lnTo>
                    <a:lnTo>
                      <a:pt x="24" y="13"/>
                    </a:lnTo>
                    <a:lnTo>
                      <a:pt x="24" y="17"/>
                    </a:lnTo>
                    <a:lnTo>
                      <a:pt x="24" y="22"/>
                    </a:lnTo>
                    <a:lnTo>
                      <a:pt x="23" y="22"/>
                    </a:lnTo>
                    <a:lnTo>
                      <a:pt x="21" y="22"/>
                    </a:lnTo>
                    <a:lnTo>
                      <a:pt x="21" y="22"/>
                    </a:lnTo>
                    <a:lnTo>
                      <a:pt x="19" y="20"/>
                    </a:lnTo>
                    <a:lnTo>
                      <a:pt x="17" y="17"/>
                    </a:lnTo>
                    <a:lnTo>
                      <a:pt x="16" y="16"/>
                    </a:lnTo>
                    <a:lnTo>
                      <a:pt x="13" y="15"/>
                    </a:lnTo>
                    <a:lnTo>
                      <a:pt x="13" y="15"/>
                    </a:lnTo>
                    <a:lnTo>
                      <a:pt x="10" y="20"/>
                    </a:lnTo>
                    <a:lnTo>
                      <a:pt x="7" y="25"/>
                    </a:lnTo>
                    <a:lnTo>
                      <a:pt x="6" y="27"/>
                    </a:lnTo>
                    <a:lnTo>
                      <a:pt x="6" y="27"/>
                    </a:lnTo>
                    <a:lnTo>
                      <a:pt x="4" y="30"/>
                    </a:lnTo>
                    <a:lnTo>
                      <a:pt x="3" y="30"/>
                    </a:lnTo>
                    <a:lnTo>
                      <a:pt x="0" y="33"/>
                    </a:lnTo>
                    <a:lnTo>
                      <a:pt x="0" y="33"/>
                    </a:lnTo>
                    <a:lnTo>
                      <a:pt x="3" y="36"/>
                    </a:lnTo>
                    <a:lnTo>
                      <a:pt x="3" y="36"/>
                    </a:lnTo>
                    <a:lnTo>
                      <a:pt x="3" y="37"/>
                    </a:lnTo>
                    <a:lnTo>
                      <a:pt x="3" y="40"/>
                    </a:lnTo>
                    <a:lnTo>
                      <a:pt x="3" y="44"/>
                    </a:lnTo>
                    <a:lnTo>
                      <a:pt x="4" y="49"/>
                    </a:lnTo>
                    <a:lnTo>
                      <a:pt x="4" y="49"/>
                    </a:lnTo>
                    <a:lnTo>
                      <a:pt x="6" y="49"/>
                    </a:lnTo>
                    <a:lnTo>
                      <a:pt x="6" y="50"/>
                    </a:lnTo>
                    <a:lnTo>
                      <a:pt x="10" y="49"/>
                    </a:lnTo>
                    <a:lnTo>
                      <a:pt x="13" y="49"/>
                    </a:lnTo>
                    <a:lnTo>
                      <a:pt x="14" y="50"/>
                    </a:lnTo>
                    <a:lnTo>
                      <a:pt x="16" y="52"/>
                    </a:lnTo>
                    <a:lnTo>
                      <a:pt x="16" y="52"/>
                    </a:lnTo>
                    <a:lnTo>
                      <a:pt x="16" y="57"/>
                    </a:lnTo>
                    <a:lnTo>
                      <a:pt x="16" y="60"/>
                    </a:lnTo>
                    <a:lnTo>
                      <a:pt x="14" y="64"/>
                    </a:lnTo>
                    <a:lnTo>
                      <a:pt x="14" y="69"/>
                    </a:lnTo>
                    <a:lnTo>
                      <a:pt x="14" y="69"/>
                    </a:lnTo>
                    <a:lnTo>
                      <a:pt x="13" y="73"/>
                    </a:lnTo>
                    <a:lnTo>
                      <a:pt x="11" y="76"/>
                    </a:lnTo>
                    <a:lnTo>
                      <a:pt x="10" y="79"/>
                    </a:lnTo>
                    <a:lnTo>
                      <a:pt x="10" y="81"/>
                    </a:lnTo>
                    <a:lnTo>
                      <a:pt x="10" y="81"/>
                    </a:lnTo>
                    <a:lnTo>
                      <a:pt x="10" y="83"/>
                    </a:lnTo>
                    <a:lnTo>
                      <a:pt x="11" y="84"/>
                    </a:lnTo>
                    <a:lnTo>
                      <a:pt x="16" y="83"/>
                    </a:lnTo>
                    <a:lnTo>
                      <a:pt x="24" y="76"/>
                    </a:lnTo>
                    <a:lnTo>
                      <a:pt x="24" y="76"/>
                    </a:lnTo>
                    <a:lnTo>
                      <a:pt x="28" y="74"/>
                    </a:lnTo>
                    <a:lnTo>
                      <a:pt x="31" y="73"/>
                    </a:lnTo>
                    <a:lnTo>
                      <a:pt x="34" y="74"/>
                    </a:lnTo>
                    <a:lnTo>
                      <a:pt x="36" y="76"/>
                    </a:lnTo>
                    <a:lnTo>
                      <a:pt x="36" y="76"/>
                    </a:lnTo>
                    <a:lnTo>
                      <a:pt x="38" y="77"/>
                    </a:lnTo>
                    <a:lnTo>
                      <a:pt x="41" y="76"/>
                    </a:lnTo>
                    <a:lnTo>
                      <a:pt x="44" y="74"/>
                    </a:lnTo>
                    <a:lnTo>
                      <a:pt x="46" y="73"/>
                    </a:lnTo>
                    <a:lnTo>
                      <a:pt x="46" y="73"/>
                    </a:lnTo>
                    <a:lnTo>
                      <a:pt x="48" y="70"/>
                    </a:lnTo>
                    <a:lnTo>
                      <a:pt x="53" y="70"/>
                    </a:lnTo>
                    <a:lnTo>
                      <a:pt x="57" y="70"/>
                    </a:lnTo>
                    <a:lnTo>
                      <a:pt x="61" y="71"/>
                    </a:lnTo>
                    <a:lnTo>
                      <a:pt x="61" y="71"/>
                    </a:lnTo>
                    <a:lnTo>
                      <a:pt x="67" y="79"/>
                    </a:lnTo>
                    <a:lnTo>
                      <a:pt x="73" y="84"/>
                    </a:lnTo>
                    <a:lnTo>
                      <a:pt x="73" y="84"/>
                    </a:lnTo>
                    <a:lnTo>
                      <a:pt x="74" y="86"/>
                    </a:lnTo>
                    <a:lnTo>
                      <a:pt x="74" y="87"/>
                    </a:lnTo>
                    <a:lnTo>
                      <a:pt x="73" y="94"/>
                    </a:lnTo>
                    <a:lnTo>
                      <a:pt x="73" y="100"/>
                    </a:lnTo>
                    <a:lnTo>
                      <a:pt x="73" y="101"/>
                    </a:lnTo>
                    <a:lnTo>
                      <a:pt x="74" y="103"/>
                    </a:lnTo>
                    <a:lnTo>
                      <a:pt x="74" y="103"/>
                    </a:lnTo>
                    <a:lnTo>
                      <a:pt x="78" y="106"/>
                    </a:lnTo>
                    <a:lnTo>
                      <a:pt x="81" y="108"/>
                    </a:lnTo>
                    <a:lnTo>
                      <a:pt x="84" y="114"/>
                    </a:lnTo>
                    <a:lnTo>
                      <a:pt x="85" y="120"/>
                    </a:lnTo>
                    <a:lnTo>
                      <a:pt x="85" y="120"/>
                    </a:lnTo>
                    <a:lnTo>
                      <a:pt x="85" y="126"/>
                    </a:lnTo>
                    <a:lnTo>
                      <a:pt x="85" y="130"/>
                    </a:lnTo>
                    <a:lnTo>
                      <a:pt x="85" y="134"/>
                    </a:lnTo>
                    <a:lnTo>
                      <a:pt x="83" y="138"/>
                    </a:lnTo>
                    <a:lnTo>
                      <a:pt x="83" y="138"/>
                    </a:lnTo>
                    <a:lnTo>
                      <a:pt x="88" y="140"/>
                    </a:lnTo>
                    <a:lnTo>
                      <a:pt x="90" y="141"/>
                    </a:lnTo>
                    <a:lnTo>
                      <a:pt x="90" y="143"/>
                    </a:lnTo>
                    <a:lnTo>
                      <a:pt x="90" y="143"/>
                    </a:lnTo>
                    <a:lnTo>
                      <a:pt x="90" y="144"/>
                    </a:lnTo>
                    <a:lnTo>
                      <a:pt x="92" y="144"/>
                    </a:lnTo>
                    <a:lnTo>
                      <a:pt x="94" y="141"/>
                    </a:lnTo>
                    <a:lnTo>
                      <a:pt x="94" y="138"/>
                    </a:lnTo>
                    <a:lnTo>
                      <a:pt x="94" y="138"/>
                    </a:lnTo>
                    <a:lnTo>
                      <a:pt x="95" y="136"/>
                    </a:lnTo>
                    <a:lnTo>
                      <a:pt x="98" y="134"/>
                    </a:lnTo>
                    <a:lnTo>
                      <a:pt x="102" y="134"/>
                    </a:lnTo>
                    <a:lnTo>
                      <a:pt x="105" y="136"/>
                    </a:lnTo>
                    <a:lnTo>
                      <a:pt x="105" y="136"/>
                    </a:lnTo>
                    <a:lnTo>
                      <a:pt x="111" y="136"/>
                    </a:lnTo>
                    <a:lnTo>
                      <a:pt x="114" y="134"/>
                    </a:lnTo>
                    <a:lnTo>
                      <a:pt x="117" y="133"/>
                    </a:lnTo>
                    <a:lnTo>
                      <a:pt x="117" y="133"/>
                    </a:lnTo>
                    <a:lnTo>
                      <a:pt x="117" y="127"/>
                    </a:lnTo>
                    <a:lnTo>
                      <a:pt x="117" y="127"/>
                    </a:lnTo>
                    <a:lnTo>
                      <a:pt x="117" y="117"/>
                    </a:lnTo>
                    <a:lnTo>
                      <a:pt x="117" y="113"/>
                    </a:lnTo>
                    <a:lnTo>
                      <a:pt x="114" y="110"/>
                    </a:lnTo>
                    <a:lnTo>
                      <a:pt x="114" y="110"/>
                    </a:lnTo>
                    <a:lnTo>
                      <a:pt x="107" y="106"/>
                    </a:lnTo>
                    <a:lnTo>
                      <a:pt x="104" y="101"/>
                    </a:lnTo>
                    <a:lnTo>
                      <a:pt x="101" y="99"/>
                    </a:lnTo>
                    <a:lnTo>
                      <a:pt x="101" y="99"/>
                    </a:lnTo>
                    <a:lnTo>
                      <a:pt x="98" y="93"/>
                    </a:lnTo>
                    <a:lnTo>
                      <a:pt x="94" y="89"/>
                    </a:lnTo>
                    <a:lnTo>
                      <a:pt x="91" y="84"/>
                    </a:lnTo>
                    <a:lnTo>
                      <a:pt x="88" y="80"/>
                    </a:lnTo>
                    <a:lnTo>
                      <a:pt x="88" y="80"/>
                    </a:lnTo>
                    <a:lnTo>
                      <a:pt x="83" y="73"/>
                    </a:lnTo>
                    <a:lnTo>
                      <a:pt x="81" y="70"/>
                    </a:lnTo>
                    <a:lnTo>
                      <a:pt x="80" y="66"/>
                    </a:lnTo>
                    <a:lnTo>
                      <a:pt x="80" y="6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01" name="Thailand"/>
              <p:cNvSpPr>
                <a:spLocks/>
              </p:cNvSpPr>
              <p:nvPr/>
            </p:nvSpPr>
            <p:spPr bwMode="auto">
              <a:xfrm>
                <a:off x="6611142" y="3816972"/>
                <a:ext cx="186453" cy="358107"/>
              </a:xfrm>
              <a:custGeom>
                <a:avLst/>
                <a:gdLst/>
                <a:ahLst/>
                <a:cxnLst>
                  <a:cxn ang="0">
                    <a:pos x="77" y="121"/>
                  </a:cxn>
                  <a:cxn ang="0">
                    <a:pos x="84" y="108"/>
                  </a:cxn>
                  <a:cxn ang="0">
                    <a:pos x="99" y="103"/>
                  </a:cxn>
                  <a:cxn ang="0">
                    <a:pos x="121" y="103"/>
                  </a:cxn>
                  <a:cxn ang="0">
                    <a:pos x="124" y="105"/>
                  </a:cxn>
                  <a:cxn ang="0">
                    <a:pos x="126" y="87"/>
                  </a:cxn>
                  <a:cxn ang="0">
                    <a:pos x="119" y="73"/>
                  </a:cxn>
                  <a:cxn ang="0">
                    <a:pos x="114" y="67"/>
                  </a:cxn>
                  <a:cxn ang="0">
                    <a:pos x="114" y="51"/>
                  </a:cxn>
                  <a:cxn ang="0">
                    <a:pos x="102" y="38"/>
                  </a:cxn>
                  <a:cxn ang="0">
                    <a:pos x="87" y="40"/>
                  </a:cxn>
                  <a:cxn ang="0">
                    <a:pos x="79" y="44"/>
                  </a:cxn>
                  <a:cxn ang="0">
                    <a:pos x="72" y="40"/>
                  </a:cxn>
                  <a:cxn ang="0">
                    <a:pos x="57" y="50"/>
                  </a:cxn>
                  <a:cxn ang="0">
                    <a:pos x="51" y="48"/>
                  </a:cxn>
                  <a:cxn ang="0">
                    <a:pos x="55" y="36"/>
                  </a:cxn>
                  <a:cxn ang="0">
                    <a:pos x="57" y="24"/>
                  </a:cxn>
                  <a:cxn ang="0">
                    <a:pos x="54" y="16"/>
                  </a:cxn>
                  <a:cxn ang="0">
                    <a:pos x="45" y="16"/>
                  </a:cxn>
                  <a:cxn ang="0">
                    <a:pos x="44" y="4"/>
                  </a:cxn>
                  <a:cxn ang="0">
                    <a:pos x="41" y="0"/>
                  </a:cxn>
                  <a:cxn ang="0">
                    <a:pos x="31" y="6"/>
                  </a:cxn>
                  <a:cxn ang="0">
                    <a:pos x="21" y="13"/>
                  </a:cxn>
                  <a:cxn ang="0">
                    <a:pos x="7" y="14"/>
                  </a:cxn>
                  <a:cxn ang="0">
                    <a:pos x="0" y="44"/>
                  </a:cxn>
                  <a:cxn ang="0">
                    <a:pos x="8" y="57"/>
                  </a:cxn>
                  <a:cxn ang="0">
                    <a:pos x="13" y="64"/>
                  </a:cxn>
                  <a:cxn ang="0">
                    <a:pos x="17" y="71"/>
                  </a:cxn>
                  <a:cxn ang="0">
                    <a:pos x="14" y="77"/>
                  </a:cxn>
                  <a:cxn ang="0">
                    <a:pos x="11" y="88"/>
                  </a:cxn>
                  <a:cxn ang="0">
                    <a:pos x="13" y="101"/>
                  </a:cxn>
                  <a:cxn ang="0">
                    <a:pos x="23" y="115"/>
                  </a:cxn>
                  <a:cxn ang="0">
                    <a:pos x="25" y="131"/>
                  </a:cxn>
                  <a:cxn ang="0">
                    <a:pos x="24" y="151"/>
                  </a:cxn>
                  <a:cxn ang="0">
                    <a:pos x="15" y="164"/>
                  </a:cxn>
                  <a:cxn ang="0">
                    <a:pos x="8" y="201"/>
                  </a:cxn>
                  <a:cxn ang="0">
                    <a:pos x="20" y="208"/>
                  </a:cxn>
                  <a:cxn ang="0">
                    <a:pos x="37" y="231"/>
                  </a:cxn>
                  <a:cxn ang="0">
                    <a:pos x="52" y="235"/>
                  </a:cxn>
                  <a:cxn ang="0">
                    <a:pos x="55" y="242"/>
                  </a:cxn>
                  <a:cxn ang="0">
                    <a:pos x="68" y="241"/>
                  </a:cxn>
                  <a:cxn ang="0">
                    <a:pos x="72" y="235"/>
                  </a:cxn>
                  <a:cxn ang="0">
                    <a:pos x="54" y="225"/>
                  </a:cxn>
                  <a:cxn ang="0">
                    <a:pos x="44" y="218"/>
                  </a:cxn>
                  <a:cxn ang="0">
                    <a:pos x="41" y="202"/>
                  </a:cxn>
                  <a:cxn ang="0">
                    <a:pos x="37" y="192"/>
                  </a:cxn>
                  <a:cxn ang="0">
                    <a:pos x="27" y="184"/>
                  </a:cxn>
                  <a:cxn ang="0">
                    <a:pos x="28" y="158"/>
                  </a:cxn>
                  <a:cxn ang="0">
                    <a:pos x="37" y="132"/>
                  </a:cxn>
                  <a:cxn ang="0">
                    <a:pos x="37" y="124"/>
                  </a:cxn>
                  <a:cxn ang="0">
                    <a:pos x="50" y="120"/>
                  </a:cxn>
                  <a:cxn ang="0">
                    <a:pos x="54" y="130"/>
                  </a:cxn>
                  <a:cxn ang="0">
                    <a:pos x="68" y="132"/>
                  </a:cxn>
                  <a:cxn ang="0">
                    <a:pos x="79" y="141"/>
                  </a:cxn>
                  <a:cxn ang="0">
                    <a:pos x="81" y="141"/>
                  </a:cxn>
                  <a:cxn ang="0">
                    <a:pos x="78" y="128"/>
                  </a:cxn>
                </a:cxnLst>
                <a:rect l="0" t="0" r="r" b="b"/>
                <a:pathLst>
                  <a:path w="126" h="242">
                    <a:moveTo>
                      <a:pt x="78" y="128"/>
                    </a:moveTo>
                    <a:lnTo>
                      <a:pt x="78" y="128"/>
                    </a:lnTo>
                    <a:lnTo>
                      <a:pt x="78" y="124"/>
                    </a:lnTo>
                    <a:lnTo>
                      <a:pt x="77" y="121"/>
                    </a:lnTo>
                    <a:lnTo>
                      <a:pt x="75" y="118"/>
                    </a:lnTo>
                    <a:lnTo>
                      <a:pt x="78" y="114"/>
                    </a:lnTo>
                    <a:lnTo>
                      <a:pt x="78" y="114"/>
                    </a:lnTo>
                    <a:lnTo>
                      <a:pt x="84" y="108"/>
                    </a:lnTo>
                    <a:lnTo>
                      <a:pt x="89" y="104"/>
                    </a:lnTo>
                    <a:lnTo>
                      <a:pt x="95" y="103"/>
                    </a:lnTo>
                    <a:lnTo>
                      <a:pt x="99" y="103"/>
                    </a:lnTo>
                    <a:lnTo>
                      <a:pt x="99" y="103"/>
                    </a:lnTo>
                    <a:lnTo>
                      <a:pt x="105" y="103"/>
                    </a:lnTo>
                    <a:lnTo>
                      <a:pt x="112" y="103"/>
                    </a:lnTo>
                    <a:lnTo>
                      <a:pt x="118" y="103"/>
                    </a:lnTo>
                    <a:lnTo>
                      <a:pt x="121" y="103"/>
                    </a:lnTo>
                    <a:lnTo>
                      <a:pt x="122" y="104"/>
                    </a:lnTo>
                    <a:lnTo>
                      <a:pt x="122" y="104"/>
                    </a:lnTo>
                    <a:lnTo>
                      <a:pt x="124" y="105"/>
                    </a:lnTo>
                    <a:lnTo>
                      <a:pt x="124" y="105"/>
                    </a:lnTo>
                    <a:lnTo>
                      <a:pt x="126" y="101"/>
                    </a:lnTo>
                    <a:lnTo>
                      <a:pt x="126" y="97"/>
                    </a:lnTo>
                    <a:lnTo>
                      <a:pt x="126" y="93"/>
                    </a:lnTo>
                    <a:lnTo>
                      <a:pt x="126" y="87"/>
                    </a:lnTo>
                    <a:lnTo>
                      <a:pt x="126" y="87"/>
                    </a:lnTo>
                    <a:lnTo>
                      <a:pt x="125" y="81"/>
                    </a:lnTo>
                    <a:lnTo>
                      <a:pt x="122" y="75"/>
                    </a:lnTo>
                    <a:lnTo>
                      <a:pt x="119" y="73"/>
                    </a:lnTo>
                    <a:lnTo>
                      <a:pt x="115" y="70"/>
                    </a:lnTo>
                    <a:lnTo>
                      <a:pt x="115" y="70"/>
                    </a:lnTo>
                    <a:lnTo>
                      <a:pt x="114" y="68"/>
                    </a:lnTo>
                    <a:lnTo>
                      <a:pt x="114" y="67"/>
                    </a:lnTo>
                    <a:lnTo>
                      <a:pt x="114" y="61"/>
                    </a:lnTo>
                    <a:lnTo>
                      <a:pt x="115" y="54"/>
                    </a:lnTo>
                    <a:lnTo>
                      <a:pt x="115" y="53"/>
                    </a:lnTo>
                    <a:lnTo>
                      <a:pt x="114" y="51"/>
                    </a:lnTo>
                    <a:lnTo>
                      <a:pt x="114" y="51"/>
                    </a:lnTo>
                    <a:lnTo>
                      <a:pt x="108" y="46"/>
                    </a:lnTo>
                    <a:lnTo>
                      <a:pt x="102" y="38"/>
                    </a:lnTo>
                    <a:lnTo>
                      <a:pt x="102" y="38"/>
                    </a:lnTo>
                    <a:lnTo>
                      <a:pt x="98" y="37"/>
                    </a:lnTo>
                    <a:lnTo>
                      <a:pt x="94" y="37"/>
                    </a:lnTo>
                    <a:lnTo>
                      <a:pt x="89" y="37"/>
                    </a:lnTo>
                    <a:lnTo>
                      <a:pt x="87" y="40"/>
                    </a:lnTo>
                    <a:lnTo>
                      <a:pt x="87" y="40"/>
                    </a:lnTo>
                    <a:lnTo>
                      <a:pt x="85" y="41"/>
                    </a:lnTo>
                    <a:lnTo>
                      <a:pt x="82" y="43"/>
                    </a:lnTo>
                    <a:lnTo>
                      <a:pt x="79" y="44"/>
                    </a:lnTo>
                    <a:lnTo>
                      <a:pt x="77" y="43"/>
                    </a:lnTo>
                    <a:lnTo>
                      <a:pt x="77" y="43"/>
                    </a:lnTo>
                    <a:lnTo>
                      <a:pt x="75" y="41"/>
                    </a:lnTo>
                    <a:lnTo>
                      <a:pt x="72" y="40"/>
                    </a:lnTo>
                    <a:lnTo>
                      <a:pt x="69" y="41"/>
                    </a:lnTo>
                    <a:lnTo>
                      <a:pt x="65" y="43"/>
                    </a:lnTo>
                    <a:lnTo>
                      <a:pt x="65" y="43"/>
                    </a:lnTo>
                    <a:lnTo>
                      <a:pt x="57" y="50"/>
                    </a:lnTo>
                    <a:lnTo>
                      <a:pt x="52" y="51"/>
                    </a:lnTo>
                    <a:lnTo>
                      <a:pt x="51" y="50"/>
                    </a:lnTo>
                    <a:lnTo>
                      <a:pt x="51" y="48"/>
                    </a:lnTo>
                    <a:lnTo>
                      <a:pt x="51" y="48"/>
                    </a:lnTo>
                    <a:lnTo>
                      <a:pt x="51" y="46"/>
                    </a:lnTo>
                    <a:lnTo>
                      <a:pt x="52" y="43"/>
                    </a:lnTo>
                    <a:lnTo>
                      <a:pt x="54" y="40"/>
                    </a:lnTo>
                    <a:lnTo>
                      <a:pt x="55" y="36"/>
                    </a:lnTo>
                    <a:lnTo>
                      <a:pt x="55" y="36"/>
                    </a:lnTo>
                    <a:lnTo>
                      <a:pt x="55" y="31"/>
                    </a:lnTo>
                    <a:lnTo>
                      <a:pt x="57" y="27"/>
                    </a:lnTo>
                    <a:lnTo>
                      <a:pt x="57" y="24"/>
                    </a:lnTo>
                    <a:lnTo>
                      <a:pt x="57" y="19"/>
                    </a:lnTo>
                    <a:lnTo>
                      <a:pt x="57" y="19"/>
                    </a:lnTo>
                    <a:lnTo>
                      <a:pt x="55" y="17"/>
                    </a:lnTo>
                    <a:lnTo>
                      <a:pt x="54" y="16"/>
                    </a:lnTo>
                    <a:lnTo>
                      <a:pt x="51" y="16"/>
                    </a:lnTo>
                    <a:lnTo>
                      <a:pt x="47" y="17"/>
                    </a:lnTo>
                    <a:lnTo>
                      <a:pt x="47" y="16"/>
                    </a:lnTo>
                    <a:lnTo>
                      <a:pt x="45" y="16"/>
                    </a:lnTo>
                    <a:lnTo>
                      <a:pt x="45" y="16"/>
                    </a:lnTo>
                    <a:lnTo>
                      <a:pt x="44" y="11"/>
                    </a:lnTo>
                    <a:lnTo>
                      <a:pt x="44" y="7"/>
                    </a:lnTo>
                    <a:lnTo>
                      <a:pt x="44" y="4"/>
                    </a:lnTo>
                    <a:lnTo>
                      <a:pt x="44" y="3"/>
                    </a:lnTo>
                    <a:lnTo>
                      <a:pt x="44" y="3"/>
                    </a:lnTo>
                    <a:lnTo>
                      <a:pt x="41" y="0"/>
                    </a:lnTo>
                    <a:lnTo>
                      <a:pt x="41" y="0"/>
                    </a:lnTo>
                    <a:lnTo>
                      <a:pt x="38" y="2"/>
                    </a:lnTo>
                    <a:lnTo>
                      <a:pt x="38" y="2"/>
                    </a:lnTo>
                    <a:lnTo>
                      <a:pt x="35" y="4"/>
                    </a:lnTo>
                    <a:lnTo>
                      <a:pt x="31" y="6"/>
                    </a:lnTo>
                    <a:lnTo>
                      <a:pt x="27" y="7"/>
                    </a:lnTo>
                    <a:lnTo>
                      <a:pt x="24" y="10"/>
                    </a:lnTo>
                    <a:lnTo>
                      <a:pt x="24" y="10"/>
                    </a:lnTo>
                    <a:lnTo>
                      <a:pt x="21" y="13"/>
                    </a:lnTo>
                    <a:lnTo>
                      <a:pt x="17" y="14"/>
                    </a:lnTo>
                    <a:lnTo>
                      <a:pt x="11" y="14"/>
                    </a:lnTo>
                    <a:lnTo>
                      <a:pt x="11" y="14"/>
                    </a:lnTo>
                    <a:lnTo>
                      <a:pt x="7" y="14"/>
                    </a:lnTo>
                    <a:lnTo>
                      <a:pt x="4" y="16"/>
                    </a:lnTo>
                    <a:lnTo>
                      <a:pt x="3" y="19"/>
                    </a:lnTo>
                    <a:lnTo>
                      <a:pt x="3" y="19"/>
                    </a:lnTo>
                    <a:lnTo>
                      <a:pt x="0" y="44"/>
                    </a:lnTo>
                    <a:lnTo>
                      <a:pt x="0" y="44"/>
                    </a:lnTo>
                    <a:lnTo>
                      <a:pt x="1" y="48"/>
                    </a:lnTo>
                    <a:lnTo>
                      <a:pt x="4" y="53"/>
                    </a:lnTo>
                    <a:lnTo>
                      <a:pt x="8" y="57"/>
                    </a:lnTo>
                    <a:lnTo>
                      <a:pt x="11" y="58"/>
                    </a:lnTo>
                    <a:lnTo>
                      <a:pt x="11" y="58"/>
                    </a:lnTo>
                    <a:lnTo>
                      <a:pt x="13" y="61"/>
                    </a:lnTo>
                    <a:lnTo>
                      <a:pt x="13" y="64"/>
                    </a:lnTo>
                    <a:lnTo>
                      <a:pt x="13" y="67"/>
                    </a:lnTo>
                    <a:lnTo>
                      <a:pt x="14" y="70"/>
                    </a:lnTo>
                    <a:lnTo>
                      <a:pt x="14" y="70"/>
                    </a:lnTo>
                    <a:lnTo>
                      <a:pt x="17" y="71"/>
                    </a:lnTo>
                    <a:lnTo>
                      <a:pt x="17" y="74"/>
                    </a:lnTo>
                    <a:lnTo>
                      <a:pt x="15" y="77"/>
                    </a:lnTo>
                    <a:lnTo>
                      <a:pt x="14" y="77"/>
                    </a:lnTo>
                    <a:lnTo>
                      <a:pt x="14" y="77"/>
                    </a:lnTo>
                    <a:lnTo>
                      <a:pt x="13" y="78"/>
                    </a:lnTo>
                    <a:lnTo>
                      <a:pt x="14" y="81"/>
                    </a:lnTo>
                    <a:lnTo>
                      <a:pt x="13" y="85"/>
                    </a:lnTo>
                    <a:lnTo>
                      <a:pt x="11" y="88"/>
                    </a:lnTo>
                    <a:lnTo>
                      <a:pt x="11" y="88"/>
                    </a:lnTo>
                    <a:lnTo>
                      <a:pt x="10" y="93"/>
                    </a:lnTo>
                    <a:lnTo>
                      <a:pt x="11" y="97"/>
                    </a:lnTo>
                    <a:lnTo>
                      <a:pt x="13" y="101"/>
                    </a:lnTo>
                    <a:lnTo>
                      <a:pt x="17" y="105"/>
                    </a:lnTo>
                    <a:lnTo>
                      <a:pt x="17" y="105"/>
                    </a:lnTo>
                    <a:lnTo>
                      <a:pt x="21" y="111"/>
                    </a:lnTo>
                    <a:lnTo>
                      <a:pt x="23" y="115"/>
                    </a:lnTo>
                    <a:lnTo>
                      <a:pt x="24" y="125"/>
                    </a:lnTo>
                    <a:lnTo>
                      <a:pt x="24" y="125"/>
                    </a:lnTo>
                    <a:lnTo>
                      <a:pt x="24" y="128"/>
                    </a:lnTo>
                    <a:lnTo>
                      <a:pt x="25" y="131"/>
                    </a:lnTo>
                    <a:lnTo>
                      <a:pt x="28" y="134"/>
                    </a:lnTo>
                    <a:lnTo>
                      <a:pt x="28" y="138"/>
                    </a:lnTo>
                    <a:lnTo>
                      <a:pt x="28" y="138"/>
                    </a:lnTo>
                    <a:lnTo>
                      <a:pt x="24" y="151"/>
                    </a:lnTo>
                    <a:lnTo>
                      <a:pt x="20" y="161"/>
                    </a:lnTo>
                    <a:lnTo>
                      <a:pt x="17" y="164"/>
                    </a:lnTo>
                    <a:lnTo>
                      <a:pt x="15" y="164"/>
                    </a:lnTo>
                    <a:lnTo>
                      <a:pt x="15" y="164"/>
                    </a:lnTo>
                    <a:lnTo>
                      <a:pt x="10" y="188"/>
                    </a:lnTo>
                    <a:lnTo>
                      <a:pt x="10" y="188"/>
                    </a:lnTo>
                    <a:lnTo>
                      <a:pt x="8" y="198"/>
                    </a:lnTo>
                    <a:lnTo>
                      <a:pt x="8" y="201"/>
                    </a:lnTo>
                    <a:lnTo>
                      <a:pt x="11" y="202"/>
                    </a:lnTo>
                    <a:lnTo>
                      <a:pt x="11" y="202"/>
                    </a:lnTo>
                    <a:lnTo>
                      <a:pt x="15" y="204"/>
                    </a:lnTo>
                    <a:lnTo>
                      <a:pt x="20" y="208"/>
                    </a:lnTo>
                    <a:lnTo>
                      <a:pt x="32" y="222"/>
                    </a:lnTo>
                    <a:lnTo>
                      <a:pt x="32" y="222"/>
                    </a:lnTo>
                    <a:lnTo>
                      <a:pt x="37" y="231"/>
                    </a:lnTo>
                    <a:lnTo>
                      <a:pt x="37" y="231"/>
                    </a:lnTo>
                    <a:lnTo>
                      <a:pt x="47" y="231"/>
                    </a:lnTo>
                    <a:lnTo>
                      <a:pt x="47" y="231"/>
                    </a:lnTo>
                    <a:lnTo>
                      <a:pt x="50" y="232"/>
                    </a:lnTo>
                    <a:lnTo>
                      <a:pt x="52" y="235"/>
                    </a:lnTo>
                    <a:lnTo>
                      <a:pt x="54" y="238"/>
                    </a:lnTo>
                    <a:lnTo>
                      <a:pt x="54" y="241"/>
                    </a:lnTo>
                    <a:lnTo>
                      <a:pt x="54" y="241"/>
                    </a:lnTo>
                    <a:lnTo>
                      <a:pt x="55" y="242"/>
                    </a:lnTo>
                    <a:lnTo>
                      <a:pt x="60" y="242"/>
                    </a:lnTo>
                    <a:lnTo>
                      <a:pt x="67" y="242"/>
                    </a:lnTo>
                    <a:lnTo>
                      <a:pt x="67" y="242"/>
                    </a:lnTo>
                    <a:lnTo>
                      <a:pt x="68" y="241"/>
                    </a:lnTo>
                    <a:lnTo>
                      <a:pt x="68" y="239"/>
                    </a:lnTo>
                    <a:lnTo>
                      <a:pt x="69" y="238"/>
                    </a:lnTo>
                    <a:lnTo>
                      <a:pt x="72" y="235"/>
                    </a:lnTo>
                    <a:lnTo>
                      <a:pt x="72" y="235"/>
                    </a:lnTo>
                    <a:lnTo>
                      <a:pt x="68" y="232"/>
                    </a:lnTo>
                    <a:lnTo>
                      <a:pt x="64" y="229"/>
                    </a:lnTo>
                    <a:lnTo>
                      <a:pt x="58" y="226"/>
                    </a:lnTo>
                    <a:lnTo>
                      <a:pt x="54" y="225"/>
                    </a:lnTo>
                    <a:lnTo>
                      <a:pt x="54" y="225"/>
                    </a:lnTo>
                    <a:lnTo>
                      <a:pt x="51" y="223"/>
                    </a:lnTo>
                    <a:lnTo>
                      <a:pt x="48" y="222"/>
                    </a:lnTo>
                    <a:lnTo>
                      <a:pt x="44" y="218"/>
                    </a:lnTo>
                    <a:lnTo>
                      <a:pt x="42" y="212"/>
                    </a:lnTo>
                    <a:lnTo>
                      <a:pt x="42" y="206"/>
                    </a:lnTo>
                    <a:lnTo>
                      <a:pt x="42" y="206"/>
                    </a:lnTo>
                    <a:lnTo>
                      <a:pt x="41" y="202"/>
                    </a:lnTo>
                    <a:lnTo>
                      <a:pt x="40" y="199"/>
                    </a:lnTo>
                    <a:lnTo>
                      <a:pt x="37" y="195"/>
                    </a:lnTo>
                    <a:lnTo>
                      <a:pt x="37" y="192"/>
                    </a:lnTo>
                    <a:lnTo>
                      <a:pt x="37" y="192"/>
                    </a:lnTo>
                    <a:lnTo>
                      <a:pt x="35" y="189"/>
                    </a:lnTo>
                    <a:lnTo>
                      <a:pt x="34" y="186"/>
                    </a:lnTo>
                    <a:lnTo>
                      <a:pt x="27" y="184"/>
                    </a:lnTo>
                    <a:lnTo>
                      <a:pt x="27" y="184"/>
                    </a:lnTo>
                    <a:lnTo>
                      <a:pt x="24" y="182"/>
                    </a:lnTo>
                    <a:lnTo>
                      <a:pt x="24" y="179"/>
                    </a:lnTo>
                    <a:lnTo>
                      <a:pt x="25" y="172"/>
                    </a:lnTo>
                    <a:lnTo>
                      <a:pt x="28" y="158"/>
                    </a:lnTo>
                    <a:lnTo>
                      <a:pt x="28" y="158"/>
                    </a:lnTo>
                    <a:lnTo>
                      <a:pt x="30" y="151"/>
                    </a:lnTo>
                    <a:lnTo>
                      <a:pt x="34" y="142"/>
                    </a:lnTo>
                    <a:lnTo>
                      <a:pt x="37" y="132"/>
                    </a:lnTo>
                    <a:lnTo>
                      <a:pt x="37" y="128"/>
                    </a:lnTo>
                    <a:lnTo>
                      <a:pt x="37" y="125"/>
                    </a:lnTo>
                    <a:lnTo>
                      <a:pt x="37" y="125"/>
                    </a:lnTo>
                    <a:lnTo>
                      <a:pt x="37" y="124"/>
                    </a:lnTo>
                    <a:lnTo>
                      <a:pt x="37" y="121"/>
                    </a:lnTo>
                    <a:lnTo>
                      <a:pt x="41" y="118"/>
                    </a:lnTo>
                    <a:lnTo>
                      <a:pt x="47" y="118"/>
                    </a:lnTo>
                    <a:lnTo>
                      <a:pt x="50" y="120"/>
                    </a:lnTo>
                    <a:lnTo>
                      <a:pt x="51" y="121"/>
                    </a:lnTo>
                    <a:lnTo>
                      <a:pt x="51" y="121"/>
                    </a:lnTo>
                    <a:lnTo>
                      <a:pt x="51" y="127"/>
                    </a:lnTo>
                    <a:lnTo>
                      <a:pt x="54" y="130"/>
                    </a:lnTo>
                    <a:lnTo>
                      <a:pt x="57" y="131"/>
                    </a:lnTo>
                    <a:lnTo>
                      <a:pt x="62" y="131"/>
                    </a:lnTo>
                    <a:lnTo>
                      <a:pt x="62" y="131"/>
                    </a:lnTo>
                    <a:lnTo>
                      <a:pt x="68" y="132"/>
                    </a:lnTo>
                    <a:lnTo>
                      <a:pt x="72" y="135"/>
                    </a:lnTo>
                    <a:lnTo>
                      <a:pt x="75" y="138"/>
                    </a:lnTo>
                    <a:lnTo>
                      <a:pt x="79" y="141"/>
                    </a:lnTo>
                    <a:lnTo>
                      <a:pt x="79" y="141"/>
                    </a:lnTo>
                    <a:lnTo>
                      <a:pt x="81" y="141"/>
                    </a:lnTo>
                    <a:lnTo>
                      <a:pt x="81" y="141"/>
                    </a:lnTo>
                    <a:lnTo>
                      <a:pt x="81" y="141"/>
                    </a:lnTo>
                    <a:lnTo>
                      <a:pt x="81" y="141"/>
                    </a:lnTo>
                    <a:lnTo>
                      <a:pt x="81" y="137"/>
                    </a:lnTo>
                    <a:lnTo>
                      <a:pt x="81" y="135"/>
                    </a:lnTo>
                    <a:lnTo>
                      <a:pt x="79" y="132"/>
                    </a:lnTo>
                    <a:lnTo>
                      <a:pt x="78" y="128"/>
                    </a:lnTo>
                    <a:lnTo>
                      <a:pt x="78" y="12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385" name="Bangladesh"/>
              <p:cNvSpPr>
                <a:spLocks/>
              </p:cNvSpPr>
              <p:nvPr/>
            </p:nvSpPr>
            <p:spPr bwMode="auto">
              <a:xfrm>
                <a:off x="6403973" y="3671953"/>
                <a:ext cx="102106" cy="133181"/>
              </a:xfrm>
              <a:custGeom>
                <a:avLst/>
                <a:gdLst/>
                <a:ahLst/>
                <a:cxnLst>
                  <a:cxn ang="0">
                    <a:pos x="69" y="74"/>
                  </a:cxn>
                  <a:cxn ang="0">
                    <a:pos x="63" y="45"/>
                  </a:cxn>
                  <a:cxn ang="0">
                    <a:pos x="62" y="43"/>
                  </a:cxn>
                  <a:cxn ang="0">
                    <a:pos x="56" y="50"/>
                  </a:cxn>
                  <a:cxn ang="0">
                    <a:pos x="52" y="55"/>
                  </a:cxn>
                  <a:cxn ang="0">
                    <a:pos x="50" y="55"/>
                  </a:cxn>
                  <a:cxn ang="0">
                    <a:pos x="47" y="53"/>
                  </a:cxn>
                  <a:cxn ang="0">
                    <a:pos x="47" y="41"/>
                  </a:cxn>
                  <a:cxn ang="0">
                    <a:pos x="52" y="38"/>
                  </a:cxn>
                  <a:cxn ang="0">
                    <a:pos x="53" y="38"/>
                  </a:cxn>
                  <a:cxn ang="0">
                    <a:pos x="59" y="31"/>
                  </a:cxn>
                  <a:cxn ang="0">
                    <a:pos x="63" y="23"/>
                  </a:cxn>
                  <a:cxn ang="0">
                    <a:pos x="63" y="20"/>
                  </a:cxn>
                  <a:cxn ang="0">
                    <a:pos x="52" y="18"/>
                  </a:cxn>
                  <a:cxn ang="0">
                    <a:pos x="33" y="20"/>
                  </a:cxn>
                  <a:cxn ang="0">
                    <a:pos x="30" y="17"/>
                  </a:cxn>
                  <a:cxn ang="0">
                    <a:pos x="26" y="11"/>
                  </a:cxn>
                  <a:cxn ang="0">
                    <a:pos x="26" y="8"/>
                  </a:cxn>
                  <a:cxn ang="0">
                    <a:pos x="20" y="4"/>
                  </a:cxn>
                  <a:cxn ang="0">
                    <a:pos x="16" y="3"/>
                  </a:cxn>
                  <a:cxn ang="0">
                    <a:pos x="7" y="0"/>
                  </a:cxn>
                  <a:cxn ang="0">
                    <a:pos x="2" y="3"/>
                  </a:cxn>
                  <a:cxn ang="0">
                    <a:pos x="0" y="6"/>
                  </a:cxn>
                  <a:cxn ang="0">
                    <a:pos x="6" y="10"/>
                  </a:cxn>
                  <a:cxn ang="0">
                    <a:pos x="12" y="14"/>
                  </a:cxn>
                  <a:cxn ang="0">
                    <a:pos x="13" y="17"/>
                  </a:cxn>
                  <a:cxn ang="0">
                    <a:pos x="7" y="20"/>
                  </a:cxn>
                  <a:cxn ang="0">
                    <a:pos x="3" y="23"/>
                  </a:cxn>
                  <a:cxn ang="0">
                    <a:pos x="3" y="28"/>
                  </a:cxn>
                  <a:cxn ang="0">
                    <a:pos x="7" y="47"/>
                  </a:cxn>
                  <a:cxn ang="0">
                    <a:pos x="12" y="60"/>
                  </a:cxn>
                  <a:cxn ang="0">
                    <a:pos x="13" y="77"/>
                  </a:cxn>
                  <a:cxn ang="0">
                    <a:pos x="19" y="75"/>
                  </a:cxn>
                  <a:cxn ang="0">
                    <a:pos x="25" y="74"/>
                  </a:cxn>
                  <a:cxn ang="0">
                    <a:pos x="36" y="71"/>
                  </a:cxn>
                  <a:cxn ang="0">
                    <a:pos x="37" y="67"/>
                  </a:cxn>
                  <a:cxn ang="0">
                    <a:pos x="40" y="61"/>
                  </a:cxn>
                  <a:cxn ang="0">
                    <a:pos x="47" y="60"/>
                  </a:cxn>
                  <a:cxn ang="0">
                    <a:pos x="49" y="63"/>
                  </a:cxn>
                  <a:cxn ang="0">
                    <a:pos x="54" y="75"/>
                  </a:cxn>
                  <a:cxn ang="0">
                    <a:pos x="56" y="81"/>
                  </a:cxn>
                  <a:cxn ang="0">
                    <a:pos x="57" y="90"/>
                  </a:cxn>
                  <a:cxn ang="0">
                    <a:pos x="63" y="85"/>
                  </a:cxn>
                  <a:cxn ang="0">
                    <a:pos x="64" y="81"/>
                  </a:cxn>
                  <a:cxn ang="0">
                    <a:pos x="69" y="74"/>
                  </a:cxn>
                </a:cxnLst>
                <a:rect l="0" t="0" r="r" b="b"/>
                <a:pathLst>
                  <a:path w="69" h="90">
                    <a:moveTo>
                      <a:pt x="69" y="74"/>
                    </a:moveTo>
                    <a:lnTo>
                      <a:pt x="69" y="74"/>
                    </a:lnTo>
                    <a:lnTo>
                      <a:pt x="64" y="53"/>
                    </a:lnTo>
                    <a:lnTo>
                      <a:pt x="63" y="45"/>
                    </a:lnTo>
                    <a:lnTo>
                      <a:pt x="62" y="43"/>
                    </a:lnTo>
                    <a:lnTo>
                      <a:pt x="62" y="43"/>
                    </a:lnTo>
                    <a:lnTo>
                      <a:pt x="59" y="45"/>
                    </a:lnTo>
                    <a:lnTo>
                      <a:pt x="56" y="50"/>
                    </a:lnTo>
                    <a:lnTo>
                      <a:pt x="53" y="54"/>
                    </a:lnTo>
                    <a:lnTo>
                      <a:pt x="52" y="55"/>
                    </a:lnTo>
                    <a:lnTo>
                      <a:pt x="50" y="55"/>
                    </a:lnTo>
                    <a:lnTo>
                      <a:pt x="50" y="55"/>
                    </a:lnTo>
                    <a:lnTo>
                      <a:pt x="49" y="55"/>
                    </a:lnTo>
                    <a:lnTo>
                      <a:pt x="47" y="53"/>
                    </a:lnTo>
                    <a:lnTo>
                      <a:pt x="46" y="47"/>
                    </a:lnTo>
                    <a:lnTo>
                      <a:pt x="47" y="41"/>
                    </a:lnTo>
                    <a:lnTo>
                      <a:pt x="49" y="40"/>
                    </a:lnTo>
                    <a:lnTo>
                      <a:pt x="52" y="38"/>
                    </a:lnTo>
                    <a:lnTo>
                      <a:pt x="52" y="38"/>
                    </a:lnTo>
                    <a:lnTo>
                      <a:pt x="53" y="38"/>
                    </a:lnTo>
                    <a:lnTo>
                      <a:pt x="56" y="37"/>
                    </a:lnTo>
                    <a:lnTo>
                      <a:pt x="59" y="31"/>
                    </a:lnTo>
                    <a:lnTo>
                      <a:pt x="63" y="27"/>
                    </a:lnTo>
                    <a:lnTo>
                      <a:pt x="63" y="23"/>
                    </a:lnTo>
                    <a:lnTo>
                      <a:pt x="63" y="23"/>
                    </a:lnTo>
                    <a:lnTo>
                      <a:pt x="63" y="20"/>
                    </a:lnTo>
                    <a:lnTo>
                      <a:pt x="60" y="18"/>
                    </a:lnTo>
                    <a:lnTo>
                      <a:pt x="52" y="18"/>
                    </a:lnTo>
                    <a:lnTo>
                      <a:pt x="52" y="18"/>
                    </a:lnTo>
                    <a:lnTo>
                      <a:pt x="33" y="20"/>
                    </a:lnTo>
                    <a:lnTo>
                      <a:pt x="33" y="20"/>
                    </a:lnTo>
                    <a:lnTo>
                      <a:pt x="30" y="17"/>
                    </a:lnTo>
                    <a:lnTo>
                      <a:pt x="27" y="14"/>
                    </a:lnTo>
                    <a:lnTo>
                      <a:pt x="26" y="11"/>
                    </a:lnTo>
                    <a:lnTo>
                      <a:pt x="26" y="11"/>
                    </a:lnTo>
                    <a:lnTo>
                      <a:pt x="26" y="8"/>
                    </a:lnTo>
                    <a:lnTo>
                      <a:pt x="23" y="6"/>
                    </a:lnTo>
                    <a:lnTo>
                      <a:pt x="20" y="4"/>
                    </a:lnTo>
                    <a:lnTo>
                      <a:pt x="16" y="3"/>
                    </a:lnTo>
                    <a:lnTo>
                      <a:pt x="16" y="3"/>
                    </a:lnTo>
                    <a:lnTo>
                      <a:pt x="10" y="1"/>
                    </a:lnTo>
                    <a:lnTo>
                      <a:pt x="7" y="0"/>
                    </a:lnTo>
                    <a:lnTo>
                      <a:pt x="6" y="0"/>
                    </a:lnTo>
                    <a:lnTo>
                      <a:pt x="2" y="3"/>
                    </a:lnTo>
                    <a:lnTo>
                      <a:pt x="2" y="3"/>
                    </a:lnTo>
                    <a:lnTo>
                      <a:pt x="0" y="6"/>
                    </a:lnTo>
                    <a:lnTo>
                      <a:pt x="2" y="7"/>
                    </a:lnTo>
                    <a:lnTo>
                      <a:pt x="6" y="10"/>
                    </a:lnTo>
                    <a:lnTo>
                      <a:pt x="10" y="13"/>
                    </a:lnTo>
                    <a:lnTo>
                      <a:pt x="12" y="14"/>
                    </a:lnTo>
                    <a:lnTo>
                      <a:pt x="13" y="17"/>
                    </a:lnTo>
                    <a:lnTo>
                      <a:pt x="13" y="17"/>
                    </a:lnTo>
                    <a:lnTo>
                      <a:pt x="10" y="20"/>
                    </a:lnTo>
                    <a:lnTo>
                      <a:pt x="7" y="20"/>
                    </a:lnTo>
                    <a:lnTo>
                      <a:pt x="6" y="21"/>
                    </a:lnTo>
                    <a:lnTo>
                      <a:pt x="3" y="23"/>
                    </a:lnTo>
                    <a:lnTo>
                      <a:pt x="3" y="23"/>
                    </a:lnTo>
                    <a:lnTo>
                      <a:pt x="3" y="28"/>
                    </a:lnTo>
                    <a:lnTo>
                      <a:pt x="5" y="34"/>
                    </a:lnTo>
                    <a:lnTo>
                      <a:pt x="7" y="47"/>
                    </a:lnTo>
                    <a:lnTo>
                      <a:pt x="7" y="47"/>
                    </a:lnTo>
                    <a:lnTo>
                      <a:pt x="12" y="60"/>
                    </a:lnTo>
                    <a:lnTo>
                      <a:pt x="13" y="68"/>
                    </a:lnTo>
                    <a:lnTo>
                      <a:pt x="13" y="77"/>
                    </a:lnTo>
                    <a:lnTo>
                      <a:pt x="13" y="77"/>
                    </a:lnTo>
                    <a:lnTo>
                      <a:pt x="19" y="75"/>
                    </a:lnTo>
                    <a:lnTo>
                      <a:pt x="25" y="74"/>
                    </a:lnTo>
                    <a:lnTo>
                      <a:pt x="25" y="74"/>
                    </a:lnTo>
                    <a:lnTo>
                      <a:pt x="32" y="72"/>
                    </a:lnTo>
                    <a:lnTo>
                      <a:pt x="36" y="71"/>
                    </a:lnTo>
                    <a:lnTo>
                      <a:pt x="37" y="67"/>
                    </a:lnTo>
                    <a:lnTo>
                      <a:pt x="37" y="67"/>
                    </a:lnTo>
                    <a:lnTo>
                      <a:pt x="39" y="64"/>
                    </a:lnTo>
                    <a:lnTo>
                      <a:pt x="40" y="61"/>
                    </a:lnTo>
                    <a:lnTo>
                      <a:pt x="44" y="60"/>
                    </a:lnTo>
                    <a:lnTo>
                      <a:pt x="47" y="60"/>
                    </a:lnTo>
                    <a:lnTo>
                      <a:pt x="47" y="60"/>
                    </a:lnTo>
                    <a:lnTo>
                      <a:pt x="49" y="63"/>
                    </a:lnTo>
                    <a:lnTo>
                      <a:pt x="52" y="68"/>
                    </a:lnTo>
                    <a:lnTo>
                      <a:pt x="54" y="75"/>
                    </a:lnTo>
                    <a:lnTo>
                      <a:pt x="56" y="81"/>
                    </a:lnTo>
                    <a:lnTo>
                      <a:pt x="56" y="81"/>
                    </a:lnTo>
                    <a:lnTo>
                      <a:pt x="56" y="85"/>
                    </a:lnTo>
                    <a:lnTo>
                      <a:pt x="57" y="90"/>
                    </a:lnTo>
                    <a:lnTo>
                      <a:pt x="57" y="90"/>
                    </a:lnTo>
                    <a:lnTo>
                      <a:pt x="63" y="85"/>
                    </a:lnTo>
                    <a:lnTo>
                      <a:pt x="63" y="85"/>
                    </a:lnTo>
                    <a:lnTo>
                      <a:pt x="64" y="81"/>
                    </a:lnTo>
                    <a:lnTo>
                      <a:pt x="69" y="74"/>
                    </a:lnTo>
                    <a:lnTo>
                      <a:pt x="69" y="7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68" name="Phillippines"/>
              <p:cNvSpPr>
                <a:spLocks noEditPoints="1"/>
              </p:cNvSpPr>
              <p:nvPr/>
            </p:nvSpPr>
            <p:spPr bwMode="auto">
              <a:xfrm>
                <a:off x="7080233" y="3870245"/>
                <a:ext cx="220488" cy="315194"/>
              </a:xfrm>
              <a:custGeom>
                <a:avLst/>
                <a:gdLst/>
                <a:ahLst/>
                <a:cxnLst>
                  <a:cxn ang="0">
                    <a:pos x="94" y="85"/>
                  </a:cxn>
                  <a:cxn ang="0">
                    <a:pos x="100" y="98"/>
                  </a:cxn>
                  <a:cxn ang="0">
                    <a:pos x="105" y="108"/>
                  </a:cxn>
                  <a:cxn ang="0">
                    <a:pos x="111" y="115"/>
                  </a:cxn>
                  <a:cxn ang="0">
                    <a:pos x="119" y="135"/>
                  </a:cxn>
                  <a:cxn ang="0">
                    <a:pos x="125" y="131"/>
                  </a:cxn>
                  <a:cxn ang="0">
                    <a:pos x="132" y="122"/>
                  </a:cxn>
                  <a:cxn ang="0">
                    <a:pos x="128" y="102"/>
                  </a:cxn>
                  <a:cxn ang="0">
                    <a:pos x="110" y="92"/>
                  </a:cxn>
                  <a:cxn ang="0">
                    <a:pos x="104" y="81"/>
                  </a:cxn>
                  <a:cxn ang="0">
                    <a:pos x="95" y="72"/>
                  </a:cxn>
                  <a:cxn ang="0">
                    <a:pos x="74" y="72"/>
                  </a:cxn>
                  <a:cxn ang="0">
                    <a:pos x="68" y="57"/>
                  </a:cxn>
                  <a:cxn ang="0">
                    <a:pos x="74" y="39"/>
                  </a:cxn>
                  <a:cxn ang="0">
                    <a:pos x="81" y="20"/>
                  </a:cxn>
                  <a:cxn ang="0">
                    <a:pos x="77" y="1"/>
                  </a:cxn>
                  <a:cxn ang="0">
                    <a:pos x="58" y="0"/>
                  </a:cxn>
                  <a:cxn ang="0">
                    <a:pos x="50" y="7"/>
                  </a:cxn>
                  <a:cxn ang="0">
                    <a:pos x="48" y="38"/>
                  </a:cxn>
                  <a:cxn ang="0">
                    <a:pos x="41" y="35"/>
                  </a:cxn>
                  <a:cxn ang="0">
                    <a:pos x="46" y="58"/>
                  </a:cxn>
                  <a:cxn ang="0">
                    <a:pos x="50" y="69"/>
                  </a:cxn>
                  <a:cxn ang="0">
                    <a:pos x="60" y="76"/>
                  </a:cxn>
                  <a:cxn ang="0">
                    <a:pos x="73" y="76"/>
                  </a:cxn>
                  <a:cxn ang="0">
                    <a:pos x="50" y="84"/>
                  </a:cxn>
                  <a:cxn ang="0">
                    <a:pos x="58" y="101"/>
                  </a:cxn>
                  <a:cxn ang="0">
                    <a:pos x="67" y="96"/>
                  </a:cxn>
                  <a:cxn ang="0">
                    <a:pos x="50" y="84"/>
                  </a:cxn>
                  <a:cxn ang="0">
                    <a:pos x="84" y="128"/>
                  </a:cxn>
                  <a:cxn ang="0">
                    <a:pos x="88" y="128"/>
                  </a:cxn>
                  <a:cxn ang="0">
                    <a:pos x="84" y="142"/>
                  </a:cxn>
                  <a:cxn ang="0">
                    <a:pos x="90" y="156"/>
                  </a:cxn>
                  <a:cxn ang="0">
                    <a:pos x="107" y="132"/>
                  </a:cxn>
                  <a:cxn ang="0">
                    <a:pos x="101" y="129"/>
                  </a:cxn>
                  <a:cxn ang="0">
                    <a:pos x="98" y="122"/>
                  </a:cxn>
                  <a:cxn ang="0">
                    <a:pos x="75" y="108"/>
                  </a:cxn>
                  <a:cxn ang="0">
                    <a:pos x="74" y="129"/>
                  </a:cxn>
                  <a:cxn ang="0">
                    <a:pos x="7" y="153"/>
                  </a:cxn>
                  <a:cxn ang="0">
                    <a:pos x="1" y="166"/>
                  </a:cxn>
                  <a:cxn ang="0">
                    <a:pos x="30" y="139"/>
                  </a:cxn>
                  <a:cxn ang="0">
                    <a:pos x="34" y="122"/>
                  </a:cxn>
                  <a:cxn ang="0">
                    <a:pos x="21" y="139"/>
                  </a:cxn>
                  <a:cxn ang="0">
                    <a:pos x="108" y="150"/>
                  </a:cxn>
                  <a:cxn ang="0">
                    <a:pos x="117" y="140"/>
                  </a:cxn>
                  <a:cxn ang="0">
                    <a:pos x="105" y="149"/>
                  </a:cxn>
                  <a:cxn ang="0">
                    <a:pos x="149" y="179"/>
                  </a:cxn>
                  <a:cxn ang="0">
                    <a:pos x="144" y="146"/>
                  </a:cxn>
                  <a:cxn ang="0">
                    <a:pos x="132" y="145"/>
                  </a:cxn>
                  <a:cxn ang="0">
                    <a:pos x="134" y="152"/>
                  </a:cxn>
                  <a:cxn ang="0">
                    <a:pos x="124" y="158"/>
                  </a:cxn>
                  <a:cxn ang="0">
                    <a:pos x="114" y="163"/>
                  </a:cxn>
                  <a:cxn ang="0">
                    <a:pos x="110" y="166"/>
                  </a:cxn>
                  <a:cxn ang="0">
                    <a:pos x="91" y="165"/>
                  </a:cxn>
                  <a:cxn ang="0">
                    <a:pos x="77" y="176"/>
                  </a:cxn>
                  <a:cxn ang="0">
                    <a:pos x="75" y="189"/>
                  </a:cxn>
                  <a:cxn ang="0">
                    <a:pos x="90" y="182"/>
                  </a:cxn>
                  <a:cxn ang="0">
                    <a:pos x="101" y="177"/>
                  </a:cxn>
                  <a:cxn ang="0">
                    <a:pos x="111" y="203"/>
                  </a:cxn>
                  <a:cxn ang="0">
                    <a:pos x="128" y="212"/>
                  </a:cxn>
                  <a:cxn ang="0">
                    <a:pos x="132" y="205"/>
                  </a:cxn>
                  <a:cxn ang="0">
                    <a:pos x="132" y="190"/>
                  </a:cxn>
                  <a:cxn ang="0">
                    <a:pos x="148" y="186"/>
                  </a:cxn>
                </a:cxnLst>
                <a:rect l="0" t="0" r="r" b="b"/>
                <a:pathLst>
                  <a:path w="149" h="213">
                    <a:moveTo>
                      <a:pt x="81" y="79"/>
                    </a:moveTo>
                    <a:lnTo>
                      <a:pt x="81" y="79"/>
                    </a:lnTo>
                    <a:lnTo>
                      <a:pt x="84" y="79"/>
                    </a:lnTo>
                    <a:lnTo>
                      <a:pt x="88" y="81"/>
                    </a:lnTo>
                    <a:lnTo>
                      <a:pt x="94" y="85"/>
                    </a:lnTo>
                    <a:lnTo>
                      <a:pt x="98" y="89"/>
                    </a:lnTo>
                    <a:lnTo>
                      <a:pt x="100" y="92"/>
                    </a:lnTo>
                    <a:lnTo>
                      <a:pt x="100" y="94"/>
                    </a:lnTo>
                    <a:lnTo>
                      <a:pt x="100" y="94"/>
                    </a:lnTo>
                    <a:lnTo>
                      <a:pt x="100" y="98"/>
                    </a:lnTo>
                    <a:lnTo>
                      <a:pt x="100" y="103"/>
                    </a:lnTo>
                    <a:lnTo>
                      <a:pt x="102" y="108"/>
                    </a:lnTo>
                    <a:lnTo>
                      <a:pt x="102" y="109"/>
                    </a:lnTo>
                    <a:lnTo>
                      <a:pt x="105" y="108"/>
                    </a:lnTo>
                    <a:lnTo>
                      <a:pt x="105" y="108"/>
                    </a:lnTo>
                    <a:lnTo>
                      <a:pt x="108" y="106"/>
                    </a:lnTo>
                    <a:lnTo>
                      <a:pt x="111" y="108"/>
                    </a:lnTo>
                    <a:lnTo>
                      <a:pt x="112" y="111"/>
                    </a:lnTo>
                    <a:lnTo>
                      <a:pt x="111" y="115"/>
                    </a:lnTo>
                    <a:lnTo>
                      <a:pt x="111" y="115"/>
                    </a:lnTo>
                    <a:lnTo>
                      <a:pt x="111" y="118"/>
                    </a:lnTo>
                    <a:lnTo>
                      <a:pt x="111" y="121"/>
                    </a:lnTo>
                    <a:lnTo>
                      <a:pt x="114" y="125"/>
                    </a:lnTo>
                    <a:lnTo>
                      <a:pt x="117" y="129"/>
                    </a:lnTo>
                    <a:lnTo>
                      <a:pt x="119" y="135"/>
                    </a:lnTo>
                    <a:lnTo>
                      <a:pt x="119" y="135"/>
                    </a:lnTo>
                    <a:lnTo>
                      <a:pt x="121" y="139"/>
                    </a:lnTo>
                    <a:lnTo>
                      <a:pt x="122" y="138"/>
                    </a:lnTo>
                    <a:lnTo>
                      <a:pt x="124" y="135"/>
                    </a:lnTo>
                    <a:lnTo>
                      <a:pt x="125" y="131"/>
                    </a:lnTo>
                    <a:lnTo>
                      <a:pt x="125" y="131"/>
                    </a:lnTo>
                    <a:lnTo>
                      <a:pt x="124" y="128"/>
                    </a:lnTo>
                    <a:lnTo>
                      <a:pt x="125" y="126"/>
                    </a:lnTo>
                    <a:lnTo>
                      <a:pt x="132" y="122"/>
                    </a:lnTo>
                    <a:lnTo>
                      <a:pt x="132" y="122"/>
                    </a:lnTo>
                    <a:lnTo>
                      <a:pt x="134" y="119"/>
                    </a:lnTo>
                    <a:lnTo>
                      <a:pt x="134" y="118"/>
                    </a:lnTo>
                    <a:lnTo>
                      <a:pt x="134" y="113"/>
                    </a:lnTo>
                    <a:lnTo>
                      <a:pt x="128" y="102"/>
                    </a:lnTo>
                    <a:lnTo>
                      <a:pt x="128" y="102"/>
                    </a:lnTo>
                    <a:lnTo>
                      <a:pt x="125" y="99"/>
                    </a:lnTo>
                    <a:lnTo>
                      <a:pt x="122" y="98"/>
                    </a:lnTo>
                    <a:lnTo>
                      <a:pt x="117" y="95"/>
                    </a:lnTo>
                    <a:lnTo>
                      <a:pt x="111" y="94"/>
                    </a:lnTo>
                    <a:lnTo>
                      <a:pt x="110" y="92"/>
                    </a:lnTo>
                    <a:lnTo>
                      <a:pt x="110" y="89"/>
                    </a:lnTo>
                    <a:lnTo>
                      <a:pt x="110" y="89"/>
                    </a:lnTo>
                    <a:lnTo>
                      <a:pt x="110" y="86"/>
                    </a:lnTo>
                    <a:lnTo>
                      <a:pt x="108" y="85"/>
                    </a:lnTo>
                    <a:lnTo>
                      <a:pt x="104" y="81"/>
                    </a:lnTo>
                    <a:lnTo>
                      <a:pt x="101" y="78"/>
                    </a:lnTo>
                    <a:lnTo>
                      <a:pt x="98" y="75"/>
                    </a:lnTo>
                    <a:lnTo>
                      <a:pt x="98" y="75"/>
                    </a:lnTo>
                    <a:lnTo>
                      <a:pt x="98" y="74"/>
                    </a:lnTo>
                    <a:lnTo>
                      <a:pt x="95" y="72"/>
                    </a:lnTo>
                    <a:lnTo>
                      <a:pt x="90" y="69"/>
                    </a:lnTo>
                    <a:lnTo>
                      <a:pt x="83" y="69"/>
                    </a:lnTo>
                    <a:lnTo>
                      <a:pt x="77" y="71"/>
                    </a:lnTo>
                    <a:lnTo>
                      <a:pt x="77" y="71"/>
                    </a:lnTo>
                    <a:lnTo>
                      <a:pt x="74" y="72"/>
                    </a:lnTo>
                    <a:lnTo>
                      <a:pt x="73" y="72"/>
                    </a:lnTo>
                    <a:lnTo>
                      <a:pt x="71" y="68"/>
                    </a:lnTo>
                    <a:lnTo>
                      <a:pt x="71" y="62"/>
                    </a:lnTo>
                    <a:lnTo>
                      <a:pt x="70" y="59"/>
                    </a:lnTo>
                    <a:lnTo>
                      <a:pt x="68" y="57"/>
                    </a:lnTo>
                    <a:lnTo>
                      <a:pt x="68" y="57"/>
                    </a:lnTo>
                    <a:lnTo>
                      <a:pt x="67" y="54"/>
                    </a:lnTo>
                    <a:lnTo>
                      <a:pt x="67" y="51"/>
                    </a:lnTo>
                    <a:lnTo>
                      <a:pt x="68" y="45"/>
                    </a:lnTo>
                    <a:lnTo>
                      <a:pt x="74" y="39"/>
                    </a:lnTo>
                    <a:lnTo>
                      <a:pt x="80" y="34"/>
                    </a:lnTo>
                    <a:lnTo>
                      <a:pt x="80" y="34"/>
                    </a:lnTo>
                    <a:lnTo>
                      <a:pt x="81" y="31"/>
                    </a:lnTo>
                    <a:lnTo>
                      <a:pt x="81" y="27"/>
                    </a:lnTo>
                    <a:lnTo>
                      <a:pt x="81" y="20"/>
                    </a:lnTo>
                    <a:lnTo>
                      <a:pt x="78" y="12"/>
                    </a:lnTo>
                    <a:lnTo>
                      <a:pt x="78" y="8"/>
                    </a:lnTo>
                    <a:lnTo>
                      <a:pt x="78" y="8"/>
                    </a:lnTo>
                    <a:lnTo>
                      <a:pt x="78" y="2"/>
                    </a:lnTo>
                    <a:lnTo>
                      <a:pt x="77" y="1"/>
                    </a:lnTo>
                    <a:lnTo>
                      <a:pt x="75" y="2"/>
                    </a:lnTo>
                    <a:lnTo>
                      <a:pt x="75" y="2"/>
                    </a:lnTo>
                    <a:lnTo>
                      <a:pt x="71" y="2"/>
                    </a:lnTo>
                    <a:lnTo>
                      <a:pt x="64" y="0"/>
                    </a:lnTo>
                    <a:lnTo>
                      <a:pt x="58" y="0"/>
                    </a:lnTo>
                    <a:lnTo>
                      <a:pt x="54" y="0"/>
                    </a:lnTo>
                    <a:lnTo>
                      <a:pt x="53" y="0"/>
                    </a:lnTo>
                    <a:lnTo>
                      <a:pt x="53" y="0"/>
                    </a:lnTo>
                    <a:lnTo>
                      <a:pt x="50" y="2"/>
                    </a:lnTo>
                    <a:lnTo>
                      <a:pt x="50" y="7"/>
                    </a:lnTo>
                    <a:lnTo>
                      <a:pt x="48" y="20"/>
                    </a:lnTo>
                    <a:lnTo>
                      <a:pt x="50" y="31"/>
                    </a:lnTo>
                    <a:lnTo>
                      <a:pt x="50" y="35"/>
                    </a:lnTo>
                    <a:lnTo>
                      <a:pt x="48" y="38"/>
                    </a:lnTo>
                    <a:lnTo>
                      <a:pt x="48" y="38"/>
                    </a:lnTo>
                    <a:lnTo>
                      <a:pt x="47" y="38"/>
                    </a:lnTo>
                    <a:lnTo>
                      <a:pt x="44" y="37"/>
                    </a:lnTo>
                    <a:lnTo>
                      <a:pt x="43" y="35"/>
                    </a:lnTo>
                    <a:lnTo>
                      <a:pt x="41" y="35"/>
                    </a:lnTo>
                    <a:lnTo>
                      <a:pt x="41" y="35"/>
                    </a:lnTo>
                    <a:lnTo>
                      <a:pt x="41" y="41"/>
                    </a:lnTo>
                    <a:lnTo>
                      <a:pt x="41" y="48"/>
                    </a:lnTo>
                    <a:lnTo>
                      <a:pt x="43" y="55"/>
                    </a:lnTo>
                    <a:lnTo>
                      <a:pt x="44" y="57"/>
                    </a:lnTo>
                    <a:lnTo>
                      <a:pt x="46" y="58"/>
                    </a:lnTo>
                    <a:lnTo>
                      <a:pt x="46" y="58"/>
                    </a:lnTo>
                    <a:lnTo>
                      <a:pt x="48" y="58"/>
                    </a:lnTo>
                    <a:lnTo>
                      <a:pt x="50" y="61"/>
                    </a:lnTo>
                    <a:lnTo>
                      <a:pt x="50" y="65"/>
                    </a:lnTo>
                    <a:lnTo>
                      <a:pt x="50" y="69"/>
                    </a:lnTo>
                    <a:lnTo>
                      <a:pt x="50" y="69"/>
                    </a:lnTo>
                    <a:lnTo>
                      <a:pt x="50" y="72"/>
                    </a:lnTo>
                    <a:lnTo>
                      <a:pt x="50" y="74"/>
                    </a:lnTo>
                    <a:lnTo>
                      <a:pt x="54" y="76"/>
                    </a:lnTo>
                    <a:lnTo>
                      <a:pt x="60" y="76"/>
                    </a:lnTo>
                    <a:lnTo>
                      <a:pt x="65" y="75"/>
                    </a:lnTo>
                    <a:lnTo>
                      <a:pt x="65" y="75"/>
                    </a:lnTo>
                    <a:lnTo>
                      <a:pt x="68" y="74"/>
                    </a:lnTo>
                    <a:lnTo>
                      <a:pt x="71" y="75"/>
                    </a:lnTo>
                    <a:lnTo>
                      <a:pt x="73" y="76"/>
                    </a:lnTo>
                    <a:lnTo>
                      <a:pt x="75" y="79"/>
                    </a:lnTo>
                    <a:lnTo>
                      <a:pt x="78" y="79"/>
                    </a:lnTo>
                    <a:lnTo>
                      <a:pt x="81" y="79"/>
                    </a:lnTo>
                    <a:lnTo>
                      <a:pt x="81" y="79"/>
                    </a:lnTo>
                    <a:close/>
                    <a:moveTo>
                      <a:pt x="50" y="84"/>
                    </a:moveTo>
                    <a:lnTo>
                      <a:pt x="50" y="84"/>
                    </a:lnTo>
                    <a:lnTo>
                      <a:pt x="51" y="89"/>
                    </a:lnTo>
                    <a:lnTo>
                      <a:pt x="54" y="96"/>
                    </a:lnTo>
                    <a:lnTo>
                      <a:pt x="57" y="99"/>
                    </a:lnTo>
                    <a:lnTo>
                      <a:pt x="58" y="101"/>
                    </a:lnTo>
                    <a:lnTo>
                      <a:pt x="61" y="102"/>
                    </a:lnTo>
                    <a:lnTo>
                      <a:pt x="65" y="101"/>
                    </a:lnTo>
                    <a:lnTo>
                      <a:pt x="65" y="101"/>
                    </a:lnTo>
                    <a:lnTo>
                      <a:pt x="67" y="99"/>
                    </a:lnTo>
                    <a:lnTo>
                      <a:pt x="67" y="96"/>
                    </a:lnTo>
                    <a:lnTo>
                      <a:pt x="65" y="94"/>
                    </a:lnTo>
                    <a:lnTo>
                      <a:pt x="61" y="89"/>
                    </a:lnTo>
                    <a:lnTo>
                      <a:pt x="54" y="84"/>
                    </a:lnTo>
                    <a:lnTo>
                      <a:pt x="51" y="84"/>
                    </a:lnTo>
                    <a:lnTo>
                      <a:pt x="50" y="84"/>
                    </a:lnTo>
                    <a:lnTo>
                      <a:pt x="50" y="84"/>
                    </a:lnTo>
                    <a:close/>
                    <a:moveTo>
                      <a:pt x="77" y="131"/>
                    </a:moveTo>
                    <a:lnTo>
                      <a:pt x="77" y="131"/>
                    </a:lnTo>
                    <a:lnTo>
                      <a:pt x="81" y="129"/>
                    </a:lnTo>
                    <a:lnTo>
                      <a:pt x="84" y="128"/>
                    </a:lnTo>
                    <a:lnTo>
                      <a:pt x="85" y="125"/>
                    </a:lnTo>
                    <a:lnTo>
                      <a:pt x="85" y="125"/>
                    </a:lnTo>
                    <a:lnTo>
                      <a:pt x="85" y="125"/>
                    </a:lnTo>
                    <a:lnTo>
                      <a:pt x="87" y="125"/>
                    </a:lnTo>
                    <a:lnTo>
                      <a:pt x="88" y="128"/>
                    </a:lnTo>
                    <a:lnTo>
                      <a:pt x="88" y="133"/>
                    </a:lnTo>
                    <a:lnTo>
                      <a:pt x="88" y="136"/>
                    </a:lnTo>
                    <a:lnTo>
                      <a:pt x="87" y="138"/>
                    </a:lnTo>
                    <a:lnTo>
                      <a:pt x="87" y="138"/>
                    </a:lnTo>
                    <a:lnTo>
                      <a:pt x="84" y="142"/>
                    </a:lnTo>
                    <a:lnTo>
                      <a:pt x="84" y="148"/>
                    </a:lnTo>
                    <a:lnTo>
                      <a:pt x="85" y="153"/>
                    </a:lnTo>
                    <a:lnTo>
                      <a:pt x="87" y="155"/>
                    </a:lnTo>
                    <a:lnTo>
                      <a:pt x="90" y="156"/>
                    </a:lnTo>
                    <a:lnTo>
                      <a:pt x="90" y="156"/>
                    </a:lnTo>
                    <a:lnTo>
                      <a:pt x="91" y="155"/>
                    </a:lnTo>
                    <a:lnTo>
                      <a:pt x="95" y="153"/>
                    </a:lnTo>
                    <a:lnTo>
                      <a:pt x="101" y="145"/>
                    </a:lnTo>
                    <a:lnTo>
                      <a:pt x="105" y="136"/>
                    </a:lnTo>
                    <a:lnTo>
                      <a:pt x="107" y="132"/>
                    </a:lnTo>
                    <a:lnTo>
                      <a:pt x="107" y="131"/>
                    </a:lnTo>
                    <a:lnTo>
                      <a:pt x="107" y="131"/>
                    </a:lnTo>
                    <a:lnTo>
                      <a:pt x="105" y="129"/>
                    </a:lnTo>
                    <a:lnTo>
                      <a:pt x="104" y="129"/>
                    </a:lnTo>
                    <a:lnTo>
                      <a:pt x="101" y="129"/>
                    </a:lnTo>
                    <a:lnTo>
                      <a:pt x="100" y="129"/>
                    </a:lnTo>
                    <a:lnTo>
                      <a:pt x="100" y="128"/>
                    </a:lnTo>
                    <a:lnTo>
                      <a:pt x="100" y="128"/>
                    </a:lnTo>
                    <a:lnTo>
                      <a:pt x="100" y="125"/>
                    </a:lnTo>
                    <a:lnTo>
                      <a:pt x="98" y="122"/>
                    </a:lnTo>
                    <a:lnTo>
                      <a:pt x="91" y="115"/>
                    </a:lnTo>
                    <a:lnTo>
                      <a:pt x="83" y="109"/>
                    </a:lnTo>
                    <a:lnTo>
                      <a:pt x="78" y="108"/>
                    </a:lnTo>
                    <a:lnTo>
                      <a:pt x="75" y="108"/>
                    </a:lnTo>
                    <a:lnTo>
                      <a:pt x="75" y="108"/>
                    </a:lnTo>
                    <a:lnTo>
                      <a:pt x="74" y="109"/>
                    </a:lnTo>
                    <a:lnTo>
                      <a:pt x="73" y="112"/>
                    </a:lnTo>
                    <a:lnTo>
                      <a:pt x="71" y="121"/>
                    </a:lnTo>
                    <a:lnTo>
                      <a:pt x="73" y="128"/>
                    </a:lnTo>
                    <a:lnTo>
                      <a:pt x="74" y="129"/>
                    </a:lnTo>
                    <a:lnTo>
                      <a:pt x="77" y="131"/>
                    </a:lnTo>
                    <a:lnTo>
                      <a:pt x="77" y="131"/>
                    </a:lnTo>
                    <a:close/>
                    <a:moveTo>
                      <a:pt x="21" y="139"/>
                    </a:moveTo>
                    <a:lnTo>
                      <a:pt x="21" y="139"/>
                    </a:lnTo>
                    <a:lnTo>
                      <a:pt x="7" y="153"/>
                    </a:lnTo>
                    <a:lnTo>
                      <a:pt x="1" y="160"/>
                    </a:lnTo>
                    <a:lnTo>
                      <a:pt x="0" y="163"/>
                    </a:lnTo>
                    <a:lnTo>
                      <a:pt x="0" y="166"/>
                    </a:lnTo>
                    <a:lnTo>
                      <a:pt x="0" y="166"/>
                    </a:lnTo>
                    <a:lnTo>
                      <a:pt x="1" y="166"/>
                    </a:lnTo>
                    <a:lnTo>
                      <a:pt x="4" y="165"/>
                    </a:lnTo>
                    <a:lnTo>
                      <a:pt x="13" y="156"/>
                    </a:lnTo>
                    <a:lnTo>
                      <a:pt x="21" y="146"/>
                    </a:lnTo>
                    <a:lnTo>
                      <a:pt x="30" y="139"/>
                    </a:lnTo>
                    <a:lnTo>
                      <a:pt x="30" y="139"/>
                    </a:lnTo>
                    <a:lnTo>
                      <a:pt x="34" y="133"/>
                    </a:lnTo>
                    <a:lnTo>
                      <a:pt x="36" y="129"/>
                    </a:lnTo>
                    <a:lnTo>
                      <a:pt x="36" y="126"/>
                    </a:lnTo>
                    <a:lnTo>
                      <a:pt x="34" y="122"/>
                    </a:lnTo>
                    <a:lnTo>
                      <a:pt x="34" y="122"/>
                    </a:lnTo>
                    <a:lnTo>
                      <a:pt x="33" y="121"/>
                    </a:lnTo>
                    <a:lnTo>
                      <a:pt x="31" y="121"/>
                    </a:lnTo>
                    <a:lnTo>
                      <a:pt x="28" y="125"/>
                    </a:lnTo>
                    <a:lnTo>
                      <a:pt x="26" y="132"/>
                    </a:lnTo>
                    <a:lnTo>
                      <a:pt x="21" y="139"/>
                    </a:lnTo>
                    <a:lnTo>
                      <a:pt x="21" y="139"/>
                    </a:lnTo>
                    <a:close/>
                    <a:moveTo>
                      <a:pt x="105" y="149"/>
                    </a:moveTo>
                    <a:lnTo>
                      <a:pt x="105" y="149"/>
                    </a:lnTo>
                    <a:lnTo>
                      <a:pt x="107" y="149"/>
                    </a:lnTo>
                    <a:lnTo>
                      <a:pt x="108" y="150"/>
                    </a:lnTo>
                    <a:lnTo>
                      <a:pt x="114" y="148"/>
                    </a:lnTo>
                    <a:lnTo>
                      <a:pt x="117" y="145"/>
                    </a:lnTo>
                    <a:lnTo>
                      <a:pt x="118" y="143"/>
                    </a:lnTo>
                    <a:lnTo>
                      <a:pt x="117" y="140"/>
                    </a:lnTo>
                    <a:lnTo>
                      <a:pt x="117" y="140"/>
                    </a:lnTo>
                    <a:lnTo>
                      <a:pt x="115" y="139"/>
                    </a:lnTo>
                    <a:lnTo>
                      <a:pt x="114" y="139"/>
                    </a:lnTo>
                    <a:lnTo>
                      <a:pt x="110" y="142"/>
                    </a:lnTo>
                    <a:lnTo>
                      <a:pt x="105" y="145"/>
                    </a:lnTo>
                    <a:lnTo>
                      <a:pt x="105" y="149"/>
                    </a:lnTo>
                    <a:lnTo>
                      <a:pt x="105" y="149"/>
                    </a:lnTo>
                    <a:close/>
                    <a:moveTo>
                      <a:pt x="148" y="186"/>
                    </a:moveTo>
                    <a:lnTo>
                      <a:pt x="148" y="186"/>
                    </a:lnTo>
                    <a:lnTo>
                      <a:pt x="149" y="182"/>
                    </a:lnTo>
                    <a:lnTo>
                      <a:pt x="149" y="179"/>
                    </a:lnTo>
                    <a:lnTo>
                      <a:pt x="148" y="169"/>
                    </a:lnTo>
                    <a:lnTo>
                      <a:pt x="145" y="159"/>
                    </a:lnTo>
                    <a:lnTo>
                      <a:pt x="144" y="150"/>
                    </a:lnTo>
                    <a:lnTo>
                      <a:pt x="144" y="150"/>
                    </a:lnTo>
                    <a:lnTo>
                      <a:pt x="144" y="146"/>
                    </a:lnTo>
                    <a:lnTo>
                      <a:pt x="142" y="143"/>
                    </a:lnTo>
                    <a:lnTo>
                      <a:pt x="139" y="143"/>
                    </a:lnTo>
                    <a:lnTo>
                      <a:pt x="137" y="142"/>
                    </a:lnTo>
                    <a:lnTo>
                      <a:pt x="134" y="143"/>
                    </a:lnTo>
                    <a:lnTo>
                      <a:pt x="132" y="145"/>
                    </a:lnTo>
                    <a:lnTo>
                      <a:pt x="132" y="146"/>
                    </a:lnTo>
                    <a:lnTo>
                      <a:pt x="132" y="149"/>
                    </a:lnTo>
                    <a:lnTo>
                      <a:pt x="132" y="149"/>
                    </a:lnTo>
                    <a:lnTo>
                      <a:pt x="134" y="150"/>
                    </a:lnTo>
                    <a:lnTo>
                      <a:pt x="134" y="152"/>
                    </a:lnTo>
                    <a:lnTo>
                      <a:pt x="129" y="153"/>
                    </a:lnTo>
                    <a:lnTo>
                      <a:pt x="127" y="155"/>
                    </a:lnTo>
                    <a:lnTo>
                      <a:pt x="124" y="155"/>
                    </a:lnTo>
                    <a:lnTo>
                      <a:pt x="124" y="158"/>
                    </a:lnTo>
                    <a:lnTo>
                      <a:pt x="124" y="158"/>
                    </a:lnTo>
                    <a:lnTo>
                      <a:pt x="122" y="159"/>
                    </a:lnTo>
                    <a:lnTo>
                      <a:pt x="121" y="160"/>
                    </a:lnTo>
                    <a:lnTo>
                      <a:pt x="118" y="162"/>
                    </a:lnTo>
                    <a:lnTo>
                      <a:pt x="115" y="162"/>
                    </a:lnTo>
                    <a:lnTo>
                      <a:pt x="114" y="163"/>
                    </a:lnTo>
                    <a:lnTo>
                      <a:pt x="114" y="165"/>
                    </a:lnTo>
                    <a:lnTo>
                      <a:pt x="114" y="165"/>
                    </a:lnTo>
                    <a:lnTo>
                      <a:pt x="114" y="166"/>
                    </a:lnTo>
                    <a:lnTo>
                      <a:pt x="112" y="168"/>
                    </a:lnTo>
                    <a:lnTo>
                      <a:pt x="110" y="166"/>
                    </a:lnTo>
                    <a:lnTo>
                      <a:pt x="100" y="162"/>
                    </a:lnTo>
                    <a:lnTo>
                      <a:pt x="100" y="162"/>
                    </a:lnTo>
                    <a:lnTo>
                      <a:pt x="98" y="160"/>
                    </a:lnTo>
                    <a:lnTo>
                      <a:pt x="95" y="162"/>
                    </a:lnTo>
                    <a:lnTo>
                      <a:pt x="91" y="165"/>
                    </a:lnTo>
                    <a:lnTo>
                      <a:pt x="87" y="169"/>
                    </a:lnTo>
                    <a:lnTo>
                      <a:pt x="81" y="172"/>
                    </a:lnTo>
                    <a:lnTo>
                      <a:pt x="81" y="172"/>
                    </a:lnTo>
                    <a:lnTo>
                      <a:pt x="78" y="173"/>
                    </a:lnTo>
                    <a:lnTo>
                      <a:pt x="77" y="176"/>
                    </a:lnTo>
                    <a:lnTo>
                      <a:pt x="74" y="182"/>
                    </a:lnTo>
                    <a:lnTo>
                      <a:pt x="73" y="186"/>
                    </a:lnTo>
                    <a:lnTo>
                      <a:pt x="74" y="189"/>
                    </a:lnTo>
                    <a:lnTo>
                      <a:pt x="75" y="189"/>
                    </a:lnTo>
                    <a:lnTo>
                      <a:pt x="75" y="189"/>
                    </a:lnTo>
                    <a:lnTo>
                      <a:pt x="80" y="187"/>
                    </a:lnTo>
                    <a:lnTo>
                      <a:pt x="83" y="185"/>
                    </a:lnTo>
                    <a:lnTo>
                      <a:pt x="85" y="182"/>
                    </a:lnTo>
                    <a:lnTo>
                      <a:pt x="90" y="182"/>
                    </a:lnTo>
                    <a:lnTo>
                      <a:pt x="90" y="182"/>
                    </a:lnTo>
                    <a:lnTo>
                      <a:pt x="92" y="180"/>
                    </a:lnTo>
                    <a:lnTo>
                      <a:pt x="94" y="179"/>
                    </a:lnTo>
                    <a:lnTo>
                      <a:pt x="97" y="177"/>
                    </a:lnTo>
                    <a:lnTo>
                      <a:pt x="101" y="177"/>
                    </a:lnTo>
                    <a:lnTo>
                      <a:pt x="101" y="177"/>
                    </a:lnTo>
                    <a:lnTo>
                      <a:pt x="104" y="179"/>
                    </a:lnTo>
                    <a:lnTo>
                      <a:pt x="105" y="182"/>
                    </a:lnTo>
                    <a:lnTo>
                      <a:pt x="107" y="190"/>
                    </a:lnTo>
                    <a:lnTo>
                      <a:pt x="110" y="199"/>
                    </a:lnTo>
                    <a:lnTo>
                      <a:pt x="111" y="203"/>
                    </a:lnTo>
                    <a:lnTo>
                      <a:pt x="115" y="205"/>
                    </a:lnTo>
                    <a:lnTo>
                      <a:pt x="115" y="205"/>
                    </a:lnTo>
                    <a:lnTo>
                      <a:pt x="121" y="206"/>
                    </a:lnTo>
                    <a:lnTo>
                      <a:pt x="125" y="209"/>
                    </a:lnTo>
                    <a:lnTo>
                      <a:pt x="128" y="212"/>
                    </a:lnTo>
                    <a:lnTo>
                      <a:pt x="131" y="213"/>
                    </a:lnTo>
                    <a:lnTo>
                      <a:pt x="131" y="213"/>
                    </a:lnTo>
                    <a:lnTo>
                      <a:pt x="132" y="212"/>
                    </a:lnTo>
                    <a:lnTo>
                      <a:pt x="134" y="210"/>
                    </a:lnTo>
                    <a:lnTo>
                      <a:pt x="132" y="205"/>
                    </a:lnTo>
                    <a:lnTo>
                      <a:pt x="131" y="197"/>
                    </a:lnTo>
                    <a:lnTo>
                      <a:pt x="131" y="193"/>
                    </a:lnTo>
                    <a:lnTo>
                      <a:pt x="131" y="193"/>
                    </a:lnTo>
                    <a:lnTo>
                      <a:pt x="131" y="192"/>
                    </a:lnTo>
                    <a:lnTo>
                      <a:pt x="132" y="190"/>
                    </a:lnTo>
                    <a:lnTo>
                      <a:pt x="137" y="189"/>
                    </a:lnTo>
                    <a:lnTo>
                      <a:pt x="142" y="189"/>
                    </a:lnTo>
                    <a:lnTo>
                      <a:pt x="145" y="187"/>
                    </a:lnTo>
                    <a:lnTo>
                      <a:pt x="148" y="186"/>
                    </a:lnTo>
                    <a:lnTo>
                      <a:pt x="148" y="18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73" name="Solomon Islands"/>
              <p:cNvSpPr>
                <a:spLocks noEditPoints="1"/>
              </p:cNvSpPr>
              <p:nvPr/>
            </p:nvSpPr>
            <p:spPr bwMode="auto">
              <a:xfrm>
                <a:off x="7975502" y="4450319"/>
                <a:ext cx="184973" cy="128741"/>
              </a:xfrm>
              <a:custGeom>
                <a:avLst/>
                <a:gdLst/>
                <a:ahLst/>
                <a:cxnLst>
                  <a:cxn ang="0">
                    <a:pos x="0" y="0"/>
                  </a:cxn>
                  <a:cxn ang="0">
                    <a:pos x="7" y="15"/>
                  </a:cxn>
                  <a:cxn ang="0">
                    <a:pos x="17" y="23"/>
                  </a:cxn>
                  <a:cxn ang="0">
                    <a:pos x="20" y="23"/>
                  </a:cxn>
                  <a:cxn ang="0">
                    <a:pos x="21" y="20"/>
                  </a:cxn>
                  <a:cxn ang="0">
                    <a:pos x="17" y="12"/>
                  </a:cxn>
                  <a:cxn ang="0">
                    <a:pos x="4" y="2"/>
                  </a:cxn>
                  <a:cxn ang="0">
                    <a:pos x="0" y="0"/>
                  </a:cxn>
                  <a:cxn ang="0">
                    <a:pos x="29" y="20"/>
                  </a:cxn>
                  <a:cxn ang="0">
                    <a:pos x="31" y="23"/>
                  </a:cxn>
                  <a:cxn ang="0">
                    <a:pos x="39" y="30"/>
                  </a:cxn>
                  <a:cxn ang="0">
                    <a:pos x="42" y="32"/>
                  </a:cxn>
                  <a:cxn ang="0">
                    <a:pos x="42" y="30"/>
                  </a:cxn>
                  <a:cxn ang="0">
                    <a:pos x="37" y="23"/>
                  </a:cxn>
                  <a:cxn ang="0">
                    <a:pos x="29" y="20"/>
                  </a:cxn>
                  <a:cxn ang="0">
                    <a:pos x="29" y="20"/>
                  </a:cxn>
                  <a:cxn ang="0">
                    <a:pos x="82" y="49"/>
                  </a:cxn>
                  <a:cxn ang="0">
                    <a:pos x="81" y="44"/>
                  </a:cxn>
                  <a:cxn ang="0">
                    <a:pos x="65" y="36"/>
                  </a:cxn>
                  <a:cxn ang="0">
                    <a:pos x="61" y="36"/>
                  </a:cxn>
                  <a:cxn ang="0">
                    <a:pos x="61" y="39"/>
                  </a:cxn>
                  <a:cxn ang="0">
                    <a:pos x="69" y="44"/>
                  </a:cxn>
                  <a:cxn ang="0">
                    <a:pos x="81" y="49"/>
                  </a:cxn>
                  <a:cxn ang="0">
                    <a:pos x="82" y="49"/>
                  </a:cxn>
                  <a:cxn ang="0">
                    <a:pos x="79" y="64"/>
                  </a:cxn>
                  <a:cxn ang="0">
                    <a:pos x="86" y="71"/>
                  </a:cxn>
                  <a:cxn ang="0">
                    <a:pos x="96" y="73"/>
                  </a:cxn>
                  <a:cxn ang="0">
                    <a:pos x="96" y="71"/>
                  </a:cxn>
                  <a:cxn ang="0">
                    <a:pos x="89" y="64"/>
                  </a:cxn>
                  <a:cxn ang="0">
                    <a:pos x="81" y="61"/>
                  </a:cxn>
                  <a:cxn ang="0">
                    <a:pos x="79" y="64"/>
                  </a:cxn>
                  <a:cxn ang="0">
                    <a:pos x="109" y="80"/>
                  </a:cxn>
                  <a:cxn ang="0">
                    <a:pos x="115" y="84"/>
                  </a:cxn>
                  <a:cxn ang="0">
                    <a:pos x="122" y="87"/>
                  </a:cxn>
                  <a:cxn ang="0">
                    <a:pos x="123" y="87"/>
                  </a:cxn>
                  <a:cxn ang="0">
                    <a:pos x="123" y="84"/>
                  </a:cxn>
                  <a:cxn ang="0">
                    <a:pos x="112" y="79"/>
                  </a:cxn>
                  <a:cxn ang="0">
                    <a:pos x="109" y="80"/>
                  </a:cxn>
                  <a:cxn ang="0">
                    <a:pos x="96" y="47"/>
                  </a:cxn>
                  <a:cxn ang="0">
                    <a:pos x="96" y="51"/>
                  </a:cxn>
                  <a:cxn ang="0">
                    <a:pos x="101" y="61"/>
                  </a:cxn>
                  <a:cxn ang="0">
                    <a:pos x="109" y="70"/>
                  </a:cxn>
                  <a:cxn ang="0">
                    <a:pos x="109" y="66"/>
                  </a:cxn>
                  <a:cxn ang="0">
                    <a:pos x="101" y="49"/>
                  </a:cxn>
                  <a:cxn ang="0">
                    <a:pos x="96" y="47"/>
                  </a:cxn>
                </a:cxnLst>
                <a:rect l="0" t="0" r="r" b="b"/>
                <a:pathLst>
                  <a:path w="125" h="87">
                    <a:moveTo>
                      <a:pt x="0" y="0"/>
                    </a:moveTo>
                    <a:lnTo>
                      <a:pt x="0" y="0"/>
                    </a:lnTo>
                    <a:lnTo>
                      <a:pt x="1" y="6"/>
                    </a:lnTo>
                    <a:lnTo>
                      <a:pt x="7" y="15"/>
                    </a:lnTo>
                    <a:lnTo>
                      <a:pt x="14" y="22"/>
                    </a:lnTo>
                    <a:lnTo>
                      <a:pt x="17" y="23"/>
                    </a:lnTo>
                    <a:lnTo>
                      <a:pt x="20" y="23"/>
                    </a:lnTo>
                    <a:lnTo>
                      <a:pt x="20" y="23"/>
                    </a:lnTo>
                    <a:lnTo>
                      <a:pt x="21" y="22"/>
                    </a:lnTo>
                    <a:lnTo>
                      <a:pt x="21" y="20"/>
                    </a:lnTo>
                    <a:lnTo>
                      <a:pt x="21" y="16"/>
                    </a:lnTo>
                    <a:lnTo>
                      <a:pt x="17" y="12"/>
                    </a:lnTo>
                    <a:lnTo>
                      <a:pt x="14" y="7"/>
                    </a:lnTo>
                    <a:lnTo>
                      <a:pt x="4" y="2"/>
                    </a:lnTo>
                    <a:lnTo>
                      <a:pt x="1" y="0"/>
                    </a:lnTo>
                    <a:lnTo>
                      <a:pt x="0" y="0"/>
                    </a:lnTo>
                    <a:lnTo>
                      <a:pt x="0" y="0"/>
                    </a:lnTo>
                    <a:close/>
                    <a:moveTo>
                      <a:pt x="29" y="20"/>
                    </a:moveTo>
                    <a:lnTo>
                      <a:pt x="29" y="20"/>
                    </a:lnTo>
                    <a:lnTo>
                      <a:pt x="31" y="23"/>
                    </a:lnTo>
                    <a:lnTo>
                      <a:pt x="35" y="27"/>
                    </a:lnTo>
                    <a:lnTo>
                      <a:pt x="39" y="30"/>
                    </a:lnTo>
                    <a:lnTo>
                      <a:pt x="41" y="32"/>
                    </a:lnTo>
                    <a:lnTo>
                      <a:pt x="42" y="32"/>
                    </a:lnTo>
                    <a:lnTo>
                      <a:pt x="42" y="32"/>
                    </a:lnTo>
                    <a:lnTo>
                      <a:pt x="42" y="30"/>
                    </a:lnTo>
                    <a:lnTo>
                      <a:pt x="42" y="29"/>
                    </a:lnTo>
                    <a:lnTo>
                      <a:pt x="37" y="23"/>
                    </a:lnTo>
                    <a:lnTo>
                      <a:pt x="32" y="20"/>
                    </a:lnTo>
                    <a:lnTo>
                      <a:pt x="29" y="20"/>
                    </a:lnTo>
                    <a:lnTo>
                      <a:pt x="29" y="20"/>
                    </a:lnTo>
                    <a:lnTo>
                      <a:pt x="29" y="20"/>
                    </a:lnTo>
                    <a:close/>
                    <a:moveTo>
                      <a:pt x="82" y="49"/>
                    </a:moveTo>
                    <a:lnTo>
                      <a:pt x="82" y="49"/>
                    </a:lnTo>
                    <a:lnTo>
                      <a:pt x="82" y="47"/>
                    </a:lnTo>
                    <a:lnTo>
                      <a:pt x="81" y="44"/>
                    </a:lnTo>
                    <a:lnTo>
                      <a:pt x="74" y="40"/>
                    </a:lnTo>
                    <a:lnTo>
                      <a:pt x="65" y="36"/>
                    </a:lnTo>
                    <a:lnTo>
                      <a:pt x="61" y="36"/>
                    </a:lnTo>
                    <a:lnTo>
                      <a:pt x="61" y="36"/>
                    </a:lnTo>
                    <a:lnTo>
                      <a:pt x="61" y="36"/>
                    </a:lnTo>
                    <a:lnTo>
                      <a:pt x="61" y="39"/>
                    </a:lnTo>
                    <a:lnTo>
                      <a:pt x="64" y="40"/>
                    </a:lnTo>
                    <a:lnTo>
                      <a:pt x="69" y="44"/>
                    </a:lnTo>
                    <a:lnTo>
                      <a:pt x="78" y="49"/>
                    </a:lnTo>
                    <a:lnTo>
                      <a:pt x="81" y="49"/>
                    </a:lnTo>
                    <a:lnTo>
                      <a:pt x="82" y="49"/>
                    </a:lnTo>
                    <a:lnTo>
                      <a:pt x="82" y="49"/>
                    </a:lnTo>
                    <a:close/>
                    <a:moveTo>
                      <a:pt x="79" y="64"/>
                    </a:moveTo>
                    <a:lnTo>
                      <a:pt x="79" y="64"/>
                    </a:lnTo>
                    <a:lnTo>
                      <a:pt x="82" y="69"/>
                    </a:lnTo>
                    <a:lnTo>
                      <a:pt x="86" y="71"/>
                    </a:lnTo>
                    <a:lnTo>
                      <a:pt x="92" y="73"/>
                    </a:lnTo>
                    <a:lnTo>
                      <a:pt x="96" y="73"/>
                    </a:lnTo>
                    <a:lnTo>
                      <a:pt x="96" y="73"/>
                    </a:lnTo>
                    <a:lnTo>
                      <a:pt x="96" y="71"/>
                    </a:lnTo>
                    <a:lnTo>
                      <a:pt x="95" y="69"/>
                    </a:lnTo>
                    <a:lnTo>
                      <a:pt x="89" y="64"/>
                    </a:lnTo>
                    <a:lnTo>
                      <a:pt x="82" y="61"/>
                    </a:lnTo>
                    <a:lnTo>
                      <a:pt x="81" y="61"/>
                    </a:lnTo>
                    <a:lnTo>
                      <a:pt x="79" y="64"/>
                    </a:lnTo>
                    <a:lnTo>
                      <a:pt x="79" y="64"/>
                    </a:lnTo>
                    <a:close/>
                    <a:moveTo>
                      <a:pt x="109" y="80"/>
                    </a:moveTo>
                    <a:lnTo>
                      <a:pt x="109" y="80"/>
                    </a:lnTo>
                    <a:lnTo>
                      <a:pt x="111" y="81"/>
                    </a:lnTo>
                    <a:lnTo>
                      <a:pt x="115" y="84"/>
                    </a:lnTo>
                    <a:lnTo>
                      <a:pt x="119" y="87"/>
                    </a:lnTo>
                    <a:lnTo>
                      <a:pt x="122" y="87"/>
                    </a:lnTo>
                    <a:lnTo>
                      <a:pt x="123" y="87"/>
                    </a:lnTo>
                    <a:lnTo>
                      <a:pt x="123" y="87"/>
                    </a:lnTo>
                    <a:lnTo>
                      <a:pt x="125" y="86"/>
                    </a:lnTo>
                    <a:lnTo>
                      <a:pt x="123" y="84"/>
                    </a:lnTo>
                    <a:lnTo>
                      <a:pt x="118" y="81"/>
                    </a:lnTo>
                    <a:lnTo>
                      <a:pt x="112" y="79"/>
                    </a:lnTo>
                    <a:lnTo>
                      <a:pt x="109" y="79"/>
                    </a:lnTo>
                    <a:lnTo>
                      <a:pt x="109" y="80"/>
                    </a:lnTo>
                    <a:lnTo>
                      <a:pt x="109" y="80"/>
                    </a:lnTo>
                    <a:close/>
                    <a:moveTo>
                      <a:pt x="96" y="47"/>
                    </a:moveTo>
                    <a:lnTo>
                      <a:pt x="96" y="47"/>
                    </a:lnTo>
                    <a:lnTo>
                      <a:pt x="96" y="51"/>
                    </a:lnTo>
                    <a:lnTo>
                      <a:pt x="96" y="54"/>
                    </a:lnTo>
                    <a:lnTo>
                      <a:pt x="101" y="61"/>
                    </a:lnTo>
                    <a:lnTo>
                      <a:pt x="106" y="67"/>
                    </a:lnTo>
                    <a:lnTo>
                      <a:pt x="109" y="70"/>
                    </a:lnTo>
                    <a:lnTo>
                      <a:pt x="109" y="70"/>
                    </a:lnTo>
                    <a:lnTo>
                      <a:pt x="109" y="66"/>
                    </a:lnTo>
                    <a:lnTo>
                      <a:pt x="105" y="57"/>
                    </a:lnTo>
                    <a:lnTo>
                      <a:pt x="101" y="49"/>
                    </a:lnTo>
                    <a:lnTo>
                      <a:pt x="98" y="47"/>
                    </a:lnTo>
                    <a:lnTo>
                      <a:pt x="96" y="47"/>
                    </a:lnTo>
                    <a:lnTo>
                      <a:pt x="96" y="4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86" name="Mongolia"/>
              <p:cNvSpPr>
                <a:spLocks/>
              </p:cNvSpPr>
              <p:nvPr/>
            </p:nvSpPr>
            <p:spPr bwMode="auto">
              <a:xfrm>
                <a:off x="6401012" y="2940940"/>
                <a:ext cx="744332" cy="318154"/>
              </a:xfrm>
              <a:custGeom>
                <a:avLst/>
                <a:gdLst/>
                <a:ahLst/>
                <a:cxnLst>
                  <a:cxn ang="0">
                    <a:pos x="466" y="93"/>
                  </a:cxn>
                  <a:cxn ang="0">
                    <a:pos x="450" y="90"/>
                  </a:cxn>
                  <a:cxn ang="0">
                    <a:pos x="435" y="90"/>
                  </a:cxn>
                  <a:cxn ang="0">
                    <a:pos x="450" y="47"/>
                  </a:cxn>
                  <a:cxn ang="0">
                    <a:pos x="428" y="46"/>
                  </a:cxn>
                  <a:cxn ang="0">
                    <a:pos x="405" y="43"/>
                  </a:cxn>
                  <a:cxn ang="0">
                    <a:pos x="391" y="53"/>
                  </a:cxn>
                  <a:cxn ang="0">
                    <a:pos x="368" y="59"/>
                  </a:cxn>
                  <a:cxn ang="0">
                    <a:pos x="342" y="61"/>
                  </a:cxn>
                  <a:cxn ang="0">
                    <a:pos x="318" y="59"/>
                  </a:cxn>
                  <a:cxn ang="0">
                    <a:pos x="308" y="49"/>
                  </a:cxn>
                  <a:cxn ang="0">
                    <a:pos x="295" y="42"/>
                  </a:cxn>
                  <a:cxn ang="0">
                    <a:pos x="280" y="39"/>
                  </a:cxn>
                  <a:cxn ang="0">
                    <a:pos x="254" y="37"/>
                  </a:cxn>
                  <a:cxn ang="0">
                    <a:pos x="234" y="40"/>
                  </a:cxn>
                  <a:cxn ang="0">
                    <a:pos x="219" y="32"/>
                  </a:cxn>
                  <a:cxn ang="0">
                    <a:pos x="216" y="17"/>
                  </a:cxn>
                  <a:cxn ang="0">
                    <a:pos x="189" y="7"/>
                  </a:cxn>
                  <a:cxn ang="0">
                    <a:pos x="167" y="0"/>
                  </a:cxn>
                  <a:cxn ang="0">
                    <a:pos x="156" y="9"/>
                  </a:cxn>
                  <a:cxn ang="0">
                    <a:pos x="146" y="17"/>
                  </a:cxn>
                  <a:cxn ang="0">
                    <a:pos x="153" y="34"/>
                  </a:cxn>
                  <a:cxn ang="0">
                    <a:pos x="140" y="47"/>
                  </a:cxn>
                  <a:cxn ang="0">
                    <a:pos x="126" y="46"/>
                  </a:cxn>
                  <a:cxn ang="0">
                    <a:pos x="108" y="44"/>
                  </a:cxn>
                  <a:cxn ang="0">
                    <a:pos x="95" y="33"/>
                  </a:cxn>
                  <a:cxn ang="0">
                    <a:pos x="64" y="29"/>
                  </a:cxn>
                  <a:cxn ang="0">
                    <a:pos x="51" y="36"/>
                  </a:cxn>
                  <a:cxn ang="0">
                    <a:pos x="38" y="44"/>
                  </a:cxn>
                  <a:cxn ang="0">
                    <a:pos x="21" y="54"/>
                  </a:cxn>
                  <a:cxn ang="0">
                    <a:pos x="2" y="60"/>
                  </a:cxn>
                  <a:cxn ang="0">
                    <a:pos x="2" y="70"/>
                  </a:cxn>
                  <a:cxn ang="0">
                    <a:pos x="25" y="86"/>
                  </a:cxn>
                  <a:cxn ang="0">
                    <a:pos x="39" y="97"/>
                  </a:cxn>
                  <a:cxn ang="0">
                    <a:pos x="49" y="116"/>
                  </a:cxn>
                  <a:cxn ang="0">
                    <a:pos x="44" y="138"/>
                  </a:cxn>
                  <a:cxn ang="0">
                    <a:pos x="79" y="147"/>
                  </a:cxn>
                  <a:cxn ang="0">
                    <a:pos x="92" y="154"/>
                  </a:cxn>
                  <a:cxn ang="0">
                    <a:pos x="106" y="162"/>
                  </a:cxn>
                  <a:cxn ang="0">
                    <a:pos x="119" y="185"/>
                  </a:cxn>
                  <a:cxn ang="0">
                    <a:pos x="132" y="194"/>
                  </a:cxn>
                  <a:cxn ang="0">
                    <a:pos x="196" y="197"/>
                  </a:cxn>
                  <a:cxn ang="0">
                    <a:pos x="226" y="204"/>
                  </a:cxn>
                  <a:cxn ang="0">
                    <a:pos x="246" y="209"/>
                  </a:cxn>
                  <a:cxn ang="0">
                    <a:pos x="263" y="215"/>
                  </a:cxn>
                  <a:cxn ang="0">
                    <a:pos x="295" y="198"/>
                  </a:cxn>
                  <a:cxn ang="0">
                    <a:pos x="344" y="194"/>
                  </a:cxn>
                  <a:cxn ang="0">
                    <a:pos x="369" y="175"/>
                  </a:cxn>
                  <a:cxn ang="0">
                    <a:pos x="365" y="155"/>
                  </a:cxn>
                  <a:cxn ang="0">
                    <a:pos x="382" y="150"/>
                  </a:cxn>
                  <a:cxn ang="0">
                    <a:pos x="408" y="147"/>
                  </a:cxn>
                  <a:cxn ang="0">
                    <a:pos x="441" y="135"/>
                  </a:cxn>
                  <a:cxn ang="0">
                    <a:pos x="460" y="118"/>
                  </a:cxn>
                  <a:cxn ang="0">
                    <a:pos x="486" y="114"/>
                  </a:cxn>
                  <a:cxn ang="0">
                    <a:pos x="503" y="113"/>
                  </a:cxn>
                  <a:cxn ang="0">
                    <a:pos x="482" y="90"/>
                  </a:cxn>
                </a:cxnLst>
                <a:rect l="0" t="0" r="r" b="b"/>
                <a:pathLst>
                  <a:path w="503" h="215">
                    <a:moveTo>
                      <a:pt x="482" y="90"/>
                    </a:moveTo>
                    <a:lnTo>
                      <a:pt x="482" y="90"/>
                    </a:lnTo>
                    <a:lnTo>
                      <a:pt x="477" y="87"/>
                    </a:lnTo>
                    <a:lnTo>
                      <a:pt x="473" y="87"/>
                    </a:lnTo>
                    <a:lnTo>
                      <a:pt x="469" y="88"/>
                    </a:lnTo>
                    <a:lnTo>
                      <a:pt x="466" y="93"/>
                    </a:lnTo>
                    <a:lnTo>
                      <a:pt x="466" y="93"/>
                    </a:lnTo>
                    <a:lnTo>
                      <a:pt x="466" y="94"/>
                    </a:lnTo>
                    <a:lnTo>
                      <a:pt x="465" y="94"/>
                    </a:lnTo>
                    <a:lnTo>
                      <a:pt x="462" y="94"/>
                    </a:lnTo>
                    <a:lnTo>
                      <a:pt x="458" y="91"/>
                    </a:lnTo>
                    <a:lnTo>
                      <a:pt x="450" y="90"/>
                    </a:lnTo>
                    <a:lnTo>
                      <a:pt x="450" y="90"/>
                    </a:lnTo>
                    <a:lnTo>
                      <a:pt x="445" y="91"/>
                    </a:lnTo>
                    <a:lnTo>
                      <a:pt x="442" y="93"/>
                    </a:lnTo>
                    <a:lnTo>
                      <a:pt x="439" y="93"/>
                    </a:lnTo>
                    <a:lnTo>
                      <a:pt x="435" y="90"/>
                    </a:lnTo>
                    <a:lnTo>
                      <a:pt x="435" y="90"/>
                    </a:lnTo>
                    <a:lnTo>
                      <a:pt x="432" y="86"/>
                    </a:lnTo>
                    <a:lnTo>
                      <a:pt x="433" y="83"/>
                    </a:lnTo>
                    <a:lnTo>
                      <a:pt x="436" y="81"/>
                    </a:lnTo>
                    <a:lnTo>
                      <a:pt x="438" y="73"/>
                    </a:lnTo>
                    <a:lnTo>
                      <a:pt x="450" y="47"/>
                    </a:lnTo>
                    <a:lnTo>
                      <a:pt x="450" y="47"/>
                    </a:lnTo>
                    <a:lnTo>
                      <a:pt x="445" y="46"/>
                    </a:lnTo>
                    <a:lnTo>
                      <a:pt x="439" y="46"/>
                    </a:lnTo>
                    <a:lnTo>
                      <a:pt x="439" y="46"/>
                    </a:lnTo>
                    <a:lnTo>
                      <a:pt x="435" y="47"/>
                    </a:lnTo>
                    <a:lnTo>
                      <a:pt x="431" y="47"/>
                    </a:lnTo>
                    <a:lnTo>
                      <a:pt x="428" y="46"/>
                    </a:lnTo>
                    <a:lnTo>
                      <a:pt x="425" y="43"/>
                    </a:lnTo>
                    <a:lnTo>
                      <a:pt x="425" y="43"/>
                    </a:lnTo>
                    <a:lnTo>
                      <a:pt x="422" y="42"/>
                    </a:lnTo>
                    <a:lnTo>
                      <a:pt x="416" y="40"/>
                    </a:lnTo>
                    <a:lnTo>
                      <a:pt x="409" y="42"/>
                    </a:lnTo>
                    <a:lnTo>
                      <a:pt x="405" y="43"/>
                    </a:lnTo>
                    <a:lnTo>
                      <a:pt x="405" y="43"/>
                    </a:lnTo>
                    <a:lnTo>
                      <a:pt x="398" y="46"/>
                    </a:lnTo>
                    <a:lnTo>
                      <a:pt x="394" y="49"/>
                    </a:lnTo>
                    <a:lnTo>
                      <a:pt x="392" y="52"/>
                    </a:lnTo>
                    <a:lnTo>
                      <a:pt x="392" y="52"/>
                    </a:lnTo>
                    <a:lnTo>
                      <a:pt x="391" y="53"/>
                    </a:lnTo>
                    <a:lnTo>
                      <a:pt x="386" y="54"/>
                    </a:lnTo>
                    <a:lnTo>
                      <a:pt x="384" y="54"/>
                    </a:lnTo>
                    <a:lnTo>
                      <a:pt x="379" y="56"/>
                    </a:lnTo>
                    <a:lnTo>
                      <a:pt x="379" y="56"/>
                    </a:lnTo>
                    <a:lnTo>
                      <a:pt x="375" y="57"/>
                    </a:lnTo>
                    <a:lnTo>
                      <a:pt x="368" y="59"/>
                    </a:lnTo>
                    <a:lnTo>
                      <a:pt x="362" y="60"/>
                    </a:lnTo>
                    <a:lnTo>
                      <a:pt x="359" y="61"/>
                    </a:lnTo>
                    <a:lnTo>
                      <a:pt x="359" y="61"/>
                    </a:lnTo>
                    <a:lnTo>
                      <a:pt x="355" y="61"/>
                    </a:lnTo>
                    <a:lnTo>
                      <a:pt x="349" y="63"/>
                    </a:lnTo>
                    <a:lnTo>
                      <a:pt x="342" y="61"/>
                    </a:lnTo>
                    <a:lnTo>
                      <a:pt x="338" y="61"/>
                    </a:lnTo>
                    <a:lnTo>
                      <a:pt x="338" y="61"/>
                    </a:lnTo>
                    <a:lnTo>
                      <a:pt x="334" y="60"/>
                    </a:lnTo>
                    <a:lnTo>
                      <a:pt x="327" y="60"/>
                    </a:lnTo>
                    <a:lnTo>
                      <a:pt x="321" y="59"/>
                    </a:lnTo>
                    <a:lnTo>
                      <a:pt x="318" y="59"/>
                    </a:lnTo>
                    <a:lnTo>
                      <a:pt x="317" y="57"/>
                    </a:lnTo>
                    <a:lnTo>
                      <a:pt x="317" y="57"/>
                    </a:lnTo>
                    <a:lnTo>
                      <a:pt x="315" y="54"/>
                    </a:lnTo>
                    <a:lnTo>
                      <a:pt x="312" y="53"/>
                    </a:lnTo>
                    <a:lnTo>
                      <a:pt x="310" y="50"/>
                    </a:lnTo>
                    <a:lnTo>
                      <a:pt x="308" y="49"/>
                    </a:lnTo>
                    <a:lnTo>
                      <a:pt x="308" y="49"/>
                    </a:lnTo>
                    <a:lnTo>
                      <a:pt x="308" y="47"/>
                    </a:lnTo>
                    <a:lnTo>
                      <a:pt x="307" y="46"/>
                    </a:lnTo>
                    <a:lnTo>
                      <a:pt x="303" y="44"/>
                    </a:lnTo>
                    <a:lnTo>
                      <a:pt x="298" y="43"/>
                    </a:lnTo>
                    <a:lnTo>
                      <a:pt x="295" y="42"/>
                    </a:lnTo>
                    <a:lnTo>
                      <a:pt x="295" y="42"/>
                    </a:lnTo>
                    <a:lnTo>
                      <a:pt x="293" y="40"/>
                    </a:lnTo>
                    <a:lnTo>
                      <a:pt x="290" y="39"/>
                    </a:lnTo>
                    <a:lnTo>
                      <a:pt x="283" y="39"/>
                    </a:lnTo>
                    <a:lnTo>
                      <a:pt x="283" y="39"/>
                    </a:lnTo>
                    <a:lnTo>
                      <a:pt x="280" y="39"/>
                    </a:lnTo>
                    <a:lnTo>
                      <a:pt x="275" y="37"/>
                    </a:lnTo>
                    <a:lnTo>
                      <a:pt x="268" y="36"/>
                    </a:lnTo>
                    <a:lnTo>
                      <a:pt x="268" y="36"/>
                    </a:lnTo>
                    <a:lnTo>
                      <a:pt x="261" y="36"/>
                    </a:lnTo>
                    <a:lnTo>
                      <a:pt x="254" y="37"/>
                    </a:lnTo>
                    <a:lnTo>
                      <a:pt x="254" y="37"/>
                    </a:lnTo>
                    <a:lnTo>
                      <a:pt x="251" y="37"/>
                    </a:lnTo>
                    <a:lnTo>
                      <a:pt x="248" y="40"/>
                    </a:lnTo>
                    <a:lnTo>
                      <a:pt x="243" y="43"/>
                    </a:lnTo>
                    <a:lnTo>
                      <a:pt x="243" y="43"/>
                    </a:lnTo>
                    <a:lnTo>
                      <a:pt x="238" y="42"/>
                    </a:lnTo>
                    <a:lnTo>
                      <a:pt x="234" y="40"/>
                    </a:lnTo>
                    <a:lnTo>
                      <a:pt x="230" y="39"/>
                    </a:lnTo>
                    <a:lnTo>
                      <a:pt x="229" y="39"/>
                    </a:lnTo>
                    <a:lnTo>
                      <a:pt x="229" y="39"/>
                    </a:lnTo>
                    <a:lnTo>
                      <a:pt x="226" y="39"/>
                    </a:lnTo>
                    <a:lnTo>
                      <a:pt x="223" y="36"/>
                    </a:lnTo>
                    <a:lnTo>
                      <a:pt x="219" y="32"/>
                    </a:lnTo>
                    <a:lnTo>
                      <a:pt x="219" y="32"/>
                    </a:lnTo>
                    <a:lnTo>
                      <a:pt x="217" y="29"/>
                    </a:lnTo>
                    <a:lnTo>
                      <a:pt x="217" y="24"/>
                    </a:lnTo>
                    <a:lnTo>
                      <a:pt x="217" y="20"/>
                    </a:lnTo>
                    <a:lnTo>
                      <a:pt x="216" y="17"/>
                    </a:lnTo>
                    <a:lnTo>
                      <a:pt x="216" y="17"/>
                    </a:lnTo>
                    <a:lnTo>
                      <a:pt x="213" y="16"/>
                    </a:lnTo>
                    <a:lnTo>
                      <a:pt x="209" y="15"/>
                    </a:lnTo>
                    <a:lnTo>
                      <a:pt x="200" y="13"/>
                    </a:lnTo>
                    <a:lnTo>
                      <a:pt x="200" y="13"/>
                    </a:lnTo>
                    <a:lnTo>
                      <a:pt x="194" y="9"/>
                    </a:lnTo>
                    <a:lnTo>
                      <a:pt x="189" y="7"/>
                    </a:lnTo>
                    <a:lnTo>
                      <a:pt x="189" y="7"/>
                    </a:lnTo>
                    <a:lnTo>
                      <a:pt x="183" y="7"/>
                    </a:lnTo>
                    <a:lnTo>
                      <a:pt x="179" y="6"/>
                    </a:lnTo>
                    <a:lnTo>
                      <a:pt x="179" y="6"/>
                    </a:lnTo>
                    <a:lnTo>
                      <a:pt x="173" y="3"/>
                    </a:lnTo>
                    <a:lnTo>
                      <a:pt x="167" y="0"/>
                    </a:lnTo>
                    <a:lnTo>
                      <a:pt x="167" y="0"/>
                    </a:lnTo>
                    <a:lnTo>
                      <a:pt x="165" y="0"/>
                    </a:lnTo>
                    <a:lnTo>
                      <a:pt x="163" y="2"/>
                    </a:lnTo>
                    <a:lnTo>
                      <a:pt x="162" y="6"/>
                    </a:lnTo>
                    <a:lnTo>
                      <a:pt x="162" y="6"/>
                    </a:lnTo>
                    <a:lnTo>
                      <a:pt x="156" y="9"/>
                    </a:lnTo>
                    <a:lnTo>
                      <a:pt x="155" y="9"/>
                    </a:lnTo>
                    <a:lnTo>
                      <a:pt x="153" y="12"/>
                    </a:lnTo>
                    <a:lnTo>
                      <a:pt x="153" y="12"/>
                    </a:lnTo>
                    <a:lnTo>
                      <a:pt x="150" y="13"/>
                    </a:lnTo>
                    <a:lnTo>
                      <a:pt x="149" y="16"/>
                    </a:lnTo>
                    <a:lnTo>
                      <a:pt x="146" y="17"/>
                    </a:lnTo>
                    <a:lnTo>
                      <a:pt x="146" y="20"/>
                    </a:lnTo>
                    <a:lnTo>
                      <a:pt x="146" y="20"/>
                    </a:lnTo>
                    <a:lnTo>
                      <a:pt x="147" y="27"/>
                    </a:lnTo>
                    <a:lnTo>
                      <a:pt x="152" y="33"/>
                    </a:lnTo>
                    <a:lnTo>
                      <a:pt x="152" y="33"/>
                    </a:lnTo>
                    <a:lnTo>
                      <a:pt x="153" y="34"/>
                    </a:lnTo>
                    <a:lnTo>
                      <a:pt x="153" y="37"/>
                    </a:lnTo>
                    <a:lnTo>
                      <a:pt x="152" y="43"/>
                    </a:lnTo>
                    <a:lnTo>
                      <a:pt x="152" y="43"/>
                    </a:lnTo>
                    <a:lnTo>
                      <a:pt x="149" y="44"/>
                    </a:lnTo>
                    <a:lnTo>
                      <a:pt x="145" y="46"/>
                    </a:lnTo>
                    <a:lnTo>
                      <a:pt x="140" y="47"/>
                    </a:lnTo>
                    <a:lnTo>
                      <a:pt x="137" y="49"/>
                    </a:lnTo>
                    <a:lnTo>
                      <a:pt x="137" y="49"/>
                    </a:lnTo>
                    <a:lnTo>
                      <a:pt x="136" y="50"/>
                    </a:lnTo>
                    <a:lnTo>
                      <a:pt x="133" y="50"/>
                    </a:lnTo>
                    <a:lnTo>
                      <a:pt x="126" y="46"/>
                    </a:lnTo>
                    <a:lnTo>
                      <a:pt x="126" y="46"/>
                    </a:lnTo>
                    <a:lnTo>
                      <a:pt x="123" y="44"/>
                    </a:lnTo>
                    <a:lnTo>
                      <a:pt x="119" y="44"/>
                    </a:lnTo>
                    <a:lnTo>
                      <a:pt x="113" y="47"/>
                    </a:lnTo>
                    <a:lnTo>
                      <a:pt x="113" y="47"/>
                    </a:lnTo>
                    <a:lnTo>
                      <a:pt x="110" y="47"/>
                    </a:lnTo>
                    <a:lnTo>
                      <a:pt x="108" y="44"/>
                    </a:lnTo>
                    <a:lnTo>
                      <a:pt x="101" y="42"/>
                    </a:lnTo>
                    <a:lnTo>
                      <a:pt x="101" y="42"/>
                    </a:lnTo>
                    <a:lnTo>
                      <a:pt x="99" y="40"/>
                    </a:lnTo>
                    <a:lnTo>
                      <a:pt x="98" y="37"/>
                    </a:lnTo>
                    <a:lnTo>
                      <a:pt x="96" y="33"/>
                    </a:lnTo>
                    <a:lnTo>
                      <a:pt x="95" y="33"/>
                    </a:lnTo>
                    <a:lnTo>
                      <a:pt x="95" y="33"/>
                    </a:lnTo>
                    <a:lnTo>
                      <a:pt x="85" y="32"/>
                    </a:lnTo>
                    <a:lnTo>
                      <a:pt x="73" y="29"/>
                    </a:lnTo>
                    <a:lnTo>
                      <a:pt x="73" y="29"/>
                    </a:lnTo>
                    <a:lnTo>
                      <a:pt x="66" y="29"/>
                    </a:lnTo>
                    <a:lnTo>
                      <a:pt x="64" y="29"/>
                    </a:lnTo>
                    <a:lnTo>
                      <a:pt x="62" y="30"/>
                    </a:lnTo>
                    <a:lnTo>
                      <a:pt x="62" y="30"/>
                    </a:lnTo>
                    <a:lnTo>
                      <a:pt x="59" y="32"/>
                    </a:lnTo>
                    <a:lnTo>
                      <a:pt x="56" y="33"/>
                    </a:lnTo>
                    <a:lnTo>
                      <a:pt x="52" y="33"/>
                    </a:lnTo>
                    <a:lnTo>
                      <a:pt x="51" y="36"/>
                    </a:lnTo>
                    <a:lnTo>
                      <a:pt x="51" y="36"/>
                    </a:lnTo>
                    <a:lnTo>
                      <a:pt x="49" y="37"/>
                    </a:lnTo>
                    <a:lnTo>
                      <a:pt x="45" y="39"/>
                    </a:lnTo>
                    <a:lnTo>
                      <a:pt x="41" y="43"/>
                    </a:lnTo>
                    <a:lnTo>
                      <a:pt x="41" y="43"/>
                    </a:lnTo>
                    <a:lnTo>
                      <a:pt x="38" y="44"/>
                    </a:lnTo>
                    <a:lnTo>
                      <a:pt x="34" y="46"/>
                    </a:lnTo>
                    <a:lnTo>
                      <a:pt x="31" y="47"/>
                    </a:lnTo>
                    <a:lnTo>
                      <a:pt x="28" y="50"/>
                    </a:lnTo>
                    <a:lnTo>
                      <a:pt x="28" y="50"/>
                    </a:lnTo>
                    <a:lnTo>
                      <a:pt x="25" y="53"/>
                    </a:lnTo>
                    <a:lnTo>
                      <a:pt x="21" y="54"/>
                    </a:lnTo>
                    <a:lnTo>
                      <a:pt x="14" y="56"/>
                    </a:lnTo>
                    <a:lnTo>
                      <a:pt x="14" y="56"/>
                    </a:lnTo>
                    <a:lnTo>
                      <a:pt x="7" y="57"/>
                    </a:lnTo>
                    <a:lnTo>
                      <a:pt x="4" y="59"/>
                    </a:lnTo>
                    <a:lnTo>
                      <a:pt x="2" y="60"/>
                    </a:lnTo>
                    <a:lnTo>
                      <a:pt x="2" y="60"/>
                    </a:lnTo>
                    <a:lnTo>
                      <a:pt x="1" y="61"/>
                    </a:lnTo>
                    <a:lnTo>
                      <a:pt x="0" y="61"/>
                    </a:lnTo>
                    <a:lnTo>
                      <a:pt x="0" y="61"/>
                    </a:lnTo>
                    <a:lnTo>
                      <a:pt x="0" y="63"/>
                    </a:lnTo>
                    <a:lnTo>
                      <a:pt x="0" y="63"/>
                    </a:lnTo>
                    <a:lnTo>
                      <a:pt x="2" y="70"/>
                    </a:lnTo>
                    <a:lnTo>
                      <a:pt x="4" y="73"/>
                    </a:lnTo>
                    <a:lnTo>
                      <a:pt x="11" y="79"/>
                    </a:lnTo>
                    <a:lnTo>
                      <a:pt x="11" y="79"/>
                    </a:lnTo>
                    <a:lnTo>
                      <a:pt x="18" y="83"/>
                    </a:lnTo>
                    <a:lnTo>
                      <a:pt x="22" y="86"/>
                    </a:lnTo>
                    <a:lnTo>
                      <a:pt x="25" y="86"/>
                    </a:lnTo>
                    <a:lnTo>
                      <a:pt x="25" y="86"/>
                    </a:lnTo>
                    <a:lnTo>
                      <a:pt x="29" y="87"/>
                    </a:lnTo>
                    <a:lnTo>
                      <a:pt x="34" y="90"/>
                    </a:lnTo>
                    <a:lnTo>
                      <a:pt x="38" y="93"/>
                    </a:lnTo>
                    <a:lnTo>
                      <a:pt x="39" y="97"/>
                    </a:lnTo>
                    <a:lnTo>
                      <a:pt x="39" y="97"/>
                    </a:lnTo>
                    <a:lnTo>
                      <a:pt x="41" y="101"/>
                    </a:lnTo>
                    <a:lnTo>
                      <a:pt x="42" y="104"/>
                    </a:lnTo>
                    <a:lnTo>
                      <a:pt x="48" y="110"/>
                    </a:lnTo>
                    <a:lnTo>
                      <a:pt x="48" y="110"/>
                    </a:lnTo>
                    <a:lnTo>
                      <a:pt x="49" y="111"/>
                    </a:lnTo>
                    <a:lnTo>
                      <a:pt x="49" y="116"/>
                    </a:lnTo>
                    <a:lnTo>
                      <a:pt x="46" y="125"/>
                    </a:lnTo>
                    <a:lnTo>
                      <a:pt x="46" y="125"/>
                    </a:lnTo>
                    <a:lnTo>
                      <a:pt x="46" y="128"/>
                    </a:lnTo>
                    <a:lnTo>
                      <a:pt x="44" y="133"/>
                    </a:lnTo>
                    <a:lnTo>
                      <a:pt x="42" y="135"/>
                    </a:lnTo>
                    <a:lnTo>
                      <a:pt x="44" y="138"/>
                    </a:lnTo>
                    <a:lnTo>
                      <a:pt x="44" y="138"/>
                    </a:lnTo>
                    <a:lnTo>
                      <a:pt x="45" y="141"/>
                    </a:lnTo>
                    <a:lnTo>
                      <a:pt x="49" y="143"/>
                    </a:lnTo>
                    <a:lnTo>
                      <a:pt x="61" y="145"/>
                    </a:lnTo>
                    <a:lnTo>
                      <a:pt x="72" y="147"/>
                    </a:lnTo>
                    <a:lnTo>
                      <a:pt x="79" y="147"/>
                    </a:lnTo>
                    <a:lnTo>
                      <a:pt x="79" y="147"/>
                    </a:lnTo>
                    <a:lnTo>
                      <a:pt x="83" y="148"/>
                    </a:lnTo>
                    <a:lnTo>
                      <a:pt x="88" y="151"/>
                    </a:lnTo>
                    <a:lnTo>
                      <a:pt x="89" y="154"/>
                    </a:lnTo>
                    <a:lnTo>
                      <a:pt x="92" y="154"/>
                    </a:lnTo>
                    <a:lnTo>
                      <a:pt x="92" y="154"/>
                    </a:lnTo>
                    <a:lnTo>
                      <a:pt x="95" y="155"/>
                    </a:lnTo>
                    <a:lnTo>
                      <a:pt x="96" y="158"/>
                    </a:lnTo>
                    <a:lnTo>
                      <a:pt x="99" y="160"/>
                    </a:lnTo>
                    <a:lnTo>
                      <a:pt x="102" y="162"/>
                    </a:lnTo>
                    <a:lnTo>
                      <a:pt x="102" y="162"/>
                    </a:lnTo>
                    <a:lnTo>
                      <a:pt x="106" y="162"/>
                    </a:lnTo>
                    <a:lnTo>
                      <a:pt x="109" y="165"/>
                    </a:lnTo>
                    <a:lnTo>
                      <a:pt x="112" y="170"/>
                    </a:lnTo>
                    <a:lnTo>
                      <a:pt x="115" y="175"/>
                    </a:lnTo>
                    <a:lnTo>
                      <a:pt x="115" y="175"/>
                    </a:lnTo>
                    <a:lnTo>
                      <a:pt x="116" y="181"/>
                    </a:lnTo>
                    <a:lnTo>
                      <a:pt x="119" y="185"/>
                    </a:lnTo>
                    <a:lnTo>
                      <a:pt x="122" y="188"/>
                    </a:lnTo>
                    <a:lnTo>
                      <a:pt x="123" y="192"/>
                    </a:lnTo>
                    <a:lnTo>
                      <a:pt x="123" y="192"/>
                    </a:lnTo>
                    <a:lnTo>
                      <a:pt x="125" y="192"/>
                    </a:lnTo>
                    <a:lnTo>
                      <a:pt x="126" y="194"/>
                    </a:lnTo>
                    <a:lnTo>
                      <a:pt x="132" y="194"/>
                    </a:lnTo>
                    <a:lnTo>
                      <a:pt x="145" y="194"/>
                    </a:lnTo>
                    <a:lnTo>
                      <a:pt x="145" y="194"/>
                    </a:lnTo>
                    <a:lnTo>
                      <a:pt x="165" y="194"/>
                    </a:lnTo>
                    <a:lnTo>
                      <a:pt x="183" y="195"/>
                    </a:lnTo>
                    <a:lnTo>
                      <a:pt x="183" y="195"/>
                    </a:lnTo>
                    <a:lnTo>
                      <a:pt x="196" y="197"/>
                    </a:lnTo>
                    <a:lnTo>
                      <a:pt x="204" y="198"/>
                    </a:lnTo>
                    <a:lnTo>
                      <a:pt x="211" y="201"/>
                    </a:lnTo>
                    <a:lnTo>
                      <a:pt x="211" y="201"/>
                    </a:lnTo>
                    <a:lnTo>
                      <a:pt x="217" y="204"/>
                    </a:lnTo>
                    <a:lnTo>
                      <a:pt x="221" y="204"/>
                    </a:lnTo>
                    <a:lnTo>
                      <a:pt x="226" y="204"/>
                    </a:lnTo>
                    <a:lnTo>
                      <a:pt x="229" y="205"/>
                    </a:lnTo>
                    <a:lnTo>
                      <a:pt x="229" y="205"/>
                    </a:lnTo>
                    <a:lnTo>
                      <a:pt x="237" y="209"/>
                    </a:lnTo>
                    <a:lnTo>
                      <a:pt x="240" y="209"/>
                    </a:lnTo>
                    <a:lnTo>
                      <a:pt x="246" y="209"/>
                    </a:lnTo>
                    <a:lnTo>
                      <a:pt x="246" y="209"/>
                    </a:lnTo>
                    <a:lnTo>
                      <a:pt x="250" y="209"/>
                    </a:lnTo>
                    <a:lnTo>
                      <a:pt x="253" y="212"/>
                    </a:lnTo>
                    <a:lnTo>
                      <a:pt x="254" y="214"/>
                    </a:lnTo>
                    <a:lnTo>
                      <a:pt x="258" y="215"/>
                    </a:lnTo>
                    <a:lnTo>
                      <a:pt x="258" y="215"/>
                    </a:lnTo>
                    <a:lnTo>
                      <a:pt x="263" y="215"/>
                    </a:lnTo>
                    <a:lnTo>
                      <a:pt x="268" y="211"/>
                    </a:lnTo>
                    <a:lnTo>
                      <a:pt x="277" y="207"/>
                    </a:lnTo>
                    <a:lnTo>
                      <a:pt x="285" y="201"/>
                    </a:lnTo>
                    <a:lnTo>
                      <a:pt x="285" y="201"/>
                    </a:lnTo>
                    <a:lnTo>
                      <a:pt x="291" y="199"/>
                    </a:lnTo>
                    <a:lnTo>
                      <a:pt x="295" y="198"/>
                    </a:lnTo>
                    <a:lnTo>
                      <a:pt x="307" y="198"/>
                    </a:lnTo>
                    <a:lnTo>
                      <a:pt x="322" y="199"/>
                    </a:lnTo>
                    <a:lnTo>
                      <a:pt x="322" y="199"/>
                    </a:lnTo>
                    <a:lnTo>
                      <a:pt x="328" y="199"/>
                    </a:lnTo>
                    <a:lnTo>
                      <a:pt x="337" y="198"/>
                    </a:lnTo>
                    <a:lnTo>
                      <a:pt x="344" y="194"/>
                    </a:lnTo>
                    <a:lnTo>
                      <a:pt x="351" y="188"/>
                    </a:lnTo>
                    <a:lnTo>
                      <a:pt x="351" y="188"/>
                    </a:lnTo>
                    <a:lnTo>
                      <a:pt x="357" y="182"/>
                    </a:lnTo>
                    <a:lnTo>
                      <a:pt x="364" y="180"/>
                    </a:lnTo>
                    <a:lnTo>
                      <a:pt x="368" y="177"/>
                    </a:lnTo>
                    <a:lnTo>
                      <a:pt x="369" y="175"/>
                    </a:lnTo>
                    <a:lnTo>
                      <a:pt x="371" y="172"/>
                    </a:lnTo>
                    <a:lnTo>
                      <a:pt x="371" y="172"/>
                    </a:lnTo>
                    <a:lnTo>
                      <a:pt x="369" y="167"/>
                    </a:lnTo>
                    <a:lnTo>
                      <a:pt x="368" y="162"/>
                    </a:lnTo>
                    <a:lnTo>
                      <a:pt x="365" y="158"/>
                    </a:lnTo>
                    <a:lnTo>
                      <a:pt x="365" y="155"/>
                    </a:lnTo>
                    <a:lnTo>
                      <a:pt x="367" y="154"/>
                    </a:lnTo>
                    <a:lnTo>
                      <a:pt x="367" y="154"/>
                    </a:lnTo>
                    <a:lnTo>
                      <a:pt x="369" y="150"/>
                    </a:lnTo>
                    <a:lnTo>
                      <a:pt x="374" y="148"/>
                    </a:lnTo>
                    <a:lnTo>
                      <a:pt x="378" y="148"/>
                    </a:lnTo>
                    <a:lnTo>
                      <a:pt x="382" y="150"/>
                    </a:lnTo>
                    <a:lnTo>
                      <a:pt x="382" y="150"/>
                    </a:lnTo>
                    <a:lnTo>
                      <a:pt x="386" y="151"/>
                    </a:lnTo>
                    <a:lnTo>
                      <a:pt x="392" y="153"/>
                    </a:lnTo>
                    <a:lnTo>
                      <a:pt x="399" y="151"/>
                    </a:lnTo>
                    <a:lnTo>
                      <a:pt x="408" y="147"/>
                    </a:lnTo>
                    <a:lnTo>
                      <a:pt x="408" y="147"/>
                    </a:lnTo>
                    <a:lnTo>
                      <a:pt x="415" y="144"/>
                    </a:lnTo>
                    <a:lnTo>
                      <a:pt x="421" y="141"/>
                    </a:lnTo>
                    <a:lnTo>
                      <a:pt x="432" y="140"/>
                    </a:lnTo>
                    <a:lnTo>
                      <a:pt x="432" y="140"/>
                    </a:lnTo>
                    <a:lnTo>
                      <a:pt x="436" y="138"/>
                    </a:lnTo>
                    <a:lnTo>
                      <a:pt x="441" y="135"/>
                    </a:lnTo>
                    <a:lnTo>
                      <a:pt x="442" y="131"/>
                    </a:lnTo>
                    <a:lnTo>
                      <a:pt x="446" y="127"/>
                    </a:lnTo>
                    <a:lnTo>
                      <a:pt x="446" y="127"/>
                    </a:lnTo>
                    <a:lnTo>
                      <a:pt x="450" y="123"/>
                    </a:lnTo>
                    <a:lnTo>
                      <a:pt x="456" y="120"/>
                    </a:lnTo>
                    <a:lnTo>
                      <a:pt x="460" y="118"/>
                    </a:lnTo>
                    <a:lnTo>
                      <a:pt x="466" y="118"/>
                    </a:lnTo>
                    <a:lnTo>
                      <a:pt x="466" y="118"/>
                    </a:lnTo>
                    <a:lnTo>
                      <a:pt x="470" y="117"/>
                    </a:lnTo>
                    <a:lnTo>
                      <a:pt x="476" y="116"/>
                    </a:lnTo>
                    <a:lnTo>
                      <a:pt x="482" y="114"/>
                    </a:lnTo>
                    <a:lnTo>
                      <a:pt x="486" y="114"/>
                    </a:lnTo>
                    <a:lnTo>
                      <a:pt x="486" y="114"/>
                    </a:lnTo>
                    <a:lnTo>
                      <a:pt x="492" y="116"/>
                    </a:lnTo>
                    <a:lnTo>
                      <a:pt x="496" y="116"/>
                    </a:lnTo>
                    <a:lnTo>
                      <a:pt x="500" y="116"/>
                    </a:lnTo>
                    <a:lnTo>
                      <a:pt x="502" y="114"/>
                    </a:lnTo>
                    <a:lnTo>
                      <a:pt x="503" y="113"/>
                    </a:lnTo>
                    <a:lnTo>
                      <a:pt x="503" y="113"/>
                    </a:lnTo>
                    <a:lnTo>
                      <a:pt x="502" y="110"/>
                    </a:lnTo>
                    <a:lnTo>
                      <a:pt x="500" y="107"/>
                    </a:lnTo>
                    <a:lnTo>
                      <a:pt x="495" y="101"/>
                    </a:lnTo>
                    <a:lnTo>
                      <a:pt x="487" y="96"/>
                    </a:lnTo>
                    <a:lnTo>
                      <a:pt x="482" y="90"/>
                    </a:lnTo>
                    <a:lnTo>
                      <a:pt x="482" y="9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27" name="Malaysia"/>
              <p:cNvSpPr>
                <a:spLocks noEditPoints="1"/>
              </p:cNvSpPr>
              <p:nvPr/>
            </p:nvSpPr>
            <p:spPr bwMode="auto">
              <a:xfrm>
                <a:off x="6665894" y="4154362"/>
                <a:ext cx="458733" cy="140580"/>
              </a:xfrm>
              <a:custGeom>
                <a:avLst/>
                <a:gdLst/>
                <a:ahLst/>
                <a:cxnLst>
                  <a:cxn ang="0">
                    <a:pos x="55" y="28"/>
                  </a:cxn>
                  <a:cxn ang="0">
                    <a:pos x="44" y="18"/>
                  </a:cxn>
                  <a:cxn ang="0">
                    <a:pos x="37" y="10"/>
                  </a:cxn>
                  <a:cxn ang="0">
                    <a:pos x="32" y="10"/>
                  </a:cxn>
                  <a:cxn ang="0">
                    <a:pos x="30" y="14"/>
                  </a:cxn>
                  <a:cxn ang="0">
                    <a:pos x="17" y="13"/>
                  </a:cxn>
                  <a:cxn ang="0">
                    <a:pos x="10" y="3"/>
                  </a:cxn>
                  <a:cxn ang="0">
                    <a:pos x="3" y="8"/>
                  </a:cxn>
                  <a:cxn ang="0">
                    <a:pos x="5" y="31"/>
                  </a:cxn>
                  <a:cxn ang="0">
                    <a:pos x="21" y="58"/>
                  </a:cxn>
                  <a:cxn ang="0">
                    <a:pos x="37" y="72"/>
                  </a:cxn>
                  <a:cxn ang="0">
                    <a:pos x="67" y="88"/>
                  </a:cxn>
                  <a:cxn ang="0">
                    <a:pos x="65" y="78"/>
                  </a:cxn>
                  <a:cxn ang="0">
                    <a:pos x="55" y="62"/>
                  </a:cxn>
                  <a:cxn ang="0">
                    <a:pos x="57" y="34"/>
                  </a:cxn>
                  <a:cxn ang="0">
                    <a:pos x="286" y="15"/>
                  </a:cxn>
                  <a:cxn ang="0">
                    <a:pos x="283" y="8"/>
                  </a:cxn>
                  <a:cxn ang="0">
                    <a:pos x="270" y="0"/>
                  </a:cxn>
                  <a:cxn ang="0">
                    <a:pos x="257" y="17"/>
                  </a:cxn>
                  <a:cxn ang="0">
                    <a:pos x="249" y="24"/>
                  </a:cxn>
                  <a:cxn ang="0">
                    <a:pos x="247" y="30"/>
                  </a:cxn>
                  <a:cxn ang="0">
                    <a:pos x="246" y="41"/>
                  </a:cxn>
                  <a:cxn ang="0">
                    <a:pos x="240" y="42"/>
                  </a:cxn>
                  <a:cxn ang="0">
                    <a:pos x="233" y="44"/>
                  </a:cxn>
                  <a:cxn ang="0">
                    <a:pos x="226" y="34"/>
                  </a:cxn>
                  <a:cxn ang="0">
                    <a:pos x="215" y="48"/>
                  </a:cxn>
                  <a:cxn ang="0">
                    <a:pos x="209" y="61"/>
                  </a:cxn>
                  <a:cxn ang="0">
                    <a:pos x="185" y="64"/>
                  </a:cxn>
                  <a:cxn ang="0">
                    <a:pos x="179" y="78"/>
                  </a:cxn>
                  <a:cxn ang="0">
                    <a:pos x="175" y="85"/>
                  </a:cxn>
                  <a:cxn ang="0">
                    <a:pos x="153" y="77"/>
                  </a:cxn>
                  <a:cxn ang="0">
                    <a:pos x="159" y="88"/>
                  </a:cxn>
                  <a:cxn ang="0">
                    <a:pos x="170" y="95"/>
                  </a:cxn>
                  <a:cxn ang="0">
                    <a:pos x="182" y="92"/>
                  </a:cxn>
                  <a:cxn ang="0">
                    <a:pos x="196" y="91"/>
                  </a:cxn>
                  <a:cxn ang="0">
                    <a:pos x="209" y="85"/>
                  </a:cxn>
                  <a:cxn ang="0">
                    <a:pos x="225" y="88"/>
                  </a:cxn>
                  <a:cxn ang="0">
                    <a:pos x="239" y="84"/>
                  </a:cxn>
                  <a:cxn ang="0">
                    <a:pos x="242" y="71"/>
                  </a:cxn>
                  <a:cxn ang="0">
                    <a:pos x="243" y="62"/>
                  </a:cxn>
                  <a:cxn ang="0">
                    <a:pos x="253" y="54"/>
                  </a:cxn>
                  <a:cxn ang="0">
                    <a:pos x="256" y="42"/>
                  </a:cxn>
                  <a:cxn ang="0">
                    <a:pos x="277" y="40"/>
                  </a:cxn>
                  <a:cxn ang="0">
                    <a:pos x="293" y="37"/>
                  </a:cxn>
                  <a:cxn ang="0">
                    <a:pos x="296" y="32"/>
                  </a:cxn>
                  <a:cxn ang="0">
                    <a:pos x="306" y="28"/>
                  </a:cxn>
                  <a:cxn ang="0">
                    <a:pos x="310" y="24"/>
                  </a:cxn>
                  <a:cxn ang="0">
                    <a:pos x="298" y="17"/>
                  </a:cxn>
                </a:cxnLst>
                <a:rect l="0" t="0" r="r" b="b"/>
                <a:pathLst>
                  <a:path w="310" h="95">
                    <a:moveTo>
                      <a:pt x="57" y="34"/>
                    </a:moveTo>
                    <a:lnTo>
                      <a:pt x="57" y="34"/>
                    </a:lnTo>
                    <a:lnTo>
                      <a:pt x="55" y="31"/>
                    </a:lnTo>
                    <a:lnTo>
                      <a:pt x="55" y="28"/>
                    </a:lnTo>
                    <a:lnTo>
                      <a:pt x="51" y="25"/>
                    </a:lnTo>
                    <a:lnTo>
                      <a:pt x="47" y="22"/>
                    </a:lnTo>
                    <a:lnTo>
                      <a:pt x="44" y="18"/>
                    </a:lnTo>
                    <a:lnTo>
                      <a:pt x="44" y="18"/>
                    </a:lnTo>
                    <a:lnTo>
                      <a:pt x="42" y="14"/>
                    </a:lnTo>
                    <a:lnTo>
                      <a:pt x="40" y="13"/>
                    </a:lnTo>
                    <a:lnTo>
                      <a:pt x="38" y="13"/>
                    </a:lnTo>
                    <a:lnTo>
                      <a:pt x="37" y="10"/>
                    </a:lnTo>
                    <a:lnTo>
                      <a:pt x="37" y="10"/>
                    </a:lnTo>
                    <a:lnTo>
                      <a:pt x="35" y="7"/>
                    </a:lnTo>
                    <a:lnTo>
                      <a:pt x="35" y="7"/>
                    </a:lnTo>
                    <a:lnTo>
                      <a:pt x="32" y="10"/>
                    </a:lnTo>
                    <a:lnTo>
                      <a:pt x="31" y="11"/>
                    </a:lnTo>
                    <a:lnTo>
                      <a:pt x="31" y="13"/>
                    </a:lnTo>
                    <a:lnTo>
                      <a:pt x="30" y="14"/>
                    </a:lnTo>
                    <a:lnTo>
                      <a:pt x="30" y="14"/>
                    </a:lnTo>
                    <a:lnTo>
                      <a:pt x="23" y="14"/>
                    </a:lnTo>
                    <a:lnTo>
                      <a:pt x="18" y="14"/>
                    </a:lnTo>
                    <a:lnTo>
                      <a:pt x="17" y="13"/>
                    </a:lnTo>
                    <a:lnTo>
                      <a:pt x="17" y="13"/>
                    </a:lnTo>
                    <a:lnTo>
                      <a:pt x="17" y="10"/>
                    </a:lnTo>
                    <a:lnTo>
                      <a:pt x="15" y="7"/>
                    </a:lnTo>
                    <a:lnTo>
                      <a:pt x="13" y="4"/>
                    </a:lnTo>
                    <a:lnTo>
                      <a:pt x="10" y="3"/>
                    </a:lnTo>
                    <a:lnTo>
                      <a:pt x="10" y="3"/>
                    </a:lnTo>
                    <a:lnTo>
                      <a:pt x="0" y="3"/>
                    </a:lnTo>
                    <a:lnTo>
                      <a:pt x="0" y="3"/>
                    </a:lnTo>
                    <a:lnTo>
                      <a:pt x="3" y="8"/>
                    </a:lnTo>
                    <a:lnTo>
                      <a:pt x="4" y="15"/>
                    </a:lnTo>
                    <a:lnTo>
                      <a:pt x="4" y="27"/>
                    </a:lnTo>
                    <a:lnTo>
                      <a:pt x="4" y="27"/>
                    </a:lnTo>
                    <a:lnTo>
                      <a:pt x="5" y="31"/>
                    </a:lnTo>
                    <a:lnTo>
                      <a:pt x="7" y="35"/>
                    </a:lnTo>
                    <a:lnTo>
                      <a:pt x="13" y="44"/>
                    </a:lnTo>
                    <a:lnTo>
                      <a:pt x="17" y="51"/>
                    </a:lnTo>
                    <a:lnTo>
                      <a:pt x="21" y="58"/>
                    </a:lnTo>
                    <a:lnTo>
                      <a:pt x="21" y="58"/>
                    </a:lnTo>
                    <a:lnTo>
                      <a:pt x="23" y="62"/>
                    </a:lnTo>
                    <a:lnTo>
                      <a:pt x="25" y="65"/>
                    </a:lnTo>
                    <a:lnTo>
                      <a:pt x="37" y="72"/>
                    </a:lnTo>
                    <a:lnTo>
                      <a:pt x="37" y="72"/>
                    </a:lnTo>
                    <a:lnTo>
                      <a:pt x="54" y="84"/>
                    </a:lnTo>
                    <a:lnTo>
                      <a:pt x="62" y="88"/>
                    </a:lnTo>
                    <a:lnTo>
                      <a:pt x="67" y="88"/>
                    </a:lnTo>
                    <a:lnTo>
                      <a:pt x="67" y="88"/>
                    </a:lnTo>
                    <a:lnTo>
                      <a:pt x="68" y="86"/>
                    </a:lnTo>
                    <a:lnTo>
                      <a:pt x="68" y="85"/>
                    </a:lnTo>
                    <a:lnTo>
                      <a:pt x="65" y="78"/>
                    </a:lnTo>
                    <a:lnTo>
                      <a:pt x="61" y="71"/>
                    </a:lnTo>
                    <a:lnTo>
                      <a:pt x="57" y="65"/>
                    </a:lnTo>
                    <a:lnTo>
                      <a:pt x="57" y="65"/>
                    </a:lnTo>
                    <a:lnTo>
                      <a:pt x="55" y="62"/>
                    </a:lnTo>
                    <a:lnTo>
                      <a:pt x="54" y="59"/>
                    </a:lnTo>
                    <a:lnTo>
                      <a:pt x="54" y="52"/>
                    </a:lnTo>
                    <a:lnTo>
                      <a:pt x="57" y="34"/>
                    </a:lnTo>
                    <a:lnTo>
                      <a:pt x="57" y="34"/>
                    </a:lnTo>
                    <a:close/>
                    <a:moveTo>
                      <a:pt x="298" y="17"/>
                    </a:moveTo>
                    <a:lnTo>
                      <a:pt x="298" y="17"/>
                    </a:lnTo>
                    <a:lnTo>
                      <a:pt x="290" y="17"/>
                    </a:lnTo>
                    <a:lnTo>
                      <a:pt x="286" y="15"/>
                    </a:lnTo>
                    <a:lnTo>
                      <a:pt x="284" y="14"/>
                    </a:lnTo>
                    <a:lnTo>
                      <a:pt x="284" y="13"/>
                    </a:lnTo>
                    <a:lnTo>
                      <a:pt x="284" y="13"/>
                    </a:lnTo>
                    <a:lnTo>
                      <a:pt x="283" y="8"/>
                    </a:lnTo>
                    <a:lnTo>
                      <a:pt x="280" y="4"/>
                    </a:lnTo>
                    <a:lnTo>
                      <a:pt x="274" y="1"/>
                    </a:lnTo>
                    <a:lnTo>
                      <a:pt x="270" y="0"/>
                    </a:lnTo>
                    <a:lnTo>
                      <a:pt x="270" y="0"/>
                    </a:lnTo>
                    <a:lnTo>
                      <a:pt x="266" y="3"/>
                    </a:lnTo>
                    <a:lnTo>
                      <a:pt x="262" y="7"/>
                    </a:lnTo>
                    <a:lnTo>
                      <a:pt x="259" y="11"/>
                    </a:lnTo>
                    <a:lnTo>
                      <a:pt x="257" y="17"/>
                    </a:lnTo>
                    <a:lnTo>
                      <a:pt x="257" y="17"/>
                    </a:lnTo>
                    <a:lnTo>
                      <a:pt x="256" y="20"/>
                    </a:lnTo>
                    <a:lnTo>
                      <a:pt x="252" y="21"/>
                    </a:lnTo>
                    <a:lnTo>
                      <a:pt x="249" y="24"/>
                    </a:lnTo>
                    <a:lnTo>
                      <a:pt x="249" y="25"/>
                    </a:lnTo>
                    <a:lnTo>
                      <a:pt x="249" y="27"/>
                    </a:lnTo>
                    <a:lnTo>
                      <a:pt x="249" y="27"/>
                    </a:lnTo>
                    <a:lnTo>
                      <a:pt x="247" y="30"/>
                    </a:lnTo>
                    <a:lnTo>
                      <a:pt x="244" y="31"/>
                    </a:lnTo>
                    <a:lnTo>
                      <a:pt x="244" y="31"/>
                    </a:lnTo>
                    <a:lnTo>
                      <a:pt x="246" y="38"/>
                    </a:lnTo>
                    <a:lnTo>
                      <a:pt x="246" y="41"/>
                    </a:lnTo>
                    <a:lnTo>
                      <a:pt x="246" y="41"/>
                    </a:lnTo>
                    <a:lnTo>
                      <a:pt x="246" y="41"/>
                    </a:lnTo>
                    <a:lnTo>
                      <a:pt x="243" y="41"/>
                    </a:lnTo>
                    <a:lnTo>
                      <a:pt x="240" y="42"/>
                    </a:lnTo>
                    <a:lnTo>
                      <a:pt x="239" y="44"/>
                    </a:lnTo>
                    <a:lnTo>
                      <a:pt x="234" y="45"/>
                    </a:lnTo>
                    <a:lnTo>
                      <a:pt x="234" y="45"/>
                    </a:lnTo>
                    <a:lnTo>
                      <a:pt x="233" y="44"/>
                    </a:lnTo>
                    <a:lnTo>
                      <a:pt x="232" y="41"/>
                    </a:lnTo>
                    <a:lnTo>
                      <a:pt x="226" y="34"/>
                    </a:lnTo>
                    <a:lnTo>
                      <a:pt x="226" y="34"/>
                    </a:lnTo>
                    <a:lnTo>
                      <a:pt x="226" y="34"/>
                    </a:lnTo>
                    <a:lnTo>
                      <a:pt x="226" y="34"/>
                    </a:lnTo>
                    <a:lnTo>
                      <a:pt x="222" y="35"/>
                    </a:lnTo>
                    <a:lnTo>
                      <a:pt x="217" y="41"/>
                    </a:lnTo>
                    <a:lnTo>
                      <a:pt x="215" y="48"/>
                    </a:lnTo>
                    <a:lnTo>
                      <a:pt x="212" y="55"/>
                    </a:lnTo>
                    <a:lnTo>
                      <a:pt x="212" y="55"/>
                    </a:lnTo>
                    <a:lnTo>
                      <a:pt x="210" y="58"/>
                    </a:lnTo>
                    <a:lnTo>
                      <a:pt x="209" y="61"/>
                    </a:lnTo>
                    <a:lnTo>
                      <a:pt x="205" y="62"/>
                    </a:lnTo>
                    <a:lnTo>
                      <a:pt x="189" y="62"/>
                    </a:lnTo>
                    <a:lnTo>
                      <a:pt x="189" y="62"/>
                    </a:lnTo>
                    <a:lnTo>
                      <a:pt x="185" y="64"/>
                    </a:lnTo>
                    <a:lnTo>
                      <a:pt x="182" y="65"/>
                    </a:lnTo>
                    <a:lnTo>
                      <a:pt x="180" y="68"/>
                    </a:lnTo>
                    <a:lnTo>
                      <a:pt x="179" y="71"/>
                    </a:lnTo>
                    <a:lnTo>
                      <a:pt x="179" y="78"/>
                    </a:lnTo>
                    <a:lnTo>
                      <a:pt x="178" y="84"/>
                    </a:lnTo>
                    <a:lnTo>
                      <a:pt x="178" y="84"/>
                    </a:lnTo>
                    <a:lnTo>
                      <a:pt x="176" y="85"/>
                    </a:lnTo>
                    <a:lnTo>
                      <a:pt x="175" y="85"/>
                    </a:lnTo>
                    <a:lnTo>
                      <a:pt x="168" y="82"/>
                    </a:lnTo>
                    <a:lnTo>
                      <a:pt x="161" y="79"/>
                    </a:lnTo>
                    <a:lnTo>
                      <a:pt x="153" y="77"/>
                    </a:lnTo>
                    <a:lnTo>
                      <a:pt x="153" y="77"/>
                    </a:lnTo>
                    <a:lnTo>
                      <a:pt x="156" y="84"/>
                    </a:lnTo>
                    <a:lnTo>
                      <a:pt x="158" y="86"/>
                    </a:lnTo>
                    <a:lnTo>
                      <a:pt x="159" y="88"/>
                    </a:lnTo>
                    <a:lnTo>
                      <a:pt x="159" y="88"/>
                    </a:lnTo>
                    <a:lnTo>
                      <a:pt x="162" y="89"/>
                    </a:lnTo>
                    <a:lnTo>
                      <a:pt x="166" y="92"/>
                    </a:lnTo>
                    <a:lnTo>
                      <a:pt x="169" y="94"/>
                    </a:lnTo>
                    <a:lnTo>
                      <a:pt x="170" y="95"/>
                    </a:lnTo>
                    <a:lnTo>
                      <a:pt x="172" y="94"/>
                    </a:lnTo>
                    <a:lnTo>
                      <a:pt x="172" y="94"/>
                    </a:lnTo>
                    <a:lnTo>
                      <a:pt x="176" y="92"/>
                    </a:lnTo>
                    <a:lnTo>
                      <a:pt x="182" y="92"/>
                    </a:lnTo>
                    <a:lnTo>
                      <a:pt x="188" y="92"/>
                    </a:lnTo>
                    <a:lnTo>
                      <a:pt x="193" y="92"/>
                    </a:lnTo>
                    <a:lnTo>
                      <a:pt x="193" y="92"/>
                    </a:lnTo>
                    <a:lnTo>
                      <a:pt x="196" y="91"/>
                    </a:lnTo>
                    <a:lnTo>
                      <a:pt x="200" y="88"/>
                    </a:lnTo>
                    <a:lnTo>
                      <a:pt x="203" y="86"/>
                    </a:lnTo>
                    <a:lnTo>
                      <a:pt x="209" y="85"/>
                    </a:lnTo>
                    <a:lnTo>
                      <a:pt x="209" y="85"/>
                    </a:lnTo>
                    <a:lnTo>
                      <a:pt x="215" y="86"/>
                    </a:lnTo>
                    <a:lnTo>
                      <a:pt x="217" y="89"/>
                    </a:lnTo>
                    <a:lnTo>
                      <a:pt x="219" y="89"/>
                    </a:lnTo>
                    <a:lnTo>
                      <a:pt x="225" y="88"/>
                    </a:lnTo>
                    <a:lnTo>
                      <a:pt x="225" y="88"/>
                    </a:lnTo>
                    <a:lnTo>
                      <a:pt x="230" y="86"/>
                    </a:lnTo>
                    <a:lnTo>
                      <a:pt x="236" y="85"/>
                    </a:lnTo>
                    <a:lnTo>
                      <a:pt x="239" y="84"/>
                    </a:lnTo>
                    <a:lnTo>
                      <a:pt x="239" y="79"/>
                    </a:lnTo>
                    <a:lnTo>
                      <a:pt x="239" y="79"/>
                    </a:lnTo>
                    <a:lnTo>
                      <a:pt x="239" y="74"/>
                    </a:lnTo>
                    <a:lnTo>
                      <a:pt x="242" y="71"/>
                    </a:lnTo>
                    <a:lnTo>
                      <a:pt x="243" y="68"/>
                    </a:lnTo>
                    <a:lnTo>
                      <a:pt x="243" y="64"/>
                    </a:lnTo>
                    <a:lnTo>
                      <a:pt x="243" y="64"/>
                    </a:lnTo>
                    <a:lnTo>
                      <a:pt x="243" y="62"/>
                    </a:lnTo>
                    <a:lnTo>
                      <a:pt x="244" y="61"/>
                    </a:lnTo>
                    <a:lnTo>
                      <a:pt x="249" y="58"/>
                    </a:lnTo>
                    <a:lnTo>
                      <a:pt x="252" y="55"/>
                    </a:lnTo>
                    <a:lnTo>
                      <a:pt x="253" y="54"/>
                    </a:lnTo>
                    <a:lnTo>
                      <a:pt x="253" y="49"/>
                    </a:lnTo>
                    <a:lnTo>
                      <a:pt x="253" y="49"/>
                    </a:lnTo>
                    <a:lnTo>
                      <a:pt x="253" y="45"/>
                    </a:lnTo>
                    <a:lnTo>
                      <a:pt x="256" y="42"/>
                    </a:lnTo>
                    <a:lnTo>
                      <a:pt x="259" y="41"/>
                    </a:lnTo>
                    <a:lnTo>
                      <a:pt x="262" y="40"/>
                    </a:lnTo>
                    <a:lnTo>
                      <a:pt x="270" y="40"/>
                    </a:lnTo>
                    <a:lnTo>
                      <a:pt x="277" y="40"/>
                    </a:lnTo>
                    <a:lnTo>
                      <a:pt x="277" y="40"/>
                    </a:lnTo>
                    <a:lnTo>
                      <a:pt x="286" y="41"/>
                    </a:lnTo>
                    <a:lnTo>
                      <a:pt x="286" y="41"/>
                    </a:lnTo>
                    <a:lnTo>
                      <a:pt x="293" y="37"/>
                    </a:lnTo>
                    <a:lnTo>
                      <a:pt x="296" y="34"/>
                    </a:lnTo>
                    <a:lnTo>
                      <a:pt x="296" y="32"/>
                    </a:lnTo>
                    <a:lnTo>
                      <a:pt x="296" y="32"/>
                    </a:lnTo>
                    <a:lnTo>
                      <a:pt x="296" y="32"/>
                    </a:lnTo>
                    <a:lnTo>
                      <a:pt x="294" y="31"/>
                    </a:lnTo>
                    <a:lnTo>
                      <a:pt x="296" y="30"/>
                    </a:lnTo>
                    <a:lnTo>
                      <a:pt x="300" y="30"/>
                    </a:lnTo>
                    <a:lnTo>
                      <a:pt x="306" y="28"/>
                    </a:lnTo>
                    <a:lnTo>
                      <a:pt x="308" y="27"/>
                    </a:lnTo>
                    <a:lnTo>
                      <a:pt x="310" y="25"/>
                    </a:lnTo>
                    <a:lnTo>
                      <a:pt x="310" y="25"/>
                    </a:lnTo>
                    <a:lnTo>
                      <a:pt x="310" y="24"/>
                    </a:lnTo>
                    <a:lnTo>
                      <a:pt x="310" y="21"/>
                    </a:lnTo>
                    <a:lnTo>
                      <a:pt x="307" y="18"/>
                    </a:lnTo>
                    <a:lnTo>
                      <a:pt x="303" y="17"/>
                    </a:lnTo>
                    <a:lnTo>
                      <a:pt x="298" y="17"/>
                    </a:lnTo>
                    <a:lnTo>
                      <a:pt x="298" y="1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28" name="Brunei"/>
              <p:cNvSpPr>
                <a:spLocks/>
              </p:cNvSpPr>
              <p:nvPr/>
            </p:nvSpPr>
            <p:spPr bwMode="auto">
              <a:xfrm>
                <a:off x="7000325" y="4200235"/>
                <a:ext cx="29596" cy="20717"/>
              </a:xfrm>
              <a:custGeom>
                <a:avLst/>
                <a:gdLst/>
                <a:ahLst/>
                <a:cxnLst>
                  <a:cxn ang="0">
                    <a:pos x="8" y="14"/>
                  </a:cxn>
                  <a:cxn ang="0">
                    <a:pos x="8" y="14"/>
                  </a:cxn>
                  <a:cxn ang="0">
                    <a:pos x="13" y="13"/>
                  </a:cxn>
                  <a:cxn ang="0">
                    <a:pos x="14" y="11"/>
                  </a:cxn>
                  <a:cxn ang="0">
                    <a:pos x="17" y="10"/>
                  </a:cxn>
                  <a:cxn ang="0">
                    <a:pos x="20" y="10"/>
                  </a:cxn>
                  <a:cxn ang="0">
                    <a:pos x="20" y="10"/>
                  </a:cxn>
                  <a:cxn ang="0">
                    <a:pos x="20" y="10"/>
                  </a:cxn>
                  <a:cxn ang="0">
                    <a:pos x="20" y="7"/>
                  </a:cxn>
                  <a:cxn ang="0">
                    <a:pos x="18" y="0"/>
                  </a:cxn>
                  <a:cxn ang="0">
                    <a:pos x="18" y="0"/>
                  </a:cxn>
                  <a:cxn ang="0">
                    <a:pos x="14" y="1"/>
                  </a:cxn>
                  <a:cxn ang="0">
                    <a:pos x="11" y="3"/>
                  </a:cxn>
                  <a:cxn ang="0">
                    <a:pos x="11" y="4"/>
                  </a:cxn>
                  <a:cxn ang="0">
                    <a:pos x="11" y="4"/>
                  </a:cxn>
                  <a:cxn ang="0">
                    <a:pos x="11" y="6"/>
                  </a:cxn>
                  <a:cxn ang="0">
                    <a:pos x="10" y="6"/>
                  </a:cxn>
                  <a:cxn ang="0">
                    <a:pos x="7" y="4"/>
                  </a:cxn>
                  <a:cxn ang="0">
                    <a:pos x="0" y="3"/>
                  </a:cxn>
                  <a:cxn ang="0">
                    <a:pos x="0" y="3"/>
                  </a:cxn>
                  <a:cxn ang="0">
                    <a:pos x="6" y="10"/>
                  </a:cxn>
                  <a:cxn ang="0">
                    <a:pos x="7" y="13"/>
                  </a:cxn>
                  <a:cxn ang="0">
                    <a:pos x="8" y="14"/>
                  </a:cxn>
                  <a:cxn ang="0">
                    <a:pos x="8" y="14"/>
                  </a:cxn>
                </a:cxnLst>
                <a:rect l="0" t="0" r="r" b="b"/>
                <a:pathLst>
                  <a:path w="20" h="14">
                    <a:moveTo>
                      <a:pt x="8" y="14"/>
                    </a:moveTo>
                    <a:lnTo>
                      <a:pt x="8" y="14"/>
                    </a:lnTo>
                    <a:lnTo>
                      <a:pt x="13" y="13"/>
                    </a:lnTo>
                    <a:lnTo>
                      <a:pt x="14" y="11"/>
                    </a:lnTo>
                    <a:lnTo>
                      <a:pt x="17" y="10"/>
                    </a:lnTo>
                    <a:lnTo>
                      <a:pt x="20" y="10"/>
                    </a:lnTo>
                    <a:lnTo>
                      <a:pt x="20" y="10"/>
                    </a:lnTo>
                    <a:lnTo>
                      <a:pt x="20" y="10"/>
                    </a:lnTo>
                    <a:lnTo>
                      <a:pt x="20" y="7"/>
                    </a:lnTo>
                    <a:lnTo>
                      <a:pt x="18" y="0"/>
                    </a:lnTo>
                    <a:lnTo>
                      <a:pt x="18" y="0"/>
                    </a:lnTo>
                    <a:lnTo>
                      <a:pt x="14" y="1"/>
                    </a:lnTo>
                    <a:lnTo>
                      <a:pt x="11" y="3"/>
                    </a:lnTo>
                    <a:lnTo>
                      <a:pt x="11" y="4"/>
                    </a:lnTo>
                    <a:lnTo>
                      <a:pt x="11" y="4"/>
                    </a:lnTo>
                    <a:lnTo>
                      <a:pt x="11" y="6"/>
                    </a:lnTo>
                    <a:lnTo>
                      <a:pt x="10" y="6"/>
                    </a:lnTo>
                    <a:lnTo>
                      <a:pt x="7" y="4"/>
                    </a:lnTo>
                    <a:lnTo>
                      <a:pt x="0" y="3"/>
                    </a:lnTo>
                    <a:lnTo>
                      <a:pt x="0" y="3"/>
                    </a:lnTo>
                    <a:lnTo>
                      <a:pt x="6" y="10"/>
                    </a:lnTo>
                    <a:lnTo>
                      <a:pt x="7" y="13"/>
                    </a:lnTo>
                    <a:lnTo>
                      <a:pt x="8" y="14"/>
                    </a:lnTo>
                    <a:lnTo>
                      <a:pt x="8" y="1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70" name="Sri Lanka"/>
              <p:cNvSpPr>
                <a:spLocks/>
              </p:cNvSpPr>
              <p:nvPr/>
            </p:nvSpPr>
            <p:spPr bwMode="auto">
              <a:xfrm>
                <a:off x="6213081" y="4084812"/>
                <a:ext cx="48833" cy="90267"/>
              </a:xfrm>
              <a:custGeom>
                <a:avLst/>
                <a:gdLst/>
                <a:ahLst/>
                <a:cxnLst>
                  <a:cxn ang="0">
                    <a:pos x="7" y="0"/>
                  </a:cxn>
                  <a:cxn ang="0">
                    <a:pos x="7" y="0"/>
                  </a:cxn>
                  <a:cxn ang="0">
                    <a:pos x="4" y="1"/>
                  </a:cxn>
                  <a:cxn ang="0">
                    <a:pos x="3" y="4"/>
                  </a:cxn>
                  <a:cxn ang="0">
                    <a:pos x="1" y="14"/>
                  </a:cxn>
                  <a:cxn ang="0">
                    <a:pos x="1" y="14"/>
                  </a:cxn>
                  <a:cxn ang="0">
                    <a:pos x="0" y="20"/>
                  </a:cxn>
                  <a:cxn ang="0">
                    <a:pos x="0" y="24"/>
                  </a:cxn>
                  <a:cxn ang="0">
                    <a:pos x="0" y="35"/>
                  </a:cxn>
                  <a:cxn ang="0">
                    <a:pos x="0" y="35"/>
                  </a:cxn>
                  <a:cxn ang="0">
                    <a:pos x="1" y="50"/>
                  </a:cxn>
                  <a:cxn ang="0">
                    <a:pos x="4" y="55"/>
                  </a:cxn>
                  <a:cxn ang="0">
                    <a:pos x="8" y="60"/>
                  </a:cxn>
                  <a:cxn ang="0">
                    <a:pos x="8" y="60"/>
                  </a:cxn>
                  <a:cxn ang="0">
                    <a:pos x="11" y="61"/>
                  </a:cxn>
                  <a:cxn ang="0">
                    <a:pos x="16" y="61"/>
                  </a:cxn>
                  <a:cxn ang="0">
                    <a:pos x="20" y="58"/>
                  </a:cxn>
                  <a:cxn ang="0">
                    <a:pos x="24" y="55"/>
                  </a:cxn>
                  <a:cxn ang="0">
                    <a:pos x="27" y="51"/>
                  </a:cxn>
                  <a:cxn ang="0">
                    <a:pos x="30" y="47"/>
                  </a:cxn>
                  <a:cxn ang="0">
                    <a:pos x="33" y="41"/>
                  </a:cxn>
                  <a:cxn ang="0">
                    <a:pos x="33" y="37"/>
                  </a:cxn>
                  <a:cxn ang="0">
                    <a:pos x="33" y="37"/>
                  </a:cxn>
                  <a:cxn ang="0">
                    <a:pos x="33" y="31"/>
                  </a:cxn>
                  <a:cxn ang="0">
                    <a:pos x="30" y="25"/>
                  </a:cxn>
                  <a:cxn ang="0">
                    <a:pos x="21" y="13"/>
                  </a:cxn>
                  <a:cxn ang="0">
                    <a:pos x="13" y="3"/>
                  </a:cxn>
                  <a:cxn ang="0">
                    <a:pos x="8" y="0"/>
                  </a:cxn>
                  <a:cxn ang="0">
                    <a:pos x="7" y="0"/>
                  </a:cxn>
                  <a:cxn ang="0">
                    <a:pos x="7" y="0"/>
                  </a:cxn>
                </a:cxnLst>
                <a:rect l="0" t="0" r="r" b="b"/>
                <a:pathLst>
                  <a:path w="33" h="61">
                    <a:moveTo>
                      <a:pt x="7" y="0"/>
                    </a:moveTo>
                    <a:lnTo>
                      <a:pt x="7" y="0"/>
                    </a:lnTo>
                    <a:lnTo>
                      <a:pt x="4" y="1"/>
                    </a:lnTo>
                    <a:lnTo>
                      <a:pt x="3" y="4"/>
                    </a:lnTo>
                    <a:lnTo>
                      <a:pt x="1" y="14"/>
                    </a:lnTo>
                    <a:lnTo>
                      <a:pt x="1" y="14"/>
                    </a:lnTo>
                    <a:lnTo>
                      <a:pt x="0" y="20"/>
                    </a:lnTo>
                    <a:lnTo>
                      <a:pt x="0" y="24"/>
                    </a:lnTo>
                    <a:lnTo>
                      <a:pt x="0" y="35"/>
                    </a:lnTo>
                    <a:lnTo>
                      <a:pt x="0" y="35"/>
                    </a:lnTo>
                    <a:lnTo>
                      <a:pt x="1" y="50"/>
                    </a:lnTo>
                    <a:lnTo>
                      <a:pt x="4" y="55"/>
                    </a:lnTo>
                    <a:lnTo>
                      <a:pt x="8" y="60"/>
                    </a:lnTo>
                    <a:lnTo>
                      <a:pt x="8" y="60"/>
                    </a:lnTo>
                    <a:lnTo>
                      <a:pt x="11" y="61"/>
                    </a:lnTo>
                    <a:lnTo>
                      <a:pt x="16" y="61"/>
                    </a:lnTo>
                    <a:lnTo>
                      <a:pt x="20" y="58"/>
                    </a:lnTo>
                    <a:lnTo>
                      <a:pt x="24" y="55"/>
                    </a:lnTo>
                    <a:lnTo>
                      <a:pt x="27" y="51"/>
                    </a:lnTo>
                    <a:lnTo>
                      <a:pt x="30" y="47"/>
                    </a:lnTo>
                    <a:lnTo>
                      <a:pt x="33" y="41"/>
                    </a:lnTo>
                    <a:lnTo>
                      <a:pt x="33" y="37"/>
                    </a:lnTo>
                    <a:lnTo>
                      <a:pt x="33" y="37"/>
                    </a:lnTo>
                    <a:lnTo>
                      <a:pt x="33" y="31"/>
                    </a:lnTo>
                    <a:lnTo>
                      <a:pt x="30" y="25"/>
                    </a:lnTo>
                    <a:lnTo>
                      <a:pt x="21" y="13"/>
                    </a:lnTo>
                    <a:lnTo>
                      <a:pt x="13" y="3"/>
                    </a:lnTo>
                    <a:lnTo>
                      <a:pt x="8" y="0"/>
                    </a:lnTo>
                    <a:lnTo>
                      <a:pt x="7" y="0"/>
                    </a:lnTo>
                    <a:lnTo>
                      <a:pt x="7"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90" name="Timor-Leste"/>
              <p:cNvSpPr>
                <a:spLocks noEditPoints="1"/>
              </p:cNvSpPr>
              <p:nvPr/>
            </p:nvSpPr>
            <p:spPr bwMode="auto">
              <a:xfrm>
                <a:off x="7240050" y="4513950"/>
                <a:ext cx="78429" cy="26636"/>
              </a:xfrm>
              <a:custGeom>
                <a:avLst/>
                <a:gdLst/>
                <a:ahLst/>
                <a:cxnLst>
                  <a:cxn ang="0">
                    <a:pos x="6" y="14"/>
                  </a:cxn>
                  <a:cxn ang="0">
                    <a:pos x="6" y="14"/>
                  </a:cxn>
                  <a:cxn ang="0">
                    <a:pos x="0" y="16"/>
                  </a:cxn>
                  <a:cxn ang="0">
                    <a:pos x="0" y="16"/>
                  </a:cxn>
                  <a:cxn ang="0">
                    <a:pos x="3" y="18"/>
                  </a:cxn>
                  <a:cxn ang="0">
                    <a:pos x="4" y="18"/>
                  </a:cxn>
                  <a:cxn ang="0">
                    <a:pos x="6" y="18"/>
                  </a:cxn>
                  <a:cxn ang="0">
                    <a:pos x="6" y="18"/>
                  </a:cxn>
                  <a:cxn ang="0">
                    <a:pos x="7" y="17"/>
                  </a:cxn>
                  <a:cxn ang="0">
                    <a:pos x="9" y="14"/>
                  </a:cxn>
                  <a:cxn ang="0">
                    <a:pos x="9" y="14"/>
                  </a:cxn>
                  <a:cxn ang="0">
                    <a:pos x="6" y="14"/>
                  </a:cxn>
                  <a:cxn ang="0">
                    <a:pos x="6" y="14"/>
                  </a:cxn>
                  <a:cxn ang="0">
                    <a:pos x="6" y="14"/>
                  </a:cxn>
                  <a:cxn ang="0">
                    <a:pos x="6" y="14"/>
                  </a:cxn>
                  <a:cxn ang="0">
                    <a:pos x="29" y="3"/>
                  </a:cxn>
                  <a:cxn ang="0">
                    <a:pos x="29" y="3"/>
                  </a:cxn>
                  <a:cxn ang="0">
                    <a:pos x="24" y="3"/>
                  </a:cxn>
                  <a:cxn ang="0">
                    <a:pos x="21" y="6"/>
                  </a:cxn>
                  <a:cxn ang="0">
                    <a:pos x="14" y="11"/>
                  </a:cxn>
                  <a:cxn ang="0">
                    <a:pos x="14" y="11"/>
                  </a:cxn>
                  <a:cxn ang="0">
                    <a:pos x="13" y="11"/>
                  </a:cxn>
                  <a:cxn ang="0">
                    <a:pos x="13" y="11"/>
                  </a:cxn>
                  <a:cxn ang="0">
                    <a:pos x="19" y="17"/>
                  </a:cxn>
                  <a:cxn ang="0">
                    <a:pos x="19" y="17"/>
                  </a:cxn>
                  <a:cxn ang="0">
                    <a:pos x="27" y="13"/>
                  </a:cxn>
                  <a:cxn ang="0">
                    <a:pos x="39" y="8"/>
                  </a:cxn>
                  <a:cxn ang="0">
                    <a:pos x="47" y="4"/>
                  </a:cxn>
                  <a:cxn ang="0">
                    <a:pos x="53" y="1"/>
                  </a:cxn>
                  <a:cxn ang="0">
                    <a:pos x="53" y="1"/>
                  </a:cxn>
                  <a:cxn ang="0">
                    <a:pos x="51" y="1"/>
                  </a:cxn>
                  <a:cxn ang="0">
                    <a:pos x="50" y="0"/>
                  </a:cxn>
                  <a:cxn ang="0">
                    <a:pos x="44" y="1"/>
                  </a:cxn>
                  <a:cxn ang="0">
                    <a:pos x="36" y="1"/>
                  </a:cxn>
                  <a:cxn ang="0">
                    <a:pos x="29" y="3"/>
                  </a:cxn>
                  <a:cxn ang="0">
                    <a:pos x="29" y="3"/>
                  </a:cxn>
                </a:cxnLst>
                <a:rect l="0" t="0" r="r" b="b"/>
                <a:pathLst>
                  <a:path w="53" h="18">
                    <a:moveTo>
                      <a:pt x="6" y="14"/>
                    </a:moveTo>
                    <a:lnTo>
                      <a:pt x="6" y="14"/>
                    </a:lnTo>
                    <a:lnTo>
                      <a:pt x="0" y="16"/>
                    </a:lnTo>
                    <a:lnTo>
                      <a:pt x="0" y="16"/>
                    </a:lnTo>
                    <a:lnTo>
                      <a:pt x="3" y="18"/>
                    </a:lnTo>
                    <a:lnTo>
                      <a:pt x="4" y="18"/>
                    </a:lnTo>
                    <a:lnTo>
                      <a:pt x="6" y="18"/>
                    </a:lnTo>
                    <a:lnTo>
                      <a:pt x="6" y="18"/>
                    </a:lnTo>
                    <a:lnTo>
                      <a:pt x="7" y="17"/>
                    </a:lnTo>
                    <a:lnTo>
                      <a:pt x="9" y="14"/>
                    </a:lnTo>
                    <a:lnTo>
                      <a:pt x="9" y="14"/>
                    </a:lnTo>
                    <a:lnTo>
                      <a:pt x="6" y="14"/>
                    </a:lnTo>
                    <a:lnTo>
                      <a:pt x="6" y="14"/>
                    </a:lnTo>
                    <a:lnTo>
                      <a:pt x="6" y="14"/>
                    </a:lnTo>
                    <a:lnTo>
                      <a:pt x="6" y="14"/>
                    </a:lnTo>
                    <a:close/>
                    <a:moveTo>
                      <a:pt x="29" y="3"/>
                    </a:moveTo>
                    <a:lnTo>
                      <a:pt x="29" y="3"/>
                    </a:lnTo>
                    <a:lnTo>
                      <a:pt x="24" y="3"/>
                    </a:lnTo>
                    <a:lnTo>
                      <a:pt x="21" y="6"/>
                    </a:lnTo>
                    <a:lnTo>
                      <a:pt x="14" y="11"/>
                    </a:lnTo>
                    <a:lnTo>
                      <a:pt x="14" y="11"/>
                    </a:lnTo>
                    <a:lnTo>
                      <a:pt x="13" y="11"/>
                    </a:lnTo>
                    <a:lnTo>
                      <a:pt x="13" y="11"/>
                    </a:lnTo>
                    <a:lnTo>
                      <a:pt x="19" y="17"/>
                    </a:lnTo>
                    <a:lnTo>
                      <a:pt x="19" y="17"/>
                    </a:lnTo>
                    <a:lnTo>
                      <a:pt x="27" y="13"/>
                    </a:lnTo>
                    <a:lnTo>
                      <a:pt x="39" y="8"/>
                    </a:lnTo>
                    <a:lnTo>
                      <a:pt x="47" y="4"/>
                    </a:lnTo>
                    <a:lnTo>
                      <a:pt x="53" y="1"/>
                    </a:lnTo>
                    <a:lnTo>
                      <a:pt x="53" y="1"/>
                    </a:lnTo>
                    <a:lnTo>
                      <a:pt x="51" y="1"/>
                    </a:lnTo>
                    <a:lnTo>
                      <a:pt x="50" y="0"/>
                    </a:lnTo>
                    <a:lnTo>
                      <a:pt x="44" y="1"/>
                    </a:lnTo>
                    <a:lnTo>
                      <a:pt x="36" y="1"/>
                    </a:lnTo>
                    <a:lnTo>
                      <a:pt x="29" y="3"/>
                    </a:lnTo>
                    <a:lnTo>
                      <a:pt x="29" y="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grpSp>
        <p:grpSp>
          <p:nvGrpSpPr>
            <p:cNvPr id="10" name="Middle East">
              <a:extLst>
                <a:ext uri="{FF2B5EF4-FFF2-40B4-BE49-F238E27FC236}">
                  <a16:creationId xmlns:a16="http://schemas.microsoft.com/office/drawing/2014/main" id="{72ECEC04-1EF4-8A4E-ADFF-436E292B32B8}"/>
                </a:ext>
              </a:extLst>
            </p:cNvPr>
            <p:cNvGrpSpPr/>
            <p:nvPr/>
          </p:nvGrpSpPr>
          <p:grpSpPr>
            <a:xfrm>
              <a:off x="6646480" y="3768707"/>
              <a:ext cx="1037328" cy="701418"/>
              <a:chOff x="5122480" y="3303486"/>
              <a:chExt cx="1037328" cy="701418"/>
            </a:xfrm>
            <a:solidFill>
              <a:schemeClr val="bg1">
                <a:lumMod val="75000"/>
              </a:schemeClr>
            </a:solidFill>
          </p:grpSpPr>
          <p:sp>
            <p:nvSpPr>
              <p:cNvPr id="510" name="Saudi Arabia"/>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88" name="Afghanistan"/>
              <p:cNvSpPr>
                <a:spLocks/>
              </p:cNvSpPr>
              <p:nvPr/>
            </p:nvSpPr>
            <p:spPr bwMode="auto">
              <a:xfrm>
                <a:off x="5758786" y="3347880"/>
                <a:ext cx="335911" cy="239725"/>
              </a:xfrm>
              <a:custGeom>
                <a:avLst/>
                <a:gdLst/>
                <a:ahLst/>
                <a:cxnLst>
                  <a:cxn ang="0">
                    <a:pos x="216" y="21"/>
                  </a:cxn>
                  <a:cxn ang="0">
                    <a:pos x="206" y="21"/>
                  </a:cxn>
                  <a:cxn ang="0">
                    <a:pos x="187" y="33"/>
                  </a:cxn>
                  <a:cxn ang="0">
                    <a:pos x="179" y="30"/>
                  </a:cxn>
                  <a:cxn ang="0">
                    <a:pos x="180" y="14"/>
                  </a:cxn>
                  <a:cxn ang="0">
                    <a:pos x="176" y="10"/>
                  </a:cxn>
                  <a:cxn ang="0">
                    <a:pos x="173" y="0"/>
                  </a:cxn>
                  <a:cxn ang="0">
                    <a:pos x="159" y="10"/>
                  </a:cxn>
                  <a:cxn ang="0">
                    <a:pos x="156" y="16"/>
                  </a:cxn>
                  <a:cxn ang="0">
                    <a:pos x="143" y="21"/>
                  </a:cxn>
                  <a:cxn ang="0">
                    <a:pos x="136" y="24"/>
                  </a:cxn>
                  <a:cxn ang="0">
                    <a:pos x="126" y="25"/>
                  </a:cxn>
                  <a:cxn ang="0">
                    <a:pos x="116" y="23"/>
                  </a:cxn>
                  <a:cxn ang="0">
                    <a:pos x="106" y="20"/>
                  </a:cxn>
                  <a:cxn ang="0">
                    <a:pos x="95" y="18"/>
                  </a:cxn>
                  <a:cxn ang="0">
                    <a:pos x="82" y="17"/>
                  </a:cxn>
                  <a:cxn ang="0">
                    <a:pos x="74" y="23"/>
                  </a:cxn>
                  <a:cxn ang="0">
                    <a:pos x="68" y="27"/>
                  </a:cxn>
                  <a:cxn ang="0">
                    <a:pos x="59" y="43"/>
                  </a:cxn>
                  <a:cxn ang="0">
                    <a:pos x="41" y="51"/>
                  </a:cxn>
                  <a:cxn ang="0">
                    <a:pos x="35" y="58"/>
                  </a:cxn>
                  <a:cxn ang="0">
                    <a:pos x="27" y="57"/>
                  </a:cxn>
                  <a:cxn ang="0">
                    <a:pos x="15" y="54"/>
                  </a:cxn>
                  <a:cxn ang="0">
                    <a:pos x="8" y="61"/>
                  </a:cxn>
                  <a:cxn ang="0">
                    <a:pos x="2" y="74"/>
                  </a:cxn>
                  <a:cxn ang="0">
                    <a:pos x="1" y="88"/>
                  </a:cxn>
                  <a:cxn ang="0">
                    <a:pos x="0" y="99"/>
                  </a:cxn>
                  <a:cxn ang="0">
                    <a:pos x="2" y="117"/>
                  </a:cxn>
                  <a:cxn ang="0">
                    <a:pos x="11" y="126"/>
                  </a:cxn>
                  <a:cxn ang="0">
                    <a:pos x="18" y="132"/>
                  </a:cxn>
                  <a:cxn ang="0">
                    <a:pos x="5" y="151"/>
                  </a:cxn>
                  <a:cxn ang="0">
                    <a:pos x="5" y="159"/>
                  </a:cxn>
                  <a:cxn ang="0">
                    <a:pos x="31" y="162"/>
                  </a:cxn>
                  <a:cxn ang="0">
                    <a:pos x="95" y="155"/>
                  </a:cxn>
                  <a:cxn ang="0">
                    <a:pos x="94" y="138"/>
                  </a:cxn>
                  <a:cxn ang="0">
                    <a:pos x="106" y="131"/>
                  </a:cxn>
                  <a:cxn ang="0">
                    <a:pos x="118" y="128"/>
                  </a:cxn>
                  <a:cxn ang="0">
                    <a:pos x="125" y="122"/>
                  </a:cxn>
                  <a:cxn ang="0">
                    <a:pos x="135" y="122"/>
                  </a:cxn>
                  <a:cxn ang="0">
                    <a:pos x="142" y="115"/>
                  </a:cxn>
                  <a:cxn ang="0">
                    <a:pos x="148" y="98"/>
                  </a:cxn>
                  <a:cxn ang="0">
                    <a:pos x="158" y="94"/>
                  </a:cxn>
                  <a:cxn ang="0">
                    <a:pos x="152" y="82"/>
                  </a:cxn>
                  <a:cxn ang="0">
                    <a:pos x="162" y="82"/>
                  </a:cxn>
                  <a:cxn ang="0">
                    <a:pos x="170" y="81"/>
                  </a:cxn>
                  <a:cxn ang="0">
                    <a:pos x="172" y="68"/>
                  </a:cxn>
                  <a:cxn ang="0">
                    <a:pos x="180" y="57"/>
                  </a:cxn>
                  <a:cxn ang="0">
                    <a:pos x="177" y="48"/>
                  </a:cxn>
                  <a:cxn ang="0">
                    <a:pos x="176" y="41"/>
                  </a:cxn>
                  <a:cxn ang="0">
                    <a:pos x="182" y="38"/>
                  </a:cxn>
                  <a:cxn ang="0">
                    <a:pos x="195" y="33"/>
                  </a:cxn>
                  <a:cxn ang="0">
                    <a:pos x="212" y="30"/>
                  </a:cxn>
                  <a:cxn ang="0">
                    <a:pos x="227" y="24"/>
                  </a:cxn>
                  <a:cxn ang="0">
                    <a:pos x="220" y="23"/>
                  </a:cxn>
                </a:cxnLst>
                <a:rect l="0" t="0" r="r" b="b"/>
                <a:pathLst>
                  <a:path w="227" h="162">
                    <a:moveTo>
                      <a:pt x="220" y="23"/>
                    </a:moveTo>
                    <a:lnTo>
                      <a:pt x="220" y="23"/>
                    </a:lnTo>
                    <a:lnTo>
                      <a:pt x="217" y="23"/>
                    </a:lnTo>
                    <a:lnTo>
                      <a:pt x="216" y="21"/>
                    </a:lnTo>
                    <a:lnTo>
                      <a:pt x="213" y="18"/>
                    </a:lnTo>
                    <a:lnTo>
                      <a:pt x="213" y="18"/>
                    </a:lnTo>
                    <a:lnTo>
                      <a:pt x="210" y="18"/>
                    </a:lnTo>
                    <a:lnTo>
                      <a:pt x="206" y="21"/>
                    </a:lnTo>
                    <a:lnTo>
                      <a:pt x="196" y="30"/>
                    </a:lnTo>
                    <a:lnTo>
                      <a:pt x="196" y="30"/>
                    </a:lnTo>
                    <a:lnTo>
                      <a:pt x="187" y="33"/>
                    </a:lnTo>
                    <a:lnTo>
                      <a:pt x="187" y="33"/>
                    </a:lnTo>
                    <a:lnTo>
                      <a:pt x="183" y="34"/>
                    </a:lnTo>
                    <a:lnTo>
                      <a:pt x="180" y="33"/>
                    </a:lnTo>
                    <a:lnTo>
                      <a:pt x="180" y="33"/>
                    </a:lnTo>
                    <a:lnTo>
                      <a:pt x="179" y="30"/>
                    </a:lnTo>
                    <a:lnTo>
                      <a:pt x="179" y="28"/>
                    </a:lnTo>
                    <a:lnTo>
                      <a:pt x="180" y="23"/>
                    </a:lnTo>
                    <a:lnTo>
                      <a:pt x="182" y="17"/>
                    </a:lnTo>
                    <a:lnTo>
                      <a:pt x="180" y="14"/>
                    </a:lnTo>
                    <a:lnTo>
                      <a:pt x="179" y="13"/>
                    </a:lnTo>
                    <a:lnTo>
                      <a:pt x="179" y="13"/>
                    </a:lnTo>
                    <a:lnTo>
                      <a:pt x="177" y="11"/>
                    </a:lnTo>
                    <a:lnTo>
                      <a:pt x="176" y="10"/>
                    </a:lnTo>
                    <a:lnTo>
                      <a:pt x="176" y="6"/>
                    </a:lnTo>
                    <a:lnTo>
                      <a:pt x="175" y="1"/>
                    </a:lnTo>
                    <a:lnTo>
                      <a:pt x="175" y="0"/>
                    </a:lnTo>
                    <a:lnTo>
                      <a:pt x="173" y="0"/>
                    </a:lnTo>
                    <a:lnTo>
                      <a:pt x="173" y="0"/>
                    </a:lnTo>
                    <a:lnTo>
                      <a:pt x="167" y="1"/>
                    </a:lnTo>
                    <a:lnTo>
                      <a:pt x="163" y="6"/>
                    </a:lnTo>
                    <a:lnTo>
                      <a:pt x="159" y="10"/>
                    </a:lnTo>
                    <a:lnTo>
                      <a:pt x="158" y="14"/>
                    </a:lnTo>
                    <a:lnTo>
                      <a:pt x="158" y="14"/>
                    </a:lnTo>
                    <a:lnTo>
                      <a:pt x="158" y="16"/>
                    </a:lnTo>
                    <a:lnTo>
                      <a:pt x="156" y="16"/>
                    </a:lnTo>
                    <a:lnTo>
                      <a:pt x="150" y="17"/>
                    </a:lnTo>
                    <a:lnTo>
                      <a:pt x="145" y="18"/>
                    </a:lnTo>
                    <a:lnTo>
                      <a:pt x="143" y="20"/>
                    </a:lnTo>
                    <a:lnTo>
                      <a:pt x="143" y="21"/>
                    </a:lnTo>
                    <a:lnTo>
                      <a:pt x="143" y="21"/>
                    </a:lnTo>
                    <a:lnTo>
                      <a:pt x="142" y="23"/>
                    </a:lnTo>
                    <a:lnTo>
                      <a:pt x="140" y="23"/>
                    </a:lnTo>
                    <a:lnTo>
                      <a:pt x="136" y="24"/>
                    </a:lnTo>
                    <a:lnTo>
                      <a:pt x="130" y="24"/>
                    </a:lnTo>
                    <a:lnTo>
                      <a:pt x="128" y="24"/>
                    </a:lnTo>
                    <a:lnTo>
                      <a:pt x="126" y="25"/>
                    </a:lnTo>
                    <a:lnTo>
                      <a:pt x="126" y="25"/>
                    </a:lnTo>
                    <a:lnTo>
                      <a:pt x="125" y="27"/>
                    </a:lnTo>
                    <a:lnTo>
                      <a:pt x="123" y="27"/>
                    </a:lnTo>
                    <a:lnTo>
                      <a:pt x="121" y="25"/>
                    </a:lnTo>
                    <a:lnTo>
                      <a:pt x="116" y="23"/>
                    </a:lnTo>
                    <a:lnTo>
                      <a:pt x="112" y="23"/>
                    </a:lnTo>
                    <a:lnTo>
                      <a:pt x="112" y="23"/>
                    </a:lnTo>
                    <a:lnTo>
                      <a:pt x="109" y="21"/>
                    </a:lnTo>
                    <a:lnTo>
                      <a:pt x="106" y="20"/>
                    </a:lnTo>
                    <a:lnTo>
                      <a:pt x="103" y="17"/>
                    </a:lnTo>
                    <a:lnTo>
                      <a:pt x="99" y="17"/>
                    </a:lnTo>
                    <a:lnTo>
                      <a:pt x="99" y="17"/>
                    </a:lnTo>
                    <a:lnTo>
                      <a:pt x="95" y="18"/>
                    </a:lnTo>
                    <a:lnTo>
                      <a:pt x="92" y="17"/>
                    </a:lnTo>
                    <a:lnTo>
                      <a:pt x="86" y="16"/>
                    </a:lnTo>
                    <a:lnTo>
                      <a:pt x="86" y="16"/>
                    </a:lnTo>
                    <a:lnTo>
                      <a:pt x="82" y="17"/>
                    </a:lnTo>
                    <a:lnTo>
                      <a:pt x="79" y="20"/>
                    </a:lnTo>
                    <a:lnTo>
                      <a:pt x="76" y="23"/>
                    </a:lnTo>
                    <a:lnTo>
                      <a:pt x="75" y="23"/>
                    </a:lnTo>
                    <a:lnTo>
                      <a:pt x="74" y="23"/>
                    </a:lnTo>
                    <a:lnTo>
                      <a:pt x="74" y="23"/>
                    </a:lnTo>
                    <a:lnTo>
                      <a:pt x="72" y="23"/>
                    </a:lnTo>
                    <a:lnTo>
                      <a:pt x="69" y="24"/>
                    </a:lnTo>
                    <a:lnTo>
                      <a:pt x="68" y="27"/>
                    </a:lnTo>
                    <a:lnTo>
                      <a:pt x="64" y="38"/>
                    </a:lnTo>
                    <a:lnTo>
                      <a:pt x="64" y="38"/>
                    </a:lnTo>
                    <a:lnTo>
                      <a:pt x="62" y="41"/>
                    </a:lnTo>
                    <a:lnTo>
                      <a:pt x="59" y="43"/>
                    </a:lnTo>
                    <a:lnTo>
                      <a:pt x="51" y="45"/>
                    </a:lnTo>
                    <a:lnTo>
                      <a:pt x="44" y="48"/>
                    </a:lnTo>
                    <a:lnTo>
                      <a:pt x="42" y="50"/>
                    </a:lnTo>
                    <a:lnTo>
                      <a:pt x="41" y="51"/>
                    </a:lnTo>
                    <a:lnTo>
                      <a:pt x="41" y="51"/>
                    </a:lnTo>
                    <a:lnTo>
                      <a:pt x="41" y="54"/>
                    </a:lnTo>
                    <a:lnTo>
                      <a:pt x="39" y="57"/>
                    </a:lnTo>
                    <a:lnTo>
                      <a:pt x="35" y="58"/>
                    </a:lnTo>
                    <a:lnTo>
                      <a:pt x="29" y="60"/>
                    </a:lnTo>
                    <a:lnTo>
                      <a:pt x="28" y="58"/>
                    </a:lnTo>
                    <a:lnTo>
                      <a:pt x="27" y="57"/>
                    </a:lnTo>
                    <a:lnTo>
                      <a:pt x="27" y="57"/>
                    </a:lnTo>
                    <a:lnTo>
                      <a:pt x="25" y="55"/>
                    </a:lnTo>
                    <a:lnTo>
                      <a:pt x="21" y="54"/>
                    </a:lnTo>
                    <a:lnTo>
                      <a:pt x="15" y="54"/>
                    </a:lnTo>
                    <a:lnTo>
                      <a:pt x="15" y="54"/>
                    </a:lnTo>
                    <a:lnTo>
                      <a:pt x="14" y="54"/>
                    </a:lnTo>
                    <a:lnTo>
                      <a:pt x="11" y="54"/>
                    </a:lnTo>
                    <a:lnTo>
                      <a:pt x="10" y="57"/>
                    </a:lnTo>
                    <a:lnTo>
                      <a:pt x="8" y="61"/>
                    </a:lnTo>
                    <a:lnTo>
                      <a:pt x="8" y="61"/>
                    </a:lnTo>
                    <a:lnTo>
                      <a:pt x="8" y="65"/>
                    </a:lnTo>
                    <a:lnTo>
                      <a:pt x="5" y="70"/>
                    </a:lnTo>
                    <a:lnTo>
                      <a:pt x="2" y="74"/>
                    </a:lnTo>
                    <a:lnTo>
                      <a:pt x="2" y="74"/>
                    </a:lnTo>
                    <a:lnTo>
                      <a:pt x="0" y="81"/>
                    </a:lnTo>
                    <a:lnTo>
                      <a:pt x="0" y="84"/>
                    </a:lnTo>
                    <a:lnTo>
                      <a:pt x="1" y="88"/>
                    </a:lnTo>
                    <a:lnTo>
                      <a:pt x="1" y="88"/>
                    </a:lnTo>
                    <a:lnTo>
                      <a:pt x="1" y="91"/>
                    </a:lnTo>
                    <a:lnTo>
                      <a:pt x="0" y="95"/>
                    </a:lnTo>
                    <a:lnTo>
                      <a:pt x="0" y="99"/>
                    </a:lnTo>
                    <a:lnTo>
                      <a:pt x="1" y="105"/>
                    </a:lnTo>
                    <a:lnTo>
                      <a:pt x="1" y="105"/>
                    </a:lnTo>
                    <a:lnTo>
                      <a:pt x="2" y="111"/>
                    </a:lnTo>
                    <a:lnTo>
                      <a:pt x="2" y="117"/>
                    </a:lnTo>
                    <a:lnTo>
                      <a:pt x="2" y="124"/>
                    </a:lnTo>
                    <a:lnTo>
                      <a:pt x="2" y="124"/>
                    </a:lnTo>
                    <a:lnTo>
                      <a:pt x="5" y="125"/>
                    </a:lnTo>
                    <a:lnTo>
                      <a:pt x="11" y="126"/>
                    </a:lnTo>
                    <a:lnTo>
                      <a:pt x="15" y="128"/>
                    </a:lnTo>
                    <a:lnTo>
                      <a:pt x="18" y="129"/>
                    </a:lnTo>
                    <a:lnTo>
                      <a:pt x="18" y="132"/>
                    </a:lnTo>
                    <a:lnTo>
                      <a:pt x="18" y="132"/>
                    </a:lnTo>
                    <a:lnTo>
                      <a:pt x="20" y="135"/>
                    </a:lnTo>
                    <a:lnTo>
                      <a:pt x="17" y="138"/>
                    </a:lnTo>
                    <a:lnTo>
                      <a:pt x="12" y="144"/>
                    </a:lnTo>
                    <a:lnTo>
                      <a:pt x="5" y="151"/>
                    </a:lnTo>
                    <a:lnTo>
                      <a:pt x="2" y="155"/>
                    </a:lnTo>
                    <a:lnTo>
                      <a:pt x="2" y="155"/>
                    </a:lnTo>
                    <a:lnTo>
                      <a:pt x="2" y="156"/>
                    </a:lnTo>
                    <a:lnTo>
                      <a:pt x="5" y="159"/>
                    </a:lnTo>
                    <a:lnTo>
                      <a:pt x="5" y="159"/>
                    </a:lnTo>
                    <a:lnTo>
                      <a:pt x="18" y="161"/>
                    </a:lnTo>
                    <a:lnTo>
                      <a:pt x="31" y="162"/>
                    </a:lnTo>
                    <a:lnTo>
                      <a:pt x="31" y="162"/>
                    </a:lnTo>
                    <a:lnTo>
                      <a:pt x="45" y="162"/>
                    </a:lnTo>
                    <a:lnTo>
                      <a:pt x="66" y="159"/>
                    </a:lnTo>
                    <a:lnTo>
                      <a:pt x="86" y="156"/>
                    </a:lnTo>
                    <a:lnTo>
                      <a:pt x="95" y="155"/>
                    </a:lnTo>
                    <a:lnTo>
                      <a:pt x="95" y="155"/>
                    </a:lnTo>
                    <a:lnTo>
                      <a:pt x="94" y="146"/>
                    </a:lnTo>
                    <a:lnTo>
                      <a:pt x="94" y="138"/>
                    </a:lnTo>
                    <a:lnTo>
                      <a:pt x="94" y="138"/>
                    </a:lnTo>
                    <a:lnTo>
                      <a:pt x="95" y="136"/>
                    </a:lnTo>
                    <a:lnTo>
                      <a:pt x="98" y="134"/>
                    </a:lnTo>
                    <a:lnTo>
                      <a:pt x="102" y="131"/>
                    </a:lnTo>
                    <a:lnTo>
                      <a:pt x="106" y="131"/>
                    </a:lnTo>
                    <a:lnTo>
                      <a:pt x="106" y="131"/>
                    </a:lnTo>
                    <a:lnTo>
                      <a:pt x="113" y="131"/>
                    </a:lnTo>
                    <a:lnTo>
                      <a:pt x="116" y="131"/>
                    </a:lnTo>
                    <a:lnTo>
                      <a:pt x="118" y="128"/>
                    </a:lnTo>
                    <a:lnTo>
                      <a:pt x="118" y="128"/>
                    </a:lnTo>
                    <a:lnTo>
                      <a:pt x="118" y="126"/>
                    </a:lnTo>
                    <a:lnTo>
                      <a:pt x="119" y="125"/>
                    </a:lnTo>
                    <a:lnTo>
                      <a:pt x="125" y="122"/>
                    </a:lnTo>
                    <a:lnTo>
                      <a:pt x="130" y="121"/>
                    </a:lnTo>
                    <a:lnTo>
                      <a:pt x="133" y="121"/>
                    </a:lnTo>
                    <a:lnTo>
                      <a:pt x="135" y="122"/>
                    </a:lnTo>
                    <a:lnTo>
                      <a:pt x="135" y="122"/>
                    </a:lnTo>
                    <a:lnTo>
                      <a:pt x="136" y="124"/>
                    </a:lnTo>
                    <a:lnTo>
                      <a:pt x="138" y="124"/>
                    </a:lnTo>
                    <a:lnTo>
                      <a:pt x="140" y="121"/>
                    </a:lnTo>
                    <a:lnTo>
                      <a:pt x="142" y="115"/>
                    </a:lnTo>
                    <a:lnTo>
                      <a:pt x="142" y="115"/>
                    </a:lnTo>
                    <a:lnTo>
                      <a:pt x="142" y="104"/>
                    </a:lnTo>
                    <a:lnTo>
                      <a:pt x="143" y="99"/>
                    </a:lnTo>
                    <a:lnTo>
                      <a:pt x="148" y="98"/>
                    </a:lnTo>
                    <a:lnTo>
                      <a:pt x="148" y="98"/>
                    </a:lnTo>
                    <a:lnTo>
                      <a:pt x="150" y="97"/>
                    </a:lnTo>
                    <a:lnTo>
                      <a:pt x="155" y="95"/>
                    </a:lnTo>
                    <a:lnTo>
                      <a:pt x="158" y="94"/>
                    </a:lnTo>
                    <a:lnTo>
                      <a:pt x="158" y="91"/>
                    </a:lnTo>
                    <a:lnTo>
                      <a:pt x="158" y="91"/>
                    </a:lnTo>
                    <a:lnTo>
                      <a:pt x="155" y="85"/>
                    </a:lnTo>
                    <a:lnTo>
                      <a:pt x="152" y="82"/>
                    </a:lnTo>
                    <a:lnTo>
                      <a:pt x="153" y="81"/>
                    </a:lnTo>
                    <a:lnTo>
                      <a:pt x="153" y="81"/>
                    </a:lnTo>
                    <a:lnTo>
                      <a:pt x="156" y="81"/>
                    </a:lnTo>
                    <a:lnTo>
                      <a:pt x="162" y="82"/>
                    </a:lnTo>
                    <a:lnTo>
                      <a:pt x="167" y="82"/>
                    </a:lnTo>
                    <a:lnTo>
                      <a:pt x="169" y="82"/>
                    </a:lnTo>
                    <a:lnTo>
                      <a:pt x="170" y="81"/>
                    </a:lnTo>
                    <a:lnTo>
                      <a:pt x="170" y="81"/>
                    </a:lnTo>
                    <a:lnTo>
                      <a:pt x="172" y="78"/>
                    </a:lnTo>
                    <a:lnTo>
                      <a:pt x="172" y="75"/>
                    </a:lnTo>
                    <a:lnTo>
                      <a:pt x="172" y="71"/>
                    </a:lnTo>
                    <a:lnTo>
                      <a:pt x="172" y="68"/>
                    </a:lnTo>
                    <a:lnTo>
                      <a:pt x="172" y="68"/>
                    </a:lnTo>
                    <a:lnTo>
                      <a:pt x="177" y="62"/>
                    </a:lnTo>
                    <a:lnTo>
                      <a:pt x="179" y="60"/>
                    </a:lnTo>
                    <a:lnTo>
                      <a:pt x="180" y="57"/>
                    </a:lnTo>
                    <a:lnTo>
                      <a:pt x="180" y="57"/>
                    </a:lnTo>
                    <a:lnTo>
                      <a:pt x="179" y="52"/>
                    </a:lnTo>
                    <a:lnTo>
                      <a:pt x="179" y="50"/>
                    </a:lnTo>
                    <a:lnTo>
                      <a:pt x="177" y="48"/>
                    </a:lnTo>
                    <a:lnTo>
                      <a:pt x="177" y="48"/>
                    </a:lnTo>
                    <a:lnTo>
                      <a:pt x="175" y="45"/>
                    </a:lnTo>
                    <a:lnTo>
                      <a:pt x="175" y="43"/>
                    </a:lnTo>
                    <a:lnTo>
                      <a:pt x="176" y="41"/>
                    </a:lnTo>
                    <a:lnTo>
                      <a:pt x="179" y="40"/>
                    </a:lnTo>
                    <a:lnTo>
                      <a:pt x="179" y="40"/>
                    </a:lnTo>
                    <a:lnTo>
                      <a:pt x="182" y="38"/>
                    </a:lnTo>
                    <a:lnTo>
                      <a:pt x="182" y="38"/>
                    </a:lnTo>
                    <a:lnTo>
                      <a:pt x="186" y="37"/>
                    </a:lnTo>
                    <a:lnTo>
                      <a:pt x="190" y="35"/>
                    </a:lnTo>
                    <a:lnTo>
                      <a:pt x="190" y="35"/>
                    </a:lnTo>
                    <a:lnTo>
                      <a:pt x="195" y="33"/>
                    </a:lnTo>
                    <a:lnTo>
                      <a:pt x="202" y="30"/>
                    </a:lnTo>
                    <a:lnTo>
                      <a:pt x="207" y="28"/>
                    </a:lnTo>
                    <a:lnTo>
                      <a:pt x="212" y="30"/>
                    </a:lnTo>
                    <a:lnTo>
                      <a:pt x="212" y="30"/>
                    </a:lnTo>
                    <a:lnTo>
                      <a:pt x="214" y="30"/>
                    </a:lnTo>
                    <a:lnTo>
                      <a:pt x="219" y="30"/>
                    </a:lnTo>
                    <a:lnTo>
                      <a:pt x="223" y="27"/>
                    </a:lnTo>
                    <a:lnTo>
                      <a:pt x="227" y="24"/>
                    </a:lnTo>
                    <a:lnTo>
                      <a:pt x="227" y="24"/>
                    </a:lnTo>
                    <a:lnTo>
                      <a:pt x="223" y="23"/>
                    </a:lnTo>
                    <a:lnTo>
                      <a:pt x="220" y="23"/>
                    </a:lnTo>
                    <a:lnTo>
                      <a:pt x="220" y="2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89" name="Pakistan"/>
              <p:cNvSpPr>
                <a:spLocks/>
              </p:cNvSpPr>
              <p:nvPr/>
            </p:nvSpPr>
            <p:spPr bwMode="auto">
              <a:xfrm>
                <a:off x="5766186" y="3383395"/>
                <a:ext cx="393622" cy="355148"/>
              </a:xfrm>
              <a:custGeom>
                <a:avLst/>
                <a:gdLst/>
                <a:ahLst/>
                <a:cxnLst>
                  <a:cxn ang="0">
                    <a:pos x="245" y="13"/>
                  </a:cxn>
                  <a:cxn ang="0">
                    <a:pos x="231" y="1"/>
                  </a:cxn>
                  <a:cxn ang="0">
                    <a:pos x="218" y="3"/>
                  </a:cxn>
                  <a:cxn ang="0">
                    <a:pos x="202" y="4"/>
                  </a:cxn>
                  <a:cxn ang="0">
                    <a:pos x="181" y="13"/>
                  </a:cxn>
                  <a:cxn ang="0">
                    <a:pos x="171" y="17"/>
                  </a:cxn>
                  <a:cxn ang="0">
                    <a:pos x="174" y="26"/>
                  </a:cxn>
                  <a:cxn ang="0">
                    <a:pos x="172" y="38"/>
                  </a:cxn>
                  <a:cxn ang="0">
                    <a:pos x="167" y="54"/>
                  </a:cxn>
                  <a:cxn ang="0">
                    <a:pos x="157" y="58"/>
                  </a:cxn>
                  <a:cxn ang="0">
                    <a:pos x="150" y="61"/>
                  </a:cxn>
                  <a:cxn ang="0">
                    <a:pos x="145" y="73"/>
                  </a:cxn>
                  <a:cxn ang="0">
                    <a:pos x="137" y="91"/>
                  </a:cxn>
                  <a:cxn ang="0">
                    <a:pos x="130" y="98"/>
                  </a:cxn>
                  <a:cxn ang="0">
                    <a:pos x="114" y="101"/>
                  </a:cxn>
                  <a:cxn ang="0">
                    <a:pos x="108" y="107"/>
                  </a:cxn>
                  <a:cxn ang="0">
                    <a:pos x="90" y="112"/>
                  </a:cxn>
                  <a:cxn ang="0">
                    <a:pos x="90" y="131"/>
                  </a:cxn>
                  <a:cxn ang="0">
                    <a:pos x="26" y="138"/>
                  </a:cxn>
                  <a:cxn ang="0">
                    <a:pos x="7" y="144"/>
                  </a:cxn>
                  <a:cxn ang="0">
                    <a:pos x="24" y="158"/>
                  </a:cxn>
                  <a:cxn ang="0">
                    <a:pos x="30" y="174"/>
                  </a:cxn>
                  <a:cxn ang="0">
                    <a:pos x="37" y="182"/>
                  </a:cxn>
                  <a:cxn ang="0">
                    <a:pos x="29" y="189"/>
                  </a:cxn>
                  <a:cxn ang="0">
                    <a:pos x="12" y="203"/>
                  </a:cxn>
                  <a:cxn ang="0">
                    <a:pos x="30" y="212"/>
                  </a:cxn>
                  <a:cxn ang="0">
                    <a:pos x="47" y="208"/>
                  </a:cxn>
                  <a:cxn ang="0">
                    <a:pos x="66" y="211"/>
                  </a:cxn>
                  <a:cxn ang="0">
                    <a:pos x="89" y="208"/>
                  </a:cxn>
                  <a:cxn ang="0">
                    <a:pos x="96" y="216"/>
                  </a:cxn>
                  <a:cxn ang="0">
                    <a:pos x="103" y="229"/>
                  </a:cxn>
                  <a:cxn ang="0">
                    <a:pos x="117" y="238"/>
                  </a:cxn>
                  <a:cxn ang="0">
                    <a:pos x="121" y="239"/>
                  </a:cxn>
                  <a:cxn ang="0">
                    <a:pos x="141" y="229"/>
                  </a:cxn>
                  <a:cxn ang="0">
                    <a:pos x="158" y="228"/>
                  </a:cxn>
                  <a:cxn ang="0">
                    <a:pos x="162" y="218"/>
                  </a:cxn>
                  <a:cxn ang="0">
                    <a:pos x="150" y="194"/>
                  </a:cxn>
                  <a:cxn ang="0">
                    <a:pos x="141" y="185"/>
                  </a:cxn>
                  <a:cxn ang="0">
                    <a:pos x="145" y="174"/>
                  </a:cxn>
                  <a:cxn ang="0">
                    <a:pos x="161" y="169"/>
                  </a:cxn>
                  <a:cxn ang="0">
                    <a:pos x="168" y="166"/>
                  </a:cxn>
                  <a:cxn ang="0">
                    <a:pos x="182" y="159"/>
                  </a:cxn>
                  <a:cxn ang="0">
                    <a:pos x="190" y="151"/>
                  </a:cxn>
                  <a:cxn ang="0">
                    <a:pos x="204" y="131"/>
                  </a:cxn>
                  <a:cxn ang="0">
                    <a:pos x="212" y="122"/>
                  </a:cxn>
                  <a:cxn ang="0">
                    <a:pos x="221" y="114"/>
                  </a:cxn>
                  <a:cxn ang="0">
                    <a:pos x="224" y="102"/>
                  </a:cxn>
                  <a:cxn ang="0">
                    <a:pos x="232" y="90"/>
                  </a:cxn>
                  <a:cxn ang="0">
                    <a:pos x="224" y="83"/>
                  </a:cxn>
                  <a:cxn ang="0">
                    <a:pos x="215" y="68"/>
                  </a:cxn>
                  <a:cxn ang="0">
                    <a:pos x="212" y="53"/>
                  </a:cxn>
                  <a:cxn ang="0">
                    <a:pos x="221" y="44"/>
                  </a:cxn>
                  <a:cxn ang="0">
                    <a:pos x="244" y="48"/>
                  </a:cxn>
                  <a:cxn ang="0">
                    <a:pos x="263" y="37"/>
                  </a:cxn>
                </a:cxnLst>
                <a:rect l="0" t="0" r="r" b="b"/>
                <a:pathLst>
                  <a:path w="266" h="240">
                    <a:moveTo>
                      <a:pt x="254" y="26"/>
                    </a:moveTo>
                    <a:lnTo>
                      <a:pt x="254" y="26"/>
                    </a:lnTo>
                    <a:lnTo>
                      <a:pt x="249" y="21"/>
                    </a:lnTo>
                    <a:lnTo>
                      <a:pt x="246" y="19"/>
                    </a:lnTo>
                    <a:lnTo>
                      <a:pt x="245" y="13"/>
                    </a:lnTo>
                    <a:lnTo>
                      <a:pt x="245" y="13"/>
                    </a:lnTo>
                    <a:lnTo>
                      <a:pt x="244" y="11"/>
                    </a:lnTo>
                    <a:lnTo>
                      <a:pt x="241" y="9"/>
                    </a:lnTo>
                    <a:lnTo>
                      <a:pt x="231" y="1"/>
                    </a:lnTo>
                    <a:lnTo>
                      <a:pt x="231" y="1"/>
                    </a:lnTo>
                    <a:lnTo>
                      <a:pt x="225" y="1"/>
                    </a:lnTo>
                    <a:lnTo>
                      <a:pt x="225" y="1"/>
                    </a:lnTo>
                    <a:lnTo>
                      <a:pt x="222" y="0"/>
                    </a:lnTo>
                    <a:lnTo>
                      <a:pt x="222" y="0"/>
                    </a:lnTo>
                    <a:lnTo>
                      <a:pt x="218" y="3"/>
                    </a:lnTo>
                    <a:lnTo>
                      <a:pt x="214" y="6"/>
                    </a:lnTo>
                    <a:lnTo>
                      <a:pt x="209" y="6"/>
                    </a:lnTo>
                    <a:lnTo>
                      <a:pt x="207" y="6"/>
                    </a:lnTo>
                    <a:lnTo>
                      <a:pt x="207" y="6"/>
                    </a:lnTo>
                    <a:lnTo>
                      <a:pt x="202" y="4"/>
                    </a:lnTo>
                    <a:lnTo>
                      <a:pt x="197" y="6"/>
                    </a:lnTo>
                    <a:lnTo>
                      <a:pt x="190" y="9"/>
                    </a:lnTo>
                    <a:lnTo>
                      <a:pt x="185" y="11"/>
                    </a:lnTo>
                    <a:lnTo>
                      <a:pt x="185" y="11"/>
                    </a:lnTo>
                    <a:lnTo>
                      <a:pt x="181" y="13"/>
                    </a:lnTo>
                    <a:lnTo>
                      <a:pt x="177" y="14"/>
                    </a:lnTo>
                    <a:lnTo>
                      <a:pt x="177" y="14"/>
                    </a:lnTo>
                    <a:lnTo>
                      <a:pt x="174" y="16"/>
                    </a:lnTo>
                    <a:lnTo>
                      <a:pt x="174" y="16"/>
                    </a:lnTo>
                    <a:lnTo>
                      <a:pt x="171" y="17"/>
                    </a:lnTo>
                    <a:lnTo>
                      <a:pt x="170" y="19"/>
                    </a:lnTo>
                    <a:lnTo>
                      <a:pt x="170" y="21"/>
                    </a:lnTo>
                    <a:lnTo>
                      <a:pt x="172" y="24"/>
                    </a:lnTo>
                    <a:lnTo>
                      <a:pt x="172" y="24"/>
                    </a:lnTo>
                    <a:lnTo>
                      <a:pt x="174" y="26"/>
                    </a:lnTo>
                    <a:lnTo>
                      <a:pt x="174" y="28"/>
                    </a:lnTo>
                    <a:lnTo>
                      <a:pt x="175" y="33"/>
                    </a:lnTo>
                    <a:lnTo>
                      <a:pt x="175" y="33"/>
                    </a:lnTo>
                    <a:lnTo>
                      <a:pt x="174" y="36"/>
                    </a:lnTo>
                    <a:lnTo>
                      <a:pt x="172" y="38"/>
                    </a:lnTo>
                    <a:lnTo>
                      <a:pt x="167" y="44"/>
                    </a:lnTo>
                    <a:lnTo>
                      <a:pt x="167" y="44"/>
                    </a:lnTo>
                    <a:lnTo>
                      <a:pt x="167" y="47"/>
                    </a:lnTo>
                    <a:lnTo>
                      <a:pt x="167" y="51"/>
                    </a:lnTo>
                    <a:lnTo>
                      <a:pt x="167" y="54"/>
                    </a:lnTo>
                    <a:lnTo>
                      <a:pt x="165" y="57"/>
                    </a:lnTo>
                    <a:lnTo>
                      <a:pt x="165" y="57"/>
                    </a:lnTo>
                    <a:lnTo>
                      <a:pt x="164" y="58"/>
                    </a:lnTo>
                    <a:lnTo>
                      <a:pt x="162" y="58"/>
                    </a:lnTo>
                    <a:lnTo>
                      <a:pt x="157" y="58"/>
                    </a:lnTo>
                    <a:lnTo>
                      <a:pt x="151" y="57"/>
                    </a:lnTo>
                    <a:lnTo>
                      <a:pt x="148" y="57"/>
                    </a:lnTo>
                    <a:lnTo>
                      <a:pt x="148" y="57"/>
                    </a:lnTo>
                    <a:lnTo>
                      <a:pt x="147" y="58"/>
                    </a:lnTo>
                    <a:lnTo>
                      <a:pt x="150" y="61"/>
                    </a:lnTo>
                    <a:lnTo>
                      <a:pt x="153" y="67"/>
                    </a:lnTo>
                    <a:lnTo>
                      <a:pt x="153" y="67"/>
                    </a:lnTo>
                    <a:lnTo>
                      <a:pt x="153" y="70"/>
                    </a:lnTo>
                    <a:lnTo>
                      <a:pt x="150" y="71"/>
                    </a:lnTo>
                    <a:lnTo>
                      <a:pt x="145" y="73"/>
                    </a:lnTo>
                    <a:lnTo>
                      <a:pt x="143" y="74"/>
                    </a:lnTo>
                    <a:lnTo>
                      <a:pt x="143" y="74"/>
                    </a:lnTo>
                    <a:lnTo>
                      <a:pt x="138" y="75"/>
                    </a:lnTo>
                    <a:lnTo>
                      <a:pt x="137" y="80"/>
                    </a:lnTo>
                    <a:lnTo>
                      <a:pt x="137" y="91"/>
                    </a:lnTo>
                    <a:lnTo>
                      <a:pt x="137" y="91"/>
                    </a:lnTo>
                    <a:lnTo>
                      <a:pt x="135" y="97"/>
                    </a:lnTo>
                    <a:lnTo>
                      <a:pt x="133" y="100"/>
                    </a:lnTo>
                    <a:lnTo>
                      <a:pt x="131" y="100"/>
                    </a:lnTo>
                    <a:lnTo>
                      <a:pt x="130" y="98"/>
                    </a:lnTo>
                    <a:lnTo>
                      <a:pt x="130" y="98"/>
                    </a:lnTo>
                    <a:lnTo>
                      <a:pt x="128" y="97"/>
                    </a:lnTo>
                    <a:lnTo>
                      <a:pt x="125" y="97"/>
                    </a:lnTo>
                    <a:lnTo>
                      <a:pt x="120" y="98"/>
                    </a:lnTo>
                    <a:lnTo>
                      <a:pt x="114" y="101"/>
                    </a:lnTo>
                    <a:lnTo>
                      <a:pt x="113" y="102"/>
                    </a:lnTo>
                    <a:lnTo>
                      <a:pt x="113" y="104"/>
                    </a:lnTo>
                    <a:lnTo>
                      <a:pt x="113" y="104"/>
                    </a:lnTo>
                    <a:lnTo>
                      <a:pt x="111" y="107"/>
                    </a:lnTo>
                    <a:lnTo>
                      <a:pt x="108" y="107"/>
                    </a:lnTo>
                    <a:lnTo>
                      <a:pt x="101" y="107"/>
                    </a:lnTo>
                    <a:lnTo>
                      <a:pt x="101" y="107"/>
                    </a:lnTo>
                    <a:lnTo>
                      <a:pt x="97" y="107"/>
                    </a:lnTo>
                    <a:lnTo>
                      <a:pt x="93" y="110"/>
                    </a:lnTo>
                    <a:lnTo>
                      <a:pt x="90" y="112"/>
                    </a:lnTo>
                    <a:lnTo>
                      <a:pt x="89" y="114"/>
                    </a:lnTo>
                    <a:lnTo>
                      <a:pt x="89" y="114"/>
                    </a:lnTo>
                    <a:lnTo>
                      <a:pt x="89" y="122"/>
                    </a:lnTo>
                    <a:lnTo>
                      <a:pt x="90" y="131"/>
                    </a:lnTo>
                    <a:lnTo>
                      <a:pt x="90" y="131"/>
                    </a:lnTo>
                    <a:lnTo>
                      <a:pt x="81" y="132"/>
                    </a:lnTo>
                    <a:lnTo>
                      <a:pt x="61" y="135"/>
                    </a:lnTo>
                    <a:lnTo>
                      <a:pt x="40" y="138"/>
                    </a:lnTo>
                    <a:lnTo>
                      <a:pt x="26" y="138"/>
                    </a:lnTo>
                    <a:lnTo>
                      <a:pt x="26" y="138"/>
                    </a:lnTo>
                    <a:lnTo>
                      <a:pt x="13" y="137"/>
                    </a:lnTo>
                    <a:lnTo>
                      <a:pt x="0" y="135"/>
                    </a:lnTo>
                    <a:lnTo>
                      <a:pt x="0" y="135"/>
                    </a:lnTo>
                    <a:lnTo>
                      <a:pt x="5" y="139"/>
                    </a:lnTo>
                    <a:lnTo>
                      <a:pt x="7" y="144"/>
                    </a:lnTo>
                    <a:lnTo>
                      <a:pt x="7" y="144"/>
                    </a:lnTo>
                    <a:lnTo>
                      <a:pt x="10" y="148"/>
                    </a:lnTo>
                    <a:lnTo>
                      <a:pt x="15" y="152"/>
                    </a:lnTo>
                    <a:lnTo>
                      <a:pt x="19" y="155"/>
                    </a:lnTo>
                    <a:lnTo>
                      <a:pt x="24" y="158"/>
                    </a:lnTo>
                    <a:lnTo>
                      <a:pt x="24" y="158"/>
                    </a:lnTo>
                    <a:lnTo>
                      <a:pt x="27" y="159"/>
                    </a:lnTo>
                    <a:lnTo>
                      <a:pt x="29" y="162"/>
                    </a:lnTo>
                    <a:lnTo>
                      <a:pt x="30" y="168"/>
                    </a:lnTo>
                    <a:lnTo>
                      <a:pt x="30" y="174"/>
                    </a:lnTo>
                    <a:lnTo>
                      <a:pt x="32" y="175"/>
                    </a:lnTo>
                    <a:lnTo>
                      <a:pt x="32" y="176"/>
                    </a:lnTo>
                    <a:lnTo>
                      <a:pt x="32" y="176"/>
                    </a:lnTo>
                    <a:lnTo>
                      <a:pt x="34" y="178"/>
                    </a:lnTo>
                    <a:lnTo>
                      <a:pt x="37" y="182"/>
                    </a:lnTo>
                    <a:lnTo>
                      <a:pt x="39" y="186"/>
                    </a:lnTo>
                    <a:lnTo>
                      <a:pt x="37" y="188"/>
                    </a:lnTo>
                    <a:lnTo>
                      <a:pt x="36" y="188"/>
                    </a:lnTo>
                    <a:lnTo>
                      <a:pt x="36" y="188"/>
                    </a:lnTo>
                    <a:lnTo>
                      <a:pt x="29" y="189"/>
                    </a:lnTo>
                    <a:lnTo>
                      <a:pt x="22" y="192"/>
                    </a:lnTo>
                    <a:lnTo>
                      <a:pt x="22" y="192"/>
                    </a:lnTo>
                    <a:lnTo>
                      <a:pt x="17" y="195"/>
                    </a:lnTo>
                    <a:lnTo>
                      <a:pt x="15" y="199"/>
                    </a:lnTo>
                    <a:lnTo>
                      <a:pt x="12" y="203"/>
                    </a:lnTo>
                    <a:lnTo>
                      <a:pt x="12" y="209"/>
                    </a:lnTo>
                    <a:lnTo>
                      <a:pt x="12" y="209"/>
                    </a:lnTo>
                    <a:lnTo>
                      <a:pt x="12" y="213"/>
                    </a:lnTo>
                    <a:lnTo>
                      <a:pt x="12" y="213"/>
                    </a:lnTo>
                    <a:lnTo>
                      <a:pt x="30" y="212"/>
                    </a:lnTo>
                    <a:lnTo>
                      <a:pt x="39" y="212"/>
                    </a:lnTo>
                    <a:lnTo>
                      <a:pt x="42" y="211"/>
                    </a:lnTo>
                    <a:lnTo>
                      <a:pt x="42" y="211"/>
                    </a:lnTo>
                    <a:lnTo>
                      <a:pt x="44" y="209"/>
                    </a:lnTo>
                    <a:lnTo>
                      <a:pt x="47" y="208"/>
                    </a:lnTo>
                    <a:lnTo>
                      <a:pt x="52" y="208"/>
                    </a:lnTo>
                    <a:lnTo>
                      <a:pt x="54" y="209"/>
                    </a:lnTo>
                    <a:lnTo>
                      <a:pt x="54" y="209"/>
                    </a:lnTo>
                    <a:lnTo>
                      <a:pt x="59" y="211"/>
                    </a:lnTo>
                    <a:lnTo>
                      <a:pt x="66" y="211"/>
                    </a:lnTo>
                    <a:lnTo>
                      <a:pt x="73" y="211"/>
                    </a:lnTo>
                    <a:lnTo>
                      <a:pt x="80" y="209"/>
                    </a:lnTo>
                    <a:lnTo>
                      <a:pt x="80" y="209"/>
                    </a:lnTo>
                    <a:lnTo>
                      <a:pt x="86" y="206"/>
                    </a:lnTo>
                    <a:lnTo>
                      <a:pt x="89" y="208"/>
                    </a:lnTo>
                    <a:lnTo>
                      <a:pt x="91" y="209"/>
                    </a:lnTo>
                    <a:lnTo>
                      <a:pt x="93" y="212"/>
                    </a:lnTo>
                    <a:lnTo>
                      <a:pt x="93" y="212"/>
                    </a:lnTo>
                    <a:lnTo>
                      <a:pt x="93" y="215"/>
                    </a:lnTo>
                    <a:lnTo>
                      <a:pt x="96" y="216"/>
                    </a:lnTo>
                    <a:lnTo>
                      <a:pt x="100" y="221"/>
                    </a:lnTo>
                    <a:lnTo>
                      <a:pt x="100" y="221"/>
                    </a:lnTo>
                    <a:lnTo>
                      <a:pt x="101" y="223"/>
                    </a:lnTo>
                    <a:lnTo>
                      <a:pt x="101" y="226"/>
                    </a:lnTo>
                    <a:lnTo>
                      <a:pt x="103" y="229"/>
                    </a:lnTo>
                    <a:lnTo>
                      <a:pt x="103" y="232"/>
                    </a:lnTo>
                    <a:lnTo>
                      <a:pt x="103" y="232"/>
                    </a:lnTo>
                    <a:lnTo>
                      <a:pt x="106" y="235"/>
                    </a:lnTo>
                    <a:lnTo>
                      <a:pt x="108" y="235"/>
                    </a:lnTo>
                    <a:lnTo>
                      <a:pt x="117" y="238"/>
                    </a:lnTo>
                    <a:lnTo>
                      <a:pt x="117" y="238"/>
                    </a:lnTo>
                    <a:lnTo>
                      <a:pt x="120" y="240"/>
                    </a:lnTo>
                    <a:lnTo>
                      <a:pt x="120" y="240"/>
                    </a:lnTo>
                    <a:lnTo>
                      <a:pt x="121" y="239"/>
                    </a:lnTo>
                    <a:lnTo>
                      <a:pt x="121" y="239"/>
                    </a:lnTo>
                    <a:lnTo>
                      <a:pt x="125" y="230"/>
                    </a:lnTo>
                    <a:lnTo>
                      <a:pt x="130" y="229"/>
                    </a:lnTo>
                    <a:lnTo>
                      <a:pt x="135" y="229"/>
                    </a:lnTo>
                    <a:lnTo>
                      <a:pt x="135" y="229"/>
                    </a:lnTo>
                    <a:lnTo>
                      <a:pt x="141" y="229"/>
                    </a:lnTo>
                    <a:lnTo>
                      <a:pt x="144" y="229"/>
                    </a:lnTo>
                    <a:lnTo>
                      <a:pt x="147" y="228"/>
                    </a:lnTo>
                    <a:lnTo>
                      <a:pt x="151" y="228"/>
                    </a:lnTo>
                    <a:lnTo>
                      <a:pt x="151" y="228"/>
                    </a:lnTo>
                    <a:lnTo>
                      <a:pt x="158" y="228"/>
                    </a:lnTo>
                    <a:lnTo>
                      <a:pt x="161" y="228"/>
                    </a:lnTo>
                    <a:lnTo>
                      <a:pt x="162" y="225"/>
                    </a:lnTo>
                    <a:lnTo>
                      <a:pt x="162" y="225"/>
                    </a:lnTo>
                    <a:lnTo>
                      <a:pt x="164" y="222"/>
                    </a:lnTo>
                    <a:lnTo>
                      <a:pt x="162" y="218"/>
                    </a:lnTo>
                    <a:lnTo>
                      <a:pt x="157" y="211"/>
                    </a:lnTo>
                    <a:lnTo>
                      <a:pt x="157" y="211"/>
                    </a:lnTo>
                    <a:lnTo>
                      <a:pt x="153" y="203"/>
                    </a:lnTo>
                    <a:lnTo>
                      <a:pt x="150" y="198"/>
                    </a:lnTo>
                    <a:lnTo>
                      <a:pt x="150" y="194"/>
                    </a:lnTo>
                    <a:lnTo>
                      <a:pt x="150" y="194"/>
                    </a:lnTo>
                    <a:lnTo>
                      <a:pt x="150" y="192"/>
                    </a:lnTo>
                    <a:lnTo>
                      <a:pt x="148" y="189"/>
                    </a:lnTo>
                    <a:lnTo>
                      <a:pt x="145" y="188"/>
                    </a:lnTo>
                    <a:lnTo>
                      <a:pt x="141" y="185"/>
                    </a:lnTo>
                    <a:lnTo>
                      <a:pt x="140" y="184"/>
                    </a:lnTo>
                    <a:lnTo>
                      <a:pt x="140" y="182"/>
                    </a:lnTo>
                    <a:lnTo>
                      <a:pt x="140" y="182"/>
                    </a:lnTo>
                    <a:lnTo>
                      <a:pt x="141" y="178"/>
                    </a:lnTo>
                    <a:lnTo>
                      <a:pt x="145" y="174"/>
                    </a:lnTo>
                    <a:lnTo>
                      <a:pt x="153" y="166"/>
                    </a:lnTo>
                    <a:lnTo>
                      <a:pt x="153" y="166"/>
                    </a:lnTo>
                    <a:lnTo>
                      <a:pt x="154" y="166"/>
                    </a:lnTo>
                    <a:lnTo>
                      <a:pt x="158" y="168"/>
                    </a:lnTo>
                    <a:lnTo>
                      <a:pt x="161" y="169"/>
                    </a:lnTo>
                    <a:lnTo>
                      <a:pt x="162" y="169"/>
                    </a:lnTo>
                    <a:lnTo>
                      <a:pt x="164" y="168"/>
                    </a:lnTo>
                    <a:lnTo>
                      <a:pt x="164" y="168"/>
                    </a:lnTo>
                    <a:lnTo>
                      <a:pt x="165" y="166"/>
                    </a:lnTo>
                    <a:lnTo>
                      <a:pt x="168" y="166"/>
                    </a:lnTo>
                    <a:lnTo>
                      <a:pt x="175" y="168"/>
                    </a:lnTo>
                    <a:lnTo>
                      <a:pt x="175" y="168"/>
                    </a:lnTo>
                    <a:lnTo>
                      <a:pt x="177" y="166"/>
                    </a:lnTo>
                    <a:lnTo>
                      <a:pt x="180" y="164"/>
                    </a:lnTo>
                    <a:lnTo>
                      <a:pt x="182" y="159"/>
                    </a:lnTo>
                    <a:lnTo>
                      <a:pt x="184" y="155"/>
                    </a:lnTo>
                    <a:lnTo>
                      <a:pt x="184" y="155"/>
                    </a:lnTo>
                    <a:lnTo>
                      <a:pt x="184" y="154"/>
                    </a:lnTo>
                    <a:lnTo>
                      <a:pt x="185" y="152"/>
                    </a:lnTo>
                    <a:lnTo>
                      <a:pt x="190" y="151"/>
                    </a:lnTo>
                    <a:lnTo>
                      <a:pt x="197" y="148"/>
                    </a:lnTo>
                    <a:lnTo>
                      <a:pt x="197" y="148"/>
                    </a:lnTo>
                    <a:lnTo>
                      <a:pt x="201" y="139"/>
                    </a:lnTo>
                    <a:lnTo>
                      <a:pt x="204" y="131"/>
                    </a:lnTo>
                    <a:lnTo>
                      <a:pt x="204" y="131"/>
                    </a:lnTo>
                    <a:lnTo>
                      <a:pt x="205" y="129"/>
                    </a:lnTo>
                    <a:lnTo>
                      <a:pt x="208" y="128"/>
                    </a:lnTo>
                    <a:lnTo>
                      <a:pt x="211" y="127"/>
                    </a:lnTo>
                    <a:lnTo>
                      <a:pt x="212" y="125"/>
                    </a:lnTo>
                    <a:lnTo>
                      <a:pt x="212" y="122"/>
                    </a:lnTo>
                    <a:lnTo>
                      <a:pt x="212" y="122"/>
                    </a:lnTo>
                    <a:lnTo>
                      <a:pt x="214" y="118"/>
                    </a:lnTo>
                    <a:lnTo>
                      <a:pt x="215" y="115"/>
                    </a:lnTo>
                    <a:lnTo>
                      <a:pt x="218" y="114"/>
                    </a:lnTo>
                    <a:lnTo>
                      <a:pt x="221" y="114"/>
                    </a:lnTo>
                    <a:lnTo>
                      <a:pt x="221" y="114"/>
                    </a:lnTo>
                    <a:lnTo>
                      <a:pt x="222" y="112"/>
                    </a:lnTo>
                    <a:lnTo>
                      <a:pt x="224" y="110"/>
                    </a:lnTo>
                    <a:lnTo>
                      <a:pt x="224" y="102"/>
                    </a:lnTo>
                    <a:lnTo>
                      <a:pt x="224" y="102"/>
                    </a:lnTo>
                    <a:lnTo>
                      <a:pt x="224" y="98"/>
                    </a:lnTo>
                    <a:lnTo>
                      <a:pt x="226" y="94"/>
                    </a:lnTo>
                    <a:lnTo>
                      <a:pt x="228" y="91"/>
                    </a:lnTo>
                    <a:lnTo>
                      <a:pt x="232" y="90"/>
                    </a:lnTo>
                    <a:lnTo>
                      <a:pt x="232" y="90"/>
                    </a:lnTo>
                    <a:lnTo>
                      <a:pt x="234" y="90"/>
                    </a:lnTo>
                    <a:lnTo>
                      <a:pt x="234" y="88"/>
                    </a:lnTo>
                    <a:lnTo>
                      <a:pt x="232" y="85"/>
                    </a:lnTo>
                    <a:lnTo>
                      <a:pt x="228" y="83"/>
                    </a:lnTo>
                    <a:lnTo>
                      <a:pt x="224" y="83"/>
                    </a:lnTo>
                    <a:lnTo>
                      <a:pt x="224" y="83"/>
                    </a:lnTo>
                    <a:lnTo>
                      <a:pt x="222" y="83"/>
                    </a:lnTo>
                    <a:lnTo>
                      <a:pt x="221" y="81"/>
                    </a:lnTo>
                    <a:lnTo>
                      <a:pt x="217" y="75"/>
                    </a:lnTo>
                    <a:lnTo>
                      <a:pt x="215" y="68"/>
                    </a:lnTo>
                    <a:lnTo>
                      <a:pt x="215" y="68"/>
                    </a:lnTo>
                    <a:lnTo>
                      <a:pt x="215" y="61"/>
                    </a:lnTo>
                    <a:lnTo>
                      <a:pt x="214" y="56"/>
                    </a:lnTo>
                    <a:lnTo>
                      <a:pt x="212" y="53"/>
                    </a:lnTo>
                    <a:lnTo>
                      <a:pt x="212" y="53"/>
                    </a:lnTo>
                    <a:lnTo>
                      <a:pt x="211" y="50"/>
                    </a:lnTo>
                    <a:lnTo>
                      <a:pt x="212" y="47"/>
                    </a:lnTo>
                    <a:lnTo>
                      <a:pt x="215" y="44"/>
                    </a:lnTo>
                    <a:lnTo>
                      <a:pt x="221" y="44"/>
                    </a:lnTo>
                    <a:lnTo>
                      <a:pt x="221" y="44"/>
                    </a:lnTo>
                    <a:lnTo>
                      <a:pt x="226" y="44"/>
                    </a:lnTo>
                    <a:lnTo>
                      <a:pt x="234" y="47"/>
                    </a:lnTo>
                    <a:lnTo>
                      <a:pt x="239" y="48"/>
                    </a:lnTo>
                    <a:lnTo>
                      <a:pt x="242" y="48"/>
                    </a:lnTo>
                    <a:lnTo>
                      <a:pt x="244" y="48"/>
                    </a:lnTo>
                    <a:lnTo>
                      <a:pt x="244" y="48"/>
                    </a:lnTo>
                    <a:lnTo>
                      <a:pt x="254" y="44"/>
                    </a:lnTo>
                    <a:lnTo>
                      <a:pt x="261" y="41"/>
                    </a:lnTo>
                    <a:lnTo>
                      <a:pt x="261" y="41"/>
                    </a:lnTo>
                    <a:lnTo>
                      <a:pt x="263" y="37"/>
                    </a:lnTo>
                    <a:lnTo>
                      <a:pt x="266" y="31"/>
                    </a:lnTo>
                    <a:lnTo>
                      <a:pt x="266" y="31"/>
                    </a:lnTo>
                    <a:lnTo>
                      <a:pt x="254" y="26"/>
                    </a:lnTo>
                    <a:lnTo>
                      <a:pt x="254" y="2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76" name="Iran"/>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29" name="Iraq"/>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30" name="Kuwait"/>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71" name="Yemen"/>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24" name="Oman"/>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25" name="Qata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26" name="UAE"/>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387" name="West Bank"/>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88" name="Israel"/>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389" name="Jordan"/>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83" name="Lebanon"/>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84" name="Syria"/>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grpSp>
        <p:grpSp>
          <p:nvGrpSpPr>
            <p:cNvPr id="8" name="Carribean">
              <a:extLst>
                <a:ext uri="{FF2B5EF4-FFF2-40B4-BE49-F238E27FC236}">
                  <a16:creationId xmlns:a16="http://schemas.microsoft.com/office/drawing/2014/main" id="{3DEEA847-DD0E-4E5F-85BD-95EBABD26E45}"/>
                </a:ext>
              </a:extLst>
            </p:cNvPr>
            <p:cNvGrpSpPr/>
            <p:nvPr/>
          </p:nvGrpSpPr>
          <p:grpSpPr>
            <a:xfrm>
              <a:off x="3823052" y="4160851"/>
              <a:ext cx="455774" cy="186453"/>
              <a:chOff x="2299052" y="3695629"/>
              <a:chExt cx="455774" cy="186453"/>
            </a:xfrm>
            <a:solidFill>
              <a:schemeClr val="bg1">
                <a:lumMod val="75000"/>
              </a:schemeClr>
            </a:solidFill>
          </p:grpSpPr>
          <p:sp>
            <p:nvSpPr>
              <p:cNvPr id="484" name="Bahamas"/>
              <p:cNvSpPr>
                <a:spLocks/>
              </p:cNvSpPr>
              <p:nvPr/>
            </p:nvSpPr>
            <p:spPr bwMode="auto">
              <a:xfrm>
                <a:off x="2448511" y="3695629"/>
                <a:ext cx="17758" cy="36995"/>
              </a:xfrm>
              <a:custGeom>
                <a:avLst/>
                <a:gdLst/>
                <a:ahLst/>
                <a:cxnLst>
                  <a:cxn ang="0">
                    <a:pos x="12" y="25"/>
                  </a:cxn>
                  <a:cxn ang="0">
                    <a:pos x="12" y="25"/>
                  </a:cxn>
                  <a:cxn ang="0">
                    <a:pos x="10" y="25"/>
                  </a:cxn>
                  <a:cxn ang="0">
                    <a:pos x="7" y="24"/>
                  </a:cxn>
                  <a:cxn ang="0">
                    <a:pos x="6" y="21"/>
                  </a:cxn>
                  <a:cxn ang="0">
                    <a:pos x="5" y="18"/>
                  </a:cxn>
                  <a:cxn ang="0">
                    <a:pos x="5" y="18"/>
                  </a:cxn>
                  <a:cxn ang="0">
                    <a:pos x="5" y="15"/>
                  </a:cxn>
                  <a:cxn ang="0">
                    <a:pos x="2" y="14"/>
                  </a:cxn>
                  <a:cxn ang="0">
                    <a:pos x="0" y="11"/>
                  </a:cxn>
                  <a:cxn ang="0">
                    <a:pos x="0" y="7"/>
                  </a:cxn>
                  <a:cxn ang="0">
                    <a:pos x="0" y="7"/>
                  </a:cxn>
                  <a:cxn ang="0">
                    <a:pos x="0" y="2"/>
                  </a:cxn>
                  <a:cxn ang="0">
                    <a:pos x="2" y="1"/>
                  </a:cxn>
                  <a:cxn ang="0">
                    <a:pos x="3" y="0"/>
                  </a:cxn>
                  <a:cxn ang="0">
                    <a:pos x="6" y="2"/>
                  </a:cxn>
                  <a:cxn ang="0">
                    <a:pos x="6" y="2"/>
                  </a:cxn>
                  <a:cxn ang="0">
                    <a:pos x="7" y="7"/>
                  </a:cxn>
                  <a:cxn ang="0">
                    <a:pos x="7" y="10"/>
                  </a:cxn>
                  <a:cxn ang="0">
                    <a:pos x="7" y="15"/>
                  </a:cxn>
                  <a:cxn ang="0">
                    <a:pos x="7" y="15"/>
                  </a:cxn>
                  <a:cxn ang="0">
                    <a:pos x="10" y="19"/>
                  </a:cxn>
                  <a:cxn ang="0">
                    <a:pos x="12" y="22"/>
                  </a:cxn>
                  <a:cxn ang="0">
                    <a:pos x="12" y="25"/>
                  </a:cxn>
                  <a:cxn ang="0">
                    <a:pos x="12" y="25"/>
                  </a:cxn>
                </a:cxnLst>
                <a:rect l="0" t="0" r="r" b="b"/>
                <a:pathLst>
                  <a:path w="12" h="25">
                    <a:moveTo>
                      <a:pt x="12" y="25"/>
                    </a:moveTo>
                    <a:lnTo>
                      <a:pt x="12" y="25"/>
                    </a:lnTo>
                    <a:lnTo>
                      <a:pt x="10" y="25"/>
                    </a:lnTo>
                    <a:lnTo>
                      <a:pt x="7" y="24"/>
                    </a:lnTo>
                    <a:lnTo>
                      <a:pt x="6" y="21"/>
                    </a:lnTo>
                    <a:lnTo>
                      <a:pt x="5" y="18"/>
                    </a:lnTo>
                    <a:lnTo>
                      <a:pt x="5" y="18"/>
                    </a:lnTo>
                    <a:lnTo>
                      <a:pt x="5" y="15"/>
                    </a:lnTo>
                    <a:lnTo>
                      <a:pt x="2" y="14"/>
                    </a:lnTo>
                    <a:lnTo>
                      <a:pt x="0" y="11"/>
                    </a:lnTo>
                    <a:lnTo>
                      <a:pt x="0" y="7"/>
                    </a:lnTo>
                    <a:lnTo>
                      <a:pt x="0" y="7"/>
                    </a:lnTo>
                    <a:lnTo>
                      <a:pt x="0" y="2"/>
                    </a:lnTo>
                    <a:lnTo>
                      <a:pt x="2" y="1"/>
                    </a:lnTo>
                    <a:lnTo>
                      <a:pt x="3" y="0"/>
                    </a:lnTo>
                    <a:lnTo>
                      <a:pt x="6" y="2"/>
                    </a:lnTo>
                    <a:lnTo>
                      <a:pt x="6" y="2"/>
                    </a:lnTo>
                    <a:lnTo>
                      <a:pt x="7" y="7"/>
                    </a:lnTo>
                    <a:lnTo>
                      <a:pt x="7" y="10"/>
                    </a:lnTo>
                    <a:lnTo>
                      <a:pt x="7" y="15"/>
                    </a:lnTo>
                    <a:lnTo>
                      <a:pt x="7" y="15"/>
                    </a:lnTo>
                    <a:lnTo>
                      <a:pt x="10" y="19"/>
                    </a:lnTo>
                    <a:lnTo>
                      <a:pt x="12" y="22"/>
                    </a:lnTo>
                    <a:lnTo>
                      <a:pt x="12" y="25"/>
                    </a:lnTo>
                    <a:lnTo>
                      <a:pt x="12" y="2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53" name="Puerto Rico"/>
              <p:cNvSpPr>
                <a:spLocks/>
              </p:cNvSpPr>
              <p:nvPr/>
            </p:nvSpPr>
            <p:spPr bwMode="auto">
              <a:xfrm>
                <a:off x="2714872" y="3861366"/>
                <a:ext cx="39954" cy="19238"/>
              </a:xfrm>
              <a:custGeom>
                <a:avLst/>
                <a:gdLst/>
                <a:ahLst/>
                <a:cxnLst>
                  <a:cxn ang="0">
                    <a:pos x="1" y="7"/>
                  </a:cxn>
                  <a:cxn ang="0">
                    <a:pos x="1" y="7"/>
                  </a:cxn>
                  <a:cxn ang="0">
                    <a:pos x="4" y="10"/>
                  </a:cxn>
                  <a:cxn ang="0">
                    <a:pos x="7" y="11"/>
                  </a:cxn>
                  <a:cxn ang="0">
                    <a:pos x="11" y="13"/>
                  </a:cxn>
                  <a:cxn ang="0">
                    <a:pos x="15" y="13"/>
                  </a:cxn>
                  <a:cxn ang="0">
                    <a:pos x="24" y="10"/>
                  </a:cxn>
                  <a:cxn ang="0">
                    <a:pos x="27" y="7"/>
                  </a:cxn>
                  <a:cxn ang="0">
                    <a:pos x="27" y="7"/>
                  </a:cxn>
                  <a:cxn ang="0">
                    <a:pos x="27" y="4"/>
                  </a:cxn>
                  <a:cxn ang="0">
                    <a:pos x="24" y="3"/>
                  </a:cxn>
                  <a:cxn ang="0">
                    <a:pos x="18" y="1"/>
                  </a:cxn>
                  <a:cxn ang="0">
                    <a:pos x="12" y="0"/>
                  </a:cxn>
                  <a:cxn ang="0">
                    <a:pos x="7" y="1"/>
                  </a:cxn>
                  <a:cxn ang="0">
                    <a:pos x="2" y="1"/>
                  </a:cxn>
                  <a:cxn ang="0">
                    <a:pos x="0" y="4"/>
                  </a:cxn>
                  <a:cxn ang="0">
                    <a:pos x="1" y="7"/>
                  </a:cxn>
                  <a:cxn ang="0">
                    <a:pos x="1" y="7"/>
                  </a:cxn>
                </a:cxnLst>
                <a:rect l="0" t="0" r="r" b="b"/>
                <a:pathLst>
                  <a:path w="27" h="13">
                    <a:moveTo>
                      <a:pt x="1" y="7"/>
                    </a:moveTo>
                    <a:lnTo>
                      <a:pt x="1" y="7"/>
                    </a:lnTo>
                    <a:lnTo>
                      <a:pt x="4" y="10"/>
                    </a:lnTo>
                    <a:lnTo>
                      <a:pt x="7" y="11"/>
                    </a:lnTo>
                    <a:lnTo>
                      <a:pt x="11" y="13"/>
                    </a:lnTo>
                    <a:lnTo>
                      <a:pt x="15" y="13"/>
                    </a:lnTo>
                    <a:lnTo>
                      <a:pt x="24" y="10"/>
                    </a:lnTo>
                    <a:lnTo>
                      <a:pt x="27" y="7"/>
                    </a:lnTo>
                    <a:lnTo>
                      <a:pt x="27" y="7"/>
                    </a:lnTo>
                    <a:lnTo>
                      <a:pt x="27" y="4"/>
                    </a:lnTo>
                    <a:lnTo>
                      <a:pt x="24" y="3"/>
                    </a:lnTo>
                    <a:lnTo>
                      <a:pt x="18" y="1"/>
                    </a:lnTo>
                    <a:lnTo>
                      <a:pt x="12" y="0"/>
                    </a:lnTo>
                    <a:lnTo>
                      <a:pt x="7" y="1"/>
                    </a:lnTo>
                    <a:lnTo>
                      <a:pt x="2" y="1"/>
                    </a:lnTo>
                    <a:lnTo>
                      <a:pt x="0" y="4"/>
                    </a:lnTo>
                    <a:lnTo>
                      <a:pt x="1" y="7"/>
                    </a:lnTo>
                    <a:lnTo>
                      <a:pt x="1" y="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37" name="Dominican Republic"/>
              <p:cNvSpPr>
                <a:spLocks/>
              </p:cNvSpPr>
              <p:nvPr/>
            </p:nvSpPr>
            <p:spPr bwMode="auto">
              <a:xfrm>
                <a:off x="2602409" y="3833249"/>
                <a:ext cx="79908" cy="47353"/>
              </a:xfrm>
              <a:custGeom>
                <a:avLst/>
                <a:gdLst/>
                <a:ahLst/>
                <a:cxnLst>
                  <a:cxn ang="0">
                    <a:pos x="22" y="25"/>
                  </a:cxn>
                  <a:cxn ang="0">
                    <a:pos x="22" y="25"/>
                  </a:cxn>
                  <a:cxn ang="0">
                    <a:pos x="26" y="23"/>
                  </a:cxn>
                  <a:cxn ang="0">
                    <a:pos x="31" y="23"/>
                  </a:cxn>
                  <a:cxn ang="0">
                    <a:pos x="43" y="23"/>
                  </a:cxn>
                  <a:cxn ang="0">
                    <a:pos x="51" y="23"/>
                  </a:cxn>
                  <a:cxn ang="0">
                    <a:pos x="54" y="22"/>
                  </a:cxn>
                  <a:cxn ang="0">
                    <a:pos x="54" y="18"/>
                  </a:cxn>
                  <a:cxn ang="0">
                    <a:pos x="54" y="18"/>
                  </a:cxn>
                  <a:cxn ang="0">
                    <a:pos x="53" y="15"/>
                  </a:cxn>
                  <a:cxn ang="0">
                    <a:pos x="50" y="10"/>
                  </a:cxn>
                  <a:cxn ang="0">
                    <a:pos x="43" y="8"/>
                  </a:cxn>
                  <a:cxn ang="0">
                    <a:pos x="37" y="5"/>
                  </a:cxn>
                  <a:cxn ang="0">
                    <a:pos x="23" y="0"/>
                  </a:cxn>
                  <a:cxn ang="0">
                    <a:pos x="16" y="0"/>
                  </a:cxn>
                  <a:cxn ang="0">
                    <a:pos x="12" y="0"/>
                  </a:cxn>
                  <a:cxn ang="0">
                    <a:pos x="12" y="0"/>
                  </a:cxn>
                  <a:cxn ang="0">
                    <a:pos x="9" y="0"/>
                  </a:cxn>
                  <a:cxn ang="0">
                    <a:pos x="3" y="0"/>
                  </a:cxn>
                  <a:cxn ang="0">
                    <a:pos x="3" y="0"/>
                  </a:cxn>
                  <a:cxn ang="0">
                    <a:pos x="0" y="30"/>
                  </a:cxn>
                  <a:cxn ang="0">
                    <a:pos x="0" y="30"/>
                  </a:cxn>
                  <a:cxn ang="0">
                    <a:pos x="2" y="32"/>
                  </a:cxn>
                  <a:cxn ang="0">
                    <a:pos x="2" y="32"/>
                  </a:cxn>
                  <a:cxn ang="0">
                    <a:pos x="4" y="32"/>
                  </a:cxn>
                  <a:cxn ang="0">
                    <a:pos x="9" y="30"/>
                  </a:cxn>
                  <a:cxn ang="0">
                    <a:pos x="13" y="27"/>
                  </a:cxn>
                  <a:cxn ang="0">
                    <a:pos x="22" y="25"/>
                  </a:cxn>
                  <a:cxn ang="0">
                    <a:pos x="22" y="25"/>
                  </a:cxn>
                </a:cxnLst>
                <a:rect l="0" t="0" r="r" b="b"/>
                <a:pathLst>
                  <a:path w="54" h="32">
                    <a:moveTo>
                      <a:pt x="22" y="25"/>
                    </a:moveTo>
                    <a:lnTo>
                      <a:pt x="22" y="25"/>
                    </a:lnTo>
                    <a:lnTo>
                      <a:pt x="26" y="23"/>
                    </a:lnTo>
                    <a:lnTo>
                      <a:pt x="31" y="23"/>
                    </a:lnTo>
                    <a:lnTo>
                      <a:pt x="43" y="23"/>
                    </a:lnTo>
                    <a:lnTo>
                      <a:pt x="51" y="23"/>
                    </a:lnTo>
                    <a:lnTo>
                      <a:pt x="54" y="22"/>
                    </a:lnTo>
                    <a:lnTo>
                      <a:pt x="54" y="18"/>
                    </a:lnTo>
                    <a:lnTo>
                      <a:pt x="54" y="18"/>
                    </a:lnTo>
                    <a:lnTo>
                      <a:pt x="53" y="15"/>
                    </a:lnTo>
                    <a:lnTo>
                      <a:pt x="50" y="10"/>
                    </a:lnTo>
                    <a:lnTo>
                      <a:pt x="43" y="8"/>
                    </a:lnTo>
                    <a:lnTo>
                      <a:pt x="37" y="5"/>
                    </a:lnTo>
                    <a:lnTo>
                      <a:pt x="23" y="0"/>
                    </a:lnTo>
                    <a:lnTo>
                      <a:pt x="16" y="0"/>
                    </a:lnTo>
                    <a:lnTo>
                      <a:pt x="12" y="0"/>
                    </a:lnTo>
                    <a:lnTo>
                      <a:pt x="12" y="0"/>
                    </a:lnTo>
                    <a:lnTo>
                      <a:pt x="9" y="0"/>
                    </a:lnTo>
                    <a:lnTo>
                      <a:pt x="3" y="0"/>
                    </a:lnTo>
                    <a:lnTo>
                      <a:pt x="3" y="0"/>
                    </a:lnTo>
                    <a:lnTo>
                      <a:pt x="0" y="30"/>
                    </a:lnTo>
                    <a:lnTo>
                      <a:pt x="0" y="30"/>
                    </a:lnTo>
                    <a:lnTo>
                      <a:pt x="2" y="32"/>
                    </a:lnTo>
                    <a:lnTo>
                      <a:pt x="2" y="32"/>
                    </a:lnTo>
                    <a:lnTo>
                      <a:pt x="4" y="32"/>
                    </a:lnTo>
                    <a:lnTo>
                      <a:pt x="9" y="30"/>
                    </a:lnTo>
                    <a:lnTo>
                      <a:pt x="13" y="27"/>
                    </a:lnTo>
                    <a:lnTo>
                      <a:pt x="22" y="25"/>
                    </a:lnTo>
                    <a:lnTo>
                      <a:pt x="22" y="2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36" name="Haiti"/>
              <p:cNvSpPr>
                <a:spLocks/>
              </p:cNvSpPr>
              <p:nvPr/>
            </p:nvSpPr>
            <p:spPr bwMode="auto">
              <a:xfrm>
                <a:off x="2540257" y="3825851"/>
                <a:ext cx="66591" cy="51792"/>
              </a:xfrm>
              <a:custGeom>
                <a:avLst/>
                <a:gdLst/>
                <a:ahLst/>
                <a:cxnLst>
                  <a:cxn ang="0">
                    <a:pos x="19" y="0"/>
                  </a:cxn>
                  <a:cxn ang="0">
                    <a:pos x="19" y="0"/>
                  </a:cxn>
                  <a:cxn ang="0">
                    <a:pos x="18" y="3"/>
                  </a:cxn>
                  <a:cxn ang="0">
                    <a:pos x="18" y="5"/>
                  </a:cxn>
                  <a:cxn ang="0">
                    <a:pos x="22" y="11"/>
                  </a:cxn>
                  <a:cxn ang="0">
                    <a:pos x="28" y="17"/>
                  </a:cxn>
                  <a:cxn ang="0">
                    <a:pos x="29" y="20"/>
                  </a:cxn>
                  <a:cxn ang="0">
                    <a:pos x="31" y="23"/>
                  </a:cxn>
                  <a:cxn ang="0">
                    <a:pos x="31" y="23"/>
                  </a:cxn>
                  <a:cxn ang="0">
                    <a:pos x="29" y="24"/>
                  </a:cxn>
                  <a:cxn ang="0">
                    <a:pos x="27" y="25"/>
                  </a:cxn>
                  <a:cxn ang="0">
                    <a:pos x="17" y="25"/>
                  </a:cxn>
                  <a:cxn ang="0">
                    <a:pos x="5" y="25"/>
                  </a:cxn>
                  <a:cxn ang="0">
                    <a:pos x="1" y="27"/>
                  </a:cxn>
                  <a:cxn ang="0">
                    <a:pos x="0" y="28"/>
                  </a:cxn>
                  <a:cxn ang="0">
                    <a:pos x="0" y="28"/>
                  </a:cxn>
                  <a:cxn ang="0">
                    <a:pos x="0" y="30"/>
                  </a:cxn>
                  <a:cxn ang="0">
                    <a:pos x="1" y="31"/>
                  </a:cxn>
                  <a:cxn ang="0">
                    <a:pos x="5" y="34"/>
                  </a:cxn>
                  <a:cxn ang="0">
                    <a:pos x="12" y="34"/>
                  </a:cxn>
                  <a:cxn ang="0">
                    <a:pos x="19" y="32"/>
                  </a:cxn>
                  <a:cxn ang="0">
                    <a:pos x="19" y="32"/>
                  </a:cxn>
                  <a:cxn ang="0">
                    <a:pos x="27" y="31"/>
                  </a:cxn>
                  <a:cxn ang="0">
                    <a:pos x="32" y="32"/>
                  </a:cxn>
                  <a:cxn ang="0">
                    <a:pos x="38" y="34"/>
                  </a:cxn>
                  <a:cxn ang="0">
                    <a:pos x="42" y="35"/>
                  </a:cxn>
                  <a:cxn ang="0">
                    <a:pos x="42" y="35"/>
                  </a:cxn>
                  <a:cxn ang="0">
                    <a:pos x="45" y="5"/>
                  </a:cxn>
                  <a:cxn ang="0">
                    <a:pos x="45" y="5"/>
                  </a:cxn>
                  <a:cxn ang="0">
                    <a:pos x="31" y="0"/>
                  </a:cxn>
                  <a:cxn ang="0">
                    <a:pos x="25" y="0"/>
                  </a:cxn>
                  <a:cxn ang="0">
                    <a:pos x="22" y="0"/>
                  </a:cxn>
                  <a:cxn ang="0">
                    <a:pos x="19" y="0"/>
                  </a:cxn>
                  <a:cxn ang="0">
                    <a:pos x="19" y="0"/>
                  </a:cxn>
                </a:cxnLst>
                <a:rect l="0" t="0" r="r" b="b"/>
                <a:pathLst>
                  <a:path w="45" h="35">
                    <a:moveTo>
                      <a:pt x="19" y="0"/>
                    </a:moveTo>
                    <a:lnTo>
                      <a:pt x="19" y="0"/>
                    </a:lnTo>
                    <a:lnTo>
                      <a:pt x="18" y="3"/>
                    </a:lnTo>
                    <a:lnTo>
                      <a:pt x="18" y="5"/>
                    </a:lnTo>
                    <a:lnTo>
                      <a:pt x="22" y="11"/>
                    </a:lnTo>
                    <a:lnTo>
                      <a:pt x="28" y="17"/>
                    </a:lnTo>
                    <a:lnTo>
                      <a:pt x="29" y="20"/>
                    </a:lnTo>
                    <a:lnTo>
                      <a:pt x="31" y="23"/>
                    </a:lnTo>
                    <a:lnTo>
                      <a:pt x="31" y="23"/>
                    </a:lnTo>
                    <a:lnTo>
                      <a:pt x="29" y="24"/>
                    </a:lnTo>
                    <a:lnTo>
                      <a:pt x="27" y="25"/>
                    </a:lnTo>
                    <a:lnTo>
                      <a:pt x="17" y="25"/>
                    </a:lnTo>
                    <a:lnTo>
                      <a:pt x="5" y="25"/>
                    </a:lnTo>
                    <a:lnTo>
                      <a:pt x="1" y="27"/>
                    </a:lnTo>
                    <a:lnTo>
                      <a:pt x="0" y="28"/>
                    </a:lnTo>
                    <a:lnTo>
                      <a:pt x="0" y="28"/>
                    </a:lnTo>
                    <a:lnTo>
                      <a:pt x="0" y="30"/>
                    </a:lnTo>
                    <a:lnTo>
                      <a:pt x="1" y="31"/>
                    </a:lnTo>
                    <a:lnTo>
                      <a:pt x="5" y="34"/>
                    </a:lnTo>
                    <a:lnTo>
                      <a:pt x="12" y="34"/>
                    </a:lnTo>
                    <a:lnTo>
                      <a:pt x="19" y="32"/>
                    </a:lnTo>
                    <a:lnTo>
                      <a:pt x="19" y="32"/>
                    </a:lnTo>
                    <a:lnTo>
                      <a:pt x="27" y="31"/>
                    </a:lnTo>
                    <a:lnTo>
                      <a:pt x="32" y="32"/>
                    </a:lnTo>
                    <a:lnTo>
                      <a:pt x="38" y="34"/>
                    </a:lnTo>
                    <a:lnTo>
                      <a:pt x="42" y="35"/>
                    </a:lnTo>
                    <a:lnTo>
                      <a:pt x="42" y="35"/>
                    </a:lnTo>
                    <a:lnTo>
                      <a:pt x="45" y="5"/>
                    </a:lnTo>
                    <a:lnTo>
                      <a:pt x="45" y="5"/>
                    </a:lnTo>
                    <a:lnTo>
                      <a:pt x="31" y="0"/>
                    </a:lnTo>
                    <a:lnTo>
                      <a:pt x="25" y="0"/>
                    </a:lnTo>
                    <a:lnTo>
                      <a:pt x="22" y="0"/>
                    </a:lnTo>
                    <a:lnTo>
                      <a:pt x="19" y="0"/>
                    </a:lnTo>
                    <a:lnTo>
                      <a:pt x="19"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52" name="Jamaica"/>
              <p:cNvSpPr>
                <a:spLocks/>
              </p:cNvSpPr>
              <p:nvPr/>
            </p:nvSpPr>
            <p:spPr bwMode="auto">
              <a:xfrm>
                <a:off x="2444071" y="3865804"/>
                <a:ext cx="48833" cy="16278"/>
              </a:xfrm>
              <a:custGeom>
                <a:avLst/>
                <a:gdLst/>
                <a:ahLst/>
                <a:cxnLst>
                  <a:cxn ang="0">
                    <a:pos x="0" y="3"/>
                  </a:cxn>
                  <a:cxn ang="0">
                    <a:pos x="0" y="3"/>
                  </a:cxn>
                  <a:cxn ang="0">
                    <a:pos x="3" y="4"/>
                  </a:cxn>
                  <a:cxn ang="0">
                    <a:pos x="8" y="7"/>
                  </a:cxn>
                  <a:cxn ang="0">
                    <a:pos x="18" y="10"/>
                  </a:cxn>
                  <a:cxn ang="0">
                    <a:pos x="28" y="11"/>
                  </a:cxn>
                  <a:cxn ang="0">
                    <a:pos x="32" y="10"/>
                  </a:cxn>
                  <a:cxn ang="0">
                    <a:pos x="33" y="8"/>
                  </a:cxn>
                  <a:cxn ang="0">
                    <a:pos x="33" y="8"/>
                  </a:cxn>
                  <a:cxn ang="0">
                    <a:pos x="33" y="7"/>
                  </a:cxn>
                  <a:cxn ang="0">
                    <a:pos x="33" y="5"/>
                  </a:cxn>
                  <a:cxn ang="0">
                    <a:pos x="29" y="4"/>
                  </a:cxn>
                  <a:cxn ang="0">
                    <a:pos x="18" y="1"/>
                  </a:cxn>
                  <a:cxn ang="0">
                    <a:pos x="5" y="0"/>
                  </a:cxn>
                  <a:cxn ang="0">
                    <a:pos x="2" y="1"/>
                  </a:cxn>
                  <a:cxn ang="0">
                    <a:pos x="0" y="1"/>
                  </a:cxn>
                  <a:cxn ang="0">
                    <a:pos x="0" y="3"/>
                  </a:cxn>
                  <a:cxn ang="0">
                    <a:pos x="0" y="3"/>
                  </a:cxn>
                </a:cxnLst>
                <a:rect l="0" t="0" r="r" b="b"/>
                <a:pathLst>
                  <a:path w="33" h="11">
                    <a:moveTo>
                      <a:pt x="0" y="3"/>
                    </a:moveTo>
                    <a:lnTo>
                      <a:pt x="0" y="3"/>
                    </a:lnTo>
                    <a:lnTo>
                      <a:pt x="3" y="4"/>
                    </a:lnTo>
                    <a:lnTo>
                      <a:pt x="8" y="7"/>
                    </a:lnTo>
                    <a:lnTo>
                      <a:pt x="18" y="10"/>
                    </a:lnTo>
                    <a:lnTo>
                      <a:pt x="28" y="11"/>
                    </a:lnTo>
                    <a:lnTo>
                      <a:pt x="32" y="10"/>
                    </a:lnTo>
                    <a:lnTo>
                      <a:pt x="33" y="8"/>
                    </a:lnTo>
                    <a:lnTo>
                      <a:pt x="33" y="8"/>
                    </a:lnTo>
                    <a:lnTo>
                      <a:pt x="33" y="7"/>
                    </a:lnTo>
                    <a:lnTo>
                      <a:pt x="33" y="5"/>
                    </a:lnTo>
                    <a:lnTo>
                      <a:pt x="29" y="4"/>
                    </a:lnTo>
                    <a:lnTo>
                      <a:pt x="18" y="1"/>
                    </a:lnTo>
                    <a:lnTo>
                      <a:pt x="5" y="0"/>
                    </a:lnTo>
                    <a:lnTo>
                      <a:pt x="2" y="1"/>
                    </a:lnTo>
                    <a:lnTo>
                      <a:pt x="0" y="1"/>
                    </a:lnTo>
                    <a:lnTo>
                      <a:pt x="0" y="3"/>
                    </a:lnTo>
                    <a:lnTo>
                      <a:pt x="0" y="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51" name="Cuba"/>
              <p:cNvSpPr>
                <a:spLocks/>
              </p:cNvSpPr>
              <p:nvPr/>
            </p:nvSpPr>
            <p:spPr bwMode="auto">
              <a:xfrm>
                <a:off x="2299052" y="3747422"/>
                <a:ext cx="244165" cy="79908"/>
              </a:xfrm>
              <a:custGeom>
                <a:avLst/>
                <a:gdLst/>
                <a:ahLst/>
                <a:cxnLst>
                  <a:cxn ang="0">
                    <a:pos x="135" y="33"/>
                  </a:cxn>
                  <a:cxn ang="0">
                    <a:pos x="135" y="33"/>
                  </a:cxn>
                  <a:cxn ang="0">
                    <a:pos x="130" y="33"/>
                  </a:cxn>
                  <a:cxn ang="0">
                    <a:pos x="123" y="30"/>
                  </a:cxn>
                  <a:cxn ang="0">
                    <a:pos x="104" y="20"/>
                  </a:cxn>
                  <a:cxn ang="0">
                    <a:pos x="81" y="10"/>
                  </a:cxn>
                  <a:cxn ang="0">
                    <a:pos x="70" y="6"/>
                  </a:cxn>
                  <a:cxn ang="0">
                    <a:pos x="57" y="2"/>
                  </a:cxn>
                  <a:cxn ang="0">
                    <a:pos x="57" y="2"/>
                  </a:cxn>
                  <a:cxn ang="0">
                    <a:pos x="46" y="0"/>
                  </a:cxn>
                  <a:cxn ang="0">
                    <a:pos x="34" y="2"/>
                  </a:cxn>
                  <a:cxn ang="0">
                    <a:pos x="25" y="4"/>
                  </a:cxn>
                  <a:cxn ang="0">
                    <a:pos x="16" y="7"/>
                  </a:cxn>
                  <a:cxn ang="0">
                    <a:pos x="9" y="12"/>
                  </a:cxn>
                  <a:cxn ang="0">
                    <a:pos x="5" y="16"/>
                  </a:cxn>
                  <a:cxn ang="0">
                    <a:pos x="2" y="20"/>
                  </a:cxn>
                  <a:cxn ang="0">
                    <a:pos x="0" y="21"/>
                  </a:cxn>
                  <a:cxn ang="0">
                    <a:pos x="0" y="21"/>
                  </a:cxn>
                  <a:cxn ang="0">
                    <a:pos x="3" y="23"/>
                  </a:cxn>
                  <a:cxn ang="0">
                    <a:pos x="6" y="23"/>
                  </a:cxn>
                  <a:cxn ang="0">
                    <a:pos x="13" y="20"/>
                  </a:cxn>
                  <a:cxn ang="0">
                    <a:pos x="29" y="9"/>
                  </a:cxn>
                  <a:cxn ang="0">
                    <a:pos x="29" y="9"/>
                  </a:cxn>
                  <a:cxn ang="0">
                    <a:pos x="32" y="7"/>
                  </a:cxn>
                  <a:cxn ang="0">
                    <a:pos x="34" y="7"/>
                  </a:cxn>
                  <a:cxn ang="0">
                    <a:pos x="39" y="9"/>
                  </a:cxn>
                  <a:cxn ang="0">
                    <a:pos x="43" y="13"/>
                  </a:cxn>
                  <a:cxn ang="0">
                    <a:pos x="44" y="16"/>
                  </a:cxn>
                  <a:cxn ang="0">
                    <a:pos x="44" y="16"/>
                  </a:cxn>
                  <a:cxn ang="0">
                    <a:pos x="46" y="19"/>
                  </a:cxn>
                  <a:cxn ang="0">
                    <a:pos x="52" y="20"/>
                  </a:cxn>
                  <a:cxn ang="0">
                    <a:pos x="71" y="21"/>
                  </a:cxn>
                  <a:cxn ang="0">
                    <a:pos x="71" y="21"/>
                  </a:cxn>
                  <a:cxn ang="0">
                    <a:pos x="77" y="23"/>
                  </a:cxn>
                  <a:cxn ang="0">
                    <a:pos x="81" y="24"/>
                  </a:cxn>
                  <a:cxn ang="0">
                    <a:pos x="89" y="30"/>
                  </a:cxn>
                  <a:cxn ang="0">
                    <a:pos x="96" y="36"/>
                  </a:cxn>
                  <a:cxn ang="0">
                    <a:pos x="100" y="39"/>
                  </a:cxn>
                  <a:cxn ang="0">
                    <a:pos x="106" y="40"/>
                  </a:cxn>
                  <a:cxn ang="0">
                    <a:pos x="106" y="40"/>
                  </a:cxn>
                  <a:cxn ang="0">
                    <a:pos x="110" y="41"/>
                  </a:cxn>
                  <a:cxn ang="0">
                    <a:pos x="113" y="43"/>
                  </a:cxn>
                  <a:cxn ang="0">
                    <a:pos x="113" y="44"/>
                  </a:cxn>
                  <a:cxn ang="0">
                    <a:pos x="113" y="47"/>
                  </a:cxn>
                  <a:cxn ang="0">
                    <a:pos x="111" y="50"/>
                  </a:cxn>
                  <a:cxn ang="0">
                    <a:pos x="111" y="51"/>
                  </a:cxn>
                  <a:cxn ang="0">
                    <a:pos x="113" y="53"/>
                  </a:cxn>
                  <a:cxn ang="0">
                    <a:pos x="113" y="53"/>
                  </a:cxn>
                  <a:cxn ang="0">
                    <a:pos x="124" y="54"/>
                  </a:cxn>
                  <a:cxn ang="0">
                    <a:pos x="141" y="54"/>
                  </a:cxn>
                  <a:cxn ang="0">
                    <a:pos x="157" y="53"/>
                  </a:cxn>
                  <a:cxn ang="0">
                    <a:pos x="163" y="53"/>
                  </a:cxn>
                  <a:cxn ang="0">
                    <a:pos x="165" y="51"/>
                  </a:cxn>
                  <a:cxn ang="0">
                    <a:pos x="165" y="51"/>
                  </a:cxn>
                  <a:cxn ang="0">
                    <a:pos x="165" y="50"/>
                  </a:cxn>
                  <a:cxn ang="0">
                    <a:pos x="163" y="47"/>
                  </a:cxn>
                  <a:cxn ang="0">
                    <a:pos x="155" y="41"/>
                  </a:cxn>
                  <a:cxn ang="0">
                    <a:pos x="145" y="36"/>
                  </a:cxn>
                  <a:cxn ang="0">
                    <a:pos x="140" y="34"/>
                  </a:cxn>
                  <a:cxn ang="0">
                    <a:pos x="135" y="33"/>
                  </a:cxn>
                  <a:cxn ang="0">
                    <a:pos x="135" y="33"/>
                  </a:cxn>
                </a:cxnLst>
                <a:rect l="0" t="0" r="r" b="b"/>
                <a:pathLst>
                  <a:path w="165" h="54">
                    <a:moveTo>
                      <a:pt x="135" y="33"/>
                    </a:moveTo>
                    <a:lnTo>
                      <a:pt x="135" y="33"/>
                    </a:lnTo>
                    <a:lnTo>
                      <a:pt x="130" y="33"/>
                    </a:lnTo>
                    <a:lnTo>
                      <a:pt x="123" y="30"/>
                    </a:lnTo>
                    <a:lnTo>
                      <a:pt x="104" y="20"/>
                    </a:lnTo>
                    <a:lnTo>
                      <a:pt x="81" y="10"/>
                    </a:lnTo>
                    <a:lnTo>
                      <a:pt x="70" y="6"/>
                    </a:lnTo>
                    <a:lnTo>
                      <a:pt x="57" y="2"/>
                    </a:lnTo>
                    <a:lnTo>
                      <a:pt x="57" y="2"/>
                    </a:lnTo>
                    <a:lnTo>
                      <a:pt x="46" y="0"/>
                    </a:lnTo>
                    <a:lnTo>
                      <a:pt x="34" y="2"/>
                    </a:lnTo>
                    <a:lnTo>
                      <a:pt x="25" y="4"/>
                    </a:lnTo>
                    <a:lnTo>
                      <a:pt x="16" y="7"/>
                    </a:lnTo>
                    <a:lnTo>
                      <a:pt x="9" y="12"/>
                    </a:lnTo>
                    <a:lnTo>
                      <a:pt x="5" y="16"/>
                    </a:lnTo>
                    <a:lnTo>
                      <a:pt x="2" y="20"/>
                    </a:lnTo>
                    <a:lnTo>
                      <a:pt x="0" y="21"/>
                    </a:lnTo>
                    <a:lnTo>
                      <a:pt x="0" y="21"/>
                    </a:lnTo>
                    <a:lnTo>
                      <a:pt x="3" y="23"/>
                    </a:lnTo>
                    <a:lnTo>
                      <a:pt x="6" y="23"/>
                    </a:lnTo>
                    <a:lnTo>
                      <a:pt x="13" y="20"/>
                    </a:lnTo>
                    <a:lnTo>
                      <a:pt x="29" y="9"/>
                    </a:lnTo>
                    <a:lnTo>
                      <a:pt x="29" y="9"/>
                    </a:lnTo>
                    <a:lnTo>
                      <a:pt x="32" y="7"/>
                    </a:lnTo>
                    <a:lnTo>
                      <a:pt x="34" y="7"/>
                    </a:lnTo>
                    <a:lnTo>
                      <a:pt x="39" y="9"/>
                    </a:lnTo>
                    <a:lnTo>
                      <a:pt x="43" y="13"/>
                    </a:lnTo>
                    <a:lnTo>
                      <a:pt x="44" y="16"/>
                    </a:lnTo>
                    <a:lnTo>
                      <a:pt x="44" y="16"/>
                    </a:lnTo>
                    <a:lnTo>
                      <a:pt x="46" y="19"/>
                    </a:lnTo>
                    <a:lnTo>
                      <a:pt x="52" y="20"/>
                    </a:lnTo>
                    <a:lnTo>
                      <a:pt x="71" y="21"/>
                    </a:lnTo>
                    <a:lnTo>
                      <a:pt x="71" y="21"/>
                    </a:lnTo>
                    <a:lnTo>
                      <a:pt x="77" y="23"/>
                    </a:lnTo>
                    <a:lnTo>
                      <a:pt x="81" y="24"/>
                    </a:lnTo>
                    <a:lnTo>
                      <a:pt x="89" y="30"/>
                    </a:lnTo>
                    <a:lnTo>
                      <a:pt x="96" y="36"/>
                    </a:lnTo>
                    <a:lnTo>
                      <a:pt x="100" y="39"/>
                    </a:lnTo>
                    <a:lnTo>
                      <a:pt x="106" y="40"/>
                    </a:lnTo>
                    <a:lnTo>
                      <a:pt x="106" y="40"/>
                    </a:lnTo>
                    <a:lnTo>
                      <a:pt x="110" y="41"/>
                    </a:lnTo>
                    <a:lnTo>
                      <a:pt x="113" y="43"/>
                    </a:lnTo>
                    <a:lnTo>
                      <a:pt x="113" y="44"/>
                    </a:lnTo>
                    <a:lnTo>
                      <a:pt x="113" y="47"/>
                    </a:lnTo>
                    <a:lnTo>
                      <a:pt x="111" y="50"/>
                    </a:lnTo>
                    <a:lnTo>
                      <a:pt x="111" y="51"/>
                    </a:lnTo>
                    <a:lnTo>
                      <a:pt x="113" y="53"/>
                    </a:lnTo>
                    <a:lnTo>
                      <a:pt x="113" y="53"/>
                    </a:lnTo>
                    <a:lnTo>
                      <a:pt x="124" y="54"/>
                    </a:lnTo>
                    <a:lnTo>
                      <a:pt x="141" y="54"/>
                    </a:lnTo>
                    <a:lnTo>
                      <a:pt x="157" y="53"/>
                    </a:lnTo>
                    <a:lnTo>
                      <a:pt x="163" y="53"/>
                    </a:lnTo>
                    <a:lnTo>
                      <a:pt x="165" y="51"/>
                    </a:lnTo>
                    <a:lnTo>
                      <a:pt x="165" y="51"/>
                    </a:lnTo>
                    <a:lnTo>
                      <a:pt x="165" y="50"/>
                    </a:lnTo>
                    <a:lnTo>
                      <a:pt x="163" y="47"/>
                    </a:lnTo>
                    <a:lnTo>
                      <a:pt x="155" y="41"/>
                    </a:lnTo>
                    <a:lnTo>
                      <a:pt x="145" y="36"/>
                    </a:lnTo>
                    <a:lnTo>
                      <a:pt x="140" y="34"/>
                    </a:lnTo>
                    <a:lnTo>
                      <a:pt x="135" y="33"/>
                    </a:lnTo>
                    <a:lnTo>
                      <a:pt x="135" y="3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grpSp>
        <p:grpSp>
          <p:nvGrpSpPr>
            <p:cNvPr id="7" name="Central America">
              <a:extLst>
                <a:ext uri="{FF2B5EF4-FFF2-40B4-BE49-F238E27FC236}">
                  <a16:creationId xmlns:a16="http://schemas.microsoft.com/office/drawing/2014/main" id="{B5F957BB-55BD-40FA-BB75-327A3E73B66C}"/>
                </a:ext>
              </a:extLst>
            </p:cNvPr>
            <p:cNvGrpSpPr/>
            <p:nvPr/>
          </p:nvGrpSpPr>
          <p:grpSpPr>
            <a:xfrm>
              <a:off x="3632161" y="4331026"/>
              <a:ext cx="368467" cy="273761"/>
              <a:chOff x="2108160" y="3865804"/>
              <a:chExt cx="368467" cy="273761"/>
            </a:xfrm>
            <a:solidFill>
              <a:schemeClr val="bg1">
                <a:lumMod val="75000"/>
              </a:schemeClr>
            </a:solidFill>
          </p:grpSpPr>
          <p:sp>
            <p:nvSpPr>
              <p:cNvPr id="435" name="Belize"/>
              <p:cNvSpPr>
                <a:spLocks/>
              </p:cNvSpPr>
              <p:nvPr/>
            </p:nvSpPr>
            <p:spPr bwMode="auto">
              <a:xfrm>
                <a:off x="2188069" y="3865804"/>
                <a:ext cx="31076" cy="62150"/>
              </a:xfrm>
              <a:custGeom>
                <a:avLst/>
                <a:gdLst/>
                <a:ahLst/>
                <a:cxnLst>
                  <a:cxn ang="0">
                    <a:pos x="3" y="10"/>
                  </a:cxn>
                  <a:cxn ang="0">
                    <a:pos x="3" y="10"/>
                  </a:cxn>
                  <a:cxn ang="0">
                    <a:pos x="1" y="11"/>
                  </a:cxn>
                  <a:cxn ang="0">
                    <a:pos x="0" y="42"/>
                  </a:cxn>
                  <a:cxn ang="0">
                    <a:pos x="8" y="42"/>
                  </a:cxn>
                  <a:cxn ang="0">
                    <a:pos x="8" y="42"/>
                  </a:cxn>
                  <a:cxn ang="0">
                    <a:pos x="10" y="38"/>
                  </a:cxn>
                  <a:cxn ang="0">
                    <a:pos x="13" y="34"/>
                  </a:cxn>
                  <a:cxn ang="0">
                    <a:pos x="13" y="34"/>
                  </a:cxn>
                  <a:cxn ang="0">
                    <a:pos x="16" y="31"/>
                  </a:cxn>
                  <a:cxn ang="0">
                    <a:pos x="16" y="28"/>
                  </a:cxn>
                  <a:cxn ang="0">
                    <a:pos x="16" y="20"/>
                  </a:cxn>
                  <a:cxn ang="0">
                    <a:pos x="14" y="11"/>
                  </a:cxn>
                  <a:cxn ang="0">
                    <a:pos x="16" y="8"/>
                  </a:cxn>
                  <a:cxn ang="0">
                    <a:pos x="17" y="7"/>
                  </a:cxn>
                  <a:cxn ang="0">
                    <a:pos x="17" y="7"/>
                  </a:cxn>
                  <a:cxn ang="0">
                    <a:pos x="21" y="5"/>
                  </a:cxn>
                  <a:cxn ang="0">
                    <a:pos x="21" y="5"/>
                  </a:cxn>
                  <a:cxn ang="0">
                    <a:pos x="17" y="1"/>
                  </a:cxn>
                  <a:cxn ang="0">
                    <a:pos x="14" y="0"/>
                  </a:cxn>
                  <a:cxn ang="0">
                    <a:pos x="14" y="0"/>
                  </a:cxn>
                  <a:cxn ang="0">
                    <a:pos x="10" y="3"/>
                  </a:cxn>
                  <a:cxn ang="0">
                    <a:pos x="7" y="5"/>
                  </a:cxn>
                  <a:cxn ang="0">
                    <a:pos x="3" y="10"/>
                  </a:cxn>
                  <a:cxn ang="0">
                    <a:pos x="3" y="10"/>
                  </a:cxn>
                </a:cxnLst>
                <a:rect l="0" t="0" r="r" b="b"/>
                <a:pathLst>
                  <a:path w="21" h="42">
                    <a:moveTo>
                      <a:pt x="3" y="10"/>
                    </a:moveTo>
                    <a:lnTo>
                      <a:pt x="3" y="10"/>
                    </a:lnTo>
                    <a:lnTo>
                      <a:pt x="1" y="11"/>
                    </a:lnTo>
                    <a:lnTo>
                      <a:pt x="0" y="42"/>
                    </a:lnTo>
                    <a:lnTo>
                      <a:pt x="8" y="42"/>
                    </a:lnTo>
                    <a:lnTo>
                      <a:pt x="8" y="42"/>
                    </a:lnTo>
                    <a:lnTo>
                      <a:pt x="10" y="38"/>
                    </a:lnTo>
                    <a:lnTo>
                      <a:pt x="13" y="34"/>
                    </a:lnTo>
                    <a:lnTo>
                      <a:pt x="13" y="34"/>
                    </a:lnTo>
                    <a:lnTo>
                      <a:pt x="16" y="31"/>
                    </a:lnTo>
                    <a:lnTo>
                      <a:pt x="16" y="28"/>
                    </a:lnTo>
                    <a:lnTo>
                      <a:pt x="16" y="20"/>
                    </a:lnTo>
                    <a:lnTo>
                      <a:pt x="14" y="11"/>
                    </a:lnTo>
                    <a:lnTo>
                      <a:pt x="16" y="8"/>
                    </a:lnTo>
                    <a:lnTo>
                      <a:pt x="17" y="7"/>
                    </a:lnTo>
                    <a:lnTo>
                      <a:pt x="17" y="7"/>
                    </a:lnTo>
                    <a:lnTo>
                      <a:pt x="21" y="5"/>
                    </a:lnTo>
                    <a:lnTo>
                      <a:pt x="21" y="5"/>
                    </a:lnTo>
                    <a:lnTo>
                      <a:pt x="17" y="1"/>
                    </a:lnTo>
                    <a:lnTo>
                      <a:pt x="14" y="0"/>
                    </a:lnTo>
                    <a:lnTo>
                      <a:pt x="14" y="0"/>
                    </a:lnTo>
                    <a:lnTo>
                      <a:pt x="10" y="3"/>
                    </a:lnTo>
                    <a:lnTo>
                      <a:pt x="7" y="5"/>
                    </a:lnTo>
                    <a:lnTo>
                      <a:pt x="3" y="10"/>
                    </a:lnTo>
                    <a:lnTo>
                      <a:pt x="3" y="1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31" name="El Salvado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34" name="Guatemala"/>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32" name="Honduras"/>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38" name="Nicaragua"/>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42" name="Costa Rica"/>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43" name="Panama"/>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grpSp>
        <p:grpSp>
          <p:nvGrpSpPr>
            <p:cNvPr id="6" name="South America">
              <a:extLst>
                <a:ext uri="{FF2B5EF4-FFF2-40B4-BE49-F238E27FC236}">
                  <a16:creationId xmlns:a16="http://schemas.microsoft.com/office/drawing/2014/main" id="{64778E38-50DC-4C35-9E7D-4974CDBDC796}"/>
                </a:ext>
              </a:extLst>
            </p:cNvPr>
            <p:cNvGrpSpPr/>
            <p:nvPr/>
          </p:nvGrpSpPr>
          <p:grpSpPr>
            <a:xfrm>
              <a:off x="3900002" y="4477525"/>
              <a:ext cx="1115757" cy="1792019"/>
              <a:chOff x="2376001" y="4012303"/>
              <a:chExt cx="1115757" cy="1792019"/>
            </a:xfrm>
            <a:solidFill>
              <a:schemeClr val="bg1">
                <a:lumMod val="75000"/>
              </a:schemeClr>
            </a:solidFill>
          </p:grpSpPr>
          <p:sp>
            <p:nvSpPr>
              <p:cNvPr id="485" name="Trinidad and Tobago"/>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48" name="Suriname"/>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50" name="French Guiana"/>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49" name="Guyana"/>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39" name="Uruguay"/>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41" name="Paraguay"/>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54" name="Ecuado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45" name="Bolivia"/>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46" name="Peru"/>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44" name="Colombia"/>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47" name="Venezuela"/>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502" name="Argentina"/>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94" name="Brazil"/>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40" name="Chile"/>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grpSp>
        <p:grpSp>
          <p:nvGrpSpPr>
            <p:cNvPr id="5" name="Oceana">
              <a:extLst>
                <a:ext uri="{FF2B5EF4-FFF2-40B4-BE49-F238E27FC236}">
                  <a16:creationId xmlns:a16="http://schemas.microsoft.com/office/drawing/2014/main" id="{932F9900-847C-41AD-83CD-5C42425AC206}"/>
                </a:ext>
              </a:extLst>
            </p:cNvPr>
            <p:cNvGrpSpPr/>
            <p:nvPr/>
          </p:nvGrpSpPr>
          <p:grpSpPr>
            <a:xfrm>
              <a:off x="8499168" y="5039842"/>
              <a:ext cx="1568572" cy="951500"/>
              <a:chOff x="6975168" y="4574621"/>
              <a:chExt cx="1568572" cy="951500"/>
            </a:xfrm>
            <a:solidFill>
              <a:schemeClr val="bg1">
                <a:lumMod val="75000"/>
              </a:schemeClr>
            </a:solidFill>
          </p:grpSpPr>
          <p:sp>
            <p:nvSpPr>
              <p:cNvPr id="474" name="New Zealand"/>
              <p:cNvSpPr>
                <a:spLocks noEditPoints="1"/>
              </p:cNvSpPr>
              <p:nvPr/>
            </p:nvSpPr>
            <p:spPr bwMode="auto">
              <a:xfrm>
                <a:off x="8255182" y="5187251"/>
                <a:ext cx="288558" cy="338870"/>
              </a:xfrm>
              <a:custGeom>
                <a:avLst/>
                <a:gdLst/>
                <a:ahLst/>
                <a:cxnLst>
                  <a:cxn ang="0">
                    <a:pos x="114" y="115"/>
                  </a:cxn>
                  <a:cxn ang="0">
                    <a:pos x="104" y="120"/>
                  </a:cxn>
                  <a:cxn ang="0">
                    <a:pos x="92" y="114"/>
                  </a:cxn>
                  <a:cxn ang="0">
                    <a:pos x="87" y="124"/>
                  </a:cxn>
                  <a:cxn ang="0">
                    <a:pos x="78" y="135"/>
                  </a:cxn>
                  <a:cxn ang="0">
                    <a:pos x="67" y="155"/>
                  </a:cxn>
                  <a:cxn ang="0">
                    <a:pos x="30" y="177"/>
                  </a:cxn>
                  <a:cxn ang="0">
                    <a:pos x="14" y="189"/>
                  </a:cxn>
                  <a:cxn ang="0">
                    <a:pos x="5" y="198"/>
                  </a:cxn>
                  <a:cxn ang="0">
                    <a:pos x="0" y="214"/>
                  </a:cxn>
                  <a:cxn ang="0">
                    <a:pos x="8" y="219"/>
                  </a:cxn>
                  <a:cxn ang="0">
                    <a:pos x="20" y="224"/>
                  </a:cxn>
                  <a:cxn ang="0">
                    <a:pos x="28" y="226"/>
                  </a:cxn>
                  <a:cxn ang="0">
                    <a:pos x="48" y="226"/>
                  </a:cxn>
                  <a:cxn ang="0">
                    <a:pos x="64" y="212"/>
                  </a:cxn>
                  <a:cxn ang="0">
                    <a:pos x="68" y="201"/>
                  </a:cxn>
                  <a:cxn ang="0">
                    <a:pos x="77" y="185"/>
                  </a:cxn>
                  <a:cxn ang="0">
                    <a:pos x="94" y="174"/>
                  </a:cxn>
                  <a:cxn ang="0">
                    <a:pos x="102" y="172"/>
                  </a:cxn>
                  <a:cxn ang="0">
                    <a:pos x="99" y="162"/>
                  </a:cxn>
                  <a:cxn ang="0">
                    <a:pos x="109" y="152"/>
                  </a:cxn>
                  <a:cxn ang="0">
                    <a:pos x="112" y="144"/>
                  </a:cxn>
                  <a:cxn ang="0">
                    <a:pos x="122" y="130"/>
                  </a:cxn>
                  <a:cxn ang="0">
                    <a:pos x="122" y="118"/>
                  </a:cxn>
                  <a:cxn ang="0">
                    <a:pos x="178" y="59"/>
                  </a:cxn>
                  <a:cxn ang="0">
                    <a:pos x="168" y="59"/>
                  </a:cxn>
                  <a:cxn ang="0">
                    <a:pos x="155" y="54"/>
                  </a:cxn>
                  <a:cxn ang="0">
                    <a:pos x="152" y="43"/>
                  </a:cxn>
                  <a:cxn ang="0">
                    <a:pos x="146" y="34"/>
                  </a:cxn>
                  <a:cxn ang="0">
                    <a:pos x="145" y="41"/>
                  </a:cxn>
                  <a:cxn ang="0">
                    <a:pos x="142" y="43"/>
                  </a:cxn>
                  <a:cxn ang="0">
                    <a:pos x="136" y="40"/>
                  </a:cxn>
                  <a:cxn ang="0">
                    <a:pos x="134" y="30"/>
                  </a:cxn>
                  <a:cxn ang="0">
                    <a:pos x="126" y="14"/>
                  </a:cxn>
                  <a:cxn ang="0">
                    <a:pos x="119" y="4"/>
                  </a:cxn>
                  <a:cxn ang="0">
                    <a:pos x="105" y="2"/>
                  </a:cxn>
                  <a:cxn ang="0">
                    <a:pos x="112" y="17"/>
                  </a:cxn>
                  <a:cxn ang="0">
                    <a:pos x="124" y="29"/>
                  </a:cxn>
                  <a:cxn ang="0">
                    <a:pos x="129" y="40"/>
                  </a:cxn>
                  <a:cxn ang="0">
                    <a:pos x="134" y="44"/>
                  </a:cxn>
                  <a:cxn ang="0">
                    <a:pos x="131" y="66"/>
                  </a:cxn>
                  <a:cxn ang="0">
                    <a:pos x="116" y="80"/>
                  </a:cxn>
                  <a:cxn ang="0">
                    <a:pos x="122" y="90"/>
                  </a:cxn>
                  <a:cxn ang="0">
                    <a:pos x="141" y="103"/>
                  </a:cxn>
                  <a:cxn ang="0">
                    <a:pos x="134" y="123"/>
                  </a:cxn>
                  <a:cxn ang="0">
                    <a:pos x="138" y="127"/>
                  </a:cxn>
                  <a:cxn ang="0">
                    <a:pos x="151" y="125"/>
                  </a:cxn>
                  <a:cxn ang="0">
                    <a:pos x="166" y="103"/>
                  </a:cxn>
                  <a:cxn ang="0">
                    <a:pos x="171" y="88"/>
                  </a:cxn>
                  <a:cxn ang="0">
                    <a:pos x="176" y="83"/>
                  </a:cxn>
                  <a:cxn ang="0">
                    <a:pos x="183" y="80"/>
                  </a:cxn>
                  <a:cxn ang="0">
                    <a:pos x="189" y="73"/>
                  </a:cxn>
                  <a:cxn ang="0">
                    <a:pos x="192" y="63"/>
                  </a:cxn>
                  <a:cxn ang="0">
                    <a:pos x="193" y="54"/>
                  </a:cxn>
                  <a:cxn ang="0">
                    <a:pos x="178" y="59"/>
                  </a:cxn>
                </a:cxnLst>
                <a:rect l="0" t="0" r="r" b="b"/>
                <a:pathLst>
                  <a:path w="195" h="229">
                    <a:moveTo>
                      <a:pt x="121" y="115"/>
                    </a:moveTo>
                    <a:lnTo>
                      <a:pt x="121" y="115"/>
                    </a:lnTo>
                    <a:lnTo>
                      <a:pt x="116" y="115"/>
                    </a:lnTo>
                    <a:lnTo>
                      <a:pt x="114" y="115"/>
                    </a:lnTo>
                    <a:lnTo>
                      <a:pt x="108" y="120"/>
                    </a:lnTo>
                    <a:lnTo>
                      <a:pt x="108" y="120"/>
                    </a:lnTo>
                    <a:lnTo>
                      <a:pt x="105" y="120"/>
                    </a:lnTo>
                    <a:lnTo>
                      <a:pt x="104" y="120"/>
                    </a:lnTo>
                    <a:lnTo>
                      <a:pt x="99" y="115"/>
                    </a:lnTo>
                    <a:lnTo>
                      <a:pt x="97" y="113"/>
                    </a:lnTo>
                    <a:lnTo>
                      <a:pt x="94" y="113"/>
                    </a:lnTo>
                    <a:lnTo>
                      <a:pt x="92" y="114"/>
                    </a:lnTo>
                    <a:lnTo>
                      <a:pt x="92" y="114"/>
                    </a:lnTo>
                    <a:lnTo>
                      <a:pt x="88" y="117"/>
                    </a:lnTo>
                    <a:lnTo>
                      <a:pt x="88" y="120"/>
                    </a:lnTo>
                    <a:lnTo>
                      <a:pt x="87" y="124"/>
                    </a:lnTo>
                    <a:lnTo>
                      <a:pt x="84" y="127"/>
                    </a:lnTo>
                    <a:lnTo>
                      <a:pt x="84" y="127"/>
                    </a:lnTo>
                    <a:lnTo>
                      <a:pt x="79" y="131"/>
                    </a:lnTo>
                    <a:lnTo>
                      <a:pt x="78" y="135"/>
                    </a:lnTo>
                    <a:lnTo>
                      <a:pt x="75" y="141"/>
                    </a:lnTo>
                    <a:lnTo>
                      <a:pt x="71" y="150"/>
                    </a:lnTo>
                    <a:lnTo>
                      <a:pt x="71" y="150"/>
                    </a:lnTo>
                    <a:lnTo>
                      <a:pt x="67" y="155"/>
                    </a:lnTo>
                    <a:lnTo>
                      <a:pt x="61" y="160"/>
                    </a:lnTo>
                    <a:lnTo>
                      <a:pt x="47" y="167"/>
                    </a:lnTo>
                    <a:lnTo>
                      <a:pt x="34" y="174"/>
                    </a:lnTo>
                    <a:lnTo>
                      <a:pt x="30" y="177"/>
                    </a:lnTo>
                    <a:lnTo>
                      <a:pt x="27" y="179"/>
                    </a:lnTo>
                    <a:lnTo>
                      <a:pt x="27" y="179"/>
                    </a:lnTo>
                    <a:lnTo>
                      <a:pt x="21" y="184"/>
                    </a:lnTo>
                    <a:lnTo>
                      <a:pt x="14" y="189"/>
                    </a:lnTo>
                    <a:lnTo>
                      <a:pt x="8" y="194"/>
                    </a:lnTo>
                    <a:lnTo>
                      <a:pt x="7" y="197"/>
                    </a:lnTo>
                    <a:lnTo>
                      <a:pt x="5" y="198"/>
                    </a:lnTo>
                    <a:lnTo>
                      <a:pt x="5" y="198"/>
                    </a:lnTo>
                    <a:lnTo>
                      <a:pt x="4" y="202"/>
                    </a:lnTo>
                    <a:lnTo>
                      <a:pt x="1" y="206"/>
                    </a:lnTo>
                    <a:lnTo>
                      <a:pt x="0" y="211"/>
                    </a:lnTo>
                    <a:lnTo>
                      <a:pt x="0" y="214"/>
                    </a:lnTo>
                    <a:lnTo>
                      <a:pt x="1" y="215"/>
                    </a:lnTo>
                    <a:lnTo>
                      <a:pt x="1" y="215"/>
                    </a:lnTo>
                    <a:lnTo>
                      <a:pt x="5" y="218"/>
                    </a:lnTo>
                    <a:lnTo>
                      <a:pt x="8" y="219"/>
                    </a:lnTo>
                    <a:lnTo>
                      <a:pt x="13" y="219"/>
                    </a:lnTo>
                    <a:lnTo>
                      <a:pt x="17" y="222"/>
                    </a:lnTo>
                    <a:lnTo>
                      <a:pt x="17" y="222"/>
                    </a:lnTo>
                    <a:lnTo>
                      <a:pt x="20" y="224"/>
                    </a:lnTo>
                    <a:lnTo>
                      <a:pt x="23" y="225"/>
                    </a:lnTo>
                    <a:lnTo>
                      <a:pt x="25" y="225"/>
                    </a:lnTo>
                    <a:lnTo>
                      <a:pt x="28" y="226"/>
                    </a:lnTo>
                    <a:lnTo>
                      <a:pt x="28" y="226"/>
                    </a:lnTo>
                    <a:lnTo>
                      <a:pt x="30" y="228"/>
                    </a:lnTo>
                    <a:lnTo>
                      <a:pt x="31" y="229"/>
                    </a:lnTo>
                    <a:lnTo>
                      <a:pt x="38" y="229"/>
                    </a:lnTo>
                    <a:lnTo>
                      <a:pt x="48" y="226"/>
                    </a:lnTo>
                    <a:lnTo>
                      <a:pt x="52" y="224"/>
                    </a:lnTo>
                    <a:lnTo>
                      <a:pt x="57" y="219"/>
                    </a:lnTo>
                    <a:lnTo>
                      <a:pt x="57" y="219"/>
                    </a:lnTo>
                    <a:lnTo>
                      <a:pt x="64" y="212"/>
                    </a:lnTo>
                    <a:lnTo>
                      <a:pt x="65" y="208"/>
                    </a:lnTo>
                    <a:lnTo>
                      <a:pt x="65" y="204"/>
                    </a:lnTo>
                    <a:lnTo>
                      <a:pt x="68" y="201"/>
                    </a:lnTo>
                    <a:lnTo>
                      <a:pt x="68" y="201"/>
                    </a:lnTo>
                    <a:lnTo>
                      <a:pt x="71" y="198"/>
                    </a:lnTo>
                    <a:lnTo>
                      <a:pt x="72" y="194"/>
                    </a:lnTo>
                    <a:lnTo>
                      <a:pt x="77" y="185"/>
                    </a:lnTo>
                    <a:lnTo>
                      <a:pt x="77" y="185"/>
                    </a:lnTo>
                    <a:lnTo>
                      <a:pt x="78" y="181"/>
                    </a:lnTo>
                    <a:lnTo>
                      <a:pt x="81" y="177"/>
                    </a:lnTo>
                    <a:lnTo>
                      <a:pt x="87" y="175"/>
                    </a:lnTo>
                    <a:lnTo>
                      <a:pt x="94" y="174"/>
                    </a:lnTo>
                    <a:lnTo>
                      <a:pt x="94" y="174"/>
                    </a:lnTo>
                    <a:lnTo>
                      <a:pt x="101" y="174"/>
                    </a:lnTo>
                    <a:lnTo>
                      <a:pt x="101" y="172"/>
                    </a:lnTo>
                    <a:lnTo>
                      <a:pt x="102" y="172"/>
                    </a:lnTo>
                    <a:lnTo>
                      <a:pt x="101" y="169"/>
                    </a:lnTo>
                    <a:lnTo>
                      <a:pt x="99" y="165"/>
                    </a:lnTo>
                    <a:lnTo>
                      <a:pt x="99" y="165"/>
                    </a:lnTo>
                    <a:lnTo>
                      <a:pt x="99" y="162"/>
                    </a:lnTo>
                    <a:lnTo>
                      <a:pt x="101" y="161"/>
                    </a:lnTo>
                    <a:lnTo>
                      <a:pt x="104" y="158"/>
                    </a:lnTo>
                    <a:lnTo>
                      <a:pt x="108" y="155"/>
                    </a:lnTo>
                    <a:lnTo>
                      <a:pt x="109" y="152"/>
                    </a:lnTo>
                    <a:lnTo>
                      <a:pt x="109" y="150"/>
                    </a:lnTo>
                    <a:lnTo>
                      <a:pt x="109" y="150"/>
                    </a:lnTo>
                    <a:lnTo>
                      <a:pt x="111" y="147"/>
                    </a:lnTo>
                    <a:lnTo>
                      <a:pt x="112" y="144"/>
                    </a:lnTo>
                    <a:lnTo>
                      <a:pt x="118" y="140"/>
                    </a:lnTo>
                    <a:lnTo>
                      <a:pt x="122" y="134"/>
                    </a:lnTo>
                    <a:lnTo>
                      <a:pt x="122" y="131"/>
                    </a:lnTo>
                    <a:lnTo>
                      <a:pt x="122" y="130"/>
                    </a:lnTo>
                    <a:lnTo>
                      <a:pt x="122" y="130"/>
                    </a:lnTo>
                    <a:lnTo>
                      <a:pt x="121" y="125"/>
                    </a:lnTo>
                    <a:lnTo>
                      <a:pt x="122" y="121"/>
                    </a:lnTo>
                    <a:lnTo>
                      <a:pt x="122" y="118"/>
                    </a:lnTo>
                    <a:lnTo>
                      <a:pt x="121" y="115"/>
                    </a:lnTo>
                    <a:lnTo>
                      <a:pt x="121" y="115"/>
                    </a:lnTo>
                    <a:close/>
                    <a:moveTo>
                      <a:pt x="178" y="59"/>
                    </a:moveTo>
                    <a:lnTo>
                      <a:pt x="178" y="59"/>
                    </a:lnTo>
                    <a:lnTo>
                      <a:pt x="176" y="60"/>
                    </a:lnTo>
                    <a:lnTo>
                      <a:pt x="175" y="61"/>
                    </a:lnTo>
                    <a:lnTo>
                      <a:pt x="172" y="60"/>
                    </a:lnTo>
                    <a:lnTo>
                      <a:pt x="168" y="59"/>
                    </a:lnTo>
                    <a:lnTo>
                      <a:pt x="162" y="57"/>
                    </a:lnTo>
                    <a:lnTo>
                      <a:pt x="162" y="57"/>
                    </a:lnTo>
                    <a:lnTo>
                      <a:pt x="158" y="57"/>
                    </a:lnTo>
                    <a:lnTo>
                      <a:pt x="155" y="54"/>
                    </a:lnTo>
                    <a:lnTo>
                      <a:pt x="153" y="51"/>
                    </a:lnTo>
                    <a:lnTo>
                      <a:pt x="153" y="47"/>
                    </a:lnTo>
                    <a:lnTo>
                      <a:pt x="153" y="47"/>
                    </a:lnTo>
                    <a:lnTo>
                      <a:pt x="152" y="43"/>
                    </a:lnTo>
                    <a:lnTo>
                      <a:pt x="152" y="39"/>
                    </a:lnTo>
                    <a:lnTo>
                      <a:pt x="149" y="36"/>
                    </a:lnTo>
                    <a:lnTo>
                      <a:pt x="146" y="34"/>
                    </a:lnTo>
                    <a:lnTo>
                      <a:pt x="146" y="34"/>
                    </a:lnTo>
                    <a:lnTo>
                      <a:pt x="143" y="36"/>
                    </a:lnTo>
                    <a:lnTo>
                      <a:pt x="143" y="36"/>
                    </a:lnTo>
                    <a:lnTo>
                      <a:pt x="145" y="39"/>
                    </a:lnTo>
                    <a:lnTo>
                      <a:pt x="145" y="41"/>
                    </a:lnTo>
                    <a:lnTo>
                      <a:pt x="145" y="44"/>
                    </a:lnTo>
                    <a:lnTo>
                      <a:pt x="145" y="44"/>
                    </a:lnTo>
                    <a:lnTo>
                      <a:pt x="143" y="44"/>
                    </a:lnTo>
                    <a:lnTo>
                      <a:pt x="142" y="43"/>
                    </a:lnTo>
                    <a:lnTo>
                      <a:pt x="141" y="41"/>
                    </a:lnTo>
                    <a:lnTo>
                      <a:pt x="139" y="40"/>
                    </a:lnTo>
                    <a:lnTo>
                      <a:pt x="139" y="40"/>
                    </a:lnTo>
                    <a:lnTo>
                      <a:pt x="136" y="40"/>
                    </a:lnTo>
                    <a:lnTo>
                      <a:pt x="135" y="37"/>
                    </a:lnTo>
                    <a:lnTo>
                      <a:pt x="134" y="34"/>
                    </a:lnTo>
                    <a:lnTo>
                      <a:pt x="134" y="30"/>
                    </a:lnTo>
                    <a:lnTo>
                      <a:pt x="134" y="30"/>
                    </a:lnTo>
                    <a:lnTo>
                      <a:pt x="132" y="26"/>
                    </a:lnTo>
                    <a:lnTo>
                      <a:pt x="129" y="23"/>
                    </a:lnTo>
                    <a:lnTo>
                      <a:pt x="128" y="20"/>
                    </a:lnTo>
                    <a:lnTo>
                      <a:pt x="126" y="14"/>
                    </a:lnTo>
                    <a:lnTo>
                      <a:pt x="126" y="14"/>
                    </a:lnTo>
                    <a:lnTo>
                      <a:pt x="126" y="12"/>
                    </a:lnTo>
                    <a:lnTo>
                      <a:pt x="125" y="9"/>
                    </a:lnTo>
                    <a:lnTo>
                      <a:pt x="119" y="4"/>
                    </a:lnTo>
                    <a:lnTo>
                      <a:pt x="114" y="2"/>
                    </a:lnTo>
                    <a:lnTo>
                      <a:pt x="106" y="0"/>
                    </a:lnTo>
                    <a:lnTo>
                      <a:pt x="106" y="0"/>
                    </a:lnTo>
                    <a:lnTo>
                      <a:pt x="105" y="2"/>
                    </a:lnTo>
                    <a:lnTo>
                      <a:pt x="104" y="3"/>
                    </a:lnTo>
                    <a:lnTo>
                      <a:pt x="105" y="7"/>
                    </a:lnTo>
                    <a:lnTo>
                      <a:pt x="109" y="13"/>
                    </a:lnTo>
                    <a:lnTo>
                      <a:pt x="112" y="17"/>
                    </a:lnTo>
                    <a:lnTo>
                      <a:pt x="112" y="17"/>
                    </a:lnTo>
                    <a:lnTo>
                      <a:pt x="119" y="23"/>
                    </a:lnTo>
                    <a:lnTo>
                      <a:pt x="122" y="26"/>
                    </a:lnTo>
                    <a:lnTo>
                      <a:pt x="124" y="29"/>
                    </a:lnTo>
                    <a:lnTo>
                      <a:pt x="124" y="29"/>
                    </a:lnTo>
                    <a:lnTo>
                      <a:pt x="124" y="31"/>
                    </a:lnTo>
                    <a:lnTo>
                      <a:pt x="126" y="36"/>
                    </a:lnTo>
                    <a:lnTo>
                      <a:pt x="129" y="40"/>
                    </a:lnTo>
                    <a:lnTo>
                      <a:pt x="132" y="41"/>
                    </a:lnTo>
                    <a:lnTo>
                      <a:pt x="132" y="41"/>
                    </a:lnTo>
                    <a:lnTo>
                      <a:pt x="134" y="43"/>
                    </a:lnTo>
                    <a:lnTo>
                      <a:pt x="134" y="44"/>
                    </a:lnTo>
                    <a:lnTo>
                      <a:pt x="134" y="50"/>
                    </a:lnTo>
                    <a:lnTo>
                      <a:pt x="131" y="57"/>
                    </a:lnTo>
                    <a:lnTo>
                      <a:pt x="131" y="66"/>
                    </a:lnTo>
                    <a:lnTo>
                      <a:pt x="131" y="66"/>
                    </a:lnTo>
                    <a:lnTo>
                      <a:pt x="129" y="71"/>
                    </a:lnTo>
                    <a:lnTo>
                      <a:pt x="125" y="74"/>
                    </a:lnTo>
                    <a:lnTo>
                      <a:pt x="121" y="77"/>
                    </a:lnTo>
                    <a:lnTo>
                      <a:pt x="116" y="80"/>
                    </a:lnTo>
                    <a:lnTo>
                      <a:pt x="116" y="80"/>
                    </a:lnTo>
                    <a:lnTo>
                      <a:pt x="116" y="83"/>
                    </a:lnTo>
                    <a:lnTo>
                      <a:pt x="116" y="86"/>
                    </a:lnTo>
                    <a:lnTo>
                      <a:pt x="122" y="90"/>
                    </a:lnTo>
                    <a:lnTo>
                      <a:pt x="131" y="94"/>
                    </a:lnTo>
                    <a:lnTo>
                      <a:pt x="138" y="100"/>
                    </a:lnTo>
                    <a:lnTo>
                      <a:pt x="138" y="100"/>
                    </a:lnTo>
                    <a:lnTo>
                      <a:pt x="141" y="103"/>
                    </a:lnTo>
                    <a:lnTo>
                      <a:pt x="141" y="105"/>
                    </a:lnTo>
                    <a:lnTo>
                      <a:pt x="138" y="113"/>
                    </a:lnTo>
                    <a:lnTo>
                      <a:pt x="135" y="120"/>
                    </a:lnTo>
                    <a:lnTo>
                      <a:pt x="134" y="123"/>
                    </a:lnTo>
                    <a:lnTo>
                      <a:pt x="134" y="125"/>
                    </a:lnTo>
                    <a:lnTo>
                      <a:pt x="134" y="125"/>
                    </a:lnTo>
                    <a:lnTo>
                      <a:pt x="135" y="127"/>
                    </a:lnTo>
                    <a:lnTo>
                      <a:pt x="138" y="127"/>
                    </a:lnTo>
                    <a:lnTo>
                      <a:pt x="142" y="128"/>
                    </a:lnTo>
                    <a:lnTo>
                      <a:pt x="148" y="127"/>
                    </a:lnTo>
                    <a:lnTo>
                      <a:pt x="148" y="127"/>
                    </a:lnTo>
                    <a:lnTo>
                      <a:pt x="151" y="125"/>
                    </a:lnTo>
                    <a:lnTo>
                      <a:pt x="153" y="123"/>
                    </a:lnTo>
                    <a:lnTo>
                      <a:pt x="158" y="115"/>
                    </a:lnTo>
                    <a:lnTo>
                      <a:pt x="162" y="108"/>
                    </a:lnTo>
                    <a:lnTo>
                      <a:pt x="166" y="103"/>
                    </a:lnTo>
                    <a:lnTo>
                      <a:pt x="166" y="103"/>
                    </a:lnTo>
                    <a:lnTo>
                      <a:pt x="169" y="98"/>
                    </a:lnTo>
                    <a:lnTo>
                      <a:pt x="169" y="94"/>
                    </a:lnTo>
                    <a:lnTo>
                      <a:pt x="171" y="88"/>
                    </a:lnTo>
                    <a:lnTo>
                      <a:pt x="171" y="86"/>
                    </a:lnTo>
                    <a:lnTo>
                      <a:pt x="171" y="86"/>
                    </a:lnTo>
                    <a:lnTo>
                      <a:pt x="173" y="83"/>
                    </a:lnTo>
                    <a:lnTo>
                      <a:pt x="176" y="83"/>
                    </a:lnTo>
                    <a:lnTo>
                      <a:pt x="182" y="81"/>
                    </a:lnTo>
                    <a:lnTo>
                      <a:pt x="182" y="81"/>
                    </a:lnTo>
                    <a:lnTo>
                      <a:pt x="183" y="81"/>
                    </a:lnTo>
                    <a:lnTo>
                      <a:pt x="183" y="80"/>
                    </a:lnTo>
                    <a:lnTo>
                      <a:pt x="185" y="77"/>
                    </a:lnTo>
                    <a:lnTo>
                      <a:pt x="186" y="74"/>
                    </a:lnTo>
                    <a:lnTo>
                      <a:pt x="186" y="73"/>
                    </a:lnTo>
                    <a:lnTo>
                      <a:pt x="189" y="73"/>
                    </a:lnTo>
                    <a:lnTo>
                      <a:pt x="189" y="73"/>
                    </a:lnTo>
                    <a:lnTo>
                      <a:pt x="190" y="71"/>
                    </a:lnTo>
                    <a:lnTo>
                      <a:pt x="192" y="68"/>
                    </a:lnTo>
                    <a:lnTo>
                      <a:pt x="192" y="63"/>
                    </a:lnTo>
                    <a:lnTo>
                      <a:pt x="193" y="59"/>
                    </a:lnTo>
                    <a:lnTo>
                      <a:pt x="193" y="59"/>
                    </a:lnTo>
                    <a:lnTo>
                      <a:pt x="195" y="56"/>
                    </a:lnTo>
                    <a:lnTo>
                      <a:pt x="193" y="54"/>
                    </a:lnTo>
                    <a:lnTo>
                      <a:pt x="188" y="54"/>
                    </a:lnTo>
                    <a:lnTo>
                      <a:pt x="182" y="56"/>
                    </a:lnTo>
                    <a:lnTo>
                      <a:pt x="178" y="59"/>
                    </a:lnTo>
                    <a:lnTo>
                      <a:pt x="178" y="5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97" name="Australia"/>
              <p:cNvSpPr>
                <a:spLocks noEditPoints="1"/>
              </p:cNvSpPr>
              <p:nvPr/>
            </p:nvSpPr>
            <p:spPr bwMode="auto">
              <a:xfrm>
                <a:off x="6975168" y="4574621"/>
                <a:ext cx="967778" cy="861234"/>
              </a:xfrm>
              <a:custGeom>
                <a:avLst/>
                <a:gdLst/>
                <a:ahLst/>
                <a:cxnLst>
                  <a:cxn ang="0">
                    <a:pos x="649" y="253"/>
                  </a:cxn>
                  <a:cxn ang="0">
                    <a:pos x="633" y="234"/>
                  </a:cxn>
                  <a:cxn ang="0">
                    <a:pos x="614" y="218"/>
                  </a:cxn>
                  <a:cxn ang="0">
                    <a:pos x="600" y="195"/>
                  </a:cxn>
                  <a:cxn ang="0">
                    <a:pos x="586" y="177"/>
                  </a:cxn>
                  <a:cxn ang="0">
                    <a:pos x="540" y="141"/>
                  </a:cxn>
                  <a:cxn ang="0">
                    <a:pos x="532" y="105"/>
                  </a:cxn>
                  <a:cxn ang="0">
                    <a:pos x="519" y="70"/>
                  </a:cxn>
                  <a:cxn ang="0">
                    <a:pos x="492" y="51"/>
                  </a:cxn>
                  <a:cxn ang="0">
                    <a:pos x="478" y="0"/>
                  </a:cxn>
                  <a:cxn ang="0">
                    <a:pos x="462" y="33"/>
                  </a:cxn>
                  <a:cxn ang="0">
                    <a:pos x="458" y="90"/>
                  </a:cxn>
                  <a:cxn ang="0">
                    <a:pos x="422" y="105"/>
                  </a:cxn>
                  <a:cxn ang="0">
                    <a:pos x="387" y="84"/>
                  </a:cxn>
                  <a:cxn ang="0">
                    <a:pos x="367" y="61"/>
                  </a:cxn>
                  <a:cxn ang="0">
                    <a:pos x="381" y="34"/>
                  </a:cxn>
                  <a:cxn ang="0">
                    <a:pos x="374" y="29"/>
                  </a:cxn>
                  <a:cxn ang="0">
                    <a:pos x="350" y="22"/>
                  </a:cxn>
                  <a:cxn ang="0">
                    <a:pos x="316" y="16"/>
                  </a:cxn>
                  <a:cxn ang="0">
                    <a:pos x="286" y="29"/>
                  </a:cxn>
                  <a:cxn ang="0">
                    <a:pos x="269" y="54"/>
                  </a:cxn>
                  <a:cxn ang="0">
                    <a:pos x="257" y="67"/>
                  </a:cxn>
                  <a:cxn ang="0">
                    <a:pos x="242" y="63"/>
                  </a:cxn>
                  <a:cxn ang="0">
                    <a:pos x="213" y="56"/>
                  </a:cxn>
                  <a:cxn ang="0">
                    <a:pos x="196" y="63"/>
                  </a:cxn>
                  <a:cxn ang="0">
                    <a:pos x="183" y="77"/>
                  </a:cxn>
                  <a:cxn ang="0">
                    <a:pos x="172" y="98"/>
                  </a:cxn>
                  <a:cxn ang="0">
                    <a:pos x="162" y="98"/>
                  </a:cxn>
                  <a:cxn ang="0">
                    <a:pos x="149" y="124"/>
                  </a:cxn>
                  <a:cxn ang="0">
                    <a:pos x="89" y="157"/>
                  </a:cxn>
                  <a:cxn ang="0">
                    <a:pos x="53" y="167"/>
                  </a:cxn>
                  <a:cxn ang="0">
                    <a:pos x="20" y="194"/>
                  </a:cxn>
                  <a:cxn ang="0">
                    <a:pos x="10" y="195"/>
                  </a:cxn>
                  <a:cxn ang="0">
                    <a:pos x="7" y="239"/>
                  </a:cxn>
                  <a:cxn ang="0">
                    <a:pos x="7" y="253"/>
                  </a:cxn>
                  <a:cxn ang="0">
                    <a:pos x="0" y="256"/>
                  </a:cxn>
                  <a:cxn ang="0">
                    <a:pos x="30" y="322"/>
                  </a:cxn>
                  <a:cxn ang="0">
                    <a:pos x="41" y="386"/>
                  </a:cxn>
                  <a:cxn ang="0">
                    <a:pos x="41" y="407"/>
                  </a:cxn>
                  <a:cxn ang="0">
                    <a:pos x="95" y="407"/>
                  </a:cxn>
                  <a:cxn ang="0">
                    <a:pos x="173" y="390"/>
                  </a:cxn>
                  <a:cxn ang="0">
                    <a:pos x="222" y="367"/>
                  </a:cxn>
                  <a:cxn ang="0">
                    <a:pos x="297" y="353"/>
                  </a:cxn>
                  <a:cxn ang="0">
                    <a:pos x="334" y="367"/>
                  </a:cxn>
                  <a:cxn ang="0">
                    <a:pos x="348" y="387"/>
                  </a:cxn>
                  <a:cxn ang="0">
                    <a:pos x="371" y="406"/>
                  </a:cxn>
                  <a:cxn ang="0">
                    <a:pos x="401" y="380"/>
                  </a:cxn>
                  <a:cxn ang="0">
                    <a:pos x="385" y="414"/>
                  </a:cxn>
                  <a:cxn ang="0">
                    <a:pos x="402" y="404"/>
                  </a:cxn>
                  <a:cxn ang="0">
                    <a:pos x="415" y="427"/>
                  </a:cxn>
                  <a:cxn ang="0">
                    <a:pos x="439" y="468"/>
                  </a:cxn>
                  <a:cxn ang="0">
                    <a:pos x="491" y="488"/>
                  </a:cxn>
                  <a:cxn ang="0">
                    <a:pos x="516" y="478"/>
                  </a:cxn>
                  <a:cxn ang="0">
                    <a:pos x="523" y="480"/>
                  </a:cxn>
                  <a:cxn ang="0">
                    <a:pos x="542" y="487"/>
                  </a:cxn>
                  <a:cxn ang="0">
                    <a:pos x="597" y="455"/>
                  </a:cxn>
                  <a:cxn ang="0">
                    <a:pos x="629" y="376"/>
                  </a:cxn>
                  <a:cxn ang="0">
                    <a:pos x="651" y="326"/>
                  </a:cxn>
                  <a:cxn ang="0">
                    <a:pos x="654" y="292"/>
                  </a:cxn>
                  <a:cxn ang="0">
                    <a:pos x="519" y="549"/>
                  </a:cxn>
                  <a:cxn ang="0">
                    <a:pos x="546" y="576"/>
                  </a:cxn>
                  <a:cxn ang="0">
                    <a:pos x="562" y="569"/>
                  </a:cxn>
                  <a:cxn ang="0">
                    <a:pos x="565" y="528"/>
                  </a:cxn>
                </a:cxnLst>
                <a:rect l="0" t="0" r="r" b="b"/>
                <a:pathLst>
                  <a:path w="654" h="582">
                    <a:moveTo>
                      <a:pt x="654" y="292"/>
                    </a:moveTo>
                    <a:lnTo>
                      <a:pt x="654" y="292"/>
                    </a:lnTo>
                    <a:lnTo>
                      <a:pt x="654" y="289"/>
                    </a:lnTo>
                    <a:lnTo>
                      <a:pt x="654" y="285"/>
                    </a:lnTo>
                    <a:lnTo>
                      <a:pt x="651" y="280"/>
                    </a:lnTo>
                    <a:lnTo>
                      <a:pt x="651" y="280"/>
                    </a:lnTo>
                    <a:lnTo>
                      <a:pt x="650" y="280"/>
                    </a:lnTo>
                    <a:lnTo>
                      <a:pt x="650" y="280"/>
                    </a:lnTo>
                    <a:lnTo>
                      <a:pt x="649" y="279"/>
                    </a:lnTo>
                    <a:lnTo>
                      <a:pt x="649" y="278"/>
                    </a:lnTo>
                    <a:lnTo>
                      <a:pt x="647" y="271"/>
                    </a:lnTo>
                    <a:lnTo>
                      <a:pt x="649" y="253"/>
                    </a:lnTo>
                    <a:lnTo>
                      <a:pt x="649" y="253"/>
                    </a:lnTo>
                    <a:lnTo>
                      <a:pt x="650" y="248"/>
                    </a:lnTo>
                    <a:lnTo>
                      <a:pt x="650" y="246"/>
                    </a:lnTo>
                    <a:lnTo>
                      <a:pt x="649" y="248"/>
                    </a:lnTo>
                    <a:lnTo>
                      <a:pt x="646" y="251"/>
                    </a:lnTo>
                    <a:lnTo>
                      <a:pt x="646" y="251"/>
                    </a:lnTo>
                    <a:lnTo>
                      <a:pt x="643" y="251"/>
                    </a:lnTo>
                    <a:lnTo>
                      <a:pt x="641" y="251"/>
                    </a:lnTo>
                    <a:lnTo>
                      <a:pt x="639" y="246"/>
                    </a:lnTo>
                    <a:lnTo>
                      <a:pt x="634" y="238"/>
                    </a:lnTo>
                    <a:lnTo>
                      <a:pt x="634" y="238"/>
                    </a:lnTo>
                    <a:lnTo>
                      <a:pt x="633" y="234"/>
                    </a:lnTo>
                    <a:lnTo>
                      <a:pt x="630" y="229"/>
                    </a:lnTo>
                    <a:lnTo>
                      <a:pt x="626" y="226"/>
                    </a:lnTo>
                    <a:lnTo>
                      <a:pt x="624" y="225"/>
                    </a:lnTo>
                    <a:lnTo>
                      <a:pt x="622" y="225"/>
                    </a:lnTo>
                    <a:lnTo>
                      <a:pt x="622" y="225"/>
                    </a:lnTo>
                    <a:lnTo>
                      <a:pt x="620" y="225"/>
                    </a:lnTo>
                    <a:lnTo>
                      <a:pt x="619" y="225"/>
                    </a:lnTo>
                    <a:lnTo>
                      <a:pt x="619" y="222"/>
                    </a:lnTo>
                    <a:lnTo>
                      <a:pt x="617" y="219"/>
                    </a:lnTo>
                    <a:lnTo>
                      <a:pt x="616" y="218"/>
                    </a:lnTo>
                    <a:lnTo>
                      <a:pt x="614" y="218"/>
                    </a:lnTo>
                    <a:lnTo>
                      <a:pt x="614" y="218"/>
                    </a:lnTo>
                    <a:lnTo>
                      <a:pt x="612" y="218"/>
                    </a:lnTo>
                    <a:lnTo>
                      <a:pt x="610" y="216"/>
                    </a:lnTo>
                    <a:lnTo>
                      <a:pt x="609" y="214"/>
                    </a:lnTo>
                    <a:lnTo>
                      <a:pt x="609" y="208"/>
                    </a:lnTo>
                    <a:lnTo>
                      <a:pt x="609" y="201"/>
                    </a:lnTo>
                    <a:lnTo>
                      <a:pt x="609" y="201"/>
                    </a:lnTo>
                    <a:lnTo>
                      <a:pt x="609" y="198"/>
                    </a:lnTo>
                    <a:lnTo>
                      <a:pt x="607" y="197"/>
                    </a:lnTo>
                    <a:lnTo>
                      <a:pt x="604" y="197"/>
                    </a:lnTo>
                    <a:lnTo>
                      <a:pt x="602" y="197"/>
                    </a:lnTo>
                    <a:lnTo>
                      <a:pt x="602" y="197"/>
                    </a:lnTo>
                    <a:lnTo>
                      <a:pt x="600" y="195"/>
                    </a:lnTo>
                    <a:lnTo>
                      <a:pt x="597" y="195"/>
                    </a:lnTo>
                    <a:lnTo>
                      <a:pt x="593" y="197"/>
                    </a:lnTo>
                    <a:lnTo>
                      <a:pt x="593" y="197"/>
                    </a:lnTo>
                    <a:lnTo>
                      <a:pt x="592" y="197"/>
                    </a:lnTo>
                    <a:lnTo>
                      <a:pt x="590" y="197"/>
                    </a:lnTo>
                    <a:lnTo>
                      <a:pt x="589" y="194"/>
                    </a:lnTo>
                    <a:lnTo>
                      <a:pt x="589" y="189"/>
                    </a:lnTo>
                    <a:lnTo>
                      <a:pt x="589" y="185"/>
                    </a:lnTo>
                    <a:lnTo>
                      <a:pt x="589" y="185"/>
                    </a:lnTo>
                    <a:lnTo>
                      <a:pt x="589" y="182"/>
                    </a:lnTo>
                    <a:lnTo>
                      <a:pt x="589" y="179"/>
                    </a:lnTo>
                    <a:lnTo>
                      <a:pt x="586" y="177"/>
                    </a:lnTo>
                    <a:lnTo>
                      <a:pt x="583" y="174"/>
                    </a:lnTo>
                    <a:lnTo>
                      <a:pt x="583" y="174"/>
                    </a:lnTo>
                    <a:lnTo>
                      <a:pt x="580" y="171"/>
                    </a:lnTo>
                    <a:lnTo>
                      <a:pt x="577" y="168"/>
                    </a:lnTo>
                    <a:lnTo>
                      <a:pt x="577" y="162"/>
                    </a:lnTo>
                    <a:lnTo>
                      <a:pt x="577" y="162"/>
                    </a:lnTo>
                    <a:lnTo>
                      <a:pt x="576" y="160"/>
                    </a:lnTo>
                    <a:lnTo>
                      <a:pt x="573" y="157"/>
                    </a:lnTo>
                    <a:lnTo>
                      <a:pt x="562" y="150"/>
                    </a:lnTo>
                    <a:lnTo>
                      <a:pt x="549" y="144"/>
                    </a:lnTo>
                    <a:lnTo>
                      <a:pt x="540" y="141"/>
                    </a:lnTo>
                    <a:lnTo>
                      <a:pt x="540" y="141"/>
                    </a:lnTo>
                    <a:lnTo>
                      <a:pt x="539" y="140"/>
                    </a:lnTo>
                    <a:lnTo>
                      <a:pt x="538" y="138"/>
                    </a:lnTo>
                    <a:lnTo>
                      <a:pt x="538" y="135"/>
                    </a:lnTo>
                    <a:lnTo>
                      <a:pt x="538" y="133"/>
                    </a:lnTo>
                    <a:lnTo>
                      <a:pt x="536" y="130"/>
                    </a:lnTo>
                    <a:lnTo>
                      <a:pt x="536" y="130"/>
                    </a:lnTo>
                    <a:lnTo>
                      <a:pt x="535" y="127"/>
                    </a:lnTo>
                    <a:lnTo>
                      <a:pt x="533" y="121"/>
                    </a:lnTo>
                    <a:lnTo>
                      <a:pt x="533" y="110"/>
                    </a:lnTo>
                    <a:lnTo>
                      <a:pt x="533" y="110"/>
                    </a:lnTo>
                    <a:lnTo>
                      <a:pt x="532" y="107"/>
                    </a:lnTo>
                    <a:lnTo>
                      <a:pt x="532" y="105"/>
                    </a:lnTo>
                    <a:lnTo>
                      <a:pt x="528" y="101"/>
                    </a:lnTo>
                    <a:lnTo>
                      <a:pt x="525" y="97"/>
                    </a:lnTo>
                    <a:lnTo>
                      <a:pt x="523" y="96"/>
                    </a:lnTo>
                    <a:lnTo>
                      <a:pt x="523" y="93"/>
                    </a:lnTo>
                    <a:lnTo>
                      <a:pt x="523" y="93"/>
                    </a:lnTo>
                    <a:lnTo>
                      <a:pt x="523" y="88"/>
                    </a:lnTo>
                    <a:lnTo>
                      <a:pt x="522" y="84"/>
                    </a:lnTo>
                    <a:lnTo>
                      <a:pt x="521" y="78"/>
                    </a:lnTo>
                    <a:lnTo>
                      <a:pt x="521" y="74"/>
                    </a:lnTo>
                    <a:lnTo>
                      <a:pt x="521" y="74"/>
                    </a:lnTo>
                    <a:lnTo>
                      <a:pt x="521" y="71"/>
                    </a:lnTo>
                    <a:lnTo>
                      <a:pt x="519" y="70"/>
                    </a:lnTo>
                    <a:lnTo>
                      <a:pt x="516" y="66"/>
                    </a:lnTo>
                    <a:lnTo>
                      <a:pt x="512" y="64"/>
                    </a:lnTo>
                    <a:lnTo>
                      <a:pt x="511" y="61"/>
                    </a:lnTo>
                    <a:lnTo>
                      <a:pt x="511" y="61"/>
                    </a:lnTo>
                    <a:lnTo>
                      <a:pt x="509" y="59"/>
                    </a:lnTo>
                    <a:lnTo>
                      <a:pt x="506" y="60"/>
                    </a:lnTo>
                    <a:lnTo>
                      <a:pt x="498" y="61"/>
                    </a:lnTo>
                    <a:lnTo>
                      <a:pt x="498" y="61"/>
                    </a:lnTo>
                    <a:lnTo>
                      <a:pt x="496" y="61"/>
                    </a:lnTo>
                    <a:lnTo>
                      <a:pt x="495" y="60"/>
                    </a:lnTo>
                    <a:lnTo>
                      <a:pt x="494" y="57"/>
                    </a:lnTo>
                    <a:lnTo>
                      <a:pt x="492" y="51"/>
                    </a:lnTo>
                    <a:lnTo>
                      <a:pt x="494" y="46"/>
                    </a:lnTo>
                    <a:lnTo>
                      <a:pt x="494" y="46"/>
                    </a:lnTo>
                    <a:lnTo>
                      <a:pt x="492" y="39"/>
                    </a:lnTo>
                    <a:lnTo>
                      <a:pt x="491" y="32"/>
                    </a:lnTo>
                    <a:lnTo>
                      <a:pt x="489" y="24"/>
                    </a:lnTo>
                    <a:lnTo>
                      <a:pt x="485" y="20"/>
                    </a:lnTo>
                    <a:lnTo>
                      <a:pt x="485" y="20"/>
                    </a:lnTo>
                    <a:lnTo>
                      <a:pt x="482" y="16"/>
                    </a:lnTo>
                    <a:lnTo>
                      <a:pt x="481" y="9"/>
                    </a:lnTo>
                    <a:lnTo>
                      <a:pt x="479" y="3"/>
                    </a:lnTo>
                    <a:lnTo>
                      <a:pt x="478" y="0"/>
                    </a:lnTo>
                    <a:lnTo>
                      <a:pt x="478" y="0"/>
                    </a:lnTo>
                    <a:lnTo>
                      <a:pt x="476" y="0"/>
                    </a:lnTo>
                    <a:lnTo>
                      <a:pt x="475" y="0"/>
                    </a:lnTo>
                    <a:lnTo>
                      <a:pt x="471" y="3"/>
                    </a:lnTo>
                    <a:lnTo>
                      <a:pt x="468" y="7"/>
                    </a:lnTo>
                    <a:lnTo>
                      <a:pt x="468" y="12"/>
                    </a:lnTo>
                    <a:lnTo>
                      <a:pt x="468" y="12"/>
                    </a:lnTo>
                    <a:lnTo>
                      <a:pt x="466" y="19"/>
                    </a:lnTo>
                    <a:lnTo>
                      <a:pt x="465" y="22"/>
                    </a:lnTo>
                    <a:lnTo>
                      <a:pt x="464" y="24"/>
                    </a:lnTo>
                    <a:lnTo>
                      <a:pt x="464" y="24"/>
                    </a:lnTo>
                    <a:lnTo>
                      <a:pt x="462" y="29"/>
                    </a:lnTo>
                    <a:lnTo>
                      <a:pt x="462" y="33"/>
                    </a:lnTo>
                    <a:lnTo>
                      <a:pt x="464" y="39"/>
                    </a:lnTo>
                    <a:lnTo>
                      <a:pt x="462" y="40"/>
                    </a:lnTo>
                    <a:lnTo>
                      <a:pt x="461" y="43"/>
                    </a:lnTo>
                    <a:lnTo>
                      <a:pt x="461" y="43"/>
                    </a:lnTo>
                    <a:lnTo>
                      <a:pt x="459" y="44"/>
                    </a:lnTo>
                    <a:lnTo>
                      <a:pt x="459" y="47"/>
                    </a:lnTo>
                    <a:lnTo>
                      <a:pt x="459" y="54"/>
                    </a:lnTo>
                    <a:lnTo>
                      <a:pt x="459" y="63"/>
                    </a:lnTo>
                    <a:lnTo>
                      <a:pt x="459" y="71"/>
                    </a:lnTo>
                    <a:lnTo>
                      <a:pt x="459" y="71"/>
                    </a:lnTo>
                    <a:lnTo>
                      <a:pt x="458" y="84"/>
                    </a:lnTo>
                    <a:lnTo>
                      <a:pt x="458" y="90"/>
                    </a:lnTo>
                    <a:lnTo>
                      <a:pt x="455" y="96"/>
                    </a:lnTo>
                    <a:lnTo>
                      <a:pt x="455" y="96"/>
                    </a:lnTo>
                    <a:lnTo>
                      <a:pt x="452" y="100"/>
                    </a:lnTo>
                    <a:lnTo>
                      <a:pt x="449" y="105"/>
                    </a:lnTo>
                    <a:lnTo>
                      <a:pt x="447" y="111"/>
                    </a:lnTo>
                    <a:lnTo>
                      <a:pt x="441" y="114"/>
                    </a:lnTo>
                    <a:lnTo>
                      <a:pt x="441" y="114"/>
                    </a:lnTo>
                    <a:lnTo>
                      <a:pt x="435" y="115"/>
                    </a:lnTo>
                    <a:lnTo>
                      <a:pt x="428" y="113"/>
                    </a:lnTo>
                    <a:lnTo>
                      <a:pt x="424" y="110"/>
                    </a:lnTo>
                    <a:lnTo>
                      <a:pt x="422" y="105"/>
                    </a:lnTo>
                    <a:lnTo>
                      <a:pt x="422" y="105"/>
                    </a:lnTo>
                    <a:lnTo>
                      <a:pt x="421" y="103"/>
                    </a:lnTo>
                    <a:lnTo>
                      <a:pt x="417" y="101"/>
                    </a:lnTo>
                    <a:lnTo>
                      <a:pt x="412" y="100"/>
                    </a:lnTo>
                    <a:lnTo>
                      <a:pt x="408" y="100"/>
                    </a:lnTo>
                    <a:lnTo>
                      <a:pt x="408" y="100"/>
                    </a:lnTo>
                    <a:lnTo>
                      <a:pt x="404" y="98"/>
                    </a:lnTo>
                    <a:lnTo>
                      <a:pt x="401" y="96"/>
                    </a:lnTo>
                    <a:lnTo>
                      <a:pt x="397" y="91"/>
                    </a:lnTo>
                    <a:lnTo>
                      <a:pt x="392" y="87"/>
                    </a:lnTo>
                    <a:lnTo>
                      <a:pt x="392" y="87"/>
                    </a:lnTo>
                    <a:lnTo>
                      <a:pt x="390" y="86"/>
                    </a:lnTo>
                    <a:lnTo>
                      <a:pt x="387" y="84"/>
                    </a:lnTo>
                    <a:lnTo>
                      <a:pt x="381" y="84"/>
                    </a:lnTo>
                    <a:lnTo>
                      <a:pt x="378" y="84"/>
                    </a:lnTo>
                    <a:lnTo>
                      <a:pt x="377" y="83"/>
                    </a:lnTo>
                    <a:lnTo>
                      <a:pt x="375" y="81"/>
                    </a:lnTo>
                    <a:lnTo>
                      <a:pt x="375" y="81"/>
                    </a:lnTo>
                    <a:lnTo>
                      <a:pt x="374" y="77"/>
                    </a:lnTo>
                    <a:lnTo>
                      <a:pt x="371" y="74"/>
                    </a:lnTo>
                    <a:lnTo>
                      <a:pt x="365" y="68"/>
                    </a:lnTo>
                    <a:lnTo>
                      <a:pt x="365" y="68"/>
                    </a:lnTo>
                    <a:lnTo>
                      <a:pt x="363" y="67"/>
                    </a:lnTo>
                    <a:lnTo>
                      <a:pt x="361" y="66"/>
                    </a:lnTo>
                    <a:lnTo>
                      <a:pt x="367" y="61"/>
                    </a:lnTo>
                    <a:lnTo>
                      <a:pt x="367" y="61"/>
                    </a:lnTo>
                    <a:lnTo>
                      <a:pt x="370" y="59"/>
                    </a:lnTo>
                    <a:lnTo>
                      <a:pt x="370" y="54"/>
                    </a:lnTo>
                    <a:lnTo>
                      <a:pt x="370" y="51"/>
                    </a:lnTo>
                    <a:lnTo>
                      <a:pt x="368" y="47"/>
                    </a:lnTo>
                    <a:lnTo>
                      <a:pt x="368" y="47"/>
                    </a:lnTo>
                    <a:lnTo>
                      <a:pt x="367" y="46"/>
                    </a:lnTo>
                    <a:lnTo>
                      <a:pt x="370" y="44"/>
                    </a:lnTo>
                    <a:lnTo>
                      <a:pt x="378" y="40"/>
                    </a:lnTo>
                    <a:lnTo>
                      <a:pt x="378" y="40"/>
                    </a:lnTo>
                    <a:lnTo>
                      <a:pt x="381" y="37"/>
                    </a:lnTo>
                    <a:lnTo>
                      <a:pt x="381" y="34"/>
                    </a:lnTo>
                    <a:lnTo>
                      <a:pt x="381" y="32"/>
                    </a:lnTo>
                    <a:lnTo>
                      <a:pt x="384" y="30"/>
                    </a:lnTo>
                    <a:lnTo>
                      <a:pt x="384" y="30"/>
                    </a:lnTo>
                    <a:lnTo>
                      <a:pt x="385" y="27"/>
                    </a:lnTo>
                    <a:lnTo>
                      <a:pt x="385" y="26"/>
                    </a:lnTo>
                    <a:lnTo>
                      <a:pt x="384" y="23"/>
                    </a:lnTo>
                    <a:lnTo>
                      <a:pt x="380" y="22"/>
                    </a:lnTo>
                    <a:lnTo>
                      <a:pt x="380" y="22"/>
                    </a:lnTo>
                    <a:lnTo>
                      <a:pt x="377" y="22"/>
                    </a:lnTo>
                    <a:lnTo>
                      <a:pt x="375" y="24"/>
                    </a:lnTo>
                    <a:lnTo>
                      <a:pt x="375" y="27"/>
                    </a:lnTo>
                    <a:lnTo>
                      <a:pt x="374" y="29"/>
                    </a:lnTo>
                    <a:lnTo>
                      <a:pt x="374" y="29"/>
                    </a:lnTo>
                    <a:lnTo>
                      <a:pt x="373" y="27"/>
                    </a:lnTo>
                    <a:lnTo>
                      <a:pt x="371" y="24"/>
                    </a:lnTo>
                    <a:lnTo>
                      <a:pt x="370" y="22"/>
                    </a:lnTo>
                    <a:lnTo>
                      <a:pt x="368" y="20"/>
                    </a:lnTo>
                    <a:lnTo>
                      <a:pt x="368" y="20"/>
                    </a:lnTo>
                    <a:lnTo>
                      <a:pt x="363" y="24"/>
                    </a:lnTo>
                    <a:lnTo>
                      <a:pt x="358" y="26"/>
                    </a:lnTo>
                    <a:lnTo>
                      <a:pt x="357" y="26"/>
                    </a:lnTo>
                    <a:lnTo>
                      <a:pt x="356" y="24"/>
                    </a:lnTo>
                    <a:lnTo>
                      <a:pt x="356" y="24"/>
                    </a:lnTo>
                    <a:lnTo>
                      <a:pt x="350" y="22"/>
                    </a:lnTo>
                    <a:lnTo>
                      <a:pt x="341" y="19"/>
                    </a:lnTo>
                    <a:lnTo>
                      <a:pt x="324" y="14"/>
                    </a:lnTo>
                    <a:lnTo>
                      <a:pt x="324" y="14"/>
                    </a:lnTo>
                    <a:lnTo>
                      <a:pt x="320" y="13"/>
                    </a:lnTo>
                    <a:lnTo>
                      <a:pt x="316" y="9"/>
                    </a:lnTo>
                    <a:lnTo>
                      <a:pt x="313" y="6"/>
                    </a:lnTo>
                    <a:lnTo>
                      <a:pt x="311" y="6"/>
                    </a:lnTo>
                    <a:lnTo>
                      <a:pt x="310" y="6"/>
                    </a:lnTo>
                    <a:lnTo>
                      <a:pt x="310" y="6"/>
                    </a:lnTo>
                    <a:lnTo>
                      <a:pt x="307" y="7"/>
                    </a:lnTo>
                    <a:lnTo>
                      <a:pt x="309" y="10"/>
                    </a:lnTo>
                    <a:lnTo>
                      <a:pt x="316" y="16"/>
                    </a:lnTo>
                    <a:lnTo>
                      <a:pt x="316" y="16"/>
                    </a:lnTo>
                    <a:lnTo>
                      <a:pt x="316" y="19"/>
                    </a:lnTo>
                    <a:lnTo>
                      <a:pt x="314" y="20"/>
                    </a:lnTo>
                    <a:lnTo>
                      <a:pt x="307" y="23"/>
                    </a:lnTo>
                    <a:lnTo>
                      <a:pt x="299" y="24"/>
                    </a:lnTo>
                    <a:lnTo>
                      <a:pt x="291" y="24"/>
                    </a:lnTo>
                    <a:lnTo>
                      <a:pt x="291" y="24"/>
                    </a:lnTo>
                    <a:lnTo>
                      <a:pt x="289" y="24"/>
                    </a:lnTo>
                    <a:lnTo>
                      <a:pt x="289" y="26"/>
                    </a:lnTo>
                    <a:lnTo>
                      <a:pt x="289" y="27"/>
                    </a:lnTo>
                    <a:lnTo>
                      <a:pt x="287" y="29"/>
                    </a:lnTo>
                    <a:lnTo>
                      <a:pt x="286" y="29"/>
                    </a:lnTo>
                    <a:lnTo>
                      <a:pt x="286" y="29"/>
                    </a:lnTo>
                    <a:lnTo>
                      <a:pt x="284" y="29"/>
                    </a:lnTo>
                    <a:lnTo>
                      <a:pt x="283" y="30"/>
                    </a:lnTo>
                    <a:lnTo>
                      <a:pt x="280" y="34"/>
                    </a:lnTo>
                    <a:lnTo>
                      <a:pt x="277" y="39"/>
                    </a:lnTo>
                    <a:lnTo>
                      <a:pt x="274" y="43"/>
                    </a:lnTo>
                    <a:lnTo>
                      <a:pt x="274" y="43"/>
                    </a:lnTo>
                    <a:lnTo>
                      <a:pt x="273" y="47"/>
                    </a:lnTo>
                    <a:lnTo>
                      <a:pt x="272" y="50"/>
                    </a:lnTo>
                    <a:lnTo>
                      <a:pt x="272" y="53"/>
                    </a:lnTo>
                    <a:lnTo>
                      <a:pt x="269" y="54"/>
                    </a:lnTo>
                    <a:lnTo>
                      <a:pt x="269" y="54"/>
                    </a:lnTo>
                    <a:lnTo>
                      <a:pt x="266" y="57"/>
                    </a:lnTo>
                    <a:lnTo>
                      <a:pt x="264" y="60"/>
                    </a:lnTo>
                    <a:lnTo>
                      <a:pt x="266" y="64"/>
                    </a:lnTo>
                    <a:lnTo>
                      <a:pt x="269" y="68"/>
                    </a:lnTo>
                    <a:lnTo>
                      <a:pt x="269" y="68"/>
                    </a:lnTo>
                    <a:lnTo>
                      <a:pt x="272" y="73"/>
                    </a:lnTo>
                    <a:lnTo>
                      <a:pt x="270" y="73"/>
                    </a:lnTo>
                    <a:lnTo>
                      <a:pt x="269" y="74"/>
                    </a:lnTo>
                    <a:lnTo>
                      <a:pt x="266" y="73"/>
                    </a:lnTo>
                    <a:lnTo>
                      <a:pt x="262" y="70"/>
                    </a:lnTo>
                    <a:lnTo>
                      <a:pt x="262" y="70"/>
                    </a:lnTo>
                    <a:lnTo>
                      <a:pt x="257" y="67"/>
                    </a:lnTo>
                    <a:lnTo>
                      <a:pt x="253" y="66"/>
                    </a:lnTo>
                    <a:lnTo>
                      <a:pt x="252" y="67"/>
                    </a:lnTo>
                    <a:lnTo>
                      <a:pt x="250" y="71"/>
                    </a:lnTo>
                    <a:lnTo>
                      <a:pt x="250" y="71"/>
                    </a:lnTo>
                    <a:lnTo>
                      <a:pt x="250" y="74"/>
                    </a:lnTo>
                    <a:lnTo>
                      <a:pt x="247" y="74"/>
                    </a:lnTo>
                    <a:lnTo>
                      <a:pt x="246" y="71"/>
                    </a:lnTo>
                    <a:lnTo>
                      <a:pt x="246" y="67"/>
                    </a:lnTo>
                    <a:lnTo>
                      <a:pt x="246" y="67"/>
                    </a:lnTo>
                    <a:lnTo>
                      <a:pt x="246" y="66"/>
                    </a:lnTo>
                    <a:lnTo>
                      <a:pt x="245" y="64"/>
                    </a:lnTo>
                    <a:lnTo>
                      <a:pt x="242" y="63"/>
                    </a:lnTo>
                    <a:lnTo>
                      <a:pt x="239" y="61"/>
                    </a:lnTo>
                    <a:lnTo>
                      <a:pt x="236" y="60"/>
                    </a:lnTo>
                    <a:lnTo>
                      <a:pt x="236" y="60"/>
                    </a:lnTo>
                    <a:lnTo>
                      <a:pt x="235" y="57"/>
                    </a:lnTo>
                    <a:lnTo>
                      <a:pt x="230" y="53"/>
                    </a:lnTo>
                    <a:lnTo>
                      <a:pt x="227" y="51"/>
                    </a:lnTo>
                    <a:lnTo>
                      <a:pt x="223" y="50"/>
                    </a:lnTo>
                    <a:lnTo>
                      <a:pt x="223" y="50"/>
                    </a:lnTo>
                    <a:lnTo>
                      <a:pt x="220" y="51"/>
                    </a:lnTo>
                    <a:lnTo>
                      <a:pt x="219" y="53"/>
                    </a:lnTo>
                    <a:lnTo>
                      <a:pt x="216" y="54"/>
                    </a:lnTo>
                    <a:lnTo>
                      <a:pt x="213" y="56"/>
                    </a:lnTo>
                    <a:lnTo>
                      <a:pt x="213" y="56"/>
                    </a:lnTo>
                    <a:lnTo>
                      <a:pt x="210" y="56"/>
                    </a:lnTo>
                    <a:lnTo>
                      <a:pt x="209" y="57"/>
                    </a:lnTo>
                    <a:lnTo>
                      <a:pt x="209" y="60"/>
                    </a:lnTo>
                    <a:lnTo>
                      <a:pt x="209" y="63"/>
                    </a:lnTo>
                    <a:lnTo>
                      <a:pt x="209" y="63"/>
                    </a:lnTo>
                    <a:lnTo>
                      <a:pt x="209" y="64"/>
                    </a:lnTo>
                    <a:lnTo>
                      <a:pt x="208" y="64"/>
                    </a:lnTo>
                    <a:lnTo>
                      <a:pt x="205" y="64"/>
                    </a:lnTo>
                    <a:lnTo>
                      <a:pt x="200" y="63"/>
                    </a:lnTo>
                    <a:lnTo>
                      <a:pt x="196" y="63"/>
                    </a:lnTo>
                    <a:lnTo>
                      <a:pt x="196" y="63"/>
                    </a:lnTo>
                    <a:lnTo>
                      <a:pt x="193" y="64"/>
                    </a:lnTo>
                    <a:lnTo>
                      <a:pt x="193" y="67"/>
                    </a:lnTo>
                    <a:lnTo>
                      <a:pt x="195" y="68"/>
                    </a:lnTo>
                    <a:lnTo>
                      <a:pt x="193" y="70"/>
                    </a:lnTo>
                    <a:lnTo>
                      <a:pt x="193" y="70"/>
                    </a:lnTo>
                    <a:lnTo>
                      <a:pt x="192" y="71"/>
                    </a:lnTo>
                    <a:lnTo>
                      <a:pt x="190" y="73"/>
                    </a:lnTo>
                    <a:lnTo>
                      <a:pt x="189" y="74"/>
                    </a:lnTo>
                    <a:lnTo>
                      <a:pt x="186" y="76"/>
                    </a:lnTo>
                    <a:lnTo>
                      <a:pt x="186" y="76"/>
                    </a:lnTo>
                    <a:lnTo>
                      <a:pt x="185" y="76"/>
                    </a:lnTo>
                    <a:lnTo>
                      <a:pt x="183" y="77"/>
                    </a:lnTo>
                    <a:lnTo>
                      <a:pt x="182" y="81"/>
                    </a:lnTo>
                    <a:lnTo>
                      <a:pt x="183" y="91"/>
                    </a:lnTo>
                    <a:lnTo>
                      <a:pt x="183" y="91"/>
                    </a:lnTo>
                    <a:lnTo>
                      <a:pt x="183" y="93"/>
                    </a:lnTo>
                    <a:lnTo>
                      <a:pt x="182" y="93"/>
                    </a:lnTo>
                    <a:lnTo>
                      <a:pt x="179" y="93"/>
                    </a:lnTo>
                    <a:lnTo>
                      <a:pt x="175" y="90"/>
                    </a:lnTo>
                    <a:lnTo>
                      <a:pt x="171" y="90"/>
                    </a:lnTo>
                    <a:lnTo>
                      <a:pt x="171" y="90"/>
                    </a:lnTo>
                    <a:lnTo>
                      <a:pt x="169" y="91"/>
                    </a:lnTo>
                    <a:lnTo>
                      <a:pt x="171" y="94"/>
                    </a:lnTo>
                    <a:lnTo>
                      <a:pt x="172" y="98"/>
                    </a:lnTo>
                    <a:lnTo>
                      <a:pt x="173" y="103"/>
                    </a:lnTo>
                    <a:lnTo>
                      <a:pt x="173" y="103"/>
                    </a:lnTo>
                    <a:lnTo>
                      <a:pt x="173" y="105"/>
                    </a:lnTo>
                    <a:lnTo>
                      <a:pt x="172" y="107"/>
                    </a:lnTo>
                    <a:lnTo>
                      <a:pt x="169" y="110"/>
                    </a:lnTo>
                    <a:lnTo>
                      <a:pt x="169" y="110"/>
                    </a:lnTo>
                    <a:lnTo>
                      <a:pt x="168" y="111"/>
                    </a:lnTo>
                    <a:lnTo>
                      <a:pt x="166" y="110"/>
                    </a:lnTo>
                    <a:lnTo>
                      <a:pt x="165" y="107"/>
                    </a:lnTo>
                    <a:lnTo>
                      <a:pt x="163" y="103"/>
                    </a:lnTo>
                    <a:lnTo>
                      <a:pt x="162" y="98"/>
                    </a:lnTo>
                    <a:lnTo>
                      <a:pt x="162" y="98"/>
                    </a:lnTo>
                    <a:lnTo>
                      <a:pt x="162" y="97"/>
                    </a:lnTo>
                    <a:lnTo>
                      <a:pt x="161" y="96"/>
                    </a:lnTo>
                    <a:lnTo>
                      <a:pt x="158" y="97"/>
                    </a:lnTo>
                    <a:lnTo>
                      <a:pt x="149" y="104"/>
                    </a:lnTo>
                    <a:lnTo>
                      <a:pt x="149" y="104"/>
                    </a:lnTo>
                    <a:lnTo>
                      <a:pt x="148" y="107"/>
                    </a:lnTo>
                    <a:lnTo>
                      <a:pt x="148" y="110"/>
                    </a:lnTo>
                    <a:lnTo>
                      <a:pt x="148" y="115"/>
                    </a:lnTo>
                    <a:lnTo>
                      <a:pt x="149" y="121"/>
                    </a:lnTo>
                    <a:lnTo>
                      <a:pt x="149" y="123"/>
                    </a:lnTo>
                    <a:lnTo>
                      <a:pt x="149" y="124"/>
                    </a:lnTo>
                    <a:lnTo>
                      <a:pt x="149" y="124"/>
                    </a:lnTo>
                    <a:lnTo>
                      <a:pt x="139" y="133"/>
                    </a:lnTo>
                    <a:lnTo>
                      <a:pt x="126" y="147"/>
                    </a:lnTo>
                    <a:lnTo>
                      <a:pt x="126" y="147"/>
                    </a:lnTo>
                    <a:lnTo>
                      <a:pt x="122" y="150"/>
                    </a:lnTo>
                    <a:lnTo>
                      <a:pt x="119" y="151"/>
                    </a:lnTo>
                    <a:lnTo>
                      <a:pt x="111" y="152"/>
                    </a:lnTo>
                    <a:lnTo>
                      <a:pt x="102" y="152"/>
                    </a:lnTo>
                    <a:lnTo>
                      <a:pt x="99" y="152"/>
                    </a:lnTo>
                    <a:lnTo>
                      <a:pt x="98" y="154"/>
                    </a:lnTo>
                    <a:lnTo>
                      <a:pt x="98" y="154"/>
                    </a:lnTo>
                    <a:lnTo>
                      <a:pt x="94" y="157"/>
                    </a:lnTo>
                    <a:lnTo>
                      <a:pt x="89" y="157"/>
                    </a:lnTo>
                    <a:lnTo>
                      <a:pt x="87" y="157"/>
                    </a:lnTo>
                    <a:lnTo>
                      <a:pt x="82" y="160"/>
                    </a:lnTo>
                    <a:lnTo>
                      <a:pt x="82" y="160"/>
                    </a:lnTo>
                    <a:lnTo>
                      <a:pt x="72" y="165"/>
                    </a:lnTo>
                    <a:lnTo>
                      <a:pt x="70" y="167"/>
                    </a:lnTo>
                    <a:lnTo>
                      <a:pt x="68" y="167"/>
                    </a:lnTo>
                    <a:lnTo>
                      <a:pt x="67" y="165"/>
                    </a:lnTo>
                    <a:lnTo>
                      <a:pt x="67" y="165"/>
                    </a:lnTo>
                    <a:lnTo>
                      <a:pt x="65" y="164"/>
                    </a:lnTo>
                    <a:lnTo>
                      <a:pt x="64" y="164"/>
                    </a:lnTo>
                    <a:lnTo>
                      <a:pt x="58" y="164"/>
                    </a:lnTo>
                    <a:lnTo>
                      <a:pt x="53" y="167"/>
                    </a:lnTo>
                    <a:lnTo>
                      <a:pt x="48" y="171"/>
                    </a:lnTo>
                    <a:lnTo>
                      <a:pt x="48" y="171"/>
                    </a:lnTo>
                    <a:lnTo>
                      <a:pt x="43" y="175"/>
                    </a:lnTo>
                    <a:lnTo>
                      <a:pt x="38" y="178"/>
                    </a:lnTo>
                    <a:lnTo>
                      <a:pt x="33" y="181"/>
                    </a:lnTo>
                    <a:lnTo>
                      <a:pt x="28" y="181"/>
                    </a:lnTo>
                    <a:lnTo>
                      <a:pt x="28" y="181"/>
                    </a:lnTo>
                    <a:lnTo>
                      <a:pt x="25" y="182"/>
                    </a:lnTo>
                    <a:lnTo>
                      <a:pt x="24" y="184"/>
                    </a:lnTo>
                    <a:lnTo>
                      <a:pt x="23" y="187"/>
                    </a:lnTo>
                    <a:lnTo>
                      <a:pt x="21" y="191"/>
                    </a:lnTo>
                    <a:lnTo>
                      <a:pt x="20" y="194"/>
                    </a:lnTo>
                    <a:lnTo>
                      <a:pt x="20" y="194"/>
                    </a:lnTo>
                    <a:lnTo>
                      <a:pt x="18" y="194"/>
                    </a:lnTo>
                    <a:lnTo>
                      <a:pt x="18" y="192"/>
                    </a:lnTo>
                    <a:lnTo>
                      <a:pt x="17" y="189"/>
                    </a:lnTo>
                    <a:lnTo>
                      <a:pt x="17" y="184"/>
                    </a:lnTo>
                    <a:lnTo>
                      <a:pt x="17" y="184"/>
                    </a:lnTo>
                    <a:lnTo>
                      <a:pt x="17" y="182"/>
                    </a:lnTo>
                    <a:lnTo>
                      <a:pt x="17" y="182"/>
                    </a:lnTo>
                    <a:lnTo>
                      <a:pt x="14" y="185"/>
                    </a:lnTo>
                    <a:lnTo>
                      <a:pt x="11" y="189"/>
                    </a:lnTo>
                    <a:lnTo>
                      <a:pt x="10" y="195"/>
                    </a:lnTo>
                    <a:lnTo>
                      <a:pt x="10" y="195"/>
                    </a:lnTo>
                    <a:lnTo>
                      <a:pt x="8" y="199"/>
                    </a:lnTo>
                    <a:lnTo>
                      <a:pt x="11" y="204"/>
                    </a:lnTo>
                    <a:lnTo>
                      <a:pt x="11" y="208"/>
                    </a:lnTo>
                    <a:lnTo>
                      <a:pt x="11" y="211"/>
                    </a:lnTo>
                    <a:lnTo>
                      <a:pt x="10" y="214"/>
                    </a:lnTo>
                    <a:lnTo>
                      <a:pt x="10" y="214"/>
                    </a:lnTo>
                    <a:lnTo>
                      <a:pt x="6" y="219"/>
                    </a:lnTo>
                    <a:lnTo>
                      <a:pt x="4" y="225"/>
                    </a:lnTo>
                    <a:lnTo>
                      <a:pt x="4" y="232"/>
                    </a:lnTo>
                    <a:lnTo>
                      <a:pt x="6" y="235"/>
                    </a:lnTo>
                    <a:lnTo>
                      <a:pt x="7" y="239"/>
                    </a:lnTo>
                    <a:lnTo>
                      <a:pt x="7" y="239"/>
                    </a:lnTo>
                    <a:lnTo>
                      <a:pt x="16" y="251"/>
                    </a:lnTo>
                    <a:lnTo>
                      <a:pt x="17" y="256"/>
                    </a:lnTo>
                    <a:lnTo>
                      <a:pt x="17" y="261"/>
                    </a:lnTo>
                    <a:lnTo>
                      <a:pt x="17" y="261"/>
                    </a:lnTo>
                    <a:lnTo>
                      <a:pt x="16" y="261"/>
                    </a:lnTo>
                    <a:lnTo>
                      <a:pt x="14" y="261"/>
                    </a:lnTo>
                    <a:lnTo>
                      <a:pt x="11" y="258"/>
                    </a:lnTo>
                    <a:lnTo>
                      <a:pt x="8" y="253"/>
                    </a:lnTo>
                    <a:lnTo>
                      <a:pt x="7" y="252"/>
                    </a:lnTo>
                    <a:lnTo>
                      <a:pt x="7" y="252"/>
                    </a:lnTo>
                    <a:lnTo>
                      <a:pt x="7" y="252"/>
                    </a:lnTo>
                    <a:lnTo>
                      <a:pt x="7" y="253"/>
                    </a:lnTo>
                    <a:lnTo>
                      <a:pt x="10" y="258"/>
                    </a:lnTo>
                    <a:lnTo>
                      <a:pt x="11" y="261"/>
                    </a:lnTo>
                    <a:lnTo>
                      <a:pt x="11" y="263"/>
                    </a:lnTo>
                    <a:lnTo>
                      <a:pt x="11" y="263"/>
                    </a:lnTo>
                    <a:lnTo>
                      <a:pt x="10" y="263"/>
                    </a:lnTo>
                    <a:lnTo>
                      <a:pt x="8" y="263"/>
                    </a:lnTo>
                    <a:lnTo>
                      <a:pt x="6" y="259"/>
                    </a:lnTo>
                    <a:lnTo>
                      <a:pt x="3" y="255"/>
                    </a:lnTo>
                    <a:lnTo>
                      <a:pt x="1" y="255"/>
                    </a:lnTo>
                    <a:lnTo>
                      <a:pt x="0" y="255"/>
                    </a:lnTo>
                    <a:lnTo>
                      <a:pt x="0" y="255"/>
                    </a:lnTo>
                    <a:lnTo>
                      <a:pt x="0" y="256"/>
                    </a:lnTo>
                    <a:lnTo>
                      <a:pt x="1" y="261"/>
                    </a:lnTo>
                    <a:lnTo>
                      <a:pt x="7" y="271"/>
                    </a:lnTo>
                    <a:lnTo>
                      <a:pt x="14" y="282"/>
                    </a:lnTo>
                    <a:lnTo>
                      <a:pt x="16" y="288"/>
                    </a:lnTo>
                    <a:lnTo>
                      <a:pt x="17" y="290"/>
                    </a:lnTo>
                    <a:lnTo>
                      <a:pt x="17" y="290"/>
                    </a:lnTo>
                    <a:lnTo>
                      <a:pt x="17" y="295"/>
                    </a:lnTo>
                    <a:lnTo>
                      <a:pt x="18" y="298"/>
                    </a:lnTo>
                    <a:lnTo>
                      <a:pt x="24" y="305"/>
                    </a:lnTo>
                    <a:lnTo>
                      <a:pt x="28" y="312"/>
                    </a:lnTo>
                    <a:lnTo>
                      <a:pt x="30" y="316"/>
                    </a:lnTo>
                    <a:lnTo>
                      <a:pt x="30" y="322"/>
                    </a:lnTo>
                    <a:lnTo>
                      <a:pt x="30" y="322"/>
                    </a:lnTo>
                    <a:lnTo>
                      <a:pt x="30" y="326"/>
                    </a:lnTo>
                    <a:lnTo>
                      <a:pt x="31" y="332"/>
                    </a:lnTo>
                    <a:lnTo>
                      <a:pt x="35" y="343"/>
                    </a:lnTo>
                    <a:lnTo>
                      <a:pt x="44" y="357"/>
                    </a:lnTo>
                    <a:lnTo>
                      <a:pt x="44" y="357"/>
                    </a:lnTo>
                    <a:lnTo>
                      <a:pt x="44" y="362"/>
                    </a:lnTo>
                    <a:lnTo>
                      <a:pt x="43" y="366"/>
                    </a:lnTo>
                    <a:lnTo>
                      <a:pt x="41" y="373"/>
                    </a:lnTo>
                    <a:lnTo>
                      <a:pt x="41" y="379"/>
                    </a:lnTo>
                    <a:lnTo>
                      <a:pt x="41" y="379"/>
                    </a:lnTo>
                    <a:lnTo>
                      <a:pt x="41" y="386"/>
                    </a:lnTo>
                    <a:lnTo>
                      <a:pt x="38" y="390"/>
                    </a:lnTo>
                    <a:lnTo>
                      <a:pt x="35" y="391"/>
                    </a:lnTo>
                    <a:lnTo>
                      <a:pt x="31" y="393"/>
                    </a:lnTo>
                    <a:lnTo>
                      <a:pt x="31" y="393"/>
                    </a:lnTo>
                    <a:lnTo>
                      <a:pt x="30" y="393"/>
                    </a:lnTo>
                    <a:lnTo>
                      <a:pt x="28" y="394"/>
                    </a:lnTo>
                    <a:lnTo>
                      <a:pt x="28" y="397"/>
                    </a:lnTo>
                    <a:lnTo>
                      <a:pt x="31" y="401"/>
                    </a:lnTo>
                    <a:lnTo>
                      <a:pt x="35" y="403"/>
                    </a:lnTo>
                    <a:lnTo>
                      <a:pt x="35" y="403"/>
                    </a:lnTo>
                    <a:lnTo>
                      <a:pt x="40" y="404"/>
                    </a:lnTo>
                    <a:lnTo>
                      <a:pt x="41" y="407"/>
                    </a:lnTo>
                    <a:lnTo>
                      <a:pt x="44" y="410"/>
                    </a:lnTo>
                    <a:lnTo>
                      <a:pt x="47" y="413"/>
                    </a:lnTo>
                    <a:lnTo>
                      <a:pt x="47" y="413"/>
                    </a:lnTo>
                    <a:lnTo>
                      <a:pt x="54" y="416"/>
                    </a:lnTo>
                    <a:lnTo>
                      <a:pt x="64" y="417"/>
                    </a:lnTo>
                    <a:lnTo>
                      <a:pt x="78" y="417"/>
                    </a:lnTo>
                    <a:lnTo>
                      <a:pt x="78" y="417"/>
                    </a:lnTo>
                    <a:lnTo>
                      <a:pt x="82" y="416"/>
                    </a:lnTo>
                    <a:lnTo>
                      <a:pt x="85" y="411"/>
                    </a:lnTo>
                    <a:lnTo>
                      <a:pt x="89" y="408"/>
                    </a:lnTo>
                    <a:lnTo>
                      <a:pt x="95" y="407"/>
                    </a:lnTo>
                    <a:lnTo>
                      <a:pt x="95" y="407"/>
                    </a:lnTo>
                    <a:lnTo>
                      <a:pt x="99" y="406"/>
                    </a:lnTo>
                    <a:lnTo>
                      <a:pt x="102" y="404"/>
                    </a:lnTo>
                    <a:lnTo>
                      <a:pt x="107" y="399"/>
                    </a:lnTo>
                    <a:lnTo>
                      <a:pt x="107" y="399"/>
                    </a:lnTo>
                    <a:lnTo>
                      <a:pt x="108" y="397"/>
                    </a:lnTo>
                    <a:lnTo>
                      <a:pt x="111" y="397"/>
                    </a:lnTo>
                    <a:lnTo>
                      <a:pt x="121" y="396"/>
                    </a:lnTo>
                    <a:lnTo>
                      <a:pt x="148" y="397"/>
                    </a:lnTo>
                    <a:lnTo>
                      <a:pt x="148" y="397"/>
                    </a:lnTo>
                    <a:lnTo>
                      <a:pt x="159" y="396"/>
                    </a:lnTo>
                    <a:lnTo>
                      <a:pt x="168" y="394"/>
                    </a:lnTo>
                    <a:lnTo>
                      <a:pt x="173" y="390"/>
                    </a:lnTo>
                    <a:lnTo>
                      <a:pt x="178" y="384"/>
                    </a:lnTo>
                    <a:lnTo>
                      <a:pt x="178" y="384"/>
                    </a:lnTo>
                    <a:lnTo>
                      <a:pt x="179" y="381"/>
                    </a:lnTo>
                    <a:lnTo>
                      <a:pt x="181" y="380"/>
                    </a:lnTo>
                    <a:lnTo>
                      <a:pt x="186" y="377"/>
                    </a:lnTo>
                    <a:lnTo>
                      <a:pt x="193" y="376"/>
                    </a:lnTo>
                    <a:lnTo>
                      <a:pt x="199" y="372"/>
                    </a:lnTo>
                    <a:lnTo>
                      <a:pt x="199" y="372"/>
                    </a:lnTo>
                    <a:lnTo>
                      <a:pt x="202" y="369"/>
                    </a:lnTo>
                    <a:lnTo>
                      <a:pt x="208" y="367"/>
                    </a:lnTo>
                    <a:lnTo>
                      <a:pt x="213" y="367"/>
                    </a:lnTo>
                    <a:lnTo>
                      <a:pt x="222" y="367"/>
                    </a:lnTo>
                    <a:lnTo>
                      <a:pt x="222" y="367"/>
                    </a:lnTo>
                    <a:lnTo>
                      <a:pt x="232" y="367"/>
                    </a:lnTo>
                    <a:lnTo>
                      <a:pt x="242" y="364"/>
                    </a:lnTo>
                    <a:lnTo>
                      <a:pt x="257" y="357"/>
                    </a:lnTo>
                    <a:lnTo>
                      <a:pt x="257" y="357"/>
                    </a:lnTo>
                    <a:lnTo>
                      <a:pt x="266" y="356"/>
                    </a:lnTo>
                    <a:lnTo>
                      <a:pt x="274" y="354"/>
                    </a:lnTo>
                    <a:lnTo>
                      <a:pt x="284" y="354"/>
                    </a:lnTo>
                    <a:lnTo>
                      <a:pt x="291" y="353"/>
                    </a:lnTo>
                    <a:lnTo>
                      <a:pt x="291" y="353"/>
                    </a:lnTo>
                    <a:lnTo>
                      <a:pt x="294" y="353"/>
                    </a:lnTo>
                    <a:lnTo>
                      <a:pt x="297" y="353"/>
                    </a:lnTo>
                    <a:lnTo>
                      <a:pt x="301" y="357"/>
                    </a:lnTo>
                    <a:lnTo>
                      <a:pt x="306" y="362"/>
                    </a:lnTo>
                    <a:lnTo>
                      <a:pt x="309" y="363"/>
                    </a:lnTo>
                    <a:lnTo>
                      <a:pt x="311" y="363"/>
                    </a:lnTo>
                    <a:lnTo>
                      <a:pt x="311" y="363"/>
                    </a:lnTo>
                    <a:lnTo>
                      <a:pt x="317" y="363"/>
                    </a:lnTo>
                    <a:lnTo>
                      <a:pt x="323" y="363"/>
                    </a:lnTo>
                    <a:lnTo>
                      <a:pt x="326" y="364"/>
                    </a:lnTo>
                    <a:lnTo>
                      <a:pt x="330" y="364"/>
                    </a:lnTo>
                    <a:lnTo>
                      <a:pt x="330" y="364"/>
                    </a:lnTo>
                    <a:lnTo>
                      <a:pt x="333" y="366"/>
                    </a:lnTo>
                    <a:lnTo>
                      <a:pt x="334" y="367"/>
                    </a:lnTo>
                    <a:lnTo>
                      <a:pt x="337" y="369"/>
                    </a:lnTo>
                    <a:lnTo>
                      <a:pt x="340" y="370"/>
                    </a:lnTo>
                    <a:lnTo>
                      <a:pt x="340" y="370"/>
                    </a:lnTo>
                    <a:lnTo>
                      <a:pt x="343" y="372"/>
                    </a:lnTo>
                    <a:lnTo>
                      <a:pt x="343" y="373"/>
                    </a:lnTo>
                    <a:lnTo>
                      <a:pt x="343" y="376"/>
                    </a:lnTo>
                    <a:lnTo>
                      <a:pt x="340" y="380"/>
                    </a:lnTo>
                    <a:lnTo>
                      <a:pt x="340" y="380"/>
                    </a:lnTo>
                    <a:lnTo>
                      <a:pt x="340" y="381"/>
                    </a:lnTo>
                    <a:lnTo>
                      <a:pt x="340" y="383"/>
                    </a:lnTo>
                    <a:lnTo>
                      <a:pt x="344" y="384"/>
                    </a:lnTo>
                    <a:lnTo>
                      <a:pt x="348" y="387"/>
                    </a:lnTo>
                    <a:lnTo>
                      <a:pt x="354" y="393"/>
                    </a:lnTo>
                    <a:lnTo>
                      <a:pt x="354" y="393"/>
                    </a:lnTo>
                    <a:lnTo>
                      <a:pt x="357" y="399"/>
                    </a:lnTo>
                    <a:lnTo>
                      <a:pt x="358" y="403"/>
                    </a:lnTo>
                    <a:lnTo>
                      <a:pt x="357" y="407"/>
                    </a:lnTo>
                    <a:lnTo>
                      <a:pt x="358" y="411"/>
                    </a:lnTo>
                    <a:lnTo>
                      <a:pt x="358" y="411"/>
                    </a:lnTo>
                    <a:lnTo>
                      <a:pt x="361" y="414"/>
                    </a:lnTo>
                    <a:lnTo>
                      <a:pt x="364" y="416"/>
                    </a:lnTo>
                    <a:lnTo>
                      <a:pt x="367" y="413"/>
                    </a:lnTo>
                    <a:lnTo>
                      <a:pt x="371" y="406"/>
                    </a:lnTo>
                    <a:lnTo>
                      <a:pt x="371" y="406"/>
                    </a:lnTo>
                    <a:lnTo>
                      <a:pt x="374" y="403"/>
                    </a:lnTo>
                    <a:lnTo>
                      <a:pt x="377" y="401"/>
                    </a:lnTo>
                    <a:lnTo>
                      <a:pt x="383" y="400"/>
                    </a:lnTo>
                    <a:lnTo>
                      <a:pt x="385" y="399"/>
                    </a:lnTo>
                    <a:lnTo>
                      <a:pt x="387" y="397"/>
                    </a:lnTo>
                    <a:lnTo>
                      <a:pt x="388" y="394"/>
                    </a:lnTo>
                    <a:lnTo>
                      <a:pt x="388" y="394"/>
                    </a:lnTo>
                    <a:lnTo>
                      <a:pt x="390" y="387"/>
                    </a:lnTo>
                    <a:lnTo>
                      <a:pt x="392" y="383"/>
                    </a:lnTo>
                    <a:lnTo>
                      <a:pt x="397" y="379"/>
                    </a:lnTo>
                    <a:lnTo>
                      <a:pt x="400" y="379"/>
                    </a:lnTo>
                    <a:lnTo>
                      <a:pt x="401" y="380"/>
                    </a:lnTo>
                    <a:lnTo>
                      <a:pt x="401" y="380"/>
                    </a:lnTo>
                    <a:lnTo>
                      <a:pt x="402" y="381"/>
                    </a:lnTo>
                    <a:lnTo>
                      <a:pt x="402" y="383"/>
                    </a:lnTo>
                    <a:lnTo>
                      <a:pt x="401" y="387"/>
                    </a:lnTo>
                    <a:lnTo>
                      <a:pt x="398" y="393"/>
                    </a:lnTo>
                    <a:lnTo>
                      <a:pt x="394" y="403"/>
                    </a:lnTo>
                    <a:lnTo>
                      <a:pt x="394" y="403"/>
                    </a:lnTo>
                    <a:lnTo>
                      <a:pt x="391" y="411"/>
                    </a:lnTo>
                    <a:lnTo>
                      <a:pt x="390" y="413"/>
                    </a:lnTo>
                    <a:lnTo>
                      <a:pt x="388" y="413"/>
                    </a:lnTo>
                    <a:lnTo>
                      <a:pt x="385" y="414"/>
                    </a:lnTo>
                    <a:lnTo>
                      <a:pt x="385" y="414"/>
                    </a:lnTo>
                    <a:lnTo>
                      <a:pt x="384" y="416"/>
                    </a:lnTo>
                    <a:lnTo>
                      <a:pt x="384" y="416"/>
                    </a:lnTo>
                    <a:lnTo>
                      <a:pt x="385" y="417"/>
                    </a:lnTo>
                    <a:lnTo>
                      <a:pt x="387" y="418"/>
                    </a:lnTo>
                    <a:lnTo>
                      <a:pt x="391" y="420"/>
                    </a:lnTo>
                    <a:lnTo>
                      <a:pt x="397" y="418"/>
                    </a:lnTo>
                    <a:lnTo>
                      <a:pt x="398" y="417"/>
                    </a:lnTo>
                    <a:lnTo>
                      <a:pt x="400" y="414"/>
                    </a:lnTo>
                    <a:lnTo>
                      <a:pt x="400" y="414"/>
                    </a:lnTo>
                    <a:lnTo>
                      <a:pt x="400" y="408"/>
                    </a:lnTo>
                    <a:lnTo>
                      <a:pt x="401" y="406"/>
                    </a:lnTo>
                    <a:lnTo>
                      <a:pt x="402" y="404"/>
                    </a:lnTo>
                    <a:lnTo>
                      <a:pt x="404" y="406"/>
                    </a:lnTo>
                    <a:lnTo>
                      <a:pt x="408" y="408"/>
                    </a:lnTo>
                    <a:lnTo>
                      <a:pt x="408" y="408"/>
                    </a:lnTo>
                    <a:lnTo>
                      <a:pt x="410" y="411"/>
                    </a:lnTo>
                    <a:lnTo>
                      <a:pt x="411" y="414"/>
                    </a:lnTo>
                    <a:lnTo>
                      <a:pt x="410" y="420"/>
                    </a:lnTo>
                    <a:lnTo>
                      <a:pt x="407" y="424"/>
                    </a:lnTo>
                    <a:lnTo>
                      <a:pt x="407" y="427"/>
                    </a:lnTo>
                    <a:lnTo>
                      <a:pt x="407" y="427"/>
                    </a:lnTo>
                    <a:lnTo>
                      <a:pt x="408" y="428"/>
                    </a:lnTo>
                    <a:lnTo>
                      <a:pt x="411" y="428"/>
                    </a:lnTo>
                    <a:lnTo>
                      <a:pt x="415" y="427"/>
                    </a:lnTo>
                    <a:lnTo>
                      <a:pt x="418" y="426"/>
                    </a:lnTo>
                    <a:lnTo>
                      <a:pt x="418" y="426"/>
                    </a:lnTo>
                    <a:lnTo>
                      <a:pt x="421" y="427"/>
                    </a:lnTo>
                    <a:lnTo>
                      <a:pt x="422" y="428"/>
                    </a:lnTo>
                    <a:lnTo>
                      <a:pt x="428" y="434"/>
                    </a:lnTo>
                    <a:lnTo>
                      <a:pt x="431" y="441"/>
                    </a:lnTo>
                    <a:lnTo>
                      <a:pt x="431" y="448"/>
                    </a:lnTo>
                    <a:lnTo>
                      <a:pt x="431" y="448"/>
                    </a:lnTo>
                    <a:lnTo>
                      <a:pt x="431" y="454"/>
                    </a:lnTo>
                    <a:lnTo>
                      <a:pt x="431" y="460"/>
                    </a:lnTo>
                    <a:lnTo>
                      <a:pt x="434" y="464"/>
                    </a:lnTo>
                    <a:lnTo>
                      <a:pt x="439" y="468"/>
                    </a:lnTo>
                    <a:lnTo>
                      <a:pt x="439" y="468"/>
                    </a:lnTo>
                    <a:lnTo>
                      <a:pt x="447" y="473"/>
                    </a:lnTo>
                    <a:lnTo>
                      <a:pt x="449" y="475"/>
                    </a:lnTo>
                    <a:lnTo>
                      <a:pt x="452" y="475"/>
                    </a:lnTo>
                    <a:lnTo>
                      <a:pt x="457" y="475"/>
                    </a:lnTo>
                    <a:lnTo>
                      <a:pt x="457" y="475"/>
                    </a:lnTo>
                    <a:lnTo>
                      <a:pt x="465" y="477"/>
                    </a:lnTo>
                    <a:lnTo>
                      <a:pt x="474" y="480"/>
                    </a:lnTo>
                    <a:lnTo>
                      <a:pt x="482" y="484"/>
                    </a:lnTo>
                    <a:lnTo>
                      <a:pt x="489" y="487"/>
                    </a:lnTo>
                    <a:lnTo>
                      <a:pt x="489" y="487"/>
                    </a:lnTo>
                    <a:lnTo>
                      <a:pt x="491" y="488"/>
                    </a:lnTo>
                    <a:lnTo>
                      <a:pt x="494" y="488"/>
                    </a:lnTo>
                    <a:lnTo>
                      <a:pt x="499" y="487"/>
                    </a:lnTo>
                    <a:lnTo>
                      <a:pt x="505" y="481"/>
                    </a:lnTo>
                    <a:lnTo>
                      <a:pt x="509" y="475"/>
                    </a:lnTo>
                    <a:lnTo>
                      <a:pt x="509" y="475"/>
                    </a:lnTo>
                    <a:lnTo>
                      <a:pt x="511" y="473"/>
                    </a:lnTo>
                    <a:lnTo>
                      <a:pt x="512" y="473"/>
                    </a:lnTo>
                    <a:lnTo>
                      <a:pt x="513" y="473"/>
                    </a:lnTo>
                    <a:lnTo>
                      <a:pt x="515" y="473"/>
                    </a:lnTo>
                    <a:lnTo>
                      <a:pt x="518" y="475"/>
                    </a:lnTo>
                    <a:lnTo>
                      <a:pt x="516" y="477"/>
                    </a:lnTo>
                    <a:lnTo>
                      <a:pt x="516" y="478"/>
                    </a:lnTo>
                    <a:lnTo>
                      <a:pt x="516" y="478"/>
                    </a:lnTo>
                    <a:lnTo>
                      <a:pt x="515" y="480"/>
                    </a:lnTo>
                    <a:lnTo>
                      <a:pt x="513" y="481"/>
                    </a:lnTo>
                    <a:lnTo>
                      <a:pt x="515" y="484"/>
                    </a:lnTo>
                    <a:lnTo>
                      <a:pt x="518" y="485"/>
                    </a:lnTo>
                    <a:lnTo>
                      <a:pt x="518" y="484"/>
                    </a:lnTo>
                    <a:lnTo>
                      <a:pt x="519" y="482"/>
                    </a:lnTo>
                    <a:lnTo>
                      <a:pt x="519" y="482"/>
                    </a:lnTo>
                    <a:lnTo>
                      <a:pt x="521" y="478"/>
                    </a:lnTo>
                    <a:lnTo>
                      <a:pt x="522" y="477"/>
                    </a:lnTo>
                    <a:lnTo>
                      <a:pt x="523" y="480"/>
                    </a:lnTo>
                    <a:lnTo>
                      <a:pt x="523" y="480"/>
                    </a:lnTo>
                    <a:lnTo>
                      <a:pt x="525" y="482"/>
                    </a:lnTo>
                    <a:lnTo>
                      <a:pt x="528" y="485"/>
                    </a:lnTo>
                    <a:lnTo>
                      <a:pt x="530" y="487"/>
                    </a:lnTo>
                    <a:lnTo>
                      <a:pt x="533" y="490"/>
                    </a:lnTo>
                    <a:lnTo>
                      <a:pt x="533" y="490"/>
                    </a:lnTo>
                    <a:lnTo>
                      <a:pt x="538" y="494"/>
                    </a:lnTo>
                    <a:lnTo>
                      <a:pt x="539" y="495"/>
                    </a:lnTo>
                    <a:lnTo>
                      <a:pt x="539" y="494"/>
                    </a:lnTo>
                    <a:lnTo>
                      <a:pt x="539" y="494"/>
                    </a:lnTo>
                    <a:lnTo>
                      <a:pt x="539" y="491"/>
                    </a:lnTo>
                    <a:lnTo>
                      <a:pt x="540" y="488"/>
                    </a:lnTo>
                    <a:lnTo>
                      <a:pt x="542" y="487"/>
                    </a:lnTo>
                    <a:lnTo>
                      <a:pt x="546" y="484"/>
                    </a:lnTo>
                    <a:lnTo>
                      <a:pt x="546" y="484"/>
                    </a:lnTo>
                    <a:lnTo>
                      <a:pt x="553" y="480"/>
                    </a:lnTo>
                    <a:lnTo>
                      <a:pt x="562" y="474"/>
                    </a:lnTo>
                    <a:lnTo>
                      <a:pt x="562" y="474"/>
                    </a:lnTo>
                    <a:lnTo>
                      <a:pt x="565" y="471"/>
                    </a:lnTo>
                    <a:lnTo>
                      <a:pt x="569" y="471"/>
                    </a:lnTo>
                    <a:lnTo>
                      <a:pt x="579" y="468"/>
                    </a:lnTo>
                    <a:lnTo>
                      <a:pt x="595" y="467"/>
                    </a:lnTo>
                    <a:lnTo>
                      <a:pt x="595" y="467"/>
                    </a:lnTo>
                    <a:lnTo>
                      <a:pt x="596" y="464"/>
                    </a:lnTo>
                    <a:lnTo>
                      <a:pt x="597" y="455"/>
                    </a:lnTo>
                    <a:lnTo>
                      <a:pt x="600" y="436"/>
                    </a:lnTo>
                    <a:lnTo>
                      <a:pt x="600" y="436"/>
                    </a:lnTo>
                    <a:lnTo>
                      <a:pt x="602" y="428"/>
                    </a:lnTo>
                    <a:lnTo>
                      <a:pt x="606" y="423"/>
                    </a:lnTo>
                    <a:lnTo>
                      <a:pt x="610" y="417"/>
                    </a:lnTo>
                    <a:lnTo>
                      <a:pt x="612" y="410"/>
                    </a:lnTo>
                    <a:lnTo>
                      <a:pt x="612" y="410"/>
                    </a:lnTo>
                    <a:lnTo>
                      <a:pt x="614" y="400"/>
                    </a:lnTo>
                    <a:lnTo>
                      <a:pt x="620" y="389"/>
                    </a:lnTo>
                    <a:lnTo>
                      <a:pt x="626" y="380"/>
                    </a:lnTo>
                    <a:lnTo>
                      <a:pt x="629" y="376"/>
                    </a:lnTo>
                    <a:lnTo>
                      <a:pt x="629" y="376"/>
                    </a:lnTo>
                    <a:lnTo>
                      <a:pt x="634" y="373"/>
                    </a:lnTo>
                    <a:lnTo>
                      <a:pt x="637" y="370"/>
                    </a:lnTo>
                    <a:lnTo>
                      <a:pt x="639" y="364"/>
                    </a:lnTo>
                    <a:lnTo>
                      <a:pt x="639" y="364"/>
                    </a:lnTo>
                    <a:lnTo>
                      <a:pt x="640" y="360"/>
                    </a:lnTo>
                    <a:lnTo>
                      <a:pt x="643" y="354"/>
                    </a:lnTo>
                    <a:lnTo>
                      <a:pt x="646" y="349"/>
                    </a:lnTo>
                    <a:lnTo>
                      <a:pt x="647" y="343"/>
                    </a:lnTo>
                    <a:lnTo>
                      <a:pt x="647" y="343"/>
                    </a:lnTo>
                    <a:lnTo>
                      <a:pt x="649" y="336"/>
                    </a:lnTo>
                    <a:lnTo>
                      <a:pt x="650" y="330"/>
                    </a:lnTo>
                    <a:lnTo>
                      <a:pt x="651" y="326"/>
                    </a:lnTo>
                    <a:lnTo>
                      <a:pt x="651" y="322"/>
                    </a:lnTo>
                    <a:lnTo>
                      <a:pt x="651" y="322"/>
                    </a:lnTo>
                    <a:lnTo>
                      <a:pt x="650" y="316"/>
                    </a:lnTo>
                    <a:lnTo>
                      <a:pt x="650" y="310"/>
                    </a:lnTo>
                    <a:lnTo>
                      <a:pt x="653" y="306"/>
                    </a:lnTo>
                    <a:lnTo>
                      <a:pt x="653" y="306"/>
                    </a:lnTo>
                    <a:lnTo>
                      <a:pt x="654" y="305"/>
                    </a:lnTo>
                    <a:lnTo>
                      <a:pt x="654" y="302"/>
                    </a:lnTo>
                    <a:lnTo>
                      <a:pt x="654" y="298"/>
                    </a:lnTo>
                    <a:lnTo>
                      <a:pt x="653" y="295"/>
                    </a:lnTo>
                    <a:lnTo>
                      <a:pt x="653" y="293"/>
                    </a:lnTo>
                    <a:lnTo>
                      <a:pt x="654" y="292"/>
                    </a:lnTo>
                    <a:lnTo>
                      <a:pt x="654" y="292"/>
                    </a:lnTo>
                    <a:close/>
                    <a:moveTo>
                      <a:pt x="538" y="534"/>
                    </a:moveTo>
                    <a:lnTo>
                      <a:pt x="538" y="534"/>
                    </a:lnTo>
                    <a:lnTo>
                      <a:pt x="530" y="532"/>
                    </a:lnTo>
                    <a:lnTo>
                      <a:pt x="522" y="529"/>
                    </a:lnTo>
                    <a:lnTo>
                      <a:pt x="515" y="527"/>
                    </a:lnTo>
                    <a:lnTo>
                      <a:pt x="511" y="525"/>
                    </a:lnTo>
                    <a:lnTo>
                      <a:pt x="511" y="525"/>
                    </a:lnTo>
                    <a:lnTo>
                      <a:pt x="511" y="527"/>
                    </a:lnTo>
                    <a:lnTo>
                      <a:pt x="511" y="529"/>
                    </a:lnTo>
                    <a:lnTo>
                      <a:pt x="515" y="539"/>
                    </a:lnTo>
                    <a:lnTo>
                      <a:pt x="519" y="549"/>
                    </a:lnTo>
                    <a:lnTo>
                      <a:pt x="519" y="554"/>
                    </a:lnTo>
                    <a:lnTo>
                      <a:pt x="518" y="558"/>
                    </a:lnTo>
                    <a:lnTo>
                      <a:pt x="518" y="558"/>
                    </a:lnTo>
                    <a:lnTo>
                      <a:pt x="518" y="561"/>
                    </a:lnTo>
                    <a:lnTo>
                      <a:pt x="519" y="564"/>
                    </a:lnTo>
                    <a:lnTo>
                      <a:pt x="525" y="572"/>
                    </a:lnTo>
                    <a:lnTo>
                      <a:pt x="533" y="579"/>
                    </a:lnTo>
                    <a:lnTo>
                      <a:pt x="539" y="582"/>
                    </a:lnTo>
                    <a:lnTo>
                      <a:pt x="539" y="582"/>
                    </a:lnTo>
                    <a:lnTo>
                      <a:pt x="543" y="582"/>
                    </a:lnTo>
                    <a:lnTo>
                      <a:pt x="545" y="579"/>
                    </a:lnTo>
                    <a:lnTo>
                      <a:pt x="546" y="576"/>
                    </a:lnTo>
                    <a:lnTo>
                      <a:pt x="549" y="576"/>
                    </a:lnTo>
                    <a:lnTo>
                      <a:pt x="549" y="576"/>
                    </a:lnTo>
                    <a:lnTo>
                      <a:pt x="550" y="575"/>
                    </a:lnTo>
                    <a:lnTo>
                      <a:pt x="552" y="574"/>
                    </a:lnTo>
                    <a:lnTo>
                      <a:pt x="552" y="568"/>
                    </a:lnTo>
                    <a:lnTo>
                      <a:pt x="552" y="568"/>
                    </a:lnTo>
                    <a:lnTo>
                      <a:pt x="552" y="566"/>
                    </a:lnTo>
                    <a:lnTo>
                      <a:pt x="553" y="566"/>
                    </a:lnTo>
                    <a:lnTo>
                      <a:pt x="556" y="568"/>
                    </a:lnTo>
                    <a:lnTo>
                      <a:pt x="558" y="569"/>
                    </a:lnTo>
                    <a:lnTo>
                      <a:pt x="562" y="569"/>
                    </a:lnTo>
                    <a:lnTo>
                      <a:pt x="562" y="569"/>
                    </a:lnTo>
                    <a:lnTo>
                      <a:pt x="562" y="568"/>
                    </a:lnTo>
                    <a:lnTo>
                      <a:pt x="563" y="566"/>
                    </a:lnTo>
                    <a:lnTo>
                      <a:pt x="563" y="559"/>
                    </a:lnTo>
                    <a:lnTo>
                      <a:pt x="563" y="555"/>
                    </a:lnTo>
                    <a:lnTo>
                      <a:pt x="565" y="552"/>
                    </a:lnTo>
                    <a:lnTo>
                      <a:pt x="566" y="552"/>
                    </a:lnTo>
                    <a:lnTo>
                      <a:pt x="566" y="552"/>
                    </a:lnTo>
                    <a:lnTo>
                      <a:pt x="567" y="551"/>
                    </a:lnTo>
                    <a:lnTo>
                      <a:pt x="569" y="549"/>
                    </a:lnTo>
                    <a:lnTo>
                      <a:pt x="569" y="542"/>
                    </a:lnTo>
                    <a:lnTo>
                      <a:pt x="565" y="528"/>
                    </a:lnTo>
                    <a:lnTo>
                      <a:pt x="565" y="528"/>
                    </a:lnTo>
                    <a:lnTo>
                      <a:pt x="563" y="527"/>
                    </a:lnTo>
                    <a:lnTo>
                      <a:pt x="562" y="525"/>
                    </a:lnTo>
                    <a:lnTo>
                      <a:pt x="555" y="528"/>
                    </a:lnTo>
                    <a:lnTo>
                      <a:pt x="546" y="531"/>
                    </a:lnTo>
                    <a:lnTo>
                      <a:pt x="538" y="534"/>
                    </a:lnTo>
                    <a:lnTo>
                      <a:pt x="538" y="53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grpSp>
        <p:grpSp>
          <p:nvGrpSpPr>
            <p:cNvPr id="4" name="North American">
              <a:extLst>
                <a:ext uri="{FF2B5EF4-FFF2-40B4-BE49-F238E27FC236}">
                  <a16:creationId xmlns:a16="http://schemas.microsoft.com/office/drawing/2014/main" id="{9F49682F-39DB-4862-8237-BA60FC48D08A}"/>
                </a:ext>
              </a:extLst>
            </p:cNvPr>
            <p:cNvGrpSpPr/>
            <p:nvPr/>
          </p:nvGrpSpPr>
          <p:grpSpPr>
            <a:xfrm>
              <a:off x="1834224" y="2080275"/>
              <a:ext cx="2750919" cy="2336578"/>
              <a:chOff x="310223" y="1615054"/>
              <a:chExt cx="2750919" cy="2336578"/>
            </a:xfrm>
            <a:solidFill>
              <a:schemeClr val="bg1">
                <a:lumMod val="75000"/>
              </a:schemeClr>
            </a:solidFill>
          </p:grpSpPr>
          <p:sp>
            <p:nvSpPr>
              <p:cNvPr id="433" name="Mexico"/>
              <p:cNvSpPr>
                <a:spLocks/>
              </p:cNvSpPr>
              <p:nvPr/>
            </p:nvSpPr>
            <p:spPr bwMode="auto">
              <a:xfrm>
                <a:off x="1526605" y="3501778"/>
                <a:ext cx="720655" cy="449854"/>
              </a:xfrm>
              <a:custGeom>
                <a:avLst/>
                <a:gdLst/>
                <a:ahLst/>
                <a:cxnLst>
                  <a:cxn ang="0">
                    <a:pos x="427" y="284"/>
                  </a:cxn>
                  <a:cxn ang="0">
                    <a:pos x="417" y="266"/>
                  </a:cxn>
                  <a:cxn ang="0">
                    <a:pos x="450" y="256"/>
                  </a:cxn>
                  <a:cxn ang="0">
                    <a:pos x="468" y="251"/>
                  </a:cxn>
                  <a:cxn ang="0">
                    <a:pos x="478" y="212"/>
                  </a:cxn>
                  <a:cxn ang="0">
                    <a:pos x="485" y="195"/>
                  </a:cxn>
                  <a:cxn ang="0">
                    <a:pos x="448" y="196"/>
                  </a:cxn>
                  <a:cxn ang="0">
                    <a:pos x="427" y="219"/>
                  </a:cxn>
                  <a:cxn ang="0">
                    <a:pos x="417" y="237"/>
                  </a:cxn>
                  <a:cxn ang="0">
                    <a:pos x="407" y="244"/>
                  </a:cxn>
                  <a:cxn ang="0">
                    <a:pos x="359" y="249"/>
                  </a:cxn>
                  <a:cxn ang="0">
                    <a:pos x="337" y="236"/>
                  </a:cxn>
                  <a:cxn ang="0">
                    <a:pos x="317" y="203"/>
                  </a:cxn>
                  <a:cxn ang="0">
                    <a:pos x="313" y="141"/>
                  </a:cxn>
                  <a:cxn ang="0">
                    <a:pos x="312" y="118"/>
                  </a:cxn>
                  <a:cxn ang="0">
                    <a:pos x="285" y="101"/>
                  </a:cxn>
                  <a:cxn ang="0">
                    <a:pos x="273" y="81"/>
                  </a:cxn>
                  <a:cxn ang="0">
                    <a:pos x="244" y="52"/>
                  </a:cxn>
                  <a:cxn ang="0">
                    <a:pos x="225" y="65"/>
                  </a:cxn>
                  <a:cxn ang="0">
                    <a:pos x="202" y="51"/>
                  </a:cxn>
                  <a:cxn ang="0">
                    <a:pos x="179" y="24"/>
                  </a:cxn>
                  <a:cxn ang="0">
                    <a:pos x="54" y="10"/>
                  </a:cxn>
                  <a:cxn ang="0">
                    <a:pos x="3" y="11"/>
                  </a:cxn>
                  <a:cxn ang="0">
                    <a:pos x="22" y="49"/>
                  </a:cxn>
                  <a:cxn ang="0">
                    <a:pos x="49" y="77"/>
                  </a:cxn>
                  <a:cxn ang="0">
                    <a:pos x="39" y="86"/>
                  </a:cxn>
                  <a:cxn ang="0">
                    <a:pos x="57" y="102"/>
                  </a:cxn>
                  <a:cxn ang="0">
                    <a:pos x="81" y="125"/>
                  </a:cxn>
                  <a:cxn ang="0">
                    <a:pos x="97" y="149"/>
                  </a:cxn>
                  <a:cxn ang="0">
                    <a:pos x="115" y="172"/>
                  </a:cxn>
                  <a:cxn ang="0">
                    <a:pos x="120" y="156"/>
                  </a:cxn>
                  <a:cxn ang="0">
                    <a:pos x="106" y="146"/>
                  </a:cxn>
                  <a:cxn ang="0">
                    <a:pos x="98" y="128"/>
                  </a:cxn>
                  <a:cxn ang="0">
                    <a:pos x="73" y="85"/>
                  </a:cxn>
                  <a:cxn ang="0">
                    <a:pos x="63" y="62"/>
                  </a:cxn>
                  <a:cxn ang="0">
                    <a:pos x="46" y="52"/>
                  </a:cxn>
                  <a:cxn ang="0">
                    <a:pos x="36" y="18"/>
                  </a:cxn>
                  <a:cxn ang="0">
                    <a:pos x="44" y="20"/>
                  </a:cxn>
                  <a:cxn ang="0">
                    <a:pos x="56" y="22"/>
                  </a:cxn>
                  <a:cxn ang="0">
                    <a:pos x="66" y="27"/>
                  </a:cxn>
                  <a:cxn ang="0">
                    <a:pos x="74" y="57"/>
                  </a:cxn>
                  <a:cxn ang="0">
                    <a:pos x="77" y="69"/>
                  </a:cxn>
                  <a:cxn ang="0">
                    <a:pos x="94" y="81"/>
                  </a:cxn>
                  <a:cxn ang="0">
                    <a:pos x="108" y="95"/>
                  </a:cxn>
                  <a:cxn ang="0">
                    <a:pos x="123" y="105"/>
                  </a:cxn>
                  <a:cxn ang="0">
                    <a:pos x="125" y="121"/>
                  </a:cxn>
                  <a:cxn ang="0">
                    <a:pos x="148" y="139"/>
                  </a:cxn>
                  <a:cxn ang="0">
                    <a:pos x="191" y="195"/>
                  </a:cxn>
                  <a:cxn ang="0">
                    <a:pos x="188" y="210"/>
                  </a:cxn>
                  <a:cxn ang="0">
                    <a:pos x="195" y="232"/>
                  </a:cxn>
                  <a:cxn ang="0">
                    <a:pos x="226" y="251"/>
                  </a:cxn>
                  <a:cxn ang="0">
                    <a:pos x="269" y="269"/>
                  </a:cxn>
                  <a:cxn ang="0">
                    <a:pos x="329" y="291"/>
                  </a:cxn>
                  <a:cxn ang="0">
                    <a:pos x="370" y="287"/>
                  </a:cxn>
                  <a:cxn ang="0">
                    <a:pos x="406" y="286"/>
                  </a:cxn>
                </a:cxnLst>
                <a:rect l="0" t="0" r="r" b="b"/>
                <a:pathLst>
                  <a:path w="487" h="304">
                    <a:moveTo>
                      <a:pt x="406" y="286"/>
                    </a:moveTo>
                    <a:lnTo>
                      <a:pt x="406" y="286"/>
                    </a:lnTo>
                    <a:lnTo>
                      <a:pt x="417" y="287"/>
                    </a:lnTo>
                    <a:lnTo>
                      <a:pt x="424" y="286"/>
                    </a:lnTo>
                    <a:lnTo>
                      <a:pt x="426" y="286"/>
                    </a:lnTo>
                    <a:lnTo>
                      <a:pt x="427" y="284"/>
                    </a:lnTo>
                    <a:lnTo>
                      <a:pt x="427" y="284"/>
                    </a:lnTo>
                    <a:lnTo>
                      <a:pt x="427" y="281"/>
                    </a:lnTo>
                    <a:lnTo>
                      <a:pt x="426" y="280"/>
                    </a:lnTo>
                    <a:lnTo>
                      <a:pt x="421" y="274"/>
                    </a:lnTo>
                    <a:lnTo>
                      <a:pt x="417" y="270"/>
                    </a:lnTo>
                    <a:lnTo>
                      <a:pt x="416" y="269"/>
                    </a:lnTo>
                    <a:lnTo>
                      <a:pt x="416" y="269"/>
                    </a:lnTo>
                    <a:lnTo>
                      <a:pt x="417" y="266"/>
                    </a:lnTo>
                    <a:lnTo>
                      <a:pt x="418" y="261"/>
                    </a:lnTo>
                    <a:lnTo>
                      <a:pt x="420" y="259"/>
                    </a:lnTo>
                    <a:lnTo>
                      <a:pt x="421" y="256"/>
                    </a:lnTo>
                    <a:lnTo>
                      <a:pt x="421" y="256"/>
                    </a:lnTo>
                    <a:lnTo>
                      <a:pt x="436" y="257"/>
                    </a:lnTo>
                    <a:lnTo>
                      <a:pt x="450" y="256"/>
                    </a:lnTo>
                    <a:lnTo>
                      <a:pt x="450" y="256"/>
                    </a:lnTo>
                    <a:lnTo>
                      <a:pt x="454" y="251"/>
                    </a:lnTo>
                    <a:lnTo>
                      <a:pt x="457" y="249"/>
                    </a:lnTo>
                    <a:lnTo>
                      <a:pt x="461" y="246"/>
                    </a:lnTo>
                    <a:lnTo>
                      <a:pt x="461" y="246"/>
                    </a:lnTo>
                    <a:lnTo>
                      <a:pt x="464" y="247"/>
                    </a:lnTo>
                    <a:lnTo>
                      <a:pt x="468" y="251"/>
                    </a:lnTo>
                    <a:lnTo>
                      <a:pt x="468" y="251"/>
                    </a:lnTo>
                    <a:lnTo>
                      <a:pt x="471" y="247"/>
                    </a:lnTo>
                    <a:lnTo>
                      <a:pt x="473" y="242"/>
                    </a:lnTo>
                    <a:lnTo>
                      <a:pt x="475" y="229"/>
                    </a:lnTo>
                    <a:lnTo>
                      <a:pt x="475" y="229"/>
                    </a:lnTo>
                    <a:lnTo>
                      <a:pt x="475" y="219"/>
                    </a:lnTo>
                    <a:lnTo>
                      <a:pt x="475" y="215"/>
                    </a:lnTo>
                    <a:lnTo>
                      <a:pt x="478" y="212"/>
                    </a:lnTo>
                    <a:lnTo>
                      <a:pt x="478" y="212"/>
                    </a:lnTo>
                    <a:lnTo>
                      <a:pt x="485" y="206"/>
                    </a:lnTo>
                    <a:lnTo>
                      <a:pt x="487" y="203"/>
                    </a:lnTo>
                    <a:lnTo>
                      <a:pt x="487" y="197"/>
                    </a:lnTo>
                    <a:lnTo>
                      <a:pt x="487" y="197"/>
                    </a:lnTo>
                    <a:lnTo>
                      <a:pt x="487" y="196"/>
                    </a:lnTo>
                    <a:lnTo>
                      <a:pt x="485" y="195"/>
                    </a:lnTo>
                    <a:lnTo>
                      <a:pt x="481" y="195"/>
                    </a:lnTo>
                    <a:lnTo>
                      <a:pt x="477" y="196"/>
                    </a:lnTo>
                    <a:lnTo>
                      <a:pt x="473" y="195"/>
                    </a:lnTo>
                    <a:lnTo>
                      <a:pt x="473" y="195"/>
                    </a:lnTo>
                    <a:lnTo>
                      <a:pt x="468" y="193"/>
                    </a:lnTo>
                    <a:lnTo>
                      <a:pt x="464" y="193"/>
                    </a:lnTo>
                    <a:lnTo>
                      <a:pt x="448" y="196"/>
                    </a:lnTo>
                    <a:lnTo>
                      <a:pt x="448" y="196"/>
                    </a:lnTo>
                    <a:lnTo>
                      <a:pt x="438" y="197"/>
                    </a:lnTo>
                    <a:lnTo>
                      <a:pt x="431" y="202"/>
                    </a:lnTo>
                    <a:lnTo>
                      <a:pt x="428" y="207"/>
                    </a:lnTo>
                    <a:lnTo>
                      <a:pt x="427" y="215"/>
                    </a:lnTo>
                    <a:lnTo>
                      <a:pt x="427" y="215"/>
                    </a:lnTo>
                    <a:lnTo>
                      <a:pt x="427" y="219"/>
                    </a:lnTo>
                    <a:lnTo>
                      <a:pt x="426" y="222"/>
                    </a:lnTo>
                    <a:lnTo>
                      <a:pt x="423" y="224"/>
                    </a:lnTo>
                    <a:lnTo>
                      <a:pt x="423" y="229"/>
                    </a:lnTo>
                    <a:lnTo>
                      <a:pt x="423" y="229"/>
                    </a:lnTo>
                    <a:lnTo>
                      <a:pt x="423" y="232"/>
                    </a:lnTo>
                    <a:lnTo>
                      <a:pt x="421" y="234"/>
                    </a:lnTo>
                    <a:lnTo>
                      <a:pt x="417" y="237"/>
                    </a:lnTo>
                    <a:lnTo>
                      <a:pt x="413" y="240"/>
                    </a:lnTo>
                    <a:lnTo>
                      <a:pt x="413" y="242"/>
                    </a:lnTo>
                    <a:lnTo>
                      <a:pt x="411" y="243"/>
                    </a:lnTo>
                    <a:lnTo>
                      <a:pt x="411" y="243"/>
                    </a:lnTo>
                    <a:lnTo>
                      <a:pt x="411" y="244"/>
                    </a:lnTo>
                    <a:lnTo>
                      <a:pt x="411" y="246"/>
                    </a:lnTo>
                    <a:lnTo>
                      <a:pt x="407" y="244"/>
                    </a:lnTo>
                    <a:lnTo>
                      <a:pt x="400" y="242"/>
                    </a:lnTo>
                    <a:lnTo>
                      <a:pt x="400" y="242"/>
                    </a:lnTo>
                    <a:lnTo>
                      <a:pt x="393" y="242"/>
                    </a:lnTo>
                    <a:lnTo>
                      <a:pt x="381" y="244"/>
                    </a:lnTo>
                    <a:lnTo>
                      <a:pt x="362" y="250"/>
                    </a:lnTo>
                    <a:lnTo>
                      <a:pt x="362" y="250"/>
                    </a:lnTo>
                    <a:lnTo>
                      <a:pt x="359" y="249"/>
                    </a:lnTo>
                    <a:lnTo>
                      <a:pt x="353" y="246"/>
                    </a:lnTo>
                    <a:lnTo>
                      <a:pt x="349" y="243"/>
                    </a:lnTo>
                    <a:lnTo>
                      <a:pt x="345" y="242"/>
                    </a:lnTo>
                    <a:lnTo>
                      <a:pt x="345" y="242"/>
                    </a:lnTo>
                    <a:lnTo>
                      <a:pt x="342" y="240"/>
                    </a:lnTo>
                    <a:lnTo>
                      <a:pt x="340" y="240"/>
                    </a:lnTo>
                    <a:lnTo>
                      <a:pt x="337" y="236"/>
                    </a:lnTo>
                    <a:lnTo>
                      <a:pt x="336" y="230"/>
                    </a:lnTo>
                    <a:lnTo>
                      <a:pt x="335" y="224"/>
                    </a:lnTo>
                    <a:lnTo>
                      <a:pt x="335" y="224"/>
                    </a:lnTo>
                    <a:lnTo>
                      <a:pt x="333" y="219"/>
                    </a:lnTo>
                    <a:lnTo>
                      <a:pt x="327" y="215"/>
                    </a:lnTo>
                    <a:lnTo>
                      <a:pt x="322" y="209"/>
                    </a:lnTo>
                    <a:lnTo>
                      <a:pt x="317" y="203"/>
                    </a:lnTo>
                    <a:lnTo>
                      <a:pt x="317" y="203"/>
                    </a:lnTo>
                    <a:lnTo>
                      <a:pt x="315" y="197"/>
                    </a:lnTo>
                    <a:lnTo>
                      <a:pt x="313" y="189"/>
                    </a:lnTo>
                    <a:lnTo>
                      <a:pt x="312" y="172"/>
                    </a:lnTo>
                    <a:lnTo>
                      <a:pt x="312" y="172"/>
                    </a:lnTo>
                    <a:lnTo>
                      <a:pt x="312" y="153"/>
                    </a:lnTo>
                    <a:lnTo>
                      <a:pt x="313" y="141"/>
                    </a:lnTo>
                    <a:lnTo>
                      <a:pt x="317" y="128"/>
                    </a:lnTo>
                    <a:lnTo>
                      <a:pt x="317" y="128"/>
                    </a:lnTo>
                    <a:lnTo>
                      <a:pt x="319" y="121"/>
                    </a:lnTo>
                    <a:lnTo>
                      <a:pt x="319" y="121"/>
                    </a:lnTo>
                    <a:lnTo>
                      <a:pt x="315" y="119"/>
                    </a:lnTo>
                    <a:lnTo>
                      <a:pt x="312" y="118"/>
                    </a:lnTo>
                    <a:lnTo>
                      <a:pt x="312" y="118"/>
                    </a:lnTo>
                    <a:lnTo>
                      <a:pt x="306" y="118"/>
                    </a:lnTo>
                    <a:lnTo>
                      <a:pt x="299" y="115"/>
                    </a:lnTo>
                    <a:lnTo>
                      <a:pt x="289" y="111"/>
                    </a:lnTo>
                    <a:lnTo>
                      <a:pt x="289" y="111"/>
                    </a:lnTo>
                    <a:lnTo>
                      <a:pt x="288" y="109"/>
                    </a:lnTo>
                    <a:lnTo>
                      <a:pt x="286" y="106"/>
                    </a:lnTo>
                    <a:lnTo>
                      <a:pt x="285" y="101"/>
                    </a:lnTo>
                    <a:lnTo>
                      <a:pt x="285" y="101"/>
                    </a:lnTo>
                    <a:lnTo>
                      <a:pt x="283" y="98"/>
                    </a:lnTo>
                    <a:lnTo>
                      <a:pt x="283" y="94"/>
                    </a:lnTo>
                    <a:lnTo>
                      <a:pt x="282" y="91"/>
                    </a:lnTo>
                    <a:lnTo>
                      <a:pt x="280" y="88"/>
                    </a:lnTo>
                    <a:lnTo>
                      <a:pt x="280" y="88"/>
                    </a:lnTo>
                    <a:lnTo>
                      <a:pt x="273" y="81"/>
                    </a:lnTo>
                    <a:lnTo>
                      <a:pt x="269" y="74"/>
                    </a:lnTo>
                    <a:lnTo>
                      <a:pt x="266" y="67"/>
                    </a:lnTo>
                    <a:lnTo>
                      <a:pt x="266" y="67"/>
                    </a:lnTo>
                    <a:lnTo>
                      <a:pt x="263" y="64"/>
                    </a:lnTo>
                    <a:lnTo>
                      <a:pt x="261" y="59"/>
                    </a:lnTo>
                    <a:lnTo>
                      <a:pt x="253" y="55"/>
                    </a:lnTo>
                    <a:lnTo>
                      <a:pt x="244" y="52"/>
                    </a:lnTo>
                    <a:lnTo>
                      <a:pt x="238" y="51"/>
                    </a:lnTo>
                    <a:lnTo>
                      <a:pt x="238" y="51"/>
                    </a:lnTo>
                    <a:lnTo>
                      <a:pt x="235" y="51"/>
                    </a:lnTo>
                    <a:lnTo>
                      <a:pt x="232" y="52"/>
                    </a:lnTo>
                    <a:lnTo>
                      <a:pt x="229" y="58"/>
                    </a:lnTo>
                    <a:lnTo>
                      <a:pt x="226" y="62"/>
                    </a:lnTo>
                    <a:lnTo>
                      <a:pt x="225" y="65"/>
                    </a:lnTo>
                    <a:lnTo>
                      <a:pt x="225" y="65"/>
                    </a:lnTo>
                    <a:lnTo>
                      <a:pt x="222" y="64"/>
                    </a:lnTo>
                    <a:lnTo>
                      <a:pt x="216" y="61"/>
                    </a:lnTo>
                    <a:lnTo>
                      <a:pt x="207" y="55"/>
                    </a:lnTo>
                    <a:lnTo>
                      <a:pt x="207" y="55"/>
                    </a:lnTo>
                    <a:lnTo>
                      <a:pt x="204" y="54"/>
                    </a:lnTo>
                    <a:lnTo>
                      <a:pt x="202" y="51"/>
                    </a:lnTo>
                    <a:lnTo>
                      <a:pt x="201" y="45"/>
                    </a:lnTo>
                    <a:lnTo>
                      <a:pt x="201" y="45"/>
                    </a:lnTo>
                    <a:lnTo>
                      <a:pt x="199" y="42"/>
                    </a:lnTo>
                    <a:lnTo>
                      <a:pt x="197" y="38"/>
                    </a:lnTo>
                    <a:lnTo>
                      <a:pt x="189" y="32"/>
                    </a:lnTo>
                    <a:lnTo>
                      <a:pt x="189" y="32"/>
                    </a:lnTo>
                    <a:lnTo>
                      <a:pt x="179" y="24"/>
                    </a:lnTo>
                    <a:lnTo>
                      <a:pt x="172" y="17"/>
                    </a:lnTo>
                    <a:lnTo>
                      <a:pt x="147" y="17"/>
                    </a:lnTo>
                    <a:lnTo>
                      <a:pt x="141" y="24"/>
                    </a:lnTo>
                    <a:lnTo>
                      <a:pt x="96" y="24"/>
                    </a:lnTo>
                    <a:lnTo>
                      <a:pt x="96" y="24"/>
                    </a:lnTo>
                    <a:lnTo>
                      <a:pt x="77" y="17"/>
                    </a:lnTo>
                    <a:lnTo>
                      <a:pt x="54" y="10"/>
                    </a:lnTo>
                    <a:lnTo>
                      <a:pt x="54" y="10"/>
                    </a:lnTo>
                    <a:lnTo>
                      <a:pt x="49" y="7"/>
                    </a:lnTo>
                    <a:lnTo>
                      <a:pt x="43" y="4"/>
                    </a:lnTo>
                    <a:lnTo>
                      <a:pt x="37" y="0"/>
                    </a:lnTo>
                    <a:lnTo>
                      <a:pt x="0" y="5"/>
                    </a:lnTo>
                    <a:lnTo>
                      <a:pt x="0" y="5"/>
                    </a:lnTo>
                    <a:lnTo>
                      <a:pt x="3" y="11"/>
                    </a:lnTo>
                    <a:lnTo>
                      <a:pt x="9" y="18"/>
                    </a:lnTo>
                    <a:lnTo>
                      <a:pt x="9" y="18"/>
                    </a:lnTo>
                    <a:lnTo>
                      <a:pt x="13" y="27"/>
                    </a:lnTo>
                    <a:lnTo>
                      <a:pt x="17" y="35"/>
                    </a:lnTo>
                    <a:lnTo>
                      <a:pt x="20" y="44"/>
                    </a:lnTo>
                    <a:lnTo>
                      <a:pt x="22" y="49"/>
                    </a:lnTo>
                    <a:lnTo>
                      <a:pt x="22" y="49"/>
                    </a:lnTo>
                    <a:lnTo>
                      <a:pt x="24" y="54"/>
                    </a:lnTo>
                    <a:lnTo>
                      <a:pt x="29" y="58"/>
                    </a:lnTo>
                    <a:lnTo>
                      <a:pt x="42" y="65"/>
                    </a:lnTo>
                    <a:lnTo>
                      <a:pt x="42" y="65"/>
                    </a:lnTo>
                    <a:lnTo>
                      <a:pt x="44" y="68"/>
                    </a:lnTo>
                    <a:lnTo>
                      <a:pt x="47" y="71"/>
                    </a:lnTo>
                    <a:lnTo>
                      <a:pt x="49" y="77"/>
                    </a:lnTo>
                    <a:lnTo>
                      <a:pt x="50" y="82"/>
                    </a:lnTo>
                    <a:lnTo>
                      <a:pt x="50" y="86"/>
                    </a:lnTo>
                    <a:lnTo>
                      <a:pt x="50" y="86"/>
                    </a:lnTo>
                    <a:lnTo>
                      <a:pt x="49" y="88"/>
                    </a:lnTo>
                    <a:lnTo>
                      <a:pt x="47" y="88"/>
                    </a:lnTo>
                    <a:lnTo>
                      <a:pt x="43" y="88"/>
                    </a:lnTo>
                    <a:lnTo>
                      <a:pt x="39" y="86"/>
                    </a:lnTo>
                    <a:lnTo>
                      <a:pt x="37" y="86"/>
                    </a:lnTo>
                    <a:lnTo>
                      <a:pt x="37" y="88"/>
                    </a:lnTo>
                    <a:lnTo>
                      <a:pt x="37" y="88"/>
                    </a:lnTo>
                    <a:lnTo>
                      <a:pt x="39" y="92"/>
                    </a:lnTo>
                    <a:lnTo>
                      <a:pt x="44" y="96"/>
                    </a:lnTo>
                    <a:lnTo>
                      <a:pt x="51" y="101"/>
                    </a:lnTo>
                    <a:lnTo>
                      <a:pt x="57" y="102"/>
                    </a:lnTo>
                    <a:lnTo>
                      <a:pt x="57" y="102"/>
                    </a:lnTo>
                    <a:lnTo>
                      <a:pt x="60" y="104"/>
                    </a:lnTo>
                    <a:lnTo>
                      <a:pt x="64" y="105"/>
                    </a:lnTo>
                    <a:lnTo>
                      <a:pt x="74" y="114"/>
                    </a:lnTo>
                    <a:lnTo>
                      <a:pt x="74" y="114"/>
                    </a:lnTo>
                    <a:lnTo>
                      <a:pt x="78" y="119"/>
                    </a:lnTo>
                    <a:lnTo>
                      <a:pt x="81" y="125"/>
                    </a:lnTo>
                    <a:lnTo>
                      <a:pt x="81" y="131"/>
                    </a:lnTo>
                    <a:lnTo>
                      <a:pt x="78" y="133"/>
                    </a:lnTo>
                    <a:lnTo>
                      <a:pt x="78" y="133"/>
                    </a:lnTo>
                    <a:lnTo>
                      <a:pt x="78" y="135"/>
                    </a:lnTo>
                    <a:lnTo>
                      <a:pt x="78" y="136"/>
                    </a:lnTo>
                    <a:lnTo>
                      <a:pt x="83" y="139"/>
                    </a:lnTo>
                    <a:lnTo>
                      <a:pt x="97" y="149"/>
                    </a:lnTo>
                    <a:lnTo>
                      <a:pt x="97" y="149"/>
                    </a:lnTo>
                    <a:lnTo>
                      <a:pt x="104" y="156"/>
                    </a:lnTo>
                    <a:lnTo>
                      <a:pt x="110" y="162"/>
                    </a:lnTo>
                    <a:lnTo>
                      <a:pt x="113" y="166"/>
                    </a:lnTo>
                    <a:lnTo>
                      <a:pt x="114" y="170"/>
                    </a:lnTo>
                    <a:lnTo>
                      <a:pt x="114" y="170"/>
                    </a:lnTo>
                    <a:lnTo>
                      <a:pt x="115" y="172"/>
                    </a:lnTo>
                    <a:lnTo>
                      <a:pt x="118" y="172"/>
                    </a:lnTo>
                    <a:lnTo>
                      <a:pt x="120" y="169"/>
                    </a:lnTo>
                    <a:lnTo>
                      <a:pt x="123" y="165"/>
                    </a:lnTo>
                    <a:lnTo>
                      <a:pt x="123" y="165"/>
                    </a:lnTo>
                    <a:lnTo>
                      <a:pt x="123" y="162"/>
                    </a:lnTo>
                    <a:lnTo>
                      <a:pt x="121" y="159"/>
                    </a:lnTo>
                    <a:lnTo>
                      <a:pt x="120" y="156"/>
                    </a:lnTo>
                    <a:lnTo>
                      <a:pt x="118" y="152"/>
                    </a:lnTo>
                    <a:lnTo>
                      <a:pt x="118" y="152"/>
                    </a:lnTo>
                    <a:lnTo>
                      <a:pt x="118" y="150"/>
                    </a:lnTo>
                    <a:lnTo>
                      <a:pt x="117" y="149"/>
                    </a:lnTo>
                    <a:lnTo>
                      <a:pt x="113" y="148"/>
                    </a:lnTo>
                    <a:lnTo>
                      <a:pt x="106" y="146"/>
                    </a:lnTo>
                    <a:lnTo>
                      <a:pt x="106" y="146"/>
                    </a:lnTo>
                    <a:lnTo>
                      <a:pt x="104" y="146"/>
                    </a:lnTo>
                    <a:lnTo>
                      <a:pt x="103" y="145"/>
                    </a:lnTo>
                    <a:lnTo>
                      <a:pt x="103" y="141"/>
                    </a:lnTo>
                    <a:lnTo>
                      <a:pt x="103" y="136"/>
                    </a:lnTo>
                    <a:lnTo>
                      <a:pt x="101" y="132"/>
                    </a:lnTo>
                    <a:lnTo>
                      <a:pt x="101" y="132"/>
                    </a:lnTo>
                    <a:lnTo>
                      <a:pt x="98" y="128"/>
                    </a:lnTo>
                    <a:lnTo>
                      <a:pt x="96" y="122"/>
                    </a:lnTo>
                    <a:lnTo>
                      <a:pt x="91" y="109"/>
                    </a:lnTo>
                    <a:lnTo>
                      <a:pt x="91" y="109"/>
                    </a:lnTo>
                    <a:lnTo>
                      <a:pt x="87" y="104"/>
                    </a:lnTo>
                    <a:lnTo>
                      <a:pt x="83" y="98"/>
                    </a:lnTo>
                    <a:lnTo>
                      <a:pt x="77" y="92"/>
                    </a:lnTo>
                    <a:lnTo>
                      <a:pt x="73" y="85"/>
                    </a:lnTo>
                    <a:lnTo>
                      <a:pt x="73" y="85"/>
                    </a:lnTo>
                    <a:lnTo>
                      <a:pt x="66" y="75"/>
                    </a:lnTo>
                    <a:lnTo>
                      <a:pt x="60" y="68"/>
                    </a:lnTo>
                    <a:lnTo>
                      <a:pt x="60" y="68"/>
                    </a:lnTo>
                    <a:lnTo>
                      <a:pt x="60" y="67"/>
                    </a:lnTo>
                    <a:lnTo>
                      <a:pt x="61" y="64"/>
                    </a:lnTo>
                    <a:lnTo>
                      <a:pt x="63" y="62"/>
                    </a:lnTo>
                    <a:lnTo>
                      <a:pt x="61" y="59"/>
                    </a:lnTo>
                    <a:lnTo>
                      <a:pt x="61" y="59"/>
                    </a:lnTo>
                    <a:lnTo>
                      <a:pt x="60" y="58"/>
                    </a:lnTo>
                    <a:lnTo>
                      <a:pt x="57" y="57"/>
                    </a:lnTo>
                    <a:lnTo>
                      <a:pt x="50" y="54"/>
                    </a:lnTo>
                    <a:lnTo>
                      <a:pt x="50" y="54"/>
                    </a:lnTo>
                    <a:lnTo>
                      <a:pt x="46" y="52"/>
                    </a:lnTo>
                    <a:lnTo>
                      <a:pt x="43" y="49"/>
                    </a:lnTo>
                    <a:lnTo>
                      <a:pt x="42" y="45"/>
                    </a:lnTo>
                    <a:lnTo>
                      <a:pt x="40" y="42"/>
                    </a:lnTo>
                    <a:lnTo>
                      <a:pt x="40" y="42"/>
                    </a:lnTo>
                    <a:lnTo>
                      <a:pt x="39" y="30"/>
                    </a:lnTo>
                    <a:lnTo>
                      <a:pt x="36" y="18"/>
                    </a:lnTo>
                    <a:lnTo>
                      <a:pt x="36" y="18"/>
                    </a:lnTo>
                    <a:lnTo>
                      <a:pt x="36" y="15"/>
                    </a:lnTo>
                    <a:lnTo>
                      <a:pt x="37" y="15"/>
                    </a:lnTo>
                    <a:lnTo>
                      <a:pt x="39" y="15"/>
                    </a:lnTo>
                    <a:lnTo>
                      <a:pt x="42" y="17"/>
                    </a:lnTo>
                    <a:lnTo>
                      <a:pt x="42" y="17"/>
                    </a:lnTo>
                    <a:lnTo>
                      <a:pt x="43" y="20"/>
                    </a:lnTo>
                    <a:lnTo>
                      <a:pt x="44" y="20"/>
                    </a:lnTo>
                    <a:lnTo>
                      <a:pt x="47" y="20"/>
                    </a:lnTo>
                    <a:lnTo>
                      <a:pt x="47" y="20"/>
                    </a:lnTo>
                    <a:lnTo>
                      <a:pt x="49" y="18"/>
                    </a:lnTo>
                    <a:lnTo>
                      <a:pt x="51" y="20"/>
                    </a:lnTo>
                    <a:lnTo>
                      <a:pt x="53" y="20"/>
                    </a:lnTo>
                    <a:lnTo>
                      <a:pt x="56" y="22"/>
                    </a:lnTo>
                    <a:lnTo>
                      <a:pt x="56" y="22"/>
                    </a:lnTo>
                    <a:lnTo>
                      <a:pt x="57" y="24"/>
                    </a:lnTo>
                    <a:lnTo>
                      <a:pt x="60" y="24"/>
                    </a:lnTo>
                    <a:lnTo>
                      <a:pt x="63" y="24"/>
                    </a:lnTo>
                    <a:lnTo>
                      <a:pt x="66" y="25"/>
                    </a:lnTo>
                    <a:lnTo>
                      <a:pt x="66" y="25"/>
                    </a:lnTo>
                    <a:lnTo>
                      <a:pt x="66" y="25"/>
                    </a:lnTo>
                    <a:lnTo>
                      <a:pt x="66" y="27"/>
                    </a:lnTo>
                    <a:lnTo>
                      <a:pt x="64" y="30"/>
                    </a:lnTo>
                    <a:lnTo>
                      <a:pt x="64" y="35"/>
                    </a:lnTo>
                    <a:lnTo>
                      <a:pt x="66" y="40"/>
                    </a:lnTo>
                    <a:lnTo>
                      <a:pt x="69" y="45"/>
                    </a:lnTo>
                    <a:lnTo>
                      <a:pt x="69" y="45"/>
                    </a:lnTo>
                    <a:lnTo>
                      <a:pt x="73" y="54"/>
                    </a:lnTo>
                    <a:lnTo>
                      <a:pt x="74" y="57"/>
                    </a:lnTo>
                    <a:lnTo>
                      <a:pt x="73" y="58"/>
                    </a:lnTo>
                    <a:lnTo>
                      <a:pt x="71" y="64"/>
                    </a:lnTo>
                    <a:lnTo>
                      <a:pt x="71" y="64"/>
                    </a:lnTo>
                    <a:lnTo>
                      <a:pt x="73" y="69"/>
                    </a:lnTo>
                    <a:lnTo>
                      <a:pt x="73" y="69"/>
                    </a:lnTo>
                    <a:lnTo>
                      <a:pt x="74" y="71"/>
                    </a:lnTo>
                    <a:lnTo>
                      <a:pt x="77" y="69"/>
                    </a:lnTo>
                    <a:lnTo>
                      <a:pt x="78" y="68"/>
                    </a:lnTo>
                    <a:lnTo>
                      <a:pt x="78" y="68"/>
                    </a:lnTo>
                    <a:lnTo>
                      <a:pt x="81" y="68"/>
                    </a:lnTo>
                    <a:lnTo>
                      <a:pt x="84" y="69"/>
                    </a:lnTo>
                    <a:lnTo>
                      <a:pt x="90" y="77"/>
                    </a:lnTo>
                    <a:lnTo>
                      <a:pt x="90" y="77"/>
                    </a:lnTo>
                    <a:lnTo>
                      <a:pt x="94" y="81"/>
                    </a:lnTo>
                    <a:lnTo>
                      <a:pt x="98" y="82"/>
                    </a:lnTo>
                    <a:lnTo>
                      <a:pt x="103" y="84"/>
                    </a:lnTo>
                    <a:lnTo>
                      <a:pt x="104" y="86"/>
                    </a:lnTo>
                    <a:lnTo>
                      <a:pt x="104" y="86"/>
                    </a:lnTo>
                    <a:lnTo>
                      <a:pt x="104" y="89"/>
                    </a:lnTo>
                    <a:lnTo>
                      <a:pt x="106" y="92"/>
                    </a:lnTo>
                    <a:lnTo>
                      <a:pt x="108" y="95"/>
                    </a:lnTo>
                    <a:lnTo>
                      <a:pt x="111" y="96"/>
                    </a:lnTo>
                    <a:lnTo>
                      <a:pt x="111" y="96"/>
                    </a:lnTo>
                    <a:lnTo>
                      <a:pt x="115" y="98"/>
                    </a:lnTo>
                    <a:lnTo>
                      <a:pt x="118" y="101"/>
                    </a:lnTo>
                    <a:lnTo>
                      <a:pt x="120" y="104"/>
                    </a:lnTo>
                    <a:lnTo>
                      <a:pt x="123" y="105"/>
                    </a:lnTo>
                    <a:lnTo>
                      <a:pt x="123" y="105"/>
                    </a:lnTo>
                    <a:lnTo>
                      <a:pt x="125" y="106"/>
                    </a:lnTo>
                    <a:lnTo>
                      <a:pt x="127" y="109"/>
                    </a:lnTo>
                    <a:lnTo>
                      <a:pt x="127" y="112"/>
                    </a:lnTo>
                    <a:lnTo>
                      <a:pt x="125" y="115"/>
                    </a:lnTo>
                    <a:lnTo>
                      <a:pt x="125" y="115"/>
                    </a:lnTo>
                    <a:lnTo>
                      <a:pt x="124" y="118"/>
                    </a:lnTo>
                    <a:lnTo>
                      <a:pt x="125" y="121"/>
                    </a:lnTo>
                    <a:lnTo>
                      <a:pt x="130" y="125"/>
                    </a:lnTo>
                    <a:lnTo>
                      <a:pt x="135" y="128"/>
                    </a:lnTo>
                    <a:lnTo>
                      <a:pt x="135" y="128"/>
                    </a:lnTo>
                    <a:lnTo>
                      <a:pt x="140" y="129"/>
                    </a:lnTo>
                    <a:lnTo>
                      <a:pt x="143" y="132"/>
                    </a:lnTo>
                    <a:lnTo>
                      <a:pt x="144" y="135"/>
                    </a:lnTo>
                    <a:lnTo>
                      <a:pt x="148" y="139"/>
                    </a:lnTo>
                    <a:lnTo>
                      <a:pt x="148" y="139"/>
                    </a:lnTo>
                    <a:lnTo>
                      <a:pt x="167" y="159"/>
                    </a:lnTo>
                    <a:lnTo>
                      <a:pt x="182" y="178"/>
                    </a:lnTo>
                    <a:lnTo>
                      <a:pt x="182" y="178"/>
                    </a:lnTo>
                    <a:lnTo>
                      <a:pt x="188" y="187"/>
                    </a:lnTo>
                    <a:lnTo>
                      <a:pt x="191" y="195"/>
                    </a:lnTo>
                    <a:lnTo>
                      <a:pt x="191" y="195"/>
                    </a:lnTo>
                    <a:lnTo>
                      <a:pt x="191" y="199"/>
                    </a:lnTo>
                    <a:lnTo>
                      <a:pt x="189" y="202"/>
                    </a:lnTo>
                    <a:lnTo>
                      <a:pt x="189" y="205"/>
                    </a:lnTo>
                    <a:lnTo>
                      <a:pt x="189" y="207"/>
                    </a:lnTo>
                    <a:lnTo>
                      <a:pt x="189" y="207"/>
                    </a:lnTo>
                    <a:lnTo>
                      <a:pt x="191" y="209"/>
                    </a:lnTo>
                    <a:lnTo>
                      <a:pt x="188" y="210"/>
                    </a:lnTo>
                    <a:lnTo>
                      <a:pt x="187" y="212"/>
                    </a:lnTo>
                    <a:lnTo>
                      <a:pt x="185" y="213"/>
                    </a:lnTo>
                    <a:lnTo>
                      <a:pt x="185" y="213"/>
                    </a:lnTo>
                    <a:lnTo>
                      <a:pt x="187" y="217"/>
                    </a:lnTo>
                    <a:lnTo>
                      <a:pt x="188" y="223"/>
                    </a:lnTo>
                    <a:lnTo>
                      <a:pt x="192" y="230"/>
                    </a:lnTo>
                    <a:lnTo>
                      <a:pt x="195" y="232"/>
                    </a:lnTo>
                    <a:lnTo>
                      <a:pt x="198" y="233"/>
                    </a:lnTo>
                    <a:lnTo>
                      <a:pt x="198" y="233"/>
                    </a:lnTo>
                    <a:lnTo>
                      <a:pt x="204" y="234"/>
                    </a:lnTo>
                    <a:lnTo>
                      <a:pt x="209" y="239"/>
                    </a:lnTo>
                    <a:lnTo>
                      <a:pt x="221" y="249"/>
                    </a:lnTo>
                    <a:lnTo>
                      <a:pt x="221" y="249"/>
                    </a:lnTo>
                    <a:lnTo>
                      <a:pt x="226" y="251"/>
                    </a:lnTo>
                    <a:lnTo>
                      <a:pt x="232" y="253"/>
                    </a:lnTo>
                    <a:lnTo>
                      <a:pt x="239" y="254"/>
                    </a:lnTo>
                    <a:lnTo>
                      <a:pt x="246" y="256"/>
                    </a:lnTo>
                    <a:lnTo>
                      <a:pt x="246" y="256"/>
                    </a:lnTo>
                    <a:lnTo>
                      <a:pt x="253" y="260"/>
                    </a:lnTo>
                    <a:lnTo>
                      <a:pt x="261" y="264"/>
                    </a:lnTo>
                    <a:lnTo>
                      <a:pt x="269" y="269"/>
                    </a:lnTo>
                    <a:lnTo>
                      <a:pt x="278" y="271"/>
                    </a:lnTo>
                    <a:lnTo>
                      <a:pt x="278" y="271"/>
                    </a:lnTo>
                    <a:lnTo>
                      <a:pt x="298" y="279"/>
                    </a:lnTo>
                    <a:lnTo>
                      <a:pt x="315" y="287"/>
                    </a:lnTo>
                    <a:lnTo>
                      <a:pt x="315" y="287"/>
                    </a:lnTo>
                    <a:lnTo>
                      <a:pt x="322" y="290"/>
                    </a:lnTo>
                    <a:lnTo>
                      <a:pt x="329" y="291"/>
                    </a:lnTo>
                    <a:lnTo>
                      <a:pt x="337" y="288"/>
                    </a:lnTo>
                    <a:lnTo>
                      <a:pt x="347" y="286"/>
                    </a:lnTo>
                    <a:lnTo>
                      <a:pt x="347" y="286"/>
                    </a:lnTo>
                    <a:lnTo>
                      <a:pt x="352" y="284"/>
                    </a:lnTo>
                    <a:lnTo>
                      <a:pt x="356" y="284"/>
                    </a:lnTo>
                    <a:lnTo>
                      <a:pt x="363" y="286"/>
                    </a:lnTo>
                    <a:lnTo>
                      <a:pt x="370" y="287"/>
                    </a:lnTo>
                    <a:lnTo>
                      <a:pt x="376" y="290"/>
                    </a:lnTo>
                    <a:lnTo>
                      <a:pt x="376" y="290"/>
                    </a:lnTo>
                    <a:lnTo>
                      <a:pt x="383" y="296"/>
                    </a:lnTo>
                    <a:lnTo>
                      <a:pt x="393" y="304"/>
                    </a:lnTo>
                    <a:lnTo>
                      <a:pt x="393" y="304"/>
                    </a:lnTo>
                    <a:lnTo>
                      <a:pt x="406" y="286"/>
                    </a:lnTo>
                    <a:lnTo>
                      <a:pt x="406" y="28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95" name="Canada"/>
              <p:cNvSpPr>
                <a:spLocks noEditPoints="1"/>
              </p:cNvSpPr>
              <p:nvPr/>
            </p:nvSpPr>
            <p:spPr bwMode="auto">
              <a:xfrm>
                <a:off x="952449" y="1615054"/>
                <a:ext cx="2108693" cy="1620364"/>
              </a:xfrm>
              <a:custGeom>
                <a:avLst/>
                <a:gdLst/>
                <a:ahLst/>
                <a:cxnLst>
                  <a:cxn ang="0">
                    <a:pos x="294" y="420"/>
                  </a:cxn>
                  <a:cxn ang="0">
                    <a:pos x="249" y="381"/>
                  </a:cxn>
                  <a:cxn ang="0">
                    <a:pos x="532" y="360"/>
                  </a:cxn>
                  <a:cxn ang="0">
                    <a:pos x="364" y="377"/>
                  </a:cxn>
                  <a:cxn ang="0">
                    <a:pos x="485" y="491"/>
                  </a:cxn>
                  <a:cxn ang="0">
                    <a:pos x="313" y="265"/>
                  </a:cxn>
                  <a:cxn ang="0">
                    <a:pos x="356" y="221"/>
                  </a:cxn>
                  <a:cxn ang="0">
                    <a:pos x="461" y="299"/>
                  </a:cxn>
                  <a:cxn ang="0">
                    <a:pos x="509" y="279"/>
                  </a:cxn>
                  <a:cxn ang="0">
                    <a:pos x="502" y="199"/>
                  </a:cxn>
                  <a:cxn ang="0">
                    <a:pos x="670" y="175"/>
                  </a:cxn>
                  <a:cxn ang="0">
                    <a:pos x="593" y="280"/>
                  </a:cxn>
                  <a:cxn ang="0">
                    <a:pos x="660" y="296"/>
                  </a:cxn>
                  <a:cxn ang="0">
                    <a:pos x="764" y="307"/>
                  </a:cxn>
                  <a:cxn ang="0">
                    <a:pos x="697" y="322"/>
                  </a:cxn>
                  <a:cxn ang="0">
                    <a:pos x="898" y="312"/>
                  </a:cxn>
                  <a:cxn ang="0">
                    <a:pos x="777" y="255"/>
                  </a:cxn>
                  <a:cxn ang="0">
                    <a:pos x="858" y="172"/>
                  </a:cxn>
                  <a:cxn ang="0">
                    <a:pos x="752" y="91"/>
                  </a:cxn>
                  <a:cxn ang="0">
                    <a:pos x="927" y="98"/>
                  </a:cxn>
                  <a:cxn ang="0">
                    <a:pos x="865" y="176"/>
                  </a:cxn>
                  <a:cxn ang="0">
                    <a:pos x="952" y="246"/>
                  </a:cxn>
                  <a:cxn ang="0">
                    <a:pos x="1065" y="145"/>
                  </a:cxn>
                  <a:cxn ang="0">
                    <a:pos x="1198" y="17"/>
                  </a:cxn>
                  <a:cxn ang="0">
                    <a:pos x="929" y="36"/>
                  </a:cxn>
                  <a:cxn ang="0">
                    <a:pos x="952" y="643"/>
                  </a:cxn>
                  <a:cxn ang="0">
                    <a:pos x="972" y="623"/>
                  </a:cxn>
                  <a:cxn ang="0">
                    <a:pos x="1189" y="457"/>
                  </a:cxn>
                  <a:cxn ang="0">
                    <a:pos x="1020" y="370"/>
                  </a:cxn>
                  <a:cxn ang="0">
                    <a:pos x="882" y="357"/>
                  </a:cxn>
                  <a:cxn ang="0">
                    <a:pos x="997" y="441"/>
                  </a:cxn>
                  <a:cxn ang="0">
                    <a:pos x="1111" y="542"/>
                  </a:cxn>
                  <a:cxn ang="0">
                    <a:pos x="1208" y="666"/>
                  </a:cxn>
                  <a:cxn ang="0">
                    <a:pos x="1024" y="516"/>
                  </a:cxn>
                  <a:cxn ang="0">
                    <a:pos x="1414" y="972"/>
                  </a:cxn>
                  <a:cxn ang="0">
                    <a:pos x="1327" y="989"/>
                  </a:cxn>
                  <a:cxn ang="0">
                    <a:pos x="1302" y="1004"/>
                  </a:cxn>
                  <a:cxn ang="0">
                    <a:pos x="1149" y="977"/>
                  </a:cxn>
                  <a:cxn ang="0">
                    <a:pos x="1311" y="862"/>
                  </a:cxn>
                  <a:cxn ang="0">
                    <a:pos x="1260" y="747"/>
                  </a:cxn>
                  <a:cxn ang="0">
                    <a:pos x="1152" y="716"/>
                  </a:cxn>
                  <a:cxn ang="0">
                    <a:pos x="1017" y="687"/>
                  </a:cxn>
                  <a:cxn ang="0">
                    <a:pos x="989" y="911"/>
                  </a:cxn>
                  <a:cxn ang="0">
                    <a:pos x="775" y="751"/>
                  </a:cxn>
                  <a:cxn ang="0">
                    <a:pos x="832" y="609"/>
                  </a:cxn>
                  <a:cxn ang="0">
                    <a:pos x="944" y="541"/>
                  </a:cxn>
                  <a:cxn ang="0">
                    <a:pos x="886" y="505"/>
                  </a:cxn>
                  <a:cxn ang="0">
                    <a:pos x="819" y="467"/>
                  </a:cxn>
                  <a:cxn ang="0">
                    <a:pos x="798" y="329"/>
                  </a:cxn>
                  <a:cxn ang="0">
                    <a:pos x="755" y="475"/>
                  </a:cxn>
                  <a:cxn ang="0">
                    <a:pos x="727" y="467"/>
                  </a:cxn>
                  <a:cxn ang="0">
                    <a:pos x="582" y="495"/>
                  </a:cxn>
                  <a:cxn ang="0">
                    <a:pos x="498" y="508"/>
                  </a:cxn>
                  <a:cxn ang="0">
                    <a:pos x="232" y="454"/>
                  </a:cxn>
                  <a:cxn ang="0">
                    <a:pos x="129" y="465"/>
                  </a:cxn>
                  <a:cxn ang="0">
                    <a:pos x="75" y="730"/>
                  </a:cxn>
                  <a:cxn ang="0">
                    <a:pos x="210" y="896"/>
                  </a:cxn>
                  <a:cxn ang="0">
                    <a:pos x="851" y="960"/>
                  </a:cxn>
                  <a:cxn ang="0">
                    <a:pos x="996" y="1085"/>
                  </a:cxn>
                  <a:cxn ang="0">
                    <a:pos x="1235" y="1037"/>
                  </a:cxn>
                  <a:cxn ang="0">
                    <a:pos x="299" y="588"/>
                  </a:cxn>
                  <a:cxn ang="0">
                    <a:pos x="444" y="681"/>
                  </a:cxn>
                  <a:cxn ang="0">
                    <a:pos x="686" y="855"/>
                  </a:cxn>
                </a:cxnLst>
                <a:rect l="0" t="0" r="r" b="b"/>
                <a:pathLst>
                  <a:path w="1425" h="1095">
                    <a:moveTo>
                      <a:pt x="282" y="960"/>
                    </a:moveTo>
                    <a:lnTo>
                      <a:pt x="282" y="960"/>
                    </a:lnTo>
                    <a:lnTo>
                      <a:pt x="277" y="957"/>
                    </a:lnTo>
                    <a:lnTo>
                      <a:pt x="272" y="956"/>
                    </a:lnTo>
                    <a:lnTo>
                      <a:pt x="266" y="953"/>
                    </a:lnTo>
                    <a:lnTo>
                      <a:pt x="264" y="953"/>
                    </a:lnTo>
                    <a:lnTo>
                      <a:pt x="263" y="952"/>
                    </a:lnTo>
                    <a:lnTo>
                      <a:pt x="263" y="952"/>
                    </a:lnTo>
                    <a:lnTo>
                      <a:pt x="260" y="946"/>
                    </a:lnTo>
                    <a:lnTo>
                      <a:pt x="255" y="939"/>
                    </a:lnTo>
                    <a:lnTo>
                      <a:pt x="249" y="933"/>
                    </a:lnTo>
                    <a:lnTo>
                      <a:pt x="246" y="930"/>
                    </a:lnTo>
                    <a:lnTo>
                      <a:pt x="245" y="930"/>
                    </a:lnTo>
                    <a:lnTo>
                      <a:pt x="245" y="930"/>
                    </a:lnTo>
                    <a:lnTo>
                      <a:pt x="235" y="930"/>
                    </a:lnTo>
                    <a:lnTo>
                      <a:pt x="229" y="929"/>
                    </a:lnTo>
                    <a:lnTo>
                      <a:pt x="223" y="926"/>
                    </a:lnTo>
                    <a:lnTo>
                      <a:pt x="223" y="926"/>
                    </a:lnTo>
                    <a:lnTo>
                      <a:pt x="218" y="922"/>
                    </a:lnTo>
                    <a:lnTo>
                      <a:pt x="213" y="922"/>
                    </a:lnTo>
                    <a:lnTo>
                      <a:pt x="210" y="922"/>
                    </a:lnTo>
                    <a:lnTo>
                      <a:pt x="206" y="923"/>
                    </a:lnTo>
                    <a:lnTo>
                      <a:pt x="206" y="923"/>
                    </a:lnTo>
                    <a:lnTo>
                      <a:pt x="205" y="925"/>
                    </a:lnTo>
                    <a:lnTo>
                      <a:pt x="205" y="925"/>
                    </a:lnTo>
                    <a:lnTo>
                      <a:pt x="208" y="926"/>
                    </a:lnTo>
                    <a:lnTo>
                      <a:pt x="210" y="929"/>
                    </a:lnTo>
                    <a:lnTo>
                      <a:pt x="212" y="930"/>
                    </a:lnTo>
                    <a:lnTo>
                      <a:pt x="212" y="930"/>
                    </a:lnTo>
                    <a:lnTo>
                      <a:pt x="212" y="933"/>
                    </a:lnTo>
                    <a:lnTo>
                      <a:pt x="213" y="935"/>
                    </a:lnTo>
                    <a:lnTo>
                      <a:pt x="216" y="936"/>
                    </a:lnTo>
                    <a:lnTo>
                      <a:pt x="219" y="936"/>
                    </a:lnTo>
                    <a:lnTo>
                      <a:pt x="219" y="936"/>
                    </a:lnTo>
                    <a:lnTo>
                      <a:pt x="222" y="936"/>
                    </a:lnTo>
                    <a:lnTo>
                      <a:pt x="225" y="939"/>
                    </a:lnTo>
                    <a:lnTo>
                      <a:pt x="227" y="943"/>
                    </a:lnTo>
                    <a:lnTo>
                      <a:pt x="230" y="945"/>
                    </a:lnTo>
                    <a:lnTo>
                      <a:pt x="230" y="945"/>
                    </a:lnTo>
                    <a:lnTo>
                      <a:pt x="233" y="946"/>
                    </a:lnTo>
                    <a:lnTo>
                      <a:pt x="235" y="948"/>
                    </a:lnTo>
                    <a:lnTo>
                      <a:pt x="237" y="950"/>
                    </a:lnTo>
                    <a:lnTo>
                      <a:pt x="240" y="952"/>
                    </a:lnTo>
                    <a:lnTo>
                      <a:pt x="240" y="952"/>
                    </a:lnTo>
                    <a:lnTo>
                      <a:pt x="243" y="952"/>
                    </a:lnTo>
                    <a:lnTo>
                      <a:pt x="246" y="955"/>
                    </a:lnTo>
                    <a:lnTo>
                      <a:pt x="249" y="960"/>
                    </a:lnTo>
                    <a:lnTo>
                      <a:pt x="249" y="960"/>
                    </a:lnTo>
                    <a:lnTo>
                      <a:pt x="252" y="962"/>
                    </a:lnTo>
                    <a:lnTo>
                      <a:pt x="255" y="962"/>
                    </a:lnTo>
                    <a:lnTo>
                      <a:pt x="256" y="962"/>
                    </a:lnTo>
                    <a:lnTo>
                      <a:pt x="257" y="963"/>
                    </a:lnTo>
                    <a:lnTo>
                      <a:pt x="257" y="963"/>
                    </a:lnTo>
                    <a:lnTo>
                      <a:pt x="257" y="966"/>
                    </a:lnTo>
                    <a:lnTo>
                      <a:pt x="260" y="967"/>
                    </a:lnTo>
                    <a:lnTo>
                      <a:pt x="263" y="970"/>
                    </a:lnTo>
                    <a:lnTo>
                      <a:pt x="264" y="973"/>
                    </a:lnTo>
                    <a:lnTo>
                      <a:pt x="264" y="973"/>
                    </a:lnTo>
                    <a:lnTo>
                      <a:pt x="277" y="975"/>
                    </a:lnTo>
                    <a:lnTo>
                      <a:pt x="284" y="975"/>
                    </a:lnTo>
                    <a:lnTo>
                      <a:pt x="290" y="973"/>
                    </a:lnTo>
                    <a:lnTo>
                      <a:pt x="290" y="973"/>
                    </a:lnTo>
                    <a:lnTo>
                      <a:pt x="292" y="966"/>
                    </a:lnTo>
                    <a:lnTo>
                      <a:pt x="292" y="966"/>
                    </a:lnTo>
                    <a:lnTo>
                      <a:pt x="292" y="965"/>
                    </a:lnTo>
                    <a:lnTo>
                      <a:pt x="289" y="963"/>
                    </a:lnTo>
                    <a:lnTo>
                      <a:pt x="286" y="962"/>
                    </a:lnTo>
                    <a:lnTo>
                      <a:pt x="282" y="960"/>
                    </a:lnTo>
                    <a:lnTo>
                      <a:pt x="282" y="960"/>
                    </a:lnTo>
                    <a:close/>
                    <a:moveTo>
                      <a:pt x="269" y="394"/>
                    </a:moveTo>
                    <a:lnTo>
                      <a:pt x="269" y="394"/>
                    </a:lnTo>
                    <a:lnTo>
                      <a:pt x="273" y="397"/>
                    </a:lnTo>
                    <a:lnTo>
                      <a:pt x="277" y="400"/>
                    </a:lnTo>
                    <a:lnTo>
                      <a:pt x="282" y="408"/>
                    </a:lnTo>
                    <a:lnTo>
                      <a:pt x="287" y="417"/>
                    </a:lnTo>
                    <a:lnTo>
                      <a:pt x="289" y="420"/>
                    </a:lnTo>
                    <a:lnTo>
                      <a:pt x="292" y="420"/>
                    </a:lnTo>
                    <a:lnTo>
                      <a:pt x="292" y="420"/>
                    </a:lnTo>
                    <a:lnTo>
                      <a:pt x="294" y="420"/>
                    </a:lnTo>
                    <a:lnTo>
                      <a:pt x="296" y="417"/>
                    </a:lnTo>
                    <a:lnTo>
                      <a:pt x="297" y="414"/>
                    </a:lnTo>
                    <a:lnTo>
                      <a:pt x="303" y="413"/>
                    </a:lnTo>
                    <a:lnTo>
                      <a:pt x="303" y="413"/>
                    </a:lnTo>
                    <a:lnTo>
                      <a:pt x="307" y="413"/>
                    </a:lnTo>
                    <a:lnTo>
                      <a:pt x="311" y="411"/>
                    </a:lnTo>
                    <a:lnTo>
                      <a:pt x="314" y="410"/>
                    </a:lnTo>
                    <a:lnTo>
                      <a:pt x="319" y="408"/>
                    </a:lnTo>
                    <a:lnTo>
                      <a:pt x="319" y="408"/>
                    </a:lnTo>
                    <a:lnTo>
                      <a:pt x="324" y="408"/>
                    </a:lnTo>
                    <a:lnTo>
                      <a:pt x="330" y="407"/>
                    </a:lnTo>
                    <a:lnTo>
                      <a:pt x="333" y="403"/>
                    </a:lnTo>
                    <a:lnTo>
                      <a:pt x="334" y="397"/>
                    </a:lnTo>
                    <a:lnTo>
                      <a:pt x="334" y="397"/>
                    </a:lnTo>
                    <a:lnTo>
                      <a:pt x="336" y="390"/>
                    </a:lnTo>
                    <a:lnTo>
                      <a:pt x="338" y="386"/>
                    </a:lnTo>
                    <a:lnTo>
                      <a:pt x="343" y="383"/>
                    </a:lnTo>
                    <a:lnTo>
                      <a:pt x="348" y="381"/>
                    </a:lnTo>
                    <a:lnTo>
                      <a:pt x="348" y="381"/>
                    </a:lnTo>
                    <a:lnTo>
                      <a:pt x="351" y="380"/>
                    </a:lnTo>
                    <a:lnTo>
                      <a:pt x="353" y="378"/>
                    </a:lnTo>
                    <a:lnTo>
                      <a:pt x="354" y="374"/>
                    </a:lnTo>
                    <a:lnTo>
                      <a:pt x="356" y="369"/>
                    </a:lnTo>
                    <a:lnTo>
                      <a:pt x="358" y="367"/>
                    </a:lnTo>
                    <a:lnTo>
                      <a:pt x="361" y="366"/>
                    </a:lnTo>
                    <a:lnTo>
                      <a:pt x="361" y="366"/>
                    </a:lnTo>
                    <a:lnTo>
                      <a:pt x="374" y="361"/>
                    </a:lnTo>
                    <a:lnTo>
                      <a:pt x="390" y="356"/>
                    </a:lnTo>
                    <a:lnTo>
                      <a:pt x="404" y="349"/>
                    </a:lnTo>
                    <a:lnTo>
                      <a:pt x="412" y="344"/>
                    </a:lnTo>
                    <a:lnTo>
                      <a:pt x="412" y="344"/>
                    </a:lnTo>
                    <a:lnTo>
                      <a:pt x="414" y="343"/>
                    </a:lnTo>
                    <a:lnTo>
                      <a:pt x="414" y="340"/>
                    </a:lnTo>
                    <a:lnTo>
                      <a:pt x="410" y="337"/>
                    </a:lnTo>
                    <a:lnTo>
                      <a:pt x="393" y="326"/>
                    </a:lnTo>
                    <a:lnTo>
                      <a:pt x="393" y="326"/>
                    </a:lnTo>
                    <a:lnTo>
                      <a:pt x="384" y="322"/>
                    </a:lnTo>
                    <a:lnTo>
                      <a:pt x="375" y="319"/>
                    </a:lnTo>
                    <a:lnTo>
                      <a:pt x="368" y="320"/>
                    </a:lnTo>
                    <a:lnTo>
                      <a:pt x="360" y="323"/>
                    </a:lnTo>
                    <a:lnTo>
                      <a:pt x="360" y="323"/>
                    </a:lnTo>
                    <a:lnTo>
                      <a:pt x="357" y="324"/>
                    </a:lnTo>
                    <a:lnTo>
                      <a:pt x="356" y="324"/>
                    </a:lnTo>
                    <a:lnTo>
                      <a:pt x="356" y="323"/>
                    </a:lnTo>
                    <a:lnTo>
                      <a:pt x="354" y="322"/>
                    </a:lnTo>
                    <a:lnTo>
                      <a:pt x="354" y="319"/>
                    </a:lnTo>
                    <a:lnTo>
                      <a:pt x="353" y="319"/>
                    </a:lnTo>
                    <a:lnTo>
                      <a:pt x="350" y="319"/>
                    </a:lnTo>
                    <a:lnTo>
                      <a:pt x="350" y="319"/>
                    </a:lnTo>
                    <a:lnTo>
                      <a:pt x="347" y="320"/>
                    </a:lnTo>
                    <a:lnTo>
                      <a:pt x="343" y="320"/>
                    </a:lnTo>
                    <a:lnTo>
                      <a:pt x="333" y="317"/>
                    </a:lnTo>
                    <a:lnTo>
                      <a:pt x="323" y="313"/>
                    </a:lnTo>
                    <a:lnTo>
                      <a:pt x="319" y="310"/>
                    </a:lnTo>
                    <a:lnTo>
                      <a:pt x="319" y="310"/>
                    </a:lnTo>
                    <a:lnTo>
                      <a:pt x="316" y="309"/>
                    </a:lnTo>
                    <a:lnTo>
                      <a:pt x="310" y="310"/>
                    </a:lnTo>
                    <a:lnTo>
                      <a:pt x="296" y="313"/>
                    </a:lnTo>
                    <a:lnTo>
                      <a:pt x="279" y="316"/>
                    </a:lnTo>
                    <a:lnTo>
                      <a:pt x="267" y="317"/>
                    </a:lnTo>
                    <a:lnTo>
                      <a:pt x="267" y="317"/>
                    </a:lnTo>
                    <a:lnTo>
                      <a:pt x="266" y="319"/>
                    </a:lnTo>
                    <a:lnTo>
                      <a:pt x="264" y="320"/>
                    </a:lnTo>
                    <a:lnTo>
                      <a:pt x="264" y="322"/>
                    </a:lnTo>
                    <a:lnTo>
                      <a:pt x="266" y="323"/>
                    </a:lnTo>
                    <a:lnTo>
                      <a:pt x="270" y="329"/>
                    </a:lnTo>
                    <a:lnTo>
                      <a:pt x="274" y="333"/>
                    </a:lnTo>
                    <a:lnTo>
                      <a:pt x="274" y="333"/>
                    </a:lnTo>
                    <a:lnTo>
                      <a:pt x="276" y="336"/>
                    </a:lnTo>
                    <a:lnTo>
                      <a:pt x="276" y="339"/>
                    </a:lnTo>
                    <a:lnTo>
                      <a:pt x="270" y="346"/>
                    </a:lnTo>
                    <a:lnTo>
                      <a:pt x="264" y="353"/>
                    </a:lnTo>
                    <a:lnTo>
                      <a:pt x="263" y="356"/>
                    </a:lnTo>
                    <a:lnTo>
                      <a:pt x="263" y="357"/>
                    </a:lnTo>
                    <a:lnTo>
                      <a:pt x="263" y="357"/>
                    </a:lnTo>
                    <a:lnTo>
                      <a:pt x="264" y="359"/>
                    </a:lnTo>
                    <a:lnTo>
                      <a:pt x="264" y="360"/>
                    </a:lnTo>
                    <a:lnTo>
                      <a:pt x="262" y="366"/>
                    </a:lnTo>
                    <a:lnTo>
                      <a:pt x="249" y="381"/>
                    </a:lnTo>
                    <a:lnTo>
                      <a:pt x="249" y="381"/>
                    </a:lnTo>
                    <a:lnTo>
                      <a:pt x="247" y="386"/>
                    </a:lnTo>
                    <a:lnTo>
                      <a:pt x="246" y="387"/>
                    </a:lnTo>
                    <a:lnTo>
                      <a:pt x="247" y="390"/>
                    </a:lnTo>
                    <a:lnTo>
                      <a:pt x="250" y="391"/>
                    </a:lnTo>
                    <a:lnTo>
                      <a:pt x="259" y="393"/>
                    </a:lnTo>
                    <a:lnTo>
                      <a:pt x="269" y="394"/>
                    </a:lnTo>
                    <a:lnTo>
                      <a:pt x="269" y="394"/>
                    </a:lnTo>
                    <a:close/>
                    <a:moveTo>
                      <a:pt x="624" y="452"/>
                    </a:moveTo>
                    <a:lnTo>
                      <a:pt x="624" y="452"/>
                    </a:lnTo>
                    <a:lnTo>
                      <a:pt x="627" y="452"/>
                    </a:lnTo>
                    <a:lnTo>
                      <a:pt x="630" y="452"/>
                    </a:lnTo>
                    <a:lnTo>
                      <a:pt x="637" y="455"/>
                    </a:lnTo>
                    <a:lnTo>
                      <a:pt x="644" y="457"/>
                    </a:lnTo>
                    <a:lnTo>
                      <a:pt x="647" y="455"/>
                    </a:lnTo>
                    <a:lnTo>
                      <a:pt x="647" y="452"/>
                    </a:lnTo>
                    <a:lnTo>
                      <a:pt x="647" y="452"/>
                    </a:lnTo>
                    <a:lnTo>
                      <a:pt x="647" y="448"/>
                    </a:lnTo>
                    <a:lnTo>
                      <a:pt x="644" y="445"/>
                    </a:lnTo>
                    <a:lnTo>
                      <a:pt x="637" y="440"/>
                    </a:lnTo>
                    <a:lnTo>
                      <a:pt x="627" y="435"/>
                    </a:lnTo>
                    <a:lnTo>
                      <a:pt x="619" y="431"/>
                    </a:lnTo>
                    <a:lnTo>
                      <a:pt x="619" y="431"/>
                    </a:lnTo>
                    <a:lnTo>
                      <a:pt x="613" y="428"/>
                    </a:lnTo>
                    <a:lnTo>
                      <a:pt x="609" y="427"/>
                    </a:lnTo>
                    <a:lnTo>
                      <a:pt x="602" y="424"/>
                    </a:lnTo>
                    <a:lnTo>
                      <a:pt x="593" y="418"/>
                    </a:lnTo>
                    <a:lnTo>
                      <a:pt x="593" y="418"/>
                    </a:lnTo>
                    <a:lnTo>
                      <a:pt x="590" y="414"/>
                    </a:lnTo>
                    <a:lnTo>
                      <a:pt x="589" y="411"/>
                    </a:lnTo>
                    <a:lnTo>
                      <a:pt x="589" y="408"/>
                    </a:lnTo>
                    <a:lnTo>
                      <a:pt x="589" y="406"/>
                    </a:lnTo>
                    <a:lnTo>
                      <a:pt x="590" y="401"/>
                    </a:lnTo>
                    <a:lnTo>
                      <a:pt x="590" y="398"/>
                    </a:lnTo>
                    <a:lnTo>
                      <a:pt x="587" y="396"/>
                    </a:lnTo>
                    <a:lnTo>
                      <a:pt x="587" y="396"/>
                    </a:lnTo>
                    <a:lnTo>
                      <a:pt x="583" y="391"/>
                    </a:lnTo>
                    <a:lnTo>
                      <a:pt x="580" y="387"/>
                    </a:lnTo>
                    <a:lnTo>
                      <a:pt x="577" y="377"/>
                    </a:lnTo>
                    <a:lnTo>
                      <a:pt x="577" y="371"/>
                    </a:lnTo>
                    <a:lnTo>
                      <a:pt x="577" y="367"/>
                    </a:lnTo>
                    <a:lnTo>
                      <a:pt x="579" y="363"/>
                    </a:lnTo>
                    <a:lnTo>
                      <a:pt x="580" y="359"/>
                    </a:lnTo>
                    <a:lnTo>
                      <a:pt x="580" y="359"/>
                    </a:lnTo>
                    <a:lnTo>
                      <a:pt x="586" y="353"/>
                    </a:lnTo>
                    <a:lnTo>
                      <a:pt x="589" y="347"/>
                    </a:lnTo>
                    <a:lnTo>
                      <a:pt x="590" y="344"/>
                    </a:lnTo>
                    <a:lnTo>
                      <a:pt x="589" y="341"/>
                    </a:lnTo>
                    <a:lnTo>
                      <a:pt x="587" y="339"/>
                    </a:lnTo>
                    <a:lnTo>
                      <a:pt x="583" y="336"/>
                    </a:lnTo>
                    <a:lnTo>
                      <a:pt x="583" y="336"/>
                    </a:lnTo>
                    <a:lnTo>
                      <a:pt x="577" y="336"/>
                    </a:lnTo>
                    <a:lnTo>
                      <a:pt x="572" y="334"/>
                    </a:lnTo>
                    <a:lnTo>
                      <a:pt x="562" y="337"/>
                    </a:lnTo>
                    <a:lnTo>
                      <a:pt x="553" y="340"/>
                    </a:lnTo>
                    <a:lnTo>
                      <a:pt x="552" y="341"/>
                    </a:lnTo>
                    <a:lnTo>
                      <a:pt x="552" y="343"/>
                    </a:lnTo>
                    <a:lnTo>
                      <a:pt x="552" y="343"/>
                    </a:lnTo>
                    <a:lnTo>
                      <a:pt x="562" y="351"/>
                    </a:lnTo>
                    <a:lnTo>
                      <a:pt x="569" y="357"/>
                    </a:lnTo>
                    <a:lnTo>
                      <a:pt x="570" y="359"/>
                    </a:lnTo>
                    <a:lnTo>
                      <a:pt x="572" y="360"/>
                    </a:lnTo>
                    <a:lnTo>
                      <a:pt x="572" y="360"/>
                    </a:lnTo>
                    <a:lnTo>
                      <a:pt x="570" y="361"/>
                    </a:lnTo>
                    <a:lnTo>
                      <a:pt x="569" y="360"/>
                    </a:lnTo>
                    <a:lnTo>
                      <a:pt x="563" y="357"/>
                    </a:lnTo>
                    <a:lnTo>
                      <a:pt x="555" y="353"/>
                    </a:lnTo>
                    <a:lnTo>
                      <a:pt x="552" y="351"/>
                    </a:lnTo>
                    <a:lnTo>
                      <a:pt x="549" y="351"/>
                    </a:lnTo>
                    <a:lnTo>
                      <a:pt x="549" y="351"/>
                    </a:lnTo>
                    <a:lnTo>
                      <a:pt x="548" y="353"/>
                    </a:lnTo>
                    <a:lnTo>
                      <a:pt x="545" y="353"/>
                    </a:lnTo>
                    <a:lnTo>
                      <a:pt x="540" y="350"/>
                    </a:lnTo>
                    <a:lnTo>
                      <a:pt x="536" y="350"/>
                    </a:lnTo>
                    <a:lnTo>
                      <a:pt x="535" y="350"/>
                    </a:lnTo>
                    <a:lnTo>
                      <a:pt x="532" y="351"/>
                    </a:lnTo>
                    <a:lnTo>
                      <a:pt x="532" y="351"/>
                    </a:lnTo>
                    <a:lnTo>
                      <a:pt x="532" y="356"/>
                    </a:lnTo>
                    <a:lnTo>
                      <a:pt x="532" y="360"/>
                    </a:lnTo>
                    <a:lnTo>
                      <a:pt x="535" y="371"/>
                    </a:lnTo>
                    <a:lnTo>
                      <a:pt x="539" y="383"/>
                    </a:lnTo>
                    <a:lnTo>
                      <a:pt x="543" y="391"/>
                    </a:lnTo>
                    <a:lnTo>
                      <a:pt x="543" y="391"/>
                    </a:lnTo>
                    <a:lnTo>
                      <a:pt x="545" y="394"/>
                    </a:lnTo>
                    <a:lnTo>
                      <a:pt x="545" y="396"/>
                    </a:lnTo>
                    <a:lnTo>
                      <a:pt x="542" y="397"/>
                    </a:lnTo>
                    <a:lnTo>
                      <a:pt x="533" y="400"/>
                    </a:lnTo>
                    <a:lnTo>
                      <a:pt x="533" y="400"/>
                    </a:lnTo>
                    <a:lnTo>
                      <a:pt x="531" y="400"/>
                    </a:lnTo>
                    <a:lnTo>
                      <a:pt x="529" y="397"/>
                    </a:lnTo>
                    <a:lnTo>
                      <a:pt x="528" y="390"/>
                    </a:lnTo>
                    <a:lnTo>
                      <a:pt x="525" y="380"/>
                    </a:lnTo>
                    <a:lnTo>
                      <a:pt x="521" y="371"/>
                    </a:lnTo>
                    <a:lnTo>
                      <a:pt x="521" y="371"/>
                    </a:lnTo>
                    <a:lnTo>
                      <a:pt x="515" y="366"/>
                    </a:lnTo>
                    <a:lnTo>
                      <a:pt x="505" y="361"/>
                    </a:lnTo>
                    <a:lnTo>
                      <a:pt x="495" y="359"/>
                    </a:lnTo>
                    <a:lnTo>
                      <a:pt x="492" y="359"/>
                    </a:lnTo>
                    <a:lnTo>
                      <a:pt x="491" y="360"/>
                    </a:lnTo>
                    <a:lnTo>
                      <a:pt x="491" y="360"/>
                    </a:lnTo>
                    <a:lnTo>
                      <a:pt x="491" y="363"/>
                    </a:lnTo>
                    <a:lnTo>
                      <a:pt x="492" y="364"/>
                    </a:lnTo>
                    <a:lnTo>
                      <a:pt x="498" y="367"/>
                    </a:lnTo>
                    <a:lnTo>
                      <a:pt x="502" y="370"/>
                    </a:lnTo>
                    <a:lnTo>
                      <a:pt x="503" y="371"/>
                    </a:lnTo>
                    <a:lnTo>
                      <a:pt x="503" y="374"/>
                    </a:lnTo>
                    <a:lnTo>
                      <a:pt x="503" y="374"/>
                    </a:lnTo>
                    <a:lnTo>
                      <a:pt x="502" y="376"/>
                    </a:lnTo>
                    <a:lnTo>
                      <a:pt x="501" y="377"/>
                    </a:lnTo>
                    <a:lnTo>
                      <a:pt x="496" y="376"/>
                    </a:lnTo>
                    <a:lnTo>
                      <a:pt x="491" y="374"/>
                    </a:lnTo>
                    <a:lnTo>
                      <a:pt x="488" y="374"/>
                    </a:lnTo>
                    <a:lnTo>
                      <a:pt x="485" y="376"/>
                    </a:lnTo>
                    <a:lnTo>
                      <a:pt x="485" y="376"/>
                    </a:lnTo>
                    <a:lnTo>
                      <a:pt x="481" y="378"/>
                    </a:lnTo>
                    <a:lnTo>
                      <a:pt x="479" y="378"/>
                    </a:lnTo>
                    <a:lnTo>
                      <a:pt x="479" y="376"/>
                    </a:lnTo>
                    <a:lnTo>
                      <a:pt x="479" y="371"/>
                    </a:lnTo>
                    <a:lnTo>
                      <a:pt x="479" y="371"/>
                    </a:lnTo>
                    <a:lnTo>
                      <a:pt x="479" y="369"/>
                    </a:lnTo>
                    <a:lnTo>
                      <a:pt x="478" y="367"/>
                    </a:lnTo>
                    <a:lnTo>
                      <a:pt x="472" y="363"/>
                    </a:lnTo>
                    <a:lnTo>
                      <a:pt x="465" y="360"/>
                    </a:lnTo>
                    <a:lnTo>
                      <a:pt x="454" y="359"/>
                    </a:lnTo>
                    <a:lnTo>
                      <a:pt x="454" y="359"/>
                    </a:lnTo>
                    <a:lnTo>
                      <a:pt x="449" y="360"/>
                    </a:lnTo>
                    <a:lnTo>
                      <a:pt x="447" y="361"/>
                    </a:lnTo>
                    <a:lnTo>
                      <a:pt x="445" y="364"/>
                    </a:lnTo>
                    <a:lnTo>
                      <a:pt x="445" y="366"/>
                    </a:lnTo>
                    <a:lnTo>
                      <a:pt x="445" y="370"/>
                    </a:lnTo>
                    <a:lnTo>
                      <a:pt x="445" y="373"/>
                    </a:lnTo>
                    <a:lnTo>
                      <a:pt x="444" y="374"/>
                    </a:lnTo>
                    <a:lnTo>
                      <a:pt x="444" y="374"/>
                    </a:lnTo>
                    <a:lnTo>
                      <a:pt x="441" y="376"/>
                    </a:lnTo>
                    <a:lnTo>
                      <a:pt x="438" y="376"/>
                    </a:lnTo>
                    <a:lnTo>
                      <a:pt x="431" y="374"/>
                    </a:lnTo>
                    <a:lnTo>
                      <a:pt x="428" y="373"/>
                    </a:lnTo>
                    <a:lnTo>
                      <a:pt x="427" y="371"/>
                    </a:lnTo>
                    <a:lnTo>
                      <a:pt x="428" y="370"/>
                    </a:lnTo>
                    <a:lnTo>
                      <a:pt x="431" y="369"/>
                    </a:lnTo>
                    <a:lnTo>
                      <a:pt x="431" y="369"/>
                    </a:lnTo>
                    <a:lnTo>
                      <a:pt x="435" y="369"/>
                    </a:lnTo>
                    <a:lnTo>
                      <a:pt x="438" y="366"/>
                    </a:lnTo>
                    <a:lnTo>
                      <a:pt x="439" y="364"/>
                    </a:lnTo>
                    <a:lnTo>
                      <a:pt x="439" y="361"/>
                    </a:lnTo>
                    <a:lnTo>
                      <a:pt x="438" y="356"/>
                    </a:lnTo>
                    <a:lnTo>
                      <a:pt x="434" y="350"/>
                    </a:lnTo>
                    <a:lnTo>
                      <a:pt x="434" y="350"/>
                    </a:lnTo>
                    <a:lnTo>
                      <a:pt x="432" y="349"/>
                    </a:lnTo>
                    <a:lnTo>
                      <a:pt x="430" y="347"/>
                    </a:lnTo>
                    <a:lnTo>
                      <a:pt x="421" y="350"/>
                    </a:lnTo>
                    <a:lnTo>
                      <a:pt x="394" y="360"/>
                    </a:lnTo>
                    <a:lnTo>
                      <a:pt x="394" y="360"/>
                    </a:lnTo>
                    <a:lnTo>
                      <a:pt x="380" y="366"/>
                    </a:lnTo>
                    <a:lnTo>
                      <a:pt x="370" y="371"/>
                    </a:lnTo>
                    <a:lnTo>
                      <a:pt x="365" y="376"/>
                    </a:lnTo>
                    <a:lnTo>
                      <a:pt x="364" y="376"/>
                    </a:lnTo>
                    <a:lnTo>
                      <a:pt x="364" y="377"/>
                    </a:lnTo>
                    <a:lnTo>
                      <a:pt x="364" y="377"/>
                    </a:lnTo>
                    <a:lnTo>
                      <a:pt x="365" y="378"/>
                    </a:lnTo>
                    <a:lnTo>
                      <a:pt x="367" y="380"/>
                    </a:lnTo>
                    <a:lnTo>
                      <a:pt x="364" y="384"/>
                    </a:lnTo>
                    <a:lnTo>
                      <a:pt x="360" y="388"/>
                    </a:lnTo>
                    <a:lnTo>
                      <a:pt x="360" y="388"/>
                    </a:lnTo>
                    <a:lnTo>
                      <a:pt x="357" y="391"/>
                    </a:lnTo>
                    <a:lnTo>
                      <a:pt x="356" y="394"/>
                    </a:lnTo>
                    <a:lnTo>
                      <a:pt x="357" y="396"/>
                    </a:lnTo>
                    <a:lnTo>
                      <a:pt x="357" y="398"/>
                    </a:lnTo>
                    <a:lnTo>
                      <a:pt x="361" y="401"/>
                    </a:lnTo>
                    <a:lnTo>
                      <a:pt x="367" y="401"/>
                    </a:lnTo>
                    <a:lnTo>
                      <a:pt x="367" y="401"/>
                    </a:lnTo>
                    <a:lnTo>
                      <a:pt x="371" y="403"/>
                    </a:lnTo>
                    <a:lnTo>
                      <a:pt x="371" y="406"/>
                    </a:lnTo>
                    <a:lnTo>
                      <a:pt x="371" y="408"/>
                    </a:lnTo>
                    <a:lnTo>
                      <a:pt x="373" y="408"/>
                    </a:lnTo>
                    <a:lnTo>
                      <a:pt x="374" y="410"/>
                    </a:lnTo>
                    <a:lnTo>
                      <a:pt x="374" y="410"/>
                    </a:lnTo>
                    <a:lnTo>
                      <a:pt x="381" y="408"/>
                    </a:lnTo>
                    <a:lnTo>
                      <a:pt x="393" y="406"/>
                    </a:lnTo>
                    <a:lnTo>
                      <a:pt x="404" y="404"/>
                    </a:lnTo>
                    <a:lnTo>
                      <a:pt x="408" y="404"/>
                    </a:lnTo>
                    <a:lnTo>
                      <a:pt x="411" y="404"/>
                    </a:lnTo>
                    <a:lnTo>
                      <a:pt x="411" y="404"/>
                    </a:lnTo>
                    <a:lnTo>
                      <a:pt x="412" y="406"/>
                    </a:lnTo>
                    <a:lnTo>
                      <a:pt x="412" y="407"/>
                    </a:lnTo>
                    <a:lnTo>
                      <a:pt x="408" y="408"/>
                    </a:lnTo>
                    <a:lnTo>
                      <a:pt x="393" y="411"/>
                    </a:lnTo>
                    <a:lnTo>
                      <a:pt x="377" y="415"/>
                    </a:lnTo>
                    <a:lnTo>
                      <a:pt x="371" y="418"/>
                    </a:lnTo>
                    <a:lnTo>
                      <a:pt x="370" y="420"/>
                    </a:lnTo>
                    <a:lnTo>
                      <a:pt x="370" y="421"/>
                    </a:lnTo>
                    <a:lnTo>
                      <a:pt x="370" y="421"/>
                    </a:lnTo>
                    <a:lnTo>
                      <a:pt x="371" y="424"/>
                    </a:lnTo>
                    <a:lnTo>
                      <a:pt x="374" y="427"/>
                    </a:lnTo>
                    <a:lnTo>
                      <a:pt x="380" y="428"/>
                    </a:lnTo>
                    <a:lnTo>
                      <a:pt x="385" y="431"/>
                    </a:lnTo>
                    <a:lnTo>
                      <a:pt x="401" y="433"/>
                    </a:lnTo>
                    <a:lnTo>
                      <a:pt x="417" y="431"/>
                    </a:lnTo>
                    <a:lnTo>
                      <a:pt x="417" y="431"/>
                    </a:lnTo>
                    <a:lnTo>
                      <a:pt x="425" y="430"/>
                    </a:lnTo>
                    <a:lnTo>
                      <a:pt x="434" y="430"/>
                    </a:lnTo>
                    <a:lnTo>
                      <a:pt x="451" y="431"/>
                    </a:lnTo>
                    <a:lnTo>
                      <a:pt x="465" y="435"/>
                    </a:lnTo>
                    <a:lnTo>
                      <a:pt x="469" y="437"/>
                    </a:lnTo>
                    <a:lnTo>
                      <a:pt x="471" y="438"/>
                    </a:lnTo>
                    <a:lnTo>
                      <a:pt x="471" y="438"/>
                    </a:lnTo>
                    <a:lnTo>
                      <a:pt x="471" y="441"/>
                    </a:lnTo>
                    <a:lnTo>
                      <a:pt x="468" y="441"/>
                    </a:lnTo>
                    <a:lnTo>
                      <a:pt x="458" y="442"/>
                    </a:lnTo>
                    <a:lnTo>
                      <a:pt x="430" y="441"/>
                    </a:lnTo>
                    <a:lnTo>
                      <a:pt x="430" y="441"/>
                    </a:lnTo>
                    <a:lnTo>
                      <a:pt x="415" y="442"/>
                    </a:lnTo>
                    <a:lnTo>
                      <a:pt x="400" y="444"/>
                    </a:lnTo>
                    <a:lnTo>
                      <a:pt x="387" y="448"/>
                    </a:lnTo>
                    <a:lnTo>
                      <a:pt x="384" y="450"/>
                    </a:lnTo>
                    <a:lnTo>
                      <a:pt x="383" y="452"/>
                    </a:lnTo>
                    <a:lnTo>
                      <a:pt x="383" y="452"/>
                    </a:lnTo>
                    <a:lnTo>
                      <a:pt x="384" y="457"/>
                    </a:lnTo>
                    <a:lnTo>
                      <a:pt x="388" y="460"/>
                    </a:lnTo>
                    <a:lnTo>
                      <a:pt x="405" y="467"/>
                    </a:lnTo>
                    <a:lnTo>
                      <a:pt x="405" y="467"/>
                    </a:lnTo>
                    <a:lnTo>
                      <a:pt x="412" y="470"/>
                    </a:lnTo>
                    <a:lnTo>
                      <a:pt x="418" y="471"/>
                    </a:lnTo>
                    <a:lnTo>
                      <a:pt x="431" y="470"/>
                    </a:lnTo>
                    <a:lnTo>
                      <a:pt x="435" y="470"/>
                    </a:lnTo>
                    <a:lnTo>
                      <a:pt x="439" y="470"/>
                    </a:lnTo>
                    <a:lnTo>
                      <a:pt x="441" y="471"/>
                    </a:lnTo>
                    <a:lnTo>
                      <a:pt x="442" y="475"/>
                    </a:lnTo>
                    <a:lnTo>
                      <a:pt x="442" y="475"/>
                    </a:lnTo>
                    <a:lnTo>
                      <a:pt x="442" y="479"/>
                    </a:lnTo>
                    <a:lnTo>
                      <a:pt x="444" y="482"/>
                    </a:lnTo>
                    <a:lnTo>
                      <a:pt x="447" y="485"/>
                    </a:lnTo>
                    <a:lnTo>
                      <a:pt x="449" y="487"/>
                    </a:lnTo>
                    <a:lnTo>
                      <a:pt x="461" y="489"/>
                    </a:lnTo>
                    <a:lnTo>
                      <a:pt x="476" y="491"/>
                    </a:lnTo>
                    <a:lnTo>
                      <a:pt x="476" y="491"/>
                    </a:lnTo>
                    <a:lnTo>
                      <a:pt x="485" y="491"/>
                    </a:lnTo>
                    <a:lnTo>
                      <a:pt x="494" y="489"/>
                    </a:lnTo>
                    <a:lnTo>
                      <a:pt x="506" y="485"/>
                    </a:lnTo>
                    <a:lnTo>
                      <a:pt x="516" y="481"/>
                    </a:lnTo>
                    <a:lnTo>
                      <a:pt x="521" y="481"/>
                    </a:lnTo>
                    <a:lnTo>
                      <a:pt x="525" y="479"/>
                    </a:lnTo>
                    <a:lnTo>
                      <a:pt x="525" y="479"/>
                    </a:lnTo>
                    <a:lnTo>
                      <a:pt x="533" y="479"/>
                    </a:lnTo>
                    <a:lnTo>
                      <a:pt x="539" y="478"/>
                    </a:lnTo>
                    <a:lnTo>
                      <a:pt x="545" y="475"/>
                    </a:lnTo>
                    <a:lnTo>
                      <a:pt x="549" y="470"/>
                    </a:lnTo>
                    <a:lnTo>
                      <a:pt x="549" y="470"/>
                    </a:lnTo>
                    <a:lnTo>
                      <a:pt x="553" y="467"/>
                    </a:lnTo>
                    <a:lnTo>
                      <a:pt x="556" y="465"/>
                    </a:lnTo>
                    <a:lnTo>
                      <a:pt x="559" y="468"/>
                    </a:lnTo>
                    <a:lnTo>
                      <a:pt x="560" y="471"/>
                    </a:lnTo>
                    <a:lnTo>
                      <a:pt x="560" y="471"/>
                    </a:lnTo>
                    <a:lnTo>
                      <a:pt x="562" y="472"/>
                    </a:lnTo>
                    <a:lnTo>
                      <a:pt x="565" y="474"/>
                    </a:lnTo>
                    <a:lnTo>
                      <a:pt x="570" y="475"/>
                    </a:lnTo>
                    <a:lnTo>
                      <a:pt x="577" y="475"/>
                    </a:lnTo>
                    <a:lnTo>
                      <a:pt x="582" y="478"/>
                    </a:lnTo>
                    <a:lnTo>
                      <a:pt x="582" y="478"/>
                    </a:lnTo>
                    <a:lnTo>
                      <a:pt x="586" y="481"/>
                    </a:lnTo>
                    <a:lnTo>
                      <a:pt x="592" y="482"/>
                    </a:lnTo>
                    <a:lnTo>
                      <a:pt x="599" y="484"/>
                    </a:lnTo>
                    <a:lnTo>
                      <a:pt x="606" y="484"/>
                    </a:lnTo>
                    <a:lnTo>
                      <a:pt x="620" y="482"/>
                    </a:lnTo>
                    <a:lnTo>
                      <a:pt x="632" y="478"/>
                    </a:lnTo>
                    <a:lnTo>
                      <a:pt x="632" y="478"/>
                    </a:lnTo>
                    <a:lnTo>
                      <a:pt x="634" y="477"/>
                    </a:lnTo>
                    <a:lnTo>
                      <a:pt x="636" y="472"/>
                    </a:lnTo>
                    <a:lnTo>
                      <a:pt x="636" y="470"/>
                    </a:lnTo>
                    <a:lnTo>
                      <a:pt x="633" y="467"/>
                    </a:lnTo>
                    <a:lnTo>
                      <a:pt x="630" y="464"/>
                    </a:lnTo>
                    <a:lnTo>
                      <a:pt x="627" y="462"/>
                    </a:lnTo>
                    <a:lnTo>
                      <a:pt x="624" y="462"/>
                    </a:lnTo>
                    <a:lnTo>
                      <a:pt x="622" y="464"/>
                    </a:lnTo>
                    <a:lnTo>
                      <a:pt x="622" y="464"/>
                    </a:lnTo>
                    <a:lnTo>
                      <a:pt x="617" y="468"/>
                    </a:lnTo>
                    <a:lnTo>
                      <a:pt x="613" y="468"/>
                    </a:lnTo>
                    <a:lnTo>
                      <a:pt x="612" y="467"/>
                    </a:lnTo>
                    <a:lnTo>
                      <a:pt x="609" y="464"/>
                    </a:lnTo>
                    <a:lnTo>
                      <a:pt x="609" y="464"/>
                    </a:lnTo>
                    <a:lnTo>
                      <a:pt x="609" y="462"/>
                    </a:lnTo>
                    <a:lnTo>
                      <a:pt x="610" y="461"/>
                    </a:lnTo>
                    <a:lnTo>
                      <a:pt x="614" y="460"/>
                    </a:lnTo>
                    <a:lnTo>
                      <a:pt x="620" y="457"/>
                    </a:lnTo>
                    <a:lnTo>
                      <a:pt x="624" y="452"/>
                    </a:lnTo>
                    <a:lnTo>
                      <a:pt x="624" y="452"/>
                    </a:lnTo>
                    <a:close/>
                    <a:moveTo>
                      <a:pt x="354" y="277"/>
                    </a:moveTo>
                    <a:lnTo>
                      <a:pt x="354" y="277"/>
                    </a:lnTo>
                    <a:lnTo>
                      <a:pt x="360" y="277"/>
                    </a:lnTo>
                    <a:lnTo>
                      <a:pt x="364" y="277"/>
                    </a:lnTo>
                    <a:lnTo>
                      <a:pt x="373" y="273"/>
                    </a:lnTo>
                    <a:lnTo>
                      <a:pt x="378" y="268"/>
                    </a:lnTo>
                    <a:lnTo>
                      <a:pt x="380" y="265"/>
                    </a:lnTo>
                    <a:lnTo>
                      <a:pt x="380" y="262"/>
                    </a:lnTo>
                    <a:lnTo>
                      <a:pt x="380" y="262"/>
                    </a:lnTo>
                    <a:lnTo>
                      <a:pt x="380" y="260"/>
                    </a:lnTo>
                    <a:lnTo>
                      <a:pt x="378" y="260"/>
                    </a:lnTo>
                    <a:lnTo>
                      <a:pt x="374" y="262"/>
                    </a:lnTo>
                    <a:lnTo>
                      <a:pt x="364" y="268"/>
                    </a:lnTo>
                    <a:lnTo>
                      <a:pt x="356" y="275"/>
                    </a:lnTo>
                    <a:lnTo>
                      <a:pt x="354" y="277"/>
                    </a:lnTo>
                    <a:lnTo>
                      <a:pt x="354" y="277"/>
                    </a:lnTo>
                    <a:lnTo>
                      <a:pt x="354" y="277"/>
                    </a:lnTo>
                    <a:lnTo>
                      <a:pt x="354" y="277"/>
                    </a:lnTo>
                    <a:close/>
                    <a:moveTo>
                      <a:pt x="296" y="258"/>
                    </a:moveTo>
                    <a:lnTo>
                      <a:pt x="296" y="258"/>
                    </a:lnTo>
                    <a:lnTo>
                      <a:pt x="297" y="259"/>
                    </a:lnTo>
                    <a:lnTo>
                      <a:pt x="297" y="260"/>
                    </a:lnTo>
                    <a:lnTo>
                      <a:pt x="299" y="265"/>
                    </a:lnTo>
                    <a:lnTo>
                      <a:pt x="299" y="268"/>
                    </a:lnTo>
                    <a:lnTo>
                      <a:pt x="300" y="268"/>
                    </a:lnTo>
                    <a:lnTo>
                      <a:pt x="301" y="268"/>
                    </a:lnTo>
                    <a:lnTo>
                      <a:pt x="301" y="268"/>
                    </a:lnTo>
                    <a:lnTo>
                      <a:pt x="307" y="265"/>
                    </a:lnTo>
                    <a:lnTo>
                      <a:pt x="313" y="265"/>
                    </a:lnTo>
                    <a:lnTo>
                      <a:pt x="313" y="265"/>
                    </a:lnTo>
                    <a:lnTo>
                      <a:pt x="317" y="266"/>
                    </a:lnTo>
                    <a:lnTo>
                      <a:pt x="320" y="263"/>
                    </a:lnTo>
                    <a:lnTo>
                      <a:pt x="326" y="258"/>
                    </a:lnTo>
                    <a:lnTo>
                      <a:pt x="326" y="258"/>
                    </a:lnTo>
                    <a:lnTo>
                      <a:pt x="327" y="258"/>
                    </a:lnTo>
                    <a:lnTo>
                      <a:pt x="327" y="258"/>
                    </a:lnTo>
                    <a:lnTo>
                      <a:pt x="328" y="262"/>
                    </a:lnTo>
                    <a:lnTo>
                      <a:pt x="331" y="268"/>
                    </a:lnTo>
                    <a:lnTo>
                      <a:pt x="334" y="269"/>
                    </a:lnTo>
                    <a:lnTo>
                      <a:pt x="337" y="270"/>
                    </a:lnTo>
                    <a:lnTo>
                      <a:pt x="337" y="270"/>
                    </a:lnTo>
                    <a:lnTo>
                      <a:pt x="340" y="269"/>
                    </a:lnTo>
                    <a:lnTo>
                      <a:pt x="341" y="268"/>
                    </a:lnTo>
                    <a:lnTo>
                      <a:pt x="344" y="262"/>
                    </a:lnTo>
                    <a:lnTo>
                      <a:pt x="347" y="258"/>
                    </a:lnTo>
                    <a:lnTo>
                      <a:pt x="348" y="258"/>
                    </a:lnTo>
                    <a:lnTo>
                      <a:pt x="350" y="258"/>
                    </a:lnTo>
                    <a:lnTo>
                      <a:pt x="350" y="258"/>
                    </a:lnTo>
                    <a:lnTo>
                      <a:pt x="354" y="260"/>
                    </a:lnTo>
                    <a:lnTo>
                      <a:pt x="358" y="259"/>
                    </a:lnTo>
                    <a:lnTo>
                      <a:pt x="360" y="255"/>
                    </a:lnTo>
                    <a:lnTo>
                      <a:pt x="361" y="250"/>
                    </a:lnTo>
                    <a:lnTo>
                      <a:pt x="361" y="250"/>
                    </a:lnTo>
                    <a:lnTo>
                      <a:pt x="363" y="242"/>
                    </a:lnTo>
                    <a:lnTo>
                      <a:pt x="365" y="238"/>
                    </a:lnTo>
                    <a:lnTo>
                      <a:pt x="370" y="236"/>
                    </a:lnTo>
                    <a:lnTo>
                      <a:pt x="370" y="236"/>
                    </a:lnTo>
                    <a:lnTo>
                      <a:pt x="373" y="236"/>
                    </a:lnTo>
                    <a:lnTo>
                      <a:pt x="374" y="236"/>
                    </a:lnTo>
                    <a:lnTo>
                      <a:pt x="374" y="240"/>
                    </a:lnTo>
                    <a:lnTo>
                      <a:pt x="374" y="245"/>
                    </a:lnTo>
                    <a:lnTo>
                      <a:pt x="375" y="250"/>
                    </a:lnTo>
                    <a:lnTo>
                      <a:pt x="375" y="250"/>
                    </a:lnTo>
                    <a:lnTo>
                      <a:pt x="377" y="253"/>
                    </a:lnTo>
                    <a:lnTo>
                      <a:pt x="380" y="255"/>
                    </a:lnTo>
                    <a:lnTo>
                      <a:pt x="383" y="255"/>
                    </a:lnTo>
                    <a:lnTo>
                      <a:pt x="384" y="253"/>
                    </a:lnTo>
                    <a:lnTo>
                      <a:pt x="388" y="250"/>
                    </a:lnTo>
                    <a:lnTo>
                      <a:pt x="390" y="246"/>
                    </a:lnTo>
                    <a:lnTo>
                      <a:pt x="390" y="246"/>
                    </a:lnTo>
                    <a:lnTo>
                      <a:pt x="391" y="246"/>
                    </a:lnTo>
                    <a:lnTo>
                      <a:pt x="393" y="245"/>
                    </a:lnTo>
                    <a:lnTo>
                      <a:pt x="397" y="243"/>
                    </a:lnTo>
                    <a:lnTo>
                      <a:pt x="401" y="243"/>
                    </a:lnTo>
                    <a:lnTo>
                      <a:pt x="402" y="242"/>
                    </a:lnTo>
                    <a:lnTo>
                      <a:pt x="402" y="240"/>
                    </a:lnTo>
                    <a:lnTo>
                      <a:pt x="402" y="240"/>
                    </a:lnTo>
                    <a:lnTo>
                      <a:pt x="402" y="238"/>
                    </a:lnTo>
                    <a:lnTo>
                      <a:pt x="404" y="235"/>
                    </a:lnTo>
                    <a:lnTo>
                      <a:pt x="404" y="232"/>
                    </a:lnTo>
                    <a:lnTo>
                      <a:pt x="402" y="228"/>
                    </a:lnTo>
                    <a:lnTo>
                      <a:pt x="402" y="228"/>
                    </a:lnTo>
                    <a:lnTo>
                      <a:pt x="402" y="226"/>
                    </a:lnTo>
                    <a:lnTo>
                      <a:pt x="402" y="225"/>
                    </a:lnTo>
                    <a:lnTo>
                      <a:pt x="405" y="223"/>
                    </a:lnTo>
                    <a:lnTo>
                      <a:pt x="410" y="222"/>
                    </a:lnTo>
                    <a:lnTo>
                      <a:pt x="412" y="219"/>
                    </a:lnTo>
                    <a:lnTo>
                      <a:pt x="412" y="219"/>
                    </a:lnTo>
                    <a:lnTo>
                      <a:pt x="414" y="219"/>
                    </a:lnTo>
                    <a:lnTo>
                      <a:pt x="414" y="218"/>
                    </a:lnTo>
                    <a:lnTo>
                      <a:pt x="411" y="216"/>
                    </a:lnTo>
                    <a:lnTo>
                      <a:pt x="405" y="216"/>
                    </a:lnTo>
                    <a:lnTo>
                      <a:pt x="400" y="212"/>
                    </a:lnTo>
                    <a:lnTo>
                      <a:pt x="400" y="212"/>
                    </a:lnTo>
                    <a:lnTo>
                      <a:pt x="398" y="211"/>
                    </a:lnTo>
                    <a:lnTo>
                      <a:pt x="395" y="211"/>
                    </a:lnTo>
                    <a:lnTo>
                      <a:pt x="394" y="211"/>
                    </a:lnTo>
                    <a:lnTo>
                      <a:pt x="393" y="212"/>
                    </a:lnTo>
                    <a:lnTo>
                      <a:pt x="391" y="215"/>
                    </a:lnTo>
                    <a:lnTo>
                      <a:pt x="390" y="219"/>
                    </a:lnTo>
                    <a:lnTo>
                      <a:pt x="390" y="219"/>
                    </a:lnTo>
                    <a:lnTo>
                      <a:pt x="390" y="221"/>
                    </a:lnTo>
                    <a:lnTo>
                      <a:pt x="388" y="221"/>
                    </a:lnTo>
                    <a:lnTo>
                      <a:pt x="383" y="221"/>
                    </a:lnTo>
                    <a:lnTo>
                      <a:pt x="368" y="216"/>
                    </a:lnTo>
                    <a:lnTo>
                      <a:pt x="368" y="216"/>
                    </a:lnTo>
                    <a:lnTo>
                      <a:pt x="365" y="216"/>
                    </a:lnTo>
                    <a:lnTo>
                      <a:pt x="363" y="218"/>
                    </a:lnTo>
                    <a:lnTo>
                      <a:pt x="356" y="221"/>
                    </a:lnTo>
                    <a:lnTo>
                      <a:pt x="348" y="226"/>
                    </a:lnTo>
                    <a:lnTo>
                      <a:pt x="340" y="232"/>
                    </a:lnTo>
                    <a:lnTo>
                      <a:pt x="340" y="232"/>
                    </a:lnTo>
                    <a:lnTo>
                      <a:pt x="333" y="236"/>
                    </a:lnTo>
                    <a:lnTo>
                      <a:pt x="328" y="242"/>
                    </a:lnTo>
                    <a:lnTo>
                      <a:pt x="323" y="246"/>
                    </a:lnTo>
                    <a:lnTo>
                      <a:pt x="320" y="246"/>
                    </a:lnTo>
                    <a:lnTo>
                      <a:pt x="317" y="246"/>
                    </a:lnTo>
                    <a:lnTo>
                      <a:pt x="317" y="246"/>
                    </a:lnTo>
                    <a:lnTo>
                      <a:pt x="309" y="248"/>
                    </a:lnTo>
                    <a:lnTo>
                      <a:pt x="300" y="252"/>
                    </a:lnTo>
                    <a:lnTo>
                      <a:pt x="296" y="255"/>
                    </a:lnTo>
                    <a:lnTo>
                      <a:pt x="294" y="258"/>
                    </a:lnTo>
                    <a:lnTo>
                      <a:pt x="296" y="258"/>
                    </a:lnTo>
                    <a:lnTo>
                      <a:pt x="296" y="258"/>
                    </a:lnTo>
                    <a:close/>
                    <a:moveTo>
                      <a:pt x="407" y="255"/>
                    </a:moveTo>
                    <a:lnTo>
                      <a:pt x="407" y="255"/>
                    </a:lnTo>
                    <a:lnTo>
                      <a:pt x="404" y="255"/>
                    </a:lnTo>
                    <a:lnTo>
                      <a:pt x="401" y="256"/>
                    </a:lnTo>
                    <a:lnTo>
                      <a:pt x="400" y="259"/>
                    </a:lnTo>
                    <a:lnTo>
                      <a:pt x="400" y="260"/>
                    </a:lnTo>
                    <a:lnTo>
                      <a:pt x="401" y="262"/>
                    </a:lnTo>
                    <a:lnTo>
                      <a:pt x="402" y="263"/>
                    </a:lnTo>
                    <a:lnTo>
                      <a:pt x="405" y="265"/>
                    </a:lnTo>
                    <a:lnTo>
                      <a:pt x="408" y="265"/>
                    </a:lnTo>
                    <a:lnTo>
                      <a:pt x="408" y="265"/>
                    </a:lnTo>
                    <a:lnTo>
                      <a:pt x="415" y="266"/>
                    </a:lnTo>
                    <a:lnTo>
                      <a:pt x="418" y="268"/>
                    </a:lnTo>
                    <a:lnTo>
                      <a:pt x="415" y="268"/>
                    </a:lnTo>
                    <a:lnTo>
                      <a:pt x="407" y="268"/>
                    </a:lnTo>
                    <a:lnTo>
                      <a:pt x="407" y="268"/>
                    </a:lnTo>
                    <a:lnTo>
                      <a:pt x="401" y="269"/>
                    </a:lnTo>
                    <a:lnTo>
                      <a:pt x="397" y="270"/>
                    </a:lnTo>
                    <a:lnTo>
                      <a:pt x="393" y="272"/>
                    </a:lnTo>
                    <a:lnTo>
                      <a:pt x="391" y="275"/>
                    </a:lnTo>
                    <a:lnTo>
                      <a:pt x="390" y="276"/>
                    </a:lnTo>
                    <a:lnTo>
                      <a:pt x="390" y="279"/>
                    </a:lnTo>
                    <a:lnTo>
                      <a:pt x="391" y="279"/>
                    </a:lnTo>
                    <a:lnTo>
                      <a:pt x="395" y="279"/>
                    </a:lnTo>
                    <a:lnTo>
                      <a:pt x="395" y="279"/>
                    </a:lnTo>
                    <a:lnTo>
                      <a:pt x="404" y="277"/>
                    </a:lnTo>
                    <a:lnTo>
                      <a:pt x="411" y="276"/>
                    </a:lnTo>
                    <a:lnTo>
                      <a:pt x="414" y="277"/>
                    </a:lnTo>
                    <a:lnTo>
                      <a:pt x="411" y="279"/>
                    </a:lnTo>
                    <a:lnTo>
                      <a:pt x="411" y="279"/>
                    </a:lnTo>
                    <a:lnTo>
                      <a:pt x="393" y="283"/>
                    </a:lnTo>
                    <a:lnTo>
                      <a:pt x="385" y="285"/>
                    </a:lnTo>
                    <a:lnTo>
                      <a:pt x="383" y="286"/>
                    </a:lnTo>
                    <a:lnTo>
                      <a:pt x="383" y="287"/>
                    </a:lnTo>
                    <a:lnTo>
                      <a:pt x="383" y="287"/>
                    </a:lnTo>
                    <a:lnTo>
                      <a:pt x="385" y="290"/>
                    </a:lnTo>
                    <a:lnTo>
                      <a:pt x="391" y="290"/>
                    </a:lnTo>
                    <a:lnTo>
                      <a:pt x="397" y="292"/>
                    </a:lnTo>
                    <a:lnTo>
                      <a:pt x="404" y="293"/>
                    </a:lnTo>
                    <a:lnTo>
                      <a:pt x="404" y="293"/>
                    </a:lnTo>
                    <a:lnTo>
                      <a:pt x="410" y="296"/>
                    </a:lnTo>
                    <a:lnTo>
                      <a:pt x="415" y="297"/>
                    </a:lnTo>
                    <a:lnTo>
                      <a:pt x="421" y="296"/>
                    </a:lnTo>
                    <a:lnTo>
                      <a:pt x="425" y="292"/>
                    </a:lnTo>
                    <a:lnTo>
                      <a:pt x="425" y="292"/>
                    </a:lnTo>
                    <a:lnTo>
                      <a:pt x="431" y="286"/>
                    </a:lnTo>
                    <a:lnTo>
                      <a:pt x="437" y="282"/>
                    </a:lnTo>
                    <a:lnTo>
                      <a:pt x="438" y="282"/>
                    </a:lnTo>
                    <a:lnTo>
                      <a:pt x="439" y="282"/>
                    </a:lnTo>
                    <a:lnTo>
                      <a:pt x="439" y="283"/>
                    </a:lnTo>
                    <a:lnTo>
                      <a:pt x="438" y="286"/>
                    </a:lnTo>
                    <a:lnTo>
                      <a:pt x="438" y="286"/>
                    </a:lnTo>
                    <a:lnTo>
                      <a:pt x="438" y="290"/>
                    </a:lnTo>
                    <a:lnTo>
                      <a:pt x="439" y="292"/>
                    </a:lnTo>
                    <a:lnTo>
                      <a:pt x="441" y="292"/>
                    </a:lnTo>
                    <a:lnTo>
                      <a:pt x="445" y="292"/>
                    </a:lnTo>
                    <a:lnTo>
                      <a:pt x="455" y="290"/>
                    </a:lnTo>
                    <a:lnTo>
                      <a:pt x="469" y="289"/>
                    </a:lnTo>
                    <a:lnTo>
                      <a:pt x="469" y="289"/>
                    </a:lnTo>
                    <a:lnTo>
                      <a:pt x="475" y="289"/>
                    </a:lnTo>
                    <a:lnTo>
                      <a:pt x="476" y="290"/>
                    </a:lnTo>
                    <a:lnTo>
                      <a:pt x="475" y="292"/>
                    </a:lnTo>
                    <a:lnTo>
                      <a:pt x="472" y="295"/>
                    </a:lnTo>
                    <a:lnTo>
                      <a:pt x="461" y="299"/>
                    </a:lnTo>
                    <a:lnTo>
                      <a:pt x="445" y="302"/>
                    </a:lnTo>
                    <a:lnTo>
                      <a:pt x="445" y="302"/>
                    </a:lnTo>
                    <a:lnTo>
                      <a:pt x="439" y="303"/>
                    </a:lnTo>
                    <a:lnTo>
                      <a:pt x="435" y="305"/>
                    </a:lnTo>
                    <a:lnTo>
                      <a:pt x="432" y="306"/>
                    </a:lnTo>
                    <a:lnTo>
                      <a:pt x="432" y="309"/>
                    </a:lnTo>
                    <a:lnTo>
                      <a:pt x="432" y="310"/>
                    </a:lnTo>
                    <a:lnTo>
                      <a:pt x="435" y="313"/>
                    </a:lnTo>
                    <a:lnTo>
                      <a:pt x="439" y="314"/>
                    </a:lnTo>
                    <a:lnTo>
                      <a:pt x="445" y="316"/>
                    </a:lnTo>
                    <a:lnTo>
                      <a:pt x="445" y="316"/>
                    </a:lnTo>
                    <a:lnTo>
                      <a:pt x="451" y="317"/>
                    </a:lnTo>
                    <a:lnTo>
                      <a:pt x="459" y="316"/>
                    </a:lnTo>
                    <a:lnTo>
                      <a:pt x="476" y="312"/>
                    </a:lnTo>
                    <a:lnTo>
                      <a:pt x="492" y="306"/>
                    </a:lnTo>
                    <a:lnTo>
                      <a:pt x="502" y="299"/>
                    </a:lnTo>
                    <a:lnTo>
                      <a:pt x="502" y="299"/>
                    </a:lnTo>
                    <a:lnTo>
                      <a:pt x="505" y="296"/>
                    </a:lnTo>
                    <a:lnTo>
                      <a:pt x="508" y="296"/>
                    </a:lnTo>
                    <a:lnTo>
                      <a:pt x="513" y="297"/>
                    </a:lnTo>
                    <a:lnTo>
                      <a:pt x="519" y="299"/>
                    </a:lnTo>
                    <a:lnTo>
                      <a:pt x="522" y="299"/>
                    </a:lnTo>
                    <a:lnTo>
                      <a:pt x="525" y="297"/>
                    </a:lnTo>
                    <a:lnTo>
                      <a:pt x="525" y="297"/>
                    </a:lnTo>
                    <a:lnTo>
                      <a:pt x="528" y="296"/>
                    </a:lnTo>
                    <a:lnTo>
                      <a:pt x="532" y="295"/>
                    </a:lnTo>
                    <a:lnTo>
                      <a:pt x="540" y="295"/>
                    </a:lnTo>
                    <a:lnTo>
                      <a:pt x="550" y="296"/>
                    </a:lnTo>
                    <a:lnTo>
                      <a:pt x="560" y="295"/>
                    </a:lnTo>
                    <a:lnTo>
                      <a:pt x="560" y="295"/>
                    </a:lnTo>
                    <a:lnTo>
                      <a:pt x="566" y="293"/>
                    </a:lnTo>
                    <a:lnTo>
                      <a:pt x="569" y="289"/>
                    </a:lnTo>
                    <a:lnTo>
                      <a:pt x="572" y="285"/>
                    </a:lnTo>
                    <a:lnTo>
                      <a:pt x="573" y="279"/>
                    </a:lnTo>
                    <a:lnTo>
                      <a:pt x="573" y="273"/>
                    </a:lnTo>
                    <a:lnTo>
                      <a:pt x="572" y="269"/>
                    </a:lnTo>
                    <a:lnTo>
                      <a:pt x="570" y="265"/>
                    </a:lnTo>
                    <a:lnTo>
                      <a:pt x="566" y="262"/>
                    </a:lnTo>
                    <a:lnTo>
                      <a:pt x="566" y="262"/>
                    </a:lnTo>
                    <a:lnTo>
                      <a:pt x="563" y="262"/>
                    </a:lnTo>
                    <a:lnTo>
                      <a:pt x="560" y="262"/>
                    </a:lnTo>
                    <a:lnTo>
                      <a:pt x="558" y="263"/>
                    </a:lnTo>
                    <a:lnTo>
                      <a:pt x="553" y="266"/>
                    </a:lnTo>
                    <a:lnTo>
                      <a:pt x="549" y="269"/>
                    </a:lnTo>
                    <a:lnTo>
                      <a:pt x="549" y="269"/>
                    </a:lnTo>
                    <a:lnTo>
                      <a:pt x="546" y="269"/>
                    </a:lnTo>
                    <a:lnTo>
                      <a:pt x="543" y="268"/>
                    </a:lnTo>
                    <a:lnTo>
                      <a:pt x="539" y="265"/>
                    </a:lnTo>
                    <a:lnTo>
                      <a:pt x="531" y="253"/>
                    </a:lnTo>
                    <a:lnTo>
                      <a:pt x="531" y="253"/>
                    </a:lnTo>
                    <a:lnTo>
                      <a:pt x="528" y="252"/>
                    </a:lnTo>
                    <a:lnTo>
                      <a:pt x="528" y="248"/>
                    </a:lnTo>
                    <a:lnTo>
                      <a:pt x="526" y="242"/>
                    </a:lnTo>
                    <a:lnTo>
                      <a:pt x="523" y="238"/>
                    </a:lnTo>
                    <a:lnTo>
                      <a:pt x="522" y="236"/>
                    </a:lnTo>
                    <a:lnTo>
                      <a:pt x="519" y="236"/>
                    </a:lnTo>
                    <a:lnTo>
                      <a:pt x="519" y="236"/>
                    </a:lnTo>
                    <a:lnTo>
                      <a:pt x="511" y="240"/>
                    </a:lnTo>
                    <a:lnTo>
                      <a:pt x="502" y="246"/>
                    </a:lnTo>
                    <a:lnTo>
                      <a:pt x="499" y="249"/>
                    </a:lnTo>
                    <a:lnTo>
                      <a:pt x="498" y="252"/>
                    </a:lnTo>
                    <a:lnTo>
                      <a:pt x="499" y="253"/>
                    </a:lnTo>
                    <a:lnTo>
                      <a:pt x="502" y="255"/>
                    </a:lnTo>
                    <a:lnTo>
                      <a:pt x="502" y="255"/>
                    </a:lnTo>
                    <a:lnTo>
                      <a:pt x="508" y="256"/>
                    </a:lnTo>
                    <a:lnTo>
                      <a:pt x="509" y="258"/>
                    </a:lnTo>
                    <a:lnTo>
                      <a:pt x="509" y="259"/>
                    </a:lnTo>
                    <a:lnTo>
                      <a:pt x="508" y="263"/>
                    </a:lnTo>
                    <a:lnTo>
                      <a:pt x="503" y="265"/>
                    </a:lnTo>
                    <a:lnTo>
                      <a:pt x="503" y="265"/>
                    </a:lnTo>
                    <a:lnTo>
                      <a:pt x="502" y="266"/>
                    </a:lnTo>
                    <a:lnTo>
                      <a:pt x="503" y="268"/>
                    </a:lnTo>
                    <a:lnTo>
                      <a:pt x="508" y="270"/>
                    </a:lnTo>
                    <a:lnTo>
                      <a:pt x="513" y="275"/>
                    </a:lnTo>
                    <a:lnTo>
                      <a:pt x="515" y="276"/>
                    </a:lnTo>
                    <a:lnTo>
                      <a:pt x="515" y="277"/>
                    </a:lnTo>
                    <a:lnTo>
                      <a:pt x="515" y="277"/>
                    </a:lnTo>
                    <a:lnTo>
                      <a:pt x="513" y="279"/>
                    </a:lnTo>
                    <a:lnTo>
                      <a:pt x="509" y="279"/>
                    </a:lnTo>
                    <a:lnTo>
                      <a:pt x="496" y="279"/>
                    </a:lnTo>
                    <a:lnTo>
                      <a:pt x="485" y="276"/>
                    </a:lnTo>
                    <a:lnTo>
                      <a:pt x="481" y="273"/>
                    </a:lnTo>
                    <a:lnTo>
                      <a:pt x="478" y="270"/>
                    </a:lnTo>
                    <a:lnTo>
                      <a:pt x="478" y="270"/>
                    </a:lnTo>
                    <a:lnTo>
                      <a:pt x="476" y="268"/>
                    </a:lnTo>
                    <a:lnTo>
                      <a:pt x="474" y="265"/>
                    </a:lnTo>
                    <a:lnTo>
                      <a:pt x="464" y="259"/>
                    </a:lnTo>
                    <a:lnTo>
                      <a:pt x="451" y="255"/>
                    </a:lnTo>
                    <a:lnTo>
                      <a:pt x="445" y="253"/>
                    </a:lnTo>
                    <a:lnTo>
                      <a:pt x="441" y="253"/>
                    </a:lnTo>
                    <a:lnTo>
                      <a:pt x="441" y="253"/>
                    </a:lnTo>
                    <a:lnTo>
                      <a:pt x="437" y="255"/>
                    </a:lnTo>
                    <a:lnTo>
                      <a:pt x="435" y="253"/>
                    </a:lnTo>
                    <a:lnTo>
                      <a:pt x="432" y="250"/>
                    </a:lnTo>
                    <a:lnTo>
                      <a:pt x="430" y="246"/>
                    </a:lnTo>
                    <a:lnTo>
                      <a:pt x="427" y="245"/>
                    </a:lnTo>
                    <a:lnTo>
                      <a:pt x="424" y="245"/>
                    </a:lnTo>
                    <a:lnTo>
                      <a:pt x="424" y="245"/>
                    </a:lnTo>
                    <a:lnTo>
                      <a:pt x="420" y="245"/>
                    </a:lnTo>
                    <a:lnTo>
                      <a:pt x="418" y="246"/>
                    </a:lnTo>
                    <a:lnTo>
                      <a:pt x="415" y="249"/>
                    </a:lnTo>
                    <a:lnTo>
                      <a:pt x="412" y="253"/>
                    </a:lnTo>
                    <a:lnTo>
                      <a:pt x="410" y="253"/>
                    </a:lnTo>
                    <a:lnTo>
                      <a:pt x="407" y="255"/>
                    </a:lnTo>
                    <a:lnTo>
                      <a:pt x="407" y="255"/>
                    </a:lnTo>
                    <a:close/>
                    <a:moveTo>
                      <a:pt x="444" y="203"/>
                    </a:moveTo>
                    <a:lnTo>
                      <a:pt x="444" y="203"/>
                    </a:lnTo>
                    <a:lnTo>
                      <a:pt x="444" y="201"/>
                    </a:lnTo>
                    <a:lnTo>
                      <a:pt x="441" y="199"/>
                    </a:lnTo>
                    <a:lnTo>
                      <a:pt x="438" y="198"/>
                    </a:lnTo>
                    <a:lnTo>
                      <a:pt x="434" y="196"/>
                    </a:lnTo>
                    <a:lnTo>
                      <a:pt x="425" y="198"/>
                    </a:lnTo>
                    <a:lnTo>
                      <a:pt x="422" y="198"/>
                    </a:lnTo>
                    <a:lnTo>
                      <a:pt x="422" y="199"/>
                    </a:lnTo>
                    <a:lnTo>
                      <a:pt x="422" y="199"/>
                    </a:lnTo>
                    <a:lnTo>
                      <a:pt x="427" y="203"/>
                    </a:lnTo>
                    <a:lnTo>
                      <a:pt x="434" y="206"/>
                    </a:lnTo>
                    <a:lnTo>
                      <a:pt x="437" y="208"/>
                    </a:lnTo>
                    <a:lnTo>
                      <a:pt x="439" y="208"/>
                    </a:lnTo>
                    <a:lnTo>
                      <a:pt x="442" y="206"/>
                    </a:lnTo>
                    <a:lnTo>
                      <a:pt x="444" y="203"/>
                    </a:lnTo>
                    <a:lnTo>
                      <a:pt x="444" y="203"/>
                    </a:lnTo>
                    <a:close/>
                    <a:moveTo>
                      <a:pt x="502" y="199"/>
                    </a:moveTo>
                    <a:lnTo>
                      <a:pt x="502" y="199"/>
                    </a:lnTo>
                    <a:lnTo>
                      <a:pt x="505" y="199"/>
                    </a:lnTo>
                    <a:lnTo>
                      <a:pt x="506" y="198"/>
                    </a:lnTo>
                    <a:lnTo>
                      <a:pt x="508" y="196"/>
                    </a:lnTo>
                    <a:lnTo>
                      <a:pt x="506" y="195"/>
                    </a:lnTo>
                    <a:lnTo>
                      <a:pt x="502" y="194"/>
                    </a:lnTo>
                    <a:lnTo>
                      <a:pt x="492" y="194"/>
                    </a:lnTo>
                    <a:lnTo>
                      <a:pt x="492" y="194"/>
                    </a:lnTo>
                    <a:lnTo>
                      <a:pt x="479" y="195"/>
                    </a:lnTo>
                    <a:lnTo>
                      <a:pt x="466" y="196"/>
                    </a:lnTo>
                    <a:lnTo>
                      <a:pt x="461" y="198"/>
                    </a:lnTo>
                    <a:lnTo>
                      <a:pt x="457" y="201"/>
                    </a:lnTo>
                    <a:lnTo>
                      <a:pt x="454" y="202"/>
                    </a:lnTo>
                    <a:lnTo>
                      <a:pt x="452" y="206"/>
                    </a:lnTo>
                    <a:lnTo>
                      <a:pt x="452" y="206"/>
                    </a:lnTo>
                    <a:lnTo>
                      <a:pt x="454" y="212"/>
                    </a:lnTo>
                    <a:lnTo>
                      <a:pt x="457" y="216"/>
                    </a:lnTo>
                    <a:lnTo>
                      <a:pt x="464" y="219"/>
                    </a:lnTo>
                    <a:lnTo>
                      <a:pt x="474" y="221"/>
                    </a:lnTo>
                    <a:lnTo>
                      <a:pt x="474" y="221"/>
                    </a:lnTo>
                    <a:lnTo>
                      <a:pt x="479" y="221"/>
                    </a:lnTo>
                    <a:lnTo>
                      <a:pt x="485" y="219"/>
                    </a:lnTo>
                    <a:lnTo>
                      <a:pt x="489" y="216"/>
                    </a:lnTo>
                    <a:lnTo>
                      <a:pt x="494" y="213"/>
                    </a:lnTo>
                    <a:lnTo>
                      <a:pt x="496" y="211"/>
                    </a:lnTo>
                    <a:lnTo>
                      <a:pt x="498" y="209"/>
                    </a:lnTo>
                    <a:lnTo>
                      <a:pt x="498" y="206"/>
                    </a:lnTo>
                    <a:lnTo>
                      <a:pt x="496" y="206"/>
                    </a:lnTo>
                    <a:lnTo>
                      <a:pt x="496" y="206"/>
                    </a:lnTo>
                    <a:lnTo>
                      <a:pt x="492" y="205"/>
                    </a:lnTo>
                    <a:lnTo>
                      <a:pt x="492" y="205"/>
                    </a:lnTo>
                    <a:lnTo>
                      <a:pt x="494" y="203"/>
                    </a:lnTo>
                    <a:lnTo>
                      <a:pt x="496" y="202"/>
                    </a:lnTo>
                    <a:lnTo>
                      <a:pt x="502" y="199"/>
                    </a:lnTo>
                    <a:lnTo>
                      <a:pt x="502" y="199"/>
                    </a:lnTo>
                    <a:close/>
                    <a:moveTo>
                      <a:pt x="468" y="186"/>
                    </a:moveTo>
                    <a:lnTo>
                      <a:pt x="468" y="186"/>
                    </a:lnTo>
                    <a:lnTo>
                      <a:pt x="471" y="186"/>
                    </a:lnTo>
                    <a:lnTo>
                      <a:pt x="474" y="186"/>
                    </a:lnTo>
                    <a:lnTo>
                      <a:pt x="478" y="185"/>
                    </a:lnTo>
                    <a:lnTo>
                      <a:pt x="482" y="184"/>
                    </a:lnTo>
                    <a:lnTo>
                      <a:pt x="485" y="184"/>
                    </a:lnTo>
                    <a:lnTo>
                      <a:pt x="486" y="184"/>
                    </a:lnTo>
                    <a:lnTo>
                      <a:pt x="486" y="184"/>
                    </a:lnTo>
                    <a:lnTo>
                      <a:pt x="494" y="186"/>
                    </a:lnTo>
                    <a:lnTo>
                      <a:pt x="502" y="188"/>
                    </a:lnTo>
                    <a:lnTo>
                      <a:pt x="506" y="188"/>
                    </a:lnTo>
                    <a:lnTo>
                      <a:pt x="511" y="186"/>
                    </a:lnTo>
                    <a:lnTo>
                      <a:pt x="513" y="184"/>
                    </a:lnTo>
                    <a:lnTo>
                      <a:pt x="513" y="181"/>
                    </a:lnTo>
                    <a:lnTo>
                      <a:pt x="513" y="181"/>
                    </a:lnTo>
                    <a:lnTo>
                      <a:pt x="513" y="176"/>
                    </a:lnTo>
                    <a:lnTo>
                      <a:pt x="509" y="174"/>
                    </a:lnTo>
                    <a:lnTo>
                      <a:pt x="505" y="172"/>
                    </a:lnTo>
                    <a:lnTo>
                      <a:pt x="499" y="171"/>
                    </a:lnTo>
                    <a:lnTo>
                      <a:pt x="488" y="169"/>
                    </a:lnTo>
                    <a:lnTo>
                      <a:pt x="482" y="171"/>
                    </a:lnTo>
                    <a:lnTo>
                      <a:pt x="479" y="172"/>
                    </a:lnTo>
                    <a:lnTo>
                      <a:pt x="479" y="172"/>
                    </a:lnTo>
                    <a:lnTo>
                      <a:pt x="469" y="175"/>
                    </a:lnTo>
                    <a:lnTo>
                      <a:pt x="458" y="178"/>
                    </a:lnTo>
                    <a:lnTo>
                      <a:pt x="448" y="181"/>
                    </a:lnTo>
                    <a:lnTo>
                      <a:pt x="447" y="182"/>
                    </a:lnTo>
                    <a:lnTo>
                      <a:pt x="448" y="185"/>
                    </a:lnTo>
                    <a:lnTo>
                      <a:pt x="448" y="185"/>
                    </a:lnTo>
                    <a:lnTo>
                      <a:pt x="452" y="186"/>
                    </a:lnTo>
                    <a:lnTo>
                      <a:pt x="458" y="186"/>
                    </a:lnTo>
                    <a:lnTo>
                      <a:pt x="462" y="185"/>
                    </a:lnTo>
                    <a:lnTo>
                      <a:pt x="468" y="186"/>
                    </a:lnTo>
                    <a:lnTo>
                      <a:pt x="468" y="186"/>
                    </a:lnTo>
                    <a:close/>
                    <a:moveTo>
                      <a:pt x="586" y="164"/>
                    </a:moveTo>
                    <a:lnTo>
                      <a:pt x="586" y="164"/>
                    </a:lnTo>
                    <a:lnTo>
                      <a:pt x="590" y="162"/>
                    </a:lnTo>
                    <a:lnTo>
                      <a:pt x="595" y="162"/>
                    </a:lnTo>
                    <a:lnTo>
                      <a:pt x="602" y="165"/>
                    </a:lnTo>
                    <a:lnTo>
                      <a:pt x="607" y="169"/>
                    </a:lnTo>
                    <a:lnTo>
                      <a:pt x="609" y="172"/>
                    </a:lnTo>
                    <a:lnTo>
                      <a:pt x="607" y="174"/>
                    </a:lnTo>
                    <a:lnTo>
                      <a:pt x="607" y="174"/>
                    </a:lnTo>
                    <a:lnTo>
                      <a:pt x="606" y="176"/>
                    </a:lnTo>
                    <a:lnTo>
                      <a:pt x="603" y="176"/>
                    </a:lnTo>
                    <a:lnTo>
                      <a:pt x="593" y="176"/>
                    </a:lnTo>
                    <a:lnTo>
                      <a:pt x="585" y="176"/>
                    </a:lnTo>
                    <a:lnTo>
                      <a:pt x="583" y="176"/>
                    </a:lnTo>
                    <a:lnTo>
                      <a:pt x="582" y="178"/>
                    </a:lnTo>
                    <a:lnTo>
                      <a:pt x="582" y="178"/>
                    </a:lnTo>
                    <a:lnTo>
                      <a:pt x="583" y="181"/>
                    </a:lnTo>
                    <a:lnTo>
                      <a:pt x="586" y="184"/>
                    </a:lnTo>
                    <a:lnTo>
                      <a:pt x="589" y="185"/>
                    </a:lnTo>
                    <a:lnTo>
                      <a:pt x="593" y="185"/>
                    </a:lnTo>
                    <a:lnTo>
                      <a:pt x="597" y="185"/>
                    </a:lnTo>
                    <a:lnTo>
                      <a:pt x="603" y="184"/>
                    </a:lnTo>
                    <a:lnTo>
                      <a:pt x="603" y="184"/>
                    </a:lnTo>
                    <a:lnTo>
                      <a:pt x="614" y="182"/>
                    </a:lnTo>
                    <a:lnTo>
                      <a:pt x="626" y="182"/>
                    </a:lnTo>
                    <a:lnTo>
                      <a:pt x="636" y="186"/>
                    </a:lnTo>
                    <a:lnTo>
                      <a:pt x="646" y="192"/>
                    </a:lnTo>
                    <a:lnTo>
                      <a:pt x="646" y="192"/>
                    </a:lnTo>
                    <a:lnTo>
                      <a:pt x="654" y="198"/>
                    </a:lnTo>
                    <a:lnTo>
                      <a:pt x="661" y="201"/>
                    </a:lnTo>
                    <a:lnTo>
                      <a:pt x="666" y="201"/>
                    </a:lnTo>
                    <a:lnTo>
                      <a:pt x="668" y="201"/>
                    </a:lnTo>
                    <a:lnTo>
                      <a:pt x="673" y="198"/>
                    </a:lnTo>
                    <a:lnTo>
                      <a:pt x="676" y="195"/>
                    </a:lnTo>
                    <a:lnTo>
                      <a:pt x="676" y="195"/>
                    </a:lnTo>
                    <a:lnTo>
                      <a:pt x="677" y="192"/>
                    </a:lnTo>
                    <a:lnTo>
                      <a:pt x="677" y="189"/>
                    </a:lnTo>
                    <a:lnTo>
                      <a:pt x="676" y="188"/>
                    </a:lnTo>
                    <a:lnTo>
                      <a:pt x="674" y="186"/>
                    </a:lnTo>
                    <a:lnTo>
                      <a:pt x="670" y="182"/>
                    </a:lnTo>
                    <a:lnTo>
                      <a:pt x="668" y="181"/>
                    </a:lnTo>
                    <a:lnTo>
                      <a:pt x="668" y="178"/>
                    </a:lnTo>
                    <a:lnTo>
                      <a:pt x="668" y="178"/>
                    </a:lnTo>
                    <a:lnTo>
                      <a:pt x="670" y="175"/>
                    </a:lnTo>
                    <a:lnTo>
                      <a:pt x="668" y="174"/>
                    </a:lnTo>
                    <a:lnTo>
                      <a:pt x="664" y="169"/>
                    </a:lnTo>
                    <a:lnTo>
                      <a:pt x="657" y="167"/>
                    </a:lnTo>
                    <a:lnTo>
                      <a:pt x="650" y="167"/>
                    </a:lnTo>
                    <a:lnTo>
                      <a:pt x="650" y="167"/>
                    </a:lnTo>
                    <a:lnTo>
                      <a:pt x="647" y="165"/>
                    </a:lnTo>
                    <a:lnTo>
                      <a:pt x="644" y="164"/>
                    </a:lnTo>
                    <a:lnTo>
                      <a:pt x="640" y="159"/>
                    </a:lnTo>
                    <a:lnTo>
                      <a:pt x="637" y="155"/>
                    </a:lnTo>
                    <a:lnTo>
                      <a:pt x="634" y="155"/>
                    </a:lnTo>
                    <a:lnTo>
                      <a:pt x="633" y="155"/>
                    </a:lnTo>
                    <a:lnTo>
                      <a:pt x="633" y="155"/>
                    </a:lnTo>
                    <a:lnTo>
                      <a:pt x="624" y="159"/>
                    </a:lnTo>
                    <a:lnTo>
                      <a:pt x="624" y="159"/>
                    </a:lnTo>
                    <a:lnTo>
                      <a:pt x="623" y="158"/>
                    </a:lnTo>
                    <a:lnTo>
                      <a:pt x="622" y="154"/>
                    </a:lnTo>
                    <a:lnTo>
                      <a:pt x="622" y="154"/>
                    </a:lnTo>
                    <a:lnTo>
                      <a:pt x="620" y="151"/>
                    </a:lnTo>
                    <a:lnTo>
                      <a:pt x="616" y="148"/>
                    </a:lnTo>
                    <a:lnTo>
                      <a:pt x="610" y="147"/>
                    </a:lnTo>
                    <a:lnTo>
                      <a:pt x="603" y="145"/>
                    </a:lnTo>
                    <a:lnTo>
                      <a:pt x="587" y="145"/>
                    </a:lnTo>
                    <a:lnTo>
                      <a:pt x="576" y="147"/>
                    </a:lnTo>
                    <a:lnTo>
                      <a:pt x="576" y="147"/>
                    </a:lnTo>
                    <a:lnTo>
                      <a:pt x="573" y="149"/>
                    </a:lnTo>
                    <a:lnTo>
                      <a:pt x="572" y="152"/>
                    </a:lnTo>
                    <a:lnTo>
                      <a:pt x="573" y="155"/>
                    </a:lnTo>
                    <a:lnTo>
                      <a:pt x="575" y="159"/>
                    </a:lnTo>
                    <a:lnTo>
                      <a:pt x="577" y="162"/>
                    </a:lnTo>
                    <a:lnTo>
                      <a:pt x="580" y="165"/>
                    </a:lnTo>
                    <a:lnTo>
                      <a:pt x="583" y="165"/>
                    </a:lnTo>
                    <a:lnTo>
                      <a:pt x="586" y="164"/>
                    </a:lnTo>
                    <a:lnTo>
                      <a:pt x="586" y="164"/>
                    </a:lnTo>
                    <a:close/>
                    <a:moveTo>
                      <a:pt x="592" y="223"/>
                    </a:moveTo>
                    <a:lnTo>
                      <a:pt x="592" y="223"/>
                    </a:lnTo>
                    <a:lnTo>
                      <a:pt x="592" y="221"/>
                    </a:lnTo>
                    <a:lnTo>
                      <a:pt x="590" y="216"/>
                    </a:lnTo>
                    <a:lnTo>
                      <a:pt x="586" y="212"/>
                    </a:lnTo>
                    <a:lnTo>
                      <a:pt x="582" y="208"/>
                    </a:lnTo>
                    <a:lnTo>
                      <a:pt x="577" y="205"/>
                    </a:lnTo>
                    <a:lnTo>
                      <a:pt x="572" y="202"/>
                    </a:lnTo>
                    <a:lnTo>
                      <a:pt x="569" y="202"/>
                    </a:lnTo>
                    <a:lnTo>
                      <a:pt x="567" y="203"/>
                    </a:lnTo>
                    <a:lnTo>
                      <a:pt x="567" y="205"/>
                    </a:lnTo>
                    <a:lnTo>
                      <a:pt x="567" y="205"/>
                    </a:lnTo>
                    <a:lnTo>
                      <a:pt x="567" y="209"/>
                    </a:lnTo>
                    <a:lnTo>
                      <a:pt x="569" y="213"/>
                    </a:lnTo>
                    <a:lnTo>
                      <a:pt x="573" y="218"/>
                    </a:lnTo>
                    <a:lnTo>
                      <a:pt x="576" y="221"/>
                    </a:lnTo>
                    <a:lnTo>
                      <a:pt x="580" y="223"/>
                    </a:lnTo>
                    <a:lnTo>
                      <a:pt x="585" y="226"/>
                    </a:lnTo>
                    <a:lnTo>
                      <a:pt x="589" y="226"/>
                    </a:lnTo>
                    <a:lnTo>
                      <a:pt x="592" y="223"/>
                    </a:lnTo>
                    <a:lnTo>
                      <a:pt x="592" y="223"/>
                    </a:lnTo>
                    <a:close/>
                    <a:moveTo>
                      <a:pt x="684" y="131"/>
                    </a:moveTo>
                    <a:lnTo>
                      <a:pt x="684" y="131"/>
                    </a:lnTo>
                    <a:lnTo>
                      <a:pt x="684" y="128"/>
                    </a:lnTo>
                    <a:lnTo>
                      <a:pt x="681" y="125"/>
                    </a:lnTo>
                    <a:lnTo>
                      <a:pt x="677" y="122"/>
                    </a:lnTo>
                    <a:lnTo>
                      <a:pt x="671" y="121"/>
                    </a:lnTo>
                    <a:lnTo>
                      <a:pt x="663" y="120"/>
                    </a:lnTo>
                    <a:lnTo>
                      <a:pt x="661" y="121"/>
                    </a:lnTo>
                    <a:lnTo>
                      <a:pt x="663" y="122"/>
                    </a:lnTo>
                    <a:lnTo>
                      <a:pt x="663" y="122"/>
                    </a:lnTo>
                    <a:lnTo>
                      <a:pt x="667" y="127"/>
                    </a:lnTo>
                    <a:lnTo>
                      <a:pt x="673" y="132"/>
                    </a:lnTo>
                    <a:lnTo>
                      <a:pt x="676" y="134"/>
                    </a:lnTo>
                    <a:lnTo>
                      <a:pt x="680" y="134"/>
                    </a:lnTo>
                    <a:lnTo>
                      <a:pt x="681" y="134"/>
                    </a:lnTo>
                    <a:lnTo>
                      <a:pt x="684" y="131"/>
                    </a:lnTo>
                    <a:lnTo>
                      <a:pt x="684" y="131"/>
                    </a:lnTo>
                    <a:close/>
                    <a:moveTo>
                      <a:pt x="603" y="292"/>
                    </a:moveTo>
                    <a:lnTo>
                      <a:pt x="603" y="292"/>
                    </a:lnTo>
                    <a:lnTo>
                      <a:pt x="604" y="290"/>
                    </a:lnTo>
                    <a:lnTo>
                      <a:pt x="604" y="287"/>
                    </a:lnTo>
                    <a:lnTo>
                      <a:pt x="602" y="285"/>
                    </a:lnTo>
                    <a:lnTo>
                      <a:pt x="600" y="283"/>
                    </a:lnTo>
                    <a:lnTo>
                      <a:pt x="596" y="282"/>
                    </a:lnTo>
                    <a:lnTo>
                      <a:pt x="593" y="280"/>
                    </a:lnTo>
                    <a:lnTo>
                      <a:pt x="590" y="282"/>
                    </a:lnTo>
                    <a:lnTo>
                      <a:pt x="589" y="285"/>
                    </a:lnTo>
                    <a:lnTo>
                      <a:pt x="589" y="285"/>
                    </a:lnTo>
                    <a:lnTo>
                      <a:pt x="587" y="287"/>
                    </a:lnTo>
                    <a:lnTo>
                      <a:pt x="589" y="290"/>
                    </a:lnTo>
                    <a:lnTo>
                      <a:pt x="590" y="293"/>
                    </a:lnTo>
                    <a:lnTo>
                      <a:pt x="593" y="295"/>
                    </a:lnTo>
                    <a:lnTo>
                      <a:pt x="599" y="295"/>
                    </a:lnTo>
                    <a:lnTo>
                      <a:pt x="602" y="295"/>
                    </a:lnTo>
                    <a:lnTo>
                      <a:pt x="603" y="292"/>
                    </a:lnTo>
                    <a:lnTo>
                      <a:pt x="603" y="292"/>
                    </a:lnTo>
                    <a:close/>
                    <a:moveTo>
                      <a:pt x="684" y="242"/>
                    </a:moveTo>
                    <a:lnTo>
                      <a:pt x="684" y="242"/>
                    </a:lnTo>
                    <a:lnTo>
                      <a:pt x="683" y="245"/>
                    </a:lnTo>
                    <a:lnTo>
                      <a:pt x="681" y="245"/>
                    </a:lnTo>
                    <a:lnTo>
                      <a:pt x="674" y="243"/>
                    </a:lnTo>
                    <a:lnTo>
                      <a:pt x="654" y="236"/>
                    </a:lnTo>
                    <a:lnTo>
                      <a:pt x="654" y="236"/>
                    </a:lnTo>
                    <a:lnTo>
                      <a:pt x="650" y="235"/>
                    </a:lnTo>
                    <a:lnTo>
                      <a:pt x="649" y="236"/>
                    </a:lnTo>
                    <a:lnTo>
                      <a:pt x="647" y="238"/>
                    </a:lnTo>
                    <a:lnTo>
                      <a:pt x="649" y="240"/>
                    </a:lnTo>
                    <a:lnTo>
                      <a:pt x="653" y="248"/>
                    </a:lnTo>
                    <a:lnTo>
                      <a:pt x="659" y="255"/>
                    </a:lnTo>
                    <a:lnTo>
                      <a:pt x="659" y="255"/>
                    </a:lnTo>
                    <a:lnTo>
                      <a:pt x="661" y="258"/>
                    </a:lnTo>
                    <a:lnTo>
                      <a:pt x="663" y="259"/>
                    </a:lnTo>
                    <a:lnTo>
                      <a:pt x="661" y="259"/>
                    </a:lnTo>
                    <a:lnTo>
                      <a:pt x="659" y="259"/>
                    </a:lnTo>
                    <a:lnTo>
                      <a:pt x="650" y="256"/>
                    </a:lnTo>
                    <a:lnTo>
                      <a:pt x="640" y="249"/>
                    </a:lnTo>
                    <a:lnTo>
                      <a:pt x="640" y="249"/>
                    </a:lnTo>
                    <a:lnTo>
                      <a:pt x="636" y="248"/>
                    </a:lnTo>
                    <a:lnTo>
                      <a:pt x="633" y="246"/>
                    </a:lnTo>
                    <a:lnTo>
                      <a:pt x="632" y="248"/>
                    </a:lnTo>
                    <a:lnTo>
                      <a:pt x="630" y="250"/>
                    </a:lnTo>
                    <a:lnTo>
                      <a:pt x="632" y="256"/>
                    </a:lnTo>
                    <a:lnTo>
                      <a:pt x="633" y="259"/>
                    </a:lnTo>
                    <a:lnTo>
                      <a:pt x="634" y="260"/>
                    </a:lnTo>
                    <a:lnTo>
                      <a:pt x="634" y="260"/>
                    </a:lnTo>
                    <a:lnTo>
                      <a:pt x="637" y="263"/>
                    </a:lnTo>
                    <a:lnTo>
                      <a:pt x="637" y="265"/>
                    </a:lnTo>
                    <a:lnTo>
                      <a:pt x="637" y="266"/>
                    </a:lnTo>
                    <a:lnTo>
                      <a:pt x="636" y="268"/>
                    </a:lnTo>
                    <a:lnTo>
                      <a:pt x="633" y="268"/>
                    </a:lnTo>
                    <a:lnTo>
                      <a:pt x="632" y="268"/>
                    </a:lnTo>
                    <a:lnTo>
                      <a:pt x="629" y="265"/>
                    </a:lnTo>
                    <a:lnTo>
                      <a:pt x="624" y="262"/>
                    </a:lnTo>
                    <a:lnTo>
                      <a:pt x="624" y="262"/>
                    </a:lnTo>
                    <a:lnTo>
                      <a:pt x="613" y="246"/>
                    </a:lnTo>
                    <a:lnTo>
                      <a:pt x="607" y="240"/>
                    </a:lnTo>
                    <a:lnTo>
                      <a:pt x="603" y="238"/>
                    </a:lnTo>
                    <a:lnTo>
                      <a:pt x="599" y="238"/>
                    </a:lnTo>
                    <a:lnTo>
                      <a:pt x="599" y="238"/>
                    </a:lnTo>
                    <a:lnTo>
                      <a:pt x="595" y="238"/>
                    </a:lnTo>
                    <a:lnTo>
                      <a:pt x="592" y="239"/>
                    </a:lnTo>
                    <a:lnTo>
                      <a:pt x="590" y="242"/>
                    </a:lnTo>
                    <a:lnTo>
                      <a:pt x="590" y="245"/>
                    </a:lnTo>
                    <a:lnTo>
                      <a:pt x="593" y="252"/>
                    </a:lnTo>
                    <a:lnTo>
                      <a:pt x="596" y="258"/>
                    </a:lnTo>
                    <a:lnTo>
                      <a:pt x="596" y="258"/>
                    </a:lnTo>
                    <a:lnTo>
                      <a:pt x="602" y="263"/>
                    </a:lnTo>
                    <a:lnTo>
                      <a:pt x="607" y="268"/>
                    </a:lnTo>
                    <a:lnTo>
                      <a:pt x="622" y="275"/>
                    </a:lnTo>
                    <a:lnTo>
                      <a:pt x="622" y="275"/>
                    </a:lnTo>
                    <a:lnTo>
                      <a:pt x="627" y="277"/>
                    </a:lnTo>
                    <a:lnTo>
                      <a:pt x="632" y="277"/>
                    </a:lnTo>
                    <a:lnTo>
                      <a:pt x="643" y="276"/>
                    </a:lnTo>
                    <a:lnTo>
                      <a:pt x="653" y="275"/>
                    </a:lnTo>
                    <a:lnTo>
                      <a:pt x="660" y="275"/>
                    </a:lnTo>
                    <a:lnTo>
                      <a:pt x="660" y="275"/>
                    </a:lnTo>
                    <a:lnTo>
                      <a:pt x="663" y="276"/>
                    </a:lnTo>
                    <a:lnTo>
                      <a:pt x="663" y="277"/>
                    </a:lnTo>
                    <a:lnTo>
                      <a:pt x="660" y="283"/>
                    </a:lnTo>
                    <a:lnTo>
                      <a:pt x="656" y="289"/>
                    </a:lnTo>
                    <a:lnTo>
                      <a:pt x="656" y="292"/>
                    </a:lnTo>
                    <a:lnTo>
                      <a:pt x="657" y="295"/>
                    </a:lnTo>
                    <a:lnTo>
                      <a:pt x="657" y="295"/>
                    </a:lnTo>
                    <a:lnTo>
                      <a:pt x="660" y="296"/>
                    </a:lnTo>
                    <a:lnTo>
                      <a:pt x="663" y="297"/>
                    </a:lnTo>
                    <a:lnTo>
                      <a:pt x="671" y="297"/>
                    </a:lnTo>
                    <a:lnTo>
                      <a:pt x="690" y="296"/>
                    </a:lnTo>
                    <a:lnTo>
                      <a:pt x="690" y="296"/>
                    </a:lnTo>
                    <a:lnTo>
                      <a:pt x="694" y="296"/>
                    </a:lnTo>
                    <a:lnTo>
                      <a:pt x="697" y="295"/>
                    </a:lnTo>
                    <a:lnTo>
                      <a:pt x="698" y="292"/>
                    </a:lnTo>
                    <a:lnTo>
                      <a:pt x="700" y="287"/>
                    </a:lnTo>
                    <a:lnTo>
                      <a:pt x="704" y="283"/>
                    </a:lnTo>
                    <a:lnTo>
                      <a:pt x="704" y="283"/>
                    </a:lnTo>
                    <a:lnTo>
                      <a:pt x="705" y="282"/>
                    </a:lnTo>
                    <a:lnTo>
                      <a:pt x="705" y="280"/>
                    </a:lnTo>
                    <a:lnTo>
                      <a:pt x="704" y="277"/>
                    </a:lnTo>
                    <a:lnTo>
                      <a:pt x="701" y="273"/>
                    </a:lnTo>
                    <a:lnTo>
                      <a:pt x="701" y="270"/>
                    </a:lnTo>
                    <a:lnTo>
                      <a:pt x="703" y="266"/>
                    </a:lnTo>
                    <a:lnTo>
                      <a:pt x="703" y="266"/>
                    </a:lnTo>
                    <a:lnTo>
                      <a:pt x="703" y="262"/>
                    </a:lnTo>
                    <a:lnTo>
                      <a:pt x="703" y="256"/>
                    </a:lnTo>
                    <a:lnTo>
                      <a:pt x="700" y="252"/>
                    </a:lnTo>
                    <a:lnTo>
                      <a:pt x="696" y="248"/>
                    </a:lnTo>
                    <a:lnTo>
                      <a:pt x="691" y="243"/>
                    </a:lnTo>
                    <a:lnTo>
                      <a:pt x="688" y="242"/>
                    </a:lnTo>
                    <a:lnTo>
                      <a:pt x="686" y="240"/>
                    </a:lnTo>
                    <a:lnTo>
                      <a:pt x="684" y="242"/>
                    </a:lnTo>
                    <a:lnTo>
                      <a:pt x="684" y="242"/>
                    </a:lnTo>
                    <a:close/>
                    <a:moveTo>
                      <a:pt x="714" y="201"/>
                    </a:moveTo>
                    <a:lnTo>
                      <a:pt x="714" y="201"/>
                    </a:lnTo>
                    <a:lnTo>
                      <a:pt x="728" y="199"/>
                    </a:lnTo>
                    <a:lnTo>
                      <a:pt x="742" y="195"/>
                    </a:lnTo>
                    <a:lnTo>
                      <a:pt x="742" y="195"/>
                    </a:lnTo>
                    <a:lnTo>
                      <a:pt x="745" y="194"/>
                    </a:lnTo>
                    <a:lnTo>
                      <a:pt x="744" y="191"/>
                    </a:lnTo>
                    <a:lnTo>
                      <a:pt x="742" y="188"/>
                    </a:lnTo>
                    <a:lnTo>
                      <a:pt x="742" y="186"/>
                    </a:lnTo>
                    <a:lnTo>
                      <a:pt x="744" y="184"/>
                    </a:lnTo>
                    <a:lnTo>
                      <a:pt x="744" y="184"/>
                    </a:lnTo>
                    <a:lnTo>
                      <a:pt x="745" y="181"/>
                    </a:lnTo>
                    <a:lnTo>
                      <a:pt x="744" y="178"/>
                    </a:lnTo>
                    <a:lnTo>
                      <a:pt x="741" y="176"/>
                    </a:lnTo>
                    <a:lnTo>
                      <a:pt x="738" y="176"/>
                    </a:lnTo>
                    <a:lnTo>
                      <a:pt x="731" y="175"/>
                    </a:lnTo>
                    <a:lnTo>
                      <a:pt x="727" y="176"/>
                    </a:lnTo>
                    <a:lnTo>
                      <a:pt x="727" y="176"/>
                    </a:lnTo>
                    <a:lnTo>
                      <a:pt x="725" y="176"/>
                    </a:lnTo>
                    <a:lnTo>
                      <a:pt x="721" y="175"/>
                    </a:lnTo>
                    <a:lnTo>
                      <a:pt x="711" y="171"/>
                    </a:lnTo>
                    <a:lnTo>
                      <a:pt x="700" y="165"/>
                    </a:lnTo>
                    <a:lnTo>
                      <a:pt x="696" y="165"/>
                    </a:lnTo>
                    <a:lnTo>
                      <a:pt x="693" y="167"/>
                    </a:lnTo>
                    <a:lnTo>
                      <a:pt x="693" y="167"/>
                    </a:lnTo>
                    <a:lnTo>
                      <a:pt x="693" y="169"/>
                    </a:lnTo>
                    <a:lnTo>
                      <a:pt x="693" y="175"/>
                    </a:lnTo>
                    <a:lnTo>
                      <a:pt x="698" y="186"/>
                    </a:lnTo>
                    <a:lnTo>
                      <a:pt x="701" y="192"/>
                    </a:lnTo>
                    <a:lnTo>
                      <a:pt x="705" y="196"/>
                    </a:lnTo>
                    <a:lnTo>
                      <a:pt x="710" y="199"/>
                    </a:lnTo>
                    <a:lnTo>
                      <a:pt x="714" y="201"/>
                    </a:lnTo>
                    <a:lnTo>
                      <a:pt x="714" y="201"/>
                    </a:lnTo>
                    <a:close/>
                    <a:moveTo>
                      <a:pt x="771" y="203"/>
                    </a:moveTo>
                    <a:lnTo>
                      <a:pt x="771" y="203"/>
                    </a:lnTo>
                    <a:lnTo>
                      <a:pt x="768" y="203"/>
                    </a:lnTo>
                    <a:lnTo>
                      <a:pt x="762" y="202"/>
                    </a:lnTo>
                    <a:lnTo>
                      <a:pt x="744" y="205"/>
                    </a:lnTo>
                    <a:lnTo>
                      <a:pt x="728" y="208"/>
                    </a:lnTo>
                    <a:lnTo>
                      <a:pt x="724" y="211"/>
                    </a:lnTo>
                    <a:lnTo>
                      <a:pt x="724" y="212"/>
                    </a:lnTo>
                    <a:lnTo>
                      <a:pt x="724" y="212"/>
                    </a:lnTo>
                    <a:lnTo>
                      <a:pt x="724" y="212"/>
                    </a:lnTo>
                    <a:lnTo>
                      <a:pt x="731" y="215"/>
                    </a:lnTo>
                    <a:lnTo>
                      <a:pt x="738" y="216"/>
                    </a:lnTo>
                    <a:lnTo>
                      <a:pt x="745" y="216"/>
                    </a:lnTo>
                    <a:lnTo>
                      <a:pt x="754" y="213"/>
                    </a:lnTo>
                    <a:lnTo>
                      <a:pt x="767" y="209"/>
                    </a:lnTo>
                    <a:lnTo>
                      <a:pt x="771" y="206"/>
                    </a:lnTo>
                    <a:lnTo>
                      <a:pt x="771" y="203"/>
                    </a:lnTo>
                    <a:lnTo>
                      <a:pt x="771" y="203"/>
                    </a:lnTo>
                    <a:close/>
                    <a:moveTo>
                      <a:pt x="764" y="307"/>
                    </a:moveTo>
                    <a:lnTo>
                      <a:pt x="764" y="307"/>
                    </a:lnTo>
                    <a:lnTo>
                      <a:pt x="768" y="307"/>
                    </a:lnTo>
                    <a:lnTo>
                      <a:pt x="769" y="305"/>
                    </a:lnTo>
                    <a:lnTo>
                      <a:pt x="771" y="302"/>
                    </a:lnTo>
                    <a:lnTo>
                      <a:pt x="769" y="299"/>
                    </a:lnTo>
                    <a:lnTo>
                      <a:pt x="768" y="295"/>
                    </a:lnTo>
                    <a:lnTo>
                      <a:pt x="765" y="289"/>
                    </a:lnTo>
                    <a:lnTo>
                      <a:pt x="755" y="280"/>
                    </a:lnTo>
                    <a:lnTo>
                      <a:pt x="755" y="280"/>
                    </a:lnTo>
                    <a:lnTo>
                      <a:pt x="750" y="279"/>
                    </a:lnTo>
                    <a:lnTo>
                      <a:pt x="742" y="279"/>
                    </a:lnTo>
                    <a:lnTo>
                      <a:pt x="735" y="280"/>
                    </a:lnTo>
                    <a:lnTo>
                      <a:pt x="728" y="283"/>
                    </a:lnTo>
                    <a:lnTo>
                      <a:pt x="721" y="287"/>
                    </a:lnTo>
                    <a:lnTo>
                      <a:pt x="717" y="290"/>
                    </a:lnTo>
                    <a:lnTo>
                      <a:pt x="715" y="295"/>
                    </a:lnTo>
                    <a:lnTo>
                      <a:pt x="714" y="296"/>
                    </a:lnTo>
                    <a:lnTo>
                      <a:pt x="715" y="296"/>
                    </a:lnTo>
                    <a:lnTo>
                      <a:pt x="715" y="296"/>
                    </a:lnTo>
                    <a:lnTo>
                      <a:pt x="724" y="300"/>
                    </a:lnTo>
                    <a:lnTo>
                      <a:pt x="737" y="305"/>
                    </a:lnTo>
                    <a:lnTo>
                      <a:pt x="751" y="307"/>
                    </a:lnTo>
                    <a:lnTo>
                      <a:pt x="764" y="307"/>
                    </a:lnTo>
                    <a:lnTo>
                      <a:pt x="764" y="307"/>
                    </a:lnTo>
                    <a:close/>
                    <a:moveTo>
                      <a:pt x="673" y="407"/>
                    </a:moveTo>
                    <a:lnTo>
                      <a:pt x="673" y="407"/>
                    </a:lnTo>
                    <a:lnTo>
                      <a:pt x="677" y="410"/>
                    </a:lnTo>
                    <a:lnTo>
                      <a:pt x="681" y="411"/>
                    </a:lnTo>
                    <a:lnTo>
                      <a:pt x="684" y="410"/>
                    </a:lnTo>
                    <a:lnTo>
                      <a:pt x="686" y="407"/>
                    </a:lnTo>
                    <a:lnTo>
                      <a:pt x="691" y="403"/>
                    </a:lnTo>
                    <a:lnTo>
                      <a:pt x="696" y="400"/>
                    </a:lnTo>
                    <a:lnTo>
                      <a:pt x="701" y="400"/>
                    </a:lnTo>
                    <a:lnTo>
                      <a:pt x="701" y="400"/>
                    </a:lnTo>
                    <a:lnTo>
                      <a:pt x="707" y="398"/>
                    </a:lnTo>
                    <a:lnTo>
                      <a:pt x="711" y="396"/>
                    </a:lnTo>
                    <a:lnTo>
                      <a:pt x="715" y="390"/>
                    </a:lnTo>
                    <a:lnTo>
                      <a:pt x="717" y="384"/>
                    </a:lnTo>
                    <a:lnTo>
                      <a:pt x="720" y="371"/>
                    </a:lnTo>
                    <a:lnTo>
                      <a:pt x="723" y="360"/>
                    </a:lnTo>
                    <a:lnTo>
                      <a:pt x="723" y="360"/>
                    </a:lnTo>
                    <a:lnTo>
                      <a:pt x="723" y="357"/>
                    </a:lnTo>
                    <a:lnTo>
                      <a:pt x="721" y="354"/>
                    </a:lnTo>
                    <a:lnTo>
                      <a:pt x="720" y="353"/>
                    </a:lnTo>
                    <a:lnTo>
                      <a:pt x="717" y="353"/>
                    </a:lnTo>
                    <a:lnTo>
                      <a:pt x="714" y="353"/>
                    </a:lnTo>
                    <a:lnTo>
                      <a:pt x="713" y="354"/>
                    </a:lnTo>
                    <a:lnTo>
                      <a:pt x="711" y="356"/>
                    </a:lnTo>
                    <a:lnTo>
                      <a:pt x="713" y="359"/>
                    </a:lnTo>
                    <a:lnTo>
                      <a:pt x="713" y="359"/>
                    </a:lnTo>
                    <a:lnTo>
                      <a:pt x="714" y="364"/>
                    </a:lnTo>
                    <a:lnTo>
                      <a:pt x="714" y="369"/>
                    </a:lnTo>
                    <a:lnTo>
                      <a:pt x="713" y="369"/>
                    </a:lnTo>
                    <a:lnTo>
                      <a:pt x="711" y="369"/>
                    </a:lnTo>
                    <a:lnTo>
                      <a:pt x="710" y="364"/>
                    </a:lnTo>
                    <a:lnTo>
                      <a:pt x="710" y="364"/>
                    </a:lnTo>
                    <a:lnTo>
                      <a:pt x="710" y="363"/>
                    </a:lnTo>
                    <a:lnTo>
                      <a:pt x="707" y="361"/>
                    </a:lnTo>
                    <a:lnTo>
                      <a:pt x="701" y="360"/>
                    </a:lnTo>
                    <a:lnTo>
                      <a:pt x="696" y="360"/>
                    </a:lnTo>
                    <a:lnTo>
                      <a:pt x="693" y="359"/>
                    </a:lnTo>
                    <a:lnTo>
                      <a:pt x="690" y="357"/>
                    </a:lnTo>
                    <a:lnTo>
                      <a:pt x="690" y="357"/>
                    </a:lnTo>
                    <a:lnTo>
                      <a:pt x="690" y="354"/>
                    </a:lnTo>
                    <a:lnTo>
                      <a:pt x="691" y="353"/>
                    </a:lnTo>
                    <a:lnTo>
                      <a:pt x="697" y="349"/>
                    </a:lnTo>
                    <a:lnTo>
                      <a:pt x="705" y="346"/>
                    </a:lnTo>
                    <a:lnTo>
                      <a:pt x="708" y="343"/>
                    </a:lnTo>
                    <a:lnTo>
                      <a:pt x="711" y="340"/>
                    </a:lnTo>
                    <a:lnTo>
                      <a:pt x="711" y="340"/>
                    </a:lnTo>
                    <a:lnTo>
                      <a:pt x="711" y="337"/>
                    </a:lnTo>
                    <a:lnTo>
                      <a:pt x="711" y="334"/>
                    </a:lnTo>
                    <a:lnTo>
                      <a:pt x="705" y="332"/>
                    </a:lnTo>
                    <a:lnTo>
                      <a:pt x="700" y="329"/>
                    </a:lnTo>
                    <a:lnTo>
                      <a:pt x="698" y="327"/>
                    </a:lnTo>
                    <a:lnTo>
                      <a:pt x="700" y="324"/>
                    </a:lnTo>
                    <a:lnTo>
                      <a:pt x="700" y="324"/>
                    </a:lnTo>
                    <a:lnTo>
                      <a:pt x="700" y="324"/>
                    </a:lnTo>
                    <a:lnTo>
                      <a:pt x="700" y="323"/>
                    </a:lnTo>
                    <a:lnTo>
                      <a:pt x="697" y="322"/>
                    </a:lnTo>
                    <a:lnTo>
                      <a:pt x="687" y="323"/>
                    </a:lnTo>
                    <a:lnTo>
                      <a:pt x="678" y="326"/>
                    </a:lnTo>
                    <a:lnTo>
                      <a:pt x="677" y="329"/>
                    </a:lnTo>
                    <a:lnTo>
                      <a:pt x="678" y="330"/>
                    </a:lnTo>
                    <a:lnTo>
                      <a:pt x="678" y="330"/>
                    </a:lnTo>
                    <a:lnTo>
                      <a:pt x="683" y="332"/>
                    </a:lnTo>
                    <a:lnTo>
                      <a:pt x="683" y="333"/>
                    </a:lnTo>
                    <a:lnTo>
                      <a:pt x="683" y="334"/>
                    </a:lnTo>
                    <a:lnTo>
                      <a:pt x="683" y="336"/>
                    </a:lnTo>
                    <a:lnTo>
                      <a:pt x="677" y="336"/>
                    </a:lnTo>
                    <a:lnTo>
                      <a:pt x="673" y="334"/>
                    </a:lnTo>
                    <a:lnTo>
                      <a:pt x="670" y="333"/>
                    </a:lnTo>
                    <a:lnTo>
                      <a:pt x="670" y="333"/>
                    </a:lnTo>
                    <a:lnTo>
                      <a:pt x="666" y="332"/>
                    </a:lnTo>
                    <a:lnTo>
                      <a:pt x="660" y="330"/>
                    </a:lnTo>
                    <a:lnTo>
                      <a:pt x="654" y="332"/>
                    </a:lnTo>
                    <a:lnTo>
                      <a:pt x="649" y="333"/>
                    </a:lnTo>
                    <a:lnTo>
                      <a:pt x="644" y="336"/>
                    </a:lnTo>
                    <a:lnTo>
                      <a:pt x="641" y="339"/>
                    </a:lnTo>
                    <a:lnTo>
                      <a:pt x="640" y="343"/>
                    </a:lnTo>
                    <a:lnTo>
                      <a:pt x="641" y="346"/>
                    </a:lnTo>
                    <a:lnTo>
                      <a:pt x="641" y="346"/>
                    </a:lnTo>
                    <a:lnTo>
                      <a:pt x="646" y="347"/>
                    </a:lnTo>
                    <a:lnTo>
                      <a:pt x="650" y="349"/>
                    </a:lnTo>
                    <a:lnTo>
                      <a:pt x="659" y="349"/>
                    </a:lnTo>
                    <a:lnTo>
                      <a:pt x="663" y="349"/>
                    </a:lnTo>
                    <a:lnTo>
                      <a:pt x="664" y="350"/>
                    </a:lnTo>
                    <a:lnTo>
                      <a:pt x="663" y="354"/>
                    </a:lnTo>
                    <a:lnTo>
                      <a:pt x="660" y="360"/>
                    </a:lnTo>
                    <a:lnTo>
                      <a:pt x="660" y="360"/>
                    </a:lnTo>
                    <a:lnTo>
                      <a:pt x="656" y="364"/>
                    </a:lnTo>
                    <a:lnTo>
                      <a:pt x="651" y="367"/>
                    </a:lnTo>
                    <a:lnTo>
                      <a:pt x="647" y="367"/>
                    </a:lnTo>
                    <a:lnTo>
                      <a:pt x="643" y="364"/>
                    </a:lnTo>
                    <a:lnTo>
                      <a:pt x="636" y="359"/>
                    </a:lnTo>
                    <a:lnTo>
                      <a:pt x="633" y="357"/>
                    </a:lnTo>
                    <a:lnTo>
                      <a:pt x="627" y="357"/>
                    </a:lnTo>
                    <a:lnTo>
                      <a:pt x="627" y="357"/>
                    </a:lnTo>
                    <a:lnTo>
                      <a:pt x="624" y="359"/>
                    </a:lnTo>
                    <a:lnTo>
                      <a:pt x="622" y="361"/>
                    </a:lnTo>
                    <a:lnTo>
                      <a:pt x="622" y="364"/>
                    </a:lnTo>
                    <a:lnTo>
                      <a:pt x="622" y="367"/>
                    </a:lnTo>
                    <a:lnTo>
                      <a:pt x="624" y="371"/>
                    </a:lnTo>
                    <a:lnTo>
                      <a:pt x="629" y="374"/>
                    </a:lnTo>
                    <a:lnTo>
                      <a:pt x="633" y="378"/>
                    </a:lnTo>
                    <a:lnTo>
                      <a:pt x="640" y="380"/>
                    </a:lnTo>
                    <a:lnTo>
                      <a:pt x="640" y="380"/>
                    </a:lnTo>
                    <a:lnTo>
                      <a:pt x="646" y="383"/>
                    </a:lnTo>
                    <a:lnTo>
                      <a:pt x="651" y="386"/>
                    </a:lnTo>
                    <a:lnTo>
                      <a:pt x="657" y="393"/>
                    </a:lnTo>
                    <a:lnTo>
                      <a:pt x="664" y="400"/>
                    </a:lnTo>
                    <a:lnTo>
                      <a:pt x="667" y="404"/>
                    </a:lnTo>
                    <a:lnTo>
                      <a:pt x="673" y="407"/>
                    </a:lnTo>
                    <a:lnTo>
                      <a:pt x="673" y="407"/>
                    </a:lnTo>
                    <a:close/>
                    <a:moveTo>
                      <a:pt x="788" y="293"/>
                    </a:moveTo>
                    <a:lnTo>
                      <a:pt x="788" y="293"/>
                    </a:lnTo>
                    <a:lnTo>
                      <a:pt x="791" y="297"/>
                    </a:lnTo>
                    <a:lnTo>
                      <a:pt x="792" y="300"/>
                    </a:lnTo>
                    <a:lnTo>
                      <a:pt x="795" y="302"/>
                    </a:lnTo>
                    <a:lnTo>
                      <a:pt x="797" y="302"/>
                    </a:lnTo>
                    <a:lnTo>
                      <a:pt x="801" y="302"/>
                    </a:lnTo>
                    <a:lnTo>
                      <a:pt x="804" y="302"/>
                    </a:lnTo>
                    <a:lnTo>
                      <a:pt x="806" y="303"/>
                    </a:lnTo>
                    <a:lnTo>
                      <a:pt x="806" y="303"/>
                    </a:lnTo>
                    <a:lnTo>
                      <a:pt x="814" y="307"/>
                    </a:lnTo>
                    <a:lnTo>
                      <a:pt x="821" y="310"/>
                    </a:lnTo>
                    <a:lnTo>
                      <a:pt x="828" y="310"/>
                    </a:lnTo>
                    <a:lnTo>
                      <a:pt x="831" y="309"/>
                    </a:lnTo>
                    <a:lnTo>
                      <a:pt x="834" y="307"/>
                    </a:lnTo>
                    <a:lnTo>
                      <a:pt x="834" y="307"/>
                    </a:lnTo>
                    <a:lnTo>
                      <a:pt x="841" y="300"/>
                    </a:lnTo>
                    <a:lnTo>
                      <a:pt x="843" y="300"/>
                    </a:lnTo>
                    <a:lnTo>
                      <a:pt x="845" y="302"/>
                    </a:lnTo>
                    <a:lnTo>
                      <a:pt x="845" y="302"/>
                    </a:lnTo>
                    <a:lnTo>
                      <a:pt x="846" y="305"/>
                    </a:lnTo>
                    <a:lnTo>
                      <a:pt x="849" y="307"/>
                    </a:lnTo>
                    <a:lnTo>
                      <a:pt x="861" y="310"/>
                    </a:lnTo>
                    <a:lnTo>
                      <a:pt x="876" y="312"/>
                    </a:lnTo>
                    <a:lnTo>
                      <a:pt x="898" y="312"/>
                    </a:lnTo>
                    <a:lnTo>
                      <a:pt x="898" y="312"/>
                    </a:lnTo>
                    <a:lnTo>
                      <a:pt x="909" y="312"/>
                    </a:lnTo>
                    <a:lnTo>
                      <a:pt x="916" y="310"/>
                    </a:lnTo>
                    <a:lnTo>
                      <a:pt x="922" y="309"/>
                    </a:lnTo>
                    <a:lnTo>
                      <a:pt x="925" y="306"/>
                    </a:lnTo>
                    <a:lnTo>
                      <a:pt x="929" y="303"/>
                    </a:lnTo>
                    <a:lnTo>
                      <a:pt x="930" y="303"/>
                    </a:lnTo>
                    <a:lnTo>
                      <a:pt x="933" y="303"/>
                    </a:lnTo>
                    <a:lnTo>
                      <a:pt x="933" y="303"/>
                    </a:lnTo>
                    <a:lnTo>
                      <a:pt x="943" y="307"/>
                    </a:lnTo>
                    <a:lnTo>
                      <a:pt x="954" y="309"/>
                    </a:lnTo>
                    <a:lnTo>
                      <a:pt x="967" y="309"/>
                    </a:lnTo>
                    <a:lnTo>
                      <a:pt x="976" y="307"/>
                    </a:lnTo>
                    <a:lnTo>
                      <a:pt x="976" y="307"/>
                    </a:lnTo>
                    <a:lnTo>
                      <a:pt x="980" y="306"/>
                    </a:lnTo>
                    <a:lnTo>
                      <a:pt x="983" y="303"/>
                    </a:lnTo>
                    <a:lnTo>
                      <a:pt x="987" y="296"/>
                    </a:lnTo>
                    <a:lnTo>
                      <a:pt x="990" y="289"/>
                    </a:lnTo>
                    <a:lnTo>
                      <a:pt x="990" y="282"/>
                    </a:lnTo>
                    <a:lnTo>
                      <a:pt x="990" y="282"/>
                    </a:lnTo>
                    <a:lnTo>
                      <a:pt x="990" y="280"/>
                    </a:lnTo>
                    <a:lnTo>
                      <a:pt x="987" y="279"/>
                    </a:lnTo>
                    <a:lnTo>
                      <a:pt x="979" y="276"/>
                    </a:lnTo>
                    <a:lnTo>
                      <a:pt x="966" y="275"/>
                    </a:lnTo>
                    <a:lnTo>
                      <a:pt x="950" y="273"/>
                    </a:lnTo>
                    <a:lnTo>
                      <a:pt x="935" y="272"/>
                    </a:lnTo>
                    <a:lnTo>
                      <a:pt x="920" y="272"/>
                    </a:lnTo>
                    <a:lnTo>
                      <a:pt x="907" y="273"/>
                    </a:lnTo>
                    <a:lnTo>
                      <a:pt x="900" y="275"/>
                    </a:lnTo>
                    <a:lnTo>
                      <a:pt x="900" y="275"/>
                    </a:lnTo>
                    <a:lnTo>
                      <a:pt x="895" y="277"/>
                    </a:lnTo>
                    <a:lnTo>
                      <a:pt x="889" y="277"/>
                    </a:lnTo>
                    <a:lnTo>
                      <a:pt x="876" y="277"/>
                    </a:lnTo>
                    <a:lnTo>
                      <a:pt x="865" y="276"/>
                    </a:lnTo>
                    <a:lnTo>
                      <a:pt x="859" y="276"/>
                    </a:lnTo>
                    <a:lnTo>
                      <a:pt x="855" y="277"/>
                    </a:lnTo>
                    <a:lnTo>
                      <a:pt x="855" y="277"/>
                    </a:lnTo>
                    <a:lnTo>
                      <a:pt x="851" y="279"/>
                    </a:lnTo>
                    <a:lnTo>
                      <a:pt x="849" y="279"/>
                    </a:lnTo>
                    <a:lnTo>
                      <a:pt x="845" y="276"/>
                    </a:lnTo>
                    <a:lnTo>
                      <a:pt x="839" y="272"/>
                    </a:lnTo>
                    <a:lnTo>
                      <a:pt x="835" y="270"/>
                    </a:lnTo>
                    <a:lnTo>
                      <a:pt x="828" y="269"/>
                    </a:lnTo>
                    <a:lnTo>
                      <a:pt x="828" y="269"/>
                    </a:lnTo>
                    <a:lnTo>
                      <a:pt x="824" y="269"/>
                    </a:lnTo>
                    <a:lnTo>
                      <a:pt x="821" y="268"/>
                    </a:lnTo>
                    <a:lnTo>
                      <a:pt x="821" y="266"/>
                    </a:lnTo>
                    <a:lnTo>
                      <a:pt x="822" y="263"/>
                    </a:lnTo>
                    <a:lnTo>
                      <a:pt x="834" y="255"/>
                    </a:lnTo>
                    <a:lnTo>
                      <a:pt x="834" y="255"/>
                    </a:lnTo>
                    <a:lnTo>
                      <a:pt x="834" y="253"/>
                    </a:lnTo>
                    <a:lnTo>
                      <a:pt x="831" y="250"/>
                    </a:lnTo>
                    <a:lnTo>
                      <a:pt x="818" y="246"/>
                    </a:lnTo>
                    <a:lnTo>
                      <a:pt x="804" y="242"/>
                    </a:lnTo>
                    <a:lnTo>
                      <a:pt x="797" y="242"/>
                    </a:lnTo>
                    <a:lnTo>
                      <a:pt x="791" y="242"/>
                    </a:lnTo>
                    <a:lnTo>
                      <a:pt x="791" y="242"/>
                    </a:lnTo>
                    <a:lnTo>
                      <a:pt x="781" y="242"/>
                    </a:lnTo>
                    <a:lnTo>
                      <a:pt x="774" y="240"/>
                    </a:lnTo>
                    <a:lnTo>
                      <a:pt x="757" y="232"/>
                    </a:lnTo>
                    <a:lnTo>
                      <a:pt x="757" y="232"/>
                    </a:lnTo>
                    <a:lnTo>
                      <a:pt x="751" y="231"/>
                    </a:lnTo>
                    <a:lnTo>
                      <a:pt x="744" y="229"/>
                    </a:lnTo>
                    <a:lnTo>
                      <a:pt x="728" y="229"/>
                    </a:lnTo>
                    <a:lnTo>
                      <a:pt x="723" y="229"/>
                    </a:lnTo>
                    <a:lnTo>
                      <a:pt x="717" y="232"/>
                    </a:lnTo>
                    <a:lnTo>
                      <a:pt x="715" y="235"/>
                    </a:lnTo>
                    <a:lnTo>
                      <a:pt x="715" y="238"/>
                    </a:lnTo>
                    <a:lnTo>
                      <a:pt x="715" y="238"/>
                    </a:lnTo>
                    <a:lnTo>
                      <a:pt x="720" y="240"/>
                    </a:lnTo>
                    <a:lnTo>
                      <a:pt x="725" y="243"/>
                    </a:lnTo>
                    <a:lnTo>
                      <a:pt x="741" y="250"/>
                    </a:lnTo>
                    <a:lnTo>
                      <a:pt x="758" y="255"/>
                    </a:lnTo>
                    <a:lnTo>
                      <a:pt x="764" y="255"/>
                    </a:lnTo>
                    <a:lnTo>
                      <a:pt x="767" y="252"/>
                    </a:lnTo>
                    <a:lnTo>
                      <a:pt x="767" y="252"/>
                    </a:lnTo>
                    <a:lnTo>
                      <a:pt x="768" y="250"/>
                    </a:lnTo>
                    <a:lnTo>
                      <a:pt x="771" y="250"/>
                    </a:lnTo>
                    <a:lnTo>
                      <a:pt x="777" y="255"/>
                    </a:lnTo>
                    <a:lnTo>
                      <a:pt x="788" y="269"/>
                    </a:lnTo>
                    <a:lnTo>
                      <a:pt x="788" y="269"/>
                    </a:lnTo>
                    <a:lnTo>
                      <a:pt x="789" y="272"/>
                    </a:lnTo>
                    <a:lnTo>
                      <a:pt x="789" y="275"/>
                    </a:lnTo>
                    <a:lnTo>
                      <a:pt x="788" y="279"/>
                    </a:lnTo>
                    <a:lnTo>
                      <a:pt x="787" y="285"/>
                    </a:lnTo>
                    <a:lnTo>
                      <a:pt x="788" y="289"/>
                    </a:lnTo>
                    <a:lnTo>
                      <a:pt x="788" y="293"/>
                    </a:lnTo>
                    <a:lnTo>
                      <a:pt x="788" y="293"/>
                    </a:lnTo>
                    <a:close/>
                    <a:moveTo>
                      <a:pt x="825" y="209"/>
                    </a:moveTo>
                    <a:lnTo>
                      <a:pt x="825" y="209"/>
                    </a:lnTo>
                    <a:lnTo>
                      <a:pt x="819" y="208"/>
                    </a:lnTo>
                    <a:lnTo>
                      <a:pt x="815" y="208"/>
                    </a:lnTo>
                    <a:lnTo>
                      <a:pt x="811" y="209"/>
                    </a:lnTo>
                    <a:lnTo>
                      <a:pt x="806" y="212"/>
                    </a:lnTo>
                    <a:lnTo>
                      <a:pt x="805" y="215"/>
                    </a:lnTo>
                    <a:lnTo>
                      <a:pt x="804" y="216"/>
                    </a:lnTo>
                    <a:lnTo>
                      <a:pt x="805" y="219"/>
                    </a:lnTo>
                    <a:lnTo>
                      <a:pt x="809" y="222"/>
                    </a:lnTo>
                    <a:lnTo>
                      <a:pt x="809" y="222"/>
                    </a:lnTo>
                    <a:lnTo>
                      <a:pt x="814" y="223"/>
                    </a:lnTo>
                    <a:lnTo>
                      <a:pt x="818" y="222"/>
                    </a:lnTo>
                    <a:lnTo>
                      <a:pt x="822" y="222"/>
                    </a:lnTo>
                    <a:lnTo>
                      <a:pt x="826" y="219"/>
                    </a:lnTo>
                    <a:lnTo>
                      <a:pt x="828" y="218"/>
                    </a:lnTo>
                    <a:lnTo>
                      <a:pt x="829" y="215"/>
                    </a:lnTo>
                    <a:lnTo>
                      <a:pt x="828" y="212"/>
                    </a:lnTo>
                    <a:lnTo>
                      <a:pt x="825" y="209"/>
                    </a:lnTo>
                    <a:lnTo>
                      <a:pt x="825" y="209"/>
                    </a:lnTo>
                    <a:close/>
                    <a:moveTo>
                      <a:pt x="723" y="130"/>
                    </a:moveTo>
                    <a:lnTo>
                      <a:pt x="723" y="130"/>
                    </a:lnTo>
                    <a:lnTo>
                      <a:pt x="725" y="132"/>
                    </a:lnTo>
                    <a:lnTo>
                      <a:pt x="728" y="134"/>
                    </a:lnTo>
                    <a:lnTo>
                      <a:pt x="730" y="138"/>
                    </a:lnTo>
                    <a:lnTo>
                      <a:pt x="733" y="144"/>
                    </a:lnTo>
                    <a:lnTo>
                      <a:pt x="734" y="145"/>
                    </a:lnTo>
                    <a:lnTo>
                      <a:pt x="738" y="147"/>
                    </a:lnTo>
                    <a:lnTo>
                      <a:pt x="738" y="147"/>
                    </a:lnTo>
                    <a:lnTo>
                      <a:pt x="742" y="148"/>
                    </a:lnTo>
                    <a:lnTo>
                      <a:pt x="750" y="148"/>
                    </a:lnTo>
                    <a:lnTo>
                      <a:pt x="765" y="147"/>
                    </a:lnTo>
                    <a:lnTo>
                      <a:pt x="778" y="145"/>
                    </a:lnTo>
                    <a:lnTo>
                      <a:pt x="782" y="147"/>
                    </a:lnTo>
                    <a:lnTo>
                      <a:pt x="785" y="148"/>
                    </a:lnTo>
                    <a:lnTo>
                      <a:pt x="785" y="148"/>
                    </a:lnTo>
                    <a:lnTo>
                      <a:pt x="784" y="151"/>
                    </a:lnTo>
                    <a:lnTo>
                      <a:pt x="781" y="154"/>
                    </a:lnTo>
                    <a:lnTo>
                      <a:pt x="769" y="157"/>
                    </a:lnTo>
                    <a:lnTo>
                      <a:pt x="760" y="159"/>
                    </a:lnTo>
                    <a:lnTo>
                      <a:pt x="757" y="161"/>
                    </a:lnTo>
                    <a:lnTo>
                      <a:pt x="757" y="161"/>
                    </a:lnTo>
                    <a:lnTo>
                      <a:pt x="757" y="162"/>
                    </a:lnTo>
                    <a:lnTo>
                      <a:pt x="757" y="162"/>
                    </a:lnTo>
                    <a:lnTo>
                      <a:pt x="762" y="167"/>
                    </a:lnTo>
                    <a:lnTo>
                      <a:pt x="771" y="171"/>
                    </a:lnTo>
                    <a:lnTo>
                      <a:pt x="778" y="175"/>
                    </a:lnTo>
                    <a:lnTo>
                      <a:pt x="779" y="178"/>
                    </a:lnTo>
                    <a:lnTo>
                      <a:pt x="779" y="179"/>
                    </a:lnTo>
                    <a:lnTo>
                      <a:pt x="779" y="179"/>
                    </a:lnTo>
                    <a:lnTo>
                      <a:pt x="779" y="181"/>
                    </a:lnTo>
                    <a:lnTo>
                      <a:pt x="784" y="184"/>
                    </a:lnTo>
                    <a:lnTo>
                      <a:pt x="795" y="188"/>
                    </a:lnTo>
                    <a:lnTo>
                      <a:pt x="809" y="191"/>
                    </a:lnTo>
                    <a:lnTo>
                      <a:pt x="814" y="191"/>
                    </a:lnTo>
                    <a:lnTo>
                      <a:pt x="816" y="189"/>
                    </a:lnTo>
                    <a:lnTo>
                      <a:pt x="816" y="189"/>
                    </a:lnTo>
                    <a:lnTo>
                      <a:pt x="821" y="186"/>
                    </a:lnTo>
                    <a:lnTo>
                      <a:pt x="826" y="186"/>
                    </a:lnTo>
                    <a:lnTo>
                      <a:pt x="832" y="186"/>
                    </a:lnTo>
                    <a:lnTo>
                      <a:pt x="839" y="189"/>
                    </a:lnTo>
                    <a:lnTo>
                      <a:pt x="839" y="189"/>
                    </a:lnTo>
                    <a:lnTo>
                      <a:pt x="843" y="189"/>
                    </a:lnTo>
                    <a:lnTo>
                      <a:pt x="845" y="188"/>
                    </a:lnTo>
                    <a:lnTo>
                      <a:pt x="849" y="179"/>
                    </a:lnTo>
                    <a:lnTo>
                      <a:pt x="852" y="172"/>
                    </a:lnTo>
                    <a:lnTo>
                      <a:pt x="853" y="171"/>
                    </a:lnTo>
                    <a:lnTo>
                      <a:pt x="856" y="171"/>
                    </a:lnTo>
                    <a:lnTo>
                      <a:pt x="856" y="171"/>
                    </a:lnTo>
                    <a:lnTo>
                      <a:pt x="858" y="172"/>
                    </a:lnTo>
                    <a:lnTo>
                      <a:pt x="859" y="172"/>
                    </a:lnTo>
                    <a:lnTo>
                      <a:pt x="862" y="168"/>
                    </a:lnTo>
                    <a:lnTo>
                      <a:pt x="866" y="162"/>
                    </a:lnTo>
                    <a:lnTo>
                      <a:pt x="869" y="159"/>
                    </a:lnTo>
                    <a:lnTo>
                      <a:pt x="872" y="158"/>
                    </a:lnTo>
                    <a:lnTo>
                      <a:pt x="872" y="158"/>
                    </a:lnTo>
                    <a:lnTo>
                      <a:pt x="880" y="155"/>
                    </a:lnTo>
                    <a:lnTo>
                      <a:pt x="889" y="154"/>
                    </a:lnTo>
                    <a:lnTo>
                      <a:pt x="896" y="151"/>
                    </a:lnTo>
                    <a:lnTo>
                      <a:pt x="899" y="151"/>
                    </a:lnTo>
                    <a:lnTo>
                      <a:pt x="899" y="148"/>
                    </a:lnTo>
                    <a:lnTo>
                      <a:pt x="899" y="148"/>
                    </a:lnTo>
                    <a:lnTo>
                      <a:pt x="899" y="145"/>
                    </a:lnTo>
                    <a:lnTo>
                      <a:pt x="896" y="144"/>
                    </a:lnTo>
                    <a:lnTo>
                      <a:pt x="892" y="141"/>
                    </a:lnTo>
                    <a:lnTo>
                      <a:pt x="883" y="141"/>
                    </a:lnTo>
                    <a:lnTo>
                      <a:pt x="883" y="141"/>
                    </a:lnTo>
                    <a:lnTo>
                      <a:pt x="875" y="141"/>
                    </a:lnTo>
                    <a:lnTo>
                      <a:pt x="869" y="139"/>
                    </a:lnTo>
                    <a:lnTo>
                      <a:pt x="868" y="138"/>
                    </a:lnTo>
                    <a:lnTo>
                      <a:pt x="866" y="135"/>
                    </a:lnTo>
                    <a:lnTo>
                      <a:pt x="866" y="134"/>
                    </a:lnTo>
                    <a:lnTo>
                      <a:pt x="868" y="131"/>
                    </a:lnTo>
                    <a:lnTo>
                      <a:pt x="868" y="131"/>
                    </a:lnTo>
                    <a:lnTo>
                      <a:pt x="869" y="128"/>
                    </a:lnTo>
                    <a:lnTo>
                      <a:pt x="869" y="127"/>
                    </a:lnTo>
                    <a:lnTo>
                      <a:pt x="863" y="122"/>
                    </a:lnTo>
                    <a:lnTo>
                      <a:pt x="861" y="120"/>
                    </a:lnTo>
                    <a:lnTo>
                      <a:pt x="859" y="118"/>
                    </a:lnTo>
                    <a:lnTo>
                      <a:pt x="861" y="115"/>
                    </a:lnTo>
                    <a:lnTo>
                      <a:pt x="861" y="115"/>
                    </a:lnTo>
                    <a:lnTo>
                      <a:pt x="862" y="114"/>
                    </a:lnTo>
                    <a:lnTo>
                      <a:pt x="862" y="112"/>
                    </a:lnTo>
                    <a:lnTo>
                      <a:pt x="861" y="110"/>
                    </a:lnTo>
                    <a:lnTo>
                      <a:pt x="858" y="110"/>
                    </a:lnTo>
                    <a:lnTo>
                      <a:pt x="855" y="108"/>
                    </a:lnTo>
                    <a:lnTo>
                      <a:pt x="852" y="110"/>
                    </a:lnTo>
                    <a:lnTo>
                      <a:pt x="849" y="111"/>
                    </a:lnTo>
                    <a:lnTo>
                      <a:pt x="849" y="112"/>
                    </a:lnTo>
                    <a:lnTo>
                      <a:pt x="849" y="112"/>
                    </a:lnTo>
                    <a:lnTo>
                      <a:pt x="849" y="115"/>
                    </a:lnTo>
                    <a:lnTo>
                      <a:pt x="849" y="117"/>
                    </a:lnTo>
                    <a:lnTo>
                      <a:pt x="846" y="117"/>
                    </a:lnTo>
                    <a:lnTo>
                      <a:pt x="843" y="115"/>
                    </a:lnTo>
                    <a:lnTo>
                      <a:pt x="838" y="111"/>
                    </a:lnTo>
                    <a:lnTo>
                      <a:pt x="836" y="108"/>
                    </a:lnTo>
                    <a:lnTo>
                      <a:pt x="835" y="105"/>
                    </a:lnTo>
                    <a:lnTo>
                      <a:pt x="835" y="105"/>
                    </a:lnTo>
                    <a:lnTo>
                      <a:pt x="832" y="102"/>
                    </a:lnTo>
                    <a:lnTo>
                      <a:pt x="829" y="101"/>
                    </a:lnTo>
                    <a:lnTo>
                      <a:pt x="816" y="95"/>
                    </a:lnTo>
                    <a:lnTo>
                      <a:pt x="799" y="88"/>
                    </a:lnTo>
                    <a:lnTo>
                      <a:pt x="792" y="84"/>
                    </a:lnTo>
                    <a:lnTo>
                      <a:pt x="784" y="78"/>
                    </a:lnTo>
                    <a:lnTo>
                      <a:pt x="784" y="78"/>
                    </a:lnTo>
                    <a:lnTo>
                      <a:pt x="777" y="73"/>
                    </a:lnTo>
                    <a:lnTo>
                      <a:pt x="769" y="70"/>
                    </a:lnTo>
                    <a:lnTo>
                      <a:pt x="764" y="68"/>
                    </a:lnTo>
                    <a:lnTo>
                      <a:pt x="760" y="70"/>
                    </a:lnTo>
                    <a:lnTo>
                      <a:pt x="755" y="70"/>
                    </a:lnTo>
                    <a:lnTo>
                      <a:pt x="754" y="71"/>
                    </a:lnTo>
                    <a:lnTo>
                      <a:pt x="754" y="74"/>
                    </a:lnTo>
                    <a:lnTo>
                      <a:pt x="757" y="74"/>
                    </a:lnTo>
                    <a:lnTo>
                      <a:pt x="757" y="74"/>
                    </a:lnTo>
                    <a:lnTo>
                      <a:pt x="762" y="77"/>
                    </a:lnTo>
                    <a:lnTo>
                      <a:pt x="765" y="80"/>
                    </a:lnTo>
                    <a:lnTo>
                      <a:pt x="764" y="80"/>
                    </a:lnTo>
                    <a:lnTo>
                      <a:pt x="764" y="81"/>
                    </a:lnTo>
                    <a:lnTo>
                      <a:pt x="758" y="81"/>
                    </a:lnTo>
                    <a:lnTo>
                      <a:pt x="758" y="81"/>
                    </a:lnTo>
                    <a:lnTo>
                      <a:pt x="750" y="81"/>
                    </a:lnTo>
                    <a:lnTo>
                      <a:pt x="744" y="83"/>
                    </a:lnTo>
                    <a:lnTo>
                      <a:pt x="741" y="84"/>
                    </a:lnTo>
                    <a:lnTo>
                      <a:pt x="741" y="84"/>
                    </a:lnTo>
                    <a:lnTo>
                      <a:pt x="742" y="87"/>
                    </a:lnTo>
                    <a:lnTo>
                      <a:pt x="747" y="88"/>
                    </a:lnTo>
                    <a:lnTo>
                      <a:pt x="747" y="88"/>
                    </a:lnTo>
                    <a:lnTo>
                      <a:pt x="751" y="90"/>
                    </a:lnTo>
                    <a:lnTo>
                      <a:pt x="752" y="91"/>
                    </a:lnTo>
                    <a:lnTo>
                      <a:pt x="752" y="93"/>
                    </a:lnTo>
                    <a:lnTo>
                      <a:pt x="751" y="94"/>
                    </a:lnTo>
                    <a:lnTo>
                      <a:pt x="742" y="95"/>
                    </a:lnTo>
                    <a:lnTo>
                      <a:pt x="734" y="95"/>
                    </a:lnTo>
                    <a:lnTo>
                      <a:pt x="734" y="95"/>
                    </a:lnTo>
                    <a:lnTo>
                      <a:pt x="730" y="97"/>
                    </a:lnTo>
                    <a:lnTo>
                      <a:pt x="727" y="98"/>
                    </a:lnTo>
                    <a:lnTo>
                      <a:pt x="725" y="101"/>
                    </a:lnTo>
                    <a:lnTo>
                      <a:pt x="725" y="104"/>
                    </a:lnTo>
                    <a:lnTo>
                      <a:pt x="725" y="107"/>
                    </a:lnTo>
                    <a:lnTo>
                      <a:pt x="728" y="110"/>
                    </a:lnTo>
                    <a:lnTo>
                      <a:pt x="731" y="112"/>
                    </a:lnTo>
                    <a:lnTo>
                      <a:pt x="737" y="114"/>
                    </a:lnTo>
                    <a:lnTo>
                      <a:pt x="737" y="114"/>
                    </a:lnTo>
                    <a:lnTo>
                      <a:pt x="741" y="115"/>
                    </a:lnTo>
                    <a:lnTo>
                      <a:pt x="744" y="117"/>
                    </a:lnTo>
                    <a:lnTo>
                      <a:pt x="744" y="118"/>
                    </a:lnTo>
                    <a:lnTo>
                      <a:pt x="742" y="120"/>
                    </a:lnTo>
                    <a:lnTo>
                      <a:pt x="741" y="121"/>
                    </a:lnTo>
                    <a:lnTo>
                      <a:pt x="737" y="122"/>
                    </a:lnTo>
                    <a:lnTo>
                      <a:pt x="733" y="122"/>
                    </a:lnTo>
                    <a:lnTo>
                      <a:pt x="728" y="121"/>
                    </a:lnTo>
                    <a:lnTo>
                      <a:pt x="728" y="121"/>
                    </a:lnTo>
                    <a:lnTo>
                      <a:pt x="720" y="121"/>
                    </a:lnTo>
                    <a:lnTo>
                      <a:pt x="718" y="121"/>
                    </a:lnTo>
                    <a:lnTo>
                      <a:pt x="715" y="122"/>
                    </a:lnTo>
                    <a:lnTo>
                      <a:pt x="715" y="124"/>
                    </a:lnTo>
                    <a:lnTo>
                      <a:pt x="717" y="125"/>
                    </a:lnTo>
                    <a:lnTo>
                      <a:pt x="723" y="130"/>
                    </a:lnTo>
                    <a:lnTo>
                      <a:pt x="723" y="130"/>
                    </a:lnTo>
                    <a:close/>
                    <a:moveTo>
                      <a:pt x="808" y="60"/>
                    </a:moveTo>
                    <a:lnTo>
                      <a:pt x="808" y="60"/>
                    </a:lnTo>
                    <a:lnTo>
                      <a:pt x="815" y="57"/>
                    </a:lnTo>
                    <a:lnTo>
                      <a:pt x="819" y="57"/>
                    </a:lnTo>
                    <a:lnTo>
                      <a:pt x="821" y="57"/>
                    </a:lnTo>
                    <a:lnTo>
                      <a:pt x="821" y="58"/>
                    </a:lnTo>
                    <a:lnTo>
                      <a:pt x="821" y="60"/>
                    </a:lnTo>
                    <a:lnTo>
                      <a:pt x="818" y="61"/>
                    </a:lnTo>
                    <a:lnTo>
                      <a:pt x="818" y="61"/>
                    </a:lnTo>
                    <a:lnTo>
                      <a:pt x="814" y="64"/>
                    </a:lnTo>
                    <a:lnTo>
                      <a:pt x="812" y="66"/>
                    </a:lnTo>
                    <a:lnTo>
                      <a:pt x="814" y="67"/>
                    </a:lnTo>
                    <a:lnTo>
                      <a:pt x="816" y="68"/>
                    </a:lnTo>
                    <a:lnTo>
                      <a:pt x="824" y="68"/>
                    </a:lnTo>
                    <a:lnTo>
                      <a:pt x="824" y="68"/>
                    </a:lnTo>
                    <a:lnTo>
                      <a:pt x="828" y="68"/>
                    </a:lnTo>
                    <a:lnTo>
                      <a:pt x="826" y="71"/>
                    </a:lnTo>
                    <a:lnTo>
                      <a:pt x="822" y="74"/>
                    </a:lnTo>
                    <a:lnTo>
                      <a:pt x="819" y="77"/>
                    </a:lnTo>
                    <a:lnTo>
                      <a:pt x="819" y="78"/>
                    </a:lnTo>
                    <a:lnTo>
                      <a:pt x="819" y="78"/>
                    </a:lnTo>
                    <a:lnTo>
                      <a:pt x="819" y="81"/>
                    </a:lnTo>
                    <a:lnTo>
                      <a:pt x="821" y="83"/>
                    </a:lnTo>
                    <a:lnTo>
                      <a:pt x="826" y="84"/>
                    </a:lnTo>
                    <a:lnTo>
                      <a:pt x="831" y="85"/>
                    </a:lnTo>
                    <a:lnTo>
                      <a:pt x="834" y="87"/>
                    </a:lnTo>
                    <a:lnTo>
                      <a:pt x="834" y="88"/>
                    </a:lnTo>
                    <a:lnTo>
                      <a:pt x="834" y="88"/>
                    </a:lnTo>
                    <a:lnTo>
                      <a:pt x="835" y="91"/>
                    </a:lnTo>
                    <a:lnTo>
                      <a:pt x="839" y="94"/>
                    </a:lnTo>
                    <a:lnTo>
                      <a:pt x="851" y="95"/>
                    </a:lnTo>
                    <a:lnTo>
                      <a:pt x="858" y="95"/>
                    </a:lnTo>
                    <a:lnTo>
                      <a:pt x="865" y="94"/>
                    </a:lnTo>
                    <a:lnTo>
                      <a:pt x="870" y="93"/>
                    </a:lnTo>
                    <a:lnTo>
                      <a:pt x="875" y="90"/>
                    </a:lnTo>
                    <a:lnTo>
                      <a:pt x="875" y="90"/>
                    </a:lnTo>
                    <a:lnTo>
                      <a:pt x="879" y="87"/>
                    </a:lnTo>
                    <a:lnTo>
                      <a:pt x="880" y="87"/>
                    </a:lnTo>
                    <a:lnTo>
                      <a:pt x="880" y="88"/>
                    </a:lnTo>
                    <a:lnTo>
                      <a:pt x="879" y="98"/>
                    </a:lnTo>
                    <a:lnTo>
                      <a:pt x="879" y="98"/>
                    </a:lnTo>
                    <a:lnTo>
                      <a:pt x="882" y="100"/>
                    </a:lnTo>
                    <a:lnTo>
                      <a:pt x="886" y="102"/>
                    </a:lnTo>
                    <a:lnTo>
                      <a:pt x="902" y="105"/>
                    </a:lnTo>
                    <a:lnTo>
                      <a:pt x="917" y="105"/>
                    </a:lnTo>
                    <a:lnTo>
                      <a:pt x="923" y="104"/>
                    </a:lnTo>
                    <a:lnTo>
                      <a:pt x="925" y="101"/>
                    </a:lnTo>
                    <a:lnTo>
                      <a:pt x="925" y="101"/>
                    </a:lnTo>
                    <a:lnTo>
                      <a:pt x="927" y="98"/>
                    </a:lnTo>
                    <a:lnTo>
                      <a:pt x="932" y="97"/>
                    </a:lnTo>
                    <a:lnTo>
                      <a:pt x="942" y="100"/>
                    </a:lnTo>
                    <a:lnTo>
                      <a:pt x="942" y="100"/>
                    </a:lnTo>
                    <a:lnTo>
                      <a:pt x="947" y="100"/>
                    </a:lnTo>
                    <a:lnTo>
                      <a:pt x="953" y="100"/>
                    </a:lnTo>
                    <a:lnTo>
                      <a:pt x="970" y="95"/>
                    </a:lnTo>
                    <a:lnTo>
                      <a:pt x="986" y="90"/>
                    </a:lnTo>
                    <a:lnTo>
                      <a:pt x="991" y="87"/>
                    </a:lnTo>
                    <a:lnTo>
                      <a:pt x="993" y="83"/>
                    </a:lnTo>
                    <a:lnTo>
                      <a:pt x="993" y="83"/>
                    </a:lnTo>
                    <a:lnTo>
                      <a:pt x="994" y="81"/>
                    </a:lnTo>
                    <a:lnTo>
                      <a:pt x="996" y="80"/>
                    </a:lnTo>
                    <a:lnTo>
                      <a:pt x="997" y="81"/>
                    </a:lnTo>
                    <a:lnTo>
                      <a:pt x="999" y="83"/>
                    </a:lnTo>
                    <a:lnTo>
                      <a:pt x="1000" y="85"/>
                    </a:lnTo>
                    <a:lnTo>
                      <a:pt x="999" y="90"/>
                    </a:lnTo>
                    <a:lnTo>
                      <a:pt x="997" y="93"/>
                    </a:lnTo>
                    <a:lnTo>
                      <a:pt x="993" y="97"/>
                    </a:lnTo>
                    <a:lnTo>
                      <a:pt x="993" y="97"/>
                    </a:lnTo>
                    <a:lnTo>
                      <a:pt x="987" y="100"/>
                    </a:lnTo>
                    <a:lnTo>
                      <a:pt x="981" y="102"/>
                    </a:lnTo>
                    <a:lnTo>
                      <a:pt x="966" y="104"/>
                    </a:lnTo>
                    <a:lnTo>
                      <a:pt x="952" y="107"/>
                    </a:lnTo>
                    <a:lnTo>
                      <a:pt x="940" y="108"/>
                    </a:lnTo>
                    <a:lnTo>
                      <a:pt x="940" y="108"/>
                    </a:lnTo>
                    <a:lnTo>
                      <a:pt x="937" y="110"/>
                    </a:lnTo>
                    <a:lnTo>
                      <a:pt x="937" y="111"/>
                    </a:lnTo>
                    <a:lnTo>
                      <a:pt x="939" y="114"/>
                    </a:lnTo>
                    <a:lnTo>
                      <a:pt x="942" y="117"/>
                    </a:lnTo>
                    <a:lnTo>
                      <a:pt x="960" y="130"/>
                    </a:lnTo>
                    <a:lnTo>
                      <a:pt x="960" y="130"/>
                    </a:lnTo>
                    <a:lnTo>
                      <a:pt x="963" y="132"/>
                    </a:lnTo>
                    <a:lnTo>
                      <a:pt x="963" y="134"/>
                    </a:lnTo>
                    <a:lnTo>
                      <a:pt x="960" y="134"/>
                    </a:lnTo>
                    <a:lnTo>
                      <a:pt x="956" y="134"/>
                    </a:lnTo>
                    <a:lnTo>
                      <a:pt x="944" y="130"/>
                    </a:lnTo>
                    <a:lnTo>
                      <a:pt x="939" y="125"/>
                    </a:lnTo>
                    <a:lnTo>
                      <a:pt x="933" y="121"/>
                    </a:lnTo>
                    <a:lnTo>
                      <a:pt x="933" y="121"/>
                    </a:lnTo>
                    <a:lnTo>
                      <a:pt x="929" y="118"/>
                    </a:lnTo>
                    <a:lnTo>
                      <a:pt x="923" y="115"/>
                    </a:lnTo>
                    <a:lnTo>
                      <a:pt x="916" y="112"/>
                    </a:lnTo>
                    <a:lnTo>
                      <a:pt x="909" y="111"/>
                    </a:lnTo>
                    <a:lnTo>
                      <a:pt x="895" y="110"/>
                    </a:lnTo>
                    <a:lnTo>
                      <a:pt x="883" y="110"/>
                    </a:lnTo>
                    <a:lnTo>
                      <a:pt x="883" y="110"/>
                    </a:lnTo>
                    <a:lnTo>
                      <a:pt x="879" y="111"/>
                    </a:lnTo>
                    <a:lnTo>
                      <a:pt x="876" y="114"/>
                    </a:lnTo>
                    <a:lnTo>
                      <a:pt x="875" y="118"/>
                    </a:lnTo>
                    <a:lnTo>
                      <a:pt x="875" y="124"/>
                    </a:lnTo>
                    <a:lnTo>
                      <a:pt x="876" y="128"/>
                    </a:lnTo>
                    <a:lnTo>
                      <a:pt x="878" y="132"/>
                    </a:lnTo>
                    <a:lnTo>
                      <a:pt x="880" y="135"/>
                    </a:lnTo>
                    <a:lnTo>
                      <a:pt x="883" y="135"/>
                    </a:lnTo>
                    <a:lnTo>
                      <a:pt x="883" y="135"/>
                    </a:lnTo>
                    <a:lnTo>
                      <a:pt x="892" y="137"/>
                    </a:lnTo>
                    <a:lnTo>
                      <a:pt x="899" y="139"/>
                    </a:lnTo>
                    <a:lnTo>
                      <a:pt x="906" y="145"/>
                    </a:lnTo>
                    <a:lnTo>
                      <a:pt x="913" y="155"/>
                    </a:lnTo>
                    <a:lnTo>
                      <a:pt x="913" y="155"/>
                    </a:lnTo>
                    <a:lnTo>
                      <a:pt x="917" y="159"/>
                    </a:lnTo>
                    <a:lnTo>
                      <a:pt x="923" y="164"/>
                    </a:lnTo>
                    <a:lnTo>
                      <a:pt x="933" y="168"/>
                    </a:lnTo>
                    <a:lnTo>
                      <a:pt x="942" y="171"/>
                    </a:lnTo>
                    <a:lnTo>
                      <a:pt x="944" y="172"/>
                    </a:lnTo>
                    <a:lnTo>
                      <a:pt x="944" y="174"/>
                    </a:lnTo>
                    <a:lnTo>
                      <a:pt x="944" y="174"/>
                    </a:lnTo>
                    <a:lnTo>
                      <a:pt x="943" y="176"/>
                    </a:lnTo>
                    <a:lnTo>
                      <a:pt x="940" y="176"/>
                    </a:lnTo>
                    <a:lnTo>
                      <a:pt x="929" y="174"/>
                    </a:lnTo>
                    <a:lnTo>
                      <a:pt x="915" y="169"/>
                    </a:lnTo>
                    <a:lnTo>
                      <a:pt x="902" y="165"/>
                    </a:lnTo>
                    <a:lnTo>
                      <a:pt x="902" y="165"/>
                    </a:lnTo>
                    <a:lnTo>
                      <a:pt x="895" y="165"/>
                    </a:lnTo>
                    <a:lnTo>
                      <a:pt x="889" y="165"/>
                    </a:lnTo>
                    <a:lnTo>
                      <a:pt x="882" y="168"/>
                    </a:lnTo>
                    <a:lnTo>
                      <a:pt x="875" y="169"/>
                    </a:lnTo>
                    <a:lnTo>
                      <a:pt x="869" y="172"/>
                    </a:lnTo>
                    <a:lnTo>
                      <a:pt x="865" y="176"/>
                    </a:lnTo>
                    <a:lnTo>
                      <a:pt x="862" y="179"/>
                    </a:lnTo>
                    <a:lnTo>
                      <a:pt x="861" y="184"/>
                    </a:lnTo>
                    <a:lnTo>
                      <a:pt x="861" y="184"/>
                    </a:lnTo>
                    <a:lnTo>
                      <a:pt x="861" y="188"/>
                    </a:lnTo>
                    <a:lnTo>
                      <a:pt x="863" y="191"/>
                    </a:lnTo>
                    <a:lnTo>
                      <a:pt x="868" y="192"/>
                    </a:lnTo>
                    <a:lnTo>
                      <a:pt x="873" y="192"/>
                    </a:lnTo>
                    <a:lnTo>
                      <a:pt x="886" y="191"/>
                    </a:lnTo>
                    <a:lnTo>
                      <a:pt x="893" y="188"/>
                    </a:lnTo>
                    <a:lnTo>
                      <a:pt x="899" y="185"/>
                    </a:lnTo>
                    <a:lnTo>
                      <a:pt x="899" y="185"/>
                    </a:lnTo>
                    <a:lnTo>
                      <a:pt x="906" y="182"/>
                    </a:lnTo>
                    <a:lnTo>
                      <a:pt x="906" y="182"/>
                    </a:lnTo>
                    <a:lnTo>
                      <a:pt x="906" y="184"/>
                    </a:lnTo>
                    <a:lnTo>
                      <a:pt x="895" y="195"/>
                    </a:lnTo>
                    <a:lnTo>
                      <a:pt x="895" y="195"/>
                    </a:lnTo>
                    <a:lnTo>
                      <a:pt x="893" y="198"/>
                    </a:lnTo>
                    <a:lnTo>
                      <a:pt x="895" y="201"/>
                    </a:lnTo>
                    <a:lnTo>
                      <a:pt x="902" y="205"/>
                    </a:lnTo>
                    <a:lnTo>
                      <a:pt x="910" y="211"/>
                    </a:lnTo>
                    <a:lnTo>
                      <a:pt x="913" y="213"/>
                    </a:lnTo>
                    <a:lnTo>
                      <a:pt x="913" y="216"/>
                    </a:lnTo>
                    <a:lnTo>
                      <a:pt x="913" y="216"/>
                    </a:lnTo>
                    <a:lnTo>
                      <a:pt x="913" y="219"/>
                    </a:lnTo>
                    <a:lnTo>
                      <a:pt x="910" y="221"/>
                    </a:lnTo>
                    <a:lnTo>
                      <a:pt x="907" y="222"/>
                    </a:lnTo>
                    <a:lnTo>
                      <a:pt x="903" y="221"/>
                    </a:lnTo>
                    <a:lnTo>
                      <a:pt x="896" y="219"/>
                    </a:lnTo>
                    <a:lnTo>
                      <a:pt x="893" y="216"/>
                    </a:lnTo>
                    <a:lnTo>
                      <a:pt x="892" y="213"/>
                    </a:lnTo>
                    <a:lnTo>
                      <a:pt x="892" y="213"/>
                    </a:lnTo>
                    <a:lnTo>
                      <a:pt x="889" y="208"/>
                    </a:lnTo>
                    <a:lnTo>
                      <a:pt x="885" y="203"/>
                    </a:lnTo>
                    <a:lnTo>
                      <a:pt x="876" y="201"/>
                    </a:lnTo>
                    <a:lnTo>
                      <a:pt x="865" y="199"/>
                    </a:lnTo>
                    <a:lnTo>
                      <a:pt x="865" y="199"/>
                    </a:lnTo>
                    <a:lnTo>
                      <a:pt x="859" y="201"/>
                    </a:lnTo>
                    <a:lnTo>
                      <a:pt x="855" y="202"/>
                    </a:lnTo>
                    <a:lnTo>
                      <a:pt x="853" y="205"/>
                    </a:lnTo>
                    <a:lnTo>
                      <a:pt x="852" y="208"/>
                    </a:lnTo>
                    <a:lnTo>
                      <a:pt x="853" y="211"/>
                    </a:lnTo>
                    <a:lnTo>
                      <a:pt x="855" y="212"/>
                    </a:lnTo>
                    <a:lnTo>
                      <a:pt x="859" y="215"/>
                    </a:lnTo>
                    <a:lnTo>
                      <a:pt x="862" y="215"/>
                    </a:lnTo>
                    <a:lnTo>
                      <a:pt x="862" y="215"/>
                    </a:lnTo>
                    <a:lnTo>
                      <a:pt x="869" y="218"/>
                    </a:lnTo>
                    <a:lnTo>
                      <a:pt x="870" y="219"/>
                    </a:lnTo>
                    <a:lnTo>
                      <a:pt x="870" y="221"/>
                    </a:lnTo>
                    <a:lnTo>
                      <a:pt x="870" y="222"/>
                    </a:lnTo>
                    <a:lnTo>
                      <a:pt x="869" y="223"/>
                    </a:lnTo>
                    <a:lnTo>
                      <a:pt x="866" y="225"/>
                    </a:lnTo>
                    <a:lnTo>
                      <a:pt x="862" y="225"/>
                    </a:lnTo>
                    <a:lnTo>
                      <a:pt x="862" y="225"/>
                    </a:lnTo>
                    <a:lnTo>
                      <a:pt x="851" y="226"/>
                    </a:lnTo>
                    <a:lnTo>
                      <a:pt x="838" y="231"/>
                    </a:lnTo>
                    <a:lnTo>
                      <a:pt x="832" y="233"/>
                    </a:lnTo>
                    <a:lnTo>
                      <a:pt x="829" y="236"/>
                    </a:lnTo>
                    <a:lnTo>
                      <a:pt x="828" y="239"/>
                    </a:lnTo>
                    <a:lnTo>
                      <a:pt x="829" y="242"/>
                    </a:lnTo>
                    <a:lnTo>
                      <a:pt x="829" y="242"/>
                    </a:lnTo>
                    <a:lnTo>
                      <a:pt x="834" y="245"/>
                    </a:lnTo>
                    <a:lnTo>
                      <a:pt x="841" y="246"/>
                    </a:lnTo>
                    <a:lnTo>
                      <a:pt x="856" y="246"/>
                    </a:lnTo>
                    <a:lnTo>
                      <a:pt x="872" y="246"/>
                    </a:lnTo>
                    <a:lnTo>
                      <a:pt x="878" y="246"/>
                    </a:lnTo>
                    <a:lnTo>
                      <a:pt x="882" y="248"/>
                    </a:lnTo>
                    <a:lnTo>
                      <a:pt x="882" y="248"/>
                    </a:lnTo>
                    <a:lnTo>
                      <a:pt x="888" y="250"/>
                    </a:lnTo>
                    <a:lnTo>
                      <a:pt x="896" y="253"/>
                    </a:lnTo>
                    <a:lnTo>
                      <a:pt x="905" y="252"/>
                    </a:lnTo>
                    <a:lnTo>
                      <a:pt x="907" y="250"/>
                    </a:lnTo>
                    <a:lnTo>
                      <a:pt x="910" y="249"/>
                    </a:lnTo>
                    <a:lnTo>
                      <a:pt x="910" y="249"/>
                    </a:lnTo>
                    <a:lnTo>
                      <a:pt x="912" y="248"/>
                    </a:lnTo>
                    <a:lnTo>
                      <a:pt x="915" y="246"/>
                    </a:lnTo>
                    <a:lnTo>
                      <a:pt x="923" y="245"/>
                    </a:lnTo>
                    <a:lnTo>
                      <a:pt x="943" y="245"/>
                    </a:lnTo>
                    <a:lnTo>
                      <a:pt x="943" y="245"/>
                    </a:lnTo>
                    <a:lnTo>
                      <a:pt x="952" y="246"/>
                    </a:lnTo>
                    <a:lnTo>
                      <a:pt x="957" y="248"/>
                    </a:lnTo>
                    <a:lnTo>
                      <a:pt x="963" y="249"/>
                    </a:lnTo>
                    <a:lnTo>
                      <a:pt x="967" y="253"/>
                    </a:lnTo>
                    <a:lnTo>
                      <a:pt x="967" y="253"/>
                    </a:lnTo>
                    <a:lnTo>
                      <a:pt x="973" y="256"/>
                    </a:lnTo>
                    <a:lnTo>
                      <a:pt x="979" y="256"/>
                    </a:lnTo>
                    <a:lnTo>
                      <a:pt x="986" y="255"/>
                    </a:lnTo>
                    <a:lnTo>
                      <a:pt x="993" y="250"/>
                    </a:lnTo>
                    <a:lnTo>
                      <a:pt x="993" y="250"/>
                    </a:lnTo>
                    <a:lnTo>
                      <a:pt x="1001" y="246"/>
                    </a:lnTo>
                    <a:lnTo>
                      <a:pt x="1010" y="245"/>
                    </a:lnTo>
                    <a:lnTo>
                      <a:pt x="1010" y="245"/>
                    </a:lnTo>
                    <a:lnTo>
                      <a:pt x="1017" y="245"/>
                    </a:lnTo>
                    <a:lnTo>
                      <a:pt x="1020" y="240"/>
                    </a:lnTo>
                    <a:lnTo>
                      <a:pt x="1020" y="236"/>
                    </a:lnTo>
                    <a:lnTo>
                      <a:pt x="1017" y="231"/>
                    </a:lnTo>
                    <a:lnTo>
                      <a:pt x="1017" y="231"/>
                    </a:lnTo>
                    <a:lnTo>
                      <a:pt x="1016" y="229"/>
                    </a:lnTo>
                    <a:lnTo>
                      <a:pt x="1013" y="229"/>
                    </a:lnTo>
                    <a:lnTo>
                      <a:pt x="1007" y="231"/>
                    </a:lnTo>
                    <a:lnTo>
                      <a:pt x="1001" y="232"/>
                    </a:lnTo>
                    <a:lnTo>
                      <a:pt x="1000" y="232"/>
                    </a:lnTo>
                    <a:lnTo>
                      <a:pt x="999" y="231"/>
                    </a:lnTo>
                    <a:lnTo>
                      <a:pt x="999" y="231"/>
                    </a:lnTo>
                    <a:lnTo>
                      <a:pt x="997" y="229"/>
                    </a:lnTo>
                    <a:lnTo>
                      <a:pt x="996" y="226"/>
                    </a:lnTo>
                    <a:lnTo>
                      <a:pt x="989" y="225"/>
                    </a:lnTo>
                    <a:lnTo>
                      <a:pt x="979" y="223"/>
                    </a:lnTo>
                    <a:lnTo>
                      <a:pt x="964" y="225"/>
                    </a:lnTo>
                    <a:lnTo>
                      <a:pt x="964" y="225"/>
                    </a:lnTo>
                    <a:lnTo>
                      <a:pt x="959" y="225"/>
                    </a:lnTo>
                    <a:lnTo>
                      <a:pt x="954" y="223"/>
                    </a:lnTo>
                    <a:lnTo>
                      <a:pt x="953" y="222"/>
                    </a:lnTo>
                    <a:lnTo>
                      <a:pt x="953" y="219"/>
                    </a:lnTo>
                    <a:lnTo>
                      <a:pt x="954" y="218"/>
                    </a:lnTo>
                    <a:lnTo>
                      <a:pt x="957" y="216"/>
                    </a:lnTo>
                    <a:lnTo>
                      <a:pt x="962" y="215"/>
                    </a:lnTo>
                    <a:lnTo>
                      <a:pt x="966" y="215"/>
                    </a:lnTo>
                    <a:lnTo>
                      <a:pt x="966" y="215"/>
                    </a:lnTo>
                    <a:lnTo>
                      <a:pt x="976" y="218"/>
                    </a:lnTo>
                    <a:lnTo>
                      <a:pt x="986" y="218"/>
                    </a:lnTo>
                    <a:lnTo>
                      <a:pt x="997" y="216"/>
                    </a:lnTo>
                    <a:lnTo>
                      <a:pt x="1007" y="213"/>
                    </a:lnTo>
                    <a:lnTo>
                      <a:pt x="1007" y="213"/>
                    </a:lnTo>
                    <a:lnTo>
                      <a:pt x="1011" y="212"/>
                    </a:lnTo>
                    <a:lnTo>
                      <a:pt x="1014" y="211"/>
                    </a:lnTo>
                    <a:lnTo>
                      <a:pt x="1014" y="209"/>
                    </a:lnTo>
                    <a:lnTo>
                      <a:pt x="1014" y="206"/>
                    </a:lnTo>
                    <a:lnTo>
                      <a:pt x="1011" y="202"/>
                    </a:lnTo>
                    <a:lnTo>
                      <a:pt x="1010" y="198"/>
                    </a:lnTo>
                    <a:lnTo>
                      <a:pt x="1010" y="198"/>
                    </a:lnTo>
                    <a:lnTo>
                      <a:pt x="1011" y="196"/>
                    </a:lnTo>
                    <a:lnTo>
                      <a:pt x="1013" y="195"/>
                    </a:lnTo>
                    <a:lnTo>
                      <a:pt x="1020" y="195"/>
                    </a:lnTo>
                    <a:lnTo>
                      <a:pt x="1040" y="196"/>
                    </a:lnTo>
                    <a:lnTo>
                      <a:pt x="1040" y="196"/>
                    </a:lnTo>
                    <a:lnTo>
                      <a:pt x="1045" y="195"/>
                    </a:lnTo>
                    <a:lnTo>
                      <a:pt x="1051" y="194"/>
                    </a:lnTo>
                    <a:lnTo>
                      <a:pt x="1055" y="189"/>
                    </a:lnTo>
                    <a:lnTo>
                      <a:pt x="1061" y="185"/>
                    </a:lnTo>
                    <a:lnTo>
                      <a:pt x="1068" y="174"/>
                    </a:lnTo>
                    <a:lnTo>
                      <a:pt x="1071" y="168"/>
                    </a:lnTo>
                    <a:lnTo>
                      <a:pt x="1073" y="164"/>
                    </a:lnTo>
                    <a:lnTo>
                      <a:pt x="1073" y="164"/>
                    </a:lnTo>
                    <a:lnTo>
                      <a:pt x="1071" y="159"/>
                    </a:lnTo>
                    <a:lnTo>
                      <a:pt x="1068" y="157"/>
                    </a:lnTo>
                    <a:lnTo>
                      <a:pt x="1063" y="155"/>
                    </a:lnTo>
                    <a:lnTo>
                      <a:pt x="1057" y="154"/>
                    </a:lnTo>
                    <a:lnTo>
                      <a:pt x="1043" y="154"/>
                    </a:lnTo>
                    <a:lnTo>
                      <a:pt x="1030" y="154"/>
                    </a:lnTo>
                    <a:lnTo>
                      <a:pt x="1030" y="154"/>
                    </a:lnTo>
                    <a:lnTo>
                      <a:pt x="1026" y="154"/>
                    </a:lnTo>
                    <a:lnTo>
                      <a:pt x="1026" y="152"/>
                    </a:lnTo>
                    <a:lnTo>
                      <a:pt x="1028" y="151"/>
                    </a:lnTo>
                    <a:lnTo>
                      <a:pt x="1033" y="149"/>
                    </a:lnTo>
                    <a:lnTo>
                      <a:pt x="1047" y="147"/>
                    </a:lnTo>
                    <a:lnTo>
                      <a:pt x="1055" y="145"/>
                    </a:lnTo>
                    <a:lnTo>
                      <a:pt x="1065" y="145"/>
                    </a:lnTo>
                    <a:lnTo>
                      <a:pt x="1065" y="145"/>
                    </a:lnTo>
                    <a:lnTo>
                      <a:pt x="1074" y="145"/>
                    </a:lnTo>
                    <a:lnTo>
                      <a:pt x="1080" y="144"/>
                    </a:lnTo>
                    <a:lnTo>
                      <a:pt x="1082" y="142"/>
                    </a:lnTo>
                    <a:lnTo>
                      <a:pt x="1084" y="139"/>
                    </a:lnTo>
                    <a:lnTo>
                      <a:pt x="1084" y="134"/>
                    </a:lnTo>
                    <a:lnTo>
                      <a:pt x="1085" y="132"/>
                    </a:lnTo>
                    <a:lnTo>
                      <a:pt x="1085" y="130"/>
                    </a:lnTo>
                    <a:lnTo>
                      <a:pt x="1085" y="130"/>
                    </a:lnTo>
                    <a:lnTo>
                      <a:pt x="1088" y="130"/>
                    </a:lnTo>
                    <a:lnTo>
                      <a:pt x="1091" y="130"/>
                    </a:lnTo>
                    <a:lnTo>
                      <a:pt x="1098" y="131"/>
                    </a:lnTo>
                    <a:lnTo>
                      <a:pt x="1107" y="132"/>
                    </a:lnTo>
                    <a:lnTo>
                      <a:pt x="1112" y="132"/>
                    </a:lnTo>
                    <a:lnTo>
                      <a:pt x="1117" y="132"/>
                    </a:lnTo>
                    <a:lnTo>
                      <a:pt x="1117" y="132"/>
                    </a:lnTo>
                    <a:lnTo>
                      <a:pt x="1121" y="131"/>
                    </a:lnTo>
                    <a:lnTo>
                      <a:pt x="1124" y="130"/>
                    </a:lnTo>
                    <a:lnTo>
                      <a:pt x="1125" y="124"/>
                    </a:lnTo>
                    <a:lnTo>
                      <a:pt x="1127" y="120"/>
                    </a:lnTo>
                    <a:lnTo>
                      <a:pt x="1128" y="118"/>
                    </a:lnTo>
                    <a:lnTo>
                      <a:pt x="1131" y="118"/>
                    </a:lnTo>
                    <a:lnTo>
                      <a:pt x="1131" y="118"/>
                    </a:lnTo>
                    <a:lnTo>
                      <a:pt x="1137" y="117"/>
                    </a:lnTo>
                    <a:lnTo>
                      <a:pt x="1148" y="111"/>
                    </a:lnTo>
                    <a:lnTo>
                      <a:pt x="1181" y="91"/>
                    </a:lnTo>
                    <a:lnTo>
                      <a:pt x="1181" y="91"/>
                    </a:lnTo>
                    <a:lnTo>
                      <a:pt x="1192" y="87"/>
                    </a:lnTo>
                    <a:lnTo>
                      <a:pt x="1202" y="83"/>
                    </a:lnTo>
                    <a:lnTo>
                      <a:pt x="1218" y="78"/>
                    </a:lnTo>
                    <a:lnTo>
                      <a:pt x="1229" y="74"/>
                    </a:lnTo>
                    <a:lnTo>
                      <a:pt x="1233" y="71"/>
                    </a:lnTo>
                    <a:lnTo>
                      <a:pt x="1235" y="68"/>
                    </a:lnTo>
                    <a:lnTo>
                      <a:pt x="1235" y="68"/>
                    </a:lnTo>
                    <a:lnTo>
                      <a:pt x="1235" y="67"/>
                    </a:lnTo>
                    <a:lnTo>
                      <a:pt x="1233" y="67"/>
                    </a:lnTo>
                    <a:lnTo>
                      <a:pt x="1229" y="66"/>
                    </a:lnTo>
                    <a:lnTo>
                      <a:pt x="1213" y="66"/>
                    </a:lnTo>
                    <a:lnTo>
                      <a:pt x="1198" y="67"/>
                    </a:lnTo>
                    <a:lnTo>
                      <a:pt x="1191" y="67"/>
                    </a:lnTo>
                    <a:lnTo>
                      <a:pt x="1186" y="66"/>
                    </a:lnTo>
                    <a:lnTo>
                      <a:pt x="1186" y="66"/>
                    </a:lnTo>
                    <a:lnTo>
                      <a:pt x="1186" y="66"/>
                    </a:lnTo>
                    <a:lnTo>
                      <a:pt x="1186" y="66"/>
                    </a:lnTo>
                    <a:lnTo>
                      <a:pt x="1189" y="63"/>
                    </a:lnTo>
                    <a:lnTo>
                      <a:pt x="1199" y="60"/>
                    </a:lnTo>
                    <a:lnTo>
                      <a:pt x="1213" y="57"/>
                    </a:lnTo>
                    <a:lnTo>
                      <a:pt x="1225" y="57"/>
                    </a:lnTo>
                    <a:lnTo>
                      <a:pt x="1225" y="57"/>
                    </a:lnTo>
                    <a:lnTo>
                      <a:pt x="1232" y="58"/>
                    </a:lnTo>
                    <a:lnTo>
                      <a:pt x="1242" y="57"/>
                    </a:lnTo>
                    <a:lnTo>
                      <a:pt x="1255" y="51"/>
                    </a:lnTo>
                    <a:lnTo>
                      <a:pt x="1273" y="43"/>
                    </a:lnTo>
                    <a:lnTo>
                      <a:pt x="1273" y="43"/>
                    </a:lnTo>
                    <a:lnTo>
                      <a:pt x="1283" y="38"/>
                    </a:lnTo>
                    <a:lnTo>
                      <a:pt x="1289" y="34"/>
                    </a:lnTo>
                    <a:lnTo>
                      <a:pt x="1292" y="31"/>
                    </a:lnTo>
                    <a:lnTo>
                      <a:pt x="1292" y="30"/>
                    </a:lnTo>
                    <a:lnTo>
                      <a:pt x="1290" y="29"/>
                    </a:lnTo>
                    <a:lnTo>
                      <a:pt x="1286" y="27"/>
                    </a:lnTo>
                    <a:lnTo>
                      <a:pt x="1277" y="27"/>
                    </a:lnTo>
                    <a:lnTo>
                      <a:pt x="1277" y="27"/>
                    </a:lnTo>
                    <a:lnTo>
                      <a:pt x="1269" y="29"/>
                    </a:lnTo>
                    <a:lnTo>
                      <a:pt x="1260" y="27"/>
                    </a:lnTo>
                    <a:lnTo>
                      <a:pt x="1255" y="23"/>
                    </a:lnTo>
                    <a:lnTo>
                      <a:pt x="1253" y="20"/>
                    </a:lnTo>
                    <a:lnTo>
                      <a:pt x="1253" y="17"/>
                    </a:lnTo>
                    <a:lnTo>
                      <a:pt x="1253" y="17"/>
                    </a:lnTo>
                    <a:lnTo>
                      <a:pt x="1252" y="16"/>
                    </a:lnTo>
                    <a:lnTo>
                      <a:pt x="1250" y="14"/>
                    </a:lnTo>
                    <a:lnTo>
                      <a:pt x="1245" y="14"/>
                    </a:lnTo>
                    <a:lnTo>
                      <a:pt x="1238" y="14"/>
                    </a:lnTo>
                    <a:lnTo>
                      <a:pt x="1236" y="14"/>
                    </a:lnTo>
                    <a:lnTo>
                      <a:pt x="1235" y="13"/>
                    </a:lnTo>
                    <a:lnTo>
                      <a:pt x="1235" y="13"/>
                    </a:lnTo>
                    <a:lnTo>
                      <a:pt x="1233" y="11"/>
                    </a:lnTo>
                    <a:lnTo>
                      <a:pt x="1230" y="10"/>
                    </a:lnTo>
                    <a:lnTo>
                      <a:pt x="1223" y="11"/>
                    </a:lnTo>
                    <a:lnTo>
                      <a:pt x="1212" y="13"/>
                    </a:lnTo>
                    <a:lnTo>
                      <a:pt x="1198" y="17"/>
                    </a:lnTo>
                    <a:lnTo>
                      <a:pt x="1198" y="17"/>
                    </a:lnTo>
                    <a:lnTo>
                      <a:pt x="1193" y="20"/>
                    </a:lnTo>
                    <a:lnTo>
                      <a:pt x="1191" y="20"/>
                    </a:lnTo>
                    <a:lnTo>
                      <a:pt x="1191" y="19"/>
                    </a:lnTo>
                    <a:lnTo>
                      <a:pt x="1192" y="17"/>
                    </a:lnTo>
                    <a:lnTo>
                      <a:pt x="1198" y="11"/>
                    </a:lnTo>
                    <a:lnTo>
                      <a:pt x="1205" y="7"/>
                    </a:lnTo>
                    <a:lnTo>
                      <a:pt x="1205" y="7"/>
                    </a:lnTo>
                    <a:lnTo>
                      <a:pt x="1205" y="7"/>
                    </a:lnTo>
                    <a:lnTo>
                      <a:pt x="1205" y="7"/>
                    </a:lnTo>
                    <a:lnTo>
                      <a:pt x="1201" y="6"/>
                    </a:lnTo>
                    <a:lnTo>
                      <a:pt x="1183" y="6"/>
                    </a:lnTo>
                    <a:lnTo>
                      <a:pt x="1162" y="4"/>
                    </a:lnTo>
                    <a:lnTo>
                      <a:pt x="1154" y="3"/>
                    </a:lnTo>
                    <a:lnTo>
                      <a:pt x="1148" y="1"/>
                    </a:lnTo>
                    <a:lnTo>
                      <a:pt x="1148" y="1"/>
                    </a:lnTo>
                    <a:lnTo>
                      <a:pt x="1145" y="0"/>
                    </a:lnTo>
                    <a:lnTo>
                      <a:pt x="1141" y="0"/>
                    </a:lnTo>
                    <a:lnTo>
                      <a:pt x="1134" y="3"/>
                    </a:lnTo>
                    <a:lnTo>
                      <a:pt x="1127" y="6"/>
                    </a:lnTo>
                    <a:lnTo>
                      <a:pt x="1124" y="6"/>
                    </a:lnTo>
                    <a:lnTo>
                      <a:pt x="1119" y="3"/>
                    </a:lnTo>
                    <a:lnTo>
                      <a:pt x="1119" y="3"/>
                    </a:lnTo>
                    <a:lnTo>
                      <a:pt x="1117" y="1"/>
                    </a:lnTo>
                    <a:lnTo>
                      <a:pt x="1111" y="0"/>
                    </a:lnTo>
                    <a:lnTo>
                      <a:pt x="1107" y="0"/>
                    </a:lnTo>
                    <a:lnTo>
                      <a:pt x="1102" y="0"/>
                    </a:lnTo>
                    <a:lnTo>
                      <a:pt x="1098" y="1"/>
                    </a:lnTo>
                    <a:lnTo>
                      <a:pt x="1094" y="4"/>
                    </a:lnTo>
                    <a:lnTo>
                      <a:pt x="1092" y="6"/>
                    </a:lnTo>
                    <a:lnTo>
                      <a:pt x="1092" y="9"/>
                    </a:lnTo>
                    <a:lnTo>
                      <a:pt x="1092" y="9"/>
                    </a:lnTo>
                    <a:lnTo>
                      <a:pt x="1092" y="11"/>
                    </a:lnTo>
                    <a:lnTo>
                      <a:pt x="1091" y="13"/>
                    </a:lnTo>
                    <a:lnTo>
                      <a:pt x="1085" y="11"/>
                    </a:lnTo>
                    <a:lnTo>
                      <a:pt x="1080" y="7"/>
                    </a:lnTo>
                    <a:lnTo>
                      <a:pt x="1080" y="7"/>
                    </a:lnTo>
                    <a:lnTo>
                      <a:pt x="1077" y="6"/>
                    </a:lnTo>
                    <a:lnTo>
                      <a:pt x="1073" y="4"/>
                    </a:lnTo>
                    <a:lnTo>
                      <a:pt x="1063" y="6"/>
                    </a:lnTo>
                    <a:lnTo>
                      <a:pt x="1051" y="6"/>
                    </a:lnTo>
                    <a:lnTo>
                      <a:pt x="1040" y="6"/>
                    </a:lnTo>
                    <a:lnTo>
                      <a:pt x="1040" y="6"/>
                    </a:lnTo>
                    <a:lnTo>
                      <a:pt x="1036" y="6"/>
                    </a:lnTo>
                    <a:lnTo>
                      <a:pt x="1033" y="7"/>
                    </a:lnTo>
                    <a:lnTo>
                      <a:pt x="1028" y="10"/>
                    </a:lnTo>
                    <a:lnTo>
                      <a:pt x="1027" y="13"/>
                    </a:lnTo>
                    <a:lnTo>
                      <a:pt x="1024" y="13"/>
                    </a:lnTo>
                    <a:lnTo>
                      <a:pt x="1020" y="13"/>
                    </a:lnTo>
                    <a:lnTo>
                      <a:pt x="1016" y="11"/>
                    </a:lnTo>
                    <a:lnTo>
                      <a:pt x="1016" y="11"/>
                    </a:lnTo>
                    <a:lnTo>
                      <a:pt x="1010" y="9"/>
                    </a:lnTo>
                    <a:lnTo>
                      <a:pt x="1003" y="7"/>
                    </a:lnTo>
                    <a:lnTo>
                      <a:pt x="993" y="7"/>
                    </a:lnTo>
                    <a:lnTo>
                      <a:pt x="986" y="9"/>
                    </a:lnTo>
                    <a:lnTo>
                      <a:pt x="986" y="9"/>
                    </a:lnTo>
                    <a:lnTo>
                      <a:pt x="986" y="10"/>
                    </a:lnTo>
                    <a:lnTo>
                      <a:pt x="986" y="10"/>
                    </a:lnTo>
                    <a:lnTo>
                      <a:pt x="989" y="11"/>
                    </a:lnTo>
                    <a:lnTo>
                      <a:pt x="987" y="14"/>
                    </a:lnTo>
                    <a:lnTo>
                      <a:pt x="983" y="14"/>
                    </a:lnTo>
                    <a:lnTo>
                      <a:pt x="977" y="14"/>
                    </a:lnTo>
                    <a:lnTo>
                      <a:pt x="977" y="14"/>
                    </a:lnTo>
                    <a:lnTo>
                      <a:pt x="973" y="13"/>
                    </a:lnTo>
                    <a:lnTo>
                      <a:pt x="969" y="14"/>
                    </a:lnTo>
                    <a:lnTo>
                      <a:pt x="967" y="17"/>
                    </a:lnTo>
                    <a:lnTo>
                      <a:pt x="967" y="21"/>
                    </a:lnTo>
                    <a:lnTo>
                      <a:pt x="967" y="21"/>
                    </a:lnTo>
                    <a:lnTo>
                      <a:pt x="967" y="24"/>
                    </a:lnTo>
                    <a:lnTo>
                      <a:pt x="966" y="24"/>
                    </a:lnTo>
                    <a:lnTo>
                      <a:pt x="956" y="24"/>
                    </a:lnTo>
                    <a:lnTo>
                      <a:pt x="946" y="24"/>
                    </a:lnTo>
                    <a:lnTo>
                      <a:pt x="943" y="26"/>
                    </a:lnTo>
                    <a:lnTo>
                      <a:pt x="942" y="27"/>
                    </a:lnTo>
                    <a:lnTo>
                      <a:pt x="942" y="27"/>
                    </a:lnTo>
                    <a:lnTo>
                      <a:pt x="942" y="30"/>
                    </a:lnTo>
                    <a:lnTo>
                      <a:pt x="940" y="33"/>
                    </a:lnTo>
                    <a:lnTo>
                      <a:pt x="935" y="36"/>
                    </a:lnTo>
                    <a:lnTo>
                      <a:pt x="929" y="36"/>
                    </a:lnTo>
                    <a:lnTo>
                      <a:pt x="926" y="34"/>
                    </a:lnTo>
                    <a:lnTo>
                      <a:pt x="922" y="33"/>
                    </a:lnTo>
                    <a:lnTo>
                      <a:pt x="922" y="33"/>
                    </a:lnTo>
                    <a:lnTo>
                      <a:pt x="919" y="30"/>
                    </a:lnTo>
                    <a:lnTo>
                      <a:pt x="913" y="29"/>
                    </a:lnTo>
                    <a:lnTo>
                      <a:pt x="902" y="26"/>
                    </a:lnTo>
                    <a:lnTo>
                      <a:pt x="895" y="27"/>
                    </a:lnTo>
                    <a:lnTo>
                      <a:pt x="893" y="29"/>
                    </a:lnTo>
                    <a:lnTo>
                      <a:pt x="895" y="30"/>
                    </a:lnTo>
                    <a:lnTo>
                      <a:pt x="895" y="30"/>
                    </a:lnTo>
                    <a:lnTo>
                      <a:pt x="896" y="31"/>
                    </a:lnTo>
                    <a:lnTo>
                      <a:pt x="895" y="33"/>
                    </a:lnTo>
                    <a:lnTo>
                      <a:pt x="886" y="34"/>
                    </a:lnTo>
                    <a:lnTo>
                      <a:pt x="879" y="36"/>
                    </a:lnTo>
                    <a:lnTo>
                      <a:pt x="878" y="37"/>
                    </a:lnTo>
                    <a:lnTo>
                      <a:pt x="879" y="38"/>
                    </a:lnTo>
                    <a:lnTo>
                      <a:pt x="879" y="38"/>
                    </a:lnTo>
                    <a:lnTo>
                      <a:pt x="880" y="41"/>
                    </a:lnTo>
                    <a:lnTo>
                      <a:pt x="880" y="44"/>
                    </a:lnTo>
                    <a:lnTo>
                      <a:pt x="879" y="46"/>
                    </a:lnTo>
                    <a:lnTo>
                      <a:pt x="876" y="47"/>
                    </a:lnTo>
                    <a:lnTo>
                      <a:pt x="870" y="48"/>
                    </a:lnTo>
                    <a:lnTo>
                      <a:pt x="869" y="48"/>
                    </a:lnTo>
                    <a:lnTo>
                      <a:pt x="868" y="47"/>
                    </a:lnTo>
                    <a:lnTo>
                      <a:pt x="868" y="47"/>
                    </a:lnTo>
                    <a:lnTo>
                      <a:pt x="868" y="46"/>
                    </a:lnTo>
                    <a:lnTo>
                      <a:pt x="865" y="44"/>
                    </a:lnTo>
                    <a:lnTo>
                      <a:pt x="858" y="41"/>
                    </a:lnTo>
                    <a:lnTo>
                      <a:pt x="851" y="41"/>
                    </a:lnTo>
                    <a:lnTo>
                      <a:pt x="846" y="41"/>
                    </a:lnTo>
                    <a:lnTo>
                      <a:pt x="843" y="43"/>
                    </a:lnTo>
                    <a:lnTo>
                      <a:pt x="843" y="43"/>
                    </a:lnTo>
                    <a:lnTo>
                      <a:pt x="839" y="48"/>
                    </a:lnTo>
                    <a:lnTo>
                      <a:pt x="835" y="53"/>
                    </a:lnTo>
                    <a:lnTo>
                      <a:pt x="834" y="54"/>
                    </a:lnTo>
                    <a:lnTo>
                      <a:pt x="832" y="54"/>
                    </a:lnTo>
                    <a:lnTo>
                      <a:pt x="831" y="53"/>
                    </a:lnTo>
                    <a:lnTo>
                      <a:pt x="831" y="53"/>
                    </a:lnTo>
                    <a:lnTo>
                      <a:pt x="829" y="51"/>
                    </a:lnTo>
                    <a:lnTo>
                      <a:pt x="826" y="51"/>
                    </a:lnTo>
                    <a:lnTo>
                      <a:pt x="818" y="51"/>
                    </a:lnTo>
                    <a:lnTo>
                      <a:pt x="808" y="53"/>
                    </a:lnTo>
                    <a:lnTo>
                      <a:pt x="797" y="56"/>
                    </a:lnTo>
                    <a:lnTo>
                      <a:pt x="797" y="56"/>
                    </a:lnTo>
                    <a:lnTo>
                      <a:pt x="792" y="58"/>
                    </a:lnTo>
                    <a:lnTo>
                      <a:pt x="791" y="60"/>
                    </a:lnTo>
                    <a:lnTo>
                      <a:pt x="791" y="61"/>
                    </a:lnTo>
                    <a:lnTo>
                      <a:pt x="794" y="63"/>
                    </a:lnTo>
                    <a:lnTo>
                      <a:pt x="801" y="63"/>
                    </a:lnTo>
                    <a:lnTo>
                      <a:pt x="805" y="61"/>
                    </a:lnTo>
                    <a:lnTo>
                      <a:pt x="808" y="60"/>
                    </a:lnTo>
                    <a:lnTo>
                      <a:pt x="808" y="60"/>
                    </a:lnTo>
                    <a:close/>
                    <a:moveTo>
                      <a:pt x="987" y="673"/>
                    </a:moveTo>
                    <a:lnTo>
                      <a:pt x="987" y="673"/>
                    </a:lnTo>
                    <a:lnTo>
                      <a:pt x="990" y="673"/>
                    </a:lnTo>
                    <a:lnTo>
                      <a:pt x="991" y="670"/>
                    </a:lnTo>
                    <a:lnTo>
                      <a:pt x="996" y="664"/>
                    </a:lnTo>
                    <a:lnTo>
                      <a:pt x="996" y="662"/>
                    </a:lnTo>
                    <a:lnTo>
                      <a:pt x="996" y="659"/>
                    </a:lnTo>
                    <a:lnTo>
                      <a:pt x="994" y="656"/>
                    </a:lnTo>
                    <a:lnTo>
                      <a:pt x="990" y="656"/>
                    </a:lnTo>
                    <a:lnTo>
                      <a:pt x="990" y="656"/>
                    </a:lnTo>
                    <a:lnTo>
                      <a:pt x="986" y="657"/>
                    </a:lnTo>
                    <a:lnTo>
                      <a:pt x="983" y="659"/>
                    </a:lnTo>
                    <a:lnTo>
                      <a:pt x="981" y="662"/>
                    </a:lnTo>
                    <a:lnTo>
                      <a:pt x="981" y="666"/>
                    </a:lnTo>
                    <a:lnTo>
                      <a:pt x="981" y="669"/>
                    </a:lnTo>
                    <a:lnTo>
                      <a:pt x="983" y="672"/>
                    </a:lnTo>
                    <a:lnTo>
                      <a:pt x="984" y="673"/>
                    </a:lnTo>
                    <a:lnTo>
                      <a:pt x="987" y="673"/>
                    </a:lnTo>
                    <a:lnTo>
                      <a:pt x="987" y="673"/>
                    </a:lnTo>
                    <a:close/>
                    <a:moveTo>
                      <a:pt x="925" y="657"/>
                    </a:moveTo>
                    <a:lnTo>
                      <a:pt x="925" y="657"/>
                    </a:lnTo>
                    <a:lnTo>
                      <a:pt x="930" y="659"/>
                    </a:lnTo>
                    <a:lnTo>
                      <a:pt x="935" y="659"/>
                    </a:lnTo>
                    <a:lnTo>
                      <a:pt x="939" y="657"/>
                    </a:lnTo>
                    <a:lnTo>
                      <a:pt x="943" y="654"/>
                    </a:lnTo>
                    <a:lnTo>
                      <a:pt x="950" y="646"/>
                    </a:lnTo>
                    <a:lnTo>
                      <a:pt x="952" y="643"/>
                    </a:lnTo>
                    <a:lnTo>
                      <a:pt x="952" y="640"/>
                    </a:lnTo>
                    <a:lnTo>
                      <a:pt x="952" y="640"/>
                    </a:lnTo>
                    <a:lnTo>
                      <a:pt x="950" y="639"/>
                    </a:lnTo>
                    <a:lnTo>
                      <a:pt x="946" y="639"/>
                    </a:lnTo>
                    <a:lnTo>
                      <a:pt x="933" y="643"/>
                    </a:lnTo>
                    <a:lnTo>
                      <a:pt x="927" y="647"/>
                    </a:lnTo>
                    <a:lnTo>
                      <a:pt x="923" y="650"/>
                    </a:lnTo>
                    <a:lnTo>
                      <a:pt x="922" y="654"/>
                    </a:lnTo>
                    <a:lnTo>
                      <a:pt x="923" y="656"/>
                    </a:lnTo>
                    <a:lnTo>
                      <a:pt x="925" y="657"/>
                    </a:lnTo>
                    <a:lnTo>
                      <a:pt x="925" y="657"/>
                    </a:lnTo>
                    <a:close/>
                    <a:moveTo>
                      <a:pt x="976" y="619"/>
                    </a:moveTo>
                    <a:lnTo>
                      <a:pt x="976" y="619"/>
                    </a:lnTo>
                    <a:lnTo>
                      <a:pt x="976" y="616"/>
                    </a:lnTo>
                    <a:lnTo>
                      <a:pt x="973" y="615"/>
                    </a:lnTo>
                    <a:lnTo>
                      <a:pt x="966" y="610"/>
                    </a:lnTo>
                    <a:lnTo>
                      <a:pt x="957" y="606"/>
                    </a:lnTo>
                    <a:lnTo>
                      <a:pt x="954" y="603"/>
                    </a:lnTo>
                    <a:lnTo>
                      <a:pt x="954" y="600"/>
                    </a:lnTo>
                    <a:lnTo>
                      <a:pt x="954" y="600"/>
                    </a:lnTo>
                    <a:lnTo>
                      <a:pt x="953" y="598"/>
                    </a:lnTo>
                    <a:lnTo>
                      <a:pt x="952" y="595"/>
                    </a:lnTo>
                    <a:lnTo>
                      <a:pt x="942" y="590"/>
                    </a:lnTo>
                    <a:lnTo>
                      <a:pt x="923" y="582"/>
                    </a:lnTo>
                    <a:lnTo>
                      <a:pt x="923" y="582"/>
                    </a:lnTo>
                    <a:lnTo>
                      <a:pt x="910" y="576"/>
                    </a:lnTo>
                    <a:lnTo>
                      <a:pt x="905" y="573"/>
                    </a:lnTo>
                    <a:lnTo>
                      <a:pt x="903" y="571"/>
                    </a:lnTo>
                    <a:lnTo>
                      <a:pt x="903" y="568"/>
                    </a:lnTo>
                    <a:lnTo>
                      <a:pt x="903" y="568"/>
                    </a:lnTo>
                    <a:lnTo>
                      <a:pt x="902" y="565"/>
                    </a:lnTo>
                    <a:lnTo>
                      <a:pt x="900" y="563"/>
                    </a:lnTo>
                    <a:lnTo>
                      <a:pt x="898" y="563"/>
                    </a:lnTo>
                    <a:lnTo>
                      <a:pt x="895" y="565"/>
                    </a:lnTo>
                    <a:lnTo>
                      <a:pt x="892" y="568"/>
                    </a:lnTo>
                    <a:lnTo>
                      <a:pt x="889" y="571"/>
                    </a:lnTo>
                    <a:lnTo>
                      <a:pt x="886" y="573"/>
                    </a:lnTo>
                    <a:lnTo>
                      <a:pt x="885" y="578"/>
                    </a:lnTo>
                    <a:lnTo>
                      <a:pt x="885" y="578"/>
                    </a:lnTo>
                    <a:lnTo>
                      <a:pt x="883" y="585"/>
                    </a:lnTo>
                    <a:lnTo>
                      <a:pt x="882" y="589"/>
                    </a:lnTo>
                    <a:lnTo>
                      <a:pt x="880" y="593"/>
                    </a:lnTo>
                    <a:lnTo>
                      <a:pt x="880" y="600"/>
                    </a:lnTo>
                    <a:lnTo>
                      <a:pt x="880" y="600"/>
                    </a:lnTo>
                    <a:lnTo>
                      <a:pt x="882" y="605"/>
                    </a:lnTo>
                    <a:lnTo>
                      <a:pt x="880" y="608"/>
                    </a:lnTo>
                    <a:lnTo>
                      <a:pt x="878" y="610"/>
                    </a:lnTo>
                    <a:lnTo>
                      <a:pt x="875" y="613"/>
                    </a:lnTo>
                    <a:lnTo>
                      <a:pt x="869" y="617"/>
                    </a:lnTo>
                    <a:lnTo>
                      <a:pt x="868" y="619"/>
                    </a:lnTo>
                    <a:lnTo>
                      <a:pt x="868" y="622"/>
                    </a:lnTo>
                    <a:lnTo>
                      <a:pt x="868" y="622"/>
                    </a:lnTo>
                    <a:lnTo>
                      <a:pt x="869" y="623"/>
                    </a:lnTo>
                    <a:lnTo>
                      <a:pt x="870" y="625"/>
                    </a:lnTo>
                    <a:lnTo>
                      <a:pt x="875" y="623"/>
                    </a:lnTo>
                    <a:lnTo>
                      <a:pt x="880" y="622"/>
                    </a:lnTo>
                    <a:lnTo>
                      <a:pt x="888" y="620"/>
                    </a:lnTo>
                    <a:lnTo>
                      <a:pt x="888" y="620"/>
                    </a:lnTo>
                    <a:lnTo>
                      <a:pt x="890" y="622"/>
                    </a:lnTo>
                    <a:lnTo>
                      <a:pt x="890" y="623"/>
                    </a:lnTo>
                    <a:lnTo>
                      <a:pt x="890" y="627"/>
                    </a:lnTo>
                    <a:lnTo>
                      <a:pt x="892" y="632"/>
                    </a:lnTo>
                    <a:lnTo>
                      <a:pt x="893" y="633"/>
                    </a:lnTo>
                    <a:lnTo>
                      <a:pt x="896" y="633"/>
                    </a:lnTo>
                    <a:lnTo>
                      <a:pt x="896" y="633"/>
                    </a:lnTo>
                    <a:lnTo>
                      <a:pt x="903" y="633"/>
                    </a:lnTo>
                    <a:lnTo>
                      <a:pt x="912" y="629"/>
                    </a:lnTo>
                    <a:lnTo>
                      <a:pt x="919" y="623"/>
                    </a:lnTo>
                    <a:lnTo>
                      <a:pt x="923" y="619"/>
                    </a:lnTo>
                    <a:lnTo>
                      <a:pt x="923" y="619"/>
                    </a:lnTo>
                    <a:lnTo>
                      <a:pt x="926" y="615"/>
                    </a:lnTo>
                    <a:lnTo>
                      <a:pt x="930" y="613"/>
                    </a:lnTo>
                    <a:lnTo>
                      <a:pt x="936" y="615"/>
                    </a:lnTo>
                    <a:lnTo>
                      <a:pt x="943" y="617"/>
                    </a:lnTo>
                    <a:lnTo>
                      <a:pt x="943" y="617"/>
                    </a:lnTo>
                    <a:lnTo>
                      <a:pt x="947" y="620"/>
                    </a:lnTo>
                    <a:lnTo>
                      <a:pt x="953" y="622"/>
                    </a:lnTo>
                    <a:lnTo>
                      <a:pt x="963" y="623"/>
                    </a:lnTo>
                    <a:lnTo>
                      <a:pt x="972" y="623"/>
                    </a:lnTo>
                    <a:lnTo>
                      <a:pt x="974" y="622"/>
                    </a:lnTo>
                    <a:lnTo>
                      <a:pt x="976" y="619"/>
                    </a:lnTo>
                    <a:lnTo>
                      <a:pt x="976" y="619"/>
                    </a:lnTo>
                    <a:close/>
                    <a:moveTo>
                      <a:pt x="1209" y="556"/>
                    </a:moveTo>
                    <a:lnTo>
                      <a:pt x="1209" y="556"/>
                    </a:lnTo>
                    <a:lnTo>
                      <a:pt x="1212" y="556"/>
                    </a:lnTo>
                    <a:lnTo>
                      <a:pt x="1215" y="558"/>
                    </a:lnTo>
                    <a:lnTo>
                      <a:pt x="1219" y="563"/>
                    </a:lnTo>
                    <a:lnTo>
                      <a:pt x="1225" y="571"/>
                    </a:lnTo>
                    <a:lnTo>
                      <a:pt x="1232" y="579"/>
                    </a:lnTo>
                    <a:lnTo>
                      <a:pt x="1232" y="579"/>
                    </a:lnTo>
                    <a:lnTo>
                      <a:pt x="1240" y="585"/>
                    </a:lnTo>
                    <a:lnTo>
                      <a:pt x="1243" y="585"/>
                    </a:lnTo>
                    <a:lnTo>
                      <a:pt x="1245" y="583"/>
                    </a:lnTo>
                    <a:lnTo>
                      <a:pt x="1247" y="580"/>
                    </a:lnTo>
                    <a:lnTo>
                      <a:pt x="1249" y="575"/>
                    </a:lnTo>
                    <a:lnTo>
                      <a:pt x="1249" y="575"/>
                    </a:lnTo>
                    <a:lnTo>
                      <a:pt x="1250" y="572"/>
                    </a:lnTo>
                    <a:lnTo>
                      <a:pt x="1253" y="571"/>
                    </a:lnTo>
                    <a:lnTo>
                      <a:pt x="1259" y="571"/>
                    </a:lnTo>
                    <a:lnTo>
                      <a:pt x="1263" y="569"/>
                    </a:lnTo>
                    <a:lnTo>
                      <a:pt x="1266" y="568"/>
                    </a:lnTo>
                    <a:lnTo>
                      <a:pt x="1266" y="565"/>
                    </a:lnTo>
                    <a:lnTo>
                      <a:pt x="1266" y="565"/>
                    </a:lnTo>
                    <a:lnTo>
                      <a:pt x="1266" y="562"/>
                    </a:lnTo>
                    <a:lnTo>
                      <a:pt x="1267" y="559"/>
                    </a:lnTo>
                    <a:lnTo>
                      <a:pt x="1273" y="553"/>
                    </a:lnTo>
                    <a:lnTo>
                      <a:pt x="1279" y="548"/>
                    </a:lnTo>
                    <a:lnTo>
                      <a:pt x="1286" y="545"/>
                    </a:lnTo>
                    <a:lnTo>
                      <a:pt x="1286" y="545"/>
                    </a:lnTo>
                    <a:lnTo>
                      <a:pt x="1289" y="543"/>
                    </a:lnTo>
                    <a:lnTo>
                      <a:pt x="1289" y="542"/>
                    </a:lnTo>
                    <a:lnTo>
                      <a:pt x="1287" y="539"/>
                    </a:lnTo>
                    <a:lnTo>
                      <a:pt x="1284" y="538"/>
                    </a:lnTo>
                    <a:lnTo>
                      <a:pt x="1277" y="535"/>
                    </a:lnTo>
                    <a:lnTo>
                      <a:pt x="1267" y="534"/>
                    </a:lnTo>
                    <a:lnTo>
                      <a:pt x="1267" y="534"/>
                    </a:lnTo>
                    <a:lnTo>
                      <a:pt x="1260" y="532"/>
                    </a:lnTo>
                    <a:lnTo>
                      <a:pt x="1257" y="529"/>
                    </a:lnTo>
                    <a:lnTo>
                      <a:pt x="1255" y="525"/>
                    </a:lnTo>
                    <a:lnTo>
                      <a:pt x="1255" y="521"/>
                    </a:lnTo>
                    <a:lnTo>
                      <a:pt x="1255" y="521"/>
                    </a:lnTo>
                    <a:lnTo>
                      <a:pt x="1253" y="519"/>
                    </a:lnTo>
                    <a:lnTo>
                      <a:pt x="1250" y="516"/>
                    </a:lnTo>
                    <a:lnTo>
                      <a:pt x="1243" y="511"/>
                    </a:lnTo>
                    <a:lnTo>
                      <a:pt x="1233" y="507"/>
                    </a:lnTo>
                    <a:lnTo>
                      <a:pt x="1229" y="507"/>
                    </a:lnTo>
                    <a:lnTo>
                      <a:pt x="1226" y="507"/>
                    </a:lnTo>
                    <a:lnTo>
                      <a:pt x="1226" y="507"/>
                    </a:lnTo>
                    <a:lnTo>
                      <a:pt x="1223" y="507"/>
                    </a:lnTo>
                    <a:lnTo>
                      <a:pt x="1220" y="507"/>
                    </a:lnTo>
                    <a:lnTo>
                      <a:pt x="1212" y="502"/>
                    </a:lnTo>
                    <a:lnTo>
                      <a:pt x="1205" y="498"/>
                    </a:lnTo>
                    <a:lnTo>
                      <a:pt x="1198" y="497"/>
                    </a:lnTo>
                    <a:lnTo>
                      <a:pt x="1198" y="497"/>
                    </a:lnTo>
                    <a:lnTo>
                      <a:pt x="1191" y="495"/>
                    </a:lnTo>
                    <a:lnTo>
                      <a:pt x="1183" y="491"/>
                    </a:lnTo>
                    <a:lnTo>
                      <a:pt x="1178" y="485"/>
                    </a:lnTo>
                    <a:lnTo>
                      <a:pt x="1176" y="482"/>
                    </a:lnTo>
                    <a:lnTo>
                      <a:pt x="1176" y="478"/>
                    </a:lnTo>
                    <a:lnTo>
                      <a:pt x="1176" y="478"/>
                    </a:lnTo>
                    <a:lnTo>
                      <a:pt x="1178" y="475"/>
                    </a:lnTo>
                    <a:lnTo>
                      <a:pt x="1179" y="475"/>
                    </a:lnTo>
                    <a:lnTo>
                      <a:pt x="1186" y="475"/>
                    </a:lnTo>
                    <a:lnTo>
                      <a:pt x="1193" y="477"/>
                    </a:lnTo>
                    <a:lnTo>
                      <a:pt x="1196" y="475"/>
                    </a:lnTo>
                    <a:lnTo>
                      <a:pt x="1198" y="474"/>
                    </a:lnTo>
                    <a:lnTo>
                      <a:pt x="1198" y="474"/>
                    </a:lnTo>
                    <a:lnTo>
                      <a:pt x="1199" y="471"/>
                    </a:lnTo>
                    <a:lnTo>
                      <a:pt x="1196" y="470"/>
                    </a:lnTo>
                    <a:lnTo>
                      <a:pt x="1191" y="468"/>
                    </a:lnTo>
                    <a:lnTo>
                      <a:pt x="1183" y="467"/>
                    </a:lnTo>
                    <a:lnTo>
                      <a:pt x="1181" y="467"/>
                    </a:lnTo>
                    <a:lnTo>
                      <a:pt x="1179" y="464"/>
                    </a:lnTo>
                    <a:lnTo>
                      <a:pt x="1179" y="464"/>
                    </a:lnTo>
                    <a:lnTo>
                      <a:pt x="1181" y="461"/>
                    </a:lnTo>
                    <a:lnTo>
                      <a:pt x="1182" y="460"/>
                    </a:lnTo>
                    <a:lnTo>
                      <a:pt x="1185" y="460"/>
                    </a:lnTo>
                    <a:lnTo>
                      <a:pt x="1189" y="457"/>
                    </a:lnTo>
                    <a:lnTo>
                      <a:pt x="1189" y="457"/>
                    </a:lnTo>
                    <a:lnTo>
                      <a:pt x="1191" y="455"/>
                    </a:lnTo>
                    <a:lnTo>
                      <a:pt x="1191" y="454"/>
                    </a:lnTo>
                    <a:lnTo>
                      <a:pt x="1188" y="450"/>
                    </a:lnTo>
                    <a:lnTo>
                      <a:pt x="1185" y="447"/>
                    </a:lnTo>
                    <a:lnTo>
                      <a:pt x="1181" y="444"/>
                    </a:lnTo>
                    <a:lnTo>
                      <a:pt x="1181" y="444"/>
                    </a:lnTo>
                    <a:lnTo>
                      <a:pt x="1179" y="444"/>
                    </a:lnTo>
                    <a:lnTo>
                      <a:pt x="1178" y="444"/>
                    </a:lnTo>
                    <a:lnTo>
                      <a:pt x="1175" y="445"/>
                    </a:lnTo>
                    <a:lnTo>
                      <a:pt x="1172" y="448"/>
                    </a:lnTo>
                    <a:lnTo>
                      <a:pt x="1169" y="450"/>
                    </a:lnTo>
                    <a:lnTo>
                      <a:pt x="1169" y="450"/>
                    </a:lnTo>
                    <a:lnTo>
                      <a:pt x="1168" y="450"/>
                    </a:lnTo>
                    <a:lnTo>
                      <a:pt x="1166" y="448"/>
                    </a:lnTo>
                    <a:lnTo>
                      <a:pt x="1168" y="445"/>
                    </a:lnTo>
                    <a:lnTo>
                      <a:pt x="1172" y="437"/>
                    </a:lnTo>
                    <a:lnTo>
                      <a:pt x="1172" y="437"/>
                    </a:lnTo>
                    <a:lnTo>
                      <a:pt x="1172" y="435"/>
                    </a:lnTo>
                    <a:lnTo>
                      <a:pt x="1171" y="433"/>
                    </a:lnTo>
                    <a:lnTo>
                      <a:pt x="1164" y="430"/>
                    </a:lnTo>
                    <a:lnTo>
                      <a:pt x="1155" y="428"/>
                    </a:lnTo>
                    <a:lnTo>
                      <a:pt x="1146" y="428"/>
                    </a:lnTo>
                    <a:lnTo>
                      <a:pt x="1146" y="428"/>
                    </a:lnTo>
                    <a:lnTo>
                      <a:pt x="1142" y="430"/>
                    </a:lnTo>
                    <a:lnTo>
                      <a:pt x="1138" y="428"/>
                    </a:lnTo>
                    <a:lnTo>
                      <a:pt x="1137" y="425"/>
                    </a:lnTo>
                    <a:lnTo>
                      <a:pt x="1135" y="421"/>
                    </a:lnTo>
                    <a:lnTo>
                      <a:pt x="1135" y="421"/>
                    </a:lnTo>
                    <a:lnTo>
                      <a:pt x="1135" y="420"/>
                    </a:lnTo>
                    <a:lnTo>
                      <a:pt x="1134" y="418"/>
                    </a:lnTo>
                    <a:lnTo>
                      <a:pt x="1128" y="420"/>
                    </a:lnTo>
                    <a:lnTo>
                      <a:pt x="1121" y="423"/>
                    </a:lnTo>
                    <a:lnTo>
                      <a:pt x="1115" y="425"/>
                    </a:lnTo>
                    <a:lnTo>
                      <a:pt x="1115" y="425"/>
                    </a:lnTo>
                    <a:lnTo>
                      <a:pt x="1112" y="427"/>
                    </a:lnTo>
                    <a:lnTo>
                      <a:pt x="1111" y="427"/>
                    </a:lnTo>
                    <a:lnTo>
                      <a:pt x="1107" y="424"/>
                    </a:lnTo>
                    <a:lnTo>
                      <a:pt x="1107" y="423"/>
                    </a:lnTo>
                    <a:lnTo>
                      <a:pt x="1107" y="421"/>
                    </a:lnTo>
                    <a:lnTo>
                      <a:pt x="1109" y="420"/>
                    </a:lnTo>
                    <a:lnTo>
                      <a:pt x="1109" y="420"/>
                    </a:lnTo>
                    <a:lnTo>
                      <a:pt x="1115" y="418"/>
                    </a:lnTo>
                    <a:lnTo>
                      <a:pt x="1119" y="415"/>
                    </a:lnTo>
                    <a:lnTo>
                      <a:pt x="1122" y="413"/>
                    </a:lnTo>
                    <a:lnTo>
                      <a:pt x="1124" y="410"/>
                    </a:lnTo>
                    <a:lnTo>
                      <a:pt x="1122" y="407"/>
                    </a:lnTo>
                    <a:lnTo>
                      <a:pt x="1122" y="407"/>
                    </a:lnTo>
                    <a:lnTo>
                      <a:pt x="1121" y="406"/>
                    </a:lnTo>
                    <a:lnTo>
                      <a:pt x="1118" y="404"/>
                    </a:lnTo>
                    <a:lnTo>
                      <a:pt x="1111" y="403"/>
                    </a:lnTo>
                    <a:lnTo>
                      <a:pt x="1104" y="404"/>
                    </a:lnTo>
                    <a:lnTo>
                      <a:pt x="1101" y="406"/>
                    </a:lnTo>
                    <a:lnTo>
                      <a:pt x="1098" y="408"/>
                    </a:lnTo>
                    <a:lnTo>
                      <a:pt x="1098" y="408"/>
                    </a:lnTo>
                    <a:lnTo>
                      <a:pt x="1097" y="410"/>
                    </a:lnTo>
                    <a:lnTo>
                      <a:pt x="1094" y="410"/>
                    </a:lnTo>
                    <a:lnTo>
                      <a:pt x="1091" y="408"/>
                    </a:lnTo>
                    <a:lnTo>
                      <a:pt x="1088" y="406"/>
                    </a:lnTo>
                    <a:lnTo>
                      <a:pt x="1082" y="400"/>
                    </a:lnTo>
                    <a:lnTo>
                      <a:pt x="1081" y="396"/>
                    </a:lnTo>
                    <a:lnTo>
                      <a:pt x="1080" y="393"/>
                    </a:lnTo>
                    <a:lnTo>
                      <a:pt x="1080" y="393"/>
                    </a:lnTo>
                    <a:lnTo>
                      <a:pt x="1080" y="391"/>
                    </a:lnTo>
                    <a:lnTo>
                      <a:pt x="1077" y="390"/>
                    </a:lnTo>
                    <a:lnTo>
                      <a:pt x="1070" y="390"/>
                    </a:lnTo>
                    <a:lnTo>
                      <a:pt x="1065" y="388"/>
                    </a:lnTo>
                    <a:lnTo>
                      <a:pt x="1063" y="387"/>
                    </a:lnTo>
                    <a:lnTo>
                      <a:pt x="1060" y="386"/>
                    </a:lnTo>
                    <a:lnTo>
                      <a:pt x="1060" y="381"/>
                    </a:lnTo>
                    <a:lnTo>
                      <a:pt x="1060" y="381"/>
                    </a:lnTo>
                    <a:lnTo>
                      <a:pt x="1060" y="378"/>
                    </a:lnTo>
                    <a:lnTo>
                      <a:pt x="1057" y="376"/>
                    </a:lnTo>
                    <a:lnTo>
                      <a:pt x="1053" y="373"/>
                    </a:lnTo>
                    <a:lnTo>
                      <a:pt x="1047" y="371"/>
                    </a:lnTo>
                    <a:lnTo>
                      <a:pt x="1036" y="369"/>
                    </a:lnTo>
                    <a:lnTo>
                      <a:pt x="1026" y="369"/>
                    </a:lnTo>
                    <a:lnTo>
                      <a:pt x="1026" y="369"/>
                    </a:lnTo>
                    <a:lnTo>
                      <a:pt x="1020" y="370"/>
                    </a:lnTo>
                    <a:lnTo>
                      <a:pt x="1014" y="373"/>
                    </a:lnTo>
                    <a:lnTo>
                      <a:pt x="1010" y="377"/>
                    </a:lnTo>
                    <a:lnTo>
                      <a:pt x="1008" y="380"/>
                    </a:lnTo>
                    <a:lnTo>
                      <a:pt x="1008" y="381"/>
                    </a:lnTo>
                    <a:lnTo>
                      <a:pt x="1008" y="381"/>
                    </a:lnTo>
                    <a:lnTo>
                      <a:pt x="1008" y="384"/>
                    </a:lnTo>
                    <a:lnTo>
                      <a:pt x="1007" y="386"/>
                    </a:lnTo>
                    <a:lnTo>
                      <a:pt x="1004" y="386"/>
                    </a:lnTo>
                    <a:lnTo>
                      <a:pt x="1001" y="383"/>
                    </a:lnTo>
                    <a:lnTo>
                      <a:pt x="999" y="378"/>
                    </a:lnTo>
                    <a:lnTo>
                      <a:pt x="999" y="378"/>
                    </a:lnTo>
                    <a:lnTo>
                      <a:pt x="997" y="377"/>
                    </a:lnTo>
                    <a:lnTo>
                      <a:pt x="994" y="377"/>
                    </a:lnTo>
                    <a:lnTo>
                      <a:pt x="987" y="380"/>
                    </a:lnTo>
                    <a:lnTo>
                      <a:pt x="979" y="384"/>
                    </a:lnTo>
                    <a:lnTo>
                      <a:pt x="972" y="387"/>
                    </a:lnTo>
                    <a:lnTo>
                      <a:pt x="972" y="387"/>
                    </a:lnTo>
                    <a:lnTo>
                      <a:pt x="970" y="386"/>
                    </a:lnTo>
                    <a:lnTo>
                      <a:pt x="970" y="384"/>
                    </a:lnTo>
                    <a:lnTo>
                      <a:pt x="972" y="376"/>
                    </a:lnTo>
                    <a:lnTo>
                      <a:pt x="973" y="367"/>
                    </a:lnTo>
                    <a:lnTo>
                      <a:pt x="973" y="363"/>
                    </a:lnTo>
                    <a:lnTo>
                      <a:pt x="973" y="360"/>
                    </a:lnTo>
                    <a:lnTo>
                      <a:pt x="973" y="360"/>
                    </a:lnTo>
                    <a:lnTo>
                      <a:pt x="967" y="351"/>
                    </a:lnTo>
                    <a:lnTo>
                      <a:pt x="964" y="347"/>
                    </a:lnTo>
                    <a:lnTo>
                      <a:pt x="962" y="340"/>
                    </a:lnTo>
                    <a:lnTo>
                      <a:pt x="962" y="340"/>
                    </a:lnTo>
                    <a:lnTo>
                      <a:pt x="959" y="337"/>
                    </a:lnTo>
                    <a:lnTo>
                      <a:pt x="956" y="336"/>
                    </a:lnTo>
                    <a:lnTo>
                      <a:pt x="952" y="334"/>
                    </a:lnTo>
                    <a:lnTo>
                      <a:pt x="946" y="334"/>
                    </a:lnTo>
                    <a:lnTo>
                      <a:pt x="937" y="336"/>
                    </a:lnTo>
                    <a:lnTo>
                      <a:pt x="933" y="339"/>
                    </a:lnTo>
                    <a:lnTo>
                      <a:pt x="930" y="340"/>
                    </a:lnTo>
                    <a:lnTo>
                      <a:pt x="930" y="340"/>
                    </a:lnTo>
                    <a:lnTo>
                      <a:pt x="927" y="343"/>
                    </a:lnTo>
                    <a:lnTo>
                      <a:pt x="923" y="344"/>
                    </a:lnTo>
                    <a:lnTo>
                      <a:pt x="915" y="346"/>
                    </a:lnTo>
                    <a:lnTo>
                      <a:pt x="905" y="349"/>
                    </a:lnTo>
                    <a:lnTo>
                      <a:pt x="900" y="351"/>
                    </a:lnTo>
                    <a:lnTo>
                      <a:pt x="896" y="354"/>
                    </a:lnTo>
                    <a:lnTo>
                      <a:pt x="896" y="354"/>
                    </a:lnTo>
                    <a:lnTo>
                      <a:pt x="893" y="359"/>
                    </a:lnTo>
                    <a:lnTo>
                      <a:pt x="892" y="361"/>
                    </a:lnTo>
                    <a:lnTo>
                      <a:pt x="892" y="366"/>
                    </a:lnTo>
                    <a:lnTo>
                      <a:pt x="893" y="369"/>
                    </a:lnTo>
                    <a:lnTo>
                      <a:pt x="898" y="374"/>
                    </a:lnTo>
                    <a:lnTo>
                      <a:pt x="900" y="377"/>
                    </a:lnTo>
                    <a:lnTo>
                      <a:pt x="900" y="377"/>
                    </a:lnTo>
                    <a:lnTo>
                      <a:pt x="902" y="378"/>
                    </a:lnTo>
                    <a:lnTo>
                      <a:pt x="900" y="381"/>
                    </a:lnTo>
                    <a:lnTo>
                      <a:pt x="896" y="384"/>
                    </a:lnTo>
                    <a:lnTo>
                      <a:pt x="892" y="388"/>
                    </a:lnTo>
                    <a:lnTo>
                      <a:pt x="890" y="390"/>
                    </a:lnTo>
                    <a:lnTo>
                      <a:pt x="892" y="393"/>
                    </a:lnTo>
                    <a:lnTo>
                      <a:pt x="892" y="393"/>
                    </a:lnTo>
                    <a:lnTo>
                      <a:pt x="898" y="396"/>
                    </a:lnTo>
                    <a:lnTo>
                      <a:pt x="903" y="397"/>
                    </a:lnTo>
                    <a:lnTo>
                      <a:pt x="907" y="400"/>
                    </a:lnTo>
                    <a:lnTo>
                      <a:pt x="909" y="401"/>
                    </a:lnTo>
                    <a:lnTo>
                      <a:pt x="909" y="404"/>
                    </a:lnTo>
                    <a:lnTo>
                      <a:pt x="909" y="404"/>
                    </a:lnTo>
                    <a:lnTo>
                      <a:pt x="909" y="407"/>
                    </a:lnTo>
                    <a:lnTo>
                      <a:pt x="906" y="408"/>
                    </a:lnTo>
                    <a:lnTo>
                      <a:pt x="902" y="407"/>
                    </a:lnTo>
                    <a:lnTo>
                      <a:pt x="898" y="406"/>
                    </a:lnTo>
                    <a:lnTo>
                      <a:pt x="888" y="400"/>
                    </a:lnTo>
                    <a:lnTo>
                      <a:pt x="885" y="397"/>
                    </a:lnTo>
                    <a:lnTo>
                      <a:pt x="882" y="394"/>
                    </a:lnTo>
                    <a:lnTo>
                      <a:pt x="882" y="394"/>
                    </a:lnTo>
                    <a:lnTo>
                      <a:pt x="880" y="388"/>
                    </a:lnTo>
                    <a:lnTo>
                      <a:pt x="880" y="383"/>
                    </a:lnTo>
                    <a:lnTo>
                      <a:pt x="880" y="378"/>
                    </a:lnTo>
                    <a:lnTo>
                      <a:pt x="879" y="373"/>
                    </a:lnTo>
                    <a:lnTo>
                      <a:pt x="879" y="373"/>
                    </a:lnTo>
                    <a:lnTo>
                      <a:pt x="876" y="369"/>
                    </a:lnTo>
                    <a:lnTo>
                      <a:pt x="878" y="364"/>
                    </a:lnTo>
                    <a:lnTo>
                      <a:pt x="882" y="357"/>
                    </a:lnTo>
                    <a:lnTo>
                      <a:pt x="888" y="350"/>
                    </a:lnTo>
                    <a:lnTo>
                      <a:pt x="888" y="350"/>
                    </a:lnTo>
                    <a:lnTo>
                      <a:pt x="893" y="344"/>
                    </a:lnTo>
                    <a:lnTo>
                      <a:pt x="899" y="341"/>
                    </a:lnTo>
                    <a:lnTo>
                      <a:pt x="902" y="340"/>
                    </a:lnTo>
                    <a:lnTo>
                      <a:pt x="903" y="336"/>
                    </a:lnTo>
                    <a:lnTo>
                      <a:pt x="903" y="336"/>
                    </a:lnTo>
                    <a:lnTo>
                      <a:pt x="902" y="334"/>
                    </a:lnTo>
                    <a:lnTo>
                      <a:pt x="898" y="333"/>
                    </a:lnTo>
                    <a:lnTo>
                      <a:pt x="890" y="333"/>
                    </a:lnTo>
                    <a:lnTo>
                      <a:pt x="880" y="334"/>
                    </a:lnTo>
                    <a:lnTo>
                      <a:pt x="870" y="336"/>
                    </a:lnTo>
                    <a:lnTo>
                      <a:pt x="861" y="340"/>
                    </a:lnTo>
                    <a:lnTo>
                      <a:pt x="849" y="344"/>
                    </a:lnTo>
                    <a:lnTo>
                      <a:pt x="841" y="351"/>
                    </a:lnTo>
                    <a:lnTo>
                      <a:pt x="841" y="351"/>
                    </a:lnTo>
                    <a:lnTo>
                      <a:pt x="834" y="360"/>
                    </a:lnTo>
                    <a:lnTo>
                      <a:pt x="828" y="369"/>
                    </a:lnTo>
                    <a:lnTo>
                      <a:pt x="825" y="377"/>
                    </a:lnTo>
                    <a:lnTo>
                      <a:pt x="824" y="386"/>
                    </a:lnTo>
                    <a:lnTo>
                      <a:pt x="824" y="393"/>
                    </a:lnTo>
                    <a:lnTo>
                      <a:pt x="824" y="400"/>
                    </a:lnTo>
                    <a:lnTo>
                      <a:pt x="825" y="407"/>
                    </a:lnTo>
                    <a:lnTo>
                      <a:pt x="825" y="407"/>
                    </a:lnTo>
                    <a:lnTo>
                      <a:pt x="826" y="410"/>
                    </a:lnTo>
                    <a:lnTo>
                      <a:pt x="829" y="410"/>
                    </a:lnTo>
                    <a:lnTo>
                      <a:pt x="839" y="411"/>
                    </a:lnTo>
                    <a:lnTo>
                      <a:pt x="849" y="413"/>
                    </a:lnTo>
                    <a:lnTo>
                      <a:pt x="859" y="414"/>
                    </a:lnTo>
                    <a:lnTo>
                      <a:pt x="859" y="414"/>
                    </a:lnTo>
                    <a:lnTo>
                      <a:pt x="865" y="417"/>
                    </a:lnTo>
                    <a:lnTo>
                      <a:pt x="866" y="418"/>
                    </a:lnTo>
                    <a:lnTo>
                      <a:pt x="866" y="420"/>
                    </a:lnTo>
                    <a:lnTo>
                      <a:pt x="862" y="421"/>
                    </a:lnTo>
                    <a:lnTo>
                      <a:pt x="856" y="421"/>
                    </a:lnTo>
                    <a:lnTo>
                      <a:pt x="856" y="421"/>
                    </a:lnTo>
                    <a:lnTo>
                      <a:pt x="841" y="420"/>
                    </a:lnTo>
                    <a:lnTo>
                      <a:pt x="834" y="420"/>
                    </a:lnTo>
                    <a:lnTo>
                      <a:pt x="832" y="421"/>
                    </a:lnTo>
                    <a:lnTo>
                      <a:pt x="832" y="423"/>
                    </a:lnTo>
                    <a:lnTo>
                      <a:pt x="832" y="423"/>
                    </a:lnTo>
                    <a:lnTo>
                      <a:pt x="834" y="425"/>
                    </a:lnTo>
                    <a:lnTo>
                      <a:pt x="835" y="428"/>
                    </a:lnTo>
                    <a:lnTo>
                      <a:pt x="843" y="434"/>
                    </a:lnTo>
                    <a:lnTo>
                      <a:pt x="853" y="438"/>
                    </a:lnTo>
                    <a:lnTo>
                      <a:pt x="859" y="440"/>
                    </a:lnTo>
                    <a:lnTo>
                      <a:pt x="863" y="438"/>
                    </a:lnTo>
                    <a:lnTo>
                      <a:pt x="863" y="438"/>
                    </a:lnTo>
                    <a:lnTo>
                      <a:pt x="870" y="437"/>
                    </a:lnTo>
                    <a:lnTo>
                      <a:pt x="873" y="437"/>
                    </a:lnTo>
                    <a:lnTo>
                      <a:pt x="876" y="438"/>
                    </a:lnTo>
                    <a:lnTo>
                      <a:pt x="879" y="442"/>
                    </a:lnTo>
                    <a:lnTo>
                      <a:pt x="879" y="442"/>
                    </a:lnTo>
                    <a:lnTo>
                      <a:pt x="882" y="444"/>
                    </a:lnTo>
                    <a:lnTo>
                      <a:pt x="885" y="445"/>
                    </a:lnTo>
                    <a:lnTo>
                      <a:pt x="892" y="447"/>
                    </a:lnTo>
                    <a:lnTo>
                      <a:pt x="912" y="447"/>
                    </a:lnTo>
                    <a:lnTo>
                      <a:pt x="912" y="447"/>
                    </a:lnTo>
                    <a:lnTo>
                      <a:pt x="922" y="448"/>
                    </a:lnTo>
                    <a:lnTo>
                      <a:pt x="932" y="451"/>
                    </a:lnTo>
                    <a:lnTo>
                      <a:pt x="947" y="454"/>
                    </a:lnTo>
                    <a:lnTo>
                      <a:pt x="947" y="454"/>
                    </a:lnTo>
                    <a:lnTo>
                      <a:pt x="952" y="454"/>
                    </a:lnTo>
                    <a:lnTo>
                      <a:pt x="957" y="452"/>
                    </a:lnTo>
                    <a:lnTo>
                      <a:pt x="962" y="450"/>
                    </a:lnTo>
                    <a:lnTo>
                      <a:pt x="963" y="447"/>
                    </a:lnTo>
                    <a:lnTo>
                      <a:pt x="963" y="447"/>
                    </a:lnTo>
                    <a:lnTo>
                      <a:pt x="966" y="445"/>
                    </a:lnTo>
                    <a:lnTo>
                      <a:pt x="969" y="445"/>
                    </a:lnTo>
                    <a:lnTo>
                      <a:pt x="980" y="448"/>
                    </a:lnTo>
                    <a:lnTo>
                      <a:pt x="991" y="451"/>
                    </a:lnTo>
                    <a:lnTo>
                      <a:pt x="1000" y="451"/>
                    </a:lnTo>
                    <a:lnTo>
                      <a:pt x="1000" y="451"/>
                    </a:lnTo>
                    <a:lnTo>
                      <a:pt x="1003" y="451"/>
                    </a:lnTo>
                    <a:lnTo>
                      <a:pt x="1003" y="450"/>
                    </a:lnTo>
                    <a:lnTo>
                      <a:pt x="1003" y="447"/>
                    </a:lnTo>
                    <a:lnTo>
                      <a:pt x="1001" y="444"/>
                    </a:lnTo>
                    <a:lnTo>
                      <a:pt x="997" y="441"/>
                    </a:lnTo>
                    <a:lnTo>
                      <a:pt x="997" y="441"/>
                    </a:lnTo>
                    <a:lnTo>
                      <a:pt x="996" y="440"/>
                    </a:lnTo>
                    <a:lnTo>
                      <a:pt x="996" y="435"/>
                    </a:lnTo>
                    <a:lnTo>
                      <a:pt x="997" y="434"/>
                    </a:lnTo>
                    <a:lnTo>
                      <a:pt x="999" y="433"/>
                    </a:lnTo>
                    <a:lnTo>
                      <a:pt x="1001" y="434"/>
                    </a:lnTo>
                    <a:lnTo>
                      <a:pt x="1001" y="434"/>
                    </a:lnTo>
                    <a:lnTo>
                      <a:pt x="1013" y="438"/>
                    </a:lnTo>
                    <a:lnTo>
                      <a:pt x="1017" y="442"/>
                    </a:lnTo>
                    <a:lnTo>
                      <a:pt x="1020" y="445"/>
                    </a:lnTo>
                    <a:lnTo>
                      <a:pt x="1020" y="445"/>
                    </a:lnTo>
                    <a:lnTo>
                      <a:pt x="1023" y="448"/>
                    </a:lnTo>
                    <a:lnTo>
                      <a:pt x="1026" y="450"/>
                    </a:lnTo>
                    <a:lnTo>
                      <a:pt x="1027" y="451"/>
                    </a:lnTo>
                    <a:lnTo>
                      <a:pt x="1028" y="454"/>
                    </a:lnTo>
                    <a:lnTo>
                      <a:pt x="1028" y="454"/>
                    </a:lnTo>
                    <a:lnTo>
                      <a:pt x="1030" y="455"/>
                    </a:lnTo>
                    <a:lnTo>
                      <a:pt x="1033" y="458"/>
                    </a:lnTo>
                    <a:lnTo>
                      <a:pt x="1041" y="461"/>
                    </a:lnTo>
                    <a:lnTo>
                      <a:pt x="1050" y="465"/>
                    </a:lnTo>
                    <a:lnTo>
                      <a:pt x="1051" y="468"/>
                    </a:lnTo>
                    <a:lnTo>
                      <a:pt x="1053" y="470"/>
                    </a:lnTo>
                    <a:lnTo>
                      <a:pt x="1053" y="470"/>
                    </a:lnTo>
                    <a:lnTo>
                      <a:pt x="1053" y="472"/>
                    </a:lnTo>
                    <a:lnTo>
                      <a:pt x="1050" y="474"/>
                    </a:lnTo>
                    <a:lnTo>
                      <a:pt x="1043" y="477"/>
                    </a:lnTo>
                    <a:lnTo>
                      <a:pt x="1037" y="481"/>
                    </a:lnTo>
                    <a:lnTo>
                      <a:pt x="1037" y="482"/>
                    </a:lnTo>
                    <a:lnTo>
                      <a:pt x="1037" y="484"/>
                    </a:lnTo>
                    <a:lnTo>
                      <a:pt x="1037" y="484"/>
                    </a:lnTo>
                    <a:lnTo>
                      <a:pt x="1040" y="485"/>
                    </a:lnTo>
                    <a:lnTo>
                      <a:pt x="1043" y="485"/>
                    </a:lnTo>
                    <a:lnTo>
                      <a:pt x="1050" y="482"/>
                    </a:lnTo>
                    <a:lnTo>
                      <a:pt x="1055" y="478"/>
                    </a:lnTo>
                    <a:lnTo>
                      <a:pt x="1063" y="477"/>
                    </a:lnTo>
                    <a:lnTo>
                      <a:pt x="1063" y="477"/>
                    </a:lnTo>
                    <a:lnTo>
                      <a:pt x="1065" y="477"/>
                    </a:lnTo>
                    <a:lnTo>
                      <a:pt x="1067" y="479"/>
                    </a:lnTo>
                    <a:lnTo>
                      <a:pt x="1071" y="485"/>
                    </a:lnTo>
                    <a:lnTo>
                      <a:pt x="1074" y="491"/>
                    </a:lnTo>
                    <a:lnTo>
                      <a:pt x="1075" y="492"/>
                    </a:lnTo>
                    <a:lnTo>
                      <a:pt x="1077" y="492"/>
                    </a:lnTo>
                    <a:lnTo>
                      <a:pt x="1077" y="492"/>
                    </a:lnTo>
                    <a:lnTo>
                      <a:pt x="1081" y="491"/>
                    </a:lnTo>
                    <a:lnTo>
                      <a:pt x="1084" y="491"/>
                    </a:lnTo>
                    <a:lnTo>
                      <a:pt x="1090" y="494"/>
                    </a:lnTo>
                    <a:lnTo>
                      <a:pt x="1095" y="499"/>
                    </a:lnTo>
                    <a:lnTo>
                      <a:pt x="1101" y="508"/>
                    </a:lnTo>
                    <a:lnTo>
                      <a:pt x="1101" y="508"/>
                    </a:lnTo>
                    <a:lnTo>
                      <a:pt x="1104" y="512"/>
                    </a:lnTo>
                    <a:lnTo>
                      <a:pt x="1105" y="516"/>
                    </a:lnTo>
                    <a:lnTo>
                      <a:pt x="1104" y="525"/>
                    </a:lnTo>
                    <a:lnTo>
                      <a:pt x="1102" y="531"/>
                    </a:lnTo>
                    <a:lnTo>
                      <a:pt x="1101" y="535"/>
                    </a:lnTo>
                    <a:lnTo>
                      <a:pt x="1101" y="535"/>
                    </a:lnTo>
                    <a:lnTo>
                      <a:pt x="1102" y="536"/>
                    </a:lnTo>
                    <a:lnTo>
                      <a:pt x="1105" y="538"/>
                    </a:lnTo>
                    <a:lnTo>
                      <a:pt x="1111" y="538"/>
                    </a:lnTo>
                    <a:lnTo>
                      <a:pt x="1119" y="536"/>
                    </a:lnTo>
                    <a:lnTo>
                      <a:pt x="1128" y="534"/>
                    </a:lnTo>
                    <a:lnTo>
                      <a:pt x="1128" y="534"/>
                    </a:lnTo>
                    <a:lnTo>
                      <a:pt x="1131" y="532"/>
                    </a:lnTo>
                    <a:lnTo>
                      <a:pt x="1135" y="532"/>
                    </a:lnTo>
                    <a:lnTo>
                      <a:pt x="1141" y="535"/>
                    </a:lnTo>
                    <a:lnTo>
                      <a:pt x="1146" y="541"/>
                    </a:lnTo>
                    <a:lnTo>
                      <a:pt x="1152" y="545"/>
                    </a:lnTo>
                    <a:lnTo>
                      <a:pt x="1152" y="545"/>
                    </a:lnTo>
                    <a:lnTo>
                      <a:pt x="1154" y="548"/>
                    </a:lnTo>
                    <a:lnTo>
                      <a:pt x="1152" y="551"/>
                    </a:lnTo>
                    <a:lnTo>
                      <a:pt x="1148" y="553"/>
                    </a:lnTo>
                    <a:lnTo>
                      <a:pt x="1142" y="556"/>
                    </a:lnTo>
                    <a:lnTo>
                      <a:pt x="1132" y="558"/>
                    </a:lnTo>
                    <a:lnTo>
                      <a:pt x="1129" y="558"/>
                    </a:lnTo>
                    <a:lnTo>
                      <a:pt x="1129" y="556"/>
                    </a:lnTo>
                    <a:lnTo>
                      <a:pt x="1129" y="556"/>
                    </a:lnTo>
                    <a:lnTo>
                      <a:pt x="1129" y="555"/>
                    </a:lnTo>
                    <a:lnTo>
                      <a:pt x="1127" y="551"/>
                    </a:lnTo>
                    <a:lnTo>
                      <a:pt x="1124" y="548"/>
                    </a:lnTo>
                    <a:lnTo>
                      <a:pt x="1118" y="545"/>
                    </a:lnTo>
                    <a:lnTo>
                      <a:pt x="1111" y="542"/>
                    </a:lnTo>
                    <a:lnTo>
                      <a:pt x="1104" y="541"/>
                    </a:lnTo>
                    <a:lnTo>
                      <a:pt x="1097" y="541"/>
                    </a:lnTo>
                    <a:lnTo>
                      <a:pt x="1088" y="542"/>
                    </a:lnTo>
                    <a:lnTo>
                      <a:pt x="1088" y="542"/>
                    </a:lnTo>
                    <a:lnTo>
                      <a:pt x="1082" y="545"/>
                    </a:lnTo>
                    <a:lnTo>
                      <a:pt x="1080" y="548"/>
                    </a:lnTo>
                    <a:lnTo>
                      <a:pt x="1078" y="552"/>
                    </a:lnTo>
                    <a:lnTo>
                      <a:pt x="1078" y="556"/>
                    </a:lnTo>
                    <a:lnTo>
                      <a:pt x="1081" y="563"/>
                    </a:lnTo>
                    <a:lnTo>
                      <a:pt x="1084" y="569"/>
                    </a:lnTo>
                    <a:lnTo>
                      <a:pt x="1084" y="569"/>
                    </a:lnTo>
                    <a:lnTo>
                      <a:pt x="1084" y="572"/>
                    </a:lnTo>
                    <a:lnTo>
                      <a:pt x="1082" y="575"/>
                    </a:lnTo>
                    <a:lnTo>
                      <a:pt x="1078" y="576"/>
                    </a:lnTo>
                    <a:lnTo>
                      <a:pt x="1074" y="578"/>
                    </a:lnTo>
                    <a:lnTo>
                      <a:pt x="1068" y="579"/>
                    </a:lnTo>
                    <a:lnTo>
                      <a:pt x="1061" y="579"/>
                    </a:lnTo>
                    <a:lnTo>
                      <a:pt x="1054" y="579"/>
                    </a:lnTo>
                    <a:lnTo>
                      <a:pt x="1047" y="576"/>
                    </a:lnTo>
                    <a:lnTo>
                      <a:pt x="1047" y="576"/>
                    </a:lnTo>
                    <a:lnTo>
                      <a:pt x="1041" y="575"/>
                    </a:lnTo>
                    <a:lnTo>
                      <a:pt x="1037" y="575"/>
                    </a:lnTo>
                    <a:lnTo>
                      <a:pt x="1034" y="575"/>
                    </a:lnTo>
                    <a:lnTo>
                      <a:pt x="1031" y="576"/>
                    </a:lnTo>
                    <a:lnTo>
                      <a:pt x="1030" y="579"/>
                    </a:lnTo>
                    <a:lnTo>
                      <a:pt x="1028" y="580"/>
                    </a:lnTo>
                    <a:lnTo>
                      <a:pt x="1026" y="580"/>
                    </a:lnTo>
                    <a:lnTo>
                      <a:pt x="1026" y="580"/>
                    </a:lnTo>
                    <a:lnTo>
                      <a:pt x="1023" y="582"/>
                    </a:lnTo>
                    <a:lnTo>
                      <a:pt x="1020" y="583"/>
                    </a:lnTo>
                    <a:lnTo>
                      <a:pt x="1016" y="588"/>
                    </a:lnTo>
                    <a:lnTo>
                      <a:pt x="1014" y="592"/>
                    </a:lnTo>
                    <a:lnTo>
                      <a:pt x="1013" y="595"/>
                    </a:lnTo>
                    <a:lnTo>
                      <a:pt x="1014" y="598"/>
                    </a:lnTo>
                    <a:lnTo>
                      <a:pt x="1016" y="600"/>
                    </a:lnTo>
                    <a:lnTo>
                      <a:pt x="1016" y="600"/>
                    </a:lnTo>
                    <a:lnTo>
                      <a:pt x="1018" y="603"/>
                    </a:lnTo>
                    <a:lnTo>
                      <a:pt x="1023" y="605"/>
                    </a:lnTo>
                    <a:lnTo>
                      <a:pt x="1031" y="605"/>
                    </a:lnTo>
                    <a:lnTo>
                      <a:pt x="1041" y="603"/>
                    </a:lnTo>
                    <a:lnTo>
                      <a:pt x="1051" y="602"/>
                    </a:lnTo>
                    <a:lnTo>
                      <a:pt x="1051" y="602"/>
                    </a:lnTo>
                    <a:lnTo>
                      <a:pt x="1064" y="603"/>
                    </a:lnTo>
                    <a:lnTo>
                      <a:pt x="1065" y="603"/>
                    </a:lnTo>
                    <a:lnTo>
                      <a:pt x="1067" y="599"/>
                    </a:lnTo>
                    <a:lnTo>
                      <a:pt x="1067" y="599"/>
                    </a:lnTo>
                    <a:lnTo>
                      <a:pt x="1068" y="598"/>
                    </a:lnTo>
                    <a:lnTo>
                      <a:pt x="1071" y="596"/>
                    </a:lnTo>
                    <a:lnTo>
                      <a:pt x="1077" y="595"/>
                    </a:lnTo>
                    <a:lnTo>
                      <a:pt x="1084" y="596"/>
                    </a:lnTo>
                    <a:lnTo>
                      <a:pt x="1091" y="598"/>
                    </a:lnTo>
                    <a:lnTo>
                      <a:pt x="1091" y="598"/>
                    </a:lnTo>
                    <a:lnTo>
                      <a:pt x="1094" y="599"/>
                    </a:lnTo>
                    <a:lnTo>
                      <a:pt x="1097" y="602"/>
                    </a:lnTo>
                    <a:lnTo>
                      <a:pt x="1100" y="606"/>
                    </a:lnTo>
                    <a:lnTo>
                      <a:pt x="1104" y="612"/>
                    </a:lnTo>
                    <a:lnTo>
                      <a:pt x="1107" y="613"/>
                    </a:lnTo>
                    <a:lnTo>
                      <a:pt x="1109" y="615"/>
                    </a:lnTo>
                    <a:lnTo>
                      <a:pt x="1109" y="615"/>
                    </a:lnTo>
                    <a:lnTo>
                      <a:pt x="1114" y="616"/>
                    </a:lnTo>
                    <a:lnTo>
                      <a:pt x="1115" y="617"/>
                    </a:lnTo>
                    <a:lnTo>
                      <a:pt x="1117" y="619"/>
                    </a:lnTo>
                    <a:lnTo>
                      <a:pt x="1117" y="622"/>
                    </a:lnTo>
                    <a:lnTo>
                      <a:pt x="1117" y="629"/>
                    </a:lnTo>
                    <a:lnTo>
                      <a:pt x="1117" y="632"/>
                    </a:lnTo>
                    <a:lnTo>
                      <a:pt x="1119" y="635"/>
                    </a:lnTo>
                    <a:lnTo>
                      <a:pt x="1119" y="635"/>
                    </a:lnTo>
                    <a:lnTo>
                      <a:pt x="1122" y="637"/>
                    </a:lnTo>
                    <a:lnTo>
                      <a:pt x="1127" y="639"/>
                    </a:lnTo>
                    <a:lnTo>
                      <a:pt x="1138" y="640"/>
                    </a:lnTo>
                    <a:lnTo>
                      <a:pt x="1149" y="643"/>
                    </a:lnTo>
                    <a:lnTo>
                      <a:pt x="1154" y="644"/>
                    </a:lnTo>
                    <a:lnTo>
                      <a:pt x="1158" y="647"/>
                    </a:lnTo>
                    <a:lnTo>
                      <a:pt x="1158" y="647"/>
                    </a:lnTo>
                    <a:lnTo>
                      <a:pt x="1168" y="654"/>
                    </a:lnTo>
                    <a:lnTo>
                      <a:pt x="1183" y="663"/>
                    </a:lnTo>
                    <a:lnTo>
                      <a:pt x="1199" y="667"/>
                    </a:lnTo>
                    <a:lnTo>
                      <a:pt x="1205" y="667"/>
                    </a:lnTo>
                    <a:lnTo>
                      <a:pt x="1208" y="666"/>
                    </a:lnTo>
                    <a:lnTo>
                      <a:pt x="1208" y="666"/>
                    </a:lnTo>
                    <a:lnTo>
                      <a:pt x="1208" y="664"/>
                    </a:lnTo>
                    <a:lnTo>
                      <a:pt x="1208" y="663"/>
                    </a:lnTo>
                    <a:lnTo>
                      <a:pt x="1205" y="657"/>
                    </a:lnTo>
                    <a:lnTo>
                      <a:pt x="1199" y="650"/>
                    </a:lnTo>
                    <a:lnTo>
                      <a:pt x="1192" y="643"/>
                    </a:lnTo>
                    <a:lnTo>
                      <a:pt x="1178" y="630"/>
                    </a:lnTo>
                    <a:lnTo>
                      <a:pt x="1171" y="626"/>
                    </a:lnTo>
                    <a:lnTo>
                      <a:pt x="1165" y="623"/>
                    </a:lnTo>
                    <a:lnTo>
                      <a:pt x="1165" y="623"/>
                    </a:lnTo>
                    <a:lnTo>
                      <a:pt x="1164" y="623"/>
                    </a:lnTo>
                    <a:lnTo>
                      <a:pt x="1164" y="622"/>
                    </a:lnTo>
                    <a:lnTo>
                      <a:pt x="1168" y="620"/>
                    </a:lnTo>
                    <a:lnTo>
                      <a:pt x="1179" y="622"/>
                    </a:lnTo>
                    <a:lnTo>
                      <a:pt x="1185" y="625"/>
                    </a:lnTo>
                    <a:lnTo>
                      <a:pt x="1189" y="627"/>
                    </a:lnTo>
                    <a:lnTo>
                      <a:pt x="1189" y="627"/>
                    </a:lnTo>
                    <a:lnTo>
                      <a:pt x="1201" y="635"/>
                    </a:lnTo>
                    <a:lnTo>
                      <a:pt x="1206" y="637"/>
                    </a:lnTo>
                    <a:lnTo>
                      <a:pt x="1213" y="639"/>
                    </a:lnTo>
                    <a:lnTo>
                      <a:pt x="1219" y="639"/>
                    </a:lnTo>
                    <a:lnTo>
                      <a:pt x="1223" y="637"/>
                    </a:lnTo>
                    <a:lnTo>
                      <a:pt x="1229" y="635"/>
                    </a:lnTo>
                    <a:lnTo>
                      <a:pt x="1233" y="630"/>
                    </a:lnTo>
                    <a:lnTo>
                      <a:pt x="1233" y="630"/>
                    </a:lnTo>
                    <a:lnTo>
                      <a:pt x="1236" y="627"/>
                    </a:lnTo>
                    <a:lnTo>
                      <a:pt x="1236" y="623"/>
                    </a:lnTo>
                    <a:lnTo>
                      <a:pt x="1235" y="622"/>
                    </a:lnTo>
                    <a:lnTo>
                      <a:pt x="1232" y="620"/>
                    </a:lnTo>
                    <a:lnTo>
                      <a:pt x="1228" y="617"/>
                    </a:lnTo>
                    <a:lnTo>
                      <a:pt x="1225" y="615"/>
                    </a:lnTo>
                    <a:lnTo>
                      <a:pt x="1225" y="612"/>
                    </a:lnTo>
                    <a:lnTo>
                      <a:pt x="1225" y="612"/>
                    </a:lnTo>
                    <a:lnTo>
                      <a:pt x="1223" y="605"/>
                    </a:lnTo>
                    <a:lnTo>
                      <a:pt x="1220" y="598"/>
                    </a:lnTo>
                    <a:lnTo>
                      <a:pt x="1215" y="592"/>
                    </a:lnTo>
                    <a:lnTo>
                      <a:pt x="1212" y="590"/>
                    </a:lnTo>
                    <a:lnTo>
                      <a:pt x="1208" y="590"/>
                    </a:lnTo>
                    <a:lnTo>
                      <a:pt x="1208" y="590"/>
                    </a:lnTo>
                    <a:lnTo>
                      <a:pt x="1203" y="589"/>
                    </a:lnTo>
                    <a:lnTo>
                      <a:pt x="1199" y="588"/>
                    </a:lnTo>
                    <a:lnTo>
                      <a:pt x="1188" y="580"/>
                    </a:lnTo>
                    <a:lnTo>
                      <a:pt x="1183" y="576"/>
                    </a:lnTo>
                    <a:lnTo>
                      <a:pt x="1181" y="572"/>
                    </a:lnTo>
                    <a:lnTo>
                      <a:pt x="1179" y="569"/>
                    </a:lnTo>
                    <a:lnTo>
                      <a:pt x="1182" y="566"/>
                    </a:lnTo>
                    <a:lnTo>
                      <a:pt x="1182" y="566"/>
                    </a:lnTo>
                    <a:lnTo>
                      <a:pt x="1185" y="565"/>
                    </a:lnTo>
                    <a:lnTo>
                      <a:pt x="1185" y="562"/>
                    </a:lnTo>
                    <a:lnTo>
                      <a:pt x="1185" y="559"/>
                    </a:lnTo>
                    <a:lnTo>
                      <a:pt x="1183" y="553"/>
                    </a:lnTo>
                    <a:lnTo>
                      <a:pt x="1185" y="551"/>
                    </a:lnTo>
                    <a:lnTo>
                      <a:pt x="1186" y="548"/>
                    </a:lnTo>
                    <a:lnTo>
                      <a:pt x="1186" y="548"/>
                    </a:lnTo>
                    <a:lnTo>
                      <a:pt x="1189" y="546"/>
                    </a:lnTo>
                    <a:lnTo>
                      <a:pt x="1192" y="546"/>
                    </a:lnTo>
                    <a:lnTo>
                      <a:pt x="1196" y="549"/>
                    </a:lnTo>
                    <a:lnTo>
                      <a:pt x="1203" y="553"/>
                    </a:lnTo>
                    <a:lnTo>
                      <a:pt x="1206" y="555"/>
                    </a:lnTo>
                    <a:lnTo>
                      <a:pt x="1209" y="556"/>
                    </a:lnTo>
                    <a:lnTo>
                      <a:pt x="1209" y="556"/>
                    </a:lnTo>
                    <a:close/>
                    <a:moveTo>
                      <a:pt x="1058" y="522"/>
                    </a:moveTo>
                    <a:lnTo>
                      <a:pt x="1058" y="522"/>
                    </a:lnTo>
                    <a:lnTo>
                      <a:pt x="1061" y="521"/>
                    </a:lnTo>
                    <a:lnTo>
                      <a:pt x="1064" y="519"/>
                    </a:lnTo>
                    <a:lnTo>
                      <a:pt x="1065" y="514"/>
                    </a:lnTo>
                    <a:lnTo>
                      <a:pt x="1064" y="507"/>
                    </a:lnTo>
                    <a:lnTo>
                      <a:pt x="1061" y="501"/>
                    </a:lnTo>
                    <a:lnTo>
                      <a:pt x="1061" y="501"/>
                    </a:lnTo>
                    <a:lnTo>
                      <a:pt x="1057" y="498"/>
                    </a:lnTo>
                    <a:lnTo>
                      <a:pt x="1053" y="497"/>
                    </a:lnTo>
                    <a:lnTo>
                      <a:pt x="1047" y="495"/>
                    </a:lnTo>
                    <a:lnTo>
                      <a:pt x="1040" y="495"/>
                    </a:lnTo>
                    <a:lnTo>
                      <a:pt x="1040" y="495"/>
                    </a:lnTo>
                    <a:lnTo>
                      <a:pt x="1034" y="498"/>
                    </a:lnTo>
                    <a:lnTo>
                      <a:pt x="1027" y="504"/>
                    </a:lnTo>
                    <a:lnTo>
                      <a:pt x="1026" y="508"/>
                    </a:lnTo>
                    <a:lnTo>
                      <a:pt x="1024" y="512"/>
                    </a:lnTo>
                    <a:lnTo>
                      <a:pt x="1024" y="516"/>
                    </a:lnTo>
                    <a:lnTo>
                      <a:pt x="1026" y="521"/>
                    </a:lnTo>
                    <a:lnTo>
                      <a:pt x="1026" y="521"/>
                    </a:lnTo>
                    <a:lnTo>
                      <a:pt x="1030" y="524"/>
                    </a:lnTo>
                    <a:lnTo>
                      <a:pt x="1033" y="526"/>
                    </a:lnTo>
                    <a:lnTo>
                      <a:pt x="1037" y="526"/>
                    </a:lnTo>
                    <a:lnTo>
                      <a:pt x="1041" y="526"/>
                    </a:lnTo>
                    <a:lnTo>
                      <a:pt x="1051" y="524"/>
                    </a:lnTo>
                    <a:lnTo>
                      <a:pt x="1058" y="522"/>
                    </a:lnTo>
                    <a:lnTo>
                      <a:pt x="1058" y="522"/>
                    </a:lnTo>
                    <a:close/>
                    <a:moveTo>
                      <a:pt x="970" y="337"/>
                    </a:moveTo>
                    <a:lnTo>
                      <a:pt x="970" y="337"/>
                    </a:lnTo>
                    <a:lnTo>
                      <a:pt x="969" y="340"/>
                    </a:lnTo>
                    <a:lnTo>
                      <a:pt x="970" y="343"/>
                    </a:lnTo>
                    <a:lnTo>
                      <a:pt x="973" y="347"/>
                    </a:lnTo>
                    <a:lnTo>
                      <a:pt x="977" y="350"/>
                    </a:lnTo>
                    <a:lnTo>
                      <a:pt x="979" y="353"/>
                    </a:lnTo>
                    <a:lnTo>
                      <a:pt x="980" y="357"/>
                    </a:lnTo>
                    <a:lnTo>
                      <a:pt x="980" y="357"/>
                    </a:lnTo>
                    <a:lnTo>
                      <a:pt x="980" y="360"/>
                    </a:lnTo>
                    <a:lnTo>
                      <a:pt x="983" y="364"/>
                    </a:lnTo>
                    <a:lnTo>
                      <a:pt x="986" y="366"/>
                    </a:lnTo>
                    <a:lnTo>
                      <a:pt x="989" y="367"/>
                    </a:lnTo>
                    <a:lnTo>
                      <a:pt x="993" y="369"/>
                    </a:lnTo>
                    <a:lnTo>
                      <a:pt x="996" y="369"/>
                    </a:lnTo>
                    <a:lnTo>
                      <a:pt x="1000" y="367"/>
                    </a:lnTo>
                    <a:lnTo>
                      <a:pt x="1004" y="364"/>
                    </a:lnTo>
                    <a:lnTo>
                      <a:pt x="1004" y="364"/>
                    </a:lnTo>
                    <a:lnTo>
                      <a:pt x="1008" y="363"/>
                    </a:lnTo>
                    <a:lnTo>
                      <a:pt x="1014" y="363"/>
                    </a:lnTo>
                    <a:lnTo>
                      <a:pt x="1027" y="363"/>
                    </a:lnTo>
                    <a:lnTo>
                      <a:pt x="1038" y="361"/>
                    </a:lnTo>
                    <a:lnTo>
                      <a:pt x="1041" y="361"/>
                    </a:lnTo>
                    <a:lnTo>
                      <a:pt x="1043" y="359"/>
                    </a:lnTo>
                    <a:lnTo>
                      <a:pt x="1043" y="359"/>
                    </a:lnTo>
                    <a:lnTo>
                      <a:pt x="1041" y="356"/>
                    </a:lnTo>
                    <a:lnTo>
                      <a:pt x="1037" y="351"/>
                    </a:lnTo>
                    <a:lnTo>
                      <a:pt x="1026" y="344"/>
                    </a:lnTo>
                    <a:lnTo>
                      <a:pt x="1013" y="340"/>
                    </a:lnTo>
                    <a:lnTo>
                      <a:pt x="1007" y="339"/>
                    </a:lnTo>
                    <a:lnTo>
                      <a:pt x="1001" y="339"/>
                    </a:lnTo>
                    <a:lnTo>
                      <a:pt x="1001" y="339"/>
                    </a:lnTo>
                    <a:lnTo>
                      <a:pt x="997" y="339"/>
                    </a:lnTo>
                    <a:lnTo>
                      <a:pt x="993" y="337"/>
                    </a:lnTo>
                    <a:lnTo>
                      <a:pt x="983" y="336"/>
                    </a:lnTo>
                    <a:lnTo>
                      <a:pt x="976" y="334"/>
                    </a:lnTo>
                    <a:lnTo>
                      <a:pt x="972" y="334"/>
                    </a:lnTo>
                    <a:lnTo>
                      <a:pt x="970" y="337"/>
                    </a:lnTo>
                    <a:lnTo>
                      <a:pt x="970" y="337"/>
                    </a:lnTo>
                    <a:close/>
                    <a:moveTo>
                      <a:pt x="1236" y="942"/>
                    </a:moveTo>
                    <a:lnTo>
                      <a:pt x="1236" y="942"/>
                    </a:lnTo>
                    <a:lnTo>
                      <a:pt x="1239" y="945"/>
                    </a:lnTo>
                    <a:lnTo>
                      <a:pt x="1243" y="949"/>
                    </a:lnTo>
                    <a:lnTo>
                      <a:pt x="1259" y="955"/>
                    </a:lnTo>
                    <a:lnTo>
                      <a:pt x="1273" y="959"/>
                    </a:lnTo>
                    <a:lnTo>
                      <a:pt x="1279" y="959"/>
                    </a:lnTo>
                    <a:lnTo>
                      <a:pt x="1280" y="959"/>
                    </a:lnTo>
                    <a:lnTo>
                      <a:pt x="1280" y="957"/>
                    </a:lnTo>
                    <a:lnTo>
                      <a:pt x="1280" y="957"/>
                    </a:lnTo>
                    <a:lnTo>
                      <a:pt x="1280" y="956"/>
                    </a:lnTo>
                    <a:lnTo>
                      <a:pt x="1279" y="955"/>
                    </a:lnTo>
                    <a:lnTo>
                      <a:pt x="1275" y="950"/>
                    </a:lnTo>
                    <a:lnTo>
                      <a:pt x="1259" y="945"/>
                    </a:lnTo>
                    <a:lnTo>
                      <a:pt x="1243" y="942"/>
                    </a:lnTo>
                    <a:lnTo>
                      <a:pt x="1238" y="942"/>
                    </a:lnTo>
                    <a:lnTo>
                      <a:pt x="1238" y="942"/>
                    </a:lnTo>
                    <a:lnTo>
                      <a:pt x="1236" y="942"/>
                    </a:lnTo>
                    <a:lnTo>
                      <a:pt x="1236" y="942"/>
                    </a:lnTo>
                    <a:close/>
                    <a:moveTo>
                      <a:pt x="1417" y="984"/>
                    </a:moveTo>
                    <a:lnTo>
                      <a:pt x="1417" y="984"/>
                    </a:lnTo>
                    <a:lnTo>
                      <a:pt x="1415" y="986"/>
                    </a:lnTo>
                    <a:lnTo>
                      <a:pt x="1415" y="986"/>
                    </a:lnTo>
                    <a:lnTo>
                      <a:pt x="1413" y="984"/>
                    </a:lnTo>
                    <a:lnTo>
                      <a:pt x="1414" y="980"/>
                    </a:lnTo>
                    <a:lnTo>
                      <a:pt x="1414" y="979"/>
                    </a:lnTo>
                    <a:lnTo>
                      <a:pt x="1417" y="976"/>
                    </a:lnTo>
                    <a:lnTo>
                      <a:pt x="1417" y="976"/>
                    </a:lnTo>
                    <a:lnTo>
                      <a:pt x="1418" y="973"/>
                    </a:lnTo>
                    <a:lnTo>
                      <a:pt x="1417" y="972"/>
                    </a:lnTo>
                    <a:lnTo>
                      <a:pt x="1414" y="972"/>
                    </a:lnTo>
                    <a:lnTo>
                      <a:pt x="1410" y="973"/>
                    </a:lnTo>
                    <a:lnTo>
                      <a:pt x="1410" y="973"/>
                    </a:lnTo>
                    <a:lnTo>
                      <a:pt x="1408" y="973"/>
                    </a:lnTo>
                    <a:lnTo>
                      <a:pt x="1407" y="972"/>
                    </a:lnTo>
                    <a:lnTo>
                      <a:pt x="1405" y="967"/>
                    </a:lnTo>
                    <a:lnTo>
                      <a:pt x="1407" y="960"/>
                    </a:lnTo>
                    <a:lnTo>
                      <a:pt x="1408" y="959"/>
                    </a:lnTo>
                    <a:lnTo>
                      <a:pt x="1411" y="957"/>
                    </a:lnTo>
                    <a:lnTo>
                      <a:pt x="1411" y="957"/>
                    </a:lnTo>
                    <a:lnTo>
                      <a:pt x="1411" y="956"/>
                    </a:lnTo>
                    <a:lnTo>
                      <a:pt x="1411" y="955"/>
                    </a:lnTo>
                    <a:lnTo>
                      <a:pt x="1405" y="952"/>
                    </a:lnTo>
                    <a:lnTo>
                      <a:pt x="1400" y="952"/>
                    </a:lnTo>
                    <a:lnTo>
                      <a:pt x="1398" y="952"/>
                    </a:lnTo>
                    <a:lnTo>
                      <a:pt x="1398" y="953"/>
                    </a:lnTo>
                    <a:lnTo>
                      <a:pt x="1398" y="953"/>
                    </a:lnTo>
                    <a:lnTo>
                      <a:pt x="1397" y="955"/>
                    </a:lnTo>
                    <a:lnTo>
                      <a:pt x="1395" y="956"/>
                    </a:lnTo>
                    <a:lnTo>
                      <a:pt x="1391" y="956"/>
                    </a:lnTo>
                    <a:lnTo>
                      <a:pt x="1387" y="953"/>
                    </a:lnTo>
                    <a:lnTo>
                      <a:pt x="1384" y="950"/>
                    </a:lnTo>
                    <a:lnTo>
                      <a:pt x="1384" y="950"/>
                    </a:lnTo>
                    <a:lnTo>
                      <a:pt x="1381" y="948"/>
                    </a:lnTo>
                    <a:lnTo>
                      <a:pt x="1378" y="946"/>
                    </a:lnTo>
                    <a:lnTo>
                      <a:pt x="1376" y="943"/>
                    </a:lnTo>
                    <a:lnTo>
                      <a:pt x="1376" y="942"/>
                    </a:lnTo>
                    <a:lnTo>
                      <a:pt x="1377" y="942"/>
                    </a:lnTo>
                    <a:lnTo>
                      <a:pt x="1377" y="942"/>
                    </a:lnTo>
                    <a:lnTo>
                      <a:pt x="1377" y="940"/>
                    </a:lnTo>
                    <a:lnTo>
                      <a:pt x="1376" y="939"/>
                    </a:lnTo>
                    <a:lnTo>
                      <a:pt x="1371" y="938"/>
                    </a:lnTo>
                    <a:lnTo>
                      <a:pt x="1367" y="939"/>
                    </a:lnTo>
                    <a:lnTo>
                      <a:pt x="1366" y="940"/>
                    </a:lnTo>
                    <a:lnTo>
                      <a:pt x="1364" y="942"/>
                    </a:lnTo>
                    <a:lnTo>
                      <a:pt x="1364" y="942"/>
                    </a:lnTo>
                    <a:lnTo>
                      <a:pt x="1363" y="943"/>
                    </a:lnTo>
                    <a:lnTo>
                      <a:pt x="1363" y="943"/>
                    </a:lnTo>
                    <a:lnTo>
                      <a:pt x="1361" y="940"/>
                    </a:lnTo>
                    <a:lnTo>
                      <a:pt x="1361" y="936"/>
                    </a:lnTo>
                    <a:lnTo>
                      <a:pt x="1366" y="930"/>
                    </a:lnTo>
                    <a:lnTo>
                      <a:pt x="1366" y="930"/>
                    </a:lnTo>
                    <a:lnTo>
                      <a:pt x="1370" y="925"/>
                    </a:lnTo>
                    <a:lnTo>
                      <a:pt x="1371" y="920"/>
                    </a:lnTo>
                    <a:lnTo>
                      <a:pt x="1373" y="916"/>
                    </a:lnTo>
                    <a:lnTo>
                      <a:pt x="1377" y="912"/>
                    </a:lnTo>
                    <a:lnTo>
                      <a:pt x="1377" y="912"/>
                    </a:lnTo>
                    <a:lnTo>
                      <a:pt x="1378" y="911"/>
                    </a:lnTo>
                    <a:lnTo>
                      <a:pt x="1380" y="909"/>
                    </a:lnTo>
                    <a:lnTo>
                      <a:pt x="1378" y="908"/>
                    </a:lnTo>
                    <a:lnTo>
                      <a:pt x="1374" y="906"/>
                    </a:lnTo>
                    <a:lnTo>
                      <a:pt x="1370" y="908"/>
                    </a:lnTo>
                    <a:lnTo>
                      <a:pt x="1370" y="908"/>
                    </a:lnTo>
                    <a:lnTo>
                      <a:pt x="1366" y="909"/>
                    </a:lnTo>
                    <a:lnTo>
                      <a:pt x="1363" y="913"/>
                    </a:lnTo>
                    <a:lnTo>
                      <a:pt x="1353" y="923"/>
                    </a:lnTo>
                    <a:lnTo>
                      <a:pt x="1346" y="935"/>
                    </a:lnTo>
                    <a:lnTo>
                      <a:pt x="1344" y="939"/>
                    </a:lnTo>
                    <a:lnTo>
                      <a:pt x="1343" y="943"/>
                    </a:lnTo>
                    <a:lnTo>
                      <a:pt x="1343" y="943"/>
                    </a:lnTo>
                    <a:lnTo>
                      <a:pt x="1343" y="949"/>
                    </a:lnTo>
                    <a:lnTo>
                      <a:pt x="1341" y="953"/>
                    </a:lnTo>
                    <a:lnTo>
                      <a:pt x="1340" y="957"/>
                    </a:lnTo>
                    <a:lnTo>
                      <a:pt x="1339" y="957"/>
                    </a:lnTo>
                    <a:lnTo>
                      <a:pt x="1336" y="959"/>
                    </a:lnTo>
                    <a:lnTo>
                      <a:pt x="1336" y="959"/>
                    </a:lnTo>
                    <a:lnTo>
                      <a:pt x="1331" y="959"/>
                    </a:lnTo>
                    <a:lnTo>
                      <a:pt x="1327" y="962"/>
                    </a:lnTo>
                    <a:lnTo>
                      <a:pt x="1326" y="965"/>
                    </a:lnTo>
                    <a:lnTo>
                      <a:pt x="1326" y="966"/>
                    </a:lnTo>
                    <a:lnTo>
                      <a:pt x="1327" y="967"/>
                    </a:lnTo>
                    <a:lnTo>
                      <a:pt x="1327" y="967"/>
                    </a:lnTo>
                    <a:lnTo>
                      <a:pt x="1327" y="969"/>
                    </a:lnTo>
                    <a:lnTo>
                      <a:pt x="1327" y="972"/>
                    </a:lnTo>
                    <a:lnTo>
                      <a:pt x="1323" y="977"/>
                    </a:lnTo>
                    <a:lnTo>
                      <a:pt x="1320" y="983"/>
                    </a:lnTo>
                    <a:lnTo>
                      <a:pt x="1320" y="984"/>
                    </a:lnTo>
                    <a:lnTo>
                      <a:pt x="1323" y="987"/>
                    </a:lnTo>
                    <a:lnTo>
                      <a:pt x="1323" y="987"/>
                    </a:lnTo>
                    <a:lnTo>
                      <a:pt x="1327" y="989"/>
                    </a:lnTo>
                    <a:lnTo>
                      <a:pt x="1334" y="987"/>
                    </a:lnTo>
                    <a:lnTo>
                      <a:pt x="1340" y="987"/>
                    </a:lnTo>
                    <a:lnTo>
                      <a:pt x="1347" y="987"/>
                    </a:lnTo>
                    <a:lnTo>
                      <a:pt x="1347" y="987"/>
                    </a:lnTo>
                    <a:lnTo>
                      <a:pt x="1358" y="987"/>
                    </a:lnTo>
                    <a:lnTo>
                      <a:pt x="1364" y="986"/>
                    </a:lnTo>
                    <a:lnTo>
                      <a:pt x="1370" y="983"/>
                    </a:lnTo>
                    <a:lnTo>
                      <a:pt x="1370" y="983"/>
                    </a:lnTo>
                    <a:lnTo>
                      <a:pt x="1373" y="982"/>
                    </a:lnTo>
                    <a:lnTo>
                      <a:pt x="1374" y="982"/>
                    </a:lnTo>
                    <a:lnTo>
                      <a:pt x="1377" y="983"/>
                    </a:lnTo>
                    <a:lnTo>
                      <a:pt x="1380" y="986"/>
                    </a:lnTo>
                    <a:lnTo>
                      <a:pt x="1381" y="987"/>
                    </a:lnTo>
                    <a:lnTo>
                      <a:pt x="1384" y="987"/>
                    </a:lnTo>
                    <a:lnTo>
                      <a:pt x="1384" y="987"/>
                    </a:lnTo>
                    <a:lnTo>
                      <a:pt x="1387" y="987"/>
                    </a:lnTo>
                    <a:lnTo>
                      <a:pt x="1387" y="987"/>
                    </a:lnTo>
                    <a:lnTo>
                      <a:pt x="1385" y="990"/>
                    </a:lnTo>
                    <a:lnTo>
                      <a:pt x="1383" y="994"/>
                    </a:lnTo>
                    <a:lnTo>
                      <a:pt x="1381" y="999"/>
                    </a:lnTo>
                    <a:lnTo>
                      <a:pt x="1381" y="999"/>
                    </a:lnTo>
                    <a:lnTo>
                      <a:pt x="1381" y="1000"/>
                    </a:lnTo>
                    <a:lnTo>
                      <a:pt x="1383" y="1000"/>
                    </a:lnTo>
                    <a:lnTo>
                      <a:pt x="1385" y="999"/>
                    </a:lnTo>
                    <a:lnTo>
                      <a:pt x="1394" y="993"/>
                    </a:lnTo>
                    <a:lnTo>
                      <a:pt x="1394" y="993"/>
                    </a:lnTo>
                    <a:lnTo>
                      <a:pt x="1398" y="992"/>
                    </a:lnTo>
                    <a:lnTo>
                      <a:pt x="1403" y="992"/>
                    </a:lnTo>
                    <a:lnTo>
                      <a:pt x="1404" y="994"/>
                    </a:lnTo>
                    <a:lnTo>
                      <a:pt x="1404" y="997"/>
                    </a:lnTo>
                    <a:lnTo>
                      <a:pt x="1404" y="997"/>
                    </a:lnTo>
                    <a:lnTo>
                      <a:pt x="1404" y="999"/>
                    </a:lnTo>
                    <a:lnTo>
                      <a:pt x="1405" y="1000"/>
                    </a:lnTo>
                    <a:lnTo>
                      <a:pt x="1411" y="1003"/>
                    </a:lnTo>
                    <a:lnTo>
                      <a:pt x="1418" y="1003"/>
                    </a:lnTo>
                    <a:lnTo>
                      <a:pt x="1422" y="1002"/>
                    </a:lnTo>
                    <a:lnTo>
                      <a:pt x="1424" y="999"/>
                    </a:lnTo>
                    <a:lnTo>
                      <a:pt x="1424" y="999"/>
                    </a:lnTo>
                    <a:lnTo>
                      <a:pt x="1425" y="996"/>
                    </a:lnTo>
                    <a:lnTo>
                      <a:pt x="1425" y="993"/>
                    </a:lnTo>
                    <a:lnTo>
                      <a:pt x="1424" y="987"/>
                    </a:lnTo>
                    <a:lnTo>
                      <a:pt x="1420" y="984"/>
                    </a:lnTo>
                    <a:lnTo>
                      <a:pt x="1418" y="983"/>
                    </a:lnTo>
                    <a:lnTo>
                      <a:pt x="1417" y="984"/>
                    </a:lnTo>
                    <a:lnTo>
                      <a:pt x="1417" y="984"/>
                    </a:lnTo>
                    <a:close/>
                    <a:moveTo>
                      <a:pt x="131" y="854"/>
                    </a:moveTo>
                    <a:lnTo>
                      <a:pt x="131" y="854"/>
                    </a:lnTo>
                    <a:lnTo>
                      <a:pt x="129" y="855"/>
                    </a:lnTo>
                    <a:lnTo>
                      <a:pt x="128" y="858"/>
                    </a:lnTo>
                    <a:lnTo>
                      <a:pt x="129" y="864"/>
                    </a:lnTo>
                    <a:lnTo>
                      <a:pt x="132" y="869"/>
                    </a:lnTo>
                    <a:lnTo>
                      <a:pt x="136" y="876"/>
                    </a:lnTo>
                    <a:lnTo>
                      <a:pt x="142" y="882"/>
                    </a:lnTo>
                    <a:lnTo>
                      <a:pt x="148" y="886"/>
                    </a:lnTo>
                    <a:lnTo>
                      <a:pt x="152" y="889"/>
                    </a:lnTo>
                    <a:lnTo>
                      <a:pt x="156" y="889"/>
                    </a:lnTo>
                    <a:lnTo>
                      <a:pt x="156" y="889"/>
                    </a:lnTo>
                    <a:lnTo>
                      <a:pt x="156" y="888"/>
                    </a:lnTo>
                    <a:lnTo>
                      <a:pt x="156" y="885"/>
                    </a:lnTo>
                    <a:lnTo>
                      <a:pt x="154" y="879"/>
                    </a:lnTo>
                    <a:lnTo>
                      <a:pt x="151" y="872"/>
                    </a:lnTo>
                    <a:lnTo>
                      <a:pt x="148" y="865"/>
                    </a:lnTo>
                    <a:lnTo>
                      <a:pt x="148" y="865"/>
                    </a:lnTo>
                    <a:lnTo>
                      <a:pt x="148" y="858"/>
                    </a:lnTo>
                    <a:lnTo>
                      <a:pt x="145" y="854"/>
                    </a:lnTo>
                    <a:lnTo>
                      <a:pt x="142" y="852"/>
                    </a:lnTo>
                    <a:lnTo>
                      <a:pt x="139" y="852"/>
                    </a:lnTo>
                    <a:lnTo>
                      <a:pt x="136" y="852"/>
                    </a:lnTo>
                    <a:lnTo>
                      <a:pt x="131" y="854"/>
                    </a:lnTo>
                    <a:lnTo>
                      <a:pt x="131" y="854"/>
                    </a:lnTo>
                    <a:close/>
                    <a:moveTo>
                      <a:pt x="1303" y="1016"/>
                    </a:moveTo>
                    <a:lnTo>
                      <a:pt x="1303" y="1016"/>
                    </a:lnTo>
                    <a:lnTo>
                      <a:pt x="1302" y="1016"/>
                    </a:lnTo>
                    <a:lnTo>
                      <a:pt x="1302" y="1016"/>
                    </a:lnTo>
                    <a:lnTo>
                      <a:pt x="1302" y="1013"/>
                    </a:lnTo>
                    <a:lnTo>
                      <a:pt x="1303" y="1006"/>
                    </a:lnTo>
                    <a:lnTo>
                      <a:pt x="1303" y="1006"/>
                    </a:lnTo>
                    <a:lnTo>
                      <a:pt x="1303" y="1004"/>
                    </a:lnTo>
                    <a:lnTo>
                      <a:pt x="1302" y="1004"/>
                    </a:lnTo>
                    <a:lnTo>
                      <a:pt x="1299" y="1006"/>
                    </a:lnTo>
                    <a:lnTo>
                      <a:pt x="1294" y="1009"/>
                    </a:lnTo>
                    <a:lnTo>
                      <a:pt x="1292" y="1012"/>
                    </a:lnTo>
                    <a:lnTo>
                      <a:pt x="1292" y="1012"/>
                    </a:lnTo>
                    <a:lnTo>
                      <a:pt x="1290" y="1014"/>
                    </a:lnTo>
                    <a:lnTo>
                      <a:pt x="1287" y="1017"/>
                    </a:lnTo>
                    <a:lnTo>
                      <a:pt x="1284" y="1019"/>
                    </a:lnTo>
                    <a:lnTo>
                      <a:pt x="1284" y="1021"/>
                    </a:lnTo>
                    <a:lnTo>
                      <a:pt x="1284" y="1021"/>
                    </a:lnTo>
                    <a:lnTo>
                      <a:pt x="1283" y="1026"/>
                    </a:lnTo>
                    <a:lnTo>
                      <a:pt x="1283" y="1026"/>
                    </a:lnTo>
                    <a:lnTo>
                      <a:pt x="1280" y="1027"/>
                    </a:lnTo>
                    <a:lnTo>
                      <a:pt x="1277" y="1027"/>
                    </a:lnTo>
                    <a:lnTo>
                      <a:pt x="1277" y="1027"/>
                    </a:lnTo>
                    <a:lnTo>
                      <a:pt x="1270" y="1029"/>
                    </a:lnTo>
                    <a:lnTo>
                      <a:pt x="1262" y="1029"/>
                    </a:lnTo>
                    <a:lnTo>
                      <a:pt x="1253" y="1026"/>
                    </a:lnTo>
                    <a:lnTo>
                      <a:pt x="1250" y="1024"/>
                    </a:lnTo>
                    <a:lnTo>
                      <a:pt x="1249" y="1023"/>
                    </a:lnTo>
                    <a:lnTo>
                      <a:pt x="1249" y="1023"/>
                    </a:lnTo>
                    <a:lnTo>
                      <a:pt x="1247" y="1021"/>
                    </a:lnTo>
                    <a:lnTo>
                      <a:pt x="1246" y="1020"/>
                    </a:lnTo>
                    <a:lnTo>
                      <a:pt x="1240" y="1016"/>
                    </a:lnTo>
                    <a:lnTo>
                      <a:pt x="1235" y="1013"/>
                    </a:lnTo>
                    <a:lnTo>
                      <a:pt x="1232" y="1012"/>
                    </a:lnTo>
                    <a:lnTo>
                      <a:pt x="1232" y="1009"/>
                    </a:lnTo>
                    <a:lnTo>
                      <a:pt x="1232" y="1009"/>
                    </a:lnTo>
                    <a:lnTo>
                      <a:pt x="1230" y="1004"/>
                    </a:lnTo>
                    <a:lnTo>
                      <a:pt x="1228" y="1000"/>
                    </a:lnTo>
                    <a:lnTo>
                      <a:pt x="1226" y="997"/>
                    </a:lnTo>
                    <a:lnTo>
                      <a:pt x="1229" y="992"/>
                    </a:lnTo>
                    <a:lnTo>
                      <a:pt x="1229" y="992"/>
                    </a:lnTo>
                    <a:lnTo>
                      <a:pt x="1230" y="990"/>
                    </a:lnTo>
                    <a:lnTo>
                      <a:pt x="1232" y="987"/>
                    </a:lnTo>
                    <a:lnTo>
                      <a:pt x="1232" y="986"/>
                    </a:lnTo>
                    <a:lnTo>
                      <a:pt x="1230" y="984"/>
                    </a:lnTo>
                    <a:lnTo>
                      <a:pt x="1226" y="984"/>
                    </a:lnTo>
                    <a:lnTo>
                      <a:pt x="1222" y="987"/>
                    </a:lnTo>
                    <a:lnTo>
                      <a:pt x="1222" y="987"/>
                    </a:lnTo>
                    <a:lnTo>
                      <a:pt x="1220" y="989"/>
                    </a:lnTo>
                    <a:lnTo>
                      <a:pt x="1218" y="989"/>
                    </a:lnTo>
                    <a:lnTo>
                      <a:pt x="1216" y="989"/>
                    </a:lnTo>
                    <a:lnTo>
                      <a:pt x="1216" y="987"/>
                    </a:lnTo>
                    <a:lnTo>
                      <a:pt x="1216" y="983"/>
                    </a:lnTo>
                    <a:lnTo>
                      <a:pt x="1218" y="982"/>
                    </a:lnTo>
                    <a:lnTo>
                      <a:pt x="1220" y="980"/>
                    </a:lnTo>
                    <a:lnTo>
                      <a:pt x="1220" y="980"/>
                    </a:lnTo>
                    <a:lnTo>
                      <a:pt x="1228" y="977"/>
                    </a:lnTo>
                    <a:lnTo>
                      <a:pt x="1235" y="975"/>
                    </a:lnTo>
                    <a:lnTo>
                      <a:pt x="1238" y="972"/>
                    </a:lnTo>
                    <a:lnTo>
                      <a:pt x="1239" y="969"/>
                    </a:lnTo>
                    <a:lnTo>
                      <a:pt x="1238" y="965"/>
                    </a:lnTo>
                    <a:lnTo>
                      <a:pt x="1236" y="960"/>
                    </a:lnTo>
                    <a:lnTo>
                      <a:pt x="1236" y="960"/>
                    </a:lnTo>
                    <a:lnTo>
                      <a:pt x="1235" y="957"/>
                    </a:lnTo>
                    <a:lnTo>
                      <a:pt x="1232" y="956"/>
                    </a:lnTo>
                    <a:lnTo>
                      <a:pt x="1223" y="955"/>
                    </a:lnTo>
                    <a:lnTo>
                      <a:pt x="1215" y="955"/>
                    </a:lnTo>
                    <a:lnTo>
                      <a:pt x="1203" y="957"/>
                    </a:lnTo>
                    <a:lnTo>
                      <a:pt x="1182" y="965"/>
                    </a:lnTo>
                    <a:lnTo>
                      <a:pt x="1166" y="972"/>
                    </a:lnTo>
                    <a:lnTo>
                      <a:pt x="1166" y="972"/>
                    </a:lnTo>
                    <a:lnTo>
                      <a:pt x="1156" y="979"/>
                    </a:lnTo>
                    <a:lnTo>
                      <a:pt x="1148" y="989"/>
                    </a:lnTo>
                    <a:lnTo>
                      <a:pt x="1138" y="997"/>
                    </a:lnTo>
                    <a:lnTo>
                      <a:pt x="1135" y="1000"/>
                    </a:lnTo>
                    <a:lnTo>
                      <a:pt x="1132" y="1002"/>
                    </a:lnTo>
                    <a:lnTo>
                      <a:pt x="1132" y="1002"/>
                    </a:lnTo>
                    <a:lnTo>
                      <a:pt x="1131" y="1000"/>
                    </a:lnTo>
                    <a:lnTo>
                      <a:pt x="1131" y="999"/>
                    </a:lnTo>
                    <a:lnTo>
                      <a:pt x="1135" y="994"/>
                    </a:lnTo>
                    <a:lnTo>
                      <a:pt x="1142" y="989"/>
                    </a:lnTo>
                    <a:lnTo>
                      <a:pt x="1146" y="984"/>
                    </a:lnTo>
                    <a:lnTo>
                      <a:pt x="1146" y="984"/>
                    </a:lnTo>
                    <a:lnTo>
                      <a:pt x="1148" y="982"/>
                    </a:lnTo>
                    <a:lnTo>
                      <a:pt x="1148" y="979"/>
                    </a:lnTo>
                    <a:lnTo>
                      <a:pt x="1148" y="977"/>
                    </a:lnTo>
                    <a:lnTo>
                      <a:pt x="1149" y="977"/>
                    </a:lnTo>
                    <a:lnTo>
                      <a:pt x="1149" y="977"/>
                    </a:lnTo>
                    <a:lnTo>
                      <a:pt x="1152" y="977"/>
                    </a:lnTo>
                    <a:lnTo>
                      <a:pt x="1154" y="975"/>
                    </a:lnTo>
                    <a:lnTo>
                      <a:pt x="1159" y="969"/>
                    </a:lnTo>
                    <a:lnTo>
                      <a:pt x="1166" y="962"/>
                    </a:lnTo>
                    <a:lnTo>
                      <a:pt x="1172" y="956"/>
                    </a:lnTo>
                    <a:lnTo>
                      <a:pt x="1172" y="956"/>
                    </a:lnTo>
                    <a:lnTo>
                      <a:pt x="1178" y="953"/>
                    </a:lnTo>
                    <a:lnTo>
                      <a:pt x="1183" y="953"/>
                    </a:lnTo>
                    <a:lnTo>
                      <a:pt x="1186" y="953"/>
                    </a:lnTo>
                    <a:lnTo>
                      <a:pt x="1188" y="952"/>
                    </a:lnTo>
                    <a:lnTo>
                      <a:pt x="1189" y="950"/>
                    </a:lnTo>
                    <a:lnTo>
                      <a:pt x="1189" y="950"/>
                    </a:lnTo>
                    <a:lnTo>
                      <a:pt x="1191" y="948"/>
                    </a:lnTo>
                    <a:lnTo>
                      <a:pt x="1192" y="945"/>
                    </a:lnTo>
                    <a:lnTo>
                      <a:pt x="1201" y="936"/>
                    </a:lnTo>
                    <a:lnTo>
                      <a:pt x="1201" y="936"/>
                    </a:lnTo>
                    <a:lnTo>
                      <a:pt x="1206" y="935"/>
                    </a:lnTo>
                    <a:lnTo>
                      <a:pt x="1218" y="933"/>
                    </a:lnTo>
                    <a:lnTo>
                      <a:pt x="1250" y="932"/>
                    </a:lnTo>
                    <a:lnTo>
                      <a:pt x="1302" y="932"/>
                    </a:lnTo>
                    <a:lnTo>
                      <a:pt x="1302" y="932"/>
                    </a:lnTo>
                    <a:lnTo>
                      <a:pt x="1309" y="930"/>
                    </a:lnTo>
                    <a:lnTo>
                      <a:pt x="1317" y="926"/>
                    </a:lnTo>
                    <a:lnTo>
                      <a:pt x="1324" y="920"/>
                    </a:lnTo>
                    <a:lnTo>
                      <a:pt x="1330" y="913"/>
                    </a:lnTo>
                    <a:lnTo>
                      <a:pt x="1330" y="913"/>
                    </a:lnTo>
                    <a:lnTo>
                      <a:pt x="1334" y="911"/>
                    </a:lnTo>
                    <a:lnTo>
                      <a:pt x="1339" y="908"/>
                    </a:lnTo>
                    <a:lnTo>
                      <a:pt x="1344" y="908"/>
                    </a:lnTo>
                    <a:lnTo>
                      <a:pt x="1351" y="908"/>
                    </a:lnTo>
                    <a:lnTo>
                      <a:pt x="1351" y="908"/>
                    </a:lnTo>
                    <a:lnTo>
                      <a:pt x="1356" y="908"/>
                    </a:lnTo>
                    <a:lnTo>
                      <a:pt x="1360" y="906"/>
                    </a:lnTo>
                    <a:lnTo>
                      <a:pt x="1366" y="902"/>
                    </a:lnTo>
                    <a:lnTo>
                      <a:pt x="1374" y="893"/>
                    </a:lnTo>
                    <a:lnTo>
                      <a:pt x="1374" y="893"/>
                    </a:lnTo>
                    <a:lnTo>
                      <a:pt x="1377" y="892"/>
                    </a:lnTo>
                    <a:lnTo>
                      <a:pt x="1377" y="889"/>
                    </a:lnTo>
                    <a:lnTo>
                      <a:pt x="1376" y="888"/>
                    </a:lnTo>
                    <a:lnTo>
                      <a:pt x="1373" y="888"/>
                    </a:lnTo>
                    <a:lnTo>
                      <a:pt x="1373" y="888"/>
                    </a:lnTo>
                    <a:lnTo>
                      <a:pt x="1367" y="885"/>
                    </a:lnTo>
                    <a:lnTo>
                      <a:pt x="1366" y="883"/>
                    </a:lnTo>
                    <a:lnTo>
                      <a:pt x="1368" y="882"/>
                    </a:lnTo>
                    <a:lnTo>
                      <a:pt x="1368" y="882"/>
                    </a:lnTo>
                    <a:lnTo>
                      <a:pt x="1371" y="882"/>
                    </a:lnTo>
                    <a:lnTo>
                      <a:pt x="1374" y="881"/>
                    </a:lnTo>
                    <a:lnTo>
                      <a:pt x="1376" y="878"/>
                    </a:lnTo>
                    <a:lnTo>
                      <a:pt x="1378" y="874"/>
                    </a:lnTo>
                    <a:lnTo>
                      <a:pt x="1378" y="874"/>
                    </a:lnTo>
                    <a:lnTo>
                      <a:pt x="1378" y="869"/>
                    </a:lnTo>
                    <a:lnTo>
                      <a:pt x="1377" y="868"/>
                    </a:lnTo>
                    <a:lnTo>
                      <a:pt x="1374" y="865"/>
                    </a:lnTo>
                    <a:lnTo>
                      <a:pt x="1370" y="861"/>
                    </a:lnTo>
                    <a:lnTo>
                      <a:pt x="1370" y="861"/>
                    </a:lnTo>
                    <a:lnTo>
                      <a:pt x="1367" y="858"/>
                    </a:lnTo>
                    <a:lnTo>
                      <a:pt x="1364" y="858"/>
                    </a:lnTo>
                    <a:lnTo>
                      <a:pt x="1363" y="858"/>
                    </a:lnTo>
                    <a:lnTo>
                      <a:pt x="1361" y="859"/>
                    </a:lnTo>
                    <a:lnTo>
                      <a:pt x="1357" y="862"/>
                    </a:lnTo>
                    <a:lnTo>
                      <a:pt x="1354" y="862"/>
                    </a:lnTo>
                    <a:lnTo>
                      <a:pt x="1353" y="862"/>
                    </a:lnTo>
                    <a:lnTo>
                      <a:pt x="1353" y="862"/>
                    </a:lnTo>
                    <a:lnTo>
                      <a:pt x="1350" y="862"/>
                    </a:lnTo>
                    <a:lnTo>
                      <a:pt x="1350" y="861"/>
                    </a:lnTo>
                    <a:lnTo>
                      <a:pt x="1351" y="858"/>
                    </a:lnTo>
                    <a:lnTo>
                      <a:pt x="1353" y="854"/>
                    </a:lnTo>
                    <a:lnTo>
                      <a:pt x="1353" y="852"/>
                    </a:lnTo>
                    <a:lnTo>
                      <a:pt x="1351" y="849"/>
                    </a:lnTo>
                    <a:lnTo>
                      <a:pt x="1351" y="849"/>
                    </a:lnTo>
                    <a:lnTo>
                      <a:pt x="1346" y="848"/>
                    </a:lnTo>
                    <a:lnTo>
                      <a:pt x="1340" y="849"/>
                    </a:lnTo>
                    <a:lnTo>
                      <a:pt x="1333" y="852"/>
                    </a:lnTo>
                    <a:lnTo>
                      <a:pt x="1326" y="856"/>
                    </a:lnTo>
                    <a:lnTo>
                      <a:pt x="1326" y="856"/>
                    </a:lnTo>
                    <a:lnTo>
                      <a:pt x="1321" y="859"/>
                    </a:lnTo>
                    <a:lnTo>
                      <a:pt x="1319" y="859"/>
                    </a:lnTo>
                    <a:lnTo>
                      <a:pt x="1316" y="859"/>
                    </a:lnTo>
                    <a:lnTo>
                      <a:pt x="1311" y="862"/>
                    </a:lnTo>
                    <a:lnTo>
                      <a:pt x="1311" y="862"/>
                    </a:lnTo>
                    <a:lnTo>
                      <a:pt x="1309" y="865"/>
                    </a:lnTo>
                    <a:lnTo>
                      <a:pt x="1307" y="865"/>
                    </a:lnTo>
                    <a:lnTo>
                      <a:pt x="1306" y="865"/>
                    </a:lnTo>
                    <a:lnTo>
                      <a:pt x="1304" y="864"/>
                    </a:lnTo>
                    <a:lnTo>
                      <a:pt x="1304" y="859"/>
                    </a:lnTo>
                    <a:lnTo>
                      <a:pt x="1307" y="856"/>
                    </a:lnTo>
                    <a:lnTo>
                      <a:pt x="1307" y="856"/>
                    </a:lnTo>
                    <a:lnTo>
                      <a:pt x="1310" y="855"/>
                    </a:lnTo>
                    <a:lnTo>
                      <a:pt x="1311" y="855"/>
                    </a:lnTo>
                    <a:lnTo>
                      <a:pt x="1314" y="855"/>
                    </a:lnTo>
                    <a:lnTo>
                      <a:pt x="1316" y="852"/>
                    </a:lnTo>
                    <a:lnTo>
                      <a:pt x="1316" y="852"/>
                    </a:lnTo>
                    <a:lnTo>
                      <a:pt x="1319" y="851"/>
                    </a:lnTo>
                    <a:lnTo>
                      <a:pt x="1321" y="851"/>
                    </a:lnTo>
                    <a:lnTo>
                      <a:pt x="1326" y="849"/>
                    </a:lnTo>
                    <a:lnTo>
                      <a:pt x="1331" y="847"/>
                    </a:lnTo>
                    <a:lnTo>
                      <a:pt x="1331" y="847"/>
                    </a:lnTo>
                    <a:lnTo>
                      <a:pt x="1337" y="844"/>
                    </a:lnTo>
                    <a:lnTo>
                      <a:pt x="1341" y="844"/>
                    </a:lnTo>
                    <a:lnTo>
                      <a:pt x="1346" y="842"/>
                    </a:lnTo>
                    <a:lnTo>
                      <a:pt x="1348" y="841"/>
                    </a:lnTo>
                    <a:lnTo>
                      <a:pt x="1348" y="841"/>
                    </a:lnTo>
                    <a:lnTo>
                      <a:pt x="1348" y="838"/>
                    </a:lnTo>
                    <a:lnTo>
                      <a:pt x="1347" y="835"/>
                    </a:lnTo>
                    <a:lnTo>
                      <a:pt x="1343" y="832"/>
                    </a:lnTo>
                    <a:lnTo>
                      <a:pt x="1337" y="832"/>
                    </a:lnTo>
                    <a:lnTo>
                      <a:pt x="1337" y="832"/>
                    </a:lnTo>
                    <a:lnTo>
                      <a:pt x="1334" y="832"/>
                    </a:lnTo>
                    <a:lnTo>
                      <a:pt x="1331" y="832"/>
                    </a:lnTo>
                    <a:lnTo>
                      <a:pt x="1327" y="828"/>
                    </a:lnTo>
                    <a:lnTo>
                      <a:pt x="1323" y="825"/>
                    </a:lnTo>
                    <a:lnTo>
                      <a:pt x="1320" y="825"/>
                    </a:lnTo>
                    <a:lnTo>
                      <a:pt x="1319" y="825"/>
                    </a:lnTo>
                    <a:lnTo>
                      <a:pt x="1319" y="825"/>
                    </a:lnTo>
                    <a:lnTo>
                      <a:pt x="1316" y="827"/>
                    </a:lnTo>
                    <a:lnTo>
                      <a:pt x="1314" y="825"/>
                    </a:lnTo>
                    <a:lnTo>
                      <a:pt x="1313" y="824"/>
                    </a:lnTo>
                    <a:lnTo>
                      <a:pt x="1309" y="824"/>
                    </a:lnTo>
                    <a:lnTo>
                      <a:pt x="1309" y="824"/>
                    </a:lnTo>
                    <a:lnTo>
                      <a:pt x="1306" y="825"/>
                    </a:lnTo>
                    <a:lnTo>
                      <a:pt x="1303" y="824"/>
                    </a:lnTo>
                    <a:lnTo>
                      <a:pt x="1300" y="821"/>
                    </a:lnTo>
                    <a:lnTo>
                      <a:pt x="1297" y="817"/>
                    </a:lnTo>
                    <a:lnTo>
                      <a:pt x="1297" y="817"/>
                    </a:lnTo>
                    <a:lnTo>
                      <a:pt x="1294" y="811"/>
                    </a:lnTo>
                    <a:lnTo>
                      <a:pt x="1287" y="804"/>
                    </a:lnTo>
                    <a:lnTo>
                      <a:pt x="1279" y="800"/>
                    </a:lnTo>
                    <a:lnTo>
                      <a:pt x="1270" y="795"/>
                    </a:lnTo>
                    <a:lnTo>
                      <a:pt x="1270" y="795"/>
                    </a:lnTo>
                    <a:lnTo>
                      <a:pt x="1266" y="794"/>
                    </a:lnTo>
                    <a:lnTo>
                      <a:pt x="1266" y="792"/>
                    </a:lnTo>
                    <a:lnTo>
                      <a:pt x="1266" y="791"/>
                    </a:lnTo>
                    <a:lnTo>
                      <a:pt x="1269" y="790"/>
                    </a:lnTo>
                    <a:lnTo>
                      <a:pt x="1273" y="791"/>
                    </a:lnTo>
                    <a:lnTo>
                      <a:pt x="1273" y="791"/>
                    </a:lnTo>
                    <a:lnTo>
                      <a:pt x="1275" y="792"/>
                    </a:lnTo>
                    <a:lnTo>
                      <a:pt x="1276" y="792"/>
                    </a:lnTo>
                    <a:lnTo>
                      <a:pt x="1280" y="791"/>
                    </a:lnTo>
                    <a:lnTo>
                      <a:pt x="1283" y="787"/>
                    </a:lnTo>
                    <a:lnTo>
                      <a:pt x="1286" y="784"/>
                    </a:lnTo>
                    <a:lnTo>
                      <a:pt x="1286" y="784"/>
                    </a:lnTo>
                    <a:lnTo>
                      <a:pt x="1286" y="781"/>
                    </a:lnTo>
                    <a:lnTo>
                      <a:pt x="1284" y="780"/>
                    </a:lnTo>
                    <a:lnTo>
                      <a:pt x="1279" y="777"/>
                    </a:lnTo>
                    <a:lnTo>
                      <a:pt x="1279" y="777"/>
                    </a:lnTo>
                    <a:lnTo>
                      <a:pt x="1277" y="775"/>
                    </a:lnTo>
                    <a:lnTo>
                      <a:pt x="1276" y="774"/>
                    </a:lnTo>
                    <a:lnTo>
                      <a:pt x="1277" y="768"/>
                    </a:lnTo>
                    <a:lnTo>
                      <a:pt x="1277" y="768"/>
                    </a:lnTo>
                    <a:lnTo>
                      <a:pt x="1276" y="765"/>
                    </a:lnTo>
                    <a:lnTo>
                      <a:pt x="1272" y="763"/>
                    </a:lnTo>
                    <a:lnTo>
                      <a:pt x="1269" y="760"/>
                    </a:lnTo>
                    <a:lnTo>
                      <a:pt x="1266" y="757"/>
                    </a:lnTo>
                    <a:lnTo>
                      <a:pt x="1266" y="757"/>
                    </a:lnTo>
                    <a:lnTo>
                      <a:pt x="1266" y="754"/>
                    </a:lnTo>
                    <a:lnTo>
                      <a:pt x="1263" y="753"/>
                    </a:lnTo>
                    <a:lnTo>
                      <a:pt x="1262" y="750"/>
                    </a:lnTo>
                    <a:lnTo>
                      <a:pt x="1260" y="747"/>
                    </a:lnTo>
                    <a:lnTo>
                      <a:pt x="1260" y="747"/>
                    </a:lnTo>
                    <a:lnTo>
                      <a:pt x="1260" y="746"/>
                    </a:lnTo>
                    <a:lnTo>
                      <a:pt x="1257" y="741"/>
                    </a:lnTo>
                    <a:lnTo>
                      <a:pt x="1256" y="738"/>
                    </a:lnTo>
                    <a:lnTo>
                      <a:pt x="1255" y="736"/>
                    </a:lnTo>
                    <a:lnTo>
                      <a:pt x="1255" y="736"/>
                    </a:lnTo>
                    <a:lnTo>
                      <a:pt x="1253" y="731"/>
                    </a:lnTo>
                    <a:lnTo>
                      <a:pt x="1249" y="727"/>
                    </a:lnTo>
                    <a:lnTo>
                      <a:pt x="1245" y="721"/>
                    </a:lnTo>
                    <a:lnTo>
                      <a:pt x="1243" y="717"/>
                    </a:lnTo>
                    <a:lnTo>
                      <a:pt x="1243" y="717"/>
                    </a:lnTo>
                    <a:lnTo>
                      <a:pt x="1242" y="714"/>
                    </a:lnTo>
                    <a:lnTo>
                      <a:pt x="1240" y="711"/>
                    </a:lnTo>
                    <a:lnTo>
                      <a:pt x="1238" y="707"/>
                    </a:lnTo>
                    <a:lnTo>
                      <a:pt x="1235" y="703"/>
                    </a:lnTo>
                    <a:lnTo>
                      <a:pt x="1235" y="703"/>
                    </a:lnTo>
                    <a:lnTo>
                      <a:pt x="1233" y="700"/>
                    </a:lnTo>
                    <a:lnTo>
                      <a:pt x="1232" y="700"/>
                    </a:lnTo>
                    <a:lnTo>
                      <a:pt x="1230" y="703"/>
                    </a:lnTo>
                    <a:lnTo>
                      <a:pt x="1228" y="709"/>
                    </a:lnTo>
                    <a:lnTo>
                      <a:pt x="1228" y="709"/>
                    </a:lnTo>
                    <a:lnTo>
                      <a:pt x="1226" y="713"/>
                    </a:lnTo>
                    <a:lnTo>
                      <a:pt x="1223" y="716"/>
                    </a:lnTo>
                    <a:lnTo>
                      <a:pt x="1220" y="717"/>
                    </a:lnTo>
                    <a:lnTo>
                      <a:pt x="1220" y="720"/>
                    </a:lnTo>
                    <a:lnTo>
                      <a:pt x="1220" y="720"/>
                    </a:lnTo>
                    <a:lnTo>
                      <a:pt x="1222" y="723"/>
                    </a:lnTo>
                    <a:lnTo>
                      <a:pt x="1222" y="726"/>
                    </a:lnTo>
                    <a:lnTo>
                      <a:pt x="1219" y="728"/>
                    </a:lnTo>
                    <a:lnTo>
                      <a:pt x="1219" y="728"/>
                    </a:lnTo>
                    <a:lnTo>
                      <a:pt x="1218" y="731"/>
                    </a:lnTo>
                    <a:lnTo>
                      <a:pt x="1218" y="734"/>
                    </a:lnTo>
                    <a:lnTo>
                      <a:pt x="1218" y="737"/>
                    </a:lnTo>
                    <a:lnTo>
                      <a:pt x="1215" y="738"/>
                    </a:lnTo>
                    <a:lnTo>
                      <a:pt x="1215" y="738"/>
                    </a:lnTo>
                    <a:lnTo>
                      <a:pt x="1213" y="738"/>
                    </a:lnTo>
                    <a:lnTo>
                      <a:pt x="1212" y="740"/>
                    </a:lnTo>
                    <a:lnTo>
                      <a:pt x="1212" y="743"/>
                    </a:lnTo>
                    <a:lnTo>
                      <a:pt x="1210" y="746"/>
                    </a:lnTo>
                    <a:lnTo>
                      <a:pt x="1209" y="744"/>
                    </a:lnTo>
                    <a:lnTo>
                      <a:pt x="1209" y="744"/>
                    </a:lnTo>
                    <a:lnTo>
                      <a:pt x="1206" y="741"/>
                    </a:lnTo>
                    <a:lnTo>
                      <a:pt x="1203" y="741"/>
                    </a:lnTo>
                    <a:lnTo>
                      <a:pt x="1201" y="743"/>
                    </a:lnTo>
                    <a:lnTo>
                      <a:pt x="1201" y="746"/>
                    </a:lnTo>
                    <a:lnTo>
                      <a:pt x="1201" y="746"/>
                    </a:lnTo>
                    <a:lnTo>
                      <a:pt x="1199" y="747"/>
                    </a:lnTo>
                    <a:lnTo>
                      <a:pt x="1198" y="748"/>
                    </a:lnTo>
                    <a:lnTo>
                      <a:pt x="1193" y="753"/>
                    </a:lnTo>
                    <a:lnTo>
                      <a:pt x="1188" y="754"/>
                    </a:lnTo>
                    <a:lnTo>
                      <a:pt x="1183" y="754"/>
                    </a:lnTo>
                    <a:lnTo>
                      <a:pt x="1183" y="754"/>
                    </a:lnTo>
                    <a:lnTo>
                      <a:pt x="1181" y="753"/>
                    </a:lnTo>
                    <a:lnTo>
                      <a:pt x="1179" y="750"/>
                    </a:lnTo>
                    <a:lnTo>
                      <a:pt x="1178" y="747"/>
                    </a:lnTo>
                    <a:lnTo>
                      <a:pt x="1176" y="747"/>
                    </a:lnTo>
                    <a:lnTo>
                      <a:pt x="1175" y="747"/>
                    </a:lnTo>
                    <a:lnTo>
                      <a:pt x="1175" y="747"/>
                    </a:lnTo>
                    <a:lnTo>
                      <a:pt x="1174" y="748"/>
                    </a:lnTo>
                    <a:lnTo>
                      <a:pt x="1174" y="747"/>
                    </a:lnTo>
                    <a:lnTo>
                      <a:pt x="1172" y="744"/>
                    </a:lnTo>
                    <a:lnTo>
                      <a:pt x="1169" y="741"/>
                    </a:lnTo>
                    <a:lnTo>
                      <a:pt x="1168" y="740"/>
                    </a:lnTo>
                    <a:lnTo>
                      <a:pt x="1166" y="740"/>
                    </a:lnTo>
                    <a:lnTo>
                      <a:pt x="1166" y="740"/>
                    </a:lnTo>
                    <a:lnTo>
                      <a:pt x="1162" y="740"/>
                    </a:lnTo>
                    <a:lnTo>
                      <a:pt x="1159" y="738"/>
                    </a:lnTo>
                    <a:lnTo>
                      <a:pt x="1158" y="737"/>
                    </a:lnTo>
                    <a:lnTo>
                      <a:pt x="1158" y="734"/>
                    </a:lnTo>
                    <a:lnTo>
                      <a:pt x="1158" y="734"/>
                    </a:lnTo>
                    <a:lnTo>
                      <a:pt x="1158" y="733"/>
                    </a:lnTo>
                    <a:lnTo>
                      <a:pt x="1156" y="730"/>
                    </a:lnTo>
                    <a:lnTo>
                      <a:pt x="1154" y="727"/>
                    </a:lnTo>
                    <a:lnTo>
                      <a:pt x="1151" y="726"/>
                    </a:lnTo>
                    <a:lnTo>
                      <a:pt x="1151" y="724"/>
                    </a:lnTo>
                    <a:lnTo>
                      <a:pt x="1151" y="723"/>
                    </a:lnTo>
                    <a:lnTo>
                      <a:pt x="1151" y="723"/>
                    </a:lnTo>
                    <a:lnTo>
                      <a:pt x="1152" y="720"/>
                    </a:lnTo>
                    <a:lnTo>
                      <a:pt x="1152" y="716"/>
                    </a:lnTo>
                    <a:lnTo>
                      <a:pt x="1151" y="711"/>
                    </a:lnTo>
                    <a:lnTo>
                      <a:pt x="1149" y="704"/>
                    </a:lnTo>
                    <a:lnTo>
                      <a:pt x="1149" y="704"/>
                    </a:lnTo>
                    <a:lnTo>
                      <a:pt x="1149" y="700"/>
                    </a:lnTo>
                    <a:lnTo>
                      <a:pt x="1152" y="696"/>
                    </a:lnTo>
                    <a:lnTo>
                      <a:pt x="1154" y="694"/>
                    </a:lnTo>
                    <a:lnTo>
                      <a:pt x="1155" y="691"/>
                    </a:lnTo>
                    <a:lnTo>
                      <a:pt x="1155" y="691"/>
                    </a:lnTo>
                    <a:lnTo>
                      <a:pt x="1154" y="689"/>
                    </a:lnTo>
                    <a:lnTo>
                      <a:pt x="1152" y="689"/>
                    </a:lnTo>
                    <a:lnTo>
                      <a:pt x="1149" y="689"/>
                    </a:lnTo>
                    <a:lnTo>
                      <a:pt x="1146" y="690"/>
                    </a:lnTo>
                    <a:lnTo>
                      <a:pt x="1146" y="690"/>
                    </a:lnTo>
                    <a:lnTo>
                      <a:pt x="1144" y="691"/>
                    </a:lnTo>
                    <a:lnTo>
                      <a:pt x="1142" y="690"/>
                    </a:lnTo>
                    <a:lnTo>
                      <a:pt x="1141" y="687"/>
                    </a:lnTo>
                    <a:lnTo>
                      <a:pt x="1138" y="687"/>
                    </a:lnTo>
                    <a:lnTo>
                      <a:pt x="1138" y="687"/>
                    </a:lnTo>
                    <a:lnTo>
                      <a:pt x="1132" y="687"/>
                    </a:lnTo>
                    <a:lnTo>
                      <a:pt x="1127" y="686"/>
                    </a:lnTo>
                    <a:lnTo>
                      <a:pt x="1121" y="684"/>
                    </a:lnTo>
                    <a:lnTo>
                      <a:pt x="1119" y="683"/>
                    </a:lnTo>
                    <a:lnTo>
                      <a:pt x="1118" y="680"/>
                    </a:lnTo>
                    <a:lnTo>
                      <a:pt x="1118" y="680"/>
                    </a:lnTo>
                    <a:lnTo>
                      <a:pt x="1117" y="677"/>
                    </a:lnTo>
                    <a:lnTo>
                      <a:pt x="1115" y="676"/>
                    </a:lnTo>
                    <a:lnTo>
                      <a:pt x="1112" y="674"/>
                    </a:lnTo>
                    <a:lnTo>
                      <a:pt x="1111" y="672"/>
                    </a:lnTo>
                    <a:lnTo>
                      <a:pt x="1111" y="672"/>
                    </a:lnTo>
                    <a:lnTo>
                      <a:pt x="1108" y="669"/>
                    </a:lnTo>
                    <a:lnTo>
                      <a:pt x="1107" y="667"/>
                    </a:lnTo>
                    <a:lnTo>
                      <a:pt x="1104" y="667"/>
                    </a:lnTo>
                    <a:lnTo>
                      <a:pt x="1102" y="666"/>
                    </a:lnTo>
                    <a:lnTo>
                      <a:pt x="1102" y="666"/>
                    </a:lnTo>
                    <a:lnTo>
                      <a:pt x="1102" y="663"/>
                    </a:lnTo>
                    <a:lnTo>
                      <a:pt x="1101" y="660"/>
                    </a:lnTo>
                    <a:lnTo>
                      <a:pt x="1100" y="660"/>
                    </a:lnTo>
                    <a:lnTo>
                      <a:pt x="1097" y="659"/>
                    </a:lnTo>
                    <a:lnTo>
                      <a:pt x="1097" y="659"/>
                    </a:lnTo>
                    <a:lnTo>
                      <a:pt x="1094" y="659"/>
                    </a:lnTo>
                    <a:lnTo>
                      <a:pt x="1091" y="656"/>
                    </a:lnTo>
                    <a:lnTo>
                      <a:pt x="1088" y="654"/>
                    </a:lnTo>
                    <a:lnTo>
                      <a:pt x="1085" y="653"/>
                    </a:lnTo>
                    <a:lnTo>
                      <a:pt x="1085" y="653"/>
                    </a:lnTo>
                    <a:lnTo>
                      <a:pt x="1080" y="653"/>
                    </a:lnTo>
                    <a:lnTo>
                      <a:pt x="1075" y="654"/>
                    </a:lnTo>
                    <a:lnTo>
                      <a:pt x="1068" y="659"/>
                    </a:lnTo>
                    <a:lnTo>
                      <a:pt x="1068" y="659"/>
                    </a:lnTo>
                    <a:lnTo>
                      <a:pt x="1065" y="659"/>
                    </a:lnTo>
                    <a:lnTo>
                      <a:pt x="1061" y="657"/>
                    </a:lnTo>
                    <a:lnTo>
                      <a:pt x="1057" y="656"/>
                    </a:lnTo>
                    <a:lnTo>
                      <a:pt x="1054" y="656"/>
                    </a:lnTo>
                    <a:lnTo>
                      <a:pt x="1054" y="656"/>
                    </a:lnTo>
                    <a:lnTo>
                      <a:pt x="1053" y="657"/>
                    </a:lnTo>
                    <a:lnTo>
                      <a:pt x="1050" y="656"/>
                    </a:lnTo>
                    <a:lnTo>
                      <a:pt x="1047" y="654"/>
                    </a:lnTo>
                    <a:lnTo>
                      <a:pt x="1041" y="652"/>
                    </a:lnTo>
                    <a:lnTo>
                      <a:pt x="1041" y="652"/>
                    </a:lnTo>
                    <a:lnTo>
                      <a:pt x="1027" y="650"/>
                    </a:lnTo>
                    <a:lnTo>
                      <a:pt x="1023" y="650"/>
                    </a:lnTo>
                    <a:lnTo>
                      <a:pt x="1020" y="652"/>
                    </a:lnTo>
                    <a:lnTo>
                      <a:pt x="1020" y="652"/>
                    </a:lnTo>
                    <a:lnTo>
                      <a:pt x="1018" y="654"/>
                    </a:lnTo>
                    <a:lnTo>
                      <a:pt x="1016" y="656"/>
                    </a:lnTo>
                    <a:lnTo>
                      <a:pt x="1014" y="659"/>
                    </a:lnTo>
                    <a:lnTo>
                      <a:pt x="1013" y="663"/>
                    </a:lnTo>
                    <a:lnTo>
                      <a:pt x="1013" y="663"/>
                    </a:lnTo>
                    <a:lnTo>
                      <a:pt x="1016" y="667"/>
                    </a:lnTo>
                    <a:lnTo>
                      <a:pt x="1018" y="670"/>
                    </a:lnTo>
                    <a:lnTo>
                      <a:pt x="1021" y="672"/>
                    </a:lnTo>
                    <a:lnTo>
                      <a:pt x="1024" y="674"/>
                    </a:lnTo>
                    <a:lnTo>
                      <a:pt x="1024" y="674"/>
                    </a:lnTo>
                    <a:lnTo>
                      <a:pt x="1024" y="677"/>
                    </a:lnTo>
                    <a:lnTo>
                      <a:pt x="1023" y="679"/>
                    </a:lnTo>
                    <a:lnTo>
                      <a:pt x="1021" y="680"/>
                    </a:lnTo>
                    <a:lnTo>
                      <a:pt x="1020" y="683"/>
                    </a:lnTo>
                    <a:lnTo>
                      <a:pt x="1020" y="683"/>
                    </a:lnTo>
                    <a:lnTo>
                      <a:pt x="1018" y="686"/>
                    </a:lnTo>
                    <a:lnTo>
                      <a:pt x="1017" y="687"/>
                    </a:lnTo>
                    <a:lnTo>
                      <a:pt x="1016" y="689"/>
                    </a:lnTo>
                    <a:lnTo>
                      <a:pt x="1014" y="690"/>
                    </a:lnTo>
                    <a:lnTo>
                      <a:pt x="1014" y="690"/>
                    </a:lnTo>
                    <a:lnTo>
                      <a:pt x="1016" y="691"/>
                    </a:lnTo>
                    <a:lnTo>
                      <a:pt x="1017" y="693"/>
                    </a:lnTo>
                    <a:lnTo>
                      <a:pt x="1018" y="696"/>
                    </a:lnTo>
                    <a:lnTo>
                      <a:pt x="1020" y="699"/>
                    </a:lnTo>
                    <a:lnTo>
                      <a:pt x="1020" y="699"/>
                    </a:lnTo>
                    <a:lnTo>
                      <a:pt x="1021" y="703"/>
                    </a:lnTo>
                    <a:lnTo>
                      <a:pt x="1023" y="706"/>
                    </a:lnTo>
                    <a:lnTo>
                      <a:pt x="1026" y="709"/>
                    </a:lnTo>
                    <a:lnTo>
                      <a:pt x="1026" y="713"/>
                    </a:lnTo>
                    <a:lnTo>
                      <a:pt x="1026" y="713"/>
                    </a:lnTo>
                    <a:lnTo>
                      <a:pt x="1026" y="718"/>
                    </a:lnTo>
                    <a:lnTo>
                      <a:pt x="1024" y="720"/>
                    </a:lnTo>
                    <a:lnTo>
                      <a:pt x="1020" y="721"/>
                    </a:lnTo>
                    <a:lnTo>
                      <a:pt x="1020" y="721"/>
                    </a:lnTo>
                    <a:lnTo>
                      <a:pt x="1018" y="723"/>
                    </a:lnTo>
                    <a:lnTo>
                      <a:pt x="1018" y="726"/>
                    </a:lnTo>
                    <a:lnTo>
                      <a:pt x="1017" y="728"/>
                    </a:lnTo>
                    <a:lnTo>
                      <a:pt x="1016" y="733"/>
                    </a:lnTo>
                    <a:lnTo>
                      <a:pt x="1016" y="733"/>
                    </a:lnTo>
                    <a:lnTo>
                      <a:pt x="1008" y="741"/>
                    </a:lnTo>
                    <a:lnTo>
                      <a:pt x="1008" y="744"/>
                    </a:lnTo>
                    <a:lnTo>
                      <a:pt x="1010" y="747"/>
                    </a:lnTo>
                    <a:lnTo>
                      <a:pt x="1010" y="747"/>
                    </a:lnTo>
                    <a:lnTo>
                      <a:pt x="1021" y="755"/>
                    </a:lnTo>
                    <a:lnTo>
                      <a:pt x="1028" y="760"/>
                    </a:lnTo>
                    <a:lnTo>
                      <a:pt x="1034" y="767"/>
                    </a:lnTo>
                    <a:lnTo>
                      <a:pt x="1034" y="767"/>
                    </a:lnTo>
                    <a:lnTo>
                      <a:pt x="1037" y="775"/>
                    </a:lnTo>
                    <a:lnTo>
                      <a:pt x="1038" y="784"/>
                    </a:lnTo>
                    <a:lnTo>
                      <a:pt x="1038" y="794"/>
                    </a:lnTo>
                    <a:lnTo>
                      <a:pt x="1037" y="802"/>
                    </a:lnTo>
                    <a:lnTo>
                      <a:pt x="1037" y="802"/>
                    </a:lnTo>
                    <a:lnTo>
                      <a:pt x="1037" y="805"/>
                    </a:lnTo>
                    <a:lnTo>
                      <a:pt x="1034" y="808"/>
                    </a:lnTo>
                    <a:lnTo>
                      <a:pt x="1028" y="814"/>
                    </a:lnTo>
                    <a:lnTo>
                      <a:pt x="1021" y="818"/>
                    </a:lnTo>
                    <a:lnTo>
                      <a:pt x="1014" y="824"/>
                    </a:lnTo>
                    <a:lnTo>
                      <a:pt x="1014" y="824"/>
                    </a:lnTo>
                    <a:lnTo>
                      <a:pt x="1008" y="829"/>
                    </a:lnTo>
                    <a:lnTo>
                      <a:pt x="1001" y="832"/>
                    </a:lnTo>
                    <a:lnTo>
                      <a:pt x="993" y="832"/>
                    </a:lnTo>
                    <a:lnTo>
                      <a:pt x="993" y="832"/>
                    </a:lnTo>
                    <a:lnTo>
                      <a:pt x="991" y="834"/>
                    </a:lnTo>
                    <a:lnTo>
                      <a:pt x="990" y="834"/>
                    </a:lnTo>
                    <a:lnTo>
                      <a:pt x="990" y="838"/>
                    </a:lnTo>
                    <a:lnTo>
                      <a:pt x="993" y="842"/>
                    </a:lnTo>
                    <a:lnTo>
                      <a:pt x="997" y="848"/>
                    </a:lnTo>
                    <a:lnTo>
                      <a:pt x="997" y="848"/>
                    </a:lnTo>
                    <a:lnTo>
                      <a:pt x="1000" y="852"/>
                    </a:lnTo>
                    <a:lnTo>
                      <a:pt x="1000" y="856"/>
                    </a:lnTo>
                    <a:lnTo>
                      <a:pt x="1000" y="859"/>
                    </a:lnTo>
                    <a:lnTo>
                      <a:pt x="1001" y="864"/>
                    </a:lnTo>
                    <a:lnTo>
                      <a:pt x="1001" y="864"/>
                    </a:lnTo>
                    <a:lnTo>
                      <a:pt x="1003" y="869"/>
                    </a:lnTo>
                    <a:lnTo>
                      <a:pt x="1003" y="874"/>
                    </a:lnTo>
                    <a:lnTo>
                      <a:pt x="1003" y="879"/>
                    </a:lnTo>
                    <a:lnTo>
                      <a:pt x="1006" y="883"/>
                    </a:lnTo>
                    <a:lnTo>
                      <a:pt x="1006" y="883"/>
                    </a:lnTo>
                    <a:lnTo>
                      <a:pt x="1007" y="888"/>
                    </a:lnTo>
                    <a:lnTo>
                      <a:pt x="1007" y="891"/>
                    </a:lnTo>
                    <a:lnTo>
                      <a:pt x="1006" y="893"/>
                    </a:lnTo>
                    <a:lnTo>
                      <a:pt x="1001" y="896"/>
                    </a:lnTo>
                    <a:lnTo>
                      <a:pt x="1001" y="896"/>
                    </a:lnTo>
                    <a:lnTo>
                      <a:pt x="1000" y="899"/>
                    </a:lnTo>
                    <a:lnTo>
                      <a:pt x="1001" y="901"/>
                    </a:lnTo>
                    <a:lnTo>
                      <a:pt x="1003" y="902"/>
                    </a:lnTo>
                    <a:lnTo>
                      <a:pt x="1004" y="905"/>
                    </a:lnTo>
                    <a:lnTo>
                      <a:pt x="1004" y="905"/>
                    </a:lnTo>
                    <a:lnTo>
                      <a:pt x="1004" y="908"/>
                    </a:lnTo>
                    <a:lnTo>
                      <a:pt x="1003" y="908"/>
                    </a:lnTo>
                    <a:lnTo>
                      <a:pt x="997" y="905"/>
                    </a:lnTo>
                    <a:lnTo>
                      <a:pt x="997" y="905"/>
                    </a:lnTo>
                    <a:lnTo>
                      <a:pt x="996" y="903"/>
                    </a:lnTo>
                    <a:lnTo>
                      <a:pt x="994" y="903"/>
                    </a:lnTo>
                    <a:lnTo>
                      <a:pt x="991" y="906"/>
                    </a:lnTo>
                    <a:lnTo>
                      <a:pt x="989" y="911"/>
                    </a:lnTo>
                    <a:lnTo>
                      <a:pt x="989" y="915"/>
                    </a:lnTo>
                    <a:lnTo>
                      <a:pt x="989" y="915"/>
                    </a:lnTo>
                    <a:lnTo>
                      <a:pt x="989" y="915"/>
                    </a:lnTo>
                    <a:lnTo>
                      <a:pt x="987" y="915"/>
                    </a:lnTo>
                    <a:lnTo>
                      <a:pt x="983" y="913"/>
                    </a:lnTo>
                    <a:lnTo>
                      <a:pt x="979" y="911"/>
                    </a:lnTo>
                    <a:lnTo>
                      <a:pt x="974" y="909"/>
                    </a:lnTo>
                    <a:lnTo>
                      <a:pt x="974" y="909"/>
                    </a:lnTo>
                    <a:lnTo>
                      <a:pt x="974" y="909"/>
                    </a:lnTo>
                    <a:lnTo>
                      <a:pt x="973" y="906"/>
                    </a:lnTo>
                    <a:lnTo>
                      <a:pt x="973" y="902"/>
                    </a:lnTo>
                    <a:lnTo>
                      <a:pt x="969" y="898"/>
                    </a:lnTo>
                    <a:lnTo>
                      <a:pt x="969" y="898"/>
                    </a:lnTo>
                    <a:lnTo>
                      <a:pt x="962" y="893"/>
                    </a:lnTo>
                    <a:lnTo>
                      <a:pt x="959" y="891"/>
                    </a:lnTo>
                    <a:lnTo>
                      <a:pt x="957" y="888"/>
                    </a:lnTo>
                    <a:lnTo>
                      <a:pt x="957" y="888"/>
                    </a:lnTo>
                    <a:lnTo>
                      <a:pt x="956" y="883"/>
                    </a:lnTo>
                    <a:lnTo>
                      <a:pt x="952" y="881"/>
                    </a:lnTo>
                    <a:lnTo>
                      <a:pt x="949" y="876"/>
                    </a:lnTo>
                    <a:lnTo>
                      <a:pt x="947" y="875"/>
                    </a:lnTo>
                    <a:lnTo>
                      <a:pt x="947" y="874"/>
                    </a:lnTo>
                    <a:lnTo>
                      <a:pt x="947" y="874"/>
                    </a:lnTo>
                    <a:lnTo>
                      <a:pt x="947" y="861"/>
                    </a:lnTo>
                    <a:lnTo>
                      <a:pt x="947" y="854"/>
                    </a:lnTo>
                    <a:lnTo>
                      <a:pt x="946" y="848"/>
                    </a:lnTo>
                    <a:lnTo>
                      <a:pt x="946" y="848"/>
                    </a:lnTo>
                    <a:lnTo>
                      <a:pt x="944" y="845"/>
                    </a:lnTo>
                    <a:lnTo>
                      <a:pt x="944" y="842"/>
                    </a:lnTo>
                    <a:lnTo>
                      <a:pt x="947" y="835"/>
                    </a:lnTo>
                    <a:lnTo>
                      <a:pt x="947" y="835"/>
                    </a:lnTo>
                    <a:lnTo>
                      <a:pt x="947" y="832"/>
                    </a:lnTo>
                    <a:lnTo>
                      <a:pt x="946" y="829"/>
                    </a:lnTo>
                    <a:lnTo>
                      <a:pt x="943" y="827"/>
                    </a:lnTo>
                    <a:lnTo>
                      <a:pt x="939" y="825"/>
                    </a:lnTo>
                    <a:lnTo>
                      <a:pt x="939" y="825"/>
                    </a:lnTo>
                    <a:lnTo>
                      <a:pt x="927" y="825"/>
                    </a:lnTo>
                    <a:lnTo>
                      <a:pt x="915" y="824"/>
                    </a:lnTo>
                    <a:lnTo>
                      <a:pt x="915" y="824"/>
                    </a:lnTo>
                    <a:lnTo>
                      <a:pt x="903" y="824"/>
                    </a:lnTo>
                    <a:lnTo>
                      <a:pt x="900" y="822"/>
                    </a:lnTo>
                    <a:lnTo>
                      <a:pt x="898" y="821"/>
                    </a:lnTo>
                    <a:lnTo>
                      <a:pt x="898" y="821"/>
                    </a:lnTo>
                    <a:lnTo>
                      <a:pt x="890" y="817"/>
                    </a:lnTo>
                    <a:lnTo>
                      <a:pt x="883" y="812"/>
                    </a:lnTo>
                    <a:lnTo>
                      <a:pt x="876" y="811"/>
                    </a:lnTo>
                    <a:lnTo>
                      <a:pt x="876" y="811"/>
                    </a:lnTo>
                    <a:lnTo>
                      <a:pt x="869" y="808"/>
                    </a:lnTo>
                    <a:lnTo>
                      <a:pt x="863" y="805"/>
                    </a:lnTo>
                    <a:lnTo>
                      <a:pt x="861" y="801"/>
                    </a:lnTo>
                    <a:lnTo>
                      <a:pt x="859" y="798"/>
                    </a:lnTo>
                    <a:lnTo>
                      <a:pt x="859" y="798"/>
                    </a:lnTo>
                    <a:lnTo>
                      <a:pt x="856" y="797"/>
                    </a:lnTo>
                    <a:lnTo>
                      <a:pt x="852" y="794"/>
                    </a:lnTo>
                    <a:lnTo>
                      <a:pt x="848" y="792"/>
                    </a:lnTo>
                    <a:lnTo>
                      <a:pt x="843" y="790"/>
                    </a:lnTo>
                    <a:lnTo>
                      <a:pt x="843" y="790"/>
                    </a:lnTo>
                    <a:lnTo>
                      <a:pt x="841" y="788"/>
                    </a:lnTo>
                    <a:lnTo>
                      <a:pt x="836" y="787"/>
                    </a:lnTo>
                    <a:lnTo>
                      <a:pt x="826" y="785"/>
                    </a:lnTo>
                    <a:lnTo>
                      <a:pt x="826" y="785"/>
                    </a:lnTo>
                    <a:lnTo>
                      <a:pt x="822" y="784"/>
                    </a:lnTo>
                    <a:lnTo>
                      <a:pt x="816" y="781"/>
                    </a:lnTo>
                    <a:lnTo>
                      <a:pt x="811" y="778"/>
                    </a:lnTo>
                    <a:lnTo>
                      <a:pt x="805" y="777"/>
                    </a:lnTo>
                    <a:lnTo>
                      <a:pt x="805" y="777"/>
                    </a:lnTo>
                    <a:lnTo>
                      <a:pt x="799" y="778"/>
                    </a:lnTo>
                    <a:lnTo>
                      <a:pt x="792" y="781"/>
                    </a:lnTo>
                    <a:lnTo>
                      <a:pt x="781" y="784"/>
                    </a:lnTo>
                    <a:lnTo>
                      <a:pt x="781" y="784"/>
                    </a:lnTo>
                    <a:lnTo>
                      <a:pt x="781" y="784"/>
                    </a:lnTo>
                    <a:lnTo>
                      <a:pt x="781" y="781"/>
                    </a:lnTo>
                    <a:lnTo>
                      <a:pt x="784" y="777"/>
                    </a:lnTo>
                    <a:lnTo>
                      <a:pt x="784" y="777"/>
                    </a:lnTo>
                    <a:lnTo>
                      <a:pt x="784" y="773"/>
                    </a:lnTo>
                    <a:lnTo>
                      <a:pt x="781" y="768"/>
                    </a:lnTo>
                    <a:lnTo>
                      <a:pt x="777" y="755"/>
                    </a:lnTo>
                    <a:lnTo>
                      <a:pt x="777" y="755"/>
                    </a:lnTo>
                    <a:lnTo>
                      <a:pt x="775" y="751"/>
                    </a:lnTo>
                    <a:lnTo>
                      <a:pt x="772" y="746"/>
                    </a:lnTo>
                    <a:lnTo>
                      <a:pt x="769" y="743"/>
                    </a:lnTo>
                    <a:lnTo>
                      <a:pt x="765" y="743"/>
                    </a:lnTo>
                    <a:lnTo>
                      <a:pt x="765" y="743"/>
                    </a:lnTo>
                    <a:lnTo>
                      <a:pt x="760" y="743"/>
                    </a:lnTo>
                    <a:lnTo>
                      <a:pt x="754" y="741"/>
                    </a:lnTo>
                    <a:lnTo>
                      <a:pt x="747" y="738"/>
                    </a:lnTo>
                    <a:lnTo>
                      <a:pt x="747" y="738"/>
                    </a:lnTo>
                    <a:lnTo>
                      <a:pt x="745" y="734"/>
                    </a:lnTo>
                    <a:lnTo>
                      <a:pt x="745" y="726"/>
                    </a:lnTo>
                    <a:lnTo>
                      <a:pt x="745" y="716"/>
                    </a:lnTo>
                    <a:lnTo>
                      <a:pt x="747" y="707"/>
                    </a:lnTo>
                    <a:lnTo>
                      <a:pt x="747" y="707"/>
                    </a:lnTo>
                    <a:lnTo>
                      <a:pt x="748" y="700"/>
                    </a:lnTo>
                    <a:lnTo>
                      <a:pt x="752" y="693"/>
                    </a:lnTo>
                    <a:lnTo>
                      <a:pt x="755" y="686"/>
                    </a:lnTo>
                    <a:lnTo>
                      <a:pt x="757" y="681"/>
                    </a:lnTo>
                    <a:lnTo>
                      <a:pt x="757" y="681"/>
                    </a:lnTo>
                    <a:lnTo>
                      <a:pt x="758" y="677"/>
                    </a:lnTo>
                    <a:lnTo>
                      <a:pt x="761" y="674"/>
                    </a:lnTo>
                    <a:lnTo>
                      <a:pt x="768" y="672"/>
                    </a:lnTo>
                    <a:lnTo>
                      <a:pt x="768" y="672"/>
                    </a:lnTo>
                    <a:lnTo>
                      <a:pt x="769" y="672"/>
                    </a:lnTo>
                    <a:lnTo>
                      <a:pt x="771" y="669"/>
                    </a:lnTo>
                    <a:lnTo>
                      <a:pt x="772" y="666"/>
                    </a:lnTo>
                    <a:lnTo>
                      <a:pt x="772" y="662"/>
                    </a:lnTo>
                    <a:lnTo>
                      <a:pt x="774" y="660"/>
                    </a:lnTo>
                    <a:lnTo>
                      <a:pt x="775" y="659"/>
                    </a:lnTo>
                    <a:lnTo>
                      <a:pt x="775" y="659"/>
                    </a:lnTo>
                    <a:lnTo>
                      <a:pt x="778" y="659"/>
                    </a:lnTo>
                    <a:lnTo>
                      <a:pt x="779" y="657"/>
                    </a:lnTo>
                    <a:lnTo>
                      <a:pt x="782" y="652"/>
                    </a:lnTo>
                    <a:lnTo>
                      <a:pt x="782" y="652"/>
                    </a:lnTo>
                    <a:lnTo>
                      <a:pt x="784" y="650"/>
                    </a:lnTo>
                    <a:lnTo>
                      <a:pt x="785" y="649"/>
                    </a:lnTo>
                    <a:lnTo>
                      <a:pt x="787" y="649"/>
                    </a:lnTo>
                    <a:lnTo>
                      <a:pt x="785" y="647"/>
                    </a:lnTo>
                    <a:lnTo>
                      <a:pt x="785" y="647"/>
                    </a:lnTo>
                    <a:lnTo>
                      <a:pt x="784" y="644"/>
                    </a:lnTo>
                    <a:lnTo>
                      <a:pt x="785" y="643"/>
                    </a:lnTo>
                    <a:lnTo>
                      <a:pt x="794" y="643"/>
                    </a:lnTo>
                    <a:lnTo>
                      <a:pt x="794" y="643"/>
                    </a:lnTo>
                    <a:lnTo>
                      <a:pt x="799" y="642"/>
                    </a:lnTo>
                    <a:lnTo>
                      <a:pt x="806" y="640"/>
                    </a:lnTo>
                    <a:lnTo>
                      <a:pt x="811" y="637"/>
                    </a:lnTo>
                    <a:lnTo>
                      <a:pt x="812" y="635"/>
                    </a:lnTo>
                    <a:lnTo>
                      <a:pt x="812" y="632"/>
                    </a:lnTo>
                    <a:lnTo>
                      <a:pt x="812" y="632"/>
                    </a:lnTo>
                    <a:lnTo>
                      <a:pt x="811" y="629"/>
                    </a:lnTo>
                    <a:lnTo>
                      <a:pt x="808" y="627"/>
                    </a:lnTo>
                    <a:lnTo>
                      <a:pt x="799" y="626"/>
                    </a:lnTo>
                    <a:lnTo>
                      <a:pt x="792" y="626"/>
                    </a:lnTo>
                    <a:lnTo>
                      <a:pt x="789" y="625"/>
                    </a:lnTo>
                    <a:lnTo>
                      <a:pt x="788" y="623"/>
                    </a:lnTo>
                    <a:lnTo>
                      <a:pt x="788" y="623"/>
                    </a:lnTo>
                    <a:lnTo>
                      <a:pt x="788" y="620"/>
                    </a:lnTo>
                    <a:lnTo>
                      <a:pt x="784" y="619"/>
                    </a:lnTo>
                    <a:lnTo>
                      <a:pt x="775" y="616"/>
                    </a:lnTo>
                    <a:lnTo>
                      <a:pt x="767" y="615"/>
                    </a:lnTo>
                    <a:lnTo>
                      <a:pt x="764" y="613"/>
                    </a:lnTo>
                    <a:lnTo>
                      <a:pt x="764" y="612"/>
                    </a:lnTo>
                    <a:lnTo>
                      <a:pt x="764" y="612"/>
                    </a:lnTo>
                    <a:lnTo>
                      <a:pt x="765" y="610"/>
                    </a:lnTo>
                    <a:lnTo>
                      <a:pt x="768" y="610"/>
                    </a:lnTo>
                    <a:lnTo>
                      <a:pt x="778" y="612"/>
                    </a:lnTo>
                    <a:lnTo>
                      <a:pt x="799" y="617"/>
                    </a:lnTo>
                    <a:lnTo>
                      <a:pt x="799" y="617"/>
                    </a:lnTo>
                    <a:lnTo>
                      <a:pt x="809" y="620"/>
                    </a:lnTo>
                    <a:lnTo>
                      <a:pt x="819" y="620"/>
                    </a:lnTo>
                    <a:lnTo>
                      <a:pt x="819" y="620"/>
                    </a:lnTo>
                    <a:lnTo>
                      <a:pt x="821" y="620"/>
                    </a:lnTo>
                    <a:lnTo>
                      <a:pt x="822" y="619"/>
                    </a:lnTo>
                    <a:lnTo>
                      <a:pt x="824" y="615"/>
                    </a:lnTo>
                    <a:lnTo>
                      <a:pt x="822" y="610"/>
                    </a:lnTo>
                    <a:lnTo>
                      <a:pt x="822" y="608"/>
                    </a:lnTo>
                    <a:lnTo>
                      <a:pt x="822" y="608"/>
                    </a:lnTo>
                    <a:lnTo>
                      <a:pt x="824" y="606"/>
                    </a:lnTo>
                    <a:lnTo>
                      <a:pt x="826" y="606"/>
                    </a:lnTo>
                    <a:lnTo>
                      <a:pt x="832" y="609"/>
                    </a:lnTo>
                    <a:lnTo>
                      <a:pt x="839" y="610"/>
                    </a:lnTo>
                    <a:lnTo>
                      <a:pt x="843" y="612"/>
                    </a:lnTo>
                    <a:lnTo>
                      <a:pt x="846" y="610"/>
                    </a:lnTo>
                    <a:lnTo>
                      <a:pt x="846" y="610"/>
                    </a:lnTo>
                    <a:lnTo>
                      <a:pt x="849" y="609"/>
                    </a:lnTo>
                    <a:lnTo>
                      <a:pt x="852" y="608"/>
                    </a:lnTo>
                    <a:lnTo>
                      <a:pt x="858" y="600"/>
                    </a:lnTo>
                    <a:lnTo>
                      <a:pt x="863" y="593"/>
                    </a:lnTo>
                    <a:lnTo>
                      <a:pt x="869" y="588"/>
                    </a:lnTo>
                    <a:lnTo>
                      <a:pt x="869" y="588"/>
                    </a:lnTo>
                    <a:lnTo>
                      <a:pt x="872" y="585"/>
                    </a:lnTo>
                    <a:lnTo>
                      <a:pt x="872" y="583"/>
                    </a:lnTo>
                    <a:lnTo>
                      <a:pt x="870" y="582"/>
                    </a:lnTo>
                    <a:lnTo>
                      <a:pt x="865" y="579"/>
                    </a:lnTo>
                    <a:lnTo>
                      <a:pt x="856" y="579"/>
                    </a:lnTo>
                    <a:lnTo>
                      <a:pt x="856" y="579"/>
                    </a:lnTo>
                    <a:lnTo>
                      <a:pt x="848" y="579"/>
                    </a:lnTo>
                    <a:lnTo>
                      <a:pt x="841" y="578"/>
                    </a:lnTo>
                    <a:lnTo>
                      <a:pt x="835" y="575"/>
                    </a:lnTo>
                    <a:lnTo>
                      <a:pt x="829" y="571"/>
                    </a:lnTo>
                    <a:lnTo>
                      <a:pt x="829" y="571"/>
                    </a:lnTo>
                    <a:lnTo>
                      <a:pt x="825" y="566"/>
                    </a:lnTo>
                    <a:lnTo>
                      <a:pt x="824" y="563"/>
                    </a:lnTo>
                    <a:lnTo>
                      <a:pt x="826" y="562"/>
                    </a:lnTo>
                    <a:lnTo>
                      <a:pt x="831" y="562"/>
                    </a:lnTo>
                    <a:lnTo>
                      <a:pt x="831" y="562"/>
                    </a:lnTo>
                    <a:lnTo>
                      <a:pt x="838" y="565"/>
                    </a:lnTo>
                    <a:lnTo>
                      <a:pt x="846" y="569"/>
                    </a:lnTo>
                    <a:lnTo>
                      <a:pt x="855" y="575"/>
                    </a:lnTo>
                    <a:lnTo>
                      <a:pt x="862" y="578"/>
                    </a:lnTo>
                    <a:lnTo>
                      <a:pt x="862" y="578"/>
                    </a:lnTo>
                    <a:lnTo>
                      <a:pt x="865" y="576"/>
                    </a:lnTo>
                    <a:lnTo>
                      <a:pt x="868" y="575"/>
                    </a:lnTo>
                    <a:lnTo>
                      <a:pt x="875" y="571"/>
                    </a:lnTo>
                    <a:lnTo>
                      <a:pt x="886" y="559"/>
                    </a:lnTo>
                    <a:lnTo>
                      <a:pt x="886" y="559"/>
                    </a:lnTo>
                    <a:lnTo>
                      <a:pt x="888" y="558"/>
                    </a:lnTo>
                    <a:lnTo>
                      <a:pt x="888" y="556"/>
                    </a:lnTo>
                    <a:lnTo>
                      <a:pt x="885" y="555"/>
                    </a:lnTo>
                    <a:lnTo>
                      <a:pt x="878" y="551"/>
                    </a:lnTo>
                    <a:lnTo>
                      <a:pt x="878" y="551"/>
                    </a:lnTo>
                    <a:lnTo>
                      <a:pt x="876" y="549"/>
                    </a:lnTo>
                    <a:lnTo>
                      <a:pt x="876" y="548"/>
                    </a:lnTo>
                    <a:lnTo>
                      <a:pt x="879" y="546"/>
                    </a:lnTo>
                    <a:lnTo>
                      <a:pt x="889" y="545"/>
                    </a:lnTo>
                    <a:lnTo>
                      <a:pt x="889" y="545"/>
                    </a:lnTo>
                    <a:lnTo>
                      <a:pt x="893" y="546"/>
                    </a:lnTo>
                    <a:lnTo>
                      <a:pt x="896" y="548"/>
                    </a:lnTo>
                    <a:lnTo>
                      <a:pt x="900" y="552"/>
                    </a:lnTo>
                    <a:lnTo>
                      <a:pt x="900" y="552"/>
                    </a:lnTo>
                    <a:lnTo>
                      <a:pt x="903" y="553"/>
                    </a:lnTo>
                    <a:lnTo>
                      <a:pt x="907" y="552"/>
                    </a:lnTo>
                    <a:lnTo>
                      <a:pt x="917" y="551"/>
                    </a:lnTo>
                    <a:lnTo>
                      <a:pt x="917" y="551"/>
                    </a:lnTo>
                    <a:lnTo>
                      <a:pt x="919" y="551"/>
                    </a:lnTo>
                    <a:lnTo>
                      <a:pt x="919" y="549"/>
                    </a:lnTo>
                    <a:lnTo>
                      <a:pt x="917" y="546"/>
                    </a:lnTo>
                    <a:lnTo>
                      <a:pt x="913" y="542"/>
                    </a:lnTo>
                    <a:lnTo>
                      <a:pt x="907" y="539"/>
                    </a:lnTo>
                    <a:lnTo>
                      <a:pt x="907" y="539"/>
                    </a:lnTo>
                    <a:lnTo>
                      <a:pt x="906" y="538"/>
                    </a:lnTo>
                    <a:lnTo>
                      <a:pt x="905" y="536"/>
                    </a:lnTo>
                    <a:lnTo>
                      <a:pt x="905" y="535"/>
                    </a:lnTo>
                    <a:lnTo>
                      <a:pt x="906" y="535"/>
                    </a:lnTo>
                    <a:lnTo>
                      <a:pt x="907" y="534"/>
                    </a:lnTo>
                    <a:lnTo>
                      <a:pt x="910" y="534"/>
                    </a:lnTo>
                    <a:lnTo>
                      <a:pt x="910" y="535"/>
                    </a:lnTo>
                    <a:lnTo>
                      <a:pt x="910" y="535"/>
                    </a:lnTo>
                    <a:lnTo>
                      <a:pt x="913" y="538"/>
                    </a:lnTo>
                    <a:lnTo>
                      <a:pt x="916" y="539"/>
                    </a:lnTo>
                    <a:lnTo>
                      <a:pt x="919" y="542"/>
                    </a:lnTo>
                    <a:lnTo>
                      <a:pt x="922" y="545"/>
                    </a:lnTo>
                    <a:lnTo>
                      <a:pt x="922" y="545"/>
                    </a:lnTo>
                    <a:lnTo>
                      <a:pt x="925" y="549"/>
                    </a:lnTo>
                    <a:lnTo>
                      <a:pt x="927" y="549"/>
                    </a:lnTo>
                    <a:lnTo>
                      <a:pt x="936" y="545"/>
                    </a:lnTo>
                    <a:lnTo>
                      <a:pt x="936" y="545"/>
                    </a:lnTo>
                    <a:lnTo>
                      <a:pt x="940" y="543"/>
                    </a:lnTo>
                    <a:lnTo>
                      <a:pt x="944" y="541"/>
                    </a:lnTo>
                    <a:lnTo>
                      <a:pt x="950" y="534"/>
                    </a:lnTo>
                    <a:lnTo>
                      <a:pt x="950" y="534"/>
                    </a:lnTo>
                    <a:lnTo>
                      <a:pt x="953" y="532"/>
                    </a:lnTo>
                    <a:lnTo>
                      <a:pt x="954" y="532"/>
                    </a:lnTo>
                    <a:lnTo>
                      <a:pt x="957" y="531"/>
                    </a:lnTo>
                    <a:lnTo>
                      <a:pt x="960" y="528"/>
                    </a:lnTo>
                    <a:lnTo>
                      <a:pt x="960" y="528"/>
                    </a:lnTo>
                    <a:lnTo>
                      <a:pt x="960" y="525"/>
                    </a:lnTo>
                    <a:lnTo>
                      <a:pt x="962" y="524"/>
                    </a:lnTo>
                    <a:lnTo>
                      <a:pt x="960" y="518"/>
                    </a:lnTo>
                    <a:lnTo>
                      <a:pt x="956" y="514"/>
                    </a:lnTo>
                    <a:lnTo>
                      <a:pt x="952" y="511"/>
                    </a:lnTo>
                    <a:lnTo>
                      <a:pt x="952" y="511"/>
                    </a:lnTo>
                    <a:lnTo>
                      <a:pt x="949" y="508"/>
                    </a:lnTo>
                    <a:lnTo>
                      <a:pt x="949" y="505"/>
                    </a:lnTo>
                    <a:lnTo>
                      <a:pt x="949" y="502"/>
                    </a:lnTo>
                    <a:lnTo>
                      <a:pt x="946" y="499"/>
                    </a:lnTo>
                    <a:lnTo>
                      <a:pt x="946" y="499"/>
                    </a:lnTo>
                    <a:lnTo>
                      <a:pt x="943" y="497"/>
                    </a:lnTo>
                    <a:lnTo>
                      <a:pt x="942" y="494"/>
                    </a:lnTo>
                    <a:lnTo>
                      <a:pt x="943" y="492"/>
                    </a:lnTo>
                    <a:lnTo>
                      <a:pt x="947" y="492"/>
                    </a:lnTo>
                    <a:lnTo>
                      <a:pt x="947" y="492"/>
                    </a:lnTo>
                    <a:lnTo>
                      <a:pt x="952" y="492"/>
                    </a:lnTo>
                    <a:lnTo>
                      <a:pt x="956" y="492"/>
                    </a:lnTo>
                    <a:lnTo>
                      <a:pt x="960" y="489"/>
                    </a:lnTo>
                    <a:lnTo>
                      <a:pt x="963" y="487"/>
                    </a:lnTo>
                    <a:lnTo>
                      <a:pt x="963" y="487"/>
                    </a:lnTo>
                    <a:lnTo>
                      <a:pt x="963" y="485"/>
                    </a:lnTo>
                    <a:lnTo>
                      <a:pt x="963" y="484"/>
                    </a:lnTo>
                    <a:lnTo>
                      <a:pt x="960" y="481"/>
                    </a:lnTo>
                    <a:lnTo>
                      <a:pt x="957" y="479"/>
                    </a:lnTo>
                    <a:lnTo>
                      <a:pt x="957" y="478"/>
                    </a:lnTo>
                    <a:lnTo>
                      <a:pt x="959" y="477"/>
                    </a:lnTo>
                    <a:lnTo>
                      <a:pt x="959" y="477"/>
                    </a:lnTo>
                    <a:lnTo>
                      <a:pt x="962" y="475"/>
                    </a:lnTo>
                    <a:lnTo>
                      <a:pt x="960" y="472"/>
                    </a:lnTo>
                    <a:lnTo>
                      <a:pt x="957" y="471"/>
                    </a:lnTo>
                    <a:lnTo>
                      <a:pt x="953" y="470"/>
                    </a:lnTo>
                    <a:lnTo>
                      <a:pt x="953" y="470"/>
                    </a:lnTo>
                    <a:lnTo>
                      <a:pt x="949" y="470"/>
                    </a:lnTo>
                    <a:lnTo>
                      <a:pt x="944" y="468"/>
                    </a:lnTo>
                    <a:lnTo>
                      <a:pt x="942" y="465"/>
                    </a:lnTo>
                    <a:lnTo>
                      <a:pt x="942" y="461"/>
                    </a:lnTo>
                    <a:lnTo>
                      <a:pt x="942" y="461"/>
                    </a:lnTo>
                    <a:lnTo>
                      <a:pt x="940" y="460"/>
                    </a:lnTo>
                    <a:lnTo>
                      <a:pt x="939" y="460"/>
                    </a:lnTo>
                    <a:lnTo>
                      <a:pt x="935" y="458"/>
                    </a:lnTo>
                    <a:lnTo>
                      <a:pt x="929" y="458"/>
                    </a:lnTo>
                    <a:lnTo>
                      <a:pt x="923" y="457"/>
                    </a:lnTo>
                    <a:lnTo>
                      <a:pt x="923" y="457"/>
                    </a:lnTo>
                    <a:lnTo>
                      <a:pt x="916" y="455"/>
                    </a:lnTo>
                    <a:lnTo>
                      <a:pt x="909" y="454"/>
                    </a:lnTo>
                    <a:lnTo>
                      <a:pt x="898" y="454"/>
                    </a:lnTo>
                    <a:lnTo>
                      <a:pt x="898" y="454"/>
                    </a:lnTo>
                    <a:lnTo>
                      <a:pt x="896" y="455"/>
                    </a:lnTo>
                    <a:lnTo>
                      <a:pt x="896" y="457"/>
                    </a:lnTo>
                    <a:lnTo>
                      <a:pt x="895" y="462"/>
                    </a:lnTo>
                    <a:lnTo>
                      <a:pt x="896" y="467"/>
                    </a:lnTo>
                    <a:lnTo>
                      <a:pt x="898" y="470"/>
                    </a:lnTo>
                    <a:lnTo>
                      <a:pt x="899" y="470"/>
                    </a:lnTo>
                    <a:lnTo>
                      <a:pt x="899" y="470"/>
                    </a:lnTo>
                    <a:lnTo>
                      <a:pt x="903" y="471"/>
                    </a:lnTo>
                    <a:lnTo>
                      <a:pt x="905" y="474"/>
                    </a:lnTo>
                    <a:lnTo>
                      <a:pt x="906" y="475"/>
                    </a:lnTo>
                    <a:lnTo>
                      <a:pt x="905" y="478"/>
                    </a:lnTo>
                    <a:lnTo>
                      <a:pt x="905" y="478"/>
                    </a:lnTo>
                    <a:lnTo>
                      <a:pt x="902" y="479"/>
                    </a:lnTo>
                    <a:lnTo>
                      <a:pt x="902" y="482"/>
                    </a:lnTo>
                    <a:lnTo>
                      <a:pt x="903" y="484"/>
                    </a:lnTo>
                    <a:lnTo>
                      <a:pt x="902" y="485"/>
                    </a:lnTo>
                    <a:lnTo>
                      <a:pt x="902" y="485"/>
                    </a:lnTo>
                    <a:lnTo>
                      <a:pt x="899" y="484"/>
                    </a:lnTo>
                    <a:lnTo>
                      <a:pt x="895" y="485"/>
                    </a:lnTo>
                    <a:lnTo>
                      <a:pt x="892" y="487"/>
                    </a:lnTo>
                    <a:lnTo>
                      <a:pt x="890" y="492"/>
                    </a:lnTo>
                    <a:lnTo>
                      <a:pt x="890" y="492"/>
                    </a:lnTo>
                    <a:lnTo>
                      <a:pt x="889" y="502"/>
                    </a:lnTo>
                    <a:lnTo>
                      <a:pt x="886" y="505"/>
                    </a:lnTo>
                    <a:lnTo>
                      <a:pt x="883" y="508"/>
                    </a:lnTo>
                    <a:lnTo>
                      <a:pt x="883" y="508"/>
                    </a:lnTo>
                    <a:lnTo>
                      <a:pt x="882" y="508"/>
                    </a:lnTo>
                    <a:lnTo>
                      <a:pt x="880" y="508"/>
                    </a:lnTo>
                    <a:lnTo>
                      <a:pt x="879" y="504"/>
                    </a:lnTo>
                    <a:lnTo>
                      <a:pt x="879" y="499"/>
                    </a:lnTo>
                    <a:lnTo>
                      <a:pt x="878" y="498"/>
                    </a:lnTo>
                    <a:lnTo>
                      <a:pt x="876" y="498"/>
                    </a:lnTo>
                    <a:lnTo>
                      <a:pt x="876" y="498"/>
                    </a:lnTo>
                    <a:lnTo>
                      <a:pt x="875" y="498"/>
                    </a:lnTo>
                    <a:lnTo>
                      <a:pt x="873" y="499"/>
                    </a:lnTo>
                    <a:lnTo>
                      <a:pt x="870" y="504"/>
                    </a:lnTo>
                    <a:lnTo>
                      <a:pt x="872" y="508"/>
                    </a:lnTo>
                    <a:lnTo>
                      <a:pt x="872" y="509"/>
                    </a:lnTo>
                    <a:lnTo>
                      <a:pt x="873" y="511"/>
                    </a:lnTo>
                    <a:lnTo>
                      <a:pt x="873" y="511"/>
                    </a:lnTo>
                    <a:lnTo>
                      <a:pt x="876" y="512"/>
                    </a:lnTo>
                    <a:lnTo>
                      <a:pt x="878" y="514"/>
                    </a:lnTo>
                    <a:lnTo>
                      <a:pt x="880" y="521"/>
                    </a:lnTo>
                    <a:lnTo>
                      <a:pt x="880" y="521"/>
                    </a:lnTo>
                    <a:lnTo>
                      <a:pt x="880" y="522"/>
                    </a:lnTo>
                    <a:lnTo>
                      <a:pt x="879" y="522"/>
                    </a:lnTo>
                    <a:lnTo>
                      <a:pt x="876" y="524"/>
                    </a:lnTo>
                    <a:lnTo>
                      <a:pt x="872" y="525"/>
                    </a:lnTo>
                    <a:lnTo>
                      <a:pt x="870" y="526"/>
                    </a:lnTo>
                    <a:lnTo>
                      <a:pt x="869" y="528"/>
                    </a:lnTo>
                    <a:lnTo>
                      <a:pt x="869" y="528"/>
                    </a:lnTo>
                    <a:lnTo>
                      <a:pt x="866" y="531"/>
                    </a:lnTo>
                    <a:lnTo>
                      <a:pt x="865" y="528"/>
                    </a:lnTo>
                    <a:lnTo>
                      <a:pt x="862" y="525"/>
                    </a:lnTo>
                    <a:lnTo>
                      <a:pt x="859" y="521"/>
                    </a:lnTo>
                    <a:lnTo>
                      <a:pt x="859" y="521"/>
                    </a:lnTo>
                    <a:lnTo>
                      <a:pt x="852" y="514"/>
                    </a:lnTo>
                    <a:lnTo>
                      <a:pt x="849" y="508"/>
                    </a:lnTo>
                    <a:lnTo>
                      <a:pt x="849" y="504"/>
                    </a:lnTo>
                    <a:lnTo>
                      <a:pt x="849" y="504"/>
                    </a:lnTo>
                    <a:lnTo>
                      <a:pt x="849" y="501"/>
                    </a:lnTo>
                    <a:lnTo>
                      <a:pt x="851" y="499"/>
                    </a:lnTo>
                    <a:lnTo>
                      <a:pt x="856" y="497"/>
                    </a:lnTo>
                    <a:lnTo>
                      <a:pt x="856" y="497"/>
                    </a:lnTo>
                    <a:lnTo>
                      <a:pt x="858" y="497"/>
                    </a:lnTo>
                    <a:lnTo>
                      <a:pt x="858" y="494"/>
                    </a:lnTo>
                    <a:lnTo>
                      <a:pt x="855" y="487"/>
                    </a:lnTo>
                    <a:lnTo>
                      <a:pt x="855" y="487"/>
                    </a:lnTo>
                    <a:lnTo>
                      <a:pt x="855" y="482"/>
                    </a:lnTo>
                    <a:lnTo>
                      <a:pt x="852" y="481"/>
                    </a:lnTo>
                    <a:lnTo>
                      <a:pt x="849" y="479"/>
                    </a:lnTo>
                    <a:lnTo>
                      <a:pt x="845" y="475"/>
                    </a:lnTo>
                    <a:lnTo>
                      <a:pt x="845" y="475"/>
                    </a:lnTo>
                    <a:lnTo>
                      <a:pt x="841" y="471"/>
                    </a:lnTo>
                    <a:lnTo>
                      <a:pt x="836" y="470"/>
                    </a:lnTo>
                    <a:lnTo>
                      <a:pt x="832" y="470"/>
                    </a:lnTo>
                    <a:lnTo>
                      <a:pt x="829" y="472"/>
                    </a:lnTo>
                    <a:lnTo>
                      <a:pt x="829" y="472"/>
                    </a:lnTo>
                    <a:lnTo>
                      <a:pt x="828" y="475"/>
                    </a:lnTo>
                    <a:lnTo>
                      <a:pt x="828" y="478"/>
                    </a:lnTo>
                    <a:lnTo>
                      <a:pt x="826" y="481"/>
                    </a:lnTo>
                    <a:lnTo>
                      <a:pt x="824" y="484"/>
                    </a:lnTo>
                    <a:lnTo>
                      <a:pt x="824" y="484"/>
                    </a:lnTo>
                    <a:lnTo>
                      <a:pt x="821" y="487"/>
                    </a:lnTo>
                    <a:lnTo>
                      <a:pt x="819" y="491"/>
                    </a:lnTo>
                    <a:lnTo>
                      <a:pt x="819" y="494"/>
                    </a:lnTo>
                    <a:lnTo>
                      <a:pt x="818" y="495"/>
                    </a:lnTo>
                    <a:lnTo>
                      <a:pt x="816" y="497"/>
                    </a:lnTo>
                    <a:lnTo>
                      <a:pt x="816" y="497"/>
                    </a:lnTo>
                    <a:lnTo>
                      <a:pt x="815" y="495"/>
                    </a:lnTo>
                    <a:lnTo>
                      <a:pt x="815" y="494"/>
                    </a:lnTo>
                    <a:lnTo>
                      <a:pt x="814" y="488"/>
                    </a:lnTo>
                    <a:lnTo>
                      <a:pt x="814" y="481"/>
                    </a:lnTo>
                    <a:lnTo>
                      <a:pt x="812" y="478"/>
                    </a:lnTo>
                    <a:lnTo>
                      <a:pt x="811" y="477"/>
                    </a:lnTo>
                    <a:lnTo>
                      <a:pt x="811" y="477"/>
                    </a:lnTo>
                    <a:lnTo>
                      <a:pt x="809" y="475"/>
                    </a:lnTo>
                    <a:lnTo>
                      <a:pt x="809" y="474"/>
                    </a:lnTo>
                    <a:lnTo>
                      <a:pt x="811" y="471"/>
                    </a:lnTo>
                    <a:lnTo>
                      <a:pt x="814" y="470"/>
                    </a:lnTo>
                    <a:lnTo>
                      <a:pt x="814" y="470"/>
                    </a:lnTo>
                    <a:lnTo>
                      <a:pt x="816" y="468"/>
                    </a:lnTo>
                    <a:lnTo>
                      <a:pt x="819" y="467"/>
                    </a:lnTo>
                    <a:lnTo>
                      <a:pt x="819" y="465"/>
                    </a:lnTo>
                    <a:lnTo>
                      <a:pt x="818" y="464"/>
                    </a:lnTo>
                    <a:lnTo>
                      <a:pt x="818" y="464"/>
                    </a:lnTo>
                    <a:lnTo>
                      <a:pt x="814" y="462"/>
                    </a:lnTo>
                    <a:lnTo>
                      <a:pt x="809" y="461"/>
                    </a:lnTo>
                    <a:lnTo>
                      <a:pt x="801" y="457"/>
                    </a:lnTo>
                    <a:lnTo>
                      <a:pt x="801" y="457"/>
                    </a:lnTo>
                    <a:lnTo>
                      <a:pt x="798" y="458"/>
                    </a:lnTo>
                    <a:lnTo>
                      <a:pt x="795" y="460"/>
                    </a:lnTo>
                    <a:lnTo>
                      <a:pt x="792" y="461"/>
                    </a:lnTo>
                    <a:lnTo>
                      <a:pt x="789" y="461"/>
                    </a:lnTo>
                    <a:lnTo>
                      <a:pt x="789" y="461"/>
                    </a:lnTo>
                    <a:lnTo>
                      <a:pt x="788" y="458"/>
                    </a:lnTo>
                    <a:lnTo>
                      <a:pt x="788" y="454"/>
                    </a:lnTo>
                    <a:lnTo>
                      <a:pt x="789" y="447"/>
                    </a:lnTo>
                    <a:lnTo>
                      <a:pt x="789" y="447"/>
                    </a:lnTo>
                    <a:lnTo>
                      <a:pt x="791" y="445"/>
                    </a:lnTo>
                    <a:lnTo>
                      <a:pt x="794" y="445"/>
                    </a:lnTo>
                    <a:lnTo>
                      <a:pt x="797" y="445"/>
                    </a:lnTo>
                    <a:lnTo>
                      <a:pt x="799" y="444"/>
                    </a:lnTo>
                    <a:lnTo>
                      <a:pt x="799" y="444"/>
                    </a:lnTo>
                    <a:lnTo>
                      <a:pt x="799" y="442"/>
                    </a:lnTo>
                    <a:lnTo>
                      <a:pt x="799" y="441"/>
                    </a:lnTo>
                    <a:lnTo>
                      <a:pt x="795" y="438"/>
                    </a:lnTo>
                    <a:lnTo>
                      <a:pt x="791" y="437"/>
                    </a:lnTo>
                    <a:lnTo>
                      <a:pt x="789" y="435"/>
                    </a:lnTo>
                    <a:lnTo>
                      <a:pt x="789" y="433"/>
                    </a:lnTo>
                    <a:lnTo>
                      <a:pt x="789" y="433"/>
                    </a:lnTo>
                    <a:lnTo>
                      <a:pt x="789" y="431"/>
                    </a:lnTo>
                    <a:lnTo>
                      <a:pt x="788" y="430"/>
                    </a:lnTo>
                    <a:lnTo>
                      <a:pt x="784" y="427"/>
                    </a:lnTo>
                    <a:lnTo>
                      <a:pt x="775" y="424"/>
                    </a:lnTo>
                    <a:lnTo>
                      <a:pt x="775" y="424"/>
                    </a:lnTo>
                    <a:lnTo>
                      <a:pt x="774" y="424"/>
                    </a:lnTo>
                    <a:lnTo>
                      <a:pt x="774" y="423"/>
                    </a:lnTo>
                    <a:lnTo>
                      <a:pt x="775" y="418"/>
                    </a:lnTo>
                    <a:lnTo>
                      <a:pt x="775" y="414"/>
                    </a:lnTo>
                    <a:lnTo>
                      <a:pt x="775" y="410"/>
                    </a:lnTo>
                    <a:lnTo>
                      <a:pt x="775" y="410"/>
                    </a:lnTo>
                    <a:lnTo>
                      <a:pt x="772" y="407"/>
                    </a:lnTo>
                    <a:lnTo>
                      <a:pt x="767" y="401"/>
                    </a:lnTo>
                    <a:lnTo>
                      <a:pt x="761" y="397"/>
                    </a:lnTo>
                    <a:lnTo>
                      <a:pt x="758" y="397"/>
                    </a:lnTo>
                    <a:lnTo>
                      <a:pt x="755" y="396"/>
                    </a:lnTo>
                    <a:lnTo>
                      <a:pt x="755" y="396"/>
                    </a:lnTo>
                    <a:lnTo>
                      <a:pt x="751" y="396"/>
                    </a:lnTo>
                    <a:lnTo>
                      <a:pt x="750" y="393"/>
                    </a:lnTo>
                    <a:lnTo>
                      <a:pt x="750" y="390"/>
                    </a:lnTo>
                    <a:lnTo>
                      <a:pt x="751" y="388"/>
                    </a:lnTo>
                    <a:lnTo>
                      <a:pt x="751" y="388"/>
                    </a:lnTo>
                    <a:lnTo>
                      <a:pt x="754" y="388"/>
                    </a:lnTo>
                    <a:lnTo>
                      <a:pt x="755" y="387"/>
                    </a:lnTo>
                    <a:lnTo>
                      <a:pt x="762" y="380"/>
                    </a:lnTo>
                    <a:lnTo>
                      <a:pt x="762" y="380"/>
                    </a:lnTo>
                    <a:lnTo>
                      <a:pt x="767" y="376"/>
                    </a:lnTo>
                    <a:lnTo>
                      <a:pt x="768" y="373"/>
                    </a:lnTo>
                    <a:lnTo>
                      <a:pt x="768" y="371"/>
                    </a:lnTo>
                    <a:lnTo>
                      <a:pt x="765" y="370"/>
                    </a:lnTo>
                    <a:lnTo>
                      <a:pt x="765" y="370"/>
                    </a:lnTo>
                    <a:lnTo>
                      <a:pt x="762" y="369"/>
                    </a:lnTo>
                    <a:lnTo>
                      <a:pt x="761" y="367"/>
                    </a:lnTo>
                    <a:lnTo>
                      <a:pt x="762" y="366"/>
                    </a:lnTo>
                    <a:lnTo>
                      <a:pt x="767" y="364"/>
                    </a:lnTo>
                    <a:lnTo>
                      <a:pt x="767" y="364"/>
                    </a:lnTo>
                    <a:lnTo>
                      <a:pt x="779" y="367"/>
                    </a:lnTo>
                    <a:lnTo>
                      <a:pt x="787" y="369"/>
                    </a:lnTo>
                    <a:lnTo>
                      <a:pt x="791" y="367"/>
                    </a:lnTo>
                    <a:lnTo>
                      <a:pt x="791" y="367"/>
                    </a:lnTo>
                    <a:lnTo>
                      <a:pt x="797" y="361"/>
                    </a:lnTo>
                    <a:lnTo>
                      <a:pt x="802" y="353"/>
                    </a:lnTo>
                    <a:lnTo>
                      <a:pt x="815" y="336"/>
                    </a:lnTo>
                    <a:lnTo>
                      <a:pt x="815" y="336"/>
                    </a:lnTo>
                    <a:lnTo>
                      <a:pt x="816" y="333"/>
                    </a:lnTo>
                    <a:lnTo>
                      <a:pt x="816" y="332"/>
                    </a:lnTo>
                    <a:lnTo>
                      <a:pt x="815" y="330"/>
                    </a:lnTo>
                    <a:lnTo>
                      <a:pt x="814" y="329"/>
                    </a:lnTo>
                    <a:lnTo>
                      <a:pt x="806" y="327"/>
                    </a:lnTo>
                    <a:lnTo>
                      <a:pt x="798" y="329"/>
                    </a:lnTo>
                    <a:lnTo>
                      <a:pt x="798" y="329"/>
                    </a:lnTo>
                    <a:lnTo>
                      <a:pt x="789" y="327"/>
                    </a:lnTo>
                    <a:lnTo>
                      <a:pt x="784" y="326"/>
                    </a:lnTo>
                    <a:lnTo>
                      <a:pt x="778" y="324"/>
                    </a:lnTo>
                    <a:lnTo>
                      <a:pt x="771" y="323"/>
                    </a:lnTo>
                    <a:lnTo>
                      <a:pt x="771" y="323"/>
                    </a:lnTo>
                    <a:lnTo>
                      <a:pt x="762" y="323"/>
                    </a:lnTo>
                    <a:lnTo>
                      <a:pt x="752" y="324"/>
                    </a:lnTo>
                    <a:lnTo>
                      <a:pt x="742" y="326"/>
                    </a:lnTo>
                    <a:lnTo>
                      <a:pt x="738" y="327"/>
                    </a:lnTo>
                    <a:lnTo>
                      <a:pt x="738" y="327"/>
                    </a:lnTo>
                    <a:lnTo>
                      <a:pt x="737" y="329"/>
                    </a:lnTo>
                    <a:lnTo>
                      <a:pt x="738" y="330"/>
                    </a:lnTo>
                    <a:lnTo>
                      <a:pt x="740" y="333"/>
                    </a:lnTo>
                    <a:lnTo>
                      <a:pt x="741" y="334"/>
                    </a:lnTo>
                    <a:lnTo>
                      <a:pt x="742" y="337"/>
                    </a:lnTo>
                    <a:lnTo>
                      <a:pt x="742" y="337"/>
                    </a:lnTo>
                    <a:lnTo>
                      <a:pt x="741" y="339"/>
                    </a:lnTo>
                    <a:lnTo>
                      <a:pt x="741" y="339"/>
                    </a:lnTo>
                    <a:lnTo>
                      <a:pt x="738" y="337"/>
                    </a:lnTo>
                    <a:lnTo>
                      <a:pt x="734" y="336"/>
                    </a:lnTo>
                    <a:lnTo>
                      <a:pt x="733" y="336"/>
                    </a:lnTo>
                    <a:lnTo>
                      <a:pt x="733" y="336"/>
                    </a:lnTo>
                    <a:lnTo>
                      <a:pt x="731" y="339"/>
                    </a:lnTo>
                    <a:lnTo>
                      <a:pt x="731" y="341"/>
                    </a:lnTo>
                    <a:lnTo>
                      <a:pt x="733" y="347"/>
                    </a:lnTo>
                    <a:lnTo>
                      <a:pt x="733" y="354"/>
                    </a:lnTo>
                    <a:lnTo>
                      <a:pt x="733" y="354"/>
                    </a:lnTo>
                    <a:lnTo>
                      <a:pt x="733" y="363"/>
                    </a:lnTo>
                    <a:lnTo>
                      <a:pt x="734" y="367"/>
                    </a:lnTo>
                    <a:lnTo>
                      <a:pt x="738" y="373"/>
                    </a:lnTo>
                    <a:lnTo>
                      <a:pt x="738" y="373"/>
                    </a:lnTo>
                    <a:lnTo>
                      <a:pt x="740" y="377"/>
                    </a:lnTo>
                    <a:lnTo>
                      <a:pt x="741" y="381"/>
                    </a:lnTo>
                    <a:lnTo>
                      <a:pt x="741" y="391"/>
                    </a:lnTo>
                    <a:lnTo>
                      <a:pt x="741" y="391"/>
                    </a:lnTo>
                    <a:lnTo>
                      <a:pt x="740" y="396"/>
                    </a:lnTo>
                    <a:lnTo>
                      <a:pt x="737" y="398"/>
                    </a:lnTo>
                    <a:lnTo>
                      <a:pt x="731" y="400"/>
                    </a:lnTo>
                    <a:lnTo>
                      <a:pt x="731" y="400"/>
                    </a:lnTo>
                    <a:lnTo>
                      <a:pt x="731" y="401"/>
                    </a:lnTo>
                    <a:lnTo>
                      <a:pt x="731" y="403"/>
                    </a:lnTo>
                    <a:lnTo>
                      <a:pt x="733" y="404"/>
                    </a:lnTo>
                    <a:lnTo>
                      <a:pt x="735" y="407"/>
                    </a:lnTo>
                    <a:lnTo>
                      <a:pt x="735" y="410"/>
                    </a:lnTo>
                    <a:lnTo>
                      <a:pt x="735" y="410"/>
                    </a:lnTo>
                    <a:lnTo>
                      <a:pt x="735" y="411"/>
                    </a:lnTo>
                    <a:lnTo>
                      <a:pt x="734" y="411"/>
                    </a:lnTo>
                    <a:lnTo>
                      <a:pt x="730" y="411"/>
                    </a:lnTo>
                    <a:lnTo>
                      <a:pt x="727" y="408"/>
                    </a:lnTo>
                    <a:lnTo>
                      <a:pt x="723" y="408"/>
                    </a:lnTo>
                    <a:lnTo>
                      <a:pt x="723" y="408"/>
                    </a:lnTo>
                    <a:lnTo>
                      <a:pt x="720" y="411"/>
                    </a:lnTo>
                    <a:lnTo>
                      <a:pt x="718" y="417"/>
                    </a:lnTo>
                    <a:lnTo>
                      <a:pt x="717" y="421"/>
                    </a:lnTo>
                    <a:lnTo>
                      <a:pt x="718" y="424"/>
                    </a:lnTo>
                    <a:lnTo>
                      <a:pt x="720" y="425"/>
                    </a:lnTo>
                    <a:lnTo>
                      <a:pt x="720" y="425"/>
                    </a:lnTo>
                    <a:lnTo>
                      <a:pt x="724" y="430"/>
                    </a:lnTo>
                    <a:lnTo>
                      <a:pt x="724" y="431"/>
                    </a:lnTo>
                    <a:lnTo>
                      <a:pt x="723" y="434"/>
                    </a:lnTo>
                    <a:lnTo>
                      <a:pt x="723" y="434"/>
                    </a:lnTo>
                    <a:lnTo>
                      <a:pt x="720" y="438"/>
                    </a:lnTo>
                    <a:lnTo>
                      <a:pt x="718" y="442"/>
                    </a:lnTo>
                    <a:lnTo>
                      <a:pt x="720" y="447"/>
                    </a:lnTo>
                    <a:lnTo>
                      <a:pt x="724" y="452"/>
                    </a:lnTo>
                    <a:lnTo>
                      <a:pt x="724" y="452"/>
                    </a:lnTo>
                    <a:lnTo>
                      <a:pt x="731" y="455"/>
                    </a:lnTo>
                    <a:lnTo>
                      <a:pt x="740" y="458"/>
                    </a:lnTo>
                    <a:lnTo>
                      <a:pt x="748" y="460"/>
                    </a:lnTo>
                    <a:lnTo>
                      <a:pt x="755" y="464"/>
                    </a:lnTo>
                    <a:lnTo>
                      <a:pt x="755" y="464"/>
                    </a:lnTo>
                    <a:lnTo>
                      <a:pt x="758" y="467"/>
                    </a:lnTo>
                    <a:lnTo>
                      <a:pt x="758" y="467"/>
                    </a:lnTo>
                    <a:lnTo>
                      <a:pt x="755" y="468"/>
                    </a:lnTo>
                    <a:lnTo>
                      <a:pt x="755" y="470"/>
                    </a:lnTo>
                    <a:lnTo>
                      <a:pt x="755" y="471"/>
                    </a:lnTo>
                    <a:lnTo>
                      <a:pt x="755" y="471"/>
                    </a:lnTo>
                    <a:lnTo>
                      <a:pt x="757" y="474"/>
                    </a:lnTo>
                    <a:lnTo>
                      <a:pt x="755" y="475"/>
                    </a:lnTo>
                    <a:lnTo>
                      <a:pt x="754" y="478"/>
                    </a:lnTo>
                    <a:lnTo>
                      <a:pt x="751" y="481"/>
                    </a:lnTo>
                    <a:lnTo>
                      <a:pt x="751" y="484"/>
                    </a:lnTo>
                    <a:lnTo>
                      <a:pt x="751" y="484"/>
                    </a:lnTo>
                    <a:lnTo>
                      <a:pt x="751" y="487"/>
                    </a:lnTo>
                    <a:lnTo>
                      <a:pt x="752" y="487"/>
                    </a:lnTo>
                    <a:lnTo>
                      <a:pt x="758" y="478"/>
                    </a:lnTo>
                    <a:lnTo>
                      <a:pt x="758" y="478"/>
                    </a:lnTo>
                    <a:lnTo>
                      <a:pt x="760" y="477"/>
                    </a:lnTo>
                    <a:lnTo>
                      <a:pt x="761" y="475"/>
                    </a:lnTo>
                    <a:lnTo>
                      <a:pt x="762" y="477"/>
                    </a:lnTo>
                    <a:lnTo>
                      <a:pt x="764" y="478"/>
                    </a:lnTo>
                    <a:lnTo>
                      <a:pt x="765" y="482"/>
                    </a:lnTo>
                    <a:lnTo>
                      <a:pt x="765" y="488"/>
                    </a:lnTo>
                    <a:lnTo>
                      <a:pt x="765" y="488"/>
                    </a:lnTo>
                    <a:lnTo>
                      <a:pt x="764" y="491"/>
                    </a:lnTo>
                    <a:lnTo>
                      <a:pt x="761" y="492"/>
                    </a:lnTo>
                    <a:lnTo>
                      <a:pt x="758" y="494"/>
                    </a:lnTo>
                    <a:lnTo>
                      <a:pt x="754" y="497"/>
                    </a:lnTo>
                    <a:lnTo>
                      <a:pt x="754" y="497"/>
                    </a:lnTo>
                    <a:lnTo>
                      <a:pt x="751" y="501"/>
                    </a:lnTo>
                    <a:lnTo>
                      <a:pt x="747" y="504"/>
                    </a:lnTo>
                    <a:lnTo>
                      <a:pt x="744" y="504"/>
                    </a:lnTo>
                    <a:lnTo>
                      <a:pt x="738" y="504"/>
                    </a:lnTo>
                    <a:lnTo>
                      <a:pt x="738" y="504"/>
                    </a:lnTo>
                    <a:lnTo>
                      <a:pt x="737" y="504"/>
                    </a:lnTo>
                    <a:lnTo>
                      <a:pt x="735" y="505"/>
                    </a:lnTo>
                    <a:lnTo>
                      <a:pt x="735" y="508"/>
                    </a:lnTo>
                    <a:lnTo>
                      <a:pt x="737" y="514"/>
                    </a:lnTo>
                    <a:lnTo>
                      <a:pt x="738" y="519"/>
                    </a:lnTo>
                    <a:lnTo>
                      <a:pt x="738" y="519"/>
                    </a:lnTo>
                    <a:lnTo>
                      <a:pt x="740" y="524"/>
                    </a:lnTo>
                    <a:lnTo>
                      <a:pt x="738" y="525"/>
                    </a:lnTo>
                    <a:lnTo>
                      <a:pt x="735" y="526"/>
                    </a:lnTo>
                    <a:lnTo>
                      <a:pt x="730" y="525"/>
                    </a:lnTo>
                    <a:lnTo>
                      <a:pt x="730" y="525"/>
                    </a:lnTo>
                    <a:lnTo>
                      <a:pt x="725" y="524"/>
                    </a:lnTo>
                    <a:lnTo>
                      <a:pt x="721" y="521"/>
                    </a:lnTo>
                    <a:lnTo>
                      <a:pt x="720" y="516"/>
                    </a:lnTo>
                    <a:lnTo>
                      <a:pt x="721" y="512"/>
                    </a:lnTo>
                    <a:lnTo>
                      <a:pt x="721" y="512"/>
                    </a:lnTo>
                    <a:lnTo>
                      <a:pt x="725" y="504"/>
                    </a:lnTo>
                    <a:lnTo>
                      <a:pt x="725" y="501"/>
                    </a:lnTo>
                    <a:lnTo>
                      <a:pt x="724" y="499"/>
                    </a:lnTo>
                    <a:lnTo>
                      <a:pt x="724" y="499"/>
                    </a:lnTo>
                    <a:lnTo>
                      <a:pt x="720" y="499"/>
                    </a:lnTo>
                    <a:lnTo>
                      <a:pt x="714" y="499"/>
                    </a:lnTo>
                    <a:lnTo>
                      <a:pt x="708" y="498"/>
                    </a:lnTo>
                    <a:lnTo>
                      <a:pt x="705" y="494"/>
                    </a:lnTo>
                    <a:lnTo>
                      <a:pt x="705" y="494"/>
                    </a:lnTo>
                    <a:lnTo>
                      <a:pt x="704" y="492"/>
                    </a:lnTo>
                    <a:lnTo>
                      <a:pt x="707" y="491"/>
                    </a:lnTo>
                    <a:lnTo>
                      <a:pt x="717" y="492"/>
                    </a:lnTo>
                    <a:lnTo>
                      <a:pt x="717" y="492"/>
                    </a:lnTo>
                    <a:lnTo>
                      <a:pt x="721" y="492"/>
                    </a:lnTo>
                    <a:lnTo>
                      <a:pt x="723" y="489"/>
                    </a:lnTo>
                    <a:lnTo>
                      <a:pt x="723" y="487"/>
                    </a:lnTo>
                    <a:lnTo>
                      <a:pt x="724" y="487"/>
                    </a:lnTo>
                    <a:lnTo>
                      <a:pt x="725" y="487"/>
                    </a:lnTo>
                    <a:lnTo>
                      <a:pt x="725" y="487"/>
                    </a:lnTo>
                    <a:lnTo>
                      <a:pt x="735" y="488"/>
                    </a:lnTo>
                    <a:lnTo>
                      <a:pt x="740" y="487"/>
                    </a:lnTo>
                    <a:lnTo>
                      <a:pt x="744" y="485"/>
                    </a:lnTo>
                    <a:lnTo>
                      <a:pt x="744" y="485"/>
                    </a:lnTo>
                    <a:lnTo>
                      <a:pt x="745" y="482"/>
                    </a:lnTo>
                    <a:lnTo>
                      <a:pt x="745" y="479"/>
                    </a:lnTo>
                    <a:lnTo>
                      <a:pt x="744" y="475"/>
                    </a:lnTo>
                    <a:lnTo>
                      <a:pt x="740" y="471"/>
                    </a:lnTo>
                    <a:lnTo>
                      <a:pt x="737" y="471"/>
                    </a:lnTo>
                    <a:lnTo>
                      <a:pt x="735" y="471"/>
                    </a:lnTo>
                    <a:lnTo>
                      <a:pt x="735" y="471"/>
                    </a:lnTo>
                    <a:lnTo>
                      <a:pt x="727" y="472"/>
                    </a:lnTo>
                    <a:lnTo>
                      <a:pt x="724" y="472"/>
                    </a:lnTo>
                    <a:lnTo>
                      <a:pt x="723" y="471"/>
                    </a:lnTo>
                    <a:lnTo>
                      <a:pt x="723" y="470"/>
                    </a:lnTo>
                    <a:lnTo>
                      <a:pt x="723" y="470"/>
                    </a:lnTo>
                    <a:lnTo>
                      <a:pt x="723" y="468"/>
                    </a:lnTo>
                    <a:lnTo>
                      <a:pt x="724" y="468"/>
                    </a:lnTo>
                    <a:lnTo>
                      <a:pt x="727" y="467"/>
                    </a:lnTo>
                    <a:lnTo>
                      <a:pt x="731" y="468"/>
                    </a:lnTo>
                    <a:lnTo>
                      <a:pt x="735" y="467"/>
                    </a:lnTo>
                    <a:lnTo>
                      <a:pt x="735" y="467"/>
                    </a:lnTo>
                    <a:lnTo>
                      <a:pt x="737" y="467"/>
                    </a:lnTo>
                    <a:lnTo>
                      <a:pt x="737" y="465"/>
                    </a:lnTo>
                    <a:lnTo>
                      <a:pt x="735" y="464"/>
                    </a:lnTo>
                    <a:lnTo>
                      <a:pt x="731" y="461"/>
                    </a:lnTo>
                    <a:lnTo>
                      <a:pt x="725" y="461"/>
                    </a:lnTo>
                    <a:lnTo>
                      <a:pt x="725" y="461"/>
                    </a:lnTo>
                    <a:lnTo>
                      <a:pt x="721" y="462"/>
                    </a:lnTo>
                    <a:lnTo>
                      <a:pt x="717" y="462"/>
                    </a:lnTo>
                    <a:lnTo>
                      <a:pt x="713" y="461"/>
                    </a:lnTo>
                    <a:lnTo>
                      <a:pt x="708" y="458"/>
                    </a:lnTo>
                    <a:lnTo>
                      <a:pt x="708" y="458"/>
                    </a:lnTo>
                    <a:lnTo>
                      <a:pt x="703" y="454"/>
                    </a:lnTo>
                    <a:lnTo>
                      <a:pt x="698" y="452"/>
                    </a:lnTo>
                    <a:lnTo>
                      <a:pt x="696" y="452"/>
                    </a:lnTo>
                    <a:lnTo>
                      <a:pt x="693" y="454"/>
                    </a:lnTo>
                    <a:lnTo>
                      <a:pt x="691" y="458"/>
                    </a:lnTo>
                    <a:lnTo>
                      <a:pt x="690" y="462"/>
                    </a:lnTo>
                    <a:lnTo>
                      <a:pt x="690" y="462"/>
                    </a:lnTo>
                    <a:lnTo>
                      <a:pt x="688" y="467"/>
                    </a:lnTo>
                    <a:lnTo>
                      <a:pt x="687" y="470"/>
                    </a:lnTo>
                    <a:lnTo>
                      <a:pt x="684" y="471"/>
                    </a:lnTo>
                    <a:lnTo>
                      <a:pt x="681" y="471"/>
                    </a:lnTo>
                    <a:lnTo>
                      <a:pt x="677" y="471"/>
                    </a:lnTo>
                    <a:lnTo>
                      <a:pt x="676" y="472"/>
                    </a:lnTo>
                    <a:lnTo>
                      <a:pt x="673" y="472"/>
                    </a:lnTo>
                    <a:lnTo>
                      <a:pt x="673" y="472"/>
                    </a:lnTo>
                    <a:lnTo>
                      <a:pt x="673" y="475"/>
                    </a:lnTo>
                    <a:lnTo>
                      <a:pt x="673" y="477"/>
                    </a:lnTo>
                    <a:lnTo>
                      <a:pt x="676" y="478"/>
                    </a:lnTo>
                    <a:lnTo>
                      <a:pt x="681" y="481"/>
                    </a:lnTo>
                    <a:lnTo>
                      <a:pt x="687" y="481"/>
                    </a:lnTo>
                    <a:lnTo>
                      <a:pt x="687" y="481"/>
                    </a:lnTo>
                    <a:lnTo>
                      <a:pt x="694" y="482"/>
                    </a:lnTo>
                    <a:lnTo>
                      <a:pt x="698" y="487"/>
                    </a:lnTo>
                    <a:lnTo>
                      <a:pt x="701" y="489"/>
                    </a:lnTo>
                    <a:lnTo>
                      <a:pt x="701" y="489"/>
                    </a:lnTo>
                    <a:lnTo>
                      <a:pt x="700" y="491"/>
                    </a:lnTo>
                    <a:lnTo>
                      <a:pt x="700" y="491"/>
                    </a:lnTo>
                    <a:lnTo>
                      <a:pt x="697" y="491"/>
                    </a:lnTo>
                    <a:lnTo>
                      <a:pt x="696" y="494"/>
                    </a:lnTo>
                    <a:lnTo>
                      <a:pt x="694" y="495"/>
                    </a:lnTo>
                    <a:lnTo>
                      <a:pt x="693" y="495"/>
                    </a:lnTo>
                    <a:lnTo>
                      <a:pt x="693" y="495"/>
                    </a:lnTo>
                    <a:lnTo>
                      <a:pt x="688" y="494"/>
                    </a:lnTo>
                    <a:lnTo>
                      <a:pt x="686" y="494"/>
                    </a:lnTo>
                    <a:lnTo>
                      <a:pt x="684" y="497"/>
                    </a:lnTo>
                    <a:lnTo>
                      <a:pt x="686" y="499"/>
                    </a:lnTo>
                    <a:lnTo>
                      <a:pt x="686" y="499"/>
                    </a:lnTo>
                    <a:lnTo>
                      <a:pt x="687" y="502"/>
                    </a:lnTo>
                    <a:lnTo>
                      <a:pt x="687" y="504"/>
                    </a:lnTo>
                    <a:lnTo>
                      <a:pt x="686" y="507"/>
                    </a:lnTo>
                    <a:lnTo>
                      <a:pt x="684" y="509"/>
                    </a:lnTo>
                    <a:lnTo>
                      <a:pt x="684" y="509"/>
                    </a:lnTo>
                    <a:lnTo>
                      <a:pt x="684" y="511"/>
                    </a:lnTo>
                    <a:lnTo>
                      <a:pt x="684" y="511"/>
                    </a:lnTo>
                    <a:lnTo>
                      <a:pt x="680" y="511"/>
                    </a:lnTo>
                    <a:lnTo>
                      <a:pt x="670" y="509"/>
                    </a:lnTo>
                    <a:lnTo>
                      <a:pt x="670" y="509"/>
                    </a:lnTo>
                    <a:lnTo>
                      <a:pt x="663" y="509"/>
                    </a:lnTo>
                    <a:lnTo>
                      <a:pt x="656" y="509"/>
                    </a:lnTo>
                    <a:lnTo>
                      <a:pt x="639" y="512"/>
                    </a:lnTo>
                    <a:lnTo>
                      <a:pt x="639" y="512"/>
                    </a:lnTo>
                    <a:lnTo>
                      <a:pt x="632" y="514"/>
                    </a:lnTo>
                    <a:lnTo>
                      <a:pt x="623" y="512"/>
                    </a:lnTo>
                    <a:lnTo>
                      <a:pt x="617" y="509"/>
                    </a:lnTo>
                    <a:lnTo>
                      <a:pt x="613" y="507"/>
                    </a:lnTo>
                    <a:lnTo>
                      <a:pt x="613" y="507"/>
                    </a:lnTo>
                    <a:lnTo>
                      <a:pt x="610" y="504"/>
                    </a:lnTo>
                    <a:lnTo>
                      <a:pt x="606" y="504"/>
                    </a:lnTo>
                    <a:lnTo>
                      <a:pt x="596" y="502"/>
                    </a:lnTo>
                    <a:lnTo>
                      <a:pt x="596" y="502"/>
                    </a:lnTo>
                    <a:lnTo>
                      <a:pt x="592" y="502"/>
                    </a:lnTo>
                    <a:lnTo>
                      <a:pt x="590" y="499"/>
                    </a:lnTo>
                    <a:lnTo>
                      <a:pt x="587" y="497"/>
                    </a:lnTo>
                    <a:lnTo>
                      <a:pt x="582" y="495"/>
                    </a:lnTo>
                    <a:lnTo>
                      <a:pt x="582" y="495"/>
                    </a:lnTo>
                    <a:lnTo>
                      <a:pt x="579" y="495"/>
                    </a:lnTo>
                    <a:lnTo>
                      <a:pt x="577" y="494"/>
                    </a:lnTo>
                    <a:lnTo>
                      <a:pt x="575" y="491"/>
                    </a:lnTo>
                    <a:lnTo>
                      <a:pt x="573" y="482"/>
                    </a:lnTo>
                    <a:lnTo>
                      <a:pt x="573" y="482"/>
                    </a:lnTo>
                    <a:lnTo>
                      <a:pt x="573" y="481"/>
                    </a:lnTo>
                    <a:lnTo>
                      <a:pt x="570" y="481"/>
                    </a:lnTo>
                    <a:lnTo>
                      <a:pt x="563" y="479"/>
                    </a:lnTo>
                    <a:lnTo>
                      <a:pt x="555" y="481"/>
                    </a:lnTo>
                    <a:lnTo>
                      <a:pt x="548" y="484"/>
                    </a:lnTo>
                    <a:lnTo>
                      <a:pt x="548" y="484"/>
                    </a:lnTo>
                    <a:lnTo>
                      <a:pt x="542" y="487"/>
                    </a:lnTo>
                    <a:lnTo>
                      <a:pt x="535" y="488"/>
                    </a:lnTo>
                    <a:lnTo>
                      <a:pt x="528" y="489"/>
                    </a:lnTo>
                    <a:lnTo>
                      <a:pt x="526" y="492"/>
                    </a:lnTo>
                    <a:lnTo>
                      <a:pt x="523" y="494"/>
                    </a:lnTo>
                    <a:lnTo>
                      <a:pt x="523" y="494"/>
                    </a:lnTo>
                    <a:lnTo>
                      <a:pt x="523" y="498"/>
                    </a:lnTo>
                    <a:lnTo>
                      <a:pt x="525" y="501"/>
                    </a:lnTo>
                    <a:lnTo>
                      <a:pt x="528" y="501"/>
                    </a:lnTo>
                    <a:lnTo>
                      <a:pt x="531" y="501"/>
                    </a:lnTo>
                    <a:lnTo>
                      <a:pt x="531" y="501"/>
                    </a:lnTo>
                    <a:lnTo>
                      <a:pt x="535" y="499"/>
                    </a:lnTo>
                    <a:lnTo>
                      <a:pt x="536" y="498"/>
                    </a:lnTo>
                    <a:lnTo>
                      <a:pt x="540" y="497"/>
                    </a:lnTo>
                    <a:lnTo>
                      <a:pt x="546" y="497"/>
                    </a:lnTo>
                    <a:lnTo>
                      <a:pt x="546" y="497"/>
                    </a:lnTo>
                    <a:lnTo>
                      <a:pt x="549" y="497"/>
                    </a:lnTo>
                    <a:lnTo>
                      <a:pt x="553" y="495"/>
                    </a:lnTo>
                    <a:lnTo>
                      <a:pt x="559" y="492"/>
                    </a:lnTo>
                    <a:lnTo>
                      <a:pt x="563" y="489"/>
                    </a:lnTo>
                    <a:lnTo>
                      <a:pt x="566" y="489"/>
                    </a:lnTo>
                    <a:lnTo>
                      <a:pt x="567" y="489"/>
                    </a:lnTo>
                    <a:lnTo>
                      <a:pt x="567" y="489"/>
                    </a:lnTo>
                    <a:lnTo>
                      <a:pt x="567" y="492"/>
                    </a:lnTo>
                    <a:lnTo>
                      <a:pt x="566" y="494"/>
                    </a:lnTo>
                    <a:lnTo>
                      <a:pt x="559" y="498"/>
                    </a:lnTo>
                    <a:lnTo>
                      <a:pt x="549" y="502"/>
                    </a:lnTo>
                    <a:lnTo>
                      <a:pt x="540" y="504"/>
                    </a:lnTo>
                    <a:lnTo>
                      <a:pt x="540" y="504"/>
                    </a:lnTo>
                    <a:lnTo>
                      <a:pt x="538" y="505"/>
                    </a:lnTo>
                    <a:lnTo>
                      <a:pt x="536" y="507"/>
                    </a:lnTo>
                    <a:lnTo>
                      <a:pt x="535" y="508"/>
                    </a:lnTo>
                    <a:lnTo>
                      <a:pt x="535" y="511"/>
                    </a:lnTo>
                    <a:lnTo>
                      <a:pt x="538" y="516"/>
                    </a:lnTo>
                    <a:lnTo>
                      <a:pt x="543" y="526"/>
                    </a:lnTo>
                    <a:lnTo>
                      <a:pt x="543" y="526"/>
                    </a:lnTo>
                    <a:lnTo>
                      <a:pt x="545" y="529"/>
                    </a:lnTo>
                    <a:lnTo>
                      <a:pt x="546" y="532"/>
                    </a:lnTo>
                    <a:lnTo>
                      <a:pt x="545" y="534"/>
                    </a:lnTo>
                    <a:lnTo>
                      <a:pt x="545" y="535"/>
                    </a:lnTo>
                    <a:lnTo>
                      <a:pt x="540" y="535"/>
                    </a:lnTo>
                    <a:lnTo>
                      <a:pt x="539" y="536"/>
                    </a:lnTo>
                    <a:lnTo>
                      <a:pt x="539" y="538"/>
                    </a:lnTo>
                    <a:lnTo>
                      <a:pt x="539" y="538"/>
                    </a:lnTo>
                    <a:lnTo>
                      <a:pt x="538" y="539"/>
                    </a:lnTo>
                    <a:lnTo>
                      <a:pt x="536" y="541"/>
                    </a:lnTo>
                    <a:lnTo>
                      <a:pt x="532" y="539"/>
                    </a:lnTo>
                    <a:lnTo>
                      <a:pt x="528" y="536"/>
                    </a:lnTo>
                    <a:lnTo>
                      <a:pt x="528" y="535"/>
                    </a:lnTo>
                    <a:lnTo>
                      <a:pt x="529" y="534"/>
                    </a:lnTo>
                    <a:lnTo>
                      <a:pt x="529" y="534"/>
                    </a:lnTo>
                    <a:lnTo>
                      <a:pt x="532" y="532"/>
                    </a:lnTo>
                    <a:lnTo>
                      <a:pt x="532" y="528"/>
                    </a:lnTo>
                    <a:lnTo>
                      <a:pt x="531" y="524"/>
                    </a:lnTo>
                    <a:lnTo>
                      <a:pt x="528" y="521"/>
                    </a:lnTo>
                    <a:lnTo>
                      <a:pt x="528" y="521"/>
                    </a:lnTo>
                    <a:lnTo>
                      <a:pt x="523" y="519"/>
                    </a:lnTo>
                    <a:lnTo>
                      <a:pt x="521" y="518"/>
                    </a:lnTo>
                    <a:lnTo>
                      <a:pt x="519" y="518"/>
                    </a:lnTo>
                    <a:lnTo>
                      <a:pt x="519" y="516"/>
                    </a:lnTo>
                    <a:lnTo>
                      <a:pt x="519" y="516"/>
                    </a:lnTo>
                    <a:lnTo>
                      <a:pt x="518" y="514"/>
                    </a:lnTo>
                    <a:lnTo>
                      <a:pt x="516" y="514"/>
                    </a:lnTo>
                    <a:lnTo>
                      <a:pt x="512" y="514"/>
                    </a:lnTo>
                    <a:lnTo>
                      <a:pt x="508" y="512"/>
                    </a:lnTo>
                    <a:lnTo>
                      <a:pt x="508" y="512"/>
                    </a:lnTo>
                    <a:lnTo>
                      <a:pt x="502" y="508"/>
                    </a:lnTo>
                    <a:lnTo>
                      <a:pt x="498" y="508"/>
                    </a:lnTo>
                    <a:lnTo>
                      <a:pt x="494" y="509"/>
                    </a:lnTo>
                    <a:lnTo>
                      <a:pt x="494" y="509"/>
                    </a:lnTo>
                    <a:lnTo>
                      <a:pt x="489" y="511"/>
                    </a:lnTo>
                    <a:lnTo>
                      <a:pt x="482" y="512"/>
                    </a:lnTo>
                    <a:lnTo>
                      <a:pt x="465" y="514"/>
                    </a:lnTo>
                    <a:lnTo>
                      <a:pt x="465" y="514"/>
                    </a:lnTo>
                    <a:lnTo>
                      <a:pt x="451" y="515"/>
                    </a:lnTo>
                    <a:lnTo>
                      <a:pt x="437" y="515"/>
                    </a:lnTo>
                    <a:lnTo>
                      <a:pt x="425" y="514"/>
                    </a:lnTo>
                    <a:lnTo>
                      <a:pt x="420" y="512"/>
                    </a:lnTo>
                    <a:lnTo>
                      <a:pt x="417" y="511"/>
                    </a:lnTo>
                    <a:lnTo>
                      <a:pt x="417" y="511"/>
                    </a:lnTo>
                    <a:lnTo>
                      <a:pt x="417" y="508"/>
                    </a:lnTo>
                    <a:lnTo>
                      <a:pt x="417" y="507"/>
                    </a:lnTo>
                    <a:lnTo>
                      <a:pt x="422" y="502"/>
                    </a:lnTo>
                    <a:lnTo>
                      <a:pt x="430" y="499"/>
                    </a:lnTo>
                    <a:lnTo>
                      <a:pt x="435" y="498"/>
                    </a:lnTo>
                    <a:lnTo>
                      <a:pt x="435" y="498"/>
                    </a:lnTo>
                    <a:lnTo>
                      <a:pt x="438" y="498"/>
                    </a:lnTo>
                    <a:lnTo>
                      <a:pt x="437" y="495"/>
                    </a:lnTo>
                    <a:lnTo>
                      <a:pt x="434" y="491"/>
                    </a:lnTo>
                    <a:lnTo>
                      <a:pt x="430" y="487"/>
                    </a:lnTo>
                    <a:lnTo>
                      <a:pt x="430" y="487"/>
                    </a:lnTo>
                    <a:lnTo>
                      <a:pt x="422" y="482"/>
                    </a:lnTo>
                    <a:lnTo>
                      <a:pt x="412" y="479"/>
                    </a:lnTo>
                    <a:lnTo>
                      <a:pt x="407" y="478"/>
                    </a:lnTo>
                    <a:lnTo>
                      <a:pt x="404" y="478"/>
                    </a:lnTo>
                    <a:lnTo>
                      <a:pt x="404" y="479"/>
                    </a:lnTo>
                    <a:lnTo>
                      <a:pt x="404" y="479"/>
                    </a:lnTo>
                    <a:lnTo>
                      <a:pt x="402" y="481"/>
                    </a:lnTo>
                    <a:lnTo>
                      <a:pt x="401" y="481"/>
                    </a:lnTo>
                    <a:lnTo>
                      <a:pt x="397" y="481"/>
                    </a:lnTo>
                    <a:lnTo>
                      <a:pt x="380" y="478"/>
                    </a:lnTo>
                    <a:lnTo>
                      <a:pt x="380" y="478"/>
                    </a:lnTo>
                    <a:lnTo>
                      <a:pt x="371" y="475"/>
                    </a:lnTo>
                    <a:lnTo>
                      <a:pt x="367" y="472"/>
                    </a:lnTo>
                    <a:lnTo>
                      <a:pt x="361" y="471"/>
                    </a:lnTo>
                    <a:lnTo>
                      <a:pt x="357" y="470"/>
                    </a:lnTo>
                    <a:lnTo>
                      <a:pt x="357" y="470"/>
                    </a:lnTo>
                    <a:lnTo>
                      <a:pt x="350" y="470"/>
                    </a:lnTo>
                    <a:lnTo>
                      <a:pt x="341" y="468"/>
                    </a:lnTo>
                    <a:lnTo>
                      <a:pt x="333" y="464"/>
                    </a:lnTo>
                    <a:lnTo>
                      <a:pt x="326" y="460"/>
                    </a:lnTo>
                    <a:lnTo>
                      <a:pt x="326" y="460"/>
                    </a:lnTo>
                    <a:lnTo>
                      <a:pt x="321" y="457"/>
                    </a:lnTo>
                    <a:lnTo>
                      <a:pt x="316" y="455"/>
                    </a:lnTo>
                    <a:lnTo>
                      <a:pt x="304" y="454"/>
                    </a:lnTo>
                    <a:lnTo>
                      <a:pt x="294" y="457"/>
                    </a:lnTo>
                    <a:lnTo>
                      <a:pt x="290" y="458"/>
                    </a:lnTo>
                    <a:lnTo>
                      <a:pt x="289" y="461"/>
                    </a:lnTo>
                    <a:lnTo>
                      <a:pt x="289" y="461"/>
                    </a:lnTo>
                    <a:lnTo>
                      <a:pt x="286" y="465"/>
                    </a:lnTo>
                    <a:lnTo>
                      <a:pt x="282" y="467"/>
                    </a:lnTo>
                    <a:lnTo>
                      <a:pt x="276" y="468"/>
                    </a:lnTo>
                    <a:lnTo>
                      <a:pt x="270" y="468"/>
                    </a:lnTo>
                    <a:lnTo>
                      <a:pt x="270" y="468"/>
                    </a:lnTo>
                    <a:lnTo>
                      <a:pt x="269" y="467"/>
                    </a:lnTo>
                    <a:lnTo>
                      <a:pt x="267" y="467"/>
                    </a:lnTo>
                    <a:lnTo>
                      <a:pt x="269" y="462"/>
                    </a:lnTo>
                    <a:lnTo>
                      <a:pt x="272" y="460"/>
                    </a:lnTo>
                    <a:lnTo>
                      <a:pt x="272" y="458"/>
                    </a:lnTo>
                    <a:lnTo>
                      <a:pt x="272" y="457"/>
                    </a:lnTo>
                    <a:lnTo>
                      <a:pt x="272" y="457"/>
                    </a:lnTo>
                    <a:lnTo>
                      <a:pt x="269" y="455"/>
                    </a:lnTo>
                    <a:lnTo>
                      <a:pt x="269" y="451"/>
                    </a:lnTo>
                    <a:lnTo>
                      <a:pt x="269" y="447"/>
                    </a:lnTo>
                    <a:lnTo>
                      <a:pt x="267" y="445"/>
                    </a:lnTo>
                    <a:lnTo>
                      <a:pt x="266" y="445"/>
                    </a:lnTo>
                    <a:lnTo>
                      <a:pt x="266" y="445"/>
                    </a:lnTo>
                    <a:lnTo>
                      <a:pt x="263" y="445"/>
                    </a:lnTo>
                    <a:lnTo>
                      <a:pt x="262" y="448"/>
                    </a:lnTo>
                    <a:lnTo>
                      <a:pt x="257" y="457"/>
                    </a:lnTo>
                    <a:lnTo>
                      <a:pt x="252" y="464"/>
                    </a:lnTo>
                    <a:lnTo>
                      <a:pt x="247" y="467"/>
                    </a:lnTo>
                    <a:lnTo>
                      <a:pt x="245" y="468"/>
                    </a:lnTo>
                    <a:lnTo>
                      <a:pt x="245" y="468"/>
                    </a:lnTo>
                    <a:lnTo>
                      <a:pt x="240" y="467"/>
                    </a:lnTo>
                    <a:lnTo>
                      <a:pt x="237" y="464"/>
                    </a:lnTo>
                    <a:lnTo>
                      <a:pt x="232" y="454"/>
                    </a:lnTo>
                    <a:lnTo>
                      <a:pt x="226" y="444"/>
                    </a:lnTo>
                    <a:lnTo>
                      <a:pt x="223" y="438"/>
                    </a:lnTo>
                    <a:lnTo>
                      <a:pt x="220" y="435"/>
                    </a:lnTo>
                    <a:lnTo>
                      <a:pt x="220" y="435"/>
                    </a:lnTo>
                    <a:lnTo>
                      <a:pt x="213" y="433"/>
                    </a:lnTo>
                    <a:lnTo>
                      <a:pt x="209" y="431"/>
                    </a:lnTo>
                    <a:lnTo>
                      <a:pt x="208" y="431"/>
                    </a:lnTo>
                    <a:lnTo>
                      <a:pt x="208" y="433"/>
                    </a:lnTo>
                    <a:lnTo>
                      <a:pt x="210" y="438"/>
                    </a:lnTo>
                    <a:lnTo>
                      <a:pt x="210" y="438"/>
                    </a:lnTo>
                    <a:lnTo>
                      <a:pt x="212" y="441"/>
                    </a:lnTo>
                    <a:lnTo>
                      <a:pt x="212" y="442"/>
                    </a:lnTo>
                    <a:lnTo>
                      <a:pt x="212" y="444"/>
                    </a:lnTo>
                    <a:lnTo>
                      <a:pt x="210" y="444"/>
                    </a:lnTo>
                    <a:lnTo>
                      <a:pt x="206" y="445"/>
                    </a:lnTo>
                    <a:lnTo>
                      <a:pt x="205" y="445"/>
                    </a:lnTo>
                    <a:lnTo>
                      <a:pt x="205" y="448"/>
                    </a:lnTo>
                    <a:lnTo>
                      <a:pt x="205" y="448"/>
                    </a:lnTo>
                    <a:lnTo>
                      <a:pt x="205" y="450"/>
                    </a:lnTo>
                    <a:lnTo>
                      <a:pt x="203" y="452"/>
                    </a:lnTo>
                    <a:lnTo>
                      <a:pt x="199" y="457"/>
                    </a:lnTo>
                    <a:lnTo>
                      <a:pt x="195" y="458"/>
                    </a:lnTo>
                    <a:lnTo>
                      <a:pt x="193" y="460"/>
                    </a:lnTo>
                    <a:lnTo>
                      <a:pt x="193" y="458"/>
                    </a:lnTo>
                    <a:lnTo>
                      <a:pt x="193" y="458"/>
                    </a:lnTo>
                    <a:lnTo>
                      <a:pt x="192" y="455"/>
                    </a:lnTo>
                    <a:lnTo>
                      <a:pt x="188" y="454"/>
                    </a:lnTo>
                    <a:lnTo>
                      <a:pt x="183" y="455"/>
                    </a:lnTo>
                    <a:lnTo>
                      <a:pt x="178" y="461"/>
                    </a:lnTo>
                    <a:lnTo>
                      <a:pt x="178" y="461"/>
                    </a:lnTo>
                    <a:lnTo>
                      <a:pt x="171" y="467"/>
                    </a:lnTo>
                    <a:lnTo>
                      <a:pt x="166" y="468"/>
                    </a:lnTo>
                    <a:lnTo>
                      <a:pt x="163" y="468"/>
                    </a:lnTo>
                    <a:lnTo>
                      <a:pt x="162" y="465"/>
                    </a:lnTo>
                    <a:lnTo>
                      <a:pt x="162" y="465"/>
                    </a:lnTo>
                    <a:lnTo>
                      <a:pt x="161" y="465"/>
                    </a:lnTo>
                    <a:lnTo>
                      <a:pt x="158" y="465"/>
                    </a:lnTo>
                    <a:lnTo>
                      <a:pt x="149" y="470"/>
                    </a:lnTo>
                    <a:lnTo>
                      <a:pt x="141" y="475"/>
                    </a:lnTo>
                    <a:lnTo>
                      <a:pt x="138" y="477"/>
                    </a:lnTo>
                    <a:lnTo>
                      <a:pt x="136" y="479"/>
                    </a:lnTo>
                    <a:lnTo>
                      <a:pt x="136" y="479"/>
                    </a:lnTo>
                    <a:lnTo>
                      <a:pt x="136" y="482"/>
                    </a:lnTo>
                    <a:lnTo>
                      <a:pt x="135" y="484"/>
                    </a:lnTo>
                    <a:lnTo>
                      <a:pt x="131" y="485"/>
                    </a:lnTo>
                    <a:lnTo>
                      <a:pt x="126" y="487"/>
                    </a:lnTo>
                    <a:lnTo>
                      <a:pt x="126" y="487"/>
                    </a:lnTo>
                    <a:lnTo>
                      <a:pt x="124" y="485"/>
                    </a:lnTo>
                    <a:lnTo>
                      <a:pt x="124" y="482"/>
                    </a:lnTo>
                    <a:lnTo>
                      <a:pt x="126" y="479"/>
                    </a:lnTo>
                    <a:lnTo>
                      <a:pt x="131" y="477"/>
                    </a:lnTo>
                    <a:lnTo>
                      <a:pt x="131" y="477"/>
                    </a:lnTo>
                    <a:lnTo>
                      <a:pt x="145" y="468"/>
                    </a:lnTo>
                    <a:lnTo>
                      <a:pt x="154" y="462"/>
                    </a:lnTo>
                    <a:lnTo>
                      <a:pt x="161" y="460"/>
                    </a:lnTo>
                    <a:lnTo>
                      <a:pt x="161" y="460"/>
                    </a:lnTo>
                    <a:lnTo>
                      <a:pt x="169" y="458"/>
                    </a:lnTo>
                    <a:lnTo>
                      <a:pt x="176" y="454"/>
                    </a:lnTo>
                    <a:lnTo>
                      <a:pt x="183" y="451"/>
                    </a:lnTo>
                    <a:lnTo>
                      <a:pt x="186" y="450"/>
                    </a:lnTo>
                    <a:lnTo>
                      <a:pt x="186" y="447"/>
                    </a:lnTo>
                    <a:lnTo>
                      <a:pt x="186" y="447"/>
                    </a:lnTo>
                    <a:lnTo>
                      <a:pt x="186" y="447"/>
                    </a:lnTo>
                    <a:lnTo>
                      <a:pt x="185" y="445"/>
                    </a:lnTo>
                    <a:lnTo>
                      <a:pt x="182" y="445"/>
                    </a:lnTo>
                    <a:lnTo>
                      <a:pt x="178" y="445"/>
                    </a:lnTo>
                    <a:lnTo>
                      <a:pt x="172" y="445"/>
                    </a:lnTo>
                    <a:lnTo>
                      <a:pt x="172" y="445"/>
                    </a:lnTo>
                    <a:lnTo>
                      <a:pt x="168" y="445"/>
                    </a:lnTo>
                    <a:lnTo>
                      <a:pt x="162" y="448"/>
                    </a:lnTo>
                    <a:lnTo>
                      <a:pt x="148" y="455"/>
                    </a:lnTo>
                    <a:lnTo>
                      <a:pt x="148" y="455"/>
                    </a:lnTo>
                    <a:lnTo>
                      <a:pt x="141" y="458"/>
                    </a:lnTo>
                    <a:lnTo>
                      <a:pt x="134" y="460"/>
                    </a:lnTo>
                    <a:lnTo>
                      <a:pt x="129" y="461"/>
                    </a:lnTo>
                    <a:lnTo>
                      <a:pt x="129" y="462"/>
                    </a:lnTo>
                    <a:lnTo>
                      <a:pt x="129" y="464"/>
                    </a:lnTo>
                    <a:lnTo>
                      <a:pt x="129" y="464"/>
                    </a:lnTo>
                    <a:lnTo>
                      <a:pt x="129" y="465"/>
                    </a:lnTo>
                    <a:lnTo>
                      <a:pt x="129" y="467"/>
                    </a:lnTo>
                    <a:lnTo>
                      <a:pt x="126" y="467"/>
                    </a:lnTo>
                    <a:lnTo>
                      <a:pt x="121" y="465"/>
                    </a:lnTo>
                    <a:lnTo>
                      <a:pt x="119" y="465"/>
                    </a:lnTo>
                    <a:lnTo>
                      <a:pt x="118" y="467"/>
                    </a:lnTo>
                    <a:lnTo>
                      <a:pt x="118" y="467"/>
                    </a:lnTo>
                    <a:lnTo>
                      <a:pt x="117" y="468"/>
                    </a:lnTo>
                    <a:lnTo>
                      <a:pt x="114" y="468"/>
                    </a:lnTo>
                    <a:lnTo>
                      <a:pt x="114" y="467"/>
                    </a:lnTo>
                    <a:lnTo>
                      <a:pt x="115" y="464"/>
                    </a:lnTo>
                    <a:lnTo>
                      <a:pt x="115" y="464"/>
                    </a:lnTo>
                    <a:lnTo>
                      <a:pt x="115" y="464"/>
                    </a:lnTo>
                    <a:lnTo>
                      <a:pt x="115" y="462"/>
                    </a:lnTo>
                    <a:lnTo>
                      <a:pt x="112" y="461"/>
                    </a:lnTo>
                    <a:lnTo>
                      <a:pt x="108" y="460"/>
                    </a:lnTo>
                    <a:lnTo>
                      <a:pt x="107" y="460"/>
                    </a:lnTo>
                    <a:lnTo>
                      <a:pt x="107" y="461"/>
                    </a:lnTo>
                    <a:lnTo>
                      <a:pt x="107" y="461"/>
                    </a:lnTo>
                    <a:lnTo>
                      <a:pt x="105" y="462"/>
                    </a:lnTo>
                    <a:lnTo>
                      <a:pt x="104" y="465"/>
                    </a:lnTo>
                    <a:lnTo>
                      <a:pt x="101" y="467"/>
                    </a:lnTo>
                    <a:lnTo>
                      <a:pt x="95" y="467"/>
                    </a:lnTo>
                    <a:lnTo>
                      <a:pt x="95" y="467"/>
                    </a:lnTo>
                    <a:lnTo>
                      <a:pt x="90" y="468"/>
                    </a:lnTo>
                    <a:lnTo>
                      <a:pt x="84" y="470"/>
                    </a:lnTo>
                    <a:lnTo>
                      <a:pt x="82" y="474"/>
                    </a:lnTo>
                    <a:lnTo>
                      <a:pt x="82" y="475"/>
                    </a:lnTo>
                    <a:lnTo>
                      <a:pt x="84" y="477"/>
                    </a:lnTo>
                    <a:lnTo>
                      <a:pt x="84" y="477"/>
                    </a:lnTo>
                    <a:lnTo>
                      <a:pt x="91" y="482"/>
                    </a:lnTo>
                    <a:lnTo>
                      <a:pt x="91" y="484"/>
                    </a:lnTo>
                    <a:lnTo>
                      <a:pt x="91" y="487"/>
                    </a:lnTo>
                    <a:lnTo>
                      <a:pt x="91" y="487"/>
                    </a:lnTo>
                    <a:lnTo>
                      <a:pt x="90" y="487"/>
                    </a:lnTo>
                    <a:lnTo>
                      <a:pt x="87" y="487"/>
                    </a:lnTo>
                    <a:lnTo>
                      <a:pt x="82" y="484"/>
                    </a:lnTo>
                    <a:lnTo>
                      <a:pt x="75" y="481"/>
                    </a:lnTo>
                    <a:lnTo>
                      <a:pt x="71" y="479"/>
                    </a:lnTo>
                    <a:lnTo>
                      <a:pt x="67" y="479"/>
                    </a:lnTo>
                    <a:lnTo>
                      <a:pt x="67" y="479"/>
                    </a:lnTo>
                    <a:lnTo>
                      <a:pt x="61" y="479"/>
                    </a:lnTo>
                    <a:lnTo>
                      <a:pt x="55" y="478"/>
                    </a:lnTo>
                    <a:lnTo>
                      <a:pt x="43" y="472"/>
                    </a:lnTo>
                    <a:lnTo>
                      <a:pt x="33" y="467"/>
                    </a:lnTo>
                    <a:lnTo>
                      <a:pt x="30" y="464"/>
                    </a:lnTo>
                    <a:lnTo>
                      <a:pt x="28" y="462"/>
                    </a:lnTo>
                    <a:lnTo>
                      <a:pt x="28" y="462"/>
                    </a:lnTo>
                    <a:lnTo>
                      <a:pt x="28" y="461"/>
                    </a:lnTo>
                    <a:lnTo>
                      <a:pt x="25" y="461"/>
                    </a:lnTo>
                    <a:lnTo>
                      <a:pt x="18" y="461"/>
                    </a:lnTo>
                    <a:lnTo>
                      <a:pt x="0" y="460"/>
                    </a:lnTo>
                    <a:lnTo>
                      <a:pt x="0" y="706"/>
                    </a:lnTo>
                    <a:lnTo>
                      <a:pt x="0" y="706"/>
                    </a:lnTo>
                    <a:lnTo>
                      <a:pt x="3" y="707"/>
                    </a:lnTo>
                    <a:lnTo>
                      <a:pt x="6" y="709"/>
                    </a:lnTo>
                    <a:lnTo>
                      <a:pt x="8" y="707"/>
                    </a:lnTo>
                    <a:lnTo>
                      <a:pt x="8" y="707"/>
                    </a:lnTo>
                    <a:lnTo>
                      <a:pt x="10" y="706"/>
                    </a:lnTo>
                    <a:lnTo>
                      <a:pt x="13" y="707"/>
                    </a:lnTo>
                    <a:lnTo>
                      <a:pt x="17" y="706"/>
                    </a:lnTo>
                    <a:lnTo>
                      <a:pt x="23" y="704"/>
                    </a:lnTo>
                    <a:lnTo>
                      <a:pt x="23" y="704"/>
                    </a:lnTo>
                    <a:lnTo>
                      <a:pt x="25" y="704"/>
                    </a:lnTo>
                    <a:lnTo>
                      <a:pt x="27" y="704"/>
                    </a:lnTo>
                    <a:lnTo>
                      <a:pt x="31" y="706"/>
                    </a:lnTo>
                    <a:lnTo>
                      <a:pt x="33" y="710"/>
                    </a:lnTo>
                    <a:lnTo>
                      <a:pt x="34" y="713"/>
                    </a:lnTo>
                    <a:lnTo>
                      <a:pt x="34" y="713"/>
                    </a:lnTo>
                    <a:lnTo>
                      <a:pt x="35" y="716"/>
                    </a:lnTo>
                    <a:lnTo>
                      <a:pt x="40" y="720"/>
                    </a:lnTo>
                    <a:lnTo>
                      <a:pt x="45" y="724"/>
                    </a:lnTo>
                    <a:lnTo>
                      <a:pt x="50" y="728"/>
                    </a:lnTo>
                    <a:lnTo>
                      <a:pt x="50" y="728"/>
                    </a:lnTo>
                    <a:lnTo>
                      <a:pt x="55" y="737"/>
                    </a:lnTo>
                    <a:lnTo>
                      <a:pt x="58" y="738"/>
                    </a:lnTo>
                    <a:lnTo>
                      <a:pt x="62" y="737"/>
                    </a:lnTo>
                    <a:lnTo>
                      <a:pt x="62" y="737"/>
                    </a:lnTo>
                    <a:lnTo>
                      <a:pt x="71" y="733"/>
                    </a:lnTo>
                    <a:lnTo>
                      <a:pt x="75" y="730"/>
                    </a:lnTo>
                    <a:lnTo>
                      <a:pt x="77" y="727"/>
                    </a:lnTo>
                    <a:lnTo>
                      <a:pt x="77" y="726"/>
                    </a:lnTo>
                    <a:lnTo>
                      <a:pt x="77" y="726"/>
                    </a:lnTo>
                    <a:lnTo>
                      <a:pt x="78" y="723"/>
                    </a:lnTo>
                    <a:lnTo>
                      <a:pt x="80" y="721"/>
                    </a:lnTo>
                    <a:lnTo>
                      <a:pt x="88" y="720"/>
                    </a:lnTo>
                    <a:lnTo>
                      <a:pt x="95" y="721"/>
                    </a:lnTo>
                    <a:lnTo>
                      <a:pt x="98" y="724"/>
                    </a:lnTo>
                    <a:lnTo>
                      <a:pt x="98" y="727"/>
                    </a:lnTo>
                    <a:lnTo>
                      <a:pt x="98" y="727"/>
                    </a:lnTo>
                    <a:lnTo>
                      <a:pt x="99" y="730"/>
                    </a:lnTo>
                    <a:lnTo>
                      <a:pt x="102" y="733"/>
                    </a:lnTo>
                    <a:lnTo>
                      <a:pt x="111" y="741"/>
                    </a:lnTo>
                    <a:lnTo>
                      <a:pt x="122" y="751"/>
                    </a:lnTo>
                    <a:lnTo>
                      <a:pt x="128" y="758"/>
                    </a:lnTo>
                    <a:lnTo>
                      <a:pt x="134" y="765"/>
                    </a:lnTo>
                    <a:lnTo>
                      <a:pt x="134" y="765"/>
                    </a:lnTo>
                    <a:lnTo>
                      <a:pt x="141" y="780"/>
                    </a:lnTo>
                    <a:lnTo>
                      <a:pt x="145" y="788"/>
                    </a:lnTo>
                    <a:lnTo>
                      <a:pt x="151" y="794"/>
                    </a:lnTo>
                    <a:lnTo>
                      <a:pt x="162" y="800"/>
                    </a:lnTo>
                    <a:lnTo>
                      <a:pt x="162" y="800"/>
                    </a:lnTo>
                    <a:lnTo>
                      <a:pt x="172" y="804"/>
                    </a:lnTo>
                    <a:lnTo>
                      <a:pt x="176" y="808"/>
                    </a:lnTo>
                    <a:lnTo>
                      <a:pt x="178" y="812"/>
                    </a:lnTo>
                    <a:lnTo>
                      <a:pt x="176" y="817"/>
                    </a:lnTo>
                    <a:lnTo>
                      <a:pt x="176" y="817"/>
                    </a:lnTo>
                    <a:lnTo>
                      <a:pt x="176" y="818"/>
                    </a:lnTo>
                    <a:lnTo>
                      <a:pt x="178" y="821"/>
                    </a:lnTo>
                    <a:lnTo>
                      <a:pt x="181" y="824"/>
                    </a:lnTo>
                    <a:lnTo>
                      <a:pt x="182" y="828"/>
                    </a:lnTo>
                    <a:lnTo>
                      <a:pt x="182" y="829"/>
                    </a:lnTo>
                    <a:lnTo>
                      <a:pt x="181" y="831"/>
                    </a:lnTo>
                    <a:lnTo>
                      <a:pt x="181" y="831"/>
                    </a:lnTo>
                    <a:lnTo>
                      <a:pt x="169" y="839"/>
                    </a:lnTo>
                    <a:lnTo>
                      <a:pt x="169" y="839"/>
                    </a:lnTo>
                    <a:lnTo>
                      <a:pt x="169" y="841"/>
                    </a:lnTo>
                    <a:lnTo>
                      <a:pt x="171" y="844"/>
                    </a:lnTo>
                    <a:lnTo>
                      <a:pt x="176" y="847"/>
                    </a:lnTo>
                    <a:lnTo>
                      <a:pt x="176" y="847"/>
                    </a:lnTo>
                    <a:lnTo>
                      <a:pt x="176" y="848"/>
                    </a:lnTo>
                    <a:lnTo>
                      <a:pt x="176" y="849"/>
                    </a:lnTo>
                    <a:lnTo>
                      <a:pt x="173" y="851"/>
                    </a:lnTo>
                    <a:lnTo>
                      <a:pt x="171" y="852"/>
                    </a:lnTo>
                    <a:lnTo>
                      <a:pt x="171" y="852"/>
                    </a:lnTo>
                    <a:lnTo>
                      <a:pt x="172" y="854"/>
                    </a:lnTo>
                    <a:lnTo>
                      <a:pt x="172" y="854"/>
                    </a:lnTo>
                    <a:lnTo>
                      <a:pt x="173" y="856"/>
                    </a:lnTo>
                    <a:lnTo>
                      <a:pt x="173" y="859"/>
                    </a:lnTo>
                    <a:lnTo>
                      <a:pt x="173" y="862"/>
                    </a:lnTo>
                    <a:lnTo>
                      <a:pt x="175" y="866"/>
                    </a:lnTo>
                    <a:lnTo>
                      <a:pt x="175" y="866"/>
                    </a:lnTo>
                    <a:lnTo>
                      <a:pt x="178" y="868"/>
                    </a:lnTo>
                    <a:lnTo>
                      <a:pt x="181" y="868"/>
                    </a:lnTo>
                    <a:lnTo>
                      <a:pt x="185" y="868"/>
                    </a:lnTo>
                    <a:lnTo>
                      <a:pt x="188" y="865"/>
                    </a:lnTo>
                    <a:lnTo>
                      <a:pt x="188" y="865"/>
                    </a:lnTo>
                    <a:lnTo>
                      <a:pt x="191" y="865"/>
                    </a:lnTo>
                    <a:lnTo>
                      <a:pt x="192" y="866"/>
                    </a:lnTo>
                    <a:lnTo>
                      <a:pt x="193" y="871"/>
                    </a:lnTo>
                    <a:lnTo>
                      <a:pt x="192" y="875"/>
                    </a:lnTo>
                    <a:lnTo>
                      <a:pt x="192" y="875"/>
                    </a:lnTo>
                    <a:lnTo>
                      <a:pt x="191" y="878"/>
                    </a:lnTo>
                    <a:lnTo>
                      <a:pt x="193" y="881"/>
                    </a:lnTo>
                    <a:lnTo>
                      <a:pt x="196" y="882"/>
                    </a:lnTo>
                    <a:lnTo>
                      <a:pt x="199" y="879"/>
                    </a:lnTo>
                    <a:lnTo>
                      <a:pt x="199" y="879"/>
                    </a:lnTo>
                    <a:lnTo>
                      <a:pt x="200" y="879"/>
                    </a:lnTo>
                    <a:lnTo>
                      <a:pt x="202" y="879"/>
                    </a:lnTo>
                    <a:lnTo>
                      <a:pt x="205" y="882"/>
                    </a:lnTo>
                    <a:lnTo>
                      <a:pt x="212" y="888"/>
                    </a:lnTo>
                    <a:lnTo>
                      <a:pt x="212" y="888"/>
                    </a:lnTo>
                    <a:lnTo>
                      <a:pt x="213" y="889"/>
                    </a:lnTo>
                    <a:lnTo>
                      <a:pt x="215" y="892"/>
                    </a:lnTo>
                    <a:lnTo>
                      <a:pt x="215" y="895"/>
                    </a:lnTo>
                    <a:lnTo>
                      <a:pt x="213" y="895"/>
                    </a:lnTo>
                    <a:lnTo>
                      <a:pt x="213" y="895"/>
                    </a:lnTo>
                    <a:lnTo>
                      <a:pt x="210" y="895"/>
                    </a:lnTo>
                    <a:lnTo>
                      <a:pt x="210" y="896"/>
                    </a:lnTo>
                    <a:lnTo>
                      <a:pt x="209" y="899"/>
                    </a:lnTo>
                    <a:lnTo>
                      <a:pt x="209" y="903"/>
                    </a:lnTo>
                    <a:lnTo>
                      <a:pt x="212" y="905"/>
                    </a:lnTo>
                    <a:lnTo>
                      <a:pt x="212" y="905"/>
                    </a:lnTo>
                    <a:lnTo>
                      <a:pt x="215" y="906"/>
                    </a:lnTo>
                    <a:lnTo>
                      <a:pt x="215" y="908"/>
                    </a:lnTo>
                    <a:lnTo>
                      <a:pt x="216" y="913"/>
                    </a:lnTo>
                    <a:lnTo>
                      <a:pt x="216" y="913"/>
                    </a:lnTo>
                    <a:lnTo>
                      <a:pt x="218" y="916"/>
                    </a:lnTo>
                    <a:lnTo>
                      <a:pt x="222" y="918"/>
                    </a:lnTo>
                    <a:lnTo>
                      <a:pt x="227" y="919"/>
                    </a:lnTo>
                    <a:lnTo>
                      <a:pt x="233" y="919"/>
                    </a:lnTo>
                    <a:lnTo>
                      <a:pt x="233" y="919"/>
                    </a:lnTo>
                    <a:lnTo>
                      <a:pt x="236" y="919"/>
                    </a:lnTo>
                    <a:lnTo>
                      <a:pt x="239" y="920"/>
                    </a:lnTo>
                    <a:lnTo>
                      <a:pt x="243" y="926"/>
                    </a:lnTo>
                    <a:lnTo>
                      <a:pt x="243" y="926"/>
                    </a:lnTo>
                    <a:lnTo>
                      <a:pt x="246" y="929"/>
                    </a:lnTo>
                    <a:lnTo>
                      <a:pt x="250" y="930"/>
                    </a:lnTo>
                    <a:lnTo>
                      <a:pt x="255" y="932"/>
                    </a:lnTo>
                    <a:lnTo>
                      <a:pt x="257" y="930"/>
                    </a:lnTo>
                    <a:lnTo>
                      <a:pt x="257" y="930"/>
                    </a:lnTo>
                    <a:lnTo>
                      <a:pt x="260" y="930"/>
                    </a:lnTo>
                    <a:lnTo>
                      <a:pt x="262" y="933"/>
                    </a:lnTo>
                    <a:lnTo>
                      <a:pt x="263" y="940"/>
                    </a:lnTo>
                    <a:lnTo>
                      <a:pt x="263" y="940"/>
                    </a:lnTo>
                    <a:lnTo>
                      <a:pt x="264" y="943"/>
                    </a:lnTo>
                    <a:lnTo>
                      <a:pt x="269" y="943"/>
                    </a:lnTo>
                    <a:lnTo>
                      <a:pt x="276" y="942"/>
                    </a:lnTo>
                    <a:lnTo>
                      <a:pt x="276" y="942"/>
                    </a:lnTo>
                    <a:lnTo>
                      <a:pt x="279" y="943"/>
                    </a:lnTo>
                    <a:lnTo>
                      <a:pt x="282" y="945"/>
                    </a:lnTo>
                    <a:lnTo>
                      <a:pt x="283" y="946"/>
                    </a:lnTo>
                    <a:lnTo>
                      <a:pt x="286" y="946"/>
                    </a:lnTo>
                    <a:lnTo>
                      <a:pt x="286" y="946"/>
                    </a:lnTo>
                    <a:lnTo>
                      <a:pt x="287" y="946"/>
                    </a:lnTo>
                    <a:lnTo>
                      <a:pt x="289" y="948"/>
                    </a:lnTo>
                    <a:lnTo>
                      <a:pt x="292" y="950"/>
                    </a:lnTo>
                    <a:lnTo>
                      <a:pt x="297" y="962"/>
                    </a:lnTo>
                    <a:lnTo>
                      <a:pt x="740" y="959"/>
                    </a:lnTo>
                    <a:lnTo>
                      <a:pt x="740" y="959"/>
                    </a:lnTo>
                    <a:lnTo>
                      <a:pt x="741" y="955"/>
                    </a:lnTo>
                    <a:lnTo>
                      <a:pt x="742" y="952"/>
                    </a:lnTo>
                    <a:lnTo>
                      <a:pt x="744" y="952"/>
                    </a:lnTo>
                    <a:lnTo>
                      <a:pt x="745" y="952"/>
                    </a:lnTo>
                    <a:lnTo>
                      <a:pt x="745" y="952"/>
                    </a:lnTo>
                    <a:lnTo>
                      <a:pt x="748" y="955"/>
                    </a:lnTo>
                    <a:lnTo>
                      <a:pt x="748" y="959"/>
                    </a:lnTo>
                    <a:lnTo>
                      <a:pt x="748" y="962"/>
                    </a:lnTo>
                    <a:lnTo>
                      <a:pt x="752" y="965"/>
                    </a:lnTo>
                    <a:lnTo>
                      <a:pt x="752" y="965"/>
                    </a:lnTo>
                    <a:lnTo>
                      <a:pt x="760" y="969"/>
                    </a:lnTo>
                    <a:lnTo>
                      <a:pt x="762" y="969"/>
                    </a:lnTo>
                    <a:lnTo>
                      <a:pt x="765" y="969"/>
                    </a:lnTo>
                    <a:lnTo>
                      <a:pt x="765" y="969"/>
                    </a:lnTo>
                    <a:lnTo>
                      <a:pt x="772" y="966"/>
                    </a:lnTo>
                    <a:lnTo>
                      <a:pt x="777" y="966"/>
                    </a:lnTo>
                    <a:lnTo>
                      <a:pt x="781" y="970"/>
                    </a:lnTo>
                    <a:lnTo>
                      <a:pt x="781" y="970"/>
                    </a:lnTo>
                    <a:lnTo>
                      <a:pt x="784" y="973"/>
                    </a:lnTo>
                    <a:lnTo>
                      <a:pt x="788" y="973"/>
                    </a:lnTo>
                    <a:lnTo>
                      <a:pt x="791" y="973"/>
                    </a:lnTo>
                    <a:lnTo>
                      <a:pt x="794" y="975"/>
                    </a:lnTo>
                    <a:lnTo>
                      <a:pt x="794" y="975"/>
                    </a:lnTo>
                    <a:lnTo>
                      <a:pt x="797" y="977"/>
                    </a:lnTo>
                    <a:lnTo>
                      <a:pt x="799" y="980"/>
                    </a:lnTo>
                    <a:lnTo>
                      <a:pt x="804" y="980"/>
                    </a:lnTo>
                    <a:lnTo>
                      <a:pt x="808" y="977"/>
                    </a:lnTo>
                    <a:lnTo>
                      <a:pt x="808" y="977"/>
                    </a:lnTo>
                    <a:lnTo>
                      <a:pt x="809" y="976"/>
                    </a:lnTo>
                    <a:lnTo>
                      <a:pt x="811" y="976"/>
                    </a:lnTo>
                    <a:lnTo>
                      <a:pt x="818" y="976"/>
                    </a:lnTo>
                    <a:lnTo>
                      <a:pt x="831" y="980"/>
                    </a:lnTo>
                    <a:lnTo>
                      <a:pt x="831" y="980"/>
                    </a:lnTo>
                    <a:lnTo>
                      <a:pt x="836" y="975"/>
                    </a:lnTo>
                    <a:lnTo>
                      <a:pt x="841" y="969"/>
                    </a:lnTo>
                    <a:lnTo>
                      <a:pt x="846" y="963"/>
                    </a:lnTo>
                    <a:lnTo>
                      <a:pt x="849" y="962"/>
                    </a:lnTo>
                    <a:lnTo>
                      <a:pt x="851" y="960"/>
                    </a:lnTo>
                    <a:lnTo>
                      <a:pt x="851" y="960"/>
                    </a:lnTo>
                    <a:lnTo>
                      <a:pt x="861" y="962"/>
                    </a:lnTo>
                    <a:lnTo>
                      <a:pt x="870" y="963"/>
                    </a:lnTo>
                    <a:lnTo>
                      <a:pt x="876" y="966"/>
                    </a:lnTo>
                    <a:lnTo>
                      <a:pt x="880" y="967"/>
                    </a:lnTo>
                    <a:lnTo>
                      <a:pt x="883" y="972"/>
                    </a:lnTo>
                    <a:lnTo>
                      <a:pt x="885" y="975"/>
                    </a:lnTo>
                    <a:lnTo>
                      <a:pt x="885" y="975"/>
                    </a:lnTo>
                    <a:lnTo>
                      <a:pt x="886" y="979"/>
                    </a:lnTo>
                    <a:lnTo>
                      <a:pt x="889" y="980"/>
                    </a:lnTo>
                    <a:lnTo>
                      <a:pt x="893" y="982"/>
                    </a:lnTo>
                    <a:lnTo>
                      <a:pt x="899" y="982"/>
                    </a:lnTo>
                    <a:lnTo>
                      <a:pt x="902" y="984"/>
                    </a:lnTo>
                    <a:lnTo>
                      <a:pt x="902" y="987"/>
                    </a:lnTo>
                    <a:lnTo>
                      <a:pt x="902" y="987"/>
                    </a:lnTo>
                    <a:lnTo>
                      <a:pt x="905" y="994"/>
                    </a:lnTo>
                    <a:lnTo>
                      <a:pt x="907" y="1000"/>
                    </a:lnTo>
                    <a:lnTo>
                      <a:pt x="910" y="1006"/>
                    </a:lnTo>
                    <a:lnTo>
                      <a:pt x="912" y="1010"/>
                    </a:lnTo>
                    <a:lnTo>
                      <a:pt x="912" y="1010"/>
                    </a:lnTo>
                    <a:lnTo>
                      <a:pt x="920" y="1016"/>
                    </a:lnTo>
                    <a:lnTo>
                      <a:pt x="920" y="1016"/>
                    </a:lnTo>
                    <a:lnTo>
                      <a:pt x="925" y="1016"/>
                    </a:lnTo>
                    <a:lnTo>
                      <a:pt x="932" y="1016"/>
                    </a:lnTo>
                    <a:lnTo>
                      <a:pt x="944" y="1019"/>
                    </a:lnTo>
                    <a:lnTo>
                      <a:pt x="944" y="1019"/>
                    </a:lnTo>
                    <a:lnTo>
                      <a:pt x="949" y="1020"/>
                    </a:lnTo>
                    <a:lnTo>
                      <a:pt x="953" y="1020"/>
                    </a:lnTo>
                    <a:lnTo>
                      <a:pt x="962" y="1020"/>
                    </a:lnTo>
                    <a:lnTo>
                      <a:pt x="966" y="1020"/>
                    </a:lnTo>
                    <a:lnTo>
                      <a:pt x="970" y="1021"/>
                    </a:lnTo>
                    <a:lnTo>
                      <a:pt x="973" y="1023"/>
                    </a:lnTo>
                    <a:lnTo>
                      <a:pt x="974" y="1027"/>
                    </a:lnTo>
                    <a:lnTo>
                      <a:pt x="974" y="1027"/>
                    </a:lnTo>
                    <a:lnTo>
                      <a:pt x="980" y="1036"/>
                    </a:lnTo>
                    <a:lnTo>
                      <a:pt x="984" y="1043"/>
                    </a:lnTo>
                    <a:lnTo>
                      <a:pt x="984" y="1046"/>
                    </a:lnTo>
                    <a:lnTo>
                      <a:pt x="984" y="1047"/>
                    </a:lnTo>
                    <a:lnTo>
                      <a:pt x="984" y="1049"/>
                    </a:lnTo>
                    <a:lnTo>
                      <a:pt x="980" y="1049"/>
                    </a:lnTo>
                    <a:lnTo>
                      <a:pt x="980" y="1049"/>
                    </a:lnTo>
                    <a:lnTo>
                      <a:pt x="977" y="1049"/>
                    </a:lnTo>
                    <a:lnTo>
                      <a:pt x="973" y="1047"/>
                    </a:lnTo>
                    <a:lnTo>
                      <a:pt x="966" y="1044"/>
                    </a:lnTo>
                    <a:lnTo>
                      <a:pt x="962" y="1041"/>
                    </a:lnTo>
                    <a:lnTo>
                      <a:pt x="960" y="1043"/>
                    </a:lnTo>
                    <a:lnTo>
                      <a:pt x="960" y="1044"/>
                    </a:lnTo>
                    <a:lnTo>
                      <a:pt x="960" y="1044"/>
                    </a:lnTo>
                    <a:lnTo>
                      <a:pt x="960" y="1049"/>
                    </a:lnTo>
                    <a:lnTo>
                      <a:pt x="957" y="1050"/>
                    </a:lnTo>
                    <a:lnTo>
                      <a:pt x="956" y="1053"/>
                    </a:lnTo>
                    <a:lnTo>
                      <a:pt x="954" y="1058"/>
                    </a:lnTo>
                    <a:lnTo>
                      <a:pt x="954" y="1058"/>
                    </a:lnTo>
                    <a:lnTo>
                      <a:pt x="954" y="1067"/>
                    </a:lnTo>
                    <a:lnTo>
                      <a:pt x="950" y="1076"/>
                    </a:lnTo>
                    <a:lnTo>
                      <a:pt x="947" y="1081"/>
                    </a:lnTo>
                    <a:lnTo>
                      <a:pt x="946" y="1083"/>
                    </a:lnTo>
                    <a:lnTo>
                      <a:pt x="943" y="1083"/>
                    </a:lnTo>
                    <a:lnTo>
                      <a:pt x="943" y="1083"/>
                    </a:lnTo>
                    <a:lnTo>
                      <a:pt x="943" y="1083"/>
                    </a:lnTo>
                    <a:lnTo>
                      <a:pt x="943" y="1083"/>
                    </a:lnTo>
                    <a:lnTo>
                      <a:pt x="943" y="1090"/>
                    </a:lnTo>
                    <a:lnTo>
                      <a:pt x="944" y="1093"/>
                    </a:lnTo>
                    <a:lnTo>
                      <a:pt x="946" y="1095"/>
                    </a:lnTo>
                    <a:lnTo>
                      <a:pt x="946" y="1095"/>
                    </a:lnTo>
                    <a:lnTo>
                      <a:pt x="956" y="1088"/>
                    </a:lnTo>
                    <a:lnTo>
                      <a:pt x="960" y="1087"/>
                    </a:lnTo>
                    <a:lnTo>
                      <a:pt x="966" y="1085"/>
                    </a:lnTo>
                    <a:lnTo>
                      <a:pt x="966" y="1085"/>
                    </a:lnTo>
                    <a:lnTo>
                      <a:pt x="973" y="1087"/>
                    </a:lnTo>
                    <a:lnTo>
                      <a:pt x="977" y="1088"/>
                    </a:lnTo>
                    <a:lnTo>
                      <a:pt x="981" y="1090"/>
                    </a:lnTo>
                    <a:lnTo>
                      <a:pt x="986" y="1087"/>
                    </a:lnTo>
                    <a:lnTo>
                      <a:pt x="986" y="1087"/>
                    </a:lnTo>
                    <a:lnTo>
                      <a:pt x="993" y="1083"/>
                    </a:lnTo>
                    <a:lnTo>
                      <a:pt x="996" y="1083"/>
                    </a:lnTo>
                    <a:lnTo>
                      <a:pt x="996" y="1084"/>
                    </a:lnTo>
                    <a:lnTo>
                      <a:pt x="996" y="1084"/>
                    </a:lnTo>
                    <a:lnTo>
                      <a:pt x="996" y="1085"/>
                    </a:lnTo>
                    <a:lnTo>
                      <a:pt x="996" y="1085"/>
                    </a:lnTo>
                    <a:lnTo>
                      <a:pt x="1000" y="1084"/>
                    </a:lnTo>
                    <a:lnTo>
                      <a:pt x="1001" y="1081"/>
                    </a:lnTo>
                    <a:lnTo>
                      <a:pt x="1001" y="1081"/>
                    </a:lnTo>
                    <a:lnTo>
                      <a:pt x="1000" y="1076"/>
                    </a:lnTo>
                    <a:lnTo>
                      <a:pt x="1000" y="1076"/>
                    </a:lnTo>
                    <a:lnTo>
                      <a:pt x="993" y="1076"/>
                    </a:lnTo>
                    <a:lnTo>
                      <a:pt x="990" y="1074"/>
                    </a:lnTo>
                    <a:lnTo>
                      <a:pt x="989" y="1071"/>
                    </a:lnTo>
                    <a:lnTo>
                      <a:pt x="989" y="1071"/>
                    </a:lnTo>
                    <a:lnTo>
                      <a:pt x="989" y="1070"/>
                    </a:lnTo>
                    <a:lnTo>
                      <a:pt x="990" y="1067"/>
                    </a:lnTo>
                    <a:lnTo>
                      <a:pt x="1000" y="1063"/>
                    </a:lnTo>
                    <a:lnTo>
                      <a:pt x="1011" y="1060"/>
                    </a:lnTo>
                    <a:lnTo>
                      <a:pt x="1021" y="1058"/>
                    </a:lnTo>
                    <a:lnTo>
                      <a:pt x="1021" y="1058"/>
                    </a:lnTo>
                    <a:lnTo>
                      <a:pt x="1028" y="1058"/>
                    </a:lnTo>
                    <a:lnTo>
                      <a:pt x="1034" y="1057"/>
                    </a:lnTo>
                    <a:lnTo>
                      <a:pt x="1040" y="1056"/>
                    </a:lnTo>
                    <a:lnTo>
                      <a:pt x="1041" y="1056"/>
                    </a:lnTo>
                    <a:lnTo>
                      <a:pt x="1043" y="1057"/>
                    </a:lnTo>
                    <a:lnTo>
                      <a:pt x="1043" y="1057"/>
                    </a:lnTo>
                    <a:lnTo>
                      <a:pt x="1055" y="1047"/>
                    </a:lnTo>
                    <a:lnTo>
                      <a:pt x="1061" y="1043"/>
                    </a:lnTo>
                    <a:lnTo>
                      <a:pt x="1065" y="1041"/>
                    </a:lnTo>
                    <a:lnTo>
                      <a:pt x="1065" y="1041"/>
                    </a:lnTo>
                    <a:lnTo>
                      <a:pt x="1119" y="1041"/>
                    </a:lnTo>
                    <a:lnTo>
                      <a:pt x="1119" y="1041"/>
                    </a:lnTo>
                    <a:lnTo>
                      <a:pt x="1129" y="1034"/>
                    </a:lnTo>
                    <a:lnTo>
                      <a:pt x="1135" y="1027"/>
                    </a:lnTo>
                    <a:lnTo>
                      <a:pt x="1138" y="1024"/>
                    </a:lnTo>
                    <a:lnTo>
                      <a:pt x="1139" y="1020"/>
                    </a:lnTo>
                    <a:lnTo>
                      <a:pt x="1139" y="1020"/>
                    </a:lnTo>
                    <a:lnTo>
                      <a:pt x="1142" y="1010"/>
                    </a:lnTo>
                    <a:lnTo>
                      <a:pt x="1148" y="1000"/>
                    </a:lnTo>
                    <a:lnTo>
                      <a:pt x="1155" y="993"/>
                    </a:lnTo>
                    <a:lnTo>
                      <a:pt x="1158" y="990"/>
                    </a:lnTo>
                    <a:lnTo>
                      <a:pt x="1161" y="992"/>
                    </a:lnTo>
                    <a:lnTo>
                      <a:pt x="1161" y="992"/>
                    </a:lnTo>
                    <a:lnTo>
                      <a:pt x="1162" y="993"/>
                    </a:lnTo>
                    <a:lnTo>
                      <a:pt x="1166" y="994"/>
                    </a:lnTo>
                    <a:lnTo>
                      <a:pt x="1174" y="994"/>
                    </a:lnTo>
                    <a:lnTo>
                      <a:pt x="1179" y="996"/>
                    </a:lnTo>
                    <a:lnTo>
                      <a:pt x="1181" y="996"/>
                    </a:lnTo>
                    <a:lnTo>
                      <a:pt x="1182" y="997"/>
                    </a:lnTo>
                    <a:lnTo>
                      <a:pt x="1182" y="997"/>
                    </a:lnTo>
                    <a:lnTo>
                      <a:pt x="1181" y="1003"/>
                    </a:lnTo>
                    <a:lnTo>
                      <a:pt x="1182" y="1013"/>
                    </a:lnTo>
                    <a:lnTo>
                      <a:pt x="1182" y="1019"/>
                    </a:lnTo>
                    <a:lnTo>
                      <a:pt x="1185" y="1026"/>
                    </a:lnTo>
                    <a:lnTo>
                      <a:pt x="1189" y="1034"/>
                    </a:lnTo>
                    <a:lnTo>
                      <a:pt x="1195" y="1043"/>
                    </a:lnTo>
                    <a:lnTo>
                      <a:pt x="1195" y="1043"/>
                    </a:lnTo>
                    <a:lnTo>
                      <a:pt x="1205" y="1037"/>
                    </a:lnTo>
                    <a:lnTo>
                      <a:pt x="1209" y="1036"/>
                    </a:lnTo>
                    <a:lnTo>
                      <a:pt x="1212" y="1036"/>
                    </a:lnTo>
                    <a:lnTo>
                      <a:pt x="1212" y="1036"/>
                    </a:lnTo>
                    <a:lnTo>
                      <a:pt x="1218" y="1034"/>
                    </a:lnTo>
                    <a:lnTo>
                      <a:pt x="1222" y="1030"/>
                    </a:lnTo>
                    <a:lnTo>
                      <a:pt x="1228" y="1026"/>
                    </a:lnTo>
                    <a:lnTo>
                      <a:pt x="1230" y="1021"/>
                    </a:lnTo>
                    <a:lnTo>
                      <a:pt x="1230" y="1021"/>
                    </a:lnTo>
                    <a:lnTo>
                      <a:pt x="1232" y="1020"/>
                    </a:lnTo>
                    <a:lnTo>
                      <a:pt x="1233" y="1020"/>
                    </a:lnTo>
                    <a:lnTo>
                      <a:pt x="1235" y="1023"/>
                    </a:lnTo>
                    <a:lnTo>
                      <a:pt x="1235" y="1026"/>
                    </a:lnTo>
                    <a:lnTo>
                      <a:pt x="1233" y="1027"/>
                    </a:lnTo>
                    <a:lnTo>
                      <a:pt x="1232" y="1029"/>
                    </a:lnTo>
                    <a:lnTo>
                      <a:pt x="1232" y="1029"/>
                    </a:lnTo>
                    <a:lnTo>
                      <a:pt x="1230" y="1029"/>
                    </a:lnTo>
                    <a:lnTo>
                      <a:pt x="1230" y="1030"/>
                    </a:lnTo>
                    <a:lnTo>
                      <a:pt x="1233" y="1031"/>
                    </a:lnTo>
                    <a:lnTo>
                      <a:pt x="1239" y="1034"/>
                    </a:lnTo>
                    <a:lnTo>
                      <a:pt x="1246" y="1034"/>
                    </a:lnTo>
                    <a:lnTo>
                      <a:pt x="1246" y="1034"/>
                    </a:lnTo>
                    <a:lnTo>
                      <a:pt x="1249" y="1034"/>
                    </a:lnTo>
                    <a:lnTo>
                      <a:pt x="1246" y="1036"/>
                    </a:lnTo>
                    <a:lnTo>
                      <a:pt x="1240" y="1037"/>
                    </a:lnTo>
                    <a:lnTo>
                      <a:pt x="1235" y="1037"/>
                    </a:lnTo>
                    <a:lnTo>
                      <a:pt x="1235" y="1037"/>
                    </a:lnTo>
                    <a:lnTo>
                      <a:pt x="1229" y="1037"/>
                    </a:lnTo>
                    <a:lnTo>
                      <a:pt x="1225" y="1039"/>
                    </a:lnTo>
                    <a:lnTo>
                      <a:pt x="1220" y="1043"/>
                    </a:lnTo>
                    <a:lnTo>
                      <a:pt x="1213" y="1049"/>
                    </a:lnTo>
                    <a:lnTo>
                      <a:pt x="1213" y="1049"/>
                    </a:lnTo>
                    <a:lnTo>
                      <a:pt x="1208" y="1054"/>
                    </a:lnTo>
                    <a:lnTo>
                      <a:pt x="1206" y="1058"/>
                    </a:lnTo>
                    <a:lnTo>
                      <a:pt x="1208" y="1063"/>
                    </a:lnTo>
                    <a:lnTo>
                      <a:pt x="1212" y="1066"/>
                    </a:lnTo>
                    <a:lnTo>
                      <a:pt x="1212" y="1066"/>
                    </a:lnTo>
                    <a:lnTo>
                      <a:pt x="1216" y="1068"/>
                    </a:lnTo>
                    <a:lnTo>
                      <a:pt x="1222" y="1068"/>
                    </a:lnTo>
                    <a:lnTo>
                      <a:pt x="1228" y="1066"/>
                    </a:lnTo>
                    <a:lnTo>
                      <a:pt x="1233" y="1061"/>
                    </a:lnTo>
                    <a:lnTo>
                      <a:pt x="1233" y="1061"/>
                    </a:lnTo>
                    <a:lnTo>
                      <a:pt x="1238" y="1057"/>
                    </a:lnTo>
                    <a:lnTo>
                      <a:pt x="1240" y="1053"/>
                    </a:lnTo>
                    <a:lnTo>
                      <a:pt x="1243" y="1050"/>
                    </a:lnTo>
                    <a:lnTo>
                      <a:pt x="1247" y="1049"/>
                    </a:lnTo>
                    <a:lnTo>
                      <a:pt x="1247" y="1049"/>
                    </a:lnTo>
                    <a:lnTo>
                      <a:pt x="1256" y="1047"/>
                    </a:lnTo>
                    <a:lnTo>
                      <a:pt x="1266" y="1046"/>
                    </a:lnTo>
                    <a:lnTo>
                      <a:pt x="1284" y="1039"/>
                    </a:lnTo>
                    <a:lnTo>
                      <a:pt x="1284" y="1039"/>
                    </a:lnTo>
                    <a:lnTo>
                      <a:pt x="1289" y="1037"/>
                    </a:lnTo>
                    <a:lnTo>
                      <a:pt x="1290" y="1036"/>
                    </a:lnTo>
                    <a:lnTo>
                      <a:pt x="1289" y="1033"/>
                    </a:lnTo>
                    <a:lnTo>
                      <a:pt x="1289" y="1030"/>
                    </a:lnTo>
                    <a:lnTo>
                      <a:pt x="1289" y="1030"/>
                    </a:lnTo>
                    <a:lnTo>
                      <a:pt x="1289" y="1030"/>
                    </a:lnTo>
                    <a:lnTo>
                      <a:pt x="1290" y="1029"/>
                    </a:lnTo>
                    <a:lnTo>
                      <a:pt x="1297" y="1027"/>
                    </a:lnTo>
                    <a:lnTo>
                      <a:pt x="1304" y="1026"/>
                    </a:lnTo>
                    <a:lnTo>
                      <a:pt x="1310" y="1023"/>
                    </a:lnTo>
                    <a:lnTo>
                      <a:pt x="1310" y="1023"/>
                    </a:lnTo>
                    <a:lnTo>
                      <a:pt x="1311" y="1020"/>
                    </a:lnTo>
                    <a:lnTo>
                      <a:pt x="1310" y="1017"/>
                    </a:lnTo>
                    <a:lnTo>
                      <a:pt x="1307" y="1017"/>
                    </a:lnTo>
                    <a:lnTo>
                      <a:pt x="1303" y="1016"/>
                    </a:lnTo>
                    <a:lnTo>
                      <a:pt x="1303" y="1016"/>
                    </a:lnTo>
                    <a:close/>
                    <a:moveTo>
                      <a:pt x="378" y="555"/>
                    </a:moveTo>
                    <a:lnTo>
                      <a:pt x="378" y="555"/>
                    </a:lnTo>
                    <a:lnTo>
                      <a:pt x="371" y="562"/>
                    </a:lnTo>
                    <a:lnTo>
                      <a:pt x="367" y="566"/>
                    </a:lnTo>
                    <a:lnTo>
                      <a:pt x="361" y="568"/>
                    </a:lnTo>
                    <a:lnTo>
                      <a:pt x="356" y="568"/>
                    </a:lnTo>
                    <a:lnTo>
                      <a:pt x="356" y="568"/>
                    </a:lnTo>
                    <a:lnTo>
                      <a:pt x="350" y="566"/>
                    </a:lnTo>
                    <a:lnTo>
                      <a:pt x="346" y="568"/>
                    </a:lnTo>
                    <a:lnTo>
                      <a:pt x="343" y="571"/>
                    </a:lnTo>
                    <a:lnTo>
                      <a:pt x="346" y="573"/>
                    </a:lnTo>
                    <a:lnTo>
                      <a:pt x="346" y="573"/>
                    </a:lnTo>
                    <a:lnTo>
                      <a:pt x="347" y="576"/>
                    </a:lnTo>
                    <a:lnTo>
                      <a:pt x="348" y="578"/>
                    </a:lnTo>
                    <a:lnTo>
                      <a:pt x="346" y="580"/>
                    </a:lnTo>
                    <a:lnTo>
                      <a:pt x="340" y="582"/>
                    </a:lnTo>
                    <a:lnTo>
                      <a:pt x="340" y="582"/>
                    </a:lnTo>
                    <a:lnTo>
                      <a:pt x="333" y="585"/>
                    </a:lnTo>
                    <a:lnTo>
                      <a:pt x="327" y="588"/>
                    </a:lnTo>
                    <a:lnTo>
                      <a:pt x="323" y="590"/>
                    </a:lnTo>
                    <a:lnTo>
                      <a:pt x="320" y="590"/>
                    </a:lnTo>
                    <a:lnTo>
                      <a:pt x="320" y="590"/>
                    </a:lnTo>
                    <a:lnTo>
                      <a:pt x="320" y="590"/>
                    </a:lnTo>
                    <a:lnTo>
                      <a:pt x="321" y="588"/>
                    </a:lnTo>
                    <a:lnTo>
                      <a:pt x="326" y="582"/>
                    </a:lnTo>
                    <a:lnTo>
                      <a:pt x="331" y="576"/>
                    </a:lnTo>
                    <a:lnTo>
                      <a:pt x="333" y="573"/>
                    </a:lnTo>
                    <a:lnTo>
                      <a:pt x="331" y="572"/>
                    </a:lnTo>
                    <a:lnTo>
                      <a:pt x="331" y="572"/>
                    </a:lnTo>
                    <a:lnTo>
                      <a:pt x="328" y="571"/>
                    </a:lnTo>
                    <a:lnTo>
                      <a:pt x="326" y="571"/>
                    </a:lnTo>
                    <a:lnTo>
                      <a:pt x="320" y="573"/>
                    </a:lnTo>
                    <a:lnTo>
                      <a:pt x="314" y="579"/>
                    </a:lnTo>
                    <a:lnTo>
                      <a:pt x="313" y="583"/>
                    </a:lnTo>
                    <a:lnTo>
                      <a:pt x="313" y="583"/>
                    </a:lnTo>
                    <a:lnTo>
                      <a:pt x="311" y="586"/>
                    </a:lnTo>
                    <a:lnTo>
                      <a:pt x="307" y="588"/>
                    </a:lnTo>
                    <a:lnTo>
                      <a:pt x="299" y="588"/>
                    </a:lnTo>
                    <a:lnTo>
                      <a:pt x="299" y="588"/>
                    </a:lnTo>
                    <a:lnTo>
                      <a:pt x="294" y="586"/>
                    </a:lnTo>
                    <a:lnTo>
                      <a:pt x="290" y="585"/>
                    </a:lnTo>
                    <a:lnTo>
                      <a:pt x="289" y="583"/>
                    </a:lnTo>
                    <a:lnTo>
                      <a:pt x="292" y="582"/>
                    </a:lnTo>
                    <a:lnTo>
                      <a:pt x="292" y="582"/>
                    </a:lnTo>
                    <a:lnTo>
                      <a:pt x="293" y="580"/>
                    </a:lnTo>
                    <a:lnTo>
                      <a:pt x="294" y="578"/>
                    </a:lnTo>
                    <a:lnTo>
                      <a:pt x="296" y="575"/>
                    </a:lnTo>
                    <a:lnTo>
                      <a:pt x="300" y="572"/>
                    </a:lnTo>
                    <a:lnTo>
                      <a:pt x="300" y="572"/>
                    </a:lnTo>
                    <a:lnTo>
                      <a:pt x="301" y="572"/>
                    </a:lnTo>
                    <a:lnTo>
                      <a:pt x="303" y="571"/>
                    </a:lnTo>
                    <a:lnTo>
                      <a:pt x="303" y="568"/>
                    </a:lnTo>
                    <a:lnTo>
                      <a:pt x="301" y="565"/>
                    </a:lnTo>
                    <a:lnTo>
                      <a:pt x="301" y="562"/>
                    </a:lnTo>
                    <a:lnTo>
                      <a:pt x="301" y="562"/>
                    </a:lnTo>
                    <a:lnTo>
                      <a:pt x="303" y="562"/>
                    </a:lnTo>
                    <a:lnTo>
                      <a:pt x="304" y="562"/>
                    </a:lnTo>
                    <a:lnTo>
                      <a:pt x="310" y="562"/>
                    </a:lnTo>
                    <a:lnTo>
                      <a:pt x="316" y="562"/>
                    </a:lnTo>
                    <a:lnTo>
                      <a:pt x="317" y="561"/>
                    </a:lnTo>
                    <a:lnTo>
                      <a:pt x="319" y="559"/>
                    </a:lnTo>
                    <a:lnTo>
                      <a:pt x="319" y="559"/>
                    </a:lnTo>
                    <a:lnTo>
                      <a:pt x="319" y="558"/>
                    </a:lnTo>
                    <a:lnTo>
                      <a:pt x="316" y="556"/>
                    </a:lnTo>
                    <a:lnTo>
                      <a:pt x="310" y="552"/>
                    </a:lnTo>
                    <a:lnTo>
                      <a:pt x="304" y="552"/>
                    </a:lnTo>
                    <a:lnTo>
                      <a:pt x="299" y="552"/>
                    </a:lnTo>
                    <a:lnTo>
                      <a:pt x="299" y="552"/>
                    </a:lnTo>
                    <a:lnTo>
                      <a:pt x="293" y="556"/>
                    </a:lnTo>
                    <a:lnTo>
                      <a:pt x="286" y="559"/>
                    </a:lnTo>
                    <a:lnTo>
                      <a:pt x="277" y="561"/>
                    </a:lnTo>
                    <a:lnTo>
                      <a:pt x="273" y="559"/>
                    </a:lnTo>
                    <a:lnTo>
                      <a:pt x="267" y="558"/>
                    </a:lnTo>
                    <a:lnTo>
                      <a:pt x="267" y="558"/>
                    </a:lnTo>
                    <a:lnTo>
                      <a:pt x="267" y="558"/>
                    </a:lnTo>
                    <a:lnTo>
                      <a:pt x="267" y="556"/>
                    </a:lnTo>
                    <a:lnTo>
                      <a:pt x="272" y="556"/>
                    </a:lnTo>
                    <a:lnTo>
                      <a:pt x="284" y="553"/>
                    </a:lnTo>
                    <a:lnTo>
                      <a:pt x="300" y="549"/>
                    </a:lnTo>
                    <a:lnTo>
                      <a:pt x="306" y="548"/>
                    </a:lnTo>
                    <a:lnTo>
                      <a:pt x="310" y="545"/>
                    </a:lnTo>
                    <a:lnTo>
                      <a:pt x="310" y="545"/>
                    </a:lnTo>
                    <a:lnTo>
                      <a:pt x="313" y="543"/>
                    </a:lnTo>
                    <a:lnTo>
                      <a:pt x="319" y="541"/>
                    </a:lnTo>
                    <a:lnTo>
                      <a:pt x="331" y="536"/>
                    </a:lnTo>
                    <a:lnTo>
                      <a:pt x="343" y="535"/>
                    </a:lnTo>
                    <a:lnTo>
                      <a:pt x="347" y="536"/>
                    </a:lnTo>
                    <a:lnTo>
                      <a:pt x="350" y="538"/>
                    </a:lnTo>
                    <a:lnTo>
                      <a:pt x="350" y="538"/>
                    </a:lnTo>
                    <a:lnTo>
                      <a:pt x="350" y="539"/>
                    </a:lnTo>
                    <a:lnTo>
                      <a:pt x="348" y="542"/>
                    </a:lnTo>
                    <a:lnTo>
                      <a:pt x="343" y="545"/>
                    </a:lnTo>
                    <a:lnTo>
                      <a:pt x="340" y="548"/>
                    </a:lnTo>
                    <a:lnTo>
                      <a:pt x="340" y="551"/>
                    </a:lnTo>
                    <a:lnTo>
                      <a:pt x="341" y="552"/>
                    </a:lnTo>
                    <a:lnTo>
                      <a:pt x="341" y="552"/>
                    </a:lnTo>
                    <a:lnTo>
                      <a:pt x="350" y="555"/>
                    </a:lnTo>
                    <a:lnTo>
                      <a:pt x="357" y="553"/>
                    </a:lnTo>
                    <a:lnTo>
                      <a:pt x="364" y="552"/>
                    </a:lnTo>
                    <a:lnTo>
                      <a:pt x="368" y="548"/>
                    </a:lnTo>
                    <a:lnTo>
                      <a:pt x="368" y="548"/>
                    </a:lnTo>
                    <a:lnTo>
                      <a:pt x="371" y="546"/>
                    </a:lnTo>
                    <a:lnTo>
                      <a:pt x="373" y="545"/>
                    </a:lnTo>
                    <a:lnTo>
                      <a:pt x="378" y="545"/>
                    </a:lnTo>
                    <a:lnTo>
                      <a:pt x="380" y="546"/>
                    </a:lnTo>
                    <a:lnTo>
                      <a:pt x="381" y="549"/>
                    </a:lnTo>
                    <a:lnTo>
                      <a:pt x="380" y="552"/>
                    </a:lnTo>
                    <a:lnTo>
                      <a:pt x="378" y="555"/>
                    </a:lnTo>
                    <a:lnTo>
                      <a:pt x="378" y="555"/>
                    </a:lnTo>
                    <a:close/>
                    <a:moveTo>
                      <a:pt x="468" y="670"/>
                    </a:moveTo>
                    <a:lnTo>
                      <a:pt x="468" y="670"/>
                    </a:lnTo>
                    <a:lnTo>
                      <a:pt x="461" y="674"/>
                    </a:lnTo>
                    <a:lnTo>
                      <a:pt x="458" y="677"/>
                    </a:lnTo>
                    <a:lnTo>
                      <a:pt x="448" y="679"/>
                    </a:lnTo>
                    <a:lnTo>
                      <a:pt x="448" y="679"/>
                    </a:lnTo>
                    <a:lnTo>
                      <a:pt x="445" y="680"/>
                    </a:lnTo>
                    <a:lnTo>
                      <a:pt x="444" y="681"/>
                    </a:lnTo>
                    <a:lnTo>
                      <a:pt x="442" y="684"/>
                    </a:lnTo>
                    <a:lnTo>
                      <a:pt x="439" y="689"/>
                    </a:lnTo>
                    <a:lnTo>
                      <a:pt x="438" y="690"/>
                    </a:lnTo>
                    <a:lnTo>
                      <a:pt x="434" y="690"/>
                    </a:lnTo>
                    <a:lnTo>
                      <a:pt x="434" y="690"/>
                    </a:lnTo>
                    <a:lnTo>
                      <a:pt x="424" y="691"/>
                    </a:lnTo>
                    <a:lnTo>
                      <a:pt x="410" y="691"/>
                    </a:lnTo>
                    <a:lnTo>
                      <a:pt x="398" y="690"/>
                    </a:lnTo>
                    <a:lnTo>
                      <a:pt x="394" y="689"/>
                    </a:lnTo>
                    <a:lnTo>
                      <a:pt x="391" y="686"/>
                    </a:lnTo>
                    <a:lnTo>
                      <a:pt x="391" y="686"/>
                    </a:lnTo>
                    <a:lnTo>
                      <a:pt x="391" y="686"/>
                    </a:lnTo>
                    <a:lnTo>
                      <a:pt x="393" y="684"/>
                    </a:lnTo>
                    <a:lnTo>
                      <a:pt x="398" y="684"/>
                    </a:lnTo>
                    <a:lnTo>
                      <a:pt x="404" y="683"/>
                    </a:lnTo>
                    <a:lnTo>
                      <a:pt x="407" y="683"/>
                    </a:lnTo>
                    <a:lnTo>
                      <a:pt x="407" y="680"/>
                    </a:lnTo>
                    <a:lnTo>
                      <a:pt x="407" y="680"/>
                    </a:lnTo>
                    <a:lnTo>
                      <a:pt x="408" y="677"/>
                    </a:lnTo>
                    <a:lnTo>
                      <a:pt x="411" y="673"/>
                    </a:lnTo>
                    <a:lnTo>
                      <a:pt x="415" y="670"/>
                    </a:lnTo>
                    <a:lnTo>
                      <a:pt x="420" y="669"/>
                    </a:lnTo>
                    <a:lnTo>
                      <a:pt x="420" y="669"/>
                    </a:lnTo>
                    <a:lnTo>
                      <a:pt x="422" y="667"/>
                    </a:lnTo>
                    <a:lnTo>
                      <a:pt x="424" y="667"/>
                    </a:lnTo>
                    <a:lnTo>
                      <a:pt x="424" y="664"/>
                    </a:lnTo>
                    <a:lnTo>
                      <a:pt x="424" y="663"/>
                    </a:lnTo>
                    <a:lnTo>
                      <a:pt x="421" y="657"/>
                    </a:lnTo>
                    <a:lnTo>
                      <a:pt x="415" y="653"/>
                    </a:lnTo>
                    <a:lnTo>
                      <a:pt x="415" y="653"/>
                    </a:lnTo>
                    <a:lnTo>
                      <a:pt x="412" y="652"/>
                    </a:lnTo>
                    <a:lnTo>
                      <a:pt x="412" y="650"/>
                    </a:lnTo>
                    <a:lnTo>
                      <a:pt x="415" y="649"/>
                    </a:lnTo>
                    <a:lnTo>
                      <a:pt x="420" y="647"/>
                    </a:lnTo>
                    <a:lnTo>
                      <a:pt x="425" y="647"/>
                    </a:lnTo>
                    <a:lnTo>
                      <a:pt x="430" y="649"/>
                    </a:lnTo>
                    <a:lnTo>
                      <a:pt x="435" y="650"/>
                    </a:lnTo>
                    <a:lnTo>
                      <a:pt x="438" y="653"/>
                    </a:lnTo>
                    <a:lnTo>
                      <a:pt x="438" y="653"/>
                    </a:lnTo>
                    <a:lnTo>
                      <a:pt x="444" y="659"/>
                    </a:lnTo>
                    <a:lnTo>
                      <a:pt x="451" y="663"/>
                    </a:lnTo>
                    <a:lnTo>
                      <a:pt x="457" y="664"/>
                    </a:lnTo>
                    <a:lnTo>
                      <a:pt x="459" y="664"/>
                    </a:lnTo>
                    <a:lnTo>
                      <a:pt x="462" y="662"/>
                    </a:lnTo>
                    <a:lnTo>
                      <a:pt x="462" y="662"/>
                    </a:lnTo>
                    <a:lnTo>
                      <a:pt x="472" y="656"/>
                    </a:lnTo>
                    <a:lnTo>
                      <a:pt x="486" y="649"/>
                    </a:lnTo>
                    <a:lnTo>
                      <a:pt x="501" y="644"/>
                    </a:lnTo>
                    <a:lnTo>
                      <a:pt x="505" y="644"/>
                    </a:lnTo>
                    <a:lnTo>
                      <a:pt x="506" y="644"/>
                    </a:lnTo>
                    <a:lnTo>
                      <a:pt x="506" y="646"/>
                    </a:lnTo>
                    <a:lnTo>
                      <a:pt x="506" y="646"/>
                    </a:lnTo>
                    <a:lnTo>
                      <a:pt x="505" y="649"/>
                    </a:lnTo>
                    <a:lnTo>
                      <a:pt x="502" y="652"/>
                    </a:lnTo>
                    <a:lnTo>
                      <a:pt x="491" y="657"/>
                    </a:lnTo>
                    <a:lnTo>
                      <a:pt x="478" y="663"/>
                    </a:lnTo>
                    <a:lnTo>
                      <a:pt x="472" y="666"/>
                    </a:lnTo>
                    <a:lnTo>
                      <a:pt x="468" y="670"/>
                    </a:lnTo>
                    <a:lnTo>
                      <a:pt x="468" y="670"/>
                    </a:lnTo>
                    <a:close/>
                    <a:moveTo>
                      <a:pt x="715" y="928"/>
                    </a:moveTo>
                    <a:lnTo>
                      <a:pt x="715" y="928"/>
                    </a:lnTo>
                    <a:lnTo>
                      <a:pt x="713" y="928"/>
                    </a:lnTo>
                    <a:lnTo>
                      <a:pt x="711" y="925"/>
                    </a:lnTo>
                    <a:lnTo>
                      <a:pt x="711" y="918"/>
                    </a:lnTo>
                    <a:lnTo>
                      <a:pt x="710" y="912"/>
                    </a:lnTo>
                    <a:lnTo>
                      <a:pt x="708" y="908"/>
                    </a:lnTo>
                    <a:lnTo>
                      <a:pt x="705" y="903"/>
                    </a:lnTo>
                    <a:lnTo>
                      <a:pt x="701" y="899"/>
                    </a:lnTo>
                    <a:lnTo>
                      <a:pt x="701" y="899"/>
                    </a:lnTo>
                    <a:lnTo>
                      <a:pt x="696" y="896"/>
                    </a:lnTo>
                    <a:lnTo>
                      <a:pt x="691" y="892"/>
                    </a:lnTo>
                    <a:lnTo>
                      <a:pt x="683" y="882"/>
                    </a:lnTo>
                    <a:lnTo>
                      <a:pt x="678" y="872"/>
                    </a:lnTo>
                    <a:lnTo>
                      <a:pt x="677" y="864"/>
                    </a:lnTo>
                    <a:lnTo>
                      <a:pt x="677" y="864"/>
                    </a:lnTo>
                    <a:lnTo>
                      <a:pt x="678" y="861"/>
                    </a:lnTo>
                    <a:lnTo>
                      <a:pt x="680" y="858"/>
                    </a:lnTo>
                    <a:lnTo>
                      <a:pt x="683" y="856"/>
                    </a:lnTo>
                    <a:lnTo>
                      <a:pt x="686" y="855"/>
                    </a:lnTo>
                    <a:lnTo>
                      <a:pt x="688" y="854"/>
                    </a:lnTo>
                    <a:lnTo>
                      <a:pt x="691" y="855"/>
                    </a:lnTo>
                    <a:lnTo>
                      <a:pt x="696" y="855"/>
                    </a:lnTo>
                    <a:lnTo>
                      <a:pt x="697" y="858"/>
                    </a:lnTo>
                    <a:lnTo>
                      <a:pt x="697" y="858"/>
                    </a:lnTo>
                    <a:lnTo>
                      <a:pt x="703" y="866"/>
                    </a:lnTo>
                    <a:lnTo>
                      <a:pt x="707" y="879"/>
                    </a:lnTo>
                    <a:lnTo>
                      <a:pt x="713" y="893"/>
                    </a:lnTo>
                    <a:lnTo>
                      <a:pt x="717" y="903"/>
                    </a:lnTo>
                    <a:lnTo>
                      <a:pt x="717" y="903"/>
                    </a:lnTo>
                    <a:lnTo>
                      <a:pt x="720" y="911"/>
                    </a:lnTo>
                    <a:lnTo>
                      <a:pt x="720" y="919"/>
                    </a:lnTo>
                    <a:lnTo>
                      <a:pt x="718" y="925"/>
                    </a:lnTo>
                    <a:lnTo>
                      <a:pt x="717" y="928"/>
                    </a:lnTo>
                    <a:lnTo>
                      <a:pt x="715" y="928"/>
                    </a:lnTo>
                    <a:lnTo>
                      <a:pt x="715" y="92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96" name="United States"/>
              <p:cNvSpPr>
                <a:spLocks noEditPoints="1"/>
              </p:cNvSpPr>
              <p:nvPr/>
            </p:nvSpPr>
            <p:spPr bwMode="auto">
              <a:xfrm>
                <a:off x="310223" y="2223244"/>
                <a:ext cx="2410568" cy="1633681"/>
              </a:xfrm>
              <a:custGeom>
                <a:avLst/>
                <a:gdLst/>
                <a:ahLst/>
                <a:cxnLst>
                  <a:cxn ang="0">
                    <a:pos x="505" y="322"/>
                  </a:cxn>
                  <a:cxn ang="0">
                    <a:pos x="425" y="47"/>
                  </a:cxn>
                  <a:cxn ang="0">
                    <a:pos x="249" y="24"/>
                  </a:cxn>
                  <a:cxn ang="0">
                    <a:pos x="196" y="7"/>
                  </a:cxn>
                  <a:cxn ang="0">
                    <a:pos x="121" y="27"/>
                  </a:cxn>
                  <a:cxn ang="0">
                    <a:pos x="33" y="91"/>
                  </a:cxn>
                  <a:cxn ang="0">
                    <a:pos x="117" y="142"/>
                  </a:cxn>
                  <a:cxn ang="0">
                    <a:pos x="31" y="150"/>
                  </a:cxn>
                  <a:cxn ang="0">
                    <a:pos x="67" y="191"/>
                  </a:cxn>
                  <a:cxn ang="0">
                    <a:pos x="88" y="216"/>
                  </a:cxn>
                  <a:cxn ang="0">
                    <a:pos x="33" y="258"/>
                  </a:cxn>
                  <a:cxn ang="0">
                    <a:pos x="85" y="306"/>
                  </a:cxn>
                  <a:cxn ang="0">
                    <a:pos x="134" y="335"/>
                  </a:cxn>
                  <a:cxn ang="0">
                    <a:pos x="161" y="366"/>
                  </a:cxn>
                  <a:cxn ang="0">
                    <a:pos x="98" y="413"/>
                  </a:cxn>
                  <a:cxn ang="0">
                    <a:pos x="189" y="366"/>
                  </a:cxn>
                  <a:cxn ang="0">
                    <a:pos x="225" y="317"/>
                  </a:cxn>
                  <a:cxn ang="0">
                    <a:pos x="292" y="279"/>
                  </a:cxn>
                  <a:cxn ang="0">
                    <a:pos x="265" y="323"/>
                  </a:cxn>
                  <a:cxn ang="0">
                    <a:pos x="327" y="279"/>
                  </a:cxn>
                  <a:cxn ang="0">
                    <a:pos x="358" y="295"/>
                  </a:cxn>
                  <a:cxn ang="0">
                    <a:pos x="461" y="307"/>
                  </a:cxn>
                  <a:cxn ang="0">
                    <a:pos x="526" y="346"/>
                  </a:cxn>
                  <a:cxn ang="0">
                    <a:pos x="511" y="357"/>
                  </a:cxn>
                  <a:cxn ang="0">
                    <a:pos x="538" y="369"/>
                  </a:cxn>
                  <a:cxn ang="0">
                    <a:pos x="542" y="381"/>
                  </a:cxn>
                  <a:cxn ang="0">
                    <a:pos x="565" y="384"/>
                  </a:cxn>
                  <a:cxn ang="0">
                    <a:pos x="562" y="426"/>
                  </a:cxn>
                  <a:cxn ang="0">
                    <a:pos x="600" y="426"/>
                  </a:cxn>
                  <a:cxn ang="0">
                    <a:pos x="10" y="455"/>
                  </a:cxn>
                  <a:cxn ang="0">
                    <a:pos x="226" y="359"/>
                  </a:cxn>
                  <a:cxn ang="0">
                    <a:pos x="243" y="353"/>
                  </a:cxn>
                  <a:cxn ang="0">
                    <a:pos x="36" y="299"/>
                  </a:cxn>
                  <a:cxn ang="0">
                    <a:pos x="186" y="1070"/>
                  </a:cxn>
                  <a:cxn ang="0">
                    <a:pos x="156" y="1063"/>
                  </a:cxn>
                  <a:cxn ang="0">
                    <a:pos x="1569" y="616"/>
                  </a:cxn>
                  <a:cxn ang="0">
                    <a:pos x="1393" y="697"/>
                  </a:cxn>
                  <a:cxn ang="0">
                    <a:pos x="1374" y="653"/>
                  </a:cxn>
                  <a:cxn ang="0">
                    <a:pos x="1323" y="630"/>
                  </a:cxn>
                  <a:cxn ang="0">
                    <a:pos x="1293" y="632"/>
                  </a:cxn>
                  <a:cxn ang="0">
                    <a:pos x="1302" y="602"/>
                  </a:cxn>
                  <a:cxn ang="0">
                    <a:pos x="1225" y="588"/>
                  </a:cxn>
                  <a:cxn ang="0">
                    <a:pos x="1196" y="558"/>
                  </a:cxn>
                  <a:cxn ang="0">
                    <a:pos x="727" y="582"/>
                  </a:cxn>
                  <a:cxn ang="0">
                    <a:pos x="718" y="603"/>
                  </a:cxn>
                  <a:cxn ang="0">
                    <a:pos x="714" y="743"/>
                  </a:cxn>
                  <a:cxn ang="0">
                    <a:pos x="768" y="830"/>
                  </a:cxn>
                  <a:cxn ang="0">
                    <a:pos x="1001" y="888"/>
                  </a:cxn>
                  <a:cxn ang="0">
                    <a:pos x="1102" y="952"/>
                  </a:cxn>
                  <a:cxn ang="0">
                    <a:pos x="1138" y="950"/>
                  </a:cxn>
                  <a:cxn ang="0">
                    <a:pos x="1202" y="913"/>
                  </a:cxn>
                  <a:cxn ang="0">
                    <a:pos x="1265" y="926"/>
                  </a:cxn>
                  <a:cxn ang="0">
                    <a:pos x="1296" y="908"/>
                  </a:cxn>
                  <a:cxn ang="0">
                    <a:pos x="1374" y="955"/>
                  </a:cxn>
                  <a:cxn ang="0">
                    <a:pos x="1407" y="945"/>
                  </a:cxn>
                  <a:cxn ang="0">
                    <a:pos x="1450" y="840"/>
                  </a:cxn>
                  <a:cxn ang="0">
                    <a:pos x="1482" y="798"/>
                  </a:cxn>
                  <a:cxn ang="0">
                    <a:pos x="1478" y="736"/>
                  </a:cxn>
                  <a:cxn ang="0">
                    <a:pos x="1492" y="741"/>
                  </a:cxn>
                  <a:cxn ang="0">
                    <a:pos x="1521" y="709"/>
                  </a:cxn>
                  <a:cxn ang="0">
                    <a:pos x="1568" y="665"/>
                  </a:cxn>
                  <a:cxn ang="0">
                    <a:pos x="1616" y="586"/>
                  </a:cxn>
                </a:cxnLst>
                <a:rect l="0" t="0" r="r" b="b"/>
                <a:pathLst>
                  <a:path w="1629" h="1104">
                    <a:moveTo>
                      <a:pt x="610" y="406"/>
                    </a:moveTo>
                    <a:lnTo>
                      <a:pt x="610" y="406"/>
                    </a:lnTo>
                    <a:lnTo>
                      <a:pt x="612" y="401"/>
                    </a:lnTo>
                    <a:lnTo>
                      <a:pt x="610" y="397"/>
                    </a:lnTo>
                    <a:lnTo>
                      <a:pt x="606" y="393"/>
                    </a:lnTo>
                    <a:lnTo>
                      <a:pt x="596" y="389"/>
                    </a:lnTo>
                    <a:lnTo>
                      <a:pt x="596" y="389"/>
                    </a:lnTo>
                    <a:lnTo>
                      <a:pt x="585" y="383"/>
                    </a:lnTo>
                    <a:lnTo>
                      <a:pt x="579" y="377"/>
                    </a:lnTo>
                    <a:lnTo>
                      <a:pt x="575" y="369"/>
                    </a:lnTo>
                    <a:lnTo>
                      <a:pt x="568" y="354"/>
                    </a:lnTo>
                    <a:lnTo>
                      <a:pt x="568" y="354"/>
                    </a:lnTo>
                    <a:lnTo>
                      <a:pt x="562" y="347"/>
                    </a:lnTo>
                    <a:lnTo>
                      <a:pt x="556" y="340"/>
                    </a:lnTo>
                    <a:lnTo>
                      <a:pt x="545" y="330"/>
                    </a:lnTo>
                    <a:lnTo>
                      <a:pt x="536" y="322"/>
                    </a:lnTo>
                    <a:lnTo>
                      <a:pt x="533" y="319"/>
                    </a:lnTo>
                    <a:lnTo>
                      <a:pt x="532" y="316"/>
                    </a:lnTo>
                    <a:lnTo>
                      <a:pt x="532" y="316"/>
                    </a:lnTo>
                    <a:lnTo>
                      <a:pt x="532" y="313"/>
                    </a:lnTo>
                    <a:lnTo>
                      <a:pt x="529" y="310"/>
                    </a:lnTo>
                    <a:lnTo>
                      <a:pt x="522" y="309"/>
                    </a:lnTo>
                    <a:lnTo>
                      <a:pt x="514" y="310"/>
                    </a:lnTo>
                    <a:lnTo>
                      <a:pt x="512" y="312"/>
                    </a:lnTo>
                    <a:lnTo>
                      <a:pt x="511" y="315"/>
                    </a:lnTo>
                    <a:lnTo>
                      <a:pt x="511" y="315"/>
                    </a:lnTo>
                    <a:lnTo>
                      <a:pt x="511" y="316"/>
                    </a:lnTo>
                    <a:lnTo>
                      <a:pt x="509" y="319"/>
                    </a:lnTo>
                    <a:lnTo>
                      <a:pt x="505" y="322"/>
                    </a:lnTo>
                    <a:lnTo>
                      <a:pt x="496" y="326"/>
                    </a:lnTo>
                    <a:lnTo>
                      <a:pt x="496" y="326"/>
                    </a:lnTo>
                    <a:lnTo>
                      <a:pt x="492" y="327"/>
                    </a:lnTo>
                    <a:lnTo>
                      <a:pt x="489" y="326"/>
                    </a:lnTo>
                    <a:lnTo>
                      <a:pt x="484" y="317"/>
                    </a:lnTo>
                    <a:lnTo>
                      <a:pt x="484" y="317"/>
                    </a:lnTo>
                    <a:lnTo>
                      <a:pt x="479" y="313"/>
                    </a:lnTo>
                    <a:lnTo>
                      <a:pt x="474" y="309"/>
                    </a:lnTo>
                    <a:lnTo>
                      <a:pt x="469" y="305"/>
                    </a:lnTo>
                    <a:lnTo>
                      <a:pt x="468" y="302"/>
                    </a:lnTo>
                    <a:lnTo>
                      <a:pt x="468" y="302"/>
                    </a:lnTo>
                    <a:lnTo>
                      <a:pt x="467" y="299"/>
                    </a:lnTo>
                    <a:lnTo>
                      <a:pt x="465" y="295"/>
                    </a:lnTo>
                    <a:lnTo>
                      <a:pt x="461" y="293"/>
                    </a:lnTo>
                    <a:lnTo>
                      <a:pt x="459" y="293"/>
                    </a:lnTo>
                    <a:lnTo>
                      <a:pt x="457" y="293"/>
                    </a:lnTo>
                    <a:lnTo>
                      <a:pt x="457" y="293"/>
                    </a:lnTo>
                    <a:lnTo>
                      <a:pt x="451" y="295"/>
                    </a:lnTo>
                    <a:lnTo>
                      <a:pt x="447" y="296"/>
                    </a:lnTo>
                    <a:lnTo>
                      <a:pt x="444" y="295"/>
                    </a:lnTo>
                    <a:lnTo>
                      <a:pt x="442" y="296"/>
                    </a:lnTo>
                    <a:lnTo>
                      <a:pt x="442" y="296"/>
                    </a:lnTo>
                    <a:lnTo>
                      <a:pt x="440" y="298"/>
                    </a:lnTo>
                    <a:lnTo>
                      <a:pt x="437" y="296"/>
                    </a:lnTo>
                    <a:lnTo>
                      <a:pt x="434" y="295"/>
                    </a:lnTo>
                    <a:lnTo>
                      <a:pt x="434" y="49"/>
                    </a:lnTo>
                    <a:lnTo>
                      <a:pt x="434" y="49"/>
                    </a:lnTo>
                    <a:lnTo>
                      <a:pt x="425" y="47"/>
                    </a:lnTo>
                    <a:lnTo>
                      <a:pt x="425" y="47"/>
                    </a:lnTo>
                    <a:lnTo>
                      <a:pt x="408" y="40"/>
                    </a:lnTo>
                    <a:lnTo>
                      <a:pt x="400" y="39"/>
                    </a:lnTo>
                    <a:lnTo>
                      <a:pt x="393" y="39"/>
                    </a:lnTo>
                    <a:lnTo>
                      <a:pt x="393" y="39"/>
                    </a:lnTo>
                    <a:lnTo>
                      <a:pt x="376" y="40"/>
                    </a:lnTo>
                    <a:lnTo>
                      <a:pt x="368" y="40"/>
                    </a:lnTo>
                    <a:lnTo>
                      <a:pt x="361" y="39"/>
                    </a:lnTo>
                    <a:lnTo>
                      <a:pt x="361" y="39"/>
                    </a:lnTo>
                    <a:lnTo>
                      <a:pt x="357" y="37"/>
                    </a:lnTo>
                    <a:lnTo>
                      <a:pt x="351" y="36"/>
                    </a:lnTo>
                    <a:lnTo>
                      <a:pt x="344" y="34"/>
                    </a:lnTo>
                    <a:lnTo>
                      <a:pt x="337" y="36"/>
                    </a:lnTo>
                    <a:lnTo>
                      <a:pt x="337" y="36"/>
                    </a:lnTo>
                    <a:lnTo>
                      <a:pt x="329" y="36"/>
                    </a:lnTo>
                    <a:lnTo>
                      <a:pt x="320" y="33"/>
                    </a:lnTo>
                    <a:lnTo>
                      <a:pt x="313" y="29"/>
                    </a:lnTo>
                    <a:lnTo>
                      <a:pt x="303" y="26"/>
                    </a:lnTo>
                    <a:lnTo>
                      <a:pt x="303" y="26"/>
                    </a:lnTo>
                    <a:lnTo>
                      <a:pt x="290" y="24"/>
                    </a:lnTo>
                    <a:lnTo>
                      <a:pt x="279" y="26"/>
                    </a:lnTo>
                    <a:lnTo>
                      <a:pt x="267" y="27"/>
                    </a:lnTo>
                    <a:lnTo>
                      <a:pt x="262" y="29"/>
                    </a:lnTo>
                    <a:lnTo>
                      <a:pt x="262" y="29"/>
                    </a:lnTo>
                    <a:lnTo>
                      <a:pt x="259" y="29"/>
                    </a:lnTo>
                    <a:lnTo>
                      <a:pt x="257" y="27"/>
                    </a:lnTo>
                    <a:lnTo>
                      <a:pt x="255" y="24"/>
                    </a:lnTo>
                    <a:lnTo>
                      <a:pt x="252" y="24"/>
                    </a:lnTo>
                    <a:lnTo>
                      <a:pt x="252" y="24"/>
                    </a:lnTo>
                    <a:lnTo>
                      <a:pt x="249" y="24"/>
                    </a:lnTo>
                    <a:lnTo>
                      <a:pt x="248" y="22"/>
                    </a:lnTo>
                    <a:lnTo>
                      <a:pt x="248" y="19"/>
                    </a:lnTo>
                    <a:lnTo>
                      <a:pt x="246" y="16"/>
                    </a:lnTo>
                    <a:lnTo>
                      <a:pt x="246" y="16"/>
                    </a:lnTo>
                    <a:lnTo>
                      <a:pt x="245" y="14"/>
                    </a:lnTo>
                    <a:lnTo>
                      <a:pt x="242" y="13"/>
                    </a:lnTo>
                    <a:lnTo>
                      <a:pt x="233" y="13"/>
                    </a:lnTo>
                    <a:lnTo>
                      <a:pt x="219" y="16"/>
                    </a:lnTo>
                    <a:lnTo>
                      <a:pt x="219" y="16"/>
                    </a:lnTo>
                    <a:lnTo>
                      <a:pt x="215" y="16"/>
                    </a:lnTo>
                    <a:lnTo>
                      <a:pt x="212" y="14"/>
                    </a:lnTo>
                    <a:lnTo>
                      <a:pt x="211" y="12"/>
                    </a:lnTo>
                    <a:lnTo>
                      <a:pt x="211" y="10"/>
                    </a:lnTo>
                    <a:lnTo>
                      <a:pt x="211" y="10"/>
                    </a:lnTo>
                    <a:lnTo>
                      <a:pt x="211" y="9"/>
                    </a:lnTo>
                    <a:lnTo>
                      <a:pt x="208" y="7"/>
                    </a:lnTo>
                    <a:lnTo>
                      <a:pt x="205" y="9"/>
                    </a:lnTo>
                    <a:lnTo>
                      <a:pt x="202" y="12"/>
                    </a:lnTo>
                    <a:lnTo>
                      <a:pt x="202" y="12"/>
                    </a:lnTo>
                    <a:lnTo>
                      <a:pt x="201" y="14"/>
                    </a:lnTo>
                    <a:lnTo>
                      <a:pt x="196" y="16"/>
                    </a:lnTo>
                    <a:lnTo>
                      <a:pt x="193" y="16"/>
                    </a:lnTo>
                    <a:lnTo>
                      <a:pt x="191" y="14"/>
                    </a:lnTo>
                    <a:lnTo>
                      <a:pt x="191" y="14"/>
                    </a:lnTo>
                    <a:lnTo>
                      <a:pt x="189" y="13"/>
                    </a:lnTo>
                    <a:lnTo>
                      <a:pt x="189" y="12"/>
                    </a:lnTo>
                    <a:lnTo>
                      <a:pt x="192" y="10"/>
                    </a:lnTo>
                    <a:lnTo>
                      <a:pt x="195" y="9"/>
                    </a:lnTo>
                    <a:lnTo>
                      <a:pt x="196" y="7"/>
                    </a:lnTo>
                    <a:lnTo>
                      <a:pt x="196" y="7"/>
                    </a:lnTo>
                    <a:lnTo>
                      <a:pt x="195" y="4"/>
                    </a:lnTo>
                    <a:lnTo>
                      <a:pt x="192" y="3"/>
                    </a:lnTo>
                    <a:lnTo>
                      <a:pt x="184" y="0"/>
                    </a:lnTo>
                    <a:lnTo>
                      <a:pt x="184" y="0"/>
                    </a:lnTo>
                    <a:lnTo>
                      <a:pt x="181" y="2"/>
                    </a:lnTo>
                    <a:lnTo>
                      <a:pt x="176" y="3"/>
                    </a:lnTo>
                    <a:lnTo>
                      <a:pt x="166" y="12"/>
                    </a:lnTo>
                    <a:lnTo>
                      <a:pt x="166" y="12"/>
                    </a:lnTo>
                    <a:lnTo>
                      <a:pt x="161" y="14"/>
                    </a:lnTo>
                    <a:lnTo>
                      <a:pt x="154" y="17"/>
                    </a:lnTo>
                    <a:lnTo>
                      <a:pt x="148" y="17"/>
                    </a:lnTo>
                    <a:lnTo>
                      <a:pt x="142" y="16"/>
                    </a:lnTo>
                    <a:lnTo>
                      <a:pt x="142" y="16"/>
                    </a:lnTo>
                    <a:lnTo>
                      <a:pt x="137" y="16"/>
                    </a:lnTo>
                    <a:lnTo>
                      <a:pt x="131" y="17"/>
                    </a:lnTo>
                    <a:lnTo>
                      <a:pt x="128" y="19"/>
                    </a:lnTo>
                    <a:lnTo>
                      <a:pt x="127" y="22"/>
                    </a:lnTo>
                    <a:lnTo>
                      <a:pt x="127" y="22"/>
                    </a:lnTo>
                    <a:lnTo>
                      <a:pt x="128" y="23"/>
                    </a:lnTo>
                    <a:lnTo>
                      <a:pt x="131" y="24"/>
                    </a:lnTo>
                    <a:lnTo>
                      <a:pt x="132" y="27"/>
                    </a:lnTo>
                    <a:lnTo>
                      <a:pt x="131" y="30"/>
                    </a:lnTo>
                    <a:lnTo>
                      <a:pt x="131" y="30"/>
                    </a:lnTo>
                    <a:lnTo>
                      <a:pt x="128" y="30"/>
                    </a:lnTo>
                    <a:lnTo>
                      <a:pt x="127" y="30"/>
                    </a:lnTo>
                    <a:lnTo>
                      <a:pt x="124" y="29"/>
                    </a:lnTo>
                    <a:lnTo>
                      <a:pt x="122" y="27"/>
                    </a:lnTo>
                    <a:lnTo>
                      <a:pt x="121" y="27"/>
                    </a:lnTo>
                    <a:lnTo>
                      <a:pt x="118" y="29"/>
                    </a:lnTo>
                    <a:lnTo>
                      <a:pt x="118" y="29"/>
                    </a:lnTo>
                    <a:lnTo>
                      <a:pt x="114" y="31"/>
                    </a:lnTo>
                    <a:lnTo>
                      <a:pt x="107" y="33"/>
                    </a:lnTo>
                    <a:lnTo>
                      <a:pt x="95" y="33"/>
                    </a:lnTo>
                    <a:lnTo>
                      <a:pt x="95" y="33"/>
                    </a:lnTo>
                    <a:lnTo>
                      <a:pt x="91" y="34"/>
                    </a:lnTo>
                    <a:lnTo>
                      <a:pt x="85" y="39"/>
                    </a:lnTo>
                    <a:lnTo>
                      <a:pt x="77" y="49"/>
                    </a:lnTo>
                    <a:lnTo>
                      <a:pt x="77" y="49"/>
                    </a:lnTo>
                    <a:lnTo>
                      <a:pt x="75" y="51"/>
                    </a:lnTo>
                    <a:lnTo>
                      <a:pt x="75" y="54"/>
                    </a:lnTo>
                    <a:lnTo>
                      <a:pt x="74" y="59"/>
                    </a:lnTo>
                    <a:lnTo>
                      <a:pt x="70" y="66"/>
                    </a:lnTo>
                    <a:lnTo>
                      <a:pt x="70" y="66"/>
                    </a:lnTo>
                    <a:lnTo>
                      <a:pt x="65" y="68"/>
                    </a:lnTo>
                    <a:lnTo>
                      <a:pt x="60" y="71"/>
                    </a:lnTo>
                    <a:lnTo>
                      <a:pt x="47" y="73"/>
                    </a:lnTo>
                    <a:lnTo>
                      <a:pt x="36" y="74"/>
                    </a:lnTo>
                    <a:lnTo>
                      <a:pt x="28" y="73"/>
                    </a:lnTo>
                    <a:lnTo>
                      <a:pt x="28" y="73"/>
                    </a:lnTo>
                    <a:lnTo>
                      <a:pt x="27" y="74"/>
                    </a:lnTo>
                    <a:lnTo>
                      <a:pt x="26" y="77"/>
                    </a:lnTo>
                    <a:lnTo>
                      <a:pt x="26" y="80"/>
                    </a:lnTo>
                    <a:lnTo>
                      <a:pt x="24" y="83"/>
                    </a:lnTo>
                    <a:lnTo>
                      <a:pt x="24" y="83"/>
                    </a:lnTo>
                    <a:lnTo>
                      <a:pt x="24" y="86"/>
                    </a:lnTo>
                    <a:lnTo>
                      <a:pt x="27" y="88"/>
                    </a:lnTo>
                    <a:lnTo>
                      <a:pt x="33" y="91"/>
                    </a:lnTo>
                    <a:lnTo>
                      <a:pt x="43" y="94"/>
                    </a:lnTo>
                    <a:lnTo>
                      <a:pt x="43" y="94"/>
                    </a:lnTo>
                    <a:lnTo>
                      <a:pt x="48" y="97"/>
                    </a:lnTo>
                    <a:lnTo>
                      <a:pt x="53" y="100"/>
                    </a:lnTo>
                    <a:lnTo>
                      <a:pt x="60" y="108"/>
                    </a:lnTo>
                    <a:lnTo>
                      <a:pt x="65" y="117"/>
                    </a:lnTo>
                    <a:lnTo>
                      <a:pt x="68" y="123"/>
                    </a:lnTo>
                    <a:lnTo>
                      <a:pt x="68" y="123"/>
                    </a:lnTo>
                    <a:lnTo>
                      <a:pt x="70" y="124"/>
                    </a:lnTo>
                    <a:lnTo>
                      <a:pt x="73" y="124"/>
                    </a:lnTo>
                    <a:lnTo>
                      <a:pt x="80" y="124"/>
                    </a:lnTo>
                    <a:lnTo>
                      <a:pt x="88" y="123"/>
                    </a:lnTo>
                    <a:lnTo>
                      <a:pt x="95" y="123"/>
                    </a:lnTo>
                    <a:lnTo>
                      <a:pt x="95" y="123"/>
                    </a:lnTo>
                    <a:lnTo>
                      <a:pt x="98" y="124"/>
                    </a:lnTo>
                    <a:lnTo>
                      <a:pt x="98" y="125"/>
                    </a:lnTo>
                    <a:lnTo>
                      <a:pt x="100" y="130"/>
                    </a:lnTo>
                    <a:lnTo>
                      <a:pt x="98" y="134"/>
                    </a:lnTo>
                    <a:lnTo>
                      <a:pt x="100" y="135"/>
                    </a:lnTo>
                    <a:lnTo>
                      <a:pt x="101" y="137"/>
                    </a:lnTo>
                    <a:lnTo>
                      <a:pt x="101" y="137"/>
                    </a:lnTo>
                    <a:lnTo>
                      <a:pt x="107" y="138"/>
                    </a:lnTo>
                    <a:lnTo>
                      <a:pt x="111" y="138"/>
                    </a:lnTo>
                    <a:lnTo>
                      <a:pt x="115" y="138"/>
                    </a:lnTo>
                    <a:lnTo>
                      <a:pt x="117" y="140"/>
                    </a:lnTo>
                    <a:lnTo>
                      <a:pt x="118" y="141"/>
                    </a:lnTo>
                    <a:lnTo>
                      <a:pt x="118" y="141"/>
                    </a:lnTo>
                    <a:lnTo>
                      <a:pt x="118" y="142"/>
                    </a:lnTo>
                    <a:lnTo>
                      <a:pt x="117" y="142"/>
                    </a:lnTo>
                    <a:lnTo>
                      <a:pt x="112" y="142"/>
                    </a:lnTo>
                    <a:lnTo>
                      <a:pt x="105" y="144"/>
                    </a:lnTo>
                    <a:lnTo>
                      <a:pt x="102" y="144"/>
                    </a:lnTo>
                    <a:lnTo>
                      <a:pt x="100" y="145"/>
                    </a:lnTo>
                    <a:lnTo>
                      <a:pt x="100" y="145"/>
                    </a:lnTo>
                    <a:lnTo>
                      <a:pt x="91" y="151"/>
                    </a:lnTo>
                    <a:lnTo>
                      <a:pt x="88" y="151"/>
                    </a:lnTo>
                    <a:lnTo>
                      <a:pt x="85" y="150"/>
                    </a:lnTo>
                    <a:lnTo>
                      <a:pt x="85" y="150"/>
                    </a:lnTo>
                    <a:lnTo>
                      <a:pt x="83" y="148"/>
                    </a:lnTo>
                    <a:lnTo>
                      <a:pt x="77" y="148"/>
                    </a:lnTo>
                    <a:lnTo>
                      <a:pt x="65" y="150"/>
                    </a:lnTo>
                    <a:lnTo>
                      <a:pt x="65" y="150"/>
                    </a:lnTo>
                    <a:lnTo>
                      <a:pt x="63" y="150"/>
                    </a:lnTo>
                    <a:lnTo>
                      <a:pt x="63" y="148"/>
                    </a:lnTo>
                    <a:lnTo>
                      <a:pt x="63" y="145"/>
                    </a:lnTo>
                    <a:lnTo>
                      <a:pt x="65" y="138"/>
                    </a:lnTo>
                    <a:lnTo>
                      <a:pt x="65" y="138"/>
                    </a:lnTo>
                    <a:lnTo>
                      <a:pt x="64" y="135"/>
                    </a:lnTo>
                    <a:lnTo>
                      <a:pt x="60" y="134"/>
                    </a:lnTo>
                    <a:lnTo>
                      <a:pt x="53" y="135"/>
                    </a:lnTo>
                    <a:lnTo>
                      <a:pt x="46" y="138"/>
                    </a:lnTo>
                    <a:lnTo>
                      <a:pt x="46" y="138"/>
                    </a:lnTo>
                    <a:lnTo>
                      <a:pt x="37" y="144"/>
                    </a:lnTo>
                    <a:lnTo>
                      <a:pt x="36" y="148"/>
                    </a:lnTo>
                    <a:lnTo>
                      <a:pt x="36" y="148"/>
                    </a:lnTo>
                    <a:lnTo>
                      <a:pt x="36" y="150"/>
                    </a:lnTo>
                    <a:lnTo>
                      <a:pt x="34" y="150"/>
                    </a:lnTo>
                    <a:lnTo>
                      <a:pt x="31" y="150"/>
                    </a:lnTo>
                    <a:lnTo>
                      <a:pt x="27" y="148"/>
                    </a:lnTo>
                    <a:lnTo>
                      <a:pt x="24" y="148"/>
                    </a:lnTo>
                    <a:lnTo>
                      <a:pt x="23" y="150"/>
                    </a:lnTo>
                    <a:lnTo>
                      <a:pt x="23" y="150"/>
                    </a:lnTo>
                    <a:lnTo>
                      <a:pt x="10" y="157"/>
                    </a:lnTo>
                    <a:lnTo>
                      <a:pt x="4" y="160"/>
                    </a:lnTo>
                    <a:lnTo>
                      <a:pt x="0" y="162"/>
                    </a:lnTo>
                    <a:lnTo>
                      <a:pt x="0" y="162"/>
                    </a:lnTo>
                    <a:lnTo>
                      <a:pt x="0" y="164"/>
                    </a:lnTo>
                    <a:lnTo>
                      <a:pt x="3" y="165"/>
                    </a:lnTo>
                    <a:lnTo>
                      <a:pt x="9" y="168"/>
                    </a:lnTo>
                    <a:lnTo>
                      <a:pt x="24" y="171"/>
                    </a:lnTo>
                    <a:lnTo>
                      <a:pt x="24" y="171"/>
                    </a:lnTo>
                    <a:lnTo>
                      <a:pt x="26" y="172"/>
                    </a:lnTo>
                    <a:lnTo>
                      <a:pt x="26" y="174"/>
                    </a:lnTo>
                    <a:lnTo>
                      <a:pt x="23" y="175"/>
                    </a:lnTo>
                    <a:lnTo>
                      <a:pt x="20" y="178"/>
                    </a:lnTo>
                    <a:lnTo>
                      <a:pt x="20" y="178"/>
                    </a:lnTo>
                    <a:lnTo>
                      <a:pt x="21" y="179"/>
                    </a:lnTo>
                    <a:lnTo>
                      <a:pt x="21" y="179"/>
                    </a:lnTo>
                    <a:lnTo>
                      <a:pt x="24" y="181"/>
                    </a:lnTo>
                    <a:lnTo>
                      <a:pt x="26" y="184"/>
                    </a:lnTo>
                    <a:lnTo>
                      <a:pt x="28" y="188"/>
                    </a:lnTo>
                    <a:lnTo>
                      <a:pt x="33" y="191"/>
                    </a:lnTo>
                    <a:lnTo>
                      <a:pt x="33" y="191"/>
                    </a:lnTo>
                    <a:lnTo>
                      <a:pt x="37" y="192"/>
                    </a:lnTo>
                    <a:lnTo>
                      <a:pt x="41" y="194"/>
                    </a:lnTo>
                    <a:lnTo>
                      <a:pt x="51" y="192"/>
                    </a:lnTo>
                    <a:lnTo>
                      <a:pt x="67" y="191"/>
                    </a:lnTo>
                    <a:lnTo>
                      <a:pt x="67" y="191"/>
                    </a:lnTo>
                    <a:lnTo>
                      <a:pt x="71" y="192"/>
                    </a:lnTo>
                    <a:lnTo>
                      <a:pt x="75" y="194"/>
                    </a:lnTo>
                    <a:lnTo>
                      <a:pt x="78" y="195"/>
                    </a:lnTo>
                    <a:lnTo>
                      <a:pt x="81" y="192"/>
                    </a:lnTo>
                    <a:lnTo>
                      <a:pt x="81" y="192"/>
                    </a:lnTo>
                    <a:lnTo>
                      <a:pt x="87" y="188"/>
                    </a:lnTo>
                    <a:lnTo>
                      <a:pt x="94" y="184"/>
                    </a:lnTo>
                    <a:lnTo>
                      <a:pt x="98" y="181"/>
                    </a:lnTo>
                    <a:lnTo>
                      <a:pt x="102" y="181"/>
                    </a:lnTo>
                    <a:lnTo>
                      <a:pt x="107" y="181"/>
                    </a:lnTo>
                    <a:lnTo>
                      <a:pt x="110" y="182"/>
                    </a:lnTo>
                    <a:lnTo>
                      <a:pt x="110" y="182"/>
                    </a:lnTo>
                    <a:lnTo>
                      <a:pt x="112" y="185"/>
                    </a:lnTo>
                    <a:lnTo>
                      <a:pt x="112" y="187"/>
                    </a:lnTo>
                    <a:lnTo>
                      <a:pt x="110" y="189"/>
                    </a:lnTo>
                    <a:lnTo>
                      <a:pt x="105" y="191"/>
                    </a:lnTo>
                    <a:lnTo>
                      <a:pt x="105" y="192"/>
                    </a:lnTo>
                    <a:lnTo>
                      <a:pt x="105" y="194"/>
                    </a:lnTo>
                    <a:lnTo>
                      <a:pt x="105" y="194"/>
                    </a:lnTo>
                    <a:lnTo>
                      <a:pt x="108" y="198"/>
                    </a:lnTo>
                    <a:lnTo>
                      <a:pt x="111" y="204"/>
                    </a:lnTo>
                    <a:lnTo>
                      <a:pt x="111" y="211"/>
                    </a:lnTo>
                    <a:lnTo>
                      <a:pt x="110" y="214"/>
                    </a:lnTo>
                    <a:lnTo>
                      <a:pt x="107" y="215"/>
                    </a:lnTo>
                    <a:lnTo>
                      <a:pt x="107" y="215"/>
                    </a:lnTo>
                    <a:lnTo>
                      <a:pt x="101" y="218"/>
                    </a:lnTo>
                    <a:lnTo>
                      <a:pt x="97" y="218"/>
                    </a:lnTo>
                    <a:lnTo>
                      <a:pt x="88" y="216"/>
                    </a:lnTo>
                    <a:lnTo>
                      <a:pt x="88" y="216"/>
                    </a:lnTo>
                    <a:lnTo>
                      <a:pt x="87" y="216"/>
                    </a:lnTo>
                    <a:lnTo>
                      <a:pt x="85" y="218"/>
                    </a:lnTo>
                    <a:lnTo>
                      <a:pt x="84" y="221"/>
                    </a:lnTo>
                    <a:lnTo>
                      <a:pt x="83" y="225"/>
                    </a:lnTo>
                    <a:lnTo>
                      <a:pt x="80" y="229"/>
                    </a:lnTo>
                    <a:lnTo>
                      <a:pt x="80" y="229"/>
                    </a:lnTo>
                    <a:lnTo>
                      <a:pt x="77" y="231"/>
                    </a:lnTo>
                    <a:lnTo>
                      <a:pt x="74" y="231"/>
                    </a:lnTo>
                    <a:lnTo>
                      <a:pt x="70" y="229"/>
                    </a:lnTo>
                    <a:lnTo>
                      <a:pt x="64" y="226"/>
                    </a:lnTo>
                    <a:lnTo>
                      <a:pt x="61" y="225"/>
                    </a:lnTo>
                    <a:lnTo>
                      <a:pt x="58" y="224"/>
                    </a:lnTo>
                    <a:lnTo>
                      <a:pt x="58" y="224"/>
                    </a:lnTo>
                    <a:lnTo>
                      <a:pt x="55" y="225"/>
                    </a:lnTo>
                    <a:lnTo>
                      <a:pt x="54" y="226"/>
                    </a:lnTo>
                    <a:lnTo>
                      <a:pt x="53" y="231"/>
                    </a:lnTo>
                    <a:lnTo>
                      <a:pt x="53" y="236"/>
                    </a:lnTo>
                    <a:lnTo>
                      <a:pt x="53" y="241"/>
                    </a:lnTo>
                    <a:lnTo>
                      <a:pt x="53" y="241"/>
                    </a:lnTo>
                    <a:lnTo>
                      <a:pt x="53" y="242"/>
                    </a:lnTo>
                    <a:lnTo>
                      <a:pt x="51" y="243"/>
                    </a:lnTo>
                    <a:lnTo>
                      <a:pt x="46" y="243"/>
                    </a:lnTo>
                    <a:lnTo>
                      <a:pt x="40" y="246"/>
                    </a:lnTo>
                    <a:lnTo>
                      <a:pt x="38" y="248"/>
                    </a:lnTo>
                    <a:lnTo>
                      <a:pt x="37" y="252"/>
                    </a:lnTo>
                    <a:lnTo>
                      <a:pt x="37" y="252"/>
                    </a:lnTo>
                    <a:lnTo>
                      <a:pt x="34" y="256"/>
                    </a:lnTo>
                    <a:lnTo>
                      <a:pt x="33" y="258"/>
                    </a:lnTo>
                    <a:lnTo>
                      <a:pt x="28" y="259"/>
                    </a:lnTo>
                    <a:lnTo>
                      <a:pt x="26" y="261"/>
                    </a:lnTo>
                    <a:lnTo>
                      <a:pt x="26" y="261"/>
                    </a:lnTo>
                    <a:lnTo>
                      <a:pt x="28" y="266"/>
                    </a:lnTo>
                    <a:lnTo>
                      <a:pt x="28" y="266"/>
                    </a:lnTo>
                    <a:lnTo>
                      <a:pt x="34" y="272"/>
                    </a:lnTo>
                    <a:lnTo>
                      <a:pt x="37" y="275"/>
                    </a:lnTo>
                    <a:lnTo>
                      <a:pt x="40" y="275"/>
                    </a:lnTo>
                    <a:lnTo>
                      <a:pt x="43" y="276"/>
                    </a:lnTo>
                    <a:lnTo>
                      <a:pt x="43" y="276"/>
                    </a:lnTo>
                    <a:lnTo>
                      <a:pt x="46" y="278"/>
                    </a:lnTo>
                    <a:lnTo>
                      <a:pt x="46" y="280"/>
                    </a:lnTo>
                    <a:lnTo>
                      <a:pt x="43" y="285"/>
                    </a:lnTo>
                    <a:lnTo>
                      <a:pt x="41" y="289"/>
                    </a:lnTo>
                    <a:lnTo>
                      <a:pt x="41" y="290"/>
                    </a:lnTo>
                    <a:lnTo>
                      <a:pt x="43" y="292"/>
                    </a:lnTo>
                    <a:lnTo>
                      <a:pt x="43" y="292"/>
                    </a:lnTo>
                    <a:lnTo>
                      <a:pt x="48" y="295"/>
                    </a:lnTo>
                    <a:lnTo>
                      <a:pt x="53" y="299"/>
                    </a:lnTo>
                    <a:lnTo>
                      <a:pt x="63" y="310"/>
                    </a:lnTo>
                    <a:lnTo>
                      <a:pt x="63" y="310"/>
                    </a:lnTo>
                    <a:lnTo>
                      <a:pt x="64" y="312"/>
                    </a:lnTo>
                    <a:lnTo>
                      <a:pt x="67" y="312"/>
                    </a:lnTo>
                    <a:lnTo>
                      <a:pt x="71" y="310"/>
                    </a:lnTo>
                    <a:lnTo>
                      <a:pt x="75" y="309"/>
                    </a:lnTo>
                    <a:lnTo>
                      <a:pt x="81" y="307"/>
                    </a:lnTo>
                    <a:lnTo>
                      <a:pt x="81" y="307"/>
                    </a:lnTo>
                    <a:lnTo>
                      <a:pt x="84" y="307"/>
                    </a:lnTo>
                    <a:lnTo>
                      <a:pt x="85" y="306"/>
                    </a:lnTo>
                    <a:lnTo>
                      <a:pt x="87" y="302"/>
                    </a:lnTo>
                    <a:lnTo>
                      <a:pt x="87" y="300"/>
                    </a:lnTo>
                    <a:lnTo>
                      <a:pt x="88" y="300"/>
                    </a:lnTo>
                    <a:lnTo>
                      <a:pt x="90" y="300"/>
                    </a:lnTo>
                    <a:lnTo>
                      <a:pt x="90" y="300"/>
                    </a:lnTo>
                    <a:lnTo>
                      <a:pt x="92" y="305"/>
                    </a:lnTo>
                    <a:lnTo>
                      <a:pt x="95" y="310"/>
                    </a:lnTo>
                    <a:lnTo>
                      <a:pt x="97" y="315"/>
                    </a:lnTo>
                    <a:lnTo>
                      <a:pt x="97" y="317"/>
                    </a:lnTo>
                    <a:lnTo>
                      <a:pt x="95" y="319"/>
                    </a:lnTo>
                    <a:lnTo>
                      <a:pt x="95" y="319"/>
                    </a:lnTo>
                    <a:lnTo>
                      <a:pt x="94" y="322"/>
                    </a:lnTo>
                    <a:lnTo>
                      <a:pt x="94" y="326"/>
                    </a:lnTo>
                    <a:lnTo>
                      <a:pt x="94" y="335"/>
                    </a:lnTo>
                    <a:lnTo>
                      <a:pt x="94" y="335"/>
                    </a:lnTo>
                    <a:lnTo>
                      <a:pt x="95" y="336"/>
                    </a:lnTo>
                    <a:lnTo>
                      <a:pt x="97" y="337"/>
                    </a:lnTo>
                    <a:lnTo>
                      <a:pt x="102" y="337"/>
                    </a:lnTo>
                    <a:lnTo>
                      <a:pt x="108" y="336"/>
                    </a:lnTo>
                    <a:lnTo>
                      <a:pt x="111" y="335"/>
                    </a:lnTo>
                    <a:lnTo>
                      <a:pt x="112" y="333"/>
                    </a:lnTo>
                    <a:lnTo>
                      <a:pt x="112" y="333"/>
                    </a:lnTo>
                    <a:lnTo>
                      <a:pt x="112" y="330"/>
                    </a:lnTo>
                    <a:lnTo>
                      <a:pt x="115" y="330"/>
                    </a:lnTo>
                    <a:lnTo>
                      <a:pt x="121" y="329"/>
                    </a:lnTo>
                    <a:lnTo>
                      <a:pt x="128" y="330"/>
                    </a:lnTo>
                    <a:lnTo>
                      <a:pt x="131" y="332"/>
                    </a:lnTo>
                    <a:lnTo>
                      <a:pt x="134" y="335"/>
                    </a:lnTo>
                    <a:lnTo>
                      <a:pt x="134" y="335"/>
                    </a:lnTo>
                    <a:lnTo>
                      <a:pt x="138" y="339"/>
                    </a:lnTo>
                    <a:lnTo>
                      <a:pt x="142" y="342"/>
                    </a:lnTo>
                    <a:lnTo>
                      <a:pt x="144" y="342"/>
                    </a:lnTo>
                    <a:lnTo>
                      <a:pt x="144" y="337"/>
                    </a:lnTo>
                    <a:lnTo>
                      <a:pt x="144" y="337"/>
                    </a:lnTo>
                    <a:lnTo>
                      <a:pt x="145" y="333"/>
                    </a:lnTo>
                    <a:lnTo>
                      <a:pt x="147" y="329"/>
                    </a:lnTo>
                    <a:lnTo>
                      <a:pt x="149" y="327"/>
                    </a:lnTo>
                    <a:lnTo>
                      <a:pt x="151" y="327"/>
                    </a:lnTo>
                    <a:lnTo>
                      <a:pt x="151" y="329"/>
                    </a:lnTo>
                    <a:lnTo>
                      <a:pt x="151" y="329"/>
                    </a:lnTo>
                    <a:lnTo>
                      <a:pt x="152" y="333"/>
                    </a:lnTo>
                    <a:lnTo>
                      <a:pt x="155" y="335"/>
                    </a:lnTo>
                    <a:lnTo>
                      <a:pt x="161" y="333"/>
                    </a:lnTo>
                    <a:lnTo>
                      <a:pt x="168" y="332"/>
                    </a:lnTo>
                    <a:lnTo>
                      <a:pt x="168" y="332"/>
                    </a:lnTo>
                    <a:lnTo>
                      <a:pt x="174" y="329"/>
                    </a:lnTo>
                    <a:lnTo>
                      <a:pt x="175" y="329"/>
                    </a:lnTo>
                    <a:lnTo>
                      <a:pt x="175" y="330"/>
                    </a:lnTo>
                    <a:lnTo>
                      <a:pt x="168" y="339"/>
                    </a:lnTo>
                    <a:lnTo>
                      <a:pt x="168" y="339"/>
                    </a:lnTo>
                    <a:lnTo>
                      <a:pt x="166" y="343"/>
                    </a:lnTo>
                    <a:lnTo>
                      <a:pt x="165" y="346"/>
                    </a:lnTo>
                    <a:lnTo>
                      <a:pt x="165" y="354"/>
                    </a:lnTo>
                    <a:lnTo>
                      <a:pt x="165" y="362"/>
                    </a:lnTo>
                    <a:lnTo>
                      <a:pt x="164" y="363"/>
                    </a:lnTo>
                    <a:lnTo>
                      <a:pt x="162" y="364"/>
                    </a:lnTo>
                    <a:lnTo>
                      <a:pt x="162" y="364"/>
                    </a:lnTo>
                    <a:lnTo>
                      <a:pt x="161" y="366"/>
                    </a:lnTo>
                    <a:lnTo>
                      <a:pt x="158" y="367"/>
                    </a:lnTo>
                    <a:lnTo>
                      <a:pt x="154" y="373"/>
                    </a:lnTo>
                    <a:lnTo>
                      <a:pt x="149" y="379"/>
                    </a:lnTo>
                    <a:lnTo>
                      <a:pt x="147" y="380"/>
                    </a:lnTo>
                    <a:lnTo>
                      <a:pt x="144" y="381"/>
                    </a:lnTo>
                    <a:lnTo>
                      <a:pt x="144" y="381"/>
                    </a:lnTo>
                    <a:lnTo>
                      <a:pt x="139" y="383"/>
                    </a:lnTo>
                    <a:lnTo>
                      <a:pt x="135" y="384"/>
                    </a:lnTo>
                    <a:lnTo>
                      <a:pt x="127" y="391"/>
                    </a:lnTo>
                    <a:lnTo>
                      <a:pt x="117" y="403"/>
                    </a:lnTo>
                    <a:lnTo>
                      <a:pt x="117" y="403"/>
                    </a:lnTo>
                    <a:lnTo>
                      <a:pt x="114" y="403"/>
                    </a:lnTo>
                    <a:lnTo>
                      <a:pt x="112" y="403"/>
                    </a:lnTo>
                    <a:lnTo>
                      <a:pt x="104" y="401"/>
                    </a:lnTo>
                    <a:lnTo>
                      <a:pt x="95" y="401"/>
                    </a:lnTo>
                    <a:lnTo>
                      <a:pt x="92" y="403"/>
                    </a:lnTo>
                    <a:lnTo>
                      <a:pt x="91" y="406"/>
                    </a:lnTo>
                    <a:lnTo>
                      <a:pt x="91" y="406"/>
                    </a:lnTo>
                    <a:lnTo>
                      <a:pt x="88" y="411"/>
                    </a:lnTo>
                    <a:lnTo>
                      <a:pt x="83" y="416"/>
                    </a:lnTo>
                    <a:lnTo>
                      <a:pt x="80" y="420"/>
                    </a:lnTo>
                    <a:lnTo>
                      <a:pt x="78" y="421"/>
                    </a:lnTo>
                    <a:lnTo>
                      <a:pt x="80" y="423"/>
                    </a:lnTo>
                    <a:lnTo>
                      <a:pt x="80" y="423"/>
                    </a:lnTo>
                    <a:lnTo>
                      <a:pt x="84" y="423"/>
                    </a:lnTo>
                    <a:lnTo>
                      <a:pt x="90" y="420"/>
                    </a:lnTo>
                    <a:lnTo>
                      <a:pt x="95" y="416"/>
                    </a:lnTo>
                    <a:lnTo>
                      <a:pt x="98" y="413"/>
                    </a:lnTo>
                    <a:lnTo>
                      <a:pt x="98" y="413"/>
                    </a:lnTo>
                    <a:lnTo>
                      <a:pt x="100" y="410"/>
                    </a:lnTo>
                    <a:lnTo>
                      <a:pt x="101" y="410"/>
                    </a:lnTo>
                    <a:lnTo>
                      <a:pt x="104" y="411"/>
                    </a:lnTo>
                    <a:lnTo>
                      <a:pt x="104" y="411"/>
                    </a:lnTo>
                    <a:lnTo>
                      <a:pt x="107" y="413"/>
                    </a:lnTo>
                    <a:lnTo>
                      <a:pt x="111" y="413"/>
                    </a:lnTo>
                    <a:lnTo>
                      <a:pt x="118" y="407"/>
                    </a:lnTo>
                    <a:lnTo>
                      <a:pt x="118" y="407"/>
                    </a:lnTo>
                    <a:lnTo>
                      <a:pt x="121" y="406"/>
                    </a:lnTo>
                    <a:lnTo>
                      <a:pt x="124" y="406"/>
                    </a:lnTo>
                    <a:lnTo>
                      <a:pt x="129" y="406"/>
                    </a:lnTo>
                    <a:lnTo>
                      <a:pt x="129" y="406"/>
                    </a:lnTo>
                    <a:lnTo>
                      <a:pt x="131" y="406"/>
                    </a:lnTo>
                    <a:lnTo>
                      <a:pt x="134" y="404"/>
                    </a:lnTo>
                    <a:lnTo>
                      <a:pt x="138" y="403"/>
                    </a:lnTo>
                    <a:lnTo>
                      <a:pt x="144" y="400"/>
                    </a:lnTo>
                    <a:lnTo>
                      <a:pt x="144" y="400"/>
                    </a:lnTo>
                    <a:lnTo>
                      <a:pt x="149" y="399"/>
                    </a:lnTo>
                    <a:lnTo>
                      <a:pt x="151" y="397"/>
                    </a:lnTo>
                    <a:lnTo>
                      <a:pt x="154" y="391"/>
                    </a:lnTo>
                    <a:lnTo>
                      <a:pt x="154" y="391"/>
                    </a:lnTo>
                    <a:lnTo>
                      <a:pt x="158" y="386"/>
                    </a:lnTo>
                    <a:lnTo>
                      <a:pt x="166" y="381"/>
                    </a:lnTo>
                    <a:lnTo>
                      <a:pt x="182" y="374"/>
                    </a:lnTo>
                    <a:lnTo>
                      <a:pt x="182" y="374"/>
                    </a:lnTo>
                    <a:lnTo>
                      <a:pt x="185" y="373"/>
                    </a:lnTo>
                    <a:lnTo>
                      <a:pt x="185" y="370"/>
                    </a:lnTo>
                    <a:lnTo>
                      <a:pt x="186" y="367"/>
                    </a:lnTo>
                    <a:lnTo>
                      <a:pt x="189" y="366"/>
                    </a:lnTo>
                    <a:lnTo>
                      <a:pt x="189" y="366"/>
                    </a:lnTo>
                    <a:lnTo>
                      <a:pt x="192" y="364"/>
                    </a:lnTo>
                    <a:lnTo>
                      <a:pt x="196" y="362"/>
                    </a:lnTo>
                    <a:lnTo>
                      <a:pt x="206" y="354"/>
                    </a:lnTo>
                    <a:lnTo>
                      <a:pt x="206" y="354"/>
                    </a:lnTo>
                    <a:lnTo>
                      <a:pt x="211" y="352"/>
                    </a:lnTo>
                    <a:lnTo>
                      <a:pt x="213" y="352"/>
                    </a:lnTo>
                    <a:lnTo>
                      <a:pt x="219" y="350"/>
                    </a:lnTo>
                    <a:lnTo>
                      <a:pt x="219" y="350"/>
                    </a:lnTo>
                    <a:lnTo>
                      <a:pt x="220" y="349"/>
                    </a:lnTo>
                    <a:lnTo>
                      <a:pt x="220" y="347"/>
                    </a:lnTo>
                    <a:lnTo>
                      <a:pt x="222" y="344"/>
                    </a:lnTo>
                    <a:lnTo>
                      <a:pt x="222" y="340"/>
                    </a:lnTo>
                    <a:lnTo>
                      <a:pt x="223" y="339"/>
                    </a:lnTo>
                    <a:lnTo>
                      <a:pt x="225" y="339"/>
                    </a:lnTo>
                    <a:lnTo>
                      <a:pt x="225" y="339"/>
                    </a:lnTo>
                    <a:lnTo>
                      <a:pt x="228" y="337"/>
                    </a:lnTo>
                    <a:lnTo>
                      <a:pt x="230" y="336"/>
                    </a:lnTo>
                    <a:lnTo>
                      <a:pt x="232" y="333"/>
                    </a:lnTo>
                    <a:lnTo>
                      <a:pt x="232" y="330"/>
                    </a:lnTo>
                    <a:lnTo>
                      <a:pt x="232" y="330"/>
                    </a:lnTo>
                    <a:lnTo>
                      <a:pt x="232" y="329"/>
                    </a:lnTo>
                    <a:lnTo>
                      <a:pt x="230" y="327"/>
                    </a:lnTo>
                    <a:lnTo>
                      <a:pt x="226" y="326"/>
                    </a:lnTo>
                    <a:lnTo>
                      <a:pt x="222" y="325"/>
                    </a:lnTo>
                    <a:lnTo>
                      <a:pt x="219" y="323"/>
                    </a:lnTo>
                    <a:lnTo>
                      <a:pt x="219" y="323"/>
                    </a:lnTo>
                    <a:lnTo>
                      <a:pt x="220" y="320"/>
                    </a:lnTo>
                    <a:lnTo>
                      <a:pt x="225" y="317"/>
                    </a:lnTo>
                    <a:lnTo>
                      <a:pt x="229" y="313"/>
                    </a:lnTo>
                    <a:lnTo>
                      <a:pt x="233" y="312"/>
                    </a:lnTo>
                    <a:lnTo>
                      <a:pt x="233" y="312"/>
                    </a:lnTo>
                    <a:lnTo>
                      <a:pt x="236" y="312"/>
                    </a:lnTo>
                    <a:lnTo>
                      <a:pt x="239" y="310"/>
                    </a:lnTo>
                    <a:lnTo>
                      <a:pt x="242" y="306"/>
                    </a:lnTo>
                    <a:lnTo>
                      <a:pt x="243" y="303"/>
                    </a:lnTo>
                    <a:lnTo>
                      <a:pt x="243" y="303"/>
                    </a:lnTo>
                    <a:lnTo>
                      <a:pt x="245" y="299"/>
                    </a:lnTo>
                    <a:lnTo>
                      <a:pt x="248" y="296"/>
                    </a:lnTo>
                    <a:lnTo>
                      <a:pt x="255" y="290"/>
                    </a:lnTo>
                    <a:lnTo>
                      <a:pt x="255" y="290"/>
                    </a:lnTo>
                    <a:lnTo>
                      <a:pt x="256" y="288"/>
                    </a:lnTo>
                    <a:lnTo>
                      <a:pt x="257" y="285"/>
                    </a:lnTo>
                    <a:lnTo>
                      <a:pt x="260" y="282"/>
                    </a:lnTo>
                    <a:lnTo>
                      <a:pt x="262" y="282"/>
                    </a:lnTo>
                    <a:lnTo>
                      <a:pt x="262" y="282"/>
                    </a:lnTo>
                    <a:lnTo>
                      <a:pt x="266" y="280"/>
                    </a:lnTo>
                    <a:lnTo>
                      <a:pt x="269" y="278"/>
                    </a:lnTo>
                    <a:lnTo>
                      <a:pt x="276" y="272"/>
                    </a:lnTo>
                    <a:lnTo>
                      <a:pt x="276" y="272"/>
                    </a:lnTo>
                    <a:lnTo>
                      <a:pt x="279" y="270"/>
                    </a:lnTo>
                    <a:lnTo>
                      <a:pt x="279" y="272"/>
                    </a:lnTo>
                    <a:lnTo>
                      <a:pt x="280" y="275"/>
                    </a:lnTo>
                    <a:lnTo>
                      <a:pt x="286" y="276"/>
                    </a:lnTo>
                    <a:lnTo>
                      <a:pt x="286" y="276"/>
                    </a:lnTo>
                    <a:lnTo>
                      <a:pt x="289" y="276"/>
                    </a:lnTo>
                    <a:lnTo>
                      <a:pt x="290" y="278"/>
                    </a:lnTo>
                    <a:lnTo>
                      <a:pt x="292" y="279"/>
                    </a:lnTo>
                    <a:lnTo>
                      <a:pt x="292" y="280"/>
                    </a:lnTo>
                    <a:lnTo>
                      <a:pt x="290" y="282"/>
                    </a:lnTo>
                    <a:lnTo>
                      <a:pt x="289" y="282"/>
                    </a:lnTo>
                    <a:lnTo>
                      <a:pt x="286" y="282"/>
                    </a:lnTo>
                    <a:lnTo>
                      <a:pt x="286" y="282"/>
                    </a:lnTo>
                    <a:lnTo>
                      <a:pt x="282" y="280"/>
                    </a:lnTo>
                    <a:lnTo>
                      <a:pt x="277" y="280"/>
                    </a:lnTo>
                    <a:lnTo>
                      <a:pt x="273" y="282"/>
                    </a:lnTo>
                    <a:lnTo>
                      <a:pt x="269" y="285"/>
                    </a:lnTo>
                    <a:lnTo>
                      <a:pt x="269" y="285"/>
                    </a:lnTo>
                    <a:lnTo>
                      <a:pt x="266" y="289"/>
                    </a:lnTo>
                    <a:lnTo>
                      <a:pt x="266" y="292"/>
                    </a:lnTo>
                    <a:lnTo>
                      <a:pt x="265" y="295"/>
                    </a:lnTo>
                    <a:lnTo>
                      <a:pt x="263" y="299"/>
                    </a:lnTo>
                    <a:lnTo>
                      <a:pt x="263" y="299"/>
                    </a:lnTo>
                    <a:lnTo>
                      <a:pt x="260" y="305"/>
                    </a:lnTo>
                    <a:lnTo>
                      <a:pt x="259" y="307"/>
                    </a:lnTo>
                    <a:lnTo>
                      <a:pt x="260" y="310"/>
                    </a:lnTo>
                    <a:lnTo>
                      <a:pt x="265" y="312"/>
                    </a:lnTo>
                    <a:lnTo>
                      <a:pt x="265" y="312"/>
                    </a:lnTo>
                    <a:lnTo>
                      <a:pt x="266" y="312"/>
                    </a:lnTo>
                    <a:lnTo>
                      <a:pt x="266" y="315"/>
                    </a:lnTo>
                    <a:lnTo>
                      <a:pt x="263" y="316"/>
                    </a:lnTo>
                    <a:lnTo>
                      <a:pt x="259" y="319"/>
                    </a:lnTo>
                    <a:lnTo>
                      <a:pt x="259" y="319"/>
                    </a:lnTo>
                    <a:lnTo>
                      <a:pt x="256" y="320"/>
                    </a:lnTo>
                    <a:lnTo>
                      <a:pt x="256" y="322"/>
                    </a:lnTo>
                    <a:lnTo>
                      <a:pt x="259" y="323"/>
                    </a:lnTo>
                    <a:lnTo>
                      <a:pt x="265" y="323"/>
                    </a:lnTo>
                    <a:lnTo>
                      <a:pt x="265" y="323"/>
                    </a:lnTo>
                    <a:lnTo>
                      <a:pt x="272" y="322"/>
                    </a:lnTo>
                    <a:lnTo>
                      <a:pt x="279" y="317"/>
                    </a:lnTo>
                    <a:lnTo>
                      <a:pt x="287" y="312"/>
                    </a:lnTo>
                    <a:lnTo>
                      <a:pt x="296" y="306"/>
                    </a:lnTo>
                    <a:lnTo>
                      <a:pt x="296" y="306"/>
                    </a:lnTo>
                    <a:lnTo>
                      <a:pt x="304" y="303"/>
                    </a:lnTo>
                    <a:lnTo>
                      <a:pt x="312" y="305"/>
                    </a:lnTo>
                    <a:lnTo>
                      <a:pt x="316" y="305"/>
                    </a:lnTo>
                    <a:lnTo>
                      <a:pt x="320" y="305"/>
                    </a:lnTo>
                    <a:lnTo>
                      <a:pt x="320" y="305"/>
                    </a:lnTo>
                    <a:lnTo>
                      <a:pt x="320" y="303"/>
                    </a:lnTo>
                    <a:lnTo>
                      <a:pt x="320" y="302"/>
                    </a:lnTo>
                    <a:lnTo>
                      <a:pt x="319" y="299"/>
                    </a:lnTo>
                    <a:lnTo>
                      <a:pt x="320" y="298"/>
                    </a:lnTo>
                    <a:lnTo>
                      <a:pt x="320" y="298"/>
                    </a:lnTo>
                    <a:lnTo>
                      <a:pt x="320" y="296"/>
                    </a:lnTo>
                    <a:lnTo>
                      <a:pt x="319" y="295"/>
                    </a:lnTo>
                    <a:lnTo>
                      <a:pt x="316" y="292"/>
                    </a:lnTo>
                    <a:lnTo>
                      <a:pt x="313" y="288"/>
                    </a:lnTo>
                    <a:lnTo>
                      <a:pt x="313" y="288"/>
                    </a:lnTo>
                    <a:lnTo>
                      <a:pt x="313" y="285"/>
                    </a:lnTo>
                    <a:lnTo>
                      <a:pt x="314" y="283"/>
                    </a:lnTo>
                    <a:lnTo>
                      <a:pt x="316" y="282"/>
                    </a:lnTo>
                    <a:lnTo>
                      <a:pt x="319" y="279"/>
                    </a:lnTo>
                    <a:lnTo>
                      <a:pt x="319" y="279"/>
                    </a:lnTo>
                    <a:lnTo>
                      <a:pt x="320" y="278"/>
                    </a:lnTo>
                    <a:lnTo>
                      <a:pt x="322" y="276"/>
                    </a:lnTo>
                    <a:lnTo>
                      <a:pt x="327" y="279"/>
                    </a:lnTo>
                    <a:lnTo>
                      <a:pt x="327" y="279"/>
                    </a:lnTo>
                    <a:lnTo>
                      <a:pt x="330" y="279"/>
                    </a:lnTo>
                    <a:lnTo>
                      <a:pt x="333" y="279"/>
                    </a:lnTo>
                    <a:lnTo>
                      <a:pt x="336" y="280"/>
                    </a:lnTo>
                    <a:lnTo>
                      <a:pt x="339" y="283"/>
                    </a:lnTo>
                    <a:lnTo>
                      <a:pt x="339" y="283"/>
                    </a:lnTo>
                    <a:lnTo>
                      <a:pt x="340" y="285"/>
                    </a:lnTo>
                    <a:lnTo>
                      <a:pt x="341" y="286"/>
                    </a:lnTo>
                    <a:lnTo>
                      <a:pt x="344" y="285"/>
                    </a:lnTo>
                    <a:lnTo>
                      <a:pt x="347" y="285"/>
                    </a:lnTo>
                    <a:lnTo>
                      <a:pt x="349" y="285"/>
                    </a:lnTo>
                    <a:lnTo>
                      <a:pt x="351" y="286"/>
                    </a:lnTo>
                    <a:lnTo>
                      <a:pt x="351" y="286"/>
                    </a:lnTo>
                    <a:lnTo>
                      <a:pt x="353" y="289"/>
                    </a:lnTo>
                    <a:lnTo>
                      <a:pt x="351" y="290"/>
                    </a:lnTo>
                    <a:lnTo>
                      <a:pt x="344" y="292"/>
                    </a:lnTo>
                    <a:lnTo>
                      <a:pt x="344" y="292"/>
                    </a:lnTo>
                    <a:lnTo>
                      <a:pt x="343" y="292"/>
                    </a:lnTo>
                    <a:lnTo>
                      <a:pt x="341" y="293"/>
                    </a:lnTo>
                    <a:lnTo>
                      <a:pt x="341" y="296"/>
                    </a:lnTo>
                    <a:lnTo>
                      <a:pt x="343" y="298"/>
                    </a:lnTo>
                    <a:lnTo>
                      <a:pt x="344" y="298"/>
                    </a:lnTo>
                    <a:lnTo>
                      <a:pt x="346" y="298"/>
                    </a:lnTo>
                    <a:lnTo>
                      <a:pt x="346" y="298"/>
                    </a:lnTo>
                    <a:lnTo>
                      <a:pt x="349" y="295"/>
                    </a:lnTo>
                    <a:lnTo>
                      <a:pt x="353" y="293"/>
                    </a:lnTo>
                    <a:lnTo>
                      <a:pt x="356" y="293"/>
                    </a:lnTo>
                    <a:lnTo>
                      <a:pt x="358" y="295"/>
                    </a:lnTo>
                    <a:lnTo>
                      <a:pt x="358" y="295"/>
                    </a:lnTo>
                    <a:lnTo>
                      <a:pt x="361" y="296"/>
                    </a:lnTo>
                    <a:lnTo>
                      <a:pt x="364" y="296"/>
                    </a:lnTo>
                    <a:lnTo>
                      <a:pt x="368" y="293"/>
                    </a:lnTo>
                    <a:lnTo>
                      <a:pt x="368" y="293"/>
                    </a:lnTo>
                    <a:lnTo>
                      <a:pt x="370" y="292"/>
                    </a:lnTo>
                    <a:lnTo>
                      <a:pt x="371" y="292"/>
                    </a:lnTo>
                    <a:lnTo>
                      <a:pt x="371" y="296"/>
                    </a:lnTo>
                    <a:lnTo>
                      <a:pt x="371" y="296"/>
                    </a:lnTo>
                    <a:lnTo>
                      <a:pt x="373" y="298"/>
                    </a:lnTo>
                    <a:lnTo>
                      <a:pt x="377" y="299"/>
                    </a:lnTo>
                    <a:lnTo>
                      <a:pt x="390" y="302"/>
                    </a:lnTo>
                    <a:lnTo>
                      <a:pt x="390" y="302"/>
                    </a:lnTo>
                    <a:lnTo>
                      <a:pt x="400" y="303"/>
                    </a:lnTo>
                    <a:lnTo>
                      <a:pt x="410" y="302"/>
                    </a:lnTo>
                    <a:lnTo>
                      <a:pt x="425" y="300"/>
                    </a:lnTo>
                    <a:lnTo>
                      <a:pt x="425" y="300"/>
                    </a:lnTo>
                    <a:lnTo>
                      <a:pt x="428" y="302"/>
                    </a:lnTo>
                    <a:lnTo>
                      <a:pt x="430" y="305"/>
                    </a:lnTo>
                    <a:lnTo>
                      <a:pt x="432" y="307"/>
                    </a:lnTo>
                    <a:lnTo>
                      <a:pt x="440" y="310"/>
                    </a:lnTo>
                    <a:lnTo>
                      <a:pt x="440" y="310"/>
                    </a:lnTo>
                    <a:lnTo>
                      <a:pt x="442" y="310"/>
                    </a:lnTo>
                    <a:lnTo>
                      <a:pt x="445" y="310"/>
                    </a:lnTo>
                    <a:lnTo>
                      <a:pt x="451" y="306"/>
                    </a:lnTo>
                    <a:lnTo>
                      <a:pt x="455" y="303"/>
                    </a:lnTo>
                    <a:lnTo>
                      <a:pt x="457" y="303"/>
                    </a:lnTo>
                    <a:lnTo>
                      <a:pt x="458" y="305"/>
                    </a:lnTo>
                    <a:lnTo>
                      <a:pt x="458" y="305"/>
                    </a:lnTo>
                    <a:lnTo>
                      <a:pt x="461" y="307"/>
                    </a:lnTo>
                    <a:lnTo>
                      <a:pt x="461" y="309"/>
                    </a:lnTo>
                    <a:lnTo>
                      <a:pt x="455" y="315"/>
                    </a:lnTo>
                    <a:lnTo>
                      <a:pt x="455" y="315"/>
                    </a:lnTo>
                    <a:lnTo>
                      <a:pt x="455" y="316"/>
                    </a:lnTo>
                    <a:lnTo>
                      <a:pt x="457" y="317"/>
                    </a:lnTo>
                    <a:lnTo>
                      <a:pt x="464" y="320"/>
                    </a:lnTo>
                    <a:lnTo>
                      <a:pt x="464" y="320"/>
                    </a:lnTo>
                    <a:lnTo>
                      <a:pt x="472" y="323"/>
                    </a:lnTo>
                    <a:lnTo>
                      <a:pt x="478" y="326"/>
                    </a:lnTo>
                    <a:lnTo>
                      <a:pt x="482" y="329"/>
                    </a:lnTo>
                    <a:lnTo>
                      <a:pt x="482" y="329"/>
                    </a:lnTo>
                    <a:lnTo>
                      <a:pt x="489" y="336"/>
                    </a:lnTo>
                    <a:lnTo>
                      <a:pt x="494" y="340"/>
                    </a:lnTo>
                    <a:lnTo>
                      <a:pt x="501" y="344"/>
                    </a:lnTo>
                    <a:lnTo>
                      <a:pt x="501" y="344"/>
                    </a:lnTo>
                    <a:lnTo>
                      <a:pt x="504" y="346"/>
                    </a:lnTo>
                    <a:lnTo>
                      <a:pt x="506" y="344"/>
                    </a:lnTo>
                    <a:lnTo>
                      <a:pt x="506" y="343"/>
                    </a:lnTo>
                    <a:lnTo>
                      <a:pt x="506" y="340"/>
                    </a:lnTo>
                    <a:lnTo>
                      <a:pt x="506" y="336"/>
                    </a:lnTo>
                    <a:lnTo>
                      <a:pt x="508" y="336"/>
                    </a:lnTo>
                    <a:lnTo>
                      <a:pt x="511" y="336"/>
                    </a:lnTo>
                    <a:lnTo>
                      <a:pt x="511" y="336"/>
                    </a:lnTo>
                    <a:lnTo>
                      <a:pt x="515" y="339"/>
                    </a:lnTo>
                    <a:lnTo>
                      <a:pt x="518" y="340"/>
                    </a:lnTo>
                    <a:lnTo>
                      <a:pt x="519" y="340"/>
                    </a:lnTo>
                    <a:lnTo>
                      <a:pt x="524" y="343"/>
                    </a:lnTo>
                    <a:lnTo>
                      <a:pt x="524" y="343"/>
                    </a:lnTo>
                    <a:lnTo>
                      <a:pt x="526" y="346"/>
                    </a:lnTo>
                    <a:lnTo>
                      <a:pt x="528" y="344"/>
                    </a:lnTo>
                    <a:lnTo>
                      <a:pt x="528" y="343"/>
                    </a:lnTo>
                    <a:lnTo>
                      <a:pt x="525" y="330"/>
                    </a:lnTo>
                    <a:lnTo>
                      <a:pt x="525" y="330"/>
                    </a:lnTo>
                    <a:lnTo>
                      <a:pt x="524" y="325"/>
                    </a:lnTo>
                    <a:lnTo>
                      <a:pt x="524" y="325"/>
                    </a:lnTo>
                    <a:lnTo>
                      <a:pt x="525" y="325"/>
                    </a:lnTo>
                    <a:lnTo>
                      <a:pt x="531" y="332"/>
                    </a:lnTo>
                    <a:lnTo>
                      <a:pt x="531" y="332"/>
                    </a:lnTo>
                    <a:lnTo>
                      <a:pt x="532" y="336"/>
                    </a:lnTo>
                    <a:lnTo>
                      <a:pt x="533" y="342"/>
                    </a:lnTo>
                    <a:lnTo>
                      <a:pt x="533" y="347"/>
                    </a:lnTo>
                    <a:lnTo>
                      <a:pt x="532" y="352"/>
                    </a:lnTo>
                    <a:lnTo>
                      <a:pt x="532" y="352"/>
                    </a:lnTo>
                    <a:lnTo>
                      <a:pt x="531" y="354"/>
                    </a:lnTo>
                    <a:lnTo>
                      <a:pt x="529" y="354"/>
                    </a:lnTo>
                    <a:lnTo>
                      <a:pt x="525" y="354"/>
                    </a:lnTo>
                    <a:lnTo>
                      <a:pt x="521" y="353"/>
                    </a:lnTo>
                    <a:lnTo>
                      <a:pt x="521" y="352"/>
                    </a:lnTo>
                    <a:lnTo>
                      <a:pt x="521" y="350"/>
                    </a:lnTo>
                    <a:lnTo>
                      <a:pt x="521" y="350"/>
                    </a:lnTo>
                    <a:lnTo>
                      <a:pt x="519" y="349"/>
                    </a:lnTo>
                    <a:lnTo>
                      <a:pt x="519" y="347"/>
                    </a:lnTo>
                    <a:lnTo>
                      <a:pt x="515" y="347"/>
                    </a:lnTo>
                    <a:lnTo>
                      <a:pt x="511" y="350"/>
                    </a:lnTo>
                    <a:lnTo>
                      <a:pt x="509" y="350"/>
                    </a:lnTo>
                    <a:lnTo>
                      <a:pt x="509" y="353"/>
                    </a:lnTo>
                    <a:lnTo>
                      <a:pt x="509" y="353"/>
                    </a:lnTo>
                    <a:lnTo>
                      <a:pt x="511" y="357"/>
                    </a:lnTo>
                    <a:lnTo>
                      <a:pt x="514" y="362"/>
                    </a:lnTo>
                    <a:lnTo>
                      <a:pt x="518" y="366"/>
                    </a:lnTo>
                    <a:lnTo>
                      <a:pt x="522" y="369"/>
                    </a:lnTo>
                    <a:lnTo>
                      <a:pt x="522" y="369"/>
                    </a:lnTo>
                    <a:lnTo>
                      <a:pt x="524" y="369"/>
                    </a:lnTo>
                    <a:lnTo>
                      <a:pt x="525" y="370"/>
                    </a:lnTo>
                    <a:lnTo>
                      <a:pt x="525" y="374"/>
                    </a:lnTo>
                    <a:lnTo>
                      <a:pt x="526" y="377"/>
                    </a:lnTo>
                    <a:lnTo>
                      <a:pt x="528" y="379"/>
                    </a:lnTo>
                    <a:lnTo>
                      <a:pt x="528" y="379"/>
                    </a:lnTo>
                    <a:lnTo>
                      <a:pt x="531" y="381"/>
                    </a:lnTo>
                    <a:lnTo>
                      <a:pt x="532" y="384"/>
                    </a:lnTo>
                    <a:lnTo>
                      <a:pt x="533" y="387"/>
                    </a:lnTo>
                    <a:lnTo>
                      <a:pt x="533" y="389"/>
                    </a:lnTo>
                    <a:lnTo>
                      <a:pt x="535" y="389"/>
                    </a:lnTo>
                    <a:lnTo>
                      <a:pt x="535" y="389"/>
                    </a:lnTo>
                    <a:lnTo>
                      <a:pt x="536" y="386"/>
                    </a:lnTo>
                    <a:lnTo>
                      <a:pt x="536" y="381"/>
                    </a:lnTo>
                    <a:lnTo>
                      <a:pt x="535" y="376"/>
                    </a:lnTo>
                    <a:lnTo>
                      <a:pt x="533" y="371"/>
                    </a:lnTo>
                    <a:lnTo>
                      <a:pt x="533" y="371"/>
                    </a:lnTo>
                    <a:lnTo>
                      <a:pt x="532" y="367"/>
                    </a:lnTo>
                    <a:lnTo>
                      <a:pt x="532" y="363"/>
                    </a:lnTo>
                    <a:lnTo>
                      <a:pt x="533" y="360"/>
                    </a:lnTo>
                    <a:lnTo>
                      <a:pt x="536" y="360"/>
                    </a:lnTo>
                    <a:lnTo>
                      <a:pt x="536" y="360"/>
                    </a:lnTo>
                    <a:lnTo>
                      <a:pt x="538" y="363"/>
                    </a:lnTo>
                    <a:lnTo>
                      <a:pt x="538" y="366"/>
                    </a:lnTo>
                    <a:lnTo>
                      <a:pt x="538" y="369"/>
                    </a:lnTo>
                    <a:lnTo>
                      <a:pt x="538" y="371"/>
                    </a:lnTo>
                    <a:lnTo>
                      <a:pt x="538" y="371"/>
                    </a:lnTo>
                    <a:lnTo>
                      <a:pt x="539" y="373"/>
                    </a:lnTo>
                    <a:lnTo>
                      <a:pt x="542" y="371"/>
                    </a:lnTo>
                    <a:lnTo>
                      <a:pt x="548" y="366"/>
                    </a:lnTo>
                    <a:lnTo>
                      <a:pt x="548" y="366"/>
                    </a:lnTo>
                    <a:lnTo>
                      <a:pt x="549" y="366"/>
                    </a:lnTo>
                    <a:lnTo>
                      <a:pt x="549" y="363"/>
                    </a:lnTo>
                    <a:lnTo>
                      <a:pt x="549" y="359"/>
                    </a:lnTo>
                    <a:lnTo>
                      <a:pt x="548" y="354"/>
                    </a:lnTo>
                    <a:lnTo>
                      <a:pt x="548" y="352"/>
                    </a:lnTo>
                    <a:lnTo>
                      <a:pt x="548" y="352"/>
                    </a:lnTo>
                    <a:lnTo>
                      <a:pt x="548" y="350"/>
                    </a:lnTo>
                    <a:lnTo>
                      <a:pt x="549" y="350"/>
                    </a:lnTo>
                    <a:lnTo>
                      <a:pt x="552" y="352"/>
                    </a:lnTo>
                    <a:lnTo>
                      <a:pt x="555" y="357"/>
                    </a:lnTo>
                    <a:lnTo>
                      <a:pt x="556" y="362"/>
                    </a:lnTo>
                    <a:lnTo>
                      <a:pt x="556" y="362"/>
                    </a:lnTo>
                    <a:lnTo>
                      <a:pt x="556" y="366"/>
                    </a:lnTo>
                    <a:lnTo>
                      <a:pt x="555" y="369"/>
                    </a:lnTo>
                    <a:lnTo>
                      <a:pt x="552" y="371"/>
                    </a:lnTo>
                    <a:lnTo>
                      <a:pt x="552" y="373"/>
                    </a:lnTo>
                    <a:lnTo>
                      <a:pt x="552" y="373"/>
                    </a:lnTo>
                    <a:lnTo>
                      <a:pt x="551" y="376"/>
                    </a:lnTo>
                    <a:lnTo>
                      <a:pt x="548" y="376"/>
                    </a:lnTo>
                    <a:lnTo>
                      <a:pt x="545" y="376"/>
                    </a:lnTo>
                    <a:lnTo>
                      <a:pt x="542" y="377"/>
                    </a:lnTo>
                    <a:lnTo>
                      <a:pt x="542" y="377"/>
                    </a:lnTo>
                    <a:lnTo>
                      <a:pt x="542" y="381"/>
                    </a:lnTo>
                    <a:lnTo>
                      <a:pt x="542" y="387"/>
                    </a:lnTo>
                    <a:lnTo>
                      <a:pt x="542" y="391"/>
                    </a:lnTo>
                    <a:lnTo>
                      <a:pt x="545" y="394"/>
                    </a:lnTo>
                    <a:lnTo>
                      <a:pt x="545" y="394"/>
                    </a:lnTo>
                    <a:lnTo>
                      <a:pt x="546" y="393"/>
                    </a:lnTo>
                    <a:lnTo>
                      <a:pt x="548" y="389"/>
                    </a:lnTo>
                    <a:lnTo>
                      <a:pt x="549" y="387"/>
                    </a:lnTo>
                    <a:lnTo>
                      <a:pt x="551" y="387"/>
                    </a:lnTo>
                    <a:lnTo>
                      <a:pt x="551" y="389"/>
                    </a:lnTo>
                    <a:lnTo>
                      <a:pt x="551" y="389"/>
                    </a:lnTo>
                    <a:lnTo>
                      <a:pt x="552" y="390"/>
                    </a:lnTo>
                    <a:lnTo>
                      <a:pt x="553" y="390"/>
                    </a:lnTo>
                    <a:lnTo>
                      <a:pt x="556" y="387"/>
                    </a:lnTo>
                    <a:lnTo>
                      <a:pt x="559" y="386"/>
                    </a:lnTo>
                    <a:lnTo>
                      <a:pt x="560" y="386"/>
                    </a:lnTo>
                    <a:lnTo>
                      <a:pt x="560" y="386"/>
                    </a:lnTo>
                    <a:lnTo>
                      <a:pt x="560" y="386"/>
                    </a:lnTo>
                    <a:lnTo>
                      <a:pt x="563" y="390"/>
                    </a:lnTo>
                    <a:lnTo>
                      <a:pt x="568" y="394"/>
                    </a:lnTo>
                    <a:lnTo>
                      <a:pt x="572" y="397"/>
                    </a:lnTo>
                    <a:lnTo>
                      <a:pt x="575" y="397"/>
                    </a:lnTo>
                    <a:lnTo>
                      <a:pt x="575" y="397"/>
                    </a:lnTo>
                    <a:lnTo>
                      <a:pt x="576" y="396"/>
                    </a:lnTo>
                    <a:lnTo>
                      <a:pt x="575" y="393"/>
                    </a:lnTo>
                    <a:lnTo>
                      <a:pt x="572" y="390"/>
                    </a:lnTo>
                    <a:lnTo>
                      <a:pt x="568" y="389"/>
                    </a:lnTo>
                    <a:lnTo>
                      <a:pt x="568" y="389"/>
                    </a:lnTo>
                    <a:lnTo>
                      <a:pt x="565" y="387"/>
                    </a:lnTo>
                    <a:lnTo>
                      <a:pt x="565" y="384"/>
                    </a:lnTo>
                    <a:lnTo>
                      <a:pt x="566" y="381"/>
                    </a:lnTo>
                    <a:lnTo>
                      <a:pt x="569" y="380"/>
                    </a:lnTo>
                    <a:lnTo>
                      <a:pt x="569" y="380"/>
                    </a:lnTo>
                    <a:lnTo>
                      <a:pt x="572" y="381"/>
                    </a:lnTo>
                    <a:lnTo>
                      <a:pt x="576" y="387"/>
                    </a:lnTo>
                    <a:lnTo>
                      <a:pt x="580" y="391"/>
                    </a:lnTo>
                    <a:lnTo>
                      <a:pt x="580" y="396"/>
                    </a:lnTo>
                    <a:lnTo>
                      <a:pt x="580" y="396"/>
                    </a:lnTo>
                    <a:lnTo>
                      <a:pt x="580" y="399"/>
                    </a:lnTo>
                    <a:lnTo>
                      <a:pt x="578" y="400"/>
                    </a:lnTo>
                    <a:lnTo>
                      <a:pt x="573" y="404"/>
                    </a:lnTo>
                    <a:lnTo>
                      <a:pt x="573" y="404"/>
                    </a:lnTo>
                    <a:lnTo>
                      <a:pt x="572" y="406"/>
                    </a:lnTo>
                    <a:lnTo>
                      <a:pt x="569" y="406"/>
                    </a:lnTo>
                    <a:lnTo>
                      <a:pt x="566" y="403"/>
                    </a:lnTo>
                    <a:lnTo>
                      <a:pt x="562" y="399"/>
                    </a:lnTo>
                    <a:lnTo>
                      <a:pt x="559" y="397"/>
                    </a:lnTo>
                    <a:lnTo>
                      <a:pt x="559" y="397"/>
                    </a:lnTo>
                    <a:lnTo>
                      <a:pt x="558" y="399"/>
                    </a:lnTo>
                    <a:lnTo>
                      <a:pt x="558" y="399"/>
                    </a:lnTo>
                    <a:lnTo>
                      <a:pt x="558" y="403"/>
                    </a:lnTo>
                    <a:lnTo>
                      <a:pt x="560" y="410"/>
                    </a:lnTo>
                    <a:lnTo>
                      <a:pt x="560" y="410"/>
                    </a:lnTo>
                    <a:lnTo>
                      <a:pt x="560" y="414"/>
                    </a:lnTo>
                    <a:lnTo>
                      <a:pt x="559" y="418"/>
                    </a:lnTo>
                    <a:lnTo>
                      <a:pt x="559" y="423"/>
                    </a:lnTo>
                    <a:lnTo>
                      <a:pt x="559" y="424"/>
                    </a:lnTo>
                    <a:lnTo>
                      <a:pt x="562" y="426"/>
                    </a:lnTo>
                    <a:lnTo>
                      <a:pt x="562" y="426"/>
                    </a:lnTo>
                    <a:lnTo>
                      <a:pt x="565" y="427"/>
                    </a:lnTo>
                    <a:lnTo>
                      <a:pt x="566" y="426"/>
                    </a:lnTo>
                    <a:lnTo>
                      <a:pt x="566" y="420"/>
                    </a:lnTo>
                    <a:lnTo>
                      <a:pt x="566" y="420"/>
                    </a:lnTo>
                    <a:lnTo>
                      <a:pt x="568" y="420"/>
                    </a:lnTo>
                    <a:lnTo>
                      <a:pt x="570" y="420"/>
                    </a:lnTo>
                    <a:lnTo>
                      <a:pt x="576" y="424"/>
                    </a:lnTo>
                    <a:lnTo>
                      <a:pt x="576" y="424"/>
                    </a:lnTo>
                    <a:lnTo>
                      <a:pt x="578" y="424"/>
                    </a:lnTo>
                    <a:lnTo>
                      <a:pt x="579" y="421"/>
                    </a:lnTo>
                    <a:lnTo>
                      <a:pt x="579" y="414"/>
                    </a:lnTo>
                    <a:lnTo>
                      <a:pt x="579" y="414"/>
                    </a:lnTo>
                    <a:lnTo>
                      <a:pt x="580" y="413"/>
                    </a:lnTo>
                    <a:lnTo>
                      <a:pt x="582" y="413"/>
                    </a:lnTo>
                    <a:lnTo>
                      <a:pt x="585" y="416"/>
                    </a:lnTo>
                    <a:lnTo>
                      <a:pt x="588" y="417"/>
                    </a:lnTo>
                    <a:lnTo>
                      <a:pt x="588" y="417"/>
                    </a:lnTo>
                    <a:lnTo>
                      <a:pt x="589" y="418"/>
                    </a:lnTo>
                    <a:lnTo>
                      <a:pt x="590" y="417"/>
                    </a:lnTo>
                    <a:lnTo>
                      <a:pt x="592" y="414"/>
                    </a:lnTo>
                    <a:lnTo>
                      <a:pt x="595" y="414"/>
                    </a:lnTo>
                    <a:lnTo>
                      <a:pt x="595" y="414"/>
                    </a:lnTo>
                    <a:lnTo>
                      <a:pt x="597" y="416"/>
                    </a:lnTo>
                    <a:lnTo>
                      <a:pt x="597" y="418"/>
                    </a:lnTo>
                    <a:lnTo>
                      <a:pt x="596" y="426"/>
                    </a:lnTo>
                    <a:lnTo>
                      <a:pt x="596" y="426"/>
                    </a:lnTo>
                    <a:lnTo>
                      <a:pt x="596" y="426"/>
                    </a:lnTo>
                    <a:lnTo>
                      <a:pt x="597" y="427"/>
                    </a:lnTo>
                    <a:lnTo>
                      <a:pt x="600" y="426"/>
                    </a:lnTo>
                    <a:lnTo>
                      <a:pt x="602" y="424"/>
                    </a:lnTo>
                    <a:lnTo>
                      <a:pt x="603" y="426"/>
                    </a:lnTo>
                    <a:lnTo>
                      <a:pt x="603" y="426"/>
                    </a:lnTo>
                    <a:lnTo>
                      <a:pt x="603" y="426"/>
                    </a:lnTo>
                    <a:lnTo>
                      <a:pt x="603" y="428"/>
                    </a:lnTo>
                    <a:lnTo>
                      <a:pt x="603" y="428"/>
                    </a:lnTo>
                    <a:lnTo>
                      <a:pt x="615" y="420"/>
                    </a:lnTo>
                    <a:lnTo>
                      <a:pt x="615" y="420"/>
                    </a:lnTo>
                    <a:lnTo>
                      <a:pt x="616" y="418"/>
                    </a:lnTo>
                    <a:lnTo>
                      <a:pt x="616" y="417"/>
                    </a:lnTo>
                    <a:lnTo>
                      <a:pt x="615" y="413"/>
                    </a:lnTo>
                    <a:lnTo>
                      <a:pt x="612" y="410"/>
                    </a:lnTo>
                    <a:lnTo>
                      <a:pt x="610" y="407"/>
                    </a:lnTo>
                    <a:lnTo>
                      <a:pt x="610" y="406"/>
                    </a:lnTo>
                    <a:lnTo>
                      <a:pt x="610" y="406"/>
                    </a:lnTo>
                    <a:close/>
                    <a:moveTo>
                      <a:pt x="10" y="455"/>
                    </a:moveTo>
                    <a:lnTo>
                      <a:pt x="10" y="455"/>
                    </a:lnTo>
                    <a:lnTo>
                      <a:pt x="16" y="453"/>
                    </a:lnTo>
                    <a:lnTo>
                      <a:pt x="20" y="450"/>
                    </a:lnTo>
                    <a:lnTo>
                      <a:pt x="20" y="447"/>
                    </a:lnTo>
                    <a:lnTo>
                      <a:pt x="18" y="444"/>
                    </a:lnTo>
                    <a:lnTo>
                      <a:pt x="18" y="444"/>
                    </a:lnTo>
                    <a:lnTo>
                      <a:pt x="17" y="444"/>
                    </a:lnTo>
                    <a:lnTo>
                      <a:pt x="16" y="444"/>
                    </a:lnTo>
                    <a:lnTo>
                      <a:pt x="11" y="450"/>
                    </a:lnTo>
                    <a:lnTo>
                      <a:pt x="9" y="454"/>
                    </a:lnTo>
                    <a:lnTo>
                      <a:pt x="9" y="455"/>
                    </a:lnTo>
                    <a:lnTo>
                      <a:pt x="10" y="455"/>
                    </a:lnTo>
                    <a:lnTo>
                      <a:pt x="10" y="455"/>
                    </a:lnTo>
                    <a:close/>
                    <a:moveTo>
                      <a:pt x="71" y="424"/>
                    </a:moveTo>
                    <a:lnTo>
                      <a:pt x="71" y="424"/>
                    </a:lnTo>
                    <a:lnTo>
                      <a:pt x="67" y="424"/>
                    </a:lnTo>
                    <a:lnTo>
                      <a:pt x="63" y="424"/>
                    </a:lnTo>
                    <a:lnTo>
                      <a:pt x="54" y="428"/>
                    </a:lnTo>
                    <a:lnTo>
                      <a:pt x="48" y="433"/>
                    </a:lnTo>
                    <a:lnTo>
                      <a:pt x="48" y="434"/>
                    </a:lnTo>
                    <a:lnTo>
                      <a:pt x="50" y="434"/>
                    </a:lnTo>
                    <a:lnTo>
                      <a:pt x="50" y="434"/>
                    </a:lnTo>
                    <a:lnTo>
                      <a:pt x="53" y="434"/>
                    </a:lnTo>
                    <a:lnTo>
                      <a:pt x="55" y="433"/>
                    </a:lnTo>
                    <a:lnTo>
                      <a:pt x="58" y="431"/>
                    </a:lnTo>
                    <a:lnTo>
                      <a:pt x="63" y="430"/>
                    </a:lnTo>
                    <a:lnTo>
                      <a:pt x="63" y="430"/>
                    </a:lnTo>
                    <a:lnTo>
                      <a:pt x="67" y="430"/>
                    </a:lnTo>
                    <a:lnTo>
                      <a:pt x="71" y="428"/>
                    </a:lnTo>
                    <a:lnTo>
                      <a:pt x="74" y="426"/>
                    </a:lnTo>
                    <a:lnTo>
                      <a:pt x="73" y="426"/>
                    </a:lnTo>
                    <a:lnTo>
                      <a:pt x="71" y="424"/>
                    </a:lnTo>
                    <a:lnTo>
                      <a:pt x="71" y="424"/>
                    </a:lnTo>
                    <a:close/>
                    <a:moveTo>
                      <a:pt x="252" y="340"/>
                    </a:moveTo>
                    <a:lnTo>
                      <a:pt x="252" y="340"/>
                    </a:lnTo>
                    <a:lnTo>
                      <a:pt x="250" y="339"/>
                    </a:lnTo>
                    <a:lnTo>
                      <a:pt x="248" y="339"/>
                    </a:lnTo>
                    <a:lnTo>
                      <a:pt x="243" y="340"/>
                    </a:lnTo>
                    <a:lnTo>
                      <a:pt x="239" y="344"/>
                    </a:lnTo>
                    <a:lnTo>
                      <a:pt x="239" y="344"/>
                    </a:lnTo>
                    <a:lnTo>
                      <a:pt x="229" y="354"/>
                    </a:lnTo>
                    <a:lnTo>
                      <a:pt x="226" y="359"/>
                    </a:lnTo>
                    <a:lnTo>
                      <a:pt x="225" y="362"/>
                    </a:lnTo>
                    <a:lnTo>
                      <a:pt x="225" y="362"/>
                    </a:lnTo>
                    <a:lnTo>
                      <a:pt x="223" y="363"/>
                    </a:lnTo>
                    <a:lnTo>
                      <a:pt x="222" y="363"/>
                    </a:lnTo>
                    <a:lnTo>
                      <a:pt x="219" y="363"/>
                    </a:lnTo>
                    <a:lnTo>
                      <a:pt x="216" y="363"/>
                    </a:lnTo>
                    <a:lnTo>
                      <a:pt x="213" y="364"/>
                    </a:lnTo>
                    <a:lnTo>
                      <a:pt x="213" y="366"/>
                    </a:lnTo>
                    <a:lnTo>
                      <a:pt x="213" y="366"/>
                    </a:lnTo>
                    <a:lnTo>
                      <a:pt x="212" y="370"/>
                    </a:lnTo>
                    <a:lnTo>
                      <a:pt x="213" y="376"/>
                    </a:lnTo>
                    <a:lnTo>
                      <a:pt x="216" y="379"/>
                    </a:lnTo>
                    <a:lnTo>
                      <a:pt x="218" y="379"/>
                    </a:lnTo>
                    <a:lnTo>
                      <a:pt x="219" y="379"/>
                    </a:lnTo>
                    <a:lnTo>
                      <a:pt x="219" y="379"/>
                    </a:lnTo>
                    <a:lnTo>
                      <a:pt x="222" y="377"/>
                    </a:lnTo>
                    <a:lnTo>
                      <a:pt x="225" y="377"/>
                    </a:lnTo>
                    <a:lnTo>
                      <a:pt x="228" y="379"/>
                    </a:lnTo>
                    <a:lnTo>
                      <a:pt x="228" y="379"/>
                    </a:lnTo>
                    <a:lnTo>
                      <a:pt x="232" y="377"/>
                    </a:lnTo>
                    <a:lnTo>
                      <a:pt x="239" y="373"/>
                    </a:lnTo>
                    <a:lnTo>
                      <a:pt x="245" y="367"/>
                    </a:lnTo>
                    <a:lnTo>
                      <a:pt x="249" y="363"/>
                    </a:lnTo>
                    <a:lnTo>
                      <a:pt x="249" y="363"/>
                    </a:lnTo>
                    <a:lnTo>
                      <a:pt x="250" y="362"/>
                    </a:lnTo>
                    <a:lnTo>
                      <a:pt x="249" y="360"/>
                    </a:lnTo>
                    <a:lnTo>
                      <a:pt x="248" y="357"/>
                    </a:lnTo>
                    <a:lnTo>
                      <a:pt x="245" y="356"/>
                    </a:lnTo>
                    <a:lnTo>
                      <a:pt x="243" y="353"/>
                    </a:lnTo>
                    <a:lnTo>
                      <a:pt x="243" y="353"/>
                    </a:lnTo>
                    <a:lnTo>
                      <a:pt x="245" y="352"/>
                    </a:lnTo>
                    <a:lnTo>
                      <a:pt x="248" y="350"/>
                    </a:lnTo>
                    <a:lnTo>
                      <a:pt x="255" y="349"/>
                    </a:lnTo>
                    <a:lnTo>
                      <a:pt x="255" y="349"/>
                    </a:lnTo>
                    <a:lnTo>
                      <a:pt x="256" y="347"/>
                    </a:lnTo>
                    <a:lnTo>
                      <a:pt x="255" y="344"/>
                    </a:lnTo>
                    <a:lnTo>
                      <a:pt x="252" y="343"/>
                    </a:lnTo>
                    <a:lnTo>
                      <a:pt x="252" y="340"/>
                    </a:lnTo>
                    <a:lnTo>
                      <a:pt x="252" y="340"/>
                    </a:lnTo>
                    <a:close/>
                    <a:moveTo>
                      <a:pt x="24" y="299"/>
                    </a:moveTo>
                    <a:lnTo>
                      <a:pt x="24" y="299"/>
                    </a:lnTo>
                    <a:lnTo>
                      <a:pt x="24" y="298"/>
                    </a:lnTo>
                    <a:lnTo>
                      <a:pt x="21" y="296"/>
                    </a:lnTo>
                    <a:lnTo>
                      <a:pt x="17" y="298"/>
                    </a:lnTo>
                    <a:lnTo>
                      <a:pt x="11" y="299"/>
                    </a:lnTo>
                    <a:lnTo>
                      <a:pt x="10" y="302"/>
                    </a:lnTo>
                    <a:lnTo>
                      <a:pt x="10" y="303"/>
                    </a:lnTo>
                    <a:lnTo>
                      <a:pt x="10" y="303"/>
                    </a:lnTo>
                    <a:lnTo>
                      <a:pt x="11" y="306"/>
                    </a:lnTo>
                    <a:lnTo>
                      <a:pt x="14" y="307"/>
                    </a:lnTo>
                    <a:lnTo>
                      <a:pt x="20" y="309"/>
                    </a:lnTo>
                    <a:lnTo>
                      <a:pt x="27" y="310"/>
                    </a:lnTo>
                    <a:lnTo>
                      <a:pt x="33" y="310"/>
                    </a:lnTo>
                    <a:lnTo>
                      <a:pt x="33" y="310"/>
                    </a:lnTo>
                    <a:lnTo>
                      <a:pt x="36" y="309"/>
                    </a:lnTo>
                    <a:lnTo>
                      <a:pt x="38" y="306"/>
                    </a:lnTo>
                    <a:lnTo>
                      <a:pt x="38" y="302"/>
                    </a:lnTo>
                    <a:lnTo>
                      <a:pt x="36" y="299"/>
                    </a:lnTo>
                    <a:lnTo>
                      <a:pt x="36" y="299"/>
                    </a:lnTo>
                    <a:lnTo>
                      <a:pt x="34" y="299"/>
                    </a:lnTo>
                    <a:lnTo>
                      <a:pt x="33" y="299"/>
                    </a:lnTo>
                    <a:lnTo>
                      <a:pt x="30" y="299"/>
                    </a:lnTo>
                    <a:lnTo>
                      <a:pt x="26" y="300"/>
                    </a:lnTo>
                    <a:lnTo>
                      <a:pt x="26" y="300"/>
                    </a:lnTo>
                    <a:lnTo>
                      <a:pt x="24" y="299"/>
                    </a:lnTo>
                    <a:lnTo>
                      <a:pt x="24" y="299"/>
                    </a:lnTo>
                    <a:close/>
                    <a:moveTo>
                      <a:pt x="198" y="1084"/>
                    </a:moveTo>
                    <a:lnTo>
                      <a:pt x="198" y="1084"/>
                    </a:lnTo>
                    <a:lnTo>
                      <a:pt x="195" y="1086"/>
                    </a:lnTo>
                    <a:lnTo>
                      <a:pt x="193" y="1087"/>
                    </a:lnTo>
                    <a:lnTo>
                      <a:pt x="193" y="1091"/>
                    </a:lnTo>
                    <a:lnTo>
                      <a:pt x="193" y="1096"/>
                    </a:lnTo>
                    <a:lnTo>
                      <a:pt x="195" y="1101"/>
                    </a:lnTo>
                    <a:lnTo>
                      <a:pt x="196" y="1104"/>
                    </a:lnTo>
                    <a:lnTo>
                      <a:pt x="199" y="1103"/>
                    </a:lnTo>
                    <a:lnTo>
                      <a:pt x="199" y="1103"/>
                    </a:lnTo>
                    <a:lnTo>
                      <a:pt x="205" y="1100"/>
                    </a:lnTo>
                    <a:lnTo>
                      <a:pt x="208" y="1098"/>
                    </a:lnTo>
                    <a:lnTo>
                      <a:pt x="211" y="1097"/>
                    </a:lnTo>
                    <a:lnTo>
                      <a:pt x="211" y="1097"/>
                    </a:lnTo>
                    <a:lnTo>
                      <a:pt x="211" y="1093"/>
                    </a:lnTo>
                    <a:lnTo>
                      <a:pt x="208" y="1088"/>
                    </a:lnTo>
                    <a:lnTo>
                      <a:pt x="203" y="1084"/>
                    </a:lnTo>
                    <a:lnTo>
                      <a:pt x="201" y="1084"/>
                    </a:lnTo>
                    <a:lnTo>
                      <a:pt x="198" y="1084"/>
                    </a:lnTo>
                    <a:lnTo>
                      <a:pt x="198" y="1084"/>
                    </a:lnTo>
                    <a:close/>
                    <a:moveTo>
                      <a:pt x="186" y="1070"/>
                    </a:moveTo>
                    <a:lnTo>
                      <a:pt x="186" y="1070"/>
                    </a:lnTo>
                    <a:lnTo>
                      <a:pt x="185" y="1071"/>
                    </a:lnTo>
                    <a:lnTo>
                      <a:pt x="184" y="1071"/>
                    </a:lnTo>
                    <a:lnTo>
                      <a:pt x="184" y="1076"/>
                    </a:lnTo>
                    <a:lnTo>
                      <a:pt x="185" y="1079"/>
                    </a:lnTo>
                    <a:lnTo>
                      <a:pt x="186" y="1079"/>
                    </a:lnTo>
                    <a:lnTo>
                      <a:pt x="188" y="1079"/>
                    </a:lnTo>
                    <a:lnTo>
                      <a:pt x="188" y="1079"/>
                    </a:lnTo>
                    <a:lnTo>
                      <a:pt x="191" y="1074"/>
                    </a:lnTo>
                    <a:lnTo>
                      <a:pt x="191" y="1073"/>
                    </a:lnTo>
                    <a:lnTo>
                      <a:pt x="189" y="1070"/>
                    </a:lnTo>
                    <a:lnTo>
                      <a:pt x="186" y="1070"/>
                    </a:lnTo>
                    <a:lnTo>
                      <a:pt x="186" y="1070"/>
                    </a:lnTo>
                    <a:close/>
                    <a:moveTo>
                      <a:pt x="131" y="1051"/>
                    </a:moveTo>
                    <a:lnTo>
                      <a:pt x="131" y="1051"/>
                    </a:lnTo>
                    <a:lnTo>
                      <a:pt x="134" y="1054"/>
                    </a:lnTo>
                    <a:lnTo>
                      <a:pt x="137" y="1056"/>
                    </a:lnTo>
                    <a:lnTo>
                      <a:pt x="139" y="1054"/>
                    </a:lnTo>
                    <a:lnTo>
                      <a:pt x="141" y="1051"/>
                    </a:lnTo>
                    <a:lnTo>
                      <a:pt x="141" y="1051"/>
                    </a:lnTo>
                    <a:lnTo>
                      <a:pt x="139" y="1050"/>
                    </a:lnTo>
                    <a:lnTo>
                      <a:pt x="138" y="1049"/>
                    </a:lnTo>
                    <a:lnTo>
                      <a:pt x="134" y="1049"/>
                    </a:lnTo>
                    <a:lnTo>
                      <a:pt x="131" y="1049"/>
                    </a:lnTo>
                    <a:lnTo>
                      <a:pt x="129" y="1050"/>
                    </a:lnTo>
                    <a:lnTo>
                      <a:pt x="131" y="1051"/>
                    </a:lnTo>
                    <a:lnTo>
                      <a:pt x="131" y="1051"/>
                    </a:lnTo>
                    <a:close/>
                    <a:moveTo>
                      <a:pt x="156" y="1063"/>
                    </a:moveTo>
                    <a:lnTo>
                      <a:pt x="156" y="1063"/>
                    </a:lnTo>
                    <a:lnTo>
                      <a:pt x="158" y="1066"/>
                    </a:lnTo>
                    <a:lnTo>
                      <a:pt x="161" y="1067"/>
                    </a:lnTo>
                    <a:lnTo>
                      <a:pt x="164" y="1067"/>
                    </a:lnTo>
                    <a:lnTo>
                      <a:pt x="166" y="1064"/>
                    </a:lnTo>
                    <a:lnTo>
                      <a:pt x="166" y="1064"/>
                    </a:lnTo>
                    <a:lnTo>
                      <a:pt x="166" y="1063"/>
                    </a:lnTo>
                    <a:lnTo>
                      <a:pt x="165" y="1061"/>
                    </a:lnTo>
                    <a:lnTo>
                      <a:pt x="161" y="1060"/>
                    </a:lnTo>
                    <a:lnTo>
                      <a:pt x="156" y="1060"/>
                    </a:lnTo>
                    <a:lnTo>
                      <a:pt x="155" y="1061"/>
                    </a:lnTo>
                    <a:lnTo>
                      <a:pt x="156" y="1063"/>
                    </a:lnTo>
                    <a:lnTo>
                      <a:pt x="156" y="1063"/>
                    </a:lnTo>
                    <a:close/>
                    <a:moveTo>
                      <a:pt x="1616" y="586"/>
                    </a:moveTo>
                    <a:lnTo>
                      <a:pt x="1616" y="586"/>
                    </a:lnTo>
                    <a:lnTo>
                      <a:pt x="1615" y="585"/>
                    </a:lnTo>
                    <a:lnTo>
                      <a:pt x="1613" y="585"/>
                    </a:lnTo>
                    <a:lnTo>
                      <a:pt x="1608" y="583"/>
                    </a:lnTo>
                    <a:lnTo>
                      <a:pt x="1600" y="583"/>
                    </a:lnTo>
                    <a:lnTo>
                      <a:pt x="1596" y="582"/>
                    </a:lnTo>
                    <a:lnTo>
                      <a:pt x="1595" y="581"/>
                    </a:lnTo>
                    <a:lnTo>
                      <a:pt x="1595" y="581"/>
                    </a:lnTo>
                    <a:lnTo>
                      <a:pt x="1592" y="579"/>
                    </a:lnTo>
                    <a:lnTo>
                      <a:pt x="1589" y="582"/>
                    </a:lnTo>
                    <a:lnTo>
                      <a:pt x="1582" y="589"/>
                    </a:lnTo>
                    <a:lnTo>
                      <a:pt x="1576" y="599"/>
                    </a:lnTo>
                    <a:lnTo>
                      <a:pt x="1573" y="609"/>
                    </a:lnTo>
                    <a:lnTo>
                      <a:pt x="1573" y="609"/>
                    </a:lnTo>
                    <a:lnTo>
                      <a:pt x="1572" y="613"/>
                    </a:lnTo>
                    <a:lnTo>
                      <a:pt x="1569" y="616"/>
                    </a:lnTo>
                    <a:lnTo>
                      <a:pt x="1563" y="623"/>
                    </a:lnTo>
                    <a:lnTo>
                      <a:pt x="1553" y="630"/>
                    </a:lnTo>
                    <a:lnTo>
                      <a:pt x="1553" y="630"/>
                    </a:lnTo>
                    <a:lnTo>
                      <a:pt x="1499" y="630"/>
                    </a:lnTo>
                    <a:lnTo>
                      <a:pt x="1499" y="630"/>
                    </a:lnTo>
                    <a:lnTo>
                      <a:pt x="1495" y="632"/>
                    </a:lnTo>
                    <a:lnTo>
                      <a:pt x="1489" y="636"/>
                    </a:lnTo>
                    <a:lnTo>
                      <a:pt x="1477" y="646"/>
                    </a:lnTo>
                    <a:lnTo>
                      <a:pt x="1477" y="646"/>
                    </a:lnTo>
                    <a:lnTo>
                      <a:pt x="1478" y="647"/>
                    </a:lnTo>
                    <a:lnTo>
                      <a:pt x="1478" y="647"/>
                    </a:lnTo>
                    <a:lnTo>
                      <a:pt x="1478" y="650"/>
                    </a:lnTo>
                    <a:lnTo>
                      <a:pt x="1478" y="653"/>
                    </a:lnTo>
                    <a:lnTo>
                      <a:pt x="1475" y="656"/>
                    </a:lnTo>
                    <a:lnTo>
                      <a:pt x="1471" y="659"/>
                    </a:lnTo>
                    <a:lnTo>
                      <a:pt x="1460" y="662"/>
                    </a:lnTo>
                    <a:lnTo>
                      <a:pt x="1447" y="663"/>
                    </a:lnTo>
                    <a:lnTo>
                      <a:pt x="1447" y="663"/>
                    </a:lnTo>
                    <a:lnTo>
                      <a:pt x="1434" y="665"/>
                    </a:lnTo>
                    <a:lnTo>
                      <a:pt x="1434" y="665"/>
                    </a:lnTo>
                    <a:lnTo>
                      <a:pt x="1435" y="670"/>
                    </a:lnTo>
                    <a:lnTo>
                      <a:pt x="1435" y="670"/>
                    </a:lnTo>
                    <a:lnTo>
                      <a:pt x="1434" y="673"/>
                    </a:lnTo>
                    <a:lnTo>
                      <a:pt x="1430" y="674"/>
                    </a:lnTo>
                    <a:lnTo>
                      <a:pt x="1430" y="674"/>
                    </a:lnTo>
                    <a:lnTo>
                      <a:pt x="1425" y="680"/>
                    </a:lnTo>
                    <a:lnTo>
                      <a:pt x="1415" y="686"/>
                    </a:lnTo>
                    <a:lnTo>
                      <a:pt x="1393" y="697"/>
                    </a:lnTo>
                    <a:lnTo>
                      <a:pt x="1393" y="697"/>
                    </a:lnTo>
                    <a:lnTo>
                      <a:pt x="1388" y="699"/>
                    </a:lnTo>
                    <a:lnTo>
                      <a:pt x="1383" y="700"/>
                    </a:lnTo>
                    <a:lnTo>
                      <a:pt x="1377" y="702"/>
                    </a:lnTo>
                    <a:lnTo>
                      <a:pt x="1373" y="700"/>
                    </a:lnTo>
                    <a:lnTo>
                      <a:pt x="1367" y="699"/>
                    </a:lnTo>
                    <a:lnTo>
                      <a:pt x="1364" y="697"/>
                    </a:lnTo>
                    <a:lnTo>
                      <a:pt x="1361" y="693"/>
                    </a:lnTo>
                    <a:lnTo>
                      <a:pt x="1361" y="690"/>
                    </a:lnTo>
                    <a:lnTo>
                      <a:pt x="1361" y="690"/>
                    </a:lnTo>
                    <a:lnTo>
                      <a:pt x="1361" y="687"/>
                    </a:lnTo>
                    <a:lnTo>
                      <a:pt x="1363" y="684"/>
                    </a:lnTo>
                    <a:lnTo>
                      <a:pt x="1364" y="683"/>
                    </a:lnTo>
                    <a:lnTo>
                      <a:pt x="1367" y="683"/>
                    </a:lnTo>
                    <a:lnTo>
                      <a:pt x="1370" y="683"/>
                    </a:lnTo>
                    <a:lnTo>
                      <a:pt x="1373" y="686"/>
                    </a:lnTo>
                    <a:lnTo>
                      <a:pt x="1373" y="686"/>
                    </a:lnTo>
                    <a:lnTo>
                      <a:pt x="1374" y="687"/>
                    </a:lnTo>
                    <a:lnTo>
                      <a:pt x="1376" y="687"/>
                    </a:lnTo>
                    <a:lnTo>
                      <a:pt x="1380" y="684"/>
                    </a:lnTo>
                    <a:lnTo>
                      <a:pt x="1380" y="684"/>
                    </a:lnTo>
                    <a:lnTo>
                      <a:pt x="1378" y="682"/>
                    </a:lnTo>
                    <a:lnTo>
                      <a:pt x="1377" y="679"/>
                    </a:lnTo>
                    <a:lnTo>
                      <a:pt x="1377" y="672"/>
                    </a:lnTo>
                    <a:lnTo>
                      <a:pt x="1377" y="672"/>
                    </a:lnTo>
                    <a:lnTo>
                      <a:pt x="1376" y="670"/>
                    </a:lnTo>
                    <a:lnTo>
                      <a:pt x="1376" y="669"/>
                    </a:lnTo>
                    <a:lnTo>
                      <a:pt x="1376" y="662"/>
                    </a:lnTo>
                    <a:lnTo>
                      <a:pt x="1376" y="656"/>
                    </a:lnTo>
                    <a:lnTo>
                      <a:pt x="1374" y="653"/>
                    </a:lnTo>
                    <a:lnTo>
                      <a:pt x="1371" y="652"/>
                    </a:lnTo>
                    <a:lnTo>
                      <a:pt x="1371" y="652"/>
                    </a:lnTo>
                    <a:lnTo>
                      <a:pt x="1369" y="652"/>
                    </a:lnTo>
                    <a:lnTo>
                      <a:pt x="1364" y="652"/>
                    </a:lnTo>
                    <a:lnTo>
                      <a:pt x="1359" y="656"/>
                    </a:lnTo>
                    <a:lnTo>
                      <a:pt x="1354" y="657"/>
                    </a:lnTo>
                    <a:lnTo>
                      <a:pt x="1354" y="657"/>
                    </a:lnTo>
                    <a:lnTo>
                      <a:pt x="1354" y="655"/>
                    </a:lnTo>
                    <a:lnTo>
                      <a:pt x="1354" y="655"/>
                    </a:lnTo>
                    <a:lnTo>
                      <a:pt x="1357" y="647"/>
                    </a:lnTo>
                    <a:lnTo>
                      <a:pt x="1361" y="640"/>
                    </a:lnTo>
                    <a:lnTo>
                      <a:pt x="1363" y="638"/>
                    </a:lnTo>
                    <a:lnTo>
                      <a:pt x="1363" y="633"/>
                    </a:lnTo>
                    <a:lnTo>
                      <a:pt x="1363" y="629"/>
                    </a:lnTo>
                    <a:lnTo>
                      <a:pt x="1360" y="625"/>
                    </a:lnTo>
                    <a:lnTo>
                      <a:pt x="1360" y="625"/>
                    </a:lnTo>
                    <a:lnTo>
                      <a:pt x="1357" y="622"/>
                    </a:lnTo>
                    <a:lnTo>
                      <a:pt x="1354" y="619"/>
                    </a:lnTo>
                    <a:lnTo>
                      <a:pt x="1350" y="616"/>
                    </a:lnTo>
                    <a:lnTo>
                      <a:pt x="1346" y="616"/>
                    </a:lnTo>
                    <a:lnTo>
                      <a:pt x="1343" y="616"/>
                    </a:lnTo>
                    <a:lnTo>
                      <a:pt x="1340" y="618"/>
                    </a:lnTo>
                    <a:lnTo>
                      <a:pt x="1337" y="619"/>
                    </a:lnTo>
                    <a:lnTo>
                      <a:pt x="1336" y="622"/>
                    </a:lnTo>
                    <a:lnTo>
                      <a:pt x="1336" y="622"/>
                    </a:lnTo>
                    <a:lnTo>
                      <a:pt x="1334" y="625"/>
                    </a:lnTo>
                    <a:lnTo>
                      <a:pt x="1333" y="628"/>
                    </a:lnTo>
                    <a:lnTo>
                      <a:pt x="1327" y="629"/>
                    </a:lnTo>
                    <a:lnTo>
                      <a:pt x="1323" y="630"/>
                    </a:lnTo>
                    <a:lnTo>
                      <a:pt x="1320" y="632"/>
                    </a:lnTo>
                    <a:lnTo>
                      <a:pt x="1319" y="635"/>
                    </a:lnTo>
                    <a:lnTo>
                      <a:pt x="1319" y="635"/>
                    </a:lnTo>
                    <a:lnTo>
                      <a:pt x="1317" y="642"/>
                    </a:lnTo>
                    <a:lnTo>
                      <a:pt x="1314" y="650"/>
                    </a:lnTo>
                    <a:lnTo>
                      <a:pt x="1314" y="659"/>
                    </a:lnTo>
                    <a:lnTo>
                      <a:pt x="1314" y="669"/>
                    </a:lnTo>
                    <a:lnTo>
                      <a:pt x="1314" y="669"/>
                    </a:lnTo>
                    <a:lnTo>
                      <a:pt x="1316" y="676"/>
                    </a:lnTo>
                    <a:lnTo>
                      <a:pt x="1314" y="682"/>
                    </a:lnTo>
                    <a:lnTo>
                      <a:pt x="1310" y="687"/>
                    </a:lnTo>
                    <a:lnTo>
                      <a:pt x="1303" y="692"/>
                    </a:lnTo>
                    <a:lnTo>
                      <a:pt x="1303" y="692"/>
                    </a:lnTo>
                    <a:lnTo>
                      <a:pt x="1300" y="693"/>
                    </a:lnTo>
                    <a:lnTo>
                      <a:pt x="1296" y="693"/>
                    </a:lnTo>
                    <a:lnTo>
                      <a:pt x="1295" y="690"/>
                    </a:lnTo>
                    <a:lnTo>
                      <a:pt x="1292" y="687"/>
                    </a:lnTo>
                    <a:lnTo>
                      <a:pt x="1290" y="682"/>
                    </a:lnTo>
                    <a:lnTo>
                      <a:pt x="1290" y="676"/>
                    </a:lnTo>
                    <a:lnTo>
                      <a:pt x="1292" y="662"/>
                    </a:lnTo>
                    <a:lnTo>
                      <a:pt x="1292" y="662"/>
                    </a:lnTo>
                    <a:lnTo>
                      <a:pt x="1295" y="652"/>
                    </a:lnTo>
                    <a:lnTo>
                      <a:pt x="1297" y="642"/>
                    </a:lnTo>
                    <a:lnTo>
                      <a:pt x="1297" y="636"/>
                    </a:lnTo>
                    <a:lnTo>
                      <a:pt x="1297" y="635"/>
                    </a:lnTo>
                    <a:lnTo>
                      <a:pt x="1295" y="633"/>
                    </a:lnTo>
                    <a:lnTo>
                      <a:pt x="1295" y="633"/>
                    </a:lnTo>
                    <a:lnTo>
                      <a:pt x="1293" y="633"/>
                    </a:lnTo>
                    <a:lnTo>
                      <a:pt x="1293" y="632"/>
                    </a:lnTo>
                    <a:lnTo>
                      <a:pt x="1299" y="625"/>
                    </a:lnTo>
                    <a:lnTo>
                      <a:pt x="1309" y="618"/>
                    </a:lnTo>
                    <a:lnTo>
                      <a:pt x="1313" y="615"/>
                    </a:lnTo>
                    <a:lnTo>
                      <a:pt x="1319" y="613"/>
                    </a:lnTo>
                    <a:lnTo>
                      <a:pt x="1319" y="613"/>
                    </a:lnTo>
                    <a:lnTo>
                      <a:pt x="1330" y="612"/>
                    </a:lnTo>
                    <a:lnTo>
                      <a:pt x="1341" y="610"/>
                    </a:lnTo>
                    <a:lnTo>
                      <a:pt x="1350" y="609"/>
                    </a:lnTo>
                    <a:lnTo>
                      <a:pt x="1351" y="608"/>
                    </a:lnTo>
                    <a:lnTo>
                      <a:pt x="1353" y="606"/>
                    </a:lnTo>
                    <a:lnTo>
                      <a:pt x="1353" y="606"/>
                    </a:lnTo>
                    <a:lnTo>
                      <a:pt x="1353" y="606"/>
                    </a:lnTo>
                    <a:lnTo>
                      <a:pt x="1354" y="605"/>
                    </a:lnTo>
                    <a:lnTo>
                      <a:pt x="1354" y="605"/>
                    </a:lnTo>
                    <a:lnTo>
                      <a:pt x="1346" y="599"/>
                    </a:lnTo>
                    <a:lnTo>
                      <a:pt x="1346" y="599"/>
                    </a:lnTo>
                    <a:lnTo>
                      <a:pt x="1343" y="601"/>
                    </a:lnTo>
                    <a:lnTo>
                      <a:pt x="1343" y="601"/>
                    </a:lnTo>
                    <a:lnTo>
                      <a:pt x="1341" y="602"/>
                    </a:lnTo>
                    <a:lnTo>
                      <a:pt x="1340" y="602"/>
                    </a:lnTo>
                    <a:lnTo>
                      <a:pt x="1337" y="599"/>
                    </a:lnTo>
                    <a:lnTo>
                      <a:pt x="1334" y="596"/>
                    </a:lnTo>
                    <a:lnTo>
                      <a:pt x="1332" y="595"/>
                    </a:lnTo>
                    <a:lnTo>
                      <a:pt x="1329" y="595"/>
                    </a:lnTo>
                    <a:lnTo>
                      <a:pt x="1329" y="595"/>
                    </a:lnTo>
                    <a:lnTo>
                      <a:pt x="1320" y="596"/>
                    </a:lnTo>
                    <a:lnTo>
                      <a:pt x="1313" y="599"/>
                    </a:lnTo>
                    <a:lnTo>
                      <a:pt x="1306" y="602"/>
                    </a:lnTo>
                    <a:lnTo>
                      <a:pt x="1302" y="602"/>
                    </a:lnTo>
                    <a:lnTo>
                      <a:pt x="1299" y="601"/>
                    </a:lnTo>
                    <a:lnTo>
                      <a:pt x="1299" y="601"/>
                    </a:lnTo>
                    <a:lnTo>
                      <a:pt x="1295" y="598"/>
                    </a:lnTo>
                    <a:lnTo>
                      <a:pt x="1292" y="593"/>
                    </a:lnTo>
                    <a:lnTo>
                      <a:pt x="1290" y="592"/>
                    </a:lnTo>
                    <a:lnTo>
                      <a:pt x="1286" y="591"/>
                    </a:lnTo>
                    <a:lnTo>
                      <a:pt x="1286" y="591"/>
                    </a:lnTo>
                    <a:lnTo>
                      <a:pt x="1285" y="589"/>
                    </a:lnTo>
                    <a:lnTo>
                      <a:pt x="1285" y="588"/>
                    </a:lnTo>
                    <a:lnTo>
                      <a:pt x="1285" y="583"/>
                    </a:lnTo>
                    <a:lnTo>
                      <a:pt x="1286" y="581"/>
                    </a:lnTo>
                    <a:lnTo>
                      <a:pt x="1285" y="581"/>
                    </a:lnTo>
                    <a:lnTo>
                      <a:pt x="1280" y="582"/>
                    </a:lnTo>
                    <a:lnTo>
                      <a:pt x="1280" y="582"/>
                    </a:lnTo>
                    <a:lnTo>
                      <a:pt x="1262" y="595"/>
                    </a:lnTo>
                    <a:lnTo>
                      <a:pt x="1256" y="596"/>
                    </a:lnTo>
                    <a:lnTo>
                      <a:pt x="1252" y="599"/>
                    </a:lnTo>
                    <a:lnTo>
                      <a:pt x="1248" y="599"/>
                    </a:lnTo>
                    <a:lnTo>
                      <a:pt x="1245" y="596"/>
                    </a:lnTo>
                    <a:lnTo>
                      <a:pt x="1245" y="596"/>
                    </a:lnTo>
                    <a:lnTo>
                      <a:pt x="1242" y="595"/>
                    </a:lnTo>
                    <a:lnTo>
                      <a:pt x="1239" y="593"/>
                    </a:lnTo>
                    <a:lnTo>
                      <a:pt x="1233" y="595"/>
                    </a:lnTo>
                    <a:lnTo>
                      <a:pt x="1229" y="595"/>
                    </a:lnTo>
                    <a:lnTo>
                      <a:pt x="1226" y="595"/>
                    </a:lnTo>
                    <a:lnTo>
                      <a:pt x="1223" y="593"/>
                    </a:lnTo>
                    <a:lnTo>
                      <a:pt x="1223" y="593"/>
                    </a:lnTo>
                    <a:lnTo>
                      <a:pt x="1223" y="591"/>
                    </a:lnTo>
                    <a:lnTo>
                      <a:pt x="1225" y="588"/>
                    </a:lnTo>
                    <a:lnTo>
                      <a:pt x="1228" y="583"/>
                    </a:lnTo>
                    <a:lnTo>
                      <a:pt x="1233" y="581"/>
                    </a:lnTo>
                    <a:lnTo>
                      <a:pt x="1245" y="575"/>
                    </a:lnTo>
                    <a:lnTo>
                      <a:pt x="1250" y="573"/>
                    </a:lnTo>
                    <a:lnTo>
                      <a:pt x="1256" y="572"/>
                    </a:lnTo>
                    <a:lnTo>
                      <a:pt x="1256" y="572"/>
                    </a:lnTo>
                    <a:lnTo>
                      <a:pt x="1260" y="572"/>
                    </a:lnTo>
                    <a:lnTo>
                      <a:pt x="1265" y="569"/>
                    </a:lnTo>
                    <a:lnTo>
                      <a:pt x="1265" y="569"/>
                    </a:lnTo>
                    <a:lnTo>
                      <a:pt x="1252" y="565"/>
                    </a:lnTo>
                    <a:lnTo>
                      <a:pt x="1245" y="565"/>
                    </a:lnTo>
                    <a:lnTo>
                      <a:pt x="1243" y="565"/>
                    </a:lnTo>
                    <a:lnTo>
                      <a:pt x="1242" y="566"/>
                    </a:lnTo>
                    <a:lnTo>
                      <a:pt x="1242" y="566"/>
                    </a:lnTo>
                    <a:lnTo>
                      <a:pt x="1238" y="569"/>
                    </a:lnTo>
                    <a:lnTo>
                      <a:pt x="1233" y="569"/>
                    </a:lnTo>
                    <a:lnTo>
                      <a:pt x="1231" y="566"/>
                    </a:lnTo>
                    <a:lnTo>
                      <a:pt x="1228" y="564"/>
                    </a:lnTo>
                    <a:lnTo>
                      <a:pt x="1228" y="564"/>
                    </a:lnTo>
                    <a:lnTo>
                      <a:pt x="1225" y="562"/>
                    </a:lnTo>
                    <a:lnTo>
                      <a:pt x="1222" y="562"/>
                    </a:lnTo>
                    <a:lnTo>
                      <a:pt x="1218" y="562"/>
                    </a:lnTo>
                    <a:lnTo>
                      <a:pt x="1215" y="559"/>
                    </a:lnTo>
                    <a:lnTo>
                      <a:pt x="1215" y="559"/>
                    </a:lnTo>
                    <a:lnTo>
                      <a:pt x="1211" y="555"/>
                    </a:lnTo>
                    <a:lnTo>
                      <a:pt x="1206" y="555"/>
                    </a:lnTo>
                    <a:lnTo>
                      <a:pt x="1199" y="558"/>
                    </a:lnTo>
                    <a:lnTo>
                      <a:pt x="1199" y="558"/>
                    </a:lnTo>
                    <a:lnTo>
                      <a:pt x="1196" y="558"/>
                    </a:lnTo>
                    <a:lnTo>
                      <a:pt x="1194" y="558"/>
                    </a:lnTo>
                    <a:lnTo>
                      <a:pt x="1186" y="554"/>
                    </a:lnTo>
                    <a:lnTo>
                      <a:pt x="1186" y="554"/>
                    </a:lnTo>
                    <a:lnTo>
                      <a:pt x="1182" y="551"/>
                    </a:lnTo>
                    <a:lnTo>
                      <a:pt x="1182" y="548"/>
                    </a:lnTo>
                    <a:lnTo>
                      <a:pt x="1182" y="544"/>
                    </a:lnTo>
                    <a:lnTo>
                      <a:pt x="1179" y="541"/>
                    </a:lnTo>
                    <a:lnTo>
                      <a:pt x="1179" y="541"/>
                    </a:lnTo>
                    <a:lnTo>
                      <a:pt x="1178" y="541"/>
                    </a:lnTo>
                    <a:lnTo>
                      <a:pt x="1176" y="541"/>
                    </a:lnTo>
                    <a:lnTo>
                      <a:pt x="1175" y="544"/>
                    </a:lnTo>
                    <a:lnTo>
                      <a:pt x="1174" y="548"/>
                    </a:lnTo>
                    <a:lnTo>
                      <a:pt x="731" y="551"/>
                    </a:lnTo>
                    <a:lnTo>
                      <a:pt x="731" y="551"/>
                    </a:lnTo>
                    <a:lnTo>
                      <a:pt x="733" y="552"/>
                    </a:lnTo>
                    <a:lnTo>
                      <a:pt x="733" y="552"/>
                    </a:lnTo>
                    <a:lnTo>
                      <a:pt x="735" y="556"/>
                    </a:lnTo>
                    <a:lnTo>
                      <a:pt x="735" y="561"/>
                    </a:lnTo>
                    <a:lnTo>
                      <a:pt x="735" y="565"/>
                    </a:lnTo>
                    <a:lnTo>
                      <a:pt x="735" y="569"/>
                    </a:lnTo>
                    <a:lnTo>
                      <a:pt x="735" y="569"/>
                    </a:lnTo>
                    <a:lnTo>
                      <a:pt x="737" y="575"/>
                    </a:lnTo>
                    <a:lnTo>
                      <a:pt x="735" y="581"/>
                    </a:lnTo>
                    <a:lnTo>
                      <a:pt x="734" y="585"/>
                    </a:lnTo>
                    <a:lnTo>
                      <a:pt x="733" y="585"/>
                    </a:lnTo>
                    <a:lnTo>
                      <a:pt x="731" y="586"/>
                    </a:lnTo>
                    <a:lnTo>
                      <a:pt x="731" y="586"/>
                    </a:lnTo>
                    <a:lnTo>
                      <a:pt x="728" y="585"/>
                    </a:lnTo>
                    <a:lnTo>
                      <a:pt x="727" y="582"/>
                    </a:lnTo>
                    <a:lnTo>
                      <a:pt x="727" y="579"/>
                    </a:lnTo>
                    <a:lnTo>
                      <a:pt x="728" y="578"/>
                    </a:lnTo>
                    <a:lnTo>
                      <a:pt x="728" y="578"/>
                    </a:lnTo>
                    <a:lnTo>
                      <a:pt x="731" y="575"/>
                    </a:lnTo>
                    <a:lnTo>
                      <a:pt x="731" y="572"/>
                    </a:lnTo>
                    <a:lnTo>
                      <a:pt x="730" y="569"/>
                    </a:lnTo>
                    <a:lnTo>
                      <a:pt x="727" y="568"/>
                    </a:lnTo>
                    <a:lnTo>
                      <a:pt x="727" y="568"/>
                    </a:lnTo>
                    <a:lnTo>
                      <a:pt x="726" y="568"/>
                    </a:lnTo>
                    <a:lnTo>
                      <a:pt x="724" y="566"/>
                    </a:lnTo>
                    <a:lnTo>
                      <a:pt x="724" y="562"/>
                    </a:lnTo>
                    <a:lnTo>
                      <a:pt x="724" y="562"/>
                    </a:lnTo>
                    <a:lnTo>
                      <a:pt x="718" y="564"/>
                    </a:lnTo>
                    <a:lnTo>
                      <a:pt x="711" y="564"/>
                    </a:lnTo>
                    <a:lnTo>
                      <a:pt x="698" y="562"/>
                    </a:lnTo>
                    <a:lnTo>
                      <a:pt x="698" y="562"/>
                    </a:lnTo>
                    <a:lnTo>
                      <a:pt x="698" y="564"/>
                    </a:lnTo>
                    <a:lnTo>
                      <a:pt x="698" y="564"/>
                    </a:lnTo>
                    <a:lnTo>
                      <a:pt x="701" y="572"/>
                    </a:lnTo>
                    <a:lnTo>
                      <a:pt x="703" y="579"/>
                    </a:lnTo>
                    <a:lnTo>
                      <a:pt x="707" y="585"/>
                    </a:lnTo>
                    <a:lnTo>
                      <a:pt x="707" y="585"/>
                    </a:lnTo>
                    <a:lnTo>
                      <a:pt x="710" y="589"/>
                    </a:lnTo>
                    <a:lnTo>
                      <a:pt x="710" y="593"/>
                    </a:lnTo>
                    <a:lnTo>
                      <a:pt x="711" y="596"/>
                    </a:lnTo>
                    <a:lnTo>
                      <a:pt x="714" y="599"/>
                    </a:lnTo>
                    <a:lnTo>
                      <a:pt x="714" y="599"/>
                    </a:lnTo>
                    <a:lnTo>
                      <a:pt x="717" y="602"/>
                    </a:lnTo>
                    <a:lnTo>
                      <a:pt x="718" y="603"/>
                    </a:lnTo>
                    <a:lnTo>
                      <a:pt x="717" y="605"/>
                    </a:lnTo>
                    <a:lnTo>
                      <a:pt x="714" y="605"/>
                    </a:lnTo>
                    <a:lnTo>
                      <a:pt x="714" y="605"/>
                    </a:lnTo>
                    <a:lnTo>
                      <a:pt x="711" y="605"/>
                    </a:lnTo>
                    <a:lnTo>
                      <a:pt x="711" y="608"/>
                    </a:lnTo>
                    <a:lnTo>
                      <a:pt x="711" y="612"/>
                    </a:lnTo>
                    <a:lnTo>
                      <a:pt x="711" y="619"/>
                    </a:lnTo>
                    <a:lnTo>
                      <a:pt x="711" y="619"/>
                    </a:lnTo>
                    <a:lnTo>
                      <a:pt x="710" y="640"/>
                    </a:lnTo>
                    <a:lnTo>
                      <a:pt x="708" y="659"/>
                    </a:lnTo>
                    <a:lnTo>
                      <a:pt x="708" y="659"/>
                    </a:lnTo>
                    <a:lnTo>
                      <a:pt x="707" y="665"/>
                    </a:lnTo>
                    <a:lnTo>
                      <a:pt x="704" y="672"/>
                    </a:lnTo>
                    <a:lnTo>
                      <a:pt x="703" y="677"/>
                    </a:lnTo>
                    <a:lnTo>
                      <a:pt x="703" y="680"/>
                    </a:lnTo>
                    <a:lnTo>
                      <a:pt x="704" y="683"/>
                    </a:lnTo>
                    <a:lnTo>
                      <a:pt x="704" y="683"/>
                    </a:lnTo>
                    <a:lnTo>
                      <a:pt x="707" y="690"/>
                    </a:lnTo>
                    <a:lnTo>
                      <a:pt x="710" y="696"/>
                    </a:lnTo>
                    <a:lnTo>
                      <a:pt x="710" y="703"/>
                    </a:lnTo>
                    <a:lnTo>
                      <a:pt x="710" y="710"/>
                    </a:lnTo>
                    <a:lnTo>
                      <a:pt x="710" y="710"/>
                    </a:lnTo>
                    <a:lnTo>
                      <a:pt x="708" y="716"/>
                    </a:lnTo>
                    <a:lnTo>
                      <a:pt x="708" y="721"/>
                    </a:lnTo>
                    <a:lnTo>
                      <a:pt x="708" y="726"/>
                    </a:lnTo>
                    <a:lnTo>
                      <a:pt x="711" y="730"/>
                    </a:lnTo>
                    <a:lnTo>
                      <a:pt x="711" y="730"/>
                    </a:lnTo>
                    <a:lnTo>
                      <a:pt x="713" y="736"/>
                    </a:lnTo>
                    <a:lnTo>
                      <a:pt x="714" y="743"/>
                    </a:lnTo>
                    <a:lnTo>
                      <a:pt x="714" y="748"/>
                    </a:lnTo>
                    <a:lnTo>
                      <a:pt x="714" y="750"/>
                    </a:lnTo>
                    <a:lnTo>
                      <a:pt x="716" y="751"/>
                    </a:lnTo>
                    <a:lnTo>
                      <a:pt x="716" y="751"/>
                    </a:lnTo>
                    <a:lnTo>
                      <a:pt x="723" y="757"/>
                    </a:lnTo>
                    <a:lnTo>
                      <a:pt x="728" y="766"/>
                    </a:lnTo>
                    <a:lnTo>
                      <a:pt x="728" y="766"/>
                    </a:lnTo>
                    <a:lnTo>
                      <a:pt x="731" y="768"/>
                    </a:lnTo>
                    <a:lnTo>
                      <a:pt x="734" y="770"/>
                    </a:lnTo>
                    <a:lnTo>
                      <a:pt x="735" y="771"/>
                    </a:lnTo>
                    <a:lnTo>
                      <a:pt x="737" y="774"/>
                    </a:lnTo>
                    <a:lnTo>
                      <a:pt x="737" y="774"/>
                    </a:lnTo>
                    <a:lnTo>
                      <a:pt x="738" y="781"/>
                    </a:lnTo>
                    <a:lnTo>
                      <a:pt x="740" y="783"/>
                    </a:lnTo>
                    <a:lnTo>
                      <a:pt x="743" y="784"/>
                    </a:lnTo>
                    <a:lnTo>
                      <a:pt x="743" y="784"/>
                    </a:lnTo>
                    <a:lnTo>
                      <a:pt x="745" y="787"/>
                    </a:lnTo>
                    <a:lnTo>
                      <a:pt x="745" y="790"/>
                    </a:lnTo>
                    <a:lnTo>
                      <a:pt x="745" y="797"/>
                    </a:lnTo>
                    <a:lnTo>
                      <a:pt x="745" y="797"/>
                    </a:lnTo>
                    <a:lnTo>
                      <a:pt x="747" y="800"/>
                    </a:lnTo>
                    <a:lnTo>
                      <a:pt x="750" y="804"/>
                    </a:lnTo>
                    <a:lnTo>
                      <a:pt x="761" y="815"/>
                    </a:lnTo>
                    <a:lnTo>
                      <a:pt x="761" y="815"/>
                    </a:lnTo>
                    <a:lnTo>
                      <a:pt x="764" y="818"/>
                    </a:lnTo>
                    <a:lnTo>
                      <a:pt x="765" y="821"/>
                    </a:lnTo>
                    <a:lnTo>
                      <a:pt x="767" y="825"/>
                    </a:lnTo>
                    <a:lnTo>
                      <a:pt x="767" y="828"/>
                    </a:lnTo>
                    <a:lnTo>
                      <a:pt x="768" y="830"/>
                    </a:lnTo>
                    <a:lnTo>
                      <a:pt x="770" y="830"/>
                    </a:lnTo>
                    <a:lnTo>
                      <a:pt x="770" y="830"/>
                    </a:lnTo>
                    <a:lnTo>
                      <a:pt x="775" y="831"/>
                    </a:lnTo>
                    <a:lnTo>
                      <a:pt x="780" y="832"/>
                    </a:lnTo>
                    <a:lnTo>
                      <a:pt x="790" y="838"/>
                    </a:lnTo>
                    <a:lnTo>
                      <a:pt x="790" y="838"/>
                    </a:lnTo>
                    <a:lnTo>
                      <a:pt x="794" y="840"/>
                    </a:lnTo>
                    <a:lnTo>
                      <a:pt x="797" y="841"/>
                    </a:lnTo>
                    <a:lnTo>
                      <a:pt x="804" y="841"/>
                    </a:lnTo>
                    <a:lnTo>
                      <a:pt x="804" y="841"/>
                    </a:lnTo>
                    <a:lnTo>
                      <a:pt x="807" y="844"/>
                    </a:lnTo>
                    <a:lnTo>
                      <a:pt x="812" y="848"/>
                    </a:lnTo>
                    <a:lnTo>
                      <a:pt x="815" y="854"/>
                    </a:lnTo>
                    <a:lnTo>
                      <a:pt x="818" y="858"/>
                    </a:lnTo>
                    <a:lnTo>
                      <a:pt x="818" y="858"/>
                    </a:lnTo>
                    <a:lnTo>
                      <a:pt x="822" y="869"/>
                    </a:lnTo>
                    <a:lnTo>
                      <a:pt x="859" y="864"/>
                    </a:lnTo>
                    <a:lnTo>
                      <a:pt x="859" y="864"/>
                    </a:lnTo>
                    <a:lnTo>
                      <a:pt x="865" y="868"/>
                    </a:lnTo>
                    <a:lnTo>
                      <a:pt x="871" y="871"/>
                    </a:lnTo>
                    <a:lnTo>
                      <a:pt x="876" y="874"/>
                    </a:lnTo>
                    <a:lnTo>
                      <a:pt x="876" y="874"/>
                    </a:lnTo>
                    <a:lnTo>
                      <a:pt x="899" y="881"/>
                    </a:lnTo>
                    <a:lnTo>
                      <a:pt x="918" y="888"/>
                    </a:lnTo>
                    <a:lnTo>
                      <a:pt x="963" y="888"/>
                    </a:lnTo>
                    <a:lnTo>
                      <a:pt x="969" y="881"/>
                    </a:lnTo>
                    <a:lnTo>
                      <a:pt x="994" y="881"/>
                    </a:lnTo>
                    <a:lnTo>
                      <a:pt x="994" y="881"/>
                    </a:lnTo>
                    <a:lnTo>
                      <a:pt x="1001" y="888"/>
                    </a:lnTo>
                    <a:lnTo>
                      <a:pt x="1011" y="896"/>
                    </a:lnTo>
                    <a:lnTo>
                      <a:pt x="1011" y="896"/>
                    </a:lnTo>
                    <a:lnTo>
                      <a:pt x="1019" y="902"/>
                    </a:lnTo>
                    <a:lnTo>
                      <a:pt x="1021" y="906"/>
                    </a:lnTo>
                    <a:lnTo>
                      <a:pt x="1023" y="909"/>
                    </a:lnTo>
                    <a:lnTo>
                      <a:pt x="1023" y="909"/>
                    </a:lnTo>
                    <a:lnTo>
                      <a:pt x="1024" y="915"/>
                    </a:lnTo>
                    <a:lnTo>
                      <a:pt x="1026" y="918"/>
                    </a:lnTo>
                    <a:lnTo>
                      <a:pt x="1029" y="919"/>
                    </a:lnTo>
                    <a:lnTo>
                      <a:pt x="1029" y="919"/>
                    </a:lnTo>
                    <a:lnTo>
                      <a:pt x="1038" y="925"/>
                    </a:lnTo>
                    <a:lnTo>
                      <a:pt x="1044" y="928"/>
                    </a:lnTo>
                    <a:lnTo>
                      <a:pt x="1047" y="929"/>
                    </a:lnTo>
                    <a:lnTo>
                      <a:pt x="1047" y="929"/>
                    </a:lnTo>
                    <a:lnTo>
                      <a:pt x="1048" y="926"/>
                    </a:lnTo>
                    <a:lnTo>
                      <a:pt x="1051" y="922"/>
                    </a:lnTo>
                    <a:lnTo>
                      <a:pt x="1054" y="916"/>
                    </a:lnTo>
                    <a:lnTo>
                      <a:pt x="1057" y="915"/>
                    </a:lnTo>
                    <a:lnTo>
                      <a:pt x="1060" y="915"/>
                    </a:lnTo>
                    <a:lnTo>
                      <a:pt x="1060" y="915"/>
                    </a:lnTo>
                    <a:lnTo>
                      <a:pt x="1066" y="916"/>
                    </a:lnTo>
                    <a:lnTo>
                      <a:pt x="1075" y="919"/>
                    </a:lnTo>
                    <a:lnTo>
                      <a:pt x="1083" y="923"/>
                    </a:lnTo>
                    <a:lnTo>
                      <a:pt x="1085" y="928"/>
                    </a:lnTo>
                    <a:lnTo>
                      <a:pt x="1088" y="931"/>
                    </a:lnTo>
                    <a:lnTo>
                      <a:pt x="1088" y="931"/>
                    </a:lnTo>
                    <a:lnTo>
                      <a:pt x="1091" y="938"/>
                    </a:lnTo>
                    <a:lnTo>
                      <a:pt x="1095" y="945"/>
                    </a:lnTo>
                    <a:lnTo>
                      <a:pt x="1102" y="952"/>
                    </a:lnTo>
                    <a:lnTo>
                      <a:pt x="1102" y="952"/>
                    </a:lnTo>
                    <a:lnTo>
                      <a:pt x="1104" y="955"/>
                    </a:lnTo>
                    <a:lnTo>
                      <a:pt x="1105" y="958"/>
                    </a:lnTo>
                    <a:lnTo>
                      <a:pt x="1105" y="962"/>
                    </a:lnTo>
                    <a:lnTo>
                      <a:pt x="1107" y="965"/>
                    </a:lnTo>
                    <a:lnTo>
                      <a:pt x="1107" y="965"/>
                    </a:lnTo>
                    <a:lnTo>
                      <a:pt x="1108" y="970"/>
                    </a:lnTo>
                    <a:lnTo>
                      <a:pt x="1110" y="973"/>
                    </a:lnTo>
                    <a:lnTo>
                      <a:pt x="1111" y="975"/>
                    </a:lnTo>
                    <a:lnTo>
                      <a:pt x="1111" y="975"/>
                    </a:lnTo>
                    <a:lnTo>
                      <a:pt x="1121" y="979"/>
                    </a:lnTo>
                    <a:lnTo>
                      <a:pt x="1128" y="982"/>
                    </a:lnTo>
                    <a:lnTo>
                      <a:pt x="1134" y="982"/>
                    </a:lnTo>
                    <a:lnTo>
                      <a:pt x="1134" y="982"/>
                    </a:lnTo>
                    <a:lnTo>
                      <a:pt x="1137" y="983"/>
                    </a:lnTo>
                    <a:lnTo>
                      <a:pt x="1141" y="985"/>
                    </a:lnTo>
                    <a:lnTo>
                      <a:pt x="1141" y="985"/>
                    </a:lnTo>
                    <a:lnTo>
                      <a:pt x="1139" y="980"/>
                    </a:lnTo>
                    <a:lnTo>
                      <a:pt x="1139" y="978"/>
                    </a:lnTo>
                    <a:lnTo>
                      <a:pt x="1135" y="972"/>
                    </a:lnTo>
                    <a:lnTo>
                      <a:pt x="1134" y="968"/>
                    </a:lnTo>
                    <a:lnTo>
                      <a:pt x="1134" y="966"/>
                    </a:lnTo>
                    <a:lnTo>
                      <a:pt x="1135" y="965"/>
                    </a:lnTo>
                    <a:lnTo>
                      <a:pt x="1135" y="965"/>
                    </a:lnTo>
                    <a:lnTo>
                      <a:pt x="1138" y="962"/>
                    </a:lnTo>
                    <a:lnTo>
                      <a:pt x="1139" y="959"/>
                    </a:lnTo>
                    <a:lnTo>
                      <a:pt x="1139" y="955"/>
                    </a:lnTo>
                    <a:lnTo>
                      <a:pt x="1138" y="952"/>
                    </a:lnTo>
                    <a:lnTo>
                      <a:pt x="1138" y="950"/>
                    </a:lnTo>
                    <a:lnTo>
                      <a:pt x="1139" y="949"/>
                    </a:lnTo>
                    <a:lnTo>
                      <a:pt x="1139" y="949"/>
                    </a:lnTo>
                    <a:lnTo>
                      <a:pt x="1147" y="945"/>
                    </a:lnTo>
                    <a:lnTo>
                      <a:pt x="1149" y="942"/>
                    </a:lnTo>
                    <a:lnTo>
                      <a:pt x="1151" y="939"/>
                    </a:lnTo>
                    <a:lnTo>
                      <a:pt x="1151" y="939"/>
                    </a:lnTo>
                    <a:lnTo>
                      <a:pt x="1152" y="936"/>
                    </a:lnTo>
                    <a:lnTo>
                      <a:pt x="1154" y="935"/>
                    </a:lnTo>
                    <a:lnTo>
                      <a:pt x="1161" y="935"/>
                    </a:lnTo>
                    <a:lnTo>
                      <a:pt x="1161" y="935"/>
                    </a:lnTo>
                    <a:lnTo>
                      <a:pt x="1167" y="935"/>
                    </a:lnTo>
                    <a:lnTo>
                      <a:pt x="1171" y="931"/>
                    </a:lnTo>
                    <a:lnTo>
                      <a:pt x="1175" y="926"/>
                    </a:lnTo>
                    <a:lnTo>
                      <a:pt x="1176" y="922"/>
                    </a:lnTo>
                    <a:lnTo>
                      <a:pt x="1176" y="922"/>
                    </a:lnTo>
                    <a:lnTo>
                      <a:pt x="1176" y="921"/>
                    </a:lnTo>
                    <a:lnTo>
                      <a:pt x="1178" y="919"/>
                    </a:lnTo>
                    <a:lnTo>
                      <a:pt x="1185" y="919"/>
                    </a:lnTo>
                    <a:lnTo>
                      <a:pt x="1185" y="919"/>
                    </a:lnTo>
                    <a:lnTo>
                      <a:pt x="1186" y="919"/>
                    </a:lnTo>
                    <a:lnTo>
                      <a:pt x="1188" y="918"/>
                    </a:lnTo>
                    <a:lnTo>
                      <a:pt x="1191" y="916"/>
                    </a:lnTo>
                    <a:lnTo>
                      <a:pt x="1192" y="913"/>
                    </a:lnTo>
                    <a:lnTo>
                      <a:pt x="1194" y="912"/>
                    </a:lnTo>
                    <a:lnTo>
                      <a:pt x="1195" y="912"/>
                    </a:lnTo>
                    <a:lnTo>
                      <a:pt x="1195" y="912"/>
                    </a:lnTo>
                    <a:lnTo>
                      <a:pt x="1201" y="915"/>
                    </a:lnTo>
                    <a:lnTo>
                      <a:pt x="1202" y="915"/>
                    </a:lnTo>
                    <a:lnTo>
                      <a:pt x="1202" y="913"/>
                    </a:lnTo>
                    <a:lnTo>
                      <a:pt x="1202" y="913"/>
                    </a:lnTo>
                    <a:lnTo>
                      <a:pt x="1203" y="912"/>
                    </a:lnTo>
                    <a:lnTo>
                      <a:pt x="1205" y="912"/>
                    </a:lnTo>
                    <a:lnTo>
                      <a:pt x="1208" y="912"/>
                    </a:lnTo>
                    <a:lnTo>
                      <a:pt x="1211" y="915"/>
                    </a:lnTo>
                    <a:lnTo>
                      <a:pt x="1211" y="915"/>
                    </a:lnTo>
                    <a:lnTo>
                      <a:pt x="1213" y="918"/>
                    </a:lnTo>
                    <a:lnTo>
                      <a:pt x="1218" y="919"/>
                    </a:lnTo>
                    <a:lnTo>
                      <a:pt x="1222" y="918"/>
                    </a:lnTo>
                    <a:lnTo>
                      <a:pt x="1223" y="918"/>
                    </a:lnTo>
                    <a:lnTo>
                      <a:pt x="1223" y="915"/>
                    </a:lnTo>
                    <a:lnTo>
                      <a:pt x="1223" y="915"/>
                    </a:lnTo>
                    <a:lnTo>
                      <a:pt x="1225" y="913"/>
                    </a:lnTo>
                    <a:lnTo>
                      <a:pt x="1228" y="915"/>
                    </a:lnTo>
                    <a:lnTo>
                      <a:pt x="1235" y="921"/>
                    </a:lnTo>
                    <a:lnTo>
                      <a:pt x="1235" y="921"/>
                    </a:lnTo>
                    <a:lnTo>
                      <a:pt x="1238" y="923"/>
                    </a:lnTo>
                    <a:lnTo>
                      <a:pt x="1240" y="925"/>
                    </a:lnTo>
                    <a:lnTo>
                      <a:pt x="1248" y="925"/>
                    </a:lnTo>
                    <a:lnTo>
                      <a:pt x="1248" y="925"/>
                    </a:lnTo>
                    <a:lnTo>
                      <a:pt x="1252" y="925"/>
                    </a:lnTo>
                    <a:lnTo>
                      <a:pt x="1253" y="923"/>
                    </a:lnTo>
                    <a:lnTo>
                      <a:pt x="1255" y="922"/>
                    </a:lnTo>
                    <a:lnTo>
                      <a:pt x="1255" y="919"/>
                    </a:lnTo>
                    <a:lnTo>
                      <a:pt x="1255" y="919"/>
                    </a:lnTo>
                    <a:lnTo>
                      <a:pt x="1255" y="918"/>
                    </a:lnTo>
                    <a:lnTo>
                      <a:pt x="1256" y="918"/>
                    </a:lnTo>
                    <a:lnTo>
                      <a:pt x="1259" y="922"/>
                    </a:lnTo>
                    <a:lnTo>
                      <a:pt x="1265" y="926"/>
                    </a:lnTo>
                    <a:lnTo>
                      <a:pt x="1266" y="928"/>
                    </a:lnTo>
                    <a:lnTo>
                      <a:pt x="1269" y="929"/>
                    </a:lnTo>
                    <a:lnTo>
                      <a:pt x="1269" y="929"/>
                    </a:lnTo>
                    <a:lnTo>
                      <a:pt x="1272" y="928"/>
                    </a:lnTo>
                    <a:lnTo>
                      <a:pt x="1272" y="926"/>
                    </a:lnTo>
                    <a:lnTo>
                      <a:pt x="1266" y="921"/>
                    </a:lnTo>
                    <a:lnTo>
                      <a:pt x="1266" y="921"/>
                    </a:lnTo>
                    <a:lnTo>
                      <a:pt x="1263" y="918"/>
                    </a:lnTo>
                    <a:lnTo>
                      <a:pt x="1263" y="916"/>
                    </a:lnTo>
                    <a:lnTo>
                      <a:pt x="1263" y="913"/>
                    </a:lnTo>
                    <a:lnTo>
                      <a:pt x="1262" y="912"/>
                    </a:lnTo>
                    <a:lnTo>
                      <a:pt x="1262" y="912"/>
                    </a:lnTo>
                    <a:lnTo>
                      <a:pt x="1262" y="911"/>
                    </a:lnTo>
                    <a:lnTo>
                      <a:pt x="1262" y="909"/>
                    </a:lnTo>
                    <a:lnTo>
                      <a:pt x="1265" y="906"/>
                    </a:lnTo>
                    <a:lnTo>
                      <a:pt x="1270" y="905"/>
                    </a:lnTo>
                    <a:lnTo>
                      <a:pt x="1276" y="905"/>
                    </a:lnTo>
                    <a:lnTo>
                      <a:pt x="1276" y="905"/>
                    </a:lnTo>
                    <a:lnTo>
                      <a:pt x="1285" y="905"/>
                    </a:lnTo>
                    <a:lnTo>
                      <a:pt x="1286" y="905"/>
                    </a:lnTo>
                    <a:lnTo>
                      <a:pt x="1287" y="902"/>
                    </a:lnTo>
                    <a:lnTo>
                      <a:pt x="1287" y="902"/>
                    </a:lnTo>
                    <a:lnTo>
                      <a:pt x="1290" y="899"/>
                    </a:lnTo>
                    <a:lnTo>
                      <a:pt x="1292" y="901"/>
                    </a:lnTo>
                    <a:lnTo>
                      <a:pt x="1293" y="904"/>
                    </a:lnTo>
                    <a:lnTo>
                      <a:pt x="1295" y="906"/>
                    </a:lnTo>
                    <a:lnTo>
                      <a:pt x="1295" y="906"/>
                    </a:lnTo>
                    <a:lnTo>
                      <a:pt x="1295" y="908"/>
                    </a:lnTo>
                    <a:lnTo>
                      <a:pt x="1296" y="908"/>
                    </a:lnTo>
                    <a:lnTo>
                      <a:pt x="1302" y="906"/>
                    </a:lnTo>
                    <a:lnTo>
                      <a:pt x="1309" y="905"/>
                    </a:lnTo>
                    <a:lnTo>
                      <a:pt x="1316" y="904"/>
                    </a:lnTo>
                    <a:lnTo>
                      <a:pt x="1316" y="904"/>
                    </a:lnTo>
                    <a:lnTo>
                      <a:pt x="1320" y="905"/>
                    </a:lnTo>
                    <a:lnTo>
                      <a:pt x="1326" y="908"/>
                    </a:lnTo>
                    <a:lnTo>
                      <a:pt x="1329" y="911"/>
                    </a:lnTo>
                    <a:lnTo>
                      <a:pt x="1330" y="915"/>
                    </a:lnTo>
                    <a:lnTo>
                      <a:pt x="1330" y="915"/>
                    </a:lnTo>
                    <a:lnTo>
                      <a:pt x="1332" y="918"/>
                    </a:lnTo>
                    <a:lnTo>
                      <a:pt x="1334" y="919"/>
                    </a:lnTo>
                    <a:lnTo>
                      <a:pt x="1337" y="919"/>
                    </a:lnTo>
                    <a:lnTo>
                      <a:pt x="1341" y="916"/>
                    </a:lnTo>
                    <a:lnTo>
                      <a:pt x="1341" y="916"/>
                    </a:lnTo>
                    <a:lnTo>
                      <a:pt x="1349" y="911"/>
                    </a:lnTo>
                    <a:lnTo>
                      <a:pt x="1353" y="909"/>
                    </a:lnTo>
                    <a:lnTo>
                      <a:pt x="1356" y="911"/>
                    </a:lnTo>
                    <a:lnTo>
                      <a:pt x="1356" y="911"/>
                    </a:lnTo>
                    <a:lnTo>
                      <a:pt x="1373" y="929"/>
                    </a:lnTo>
                    <a:lnTo>
                      <a:pt x="1373" y="929"/>
                    </a:lnTo>
                    <a:lnTo>
                      <a:pt x="1374" y="932"/>
                    </a:lnTo>
                    <a:lnTo>
                      <a:pt x="1374" y="933"/>
                    </a:lnTo>
                    <a:lnTo>
                      <a:pt x="1373" y="939"/>
                    </a:lnTo>
                    <a:lnTo>
                      <a:pt x="1371" y="943"/>
                    </a:lnTo>
                    <a:lnTo>
                      <a:pt x="1371" y="945"/>
                    </a:lnTo>
                    <a:lnTo>
                      <a:pt x="1373" y="948"/>
                    </a:lnTo>
                    <a:lnTo>
                      <a:pt x="1373" y="948"/>
                    </a:lnTo>
                    <a:lnTo>
                      <a:pt x="1374" y="950"/>
                    </a:lnTo>
                    <a:lnTo>
                      <a:pt x="1374" y="955"/>
                    </a:lnTo>
                    <a:lnTo>
                      <a:pt x="1376" y="959"/>
                    </a:lnTo>
                    <a:lnTo>
                      <a:pt x="1380" y="963"/>
                    </a:lnTo>
                    <a:lnTo>
                      <a:pt x="1380" y="963"/>
                    </a:lnTo>
                    <a:lnTo>
                      <a:pt x="1381" y="965"/>
                    </a:lnTo>
                    <a:lnTo>
                      <a:pt x="1383" y="968"/>
                    </a:lnTo>
                    <a:lnTo>
                      <a:pt x="1383" y="973"/>
                    </a:lnTo>
                    <a:lnTo>
                      <a:pt x="1383" y="978"/>
                    </a:lnTo>
                    <a:lnTo>
                      <a:pt x="1384" y="979"/>
                    </a:lnTo>
                    <a:lnTo>
                      <a:pt x="1386" y="980"/>
                    </a:lnTo>
                    <a:lnTo>
                      <a:pt x="1386" y="980"/>
                    </a:lnTo>
                    <a:lnTo>
                      <a:pt x="1390" y="982"/>
                    </a:lnTo>
                    <a:lnTo>
                      <a:pt x="1393" y="986"/>
                    </a:lnTo>
                    <a:lnTo>
                      <a:pt x="1397" y="993"/>
                    </a:lnTo>
                    <a:lnTo>
                      <a:pt x="1397" y="993"/>
                    </a:lnTo>
                    <a:lnTo>
                      <a:pt x="1398" y="996"/>
                    </a:lnTo>
                    <a:lnTo>
                      <a:pt x="1403" y="999"/>
                    </a:lnTo>
                    <a:lnTo>
                      <a:pt x="1407" y="999"/>
                    </a:lnTo>
                    <a:lnTo>
                      <a:pt x="1408" y="997"/>
                    </a:lnTo>
                    <a:lnTo>
                      <a:pt x="1408" y="996"/>
                    </a:lnTo>
                    <a:lnTo>
                      <a:pt x="1408" y="996"/>
                    </a:lnTo>
                    <a:lnTo>
                      <a:pt x="1410" y="992"/>
                    </a:lnTo>
                    <a:lnTo>
                      <a:pt x="1413" y="986"/>
                    </a:lnTo>
                    <a:lnTo>
                      <a:pt x="1414" y="982"/>
                    </a:lnTo>
                    <a:lnTo>
                      <a:pt x="1415" y="978"/>
                    </a:lnTo>
                    <a:lnTo>
                      <a:pt x="1415" y="978"/>
                    </a:lnTo>
                    <a:lnTo>
                      <a:pt x="1415" y="970"/>
                    </a:lnTo>
                    <a:lnTo>
                      <a:pt x="1414" y="960"/>
                    </a:lnTo>
                    <a:lnTo>
                      <a:pt x="1411" y="952"/>
                    </a:lnTo>
                    <a:lnTo>
                      <a:pt x="1407" y="945"/>
                    </a:lnTo>
                    <a:lnTo>
                      <a:pt x="1407" y="945"/>
                    </a:lnTo>
                    <a:lnTo>
                      <a:pt x="1406" y="941"/>
                    </a:lnTo>
                    <a:lnTo>
                      <a:pt x="1406" y="938"/>
                    </a:lnTo>
                    <a:lnTo>
                      <a:pt x="1406" y="933"/>
                    </a:lnTo>
                    <a:lnTo>
                      <a:pt x="1403" y="929"/>
                    </a:lnTo>
                    <a:lnTo>
                      <a:pt x="1403" y="929"/>
                    </a:lnTo>
                    <a:lnTo>
                      <a:pt x="1398" y="923"/>
                    </a:lnTo>
                    <a:lnTo>
                      <a:pt x="1396" y="915"/>
                    </a:lnTo>
                    <a:lnTo>
                      <a:pt x="1394" y="906"/>
                    </a:lnTo>
                    <a:lnTo>
                      <a:pt x="1394" y="898"/>
                    </a:lnTo>
                    <a:lnTo>
                      <a:pt x="1394" y="898"/>
                    </a:lnTo>
                    <a:lnTo>
                      <a:pt x="1396" y="889"/>
                    </a:lnTo>
                    <a:lnTo>
                      <a:pt x="1401" y="879"/>
                    </a:lnTo>
                    <a:lnTo>
                      <a:pt x="1407" y="871"/>
                    </a:lnTo>
                    <a:lnTo>
                      <a:pt x="1413" y="865"/>
                    </a:lnTo>
                    <a:lnTo>
                      <a:pt x="1413" y="865"/>
                    </a:lnTo>
                    <a:lnTo>
                      <a:pt x="1417" y="862"/>
                    </a:lnTo>
                    <a:lnTo>
                      <a:pt x="1421" y="861"/>
                    </a:lnTo>
                    <a:lnTo>
                      <a:pt x="1424" y="859"/>
                    </a:lnTo>
                    <a:lnTo>
                      <a:pt x="1427" y="857"/>
                    </a:lnTo>
                    <a:lnTo>
                      <a:pt x="1427" y="857"/>
                    </a:lnTo>
                    <a:lnTo>
                      <a:pt x="1428" y="852"/>
                    </a:lnTo>
                    <a:lnTo>
                      <a:pt x="1433" y="848"/>
                    </a:lnTo>
                    <a:lnTo>
                      <a:pt x="1437" y="845"/>
                    </a:lnTo>
                    <a:lnTo>
                      <a:pt x="1440" y="844"/>
                    </a:lnTo>
                    <a:lnTo>
                      <a:pt x="1440" y="844"/>
                    </a:lnTo>
                    <a:lnTo>
                      <a:pt x="1445" y="844"/>
                    </a:lnTo>
                    <a:lnTo>
                      <a:pt x="1448" y="842"/>
                    </a:lnTo>
                    <a:lnTo>
                      <a:pt x="1450" y="840"/>
                    </a:lnTo>
                    <a:lnTo>
                      <a:pt x="1450" y="840"/>
                    </a:lnTo>
                    <a:lnTo>
                      <a:pt x="1451" y="837"/>
                    </a:lnTo>
                    <a:lnTo>
                      <a:pt x="1455" y="832"/>
                    </a:lnTo>
                    <a:lnTo>
                      <a:pt x="1460" y="830"/>
                    </a:lnTo>
                    <a:lnTo>
                      <a:pt x="1467" y="828"/>
                    </a:lnTo>
                    <a:lnTo>
                      <a:pt x="1467" y="828"/>
                    </a:lnTo>
                    <a:lnTo>
                      <a:pt x="1471" y="827"/>
                    </a:lnTo>
                    <a:lnTo>
                      <a:pt x="1471" y="824"/>
                    </a:lnTo>
                    <a:lnTo>
                      <a:pt x="1468" y="818"/>
                    </a:lnTo>
                    <a:lnTo>
                      <a:pt x="1468" y="818"/>
                    </a:lnTo>
                    <a:lnTo>
                      <a:pt x="1467" y="814"/>
                    </a:lnTo>
                    <a:lnTo>
                      <a:pt x="1468" y="812"/>
                    </a:lnTo>
                    <a:lnTo>
                      <a:pt x="1470" y="811"/>
                    </a:lnTo>
                    <a:lnTo>
                      <a:pt x="1472" y="812"/>
                    </a:lnTo>
                    <a:lnTo>
                      <a:pt x="1472" y="812"/>
                    </a:lnTo>
                    <a:lnTo>
                      <a:pt x="1474" y="814"/>
                    </a:lnTo>
                    <a:lnTo>
                      <a:pt x="1477" y="814"/>
                    </a:lnTo>
                    <a:lnTo>
                      <a:pt x="1479" y="814"/>
                    </a:lnTo>
                    <a:lnTo>
                      <a:pt x="1482" y="812"/>
                    </a:lnTo>
                    <a:lnTo>
                      <a:pt x="1482" y="812"/>
                    </a:lnTo>
                    <a:lnTo>
                      <a:pt x="1489" y="807"/>
                    </a:lnTo>
                    <a:lnTo>
                      <a:pt x="1489" y="804"/>
                    </a:lnTo>
                    <a:lnTo>
                      <a:pt x="1489" y="804"/>
                    </a:lnTo>
                    <a:lnTo>
                      <a:pt x="1487" y="803"/>
                    </a:lnTo>
                    <a:lnTo>
                      <a:pt x="1487" y="803"/>
                    </a:lnTo>
                    <a:lnTo>
                      <a:pt x="1482" y="803"/>
                    </a:lnTo>
                    <a:lnTo>
                      <a:pt x="1479" y="801"/>
                    </a:lnTo>
                    <a:lnTo>
                      <a:pt x="1479" y="800"/>
                    </a:lnTo>
                    <a:lnTo>
                      <a:pt x="1482" y="798"/>
                    </a:lnTo>
                    <a:lnTo>
                      <a:pt x="1482" y="798"/>
                    </a:lnTo>
                    <a:lnTo>
                      <a:pt x="1484" y="797"/>
                    </a:lnTo>
                    <a:lnTo>
                      <a:pt x="1484" y="795"/>
                    </a:lnTo>
                    <a:lnTo>
                      <a:pt x="1484" y="793"/>
                    </a:lnTo>
                    <a:lnTo>
                      <a:pt x="1481" y="788"/>
                    </a:lnTo>
                    <a:lnTo>
                      <a:pt x="1477" y="787"/>
                    </a:lnTo>
                    <a:lnTo>
                      <a:pt x="1477" y="787"/>
                    </a:lnTo>
                    <a:lnTo>
                      <a:pt x="1472" y="785"/>
                    </a:lnTo>
                    <a:lnTo>
                      <a:pt x="1472" y="784"/>
                    </a:lnTo>
                    <a:lnTo>
                      <a:pt x="1474" y="781"/>
                    </a:lnTo>
                    <a:lnTo>
                      <a:pt x="1475" y="778"/>
                    </a:lnTo>
                    <a:lnTo>
                      <a:pt x="1475" y="778"/>
                    </a:lnTo>
                    <a:lnTo>
                      <a:pt x="1477" y="777"/>
                    </a:lnTo>
                    <a:lnTo>
                      <a:pt x="1477" y="776"/>
                    </a:lnTo>
                    <a:lnTo>
                      <a:pt x="1474" y="771"/>
                    </a:lnTo>
                    <a:lnTo>
                      <a:pt x="1465" y="766"/>
                    </a:lnTo>
                    <a:lnTo>
                      <a:pt x="1465" y="766"/>
                    </a:lnTo>
                    <a:lnTo>
                      <a:pt x="1464" y="763"/>
                    </a:lnTo>
                    <a:lnTo>
                      <a:pt x="1465" y="761"/>
                    </a:lnTo>
                    <a:lnTo>
                      <a:pt x="1472" y="760"/>
                    </a:lnTo>
                    <a:lnTo>
                      <a:pt x="1472" y="760"/>
                    </a:lnTo>
                    <a:lnTo>
                      <a:pt x="1472" y="758"/>
                    </a:lnTo>
                    <a:lnTo>
                      <a:pt x="1474" y="757"/>
                    </a:lnTo>
                    <a:lnTo>
                      <a:pt x="1474" y="750"/>
                    </a:lnTo>
                    <a:lnTo>
                      <a:pt x="1474" y="744"/>
                    </a:lnTo>
                    <a:lnTo>
                      <a:pt x="1474" y="739"/>
                    </a:lnTo>
                    <a:lnTo>
                      <a:pt x="1474" y="739"/>
                    </a:lnTo>
                    <a:lnTo>
                      <a:pt x="1477" y="737"/>
                    </a:lnTo>
                    <a:lnTo>
                      <a:pt x="1478" y="736"/>
                    </a:lnTo>
                    <a:lnTo>
                      <a:pt x="1479" y="737"/>
                    </a:lnTo>
                    <a:lnTo>
                      <a:pt x="1479" y="739"/>
                    </a:lnTo>
                    <a:lnTo>
                      <a:pt x="1479" y="739"/>
                    </a:lnTo>
                    <a:lnTo>
                      <a:pt x="1478" y="743"/>
                    </a:lnTo>
                    <a:lnTo>
                      <a:pt x="1477" y="746"/>
                    </a:lnTo>
                    <a:lnTo>
                      <a:pt x="1477" y="750"/>
                    </a:lnTo>
                    <a:lnTo>
                      <a:pt x="1478" y="754"/>
                    </a:lnTo>
                    <a:lnTo>
                      <a:pt x="1478" y="754"/>
                    </a:lnTo>
                    <a:lnTo>
                      <a:pt x="1481" y="758"/>
                    </a:lnTo>
                    <a:lnTo>
                      <a:pt x="1482" y="763"/>
                    </a:lnTo>
                    <a:lnTo>
                      <a:pt x="1484" y="768"/>
                    </a:lnTo>
                    <a:lnTo>
                      <a:pt x="1482" y="774"/>
                    </a:lnTo>
                    <a:lnTo>
                      <a:pt x="1482" y="774"/>
                    </a:lnTo>
                    <a:lnTo>
                      <a:pt x="1482" y="778"/>
                    </a:lnTo>
                    <a:lnTo>
                      <a:pt x="1482" y="778"/>
                    </a:lnTo>
                    <a:lnTo>
                      <a:pt x="1484" y="778"/>
                    </a:lnTo>
                    <a:lnTo>
                      <a:pt x="1487" y="776"/>
                    </a:lnTo>
                    <a:lnTo>
                      <a:pt x="1489" y="768"/>
                    </a:lnTo>
                    <a:lnTo>
                      <a:pt x="1489" y="768"/>
                    </a:lnTo>
                    <a:lnTo>
                      <a:pt x="1492" y="761"/>
                    </a:lnTo>
                    <a:lnTo>
                      <a:pt x="1494" y="756"/>
                    </a:lnTo>
                    <a:lnTo>
                      <a:pt x="1494" y="750"/>
                    </a:lnTo>
                    <a:lnTo>
                      <a:pt x="1492" y="748"/>
                    </a:lnTo>
                    <a:lnTo>
                      <a:pt x="1492" y="748"/>
                    </a:lnTo>
                    <a:lnTo>
                      <a:pt x="1489" y="746"/>
                    </a:lnTo>
                    <a:lnTo>
                      <a:pt x="1489" y="743"/>
                    </a:lnTo>
                    <a:lnTo>
                      <a:pt x="1491" y="740"/>
                    </a:lnTo>
                    <a:lnTo>
                      <a:pt x="1491" y="740"/>
                    </a:lnTo>
                    <a:lnTo>
                      <a:pt x="1492" y="741"/>
                    </a:lnTo>
                    <a:lnTo>
                      <a:pt x="1492" y="741"/>
                    </a:lnTo>
                    <a:lnTo>
                      <a:pt x="1495" y="744"/>
                    </a:lnTo>
                    <a:lnTo>
                      <a:pt x="1498" y="746"/>
                    </a:lnTo>
                    <a:lnTo>
                      <a:pt x="1501" y="744"/>
                    </a:lnTo>
                    <a:lnTo>
                      <a:pt x="1504" y="740"/>
                    </a:lnTo>
                    <a:lnTo>
                      <a:pt x="1504" y="740"/>
                    </a:lnTo>
                    <a:lnTo>
                      <a:pt x="1508" y="736"/>
                    </a:lnTo>
                    <a:lnTo>
                      <a:pt x="1512" y="729"/>
                    </a:lnTo>
                    <a:lnTo>
                      <a:pt x="1514" y="724"/>
                    </a:lnTo>
                    <a:lnTo>
                      <a:pt x="1514" y="721"/>
                    </a:lnTo>
                    <a:lnTo>
                      <a:pt x="1512" y="720"/>
                    </a:lnTo>
                    <a:lnTo>
                      <a:pt x="1512" y="720"/>
                    </a:lnTo>
                    <a:lnTo>
                      <a:pt x="1511" y="719"/>
                    </a:lnTo>
                    <a:lnTo>
                      <a:pt x="1514" y="717"/>
                    </a:lnTo>
                    <a:lnTo>
                      <a:pt x="1516" y="716"/>
                    </a:lnTo>
                    <a:lnTo>
                      <a:pt x="1522" y="716"/>
                    </a:lnTo>
                    <a:lnTo>
                      <a:pt x="1522" y="716"/>
                    </a:lnTo>
                    <a:lnTo>
                      <a:pt x="1528" y="716"/>
                    </a:lnTo>
                    <a:lnTo>
                      <a:pt x="1535" y="714"/>
                    </a:lnTo>
                    <a:lnTo>
                      <a:pt x="1542" y="711"/>
                    </a:lnTo>
                    <a:lnTo>
                      <a:pt x="1545" y="710"/>
                    </a:lnTo>
                    <a:lnTo>
                      <a:pt x="1545" y="710"/>
                    </a:lnTo>
                    <a:lnTo>
                      <a:pt x="1545" y="707"/>
                    </a:lnTo>
                    <a:lnTo>
                      <a:pt x="1542" y="707"/>
                    </a:lnTo>
                    <a:lnTo>
                      <a:pt x="1534" y="709"/>
                    </a:lnTo>
                    <a:lnTo>
                      <a:pt x="1525" y="710"/>
                    </a:lnTo>
                    <a:lnTo>
                      <a:pt x="1522" y="710"/>
                    </a:lnTo>
                    <a:lnTo>
                      <a:pt x="1521" y="709"/>
                    </a:lnTo>
                    <a:lnTo>
                      <a:pt x="1521" y="709"/>
                    </a:lnTo>
                    <a:lnTo>
                      <a:pt x="1521" y="707"/>
                    </a:lnTo>
                    <a:lnTo>
                      <a:pt x="1524" y="706"/>
                    </a:lnTo>
                    <a:lnTo>
                      <a:pt x="1531" y="703"/>
                    </a:lnTo>
                    <a:lnTo>
                      <a:pt x="1546" y="700"/>
                    </a:lnTo>
                    <a:lnTo>
                      <a:pt x="1546" y="700"/>
                    </a:lnTo>
                    <a:lnTo>
                      <a:pt x="1549" y="700"/>
                    </a:lnTo>
                    <a:lnTo>
                      <a:pt x="1551" y="699"/>
                    </a:lnTo>
                    <a:lnTo>
                      <a:pt x="1552" y="696"/>
                    </a:lnTo>
                    <a:lnTo>
                      <a:pt x="1552" y="693"/>
                    </a:lnTo>
                    <a:lnTo>
                      <a:pt x="1555" y="694"/>
                    </a:lnTo>
                    <a:lnTo>
                      <a:pt x="1555" y="694"/>
                    </a:lnTo>
                    <a:lnTo>
                      <a:pt x="1558" y="696"/>
                    </a:lnTo>
                    <a:lnTo>
                      <a:pt x="1561" y="697"/>
                    </a:lnTo>
                    <a:lnTo>
                      <a:pt x="1565" y="697"/>
                    </a:lnTo>
                    <a:lnTo>
                      <a:pt x="1568" y="694"/>
                    </a:lnTo>
                    <a:lnTo>
                      <a:pt x="1568" y="694"/>
                    </a:lnTo>
                    <a:lnTo>
                      <a:pt x="1571" y="692"/>
                    </a:lnTo>
                    <a:lnTo>
                      <a:pt x="1569" y="689"/>
                    </a:lnTo>
                    <a:lnTo>
                      <a:pt x="1568" y="684"/>
                    </a:lnTo>
                    <a:lnTo>
                      <a:pt x="1563" y="683"/>
                    </a:lnTo>
                    <a:lnTo>
                      <a:pt x="1563" y="683"/>
                    </a:lnTo>
                    <a:lnTo>
                      <a:pt x="1562" y="682"/>
                    </a:lnTo>
                    <a:lnTo>
                      <a:pt x="1562" y="682"/>
                    </a:lnTo>
                    <a:lnTo>
                      <a:pt x="1563" y="679"/>
                    </a:lnTo>
                    <a:lnTo>
                      <a:pt x="1565" y="677"/>
                    </a:lnTo>
                    <a:lnTo>
                      <a:pt x="1566" y="674"/>
                    </a:lnTo>
                    <a:lnTo>
                      <a:pt x="1566" y="674"/>
                    </a:lnTo>
                    <a:lnTo>
                      <a:pt x="1566" y="670"/>
                    </a:lnTo>
                    <a:lnTo>
                      <a:pt x="1568" y="665"/>
                    </a:lnTo>
                    <a:lnTo>
                      <a:pt x="1572" y="660"/>
                    </a:lnTo>
                    <a:lnTo>
                      <a:pt x="1573" y="657"/>
                    </a:lnTo>
                    <a:lnTo>
                      <a:pt x="1576" y="657"/>
                    </a:lnTo>
                    <a:lnTo>
                      <a:pt x="1576" y="657"/>
                    </a:lnTo>
                    <a:lnTo>
                      <a:pt x="1579" y="656"/>
                    </a:lnTo>
                    <a:lnTo>
                      <a:pt x="1580" y="653"/>
                    </a:lnTo>
                    <a:lnTo>
                      <a:pt x="1582" y="652"/>
                    </a:lnTo>
                    <a:lnTo>
                      <a:pt x="1585" y="652"/>
                    </a:lnTo>
                    <a:lnTo>
                      <a:pt x="1585" y="652"/>
                    </a:lnTo>
                    <a:lnTo>
                      <a:pt x="1589" y="650"/>
                    </a:lnTo>
                    <a:lnTo>
                      <a:pt x="1592" y="647"/>
                    </a:lnTo>
                    <a:lnTo>
                      <a:pt x="1598" y="639"/>
                    </a:lnTo>
                    <a:lnTo>
                      <a:pt x="1598" y="639"/>
                    </a:lnTo>
                    <a:lnTo>
                      <a:pt x="1599" y="639"/>
                    </a:lnTo>
                    <a:lnTo>
                      <a:pt x="1600" y="639"/>
                    </a:lnTo>
                    <a:lnTo>
                      <a:pt x="1606" y="640"/>
                    </a:lnTo>
                    <a:lnTo>
                      <a:pt x="1612" y="642"/>
                    </a:lnTo>
                    <a:lnTo>
                      <a:pt x="1615" y="642"/>
                    </a:lnTo>
                    <a:lnTo>
                      <a:pt x="1617" y="640"/>
                    </a:lnTo>
                    <a:lnTo>
                      <a:pt x="1617" y="640"/>
                    </a:lnTo>
                    <a:lnTo>
                      <a:pt x="1629" y="632"/>
                    </a:lnTo>
                    <a:lnTo>
                      <a:pt x="1629" y="632"/>
                    </a:lnTo>
                    <a:lnTo>
                      <a:pt x="1623" y="623"/>
                    </a:lnTo>
                    <a:lnTo>
                      <a:pt x="1619" y="615"/>
                    </a:lnTo>
                    <a:lnTo>
                      <a:pt x="1616" y="608"/>
                    </a:lnTo>
                    <a:lnTo>
                      <a:pt x="1616" y="602"/>
                    </a:lnTo>
                    <a:lnTo>
                      <a:pt x="1615" y="592"/>
                    </a:lnTo>
                    <a:lnTo>
                      <a:pt x="1616" y="586"/>
                    </a:lnTo>
                    <a:lnTo>
                      <a:pt x="1616" y="586"/>
                    </a:lnTo>
                    <a:close/>
                  </a:path>
                </a:pathLst>
              </a:custGeom>
              <a:solidFill>
                <a:schemeClr val="accent1"/>
              </a:solid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grpSp>
        <p:grpSp>
          <p:nvGrpSpPr>
            <p:cNvPr id="13" name="Europe">
              <a:extLst>
                <a:ext uri="{FF2B5EF4-FFF2-40B4-BE49-F238E27FC236}">
                  <a16:creationId xmlns:a16="http://schemas.microsoft.com/office/drawing/2014/main" id="{562F80D0-963B-BE4A-88DB-7793F567A94B}"/>
                </a:ext>
              </a:extLst>
            </p:cNvPr>
            <p:cNvGrpSpPr/>
            <p:nvPr/>
          </p:nvGrpSpPr>
          <p:grpSpPr>
            <a:xfrm>
              <a:off x="4107172" y="2055118"/>
              <a:ext cx="6250607" cy="1854170"/>
              <a:chOff x="2583171" y="1589897"/>
              <a:chExt cx="6250607" cy="1854170"/>
            </a:xfrm>
            <a:solidFill>
              <a:schemeClr val="bg1">
                <a:lumMod val="75000"/>
              </a:schemeClr>
            </a:solidFill>
          </p:grpSpPr>
          <p:sp>
            <p:nvSpPr>
              <p:cNvPr id="493" name="Serbia"/>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390" name="Kyrgystan"/>
              <p:cNvSpPr>
                <a:spLocks/>
              </p:cNvSpPr>
              <p:nvPr/>
            </p:nvSpPr>
            <p:spPr bwMode="auto">
              <a:xfrm>
                <a:off x="5970396" y="3210261"/>
                <a:ext cx="258962" cy="109504"/>
              </a:xfrm>
              <a:custGeom>
                <a:avLst/>
                <a:gdLst/>
                <a:ahLst/>
                <a:cxnLst>
                  <a:cxn ang="0">
                    <a:pos x="157" y="10"/>
                  </a:cxn>
                  <a:cxn ang="0">
                    <a:pos x="147" y="10"/>
                  </a:cxn>
                  <a:cxn ang="0">
                    <a:pos x="113" y="6"/>
                  </a:cxn>
                  <a:cxn ang="0">
                    <a:pos x="100" y="7"/>
                  </a:cxn>
                  <a:cxn ang="0">
                    <a:pos x="84" y="2"/>
                  </a:cxn>
                  <a:cxn ang="0">
                    <a:pos x="69" y="3"/>
                  </a:cxn>
                  <a:cxn ang="0">
                    <a:pos x="67" y="7"/>
                  </a:cxn>
                  <a:cxn ang="0">
                    <a:pos x="59" y="13"/>
                  </a:cxn>
                  <a:cxn ang="0">
                    <a:pos x="46" y="7"/>
                  </a:cxn>
                  <a:cxn ang="0">
                    <a:pos x="32" y="9"/>
                  </a:cxn>
                  <a:cxn ang="0">
                    <a:pos x="30" y="15"/>
                  </a:cxn>
                  <a:cxn ang="0">
                    <a:pos x="22" y="22"/>
                  </a:cxn>
                  <a:cxn ang="0">
                    <a:pos x="16" y="30"/>
                  </a:cxn>
                  <a:cxn ang="0">
                    <a:pos x="22" y="36"/>
                  </a:cxn>
                  <a:cxn ang="0">
                    <a:pos x="33" y="37"/>
                  </a:cxn>
                  <a:cxn ang="0">
                    <a:pos x="36" y="35"/>
                  </a:cxn>
                  <a:cxn ang="0">
                    <a:pos x="50" y="40"/>
                  </a:cxn>
                  <a:cxn ang="0">
                    <a:pos x="60" y="49"/>
                  </a:cxn>
                  <a:cxn ang="0">
                    <a:pos x="52" y="52"/>
                  </a:cxn>
                  <a:cxn ang="0">
                    <a:pos x="49" y="56"/>
                  </a:cxn>
                  <a:cxn ang="0">
                    <a:pos x="37" y="56"/>
                  </a:cxn>
                  <a:cxn ang="0">
                    <a:pos x="30" y="57"/>
                  </a:cxn>
                  <a:cxn ang="0">
                    <a:pos x="12" y="59"/>
                  </a:cxn>
                  <a:cxn ang="0">
                    <a:pos x="0" y="66"/>
                  </a:cxn>
                  <a:cxn ang="0">
                    <a:pos x="0" y="70"/>
                  </a:cxn>
                  <a:cxn ang="0">
                    <a:pos x="17" y="69"/>
                  </a:cxn>
                  <a:cxn ang="0">
                    <a:pos x="23" y="70"/>
                  </a:cxn>
                  <a:cxn ang="0">
                    <a:pos x="32" y="70"/>
                  </a:cxn>
                  <a:cxn ang="0">
                    <a:pos x="37" y="72"/>
                  </a:cxn>
                  <a:cxn ang="0">
                    <a:pos x="44" y="74"/>
                  </a:cxn>
                  <a:cxn ang="0">
                    <a:pos x="50" y="74"/>
                  </a:cxn>
                  <a:cxn ang="0">
                    <a:pos x="71" y="73"/>
                  </a:cxn>
                  <a:cxn ang="0">
                    <a:pos x="74" y="64"/>
                  </a:cxn>
                  <a:cxn ang="0">
                    <a:pos x="76" y="62"/>
                  </a:cxn>
                  <a:cxn ang="0">
                    <a:pos x="84" y="59"/>
                  </a:cxn>
                  <a:cxn ang="0">
                    <a:pos x="90" y="54"/>
                  </a:cxn>
                  <a:cxn ang="0">
                    <a:pos x="97" y="52"/>
                  </a:cxn>
                  <a:cxn ang="0">
                    <a:pos x="104" y="54"/>
                  </a:cxn>
                  <a:cxn ang="0">
                    <a:pos x="110" y="54"/>
                  </a:cxn>
                  <a:cxn ang="0">
                    <a:pos x="120" y="49"/>
                  </a:cxn>
                  <a:cxn ang="0">
                    <a:pos x="125" y="43"/>
                  </a:cxn>
                  <a:cxn ang="0">
                    <a:pos x="138" y="44"/>
                  </a:cxn>
                  <a:cxn ang="0">
                    <a:pos x="147" y="37"/>
                  </a:cxn>
                  <a:cxn ang="0">
                    <a:pos x="153" y="33"/>
                  </a:cxn>
                  <a:cxn ang="0">
                    <a:pos x="167" y="26"/>
                  </a:cxn>
                  <a:cxn ang="0">
                    <a:pos x="174" y="22"/>
                  </a:cxn>
                  <a:cxn ang="0">
                    <a:pos x="171" y="17"/>
                  </a:cxn>
                  <a:cxn ang="0">
                    <a:pos x="161" y="15"/>
                  </a:cxn>
                </a:cxnLst>
                <a:rect l="0" t="0" r="r" b="b"/>
                <a:pathLst>
                  <a:path w="175" h="74">
                    <a:moveTo>
                      <a:pt x="161" y="15"/>
                    </a:moveTo>
                    <a:lnTo>
                      <a:pt x="161" y="15"/>
                    </a:lnTo>
                    <a:lnTo>
                      <a:pt x="157" y="10"/>
                    </a:lnTo>
                    <a:lnTo>
                      <a:pt x="154" y="10"/>
                    </a:lnTo>
                    <a:lnTo>
                      <a:pt x="151" y="10"/>
                    </a:lnTo>
                    <a:lnTo>
                      <a:pt x="147" y="10"/>
                    </a:lnTo>
                    <a:lnTo>
                      <a:pt x="147" y="10"/>
                    </a:lnTo>
                    <a:lnTo>
                      <a:pt x="125" y="7"/>
                    </a:lnTo>
                    <a:lnTo>
                      <a:pt x="113" y="6"/>
                    </a:lnTo>
                    <a:lnTo>
                      <a:pt x="106" y="7"/>
                    </a:lnTo>
                    <a:lnTo>
                      <a:pt x="106" y="7"/>
                    </a:lnTo>
                    <a:lnTo>
                      <a:pt x="100" y="7"/>
                    </a:lnTo>
                    <a:lnTo>
                      <a:pt x="94" y="6"/>
                    </a:lnTo>
                    <a:lnTo>
                      <a:pt x="84" y="2"/>
                    </a:lnTo>
                    <a:lnTo>
                      <a:pt x="84" y="2"/>
                    </a:lnTo>
                    <a:lnTo>
                      <a:pt x="80" y="0"/>
                    </a:lnTo>
                    <a:lnTo>
                      <a:pt x="74" y="2"/>
                    </a:lnTo>
                    <a:lnTo>
                      <a:pt x="69" y="3"/>
                    </a:lnTo>
                    <a:lnTo>
                      <a:pt x="67" y="6"/>
                    </a:lnTo>
                    <a:lnTo>
                      <a:pt x="67" y="7"/>
                    </a:lnTo>
                    <a:lnTo>
                      <a:pt x="67" y="7"/>
                    </a:lnTo>
                    <a:lnTo>
                      <a:pt x="66" y="12"/>
                    </a:lnTo>
                    <a:lnTo>
                      <a:pt x="63" y="13"/>
                    </a:lnTo>
                    <a:lnTo>
                      <a:pt x="59" y="13"/>
                    </a:lnTo>
                    <a:lnTo>
                      <a:pt x="53" y="10"/>
                    </a:lnTo>
                    <a:lnTo>
                      <a:pt x="53" y="10"/>
                    </a:lnTo>
                    <a:lnTo>
                      <a:pt x="46" y="7"/>
                    </a:lnTo>
                    <a:lnTo>
                      <a:pt x="39" y="7"/>
                    </a:lnTo>
                    <a:lnTo>
                      <a:pt x="33" y="7"/>
                    </a:lnTo>
                    <a:lnTo>
                      <a:pt x="32" y="9"/>
                    </a:lnTo>
                    <a:lnTo>
                      <a:pt x="32" y="10"/>
                    </a:lnTo>
                    <a:lnTo>
                      <a:pt x="32" y="10"/>
                    </a:lnTo>
                    <a:lnTo>
                      <a:pt x="30" y="15"/>
                    </a:lnTo>
                    <a:lnTo>
                      <a:pt x="27" y="17"/>
                    </a:lnTo>
                    <a:lnTo>
                      <a:pt x="22" y="22"/>
                    </a:lnTo>
                    <a:lnTo>
                      <a:pt x="22" y="22"/>
                    </a:lnTo>
                    <a:lnTo>
                      <a:pt x="19" y="25"/>
                    </a:lnTo>
                    <a:lnTo>
                      <a:pt x="16" y="30"/>
                    </a:lnTo>
                    <a:lnTo>
                      <a:pt x="16" y="30"/>
                    </a:lnTo>
                    <a:lnTo>
                      <a:pt x="19" y="33"/>
                    </a:lnTo>
                    <a:lnTo>
                      <a:pt x="22" y="36"/>
                    </a:lnTo>
                    <a:lnTo>
                      <a:pt x="22" y="36"/>
                    </a:lnTo>
                    <a:lnTo>
                      <a:pt x="24" y="37"/>
                    </a:lnTo>
                    <a:lnTo>
                      <a:pt x="29" y="39"/>
                    </a:lnTo>
                    <a:lnTo>
                      <a:pt x="33" y="37"/>
                    </a:lnTo>
                    <a:lnTo>
                      <a:pt x="34" y="35"/>
                    </a:lnTo>
                    <a:lnTo>
                      <a:pt x="34" y="35"/>
                    </a:lnTo>
                    <a:lnTo>
                      <a:pt x="36" y="35"/>
                    </a:lnTo>
                    <a:lnTo>
                      <a:pt x="37" y="35"/>
                    </a:lnTo>
                    <a:lnTo>
                      <a:pt x="43" y="36"/>
                    </a:lnTo>
                    <a:lnTo>
                      <a:pt x="50" y="40"/>
                    </a:lnTo>
                    <a:lnTo>
                      <a:pt x="57" y="46"/>
                    </a:lnTo>
                    <a:lnTo>
                      <a:pt x="57" y="46"/>
                    </a:lnTo>
                    <a:lnTo>
                      <a:pt x="60" y="49"/>
                    </a:lnTo>
                    <a:lnTo>
                      <a:pt x="57" y="50"/>
                    </a:lnTo>
                    <a:lnTo>
                      <a:pt x="53" y="50"/>
                    </a:lnTo>
                    <a:lnTo>
                      <a:pt x="52" y="52"/>
                    </a:lnTo>
                    <a:lnTo>
                      <a:pt x="50" y="53"/>
                    </a:lnTo>
                    <a:lnTo>
                      <a:pt x="50" y="53"/>
                    </a:lnTo>
                    <a:lnTo>
                      <a:pt x="49" y="56"/>
                    </a:lnTo>
                    <a:lnTo>
                      <a:pt x="47" y="56"/>
                    </a:lnTo>
                    <a:lnTo>
                      <a:pt x="42" y="56"/>
                    </a:lnTo>
                    <a:lnTo>
                      <a:pt x="37" y="56"/>
                    </a:lnTo>
                    <a:lnTo>
                      <a:pt x="34" y="56"/>
                    </a:lnTo>
                    <a:lnTo>
                      <a:pt x="34" y="56"/>
                    </a:lnTo>
                    <a:lnTo>
                      <a:pt x="30" y="57"/>
                    </a:lnTo>
                    <a:lnTo>
                      <a:pt x="23" y="59"/>
                    </a:lnTo>
                    <a:lnTo>
                      <a:pt x="12" y="59"/>
                    </a:lnTo>
                    <a:lnTo>
                      <a:pt x="12" y="59"/>
                    </a:lnTo>
                    <a:lnTo>
                      <a:pt x="7" y="60"/>
                    </a:lnTo>
                    <a:lnTo>
                      <a:pt x="3" y="63"/>
                    </a:lnTo>
                    <a:lnTo>
                      <a:pt x="0" y="66"/>
                    </a:lnTo>
                    <a:lnTo>
                      <a:pt x="0" y="69"/>
                    </a:lnTo>
                    <a:lnTo>
                      <a:pt x="0" y="69"/>
                    </a:lnTo>
                    <a:lnTo>
                      <a:pt x="0" y="70"/>
                    </a:lnTo>
                    <a:lnTo>
                      <a:pt x="3" y="70"/>
                    </a:lnTo>
                    <a:lnTo>
                      <a:pt x="9" y="70"/>
                    </a:lnTo>
                    <a:lnTo>
                      <a:pt x="17" y="69"/>
                    </a:lnTo>
                    <a:lnTo>
                      <a:pt x="20" y="70"/>
                    </a:lnTo>
                    <a:lnTo>
                      <a:pt x="23" y="70"/>
                    </a:lnTo>
                    <a:lnTo>
                      <a:pt x="23" y="70"/>
                    </a:lnTo>
                    <a:lnTo>
                      <a:pt x="24" y="72"/>
                    </a:lnTo>
                    <a:lnTo>
                      <a:pt x="27" y="72"/>
                    </a:lnTo>
                    <a:lnTo>
                      <a:pt x="32" y="70"/>
                    </a:lnTo>
                    <a:lnTo>
                      <a:pt x="34" y="70"/>
                    </a:lnTo>
                    <a:lnTo>
                      <a:pt x="36" y="70"/>
                    </a:lnTo>
                    <a:lnTo>
                      <a:pt x="37" y="72"/>
                    </a:lnTo>
                    <a:lnTo>
                      <a:pt x="37" y="72"/>
                    </a:lnTo>
                    <a:lnTo>
                      <a:pt x="40" y="73"/>
                    </a:lnTo>
                    <a:lnTo>
                      <a:pt x="44" y="74"/>
                    </a:lnTo>
                    <a:lnTo>
                      <a:pt x="47" y="73"/>
                    </a:lnTo>
                    <a:lnTo>
                      <a:pt x="50" y="74"/>
                    </a:lnTo>
                    <a:lnTo>
                      <a:pt x="50" y="74"/>
                    </a:lnTo>
                    <a:lnTo>
                      <a:pt x="56" y="74"/>
                    </a:lnTo>
                    <a:lnTo>
                      <a:pt x="61" y="74"/>
                    </a:lnTo>
                    <a:lnTo>
                      <a:pt x="71" y="73"/>
                    </a:lnTo>
                    <a:lnTo>
                      <a:pt x="71" y="73"/>
                    </a:lnTo>
                    <a:lnTo>
                      <a:pt x="73" y="69"/>
                    </a:lnTo>
                    <a:lnTo>
                      <a:pt x="74" y="64"/>
                    </a:lnTo>
                    <a:lnTo>
                      <a:pt x="74" y="64"/>
                    </a:lnTo>
                    <a:lnTo>
                      <a:pt x="74" y="63"/>
                    </a:lnTo>
                    <a:lnTo>
                      <a:pt x="76" y="62"/>
                    </a:lnTo>
                    <a:lnTo>
                      <a:pt x="81" y="60"/>
                    </a:lnTo>
                    <a:lnTo>
                      <a:pt x="81" y="60"/>
                    </a:lnTo>
                    <a:lnTo>
                      <a:pt x="84" y="59"/>
                    </a:lnTo>
                    <a:lnTo>
                      <a:pt x="86" y="57"/>
                    </a:lnTo>
                    <a:lnTo>
                      <a:pt x="88" y="56"/>
                    </a:lnTo>
                    <a:lnTo>
                      <a:pt x="90" y="54"/>
                    </a:lnTo>
                    <a:lnTo>
                      <a:pt x="90" y="54"/>
                    </a:lnTo>
                    <a:lnTo>
                      <a:pt x="94" y="53"/>
                    </a:lnTo>
                    <a:lnTo>
                      <a:pt x="97" y="52"/>
                    </a:lnTo>
                    <a:lnTo>
                      <a:pt x="100" y="52"/>
                    </a:lnTo>
                    <a:lnTo>
                      <a:pt x="100" y="52"/>
                    </a:lnTo>
                    <a:lnTo>
                      <a:pt x="104" y="54"/>
                    </a:lnTo>
                    <a:lnTo>
                      <a:pt x="107" y="56"/>
                    </a:lnTo>
                    <a:lnTo>
                      <a:pt x="110" y="54"/>
                    </a:lnTo>
                    <a:lnTo>
                      <a:pt x="110" y="54"/>
                    </a:lnTo>
                    <a:lnTo>
                      <a:pt x="114" y="53"/>
                    </a:lnTo>
                    <a:lnTo>
                      <a:pt x="116" y="52"/>
                    </a:lnTo>
                    <a:lnTo>
                      <a:pt x="120" y="49"/>
                    </a:lnTo>
                    <a:lnTo>
                      <a:pt x="120" y="49"/>
                    </a:lnTo>
                    <a:lnTo>
                      <a:pt x="123" y="44"/>
                    </a:lnTo>
                    <a:lnTo>
                      <a:pt x="125" y="43"/>
                    </a:lnTo>
                    <a:lnTo>
                      <a:pt x="134" y="44"/>
                    </a:lnTo>
                    <a:lnTo>
                      <a:pt x="134" y="44"/>
                    </a:lnTo>
                    <a:lnTo>
                      <a:pt x="138" y="44"/>
                    </a:lnTo>
                    <a:lnTo>
                      <a:pt x="143" y="43"/>
                    </a:lnTo>
                    <a:lnTo>
                      <a:pt x="145" y="40"/>
                    </a:lnTo>
                    <a:lnTo>
                      <a:pt x="147" y="37"/>
                    </a:lnTo>
                    <a:lnTo>
                      <a:pt x="147" y="37"/>
                    </a:lnTo>
                    <a:lnTo>
                      <a:pt x="148" y="35"/>
                    </a:lnTo>
                    <a:lnTo>
                      <a:pt x="153" y="33"/>
                    </a:lnTo>
                    <a:lnTo>
                      <a:pt x="160" y="30"/>
                    </a:lnTo>
                    <a:lnTo>
                      <a:pt x="160" y="30"/>
                    </a:lnTo>
                    <a:lnTo>
                      <a:pt x="167" y="26"/>
                    </a:lnTo>
                    <a:lnTo>
                      <a:pt x="174" y="23"/>
                    </a:lnTo>
                    <a:lnTo>
                      <a:pt x="174" y="23"/>
                    </a:lnTo>
                    <a:lnTo>
                      <a:pt x="174" y="22"/>
                    </a:lnTo>
                    <a:lnTo>
                      <a:pt x="175" y="19"/>
                    </a:lnTo>
                    <a:lnTo>
                      <a:pt x="175" y="19"/>
                    </a:lnTo>
                    <a:lnTo>
                      <a:pt x="171" y="17"/>
                    </a:lnTo>
                    <a:lnTo>
                      <a:pt x="168" y="17"/>
                    </a:lnTo>
                    <a:lnTo>
                      <a:pt x="165" y="16"/>
                    </a:lnTo>
                    <a:lnTo>
                      <a:pt x="161" y="15"/>
                    </a:lnTo>
                    <a:lnTo>
                      <a:pt x="161" y="1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91" name="Georgia"/>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392" name="Turkey"/>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02" name="Poland"/>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03" name="Bosnia and Herzegovina"/>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04" name="Croatia"/>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05" name="Albania"/>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06" name="Austria"/>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07" name="Hungary"/>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08" name="Czech Republic"/>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09" name="Slovakia"/>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10" name="Netherlands"/>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11" name="Luxembourg"/>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12" name="Belgium"/>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13" name="Romania"/>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14" name="Moldova"/>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15" name="Bulgaria"/>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16" name="Macedonia"/>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17" name="Ukraine"/>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18" name="Belarus"/>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19" name="Latvia"/>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20" name="Lithuania"/>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21" name="Switzerland"/>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22" name="Germany"/>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23" name="Finland"/>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56" name="Slovenia"/>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57" name="Greece"/>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58" name="Cyprus"/>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59" name="Iceland"/>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60" name="Ireland"/>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61" name="Denmark"/>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62" name="Sweden"/>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63" name="Estonia"/>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66" name="Uzbekistan"/>
              <p:cNvSpPr>
                <a:spLocks/>
              </p:cNvSpPr>
              <p:nvPr/>
            </p:nvSpPr>
            <p:spPr bwMode="auto">
              <a:xfrm>
                <a:off x="5646323" y="3139231"/>
                <a:ext cx="412860" cy="245644"/>
              </a:xfrm>
              <a:custGeom>
                <a:avLst/>
                <a:gdLst/>
                <a:ahLst/>
                <a:cxnLst>
                  <a:cxn ang="0">
                    <a:pos x="262" y="84"/>
                  </a:cxn>
                  <a:cxn ang="0">
                    <a:pos x="253" y="83"/>
                  </a:cxn>
                  <a:cxn ang="0">
                    <a:pos x="241" y="84"/>
                  </a:cxn>
                  <a:cxn ang="0">
                    <a:pos x="232" y="78"/>
                  </a:cxn>
                  <a:cxn ang="0">
                    <a:pos x="214" y="85"/>
                  </a:cxn>
                  <a:cxn ang="0">
                    <a:pos x="208" y="95"/>
                  </a:cxn>
                  <a:cxn ang="0">
                    <a:pos x="202" y="94"/>
                  </a:cxn>
                  <a:cxn ang="0">
                    <a:pos x="188" y="87"/>
                  </a:cxn>
                  <a:cxn ang="0">
                    <a:pos x="175" y="83"/>
                  </a:cxn>
                  <a:cxn ang="0">
                    <a:pos x="167" y="70"/>
                  </a:cxn>
                  <a:cxn ang="0">
                    <a:pos x="165" y="53"/>
                  </a:cxn>
                  <a:cxn ang="0">
                    <a:pos x="155" y="46"/>
                  </a:cxn>
                  <a:cxn ang="0">
                    <a:pos x="133" y="41"/>
                  </a:cxn>
                  <a:cxn ang="0">
                    <a:pos x="105" y="41"/>
                  </a:cxn>
                  <a:cxn ang="0">
                    <a:pos x="96" y="41"/>
                  </a:cxn>
                  <a:cxn ang="0">
                    <a:pos x="76" y="24"/>
                  </a:cxn>
                  <a:cxn ang="0">
                    <a:pos x="57" y="33"/>
                  </a:cxn>
                  <a:cxn ang="0">
                    <a:pos x="53" y="24"/>
                  </a:cxn>
                  <a:cxn ang="0">
                    <a:pos x="54" y="4"/>
                  </a:cxn>
                  <a:cxn ang="0">
                    <a:pos x="50" y="3"/>
                  </a:cxn>
                  <a:cxn ang="0">
                    <a:pos x="46" y="24"/>
                  </a:cxn>
                  <a:cxn ang="0">
                    <a:pos x="41" y="23"/>
                  </a:cxn>
                  <a:cxn ang="0">
                    <a:pos x="2" y="11"/>
                  </a:cxn>
                  <a:cxn ang="0">
                    <a:pos x="0" y="83"/>
                  </a:cxn>
                  <a:cxn ang="0">
                    <a:pos x="14" y="84"/>
                  </a:cxn>
                  <a:cxn ang="0">
                    <a:pos x="17" y="74"/>
                  </a:cxn>
                  <a:cxn ang="0">
                    <a:pos x="29" y="68"/>
                  </a:cxn>
                  <a:cxn ang="0">
                    <a:pos x="34" y="63"/>
                  </a:cxn>
                  <a:cxn ang="0">
                    <a:pos x="40" y="60"/>
                  </a:cxn>
                  <a:cxn ang="0">
                    <a:pos x="51" y="63"/>
                  </a:cxn>
                  <a:cxn ang="0">
                    <a:pos x="66" y="67"/>
                  </a:cxn>
                  <a:cxn ang="0">
                    <a:pos x="70" y="84"/>
                  </a:cxn>
                  <a:cxn ang="0">
                    <a:pos x="94" y="87"/>
                  </a:cxn>
                  <a:cxn ang="0">
                    <a:pos x="100" y="97"/>
                  </a:cxn>
                  <a:cxn ang="0">
                    <a:pos x="107" y="110"/>
                  </a:cxn>
                  <a:cxn ang="0">
                    <a:pos x="124" y="122"/>
                  </a:cxn>
                  <a:cxn ang="0">
                    <a:pos x="142" y="132"/>
                  </a:cxn>
                  <a:cxn ang="0">
                    <a:pos x="155" y="142"/>
                  </a:cxn>
                  <a:cxn ang="0">
                    <a:pos x="167" y="145"/>
                  </a:cxn>
                  <a:cxn ang="0">
                    <a:pos x="175" y="158"/>
                  </a:cxn>
                  <a:cxn ang="0">
                    <a:pos x="185" y="162"/>
                  </a:cxn>
                  <a:cxn ang="0">
                    <a:pos x="195" y="166"/>
                  </a:cxn>
                  <a:cxn ang="0">
                    <a:pos x="199" y="152"/>
                  </a:cxn>
                  <a:cxn ang="0">
                    <a:pos x="202" y="147"/>
                  </a:cxn>
                  <a:cxn ang="0">
                    <a:pos x="199" y="135"/>
                  </a:cxn>
                  <a:cxn ang="0">
                    <a:pos x="191" y="125"/>
                  </a:cxn>
                  <a:cxn ang="0">
                    <a:pos x="192" y="121"/>
                  </a:cxn>
                  <a:cxn ang="0">
                    <a:pos x="206" y="115"/>
                  </a:cxn>
                  <a:cxn ang="0">
                    <a:pos x="211" y="108"/>
                  </a:cxn>
                  <a:cxn ang="0">
                    <a:pos x="218" y="100"/>
                  </a:cxn>
                  <a:cxn ang="0">
                    <a:pos x="231" y="97"/>
                  </a:cxn>
                  <a:cxn ang="0">
                    <a:pos x="241" y="94"/>
                  </a:cxn>
                  <a:cxn ang="0">
                    <a:pos x="235" y="107"/>
                  </a:cxn>
                  <a:cxn ang="0">
                    <a:pos x="253" y="104"/>
                  </a:cxn>
                  <a:cxn ang="0">
                    <a:pos x="266" y="104"/>
                  </a:cxn>
                  <a:cxn ang="0">
                    <a:pos x="271" y="100"/>
                  </a:cxn>
                  <a:cxn ang="0">
                    <a:pos x="276" y="94"/>
                  </a:cxn>
                </a:cxnLst>
                <a:rect l="0" t="0" r="r" b="b"/>
                <a:pathLst>
                  <a:path w="279" h="166">
                    <a:moveTo>
                      <a:pt x="276" y="94"/>
                    </a:moveTo>
                    <a:lnTo>
                      <a:pt x="276" y="94"/>
                    </a:lnTo>
                    <a:lnTo>
                      <a:pt x="269" y="88"/>
                    </a:lnTo>
                    <a:lnTo>
                      <a:pt x="262" y="84"/>
                    </a:lnTo>
                    <a:lnTo>
                      <a:pt x="256" y="83"/>
                    </a:lnTo>
                    <a:lnTo>
                      <a:pt x="255" y="83"/>
                    </a:lnTo>
                    <a:lnTo>
                      <a:pt x="253" y="83"/>
                    </a:lnTo>
                    <a:lnTo>
                      <a:pt x="253" y="83"/>
                    </a:lnTo>
                    <a:lnTo>
                      <a:pt x="252" y="85"/>
                    </a:lnTo>
                    <a:lnTo>
                      <a:pt x="248" y="87"/>
                    </a:lnTo>
                    <a:lnTo>
                      <a:pt x="243" y="85"/>
                    </a:lnTo>
                    <a:lnTo>
                      <a:pt x="241" y="84"/>
                    </a:lnTo>
                    <a:lnTo>
                      <a:pt x="241" y="84"/>
                    </a:lnTo>
                    <a:lnTo>
                      <a:pt x="239" y="81"/>
                    </a:lnTo>
                    <a:lnTo>
                      <a:pt x="236" y="78"/>
                    </a:lnTo>
                    <a:lnTo>
                      <a:pt x="232" y="78"/>
                    </a:lnTo>
                    <a:lnTo>
                      <a:pt x="226" y="80"/>
                    </a:lnTo>
                    <a:lnTo>
                      <a:pt x="226" y="80"/>
                    </a:lnTo>
                    <a:lnTo>
                      <a:pt x="219" y="83"/>
                    </a:lnTo>
                    <a:lnTo>
                      <a:pt x="214" y="85"/>
                    </a:lnTo>
                    <a:lnTo>
                      <a:pt x="211" y="90"/>
                    </a:lnTo>
                    <a:lnTo>
                      <a:pt x="209" y="92"/>
                    </a:lnTo>
                    <a:lnTo>
                      <a:pt x="209" y="92"/>
                    </a:lnTo>
                    <a:lnTo>
                      <a:pt x="208" y="95"/>
                    </a:lnTo>
                    <a:lnTo>
                      <a:pt x="205" y="97"/>
                    </a:lnTo>
                    <a:lnTo>
                      <a:pt x="204" y="97"/>
                    </a:lnTo>
                    <a:lnTo>
                      <a:pt x="202" y="94"/>
                    </a:lnTo>
                    <a:lnTo>
                      <a:pt x="202" y="94"/>
                    </a:lnTo>
                    <a:lnTo>
                      <a:pt x="201" y="91"/>
                    </a:lnTo>
                    <a:lnTo>
                      <a:pt x="197" y="90"/>
                    </a:lnTo>
                    <a:lnTo>
                      <a:pt x="188" y="87"/>
                    </a:lnTo>
                    <a:lnTo>
                      <a:pt x="188" y="87"/>
                    </a:lnTo>
                    <a:lnTo>
                      <a:pt x="179" y="85"/>
                    </a:lnTo>
                    <a:lnTo>
                      <a:pt x="177" y="85"/>
                    </a:lnTo>
                    <a:lnTo>
                      <a:pt x="175" y="84"/>
                    </a:lnTo>
                    <a:lnTo>
                      <a:pt x="175" y="83"/>
                    </a:lnTo>
                    <a:lnTo>
                      <a:pt x="175" y="83"/>
                    </a:lnTo>
                    <a:lnTo>
                      <a:pt x="172" y="78"/>
                    </a:lnTo>
                    <a:lnTo>
                      <a:pt x="170" y="74"/>
                    </a:lnTo>
                    <a:lnTo>
                      <a:pt x="167" y="70"/>
                    </a:lnTo>
                    <a:lnTo>
                      <a:pt x="165" y="65"/>
                    </a:lnTo>
                    <a:lnTo>
                      <a:pt x="165" y="65"/>
                    </a:lnTo>
                    <a:lnTo>
                      <a:pt x="165" y="57"/>
                    </a:lnTo>
                    <a:lnTo>
                      <a:pt x="165" y="53"/>
                    </a:lnTo>
                    <a:lnTo>
                      <a:pt x="162" y="51"/>
                    </a:lnTo>
                    <a:lnTo>
                      <a:pt x="162" y="51"/>
                    </a:lnTo>
                    <a:lnTo>
                      <a:pt x="158" y="48"/>
                    </a:lnTo>
                    <a:lnTo>
                      <a:pt x="155" y="46"/>
                    </a:lnTo>
                    <a:lnTo>
                      <a:pt x="152" y="43"/>
                    </a:lnTo>
                    <a:lnTo>
                      <a:pt x="150" y="41"/>
                    </a:lnTo>
                    <a:lnTo>
                      <a:pt x="150" y="41"/>
                    </a:lnTo>
                    <a:lnTo>
                      <a:pt x="133" y="41"/>
                    </a:lnTo>
                    <a:lnTo>
                      <a:pt x="117" y="40"/>
                    </a:lnTo>
                    <a:lnTo>
                      <a:pt x="117" y="40"/>
                    </a:lnTo>
                    <a:lnTo>
                      <a:pt x="113" y="40"/>
                    </a:lnTo>
                    <a:lnTo>
                      <a:pt x="105" y="41"/>
                    </a:lnTo>
                    <a:lnTo>
                      <a:pt x="100" y="43"/>
                    </a:lnTo>
                    <a:lnTo>
                      <a:pt x="97" y="43"/>
                    </a:lnTo>
                    <a:lnTo>
                      <a:pt x="96" y="41"/>
                    </a:lnTo>
                    <a:lnTo>
                      <a:pt x="96" y="41"/>
                    </a:lnTo>
                    <a:lnTo>
                      <a:pt x="88" y="31"/>
                    </a:lnTo>
                    <a:lnTo>
                      <a:pt x="77" y="21"/>
                    </a:lnTo>
                    <a:lnTo>
                      <a:pt x="77" y="21"/>
                    </a:lnTo>
                    <a:lnTo>
                      <a:pt x="76" y="24"/>
                    </a:lnTo>
                    <a:lnTo>
                      <a:pt x="73" y="28"/>
                    </a:lnTo>
                    <a:lnTo>
                      <a:pt x="73" y="28"/>
                    </a:lnTo>
                    <a:lnTo>
                      <a:pt x="64" y="33"/>
                    </a:lnTo>
                    <a:lnTo>
                      <a:pt x="57" y="33"/>
                    </a:lnTo>
                    <a:lnTo>
                      <a:pt x="54" y="33"/>
                    </a:lnTo>
                    <a:lnTo>
                      <a:pt x="53" y="31"/>
                    </a:lnTo>
                    <a:lnTo>
                      <a:pt x="53" y="28"/>
                    </a:lnTo>
                    <a:lnTo>
                      <a:pt x="53" y="24"/>
                    </a:lnTo>
                    <a:lnTo>
                      <a:pt x="53" y="24"/>
                    </a:lnTo>
                    <a:lnTo>
                      <a:pt x="56" y="17"/>
                    </a:lnTo>
                    <a:lnTo>
                      <a:pt x="56" y="9"/>
                    </a:lnTo>
                    <a:lnTo>
                      <a:pt x="54" y="4"/>
                    </a:lnTo>
                    <a:lnTo>
                      <a:pt x="53" y="3"/>
                    </a:lnTo>
                    <a:lnTo>
                      <a:pt x="51" y="1"/>
                    </a:lnTo>
                    <a:lnTo>
                      <a:pt x="51" y="1"/>
                    </a:lnTo>
                    <a:lnTo>
                      <a:pt x="50" y="3"/>
                    </a:lnTo>
                    <a:lnTo>
                      <a:pt x="49" y="6"/>
                    </a:lnTo>
                    <a:lnTo>
                      <a:pt x="47" y="13"/>
                    </a:lnTo>
                    <a:lnTo>
                      <a:pt x="47" y="21"/>
                    </a:lnTo>
                    <a:lnTo>
                      <a:pt x="46" y="24"/>
                    </a:lnTo>
                    <a:lnTo>
                      <a:pt x="44" y="26"/>
                    </a:lnTo>
                    <a:lnTo>
                      <a:pt x="44" y="26"/>
                    </a:lnTo>
                    <a:lnTo>
                      <a:pt x="43" y="24"/>
                    </a:lnTo>
                    <a:lnTo>
                      <a:pt x="41" y="23"/>
                    </a:lnTo>
                    <a:lnTo>
                      <a:pt x="40" y="17"/>
                    </a:lnTo>
                    <a:lnTo>
                      <a:pt x="40" y="9"/>
                    </a:lnTo>
                    <a:lnTo>
                      <a:pt x="43" y="0"/>
                    </a:lnTo>
                    <a:lnTo>
                      <a:pt x="2" y="11"/>
                    </a:lnTo>
                    <a:lnTo>
                      <a:pt x="0" y="83"/>
                    </a:lnTo>
                    <a:lnTo>
                      <a:pt x="0" y="83"/>
                    </a:lnTo>
                    <a:lnTo>
                      <a:pt x="0" y="83"/>
                    </a:lnTo>
                    <a:lnTo>
                      <a:pt x="0" y="83"/>
                    </a:lnTo>
                    <a:lnTo>
                      <a:pt x="6" y="84"/>
                    </a:lnTo>
                    <a:lnTo>
                      <a:pt x="12" y="85"/>
                    </a:lnTo>
                    <a:lnTo>
                      <a:pt x="12" y="85"/>
                    </a:lnTo>
                    <a:lnTo>
                      <a:pt x="14" y="84"/>
                    </a:lnTo>
                    <a:lnTo>
                      <a:pt x="16" y="83"/>
                    </a:lnTo>
                    <a:lnTo>
                      <a:pt x="17" y="77"/>
                    </a:lnTo>
                    <a:lnTo>
                      <a:pt x="17" y="77"/>
                    </a:lnTo>
                    <a:lnTo>
                      <a:pt x="17" y="74"/>
                    </a:lnTo>
                    <a:lnTo>
                      <a:pt x="20" y="71"/>
                    </a:lnTo>
                    <a:lnTo>
                      <a:pt x="24" y="70"/>
                    </a:lnTo>
                    <a:lnTo>
                      <a:pt x="29" y="68"/>
                    </a:lnTo>
                    <a:lnTo>
                      <a:pt x="29" y="68"/>
                    </a:lnTo>
                    <a:lnTo>
                      <a:pt x="30" y="68"/>
                    </a:lnTo>
                    <a:lnTo>
                      <a:pt x="32" y="65"/>
                    </a:lnTo>
                    <a:lnTo>
                      <a:pt x="33" y="64"/>
                    </a:lnTo>
                    <a:lnTo>
                      <a:pt x="34" y="63"/>
                    </a:lnTo>
                    <a:lnTo>
                      <a:pt x="34" y="63"/>
                    </a:lnTo>
                    <a:lnTo>
                      <a:pt x="37" y="61"/>
                    </a:lnTo>
                    <a:lnTo>
                      <a:pt x="40" y="60"/>
                    </a:lnTo>
                    <a:lnTo>
                      <a:pt x="40" y="60"/>
                    </a:lnTo>
                    <a:lnTo>
                      <a:pt x="43" y="58"/>
                    </a:lnTo>
                    <a:lnTo>
                      <a:pt x="46" y="58"/>
                    </a:lnTo>
                    <a:lnTo>
                      <a:pt x="51" y="63"/>
                    </a:lnTo>
                    <a:lnTo>
                      <a:pt x="51" y="63"/>
                    </a:lnTo>
                    <a:lnTo>
                      <a:pt x="57" y="64"/>
                    </a:lnTo>
                    <a:lnTo>
                      <a:pt x="64" y="67"/>
                    </a:lnTo>
                    <a:lnTo>
                      <a:pt x="64" y="67"/>
                    </a:lnTo>
                    <a:lnTo>
                      <a:pt x="66" y="67"/>
                    </a:lnTo>
                    <a:lnTo>
                      <a:pt x="67" y="68"/>
                    </a:lnTo>
                    <a:lnTo>
                      <a:pt x="69" y="74"/>
                    </a:lnTo>
                    <a:lnTo>
                      <a:pt x="70" y="84"/>
                    </a:lnTo>
                    <a:lnTo>
                      <a:pt x="70" y="84"/>
                    </a:lnTo>
                    <a:lnTo>
                      <a:pt x="70" y="84"/>
                    </a:lnTo>
                    <a:lnTo>
                      <a:pt x="73" y="85"/>
                    </a:lnTo>
                    <a:lnTo>
                      <a:pt x="80" y="85"/>
                    </a:lnTo>
                    <a:lnTo>
                      <a:pt x="94" y="87"/>
                    </a:lnTo>
                    <a:lnTo>
                      <a:pt x="94" y="87"/>
                    </a:lnTo>
                    <a:lnTo>
                      <a:pt x="96" y="87"/>
                    </a:lnTo>
                    <a:lnTo>
                      <a:pt x="97" y="90"/>
                    </a:lnTo>
                    <a:lnTo>
                      <a:pt x="100" y="97"/>
                    </a:lnTo>
                    <a:lnTo>
                      <a:pt x="100" y="97"/>
                    </a:lnTo>
                    <a:lnTo>
                      <a:pt x="104" y="104"/>
                    </a:lnTo>
                    <a:lnTo>
                      <a:pt x="107" y="110"/>
                    </a:lnTo>
                    <a:lnTo>
                      <a:pt x="107" y="110"/>
                    </a:lnTo>
                    <a:lnTo>
                      <a:pt x="110" y="112"/>
                    </a:lnTo>
                    <a:lnTo>
                      <a:pt x="114" y="115"/>
                    </a:lnTo>
                    <a:lnTo>
                      <a:pt x="120" y="118"/>
                    </a:lnTo>
                    <a:lnTo>
                      <a:pt x="124" y="122"/>
                    </a:lnTo>
                    <a:lnTo>
                      <a:pt x="124" y="122"/>
                    </a:lnTo>
                    <a:lnTo>
                      <a:pt x="127" y="125"/>
                    </a:lnTo>
                    <a:lnTo>
                      <a:pt x="131" y="128"/>
                    </a:lnTo>
                    <a:lnTo>
                      <a:pt x="142" y="132"/>
                    </a:lnTo>
                    <a:lnTo>
                      <a:pt x="142" y="132"/>
                    </a:lnTo>
                    <a:lnTo>
                      <a:pt x="147" y="135"/>
                    </a:lnTo>
                    <a:lnTo>
                      <a:pt x="151" y="139"/>
                    </a:lnTo>
                    <a:lnTo>
                      <a:pt x="155" y="142"/>
                    </a:lnTo>
                    <a:lnTo>
                      <a:pt x="158" y="144"/>
                    </a:lnTo>
                    <a:lnTo>
                      <a:pt x="158" y="144"/>
                    </a:lnTo>
                    <a:lnTo>
                      <a:pt x="162" y="144"/>
                    </a:lnTo>
                    <a:lnTo>
                      <a:pt x="167" y="145"/>
                    </a:lnTo>
                    <a:lnTo>
                      <a:pt x="172" y="148"/>
                    </a:lnTo>
                    <a:lnTo>
                      <a:pt x="174" y="159"/>
                    </a:lnTo>
                    <a:lnTo>
                      <a:pt x="174" y="159"/>
                    </a:lnTo>
                    <a:lnTo>
                      <a:pt x="175" y="158"/>
                    </a:lnTo>
                    <a:lnTo>
                      <a:pt x="175" y="158"/>
                    </a:lnTo>
                    <a:lnTo>
                      <a:pt x="179" y="158"/>
                    </a:lnTo>
                    <a:lnTo>
                      <a:pt x="182" y="161"/>
                    </a:lnTo>
                    <a:lnTo>
                      <a:pt x="185" y="162"/>
                    </a:lnTo>
                    <a:lnTo>
                      <a:pt x="188" y="164"/>
                    </a:lnTo>
                    <a:lnTo>
                      <a:pt x="188" y="164"/>
                    </a:lnTo>
                    <a:lnTo>
                      <a:pt x="192" y="164"/>
                    </a:lnTo>
                    <a:lnTo>
                      <a:pt x="195" y="166"/>
                    </a:lnTo>
                    <a:lnTo>
                      <a:pt x="195" y="166"/>
                    </a:lnTo>
                    <a:lnTo>
                      <a:pt x="195" y="159"/>
                    </a:lnTo>
                    <a:lnTo>
                      <a:pt x="197" y="155"/>
                    </a:lnTo>
                    <a:lnTo>
                      <a:pt x="199" y="152"/>
                    </a:lnTo>
                    <a:lnTo>
                      <a:pt x="202" y="149"/>
                    </a:lnTo>
                    <a:lnTo>
                      <a:pt x="202" y="149"/>
                    </a:lnTo>
                    <a:lnTo>
                      <a:pt x="202" y="148"/>
                    </a:lnTo>
                    <a:lnTo>
                      <a:pt x="202" y="147"/>
                    </a:lnTo>
                    <a:lnTo>
                      <a:pt x="202" y="142"/>
                    </a:lnTo>
                    <a:lnTo>
                      <a:pt x="201" y="139"/>
                    </a:lnTo>
                    <a:lnTo>
                      <a:pt x="199" y="135"/>
                    </a:lnTo>
                    <a:lnTo>
                      <a:pt x="199" y="135"/>
                    </a:lnTo>
                    <a:lnTo>
                      <a:pt x="199" y="134"/>
                    </a:lnTo>
                    <a:lnTo>
                      <a:pt x="198" y="131"/>
                    </a:lnTo>
                    <a:lnTo>
                      <a:pt x="195" y="128"/>
                    </a:lnTo>
                    <a:lnTo>
                      <a:pt x="191" y="125"/>
                    </a:lnTo>
                    <a:lnTo>
                      <a:pt x="189" y="124"/>
                    </a:lnTo>
                    <a:lnTo>
                      <a:pt x="189" y="122"/>
                    </a:lnTo>
                    <a:lnTo>
                      <a:pt x="189" y="122"/>
                    </a:lnTo>
                    <a:lnTo>
                      <a:pt x="192" y="121"/>
                    </a:lnTo>
                    <a:lnTo>
                      <a:pt x="197" y="120"/>
                    </a:lnTo>
                    <a:lnTo>
                      <a:pt x="205" y="117"/>
                    </a:lnTo>
                    <a:lnTo>
                      <a:pt x="205" y="117"/>
                    </a:lnTo>
                    <a:lnTo>
                      <a:pt x="206" y="115"/>
                    </a:lnTo>
                    <a:lnTo>
                      <a:pt x="208" y="112"/>
                    </a:lnTo>
                    <a:lnTo>
                      <a:pt x="208" y="110"/>
                    </a:lnTo>
                    <a:lnTo>
                      <a:pt x="211" y="108"/>
                    </a:lnTo>
                    <a:lnTo>
                      <a:pt x="211" y="108"/>
                    </a:lnTo>
                    <a:lnTo>
                      <a:pt x="212" y="107"/>
                    </a:lnTo>
                    <a:lnTo>
                      <a:pt x="215" y="105"/>
                    </a:lnTo>
                    <a:lnTo>
                      <a:pt x="218" y="100"/>
                    </a:lnTo>
                    <a:lnTo>
                      <a:pt x="218" y="100"/>
                    </a:lnTo>
                    <a:lnTo>
                      <a:pt x="219" y="98"/>
                    </a:lnTo>
                    <a:lnTo>
                      <a:pt x="224" y="98"/>
                    </a:lnTo>
                    <a:lnTo>
                      <a:pt x="226" y="98"/>
                    </a:lnTo>
                    <a:lnTo>
                      <a:pt x="231" y="97"/>
                    </a:lnTo>
                    <a:lnTo>
                      <a:pt x="231" y="97"/>
                    </a:lnTo>
                    <a:lnTo>
                      <a:pt x="236" y="94"/>
                    </a:lnTo>
                    <a:lnTo>
                      <a:pt x="239" y="94"/>
                    </a:lnTo>
                    <a:lnTo>
                      <a:pt x="241" y="94"/>
                    </a:lnTo>
                    <a:lnTo>
                      <a:pt x="241" y="94"/>
                    </a:lnTo>
                    <a:lnTo>
                      <a:pt x="241" y="97"/>
                    </a:lnTo>
                    <a:lnTo>
                      <a:pt x="239" y="100"/>
                    </a:lnTo>
                    <a:lnTo>
                      <a:pt x="235" y="107"/>
                    </a:lnTo>
                    <a:lnTo>
                      <a:pt x="235" y="107"/>
                    </a:lnTo>
                    <a:lnTo>
                      <a:pt x="246" y="107"/>
                    </a:lnTo>
                    <a:lnTo>
                      <a:pt x="251" y="105"/>
                    </a:lnTo>
                    <a:lnTo>
                      <a:pt x="253" y="104"/>
                    </a:lnTo>
                    <a:lnTo>
                      <a:pt x="253" y="104"/>
                    </a:lnTo>
                    <a:lnTo>
                      <a:pt x="256" y="104"/>
                    </a:lnTo>
                    <a:lnTo>
                      <a:pt x="261" y="104"/>
                    </a:lnTo>
                    <a:lnTo>
                      <a:pt x="266" y="104"/>
                    </a:lnTo>
                    <a:lnTo>
                      <a:pt x="268" y="104"/>
                    </a:lnTo>
                    <a:lnTo>
                      <a:pt x="269" y="101"/>
                    </a:lnTo>
                    <a:lnTo>
                      <a:pt x="269" y="101"/>
                    </a:lnTo>
                    <a:lnTo>
                      <a:pt x="271" y="100"/>
                    </a:lnTo>
                    <a:lnTo>
                      <a:pt x="272" y="98"/>
                    </a:lnTo>
                    <a:lnTo>
                      <a:pt x="276" y="98"/>
                    </a:lnTo>
                    <a:lnTo>
                      <a:pt x="279" y="97"/>
                    </a:lnTo>
                    <a:lnTo>
                      <a:pt x="276" y="94"/>
                    </a:lnTo>
                    <a:lnTo>
                      <a:pt x="276" y="9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67" name="Norway"/>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75" name="Turkmenistan"/>
              <p:cNvSpPr>
                <a:spLocks/>
              </p:cNvSpPr>
              <p:nvPr/>
            </p:nvSpPr>
            <p:spPr bwMode="auto">
              <a:xfrm>
                <a:off x="5569374" y="3225058"/>
                <a:ext cx="334431" cy="211609"/>
              </a:xfrm>
              <a:custGeom>
                <a:avLst/>
                <a:gdLst/>
                <a:ahLst/>
                <a:cxnLst>
                  <a:cxn ang="0">
                    <a:pos x="214" y="86"/>
                  </a:cxn>
                  <a:cxn ang="0">
                    <a:pos x="203" y="81"/>
                  </a:cxn>
                  <a:cxn ang="0">
                    <a:pos x="183" y="70"/>
                  </a:cxn>
                  <a:cxn ang="0">
                    <a:pos x="172" y="60"/>
                  </a:cxn>
                  <a:cxn ang="0">
                    <a:pos x="159" y="52"/>
                  </a:cxn>
                  <a:cxn ang="0">
                    <a:pos x="149" y="32"/>
                  </a:cxn>
                  <a:cxn ang="0">
                    <a:pos x="132" y="27"/>
                  </a:cxn>
                  <a:cxn ang="0">
                    <a:pos x="122" y="26"/>
                  </a:cxn>
                  <a:cxn ang="0">
                    <a:pos x="116" y="9"/>
                  </a:cxn>
                  <a:cxn ang="0">
                    <a:pos x="103" y="5"/>
                  </a:cxn>
                  <a:cxn ang="0">
                    <a:pos x="92" y="2"/>
                  </a:cxn>
                  <a:cxn ang="0">
                    <a:pos x="85" y="6"/>
                  </a:cxn>
                  <a:cxn ang="0">
                    <a:pos x="81" y="10"/>
                  </a:cxn>
                  <a:cxn ang="0">
                    <a:pos x="69" y="19"/>
                  </a:cxn>
                  <a:cxn ang="0">
                    <a:pos x="64" y="27"/>
                  </a:cxn>
                  <a:cxn ang="0">
                    <a:pos x="52" y="25"/>
                  </a:cxn>
                  <a:cxn ang="0">
                    <a:pos x="41" y="22"/>
                  </a:cxn>
                  <a:cxn ang="0">
                    <a:pos x="25" y="7"/>
                  </a:cxn>
                  <a:cxn ang="0">
                    <a:pos x="10" y="7"/>
                  </a:cxn>
                  <a:cxn ang="0">
                    <a:pos x="4" y="15"/>
                  </a:cxn>
                  <a:cxn ang="0">
                    <a:pos x="12" y="12"/>
                  </a:cxn>
                  <a:cxn ang="0">
                    <a:pos x="21" y="25"/>
                  </a:cxn>
                  <a:cxn ang="0">
                    <a:pos x="28" y="29"/>
                  </a:cxn>
                  <a:cxn ang="0">
                    <a:pos x="32" y="36"/>
                  </a:cxn>
                  <a:cxn ang="0">
                    <a:pos x="20" y="40"/>
                  </a:cxn>
                  <a:cxn ang="0">
                    <a:pos x="2" y="36"/>
                  </a:cxn>
                  <a:cxn ang="0">
                    <a:pos x="0" y="44"/>
                  </a:cxn>
                  <a:cxn ang="0">
                    <a:pos x="4" y="53"/>
                  </a:cxn>
                  <a:cxn ang="0">
                    <a:pos x="5" y="63"/>
                  </a:cxn>
                  <a:cxn ang="0">
                    <a:pos x="7" y="64"/>
                  </a:cxn>
                  <a:cxn ang="0">
                    <a:pos x="14" y="67"/>
                  </a:cxn>
                  <a:cxn ang="0">
                    <a:pos x="18" y="80"/>
                  </a:cxn>
                  <a:cxn ang="0">
                    <a:pos x="18" y="101"/>
                  </a:cxn>
                  <a:cxn ang="0">
                    <a:pos x="31" y="99"/>
                  </a:cxn>
                  <a:cxn ang="0">
                    <a:pos x="45" y="89"/>
                  </a:cxn>
                  <a:cxn ang="0">
                    <a:pos x="56" y="87"/>
                  </a:cxn>
                  <a:cxn ang="0">
                    <a:pos x="75" y="87"/>
                  </a:cxn>
                  <a:cxn ang="0">
                    <a:pos x="86" y="93"/>
                  </a:cxn>
                  <a:cxn ang="0">
                    <a:pos x="91" y="96"/>
                  </a:cxn>
                  <a:cxn ang="0">
                    <a:pos x="106" y="99"/>
                  </a:cxn>
                  <a:cxn ang="0">
                    <a:pos x="111" y="104"/>
                  </a:cxn>
                  <a:cxn ang="0">
                    <a:pos x="118" y="108"/>
                  </a:cxn>
                  <a:cxn ang="0">
                    <a:pos x="126" y="116"/>
                  </a:cxn>
                  <a:cxn ang="0">
                    <a:pos x="138" y="117"/>
                  </a:cxn>
                  <a:cxn ang="0">
                    <a:pos x="142" y="137"/>
                  </a:cxn>
                  <a:cxn ang="0">
                    <a:pos x="153" y="138"/>
                  </a:cxn>
                  <a:cxn ang="0">
                    <a:pos x="157" y="143"/>
                  </a:cxn>
                  <a:cxn ang="0">
                    <a:pos x="169" y="134"/>
                  </a:cxn>
                  <a:cxn ang="0">
                    <a:pos x="179" y="128"/>
                  </a:cxn>
                  <a:cxn ang="0">
                    <a:pos x="192" y="121"/>
                  </a:cxn>
                  <a:cxn ang="0">
                    <a:pos x="202" y="106"/>
                  </a:cxn>
                  <a:cxn ang="0">
                    <a:pos x="207" y="103"/>
                  </a:cxn>
                  <a:cxn ang="0">
                    <a:pos x="220" y="100"/>
                  </a:cxn>
                </a:cxnLst>
                <a:rect l="0" t="0" r="r" b="b"/>
                <a:pathLst>
                  <a:path w="226" h="143">
                    <a:moveTo>
                      <a:pt x="224" y="90"/>
                    </a:moveTo>
                    <a:lnTo>
                      <a:pt x="224" y="90"/>
                    </a:lnTo>
                    <a:lnTo>
                      <a:pt x="219" y="87"/>
                    </a:lnTo>
                    <a:lnTo>
                      <a:pt x="214" y="86"/>
                    </a:lnTo>
                    <a:lnTo>
                      <a:pt x="210" y="86"/>
                    </a:lnTo>
                    <a:lnTo>
                      <a:pt x="210" y="86"/>
                    </a:lnTo>
                    <a:lnTo>
                      <a:pt x="207" y="84"/>
                    </a:lnTo>
                    <a:lnTo>
                      <a:pt x="203" y="81"/>
                    </a:lnTo>
                    <a:lnTo>
                      <a:pt x="199" y="77"/>
                    </a:lnTo>
                    <a:lnTo>
                      <a:pt x="194" y="74"/>
                    </a:lnTo>
                    <a:lnTo>
                      <a:pt x="194" y="74"/>
                    </a:lnTo>
                    <a:lnTo>
                      <a:pt x="183" y="70"/>
                    </a:lnTo>
                    <a:lnTo>
                      <a:pt x="179" y="67"/>
                    </a:lnTo>
                    <a:lnTo>
                      <a:pt x="176" y="64"/>
                    </a:lnTo>
                    <a:lnTo>
                      <a:pt x="176" y="64"/>
                    </a:lnTo>
                    <a:lnTo>
                      <a:pt x="172" y="60"/>
                    </a:lnTo>
                    <a:lnTo>
                      <a:pt x="166" y="57"/>
                    </a:lnTo>
                    <a:lnTo>
                      <a:pt x="162" y="54"/>
                    </a:lnTo>
                    <a:lnTo>
                      <a:pt x="159" y="52"/>
                    </a:lnTo>
                    <a:lnTo>
                      <a:pt x="159" y="52"/>
                    </a:lnTo>
                    <a:lnTo>
                      <a:pt x="156" y="46"/>
                    </a:lnTo>
                    <a:lnTo>
                      <a:pt x="152" y="39"/>
                    </a:lnTo>
                    <a:lnTo>
                      <a:pt x="152" y="39"/>
                    </a:lnTo>
                    <a:lnTo>
                      <a:pt x="149" y="32"/>
                    </a:lnTo>
                    <a:lnTo>
                      <a:pt x="148" y="29"/>
                    </a:lnTo>
                    <a:lnTo>
                      <a:pt x="146" y="29"/>
                    </a:lnTo>
                    <a:lnTo>
                      <a:pt x="146" y="29"/>
                    </a:lnTo>
                    <a:lnTo>
                      <a:pt x="132" y="27"/>
                    </a:lnTo>
                    <a:lnTo>
                      <a:pt x="125" y="27"/>
                    </a:lnTo>
                    <a:lnTo>
                      <a:pt x="122" y="26"/>
                    </a:lnTo>
                    <a:lnTo>
                      <a:pt x="122" y="26"/>
                    </a:lnTo>
                    <a:lnTo>
                      <a:pt x="122" y="26"/>
                    </a:lnTo>
                    <a:lnTo>
                      <a:pt x="121" y="16"/>
                    </a:lnTo>
                    <a:lnTo>
                      <a:pt x="119" y="10"/>
                    </a:lnTo>
                    <a:lnTo>
                      <a:pt x="118" y="9"/>
                    </a:lnTo>
                    <a:lnTo>
                      <a:pt x="116" y="9"/>
                    </a:lnTo>
                    <a:lnTo>
                      <a:pt x="116" y="9"/>
                    </a:lnTo>
                    <a:lnTo>
                      <a:pt x="109" y="6"/>
                    </a:lnTo>
                    <a:lnTo>
                      <a:pt x="103" y="5"/>
                    </a:lnTo>
                    <a:lnTo>
                      <a:pt x="103" y="5"/>
                    </a:lnTo>
                    <a:lnTo>
                      <a:pt x="98" y="0"/>
                    </a:lnTo>
                    <a:lnTo>
                      <a:pt x="95" y="0"/>
                    </a:lnTo>
                    <a:lnTo>
                      <a:pt x="92" y="2"/>
                    </a:lnTo>
                    <a:lnTo>
                      <a:pt x="92" y="2"/>
                    </a:lnTo>
                    <a:lnTo>
                      <a:pt x="89" y="3"/>
                    </a:lnTo>
                    <a:lnTo>
                      <a:pt x="86" y="5"/>
                    </a:lnTo>
                    <a:lnTo>
                      <a:pt x="86" y="5"/>
                    </a:lnTo>
                    <a:lnTo>
                      <a:pt x="85" y="6"/>
                    </a:lnTo>
                    <a:lnTo>
                      <a:pt x="84" y="7"/>
                    </a:lnTo>
                    <a:lnTo>
                      <a:pt x="82" y="10"/>
                    </a:lnTo>
                    <a:lnTo>
                      <a:pt x="81" y="10"/>
                    </a:lnTo>
                    <a:lnTo>
                      <a:pt x="81" y="10"/>
                    </a:lnTo>
                    <a:lnTo>
                      <a:pt x="76" y="12"/>
                    </a:lnTo>
                    <a:lnTo>
                      <a:pt x="72" y="13"/>
                    </a:lnTo>
                    <a:lnTo>
                      <a:pt x="69" y="16"/>
                    </a:lnTo>
                    <a:lnTo>
                      <a:pt x="69" y="19"/>
                    </a:lnTo>
                    <a:lnTo>
                      <a:pt x="69" y="19"/>
                    </a:lnTo>
                    <a:lnTo>
                      <a:pt x="68" y="25"/>
                    </a:lnTo>
                    <a:lnTo>
                      <a:pt x="66" y="26"/>
                    </a:lnTo>
                    <a:lnTo>
                      <a:pt x="64" y="27"/>
                    </a:lnTo>
                    <a:lnTo>
                      <a:pt x="64" y="27"/>
                    </a:lnTo>
                    <a:lnTo>
                      <a:pt x="58" y="26"/>
                    </a:lnTo>
                    <a:lnTo>
                      <a:pt x="52" y="25"/>
                    </a:lnTo>
                    <a:lnTo>
                      <a:pt x="52" y="25"/>
                    </a:lnTo>
                    <a:lnTo>
                      <a:pt x="51" y="25"/>
                    </a:lnTo>
                    <a:lnTo>
                      <a:pt x="48" y="26"/>
                    </a:lnTo>
                    <a:lnTo>
                      <a:pt x="44" y="25"/>
                    </a:lnTo>
                    <a:lnTo>
                      <a:pt x="41" y="22"/>
                    </a:lnTo>
                    <a:lnTo>
                      <a:pt x="41" y="22"/>
                    </a:lnTo>
                    <a:lnTo>
                      <a:pt x="35" y="16"/>
                    </a:lnTo>
                    <a:lnTo>
                      <a:pt x="31" y="10"/>
                    </a:lnTo>
                    <a:lnTo>
                      <a:pt x="25" y="7"/>
                    </a:lnTo>
                    <a:lnTo>
                      <a:pt x="21" y="6"/>
                    </a:lnTo>
                    <a:lnTo>
                      <a:pt x="21" y="6"/>
                    </a:lnTo>
                    <a:lnTo>
                      <a:pt x="15" y="6"/>
                    </a:lnTo>
                    <a:lnTo>
                      <a:pt x="10" y="7"/>
                    </a:lnTo>
                    <a:lnTo>
                      <a:pt x="7" y="9"/>
                    </a:lnTo>
                    <a:lnTo>
                      <a:pt x="5" y="10"/>
                    </a:lnTo>
                    <a:lnTo>
                      <a:pt x="4" y="12"/>
                    </a:lnTo>
                    <a:lnTo>
                      <a:pt x="4" y="15"/>
                    </a:lnTo>
                    <a:lnTo>
                      <a:pt x="4" y="15"/>
                    </a:lnTo>
                    <a:lnTo>
                      <a:pt x="7" y="13"/>
                    </a:lnTo>
                    <a:lnTo>
                      <a:pt x="12" y="12"/>
                    </a:lnTo>
                    <a:lnTo>
                      <a:pt x="12" y="12"/>
                    </a:lnTo>
                    <a:lnTo>
                      <a:pt x="15" y="13"/>
                    </a:lnTo>
                    <a:lnTo>
                      <a:pt x="18" y="15"/>
                    </a:lnTo>
                    <a:lnTo>
                      <a:pt x="20" y="20"/>
                    </a:lnTo>
                    <a:lnTo>
                      <a:pt x="21" y="25"/>
                    </a:lnTo>
                    <a:lnTo>
                      <a:pt x="22" y="26"/>
                    </a:lnTo>
                    <a:lnTo>
                      <a:pt x="24" y="27"/>
                    </a:lnTo>
                    <a:lnTo>
                      <a:pt x="24" y="27"/>
                    </a:lnTo>
                    <a:lnTo>
                      <a:pt x="28" y="29"/>
                    </a:lnTo>
                    <a:lnTo>
                      <a:pt x="32" y="32"/>
                    </a:lnTo>
                    <a:lnTo>
                      <a:pt x="34" y="34"/>
                    </a:lnTo>
                    <a:lnTo>
                      <a:pt x="34" y="36"/>
                    </a:lnTo>
                    <a:lnTo>
                      <a:pt x="32" y="36"/>
                    </a:lnTo>
                    <a:lnTo>
                      <a:pt x="32" y="36"/>
                    </a:lnTo>
                    <a:lnTo>
                      <a:pt x="28" y="37"/>
                    </a:lnTo>
                    <a:lnTo>
                      <a:pt x="24" y="39"/>
                    </a:lnTo>
                    <a:lnTo>
                      <a:pt x="20" y="40"/>
                    </a:lnTo>
                    <a:lnTo>
                      <a:pt x="15" y="40"/>
                    </a:lnTo>
                    <a:lnTo>
                      <a:pt x="15" y="40"/>
                    </a:lnTo>
                    <a:lnTo>
                      <a:pt x="7" y="36"/>
                    </a:lnTo>
                    <a:lnTo>
                      <a:pt x="2" y="36"/>
                    </a:lnTo>
                    <a:lnTo>
                      <a:pt x="2" y="37"/>
                    </a:lnTo>
                    <a:lnTo>
                      <a:pt x="1" y="40"/>
                    </a:lnTo>
                    <a:lnTo>
                      <a:pt x="1" y="40"/>
                    </a:lnTo>
                    <a:lnTo>
                      <a:pt x="0" y="44"/>
                    </a:lnTo>
                    <a:lnTo>
                      <a:pt x="0" y="49"/>
                    </a:lnTo>
                    <a:lnTo>
                      <a:pt x="0" y="52"/>
                    </a:lnTo>
                    <a:lnTo>
                      <a:pt x="4" y="53"/>
                    </a:lnTo>
                    <a:lnTo>
                      <a:pt x="4" y="53"/>
                    </a:lnTo>
                    <a:lnTo>
                      <a:pt x="8" y="53"/>
                    </a:lnTo>
                    <a:lnTo>
                      <a:pt x="10" y="56"/>
                    </a:lnTo>
                    <a:lnTo>
                      <a:pt x="8" y="59"/>
                    </a:lnTo>
                    <a:lnTo>
                      <a:pt x="5" y="63"/>
                    </a:lnTo>
                    <a:lnTo>
                      <a:pt x="5" y="63"/>
                    </a:lnTo>
                    <a:lnTo>
                      <a:pt x="4" y="64"/>
                    </a:lnTo>
                    <a:lnTo>
                      <a:pt x="4" y="64"/>
                    </a:lnTo>
                    <a:lnTo>
                      <a:pt x="7" y="64"/>
                    </a:lnTo>
                    <a:lnTo>
                      <a:pt x="11" y="64"/>
                    </a:lnTo>
                    <a:lnTo>
                      <a:pt x="14" y="66"/>
                    </a:lnTo>
                    <a:lnTo>
                      <a:pt x="14" y="67"/>
                    </a:lnTo>
                    <a:lnTo>
                      <a:pt x="14" y="67"/>
                    </a:lnTo>
                    <a:lnTo>
                      <a:pt x="15" y="70"/>
                    </a:lnTo>
                    <a:lnTo>
                      <a:pt x="17" y="71"/>
                    </a:lnTo>
                    <a:lnTo>
                      <a:pt x="18" y="74"/>
                    </a:lnTo>
                    <a:lnTo>
                      <a:pt x="18" y="80"/>
                    </a:lnTo>
                    <a:lnTo>
                      <a:pt x="18" y="80"/>
                    </a:lnTo>
                    <a:lnTo>
                      <a:pt x="17" y="90"/>
                    </a:lnTo>
                    <a:lnTo>
                      <a:pt x="18" y="101"/>
                    </a:lnTo>
                    <a:lnTo>
                      <a:pt x="18" y="101"/>
                    </a:lnTo>
                    <a:lnTo>
                      <a:pt x="25" y="100"/>
                    </a:lnTo>
                    <a:lnTo>
                      <a:pt x="28" y="100"/>
                    </a:lnTo>
                    <a:lnTo>
                      <a:pt x="31" y="99"/>
                    </a:lnTo>
                    <a:lnTo>
                      <a:pt x="31" y="99"/>
                    </a:lnTo>
                    <a:lnTo>
                      <a:pt x="37" y="93"/>
                    </a:lnTo>
                    <a:lnTo>
                      <a:pt x="41" y="90"/>
                    </a:lnTo>
                    <a:lnTo>
                      <a:pt x="45" y="89"/>
                    </a:lnTo>
                    <a:lnTo>
                      <a:pt x="45" y="89"/>
                    </a:lnTo>
                    <a:lnTo>
                      <a:pt x="51" y="89"/>
                    </a:lnTo>
                    <a:lnTo>
                      <a:pt x="54" y="89"/>
                    </a:lnTo>
                    <a:lnTo>
                      <a:pt x="56" y="87"/>
                    </a:lnTo>
                    <a:lnTo>
                      <a:pt x="56" y="87"/>
                    </a:lnTo>
                    <a:lnTo>
                      <a:pt x="59" y="86"/>
                    </a:lnTo>
                    <a:lnTo>
                      <a:pt x="65" y="84"/>
                    </a:lnTo>
                    <a:lnTo>
                      <a:pt x="71" y="86"/>
                    </a:lnTo>
                    <a:lnTo>
                      <a:pt x="75" y="87"/>
                    </a:lnTo>
                    <a:lnTo>
                      <a:pt x="75" y="87"/>
                    </a:lnTo>
                    <a:lnTo>
                      <a:pt x="78" y="90"/>
                    </a:lnTo>
                    <a:lnTo>
                      <a:pt x="81" y="91"/>
                    </a:lnTo>
                    <a:lnTo>
                      <a:pt x="86" y="93"/>
                    </a:lnTo>
                    <a:lnTo>
                      <a:pt x="86" y="93"/>
                    </a:lnTo>
                    <a:lnTo>
                      <a:pt x="88" y="93"/>
                    </a:lnTo>
                    <a:lnTo>
                      <a:pt x="89" y="94"/>
                    </a:lnTo>
                    <a:lnTo>
                      <a:pt x="91" y="96"/>
                    </a:lnTo>
                    <a:lnTo>
                      <a:pt x="95" y="97"/>
                    </a:lnTo>
                    <a:lnTo>
                      <a:pt x="95" y="97"/>
                    </a:lnTo>
                    <a:lnTo>
                      <a:pt x="103" y="97"/>
                    </a:lnTo>
                    <a:lnTo>
                      <a:pt x="106" y="99"/>
                    </a:lnTo>
                    <a:lnTo>
                      <a:pt x="108" y="101"/>
                    </a:lnTo>
                    <a:lnTo>
                      <a:pt x="108" y="101"/>
                    </a:lnTo>
                    <a:lnTo>
                      <a:pt x="109" y="103"/>
                    </a:lnTo>
                    <a:lnTo>
                      <a:pt x="111" y="104"/>
                    </a:lnTo>
                    <a:lnTo>
                      <a:pt x="112" y="106"/>
                    </a:lnTo>
                    <a:lnTo>
                      <a:pt x="115" y="107"/>
                    </a:lnTo>
                    <a:lnTo>
                      <a:pt x="115" y="107"/>
                    </a:lnTo>
                    <a:lnTo>
                      <a:pt x="118" y="108"/>
                    </a:lnTo>
                    <a:lnTo>
                      <a:pt x="121" y="111"/>
                    </a:lnTo>
                    <a:lnTo>
                      <a:pt x="123" y="114"/>
                    </a:lnTo>
                    <a:lnTo>
                      <a:pt x="126" y="116"/>
                    </a:lnTo>
                    <a:lnTo>
                      <a:pt x="126" y="116"/>
                    </a:lnTo>
                    <a:lnTo>
                      <a:pt x="133" y="116"/>
                    </a:lnTo>
                    <a:lnTo>
                      <a:pt x="136" y="116"/>
                    </a:lnTo>
                    <a:lnTo>
                      <a:pt x="138" y="117"/>
                    </a:lnTo>
                    <a:lnTo>
                      <a:pt x="138" y="117"/>
                    </a:lnTo>
                    <a:lnTo>
                      <a:pt x="138" y="126"/>
                    </a:lnTo>
                    <a:lnTo>
                      <a:pt x="140" y="137"/>
                    </a:lnTo>
                    <a:lnTo>
                      <a:pt x="140" y="137"/>
                    </a:lnTo>
                    <a:lnTo>
                      <a:pt x="142" y="137"/>
                    </a:lnTo>
                    <a:lnTo>
                      <a:pt x="143" y="137"/>
                    </a:lnTo>
                    <a:lnTo>
                      <a:pt x="143" y="137"/>
                    </a:lnTo>
                    <a:lnTo>
                      <a:pt x="149" y="137"/>
                    </a:lnTo>
                    <a:lnTo>
                      <a:pt x="153" y="138"/>
                    </a:lnTo>
                    <a:lnTo>
                      <a:pt x="155" y="140"/>
                    </a:lnTo>
                    <a:lnTo>
                      <a:pt x="155" y="140"/>
                    </a:lnTo>
                    <a:lnTo>
                      <a:pt x="156" y="141"/>
                    </a:lnTo>
                    <a:lnTo>
                      <a:pt x="157" y="143"/>
                    </a:lnTo>
                    <a:lnTo>
                      <a:pt x="163" y="141"/>
                    </a:lnTo>
                    <a:lnTo>
                      <a:pt x="167" y="140"/>
                    </a:lnTo>
                    <a:lnTo>
                      <a:pt x="169" y="137"/>
                    </a:lnTo>
                    <a:lnTo>
                      <a:pt x="169" y="134"/>
                    </a:lnTo>
                    <a:lnTo>
                      <a:pt x="169" y="134"/>
                    </a:lnTo>
                    <a:lnTo>
                      <a:pt x="170" y="133"/>
                    </a:lnTo>
                    <a:lnTo>
                      <a:pt x="172" y="131"/>
                    </a:lnTo>
                    <a:lnTo>
                      <a:pt x="179" y="128"/>
                    </a:lnTo>
                    <a:lnTo>
                      <a:pt x="187" y="126"/>
                    </a:lnTo>
                    <a:lnTo>
                      <a:pt x="190" y="124"/>
                    </a:lnTo>
                    <a:lnTo>
                      <a:pt x="192" y="121"/>
                    </a:lnTo>
                    <a:lnTo>
                      <a:pt x="192" y="121"/>
                    </a:lnTo>
                    <a:lnTo>
                      <a:pt x="196" y="110"/>
                    </a:lnTo>
                    <a:lnTo>
                      <a:pt x="197" y="107"/>
                    </a:lnTo>
                    <a:lnTo>
                      <a:pt x="200" y="106"/>
                    </a:lnTo>
                    <a:lnTo>
                      <a:pt x="202" y="106"/>
                    </a:lnTo>
                    <a:lnTo>
                      <a:pt x="202" y="106"/>
                    </a:lnTo>
                    <a:lnTo>
                      <a:pt x="203" y="106"/>
                    </a:lnTo>
                    <a:lnTo>
                      <a:pt x="204" y="106"/>
                    </a:lnTo>
                    <a:lnTo>
                      <a:pt x="207" y="103"/>
                    </a:lnTo>
                    <a:lnTo>
                      <a:pt x="210" y="100"/>
                    </a:lnTo>
                    <a:lnTo>
                      <a:pt x="214" y="99"/>
                    </a:lnTo>
                    <a:lnTo>
                      <a:pt x="214" y="99"/>
                    </a:lnTo>
                    <a:lnTo>
                      <a:pt x="220" y="100"/>
                    </a:lnTo>
                    <a:lnTo>
                      <a:pt x="223" y="101"/>
                    </a:lnTo>
                    <a:lnTo>
                      <a:pt x="226" y="101"/>
                    </a:lnTo>
                    <a:lnTo>
                      <a:pt x="224" y="9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77" name="Kasakhstan"/>
              <p:cNvSpPr>
                <a:spLocks noEditPoints="1"/>
              </p:cNvSpPr>
              <p:nvPr/>
            </p:nvSpPr>
            <p:spPr bwMode="auto">
              <a:xfrm>
                <a:off x="5419917" y="2834395"/>
                <a:ext cx="966299" cy="448375"/>
              </a:xfrm>
              <a:custGeom>
                <a:avLst/>
                <a:gdLst/>
                <a:ahLst/>
                <a:cxnLst>
                  <a:cxn ang="0">
                    <a:pos x="626" y="124"/>
                  </a:cxn>
                  <a:cxn ang="0">
                    <a:pos x="608" y="105"/>
                  </a:cxn>
                  <a:cxn ang="0">
                    <a:pos x="574" y="101"/>
                  </a:cxn>
                  <a:cxn ang="0">
                    <a:pos x="544" y="99"/>
                  </a:cxn>
                  <a:cxn ang="0">
                    <a:pos x="499" y="37"/>
                  </a:cxn>
                  <a:cxn ang="0">
                    <a:pos x="483" y="23"/>
                  </a:cxn>
                  <a:cxn ang="0">
                    <a:pos x="448" y="38"/>
                  </a:cxn>
                  <a:cxn ang="0">
                    <a:pos x="445" y="31"/>
                  </a:cxn>
                  <a:cxn ang="0">
                    <a:pos x="426" y="31"/>
                  </a:cxn>
                  <a:cxn ang="0">
                    <a:pos x="406" y="27"/>
                  </a:cxn>
                  <a:cxn ang="0">
                    <a:pos x="402" y="8"/>
                  </a:cxn>
                  <a:cxn ang="0">
                    <a:pos x="369" y="0"/>
                  </a:cxn>
                  <a:cxn ang="0">
                    <a:pos x="314" y="17"/>
                  </a:cxn>
                  <a:cxn ang="0">
                    <a:pos x="258" y="28"/>
                  </a:cxn>
                  <a:cxn ang="0">
                    <a:pos x="241" y="42"/>
                  </a:cxn>
                  <a:cxn ang="0">
                    <a:pos x="236" y="55"/>
                  </a:cxn>
                  <a:cxn ang="0">
                    <a:pos x="227" y="81"/>
                  </a:cxn>
                  <a:cxn ang="0">
                    <a:pos x="244" y="99"/>
                  </a:cxn>
                  <a:cxn ang="0">
                    <a:pos x="219" y="104"/>
                  </a:cxn>
                  <a:cxn ang="0">
                    <a:pos x="199" y="95"/>
                  </a:cxn>
                  <a:cxn ang="0">
                    <a:pos x="166" y="94"/>
                  </a:cxn>
                  <a:cxn ang="0">
                    <a:pos x="135" y="99"/>
                  </a:cxn>
                  <a:cxn ang="0">
                    <a:pos x="112" y="85"/>
                  </a:cxn>
                  <a:cxn ang="0">
                    <a:pos x="84" y="84"/>
                  </a:cxn>
                  <a:cxn ang="0">
                    <a:pos x="47" y="94"/>
                  </a:cxn>
                  <a:cxn ang="0">
                    <a:pos x="35" y="118"/>
                  </a:cxn>
                  <a:cxn ang="0">
                    <a:pos x="12" y="114"/>
                  </a:cxn>
                  <a:cxn ang="0">
                    <a:pos x="10" y="131"/>
                  </a:cxn>
                  <a:cxn ang="0">
                    <a:pos x="8" y="149"/>
                  </a:cxn>
                  <a:cxn ang="0">
                    <a:pos x="28" y="163"/>
                  </a:cxn>
                  <a:cxn ang="0">
                    <a:pos x="39" y="189"/>
                  </a:cxn>
                  <a:cxn ang="0">
                    <a:pos x="95" y="180"/>
                  </a:cxn>
                  <a:cxn ang="0">
                    <a:pos x="108" y="209"/>
                  </a:cxn>
                  <a:cxn ang="0">
                    <a:pos x="72" y="219"/>
                  </a:cxn>
                  <a:cxn ang="0">
                    <a:pos x="59" y="233"/>
                  </a:cxn>
                  <a:cxn ang="0">
                    <a:pos x="79" y="256"/>
                  </a:cxn>
                  <a:cxn ang="0">
                    <a:pos x="98" y="270"/>
                  </a:cxn>
                  <a:cxn ang="0">
                    <a:pos x="105" y="276"/>
                  </a:cxn>
                  <a:cxn ang="0">
                    <a:pos x="142" y="286"/>
                  </a:cxn>
                  <a:cxn ang="0">
                    <a:pos x="200" y="200"/>
                  </a:cxn>
                  <a:cxn ang="0">
                    <a:pos x="219" y="196"/>
                  </a:cxn>
                  <a:cxn ang="0">
                    <a:pos x="230" y="227"/>
                  </a:cxn>
                  <a:cxn ang="0">
                    <a:pos x="286" y="247"/>
                  </a:cxn>
                  <a:cxn ang="0">
                    <a:pos x="318" y="271"/>
                  </a:cxn>
                  <a:cxn ang="0">
                    <a:pos x="350" y="296"/>
                  </a:cxn>
                  <a:cxn ang="0">
                    <a:pos x="372" y="289"/>
                  </a:cxn>
                  <a:cxn ang="0">
                    <a:pos x="404" y="264"/>
                  </a:cxn>
                  <a:cxn ang="0">
                    <a:pos x="439" y="261"/>
                  </a:cxn>
                  <a:cxn ang="0">
                    <a:pos x="478" y="261"/>
                  </a:cxn>
                  <a:cxn ang="0">
                    <a:pos x="540" y="271"/>
                  </a:cxn>
                  <a:cxn ang="0">
                    <a:pos x="554" y="252"/>
                  </a:cxn>
                  <a:cxn ang="0">
                    <a:pos x="547" y="219"/>
                  </a:cxn>
                  <a:cxn ang="0">
                    <a:pos x="583" y="216"/>
                  </a:cxn>
                  <a:cxn ang="0">
                    <a:pos x="594" y="175"/>
                  </a:cxn>
                  <a:cxn ang="0">
                    <a:pos x="631" y="175"/>
                  </a:cxn>
                  <a:cxn ang="0">
                    <a:pos x="643" y="148"/>
                  </a:cxn>
                  <a:cxn ang="0">
                    <a:pos x="648" y="124"/>
                  </a:cxn>
                  <a:cxn ang="0">
                    <a:pos x="233" y="186"/>
                  </a:cxn>
                  <a:cxn ang="0">
                    <a:pos x="463" y="193"/>
                  </a:cxn>
                  <a:cxn ang="0">
                    <a:pos x="445" y="216"/>
                  </a:cxn>
                  <a:cxn ang="0">
                    <a:pos x="489" y="186"/>
                  </a:cxn>
                  <a:cxn ang="0">
                    <a:pos x="512" y="192"/>
                  </a:cxn>
                </a:cxnLst>
                <a:rect l="0" t="0" r="r" b="b"/>
                <a:pathLst>
                  <a:path w="653" h="303">
                    <a:moveTo>
                      <a:pt x="648" y="124"/>
                    </a:moveTo>
                    <a:lnTo>
                      <a:pt x="648" y="124"/>
                    </a:lnTo>
                    <a:lnTo>
                      <a:pt x="648" y="122"/>
                    </a:lnTo>
                    <a:lnTo>
                      <a:pt x="647" y="122"/>
                    </a:lnTo>
                    <a:lnTo>
                      <a:pt x="643" y="124"/>
                    </a:lnTo>
                    <a:lnTo>
                      <a:pt x="643" y="124"/>
                    </a:lnTo>
                    <a:lnTo>
                      <a:pt x="637" y="125"/>
                    </a:lnTo>
                    <a:lnTo>
                      <a:pt x="630" y="126"/>
                    </a:lnTo>
                    <a:lnTo>
                      <a:pt x="630" y="126"/>
                    </a:lnTo>
                    <a:lnTo>
                      <a:pt x="627" y="125"/>
                    </a:lnTo>
                    <a:lnTo>
                      <a:pt x="626" y="124"/>
                    </a:lnTo>
                    <a:lnTo>
                      <a:pt x="623" y="121"/>
                    </a:lnTo>
                    <a:lnTo>
                      <a:pt x="623" y="119"/>
                    </a:lnTo>
                    <a:lnTo>
                      <a:pt x="623" y="119"/>
                    </a:lnTo>
                    <a:lnTo>
                      <a:pt x="621" y="115"/>
                    </a:lnTo>
                    <a:lnTo>
                      <a:pt x="620" y="114"/>
                    </a:lnTo>
                    <a:lnTo>
                      <a:pt x="618" y="114"/>
                    </a:lnTo>
                    <a:lnTo>
                      <a:pt x="618" y="114"/>
                    </a:lnTo>
                    <a:lnTo>
                      <a:pt x="616" y="112"/>
                    </a:lnTo>
                    <a:lnTo>
                      <a:pt x="614" y="112"/>
                    </a:lnTo>
                    <a:lnTo>
                      <a:pt x="611" y="109"/>
                    </a:lnTo>
                    <a:lnTo>
                      <a:pt x="608" y="105"/>
                    </a:lnTo>
                    <a:lnTo>
                      <a:pt x="608" y="105"/>
                    </a:lnTo>
                    <a:lnTo>
                      <a:pt x="606" y="101"/>
                    </a:lnTo>
                    <a:lnTo>
                      <a:pt x="604" y="99"/>
                    </a:lnTo>
                    <a:lnTo>
                      <a:pt x="598" y="96"/>
                    </a:lnTo>
                    <a:lnTo>
                      <a:pt x="598" y="96"/>
                    </a:lnTo>
                    <a:lnTo>
                      <a:pt x="596" y="96"/>
                    </a:lnTo>
                    <a:lnTo>
                      <a:pt x="590" y="98"/>
                    </a:lnTo>
                    <a:lnTo>
                      <a:pt x="583" y="101"/>
                    </a:lnTo>
                    <a:lnTo>
                      <a:pt x="583" y="101"/>
                    </a:lnTo>
                    <a:lnTo>
                      <a:pt x="579" y="101"/>
                    </a:lnTo>
                    <a:lnTo>
                      <a:pt x="574" y="101"/>
                    </a:lnTo>
                    <a:lnTo>
                      <a:pt x="567" y="98"/>
                    </a:lnTo>
                    <a:lnTo>
                      <a:pt x="567" y="98"/>
                    </a:lnTo>
                    <a:lnTo>
                      <a:pt x="563" y="96"/>
                    </a:lnTo>
                    <a:lnTo>
                      <a:pt x="560" y="94"/>
                    </a:lnTo>
                    <a:lnTo>
                      <a:pt x="557" y="91"/>
                    </a:lnTo>
                    <a:lnTo>
                      <a:pt x="554" y="89"/>
                    </a:lnTo>
                    <a:lnTo>
                      <a:pt x="554" y="89"/>
                    </a:lnTo>
                    <a:lnTo>
                      <a:pt x="552" y="92"/>
                    </a:lnTo>
                    <a:lnTo>
                      <a:pt x="549" y="95"/>
                    </a:lnTo>
                    <a:lnTo>
                      <a:pt x="547" y="98"/>
                    </a:lnTo>
                    <a:lnTo>
                      <a:pt x="544" y="99"/>
                    </a:lnTo>
                    <a:lnTo>
                      <a:pt x="544" y="99"/>
                    </a:lnTo>
                    <a:lnTo>
                      <a:pt x="543" y="99"/>
                    </a:lnTo>
                    <a:lnTo>
                      <a:pt x="542" y="96"/>
                    </a:lnTo>
                    <a:lnTo>
                      <a:pt x="537" y="89"/>
                    </a:lnTo>
                    <a:lnTo>
                      <a:pt x="533" y="79"/>
                    </a:lnTo>
                    <a:lnTo>
                      <a:pt x="529" y="71"/>
                    </a:lnTo>
                    <a:lnTo>
                      <a:pt x="529" y="71"/>
                    </a:lnTo>
                    <a:lnTo>
                      <a:pt x="515" y="51"/>
                    </a:lnTo>
                    <a:lnTo>
                      <a:pt x="507" y="42"/>
                    </a:lnTo>
                    <a:lnTo>
                      <a:pt x="503" y="38"/>
                    </a:lnTo>
                    <a:lnTo>
                      <a:pt x="499" y="37"/>
                    </a:lnTo>
                    <a:lnTo>
                      <a:pt x="499" y="37"/>
                    </a:lnTo>
                    <a:lnTo>
                      <a:pt x="493" y="32"/>
                    </a:lnTo>
                    <a:lnTo>
                      <a:pt x="492" y="30"/>
                    </a:lnTo>
                    <a:lnTo>
                      <a:pt x="492" y="27"/>
                    </a:lnTo>
                    <a:lnTo>
                      <a:pt x="495" y="24"/>
                    </a:lnTo>
                    <a:lnTo>
                      <a:pt x="495" y="24"/>
                    </a:lnTo>
                    <a:lnTo>
                      <a:pt x="495" y="23"/>
                    </a:lnTo>
                    <a:lnTo>
                      <a:pt x="495" y="23"/>
                    </a:lnTo>
                    <a:lnTo>
                      <a:pt x="492" y="21"/>
                    </a:lnTo>
                    <a:lnTo>
                      <a:pt x="488" y="23"/>
                    </a:lnTo>
                    <a:lnTo>
                      <a:pt x="483" y="23"/>
                    </a:lnTo>
                    <a:lnTo>
                      <a:pt x="483" y="23"/>
                    </a:lnTo>
                    <a:lnTo>
                      <a:pt x="476" y="28"/>
                    </a:lnTo>
                    <a:lnTo>
                      <a:pt x="473" y="30"/>
                    </a:lnTo>
                    <a:lnTo>
                      <a:pt x="469" y="31"/>
                    </a:lnTo>
                    <a:lnTo>
                      <a:pt x="469" y="31"/>
                    </a:lnTo>
                    <a:lnTo>
                      <a:pt x="465" y="32"/>
                    </a:lnTo>
                    <a:lnTo>
                      <a:pt x="460" y="35"/>
                    </a:lnTo>
                    <a:lnTo>
                      <a:pt x="456" y="38"/>
                    </a:lnTo>
                    <a:lnTo>
                      <a:pt x="452" y="38"/>
                    </a:lnTo>
                    <a:lnTo>
                      <a:pt x="452" y="38"/>
                    </a:lnTo>
                    <a:lnTo>
                      <a:pt x="448" y="38"/>
                    </a:lnTo>
                    <a:lnTo>
                      <a:pt x="445" y="41"/>
                    </a:lnTo>
                    <a:lnTo>
                      <a:pt x="442" y="42"/>
                    </a:lnTo>
                    <a:lnTo>
                      <a:pt x="441" y="42"/>
                    </a:lnTo>
                    <a:lnTo>
                      <a:pt x="439" y="41"/>
                    </a:lnTo>
                    <a:lnTo>
                      <a:pt x="439" y="41"/>
                    </a:lnTo>
                    <a:lnTo>
                      <a:pt x="438" y="40"/>
                    </a:lnTo>
                    <a:lnTo>
                      <a:pt x="438" y="38"/>
                    </a:lnTo>
                    <a:lnTo>
                      <a:pt x="441" y="35"/>
                    </a:lnTo>
                    <a:lnTo>
                      <a:pt x="443" y="34"/>
                    </a:lnTo>
                    <a:lnTo>
                      <a:pt x="445" y="31"/>
                    </a:lnTo>
                    <a:lnTo>
                      <a:pt x="445" y="31"/>
                    </a:lnTo>
                    <a:lnTo>
                      <a:pt x="443" y="30"/>
                    </a:lnTo>
                    <a:lnTo>
                      <a:pt x="442" y="30"/>
                    </a:lnTo>
                    <a:lnTo>
                      <a:pt x="439" y="31"/>
                    </a:lnTo>
                    <a:lnTo>
                      <a:pt x="436" y="30"/>
                    </a:lnTo>
                    <a:lnTo>
                      <a:pt x="436" y="30"/>
                    </a:lnTo>
                    <a:lnTo>
                      <a:pt x="432" y="27"/>
                    </a:lnTo>
                    <a:lnTo>
                      <a:pt x="429" y="27"/>
                    </a:lnTo>
                    <a:lnTo>
                      <a:pt x="429" y="28"/>
                    </a:lnTo>
                    <a:lnTo>
                      <a:pt x="429" y="28"/>
                    </a:lnTo>
                    <a:lnTo>
                      <a:pt x="428" y="30"/>
                    </a:lnTo>
                    <a:lnTo>
                      <a:pt x="426" y="31"/>
                    </a:lnTo>
                    <a:lnTo>
                      <a:pt x="425" y="30"/>
                    </a:lnTo>
                    <a:lnTo>
                      <a:pt x="425" y="28"/>
                    </a:lnTo>
                    <a:lnTo>
                      <a:pt x="425" y="28"/>
                    </a:lnTo>
                    <a:lnTo>
                      <a:pt x="424" y="25"/>
                    </a:lnTo>
                    <a:lnTo>
                      <a:pt x="422" y="24"/>
                    </a:lnTo>
                    <a:lnTo>
                      <a:pt x="421" y="23"/>
                    </a:lnTo>
                    <a:lnTo>
                      <a:pt x="418" y="24"/>
                    </a:lnTo>
                    <a:lnTo>
                      <a:pt x="418" y="24"/>
                    </a:lnTo>
                    <a:lnTo>
                      <a:pt x="415" y="25"/>
                    </a:lnTo>
                    <a:lnTo>
                      <a:pt x="411" y="27"/>
                    </a:lnTo>
                    <a:lnTo>
                      <a:pt x="406" y="27"/>
                    </a:lnTo>
                    <a:lnTo>
                      <a:pt x="404" y="27"/>
                    </a:lnTo>
                    <a:lnTo>
                      <a:pt x="404" y="27"/>
                    </a:lnTo>
                    <a:lnTo>
                      <a:pt x="404" y="24"/>
                    </a:lnTo>
                    <a:lnTo>
                      <a:pt x="404" y="23"/>
                    </a:lnTo>
                    <a:lnTo>
                      <a:pt x="405" y="20"/>
                    </a:lnTo>
                    <a:lnTo>
                      <a:pt x="405" y="20"/>
                    </a:lnTo>
                    <a:lnTo>
                      <a:pt x="405" y="17"/>
                    </a:lnTo>
                    <a:lnTo>
                      <a:pt x="404" y="14"/>
                    </a:lnTo>
                    <a:lnTo>
                      <a:pt x="402" y="11"/>
                    </a:lnTo>
                    <a:lnTo>
                      <a:pt x="402" y="8"/>
                    </a:lnTo>
                    <a:lnTo>
                      <a:pt x="402" y="8"/>
                    </a:lnTo>
                    <a:lnTo>
                      <a:pt x="402" y="5"/>
                    </a:lnTo>
                    <a:lnTo>
                      <a:pt x="399" y="3"/>
                    </a:lnTo>
                    <a:lnTo>
                      <a:pt x="395" y="1"/>
                    </a:lnTo>
                    <a:lnTo>
                      <a:pt x="392" y="1"/>
                    </a:lnTo>
                    <a:lnTo>
                      <a:pt x="392" y="1"/>
                    </a:lnTo>
                    <a:lnTo>
                      <a:pt x="389" y="3"/>
                    </a:lnTo>
                    <a:lnTo>
                      <a:pt x="387" y="3"/>
                    </a:lnTo>
                    <a:lnTo>
                      <a:pt x="379" y="0"/>
                    </a:lnTo>
                    <a:lnTo>
                      <a:pt x="379" y="0"/>
                    </a:lnTo>
                    <a:lnTo>
                      <a:pt x="375" y="0"/>
                    </a:lnTo>
                    <a:lnTo>
                      <a:pt x="369" y="0"/>
                    </a:lnTo>
                    <a:lnTo>
                      <a:pt x="362" y="3"/>
                    </a:lnTo>
                    <a:lnTo>
                      <a:pt x="359" y="4"/>
                    </a:lnTo>
                    <a:lnTo>
                      <a:pt x="359" y="4"/>
                    </a:lnTo>
                    <a:lnTo>
                      <a:pt x="359" y="5"/>
                    </a:lnTo>
                    <a:lnTo>
                      <a:pt x="357" y="7"/>
                    </a:lnTo>
                    <a:lnTo>
                      <a:pt x="350" y="10"/>
                    </a:lnTo>
                    <a:lnTo>
                      <a:pt x="337" y="13"/>
                    </a:lnTo>
                    <a:lnTo>
                      <a:pt x="337" y="13"/>
                    </a:lnTo>
                    <a:lnTo>
                      <a:pt x="325" y="15"/>
                    </a:lnTo>
                    <a:lnTo>
                      <a:pt x="314" y="17"/>
                    </a:lnTo>
                    <a:lnTo>
                      <a:pt x="314" y="17"/>
                    </a:lnTo>
                    <a:lnTo>
                      <a:pt x="305" y="20"/>
                    </a:lnTo>
                    <a:lnTo>
                      <a:pt x="303" y="21"/>
                    </a:lnTo>
                    <a:lnTo>
                      <a:pt x="297" y="21"/>
                    </a:lnTo>
                    <a:lnTo>
                      <a:pt x="297" y="21"/>
                    </a:lnTo>
                    <a:lnTo>
                      <a:pt x="286" y="23"/>
                    </a:lnTo>
                    <a:lnTo>
                      <a:pt x="278" y="24"/>
                    </a:lnTo>
                    <a:lnTo>
                      <a:pt x="273" y="27"/>
                    </a:lnTo>
                    <a:lnTo>
                      <a:pt x="273" y="27"/>
                    </a:lnTo>
                    <a:lnTo>
                      <a:pt x="268" y="28"/>
                    </a:lnTo>
                    <a:lnTo>
                      <a:pt x="263" y="28"/>
                    </a:lnTo>
                    <a:lnTo>
                      <a:pt x="258" y="28"/>
                    </a:lnTo>
                    <a:lnTo>
                      <a:pt x="254" y="28"/>
                    </a:lnTo>
                    <a:lnTo>
                      <a:pt x="254" y="28"/>
                    </a:lnTo>
                    <a:lnTo>
                      <a:pt x="250" y="30"/>
                    </a:lnTo>
                    <a:lnTo>
                      <a:pt x="247" y="30"/>
                    </a:lnTo>
                    <a:lnTo>
                      <a:pt x="243" y="30"/>
                    </a:lnTo>
                    <a:lnTo>
                      <a:pt x="240" y="30"/>
                    </a:lnTo>
                    <a:lnTo>
                      <a:pt x="240" y="30"/>
                    </a:lnTo>
                    <a:lnTo>
                      <a:pt x="240" y="31"/>
                    </a:lnTo>
                    <a:lnTo>
                      <a:pt x="239" y="35"/>
                    </a:lnTo>
                    <a:lnTo>
                      <a:pt x="240" y="40"/>
                    </a:lnTo>
                    <a:lnTo>
                      <a:pt x="241" y="42"/>
                    </a:lnTo>
                    <a:lnTo>
                      <a:pt x="241" y="42"/>
                    </a:lnTo>
                    <a:lnTo>
                      <a:pt x="244" y="45"/>
                    </a:lnTo>
                    <a:lnTo>
                      <a:pt x="249" y="47"/>
                    </a:lnTo>
                    <a:lnTo>
                      <a:pt x="253" y="48"/>
                    </a:lnTo>
                    <a:lnTo>
                      <a:pt x="256" y="50"/>
                    </a:lnTo>
                    <a:lnTo>
                      <a:pt x="256" y="50"/>
                    </a:lnTo>
                    <a:lnTo>
                      <a:pt x="254" y="51"/>
                    </a:lnTo>
                    <a:lnTo>
                      <a:pt x="250" y="52"/>
                    </a:lnTo>
                    <a:lnTo>
                      <a:pt x="239" y="52"/>
                    </a:lnTo>
                    <a:lnTo>
                      <a:pt x="239" y="52"/>
                    </a:lnTo>
                    <a:lnTo>
                      <a:pt x="236" y="55"/>
                    </a:lnTo>
                    <a:lnTo>
                      <a:pt x="234" y="58"/>
                    </a:lnTo>
                    <a:lnTo>
                      <a:pt x="234" y="61"/>
                    </a:lnTo>
                    <a:lnTo>
                      <a:pt x="236" y="64"/>
                    </a:lnTo>
                    <a:lnTo>
                      <a:pt x="236" y="64"/>
                    </a:lnTo>
                    <a:lnTo>
                      <a:pt x="236" y="67"/>
                    </a:lnTo>
                    <a:lnTo>
                      <a:pt x="233" y="69"/>
                    </a:lnTo>
                    <a:lnTo>
                      <a:pt x="226" y="72"/>
                    </a:lnTo>
                    <a:lnTo>
                      <a:pt x="226" y="72"/>
                    </a:lnTo>
                    <a:lnTo>
                      <a:pt x="224" y="75"/>
                    </a:lnTo>
                    <a:lnTo>
                      <a:pt x="224" y="78"/>
                    </a:lnTo>
                    <a:lnTo>
                      <a:pt x="227" y="81"/>
                    </a:lnTo>
                    <a:lnTo>
                      <a:pt x="230" y="81"/>
                    </a:lnTo>
                    <a:lnTo>
                      <a:pt x="230" y="81"/>
                    </a:lnTo>
                    <a:lnTo>
                      <a:pt x="233" y="82"/>
                    </a:lnTo>
                    <a:lnTo>
                      <a:pt x="236" y="84"/>
                    </a:lnTo>
                    <a:lnTo>
                      <a:pt x="241" y="85"/>
                    </a:lnTo>
                    <a:lnTo>
                      <a:pt x="241" y="85"/>
                    </a:lnTo>
                    <a:lnTo>
                      <a:pt x="243" y="87"/>
                    </a:lnTo>
                    <a:lnTo>
                      <a:pt x="244" y="89"/>
                    </a:lnTo>
                    <a:lnTo>
                      <a:pt x="246" y="96"/>
                    </a:lnTo>
                    <a:lnTo>
                      <a:pt x="246" y="96"/>
                    </a:lnTo>
                    <a:lnTo>
                      <a:pt x="244" y="99"/>
                    </a:lnTo>
                    <a:lnTo>
                      <a:pt x="243" y="101"/>
                    </a:lnTo>
                    <a:lnTo>
                      <a:pt x="240" y="102"/>
                    </a:lnTo>
                    <a:lnTo>
                      <a:pt x="236" y="102"/>
                    </a:lnTo>
                    <a:lnTo>
                      <a:pt x="236" y="102"/>
                    </a:lnTo>
                    <a:lnTo>
                      <a:pt x="231" y="101"/>
                    </a:lnTo>
                    <a:lnTo>
                      <a:pt x="229" y="99"/>
                    </a:lnTo>
                    <a:lnTo>
                      <a:pt x="223" y="96"/>
                    </a:lnTo>
                    <a:lnTo>
                      <a:pt x="223" y="96"/>
                    </a:lnTo>
                    <a:lnTo>
                      <a:pt x="222" y="98"/>
                    </a:lnTo>
                    <a:lnTo>
                      <a:pt x="220" y="101"/>
                    </a:lnTo>
                    <a:lnTo>
                      <a:pt x="219" y="104"/>
                    </a:lnTo>
                    <a:lnTo>
                      <a:pt x="217" y="105"/>
                    </a:lnTo>
                    <a:lnTo>
                      <a:pt x="217" y="105"/>
                    </a:lnTo>
                    <a:lnTo>
                      <a:pt x="216" y="105"/>
                    </a:lnTo>
                    <a:lnTo>
                      <a:pt x="214" y="104"/>
                    </a:lnTo>
                    <a:lnTo>
                      <a:pt x="213" y="101"/>
                    </a:lnTo>
                    <a:lnTo>
                      <a:pt x="210" y="99"/>
                    </a:lnTo>
                    <a:lnTo>
                      <a:pt x="210" y="99"/>
                    </a:lnTo>
                    <a:lnTo>
                      <a:pt x="203" y="99"/>
                    </a:lnTo>
                    <a:lnTo>
                      <a:pt x="202" y="98"/>
                    </a:lnTo>
                    <a:lnTo>
                      <a:pt x="199" y="95"/>
                    </a:lnTo>
                    <a:lnTo>
                      <a:pt x="199" y="95"/>
                    </a:lnTo>
                    <a:lnTo>
                      <a:pt x="197" y="92"/>
                    </a:lnTo>
                    <a:lnTo>
                      <a:pt x="193" y="91"/>
                    </a:lnTo>
                    <a:lnTo>
                      <a:pt x="187" y="92"/>
                    </a:lnTo>
                    <a:lnTo>
                      <a:pt x="183" y="94"/>
                    </a:lnTo>
                    <a:lnTo>
                      <a:pt x="183" y="94"/>
                    </a:lnTo>
                    <a:lnTo>
                      <a:pt x="180" y="96"/>
                    </a:lnTo>
                    <a:lnTo>
                      <a:pt x="179" y="96"/>
                    </a:lnTo>
                    <a:lnTo>
                      <a:pt x="175" y="94"/>
                    </a:lnTo>
                    <a:lnTo>
                      <a:pt x="175" y="94"/>
                    </a:lnTo>
                    <a:lnTo>
                      <a:pt x="170" y="92"/>
                    </a:lnTo>
                    <a:lnTo>
                      <a:pt x="166" y="94"/>
                    </a:lnTo>
                    <a:lnTo>
                      <a:pt x="162" y="96"/>
                    </a:lnTo>
                    <a:lnTo>
                      <a:pt x="159" y="98"/>
                    </a:lnTo>
                    <a:lnTo>
                      <a:pt x="159" y="98"/>
                    </a:lnTo>
                    <a:lnTo>
                      <a:pt x="156" y="101"/>
                    </a:lnTo>
                    <a:lnTo>
                      <a:pt x="153" y="102"/>
                    </a:lnTo>
                    <a:lnTo>
                      <a:pt x="149" y="102"/>
                    </a:lnTo>
                    <a:lnTo>
                      <a:pt x="143" y="99"/>
                    </a:lnTo>
                    <a:lnTo>
                      <a:pt x="143" y="99"/>
                    </a:lnTo>
                    <a:lnTo>
                      <a:pt x="138" y="96"/>
                    </a:lnTo>
                    <a:lnTo>
                      <a:pt x="135" y="98"/>
                    </a:lnTo>
                    <a:lnTo>
                      <a:pt x="135" y="99"/>
                    </a:lnTo>
                    <a:lnTo>
                      <a:pt x="135" y="99"/>
                    </a:lnTo>
                    <a:lnTo>
                      <a:pt x="133" y="102"/>
                    </a:lnTo>
                    <a:lnTo>
                      <a:pt x="132" y="102"/>
                    </a:lnTo>
                    <a:lnTo>
                      <a:pt x="130" y="99"/>
                    </a:lnTo>
                    <a:lnTo>
                      <a:pt x="130" y="98"/>
                    </a:lnTo>
                    <a:lnTo>
                      <a:pt x="130" y="98"/>
                    </a:lnTo>
                    <a:lnTo>
                      <a:pt x="129" y="95"/>
                    </a:lnTo>
                    <a:lnTo>
                      <a:pt x="125" y="92"/>
                    </a:lnTo>
                    <a:lnTo>
                      <a:pt x="116" y="87"/>
                    </a:lnTo>
                    <a:lnTo>
                      <a:pt x="116" y="87"/>
                    </a:lnTo>
                    <a:lnTo>
                      <a:pt x="112" y="85"/>
                    </a:lnTo>
                    <a:lnTo>
                      <a:pt x="106" y="84"/>
                    </a:lnTo>
                    <a:lnTo>
                      <a:pt x="101" y="82"/>
                    </a:lnTo>
                    <a:lnTo>
                      <a:pt x="98" y="81"/>
                    </a:lnTo>
                    <a:lnTo>
                      <a:pt x="98" y="81"/>
                    </a:lnTo>
                    <a:lnTo>
                      <a:pt x="96" y="79"/>
                    </a:lnTo>
                    <a:lnTo>
                      <a:pt x="93" y="78"/>
                    </a:lnTo>
                    <a:lnTo>
                      <a:pt x="89" y="78"/>
                    </a:lnTo>
                    <a:lnTo>
                      <a:pt x="86" y="81"/>
                    </a:lnTo>
                    <a:lnTo>
                      <a:pt x="86" y="81"/>
                    </a:lnTo>
                    <a:lnTo>
                      <a:pt x="85" y="84"/>
                    </a:lnTo>
                    <a:lnTo>
                      <a:pt x="84" y="84"/>
                    </a:lnTo>
                    <a:lnTo>
                      <a:pt x="78" y="81"/>
                    </a:lnTo>
                    <a:lnTo>
                      <a:pt x="78" y="81"/>
                    </a:lnTo>
                    <a:lnTo>
                      <a:pt x="75" y="81"/>
                    </a:lnTo>
                    <a:lnTo>
                      <a:pt x="72" y="81"/>
                    </a:lnTo>
                    <a:lnTo>
                      <a:pt x="66" y="84"/>
                    </a:lnTo>
                    <a:lnTo>
                      <a:pt x="66" y="84"/>
                    </a:lnTo>
                    <a:lnTo>
                      <a:pt x="58" y="89"/>
                    </a:lnTo>
                    <a:lnTo>
                      <a:pt x="54" y="91"/>
                    </a:lnTo>
                    <a:lnTo>
                      <a:pt x="49" y="92"/>
                    </a:lnTo>
                    <a:lnTo>
                      <a:pt x="49" y="92"/>
                    </a:lnTo>
                    <a:lnTo>
                      <a:pt x="47" y="94"/>
                    </a:lnTo>
                    <a:lnTo>
                      <a:pt x="45" y="95"/>
                    </a:lnTo>
                    <a:lnTo>
                      <a:pt x="44" y="98"/>
                    </a:lnTo>
                    <a:lnTo>
                      <a:pt x="41" y="99"/>
                    </a:lnTo>
                    <a:lnTo>
                      <a:pt x="41" y="99"/>
                    </a:lnTo>
                    <a:lnTo>
                      <a:pt x="37" y="101"/>
                    </a:lnTo>
                    <a:lnTo>
                      <a:pt x="35" y="104"/>
                    </a:lnTo>
                    <a:lnTo>
                      <a:pt x="37" y="108"/>
                    </a:lnTo>
                    <a:lnTo>
                      <a:pt x="37" y="108"/>
                    </a:lnTo>
                    <a:lnTo>
                      <a:pt x="38" y="114"/>
                    </a:lnTo>
                    <a:lnTo>
                      <a:pt x="38" y="116"/>
                    </a:lnTo>
                    <a:lnTo>
                      <a:pt x="35" y="118"/>
                    </a:lnTo>
                    <a:lnTo>
                      <a:pt x="35" y="118"/>
                    </a:lnTo>
                    <a:lnTo>
                      <a:pt x="32" y="119"/>
                    </a:lnTo>
                    <a:lnTo>
                      <a:pt x="31" y="118"/>
                    </a:lnTo>
                    <a:lnTo>
                      <a:pt x="28" y="115"/>
                    </a:lnTo>
                    <a:lnTo>
                      <a:pt x="25" y="111"/>
                    </a:lnTo>
                    <a:lnTo>
                      <a:pt x="22" y="108"/>
                    </a:lnTo>
                    <a:lnTo>
                      <a:pt x="22" y="108"/>
                    </a:lnTo>
                    <a:lnTo>
                      <a:pt x="18" y="106"/>
                    </a:lnTo>
                    <a:lnTo>
                      <a:pt x="15" y="108"/>
                    </a:lnTo>
                    <a:lnTo>
                      <a:pt x="14" y="109"/>
                    </a:lnTo>
                    <a:lnTo>
                      <a:pt x="12" y="114"/>
                    </a:lnTo>
                    <a:lnTo>
                      <a:pt x="12" y="114"/>
                    </a:lnTo>
                    <a:lnTo>
                      <a:pt x="12" y="116"/>
                    </a:lnTo>
                    <a:lnTo>
                      <a:pt x="10" y="118"/>
                    </a:lnTo>
                    <a:lnTo>
                      <a:pt x="7" y="121"/>
                    </a:lnTo>
                    <a:lnTo>
                      <a:pt x="4" y="124"/>
                    </a:lnTo>
                    <a:lnTo>
                      <a:pt x="4" y="124"/>
                    </a:lnTo>
                    <a:lnTo>
                      <a:pt x="4" y="126"/>
                    </a:lnTo>
                    <a:lnTo>
                      <a:pt x="5" y="128"/>
                    </a:lnTo>
                    <a:lnTo>
                      <a:pt x="8" y="129"/>
                    </a:lnTo>
                    <a:lnTo>
                      <a:pt x="10" y="131"/>
                    </a:lnTo>
                    <a:lnTo>
                      <a:pt x="10" y="131"/>
                    </a:lnTo>
                    <a:lnTo>
                      <a:pt x="8" y="133"/>
                    </a:lnTo>
                    <a:lnTo>
                      <a:pt x="7" y="135"/>
                    </a:lnTo>
                    <a:lnTo>
                      <a:pt x="4" y="136"/>
                    </a:lnTo>
                    <a:lnTo>
                      <a:pt x="4" y="136"/>
                    </a:lnTo>
                    <a:lnTo>
                      <a:pt x="1" y="141"/>
                    </a:lnTo>
                    <a:lnTo>
                      <a:pt x="0" y="143"/>
                    </a:lnTo>
                    <a:lnTo>
                      <a:pt x="0" y="146"/>
                    </a:lnTo>
                    <a:lnTo>
                      <a:pt x="0" y="146"/>
                    </a:lnTo>
                    <a:lnTo>
                      <a:pt x="2" y="148"/>
                    </a:lnTo>
                    <a:lnTo>
                      <a:pt x="5" y="148"/>
                    </a:lnTo>
                    <a:lnTo>
                      <a:pt x="8" y="149"/>
                    </a:lnTo>
                    <a:lnTo>
                      <a:pt x="10" y="152"/>
                    </a:lnTo>
                    <a:lnTo>
                      <a:pt x="10" y="152"/>
                    </a:lnTo>
                    <a:lnTo>
                      <a:pt x="10" y="159"/>
                    </a:lnTo>
                    <a:lnTo>
                      <a:pt x="10" y="160"/>
                    </a:lnTo>
                    <a:lnTo>
                      <a:pt x="12" y="160"/>
                    </a:lnTo>
                    <a:lnTo>
                      <a:pt x="12" y="160"/>
                    </a:lnTo>
                    <a:lnTo>
                      <a:pt x="18" y="160"/>
                    </a:lnTo>
                    <a:lnTo>
                      <a:pt x="24" y="160"/>
                    </a:lnTo>
                    <a:lnTo>
                      <a:pt x="24" y="160"/>
                    </a:lnTo>
                    <a:lnTo>
                      <a:pt x="25" y="162"/>
                    </a:lnTo>
                    <a:lnTo>
                      <a:pt x="28" y="163"/>
                    </a:lnTo>
                    <a:lnTo>
                      <a:pt x="34" y="172"/>
                    </a:lnTo>
                    <a:lnTo>
                      <a:pt x="34" y="172"/>
                    </a:lnTo>
                    <a:lnTo>
                      <a:pt x="38" y="179"/>
                    </a:lnTo>
                    <a:lnTo>
                      <a:pt x="38" y="180"/>
                    </a:lnTo>
                    <a:lnTo>
                      <a:pt x="35" y="182"/>
                    </a:lnTo>
                    <a:lnTo>
                      <a:pt x="35" y="182"/>
                    </a:lnTo>
                    <a:lnTo>
                      <a:pt x="34" y="183"/>
                    </a:lnTo>
                    <a:lnTo>
                      <a:pt x="34" y="185"/>
                    </a:lnTo>
                    <a:lnTo>
                      <a:pt x="35" y="186"/>
                    </a:lnTo>
                    <a:lnTo>
                      <a:pt x="39" y="189"/>
                    </a:lnTo>
                    <a:lnTo>
                      <a:pt x="39" y="189"/>
                    </a:lnTo>
                    <a:lnTo>
                      <a:pt x="44" y="192"/>
                    </a:lnTo>
                    <a:lnTo>
                      <a:pt x="44" y="192"/>
                    </a:lnTo>
                    <a:lnTo>
                      <a:pt x="48" y="190"/>
                    </a:lnTo>
                    <a:lnTo>
                      <a:pt x="48" y="190"/>
                    </a:lnTo>
                    <a:lnTo>
                      <a:pt x="55" y="185"/>
                    </a:lnTo>
                    <a:lnTo>
                      <a:pt x="64" y="180"/>
                    </a:lnTo>
                    <a:lnTo>
                      <a:pt x="72" y="179"/>
                    </a:lnTo>
                    <a:lnTo>
                      <a:pt x="81" y="179"/>
                    </a:lnTo>
                    <a:lnTo>
                      <a:pt x="81" y="179"/>
                    </a:lnTo>
                    <a:lnTo>
                      <a:pt x="89" y="180"/>
                    </a:lnTo>
                    <a:lnTo>
                      <a:pt x="95" y="180"/>
                    </a:lnTo>
                    <a:lnTo>
                      <a:pt x="101" y="180"/>
                    </a:lnTo>
                    <a:lnTo>
                      <a:pt x="103" y="182"/>
                    </a:lnTo>
                    <a:lnTo>
                      <a:pt x="106" y="183"/>
                    </a:lnTo>
                    <a:lnTo>
                      <a:pt x="106" y="183"/>
                    </a:lnTo>
                    <a:lnTo>
                      <a:pt x="106" y="186"/>
                    </a:lnTo>
                    <a:lnTo>
                      <a:pt x="108" y="189"/>
                    </a:lnTo>
                    <a:lnTo>
                      <a:pt x="108" y="196"/>
                    </a:lnTo>
                    <a:lnTo>
                      <a:pt x="108" y="203"/>
                    </a:lnTo>
                    <a:lnTo>
                      <a:pt x="108" y="207"/>
                    </a:lnTo>
                    <a:lnTo>
                      <a:pt x="108" y="207"/>
                    </a:lnTo>
                    <a:lnTo>
                      <a:pt x="108" y="209"/>
                    </a:lnTo>
                    <a:lnTo>
                      <a:pt x="106" y="210"/>
                    </a:lnTo>
                    <a:lnTo>
                      <a:pt x="103" y="212"/>
                    </a:lnTo>
                    <a:lnTo>
                      <a:pt x="98" y="212"/>
                    </a:lnTo>
                    <a:lnTo>
                      <a:pt x="92" y="212"/>
                    </a:lnTo>
                    <a:lnTo>
                      <a:pt x="92" y="212"/>
                    </a:lnTo>
                    <a:lnTo>
                      <a:pt x="85" y="212"/>
                    </a:lnTo>
                    <a:lnTo>
                      <a:pt x="78" y="213"/>
                    </a:lnTo>
                    <a:lnTo>
                      <a:pt x="74" y="216"/>
                    </a:lnTo>
                    <a:lnTo>
                      <a:pt x="72" y="217"/>
                    </a:lnTo>
                    <a:lnTo>
                      <a:pt x="72" y="219"/>
                    </a:lnTo>
                    <a:lnTo>
                      <a:pt x="72" y="219"/>
                    </a:lnTo>
                    <a:lnTo>
                      <a:pt x="75" y="227"/>
                    </a:lnTo>
                    <a:lnTo>
                      <a:pt x="75" y="229"/>
                    </a:lnTo>
                    <a:lnTo>
                      <a:pt x="74" y="229"/>
                    </a:lnTo>
                    <a:lnTo>
                      <a:pt x="69" y="227"/>
                    </a:lnTo>
                    <a:lnTo>
                      <a:pt x="69" y="227"/>
                    </a:lnTo>
                    <a:lnTo>
                      <a:pt x="66" y="226"/>
                    </a:lnTo>
                    <a:lnTo>
                      <a:pt x="64" y="226"/>
                    </a:lnTo>
                    <a:lnTo>
                      <a:pt x="61" y="227"/>
                    </a:lnTo>
                    <a:lnTo>
                      <a:pt x="59" y="229"/>
                    </a:lnTo>
                    <a:lnTo>
                      <a:pt x="59" y="232"/>
                    </a:lnTo>
                    <a:lnTo>
                      <a:pt x="59" y="233"/>
                    </a:lnTo>
                    <a:lnTo>
                      <a:pt x="62" y="233"/>
                    </a:lnTo>
                    <a:lnTo>
                      <a:pt x="62" y="233"/>
                    </a:lnTo>
                    <a:lnTo>
                      <a:pt x="65" y="234"/>
                    </a:lnTo>
                    <a:lnTo>
                      <a:pt x="69" y="236"/>
                    </a:lnTo>
                    <a:lnTo>
                      <a:pt x="72" y="240"/>
                    </a:lnTo>
                    <a:lnTo>
                      <a:pt x="74" y="243"/>
                    </a:lnTo>
                    <a:lnTo>
                      <a:pt x="74" y="243"/>
                    </a:lnTo>
                    <a:lnTo>
                      <a:pt x="75" y="252"/>
                    </a:lnTo>
                    <a:lnTo>
                      <a:pt x="76" y="254"/>
                    </a:lnTo>
                    <a:lnTo>
                      <a:pt x="78" y="256"/>
                    </a:lnTo>
                    <a:lnTo>
                      <a:pt x="79" y="256"/>
                    </a:lnTo>
                    <a:lnTo>
                      <a:pt x="79" y="256"/>
                    </a:lnTo>
                    <a:lnTo>
                      <a:pt x="82" y="256"/>
                    </a:lnTo>
                    <a:lnTo>
                      <a:pt x="84" y="259"/>
                    </a:lnTo>
                    <a:lnTo>
                      <a:pt x="86" y="261"/>
                    </a:lnTo>
                    <a:lnTo>
                      <a:pt x="91" y="263"/>
                    </a:lnTo>
                    <a:lnTo>
                      <a:pt x="91" y="263"/>
                    </a:lnTo>
                    <a:lnTo>
                      <a:pt x="95" y="263"/>
                    </a:lnTo>
                    <a:lnTo>
                      <a:pt x="99" y="264"/>
                    </a:lnTo>
                    <a:lnTo>
                      <a:pt x="101" y="266"/>
                    </a:lnTo>
                    <a:lnTo>
                      <a:pt x="98" y="270"/>
                    </a:lnTo>
                    <a:lnTo>
                      <a:pt x="98" y="270"/>
                    </a:lnTo>
                    <a:lnTo>
                      <a:pt x="96" y="273"/>
                    </a:lnTo>
                    <a:lnTo>
                      <a:pt x="96" y="277"/>
                    </a:lnTo>
                    <a:lnTo>
                      <a:pt x="98" y="284"/>
                    </a:lnTo>
                    <a:lnTo>
                      <a:pt x="101" y="290"/>
                    </a:lnTo>
                    <a:lnTo>
                      <a:pt x="102" y="290"/>
                    </a:lnTo>
                    <a:lnTo>
                      <a:pt x="103" y="290"/>
                    </a:lnTo>
                    <a:lnTo>
                      <a:pt x="103" y="290"/>
                    </a:lnTo>
                    <a:lnTo>
                      <a:pt x="103" y="284"/>
                    </a:lnTo>
                    <a:lnTo>
                      <a:pt x="105" y="279"/>
                    </a:lnTo>
                    <a:lnTo>
                      <a:pt x="105" y="279"/>
                    </a:lnTo>
                    <a:lnTo>
                      <a:pt x="105" y="276"/>
                    </a:lnTo>
                    <a:lnTo>
                      <a:pt x="106" y="274"/>
                    </a:lnTo>
                    <a:lnTo>
                      <a:pt x="108" y="273"/>
                    </a:lnTo>
                    <a:lnTo>
                      <a:pt x="111" y="271"/>
                    </a:lnTo>
                    <a:lnTo>
                      <a:pt x="116" y="270"/>
                    </a:lnTo>
                    <a:lnTo>
                      <a:pt x="122" y="270"/>
                    </a:lnTo>
                    <a:lnTo>
                      <a:pt x="122" y="270"/>
                    </a:lnTo>
                    <a:lnTo>
                      <a:pt x="126" y="271"/>
                    </a:lnTo>
                    <a:lnTo>
                      <a:pt x="132" y="274"/>
                    </a:lnTo>
                    <a:lnTo>
                      <a:pt x="136" y="280"/>
                    </a:lnTo>
                    <a:lnTo>
                      <a:pt x="142" y="286"/>
                    </a:lnTo>
                    <a:lnTo>
                      <a:pt x="142" y="286"/>
                    </a:lnTo>
                    <a:lnTo>
                      <a:pt x="146" y="289"/>
                    </a:lnTo>
                    <a:lnTo>
                      <a:pt x="149" y="290"/>
                    </a:lnTo>
                    <a:lnTo>
                      <a:pt x="152" y="289"/>
                    </a:lnTo>
                    <a:lnTo>
                      <a:pt x="153" y="289"/>
                    </a:lnTo>
                    <a:lnTo>
                      <a:pt x="155" y="217"/>
                    </a:lnTo>
                    <a:lnTo>
                      <a:pt x="196" y="206"/>
                    </a:lnTo>
                    <a:lnTo>
                      <a:pt x="196" y="206"/>
                    </a:lnTo>
                    <a:lnTo>
                      <a:pt x="197" y="203"/>
                    </a:lnTo>
                    <a:lnTo>
                      <a:pt x="197" y="203"/>
                    </a:lnTo>
                    <a:lnTo>
                      <a:pt x="199" y="202"/>
                    </a:lnTo>
                    <a:lnTo>
                      <a:pt x="200" y="200"/>
                    </a:lnTo>
                    <a:lnTo>
                      <a:pt x="204" y="200"/>
                    </a:lnTo>
                    <a:lnTo>
                      <a:pt x="209" y="202"/>
                    </a:lnTo>
                    <a:lnTo>
                      <a:pt x="212" y="205"/>
                    </a:lnTo>
                    <a:lnTo>
                      <a:pt x="212" y="205"/>
                    </a:lnTo>
                    <a:lnTo>
                      <a:pt x="212" y="205"/>
                    </a:lnTo>
                    <a:lnTo>
                      <a:pt x="213" y="203"/>
                    </a:lnTo>
                    <a:lnTo>
                      <a:pt x="213" y="200"/>
                    </a:lnTo>
                    <a:lnTo>
                      <a:pt x="214" y="197"/>
                    </a:lnTo>
                    <a:lnTo>
                      <a:pt x="216" y="196"/>
                    </a:lnTo>
                    <a:lnTo>
                      <a:pt x="219" y="196"/>
                    </a:lnTo>
                    <a:lnTo>
                      <a:pt x="219" y="196"/>
                    </a:lnTo>
                    <a:lnTo>
                      <a:pt x="220" y="197"/>
                    </a:lnTo>
                    <a:lnTo>
                      <a:pt x="220" y="197"/>
                    </a:lnTo>
                    <a:lnTo>
                      <a:pt x="220" y="202"/>
                    </a:lnTo>
                    <a:lnTo>
                      <a:pt x="220" y="205"/>
                    </a:lnTo>
                    <a:lnTo>
                      <a:pt x="220" y="206"/>
                    </a:lnTo>
                    <a:lnTo>
                      <a:pt x="222" y="206"/>
                    </a:lnTo>
                    <a:lnTo>
                      <a:pt x="222" y="206"/>
                    </a:lnTo>
                    <a:lnTo>
                      <a:pt x="224" y="207"/>
                    </a:lnTo>
                    <a:lnTo>
                      <a:pt x="229" y="213"/>
                    </a:lnTo>
                    <a:lnTo>
                      <a:pt x="230" y="220"/>
                    </a:lnTo>
                    <a:lnTo>
                      <a:pt x="230" y="227"/>
                    </a:lnTo>
                    <a:lnTo>
                      <a:pt x="230" y="227"/>
                    </a:lnTo>
                    <a:lnTo>
                      <a:pt x="241" y="237"/>
                    </a:lnTo>
                    <a:lnTo>
                      <a:pt x="249" y="247"/>
                    </a:lnTo>
                    <a:lnTo>
                      <a:pt x="249" y="247"/>
                    </a:lnTo>
                    <a:lnTo>
                      <a:pt x="250" y="249"/>
                    </a:lnTo>
                    <a:lnTo>
                      <a:pt x="253" y="249"/>
                    </a:lnTo>
                    <a:lnTo>
                      <a:pt x="258" y="247"/>
                    </a:lnTo>
                    <a:lnTo>
                      <a:pt x="266" y="246"/>
                    </a:lnTo>
                    <a:lnTo>
                      <a:pt x="270" y="246"/>
                    </a:lnTo>
                    <a:lnTo>
                      <a:pt x="270" y="246"/>
                    </a:lnTo>
                    <a:lnTo>
                      <a:pt x="286" y="247"/>
                    </a:lnTo>
                    <a:lnTo>
                      <a:pt x="303" y="247"/>
                    </a:lnTo>
                    <a:lnTo>
                      <a:pt x="303" y="247"/>
                    </a:lnTo>
                    <a:lnTo>
                      <a:pt x="305" y="249"/>
                    </a:lnTo>
                    <a:lnTo>
                      <a:pt x="308" y="252"/>
                    </a:lnTo>
                    <a:lnTo>
                      <a:pt x="311" y="254"/>
                    </a:lnTo>
                    <a:lnTo>
                      <a:pt x="315" y="257"/>
                    </a:lnTo>
                    <a:lnTo>
                      <a:pt x="315" y="257"/>
                    </a:lnTo>
                    <a:lnTo>
                      <a:pt x="318" y="259"/>
                    </a:lnTo>
                    <a:lnTo>
                      <a:pt x="318" y="263"/>
                    </a:lnTo>
                    <a:lnTo>
                      <a:pt x="318" y="271"/>
                    </a:lnTo>
                    <a:lnTo>
                      <a:pt x="318" y="271"/>
                    </a:lnTo>
                    <a:lnTo>
                      <a:pt x="320" y="276"/>
                    </a:lnTo>
                    <a:lnTo>
                      <a:pt x="323" y="280"/>
                    </a:lnTo>
                    <a:lnTo>
                      <a:pt x="325" y="284"/>
                    </a:lnTo>
                    <a:lnTo>
                      <a:pt x="328" y="289"/>
                    </a:lnTo>
                    <a:lnTo>
                      <a:pt x="328" y="289"/>
                    </a:lnTo>
                    <a:lnTo>
                      <a:pt x="328" y="290"/>
                    </a:lnTo>
                    <a:lnTo>
                      <a:pt x="330" y="291"/>
                    </a:lnTo>
                    <a:lnTo>
                      <a:pt x="332" y="291"/>
                    </a:lnTo>
                    <a:lnTo>
                      <a:pt x="341" y="293"/>
                    </a:lnTo>
                    <a:lnTo>
                      <a:pt x="341" y="293"/>
                    </a:lnTo>
                    <a:lnTo>
                      <a:pt x="350" y="296"/>
                    </a:lnTo>
                    <a:lnTo>
                      <a:pt x="354" y="297"/>
                    </a:lnTo>
                    <a:lnTo>
                      <a:pt x="355" y="300"/>
                    </a:lnTo>
                    <a:lnTo>
                      <a:pt x="355" y="300"/>
                    </a:lnTo>
                    <a:lnTo>
                      <a:pt x="357" y="303"/>
                    </a:lnTo>
                    <a:lnTo>
                      <a:pt x="358" y="303"/>
                    </a:lnTo>
                    <a:lnTo>
                      <a:pt x="361" y="301"/>
                    </a:lnTo>
                    <a:lnTo>
                      <a:pt x="362" y="298"/>
                    </a:lnTo>
                    <a:lnTo>
                      <a:pt x="362" y="298"/>
                    </a:lnTo>
                    <a:lnTo>
                      <a:pt x="364" y="296"/>
                    </a:lnTo>
                    <a:lnTo>
                      <a:pt x="367" y="291"/>
                    </a:lnTo>
                    <a:lnTo>
                      <a:pt x="372" y="289"/>
                    </a:lnTo>
                    <a:lnTo>
                      <a:pt x="379" y="286"/>
                    </a:lnTo>
                    <a:lnTo>
                      <a:pt x="379" y="286"/>
                    </a:lnTo>
                    <a:lnTo>
                      <a:pt x="384" y="284"/>
                    </a:lnTo>
                    <a:lnTo>
                      <a:pt x="388" y="284"/>
                    </a:lnTo>
                    <a:lnTo>
                      <a:pt x="388" y="284"/>
                    </a:lnTo>
                    <a:lnTo>
                      <a:pt x="391" y="279"/>
                    </a:lnTo>
                    <a:lnTo>
                      <a:pt x="394" y="276"/>
                    </a:lnTo>
                    <a:lnTo>
                      <a:pt x="394" y="276"/>
                    </a:lnTo>
                    <a:lnTo>
                      <a:pt x="399" y="271"/>
                    </a:lnTo>
                    <a:lnTo>
                      <a:pt x="402" y="269"/>
                    </a:lnTo>
                    <a:lnTo>
                      <a:pt x="404" y="264"/>
                    </a:lnTo>
                    <a:lnTo>
                      <a:pt x="404" y="264"/>
                    </a:lnTo>
                    <a:lnTo>
                      <a:pt x="404" y="263"/>
                    </a:lnTo>
                    <a:lnTo>
                      <a:pt x="405" y="261"/>
                    </a:lnTo>
                    <a:lnTo>
                      <a:pt x="411" y="261"/>
                    </a:lnTo>
                    <a:lnTo>
                      <a:pt x="418" y="261"/>
                    </a:lnTo>
                    <a:lnTo>
                      <a:pt x="425" y="264"/>
                    </a:lnTo>
                    <a:lnTo>
                      <a:pt x="425" y="264"/>
                    </a:lnTo>
                    <a:lnTo>
                      <a:pt x="431" y="267"/>
                    </a:lnTo>
                    <a:lnTo>
                      <a:pt x="435" y="267"/>
                    </a:lnTo>
                    <a:lnTo>
                      <a:pt x="438" y="266"/>
                    </a:lnTo>
                    <a:lnTo>
                      <a:pt x="439" y="261"/>
                    </a:lnTo>
                    <a:lnTo>
                      <a:pt x="439" y="261"/>
                    </a:lnTo>
                    <a:lnTo>
                      <a:pt x="439" y="260"/>
                    </a:lnTo>
                    <a:lnTo>
                      <a:pt x="441" y="257"/>
                    </a:lnTo>
                    <a:lnTo>
                      <a:pt x="446" y="256"/>
                    </a:lnTo>
                    <a:lnTo>
                      <a:pt x="452" y="254"/>
                    </a:lnTo>
                    <a:lnTo>
                      <a:pt x="456" y="256"/>
                    </a:lnTo>
                    <a:lnTo>
                      <a:pt x="456" y="256"/>
                    </a:lnTo>
                    <a:lnTo>
                      <a:pt x="466" y="260"/>
                    </a:lnTo>
                    <a:lnTo>
                      <a:pt x="472" y="261"/>
                    </a:lnTo>
                    <a:lnTo>
                      <a:pt x="478" y="261"/>
                    </a:lnTo>
                    <a:lnTo>
                      <a:pt x="478" y="261"/>
                    </a:lnTo>
                    <a:lnTo>
                      <a:pt x="485" y="260"/>
                    </a:lnTo>
                    <a:lnTo>
                      <a:pt x="497" y="261"/>
                    </a:lnTo>
                    <a:lnTo>
                      <a:pt x="519" y="264"/>
                    </a:lnTo>
                    <a:lnTo>
                      <a:pt x="519" y="264"/>
                    </a:lnTo>
                    <a:lnTo>
                      <a:pt x="523" y="264"/>
                    </a:lnTo>
                    <a:lnTo>
                      <a:pt x="526" y="264"/>
                    </a:lnTo>
                    <a:lnTo>
                      <a:pt x="529" y="264"/>
                    </a:lnTo>
                    <a:lnTo>
                      <a:pt x="533" y="269"/>
                    </a:lnTo>
                    <a:lnTo>
                      <a:pt x="533" y="269"/>
                    </a:lnTo>
                    <a:lnTo>
                      <a:pt x="537" y="270"/>
                    </a:lnTo>
                    <a:lnTo>
                      <a:pt x="540" y="271"/>
                    </a:lnTo>
                    <a:lnTo>
                      <a:pt x="543" y="271"/>
                    </a:lnTo>
                    <a:lnTo>
                      <a:pt x="547" y="273"/>
                    </a:lnTo>
                    <a:lnTo>
                      <a:pt x="547" y="273"/>
                    </a:lnTo>
                    <a:lnTo>
                      <a:pt x="546" y="267"/>
                    </a:lnTo>
                    <a:lnTo>
                      <a:pt x="546" y="267"/>
                    </a:lnTo>
                    <a:lnTo>
                      <a:pt x="547" y="263"/>
                    </a:lnTo>
                    <a:lnTo>
                      <a:pt x="550" y="260"/>
                    </a:lnTo>
                    <a:lnTo>
                      <a:pt x="553" y="257"/>
                    </a:lnTo>
                    <a:lnTo>
                      <a:pt x="554" y="254"/>
                    </a:lnTo>
                    <a:lnTo>
                      <a:pt x="554" y="254"/>
                    </a:lnTo>
                    <a:lnTo>
                      <a:pt x="554" y="252"/>
                    </a:lnTo>
                    <a:lnTo>
                      <a:pt x="552" y="246"/>
                    </a:lnTo>
                    <a:lnTo>
                      <a:pt x="550" y="240"/>
                    </a:lnTo>
                    <a:lnTo>
                      <a:pt x="549" y="237"/>
                    </a:lnTo>
                    <a:lnTo>
                      <a:pt x="549" y="237"/>
                    </a:lnTo>
                    <a:lnTo>
                      <a:pt x="549" y="229"/>
                    </a:lnTo>
                    <a:lnTo>
                      <a:pt x="547" y="226"/>
                    </a:lnTo>
                    <a:lnTo>
                      <a:pt x="544" y="223"/>
                    </a:lnTo>
                    <a:lnTo>
                      <a:pt x="544" y="223"/>
                    </a:lnTo>
                    <a:lnTo>
                      <a:pt x="544" y="222"/>
                    </a:lnTo>
                    <a:lnTo>
                      <a:pt x="544" y="222"/>
                    </a:lnTo>
                    <a:lnTo>
                      <a:pt x="547" y="219"/>
                    </a:lnTo>
                    <a:lnTo>
                      <a:pt x="554" y="216"/>
                    </a:lnTo>
                    <a:lnTo>
                      <a:pt x="554" y="216"/>
                    </a:lnTo>
                    <a:lnTo>
                      <a:pt x="559" y="216"/>
                    </a:lnTo>
                    <a:lnTo>
                      <a:pt x="563" y="215"/>
                    </a:lnTo>
                    <a:lnTo>
                      <a:pt x="567" y="213"/>
                    </a:lnTo>
                    <a:lnTo>
                      <a:pt x="569" y="213"/>
                    </a:lnTo>
                    <a:lnTo>
                      <a:pt x="569" y="213"/>
                    </a:lnTo>
                    <a:lnTo>
                      <a:pt x="574" y="216"/>
                    </a:lnTo>
                    <a:lnTo>
                      <a:pt x="581" y="216"/>
                    </a:lnTo>
                    <a:lnTo>
                      <a:pt x="581" y="216"/>
                    </a:lnTo>
                    <a:lnTo>
                      <a:pt x="583" y="216"/>
                    </a:lnTo>
                    <a:lnTo>
                      <a:pt x="583" y="213"/>
                    </a:lnTo>
                    <a:lnTo>
                      <a:pt x="583" y="212"/>
                    </a:lnTo>
                    <a:lnTo>
                      <a:pt x="581" y="209"/>
                    </a:lnTo>
                    <a:lnTo>
                      <a:pt x="581" y="209"/>
                    </a:lnTo>
                    <a:lnTo>
                      <a:pt x="580" y="207"/>
                    </a:lnTo>
                    <a:lnTo>
                      <a:pt x="581" y="205"/>
                    </a:lnTo>
                    <a:lnTo>
                      <a:pt x="584" y="196"/>
                    </a:lnTo>
                    <a:lnTo>
                      <a:pt x="590" y="179"/>
                    </a:lnTo>
                    <a:lnTo>
                      <a:pt x="590" y="179"/>
                    </a:lnTo>
                    <a:lnTo>
                      <a:pt x="593" y="175"/>
                    </a:lnTo>
                    <a:lnTo>
                      <a:pt x="594" y="175"/>
                    </a:lnTo>
                    <a:lnTo>
                      <a:pt x="597" y="178"/>
                    </a:lnTo>
                    <a:lnTo>
                      <a:pt x="601" y="179"/>
                    </a:lnTo>
                    <a:lnTo>
                      <a:pt x="601" y="179"/>
                    </a:lnTo>
                    <a:lnTo>
                      <a:pt x="610" y="179"/>
                    </a:lnTo>
                    <a:lnTo>
                      <a:pt x="616" y="179"/>
                    </a:lnTo>
                    <a:lnTo>
                      <a:pt x="616" y="179"/>
                    </a:lnTo>
                    <a:lnTo>
                      <a:pt x="620" y="180"/>
                    </a:lnTo>
                    <a:lnTo>
                      <a:pt x="624" y="179"/>
                    </a:lnTo>
                    <a:lnTo>
                      <a:pt x="628" y="176"/>
                    </a:lnTo>
                    <a:lnTo>
                      <a:pt x="631" y="175"/>
                    </a:lnTo>
                    <a:lnTo>
                      <a:pt x="631" y="175"/>
                    </a:lnTo>
                    <a:lnTo>
                      <a:pt x="631" y="172"/>
                    </a:lnTo>
                    <a:lnTo>
                      <a:pt x="631" y="169"/>
                    </a:lnTo>
                    <a:lnTo>
                      <a:pt x="630" y="166"/>
                    </a:lnTo>
                    <a:lnTo>
                      <a:pt x="628" y="162"/>
                    </a:lnTo>
                    <a:lnTo>
                      <a:pt x="628" y="162"/>
                    </a:lnTo>
                    <a:lnTo>
                      <a:pt x="630" y="156"/>
                    </a:lnTo>
                    <a:lnTo>
                      <a:pt x="633" y="152"/>
                    </a:lnTo>
                    <a:lnTo>
                      <a:pt x="635" y="149"/>
                    </a:lnTo>
                    <a:lnTo>
                      <a:pt x="640" y="149"/>
                    </a:lnTo>
                    <a:lnTo>
                      <a:pt x="640" y="149"/>
                    </a:lnTo>
                    <a:lnTo>
                      <a:pt x="643" y="148"/>
                    </a:lnTo>
                    <a:lnTo>
                      <a:pt x="645" y="146"/>
                    </a:lnTo>
                    <a:lnTo>
                      <a:pt x="645" y="143"/>
                    </a:lnTo>
                    <a:lnTo>
                      <a:pt x="647" y="141"/>
                    </a:lnTo>
                    <a:lnTo>
                      <a:pt x="647" y="141"/>
                    </a:lnTo>
                    <a:lnTo>
                      <a:pt x="647" y="138"/>
                    </a:lnTo>
                    <a:lnTo>
                      <a:pt x="648" y="135"/>
                    </a:lnTo>
                    <a:lnTo>
                      <a:pt x="651" y="133"/>
                    </a:lnTo>
                    <a:lnTo>
                      <a:pt x="653" y="129"/>
                    </a:lnTo>
                    <a:lnTo>
                      <a:pt x="653" y="129"/>
                    </a:lnTo>
                    <a:lnTo>
                      <a:pt x="650" y="126"/>
                    </a:lnTo>
                    <a:lnTo>
                      <a:pt x="648" y="124"/>
                    </a:lnTo>
                    <a:lnTo>
                      <a:pt x="648" y="124"/>
                    </a:lnTo>
                    <a:close/>
                    <a:moveTo>
                      <a:pt x="243" y="193"/>
                    </a:moveTo>
                    <a:lnTo>
                      <a:pt x="243" y="193"/>
                    </a:lnTo>
                    <a:lnTo>
                      <a:pt x="239" y="195"/>
                    </a:lnTo>
                    <a:lnTo>
                      <a:pt x="231" y="193"/>
                    </a:lnTo>
                    <a:lnTo>
                      <a:pt x="224" y="190"/>
                    </a:lnTo>
                    <a:lnTo>
                      <a:pt x="220" y="188"/>
                    </a:lnTo>
                    <a:lnTo>
                      <a:pt x="220" y="188"/>
                    </a:lnTo>
                    <a:lnTo>
                      <a:pt x="222" y="186"/>
                    </a:lnTo>
                    <a:lnTo>
                      <a:pt x="224" y="186"/>
                    </a:lnTo>
                    <a:lnTo>
                      <a:pt x="233" y="186"/>
                    </a:lnTo>
                    <a:lnTo>
                      <a:pt x="241" y="189"/>
                    </a:lnTo>
                    <a:lnTo>
                      <a:pt x="243" y="192"/>
                    </a:lnTo>
                    <a:lnTo>
                      <a:pt x="243" y="193"/>
                    </a:lnTo>
                    <a:lnTo>
                      <a:pt x="243" y="193"/>
                    </a:lnTo>
                    <a:close/>
                    <a:moveTo>
                      <a:pt x="512" y="192"/>
                    </a:moveTo>
                    <a:lnTo>
                      <a:pt x="512" y="192"/>
                    </a:lnTo>
                    <a:lnTo>
                      <a:pt x="499" y="190"/>
                    </a:lnTo>
                    <a:lnTo>
                      <a:pt x="485" y="190"/>
                    </a:lnTo>
                    <a:lnTo>
                      <a:pt x="476" y="190"/>
                    </a:lnTo>
                    <a:lnTo>
                      <a:pt x="469" y="192"/>
                    </a:lnTo>
                    <a:lnTo>
                      <a:pt x="463" y="193"/>
                    </a:lnTo>
                    <a:lnTo>
                      <a:pt x="458" y="197"/>
                    </a:lnTo>
                    <a:lnTo>
                      <a:pt x="458" y="197"/>
                    </a:lnTo>
                    <a:lnTo>
                      <a:pt x="453" y="202"/>
                    </a:lnTo>
                    <a:lnTo>
                      <a:pt x="452" y="206"/>
                    </a:lnTo>
                    <a:lnTo>
                      <a:pt x="451" y="213"/>
                    </a:lnTo>
                    <a:lnTo>
                      <a:pt x="451" y="216"/>
                    </a:lnTo>
                    <a:lnTo>
                      <a:pt x="451" y="217"/>
                    </a:lnTo>
                    <a:lnTo>
                      <a:pt x="449" y="219"/>
                    </a:lnTo>
                    <a:lnTo>
                      <a:pt x="449" y="219"/>
                    </a:lnTo>
                    <a:lnTo>
                      <a:pt x="446" y="217"/>
                    </a:lnTo>
                    <a:lnTo>
                      <a:pt x="445" y="216"/>
                    </a:lnTo>
                    <a:lnTo>
                      <a:pt x="443" y="207"/>
                    </a:lnTo>
                    <a:lnTo>
                      <a:pt x="443" y="199"/>
                    </a:lnTo>
                    <a:lnTo>
                      <a:pt x="445" y="195"/>
                    </a:lnTo>
                    <a:lnTo>
                      <a:pt x="448" y="192"/>
                    </a:lnTo>
                    <a:lnTo>
                      <a:pt x="448" y="192"/>
                    </a:lnTo>
                    <a:lnTo>
                      <a:pt x="451" y="190"/>
                    </a:lnTo>
                    <a:lnTo>
                      <a:pt x="455" y="188"/>
                    </a:lnTo>
                    <a:lnTo>
                      <a:pt x="465" y="185"/>
                    </a:lnTo>
                    <a:lnTo>
                      <a:pt x="478" y="185"/>
                    </a:lnTo>
                    <a:lnTo>
                      <a:pt x="489" y="186"/>
                    </a:lnTo>
                    <a:lnTo>
                      <a:pt x="489" y="186"/>
                    </a:lnTo>
                    <a:lnTo>
                      <a:pt x="500" y="188"/>
                    </a:lnTo>
                    <a:lnTo>
                      <a:pt x="512" y="186"/>
                    </a:lnTo>
                    <a:lnTo>
                      <a:pt x="523" y="185"/>
                    </a:lnTo>
                    <a:lnTo>
                      <a:pt x="529" y="185"/>
                    </a:lnTo>
                    <a:lnTo>
                      <a:pt x="529" y="185"/>
                    </a:lnTo>
                    <a:lnTo>
                      <a:pt x="529" y="185"/>
                    </a:lnTo>
                    <a:lnTo>
                      <a:pt x="529" y="186"/>
                    </a:lnTo>
                    <a:lnTo>
                      <a:pt x="526" y="188"/>
                    </a:lnTo>
                    <a:lnTo>
                      <a:pt x="520" y="190"/>
                    </a:lnTo>
                    <a:lnTo>
                      <a:pt x="512" y="192"/>
                    </a:lnTo>
                    <a:lnTo>
                      <a:pt x="512" y="192"/>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83" name="Tajikistan"/>
              <p:cNvSpPr>
                <a:spLocks/>
              </p:cNvSpPr>
              <p:nvPr/>
            </p:nvSpPr>
            <p:spPr bwMode="auto">
              <a:xfrm>
                <a:off x="5926003" y="3278331"/>
                <a:ext cx="182014" cy="119863"/>
              </a:xfrm>
              <a:custGeom>
                <a:avLst/>
                <a:gdLst/>
                <a:ahLst/>
                <a:cxnLst>
                  <a:cxn ang="0">
                    <a:pos x="103" y="68"/>
                  </a:cxn>
                  <a:cxn ang="0">
                    <a:pos x="107" y="70"/>
                  </a:cxn>
                  <a:cxn ang="0">
                    <a:pos x="117" y="72"/>
                  </a:cxn>
                  <a:cxn ang="0">
                    <a:pos x="120" y="51"/>
                  </a:cxn>
                  <a:cxn ang="0">
                    <a:pos x="117" y="47"/>
                  </a:cxn>
                  <a:cxn ang="0">
                    <a:pos x="101" y="27"/>
                  </a:cxn>
                  <a:cxn ang="0">
                    <a:pos x="86" y="28"/>
                  </a:cxn>
                  <a:cxn ang="0">
                    <a:pos x="77" y="27"/>
                  </a:cxn>
                  <a:cxn ang="0">
                    <a:pos x="67" y="26"/>
                  </a:cxn>
                  <a:cxn ang="0">
                    <a:pos x="64" y="24"/>
                  </a:cxn>
                  <a:cxn ang="0">
                    <a:pos x="54" y="26"/>
                  </a:cxn>
                  <a:cxn ang="0">
                    <a:pos x="50" y="24"/>
                  </a:cxn>
                  <a:cxn ang="0">
                    <a:pos x="33" y="24"/>
                  </a:cxn>
                  <a:cxn ang="0">
                    <a:pos x="30" y="23"/>
                  </a:cxn>
                  <a:cxn ang="0">
                    <a:pos x="37" y="14"/>
                  </a:cxn>
                  <a:cxn ang="0">
                    <a:pos x="46" y="13"/>
                  </a:cxn>
                  <a:cxn ang="0">
                    <a:pos x="52" y="3"/>
                  </a:cxn>
                  <a:cxn ang="0">
                    <a:pos x="50" y="0"/>
                  </a:cxn>
                  <a:cxn ang="0">
                    <a:pos x="42" y="3"/>
                  </a:cxn>
                  <a:cxn ang="0">
                    <a:pos x="30" y="4"/>
                  </a:cxn>
                  <a:cxn ang="0">
                    <a:pos x="26" y="11"/>
                  </a:cxn>
                  <a:cxn ang="0">
                    <a:pos x="22" y="14"/>
                  </a:cxn>
                  <a:cxn ang="0">
                    <a:pos x="17" y="21"/>
                  </a:cxn>
                  <a:cxn ang="0">
                    <a:pos x="8" y="26"/>
                  </a:cxn>
                  <a:cxn ang="0">
                    <a:pos x="0" y="28"/>
                  </a:cxn>
                  <a:cxn ang="0">
                    <a:pos x="6" y="34"/>
                  </a:cxn>
                  <a:cxn ang="0">
                    <a:pos x="10" y="41"/>
                  </a:cxn>
                  <a:cxn ang="0">
                    <a:pos x="13" y="48"/>
                  </a:cxn>
                  <a:cxn ang="0">
                    <a:pos x="13" y="55"/>
                  </a:cxn>
                  <a:cxn ang="0">
                    <a:pos x="8" y="61"/>
                  </a:cxn>
                  <a:cxn ang="0">
                    <a:pos x="6" y="72"/>
                  </a:cxn>
                  <a:cxn ang="0">
                    <a:pos x="13" y="72"/>
                  </a:cxn>
                  <a:cxn ang="0">
                    <a:pos x="17" y="71"/>
                  </a:cxn>
                  <a:cxn ang="0">
                    <a:pos x="29" y="70"/>
                  </a:cxn>
                  <a:cxn ang="0">
                    <a:pos x="30" y="67"/>
                  </a:cxn>
                  <a:cxn ang="0">
                    <a:pos x="43" y="63"/>
                  </a:cxn>
                  <a:cxn ang="0">
                    <a:pos x="45" y="61"/>
                  </a:cxn>
                  <a:cxn ang="0">
                    <a:pos x="54" y="48"/>
                  </a:cxn>
                  <a:cxn ang="0">
                    <a:pos x="62" y="47"/>
                  </a:cxn>
                  <a:cxn ang="0">
                    <a:pos x="63" y="57"/>
                  </a:cxn>
                  <a:cxn ang="0">
                    <a:pos x="66" y="60"/>
                  </a:cxn>
                  <a:cxn ang="0">
                    <a:pos x="67" y="70"/>
                  </a:cxn>
                  <a:cxn ang="0">
                    <a:pos x="67" y="80"/>
                  </a:cxn>
                  <a:cxn ang="0">
                    <a:pos x="74" y="80"/>
                  </a:cxn>
                  <a:cxn ang="0">
                    <a:pos x="83" y="77"/>
                  </a:cxn>
                  <a:cxn ang="0">
                    <a:pos x="100" y="65"/>
                  </a:cxn>
                </a:cxnLst>
                <a:rect l="0" t="0" r="r" b="b"/>
                <a:pathLst>
                  <a:path w="123" h="81">
                    <a:moveTo>
                      <a:pt x="100" y="65"/>
                    </a:moveTo>
                    <a:lnTo>
                      <a:pt x="100" y="65"/>
                    </a:lnTo>
                    <a:lnTo>
                      <a:pt x="103" y="68"/>
                    </a:lnTo>
                    <a:lnTo>
                      <a:pt x="104" y="70"/>
                    </a:lnTo>
                    <a:lnTo>
                      <a:pt x="107" y="70"/>
                    </a:lnTo>
                    <a:lnTo>
                      <a:pt x="107" y="70"/>
                    </a:lnTo>
                    <a:lnTo>
                      <a:pt x="111" y="70"/>
                    </a:lnTo>
                    <a:lnTo>
                      <a:pt x="117" y="72"/>
                    </a:lnTo>
                    <a:lnTo>
                      <a:pt x="117" y="72"/>
                    </a:lnTo>
                    <a:lnTo>
                      <a:pt x="123" y="72"/>
                    </a:lnTo>
                    <a:lnTo>
                      <a:pt x="123" y="72"/>
                    </a:lnTo>
                    <a:lnTo>
                      <a:pt x="120" y="51"/>
                    </a:lnTo>
                    <a:lnTo>
                      <a:pt x="120" y="51"/>
                    </a:lnTo>
                    <a:lnTo>
                      <a:pt x="118" y="48"/>
                    </a:lnTo>
                    <a:lnTo>
                      <a:pt x="117" y="47"/>
                    </a:lnTo>
                    <a:lnTo>
                      <a:pt x="111" y="44"/>
                    </a:lnTo>
                    <a:lnTo>
                      <a:pt x="104" y="41"/>
                    </a:lnTo>
                    <a:lnTo>
                      <a:pt x="101" y="27"/>
                    </a:lnTo>
                    <a:lnTo>
                      <a:pt x="101" y="27"/>
                    </a:lnTo>
                    <a:lnTo>
                      <a:pt x="91" y="28"/>
                    </a:lnTo>
                    <a:lnTo>
                      <a:pt x="86" y="28"/>
                    </a:lnTo>
                    <a:lnTo>
                      <a:pt x="80" y="28"/>
                    </a:lnTo>
                    <a:lnTo>
                      <a:pt x="80" y="28"/>
                    </a:lnTo>
                    <a:lnTo>
                      <a:pt x="77" y="27"/>
                    </a:lnTo>
                    <a:lnTo>
                      <a:pt x="74" y="28"/>
                    </a:lnTo>
                    <a:lnTo>
                      <a:pt x="70" y="27"/>
                    </a:lnTo>
                    <a:lnTo>
                      <a:pt x="67" y="26"/>
                    </a:lnTo>
                    <a:lnTo>
                      <a:pt x="67" y="26"/>
                    </a:lnTo>
                    <a:lnTo>
                      <a:pt x="66" y="24"/>
                    </a:lnTo>
                    <a:lnTo>
                      <a:pt x="64" y="24"/>
                    </a:lnTo>
                    <a:lnTo>
                      <a:pt x="62" y="24"/>
                    </a:lnTo>
                    <a:lnTo>
                      <a:pt x="57" y="26"/>
                    </a:lnTo>
                    <a:lnTo>
                      <a:pt x="54" y="26"/>
                    </a:lnTo>
                    <a:lnTo>
                      <a:pt x="53" y="24"/>
                    </a:lnTo>
                    <a:lnTo>
                      <a:pt x="53" y="24"/>
                    </a:lnTo>
                    <a:lnTo>
                      <a:pt x="50" y="24"/>
                    </a:lnTo>
                    <a:lnTo>
                      <a:pt x="47" y="23"/>
                    </a:lnTo>
                    <a:lnTo>
                      <a:pt x="39" y="24"/>
                    </a:lnTo>
                    <a:lnTo>
                      <a:pt x="33" y="24"/>
                    </a:lnTo>
                    <a:lnTo>
                      <a:pt x="30" y="24"/>
                    </a:lnTo>
                    <a:lnTo>
                      <a:pt x="30" y="23"/>
                    </a:lnTo>
                    <a:lnTo>
                      <a:pt x="30" y="23"/>
                    </a:lnTo>
                    <a:lnTo>
                      <a:pt x="30" y="20"/>
                    </a:lnTo>
                    <a:lnTo>
                      <a:pt x="33" y="17"/>
                    </a:lnTo>
                    <a:lnTo>
                      <a:pt x="37" y="14"/>
                    </a:lnTo>
                    <a:lnTo>
                      <a:pt x="42" y="13"/>
                    </a:lnTo>
                    <a:lnTo>
                      <a:pt x="42" y="13"/>
                    </a:lnTo>
                    <a:lnTo>
                      <a:pt x="46" y="13"/>
                    </a:lnTo>
                    <a:lnTo>
                      <a:pt x="46" y="13"/>
                    </a:lnTo>
                    <a:lnTo>
                      <a:pt x="50" y="6"/>
                    </a:lnTo>
                    <a:lnTo>
                      <a:pt x="52" y="3"/>
                    </a:lnTo>
                    <a:lnTo>
                      <a:pt x="52" y="0"/>
                    </a:lnTo>
                    <a:lnTo>
                      <a:pt x="52" y="0"/>
                    </a:lnTo>
                    <a:lnTo>
                      <a:pt x="50" y="0"/>
                    </a:lnTo>
                    <a:lnTo>
                      <a:pt x="47" y="0"/>
                    </a:lnTo>
                    <a:lnTo>
                      <a:pt x="42" y="3"/>
                    </a:lnTo>
                    <a:lnTo>
                      <a:pt x="42" y="3"/>
                    </a:lnTo>
                    <a:lnTo>
                      <a:pt x="37" y="4"/>
                    </a:lnTo>
                    <a:lnTo>
                      <a:pt x="35" y="4"/>
                    </a:lnTo>
                    <a:lnTo>
                      <a:pt x="30" y="4"/>
                    </a:lnTo>
                    <a:lnTo>
                      <a:pt x="29" y="6"/>
                    </a:lnTo>
                    <a:lnTo>
                      <a:pt x="29" y="6"/>
                    </a:lnTo>
                    <a:lnTo>
                      <a:pt x="26" y="11"/>
                    </a:lnTo>
                    <a:lnTo>
                      <a:pt x="23" y="13"/>
                    </a:lnTo>
                    <a:lnTo>
                      <a:pt x="22" y="14"/>
                    </a:lnTo>
                    <a:lnTo>
                      <a:pt x="22" y="14"/>
                    </a:lnTo>
                    <a:lnTo>
                      <a:pt x="19" y="16"/>
                    </a:lnTo>
                    <a:lnTo>
                      <a:pt x="19" y="18"/>
                    </a:lnTo>
                    <a:lnTo>
                      <a:pt x="17" y="21"/>
                    </a:lnTo>
                    <a:lnTo>
                      <a:pt x="16" y="23"/>
                    </a:lnTo>
                    <a:lnTo>
                      <a:pt x="16" y="23"/>
                    </a:lnTo>
                    <a:lnTo>
                      <a:pt x="8" y="26"/>
                    </a:lnTo>
                    <a:lnTo>
                      <a:pt x="3" y="27"/>
                    </a:lnTo>
                    <a:lnTo>
                      <a:pt x="0" y="28"/>
                    </a:lnTo>
                    <a:lnTo>
                      <a:pt x="0" y="28"/>
                    </a:lnTo>
                    <a:lnTo>
                      <a:pt x="0" y="30"/>
                    </a:lnTo>
                    <a:lnTo>
                      <a:pt x="2" y="31"/>
                    </a:lnTo>
                    <a:lnTo>
                      <a:pt x="6" y="34"/>
                    </a:lnTo>
                    <a:lnTo>
                      <a:pt x="9" y="37"/>
                    </a:lnTo>
                    <a:lnTo>
                      <a:pt x="10" y="40"/>
                    </a:lnTo>
                    <a:lnTo>
                      <a:pt x="10" y="41"/>
                    </a:lnTo>
                    <a:lnTo>
                      <a:pt x="10" y="41"/>
                    </a:lnTo>
                    <a:lnTo>
                      <a:pt x="12" y="45"/>
                    </a:lnTo>
                    <a:lnTo>
                      <a:pt x="13" y="48"/>
                    </a:lnTo>
                    <a:lnTo>
                      <a:pt x="13" y="53"/>
                    </a:lnTo>
                    <a:lnTo>
                      <a:pt x="13" y="54"/>
                    </a:lnTo>
                    <a:lnTo>
                      <a:pt x="13" y="55"/>
                    </a:lnTo>
                    <a:lnTo>
                      <a:pt x="13" y="55"/>
                    </a:lnTo>
                    <a:lnTo>
                      <a:pt x="10" y="58"/>
                    </a:lnTo>
                    <a:lnTo>
                      <a:pt x="8" y="61"/>
                    </a:lnTo>
                    <a:lnTo>
                      <a:pt x="6" y="65"/>
                    </a:lnTo>
                    <a:lnTo>
                      <a:pt x="6" y="72"/>
                    </a:lnTo>
                    <a:lnTo>
                      <a:pt x="6" y="72"/>
                    </a:lnTo>
                    <a:lnTo>
                      <a:pt x="10" y="74"/>
                    </a:lnTo>
                    <a:lnTo>
                      <a:pt x="12" y="74"/>
                    </a:lnTo>
                    <a:lnTo>
                      <a:pt x="13" y="72"/>
                    </a:lnTo>
                    <a:lnTo>
                      <a:pt x="13" y="72"/>
                    </a:lnTo>
                    <a:lnTo>
                      <a:pt x="15" y="71"/>
                    </a:lnTo>
                    <a:lnTo>
                      <a:pt x="17" y="71"/>
                    </a:lnTo>
                    <a:lnTo>
                      <a:pt x="23" y="71"/>
                    </a:lnTo>
                    <a:lnTo>
                      <a:pt x="27" y="70"/>
                    </a:lnTo>
                    <a:lnTo>
                      <a:pt x="29" y="70"/>
                    </a:lnTo>
                    <a:lnTo>
                      <a:pt x="30" y="68"/>
                    </a:lnTo>
                    <a:lnTo>
                      <a:pt x="30" y="68"/>
                    </a:lnTo>
                    <a:lnTo>
                      <a:pt x="30" y="67"/>
                    </a:lnTo>
                    <a:lnTo>
                      <a:pt x="32" y="65"/>
                    </a:lnTo>
                    <a:lnTo>
                      <a:pt x="37" y="64"/>
                    </a:lnTo>
                    <a:lnTo>
                      <a:pt x="43" y="63"/>
                    </a:lnTo>
                    <a:lnTo>
                      <a:pt x="45" y="63"/>
                    </a:lnTo>
                    <a:lnTo>
                      <a:pt x="45" y="61"/>
                    </a:lnTo>
                    <a:lnTo>
                      <a:pt x="45" y="61"/>
                    </a:lnTo>
                    <a:lnTo>
                      <a:pt x="46" y="57"/>
                    </a:lnTo>
                    <a:lnTo>
                      <a:pt x="50" y="53"/>
                    </a:lnTo>
                    <a:lnTo>
                      <a:pt x="54" y="48"/>
                    </a:lnTo>
                    <a:lnTo>
                      <a:pt x="60" y="47"/>
                    </a:lnTo>
                    <a:lnTo>
                      <a:pt x="60" y="47"/>
                    </a:lnTo>
                    <a:lnTo>
                      <a:pt x="62" y="47"/>
                    </a:lnTo>
                    <a:lnTo>
                      <a:pt x="62" y="48"/>
                    </a:lnTo>
                    <a:lnTo>
                      <a:pt x="63" y="53"/>
                    </a:lnTo>
                    <a:lnTo>
                      <a:pt x="63" y="57"/>
                    </a:lnTo>
                    <a:lnTo>
                      <a:pt x="64" y="58"/>
                    </a:lnTo>
                    <a:lnTo>
                      <a:pt x="66" y="60"/>
                    </a:lnTo>
                    <a:lnTo>
                      <a:pt x="66" y="60"/>
                    </a:lnTo>
                    <a:lnTo>
                      <a:pt x="67" y="61"/>
                    </a:lnTo>
                    <a:lnTo>
                      <a:pt x="69" y="64"/>
                    </a:lnTo>
                    <a:lnTo>
                      <a:pt x="67" y="70"/>
                    </a:lnTo>
                    <a:lnTo>
                      <a:pt x="66" y="75"/>
                    </a:lnTo>
                    <a:lnTo>
                      <a:pt x="66" y="77"/>
                    </a:lnTo>
                    <a:lnTo>
                      <a:pt x="67" y="80"/>
                    </a:lnTo>
                    <a:lnTo>
                      <a:pt x="67" y="80"/>
                    </a:lnTo>
                    <a:lnTo>
                      <a:pt x="70" y="81"/>
                    </a:lnTo>
                    <a:lnTo>
                      <a:pt x="74" y="80"/>
                    </a:lnTo>
                    <a:lnTo>
                      <a:pt x="74" y="80"/>
                    </a:lnTo>
                    <a:lnTo>
                      <a:pt x="83" y="77"/>
                    </a:lnTo>
                    <a:lnTo>
                      <a:pt x="83" y="77"/>
                    </a:lnTo>
                    <a:lnTo>
                      <a:pt x="93" y="68"/>
                    </a:lnTo>
                    <a:lnTo>
                      <a:pt x="97" y="65"/>
                    </a:lnTo>
                    <a:lnTo>
                      <a:pt x="100" y="65"/>
                    </a:lnTo>
                    <a:lnTo>
                      <a:pt x="100" y="6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86" name="Armenia"/>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87" name="Azerbajijan"/>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92" name="Montenegro"/>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55" name="Greenland"/>
              <p:cNvSpPr>
                <a:spLocks noEditPoints="1"/>
              </p:cNvSpPr>
              <p:nvPr/>
            </p:nvSpPr>
            <p:spPr bwMode="auto">
              <a:xfrm>
                <a:off x="2583171" y="1589897"/>
                <a:ext cx="1453148" cy="1081722"/>
              </a:xfrm>
              <a:custGeom>
                <a:avLst/>
                <a:gdLst/>
                <a:ahLst/>
                <a:cxnLst>
                  <a:cxn ang="0">
                    <a:pos x="862" y="84"/>
                  </a:cxn>
                  <a:cxn ang="0">
                    <a:pos x="790" y="117"/>
                  </a:cxn>
                  <a:cxn ang="0">
                    <a:pos x="793" y="67"/>
                  </a:cxn>
                  <a:cxn ang="0">
                    <a:pos x="767" y="68"/>
                  </a:cxn>
                  <a:cxn ang="0">
                    <a:pos x="690" y="61"/>
                  </a:cxn>
                  <a:cxn ang="0">
                    <a:pos x="820" y="33"/>
                  </a:cxn>
                  <a:cxn ang="0">
                    <a:pos x="756" y="10"/>
                  </a:cxn>
                  <a:cxn ang="0">
                    <a:pos x="574" y="6"/>
                  </a:cxn>
                  <a:cxn ang="0">
                    <a:pos x="545" y="14"/>
                  </a:cxn>
                  <a:cxn ang="0">
                    <a:pos x="426" y="20"/>
                  </a:cxn>
                  <a:cxn ang="0">
                    <a:pos x="421" y="50"/>
                  </a:cxn>
                  <a:cxn ang="0">
                    <a:pos x="397" y="53"/>
                  </a:cxn>
                  <a:cxn ang="0">
                    <a:pos x="370" y="67"/>
                  </a:cxn>
                  <a:cxn ang="0">
                    <a:pos x="320" y="70"/>
                  </a:cxn>
                  <a:cxn ang="0">
                    <a:pos x="289" y="48"/>
                  </a:cxn>
                  <a:cxn ang="0">
                    <a:pos x="224" y="71"/>
                  </a:cxn>
                  <a:cxn ang="0">
                    <a:pos x="177" y="98"/>
                  </a:cxn>
                  <a:cxn ang="0">
                    <a:pos x="116" y="138"/>
                  </a:cxn>
                  <a:cxn ang="0">
                    <a:pos x="62" y="178"/>
                  </a:cxn>
                  <a:cxn ang="0">
                    <a:pos x="30" y="216"/>
                  </a:cxn>
                  <a:cxn ang="0">
                    <a:pos x="106" y="233"/>
                  </a:cxn>
                  <a:cxn ang="0">
                    <a:pos x="26" y="248"/>
                  </a:cxn>
                  <a:cxn ang="0">
                    <a:pos x="91" y="282"/>
                  </a:cxn>
                  <a:cxn ang="0">
                    <a:pos x="134" y="272"/>
                  </a:cxn>
                  <a:cxn ang="0">
                    <a:pos x="231" y="296"/>
                  </a:cxn>
                  <a:cxn ang="0">
                    <a:pos x="275" y="357"/>
                  </a:cxn>
                  <a:cxn ang="0">
                    <a:pos x="281" y="403"/>
                  </a:cxn>
                  <a:cxn ang="0">
                    <a:pos x="316" y="415"/>
                  </a:cxn>
                  <a:cxn ang="0">
                    <a:pos x="342" y="450"/>
                  </a:cxn>
                  <a:cxn ang="0">
                    <a:pos x="353" y="471"/>
                  </a:cxn>
                  <a:cxn ang="0">
                    <a:pos x="320" y="512"/>
                  </a:cxn>
                  <a:cxn ang="0">
                    <a:pos x="322" y="558"/>
                  </a:cxn>
                  <a:cxn ang="0">
                    <a:pos x="335" y="619"/>
                  </a:cxn>
                  <a:cxn ang="0">
                    <a:pos x="363" y="653"/>
                  </a:cxn>
                  <a:cxn ang="0">
                    <a:pos x="409" y="708"/>
                  </a:cxn>
                  <a:cxn ang="0">
                    <a:pos x="474" y="730"/>
                  </a:cxn>
                  <a:cxn ang="0">
                    <a:pos x="490" y="669"/>
                  </a:cxn>
                  <a:cxn ang="0">
                    <a:pos x="514" y="640"/>
                  </a:cxn>
                  <a:cxn ang="0">
                    <a:pos x="520" y="607"/>
                  </a:cxn>
                  <a:cxn ang="0">
                    <a:pos x="547" y="588"/>
                  </a:cxn>
                  <a:cxn ang="0">
                    <a:pos x="571" y="582"/>
                  </a:cxn>
                  <a:cxn ang="0">
                    <a:pos x="656" y="528"/>
                  </a:cxn>
                  <a:cxn ang="0">
                    <a:pos x="699" y="512"/>
                  </a:cxn>
                  <a:cxn ang="0">
                    <a:pos x="823" y="461"/>
                  </a:cxn>
                  <a:cxn ang="0">
                    <a:pos x="754" y="451"/>
                  </a:cxn>
                  <a:cxn ang="0">
                    <a:pos x="801" y="452"/>
                  </a:cxn>
                  <a:cxn ang="0">
                    <a:pos x="787" y="398"/>
                  </a:cxn>
                  <a:cxn ang="0">
                    <a:pos x="820" y="377"/>
                  </a:cxn>
                  <a:cxn ang="0">
                    <a:pos x="786" y="366"/>
                  </a:cxn>
                  <a:cxn ang="0">
                    <a:pos x="847" y="360"/>
                  </a:cxn>
                  <a:cxn ang="0">
                    <a:pos x="870" y="327"/>
                  </a:cxn>
                  <a:cxn ang="0">
                    <a:pos x="865" y="303"/>
                  </a:cxn>
                  <a:cxn ang="0">
                    <a:pos x="825" y="263"/>
                  </a:cxn>
                  <a:cxn ang="0">
                    <a:pos x="882" y="252"/>
                  </a:cxn>
                  <a:cxn ang="0">
                    <a:pos x="845" y="226"/>
                  </a:cxn>
                  <a:cxn ang="0">
                    <a:pos x="827" y="223"/>
                  </a:cxn>
                  <a:cxn ang="0">
                    <a:pos x="858" y="174"/>
                  </a:cxn>
                  <a:cxn ang="0">
                    <a:pos x="877" y="138"/>
                  </a:cxn>
                  <a:cxn ang="0">
                    <a:pos x="912" y="127"/>
                  </a:cxn>
                  <a:cxn ang="0">
                    <a:pos x="925" y="108"/>
                  </a:cxn>
                  <a:cxn ang="0">
                    <a:pos x="928" y="67"/>
                  </a:cxn>
                  <a:cxn ang="0">
                    <a:pos x="292" y="462"/>
                  </a:cxn>
                  <a:cxn ang="0">
                    <a:pos x="336" y="479"/>
                  </a:cxn>
                </a:cxnLst>
                <a:rect l="0" t="0" r="r" b="b"/>
                <a:pathLst>
                  <a:path w="982" h="731">
                    <a:moveTo>
                      <a:pt x="928" y="67"/>
                    </a:moveTo>
                    <a:lnTo>
                      <a:pt x="928" y="67"/>
                    </a:lnTo>
                    <a:lnTo>
                      <a:pt x="915" y="67"/>
                    </a:lnTo>
                    <a:lnTo>
                      <a:pt x="905" y="70"/>
                    </a:lnTo>
                    <a:lnTo>
                      <a:pt x="901" y="71"/>
                    </a:lnTo>
                    <a:lnTo>
                      <a:pt x="898" y="74"/>
                    </a:lnTo>
                    <a:lnTo>
                      <a:pt x="895" y="77"/>
                    </a:lnTo>
                    <a:lnTo>
                      <a:pt x="895" y="81"/>
                    </a:lnTo>
                    <a:lnTo>
                      <a:pt x="895" y="81"/>
                    </a:lnTo>
                    <a:lnTo>
                      <a:pt x="894" y="85"/>
                    </a:lnTo>
                    <a:lnTo>
                      <a:pt x="891" y="87"/>
                    </a:lnTo>
                    <a:lnTo>
                      <a:pt x="887" y="87"/>
                    </a:lnTo>
                    <a:lnTo>
                      <a:pt x="881" y="85"/>
                    </a:lnTo>
                    <a:lnTo>
                      <a:pt x="871" y="83"/>
                    </a:lnTo>
                    <a:lnTo>
                      <a:pt x="865" y="83"/>
                    </a:lnTo>
                    <a:lnTo>
                      <a:pt x="862" y="84"/>
                    </a:lnTo>
                    <a:lnTo>
                      <a:pt x="862" y="84"/>
                    </a:lnTo>
                    <a:lnTo>
                      <a:pt x="858" y="84"/>
                    </a:lnTo>
                    <a:lnTo>
                      <a:pt x="857" y="84"/>
                    </a:lnTo>
                    <a:lnTo>
                      <a:pt x="855" y="81"/>
                    </a:lnTo>
                    <a:lnTo>
                      <a:pt x="853" y="78"/>
                    </a:lnTo>
                    <a:lnTo>
                      <a:pt x="851" y="77"/>
                    </a:lnTo>
                    <a:lnTo>
                      <a:pt x="848" y="78"/>
                    </a:lnTo>
                    <a:lnTo>
                      <a:pt x="848" y="78"/>
                    </a:lnTo>
                    <a:lnTo>
                      <a:pt x="840" y="83"/>
                    </a:lnTo>
                    <a:lnTo>
                      <a:pt x="833" y="88"/>
                    </a:lnTo>
                    <a:lnTo>
                      <a:pt x="824" y="94"/>
                    </a:lnTo>
                    <a:lnTo>
                      <a:pt x="817" y="100"/>
                    </a:lnTo>
                    <a:lnTo>
                      <a:pt x="817" y="100"/>
                    </a:lnTo>
                    <a:lnTo>
                      <a:pt x="808" y="104"/>
                    </a:lnTo>
                    <a:lnTo>
                      <a:pt x="801" y="110"/>
                    </a:lnTo>
                    <a:lnTo>
                      <a:pt x="794" y="114"/>
                    </a:lnTo>
                    <a:lnTo>
                      <a:pt x="790" y="117"/>
                    </a:lnTo>
                    <a:lnTo>
                      <a:pt x="790" y="117"/>
                    </a:lnTo>
                    <a:lnTo>
                      <a:pt x="788" y="115"/>
                    </a:lnTo>
                    <a:lnTo>
                      <a:pt x="788" y="114"/>
                    </a:lnTo>
                    <a:lnTo>
                      <a:pt x="796" y="105"/>
                    </a:lnTo>
                    <a:lnTo>
                      <a:pt x="816" y="84"/>
                    </a:lnTo>
                    <a:lnTo>
                      <a:pt x="816" y="84"/>
                    </a:lnTo>
                    <a:lnTo>
                      <a:pt x="820" y="80"/>
                    </a:lnTo>
                    <a:lnTo>
                      <a:pt x="821" y="75"/>
                    </a:lnTo>
                    <a:lnTo>
                      <a:pt x="821" y="71"/>
                    </a:lnTo>
                    <a:lnTo>
                      <a:pt x="821" y="67"/>
                    </a:lnTo>
                    <a:lnTo>
                      <a:pt x="818" y="64"/>
                    </a:lnTo>
                    <a:lnTo>
                      <a:pt x="816" y="61"/>
                    </a:lnTo>
                    <a:lnTo>
                      <a:pt x="811" y="60"/>
                    </a:lnTo>
                    <a:lnTo>
                      <a:pt x="806" y="60"/>
                    </a:lnTo>
                    <a:lnTo>
                      <a:pt x="806" y="60"/>
                    </a:lnTo>
                    <a:lnTo>
                      <a:pt x="801" y="61"/>
                    </a:lnTo>
                    <a:lnTo>
                      <a:pt x="797" y="63"/>
                    </a:lnTo>
                    <a:lnTo>
                      <a:pt x="793" y="67"/>
                    </a:lnTo>
                    <a:lnTo>
                      <a:pt x="790" y="70"/>
                    </a:lnTo>
                    <a:lnTo>
                      <a:pt x="788" y="73"/>
                    </a:lnTo>
                    <a:lnTo>
                      <a:pt x="786" y="73"/>
                    </a:lnTo>
                    <a:lnTo>
                      <a:pt x="786" y="73"/>
                    </a:lnTo>
                    <a:lnTo>
                      <a:pt x="774" y="77"/>
                    </a:lnTo>
                    <a:lnTo>
                      <a:pt x="757" y="84"/>
                    </a:lnTo>
                    <a:lnTo>
                      <a:pt x="742" y="90"/>
                    </a:lnTo>
                    <a:lnTo>
                      <a:pt x="737" y="90"/>
                    </a:lnTo>
                    <a:lnTo>
                      <a:pt x="734" y="90"/>
                    </a:lnTo>
                    <a:lnTo>
                      <a:pt x="734" y="90"/>
                    </a:lnTo>
                    <a:lnTo>
                      <a:pt x="734" y="90"/>
                    </a:lnTo>
                    <a:lnTo>
                      <a:pt x="734" y="87"/>
                    </a:lnTo>
                    <a:lnTo>
                      <a:pt x="739" y="84"/>
                    </a:lnTo>
                    <a:lnTo>
                      <a:pt x="750" y="78"/>
                    </a:lnTo>
                    <a:lnTo>
                      <a:pt x="761" y="73"/>
                    </a:lnTo>
                    <a:lnTo>
                      <a:pt x="766" y="70"/>
                    </a:lnTo>
                    <a:lnTo>
                      <a:pt x="767" y="68"/>
                    </a:lnTo>
                    <a:lnTo>
                      <a:pt x="767" y="68"/>
                    </a:lnTo>
                    <a:lnTo>
                      <a:pt x="766" y="67"/>
                    </a:lnTo>
                    <a:lnTo>
                      <a:pt x="760" y="65"/>
                    </a:lnTo>
                    <a:lnTo>
                      <a:pt x="742" y="64"/>
                    </a:lnTo>
                    <a:lnTo>
                      <a:pt x="722" y="65"/>
                    </a:lnTo>
                    <a:lnTo>
                      <a:pt x="703" y="67"/>
                    </a:lnTo>
                    <a:lnTo>
                      <a:pt x="703" y="67"/>
                    </a:lnTo>
                    <a:lnTo>
                      <a:pt x="686" y="70"/>
                    </a:lnTo>
                    <a:lnTo>
                      <a:pt x="668" y="74"/>
                    </a:lnTo>
                    <a:lnTo>
                      <a:pt x="653" y="77"/>
                    </a:lnTo>
                    <a:lnTo>
                      <a:pt x="649" y="77"/>
                    </a:lnTo>
                    <a:lnTo>
                      <a:pt x="648" y="75"/>
                    </a:lnTo>
                    <a:lnTo>
                      <a:pt x="648" y="75"/>
                    </a:lnTo>
                    <a:lnTo>
                      <a:pt x="649" y="73"/>
                    </a:lnTo>
                    <a:lnTo>
                      <a:pt x="653" y="70"/>
                    </a:lnTo>
                    <a:lnTo>
                      <a:pt x="670" y="65"/>
                    </a:lnTo>
                    <a:lnTo>
                      <a:pt x="690" y="61"/>
                    </a:lnTo>
                    <a:lnTo>
                      <a:pt x="709" y="58"/>
                    </a:lnTo>
                    <a:lnTo>
                      <a:pt x="709" y="58"/>
                    </a:lnTo>
                    <a:lnTo>
                      <a:pt x="727" y="58"/>
                    </a:lnTo>
                    <a:lnTo>
                      <a:pt x="749" y="58"/>
                    </a:lnTo>
                    <a:lnTo>
                      <a:pt x="769" y="57"/>
                    </a:lnTo>
                    <a:lnTo>
                      <a:pt x="777" y="55"/>
                    </a:lnTo>
                    <a:lnTo>
                      <a:pt x="784" y="54"/>
                    </a:lnTo>
                    <a:lnTo>
                      <a:pt x="784" y="54"/>
                    </a:lnTo>
                    <a:lnTo>
                      <a:pt x="797" y="50"/>
                    </a:lnTo>
                    <a:lnTo>
                      <a:pt x="811" y="47"/>
                    </a:lnTo>
                    <a:lnTo>
                      <a:pt x="823" y="44"/>
                    </a:lnTo>
                    <a:lnTo>
                      <a:pt x="825" y="43"/>
                    </a:lnTo>
                    <a:lnTo>
                      <a:pt x="828" y="41"/>
                    </a:lnTo>
                    <a:lnTo>
                      <a:pt x="828" y="41"/>
                    </a:lnTo>
                    <a:lnTo>
                      <a:pt x="828" y="38"/>
                    </a:lnTo>
                    <a:lnTo>
                      <a:pt x="827" y="37"/>
                    </a:lnTo>
                    <a:lnTo>
                      <a:pt x="820" y="33"/>
                    </a:lnTo>
                    <a:lnTo>
                      <a:pt x="808" y="30"/>
                    </a:lnTo>
                    <a:lnTo>
                      <a:pt x="798" y="30"/>
                    </a:lnTo>
                    <a:lnTo>
                      <a:pt x="798" y="30"/>
                    </a:lnTo>
                    <a:lnTo>
                      <a:pt x="790" y="30"/>
                    </a:lnTo>
                    <a:lnTo>
                      <a:pt x="783" y="28"/>
                    </a:lnTo>
                    <a:lnTo>
                      <a:pt x="779" y="26"/>
                    </a:lnTo>
                    <a:lnTo>
                      <a:pt x="777" y="24"/>
                    </a:lnTo>
                    <a:lnTo>
                      <a:pt x="777" y="23"/>
                    </a:lnTo>
                    <a:lnTo>
                      <a:pt x="777" y="23"/>
                    </a:lnTo>
                    <a:lnTo>
                      <a:pt x="777" y="21"/>
                    </a:lnTo>
                    <a:lnTo>
                      <a:pt x="774" y="18"/>
                    </a:lnTo>
                    <a:lnTo>
                      <a:pt x="769" y="17"/>
                    </a:lnTo>
                    <a:lnTo>
                      <a:pt x="761" y="14"/>
                    </a:lnTo>
                    <a:lnTo>
                      <a:pt x="759" y="13"/>
                    </a:lnTo>
                    <a:lnTo>
                      <a:pt x="757" y="11"/>
                    </a:lnTo>
                    <a:lnTo>
                      <a:pt x="757" y="11"/>
                    </a:lnTo>
                    <a:lnTo>
                      <a:pt x="756" y="10"/>
                    </a:lnTo>
                    <a:lnTo>
                      <a:pt x="750" y="9"/>
                    </a:lnTo>
                    <a:lnTo>
                      <a:pt x="737" y="9"/>
                    </a:lnTo>
                    <a:lnTo>
                      <a:pt x="723" y="9"/>
                    </a:lnTo>
                    <a:lnTo>
                      <a:pt x="716" y="7"/>
                    </a:lnTo>
                    <a:lnTo>
                      <a:pt x="713" y="6"/>
                    </a:lnTo>
                    <a:lnTo>
                      <a:pt x="713" y="6"/>
                    </a:lnTo>
                    <a:lnTo>
                      <a:pt x="705" y="3"/>
                    </a:lnTo>
                    <a:lnTo>
                      <a:pt x="692" y="0"/>
                    </a:lnTo>
                    <a:lnTo>
                      <a:pt x="678" y="0"/>
                    </a:lnTo>
                    <a:lnTo>
                      <a:pt x="663" y="0"/>
                    </a:lnTo>
                    <a:lnTo>
                      <a:pt x="663" y="0"/>
                    </a:lnTo>
                    <a:lnTo>
                      <a:pt x="626" y="1"/>
                    </a:lnTo>
                    <a:lnTo>
                      <a:pt x="596" y="1"/>
                    </a:lnTo>
                    <a:lnTo>
                      <a:pt x="596" y="1"/>
                    </a:lnTo>
                    <a:lnTo>
                      <a:pt x="585" y="4"/>
                    </a:lnTo>
                    <a:lnTo>
                      <a:pt x="579" y="6"/>
                    </a:lnTo>
                    <a:lnTo>
                      <a:pt x="574" y="6"/>
                    </a:lnTo>
                    <a:lnTo>
                      <a:pt x="574" y="6"/>
                    </a:lnTo>
                    <a:lnTo>
                      <a:pt x="568" y="6"/>
                    </a:lnTo>
                    <a:lnTo>
                      <a:pt x="561" y="7"/>
                    </a:lnTo>
                    <a:lnTo>
                      <a:pt x="558" y="10"/>
                    </a:lnTo>
                    <a:lnTo>
                      <a:pt x="557" y="11"/>
                    </a:lnTo>
                    <a:lnTo>
                      <a:pt x="558" y="13"/>
                    </a:lnTo>
                    <a:lnTo>
                      <a:pt x="558" y="13"/>
                    </a:lnTo>
                    <a:lnTo>
                      <a:pt x="561" y="17"/>
                    </a:lnTo>
                    <a:lnTo>
                      <a:pt x="559" y="18"/>
                    </a:lnTo>
                    <a:lnTo>
                      <a:pt x="558" y="21"/>
                    </a:lnTo>
                    <a:lnTo>
                      <a:pt x="555" y="23"/>
                    </a:lnTo>
                    <a:lnTo>
                      <a:pt x="549" y="23"/>
                    </a:lnTo>
                    <a:lnTo>
                      <a:pt x="547" y="21"/>
                    </a:lnTo>
                    <a:lnTo>
                      <a:pt x="547" y="20"/>
                    </a:lnTo>
                    <a:lnTo>
                      <a:pt x="547" y="20"/>
                    </a:lnTo>
                    <a:lnTo>
                      <a:pt x="547" y="17"/>
                    </a:lnTo>
                    <a:lnTo>
                      <a:pt x="545" y="14"/>
                    </a:lnTo>
                    <a:lnTo>
                      <a:pt x="538" y="13"/>
                    </a:lnTo>
                    <a:lnTo>
                      <a:pt x="530" y="11"/>
                    </a:lnTo>
                    <a:lnTo>
                      <a:pt x="525" y="13"/>
                    </a:lnTo>
                    <a:lnTo>
                      <a:pt x="522" y="14"/>
                    </a:lnTo>
                    <a:lnTo>
                      <a:pt x="522" y="14"/>
                    </a:lnTo>
                    <a:lnTo>
                      <a:pt x="518" y="16"/>
                    </a:lnTo>
                    <a:lnTo>
                      <a:pt x="513" y="16"/>
                    </a:lnTo>
                    <a:lnTo>
                      <a:pt x="500" y="14"/>
                    </a:lnTo>
                    <a:lnTo>
                      <a:pt x="487" y="13"/>
                    </a:lnTo>
                    <a:lnTo>
                      <a:pt x="481" y="13"/>
                    </a:lnTo>
                    <a:lnTo>
                      <a:pt x="478" y="14"/>
                    </a:lnTo>
                    <a:lnTo>
                      <a:pt x="478" y="14"/>
                    </a:lnTo>
                    <a:lnTo>
                      <a:pt x="476" y="16"/>
                    </a:lnTo>
                    <a:lnTo>
                      <a:pt x="470" y="17"/>
                    </a:lnTo>
                    <a:lnTo>
                      <a:pt x="454" y="18"/>
                    </a:lnTo>
                    <a:lnTo>
                      <a:pt x="437" y="20"/>
                    </a:lnTo>
                    <a:lnTo>
                      <a:pt x="426" y="20"/>
                    </a:lnTo>
                    <a:lnTo>
                      <a:pt x="426" y="20"/>
                    </a:lnTo>
                    <a:lnTo>
                      <a:pt x="423" y="21"/>
                    </a:lnTo>
                    <a:lnTo>
                      <a:pt x="423" y="23"/>
                    </a:lnTo>
                    <a:lnTo>
                      <a:pt x="430" y="27"/>
                    </a:lnTo>
                    <a:lnTo>
                      <a:pt x="439" y="31"/>
                    </a:lnTo>
                    <a:lnTo>
                      <a:pt x="441" y="33"/>
                    </a:lnTo>
                    <a:lnTo>
                      <a:pt x="441" y="36"/>
                    </a:lnTo>
                    <a:lnTo>
                      <a:pt x="441" y="36"/>
                    </a:lnTo>
                    <a:lnTo>
                      <a:pt x="440" y="37"/>
                    </a:lnTo>
                    <a:lnTo>
                      <a:pt x="436" y="37"/>
                    </a:lnTo>
                    <a:lnTo>
                      <a:pt x="424" y="38"/>
                    </a:lnTo>
                    <a:lnTo>
                      <a:pt x="414" y="40"/>
                    </a:lnTo>
                    <a:lnTo>
                      <a:pt x="413" y="41"/>
                    </a:lnTo>
                    <a:lnTo>
                      <a:pt x="413" y="44"/>
                    </a:lnTo>
                    <a:lnTo>
                      <a:pt x="413" y="44"/>
                    </a:lnTo>
                    <a:lnTo>
                      <a:pt x="417" y="47"/>
                    </a:lnTo>
                    <a:lnTo>
                      <a:pt x="421" y="50"/>
                    </a:lnTo>
                    <a:lnTo>
                      <a:pt x="433" y="55"/>
                    </a:lnTo>
                    <a:lnTo>
                      <a:pt x="444" y="61"/>
                    </a:lnTo>
                    <a:lnTo>
                      <a:pt x="454" y="70"/>
                    </a:lnTo>
                    <a:lnTo>
                      <a:pt x="454" y="70"/>
                    </a:lnTo>
                    <a:lnTo>
                      <a:pt x="457" y="73"/>
                    </a:lnTo>
                    <a:lnTo>
                      <a:pt x="457" y="74"/>
                    </a:lnTo>
                    <a:lnTo>
                      <a:pt x="456" y="75"/>
                    </a:lnTo>
                    <a:lnTo>
                      <a:pt x="453" y="74"/>
                    </a:lnTo>
                    <a:lnTo>
                      <a:pt x="443" y="71"/>
                    </a:lnTo>
                    <a:lnTo>
                      <a:pt x="433" y="65"/>
                    </a:lnTo>
                    <a:lnTo>
                      <a:pt x="433" y="65"/>
                    </a:lnTo>
                    <a:lnTo>
                      <a:pt x="429" y="63"/>
                    </a:lnTo>
                    <a:lnTo>
                      <a:pt x="423" y="61"/>
                    </a:lnTo>
                    <a:lnTo>
                      <a:pt x="413" y="58"/>
                    </a:lnTo>
                    <a:lnTo>
                      <a:pt x="404" y="57"/>
                    </a:lnTo>
                    <a:lnTo>
                      <a:pt x="400" y="54"/>
                    </a:lnTo>
                    <a:lnTo>
                      <a:pt x="397" y="53"/>
                    </a:lnTo>
                    <a:lnTo>
                      <a:pt x="397" y="53"/>
                    </a:lnTo>
                    <a:lnTo>
                      <a:pt x="394" y="50"/>
                    </a:lnTo>
                    <a:lnTo>
                      <a:pt x="389" y="47"/>
                    </a:lnTo>
                    <a:lnTo>
                      <a:pt x="376" y="43"/>
                    </a:lnTo>
                    <a:lnTo>
                      <a:pt x="363" y="41"/>
                    </a:lnTo>
                    <a:lnTo>
                      <a:pt x="357" y="41"/>
                    </a:lnTo>
                    <a:lnTo>
                      <a:pt x="355" y="43"/>
                    </a:lnTo>
                    <a:lnTo>
                      <a:pt x="355" y="43"/>
                    </a:lnTo>
                    <a:lnTo>
                      <a:pt x="353" y="46"/>
                    </a:lnTo>
                    <a:lnTo>
                      <a:pt x="353" y="47"/>
                    </a:lnTo>
                    <a:lnTo>
                      <a:pt x="360" y="54"/>
                    </a:lnTo>
                    <a:lnTo>
                      <a:pt x="370" y="60"/>
                    </a:lnTo>
                    <a:lnTo>
                      <a:pt x="373" y="63"/>
                    </a:lnTo>
                    <a:lnTo>
                      <a:pt x="375" y="65"/>
                    </a:lnTo>
                    <a:lnTo>
                      <a:pt x="375" y="65"/>
                    </a:lnTo>
                    <a:lnTo>
                      <a:pt x="373" y="67"/>
                    </a:lnTo>
                    <a:lnTo>
                      <a:pt x="370" y="67"/>
                    </a:lnTo>
                    <a:lnTo>
                      <a:pt x="365" y="67"/>
                    </a:lnTo>
                    <a:lnTo>
                      <a:pt x="356" y="65"/>
                    </a:lnTo>
                    <a:lnTo>
                      <a:pt x="352" y="65"/>
                    </a:lnTo>
                    <a:lnTo>
                      <a:pt x="352" y="65"/>
                    </a:lnTo>
                    <a:lnTo>
                      <a:pt x="350" y="65"/>
                    </a:lnTo>
                    <a:lnTo>
                      <a:pt x="347" y="64"/>
                    </a:lnTo>
                    <a:lnTo>
                      <a:pt x="339" y="58"/>
                    </a:lnTo>
                    <a:lnTo>
                      <a:pt x="330" y="53"/>
                    </a:lnTo>
                    <a:lnTo>
                      <a:pt x="326" y="50"/>
                    </a:lnTo>
                    <a:lnTo>
                      <a:pt x="322" y="50"/>
                    </a:lnTo>
                    <a:lnTo>
                      <a:pt x="322" y="50"/>
                    </a:lnTo>
                    <a:lnTo>
                      <a:pt x="319" y="50"/>
                    </a:lnTo>
                    <a:lnTo>
                      <a:pt x="318" y="51"/>
                    </a:lnTo>
                    <a:lnTo>
                      <a:pt x="318" y="55"/>
                    </a:lnTo>
                    <a:lnTo>
                      <a:pt x="319" y="61"/>
                    </a:lnTo>
                    <a:lnTo>
                      <a:pt x="320" y="70"/>
                    </a:lnTo>
                    <a:lnTo>
                      <a:pt x="320" y="70"/>
                    </a:lnTo>
                    <a:lnTo>
                      <a:pt x="320" y="74"/>
                    </a:lnTo>
                    <a:lnTo>
                      <a:pt x="318" y="78"/>
                    </a:lnTo>
                    <a:lnTo>
                      <a:pt x="312" y="83"/>
                    </a:lnTo>
                    <a:lnTo>
                      <a:pt x="308" y="84"/>
                    </a:lnTo>
                    <a:lnTo>
                      <a:pt x="306" y="84"/>
                    </a:lnTo>
                    <a:lnTo>
                      <a:pt x="308" y="81"/>
                    </a:lnTo>
                    <a:lnTo>
                      <a:pt x="308" y="81"/>
                    </a:lnTo>
                    <a:lnTo>
                      <a:pt x="309" y="77"/>
                    </a:lnTo>
                    <a:lnTo>
                      <a:pt x="309" y="73"/>
                    </a:lnTo>
                    <a:lnTo>
                      <a:pt x="309" y="63"/>
                    </a:lnTo>
                    <a:lnTo>
                      <a:pt x="308" y="58"/>
                    </a:lnTo>
                    <a:lnTo>
                      <a:pt x="305" y="54"/>
                    </a:lnTo>
                    <a:lnTo>
                      <a:pt x="302" y="50"/>
                    </a:lnTo>
                    <a:lnTo>
                      <a:pt x="299" y="48"/>
                    </a:lnTo>
                    <a:lnTo>
                      <a:pt x="299" y="48"/>
                    </a:lnTo>
                    <a:lnTo>
                      <a:pt x="295" y="47"/>
                    </a:lnTo>
                    <a:lnTo>
                      <a:pt x="289" y="48"/>
                    </a:lnTo>
                    <a:lnTo>
                      <a:pt x="276" y="51"/>
                    </a:lnTo>
                    <a:lnTo>
                      <a:pt x="262" y="54"/>
                    </a:lnTo>
                    <a:lnTo>
                      <a:pt x="251" y="55"/>
                    </a:lnTo>
                    <a:lnTo>
                      <a:pt x="251" y="55"/>
                    </a:lnTo>
                    <a:lnTo>
                      <a:pt x="239" y="57"/>
                    </a:lnTo>
                    <a:lnTo>
                      <a:pt x="231" y="58"/>
                    </a:lnTo>
                    <a:lnTo>
                      <a:pt x="228" y="60"/>
                    </a:lnTo>
                    <a:lnTo>
                      <a:pt x="227" y="61"/>
                    </a:lnTo>
                    <a:lnTo>
                      <a:pt x="228" y="64"/>
                    </a:lnTo>
                    <a:lnTo>
                      <a:pt x="231" y="67"/>
                    </a:lnTo>
                    <a:lnTo>
                      <a:pt x="231" y="67"/>
                    </a:lnTo>
                    <a:lnTo>
                      <a:pt x="234" y="68"/>
                    </a:lnTo>
                    <a:lnTo>
                      <a:pt x="235" y="71"/>
                    </a:lnTo>
                    <a:lnTo>
                      <a:pt x="235" y="73"/>
                    </a:lnTo>
                    <a:lnTo>
                      <a:pt x="234" y="73"/>
                    </a:lnTo>
                    <a:lnTo>
                      <a:pt x="228" y="73"/>
                    </a:lnTo>
                    <a:lnTo>
                      <a:pt x="224" y="71"/>
                    </a:lnTo>
                    <a:lnTo>
                      <a:pt x="221" y="70"/>
                    </a:lnTo>
                    <a:lnTo>
                      <a:pt x="221" y="70"/>
                    </a:lnTo>
                    <a:lnTo>
                      <a:pt x="215" y="67"/>
                    </a:lnTo>
                    <a:lnTo>
                      <a:pt x="209" y="67"/>
                    </a:lnTo>
                    <a:lnTo>
                      <a:pt x="195" y="67"/>
                    </a:lnTo>
                    <a:lnTo>
                      <a:pt x="185" y="71"/>
                    </a:lnTo>
                    <a:lnTo>
                      <a:pt x="184" y="73"/>
                    </a:lnTo>
                    <a:lnTo>
                      <a:pt x="184" y="74"/>
                    </a:lnTo>
                    <a:lnTo>
                      <a:pt x="184" y="74"/>
                    </a:lnTo>
                    <a:lnTo>
                      <a:pt x="188" y="80"/>
                    </a:lnTo>
                    <a:lnTo>
                      <a:pt x="191" y="87"/>
                    </a:lnTo>
                    <a:lnTo>
                      <a:pt x="191" y="92"/>
                    </a:lnTo>
                    <a:lnTo>
                      <a:pt x="190" y="98"/>
                    </a:lnTo>
                    <a:lnTo>
                      <a:pt x="190" y="98"/>
                    </a:lnTo>
                    <a:lnTo>
                      <a:pt x="187" y="100"/>
                    </a:lnTo>
                    <a:lnTo>
                      <a:pt x="184" y="100"/>
                    </a:lnTo>
                    <a:lnTo>
                      <a:pt x="177" y="98"/>
                    </a:lnTo>
                    <a:lnTo>
                      <a:pt x="168" y="95"/>
                    </a:lnTo>
                    <a:lnTo>
                      <a:pt x="163" y="94"/>
                    </a:lnTo>
                    <a:lnTo>
                      <a:pt x="158" y="94"/>
                    </a:lnTo>
                    <a:lnTo>
                      <a:pt x="158" y="94"/>
                    </a:lnTo>
                    <a:lnTo>
                      <a:pt x="151" y="95"/>
                    </a:lnTo>
                    <a:lnTo>
                      <a:pt x="141" y="100"/>
                    </a:lnTo>
                    <a:lnTo>
                      <a:pt x="116" y="111"/>
                    </a:lnTo>
                    <a:lnTo>
                      <a:pt x="103" y="118"/>
                    </a:lnTo>
                    <a:lnTo>
                      <a:pt x="93" y="124"/>
                    </a:lnTo>
                    <a:lnTo>
                      <a:pt x="87" y="129"/>
                    </a:lnTo>
                    <a:lnTo>
                      <a:pt x="86" y="131"/>
                    </a:lnTo>
                    <a:lnTo>
                      <a:pt x="86" y="134"/>
                    </a:lnTo>
                    <a:lnTo>
                      <a:pt x="86" y="134"/>
                    </a:lnTo>
                    <a:lnTo>
                      <a:pt x="89" y="135"/>
                    </a:lnTo>
                    <a:lnTo>
                      <a:pt x="91" y="137"/>
                    </a:lnTo>
                    <a:lnTo>
                      <a:pt x="103" y="138"/>
                    </a:lnTo>
                    <a:lnTo>
                      <a:pt x="116" y="138"/>
                    </a:lnTo>
                    <a:lnTo>
                      <a:pt x="121" y="138"/>
                    </a:lnTo>
                    <a:lnTo>
                      <a:pt x="126" y="139"/>
                    </a:lnTo>
                    <a:lnTo>
                      <a:pt x="126" y="139"/>
                    </a:lnTo>
                    <a:lnTo>
                      <a:pt x="127" y="142"/>
                    </a:lnTo>
                    <a:lnTo>
                      <a:pt x="128" y="145"/>
                    </a:lnTo>
                    <a:lnTo>
                      <a:pt x="127" y="149"/>
                    </a:lnTo>
                    <a:lnTo>
                      <a:pt x="126" y="154"/>
                    </a:lnTo>
                    <a:lnTo>
                      <a:pt x="120" y="162"/>
                    </a:lnTo>
                    <a:lnTo>
                      <a:pt x="111" y="169"/>
                    </a:lnTo>
                    <a:lnTo>
                      <a:pt x="111" y="169"/>
                    </a:lnTo>
                    <a:lnTo>
                      <a:pt x="107" y="171"/>
                    </a:lnTo>
                    <a:lnTo>
                      <a:pt x="100" y="172"/>
                    </a:lnTo>
                    <a:lnTo>
                      <a:pt x="83" y="172"/>
                    </a:lnTo>
                    <a:lnTo>
                      <a:pt x="69" y="174"/>
                    </a:lnTo>
                    <a:lnTo>
                      <a:pt x="63" y="175"/>
                    </a:lnTo>
                    <a:lnTo>
                      <a:pt x="62" y="178"/>
                    </a:lnTo>
                    <a:lnTo>
                      <a:pt x="62" y="178"/>
                    </a:lnTo>
                    <a:lnTo>
                      <a:pt x="60" y="179"/>
                    </a:lnTo>
                    <a:lnTo>
                      <a:pt x="59" y="181"/>
                    </a:lnTo>
                    <a:lnTo>
                      <a:pt x="52" y="184"/>
                    </a:lnTo>
                    <a:lnTo>
                      <a:pt x="30" y="188"/>
                    </a:lnTo>
                    <a:lnTo>
                      <a:pt x="19" y="191"/>
                    </a:lnTo>
                    <a:lnTo>
                      <a:pt x="9" y="193"/>
                    </a:lnTo>
                    <a:lnTo>
                      <a:pt x="3" y="196"/>
                    </a:lnTo>
                    <a:lnTo>
                      <a:pt x="0" y="199"/>
                    </a:lnTo>
                    <a:lnTo>
                      <a:pt x="0" y="202"/>
                    </a:lnTo>
                    <a:lnTo>
                      <a:pt x="0" y="202"/>
                    </a:lnTo>
                    <a:lnTo>
                      <a:pt x="0" y="205"/>
                    </a:lnTo>
                    <a:lnTo>
                      <a:pt x="2" y="209"/>
                    </a:lnTo>
                    <a:lnTo>
                      <a:pt x="6" y="212"/>
                    </a:lnTo>
                    <a:lnTo>
                      <a:pt x="10" y="213"/>
                    </a:lnTo>
                    <a:lnTo>
                      <a:pt x="10" y="213"/>
                    </a:lnTo>
                    <a:lnTo>
                      <a:pt x="23" y="215"/>
                    </a:lnTo>
                    <a:lnTo>
                      <a:pt x="30" y="216"/>
                    </a:lnTo>
                    <a:lnTo>
                      <a:pt x="33" y="218"/>
                    </a:lnTo>
                    <a:lnTo>
                      <a:pt x="36" y="220"/>
                    </a:lnTo>
                    <a:lnTo>
                      <a:pt x="36" y="220"/>
                    </a:lnTo>
                    <a:lnTo>
                      <a:pt x="40" y="223"/>
                    </a:lnTo>
                    <a:lnTo>
                      <a:pt x="44" y="226"/>
                    </a:lnTo>
                    <a:lnTo>
                      <a:pt x="56" y="228"/>
                    </a:lnTo>
                    <a:lnTo>
                      <a:pt x="67" y="228"/>
                    </a:lnTo>
                    <a:lnTo>
                      <a:pt x="80" y="225"/>
                    </a:lnTo>
                    <a:lnTo>
                      <a:pt x="80" y="225"/>
                    </a:lnTo>
                    <a:lnTo>
                      <a:pt x="86" y="222"/>
                    </a:lnTo>
                    <a:lnTo>
                      <a:pt x="90" y="222"/>
                    </a:lnTo>
                    <a:lnTo>
                      <a:pt x="94" y="222"/>
                    </a:lnTo>
                    <a:lnTo>
                      <a:pt x="99" y="223"/>
                    </a:lnTo>
                    <a:lnTo>
                      <a:pt x="101" y="225"/>
                    </a:lnTo>
                    <a:lnTo>
                      <a:pt x="103" y="228"/>
                    </a:lnTo>
                    <a:lnTo>
                      <a:pt x="104" y="230"/>
                    </a:lnTo>
                    <a:lnTo>
                      <a:pt x="106" y="233"/>
                    </a:lnTo>
                    <a:lnTo>
                      <a:pt x="106" y="233"/>
                    </a:lnTo>
                    <a:lnTo>
                      <a:pt x="103" y="236"/>
                    </a:lnTo>
                    <a:lnTo>
                      <a:pt x="100" y="236"/>
                    </a:lnTo>
                    <a:lnTo>
                      <a:pt x="87" y="236"/>
                    </a:lnTo>
                    <a:lnTo>
                      <a:pt x="73" y="235"/>
                    </a:lnTo>
                    <a:lnTo>
                      <a:pt x="66" y="235"/>
                    </a:lnTo>
                    <a:lnTo>
                      <a:pt x="62" y="236"/>
                    </a:lnTo>
                    <a:lnTo>
                      <a:pt x="62" y="236"/>
                    </a:lnTo>
                    <a:lnTo>
                      <a:pt x="57" y="239"/>
                    </a:lnTo>
                    <a:lnTo>
                      <a:pt x="52" y="239"/>
                    </a:lnTo>
                    <a:lnTo>
                      <a:pt x="37" y="240"/>
                    </a:lnTo>
                    <a:lnTo>
                      <a:pt x="26" y="240"/>
                    </a:lnTo>
                    <a:lnTo>
                      <a:pt x="23" y="242"/>
                    </a:lnTo>
                    <a:lnTo>
                      <a:pt x="23" y="245"/>
                    </a:lnTo>
                    <a:lnTo>
                      <a:pt x="23" y="245"/>
                    </a:lnTo>
                    <a:lnTo>
                      <a:pt x="23" y="246"/>
                    </a:lnTo>
                    <a:lnTo>
                      <a:pt x="26" y="248"/>
                    </a:lnTo>
                    <a:lnTo>
                      <a:pt x="33" y="249"/>
                    </a:lnTo>
                    <a:lnTo>
                      <a:pt x="52" y="252"/>
                    </a:lnTo>
                    <a:lnTo>
                      <a:pt x="52" y="252"/>
                    </a:lnTo>
                    <a:lnTo>
                      <a:pt x="54" y="253"/>
                    </a:lnTo>
                    <a:lnTo>
                      <a:pt x="57" y="255"/>
                    </a:lnTo>
                    <a:lnTo>
                      <a:pt x="57" y="256"/>
                    </a:lnTo>
                    <a:lnTo>
                      <a:pt x="56" y="257"/>
                    </a:lnTo>
                    <a:lnTo>
                      <a:pt x="53" y="260"/>
                    </a:lnTo>
                    <a:lnTo>
                      <a:pt x="52" y="265"/>
                    </a:lnTo>
                    <a:lnTo>
                      <a:pt x="52" y="265"/>
                    </a:lnTo>
                    <a:lnTo>
                      <a:pt x="53" y="267"/>
                    </a:lnTo>
                    <a:lnTo>
                      <a:pt x="56" y="269"/>
                    </a:lnTo>
                    <a:lnTo>
                      <a:pt x="63" y="272"/>
                    </a:lnTo>
                    <a:lnTo>
                      <a:pt x="72" y="275"/>
                    </a:lnTo>
                    <a:lnTo>
                      <a:pt x="72" y="275"/>
                    </a:lnTo>
                    <a:lnTo>
                      <a:pt x="81" y="279"/>
                    </a:lnTo>
                    <a:lnTo>
                      <a:pt x="91" y="282"/>
                    </a:lnTo>
                    <a:lnTo>
                      <a:pt x="97" y="282"/>
                    </a:lnTo>
                    <a:lnTo>
                      <a:pt x="99" y="280"/>
                    </a:lnTo>
                    <a:lnTo>
                      <a:pt x="97" y="277"/>
                    </a:lnTo>
                    <a:lnTo>
                      <a:pt x="97" y="277"/>
                    </a:lnTo>
                    <a:lnTo>
                      <a:pt x="96" y="276"/>
                    </a:lnTo>
                    <a:lnTo>
                      <a:pt x="96" y="275"/>
                    </a:lnTo>
                    <a:lnTo>
                      <a:pt x="99" y="273"/>
                    </a:lnTo>
                    <a:lnTo>
                      <a:pt x="101" y="273"/>
                    </a:lnTo>
                    <a:lnTo>
                      <a:pt x="108" y="273"/>
                    </a:lnTo>
                    <a:lnTo>
                      <a:pt x="113" y="276"/>
                    </a:lnTo>
                    <a:lnTo>
                      <a:pt x="113" y="276"/>
                    </a:lnTo>
                    <a:lnTo>
                      <a:pt x="114" y="277"/>
                    </a:lnTo>
                    <a:lnTo>
                      <a:pt x="117" y="277"/>
                    </a:lnTo>
                    <a:lnTo>
                      <a:pt x="121" y="275"/>
                    </a:lnTo>
                    <a:lnTo>
                      <a:pt x="127" y="272"/>
                    </a:lnTo>
                    <a:lnTo>
                      <a:pt x="131" y="272"/>
                    </a:lnTo>
                    <a:lnTo>
                      <a:pt x="134" y="272"/>
                    </a:lnTo>
                    <a:lnTo>
                      <a:pt x="134" y="272"/>
                    </a:lnTo>
                    <a:lnTo>
                      <a:pt x="137" y="272"/>
                    </a:lnTo>
                    <a:lnTo>
                      <a:pt x="140" y="272"/>
                    </a:lnTo>
                    <a:lnTo>
                      <a:pt x="145" y="269"/>
                    </a:lnTo>
                    <a:lnTo>
                      <a:pt x="148" y="267"/>
                    </a:lnTo>
                    <a:lnTo>
                      <a:pt x="151" y="267"/>
                    </a:lnTo>
                    <a:lnTo>
                      <a:pt x="154" y="269"/>
                    </a:lnTo>
                    <a:lnTo>
                      <a:pt x="154" y="269"/>
                    </a:lnTo>
                    <a:lnTo>
                      <a:pt x="164" y="272"/>
                    </a:lnTo>
                    <a:lnTo>
                      <a:pt x="178" y="275"/>
                    </a:lnTo>
                    <a:lnTo>
                      <a:pt x="194" y="277"/>
                    </a:lnTo>
                    <a:lnTo>
                      <a:pt x="205" y="282"/>
                    </a:lnTo>
                    <a:lnTo>
                      <a:pt x="205" y="282"/>
                    </a:lnTo>
                    <a:lnTo>
                      <a:pt x="215" y="286"/>
                    </a:lnTo>
                    <a:lnTo>
                      <a:pt x="224" y="289"/>
                    </a:lnTo>
                    <a:lnTo>
                      <a:pt x="229" y="293"/>
                    </a:lnTo>
                    <a:lnTo>
                      <a:pt x="231" y="296"/>
                    </a:lnTo>
                    <a:lnTo>
                      <a:pt x="231" y="299"/>
                    </a:lnTo>
                    <a:lnTo>
                      <a:pt x="231" y="299"/>
                    </a:lnTo>
                    <a:lnTo>
                      <a:pt x="231" y="302"/>
                    </a:lnTo>
                    <a:lnTo>
                      <a:pt x="232" y="304"/>
                    </a:lnTo>
                    <a:lnTo>
                      <a:pt x="237" y="310"/>
                    </a:lnTo>
                    <a:lnTo>
                      <a:pt x="244" y="316"/>
                    </a:lnTo>
                    <a:lnTo>
                      <a:pt x="254" y="320"/>
                    </a:lnTo>
                    <a:lnTo>
                      <a:pt x="254" y="320"/>
                    </a:lnTo>
                    <a:lnTo>
                      <a:pt x="258" y="323"/>
                    </a:lnTo>
                    <a:lnTo>
                      <a:pt x="261" y="326"/>
                    </a:lnTo>
                    <a:lnTo>
                      <a:pt x="266" y="331"/>
                    </a:lnTo>
                    <a:lnTo>
                      <a:pt x="268" y="340"/>
                    </a:lnTo>
                    <a:lnTo>
                      <a:pt x="268" y="346"/>
                    </a:lnTo>
                    <a:lnTo>
                      <a:pt x="268" y="346"/>
                    </a:lnTo>
                    <a:lnTo>
                      <a:pt x="268" y="349"/>
                    </a:lnTo>
                    <a:lnTo>
                      <a:pt x="271" y="351"/>
                    </a:lnTo>
                    <a:lnTo>
                      <a:pt x="275" y="357"/>
                    </a:lnTo>
                    <a:lnTo>
                      <a:pt x="279" y="360"/>
                    </a:lnTo>
                    <a:lnTo>
                      <a:pt x="279" y="363"/>
                    </a:lnTo>
                    <a:lnTo>
                      <a:pt x="279" y="364"/>
                    </a:lnTo>
                    <a:lnTo>
                      <a:pt x="279" y="364"/>
                    </a:lnTo>
                    <a:lnTo>
                      <a:pt x="279" y="367"/>
                    </a:lnTo>
                    <a:lnTo>
                      <a:pt x="279" y="370"/>
                    </a:lnTo>
                    <a:lnTo>
                      <a:pt x="282" y="376"/>
                    </a:lnTo>
                    <a:lnTo>
                      <a:pt x="288" y="380"/>
                    </a:lnTo>
                    <a:lnTo>
                      <a:pt x="288" y="380"/>
                    </a:lnTo>
                    <a:lnTo>
                      <a:pt x="289" y="383"/>
                    </a:lnTo>
                    <a:lnTo>
                      <a:pt x="289" y="386"/>
                    </a:lnTo>
                    <a:lnTo>
                      <a:pt x="285" y="391"/>
                    </a:lnTo>
                    <a:lnTo>
                      <a:pt x="279" y="395"/>
                    </a:lnTo>
                    <a:lnTo>
                      <a:pt x="279" y="398"/>
                    </a:lnTo>
                    <a:lnTo>
                      <a:pt x="279" y="400"/>
                    </a:lnTo>
                    <a:lnTo>
                      <a:pt x="279" y="400"/>
                    </a:lnTo>
                    <a:lnTo>
                      <a:pt x="281" y="403"/>
                    </a:lnTo>
                    <a:lnTo>
                      <a:pt x="281" y="405"/>
                    </a:lnTo>
                    <a:lnTo>
                      <a:pt x="279" y="413"/>
                    </a:lnTo>
                    <a:lnTo>
                      <a:pt x="279" y="415"/>
                    </a:lnTo>
                    <a:lnTo>
                      <a:pt x="281" y="418"/>
                    </a:lnTo>
                    <a:lnTo>
                      <a:pt x="282" y="421"/>
                    </a:lnTo>
                    <a:lnTo>
                      <a:pt x="288" y="423"/>
                    </a:lnTo>
                    <a:lnTo>
                      <a:pt x="288" y="423"/>
                    </a:lnTo>
                    <a:lnTo>
                      <a:pt x="292" y="423"/>
                    </a:lnTo>
                    <a:lnTo>
                      <a:pt x="296" y="421"/>
                    </a:lnTo>
                    <a:lnTo>
                      <a:pt x="301" y="418"/>
                    </a:lnTo>
                    <a:lnTo>
                      <a:pt x="305" y="414"/>
                    </a:lnTo>
                    <a:lnTo>
                      <a:pt x="308" y="413"/>
                    </a:lnTo>
                    <a:lnTo>
                      <a:pt x="312" y="411"/>
                    </a:lnTo>
                    <a:lnTo>
                      <a:pt x="312" y="411"/>
                    </a:lnTo>
                    <a:lnTo>
                      <a:pt x="315" y="413"/>
                    </a:lnTo>
                    <a:lnTo>
                      <a:pt x="316" y="413"/>
                    </a:lnTo>
                    <a:lnTo>
                      <a:pt x="316" y="415"/>
                    </a:lnTo>
                    <a:lnTo>
                      <a:pt x="316" y="417"/>
                    </a:lnTo>
                    <a:lnTo>
                      <a:pt x="315" y="423"/>
                    </a:lnTo>
                    <a:lnTo>
                      <a:pt x="315" y="425"/>
                    </a:lnTo>
                    <a:lnTo>
                      <a:pt x="318" y="428"/>
                    </a:lnTo>
                    <a:lnTo>
                      <a:pt x="318" y="428"/>
                    </a:lnTo>
                    <a:lnTo>
                      <a:pt x="323" y="431"/>
                    </a:lnTo>
                    <a:lnTo>
                      <a:pt x="330" y="434"/>
                    </a:lnTo>
                    <a:lnTo>
                      <a:pt x="339" y="437"/>
                    </a:lnTo>
                    <a:lnTo>
                      <a:pt x="347" y="442"/>
                    </a:lnTo>
                    <a:lnTo>
                      <a:pt x="347" y="442"/>
                    </a:lnTo>
                    <a:lnTo>
                      <a:pt x="352" y="445"/>
                    </a:lnTo>
                    <a:lnTo>
                      <a:pt x="353" y="448"/>
                    </a:lnTo>
                    <a:lnTo>
                      <a:pt x="353" y="451"/>
                    </a:lnTo>
                    <a:lnTo>
                      <a:pt x="353" y="452"/>
                    </a:lnTo>
                    <a:lnTo>
                      <a:pt x="352" y="452"/>
                    </a:lnTo>
                    <a:lnTo>
                      <a:pt x="349" y="452"/>
                    </a:lnTo>
                    <a:lnTo>
                      <a:pt x="342" y="450"/>
                    </a:lnTo>
                    <a:lnTo>
                      <a:pt x="342" y="450"/>
                    </a:lnTo>
                    <a:lnTo>
                      <a:pt x="336" y="447"/>
                    </a:lnTo>
                    <a:lnTo>
                      <a:pt x="330" y="445"/>
                    </a:lnTo>
                    <a:lnTo>
                      <a:pt x="316" y="444"/>
                    </a:lnTo>
                    <a:lnTo>
                      <a:pt x="303" y="444"/>
                    </a:lnTo>
                    <a:lnTo>
                      <a:pt x="299" y="445"/>
                    </a:lnTo>
                    <a:lnTo>
                      <a:pt x="299" y="445"/>
                    </a:lnTo>
                    <a:lnTo>
                      <a:pt x="299" y="445"/>
                    </a:lnTo>
                    <a:lnTo>
                      <a:pt x="303" y="451"/>
                    </a:lnTo>
                    <a:lnTo>
                      <a:pt x="318" y="458"/>
                    </a:lnTo>
                    <a:lnTo>
                      <a:pt x="332" y="464"/>
                    </a:lnTo>
                    <a:lnTo>
                      <a:pt x="338" y="465"/>
                    </a:lnTo>
                    <a:lnTo>
                      <a:pt x="342" y="465"/>
                    </a:lnTo>
                    <a:lnTo>
                      <a:pt x="342" y="465"/>
                    </a:lnTo>
                    <a:lnTo>
                      <a:pt x="345" y="465"/>
                    </a:lnTo>
                    <a:lnTo>
                      <a:pt x="347" y="467"/>
                    </a:lnTo>
                    <a:lnTo>
                      <a:pt x="353" y="471"/>
                    </a:lnTo>
                    <a:lnTo>
                      <a:pt x="356" y="477"/>
                    </a:lnTo>
                    <a:lnTo>
                      <a:pt x="357" y="479"/>
                    </a:lnTo>
                    <a:lnTo>
                      <a:pt x="356" y="482"/>
                    </a:lnTo>
                    <a:lnTo>
                      <a:pt x="356" y="482"/>
                    </a:lnTo>
                    <a:lnTo>
                      <a:pt x="353" y="487"/>
                    </a:lnTo>
                    <a:lnTo>
                      <a:pt x="353" y="494"/>
                    </a:lnTo>
                    <a:lnTo>
                      <a:pt x="353" y="505"/>
                    </a:lnTo>
                    <a:lnTo>
                      <a:pt x="353" y="505"/>
                    </a:lnTo>
                    <a:lnTo>
                      <a:pt x="352" y="506"/>
                    </a:lnTo>
                    <a:lnTo>
                      <a:pt x="350" y="506"/>
                    </a:lnTo>
                    <a:lnTo>
                      <a:pt x="345" y="506"/>
                    </a:lnTo>
                    <a:lnTo>
                      <a:pt x="339" y="505"/>
                    </a:lnTo>
                    <a:lnTo>
                      <a:pt x="332" y="505"/>
                    </a:lnTo>
                    <a:lnTo>
                      <a:pt x="332" y="505"/>
                    </a:lnTo>
                    <a:lnTo>
                      <a:pt x="328" y="506"/>
                    </a:lnTo>
                    <a:lnTo>
                      <a:pt x="323" y="508"/>
                    </a:lnTo>
                    <a:lnTo>
                      <a:pt x="320" y="512"/>
                    </a:lnTo>
                    <a:lnTo>
                      <a:pt x="319" y="516"/>
                    </a:lnTo>
                    <a:lnTo>
                      <a:pt x="319" y="516"/>
                    </a:lnTo>
                    <a:lnTo>
                      <a:pt x="319" y="519"/>
                    </a:lnTo>
                    <a:lnTo>
                      <a:pt x="318" y="522"/>
                    </a:lnTo>
                    <a:lnTo>
                      <a:pt x="313" y="528"/>
                    </a:lnTo>
                    <a:lnTo>
                      <a:pt x="309" y="533"/>
                    </a:lnTo>
                    <a:lnTo>
                      <a:pt x="308" y="536"/>
                    </a:lnTo>
                    <a:lnTo>
                      <a:pt x="306" y="541"/>
                    </a:lnTo>
                    <a:lnTo>
                      <a:pt x="306" y="541"/>
                    </a:lnTo>
                    <a:lnTo>
                      <a:pt x="306" y="543"/>
                    </a:lnTo>
                    <a:lnTo>
                      <a:pt x="308" y="546"/>
                    </a:lnTo>
                    <a:lnTo>
                      <a:pt x="311" y="549"/>
                    </a:lnTo>
                    <a:lnTo>
                      <a:pt x="316" y="552"/>
                    </a:lnTo>
                    <a:lnTo>
                      <a:pt x="322" y="555"/>
                    </a:lnTo>
                    <a:lnTo>
                      <a:pt x="322" y="555"/>
                    </a:lnTo>
                    <a:lnTo>
                      <a:pt x="323" y="556"/>
                    </a:lnTo>
                    <a:lnTo>
                      <a:pt x="322" y="558"/>
                    </a:lnTo>
                    <a:lnTo>
                      <a:pt x="318" y="560"/>
                    </a:lnTo>
                    <a:lnTo>
                      <a:pt x="312" y="563"/>
                    </a:lnTo>
                    <a:lnTo>
                      <a:pt x="311" y="566"/>
                    </a:lnTo>
                    <a:lnTo>
                      <a:pt x="309" y="569"/>
                    </a:lnTo>
                    <a:lnTo>
                      <a:pt x="309" y="569"/>
                    </a:lnTo>
                    <a:lnTo>
                      <a:pt x="309" y="572"/>
                    </a:lnTo>
                    <a:lnTo>
                      <a:pt x="312" y="575"/>
                    </a:lnTo>
                    <a:lnTo>
                      <a:pt x="318" y="582"/>
                    </a:lnTo>
                    <a:lnTo>
                      <a:pt x="325" y="588"/>
                    </a:lnTo>
                    <a:lnTo>
                      <a:pt x="332" y="592"/>
                    </a:lnTo>
                    <a:lnTo>
                      <a:pt x="332" y="592"/>
                    </a:lnTo>
                    <a:lnTo>
                      <a:pt x="333" y="593"/>
                    </a:lnTo>
                    <a:lnTo>
                      <a:pt x="335" y="596"/>
                    </a:lnTo>
                    <a:lnTo>
                      <a:pt x="335" y="603"/>
                    </a:lnTo>
                    <a:lnTo>
                      <a:pt x="333" y="612"/>
                    </a:lnTo>
                    <a:lnTo>
                      <a:pt x="335" y="619"/>
                    </a:lnTo>
                    <a:lnTo>
                      <a:pt x="335" y="619"/>
                    </a:lnTo>
                    <a:lnTo>
                      <a:pt x="336" y="622"/>
                    </a:lnTo>
                    <a:lnTo>
                      <a:pt x="338" y="623"/>
                    </a:lnTo>
                    <a:lnTo>
                      <a:pt x="340" y="623"/>
                    </a:lnTo>
                    <a:lnTo>
                      <a:pt x="343" y="623"/>
                    </a:lnTo>
                    <a:lnTo>
                      <a:pt x="343" y="625"/>
                    </a:lnTo>
                    <a:lnTo>
                      <a:pt x="345" y="627"/>
                    </a:lnTo>
                    <a:lnTo>
                      <a:pt x="345" y="627"/>
                    </a:lnTo>
                    <a:lnTo>
                      <a:pt x="345" y="632"/>
                    </a:lnTo>
                    <a:lnTo>
                      <a:pt x="345" y="634"/>
                    </a:lnTo>
                    <a:lnTo>
                      <a:pt x="347" y="637"/>
                    </a:lnTo>
                    <a:lnTo>
                      <a:pt x="350" y="640"/>
                    </a:lnTo>
                    <a:lnTo>
                      <a:pt x="352" y="644"/>
                    </a:lnTo>
                    <a:lnTo>
                      <a:pt x="352" y="644"/>
                    </a:lnTo>
                    <a:lnTo>
                      <a:pt x="353" y="646"/>
                    </a:lnTo>
                    <a:lnTo>
                      <a:pt x="355" y="647"/>
                    </a:lnTo>
                    <a:lnTo>
                      <a:pt x="359" y="650"/>
                    </a:lnTo>
                    <a:lnTo>
                      <a:pt x="363" y="653"/>
                    </a:lnTo>
                    <a:lnTo>
                      <a:pt x="365" y="654"/>
                    </a:lnTo>
                    <a:lnTo>
                      <a:pt x="365" y="657"/>
                    </a:lnTo>
                    <a:lnTo>
                      <a:pt x="365" y="657"/>
                    </a:lnTo>
                    <a:lnTo>
                      <a:pt x="365" y="663"/>
                    </a:lnTo>
                    <a:lnTo>
                      <a:pt x="366" y="669"/>
                    </a:lnTo>
                    <a:lnTo>
                      <a:pt x="372" y="677"/>
                    </a:lnTo>
                    <a:lnTo>
                      <a:pt x="372" y="677"/>
                    </a:lnTo>
                    <a:lnTo>
                      <a:pt x="382" y="686"/>
                    </a:lnTo>
                    <a:lnTo>
                      <a:pt x="386" y="691"/>
                    </a:lnTo>
                    <a:lnTo>
                      <a:pt x="390" y="696"/>
                    </a:lnTo>
                    <a:lnTo>
                      <a:pt x="390" y="696"/>
                    </a:lnTo>
                    <a:lnTo>
                      <a:pt x="393" y="701"/>
                    </a:lnTo>
                    <a:lnTo>
                      <a:pt x="397" y="706"/>
                    </a:lnTo>
                    <a:lnTo>
                      <a:pt x="402" y="708"/>
                    </a:lnTo>
                    <a:lnTo>
                      <a:pt x="404" y="708"/>
                    </a:lnTo>
                    <a:lnTo>
                      <a:pt x="409" y="708"/>
                    </a:lnTo>
                    <a:lnTo>
                      <a:pt x="409" y="708"/>
                    </a:lnTo>
                    <a:lnTo>
                      <a:pt x="413" y="707"/>
                    </a:lnTo>
                    <a:lnTo>
                      <a:pt x="417" y="710"/>
                    </a:lnTo>
                    <a:lnTo>
                      <a:pt x="420" y="711"/>
                    </a:lnTo>
                    <a:lnTo>
                      <a:pt x="424" y="713"/>
                    </a:lnTo>
                    <a:lnTo>
                      <a:pt x="424" y="713"/>
                    </a:lnTo>
                    <a:lnTo>
                      <a:pt x="429" y="713"/>
                    </a:lnTo>
                    <a:lnTo>
                      <a:pt x="434" y="714"/>
                    </a:lnTo>
                    <a:lnTo>
                      <a:pt x="440" y="717"/>
                    </a:lnTo>
                    <a:lnTo>
                      <a:pt x="443" y="721"/>
                    </a:lnTo>
                    <a:lnTo>
                      <a:pt x="443" y="721"/>
                    </a:lnTo>
                    <a:lnTo>
                      <a:pt x="444" y="723"/>
                    </a:lnTo>
                    <a:lnTo>
                      <a:pt x="447" y="724"/>
                    </a:lnTo>
                    <a:lnTo>
                      <a:pt x="456" y="728"/>
                    </a:lnTo>
                    <a:lnTo>
                      <a:pt x="471" y="731"/>
                    </a:lnTo>
                    <a:lnTo>
                      <a:pt x="471" y="731"/>
                    </a:lnTo>
                    <a:lnTo>
                      <a:pt x="473" y="731"/>
                    </a:lnTo>
                    <a:lnTo>
                      <a:pt x="474" y="730"/>
                    </a:lnTo>
                    <a:lnTo>
                      <a:pt x="477" y="727"/>
                    </a:lnTo>
                    <a:lnTo>
                      <a:pt x="480" y="723"/>
                    </a:lnTo>
                    <a:lnTo>
                      <a:pt x="483" y="720"/>
                    </a:lnTo>
                    <a:lnTo>
                      <a:pt x="483" y="720"/>
                    </a:lnTo>
                    <a:lnTo>
                      <a:pt x="484" y="717"/>
                    </a:lnTo>
                    <a:lnTo>
                      <a:pt x="485" y="714"/>
                    </a:lnTo>
                    <a:lnTo>
                      <a:pt x="487" y="706"/>
                    </a:lnTo>
                    <a:lnTo>
                      <a:pt x="488" y="698"/>
                    </a:lnTo>
                    <a:lnTo>
                      <a:pt x="488" y="696"/>
                    </a:lnTo>
                    <a:lnTo>
                      <a:pt x="491" y="694"/>
                    </a:lnTo>
                    <a:lnTo>
                      <a:pt x="491" y="694"/>
                    </a:lnTo>
                    <a:lnTo>
                      <a:pt x="493" y="693"/>
                    </a:lnTo>
                    <a:lnTo>
                      <a:pt x="493" y="690"/>
                    </a:lnTo>
                    <a:lnTo>
                      <a:pt x="494" y="681"/>
                    </a:lnTo>
                    <a:lnTo>
                      <a:pt x="493" y="673"/>
                    </a:lnTo>
                    <a:lnTo>
                      <a:pt x="491" y="670"/>
                    </a:lnTo>
                    <a:lnTo>
                      <a:pt x="490" y="669"/>
                    </a:lnTo>
                    <a:lnTo>
                      <a:pt x="490" y="669"/>
                    </a:lnTo>
                    <a:lnTo>
                      <a:pt x="487" y="667"/>
                    </a:lnTo>
                    <a:lnTo>
                      <a:pt x="487" y="664"/>
                    </a:lnTo>
                    <a:lnTo>
                      <a:pt x="491" y="661"/>
                    </a:lnTo>
                    <a:lnTo>
                      <a:pt x="497" y="661"/>
                    </a:lnTo>
                    <a:lnTo>
                      <a:pt x="497" y="661"/>
                    </a:lnTo>
                    <a:lnTo>
                      <a:pt x="501" y="661"/>
                    </a:lnTo>
                    <a:lnTo>
                      <a:pt x="503" y="660"/>
                    </a:lnTo>
                    <a:lnTo>
                      <a:pt x="505" y="656"/>
                    </a:lnTo>
                    <a:lnTo>
                      <a:pt x="507" y="653"/>
                    </a:lnTo>
                    <a:lnTo>
                      <a:pt x="508" y="652"/>
                    </a:lnTo>
                    <a:lnTo>
                      <a:pt x="510" y="650"/>
                    </a:lnTo>
                    <a:lnTo>
                      <a:pt x="510" y="650"/>
                    </a:lnTo>
                    <a:lnTo>
                      <a:pt x="511" y="649"/>
                    </a:lnTo>
                    <a:lnTo>
                      <a:pt x="513" y="647"/>
                    </a:lnTo>
                    <a:lnTo>
                      <a:pt x="514" y="643"/>
                    </a:lnTo>
                    <a:lnTo>
                      <a:pt x="514" y="640"/>
                    </a:lnTo>
                    <a:lnTo>
                      <a:pt x="517" y="637"/>
                    </a:lnTo>
                    <a:lnTo>
                      <a:pt x="517" y="637"/>
                    </a:lnTo>
                    <a:lnTo>
                      <a:pt x="518" y="636"/>
                    </a:lnTo>
                    <a:lnTo>
                      <a:pt x="518" y="633"/>
                    </a:lnTo>
                    <a:lnTo>
                      <a:pt x="518" y="630"/>
                    </a:lnTo>
                    <a:lnTo>
                      <a:pt x="517" y="626"/>
                    </a:lnTo>
                    <a:lnTo>
                      <a:pt x="517" y="626"/>
                    </a:lnTo>
                    <a:lnTo>
                      <a:pt x="515" y="623"/>
                    </a:lnTo>
                    <a:lnTo>
                      <a:pt x="517" y="622"/>
                    </a:lnTo>
                    <a:lnTo>
                      <a:pt x="520" y="620"/>
                    </a:lnTo>
                    <a:lnTo>
                      <a:pt x="522" y="619"/>
                    </a:lnTo>
                    <a:lnTo>
                      <a:pt x="522" y="619"/>
                    </a:lnTo>
                    <a:lnTo>
                      <a:pt x="525" y="617"/>
                    </a:lnTo>
                    <a:lnTo>
                      <a:pt x="527" y="613"/>
                    </a:lnTo>
                    <a:lnTo>
                      <a:pt x="524" y="610"/>
                    </a:lnTo>
                    <a:lnTo>
                      <a:pt x="520" y="607"/>
                    </a:lnTo>
                    <a:lnTo>
                      <a:pt x="520" y="607"/>
                    </a:lnTo>
                    <a:lnTo>
                      <a:pt x="515" y="605"/>
                    </a:lnTo>
                    <a:lnTo>
                      <a:pt x="515" y="600"/>
                    </a:lnTo>
                    <a:lnTo>
                      <a:pt x="515" y="599"/>
                    </a:lnTo>
                    <a:lnTo>
                      <a:pt x="517" y="599"/>
                    </a:lnTo>
                    <a:lnTo>
                      <a:pt x="520" y="599"/>
                    </a:lnTo>
                    <a:lnTo>
                      <a:pt x="522" y="600"/>
                    </a:lnTo>
                    <a:lnTo>
                      <a:pt x="522" y="600"/>
                    </a:lnTo>
                    <a:lnTo>
                      <a:pt x="527" y="603"/>
                    </a:lnTo>
                    <a:lnTo>
                      <a:pt x="531" y="603"/>
                    </a:lnTo>
                    <a:lnTo>
                      <a:pt x="532" y="600"/>
                    </a:lnTo>
                    <a:lnTo>
                      <a:pt x="531" y="596"/>
                    </a:lnTo>
                    <a:lnTo>
                      <a:pt x="531" y="596"/>
                    </a:lnTo>
                    <a:lnTo>
                      <a:pt x="530" y="595"/>
                    </a:lnTo>
                    <a:lnTo>
                      <a:pt x="530" y="593"/>
                    </a:lnTo>
                    <a:lnTo>
                      <a:pt x="532" y="590"/>
                    </a:lnTo>
                    <a:lnTo>
                      <a:pt x="538" y="588"/>
                    </a:lnTo>
                    <a:lnTo>
                      <a:pt x="547" y="588"/>
                    </a:lnTo>
                    <a:lnTo>
                      <a:pt x="547" y="588"/>
                    </a:lnTo>
                    <a:lnTo>
                      <a:pt x="552" y="586"/>
                    </a:lnTo>
                    <a:lnTo>
                      <a:pt x="557" y="583"/>
                    </a:lnTo>
                    <a:lnTo>
                      <a:pt x="559" y="579"/>
                    </a:lnTo>
                    <a:lnTo>
                      <a:pt x="559" y="573"/>
                    </a:lnTo>
                    <a:lnTo>
                      <a:pt x="559" y="573"/>
                    </a:lnTo>
                    <a:lnTo>
                      <a:pt x="559" y="570"/>
                    </a:lnTo>
                    <a:lnTo>
                      <a:pt x="559" y="569"/>
                    </a:lnTo>
                    <a:lnTo>
                      <a:pt x="564" y="568"/>
                    </a:lnTo>
                    <a:lnTo>
                      <a:pt x="567" y="569"/>
                    </a:lnTo>
                    <a:lnTo>
                      <a:pt x="568" y="570"/>
                    </a:lnTo>
                    <a:lnTo>
                      <a:pt x="568" y="573"/>
                    </a:lnTo>
                    <a:lnTo>
                      <a:pt x="568" y="573"/>
                    </a:lnTo>
                    <a:lnTo>
                      <a:pt x="565" y="578"/>
                    </a:lnTo>
                    <a:lnTo>
                      <a:pt x="567" y="582"/>
                    </a:lnTo>
                    <a:lnTo>
                      <a:pt x="568" y="583"/>
                    </a:lnTo>
                    <a:lnTo>
                      <a:pt x="571" y="582"/>
                    </a:lnTo>
                    <a:lnTo>
                      <a:pt x="571" y="582"/>
                    </a:lnTo>
                    <a:lnTo>
                      <a:pt x="575" y="579"/>
                    </a:lnTo>
                    <a:lnTo>
                      <a:pt x="581" y="578"/>
                    </a:lnTo>
                    <a:lnTo>
                      <a:pt x="589" y="578"/>
                    </a:lnTo>
                    <a:lnTo>
                      <a:pt x="601" y="575"/>
                    </a:lnTo>
                    <a:lnTo>
                      <a:pt x="601" y="575"/>
                    </a:lnTo>
                    <a:lnTo>
                      <a:pt x="612" y="570"/>
                    </a:lnTo>
                    <a:lnTo>
                      <a:pt x="623" y="563"/>
                    </a:lnTo>
                    <a:lnTo>
                      <a:pt x="631" y="553"/>
                    </a:lnTo>
                    <a:lnTo>
                      <a:pt x="633" y="549"/>
                    </a:lnTo>
                    <a:lnTo>
                      <a:pt x="636" y="545"/>
                    </a:lnTo>
                    <a:lnTo>
                      <a:pt x="636" y="545"/>
                    </a:lnTo>
                    <a:lnTo>
                      <a:pt x="638" y="541"/>
                    </a:lnTo>
                    <a:lnTo>
                      <a:pt x="641" y="536"/>
                    </a:lnTo>
                    <a:lnTo>
                      <a:pt x="648" y="532"/>
                    </a:lnTo>
                    <a:lnTo>
                      <a:pt x="655" y="529"/>
                    </a:lnTo>
                    <a:lnTo>
                      <a:pt x="656" y="528"/>
                    </a:lnTo>
                    <a:lnTo>
                      <a:pt x="656" y="525"/>
                    </a:lnTo>
                    <a:lnTo>
                      <a:pt x="656" y="525"/>
                    </a:lnTo>
                    <a:lnTo>
                      <a:pt x="656" y="519"/>
                    </a:lnTo>
                    <a:lnTo>
                      <a:pt x="656" y="518"/>
                    </a:lnTo>
                    <a:lnTo>
                      <a:pt x="658" y="516"/>
                    </a:lnTo>
                    <a:lnTo>
                      <a:pt x="663" y="515"/>
                    </a:lnTo>
                    <a:lnTo>
                      <a:pt x="672" y="518"/>
                    </a:lnTo>
                    <a:lnTo>
                      <a:pt x="672" y="518"/>
                    </a:lnTo>
                    <a:lnTo>
                      <a:pt x="676" y="521"/>
                    </a:lnTo>
                    <a:lnTo>
                      <a:pt x="678" y="519"/>
                    </a:lnTo>
                    <a:lnTo>
                      <a:pt x="679" y="518"/>
                    </a:lnTo>
                    <a:lnTo>
                      <a:pt x="680" y="516"/>
                    </a:lnTo>
                    <a:lnTo>
                      <a:pt x="683" y="515"/>
                    </a:lnTo>
                    <a:lnTo>
                      <a:pt x="687" y="515"/>
                    </a:lnTo>
                    <a:lnTo>
                      <a:pt x="687" y="515"/>
                    </a:lnTo>
                    <a:lnTo>
                      <a:pt x="695" y="514"/>
                    </a:lnTo>
                    <a:lnTo>
                      <a:pt x="699" y="512"/>
                    </a:lnTo>
                    <a:lnTo>
                      <a:pt x="703" y="511"/>
                    </a:lnTo>
                    <a:lnTo>
                      <a:pt x="710" y="509"/>
                    </a:lnTo>
                    <a:lnTo>
                      <a:pt x="710" y="509"/>
                    </a:lnTo>
                    <a:lnTo>
                      <a:pt x="723" y="508"/>
                    </a:lnTo>
                    <a:lnTo>
                      <a:pt x="740" y="505"/>
                    </a:lnTo>
                    <a:lnTo>
                      <a:pt x="756" y="499"/>
                    </a:lnTo>
                    <a:lnTo>
                      <a:pt x="763" y="496"/>
                    </a:lnTo>
                    <a:lnTo>
                      <a:pt x="769" y="494"/>
                    </a:lnTo>
                    <a:lnTo>
                      <a:pt x="769" y="494"/>
                    </a:lnTo>
                    <a:lnTo>
                      <a:pt x="779" y="487"/>
                    </a:lnTo>
                    <a:lnTo>
                      <a:pt x="791" y="481"/>
                    </a:lnTo>
                    <a:lnTo>
                      <a:pt x="804" y="475"/>
                    </a:lnTo>
                    <a:lnTo>
                      <a:pt x="814" y="469"/>
                    </a:lnTo>
                    <a:lnTo>
                      <a:pt x="814" y="469"/>
                    </a:lnTo>
                    <a:lnTo>
                      <a:pt x="820" y="465"/>
                    </a:lnTo>
                    <a:lnTo>
                      <a:pt x="823" y="462"/>
                    </a:lnTo>
                    <a:lnTo>
                      <a:pt x="823" y="461"/>
                    </a:lnTo>
                    <a:lnTo>
                      <a:pt x="820" y="462"/>
                    </a:lnTo>
                    <a:lnTo>
                      <a:pt x="820" y="462"/>
                    </a:lnTo>
                    <a:lnTo>
                      <a:pt x="814" y="464"/>
                    </a:lnTo>
                    <a:lnTo>
                      <a:pt x="807" y="465"/>
                    </a:lnTo>
                    <a:lnTo>
                      <a:pt x="798" y="464"/>
                    </a:lnTo>
                    <a:lnTo>
                      <a:pt x="791" y="464"/>
                    </a:lnTo>
                    <a:lnTo>
                      <a:pt x="791" y="464"/>
                    </a:lnTo>
                    <a:lnTo>
                      <a:pt x="774" y="458"/>
                    </a:lnTo>
                    <a:lnTo>
                      <a:pt x="764" y="457"/>
                    </a:lnTo>
                    <a:lnTo>
                      <a:pt x="760" y="457"/>
                    </a:lnTo>
                    <a:lnTo>
                      <a:pt x="756" y="459"/>
                    </a:lnTo>
                    <a:lnTo>
                      <a:pt x="756" y="459"/>
                    </a:lnTo>
                    <a:lnTo>
                      <a:pt x="753" y="461"/>
                    </a:lnTo>
                    <a:lnTo>
                      <a:pt x="750" y="459"/>
                    </a:lnTo>
                    <a:lnTo>
                      <a:pt x="750" y="458"/>
                    </a:lnTo>
                    <a:lnTo>
                      <a:pt x="750" y="457"/>
                    </a:lnTo>
                    <a:lnTo>
                      <a:pt x="754" y="451"/>
                    </a:lnTo>
                    <a:lnTo>
                      <a:pt x="757" y="450"/>
                    </a:lnTo>
                    <a:lnTo>
                      <a:pt x="760" y="448"/>
                    </a:lnTo>
                    <a:lnTo>
                      <a:pt x="760" y="448"/>
                    </a:lnTo>
                    <a:lnTo>
                      <a:pt x="764" y="447"/>
                    </a:lnTo>
                    <a:lnTo>
                      <a:pt x="766" y="444"/>
                    </a:lnTo>
                    <a:lnTo>
                      <a:pt x="763" y="434"/>
                    </a:lnTo>
                    <a:lnTo>
                      <a:pt x="763" y="434"/>
                    </a:lnTo>
                    <a:lnTo>
                      <a:pt x="763" y="431"/>
                    </a:lnTo>
                    <a:lnTo>
                      <a:pt x="764" y="430"/>
                    </a:lnTo>
                    <a:lnTo>
                      <a:pt x="767" y="428"/>
                    </a:lnTo>
                    <a:lnTo>
                      <a:pt x="771" y="430"/>
                    </a:lnTo>
                    <a:lnTo>
                      <a:pt x="779" y="434"/>
                    </a:lnTo>
                    <a:lnTo>
                      <a:pt x="783" y="437"/>
                    </a:lnTo>
                    <a:lnTo>
                      <a:pt x="786" y="441"/>
                    </a:lnTo>
                    <a:lnTo>
                      <a:pt x="786" y="441"/>
                    </a:lnTo>
                    <a:lnTo>
                      <a:pt x="793" y="448"/>
                    </a:lnTo>
                    <a:lnTo>
                      <a:pt x="801" y="452"/>
                    </a:lnTo>
                    <a:lnTo>
                      <a:pt x="811" y="454"/>
                    </a:lnTo>
                    <a:lnTo>
                      <a:pt x="821" y="452"/>
                    </a:lnTo>
                    <a:lnTo>
                      <a:pt x="821" y="452"/>
                    </a:lnTo>
                    <a:lnTo>
                      <a:pt x="824" y="451"/>
                    </a:lnTo>
                    <a:lnTo>
                      <a:pt x="827" y="448"/>
                    </a:lnTo>
                    <a:lnTo>
                      <a:pt x="827" y="447"/>
                    </a:lnTo>
                    <a:lnTo>
                      <a:pt x="827" y="444"/>
                    </a:lnTo>
                    <a:lnTo>
                      <a:pt x="825" y="437"/>
                    </a:lnTo>
                    <a:lnTo>
                      <a:pt x="825" y="434"/>
                    </a:lnTo>
                    <a:lnTo>
                      <a:pt x="827" y="431"/>
                    </a:lnTo>
                    <a:lnTo>
                      <a:pt x="827" y="431"/>
                    </a:lnTo>
                    <a:lnTo>
                      <a:pt x="827" y="430"/>
                    </a:lnTo>
                    <a:lnTo>
                      <a:pt x="827" y="428"/>
                    </a:lnTo>
                    <a:lnTo>
                      <a:pt x="823" y="424"/>
                    </a:lnTo>
                    <a:lnTo>
                      <a:pt x="808" y="413"/>
                    </a:lnTo>
                    <a:lnTo>
                      <a:pt x="793" y="403"/>
                    </a:lnTo>
                    <a:lnTo>
                      <a:pt x="787" y="398"/>
                    </a:lnTo>
                    <a:lnTo>
                      <a:pt x="786" y="394"/>
                    </a:lnTo>
                    <a:lnTo>
                      <a:pt x="786" y="394"/>
                    </a:lnTo>
                    <a:lnTo>
                      <a:pt x="784" y="393"/>
                    </a:lnTo>
                    <a:lnTo>
                      <a:pt x="786" y="391"/>
                    </a:lnTo>
                    <a:lnTo>
                      <a:pt x="791" y="391"/>
                    </a:lnTo>
                    <a:lnTo>
                      <a:pt x="800" y="394"/>
                    </a:lnTo>
                    <a:lnTo>
                      <a:pt x="808" y="397"/>
                    </a:lnTo>
                    <a:lnTo>
                      <a:pt x="808" y="397"/>
                    </a:lnTo>
                    <a:lnTo>
                      <a:pt x="813" y="398"/>
                    </a:lnTo>
                    <a:lnTo>
                      <a:pt x="817" y="398"/>
                    </a:lnTo>
                    <a:lnTo>
                      <a:pt x="818" y="395"/>
                    </a:lnTo>
                    <a:lnTo>
                      <a:pt x="821" y="394"/>
                    </a:lnTo>
                    <a:lnTo>
                      <a:pt x="823" y="387"/>
                    </a:lnTo>
                    <a:lnTo>
                      <a:pt x="824" y="381"/>
                    </a:lnTo>
                    <a:lnTo>
                      <a:pt x="824" y="381"/>
                    </a:lnTo>
                    <a:lnTo>
                      <a:pt x="823" y="378"/>
                    </a:lnTo>
                    <a:lnTo>
                      <a:pt x="820" y="377"/>
                    </a:lnTo>
                    <a:lnTo>
                      <a:pt x="808" y="376"/>
                    </a:lnTo>
                    <a:lnTo>
                      <a:pt x="797" y="377"/>
                    </a:lnTo>
                    <a:lnTo>
                      <a:pt x="790" y="378"/>
                    </a:lnTo>
                    <a:lnTo>
                      <a:pt x="786" y="380"/>
                    </a:lnTo>
                    <a:lnTo>
                      <a:pt x="786" y="380"/>
                    </a:lnTo>
                    <a:lnTo>
                      <a:pt x="781" y="381"/>
                    </a:lnTo>
                    <a:lnTo>
                      <a:pt x="777" y="381"/>
                    </a:lnTo>
                    <a:lnTo>
                      <a:pt x="774" y="380"/>
                    </a:lnTo>
                    <a:lnTo>
                      <a:pt x="771" y="378"/>
                    </a:lnTo>
                    <a:lnTo>
                      <a:pt x="770" y="376"/>
                    </a:lnTo>
                    <a:lnTo>
                      <a:pt x="771" y="373"/>
                    </a:lnTo>
                    <a:lnTo>
                      <a:pt x="773" y="371"/>
                    </a:lnTo>
                    <a:lnTo>
                      <a:pt x="779" y="370"/>
                    </a:lnTo>
                    <a:lnTo>
                      <a:pt x="779" y="370"/>
                    </a:lnTo>
                    <a:lnTo>
                      <a:pt x="783" y="368"/>
                    </a:lnTo>
                    <a:lnTo>
                      <a:pt x="786" y="367"/>
                    </a:lnTo>
                    <a:lnTo>
                      <a:pt x="786" y="366"/>
                    </a:lnTo>
                    <a:lnTo>
                      <a:pt x="786" y="364"/>
                    </a:lnTo>
                    <a:lnTo>
                      <a:pt x="784" y="360"/>
                    </a:lnTo>
                    <a:lnTo>
                      <a:pt x="784" y="358"/>
                    </a:lnTo>
                    <a:lnTo>
                      <a:pt x="784" y="357"/>
                    </a:lnTo>
                    <a:lnTo>
                      <a:pt x="784" y="357"/>
                    </a:lnTo>
                    <a:lnTo>
                      <a:pt x="787" y="356"/>
                    </a:lnTo>
                    <a:lnTo>
                      <a:pt x="790" y="357"/>
                    </a:lnTo>
                    <a:lnTo>
                      <a:pt x="800" y="361"/>
                    </a:lnTo>
                    <a:lnTo>
                      <a:pt x="811" y="366"/>
                    </a:lnTo>
                    <a:lnTo>
                      <a:pt x="816" y="367"/>
                    </a:lnTo>
                    <a:lnTo>
                      <a:pt x="820" y="367"/>
                    </a:lnTo>
                    <a:lnTo>
                      <a:pt x="820" y="367"/>
                    </a:lnTo>
                    <a:lnTo>
                      <a:pt x="827" y="366"/>
                    </a:lnTo>
                    <a:lnTo>
                      <a:pt x="834" y="366"/>
                    </a:lnTo>
                    <a:lnTo>
                      <a:pt x="841" y="364"/>
                    </a:lnTo>
                    <a:lnTo>
                      <a:pt x="847" y="360"/>
                    </a:lnTo>
                    <a:lnTo>
                      <a:pt x="847" y="360"/>
                    </a:lnTo>
                    <a:lnTo>
                      <a:pt x="850" y="357"/>
                    </a:lnTo>
                    <a:lnTo>
                      <a:pt x="848" y="356"/>
                    </a:lnTo>
                    <a:lnTo>
                      <a:pt x="845" y="353"/>
                    </a:lnTo>
                    <a:lnTo>
                      <a:pt x="841" y="350"/>
                    </a:lnTo>
                    <a:lnTo>
                      <a:pt x="833" y="346"/>
                    </a:lnTo>
                    <a:lnTo>
                      <a:pt x="825" y="340"/>
                    </a:lnTo>
                    <a:lnTo>
                      <a:pt x="825" y="340"/>
                    </a:lnTo>
                    <a:lnTo>
                      <a:pt x="825" y="339"/>
                    </a:lnTo>
                    <a:lnTo>
                      <a:pt x="828" y="337"/>
                    </a:lnTo>
                    <a:lnTo>
                      <a:pt x="838" y="336"/>
                    </a:lnTo>
                    <a:lnTo>
                      <a:pt x="861" y="337"/>
                    </a:lnTo>
                    <a:lnTo>
                      <a:pt x="861" y="337"/>
                    </a:lnTo>
                    <a:lnTo>
                      <a:pt x="864" y="337"/>
                    </a:lnTo>
                    <a:lnTo>
                      <a:pt x="867" y="336"/>
                    </a:lnTo>
                    <a:lnTo>
                      <a:pt x="870" y="330"/>
                    </a:lnTo>
                    <a:lnTo>
                      <a:pt x="870" y="329"/>
                    </a:lnTo>
                    <a:lnTo>
                      <a:pt x="870" y="327"/>
                    </a:lnTo>
                    <a:lnTo>
                      <a:pt x="868" y="326"/>
                    </a:lnTo>
                    <a:lnTo>
                      <a:pt x="865" y="326"/>
                    </a:lnTo>
                    <a:lnTo>
                      <a:pt x="865" y="326"/>
                    </a:lnTo>
                    <a:lnTo>
                      <a:pt x="862" y="327"/>
                    </a:lnTo>
                    <a:lnTo>
                      <a:pt x="857" y="326"/>
                    </a:lnTo>
                    <a:lnTo>
                      <a:pt x="847" y="322"/>
                    </a:lnTo>
                    <a:lnTo>
                      <a:pt x="841" y="319"/>
                    </a:lnTo>
                    <a:lnTo>
                      <a:pt x="838" y="314"/>
                    </a:lnTo>
                    <a:lnTo>
                      <a:pt x="835" y="312"/>
                    </a:lnTo>
                    <a:lnTo>
                      <a:pt x="837" y="309"/>
                    </a:lnTo>
                    <a:lnTo>
                      <a:pt x="837" y="309"/>
                    </a:lnTo>
                    <a:lnTo>
                      <a:pt x="838" y="306"/>
                    </a:lnTo>
                    <a:lnTo>
                      <a:pt x="841" y="304"/>
                    </a:lnTo>
                    <a:lnTo>
                      <a:pt x="848" y="304"/>
                    </a:lnTo>
                    <a:lnTo>
                      <a:pt x="855" y="306"/>
                    </a:lnTo>
                    <a:lnTo>
                      <a:pt x="860" y="304"/>
                    </a:lnTo>
                    <a:lnTo>
                      <a:pt x="865" y="303"/>
                    </a:lnTo>
                    <a:lnTo>
                      <a:pt x="865" y="303"/>
                    </a:lnTo>
                    <a:lnTo>
                      <a:pt x="868" y="300"/>
                    </a:lnTo>
                    <a:lnTo>
                      <a:pt x="870" y="296"/>
                    </a:lnTo>
                    <a:lnTo>
                      <a:pt x="870" y="292"/>
                    </a:lnTo>
                    <a:lnTo>
                      <a:pt x="868" y="286"/>
                    </a:lnTo>
                    <a:lnTo>
                      <a:pt x="867" y="282"/>
                    </a:lnTo>
                    <a:lnTo>
                      <a:pt x="864" y="277"/>
                    </a:lnTo>
                    <a:lnTo>
                      <a:pt x="860" y="275"/>
                    </a:lnTo>
                    <a:lnTo>
                      <a:pt x="857" y="275"/>
                    </a:lnTo>
                    <a:lnTo>
                      <a:pt x="857" y="275"/>
                    </a:lnTo>
                    <a:lnTo>
                      <a:pt x="840" y="272"/>
                    </a:lnTo>
                    <a:lnTo>
                      <a:pt x="831" y="270"/>
                    </a:lnTo>
                    <a:lnTo>
                      <a:pt x="830" y="269"/>
                    </a:lnTo>
                    <a:lnTo>
                      <a:pt x="828" y="267"/>
                    </a:lnTo>
                    <a:lnTo>
                      <a:pt x="828" y="267"/>
                    </a:lnTo>
                    <a:lnTo>
                      <a:pt x="828" y="265"/>
                    </a:lnTo>
                    <a:lnTo>
                      <a:pt x="825" y="263"/>
                    </a:lnTo>
                    <a:lnTo>
                      <a:pt x="821" y="260"/>
                    </a:lnTo>
                    <a:lnTo>
                      <a:pt x="817" y="257"/>
                    </a:lnTo>
                    <a:lnTo>
                      <a:pt x="816" y="256"/>
                    </a:lnTo>
                    <a:lnTo>
                      <a:pt x="817" y="255"/>
                    </a:lnTo>
                    <a:lnTo>
                      <a:pt x="817" y="255"/>
                    </a:lnTo>
                    <a:lnTo>
                      <a:pt x="818" y="253"/>
                    </a:lnTo>
                    <a:lnTo>
                      <a:pt x="821" y="253"/>
                    </a:lnTo>
                    <a:lnTo>
                      <a:pt x="825" y="255"/>
                    </a:lnTo>
                    <a:lnTo>
                      <a:pt x="831" y="255"/>
                    </a:lnTo>
                    <a:lnTo>
                      <a:pt x="834" y="255"/>
                    </a:lnTo>
                    <a:lnTo>
                      <a:pt x="838" y="252"/>
                    </a:lnTo>
                    <a:lnTo>
                      <a:pt x="838" y="252"/>
                    </a:lnTo>
                    <a:lnTo>
                      <a:pt x="843" y="249"/>
                    </a:lnTo>
                    <a:lnTo>
                      <a:pt x="848" y="249"/>
                    </a:lnTo>
                    <a:lnTo>
                      <a:pt x="861" y="249"/>
                    </a:lnTo>
                    <a:lnTo>
                      <a:pt x="872" y="252"/>
                    </a:lnTo>
                    <a:lnTo>
                      <a:pt x="882" y="252"/>
                    </a:lnTo>
                    <a:lnTo>
                      <a:pt x="882" y="252"/>
                    </a:lnTo>
                    <a:lnTo>
                      <a:pt x="885" y="250"/>
                    </a:lnTo>
                    <a:lnTo>
                      <a:pt x="885" y="248"/>
                    </a:lnTo>
                    <a:lnTo>
                      <a:pt x="885" y="245"/>
                    </a:lnTo>
                    <a:lnTo>
                      <a:pt x="882" y="242"/>
                    </a:lnTo>
                    <a:lnTo>
                      <a:pt x="878" y="236"/>
                    </a:lnTo>
                    <a:lnTo>
                      <a:pt x="875" y="235"/>
                    </a:lnTo>
                    <a:lnTo>
                      <a:pt x="872" y="235"/>
                    </a:lnTo>
                    <a:lnTo>
                      <a:pt x="872" y="235"/>
                    </a:lnTo>
                    <a:lnTo>
                      <a:pt x="865" y="236"/>
                    </a:lnTo>
                    <a:lnTo>
                      <a:pt x="857" y="236"/>
                    </a:lnTo>
                    <a:lnTo>
                      <a:pt x="853" y="236"/>
                    </a:lnTo>
                    <a:lnTo>
                      <a:pt x="850" y="235"/>
                    </a:lnTo>
                    <a:lnTo>
                      <a:pt x="847" y="232"/>
                    </a:lnTo>
                    <a:lnTo>
                      <a:pt x="845" y="229"/>
                    </a:lnTo>
                    <a:lnTo>
                      <a:pt x="845" y="229"/>
                    </a:lnTo>
                    <a:lnTo>
                      <a:pt x="845" y="226"/>
                    </a:lnTo>
                    <a:lnTo>
                      <a:pt x="848" y="225"/>
                    </a:lnTo>
                    <a:lnTo>
                      <a:pt x="855" y="225"/>
                    </a:lnTo>
                    <a:lnTo>
                      <a:pt x="862" y="226"/>
                    </a:lnTo>
                    <a:lnTo>
                      <a:pt x="865" y="225"/>
                    </a:lnTo>
                    <a:lnTo>
                      <a:pt x="868" y="225"/>
                    </a:lnTo>
                    <a:lnTo>
                      <a:pt x="868" y="225"/>
                    </a:lnTo>
                    <a:lnTo>
                      <a:pt x="867" y="222"/>
                    </a:lnTo>
                    <a:lnTo>
                      <a:pt x="864" y="219"/>
                    </a:lnTo>
                    <a:lnTo>
                      <a:pt x="854" y="215"/>
                    </a:lnTo>
                    <a:lnTo>
                      <a:pt x="848" y="213"/>
                    </a:lnTo>
                    <a:lnTo>
                      <a:pt x="843" y="213"/>
                    </a:lnTo>
                    <a:lnTo>
                      <a:pt x="838" y="215"/>
                    </a:lnTo>
                    <a:lnTo>
                      <a:pt x="835" y="218"/>
                    </a:lnTo>
                    <a:lnTo>
                      <a:pt x="835" y="218"/>
                    </a:lnTo>
                    <a:lnTo>
                      <a:pt x="833" y="220"/>
                    </a:lnTo>
                    <a:lnTo>
                      <a:pt x="830" y="222"/>
                    </a:lnTo>
                    <a:lnTo>
                      <a:pt x="827" y="223"/>
                    </a:lnTo>
                    <a:lnTo>
                      <a:pt x="824" y="223"/>
                    </a:lnTo>
                    <a:lnTo>
                      <a:pt x="821" y="223"/>
                    </a:lnTo>
                    <a:lnTo>
                      <a:pt x="820" y="222"/>
                    </a:lnTo>
                    <a:lnTo>
                      <a:pt x="820" y="220"/>
                    </a:lnTo>
                    <a:lnTo>
                      <a:pt x="823" y="218"/>
                    </a:lnTo>
                    <a:lnTo>
                      <a:pt x="823" y="218"/>
                    </a:lnTo>
                    <a:lnTo>
                      <a:pt x="825" y="215"/>
                    </a:lnTo>
                    <a:lnTo>
                      <a:pt x="828" y="212"/>
                    </a:lnTo>
                    <a:lnTo>
                      <a:pt x="831" y="203"/>
                    </a:lnTo>
                    <a:lnTo>
                      <a:pt x="833" y="195"/>
                    </a:lnTo>
                    <a:lnTo>
                      <a:pt x="833" y="188"/>
                    </a:lnTo>
                    <a:lnTo>
                      <a:pt x="833" y="188"/>
                    </a:lnTo>
                    <a:lnTo>
                      <a:pt x="834" y="185"/>
                    </a:lnTo>
                    <a:lnTo>
                      <a:pt x="837" y="184"/>
                    </a:lnTo>
                    <a:lnTo>
                      <a:pt x="848" y="179"/>
                    </a:lnTo>
                    <a:lnTo>
                      <a:pt x="854" y="176"/>
                    </a:lnTo>
                    <a:lnTo>
                      <a:pt x="858" y="174"/>
                    </a:lnTo>
                    <a:lnTo>
                      <a:pt x="861" y="171"/>
                    </a:lnTo>
                    <a:lnTo>
                      <a:pt x="861" y="166"/>
                    </a:lnTo>
                    <a:lnTo>
                      <a:pt x="861" y="166"/>
                    </a:lnTo>
                    <a:lnTo>
                      <a:pt x="861" y="162"/>
                    </a:lnTo>
                    <a:lnTo>
                      <a:pt x="862" y="158"/>
                    </a:lnTo>
                    <a:lnTo>
                      <a:pt x="865" y="155"/>
                    </a:lnTo>
                    <a:lnTo>
                      <a:pt x="868" y="154"/>
                    </a:lnTo>
                    <a:lnTo>
                      <a:pt x="878" y="151"/>
                    </a:lnTo>
                    <a:lnTo>
                      <a:pt x="888" y="151"/>
                    </a:lnTo>
                    <a:lnTo>
                      <a:pt x="888" y="151"/>
                    </a:lnTo>
                    <a:lnTo>
                      <a:pt x="891" y="149"/>
                    </a:lnTo>
                    <a:lnTo>
                      <a:pt x="892" y="148"/>
                    </a:lnTo>
                    <a:lnTo>
                      <a:pt x="891" y="145"/>
                    </a:lnTo>
                    <a:lnTo>
                      <a:pt x="889" y="144"/>
                    </a:lnTo>
                    <a:lnTo>
                      <a:pt x="884" y="139"/>
                    </a:lnTo>
                    <a:lnTo>
                      <a:pt x="881" y="138"/>
                    </a:lnTo>
                    <a:lnTo>
                      <a:pt x="877" y="138"/>
                    </a:lnTo>
                    <a:lnTo>
                      <a:pt x="877" y="138"/>
                    </a:lnTo>
                    <a:lnTo>
                      <a:pt x="868" y="139"/>
                    </a:lnTo>
                    <a:lnTo>
                      <a:pt x="861" y="144"/>
                    </a:lnTo>
                    <a:lnTo>
                      <a:pt x="855" y="147"/>
                    </a:lnTo>
                    <a:lnTo>
                      <a:pt x="853" y="147"/>
                    </a:lnTo>
                    <a:lnTo>
                      <a:pt x="850" y="147"/>
                    </a:lnTo>
                    <a:lnTo>
                      <a:pt x="850" y="147"/>
                    </a:lnTo>
                    <a:lnTo>
                      <a:pt x="850" y="144"/>
                    </a:lnTo>
                    <a:lnTo>
                      <a:pt x="850" y="142"/>
                    </a:lnTo>
                    <a:lnTo>
                      <a:pt x="855" y="138"/>
                    </a:lnTo>
                    <a:lnTo>
                      <a:pt x="864" y="134"/>
                    </a:lnTo>
                    <a:lnTo>
                      <a:pt x="872" y="132"/>
                    </a:lnTo>
                    <a:lnTo>
                      <a:pt x="872" y="132"/>
                    </a:lnTo>
                    <a:lnTo>
                      <a:pt x="892" y="132"/>
                    </a:lnTo>
                    <a:lnTo>
                      <a:pt x="904" y="129"/>
                    </a:lnTo>
                    <a:lnTo>
                      <a:pt x="912" y="127"/>
                    </a:lnTo>
                    <a:lnTo>
                      <a:pt x="912" y="127"/>
                    </a:lnTo>
                    <a:lnTo>
                      <a:pt x="914" y="125"/>
                    </a:lnTo>
                    <a:lnTo>
                      <a:pt x="914" y="124"/>
                    </a:lnTo>
                    <a:lnTo>
                      <a:pt x="907" y="121"/>
                    </a:lnTo>
                    <a:lnTo>
                      <a:pt x="895" y="119"/>
                    </a:lnTo>
                    <a:lnTo>
                      <a:pt x="882" y="119"/>
                    </a:lnTo>
                    <a:lnTo>
                      <a:pt x="882" y="119"/>
                    </a:lnTo>
                    <a:lnTo>
                      <a:pt x="874" y="119"/>
                    </a:lnTo>
                    <a:lnTo>
                      <a:pt x="872" y="119"/>
                    </a:lnTo>
                    <a:lnTo>
                      <a:pt x="872" y="118"/>
                    </a:lnTo>
                    <a:lnTo>
                      <a:pt x="874" y="117"/>
                    </a:lnTo>
                    <a:lnTo>
                      <a:pt x="877" y="115"/>
                    </a:lnTo>
                    <a:lnTo>
                      <a:pt x="891" y="115"/>
                    </a:lnTo>
                    <a:lnTo>
                      <a:pt x="891" y="115"/>
                    </a:lnTo>
                    <a:lnTo>
                      <a:pt x="904" y="114"/>
                    </a:lnTo>
                    <a:lnTo>
                      <a:pt x="911" y="111"/>
                    </a:lnTo>
                    <a:lnTo>
                      <a:pt x="917" y="110"/>
                    </a:lnTo>
                    <a:lnTo>
                      <a:pt x="925" y="108"/>
                    </a:lnTo>
                    <a:lnTo>
                      <a:pt x="925" y="108"/>
                    </a:lnTo>
                    <a:lnTo>
                      <a:pt x="934" y="105"/>
                    </a:lnTo>
                    <a:lnTo>
                      <a:pt x="938" y="102"/>
                    </a:lnTo>
                    <a:lnTo>
                      <a:pt x="941" y="100"/>
                    </a:lnTo>
                    <a:lnTo>
                      <a:pt x="946" y="98"/>
                    </a:lnTo>
                    <a:lnTo>
                      <a:pt x="946" y="98"/>
                    </a:lnTo>
                    <a:lnTo>
                      <a:pt x="956" y="97"/>
                    </a:lnTo>
                    <a:lnTo>
                      <a:pt x="968" y="92"/>
                    </a:lnTo>
                    <a:lnTo>
                      <a:pt x="978" y="87"/>
                    </a:lnTo>
                    <a:lnTo>
                      <a:pt x="981" y="84"/>
                    </a:lnTo>
                    <a:lnTo>
                      <a:pt x="982" y="83"/>
                    </a:lnTo>
                    <a:lnTo>
                      <a:pt x="982" y="83"/>
                    </a:lnTo>
                    <a:lnTo>
                      <a:pt x="981" y="80"/>
                    </a:lnTo>
                    <a:lnTo>
                      <a:pt x="976" y="77"/>
                    </a:lnTo>
                    <a:lnTo>
                      <a:pt x="961" y="73"/>
                    </a:lnTo>
                    <a:lnTo>
                      <a:pt x="944" y="68"/>
                    </a:lnTo>
                    <a:lnTo>
                      <a:pt x="928" y="67"/>
                    </a:lnTo>
                    <a:lnTo>
                      <a:pt x="928" y="67"/>
                    </a:lnTo>
                    <a:close/>
                    <a:moveTo>
                      <a:pt x="336" y="479"/>
                    </a:moveTo>
                    <a:lnTo>
                      <a:pt x="336" y="479"/>
                    </a:lnTo>
                    <a:lnTo>
                      <a:pt x="336" y="477"/>
                    </a:lnTo>
                    <a:lnTo>
                      <a:pt x="335" y="475"/>
                    </a:lnTo>
                    <a:lnTo>
                      <a:pt x="332" y="474"/>
                    </a:lnTo>
                    <a:lnTo>
                      <a:pt x="328" y="472"/>
                    </a:lnTo>
                    <a:lnTo>
                      <a:pt x="326" y="471"/>
                    </a:lnTo>
                    <a:lnTo>
                      <a:pt x="323" y="468"/>
                    </a:lnTo>
                    <a:lnTo>
                      <a:pt x="323" y="468"/>
                    </a:lnTo>
                    <a:lnTo>
                      <a:pt x="320" y="464"/>
                    </a:lnTo>
                    <a:lnTo>
                      <a:pt x="318" y="462"/>
                    </a:lnTo>
                    <a:lnTo>
                      <a:pt x="308" y="458"/>
                    </a:lnTo>
                    <a:lnTo>
                      <a:pt x="298" y="458"/>
                    </a:lnTo>
                    <a:lnTo>
                      <a:pt x="293" y="459"/>
                    </a:lnTo>
                    <a:lnTo>
                      <a:pt x="292" y="462"/>
                    </a:lnTo>
                    <a:lnTo>
                      <a:pt x="292" y="462"/>
                    </a:lnTo>
                    <a:lnTo>
                      <a:pt x="288" y="467"/>
                    </a:lnTo>
                    <a:lnTo>
                      <a:pt x="288" y="471"/>
                    </a:lnTo>
                    <a:lnTo>
                      <a:pt x="288" y="474"/>
                    </a:lnTo>
                    <a:lnTo>
                      <a:pt x="291" y="475"/>
                    </a:lnTo>
                    <a:lnTo>
                      <a:pt x="291" y="475"/>
                    </a:lnTo>
                    <a:lnTo>
                      <a:pt x="295" y="479"/>
                    </a:lnTo>
                    <a:lnTo>
                      <a:pt x="298" y="481"/>
                    </a:lnTo>
                    <a:lnTo>
                      <a:pt x="302" y="482"/>
                    </a:lnTo>
                    <a:lnTo>
                      <a:pt x="308" y="487"/>
                    </a:lnTo>
                    <a:lnTo>
                      <a:pt x="308" y="487"/>
                    </a:lnTo>
                    <a:lnTo>
                      <a:pt x="311" y="488"/>
                    </a:lnTo>
                    <a:lnTo>
                      <a:pt x="315" y="489"/>
                    </a:lnTo>
                    <a:lnTo>
                      <a:pt x="325" y="488"/>
                    </a:lnTo>
                    <a:lnTo>
                      <a:pt x="333" y="485"/>
                    </a:lnTo>
                    <a:lnTo>
                      <a:pt x="335" y="482"/>
                    </a:lnTo>
                    <a:lnTo>
                      <a:pt x="336" y="479"/>
                    </a:lnTo>
                    <a:lnTo>
                      <a:pt x="336" y="479"/>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91" name="Italy"/>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98" name="Spain"/>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499" name="Portugal"/>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500" name="United Kingdom"/>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505" name="Russia"/>
              <p:cNvSpPr>
                <a:spLocks noEditPoints="1"/>
              </p:cNvSpPr>
              <p:nvPr/>
            </p:nvSpPr>
            <p:spPr bwMode="auto">
              <a:xfrm>
                <a:off x="4783609" y="1922849"/>
                <a:ext cx="4050169" cy="1342164"/>
              </a:xfrm>
              <a:custGeom>
                <a:avLst/>
                <a:gdLst/>
                <a:ahLst/>
                <a:cxnLst>
                  <a:cxn ang="0">
                    <a:pos x="819" y="141"/>
                  </a:cxn>
                  <a:cxn ang="0">
                    <a:pos x="1960" y="651"/>
                  </a:cxn>
                  <a:cxn ang="0">
                    <a:pos x="1975" y="749"/>
                  </a:cxn>
                  <a:cxn ang="0">
                    <a:pos x="2636" y="306"/>
                  </a:cxn>
                  <a:cxn ang="0">
                    <a:pos x="2384" y="256"/>
                  </a:cxn>
                  <a:cxn ang="0">
                    <a:pos x="2159" y="217"/>
                  </a:cxn>
                  <a:cxn ang="0">
                    <a:pos x="2014" y="180"/>
                  </a:cxn>
                  <a:cxn ang="0">
                    <a:pos x="1912" y="202"/>
                  </a:cxn>
                  <a:cxn ang="0">
                    <a:pos x="1750" y="202"/>
                  </a:cxn>
                  <a:cxn ang="0">
                    <a:pos x="1671" y="126"/>
                  </a:cxn>
                  <a:cxn ang="0">
                    <a:pos x="1495" y="139"/>
                  </a:cxn>
                  <a:cxn ang="0">
                    <a:pos x="1388" y="138"/>
                  </a:cxn>
                  <a:cxn ang="0">
                    <a:pos x="1472" y="38"/>
                  </a:cxn>
                  <a:cxn ang="0">
                    <a:pos x="1330" y="1"/>
                  </a:cxn>
                  <a:cxn ang="0">
                    <a:pos x="1209" y="52"/>
                  </a:cxn>
                  <a:cxn ang="0">
                    <a:pos x="1078" y="99"/>
                  </a:cxn>
                  <a:cxn ang="0">
                    <a:pos x="990" y="155"/>
                  </a:cxn>
                  <a:cxn ang="0">
                    <a:pos x="946" y="206"/>
                  </a:cxn>
                  <a:cxn ang="0">
                    <a:pos x="881" y="236"/>
                  </a:cxn>
                  <a:cxn ang="0">
                    <a:pos x="898" y="276"/>
                  </a:cxn>
                  <a:cxn ang="0">
                    <a:pos x="839" y="335"/>
                  </a:cxn>
                  <a:cxn ang="0">
                    <a:pos x="855" y="190"/>
                  </a:cxn>
                  <a:cxn ang="0">
                    <a:pos x="797" y="274"/>
                  </a:cxn>
                  <a:cxn ang="0">
                    <a:pos x="653" y="280"/>
                  </a:cxn>
                  <a:cxn ang="0">
                    <a:pos x="529" y="287"/>
                  </a:cxn>
                  <a:cxn ang="0">
                    <a:pos x="407" y="281"/>
                  </a:cxn>
                  <a:cxn ang="0">
                    <a:pos x="327" y="374"/>
                  </a:cxn>
                  <a:cxn ang="0">
                    <a:pos x="240" y="374"/>
                  </a:cxn>
                  <a:cxn ang="0">
                    <a:pos x="333" y="299"/>
                  </a:cxn>
                  <a:cxn ang="0">
                    <a:pos x="178" y="250"/>
                  </a:cxn>
                  <a:cxn ang="0">
                    <a:pos x="168" y="384"/>
                  </a:cxn>
                  <a:cxn ang="0">
                    <a:pos x="137" y="510"/>
                  </a:cxn>
                  <a:cxn ang="0">
                    <a:pos x="185" y="633"/>
                  </a:cxn>
                  <a:cxn ang="0">
                    <a:pos x="262" y="721"/>
                  </a:cxn>
                  <a:cxn ang="0">
                    <a:pos x="310" y="789"/>
                  </a:cxn>
                  <a:cxn ang="0">
                    <a:pos x="410" y="879"/>
                  </a:cxn>
                  <a:cxn ang="0">
                    <a:pos x="454" y="776"/>
                  </a:cxn>
                  <a:cxn ang="0">
                    <a:pos x="514" y="700"/>
                  </a:cxn>
                  <a:cxn ang="0">
                    <a:pos x="666" y="718"/>
                  </a:cxn>
                  <a:cxn ang="0">
                    <a:pos x="780" y="626"/>
                  </a:cxn>
                  <a:cxn ang="0">
                    <a:pos x="882" y="654"/>
                  </a:cxn>
                  <a:cxn ang="0">
                    <a:pos x="1053" y="737"/>
                  </a:cxn>
                  <a:cxn ang="0">
                    <a:pos x="1229" y="738"/>
                  </a:cxn>
                  <a:cxn ang="0">
                    <a:pos x="1373" y="727"/>
                  </a:cxn>
                  <a:cxn ang="0">
                    <a:pos x="1578" y="734"/>
                  </a:cxn>
                  <a:cxn ang="0">
                    <a:pos x="1720" y="728"/>
                  </a:cxn>
                  <a:cxn ang="0">
                    <a:pos x="1809" y="828"/>
                  </a:cxn>
                  <a:cxn ang="0">
                    <a:pos x="1935" y="707"/>
                  </a:cxn>
                  <a:cxn ang="0">
                    <a:pos x="1871" y="650"/>
                  </a:cxn>
                  <a:cxn ang="0">
                    <a:pos x="2054" y="525"/>
                  </a:cxn>
                  <a:cxn ang="0">
                    <a:pos x="2182" y="488"/>
                  </a:cxn>
                  <a:cxn ang="0">
                    <a:pos x="2329" y="446"/>
                  </a:cxn>
                  <a:cxn ang="0">
                    <a:pos x="2178" y="648"/>
                  </a:cxn>
                  <a:cxn ang="0">
                    <a:pos x="2286" y="599"/>
                  </a:cxn>
                  <a:cxn ang="0">
                    <a:pos x="2361" y="502"/>
                  </a:cxn>
                  <a:cxn ang="0">
                    <a:pos x="2551" y="419"/>
                  </a:cxn>
                  <a:cxn ang="0">
                    <a:pos x="2593" y="350"/>
                  </a:cxn>
                  <a:cxn ang="0">
                    <a:pos x="2696" y="385"/>
                  </a:cxn>
                  <a:cxn ang="0">
                    <a:pos x="1370" y="675"/>
                  </a:cxn>
                  <a:cxn ang="0">
                    <a:pos x="531" y="176"/>
                  </a:cxn>
                  <a:cxn ang="0">
                    <a:pos x="593" y="152"/>
                  </a:cxn>
                  <a:cxn ang="0">
                    <a:pos x="721" y="44"/>
                  </a:cxn>
                  <a:cxn ang="0">
                    <a:pos x="560" y="128"/>
                  </a:cxn>
                </a:cxnLst>
                <a:rect l="0" t="0" r="r" b="b"/>
                <a:pathLst>
                  <a:path w="2737" h="907">
                    <a:moveTo>
                      <a:pt x="41" y="619"/>
                    </a:moveTo>
                    <a:lnTo>
                      <a:pt x="41" y="619"/>
                    </a:lnTo>
                    <a:lnTo>
                      <a:pt x="38" y="619"/>
                    </a:lnTo>
                    <a:lnTo>
                      <a:pt x="36" y="617"/>
                    </a:lnTo>
                    <a:lnTo>
                      <a:pt x="31" y="614"/>
                    </a:lnTo>
                    <a:lnTo>
                      <a:pt x="31" y="614"/>
                    </a:lnTo>
                    <a:lnTo>
                      <a:pt x="30" y="613"/>
                    </a:lnTo>
                    <a:lnTo>
                      <a:pt x="27" y="613"/>
                    </a:lnTo>
                    <a:lnTo>
                      <a:pt x="21" y="614"/>
                    </a:lnTo>
                    <a:lnTo>
                      <a:pt x="21" y="614"/>
                    </a:lnTo>
                    <a:lnTo>
                      <a:pt x="24" y="616"/>
                    </a:lnTo>
                    <a:lnTo>
                      <a:pt x="24" y="616"/>
                    </a:lnTo>
                    <a:lnTo>
                      <a:pt x="24" y="617"/>
                    </a:lnTo>
                    <a:lnTo>
                      <a:pt x="24" y="619"/>
                    </a:lnTo>
                    <a:lnTo>
                      <a:pt x="21" y="620"/>
                    </a:lnTo>
                    <a:lnTo>
                      <a:pt x="18" y="621"/>
                    </a:lnTo>
                    <a:lnTo>
                      <a:pt x="18" y="623"/>
                    </a:lnTo>
                    <a:lnTo>
                      <a:pt x="18" y="624"/>
                    </a:lnTo>
                    <a:lnTo>
                      <a:pt x="18" y="624"/>
                    </a:lnTo>
                    <a:lnTo>
                      <a:pt x="20" y="626"/>
                    </a:lnTo>
                    <a:lnTo>
                      <a:pt x="18" y="627"/>
                    </a:lnTo>
                    <a:lnTo>
                      <a:pt x="17" y="629"/>
                    </a:lnTo>
                    <a:lnTo>
                      <a:pt x="13" y="627"/>
                    </a:lnTo>
                    <a:lnTo>
                      <a:pt x="11" y="627"/>
                    </a:lnTo>
                    <a:lnTo>
                      <a:pt x="11" y="624"/>
                    </a:lnTo>
                    <a:lnTo>
                      <a:pt x="11" y="624"/>
                    </a:lnTo>
                    <a:lnTo>
                      <a:pt x="11" y="623"/>
                    </a:lnTo>
                    <a:lnTo>
                      <a:pt x="10" y="623"/>
                    </a:lnTo>
                    <a:lnTo>
                      <a:pt x="6" y="623"/>
                    </a:lnTo>
                    <a:lnTo>
                      <a:pt x="1" y="623"/>
                    </a:lnTo>
                    <a:lnTo>
                      <a:pt x="0" y="626"/>
                    </a:lnTo>
                    <a:lnTo>
                      <a:pt x="0" y="626"/>
                    </a:lnTo>
                    <a:lnTo>
                      <a:pt x="0" y="630"/>
                    </a:lnTo>
                    <a:lnTo>
                      <a:pt x="0" y="630"/>
                    </a:lnTo>
                    <a:lnTo>
                      <a:pt x="7" y="633"/>
                    </a:lnTo>
                    <a:lnTo>
                      <a:pt x="7" y="633"/>
                    </a:lnTo>
                    <a:lnTo>
                      <a:pt x="26" y="634"/>
                    </a:lnTo>
                    <a:lnTo>
                      <a:pt x="38" y="634"/>
                    </a:lnTo>
                    <a:lnTo>
                      <a:pt x="50" y="634"/>
                    </a:lnTo>
                    <a:lnTo>
                      <a:pt x="50" y="634"/>
                    </a:lnTo>
                    <a:lnTo>
                      <a:pt x="50" y="629"/>
                    </a:lnTo>
                    <a:lnTo>
                      <a:pt x="50" y="623"/>
                    </a:lnTo>
                    <a:lnTo>
                      <a:pt x="50" y="623"/>
                    </a:lnTo>
                    <a:lnTo>
                      <a:pt x="48" y="621"/>
                    </a:lnTo>
                    <a:lnTo>
                      <a:pt x="47" y="620"/>
                    </a:lnTo>
                    <a:lnTo>
                      <a:pt x="43" y="619"/>
                    </a:lnTo>
                    <a:lnTo>
                      <a:pt x="41" y="619"/>
                    </a:lnTo>
                    <a:lnTo>
                      <a:pt x="41" y="619"/>
                    </a:lnTo>
                    <a:close/>
                    <a:moveTo>
                      <a:pt x="819" y="152"/>
                    </a:moveTo>
                    <a:lnTo>
                      <a:pt x="819" y="152"/>
                    </a:lnTo>
                    <a:lnTo>
                      <a:pt x="825" y="152"/>
                    </a:lnTo>
                    <a:lnTo>
                      <a:pt x="832" y="151"/>
                    </a:lnTo>
                    <a:lnTo>
                      <a:pt x="839" y="148"/>
                    </a:lnTo>
                    <a:lnTo>
                      <a:pt x="844" y="146"/>
                    </a:lnTo>
                    <a:lnTo>
                      <a:pt x="844" y="146"/>
                    </a:lnTo>
                    <a:lnTo>
                      <a:pt x="844" y="145"/>
                    </a:lnTo>
                    <a:lnTo>
                      <a:pt x="844" y="143"/>
                    </a:lnTo>
                    <a:lnTo>
                      <a:pt x="839" y="141"/>
                    </a:lnTo>
                    <a:lnTo>
                      <a:pt x="834" y="139"/>
                    </a:lnTo>
                    <a:lnTo>
                      <a:pt x="826" y="139"/>
                    </a:lnTo>
                    <a:lnTo>
                      <a:pt x="826" y="139"/>
                    </a:lnTo>
                    <a:lnTo>
                      <a:pt x="822" y="139"/>
                    </a:lnTo>
                    <a:lnTo>
                      <a:pt x="819" y="141"/>
                    </a:lnTo>
                    <a:lnTo>
                      <a:pt x="818" y="142"/>
                    </a:lnTo>
                    <a:lnTo>
                      <a:pt x="817" y="145"/>
                    </a:lnTo>
                    <a:lnTo>
                      <a:pt x="817" y="149"/>
                    </a:lnTo>
                    <a:lnTo>
                      <a:pt x="817" y="151"/>
                    </a:lnTo>
                    <a:lnTo>
                      <a:pt x="819" y="152"/>
                    </a:lnTo>
                    <a:lnTo>
                      <a:pt x="819" y="152"/>
                    </a:lnTo>
                    <a:close/>
                    <a:moveTo>
                      <a:pt x="957" y="159"/>
                    </a:moveTo>
                    <a:lnTo>
                      <a:pt x="957" y="159"/>
                    </a:lnTo>
                    <a:lnTo>
                      <a:pt x="963" y="161"/>
                    </a:lnTo>
                    <a:lnTo>
                      <a:pt x="966" y="161"/>
                    </a:lnTo>
                    <a:lnTo>
                      <a:pt x="969" y="158"/>
                    </a:lnTo>
                    <a:lnTo>
                      <a:pt x="970" y="153"/>
                    </a:lnTo>
                    <a:lnTo>
                      <a:pt x="970" y="153"/>
                    </a:lnTo>
                    <a:lnTo>
                      <a:pt x="969" y="151"/>
                    </a:lnTo>
                    <a:lnTo>
                      <a:pt x="966" y="151"/>
                    </a:lnTo>
                    <a:lnTo>
                      <a:pt x="960" y="152"/>
                    </a:lnTo>
                    <a:lnTo>
                      <a:pt x="956" y="155"/>
                    </a:lnTo>
                    <a:lnTo>
                      <a:pt x="956" y="158"/>
                    </a:lnTo>
                    <a:lnTo>
                      <a:pt x="957" y="159"/>
                    </a:lnTo>
                    <a:lnTo>
                      <a:pt x="957" y="159"/>
                    </a:lnTo>
                    <a:close/>
                    <a:moveTo>
                      <a:pt x="464" y="273"/>
                    </a:moveTo>
                    <a:lnTo>
                      <a:pt x="464" y="273"/>
                    </a:lnTo>
                    <a:lnTo>
                      <a:pt x="468" y="276"/>
                    </a:lnTo>
                    <a:lnTo>
                      <a:pt x="472" y="277"/>
                    </a:lnTo>
                    <a:lnTo>
                      <a:pt x="477" y="276"/>
                    </a:lnTo>
                    <a:lnTo>
                      <a:pt x="481" y="274"/>
                    </a:lnTo>
                    <a:lnTo>
                      <a:pt x="488" y="270"/>
                    </a:lnTo>
                    <a:lnTo>
                      <a:pt x="494" y="267"/>
                    </a:lnTo>
                    <a:lnTo>
                      <a:pt x="494" y="267"/>
                    </a:lnTo>
                    <a:lnTo>
                      <a:pt x="495" y="266"/>
                    </a:lnTo>
                    <a:lnTo>
                      <a:pt x="495" y="264"/>
                    </a:lnTo>
                    <a:lnTo>
                      <a:pt x="492" y="262"/>
                    </a:lnTo>
                    <a:lnTo>
                      <a:pt x="486" y="259"/>
                    </a:lnTo>
                    <a:lnTo>
                      <a:pt x="479" y="256"/>
                    </a:lnTo>
                    <a:lnTo>
                      <a:pt x="479" y="256"/>
                    </a:lnTo>
                    <a:lnTo>
                      <a:pt x="475" y="256"/>
                    </a:lnTo>
                    <a:lnTo>
                      <a:pt x="471" y="256"/>
                    </a:lnTo>
                    <a:lnTo>
                      <a:pt x="467" y="257"/>
                    </a:lnTo>
                    <a:lnTo>
                      <a:pt x="464" y="260"/>
                    </a:lnTo>
                    <a:lnTo>
                      <a:pt x="461" y="263"/>
                    </a:lnTo>
                    <a:lnTo>
                      <a:pt x="459" y="266"/>
                    </a:lnTo>
                    <a:lnTo>
                      <a:pt x="461" y="270"/>
                    </a:lnTo>
                    <a:lnTo>
                      <a:pt x="464" y="273"/>
                    </a:lnTo>
                    <a:lnTo>
                      <a:pt x="464" y="273"/>
                    </a:lnTo>
                    <a:close/>
                    <a:moveTo>
                      <a:pt x="1975" y="695"/>
                    </a:moveTo>
                    <a:lnTo>
                      <a:pt x="1975" y="695"/>
                    </a:lnTo>
                    <a:lnTo>
                      <a:pt x="1973" y="690"/>
                    </a:lnTo>
                    <a:lnTo>
                      <a:pt x="1973" y="685"/>
                    </a:lnTo>
                    <a:lnTo>
                      <a:pt x="1976" y="675"/>
                    </a:lnTo>
                    <a:lnTo>
                      <a:pt x="1976" y="667"/>
                    </a:lnTo>
                    <a:lnTo>
                      <a:pt x="1976" y="664"/>
                    </a:lnTo>
                    <a:lnTo>
                      <a:pt x="1973" y="661"/>
                    </a:lnTo>
                    <a:lnTo>
                      <a:pt x="1973" y="661"/>
                    </a:lnTo>
                    <a:lnTo>
                      <a:pt x="1970" y="658"/>
                    </a:lnTo>
                    <a:lnTo>
                      <a:pt x="1967" y="654"/>
                    </a:lnTo>
                    <a:lnTo>
                      <a:pt x="1966" y="648"/>
                    </a:lnTo>
                    <a:lnTo>
                      <a:pt x="1965" y="643"/>
                    </a:lnTo>
                    <a:lnTo>
                      <a:pt x="1965" y="641"/>
                    </a:lnTo>
                    <a:lnTo>
                      <a:pt x="1963" y="643"/>
                    </a:lnTo>
                    <a:lnTo>
                      <a:pt x="1963" y="643"/>
                    </a:lnTo>
                    <a:lnTo>
                      <a:pt x="1962" y="644"/>
                    </a:lnTo>
                    <a:lnTo>
                      <a:pt x="1960" y="646"/>
                    </a:lnTo>
                    <a:lnTo>
                      <a:pt x="1960" y="651"/>
                    </a:lnTo>
                    <a:lnTo>
                      <a:pt x="1959" y="656"/>
                    </a:lnTo>
                    <a:lnTo>
                      <a:pt x="1957" y="658"/>
                    </a:lnTo>
                    <a:lnTo>
                      <a:pt x="1955" y="658"/>
                    </a:lnTo>
                    <a:lnTo>
                      <a:pt x="1955" y="658"/>
                    </a:lnTo>
                    <a:lnTo>
                      <a:pt x="1953" y="660"/>
                    </a:lnTo>
                    <a:lnTo>
                      <a:pt x="1952" y="661"/>
                    </a:lnTo>
                    <a:lnTo>
                      <a:pt x="1952" y="664"/>
                    </a:lnTo>
                    <a:lnTo>
                      <a:pt x="1952" y="670"/>
                    </a:lnTo>
                    <a:lnTo>
                      <a:pt x="1952" y="677"/>
                    </a:lnTo>
                    <a:lnTo>
                      <a:pt x="1952" y="677"/>
                    </a:lnTo>
                    <a:lnTo>
                      <a:pt x="1950" y="684"/>
                    </a:lnTo>
                    <a:lnTo>
                      <a:pt x="1952" y="693"/>
                    </a:lnTo>
                    <a:lnTo>
                      <a:pt x="1955" y="701"/>
                    </a:lnTo>
                    <a:lnTo>
                      <a:pt x="1957" y="708"/>
                    </a:lnTo>
                    <a:lnTo>
                      <a:pt x="1957" y="708"/>
                    </a:lnTo>
                    <a:lnTo>
                      <a:pt x="1957" y="712"/>
                    </a:lnTo>
                    <a:lnTo>
                      <a:pt x="1957" y="720"/>
                    </a:lnTo>
                    <a:lnTo>
                      <a:pt x="1956" y="740"/>
                    </a:lnTo>
                    <a:lnTo>
                      <a:pt x="1955" y="758"/>
                    </a:lnTo>
                    <a:lnTo>
                      <a:pt x="1955" y="765"/>
                    </a:lnTo>
                    <a:lnTo>
                      <a:pt x="1956" y="769"/>
                    </a:lnTo>
                    <a:lnTo>
                      <a:pt x="1956" y="769"/>
                    </a:lnTo>
                    <a:lnTo>
                      <a:pt x="1956" y="774"/>
                    </a:lnTo>
                    <a:lnTo>
                      <a:pt x="1956" y="779"/>
                    </a:lnTo>
                    <a:lnTo>
                      <a:pt x="1955" y="794"/>
                    </a:lnTo>
                    <a:lnTo>
                      <a:pt x="1952" y="808"/>
                    </a:lnTo>
                    <a:lnTo>
                      <a:pt x="1952" y="812"/>
                    </a:lnTo>
                    <a:lnTo>
                      <a:pt x="1953" y="815"/>
                    </a:lnTo>
                    <a:lnTo>
                      <a:pt x="1953" y="815"/>
                    </a:lnTo>
                    <a:lnTo>
                      <a:pt x="1955" y="816"/>
                    </a:lnTo>
                    <a:lnTo>
                      <a:pt x="1956" y="816"/>
                    </a:lnTo>
                    <a:lnTo>
                      <a:pt x="1956" y="812"/>
                    </a:lnTo>
                    <a:lnTo>
                      <a:pt x="1959" y="808"/>
                    </a:lnTo>
                    <a:lnTo>
                      <a:pt x="1960" y="805"/>
                    </a:lnTo>
                    <a:lnTo>
                      <a:pt x="1963" y="805"/>
                    </a:lnTo>
                    <a:lnTo>
                      <a:pt x="1963" y="805"/>
                    </a:lnTo>
                    <a:lnTo>
                      <a:pt x="1966" y="805"/>
                    </a:lnTo>
                    <a:lnTo>
                      <a:pt x="1967" y="805"/>
                    </a:lnTo>
                    <a:lnTo>
                      <a:pt x="1972" y="809"/>
                    </a:lnTo>
                    <a:lnTo>
                      <a:pt x="1973" y="813"/>
                    </a:lnTo>
                    <a:lnTo>
                      <a:pt x="1977" y="816"/>
                    </a:lnTo>
                    <a:lnTo>
                      <a:pt x="1977" y="816"/>
                    </a:lnTo>
                    <a:lnTo>
                      <a:pt x="1979" y="816"/>
                    </a:lnTo>
                    <a:lnTo>
                      <a:pt x="1979" y="815"/>
                    </a:lnTo>
                    <a:lnTo>
                      <a:pt x="1979" y="809"/>
                    </a:lnTo>
                    <a:lnTo>
                      <a:pt x="1977" y="804"/>
                    </a:lnTo>
                    <a:lnTo>
                      <a:pt x="1976" y="802"/>
                    </a:lnTo>
                    <a:lnTo>
                      <a:pt x="1975" y="802"/>
                    </a:lnTo>
                    <a:lnTo>
                      <a:pt x="1975" y="802"/>
                    </a:lnTo>
                    <a:lnTo>
                      <a:pt x="1972" y="802"/>
                    </a:lnTo>
                    <a:lnTo>
                      <a:pt x="1970" y="801"/>
                    </a:lnTo>
                    <a:lnTo>
                      <a:pt x="1967" y="795"/>
                    </a:lnTo>
                    <a:lnTo>
                      <a:pt x="1963" y="784"/>
                    </a:lnTo>
                    <a:lnTo>
                      <a:pt x="1963" y="784"/>
                    </a:lnTo>
                    <a:lnTo>
                      <a:pt x="1963" y="776"/>
                    </a:lnTo>
                    <a:lnTo>
                      <a:pt x="1965" y="771"/>
                    </a:lnTo>
                    <a:lnTo>
                      <a:pt x="1966" y="764"/>
                    </a:lnTo>
                    <a:lnTo>
                      <a:pt x="1967" y="757"/>
                    </a:lnTo>
                    <a:lnTo>
                      <a:pt x="1967" y="757"/>
                    </a:lnTo>
                    <a:lnTo>
                      <a:pt x="1969" y="754"/>
                    </a:lnTo>
                    <a:lnTo>
                      <a:pt x="1970" y="752"/>
                    </a:lnTo>
                    <a:lnTo>
                      <a:pt x="1972" y="751"/>
                    </a:lnTo>
                    <a:lnTo>
                      <a:pt x="1975" y="749"/>
                    </a:lnTo>
                    <a:lnTo>
                      <a:pt x="1980" y="751"/>
                    </a:lnTo>
                    <a:lnTo>
                      <a:pt x="1987" y="755"/>
                    </a:lnTo>
                    <a:lnTo>
                      <a:pt x="1987" y="755"/>
                    </a:lnTo>
                    <a:lnTo>
                      <a:pt x="1990" y="758"/>
                    </a:lnTo>
                    <a:lnTo>
                      <a:pt x="1993" y="758"/>
                    </a:lnTo>
                    <a:lnTo>
                      <a:pt x="1993" y="755"/>
                    </a:lnTo>
                    <a:lnTo>
                      <a:pt x="1992" y="752"/>
                    </a:lnTo>
                    <a:lnTo>
                      <a:pt x="1992" y="752"/>
                    </a:lnTo>
                    <a:lnTo>
                      <a:pt x="1989" y="742"/>
                    </a:lnTo>
                    <a:lnTo>
                      <a:pt x="1984" y="727"/>
                    </a:lnTo>
                    <a:lnTo>
                      <a:pt x="1975" y="695"/>
                    </a:lnTo>
                    <a:lnTo>
                      <a:pt x="1975" y="695"/>
                    </a:lnTo>
                    <a:close/>
                    <a:moveTo>
                      <a:pt x="2734" y="354"/>
                    </a:moveTo>
                    <a:lnTo>
                      <a:pt x="2734" y="354"/>
                    </a:lnTo>
                    <a:lnTo>
                      <a:pt x="2723" y="347"/>
                    </a:lnTo>
                    <a:lnTo>
                      <a:pt x="2716" y="341"/>
                    </a:lnTo>
                    <a:lnTo>
                      <a:pt x="2711" y="337"/>
                    </a:lnTo>
                    <a:lnTo>
                      <a:pt x="2711" y="337"/>
                    </a:lnTo>
                    <a:lnTo>
                      <a:pt x="2709" y="335"/>
                    </a:lnTo>
                    <a:lnTo>
                      <a:pt x="2706" y="333"/>
                    </a:lnTo>
                    <a:lnTo>
                      <a:pt x="2699" y="331"/>
                    </a:lnTo>
                    <a:lnTo>
                      <a:pt x="2691" y="330"/>
                    </a:lnTo>
                    <a:lnTo>
                      <a:pt x="2690" y="331"/>
                    </a:lnTo>
                    <a:lnTo>
                      <a:pt x="2689" y="331"/>
                    </a:lnTo>
                    <a:lnTo>
                      <a:pt x="2689" y="331"/>
                    </a:lnTo>
                    <a:lnTo>
                      <a:pt x="2689" y="333"/>
                    </a:lnTo>
                    <a:lnTo>
                      <a:pt x="2686" y="331"/>
                    </a:lnTo>
                    <a:lnTo>
                      <a:pt x="2683" y="330"/>
                    </a:lnTo>
                    <a:lnTo>
                      <a:pt x="2682" y="328"/>
                    </a:lnTo>
                    <a:lnTo>
                      <a:pt x="2682" y="328"/>
                    </a:lnTo>
                    <a:lnTo>
                      <a:pt x="2677" y="326"/>
                    </a:lnTo>
                    <a:lnTo>
                      <a:pt x="2670" y="326"/>
                    </a:lnTo>
                    <a:lnTo>
                      <a:pt x="2664" y="326"/>
                    </a:lnTo>
                    <a:lnTo>
                      <a:pt x="2662" y="327"/>
                    </a:lnTo>
                    <a:lnTo>
                      <a:pt x="2660" y="327"/>
                    </a:lnTo>
                    <a:lnTo>
                      <a:pt x="2660" y="327"/>
                    </a:lnTo>
                    <a:lnTo>
                      <a:pt x="2662" y="330"/>
                    </a:lnTo>
                    <a:lnTo>
                      <a:pt x="2663" y="331"/>
                    </a:lnTo>
                    <a:lnTo>
                      <a:pt x="2666" y="333"/>
                    </a:lnTo>
                    <a:lnTo>
                      <a:pt x="2669" y="335"/>
                    </a:lnTo>
                    <a:lnTo>
                      <a:pt x="2669" y="335"/>
                    </a:lnTo>
                    <a:lnTo>
                      <a:pt x="2669" y="337"/>
                    </a:lnTo>
                    <a:lnTo>
                      <a:pt x="2667" y="340"/>
                    </a:lnTo>
                    <a:lnTo>
                      <a:pt x="2666" y="343"/>
                    </a:lnTo>
                    <a:lnTo>
                      <a:pt x="2666" y="345"/>
                    </a:lnTo>
                    <a:lnTo>
                      <a:pt x="2666" y="345"/>
                    </a:lnTo>
                    <a:lnTo>
                      <a:pt x="2666" y="347"/>
                    </a:lnTo>
                    <a:lnTo>
                      <a:pt x="2664" y="347"/>
                    </a:lnTo>
                    <a:lnTo>
                      <a:pt x="2662" y="345"/>
                    </a:lnTo>
                    <a:lnTo>
                      <a:pt x="2656" y="341"/>
                    </a:lnTo>
                    <a:lnTo>
                      <a:pt x="2656" y="341"/>
                    </a:lnTo>
                    <a:lnTo>
                      <a:pt x="2654" y="338"/>
                    </a:lnTo>
                    <a:lnTo>
                      <a:pt x="2653" y="333"/>
                    </a:lnTo>
                    <a:lnTo>
                      <a:pt x="2654" y="324"/>
                    </a:lnTo>
                    <a:lnTo>
                      <a:pt x="2654" y="324"/>
                    </a:lnTo>
                    <a:lnTo>
                      <a:pt x="2654" y="321"/>
                    </a:lnTo>
                    <a:lnTo>
                      <a:pt x="2652" y="320"/>
                    </a:lnTo>
                    <a:lnTo>
                      <a:pt x="2650" y="318"/>
                    </a:lnTo>
                    <a:lnTo>
                      <a:pt x="2649" y="316"/>
                    </a:lnTo>
                    <a:lnTo>
                      <a:pt x="2649" y="316"/>
                    </a:lnTo>
                    <a:lnTo>
                      <a:pt x="2647" y="314"/>
                    </a:lnTo>
                    <a:lnTo>
                      <a:pt x="2645" y="311"/>
                    </a:lnTo>
                    <a:lnTo>
                      <a:pt x="2636" y="306"/>
                    </a:lnTo>
                    <a:lnTo>
                      <a:pt x="2618" y="297"/>
                    </a:lnTo>
                    <a:lnTo>
                      <a:pt x="2618" y="297"/>
                    </a:lnTo>
                    <a:lnTo>
                      <a:pt x="2603" y="291"/>
                    </a:lnTo>
                    <a:lnTo>
                      <a:pt x="2598" y="289"/>
                    </a:lnTo>
                    <a:lnTo>
                      <a:pt x="2593" y="286"/>
                    </a:lnTo>
                    <a:lnTo>
                      <a:pt x="2593" y="286"/>
                    </a:lnTo>
                    <a:lnTo>
                      <a:pt x="2589" y="283"/>
                    </a:lnTo>
                    <a:lnTo>
                      <a:pt x="2582" y="280"/>
                    </a:lnTo>
                    <a:lnTo>
                      <a:pt x="2575" y="277"/>
                    </a:lnTo>
                    <a:lnTo>
                      <a:pt x="2569" y="274"/>
                    </a:lnTo>
                    <a:lnTo>
                      <a:pt x="2569" y="274"/>
                    </a:lnTo>
                    <a:lnTo>
                      <a:pt x="2561" y="269"/>
                    </a:lnTo>
                    <a:lnTo>
                      <a:pt x="2548" y="263"/>
                    </a:lnTo>
                    <a:lnTo>
                      <a:pt x="2535" y="257"/>
                    </a:lnTo>
                    <a:lnTo>
                      <a:pt x="2524" y="256"/>
                    </a:lnTo>
                    <a:lnTo>
                      <a:pt x="2524" y="256"/>
                    </a:lnTo>
                    <a:lnTo>
                      <a:pt x="2518" y="254"/>
                    </a:lnTo>
                    <a:lnTo>
                      <a:pt x="2514" y="252"/>
                    </a:lnTo>
                    <a:lnTo>
                      <a:pt x="2512" y="250"/>
                    </a:lnTo>
                    <a:lnTo>
                      <a:pt x="2509" y="249"/>
                    </a:lnTo>
                    <a:lnTo>
                      <a:pt x="2509" y="249"/>
                    </a:lnTo>
                    <a:lnTo>
                      <a:pt x="2491" y="249"/>
                    </a:lnTo>
                    <a:lnTo>
                      <a:pt x="2471" y="247"/>
                    </a:lnTo>
                    <a:lnTo>
                      <a:pt x="2471" y="247"/>
                    </a:lnTo>
                    <a:lnTo>
                      <a:pt x="2467" y="249"/>
                    </a:lnTo>
                    <a:lnTo>
                      <a:pt x="2462" y="250"/>
                    </a:lnTo>
                    <a:lnTo>
                      <a:pt x="2460" y="250"/>
                    </a:lnTo>
                    <a:lnTo>
                      <a:pt x="2457" y="250"/>
                    </a:lnTo>
                    <a:lnTo>
                      <a:pt x="2457" y="250"/>
                    </a:lnTo>
                    <a:lnTo>
                      <a:pt x="2437" y="244"/>
                    </a:lnTo>
                    <a:lnTo>
                      <a:pt x="2425" y="242"/>
                    </a:lnTo>
                    <a:lnTo>
                      <a:pt x="2421" y="242"/>
                    </a:lnTo>
                    <a:lnTo>
                      <a:pt x="2420" y="242"/>
                    </a:lnTo>
                    <a:lnTo>
                      <a:pt x="2420" y="242"/>
                    </a:lnTo>
                    <a:lnTo>
                      <a:pt x="2418" y="244"/>
                    </a:lnTo>
                    <a:lnTo>
                      <a:pt x="2417" y="247"/>
                    </a:lnTo>
                    <a:lnTo>
                      <a:pt x="2415" y="250"/>
                    </a:lnTo>
                    <a:lnTo>
                      <a:pt x="2414" y="252"/>
                    </a:lnTo>
                    <a:lnTo>
                      <a:pt x="2414" y="252"/>
                    </a:lnTo>
                    <a:lnTo>
                      <a:pt x="2413" y="253"/>
                    </a:lnTo>
                    <a:lnTo>
                      <a:pt x="2414" y="256"/>
                    </a:lnTo>
                    <a:lnTo>
                      <a:pt x="2423" y="264"/>
                    </a:lnTo>
                    <a:lnTo>
                      <a:pt x="2423" y="264"/>
                    </a:lnTo>
                    <a:lnTo>
                      <a:pt x="2425" y="270"/>
                    </a:lnTo>
                    <a:lnTo>
                      <a:pt x="2427" y="271"/>
                    </a:lnTo>
                    <a:lnTo>
                      <a:pt x="2425" y="274"/>
                    </a:lnTo>
                    <a:lnTo>
                      <a:pt x="2423" y="277"/>
                    </a:lnTo>
                    <a:lnTo>
                      <a:pt x="2418" y="280"/>
                    </a:lnTo>
                    <a:lnTo>
                      <a:pt x="2418" y="280"/>
                    </a:lnTo>
                    <a:lnTo>
                      <a:pt x="2413" y="281"/>
                    </a:lnTo>
                    <a:lnTo>
                      <a:pt x="2406" y="280"/>
                    </a:lnTo>
                    <a:lnTo>
                      <a:pt x="2400" y="276"/>
                    </a:lnTo>
                    <a:lnTo>
                      <a:pt x="2396" y="271"/>
                    </a:lnTo>
                    <a:lnTo>
                      <a:pt x="2396" y="271"/>
                    </a:lnTo>
                    <a:lnTo>
                      <a:pt x="2393" y="269"/>
                    </a:lnTo>
                    <a:lnTo>
                      <a:pt x="2388" y="267"/>
                    </a:lnTo>
                    <a:lnTo>
                      <a:pt x="2383" y="266"/>
                    </a:lnTo>
                    <a:lnTo>
                      <a:pt x="2381" y="264"/>
                    </a:lnTo>
                    <a:lnTo>
                      <a:pt x="2380" y="262"/>
                    </a:lnTo>
                    <a:lnTo>
                      <a:pt x="2380" y="262"/>
                    </a:lnTo>
                    <a:lnTo>
                      <a:pt x="2380" y="257"/>
                    </a:lnTo>
                    <a:lnTo>
                      <a:pt x="2381" y="256"/>
                    </a:lnTo>
                    <a:lnTo>
                      <a:pt x="2384" y="256"/>
                    </a:lnTo>
                    <a:lnTo>
                      <a:pt x="2388" y="257"/>
                    </a:lnTo>
                    <a:lnTo>
                      <a:pt x="2388" y="257"/>
                    </a:lnTo>
                    <a:lnTo>
                      <a:pt x="2391" y="259"/>
                    </a:lnTo>
                    <a:lnTo>
                      <a:pt x="2396" y="259"/>
                    </a:lnTo>
                    <a:lnTo>
                      <a:pt x="2398" y="257"/>
                    </a:lnTo>
                    <a:lnTo>
                      <a:pt x="2400" y="253"/>
                    </a:lnTo>
                    <a:lnTo>
                      <a:pt x="2400" y="253"/>
                    </a:lnTo>
                    <a:lnTo>
                      <a:pt x="2400" y="252"/>
                    </a:lnTo>
                    <a:lnTo>
                      <a:pt x="2398" y="250"/>
                    </a:lnTo>
                    <a:lnTo>
                      <a:pt x="2393" y="247"/>
                    </a:lnTo>
                    <a:lnTo>
                      <a:pt x="2386" y="246"/>
                    </a:lnTo>
                    <a:lnTo>
                      <a:pt x="2380" y="244"/>
                    </a:lnTo>
                    <a:lnTo>
                      <a:pt x="2380" y="244"/>
                    </a:lnTo>
                    <a:lnTo>
                      <a:pt x="2374" y="247"/>
                    </a:lnTo>
                    <a:lnTo>
                      <a:pt x="2370" y="252"/>
                    </a:lnTo>
                    <a:lnTo>
                      <a:pt x="2366" y="256"/>
                    </a:lnTo>
                    <a:lnTo>
                      <a:pt x="2361" y="260"/>
                    </a:lnTo>
                    <a:lnTo>
                      <a:pt x="2361" y="260"/>
                    </a:lnTo>
                    <a:lnTo>
                      <a:pt x="2357" y="262"/>
                    </a:lnTo>
                    <a:lnTo>
                      <a:pt x="2351" y="262"/>
                    </a:lnTo>
                    <a:lnTo>
                      <a:pt x="2339" y="260"/>
                    </a:lnTo>
                    <a:lnTo>
                      <a:pt x="2327" y="257"/>
                    </a:lnTo>
                    <a:lnTo>
                      <a:pt x="2320" y="256"/>
                    </a:lnTo>
                    <a:lnTo>
                      <a:pt x="2320" y="256"/>
                    </a:lnTo>
                    <a:lnTo>
                      <a:pt x="2317" y="254"/>
                    </a:lnTo>
                    <a:lnTo>
                      <a:pt x="2313" y="254"/>
                    </a:lnTo>
                    <a:lnTo>
                      <a:pt x="2297" y="254"/>
                    </a:lnTo>
                    <a:lnTo>
                      <a:pt x="2282" y="256"/>
                    </a:lnTo>
                    <a:lnTo>
                      <a:pt x="2272" y="259"/>
                    </a:lnTo>
                    <a:lnTo>
                      <a:pt x="2272" y="259"/>
                    </a:lnTo>
                    <a:lnTo>
                      <a:pt x="2270" y="262"/>
                    </a:lnTo>
                    <a:lnTo>
                      <a:pt x="2270" y="266"/>
                    </a:lnTo>
                    <a:lnTo>
                      <a:pt x="2270" y="270"/>
                    </a:lnTo>
                    <a:lnTo>
                      <a:pt x="2269" y="273"/>
                    </a:lnTo>
                    <a:lnTo>
                      <a:pt x="2269" y="273"/>
                    </a:lnTo>
                    <a:lnTo>
                      <a:pt x="2268" y="271"/>
                    </a:lnTo>
                    <a:lnTo>
                      <a:pt x="2266" y="267"/>
                    </a:lnTo>
                    <a:lnTo>
                      <a:pt x="2265" y="257"/>
                    </a:lnTo>
                    <a:lnTo>
                      <a:pt x="2265" y="257"/>
                    </a:lnTo>
                    <a:lnTo>
                      <a:pt x="2263" y="256"/>
                    </a:lnTo>
                    <a:lnTo>
                      <a:pt x="2262" y="254"/>
                    </a:lnTo>
                    <a:lnTo>
                      <a:pt x="2252" y="253"/>
                    </a:lnTo>
                    <a:lnTo>
                      <a:pt x="2252" y="253"/>
                    </a:lnTo>
                    <a:lnTo>
                      <a:pt x="2245" y="253"/>
                    </a:lnTo>
                    <a:lnTo>
                      <a:pt x="2243" y="252"/>
                    </a:lnTo>
                    <a:lnTo>
                      <a:pt x="2243" y="250"/>
                    </a:lnTo>
                    <a:lnTo>
                      <a:pt x="2243" y="250"/>
                    </a:lnTo>
                    <a:lnTo>
                      <a:pt x="2245" y="247"/>
                    </a:lnTo>
                    <a:lnTo>
                      <a:pt x="2245" y="244"/>
                    </a:lnTo>
                    <a:lnTo>
                      <a:pt x="2245" y="243"/>
                    </a:lnTo>
                    <a:lnTo>
                      <a:pt x="2246" y="240"/>
                    </a:lnTo>
                    <a:lnTo>
                      <a:pt x="2246" y="240"/>
                    </a:lnTo>
                    <a:lnTo>
                      <a:pt x="2248" y="237"/>
                    </a:lnTo>
                    <a:lnTo>
                      <a:pt x="2248" y="234"/>
                    </a:lnTo>
                    <a:lnTo>
                      <a:pt x="2242" y="229"/>
                    </a:lnTo>
                    <a:lnTo>
                      <a:pt x="2232" y="223"/>
                    </a:lnTo>
                    <a:lnTo>
                      <a:pt x="2221" y="217"/>
                    </a:lnTo>
                    <a:lnTo>
                      <a:pt x="2221" y="217"/>
                    </a:lnTo>
                    <a:lnTo>
                      <a:pt x="2213" y="215"/>
                    </a:lnTo>
                    <a:lnTo>
                      <a:pt x="2206" y="215"/>
                    </a:lnTo>
                    <a:lnTo>
                      <a:pt x="2188" y="213"/>
                    </a:lnTo>
                    <a:lnTo>
                      <a:pt x="2171" y="215"/>
                    </a:lnTo>
                    <a:lnTo>
                      <a:pt x="2159" y="217"/>
                    </a:lnTo>
                    <a:lnTo>
                      <a:pt x="2159" y="217"/>
                    </a:lnTo>
                    <a:lnTo>
                      <a:pt x="2151" y="219"/>
                    </a:lnTo>
                    <a:lnTo>
                      <a:pt x="2141" y="219"/>
                    </a:lnTo>
                    <a:lnTo>
                      <a:pt x="2122" y="219"/>
                    </a:lnTo>
                    <a:lnTo>
                      <a:pt x="2122" y="219"/>
                    </a:lnTo>
                    <a:lnTo>
                      <a:pt x="2118" y="219"/>
                    </a:lnTo>
                    <a:lnTo>
                      <a:pt x="2118" y="217"/>
                    </a:lnTo>
                    <a:lnTo>
                      <a:pt x="2118" y="215"/>
                    </a:lnTo>
                    <a:lnTo>
                      <a:pt x="2118" y="212"/>
                    </a:lnTo>
                    <a:lnTo>
                      <a:pt x="2118" y="212"/>
                    </a:lnTo>
                    <a:lnTo>
                      <a:pt x="2114" y="207"/>
                    </a:lnTo>
                    <a:lnTo>
                      <a:pt x="2108" y="206"/>
                    </a:lnTo>
                    <a:lnTo>
                      <a:pt x="2101" y="205"/>
                    </a:lnTo>
                    <a:lnTo>
                      <a:pt x="2100" y="205"/>
                    </a:lnTo>
                    <a:lnTo>
                      <a:pt x="2098" y="206"/>
                    </a:lnTo>
                    <a:lnTo>
                      <a:pt x="2098" y="206"/>
                    </a:lnTo>
                    <a:lnTo>
                      <a:pt x="2097" y="207"/>
                    </a:lnTo>
                    <a:lnTo>
                      <a:pt x="2094" y="206"/>
                    </a:lnTo>
                    <a:lnTo>
                      <a:pt x="2093" y="205"/>
                    </a:lnTo>
                    <a:lnTo>
                      <a:pt x="2093" y="203"/>
                    </a:lnTo>
                    <a:lnTo>
                      <a:pt x="2093" y="203"/>
                    </a:lnTo>
                    <a:lnTo>
                      <a:pt x="2090" y="200"/>
                    </a:lnTo>
                    <a:lnTo>
                      <a:pt x="2084" y="198"/>
                    </a:lnTo>
                    <a:lnTo>
                      <a:pt x="2077" y="196"/>
                    </a:lnTo>
                    <a:lnTo>
                      <a:pt x="2071" y="196"/>
                    </a:lnTo>
                    <a:lnTo>
                      <a:pt x="2071" y="196"/>
                    </a:lnTo>
                    <a:lnTo>
                      <a:pt x="2068" y="196"/>
                    </a:lnTo>
                    <a:lnTo>
                      <a:pt x="2067" y="195"/>
                    </a:lnTo>
                    <a:lnTo>
                      <a:pt x="2067" y="192"/>
                    </a:lnTo>
                    <a:lnTo>
                      <a:pt x="2070" y="190"/>
                    </a:lnTo>
                    <a:lnTo>
                      <a:pt x="2070" y="190"/>
                    </a:lnTo>
                    <a:lnTo>
                      <a:pt x="2081" y="190"/>
                    </a:lnTo>
                    <a:lnTo>
                      <a:pt x="2083" y="190"/>
                    </a:lnTo>
                    <a:lnTo>
                      <a:pt x="2084" y="189"/>
                    </a:lnTo>
                    <a:lnTo>
                      <a:pt x="2084" y="188"/>
                    </a:lnTo>
                    <a:lnTo>
                      <a:pt x="2083" y="185"/>
                    </a:lnTo>
                    <a:lnTo>
                      <a:pt x="2083" y="185"/>
                    </a:lnTo>
                    <a:lnTo>
                      <a:pt x="2080" y="182"/>
                    </a:lnTo>
                    <a:lnTo>
                      <a:pt x="2074" y="180"/>
                    </a:lnTo>
                    <a:lnTo>
                      <a:pt x="2057" y="178"/>
                    </a:lnTo>
                    <a:lnTo>
                      <a:pt x="2040" y="176"/>
                    </a:lnTo>
                    <a:lnTo>
                      <a:pt x="2031" y="176"/>
                    </a:lnTo>
                    <a:lnTo>
                      <a:pt x="2031" y="176"/>
                    </a:lnTo>
                    <a:lnTo>
                      <a:pt x="2030" y="178"/>
                    </a:lnTo>
                    <a:lnTo>
                      <a:pt x="2029" y="182"/>
                    </a:lnTo>
                    <a:lnTo>
                      <a:pt x="2027" y="186"/>
                    </a:lnTo>
                    <a:lnTo>
                      <a:pt x="2021" y="192"/>
                    </a:lnTo>
                    <a:lnTo>
                      <a:pt x="2021" y="192"/>
                    </a:lnTo>
                    <a:lnTo>
                      <a:pt x="2019" y="195"/>
                    </a:lnTo>
                    <a:lnTo>
                      <a:pt x="2016" y="196"/>
                    </a:lnTo>
                    <a:lnTo>
                      <a:pt x="2011" y="196"/>
                    </a:lnTo>
                    <a:lnTo>
                      <a:pt x="2010" y="196"/>
                    </a:lnTo>
                    <a:lnTo>
                      <a:pt x="2006" y="193"/>
                    </a:lnTo>
                    <a:lnTo>
                      <a:pt x="2004" y="190"/>
                    </a:lnTo>
                    <a:lnTo>
                      <a:pt x="2004" y="190"/>
                    </a:lnTo>
                    <a:lnTo>
                      <a:pt x="2007" y="188"/>
                    </a:lnTo>
                    <a:lnTo>
                      <a:pt x="2011" y="186"/>
                    </a:lnTo>
                    <a:lnTo>
                      <a:pt x="2016" y="185"/>
                    </a:lnTo>
                    <a:lnTo>
                      <a:pt x="2017" y="185"/>
                    </a:lnTo>
                    <a:lnTo>
                      <a:pt x="2017" y="183"/>
                    </a:lnTo>
                    <a:lnTo>
                      <a:pt x="2017" y="183"/>
                    </a:lnTo>
                    <a:lnTo>
                      <a:pt x="2017" y="182"/>
                    </a:lnTo>
                    <a:lnTo>
                      <a:pt x="2014" y="180"/>
                    </a:lnTo>
                    <a:lnTo>
                      <a:pt x="2009" y="179"/>
                    </a:lnTo>
                    <a:lnTo>
                      <a:pt x="2003" y="179"/>
                    </a:lnTo>
                    <a:lnTo>
                      <a:pt x="2000" y="178"/>
                    </a:lnTo>
                    <a:lnTo>
                      <a:pt x="2000" y="178"/>
                    </a:lnTo>
                    <a:lnTo>
                      <a:pt x="1999" y="175"/>
                    </a:lnTo>
                    <a:lnTo>
                      <a:pt x="2002" y="173"/>
                    </a:lnTo>
                    <a:lnTo>
                      <a:pt x="2004" y="172"/>
                    </a:lnTo>
                    <a:lnTo>
                      <a:pt x="2009" y="173"/>
                    </a:lnTo>
                    <a:lnTo>
                      <a:pt x="2009" y="173"/>
                    </a:lnTo>
                    <a:lnTo>
                      <a:pt x="2019" y="175"/>
                    </a:lnTo>
                    <a:lnTo>
                      <a:pt x="2023" y="175"/>
                    </a:lnTo>
                    <a:lnTo>
                      <a:pt x="2024" y="173"/>
                    </a:lnTo>
                    <a:lnTo>
                      <a:pt x="2024" y="173"/>
                    </a:lnTo>
                    <a:lnTo>
                      <a:pt x="2024" y="172"/>
                    </a:lnTo>
                    <a:lnTo>
                      <a:pt x="2020" y="170"/>
                    </a:lnTo>
                    <a:lnTo>
                      <a:pt x="2009" y="168"/>
                    </a:lnTo>
                    <a:lnTo>
                      <a:pt x="2009" y="168"/>
                    </a:lnTo>
                    <a:lnTo>
                      <a:pt x="1987" y="165"/>
                    </a:lnTo>
                    <a:lnTo>
                      <a:pt x="1976" y="162"/>
                    </a:lnTo>
                    <a:lnTo>
                      <a:pt x="1965" y="162"/>
                    </a:lnTo>
                    <a:lnTo>
                      <a:pt x="1965" y="162"/>
                    </a:lnTo>
                    <a:lnTo>
                      <a:pt x="1956" y="162"/>
                    </a:lnTo>
                    <a:lnTo>
                      <a:pt x="1950" y="161"/>
                    </a:lnTo>
                    <a:lnTo>
                      <a:pt x="1945" y="159"/>
                    </a:lnTo>
                    <a:lnTo>
                      <a:pt x="1940" y="158"/>
                    </a:lnTo>
                    <a:lnTo>
                      <a:pt x="1940" y="158"/>
                    </a:lnTo>
                    <a:lnTo>
                      <a:pt x="1936" y="158"/>
                    </a:lnTo>
                    <a:lnTo>
                      <a:pt x="1935" y="159"/>
                    </a:lnTo>
                    <a:lnTo>
                      <a:pt x="1935" y="162"/>
                    </a:lnTo>
                    <a:lnTo>
                      <a:pt x="1938" y="165"/>
                    </a:lnTo>
                    <a:lnTo>
                      <a:pt x="1938" y="165"/>
                    </a:lnTo>
                    <a:lnTo>
                      <a:pt x="1938" y="166"/>
                    </a:lnTo>
                    <a:lnTo>
                      <a:pt x="1938" y="168"/>
                    </a:lnTo>
                    <a:lnTo>
                      <a:pt x="1933" y="169"/>
                    </a:lnTo>
                    <a:lnTo>
                      <a:pt x="1929" y="170"/>
                    </a:lnTo>
                    <a:lnTo>
                      <a:pt x="1923" y="169"/>
                    </a:lnTo>
                    <a:lnTo>
                      <a:pt x="1923" y="169"/>
                    </a:lnTo>
                    <a:lnTo>
                      <a:pt x="1916" y="170"/>
                    </a:lnTo>
                    <a:lnTo>
                      <a:pt x="1910" y="172"/>
                    </a:lnTo>
                    <a:lnTo>
                      <a:pt x="1908" y="176"/>
                    </a:lnTo>
                    <a:lnTo>
                      <a:pt x="1906" y="178"/>
                    </a:lnTo>
                    <a:lnTo>
                      <a:pt x="1908" y="179"/>
                    </a:lnTo>
                    <a:lnTo>
                      <a:pt x="1908" y="179"/>
                    </a:lnTo>
                    <a:lnTo>
                      <a:pt x="1909" y="182"/>
                    </a:lnTo>
                    <a:lnTo>
                      <a:pt x="1912" y="182"/>
                    </a:lnTo>
                    <a:lnTo>
                      <a:pt x="1915" y="180"/>
                    </a:lnTo>
                    <a:lnTo>
                      <a:pt x="1918" y="180"/>
                    </a:lnTo>
                    <a:lnTo>
                      <a:pt x="1920" y="180"/>
                    </a:lnTo>
                    <a:lnTo>
                      <a:pt x="1920" y="180"/>
                    </a:lnTo>
                    <a:lnTo>
                      <a:pt x="1922" y="180"/>
                    </a:lnTo>
                    <a:lnTo>
                      <a:pt x="1920" y="182"/>
                    </a:lnTo>
                    <a:lnTo>
                      <a:pt x="1918" y="183"/>
                    </a:lnTo>
                    <a:lnTo>
                      <a:pt x="1915" y="186"/>
                    </a:lnTo>
                    <a:lnTo>
                      <a:pt x="1915" y="188"/>
                    </a:lnTo>
                    <a:lnTo>
                      <a:pt x="1916" y="189"/>
                    </a:lnTo>
                    <a:lnTo>
                      <a:pt x="1916" y="189"/>
                    </a:lnTo>
                    <a:lnTo>
                      <a:pt x="1919" y="190"/>
                    </a:lnTo>
                    <a:lnTo>
                      <a:pt x="1920" y="193"/>
                    </a:lnTo>
                    <a:lnTo>
                      <a:pt x="1922" y="199"/>
                    </a:lnTo>
                    <a:lnTo>
                      <a:pt x="1922" y="199"/>
                    </a:lnTo>
                    <a:lnTo>
                      <a:pt x="1920" y="202"/>
                    </a:lnTo>
                    <a:lnTo>
                      <a:pt x="1916" y="202"/>
                    </a:lnTo>
                    <a:lnTo>
                      <a:pt x="1912" y="202"/>
                    </a:lnTo>
                    <a:lnTo>
                      <a:pt x="1909" y="199"/>
                    </a:lnTo>
                    <a:lnTo>
                      <a:pt x="1909" y="199"/>
                    </a:lnTo>
                    <a:lnTo>
                      <a:pt x="1905" y="198"/>
                    </a:lnTo>
                    <a:lnTo>
                      <a:pt x="1902" y="198"/>
                    </a:lnTo>
                    <a:lnTo>
                      <a:pt x="1898" y="198"/>
                    </a:lnTo>
                    <a:lnTo>
                      <a:pt x="1893" y="199"/>
                    </a:lnTo>
                    <a:lnTo>
                      <a:pt x="1893" y="199"/>
                    </a:lnTo>
                    <a:lnTo>
                      <a:pt x="1889" y="199"/>
                    </a:lnTo>
                    <a:lnTo>
                      <a:pt x="1886" y="199"/>
                    </a:lnTo>
                    <a:lnTo>
                      <a:pt x="1885" y="200"/>
                    </a:lnTo>
                    <a:lnTo>
                      <a:pt x="1889" y="202"/>
                    </a:lnTo>
                    <a:lnTo>
                      <a:pt x="1889" y="202"/>
                    </a:lnTo>
                    <a:lnTo>
                      <a:pt x="1893" y="203"/>
                    </a:lnTo>
                    <a:lnTo>
                      <a:pt x="1895" y="205"/>
                    </a:lnTo>
                    <a:lnTo>
                      <a:pt x="1893" y="207"/>
                    </a:lnTo>
                    <a:lnTo>
                      <a:pt x="1889" y="209"/>
                    </a:lnTo>
                    <a:lnTo>
                      <a:pt x="1889" y="209"/>
                    </a:lnTo>
                    <a:lnTo>
                      <a:pt x="1886" y="209"/>
                    </a:lnTo>
                    <a:lnTo>
                      <a:pt x="1883" y="207"/>
                    </a:lnTo>
                    <a:lnTo>
                      <a:pt x="1881" y="205"/>
                    </a:lnTo>
                    <a:lnTo>
                      <a:pt x="1879" y="202"/>
                    </a:lnTo>
                    <a:lnTo>
                      <a:pt x="1878" y="200"/>
                    </a:lnTo>
                    <a:lnTo>
                      <a:pt x="1876" y="200"/>
                    </a:lnTo>
                    <a:lnTo>
                      <a:pt x="1876" y="200"/>
                    </a:lnTo>
                    <a:lnTo>
                      <a:pt x="1871" y="200"/>
                    </a:lnTo>
                    <a:lnTo>
                      <a:pt x="1864" y="199"/>
                    </a:lnTo>
                    <a:lnTo>
                      <a:pt x="1856" y="198"/>
                    </a:lnTo>
                    <a:lnTo>
                      <a:pt x="1851" y="196"/>
                    </a:lnTo>
                    <a:lnTo>
                      <a:pt x="1851" y="196"/>
                    </a:lnTo>
                    <a:lnTo>
                      <a:pt x="1846" y="198"/>
                    </a:lnTo>
                    <a:lnTo>
                      <a:pt x="1842" y="199"/>
                    </a:lnTo>
                    <a:lnTo>
                      <a:pt x="1838" y="202"/>
                    </a:lnTo>
                    <a:lnTo>
                      <a:pt x="1832" y="203"/>
                    </a:lnTo>
                    <a:lnTo>
                      <a:pt x="1832" y="203"/>
                    </a:lnTo>
                    <a:lnTo>
                      <a:pt x="1825" y="202"/>
                    </a:lnTo>
                    <a:lnTo>
                      <a:pt x="1818" y="200"/>
                    </a:lnTo>
                    <a:lnTo>
                      <a:pt x="1812" y="198"/>
                    </a:lnTo>
                    <a:lnTo>
                      <a:pt x="1808" y="193"/>
                    </a:lnTo>
                    <a:lnTo>
                      <a:pt x="1808" y="193"/>
                    </a:lnTo>
                    <a:lnTo>
                      <a:pt x="1807" y="190"/>
                    </a:lnTo>
                    <a:lnTo>
                      <a:pt x="1804" y="189"/>
                    </a:lnTo>
                    <a:lnTo>
                      <a:pt x="1802" y="190"/>
                    </a:lnTo>
                    <a:lnTo>
                      <a:pt x="1800" y="193"/>
                    </a:lnTo>
                    <a:lnTo>
                      <a:pt x="1800" y="193"/>
                    </a:lnTo>
                    <a:lnTo>
                      <a:pt x="1797" y="198"/>
                    </a:lnTo>
                    <a:lnTo>
                      <a:pt x="1795" y="203"/>
                    </a:lnTo>
                    <a:lnTo>
                      <a:pt x="1794" y="207"/>
                    </a:lnTo>
                    <a:lnTo>
                      <a:pt x="1791" y="209"/>
                    </a:lnTo>
                    <a:lnTo>
                      <a:pt x="1791" y="209"/>
                    </a:lnTo>
                    <a:lnTo>
                      <a:pt x="1788" y="212"/>
                    </a:lnTo>
                    <a:lnTo>
                      <a:pt x="1785" y="215"/>
                    </a:lnTo>
                    <a:lnTo>
                      <a:pt x="1784" y="219"/>
                    </a:lnTo>
                    <a:lnTo>
                      <a:pt x="1781" y="222"/>
                    </a:lnTo>
                    <a:lnTo>
                      <a:pt x="1781" y="222"/>
                    </a:lnTo>
                    <a:lnTo>
                      <a:pt x="1778" y="222"/>
                    </a:lnTo>
                    <a:lnTo>
                      <a:pt x="1775" y="220"/>
                    </a:lnTo>
                    <a:lnTo>
                      <a:pt x="1774" y="219"/>
                    </a:lnTo>
                    <a:lnTo>
                      <a:pt x="1771" y="219"/>
                    </a:lnTo>
                    <a:lnTo>
                      <a:pt x="1771" y="219"/>
                    </a:lnTo>
                    <a:lnTo>
                      <a:pt x="1768" y="217"/>
                    </a:lnTo>
                    <a:lnTo>
                      <a:pt x="1765" y="216"/>
                    </a:lnTo>
                    <a:lnTo>
                      <a:pt x="1757" y="210"/>
                    </a:lnTo>
                    <a:lnTo>
                      <a:pt x="1750" y="202"/>
                    </a:lnTo>
                    <a:lnTo>
                      <a:pt x="1747" y="198"/>
                    </a:lnTo>
                    <a:lnTo>
                      <a:pt x="1747" y="198"/>
                    </a:lnTo>
                    <a:lnTo>
                      <a:pt x="1744" y="192"/>
                    </a:lnTo>
                    <a:lnTo>
                      <a:pt x="1740" y="188"/>
                    </a:lnTo>
                    <a:lnTo>
                      <a:pt x="1733" y="180"/>
                    </a:lnTo>
                    <a:lnTo>
                      <a:pt x="1733" y="180"/>
                    </a:lnTo>
                    <a:lnTo>
                      <a:pt x="1731" y="179"/>
                    </a:lnTo>
                    <a:lnTo>
                      <a:pt x="1733" y="179"/>
                    </a:lnTo>
                    <a:lnTo>
                      <a:pt x="1736" y="179"/>
                    </a:lnTo>
                    <a:lnTo>
                      <a:pt x="1738" y="180"/>
                    </a:lnTo>
                    <a:lnTo>
                      <a:pt x="1738" y="180"/>
                    </a:lnTo>
                    <a:lnTo>
                      <a:pt x="1741" y="182"/>
                    </a:lnTo>
                    <a:lnTo>
                      <a:pt x="1744" y="183"/>
                    </a:lnTo>
                    <a:lnTo>
                      <a:pt x="1747" y="183"/>
                    </a:lnTo>
                    <a:lnTo>
                      <a:pt x="1750" y="182"/>
                    </a:lnTo>
                    <a:lnTo>
                      <a:pt x="1750" y="182"/>
                    </a:lnTo>
                    <a:lnTo>
                      <a:pt x="1753" y="179"/>
                    </a:lnTo>
                    <a:lnTo>
                      <a:pt x="1753" y="176"/>
                    </a:lnTo>
                    <a:lnTo>
                      <a:pt x="1751" y="172"/>
                    </a:lnTo>
                    <a:lnTo>
                      <a:pt x="1747" y="170"/>
                    </a:lnTo>
                    <a:lnTo>
                      <a:pt x="1747" y="170"/>
                    </a:lnTo>
                    <a:lnTo>
                      <a:pt x="1744" y="170"/>
                    </a:lnTo>
                    <a:lnTo>
                      <a:pt x="1743" y="168"/>
                    </a:lnTo>
                    <a:lnTo>
                      <a:pt x="1744" y="166"/>
                    </a:lnTo>
                    <a:lnTo>
                      <a:pt x="1747" y="165"/>
                    </a:lnTo>
                    <a:lnTo>
                      <a:pt x="1747" y="165"/>
                    </a:lnTo>
                    <a:lnTo>
                      <a:pt x="1747" y="163"/>
                    </a:lnTo>
                    <a:lnTo>
                      <a:pt x="1747" y="163"/>
                    </a:lnTo>
                    <a:lnTo>
                      <a:pt x="1744" y="159"/>
                    </a:lnTo>
                    <a:lnTo>
                      <a:pt x="1743" y="155"/>
                    </a:lnTo>
                    <a:lnTo>
                      <a:pt x="1743" y="155"/>
                    </a:lnTo>
                    <a:lnTo>
                      <a:pt x="1743" y="153"/>
                    </a:lnTo>
                    <a:lnTo>
                      <a:pt x="1743" y="153"/>
                    </a:lnTo>
                    <a:lnTo>
                      <a:pt x="1744" y="152"/>
                    </a:lnTo>
                    <a:lnTo>
                      <a:pt x="1744" y="151"/>
                    </a:lnTo>
                    <a:lnTo>
                      <a:pt x="1743" y="149"/>
                    </a:lnTo>
                    <a:lnTo>
                      <a:pt x="1740" y="148"/>
                    </a:lnTo>
                    <a:lnTo>
                      <a:pt x="1740" y="148"/>
                    </a:lnTo>
                    <a:lnTo>
                      <a:pt x="1736" y="146"/>
                    </a:lnTo>
                    <a:lnTo>
                      <a:pt x="1733" y="145"/>
                    </a:lnTo>
                    <a:lnTo>
                      <a:pt x="1730" y="142"/>
                    </a:lnTo>
                    <a:lnTo>
                      <a:pt x="1728" y="141"/>
                    </a:lnTo>
                    <a:lnTo>
                      <a:pt x="1728" y="141"/>
                    </a:lnTo>
                    <a:lnTo>
                      <a:pt x="1728" y="139"/>
                    </a:lnTo>
                    <a:lnTo>
                      <a:pt x="1726" y="139"/>
                    </a:lnTo>
                    <a:lnTo>
                      <a:pt x="1718" y="138"/>
                    </a:lnTo>
                    <a:lnTo>
                      <a:pt x="1710" y="139"/>
                    </a:lnTo>
                    <a:lnTo>
                      <a:pt x="1708" y="139"/>
                    </a:lnTo>
                    <a:lnTo>
                      <a:pt x="1707" y="141"/>
                    </a:lnTo>
                    <a:lnTo>
                      <a:pt x="1707" y="141"/>
                    </a:lnTo>
                    <a:lnTo>
                      <a:pt x="1707" y="142"/>
                    </a:lnTo>
                    <a:lnTo>
                      <a:pt x="1704" y="143"/>
                    </a:lnTo>
                    <a:lnTo>
                      <a:pt x="1703" y="142"/>
                    </a:lnTo>
                    <a:lnTo>
                      <a:pt x="1701" y="141"/>
                    </a:lnTo>
                    <a:lnTo>
                      <a:pt x="1701" y="141"/>
                    </a:lnTo>
                    <a:lnTo>
                      <a:pt x="1701" y="139"/>
                    </a:lnTo>
                    <a:lnTo>
                      <a:pt x="1701" y="138"/>
                    </a:lnTo>
                    <a:lnTo>
                      <a:pt x="1697" y="138"/>
                    </a:lnTo>
                    <a:lnTo>
                      <a:pt x="1683" y="135"/>
                    </a:lnTo>
                    <a:lnTo>
                      <a:pt x="1683" y="135"/>
                    </a:lnTo>
                    <a:lnTo>
                      <a:pt x="1677" y="132"/>
                    </a:lnTo>
                    <a:lnTo>
                      <a:pt x="1674" y="129"/>
                    </a:lnTo>
                    <a:lnTo>
                      <a:pt x="1671" y="126"/>
                    </a:lnTo>
                    <a:lnTo>
                      <a:pt x="1669" y="125"/>
                    </a:lnTo>
                    <a:lnTo>
                      <a:pt x="1669" y="125"/>
                    </a:lnTo>
                    <a:lnTo>
                      <a:pt x="1669" y="125"/>
                    </a:lnTo>
                    <a:lnTo>
                      <a:pt x="1667" y="126"/>
                    </a:lnTo>
                    <a:lnTo>
                      <a:pt x="1666" y="129"/>
                    </a:lnTo>
                    <a:lnTo>
                      <a:pt x="1664" y="132"/>
                    </a:lnTo>
                    <a:lnTo>
                      <a:pt x="1663" y="132"/>
                    </a:lnTo>
                    <a:lnTo>
                      <a:pt x="1662" y="132"/>
                    </a:lnTo>
                    <a:lnTo>
                      <a:pt x="1662" y="132"/>
                    </a:lnTo>
                    <a:lnTo>
                      <a:pt x="1657" y="132"/>
                    </a:lnTo>
                    <a:lnTo>
                      <a:pt x="1654" y="133"/>
                    </a:lnTo>
                    <a:lnTo>
                      <a:pt x="1653" y="136"/>
                    </a:lnTo>
                    <a:lnTo>
                      <a:pt x="1653" y="141"/>
                    </a:lnTo>
                    <a:lnTo>
                      <a:pt x="1653" y="141"/>
                    </a:lnTo>
                    <a:lnTo>
                      <a:pt x="1654" y="145"/>
                    </a:lnTo>
                    <a:lnTo>
                      <a:pt x="1654" y="146"/>
                    </a:lnTo>
                    <a:lnTo>
                      <a:pt x="1653" y="152"/>
                    </a:lnTo>
                    <a:lnTo>
                      <a:pt x="1653" y="152"/>
                    </a:lnTo>
                    <a:lnTo>
                      <a:pt x="1653" y="155"/>
                    </a:lnTo>
                    <a:lnTo>
                      <a:pt x="1650" y="156"/>
                    </a:lnTo>
                    <a:lnTo>
                      <a:pt x="1644" y="153"/>
                    </a:lnTo>
                    <a:lnTo>
                      <a:pt x="1644" y="153"/>
                    </a:lnTo>
                    <a:lnTo>
                      <a:pt x="1640" y="153"/>
                    </a:lnTo>
                    <a:lnTo>
                      <a:pt x="1637" y="155"/>
                    </a:lnTo>
                    <a:lnTo>
                      <a:pt x="1632" y="156"/>
                    </a:lnTo>
                    <a:lnTo>
                      <a:pt x="1625" y="155"/>
                    </a:lnTo>
                    <a:lnTo>
                      <a:pt x="1625" y="155"/>
                    </a:lnTo>
                    <a:lnTo>
                      <a:pt x="1616" y="153"/>
                    </a:lnTo>
                    <a:lnTo>
                      <a:pt x="1609" y="153"/>
                    </a:lnTo>
                    <a:lnTo>
                      <a:pt x="1605" y="153"/>
                    </a:lnTo>
                    <a:lnTo>
                      <a:pt x="1603" y="151"/>
                    </a:lnTo>
                    <a:lnTo>
                      <a:pt x="1603" y="151"/>
                    </a:lnTo>
                    <a:lnTo>
                      <a:pt x="1600" y="149"/>
                    </a:lnTo>
                    <a:lnTo>
                      <a:pt x="1599" y="148"/>
                    </a:lnTo>
                    <a:lnTo>
                      <a:pt x="1598" y="148"/>
                    </a:lnTo>
                    <a:lnTo>
                      <a:pt x="1596" y="151"/>
                    </a:lnTo>
                    <a:lnTo>
                      <a:pt x="1596" y="151"/>
                    </a:lnTo>
                    <a:lnTo>
                      <a:pt x="1595" y="151"/>
                    </a:lnTo>
                    <a:lnTo>
                      <a:pt x="1592" y="152"/>
                    </a:lnTo>
                    <a:lnTo>
                      <a:pt x="1585" y="152"/>
                    </a:lnTo>
                    <a:lnTo>
                      <a:pt x="1578" y="151"/>
                    </a:lnTo>
                    <a:lnTo>
                      <a:pt x="1575" y="149"/>
                    </a:lnTo>
                    <a:lnTo>
                      <a:pt x="1573" y="146"/>
                    </a:lnTo>
                    <a:lnTo>
                      <a:pt x="1573" y="146"/>
                    </a:lnTo>
                    <a:lnTo>
                      <a:pt x="1573" y="143"/>
                    </a:lnTo>
                    <a:lnTo>
                      <a:pt x="1575" y="142"/>
                    </a:lnTo>
                    <a:lnTo>
                      <a:pt x="1580" y="139"/>
                    </a:lnTo>
                    <a:lnTo>
                      <a:pt x="1580" y="139"/>
                    </a:lnTo>
                    <a:lnTo>
                      <a:pt x="1580" y="138"/>
                    </a:lnTo>
                    <a:lnTo>
                      <a:pt x="1578" y="138"/>
                    </a:lnTo>
                    <a:lnTo>
                      <a:pt x="1573" y="136"/>
                    </a:lnTo>
                    <a:lnTo>
                      <a:pt x="1566" y="136"/>
                    </a:lnTo>
                    <a:lnTo>
                      <a:pt x="1566" y="136"/>
                    </a:lnTo>
                    <a:lnTo>
                      <a:pt x="1558" y="136"/>
                    </a:lnTo>
                    <a:lnTo>
                      <a:pt x="1551" y="133"/>
                    </a:lnTo>
                    <a:lnTo>
                      <a:pt x="1543" y="132"/>
                    </a:lnTo>
                    <a:lnTo>
                      <a:pt x="1536" y="132"/>
                    </a:lnTo>
                    <a:lnTo>
                      <a:pt x="1536" y="132"/>
                    </a:lnTo>
                    <a:lnTo>
                      <a:pt x="1512" y="135"/>
                    </a:lnTo>
                    <a:lnTo>
                      <a:pt x="1495" y="138"/>
                    </a:lnTo>
                    <a:lnTo>
                      <a:pt x="1495" y="138"/>
                    </a:lnTo>
                    <a:lnTo>
                      <a:pt x="1495" y="138"/>
                    </a:lnTo>
                    <a:lnTo>
                      <a:pt x="1495" y="139"/>
                    </a:lnTo>
                    <a:lnTo>
                      <a:pt x="1495" y="142"/>
                    </a:lnTo>
                    <a:lnTo>
                      <a:pt x="1495" y="145"/>
                    </a:lnTo>
                    <a:lnTo>
                      <a:pt x="1495" y="145"/>
                    </a:lnTo>
                    <a:lnTo>
                      <a:pt x="1494" y="146"/>
                    </a:lnTo>
                    <a:lnTo>
                      <a:pt x="1494" y="146"/>
                    </a:lnTo>
                    <a:lnTo>
                      <a:pt x="1492" y="145"/>
                    </a:lnTo>
                    <a:lnTo>
                      <a:pt x="1491" y="145"/>
                    </a:lnTo>
                    <a:lnTo>
                      <a:pt x="1491" y="141"/>
                    </a:lnTo>
                    <a:lnTo>
                      <a:pt x="1491" y="135"/>
                    </a:lnTo>
                    <a:lnTo>
                      <a:pt x="1491" y="131"/>
                    </a:lnTo>
                    <a:lnTo>
                      <a:pt x="1491" y="131"/>
                    </a:lnTo>
                    <a:lnTo>
                      <a:pt x="1489" y="126"/>
                    </a:lnTo>
                    <a:lnTo>
                      <a:pt x="1487" y="125"/>
                    </a:lnTo>
                    <a:lnTo>
                      <a:pt x="1484" y="126"/>
                    </a:lnTo>
                    <a:lnTo>
                      <a:pt x="1482" y="128"/>
                    </a:lnTo>
                    <a:lnTo>
                      <a:pt x="1482" y="128"/>
                    </a:lnTo>
                    <a:lnTo>
                      <a:pt x="1482" y="129"/>
                    </a:lnTo>
                    <a:lnTo>
                      <a:pt x="1481" y="131"/>
                    </a:lnTo>
                    <a:lnTo>
                      <a:pt x="1477" y="132"/>
                    </a:lnTo>
                    <a:lnTo>
                      <a:pt x="1471" y="132"/>
                    </a:lnTo>
                    <a:lnTo>
                      <a:pt x="1467" y="131"/>
                    </a:lnTo>
                    <a:lnTo>
                      <a:pt x="1467" y="131"/>
                    </a:lnTo>
                    <a:lnTo>
                      <a:pt x="1460" y="125"/>
                    </a:lnTo>
                    <a:lnTo>
                      <a:pt x="1454" y="124"/>
                    </a:lnTo>
                    <a:lnTo>
                      <a:pt x="1448" y="121"/>
                    </a:lnTo>
                    <a:lnTo>
                      <a:pt x="1448" y="121"/>
                    </a:lnTo>
                    <a:lnTo>
                      <a:pt x="1444" y="121"/>
                    </a:lnTo>
                    <a:lnTo>
                      <a:pt x="1441" y="121"/>
                    </a:lnTo>
                    <a:lnTo>
                      <a:pt x="1434" y="125"/>
                    </a:lnTo>
                    <a:lnTo>
                      <a:pt x="1430" y="128"/>
                    </a:lnTo>
                    <a:lnTo>
                      <a:pt x="1430" y="131"/>
                    </a:lnTo>
                    <a:lnTo>
                      <a:pt x="1430" y="132"/>
                    </a:lnTo>
                    <a:lnTo>
                      <a:pt x="1430" y="132"/>
                    </a:lnTo>
                    <a:lnTo>
                      <a:pt x="1433" y="133"/>
                    </a:lnTo>
                    <a:lnTo>
                      <a:pt x="1435" y="133"/>
                    </a:lnTo>
                    <a:lnTo>
                      <a:pt x="1438" y="133"/>
                    </a:lnTo>
                    <a:lnTo>
                      <a:pt x="1440" y="133"/>
                    </a:lnTo>
                    <a:lnTo>
                      <a:pt x="1440" y="133"/>
                    </a:lnTo>
                    <a:lnTo>
                      <a:pt x="1438" y="135"/>
                    </a:lnTo>
                    <a:lnTo>
                      <a:pt x="1437" y="136"/>
                    </a:lnTo>
                    <a:lnTo>
                      <a:pt x="1430" y="138"/>
                    </a:lnTo>
                    <a:lnTo>
                      <a:pt x="1423" y="138"/>
                    </a:lnTo>
                    <a:lnTo>
                      <a:pt x="1421" y="139"/>
                    </a:lnTo>
                    <a:lnTo>
                      <a:pt x="1420" y="139"/>
                    </a:lnTo>
                    <a:lnTo>
                      <a:pt x="1420" y="139"/>
                    </a:lnTo>
                    <a:lnTo>
                      <a:pt x="1418" y="141"/>
                    </a:lnTo>
                    <a:lnTo>
                      <a:pt x="1417" y="142"/>
                    </a:lnTo>
                    <a:lnTo>
                      <a:pt x="1410" y="145"/>
                    </a:lnTo>
                    <a:lnTo>
                      <a:pt x="1396" y="148"/>
                    </a:lnTo>
                    <a:lnTo>
                      <a:pt x="1396" y="148"/>
                    </a:lnTo>
                    <a:lnTo>
                      <a:pt x="1378" y="151"/>
                    </a:lnTo>
                    <a:lnTo>
                      <a:pt x="1374" y="153"/>
                    </a:lnTo>
                    <a:lnTo>
                      <a:pt x="1368" y="156"/>
                    </a:lnTo>
                    <a:lnTo>
                      <a:pt x="1368" y="156"/>
                    </a:lnTo>
                    <a:lnTo>
                      <a:pt x="1366" y="158"/>
                    </a:lnTo>
                    <a:lnTo>
                      <a:pt x="1366" y="155"/>
                    </a:lnTo>
                    <a:lnTo>
                      <a:pt x="1368" y="151"/>
                    </a:lnTo>
                    <a:lnTo>
                      <a:pt x="1373" y="145"/>
                    </a:lnTo>
                    <a:lnTo>
                      <a:pt x="1373" y="145"/>
                    </a:lnTo>
                    <a:lnTo>
                      <a:pt x="1377" y="142"/>
                    </a:lnTo>
                    <a:lnTo>
                      <a:pt x="1381" y="141"/>
                    </a:lnTo>
                    <a:lnTo>
                      <a:pt x="1386" y="139"/>
                    </a:lnTo>
                    <a:lnTo>
                      <a:pt x="1388" y="138"/>
                    </a:lnTo>
                    <a:lnTo>
                      <a:pt x="1388" y="138"/>
                    </a:lnTo>
                    <a:lnTo>
                      <a:pt x="1391" y="135"/>
                    </a:lnTo>
                    <a:lnTo>
                      <a:pt x="1394" y="133"/>
                    </a:lnTo>
                    <a:lnTo>
                      <a:pt x="1405" y="132"/>
                    </a:lnTo>
                    <a:lnTo>
                      <a:pt x="1405" y="132"/>
                    </a:lnTo>
                    <a:lnTo>
                      <a:pt x="1411" y="131"/>
                    </a:lnTo>
                    <a:lnTo>
                      <a:pt x="1414" y="128"/>
                    </a:lnTo>
                    <a:lnTo>
                      <a:pt x="1415" y="125"/>
                    </a:lnTo>
                    <a:lnTo>
                      <a:pt x="1418" y="124"/>
                    </a:lnTo>
                    <a:lnTo>
                      <a:pt x="1418" y="124"/>
                    </a:lnTo>
                    <a:lnTo>
                      <a:pt x="1427" y="119"/>
                    </a:lnTo>
                    <a:lnTo>
                      <a:pt x="1433" y="116"/>
                    </a:lnTo>
                    <a:lnTo>
                      <a:pt x="1435" y="114"/>
                    </a:lnTo>
                    <a:lnTo>
                      <a:pt x="1435" y="114"/>
                    </a:lnTo>
                    <a:lnTo>
                      <a:pt x="1440" y="109"/>
                    </a:lnTo>
                    <a:lnTo>
                      <a:pt x="1448" y="106"/>
                    </a:lnTo>
                    <a:lnTo>
                      <a:pt x="1457" y="104"/>
                    </a:lnTo>
                    <a:lnTo>
                      <a:pt x="1462" y="102"/>
                    </a:lnTo>
                    <a:lnTo>
                      <a:pt x="1462" y="102"/>
                    </a:lnTo>
                    <a:lnTo>
                      <a:pt x="1465" y="101"/>
                    </a:lnTo>
                    <a:lnTo>
                      <a:pt x="1467" y="98"/>
                    </a:lnTo>
                    <a:lnTo>
                      <a:pt x="1468" y="95"/>
                    </a:lnTo>
                    <a:lnTo>
                      <a:pt x="1469" y="94"/>
                    </a:lnTo>
                    <a:lnTo>
                      <a:pt x="1469" y="94"/>
                    </a:lnTo>
                    <a:lnTo>
                      <a:pt x="1479" y="91"/>
                    </a:lnTo>
                    <a:lnTo>
                      <a:pt x="1489" y="87"/>
                    </a:lnTo>
                    <a:lnTo>
                      <a:pt x="1489" y="87"/>
                    </a:lnTo>
                    <a:lnTo>
                      <a:pt x="1492" y="84"/>
                    </a:lnTo>
                    <a:lnTo>
                      <a:pt x="1495" y="81"/>
                    </a:lnTo>
                    <a:lnTo>
                      <a:pt x="1497" y="77"/>
                    </a:lnTo>
                    <a:lnTo>
                      <a:pt x="1497" y="77"/>
                    </a:lnTo>
                    <a:lnTo>
                      <a:pt x="1497" y="75"/>
                    </a:lnTo>
                    <a:lnTo>
                      <a:pt x="1494" y="74"/>
                    </a:lnTo>
                    <a:lnTo>
                      <a:pt x="1491" y="72"/>
                    </a:lnTo>
                    <a:lnTo>
                      <a:pt x="1489" y="71"/>
                    </a:lnTo>
                    <a:lnTo>
                      <a:pt x="1489" y="71"/>
                    </a:lnTo>
                    <a:lnTo>
                      <a:pt x="1489" y="69"/>
                    </a:lnTo>
                    <a:lnTo>
                      <a:pt x="1492" y="69"/>
                    </a:lnTo>
                    <a:lnTo>
                      <a:pt x="1498" y="68"/>
                    </a:lnTo>
                    <a:lnTo>
                      <a:pt x="1498" y="68"/>
                    </a:lnTo>
                    <a:lnTo>
                      <a:pt x="1499" y="65"/>
                    </a:lnTo>
                    <a:lnTo>
                      <a:pt x="1499" y="64"/>
                    </a:lnTo>
                    <a:lnTo>
                      <a:pt x="1497" y="61"/>
                    </a:lnTo>
                    <a:lnTo>
                      <a:pt x="1494" y="61"/>
                    </a:lnTo>
                    <a:lnTo>
                      <a:pt x="1494" y="61"/>
                    </a:lnTo>
                    <a:lnTo>
                      <a:pt x="1492" y="61"/>
                    </a:lnTo>
                    <a:lnTo>
                      <a:pt x="1492" y="58"/>
                    </a:lnTo>
                    <a:lnTo>
                      <a:pt x="1494" y="55"/>
                    </a:lnTo>
                    <a:lnTo>
                      <a:pt x="1492" y="52"/>
                    </a:lnTo>
                    <a:lnTo>
                      <a:pt x="1492" y="52"/>
                    </a:lnTo>
                    <a:lnTo>
                      <a:pt x="1491" y="51"/>
                    </a:lnTo>
                    <a:lnTo>
                      <a:pt x="1489" y="51"/>
                    </a:lnTo>
                    <a:lnTo>
                      <a:pt x="1485" y="52"/>
                    </a:lnTo>
                    <a:lnTo>
                      <a:pt x="1482" y="52"/>
                    </a:lnTo>
                    <a:lnTo>
                      <a:pt x="1482" y="52"/>
                    </a:lnTo>
                    <a:lnTo>
                      <a:pt x="1482" y="51"/>
                    </a:lnTo>
                    <a:lnTo>
                      <a:pt x="1482" y="51"/>
                    </a:lnTo>
                    <a:lnTo>
                      <a:pt x="1481" y="44"/>
                    </a:lnTo>
                    <a:lnTo>
                      <a:pt x="1481" y="41"/>
                    </a:lnTo>
                    <a:lnTo>
                      <a:pt x="1478" y="38"/>
                    </a:lnTo>
                    <a:lnTo>
                      <a:pt x="1478" y="38"/>
                    </a:lnTo>
                    <a:lnTo>
                      <a:pt x="1477" y="37"/>
                    </a:lnTo>
                    <a:lnTo>
                      <a:pt x="1472" y="38"/>
                    </a:lnTo>
                    <a:lnTo>
                      <a:pt x="1469" y="40"/>
                    </a:lnTo>
                    <a:lnTo>
                      <a:pt x="1467" y="40"/>
                    </a:lnTo>
                    <a:lnTo>
                      <a:pt x="1465" y="38"/>
                    </a:lnTo>
                    <a:lnTo>
                      <a:pt x="1465" y="38"/>
                    </a:lnTo>
                    <a:lnTo>
                      <a:pt x="1458" y="35"/>
                    </a:lnTo>
                    <a:lnTo>
                      <a:pt x="1451" y="32"/>
                    </a:lnTo>
                    <a:lnTo>
                      <a:pt x="1444" y="32"/>
                    </a:lnTo>
                    <a:lnTo>
                      <a:pt x="1441" y="32"/>
                    </a:lnTo>
                    <a:lnTo>
                      <a:pt x="1441" y="32"/>
                    </a:lnTo>
                    <a:lnTo>
                      <a:pt x="1440" y="34"/>
                    </a:lnTo>
                    <a:lnTo>
                      <a:pt x="1437" y="32"/>
                    </a:lnTo>
                    <a:lnTo>
                      <a:pt x="1434" y="31"/>
                    </a:lnTo>
                    <a:lnTo>
                      <a:pt x="1431" y="32"/>
                    </a:lnTo>
                    <a:lnTo>
                      <a:pt x="1431" y="32"/>
                    </a:lnTo>
                    <a:lnTo>
                      <a:pt x="1428" y="32"/>
                    </a:lnTo>
                    <a:lnTo>
                      <a:pt x="1423" y="34"/>
                    </a:lnTo>
                    <a:lnTo>
                      <a:pt x="1411" y="32"/>
                    </a:lnTo>
                    <a:lnTo>
                      <a:pt x="1411" y="32"/>
                    </a:lnTo>
                    <a:lnTo>
                      <a:pt x="1408" y="32"/>
                    </a:lnTo>
                    <a:lnTo>
                      <a:pt x="1405" y="34"/>
                    </a:lnTo>
                    <a:lnTo>
                      <a:pt x="1403" y="35"/>
                    </a:lnTo>
                    <a:lnTo>
                      <a:pt x="1401" y="38"/>
                    </a:lnTo>
                    <a:lnTo>
                      <a:pt x="1401" y="38"/>
                    </a:lnTo>
                    <a:lnTo>
                      <a:pt x="1400" y="40"/>
                    </a:lnTo>
                    <a:lnTo>
                      <a:pt x="1398" y="41"/>
                    </a:lnTo>
                    <a:lnTo>
                      <a:pt x="1393" y="41"/>
                    </a:lnTo>
                    <a:lnTo>
                      <a:pt x="1381" y="40"/>
                    </a:lnTo>
                    <a:lnTo>
                      <a:pt x="1381" y="40"/>
                    </a:lnTo>
                    <a:lnTo>
                      <a:pt x="1381" y="40"/>
                    </a:lnTo>
                    <a:lnTo>
                      <a:pt x="1381" y="38"/>
                    </a:lnTo>
                    <a:lnTo>
                      <a:pt x="1386" y="34"/>
                    </a:lnTo>
                    <a:lnTo>
                      <a:pt x="1390" y="28"/>
                    </a:lnTo>
                    <a:lnTo>
                      <a:pt x="1393" y="25"/>
                    </a:lnTo>
                    <a:lnTo>
                      <a:pt x="1393" y="25"/>
                    </a:lnTo>
                    <a:lnTo>
                      <a:pt x="1388" y="24"/>
                    </a:lnTo>
                    <a:lnTo>
                      <a:pt x="1380" y="24"/>
                    </a:lnTo>
                    <a:lnTo>
                      <a:pt x="1371" y="24"/>
                    </a:lnTo>
                    <a:lnTo>
                      <a:pt x="1367" y="24"/>
                    </a:lnTo>
                    <a:lnTo>
                      <a:pt x="1367" y="24"/>
                    </a:lnTo>
                    <a:lnTo>
                      <a:pt x="1364" y="23"/>
                    </a:lnTo>
                    <a:lnTo>
                      <a:pt x="1359" y="21"/>
                    </a:lnTo>
                    <a:lnTo>
                      <a:pt x="1347" y="21"/>
                    </a:lnTo>
                    <a:lnTo>
                      <a:pt x="1347" y="21"/>
                    </a:lnTo>
                    <a:lnTo>
                      <a:pt x="1346" y="20"/>
                    </a:lnTo>
                    <a:lnTo>
                      <a:pt x="1346" y="20"/>
                    </a:lnTo>
                    <a:lnTo>
                      <a:pt x="1353" y="18"/>
                    </a:lnTo>
                    <a:lnTo>
                      <a:pt x="1353" y="18"/>
                    </a:lnTo>
                    <a:lnTo>
                      <a:pt x="1356" y="18"/>
                    </a:lnTo>
                    <a:lnTo>
                      <a:pt x="1360" y="15"/>
                    </a:lnTo>
                    <a:lnTo>
                      <a:pt x="1367" y="13"/>
                    </a:lnTo>
                    <a:lnTo>
                      <a:pt x="1367" y="13"/>
                    </a:lnTo>
                    <a:lnTo>
                      <a:pt x="1370" y="13"/>
                    </a:lnTo>
                    <a:lnTo>
                      <a:pt x="1371" y="11"/>
                    </a:lnTo>
                    <a:lnTo>
                      <a:pt x="1368" y="7"/>
                    </a:lnTo>
                    <a:lnTo>
                      <a:pt x="1368" y="7"/>
                    </a:lnTo>
                    <a:lnTo>
                      <a:pt x="1367" y="5"/>
                    </a:lnTo>
                    <a:lnTo>
                      <a:pt x="1363" y="4"/>
                    </a:lnTo>
                    <a:lnTo>
                      <a:pt x="1356" y="4"/>
                    </a:lnTo>
                    <a:lnTo>
                      <a:pt x="1356" y="4"/>
                    </a:lnTo>
                    <a:lnTo>
                      <a:pt x="1347" y="1"/>
                    </a:lnTo>
                    <a:lnTo>
                      <a:pt x="1339" y="0"/>
                    </a:lnTo>
                    <a:lnTo>
                      <a:pt x="1339" y="0"/>
                    </a:lnTo>
                    <a:lnTo>
                      <a:pt x="1330" y="1"/>
                    </a:lnTo>
                    <a:lnTo>
                      <a:pt x="1317" y="4"/>
                    </a:lnTo>
                    <a:lnTo>
                      <a:pt x="1317" y="4"/>
                    </a:lnTo>
                    <a:lnTo>
                      <a:pt x="1310" y="7"/>
                    </a:lnTo>
                    <a:lnTo>
                      <a:pt x="1306" y="10"/>
                    </a:lnTo>
                    <a:lnTo>
                      <a:pt x="1303" y="14"/>
                    </a:lnTo>
                    <a:lnTo>
                      <a:pt x="1300" y="17"/>
                    </a:lnTo>
                    <a:lnTo>
                      <a:pt x="1300" y="17"/>
                    </a:lnTo>
                    <a:lnTo>
                      <a:pt x="1295" y="20"/>
                    </a:lnTo>
                    <a:lnTo>
                      <a:pt x="1290" y="24"/>
                    </a:lnTo>
                    <a:lnTo>
                      <a:pt x="1287" y="28"/>
                    </a:lnTo>
                    <a:lnTo>
                      <a:pt x="1287" y="30"/>
                    </a:lnTo>
                    <a:lnTo>
                      <a:pt x="1289" y="31"/>
                    </a:lnTo>
                    <a:lnTo>
                      <a:pt x="1289" y="31"/>
                    </a:lnTo>
                    <a:lnTo>
                      <a:pt x="1292" y="32"/>
                    </a:lnTo>
                    <a:lnTo>
                      <a:pt x="1292" y="34"/>
                    </a:lnTo>
                    <a:lnTo>
                      <a:pt x="1292" y="38"/>
                    </a:lnTo>
                    <a:lnTo>
                      <a:pt x="1292" y="38"/>
                    </a:lnTo>
                    <a:lnTo>
                      <a:pt x="1292" y="40"/>
                    </a:lnTo>
                    <a:lnTo>
                      <a:pt x="1290" y="41"/>
                    </a:lnTo>
                    <a:lnTo>
                      <a:pt x="1283" y="41"/>
                    </a:lnTo>
                    <a:lnTo>
                      <a:pt x="1283" y="41"/>
                    </a:lnTo>
                    <a:lnTo>
                      <a:pt x="1269" y="41"/>
                    </a:lnTo>
                    <a:lnTo>
                      <a:pt x="1262" y="41"/>
                    </a:lnTo>
                    <a:lnTo>
                      <a:pt x="1259" y="42"/>
                    </a:lnTo>
                    <a:lnTo>
                      <a:pt x="1259" y="44"/>
                    </a:lnTo>
                    <a:lnTo>
                      <a:pt x="1259" y="44"/>
                    </a:lnTo>
                    <a:lnTo>
                      <a:pt x="1260" y="47"/>
                    </a:lnTo>
                    <a:lnTo>
                      <a:pt x="1265" y="48"/>
                    </a:lnTo>
                    <a:lnTo>
                      <a:pt x="1267" y="51"/>
                    </a:lnTo>
                    <a:lnTo>
                      <a:pt x="1269" y="52"/>
                    </a:lnTo>
                    <a:lnTo>
                      <a:pt x="1269" y="52"/>
                    </a:lnTo>
                    <a:lnTo>
                      <a:pt x="1267" y="52"/>
                    </a:lnTo>
                    <a:lnTo>
                      <a:pt x="1265" y="52"/>
                    </a:lnTo>
                    <a:lnTo>
                      <a:pt x="1258" y="50"/>
                    </a:lnTo>
                    <a:lnTo>
                      <a:pt x="1258" y="50"/>
                    </a:lnTo>
                    <a:lnTo>
                      <a:pt x="1253" y="48"/>
                    </a:lnTo>
                    <a:lnTo>
                      <a:pt x="1249" y="50"/>
                    </a:lnTo>
                    <a:lnTo>
                      <a:pt x="1245" y="51"/>
                    </a:lnTo>
                    <a:lnTo>
                      <a:pt x="1243" y="52"/>
                    </a:lnTo>
                    <a:lnTo>
                      <a:pt x="1243" y="52"/>
                    </a:lnTo>
                    <a:lnTo>
                      <a:pt x="1240" y="55"/>
                    </a:lnTo>
                    <a:lnTo>
                      <a:pt x="1238" y="55"/>
                    </a:lnTo>
                    <a:lnTo>
                      <a:pt x="1232" y="55"/>
                    </a:lnTo>
                    <a:lnTo>
                      <a:pt x="1232" y="55"/>
                    </a:lnTo>
                    <a:lnTo>
                      <a:pt x="1230" y="55"/>
                    </a:lnTo>
                    <a:lnTo>
                      <a:pt x="1228" y="55"/>
                    </a:lnTo>
                    <a:lnTo>
                      <a:pt x="1225" y="55"/>
                    </a:lnTo>
                    <a:lnTo>
                      <a:pt x="1222" y="55"/>
                    </a:lnTo>
                    <a:lnTo>
                      <a:pt x="1222" y="55"/>
                    </a:lnTo>
                    <a:lnTo>
                      <a:pt x="1222" y="55"/>
                    </a:lnTo>
                    <a:lnTo>
                      <a:pt x="1222" y="54"/>
                    </a:lnTo>
                    <a:lnTo>
                      <a:pt x="1223" y="51"/>
                    </a:lnTo>
                    <a:lnTo>
                      <a:pt x="1226" y="50"/>
                    </a:lnTo>
                    <a:lnTo>
                      <a:pt x="1226" y="48"/>
                    </a:lnTo>
                    <a:lnTo>
                      <a:pt x="1226" y="47"/>
                    </a:lnTo>
                    <a:lnTo>
                      <a:pt x="1226" y="47"/>
                    </a:lnTo>
                    <a:lnTo>
                      <a:pt x="1223" y="45"/>
                    </a:lnTo>
                    <a:lnTo>
                      <a:pt x="1218" y="47"/>
                    </a:lnTo>
                    <a:lnTo>
                      <a:pt x="1213" y="48"/>
                    </a:lnTo>
                    <a:lnTo>
                      <a:pt x="1212" y="51"/>
                    </a:lnTo>
                    <a:lnTo>
                      <a:pt x="1212" y="51"/>
                    </a:lnTo>
                    <a:lnTo>
                      <a:pt x="1211" y="52"/>
                    </a:lnTo>
                    <a:lnTo>
                      <a:pt x="1209" y="52"/>
                    </a:lnTo>
                    <a:lnTo>
                      <a:pt x="1206" y="51"/>
                    </a:lnTo>
                    <a:lnTo>
                      <a:pt x="1203" y="50"/>
                    </a:lnTo>
                    <a:lnTo>
                      <a:pt x="1201" y="50"/>
                    </a:lnTo>
                    <a:lnTo>
                      <a:pt x="1201" y="50"/>
                    </a:lnTo>
                    <a:lnTo>
                      <a:pt x="1191" y="54"/>
                    </a:lnTo>
                    <a:lnTo>
                      <a:pt x="1191" y="54"/>
                    </a:lnTo>
                    <a:lnTo>
                      <a:pt x="1186" y="55"/>
                    </a:lnTo>
                    <a:lnTo>
                      <a:pt x="1181" y="54"/>
                    </a:lnTo>
                    <a:lnTo>
                      <a:pt x="1178" y="54"/>
                    </a:lnTo>
                    <a:lnTo>
                      <a:pt x="1175" y="55"/>
                    </a:lnTo>
                    <a:lnTo>
                      <a:pt x="1175" y="55"/>
                    </a:lnTo>
                    <a:lnTo>
                      <a:pt x="1175" y="57"/>
                    </a:lnTo>
                    <a:lnTo>
                      <a:pt x="1175" y="58"/>
                    </a:lnTo>
                    <a:lnTo>
                      <a:pt x="1179" y="60"/>
                    </a:lnTo>
                    <a:lnTo>
                      <a:pt x="1182" y="61"/>
                    </a:lnTo>
                    <a:lnTo>
                      <a:pt x="1185" y="62"/>
                    </a:lnTo>
                    <a:lnTo>
                      <a:pt x="1185" y="62"/>
                    </a:lnTo>
                    <a:lnTo>
                      <a:pt x="1181" y="64"/>
                    </a:lnTo>
                    <a:lnTo>
                      <a:pt x="1172" y="64"/>
                    </a:lnTo>
                    <a:lnTo>
                      <a:pt x="1162" y="65"/>
                    </a:lnTo>
                    <a:lnTo>
                      <a:pt x="1158" y="67"/>
                    </a:lnTo>
                    <a:lnTo>
                      <a:pt x="1158" y="67"/>
                    </a:lnTo>
                    <a:lnTo>
                      <a:pt x="1157" y="68"/>
                    </a:lnTo>
                    <a:lnTo>
                      <a:pt x="1152" y="68"/>
                    </a:lnTo>
                    <a:lnTo>
                      <a:pt x="1138" y="69"/>
                    </a:lnTo>
                    <a:lnTo>
                      <a:pt x="1138" y="69"/>
                    </a:lnTo>
                    <a:lnTo>
                      <a:pt x="1132" y="69"/>
                    </a:lnTo>
                    <a:lnTo>
                      <a:pt x="1129" y="72"/>
                    </a:lnTo>
                    <a:lnTo>
                      <a:pt x="1127" y="75"/>
                    </a:lnTo>
                    <a:lnTo>
                      <a:pt x="1122" y="77"/>
                    </a:lnTo>
                    <a:lnTo>
                      <a:pt x="1122" y="77"/>
                    </a:lnTo>
                    <a:lnTo>
                      <a:pt x="1114" y="78"/>
                    </a:lnTo>
                    <a:lnTo>
                      <a:pt x="1110" y="79"/>
                    </a:lnTo>
                    <a:lnTo>
                      <a:pt x="1108" y="82"/>
                    </a:lnTo>
                    <a:lnTo>
                      <a:pt x="1108" y="82"/>
                    </a:lnTo>
                    <a:lnTo>
                      <a:pt x="1105" y="85"/>
                    </a:lnTo>
                    <a:lnTo>
                      <a:pt x="1101" y="87"/>
                    </a:lnTo>
                    <a:lnTo>
                      <a:pt x="1098" y="85"/>
                    </a:lnTo>
                    <a:lnTo>
                      <a:pt x="1095" y="84"/>
                    </a:lnTo>
                    <a:lnTo>
                      <a:pt x="1095" y="84"/>
                    </a:lnTo>
                    <a:lnTo>
                      <a:pt x="1093" y="82"/>
                    </a:lnTo>
                    <a:lnTo>
                      <a:pt x="1090" y="84"/>
                    </a:lnTo>
                    <a:lnTo>
                      <a:pt x="1088" y="85"/>
                    </a:lnTo>
                    <a:lnTo>
                      <a:pt x="1088" y="85"/>
                    </a:lnTo>
                    <a:lnTo>
                      <a:pt x="1090" y="87"/>
                    </a:lnTo>
                    <a:lnTo>
                      <a:pt x="1090" y="87"/>
                    </a:lnTo>
                    <a:lnTo>
                      <a:pt x="1091" y="87"/>
                    </a:lnTo>
                    <a:lnTo>
                      <a:pt x="1090" y="88"/>
                    </a:lnTo>
                    <a:lnTo>
                      <a:pt x="1088" y="89"/>
                    </a:lnTo>
                    <a:lnTo>
                      <a:pt x="1087" y="89"/>
                    </a:lnTo>
                    <a:lnTo>
                      <a:pt x="1087" y="89"/>
                    </a:lnTo>
                    <a:lnTo>
                      <a:pt x="1084" y="91"/>
                    </a:lnTo>
                    <a:lnTo>
                      <a:pt x="1081" y="92"/>
                    </a:lnTo>
                    <a:lnTo>
                      <a:pt x="1080" y="94"/>
                    </a:lnTo>
                    <a:lnTo>
                      <a:pt x="1081" y="94"/>
                    </a:lnTo>
                    <a:lnTo>
                      <a:pt x="1081" y="94"/>
                    </a:lnTo>
                    <a:lnTo>
                      <a:pt x="1084" y="94"/>
                    </a:lnTo>
                    <a:lnTo>
                      <a:pt x="1085" y="95"/>
                    </a:lnTo>
                    <a:lnTo>
                      <a:pt x="1085" y="98"/>
                    </a:lnTo>
                    <a:lnTo>
                      <a:pt x="1085" y="99"/>
                    </a:lnTo>
                    <a:lnTo>
                      <a:pt x="1085" y="99"/>
                    </a:lnTo>
                    <a:lnTo>
                      <a:pt x="1083" y="101"/>
                    </a:lnTo>
                    <a:lnTo>
                      <a:pt x="1078" y="99"/>
                    </a:lnTo>
                    <a:lnTo>
                      <a:pt x="1074" y="98"/>
                    </a:lnTo>
                    <a:lnTo>
                      <a:pt x="1071" y="99"/>
                    </a:lnTo>
                    <a:lnTo>
                      <a:pt x="1071" y="99"/>
                    </a:lnTo>
                    <a:lnTo>
                      <a:pt x="1071" y="101"/>
                    </a:lnTo>
                    <a:lnTo>
                      <a:pt x="1073" y="102"/>
                    </a:lnTo>
                    <a:lnTo>
                      <a:pt x="1077" y="104"/>
                    </a:lnTo>
                    <a:lnTo>
                      <a:pt x="1080" y="104"/>
                    </a:lnTo>
                    <a:lnTo>
                      <a:pt x="1080" y="104"/>
                    </a:lnTo>
                    <a:lnTo>
                      <a:pt x="1083" y="104"/>
                    </a:lnTo>
                    <a:lnTo>
                      <a:pt x="1085" y="105"/>
                    </a:lnTo>
                    <a:lnTo>
                      <a:pt x="1087" y="109"/>
                    </a:lnTo>
                    <a:lnTo>
                      <a:pt x="1087" y="109"/>
                    </a:lnTo>
                    <a:lnTo>
                      <a:pt x="1087" y="111"/>
                    </a:lnTo>
                    <a:lnTo>
                      <a:pt x="1085" y="111"/>
                    </a:lnTo>
                    <a:lnTo>
                      <a:pt x="1083" y="109"/>
                    </a:lnTo>
                    <a:lnTo>
                      <a:pt x="1078" y="109"/>
                    </a:lnTo>
                    <a:lnTo>
                      <a:pt x="1075" y="111"/>
                    </a:lnTo>
                    <a:lnTo>
                      <a:pt x="1075" y="111"/>
                    </a:lnTo>
                    <a:lnTo>
                      <a:pt x="1074" y="112"/>
                    </a:lnTo>
                    <a:lnTo>
                      <a:pt x="1075" y="114"/>
                    </a:lnTo>
                    <a:lnTo>
                      <a:pt x="1081" y="115"/>
                    </a:lnTo>
                    <a:lnTo>
                      <a:pt x="1081" y="115"/>
                    </a:lnTo>
                    <a:lnTo>
                      <a:pt x="1084" y="115"/>
                    </a:lnTo>
                    <a:lnTo>
                      <a:pt x="1084" y="116"/>
                    </a:lnTo>
                    <a:lnTo>
                      <a:pt x="1084" y="118"/>
                    </a:lnTo>
                    <a:lnTo>
                      <a:pt x="1087" y="121"/>
                    </a:lnTo>
                    <a:lnTo>
                      <a:pt x="1087" y="121"/>
                    </a:lnTo>
                    <a:lnTo>
                      <a:pt x="1087" y="121"/>
                    </a:lnTo>
                    <a:lnTo>
                      <a:pt x="1087" y="121"/>
                    </a:lnTo>
                    <a:lnTo>
                      <a:pt x="1088" y="122"/>
                    </a:lnTo>
                    <a:lnTo>
                      <a:pt x="1087" y="125"/>
                    </a:lnTo>
                    <a:lnTo>
                      <a:pt x="1085" y="126"/>
                    </a:lnTo>
                    <a:lnTo>
                      <a:pt x="1085" y="128"/>
                    </a:lnTo>
                    <a:lnTo>
                      <a:pt x="1085" y="128"/>
                    </a:lnTo>
                    <a:lnTo>
                      <a:pt x="1085" y="129"/>
                    </a:lnTo>
                    <a:lnTo>
                      <a:pt x="1084" y="131"/>
                    </a:lnTo>
                    <a:lnTo>
                      <a:pt x="1081" y="131"/>
                    </a:lnTo>
                    <a:lnTo>
                      <a:pt x="1081" y="129"/>
                    </a:lnTo>
                    <a:lnTo>
                      <a:pt x="1081" y="129"/>
                    </a:lnTo>
                    <a:lnTo>
                      <a:pt x="1078" y="128"/>
                    </a:lnTo>
                    <a:lnTo>
                      <a:pt x="1074" y="126"/>
                    </a:lnTo>
                    <a:lnTo>
                      <a:pt x="1070" y="126"/>
                    </a:lnTo>
                    <a:lnTo>
                      <a:pt x="1065" y="128"/>
                    </a:lnTo>
                    <a:lnTo>
                      <a:pt x="1065" y="128"/>
                    </a:lnTo>
                    <a:lnTo>
                      <a:pt x="1063" y="132"/>
                    </a:lnTo>
                    <a:lnTo>
                      <a:pt x="1060" y="132"/>
                    </a:lnTo>
                    <a:lnTo>
                      <a:pt x="1058" y="131"/>
                    </a:lnTo>
                    <a:lnTo>
                      <a:pt x="1058" y="131"/>
                    </a:lnTo>
                    <a:lnTo>
                      <a:pt x="1054" y="129"/>
                    </a:lnTo>
                    <a:lnTo>
                      <a:pt x="1050" y="131"/>
                    </a:lnTo>
                    <a:lnTo>
                      <a:pt x="1034" y="132"/>
                    </a:lnTo>
                    <a:lnTo>
                      <a:pt x="1034" y="132"/>
                    </a:lnTo>
                    <a:lnTo>
                      <a:pt x="1011" y="133"/>
                    </a:lnTo>
                    <a:lnTo>
                      <a:pt x="1000" y="135"/>
                    </a:lnTo>
                    <a:lnTo>
                      <a:pt x="993" y="136"/>
                    </a:lnTo>
                    <a:lnTo>
                      <a:pt x="993" y="136"/>
                    </a:lnTo>
                    <a:lnTo>
                      <a:pt x="989" y="138"/>
                    </a:lnTo>
                    <a:lnTo>
                      <a:pt x="986" y="142"/>
                    </a:lnTo>
                    <a:lnTo>
                      <a:pt x="986" y="148"/>
                    </a:lnTo>
                    <a:lnTo>
                      <a:pt x="986" y="149"/>
                    </a:lnTo>
                    <a:lnTo>
                      <a:pt x="987" y="152"/>
                    </a:lnTo>
                    <a:lnTo>
                      <a:pt x="987" y="152"/>
                    </a:lnTo>
                    <a:lnTo>
                      <a:pt x="990" y="155"/>
                    </a:lnTo>
                    <a:lnTo>
                      <a:pt x="990" y="158"/>
                    </a:lnTo>
                    <a:lnTo>
                      <a:pt x="989" y="161"/>
                    </a:lnTo>
                    <a:lnTo>
                      <a:pt x="987" y="163"/>
                    </a:lnTo>
                    <a:lnTo>
                      <a:pt x="987" y="163"/>
                    </a:lnTo>
                    <a:lnTo>
                      <a:pt x="990" y="166"/>
                    </a:lnTo>
                    <a:lnTo>
                      <a:pt x="996" y="170"/>
                    </a:lnTo>
                    <a:lnTo>
                      <a:pt x="1003" y="173"/>
                    </a:lnTo>
                    <a:lnTo>
                      <a:pt x="1010" y="175"/>
                    </a:lnTo>
                    <a:lnTo>
                      <a:pt x="1010" y="175"/>
                    </a:lnTo>
                    <a:lnTo>
                      <a:pt x="1014" y="176"/>
                    </a:lnTo>
                    <a:lnTo>
                      <a:pt x="1019" y="180"/>
                    </a:lnTo>
                    <a:lnTo>
                      <a:pt x="1020" y="186"/>
                    </a:lnTo>
                    <a:lnTo>
                      <a:pt x="1020" y="188"/>
                    </a:lnTo>
                    <a:lnTo>
                      <a:pt x="1019" y="190"/>
                    </a:lnTo>
                    <a:lnTo>
                      <a:pt x="1019" y="190"/>
                    </a:lnTo>
                    <a:lnTo>
                      <a:pt x="1017" y="192"/>
                    </a:lnTo>
                    <a:lnTo>
                      <a:pt x="1014" y="192"/>
                    </a:lnTo>
                    <a:lnTo>
                      <a:pt x="1007" y="190"/>
                    </a:lnTo>
                    <a:lnTo>
                      <a:pt x="999" y="186"/>
                    </a:lnTo>
                    <a:lnTo>
                      <a:pt x="992" y="182"/>
                    </a:lnTo>
                    <a:lnTo>
                      <a:pt x="992" y="182"/>
                    </a:lnTo>
                    <a:lnTo>
                      <a:pt x="983" y="178"/>
                    </a:lnTo>
                    <a:lnTo>
                      <a:pt x="973" y="173"/>
                    </a:lnTo>
                    <a:lnTo>
                      <a:pt x="962" y="172"/>
                    </a:lnTo>
                    <a:lnTo>
                      <a:pt x="955" y="172"/>
                    </a:lnTo>
                    <a:lnTo>
                      <a:pt x="955" y="172"/>
                    </a:lnTo>
                    <a:lnTo>
                      <a:pt x="952" y="172"/>
                    </a:lnTo>
                    <a:lnTo>
                      <a:pt x="950" y="169"/>
                    </a:lnTo>
                    <a:lnTo>
                      <a:pt x="947" y="168"/>
                    </a:lnTo>
                    <a:lnTo>
                      <a:pt x="943" y="166"/>
                    </a:lnTo>
                    <a:lnTo>
                      <a:pt x="943" y="166"/>
                    </a:lnTo>
                    <a:lnTo>
                      <a:pt x="937" y="168"/>
                    </a:lnTo>
                    <a:lnTo>
                      <a:pt x="933" y="170"/>
                    </a:lnTo>
                    <a:lnTo>
                      <a:pt x="930" y="173"/>
                    </a:lnTo>
                    <a:lnTo>
                      <a:pt x="932" y="173"/>
                    </a:lnTo>
                    <a:lnTo>
                      <a:pt x="933" y="175"/>
                    </a:lnTo>
                    <a:lnTo>
                      <a:pt x="933" y="175"/>
                    </a:lnTo>
                    <a:lnTo>
                      <a:pt x="940" y="175"/>
                    </a:lnTo>
                    <a:lnTo>
                      <a:pt x="940" y="175"/>
                    </a:lnTo>
                    <a:lnTo>
                      <a:pt x="940" y="176"/>
                    </a:lnTo>
                    <a:lnTo>
                      <a:pt x="940" y="176"/>
                    </a:lnTo>
                    <a:lnTo>
                      <a:pt x="939" y="178"/>
                    </a:lnTo>
                    <a:lnTo>
                      <a:pt x="940" y="179"/>
                    </a:lnTo>
                    <a:lnTo>
                      <a:pt x="949" y="182"/>
                    </a:lnTo>
                    <a:lnTo>
                      <a:pt x="949" y="182"/>
                    </a:lnTo>
                    <a:lnTo>
                      <a:pt x="950" y="183"/>
                    </a:lnTo>
                    <a:lnTo>
                      <a:pt x="950" y="185"/>
                    </a:lnTo>
                    <a:lnTo>
                      <a:pt x="947" y="186"/>
                    </a:lnTo>
                    <a:lnTo>
                      <a:pt x="942" y="186"/>
                    </a:lnTo>
                    <a:lnTo>
                      <a:pt x="935" y="185"/>
                    </a:lnTo>
                    <a:lnTo>
                      <a:pt x="935" y="185"/>
                    </a:lnTo>
                    <a:lnTo>
                      <a:pt x="929" y="182"/>
                    </a:lnTo>
                    <a:lnTo>
                      <a:pt x="925" y="183"/>
                    </a:lnTo>
                    <a:lnTo>
                      <a:pt x="920" y="185"/>
                    </a:lnTo>
                    <a:lnTo>
                      <a:pt x="918" y="188"/>
                    </a:lnTo>
                    <a:lnTo>
                      <a:pt x="918" y="188"/>
                    </a:lnTo>
                    <a:lnTo>
                      <a:pt x="918" y="189"/>
                    </a:lnTo>
                    <a:lnTo>
                      <a:pt x="919" y="192"/>
                    </a:lnTo>
                    <a:lnTo>
                      <a:pt x="923" y="196"/>
                    </a:lnTo>
                    <a:lnTo>
                      <a:pt x="930" y="202"/>
                    </a:lnTo>
                    <a:lnTo>
                      <a:pt x="939" y="205"/>
                    </a:lnTo>
                    <a:lnTo>
                      <a:pt x="939" y="205"/>
                    </a:lnTo>
                    <a:lnTo>
                      <a:pt x="946" y="206"/>
                    </a:lnTo>
                    <a:lnTo>
                      <a:pt x="949" y="209"/>
                    </a:lnTo>
                    <a:lnTo>
                      <a:pt x="950" y="210"/>
                    </a:lnTo>
                    <a:lnTo>
                      <a:pt x="953" y="212"/>
                    </a:lnTo>
                    <a:lnTo>
                      <a:pt x="953" y="212"/>
                    </a:lnTo>
                    <a:lnTo>
                      <a:pt x="956" y="215"/>
                    </a:lnTo>
                    <a:lnTo>
                      <a:pt x="956" y="216"/>
                    </a:lnTo>
                    <a:lnTo>
                      <a:pt x="955" y="216"/>
                    </a:lnTo>
                    <a:lnTo>
                      <a:pt x="952" y="217"/>
                    </a:lnTo>
                    <a:lnTo>
                      <a:pt x="952" y="217"/>
                    </a:lnTo>
                    <a:lnTo>
                      <a:pt x="947" y="216"/>
                    </a:lnTo>
                    <a:lnTo>
                      <a:pt x="943" y="213"/>
                    </a:lnTo>
                    <a:lnTo>
                      <a:pt x="933" y="207"/>
                    </a:lnTo>
                    <a:lnTo>
                      <a:pt x="933" y="207"/>
                    </a:lnTo>
                    <a:lnTo>
                      <a:pt x="926" y="206"/>
                    </a:lnTo>
                    <a:lnTo>
                      <a:pt x="918" y="206"/>
                    </a:lnTo>
                    <a:lnTo>
                      <a:pt x="910" y="206"/>
                    </a:lnTo>
                    <a:lnTo>
                      <a:pt x="908" y="206"/>
                    </a:lnTo>
                    <a:lnTo>
                      <a:pt x="906" y="205"/>
                    </a:lnTo>
                    <a:lnTo>
                      <a:pt x="906" y="205"/>
                    </a:lnTo>
                    <a:lnTo>
                      <a:pt x="905" y="202"/>
                    </a:lnTo>
                    <a:lnTo>
                      <a:pt x="905" y="200"/>
                    </a:lnTo>
                    <a:lnTo>
                      <a:pt x="906" y="198"/>
                    </a:lnTo>
                    <a:lnTo>
                      <a:pt x="905" y="195"/>
                    </a:lnTo>
                    <a:lnTo>
                      <a:pt x="905" y="195"/>
                    </a:lnTo>
                    <a:lnTo>
                      <a:pt x="903" y="192"/>
                    </a:lnTo>
                    <a:lnTo>
                      <a:pt x="903" y="189"/>
                    </a:lnTo>
                    <a:lnTo>
                      <a:pt x="909" y="179"/>
                    </a:lnTo>
                    <a:lnTo>
                      <a:pt x="909" y="179"/>
                    </a:lnTo>
                    <a:lnTo>
                      <a:pt x="909" y="176"/>
                    </a:lnTo>
                    <a:lnTo>
                      <a:pt x="910" y="173"/>
                    </a:lnTo>
                    <a:lnTo>
                      <a:pt x="909" y="168"/>
                    </a:lnTo>
                    <a:lnTo>
                      <a:pt x="906" y="162"/>
                    </a:lnTo>
                    <a:lnTo>
                      <a:pt x="902" y="159"/>
                    </a:lnTo>
                    <a:lnTo>
                      <a:pt x="902" y="159"/>
                    </a:lnTo>
                    <a:lnTo>
                      <a:pt x="898" y="159"/>
                    </a:lnTo>
                    <a:lnTo>
                      <a:pt x="896" y="161"/>
                    </a:lnTo>
                    <a:lnTo>
                      <a:pt x="896" y="163"/>
                    </a:lnTo>
                    <a:lnTo>
                      <a:pt x="898" y="165"/>
                    </a:lnTo>
                    <a:lnTo>
                      <a:pt x="898" y="165"/>
                    </a:lnTo>
                    <a:lnTo>
                      <a:pt x="898" y="168"/>
                    </a:lnTo>
                    <a:lnTo>
                      <a:pt x="898" y="172"/>
                    </a:lnTo>
                    <a:lnTo>
                      <a:pt x="896" y="178"/>
                    </a:lnTo>
                    <a:lnTo>
                      <a:pt x="893" y="182"/>
                    </a:lnTo>
                    <a:lnTo>
                      <a:pt x="893" y="182"/>
                    </a:lnTo>
                    <a:lnTo>
                      <a:pt x="888" y="186"/>
                    </a:lnTo>
                    <a:lnTo>
                      <a:pt x="882" y="188"/>
                    </a:lnTo>
                    <a:lnTo>
                      <a:pt x="876" y="190"/>
                    </a:lnTo>
                    <a:lnTo>
                      <a:pt x="875" y="190"/>
                    </a:lnTo>
                    <a:lnTo>
                      <a:pt x="873" y="192"/>
                    </a:lnTo>
                    <a:lnTo>
                      <a:pt x="873" y="192"/>
                    </a:lnTo>
                    <a:lnTo>
                      <a:pt x="872" y="195"/>
                    </a:lnTo>
                    <a:lnTo>
                      <a:pt x="869" y="198"/>
                    </a:lnTo>
                    <a:lnTo>
                      <a:pt x="868" y="200"/>
                    </a:lnTo>
                    <a:lnTo>
                      <a:pt x="866" y="200"/>
                    </a:lnTo>
                    <a:lnTo>
                      <a:pt x="868" y="202"/>
                    </a:lnTo>
                    <a:lnTo>
                      <a:pt x="868" y="202"/>
                    </a:lnTo>
                    <a:lnTo>
                      <a:pt x="878" y="213"/>
                    </a:lnTo>
                    <a:lnTo>
                      <a:pt x="882" y="219"/>
                    </a:lnTo>
                    <a:lnTo>
                      <a:pt x="886" y="225"/>
                    </a:lnTo>
                    <a:lnTo>
                      <a:pt x="886" y="225"/>
                    </a:lnTo>
                    <a:lnTo>
                      <a:pt x="886" y="226"/>
                    </a:lnTo>
                    <a:lnTo>
                      <a:pt x="885" y="229"/>
                    </a:lnTo>
                    <a:lnTo>
                      <a:pt x="881" y="236"/>
                    </a:lnTo>
                    <a:lnTo>
                      <a:pt x="878" y="244"/>
                    </a:lnTo>
                    <a:lnTo>
                      <a:pt x="876" y="247"/>
                    </a:lnTo>
                    <a:lnTo>
                      <a:pt x="876" y="252"/>
                    </a:lnTo>
                    <a:lnTo>
                      <a:pt x="876" y="252"/>
                    </a:lnTo>
                    <a:lnTo>
                      <a:pt x="876" y="257"/>
                    </a:lnTo>
                    <a:lnTo>
                      <a:pt x="876" y="262"/>
                    </a:lnTo>
                    <a:lnTo>
                      <a:pt x="876" y="264"/>
                    </a:lnTo>
                    <a:lnTo>
                      <a:pt x="878" y="267"/>
                    </a:lnTo>
                    <a:lnTo>
                      <a:pt x="878" y="267"/>
                    </a:lnTo>
                    <a:lnTo>
                      <a:pt x="879" y="269"/>
                    </a:lnTo>
                    <a:lnTo>
                      <a:pt x="883" y="269"/>
                    </a:lnTo>
                    <a:lnTo>
                      <a:pt x="886" y="269"/>
                    </a:lnTo>
                    <a:lnTo>
                      <a:pt x="889" y="270"/>
                    </a:lnTo>
                    <a:lnTo>
                      <a:pt x="889" y="270"/>
                    </a:lnTo>
                    <a:lnTo>
                      <a:pt x="892" y="270"/>
                    </a:lnTo>
                    <a:lnTo>
                      <a:pt x="896" y="269"/>
                    </a:lnTo>
                    <a:lnTo>
                      <a:pt x="908" y="266"/>
                    </a:lnTo>
                    <a:lnTo>
                      <a:pt x="908" y="266"/>
                    </a:lnTo>
                    <a:lnTo>
                      <a:pt x="916" y="266"/>
                    </a:lnTo>
                    <a:lnTo>
                      <a:pt x="925" y="269"/>
                    </a:lnTo>
                    <a:lnTo>
                      <a:pt x="939" y="276"/>
                    </a:lnTo>
                    <a:lnTo>
                      <a:pt x="939" y="276"/>
                    </a:lnTo>
                    <a:lnTo>
                      <a:pt x="942" y="279"/>
                    </a:lnTo>
                    <a:lnTo>
                      <a:pt x="943" y="281"/>
                    </a:lnTo>
                    <a:lnTo>
                      <a:pt x="943" y="284"/>
                    </a:lnTo>
                    <a:lnTo>
                      <a:pt x="945" y="289"/>
                    </a:lnTo>
                    <a:lnTo>
                      <a:pt x="945" y="289"/>
                    </a:lnTo>
                    <a:lnTo>
                      <a:pt x="946" y="290"/>
                    </a:lnTo>
                    <a:lnTo>
                      <a:pt x="945" y="291"/>
                    </a:lnTo>
                    <a:lnTo>
                      <a:pt x="942" y="293"/>
                    </a:lnTo>
                    <a:lnTo>
                      <a:pt x="939" y="296"/>
                    </a:lnTo>
                    <a:lnTo>
                      <a:pt x="937" y="297"/>
                    </a:lnTo>
                    <a:lnTo>
                      <a:pt x="937" y="300"/>
                    </a:lnTo>
                    <a:lnTo>
                      <a:pt x="937" y="300"/>
                    </a:lnTo>
                    <a:lnTo>
                      <a:pt x="937" y="303"/>
                    </a:lnTo>
                    <a:lnTo>
                      <a:pt x="940" y="304"/>
                    </a:lnTo>
                    <a:lnTo>
                      <a:pt x="946" y="308"/>
                    </a:lnTo>
                    <a:lnTo>
                      <a:pt x="953" y="310"/>
                    </a:lnTo>
                    <a:lnTo>
                      <a:pt x="956" y="313"/>
                    </a:lnTo>
                    <a:lnTo>
                      <a:pt x="956" y="313"/>
                    </a:lnTo>
                    <a:lnTo>
                      <a:pt x="955" y="313"/>
                    </a:lnTo>
                    <a:lnTo>
                      <a:pt x="949" y="313"/>
                    </a:lnTo>
                    <a:lnTo>
                      <a:pt x="937" y="311"/>
                    </a:lnTo>
                    <a:lnTo>
                      <a:pt x="937" y="311"/>
                    </a:lnTo>
                    <a:lnTo>
                      <a:pt x="935" y="308"/>
                    </a:lnTo>
                    <a:lnTo>
                      <a:pt x="933" y="306"/>
                    </a:lnTo>
                    <a:lnTo>
                      <a:pt x="930" y="301"/>
                    </a:lnTo>
                    <a:lnTo>
                      <a:pt x="930" y="301"/>
                    </a:lnTo>
                    <a:lnTo>
                      <a:pt x="930" y="299"/>
                    </a:lnTo>
                    <a:lnTo>
                      <a:pt x="932" y="296"/>
                    </a:lnTo>
                    <a:lnTo>
                      <a:pt x="933" y="293"/>
                    </a:lnTo>
                    <a:lnTo>
                      <a:pt x="935" y="289"/>
                    </a:lnTo>
                    <a:lnTo>
                      <a:pt x="935" y="289"/>
                    </a:lnTo>
                    <a:lnTo>
                      <a:pt x="933" y="286"/>
                    </a:lnTo>
                    <a:lnTo>
                      <a:pt x="932" y="283"/>
                    </a:lnTo>
                    <a:lnTo>
                      <a:pt x="926" y="279"/>
                    </a:lnTo>
                    <a:lnTo>
                      <a:pt x="926" y="279"/>
                    </a:lnTo>
                    <a:lnTo>
                      <a:pt x="922" y="274"/>
                    </a:lnTo>
                    <a:lnTo>
                      <a:pt x="919" y="273"/>
                    </a:lnTo>
                    <a:lnTo>
                      <a:pt x="916" y="273"/>
                    </a:lnTo>
                    <a:lnTo>
                      <a:pt x="916" y="273"/>
                    </a:lnTo>
                    <a:lnTo>
                      <a:pt x="905" y="274"/>
                    </a:lnTo>
                    <a:lnTo>
                      <a:pt x="898" y="276"/>
                    </a:lnTo>
                    <a:lnTo>
                      <a:pt x="892" y="279"/>
                    </a:lnTo>
                    <a:lnTo>
                      <a:pt x="892" y="279"/>
                    </a:lnTo>
                    <a:lnTo>
                      <a:pt x="890" y="281"/>
                    </a:lnTo>
                    <a:lnTo>
                      <a:pt x="890" y="283"/>
                    </a:lnTo>
                    <a:lnTo>
                      <a:pt x="890" y="290"/>
                    </a:lnTo>
                    <a:lnTo>
                      <a:pt x="895" y="301"/>
                    </a:lnTo>
                    <a:lnTo>
                      <a:pt x="895" y="301"/>
                    </a:lnTo>
                    <a:lnTo>
                      <a:pt x="895" y="304"/>
                    </a:lnTo>
                    <a:lnTo>
                      <a:pt x="893" y="306"/>
                    </a:lnTo>
                    <a:lnTo>
                      <a:pt x="889" y="311"/>
                    </a:lnTo>
                    <a:lnTo>
                      <a:pt x="883" y="316"/>
                    </a:lnTo>
                    <a:lnTo>
                      <a:pt x="882" y="318"/>
                    </a:lnTo>
                    <a:lnTo>
                      <a:pt x="882" y="320"/>
                    </a:lnTo>
                    <a:lnTo>
                      <a:pt x="882" y="320"/>
                    </a:lnTo>
                    <a:lnTo>
                      <a:pt x="881" y="323"/>
                    </a:lnTo>
                    <a:lnTo>
                      <a:pt x="879" y="326"/>
                    </a:lnTo>
                    <a:lnTo>
                      <a:pt x="869" y="331"/>
                    </a:lnTo>
                    <a:lnTo>
                      <a:pt x="869" y="331"/>
                    </a:lnTo>
                    <a:lnTo>
                      <a:pt x="859" y="337"/>
                    </a:lnTo>
                    <a:lnTo>
                      <a:pt x="856" y="340"/>
                    </a:lnTo>
                    <a:lnTo>
                      <a:pt x="855" y="344"/>
                    </a:lnTo>
                    <a:lnTo>
                      <a:pt x="855" y="344"/>
                    </a:lnTo>
                    <a:lnTo>
                      <a:pt x="855" y="345"/>
                    </a:lnTo>
                    <a:lnTo>
                      <a:pt x="854" y="347"/>
                    </a:lnTo>
                    <a:lnTo>
                      <a:pt x="849" y="347"/>
                    </a:lnTo>
                    <a:lnTo>
                      <a:pt x="845" y="345"/>
                    </a:lnTo>
                    <a:lnTo>
                      <a:pt x="841" y="344"/>
                    </a:lnTo>
                    <a:lnTo>
                      <a:pt x="841" y="344"/>
                    </a:lnTo>
                    <a:lnTo>
                      <a:pt x="836" y="343"/>
                    </a:lnTo>
                    <a:lnTo>
                      <a:pt x="832" y="344"/>
                    </a:lnTo>
                    <a:lnTo>
                      <a:pt x="826" y="344"/>
                    </a:lnTo>
                    <a:lnTo>
                      <a:pt x="822" y="345"/>
                    </a:lnTo>
                    <a:lnTo>
                      <a:pt x="822" y="345"/>
                    </a:lnTo>
                    <a:lnTo>
                      <a:pt x="818" y="344"/>
                    </a:lnTo>
                    <a:lnTo>
                      <a:pt x="815" y="343"/>
                    </a:lnTo>
                    <a:lnTo>
                      <a:pt x="812" y="341"/>
                    </a:lnTo>
                    <a:lnTo>
                      <a:pt x="809" y="341"/>
                    </a:lnTo>
                    <a:lnTo>
                      <a:pt x="809" y="341"/>
                    </a:lnTo>
                    <a:lnTo>
                      <a:pt x="805" y="341"/>
                    </a:lnTo>
                    <a:lnTo>
                      <a:pt x="802" y="340"/>
                    </a:lnTo>
                    <a:lnTo>
                      <a:pt x="801" y="337"/>
                    </a:lnTo>
                    <a:lnTo>
                      <a:pt x="801" y="334"/>
                    </a:lnTo>
                    <a:lnTo>
                      <a:pt x="801" y="334"/>
                    </a:lnTo>
                    <a:lnTo>
                      <a:pt x="804" y="333"/>
                    </a:lnTo>
                    <a:lnTo>
                      <a:pt x="807" y="333"/>
                    </a:lnTo>
                    <a:lnTo>
                      <a:pt x="808" y="334"/>
                    </a:lnTo>
                    <a:lnTo>
                      <a:pt x="809" y="337"/>
                    </a:lnTo>
                    <a:lnTo>
                      <a:pt x="809" y="337"/>
                    </a:lnTo>
                    <a:lnTo>
                      <a:pt x="811" y="338"/>
                    </a:lnTo>
                    <a:lnTo>
                      <a:pt x="812" y="338"/>
                    </a:lnTo>
                    <a:lnTo>
                      <a:pt x="819" y="335"/>
                    </a:lnTo>
                    <a:lnTo>
                      <a:pt x="819" y="335"/>
                    </a:lnTo>
                    <a:lnTo>
                      <a:pt x="822" y="335"/>
                    </a:lnTo>
                    <a:lnTo>
                      <a:pt x="824" y="335"/>
                    </a:lnTo>
                    <a:lnTo>
                      <a:pt x="825" y="338"/>
                    </a:lnTo>
                    <a:lnTo>
                      <a:pt x="828" y="340"/>
                    </a:lnTo>
                    <a:lnTo>
                      <a:pt x="828" y="340"/>
                    </a:lnTo>
                    <a:lnTo>
                      <a:pt x="832" y="338"/>
                    </a:lnTo>
                    <a:lnTo>
                      <a:pt x="834" y="338"/>
                    </a:lnTo>
                    <a:lnTo>
                      <a:pt x="834" y="337"/>
                    </a:lnTo>
                    <a:lnTo>
                      <a:pt x="836" y="335"/>
                    </a:lnTo>
                    <a:lnTo>
                      <a:pt x="836" y="335"/>
                    </a:lnTo>
                    <a:lnTo>
                      <a:pt x="839" y="335"/>
                    </a:lnTo>
                    <a:lnTo>
                      <a:pt x="841" y="335"/>
                    </a:lnTo>
                    <a:lnTo>
                      <a:pt x="841" y="334"/>
                    </a:lnTo>
                    <a:lnTo>
                      <a:pt x="841" y="333"/>
                    </a:lnTo>
                    <a:lnTo>
                      <a:pt x="841" y="333"/>
                    </a:lnTo>
                    <a:lnTo>
                      <a:pt x="841" y="330"/>
                    </a:lnTo>
                    <a:lnTo>
                      <a:pt x="842" y="328"/>
                    </a:lnTo>
                    <a:lnTo>
                      <a:pt x="848" y="327"/>
                    </a:lnTo>
                    <a:lnTo>
                      <a:pt x="848" y="327"/>
                    </a:lnTo>
                    <a:lnTo>
                      <a:pt x="849" y="324"/>
                    </a:lnTo>
                    <a:lnTo>
                      <a:pt x="851" y="323"/>
                    </a:lnTo>
                    <a:lnTo>
                      <a:pt x="851" y="320"/>
                    </a:lnTo>
                    <a:lnTo>
                      <a:pt x="852" y="318"/>
                    </a:lnTo>
                    <a:lnTo>
                      <a:pt x="852" y="318"/>
                    </a:lnTo>
                    <a:lnTo>
                      <a:pt x="854" y="317"/>
                    </a:lnTo>
                    <a:lnTo>
                      <a:pt x="855" y="314"/>
                    </a:lnTo>
                    <a:lnTo>
                      <a:pt x="855" y="313"/>
                    </a:lnTo>
                    <a:lnTo>
                      <a:pt x="856" y="313"/>
                    </a:lnTo>
                    <a:lnTo>
                      <a:pt x="856" y="313"/>
                    </a:lnTo>
                    <a:lnTo>
                      <a:pt x="859" y="311"/>
                    </a:lnTo>
                    <a:lnTo>
                      <a:pt x="861" y="310"/>
                    </a:lnTo>
                    <a:lnTo>
                      <a:pt x="862" y="308"/>
                    </a:lnTo>
                    <a:lnTo>
                      <a:pt x="865" y="307"/>
                    </a:lnTo>
                    <a:lnTo>
                      <a:pt x="865" y="307"/>
                    </a:lnTo>
                    <a:lnTo>
                      <a:pt x="866" y="307"/>
                    </a:lnTo>
                    <a:lnTo>
                      <a:pt x="868" y="304"/>
                    </a:lnTo>
                    <a:lnTo>
                      <a:pt x="868" y="303"/>
                    </a:lnTo>
                    <a:lnTo>
                      <a:pt x="868" y="300"/>
                    </a:lnTo>
                    <a:lnTo>
                      <a:pt x="868" y="300"/>
                    </a:lnTo>
                    <a:lnTo>
                      <a:pt x="866" y="297"/>
                    </a:lnTo>
                    <a:lnTo>
                      <a:pt x="868" y="294"/>
                    </a:lnTo>
                    <a:lnTo>
                      <a:pt x="869" y="291"/>
                    </a:lnTo>
                    <a:lnTo>
                      <a:pt x="872" y="289"/>
                    </a:lnTo>
                    <a:lnTo>
                      <a:pt x="872" y="289"/>
                    </a:lnTo>
                    <a:lnTo>
                      <a:pt x="873" y="289"/>
                    </a:lnTo>
                    <a:lnTo>
                      <a:pt x="875" y="287"/>
                    </a:lnTo>
                    <a:lnTo>
                      <a:pt x="873" y="284"/>
                    </a:lnTo>
                    <a:lnTo>
                      <a:pt x="872" y="283"/>
                    </a:lnTo>
                    <a:lnTo>
                      <a:pt x="872" y="283"/>
                    </a:lnTo>
                    <a:lnTo>
                      <a:pt x="865" y="277"/>
                    </a:lnTo>
                    <a:lnTo>
                      <a:pt x="861" y="273"/>
                    </a:lnTo>
                    <a:lnTo>
                      <a:pt x="859" y="270"/>
                    </a:lnTo>
                    <a:lnTo>
                      <a:pt x="859" y="270"/>
                    </a:lnTo>
                    <a:lnTo>
                      <a:pt x="859" y="262"/>
                    </a:lnTo>
                    <a:lnTo>
                      <a:pt x="859" y="256"/>
                    </a:lnTo>
                    <a:lnTo>
                      <a:pt x="859" y="253"/>
                    </a:lnTo>
                    <a:lnTo>
                      <a:pt x="859" y="253"/>
                    </a:lnTo>
                    <a:lnTo>
                      <a:pt x="859" y="246"/>
                    </a:lnTo>
                    <a:lnTo>
                      <a:pt x="859" y="237"/>
                    </a:lnTo>
                    <a:lnTo>
                      <a:pt x="859" y="237"/>
                    </a:lnTo>
                    <a:lnTo>
                      <a:pt x="859" y="234"/>
                    </a:lnTo>
                    <a:lnTo>
                      <a:pt x="861" y="230"/>
                    </a:lnTo>
                    <a:lnTo>
                      <a:pt x="863" y="222"/>
                    </a:lnTo>
                    <a:lnTo>
                      <a:pt x="863" y="222"/>
                    </a:lnTo>
                    <a:lnTo>
                      <a:pt x="863" y="219"/>
                    </a:lnTo>
                    <a:lnTo>
                      <a:pt x="862" y="215"/>
                    </a:lnTo>
                    <a:lnTo>
                      <a:pt x="859" y="210"/>
                    </a:lnTo>
                    <a:lnTo>
                      <a:pt x="854" y="206"/>
                    </a:lnTo>
                    <a:lnTo>
                      <a:pt x="851" y="203"/>
                    </a:lnTo>
                    <a:lnTo>
                      <a:pt x="851" y="203"/>
                    </a:lnTo>
                    <a:lnTo>
                      <a:pt x="848" y="200"/>
                    </a:lnTo>
                    <a:lnTo>
                      <a:pt x="848" y="198"/>
                    </a:lnTo>
                    <a:lnTo>
                      <a:pt x="851" y="195"/>
                    </a:lnTo>
                    <a:lnTo>
                      <a:pt x="855" y="190"/>
                    </a:lnTo>
                    <a:lnTo>
                      <a:pt x="855" y="190"/>
                    </a:lnTo>
                    <a:lnTo>
                      <a:pt x="858" y="188"/>
                    </a:lnTo>
                    <a:lnTo>
                      <a:pt x="859" y="185"/>
                    </a:lnTo>
                    <a:lnTo>
                      <a:pt x="862" y="176"/>
                    </a:lnTo>
                    <a:lnTo>
                      <a:pt x="862" y="169"/>
                    </a:lnTo>
                    <a:lnTo>
                      <a:pt x="862" y="163"/>
                    </a:lnTo>
                    <a:lnTo>
                      <a:pt x="862" y="163"/>
                    </a:lnTo>
                    <a:lnTo>
                      <a:pt x="859" y="161"/>
                    </a:lnTo>
                    <a:lnTo>
                      <a:pt x="854" y="159"/>
                    </a:lnTo>
                    <a:lnTo>
                      <a:pt x="848" y="158"/>
                    </a:lnTo>
                    <a:lnTo>
                      <a:pt x="842" y="156"/>
                    </a:lnTo>
                    <a:lnTo>
                      <a:pt x="842" y="156"/>
                    </a:lnTo>
                    <a:lnTo>
                      <a:pt x="826" y="156"/>
                    </a:lnTo>
                    <a:lnTo>
                      <a:pt x="812" y="155"/>
                    </a:lnTo>
                    <a:lnTo>
                      <a:pt x="812" y="155"/>
                    </a:lnTo>
                    <a:lnTo>
                      <a:pt x="808" y="156"/>
                    </a:lnTo>
                    <a:lnTo>
                      <a:pt x="807" y="158"/>
                    </a:lnTo>
                    <a:lnTo>
                      <a:pt x="802" y="165"/>
                    </a:lnTo>
                    <a:lnTo>
                      <a:pt x="802" y="165"/>
                    </a:lnTo>
                    <a:lnTo>
                      <a:pt x="798" y="173"/>
                    </a:lnTo>
                    <a:lnTo>
                      <a:pt x="795" y="180"/>
                    </a:lnTo>
                    <a:lnTo>
                      <a:pt x="792" y="188"/>
                    </a:lnTo>
                    <a:lnTo>
                      <a:pt x="792" y="188"/>
                    </a:lnTo>
                    <a:lnTo>
                      <a:pt x="791" y="190"/>
                    </a:lnTo>
                    <a:lnTo>
                      <a:pt x="788" y="193"/>
                    </a:lnTo>
                    <a:lnTo>
                      <a:pt x="782" y="199"/>
                    </a:lnTo>
                    <a:lnTo>
                      <a:pt x="771" y="203"/>
                    </a:lnTo>
                    <a:lnTo>
                      <a:pt x="771" y="203"/>
                    </a:lnTo>
                    <a:lnTo>
                      <a:pt x="767" y="206"/>
                    </a:lnTo>
                    <a:lnTo>
                      <a:pt x="764" y="210"/>
                    </a:lnTo>
                    <a:lnTo>
                      <a:pt x="762" y="215"/>
                    </a:lnTo>
                    <a:lnTo>
                      <a:pt x="764" y="217"/>
                    </a:lnTo>
                    <a:lnTo>
                      <a:pt x="764" y="217"/>
                    </a:lnTo>
                    <a:lnTo>
                      <a:pt x="767" y="219"/>
                    </a:lnTo>
                    <a:lnTo>
                      <a:pt x="768" y="219"/>
                    </a:lnTo>
                    <a:lnTo>
                      <a:pt x="771" y="219"/>
                    </a:lnTo>
                    <a:lnTo>
                      <a:pt x="772" y="220"/>
                    </a:lnTo>
                    <a:lnTo>
                      <a:pt x="772" y="220"/>
                    </a:lnTo>
                    <a:lnTo>
                      <a:pt x="774" y="222"/>
                    </a:lnTo>
                    <a:lnTo>
                      <a:pt x="774" y="226"/>
                    </a:lnTo>
                    <a:lnTo>
                      <a:pt x="771" y="233"/>
                    </a:lnTo>
                    <a:lnTo>
                      <a:pt x="771" y="233"/>
                    </a:lnTo>
                    <a:lnTo>
                      <a:pt x="771" y="234"/>
                    </a:lnTo>
                    <a:lnTo>
                      <a:pt x="771" y="236"/>
                    </a:lnTo>
                    <a:lnTo>
                      <a:pt x="771" y="237"/>
                    </a:lnTo>
                    <a:lnTo>
                      <a:pt x="770" y="240"/>
                    </a:lnTo>
                    <a:lnTo>
                      <a:pt x="770" y="240"/>
                    </a:lnTo>
                    <a:lnTo>
                      <a:pt x="767" y="243"/>
                    </a:lnTo>
                    <a:lnTo>
                      <a:pt x="765" y="246"/>
                    </a:lnTo>
                    <a:lnTo>
                      <a:pt x="764" y="249"/>
                    </a:lnTo>
                    <a:lnTo>
                      <a:pt x="765" y="252"/>
                    </a:lnTo>
                    <a:lnTo>
                      <a:pt x="765" y="252"/>
                    </a:lnTo>
                    <a:lnTo>
                      <a:pt x="768" y="253"/>
                    </a:lnTo>
                    <a:lnTo>
                      <a:pt x="772" y="254"/>
                    </a:lnTo>
                    <a:lnTo>
                      <a:pt x="784" y="259"/>
                    </a:lnTo>
                    <a:lnTo>
                      <a:pt x="784" y="259"/>
                    </a:lnTo>
                    <a:lnTo>
                      <a:pt x="787" y="260"/>
                    </a:lnTo>
                    <a:lnTo>
                      <a:pt x="788" y="264"/>
                    </a:lnTo>
                    <a:lnTo>
                      <a:pt x="788" y="267"/>
                    </a:lnTo>
                    <a:lnTo>
                      <a:pt x="791" y="271"/>
                    </a:lnTo>
                    <a:lnTo>
                      <a:pt x="791" y="271"/>
                    </a:lnTo>
                    <a:lnTo>
                      <a:pt x="794" y="273"/>
                    </a:lnTo>
                    <a:lnTo>
                      <a:pt x="797" y="274"/>
                    </a:lnTo>
                    <a:lnTo>
                      <a:pt x="798" y="274"/>
                    </a:lnTo>
                    <a:lnTo>
                      <a:pt x="801" y="276"/>
                    </a:lnTo>
                    <a:lnTo>
                      <a:pt x="801" y="276"/>
                    </a:lnTo>
                    <a:lnTo>
                      <a:pt x="799" y="280"/>
                    </a:lnTo>
                    <a:lnTo>
                      <a:pt x="797" y="286"/>
                    </a:lnTo>
                    <a:lnTo>
                      <a:pt x="794" y="290"/>
                    </a:lnTo>
                    <a:lnTo>
                      <a:pt x="791" y="291"/>
                    </a:lnTo>
                    <a:lnTo>
                      <a:pt x="791" y="291"/>
                    </a:lnTo>
                    <a:lnTo>
                      <a:pt x="787" y="290"/>
                    </a:lnTo>
                    <a:lnTo>
                      <a:pt x="781" y="286"/>
                    </a:lnTo>
                    <a:lnTo>
                      <a:pt x="771" y="277"/>
                    </a:lnTo>
                    <a:lnTo>
                      <a:pt x="771" y="277"/>
                    </a:lnTo>
                    <a:lnTo>
                      <a:pt x="760" y="271"/>
                    </a:lnTo>
                    <a:lnTo>
                      <a:pt x="745" y="266"/>
                    </a:lnTo>
                    <a:lnTo>
                      <a:pt x="745" y="266"/>
                    </a:lnTo>
                    <a:lnTo>
                      <a:pt x="734" y="262"/>
                    </a:lnTo>
                    <a:lnTo>
                      <a:pt x="730" y="260"/>
                    </a:lnTo>
                    <a:lnTo>
                      <a:pt x="724" y="257"/>
                    </a:lnTo>
                    <a:lnTo>
                      <a:pt x="724" y="257"/>
                    </a:lnTo>
                    <a:lnTo>
                      <a:pt x="717" y="253"/>
                    </a:lnTo>
                    <a:lnTo>
                      <a:pt x="711" y="250"/>
                    </a:lnTo>
                    <a:lnTo>
                      <a:pt x="704" y="249"/>
                    </a:lnTo>
                    <a:lnTo>
                      <a:pt x="694" y="249"/>
                    </a:lnTo>
                    <a:lnTo>
                      <a:pt x="694" y="249"/>
                    </a:lnTo>
                    <a:lnTo>
                      <a:pt x="684" y="249"/>
                    </a:lnTo>
                    <a:lnTo>
                      <a:pt x="676" y="247"/>
                    </a:lnTo>
                    <a:lnTo>
                      <a:pt x="670" y="246"/>
                    </a:lnTo>
                    <a:lnTo>
                      <a:pt x="664" y="246"/>
                    </a:lnTo>
                    <a:lnTo>
                      <a:pt x="664" y="246"/>
                    </a:lnTo>
                    <a:lnTo>
                      <a:pt x="661" y="246"/>
                    </a:lnTo>
                    <a:lnTo>
                      <a:pt x="660" y="243"/>
                    </a:lnTo>
                    <a:lnTo>
                      <a:pt x="657" y="240"/>
                    </a:lnTo>
                    <a:lnTo>
                      <a:pt x="653" y="237"/>
                    </a:lnTo>
                    <a:lnTo>
                      <a:pt x="653" y="237"/>
                    </a:lnTo>
                    <a:lnTo>
                      <a:pt x="642" y="232"/>
                    </a:lnTo>
                    <a:lnTo>
                      <a:pt x="637" y="230"/>
                    </a:lnTo>
                    <a:lnTo>
                      <a:pt x="633" y="232"/>
                    </a:lnTo>
                    <a:lnTo>
                      <a:pt x="633" y="232"/>
                    </a:lnTo>
                    <a:lnTo>
                      <a:pt x="632" y="234"/>
                    </a:lnTo>
                    <a:lnTo>
                      <a:pt x="632" y="239"/>
                    </a:lnTo>
                    <a:lnTo>
                      <a:pt x="633" y="242"/>
                    </a:lnTo>
                    <a:lnTo>
                      <a:pt x="639" y="244"/>
                    </a:lnTo>
                    <a:lnTo>
                      <a:pt x="639" y="244"/>
                    </a:lnTo>
                    <a:lnTo>
                      <a:pt x="642" y="246"/>
                    </a:lnTo>
                    <a:lnTo>
                      <a:pt x="644" y="247"/>
                    </a:lnTo>
                    <a:lnTo>
                      <a:pt x="646" y="249"/>
                    </a:lnTo>
                    <a:lnTo>
                      <a:pt x="650" y="249"/>
                    </a:lnTo>
                    <a:lnTo>
                      <a:pt x="650" y="249"/>
                    </a:lnTo>
                    <a:lnTo>
                      <a:pt x="654" y="249"/>
                    </a:lnTo>
                    <a:lnTo>
                      <a:pt x="659" y="250"/>
                    </a:lnTo>
                    <a:lnTo>
                      <a:pt x="660" y="253"/>
                    </a:lnTo>
                    <a:lnTo>
                      <a:pt x="660" y="256"/>
                    </a:lnTo>
                    <a:lnTo>
                      <a:pt x="660" y="256"/>
                    </a:lnTo>
                    <a:lnTo>
                      <a:pt x="660" y="260"/>
                    </a:lnTo>
                    <a:lnTo>
                      <a:pt x="663" y="264"/>
                    </a:lnTo>
                    <a:lnTo>
                      <a:pt x="667" y="270"/>
                    </a:lnTo>
                    <a:lnTo>
                      <a:pt x="667" y="270"/>
                    </a:lnTo>
                    <a:lnTo>
                      <a:pt x="669" y="273"/>
                    </a:lnTo>
                    <a:lnTo>
                      <a:pt x="669" y="276"/>
                    </a:lnTo>
                    <a:lnTo>
                      <a:pt x="666" y="277"/>
                    </a:lnTo>
                    <a:lnTo>
                      <a:pt x="663" y="279"/>
                    </a:lnTo>
                    <a:lnTo>
                      <a:pt x="663" y="279"/>
                    </a:lnTo>
                    <a:lnTo>
                      <a:pt x="653" y="280"/>
                    </a:lnTo>
                    <a:lnTo>
                      <a:pt x="652" y="281"/>
                    </a:lnTo>
                    <a:lnTo>
                      <a:pt x="652" y="284"/>
                    </a:lnTo>
                    <a:lnTo>
                      <a:pt x="652" y="284"/>
                    </a:lnTo>
                    <a:lnTo>
                      <a:pt x="653" y="287"/>
                    </a:lnTo>
                    <a:lnTo>
                      <a:pt x="652" y="289"/>
                    </a:lnTo>
                    <a:lnTo>
                      <a:pt x="647" y="289"/>
                    </a:lnTo>
                    <a:lnTo>
                      <a:pt x="643" y="287"/>
                    </a:lnTo>
                    <a:lnTo>
                      <a:pt x="643" y="287"/>
                    </a:lnTo>
                    <a:lnTo>
                      <a:pt x="640" y="286"/>
                    </a:lnTo>
                    <a:lnTo>
                      <a:pt x="640" y="283"/>
                    </a:lnTo>
                    <a:lnTo>
                      <a:pt x="642" y="280"/>
                    </a:lnTo>
                    <a:lnTo>
                      <a:pt x="643" y="277"/>
                    </a:lnTo>
                    <a:lnTo>
                      <a:pt x="643" y="277"/>
                    </a:lnTo>
                    <a:lnTo>
                      <a:pt x="644" y="277"/>
                    </a:lnTo>
                    <a:lnTo>
                      <a:pt x="643" y="276"/>
                    </a:lnTo>
                    <a:lnTo>
                      <a:pt x="642" y="274"/>
                    </a:lnTo>
                    <a:lnTo>
                      <a:pt x="633" y="270"/>
                    </a:lnTo>
                    <a:lnTo>
                      <a:pt x="633" y="270"/>
                    </a:lnTo>
                    <a:lnTo>
                      <a:pt x="629" y="271"/>
                    </a:lnTo>
                    <a:lnTo>
                      <a:pt x="622" y="276"/>
                    </a:lnTo>
                    <a:lnTo>
                      <a:pt x="609" y="283"/>
                    </a:lnTo>
                    <a:lnTo>
                      <a:pt x="609" y="283"/>
                    </a:lnTo>
                    <a:lnTo>
                      <a:pt x="605" y="283"/>
                    </a:lnTo>
                    <a:lnTo>
                      <a:pt x="597" y="283"/>
                    </a:lnTo>
                    <a:lnTo>
                      <a:pt x="590" y="281"/>
                    </a:lnTo>
                    <a:lnTo>
                      <a:pt x="582" y="283"/>
                    </a:lnTo>
                    <a:lnTo>
                      <a:pt x="582" y="283"/>
                    </a:lnTo>
                    <a:lnTo>
                      <a:pt x="575" y="286"/>
                    </a:lnTo>
                    <a:lnTo>
                      <a:pt x="572" y="290"/>
                    </a:lnTo>
                    <a:lnTo>
                      <a:pt x="569" y="293"/>
                    </a:lnTo>
                    <a:lnTo>
                      <a:pt x="569" y="294"/>
                    </a:lnTo>
                    <a:lnTo>
                      <a:pt x="568" y="294"/>
                    </a:lnTo>
                    <a:lnTo>
                      <a:pt x="568" y="294"/>
                    </a:lnTo>
                    <a:lnTo>
                      <a:pt x="556" y="294"/>
                    </a:lnTo>
                    <a:lnTo>
                      <a:pt x="551" y="293"/>
                    </a:lnTo>
                    <a:lnTo>
                      <a:pt x="545" y="291"/>
                    </a:lnTo>
                    <a:lnTo>
                      <a:pt x="545" y="291"/>
                    </a:lnTo>
                    <a:lnTo>
                      <a:pt x="543" y="290"/>
                    </a:lnTo>
                    <a:lnTo>
                      <a:pt x="543" y="289"/>
                    </a:lnTo>
                    <a:lnTo>
                      <a:pt x="549" y="287"/>
                    </a:lnTo>
                    <a:lnTo>
                      <a:pt x="549" y="287"/>
                    </a:lnTo>
                    <a:lnTo>
                      <a:pt x="552" y="287"/>
                    </a:lnTo>
                    <a:lnTo>
                      <a:pt x="555" y="287"/>
                    </a:lnTo>
                    <a:lnTo>
                      <a:pt x="555" y="286"/>
                    </a:lnTo>
                    <a:lnTo>
                      <a:pt x="553" y="283"/>
                    </a:lnTo>
                    <a:lnTo>
                      <a:pt x="553" y="283"/>
                    </a:lnTo>
                    <a:lnTo>
                      <a:pt x="552" y="280"/>
                    </a:lnTo>
                    <a:lnTo>
                      <a:pt x="553" y="277"/>
                    </a:lnTo>
                    <a:lnTo>
                      <a:pt x="556" y="274"/>
                    </a:lnTo>
                    <a:lnTo>
                      <a:pt x="556" y="271"/>
                    </a:lnTo>
                    <a:lnTo>
                      <a:pt x="556" y="271"/>
                    </a:lnTo>
                    <a:lnTo>
                      <a:pt x="556" y="271"/>
                    </a:lnTo>
                    <a:lnTo>
                      <a:pt x="553" y="271"/>
                    </a:lnTo>
                    <a:lnTo>
                      <a:pt x="546" y="273"/>
                    </a:lnTo>
                    <a:lnTo>
                      <a:pt x="539" y="276"/>
                    </a:lnTo>
                    <a:lnTo>
                      <a:pt x="535" y="279"/>
                    </a:lnTo>
                    <a:lnTo>
                      <a:pt x="535" y="279"/>
                    </a:lnTo>
                    <a:lnTo>
                      <a:pt x="533" y="281"/>
                    </a:lnTo>
                    <a:lnTo>
                      <a:pt x="533" y="283"/>
                    </a:lnTo>
                    <a:lnTo>
                      <a:pt x="533" y="286"/>
                    </a:lnTo>
                    <a:lnTo>
                      <a:pt x="532" y="287"/>
                    </a:lnTo>
                    <a:lnTo>
                      <a:pt x="532" y="287"/>
                    </a:lnTo>
                    <a:lnTo>
                      <a:pt x="529" y="287"/>
                    </a:lnTo>
                    <a:lnTo>
                      <a:pt x="528" y="287"/>
                    </a:lnTo>
                    <a:lnTo>
                      <a:pt x="526" y="284"/>
                    </a:lnTo>
                    <a:lnTo>
                      <a:pt x="525" y="283"/>
                    </a:lnTo>
                    <a:lnTo>
                      <a:pt x="525" y="283"/>
                    </a:lnTo>
                    <a:lnTo>
                      <a:pt x="518" y="283"/>
                    </a:lnTo>
                    <a:lnTo>
                      <a:pt x="506" y="286"/>
                    </a:lnTo>
                    <a:lnTo>
                      <a:pt x="495" y="290"/>
                    </a:lnTo>
                    <a:lnTo>
                      <a:pt x="491" y="291"/>
                    </a:lnTo>
                    <a:lnTo>
                      <a:pt x="488" y="294"/>
                    </a:lnTo>
                    <a:lnTo>
                      <a:pt x="488" y="294"/>
                    </a:lnTo>
                    <a:lnTo>
                      <a:pt x="484" y="297"/>
                    </a:lnTo>
                    <a:lnTo>
                      <a:pt x="478" y="300"/>
                    </a:lnTo>
                    <a:lnTo>
                      <a:pt x="474" y="301"/>
                    </a:lnTo>
                    <a:lnTo>
                      <a:pt x="472" y="304"/>
                    </a:lnTo>
                    <a:lnTo>
                      <a:pt x="472" y="304"/>
                    </a:lnTo>
                    <a:lnTo>
                      <a:pt x="472" y="304"/>
                    </a:lnTo>
                    <a:lnTo>
                      <a:pt x="471" y="306"/>
                    </a:lnTo>
                    <a:lnTo>
                      <a:pt x="465" y="307"/>
                    </a:lnTo>
                    <a:lnTo>
                      <a:pt x="459" y="307"/>
                    </a:lnTo>
                    <a:lnTo>
                      <a:pt x="455" y="308"/>
                    </a:lnTo>
                    <a:lnTo>
                      <a:pt x="455" y="308"/>
                    </a:lnTo>
                    <a:lnTo>
                      <a:pt x="454" y="310"/>
                    </a:lnTo>
                    <a:lnTo>
                      <a:pt x="452" y="311"/>
                    </a:lnTo>
                    <a:lnTo>
                      <a:pt x="452" y="317"/>
                    </a:lnTo>
                    <a:lnTo>
                      <a:pt x="452" y="321"/>
                    </a:lnTo>
                    <a:lnTo>
                      <a:pt x="451" y="326"/>
                    </a:lnTo>
                    <a:lnTo>
                      <a:pt x="451" y="326"/>
                    </a:lnTo>
                    <a:lnTo>
                      <a:pt x="450" y="327"/>
                    </a:lnTo>
                    <a:lnTo>
                      <a:pt x="447" y="328"/>
                    </a:lnTo>
                    <a:lnTo>
                      <a:pt x="440" y="330"/>
                    </a:lnTo>
                    <a:lnTo>
                      <a:pt x="424" y="330"/>
                    </a:lnTo>
                    <a:lnTo>
                      <a:pt x="424" y="330"/>
                    </a:lnTo>
                    <a:lnTo>
                      <a:pt x="422" y="328"/>
                    </a:lnTo>
                    <a:lnTo>
                      <a:pt x="420" y="328"/>
                    </a:lnTo>
                    <a:lnTo>
                      <a:pt x="417" y="324"/>
                    </a:lnTo>
                    <a:lnTo>
                      <a:pt x="414" y="320"/>
                    </a:lnTo>
                    <a:lnTo>
                      <a:pt x="411" y="317"/>
                    </a:lnTo>
                    <a:lnTo>
                      <a:pt x="411" y="317"/>
                    </a:lnTo>
                    <a:lnTo>
                      <a:pt x="410" y="316"/>
                    </a:lnTo>
                    <a:lnTo>
                      <a:pt x="408" y="313"/>
                    </a:lnTo>
                    <a:lnTo>
                      <a:pt x="411" y="307"/>
                    </a:lnTo>
                    <a:lnTo>
                      <a:pt x="411" y="307"/>
                    </a:lnTo>
                    <a:lnTo>
                      <a:pt x="413" y="306"/>
                    </a:lnTo>
                    <a:lnTo>
                      <a:pt x="415" y="306"/>
                    </a:lnTo>
                    <a:lnTo>
                      <a:pt x="418" y="304"/>
                    </a:lnTo>
                    <a:lnTo>
                      <a:pt x="422" y="303"/>
                    </a:lnTo>
                    <a:lnTo>
                      <a:pt x="422" y="303"/>
                    </a:lnTo>
                    <a:lnTo>
                      <a:pt x="427" y="301"/>
                    </a:lnTo>
                    <a:lnTo>
                      <a:pt x="431" y="303"/>
                    </a:lnTo>
                    <a:lnTo>
                      <a:pt x="434" y="303"/>
                    </a:lnTo>
                    <a:lnTo>
                      <a:pt x="437" y="303"/>
                    </a:lnTo>
                    <a:lnTo>
                      <a:pt x="437" y="303"/>
                    </a:lnTo>
                    <a:lnTo>
                      <a:pt x="437" y="301"/>
                    </a:lnTo>
                    <a:lnTo>
                      <a:pt x="435" y="300"/>
                    </a:lnTo>
                    <a:lnTo>
                      <a:pt x="432" y="296"/>
                    </a:lnTo>
                    <a:lnTo>
                      <a:pt x="428" y="291"/>
                    </a:lnTo>
                    <a:lnTo>
                      <a:pt x="427" y="287"/>
                    </a:lnTo>
                    <a:lnTo>
                      <a:pt x="427" y="287"/>
                    </a:lnTo>
                    <a:lnTo>
                      <a:pt x="425" y="284"/>
                    </a:lnTo>
                    <a:lnTo>
                      <a:pt x="424" y="283"/>
                    </a:lnTo>
                    <a:lnTo>
                      <a:pt x="418" y="281"/>
                    </a:lnTo>
                    <a:lnTo>
                      <a:pt x="413" y="280"/>
                    </a:lnTo>
                    <a:lnTo>
                      <a:pt x="407" y="281"/>
                    </a:lnTo>
                    <a:lnTo>
                      <a:pt x="407" y="281"/>
                    </a:lnTo>
                    <a:lnTo>
                      <a:pt x="401" y="281"/>
                    </a:lnTo>
                    <a:lnTo>
                      <a:pt x="395" y="281"/>
                    </a:lnTo>
                    <a:lnTo>
                      <a:pt x="387" y="279"/>
                    </a:lnTo>
                    <a:lnTo>
                      <a:pt x="387" y="279"/>
                    </a:lnTo>
                    <a:lnTo>
                      <a:pt x="384" y="279"/>
                    </a:lnTo>
                    <a:lnTo>
                      <a:pt x="383" y="280"/>
                    </a:lnTo>
                    <a:lnTo>
                      <a:pt x="385" y="283"/>
                    </a:lnTo>
                    <a:lnTo>
                      <a:pt x="390" y="286"/>
                    </a:lnTo>
                    <a:lnTo>
                      <a:pt x="390" y="286"/>
                    </a:lnTo>
                    <a:lnTo>
                      <a:pt x="393" y="287"/>
                    </a:lnTo>
                    <a:lnTo>
                      <a:pt x="394" y="290"/>
                    </a:lnTo>
                    <a:lnTo>
                      <a:pt x="394" y="293"/>
                    </a:lnTo>
                    <a:lnTo>
                      <a:pt x="394" y="296"/>
                    </a:lnTo>
                    <a:lnTo>
                      <a:pt x="394" y="296"/>
                    </a:lnTo>
                    <a:lnTo>
                      <a:pt x="394" y="300"/>
                    </a:lnTo>
                    <a:lnTo>
                      <a:pt x="393" y="304"/>
                    </a:lnTo>
                    <a:lnTo>
                      <a:pt x="388" y="314"/>
                    </a:lnTo>
                    <a:lnTo>
                      <a:pt x="388" y="314"/>
                    </a:lnTo>
                    <a:lnTo>
                      <a:pt x="385" y="317"/>
                    </a:lnTo>
                    <a:lnTo>
                      <a:pt x="387" y="320"/>
                    </a:lnTo>
                    <a:lnTo>
                      <a:pt x="388" y="320"/>
                    </a:lnTo>
                    <a:lnTo>
                      <a:pt x="393" y="320"/>
                    </a:lnTo>
                    <a:lnTo>
                      <a:pt x="393" y="320"/>
                    </a:lnTo>
                    <a:lnTo>
                      <a:pt x="395" y="320"/>
                    </a:lnTo>
                    <a:lnTo>
                      <a:pt x="397" y="321"/>
                    </a:lnTo>
                    <a:lnTo>
                      <a:pt x="398" y="324"/>
                    </a:lnTo>
                    <a:lnTo>
                      <a:pt x="398" y="334"/>
                    </a:lnTo>
                    <a:lnTo>
                      <a:pt x="398" y="334"/>
                    </a:lnTo>
                    <a:lnTo>
                      <a:pt x="398" y="338"/>
                    </a:lnTo>
                    <a:lnTo>
                      <a:pt x="397" y="341"/>
                    </a:lnTo>
                    <a:lnTo>
                      <a:pt x="394" y="344"/>
                    </a:lnTo>
                    <a:lnTo>
                      <a:pt x="394" y="347"/>
                    </a:lnTo>
                    <a:lnTo>
                      <a:pt x="394" y="347"/>
                    </a:lnTo>
                    <a:lnTo>
                      <a:pt x="393" y="348"/>
                    </a:lnTo>
                    <a:lnTo>
                      <a:pt x="391" y="347"/>
                    </a:lnTo>
                    <a:lnTo>
                      <a:pt x="388" y="345"/>
                    </a:lnTo>
                    <a:lnTo>
                      <a:pt x="387" y="345"/>
                    </a:lnTo>
                    <a:lnTo>
                      <a:pt x="387" y="345"/>
                    </a:lnTo>
                    <a:lnTo>
                      <a:pt x="385" y="347"/>
                    </a:lnTo>
                    <a:lnTo>
                      <a:pt x="384" y="345"/>
                    </a:lnTo>
                    <a:lnTo>
                      <a:pt x="383" y="341"/>
                    </a:lnTo>
                    <a:lnTo>
                      <a:pt x="383" y="341"/>
                    </a:lnTo>
                    <a:lnTo>
                      <a:pt x="380" y="340"/>
                    </a:lnTo>
                    <a:lnTo>
                      <a:pt x="376" y="338"/>
                    </a:lnTo>
                    <a:lnTo>
                      <a:pt x="366" y="338"/>
                    </a:lnTo>
                    <a:lnTo>
                      <a:pt x="366" y="338"/>
                    </a:lnTo>
                    <a:lnTo>
                      <a:pt x="363" y="338"/>
                    </a:lnTo>
                    <a:lnTo>
                      <a:pt x="360" y="338"/>
                    </a:lnTo>
                    <a:lnTo>
                      <a:pt x="356" y="343"/>
                    </a:lnTo>
                    <a:lnTo>
                      <a:pt x="356" y="343"/>
                    </a:lnTo>
                    <a:lnTo>
                      <a:pt x="353" y="345"/>
                    </a:lnTo>
                    <a:lnTo>
                      <a:pt x="350" y="348"/>
                    </a:lnTo>
                    <a:lnTo>
                      <a:pt x="341" y="350"/>
                    </a:lnTo>
                    <a:lnTo>
                      <a:pt x="341" y="350"/>
                    </a:lnTo>
                    <a:lnTo>
                      <a:pt x="339" y="351"/>
                    </a:lnTo>
                    <a:lnTo>
                      <a:pt x="334" y="354"/>
                    </a:lnTo>
                    <a:lnTo>
                      <a:pt x="326" y="361"/>
                    </a:lnTo>
                    <a:lnTo>
                      <a:pt x="326" y="361"/>
                    </a:lnTo>
                    <a:lnTo>
                      <a:pt x="324" y="363"/>
                    </a:lnTo>
                    <a:lnTo>
                      <a:pt x="323" y="367"/>
                    </a:lnTo>
                    <a:lnTo>
                      <a:pt x="324" y="370"/>
                    </a:lnTo>
                    <a:lnTo>
                      <a:pt x="327" y="374"/>
                    </a:lnTo>
                    <a:lnTo>
                      <a:pt x="327" y="374"/>
                    </a:lnTo>
                    <a:lnTo>
                      <a:pt x="331" y="378"/>
                    </a:lnTo>
                    <a:lnTo>
                      <a:pt x="333" y="382"/>
                    </a:lnTo>
                    <a:lnTo>
                      <a:pt x="334" y="385"/>
                    </a:lnTo>
                    <a:lnTo>
                      <a:pt x="334" y="387"/>
                    </a:lnTo>
                    <a:lnTo>
                      <a:pt x="334" y="387"/>
                    </a:lnTo>
                    <a:lnTo>
                      <a:pt x="333" y="388"/>
                    </a:lnTo>
                    <a:lnTo>
                      <a:pt x="331" y="388"/>
                    </a:lnTo>
                    <a:lnTo>
                      <a:pt x="324" y="390"/>
                    </a:lnTo>
                    <a:lnTo>
                      <a:pt x="319" y="388"/>
                    </a:lnTo>
                    <a:lnTo>
                      <a:pt x="314" y="385"/>
                    </a:lnTo>
                    <a:lnTo>
                      <a:pt x="314" y="385"/>
                    </a:lnTo>
                    <a:lnTo>
                      <a:pt x="312" y="384"/>
                    </a:lnTo>
                    <a:lnTo>
                      <a:pt x="307" y="382"/>
                    </a:lnTo>
                    <a:lnTo>
                      <a:pt x="299" y="382"/>
                    </a:lnTo>
                    <a:lnTo>
                      <a:pt x="299" y="382"/>
                    </a:lnTo>
                    <a:lnTo>
                      <a:pt x="294" y="381"/>
                    </a:lnTo>
                    <a:lnTo>
                      <a:pt x="289" y="377"/>
                    </a:lnTo>
                    <a:lnTo>
                      <a:pt x="284" y="372"/>
                    </a:lnTo>
                    <a:lnTo>
                      <a:pt x="280" y="371"/>
                    </a:lnTo>
                    <a:lnTo>
                      <a:pt x="280" y="371"/>
                    </a:lnTo>
                    <a:lnTo>
                      <a:pt x="276" y="372"/>
                    </a:lnTo>
                    <a:lnTo>
                      <a:pt x="273" y="374"/>
                    </a:lnTo>
                    <a:lnTo>
                      <a:pt x="270" y="380"/>
                    </a:lnTo>
                    <a:lnTo>
                      <a:pt x="270" y="380"/>
                    </a:lnTo>
                    <a:lnTo>
                      <a:pt x="270" y="382"/>
                    </a:lnTo>
                    <a:lnTo>
                      <a:pt x="270" y="384"/>
                    </a:lnTo>
                    <a:lnTo>
                      <a:pt x="275" y="390"/>
                    </a:lnTo>
                    <a:lnTo>
                      <a:pt x="275" y="390"/>
                    </a:lnTo>
                    <a:lnTo>
                      <a:pt x="277" y="392"/>
                    </a:lnTo>
                    <a:lnTo>
                      <a:pt x="282" y="394"/>
                    </a:lnTo>
                    <a:lnTo>
                      <a:pt x="290" y="395"/>
                    </a:lnTo>
                    <a:lnTo>
                      <a:pt x="290" y="395"/>
                    </a:lnTo>
                    <a:lnTo>
                      <a:pt x="293" y="397"/>
                    </a:lnTo>
                    <a:lnTo>
                      <a:pt x="293" y="398"/>
                    </a:lnTo>
                    <a:lnTo>
                      <a:pt x="292" y="405"/>
                    </a:lnTo>
                    <a:lnTo>
                      <a:pt x="292" y="405"/>
                    </a:lnTo>
                    <a:lnTo>
                      <a:pt x="290" y="407"/>
                    </a:lnTo>
                    <a:lnTo>
                      <a:pt x="286" y="408"/>
                    </a:lnTo>
                    <a:lnTo>
                      <a:pt x="283" y="408"/>
                    </a:lnTo>
                    <a:lnTo>
                      <a:pt x="280" y="407"/>
                    </a:lnTo>
                    <a:lnTo>
                      <a:pt x="280" y="407"/>
                    </a:lnTo>
                    <a:lnTo>
                      <a:pt x="277" y="405"/>
                    </a:lnTo>
                    <a:lnTo>
                      <a:pt x="273" y="405"/>
                    </a:lnTo>
                    <a:lnTo>
                      <a:pt x="269" y="404"/>
                    </a:lnTo>
                    <a:lnTo>
                      <a:pt x="267" y="404"/>
                    </a:lnTo>
                    <a:lnTo>
                      <a:pt x="267" y="402"/>
                    </a:lnTo>
                    <a:lnTo>
                      <a:pt x="267" y="402"/>
                    </a:lnTo>
                    <a:lnTo>
                      <a:pt x="266" y="400"/>
                    </a:lnTo>
                    <a:lnTo>
                      <a:pt x="263" y="397"/>
                    </a:lnTo>
                    <a:lnTo>
                      <a:pt x="257" y="395"/>
                    </a:lnTo>
                    <a:lnTo>
                      <a:pt x="253" y="394"/>
                    </a:lnTo>
                    <a:lnTo>
                      <a:pt x="253" y="394"/>
                    </a:lnTo>
                    <a:lnTo>
                      <a:pt x="247" y="394"/>
                    </a:lnTo>
                    <a:lnTo>
                      <a:pt x="246" y="392"/>
                    </a:lnTo>
                    <a:lnTo>
                      <a:pt x="245" y="390"/>
                    </a:lnTo>
                    <a:lnTo>
                      <a:pt x="245" y="385"/>
                    </a:lnTo>
                    <a:lnTo>
                      <a:pt x="245" y="385"/>
                    </a:lnTo>
                    <a:lnTo>
                      <a:pt x="243" y="381"/>
                    </a:lnTo>
                    <a:lnTo>
                      <a:pt x="242" y="378"/>
                    </a:lnTo>
                    <a:lnTo>
                      <a:pt x="240" y="375"/>
                    </a:lnTo>
                    <a:lnTo>
                      <a:pt x="240" y="374"/>
                    </a:lnTo>
                    <a:lnTo>
                      <a:pt x="240" y="374"/>
                    </a:lnTo>
                    <a:lnTo>
                      <a:pt x="239" y="368"/>
                    </a:lnTo>
                    <a:lnTo>
                      <a:pt x="239" y="365"/>
                    </a:lnTo>
                    <a:lnTo>
                      <a:pt x="240" y="363"/>
                    </a:lnTo>
                    <a:lnTo>
                      <a:pt x="240" y="363"/>
                    </a:lnTo>
                    <a:lnTo>
                      <a:pt x="243" y="361"/>
                    </a:lnTo>
                    <a:lnTo>
                      <a:pt x="243" y="358"/>
                    </a:lnTo>
                    <a:lnTo>
                      <a:pt x="242" y="353"/>
                    </a:lnTo>
                    <a:lnTo>
                      <a:pt x="242" y="353"/>
                    </a:lnTo>
                    <a:lnTo>
                      <a:pt x="240" y="350"/>
                    </a:lnTo>
                    <a:lnTo>
                      <a:pt x="238" y="347"/>
                    </a:lnTo>
                    <a:lnTo>
                      <a:pt x="235" y="345"/>
                    </a:lnTo>
                    <a:lnTo>
                      <a:pt x="230" y="344"/>
                    </a:lnTo>
                    <a:lnTo>
                      <a:pt x="230" y="344"/>
                    </a:lnTo>
                    <a:lnTo>
                      <a:pt x="226" y="343"/>
                    </a:lnTo>
                    <a:lnTo>
                      <a:pt x="225" y="341"/>
                    </a:lnTo>
                    <a:lnTo>
                      <a:pt x="223" y="338"/>
                    </a:lnTo>
                    <a:lnTo>
                      <a:pt x="220" y="337"/>
                    </a:lnTo>
                    <a:lnTo>
                      <a:pt x="220" y="337"/>
                    </a:lnTo>
                    <a:lnTo>
                      <a:pt x="216" y="334"/>
                    </a:lnTo>
                    <a:lnTo>
                      <a:pt x="211" y="331"/>
                    </a:lnTo>
                    <a:lnTo>
                      <a:pt x="206" y="327"/>
                    </a:lnTo>
                    <a:lnTo>
                      <a:pt x="205" y="324"/>
                    </a:lnTo>
                    <a:lnTo>
                      <a:pt x="205" y="324"/>
                    </a:lnTo>
                    <a:lnTo>
                      <a:pt x="203" y="321"/>
                    </a:lnTo>
                    <a:lnTo>
                      <a:pt x="201" y="320"/>
                    </a:lnTo>
                    <a:lnTo>
                      <a:pt x="198" y="320"/>
                    </a:lnTo>
                    <a:lnTo>
                      <a:pt x="199" y="318"/>
                    </a:lnTo>
                    <a:lnTo>
                      <a:pt x="199" y="318"/>
                    </a:lnTo>
                    <a:lnTo>
                      <a:pt x="201" y="318"/>
                    </a:lnTo>
                    <a:lnTo>
                      <a:pt x="205" y="318"/>
                    </a:lnTo>
                    <a:lnTo>
                      <a:pt x="208" y="321"/>
                    </a:lnTo>
                    <a:lnTo>
                      <a:pt x="212" y="323"/>
                    </a:lnTo>
                    <a:lnTo>
                      <a:pt x="212" y="323"/>
                    </a:lnTo>
                    <a:lnTo>
                      <a:pt x="215" y="327"/>
                    </a:lnTo>
                    <a:lnTo>
                      <a:pt x="220" y="328"/>
                    </a:lnTo>
                    <a:lnTo>
                      <a:pt x="226" y="331"/>
                    </a:lnTo>
                    <a:lnTo>
                      <a:pt x="233" y="333"/>
                    </a:lnTo>
                    <a:lnTo>
                      <a:pt x="233" y="333"/>
                    </a:lnTo>
                    <a:lnTo>
                      <a:pt x="242" y="334"/>
                    </a:lnTo>
                    <a:lnTo>
                      <a:pt x="247" y="337"/>
                    </a:lnTo>
                    <a:lnTo>
                      <a:pt x="253" y="340"/>
                    </a:lnTo>
                    <a:lnTo>
                      <a:pt x="262" y="341"/>
                    </a:lnTo>
                    <a:lnTo>
                      <a:pt x="262" y="341"/>
                    </a:lnTo>
                    <a:lnTo>
                      <a:pt x="299" y="348"/>
                    </a:lnTo>
                    <a:lnTo>
                      <a:pt x="299" y="348"/>
                    </a:lnTo>
                    <a:lnTo>
                      <a:pt x="306" y="348"/>
                    </a:lnTo>
                    <a:lnTo>
                      <a:pt x="313" y="347"/>
                    </a:lnTo>
                    <a:lnTo>
                      <a:pt x="320" y="344"/>
                    </a:lnTo>
                    <a:lnTo>
                      <a:pt x="327" y="340"/>
                    </a:lnTo>
                    <a:lnTo>
                      <a:pt x="339" y="333"/>
                    </a:lnTo>
                    <a:lnTo>
                      <a:pt x="346" y="327"/>
                    </a:lnTo>
                    <a:lnTo>
                      <a:pt x="346" y="327"/>
                    </a:lnTo>
                    <a:lnTo>
                      <a:pt x="347" y="326"/>
                    </a:lnTo>
                    <a:lnTo>
                      <a:pt x="347" y="323"/>
                    </a:lnTo>
                    <a:lnTo>
                      <a:pt x="347" y="317"/>
                    </a:lnTo>
                    <a:lnTo>
                      <a:pt x="344" y="308"/>
                    </a:lnTo>
                    <a:lnTo>
                      <a:pt x="344" y="308"/>
                    </a:lnTo>
                    <a:lnTo>
                      <a:pt x="343" y="306"/>
                    </a:lnTo>
                    <a:lnTo>
                      <a:pt x="340" y="304"/>
                    </a:lnTo>
                    <a:lnTo>
                      <a:pt x="337" y="303"/>
                    </a:lnTo>
                    <a:lnTo>
                      <a:pt x="336" y="301"/>
                    </a:lnTo>
                    <a:lnTo>
                      <a:pt x="336" y="301"/>
                    </a:lnTo>
                    <a:lnTo>
                      <a:pt x="333" y="299"/>
                    </a:lnTo>
                    <a:lnTo>
                      <a:pt x="330" y="296"/>
                    </a:lnTo>
                    <a:lnTo>
                      <a:pt x="327" y="294"/>
                    </a:lnTo>
                    <a:lnTo>
                      <a:pt x="321" y="293"/>
                    </a:lnTo>
                    <a:lnTo>
                      <a:pt x="321" y="293"/>
                    </a:lnTo>
                    <a:lnTo>
                      <a:pt x="317" y="291"/>
                    </a:lnTo>
                    <a:lnTo>
                      <a:pt x="314" y="290"/>
                    </a:lnTo>
                    <a:lnTo>
                      <a:pt x="312" y="287"/>
                    </a:lnTo>
                    <a:lnTo>
                      <a:pt x="309" y="286"/>
                    </a:lnTo>
                    <a:lnTo>
                      <a:pt x="309" y="286"/>
                    </a:lnTo>
                    <a:lnTo>
                      <a:pt x="304" y="286"/>
                    </a:lnTo>
                    <a:lnTo>
                      <a:pt x="300" y="284"/>
                    </a:lnTo>
                    <a:lnTo>
                      <a:pt x="284" y="274"/>
                    </a:lnTo>
                    <a:lnTo>
                      <a:pt x="284" y="274"/>
                    </a:lnTo>
                    <a:lnTo>
                      <a:pt x="273" y="267"/>
                    </a:lnTo>
                    <a:lnTo>
                      <a:pt x="262" y="263"/>
                    </a:lnTo>
                    <a:lnTo>
                      <a:pt x="253" y="260"/>
                    </a:lnTo>
                    <a:lnTo>
                      <a:pt x="247" y="259"/>
                    </a:lnTo>
                    <a:lnTo>
                      <a:pt x="247" y="259"/>
                    </a:lnTo>
                    <a:lnTo>
                      <a:pt x="243" y="260"/>
                    </a:lnTo>
                    <a:lnTo>
                      <a:pt x="240" y="260"/>
                    </a:lnTo>
                    <a:lnTo>
                      <a:pt x="239" y="259"/>
                    </a:lnTo>
                    <a:lnTo>
                      <a:pt x="239" y="259"/>
                    </a:lnTo>
                    <a:lnTo>
                      <a:pt x="238" y="256"/>
                    </a:lnTo>
                    <a:lnTo>
                      <a:pt x="233" y="256"/>
                    </a:lnTo>
                    <a:lnTo>
                      <a:pt x="230" y="256"/>
                    </a:lnTo>
                    <a:lnTo>
                      <a:pt x="228" y="259"/>
                    </a:lnTo>
                    <a:lnTo>
                      <a:pt x="228" y="259"/>
                    </a:lnTo>
                    <a:lnTo>
                      <a:pt x="225" y="259"/>
                    </a:lnTo>
                    <a:lnTo>
                      <a:pt x="222" y="259"/>
                    </a:lnTo>
                    <a:lnTo>
                      <a:pt x="218" y="257"/>
                    </a:lnTo>
                    <a:lnTo>
                      <a:pt x="213" y="257"/>
                    </a:lnTo>
                    <a:lnTo>
                      <a:pt x="213" y="257"/>
                    </a:lnTo>
                    <a:lnTo>
                      <a:pt x="208" y="257"/>
                    </a:lnTo>
                    <a:lnTo>
                      <a:pt x="205" y="256"/>
                    </a:lnTo>
                    <a:lnTo>
                      <a:pt x="203" y="254"/>
                    </a:lnTo>
                    <a:lnTo>
                      <a:pt x="203" y="252"/>
                    </a:lnTo>
                    <a:lnTo>
                      <a:pt x="203" y="252"/>
                    </a:lnTo>
                    <a:lnTo>
                      <a:pt x="206" y="252"/>
                    </a:lnTo>
                    <a:lnTo>
                      <a:pt x="211" y="250"/>
                    </a:lnTo>
                    <a:lnTo>
                      <a:pt x="215" y="250"/>
                    </a:lnTo>
                    <a:lnTo>
                      <a:pt x="215" y="249"/>
                    </a:lnTo>
                    <a:lnTo>
                      <a:pt x="216" y="249"/>
                    </a:lnTo>
                    <a:lnTo>
                      <a:pt x="216" y="249"/>
                    </a:lnTo>
                    <a:lnTo>
                      <a:pt x="215" y="246"/>
                    </a:lnTo>
                    <a:lnTo>
                      <a:pt x="212" y="246"/>
                    </a:lnTo>
                    <a:lnTo>
                      <a:pt x="209" y="246"/>
                    </a:lnTo>
                    <a:lnTo>
                      <a:pt x="205" y="244"/>
                    </a:lnTo>
                    <a:lnTo>
                      <a:pt x="205" y="244"/>
                    </a:lnTo>
                    <a:lnTo>
                      <a:pt x="201" y="242"/>
                    </a:lnTo>
                    <a:lnTo>
                      <a:pt x="198" y="242"/>
                    </a:lnTo>
                    <a:lnTo>
                      <a:pt x="195" y="243"/>
                    </a:lnTo>
                    <a:lnTo>
                      <a:pt x="193" y="246"/>
                    </a:lnTo>
                    <a:lnTo>
                      <a:pt x="193" y="246"/>
                    </a:lnTo>
                    <a:lnTo>
                      <a:pt x="192" y="247"/>
                    </a:lnTo>
                    <a:lnTo>
                      <a:pt x="189" y="249"/>
                    </a:lnTo>
                    <a:lnTo>
                      <a:pt x="186" y="247"/>
                    </a:lnTo>
                    <a:lnTo>
                      <a:pt x="183" y="246"/>
                    </a:lnTo>
                    <a:lnTo>
                      <a:pt x="183" y="246"/>
                    </a:lnTo>
                    <a:lnTo>
                      <a:pt x="183" y="244"/>
                    </a:lnTo>
                    <a:lnTo>
                      <a:pt x="183" y="244"/>
                    </a:lnTo>
                    <a:lnTo>
                      <a:pt x="182" y="249"/>
                    </a:lnTo>
                    <a:lnTo>
                      <a:pt x="179" y="250"/>
                    </a:lnTo>
                    <a:lnTo>
                      <a:pt x="178" y="250"/>
                    </a:lnTo>
                    <a:lnTo>
                      <a:pt x="175" y="250"/>
                    </a:lnTo>
                    <a:lnTo>
                      <a:pt x="175" y="250"/>
                    </a:lnTo>
                    <a:lnTo>
                      <a:pt x="172" y="252"/>
                    </a:lnTo>
                    <a:lnTo>
                      <a:pt x="168" y="253"/>
                    </a:lnTo>
                    <a:lnTo>
                      <a:pt x="165" y="256"/>
                    </a:lnTo>
                    <a:lnTo>
                      <a:pt x="162" y="257"/>
                    </a:lnTo>
                    <a:lnTo>
                      <a:pt x="162" y="257"/>
                    </a:lnTo>
                    <a:lnTo>
                      <a:pt x="158" y="257"/>
                    </a:lnTo>
                    <a:lnTo>
                      <a:pt x="155" y="260"/>
                    </a:lnTo>
                    <a:lnTo>
                      <a:pt x="152" y="263"/>
                    </a:lnTo>
                    <a:lnTo>
                      <a:pt x="151" y="266"/>
                    </a:lnTo>
                    <a:lnTo>
                      <a:pt x="151" y="266"/>
                    </a:lnTo>
                    <a:lnTo>
                      <a:pt x="149" y="269"/>
                    </a:lnTo>
                    <a:lnTo>
                      <a:pt x="146" y="269"/>
                    </a:lnTo>
                    <a:lnTo>
                      <a:pt x="145" y="270"/>
                    </a:lnTo>
                    <a:lnTo>
                      <a:pt x="145" y="271"/>
                    </a:lnTo>
                    <a:lnTo>
                      <a:pt x="145" y="271"/>
                    </a:lnTo>
                    <a:lnTo>
                      <a:pt x="144" y="276"/>
                    </a:lnTo>
                    <a:lnTo>
                      <a:pt x="142" y="280"/>
                    </a:lnTo>
                    <a:lnTo>
                      <a:pt x="142" y="280"/>
                    </a:lnTo>
                    <a:lnTo>
                      <a:pt x="141" y="281"/>
                    </a:lnTo>
                    <a:lnTo>
                      <a:pt x="141" y="283"/>
                    </a:lnTo>
                    <a:lnTo>
                      <a:pt x="145" y="289"/>
                    </a:lnTo>
                    <a:lnTo>
                      <a:pt x="145" y="289"/>
                    </a:lnTo>
                    <a:lnTo>
                      <a:pt x="146" y="291"/>
                    </a:lnTo>
                    <a:lnTo>
                      <a:pt x="149" y="293"/>
                    </a:lnTo>
                    <a:lnTo>
                      <a:pt x="155" y="294"/>
                    </a:lnTo>
                    <a:lnTo>
                      <a:pt x="155" y="294"/>
                    </a:lnTo>
                    <a:lnTo>
                      <a:pt x="161" y="300"/>
                    </a:lnTo>
                    <a:lnTo>
                      <a:pt x="164" y="303"/>
                    </a:lnTo>
                    <a:lnTo>
                      <a:pt x="166" y="306"/>
                    </a:lnTo>
                    <a:lnTo>
                      <a:pt x="166" y="306"/>
                    </a:lnTo>
                    <a:lnTo>
                      <a:pt x="165" y="308"/>
                    </a:lnTo>
                    <a:lnTo>
                      <a:pt x="162" y="313"/>
                    </a:lnTo>
                    <a:lnTo>
                      <a:pt x="156" y="318"/>
                    </a:lnTo>
                    <a:lnTo>
                      <a:pt x="156" y="318"/>
                    </a:lnTo>
                    <a:lnTo>
                      <a:pt x="152" y="323"/>
                    </a:lnTo>
                    <a:lnTo>
                      <a:pt x="151" y="326"/>
                    </a:lnTo>
                    <a:lnTo>
                      <a:pt x="151" y="327"/>
                    </a:lnTo>
                    <a:lnTo>
                      <a:pt x="151" y="327"/>
                    </a:lnTo>
                    <a:lnTo>
                      <a:pt x="158" y="337"/>
                    </a:lnTo>
                    <a:lnTo>
                      <a:pt x="166" y="351"/>
                    </a:lnTo>
                    <a:lnTo>
                      <a:pt x="166" y="351"/>
                    </a:lnTo>
                    <a:lnTo>
                      <a:pt x="168" y="357"/>
                    </a:lnTo>
                    <a:lnTo>
                      <a:pt x="168" y="357"/>
                    </a:lnTo>
                    <a:lnTo>
                      <a:pt x="166" y="358"/>
                    </a:lnTo>
                    <a:lnTo>
                      <a:pt x="164" y="360"/>
                    </a:lnTo>
                    <a:lnTo>
                      <a:pt x="161" y="361"/>
                    </a:lnTo>
                    <a:lnTo>
                      <a:pt x="161" y="361"/>
                    </a:lnTo>
                    <a:lnTo>
                      <a:pt x="159" y="364"/>
                    </a:lnTo>
                    <a:lnTo>
                      <a:pt x="161" y="368"/>
                    </a:lnTo>
                    <a:lnTo>
                      <a:pt x="164" y="374"/>
                    </a:lnTo>
                    <a:lnTo>
                      <a:pt x="164" y="374"/>
                    </a:lnTo>
                    <a:lnTo>
                      <a:pt x="164" y="375"/>
                    </a:lnTo>
                    <a:lnTo>
                      <a:pt x="162" y="375"/>
                    </a:lnTo>
                    <a:lnTo>
                      <a:pt x="161" y="377"/>
                    </a:lnTo>
                    <a:lnTo>
                      <a:pt x="159" y="378"/>
                    </a:lnTo>
                    <a:lnTo>
                      <a:pt x="159" y="378"/>
                    </a:lnTo>
                    <a:lnTo>
                      <a:pt x="161" y="380"/>
                    </a:lnTo>
                    <a:lnTo>
                      <a:pt x="164" y="381"/>
                    </a:lnTo>
                    <a:lnTo>
                      <a:pt x="166" y="382"/>
                    </a:lnTo>
                    <a:lnTo>
                      <a:pt x="168" y="384"/>
                    </a:lnTo>
                    <a:lnTo>
                      <a:pt x="168" y="384"/>
                    </a:lnTo>
                    <a:lnTo>
                      <a:pt x="166" y="385"/>
                    </a:lnTo>
                    <a:lnTo>
                      <a:pt x="166" y="387"/>
                    </a:lnTo>
                    <a:lnTo>
                      <a:pt x="165" y="388"/>
                    </a:lnTo>
                    <a:lnTo>
                      <a:pt x="165" y="391"/>
                    </a:lnTo>
                    <a:lnTo>
                      <a:pt x="165" y="391"/>
                    </a:lnTo>
                    <a:lnTo>
                      <a:pt x="168" y="394"/>
                    </a:lnTo>
                    <a:lnTo>
                      <a:pt x="171" y="395"/>
                    </a:lnTo>
                    <a:lnTo>
                      <a:pt x="172" y="397"/>
                    </a:lnTo>
                    <a:lnTo>
                      <a:pt x="174" y="400"/>
                    </a:lnTo>
                    <a:lnTo>
                      <a:pt x="174" y="400"/>
                    </a:lnTo>
                    <a:lnTo>
                      <a:pt x="174" y="401"/>
                    </a:lnTo>
                    <a:lnTo>
                      <a:pt x="172" y="402"/>
                    </a:lnTo>
                    <a:lnTo>
                      <a:pt x="169" y="405"/>
                    </a:lnTo>
                    <a:lnTo>
                      <a:pt x="165" y="407"/>
                    </a:lnTo>
                    <a:lnTo>
                      <a:pt x="164" y="408"/>
                    </a:lnTo>
                    <a:lnTo>
                      <a:pt x="164" y="409"/>
                    </a:lnTo>
                    <a:lnTo>
                      <a:pt x="164" y="409"/>
                    </a:lnTo>
                    <a:lnTo>
                      <a:pt x="166" y="412"/>
                    </a:lnTo>
                    <a:lnTo>
                      <a:pt x="172" y="415"/>
                    </a:lnTo>
                    <a:lnTo>
                      <a:pt x="178" y="419"/>
                    </a:lnTo>
                    <a:lnTo>
                      <a:pt x="185" y="425"/>
                    </a:lnTo>
                    <a:lnTo>
                      <a:pt x="185" y="425"/>
                    </a:lnTo>
                    <a:lnTo>
                      <a:pt x="188" y="429"/>
                    </a:lnTo>
                    <a:lnTo>
                      <a:pt x="189" y="432"/>
                    </a:lnTo>
                    <a:lnTo>
                      <a:pt x="189" y="435"/>
                    </a:lnTo>
                    <a:lnTo>
                      <a:pt x="189" y="438"/>
                    </a:lnTo>
                    <a:lnTo>
                      <a:pt x="189" y="438"/>
                    </a:lnTo>
                    <a:lnTo>
                      <a:pt x="186" y="441"/>
                    </a:lnTo>
                    <a:lnTo>
                      <a:pt x="183" y="444"/>
                    </a:lnTo>
                    <a:lnTo>
                      <a:pt x="176" y="448"/>
                    </a:lnTo>
                    <a:lnTo>
                      <a:pt x="169" y="454"/>
                    </a:lnTo>
                    <a:lnTo>
                      <a:pt x="166" y="456"/>
                    </a:lnTo>
                    <a:lnTo>
                      <a:pt x="165" y="461"/>
                    </a:lnTo>
                    <a:lnTo>
                      <a:pt x="165" y="461"/>
                    </a:lnTo>
                    <a:lnTo>
                      <a:pt x="161" y="466"/>
                    </a:lnTo>
                    <a:lnTo>
                      <a:pt x="154" y="471"/>
                    </a:lnTo>
                    <a:lnTo>
                      <a:pt x="146" y="475"/>
                    </a:lnTo>
                    <a:lnTo>
                      <a:pt x="141" y="481"/>
                    </a:lnTo>
                    <a:lnTo>
                      <a:pt x="141" y="481"/>
                    </a:lnTo>
                    <a:lnTo>
                      <a:pt x="132" y="489"/>
                    </a:lnTo>
                    <a:lnTo>
                      <a:pt x="132" y="489"/>
                    </a:lnTo>
                    <a:lnTo>
                      <a:pt x="139" y="488"/>
                    </a:lnTo>
                    <a:lnTo>
                      <a:pt x="139" y="488"/>
                    </a:lnTo>
                    <a:lnTo>
                      <a:pt x="141" y="488"/>
                    </a:lnTo>
                    <a:lnTo>
                      <a:pt x="142" y="488"/>
                    </a:lnTo>
                    <a:lnTo>
                      <a:pt x="144" y="491"/>
                    </a:lnTo>
                    <a:lnTo>
                      <a:pt x="146" y="495"/>
                    </a:lnTo>
                    <a:lnTo>
                      <a:pt x="149" y="498"/>
                    </a:lnTo>
                    <a:lnTo>
                      <a:pt x="149" y="498"/>
                    </a:lnTo>
                    <a:lnTo>
                      <a:pt x="152" y="499"/>
                    </a:lnTo>
                    <a:lnTo>
                      <a:pt x="156" y="499"/>
                    </a:lnTo>
                    <a:lnTo>
                      <a:pt x="161" y="499"/>
                    </a:lnTo>
                    <a:lnTo>
                      <a:pt x="164" y="501"/>
                    </a:lnTo>
                    <a:lnTo>
                      <a:pt x="164" y="501"/>
                    </a:lnTo>
                    <a:lnTo>
                      <a:pt x="164" y="502"/>
                    </a:lnTo>
                    <a:lnTo>
                      <a:pt x="162" y="503"/>
                    </a:lnTo>
                    <a:lnTo>
                      <a:pt x="156" y="503"/>
                    </a:lnTo>
                    <a:lnTo>
                      <a:pt x="156" y="503"/>
                    </a:lnTo>
                    <a:lnTo>
                      <a:pt x="152" y="503"/>
                    </a:lnTo>
                    <a:lnTo>
                      <a:pt x="149" y="505"/>
                    </a:lnTo>
                    <a:lnTo>
                      <a:pt x="141" y="508"/>
                    </a:lnTo>
                    <a:lnTo>
                      <a:pt x="141" y="508"/>
                    </a:lnTo>
                    <a:lnTo>
                      <a:pt x="137" y="510"/>
                    </a:lnTo>
                    <a:lnTo>
                      <a:pt x="135" y="512"/>
                    </a:lnTo>
                    <a:lnTo>
                      <a:pt x="132" y="515"/>
                    </a:lnTo>
                    <a:lnTo>
                      <a:pt x="132" y="515"/>
                    </a:lnTo>
                    <a:lnTo>
                      <a:pt x="134" y="518"/>
                    </a:lnTo>
                    <a:lnTo>
                      <a:pt x="134" y="520"/>
                    </a:lnTo>
                    <a:lnTo>
                      <a:pt x="129" y="525"/>
                    </a:lnTo>
                    <a:lnTo>
                      <a:pt x="129" y="525"/>
                    </a:lnTo>
                    <a:lnTo>
                      <a:pt x="127" y="530"/>
                    </a:lnTo>
                    <a:lnTo>
                      <a:pt x="124" y="533"/>
                    </a:lnTo>
                    <a:lnTo>
                      <a:pt x="124" y="533"/>
                    </a:lnTo>
                    <a:lnTo>
                      <a:pt x="124" y="538"/>
                    </a:lnTo>
                    <a:lnTo>
                      <a:pt x="125" y="542"/>
                    </a:lnTo>
                    <a:lnTo>
                      <a:pt x="125" y="542"/>
                    </a:lnTo>
                    <a:lnTo>
                      <a:pt x="127" y="547"/>
                    </a:lnTo>
                    <a:lnTo>
                      <a:pt x="128" y="550"/>
                    </a:lnTo>
                    <a:lnTo>
                      <a:pt x="128" y="550"/>
                    </a:lnTo>
                    <a:lnTo>
                      <a:pt x="129" y="553"/>
                    </a:lnTo>
                    <a:lnTo>
                      <a:pt x="128" y="555"/>
                    </a:lnTo>
                    <a:lnTo>
                      <a:pt x="124" y="556"/>
                    </a:lnTo>
                    <a:lnTo>
                      <a:pt x="124" y="556"/>
                    </a:lnTo>
                    <a:lnTo>
                      <a:pt x="124" y="557"/>
                    </a:lnTo>
                    <a:lnTo>
                      <a:pt x="124" y="560"/>
                    </a:lnTo>
                    <a:lnTo>
                      <a:pt x="127" y="565"/>
                    </a:lnTo>
                    <a:lnTo>
                      <a:pt x="127" y="565"/>
                    </a:lnTo>
                    <a:lnTo>
                      <a:pt x="128" y="567"/>
                    </a:lnTo>
                    <a:lnTo>
                      <a:pt x="129" y="569"/>
                    </a:lnTo>
                    <a:lnTo>
                      <a:pt x="128" y="573"/>
                    </a:lnTo>
                    <a:lnTo>
                      <a:pt x="128" y="573"/>
                    </a:lnTo>
                    <a:lnTo>
                      <a:pt x="128" y="576"/>
                    </a:lnTo>
                    <a:lnTo>
                      <a:pt x="129" y="579"/>
                    </a:lnTo>
                    <a:lnTo>
                      <a:pt x="134" y="583"/>
                    </a:lnTo>
                    <a:lnTo>
                      <a:pt x="134" y="583"/>
                    </a:lnTo>
                    <a:lnTo>
                      <a:pt x="135" y="586"/>
                    </a:lnTo>
                    <a:lnTo>
                      <a:pt x="135" y="589"/>
                    </a:lnTo>
                    <a:lnTo>
                      <a:pt x="137" y="592"/>
                    </a:lnTo>
                    <a:lnTo>
                      <a:pt x="138" y="594"/>
                    </a:lnTo>
                    <a:lnTo>
                      <a:pt x="138" y="594"/>
                    </a:lnTo>
                    <a:lnTo>
                      <a:pt x="141" y="596"/>
                    </a:lnTo>
                    <a:lnTo>
                      <a:pt x="144" y="597"/>
                    </a:lnTo>
                    <a:lnTo>
                      <a:pt x="146" y="596"/>
                    </a:lnTo>
                    <a:lnTo>
                      <a:pt x="146" y="596"/>
                    </a:lnTo>
                    <a:lnTo>
                      <a:pt x="148" y="596"/>
                    </a:lnTo>
                    <a:lnTo>
                      <a:pt x="151" y="597"/>
                    </a:lnTo>
                    <a:lnTo>
                      <a:pt x="154" y="600"/>
                    </a:lnTo>
                    <a:lnTo>
                      <a:pt x="154" y="600"/>
                    </a:lnTo>
                    <a:lnTo>
                      <a:pt x="155" y="602"/>
                    </a:lnTo>
                    <a:lnTo>
                      <a:pt x="158" y="602"/>
                    </a:lnTo>
                    <a:lnTo>
                      <a:pt x="162" y="600"/>
                    </a:lnTo>
                    <a:lnTo>
                      <a:pt x="162" y="600"/>
                    </a:lnTo>
                    <a:lnTo>
                      <a:pt x="166" y="600"/>
                    </a:lnTo>
                    <a:lnTo>
                      <a:pt x="171" y="602"/>
                    </a:lnTo>
                    <a:lnTo>
                      <a:pt x="178" y="604"/>
                    </a:lnTo>
                    <a:lnTo>
                      <a:pt x="178" y="604"/>
                    </a:lnTo>
                    <a:lnTo>
                      <a:pt x="179" y="606"/>
                    </a:lnTo>
                    <a:lnTo>
                      <a:pt x="179" y="609"/>
                    </a:lnTo>
                    <a:lnTo>
                      <a:pt x="179" y="616"/>
                    </a:lnTo>
                    <a:lnTo>
                      <a:pt x="179" y="616"/>
                    </a:lnTo>
                    <a:lnTo>
                      <a:pt x="179" y="621"/>
                    </a:lnTo>
                    <a:lnTo>
                      <a:pt x="179" y="624"/>
                    </a:lnTo>
                    <a:lnTo>
                      <a:pt x="181" y="627"/>
                    </a:lnTo>
                    <a:lnTo>
                      <a:pt x="181" y="627"/>
                    </a:lnTo>
                    <a:lnTo>
                      <a:pt x="183" y="630"/>
                    </a:lnTo>
                    <a:lnTo>
                      <a:pt x="185" y="633"/>
                    </a:lnTo>
                    <a:lnTo>
                      <a:pt x="186" y="636"/>
                    </a:lnTo>
                    <a:lnTo>
                      <a:pt x="188" y="637"/>
                    </a:lnTo>
                    <a:lnTo>
                      <a:pt x="188" y="637"/>
                    </a:lnTo>
                    <a:lnTo>
                      <a:pt x="191" y="639"/>
                    </a:lnTo>
                    <a:lnTo>
                      <a:pt x="193" y="641"/>
                    </a:lnTo>
                    <a:lnTo>
                      <a:pt x="195" y="644"/>
                    </a:lnTo>
                    <a:lnTo>
                      <a:pt x="198" y="646"/>
                    </a:lnTo>
                    <a:lnTo>
                      <a:pt x="198" y="646"/>
                    </a:lnTo>
                    <a:lnTo>
                      <a:pt x="203" y="648"/>
                    </a:lnTo>
                    <a:lnTo>
                      <a:pt x="205" y="651"/>
                    </a:lnTo>
                    <a:lnTo>
                      <a:pt x="206" y="654"/>
                    </a:lnTo>
                    <a:lnTo>
                      <a:pt x="206" y="654"/>
                    </a:lnTo>
                    <a:lnTo>
                      <a:pt x="206" y="657"/>
                    </a:lnTo>
                    <a:lnTo>
                      <a:pt x="203" y="658"/>
                    </a:lnTo>
                    <a:lnTo>
                      <a:pt x="198" y="661"/>
                    </a:lnTo>
                    <a:lnTo>
                      <a:pt x="198" y="661"/>
                    </a:lnTo>
                    <a:lnTo>
                      <a:pt x="195" y="661"/>
                    </a:lnTo>
                    <a:lnTo>
                      <a:pt x="192" y="660"/>
                    </a:lnTo>
                    <a:lnTo>
                      <a:pt x="189" y="660"/>
                    </a:lnTo>
                    <a:lnTo>
                      <a:pt x="186" y="660"/>
                    </a:lnTo>
                    <a:lnTo>
                      <a:pt x="186" y="660"/>
                    </a:lnTo>
                    <a:lnTo>
                      <a:pt x="186" y="663"/>
                    </a:lnTo>
                    <a:lnTo>
                      <a:pt x="186" y="666"/>
                    </a:lnTo>
                    <a:lnTo>
                      <a:pt x="189" y="674"/>
                    </a:lnTo>
                    <a:lnTo>
                      <a:pt x="189" y="674"/>
                    </a:lnTo>
                    <a:lnTo>
                      <a:pt x="192" y="681"/>
                    </a:lnTo>
                    <a:lnTo>
                      <a:pt x="193" y="683"/>
                    </a:lnTo>
                    <a:lnTo>
                      <a:pt x="196" y="683"/>
                    </a:lnTo>
                    <a:lnTo>
                      <a:pt x="196" y="683"/>
                    </a:lnTo>
                    <a:lnTo>
                      <a:pt x="198" y="683"/>
                    </a:lnTo>
                    <a:lnTo>
                      <a:pt x="201" y="681"/>
                    </a:lnTo>
                    <a:lnTo>
                      <a:pt x="203" y="680"/>
                    </a:lnTo>
                    <a:lnTo>
                      <a:pt x="203" y="680"/>
                    </a:lnTo>
                    <a:lnTo>
                      <a:pt x="206" y="678"/>
                    </a:lnTo>
                    <a:lnTo>
                      <a:pt x="209" y="678"/>
                    </a:lnTo>
                    <a:lnTo>
                      <a:pt x="215" y="678"/>
                    </a:lnTo>
                    <a:lnTo>
                      <a:pt x="215" y="678"/>
                    </a:lnTo>
                    <a:lnTo>
                      <a:pt x="220" y="678"/>
                    </a:lnTo>
                    <a:lnTo>
                      <a:pt x="225" y="678"/>
                    </a:lnTo>
                    <a:lnTo>
                      <a:pt x="228" y="680"/>
                    </a:lnTo>
                    <a:lnTo>
                      <a:pt x="228" y="680"/>
                    </a:lnTo>
                    <a:lnTo>
                      <a:pt x="229" y="687"/>
                    </a:lnTo>
                    <a:lnTo>
                      <a:pt x="230" y="690"/>
                    </a:lnTo>
                    <a:lnTo>
                      <a:pt x="229" y="693"/>
                    </a:lnTo>
                    <a:lnTo>
                      <a:pt x="229" y="693"/>
                    </a:lnTo>
                    <a:lnTo>
                      <a:pt x="229" y="694"/>
                    </a:lnTo>
                    <a:lnTo>
                      <a:pt x="230" y="697"/>
                    </a:lnTo>
                    <a:lnTo>
                      <a:pt x="233" y="701"/>
                    </a:lnTo>
                    <a:lnTo>
                      <a:pt x="233" y="701"/>
                    </a:lnTo>
                    <a:lnTo>
                      <a:pt x="235" y="703"/>
                    </a:lnTo>
                    <a:lnTo>
                      <a:pt x="239" y="704"/>
                    </a:lnTo>
                    <a:lnTo>
                      <a:pt x="245" y="704"/>
                    </a:lnTo>
                    <a:lnTo>
                      <a:pt x="245" y="704"/>
                    </a:lnTo>
                    <a:lnTo>
                      <a:pt x="250" y="710"/>
                    </a:lnTo>
                    <a:lnTo>
                      <a:pt x="252" y="714"/>
                    </a:lnTo>
                    <a:lnTo>
                      <a:pt x="252" y="717"/>
                    </a:lnTo>
                    <a:lnTo>
                      <a:pt x="252" y="717"/>
                    </a:lnTo>
                    <a:lnTo>
                      <a:pt x="252" y="718"/>
                    </a:lnTo>
                    <a:lnTo>
                      <a:pt x="253" y="720"/>
                    </a:lnTo>
                    <a:lnTo>
                      <a:pt x="257" y="720"/>
                    </a:lnTo>
                    <a:lnTo>
                      <a:pt x="257" y="720"/>
                    </a:lnTo>
                    <a:lnTo>
                      <a:pt x="260" y="720"/>
                    </a:lnTo>
                    <a:lnTo>
                      <a:pt x="262" y="721"/>
                    </a:lnTo>
                    <a:lnTo>
                      <a:pt x="266" y="724"/>
                    </a:lnTo>
                    <a:lnTo>
                      <a:pt x="266" y="724"/>
                    </a:lnTo>
                    <a:lnTo>
                      <a:pt x="270" y="724"/>
                    </a:lnTo>
                    <a:lnTo>
                      <a:pt x="275" y="722"/>
                    </a:lnTo>
                    <a:lnTo>
                      <a:pt x="275" y="722"/>
                    </a:lnTo>
                    <a:lnTo>
                      <a:pt x="279" y="721"/>
                    </a:lnTo>
                    <a:lnTo>
                      <a:pt x="282" y="721"/>
                    </a:lnTo>
                    <a:lnTo>
                      <a:pt x="283" y="722"/>
                    </a:lnTo>
                    <a:lnTo>
                      <a:pt x="283" y="722"/>
                    </a:lnTo>
                    <a:lnTo>
                      <a:pt x="287" y="727"/>
                    </a:lnTo>
                    <a:lnTo>
                      <a:pt x="290" y="731"/>
                    </a:lnTo>
                    <a:lnTo>
                      <a:pt x="290" y="731"/>
                    </a:lnTo>
                    <a:lnTo>
                      <a:pt x="292" y="731"/>
                    </a:lnTo>
                    <a:lnTo>
                      <a:pt x="294" y="731"/>
                    </a:lnTo>
                    <a:lnTo>
                      <a:pt x="299" y="731"/>
                    </a:lnTo>
                    <a:lnTo>
                      <a:pt x="303" y="732"/>
                    </a:lnTo>
                    <a:lnTo>
                      <a:pt x="303" y="732"/>
                    </a:lnTo>
                    <a:lnTo>
                      <a:pt x="310" y="734"/>
                    </a:lnTo>
                    <a:lnTo>
                      <a:pt x="313" y="735"/>
                    </a:lnTo>
                    <a:lnTo>
                      <a:pt x="317" y="737"/>
                    </a:lnTo>
                    <a:lnTo>
                      <a:pt x="317" y="737"/>
                    </a:lnTo>
                    <a:lnTo>
                      <a:pt x="323" y="740"/>
                    </a:lnTo>
                    <a:lnTo>
                      <a:pt x="324" y="740"/>
                    </a:lnTo>
                    <a:lnTo>
                      <a:pt x="326" y="742"/>
                    </a:lnTo>
                    <a:lnTo>
                      <a:pt x="326" y="742"/>
                    </a:lnTo>
                    <a:lnTo>
                      <a:pt x="326" y="744"/>
                    </a:lnTo>
                    <a:lnTo>
                      <a:pt x="324" y="745"/>
                    </a:lnTo>
                    <a:lnTo>
                      <a:pt x="321" y="748"/>
                    </a:lnTo>
                    <a:lnTo>
                      <a:pt x="321" y="748"/>
                    </a:lnTo>
                    <a:lnTo>
                      <a:pt x="323" y="751"/>
                    </a:lnTo>
                    <a:lnTo>
                      <a:pt x="324" y="752"/>
                    </a:lnTo>
                    <a:lnTo>
                      <a:pt x="326" y="754"/>
                    </a:lnTo>
                    <a:lnTo>
                      <a:pt x="326" y="754"/>
                    </a:lnTo>
                    <a:lnTo>
                      <a:pt x="324" y="755"/>
                    </a:lnTo>
                    <a:lnTo>
                      <a:pt x="323" y="755"/>
                    </a:lnTo>
                    <a:lnTo>
                      <a:pt x="320" y="757"/>
                    </a:lnTo>
                    <a:lnTo>
                      <a:pt x="320" y="757"/>
                    </a:lnTo>
                    <a:lnTo>
                      <a:pt x="320" y="757"/>
                    </a:lnTo>
                    <a:lnTo>
                      <a:pt x="320" y="758"/>
                    </a:lnTo>
                    <a:lnTo>
                      <a:pt x="320" y="761"/>
                    </a:lnTo>
                    <a:lnTo>
                      <a:pt x="323" y="764"/>
                    </a:lnTo>
                    <a:lnTo>
                      <a:pt x="323" y="764"/>
                    </a:lnTo>
                    <a:lnTo>
                      <a:pt x="321" y="768"/>
                    </a:lnTo>
                    <a:lnTo>
                      <a:pt x="320" y="772"/>
                    </a:lnTo>
                    <a:lnTo>
                      <a:pt x="320" y="772"/>
                    </a:lnTo>
                    <a:lnTo>
                      <a:pt x="319" y="774"/>
                    </a:lnTo>
                    <a:lnTo>
                      <a:pt x="314" y="774"/>
                    </a:lnTo>
                    <a:lnTo>
                      <a:pt x="307" y="772"/>
                    </a:lnTo>
                    <a:lnTo>
                      <a:pt x="307" y="772"/>
                    </a:lnTo>
                    <a:lnTo>
                      <a:pt x="304" y="774"/>
                    </a:lnTo>
                    <a:lnTo>
                      <a:pt x="300" y="776"/>
                    </a:lnTo>
                    <a:lnTo>
                      <a:pt x="297" y="779"/>
                    </a:lnTo>
                    <a:lnTo>
                      <a:pt x="294" y="781"/>
                    </a:lnTo>
                    <a:lnTo>
                      <a:pt x="294" y="781"/>
                    </a:lnTo>
                    <a:lnTo>
                      <a:pt x="293" y="782"/>
                    </a:lnTo>
                    <a:lnTo>
                      <a:pt x="293" y="784"/>
                    </a:lnTo>
                    <a:lnTo>
                      <a:pt x="294" y="789"/>
                    </a:lnTo>
                    <a:lnTo>
                      <a:pt x="294" y="789"/>
                    </a:lnTo>
                    <a:lnTo>
                      <a:pt x="304" y="788"/>
                    </a:lnTo>
                    <a:lnTo>
                      <a:pt x="309" y="788"/>
                    </a:lnTo>
                    <a:lnTo>
                      <a:pt x="310" y="788"/>
                    </a:lnTo>
                    <a:lnTo>
                      <a:pt x="310" y="788"/>
                    </a:lnTo>
                    <a:lnTo>
                      <a:pt x="310" y="789"/>
                    </a:lnTo>
                    <a:lnTo>
                      <a:pt x="309" y="791"/>
                    </a:lnTo>
                    <a:lnTo>
                      <a:pt x="303" y="795"/>
                    </a:lnTo>
                    <a:lnTo>
                      <a:pt x="290" y="799"/>
                    </a:lnTo>
                    <a:lnTo>
                      <a:pt x="290" y="799"/>
                    </a:lnTo>
                    <a:lnTo>
                      <a:pt x="290" y="801"/>
                    </a:lnTo>
                    <a:lnTo>
                      <a:pt x="290" y="801"/>
                    </a:lnTo>
                    <a:lnTo>
                      <a:pt x="293" y="804"/>
                    </a:lnTo>
                    <a:lnTo>
                      <a:pt x="296" y="806"/>
                    </a:lnTo>
                    <a:lnTo>
                      <a:pt x="297" y="809"/>
                    </a:lnTo>
                    <a:lnTo>
                      <a:pt x="297" y="809"/>
                    </a:lnTo>
                    <a:lnTo>
                      <a:pt x="294" y="811"/>
                    </a:lnTo>
                    <a:lnTo>
                      <a:pt x="292" y="812"/>
                    </a:lnTo>
                    <a:lnTo>
                      <a:pt x="289" y="815"/>
                    </a:lnTo>
                    <a:lnTo>
                      <a:pt x="287" y="816"/>
                    </a:lnTo>
                    <a:lnTo>
                      <a:pt x="287" y="818"/>
                    </a:lnTo>
                    <a:lnTo>
                      <a:pt x="287" y="818"/>
                    </a:lnTo>
                    <a:lnTo>
                      <a:pt x="287" y="822"/>
                    </a:lnTo>
                    <a:lnTo>
                      <a:pt x="286" y="823"/>
                    </a:lnTo>
                    <a:lnTo>
                      <a:pt x="283" y="825"/>
                    </a:lnTo>
                    <a:lnTo>
                      <a:pt x="279" y="825"/>
                    </a:lnTo>
                    <a:lnTo>
                      <a:pt x="279" y="825"/>
                    </a:lnTo>
                    <a:lnTo>
                      <a:pt x="275" y="825"/>
                    </a:lnTo>
                    <a:lnTo>
                      <a:pt x="273" y="826"/>
                    </a:lnTo>
                    <a:lnTo>
                      <a:pt x="273" y="828"/>
                    </a:lnTo>
                    <a:lnTo>
                      <a:pt x="275" y="829"/>
                    </a:lnTo>
                    <a:lnTo>
                      <a:pt x="275" y="829"/>
                    </a:lnTo>
                    <a:lnTo>
                      <a:pt x="276" y="831"/>
                    </a:lnTo>
                    <a:lnTo>
                      <a:pt x="277" y="833"/>
                    </a:lnTo>
                    <a:lnTo>
                      <a:pt x="282" y="836"/>
                    </a:lnTo>
                    <a:lnTo>
                      <a:pt x="287" y="839"/>
                    </a:lnTo>
                    <a:lnTo>
                      <a:pt x="287" y="839"/>
                    </a:lnTo>
                    <a:lnTo>
                      <a:pt x="294" y="842"/>
                    </a:lnTo>
                    <a:lnTo>
                      <a:pt x="303" y="848"/>
                    </a:lnTo>
                    <a:lnTo>
                      <a:pt x="310" y="853"/>
                    </a:lnTo>
                    <a:lnTo>
                      <a:pt x="317" y="860"/>
                    </a:lnTo>
                    <a:lnTo>
                      <a:pt x="317" y="860"/>
                    </a:lnTo>
                    <a:lnTo>
                      <a:pt x="321" y="863"/>
                    </a:lnTo>
                    <a:lnTo>
                      <a:pt x="321" y="863"/>
                    </a:lnTo>
                    <a:lnTo>
                      <a:pt x="327" y="860"/>
                    </a:lnTo>
                    <a:lnTo>
                      <a:pt x="327" y="860"/>
                    </a:lnTo>
                    <a:lnTo>
                      <a:pt x="331" y="860"/>
                    </a:lnTo>
                    <a:lnTo>
                      <a:pt x="337" y="862"/>
                    </a:lnTo>
                    <a:lnTo>
                      <a:pt x="346" y="866"/>
                    </a:lnTo>
                    <a:lnTo>
                      <a:pt x="346" y="866"/>
                    </a:lnTo>
                    <a:lnTo>
                      <a:pt x="351" y="868"/>
                    </a:lnTo>
                    <a:lnTo>
                      <a:pt x="360" y="868"/>
                    </a:lnTo>
                    <a:lnTo>
                      <a:pt x="367" y="868"/>
                    </a:lnTo>
                    <a:lnTo>
                      <a:pt x="371" y="869"/>
                    </a:lnTo>
                    <a:lnTo>
                      <a:pt x="371" y="869"/>
                    </a:lnTo>
                    <a:lnTo>
                      <a:pt x="376" y="873"/>
                    </a:lnTo>
                    <a:lnTo>
                      <a:pt x="378" y="875"/>
                    </a:lnTo>
                    <a:lnTo>
                      <a:pt x="381" y="875"/>
                    </a:lnTo>
                    <a:lnTo>
                      <a:pt x="381" y="875"/>
                    </a:lnTo>
                    <a:lnTo>
                      <a:pt x="384" y="876"/>
                    </a:lnTo>
                    <a:lnTo>
                      <a:pt x="387" y="879"/>
                    </a:lnTo>
                    <a:lnTo>
                      <a:pt x="388" y="880"/>
                    </a:lnTo>
                    <a:lnTo>
                      <a:pt x="391" y="880"/>
                    </a:lnTo>
                    <a:lnTo>
                      <a:pt x="391" y="880"/>
                    </a:lnTo>
                    <a:lnTo>
                      <a:pt x="394" y="879"/>
                    </a:lnTo>
                    <a:lnTo>
                      <a:pt x="400" y="879"/>
                    </a:lnTo>
                    <a:lnTo>
                      <a:pt x="407" y="877"/>
                    </a:lnTo>
                    <a:lnTo>
                      <a:pt x="407" y="877"/>
                    </a:lnTo>
                    <a:lnTo>
                      <a:pt x="410" y="879"/>
                    </a:lnTo>
                    <a:lnTo>
                      <a:pt x="413" y="880"/>
                    </a:lnTo>
                    <a:lnTo>
                      <a:pt x="413" y="880"/>
                    </a:lnTo>
                    <a:lnTo>
                      <a:pt x="415" y="882"/>
                    </a:lnTo>
                    <a:lnTo>
                      <a:pt x="415" y="886"/>
                    </a:lnTo>
                    <a:lnTo>
                      <a:pt x="417" y="889"/>
                    </a:lnTo>
                    <a:lnTo>
                      <a:pt x="418" y="890"/>
                    </a:lnTo>
                    <a:lnTo>
                      <a:pt x="418" y="890"/>
                    </a:lnTo>
                    <a:lnTo>
                      <a:pt x="421" y="890"/>
                    </a:lnTo>
                    <a:lnTo>
                      <a:pt x="424" y="893"/>
                    </a:lnTo>
                    <a:lnTo>
                      <a:pt x="428" y="896"/>
                    </a:lnTo>
                    <a:lnTo>
                      <a:pt x="432" y="897"/>
                    </a:lnTo>
                    <a:lnTo>
                      <a:pt x="432" y="897"/>
                    </a:lnTo>
                    <a:lnTo>
                      <a:pt x="437" y="899"/>
                    </a:lnTo>
                    <a:lnTo>
                      <a:pt x="440" y="902"/>
                    </a:lnTo>
                    <a:lnTo>
                      <a:pt x="442" y="905"/>
                    </a:lnTo>
                    <a:lnTo>
                      <a:pt x="445" y="906"/>
                    </a:lnTo>
                    <a:lnTo>
                      <a:pt x="445" y="906"/>
                    </a:lnTo>
                    <a:lnTo>
                      <a:pt x="447" y="906"/>
                    </a:lnTo>
                    <a:lnTo>
                      <a:pt x="450" y="907"/>
                    </a:lnTo>
                    <a:lnTo>
                      <a:pt x="451" y="907"/>
                    </a:lnTo>
                    <a:lnTo>
                      <a:pt x="452" y="906"/>
                    </a:lnTo>
                    <a:lnTo>
                      <a:pt x="452" y="906"/>
                    </a:lnTo>
                    <a:lnTo>
                      <a:pt x="454" y="905"/>
                    </a:lnTo>
                    <a:lnTo>
                      <a:pt x="457" y="903"/>
                    </a:lnTo>
                    <a:lnTo>
                      <a:pt x="461" y="902"/>
                    </a:lnTo>
                    <a:lnTo>
                      <a:pt x="462" y="899"/>
                    </a:lnTo>
                    <a:lnTo>
                      <a:pt x="462" y="899"/>
                    </a:lnTo>
                    <a:lnTo>
                      <a:pt x="450" y="882"/>
                    </a:lnTo>
                    <a:lnTo>
                      <a:pt x="445" y="875"/>
                    </a:lnTo>
                    <a:lnTo>
                      <a:pt x="444" y="870"/>
                    </a:lnTo>
                    <a:lnTo>
                      <a:pt x="444" y="870"/>
                    </a:lnTo>
                    <a:lnTo>
                      <a:pt x="445" y="865"/>
                    </a:lnTo>
                    <a:lnTo>
                      <a:pt x="445" y="859"/>
                    </a:lnTo>
                    <a:lnTo>
                      <a:pt x="444" y="855"/>
                    </a:lnTo>
                    <a:lnTo>
                      <a:pt x="438" y="849"/>
                    </a:lnTo>
                    <a:lnTo>
                      <a:pt x="438" y="849"/>
                    </a:lnTo>
                    <a:lnTo>
                      <a:pt x="435" y="845"/>
                    </a:lnTo>
                    <a:lnTo>
                      <a:pt x="434" y="842"/>
                    </a:lnTo>
                    <a:lnTo>
                      <a:pt x="434" y="839"/>
                    </a:lnTo>
                    <a:lnTo>
                      <a:pt x="435" y="838"/>
                    </a:lnTo>
                    <a:lnTo>
                      <a:pt x="441" y="832"/>
                    </a:lnTo>
                    <a:lnTo>
                      <a:pt x="447" y="825"/>
                    </a:lnTo>
                    <a:lnTo>
                      <a:pt x="447" y="825"/>
                    </a:lnTo>
                    <a:lnTo>
                      <a:pt x="452" y="821"/>
                    </a:lnTo>
                    <a:lnTo>
                      <a:pt x="459" y="816"/>
                    </a:lnTo>
                    <a:lnTo>
                      <a:pt x="467" y="812"/>
                    </a:lnTo>
                    <a:lnTo>
                      <a:pt x="475" y="808"/>
                    </a:lnTo>
                    <a:lnTo>
                      <a:pt x="475" y="808"/>
                    </a:lnTo>
                    <a:lnTo>
                      <a:pt x="469" y="805"/>
                    </a:lnTo>
                    <a:lnTo>
                      <a:pt x="469" y="805"/>
                    </a:lnTo>
                    <a:lnTo>
                      <a:pt x="465" y="802"/>
                    </a:lnTo>
                    <a:lnTo>
                      <a:pt x="464" y="801"/>
                    </a:lnTo>
                    <a:lnTo>
                      <a:pt x="464" y="799"/>
                    </a:lnTo>
                    <a:lnTo>
                      <a:pt x="465" y="798"/>
                    </a:lnTo>
                    <a:lnTo>
                      <a:pt x="465" y="798"/>
                    </a:lnTo>
                    <a:lnTo>
                      <a:pt x="468" y="796"/>
                    </a:lnTo>
                    <a:lnTo>
                      <a:pt x="468" y="795"/>
                    </a:lnTo>
                    <a:lnTo>
                      <a:pt x="464" y="788"/>
                    </a:lnTo>
                    <a:lnTo>
                      <a:pt x="464" y="788"/>
                    </a:lnTo>
                    <a:lnTo>
                      <a:pt x="458" y="779"/>
                    </a:lnTo>
                    <a:lnTo>
                      <a:pt x="455" y="778"/>
                    </a:lnTo>
                    <a:lnTo>
                      <a:pt x="454" y="776"/>
                    </a:lnTo>
                    <a:lnTo>
                      <a:pt x="454" y="776"/>
                    </a:lnTo>
                    <a:lnTo>
                      <a:pt x="448" y="776"/>
                    </a:lnTo>
                    <a:lnTo>
                      <a:pt x="442" y="776"/>
                    </a:lnTo>
                    <a:lnTo>
                      <a:pt x="442" y="776"/>
                    </a:lnTo>
                    <a:lnTo>
                      <a:pt x="440" y="776"/>
                    </a:lnTo>
                    <a:lnTo>
                      <a:pt x="440" y="775"/>
                    </a:lnTo>
                    <a:lnTo>
                      <a:pt x="440" y="768"/>
                    </a:lnTo>
                    <a:lnTo>
                      <a:pt x="440" y="768"/>
                    </a:lnTo>
                    <a:lnTo>
                      <a:pt x="438" y="765"/>
                    </a:lnTo>
                    <a:lnTo>
                      <a:pt x="435" y="764"/>
                    </a:lnTo>
                    <a:lnTo>
                      <a:pt x="432" y="764"/>
                    </a:lnTo>
                    <a:lnTo>
                      <a:pt x="430" y="762"/>
                    </a:lnTo>
                    <a:lnTo>
                      <a:pt x="430" y="762"/>
                    </a:lnTo>
                    <a:lnTo>
                      <a:pt x="430" y="759"/>
                    </a:lnTo>
                    <a:lnTo>
                      <a:pt x="431" y="757"/>
                    </a:lnTo>
                    <a:lnTo>
                      <a:pt x="434" y="752"/>
                    </a:lnTo>
                    <a:lnTo>
                      <a:pt x="434" y="752"/>
                    </a:lnTo>
                    <a:lnTo>
                      <a:pt x="437" y="751"/>
                    </a:lnTo>
                    <a:lnTo>
                      <a:pt x="438" y="749"/>
                    </a:lnTo>
                    <a:lnTo>
                      <a:pt x="440" y="747"/>
                    </a:lnTo>
                    <a:lnTo>
                      <a:pt x="440" y="747"/>
                    </a:lnTo>
                    <a:lnTo>
                      <a:pt x="438" y="745"/>
                    </a:lnTo>
                    <a:lnTo>
                      <a:pt x="435" y="744"/>
                    </a:lnTo>
                    <a:lnTo>
                      <a:pt x="434" y="742"/>
                    </a:lnTo>
                    <a:lnTo>
                      <a:pt x="434" y="740"/>
                    </a:lnTo>
                    <a:lnTo>
                      <a:pt x="434" y="740"/>
                    </a:lnTo>
                    <a:lnTo>
                      <a:pt x="437" y="737"/>
                    </a:lnTo>
                    <a:lnTo>
                      <a:pt x="440" y="734"/>
                    </a:lnTo>
                    <a:lnTo>
                      <a:pt x="442" y="732"/>
                    </a:lnTo>
                    <a:lnTo>
                      <a:pt x="442" y="730"/>
                    </a:lnTo>
                    <a:lnTo>
                      <a:pt x="442" y="730"/>
                    </a:lnTo>
                    <a:lnTo>
                      <a:pt x="444" y="725"/>
                    </a:lnTo>
                    <a:lnTo>
                      <a:pt x="445" y="724"/>
                    </a:lnTo>
                    <a:lnTo>
                      <a:pt x="448" y="722"/>
                    </a:lnTo>
                    <a:lnTo>
                      <a:pt x="452" y="724"/>
                    </a:lnTo>
                    <a:lnTo>
                      <a:pt x="452" y="724"/>
                    </a:lnTo>
                    <a:lnTo>
                      <a:pt x="455" y="727"/>
                    </a:lnTo>
                    <a:lnTo>
                      <a:pt x="458" y="731"/>
                    </a:lnTo>
                    <a:lnTo>
                      <a:pt x="461" y="734"/>
                    </a:lnTo>
                    <a:lnTo>
                      <a:pt x="462" y="735"/>
                    </a:lnTo>
                    <a:lnTo>
                      <a:pt x="465" y="734"/>
                    </a:lnTo>
                    <a:lnTo>
                      <a:pt x="465" y="734"/>
                    </a:lnTo>
                    <a:lnTo>
                      <a:pt x="468" y="732"/>
                    </a:lnTo>
                    <a:lnTo>
                      <a:pt x="468" y="730"/>
                    </a:lnTo>
                    <a:lnTo>
                      <a:pt x="467" y="724"/>
                    </a:lnTo>
                    <a:lnTo>
                      <a:pt x="467" y="724"/>
                    </a:lnTo>
                    <a:lnTo>
                      <a:pt x="465" y="720"/>
                    </a:lnTo>
                    <a:lnTo>
                      <a:pt x="467" y="717"/>
                    </a:lnTo>
                    <a:lnTo>
                      <a:pt x="471" y="715"/>
                    </a:lnTo>
                    <a:lnTo>
                      <a:pt x="471" y="715"/>
                    </a:lnTo>
                    <a:lnTo>
                      <a:pt x="474" y="714"/>
                    </a:lnTo>
                    <a:lnTo>
                      <a:pt x="475" y="711"/>
                    </a:lnTo>
                    <a:lnTo>
                      <a:pt x="477" y="710"/>
                    </a:lnTo>
                    <a:lnTo>
                      <a:pt x="479" y="708"/>
                    </a:lnTo>
                    <a:lnTo>
                      <a:pt x="479" y="708"/>
                    </a:lnTo>
                    <a:lnTo>
                      <a:pt x="484" y="707"/>
                    </a:lnTo>
                    <a:lnTo>
                      <a:pt x="488" y="705"/>
                    </a:lnTo>
                    <a:lnTo>
                      <a:pt x="496" y="700"/>
                    </a:lnTo>
                    <a:lnTo>
                      <a:pt x="496" y="700"/>
                    </a:lnTo>
                    <a:lnTo>
                      <a:pt x="502" y="697"/>
                    </a:lnTo>
                    <a:lnTo>
                      <a:pt x="505" y="697"/>
                    </a:lnTo>
                    <a:lnTo>
                      <a:pt x="508" y="697"/>
                    </a:lnTo>
                    <a:lnTo>
                      <a:pt x="508" y="697"/>
                    </a:lnTo>
                    <a:lnTo>
                      <a:pt x="514" y="700"/>
                    </a:lnTo>
                    <a:lnTo>
                      <a:pt x="515" y="700"/>
                    </a:lnTo>
                    <a:lnTo>
                      <a:pt x="516" y="697"/>
                    </a:lnTo>
                    <a:lnTo>
                      <a:pt x="516" y="697"/>
                    </a:lnTo>
                    <a:lnTo>
                      <a:pt x="519" y="694"/>
                    </a:lnTo>
                    <a:lnTo>
                      <a:pt x="523" y="694"/>
                    </a:lnTo>
                    <a:lnTo>
                      <a:pt x="526" y="695"/>
                    </a:lnTo>
                    <a:lnTo>
                      <a:pt x="528" y="697"/>
                    </a:lnTo>
                    <a:lnTo>
                      <a:pt x="528" y="697"/>
                    </a:lnTo>
                    <a:lnTo>
                      <a:pt x="531" y="698"/>
                    </a:lnTo>
                    <a:lnTo>
                      <a:pt x="536" y="700"/>
                    </a:lnTo>
                    <a:lnTo>
                      <a:pt x="542" y="701"/>
                    </a:lnTo>
                    <a:lnTo>
                      <a:pt x="546" y="703"/>
                    </a:lnTo>
                    <a:lnTo>
                      <a:pt x="546" y="703"/>
                    </a:lnTo>
                    <a:lnTo>
                      <a:pt x="555" y="708"/>
                    </a:lnTo>
                    <a:lnTo>
                      <a:pt x="559" y="711"/>
                    </a:lnTo>
                    <a:lnTo>
                      <a:pt x="560" y="714"/>
                    </a:lnTo>
                    <a:lnTo>
                      <a:pt x="560" y="714"/>
                    </a:lnTo>
                    <a:lnTo>
                      <a:pt x="560" y="715"/>
                    </a:lnTo>
                    <a:lnTo>
                      <a:pt x="562" y="718"/>
                    </a:lnTo>
                    <a:lnTo>
                      <a:pt x="563" y="718"/>
                    </a:lnTo>
                    <a:lnTo>
                      <a:pt x="565" y="715"/>
                    </a:lnTo>
                    <a:lnTo>
                      <a:pt x="565" y="715"/>
                    </a:lnTo>
                    <a:lnTo>
                      <a:pt x="565" y="714"/>
                    </a:lnTo>
                    <a:lnTo>
                      <a:pt x="568" y="712"/>
                    </a:lnTo>
                    <a:lnTo>
                      <a:pt x="573" y="715"/>
                    </a:lnTo>
                    <a:lnTo>
                      <a:pt x="573" y="715"/>
                    </a:lnTo>
                    <a:lnTo>
                      <a:pt x="579" y="718"/>
                    </a:lnTo>
                    <a:lnTo>
                      <a:pt x="583" y="718"/>
                    </a:lnTo>
                    <a:lnTo>
                      <a:pt x="586" y="717"/>
                    </a:lnTo>
                    <a:lnTo>
                      <a:pt x="589" y="714"/>
                    </a:lnTo>
                    <a:lnTo>
                      <a:pt x="589" y="714"/>
                    </a:lnTo>
                    <a:lnTo>
                      <a:pt x="592" y="712"/>
                    </a:lnTo>
                    <a:lnTo>
                      <a:pt x="596" y="710"/>
                    </a:lnTo>
                    <a:lnTo>
                      <a:pt x="600" y="708"/>
                    </a:lnTo>
                    <a:lnTo>
                      <a:pt x="605" y="710"/>
                    </a:lnTo>
                    <a:lnTo>
                      <a:pt x="605" y="710"/>
                    </a:lnTo>
                    <a:lnTo>
                      <a:pt x="609" y="712"/>
                    </a:lnTo>
                    <a:lnTo>
                      <a:pt x="610" y="712"/>
                    </a:lnTo>
                    <a:lnTo>
                      <a:pt x="613" y="710"/>
                    </a:lnTo>
                    <a:lnTo>
                      <a:pt x="613" y="710"/>
                    </a:lnTo>
                    <a:lnTo>
                      <a:pt x="617" y="708"/>
                    </a:lnTo>
                    <a:lnTo>
                      <a:pt x="623" y="707"/>
                    </a:lnTo>
                    <a:lnTo>
                      <a:pt x="627" y="708"/>
                    </a:lnTo>
                    <a:lnTo>
                      <a:pt x="629" y="711"/>
                    </a:lnTo>
                    <a:lnTo>
                      <a:pt x="629" y="711"/>
                    </a:lnTo>
                    <a:lnTo>
                      <a:pt x="632" y="714"/>
                    </a:lnTo>
                    <a:lnTo>
                      <a:pt x="633" y="715"/>
                    </a:lnTo>
                    <a:lnTo>
                      <a:pt x="640" y="715"/>
                    </a:lnTo>
                    <a:lnTo>
                      <a:pt x="640" y="715"/>
                    </a:lnTo>
                    <a:lnTo>
                      <a:pt x="643" y="717"/>
                    </a:lnTo>
                    <a:lnTo>
                      <a:pt x="644" y="720"/>
                    </a:lnTo>
                    <a:lnTo>
                      <a:pt x="646" y="721"/>
                    </a:lnTo>
                    <a:lnTo>
                      <a:pt x="647" y="721"/>
                    </a:lnTo>
                    <a:lnTo>
                      <a:pt x="647" y="721"/>
                    </a:lnTo>
                    <a:lnTo>
                      <a:pt x="649" y="720"/>
                    </a:lnTo>
                    <a:lnTo>
                      <a:pt x="650" y="717"/>
                    </a:lnTo>
                    <a:lnTo>
                      <a:pt x="652" y="714"/>
                    </a:lnTo>
                    <a:lnTo>
                      <a:pt x="653" y="712"/>
                    </a:lnTo>
                    <a:lnTo>
                      <a:pt x="653" y="712"/>
                    </a:lnTo>
                    <a:lnTo>
                      <a:pt x="659" y="715"/>
                    </a:lnTo>
                    <a:lnTo>
                      <a:pt x="661" y="717"/>
                    </a:lnTo>
                    <a:lnTo>
                      <a:pt x="666" y="718"/>
                    </a:lnTo>
                    <a:lnTo>
                      <a:pt x="666" y="718"/>
                    </a:lnTo>
                    <a:lnTo>
                      <a:pt x="670" y="718"/>
                    </a:lnTo>
                    <a:lnTo>
                      <a:pt x="673" y="717"/>
                    </a:lnTo>
                    <a:lnTo>
                      <a:pt x="674" y="715"/>
                    </a:lnTo>
                    <a:lnTo>
                      <a:pt x="676" y="712"/>
                    </a:lnTo>
                    <a:lnTo>
                      <a:pt x="676" y="712"/>
                    </a:lnTo>
                    <a:lnTo>
                      <a:pt x="674" y="705"/>
                    </a:lnTo>
                    <a:lnTo>
                      <a:pt x="673" y="703"/>
                    </a:lnTo>
                    <a:lnTo>
                      <a:pt x="671" y="701"/>
                    </a:lnTo>
                    <a:lnTo>
                      <a:pt x="671" y="701"/>
                    </a:lnTo>
                    <a:lnTo>
                      <a:pt x="666" y="700"/>
                    </a:lnTo>
                    <a:lnTo>
                      <a:pt x="663" y="698"/>
                    </a:lnTo>
                    <a:lnTo>
                      <a:pt x="660" y="697"/>
                    </a:lnTo>
                    <a:lnTo>
                      <a:pt x="660" y="697"/>
                    </a:lnTo>
                    <a:lnTo>
                      <a:pt x="657" y="697"/>
                    </a:lnTo>
                    <a:lnTo>
                      <a:pt x="654" y="694"/>
                    </a:lnTo>
                    <a:lnTo>
                      <a:pt x="654" y="691"/>
                    </a:lnTo>
                    <a:lnTo>
                      <a:pt x="656" y="688"/>
                    </a:lnTo>
                    <a:lnTo>
                      <a:pt x="656" y="688"/>
                    </a:lnTo>
                    <a:lnTo>
                      <a:pt x="663" y="685"/>
                    </a:lnTo>
                    <a:lnTo>
                      <a:pt x="666" y="683"/>
                    </a:lnTo>
                    <a:lnTo>
                      <a:pt x="666" y="680"/>
                    </a:lnTo>
                    <a:lnTo>
                      <a:pt x="666" y="680"/>
                    </a:lnTo>
                    <a:lnTo>
                      <a:pt x="664" y="677"/>
                    </a:lnTo>
                    <a:lnTo>
                      <a:pt x="664" y="674"/>
                    </a:lnTo>
                    <a:lnTo>
                      <a:pt x="666" y="671"/>
                    </a:lnTo>
                    <a:lnTo>
                      <a:pt x="669" y="668"/>
                    </a:lnTo>
                    <a:lnTo>
                      <a:pt x="669" y="668"/>
                    </a:lnTo>
                    <a:lnTo>
                      <a:pt x="680" y="668"/>
                    </a:lnTo>
                    <a:lnTo>
                      <a:pt x="684" y="667"/>
                    </a:lnTo>
                    <a:lnTo>
                      <a:pt x="686" y="666"/>
                    </a:lnTo>
                    <a:lnTo>
                      <a:pt x="686" y="666"/>
                    </a:lnTo>
                    <a:lnTo>
                      <a:pt x="683" y="664"/>
                    </a:lnTo>
                    <a:lnTo>
                      <a:pt x="679" y="663"/>
                    </a:lnTo>
                    <a:lnTo>
                      <a:pt x="674" y="661"/>
                    </a:lnTo>
                    <a:lnTo>
                      <a:pt x="671" y="658"/>
                    </a:lnTo>
                    <a:lnTo>
                      <a:pt x="671" y="658"/>
                    </a:lnTo>
                    <a:lnTo>
                      <a:pt x="670" y="656"/>
                    </a:lnTo>
                    <a:lnTo>
                      <a:pt x="669" y="651"/>
                    </a:lnTo>
                    <a:lnTo>
                      <a:pt x="670" y="647"/>
                    </a:lnTo>
                    <a:lnTo>
                      <a:pt x="670" y="646"/>
                    </a:lnTo>
                    <a:lnTo>
                      <a:pt x="670" y="646"/>
                    </a:lnTo>
                    <a:lnTo>
                      <a:pt x="673" y="646"/>
                    </a:lnTo>
                    <a:lnTo>
                      <a:pt x="677" y="646"/>
                    </a:lnTo>
                    <a:lnTo>
                      <a:pt x="680" y="646"/>
                    </a:lnTo>
                    <a:lnTo>
                      <a:pt x="684" y="644"/>
                    </a:lnTo>
                    <a:lnTo>
                      <a:pt x="684" y="644"/>
                    </a:lnTo>
                    <a:lnTo>
                      <a:pt x="688" y="644"/>
                    </a:lnTo>
                    <a:lnTo>
                      <a:pt x="693" y="644"/>
                    </a:lnTo>
                    <a:lnTo>
                      <a:pt x="698" y="644"/>
                    </a:lnTo>
                    <a:lnTo>
                      <a:pt x="703" y="643"/>
                    </a:lnTo>
                    <a:lnTo>
                      <a:pt x="703" y="643"/>
                    </a:lnTo>
                    <a:lnTo>
                      <a:pt x="708" y="640"/>
                    </a:lnTo>
                    <a:lnTo>
                      <a:pt x="716" y="639"/>
                    </a:lnTo>
                    <a:lnTo>
                      <a:pt x="727" y="637"/>
                    </a:lnTo>
                    <a:lnTo>
                      <a:pt x="727" y="637"/>
                    </a:lnTo>
                    <a:lnTo>
                      <a:pt x="733" y="637"/>
                    </a:lnTo>
                    <a:lnTo>
                      <a:pt x="735" y="636"/>
                    </a:lnTo>
                    <a:lnTo>
                      <a:pt x="744" y="633"/>
                    </a:lnTo>
                    <a:lnTo>
                      <a:pt x="744" y="633"/>
                    </a:lnTo>
                    <a:lnTo>
                      <a:pt x="755" y="631"/>
                    </a:lnTo>
                    <a:lnTo>
                      <a:pt x="767" y="629"/>
                    </a:lnTo>
                    <a:lnTo>
                      <a:pt x="767" y="629"/>
                    </a:lnTo>
                    <a:lnTo>
                      <a:pt x="780" y="626"/>
                    </a:lnTo>
                    <a:lnTo>
                      <a:pt x="787" y="623"/>
                    </a:lnTo>
                    <a:lnTo>
                      <a:pt x="789" y="621"/>
                    </a:lnTo>
                    <a:lnTo>
                      <a:pt x="789" y="620"/>
                    </a:lnTo>
                    <a:lnTo>
                      <a:pt x="789" y="620"/>
                    </a:lnTo>
                    <a:lnTo>
                      <a:pt x="792" y="619"/>
                    </a:lnTo>
                    <a:lnTo>
                      <a:pt x="799" y="616"/>
                    </a:lnTo>
                    <a:lnTo>
                      <a:pt x="805" y="616"/>
                    </a:lnTo>
                    <a:lnTo>
                      <a:pt x="809" y="616"/>
                    </a:lnTo>
                    <a:lnTo>
                      <a:pt x="809" y="616"/>
                    </a:lnTo>
                    <a:lnTo>
                      <a:pt x="817" y="619"/>
                    </a:lnTo>
                    <a:lnTo>
                      <a:pt x="819" y="619"/>
                    </a:lnTo>
                    <a:lnTo>
                      <a:pt x="822" y="617"/>
                    </a:lnTo>
                    <a:lnTo>
                      <a:pt x="822" y="617"/>
                    </a:lnTo>
                    <a:lnTo>
                      <a:pt x="825" y="617"/>
                    </a:lnTo>
                    <a:lnTo>
                      <a:pt x="829" y="619"/>
                    </a:lnTo>
                    <a:lnTo>
                      <a:pt x="832" y="621"/>
                    </a:lnTo>
                    <a:lnTo>
                      <a:pt x="832" y="624"/>
                    </a:lnTo>
                    <a:lnTo>
                      <a:pt x="832" y="624"/>
                    </a:lnTo>
                    <a:lnTo>
                      <a:pt x="832" y="627"/>
                    </a:lnTo>
                    <a:lnTo>
                      <a:pt x="834" y="630"/>
                    </a:lnTo>
                    <a:lnTo>
                      <a:pt x="835" y="633"/>
                    </a:lnTo>
                    <a:lnTo>
                      <a:pt x="835" y="636"/>
                    </a:lnTo>
                    <a:lnTo>
                      <a:pt x="835" y="636"/>
                    </a:lnTo>
                    <a:lnTo>
                      <a:pt x="834" y="639"/>
                    </a:lnTo>
                    <a:lnTo>
                      <a:pt x="834" y="640"/>
                    </a:lnTo>
                    <a:lnTo>
                      <a:pt x="834" y="643"/>
                    </a:lnTo>
                    <a:lnTo>
                      <a:pt x="834" y="643"/>
                    </a:lnTo>
                    <a:lnTo>
                      <a:pt x="836" y="643"/>
                    </a:lnTo>
                    <a:lnTo>
                      <a:pt x="841" y="643"/>
                    </a:lnTo>
                    <a:lnTo>
                      <a:pt x="845" y="641"/>
                    </a:lnTo>
                    <a:lnTo>
                      <a:pt x="848" y="640"/>
                    </a:lnTo>
                    <a:lnTo>
                      <a:pt x="848" y="640"/>
                    </a:lnTo>
                    <a:lnTo>
                      <a:pt x="851" y="639"/>
                    </a:lnTo>
                    <a:lnTo>
                      <a:pt x="852" y="640"/>
                    </a:lnTo>
                    <a:lnTo>
                      <a:pt x="854" y="641"/>
                    </a:lnTo>
                    <a:lnTo>
                      <a:pt x="855" y="644"/>
                    </a:lnTo>
                    <a:lnTo>
                      <a:pt x="855" y="644"/>
                    </a:lnTo>
                    <a:lnTo>
                      <a:pt x="855" y="646"/>
                    </a:lnTo>
                    <a:lnTo>
                      <a:pt x="856" y="647"/>
                    </a:lnTo>
                    <a:lnTo>
                      <a:pt x="858" y="646"/>
                    </a:lnTo>
                    <a:lnTo>
                      <a:pt x="859" y="644"/>
                    </a:lnTo>
                    <a:lnTo>
                      <a:pt x="859" y="644"/>
                    </a:lnTo>
                    <a:lnTo>
                      <a:pt x="859" y="643"/>
                    </a:lnTo>
                    <a:lnTo>
                      <a:pt x="862" y="643"/>
                    </a:lnTo>
                    <a:lnTo>
                      <a:pt x="866" y="646"/>
                    </a:lnTo>
                    <a:lnTo>
                      <a:pt x="866" y="646"/>
                    </a:lnTo>
                    <a:lnTo>
                      <a:pt x="869" y="647"/>
                    </a:lnTo>
                    <a:lnTo>
                      <a:pt x="872" y="646"/>
                    </a:lnTo>
                    <a:lnTo>
                      <a:pt x="873" y="646"/>
                    </a:lnTo>
                    <a:lnTo>
                      <a:pt x="875" y="647"/>
                    </a:lnTo>
                    <a:lnTo>
                      <a:pt x="875" y="647"/>
                    </a:lnTo>
                    <a:lnTo>
                      <a:pt x="873" y="650"/>
                    </a:lnTo>
                    <a:lnTo>
                      <a:pt x="871" y="651"/>
                    </a:lnTo>
                    <a:lnTo>
                      <a:pt x="868" y="654"/>
                    </a:lnTo>
                    <a:lnTo>
                      <a:pt x="868" y="656"/>
                    </a:lnTo>
                    <a:lnTo>
                      <a:pt x="869" y="657"/>
                    </a:lnTo>
                    <a:lnTo>
                      <a:pt x="869" y="657"/>
                    </a:lnTo>
                    <a:lnTo>
                      <a:pt x="871" y="658"/>
                    </a:lnTo>
                    <a:lnTo>
                      <a:pt x="872" y="658"/>
                    </a:lnTo>
                    <a:lnTo>
                      <a:pt x="875" y="657"/>
                    </a:lnTo>
                    <a:lnTo>
                      <a:pt x="878" y="654"/>
                    </a:lnTo>
                    <a:lnTo>
                      <a:pt x="882" y="654"/>
                    </a:lnTo>
                    <a:lnTo>
                      <a:pt x="882" y="654"/>
                    </a:lnTo>
                    <a:lnTo>
                      <a:pt x="886" y="654"/>
                    </a:lnTo>
                    <a:lnTo>
                      <a:pt x="890" y="651"/>
                    </a:lnTo>
                    <a:lnTo>
                      <a:pt x="895" y="648"/>
                    </a:lnTo>
                    <a:lnTo>
                      <a:pt x="899" y="647"/>
                    </a:lnTo>
                    <a:lnTo>
                      <a:pt x="899" y="647"/>
                    </a:lnTo>
                    <a:lnTo>
                      <a:pt x="903" y="646"/>
                    </a:lnTo>
                    <a:lnTo>
                      <a:pt x="906" y="644"/>
                    </a:lnTo>
                    <a:lnTo>
                      <a:pt x="913" y="639"/>
                    </a:lnTo>
                    <a:lnTo>
                      <a:pt x="913" y="639"/>
                    </a:lnTo>
                    <a:lnTo>
                      <a:pt x="918" y="639"/>
                    </a:lnTo>
                    <a:lnTo>
                      <a:pt x="922" y="637"/>
                    </a:lnTo>
                    <a:lnTo>
                      <a:pt x="925" y="639"/>
                    </a:lnTo>
                    <a:lnTo>
                      <a:pt x="925" y="639"/>
                    </a:lnTo>
                    <a:lnTo>
                      <a:pt x="925" y="640"/>
                    </a:lnTo>
                    <a:lnTo>
                      <a:pt x="925" y="640"/>
                    </a:lnTo>
                    <a:lnTo>
                      <a:pt x="922" y="643"/>
                    </a:lnTo>
                    <a:lnTo>
                      <a:pt x="922" y="646"/>
                    </a:lnTo>
                    <a:lnTo>
                      <a:pt x="923" y="648"/>
                    </a:lnTo>
                    <a:lnTo>
                      <a:pt x="929" y="653"/>
                    </a:lnTo>
                    <a:lnTo>
                      <a:pt x="929" y="653"/>
                    </a:lnTo>
                    <a:lnTo>
                      <a:pt x="933" y="654"/>
                    </a:lnTo>
                    <a:lnTo>
                      <a:pt x="937" y="658"/>
                    </a:lnTo>
                    <a:lnTo>
                      <a:pt x="945" y="667"/>
                    </a:lnTo>
                    <a:lnTo>
                      <a:pt x="959" y="687"/>
                    </a:lnTo>
                    <a:lnTo>
                      <a:pt x="959" y="687"/>
                    </a:lnTo>
                    <a:lnTo>
                      <a:pt x="963" y="695"/>
                    </a:lnTo>
                    <a:lnTo>
                      <a:pt x="967" y="705"/>
                    </a:lnTo>
                    <a:lnTo>
                      <a:pt x="972" y="712"/>
                    </a:lnTo>
                    <a:lnTo>
                      <a:pt x="973" y="715"/>
                    </a:lnTo>
                    <a:lnTo>
                      <a:pt x="974" y="715"/>
                    </a:lnTo>
                    <a:lnTo>
                      <a:pt x="974" y="715"/>
                    </a:lnTo>
                    <a:lnTo>
                      <a:pt x="977" y="714"/>
                    </a:lnTo>
                    <a:lnTo>
                      <a:pt x="979" y="711"/>
                    </a:lnTo>
                    <a:lnTo>
                      <a:pt x="982" y="708"/>
                    </a:lnTo>
                    <a:lnTo>
                      <a:pt x="984" y="705"/>
                    </a:lnTo>
                    <a:lnTo>
                      <a:pt x="984" y="705"/>
                    </a:lnTo>
                    <a:lnTo>
                      <a:pt x="987" y="707"/>
                    </a:lnTo>
                    <a:lnTo>
                      <a:pt x="990" y="710"/>
                    </a:lnTo>
                    <a:lnTo>
                      <a:pt x="993" y="712"/>
                    </a:lnTo>
                    <a:lnTo>
                      <a:pt x="997" y="714"/>
                    </a:lnTo>
                    <a:lnTo>
                      <a:pt x="997" y="714"/>
                    </a:lnTo>
                    <a:lnTo>
                      <a:pt x="1004" y="717"/>
                    </a:lnTo>
                    <a:lnTo>
                      <a:pt x="1009" y="717"/>
                    </a:lnTo>
                    <a:lnTo>
                      <a:pt x="1013" y="717"/>
                    </a:lnTo>
                    <a:lnTo>
                      <a:pt x="1013" y="717"/>
                    </a:lnTo>
                    <a:lnTo>
                      <a:pt x="1020" y="714"/>
                    </a:lnTo>
                    <a:lnTo>
                      <a:pt x="1026" y="712"/>
                    </a:lnTo>
                    <a:lnTo>
                      <a:pt x="1028" y="712"/>
                    </a:lnTo>
                    <a:lnTo>
                      <a:pt x="1028" y="712"/>
                    </a:lnTo>
                    <a:lnTo>
                      <a:pt x="1034" y="715"/>
                    </a:lnTo>
                    <a:lnTo>
                      <a:pt x="1036" y="717"/>
                    </a:lnTo>
                    <a:lnTo>
                      <a:pt x="1038" y="721"/>
                    </a:lnTo>
                    <a:lnTo>
                      <a:pt x="1038" y="721"/>
                    </a:lnTo>
                    <a:lnTo>
                      <a:pt x="1041" y="725"/>
                    </a:lnTo>
                    <a:lnTo>
                      <a:pt x="1044" y="728"/>
                    </a:lnTo>
                    <a:lnTo>
                      <a:pt x="1046" y="728"/>
                    </a:lnTo>
                    <a:lnTo>
                      <a:pt x="1048" y="730"/>
                    </a:lnTo>
                    <a:lnTo>
                      <a:pt x="1048" y="730"/>
                    </a:lnTo>
                    <a:lnTo>
                      <a:pt x="1050" y="730"/>
                    </a:lnTo>
                    <a:lnTo>
                      <a:pt x="1051" y="731"/>
                    </a:lnTo>
                    <a:lnTo>
                      <a:pt x="1053" y="735"/>
                    </a:lnTo>
                    <a:lnTo>
                      <a:pt x="1053" y="735"/>
                    </a:lnTo>
                    <a:lnTo>
                      <a:pt x="1053" y="737"/>
                    </a:lnTo>
                    <a:lnTo>
                      <a:pt x="1056" y="740"/>
                    </a:lnTo>
                    <a:lnTo>
                      <a:pt x="1057" y="741"/>
                    </a:lnTo>
                    <a:lnTo>
                      <a:pt x="1060" y="742"/>
                    </a:lnTo>
                    <a:lnTo>
                      <a:pt x="1060" y="742"/>
                    </a:lnTo>
                    <a:lnTo>
                      <a:pt x="1067" y="741"/>
                    </a:lnTo>
                    <a:lnTo>
                      <a:pt x="1073" y="740"/>
                    </a:lnTo>
                    <a:lnTo>
                      <a:pt x="1073" y="740"/>
                    </a:lnTo>
                    <a:lnTo>
                      <a:pt x="1077" y="738"/>
                    </a:lnTo>
                    <a:lnTo>
                      <a:pt x="1078" y="738"/>
                    </a:lnTo>
                    <a:lnTo>
                      <a:pt x="1078" y="740"/>
                    </a:lnTo>
                    <a:lnTo>
                      <a:pt x="1078" y="740"/>
                    </a:lnTo>
                    <a:lnTo>
                      <a:pt x="1081" y="745"/>
                    </a:lnTo>
                    <a:lnTo>
                      <a:pt x="1084" y="748"/>
                    </a:lnTo>
                    <a:lnTo>
                      <a:pt x="1087" y="748"/>
                    </a:lnTo>
                    <a:lnTo>
                      <a:pt x="1087" y="748"/>
                    </a:lnTo>
                    <a:lnTo>
                      <a:pt x="1091" y="749"/>
                    </a:lnTo>
                    <a:lnTo>
                      <a:pt x="1094" y="749"/>
                    </a:lnTo>
                    <a:lnTo>
                      <a:pt x="1095" y="748"/>
                    </a:lnTo>
                    <a:lnTo>
                      <a:pt x="1095" y="748"/>
                    </a:lnTo>
                    <a:lnTo>
                      <a:pt x="1097" y="747"/>
                    </a:lnTo>
                    <a:lnTo>
                      <a:pt x="1100" y="745"/>
                    </a:lnTo>
                    <a:lnTo>
                      <a:pt x="1107" y="744"/>
                    </a:lnTo>
                    <a:lnTo>
                      <a:pt x="1107" y="744"/>
                    </a:lnTo>
                    <a:lnTo>
                      <a:pt x="1114" y="742"/>
                    </a:lnTo>
                    <a:lnTo>
                      <a:pt x="1118" y="741"/>
                    </a:lnTo>
                    <a:lnTo>
                      <a:pt x="1121" y="738"/>
                    </a:lnTo>
                    <a:lnTo>
                      <a:pt x="1121" y="738"/>
                    </a:lnTo>
                    <a:lnTo>
                      <a:pt x="1124" y="735"/>
                    </a:lnTo>
                    <a:lnTo>
                      <a:pt x="1127" y="734"/>
                    </a:lnTo>
                    <a:lnTo>
                      <a:pt x="1131" y="732"/>
                    </a:lnTo>
                    <a:lnTo>
                      <a:pt x="1134" y="731"/>
                    </a:lnTo>
                    <a:lnTo>
                      <a:pt x="1134" y="731"/>
                    </a:lnTo>
                    <a:lnTo>
                      <a:pt x="1138" y="727"/>
                    </a:lnTo>
                    <a:lnTo>
                      <a:pt x="1142" y="725"/>
                    </a:lnTo>
                    <a:lnTo>
                      <a:pt x="1144" y="724"/>
                    </a:lnTo>
                    <a:lnTo>
                      <a:pt x="1144" y="724"/>
                    </a:lnTo>
                    <a:lnTo>
                      <a:pt x="1145" y="721"/>
                    </a:lnTo>
                    <a:lnTo>
                      <a:pt x="1149" y="721"/>
                    </a:lnTo>
                    <a:lnTo>
                      <a:pt x="1152" y="720"/>
                    </a:lnTo>
                    <a:lnTo>
                      <a:pt x="1155" y="718"/>
                    </a:lnTo>
                    <a:lnTo>
                      <a:pt x="1155" y="718"/>
                    </a:lnTo>
                    <a:lnTo>
                      <a:pt x="1157" y="717"/>
                    </a:lnTo>
                    <a:lnTo>
                      <a:pt x="1159" y="717"/>
                    </a:lnTo>
                    <a:lnTo>
                      <a:pt x="1166" y="717"/>
                    </a:lnTo>
                    <a:lnTo>
                      <a:pt x="1166" y="717"/>
                    </a:lnTo>
                    <a:lnTo>
                      <a:pt x="1178" y="720"/>
                    </a:lnTo>
                    <a:lnTo>
                      <a:pt x="1188" y="721"/>
                    </a:lnTo>
                    <a:lnTo>
                      <a:pt x="1188" y="721"/>
                    </a:lnTo>
                    <a:lnTo>
                      <a:pt x="1189" y="721"/>
                    </a:lnTo>
                    <a:lnTo>
                      <a:pt x="1191" y="725"/>
                    </a:lnTo>
                    <a:lnTo>
                      <a:pt x="1192" y="728"/>
                    </a:lnTo>
                    <a:lnTo>
                      <a:pt x="1194" y="730"/>
                    </a:lnTo>
                    <a:lnTo>
                      <a:pt x="1194" y="730"/>
                    </a:lnTo>
                    <a:lnTo>
                      <a:pt x="1201" y="732"/>
                    </a:lnTo>
                    <a:lnTo>
                      <a:pt x="1203" y="735"/>
                    </a:lnTo>
                    <a:lnTo>
                      <a:pt x="1206" y="735"/>
                    </a:lnTo>
                    <a:lnTo>
                      <a:pt x="1206" y="735"/>
                    </a:lnTo>
                    <a:lnTo>
                      <a:pt x="1212" y="732"/>
                    </a:lnTo>
                    <a:lnTo>
                      <a:pt x="1216" y="732"/>
                    </a:lnTo>
                    <a:lnTo>
                      <a:pt x="1219" y="734"/>
                    </a:lnTo>
                    <a:lnTo>
                      <a:pt x="1219" y="734"/>
                    </a:lnTo>
                    <a:lnTo>
                      <a:pt x="1226" y="738"/>
                    </a:lnTo>
                    <a:lnTo>
                      <a:pt x="1229" y="738"/>
                    </a:lnTo>
                    <a:lnTo>
                      <a:pt x="1230" y="737"/>
                    </a:lnTo>
                    <a:lnTo>
                      <a:pt x="1230" y="737"/>
                    </a:lnTo>
                    <a:lnTo>
                      <a:pt x="1233" y="735"/>
                    </a:lnTo>
                    <a:lnTo>
                      <a:pt x="1238" y="734"/>
                    </a:lnTo>
                    <a:lnTo>
                      <a:pt x="1242" y="732"/>
                    </a:lnTo>
                    <a:lnTo>
                      <a:pt x="1245" y="731"/>
                    </a:lnTo>
                    <a:lnTo>
                      <a:pt x="1245" y="731"/>
                    </a:lnTo>
                    <a:lnTo>
                      <a:pt x="1246" y="725"/>
                    </a:lnTo>
                    <a:lnTo>
                      <a:pt x="1246" y="722"/>
                    </a:lnTo>
                    <a:lnTo>
                      <a:pt x="1245" y="721"/>
                    </a:lnTo>
                    <a:lnTo>
                      <a:pt x="1245" y="721"/>
                    </a:lnTo>
                    <a:lnTo>
                      <a:pt x="1240" y="715"/>
                    </a:lnTo>
                    <a:lnTo>
                      <a:pt x="1239" y="708"/>
                    </a:lnTo>
                    <a:lnTo>
                      <a:pt x="1239" y="708"/>
                    </a:lnTo>
                    <a:lnTo>
                      <a:pt x="1239" y="705"/>
                    </a:lnTo>
                    <a:lnTo>
                      <a:pt x="1242" y="704"/>
                    </a:lnTo>
                    <a:lnTo>
                      <a:pt x="1243" y="701"/>
                    </a:lnTo>
                    <a:lnTo>
                      <a:pt x="1246" y="700"/>
                    </a:lnTo>
                    <a:lnTo>
                      <a:pt x="1246" y="700"/>
                    </a:lnTo>
                    <a:lnTo>
                      <a:pt x="1248" y="697"/>
                    </a:lnTo>
                    <a:lnTo>
                      <a:pt x="1249" y="697"/>
                    </a:lnTo>
                    <a:lnTo>
                      <a:pt x="1255" y="694"/>
                    </a:lnTo>
                    <a:lnTo>
                      <a:pt x="1255" y="694"/>
                    </a:lnTo>
                    <a:lnTo>
                      <a:pt x="1256" y="690"/>
                    </a:lnTo>
                    <a:lnTo>
                      <a:pt x="1258" y="688"/>
                    </a:lnTo>
                    <a:lnTo>
                      <a:pt x="1260" y="688"/>
                    </a:lnTo>
                    <a:lnTo>
                      <a:pt x="1260" y="688"/>
                    </a:lnTo>
                    <a:lnTo>
                      <a:pt x="1266" y="691"/>
                    </a:lnTo>
                    <a:lnTo>
                      <a:pt x="1272" y="694"/>
                    </a:lnTo>
                    <a:lnTo>
                      <a:pt x="1272" y="694"/>
                    </a:lnTo>
                    <a:lnTo>
                      <a:pt x="1276" y="695"/>
                    </a:lnTo>
                    <a:lnTo>
                      <a:pt x="1282" y="695"/>
                    </a:lnTo>
                    <a:lnTo>
                      <a:pt x="1282" y="695"/>
                    </a:lnTo>
                    <a:lnTo>
                      <a:pt x="1287" y="697"/>
                    </a:lnTo>
                    <a:lnTo>
                      <a:pt x="1293" y="701"/>
                    </a:lnTo>
                    <a:lnTo>
                      <a:pt x="1293" y="701"/>
                    </a:lnTo>
                    <a:lnTo>
                      <a:pt x="1302" y="703"/>
                    </a:lnTo>
                    <a:lnTo>
                      <a:pt x="1306" y="704"/>
                    </a:lnTo>
                    <a:lnTo>
                      <a:pt x="1309" y="705"/>
                    </a:lnTo>
                    <a:lnTo>
                      <a:pt x="1309" y="705"/>
                    </a:lnTo>
                    <a:lnTo>
                      <a:pt x="1310" y="708"/>
                    </a:lnTo>
                    <a:lnTo>
                      <a:pt x="1310" y="712"/>
                    </a:lnTo>
                    <a:lnTo>
                      <a:pt x="1310" y="717"/>
                    </a:lnTo>
                    <a:lnTo>
                      <a:pt x="1312" y="720"/>
                    </a:lnTo>
                    <a:lnTo>
                      <a:pt x="1312" y="720"/>
                    </a:lnTo>
                    <a:lnTo>
                      <a:pt x="1316" y="724"/>
                    </a:lnTo>
                    <a:lnTo>
                      <a:pt x="1319" y="727"/>
                    </a:lnTo>
                    <a:lnTo>
                      <a:pt x="1322" y="727"/>
                    </a:lnTo>
                    <a:lnTo>
                      <a:pt x="1322" y="727"/>
                    </a:lnTo>
                    <a:lnTo>
                      <a:pt x="1323" y="727"/>
                    </a:lnTo>
                    <a:lnTo>
                      <a:pt x="1327" y="728"/>
                    </a:lnTo>
                    <a:lnTo>
                      <a:pt x="1331" y="730"/>
                    </a:lnTo>
                    <a:lnTo>
                      <a:pt x="1336" y="731"/>
                    </a:lnTo>
                    <a:lnTo>
                      <a:pt x="1336" y="731"/>
                    </a:lnTo>
                    <a:lnTo>
                      <a:pt x="1341" y="728"/>
                    </a:lnTo>
                    <a:lnTo>
                      <a:pt x="1344" y="725"/>
                    </a:lnTo>
                    <a:lnTo>
                      <a:pt x="1347" y="725"/>
                    </a:lnTo>
                    <a:lnTo>
                      <a:pt x="1347" y="725"/>
                    </a:lnTo>
                    <a:lnTo>
                      <a:pt x="1354" y="724"/>
                    </a:lnTo>
                    <a:lnTo>
                      <a:pt x="1361" y="724"/>
                    </a:lnTo>
                    <a:lnTo>
                      <a:pt x="1361" y="724"/>
                    </a:lnTo>
                    <a:lnTo>
                      <a:pt x="1368" y="725"/>
                    </a:lnTo>
                    <a:lnTo>
                      <a:pt x="1373" y="727"/>
                    </a:lnTo>
                    <a:lnTo>
                      <a:pt x="1376" y="727"/>
                    </a:lnTo>
                    <a:lnTo>
                      <a:pt x="1376" y="727"/>
                    </a:lnTo>
                    <a:lnTo>
                      <a:pt x="1383" y="727"/>
                    </a:lnTo>
                    <a:lnTo>
                      <a:pt x="1386" y="728"/>
                    </a:lnTo>
                    <a:lnTo>
                      <a:pt x="1388" y="730"/>
                    </a:lnTo>
                    <a:lnTo>
                      <a:pt x="1388" y="730"/>
                    </a:lnTo>
                    <a:lnTo>
                      <a:pt x="1391" y="731"/>
                    </a:lnTo>
                    <a:lnTo>
                      <a:pt x="1396" y="732"/>
                    </a:lnTo>
                    <a:lnTo>
                      <a:pt x="1400" y="734"/>
                    </a:lnTo>
                    <a:lnTo>
                      <a:pt x="1401" y="735"/>
                    </a:lnTo>
                    <a:lnTo>
                      <a:pt x="1401" y="737"/>
                    </a:lnTo>
                    <a:lnTo>
                      <a:pt x="1401" y="737"/>
                    </a:lnTo>
                    <a:lnTo>
                      <a:pt x="1403" y="738"/>
                    </a:lnTo>
                    <a:lnTo>
                      <a:pt x="1405" y="741"/>
                    </a:lnTo>
                    <a:lnTo>
                      <a:pt x="1408" y="742"/>
                    </a:lnTo>
                    <a:lnTo>
                      <a:pt x="1410" y="745"/>
                    </a:lnTo>
                    <a:lnTo>
                      <a:pt x="1410" y="745"/>
                    </a:lnTo>
                    <a:lnTo>
                      <a:pt x="1411" y="747"/>
                    </a:lnTo>
                    <a:lnTo>
                      <a:pt x="1414" y="747"/>
                    </a:lnTo>
                    <a:lnTo>
                      <a:pt x="1420" y="748"/>
                    </a:lnTo>
                    <a:lnTo>
                      <a:pt x="1427" y="748"/>
                    </a:lnTo>
                    <a:lnTo>
                      <a:pt x="1431" y="749"/>
                    </a:lnTo>
                    <a:lnTo>
                      <a:pt x="1431" y="749"/>
                    </a:lnTo>
                    <a:lnTo>
                      <a:pt x="1435" y="749"/>
                    </a:lnTo>
                    <a:lnTo>
                      <a:pt x="1442" y="751"/>
                    </a:lnTo>
                    <a:lnTo>
                      <a:pt x="1448" y="749"/>
                    </a:lnTo>
                    <a:lnTo>
                      <a:pt x="1452" y="749"/>
                    </a:lnTo>
                    <a:lnTo>
                      <a:pt x="1452" y="749"/>
                    </a:lnTo>
                    <a:lnTo>
                      <a:pt x="1455" y="748"/>
                    </a:lnTo>
                    <a:lnTo>
                      <a:pt x="1461" y="747"/>
                    </a:lnTo>
                    <a:lnTo>
                      <a:pt x="1468" y="745"/>
                    </a:lnTo>
                    <a:lnTo>
                      <a:pt x="1472" y="744"/>
                    </a:lnTo>
                    <a:lnTo>
                      <a:pt x="1472" y="744"/>
                    </a:lnTo>
                    <a:lnTo>
                      <a:pt x="1477" y="742"/>
                    </a:lnTo>
                    <a:lnTo>
                      <a:pt x="1479" y="742"/>
                    </a:lnTo>
                    <a:lnTo>
                      <a:pt x="1484" y="741"/>
                    </a:lnTo>
                    <a:lnTo>
                      <a:pt x="1485" y="740"/>
                    </a:lnTo>
                    <a:lnTo>
                      <a:pt x="1485" y="740"/>
                    </a:lnTo>
                    <a:lnTo>
                      <a:pt x="1487" y="737"/>
                    </a:lnTo>
                    <a:lnTo>
                      <a:pt x="1491" y="734"/>
                    </a:lnTo>
                    <a:lnTo>
                      <a:pt x="1498" y="731"/>
                    </a:lnTo>
                    <a:lnTo>
                      <a:pt x="1498" y="731"/>
                    </a:lnTo>
                    <a:lnTo>
                      <a:pt x="1502" y="730"/>
                    </a:lnTo>
                    <a:lnTo>
                      <a:pt x="1509" y="728"/>
                    </a:lnTo>
                    <a:lnTo>
                      <a:pt x="1515" y="730"/>
                    </a:lnTo>
                    <a:lnTo>
                      <a:pt x="1518" y="731"/>
                    </a:lnTo>
                    <a:lnTo>
                      <a:pt x="1518" y="731"/>
                    </a:lnTo>
                    <a:lnTo>
                      <a:pt x="1521" y="734"/>
                    </a:lnTo>
                    <a:lnTo>
                      <a:pt x="1524" y="735"/>
                    </a:lnTo>
                    <a:lnTo>
                      <a:pt x="1528" y="735"/>
                    </a:lnTo>
                    <a:lnTo>
                      <a:pt x="1532" y="734"/>
                    </a:lnTo>
                    <a:lnTo>
                      <a:pt x="1532" y="734"/>
                    </a:lnTo>
                    <a:lnTo>
                      <a:pt x="1535" y="734"/>
                    </a:lnTo>
                    <a:lnTo>
                      <a:pt x="1541" y="734"/>
                    </a:lnTo>
                    <a:lnTo>
                      <a:pt x="1545" y="735"/>
                    </a:lnTo>
                    <a:lnTo>
                      <a:pt x="1548" y="738"/>
                    </a:lnTo>
                    <a:lnTo>
                      <a:pt x="1548" y="738"/>
                    </a:lnTo>
                    <a:lnTo>
                      <a:pt x="1549" y="740"/>
                    </a:lnTo>
                    <a:lnTo>
                      <a:pt x="1555" y="742"/>
                    </a:lnTo>
                    <a:lnTo>
                      <a:pt x="1563" y="742"/>
                    </a:lnTo>
                    <a:lnTo>
                      <a:pt x="1563" y="742"/>
                    </a:lnTo>
                    <a:lnTo>
                      <a:pt x="1570" y="738"/>
                    </a:lnTo>
                    <a:lnTo>
                      <a:pt x="1578" y="734"/>
                    </a:lnTo>
                    <a:lnTo>
                      <a:pt x="1578" y="734"/>
                    </a:lnTo>
                    <a:lnTo>
                      <a:pt x="1583" y="731"/>
                    </a:lnTo>
                    <a:lnTo>
                      <a:pt x="1585" y="730"/>
                    </a:lnTo>
                    <a:lnTo>
                      <a:pt x="1585" y="727"/>
                    </a:lnTo>
                    <a:lnTo>
                      <a:pt x="1585" y="727"/>
                    </a:lnTo>
                    <a:lnTo>
                      <a:pt x="1586" y="724"/>
                    </a:lnTo>
                    <a:lnTo>
                      <a:pt x="1588" y="720"/>
                    </a:lnTo>
                    <a:lnTo>
                      <a:pt x="1593" y="711"/>
                    </a:lnTo>
                    <a:lnTo>
                      <a:pt x="1593" y="711"/>
                    </a:lnTo>
                    <a:lnTo>
                      <a:pt x="1598" y="701"/>
                    </a:lnTo>
                    <a:lnTo>
                      <a:pt x="1600" y="697"/>
                    </a:lnTo>
                    <a:lnTo>
                      <a:pt x="1603" y="695"/>
                    </a:lnTo>
                    <a:lnTo>
                      <a:pt x="1603" y="695"/>
                    </a:lnTo>
                    <a:lnTo>
                      <a:pt x="1607" y="693"/>
                    </a:lnTo>
                    <a:lnTo>
                      <a:pt x="1609" y="690"/>
                    </a:lnTo>
                    <a:lnTo>
                      <a:pt x="1610" y="687"/>
                    </a:lnTo>
                    <a:lnTo>
                      <a:pt x="1610" y="687"/>
                    </a:lnTo>
                    <a:lnTo>
                      <a:pt x="1607" y="680"/>
                    </a:lnTo>
                    <a:lnTo>
                      <a:pt x="1606" y="677"/>
                    </a:lnTo>
                    <a:lnTo>
                      <a:pt x="1605" y="675"/>
                    </a:lnTo>
                    <a:lnTo>
                      <a:pt x="1605" y="675"/>
                    </a:lnTo>
                    <a:lnTo>
                      <a:pt x="1603" y="675"/>
                    </a:lnTo>
                    <a:lnTo>
                      <a:pt x="1600" y="675"/>
                    </a:lnTo>
                    <a:lnTo>
                      <a:pt x="1600" y="673"/>
                    </a:lnTo>
                    <a:lnTo>
                      <a:pt x="1603" y="667"/>
                    </a:lnTo>
                    <a:lnTo>
                      <a:pt x="1603" y="667"/>
                    </a:lnTo>
                    <a:lnTo>
                      <a:pt x="1606" y="664"/>
                    </a:lnTo>
                    <a:lnTo>
                      <a:pt x="1609" y="663"/>
                    </a:lnTo>
                    <a:lnTo>
                      <a:pt x="1616" y="661"/>
                    </a:lnTo>
                    <a:lnTo>
                      <a:pt x="1625" y="661"/>
                    </a:lnTo>
                    <a:lnTo>
                      <a:pt x="1625" y="661"/>
                    </a:lnTo>
                    <a:lnTo>
                      <a:pt x="1635" y="658"/>
                    </a:lnTo>
                    <a:lnTo>
                      <a:pt x="1642" y="658"/>
                    </a:lnTo>
                    <a:lnTo>
                      <a:pt x="1647" y="658"/>
                    </a:lnTo>
                    <a:lnTo>
                      <a:pt x="1647" y="658"/>
                    </a:lnTo>
                    <a:lnTo>
                      <a:pt x="1652" y="660"/>
                    </a:lnTo>
                    <a:lnTo>
                      <a:pt x="1656" y="660"/>
                    </a:lnTo>
                    <a:lnTo>
                      <a:pt x="1660" y="660"/>
                    </a:lnTo>
                    <a:lnTo>
                      <a:pt x="1666" y="661"/>
                    </a:lnTo>
                    <a:lnTo>
                      <a:pt x="1666" y="661"/>
                    </a:lnTo>
                    <a:lnTo>
                      <a:pt x="1671" y="664"/>
                    </a:lnTo>
                    <a:lnTo>
                      <a:pt x="1677" y="664"/>
                    </a:lnTo>
                    <a:lnTo>
                      <a:pt x="1681" y="666"/>
                    </a:lnTo>
                    <a:lnTo>
                      <a:pt x="1686" y="667"/>
                    </a:lnTo>
                    <a:lnTo>
                      <a:pt x="1686" y="667"/>
                    </a:lnTo>
                    <a:lnTo>
                      <a:pt x="1689" y="670"/>
                    </a:lnTo>
                    <a:lnTo>
                      <a:pt x="1691" y="673"/>
                    </a:lnTo>
                    <a:lnTo>
                      <a:pt x="1694" y="675"/>
                    </a:lnTo>
                    <a:lnTo>
                      <a:pt x="1696" y="677"/>
                    </a:lnTo>
                    <a:lnTo>
                      <a:pt x="1696" y="680"/>
                    </a:lnTo>
                    <a:lnTo>
                      <a:pt x="1696" y="680"/>
                    </a:lnTo>
                    <a:lnTo>
                      <a:pt x="1696" y="683"/>
                    </a:lnTo>
                    <a:lnTo>
                      <a:pt x="1699" y="684"/>
                    </a:lnTo>
                    <a:lnTo>
                      <a:pt x="1701" y="687"/>
                    </a:lnTo>
                    <a:lnTo>
                      <a:pt x="1703" y="694"/>
                    </a:lnTo>
                    <a:lnTo>
                      <a:pt x="1703" y="694"/>
                    </a:lnTo>
                    <a:lnTo>
                      <a:pt x="1706" y="701"/>
                    </a:lnTo>
                    <a:lnTo>
                      <a:pt x="1708" y="705"/>
                    </a:lnTo>
                    <a:lnTo>
                      <a:pt x="1711" y="710"/>
                    </a:lnTo>
                    <a:lnTo>
                      <a:pt x="1713" y="712"/>
                    </a:lnTo>
                    <a:lnTo>
                      <a:pt x="1713" y="712"/>
                    </a:lnTo>
                    <a:lnTo>
                      <a:pt x="1717" y="724"/>
                    </a:lnTo>
                    <a:lnTo>
                      <a:pt x="1720" y="728"/>
                    </a:lnTo>
                    <a:lnTo>
                      <a:pt x="1721" y="732"/>
                    </a:lnTo>
                    <a:lnTo>
                      <a:pt x="1721" y="732"/>
                    </a:lnTo>
                    <a:lnTo>
                      <a:pt x="1720" y="735"/>
                    </a:lnTo>
                    <a:lnTo>
                      <a:pt x="1720" y="738"/>
                    </a:lnTo>
                    <a:lnTo>
                      <a:pt x="1723" y="740"/>
                    </a:lnTo>
                    <a:lnTo>
                      <a:pt x="1727" y="741"/>
                    </a:lnTo>
                    <a:lnTo>
                      <a:pt x="1727" y="741"/>
                    </a:lnTo>
                    <a:lnTo>
                      <a:pt x="1733" y="742"/>
                    </a:lnTo>
                    <a:lnTo>
                      <a:pt x="1737" y="745"/>
                    </a:lnTo>
                    <a:lnTo>
                      <a:pt x="1740" y="747"/>
                    </a:lnTo>
                    <a:lnTo>
                      <a:pt x="1743" y="747"/>
                    </a:lnTo>
                    <a:lnTo>
                      <a:pt x="1743" y="747"/>
                    </a:lnTo>
                    <a:lnTo>
                      <a:pt x="1745" y="747"/>
                    </a:lnTo>
                    <a:lnTo>
                      <a:pt x="1750" y="748"/>
                    </a:lnTo>
                    <a:lnTo>
                      <a:pt x="1754" y="751"/>
                    </a:lnTo>
                    <a:lnTo>
                      <a:pt x="1758" y="754"/>
                    </a:lnTo>
                    <a:lnTo>
                      <a:pt x="1758" y="754"/>
                    </a:lnTo>
                    <a:lnTo>
                      <a:pt x="1763" y="757"/>
                    </a:lnTo>
                    <a:lnTo>
                      <a:pt x="1767" y="758"/>
                    </a:lnTo>
                    <a:lnTo>
                      <a:pt x="1770" y="759"/>
                    </a:lnTo>
                    <a:lnTo>
                      <a:pt x="1770" y="762"/>
                    </a:lnTo>
                    <a:lnTo>
                      <a:pt x="1770" y="762"/>
                    </a:lnTo>
                    <a:lnTo>
                      <a:pt x="1770" y="765"/>
                    </a:lnTo>
                    <a:lnTo>
                      <a:pt x="1771" y="769"/>
                    </a:lnTo>
                    <a:lnTo>
                      <a:pt x="1772" y="772"/>
                    </a:lnTo>
                    <a:lnTo>
                      <a:pt x="1774" y="775"/>
                    </a:lnTo>
                    <a:lnTo>
                      <a:pt x="1774" y="775"/>
                    </a:lnTo>
                    <a:lnTo>
                      <a:pt x="1774" y="778"/>
                    </a:lnTo>
                    <a:lnTo>
                      <a:pt x="1778" y="781"/>
                    </a:lnTo>
                    <a:lnTo>
                      <a:pt x="1784" y="782"/>
                    </a:lnTo>
                    <a:lnTo>
                      <a:pt x="1790" y="782"/>
                    </a:lnTo>
                    <a:lnTo>
                      <a:pt x="1790" y="782"/>
                    </a:lnTo>
                    <a:lnTo>
                      <a:pt x="1798" y="782"/>
                    </a:lnTo>
                    <a:lnTo>
                      <a:pt x="1801" y="781"/>
                    </a:lnTo>
                    <a:lnTo>
                      <a:pt x="1804" y="778"/>
                    </a:lnTo>
                    <a:lnTo>
                      <a:pt x="1804" y="778"/>
                    </a:lnTo>
                    <a:lnTo>
                      <a:pt x="1807" y="775"/>
                    </a:lnTo>
                    <a:lnTo>
                      <a:pt x="1811" y="774"/>
                    </a:lnTo>
                    <a:lnTo>
                      <a:pt x="1815" y="774"/>
                    </a:lnTo>
                    <a:lnTo>
                      <a:pt x="1819" y="772"/>
                    </a:lnTo>
                    <a:lnTo>
                      <a:pt x="1819" y="772"/>
                    </a:lnTo>
                    <a:lnTo>
                      <a:pt x="1822" y="771"/>
                    </a:lnTo>
                    <a:lnTo>
                      <a:pt x="1827" y="771"/>
                    </a:lnTo>
                    <a:lnTo>
                      <a:pt x="1831" y="771"/>
                    </a:lnTo>
                    <a:lnTo>
                      <a:pt x="1831" y="774"/>
                    </a:lnTo>
                    <a:lnTo>
                      <a:pt x="1832" y="776"/>
                    </a:lnTo>
                    <a:lnTo>
                      <a:pt x="1832" y="776"/>
                    </a:lnTo>
                    <a:lnTo>
                      <a:pt x="1832" y="781"/>
                    </a:lnTo>
                    <a:lnTo>
                      <a:pt x="1834" y="785"/>
                    </a:lnTo>
                    <a:lnTo>
                      <a:pt x="1834" y="786"/>
                    </a:lnTo>
                    <a:lnTo>
                      <a:pt x="1832" y="789"/>
                    </a:lnTo>
                    <a:lnTo>
                      <a:pt x="1832" y="789"/>
                    </a:lnTo>
                    <a:lnTo>
                      <a:pt x="1829" y="792"/>
                    </a:lnTo>
                    <a:lnTo>
                      <a:pt x="1827" y="798"/>
                    </a:lnTo>
                    <a:lnTo>
                      <a:pt x="1824" y="809"/>
                    </a:lnTo>
                    <a:lnTo>
                      <a:pt x="1824" y="809"/>
                    </a:lnTo>
                    <a:lnTo>
                      <a:pt x="1821" y="813"/>
                    </a:lnTo>
                    <a:lnTo>
                      <a:pt x="1818" y="815"/>
                    </a:lnTo>
                    <a:lnTo>
                      <a:pt x="1815" y="818"/>
                    </a:lnTo>
                    <a:lnTo>
                      <a:pt x="1814" y="822"/>
                    </a:lnTo>
                    <a:lnTo>
                      <a:pt x="1814" y="822"/>
                    </a:lnTo>
                    <a:lnTo>
                      <a:pt x="1812" y="825"/>
                    </a:lnTo>
                    <a:lnTo>
                      <a:pt x="1809" y="828"/>
                    </a:lnTo>
                    <a:lnTo>
                      <a:pt x="1808" y="829"/>
                    </a:lnTo>
                    <a:lnTo>
                      <a:pt x="1807" y="832"/>
                    </a:lnTo>
                    <a:lnTo>
                      <a:pt x="1807" y="832"/>
                    </a:lnTo>
                    <a:lnTo>
                      <a:pt x="1807" y="833"/>
                    </a:lnTo>
                    <a:lnTo>
                      <a:pt x="1805" y="835"/>
                    </a:lnTo>
                    <a:lnTo>
                      <a:pt x="1801" y="835"/>
                    </a:lnTo>
                    <a:lnTo>
                      <a:pt x="1797" y="835"/>
                    </a:lnTo>
                    <a:lnTo>
                      <a:pt x="1792" y="832"/>
                    </a:lnTo>
                    <a:lnTo>
                      <a:pt x="1792" y="832"/>
                    </a:lnTo>
                    <a:lnTo>
                      <a:pt x="1791" y="832"/>
                    </a:lnTo>
                    <a:lnTo>
                      <a:pt x="1788" y="832"/>
                    </a:lnTo>
                    <a:lnTo>
                      <a:pt x="1785" y="835"/>
                    </a:lnTo>
                    <a:lnTo>
                      <a:pt x="1782" y="838"/>
                    </a:lnTo>
                    <a:lnTo>
                      <a:pt x="1780" y="839"/>
                    </a:lnTo>
                    <a:lnTo>
                      <a:pt x="1780" y="839"/>
                    </a:lnTo>
                    <a:lnTo>
                      <a:pt x="1777" y="841"/>
                    </a:lnTo>
                    <a:lnTo>
                      <a:pt x="1775" y="843"/>
                    </a:lnTo>
                    <a:lnTo>
                      <a:pt x="1777" y="850"/>
                    </a:lnTo>
                    <a:lnTo>
                      <a:pt x="1777" y="850"/>
                    </a:lnTo>
                    <a:lnTo>
                      <a:pt x="1777" y="856"/>
                    </a:lnTo>
                    <a:lnTo>
                      <a:pt x="1777" y="859"/>
                    </a:lnTo>
                    <a:lnTo>
                      <a:pt x="1778" y="863"/>
                    </a:lnTo>
                    <a:lnTo>
                      <a:pt x="1778" y="863"/>
                    </a:lnTo>
                    <a:lnTo>
                      <a:pt x="1778" y="869"/>
                    </a:lnTo>
                    <a:lnTo>
                      <a:pt x="1778" y="879"/>
                    </a:lnTo>
                    <a:lnTo>
                      <a:pt x="1778" y="879"/>
                    </a:lnTo>
                    <a:lnTo>
                      <a:pt x="1787" y="873"/>
                    </a:lnTo>
                    <a:lnTo>
                      <a:pt x="1792" y="872"/>
                    </a:lnTo>
                    <a:lnTo>
                      <a:pt x="1792" y="872"/>
                    </a:lnTo>
                    <a:lnTo>
                      <a:pt x="1797" y="873"/>
                    </a:lnTo>
                    <a:lnTo>
                      <a:pt x="1801" y="876"/>
                    </a:lnTo>
                    <a:lnTo>
                      <a:pt x="1805" y="880"/>
                    </a:lnTo>
                    <a:lnTo>
                      <a:pt x="1811" y="882"/>
                    </a:lnTo>
                    <a:lnTo>
                      <a:pt x="1811" y="882"/>
                    </a:lnTo>
                    <a:lnTo>
                      <a:pt x="1814" y="880"/>
                    </a:lnTo>
                    <a:lnTo>
                      <a:pt x="1819" y="879"/>
                    </a:lnTo>
                    <a:lnTo>
                      <a:pt x="1831" y="872"/>
                    </a:lnTo>
                    <a:lnTo>
                      <a:pt x="1842" y="863"/>
                    </a:lnTo>
                    <a:lnTo>
                      <a:pt x="1848" y="859"/>
                    </a:lnTo>
                    <a:lnTo>
                      <a:pt x="1848" y="859"/>
                    </a:lnTo>
                    <a:lnTo>
                      <a:pt x="1851" y="853"/>
                    </a:lnTo>
                    <a:lnTo>
                      <a:pt x="1858" y="846"/>
                    </a:lnTo>
                    <a:lnTo>
                      <a:pt x="1873" y="829"/>
                    </a:lnTo>
                    <a:lnTo>
                      <a:pt x="1873" y="829"/>
                    </a:lnTo>
                    <a:lnTo>
                      <a:pt x="1886" y="813"/>
                    </a:lnTo>
                    <a:lnTo>
                      <a:pt x="1892" y="806"/>
                    </a:lnTo>
                    <a:lnTo>
                      <a:pt x="1898" y="798"/>
                    </a:lnTo>
                    <a:lnTo>
                      <a:pt x="1898" y="798"/>
                    </a:lnTo>
                    <a:lnTo>
                      <a:pt x="1901" y="792"/>
                    </a:lnTo>
                    <a:lnTo>
                      <a:pt x="1905" y="786"/>
                    </a:lnTo>
                    <a:lnTo>
                      <a:pt x="1915" y="775"/>
                    </a:lnTo>
                    <a:lnTo>
                      <a:pt x="1915" y="775"/>
                    </a:lnTo>
                    <a:lnTo>
                      <a:pt x="1918" y="769"/>
                    </a:lnTo>
                    <a:lnTo>
                      <a:pt x="1925" y="759"/>
                    </a:lnTo>
                    <a:lnTo>
                      <a:pt x="1925" y="759"/>
                    </a:lnTo>
                    <a:lnTo>
                      <a:pt x="1928" y="748"/>
                    </a:lnTo>
                    <a:lnTo>
                      <a:pt x="1929" y="734"/>
                    </a:lnTo>
                    <a:lnTo>
                      <a:pt x="1930" y="722"/>
                    </a:lnTo>
                    <a:lnTo>
                      <a:pt x="1930" y="717"/>
                    </a:lnTo>
                    <a:lnTo>
                      <a:pt x="1930" y="717"/>
                    </a:lnTo>
                    <a:lnTo>
                      <a:pt x="1932" y="712"/>
                    </a:lnTo>
                    <a:lnTo>
                      <a:pt x="1933" y="710"/>
                    </a:lnTo>
                    <a:lnTo>
                      <a:pt x="1935" y="707"/>
                    </a:lnTo>
                    <a:lnTo>
                      <a:pt x="1935" y="707"/>
                    </a:lnTo>
                    <a:lnTo>
                      <a:pt x="1936" y="701"/>
                    </a:lnTo>
                    <a:lnTo>
                      <a:pt x="1938" y="698"/>
                    </a:lnTo>
                    <a:lnTo>
                      <a:pt x="1940" y="695"/>
                    </a:lnTo>
                    <a:lnTo>
                      <a:pt x="1940" y="695"/>
                    </a:lnTo>
                    <a:lnTo>
                      <a:pt x="1942" y="693"/>
                    </a:lnTo>
                    <a:lnTo>
                      <a:pt x="1943" y="690"/>
                    </a:lnTo>
                    <a:lnTo>
                      <a:pt x="1943" y="684"/>
                    </a:lnTo>
                    <a:lnTo>
                      <a:pt x="1943" y="684"/>
                    </a:lnTo>
                    <a:lnTo>
                      <a:pt x="1942" y="678"/>
                    </a:lnTo>
                    <a:lnTo>
                      <a:pt x="1942" y="673"/>
                    </a:lnTo>
                    <a:lnTo>
                      <a:pt x="1942" y="673"/>
                    </a:lnTo>
                    <a:lnTo>
                      <a:pt x="1940" y="670"/>
                    </a:lnTo>
                    <a:lnTo>
                      <a:pt x="1943" y="668"/>
                    </a:lnTo>
                    <a:lnTo>
                      <a:pt x="1943" y="668"/>
                    </a:lnTo>
                    <a:lnTo>
                      <a:pt x="1945" y="666"/>
                    </a:lnTo>
                    <a:lnTo>
                      <a:pt x="1943" y="664"/>
                    </a:lnTo>
                    <a:lnTo>
                      <a:pt x="1938" y="660"/>
                    </a:lnTo>
                    <a:lnTo>
                      <a:pt x="1938" y="660"/>
                    </a:lnTo>
                    <a:lnTo>
                      <a:pt x="1932" y="657"/>
                    </a:lnTo>
                    <a:lnTo>
                      <a:pt x="1929" y="654"/>
                    </a:lnTo>
                    <a:lnTo>
                      <a:pt x="1928" y="651"/>
                    </a:lnTo>
                    <a:lnTo>
                      <a:pt x="1928" y="651"/>
                    </a:lnTo>
                    <a:lnTo>
                      <a:pt x="1926" y="648"/>
                    </a:lnTo>
                    <a:lnTo>
                      <a:pt x="1923" y="646"/>
                    </a:lnTo>
                    <a:lnTo>
                      <a:pt x="1919" y="643"/>
                    </a:lnTo>
                    <a:lnTo>
                      <a:pt x="1915" y="643"/>
                    </a:lnTo>
                    <a:lnTo>
                      <a:pt x="1915" y="643"/>
                    </a:lnTo>
                    <a:lnTo>
                      <a:pt x="1906" y="641"/>
                    </a:lnTo>
                    <a:lnTo>
                      <a:pt x="1902" y="641"/>
                    </a:lnTo>
                    <a:lnTo>
                      <a:pt x="1902" y="641"/>
                    </a:lnTo>
                    <a:lnTo>
                      <a:pt x="1902" y="643"/>
                    </a:lnTo>
                    <a:lnTo>
                      <a:pt x="1902" y="643"/>
                    </a:lnTo>
                    <a:lnTo>
                      <a:pt x="1902" y="646"/>
                    </a:lnTo>
                    <a:lnTo>
                      <a:pt x="1902" y="647"/>
                    </a:lnTo>
                    <a:lnTo>
                      <a:pt x="1901" y="648"/>
                    </a:lnTo>
                    <a:lnTo>
                      <a:pt x="1899" y="648"/>
                    </a:lnTo>
                    <a:lnTo>
                      <a:pt x="1899" y="648"/>
                    </a:lnTo>
                    <a:lnTo>
                      <a:pt x="1896" y="648"/>
                    </a:lnTo>
                    <a:lnTo>
                      <a:pt x="1895" y="650"/>
                    </a:lnTo>
                    <a:lnTo>
                      <a:pt x="1892" y="654"/>
                    </a:lnTo>
                    <a:lnTo>
                      <a:pt x="1892" y="654"/>
                    </a:lnTo>
                    <a:lnTo>
                      <a:pt x="1888" y="657"/>
                    </a:lnTo>
                    <a:lnTo>
                      <a:pt x="1883" y="658"/>
                    </a:lnTo>
                    <a:lnTo>
                      <a:pt x="1882" y="657"/>
                    </a:lnTo>
                    <a:lnTo>
                      <a:pt x="1882" y="657"/>
                    </a:lnTo>
                    <a:lnTo>
                      <a:pt x="1882" y="656"/>
                    </a:lnTo>
                    <a:lnTo>
                      <a:pt x="1882" y="656"/>
                    </a:lnTo>
                    <a:lnTo>
                      <a:pt x="1885" y="653"/>
                    </a:lnTo>
                    <a:lnTo>
                      <a:pt x="1883" y="650"/>
                    </a:lnTo>
                    <a:lnTo>
                      <a:pt x="1882" y="648"/>
                    </a:lnTo>
                    <a:lnTo>
                      <a:pt x="1882" y="646"/>
                    </a:lnTo>
                    <a:lnTo>
                      <a:pt x="1882" y="646"/>
                    </a:lnTo>
                    <a:lnTo>
                      <a:pt x="1883" y="640"/>
                    </a:lnTo>
                    <a:lnTo>
                      <a:pt x="1883" y="639"/>
                    </a:lnTo>
                    <a:lnTo>
                      <a:pt x="1882" y="640"/>
                    </a:lnTo>
                    <a:lnTo>
                      <a:pt x="1882" y="640"/>
                    </a:lnTo>
                    <a:lnTo>
                      <a:pt x="1878" y="643"/>
                    </a:lnTo>
                    <a:lnTo>
                      <a:pt x="1876" y="646"/>
                    </a:lnTo>
                    <a:lnTo>
                      <a:pt x="1873" y="648"/>
                    </a:lnTo>
                    <a:lnTo>
                      <a:pt x="1872" y="651"/>
                    </a:lnTo>
                    <a:lnTo>
                      <a:pt x="1872" y="651"/>
                    </a:lnTo>
                    <a:lnTo>
                      <a:pt x="1871" y="650"/>
                    </a:lnTo>
                    <a:lnTo>
                      <a:pt x="1869" y="648"/>
                    </a:lnTo>
                    <a:lnTo>
                      <a:pt x="1868" y="644"/>
                    </a:lnTo>
                    <a:lnTo>
                      <a:pt x="1869" y="634"/>
                    </a:lnTo>
                    <a:lnTo>
                      <a:pt x="1869" y="634"/>
                    </a:lnTo>
                    <a:lnTo>
                      <a:pt x="1869" y="633"/>
                    </a:lnTo>
                    <a:lnTo>
                      <a:pt x="1869" y="633"/>
                    </a:lnTo>
                    <a:lnTo>
                      <a:pt x="1865" y="633"/>
                    </a:lnTo>
                    <a:lnTo>
                      <a:pt x="1858" y="634"/>
                    </a:lnTo>
                    <a:lnTo>
                      <a:pt x="1851" y="634"/>
                    </a:lnTo>
                    <a:lnTo>
                      <a:pt x="1851" y="634"/>
                    </a:lnTo>
                    <a:lnTo>
                      <a:pt x="1846" y="633"/>
                    </a:lnTo>
                    <a:lnTo>
                      <a:pt x="1845" y="631"/>
                    </a:lnTo>
                    <a:lnTo>
                      <a:pt x="1845" y="630"/>
                    </a:lnTo>
                    <a:lnTo>
                      <a:pt x="1846" y="626"/>
                    </a:lnTo>
                    <a:lnTo>
                      <a:pt x="1852" y="621"/>
                    </a:lnTo>
                    <a:lnTo>
                      <a:pt x="1852" y="621"/>
                    </a:lnTo>
                    <a:lnTo>
                      <a:pt x="1856" y="619"/>
                    </a:lnTo>
                    <a:lnTo>
                      <a:pt x="1859" y="616"/>
                    </a:lnTo>
                    <a:lnTo>
                      <a:pt x="1861" y="614"/>
                    </a:lnTo>
                    <a:lnTo>
                      <a:pt x="1862" y="611"/>
                    </a:lnTo>
                    <a:lnTo>
                      <a:pt x="1862" y="611"/>
                    </a:lnTo>
                    <a:lnTo>
                      <a:pt x="1872" y="607"/>
                    </a:lnTo>
                    <a:lnTo>
                      <a:pt x="1883" y="600"/>
                    </a:lnTo>
                    <a:lnTo>
                      <a:pt x="1883" y="600"/>
                    </a:lnTo>
                    <a:lnTo>
                      <a:pt x="1886" y="597"/>
                    </a:lnTo>
                    <a:lnTo>
                      <a:pt x="1889" y="594"/>
                    </a:lnTo>
                    <a:lnTo>
                      <a:pt x="1892" y="589"/>
                    </a:lnTo>
                    <a:lnTo>
                      <a:pt x="1892" y="589"/>
                    </a:lnTo>
                    <a:lnTo>
                      <a:pt x="1895" y="584"/>
                    </a:lnTo>
                    <a:lnTo>
                      <a:pt x="1901" y="582"/>
                    </a:lnTo>
                    <a:lnTo>
                      <a:pt x="1915" y="572"/>
                    </a:lnTo>
                    <a:lnTo>
                      <a:pt x="1915" y="572"/>
                    </a:lnTo>
                    <a:lnTo>
                      <a:pt x="1926" y="560"/>
                    </a:lnTo>
                    <a:lnTo>
                      <a:pt x="1933" y="553"/>
                    </a:lnTo>
                    <a:lnTo>
                      <a:pt x="1933" y="553"/>
                    </a:lnTo>
                    <a:lnTo>
                      <a:pt x="1936" y="549"/>
                    </a:lnTo>
                    <a:lnTo>
                      <a:pt x="1942" y="545"/>
                    </a:lnTo>
                    <a:lnTo>
                      <a:pt x="1947" y="542"/>
                    </a:lnTo>
                    <a:lnTo>
                      <a:pt x="1950" y="538"/>
                    </a:lnTo>
                    <a:lnTo>
                      <a:pt x="1950" y="538"/>
                    </a:lnTo>
                    <a:lnTo>
                      <a:pt x="1953" y="535"/>
                    </a:lnTo>
                    <a:lnTo>
                      <a:pt x="1960" y="530"/>
                    </a:lnTo>
                    <a:lnTo>
                      <a:pt x="1970" y="525"/>
                    </a:lnTo>
                    <a:lnTo>
                      <a:pt x="1980" y="522"/>
                    </a:lnTo>
                    <a:lnTo>
                      <a:pt x="1980" y="522"/>
                    </a:lnTo>
                    <a:lnTo>
                      <a:pt x="1990" y="522"/>
                    </a:lnTo>
                    <a:lnTo>
                      <a:pt x="2002" y="522"/>
                    </a:lnTo>
                    <a:lnTo>
                      <a:pt x="2010" y="525"/>
                    </a:lnTo>
                    <a:lnTo>
                      <a:pt x="2016" y="526"/>
                    </a:lnTo>
                    <a:lnTo>
                      <a:pt x="2016" y="526"/>
                    </a:lnTo>
                    <a:lnTo>
                      <a:pt x="2017" y="529"/>
                    </a:lnTo>
                    <a:lnTo>
                      <a:pt x="2020" y="529"/>
                    </a:lnTo>
                    <a:lnTo>
                      <a:pt x="2024" y="526"/>
                    </a:lnTo>
                    <a:lnTo>
                      <a:pt x="2024" y="526"/>
                    </a:lnTo>
                    <a:lnTo>
                      <a:pt x="2026" y="525"/>
                    </a:lnTo>
                    <a:lnTo>
                      <a:pt x="2029" y="525"/>
                    </a:lnTo>
                    <a:lnTo>
                      <a:pt x="2039" y="526"/>
                    </a:lnTo>
                    <a:lnTo>
                      <a:pt x="2039" y="526"/>
                    </a:lnTo>
                    <a:lnTo>
                      <a:pt x="2044" y="526"/>
                    </a:lnTo>
                    <a:lnTo>
                      <a:pt x="2047" y="525"/>
                    </a:lnTo>
                    <a:lnTo>
                      <a:pt x="2050" y="523"/>
                    </a:lnTo>
                    <a:lnTo>
                      <a:pt x="2054" y="525"/>
                    </a:lnTo>
                    <a:lnTo>
                      <a:pt x="2054" y="525"/>
                    </a:lnTo>
                    <a:lnTo>
                      <a:pt x="2058" y="525"/>
                    </a:lnTo>
                    <a:lnTo>
                      <a:pt x="2061" y="525"/>
                    </a:lnTo>
                    <a:lnTo>
                      <a:pt x="2064" y="523"/>
                    </a:lnTo>
                    <a:lnTo>
                      <a:pt x="2067" y="520"/>
                    </a:lnTo>
                    <a:lnTo>
                      <a:pt x="2067" y="520"/>
                    </a:lnTo>
                    <a:lnTo>
                      <a:pt x="2068" y="518"/>
                    </a:lnTo>
                    <a:lnTo>
                      <a:pt x="2071" y="516"/>
                    </a:lnTo>
                    <a:lnTo>
                      <a:pt x="2078" y="516"/>
                    </a:lnTo>
                    <a:lnTo>
                      <a:pt x="2085" y="516"/>
                    </a:lnTo>
                    <a:lnTo>
                      <a:pt x="2090" y="518"/>
                    </a:lnTo>
                    <a:lnTo>
                      <a:pt x="2090" y="518"/>
                    </a:lnTo>
                    <a:lnTo>
                      <a:pt x="2095" y="522"/>
                    </a:lnTo>
                    <a:lnTo>
                      <a:pt x="2098" y="522"/>
                    </a:lnTo>
                    <a:lnTo>
                      <a:pt x="2103" y="520"/>
                    </a:lnTo>
                    <a:lnTo>
                      <a:pt x="2103" y="520"/>
                    </a:lnTo>
                    <a:lnTo>
                      <a:pt x="2104" y="519"/>
                    </a:lnTo>
                    <a:lnTo>
                      <a:pt x="2105" y="519"/>
                    </a:lnTo>
                    <a:lnTo>
                      <a:pt x="2107" y="522"/>
                    </a:lnTo>
                    <a:lnTo>
                      <a:pt x="2110" y="525"/>
                    </a:lnTo>
                    <a:lnTo>
                      <a:pt x="2112" y="526"/>
                    </a:lnTo>
                    <a:lnTo>
                      <a:pt x="2112" y="526"/>
                    </a:lnTo>
                    <a:lnTo>
                      <a:pt x="2115" y="528"/>
                    </a:lnTo>
                    <a:lnTo>
                      <a:pt x="2115" y="529"/>
                    </a:lnTo>
                    <a:lnTo>
                      <a:pt x="2114" y="530"/>
                    </a:lnTo>
                    <a:lnTo>
                      <a:pt x="2110" y="530"/>
                    </a:lnTo>
                    <a:lnTo>
                      <a:pt x="2110" y="530"/>
                    </a:lnTo>
                    <a:lnTo>
                      <a:pt x="2107" y="530"/>
                    </a:lnTo>
                    <a:lnTo>
                      <a:pt x="2104" y="532"/>
                    </a:lnTo>
                    <a:lnTo>
                      <a:pt x="2103" y="535"/>
                    </a:lnTo>
                    <a:lnTo>
                      <a:pt x="2105" y="536"/>
                    </a:lnTo>
                    <a:lnTo>
                      <a:pt x="2105" y="536"/>
                    </a:lnTo>
                    <a:lnTo>
                      <a:pt x="2110" y="538"/>
                    </a:lnTo>
                    <a:lnTo>
                      <a:pt x="2114" y="536"/>
                    </a:lnTo>
                    <a:lnTo>
                      <a:pt x="2118" y="535"/>
                    </a:lnTo>
                    <a:lnTo>
                      <a:pt x="2121" y="533"/>
                    </a:lnTo>
                    <a:lnTo>
                      <a:pt x="2121" y="533"/>
                    </a:lnTo>
                    <a:lnTo>
                      <a:pt x="2128" y="535"/>
                    </a:lnTo>
                    <a:lnTo>
                      <a:pt x="2134" y="533"/>
                    </a:lnTo>
                    <a:lnTo>
                      <a:pt x="2138" y="530"/>
                    </a:lnTo>
                    <a:lnTo>
                      <a:pt x="2138" y="530"/>
                    </a:lnTo>
                    <a:lnTo>
                      <a:pt x="2141" y="530"/>
                    </a:lnTo>
                    <a:lnTo>
                      <a:pt x="2144" y="530"/>
                    </a:lnTo>
                    <a:lnTo>
                      <a:pt x="2147" y="532"/>
                    </a:lnTo>
                    <a:lnTo>
                      <a:pt x="2149" y="530"/>
                    </a:lnTo>
                    <a:lnTo>
                      <a:pt x="2149" y="530"/>
                    </a:lnTo>
                    <a:lnTo>
                      <a:pt x="2152" y="529"/>
                    </a:lnTo>
                    <a:lnTo>
                      <a:pt x="2158" y="528"/>
                    </a:lnTo>
                    <a:lnTo>
                      <a:pt x="2167" y="526"/>
                    </a:lnTo>
                    <a:lnTo>
                      <a:pt x="2167" y="526"/>
                    </a:lnTo>
                    <a:lnTo>
                      <a:pt x="2168" y="526"/>
                    </a:lnTo>
                    <a:lnTo>
                      <a:pt x="2167" y="525"/>
                    </a:lnTo>
                    <a:lnTo>
                      <a:pt x="2164" y="522"/>
                    </a:lnTo>
                    <a:lnTo>
                      <a:pt x="2159" y="522"/>
                    </a:lnTo>
                    <a:lnTo>
                      <a:pt x="2159" y="522"/>
                    </a:lnTo>
                    <a:lnTo>
                      <a:pt x="2155" y="520"/>
                    </a:lnTo>
                    <a:lnTo>
                      <a:pt x="2154" y="519"/>
                    </a:lnTo>
                    <a:lnTo>
                      <a:pt x="2155" y="515"/>
                    </a:lnTo>
                    <a:lnTo>
                      <a:pt x="2158" y="508"/>
                    </a:lnTo>
                    <a:lnTo>
                      <a:pt x="2158" y="508"/>
                    </a:lnTo>
                    <a:lnTo>
                      <a:pt x="2164" y="502"/>
                    </a:lnTo>
                    <a:lnTo>
                      <a:pt x="2169" y="496"/>
                    </a:lnTo>
                    <a:lnTo>
                      <a:pt x="2182" y="488"/>
                    </a:lnTo>
                    <a:lnTo>
                      <a:pt x="2182" y="488"/>
                    </a:lnTo>
                    <a:lnTo>
                      <a:pt x="2186" y="485"/>
                    </a:lnTo>
                    <a:lnTo>
                      <a:pt x="2191" y="483"/>
                    </a:lnTo>
                    <a:lnTo>
                      <a:pt x="2192" y="482"/>
                    </a:lnTo>
                    <a:lnTo>
                      <a:pt x="2194" y="481"/>
                    </a:lnTo>
                    <a:lnTo>
                      <a:pt x="2194" y="481"/>
                    </a:lnTo>
                    <a:lnTo>
                      <a:pt x="2194" y="476"/>
                    </a:lnTo>
                    <a:lnTo>
                      <a:pt x="2196" y="472"/>
                    </a:lnTo>
                    <a:lnTo>
                      <a:pt x="2199" y="468"/>
                    </a:lnTo>
                    <a:lnTo>
                      <a:pt x="2202" y="466"/>
                    </a:lnTo>
                    <a:lnTo>
                      <a:pt x="2202" y="466"/>
                    </a:lnTo>
                    <a:lnTo>
                      <a:pt x="2215" y="466"/>
                    </a:lnTo>
                    <a:lnTo>
                      <a:pt x="2222" y="465"/>
                    </a:lnTo>
                    <a:lnTo>
                      <a:pt x="2229" y="464"/>
                    </a:lnTo>
                    <a:lnTo>
                      <a:pt x="2229" y="464"/>
                    </a:lnTo>
                    <a:lnTo>
                      <a:pt x="2233" y="462"/>
                    </a:lnTo>
                    <a:lnTo>
                      <a:pt x="2236" y="464"/>
                    </a:lnTo>
                    <a:lnTo>
                      <a:pt x="2238" y="466"/>
                    </a:lnTo>
                    <a:lnTo>
                      <a:pt x="2239" y="468"/>
                    </a:lnTo>
                    <a:lnTo>
                      <a:pt x="2239" y="468"/>
                    </a:lnTo>
                    <a:lnTo>
                      <a:pt x="2242" y="468"/>
                    </a:lnTo>
                    <a:lnTo>
                      <a:pt x="2245" y="465"/>
                    </a:lnTo>
                    <a:lnTo>
                      <a:pt x="2248" y="464"/>
                    </a:lnTo>
                    <a:lnTo>
                      <a:pt x="2250" y="464"/>
                    </a:lnTo>
                    <a:lnTo>
                      <a:pt x="2250" y="464"/>
                    </a:lnTo>
                    <a:lnTo>
                      <a:pt x="2252" y="465"/>
                    </a:lnTo>
                    <a:lnTo>
                      <a:pt x="2252" y="466"/>
                    </a:lnTo>
                    <a:lnTo>
                      <a:pt x="2249" y="469"/>
                    </a:lnTo>
                    <a:lnTo>
                      <a:pt x="2246" y="473"/>
                    </a:lnTo>
                    <a:lnTo>
                      <a:pt x="2243" y="478"/>
                    </a:lnTo>
                    <a:lnTo>
                      <a:pt x="2243" y="478"/>
                    </a:lnTo>
                    <a:lnTo>
                      <a:pt x="2243" y="482"/>
                    </a:lnTo>
                    <a:lnTo>
                      <a:pt x="2245" y="483"/>
                    </a:lnTo>
                    <a:lnTo>
                      <a:pt x="2249" y="483"/>
                    </a:lnTo>
                    <a:lnTo>
                      <a:pt x="2252" y="485"/>
                    </a:lnTo>
                    <a:lnTo>
                      <a:pt x="2252" y="485"/>
                    </a:lnTo>
                    <a:lnTo>
                      <a:pt x="2253" y="485"/>
                    </a:lnTo>
                    <a:lnTo>
                      <a:pt x="2253" y="486"/>
                    </a:lnTo>
                    <a:lnTo>
                      <a:pt x="2250" y="488"/>
                    </a:lnTo>
                    <a:lnTo>
                      <a:pt x="2249" y="489"/>
                    </a:lnTo>
                    <a:lnTo>
                      <a:pt x="2248" y="491"/>
                    </a:lnTo>
                    <a:lnTo>
                      <a:pt x="2248" y="491"/>
                    </a:lnTo>
                    <a:lnTo>
                      <a:pt x="2249" y="492"/>
                    </a:lnTo>
                    <a:lnTo>
                      <a:pt x="2253" y="492"/>
                    </a:lnTo>
                    <a:lnTo>
                      <a:pt x="2260" y="489"/>
                    </a:lnTo>
                    <a:lnTo>
                      <a:pt x="2268" y="482"/>
                    </a:lnTo>
                    <a:lnTo>
                      <a:pt x="2268" y="482"/>
                    </a:lnTo>
                    <a:lnTo>
                      <a:pt x="2275" y="476"/>
                    </a:lnTo>
                    <a:lnTo>
                      <a:pt x="2282" y="472"/>
                    </a:lnTo>
                    <a:lnTo>
                      <a:pt x="2287" y="471"/>
                    </a:lnTo>
                    <a:lnTo>
                      <a:pt x="2293" y="471"/>
                    </a:lnTo>
                    <a:lnTo>
                      <a:pt x="2293" y="471"/>
                    </a:lnTo>
                    <a:lnTo>
                      <a:pt x="2297" y="469"/>
                    </a:lnTo>
                    <a:lnTo>
                      <a:pt x="2297" y="466"/>
                    </a:lnTo>
                    <a:lnTo>
                      <a:pt x="2297" y="455"/>
                    </a:lnTo>
                    <a:lnTo>
                      <a:pt x="2297" y="455"/>
                    </a:lnTo>
                    <a:lnTo>
                      <a:pt x="2297" y="451"/>
                    </a:lnTo>
                    <a:lnTo>
                      <a:pt x="2300" y="448"/>
                    </a:lnTo>
                    <a:lnTo>
                      <a:pt x="2305" y="446"/>
                    </a:lnTo>
                    <a:lnTo>
                      <a:pt x="2309" y="445"/>
                    </a:lnTo>
                    <a:lnTo>
                      <a:pt x="2317" y="444"/>
                    </a:lnTo>
                    <a:lnTo>
                      <a:pt x="2324" y="445"/>
                    </a:lnTo>
                    <a:lnTo>
                      <a:pt x="2324" y="445"/>
                    </a:lnTo>
                    <a:lnTo>
                      <a:pt x="2329" y="446"/>
                    </a:lnTo>
                    <a:lnTo>
                      <a:pt x="2329" y="448"/>
                    </a:lnTo>
                    <a:lnTo>
                      <a:pt x="2327" y="449"/>
                    </a:lnTo>
                    <a:lnTo>
                      <a:pt x="2324" y="448"/>
                    </a:lnTo>
                    <a:lnTo>
                      <a:pt x="2324" y="448"/>
                    </a:lnTo>
                    <a:lnTo>
                      <a:pt x="2320" y="448"/>
                    </a:lnTo>
                    <a:lnTo>
                      <a:pt x="2316" y="451"/>
                    </a:lnTo>
                    <a:lnTo>
                      <a:pt x="2313" y="455"/>
                    </a:lnTo>
                    <a:lnTo>
                      <a:pt x="2312" y="461"/>
                    </a:lnTo>
                    <a:lnTo>
                      <a:pt x="2312" y="461"/>
                    </a:lnTo>
                    <a:lnTo>
                      <a:pt x="2312" y="466"/>
                    </a:lnTo>
                    <a:lnTo>
                      <a:pt x="2310" y="469"/>
                    </a:lnTo>
                    <a:lnTo>
                      <a:pt x="2309" y="472"/>
                    </a:lnTo>
                    <a:lnTo>
                      <a:pt x="2310" y="475"/>
                    </a:lnTo>
                    <a:lnTo>
                      <a:pt x="2310" y="475"/>
                    </a:lnTo>
                    <a:lnTo>
                      <a:pt x="2310" y="476"/>
                    </a:lnTo>
                    <a:lnTo>
                      <a:pt x="2309" y="478"/>
                    </a:lnTo>
                    <a:lnTo>
                      <a:pt x="2306" y="479"/>
                    </a:lnTo>
                    <a:lnTo>
                      <a:pt x="2305" y="482"/>
                    </a:lnTo>
                    <a:lnTo>
                      <a:pt x="2305" y="482"/>
                    </a:lnTo>
                    <a:lnTo>
                      <a:pt x="2305" y="486"/>
                    </a:lnTo>
                    <a:lnTo>
                      <a:pt x="2303" y="488"/>
                    </a:lnTo>
                    <a:lnTo>
                      <a:pt x="2300" y="489"/>
                    </a:lnTo>
                    <a:lnTo>
                      <a:pt x="2300" y="489"/>
                    </a:lnTo>
                    <a:lnTo>
                      <a:pt x="2287" y="492"/>
                    </a:lnTo>
                    <a:lnTo>
                      <a:pt x="2282" y="495"/>
                    </a:lnTo>
                    <a:lnTo>
                      <a:pt x="2280" y="496"/>
                    </a:lnTo>
                    <a:lnTo>
                      <a:pt x="2279" y="498"/>
                    </a:lnTo>
                    <a:lnTo>
                      <a:pt x="2279" y="498"/>
                    </a:lnTo>
                    <a:lnTo>
                      <a:pt x="2278" y="502"/>
                    </a:lnTo>
                    <a:lnTo>
                      <a:pt x="2273" y="505"/>
                    </a:lnTo>
                    <a:lnTo>
                      <a:pt x="2269" y="508"/>
                    </a:lnTo>
                    <a:lnTo>
                      <a:pt x="2266" y="512"/>
                    </a:lnTo>
                    <a:lnTo>
                      <a:pt x="2266" y="512"/>
                    </a:lnTo>
                    <a:lnTo>
                      <a:pt x="2260" y="518"/>
                    </a:lnTo>
                    <a:lnTo>
                      <a:pt x="2253" y="523"/>
                    </a:lnTo>
                    <a:lnTo>
                      <a:pt x="2245" y="530"/>
                    </a:lnTo>
                    <a:lnTo>
                      <a:pt x="2241" y="535"/>
                    </a:lnTo>
                    <a:lnTo>
                      <a:pt x="2236" y="540"/>
                    </a:lnTo>
                    <a:lnTo>
                      <a:pt x="2236" y="540"/>
                    </a:lnTo>
                    <a:lnTo>
                      <a:pt x="2232" y="545"/>
                    </a:lnTo>
                    <a:lnTo>
                      <a:pt x="2228" y="549"/>
                    </a:lnTo>
                    <a:lnTo>
                      <a:pt x="2219" y="553"/>
                    </a:lnTo>
                    <a:lnTo>
                      <a:pt x="2212" y="556"/>
                    </a:lnTo>
                    <a:lnTo>
                      <a:pt x="2211" y="557"/>
                    </a:lnTo>
                    <a:lnTo>
                      <a:pt x="2211" y="557"/>
                    </a:lnTo>
                    <a:lnTo>
                      <a:pt x="2211" y="557"/>
                    </a:lnTo>
                    <a:lnTo>
                      <a:pt x="2208" y="559"/>
                    </a:lnTo>
                    <a:lnTo>
                      <a:pt x="2204" y="560"/>
                    </a:lnTo>
                    <a:lnTo>
                      <a:pt x="2195" y="560"/>
                    </a:lnTo>
                    <a:lnTo>
                      <a:pt x="2195" y="560"/>
                    </a:lnTo>
                    <a:lnTo>
                      <a:pt x="2194" y="562"/>
                    </a:lnTo>
                    <a:lnTo>
                      <a:pt x="2194" y="563"/>
                    </a:lnTo>
                    <a:lnTo>
                      <a:pt x="2194" y="567"/>
                    </a:lnTo>
                    <a:lnTo>
                      <a:pt x="2194" y="573"/>
                    </a:lnTo>
                    <a:lnTo>
                      <a:pt x="2192" y="577"/>
                    </a:lnTo>
                    <a:lnTo>
                      <a:pt x="2189" y="580"/>
                    </a:lnTo>
                    <a:lnTo>
                      <a:pt x="2189" y="580"/>
                    </a:lnTo>
                    <a:lnTo>
                      <a:pt x="2184" y="589"/>
                    </a:lnTo>
                    <a:lnTo>
                      <a:pt x="2179" y="597"/>
                    </a:lnTo>
                    <a:lnTo>
                      <a:pt x="2175" y="607"/>
                    </a:lnTo>
                    <a:lnTo>
                      <a:pt x="2175" y="617"/>
                    </a:lnTo>
                    <a:lnTo>
                      <a:pt x="2175" y="617"/>
                    </a:lnTo>
                    <a:lnTo>
                      <a:pt x="2178" y="648"/>
                    </a:lnTo>
                    <a:lnTo>
                      <a:pt x="2181" y="666"/>
                    </a:lnTo>
                    <a:lnTo>
                      <a:pt x="2184" y="677"/>
                    </a:lnTo>
                    <a:lnTo>
                      <a:pt x="2184" y="677"/>
                    </a:lnTo>
                    <a:lnTo>
                      <a:pt x="2185" y="683"/>
                    </a:lnTo>
                    <a:lnTo>
                      <a:pt x="2186" y="691"/>
                    </a:lnTo>
                    <a:lnTo>
                      <a:pt x="2186" y="698"/>
                    </a:lnTo>
                    <a:lnTo>
                      <a:pt x="2189" y="704"/>
                    </a:lnTo>
                    <a:lnTo>
                      <a:pt x="2189" y="704"/>
                    </a:lnTo>
                    <a:lnTo>
                      <a:pt x="2191" y="707"/>
                    </a:lnTo>
                    <a:lnTo>
                      <a:pt x="2191" y="710"/>
                    </a:lnTo>
                    <a:lnTo>
                      <a:pt x="2192" y="712"/>
                    </a:lnTo>
                    <a:lnTo>
                      <a:pt x="2194" y="715"/>
                    </a:lnTo>
                    <a:lnTo>
                      <a:pt x="2194" y="715"/>
                    </a:lnTo>
                    <a:lnTo>
                      <a:pt x="2194" y="715"/>
                    </a:lnTo>
                    <a:lnTo>
                      <a:pt x="2195" y="714"/>
                    </a:lnTo>
                    <a:lnTo>
                      <a:pt x="2199" y="711"/>
                    </a:lnTo>
                    <a:lnTo>
                      <a:pt x="2209" y="701"/>
                    </a:lnTo>
                    <a:lnTo>
                      <a:pt x="2209" y="701"/>
                    </a:lnTo>
                    <a:lnTo>
                      <a:pt x="2213" y="698"/>
                    </a:lnTo>
                    <a:lnTo>
                      <a:pt x="2215" y="695"/>
                    </a:lnTo>
                    <a:lnTo>
                      <a:pt x="2216" y="694"/>
                    </a:lnTo>
                    <a:lnTo>
                      <a:pt x="2218" y="691"/>
                    </a:lnTo>
                    <a:lnTo>
                      <a:pt x="2218" y="691"/>
                    </a:lnTo>
                    <a:lnTo>
                      <a:pt x="2219" y="688"/>
                    </a:lnTo>
                    <a:lnTo>
                      <a:pt x="2221" y="684"/>
                    </a:lnTo>
                    <a:lnTo>
                      <a:pt x="2222" y="675"/>
                    </a:lnTo>
                    <a:lnTo>
                      <a:pt x="2222" y="675"/>
                    </a:lnTo>
                    <a:lnTo>
                      <a:pt x="2223" y="673"/>
                    </a:lnTo>
                    <a:lnTo>
                      <a:pt x="2226" y="671"/>
                    </a:lnTo>
                    <a:lnTo>
                      <a:pt x="2229" y="670"/>
                    </a:lnTo>
                    <a:lnTo>
                      <a:pt x="2232" y="668"/>
                    </a:lnTo>
                    <a:lnTo>
                      <a:pt x="2232" y="668"/>
                    </a:lnTo>
                    <a:lnTo>
                      <a:pt x="2235" y="667"/>
                    </a:lnTo>
                    <a:lnTo>
                      <a:pt x="2238" y="666"/>
                    </a:lnTo>
                    <a:lnTo>
                      <a:pt x="2245" y="666"/>
                    </a:lnTo>
                    <a:lnTo>
                      <a:pt x="2245" y="666"/>
                    </a:lnTo>
                    <a:lnTo>
                      <a:pt x="2245" y="664"/>
                    </a:lnTo>
                    <a:lnTo>
                      <a:pt x="2245" y="660"/>
                    </a:lnTo>
                    <a:lnTo>
                      <a:pt x="2243" y="651"/>
                    </a:lnTo>
                    <a:lnTo>
                      <a:pt x="2243" y="651"/>
                    </a:lnTo>
                    <a:lnTo>
                      <a:pt x="2243" y="650"/>
                    </a:lnTo>
                    <a:lnTo>
                      <a:pt x="2243" y="648"/>
                    </a:lnTo>
                    <a:lnTo>
                      <a:pt x="2248" y="644"/>
                    </a:lnTo>
                    <a:lnTo>
                      <a:pt x="2258" y="637"/>
                    </a:lnTo>
                    <a:lnTo>
                      <a:pt x="2258" y="637"/>
                    </a:lnTo>
                    <a:lnTo>
                      <a:pt x="2263" y="636"/>
                    </a:lnTo>
                    <a:lnTo>
                      <a:pt x="2268" y="636"/>
                    </a:lnTo>
                    <a:lnTo>
                      <a:pt x="2272" y="636"/>
                    </a:lnTo>
                    <a:lnTo>
                      <a:pt x="2275" y="636"/>
                    </a:lnTo>
                    <a:lnTo>
                      <a:pt x="2278" y="634"/>
                    </a:lnTo>
                    <a:lnTo>
                      <a:pt x="2278" y="634"/>
                    </a:lnTo>
                    <a:lnTo>
                      <a:pt x="2279" y="631"/>
                    </a:lnTo>
                    <a:lnTo>
                      <a:pt x="2280" y="630"/>
                    </a:lnTo>
                    <a:lnTo>
                      <a:pt x="2279" y="624"/>
                    </a:lnTo>
                    <a:lnTo>
                      <a:pt x="2276" y="621"/>
                    </a:lnTo>
                    <a:lnTo>
                      <a:pt x="2275" y="619"/>
                    </a:lnTo>
                    <a:lnTo>
                      <a:pt x="2275" y="619"/>
                    </a:lnTo>
                    <a:lnTo>
                      <a:pt x="2275" y="616"/>
                    </a:lnTo>
                    <a:lnTo>
                      <a:pt x="2275" y="614"/>
                    </a:lnTo>
                    <a:lnTo>
                      <a:pt x="2278" y="607"/>
                    </a:lnTo>
                    <a:lnTo>
                      <a:pt x="2282" y="602"/>
                    </a:lnTo>
                    <a:lnTo>
                      <a:pt x="2286" y="599"/>
                    </a:lnTo>
                    <a:lnTo>
                      <a:pt x="2286" y="599"/>
                    </a:lnTo>
                    <a:lnTo>
                      <a:pt x="2289" y="599"/>
                    </a:lnTo>
                    <a:lnTo>
                      <a:pt x="2292" y="599"/>
                    </a:lnTo>
                    <a:lnTo>
                      <a:pt x="2295" y="600"/>
                    </a:lnTo>
                    <a:lnTo>
                      <a:pt x="2299" y="597"/>
                    </a:lnTo>
                    <a:lnTo>
                      <a:pt x="2299" y="597"/>
                    </a:lnTo>
                    <a:lnTo>
                      <a:pt x="2299" y="596"/>
                    </a:lnTo>
                    <a:lnTo>
                      <a:pt x="2299" y="594"/>
                    </a:lnTo>
                    <a:lnTo>
                      <a:pt x="2297" y="590"/>
                    </a:lnTo>
                    <a:lnTo>
                      <a:pt x="2293" y="589"/>
                    </a:lnTo>
                    <a:lnTo>
                      <a:pt x="2290" y="587"/>
                    </a:lnTo>
                    <a:lnTo>
                      <a:pt x="2290" y="587"/>
                    </a:lnTo>
                    <a:lnTo>
                      <a:pt x="2289" y="587"/>
                    </a:lnTo>
                    <a:lnTo>
                      <a:pt x="2289" y="586"/>
                    </a:lnTo>
                    <a:lnTo>
                      <a:pt x="2287" y="580"/>
                    </a:lnTo>
                    <a:lnTo>
                      <a:pt x="2290" y="574"/>
                    </a:lnTo>
                    <a:lnTo>
                      <a:pt x="2292" y="572"/>
                    </a:lnTo>
                    <a:lnTo>
                      <a:pt x="2295" y="569"/>
                    </a:lnTo>
                    <a:lnTo>
                      <a:pt x="2295" y="569"/>
                    </a:lnTo>
                    <a:lnTo>
                      <a:pt x="2297" y="566"/>
                    </a:lnTo>
                    <a:lnTo>
                      <a:pt x="2299" y="563"/>
                    </a:lnTo>
                    <a:lnTo>
                      <a:pt x="2297" y="562"/>
                    </a:lnTo>
                    <a:lnTo>
                      <a:pt x="2293" y="560"/>
                    </a:lnTo>
                    <a:lnTo>
                      <a:pt x="2293" y="560"/>
                    </a:lnTo>
                    <a:lnTo>
                      <a:pt x="2290" y="560"/>
                    </a:lnTo>
                    <a:lnTo>
                      <a:pt x="2287" y="560"/>
                    </a:lnTo>
                    <a:lnTo>
                      <a:pt x="2283" y="562"/>
                    </a:lnTo>
                    <a:lnTo>
                      <a:pt x="2283" y="562"/>
                    </a:lnTo>
                    <a:lnTo>
                      <a:pt x="2280" y="560"/>
                    </a:lnTo>
                    <a:lnTo>
                      <a:pt x="2279" y="556"/>
                    </a:lnTo>
                    <a:lnTo>
                      <a:pt x="2279" y="550"/>
                    </a:lnTo>
                    <a:lnTo>
                      <a:pt x="2282" y="545"/>
                    </a:lnTo>
                    <a:lnTo>
                      <a:pt x="2282" y="545"/>
                    </a:lnTo>
                    <a:lnTo>
                      <a:pt x="2286" y="540"/>
                    </a:lnTo>
                    <a:lnTo>
                      <a:pt x="2290" y="538"/>
                    </a:lnTo>
                    <a:lnTo>
                      <a:pt x="2293" y="535"/>
                    </a:lnTo>
                    <a:lnTo>
                      <a:pt x="2295" y="530"/>
                    </a:lnTo>
                    <a:lnTo>
                      <a:pt x="2295" y="530"/>
                    </a:lnTo>
                    <a:lnTo>
                      <a:pt x="2297" y="525"/>
                    </a:lnTo>
                    <a:lnTo>
                      <a:pt x="2300" y="519"/>
                    </a:lnTo>
                    <a:lnTo>
                      <a:pt x="2307" y="510"/>
                    </a:lnTo>
                    <a:lnTo>
                      <a:pt x="2307" y="510"/>
                    </a:lnTo>
                    <a:lnTo>
                      <a:pt x="2310" y="509"/>
                    </a:lnTo>
                    <a:lnTo>
                      <a:pt x="2313" y="509"/>
                    </a:lnTo>
                    <a:lnTo>
                      <a:pt x="2322" y="509"/>
                    </a:lnTo>
                    <a:lnTo>
                      <a:pt x="2322" y="509"/>
                    </a:lnTo>
                    <a:lnTo>
                      <a:pt x="2323" y="510"/>
                    </a:lnTo>
                    <a:lnTo>
                      <a:pt x="2323" y="512"/>
                    </a:lnTo>
                    <a:lnTo>
                      <a:pt x="2324" y="513"/>
                    </a:lnTo>
                    <a:lnTo>
                      <a:pt x="2327" y="512"/>
                    </a:lnTo>
                    <a:lnTo>
                      <a:pt x="2327" y="512"/>
                    </a:lnTo>
                    <a:lnTo>
                      <a:pt x="2334" y="503"/>
                    </a:lnTo>
                    <a:lnTo>
                      <a:pt x="2339" y="499"/>
                    </a:lnTo>
                    <a:lnTo>
                      <a:pt x="2343" y="498"/>
                    </a:lnTo>
                    <a:lnTo>
                      <a:pt x="2343" y="498"/>
                    </a:lnTo>
                    <a:lnTo>
                      <a:pt x="2344" y="498"/>
                    </a:lnTo>
                    <a:lnTo>
                      <a:pt x="2346" y="499"/>
                    </a:lnTo>
                    <a:lnTo>
                      <a:pt x="2346" y="502"/>
                    </a:lnTo>
                    <a:lnTo>
                      <a:pt x="2346" y="506"/>
                    </a:lnTo>
                    <a:lnTo>
                      <a:pt x="2347" y="510"/>
                    </a:lnTo>
                    <a:lnTo>
                      <a:pt x="2347" y="510"/>
                    </a:lnTo>
                    <a:lnTo>
                      <a:pt x="2349" y="513"/>
                    </a:lnTo>
                    <a:lnTo>
                      <a:pt x="2350" y="512"/>
                    </a:lnTo>
                    <a:lnTo>
                      <a:pt x="2361" y="502"/>
                    </a:lnTo>
                    <a:lnTo>
                      <a:pt x="2361" y="502"/>
                    </a:lnTo>
                    <a:lnTo>
                      <a:pt x="2366" y="501"/>
                    </a:lnTo>
                    <a:lnTo>
                      <a:pt x="2371" y="499"/>
                    </a:lnTo>
                    <a:lnTo>
                      <a:pt x="2383" y="498"/>
                    </a:lnTo>
                    <a:lnTo>
                      <a:pt x="2394" y="498"/>
                    </a:lnTo>
                    <a:lnTo>
                      <a:pt x="2401" y="499"/>
                    </a:lnTo>
                    <a:lnTo>
                      <a:pt x="2401" y="499"/>
                    </a:lnTo>
                    <a:lnTo>
                      <a:pt x="2406" y="502"/>
                    </a:lnTo>
                    <a:lnTo>
                      <a:pt x="2408" y="506"/>
                    </a:lnTo>
                    <a:lnTo>
                      <a:pt x="2411" y="509"/>
                    </a:lnTo>
                    <a:lnTo>
                      <a:pt x="2414" y="509"/>
                    </a:lnTo>
                    <a:lnTo>
                      <a:pt x="2414" y="509"/>
                    </a:lnTo>
                    <a:lnTo>
                      <a:pt x="2415" y="508"/>
                    </a:lnTo>
                    <a:lnTo>
                      <a:pt x="2417" y="505"/>
                    </a:lnTo>
                    <a:lnTo>
                      <a:pt x="2417" y="502"/>
                    </a:lnTo>
                    <a:lnTo>
                      <a:pt x="2420" y="501"/>
                    </a:lnTo>
                    <a:lnTo>
                      <a:pt x="2420" y="501"/>
                    </a:lnTo>
                    <a:lnTo>
                      <a:pt x="2431" y="495"/>
                    </a:lnTo>
                    <a:lnTo>
                      <a:pt x="2444" y="488"/>
                    </a:lnTo>
                    <a:lnTo>
                      <a:pt x="2444" y="488"/>
                    </a:lnTo>
                    <a:lnTo>
                      <a:pt x="2450" y="483"/>
                    </a:lnTo>
                    <a:lnTo>
                      <a:pt x="2452" y="481"/>
                    </a:lnTo>
                    <a:lnTo>
                      <a:pt x="2452" y="481"/>
                    </a:lnTo>
                    <a:lnTo>
                      <a:pt x="2455" y="478"/>
                    </a:lnTo>
                    <a:lnTo>
                      <a:pt x="2458" y="476"/>
                    </a:lnTo>
                    <a:lnTo>
                      <a:pt x="2461" y="476"/>
                    </a:lnTo>
                    <a:lnTo>
                      <a:pt x="2462" y="475"/>
                    </a:lnTo>
                    <a:lnTo>
                      <a:pt x="2462" y="475"/>
                    </a:lnTo>
                    <a:lnTo>
                      <a:pt x="2465" y="472"/>
                    </a:lnTo>
                    <a:lnTo>
                      <a:pt x="2471" y="468"/>
                    </a:lnTo>
                    <a:lnTo>
                      <a:pt x="2478" y="465"/>
                    </a:lnTo>
                    <a:lnTo>
                      <a:pt x="2489" y="462"/>
                    </a:lnTo>
                    <a:lnTo>
                      <a:pt x="2489" y="462"/>
                    </a:lnTo>
                    <a:lnTo>
                      <a:pt x="2501" y="459"/>
                    </a:lnTo>
                    <a:lnTo>
                      <a:pt x="2512" y="454"/>
                    </a:lnTo>
                    <a:lnTo>
                      <a:pt x="2519" y="449"/>
                    </a:lnTo>
                    <a:lnTo>
                      <a:pt x="2522" y="448"/>
                    </a:lnTo>
                    <a:lnTo>
                      <a:pt x="2522" y="446"/>
                    </a:lnTo>
                    <a:lnTo>
                      <a:pt x="2522" y="446"/>
                    </a:lnTo>
                    <a:lnTo>
                      <a:pt x="2524" y="444"/>
                    </a:lnTo>
                    <a:lnTo>
                      <a:pt x="2525" y="444"/>
                    </a:lnTo>
                    <a:lnTo>
                      <a:pt x="2528" y="444"/>
                    </a:lnTo>
                    <a:lnTo>
                      <a:pt x="2529" y="445"/>
                    </a:lnTo>
                    <a:lnTo>
                      <a:pt x="2529" y="445"/>
                    </a:lnTo>
                    <a:lnTo>
                      <a:pt x="2531" y="446"/>
                    </a:lnTo>
                    <a:lnTo>
                      <a:pt x="2534" y="446"/>
                    </a:lnTo>
                    <a:lnTo>
                      <a:pt x="2544" y="448"/>
                    </a:lnTo>
                    <a:lnTo>
                      <a:pt x="2544" y="448"/>
                    </a:lnTo>
                    <a:lnTo>
                      <a:pt x="2552" y="451"/>
                    </a:lnTo>
                    <a:lnTo>
                      <a:pt x="2556" y="449"/>
                    </a:lnTo>
                    <a:lnTo>
                      <a:pt x="2561" y="446"/>
                    </a:lnTo>
                    <a:lnTo>
                      <a:pt x="2561" y="446"/>
                    </a:lnTo>
                    <a:lnTo>
                      <a:pt x="2563" y="442"/>
                    </a:lnTo>
                    <a:lnTo>
                      <a:pt x="2562" y="439"/>
                    </a:lnTo>
                    <a:lnTo>
                      <a:pt x="2561" y="436"/>
                    </a:lnTo>
                    <a:lnTo>
                      <a:pt x="2561" y="434"/>
                    </a:lnTo>
                    <a:lnTo>
                      <a:pt x="2561" y="434"/>
                    </a:lnTo>
                    <a:lnTo>
                      <a:pt x="2559" y="431"/>
                    </a:lnTo>
                    <a:lnTo>
                      <a:pt x="2555" y="427"/>
                    </a:lnTo>
                    <a:lnTo>
                      <a:pt x="2552" y="422"/>
                    </a:lnTo>
                    <a:lnTo>
                      <a:pt x="2551" y="421"/>
                    </a:lnTo>
                    <a:lnTo>
                      <a:pt x="2551" y="419"/>
                    </a:lnTo>
                    <a:lnTo>
                      <a:pt x="2551" y="419"/>
                    </a:lnTo>
                    <a:lnTo>
                      <a:pt x="2551" y="414"/>
                    </a:lnTo>
                    <a:lnTo>
                      <a:pt x="2546" y="408"/>
                    </a:lnTo>
                    <a:lnTo>
                      <a:pt x="2544" y="404"/>
                    </a:lnTo>
                    <a:lnTo>
                      <a:pt x="2541" y="404"/>
                    </a:lnTo>
                    <a:lnTo>
                      <a:pt x="2541" y="404"/>
                    </a:lnTo>
                    <a:lnTo>
                      <a:pt x="2541" y="404"/>
                    </a:lnTo>
                    <a:lnTo>
                      <a:pt x="2538" y="404"/>
                    </a:lnTo>
                    <a:lnTo>
                      <a:pt x="2534" y="402"/>
                    </a:lnTo>
                    <a:lnTo>
                      <a:pt x="2532" y="401"/>
                    </a:lnTo>
                    <a:lnTo>
                      <a:pt x="2531" y="398"/>
                    </a:lnTo>
                    <a:lnTo>
                      <a:pt x="2531" y="398"/>
                    </a:lnTo>
                    <a:lnTo>
                      <a:pt x="2529" y="392"/>
                    </a:lnTo>
                    <a:lnTo>
                      <a:pt x="2528" y="391"/>
                    </a:lnTo>
                    <a:lnTo>
                      <a:pt x="2525" y="392"/>
                    </a:lnTo>
                    <a:lnTo>
                      <a:pt x="2525" y="392"/>
                    </a:lnTo>
                    <a:lnTo>
                      <a:pt x="2522" y="394"/>
                    </a:lnTo>
                    <a:lnTo>
                      <a:pt x="2518" y="394"/>
                    </a:lnTo>
                    <a:lnTo>
                      <a:pt x="2514" y="392"/>
                    </a:lnTo>
                    <a:lnTo>
                      <a:pt x="2512" y="390"/>
                    </a:lnTo>
                    <a:lnTo>
                      <a:pt x="2512" y="390"/>
                    </a:lnTo>
                    <a:lnTo>
                      <a:pt x="2512" y="388"/>
                    </a:lnTo>
                    <a:lnTo>
                      <a:pt x="2512" y="387"/>
                    </a:lnTo>
                    <a:lnTo>
                      <a:pt x="2517" y="384"/>
                    </a:lnTo>
                    <a:lnTo>
                      <a:pt x="2522" y="384"/>
                    </a:lnTo>
                    <a:lnTo>
                      <a:pt x="2528" y="385"/>
                    </a:lnTo>
                    <a:lnTo>
                      <a:pt x="2528" y="385"/>
                    </a:lnTo>
                    <a:lnTo>
                      <a:pt x="2532" y="387"/>
                    </a:lnTo>
                    <a:lnTo>
                      <a:pt x="2534" y="390"/>
                    </a:lnTo>
                    <a:lnTo>
                      <a:pt x="2535" y="391"/>
                    </a:lnTo>
                    <a:lnTo>
                      <a:pt x="2536" y="392"/>
                    </a:lnTo>
                    <a:lnTo>
                      <a:pt x="2536" y="392"/>
                    </a:lnTo>
                    <a:lnTo>
                      <a:pt x="2541" y="394"/>
                    </a:lnTo>
                    <a:lnTo>
                      <a:pt x="2545" y="394"/>
                    </a:lnTo>
                    <a:lnTo>
                      <a:pt x="2551" y="392"/>
                    </a:lnTo>
                    <a:lnTo>
                      <a:pt x="2555" y="391"/>
                    </a:lnTo>
                    <a:lnTo>
                      <a:pt x="2555" y="391"/>
                    </a:lnTo>
                    <a:lnTo>
                      <a:pt x="2566" y="387"/>
                    </a:lnTo>
                    <a:lnTo>
                      <a:pt x="2572" y="384"/>
                    </a:lnTo>
                    <a:lnTo>
                      <a:pt x="2576" y="381"/>
                    </a:lnTo>
                    <a:lnTo>
                      <a:pt x="2576" y="381"/>
                    </a:lnTo>
                    <a:lnTo>
                      <a:pt x="2578" y="378"/>
                    </a:lnTo>
                    <a:lnTo>
                      <a:pt x="2578" y="375"/>
                    </a:lnTo>
                    <a:lnTo>
                      <a:pt x="2578" y="374"/>
                    </a:lnTo>
                    <a:lnTo>
                      <a:pt x="2581" y="372"/>
                    </a:lnTo>
                    <a:lnTo>
                      <a:pt x="2581" y="372"/>
                    </a:lnTo>
                    <a:lnTo>
                      <a:pt x="2583" y="370"/>
                    </a:lnTo>
                    <a:lnTo>
                      <a:pt x="2582" y="367"/>
                    </a:lnTo>
                    <a:lnTo>
                      <a:pt x="2581" y="365"/>
                    </a:lnTo>
                    <a:lnTo>
                      <a:pt x="2578" y="363"/>
                    </a:lnTo>
                    <a:lnTo>
                      <a:pt x="2578" y="363"/>
                    </a:lnTo>
                    <a:lnTo>
                      <a:pt x="2576" y="361"/>
                    </a:lnTo>
                    <a:lnTo>
                      <a:pt x="2575" y="358"/>
                    </a:lnTo>
                    <a:lnTo>
                      <a:pt x="2576" y="355"/>
                    </a:lnTo>
                    <a:lnTo>
                      <a:pt x="2579" y="355"/>
                    </a:lnTo>
                    <a:lnTo>
                      <a:pt x="2579" y="355"/>
                    </a:lnTo>
                    <a:lnTo>
                      <a:pt x="2581" y="354"/>
                    </a:lnTo>
                    <a:lnTo>
                      <a:pt x="2582" y="353"/>
                    </a:lnTo>
                    <a:lnTo>
                      <a:pt x="2583" y="351"/>
                    </a:lnTo>
                    <a:lnTo>
                      <a:pt x="2585" y="350"/>
                    </a:lnTo>
                    <a:lnTo>
                      <a:pt x="2585" y="350"/>
                    </a:lnTo>
                    <a:lnTo>
                      <a:pt x="2588" y="350"/>
                    </a:lnTo>
                    <a:lnTo>
                      <a:pt x="2590" y="350"/>
                    </a:lnTo>
                    <a:lnTo>
                      <a:pt x="2593" y="350"/>
                    </a:lnTo>
                    <a:lnTo>
                      <a:pt x="2593" y="350"/>
                    </a:lnTo>
                    <a:lnTo>
                      <a:pt x="2596" y="348"/>
                    </a:lnTo>
                    <a:lnTo>
                      <a:pt x="2595" y="351"/>
                    </a:lnTo>
                    <a:lnTo>
                      <a:pt x="2592" y="358"/>
                    </a:lnTo>
                    <a:lnTo>
                      <a:pt x="2592" y="358"/>
                    </a:lnTo>
                    <a:lnTo>
                      <a:pt x="2590" y="361"/>
                    </a:lnTo>
                    <a:lnTo>
                      <a:pt x="2593" y="364"/>
                    </a:lnTo>
                    <a:lnTo>
                      <a:pt x="2595" y="367"/>
                    </a:lnTo>
                    <a:lnTo>
                      <a:pt x="2598" y="368"/>
                    </a:lnTo>
                    <a:lnTo>
                      <a:pt x="2598" y="368"/>
                    </a:lnTo>
                    <a:lnTo>
                      <a:pt x="2599" y="370"/>
                    </a:lnTo>
                    <a:lnTo>
                      <a:pt x="2603" y="371"/>
                    </a:lnTo>
                    <a:lnTo>
                      <a:pt x="2609" y="371"/>
                    </a:lnTo>
                    <a:lnTo>
                      <a:pt x="2613" y="370"/>
                    </a:lnTo>
                    <a:lnTo>
                      <a:pt x="2613" y="370"/>
                    </a:lnTo>
                    <a:lnTo>
                      <a:pt x="2616" y="368"/>
                    </a:lnTo>
                    <a:lnTo>
                      <a:pt x="2620" y="368"/>
                    </a:lnTo>
                    <a:lnTo>
                      <a:pt x="2627" y="371"/>
                    </a:lnTo>
                    <a:lnTo>
                      <a:pt x="2635" y="374"/>
                    </a:lnTo>
                    <a:lnTo>
                      <a:pt x="2637" y="375"/>
                    </a:lnTo>
                    <a:lnTo>
                      <a:pt x="2639" y="377"/>
                    </a:lnTo>
                    <a:lnTo>
                      <a:pt x="2639" y="377"/>
                    </a:lnTo>
                    <a:lnTo>
                      <a:pt x="2640" y="381"/>
                    </a:lnTo>
                    <a:lnTo>
                      <a:pt x="2642" y="384"/>
                    </a:lnTo>
                    <a:lnTo>
                      <a:pt x="2645" y="388"/>
                    </a:lnTo>
                    <a:lnTo>
                      <a:pt x="2650" y="391"/>
                    </a:lnTo>
                    <a:lnTo>
                      <a:pt x="2650" y="391"/>
                    </a:lnTo>
                    <a:lnTo>
                      <a:pt x="2656" y="392"/>
                    </a:lnTo>
                    <a:lnTo>
                      <a:pt x="2660" y="394"/>
                    </a:lnTo>
                    <a:lnTo>
                      <a:pt x="2664" y="395"/>
                    </a:lnTo>
                    <a:lnTo>
                      <a:pt x="2666" y="397"/>
                    </a:lnTo>
                    <a:lnTo>
                      <a:pt x="2666" y="397"/>
                    </a:lnTo>
                    <a:lnTo>
                      <a:pt x="2667" y="400"/>
                    </a:lnTo>
                    <a:lnTo>
                      <a:pt x="2669" y="401"/>
                    </a:lnTo>
                    <a:lnTo>
                      <a:pt x="2672" y="401"/>
                    </a:lnTo>
                    <a:lnTo>
                      <a:pt x="2674" y="401"/>
                    </a:lnTo>
                    <a:lnTo>
                      <a:pt x="2674" y="401"/>
                    </a:lnTo>
                    <a:lnTo>
                      <a:pt x="2677" y="401"/>
                    </a:lnTo>
                    <a:lnTo>
                      <a:pt x="2680" y="402"/>
                    </a:lnTo>
                    <a:lnTo>
                      <a:pt x="2682" y="404"/>
                    </a:lnTo>
                    <a:lnTo>
                      <a:pt x="2684" y="402"/>
                    </a:lnTo>
                    <a:lnTo>
                      <a:pt x="2684" y="402"/>
                    </a:lnTo>
                    <a:lnTo>
                      <a:pt x="2686" y="401"/>
                    </a:lnTo>
                    <a:lnTo>
                      <a:pt x="2689" y="401"/>
                    </a:lnTo>
                    <a:lnTo>
                      <a:pt x="2690" y="402"/>
                    </a:lnTo>
                    <a:lnTo>
                      <a:pt x="2693" y="401"/>
                    </a:lnTo>
                    <a:lnTo>
                      <a:pt x="2693" y="401"/>
                    </a:lnTo>
                    <a:lnTo>
                      <a:pt x="2694" y="400"/>
                    </a:lnTo>
                    <a:lnTo>
                      <a:pt x="2693" y="398"/>
                    </a:lnTo>
                    <a:lnTo>
                      <a:pt x="2690" y="395"/>
                    </a:lnTo>
                    <a:lnTo>
                      <a:pt x="2687" y="394"/>
                    </a:lnTo>
                    <a:lnTo>
                      <a:pt x="2686" y="392"/>
                    </a:lnTo>
                    <a:lnTo>
                      <a:pt x="2686" y="391"/>
                    </a:lnTo>
                    <a:lnTo>
                      <a:pt x="2686" y="391"/>
                    </a:lnTo>
                    <a:lnTo>
                      <a:pt x="2687" y="391"/>
                    </a:lnTo>
                    <a:lnTo>
                      <a:pt x="2689" y="391"/>
                    </a:lnTo>
                    <a:lnTo>
                      <a:pt x="2691" y="392"/>
                    </a:lnTo>
                    <a:lnTo>
                      <a:pt x="2694" y="394"/>
                    </a:lnTo>
                    <a:lnTo>
                      <a:pt x="2694" y="394"/>
                    </a:lnTo>
                    <a:lnTo>
                      <a:pt x="2694" y="392"/>
                    </a:lnTo>
                    <a:lnTo>
                      <a:pt x="2694" y="390"/>
                    </a:lnTo>
                    <a:lnTo>
                      <a:pt x="2694" y="387"/>
                    </a:lnTo>
                    <a:lnTo>
                      <a:pt x="2696" y="385"/>
                    </a:lnTo>
                    <a:lnTo>
                      <a:pt x="2696" y="385"/>
                    </a:lnTo>
                    <a:lnTo>
                      <a:pt x="2696" y="382"/>
                    </a:lnTo>
                    <a:lnTo>
                      <a:pt x="2696" y="378"/>
                    </a:lnTo>
                    <a:lnTo>
                      <a:pt x="2694" y="372"/>
                    </a:lnTo>
                    <a:lnTo>
                      <a:pt x="2693" y="370"/>
                    </a:lnTo>
                    <a:lnTo>
                      <a:pt x="2693" y="370"/>
                    </a:lnTo>
                    <a:lnTo>
                      <a:pt x="2691" y="368"/>
                    </a:lnTo>
                    <a:lnTo>
                      <a:pt x="2693" y="367"/>
                    </a:lnTo>
                    <a:lnTo>
                      <a:pt x="2694" y="367"/>
                    </a:lnTo>
                    <a:lnTo>
                      <a:pt x="2699" y="368"/>
                    </a:lnTo>
                    <a:lnTo>
                      <a:pt x="2699" y="368"/>
                    </a:lnTo>
                    <a:lnTo>
                      <a:pt x="2703" y="370"/>
                    </a:lnTo>
                    <a:lnTo>
                      <a:pt x="2707" y="371"/>
                    </a:lnTo>
                    <a:lnTo>
                      <a:pt x="2716" y="371"/>
                    </a:lnTo>
                    <a:lnTo>
                      <a:pt x="2716" y="371"/>
                    </a:lnTo>
                    <a:lnTo>
                      <a:pt x="2717" y="371"/>
                    </a:lnTo>
                    <a:lnTo>
                      <a:pt x="2717" y="370"/>
                    </a:lnTo>
                    <a:lnTo>
                      <a:pt x="2716" y="368"/>
                    </a:lnTo>
                    <a:lnTo>
                      <a:pt x="2713" y="367"/>
                    </a:lnTo>
                    <a:lnTo>
                      <a:pt x="2713" y="367"/>
                    </a:lnTo>
                    <a:lnTo>
                      <a:pt x="2710" y="367"/>
                    </a:lnTo>
                    <a:lnTo>
                      <a:pt x="2711" y="365"/>
                    </a:lnTo>
                    <a:lnTo>
                      <a:pt x="2713" y="365"/>
                    </a:lnTo>
                    <a:lnTo>
                      <a:pt x="2716" y="365"/>
                    </a:lnTo>
                    <a:lnTo>
                      <a:pt x="2716" y="365"/>
                    </a:lnTo>
                    <a:lnTo>
                      <a:pt x="2721" y="368"/>
                    </a:lnTo>
                    <a:lnTo>
                      <a:pt x="2723" y="368"/>
                    </a:lnTo>
                    <a:lnTo>
                      <a:pt x="2724" y="367"/>
                    </a:lnTo>
                    <a:lnTo>
                      <a:pt x="2724" y="367"/>
                    </a:lnTo>
                    <a:lnTo>
                      <a:pt x="2727" y="361"/>
                    </a:lnTo>
                    <a:lnTo>
                      <a:pt x="2730" y="358"/>
                    </a:lnTo>
                    <a:lnTo>
                      <a:pt x="2733" y="358"/>
                    </a:lnTo>
                    <a:lnTo>
                      <a:pt x="2733" y="358"/>
                    </a:lnTo>
                    <a:lnTo>
                      <a:pt x="2736" y="358"/>
                    </a:lnTo>
                    <a:lnTo>
                      <a:pt x="2737" y="357"/>
                    </a:lnTo>
                    <a:lnTo>
                      <a:pt x="2737" y="355"/>
                    </a:lnTo>
                    <a:lnTo>
                      <a:pt x="2734" y="354"/>
                    </a:lnTo>
                    <a:lnTo>
                      <a:pt x="2734" y="354"/>
                    </a:lnTo>
                    <a:close/>
                    <a:moveTo>
                      <a:pt x="1413" y="664"/>
                    </a:moveTo>
                    <a:lnTo>
                      <a:pt x="1413" y="664"/>
                    </a:lnTo>
                    <a:lnTo>
                      <a:pt x="1407" y="668"/>
                    </a:lnTo>
                    <a:lnTo>
                      <a:pt x="1400" y="673"/>
                    </a:lnTo>
                    <a:lnTo>
                      <a:pt x="1387" y="678"/>
                    </a:lnTo>
                    <a:lnTo>
                      <a:pt x="1376" y="683"/>
                    </a:lnTo>
                    <a:lnTo>
                      <a:pt x="1373" y="687"/>
                    </a:lnTo>
                    <a:lnTo>
                      <a:pt x="1371" y="690"/>
                    </a:lnTo>
                    <a:lnTo>
                      <a:pt x="1371" y="690"/>
                    </a:lnTo>
                    <a:lnTo>
                      <a:pt x="1370" y="693"/>
                    </a:lnTo>
                    <a:lnTo>
                      <a:pt x="1367" y="695"/>
                    </a:lnTo>
                    <a:lnTo>
                      <a:pt x="1361" y="698"/>
                    </a:lnTo>
                    <a:lnTo>
                      <a:pt x="1356" y="700"/>
                    </a:lnTo>
                    <a:lnTo>
                      <a:pt x="1343" y="701"/>
                    </a:lnTo>
                    <a:lnTo>
                      <a:pt x="1339" y="701"/>
                    </a:lnTo>
                    <a:lnTo>
                      <a:pt x="1336" y="700"/>
                    </a:lnTo>
                    <a:lnTo>
                      <a:pt x="1336" y="700"/>
                    </a:lnTo>
                    <a:lnTo>
                      <a:pt x="1337" y="698"/>
                    </a:lnTo>
                    <a:lnTo>
                      <a:pt x="1339" y="698"/>
                    </a:lnTo>
                    <a:lnTo>
                      <a:pt x="1349" y="694"/>
                    </a:lnTo>
                    <a:lnTo>
                      <a:pt x="1359" y="690"/>
                    </a:lnTo>
                    <a:lnTo>
                      <a:pt x="1364" y="685"/>
                    </a:lnTo>
                    <a:lnTo>
                      <a:pt x="1367" y="681"/>
                    </a:lnTo>
                    <a:lnTo>
                      <a:pt x="1367" y="681"/>
                    </a:lnTo>
                    <a:lnTo>
                      <a:pt x="1370" y="675"/>
                    </a:lnTo>
                    <a:lnTo>
                      <a:pt x="1374" y="671"/>
                    </a:lnTo>
                    <a:lnTo>
                      <a:pt x="1386" y="663"/>
                    </a:lnTo>
                    <a:lnTo>
                      <a:pt x="1398" y="653"/>
                    </a:lnTo>
                    <a:lnTo>
                      <a:pt x="1404" y="647"/>
                    </a:lnTo>
                    <a:lnTo>
                      <a:pt x="1410" y="640"/>
                    </a:lnTo>
                    <a:lnTo>
                      <a:pt x="1410" y="640"/>
                    </a:lnTo>
                    <a:lnTo>
                      <a:pt x="1415" y="630"/>
                    </a:lnTo>
                    <a:lnTo>
                      <a:pt x="1421" y="619"/>
                    </a:lnTo>
                    <a:lnTo>
                      <a:pt x="1425" y="610"/>
                    </a:lnTo>
                    <a:lnTo>
                      <a:pt x="1428" y="609"/>
                    </a:lnTo>
                    <a:lnTo>
                      <a:pt x="1430" y="607"/>
                    </a:lnTo>
                    <a:lnTo>
                      <a:pt x="1430" y="607"/>
                    </a:lnTo>
                    <a:lnTo>
                      <a:pt x="1431" y="610"/>
                    </a:lnTo>
                    <a:lnTo>
                      <a:pt x="1431" y="616"/>
                    </a:lnTo>
                    <a:lnTo>
                      <a:pt x="1428" y="633"/>
                    </a:lnTo>
                    <a:lnTo>
                      <a:pt x="1425" y="641"/>
                    </a:lnTo>
                    <a:lnTo>
                      <a:pt x="1421" y="651"/>
                    </a:lnTo>
                    <a:lnTo>
                      <a:pt x="1417" y="658"/>
                    </a:lnTo>
                    <a:lnTo>
                      <a:pt x="1413" y="664"/>
                    </a:lnTo>
                    <a:lnTo>
                      <a:pt x="1413" y="664"/>
                    </a:lnTo>
                    <a:close/>
                    <a:moveTo>
                      <a:pt x="1472" y="108"/>
                    </a:moveTo>
                    <a:lnTo>
                      <a:pt x="1472" y="108"/>
                    </a:lnTo>
                    <a:lnTo>
                      <a:pt x="1469" y="111"/>
                    </a:lnTo>
                    <a:lnTo>
                      <a:pt x="1467" y="112"/>
                    </a:lnTo>
                    <a:lnTo>
                      <a:pt x="1464" y="114"/>
                    </a:lnTo>
                    <a:lnTo>
                      <a:pt x="1462" y="114"/>
                    </a:lnTo>
                    <a:lnTo>
                      <a:pt x="1464" y="115"/>
                    </a:lnTo>
                    <a:lnTo>
                      <a:pt x="1464" y="115"/>
                    </a:lnTo>
                    <a:lnTo>
                      <a:pt x="1465" y="118"/>
                    </a:lnTo>
                    <a:lnTo>
                      <a:pt x="1469" y="118"/>
                    </a:lnTo>
                    <a:lnTo>
                      <a:pt x="1479" y="118"/>
                    </a:lnTo>
                    <a:lnTo>
                      <a:pt x="1488" y="115"/>
                    </a:lnTo>
                    <a:lnTo>
                      <a:pt x="1491" y="114"/>
                    </a:lnTo>
                    <a:lnTo>
                      <a:pt x="1492" y="111"/>
                    </a:lnTo>
                    <a:lnTo>
                      <a:pt x="1492" y="111"/>
                    </a:lnTo>
                    <a:lnTo>
                      <a:pt x="1491" y="108"/>
                    </a:lnTo>
                    <a:lnTo>
                      <a:pt x="1489" y="106"/>
                    </a:lnTo>
                    <a:lnTo>
                      <a:pt x="1484" y="105"/>
                    </a:lnTo>
                    <a:lnTo>
                      <a:pt x="1477" y="105"/>
                    </a:lnTo>
                    <a:lnTo>
                      <a:pt x="1474" y="106"/>
                    </a:lnTo>
                    <a:lnTo>
                      <a:pt x="1472" y="108"/>
                    </a:lnTo>
                    <a:lnTo>
                      <a:pt x="1472" y="108"/>
                    </a:lnTo>
                    <a:close/>
                    <a:moveTo>
                      <a:pt x="546" y="146"/>
                    </a:moveTo>
                    <a:lnTo>
                      <a:pt x="546" y="146"/>
                    </a:lnTo>
                    <a:lnTo>
                      <a:pt x="546" y="149"/>
                    </a:lnTo>
                    <a:lnTo>
                      <a:pt x="545" y="152"/>
                    </a:lnTo>
                    <a:lnTo>
                      <a:pt x="541" y="153"/>
                    </a:lnTo>
                    <a:lnTo>
                      <a:pt x="535" y="153"/>
                    </a:lnTo>
                    <a:lnTo>
                      <a:pt x="535" y="153"/>
                    </a:lnTo>
                    <a:lnTo>
                      <a:pt x="532" y="153"/>
                    </a:lnTo>
                    <a:lnTo>
                      <a:pt x="532" y="155"/>
                    </a:lnTo>
                    <a:lnTo>
                      <a:pt x="533" y="158"/>
                    </a:lnTo>
                    <a:lnTo>
                      <a:pt x="538" y="161"/>
                    </a:lnTo>
                    <a:lnTo>
                      <a:pt x="541" y="165"/>
                    </a:lnTo>
                    <a:lnTo>
                      <a:pt x="541" y="165"/>
                    </a:lnTo>
                    <a:lnTo>
                      <a:pt x="541" y="166"/>
                    </a:lnTo>
                    <a:lnTo>
                      <a:pt x="539" y="168"/>
                    </a:lnTo>
                    <a:lnTo>
                      <a:pt x="536" y="168"/>
                    </a:lnTo>
                    <a:lnTo>
                      <a:pt x="532" y="170"/>
                    </a:lnTo>
                    <a:lnTo>
                      <a:pt x="532" y="172"/>
                    </a:lnTo>
                    <a:lnTo>
                      <a:pt x="531" y="175"/>
                    </a:lnTo>
                    <a:lnTo>
                      <a:pt x="531" y="175"/>
                    </a:lnTo>
                    <a:lnTo>
                      <a:pt x="531" y="176"/>
                    </a:lnTo>
                    <a:lnTo>
                      <a:pt x="528" y="178"/>
                    </a:lnTo>
                    <a:lnTo>
                      <a:pt x="522" y="179"/>
                    </a:lnTo>
                    <a:lnTo>
                      <a:pt x="515" y="179"/>
                    </a:lnTo>
                    <a:lnTo>
                      <a:pt x="512" y="182"/>
                    </a:lnTo>
                    <a:lnTo>
                      <a:pt x="511" y="185"/>
                    </a:lnTo>
                    <a:lnTo>
                      <a:pt x="511" y="185"/>
                    </a:lnTo>
                    <a:lnTo>
                      <a:pt x="511" y="188"/>
                    </a:lnTo>
                    <a:lnTo>
                      <a:pt x="511" y="190"/>
                    </a:lnTo>
                    <a:lnTo>
                      <a:pt x="514" y="192"/>
                    </a:lnTo>
                    <a:lnTo>
                      <a:pt x="515" y="193"/>
                    </a:lnTo>
                    <a:lnTo>
                      <a:pt x="521" y="193"/>
                    </a:lnTo>
                    <a:lnTo>
                      <a:pt x="528" y="195"/>
                    </a:lnTo>
                    <a:lnTo>
                      <a:pt x="528" y="195"/>
                    </a:lnTo>
                    <a:lnTo>
                      <a:pt x="529" y="195"/>
                    </a:lnTo>
                    <a:lnTo>
                      <a:pt x="531" y="196"/>
                    </a:lnTo>
                    <a:lnTo>
                      <a:pt x="529" y="199"/>
                    </a:lnTo>
                    <a:lnTo>
                      <a:pt x="528" y="202"/>
                    </a:lnTo>
                    <a:lnTo>
                      <a:pt x="528" y="205"/>
                    </a:lnTo>
                    <a:lnTo>
                      <a:pt x="531" y="206"/>
                    </a:lnTo>
                    <a:lnTo>
                      <a:pt x="531" y="206"/>
                    </a:lnTo>
                    <a:lnTo>
                      <a:pt x="533" y="207"/>
                    </a:lnTo>
                    <a:lnTo>
                      <a:pt x="536" y="207"/>
                    </a:lnTo>
                    <a:lnTo>
                      <a:pt x="538" y="206"/>
                    </a:lnTo>
                    <a:lnTo>
                      <a:pt x="536" y="200"/>
                    </a:lnTo>
                    <a:lnTo>
                      <a:pt x="536" y="200"/>
                    </a:lnTo>
                    <a:lnTo>
                      <a:pt x="536" y="199"/>
                    </a:lnTo>
                    <a:lnTo>
                      <a:pt x="538" y="198"/>
                    </a:lnTo>
                    <a:lnTo>
                      <a:pt x="543" y="200"/>
                    </a:lnTo>
                    <a:lnTo>
                      <a:pt x="546" y="202"/>
                    </a:lnTo>
                    <a:lnTo>
                      <a:pt x="549" y="205"/>
                    </a:lnTo>
                    <a:lnTo>
                      <a:pt x="551" y="207"/>
                    </a:lnTo>
                    <a:lnTo>
                      <a:pt x="549" y="210"/>
                    </a:lnTo>
                    <a:lnTo>
                      <a:pt x="549" y="210"/>
                    </a:lnTo>
                    <a:lnTo>
                      <a:pt x="548" y="212"/>
                    </a:lnTo>
                    <a:lnTo>
                      <a:pt x="548" y="215"/>
                    </a:lnTo>
                    <a:lnTo>
                      <a:pt x="551" y="216"/>
                    </a:lnTo>
                    <a:lnTo>
                      <a:pt x="553" y="217"/>
                    </a:lnTo>
                    <a:lnTo>
                      <a:pt x="562" y="220"/>
                    </a:lnTo>
                    <a:lnTo>
                      <a:pt x="569" y="222"/>
                    </a:lnTo>
                    <a:lnTo>
                      <a:pt x="569" y="222"/>
                    </a:lnTo>
                    <a:lnTo>
                      <a:pt x="593" y="225"/>
                    </a:lnTo>
                    <a:lnTo>
                      <a:pt x="606" y="225"/>
                    </a:lnTo>
                    <a:lnTo>
                      <a:pt x="609" y="223"/>
                    </a:lnTo>
                    <a:lnTo>
                      <a:pt x="612" y="222"/>
                    </a:lnTo>
                    <a:lnTo>
                      <a:pt x="612" y="222"/>
                    </a:lnTo>
                    <a:lnTo>
                      <a:pt x="610" y="219"/>
                    </a:lnTo>
                    <a:lnTo>
                      <a:pt x="609" y="217"/>
                    </a:lnTo>
                    <a:lnTo>
                      <a:pt x="605" y="213"/>
                    </a:lnTo>
                    <a:lnTo>
                      <a:pt x="597" y="209"/>
                    </a:lnTo>
                    <a:lnTo>
                      <a:pt x="589" y="202"/>
                    </a:lnTo>
                    <a:lnTo>
                      <a:pt x="589" y="202"/>
                    </a:lnTo>
                    <a:lnTo>
                      <a:pt x="582" y="193"/>
                    </a:lnTo>
                    <a:lnTo>
                      <a:pt x="579" y="183"/>
                    </a:lnTo>
                    <a:lnTo>
                      <a:pt x="578" y="179"/>
                    </a:lnTo>
                    <a:lnTo>
                      <a:pt x="578" y="173"/>
                    </a:lnTo>
                    <a:lnTo>
                      <a:pt x="580" y="170"/>
                    </a:lnTo>
                    <a:lnTo>
                      <a:pt x="583" y="168"/>
                    </a:lnTo>
                    <a:lnTo>
                      <a:pt x="583" y="168"/>
                    </a:lnTo>
                    <a:lnTo>
                      <a:pt x="587" y="165"/>
                    </a:lnTo>
                    <a:lnTo>
                      <a:pt x="589" y="162"/>
                    </a:lnTo>
                    <a:lnTo>
                      <a:pt x="590" y="158"/>
                    </a:lnTo>
                    <a:lnTo>
                      <a:pt x="592" y="153"/>
                    </a:lnTo>
                    <a:lnTo>
                      <a:pt x="593" y="152"/>
                    </a:lnTo>
                    <a:lnTo>
                      <a:pt x="596" y="149"/>
                    </a:lnTo>
                    <a:lnTo>
                      <a:pt x="596" y="149"/>
                    </a:lnTo>
                    <a:lnTo>
                      <a:pt x="600" y="145"/>
                    </a:lnTo>
                    <a:lnTo>
                      <a:pt x="602" y="142"/>
                    </a:lnTo>
                    <a:lnTo>
                      <a:pt x="605" y="138"/>
                    </a:lnTo>
                    <a:lnTo>
                      <a:pt x="606" y="133"/>
                    </a:lnTo>
                    <a:lnTo>
                      <a:pt x="607" y="132"/>
                    </a:lnTo>
                    <a:lnTo>
                      <a:pt x="610" y="132"/>
                    </a:lnTo>
                    <a:lnTo>
                      <a:pt x="610" y="132"/>
                    </a:lnTo>
                    <a:lnTo>
                      <a:pt x="613" y="131"/>
                    </a:lnTo>
                    <a:lnTo>
                      <a:pt x="615" y="131"/>
                    </a:lnTo>
                    <a:lnTo>
                      <a:pt x="615" y="126"/>
                    </a:lnTo>
                    <a:lnTo>
                      <a:pt x="615" y="124"/>
                    </a:lnTo>
                    <a:lnTo>
                      <a:pt x="616" y="122"/>
                    </a:lnTo>
                    <a:lnTo>
                      <a:pt x="619" y="121"/>
                    </a:lnTo>
                    <a:lnTo>
                      <a:pt x="619" y="121"/>
                    </a:lnTo>
                    <a:lnTo>
                      <a:pt x="622" y="121"/>
                    </a:lnTo>
                    <a:lnTo>
                      <a:pt x="624" y="118"/>
                    </a:lnTo>
                    <a:lnTo>
                      <a:pt x="629" y="114"/>
                    </a:lnTo>
                    <a:lnTo>
                      <a:pt x="629" y="109"/>
                    </a:lnTo>
                    <a:lnTo>
                      <a:pt x="629" y="105"/>
                    </a:lnTo>
                    <a:lnTo>
                      <a:pt x="629" y="105"/>
                    </a:lnTo>
                    <a:lnTo>
                      <a:pt x="629" y="104"/>
                    </a:lnTo>
                    <a:lnTo>
                      <a:pt x="630" y="104"/>
                    </a:lnTo>
                    <a:lnTo>
                      <a:pt x="634" y="104"/>
                    </a:lnTo>
                    <a:lnTo>
                      <a:pt x="639" y="102"/>
                    </a:lnTo>
                    <a:lnTo>
                      <a:pt x="642" y="102"/>
                    </a:lnTo>
                    <a:lnTo>
                      <a:pt x="644" y="101"/>
                    </a:lnTo>
                    <a:lnTo>
                      <a:pt x="644" y="101"/>
                    </a:lnTo>
                    <a:lnTo>
                      <a:pt x="646" y="98"/>
                    </a:lnTo>
                    <a:lnTo>
                      <a:pt x="649" y="98"/>
                    </a:lnTo>
                    <a:lnTo>
                      <a:pt x="656" y="97"/>
                    </a:lnTo>
                    <a:lnTo>
                      <a:pt x="661" y="95"/>
                    </a:lnTo>
                    <a:lnTo>
                      <a:pt x="664" y="92"/>
                    </a:lnTo>
                    <a:lnTo>
                      <a:pt x="666" y="91"/>
                    </a:lnTo>
                    <a:lnTo>
                      <a:pt x="666" y="91"/>
                    </a:lnTo>
                    <a:lnTo>
                      <a:pt x="669" y="87"/>
                    </a:lnTo>
                    <a:lnTo>
                      <a:pt x="677" y="82"/>
                    </a:lnTo>
                    <a:lnTo>
                      <a:pt x="700" y="72"/>
                    </a:lnTo>
                    <a:lnTo>
                      <a:pt x="728" y="64"/>
                    </a:lnTo>
                    <a:lnTo>
                      <a:pt x="755" y="57"/>
                    </a:lnTo>
                    <a:lnTo>
                      <a:pt x="755" y="57"/>
                    </a:lnTo>
                    <a:lnTo>
                      <a:pt x="775" y="51"/>
                    </a:lnTo>
                    <a:lnTo>
                      <a:pt x="784" y="47"/>
                    </a:lnTo>
                    <a:lnTo>
                      <a:pt x="791" y="42"/>
                    </a:lnTo>
                    <a:lnTo>
                      <a:pt x="795" y="40"/>
                    </a:lnTo>
                    <a:lnTo>
                      <a:pt x="798" y="35"/>
                    </a:lnTo>
                    <a:lnTo>
                      <a:pt x="798" y="31"/>
                    </a:lnTo>
                    <a:lnTo>
                      <a:pt x="797" y="28"/>
                    </a:lnTo>
                    <a:lnTo>
                      <a:pt x="797" y="28"/>
                    </a:lnTo>
                    <a:lnTo>
                      <a:pt x="791" y="25"/>
                    </a:lnTo>
                    <a:lnTo>
                      <a:pt x="785" y="25"/>
                    </a:lnTo>
                    <a:lnTo>
                      <a:pt x="778" y="25"/>
                    </a:lnTo>
                    <a:lnTo>
                      <a:pt x="770" y="27"/>
                    </a:lnTo>
                    <a:lnTo>
                      <a:pt x="755" y="32"/>
                    </a:lnTo>
                    <a:lnTo>
                      <a:pt x="747" y="38"/>
                    </a:lnTo>
                    <a:lnTo>
                      <a:pt x="747" y="38"/>
                    </a:lnTo>
                    <a:lnTo>
                      <a:pt x="744" y="40"/>
                    </a:lnTo>
                    <a:lnTo>
                      <a:pt x="740" y="41"/>
                    </a:lnTo>
                    <a:lnTo>
                      <a:pt x="734" y="41"/>
                    </a:lnTo>
                    <a:lnTo>
                      <a:pt x="727" y="42"/>
                    </a:lnTo>
                    <a:lnTo>
                      <a:pt x="721" y="44"/>
                    </a:lnTo>
                    <a:lnTo>
                      <a:pt x="721" y="44"/>
                    </a:lnTo>
                    <a:lnTo>
                      <a:pt x="714" y="47"/>
                    </a:lnTo>
                    <a:lnTo>
                      <a:pt x="704" y="48"/>
                    </a:lnTo>
                    <a:lnTo>
                      <a:pt x="696" y="50"/>
                    </a:lnTo>
                    <a:lnTo>
                      <a:pt x="693" y="48"/>
                    </a:lnTo>
                    <a:lnTo>
                      <a:pt x="688" y="47"/>
                    </a:lnTo>
                    <a:lnTo>
                      <a:pt x="688" y="47"/>
                    </a:lnTo>
                    <a:lnTo>
                      <a:pt x="686" y="45"/>
                    </a:lnTo>
                    <a:lnTo>
                      <a:pt x="683" y="45"/>
                    </a:lnTo>
                    <a:lnTo>
                      <a:pt x="676" y="48"/>
                    </a:lnTo>
                    <a:lnTo>
                      <a:pt x="670" y="51"/>
                    </a:lnTo>
                    <a:lnTo>
                      <a:pt x="666" y="52"/>
                    </a:lnTo>
                    <a:lnTo>
                      <a:pt x="666" y="52"/>
                    </a:lnTo>
                    <a:lnTo>
                      <a:pt x="660" y="52"/>
                    </a:lnTo>
                    <a:lnTo>
                      <a:pt x="656" y="55"/>
                    </a:lnTo>
                    <a:lnTo>
                      <a:pt x="650" y="57"/>
                    </a:lnTo>
                    <a:lnTo>
                      <a:pt x="646" y="58"/>
                    </a:lnTo>
                    <a:lnTo>
                      <a:pt x="646" y="58"/>
                    </a:lnTo>
                    <a:lnTo>
                      <a:pt x="639" y="58"/>
                    </a:lnTo>
                    <a:lnTo>
                      <a:pt x="633" y="61"/>
                    </a:lnTo>
                    <a:lnTo>
                      <a:pt x="627" y="64"/>
                    </a:lnTo>
                    <a:lnTo>
                      <a:pt x="624" y="67"/>
                    </a:lnTo>
                    <a:lnTo>
                      <a:pt x="624" y="67"/>
                    </a:lnTo>
                    <a:lnTo>
                      <a:pt x="622" y="69"/>
                    </a:lnTo>
                    <a:lnTo>
                      <a:pt x="617" y="71"/>
                    </a:lnTo>
                    <a:lnTo>
                      <a:pt x="613" y="72"/>
                    </a:lnTo>
                    <a:lnTo>
                      <a:pt x="613" y="74"/>
                    </a:lnTo>
                    <a:lnTo>
                      <a:pt x="612" y="75"/>
                    </a:lnTo>
                    <a:lnTo>
                      <a:pt x="612" y="75"/>
                    </a:lnTo>
                    <a:lnTo>
                      <a:pt x="610" y="78"/>
                    </a:lnTo>
                    <a:lnTo>
                      <a:pt x="607" y="81"/>
                    </a:lnTo>
                    <a:lnTo>
                      <a:pt x="602" y="81"/>
                    </a:lnTo>
                    <a:lnTo>
                      <a:pt x="599" y="79"/>
                    </a:lnTo>
                    <a:lnTo>
                      <a:pt x="599" y="79"/>
                    </a:lnTo>
                    <a:lnTo>
                      <a:pt x="596" y="78"/>
                    </a:lnTo>
                    <a:lnTo>
                      <a:pt x="595" y="78"/>
                    </a:lnTo>
                    <a:lnTo>
                      <a:pt x="592" y="81"/>
                    </a:lnTo>
                    <a:lnTo>
                      <a:pt x="592" y="85"/>
                    </a:lnTo>
                    <a:lnTo>
                      <a:pt x="592" y="88"/>
                    </a:lnTo>
                    <a:lnTo>
                      <a:pt x="595" y="91"/>
                    </a:lnTo>
                    <a:lnTo>
                      <a:pt x="595" y="91"/>
                    </a:lnTo>
                    <a:lnTo>
                      <a:pt x="596" y="92"/>
                    </a:lnTo>
                    <a:lnTo>
                      <a:pt x="595" y="94"/>
                    </a:lnTo>
                    <a:lnTo>
                      <a:pt x="592" y="97"/>
                    </a:lnTo>
                    <a:lnTo>
                      <a:pt x="586" y="98"/>
                    </a:lnTo>
                    <a:lnTo>
                      <a:pt x="585" y="99"/>
                    </a:lnTo>
                    <a:lnTo>
                      <a:pt x="586" y="101"/>
                    </a:lnTo>
                    <a:lnTo>
                      <a:pt x="586" y="101"/>
                    </a:lnTo>
                    <a:lnTo>
                      <a:pt x="586" y="102"/>
                    </a:lnTo>
                    <a:lnTo>
                      <a:pt x="586" y="104"/>
                    </a:lnTo>
                    <a:lnTo>
                      <a:pt x="583" y="105"/>
                    </a:lnTo>
                    <a:lnTo>
                      <a:pt x="580" y="108"/>
                    </a:lnTo>
                    <a:lnTo>
                      <a:pt x="580" y="109"/>
                    </a:lnTo>
                    <a:lnTo>
                      <a:pt x="580" y="111"/>
                    </a:lnTo>
                    <a:lnTo>
                      <a:pt x="580" y="111"/>
                    </a:lnTo>
                    <a:lnTo>
                      <a:pt x="580" y="112"/>
                    </a:lnTo>
                    <a:lnTo>
                      <a:pt x="580" y="114"/>
                    </a:lnTo>
                    <a:lnTo>
                      <a:pt x="578" y="115"/>
                    </a:lnTo>
                    <a:lnTo>
                      <a:pt x="568" y="118"/>
                    </a:lnTo>
                    <a:lnTo>
                      <a:pt x="568" y="118"/>
                    </a:lnTo>
                    <a:lnTo>
                      <a:pt x="562" y="121"/>
                    </a:lnTo>
                    <a:lnTo>
                      <a:pt x="560" y="124"/>
                    </a:lnTo>
                    <a:lnTo>
                      <a:pt x="559" y="126"/>
                    </a:lnTo>
                    <a:lnTo>
                      <a:pt x="560" y="128"/>
                    </a:lnTo>
                    <a:lnTo>
                      <a:pt x="562" y="129"/>
                    </a:lnTo>
                    <a:lnTo>
                      <a:pt x="565" y="129"/>
                    </a:lnTo>
                    <a:lnTo>
                      <a:pt x="565" y="129"/>
                    </a:lnTo>
                    <a:lnTo>
                      <a:pt x="568" y="131"/>
                    </a:lnTo>
                    <a:lnTo>
                      <a:pt x="566" y="132"/>
                    </a:lnTo>
                    <a:lnTo>
                      <a:pt x="562" y="135"/>
                    </a:lnTo>
                    <a:lnTo>
                      <a:pt x="560" y="136"/>
                    </a:lnTo>
                    <a:lnTo>
                      <a:pt x="560" y="139"/>
                    </a:lnTo>
                    <a:lnTo>
                      <a:pt x="560" y="139"/>
                    </a:lnTo>
                    <a:lnTo>
                      <a:pt x="560" y="141"/>
                    </a:lnTo>
                    <a:lnTo>
                      <a:pt x="559" y="142"/>
                    </a:lnTo>
                    <a:lnTo>
                      <a:pt x="553" y="143"/>
                    </a:lnTo>
                    <a:lnTo>
                      <a:pt x="549" y="143"/>
                    </a:lnTo>
                    <a:lnTo>
                      <a:pt x="548" y="145"/>
                    </a:lnTo>
                    <a:lnTo>
                      <a:pt x="546" y="146"/>
                    </a:lnTo>
                    <a:lnTo>
                      <a:pt x="546" y="146"/>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sp>
            <p:nvSpPr>
              <p:cNvPr id="506" name="France"/>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lumMod val="75000"/>
                  </a:schemeClr>
                </a:solidFill>
                <a:round/>
                <a:headEnd/>
                <a:tailEnd/>
              </a:ln>
            </p:spPr>
            <p:txBody>
              <a:bodyPr vert="horz" wrap="square" lIns="91440" tIns="45720" rIns="91440" bIns="45720" numCol="1" anchor="t" anchorCtr="0" compatLnSpc="1">
                <a:prstTxWarp prst="textNoShape">
                  <a:avLst/>
                </a:prstTxWarp>
              </a:bodyPr>
              <a:lstStyle/>
              <a:p>
                <a:pPr defTabSz="914400" fontAlgn="base">
                  <a:spcBef>
                    <a:spcPct val="0"/>
                  </a:spcBef>
                  <a:spcAft>
                    <a:spcPct val="0"/>
                  </a:spcAft>
                  <a:defRPr/>
                </a:pPr>
                <a:endParaRPr lang="en-US" kern="0" dirty="0">
                  <a:solidFill>
                    <a:srgbClr val="3F3F3F"/>
                  </a:solidFill>
                  <a:latin typeface="Tw Cen MT Regular"/>
                </a:endParaRPr>
              </a:p>
            </p:txBody>
          </p:sp>
        </p:grpSp>
      </p:grpSp>
      <p:sp>
        <p:nvSpPr>
          <p:cNvPr id="181" name="US">
            <a:extLst>
              <a:ext uri="{FF2B5EF4-FFF2-40B4-BE49-F238E27FC236}">
                <a16:creationId xmlns:a16="http://schemas.microsoft.com/office/drawing/2014/main" id="{FEA11CDE-AA80-C946-AFE8-8573A907A80B}"/>
              </a:ext>
            </a:extLst>
          </p:cNvPr>
          <p:cNvSpPr>
            <a:spLocks/>
          </p:cNvSpPr>
          <p:nvPr/>
        </p:nvSpPr>
        <p:spPr bwMode="auto">
          <a:xfrm>
            <a:off x="10786165" y="694268"/>
            <a:ext cx="960206" cy="618373"/>
          </a:xfrm>
          <a:custGeom>
            <a:avLst/>
            <a:gdLst/>
            <a:ahLst/>
            <a:cxnLst/>
            <a:rect l="0" t="0" r="r" b="b"/>
            <a:pathLst>
              <a:path w="21600" h="21600">
                <a:moveTo>
                  <a:pt x="10906" y="20438"/>
                </a:moveTo>
                <a:cubicBezTo>
                  <a:pt x="10907" y="20608"/>
                  <a:pt x="10885" y="20755"/>
                  <a:pt x="10857" y="20817"/>
                </a:cubicBezTo>
                <a:cubicBezTo>
                  <a:pt x="10907" y="20980"/>
                  <a:pt x="11022" y="21209"/>
                  <a:pt x="10955" y="21448"/>
                </a:cubicBezTo>
                <a:cubicBezTo>
                  <a:pt x="10955" y="21457"/>
                  <a:pt x="10955" y="21465"/>
                  <a:pt x="10955" y="21474"/>
                </a:cubicBezTo>
                <a:cubicBezTo>
                  <a:pt x="11009" y="21479"/>
                  <a:pt x="11017" y="21443"/>
                  <a:pt x="11053" y="21549"/>
                </a:cubicBezTo>
                <a:cubicBezTo>
                  <a:pt x="10988" y="21566"/>
                  <a:pt x="10922" y="21583"/>
                  <a:pt x="10857" y="21600"/>
                </a:cubicBezTo>
                <a:cubicBezTo>
                  <a:pt x="10755" y="21311"/>
                  <a:pt x="10173" y="21400"/>
                  <a:pt x="10107" y="21095"/>
                </a:cubicBezTo>
                <a:cubicBezTo>
                  <a:pt x="10068" y="21057"/>
                  <a:pt x="9922" y="20433"/>
                  <a:pt x="9912" y="20312"/>
                </a:cubicBezTo>
                <a:cubicBezTo>
                  <a:pt x="9912" y="20278"/>
                  <a:pt x="9912" y="20244"/>
                  <a:pt x="9912" y="20211"/>
                </a:cubicBezTo>
                <a:cubicBezTo>
                  <a:pt x="9766" y="20044"/>
                  <a:pt x="9288" y="19131"/>
                  <a:pt x="9341" y="19023"/>
                </a:cubicBezTo>
                <a:cubicBezTo>
                  <a:pt x="9276" y="18947"/>
                  <a:pt x="9211" y="18872"/>
                  <a:pt x="9145" y="18796"/>
                </a:cubicBezTo>
                <a:cubicBezTo>
                  <a:pt x="9113" y="18703"/>
                  <a:pt x="9080" y="18611"/>
                  <a:pt x="9048" y="18518"/>
                </a:cubicBezTo>
                <a:cubicBezTo>
                  <a:pt x="8633" y="18150"/>
                  <a:pt x="8413" y="18850"/>
                  <a:pt x="8232" y="19048"/>
                </a:cubicBezTo>
                <a:cubicBezTo>
                  <a:pt x="7918" y="18908"/>
                  <a:pt x="7477" y="18266"/>
                  <a:pt x="7466" y="17735"/>
                </a:cubicBezTo>
                <a:cubicBezTo>
                  <a:pt x="7477" y="17714"/>
                  <a:pt x="7359" y="17600"/>
                  <a:pt x="7417" y="17533"/>
                </a:cubicBezTo>
                <a:cubicBezTo>
                  <a:pt x="7228" y="17251"/>
                  <a:pt x="6891" y="16952"/>
                  <a:pt x="6863" y="16623"/>
                </a:cubicBezTo>
                <a:cubicBezTo>
                  <a:pt x="6597" y="16590"/>
                  <a:pt x="6331" y="16556"/>
                  <a:pt x="6064" y="16522"/>
                </a:cubicBezTo>
                <a:cubicBezTo>
                  <a:pt x="6053" y="16648"/>
                  <a:pt x="6043" y="16775"/>
                  <a:pt x="6032" y="16901"/>
                </a:cubicBezTo>
                <a:cubicBezTo>
                  <a:pt x="5586" y="16825"/>
                  <a:pt x="5140" y="16749"/>
                  <a:pt x="4695" y="16674"/>
                </a:cubicBezTo>
                <a:cubicBezTo>
                  <a:pt x="4558" y="16474"/>
                  <a:pt x="3894" y="15814"/>
                  <a:pt x="3749" y="15790"/>
                </a:cubicBezTo>
                <a:cubicBezTo>
                  <a:pt x="3722" y="15764"/>
                  <a:pt x="3695" y="15739"/>
                  <a:pt x="3668" y="15714"/>
                </a:cubicBezTo>
                <a:cubicBezTo>
                  <a:pt x="3646" y="15688"/>
                  <a:pt x="3624" y="15663"/>
                  <a:pt x="3603" y="15638"/>
                </a:cubicBezTo>
                <a:cubicBezTo>
                  <a:pt x="3586" y="15629"/>
                  <a:pt x="3570" y="15621"/>
                  <a:pt x="3554" y="15613"/>
                </a:cubicBezTo>
                <a:cubicBezTo>
                  <a:pt x="3532" y="15579"/>
                  <a:pt x="3510" y="15545"/>
                  <a:pt x="3489" y="15512"/>
                </a:cubicBezTo>
                <a:cubicBezTo>
                  <a:pt x="3433" y="15407"/>
                  <a:pt x="3091" y="15323"/>
                  <a:pt x="3146" y="15133"/>
                </a:cubicBezTo>
                <a:cubicBezTo>
                  <a:pt x="2799" y="15048"/>
                  <a:pt x="2451" y="14964"/>
                  <a:pt x="2103" y="14880"/>
                </a:cubicBezTo>
                <a:cubicBezTo>
                  <a:pt x="2098" y="14416"/>
                  <a:pt x="2036" y="14016"/>
                  <a:pt x="1858" y="13768"/>
                </a:cubicBezTo>
                <a:cubicBezTo>
                  <a:pt x="1810" y="13752"/>
                  <a:pt x="1761" y="13735"/>
                  <a:pt x="1712" y="13718"/>
                </a:cubicBezTo>
                <a:cubicBezTo>
                  <a:pt x="1642" y="13596"/>
                  <a:pt x="1668" y="13500"/>
                  <a:pt x="1630" y="13465"/>
                </a:cubicBezTo>
                <a:cubicBezTo>
                  <a:pt x="1600" y="13404"/>
                  <a:pt x="1527" y="13427"/>
                  <a:pt x="1483" y="13389"/>
                </a:cubicBezTo>
                <a:cubicBezTo>
                  <a:pt x="1365" y="13286"/>
                  <a:pt x="1317" y="13081"/>
                  <a:pt x="1239" y="12909"/>
                </a:cubicBezTo>
                <a:cubicBezTo>
                  <a:pt x="1057" y="12963"/>
                  <a:pt x="966" y="12752"/>
                  <a:pt x="799" y="12632"/>
                </a:cubicBezTo>
                <a:cubicBezTo>
                  <a:pt x="800" y="12426"/>
                  <a:pt x="896" y="12111"/>
                  <a:pt x="831" y="12000"/>
                </a:cubicBezTo>
                <a:cubicBezTo>
                  <a:pt x="764" y="11999"/>
                  <a:pt x="473" y="10888"/>
                  <a:pt x="473" y="10888"/>
                </a:cubicBezTo>
                <a:cubicBezTo>
                  <a:pt x="463" y="10717"/>
                  <a:pt x="584" y="10699"/>
                  <a:pt x="538" y="10510"/>
                </a:cubicBezTo>
                <a:cubicBezTo>
                  <a:pt x="538" y="10510"/>
                  <a:pt x="366" y="10255"/>
                  <a:pt x="342" y="10181"/>
                </a:cubicBezTo>
                <a:cubicBezTo>
                  <a:pt x="348" y="10029"/>
                  <a:pt x="353" y="9878"/>
                  <a:pt x="359" y="9726"/>
                </a:cubicBezTo>
                <a:cubicBezTo>
                  <a:pt x="375" y="9726"/>
                  <a:pt x="391" y="9726"/>
                  <a:pt x="408" y="9726"/>
                </a:cubicBezTo>
                <a:cubicBezTo>
                  <a:pt x="402" y="9743"/>
                  <a:pt x="397" y="9760"/>
                  <a:pt x="391" y="9777"/>
                </a:cubicBezTo>
                <a:cubicBezTo>
                  <a:pt x="440" y="9725"/>
                  <a:pt x="411" y="9759"/>
                  <a:pt x="424" y="9701"/>
                </a:cubicBezTo>
                <a:cubicBezTo>
                  <a:pt x="422" y="9635"/>
                  <a:pt x="416" y="9544"/>
                  <a:pt x="375" y="9474"/>
                </a:cubicBezTo>
                <a:cubicBezTo>
                  <a:pt x="362" y="9553"/>
                  <a:pt x="373" y="9532"/>
                  <a:pt x="293" y="9575"/>
                </a:cubicBezTo>
                <a:cubicBezTo>
                  <a:pt x="281" y="9450"/>
                  <a:pt x="202" y="9462"/>
                  <a:pt x="179" y="9272"/>
                </a:cubicBezTo>
                <a:cubicBezTo>
                  <a:pt x="199" y="9261"/>
                  <a:pt x="241" y="9161"/>
                  <a:pt x="212" y="9070"/>
                </a:cubicBezTo>
                <a:cubicBezTo>
                  <a:pt x="152" y="8879"/>
                  <a:pt x="147" y="8679"/>
                  <a:pt x="49" y="8438"/>
                </a:cubicBezTo>
                <a:cubicBezTo>
                  <a:pt x="17" y="8361"/>
                  <a:pt x="79" y="8380"/>
                  <a:pt x="82" y="8362"/>
                </a:cubicBezTo>
                <a:cubicBezTo>
                  <a:pt x="136" y="7905"/>
                  <a:pt x="112" y="7693"/>
                  <a:pt x="0" y="7352"/>
                </a:cubicBezTo>
                <a:cubicBezTo>
                  <a:pt x="0" y="7259"/>
                  <a:pt x="0" y="7166"/>
                  <a:pt x="0" y="7074"/>
                </a:cubicBezTo>
                <a:cubicBezTo>
                  <a:pt x="55" y="6959"/>
                  <a:pt x="212" y="6771"/>
                  <a:pt x="212" y="6771"/>
                </a:cubicBezTo>
                <a:cubicBezTo>
                  <a:pt x="207" y="6695"/>
                  <a:pt x="201" y="6619"/>
                  <a:pt x="196" y="6543"/>
                </a:cubicBezTo>
                <a:cubicBezTo>
                  <a:pt x="300" y="6195"/>
                  <a:pt x="185" y="5860"/>
                  <a:pt x="261" y="5533"/>
                </a:cubicBezTo>
                <a:cubicBezTo>
                  <a:pt x="380" y="5021"/>
                  <a:pt x="498" y="4429"/>
                  <a:pt x="734" y="4042"/>
                </a:cubicBezTo>
                <a:cubicBezTo>
                  <a:pt x="739" y="3950"/>
                  <a:pt x="744" y="3857"/>
                  <a:pt x="750" y="3764"/>
                </a:cubicBezTo>
                <a:cubicBezTo>
                  <a:pt x="803" y="3615"/>
                  <a:pt x="857" y="3479"/>
                  <a:pt x="929" y="3360"/>
                </a:cubicBezTo>
                <a:cubicBezTo>
                  <a:pt x="956" y="3150"/>
                  <a:pt x="984" y="2939"/>
                  <a:pt x="1011" y="2728"/>
                </a:cubicBezTo>
                <a:cubicBezTo>
                  <a:pt x="1060" y="2728"/>
                  <a:pt x="1109" y="2728"/>
                  <a:pt x="1157" y="2728"/>
                </a:cubicBezTo>
                <a:cubicBezTo>
                  <a:pt x="1147" y="2712"/>
                  <a:pt x="1136" y="2695"/>
                  <a:pt x="1125" y="2678"/>
                </a:cubicBezTo>
                <a:cubicBezTo>
                  <a:pt x="1114" y="2601"/>
                  <a:pt x="1088" y="2624"/>
                  <a:pt x="1043" y="2501"/>
                </a:cubicBezTo>
                <a:cubicBezTo>
                  <a:pt x="1043" y="2476"/>
                  <a:pt x="1043" y="2451"/>
                  <a:pt x="1043" y="2425"/>
                </a:cubicBezTo>
                <a:cubicBezTo>
                  <a:pt x="1118" y="2410"/>
                  <a:pt x="1092" y="2443"/>
                  <a:pt x="1141" y="2349"/>
                </a:cubicBezTo>
                <a:cubicBezTo>
                  <a:pt x="1119" y="2291"/>
                  <a:pt x="1098" y="2232"/>
                  <a:pt x="1076" y="2173"/>
                </a:cubicBezTo>
                <a:cubicBezTo>
                  <a:pt x="1098" y="2139"/>
                  <a:pt x="1119" y="2105"/>
                  <a:pt x="1141" y="2072"/>
                </a:cubicBezTo>
                <a:cubicBezTo>
                  <a:pt x="1085" y="1737"/>
                  <a:pt x="1114" y="1283"/>
                  <a:pt x="1060" y="1011"/>
                </a:cubicBezTo>
                <a:cubicBezTo>
                  <a:pt x="1087" y="977"/>
                  <a:pt x="1114" y="943"/>
                  <a:pt x="1141" y="909"/>
                </a:cubicBezTo>
                <a:cubicBezTo>
                  <a:pt x="1396" y="1179"/>
                  <a:pt x="1480" y="1194"/>
                  <a:pt x="1761" y="1465"/>
                </a:cubicBezTo>
                <a:cubicBezTo>
                  <a:pt x="1690" y="1515"/>
                  <a:pt x="1666" y="1564"/>
                  <a:pt x="1646" y="1693"/>
                </a:cubicBezTo>
                <a:cubicBezTo>
                  <a:pt x="1704" y="1734"/>
                  <a:pt x="1703" y="1671"/>
                  <a:pt x="1728" y="1819"/>
                </a:cubicBezTo>
                <a:cubicBezTo>
                  <a:pt x="1706" y="1870"/>
                  <a:pt x="1685" y="1920"/>
                  <a:pt x="1663" y="1971"/>
                </a:cubicBezTo>
                <a:cubicBezTo>
                  <a:pt x="1581" y="1943"/>
                  <a:pt x="1463" y="1924"/>
                  <a:pt x="1549" y="2097"/>
                </a:cubicBezTo>
                <a:cubicBezTo>
                  <a:pt x="1549" y="2114"/>
                  <a:pt x="1549" y="2131"/>
                  <a:pt x="1549" y="2147"/>
                </a:cubicBezTo>
                <a:cubicBezTo>
                  <a:pt x="1679" y="2089"/>
                  <a:pt x="1701" y="2077"/>
                  <a:pt x="1810" y="1996"/>
                </a:cubicBezTo>
                <a:cubicBezTo>
                  <a:pt x="1783" y="1838"/>
                  <a:pt x="1797" y="1696"/>
                  <a:pt x="1858" y="1617"/>
                </a:cubicBezTo>
                <a:cubicBezTo>
                  <a:pt x="1897" y="1608"/>
                  <a:pt x="1872" y="1621"/>
                  <a:pt x="1924" y="1592"/>
                </a:cubicBezTo>
                <a:cubicBezTo>
                  <a:pt x="1903" y="1394"/>
                  <a:pt x="1936" y="796"/>
                  <a:pt x="1810" y="707"/>
                </a:cubicBezTo>
                <a:cubicBezTo>
                  <a:pt x="1815" y="682"/>
                  <a:pt x="1820" y="657"/>
                  <a:pt x="1826" y="632"/>
                </a:cubicBezTo>
                <a:cubicBezTo>
                  <a:pt x="2195" y="817"/>
                  <a:pt x="2565" y="1002"/>
                  <a:pt x="2934" y="1187"/>
                </a:cubicBezTo>
                <a:cubicBezTo>
                  <a:pt x="3247" y="1442"/>
                  <a:pt x="3633" y="1374"/>
                  <a:pt x="3945" y="1592"/>
                </a:cubicBezTo>
                <a:cubicBezTo>
                  <a:pt x="4065" y="1617"/>
                  <a:pt x="4184" y="1642"/>
                  <a:pt x="4304" y="1667"/>
                </a:cubicBezTo>
                <a:cubicBezTo>
                  <a:pt x="4879" y="1945"/>
                  <a:pt x="5523" y="1968"/>
                  <a:pt x="6211" y="2198"/>
                </a:cubicBezTo>
                <a:cubicBezTo>
                  <a:pt x="6658" y="2347"/>
                  <a:pt x="7270" y="2517"/>
                  <a:pt x="7792" y="2476"/>
                </a:cubicBezTo>
                <a:cubicBezTo>
                  <a:pt x="8620" y="2411"/>
                  <a:pt x="9622" y="2741"/>
                  <a:pt x="10482" y="2526"/>
                </a:cubicBezTo>
                <a:cubicBezTo>
                  <a:pt x="10769" y="2455"/>
                  <a:pt x="11030" y="2609"/>
                  <a:pt x="11281" y="2451"/>
                </a:cubicBezTo>
                <a:cubicBezTo>
                  <a:pt x="11313" y="2358"/>
                  <a:pt x="11346" y="2265"/>
                  <a:pt x="11379" y="2173"/>
                </a:cubicBezTo>
                <a:cubicBezTo>
                  <a:pt x="11422" y="2235"/>
                  <a:pt x="11404" y="2207"/>
                  <a:pt x="11411" y="2274"/>
                </a:cubicBezTo>
                <a:cubicBezTo>
                  <a:pt x="11474" y="2308"/>
                  <a:pt x="11486" y="2527"/>
                  <a:pt x="11542" y="2653"/>
                </a:cubicBezTo>
                <a:cubicBezTo>
                  <a:pt x="11876" y="2562"/>
                  <a:pt x="11908" y="2790"/>
                  <a:pt x="12275" y="2627"/>
                </a:cubicBezTo>
                <a:cubicBezTo>
                  <a:pt x="12270" y="2644"/>
                  <a:pt x="12264" y="2661"/>
                  <a:pt x="12259" y="2678"/>
                </a:cubicBezTo>
                <a:cubicBezTo>
                  <a:pt x="12297" y="2727"/>
                  <a:pt x="12316" y="2846"/>
                  <a:pt x="12308" y="2905"/>
                </a:cubicBezTo>
                <a:cubicBezTo>
                  <a:pt x="12324" y="2905"/>
                  <a:pt x="12340" y="2905"/>
                  <a:pt x="12357" y="2905"/>
                </a:cubicBezTo>
                <a:cubicBezTo>
                  <a:pt x="12364" y="2838"/>
                  <a:pt x="12347" y="2867"/>
                  <a:pt x="12389" y="2804"/>
                </a:cubicBezTo>
                <a:cubicBezTo>
                  <a:pt x="12477" y="2840"/>
                  <a:pt x="12629" y="2918"/>
                  <a:pt x="12650" y="3032"/>
                </a:cubicBezTo>
                <a:cubicBezTo>
                  <a:pt x="12836" y="2936"/>
                  <a:pt x="12980" y="2880"/>
                  <a:pt x="13286" y="2981"/>
                </a:cubicBezTo>
                <a:cubicBezTo>
                  <a:pt x="13286" y="2990"/>
                  <a:pt x="13286" y="2998"/>
                  <a:pt x="13286" y="3006"/>
                </a:cubicBezTo>
                <a:cubicBezTo>
                  <a:pt x="13275" y="3023"/>
                  <a:pt x="13264" y="3040"/>
                  <a:pt x="13253" y="3057"/>
                </a:cubicBezTo>
                <a:cubicBezTo>
                  <a:pt x="13232" y="3091"/>
                  <a:pt x="13210" y="3124"/>
                  <a:pt x="13188" y="3158"/>
                </a:cubicBezTo>
                <a:cubicBezTo>
                  <a:pt x="12989" y="3165"/>
                  <a:pt x="12767" y="3695"/>
                  <a:pt x="12601" y="4042"/>
                </a:cubicBezTo>
                <a:cubicBezTo>
                  <a:pt x="12585" y="4042"/>
                  <a:pt x="12569" y="4042"/>
                  <a:pt x="12552" y="4042"/>
                </a:cubicBezTo>
                <a:cubicBezTo>
                  <a:pt x="12558" y="4067"/>
                  <a:pt x="12563" y="4093"/>
                  <a:pt x="12569" y="4118"/>
                </a:cubicBezTo>
                <a:cubicBezTo>
                  <a:pt x="12751" y="4120"/>
                  <a:pt x="12820" y="4081"/>
                  <a:pt x="12927" y="3966"/>
                </a:cubicBezTo>
                <a:cubicBezTo>
                  <a:pt x="12944" y="3975"/>
                  <a:pt x="12960" y="3983"/>
                  <a:pt x="12976" y="3992"/>
                </a:cubicBezTo>
                <a:cubicBezTo>
                  <a:pt x="12976" y="4059"/>
                  <a:pt x="12976" y="4126"/>
                  <a:pt x="12976" y="4194"/>
                </a:cubicBezTo>
                <a:cubicBezTo>
                  <a:pt x="13520" y="4191"/>
                  <a:pt x="13650" y="3457"/>
                  <a:pt x="14036" y="3259"/>
                </a:cubicBezTo>
                <a:cubicBezTo>
                  <a:pt x="13984" y="3415"/>
                  <a:pt x="13814" y="3521"/>
                  <a:pt x="13873" y="3815"/>
                </a:cubicBezTo>
                <a:cubicBezTo>
                  <a:pt x="14115" y="3556"/>
                  <a:pt x="14303" y="4210"/>
                  <a:pt x="14525" y="4017"/>
                </a:cubicBezTo>
                <a:cubicBezTo>
                  <a:pt x="14595" y="3956"/>
                  <a:pt x="14681" y="3788"/>
                  <a:pt x="14737" y="3739"/>
                </a:cubicBezTo>
                <a:cubicBezTo>
                  <a:pt x="14821" y="3666"/>
                  <a:pt x="14957" y="3690"/>
                  <a:pt x="14998" y="3562"/>
                </a:cubicBezTo>
                <a:cubicBezTo>
                  <a:pt x="15009" y="3571"/>
                  <a:pt x="15019" y="3579"/>
                  <a:pt x="15030" y="3587"/>
                </a:cubicBezTo>
                <a:cubicBezTo>
                  <a:pt x="15030" y="3725"/>
                  <a:pt x="15018" y="3826"/>
                  <a:pt x="15063" y="3789"/>
                </a:cubicBezTo>
                <a:cubicBezTo>
                  <a:pt x="15074" y="3815"/>
                  <a:pt x="15085" y="3840"/>
                  <a:pt x="15096" y="3865"/>
                </a:cubicBezTo>
                <a:cubicBezTo>
                  <a:pt x="15188" y="3855"/>
                  <a:pt x="15275" y="3832"/>
                  <a:pt x="15307" y="3764"/>
                </a:cubicBezTo>
                <a:cubicBezTo>
                  <a:pt x="15340" y="3809"/>
                  <a:pt x="15465" y="3978"/>
                  <a:pt x="15454" y="4042"/>
                </a:cubicBezTo>
                <a:cubicBezTo>
                  <a:pt x="15443" y="4059"/>
                  <a:pt x="15432" y="4076"/>
                  <a:pt x="15422" y="4093"/>
                </a:cubicBezTo>
                <a:cubicBezTo>
                  <a:pt x="15334" y="4020"/>
                  <a:pt x="15303" y="4026"/>
                  <a:pt x="15226" y="4194"/>
                </a:cubicBezTo>
                <a:cubicBezTo>
                  <a:pt x="15117" y="4101"/>
                  <a:pt x="15069" y="4118"/>
                  <a:pt x="14949" y="4067"/>
                </a:cubicBezTo>
                <a:cubicBezTo>
                  <a:pt x="14921" y="4264"/>
                  <a:pt x="14667" y="4415"/>
                  <a:pt x="14606" y="4623"/>
                </a:cubicBezTo>
                <a:cubicBezTo>
                  <a:pt x="14596" y="4615"/>
                  <a:pt x="14585" y="4606"/>
                  <a:pt x="14574" y="4598"/>
                </a:cubicBezTo>
                <a:cubicBezTo>
                  <a:pt x="14585" y="4547"/>
                  <a:pt x="14596" y="4497"/>
                  <a:pt x="14606" y="4446"/>
                </a:cubicBezTo>
                <a:cubicBezTo>
                  <a:pt x="14596" y="4455"/>
                  <a:pt x="14585" y="4463"/>
                  <a:pt x="14574" y="4472"/>
                </a:cubicBezTo>
                <a:cubicBezTo>
                  <a:pt x="14503" y="4487"/>
                  <a:pt x="14548" y="4478"/>
                  <a:pt x="14492" y="4547"/>
                </a:cubicBezTo>
                <a:cubicBezTo>
                  <a:pt x="14471" y="4522"/>
                  <a:pt x="14449" y="4497"/>
                  <a:pt x="14427" y="4472"/>
                </a:cubicBezTo>
                <a:cubicBezTo>
                  <a:pt x="14407" y="4904"/>
                  <a:pt x="14238" y="5003"/>
                  <a:pt x="14183" y="5608"/>
                </a:cubicBezTo>
                <a:cubicBezTo>
                  <a:pt x="14199" y="5608"/>
                  <a:pt x="14215" y="5608"/>
                  <a:pt x="14232" y="5608"/>
                </a:cubicBezTo>
                <a:cubicBezTo>
                  <a:pt x="14268" y="5486"/>
                  <a:pt x="14379" y="5123"/>
                  <a:pt x="14476" y="5078"/>
                </a:cubicBezTo>
                <a:cubicBezTo>
                  <a:pt x="14481" y="5061"/>
                  <a:pt x="14487" y="5044"/>
                  <a:pt x="14492" y="5027"/>
                </a:cubicBezTo>
                <a:cubicBezTo>
                  <a:pt x="14464" y="5633"/>
                  <a:pt x="14169" y="6493"/>
                  <a:pt x="14427" y="7048"/>
                </a:cubicBezTo>
                <a:cubicBezTo>
                  <a:pt x="14427" y="7124"/>
                  <a:pt x="14427" y="7200"/>
                  <a:pt x="14427" y="7276"/>
                </a:cubicBezTo>
                <a:cubicBezTo>
                  <a:pt x="14427" y="7603"/>
                  <a:pt x="14488" y="7687"/>
                  <a:pt x="14623" y="7857"/>
                </a:cubicBezTo>
                <a:cubicBezTo>
                  <a:pt x="15081" y="7647"/>
                  <a:pt x="15002" y="6567"/>
                  <a:pt x="14770" y="5987"/>
                </a:cubicBezTo>
                <a:cubicBezTo>
                  <a:pt x="14791" y="5693"/>
                  <a:pt x="14813" y="5398"/>
                  <a:pt x="14835" y="5103"/>
                </a:cubicBezTo>
                <a:cubicBezTo>
                  <a:pt x="14954" y="5075"/>
                  <a:pt x="14908" y="4987"/>
                  <a:pt x="14998" y="4876"/>
                </a:cubicBezTo>
                <a:cubicBezTo>
                  <a:pt x="15003" y="4876"/>
                  <a:pt x="15009" y="4876"/>
                  <a:pt x="15014" y="4876"/>
                </a:cubicBezTo>
                <a:cubicBezTo>
                  <a:pt x="15019" y="4943"/>
                  <a:pt x="15025" y="5011"/>
                  <a:pt x="15030" y="5078"/>
                </a:cubicBezTo>
                <a:cubicBezTo>
                  <a:pt x="15057" y="5078"/>
                  <a:pt x="15085" y="5078"/>
                  <a:pt x="15112" y="5078"/>
                </a:cubicBezTo>
                <a:cubicBezTo>
                  <a:pt x="15112" y="4968"/>
                  <a:pt x="15112" y="4859"/>
                  <a:pt x="15112" y="4750"/>
                </a:cubicBezTo>
                <a:cubicBezTo>
                  <a:pt x="15163" y="4681"/>
                  <a:pt x="15182" y="4717"/>
                  <a:pt x="15226" y="4598"/>
                </a:cubicBezTo>
                <a:cubicBezTo>
                  <a:pt x="15181" y="4587"/>
                  <a:pt x="15185" y="4598"/>
                  <a:pt x="15144" y="4522"/>
                </a:cubicBezTo>
                <a:cubicBezTo>
                  <a:pt x="15185" y="4420"/>
                  <a:pt x="15221" y="4355"/>
                  <a:pt x="15307" y="4320"/>
                </a:cubicBezTo>
                <a:cubicBezTo>
                  <a:pt x="15314" y="4381"/>
                  <a:pt x="15763" y="4538"/>
                  <a:pt x="15829" y="4598"/>
                </a:cubicBezTo>
                <a:cubicBezTo>
                  <a:pt x="15759" y="4836"/>
                  <a:pt x="15858" y="4805"/>
                  <a:pt x="15894" y="4977"/>
                </a:cubicBezTo>
                <a:cubicBezTo>
                  <a:pt x="15956" y="5267"/>
                  <a:pt x="15773" y="5648"/>
                  <a:pt x="15731" y="5760"/>
                </a:cubicBezTo>
                <a:cubicBezTo>
                  <a:pt x="15762" y="5795"/>
                  <a:pt x="15757" y="5758"/>
                  <a:pt x="15748" y="5861"/>
                </a:cubicBezTo>
                <a:cubicBezTo>
                  <a:pt x="15769" y="5869"/>
                  <a:pt x="15791" y="5878"/>
                  <a:pt x="15813" y="5886"/>
                </a:cubicBezTo>
                <a:cubicBezTo>
                  <a:pt x="15877" y="5725"/>
                  <a:pt x="15992" y="5464"/>
                  <a:pt x="16139" y="5457"/>
                </a:cubicBezTo>
                <a:cubicBezTo>
                  <a:pt x="16154" y="5691"/>
                  <a:pt x="16357" y="5982"/>
                  <a:pt x="16400" y="6467"/>
                </a:cubicBezTo>
                <a:cubicBezTo>
                  <a:pt x="16351" y="6493"/>
                  <a:pt x="16302" y="6518"/>
                  <a:pt x="16253" y="6543"/>
                </a:cubicBezTo>
                <a:cubicBezTo>
                  <a:pt x="16228" y="6904"/>
                  <a:pt x="16142" y="7175"/>
                  <a:pt x="16123" y="7402"/>
                </a:cubicBezTo>
                <a:cubicBezTo>
                  <a:pt x="16238" y="7453"/>
                  <a:pt x="16349" y="7504"/>
                  <a:pt x="16432" y="7579"/>
                </a:cubicBezTo>
                <a:cubicBezTo>
                  <a:pt x="16446" y="7523"/>
                  <a:pt x="16700" y="7297"/>
                  <a:pt x="16775" y="7276"/>
                </a:cubicBezTo>
                <a:cubicBezTo>
                  <a:pt x="16972" y="7220"/>
                  <a:pt x="17675" y="5894"/>
                  <a:pt x="17769" y="5861"/>
                </a:cubicBezTo>
                <a:cubicBezTo>
                  <a:pt x="17713" y="5619"/>
                  <a:pt x="17674" y="5614"/>
                  <a:pt x="17606" y="5432"/>
                </a:cubicBezTo>
                <a:cubicBezTo>
                  <a:pt x="17803" y="5319"/>
                  <a:pt x="18013" y="5276"/>
                  <a:pt x="18209" y="5154"/>
                </a:cubicBezTo>
                <a:cubicBezTo>
                  <a:pt x="18220" y="5162"/>
                  <a:pt x="18231" y="5171"/>
                  <a:pt x="18242" y="5179"/>
                </a:cubicBezTo>
                <a:cubicBezTo>
                  <a:pt x="18373" y="5029"/>
                  <a:pt x="18477" y="4867"/>
                  <a:pt x="18649" y="4800"/>
                </a:cubicBezTo>
                <a:cubicBezTo>
                  <a:pt x="18588" y="4578"/>
                  <a:pt x="18638" y="4574"/>
                  <a:pt x="18584" y="4320"/>
                </a:cubicBezTo>
                <a:cubicBezTo>
                  <a:pt x="18511" y="4350"/>
                  <a:pt x="18446" y="4324"/>
                  <a:pt x="18470" y="4269"/>
                </a:cubicBezTo>
                <a:cubicBezTo>
                  <a:pt x="18459" y="4278"/>
                  <a:pt x="18448" y="4286"/>
                  <a:pt x="18437" y="4295"/>
                </a:cubicBezTo>
                <a:cubicBezTo>
                  <a:pt x="18455" y="4130"/>
                  <a:pt x="18542" y="4040"/>
                  <a:pt x="18600" y="3966"/>
                </a:cubicBezTo>
                <a:cubicBezTo>
                  <a:pt x="18639" y="3918"/>
                  <a:pt x="18589" y="3810"/>
                  <a:pt x="18617" y="3714"/>
                </a:cubicBezTo>
                <a:cubicBezTo>
                  <a:pt x="18696" y="3440"/>
                  <a:pt x="18917" y="3053"/>
                  <a:pt x="19204" y="3032"/>
                </a:cubicBezTo>
                <a:cubicBezTo>
                  <a:pt x="19204" y="3032"/>
                  <a:pt x="19554" y="2815"/>
                  <a:pt x="19562" y="2830"/>
                </a:cubicBezTo>
                <a:cubicBezTo>
                  <a:pt x="19633" y="2739"/>
                  <a:pt x="19938" y="2494"/>
                  <a:pt x="20019" y="2552"/>
                </a:cubicBezTo>
                <a:cubicBezTo>
                  <a:pt x="20002" y="2442"/>
                  <a:pt x="20016" y="2409"/>
                  <a:pt x="20035" y="2324"/>
                </a:cubicBezTo>
                <a:cubicBezTo>
                  <a:pt x="20124" y="2266"/>
                  <a:pt x="20139" y="2236"/>
                  <a:pt x="20198" y="2248"/>
                </a:cubicBezTo>
                <a:cubicBezTo>
                  <a:pt x="20199" y="1917"/>
                  <a:pt x="20219" y="433"/>
                  <a:pt x="20345" y="227"/>
                </a:cubicBezTo>
                <a:cubicBezTo>
                  <a:pt x="20388" y="261"/>
                  <a:pt x="20432" y="295"/>
                  <a:pt x="20475" y="328"/>
                </a:cubicBezTo>
                <a:cubicBezTo>
                  <a:pt x="20594" y="172"/>
                  <a:pt x="20637" y="93"/>
                  <a:pt x="20703" y="0"/>
                </a:cubicBezTo>
                <a:cubicBezTo>
                  <a:pt x="20757" y="53"/>
                  <a:pt x="20819" y="10"/>
                  <a:pt x="20866" y="101"/>
                </a:cubicBezTo>
                <a:cubicBezTo>
                  <a:pt x="20990" y="235"/>
                  <a:pt x="21137" y="907"/>
                  <a:pt x="21127" y="1036"/>
                </a:cubicBezTo>
                <a:cubicBezTo>
                  <a:pt x="21315" y="985"/>
                  <a:pt x="21439" y="1460"/>
                  <a:pt x="21600" y="1541"/>
                </a:cubicBezTo>
                <a:cubicBezTo>
                  <a:pt x="21587" y="1878"/>
                  <a:pt x="21306" y="2002"/>
                  <a:pt x="21339" y="2198"/>
                </a:cubicBezTo>
                <a:cubicBezTo>
                  <a:pt x="21307" y="2198"/>
                  <a:pt x="21274" y="2198"/>
                  <a:pt x="21241" y="2198"/>
                </a:cubicBezTo>
                <a:cubicBezTo>
                  <a:pt x="21230" y="2265"/>
                  <a:pt x="21220" y="2333"/>
                  <a:pt x="21209" y="2400"/>
                </a:cubicBezTo>
                <a:cubicBezTo>
                  <a:pt x="21182" y="2400"/>
                  <a:pt x="21154" y="2400"/>
                  <a:pt x="21127" y="2400"/>
                </a:cubicBezTo>
                <a:cubicBezTo>
                  <a:pt x="21119" y="2317"/>
                  <a:pt x="21135" y="2328"/>
                  <a:pt x="21062" y="2274"/>
                </a:cubicBezTo>
                <a:cubicBezTo>
                  <a:pt x="21051" y="2307"/>
                  <a:pt x="21040" y="2341"/>
                  <a:pt x="21029" y="2375"/>
                </a:cubicBezTo>
                <a:cubicBezTo>
                  <a:pt x="21236" y="2573"/>
                  <a:pt x="20408" y="3663"/>
                  <a:pt x="20654" y="4042"/>
                </a:cubicBezTo>
                <a:cubicBezTo>
                  <a:pt x="20682" y="4076"/>
                  <a:pt x="20709" y="4110"/>
                  <a:pt x="20736" y="4143"/>
                </a:cubicBezTo>
                <a:cubicBezTo>
                  <a:pt x="20669" y="4204"/>
                  <a:pt x="20660" y="4340"/>
                  <a:pt x="20703" y="4421"/>
                </a:cubicBezTo>
                <a:cubicBezTo>
                  <a:pt x="20763" y="4579"/>
                  <a:pt x="20859" y="4679"/>
                  <a:pt x="20915" y="4800"/>
                </a:cubicBezTo>
                <a:cubicBezTo>
                  <a:pt x="21028" y="4751"/>
                  <a:pt x="21036" y="4785"/>
                  <a:pt x="21111" y="4699"/>
                </a:cubicBezTo>
                <a:cubicBezTo>
                  <a:pt x="21105" y="4657"/>
                  <a:pt x="21100" y="4615"/>
                  <a:pt x="21095" y="4573"/>
                </a:cubicBezTo>
                <a:cubicBezTo>
                  <a:pt x="21073" y="4531"/>
                  <a:pt x="21051" y="4488"/>
                  <a:pt x="21029" y="4446"/>
                </a:cubicBezTo>
                <a:cubicBezTo>
                  <a:pt x="21029" y="4429"/>
                  <a:pt x="21029" y="4413"/>
                  <a:pt x="21029" y="4396"/>
                </a:cubicBezTo>
                <a:cubicBezTo>
                  <a:pt x="21035" y="4396"/>
                  <a:pt x="21040" y="4396"/>
                  <a:pt x="21046" y="4396"/>
                </a:cubicBezTo>
                <a:cubicBezTo>
                  <a:pt x="21105" y="4446"/>
                  <a:pt x="21165" y="4497"/>
                  <a:pt x="21225" y="4547"/>
                </a:cubicBezTo>
                <a:cubicBezTo>
                  <a:pt x="21204" y="4635"/>
                  <a:pt x="21198" y="4637"/>
                  <a:pt x="21192" y="4699"/>
                </a:cubicBezTo>
                <a:cubicBezTo>
                  <a:pt x="21108" y="4756"/>
                  <a:pt x="20865" y="5012"/>
                  <a:pt x="20834" y="5154"/>
                </a:cubicBezTo>
                <a:cubicBezTo>
                  <a:pt x="20750" y="5120"/>
                  <a:pt x="20778" y="5100"/>
                  <a:pt x="20720" y="5053"/>
                </a:cubicBezTo>
                <a:cubicBezTo>
                  <a:pt x="20687" y="5186"/>
                  <a:pt x="20681" y="5323"/>
                  <a:pt x="20622" y="5406"/>
                </a:cubicBezTo>
                <a:cubicBezTo>
                  <a:pt x="20600" y="5411"/>
                  <a:pt x="19634" y="6173"/>
                  <a:pt x="19839" y="6745"/>
                </a:cubicBezTo>
                <a:cubicBezTo>
                  <a:pt x="19883" y="6754"/>
                  <a:pt x="19926" y="6762"/>
                  <a:pt x="19970" y="6771"/>
                </a:cubicBezTo>
                <a:cubicBezTo>
                  <a:pt x="19952" y="7083"/>
                  <a:pt x="19900" y="7882"/>
                  <a:pt x="19742" y="8084"/>
                </a:cubicBezTo>
                <a:cubicBezTo>
                  <a:pt x="19742" y="8008"/>
                  <a:pt x="19742" y="7933"/>
                  <a:pt x="19742" y="7857"/>
                </a:cubicBezTo>
                <a:cubicBezTo>
                  <a:pt x="19652" y="7862"/>
                  <a:pt x="19560" y="7810"/>
                  <a:pt x="19497" y="7756"/>
                </a:cubicBezTo>
                <a:cubicBezTo>
                  <a:pt x="19509" y="7885"/>
                  <a:pt x="19504" y="8124"/>
                  <a:pt x="19595" y="8084"/>
                </a:cubicBezTo>
                <a:cubicBezTo>
                  <a:pt x="19625" y="8188"/>
                  <a:pt x="19674" y="8193"/>
                  <a:pt x="19742" y="8236"/>
                </a:cubicBezTo>
                <a:cubicBezTo>
                  <a:pt x="19760" y="8658"/>
                  <a:pt x="19749" y="9303"/>
                  <a:pt x="19595" y="9448"/>
                </a:cubicBezTo>
                <a:cubicBezTo>
                  <a:pt x="19593" y="9198"/>
                  <a:pt x="19620" y="9215"/>
                  <a:pt x="19644" y="8968"/>
                </a:cubicBezTo>
                <a:cubicBezTo>
                  <a:pt x="19532" y="8969"/>
                  <a:pt x="19551" y="8956"/>
                  <a:pt x="19530" y="8893"/>
                </a:cubicBezTo>
                <a:cubicBezTo>
                  <a:pt x="19471" y="8815"/>
                  <a:pt x="19464" y="8560"/>
                  <a:pt x="19334" y="8615"/>
                </a:cubicBezTo>
                <a:cubicBezTo>
                  <a:pt x="19366" y="8374"/>
                  <a:pt x="19274" y="8420"/>
                  <a:pt x="19236" y="8236"/>
                </a:cubicBezTo>
                <a:cubicBezTo>
                  <a:pt x="19278" y="8204"/>
                  <a:pt x="19257" y="7994"/>
                  <a:pt x="19285" y="7857"/>
                </a:cubicBezTo>
                <a:cubicBezTo>
                  <a:pt x="19263" y="7857"/>
                  <a:pt x="19242" y="7857"/>
                  <a:pt x="19220" y="7857"/>
                </a:cubicBezTo>
                <a:cubicBezTo>
                  <a:pt x="19196" y="7996"/>
                  <a:pt x="19129" y="8178"/>
                  <a:pt x="19106" y="8236"/>
                </a:cubicBezTo>
                <a:cubicBezTo>
                  <a:pt x="19149" y="8326"/>
                  <a:pt x="19241" y="8788"/>
                  <a:pt x="19285" y="8766"/>
                </a:cubicBezTo>
                <a:cubicBezTo>
                  <a:pt x="19307" y="8800"/>
                  <a:pt x="19329" y="8834"/>
                  <a:pt x="19350" y="8867"/>
                </a:cubicBezTo>
                <a:cubicBezTo>
                  <a:pt x="19310" y="8917"/>
                  <a:pt x="19344" y="8882"/>
                  <a:pt x="19301" y="8893"/>
                </a:cubicBezTo>
                <a:cubicBezTo>
                  <a:pt x="19285" y="8918"/>
                  <a:pt x="19269" y="8943"/>
                  <a:pt x="19253" y="8968"/>
                </a:cubicBezTo>
                <a:cubicBezTo>
                  <a:pt x="19286" y="9024"/>
                  <a:pt x="19275" y="9016"/>
                  <a:pt x="19334" y="9044"/>
                </a:cubicBezTo>
                <a:cubicBezTo>
                  <a:pt x="19356" y="9078"/>
                  <a:pt x="19377" y="9112"/>
                  <a:pt x="19399" y="9145"/>
                </a:cubicBezTo>
                <a:cubicBezTo>
                  <a:pt x="19399" y="9196"/>
                  <a:pt x="19399" y="9246"/>
                  <a:pt x="19399" y="9297"/>
                </a:cubicBezTo>
                <a:cubicBezTo>
                  <a:pt x="19372" y="9297"/>
                  <a:pt x="19345" y="9297"/>
                  <a:pt x="19318" y="9297"/>
                </a:cubicBezTo>
                <a:cubicBezTo>
                  <a:pt x="19308" y="9275"/>
                  <a:pt x="19278" y="9210"/>
                  <a:pt x="19236" y="9322"/>
                </a:cubicBezTo>
                <a:cubicBezTo>
                  <a:pt x="19247" y="9314"/>
                  <a:pt x="19258" y="9305"/>
                  <a:pt x="19269" y="9297"/>
                </a:cubicBezTo>
                <a:cubicBezTo>
                  <a:pt x="19296" y="9382"/>
                  <a:pt x="19388" y="9444"/>
                  <a:pt x="19432" y="9524"/>
                </a:cubicBezTo>
                <a:cubicBezTo>
                  <a:pt x="19405" y="9550"/>
                  <a:pt x="19377" y="9575"/>
                  <a:pt x="19350" y="9600"/>
                </a:cubicBezTo>
                <a:cubicBezTo>
                  <a:pt x="19350" y="9625"/>
                  <a:pt x="19350" y="9651"/>
                  <a:pt x="19350" y="9676"/>
                </a:cubicBezTo>
                <a:cubicBezTo>
                  <a:pt x="19422" y="9691"/>
                  <a:pt x="19429" y="9711"/>
                  <a:pt x="19464" y="9827"/>
                </a:cubicBezTo>
                <a:cubicBezTo>
                  <a:pt x="19389" y="9793"/>
                  <a:pt x="19366" y="9748"/>
                  <a:pt x="19318" y="9878"/>
                </a:cubicBezTo>
                <a:cubicBezTo>
                  <a:pt x="19360" y="9889"/>
                  <a:pt x="19327" y="9853"/>
                  <a:pt x="19367" y="9903"/>
                </a:cubicBezTo>
                <a:cubicBezTo>
                  <a:pt x="19454" y="9895"/>
                  <a:pt x="19541" y="9886"/>
                  <a:pt x="19627" y="9878"/>
                </a:cubicBezTo>
                <a:cubicBezTo>
                  <a:pt x="19660" y="9954"/>
                  <a:pt x="19693" y="10029"/>
                  <a:pt x="19725" y="10105"/>
                </a:cubicBezTo>
                <a:cubicBezTo>
                  <a:pt x="19665" y="10168"/>
                  <a:pt x="19723" y="10326"/>
                  <a:pt x="19758" y="10434"/>
                </a:cubicBezTo>
                <a:cubicBezTo>
                  <a:pt x="19569" y="10458"/>
                  <a:pt x="19632" y="10583"/>
                  <a:pt x="19432" y="10535"/>
                </a:cubicBezTo>
                <a:cubicBezTo>
                  <a:pt x="19437" y="10619"/>
                  <a:pt x="19443" y="10703"/>
                  <a:pt x="19448" y="10787"/>
                </a:cubicBezTo>
                <a:cubicBezTo>
                  <a:pt x="19464" y="10787"/>
                  <a:pt x="19481" y="10787"/>
                  <a:pt x="19497" y="10787"/>
                </a:cubicBezTo>
                <a:cubicBezTo>
                  <a:pt x="19633" y="10635"/>
                  <a:pt x="19689" y="10731"/>
                  <a:pt x="19790" y="10737"/>
                </a:cubicBezTo>
                <a:cubicBezTo>
                  <a:pt x="19801" y="10678"/>
                  <a:pt x="19812" y="10619"/>
                  <a:pt x="19823" y="10560"/>
                </a:cubicBezTo>
                <a:cubicBezTo>
                  <a:pt x="19884" y="10606"/>
                  <a:pt x="19892" y="10606"/>
                  <a:pt x="19888" y="10686"/>
                </a:cubicBezTo>
                <a:cubicBezTo>
                  <a:pt x="19899" y="10686"/>
                  <a:pt x="19910" y="10686"/>
                  <a:pt x="19921" y="10686"/>
                </a:cubicBezTo>
                <a:cubicBezTo>
                  <a:pt x="19902" y="10883"/>
                  <a:pt x="19874" y="11094"/>
                  <a:pt x="19774" y="11116"/>
                </a:cubicBezTo>
                <a:cubicBezTo>
                  <a:pt x="19746" y="11207"/>
                  <a:pt x="19661" y="11123"/>
                  <a:pt x="19611" y="11091"/>
                </a:cubicBezTo>
                <a:cubicBezTo>
                  <a:pt x="19570" y="11277"/>
                  <a:pt x="19539" y="11196"/>
                  <a:pt x="19513" y="11343"/>
                </a:cubicBezTo>
                <a:cubicBezTo>
                  <a:pt x="19551" y="11335"/>
                  <a:pt x="19589" y="11326"/>
                  <a:pt x="19627" y="11318"/>
                </a:cubicBezTo>
                <a:cubicBezTo>
                  <a:pt x="19617" y="11410"/>
                  <a:pt x="19606" y="11503"/>
                  <a:pt x="19595" y="11596"/>
                </a:cubicBezTo>
                <a:cubicBezTo>
                  <a:pt x="19530" y="11600"/>
                  <a:pt x="19539" y="11596"/>
                  <a:pt x="19481" y="11646"/>
                </a:cubicBezTo>
                <a:cubicBezTo>
                  <a:pt x="19486" y="11663"/>
                  <a:pt x="19492" y="11680"/>
                  <a:pt x="19497" y="11697"/>
                </a:cubicBezTo>
                <a:cubicBezTo>
                  <a:pt x="19508" y="11688"/>
                  <a:pt x="19519" y="11680"/>
                  <a:pt x="19530" y="11672"/>
                </a:cubicBezTo>
                <a:cubicBezTo>
                  <a:pt x="19640" y="11706"/>
                  <a:pt x="19643" y="11556"/>
                  <a:pt x="19725" y="11520"/>
                </a:cubicBezTo>
                <a:cubicBezTo>
                  <a:pt x="19736" y="11562"/>
                  <a:pt x="19747" y="11604"/>
                  <a:pt x="19758" y="11646"/>
                </a:cubicBezTo>
                <a:cubicBezTo>
                  <a:pt x="19718" y="11689"/>
                  <a:pt x="19764" y="11740"/>
                  <a:pt x="19709" y="11722"/>
                </a:cubicBezTo>
                <a:cubicBezTo>
                  <a:pt x="19709" y="11722"/>
                  <a:pt x="19360" y="12092"/>
                  <a:pt x="19285" y="12227"/>
                </a:cubicBezTo>
                <a:cubicBezTo>
                  <a:pt x="19278" y="12328"/>
                  <a:pt x="19280" y="12621"/>
                  <a:pt x="19187" y="12707"/>
                </a:cubicBezTo>
                <a:cubicBezTo>
                  <a:pt x="19118" y="12772"/>
                  <a:pt x="18993" y="12770"/>
                  <a:pt x="18926" y="12884"/>
                </a:cubicBezTo>
                <a:cubicBezTo>
                  <a:pt x="18900" y="13144"/>
                  <a:pt x="18386" y="14513"/>
                  <a:pt x="18144" y="14476"/>
                </a:cubicBezTo>
                <a:cubicBezTo>
                  <a:pt x="18175" y="14773"/>
                  <a:pt x="18053" y="15269"/>
                  <a:pt x="17997" y="15613"/>
                </a:cubicBezTo>
                <a:cubicBezTo>
                  <a:pt x="18019" y="15781"/>
                  <a:pt x="18041" y="15949"/>
                  <a:pt x="18062" y="16118"/>
                </a:cubicBezTo>
                <a:cubicBezTo>
                  <a:pt x="18051" y="16139"/>
                  <a:pt x="17881" y="16296"/>
                  <a:pt x="17981" y="16421"/>
                </a:cubicBezTo>
                <a:cubicBezTo>
                  <a:pt x="17988" y="16475"/>
                  <a:pt x="17975" y="16464"/>
                  <a:pt x="18014" y="16522"/>
                </a:cubicBezTo>
                <a:cubicBezTo>
                  <a:pt x="18011" y="16327"/>
                  <a:pt x="18022" y="16275"/>
                  <a:pt x="18079" y="16219"/>
                </a:cubicBezTo>
                <a:cubicBezTo>
                  <a:pt x="18084" y="16219"/>
                  <a:pt x="18090" y="16219"/>
                  <a:pt x="18095" y="16219"/>
                </a:cubicBezTo>
                <a:cubicBezTo>
                  <a:pt x="18094" y="16791"/>
                  <a:pt x="18350" y="17152"/>
                  <a:pt x="18600" y="17608"/>
                </a:cubicBezTo>
                <a:cubicBezTo>
                  <a:pt x="18584" y="17617"/>
                  <a:pt x="18568" y="17625"/>
                  <a:pt x="18552" y="17634"/>
                </a:cubicBezTo>
                <a:cubicBezTo>
                  <a:pt x="18513" y="17580"/>
                  <a:pt x="18553" y="17623"/>
                  <a:pt x="18503" y="17608"/>
                </a:cubicBezTo>
                <a:cubicBezTo>
                  <a:pt x="18638" y="17966"/>
                  <a:pt x="19334" y="19416"/>
                  <a:pt x="18878" y="20413"/>
                </a:cubicBezTo>
                <a:cubicBezTo>
                  <a:pt x="18679" y="20416"/>
                  <a:pt x="18793" y="20503"/>
                  <a:pt x="18633" y="20463"/>
                </a:cubicBezTo>
                <a:cubicBezTo>
                  <a:pt x="18644" y="20438"/>
                  <a:pt x="18655" y="20413"/>
                  <a:pt x="18666" y="20387"/>
                </a:cubicBezTo>
                <a:cubicBezTo>
                  <a:pt x="18708" y="20377"/>
                  <a:pt x="18675" y="20412"/>
                  <a:pt x="18715" y="20362"/>
                </a:cubicBezTo>
                <a:cubicBezTo>
                  <a:pt x="18715" y="20345"/>
                  <a:pt x="18715" y="20328"/>
                  <a:pt x="18715" y="20312"/>
                </a:cubicBezTo>
                <a:cubicBezTo>
                  <a:pt x="18321" y="20193"/>
                  <a:pt x="18190" y="19303"/>
                  <a:pt x="18046" y="19200"/>
                </a:cubicBezTo>
                <a:cubicBezTo>
                  <a:pt x="17954" y="19134"/>
                  <a:pt x="17914" y="19252"/>
                  <a:pt x="17867" y="19175"/>
                </a:cubicBezTo>
                <a:cubicBezTo>
                  <a:pt x="17783" y="19037"/>
                  <a:pt x="17792" y="18872"/>
                  <a:pt x="17720" y="18846"/>
                </a:cubicBezTo>
                <a:cubicBezTo>
                  <a:pt x="17762" y="18733"/>
                  <a:pt x="17818" y="18628"/>
                  <a:pt x="17720" y="18493"/>
                </a:cubicBezTo>
                <a:cubicBezTo>
                  <a:pt x="17664" y="18552"/>
                  <a:pt x="17683" y="18523"/>
                  <a:pt x="17671" y="18594"/>
                </a:cubicBezTo>
                <a:cubicBezTo>
                  <a:pt x="17622" y="18545"/>
                  <a:pt x="17654" y="18585"/>
                  <a:pt x="17639" y="18518"/>
                </a:cubicBezTo>
                <a:cubicBezTo>
                  <a:pt x="17536" y="18391"/>
                  <a:pt x="17650" y="17864"/>
                  <a:pt x="17573" y="17684"/>
                </a:cubicBezTo>
                <a:cubicBezTo>
                  <a:pt x="17458" y="17412"/>
                  <a:pt x="17272" y="17512"/>
                  <a:pt x="17166" y="17305"/>
                </a:cubicBezTo>
                <a:cubicBezTo>
                  <a:pt x="17086" y="17149"/>
                  <a:pt x="17113" y="17121"/>
                  <a:pt x="17003" y="16952"/>
                </a:cubicBezTo>
                <a:cubicBezTo>
                  <a:pt x="16911" y="16960"/>
                  <a:pt x="16818" y="16968"/>
                  <a:pt x="16726" y="16977"/>
                </a:cubicBezTo>
                <a:cubicBezTo>
                  <a:pt x="16733" y="17043"/>
                  <a:pt x="16765" y="17187"/>
                  <a:pt x="16693" y="17128"/>
                </a:cubicBezTo>
                <a:cubicBezTo>
                  <a:pt x="16684" y="17235"/>
                  <a:pt x="16447" y="17372"/>
                  <a:pt x="16400" y="17331"/>
                </a:cubicBezTo>
                <a:cubicBezTo>
                  <a:pt x="16357" y="17317"/>
                  <a:pt x="16172" y="17017"/>
                  <a:pt x="16155" y="17027"/>
                </a:cubicBezTo>
                <a:cubicBezTo>
                  <a:pt x="15885" y="16983"/>
                  <a:pt x="15784" y="16974"/>
                  <a:pt x="15471" y="17002"/>
                </a:cubicBezTo>
                <a:cubicBezTo>
                  <a:pt x="15464" y="17182"/>
                  <a:pt x="15464" y="17107"/>
                  <a:pt x="15405" y="17179"/>
                </a:cubicBezTo>
                <a:cubicBezTo>
                  <a:pt x="15346" y="17187"/>
                  <a:pt x="15286" y="17196"/>
                  <a:pt x="15226" y="17204"/>
                </a:cubicBezTo>
                <a:cubicBezTo>
                  <a:pt x="15167" y="17127"/>
                  <a:pt x="15189" y="17088"/>
                  <a:pt x="15096" y="17027"/>
                </a:cubicBezTo>
                <a:cubicBezTo>
                  <a:pt x="15101" y="17044"/>
                  <a:pt x="15106" y="17061"/>
                  <a:pt x="15112" y="17078"/>
                </a:cubicBezTo>
                <a:cubicBezTo>
                  <a:pt x="15044" y="17136"/>
                  <a:pt x="15082" y="17174"/>
                  <a:pt x="15030" y="17229"/>
                </a:cubicBezTo>
                <a:cubicBezTo>
                  <a:pt x="14911" y="17238"/>
                  <a:pt x="14791" y="17246"/>
                  <a:pt x="14672" y="17255"/>
                </a:cubicBezTo>
                <a:cubicBezTo>
                  <a:pt x="14615" y="17309"/>
                  <a:pt x="14546" y="17475"/>
                  <a:pt x="14476" y="17482"/>
                </a:cubicBezTo>
                <a:cubicBezTo>
                  <a:pt x="14375" y="17527"/>
                  <a:pt x="14219" y="17431"/>
                  <a:pt x="14199" y="17356"/>
                </a:cubicBezTo>
                <a:cubicBezTo>
                  <a:pt x="14128" y="17398"/>
                  <a:pt x="14058" y="17440"/>
                  <a:pt x="13987" y="17482"/>
                </a:cubicBezTo>
                <a:cubicBezTo>
                  <a:pt x="13998" y="17507"/>
                  <a:pt x="14009" y="17533"/>
                  <a:pt x="14020" y="17558"/>
                </a:cubicBezTo>
                <a:cubicBezTo>
                  <a:pt x="14060" y="17596"/>
                  <a:pt x="14034" y="17588"/>
                  <a:pt x="14069" y="17659"/>
                </a:cubicBezTo>
                <a:cubicBezTo>
                  <a:pt x="14134" y="17659"/>
                  <a:pt x="14199" y="17659"/>
                  <a:pt x="14264" y="17659"/>
                </a:cubicBezTo>
                <a:cubicBezTo>
                  <a:pt x="14264" y="17659"/>
                  <a:pt x="14274" y="17499"/>
                  <a:pt x="14297" y="17583"/>
                </a:cubicBezTo>
                <a:cubicBezTo>
                  <a:pt x="14319" y="17583"/>
                  <a:pt x="14340" y="17583"/>
                  <a:pt x="14362" y="17583"/>
                </a:cubicBezTo>
                <a:cubicBezTo>
                  <a:pt x="14362" y="17625"/>
                  <a:pt x="14362" y="17667"/>
                  <a:pt x="14362" y="17710"/>
                </a:cubicBezTo>
                <a:cubicBezTo>
                  <a:pt x="14438" y="17693"/>
                  <a:pt x="14514" y="17676"/>
                  <a:pt x="14590" y="17659"/>
                </a:cubicBezTo>
                <a:cubicBezTo>
                  <a:pt x="14606" y="17684"/>
                  <a:pt x="14623" y="17710"/>
                  <a:pt x="14639" y="17735"/>
                </a:cubicBezTo>
                <a:cubicBezTo>
                  <a:pt x="14621" y="17806"/>
                  <a:pt x="14625" y="17771"/>
                  <a:pt x="14623" y="17836"/>
                </a:cubicBezTo>
                <a:cubicBezTo>
                  <a:pt x="14515" y="17849"/>
                  <a:pt x="14525" y="17869"/>
                  <a:pt x="14476" y="17962"/>
                </a:cubicBezTo>
                <a:cubicBezTo>
                  <a:pt x="14497" y="18043"/>
                  <a:pt x="14471" y="18020"/>
                  <a:pt x="14509" y="18063"/>
                </a:cubicBezTo>
                <a:cubicBezTo>
                  <a:pt x="14552" y="18152"/>
                  <a:pt x="14666" y="18169"/>
                  <a:pt x="14737" y="18291"/>
                </a:cubicBezTo>
                <a:cubicBezTo>
                  <a:pt x="14731" y="18307"/>
                  <a:pt x="14726" y="18324"/>
                  <a:pt x="14721" y="18341"/>
                </a:cubicBezTo>
                <a:cubicBezTo>
                  <a:pt x="14693" y="18392"/>
                  <a:pt x="14666" y="18442"/>
                  <a:pt x="14639" y="18493"/>
                </a:cubicBezTo>
                <a:cubicBezTo>
                  <a:pt x="14634" y="18493"/>
                  <a:pt x="14628" y="18493"/>
                  <a:pt x="14623" y="18493"/>
                </a:cubicBezTo>
                <a:cubicBezTo>
                  <a:pt x="14598" y="18446"/>
                  <a:pt x="14232" y="18038"/>
                  <a:pt x="14232" y="18038"/>
                </a:cubicBezTo>
                <a:cubicBezTo>
                  <a:pt x="14201" y="17976"/>
                  <a:pt x="14223" y="18014"/>
                  <a:pt x="14150" y="17987"/>
                </a:cubicBezTo>
                <a:cubicBezTo>
                  <a:pt x="14150" y="18005"/>
                  <a:pt x="14158" y="18080"/>
                  <a:pt x="14134" y="18038"/>
                </a:cubicBezTo>
                <a:cubicBezTo>
                  <a:pt x="14152" y="18110"/>
                  <a:pt x="14148" y="18075"/>
                  <a:pt x="14150" y="18139"/>
                </a:cubicBezTo>
                <a:cubicBezTo>
                  <a:pt x="14226" y="18149"/>
                  <a:pt x="14224" y="18118"/>
                  <a:pt x="14264" y="18265"/>
                </a:cubicBezTo>
                <a:cubicBezTo>
                  <a:pt x="14270" y="18316"/>
                  <a:pt x="14275" y="18366"/>
                  <a:pt x="14280" y="18417"/>
                </a:cubicBezTo>
                <a:lnTo>
                  <a:pt x="13971" y="18518"/>
                </a:lnTo>
                <a:cubicBezTo>
                  <a:pt x="13926" y="18546"/>
                  <a:pt x="13927" y="18584"/>
                  <a:pt x="13922" y="18619"/>
                </a:cubicBezTo>
                <a:cubicBezTo>
                  <a:pt x="13807" y="18584"/>
                  <a:pt x="13776" y="18535"/>
                  <a:pt x="13726" y="18467"/>
                </a:cubicBezTo>
                <a:cubicBezTo>
                  <a:pt x="13735" y="18343"/>
                  <a:pt x="13738" y="18057"/>
                  <a:pt x="13694" y="17987"/>
                </a:cubicBezTo>
                <a:cubicBezTo>
                  <a:pt x="13675" y="17917"/>
                  <a:pt x="13622" y="17920"/>
                  <a:pt x="13579" y="17886"/>
                </a:cubicBezTo>
                <a:cubicBezTo>
                  <a:pt x="13615" y="18030"/>
                  <a:pt x="13702" y="18156"/>
                  <a:pt x="13661" y="18265"/>
                </a:cubicBezTo>
                <a:cubicBezTo>
                  <a:pt x="13624" y="18179"/>
                  <a:pt x="13470" y="18166"/>
                  <a:pt x="13433" y="18063"/>
                </a:cubicBezTo>
                <a:cubicBezTo>
                  <a:pt x="13370" y="18106"/>
                  <a:pt x="13298" y="18171"/>
                  <a:pt x="13302" y="18316"/>
                </a:cubicBezTo>
                <a:cubicBezTo>
                  <a:pt x="13059" y="18321"/>
                  <a:pt x="12874" y="18316"/>
                  <a:pt x="12797" y="18189"/>
                </a:cubicBezTo>
                <a:cubicBezTo>
                  <a:pt x="12730" y="18269"/>
                  <a:pt x="12183" y="18545"/>
                  <a:pt x="12129" y="18568"/>
                </a:cubicBezTo>
                <a:cubicBezTo>
                  <a:pt x="12161" y="18477"/>
                  <a:pt x="12156" y="18519"/>
                  <a:pt x="12161" y="18417"/>
                </a:cubicBezTo>
                <a:cubicBezTo>
                  <a:pt x="12145" y="18375"/>
                  <a:pt x="12129" y="18333"/>
                  <a:pt x="12112" y="18291"/>
                </a:cubicBezTo>
                <a:cubicBezTo>
                  <a:pt x="12096" y="18291"/>
                  <a:pt x="12080" y="18291"/>
                  <a:pt x="12063" y="18291"/>
                </a:cubicBezTo>
                <a:cubicBezTo>
                  <a:pt x="12009" y="19063"/>
                  <a:pt x="11686" y="19159"/>
                  <a:pt x="11346" y="19225"/>
                </a:cubicBezTo>
                <a:cubicBezTo>
                  <a:pt x="11346" y="19234"/>
                  <a:pt x="11346" y="19242"/>
                  <a:pt x="11346" y="19251"/>
                </a:cubicBezTo>
                <a:cubicBezTo>
                  <a:pt x="11372" y="19342"/>
                  <a:pt x="11401" y="19309"/>
                  <a:pt x="11362" y="19377"/>
                </a:cubicBezTo>
                <a:cubicBezTo>
                  <a:pt x="11306" y="19393"/>
                  <a:pt x="11312" y="19392"/>
                  <a:pt x="11248" y="19478"/>
                </a:cubicBezTo>
                <a:cubicBezTo>
                  <a:pt x="11216" y="19384"/>
                  <a:pt x="11255" y="19437"/>
                  <a:pt x="11183" y="19402"/>
                </a:cubicBezTo>
                <a:cubicBezTo>
                  <a:pt x="11183" y="19631"/>
                  <a:pt x="11118" y="19553"/>
                  <a:pt x="11085" y="19731"/>
                </a:cubicBezTo>
                <a:cubicBezTo>
                  <a:pt x="11002" y="19720"/>
                  <a:pt x="11027" y="19729"/>
                  <a:pt x="11004" y="19756"/>
                </a:cubicBezTo>
                <a:cubicBezTo>
                  <a:pt x="10982" y="19795"/>
                  <a:pt x="10983" y="19868"/>
                  <a:pt x="10988" y="19958"/>
                </a:cubicBezTo>
                <a:cubicBezTo>
                  <a:pt x="10955" y="19961"/>
                  <a:pt x="10903" y="19955"/>
                  <a:pt x="10873" y="20034"/>
                </a:cubicBezTo>
                <a:cubicBezTo>
                  <a:pt x="10884" y="20034"/>
                  <a:pt x="10895" y="20034"/>
                  <a:pt x="10906" y="20034"/>
                </a:cubicBezTo>
                <a:cubicBezTo>
                  <a:pt x="10931" y="20080"/>
                  <a:pt x="10903" y="20065"/>
                  <a:pt x="10955" y="20059"/>
                </a:cubicBezTo>
                <a:cubicBezTo>
                  <a:pt x="10923" y="20201"/>
                  <a:pt x="10912" y="20209"/>
                  <a:pt x="10922" y="20362"/>
                </a:cubicBezTo>
                <a:cubicBezTo>
                  <a:pt x="10890" y="20345"/>
                  <a:pt x="10857" y="20328"/>
                  <a:pt x="10824" y="20312"/>
                </a:cubicBezTo>
                <a:cubicBezTo>
                  <a:pt x="10819" y="20337"/>
                  <a:pt x="10814" y="20362"/>
                  <a:pt x="10808" y="20387"/>
                </a:cubicBezTo>
                <a:cubicBezTo>
                  <a:pt x="10814" y="20404"/>
                  <a:pt x="10819" y="20421"/>
                  <a:pt x="10824" y="20438"/>
                </a:cubicBezTo>
                <a:cubicBezTo>
                  <a:pt x="10852" y="20438"/>
                  <a:pt x="10879" y="20438"/>
                  <a:pt x="10906" y="20438"/>
                </a:cubicBezTo>
                <a:close/>
                <a:moveTo>
                  <a:pt x="10906" y="20438"/>
                </a:moveTo>
              </a:path>
            </a:pathLst>
          </a:custGeom>
          <a:solidFill>
            <a:schemeClr val="accent1"/>
          </a:solidFill>
          <a:ln>
            <a:noFill/>
          </a:ln>
          <a:extLs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dirty="0"/>
          </a:p>
        </p:txBody>
      </p:sp>
      <p:sp>
        <p:nvSpPr>
          <p:cNvPr id="191" name="World">
            <a:extLst>
              <a:ext uri="{FF2B5EF4-FFF2-40B4-BE49-F238E27FC236}">
                <a16:creationId xmlns:a16="http://schemas.microsoft.com/office/drawing/2014/main" id="{FD1CE4AD-C3F5-BA4A-AD3C-5B3BCF5B53C9}"/>
              </a:ext>
            </a:extLst>
          </p:cNvPr>
          <p:cNvSpPr/>
          <p:nvPr/>
        </p:nvSpPr>
        <p:spPr>
          <a:xfrm>
            <a:off x="8535879" y="524270"/>
            <a:ext cx="1810716" cy="958369"/>
          </a:xfrm>
          <a:custGeom>
            <a:avLst/>
            <a:gdLst>
              <a:gd name="connsiteX0" fmla="*/ 15611108 w 16408544"/>
              <a:gd name="connsiteY0" fmla="*/ 7708901 h 8684653"/>
              <a:gd name="connsiteX1" fmla="*/ 15622386 w 16408544"/>
              <a:gd name="connsiteY1" fmla="*/ 7725823 h 8684653"/>
              <a:gd name="connsiteX2" fmla="*/ 15630552 w 16408544"/>
              <a:gd name="connsiteY2" fmla="*/ 7749914 h 8684653"/>
              <a:gd name="connsiteX3" fmla="*/ 15657902 w 16408544"/>
              <a:gd name="connsiteY3" fmla="*/ 7734521 h 8684653"/>
              <a:gd name="connsiteX4" fmla="*/ 15669340 w 16408544"/>
              <a:gd name="connsiteY4" fmla="*/ 7741198 h 8684653"/>
              <a:gd name="connsiteX5" fmla="*/ 15678868 w 16408544"/>
              <a:gd name="connsiteY5" fmla="*/ 7767022 h 8684653"/>
              <a:gd name="connsiteX6" fmla="*/ 15615790 w 16408544"/>
              <a:gd name="connsiteY6" fmla="*/ 7852837 h 8684653"/>
              <a:gd name="connsiteX7" fmla="*/ 15615790 w 16408544"/>
              <a:gd name="connsiteY7" fmla="*/ 7906014 h 8684653"/>
              <a:gd name="connsiteX8" fmla="*/ 15556294 w 16408544"/>
              <a:gd name="connsiteY8" fmla="*/ 7914577 h 8684653"/>
              <a:gd name="connsiteX9" fmla="*/ 15506406 w 16408544"/>
              <a:gd name="connsiteY9" fmla="*/ 8034778 h 8684653"/>
              <a:gd name="connsiteX10" fmla="*/ 15444966 w 16408544"/>
              <a:gd name="connsiteY10" fmla="*/ 8075876 h 8684653"/>
              <a:gd name="connsiteX11" fmla="*/ 15409515 w 16408544"/>
              <a:gd name="connsiteY11" fmla="*/ 8067296 h 8684653"/>
              <a:gd name="connsiteX12" fmla="*/ 15336927 w 16408544"/>
              <a:gd name="connsiteY12" fmla="*/ 8032977 h 8684653"/>
              <a:gd name="connsiteX13" fmla="*/ 15328890 w 16408544"/>
              <a:gd name="connsiteY13" fmla="*/ 8026164 h 8684653"/>
              <a:gd name="connsiteX14" fmla="*/ 15393393 w 16408544"/>
              <a:gd name="connsiteY14" fmla="*/ 7931838 h 8684653"/>
              <a:gd name="connsiteX15" fmla="*/ 15419123 w 16408544"/>
              <a:gd name="connsiteY15" fmla="*/ 7909565 h 8684653"/>
              <a:gd name="connsiteX16" fmla="*/ 15509582 w 16408544"/>
              <a:gd name="connsiteY16" fmla="*/ 7852837 h 8684653"/>
              <a:gd name="connsiteX17" fmla="*/ 15540108 w 16408544"/>
              <a:gd name="connsiteY17" fmla="*/ 7811654 h 8684653"/>
              <a:gd name="connsiteX18" fmla="*/ 15541810 w 16408544"/>
              <a:gd name="connsiteY18" fmla="*/ 7794562 h 8684653"/>
              <a:gd name="connsiteX19" fmla="*/ 15570812 w 16408544"/>
              <a:gd name="connsiteY19" fmla="*/ 7775704 h 8684653"/>
              <a:gd name="connsiteX20" fmla="*/ 15572482 w 16408544"/>
              <a:gd name="connsiteY20" fmla="*/ 7765391 h 8684653"/>
              <a:gd name="connsiteX21" fmla="*/ 15611108 w 16408544"/>
              <a:gd name="connsiteY21" fmla="*/ 7708901 h 8684653"/>
              <a:gd name="connsiteX22" fmla="*/ 14485179 w 16408544"/>
              <a:gd name="connsiteY22" fmla="*/ 7708901 h 8684653"/>
              <a:gd name="connsiteX23" fmla="*/ 14502993 w 16408544"/>
              <a:gd name="connsiteY23" fmla="*/ 7760248 h 8684653"/>
              <a:gd name="connsiteX24" fmla="*/ 14427063 w 16408544"/>
              <a:gd name="connsiteY24" fmla="*/ 7888770 h 8684653"/>
              <a:gd name="connsiteX25" fmla="*/ 14325590 w 16408544"/>
              <a:gd name="connsiteY25" fmla="*/ 7725835 h 8684653"/>
              <a:gd name="connsiteX26" fmla="*/ 14414193 w 16408544"/>
              <a:gd name="connsiteY26" fmla="*/ 7725835 h 8684653"/>
              <a:gd name="connsiteX27" fmla="*/ 14485179 w 16408544"/>
              <a:gd name="connsiteY27" fmla="*/ 7708901 h 8684653"/>
              <a:gd name="connsiteX28" fmla="*/ 13975784 w 16408544"/>
              <a:gd name="connsiteY28" fmla="*/ 7429538 h 8684653"/>
              <a:gd name="connsiteX29" fmla="*/ 14001047 w 16408544"/>
              <a:gd name="connsiteY29" fmla="*/ 7439831 h 8684653"/>
              <a:gd name="connsiteX30" fmla="*/ 13944590 w 16408544"/>
              <a:gd name="connsiteY30" fmla="*/ 7439831 h 8684653"/>
              <a:gd name="connsiteX31" fmla="*/ 13975784 w 16408544"/>
              <a:gd name="connsiteY31" fmla="*/ 7429538 h 8684653"/>
              <a:gd name="connsiteX32" fmla="*/ 15608290 w 16408544"/>
              <a:gd name="connsiteY32" fmla="*/ 7353301 h 8684653"/>
              <a:gd name="connsiteX33" fmla="*/ 15669534 w 16408544"/>
              <a:gd name="connsiteY33" fmla="*/ 7401305 h 8684653"/>
              <a:gd name="connsiteX34" fmla="*/ 15689076 w 16408544"/>
              <a:gd name="connsiteY34" fmla="*/ 7428634 h 8684653"/>
              <a:gd name="connsiteX35" fmla="*/ 15682440 w 16408544"/>
              <a:gd name="connsiteY35" fmla="*/ 7440817 h 8684653"/>
              <a:gd name="connsiteX36" fmla="*/ 15710006 w 16408544"/>
              <a:gd name="connsiteY36" fmla="*/ 7495550 h 8684653"/>
              <a:gd name="connsiteX37" fmla="*/ 15719698 w 16408544"/>
              <a:gd name="connsiteY37" fmla="*/ 7495550 h 8684653"/>
              <a:gd name="connsiteX38" fmla="*/ 15734186 w 16408544"/>
              <a:gd name="connsiteY38" fmla="*/ 7478418 h 8684653"/>
              <a:gd name="connsiteX39" fmla="*/ 15743768 w 16408544"/>
              <a:gd name="connsiteY39" fmla="*/ 7478418 h 8684653"/>
              <a:gd name="connsiteX40" fmla="*/ 15803528 w 16408544"/>
              <a:gd name="connsiteY40" fmla="*/ 7548896 h 8684653"/>
              <a:gd name="connsiteX41" fmla="*/ 15858344 w 16408544"/>
              <a:gd name="connsiteY41" fmla="*/ 7531708 h 8684653"/>
              <a:gd name="connsiteX42" fmla="*/ 15871286 w 16408544"/>
              <a:gd name="connsiteY42" fmla="*/ 7542092 h 8684653"/>
              <a:gd name="connsiteX43" fmla="*/ 15839142 w 16408544"/>
              <a:gd name="connsiteY43" fmla="*/ 7627902 h 8684653"/>
              <a:gd name="connsiteX44" fmla="*/ 15832372 w 16408544"/>
              <a:gd name="connsiteY44" fmla="*/ 7619186 h 8684653"/>
              <a:gd name="connsiteX45" fmla="*/ 15827684 w 16408544"/>
              <a:gd name="connsiteY45" fmla="*/ 7624285 h 8684653"/>
              <a:gd name="connsiteX46" fmla="*/ 15795418 w 16408544"/>
              <a:gd name="connsiteY46" fmla="*/ 7646721 h 8684653"/>
              <a:gd name="connsiteX47" fmla="*/ 15801848 w 16408544"/>
              <a:gd name="connsiteY47" fmla="*/ 7663816 h 8684653"/>
              <a:gd name="connsiteX48" fmla="*/ 15779274 w 16408544"/>
              <a:gd name="connsiteY48" fmla="*/ 7697987 h 8684653"/>
              <a:gd name="connsiteX49" fmla="*/ 15719698 w 16408544"/>
              <a:gd name="connsiteY49" fmla="*/ 7758174 h 8684653"/>
              <a:gd name="connsiteX50" fmla="*/ 15695480 w 16408544"/>
              <a:gd name="connsiteY50" fmla="*/ 7735869 h 8684653"/>
              <a:gd name="connsiteX51" fmla="*/ 15714730 w 16408544"/>
              <a:gd name="connsiteY51" fmla="*/ 7686103 h 8684653"/>
              <a:gd name="connsiteX52" fmla="*/ 15654996 w 16408544"/>
              <a:gd name="connsiteY52" fmla="*/ 7634650 h 8684653"/>
              <a:gd name="connsiteX53" fmla="*/ 15677678 w 16408544"/>
              <a:gd name="connsiteY53" fmla="*/ 7607078 h 8684653"/>
              <a:gd name="connsiteX54" fmla="*/ 15697136 w 16408544"/>
              <a:gd name="connsiteY54" fmla="*/ 7540142 h 8684653"/>
              <a:gd name="connsiteX55" fmla="*/ 15690572 w 16408544"/>
              <a:gd name="connsiteY55" fmla="*/ 7506553 h 8684653"/>
              <a:gd name="connsiteX56" fmla="*/ 15690572 w 16408544"/>
              <a:gd name="connsiteY56" fmla="*/ 7507621 h 8684653"/>
              <a:gd name="connsiteX57" fmla="*/ 15672808 w 16408544"/>
              <a:gd name="connsiteY57" fmla="*/ 7475025 h 8684653"/>
              <a:gd name="connsiteX58" fmla="*/ 15677678 w 16408544"/>
              <a:gd name="connsiteY58" fmla="*/ 7457931 h 8684653"/>
              <a:gd name="connsiteX59" fmla="*/ 15608290 w 16408544"/>
              <a:gd name="connsiteY59" fmla="*/ 7353301 h 8684653"/>
              <a:gd name="connsiteX60" fmla="*/ 9919684 w 16408544"/>
              <a:gd name="connsiteY60" fmla="*/ 6210301 h 8684653"/>
              <a:gd name="connsiteX61" fmla="*/ 9985931 w 16408544"/>
              <a:gd name="connsiteY61" fmla="*/ 6373259 h 8684653"/>
              <a:gd name="connsiteX62" fmla="*/ 9985931 w 16408544"/>
              <a:gd name="connsiteY62" fmla="*/ 6399016 h 8684653"/>
              <a:gd name="connsiteX63" fmla="*/ 9958427 w 16408544"/>
              <a:gd name="connsiteY63" fmla="*/ 6390504 h 8684653"/>
              <a:gd name="connsiteX64" fmla="*/ 9885857 w 16408544"/>
              <a:gd name="connsiteY64" fmla="*/ 6699239 h 8684653"/>
              <a:gd name="connsiteX65" fmla="*/ 9743932 w 16408544"/>
              <a:gd name="connsiteY65" fmla="*/ 6891264 h 8684653"/>
              <a:gd name="connsiteX66" fmla="*/ 9668115 w 16408544"/>
              <a:gd name="connsiteY66" fmla="*/ 6797159 h 8684653"/>
              <a:gd name="connsiteX67" fmla="*/ 9671315 w 16408544"/>
              <a:gd name="connsiteY67" fmla="*/ 6754220 h 8684653"/>
              <a:gd name="connsiteX68" fmla="*/ 9651990 w 16408544"/>
              <a:gd name="connsiteY68" fmla="*/ 6685556 h 8684653"/>
              <a:gd name="connsiteX69" fmla="*/ 9684348 w 16408544"/>
              <a:gd name="connsiteY69" fmla="*/ 6651098 h 8684653"/>
              <a:gd name="connsiteX70" fmla="*/ 9716552 w 16408544"/>
              <a:gd name="connsiteY70" fmla="*/ 6574017 h 8684653"/>
              <a:gd name="connsiteX71" fmla="*/ 9692187 w 16408544"/>
              <a:gd name="connsiteY71" fmla="*/ 6484735 h 8684653"/>
              <a:gd name="connsiteX72" fmla="*/ 9797131 w 16408544"/>
              <a:gd name="connsiteY72" fmla="*/ 6376727 h 8684653"/>
              <a:gd name="connsiteX73" fmla="*/ 9910129 w 16408544"/>
              <a:gd name="connsiteY73" fmla="*/ 6261720 h 8684653"/>
              <a:gd name="connsiteX74" fmla="*/ 9919684 w 16408544"/>
              <a:gd name="connsiteY74" fmla="*/ 6210301 h 8684653"/>
              <a:gd name="connsiteX75" fmla="*/ 14243548 w 16408544"/>
              <a:gd name="connsiteY75" fmla="*/ 6121401 h 8684653"/>
              <a:gd name="connsiteX76" fmla="*/ 14279044 w 16408544"/>
              <a:gd name="connsiteY76" fmla="*/ 6231446 h 8684653"/>
              <a:gd name="connsiteX77" fmla="*/ 14295202 w 16408544"/>
              <a:gd name="connsiteY77" fmla="*/ 6299999 h 8684653"/>
              <a:gd name="connsiteX78" fmla="*/ 14348317 w 16408544"/>
              <a:gd name="connsiteY78" fmla="*/ 6318915 h 8684653"/>
              <a:gd name="connsiteX79" fmla="*/ 14375906 w 16408544"/>
              <a:gd name="connsiteY79" fmla="*/ 6415014 h 8684653"/>
              <a:gd name="connsiteX80" fmla="*/ 14416129 w 16408544"/>
              <a:gd name="connsiteY80" fmla="*/ 6526440 h 8684653"/>
              <a:gd name="connsiteX81" fmla="*/ 14525883 w 16408544"/>
              <a:gd name="connsiteY81" fmla="*/ 6612252 h 8684653"/>
              <a:gd name="connsiteX82" fmla="*/ 14554933 w 16408544"/>
              <a:gd name="connsiteY82" fmla="*/ 6689435 h 8684653"/>
              <a:gd name="connsiteX83" fmla="*/ 14608220 w 16408544"/>
              <a:gd name="connsiteY83" fmla="*/ 6711872 h 8684653"/>
              <a:gd name="connsiteX84" fmla="*/ 14700097 w 16408544"/>
              <a:gd name="connsiteY84" fmla="*/ 6842145 h 8684653"/>
              <a:gd name="connsiteX85" fmla="*/ 14698378 w 16408544"/>
              <a:gd name="connsiteY85" fmla="*/ 6847253 h 8684653"/>
              <a:gd name="connsiteX86" fmla="*/ 14740320 w 16408544"/>
              <a:gd name="connsiteY86" fmla="*/ 7027508 h 8684653"/>
              <a:gd name="connsiteX87" fmla="*/ 14716255 w 16408544"/>
              <a:gd name="connsiteY87" fmla="*/ 7133894 h 8684653"/>
              <a:gd name="connsiteX88" fmla="*/ 14716255 w 16408544"/>
              <a:gd name="connsiteY88" fmla="*/ 7181944 h 8684653"/>
              <a:gd name="connsiteX89" fmla="*/ 14704996 w 16408544"/>
              <a:gd name="connsiteY89" fmla="*/ 7216186 h 8684653"/>
              <a:gd name="connsiteX90" fmla="*/ 14630738 w 16408544"/>
              <a:gd name="connsiteY90" fmla="*/ 7336172 h 8684653"/>
              <a:gd name="connsiteX91" fmla="*/ 14583983 w 16408544"/>
              <a:gd name="connsiteY91" fmla="*/ 7490607 h 8684653"/>
              <a:gd name="connsiteX92" fmla="*/ 14583983 w 16408544"/>
              <a:gd name="connsiteY92" fmla="*/ 7487293 h 8684653"/>
              <a:gd name="connsiteX93" fmla="*/ 14420942 w 16408544"/>
              <a:gd name="connsiteY93" fmla="*/ 7612595 h 8684653"/>
              <a:gd name="connsiteX94" fmla="*/ 14340324 w 16408544"/>
              <a:gd name="connsiteY94" fmla="*/ 7561025 h 8684653"/>
              <a:gd name="connsiteX95" fmla="*/ 14275778 w 16408544"/>
              <a:gd name="connsiteY95" fmla="*/ 7598719 h 8684653"/>
              <a:gd name="connsiteX96" fmla="*/ 14109729 w 16408544"/>
              <a:gd name="connsiteY96" fmla="*/ 7483841 h 8684653"/>
              <a:gd name="connsiteX97" fmla="*/ 14087039 w 16408544"/>
              <a:gd name="connsiteY97" fmla="*/ 7415288 h 8684653"/>
              <a:gd name="connsiteX98" fmla="*/ 14085320 w 16408544"/>
              <a:gd name="connsiteY98" fmla="*/ 7406658 h 8684653"/>
              <a:gd name="connsiteX99" fmla="*/ 14053090 w 16408544"/>
              <a:gd name="connsiteY99" fmla="*/ 7418602 h 8684653"/>
              <a:gd name="connsiteX100" fmla="*/ 14033752 w 16408544"/>
              <a:gd name="connsiteY100" fmla="*/ 7418602 h 8684653"/>
              <a:gd name="connsiteX101" fmla="*/ 14045097 w 16408544"/>
              <a:gd name="connsiteY101" fmla="*/ 7380977 h 8684653"/>
              <a:gd name="connsiteX102" fmla="*/ 14029111 w 16408544"/>
              <a:gd name="connsiteY102" fmla="*/ 7346665 h 8684653"/>
              <a:gd name="connsiteX103" fmla="*/ 14025931 w 16408544"/>
              <a:gd name="connsiteY103" fmla="*/ 7363717 h 8684653"/>
              <a:gd name="connsiteX104" fmla="*/ 13985536 w 16408544"/>
              <a:gd name="connsiteY104" fmla="*/ 7401411 h 8684653"/>
              <a:gd name="connsiteX105" fmla="*/ 13969206 w 16408544"/>
              <a:gd name="connsiteY105" fmla="*/ 7384429 h 8684653"/>
              <a:gd name="connsiteX106" fmla="*/ 14016219 w 16408544"/>
              <a:gd name="connsiteY106" fmla="*/ 7260715 h 8684653"/>
              <a:gd name="connsiteX107" fmla="*/ 13912825 w 16408544"/>
              <a:gd name="connsiteY107" fmla="*/ 7380977 h 8684653"/>
              <a:gd name="connsiteX108" fmla="*/ 13900019 w 16408544"/>
              <a:gd name="connsiteY108" fmla="*/ 7350117 h 8684653"/>
              <a:gd name="connsiteX109" fmla="*/ 13840286 w 16408544"/>
              <a:gd name="connsiteY109" fmla="*/ 7247183 h 8684653"/>
              <a:gd name="connsiteX110" fmla="*/ 13665986 w 16408544"/>
              <a:gd name="connsiteY110" fmla="*/ 7195751 h 8684653"/>
              <a:gd name="connsiteX111" fmla="*/ 13561131 w 16408544"/>
              <a:gd name="connsiteY111" fmla="*/ 7235033 h 8684653"/>
              <a:gd name="connsiteX112" fmla="*/ 13364399 w 16408544"/>
              <a:gd name="connsiteY112" fmla="*/ 7320777 h 8684653"/>
              <a:gd name="connsiteX113" fmla="*/ 13267623 w 16408544"/>
              <a:gd name="connsiteY113" fmla="*/ 7332927 h 8684653"/>
              <a:gd name="connsiteX114" fmla="*/ 13222501 w 16408544"/>
              <a:gd name="connsiteY114" fmla="*/ 7332927 h 8684653"/>
              <a:gd name="connsiteX115" fmla="*/ 13069258 w 16408544"/>
              <a:gd name="connsiteY115" fmla="*/ 7389399 h 8684653"/>
              <a:gd name="connsiteX116" fmla="*/ 12964489 w 16408544"/>
              <a:gd name="connsiteY116" fmla="*/ 7329475 h 8684653"/>
              <a:gd name="connsiteX117" fmla="*/ 13001532 w 16408544"/>
              <a:gd name="connsiteY117" fmla="*/ 7252292 h 8684653"/>
              <a:gd name="connsiteX118" fmla="*/ 12969044 w 16408544"/>
              <a:gd name="connsiteY118" fmla="*/ 7144250 h 8684653"/>
              <a:gd name="connsiteX119" fmla="*/ 12924008 w 16408544"/>
              <a:gd name="connsiteY119" fmla="*/ 6977802 h 8684653"/>
              <a:gd name="connsiteX120" fmla="*/ 12891692 w 16408544"/>
              <a:gd name="connsiteY120" fmla="*/ 6917602 h 8684653"/>
              <a:gd name="connsiteX121" fmla="*/ 12901490 w 16408544"/>
              <a:gd name="connsiteY121" fmla="*/ 6895303 h 8684653"/>
              <a:gd name="connsiteX122" fmla="*/ 12916101 w 16408544"/>
              <a:gd name="connsiteY122" fmla="*/ 6917602 h 8684653"/>
              <a:gd name="connsiteX123" fmla="*/ 12916101 w 16408544"/>
              <a:gd name="connsiteY123" fmla="*/ 6895303 h 8684653"/>
              <a:gd name="connsiteX124" fmla="*/ 12896505 w 16408544"/>
              <a:gd name="connsiteY124" fmla="*/ 6806039 h 8684653"/>
              <a:gd name="connsiteX125" fmla="*/ 12896505 w 16408544"/>
              <a:gd name="connsiteY125" fmla="*/ 6706695 h 8684653"/>
              <a:gd name="connsiteX126" fmla="*/ 12914296 w 16408544"/>
              <a:gd name="connsiteY126" fmla="*/ 6685984 h 8684653"/>
              <a:gd name="connsiteX127" fmla="*/ 12916101 w 16408544"/>
              <a:gd name="connsiteY127" fmla="*/ 6703174 h 8684653"/>
              <a:gd name="connsiteX128" fmla="*/ 13001532 w 16408544"/>
              <a:gd name="connsiteY128" fmla="*/ 6638072 h 8684653"/>
              <a:gd name="connsiteX129" fmla="*/ 13109567 w 16408544"/>
              <a:gd name="connsiteY129" fmla="*/ 6608870 h 8684653"/>
              <a:gd name="connsiteX130" fmla="*/ 13299853 w 16408544"/>
              <a:gd name="connsiteY130" fmla="*/ 6492059 h 8684653"/>
              <a:gd name="connsiteX131" fmla="*/ 13299853 w 16408544"/>
              <a:gd name="connsiteY131" fmla="*/ 6462995 h 8684653"/>
              <a:gd name="connsiteX132" fmla="*/ 13320824 w 16408544"/>
              <a:gd name="connsiteY132" fmla="*/ 6420123 h 8684653"/>
              <a:gd name="connsiteX133" fmla="*/ 13345147 w 16408544"/>
              <a:gd name="connsiteY133" fmla="*/ 6454296 h 8684653"/>
              <a:gd name="connsiteX134" fmla="*/ 13362938 w 16408544"/>
              <a:gd name="connsiteY134" fmla="*/ 6397824 h 8684653"/>
              <a:gd name="connsiteX135" fmla="*/ 13396801 w 16408544"/>
              <a:gd name="connsiteY135" fmla="*/ 6411493 h 8684653"/>
              <a:gd name="connsiteX136" fmla="*/ 13432297 w 16408544"/>
              <a:gd name="connsiteY136" fmla="*/ 6317189 h 8684653"/>
              <a:gd name="connsiteX137" fmla="*/ 13517728 w 16408544"/>
              <a:gd name="connsiteY137" fmla="*/ 6282878 h 8684653"/>
              <a:gd name="connsiteX138" fmla="*/ 13566202 w 16408544"/>
              <a:gd name="connsiteY138" fmla="*/ 6347980 h 8684653"/>
              <a:gd name="connsiteX139" fmla="*/ 13601698 w 16408544"/>
              <a:gd name="connsiteY139" fmla="*/ 6329202 h 8684653"/>
              <a:gd name="connsiteX140" fmla="*/ 13625763 w 16408544"/>
              <a:gd name="connsiteY140" fmla="*/ 6342733 h 8684653"/>
              <a:gd name="connsiteX141" fmla="*/ 13630576 w 16408544"/>
              <a:gd name="connsiteY141" fmla="*/ 6299999 h 8684653"/>
              <a:gd name="connsiteX142" fmla="*/ 13654727 w 16408544"/>
              <a:gd name="connsiteY142" fmla="*/ 6239799 h 8684653"/>
              <a:gd name="connsiteX143" fmla="*/ 13746776 w 16408544"/>
              <a:gd name="connsiteY143" fmla="*/ 6200448 h 8684653"/>
              <a:gd name="connsiteX144" fmla="*/ 13775740 w 16408544"/>
              <a:gd name="connsiteY144" fmla="*/ 6188436 h 8684653"/>
              <a:gd name="connsiteX145" fmla="*/ 13746776 w 16408544"/>
              <a:gd name="connsiteY145" fmla="*/ 6149016 h 8684653"/>
              <a:gd name="connsiteX146" fmla="*/ 13891854 w 16408544"/>
              <a:gd name="connsiteY146" fmla="*/ 6197065 h 8684653"/>
              <a:gd name="connsiteX147" fmla="*/ 13937148 w 16408544"/>
              <a:gd name="connsiteY147" fmla="*/ 6183189 h 8684653"/>
              <a:gd name="connsiteX148" fmla="*/ 13969206 w 16408544"/>
              <a:gd name="connsiteY148" fmla="*/ 6214255 h 8684653"/>
              <a:gd name="connsiteX149" fmla="*/ 13932335 w 16408544"/>
              <a:gd name="connsiteY149" fmla="*/ 6248498 h 8684653"/>
              <a:gd name="connsiteX150" fmla="*/ 13912825 w 16408544"/>
              <a:gd name="connsiteY150" fmla="*/ 6334448 h 8684653"/>
              <a:gd name="connsiteX151" fmla="*/ 13945227 w 16408544"/>
              <a:gd name="connsiteY151" fmla="*/ 6351501 h 8684653"/>
              <a:gd name="connsiteX152" fmla="*/ 13961213 w 16408544"/>
              <a:gd name="connsiteY152" fmla="*/ 6385812 h 8684653"/>
              <a:gd name="connsiteX153" fmla="*/ 14069334 w 16408544"/>
              <a:gd name="connsiteY153" fmla="*/ 6428615 h 8684653"/>
              <a:gd name="connsiteX154" fmla="*/ 14130614 w 16408544"/>
              <a:gd name="connsiteY154" fmla="*/ 6475007 h 8684653"/>
              <a:gd name="connsiteX155" fmla="*/ 14198426 w 16408544"/>
              <a:gd name="connsiteY155" fmla="*/ 6334448 h 8684653"/>
              <a:gd name="connsiteX156" fmla="*/ 14198426 w 16408544"/>
              <a:gd name="connsiteY156" fmla="*/ 6179806 h 8684653"/>
              <a:gd name="connsiteX157" fmla="*/ 14243548 w 16408544"/>
              <a:gd name="connsiteY157" fmla="*/ 6121401 h 8684653"/>
              <a:gd name="connsiteX158" fmla="*/ 13004789 w 16408544"/>
              <a:gd name="connsiteY158" fmla="*/ 6007101 h 8684653"/>
              <a:gd name="connsiteX159" fmla="*/ 13019371 w 16408544"/>
              <a:gd name="connsiteY159" fmla="*/ 6007101 h 8684653"/>
              <a:gd name="connsiteX160" fmla="*/ 13034067 w 16408544"/>
              <a:gd name="connsiteY160" fmla="*/ 6019153 h 8684653"/>
              <a:gd name="connsiteX161" fmla="*/ 13017820 w 16408544"/>
              <a:gd name="connsiteY161" fmla="*/ 6036324 h 8684653"/>
              <a:gd name="connsiteX162" fmla="*/ 13004789 w 16408544"/>
              <a:gd name="connsiteY162" fmla="*/ 6024392 h 8684653"/>
              <a:gd name="connsiteX163" fmla="*/ 12601238 w 16408544"/>
              <a:gd name="connsiteY163" fmla="*/ 5880100 h 8684653"/>
              <a:gd name="connsiteX164" fmla="*/ 12723807 w 16408544"/>
              <a:gd name="connsiteY164" fmla="*/ 5934926 h 8684653"/>
              <a:gd name="connsiteX165" fmla="*/ 12772196 w 16408544"/>
              <a:gd name="connsiteY165" fmla="*/ 5909205 h 8684653"/>
              <a:gd name="connsiteX166" fmla="*/ 12844877 w 16408544"/>
              <a:gd name="connsiteY166" fmla="*/ 5940086 h 8684653"/>
              <a:gd name="connsiteX167" fmla="*/ 12893309 w 16408544"/>
              <a:gd name="connsiteY167" fmla="*/ 5933332 h 8684653"/>
              <a:gd name="connsiteX168" fmla="*/ 12906259 w 16408544"/>
              <a:gd name="connsiteY168" fmla="*/ 5933332 h 8684653"/>
              <a:gd name="connsiteX169" fmla="*/ 12846528 w 16408544"/>
              <a:gd name="connsiteY169" fmla="*/ 5945321 h 8684653"/>
              <a:gd name="connsiteX170" fmla="*/ 12914038 w 16408544"/>
              <a:gd name="connsiteY170" fmla="*/ 5967651 h 8684653"/>
              <a:gd name="connsiteX171" fmla="*/ 12927205 w 16408544"/>
              <a:gd name="connsiteY171" fmla="*/ 5983078 h 8684653"/>
              <a:gd name="connsiteX172" fmla="*/ 12965816 w 16408544"/>
              <a:gd name="connsiteY172" fmla="*/ 5986252 h 8684653"/>
              <a:gd name="connsiteX173" fmla="*/ 12991521 w 16408544"/>
              <a:gd name="connsiteY173" fmla="*/ 6001909 h 8684653"/>
              <a:gd name="connsiteX174" fmla="*/ 12973899 w 16408544"/>
              <a:gd name="connsiteY174" fmla="*/ 6020734 h 8684653"/>
              <a:gd name="connsiteX175" fmla="*/ 12940003 w 16408544"/>
              <a:gd name="connsiteY175" fmla="*/ 6008684 h 8684653"/>
              <a:gd name="connsiteX176" fmla="*/ 12940003 w 16408544"/>
              <a:gd name="connsiteY176" fmla="*/ 6025995 h 8684653"/>
              <a:gd name="connsiteX177" fmla="*/ 12769045 w 16408544"/>
              <a:gd name="connsiteY177" fmla="*/ 6000187 h 8684653"/>
              <a:gd name="connsiteX178" fmla="*/ 12728674 w 16408544"/>
              <a:gd name="connsiteY178" fmla="*/ 5977924 h 8684653"/>
              <a:gd name="connsiteX179" fmla="*/ 12639849 w 16408544"/>
              <a:gd name="connsiteY179" fmla="*/ 5966030 h 8684653"/>
              <a:gd name="connsiteX180" fmla="*/ 12575446 w 16408544"/>
              <a:gd name="connsiteY180" fmla="*/ 5957235 h 8684653"/>
              <a:gd name="connsiteX181" fmla="*/ 12522190 w 16408544"/>
              <a:gd name="connsiteY181" fmla="*/ 5919539 h 8684653"/>
              <a:gd name="connsiteX182" fmla="*/ 12562518 w 16408544"/>
              <a:gd name="connsiteY182" fmla="*/ 5883457 h 8684653"/>
              <a:gd name="connsiteX183" fmla="*/ 12575446 w 16408544"/>
              <a:gd name="connsiteY183" fmla="*/ 5890434 h 8684653"/>
              <a:gd name="connsiteX184" fmla="*/ 12601238 w 16408544"/>
              <a:gd name="connsiteY184" fmla="*/ 5880100 h 8684653"/>
              <a:gd name="connsiteX185" fmla="*/ 13760135 w 16408544"/>
              <a:gd name="connsiteY185" fmla="*/ 5600700 h 8684653"/>
              <a:gd name="connsiteX186" fmla="*/ 13837668 w 16408544"/>
              <a:gd name="connsiteY186" fmla="*/ 5635010 h 8684653"/>
              <a:gd name="connsiteX187" fmla="*/ 13837668 w 16408544"/>
              <a:gd name="connsiteY187" fmla="*/ 5696767 h 8684653"/>
              <a:gd name="connsiteX188" fmla="*/ 13861883 w 16408544"/>
              <a:gd name="connsiteY188" fmla="*/ 5712040 h 8684653"/>
              <a:gd name="connsiteX189" fmla="*/ 13894228 w 16408544"/>
              <a:gd name="connsiteY189" fmla="*/ 5746302 h 8684653"/>
              <a:gd name="connsiteX190" fmla="*/ 13923243 w 16408544"/>
              <a:gd name="connsiteY190" fmla="*/ 5717282 h 8684653"/>
              <a:gd name="connsiteX191" fmla="*/ 13961857 w 16408544"/>
              <a:gd name="connsiteY191" fmla="*/ 5694980 h 8684653"/>
              <a:gd name="connsiteX192" fmla="*/ 14015218 w 16408544"/>
              <a:gd name="connsiteY192" fmla="*/ 5655477 h 8684653"/>
              <a:gd name="connsiteX193" fmla="*/ 14034374 w 16408544"/>
              <a:gd name="connsiteY193" fmla="*/ 5664173 h 8684653"/>
              <a:gd name="connsiteX194" fmla="*/ 14076231 w 16408544"/>
              <a:gd name="connsiteY194" fmla="*/ 5696767 h 8684653"/>
              <a:gd name="connsiteX195" fmla="*/ 14119905 w 16408544"/>
              <a:gd name="connsiteY195" fmla="*/ 5696767 h 8684653"/>
              <a:gd name="connsiteX196" fmla="*/ 14147796 w 16408544"/>
              <a:gd name="connsiteY196" fmla="*/ 5710753 h 8684653"/>
              <a:gd name="connsiteX197" fmla="*/ 14144207 w 16408544"/>
              <a:gd name="connsiteY197" fmla="*/ 5706941 h 8684653"/>
              <a:gd name="connsiteX198" fmla="*/ 14149007 w 16408544"/>
              <a:gd name="connsiteY198" fmla="*/ 5711111 h 8684653"/>
              <a:gd name="connsiteX199" fmla="*/ 14152293 w 16408544"/>
              <a:gd name="connsiteY199" fmla="*/ 5712040 h 8684653"/>
              <a:gd name="connsiteX200" fmla="*/ 14152293 w 16408544"/>
              <a:gd name="connsiteY200" fmla="*/ 5713898 h 8684653"/>
              <a:gd name="connsiteX201" fmla="*/ 14261911 w 16408544"/>
              <a:gd name="connsiteY201" fmla="*/ 5749900 h 8684653"/>
              <a:gd name="connsiteX202" fmla="*/ 14310212 w 16408544"/>
              <a:gd name="connsiteY202" fmla="*/ 5773940 h 8684653"/>
              <a:gd name="connsiteX203" fmla="*/ 14331184 w 16408544"/>
              <a:gd name="connsiteY203" fmla="*/ 5791071 h 8684653"/>
              <a:gd name="connsiteX204" fmla="*/ 14419959 w 16408544"/>
              <a:gd name="connsiteY204" fmla="*/ 5875130 h 8684653"/>
              <a:gd name="connsiteX205" fmla="*/ 14470032 w 16408544"/>
              <a:gd name="connsiteY205" fmla="*/ 5902601 h 8684653"/>
              <a:gd name="connsiteX206" fmla="*/ 14439331 w 16408544"/>
              <a:gd name="connsiteY206" fmla="*/ 5929954 h 8684653"/>
              <a:gd name="connsiteX207" fmla="*/ 14470032 w 16408544"/>
              <a:gd name="connsiteY207" fmla="*/ 5971149 h 8684653"/>
              <a:gd name="connsiteX208" fmla="*/ 14495891 w 16408544"/>
              <a:gd name="connsiteY208" fmla="*/ 6021017 h 8684653"/>
              <a:gd name="connsiteX209" fmla="*/ 14531306 w 16408544"/>
              <a:gd name="connsiteY209" fmla="*/ 6038101 h 8684653"/>
              <a:gd name="connsiteX210" fmla="*/ 14544321 w 16408544"/>
              <a:gd name="connsiteY210" fmla="*/ 6057114 h 8684653"/>
              <a:gd name="connsiteX211" fmla="*/ 14563607 w 16408544"/>
              <a:gd name="connsiteY211" fmla="*/ 6060450 h 8684653"/>
              <a:gd name="connsiteX212" fmla="*/ 14579823 w 16408544"/>
              <a:gd name="connsiteY212" fmla="*/ 6081083 h 8684653"/>
              <a:gd name="connsiteX213" fmla="*/ 14611908 w 16408544"/>
              <a:gd name="connsiteY213" fmla="*/ 6087826 h 8684653"/>
              <a:gd name="connsiteX214" fmla="*/ 14590849 w 16408544"/>
              <a:gd name="connsiteY214" fmla="*/ 6115345 h 8684653"/>
              <a:gd name="connsiteX215" fmla="*/ 14581250 w 16408544"/>
              <a:gd name="connsiteY215" fmla="*/ 6115345 h 8684653"/>
              <a:gd name="connsiteX216" fmla="*/ 14550678 w 16408544"/>
              <a:gd name="connsiteY216" fmla="*/ 6094688 h 8684653"/>
              <a:gd name="connsiteX217" fmla="*/ 14508690 w 16408544"/>
              <a:gd name="connsiteY217" fmla="*/ 6094688 h 8684653"/>
              <a:gd name="connsiteX218" fmla="*/ 14447374 w 16408544"/>
              <a:gd name="connsiteY218" fmla="*/ 6051944 h 8684653"/>
              <a:gd name="connsiteX219" fmla="*/ 14431288 w 16408544"/>
              <a:gd name="connsiteY219" fmla="*/ 6038101 h 8684653"/>
              <a:gd name="connsiteX220" fmla="*/ 14316741 w 16408544"/>
              <a:gd name="connsiteY220" fmla="*/ 5955805 h 8684653"/>
              <a:gd name="connsiteX221" fmla="*/ 14257068 w 16408544"/>
              <a:gd name="connsiteY221" fmla="*/ 5998573 h 8684653"/>
              <a:gd name="connsiteX222" fmla="*/ 14249025 w 16408544"/>
              <a:gd name="connsiteY222" fmla="*/ 6039935 h 8684653"/>
              <a:gd name="connsiteX223" fmla="*/ 14187578 w 16408544"/>
              <a:gd name="connsiteY223" fmla="*/ 6039935 h 8684653"/>
              <a:gd name="connsiteX224" fmla="*/ 14092533 w 16408544"/>
              <a:gd name="connsiteY224" fmla="*/ 5986684 h 8684653"/>
              <a:gd name="connsiteX225" fmla="*/ 14068405 w 16408544"/>
              <a:gd name="connsiteY225" fmla="*/ 5996929 h 8684653"/>
              <a:gd name="connsiteX226" fmla="*/ 14034374 w 16408544"/>
              <a:gd name="connsiteY226" fmla="*/ 5996929 h 8684653"/>
              <a:gd name="connsiteX227" fmla="*/ 14008645 w 16408544"/>
              <a:gd name="connsiteY227" fmla="*/ 5983182 h 8684653"/>
              <a:gd name="connsiteX228" fmla="*/ 14049076 w 16408544"/>
              <a:gd name="connsiteY228" fmla="*/ 5948920 h 8684653"/>
              <a:gd name="connsiteX229" fmla="*/ 14027844 w 16408544"/>
              <a:gd name="connsiteY229" fmla="*/ 5875130 h 8684653"/>
              <a:gd name="connsiteX230" fmla="*/ 13960257 w 16408544"/>
              <a:gd name="connsiteY230" fmla="*/ 5827049 h 8684653"/>
              <a:gd name="connsiteX231" fmla="*/ 13873212 w 16408544"/>
              <a:gd name="connsiteY231" fmla="*/ 5809894 h 8684653"/>
              <a:gd name="connsiteX232" fmla="*/ 13813452 w 16408544"/>
              <a:gd name="connsiteY232" fmla="*/ 5773940 h 8684653"/>
              <a:gd name="connsiteX233" fmla="*/ 13813452 w 16408544"/>
              <a:gd name="connsiteY233" fmla="*/ 5758501 h 8684653"/>
              <a:gd name="connsiteX234" fmla="*/ 13789237 w 16408544"/>
              <a:gd name="connsiteY234" fmla="*/ 5789356 h 8684653"/>
              <a:gd name="connsiteX235" fmla="*/ 13773065 w 16408544"/>
              <a:gd name="connsiteY235" fmla="*/ 5784257 h 8684653"/>
              <a:gd name="connsiteX236" fmla="*/ 13765022 w 16408544"/>
              <a:gd name="connsiteY236" fmla="*/ 5746302 h 8684653"/>
              <a:gd name="connsiteX237" fmla="*/ 13736007 w 16408544"/>
              <a:gd name="connsiteY237" fmla="*/ 5725883 h 8684653"/>
              <a:gd name="connsiteX238" fmla="*/ 13818252 w 16408544"/>
              <a:gd name="connsiteY238" fmla="*/ 5696767 h 8684653"/>
              <a:gd name="connsiteX239" fmla="*/ 13806880 w 16408544"/>
              <a:gd name="connsiteY239" fmla="*/ 5696767 h 8684653"/>
              <a:gd name="connsiteX240" fmla="*/ 13760135 w 16408544"/>
              <a:gd name="connsiteY240" fmla="*/ 5703653 h 8684653"/>
              <a:gd name="connsiteX241" fmla="*/ 13737736 w 16408544"/>
              <a:gd name="connsiteY241" fmla="*/ 5698411 h 8684653"/>
              <a:gd name="connsiteX242" fmla="*/ 13727964 w 16408544"/>
              <a:gd name="connsiteY242" fmla="*/ 5683091 h 8684653"/>
              <a:gd name="connsiteX243" fmla="*/ 13677890 w 16408544"/>
              <a:gd name="connsiteY243" fmla="*/ 5645112 h 8684653"/>
              <a:gd name="connsiteX244" fmla="*/ 13700549 w 16408544"/>
              <a:gd name="connsiteY244" fmla="*/ 5629887 h 8684653"/>
              <a:gd name="connsiteX245" fmla="*/ 13760135 w 16408544"/>
              <a:gd name="connsiteY245" fmla="*/ 5600700 h 8684653"/>
              <a:gd name="connsiteX246" fmla="*/ 13414038 w 16408544"/>
              <a:gd name="connsiteY246" fmla="*/ 5511801 h 8684653"/>
              <a:gd name="connsiteX247" fmla="*/ 13423673 w 16408544"/>
              <a:gd name="connsiteY247" fmla="*/ 5511801 h 8684653"/>
              <a:gd name="connsiteX248" fmla="*/ 13415633 w 16408544"/>
              <a:gd name="connsiteY248" fmla="*/ 5525593 h 8684653"/>
              <a:gd name="connsiteX249" fmla="*/ 13367269 w 16408544"/>
              <a:gd name="connsiteY249" fmla="*/ 5580322 h 8684653"/>
              <a:gd name="connsiteX250" fmla="*/ 13310838 w 16408544"/>
              <a:gd name="connsiteY250" fmla="*/ 5568625 h 8684653"/>
              <a:gd name="connsiteX251" fmla="*/ 13249299 w 16408544"/>
              <a:gd name="connsiteY251" fmla="*/ 5575245 h 8684653"/>
              <a:gd name="connsiteX252" fmla="*/ 13196287 w 16408544"/>
              <a:gd name="connsiteY252" fmla="*/ 5602844 h 8684653"/>
              <a:gd name="connsiteX253" fmla="*/ 13230138 w 16408544"/>
              <a:gd name="connsiteY253" fmla="*/ 5661093 h 8684653"/>
              <a:gd name="connsiteX254" fmla="*/ 13248029 w 16408544"/>
              <a:gd name="connsiteY254" fmla="*/ 5643832 h 8684653"/>
              <a:gd name="connsiteX255" fmla="*/ 13244610 w 16408544"/>
              <a:gd name="connsiteY255" fmla="*/ 5650720 h 8684653"/>
              <a:gd name="connsiteX256" fmla="*/ 13341473 w 16408544"/>
              <a:gd name="connsiteY256" fmla="*/ 5620004 h 8684653"/>
              <a:gd name="connsiteX257" fmla="*/ 13341473 w 16408544"/>
              <a:gd name="connsiteY257" fmla="*/ 5633728 h 8684653"/>
              <a:gd name="connsiteX258" fmla="*/ 13256002 w 16408544"/>
              <a:gd name="connsiteY258" fmla="*/ 5683464 h 8684653"/>
              <a:gd name="connsiteX259" fmla="*/ 13296258 w 16408544"/>
              <a:gd name="connsiteY259" fmla="*/ 5755520 h 8684653"/>
              <a:gd name="connsiteX260" fmla="*/ 13289879 w 16408544"/>
              <a:gd name="connsiteY260" fmla="*/ 5765726 h 8684653"/>
              <a:gd name="connsiteX261" fmla="*/ 13312365 w 16408544"/>
              <a:gd name="connsiteY261" fmla="*/ 5796693 h 8684653"/>
              <a:gd name="connsiteX262" fmla="*/ 13276772 w 16408544"/>
              <a:gd name="connsiteY262" fmla="*/ 5832671 h 8684653"/>
              <a:gd name="connsiteX263" fmla="*/ 13256002 w 16408544"/>
              <a:gd name="connsiteY263" fmla="*/ 5832671 h 8684653"/>
              <a:gd name="connsiteX264" fmla="*/ 13256002 w 16408544"/>
              <a:gd name="connsiteY264" fmla="*/ 5817154 h 8684653"/>
              <a:gd name="connsiteX265" fmla="*/ 13230138 w 16408544"/>
              <a:gd name="connsiteY265" fmla="*/ 5764100 h 8684653"/>
              <a:gd name="connsiteX266" fmla="*/ 13236610 w 16408544"/>
              <a:gd name="connsiteY266" fmla="*/ 5728005 h 8684653"/>
              <a:gd name="connsiteX267" fmla="*/ 13223827 w 16408544"/>
              <a:gd name="connsiteY267" fmla="*/ 5728005 h 8684653"/>
              <a:gd name="connsiteX268" fmla="*/ 13199652 w 16408544"/>
              <a:gd name="connsiteY268" fmla="*/ 5748633 h 8684653"/>
              <a:gd name="connsiteX269" fmla="*/ 13213989 w 16408544"/>
              <a:gd name="connsiteY269" fmla="*/ 5805290 h 8684653"/>
              <a:gd name="connsiteX270" fmla="*/ 13189652 w 16408544"/>
              <a:gd name="connsiteY270" fmla="*/ 5873760 h 8684653"/>
              <a:gd name="connsiteX271" fmla="*/ 13163964 w 16408544"/>
              <a:gd name="connsiteY271" fmla="*/ 5851506 h 8684653"/>
              <a:gd name="connsiteX272" fmla="*/ 13163964 w 16408544"/>
              <a:gd name="connsiteY272" fmla="*/ 5769144 h 8684653"/>
              <a:gd name="connsiteX273" fmla="*/ 13131789 w 16408544"/>
              <a:gd name="connsiteY273" fmla="*/ 5746890 h 8684653"/>
              <a:gd name="connsiteX274" fmla="*/ 13160815 w 16408544"/>
              <a:gd name="connsiteY274" fmla="*/ 5654356 h 8684653"/>
              <a:gd name="connsiteX275" fmla="*/ 13175396 w 16408544"/>
              <a:gd name="connsiteY275" fmla="*/ 5628449 h 8684653"/>
              <a:gd name="connsiteX276" fmla="*/ 13236610 w 16408544"/>
              <a:gd name="connsiteY276" fmla="*/ 5530653 h 8684653"/>
              <a:gd name="connsiteX277" fmla="*/ 13349445 w 16408544"/>
              <a:gd name="connsiteY277" fmla="*/ 5551382 h 8684653"/>
              <a:gd name="connsiteX278" fmla="*/ 13362458 w 16408544"/>
              <a:gd name="connsiteY278" fmla="*/ 5551382 h 8684653"/>
              <a:gd name="connsiteX279" fmla="*/ 13414038 w 16408544"/>
              <a:gd name="connsiteY279" fmla="*/ 5511801 h 8684653"/>
              <a:gd name="connsiteX280" fmla="*/ 12052290 w 16408544"/>
              <a:gd name="connsiteY280" fmla="*/ 5321300 h 8684653"/>
              <a:gd name="connsiteX281" fmla="*/ 12062014 w 16408544"/>
              <a:gd name="connsiteY281" fmla="*/ 5321300 h 8684653"/>
              <a:gd name="connsiteX282" fmla="*/ 12094343 w 16408544"/>
              <a:gd name="connsiteY282" fmla="*/ 5336887 h 8684653"/>
              <a:gd name="connsiteX283" fmla="*/ 12147496 w 16408544"/>
              <a:gd name="connsiteY283" fmla="*/ 5336887 h 8684653"/>
              <a:gd name="connsiteX284" fmla="*/ 12207281 w 16408544"/>
              <a:gd name="connsiteY284" fmla="*/ 5401987 h 8684653"/>
              <a:gd name="connsiteX285" fmla="*/ 12224878 w 16408544"/>
              <a:gd name="connsiteY285" fmla="*/ 5410638 h 8684653"/>
              <a:gd name="connsiteX286" fmla="*/ 12276429 w 16408544"/>
              <a:gd name="connsiteY286" fmla="*/ 5456930 h 8684653"/>
              <a:gd name="connsiteX287" fmla="*/ 12370033 w 16408544"/>
              <a:gd name="connsiteY287" fmla="*/ 5527278 h 8684653"/>
              <a:gd name="connsiteX288" fmla="*/ 12421584 w 16408544"/>
              <a:gd name="connsiteY288" fmla="*/ 5570323 h 8684653"/>
              <a:gd name="connsiteX289" fmla="*/ 12418583 w 16408544"/>
              <a:gd name="connsiteY289" fmla="*/ 5578714 h 8684653"/>
              <a:gd name="connsiteX290" fmla="*/ 12431330 w 16408544"/>
              <a:gd name="connsiteY290" fmla="*/ 5578714 h 8684653"/>
              <a:gd name="connsiteX291" fmla="*/ 12445881 w 16408544"/>
              <a:gd name="connsiteY291" fmla="*/ 5594223 h 8684653"/>
              <a:gd name="connsiteX292" fmla="*/ 12439452 w 16408544"/>
              <a:gd name="connsiteY292" fmla="*/ 5611394 h 8684653"/>
              <a:gd name="connsiteX293" fmla="*/ 12469999 w 16408544"/>
              <a:gd name="connsiteY293" fmla="*/ 5638827 h 8684653"/>
              <a:gd name="connsiteX294" fmla="*/ 12507156 w 16408544"/>
              <a:gd name="connsiteY294" fmla="*/ 5704057 h 8684653"/>
              <a:gd name="connsiteX295" fmla="*/ 12539598 w 16408544"/>
              <a:gd name="connsiteY295" fmla="*/ 5736503 h 8684653"/>
              <a:gd name="connsiteX296" fmla="*/ 12539598 w 16408544"/>
              <a:gd name="connsiteY296" fmla="*/ 5810436 h 8684653"/>
              <a:gd name="connsiteX297" fmla="*/ 12531273 w 16408544"/>
              <a:gd name="connsiteY297" fmla="*/ 5858417 h 8684653"/>
              <a:gd name="connsiteX298" fmla="*/ 12487709 w 16408544"/>
              <a:gd name="connsiteY298" fmla="*/ 5882420 h 8684653"/>
              <a:gd name="connsiteX299" fmla="*/ 12448995 w 16408544"/>
              <a:gd name="connsiteY299" fmla="*/ 5836076 h 8684653"/>
              <a:gd name="connsiteX300" fmla="*/ 12360354 w 16408544"/>
              <a:gd name="connsiteY300" fmla="*/ 5758844 h 8684653"/>
              <a:gd name="connsiteX301" fmla="*/ 12297388 w 16408544"/>
              <a:gd name="connsiteY301" fmla="*/ 5654231 h 8684653"/>
              <a:gd name="connsiteX302" fmla="*/ 12270090 w 16408544"/>
              <a:gd name="connsiteY302" fmla="*/ 5611394 h 8684653"/>
              <a:gd name="connsiteX303" fmla="*/ 12265194 w 16408544"/>
              <a:gd name="connsiteY303" fmla="*/ 5596041 h 8684653"/>
              <a:gd name="connsiteX304" fmla="*/ 12239452 w 16408544"/>
              <a:gd name="connsiteY304" fmla="*/ 5587313 h 8684653"/>
              <a:gd name="connsiteX305" fmla="*/ 12216824 w 16408544"/>
              <a:gd name="connsiteY305" fmla="*/ 5527278 h 8684653"/>
              <a:gd name="connsiteX306" fmla="*/ 12157106 w 16408544"/>
              <a:gd name="connsiteY306" fmla="*/ 5470621 h 8684653"/>
              <a:gd name="connsiteX307" fmla="*/ 12132876 w 16408544"/>
              <a:gd name="connsiteY307" fmla="*/ 5419133 h 8684653"/>
              <a:gd name="connsiteX308" fmla="*/ 12095854 w 16408544"/>
              <a:gd name="connsiteY308" fmla="*/ 5403832 h 8684653"/>
              <a:gd name="connsiteX309" fmla="*/ 12052290 w 16408544"/>
              <a:gd name="connsiteY309" fmla="*/ 5335120 h 8684653"/>
              <a:gd name="connsiteX310" fmla="*/ 13061416 w 16408544"/>
              <a:gd name="connsiteY310" fmla="*/ 5245100 h 8684653"/>
              <a:gd name="connsiteX311" fmla="*/ 13085744 w 16408544"/>
              <a:gd name="connsiteY311" fmla="*/ 5287958 h 8684653"/>
              <a:gd name="connsiteX312" fmla="*/ 13153571 w 16408544"/>
              <a:gd name="connsiteY312" fmla="*/ 5337628 h 8684653"/>
              <a:gd name="connsiteX313" fmla="*/ 13117931 w 16408544"/>
              <a:gd name="connsiteY313" fmla="*/ 5358218 h 8684653"/>
              <a:gd name="connsiteX314" fmla="*/ 13124364 w 16408544"/>
              <a:gd name="connsiteY314" fmla="*/ 5366835 h 8684653"/>
              <a:gd name="connsiteX315" fmla="*/ 13077627 w 16408544"/>
              <a:gd name="connsiteY315" fmla="*/ 5390832 h 8684653"/>
              <a:gd name="connsiteX316" fmla="*/ 13084017 w 16408544"/>
              <a:gd name="connsiteY316" fmla="*/ 5406363 h 8684653"/>
              <a:gd name="connsiteX317" fmla="*/ 13072770 w 16408544"/>
              <a:gd name="connsiteY317" fmla="*/ 5418361 h 8684653"/>
              <a:gd name="connsiteX318" fmla="*/ 13145325 w 16408544"/>
              <a:gd name="connsiteY318" fmla="*/ 5529877 h 8684653"/>
              <a:gd name="connsiteX319" fmla="*/ 13109879 w 16408544"/>
              <a:gd name="connsiteY319" fmla="*/ 5547112 h 8684653"/>
              <a:gd name="connsiteX320" fmla="*/ 13093645 w 16408544"/>
              <a:gd name="connsiteY320" fmla="*/ 5550544 h 8684653"/>
              <a:gd name="connsiteX321" fmla="*/ 13085744 w 16408544"/>
              <a:gd name="connsiteY321" fmla="*/ 5567651 h 8684653"/>
              <a:gd name="connsiteX322" fmla="*/ 13064632 w 16408544"/>
              <a:gd name="connsiteY322" fmla="*/ 5644851 h 8684653"/>
              <a:gd name="connsiteX323" fmla="*/ 13029251 w 16408544"/>
              <a:gd name="connsiteY323" fmla="*/ 5684429 h 8684653"/>
              <a:gd name="connsiteX324" fmla="*/ 13037195 w 16408544"/>
              <a:gd name="connsiteY324" fmla="*/ 5708273 h 8684653"/>
              <a:gd name="connsiteX325" fmla="*/ 13017874 w 16408544"/>
              <a:gd name="connsiteY325" fmla="*/ 5766637 h 8684653"/>
              <a:gd name="connsiteX326" fmla="*/ 12967706 w 16408544"/>
              <a:gd name="connsiteY326" fmla="*/ 5794166 h 8684653"/>
              <a:gd name="connsiteX327" fmla="*/ 12946917 w 16408544"/>
              <a:gd name="connsiteY327" fmla="*/ 5770195 h 8684653"/>
              <a:gd name="connsiteX328" fmla="*/ 12875853 w 16408544"/>
              <a:gd name="connsiteY328" fmla="*/ 5742717 h 8684653"/>
              <a:gd name="connsiteX329" fmla="*/ 12835549 w 16408544"/>
              <a:gd name="connsiteY329" fmla="*/ 5761476 h 8684653"/>
              <a:gd name="connsiteX330" fmla="*/ 12822727 w 16408544"/>
              <a:gd name="connsiteY330" fmla="*/ 5752885 h 8684653"/>
              <a:gd name="connsiteX331" fmla="*/ 12819575 w 16408544"/>
              <a:gd name="connsiteY331" fmla="*/ 5727236 h 8684653"/>
              <a:gd name="connsiteX332" fmla="*/ 12785640 w 16408544"/>
              <a:gd name="connsiteY332" fmla="*/ 5735853 h 8684653"/>
              <a:gd name="connsiteX333" fmla="*/ 12730744 w 16408544"/>
              <a:gd name="connsiteY333" fmla="*/ 5641470 h 8684653"/>
              <a:gd name="connsiteX334" fmla="*/ 12732341 w 16408544"/>
              <a:gd name="connsiteY334" fmla="*/ 5632878 h 8684653"/>
              <a:gd name="connsiteX335" fmla="*/ 12711380 w 16408544"/>
              <a:gd name="connsiteY335" fmla="*/ 5622481 h 8684653"/>
              <a:gd name="connsiteX336" fmla="*/ 12687289 w 16408544"/>
              <a:gd name="connsiteY336" fmla="*/ 5550544 h 8684653"/>
              <a:gd name="connsiteX337" fmla="*/ 12743718 w 16408544"/>
              <a:gd name="connsiteY337" fmla="*/ 5533360 h 8684653"/>
              <a:gd name="connsiteX338" fmla="*/ 12809774 w 16408544"/>
              <a:gd name="connsiteY338" fmla="*/ 5456008 h 8684653"/>
              <a:gd name="connsiteX339" fmla="*/ 12854978 w 16408544"/>
              <a:gd name="connsiteY339" fmla="*/ 5440705 h 8684653"/>
              <a:gd name="connsiteX340" fmla="*/ 12892151 w 16408544"/>
              <a:gd name="connsiteY340" fmla="*/ 5404685 h 8684653"/>
              <a:gd name="connsiteX341" fmla="*/ 12903311 w 16408544"/>
              <a:gd name="connsiteY341" fmla="*/ 5384095 h 8684653"/>
              <a:gd name="connsiteX342" fmla="*/ 12919329 w 16408544"/>
              <a:gd name="connsiteY342" fmla="*/ 5372072 h 8684653"/>
              <a:gd name="connsiteX343" fmla="*/ 12929216 w 16408544"/>
              <a:gd name="connsiteY343" fmla="*/ 5358218 h 8684653"/>
              <a:gd name="connsiteX344" fmla="*/ 12987199 w 16408544"/>
              <a:gd name="connsiteY344" fmla="*/ 5337628 h 8684653"/>
              <a:gd name="connsiteX345" fmla="*/ 13061416 w 16408544"/>
              <a:gd name="connsiteY345" fmla="*/ 5245100 h 8684653"/>
              <a:gd name="connsiteX346" fmla="*/ 11363575 w 16408544"/>
              <a:gd name="connsiteY346" fmla="*/ 5118101 h 8684653"/>
              <a:gd name="connsiteX347" fmla="*/ 11432971 w 16408544"/>
              <a:gd name="connsiteY347" fmla="*/ 5234666 h 8684653"/>
              <a:gd name="connsiteX348" fmla="*/ 11381530 w 16408544"/>
              <a:gd name="connsiteY348" fmla="*/ 5305006 h 8684653"/>
              <a:gd name="connsiteX349" fmla="*/ 11341090 w 16408544"/>
              <a:gd name="connsiteY349" fmla="*/ 5256939 h 8684653"/>
              <a:gd name="connsiteX350" fmla="*/ 11363575 w 16408544"/>
              <a:gd name="connsiteY350" fmla="*/ 5118101 h 8684653"/>
              <a:gd name="connsiteX351" fmla="*/ 13441720 w 16408544"/>
              <a:gd name="connsiteY351" fmla="*/ 5105401 h 8684653"/>
              <a:gd name="connsiteX352" fmla="*/ 13465165 w 16408544"/>
              <a:gd name="connsiteY352" fmla="*/ 5119077 h 8684653"/>
              <a:gd name="connsiteX353" fmla="*/ 13500157 w 16408544"/>
              <a:gd name="connsiteY353" fmla="*/ 5233291 h 8684653"/>
              <a:gd name="connsiteX354" fmla="*/ 13481475 w 16408544"/>
              <a:gd name="connsiteY354" fmla="*/ 5283704 h 8684653"/>
              <a:gd name="connsiteX355" fmla="*/ 13463541 w 16408544"/>
              <a:gd name="connsiteY355" fmla="*/ 5248418 h 8684653"/>
              <a:gd name="connsiteX356" fmla="*/ 13464290 w 16408544"/>
              <a:gd name="connsiteY356" fmla="*/ 5252044 h 8684653"/>
              <a:gd name="connsiteX357" fmla="*/ 13455862 w 16408544"/>
              <a:gd name="connsiteY357" fmla="*/ 5239907 h 8684653"/>
              <a:gd name="connsiteX358" fmla="*/ 13442245 w 16408544"/>
              <a:gd name="connsiteY358" fmla="*/ 5260575 h 8684653"/>
              <a:gd name="connsiteX359" fmla="*/ 13459303 w 16408544"/>
              <a:gd name="connsiteY359" fmla="*/ 5292302 h 8684653"/>
              <a:gd name="connsiteX360" fmla="*/ 13442876 w 16408544"/>
              <a:gd name="connsiteY360" fmla="*/ 5313027 h 8684653"/>
              <a:gd name="connsiteX361" fmla="*/ 13435615 w 16408544"/>
              <a:gd name="connsiteY361" fmla="*/ 5300938 h 8684653"/>
              <a:gd name="connsiteX362" fmla="*/ 13420938 w 16408544"/>
              <a:gd name="connsiteY362" fmla="*/ 5301967 h 8684653"/>
              <a:gd name="connsiteX363" fmla="*/ 13383535 w 16408544"/>
              <a:gd name="connsiteY363" fmla="*/ 5249005 h 8684653"/>
              <a:gd name="connsiteX364" fmla="*/ 13391146 w 16408544"/>
              <a:gd name="connsiteY364" fmla="*/ 5231386 h 8684653"/>
              <a:gd name="connsiteX365" fmla="*/ 13385469 w 16408544"/>
              <a:gd name="connsiteY365" fmla="*/ 5216422 h 8684653"/>
              <a:gd name="connsiteX366" fmla="*/ 13365038 w 16408544"/>
              <a:gd name="connsiteY366" fmla="*/ 5215835 h 8684653"/>
              <a:gd name="connsiteX367" fmla="*/ 13364717 w 16408544"/>
              <a:gd name="connsiteY367" fmla="*/ 5229203 h 8684653"/>
              <a:gd name="connsiteX368" fmla="*/ 13350088 w 16408544"/>
              <a:gd name="connsiteY368" fmla="*/ 5221558 h 8684653"/>
              <a:gd name="connsiteX369" fmla="*/ 13345539 w 16408544"/>
              <a:gd name="connsiteY369" fmla="*/ 5229030 h 8684653"/>
              <a:gd name="connsiteX370" fmla="*/ 13331027 w 16408544"/>
              <a:gd name="connsiteY370" fmla="*/ 5215297 h 8684653"/>
              <a:gd name="connsiteX371" fmla="*/ 13301935 w 16408544"/>
              <a:gd name="connsiteY371" fmla="*/ 5278895 h 8684653"/>
              <a:gd name="connsiteX372" fmla="*/ 13302547 w 16408544"/>
              <a:gd name="connsiteY372" fmla="*/ 5244475 h 8684653"/>
              <a:gd name="connsiteX373" fmla="*/ 13297036 w 16408544"/>
              <a:gd name="connsiteY373" fmla="*/ 5229473 h 8684653"/>
              <a:gd name="connsiteX374" fmla="*/ 13306377 w 16408544"/>
              <a:gd name="connsiteY374" fmla="*/ 5190985 h 8684653"/>
              <a:gd name="connsiteX375" fmla="*/ 13357058 w 16408544"/>
              <a:gd name="connsiteY375" fmla="*/ 5159152 h 8684653"/>
              <a:gd name="connsiteX376" fmla="*/ 13383059 w 16408544"/>
              <a:gd name="connsiteY376" fmla="*/ 5183425 h 8684653"/>
              <a:gd name="connsiteX377" fmla="*/ 13391846 w 16408544"/>
              <a:gd name="connsiteY377" fmla="*/ 5183647 h 8684653"/>
              <a:gd name="connsiteX378" fmla="*/ 13405425 w 16408544"/>
              <a:gd name="connsiteY378" fmla="*/ 5164374 h 8684653"/>
              <a:gd name="connsiteX379" fmla="*/ 13436821 w 16408544"/>
              <a:gd name="connsiteY379" fmla="*/ 5141139 h 8684653"/>
              <a:gd name="connsiteX380" fmla="*/ 13441720 w 16408544"/>
              <a:gd name="connsiteY380" fmla="*/ 5105401 h 8684653"/>
              <a:gd name="connsiteX381" fmla="*/ 13386964 w 16408544"/>
              <a:gd name="connsiteY381" fmla="*/ 5105400 h 8684653"/>
              <a:gd name="connsiteX382" fmla="*/ 13405759 w 16408544"/>
              <a:gd name="connsiteY382" fmla="*/ 5105807 h 8684653"/>
              <a:gd name="connsiteX383" fmla="*/ 13381744 w 16408544"/>
              <a:gd name="connsiteY383" fmla="*/ 5135069 h 8684653"/>
              <a:gd name="connsiteX384" fmla="*/ 13373090 w 16408544"/>
              <a:gd name="connsiteY384" fmla="*/ 5127466 h 8684653"/>
              <a:gd name="connsiteX385" fmla="*/ 13386964 w 16408544"/>
              <a:gd name="connsiteY385" fmla="*/ 5105400 h 8684653"/>
              <a:gd name="connsiteX386" fmla="*/ 13338384 w 16408544"/>
              <a:gd name="connsiteY386" fmla="*/ 5068203 h 8684653"/>
              <a:gd name="connsiteX387" fmla="*/ 13360259 w 16408544"/>
              <a:gd name="connsiteY387" fmla="*/ 5085151 h 8684653"/>
              <a:gd name="connsiteX388" fmla="*/ 13343080 w 16408544"/>
              <a:gd name="connsiteY388" fmla="*/ 5132454 h 8684653"/>
              <a:gd name="connsiteX389" fmla="*/ 13350280 w 16408544"/>
              <a:gd name="connsiteY389" fmla="*/ 5152052 h 8684653"/>
              <a:gd name="connsiteX390" fmla="*/ 13341372 w 16408544"/>
              <a:gd name="connsiteY390" fmla="*/ 5159372 h 8684653"/>
              <a:gd name="connsiteX391" fmla="*/ 13309589 w 16408544"/>
              <a:gd name="connsiteY391" fmla="*/ 5119999 h 8684653"/>
              <a:gd name="connsiteX392" fmla="*/ 13322757 w 16408544"/>
              <a:gd name="connsiteY392" fmla="*/ 5111140 h 8684653"/>
              <a:gd name="connsiteX393" fmla="*/ 13338384 w 16408544"/>
              <a:gd name="connsiteY393" fmla="*/ 5068203 h 8684653"/>
              <a:gd name="connsiteX394" fmla="*/ 13374491 w 16408544"/>
              <a:gd name="connsiteY394" fmla="*/ 5067300 h 8684653"/>
              <a:gd name="connsiteX395" fmla="*/ 13387774 w 16408544"/>
              <a:gd name="connsiteY395" fmla="*/ 5067339 h 8684653"/>
              <a:gd name="connsiteX396" fmla="*/ 13367565 w 16408544"/>
              <a:gd name="connsiteY396" fmla="*/ 5123724 h 8684653"/>
              <a:gd name="connsiteX397" fmla="*/ 13360389 w 16408544"/>
              <a:gd name="connsiteY397" fmla="*/ 5123724 h 8684653"/>
              <a:gd name="connsiteX398" fmla="*/ 13374491 w 16408544"/>
              <a:gd name="connsiteY398" fmla="*/ 5067300 h 8684653"/>
              <a:gd name="connsiteX399" fmla="*/ 13293326 w 16408544"/>
              <a:gd name="connsiteY399" fmla="*/ 5016501 h 8684653"/>
              <a:gd name="connsiteX400" fmla="*/ 13299613 w 16408544"/>
              <a:gd name="connsiteY400" fmla="*/ 5021458 h 8684653"/>
              <a:gd name="connsiteX401" fmla="*/ 13336909 w 16408544"/>
              <a:gd name="connsiteY401" fmla="*/ 5044148 h 8684653"/>
              <a:gd name="connsiteX402" fmla="*/ 13289110 w 16408544"/>
              <a:gd name="connsiteY402" fmla="*/ 5091167 h 8684653"/>
              <a:gd name="connsiteX403" fmla="*/ 13284191 w 16408544"/>
              <a:gd name="connsiteY403" fmla="*/ 5023722 h 8684653"/>
              <a:gd name="connsiteX404" fmla="*/ 13293326 w 16408544"/>
              <a:gd name="connsiteY404" fmla="*/ 5016501 h 8684653"/>
              <a:gd name="connsiteX405" fmla="*/ 13335424 w 16408544"/>
              <a:gd name="connsiteY405" fmla="*/ 4978401 h 8684653"/>
              <a:gd name="connsiteX406" fmla="*/ 13348567 w 16408544"/>
              <a:gd name="connsiteY406" fmla="*/ 4978784 h 8684653"/>
              <a:gd name="connsiteX407" fmla="*/ 13371604 w 16408544"/>
              <a:gd name="connsiteY407" fmla="*/ 5016464 h 8684653"/>
              <a:gd name="connsiteX408" fmla="*/ 13355675 w 16408544"/>
              <a:gd name="connsiteY408" fmla="*/ 5001293 h 8684653"/>
              <a:gd name="connsiteX409" fmla="*/ 13334990 w 16408544"/>
              <a:gd name="connsiteY409" fmla="*/ 5000870 h 8684653"/>
              <a:gd name="connsiteX410" fmla="*/ 13335424 w 16408544"/>
              <a:gd name="connsiteY410" fmla="*/ 4978401 h 8684653"/>
              <a:gd name="connsiteX411" fmla="*/ 13399095 w 16408544"/>
              <a:gd name="connsiteY411" fmla="*/ 4978400 h 8684653"/>
              <a:gd name="connsiteX412" fmla="*/ 13431287 w 16408544"/>
              <a:gd name="connsiteY412" fmla="*/ 4985092 h 8684653"/>
              <a:gd name="connsiteX413" fmla="*/ 13431126 w 16408544"/>
              <a:gd name="connsiteY413" fmla="*/ 4999956 h 8684653"/>
              <a:gd name="connsiteX414" fmla="*/ 13439944 w 16408544"/>
              <a:gd name="connsiteY414" fmla="*/ 5000157 h 8684653"/>
              <a:gd name="connsiteX415" fmla="*/ 13439714 w 16408544"/>
              <a:gd name="connsiteY415" fmla="*/ 5023866 h 8684653"/>
              <a:gd name="connsiteX416" fmla="*/ 13451197 w 16408544"/>
              <a:gd name="connsiteY416" fmla="*/ 5037613 h 8684653"/>
              <a:gd name="connsiteX417" fmla="*/ 13444932 w 16408544"/>
              <a:gd name="connsiteY417" fmla="*/ 5056789 h 8684653"/>
              <a:gd name="connsiteX418" fmla="*/ 13422944 w 16408544"/>
              <a:gd name="connsiteY418" fmla="*/ 5056544 h 8684653"/>
              <a:gd name="connsiteX419" fmla="*/ 13435548 w 16408544"/>
              <a:gd name="connsiteY419" fmla="*/ 5086555 h 8684653"/>
              <a:gd name="connsiteX420" fmla="*/ 13435432 w 16408544"/>
              <a:gd name="connsiteY420" fmla="*/ 5095535 h 8684653"/>
              <a:gd name="connsiteX421" fmla="*/ 13422242 w 16408544"/>
              <a:gd name="connsiteY421" fmla="*/ 5095373 h 8684653"/>
              <a:gd name="connsiteX422" fmla="*/ 13415201 w 16408544"/>
              <a:gd name="connsiteY422" fmla="*/ 5074277 h 8684653"/>
              <a:gd name="connsiteX423" fmla="*/ 13415450 w 16408544"/>
              <a:gd name="connsiteY423" fmla="*/ 5065362 h 8684653"/>
              <a:gd name="connsiteX424" fmla="*/ 13393535 w 16408544"/>
              <a:gd name="connsiteY424" fmla="*/ 5045525 h 8684653"/>
              <a:gd name="connsiteX425" fmla="*/ 13393671 w 16408544"/>
              <a:gd name="connsiteY425" fmla="*/ 5036545 h 8684653"/>
              <a:gd name="connsiteX426" fmla="*/ 13412945 w 16408544"/>
              <a:gd name="connsiteY426" fmla="*/ 5036805 h 8684653"/>
              <a:gd name="connsiteX427" fmla="*/ 13420349 w 16408544"/>
              <a:gd name="connsiteY427" fmla="*/ 5028009 h 8684653"/>
              <a:gd name="connsiteX428" fmla="*/ 13385789 w 16408544"/>
              <a:gd name="connsiteY428" fmla="*/ 4984040 h 8684653"/>
              <a:gd name="connsiteX429" fmla="*/ 13399095 w 16408544"/>
              <a:gd name="connsiteY429" fmla="*/ 4978400 h 8684653"/>
              <a:gd name="connsiteX430" fmla="*/ 12244202 w 16408544"/>
              <a:gd name="connsiteY430" fmla="*/ 4950040 h 8684653"/>
              <a:gd name="connsiteX431" fmla="*/ 12253010 w 16408544"/>
              <a:gd name="connsiteY431" fmla="*/ 4990696 h 8684653"/>
              <a:gd name="connsiteX432" fmla="*/ 12248606 w 16408544"/>
              <a:gd name="connsiteY432" fmla="*/ 4999696 h 8684653"/>
              <a:gd name="connsiteX433" fmla="*/ 12253451 w 16408544"/>
              <a:gd name="connsiteY433" fmla="*/ 4990696 h 8684653"/>
              <a:gd name="connsiteX434" fmla="*/ 12244202 w 16408544"/>
              <a:gd name="connsiteY434" fmla="*/ 4950040 h 8684653"/>
              <a:gd name="connsiteX435" fmla="*/ 13207989 w 16408544"/>
              <a:gd name="connsiteY435" fmla="*/ 4940300 h 8684653"/>
              <a:gd name="connsiteX436" fmla="*/ 13222707 w 16408544"/>
              <a:gd name="connsiteY436" fmla="*/ 4940463 h 8684653"/>
              <a:gd name="connsiteX437" fmla="*/ 13260554 w 16408544"/>
              <a:gd name="connsiteY437" fmla="*/ 4968049 h 8684653"/>
              <a:gd name="connsiteX438" fmla="*/ 13249752 w 16408544"/>
              <a:gd name="connsiteY438" fmla="*/ 4997838 h 8684653"/>
              <a:gd name="connsiteX439" fmla="*/ 13207989 w 16408544"/>
              <a:gd name="connsiteY439" fmla="*/ 4940300 h 8684653"/>
              <a:gd name="connsiteX440" fmla="*/ 12191796 w 16408544"/>
              <a:gd name="connsiteY440" fmla="*/ 4829313 h 8684653"/>
              <a:gd name="connsiteX441" fmla="*/ 12190475 w 16408544"/>
              <a:gd name="connsiteY441" fmla="*/ 4844831 h 8684653"/>
              <a:gd name="connsiteX442" fmla="*/ 12191796 w 16408544"/>
              <a:gd name="connsiteY442" fmla="*/ 4829623 h 8684653"/>
              <a:gd name="connsiteX443" fmla="*/ 13211048 w 16408544"/>
              <a:gd name="connsiteY443" fmla="*/ 4686301 h 8684653"/>
              <a:gd name="connsiteX444" fmla="*/ 13237204 w 16408544"/>
              <a:gd name="connsiteY444" fmla="*/ 4713745 h 8684653"/>
              <a:gd name="connsiteX445" fmla="*/ 13256545 w 16408544"/>
              <a:gd name="connsiteY445" fmla="*/ 4699248 h 8684653"/>
              <a:gd name="connsiteX446" fmla="*/ 13259234 w 16408544"/>
              <a:gd name="connsiteY446" fmla="*/ 4706704 h 8684653"/>
              <a:gd name="connsiteX447" fmla="*/ 13262154 w 16408544"/>
              <a:gd name="connsiteY447" fmla="*/ 4717175 h 8684653"/>
              <a:gd name="connsiteX448" fmla="*/ 13280168 w 16408544"/>
              <a:gd name="connsiteY448" fmla="*/ 4784649 h 8684653"/>
              <a:gd name="connsiteX449" fmla="*/ 13252668 w 16408544"/>
              <a:gd name="connsiteY449" fmla="*/ 4851224 h 8684653"/>
              <a:gd name="connsiteX450" fmla="*/ 13288209 w 16408544"/>
              <a:gd name="connsiteY450" fmla="*/ 4919003 h 8684653"/>
              <a:gd name="connsiteX451" fmla="*/ 13288439 w 16408544"/>
              <a:gd name="connsiteY451" fmla="*/ 4911672 h 8684653"/>
              <a:gd name="connsiteX452" fmla="*/ 13304704 w 16408544"/>
              <a:gd name="connsiteY452" fmla="*/ 4900066 h 8684653"/>
              <a:gd name="connsiteX453" fmla="*/ 13335170 w 16408544"/>
              <a:gd name="connsiteY453" fmla="*/ 4934841 h 8684653"/>
              <a:gd name="connsiteX454" fmla="*/ 13348589 w 16408544"/>
              <a:gd name="connsiteY454" fmla="*/ 4924757 h 8684653"/>
              <a:gd name="connsiteX455" fmla="*/ 13357246 w 16408544"/>
              <a:gd name="connsiteY455" fmla="*/ 4927911 h 8684653"/>
              <a:gd name="connsiteX456" fmla="*/ 13348202 w 16408544"/>
              <a:gd name="connsiteY456" fmla="*/ 4945769 h 8684653"/>
              <a:gd name="connsiteX457" fmla="*/ 13358425 w 16408544"/>
              <a:gd name="connsiteY457" fmla="*/ 4945824 h 8684653"/>
              <a:gd name="connsiteX458" fmla="*/ 13377222 w 16408544"/>
              <a:gd name="connsiteY458" fmla="*/ 4964152 h 8684653"/>
              <a:gd name="connsiteX459" fmla="*/ 13377065 w 16408544"/>
              <a:gd name="connsiteY459" fmla="*/ 4976034 h 8684653"/>
              <a:gd name="connsiteX460" fmla="*/ 13371116 w 16408544"/>
              <a:gd name="connsiteY460" fmla="*/ 4984983 h 8684653"/>
              <a:gd name="connsiteX461" fmla="*/ 13363849 w 16408544"/>
              <a:gd name="connsiteY461" fmla="*/ 4972838 h 8684653"/>
              <a:gd name="connsiteX462" fmla="*/ 13311657 w 16408544"/>
              <a:gd name="connsiteY462" fmla="*/ 4927053 h 8684653"/>
              <a:gd name="connsiteX463" fmla="*/ 13312661 w 16408544"/>
              <a:gd name="connsiteY463" fmla="*/ 4955493 h 8684653"/>
              <a:gd name="connsiteX464" fmla="*/ 13270489 w 16408544"/>
              <a:gd name="connsiteY464" fmla="*/ 4921866 h 8684653"/>
              <a:gd name="connsiteX465" fmla="*/ 13246746 w 16408544"/>
              <a:gd name="connsiteY465" fmla="*/ 4930401 h 8684653"/>
              <a:gd name="connsiteX466" fmla="*/ 13225195 w 16408544"/>
              <a:gd name="connsiteY466" fmla="*/ 4909016 h 8684653"/>
              <a:gd name="connsiteX467" fmla="*/ 13234220 w 16408544"/>
              <a:gd name="connsiteY467" fmla="*/ 4892735 h 8684653"/>
              <a:gd name="connsiteX468" fmla="*/ 13234405 w 16408544"/>
              <a:gd name="connsiteY468" fmla="*/ 4877838 h 8684653"/>
              <a:gd name="connsiteX469" fmla="*/ 13225747 w 16408544"/>
              <a:gd name="connsiteY469" fmla="*/ 4877755 h 8684653"/>
              <a:gd name="connsiteX470" fmla="*/ 13215174 w 16408544"/>
              <a:gd name="connsiteY470" fmla="*/ 4887922 h 8684653"/>
              <a:gd name="connsiteX471" fmla="*/ 13183253 w 16408544"/>
              <a:gd name="connsiteY471" fmla="*/ 4860603 h 8684653"/>
              <a:gd name="connsiteX472" fmla="*/ 13192914 w 16408544"/>
              <a:gd name="connsiteY472" fmla="*/ 4808413 h 8684653"/>
              <a:gd name="connsiteX473" fmla="*/ 13202437 w 16408544"/>
              <a:gd name="connsiteY473" fmla="*/ 4763859 h 8684653"/>
              <a:gd name="connsiteX474" fmla="*/ 13196082 w 16408544"/>
              <a:gd name="connsiteY474" fmla="*/ 4715889 h 8684653"/>
              <a:gd name="connsiteX475" fmla="*/ 13211048 w 16408544"/>
              <a:gd name="connsiteY475" fmla="*/ 4686301 h 8684653"/>
              <a:gd name="connsiteX476" fmla="*/ 4341122 w 16408544"/>
              <a:gd name="connsiteY476" fmla="*/ 4622801 h 8684653"/>
              <a:gd name="connsiteX477" fmla="*/ 4379977 w 16408544"/>
              <a:gd name="connsiteY477" fmla="*/ 4634774 h 8684653"/>
              <a:gd name="connsiteX478" fmla="*/ 4428340 w 16408544"/>
              <a:gd name="connsiteY478" fmla="*/ 4627898 h 8684653"/>
              <a:gd name="connsiteX479" fmla="*/ 4518580 w 16408544"/>
              <a:gd name="connsiteY479" fmla="*/ 4672513 h 8684653"/>
              <a:gd name="connsiteX480" fmla="*/ 4510634 w 16408544"/>
              <a:gd name="connsiteY480" fmla="*/ 4665535 h 8684653"/>
              <a:gd name="connsiteX481" fmla="*/ 4554084 w 16408544"/>
              <a:gd name="connsiteY481" fmla="*/ 4703350 h 8684653"/>
              <a:gd name="connsiteX482" fmla="*/ 4494437 w 16408544"/>
              <a:gd name="connsiteY482" fmla="*/ 4703350 h 8684653"/>
              <a:gd name="connsiteX483" fmla="*/ 4465356 w 16408544"/>
              <a:gd name="connsiteY483" fmla="*/ 4717183 h 8684653"/>
              <a:gd name="connsiteX484" fmla="*/ 4449246 w 16408544"/>
              <a:gd name="connsiteY484" fmla="*/ 4708511 h 8684653"/>
              <a:gd name="connsiteX485" fmla="*/ 4412093 w 16408544"/>
              <a:gd name="connsiteY485" fmla="*/ 4739288 h 8684653"/>
              <a:gd name="connsiteX486" fmla="*/ 4392798 w 16408544"/>
              <a:gd name="connsiteY486" fmla="*/ 4717183 h 8684653"/>
              <a:gd name="connsiteX487" fmla="*/ 4320189 w 16408544"/>
              <a:gd name="connsiteY487" fmla="*/ 4711865 h 8684653"/>
              <a:gd name="connsiteX488" fmla="*/ 4300832 w 16408544"/>
              <a:gd name="connsiteY488" fmla="*/ 4711865 h 8684653"/>
              <a:gd name="connsiteX489" fmla="*/ 4299219 w 16408544"/>
              <a:gd name="connsiteY489" fmla="*/ 4725617 h 8684653"/>
              <a:gd name="connsiteX490" fmla="*/ 4279898 w 16408544"/>
              <a:gd name="connsiteY490" fmla="*/ 4698113 h 8684653"/>
              <a:gd name="connsiteX491" fmla="*/ 4287921 w 16408544"/>
              <a:gd name="connsiteY491" fmla="*/ 4691200 h 8684653"/>
              <a:gd name="connsiteX492" fmla="*/ 4360416 w 16408544"/>
              <a:gd name="connsiteY492" fmla="*/ 4689657 h 8684653"/>
              <a:gd name="connsiteX493" fmla="*/ 4349232 w 16408544"/>
              <a:gd name="connsiteY493" fmla="*/ 4653665 h 8684653"/>
              <a:gd name="connsiteX494" fmla="*/ 4328197 w 16408544"/>
              <a:gd name="connsiteY494" fmla="*/ 4634774 h 8684653"/>
              <a:gd name="connsiteX495" fmla="*/ 4341122 w 16408544"/>
              <a:gd name="connsiteY495" fmla="*/ 4622801 h 8684653"/>
              <a:gd name="connsiteX496" fmla="*/ 12754294 w 16408544"/>
              <a:gd name="connsiteY496" fmla="*/ 4584700 h 8684653"/>
              <a:gd name="connsiteX497" fmla="*/ 12773522 w 16408544"/>
              <a:gd name="connsiteY497" fmla="*/ 4610324 h 8684653"/>
              <a:gd name="connsiteX498" fmla="*/ 12701119 w 16408544"/>
              <a:gd name="connsiteY498" fmla="*/ 4687537 h 8684653"/>
              <a:gd name="connsiteX499" fmla="*/ 12665442 w 16408544"/>
              <a:gd name="connsiteY499" fmla="*/ 4653401 h 8684653"/>
              <a:gd name="connsiteX500" fmla="*/ 12665442 w 16408544"/>
              <a:gd name="connsiteY500" fmla="*/ 4627554 h 8684653"/>
              <a:gd name="connsiteX501" fmla="*/ 12754294 w 16408544"/>
              <a:gd name="connsiteY501" fmla="*/ 4584700 h 8684653"/>
              <a:gd name="connsiteX502" fmla="*/ 3929612 w 16408544"/>
              <a:gd name="connsiteY502" fmla="*/ 4457700 h 8684653"/>
              <a:gd name="connsiteX503" fmla="*/ 4087627 w 16408544"/>
              <a:gd name="connsiteY503" fmla="*/ 4500556 h 8684653"/>
              <a:gd name="connsiteX504" fmla="*/ 4115020 w 16408544"/>
              <a:gd name="connsiteY504" fmla="*/ 4521146 h 8684653"/>
              <a:gd name="connsiteX505" fmla="*/ 4215122 w 16408544"/>
              <a:gd name="connsiteY505" fmla="*/ 4563994 h 8684653"/>
              <a:gd name="connsiteX506" fmla="*/ 4215122 w 16408544"/>
              <a:gd name="connsiteY506" fmla="*/ 4576030 h 8684653"/>
              <a:gd name="connsiteX507" fmla="*/ 4239319 w 16408544"/>
              <a:gd name="connsiteY507" fmla="*/ 4577666 h 8684653"/>
              <a:gd name="connsiteX508" fmla="*/ 4276405 w 16408544"/>
              <a:gd name="connsiteY508" fmla="*/ 4611985 h 8684653"/>
              <a:gd name="connsiteX509" fmla="*/ 4215122 w 16408544"/>
              <a:gd name="connsiteY509" fmla="*/ 4632655 h 8684653"/>
              <a:gd name="connsiteX510" fmla="*/ 4121608 w 16408544"/>
              <a:gd name="connsiteY510" fmla="*/ 4620765 h 8684653"/>
              <a:gd name="connsiteX511" fmla="*/ 4121608 w 16408544"/>
              <a:gd name="connsiteY511" fmla="*/ 4610373 h 8684653"/>
              <a:gd name="connsiteX512" fmla="*/ 4137756 w 16408544"/>
              <a:gd name="connsiteY512" fmla="*/ 4595024 h 8684653"/>
              <a:gd name="connsiteX513" fmla="*/ 4082879 w 16408544"/>
              <a:gd name="connsiteY513" fmla="*/ 4558883 h 8684653"/>
              <a:gd name="connsiteX514" fmla="*/ 4065156 w 16408544"/>
              <a:gd name="connsiteY514" fmla="*/ 4543493 h 8684653"/>
              <a:gd name="connsiteX515" fmla="*/ 4031265 w 16408544"/>
              <a:gd name="connsiteY515" fmla="*/ 4541687 h 8684653"/>
              <a:gd name="connsiteX516" fmla="*/ 3974749 w 16408544"/>
              <a:gd name="connsiteY516" fmla="*/ 4516148 h 8684653"/>
              <a:gd name="connsiteX517" fmla="*/ 3927971 w 16408544"/>
              <a:gd name="connsiteY517" fmla="*/ 4516148 h 8684653"/>
              <a:gd name="connsiteX518" fmla="*/ 3924730 w 16408544"/>
              <a:gd name="connsiteY518" fmla="*/ 4497235 h 8684653"/>
              <a:gd name="connsiteX519" fmla="*/ 3902195 w 16408544"/>
              <a:gd name="connsiteY519" fmla="*/ 4491938 h 8684653"/>
              <a:gd name="connsiteX520" fmla="*/ 3811875 w 16408544"/>
              <a:gd name="connsiteY520" fmla="*/ 4533174 h 8684653"/>
              <a:gd name="connsiteX521" fmla="*/ 3797302 w 16408544"/>
              <a:gd name="connsiteY521" fmla="*/ 4533174 h 8684653"/>
              <a:gd name="connsiteX522" fmla="*/ 3929612 w 16408544"/>
              <a:gd name="connsiteY522" fmla="*/ 4457700 h 8684653"/>
              <a:gd name="connsiteX523" fmla="*/ 13252173 w 16408544"/>
              <a:gd name="connsiteY523" fmla="*/ 4330700 h 8684653"/>
              <a:gd name="connsiteX524" fmla="*/ 13219781 w 16408544"/>
              <a:gd name="connsiteY524" fmla="*/ 4481692 h 8684653"/>
              <a:gd name="connsiteX525" fmla="*/ 13195605 w 16408544"/>
              <a:gd name="connsiteY525" fmla="*/ 4433557 h 8684653"/>
              <a:gd name="connsiteX526" fmla="*/ 13252173 w 16408544"/>
              <a:gd name="connsiteY526" fmla="*/ 4330700 h 8684653"/>
              <a:gd name="connsiteX527" fmla="*/ 9282130 w 16408544"/>
              <a:gd name="connsiteY527" fmla="*/ 4086330 h 8684653"/>
              <a:gd name="connsiteX528" fmla="*/ 9283010 w 16408544"/>
              <a:gd name="connsiteY528" fmla="*/ 4090675 h 8684653"/>
              <a:gd name="connsiteX529" fmla="*/ 9283010 w 16408544"/>
              <a:gd name="connsiteY529" fmla="*/ 4088502 h 8684653"/>
              <a:gd name="connsiteX530" fmla="*/ 13677076 w 16408544"/>
              <a:gd name="connsiteY530" fmla="*/ 3860800 h 8684653"/>
              <a:gd name="connsiteX531" fmla="*/ 13719060 w 16408544"/>
              <a:gd name="connsiteY531" fmla="*/ 3874495 h 8684653"/>
              <a:gd name="connsiteX532" fmla="*/ 13720726 w 16408544"/>
              <a:gd name="connsiteY532" fmla="*/ 3891680 h 8684653"/>
              <a:gd name="connsiteX533" fmla="*/ 13735190 w 16408544"/>
              <a:gd name="connsiteY533" fmla="*/ 3905396 h 8684653"/>
              <a:gd name="connsiteX534" fmla="*/ 13735190 w 16408544"/>
              <a:gd name="connsiteY534" fmla="*/ 3922648 h 8684653"/>
              <a:gd name="connsiteX535" fmla="*/ 13720726 w 16408544"/>
              <a:gd name="connsiteY535" fmla="*/ 3922648 h 8684653"/>
              <a:gd name="connsiteX536" fmla="*/ 13680334 w 16408544"/>
              <a:gd name="connsiteY536" fmla="*/ 4006594 h 8684653"/>
              <a:gd name="connsiteX537" fmla="*/ 13675459 w 16408544"/>
              <a:gd name="connsiteY537" fmla="*/ 3991205 h 8684653"/>
              <a:gd name="connsiteX538" fmla="*/ 13675459 w 16408544"/>
              <a:gd name="connsiteY538" fmla="*/ 4001458 h 8684653"/>
              <a:gd name="connsiteX539" fmla="*/ 13652968 w 16408544"/>
              <a:gd name="connsiteY539" fmla="*/ 3974236 h 8684653"/>
              <a:gd name="connsiteX540" fmla="*/ 13669053 w 16408544"/>
              <a:gd name="connsiteY540" fmla="*/ 3946528 h 8684653"/>
              <a:gd name="connsiteX541" fmla="*/ 13675459 w 16408544"/>
              <a:gd name="connsiteY541" fmla="*/ 3922648 h 8684653"/>
              <a:gd name="connsiteX542" fmla="*/ 13662562 w 16408544"/>
              <a:gd name="connsiteY542" fmla="*/ 3900259 h 8684653"/>
              <a:gd name="connsiteX543" fmla="*/ 13662562 w 16408544"/>
              <a:gd name="connsiteY543" fmla="*/ 3915648 h 8684653"/>
              <a:gd name="connsiteX544" fmla="*/ 13643199 w 16408544"/>
              <a:gd name="connsiteY544" fmla="*/ 3922648 h 8684653"/>
              <a:gd name="connsiteX545" fmla="*/ 13627089 w 16408544"/>
              <a:gd name="connsiteY545" fmla="*/ 3903816 h 8684653"/>
              <a:gd name="connsiteX546" fmla="*/ 13677076 w 16408544"/>
              <a:gd name="connsiteY546" fmla="*/ 3860800 h 8684653"/>
              <a:gd name="connsiteX547" fmla="*/ 13839456 w 16408544"/>
              <a:gd name="connsiteY547" fmla="*/ 3835400 h 8684653"/>
              <a:gd name="connsiteX548" fmla="*/ 13839456 w 16408544"/>
              <a:gd name="connsiteY548" fmla="*/ 3895424 h 8684653"/>
              <a:gd name="connsiteX549" fmla="*/ 13815328 w 16408544"/>
              <a:gd name="connsiteY549" fmla="*/ 3883369 h 8684653"/>
              <a:gd name="connsiteX550" fmla="*/ 13776733 w 16408544"/>
              <a:gd name="connsiteY550" fmla="*/ 3926224 h 8684653"/>
              <a:gd name="connsiteX551" fmla="*/ 13766937 w 16408544"/>
              <a:gd name="connsiteY551" fmla="*/ 3900440 h 8684653"/>
              <a:gd name="connsiteX552" fmla="*/ 13754089 w 16408544"/>
              <a:gd name="connsiteY552" fmla="*/ 3881771 h 8684653"/>
              <a:gd name="connsiteX553" fmla="*/ 13784641 w 16408544"/>
              <a:gd name="connsiteY553" fmla="*/ 3855827 h 8684653"/>
              <a:gd name="connsiteX554" fmla="*/ 13839456 w 16408544"/>
              <a:gd name="connsiteY554" fmla="*/ 3835400 h 8684653"/>
              <a:gd name="connsiteX555" fmla="*/ 8365060 w 16408544"/>
              <a:gd name="connsiteY555" fmla="*/ 3645482 h 8684653"/>
              <a:gd name="connsiteX556" fmla="*/ 8380963 w 16408544"/>
              <a:gd name="connsiteY556" fmla="*/ 3645931 h 8684653"/>
              <a:gd name="connsiteX557" fmla="*/ 8374355 w 16408544"/>
              <a:gd name="connsiteY557" fmla="*/ 3665790 h 8684653"/>
              <a:gd name="connsiteX558" fmla="*/ 8366249 w 16408544"/>
              <a:gd name="connsiteY558" fmla="*/ 3684578 h 8684653"/>
              <a:gd name="connsiteX559" fmla="*/ 8374355 w 16408544"/>
              <a:gd name="connsiteY559" fmla="*/ 3712146 h 8684653"/>
              <a:gd name="connsiteX560" fmla="*/ 8364674 w 16408544"/>
              <a:gd name="connsiteY560" fmla="*/ 3724217 h 8684653"/>
              <a:gd name="connsiteX561" fmla="*/ 8351756 w 16408544"/>
              <a:gd name="connsiteY561" fmla="*/ 3717220 h 8684653"/>
              <a:gd name="connsiteX562" fmla="*/ 8277525 w 16408544"/>
              <a:gd name="connsiteY562" fmla="*/ 3672568 h 8684653"/>
              <a:gd name="connsiteX563" fmla="*/ 8254990 w 16408544"/>
              <a:gd name="connsiteY563" fmla="*/ 3664032 h 8684653"/>
              <a:gd name="connsiteX564" fmla="*/ 8254990 w 16408544"/>
              <a:gd name="connsiteY564" fmla="*/ 3651899 h 8684653"/>
              <a:gd name="connsiteX565" fmla="*/ 8326013 w 16408544"/>
              <a:gd name="connsiteY565" fmla="*/ 3657258 h 8684653"/>
              <a:gd name="connsiteX566" fmla="*/ 8365060 w 16408544"/>
              <a:gd name="connsiteY566" fmla="*/ 3645482 h 8684653"/>
              <a:gd name="connsiteX567" fmla="*/ 14160018 w 16408544"/>
              <a:gd name="connsiteY567" fmla="*/ 3441701 h 8684653"/>
              <a:gd name="connsiteX568" fmla="*/ 14179435 w 16408544"/>
              <a:gd name="connsiteY568" fmla="*/ 3450352 h 8684653"/>
              <a:gd name="connsiteX569" fmla="*/ 14182747 w 16408544"/>
              <a:gd name="connsiteY569" fmla="*/ 3484603 h 8684653"/>
              <a:gd name="connsiteX570" fmla="*/ 14205214 w 16408544"/>
              <a:gd name="connsiteY570" fmla="*/ 3544599 h 8684653"/>
              <a:gd name="connsiteX571" fmla="*/ 14182747 w 16408544"/>
              <a:gd name="connsiteY571" fmla="*/ 3597865 h 8684653"/>
              <a:gd name="connsiteX572" fmla="*/ 14182747 w 16408544"/>
              <a:gd name="connsiteY572" fmla="*/ 3608106 h 8684653"/>
              <a:gd name="connsiteX573" fmla="*/ 14168023 w 16408544"/>
              <a:gd name="connsiteY573" fmla="*/ 3611533 h 8684653"/>
              <a:gd name="connsiteX574" fmla="*/ 14156873 w 16408544"/>
              <a:gd name="connsiteY574" fmla="*/ 3688603 h 8684653"/>
              <a:gd name="connsiteX575" fmla="*/ 14139004 w 16408544"/>
              <a:gd name="connsiteY575" fmla="*/ 3736666 h 8684653"/>
              <a:gd name="connsiteX576" fmla="*/ 14147247 w 16408544"/>
              <a:gd name="connsiteY576" fmla="*/ 3769245 h 8684653"/>
              <a:gd name="connsiteX577" fmla="*/ 14108436 w 16408544"/>
              <a:gd name="connsiteY577" fmla="*/ 3803662 h 8684653"/>
              <a:gd name="connsiteX578" fmla="*/ 14109985 w 16408544"/>
              <a:gd name="connsiteY578" fmla="*/ 3776306 h 8684653"/>
              <a:gd name="connsiteX579" fmla="*/ 14066456 w 16408544"/>
              <a:gd name="connsiteY579" fmla="*/ 3817391 h 8684653"/>
              <a:gd name="connsiteX580" fmla="*/ 14058379 w 16408544"/>
              <a:gd name="connsiteY580" fmla="*/ 3808906 h 8684653"/>
              <a:gd name="connsiteX581" fmla="*/ 14042250 w 16408544"/>
              <a:gd name="connsiteY581" fmla="*/ 3808906 h 8684653"/>
              <a:gd name="connsiteX582" fmla="*/ 14009895 w 16408544"/>
              <a:gd name="connsiteY582" fmla="*/ 3829489 h 8684653"/>
              <a:gd name="connsiteX583" fmla="*/ 13963222 w 16408544"/>
              <a:gd name="connsiteY583" fmla="*/ 3800296 h 8684653"/>
              <a:gd name="connsiteX584" fmla="*/ 13953477 w 16408544"/>
              <a:gd name="connsiteY584" fmla="*/ 3813984 h 8684653"/>
              <a:gd name="connsiteX585" fmla="*/ 13969654 w 16408544"/>
              <a:gd name="connsiteY585" fmla="*/ 3841505 h 8684653"/>
              <a:gd name="connsiteX586" fmla="*/ 13953477 w 16408544"/>
              <a:gd name="connsiteY586" fmla="*/ 3843115 h 8684653"/>
              <a:gd name="connsiteX587" fmla="*/ 13914809 w 16408544"/>
              <a:gd name="connsiteY587" fmla="*/ 3887648 h 8684653"/>
              <a:gd name="connsiteX588" fmla="*/ 13892223 w 16408544"/>
              <a:gd name="connsiteY588" fmla="*/ 3870698 h 8684653"/>
              <a:gd name="connsiteX589" fmla="*/ 13892223 w 16408544"/>
              <a:gd name="connsiteY589" fmla="*/ 3856886 h 8684653"/>
              <a:gd name="connsiteX590" fmla="*/ 13897202 w 16408544"/>
              <a:gd name="connsiteY590" fmla="*/ 3827776 h 8684653"/>
              <a:gd name="connsiteX591" fmla="*/ 13848742 w 16408544"/>
              <a:gd name="connsiteY591" fmla="*/ 3812374 h 8684653"/>
              <a:gd name="connsiteX592" fmla="*/ 13832540 w 16408544"/>
              <a:gd name="connsiteY592" fmla="*/ 3826083 h 8684653"/>
              <a:gd name="connsiteX593" fmla="*/ 13796993 w 16408544"/>
              <a:gd name="connsiteY593" fmla="*/ 3831224 h 8684653"/>
              <a:gd name="connsiteX594" fmla="*/ 13713200 w 16408544"/>
              <a:gd name="connsiteY594" fmla="*/ 3855069 h 8684653"/>
              <a:gd name="connsiteX595" fmla="*/ 13690590 w 16408544"/>
              <a:gd name="connsiteY595" fmla="*/ 3848380 h 8684653"/>
              <a:gd name="connsiteX596" fmla="*/ 13711437 w 16408544"/>
              <a:gd name="connsiteY596" fmla="*/ 3836282 h 8684653"/>
              <a:gd name="connsiteX597" fmla="*/ 13801877 w 16408544"/>
              <a:gd name="connsiteY597" fmla="*/ 3769245 h 8684653"/>
              <a:gd name="connsiteX598" fmla="*/ 13901919 w 16408544"/>
              <a:gd name="connsiteY598" fmla="*/ 3769245 h 8684653"/>
              <a:gd name="connsiteX599" fmla="*/ 13953477 w 16408544"/>
              <a:gd name="connsiteY599" fmla="*/ 3716186 h 8684653"/>
              <a:gd name="connsiteX600" fmla="*/ 13980852 w 16408544"/>
              <a:gd name="connsiteY600" fmla="*/ 3673222 h 8684653"/>
              <a:gd name="connsiteX601" fmla="*/ 13972823 w 16408544"/>
              <a:gd name="connsiteY601" fmla="*/ 3692113 h 8684653"/>
              <a:gd name="connsiteX602" fmla="*/ 13980852 w 16408544"/>
              <a:gd name="connsiteY602" fmla="*/ 3700681 h 8684653"/>
              <a:gd name="connsiteX603" fmla="*/ 14027764 w 16408544"/>
              <a:gd name="connsiteY603" fmla="*/ 3676835 h 8684653"/>
              <a:gd name="connsiteX604" fmla="*/ 14116346 w 16408544"/>
              <a:gd name="connsiteY604" fmla="*/ 3537745 h 8684653"/>
              <a:gd name="connsiteX605" fmla="*/ 14109985 w 16408544"/>
              <a:gd name="connsiteY605" fmla="*/ 3517141 h 8684653"/>
              <a:gd name="connsiteX606" fmla="*/ 14147247 w 16408544"/>
              <a:gd name="connsiteY606" fmla="*/ 3453717 h 8684653"/>
              <a:gd name="connsiteX607" fmla="*/ 14168023 w 16408544"/>
              <a:gd name="connsiteY607" fmla="*/ 3458920 h 8684653"/>
              <a:gd name="connsiteX608" fmla="*/ 14163282 w 16408544"/>
              <a:gd name="connsiteY608" fmla="*/ 3457268 h 8684653"/>
              <a:gd name="connsiteX609" fmla="*/ 14160018 w 16408544"/>
              <a:gd name="connsiteY609" fmla="*/ 3441701 h 8684653"/>
              <a:gd name="connsiteX610" fmla="*/ 14401528 w 16408544"/>
              <a:gd name="connsiteY610" fmla="*/ 3251201 h 8684653"/>
              <a:gd name="connsiteX611" fmla="*/ 14406952 w 16408544"/>
              <a:gd name="connsiteY611" fmla="*/ 3255711 h 8684653"/>
              <a:gd name="connsiteX612" fmla="*/ 14366760 w 16408544"/>
              <a:gd name="connsiteY612" fmla="*/ 3291689 h 8684653"/>
              <a:gd name="connsiteX613" fmla="*/ 14366760 w 16408544"/>
              <a:gd name="connsiteY613" fmla="*/ 3276399 h 8684653"/>
              <a:gd name="connsiteX614" fmla="*/ 14401528 w 16408544"/>
              <a:gd name="connsiteY614" fmla="*/ 3251201 h 8684653"/>
              <a:gd name="connsiteX615" fmla="*/ 14401790 w 16408544"/>
              <a:gd name="connsiteY615" fmla="*/ 3251200 h 8684653"/>
              <a:gd name="connsiteX616" fmla="*/ 14406644 w 16408544"/>
              <a:gd name="connsiteY616" fmla="*/ 3252738 h 8684653"/>
              <a:gd name="connsiteX617" fmla="*/ 14404388 w 16408544"/>
              <a:gd name="connsiteY617" fmla="*/ 3253386 h 8684653"/>
              <a:gd name="connsiteX618" fmla="*/ 14203305 w 16408544"/>
              <a:gd name="connsiteY618" fmla="*/ 3187700 h 8684653"/>
              <a:gd name="connsiteX619" fmla="*/ 14329104 w 16408544"/>
              <a:gd name="connsiteY619" fmla="*/ 3273430 h 8684653"/>
              <a:gd name="connsiteX620" fmla="*/ 14362943 w 16408544"/>
              <a:gd name="connsiteY620" fmla="*/ 3269925 h 8684653"/>
              <a:gd name="connsiteX621" fmla="*/ 14353226 w 16408544"/>
              <a:gd name="connsiteY621" fmla="*/ 3290656 h 8684653"/>
              <a:gd name="connsiteX622" fmla="*/ 14372709 w 16408544"/>
              <a:gd name="connsiteY622" fmla="*/ 3312921 h 8684653"/>
              <a:gd name="connsiteX623" fmla="*/ 14322613 w 16408544"/>
              <a:gd name="connsiteY623" fmla="*/ 3328494 h 8684653"/>
              <a:gd name="connsiteX624" fmla="*/ 14264384 w 16408544"/>
              <a:gd name="connsiteY624" fmla="*/ 3388422 h 8684653"/>
              <a:gd name="connsiteX625" fmla="*/ 14195061 w 16408544"/>
              <a:gd name="connsiteY625" fmla="*/ 3348963 h 8684653"/>
              <a:gd name="connsiteX626" fmla="*/ 14183822 w 16408544"/>
              <a:gd name="connsiteY626" fmla="*/ 3362696 h 8684653"/>
              <a:gd name="connsiteX627" fmla="*/ 14135528 w 16408544"/>
              <a:gd name="connsiteY627" fmla="*/ 3374644 h 8684653"/>
              <a:gd name="connsiteX628" fmla="*/ 14166007 w 16408544"/>
              <a:gd name="connsiteY628" fmla="*/ 3398607 h 8684653"/>
              <a:gd name="connsiteX629" fmla="*/ 14127211 w 16408544"/>
              <a:gd name="connsiteY629" fmla="*/ 3424255 h 8684653"/>
              <a:gd name="connsiteX630" fmla="*/ 14117847 w 16408544"/>
              <a:gd name="connsiteY630" fmla="*/ 3424255 h 8684653"/>
              <a:gd name="connsiteX631" fmla="*/ 14117847 w 16408544"/>
              <a:gd name="connsiteY631" fmla="*/ 3384939 h 8684653"/>
              <a:gd name="connsiteX632" fmla="*/ 14109689 w 16408544"/>
              <a:gd name="connsiteY632" fmla="*/ 3367832 h 8684653"/>
              <a:gd name="connsiteX633" fmla="*/ 14138743 w 16408544"/>
              <a:gd name="connsiteY633" fmla="*/ 3324880 h 8684653"/>
              <a:gd name="connsiteX634" fmla="*/ 14138743 w 16408544"/>
              <a:gd name="connsiteY634" fmla="*/ 3311267 h 8684653"/>
              <a:gd name="connsiteX635" fmla="*/ 14150080 w 16408544"/>
              <a:gd name="connsiteY635" fmla="*/ 3319744 h 8684653"/>
              <a:gd name="connsiteX636" fmla="*/ 14146707 w 16408544"/>
              <a:gd name="connsiteY636" fmla="*/ 3316338 h 8684653"/>
              <a:gd name="connsiteX637" fmla="*/ 14162865 w 16408544"/>
              <a:gd name="connsiteY637" fmla="*/ 3316338 h 8684653"/>
              <a:gd name="connsiteX638" fmla="*/ 14201722 w 16408544"/>
              <a:gd name="connsiteY638" fmla="*/ 3227137 h 8684653"/>
              <a:gd name="connsiteX639" fmla="*/ 14193441 w 16408544"/>
              <a:gd name="connsiteY639" fmla="*/ 3210031 h 8684653"/>
              <a:gd name="connsiteX640" fmla="*/ 14203305 w 16408544"/>
              <a:gd name="connsiteY640" fmla="*/ 3187700 h 8684653"/>
              <a:gd name="connsiteX641" fmla="*/ 10044888 w 16408544"/>
              <a:gd name="connsiteY641" fmla="*/ 3096617 h 8684653"/>
              <a:gd name="connsiteX642" fmla="*/ 9923780 w 16408544"/>
              <a:gd name="connsiteY642" fmla="*/ 3125480 h 8684653"/>
              <a:gd name="connsiteX643" fmla="*/ 9862566 w 16408544"/>
              <a:gd name="connsiteY643" fmla="*/ 3151239 h 8684653"/>
              <a:gd name="connsiteX644" fmla="*/ 9823811 w 16408544"/>
              <a:gd name="connsiteY644" fmla="*/ 3233482 h 8684653"/>
              <a:gd name="connsiteX645" fmla="*/ 9859483 w 16408544"/>
              <a:gd name="connsiteY645" fmla="*/ 3302380 h 8684653"/>
              <a:gd name="connsiteX646" fmla="*/ 9969140 w 16408544"/>
              <a:gd name="connsiteY646" fmla="*/ 3489523 h 8684653"/>
              <a:gd name="connsiteX647" fmla="*/ 9923780 w 16408544"/>
              <a:gd name="connsiteY647" fmla="*/ 3571766 h 8684653"/>
              <a:gd name="connsiteX648" fmla="*/ 9901320 w 16408544"/>
              <a:gd name="connsiteY648" fmla="*/ 3568352 h 8684653"/>
              <a:gd name="connsiteX649" fmla="*/ 9922459 w 16408544"/>
              <a:gd name="connsiteY649" fmla="*/ 3597525 h 8684653"/>
              <a:gd name="connsiteX650" fmla="*/ 9930386 w 16408544"/>
              <a:gd name="connsiteY650" fmla="*/ 3652458 h 8684653"/>
              <a:gd name="connsiteX651" fmla="*/ 9977068 w 16408544"/>
              <a:gd name="connsiteY651" fmla="*/ 3664251 h 8684653"/>
              <a:gd name="connsiteX652" fmla="*/ 10004372 w 16408544"/>
              <a:gd name="connsiteY652" fmla="*/ 3695286 h 8684653"/>
              <a:gd name="connsiteX653" fmla="*/ 10078798 w 16408544"/>
              <a:gd name="connsiteY653" fmla="*/ 3705528 h 8684653"/>
              <a:gd name="connsiteX654" fmla="*/ 10154545 w 16408544"/>
              <a:gd name="connsiteY654" fmla="*/ 3695286 h 8684653"/>
              <a:gd name="connsiteX655" fmla="*/ 10154545 w 16408544"/>
              <a:gd name="connsiteY655" fmla="*/ 3664561 h 8684653"/>
              <a:gd name="connsiteX656" fmla="*/ 10138691 w 16408544"/>
              <a:gd name="connsiteY656" fmla="*/ 3628250 h 8684653"/>
              <a:gd name="connsiteX657" fmla="*/ 10149701 w 16408544"/>
              <a:gd name="connsiteY657" fmla="*/ 3588835 h 8684653"/>
              <a:gd name="connsiteX658" fmla="*/ 10093331 w 16408544"/>
              <a:gd name="connsiteY658" fmla="*/ 3516834 h 8684653"/>
              <a:gd name="connsiteX659" fmla="*/ 10125480 w 16408544"/>
              <a:gd name="connsiteY659" fmla="*/ 3474005 h 8684653"/>
              <a:gd name="connsiteX660" fmla="*/ 10173922 w 16408544"/>
              <a:gd name="connsiteY660" fmla="*/ 3474005 h 8684653"/>
              <a:gd name="connsiteX661" fmla="*/ 10146618 w 16408544"/>
              <a:gd name="connsiteY661" fmla="*/ 3408521 h 8684653"/>
              <a:gd name="connsiteX662" fmla="*/ 10091569 w 16408544"/>
              <a:gd name="connsiteY662" fmla="*/ 3434590 h 8684653"/>
              <a:gd name="connsiteX663" fmla="*/ 10017584 w 16408544"/>
              <a:gd name="connsiteY663" fmla="*/ 3288414 h 8684653"/>
              <a:gd name="connsiteX664" fmla="*/ 9980150 w 16408544"/>
              <a:gd name="connsiteY664" fmla="*/ 3236896 h 8684653"/>
              <a:gd name="connsiteX665" fmla="*/ 10093331 w 16408544"/>
              <a:gd name="connsiteY665" fmla="*/ 3194067 h 8684653"/>
              <a:gd name="connsiteX666" fmla="*/ 10178767 w 16408544"/>
              <a:gd name="connsiteY666" fmla="*/ 3192516 h 8684653"/>
              <a:gd name="connsiteX667" fmla="*/ 10044888 w 16408544"/>
              <a:gd name="connsiteY667" fmla="*/ 3096617 h 8684653"/>
              <a:gd name="connsiteX668" fmla="*/ 2032001 w 16408544"/>
              <a:gd name="connsiteY668" fmla="*/ 2997200 h 8684653"/>
              <a:gd name="connsiteX669" fmla="*/ 2032012 w 16408544"/>
              <a:gd name="connsiteY669" fmla="*/ 2997200 h 8684653"/>
              <a:gd name="connsiteX670" fmla="*/ 2032024 w 16408544"/>
              <a:gd name="connsiteY670" fmla="*/ 2997241 h 8684653"/>
              <a:gd name="connsiteX671" fmla="*/ 5130131 w 16408544"/>
              <a:gd name="connsiteY671" fmla="*/ 2832101 h 8684653"/>
              <a:gd name="connsiteX672" fmla="*/ 5141323 w 16408544"/>
              <a:gd name="connsiteY672" fmla="*/ 2849213 h 8684653"/>
              <a:gd name="connsiteX673" fmla="*/ 5097750 w 16408544"/>
              <a:gd name="connsiteY673" fmla="*/ 2936779 h 8684653"/>
              <a:gd name="connsiteX674" fmla="*/ 5097750 w 16408544"/>
              <a:gd name="connsiteY674" fmla="*/ 2952084 h 8684653"/>
              <a:gd name="connsiteX675" fmla="*/ 5121939 w 16408544"/>
              <a:gd name="connsiteY675" fmla="*/ 2938398 h 8684653"/>
              <a:gd name="connsiteX676" fmla="*/ 5147766 w 16408544"/>
              <a:gd name="connsiteY676" fmla="*/ 2947127 h 8684653"/>
              <a:gd name="connsiteX677" fmla="*/ 5139629 w 16408544"/>
              <a:gd name="connsiteY677" fmla="*/ 2955509 h 8684653"/>
              <a:gd name="connsiteX678" fmla="*/ 5139629 w 16408544"/>
              <a:gd name="connsiteY678" fmla="*/ 2971103 h 8684653"/>
              <a:gd name="connsiteX679" fmla="*/ 5168663 w 16408544"/>
              <a:gd name="connsiteY679" fmla="*/ 2971103 h 8684653"/>
              <a:gd name="connsiteX680" fmla="*/ 5168663 w 16408544"/>
              <a:gd name="connsiteY680" fmla="*/ 2979616 h 8684653"/>
              <a:gd name="connsiteX681" fmla="*/ 5187992 w 16408544"/>
              <a:gd name="connsiteY681" fmla="*/ 2972707 h 8684653"/>
              <a:gd name="connsiteX682" fmla="*/ 5234813 w 16408544"/>
              <a:gd name="connsiteY682" fmla="*/ 2972707 h 8684653"/>
              <a:gd name="connsiteX683" fmla="*/ 5233230 w 16408544"/>
              <a:gd name="connsiteY683" fmla="*/ 3029302 h 8684653"/>
              <a:gd name="connsiteX684" fmla="*/ 5250990 w 16408544"/>
              <a:gd name="connsiteY684" fmla="*/ 3024129 h 8684653"/>
              <a:gd name="connsiteX685" fmla="*/ 5234813 w 16408544"/>
              <a:gd name="connsiteY685" fmla="*/ 3049940 h 8684653"/>
              <a:gd name="connsiteX686" fmla="*/ 5246116 w 16408544"/>
              <a:gd name="connsiteY686" fmla="*/ 3077356 h 8684653"/>
              <a:gd name="connsiteX687" fmla="*/ 5267125 w 16408544"/>
              <a:gd name="connsiteY687" fmla="*/ 3067124 h 8684653"/>
              <a:gd name="connsiteX688" fmla="*/ 5278316 w 16408544"/>
              <a:gd name="connsiteY688" fmla="*/ 3103197 h 8684653"/>
              <a:gd name="connsiteX689" fmla="*/ 5252614 w 16408544"/>
              <a:gd name="connsiteY689" fmla="*/ 3144270 h 8684653"/>
              <a:gd name="connsiteX690" fmla="*/ 5238022 w 16408544"/>
              <a:gd name="connsiteY690" fmla="*/ 3123719 h 8684653"/>
              <a:gd name="connsiteX691" fmla="*/ 5225149 w 16408544"/>
              <a:gd name="connsiteY691" fmla="*/ 3120323 h 8684653"/>
              <a:gd name="connsiteX692" fmla="*/ 5209029 w 16408544"/>
              <a:gd name="connsiteY692" fmla="*/ 3073815 h 8684653"/>
              <a:gd name="connsiteX693" fmla="*/ 5162249 w 16408544"/>
              <a:gd name="connsiteY693" fmla="*/ 3120323 h 8684653"/>
              <a:gd name="connsiteX694" fmla="*/ 5152542 w 16408544"/>
              <a:gd name="connsiteY694" fmla="*/ 3120323 h 8684653"/>
              <a:gd name="connsiteX695" fmla="*/ 5170274 w 16408544"/>
              <a:gd name="connsiteY695" fmla="*/ 3092864 h 8684653"/>
              <a:gd name="connsiteX696" fmla="*/ 5125035 w 16408544"/>
              <a:gd name="connsiteY696" fmla="*/ 3086129 h 8684653"/>
              <a:gd name="connsiteX697" fmla="*/ 5092905 w 16408544"/>
              <a:gd name="connsiteY697" fmla="*/ 3094583 h 8684653"/>
              <a:gd name="connsiteX698" fmla="*/ 5044486 w 16408544"/>
              <a:gd name="connsiteY698" fmla="*/ 3082646 h 8684653"/>
              <a:gd name="connsiteX699" fmla="*/ 4994457 w 16408544"/>
              <a:gd name="connsiteY699" fmla="*/ 3092864 h 8684653"/>
              <a:gd name="connsiteX700" fmla="*/ 4978392 w 16408544"/>
              <a:gd name="connsiteY700" fmla="*/ 3075636 h 8684653"/>
              <a:gd name="connsiteX701" fmla="*/ 5007329 w 16408544"/>
              <a:gd name="connsiteY701" fmla="*/ 3043047 h 8684653"/>
              <a:gd name="connsiteX702" fmla="*/ 5007329 w 16408544"/>
              <a:gd name="connsiteY702" fmla="*/ 3032843 h 8684653"/>
              <a:gd name="connsiteX703" fmla="*/ 4994457 w 16408544"/>
              <a:gd name="connsiteY703" fmla="*/ 3024129 h 8684653"/>
              <a:gd name="connsiteX704" fmla="*/ 5081602 w 16408544"/>
              <a:gd name="connsiteY704" fmla="*/ 2883537 h 8684653"/>
              <a:gd name="connsiteX705" fmla="*/ 5130131 w 16408544"/>
              <a:gd name="connsiteY705" fmla="*/ 2832101 h 8684653"/>
              <a:gd name="connsiteX706" fmla="*/ 14226395 w 16408544"/>
              <a:gd name="connsiteY706" fmla="*/ 2616200 h 8684653"/>
              <a:gd name="connsiteX707" fmla="*/ 14237607 w 16408544"/>
              <a:gd name="connsiteY707" fmla="*/ 2616200 h 8684653"/>
              <a:gd name="connsiteX708" fmla="*/ 14256997 w 16408544"/>
              <a:gd name="connsiteY708" fmla="*/ 2695043 h 8684653"/>
              <a:gd name="connsiteX709" fmla="*/ 14261849 w 16408544"/>
              <a:gd name="connsiteY709" fmla="*/ 2760335 h 8684653"/>
              <a:gd name="connsiteX710" fmla="*/ 14261849 w 16408544"/>
              <a:gd name="connsiteY710" fmla="*/ 2801559 h 8684653"/>
              <a:gd name="connsiteX711" fmla="*/ 14273079 w 16408544"/>
              <a:gd name="connsiteY711" fmla="*/ 2847855 h 8684653"/>
              <a:gd name="connsiteX712" fmla="*/ 14316728 w 16408544"/>
              <a:gd name="connsiteY712" fmla="*/ 2966355 h 8684653"/>
              <a:gd name="connsiteX713" fmla="*/ 14282831 w 16408544"/>
              <a:gd name="connsiteY713" fmla="*/ 2943854 h 8684653"/>
              <a:gd name="connsiteX714" fmla="*/ 14234349 w 16408544"/>
              <a:gd name="connsiteY714" fmla="*/ 3043408 h 8684653"/>
              <a:gd name="connsiteX715" fmla="*/ 14281238 w 16408544"/>
              <a:gd name="connsiteY715" fmla="*/ 3130953 h 8684653"/>
              <a:gd name="connsiteX716" fmla="*/ 14276314 w 16408544"/>
              <a:gd name="connsiteY716" fmla="*/ 3132718 h 8684653"/>
              <a:gd name="connsiteX717" fmla="*/ 14260141 w 16408544"/>
              <a:gd name="connsiteY717" fmla="*/ 3115388 h 8684653"/>
              <a:gd name="connsiteX718" fmla="*/ 14244119 w 16408544"/>
              <a:gd name="connsiteY718" fmla="*/ 3115388 h 8684653"/>
              <a:gd name="connsiteX719" fmla="*/ 14205346 w 16408544"/>
              <a:gd name="connsiteY719" fmla="*/ 3153255 h 8684653"/>
              <a:gd name="connsiteX720" fmla="*/ 14205346 w 16408544"/>
              <a:gd name="connsiteY720" fmla="*/ 3103578 h 8684653"/>
              <a:gd name="connsiteX721" fmla="*/ 14211888 w 16408544"/>
              <a:gd name="connsiteY721" fmla="*/ 3026326 h 8684653"/>
              <a:gd name="connsiteX722" fmla="*/ 14202093 w 16408544"/>
              <a:gd name="connsiteY722" fmla="*/ 2978315 h 8684653"/>
              <a:gd name="connsiteX723" fmla="*/ 14210337 w 16408544"/>
              <a:gd name="connsiteY723" fmla="*/ 2925131 h 8684653"/>
              <a:gd name="connsiteX724" fmla="*/ 14210337 w 16408544"/>
              <a:gd name="connsiteY724" fmla="*/ 2823862 h 8684653"/>
              <a:gd name="connsiteX725" fmla="*/ 14185890 w 16408544"/>
              <a:gd name="connsiteY725" fmla="*/ 2762026 h 8684653"/>
              <a:gd name="connsiteX726" fmla="*/ 14219859 w 16408544"/>
              <a:gd name="connsiteY726" fmla="*/ 2674506 h 8684653"/>
              <a:gd name="connsiteX727" fmla="*/ 14226395 w 16408544"/>
              <a:gd name="connsiteY727" fmla="*/ 2652327 h 8684653"/>
              <a:gd name="connsiteX728" fmla="*/ 7345618 w 16408544"/>
              <a:gd name="connsiteY728" fmla="*/ 2578101 h 8684653"/>
              <a:gd name="connsiteX729" fmla="*/ 7373067 w 16408544"/>
              <a:gd name="connsiteY729" fmla="*/ 2578101 h 8684653"/>
              <a:gd name="connsiteX730" fmla="*/ 7427956 w 16408544"/>
              <a:gd name="connsiteY730" fmla="*/ 2648417 h 8684653"/>
              <a:gd name="connsiteX731" fmla="*/ 7398873 w 16408544"/>
              <a:gd name="connsiteY731" fmla="*/ 2674198 h 8684653"/>
              <a:gd name="connsiteX732" fmla="*/ 7398873 w 16408544"/>
              <a:gd name="connsiteY732" fmla="*/ 2732468 h 8684653"/>
              <a:gd name="connsiteX733" fmla="*/ 7397332 w 16408544"/>
              <a:gd name="connsiteY733" fmla="*/ 2780599 h 8684653"/>
              <a:gd name="connsiteX734" fmla="*/ 7355403 w 16408544"/>
              <a:gd name="connsiteY734" fmla="*/ 2789154 h 8684653"/>
              <a:gd name="connsiteX735" fmla="*/ 7297209 w 16408544"/>
              <a:gd name="connsiteY735" fmla="*/ 2826968 h 8684653"/>
              <a:gd name="connsiteX736" fmla="*/ 7266566 w 16408544"/>
              <a:gd name="connsiteY736" fmla="*/ 2833664 h 8684653"/>
              <a:gd name="connsiteX737" fmla="*/ 7226289 w 16408544"/>
              <a:gd name="connsiteY737" fmla="*/ 2794206 h 8684653"/>
              <a:gd name="connsiteX738" fmla="*/ 7273055 w 16408544"/>
              <a:gd name="connsiteY738" fmla="*/ 2706723 h 8684653"/>
              <a:gd name="connsiteX739" fmla="*/ 7242348 w 16408544"/>
              <a:gd name="connsiteY739" fmla="*/ 2670743 h 8684653"/>
              <a:gd name="connsiteX740" fmla="*/ 7260162 w 16408544"/>
              <a:gd name="connsiteY740" fmla="*/ 2651836 h 8684653"/>
              <a:gd name="connsiteX741" fmla="*/ 7306900 w 16408544"/>
              <a:gd name="connsiteY741" fmla="*/ 2632882 h 8684653"/>
              <a:gd name="connsiteX742" fmla="*/ 7297209 w 16408544"/>
              <a:gd name="connsiteY742" fmla="*/ 2610686 h 8684653"/>
              <a:gd name="connsiteX743" fmla="*/ 7345618 w 16408544"/>
              <a:gd name="connsiteY743" fmla="*/ 2578101 h 8684653"/>
              <a:gd name="connsiteX744" fmla="*/ 674396 w 16408544"/>
              <a:gd name="connsiteY744" fmla="*/ 2413000 h 8684653"/>
              <a:gd name="connsiteX745" fmla="*/ 693705 w 16408544"/>
              <a:gd name="connsiteY745" fmla="*/ 2413000 h 8684653"/>
              <a:gd name="connsiteX746" fmla="*/ 693705 w 16408544"/>
              <a:gd name="connsiteY746" fmla="*/ 2433539 h 8684653"/>
              <a:gd name="connsiteX747" fmla="*/ 630753 w 16408544"/>
              <a:gd name="connsiteY747" fmla="*/ 2481790 h 8684653"/>
              <a:gd name="connsiteX748" fmla="*/ 596891 w 16408544"/>
              <a:gd name="connsiteY748" fmla="*/ 2459312 h 8684653"/>
              <a:gd name="connsiteX749" fmla="*/ 596891 w 16408544"/>
              <a:gd name="connsiteY749" fmla="*/ 2438723 h 8684653"/>
              <a:gd name="connsiteX750" fmla="*/ 674396 w 16408544"/>
              <a:gd name="connsiteY750" fmla="*/ 2413000 h 8684653"/>
              <a:gd name="connsiteX751" fmla="*/ 1584163 w 16408544"/>
              <a:gd name="connsiteY751" fmla="*/ 2403377 h 8684653"/>
              <a:gd name="connsiteX752" fmla="*/ 1603399 w 16408544"/>
              <a:gd name="connsiteY752" fmla="*/ 2427367 h 8684653"/>
              <a:gd name="connsiteX753" fmla="*/ 1584163 w 16408544"/>
              <a:gd name="connsiteY753" fmla="*/ 2403377 h 8684653"/>
              <a:gd name="connsiteX754" fmla="*/ 7481758 w 16408544"/>
              <a:gd name="connsiteY754" fmla="*/ 2336801 h 8684653"/>
              <a:gd name="connsiteX755" fmla="*/ 7528474 w 16408544"/>
              <a:gd name="connsiteY755" fmla="*/ 2336801 h 8684653"/>
              <a:gd name="connsiteX756" fmla="*/ 7544583 w 16408544"/>
              <a:gd name="connsiteY756" fmla="*/ 2352330 h 8684653"/>
              <a:gd name="connsiteX757" fmla="*/ 7504364 w 16408544"/>
              <a:gd name="connsiteY757" fmla="*/ 2396735 h 8684653"/>
              <a:gd name="connsiteX758" fmla="*/ 7509090 w 16408544"/>
              <a:gd name="connsiteY758" fmla="*/ 2410438 h 8684653"/>
              <a:gd name="connsiteX759" fmla="*/ 7604274 w 16408544"/>
              <a:gd name="connsiteY759" fmla="*/ 2410438 h 8684653"/>
              <a:gd name="connsiteX760" fmla="*/ 7560815 w 16408544"/>
              <a:gd name="connsiteY760" fmla="*/ 2515159 h 8684653"/>
              <a:gd name="connsiteX761" fmla="*/ 7547716 w 16408544"/>
              <a:gd name="connsiteY761" fmla="*/ 2528889 h 8684653"/>
              <a:gd name="connsiteX762" fmla="*/ 7584961 w 16408544"/>
              <a:gd name="connsiteY762" fmla="*/ 2530578 h 8684653"/>
              <a:gd name="connsiteX763" fmla="*/ 7630172 w 16408544"/>
              <a:gd name="connsiteY763" fmla="*/ 2602689 h 8684653"/>
              <a:gd name="connsiteX764" fmla="*/ 7697881 w 16408544"/>
              <a:gd name="connsiteY764" fmla="*/ 2683273 h 8684653"/>
              <a:gd name="connsiteX765" fmla="*/ 7715513 w 16408544"/>
              <a:gd name="connsiteY765" fmla="*/ 2719315 h 8684653"/>
              <a:gd name="connsiteX766" fmla="*/ 7707564 w 16408544"/>
              <a:gd name="connsiteY766" fmla="*/ 2731438 h 8684653"/>
              <a:gd name="connsiteX767" fmla="*/ 7707564 w 16408544"/>
              <a:gd name="connsiteY767" fmla="*/ 2743398 h 8684653"/>
              <a:gd name="connsiteX768" fmla="*/ 7726842 w 16408544"/>
              <a:gd name="connsiteY768" fmla="*/ 2731438 h 8684653"/>
              <a:gd name="connsiteX769" fmla="*/ 7718787 w 16408544"/>
              <a:gd name="connsiteY769" fmla="*/ 2738222 h 8684653"/>
              <a:gd name="connsiteX770" fmla="*/ 7739870 w 16408544"/>
              <a:gd name="connsiteY770" fmla="*/ 2731438 h 8684653"/>
              <a:gd name="connsiteX771" fmla="*/ 7773752 w 16408544"/>
              <a:gd name="connsiteY771" fmla="*/ 2763993 h 8684653"/>
              <a:gd name="connsiteX772" fmla="*/ 7721956 w 16408544"/>
              <a:gd name="connsiteY772" fmla="*/ 2832617 h 8684653"/>
              <a:gd name="connsiteX773" fmla="*/ 7754280 w 16408544"/>
              <a:gd name="connsiteY773" fmla="*/ 2839537 h 8684653"/>
              <a:gd name="connsiteX774" fmla="*/ 7754280 w 16408544"/>
              <a:gd name="connsiteY774" fmla="*/ 2851415 h 8684653"/>
              <a:gd name="connsiteX775" fmla="*/ 7709122 w 16408544"/>
              <a:gd name="connsiteY775" fmla="*/ 2877268 h 8684653"/>
              <a:gd name="connsiteX776" fmla="*/ 7644652 w 16408544"/>
              <a:gd name="connsiteY776" fmla="*/ 2877268 h 8684653"/>
              <a:gd name="connsiteX777" fmla="*/ 7560815 w 16408544"/>
              <a:gd name="connsiteY777" fmla="*/ 2892687 h 8684653"/>
              <a:gd name="connsiteX778" fmla="*/ 7531660 w 16408544"/>
              <a:gd name="connsiteY778" fmla="*/ 2882362 h 8684653"/>
              <a:gd name="connsiteX779" fmla="*/ 7505957 w 16408544"/>
              <a:gd name="connsiteY779" fmla="*/ 2911594 h 8684653"/>
              <a:gd name="connsiteX780" fmla="*/ 7483387 w 16408544"/>
              <a:gd name="connsiteY780" fmla="*/ 2911594 h 8684653"/>
              <a:gd name="connsiteX781" fmla="*/ 7460675 w 16408544"/>
              <a:gd name="connsiteY781" fmla="*/ 2925242 h 8684653"/>
              <a:gd name="connsiteX782" fmla="*/ 7449399 w 16408544"/>
              <a:gd name="connsiteY782" fmla="*/ 2925242 h 8684653"/>
              <a:gd name="connsiteX783" fmla="*/ 7449399 w 16408544"/>
              <a:gd name="connsiteY783" fmla="*/ 2914917 h 8684653"/>
              <a:gd name="connsiteX784" fmla="*/ 7505957 w 16408544"/>
              <a:gd name="connsiteY784" fmla="*/ 2851415 h 8684653"/>
              <a:gd name="connsiteX785" fmla="*/ 7560815 w 16408544"/>
              <a:gd name="connsiteY785" fmla="*/ 2829212 h 8684653"/>
              <a:gd name="connsiteX786" fmla="*/ 7557594 w 16408544"/>
              <a:gd name="connsiteY786" fmla="*/ 2817116 h 8684653"/>
              <a:gd name="connsiteX787" fmla="*/ 7528474 w 16408544"/>
              <a:gd name="connsiteY787" fmla="*/ 2834306 h 8684653"/>
              <a:gd name="connsiteX788" fmla="*/ 7483387 w 16408544"/>
              <a:gd name="connsiteY788" fmla="*/ 2813738 h 8684653"/>
              <a:gd name="connsiteX789" fmla="*/ 7467154 w 16408544"/>
              <a:gd name="connsiteY789" fmla="*/ 2822320 h 8684653"/>
              <a:gd name="connsiteX790" fmla="*/ 7459171 w 16408544"/>
              <a:gd name="connsiteY790" fmla="*/ 2813738 h 8684653"/>
              <a:gd name="connsiteX791" fmla="*/ 7504364 w 16408544"/>
              <a:gd name="connsiteY791" fmla="*/ 2760642 h 8684653"/>
              <a:gd name="connsiteX792" fmla="*/ 7491388 w 16408544"/>
              <a:gd name="connsiteY792" fmla="*/ 2710679 h 8684653"/>
              <a:gd name="connsiteX793" fmla="*/ 7564037 w 16408544"/>
              <a:gd name="connsiteY793" fmla="*/ 2678124 h 8684653"/>
              <a:gd name="connsiteX794" fmla="*/ 7564037 w 16408544"/>
              <a:gd name="connsiteY794" fmla="*/ 2652353 h 8684653"/>
              <a:gd name="connsiteX795" fmla="*/ 7525270 w 16408544"/>
              <a:gd name="connsiteY795" fmla="*/ 2633446 h 8684653"/>
              <a:gd name="connsiteX796" fmla="*/ 7536564 w 16408544"/>
              <a:gd name="connsiteY796" fmla="*/ 2609500 h 8684653"/>
              <a:gd name="connsiteX797" fmla="*/ 7522066 w 16408544"/>
              <a:gd name="connsiteY797" fmla="*/ 2607893 h 8684653"/>
              <a:gd name="connsiteX798" fmla="*/ 7484945 w 16408544"/>
              <a:gd name="connsiteY798" fmla="*/ 2616338 h 8684653"/>
              <a:gd name="connsiteX799" fmla="*/ 7459171 w 16408544"/>
              <a:gd name="connsiteY799" fmla="*/ 2602689 h 8684653"/>
              <a:gd name="connsiteX800" fmla="*/ 7475244 w 16408544"/>
              <a:gd name="connsiteY800" fmla="*/ 2566675 h 8684653"/>
              <a:gd name="connsiteX801" fmla="*/ 7475244 w 16408544"/>
              <a:gd name="connsiteY801" fmla="*/ 2534011 h 8684653"/>
              <a:gd name="connsiteX802" fmla="*/ 7447806 w 16408544"/>
              <a:gd name="connsiteY802" fmla="*/ 2525402 h 8684653"/>
              <a:gd name="connsiteX803" fmla="*/ 7447806 w 16408544"/>
              <a:gd name="connsiteY803" fmla="*/ 2551283 h 8684653"/>
              <a:gd name="connsiteX804" fmla="*/ 7434848 w 16408544"/>
              <a:gd name="connsiteY804" fmla="*/ 2551283 h 8684653"/>
              <a:gd name="connsiteX805" fmla="*/ 7434848 w 16408544"/>
              <a:gd name="connsiteY805" fmla="*/ 2523767 h 8684653"/>
              <a:gd name="connsiteX806" fmla="*/ 7441292 w 16408544"/>
              <a:gd name="connsiteY806" fmla="*/ 2511699 h 8684653"/>
              <a:gd name="connsiteX807" fmla="*/ 7441292 w 16408544"/>
              <a:gd name="connsiteY807" fmla="*/ 2496334 h 8684653"/>
              <a:gd name="connsiteX808" fmla="*/ 7417164 w 16408544"/>
              <a:gd name="connsiteY808" fmla="*/ 2482495 h 8684653"/>
              <a:gd name="connsiteX809" fmla="*/ 7428422 w 16408544"/>
              <a:gd name="connsiteY809" fmla="*/ 2460265 h 8684653"/>
              <a:gd name="connsiteX810" fmla="*/ 7428422 w 16408544"/>
              <a:gd name="connsiteY810" fmla="*/ 2446562 h 8684653"/>
              <a:gd name="connsiteX811" fmla="*/ 7391390 w 16408544"/>
              <a:gd name="connsiteY811" fmla="*/ 2414034 h 8684653"/>
              <a:gd name="connsiteX812" fmla="*/ 7417164 w 16408544"/>
              <a:gd name="connsiteY812" fmla="*/ 2414034 h 8684653"/>
              <a:gd name="connsiteX813" fmla="*/ 7428422 w 16408544"/>
              <a:gd name="connsiteY813" fmla="*/ 2429263 h 8684653"/>
              <a:gd name="connsiteX814" fmla="*/ 7434848 w 16408544"/>
              <a:gd name="connsiteY814" fmla="*/ 2419101 h 8684653"/>
              <a:gd name="connsiteX815" fmla="*/ 7426900 w 16408544"/>
              <a:gd name="connsiteY815" fmla="*/ 2408831 h 8684653"/>
              <a:gd name="connsiteX816" fmla="*/ 7449399 w 16408544"/>
              <a:gd name="connsiteY816" fmla="*/ 2388181 h 8684653"/>
              <a:gd name="connsiteX817" fmla="*/ 7455843 w 16408544"/>
              <a:gd name="connsiteY817" fmla="*/ 2359004 h 8684653"/>
              <a:gd name="connsiteX818" fmla="*/ 7481758 w 16408544"/>
              <a:gd name="connsiteY818" fmla="*/ 2336801 h 8684653"/>
              <a:gd name="connsiteX819" fmla="*/ 61114 w 16408544"/>
              <a:gd name="connsiteY819" fmla="*/ 2235524 h 8684653"/>
              <a:gd name="connsiteX820" fmla="*/ 85345 w 16408544"/>
              <a:gd name="connsiteY820" fmla="*/ 2264686 h 8684653"/>
              <a:gd name="connsiteX821" fmla="*/ 32021 w 16408544"/>
              <a:gd name="connsiteY821" fmla="*/ 2264686 h 8684653"/>
              <a:gd name="connsiteX822" fmla="*/ 12713 w 16408544"/>
              <a:gd name="connsiteY822" fmla="*/ 2247464 h 8684653"/>
              <a:gd name="connsiteX823" fmla="*/ 36863 w 16408544"/>
              <a:gd name="connsiteY823" fmla="*/ 2247464 h 8684653"/>
              <a:gd name="connsiteX824" fmla="*/ 61114 w 16408544"/>
              <a:gd name="connsiteY824" fmla="*/ 2235524 h 8684653"/>
              <a:gd name="connsiteX825" fmla="*/ 4008379 w 16408544"/>
              <a:gd name="connsiteY825" fmla="*/ 2070447 h 8684653"/>
              <a:gd name="connsiteX826" fmla="*/ 4041095 w 16408544"/>
              <a:gd name="connsiteY826" fmla="*/ 2083695 h 8684653"/>
              <a:gd name="connsiteX827" fmla="*/ 4011968 w 16408544"/>
              <a:gd name="connsiteY827" fmla="*/ 2121454 h 8684653"/>
              <a:gd name="connsiteX828" fmla="*/ 3987794 w 16408544"/>
              <a:gd name="connsiteY828" fmla="*/ 2095741 h 8684653"/>
              <a:gd name="connsiteX829" fmla="*/ 4008379 w 16408544"/>
              <a:gd name="connsiteY829" fmla="*/ 2070447 h 8684653"/>
              <a:gd name="connsiteX830" fmla="*/ 3888874 w 16408544"/>
              <a:gd name="connsiteY830" fmla="*/ 2019344 h 8684653"/>
              <a:gd name="connsiteX831" fmla="*/ 3916123 w 16408544"/>
              <a:gd name="connsiteY831" fmla="*/ 2027035 h 8684653"/>
              <a:gd name="connsiteX832" fmla="*/ 3835395 w 16408544"/>
              <a:gd name="connsiteY832" fmla="*/ 2085291 h 8684653"/>
              <a:gd name="connsiteX833" fmla="*/ 3835395 w 16408544"/>
              <a:gd name="connsiteY833" fmla="*/ 2063063 h 8684653"/>
              <a:gd name="connsiteX834" fmla="*/ 3870956 w 16408544"/>
              <a:gd name="connsiteY834" fmla="*/ 2020240 h 8684653"/>
              <a:gd name="connsiteX835" fmla="*/ 3888874 w 16408544"/>
              <a:gd name="connsiteY835" fmla="*/ 2019344 h 8684653"/>
              <a:gd name="connsiteX836" fmla="*/ 4106754 w 16408544"/>
              <a:gd name="connsiteY836" fmla="*/ 1981593 h 8684653"/>
              <a:gd name="connsiteX837" fmla="*/ 4126586 w 16408544"/>
              <a:gd name="connsiteY837" fmla="*/ 1993829 h 8684653"/>
              <a:gd name="connsiteX838" fmla="*/ 4089392 w 16408544"/>
              <a:gd name="connsiteY838" fmla="*/ 1993829 h 8684653"/>
              <a:gd name="connsiteX839" fmla="*/ 4106754 w 16408544"/>
              <a:gd name="connsiteY839" fmla="*/ 1981593 h 8684653"/>
              <a:gd name="connsiteX840" fmla="*/ 3763814 w 16408544"/>
              <a:gd name="connsiteY840" fmla="*/ 1790700 h 8684653"/>
              <a:gd name="connsiteX841" fmla="*/ 3788085 w 16408544"/>
              <a:gd name="connsiteY841" fmla="*/ 1838860 h 8684653"/>
              <a:gd name="connsiteX842" fmla="*/ 3802547 w 16408544"/>
              <a:gd name="connsiteY842" fmla="*/ 1824973 h 8684653"/>
              <a:gd name="connsiteX843" fmla="*/ 3917093 w 16408544"/>
              <a:gd name="connsiteY843" fmla="*/ 1893674 h 8684653"/>
              <a:gd name="connsiteX844" fmla="*/ 3928341 w 16408544"/>
              <a:gd name="connsiteY844" fmla="*/ 1924547 h 8684653"/>
              <a:gd name="connsiteX845" fmla="*/ 3997742 w 16408544"/>
              <a:gd name="connsiteY845" fmla="*/ 1957220 h 8684653"/>
              <a:gd name="connsiteX846" fmla="*/ 3944472 w 16408544"/>
              <a:gd name="connsiteY846" fmla="*/ 1976007 h 8684653"/>
              <a:gd name="connsiteX847" fmla="*/ 3900948 w 16408544"/>
              <a:gd name="connsiteY847" fmla="*/ 1976007 h 8684653"/>
              <a:gd name="connsiteX848" fmla="*/ 3839702 w 16408544"/>
              <a:gd name="connsiteY848" fmla="*/ 1932943 h 8684653"/>
              <a:gd name="connsiteX849" fmla="*/ 3763814 w 16408544"/>
              <a:gd name="connsiteY849" fmla="*/ 1996593 h 8684653"/>
              <a:gd name="connsiteX850" fmla="*/ 3750853 w 16408544"/>
              <a:gd name="connsiteY850" fmla="*/ 2010287 h 8684653"/>
              <a:gd name="connsiteX851" fmla="*/ 3739634 w 16408544"/>
              <a:gd name="connsiteY851" fmla="*/ 1976007 h 8684653"/>
              <a:gd name="connsiteX852" fmla="*/ 3670295 w 16408544"/>
              <a:gd name="connsiteY852" fmla="*/ 1976007 h 8684653"/>
              <a:gd name="connsiteX853" fmla="*/ 3694505 w 16408544"/>
              <a:gd name="connsiteY853" fmla="*/ 1941747 h 8684653"/>
              <a:gd name="connsiteX854" fmla="*/ 3710559 w 16408544"/>
              <a:gd name="connsiteY854" fmla="*/ 1919383 h 8684653"/>
              <a:gd name="connsiteX855" fmla="*/ 3710559 w 16408544"/>
              <a:gd name="connsiteY855" fmla="*/ 1893674 h 8684653"/>
              <a:gd name="connsiteX856" fmla="*/ 3763814 w 16408544"/>
              <a:gd name="connsiteY856" fmla="*/ 1790700 h 8684653"/>
              <a:gd name="connsiteX857" fmla="*/ 3835141 w 16408544"/>
              <a:gd name="connsiteY857" fmla="*/ 1778400 h 8684653"/>
              <a:gd name="connsiteX858" fmla="*/ 3855046 w 16408544"/>
              <a:gd name="connsiteY858" fmla="*/ 1807992 h 8684653"/>
              <a:gd name="connsiteX859" fmla="*/ 3822842 w 16408544"/>
              <a:gd name="connsiteY859" fmla="*/ 1780596 h 8684653"/>
              <a:gd name="connsiteX860" fmla="*/ 3835141 w 16408544"/>
              <a:gd name="connsiteY860" fmla="*/ 1778400 h 8684653"/>
              <a:gd name="connsiteX861" fmla="*/ 6665263 w 16408544"/>
              <a:gd name="connsiteY861" fmla="*/ 1727209 h 8684653"/>
              <a:gd name="connsiteX862" fmla="*/ 6678212 w 16408544"/>
              <a:gd name="connsiteY862" fmla="*/ 1727209 h 8684653"/>
              <a:gd name="connsiteX863" fmla="*/ 6687850 w 16408544"/>
              <a:gd name="connsiteY863" fmla="*/ 1752903 h 8684653"/>
              <a:gd name="connsiteX864" fmla="*/ 6712037 w 16408544"/>
              <a:gd name="connsiteY864" fmla="*/ 1787281 h 8684653"/>
              <a:gd name="connsiteX865" fmla="*/ 6741034 w 16408544"/>
              <a:gd name="connsiteY865" fmla="*/ 1776959 h 8684653"/>
              <a:gd name="connsiteX866" fmla="*/ 6741034 w 16408544"/>
              <a:gd name="connsiteY866" fmla="*/ 1754635 h 8684653"/>
              <a:gd name="connsiteX867" fmla="*/ 6762017 w 16408544"/>
              <a:gd name="connsiteY867" fmla="*/ 1770197 h 8684653"/>
              <a:gd name="connsiteX868" fmla="*/ 6800734 w 16408544"/>
              <a:gd name="connsiteY868" fmla="*/ 1759760 h 8684653"/>
              <a:gd name="connsiteX869" fmla="*/ 6823298 w 16408544"/>
              <a:gd name="connsiteY869" fmla="*/ 1771722 h 8684653"/>
              <a:gd name="connsiteX870" fmla="*/ 6823298 w 16408544"/>
              <a:gd name="connsiteY870" fmla="*/ 1754635 h 8684653"/>
              <a:gd name="connsiteX871" fmla="*/ 6874966 w 16408544"/>
              <a:gd name="connsiteY871" fmla="*/ 1759760 h 8684653"/>
              <a:gd name="connsiteX872" fmla="*/ 6929838 w 16408544"/>
              <a:gd name="connsiteY872" fmla="*/ 1754635 h 8684653"/>
              <a:gd name="connsiteX873" fmla="*/ 6936226 w 16408544"/>
              <a:gd name="connsiteY873" fmla="*/ 1728932 h 8684653"/>
              <a:gd name="connsiteX874" fmla="*/ 6953984 w 16408544"/>
              <a:gd name="connsiteY874" fmla="*/ 1728932 h 8684653"/>
              <a:gd name="connsiteX875" fmla="*/ 6983066 w 16408544"/>
              <a:gd name="connsiteY875" fmla="*/ 1751330 h 8684653"/>
              <a:gd name="connsiteX876" fmla="*/ 7021721 w 16408544"/>
              <a:gd name="connsiteY876" fmla="*/ 1742618 h 8684653"/>
              <a:gd name="connsiteX877" fmla="*/ 7011975 w 16408544"/>
              <a:gd name="connsiteY877" fmla="*/ 1758177 h 8684653"/>
              <a:gd name="connsiteX878" fmla="*/ 7071729 w 16408544"/>
              <a:gd name="connsiteY878" fmla="*/ 1843766 h 8684653"/>
              <a:gd name="connsiteX879" fmla="*/ 7068567 w 16408544"/>
              <a:gd name="connsiteY879" fmla="*/ 1847265 h 8684653"/>
              <a:gd name="connsiteX880" fmla="*/ 6995930 w 16408544"/>
              <a:gd name="connsiteY880" fmla="*/ 1909086 h 8684653"/>
              <a:gd name="connsiteX881" fmla="*/ 6871633 w 16408544"/>
              <a:gd name="connsiteY881" fmla="*/ 1952045 h 8684653"/>
              <a:gd name="connsiteX882" fmla="*/ 6726547 w 16408544"/>
              <a:gd name="connsiteY882" fmla="*/ 1921154 h 8684653"/>
              <a:gd name="connsiteX883" fmla="*/ 6655560 w 16408544"/>
              <a:gd name="connsiteY883" fmla="*/ 1890131 h 8684653"/>
              <a:gd name="connsiteX884" fmla="*/ 6670029 w 16408544"/>
              <a:gd name="connsiteY884" fmla="*/ 1881636 h 8684653"/>
              <a:gd name="connsiteX885" fmla="*/ 6678212 w 16408544"/>
              <a:gd name="connsiteY885" fmla="*/ 1830177 h 8684653"/>
              <a:gd name="connsiteX886" fmla="*/ 6608725 w 16408544"/>
              <a:gd name="connsiteY886" fmla="*/ 1823272 h 8684653"/>
              <a:gd name="connsiteX887" fmla="*/ 6692633 w 16408544"/>
              <a:gd name="connsiteY887" fmla="*/ 1807860 h 8684653"/>
              <a:gd name="connsiteX888" fmla="*/ 6686114 w 16408544"/>
              <a:gd name="connsiteY888" fmla="*/ 1794098 h 8684653"/>
              <a:gd name="connsiteX889" fmla="*/ 6604003 w 16408544"/>
              <a:gd name="connsiteY889" fmla="*/ 1756390 h 8684653"/>
              <a:gd name="connsiteX890" fmla="*/ 6636267 w 16408544"/>
              <a:gd name="connsiteY890" fmla="*/ 1759760 h 8684653"/>
              <a:gd name="connsiteX891" fmla="*/ 6636267 w 16408544"/>
              <a:gd name="connsiteY891" fmla="*/ 1746157 h 8684653"/>
              <a:gd name="connsiteX892" fmla="*/ 6665263 w 16408544"/>
              <a:gd name="connsiteY892" fmla="*/ 1727209 h 8684653"/>
              <a:gd name="connsiteX893" fmla="*/ 4190168 w 16408544"/>
              <a:gd name="connsiteY893" fmla="*/ 1600310 h 8684653"/>
              <a:gd name="connsiteX894" fmla="*/ 4240142 w 16408544"/>
              <a:gd name="connsiteY894" fmla="*/ 1647310 h 8684653"/>
              <a:gd name="connsiteX895" fmla="*/ 4180410 w 16408544"/>
              <a:gd name="connsiteY895" fmla="*/ 1684984 h 8684653"/>
              <a:gd name="connsiteX896" fmla="*/ 4140197 w 16408544"/>
              <a:gd name="connsiteY896" fmla="*/ 1647310 h 8684653"/>
              <a:gd name="connsiteX897" fmla="*/ 4190168 w 16408544"/>
              <a:gd name="connsiteY897" fmla="*/ 1600310 h 8684653"/>
              <a:gd name="connsiteX898" fmla="*/ 4275513 w 16408544"/>
              <a:gd name="connsiteY898" fmla="*/ 1600201 h 8684653"/>
              <a:gd name="connsiteX899" fmla="*/ 4307760 w 16408544"/>
              <a:gd name="connsiteY899" fmla="*/ 1627644 h 8684653"/>
              <a:gd name="connsiteX900" fmla="*/ 4275513 w 16408544"/>
              <a:gd name="connsiteY900" fmla="*/ 1631153 h 8684653"/>
              <a:gd name="connsiteX901" fmla="*/ 4254496 w 16408544"/>
              <a:gd name="connsiteY901" fmla="*/ 1617491 h 8684653"/>
              <a:gd name="connsiteX902" fmla="*/ 4275513 w 16408544"/>
              <a:gd name="connsiteY902" fmla="*/ 1600201 h 8684653"/>
              <a:gd name="connsiteX903" fmla="*/ 4081129 w 16408544"/>
              <a:gd name="connsiteY903" fmla="*/ 1511303 h 8684653"/>
              <a:gd name="connsiteX904" fmla="*/ 4043969 w 16408544"/>
              <a:gd name="connsiteY904" fmla="*/ 1550730 h 8684653"/>
              <a:gd name="connsiteX905" fmla="*/ 4081129 w 16408544"/>
              <a:gd name="connsiteY905" fmla="*/ 1511303 h 8684653"/>
              <a:gd name="connsiteX906" fmla="*/ 9920732 w 16408544"/>
              <a:gd name="connsiteY906" fmla="*/ 1473200 h 8684653"/>
              <a:gd name="connsiteX907" fmla="*/ 9977255 w 16408544"/>
              <a:gd name="connsiteY907" fmla="*/ 1498905 h 8684653"/>
              <a:gd name="connsiteX908" fmla="*/ 9977255 w 16408544"/>
              <a:gd name="connsiteY908" fmla="*/ 1521302 h 8684653"/>
              <a:gd name="connsiteX909" fmla="*/ 9909589 w 16408544"/>
              <a:gd name="connsiteY909" fmla="*/ 1550345 h 8684653"/>
              <a:gd name="connsiteX910" fmla="*/ 9880589 w 16408544"/>
              <a:gd name="connsiteY910" fmla="*/ 1529733 h 8684653"/>
              <a:gd name="connsiteX911" fmla="*/ 9901569 w 16408544"/>
              <a:gd name="connsiteY911" fmla="*/ 1490401 h 8684653"/>
              <a:gd name="connsiteX912" fmla="*/ 9920732 w 16408544"/>
              <a:gd name="connsiteY912" fmla="*/ 1473200 h 8684653"/>
              <a:gd name="connsiteX913" fmla="*/ 3192127 w 16408544"/>
              <a:gd name="connsiteY913" fmla="*/ 1460501 h 8684653"/>
              <a:gd name="connsiteX914" fmla="*/ 3292127 w 16408544"/>
              <a:gd name="connsiteY914" fmla="*/ 1548137 h 8684653"/>
              <a:gd name="connsiteX915" fmla="*/ 3251779 w 16408544"/>
              <a:gd name="connsiteY915" fmla="*/ 1575501 h 8684653"/>
              <a:gd name="connsiteX916" fmla="*/ 3111497 w 16408544"/>
              <a:gd name="connsiteY916" fmla="*/ 1524093 h 8684653"/>
              <a:gd name="connsiteX917" fmla="*/ 3146929 w 16408544"/>
              <a:gd name="connsiteY917" fmla="*/ 1515622 h 8684653"/>
              <a:gd name="connsiteX918" fmla="*/ 3192127 w 16408544"/>
              <a:gd name="connsiteY918" fmla="*/ 1460501 h 8684653"/>
              <a:gd name="connsiteX919" fmla="*/ 15392390 w 16408544"/>
              <a:gd name="connsiteY919" fmla="*/ 1409702 h 8684653"/>
              <a:gd name="connsiteX920" fmla="*/ 15445700 w 16408544"/>
              <a:gd name="connsiteY920" fmla="*/ 1409702 h 8684653"/>
              <a:gd name="connsiteX921" fmla="*/ 15457022 w 16408544"/>
              <a:gd name="connsiteY921" fmla="*/ 1430312 h 8684653"/>
              <a:gd name="connsiteX922" fmla="*/ 15440826 w 16408544"/>
              <a:gd name="connsiteY922" fmla="*/ 1447380 h 8684653"/>
              <a:gd name="connsiteX923" fmla="*/ 15392390 w 16408544"/>
              <a:gd name="connsiteY923" fmla="*/ 1409702 h 8684653"/>
              <a:gd name="connsiteX924" fmla="*/ 5204319 w 16408544"/>
              <a:gd name="connsiteY924" fmla="*/ 1409702 h 8684653"/>
              <a:gd name="connsiteX925" fmla="*/ 5301097 w 16408544"/>
              <a:gd name="connsiteY925" fmla="*/ 1469789 h 8684653"/>
              <a:gd name="connsiteX926" fmla="*/ 5236654 w 16408544"/>
              <a:gd name="connsiteY926" fmla="*/ 1504126 h 8684653"/>
              <a:gd name="connsiteX927" fmla="*/ 5201118 w 16408544"/>
              <a:gd name="connsiteY927" fmla="*/ 1504126 h 8684653"/>
              <a:gd name="connsiteX928" fmla="*/ 5168894 w 16408544"/>
              <a:gd name="connsiteY928" fmla="*/ 1444022 h 8684653"/>
              <a:gd name="connsiteX929" fmla="*/ 5204319 w 16408544"/>
              <a:gd name="connsiteY929" fmla="*/ 1409702 h 8684653"/>
              <a:gd name="connsiteX930" fmla="*/ 10375300 w 16408544"/>
              <a:gd name="connsiteY930" fmla="*/ 1397275 h 8684653"/>
              <a:gd name="connsiteX931" fmla="*/ 10440695 w 16408544"/>
              <a:gd name="connsiteY931" fmla="*/ 1445456 h 8684653"/>
              <a:gd name="connsiteX932" fmla="*/ 10419715 w 16408544"/>
              <a:gd name="connsiteY932" fmla="*/ 1454197 h 8684653"/>
              <a:gd name="connsiteX933" fmla="*/ 10363190 w 16408544"/>
              <a:gd name="connsiteY933" fmla="*/ 1411232 h 8684653"/>
              <a:gd name="connsiteX934" fmla="*/ 10375300 w 16408544"/>
              <a:gd name="connsiteY934" fmla="*/ 1397275 h 8684653"/>
              <a:gd name="connsiteX935" fmla="*/ 10312389 w 16408544"/>
              <a:gd name="connsiteY935" fmla="*/ 1371603 h 8684653"/>
              <a:gd name="connsiteX936" fmla="*/ 10318860 w 16408544"/>
              <a:gd name="connsiteY936" fmla="*/ 1378471 h 8684653"/>
              <a:gd name="connsiteX937" fmla="*/ 10313598 w 16408544"/>
              <a:gd name="connsiteY937" fmla="*/ 1373561 h 8684653"/>
              <a:gd name="connsiteX938" fmla="*/ 10312389 w 16408544"/>
              <a:gd name="connsiteY938" fmla="*/ 1371603 h 8684653"/>
              <a:gd name="connsiteX939" fmla="*/ 3319668 w 16408544"/>
              <a:gd name="connsiteY939" fmla="*/ 1282709 h 8684653"/>
              <a:gd name="connsiteX940" fmla="*/ 3419810 w 16408544"/>
              <a:gd name="connsiteY940" fmla="*/ 1372149 h 8684653"/>
              <a:gd name="connsiteX941" fmla="*/ 3468183 w 16408544"/>
              <a:gd name="connsiteY941" fmla="*/ 1428697 h 8684653"/>
              <a:gd name="connsiteX942" fmla="*/ 3427730 w 16408544"/>
              <a:gd name="connsiteY942" fmla="*/ 1469822 h 8684653"/>
              <a:gd name="connsiteX943" fmla="*/ 3508354 w 16408544"/>
              <a:gd name="connsiteY943" fmla="*/ 1495869 h 8684653"/>
              <a:gd name="connsiteX944" fmla="*/ 3492229 w 16408544"/>
              <a:gd name="connsiteY944" fmla="*/ 1516089 h 8684653"/>
              <a:gd name="connsiteX945" fmla="*/ 3529569 w 16408544"/>
              <a:gd name="connsiteY945" fmla="*/ 1583261 h 8684653"/>
              <a:gd name="connsiteX946" fmla="*/ 3594068 w 16408544"/>
              <a:gd name="connsiteY946" fmla="*/ 1509238 h 8684653"/>
              <a:gd name="connsiteX947" fmla="*/ 3653757 w 16408544"/>
              <a:gd name="connsiteY947" fmla="*/ 1569559 h 8684653"/>
              <a:gd name="connsiteX948" fmla="*/ 3626317 w 16408544"/>
              <a:gd name="connsiteY948" fmla="*/ 1612393 h 8684653"/>
              <a:gd name="connsiteX949" fmla="*/ 3710617 w 16408544"/>
              <a:gd name="connsiteY949" fmla="*/ 1661746 h 8684653"/>
              <a:gd name="connsiteX950" fmla="*/ 3742302 w 16408544"/>
              <a:gd name="connsiteY950" fmla="*/ 1577778 h 8684653"/>
              <a:gd name="connsiteX951" fmla="*/ 3787562 w 16408544"/>
              <a:gd name="connsiteY951" fmla="*/ 1543513 h 8684653"/>
              <a:gd name="connsiteX952" fmla="*/ 3763232 w 16408544"/>
              <a:gd name="connsiteY952" fmla="*/ 1497247 h 8684653"/>
              <a:gd name="connsiteX953" fmla="*/ 3803685 w 16408544"/>
              <a:gd name="connsiteY953" fmla="*/ 1462972 h 8684653"/>
              <a:gd name="connsiteX954" fmla="*/ 3843855 w 16408544"/>
              <a:gd name="connsiteY954" fmla="*/ 1474963 h 8684653"/>
              <a:gd name="connsiteX955" fmla="*/ 3948808 w 16408544"/>
              <a:gd name="connsiteY955" fmla="*/ 1518145 h 8684653"/>
              <a:gd name="connsiteX956" fmla="*/ 3948808 w 16408544"/>
              <a:gd name="connsiteY956" fmla="*/ 1560642 h 8684653"/>
              <a:gd name="connsiteX957" fmla="*/ 3919953 w 16408544"/>
              <a:gd name="connsiteY957" fmla="*/ 1626107 h 8684653"/>
              <a:gd name="connsiteX958" fmla="*/ 3957012 w 16408544"/>
              <a:gd name="connsiteY958" fmla="*/ 1668941 h 8684653"/>
              <a:gd name="connsiteX959" fmla="*/ 3863374 w 16408544"/>
              <a:gd name="connsiteY959" fmla="*/ 1749478 h 8684653"/>
              <a:gd name="connsiteX960" fmla="*/ 3843855 w 16408544"/>
              <a:gd name="connsiteY960" fmla="*/ 1758051 h 8684653"/>
              <a:gd name="connsiteX961" fmla="*/ 3790671 w 16408544"/>
              <a:gd name="connsiteY961" fmla="*/ 1771755 h 8684653"/>
              <a:gd name="connsiteX962" fmla="*/ 3719670 w 16408544"/>
              <a:gd name="connsiteY962" fmla="*/ 1737491 h 8684653"/>
              <a:gd name="connsiteX963" fmla="*/ 3731266 w 16408544"/>
              <a:gd name="connsiteY963" fmla="*/ 1775181 h 8684653"/>
              <a:gd name="connsiteX964" fmla="*/ 3658566 w 16408544"/>
              <a:gd name="connsiteY964" fmla="*/ 1831729 h 8684653"/>
              <a:gd name="connsiteX965" fmla="*/ 3585866 w 16408544"/>
              <a:gd name="connsiteY965" fmla="*/ 1792317 h 8684653"/>
              <a:gd name="connsiteX966" fmla="*/ 3556727 w 16408544"/>
              <a:gd name="connsiteY966" fmla="*/ 1792317 h 8684653"/>
              <a:gd name="connsiteX967" fmla="*/ 3690815 w 16408544"/>
              <a:gd name="connsiteY967" fmla="*/ 1848865 h 8684653"/>
              <a:gd name="connsiteX968" fmla="*/ 3690815 w 16408544"/>
              <a:gd name="connsiteY968" fmla="*/ 1874911 h 8684653"/>
              <a:gd name="connsiteX969" fmla="*/ 3605384 w 16408544"/>
              <a:gd name="connsiteY969" fmla="*/ 1938313 h 8684653"/>
              <a:gd name="connsiteX970" fmla="*/ 3569740 w 16408544"/>
              <a:gd name="connsiteY970" fmla="*/ 1938313 h 8684653"/>
              <a:gd name="connsiteX971" fmla="*/ 3536924 w 16408544"/>
              <a:gd name="connsiteY971" fmla="*/ 1974984 h 8684653"/>
              <a:gd name="connsiteX972" fmla="*/ 3440178 w 16408544"/>
              <a:gd name="connsiteY972" fmla="*/ 1961960 h 8684653"/>
              <a:gd name="connsiteX973" fmla="*/ 3524478 w 16408544"/>
              <a:gd name="connsiteY973" fmla="*/ 2003429 h 8684653"/>
              <a:gd name="connsiteX974" fmla="*/ 3448663 w 16408544"/>
              <a:gd name="connsiteY974" fmla="*/ 2037700 h 8684653"/>
              <a:gd name="connsiteX975" fmla="*/ 3395482 w 16408544"/>
              <a:gd name="connsiteY975" fmla="*/ 2123379 h 8684653"/>
              <a:gd name="connsiteX976" fmla="*/ 3339186 w 16408544"/>
              <a:gd name="connsiteY976" fmla="*/ 2272803 h 8684653"/>
              <a:gd name="connsiteX977" fmla="*/ 3339186 w 16408544"/>
              <a:gd name="connsiteY977" fmla="*/ 2350257 h 8684653"/>
              <a:gd name="connsiteX978" fmla="*/ 3379357 w 16408544"/>
              <a:gd name="connsiteY978" fmla="*/ 2333121 h 8684653"/>
              <a:gd name="connsiteX979" fmla="*/ 3440741 w 16408544"/>
              <a:gd name="connsiteY979" fmla="*/ 2470207 h 8684653"/>
              <a:gd name="connsiteX980" fmla="*/ 3500432 w 16408544"/>
              <a:gd name="connsiteY980" fmla="*/ 2444503 h 8684653"/>
              <a:gd name="connsiteX981" fmla="*/ 3572851 w 16408544"/>
              <a:gd name="connsiteY981" fmla="*/ 2478775 h 8684653"/>
              <a:gd name="connsiteX982" fmla="*/ 3771437 w 16408544"/>
              <a:gd name="connsiteY982" fmla="*/ 2581932 h 8684653"/>
              <a:gd name="connsiteX983" fmla="*/ 3876388 w 16408544"/>
              <a:gd name="connsiteY983" fmla="*/ 2581932 h 8684653"/>
              <a:gd name="connsiteX984" fmla="*/ 3911749 w 16408544"/>
              <a:gd name="connsiteY984" fmla="*/ 2710450 h 8684653"/>
              <a:gd name="connsiteX985" fmla="*/ 4008496 w 16408544"/>
              <a:gd name="connsiteY985" fmla="*/ 2847536 h 8684653"/>
              <a:gd name="connsiteX986" fmla="*/ 4056869 w 16408544"/>
              <a:gd name="connsiteY986" fmla="*/ 2826973 h 8684653"/>
              <a:gd name="connsiteX987" fmla="*/ 4086006 w 16408544"/>
              <a:gd name="connsiteY987" fmla="*/ 2785847 h 8684653"/>
              <a:gd name="connsiteX988" fmla="*/ 4029430 w 16408544"/>
              <a:gd name="connsiteY988" fmla="*/ 2633339 h 8684653"/>
              <a:gd name="connsiteX989" fmla="*/ 4158426 w 16408544"/>
              <a:gd name="connsiteY989" fmla="*/ 2518187 h 8684653"/>
              <a:gd name="connsiteX990" fmla="*/ 4065357 w 16408544"/>
              <a:gd name="connsiteY990" fmla="*/ 2315985 h 8684653"/>
              <a:gd name="connsiteX991" fmla="*/ 4126460 w 16408544"/>
              <a:gd name="connsiteY991" fmla="*/ 2243672 h 8684653"/>
              <a:gd name="connsiteX992" fmla="*/ 4093928 w 16408544"/>
              <a:gd name="connsiteY992" fmla="*/ 2166561 h 8684653"/>
              <a:gd name="connsiteX993" fmla="*/ 4089119 w 16408544"/>
              <a:gd name="connsiteY993" fmla="*/ 2089108 h 8684653"/>
              <a:gd name="connsiteX994" fmla="*/ 4137493 w 16408544"/>
              <a:gd name="connsiteY994" fmla="*/ 2046268 h 8684653"/>
              <a:gd name="connsiteX995" fmla="*/ 4258564 w 16408544"/>
              <a:gd name="connsiteY995" fmla="*/ 2075399 h 8684653"/>
              <a:gd name="connsiteX996" fmla="*/ 4303543 w 16408544"/>
              <a:gd name="connsiteY996" fmla="*/ 2058606 h 8684653"/>
              <a:gd name="connsiteX997" fmla="*/ 4403688 w 16408544"/>
              <a:gd name="connsiteY997" fmla="*/ 2123379 h 8684653"/>
              <a:gd name="connsiteX998" fmla="*/ 4497324 w 16408544"/>
              <a:gd name="connsiteY998" fmla="*/ 2200833 h 8684653"/>
              <a:gd name="connsiteX999" fmla="*/ 4540888 w 16408544"/>
              <a:gd name="connsiteY999" fmla="*/ 2321126 h 8684653"/>
              <a:gd name="connsiteX1000" fmla="*/ 4594072 w 16408544"/>
              <a:gd name="connsiteY1000" fmla="*/ 2358482 h 8684653"/>
              <a:gd name="connsiteX1001" fmla="*/ 4686007 w 16408544"/>
              <a:gd name="connsiteY1001" fmla="*/ 2269376 h 8684653"/>
              <a:gd name="connsiteX1002" fmla="*/ 4723067 w 16408544"/>
              <a:gd name="connsiteY1002" fmla="*/ 2221395 h 8684653"/>
              <a:gd name="connsiteX1003" fmla="*/ 4750505 w 16408544"/>
              <a:gd name="connsiteY1003" fmla="*/ 2243672 h 8684653"/>
              <a:gd name="connsiteX1004" fmla="*/ 4807082 w 16408544"/>
              <a:gd name="connsiteY1004" fmla="*/ 2337919 h 8684653"/>
              <a:gd name="connsiteX1005" fmla="*/ 4860266 w 16408544"/>
              <a:gd name="connsiteY1005" fmla="*/ 2410232 h 8684653"/>
              <a:gd name="connsiteX1006" fmla="*/ 4871582 w 16408544"/>
              <a:gd name="connsiteY1006" fmla="*/ 2458212 h 8684653"/>
              <a:gd name="connsiteX1007" fmla="*/ 4847251 w 16408544"/>
              <a:gd name="connsiteY1007" fmla="*/ 2489056 h 8684653"/>
              <a:gd name="connsiteX1008" fmla="*/ 4924762 w 16408544"/>
              <a:gd name="connsiteY1008" fmla="*/ 2530182 h 8684653"/>
              <a:gd name="connsiteX1009" fmla="*/ 4924762 w 16408544"/>
              <a:gd name="connsiteY1009" fmla="*/ 2535323 h 8684653"/>
              <a:gd name="connsiteX1010" fmla="*/ 5045840 w 16408544"/>
              <a:gd name="connsiteY1010" fmla="*/ 2607293 h 8684653"/>
              <a:gd name="connsiteX1011" fmla="*/ 5059419 w 16408544"/>
              <a:gd name="connsiteY1011" fmla="*/ 2626827 h 8684653"/>
              <a:gd name="connsiteX1012" fmla="*/ 4927875 w 16408544"/>
              <a:gd name="connsiteY1012" fmla="*/ 2691600 h 8684653"/>
              <a:gd name="connsiteX1013" fmla="*/ 4944283 w 16408544"/>
              <a:gd name="connsiteY1013" fmla="*/ 2698455 h 8684653"/>
              <a:gd name="connsiteX1014" fmla="*/ 5097326 w 16408544"/>
              <a:gd name="connsiteY1014" fmla="*/ 2646705 h 8684653"/>
              <a:gd name="connsiteX1015" fmla="*/ 5097326 w 16408544"/>
              <a:gd name="connsiteY1015" fmla="*/ 2667610 h 8684653"/>
              <a:gd name="connsiteX1016" fmla="*/ 5110336 w 16408544"/>
              <a:gd name="connsiteY1016" fmla="*/ 2693314 h 8684653"/>
              <a:gd name="connsiteX1017" fmla="*/ 5137776 w 16408544"/>
              <a:gd name="connsiteY1017" fmla="*/ 2775566 h 8684653"/>
              <a:gd name="connsiteX1018" fmla="*/ 4984454 w 16408544"/>
              <a:gd name="connsiteY1018" fmla="*/ 2869812 h 8684653"/>
              <a:gd name="connsiteX1019" fmla="*/ 4811891 w 16408544"/>
              <a:gd name="connsiteY1019" fmla="*/ 2907853 h 8684653"/>
              <a:gd name="connsiteX1020" fmla="*/ 4653758 w 16408544"/>
              <a:gd name="connsiteY1020" fmla="*/ 2916079 h 8684653"/>
              <a:gd name="connsiteX1021" fmla="*/ 4613590 w 16408544"/>
              <a:gd name="connsiteY1021" fmla="*/ 2967486 h 8684653"/>
              <a:gd name="connsiteX1022" fmla="*/ 4523066 w 16408544"/>
              <a:gd name="connsiteY1022" fmla="*/ 3036372 h 8684653"/>
              <a:gd name="connsiteX1023" fmla="*/ 4674694 w 16408544"/>
              <a:gd name="connsiteY1023" fmla="*/ 2976396 h 8684653"/>
              <a:gd name="connsiteX1024" fmla="*/ 4758708 w 16408544"/>
              <a:gd name="connsiteY1024" fmla="*/ 3002100 h 8684653"/>
              <a:gd name="connsiteX1025" fmla="*/ 4690819 w 16408544"/>
              <a:gd name="connsiteY1025" fmla="*/ 3058648 h 8684653"/>
              <a:gd name="connsiteX1026" fmla="*/ 4731269 w 16408544"/>
              <a:gd name="connsiteY1026" fmla="*/ 3063789 h 8684653"/>
              <a:gd name="connsiteX1027" fmla="*/ 4715146 w 16408544"/>
              <a:gd name="connsiteY1027" fmla="*/ 3104914 h 8684653"/>
              <a:gd name="connsiteX1028" fmla="*/ 4835937 w 16408544"/>
              <a:gd name="connsiteY1028" fmla="*/ 3196077 h 8684653"/>
              <a:gd name="connsiteX1029" fmla="*/ 4887706 w 16408544"/>
              <a:gd name="connsiteY1029" fmla="*/ 3216297 h 8684653"/>
              <a:gd name="connsiteX1030" fmla="*/ 4769176 w 16408544"/>
              <a:gd name="connsiteY1030" fmla="*/ 3276957 h 8684653"/>
              <a:gd name="connsiteX1031" fmla="*/ 4693930 w 16408544"/>
              <a:gd name="connsiteY1031" fmla="*/ 3333162 h 8684653"/>
              <a:gd name="connsiteX1032" fmla="*/ 4661965 w 16408544"/>
              <a:gd name="connsiteY1032" fmla="*/ 3290323 h 8684653"/>
              <a:gd name="connsiteX1033" fmla="*/ 4757012 w 16408544"/>
              <a:gd name="connsiteY1033" fmla="*/ 3221780 h 8684653"/>
              <a:gd name="connsiteX1034" fmla="*/ 4732967 w 16408544"/>
              <a:gd name="connsiteY1034" fmla="*/ 3196077 h 8684653"/>
              <a:gd name="connsiteX1035" fmla="*/ 4693930 w 16408544"/>
              <a:gd name="connsiteY1035" fmla="*/ 3230348 h 8684653"/>
              <a:gd name="connsiteX1036" fmla="*/ 4629432 w 16408544"/>
              <a:gd name="connsiteY1036" fmla="*/ 3233432 h 8684653"/>
              <a:gd name="connsiteX1037" fmla="*/ 4613590 w 16408544"/>
              <a:gd name="connsiteY1037" fmla="*/ 3233432 h 8684653"/>
              <a:gd name="connsiteX1038" fmla="*/ 4613590 w 16408544"/>
              <a:gd name="connsiteY1038" fmla="*/ 3238916 h 8684653"/>
              <a:gd name="connsiteX1039" fmla="*/ 4614156 w 16408544"/>
              <a:gd name="connsiteY1039" fmla="*/ 3242686 h 8684653"/>
              <a:gd name="connsiteX1040" fmla="*/ 4621511 w 16408544"/>
              <a:gd name="connsiteY1040" fmla="*/ 3255709 h 8684653"/>
              <a:gd name="connsiteX1041" fmla="*/ 4569741 w 16408544"/>
              <a:gd name="connsiteY1041" fmla="*/ 3285182 h 8684653"/>
              <a:gd name="connsiteX1042" fmla="*/ 4532685 w 16408544"/>
              <a:gd name="connsiteY1042" fmla="*/ 3285182 h 8684653"/>
              <a:gd name="connsiteX1043" fmla="*/ 4452062 w 16408544"/>
              <a:gd name="connsiteY1043" fmla="*/ 3396565 h 8684653"/>
              <a:gd name="connsiteX1044" fmla="*/ 4458568 w 16408544"/>
              <a:gd name="connsiteY1044" fmla="*/ 3411987 h 8684653"/>
              <a:gd name="connsiteX1045" fmla="*/ 4474692 w 16408544"/>
              <a:gd name="connsiteY1045" fmla="*/ 3442831 h 8684653"/>
              <a:gd name="connsiteX1046" fmla="*/ 4492515 w 16408544"/>
              <a:gd name="connsiteY1046" fmla="*/ 3431179 h 8684653"/>
              <a:gd name="connsiteX1047" fmla="*/ 4492515 w 16408544"/>
              <a:gd name="connsiteY1047" fmla="*/ 3442831 h 8684653"/>
              <a:gd name="connsiteX1048" fmla="*/ 4439332 w 16408544"/>
              <a:gd name="connsiteY1048" fmla="*/ 3448315 h 8684653"/>
              <a:gd name="connsiteX1049" fmla="*/ 4319670 w 16408544"/>
              <a:gd name="connsiteY1049" fmla="*/ 3486013 h 8684653"/>
              <a:gd name="connsiteX1050" fmla="*/ 4335793 w 16408544"/>
              <a:gd name="connsiteY1050" fmla="*/ 3486013 h 8684653"/>
              <a:gd name="connsiteX1051" fmla="*/ 4376246 w 16408544"/>
              <a:gd name="connsiteY1051" fmla="*/ 3486013 h 8684653"/>
              <a:gd name="connsiteX1052" fmla="*/ 4315144 w 16408544"/>
              <a:gd name="connsiteY1052" fmla="*/ 3494581 h 8684653"/>
              <a:gd name="connsiteX1053" fmla="*/ 4300435 w 16408544"/>
              <a:gd name="connsiteY1053" fmla="*/ 3492525 h 8684653"/>
              <a:gd name="connsiteX1054" fmla="*/ 4290814 w 16408544"/>
              <a:gd name="connsiteY1054" fmla="*/ 3504520 h 8684653"/>
              <a:gd name="connsiteX1055" fmla="*/ 4305242 w 16408544"/>
              <a:gd name="connsiteY1055" fmla="*/ 3525425 h 8684653"/>
              <a:gd name="connsiteX1056" fmla="*/ 4260263 w 16408544"/>
              <a:gd name="connsiteY1056" fmla="*/ 3599109 h 8684653"/>
              <a:gd name="connsiteX1057" fmla="*/ 4248947 w 16408544"/>
              <a:gd name="connsiteY1057" fmla="*/ 3585400 h 8684653"/>
              <a:gd name="connsiteX1058" fmla="*/ 4240743 w 16408544"/>
              <a:gd name="connsiteY1058" fmla="*/ 3593968 h 8684653"/>
              <a:gd name="connsiteX1059" fmla="*/ 4255453 w 16408544"/>
              <a:gd name="connsiteY1059" fmla="*/ 3626526 h 8684653"/>
              <a:gd name="connsiteX1060" fmla="*/ 4218115 w 16408544"/>
              <a:gd name="connsiteY1060" fmla="*/ 3697125 h 8684653"/>
              <a:gd name="connsiteX1061" fmla="*/ 4211609 w 16408544"/>
              <a:gd name="connsiteY1061" fmla="*/ 3686501 h 8684653"/>
              <a:gd name="connsiteX1062" fmla="*/ 4211609 w 16408544"/>
              <a:gd name="connsiteY1062" fmla="*/ 3667995 h 8684653"/>
              <a:gd name="connsiteX1063" fmla="*/ 4193788 w 16408544"/>
              <a:gd name="connsiteY1063" fmla="*/ 3611104 h 8684653"/>
              <a:gd name="connsiteX1064" fmla="*/ 4192371 w 16408544"/>
              <a:gd name="connsiteY1064" fmla="*/ 3633381 h 8684653"/>
              <a:gd name="connsiteX1065" fmla="*/ 4200575 w 16408544"/>
              <a:gd name="connsiteY1065" fmla="*/ 3693698 h 8684653"/>
              <a:gd name="connsiteX1066" fmla="*/ 4200575 w 16408544"/>
              <a:gd name="connsiteY1066" fmla="*/ 3719059 h 8684653"/>
              <a:gd name="connsiteX1067" fmla="*/ 4211609 w 16408544"/>
              <a:gd name="connsiteY1067" fmla="*/ 3719059 h 8684653"/>
              <a:gd name="connsiteX1068" fmla="*/ 4211609 w 16408544"/>
              <a:gd name="connsiteY1068" fmla="*/ 3736538 h 8684653"/>
              <a:gd name="connsiteX1069" fmla="*/ 4190390 w 16408544"/>
              <a:gd name="connsiteY1069" fmla="*/ 3757443 h 8684653"/>
              <a:gd name="connsiteX1070" fmla="*/ 4212455 w 16408544"/>
              <a:gd name="connsiteY1070" fmla="*/ 3772180 h 8684653"/>
              <a:gd name="connsiteX1071" fmla="*/ 4187564 w 16408544"/>
              <a:gd name="connsiteY1071" fmla="*/ 3789658 h 8684653"/>
              <a:gd name="connsiteX1072" fmla="*/ 4187564 w 16408544"/>
              <a:gd name="connsiteY1072" fmla="*/ 3803367 h 8684653"/>
              <a:gd name="connsiteX1073" fmla="*/ 4206517 w 16408544"/>
              <a:gd name="connsiteY1073" fmla="*/ 3815362 h 8684653"/>
              <a:gd name="connsiteX1074" fmla="*/ 4187564 w 16408544"/>
              <a:gd name="connsiteY1074" fmla="*/ 3834211 h 8684653"/>
              <a:gd name="connsiteX1075" fmla="*/ 4147392 w 16408544"/>
              <a:gd name="connsiteY1075" fmla="*/ 3854774 h 8684653"/>
              <a:gd name="connsiteX1076" fmla="*/ 4119953 w 16408544"/>
              <a:gd name="connsiteY1076" fmla="*/ 3877051 h 8684653"/>
              <a:gd name="connsiteX1077" fmla="*/ 4124196 w 16408544"/>
              <a:gd name="connsiteY1077" fmla="*/ 3880478 h 8684653"/>
              <a:gd name="connsiteX1078" fmla="*/ 3951920 w 16408544"/>
              <a:gd name="connsiteY1078" fmla="*/ 4083022 h 8684653"/>
              <a:gd name="connsiteX1079" fmla="*/ 3997180 w 16408544"/>
              <a:gd name="connsiteY1079" fmla="*/ 4211540 h 8684653"/>
              <a:gd name="connsiteX1080" fmla="*/ 3997180 w 16408544"/>
              <a:gd name="connsiteY1080" fmla="*/ 4220108 h 8684653"/>
              <a:gd name="connsiteX1081" fmla="*/ 4016418 w 16408544"/>
              <a:gd name="connsiteY1081" fmla="*/ 4288994 h 8684653"/>
              <a:gd name="connsiteX1082" fmla="*/ 3981058 w 16408544"/>
              <a:gd name="connsiteY1082" fmla="*/ 4357537 h 8684653"/>
              <a:gd name="connsiteX1083" fmla="*/ 3948808 w 16408544"/>
              <a:gd name="connsiteY1083" fmla="*/ 4314697 h 8684653"/>
              <a:gd name="connsiteX1084" fmla="*/ 3900433 w 16408544"/>
              <a:gd name="connsiteY1084" fmla="*/ 4251295 h 8684653"/>
              <a:gd name="connsiteX1085" fmla="*/ 3822923 w 16408544"/>
              <a:gd name="connsiteY1085" fmla="*/ 4091590 h 8684653"/>
              <a:gd name="connsiteX1086" fmla="*/ 3787562 w 16408544"/>
              <a:gd name="connsiteY1086" fmla="*/ 4113867 h 8684653"/>
              <a:gd name="connsiteX1087" fmla="*/ 3702130 w 16408544"/>
              <a:gd name="connsiteY1087" fmla="*/ 4074454 h 8684653"/>
              <a:gd name="connsiteX1088" fmla="*/ 3661677 w 16408544"/>
              <a:gd name="connsiteY1088" fmla="*/ 4088163 h 8684653"/>
              <a:gd name="connsiteX1089" fmla="*/ 3650363 w 16408544"/>
              <a:gd name="connsiteY1089" fmla="*/ 4074454 h 8684653"/>
              <a:gd name="connsiteX1090" fmla="*/ 3563234 w 16408544"/>
              <a:gd name="connsiteY1090" fmla="*/ 4088163 h 8684653"/>
              <a:gd name="connsiteX1091" fmla="*/ 3585866 w 16408544"/>
              <a:gd name="connsiteY1091" fmla="*/ 4088163 h 8684653"/>
              <a:gd name="connsiteX1092" fmla="*/ 3589260 w 16408544"/>
              <a:gd name="connsiteY1092" fmla="*/ 4142997 h 8684653"/>
              <a:gd name="connsiteX1093" fmla="*/ 3472992 w 16408544"/>
              <a:gd name="connsiteY1093" fmla="*/ 4108726 h 8684653"/>
              <a:gd name="connsiteX1094" fmla="*/ 3448663 w 16408544"/>
              <a:gd name="connsiteY1094" fmla="*/ 4122434 h 8684653"/>
              <a:gd name="connsiteX1095" fmla="*/ 3403685 w 16408544"/>
              <a:gd name="connsiteY1095" fmla="*/ 4105299 h 8684653"/>
              <a:gd name="connsiteX1096" fmla="*/ 3314859 w 16408544"/>
              <a:gd name="connsiteY1096" fmla="*/ 4168701 h 8684653"/>
              <a:gd name="connsiteX1097" fmla="*/ 3271294 w 16408544"/>
              <a:gd name="connsiteY1097" fmla="*/ 4177269 h 8684653"/>
              <a:gd name="connsiteX1098" fmla="*/ 3215000 w 16408544"/>
              <a:gd name="connsiteY1098" fmla="*/ 4288994 h 8684653"/>
              <a:gd name="connsiteX1099" fmla="*/ 3222919 w 16408544"/>
              <a:gd name="connsiteY1099" fmla="*/ 4305787 h 8684653"/>
              <a:gd name="connsiteX1100" fmla="*/ 3218676 w 16408544"/>
              <a:gd name="connsiteY1100" fmla="*/ 4305444 h 8684653"/>
              <a:gd name="connsiteX1101" fmla="*/ 3219806 w 16408544"/>
              <a:gd name="connsiteY1101" fmla="*/ 4309557 h 8684653"/>
              <a:gd name="connsiteX1102" fmla="*/ 3226031 w 16408544"/>
              <a:gd name="connsiteY1102" fmla="*/ 4336974 h 8684653"/>
              <a:gd name="connsiteX1103" fmla="*/ 3210190 w 16408544"/>
              <a:gd name="connsiteY1103" fmla="*/ 4405517 h 8684653"/>
              <a:gd name="connsiteX1104" fmla="*/ 3210190 w 16408544"/>
              <a:gd name="connsiteY1104" fmla="*/ 4501477 h 8684653"/>
              <a:gd name="connsiteX1105" fmla="*/ 3222919 w 16408544"/>
              <a:gd name="connsiteY1105" fmla="*/ 4536091 h 8684653"/>
              <a:gd name="connsiteX1106" fmla="*/ 3227729 w 16408544"/>
              <a:gd name="connsiteY1106" fmla="*/ 4576874 h 8684653"/>
              <a:gd name="connsiteX1107" fmla="*/ 3266485 w 16408544"/>
              <a:gd name="connsiteY1107" fmla="*/ 4626911 h 8684653"/>
              <a:gd name="connsiteX1108" fmla="*/ 3337491 w 16408544"/>
              <a:gd name="connsiteY1108" fmla="*/ 4700594 h 8684653"/>
              <a:gd name="connsiteX1109" fmla="*/ 3364931 w 16408544"/>
              <a:gd name="connsiteY1109" fmla="*/ 4721157 h 8684653"/>
              <a:gd name="connsiteX1110" fmla="*/ 3453473 w 16408544"/>
              <a:gd name="connsiteY1110" fmla="*/ 4696824 h 8684653"/>
              <a:gd name="connsiteX1111" fmla="*/ 3484308 w 16408544"/>
              <a:gd name="connsiteY1111" fmla="*/ 4707449 h 8684653"/>
              <a:gd name="connsiteX1112" fmla="*/ 3506939 w 16408544"/>
              <a:gd name="connsiteY1112" fmla="*/ 4680031 h 8684653"/>
              <a:gd name="connsiteX1113" fmla="*/ 3540885 w 16408544"/>
              <a:gd name="connsiteY1113" fmla="*/ 4611146 h 8684653"/>
              <a:gd name="connsiteX1114" fmla="*/ 3637632 w 16408544"/>
              <a:gd name="connsiteY1114" fmla="*/ 4544316 h 8684653"/>
              <a:gd name="connsiteX1115" fmla="*/ 3669882 w 16408544"/>
              <a:gd name="connsiteY1115" fmla="*/ 4549800 h 8684653"/>
              <a:gd name="connsiteX1116" fmla="*/ 3706938 w 16408544"/>
              <a:gd name="connsiteY1116" fmla="*/ 4552884 h 8684653"/>
              <a:gd name="connsiteX1117" fmla="*/ 3706938 w 16408544"/>
              <a:gd name="connsiteY1117" fmla="*/ 4568649 h 8684653"/>
              <a:gd name="connsiteX1118" fmla="*/ 3679500 w 16408544"/>
              <a:gd name="connsiteY1118" fmla="*/ 4656041 h 8684653"/>
              <a:gd name="connsiteX1119" fmla="*/ 3659981 w 16408544"/>
              <a:gd name="connsiteY1119" fmla="*/ 4712589 h 8684653"/>
              <a:gd name="connsiteX1120" fmla="*/ 3659981 w 16408544"/>
              <a:gd name="connsiteY1120" fmla="*/ 4700594 h 8684653"/>
              <a:gd name="connsiteX1121" fmla="*/ 3647251 w 16408544"/>
              <a:gd name="connsiteY1121" fmla="*/ 4700594 h 8684653"/>
              <a:gd name="connsiteX1122" fmla="*/ 3647251 w 16408544"/>
              <a:gd name="connsiteY1122" fmla="*/ 4783189 h 8684653"/>
              <a:gd name="connsiteX1123" fmla="*/ 3618114 w 16408544"/>
              <a:gd name="connsiteY1123" fmla="*/ 4817117 h 8684653"/>
              <a:gd name="connsiteX1124" fmla="*/ 3618114 w 16408544"/>
              <a:gd name="connsiteY1124" fmla="*/ 4826028 h 8684653"/>
              <a:gd name="connsiteX1125" fmla="*/ 3637632 w 16408544"/>
              <a:gd name="connsiteY1125" fmla="*/ 4844534 h 8684653"/>
              <a:gd name="connsiteX1126" fmla="*/ 3790671 w 16408544"/>
              <a:gd name="connsiteY1126" fmla="*/ 4834253 h 8684653"/>
              <a:gd name="connsiteX1127" fmla="*/ 3868184 w 16408544"/>
              <a:gd name="connsiteY1127" fmla="*/ 4870581 h 8684653"/>
              <a:gd name="connsiteX1128" fmla="*/ 3868184 w 16408544"/>
              <a:gd name="connsiteY1128" fmla="*/ 4896284 h 8684653"/>
              <a:gd name="connsiteX1129" fmla="*/ 3856868 w 16408544"/>
              <a:gd name="connsiteY1129" fmla="*/ 4971682 h 8684653"/>
              <a:gd name="connsiteX1130" fmla="*/ 3856868 w 16408544"/>
              <a:gd name="connsiteY1130" fmla="*/ 5076210 h 8684653"/>
              <a:gd name="connsiteX1131" fmla="*/ 3916557 w 16408544"/>
              <a:gd name="connsiteY1131" fmla="*/ 5143382 h 8684653"/>
              <a:gd name="connsiteX1132" fmla="*/ 3961820 w 16408544"/>
              <a:gd name="connsiteY1132" fmla="*/ 5184507 h 8684653"/>
              <a:gd name="connsiteX1133" fmla="*/ 4063375 w 16408544"/>
              <a:gd name="connsiteY1133" fmla="*/ 5150236 h 8684653"/>
              <a:gd name="connsiteX1134" fmla="*/ 4154184 w 16408544"/>
              <a:gd name="connsiteY1134" fmla="*/ 5205070 h 8684653"/>
              <a:gd name="connsiteX1135" fmla="*/ 4143435 w 16408544"/>
              <a:gd name="connsiteY1135" fmla="*/ 5218436 h 8684653"/>
              <a:gd name="connsiteX1136" fmla="*/ 4155315 w 16408544"/>
              <a:gd name="connsiteY1136" fmla="*/ 5206784 h 8684653"/>
              <a:gd name="connsiteX1137" fmla="*/ 4174549 w 16408544"/>
              <a:gd name="connsiteY1137" fmla="*/ 5206784 h 8684653"/>
              <a:gd name="connsiteX1138" fmla="*/ 4174549 w 16408544"/>
              <a:gd name="connsiteY1138" fmla="*/ 5196502 h 8684653"/>
              <a:gd name="connsiteX1139" fmla="*/ 4184452 w 16408544"/>
              <a:gd name="connsiteY1139" fmla="*/ 5187935 h 8684653"/>
              <a:gd name="connsiteX1140" fmla="*/ 4210192 w 16408544"/>
              <a:gd name="connsiteY1140" fmla="*/ 5158804 h 8684653"/>
              <a:gd name="connsiteX1141" fmla="*/ 4224620 w 16408544"/>
              <a:gd name="connsiteY1141" fmla="*/ 5115965 h 8684653"/>
              <a:gd name="connsiteX1142" fmla="*/ 4268186 w 16408544"/>
              <a:gd name="connsiteY1142" fmla="*/ 5076210 h 8684653"/>
              <a:gd name="connsiteX1143" fmla="*/ 4373135 w 16408544"/>
              <a:gd name="connsiteY1143" fmla="*/ 5041938 h 8684653"/>
              <a:gd name="connsiteX1144" fmla="*/ 4419812 w 16408544"/>
              <a:gd name="connsiteY1144" fmla="*/ 5009723 h 8684653"/>
              <a:gd name="connsiteX1145" fmla="*/ 4434522 w 16408544"/>
              <a:gd name="connsiteY1145" fmla="*/ 5030286 h 8684653"/>
              <a:gd name="connsiteX1146" fmla="*/ 4418399 w 16408544"/>
              <a:gd name="connsiteY1146" fmla="*/ 5050849 h 8684653"/>
              <a:gd name="connsiteX1147" fmla="*/ 4403688 w 16408544"/>
              <a:gd name="connsiteY1147" fmla="*/ 5120763 h 8684653"/>
              <a:gd name="connsiteX1148" fmla="*/ 4430278 w 16408544"/>
              <a:gd name="connsiteY1148" fmla="*/ 5172855 h 8684653"/>
              <a:gd name="connsiteX1149" fmla="*/ 4445838 w 16408544"/>
              <a:gd name="connsiteY1149" fmla="*/ 5145095 h 8684653"/>
              <a:gd name="connsiteX1150" fmla="*/ 4426319 w 16408544"/>
              <a:gd name="connsiteY1150" fmla="*/ 5091632 h 8684653"/>
              <a:gd name="connsiteX1151" fmla="*/ 4466772 w 16408544"/>
              <a:gd name="connsiteY1151" fmla="*/ 5059074 h 8684653"/>
              <a:gd name="connsiteX1152" fmla="*/ 4505244 w 16408544"/>
              <a:gd name="connsiteY1152" fmla="*/ 5059074 h 8684653"/>
              <a:gd name="connsiteX1153" fmla="*/ 4474692 w 16408544"/>
              <a:gd name="connsiteY1153" fmla="*/ 5026516 h 8684653"/>
              <a:gd name="connsiteX1154" fmla="*/ 4502981 w 16408544"/>
              <a:gd name="connsiteY1154" fmla="*/ 5027201 h 8684653"/>
              <a:gd name="connsiteX1155" fmla="*/ 4569741 w 16408544"/>
              <a:gd name="connsiteY1155" fmla="*/ 5069698 h 8684653"/>
              <a:gd name="connsiteX1156" fmla="*/ 4589260 w 16408544"/>
              <a:gd name="connsiteY1156" fmla="*/ 5100200 h 8684653"/>
              <a:gd name="connsiteX1157" fmla="*/ 4676392 w 16408544"/>
              <a:gd name="connsiteY1157" fmla="*/ 5100200 h 8684653"/>
              <a:gd name="connsiteX1158" fmla="*/ 4708639 w 16408544"/>
              <a:gd name="connsiteY1158" fmla="*/ 5119049 h 8684653"/>
              <a:gd name="connsiteX1159" fmla="*/ 4758708 w 16408544"/>
              <a:gd name="connsiteY1159" fmla="*/ 5095059 h 8684653"/>
              <a:gd name="connsiteX1160" fmla="*/ 4798879 w 16408544"/>
              <a:gd name="connsiteY1160" fmla="*/ 5086491 h 8684653"/>
              <a:gd name="connsiteX1161" fmla="*/ 4844141 w 16408544"/>
              <a:gd name="connsiteY1161" fmla="*/ 5091632 h 8684653"/>
              <a:gd name="connsiteX1162" fmla="*/ 4820095 w 16408544"/>
              <a:gd name="connsiteY1162" fmla="*/ 5095059 h 8684653"/>
              <a:gd name="connsiteX1163" fmla="*/ 4820095 w 16408544"/>
              <a:gd name="connsiteY1163" fmla="*/ 5109110 h 8684653"/>
              <a:gd name="connsiteX1164" fmla="*/ 4889120 w 16408544"/>
              <a:gd name="connsiteY1164" fmla="*/ 5146809 h 8684653"/>
              <a:gd name="connsiteX1165" fmla="*/ 4911751 w 16408544"/>
              <a:gd name="connsiteY1165" fmla="*/ 5201643 h 8684653"/>
              <a:gd name="connsiteX1166" fmla="*/ 4957014 w 16408544"/>
              <a:gd name="connsiteY1166" fmla="*/ 5201643 h 8684653"/>
              <a:gd name="connsiteX1167" fmla="*/ 5021510 w 16408544"/>
              <a:gd name="connsiteY1167" fmla="*/ 5271900 h 8684653"/>
              <a:gd name="connsiteX1168" fmla="*/ 5045840 w 16408544"/>
              <a:gd name="connsiteY1168" fmla="*/ 5282181 h 8684653"/>
              <a:gd name="connsiteX1169" fmla="*/ 5168329 w 16408544"/>
              <a:gd name="connsiteY1169" fmla="*/ 5333931 h 8684653"/>
              <a:gd name="connsiteX1170" fmla="*/ 5210197 w 16408544"/>
              <a:gd name="connsiteY1170" fmla="*/ 5333931 h 8684653"/>
              <a:gd name="connsiteX1171" fmla="*/ 5263662 w 16408544"/>
              <a:gd name="connsiteY1171" fmla="*/ 5352780 h 8684653"/>
              <a:gd name="connsiteX1172" fmla="*/ 5263662 w 16408544"/>
              <a:gd name="connsiteY1172" fmla="*/ 5355865 h 8684653"/>
              <a:gd name="connsiteX1173" fmla="*/ 5273279 w 16408544"/>
              <a:gd name="connsiteY1173" fmla="*/ 5355865 h 8684653"/>
              <a:gd name="connsiteX1174" fmla="*/ 5360125 w 16408544"/>
              <a:gd name="connsiteY1174" fmla="*/ 5419610 h 8684653"/>
              <a:gd name="connsiteX1175" fmla="*/ 5389263 w 16408544"/>
              <a:gd name="connsiteY1175" fmla="*/ 5513856 h 8684653"/>
              <a:gd name="connsiteX1176" fmla="*/ 5418399 w 16408544"/>
              <a:gd name="connsiteY1176" fmla="*/ 5548128 h 8684653"/>
              <a:gd name="connsiteX1177" fmla="*/ 5415572 w 16408544"/>
              <a:gd name="connsiteY1177" fmla="*/ 5551555 h 8684653"/>
              <a:gd name="connsiteX1178" fmla="*/ 5471301 w 16408544"/>
              <a:gd name="connsiteY1178" fmla="*/ 5585484 h 8684653"/>
              <a:gd name="connsiteX1179" fmla="*/ 5526179 w 16408544"/>
              <a:gd name="connsiteY1179" fmla="*/ 5601934 h 8684653"/>
              <a:gd name="connsiteX1180" fmla="*/ 5545133 w 16408544"/>
              <a:gd name="connsiteY1180" fmla="*/ 5639633 h 8684653"/>
              <a:gd name="connsiteX1181" fmla="*/ 5542870 w 16408544"/>
              <a:gd name="connsiteY1181" fmla="*/ 5648201 h 8684653"/>
              <a:gd name="connsiteX1182" fmla="*/ 5629716 w 16408544"/>
              <a:gd name="connsiteY1182" fmla="*/ 5690697 h 8684653"/>
              <a:gd name="connsiteX1183" fmla="*/ 5660267 w 16408544"/>
              <a:gd name="connsiteY1183" fmla="*/ 5709547 h 8684653"/>
              <a:gd name="connsiteX1184" fmla="*/ 5663379 w 16408544"/>
              <a:gd name="connsiteY1184" fmla="*/ 5752043 h 8684653"/>
              <a:gd name="connsiteX1185" fmla="*/ 5674977 w 16408544"/>
              <a:gd name="connsiteY1185" fmla="*/ 5752043 h 8684653"/>
              <a:gd name="connsiteX1186" fmla="*/ 5710338 w 16408544"/>
              <a:gd name="connsiteY1186" fmla="*/ 5733537 h 8684653"/>
              <a:gd name="connsiteX1187" fmla="*/ 5783040 w 16408544"/>
              <a:gd name="connsiteY1187" fmla="*/ 5760954 h 8684653"/>
              <a:gd name="connsiteX1188" fmla="*/ 5844144 w 16408544"/>
              <a:gd name="connsiteY1188" fmla="*/ 5752043 h 8684653"/>
              <a:gd name="connsiteX1189" fmla="*/ 5919956 w 16408544"/>
              <a:gd name="connsiteY1189" fmla="*/ 5779803 h 8684653"/>
              <a:gd name="connsiteX1190" fmla="*/ 6010481 w 16408544"/>
              <a:gd name="connsiteY1190" fmla="*/ 5862397 h 8684653"/>
              <a:gd name="connsiteX1191" fmla="*/ 6069887 w 16408544"/>
              <a:gd name="connsiteY1191" fmla="*/ 5865482 h 8684653"/>
              <a:gd name="connsiteX1192" fmla="*/ 6110340 w 16408544"/>
              <a:gd name="connsiteY1192" fmla="*/ 5948076 h 8684653"/>
              <a:gd name="connsiteX1193" fmla="*/ 6001146 w 16408544"/>
              <a:gd name="connsiteY1193" fmla="*/ 6178723 h 8684653"/>
              <a:gd name="connsiteX1194" fmla="*/ 5974838 w 16408544"/>
              <a:gd name="connsiteY1194" fmla="*/ 6214023 h 8684653"/>
              <a:gd name="connsiteX1195" fmla="*/ 5924766 w 16408544"/>
              <a:gd name="connsiteY1195" fmla="*/ 6260289 h 8684653"/>
              <a:gd name="connsiteX1196" fmla="*/ 5924483 w 16408544"/>
              <a:gd name="connsiteY1196" fmla="*/ 6382638 h 8684653"/>
              <a:gd name="connsiteX1197" fmla="*/ 5913452 w 16408544"/>
              <a:gd name="connsiteY1197" fmla="*/ 6464547 h 8684653"/>
              <a:gd name="connsiteX1198" fmla="*/ 5905531 w 16408544"/>
              <a:gd name="connsiteY1198" fmla="*/ 6484767 h 8684653"/>
              <a:gd name="connsiteX1199" fmla="*/ 5884596 w 16408544"/>
              <a:gd name="connsiteY1199" fmla="*/ 6524522 h 8684653"/>
              <a:gd name="connsiteX1200" fmla="*/ 5876392 w 16408544"/>
              <a:gd name="connsiteY1200" fmla="*/ 6582783 h 8684653"/>
              <a:gd name="connsiteX1201" fmla="*/ 5820099 w 16408544"/>
              <a:gd name="connsiteY1201" fmla="*/ 6673603 h 8684653"/>
              <a:gd name="connsiteX1202" fmla="*/ 5811895 w 16408544"/>
              <a:gd name="connsiteY1202" fmla="*/ 6711301 h 8684653"/>
              <a:gd name="connsiteX1203" fmla="*/ 5740890 w 16408544"/>
              <a:gd name="connsiteY1203" fmla="*/ 6756197 h 8684653"/>
              <a:gd name="connsiteX1204" fmla="*/ 5661964 w 16408544"/>
              <a:gd name="connsiteY1204" fmla="*/ 6766136 h 8684653"/>
              <a:gd name="connsiteX1205" fmla="*/ 5645839 w 16408544"/>
              <a:gd name="connsiteY1205" fmla="*/ 6785328 h 8684653"/>
              <a:gd name="connsiteX1206" fmla="*/ 5537778 w 16408544"/>
              <a:gd name="connsiteY1206" fmla="*/ 6850443 h 8684653"/>
              <a:gd name="connsiteX1207" fmla="*/ 5491102 w 16408544"/>
              <a:gd name="connsiteY1207" fmla="*/ 6886429 h 8684653"/>
              <a:gd name="connsiteX1208" fmla="*/ 5473279 w 16408544"/>
              <a:gd name="connsiteY1208" fmla="*/ 6965596 h 8684653"/>
              <a:gd name="connsiteX1209" fmla="*/ 5473279 w 16408544"/>
              <a:gd name="connsiteY1209" fmla="*/ 7046134 h 8684653"/>
              <a:gd name="connsiteX1210" fmla="*/ 5408782 w 16408544"/>
              <a:gd name="connsiteY1210" fmla="*/ 7128385 h 8684653"/>
              <a:gd name="connsiteX1211" fmla="*/ 5408782 w 16408544"/>
              <a:gd name="connsiteY1211" fmla="*/ 7126672 h 8684653"/>
              <a:gd name="connsiteX1212" fmla="*/ 5386151 w 16408544"/>
              <a:gd name="connsiteY1212" fmla="*/ 7183219 h 8684653"/>
              <a:gd name="connsiteX1213" fmla="*/ 5297325 w 16408544"/>
              <a:gd name="connsiteY1213" fmla="*/ 7279180 h 8684653"/>
              <a:gd name="connsiteX1214" fmla="*/ 5178512 w 16408544"/>
              <a:gd name="connsiteY1214" fmla="*/ 7416609 h 8684653"/>
              <a:gd name="connsiteX1215" fmla="*/ 5105246 w 16408544"/>
              <a:gd name="connsiteY1215" fmla="*/ 7397759 h 8684653"/>
              <a:gd name="connsiteX1216" fmla="*/ 5037635 w 16408544"/>
              <a:gd name="connsiteY1216" fmla="*/ 7377197 h 8684653"/>
              <a:gd name="connsiteX1217" fmla="*/ 5024903 w 16408544"/>
              <a:gd name="connsiteY1217" fmla="*/ 7385764 h 8684653"/>
              <a:gd name="connsiteX1218" fmla="*/ 5053760 w 16408544"/>
              <a:gd name="connsiteY1218" fmla="*/ 7414895 h 8684653"/>
              <a:gd name="connsiteX1219" fmla="*/ 5073281 w 16408544"/>
              <a:gd name="connsiteY1219" fmla="*/ 7468015 h 8684653"/>
              <a:gd name="connsiteX1220" fmla="*/ 5103830 w 16408544"/>
              <a:gd name="connsiteY1220" fmla="*/ 7505715 h 8684653"/>
              <a:gd name="connsiteX1221" fmla="*/ 5095911 w 16408544"/>
              <a:gd name="connsiteY1221" fmla="*/ 7551295 h 8684653"/>
              <a:gd name="connsiteX1222" fmla="*/ 5053760 w 16408544"/>
              <a:gd name="connsiteY1222" fmla="*/ 7603731 h 8684653"/>
              <a:gd name="connsiteX1223" fmla="*/ 4953901 w 16408544"/>
              <a:gd name="connsiteY1223" fmla="*/ 7638002 h 8684653"/>
              <a:gd name="connsiteX1224" fmla="*/ 4860266 w 16408544"/>
              <a:gd name="connsiteY1224" fmla="*/ 7643143 h 8684653"/>
              <a:gd name="connsiteX1225" fmla="*/ 4844141 w 16408544"/>
              <a:gd name="connsiteY1225" fmla="*/ 7740817 h 8684653"/>
              <a:gd name="connsiteX1226" fmla="*/ 4844141 w 16408544"/>
              <a:gd name="connsiteY1226" fmla="*/ 7757953 h 8684653"/>
              <a:gd name="connsiteX1227" fmla="*/ 4807082 w 16408544"/>
              <a:gd name="connsiteY1227" fmla="*/ 7778515 h 8684653"/>
              <a:gd name="connsiteX1228" fmla="*/ 4734380 w 16408544"/>
              <a:gd name="connsiteY1228" fmla="*/ 7754525 h 8684653"/>
              <a:gd name="connsiteX1229" fmla="*/ 4718258 w 16408544"/>
              <a:gd name="connsiteY1229" fmla="*/ 7775088 h 8684653"/>
              <a:gd name="connsiteX1230" fmla="*/ 4752203 w 16408544"/>
              <a:gd name="connsiteY1230" fmla="*/ 7843973 h 8684653"/>
              <a:gd name="connsiteX1231" fmla="*/ 4774833 w 16408544"/>
              <a:gd name="connsiteY1231" fmla="*/ 7831979 h 8684653"/>
              <a:gd name="connsiteX1232" fmla="*/ 4789260 w 16408544"/>
              <a:gd name="connsiteY1232" fmla="*/ 7849115 h 8684653"/>
              <a:gd name="connsiteX1233" fmla="*/ 4773135 w 16408544"/>
              <a:gd name="connsiteY1233" fmla="*/ 7871391 h 8684653"/>
              <a:gd name="connsiteX1234" fmla="*/ 4731269 w 16408544"/>
              <a:gd name="connsiteY1234" fmla="*/ 7855626 h 8684653"/>
              <a:gd name="connsiteX1235" fmla="*/ 4748807 w 16408544"/>
              <a:gd name="connsiteY1235" fmla="*/ 7881673 h 8684653"/>
              <a:gd name="connsiteX1236" fmla="*/ 4710338 w 16408544"/>
              <a:gd name="connsiteY1236" fmla="*/ 7986201 h 8684653"/>
              <a:gd name="connsiteX1237" fmla="*/ 4666774 w 16408544"/>
              <a:gd name="connsiteY1237" fmla="*/ 8008477 h 8684653"/>
              <a:gd name="connsiteX1238" fmla="*/ 4618401 w 16408544"/>
              <a:gd name="connsiteY1238" fmla="*/ 8068452 h 8684653"/>
              <a:gd name="connsiteX1239" fmla="*/ 4690819 w 16408544"/>
              <a:gd name="connsiteY1239" fmla="*/ 8165097 h 8684653"/>
              <a:gd name="connsiteX1240" fmla="*/ 4628017 w 16408544"/>
              <a:gd name="connsiteY1240" fmla="*/ 8241865 h 8684653"/>
              <a:gd name="connsiteX1241" fmla="*/ 4610194 w 16408544"/>
              <a:gd name="connsiteY1241" fmla="*/ 8300127 h 8684653"/>
              <a:gd name="connsiteX1242" fmla="*/ 4558710 w 16408544"/>
              <a:gd name="connsiteY1242" fmla="*/ 8329258 h 8684653"/>
              <a:gd name="connsiteX1243" fmla="*/ 4531271 w 16408544"/>
              <a:gd name="connsiteY1243" fmla="*/ 8406369 h 8684653"/>
              <a:gd name="connsiteX1244" fmla="*/ 4555317 w 16408544"/>
              <a:gd name="connsiteY1244" fmla="*/ 8446123 h 8684653"/>
              <a:gd name="connsiteX1245" fmla="*/ 4603691 w 16408544"/>
              <a:gd name="connsiteY1245" fmla="*/ 8564360 h 8684653"/>
              <a:gd name="connsiteX1246" fmla="*/ 4726460 w 16408544"/>
              <a:gd name="connsiteY1246" fmla="*/ 8640100 h 8684653"/>
              <a:gd name="connsiteX1247" fmla="*/ 4700437 w 16408544"/>
              <a:gd name="connsiteY1247" fmla="*/ 8645241 h 8684653"/>
              <a:gd name="connsiteX1248" fmla="*/ 4621511 w 16408544"/>
              <a:gd name="connsiteY1248" fmla="*/ 8677456 h 8684653"/>
              <a:gd name="connsiteX1249" fmla="*/ 4603691 w 16408544"/>
              <a:gd name="connsiteY1249" fmla="*/ 8677456 h 8684653"/>
              <a:gd name="connsiteX1250" fmla="*/ 4587562 w 16408544"/>
              <a:gd name="connsiteY1250" fmla="*/ 8684653 h 8684653"/>
              <a:gd name="connsiteX1251" fmla="*/ 4542584 w 16408544"/>
              <a:gd name="connsiteY1251" fmla="*/ 8684653 h 8684653"/>
              <a:gd name="connsiteX1252" fmla="*/ 4492515 w 16408544"/>
              <a:gd name="connsiteY1252" fmla="*/ 8629476 h 8684653"/>
              <a:gd name="connsiteX1253" fmla="*/ 4432825 w 16408544"/>
              <a:gd name="connsiteY1253" fmla="*/ 8590407 h 8684653"/>
              <a:gd name="connsiteX1254" fmla="*/ 4402273 w 16408544"/>
              <a:gd name="connsiteY1254" fmla="*/ 8590407 h 8684653"/>
              <a:gd name="connsiteX1255" fmla="*/ 4384450 w 16408544"/>
              <a:gd name="connsiteY1255" fmla="*/ 8567787 h 8684653"/>
              <a:gd name="connsiteX1256" fmla="*/ 4305242 w 16408544"/>
              <a:gd name="connsiteY1256" fmla="*/ 8521521 h 8684653"/>
              <a:gd name="connsiteX1257" fmla="*/ 4290814 w 16408544"/>
              <a:gd name="connsiteY1257" fmla="*/ 8504385 h 8684653"/>
              <a:gd name="connsiteX1258" fmla="*/ 4321365 w 16408544"/>
              <a:gd name="connsiteY1258" fmla="*/ 8475255 h 8684653"/>
              <a:gd name="connsiteX1259" fmla="*/ 4308636 w 16408544"/>
              <a:gd name="connsiteY1259" fmla="*/ 8466687 h 8684653"/>
              <a:gd name="connsiteX1260" fmla="*/ 4319670 w 16408544"/>
              <a:gd name="connsiteY1260" fmla="*/ 8437555 h 8684653"/>
              <a:gd name="connsiteX1261" fmla="*/ 4276104 w 16408544"/>
              <a:gd name="connsiteY1261" fmla="*/ 8366957 h 8684653"/>
              <a:gd name="connsiteX1262" fmla="*/ 4276104 w 16408544"/>
              <a:gd name="connsiteY1262" fmla="*/ 8342967 h 8684653"/>
              <a:gd name="connsiteX1263" fmla="*/ 4252059 w 16408544"/>
              <a:gd name="connsiteY1263" fmla="*/ 8216162 h 8684653"/>
              <a:gd name="connsiteX1264" fmla="*/ 4289119 w 16408544"/>
              <a:gd name="connsiteY1264" fmla="*/ 8145905 h 8684653"/>
              <a:gd name="connsiteX1265" fmla="*/ 4266487 w 16408544"/>
              <a:gd name="connsiteY1265" fmla="*/ 8085931 h 8684653"/>
              <a:gd name="connsiteX1266" fmla="*/ 4266487 w 16408544"/>
              <a:gd name="connsiteY1266" fmla="*/ 8068452 h 8684653"/>
              <a:gd name="connsiteX1267" fmla="*/ 4268186 w 16408544"/>
              <a:gd name="connsiteY1267" fmla="*/ 8068452 h 8684653"/>
              <a:gd name="connsiteX1268" fmla="*/ 4282610 w 16408544"/>
              <a:gd name="connsiteY1268" fmla="*/ 8049603 h 8684653"/>
              <a:gd name="connsiteX1269" fmla="*/ 4324762 w 16408544"/>
              <a:gd name="connsiteY1269" fmla="*/ 8080789 h 8684653"/>
              <a:gd name="connsiteX1270" fmla="*/ 4377944 w 16408544"/>
              <a:gd name="connsiteY1270" fmla="*/ 7826838 h 8684653"/>
              <a:gd name="connsiteX1271" fmla="*/ 4377944 w 16408544"/>
              <a:gd name="connsiteY1271" fmla="*/ 7800791 h 8684653"/>
              <a:gd name="connsiteX1272" fmla="*/ 4363517 w 16408544"/>
              <a:gd name="connsiteY1272" fmla="*/ 7800791 h 8684653"/>
              <a:gd name="connsiteX1273" fmla="*/ 4339189 w 16408544"/>
              <a:gd name="connsiteY1273" fmla="*/ 7819983 h 8684653"/>
              <a:gd name="connsiteX1274" fmla="*/ 4316558 w 16408544"/>
              <a:gd name="connsiteY1274" fmla="*/ 7761379 h 8684653"/>
              <a:gd name="connsiteX1275" fmla="*/ 4332681 w 16408544"/>
              <a:gd name="connsiteY1275" fmla="*/ 7684269 h 8684653"/>
              <a:gd name="connsiteX1276" fmla="*/ 4348807 w 16408544"/>
              <a:gd name="connsiteY1276" fmla="*/ 7673987 h 8684653"/>
              <a:gd name="connsiteX1277" fmla="*/ 4339189 w 16408544"/>
              <a:gd name="connsiteY1277" fmla="*/ 7655138 h 8684653"/>
              <a:gd name="connsiteX1278" fmla="*/ 4330985 w 16408544"/>
              <a:gd name="connsiteY1278" fmla="*/ 7595163 h 8684653"/>
              <a:gd name="connsiteX1279" fmla="*/ 4368043 w 16408544"/>
              <a:gd name="connsiteY1279" fmla="*/ 7492005 h 8684653"/>
              <a:gd name="connsiteX1280" fmla="*/ 4385866 w 16408544"/>
              <a:gd name="connsiteY1280" fmla="*/ 7444025 h 8684653"/>
              <a:gd name="connsiteX1281" fmla="*/ 4400576 w 16408544"/>
              <a:gd name="connsiteY1281" fmla="*/ 7432031 h 8684653"/>
              <a:gd name="connsiteX1282" fmla="*/ 4421509 w 16408544"/>
              <a:gd name="connsiteY1282" fmla="*/ 7322019 h 8684653"/>
              <a:gd name="connsiteX1283" fmla="*/ 4419812 w 16408544"/>
              <a:gd name="connsiteY1283" fmla="*/ 7193501 h 8684653"/>
              <a:gd name="connsiteX1284" fmla="*/ 4428016 w 16408544"/>
              <a:gd name="connsiteY1284" fmla="*/ 7111249 h 8684653"/>
              <a:gd name="connsiteX1285" fmla="*/ 4465074 w 16408544"/>
              <a:gd name="connsiteY1285" fmla="*/ 6944691 h 8684653"/>
              <a:gd name="connsiteX1286" fmla="*/ 4465074 w 16408544"/>
              <a:gd name="connsiteY1286" fmla="*/ 6929268 h 8684653"/>
              <a:gd name="connsiteX1287" fmla="*/ 4476389 w 16408544"/>
              <a:gd name="connsiteY1287" fmla="*/ 6869293 h 8684653"/>
              <a:gd name="connsiteX1288" fmla="*/ 4476389 w 16408544"/>
              <a:gd name="connsiteY1288" fmla="*/ 6793896 h 8684653"/>
              <a:gd name="connsiteX1289" fmla="*/ 4490817 w 16408544"/>
              <a:gd name="connsiteY1289" fmla="*/ 6695879 h 8684653"/>
              <a:gd name="connsiteX1290" fmla="*/ 4478088 w 16408544"/>
              <a:gd name="connsiteY1290" fmla="*/ 6558793 h 8684653"/>
              <a:gd name="connsiteX1291" fmla="*/ 4408496 w 16408544"/>
              <a:gd name="connsiteY1291" fmla="*/ 6476542 h 8684653"/>
              <a:gd name="connsiteX1292" fmla="*/ 4348807 w 16408544"/>
              <a:gd name="connsiteY1292" fmla="*/ 6449125 h 8684653"/>
              <a:gd name="connsiteX1293" fmla="*/ 4297320 w 16408544"/>
              <a:gd name="connsiteY1293" fmla="*/ 6414511 h 8684653"/>
              <a:gd name="connsiteX1294" fmla="*/ 4200575 w 16408544"/>
              <a:gd name="connsiteY1294" fmla="*/ 6344254 h 8684653"/>
              <a:gd name="connsiteX1295" fmla="*/ 4194070 w 16408544"/>
              <a:gd name="connsiteY1295" fmla="*/ 6291133 h 8684653"/>
              <a:gd name="connsiteX1296" fmla="*/ 4163519 w 16408544"/>
              <a:gd name="connsiteY1296" fmla="*/ 6226017 h 8684653"/>
              <a:gd name="connsiteX1297" fmla="*/ 4106940 w 16408544"/>
              <a:gd name="connsiteY1297" fmla="*/ 6116006 h 8684653"/>
              <a:gd name="connsiteX1298" fmla="*/ 4071296 w 16408544"/>
              <a:gd name="connsiteY1298" fmla="*/ 6021760 h 8684653"/>
              <a:gd name="connsiteX1299" fmla="*/ 4050645 w 16408544"/>
              <a:gd name="connsiteY1299" fmla="*/ 6009765 h 8684653"/>
              <a:gd name="connsiteX1300" fmla="*/ 4031128 w 16408544"/>
              <a:gd name="connsiteY1300" fmla="*/ 5961785 h 8684653"/>
              <a:gd name="connsiteX1301" fmla="*/ 4006799 w 16408544"/>
              <a:gd name="connsiteY1301" fmla="*/ 5948076 h 8684653"/>
              <a:gd name="connsiteX1302" fmla="*/ 3966630 w 16408544"/>
              <a:gd name="connsiteY1302" fmla="*/ 5864111 h 8684653"/>
              <a:gd name="connsiteX1303" fmla="*/ 3984169 w 16408544"/>
              <a:gd name="connsiteY1303" fmla="*/ 5812361 h 8684653"/>
              <a:gd name="connsiteX1304" fmla="*/ 4034240 w 16408544"/>
              <a:gd name="connsiteY1304" fmla="*/ 5752043 h 8684653"/>
              <a:gd name="connsiteX1305" fmla="*/ 4010195 w 16408544"/>
              <a:gd name="connsiteY1305" fmla="*/ 5750330 h 8684653"/>
              <a:gd name="connsiteX1306" fmla="*/ 3984169 w 16408544"/>
              <a:gd name="connsiteY1306" fmla="*/ 5692411 h 8684653"/>
              <a:gd name="connsiteX1307" fmla="*/ 4018114 w 16408544"/>
              <a:gd name="connsiteY1307" fmla="*/ 5584113 h 8684653"/>
              <a:gd name="connsiteX1308" fmla="*/ 4086006 w 16408544"/>
              <a:gd name="connsiteY1308" fmla="*/ 5510429 h 8684653"/>
              <a:gd name="connsiteX1309" fmla="*/ 4155315 w 16408544"/>
              <a:gd name="connsiteY1309" fmla="*/ 5438459 h 8684653"/>
              <a:gd name="connsiteX1310" fmla="*/ 4139192 w 16408544"/>
              <a:gd name="connsiteY1310" fmla="*/ 5421323 h 8684653"/>
              <a:gd name="connsiteX1311" fmla="*/ 4145697 w 16408544"/>
              <a:gd name="connsiteY1311" fmla="*/ 5407615 h 8684653"/>
              <a:gd name="connsiteX1312" fmla="*/ 4145697 w 16408544"/>
              <a:gd name="connsiteY1312" fmla="*/ 5399047 h 8684653"/>
              <a:gd name="connsiteX1313" fmla="*/ 4136080 w 16408544"/>
              <a:gd name="connsiteY1313" fmla="*/ 5361006 h 8684653"/>
              <a:gd name="connsiteX1314" fmla="*/ 4144281 w 16408544"/>
              <a:gd name="connsiteY1314" fmla="*/ 5316795 h 8684653"/>
              <a:gd name="connsiteX1315" fmla="*/ 4115145 w 16408544"/>
              <a:gd name="connsiteY1315" fmla="*/ 5254764 h 8684653"/>
              <a:gd name="connsiteX1316" fmla="*/ 4117691 w 16408544"/>
              <a:gd name="connsiteY1316" fmla="*/ 5244140 h 8684653"/>
              <a:gd name="connsiteX1317" fmla="*/ 4113730 w 16408544"/>
              <a:gd name="connsiteY1317" fmla="*/ 5245853 h 8684653"/>
              <a:gd name="connsiteX1318" fmla="*/ 4095624 w 16408544"/>
              <a:gd name="connsiteY1318" fmla="*/ 5232488 h 8684653"/>
              <a:gd name="connsiteX1319" fmla="*/ 4105242 w 16408544"/>
              <a:gd name="connsiteY1319" fmla="*/ 5215352 h 8684653"/>
              <a:gd name="connsiteX1320" fmla="*/ 4065074 w 16408544"/>
              <a:gd name="connsiteY1320" fmla="*/ 5184507 h 8684653"/>
              <a:gd name="connsiteX1321" fmla="*/ 4008496 w 16408544"/>
              <a:gd name="connsiteY1321" fmla="*/ 5229060 h 8684653"/>
              <a:gd name="connsiteX1322" fmla="*/ 4021508 w 16408544"/>
              <a:gd name="connsiteY1322" fmla="*/ 5244483 h 8684653"/>
              <a:gd name="connsiteX1323" fmla="*/ 3997180 w 16408544"/>
              <a:gd name="connsiteY1323" fmla="*/ 5270186 h 8684653"/>
              <a:gd name="connsiteX1324" fmla="*/ 3942301 w 16408544"/>
              <a:gd name="connsiteY1324" fmla="*/ 5223920 h 8684653"/>
              <a:gd name="connsiteX1325" fmla="*/ 3893927 w 16408544"/>
              <a:gd name="connsiteY1325" fmla="*/ 5222206 h 8684653"/>
              <a:gd name="connsiteX1326" fmla="*/ 3886007 w 16408544"/>
              <a:gd name="connsiteY1326" fmla="*/ 5211925 h 8684653"/>
              <a:gd name="connsiteX1327" fmla="*/ 3856868 w 16408544"/>
              <a:gd name="connsiteY1327" fmla="*/ 5175940 h 8684653"/>
              <a:gd name="connsiteX1328" fmla="*/ 3795767 w 16408544"/>
              <a:gd name="connsiteY1328" fmla="*/ 5129673 h 8684653"/>
              <a:gd name="connsiteX1329" fmla="*/ 3795767 w 16408544"/>
              <a:gd name="connsiteY1329" fmla="*/ 5145095 h 8684653"/>
              <a:gd name="connsiteX1330" fmla="*/ 3779355 w 16408544"/>
              <a:gd name="connsiteY1330" fmla="*/ 5145095 h 8684653"/>
              <a:gd name="connsiteX1331" fmla="*/ 3763232 w 16408544"/>
              <a:gd name="connsiteY1331" fmla="*/ 5078266 h 8684653"/>
              <a:gd name="connsiteX1332" fmla="*/ 3742302 w 16408544"/>
              <a:gd name="connsiteY1332" fmla="*/ 5048792 h 8684653"/>
              <a:gd name="connsiteX1333" fmla="*/ 3679500 w 16408544"/>
              <a:gd name="connsiteY1333" fmla="*/ 4964827 h 8684653"/>
              <a:gd name="connsiteX1334" fmla="*/ 3669882 w 16408544"/>
              <a:gd name="connsiteY1334" fmla="*/ 4964827 h 8684653"/>
              <a:gd name="connsiteX1335" fmla="*/ 3639047 w 16408544"/>
              <a:gd name="connsiteY1335" fmla="*/ 4973395 h 8684653"/>
              <a:gd name="connsiteX1336" fmla="*/ 3571437 w 16408544"/>
              <a:gd name="connsiteY1336" fmla="*/ 4944264 h 8684653"/>
              <a:gd name="connsiteX1337" fmla="*/ 3485722 w 16408544"/>
              <a:gd name="connsiteY1337" fmla="*/ 4920274 h 8684653"/>
              <a:gd name="connsiteX1338" fmla="*/ 3385863 w 16408544"/>
              <a:gd name="connsiteY1338" fmla="*/ 4832539 h 8684653"/>
              <a:gd name="connsiteX1339" fmla="*/ 3376246 w 16408544"/>
              <a:gd name="connsiteY1339" fmla="*/ 4832539 h 8684653"/>
              <a:gd name="connsiteX1340" fmla="*/ 3340601 w 16408544"/>
              <a:gd name="connsiteY1340" fmla="*/ 4818831 h 8684653"/>
              <a:gd name="connsiteX1341" fmla="*/ 3279214 w 16408544"/>
              <a:gd name="connsiteY1341" fmla="*/ 4853445 h 8684653"/>
              <a:gd name="connsiteX1342" fmla="*/ 3246964 w 16408544"/>
              <a:gd name="connsiteY1342" fmla="*/ 4838023 h 8684653"/>
              <a:gd name="connsiteX1343" fmla="*/ 3210190 w 16408544"/>
              <a:gd name="connsiteY1343" fmla="*/ 4834253 h 8684653"/>
              <a:gd name="connsiteX1344" fmla="*/ 3119668 w 16408544"/>
              <a:gd name="connsiteY1344" fmla="*/ 4784559 h 8684653"/>
              <a:gd name="connsiteX1345" fmla="*/ 3072991 w 16408544"/>
              <a:gd name="connsiteY1345" fmla="*/ 4781132 h 8684653"/>
              <a:gd name="connsiteX1346" fmla="*/ 3022923 w 16408544"/>
              <a:gd name="connsiteY1346" fmla="*/ 4741720 h 8684653"/>
              <a:gd name="connsiteX1347" fmla="*/ 2969739 w 16408544"/>
              <a:gd name="connsiteY1347" fmla="*/ 4724584 h 8684653"/>
              <a:gd name="connsiteX1348" fmla="*/ 2951916 w 16408544"/>
              <a:gd name="connsiteY1348" fmla="*/ 4712589 h 8684653"/>
              <a:gd name="connsiteX1349" fmla="*/ 2877800 w 16408544"/>
              <a:gd name="connsiteY1349" fmla="*/ 4657755 h 8684653"/>
              <a:gd name="connsiteX1350" fmla="*/ 2853473 w 16408544"/>
              <a:gd name="connsiteY1350" fmla="*/ 4623483 h 8684653"/>
              <a:gd name="connsiteX1351" fmla="*/ 2869597 w 16408544"/>
              <a:gd name="connsiteY1351" fmla="*/ 4575503 h 8684653"/>
              <a:gd name="connsiteX1352" fmla="*/ 2853473 w 16408544"/>
              <a:gd name="connsiteY1352" fmla="*/ 4536091 h 8684653"/>
              <a:gd name="connsiteX1353" fmla="*/ 2743996 w 16408544"/>
              <a:gd name="connsiteY1353" fmla="*/ 4386668 h 8684653"/>
              <a:gd name="connsiteX1354" fmla="*/ 2685721 w 16408544"/>
              <a:gd name="connsiteY1354" fmla="*/ 4345542 h 8684653"/>
              <a:gd name="connsiteX1355" fmla="*/ 2676103 w 16408544"/>
              <a:gd name="connsiteY1355" fmla="*/ 4295848 h 8684653"/>
              <a:gd name="connsiteX1356" fmla="*/ 2611605 w 16408544"/>
              <a:gd name="connsiteY1356" fmla="*/ 4220108 h 8684653"/>
              <a:gd name="connsiteX1357" fmla="*/ 2593783 w 16408544"/>
              <a:gd name="connsiteY1357" fmla="*/ 4220108 h 8684653"/>
              <a:gd name="connsiteX1358" fmla="*/ 2538903 w 16408544"/>
              <a:gd name="connsiteY1358" fmla="*/ 4160133 h 8684653"/>
              <a:gd name="connsiteX1359" fmla="*/ 2514858 w 16408544"/>
              <a:gd name="connsiteY1359" fmla="*/ 4100158 h 8684653"/>
              <a:gd name="connsiteX1360" fmla="*/ 2490529 w 16408544"/>
              <a:gd name="connsiteY1360" fmla="*/ 4040183 h 8684653"/>
              <a:gd name="connsiteX1361" fmla="*/ 2416414 w 16408544"/>
              <a:gd name="connsiteY1361" fmla="*/ 4005911 h 8684653"/>
              <a:gd name="connsiteX1362" fmla="*/ 2413019 w 16408544"/>
              <a:gd name="connsiteY1362" fmla="*/ 4028188 h 8684653"/>
              <a:gd name="connsiteX1363" fmla="*/ 2442157 w 16408544"/>
              <a:gd name="connsiteY1363" fmla="*/ 4115580 h 8684653"/>
              <a:gd name="connsiteX1364" fmla="*/ 2490529 w 16408544"/>
              <a:gd name="connsiteY1364" fmla="*/ 4158420 h 8684653"/>
              <a:gd name="connsiteX1365" fmla="*/ 2524476 w 16408544"/>
              <a:gd name="connsiteY1365" fmla="*/ 4228676 h 8684653"/>
              <a:gd name="connsiteX1366" fmla="*/ 2579356 w 16408544"/>
              <a:gd name="connsiteY1366" fmla="*/ 4323265 h 8684653"/>
              <a:gd name="connsiteX1367" fmla="*/ 2630841 w 16408544"/>
              <a:gd name="connsiteY1367" fmla="*/ 4429507 h 8684653"/>
              <a:gd name="connsiteX1368" fmla="*/ 2663091 w 16408544"/>
              <a:gd name="connsiteY1368" fmla="*/ 4458638 h 8684653"/>
              <a:gd name="connsiteX1369" fmla="*/ 2651775 w 16408544"/>
              <a:gd name="connsiteY1369" fmla="*/ 4484341 h 8684653"/>
              <a:gd name="connsiteX1370" fmla="*/ 2625467 w 16408544"/>
              <a:gd name="connsiteY1370" fmla="*/ 4448013 h 8684653"/>
              <a:gd name="connsiteX1371" fmla="*/ 2563232 w 16408544"/>
              <a:gd name="connsiteY1371" fmla="*/ 4395235 h 8684653"/>
              <a:gd name="connsiteX1372" fmla="*/ 2547107 w 16408544"/>
              <a:gd name="connsiteY1372" fmla="*/ 4379813 h 8684653"/>
              <a:gd name="connsiteX1373" fmla="*/ 2547107 w 16408544"/>
              <a:gd name="connsiteY1373" fmla="*/ 4335260 h 8684653"/>
              <a:gd name="connsiteX1374" fmla="*/ 2500148 w 16408544"/>
              <a:gd name="connsiteY1374" fmla="*/ 4280426 h 8684653"/>
              <a:gd name="connsiteX1375" fmla="*/ 2426032 w 16408544"/>
              <a:gd name="connsiteY1375" fmla="*/ 4235530 h 8684653"/>
              <a:gd name="connsiteX1376" fmla="*/ 2458281 w 16408544"/>
              <a:gd name="connsiteY1376" fmla="*/ 4220451 h 8684653"/>
              <a:gd name="connsiteX1377" fmla="*/ 2379638 w 16408544"/>
              <a:gd name="connsiteY1377" fmla="*/ 4128261 h 8684653"/>
              <a:gd name="connsiteX1378" fmla="*/ 2351916 w 16408544"/>
              <a:gd name="connsiteY1378" fmla="*/ 4047037 h 8684653"/>
              <a:gd name="connsiteX1379" fmla="*/ 2311463 w 16408544"/>
              <a:gd name="connsiteY1379" fmla="*/ 3966157 h 8684653"/>
              <a:gd name="connsiteX1380" fmla="*/ 2311463 w 16408544"/>
              <a:gd name="connsiteY1380" fmla="*/ 3954162 h 8684653"/>
              <a:gd name="connsiteX1381" fmla="*/ 2314857 w 16408544"/>
              <a:gd name="connsiteY1381" fmla="*/ 3954162 h 8684653"/>
              <a:gd name="connsiteX1382" fmla="*/ 2150218 w 16408544"/>
              <a:gd name="connsiteY1382" fmla="*/ 3842779 h 8684653"/>
              <a:gd name="connsiteX1383" fmla="*/ 2137205 w 16408544"/>
              <a:gd name="connsiteY1383" fmla="*/ 3805081 h 8684653"/>
              <a:gd name="connsiteX1384" fmla="*/ 2077799 w 16408544"/>
              <a:gd name="connsiteY1384" fmla="*/ 3653943 h 8684653"/>
              <a:gd name="connsiteX1385" fmla="*/ 1980769 w 16408544"/>
              <a:gd name="connsiteY1385" fmla="*/ 3521998 h 8684653"/>
              <a:gd name="connsiteX1386" fmla="*/ 1996894 w 16408544"/>
              <a:gd name="connsiteY1386" fmla="*/ 3489440 h 8684653"/>
              <a:gd name="connsiteX1387" fmla="*/ 1980769 w 16408544"/>
              <a:gd name="connsiteY1387" fmla="*/ 3345158 h 8684653"/>
              <a:gd name="connsiteX1388" fmla="*/ 2008209 w 16408544"/>
              <a:gd name="connsiteY1388" fmla="*/ 3152895 h 8684653"/>
              <a:gd name="connsiteX1389" fmla="*/ 1968039 w 16408544"/>
              <a:gd name="connsiteY1389" fmla="*/ 3062075 h 8684653"/>
              <a:gd name="connsiteX1390" fmla="*/ 1992085 w 16408544"/>
              <a:gd name="connsiteY1390" fmla="*/ 3050080 h 8684653"/>
              <a:gd name="connsiteX1391" fmla="*/ 2039044 w 16408544"/>
              <a:gd name="connsiteY1391" fmla="*/ 3079211 h 8684653"/>
              <a:gd name="connsiteX1392" fmla="*/ 2061675 w 16408544"/>
              <a:gd name="connsiteY1392" fmla="*/ 3032944 h 8684653"/>
              <a:gd name="connsiteX1393" fmla="*/ 2040458 w 16408544"/>
              <a:gd name="connsiteY1393" fmla="*/ 2993532 h 8684653"/>
              <a:gd name="connsiteX1394" fmla="*/ 2022637 w 16408544"/>
              <a:gd name="connsiteY1394" fmla="*/ 2983251 h 8684653"/>
              <a:gd name="connsiteX1395" fmla="*/ 1961533 w 16408544"/>
              <a:gd name="connsiteY1395" fmla="*/ 2945209 h 8684653"/>
              <a:gd name="connsiteX1396" fmla="*/ 1884021 w 16408544"/>
              <a:gd name="connsiteY1396" fmla="*/ 2889004 h 8684653"/>
              <a:gd name="connsiteX1397" fmla="*/ 1814715 w 16408544"/>
              <a:gd name="connsiteY1397" fmla="*/ 2802983 h 8684653"/>
              <a:gd name="connsiteX1398" fmla="*/ 1771150 w 16408544"/>
              <a:gd name="connsiteY1398" fmla="*/ 2770425 h 8684653"/>
              <a:gd name="connsiteX1399" fmla="*/ 1755026 w 16408544"/>
              <a:gd name="connsiteY1399" fmla="*/ 2719018 h 8684653"/>
              <a:gd name="connsiteX1400" fmla="*/ 1719665 w 16408544"/>
              <a:gd name="connsiteY1400" fmla="*/ 2705309 h 8684653"/>
              <a:gd name="connsiteX1401" fmla="*/ 1703541 w 16408544"/>
              <a:gd name="connsiteY1401" fmla="*/ 2629569 h 8684653"/>
              <a:gd name="connsiteX1402" fmla="*/ 1693923 w 16408544"/>
              <a:gd name="connsiteY1402" fmla="*/ 2605579 h 8684653"/>
              <a:gd name="connsiteX1403" fmla="*/ 1716271 w 16408544"/>
              <a:gd name="connsiteY1403" fmla="*/ 2571308 h 8684653"/>
              <a:gd name="connsiteX1404" fmla="*/ 1693640 w 16408544"/>
              <a:gd name="connsiteY1404" fmla="*/ 2605579 h 8684653"/>
              <a:gd name="connsiteX1405" fmla="*/ 1677516 w 16408544"/>
              <a:gd name="connsiteY1405" fmla="*/ 2607293 h 8684653"/>
              <a:gd name="connsiteX1406" fmla="*/ 1609905 w 16408544"/>
              <a:gd name="connsiteY1406" fmla="*/ 2555885 h 8684653"/>
              <a:gd name="connsiteX1407" fmla="*/ 1609905 w 16408544"/>
              <a:gd name="connsiteY1407" fmla="*/ 2530182 h 8684653"/>
              <a:gd name="connsiteX1408" fmla="*/ 1561532 w 16408544"/>
              <a:gd name="connsiteY1408" fmla="*/ 2504478 h 8684653"/>
              <a:gd name="connsiteX1409" fmla="*/ 1532395 w 16408544"/>
              <a:gd name="connsiteY1409" fmla="*/ 2478775 h 8684653"/>
              <a:gd name="connsiteX1410" fmla="*/ 1556723 w 16408544"/>
              <a:gd name="connsiteY1410" fmla="*/ 2449644 h 8684653"/>
              <a:gd name="connsiteX1411" fmla="*/ 1556723 w 16408544"/>
              <a:gd name="connsiteY1411" fmla="*/ 2427367 h 8684653"/>
              <a:gd name="connsiteX1412" fmla="*/ 1512876 w 16408544"/>
              <a:gd name="connsiteY1412" fmla="*/ 2449644 h 8684653"/>
              <a:gd name="connsiteX1413" fmla="*/ 1488831 w 16408544"/>
              <a:gd name="connsiteY1413" fmla="*/ 2423940 h 8684653"/>
              <a:gd name="connsiteX1414" fmla="*/ 1504955 w 16408544"/>
              <a:gd name="connsiteY1414" fmla="*/ 2387613 h 8684653"/>
              <a:gd name="connsiteX1415" fmla="*/ 1476100 w 16408544"/>
              <a:gd name="connsiteY1415" fmla="*/ 2375618 h 8684653"/>
              <a:gd name="connsiteX1416" fmla="*/ 1427444 w 16408544"/>
              <a:gd name="connsiteY1416" fmla="*/ 2350257 h 8684653"/>
              <a:gd name="connsiteX1417" fmla="*/ 1403399 w 16408544"/>
              <a:gd name="connsiteY1417" fmla="*/ 2380758 h 8684653"/>
              <a:gd name="connsiteX1418" fmla="*/ 1327585 w 16408544"/>
              <a:gd name="connsiteY1418" fmla="*/ 2315985 h 8684653"/>
              <a:gd name="connsiteX1419" fmla="*/ 1182465 w 16408544"/>
              <a:gd name="connsiteY1419" fmla="*/ 2255667 h 8684653"/>
              <a:gd name="connsiteX1420" fmla="*/ 1093639 w 16408544"/>
              <a:gd name="connsiteY1420" fmla="*/ 2255667 h 8684653"/>
              <a:gd name="connsiteX1421" fmla="*/ 942011 w 16408544"/>
              <a:gd name="connsiteY1421" fmla="*/ 2169988 h 8684653"/>
              <a:gd name="connsiteX1422" fmla="*/ 875816 w 16408544"/>
              <a:gd name="connsiteY1422" fmla="*/ 2195692 h 8684653"/>
              <a:gd name="connsiteX1423" fmla="*/ 891941 w 16408544"/>
              <a:gd name="connsiteY1423" fmla="*/ 2219682 h 8684653"/>
              <a:gd name="connsiteX1424" fmla="*/ 730694 w 16408544"/>
              <a:gd name="connsiteY1424" fmla="*/ 2315985 h 8684653"/>
              <a:gd name="connsiteX1425" fmla="*/ 714570 w 16408544"/>
              <a:gd name="connsiteY1425" fmla="*/ 2303647 h 8684653"/>
              <a:gd name="connsiteX1426" fmla="*/ 727582 w 16408544"/>
              <a:gd name="connsiteY1426" fmla="*/ 2289939 h 8684653"/>
              <a:gd name="connsiteX1427" fmla="*/ 725885 w 16408544"/>
              <a:gd name="connsiteY1427" fmla="*/ 2269376 h 8684653"/>
              <a:gd name="connsiteX1428" fmla="*/ 796891 w 16408544"/>
              <a:gd name="connsiteY1428" fmla="*/ 2186781 h 8684653"/>
              <a:gd name="connsiteX1429" fmla="*/ 798588 w 16408544"/>
              <a:gd name="connsiteY1429" fmla="*/ 2169988 h 8684653"/>
              <a:gd name="connsiteX1430" fmla="*/ 779069 w 16408544"/>
              <a:gd name="connsiteY1430" fmla="*/ 2169988 h 8684653"/>
              <a:gd name="connsiteX1431" fmla="*/ 633947 w 16408544"/>
              <a:gd name="connsiteY1431" fmla="*/ 2321126 h 8684653"/>
              <a:gd name="connsiteX1432" fmla="*/ 633947 w 16408544"/>
              <a:gd name="connsiteY1432" fmla="*/ 2346829 h 8684653"/>
              <a:gd name="connsiteX1433" fmla="*/ 561246 w 16408544"/>
              <a:gd name="connsiteY1433" fmla="*/ 2415372 h 8684653"/>
              <a:gd name="connsiteX1434" fmla="*/ 521076 w 16408544"/>
              <a:gd name="connsiteY1434" fmla="*/ 2458212 h 8684653"/>
              <a:gd name="connsiteX1435" fmla="*/ 416125 w 16408544"/>
              <a:gd name="connsiteY1435" fmla="*/ 2535323 h 8684653"/>
              <a:gd name="connsiteX1436" fmla="*/ 287129 w 16408544"/>
              <a:gd name="connsiteY1436" fmla="*/ 2586730 h 8684653"/>
              <a:gd name="connsiteX1437" fmla="*/ 128996 w 16408544"/>
              <a:gd name="connsiteY1437" fmla="*/ 2648761 h 8684653"/>
              <a:gd name="connsiteX1438" fmla="*/ 206507 w 16408544"/>
              <a:gd name="connsiteY1438" fmla="*/ 2612433 h 8684653"/>
              <a:gd name="connsiteX1439" fmla="*/ 257992 w 16408544"/>
              <a:gd name="connsiteY1439" fmla="*/ 2555885 h 8684653"/>
              <a:gd name="connsiteX1440" fmla="*/ 335503 w 16408544"/>
              <a:gd name="connsiteY1440" fmla="*/ 2530182 h 8684653"/>
              <a:gd name="connsiteX1441" fmla="*/ 464499 w 16408544"/>
              <a:gd name="connsiteY1441" fmla="*/ 2435935 h 8684653"/>
              <a:gd name="connsiteX1442" fmla="*/ 540312 w 16408544"/>
              <a:gd name="connsiteY1442" fmla="*/ 2333121 h 8684653"/>
              <a:gd name="connsiteX1443" fmla="*/ 515984 w 16408544"/>
              <a:gd name="connsiteY1443" fmla="*/ 2333121 h 8684653"/>
              <a:gd name="connsiteX1444" fmla="*/ 456578 w 16408544"/>
              <a:gd name="connsiteY1444" fmla="*/ 2355055 h 8684653"/>
              <a:gd name="connsiteX1445" fmla="*/ 413013 w 16408544"/>
              <a:gd name="connsiteY1445" fmla="*/ 2341346 h 8684653"/>
              <a:gd name="connsiteX1446" fmla="*/ 401698 w 16408544"/>
              <a:gd name="connsiteY1446" fmla="*/ 2372533 h 8684653"/>
              <a:gd name="connsiteX1447" fmla="*/ 324187 w 16408544"/>
              <a:gd name="connsiteY1447" fmla="*/ 2324210 h 8684653"/>
              <a:gd name="connsiteX1448" fmla="*/ 322490 w 16408544"/>
              <a:gd name="connsiteY1448" fmla="*/ 2350257 h 8684653"/>
              <a:gd name="connsiteX1449" fmla="*/ 303254 w 16408544"/>
              <a:gd name="connsiteY1449" fmla="*/ 2350257 h 8684653"/>
              <a:gd name="connsiteX1450" fmla="*/ 278925 w 16408544"/>
              <a:gd name="connsiteY1450" fmla="*/ 2363965 h 8684653"/>
              <a:gd name="connsiteX1451" fmla="*/ 263084 w 16408544"/>
              <a:gd name="connsiteY1451" fmla="*/ 2321126 h 8684653"/>
              <a:gd name="connsiteX1452" fmla="*/ 263084 w 16408544"/>
              <a:gd name="connsiteY1452" fmla="*/ 2286512 h 8684653"/>
              <a:gd name="connsiteX1453" fmla="*/ 250071 w 16408544"/>
              <a:gd name="connsiteY1453" fmla="*/ 2260808 h 8684653"/>
              <a:gd name="connsiteX1454" fmla="*/ 217822 w 16408544"/>
              <a:gd name="connsiteY1454" fmla="*/ 2289939 h 8684653"/>
              <a:gd name="connsiteX1455" fmla="*/ 109760 w 16408544"/>
              <a:gd name="connsiteY1455" fmla="*/ 2211114 h 8684653"/>
              <a:gd name="connsiteX1456" fmla="*/ 133805 w 16408544"/>
              <a:gd name="connsiteY1456" fmla="*/ 2205973 h 8684653"/>
              <a:gd name="connsiteX1457" fmla="*/ 69307 w 16408544"/>
              <a:gd name="connsiteY1457" fmla="*/ 2131947 h 8684653"/>
              <a:gd name="connsiteX1458" fmla="*/ 190382 w 16408544"/>
              <a:gd name="connsiteY1458" fmla="*/ 2038043 h 8684653"/>
              <a:gd name="connsiteX1459" fmla="*/ 314569 w 16408544"/>
              <a:gd name="connsiteY1459" fmla="*/ 1969157 h 8684653"/>
              <a:gd name="connsiteX1460" fmla="*/ 287129 w 16408544"/>
              <a:gd name="connsiteY1460" fmla="*/ 1928034 h 8684653"/>
              <a:gd name="connsiteX1461" fmla="*/ 311457 w 16408544"/>
              <a:gd name="connsiteY1461" fmla="*/ 1926328 h 8684653"/>
              <a:gd name="connsiteX1462" fmla="*/ 311457 w 16408544"/>
              <a:gd name="connsiteY1462" fmla="*/ 1900615 h 8684653"/>
              <a:gd name="connsiteX1463" fmla="*/ 287129 w 16408544"/>
              <a:gd name="connsiteY1463" fmla="*/ 1900615 h 8684653"/>
              <a:gd name="connsiteX1464" fmla="*/ 217822 w 16408544"/>
              <a:gd name="connsiteY1464" fmla="*/ 1929746 h 8684653"/>
              <a:gd name="connsiteX1465" fmla="*/ 149930 w 16408544"/>
              <a:gd name="connsiteY1465" fmla="*/ 1917754 h 8684653"/>
              <a:gd name="connsiteX1466" fmla="*/ 64498 w 16408544"/>
              <a:gd name="connsiteY1466" fmla="*/ 1917754 h 8684653"/>
              <a:gd name="connsiteX1467" fmla="*/ 43564 w 16408544"/>
              <a:gd name="connsiteY1467" fmla="*/ 1869772 h 8684653"/>
              <a:gd name="connsiteX1468" fmla="*/ 48373 w 16408544"/>
              <a:gd name="connsiteY1468" fmla="*/ 1852637 h 8684653"/>
              <a:gd name="connsiteX1469" fmla="*/ 0 w 16408544"/>
              <a:gd name="connsiteY1469" fmla="*/ 1824878 h 8684653"/>
              <a:gd name="connsiteX1470" fmla="*/ 145120 w 16408544"/>
              <a:gd name="connsiteY1470" fmla="*/ 1749478 h 8684653"/>
              <a:gd name="connsiteX1471" fmla="*/ 173975 w 16408544"/>
              <a:gd name="connsiteY1471" fmla="*/ 1749478 h 8684653"/>
              <a:gd name="connsiteX1472" fmla="*/ 233947 w 16408544"/>
              <a:gd name="connsiteY1472" fmla="*/ 1788895 h 8684653"/>
              <a:gd name="connsiteX1473" fmla="*/ 278925 w 16408544"/>
              <a:gd name="connsiteY1473" fmla="*/ 1788895 h 8684653"/>
              <a:gd name="connsiteX1474" fmla="*/ 182178 w 16408544"/>
              <a:gd name="connsiteY1474" fmla="*/ 1706646 h 8684653"/>
              <a:gd name="connsiteX1475" fmla="*/ 133805 w 16408544"/>
              <a:gd name="connsiteY1475" fmla="*/ 1638095 h 8684653"/>
              <a:gd name="connsiteX1476" fmla="*/ 48373 w 16408544"/>
              <a:gd name="connsiteY1476" fmla="*/ 1600402 h 8684653"/>
              <a:gd name="connsiteX1477" fmla="*/ 72419 w 16408544"/>
              <a:gd name="connsiteY1477" fmla="*/ 1552417 h 8684653"/>
              <a:gd name="connsiteX1478" fmla="*/ 161245 w 16408544"/>
              <a:gd name="connsiteY1478" fmla="*/ 1552417 h 8684653"/>
              <a:gd name="connsiteX1479" fmla="*/ 367751 w 16408544"/>
              <a:gd name="connsiteY1479" fmla="*/ 1389285 h 8684653"/>
              <a:gd name="connsiteX1480" fmla="*/ 427441 w 16408544"/>
              <a:gd name="connsiteY1480" fmla="*/ 1385864 h 8684653"/>
              <a:gd name="connsiteX1481" fmla="*/ 496748 w 16408544"/>
              <a:gd name="connsiteY1481" fmla="*/ 1337878 h 8684653"/>
              <a:gd name="connsiteX1482" fmla="*/ 546818 w 16408544"/>
              <a:gd name="connsiteY1482" fmla="*/ 1363581 h 8684653"/>
              <a:gd name="connsiteX1483" fmla="*/ 532391 w 16408544"/>
              <a:gd name="connsiteY1483" fmla="*/ 1385864 h 8684653"/>
              <a:gd name="connsiteX1484" fmla="*/ 572561 w 16408544"/>
              <a:gd name="connsiteY1484" fmla="*/ 1363581 h 8684653"/>
              <a:gd name="connsiteX1485" fmla="*/ 609902 w 16408544"/>
              <a:gd name="connsiteY1485" fmla="*/ 1380723 h 8684653"/>
              <a:gd name="connsiteX1486" fmla="*/ 690241 w 16408544"/>
              <a:gd name="connsiteY1486" fmla="*/ 1380723 h 8684653"/>
              <a:gd name="connsiteX1487" fmla="*/ 738615 w 16408544"/>
              <a:gd name="connsiteY1487" fmla="*/ 1414988 h 8684653"/>
              <a:gd name="connsiteX1488" fmla="*/ 863087 w 16408544"/>
              <a:gd name="connsiteY1488" fmla="*/ 1414988 h 8684653"/>
              <a:gd name="connsiteX1489" fmla="*/ 1045265 w 16408544"/>
              <a:gd name="connsiteY1489" fmla="*/ 1457831 h 8684653"/>
              <a:gd name="connsiteX1490" fmla="*/ 1121079 w 16408544"/>
              <a:gd name="connsiteY1490" fmla="*/ 1445833 h 8684653"/>
              <a:gd name="connsiteX1491" fmla="*/ 1222635 w 16408544"/>
              <a:gd name="connsiteY1491" fmla="*/ 1480104 h 8684653"/>
              <a:gd name="connsiteX1492" fmla="*/ 1222917 w 16408544"/>
              <a:gd name="connsiteY1492" fmla="*/ 1478393 h 8684653"/>
              <a:gd name="connsiteX1493" fmla="*/ 1241871 w 16408544"/>
              <a:gd name="connsiteY1493" fmla="*/ 1478393 h 8684653"/>
              <a:gd name="connsiteX1494" fmla="*/ 1264502 w 16408544"/>
              <a:gd name="connsiteY1494" fmla="*/ 1500668 h 8684653"/>
              <a:gd name="connsiteX1495" fmla="*/ 1443568 w 16408544"/>
              <a:gd name="connsiteY1495" fmla="*/ 1552417 h 8684653"/>
              <a:gd name="connsiteX1496" fmla="*/ 1490528 w 16408544"/>
              <a:gd name="connsiteY1496" fmla="*/ 1507529 h 8684653"/>
              <a:gd name="connsiteX1497" fmla="*/ 1540598 w 16408544"/>
              <a:gd name="connsiteY1497" fmla="*/ 1495869 h 8684653"/>
              <a:gd name="connsiteX1498" fmla="*/ 1614714 w 16408544"/>
              <a:gd name="connsiteY1498" fmla="*/ 1473254 h 8684653"/>
              <a:gd name="connsiteX1499" fmla="*/ 1727586 w 16408544"/>
              <a:gd name="connsiteY1499" fmla="*/ 1438979 h 8684653"/>
              <a:gd name="connsiteX1500" fmla="*/ 1756724 w 16408544"/>
              <a:gd name="connsiteY1500" fmla="*/ 1462972 h 8684653"/>
              <a:gd name="connsiteX1501" fmla="*/ 1811320 w 16408544"/>
              <a:gd name="connsiteY1501" fmla="*/ 1413274 h 8684653"/>
              <a:gd name="connsiteX1502" fmla="*/ 1895337 w 16408544"/>
              <a:gd name="connsiteY1502" fmla="*/ 1490386 h 8684653"/>
              <a:gd name="connsiteX1503" fmla="*/ 1958421 w 16408544"/>
              <a:gd name="connsiteY1503" fmla="*/ 1445833 h 8684653"/>
              <a:gd name="connsiteX1504" fmla="*/ 1996894 w 16408544"/>
              <a:gd name="connsiteY1504" fmla="*/ 1492106 h 8684653"/>
              <a:gd name="connsiteX1505" fmla="*/ 2066484 w 16408544"/>
              <a:gd name="connsiteY1505" fmla="*/ 1469822 h 8684653"/>
              <a:gd name="connsiteX1506" fmla="*/ 2311463 w 16408544"/>
              <a:gd name="connsiteY1506" fmla="*/ 1547276 h 8684653"/>
              <a:gd name="connsiteX1507" fmla="*/ 2440742 w 16408544"/>
              <a:gd name="connsiteY1507" fmla="*/ 1595262 h 8684653"/>
              <a:gd name="connsiteX1508" fmla="*/ 2381619 w 16408544"/>
              <a:gd name="connsiteY1508" fmla="*/ 1614450 h 8684653"/>
              <a:gd name="connsiteX1509" fmla="*/ 2445551 w 16408544"/>
              <a:gd name="connsiteY1509" fmla="*/ 1641527 h 8684653"/>
              <a:gd name="connsiteX1510" fmla="*/ 2534094 w 16408544"/>
              <a:gd name="connsiteY1510" fmla="*/ 1626107 h 8684653"/>
              <a:gd name="connsiteX1511" fmla="*/ 2637347 w 16408544"/>
              <a:gd name="connsiteY1511" fmla="*/ 1626107 h 8684653"/>
              <a:gd name="connsiteX1512" fmla="*/ 2661676 w 16408544"/>
              <a:gd name="connsiteY1512" fmla="*/ 1638095 h 8684653"/>
              <a:gd name="connsiteX1513" fmla="*/ 2727871 w 16408544"/>
              <a:gd name="connsiteY1513" fmla="*/ 1694643 h 8684653"/>
              <a:gd name="connsiteX1514" fmla="*/ 2717970 w 16408544"/>
              <a:gd name="connsiteY1514" fmla="*/ 1643236 h 8684653"/>
              <a:gd name="connsiteX1515" fmla="*/ 2793784 w 16408544"/>
              <a:gd name="connsiteY1515" fmla="*/ 1574700 h 8684653"/>
              <a:gd name="connsiteX1516" fmla="*/ 2706372 w 16408544"/>
              <a:gd name="connsiteY1516" fmla="*/ 1601767 h 8684653"/>
              <a:gd name="connsiteX1517" fmla="*/ 2685721 w 16408544"/>
              <a:gd name="connsiteY1517" fmla="*/ 1583261 h 8684653"/>
              <a:gd name="connsiteX1518" fmla="*/ 2811606 w 16408544"/>
              <a:gd name="connsiteY1518" fmla="*/ 1535284 h 8684653"/>
              <a:gd name="connsiteX1519" fmla="*/ 3021225 w 16408544"/>
              <a:gd name="connsiteY1519" fmla="*/ 1638095 h 8684653"/>
              <a:gd name="connsiteX1520" fmla="*/ 3158423 w 16408544"/>
              <a:gd name="connsiteY1520" fmla="*/ 1638095 h 8684653"/>
              <a:gd name="connsiteX1521" fmla="*/ 3198874 w 16408544"/>
              <a:gd name="connsiteY1521" fmla="*/ 1583261 h 8684653"/>
              <a:gd name="connsiteX1522" fmla="*/ 3271294 w 16408544"/>
              <a:gd name="connsiteY1522" fmla="*/ 1603824 h 8684653"/>
              <a:gd name="connsiteX1523" fmla="*/ 3295623 w 16408544"/>
              <a:gd name="connsiteY1523" fmla="*/ 1663800 h 8684653"/>
              <a:gd name="connsiteX1524" fmla="*/ 3381055 w 16408544"/>
              <a:gd name="connsiteY1524" fmla="*/ 1543513 h 8684653"/>
              <a:gd name="connsiteX1525" fmla="*/ 3347108 w 16408544"/>
              <a:gd name="connsiteY1525" fmla="*/ 1560642 h 8684653"/>
              <a:gd name="connsiteX1526" fmla="*/ 3360122 w 16408544"/>
              <a:gd name="connsiteY1526" fmla="*/ 1509238 h 8684653"/>
              <a:gd name="connsiteX1527" fmla="*/ 3250359 w 16408544"/>
              <a:gd name="connsiteY1527" fmla="*/ 1428697 h 8684653"/>
              <a:gd name="connsiteX1528" fmla="*/ 3271294 w 16408544"/>
              <a:gd name="connsiteY1528" fmla="*/ 1389285 h 8684653"/>
              <a:gd name="connsiteX1529" fmla="*/ 3258563 w 16408544"/>
              <a:gd name="connsiteY1529" fmla="*/ 1346448 h 8684653"/>
              <a:gd name="connsiteX1530" fmla="*/ 3303543 w 16408544"/>
              <a:gd name="connsiteY1530" fmla="*/ 1320746 h 8684653"/>
              <a:gd name="connsiteX1531" fmla="*/ 3319668 w 16408544"/>
              <a:gd name="connsiteY1531" fmla="*/ 1282709 h 8684653"/>
              <a:gd name="connsiteX1532" fmla="*/ 15963510 w 16408544"/>
              <a:gd name="connsiteY1532" fmla="*/ 1270003 h 8684653"/>
              <a:gd name="connsiteX1533" fmla="*/ 16048850 w 16408544"/>
              <a:gd name="connsiteY1533" fmla="*/ 1312800 h 8684653"/>
              <a:gd name="connsiteX1534" fmla="*/ 15903842 w 16408544"/>
              <a:gd name="connsiteY1534" fmla="*/ 1343705 h 8684653"/>
              <a:gd name="connsiteX1535" fmla="*/ 15887690 w 16408544"/>
              <a:gd name="connsiteY1535" fmla="*/ 1326576 h 8684653"/>
              <a:gd name="connsiteX1536" fmla="*/ 15963510 w 16408544"/>
              <a:gd name="connsiteY1536" fmla="*/ 1270003 h 8684653"/>
              <a:gd name="connsiteX1537" fmla="*/ 4002654 w 16408544"/>
              <a:gd name="connsiteY1537" fmla="*/ 1104902 h 8684653"/>
              <a:gd name="connsiteX1538" fmla="*/ 4083217 w 16408544"/>
              <a:gd name="connsiteY1538" fmla="*/ 1118632 h 8684653"/>
              <a:gd name="connsiteX1539" fmla="*/ 4192893 w 16408544"/>
              <a:gd name="connsiteY1539" fmla="*/ 1171737 h 8684653"/>
              <a:gd name="connsiteX1540" fmla="*/ 4163893 w 16408544"/>
              <a:gd name="connsiteY1540" fmla="*/ 1199242 h 8684653"/>
              <a:gd name="connsiteX1541" fmla="*/ 4115462 w 16408544"/>
              <a:gd name="connsiteY1541" fmla="*/ 1187291 h 8684653"/>
              <a:gd name="connsiteX1542" fmla="*/ 4055863 w 16408544"/>
              <a:gd name="connsiteY1542" fmla="*/ 1204430 h 8684653"/>
              <a:gd name="connsiteX1543" fmla="*/ 4007422 w 16408544"/>
              <a:gd name="connsiteY1543" fmla="*/ 1166701 h 8684653"/>
              <a:gd name="connsiteX1544" fmla="*/ 3975095 w 16408544"/>
              <a:gd name="connsiteY1544" fmla="*/ 1130686 h 8684653"/>
              <a:gd name="connsiteX1545" fmla="*/ 4002654 w 16408544"/>
              <a:gd name="connsiteY1545" fmla="*/ 1104902 h 8684653"/>
              <a:gd name="connsiteX1546" fmla="*/ 10910204 w 16408544"/>
              <a:gd name="connsiteY1546" fmla="*/ 1104902 h 8684653"/>
              <a:gd name="connsiteX1547" fmla="*/ 10950348 w 16408544"/>
              <a:gd name="connsiteY1547" fmla="*/ 1137622 h 8684653"/>
              <a:gd name="connsiteX1548" fmla="*/ 10885965 w 16408544"/>
              <a:gd name="connsiteY1548" fmla="*/ 1156472 h 8684653"/>
              <a:gd name="connsiteX1549" fmla="*/ 10885965 w 16408544"/>
              <a:gd name="connsiteY1549" fmla="*/ 1139272 h 8684653"/>
              <a:gd name="connsiteX1550" fmla="*/ 10910204 w 16408544"/>
              <a:gd name="connsiteY1550" fmla="*/ 1104902 h 8684653"/>
              <a:gd name="connsiteX1551" fmla="*/ 3137787 w 16408544"/>
              <a:gd name="connsiteY1551" fmla="*/ 1092945 h 8684653"/>
              <a:gd name="connsiteX1552" fmla="*/ 3202319 w 16408544"/>
              <a:gd name="connsiteY1552" fmla="*/ 1092945 h 8684653"/>
              <a:gd name="connsiteX1553" fmla="*/ 3218404 w 16408544"/>
              <a:gd name="connsiteY1553" fmla="*/ 1110220 h 8684653"/>
              <a:gd name="connsiteX1554" fmla="*/ 3166695 w 16408544"/>
              <a:gd name="connsiteY1554" fmla="*/ 1173705 h 8684653"/>
              <a:gd name="connsiteX1555" fmla="*/ 3226468 w 16408544"/>
              <a:gd name="connsiteY1555" fmla="*/ 1175466 h 8684653"/>
              <a:gd name="connsiteX1556" fmla="*/ 3221642 w 16408544"/>
              <a:gd name="connsiteY1556" fmla="*/ 1201138 h 8684653"/>
              <a:gd name="connsiteX1557" fmla="*/ 3258725 w 16408544"/>
              <a:gd name="connsiteY1557" fmla="*/ 1209674 h 8684653"/>
              <a:gd name="connsiteX1558" fmla="*/ 3194144 w 16408544"/>
              <a:gd name="connsiteY1558" fmla="*/ 1298928 h 8684653"/>
              <a:gd name="connsiteX1559" fmla="*/ 3161947 w 16408544"/>
              <a:gd name="connsiteY1559" fmla="*/ 1324648 h 8684653"/>
              <a:gd name="connsiteX1560" fmla="*/ 3126474 w 16408544"/>
              <a:gd name="connsiteY1560" fmla="*/ 1295503 h 8684653"/>
              <a:gd name="connsiteX1561" fmla="*/ 2984499 w 16408544"/>
              <a:gd name="connsiteY1561" fmla="*/ 1204617 h 8684653"/>
              <a:gd name="connsiteX1562" fmla="*/ 2984499 w 16408544"/>
              <a:gd name="connsiteY1562" fmla="*/ 1175466 h 8684653"/>
              <a:gd name="connsiteX1563" fmla="*/ 3057056 w 16408544"/>
              <a:gd name="connsiteY1563" fmla="*/ 1195993 h 8684653"/>
              <a:gd name="connsiteX1564" fmla="*/ 3081280 w 16408544"/>
              <a:gd name="connsiteY1564" fmla="*/ 1195993 h 8684653"/>
              <a:gd name="connsiteX1565" fmla="*/ 3081280 w 16408544"/>
              <a:gd name="connsiteY1565" fmla="*/ 1149633 h 8684653"/>
              <a:gd name="connsiteX1566" fmla="*/ 3029608 w 16408544"/>
              <a:gd name="connsiteY1566" fmla="*/ 1127369 h 8684653"/>
              <a:gd name="connsiteX1567" fmla="*/ 3040906 w 16408544"/>
              <a:gd name="connsiteY1567" fmla="*/ 1113578 h 8684653"/>
              <a:gd name="connsiteX1568" fmla="*/ 3137787 w 16408544"/>
              <a:gd name="connsiteY1568" fmla="*/ 1092945 h 8684653"/>
              <a:gd name="connsiteX1569" fmla="*/ 3715924 w 16408544"/>
              <a:gd name="connsiteY1569" fmla="*/ 1092203 h 8684653"/>
              <a:gd name="connsiteX1570" fmla="*/ 3769151 w 16408544"/>
              <a:gd name="connsiteY1570" fmla="*/ 1109366 h 8684653"/>
              <a:gd name="connsiteX1571" fmla="*/ 3699840 w 16408544"/>
              <a:gd name="connsiteY1571" fmla="*/ 1198571 h 8684653"/>
              <a:gd name="connsiteX1572" fmla="*/ 3712733 w 16408544"/>
              <a:gd name="connsiteY1572" fmla="*/ 1215688 h 8684653"/>
              <a:gd name="connsiteX1573" fmla="*/ 3712733 w 16408544"/>
              <a:gd name="connsiteY1573" fmla="*/ 1246677 h 8684653"/>
              <a:gd name="connsiteX1574" fmla="*/ 3728939 w 16408544"/>
              <a:gd name="connsiteY1574" fmla="*/ 1275831 h 8684653"/>
              <a:gd name="connsiteX1575" fmla="*/ 3761047 w 16408544"/>
              <a:gd name="connsiteY1575" fmla="*/ 1241409 h 8684653"/>
              <a:gd name="connsiteX1576" fmla="*/ 3744962 w 16408544"/>
              <a:gd name="connsiteY1576" fmla="*/ 1195184 h 8684653"/>
              <a:gd name="connsiteX1577" fmla="*/ 3917655 w 16408544"/>
              <a:gd name="connsiteY1577" fmla="*/ 1109366 h 8684653"/>
              <a:gd name="connsiteX1578" fmla="*/ 3982115 w 16408544"/>
              <a:gd name="connsiteY1578" fmla="*/ 1207225 h 8684653"/>
              <a:gd name="connsiteX1579" fmla="*/ 3982115 w 16408544"/>
              <a:gd name="connsiteY1579" fmla="*/ 1241409 h 8684653"/>
              <a:gd name="connsiteX1580" fmla="*/ 4014345 w 16408544"/>
              <a:gd name="connsiteY1580" fmla="*/ 1224387 h 8684653"/>
              <a:gd name="connsiteX1581" fmla="*/ 4051486 w 16408544"/>
              <a:gd name="connsiteY1581" fmla="*/ 1241409 h 8684653"/>
              <a:gd name="connsiteX1582" fmla="*/ 4115948 w 16408544"/>
              <a:gd name="connsiteY1582" fmla="*/ 1198571 h 8684653"/>
              <a:gd name="connsiteX1583" fmla="*/ 4236949 w 16408544"/>
              <a:gd name="connsiteY1583" fmla="*/ 1224387 h 8684653"/>
              <a:gd name="connsiteX1584" fmla="*/ 4337015 w 16408544"/>
              <a:gd name="connsiteY1584" fmla="*/ 1310018 h 8684653"/>
              <a:gd name="connsiteX1585" fmla="*/ 4377470 w 16408544"/>
              <a:gd name="connsiteY1585" fmla="*/ 1310018 h 8684653"/>
              <a:gd name="connsiteX1586" fmla="*/ 4430513 w 16408544"/>
              <a:gd name="connsiteY1586" fmla="*/ 1344439 h 8684653"/>
              <a:gd name="connsiteX1587" fmla="*/ 4543473 w 16408544"/>
              <a:gd name="connsiteY1587" fmla="*/ 1392403 h 8684653"/>
              <a:gd name="connsiteX1588" fmla="*/ 4543473 w 16408544"/>
              <a:gd name="connsiteY1588" fmla="*/ 1421606 h 8684653"/>
              <a:gd name="connsiteX1589" fmla="*/ 4570973 w 16408544"/>
              <a:gd name="connsiteY1589" fmla="*/ 1421606 h 8684653"/>
              <a:gd name="connsiteX1590" fmla="*/ 4616098 w 16408544"/>
              <a:gd name="connsiteY1590" fmla="*/ 1462848 h 8684653"/>
              <a:gd name="connsiteX1591" fmla="*/ 4559556 w 16408544"/>
              <a:gd name="connsiteY1591" fmla="*/ 1486829 h 8684653"/>
              <a:gd name="connsiteX1592" fmla="*/ 4607992 w 16408544"/>
              <a:gd name="connsiteY1592" fmla="*/ 1490262 h 8684653"/>
              <a:gd name="connsiteX1593" fmla="*/ 4632120 w 16408544"/>
              <a:gd name="connsiteY1593" fmla="*/ 1505685 h 8684653"/>
              <a:gd name="connsiteX1594" fmla="*/ 4578956 w 16408544"/>
              <a:gd name="connsiteY1594" fmla="*/ 1545185 h 8684653"/>
              <a:gd name="connsiteX1595" fmla="*/ 4624138 w 16408544"/>
              <a:gd name="connsiteY1595" fmla="*/ 1558823 h 8684653"/>
              <a:gd name="connsiteX1596" fmla="*/ 4704745 w 16408544"/>
              <a:gd name="connsiteY1596" fmla="*/ 1618920 h 8684653"/>
              <a:gd name="connsiteX1597" fmla="*/ 4740289 w 16408544"/>
              <a:gd name="connsiteY1597" fmla="*/ 1679015 h 8684653"/>
              <a:gd name="connsiteX1598" fmla="*/ 4796708 w 16408544"/>
              <a:gd name="connsiteY1598" fmla="*/ 1687621 h 8684653"/>
              <a:gd name="connsiteX1599" fmla="*/ 4825745 w 16408544"/>
              <a:gd name="connsiteY1599" fmla="*/ 1696087 h 8684653"/>
              <a:gd name="connsiteX1600" fmla="*/ 4869333 w 16408544"/>
              <a:gd name="connsiteY1600" fmla="*/ 1735588 h 8684653"/>
              <a:gd name="connsiteX1601" fmla="*/ 4820957 w 16408544"/>
              <a:gd name="connsiteY1601" fmla="*/ 1764696 h 8684653"/>
              <a:gd name="connsiteX1602" fmla="*/ 4820957 w 16408544"/>
              <a:gd name="connsiteY1602" fmla="*/ 1787079 h 8684653"/>
              <a:gd name="connsiteX1603" fmla="*/ 4785351 w 16408544"/>
              <a:gd name="connsiteY1603" fmla="*/ 1807629 h 8684653"/>
              <a:gd name="connsiteX1604" fmla="*/ 4764416 w 16408544"/>
              <a:gd name="connsiteY1604" fmla="*/ 1855688 h 8684653"/>
              <a:gd name="connsiteX1605" fmla="*/ 4603142 w 16408544"/>
              <a:gd name="connsiteY1605" fmla="*/ 1739020 h 8684653"/>
              <a:gd name="connsiteX1606" fmla="*/ 4570973 w 16408544"/>
              <a:gd name="connsiteY1606" fmla="*/ 1757876 h 8684653"/>
              <a:gd name="connsiteX1607" fmla="*/ 4603142 w 16408544"/>
              <a:gd name="connsiteY1607" fmla="*/ 1761262 h 8684653"/>
              <a:gd name="connsiteX1608" fmla="*/ 4603142 w 16408544"/>
              <a:gd name="connsiteY1608" fmla="*/ 1781905 h 8684653"/>
              <a:gd name="connsiteX1609" fmla="*/ 4578956 w 16408544"/>
              <a:gd name="connsiteY1609" fmla="*/ 1781905 h 8684653"/>
              <a:gd name="connsiteX1610" fmla="*/ 4578956 w 16408544"/>
              <a:gd name="connsiteY1610" fmla="*/ 1807629 h 8684653"/>
              <a:gd name="connsiteX1611" fmla="*/ 4599950 w 16408544"/>
              <a:gd name="connsiteY1611" fmla="*/ 1807629 h 8684653"/>
              <a:gd name="connsiteX1612" fmla="*/ 4635496 w 16408544"/>
              <a:gd name="connsiteY1612" fmla="*/ 1872897 h 8684653"/>
              <a:gd name="connsiteX1613" fmla="*/ 4680558 w 16408544"/>
              <a:gd name="connsiteY1613" fmla="*/ 1893494 h 8684653"/>
              <a:gd name="connsiteX1614" fmla="*/ 4707999 w 16408544"/>
              <a:gd name="connsiteY1614" fmla="*/ 1893494 h 8684653"/>
              <a:gd name="connsiteX1615" fmla="*/ 4707999 w 16408544"/>
              <a:gd name="connsiteY1615" fmla="*/ 1927773 h 8684653"/>
              <a:gd name="connsiteX1616" fmla="*/ 4737036 w 16408544"/>
              <a:gd name="connsiteY1616" fmla="*/ 1967226 h 8684653"/>
              <a:gd name="connsiteX1617" fmla="*/ 4712848 w 16408544"/>
              <a:gd name="connsiteY1617" fmla="*/ 2035882 h 8684653"/>
              <a:gd name="connsiteX1618" fmla="*/ 4562809 w 16408544"/>
              <a:gd name="connsiteY1618" fmla="*/ 1967226 h 8684653"/>
              <a:gd name="connsiteX1619" fmla="*/ 4538622 w 16408544"/>
              <a:gd name="connsiteY1619" fmla="*/ 1967226 h 8684653"/>
              <a:gd name="connsiteX1620" fmla="*/ 4656430 w 16408544"/>
              <a:gd name="connsiteY1620" fmla="*/ 2087232 h 8684653"/>
              <a:gd name="connsiteX1621" fmla="*/ 4640223 w 16408544"/>
              <a:gd name="connsiteY1621" fmla="*/ 2107923 h 8684653"/>
              <a:gd name="connsiteX1622" fmla="*/ 4624138 w 16408544"/>
              <a:gd name="connsiteY1622" fmla="*/ 2087232 h 8684653"/>
              <a:gd name="connsiteX1623" fmla="*/ 4506390 w 16408544"/>
              <a:gd name="connsiteY1623" fmla="*/ 2047779 h 8684653"/>
              <a:gd name="connsiteX1624" fmla="*/ 4398282 w 16408544"/>
              <a:gd name="connsiteY1624" fmla="*/ 1970706 h 8684653"/>
              <a:gd name="connsiteX1625" fmla="*/ 4272492 w 16408544"/>
              <a:gd name="connsiteY1625" fmla="*/ 1884841 h 8684653"/>
              <a:gd name="connsiteX1626" fmla="*/ 4240201 w 16408544"/>
              <a:gd name="connsiteY1626" fmla="*/ 1910564 h 8684653"/>
              <a:gd name="connsiteX1627" fmla="*/ 4212882 w 16408544"/>
              <a:gd name="connsiteY1627" fmla="*/ 1898573 h 8684653"/>
              <a:gd name="connsiteX1628" fmla="*/ 4164383 w 16408544"/>
              <a:gd name="connsiteY1628" fmla="*/ 1924388 h 8684653"/>
              <a:gd name="connsiteX1629" fmla="*/ 4095012 w 16408544"/>
              <a:gd name="connsiteY1629" fmla="*/ 1876283 h 8684653"/>
              <a:gd name="connsiteX1630" fmla="*/ 4159534 w 16408544"/>
              <a:gd name="connsiteY1630" fmla="*/ 1829869 h 8684653"/>
              <a:gd name="connsiteX1631" fmla="*/ 4228967 w 16408544"/>
              <a:gd name="connsiteY1631" fmla="*/ 1829869 h 8684653"/>
              <a:gd name="connsiteX1632" fmla="*/ 4301469 w 16408544"/>
              <a:gd name="connsiteY1632" fmla="*/ 1805887 h 8684653"/>
              <a:gd name="connsiteX1633" fmla="*/ 4272492 w 16408544"/>
              <a:gd name="connsiteY1633" fmla="*/ 1769962 h 8684653"/>
              <a:gd name="connsiteX1634" fmla="*/ 4312764 w 16408544"/>
              <a:gd name="connsiteY1634" fmla="*/ 1744146 h 8684653"/>
              <a:gd name="connsiteX1635" fmla="*/ 4361140 w 16408544"/>
              <a:gd name="connsiteY1635" fmla="*/ 1667027 h 8684653"/>
              <a:gd name="connsiteX1636" fmla="*/ 4223993 w 16408544"/>
              <a:gd name="connsiteY1636" fmla="*/ 1538273 h 8684653"/>
              <a:gd name="connsiteX1637" fmla="*/ 4172427 w 16408544"/>
              <a:gd name="connsiteY1637" fmla="*/ 1558823 h 8684653"/>
              <a:gd name="connsiteX1638" fmla="*/ 4159534 w 16408544"/>
              <a:gd name="connsiteY1638" fmla="*/ 1538273 h 8684653"/>
              <a:gd name="connsiteX1639" fmla="*/ 4198272 w 16408544"/>
              <a:gd name="connsiteY1639" fmla="*/ 1516030 h 8684653"/>
              <a:gd name="connsiteX1640" fmla="*/ 4078929 w 16408544"/>
              <a:gd name="connsiteY1640" fmla="*/ 1421606 h 8684653"/>
              <a:gd name="connsiteX1641" fmla="*/ 4003050 w 16408544"/>
              <a:gd name="connsiteY1641" fmla="*/ 1486829 h 8684653"/>
              <a:gd name="connsiteX1642" fmla="*/ 3990156 w 16408544"/>
              <a:gd name="connsiteY1642" fmla="*/ 1447377 h 8684653"/>
              <a:gd name="connsiteX1643" fmla="*/ 3744962 w 16408544"/>
              <a:gd name="connsiteY1643" fmla="*/ 1447377 h 8684653"/>
              <a:gd name="connsiteX1644" fmla="*/ 3696586 w 16408544"/>
              <a:gd name="connsiteY1644" fmla="*/ 1412955 h 8684653"/>
              <a:gd name="connsiteX1645" fmla="*/ 3619235 w 16408544"/>
              <a:gd name="connsiteY1645" fmla="*/ 1412955 h 8684653"/>
              <a:gd name="connsiteX1646" fmla="*/ 3583689 w 16408544"/>
              <a:gd name="connsiteY1646" fmla="*/ 1361556 h 8684653"/>
              <a:gd name="connsiteX1647" fmla="*/ 3656253 w 16408544"/>
              <a:gd name="connsiteY1647" fmla="*/ 1366682 h 8684653"/>
              <a:gd name="connsiteX1648" fmla="*/ 3656253 w 16408544"/>
              <a:gd name="connsiteY1648" fmla="*/ 1344439 h 8684653"/>
              <a:gd name="connsiteX1649" fmla="*/ 3567544 w 16408544"/>
              <a:gd name="connsiteY1649" fmla="*/ 1327229 h 8684653"/>
              <a:gd name="connsiteX1650" fmla="*/ 3543295 w 16408544"/>
              <a:gd name="connsiteY1650" fmla="*/ 1280862 h 8684653"/>
              <a:gd name="connsiteX1651" fmla="*/ 3575586 w 16408544"/>
              <a:gd name="connsiteY1651" fmla="*/ 1203745 h 8684653"/>
              <a:gd name="connsiteX1652" fmla="*/ 3586882 w 16408544"/>
              <a:gd name="connsiteY1652" fmla="*/ 1155590 h 8684653"/>
              <a:gd name="connsiteX1653" fmla="*/ 3715924 w 16408544"/>
              <a:gd name="connsiteY1653" fmla="*/ 1092203 h 8684653"/>
              <a:gd name="connsiteX1654" fmla="*/ 2826059 w 16408544"/>
              <a:gd name="connsiteY1654" fmla="*/ 1092200 h 8684653"/>
              <a:gd name="connsiteX1655" fmla="*/ 2882489 w 16408544"/>
              <a:gd name="connsiteY1655" fmla="*/ 1129951 h 8684653"/>
              <a:gd name="connsiteX1656" fmla="*/ 2847079 w 16408544"/>
              <a:gd name="connsiteY1656" fmla="*/ 1186620 h 8684653"/>
              <a:gd name="connsiteX1657" fmla="*/ 2890606 w 16408544"/>
              <a:gd name="connsiteY1657" fmla="*/ 1332514 h 8684653"/>
              <a:gd name="connsiteX1658" fmla="*/ 3056839 w 16408544"/>
              <a:gd name="connsiteY1658" fmla="*/ 1450872 h 8684653"/>
              <a:gd name="connsiteX1659" fmla="*/ 2992213 w 16408544"/>
              <a:gd name="connsiteY1659" fmla="*/ 1464571 h 8684653"/>
              <a:gd name="connsiteX1660" fmla="*/ 2971193 w 16408544"/>
              <a:gd name="connsiteY1660" fmla="*/ 1481762 h 8684653"/>
              <a:gd name="connsiteX1661" fmla="*/ 2995429 w 16408544"/>
              <a:gd name="connsiteY1661" fmla="*/ 1495509 h 8684653"/>
              <a:gd name="connsiteX1662" fmla="*/ 3011585 w 16408544"/>
              <a:gd name="connsiteY1662" fmla="*/ 1519470 h 8684653"/>
              <a:gd name="connsiteX1663" fmla="*/ 2919664 w 16408544"/>
              <a:gd name="connsiteY1663" fmla="*/ 1550334 h 8684653"/>
              <a:gd name="connsiteX1664" fmla="*/ 2787276 w 16408544"/>
              <a:gd name="connsiteY1664" fmla="*/ 1498908 h 8684653"/>
              <a:gd name="connsiteX1665" fmla="*/ 2745395 w 16408544"/>
              <a:gd name="connsiteY1665" fmla="*/ 1529711 h 8684653"/>
              <a:gd name="connsiteX1666" fmla="*/ 2629202 w 16408544"/>
              <a:gd name="connsiteY1666" fmla="*/ 1564074 h 8684653"/>
              <a:gd name="connsiteX1667" fmla="*/ 2484146 w 16408544"/>
              <a:gd name="connsiteY1667" fmla="*/ 1564074 h 8684653"/>
              <a:gd name="connsiteX1668" fmla="*/ 2455049 w 16408544"/>
              <a:gd name="connsiteY1668" fmla="*/ 1521104 h 8684653"/>
              <a:gd name="connsiteX1669" fmla="*/ 2366385 w 16408544"/>
              <a:gd name="connsiteY1669" fmla="*/ 1512670 h 8684653"/>
              <a:gd name="connsiteX1670" fmla="*/ 2290583 w 16408544"/>
              <a:gd name="connsiteY1670" fmla="*/ 1452507 h 8684653"/>
              <a:gd name="connsiteX1671" fmla="*/ 2447010 w 16408544"/>
              <a:gd name="connsiteY1671" fmla="*/ 1413118 h 8684653"/>
              <a:gd name="connsiteX1672" fmla="*/ 2500225 w 16408544"/>
              <a:gd name="connsiteY1672" fmla="*/ 1409688 h 8684653"/>
              <a:gd name="connsiteX1673" fmla="*/ 2459873 w 16408544"/>
              <a:gd name="connsiteY1673" fmla="*/ 1392476 h 8684653"/>
              <a:gd name="connsiteX1674" fmla="*/ 2374463 w 16408544"/>
              <a:gd name="connsiteY1674" fmla="*/ 1392476 h 8684653"/>
              <a:gd name="connsiteX1675" fmla="*/ 2250231 w 16408544"/>
              <a:gd name="connsiteY1675" fmla="*/ 1361633 h 8684653"/>
              <a:gd name="connsiteX1676" fmla="*/ 2314739 w 16408544"/>
              <a:gd name="connsiteY1676" fmla="*/ 1325587 h 8684653"/>
              <a:gd name="connsiteX1677" fmla="*/ 2258231 w 16408544"/>
              <a:gd name="connsiteY1677" fmla="*/ 1323863 h 8684653"/>
              <a:gd name="connsiteX1678" fmla="*/ 2209801 w 16408544"/>
              <a:gd name="connsiteY1678" fmla="*/ 1289559 h 8684653"/>
              <a:gd name="connsiteX1679" fmla="*/ 2414697 w 16408544"/>
              <a:gd name="connsiteY1679" fmla="*/ 1143805 h 8684653"/>
              <a:gd name="connsiteX1680" fmla="*/ 2442148 w 16408544"/>
              <a:gd name="connsiteY1680" fmla="*/ 1203724 h 8684653"/>
              <a:gd name="connsiteX1681" fmla="*/ 2492146 w 16408544"/>
              <a:gd name="connsiteY1681" fmla="*/ 1172906 h 8684653"/>
              <a:gd name="connsiteX1682" fmla="*/ 2564772 w 16408544"/>
              <a:gd name="connsiteY1682" fmla="*/ 1224437 h 8684653"/>
              <a:gd name="connsiteX1683" fmla="*/ 2613163 w 16408544"/>
              <a:gd name="connsiteY1683" fmla="*/ 1212311 h 8684653"/>
              <a:gd name="connsiteX1684" fmla="*/ 2605124 w 16408544"/>
              <a:gd name="connsiteY1684" fmla="*/ 1181450 h 8684653"/>
              <a:gd name="connsiteX1685" fmla="*/ 2640456 w 16408544"/>
              <a:gd name="connsiteY1685" fmla="*/ 1181450 h 8684653"/>
              <a:gd name="connsiteX1686" fmla="*/ 2693827 w 16408544"/>
              <a:gd name="connsiteY1686" fmla="*/ 1229568 h 8684653"/>
              <a:gd name="connsiteX1687" fmla="*/ 2721199 w 16408544"/>
              <a:gd name="connsiteY1687" fmla="*/ 1292943 h 8684653"/>
              <a:gd name="connsiteX1688" fmla="*/ 2742218 w 16408544"/>
              <a:gd name="connsiteY1688" fmla="*/ 1279291 h 8684653"/>
              <a:gd name="connsiteX1689" fmla="*/ 2705082 w 16408544"/>
              <a:gd name="connsiteY1689" fmla="*/ 1160951 h 8684653"/>
              <a:gd name="connsiteX1690" fmla="*/ 2734101 w 16408544"/>
              <a:gd name="connsiteY1690" fmla="*/ 1138492 h 8684653"/>
              <a:gd name="connsiteX1691" fmla="*/ 2779355 w 16408544"/>
              <a:gd name="connsiteY1691" fmla="*/ 1138492 h 8684653"/>
              <a:gd name="connsiteX1692" fmla="*/ 2777708 w 16408544"/>
              <a:gd name="connsiteY1692" fmla="*/ 1121474 h 8684653"/>
              <a:gd name="connsiteX1693" fmla="*/ 2826059 w 16408544"/>
              <a:gd name="connsiteY1693" fmla="*/ 1092200 h 8684653"/>
              <a:gd name="connsiteX1694" fmla="*/ 3369844 w 16408544"/>
              <a:gd name="connsiteY1694" fmla="*/ 1066804 h 8684653"/>
              <a:gd name="connsiteX1695" fmla="*/ 3527986 w 16408544"/>
              <a:gd name="connsiteY1695" fmla="*/ 1087352 h 8684653"/>
              <a:gd name="connsiteX1696" fmla="*/ 3527986 w 16408544"/>
              <a:gd name="connsiteY1696" fmla="*/ 1109527 h 8684653"/>
              <a:gd name="connsiteX1697" fmla="*/ 3498880 w 16408544"/>
              <a:gd name="connsiteY1697" fmla="*/ 1135481 h 8684653"/>
              <a:gd name="connsiteX1698" fmla="*/ 3407008 w 16408544"/>
              <a:gd name="connsiteY1698" fmla="*/ 1204046 h 8684653"/>
              <a:gd name="connsiteX1699" fmla="*/ 3361800 w 16408544"/>
              <a:gd name="connsiteY1699" fmla="*/ 1216074 h 8684653"/>
              <a:gd name="connsiteX1700" fmla="*/ 3382840 w 16408544"/>
              <a:gd name="connsiteY1700" fmla="*/ 1216074 h 8684653"/>
              <a:gd name="connsiteX1701" fmla="*/ 3345566 w 16408544"/>
              <a:gd name="connsiteY1701" fmla="*/ 1272604 h 8684653"/>
              <a:gd name="connsiteX1702" fmla="*/ 3313486 w 16408544"/>
              <a:gd name="connsiteY1702" fmla="*/ 1272604 h 8684653"/>
              <a:gd name="connsiteX1703" fmla="*/ 3314989 w 16408544"/>
              <a:gd name="connsiteY1703" fmla="*/ 1221177 h 8684653"/>
              <a:gd name="connsiteX1704" fmla="*/ 3289297 w 16408544"/>
              <a:gd name="connsiteY1704" fmla="*/ 1138770 h 8684653"/>
              <a:gd name="connsiteX1705" fmla="*/ 3289297 w 16408544"/>
              <a:gd name="connsiteY1705" fmla="*/ 1109527 h 8684653"/>
              <a:gd name="connsiteX1706" fmla="*/ 3326238 w 16408544"/>
              <a:gd name="connsiteY1706" fmla="*/ 1109527 h 8684653"/>
              <a:gd name="connsiteX1707" fmla="*/ 3326238 w 16408544"/>
              <a:gd name="connsiteY1707" fmla="*/ 1092449 h 8684653"/>
              <a:gd name="connsiteX1708" fmla="*/ 3369844 w 16408544"/>
              <a:gd name="connsiteY1708" fmla="*/ 1066804 h 8684653"/>
              <a:gd name="connsiteX1709" fmla="*/ 14199941 w 16408544"/>
              <a:gd name="connsiteY1709" fmla="*/ 1054101 h 8684653"/>
              <a:gd name="connsiteX1710" fmla="*/ 14275691 w 16408544"/>
              <a:gd name="connsiteY1710" fmla="*/ 1122690 h 8684653"/>
              <a:gd name="connsiteX1711" fmla="*/ 14227302 w 16408544"/>
              <a:gd name="connsiteY1711" fmla="*/ 1122690 h 8684653"/>
              <a:gd name="connsiteX1712" fmla="*/ 14130544 w 16408544"/>
              <a:gd name="connsiteY1712" fmla="*/ 1097045 h 8684653"/>
              <a:gd name="connsiteX1713" fmla="*/ 14122389 w 16408544"/>
              <a:gd name="connsiteY1713" fmla="*/ 1105497 h 8684653"/>
              <a:gd name="connsiteX1714" fmla="*/ 14199941 w 16408544"/>
              <a:gd name="connsiteY1714" fmla="*/ 1054101 h 8684653"/>
              <a:gd name="connsiteX1715" fmla="*/ 2090536 w 16408544"/>
              <a:gd name="connsiteY1715" fmla="*/ 1029066 h 8684653"/>
              <a:gd name="connsiteX1716" fmla="*/ 2110174 w 16408544"/>
              <a:gd name="connsiteY1716" fmla="*/ 1030761 h 8684653"/>
              <a:gd name="connsiteX1717" fmla="*/ 2197122 w 16408544"/>
              <a:gd name="connsiteY1717" fmla="*/ 1065174 h 8684653"/>
              <a:gd name="connsiteX1718" fmla="*/ 2252017 w 16408544"/>
              <a:gd name="connsiteY1718" fmla="*/ 1059956 h 8684653"/>
              <a:gd name="connsiteX1719" fmla="*/ 2364892 w 16408544"/>
              <a:gd name="connsiteY1719" fmla="*/ 1133900 h 8684653"/>
              <a:gd name="connsiteX1720" fmla="*/ 2263372 w 16408544"/>
              <a:gd name="connsiteY1720" fmla="*/ 1171484 h 8684653"/>
              <a:gd name="connsiteX1721" fmla="*/ 2142314 w 16408544"/>
              <a:gd name="connsiteY1721" fmla="*/ 1300198 h 8684653"/>
              <a:gd name="connsiteX1722" fmla="*/ 2018107 w 16408544"/>
              <a:gd name="connsiteY1722" fmla="*/ 1356746 h 8684653"/>
              <a:gd name="connsiteX1723" fmla="*/ 1993974 w 16408544"/>
              <a:gd name="connsiteY1723" fmla="*/ 1339697 h 8684653"/>
              <a:gd name="connsiteX1724" fmla="*/ 1969776 w 16408544"/>
              <a:gd name="connsiteY1724" fmla="*/ 1305338 h 8684653"/>
              <a:gd name="connsiteX1725" fmla="*/ 1892302 w 16408544"/>
              <a:gd name="connsiteY1725" fmla="*/ 1270985 h 8684653"/>
              <a:gd name="connsiteX1726" fmla="*/ 1972883 w 16408544"/>
              <a:gd name="connsiteY1726" fmla="*/ 1102788 h 8684653"/>
              <a:gd name="connsiteX1727" fmla="*/ 1948772 w 16408544"/>
              <a:gd name="connsiteY1727" fmla="*/ 1042888 h 8684653"/>
              <a:gd name="connsiteX1728" fmla="*/ 2045477 w 16408544"/>
              <a:gd name="connsiteY1728" fmla="*/ 1042888 h 8684653"/>
              <a:gd name="connsiteX1729" fmla="*/ 2090536 w 16408544"/>
              <a:gd name="connsiteY1729" fmla="*/ 1029066 h 8684653"/>
              <a:gd name="connsiteX1730" fmla="*/ 12878031 w 16408544"/>
              <a:gd name="connsiteY1730" fmla="*/ 1028704 h 8684653"/>
              <a:gd name="connsiteX1731" fmla="*/ 12865089 w 16408544"/>
              <a:gd name="connsiteY1731" fmla="*/ 1040819 h 8684653"/>
              <a:gd name="connsiteX1732" fmla="*/ 12874592 w 16408544"/>
              <a:gd name="connsiteY1732" fmla="*/ 1030412 h 8684653"/>
              <a:gd name="connsiteX1733" fmla="*/ 12878031 w 16408544"/>
              <a:gd name="connsiteY1733" fmla="*/ 1028704 h 8684653"/>
              <a:gd name="connsiteX1734" fmla="*/ 14144078 w 16408544"/>
              <a:gd name="connsiteY1734" fmla="*/ 1016023 h 8684653"/>
              <a:gd name="connsiteX1735" fmla="*/ 14165767 w 16408544"/>
              <a:gd name="connsiteY1735" fmla="*/ 1035319 h 8684653"/>
              <a:gd name="connsiteX1736" fmla="*/ 14141640 w 16408544"/>
              <a:gd name="connsiteY1736" fmla="*/ 1057647 h 8684653"/>
              <a:gd name="connsiteX1737" fmla="*/ 14122389 w 16408544"/>
              <a:gd name="connsiteY1737" fmla="*/ 1035319 h 8684653"/>
              <a:gd name="connsiteX1738" fmla="*/ 14144078 w 16408544"/>
              <a:gd name="connsiteY1738" fmla="*/ 1016023 h 8684653"/>
              <a:gd name="connsiteX1739" fmla="*/ 12849741 w 16408544"/>
              <a:gd name="connsiteY1739" fmla="*/ 990604 h 8684653"/>
              <a:gd name="connsiteX1740" fmla="*/ 12886851 w 16408544"/>
              <a:gd name="connsiteY1740" fmla="*/ 1016268 h 8684653"/>
              <a:gd name="connsiteX1741" fmla="*/ 12883411 w 16408544"/>
              <a:gd name="connsiteY1741" fmla="*/ 1026573 h 8684653"/>
              <a:gd name="connsiteX1742" fmla="*/ 12849741 w 16408544"/>
              <a:gd name="connsiteY1742" fmla="*/ 1036979 h 8684653"/>
              <a:gd name="connsiteX1743" fmla="*/ 12814290 w 16408544"/>
              <a:gd name="connsiteY1743" fmla="*/ 1016268 h 8684653"/>
              <a:gd name="connsiteX1744" fmla="*/ 12849741 w 16408544"/>
              <a:gd name="connsiteY1744" fmla="*/ 990604 h 8684653"/>
              <a:gd name="connsiteX1745" fmla="*/ 6836033 w 16408544"/>
              <a:gd name="connsiteY1745" fmla="*/ 927100 h 8684653"/>
              <a:gd name="connsiteX1746" fmla="*/ 6865172 w 16408544"/>
              <a:gd name="connsiteY1746" fmla="*/ 927100 h 8684653"/>
              <a:gd name="connsiteX1747" fmla="*/ 6865172 w 16408544"/>
              <a:gd name="connsiteY1747" fmla="*/ 949409 h 8684653"/>
              <a:gd name="connsiteX1748" fmla="*/ 6892555 w 16408544"/>
              <a:gd name="connsiteY1748" fmla="*/ 949409 h 8684653"/>
              <a:gd name="connsiteX1749" fmla="*/ 6840941 w 16408544"/>
              <a:gd name="connsiteY1749" fmla="*/ 975275 h 8684653"/>
              <a:gd name="connsiteX1750" fmla="*/ 6819892 w 16408544"/>
              <a:gd name="connsiteY1750" fmla="*/ 949409 h 8684653"/>
              <a:gd name="connsiteX1751" fmla="*/ 6836033 w 16408544"/>
              <a:gd name="connsiteY1751" fmla="*/ 927100 h 8684653"/>
              <a:gd name="connsiteX1752" fmla="*/ 2902631 w 16408544"/>
              <a:gd name="connsiteY1752" fmla="*/ 927100 h 8684653"/>
              <a:gd name="connsiteX1753" fmla="*/ 2914019 w 16408544"/>
              <a:gd name="connsiteY1753" fmla="*/ 952831 h 8684653"/>
              <a:gd name="connsiteX1754" fmla="*/ 2889781 w 16408544"/>
              <a:gd name="connsiteY1754" fmla="*/ 975279 h 8684653"/>
              <a:gd name="connsiteX1755" fmla="*/ 2857498 w 16408544"/>
              <a:gd name="connsiteY1755" fmla="*/ 973465 h 8684653"/>
              <a:gd name="connsiteX1756" fmla="*/ 2902631 w 16408544"/>
              <a:gd name="connsiteY1756" fmla="*/ 927100 h 8684653"/>
              <a:gd name="connsiteX1757" fmla="*/ 3320564 w 16408544"/>
              <a:gd name="connsiteY1757" fmla="*/ 914404 h 8684653"/>
              <a:gd name="connsiteX1758" fmla="*/ 3388321 w 16408544"/>
              <a:gd name="connsiteY1758" fmla="*/ 970888 h 8684653"/>
              <a:gd name="connsiteX1759" fmla="*/ 3356060 w 16408544"/>
              <a:gd name="connsiteY1759" fmla="*/ 1025843 h 8684653"/>
              <a:gd name="connsiteX1760" fmla="*/ 3251195 w 16408544"/>
              <a:gd name="connsiteY1760" fmla="*/ 979619 h 8684653"/>
              <a:gd name="connsiteX1761" fmla="*/ 3272177 w 16408544"/>
              <a:gd name="connsiteY1761" fmla="*/ 953759 h 8684653"/>
              <a:gd name="connsiteX1762" fmla="*/ 3320564 w 16408544"/>
              <a:gd name="connsiteY1762" fmla="*/ 914404 h 8684653"/>
              <a:gd name="connsiteX1763" fmla="*/ 14414489 w 16408544"/>
              <a:gd name="connsiteY1763" fmla="*/ 889001 h 8684653"/>
              <a:gd name="connsiteX1764" fmla="*/ 14604878 w 16408544"/>
              <a:gd name="connsiteY1764" fmla="*/ 923180 h 8684653"/>
              <a:gd name="connsiteX1765" fmla="*/ 14621008 w 16408544"/>
              <a:gd name="connsiteY1765" fmla="*/ 940428 h 8684653"/>
              <a:gd name="connsiteX1766" fmla="*/ 14548353 w 16408544"/>
              <a:gd name="connsiteY1766" fmla="*/ 966024 h 8684653"/>
              <a:gd name="connsiteX1767" fmla="*/ 14430599 w 16408544"/>
              <a:gd name="connsiteY1767" fmla="*/ 902594 h 8684653"/>
              <a:gd name="connsiteX1768" fmla="*/ 2260174 w 16408544"/>
              <a:gd name="connsiteY1768" fmla="*/ 876433 h 8684653"/>
              <a:gd name="connsiteX1769" fmla="*/ 2211749 w 16408544"/>
              <a:gd name="connsiteY1769" fmla="*/ 936538 h 8684653"/>
              <a:gd name="connsiteX1770" fmla="*/ 2184400 w 16408544"/>
              <a:gd name="connsiteY1770" fmla="*/ 915959 h 8684653"/>
              <a:gd name="connsiteX1771" fmla="*/ 2260174 w 16408544"/>
              <a:gd name="connsiteY1771" fmla="*/ 876433 h 8684653"/>
              <a:gd name="connsiteX1772" fmla="*/ 13906709 w 16408544"/>
              <a:gd name="connsiteY1772" fmla="*/ 863602 h 8684653"/>
              <a:gd name="connsiteX1773" fmla="*/ 13919718 w 16408544"/>
              <a:gd name="connsiteY1773" fmla="*/ 877357 h 8684653"/>
              <a:gd name="connsiteX1774" fmla="*/ 13922862 w 16408544"/>
              <a:gd name="connsiteY1774" fmla="*/ 877357 h 8684653"/>
              <a:gd name="connsiteX1775" fmla="*/ 13922427 w 16408544"/>
              <a:gd name="connsiteY1775" fmla="*/ 880192 h 8684653"/>
              <a:gd name="connsiteX1776" fmla="*/ 13922862 w 16408544"/>
              <a:gd name="connsiteY1776" fmla="*/ 880727 h 8684653"/>
              <a:gd name="connsiteX1777" fmla="*/ 13922360 w 16408544"/>
              <a:gd name="connsiteY1777" fmla="*/ 880397 h 8684653"/>
              <a:gd name="connsiteX1778" fmla="*/ 13906709 w 16408544"/>
              <a:gd name="connsiteY1778" fmla="*/ 903074 h 8684653"/>
              <a:gd name="connsiteX1779" fmla="*/ 13893789 w 16408544"/>
              <a:gd name="connsiteY1779" fmla="*/ 889429 h 8684653"/>
              <a:gd name="connsiteX1780" fmla="*/ 13906709 w 16408544"/>
              <a:gd name="connsiteY1780" fmla="*/ 863602 h 8684653"/>
              <a:gd name="connsiteX1781" fmla="*/ 14055269 w 16408544"/>
              <a:gd name="connsiteY1781" fmla="*/ 825503 h 8684653"/>
              <a:gd name="connsiteX1782" fmla="*/ 14152188 w 16408544"/>
              <a:gd name="connsiteY1782" fmla="*/ 880416 h 8684653"/>
              <a:gd name="connsiteX1783" fmla="*/ 14179485 w 16408544"/>
              <a:gd name="connsiteY1783" fmla="*/ 834171 h 8684653"/>
              <a:gd name="connsiteX1784" fmla="*/ 14337454 w 16408544"/>
              <a:gd name="connsiteY1784" fmla="*/ 880416 h 8684653"/>
              <a:gd name="connsiteX1785" fmla="*/ 14308547 w 16408544"/>
              <a:gd name="connsiteY1785" fmla="*/ 936979 h 8684653"/>
              <a:gd name="connsiteX1786" fmla="*/ 14264957 w 16408544"/>
              <a:gd name="connsiteY1786" fmla="*/ 936979 h 8684653"/>
              <a:gd name="connsiteX1787" fmla="*/ 14224751 w 16408544"/>
              <a:gd name="connsiteY1787" fmla="*/ 954205 h 8684653"/>
              <a:gd name="connsiteX1788" fmla="*/ 14195565 w 16408544"/>
              <a:gd name="connsiteY1788" fmla="*/ 936979 h 8684653"/>
              <a:gd name="connsiteX1789" fmla="*/ 14163258 w 16408544"/>
              <a:gd name="connsiteY1789" fmla="*/ 949054 h 8684653"/>
              <a:gd name="connsiteX1790" fmla="*/ 14127815 w 16408544"/>
              <a:gd name="connsiteY1790" fmla="*/ 962670 h 8684653"/>
              <a:gd name="connsiteX1791" fmla="*/ 14098711 w 16408544"/>
              <a:gd name="connsiteY1791" fmla="*/ 945610 h 8684653"/>
              <a:gd name="connsiteX1792" fmla="*/ 14063317 w 16408544"/>
              <a:gd name="connsiteY1792" fmla="*/ 971454 h 8684653"/>
              <a:gd name="connsiteX1793" fmla="*/ 13982690 w 16408544"/>
              <a:gd name="connsiteY1793" fmla="*/ 894038 h 8684653"/>
              <a:gd name="connsiteX1794" fmla="*/ 14055269 w 16408544"/>
              <a:gd name="connsiteY1794" fmla="*/ 825503 h 8684653"/>
              <a:gd name="connsiteX1795" fmla="*/ 3037749 w 16408544"/>
              <a:gd name="connsiteY1795" fmla="*/ 812864 h 8684653"/>
              <a:gd name="connsiteX1796" fmla="*/ 3052358 w 16408544"/>
              <a:gd name="connsiteY1796" fmla="*/ 813992 h 8684653"/>
              <a:gd name="connsiteX1797" fmla="*/ 3124898 w 16408544"/>
              <a:gd name="connsiteY1797" fmla="*/ 831092 h 8684653"/>
              <a:gd name="connsiteX1798" fmla="*/ 3157140 w 16408544"/>
              <a:gd name="connsiteY1798" fmla="*/ 817315 h 8684653"/>
              <a:gd name="connsiteX1799" fmla="*/ 3189408 w 16408544"/>
              <a:gd name="connsiteY1799" fmla="*/ 860388 h 8684653"/>
              <a:gd name="connsiteX1800" fmla="*/ 3176453 w 16408544"/>
              <a:gd name="connsiteY1800" fmla="*/ 968308 h 8684653"/>
              <a:gd name="connsiteX1801" fmla="*/ 3111943 w 16408544"/>
              <a:gd name="connsiteY1801" fmla="*/ 977048 h 8684653"/>
              <a:gd name="connsiteX1802" fmla="*/ 3060362 w 16408544"/>
              <a:gd name="connsiteY1802" fmla="*/ 968308 h 8684653"/>
              <a:gd name="connsiteX1803" fmla="*/ 3071585 w 16408544"/>
              <a:gd name="connsiteY1803" fmla="*/ 951180 h 8684653"/>
              <a:gd name="connsiteX1804" fmla="*/ 3071585 w 16408544"/>
              <a:gd name="connsiteY1804" fmla="*/ 934011 h 8684653"/>
              <a:gd name="connsiteX1805" fmla="*/ 3111943 w 16408544"/>
              <a:gd name="connsiteY1805" fmla="*/ 908361 h 8684653"/>
              <a:gd name="connsiteX1806" fmla="*/ 3092590 w 16408544"/>
              <a:gd name="connsiteY1806" fmla="*/ 903128 h 8684653"/>
              <a:gd name="connsiteX1807" fmla="*/ 2974851 w 16408544"/>
              <a:gd name="connsiteY1807" fmla="*/ 920361 h 8684653"/>
              <a:gd name="connsiteX1808" fmla="*/ 2955495 w 16408544"/>
              <a:gd name="connsiteY1808" fmla="*/ 899627 h 8684653"/>
              <a:gd name="connsiteX1809" fmla="*/ 2931258 w 16408544"/>
              <a:gd name="connsiteY1809" fmla="*/ 899627 h 8684653"/>
              <a:gd name="connsiteX1810" fmla="*/ 2926448 w 16408544"/>
              <a:gd name="connsiteY1810" fmla="*/ 882645 h 8684653"/>
              <a:gd name="connsiteX1811" fmla="*/ 2886146 w 16408544"/>
              <a:gd name="connsiteY1811" fmla="*/ 865429 h 8684653"/>
              <a:gd name="connsiteX1812" fmla="*/ 2886146 w 16408544"/>
              <a:gd name="connsiteY1812" fmla="*/ 834545 h 8684653"/>
              <a:gd name="connsiteX1813" fmla="*/ 2888475 w 16408544"/>
              <a:gd name="connsiteY1813" fmla="*/ 837688 h 8684653"/>
              <a:gd name="connsiteX1814" fmla="*/ 2882897 w 16408544"/>
              <a:gd name="connsiteY1814" fmla="*/ 817315 h 8684653"/>
              <a:gd name="connsiteX1815" fmla="*/ 2902211 w 16408544"/>
              <a:gd name="connsiteY1815" fmla="*/ 817315 h 8684653"/>
              <a:gd name="connsiteX1816" fmla="*/ 3023184 w 16408544"/>
              <a:gd name="connsiteY1816" fmla="*/ 889507 h 8684653"/>
              <a:gd name="connsiteX1817" fmla="*/ 2991000 w 16408544"/>
              <a:gd name="connsiteY1817" fmla="*/ 860388 h 8684653"/>
              <a:gd name="connsiteX1818" fmla="*/ 2991000 w 16408544"/>
              <a:gd name="connsiteY1818" fmla="*/ 839761 h 8684653"/>
              <a:gd name="connsiteX1819" fmla="*/ 3079675 w 16408544"/>
              <a:gd name="connsiteY1819" fmla="*/ 877449 h 8684653"/>
              <a:gd name="connsiteX1820" fmla="*/ 3079675 w 16408544"/>
              <a:gd name="connsiteY1820" fmla="*/ 839761 h 8684653"/>
              <a:gd name="connsiteX1821" fmla="*/ 3023184 w 16408544"/>
              <a:gd name="connsiteY1821" fmla="*/ 815653 h 8684653"/>
              <a:gd name="connsiteX1822" fmla="*/ 3037749 w 16408544"/>
              <a:gd name="connsiteY1822" fmla="*/ 812864 h 8684653"/>
              <a:gd name="connsiteX1823" fmla="*/ 2665237 w 16408544"/>
              <a:gd name="connsiteY1823" fmla="*/ 787400 h 8684653"/>
              <a:gd name="connsiteX1824" fmla="*/ 2695894 w 16408544"/>
              <a:gd name="connsiteY1824" fmla="*/ 799480 h 8684653"/>
              <a:gd name="connsiteX1825" fmla="*/ 2695894 w 16408544"/>
              <a:gd name="connsiteY1825" fmla="*/ 821755 h 8684653"/>
              <a:gd name="connsiteX1826" fmla="*/ 2757262 w 16408544"/>
              <a:gd name="connsiteY1826" fmla="*/ 885197 h 8684653"/>
              <a:gd name="connsiteX1827" fmla="*/ 2800752 w 16408544"/>
              <a:gd name="connsiteY1827" fmla="*/ 864614 h 8684653"/>
              <a:gd name="connsiteX1828" fmla="*/ 2837839 w 16408544"/>
              <a:gd name="connsiteY1828" fmla="*/ 907544 h 8684653"/>
              <a:gd name="connsiteX1829" fmla="*/ 2784653 w 16408544"/>
              <a:gd name="connsiteY1829" fmla="*/ 988052 h 8684653"/>
              <a:gd name="connsiteX1830" fmla="*/ 2679716 w 16408544"/>
              <a:gd name="connsiteY1830" fmla="*/ 984688 h 8684653"/>
              <a:gd name="connsiteX1831" fmla="*/ 2571749 w 16408544"/>
              <a:gd name="connsiteY1831" fmla="*/ 1013941 h 8684653"/>
              <a:gd name="connsiteX1832" fmla="*/ 2466864 w 16408544"/>
              <a:gd name="connsiteY1832" fmla="*/ 1039722 h 8684653"/>
              <a:gd name="connsiteX1833" fmla="*/ 2421649 w 16408544"/>
              <a:gd name="connsiteY1833" fmla="*/ 1013941 h 8684653"/>
              <a:gd name="connsiteX1834" fmla="*/ 2466864 w 16408544"/>
              <a:gd name="connsiteY1834" fmla="*/ 993347 h 8684653"/>
              <a:gd name="connsiteX1835" fmla="*/ 2439474 w 16408544"/>
              <a:gd name="connsiteY1835" fmla="*/ 953780 h 8684653"/>
              <a:gd name="connsiteX1836" fmla="*/ 2421649 w 16408544"/>
              <a:gd name="connsiteY1836" fmla="*/ 976233 h 8684653"/>
              <a:gd name="connsiteX1837" fmla="*/ 2353879 w 16408544"/>
              <a:gd name="connsiteY1837" fmla="*/ 988052 h 8684653"/>
              <a:gd name="connsiteX1838" fmla="*/ 2297424 w 16408544"/>
              <a:gd name="connsiteY1838" fmla="*/ 976233 h 8684653"/>
              <a:gd name="connsiteX1839" fmla="*/ 2273301 w 16408544"/>
              <a:gd name="connsiteY1839" fmla="*/ 950373 h 8684653"/>
              <a:gd name="connsiteX1840" fmla="*/ 2273301 w 16408544"/>
              <a:gd name="connsiteY1840" fmla="*/ 924705 h 8684653"/>
              <a:gd name="connsiteX1841" fmla="*/ 2313576 w 16408544"/>
              <a:gd name="connsiteY1841" fmla="*/ 907544 h 8684653"/>
              <a:gd name="connsiteX1842" fmla="*/ 2331454 w 16408544"/>
              <a:gd name="connsiteY1842" fmla="*/ 909565 h 8684653"/>
              <a:gd name="connsiteX1843" fmla="*/ 2313576 w 16408544"/>
              <a:gd name="connsiteY1843" fmla="*/ 902311 h 8684653"/>
              <a:gd name="connsiteX1844" fmla="*/ 2313576 w 16408544"/>
              <a:gd name="connsiteY1844" fmla="*/ 876624 h 8684653"/>
              <a:gd name="connsiteX1845" fmla="*/ 2341020 w 16408544"/>
              <a:gd name="connsiteY1845" fmla="*/ 876624 h 8684653"/>
              <a:gd name="connsiteX1846" fmla="*/ 2349828 w 16408544"/>
              <a:gd name="connsiteY1846" fmla="*/ 877779 h 8684653"/>
              <a:gd name="connsiteX1847" fmla="*/ 2332970 w 16408544"/>
              <a:gd name="connsiteY1847" fmla="*/ 869708 h 8684653"/>
              <a:gd name="connsiteX1848" fmla="*/ 2365195 w 16408544"/>
              <a:gd name="connsiteY1848" fmla="*/ 850838 h 8684653"/>
              <a:gd name="connsiteX1849" fmla="*/ 2369299 w 16408544"/>
              <a:gd name="connsiteY1849" fmla="*/ 851183 h 8684653"/>
              <a:gd name="connsiteX1850" fmla="*/ 2357146 w 16408544"/>
              <a:gd name="connsiteY1850" fmla="*/ 833724 h 8684653"/>
              <a:gd name="connsiteX1851" fmla="*/ 2410332 w 16408544"/>
              <a:gd name="connsiteY1851" fmla="*/ 833724 h 8684653"/>
              <a:gd name="connsiteX1852" fmla="*/ 2437827 w 16408544"/>
              <a:gd name="connsiteY1852" fmla="*/ 859569 h 8684653"/>
              <a:gd name="connsiteX1853" fmla="*/ 2474888 w 16408544"/>
              <a:gd name="connsiteY1853" fmla="*/ 859569 h 8684653"/>
              <a:gd name="connsiteX1854" fmla="*/ 2628098 w 16408544"/>
              <a:gd name="connsiteY1854" fmla="*/ 924705 h 8684653"/>
              <a:gd name="connsiteX1855" fmla="*/ 2663616 w 16408544"/>
              <a:gd name="connsiteY1855" fmla="*/ 902311 h 8684653"/>
              <a:gd name="connsiteX1856" fmla="*/ 2631417 w 16408544"/>
              <a:gd name="connsiteY1856" fmla="*/ 897291 h 8684653"/>
              <a:gd name="connsiteX1857" fmla="*/ 2647517 w 16408544"/>
              <a:gd name="connsiteY1857" fmla="*/ 890430 h 8684653"/>
              <a:gd name="connsiteX1858" fmla="*/ 2647517 w 16408544"/>
              <a:gd name="connsiteY1858" fmla="*/ 868080 h 8684653"/>
              <a:gd name="connsiteX1859" fmla="*/ 2607215 w 16408544"/>
              <a:gd name="connsiteY1859" fmla="*/ 842408 h 8684653"/>
              <a:gd name="connsiteX1860" fmla="*/ 2665237 w 16408544"/>
              <a:gd name="connsiteY1860" fmla="*/ 787400 h 8684653"/>
              <a:gd name="connsiteX1861" fmla="*/ 2387601 w 16408544"/>
              <a:gd name="connsiteY1861" fmla="*/ 787400 h 8684653"/>
              <a:gd name="connsiteX1862" fmla="*/ 2444030 w 16408544"/>
              <a:gd name="connsiteY1862" fmla="*/ 787400 h 8684653"/>
              <a:gd name="connsiteX1863" fmla="*/ 2444030 w 16408544"/>
              <a:gd name="connsiteY1863" fmla="*/ 809720 h 8684653"/>
              <a:gd name="connsiteX1864" fmla="*/ 2408527 w 16408544"/>
              <a:gd name="connsiteY1864" fmla="*/ 809720 h 8684653"/>
              <a:gd name="connsiteX1865" fmla="*/ 2387601 w 16408544"/>
              <a:gd name="connsiteY1865" fmla="*/ 787400 h 8684653"/>
              <a:gd name="connsiteX1866" fmla="*/ 3286801 w 16408544"/>
              <a:gd name="connsiteY1866" fmla="*/ 774701 h 8684653"/>
              <a:gd name="connsiteX1867" fmla="*/ 3427140 w 16408544"/>
              <a:gd name="connsiteY1867" fmla="*/ 834707 h 8684653"/>
              <a:gd name="connsiteX1868" fmla="*/ 3459489 w 16408544"/>
              <a:gd name="connsiteY1868" fmla="*/ 820952 h 8684653"/>
              <a:gd name="connsiteX1869" fmla="*/ 3488508 w 16408544"/>
              <a:gd name="connsiteY1869" fmla="*/ 820952 h 8684653"/>
              <a:gd name="connsiteX1870" fmla="*/ 3564369 w 16408544"/>
              <a:gd name="connsiteY1870" fmla="*/ 872535 h 8684653"/>
              <a:gd name="connsiteX1871" fmla="*/ 3499780 w 16408544"/>
              <a:gd name="connsiteY1871" fmla="*/ 872535 h 8684653"/>
              <a:gd name="connsiteX1872" fmla="*/ 3572419 w 16408544"/>
              <a:gd name="connsiteY1872" fmla="*/ 911929 h 8684653"/>
              <a:gd name="connsiteX1873" fmla="*/ 3561076 w 16408544"/>
              <a:gd name="connsiteY1873" fmla="*/ 920620 h 8684653"/>
              <a:gd name="connsiteX1874" fmla="*/ 3586874 w 16408544"/>
              <a:gd name="connsiteY1874" fmla="*/ 929237 h 8684653"/>
              <a:gd name="connsiteX1875" fmla="*/ 3698195 w 16408544"/>
              <a:gd name="connsiteY1875" fmla="*/ 949775 h 8684653"/>
              <a:gd name="connsiteX1876" fmla="*/ 3899901 w 16408544"/>
              <a:gd name="connsiteY1876" fmla="*/ 906806 h 8684653"/>
              <a:gd name="connsiteX1877" fmla="*/ 4028933 w 16408544"/>
              <a:gd name="connsiteY1877" fmla="*/ 954822 h 8684653"/>
              <a:gd name="connsiteX1878" fmla="*/ 4016015 w 16408544"/>
              <a:gd name="connsiteY1878" fmla="*/ 957872 h 8684653"/>
              <a:gd name="connsiteX1879" fmla="*/ 4007928 w 16408544"/>
              <a:gd name="connsiteY1879" fmla="*/ 973790 h 8684653"/>
              <a:gd name="connsiteX1880" fmla="*/ 4028933 w 16408544"/>
              <a:gd name="connsiteY1880" fmla="*/ 975368 h 8684653"/>
              <a:gd name="connsiteX1881" fmla="*/ 3895036 w 16408544"/>
              <a:gd name="connsiteY1881" fmla="*/ 1035477 h 8684653"/>
              <a:gd name="connsiteX1882" fmla="*/ 3862757 w 16408544"/>
              <a:gd name="connsiteY1882" fmla="*/ 1009822 h 8684653"/>
              <a:gd name="connsiteX1883" fmla="*/ 3822432 w 16408544"/>
              <a:gd name="connsiteY1883" fmla="*/ 1032073 h 8684653"/>
              <a:gd name="connsiteX1884" fmla="*/ 3693400 w 16408544"/>
              <a:gd name="connsiteY1884" fmla="*/ 1032073 h 8684653"/>
              <a:gd name="connsiteX1885" fmla="*/ 3612673 w 16408544"/>
              <a:gd name="connsiteY1885" fmla="*/ 1006364 h 8684653"/>
              <a:gd name="connsiteX1886" fmla="*/ 3593388 w 16408544"/>
              <a:gd name="connsiteY1886" fmla="*/ 1006364 h 8684653"/>
              <a:gd name="connsiteX1887" fmla="*/ 3548230 w 16408544"/>
              <a:gd name="connsiteY1887" fmla="*/ 1035477 h 8684653"/>
              <a:gd name="connsiteX1888" fmla="*/ 3432045 w 16408544"/>
              <a:gd name="connsiteY1888" fmla="*/ 958290 h 8684653"/>
              <a:gd name="connsiteX1889" fmla="*/ 3451439 w 16408544"/>
              <a:gd name="connsiteY1889" fmla="*/ 930837 h 8684653"/>
              <a:gd name="connsiteX1890" fmla="*/ 3386887 w 16408544"/>
              <a:gd name="connsiteY1890" fmla="*/ 843409 h 8684653"/>
              <a:gd name="connsiteX1891" fmla="*/ 3354610 w 16408544"/>
              <a:gd name="connsiteY1891" fmla="*/ 860474 h 8684653"/>
              <a:gd name="connsiteX1892" fmla="*/ 3238496 w 16408544"/>
              <a:gd name="connsiteY1892" fmla="*/ 800385 h 8684653"/>
              <a:gd name="connsiteX1893" fmla="*/ 3286801 w 16408544"/>
              <a:gd name="connsiteY1893" fmla="*/ 774701 h 8684653"/>
              <a:gd name="connsiteX1894" fmla="*/ 10774938 w 16408544"/>
              <a:gd name="connsiteY1894" fmla="*/ 749301 h 8684653"/>
              <a:gd name="connsiteX1895" fmla="*/ 10839455 w 16408544"/>
              <a:gd name="connsiteY1895" fmla="*/ 792192 h 8684653"/>
              <a:gd name="connsiteX1896" fmla="*/ 10674951 w 16408544"/>
              <a:gd name="connsiteY1896" fmla="*/ 881589 h 8684653"/>
              <a:gd name="connsiteX1897" fmla="*/ 10525045 w 16408544"/>
              <a:gd name="connsiteY1897" fmla="*/ 924301 h 8684653"/>
              <a:gd name="connsiteX1898" fmla="*/ 10489464 w 16408544"/>
              <a:gd name="connsiteY1898" fmla="*/ 963695 h 8684653"/>
              <a:gd name="connsiteX1899" fmla="*/ 10412065 w 16408544"/>
              <a:gd name="connsiteY1899" fmla="*/ 1010199 h 8684653"/>
              <a:gd name="connsiteX1900" fmla="*/ 10218476 w 16408544"/>
              <a:gd name="connsiteY1900" fmla="*/ 1258937 h 8684653"/>
              <a:gd name="connsiteX1901" fmla="*/ 10306777 w 16408544"/>
              <a:gd name="connsiteY1901" fmla="*/ 1370726 h 8684653"/>
              <a:gd name="connsiteX1902" fmla="*/ 10312041 w 16408544"/>
              <a:gd name="connsiteY1902" fmla="*/ 1379094 h 8684653"/>
              <a:gd name="connsiteX1903" fmla="*/ 10186068 w 16408544"/>
              <a:gd name="connsiteY1903" fmla="*/ 1379094 h 8684653"/>
              <a:gd name="connsiteX1904" fmla="*/ 10174867 w 16408544"/>
              <a:gd name="connsiteY1904" fmla="*/ 1367056 h 8684653"/>
              <a:gd name="connsiteX1905" fmla="*/ 10134656 w 16408544"/>
              <a:gd name="connsiteY1905" fmla="*/ 1367056 h 8684653"/>
              <a:gd name="connsiteX1906" fmla="*/ 10110425 w 16408544"/>
              <a:gd name="connsiteY1906" fmla="*/ 1306988 h 8684653"/>
              <a:gd name="connsiteX1907" fmla="*/ 10062037 w 16408544"/>
              <a:gd name="connsiteY1907" fmla="*/ 1306988 h 8684653"/>
              <a:gd name="connsiteX1908" fmla="*/ 10032989 w 16408544"/>
              <a:gd name="connsiteY1908" fmla="*/ 1272669 h 8684653"/>
              <a:gd name="connsiteX1909" fmla="*/ 10081340 w 16408544"/>
              <a:gd name="connsiteY1909" fmla="*/ 1204005 h 8684653"/>
              <a:gd name="connsiteX1910" fmla="*/ 10081340 w 16408544"/>
              <a:gd name="connsiteY1910" fmla="*/ 1178407 h 8684653"/>
              <a:gd name="connsiteX1911" fmla="*/ 10158738 w 16408544"/>
              <a:gd name="connsiteY1911" fmla="*/ 1130246 h 8684653"/>
              <a:gd name="connsiteX1912" fmla="*/ 10134656 w 16408544"/>
              <a:gd name="connsiteY1912" fmla="*/ 1092508 h 8684653"/>
              <a:gd name="connsiteX1913" fmla="*/ 10218476 w 16408544"/>
              <a:gd name="connsiteY1913" fmla="*/ 989588 h 8684653"/>
              <a:gd name="connsiteX1914" fmla="*/ 10207238 w 16408544"/>
              <a:gd name="connsiteY1914" fmla="*/ 958793 h 8684653"/>
              <a:gd name="connsiteX1915" fmla="*/ 10223405 w 16408544"/>
              <a:gd name="connsiteY1915" fmla="*/ 941536 h 8684653"/>
              <a:gd name="connsiteX1916" fmla="*/ 10287847 w 16408544"/>
              <a:gd name="connsiteY1916" fmla="*/ 929406 h 8684653"/>
              <a:gd name="connsiteX1917" fmla="*/ 10433048 w 16408544"/>
              <a:gd name="connsiteY1917" fmla="*/ 847156 h 8684653"/>
              <a:gd name="connsiteX1918" fmla="*/ 10484573 w 16408544"/>
              <a:gd name="connsiteY1918" fmla="*/ 826537 h 8684653"/>
              <a:gd name="connsiteX1919" fmla="*/ 10532886 w 16408544"/>
              <a:gd name="connsiteY1919" fmla="*/ 847156 h 8684653"/>
              <a:gd name="connsiteX1920" fmla="*/ 10774938 w 16408544"/>
              <a:gd name="connsiteY1920" fmla="*/ 749301 h 8684653"/>
              <a:gd name="connsiteX1921" fmla="*/ 2315236 w 16408544"/>
              <a:gd name="connsiteY1921" fmla="*/ 724362 h 8684653"/>
              <a:gd name="connsiteX1922" fmla="*/ 2339474 w 16408544"/>
              <a:gd name="connsiteY1922" fmla="*/ 725004 h 8684653"/>
              <a:gd name="connsiteX1923" fmla="*/ 2354594 w 16408544"/>
              <a:gd name="connsiteY1923" fmla="*/ 738504 h 8684653"/>
              <a:gd name="connsiteX1924" fmla="*/ 2333685 w 16408544"/>
              <a:gd name="connsiteY1924" fmla="*/ 766037 h 8684653"/>
              <a:gd name="connsiteX1925" fmla="*/ 2346529 w 16408544"/>
              <a:gd name="connsiteY1925" fmla="*/ 800311 h 8684653"/>
              <a:gd name="connsiteX1926" fmla="*/ 2277186 w 16408544"/>
              <a:gd name="connsiteY1926" fmla="*/ 855320 h 8684653"/>
              <a:gd name="connsiteX1927" fmla="*/ 2236951 w 16408544"/>
              <a:gd name="connsiteY1927" fmla="*/ 807175 h 8684653"/>
              <a:gd name="connsiteX1928" fmla="*/ 2182021 w 16408544"/>
              <a:gd name="connsiteY1928" fmla="*/ 860357 h 8684653"/>
              <a:gd name="connsiteX1929" fmla="*/ 2148133 w 16408544"/>
              <a:gd name="connsiteY1929" fmla="*/ 898094 h 8684653"/>
              <a:gd name="connsiteX1930" fmla="*/ 2120832 w 16408544"/>
              <a:gd name="connsiteY1930" fmla="*/ 872374 h 8684653"/>
              <a:gd name="connsiteX1931" fmla="*/ 2075520 w 16408544"/>
              <a:gd name="connsiteY1931" fmla="*/ 872374 h 8684653"/>
              <a:gd name="connsiteX1932" fmla="*/ 2048099 w 16408544"/>
              <a:gd name="connsiteY1932" fmla="*/ 886085 h 8684653"/>
              <a:gd name="connsiteX1933" fmla="*/ 2031999 w 16408544"/>
              <a:gd name="connsiteY1933" fmla="*/ 860357 h 8684653"/>
              <a:gd name="connsiteX1934" fmla="*/ 2067530 w 16408544"/>
              <a:gd name="connsiteY1934" fmla="*/ 829467 h 8684653"/>
              <a:gd name="connsiteX1935" fmla="*/ 2144952 w 16408544"/>
              <a:gd name="connsiteY1935" fmla="*/ 795232 h 8684653"/>
              <a:gd name="connsiteX1936" fmla="*/ 2228752 w 16408544"/>
              <a:gd name="connsiteY1936" fmla="*/ 731702 h 8684653"/>
              <a:gd name="connsiteX1937" fmla="*/ 2257830 w 16408544"/>
              <a:gd name="connsiteY1937" fmla="*/ 735160 h 8684653"/>
              <a:gd name="connsiteX1938" fmla="*/ 2315236 w 16408544"/>
              <a:gd name="connsiteY1938" fmla="*/ 724362 h 8684653"/>
              <a:gd name="connsiteX1939" fmla="*/ 3368664 w 16408544"/>
              <a:gd name="connsiteY1939" fmla="*/ 698502 h 8684653"/>
              <a:gd name="connsiteX1940" fmla="*/ 3389688 w 16408544"/>
              <a:gd name="connsiteY1940" fmla="*/ 698502 h 8684653"/>
              <a:gd name="connsiteX1941" fmla="*/ 3389688 w 16408544"/>
              <a:gd name="connsiteY1941" fmla="*/ 720809 h 8684653"/>
              <a:gd name="connsiteX1942" fmla="*/ 3365415 w 16408544"/>
              <a:gd name="connsiteY1942" fmla="*/ 737962 h 8684653"/>
              <a:gd name="connsiteX1943" fmla="*/ 3263895 w 16408544"/>
              <a:gd name="connsiteY1943" fmla="*/ 719121 h 8684653"/>
              <a:gd name="connsiteX1944" fmla="*/ 3368664 w 16408544"/>
              <a:gd name="connsiteY1944" fmla="*/ 698502 h 8684653"/>
              <a:gd name="connsiteX1945" fmla="*/ 2806698 w 16408544"/>
              <a:gd name="connsiteY1945" fmla="*/ 698502 h 8684653"/>
              <a:gd name="connsiteX1946" fmla="*/ 2885707 w 16408544"/>
              <a:gd name="connsiteY1946" fmla="*/ 746630 h 8684653"/>
              <a:gd name="connsiteX1947" fmla="*/ 2863244 w 16408544"/>
              <a:gd name="connsiteY1947" fmla="*/ 767147 h 8684653"/>
              <a:gd name="connsiteX1948" fmla="*/ 2806698 w 16408544"/>
              <a:gd name="connsiteY1948" fmla="*/ 698502 h 8684653"/>
              <a:gd name="connsiteX1949" fmla="*/ 12464398 w 16408544"/>
              <a:gd name="connsiteY1949" fmla="*/ 685808 h 8684653"/>
              <a:gd name="connsiteX1950" fmla="*/ 12585506 w 16408544"/>
              <a:gd name="connsiteY1950" fmla="*/ 780157 h 8684653"/>
              <a:gd name="connsiteX1951" fmla="*/ 12755056 w 16408544"/>
              <a:gd name="connsiteY1951" fmla="*/ 780157 h 8684653"/>
              <a:gd name="connsiteX1952" fmla="*/ 12617654 w 16408544"/>
              <a:gd name="connsiteY1952" fmla="*/ 1088951 h 8684653"/>
              <a:gd name="connsiteX1953" fmla="*/ 12782361 w 16408544"/>
              <a:gd name="connsiteY1953" fmla="*/ 1020368 h 8684653"/>
              <a:gd name="connsiteX1954" fmla="*/ 13150088 w 16408544"/>
              <a:gd name="connsiteY1954" fmla="*/ 1131782 h 8684653"/>
              <a:gd name="connsiteX1955" fmla="*/ 13327566 w 16408544"/>
              <a:gd name="connsiteY1955" fmla="*/ 1131782 h 8684653"/>
              <a:gd name="connsiteX1956" fmla="*/ 13391862 w 16408544"/>
              <a:gd name="connsiteY1956" fmla="*/ 1063191 h 8684653"/>
              <a:gd name="connsiteX1957" fmla="*/ 13593562 w 16408544"/>
              <a:gd name="connsiteY1957" fmla="*/ 1191988 h 8684653"/>
              <a:gd name="connsiteX1958" fmla="*/ 13690448 w 16408544"/>
              <a:gd name="connsiteY1958" fmla="*/ 1329162 h 8684653"/>
              <a:gd name="connsiteX1959" fmla="*/ 13730964 w 16408544"/>
              <a:gd name="connsiteY1959" fmla="*/ 1251884 h 8684653"/>
              <a:gd name="connsiteX1960" fmla="*/ 13835777 w 16408544"/>
              <a:gd name="connsiteY1960" fmla="*/ 1295026 h 8684653"/>
              <a:gd name="connsiteX1961" fmla="*/ 14093406 w 16408544"/>
              <a:gd name="connsiteY1961" fmla="*/ 1295026 h 8684653"/>
              <a:gd name="connsiteX1962" fmla="*/ 14247103 w 16408544"/>
              <a:gd name="connsiteY1962" fmla="*/ 1157849 h 8684653"/>
              <a:gd name="connsiteX1963" fmla="*/ 14577396 w 16408544"/>
              <a:gd name="connsiteY1963" fmla="*/ 1217746 h 8684653"/>
              <a:gd name="connsiteX1964" fmla="*/ 14658428 w 16408544"/>
              <a:gd name="connsiteY1964" fmla="*/ 1303410 h 8684653"/>
              <a:gd name="connsiteX1965" fmla="*/ 14843833 w 16408544"/>
              <a:gd name="connsiteY1965" fmla="*/ 1312093 h 8684653"/>
              <a:gd name="connsiteX1966" fmla="*/ 15029238 w 16408544"/>
              <a:gd name="connsiteY1966" fmla="*/ 1432206 h 8684653"/>
              <a:gd name="connsiteX1967" fmla="*/ 15400048 w 16408544"/>
              <a:gd name="connsiteY1967" fmla="*/ 1440578 h 8684653"/>
              <a:gd name="connsiteX1968" fmla="*/ 15505302 w 16408544"/>
              <a:gd name="connsiteY1968" fmla="*/ 1440578 h 8684653"/>
              <a:gd name="connsiteX1969" fmla="*/ 15585894 w 16408544"/>
              <a:gd name="connsiteY1969" fmla="*/ 1406443 h 8684653"/>
              <a:gd name="connsiteX1970" fmla="*/ 16069882 w 16408544"/>
              <a:gd name="connsiteY1970" fmla="*/ 1569376 h 8684653"/>
              <a:gd name="connsiteX1971" fmla="*/ 16408544 w 16408544"/>
              <a:gd name="connsiteY1971" fmla="*/ 1754656 h 8684653"/>
              <a:gd name="connsiteX1972" fmla="*/ 16311658 w 16408544"/>
              <a:gd name="connsiteY1972" fmla="*/ 1801215 h 8684653"/>
              <a:gd name="connsiteX1973" fmla="*/ 16255288 w 16408544"/>
              <a:gd name="connsiteY1973" fmla="*/ 1886864 h 8684653"/>
              <a:gd name="connsiteX1974" fmla="*/ 15997218 w 16408544"/>
              <a:gd name="connsiteY1974" fmla="*/ 1741000 h 8684653"/>
              <a:gd name="connsiteX1975" fmla="*/ 15972998 w 16408544"/>
              <a:gd name="connsiteY1975" fmla="*/ 1801215 h 8684653"/>
              <a:gd name="connsiteX1976" fmla="*/ 15860258 w 16408544"/>
              <a:gd name="connsiteY1976" fmla="*/ 1904245 h 8684653"/>
              <a:gd name="connsiteX1977" fmla="*/ 15811814 w 16408544"/>
              <a:gd name="connsiteY1977" fmla="*/ 2032729 h 8684653"/>
              <a:gd name="connsiteX1978" fmla="*/ 15441004 w 16408544"/>
              <a:gd name="connsiteY1978" fmla="*/ 2230113 h 8684653"/>
              <a:gd name="connsiteX1979" fmla="*/ 15142418 w 16408544"/>
              <a:gd name="connsiteY1979" fmla="*/ 2367289 h 8684653"/>
              <a:gd name="connsiteX1980" fmla="*/ 15142418 w 16408544"/>
              <a:gd name="connsiteY1980" fmla="*/ 2444567 h 8684653"/>
              <a:gd name="connsiteX1981" fmla="*/ 15086048 w 16408544"/>
              <a:gd name="connsiteY1981" fmla="*/ 2547604 h 8684653"/>
              <a:gd name="connsiteX1982" fmla="*/ 15021311 w 16408544"/>
              <a:gd name="connsiteY1982" fmla="*/ 2641641 h 8684653"/>
              <a:gd name="connsiteX1983" fmla="*/ 14900204 w 16408544"/>
              <a:gd name="connsiteY1983" fmla="*/ 2804886 h 8684653"/>
              <a:gd name="connsiteX1984" fmla="*/ 14835906 w 16408544"/>
              <a:gd name="connsiteY1984" fmla="*/ 2496085 h 8684653"/>
              <a:gd name="connsiteX1985" fmla="*/ 14932792 w 16408544"/>
              <a:gd name="connsiteY1985" fmla="*/ 2358599 h 8684653"/>
              <a:gd name="connsiteX1986" fmla="*/ 15045532 w 16408544"/>
              <a:gd name="connsiteY1986" fmla="*/ 2212734 h 8684653"/>
              <a:gd name="connsiteX1987" fmla="*/ 15158272 w 16408544"/>
              <a:gd name="connsiteY1987" fmla="*/ 2152836 h 8684653"/>
              <a:gd name="connsiteX1988" fmla="*/ 15182494 w 16408544"/>
              <a:gd name="connsiteY1988" fmla="*/ 2032729 h 8684653"/>
              <a:gd name="connsiteX1989" fmla="*/ 15045532 w 16408544"/>
              <a:gd name="connsiteY1989" fmla="*/ 2092627 h 8684653"/>
              <a:gd name="connsiteX1990" fmla="*/ 14948646 w 16408544"/>
              <a:gd name="connsiteY1990" fmla="*/ 2092627 h 8684653"/>
              <a:gd name="connsiteX1991" fmla="*/ 14763242 w 16408544"/>
              <a:gd name="connsiteY1991" fmla="*/ 2272942 h 8684653"/>
              <a:gd name="connsiteX1992" fmla="*/ 14674282 w 16408544"/>
              <a:gd name="connsiteY1992" fmla="*/ 2272942 h 8684653"/>
              <a:gd name="connsiteX1993" fmla="*/ 14537321 w 16408544"/>
              <a:gd name="connsiteY1993" fmla="*/ 2238493 h 8684653"/>
              <a:gd name="connsiteX1994" fmla="*/ 14230808 w 16408544"/>
              <a:gd name="connsiteY1994" fmla="*/ 2272942 h 8684653"/>
              <a:gd name="connsiteX1995" fmla="*/ 14045404 w 16408544"/>
              <a:gd name="connsiteY1995" fmla="*/ 2435877 h 8684653"/>
              <a:gd name="connsiteX1996" fmla="*/ 13924296 w 16408544"/>
              <a:gd name="connsiteY1996" fmla="*/ 2573053 h 8684653"/>
              <a:gd name="connsiteX1997" fmla="*/ 14069625 w 16408544"/>
              <a:gd name="connsiteY1997" fmla="*/ 2624571 h 8684653"/>
              <a:gd name="connsiteX1998" fmla="*/ 14171796 w 16408544"/>
              <a:gd name="connsiteY1998" fmla="*/ 2735367 h 8684653"/>
              <a:gd name="connsiteX1999" fmla="*/ 14143611 w 16408544"/>
              <a:gd name="connsiteY1999" fmla="*/ 2830024 h 8684653"/>
              <a:gd name="connsiteX2000" fmla="*/ 14125995 w 16408544"/>
              <a:gd name="connsiteY2000" fmla="*/ 2959131 h 8684653"/>
              <a:gd name="connsiteX2001" fmla="*/ 14054652 w 16408544"/>
              <a:gd name="connsiteY2001" fmla="*/ 3087306 h 8684653"/>
              <a:gd name="connsiteX2002" fmla="*/ 13811556 w 16408544"/>
              <a:gd name="connsiteY2002" fmla="*/ 3362589 h 8684653"/>
              <a:gd name="connsiteX2003" fmla="*/ 13698375 w 16408544"/>
              <a:gd name="connsiteY2003" fmla="*/ 3345209 h 8684653"/>
              <a:gd name="connsiteX2004" fmla="*/ 13625710 w 16408544"/>
              <a:gd name="connsiteY2004" fmla="*/ 3451660 h 8684653"/>
              <a:gd name="connsiteX2005" fmla="*/ 13579029 w 16408544"/>
              <a:gd name="connsiteY2005" fmla="*/ 3494488 h 8684653"/>
              <a:gd name="connsiteX2006" fmla="*/ 13531026 w 16408544"/>
              <a:gd name="connsiteY2006" fmla="*/ 3520248 h 8684653"/>
              <a:gd name="connsiteX2007" fmla="*/ 13558330 w 16408544"/>
              <a:gd name="connsiteY2007" fmla="*/ 3580456 h 8684653"/>
              <a:gd name="connsiteX2008" fmla="*/ 13617784 w 16408544"/>
              <a:gd name="connsiteY2008" fmla="*/ 3724459 h 8684653"/>
              <a:gd name="connsiteX2009" fmla="*/ 13585635 w 16408544"/>
              <a:gd name="connsiteY2009" fmla="*/ 3789633 h 8684653"/>
              <a:gd name="connsiteX2010" fmla="*/ 13535430 w 16408544"/>
              <a:gd name="connsiteY2010" fmla="*/ 3810116 h 8684653"/>
              <a:gd name="connsiteX2011" fmla="*/ 13503282 w 16408544"/>
              <a:gd name="connsiteY2011" fmla="*/ 3825634 h 8684653"/>
              <a:gd name="connsiteX2012" fmla="*/ 13479060 w 16408544"/>
              <a:gd name="connsiteY2012" fmla="*/ 3825634 h 8684653"/>
              <a:gd name="connsiteX2013" fmla="*/ 13488749 w 16408544"/>
              <a:gd name="connsiteY2013" fmla="*/ 3803289 h 8684653"/>
              <a:gd name="connsiteX2014" fmla="*/ 13480822 w 16408544"/>
              <a:gd name="connsiteY2014" fmla="*/ 3786219 h 8684653"/>
              <a:gd name="connsiteX2015" fmla="*/ 13495354 w 16408544"/>
              <a:gd name="connsiteY2015" fmla="*/ 3746805 h 8684653"/>
              <a:gd name="connsiteX2016" fmla="*/ 13486987 w 16408544"/>
              <a:gd name="connsiteY2016" fmla="*/ 3717632 h 8684653"/>
              <a:gd name="connsiteX2017" fmla="*/ 13471133 w 16408544"/>
              <a:gd name="connsiteY2017" fmla="*/ 3705528 h 8684653"/>
              <a:gd name="connsiteX2018" fmla="*/ 13471133 w 16408544"/>
              <a:gd name="connsiteY2018" fmla="*/ 3688458 h 8684653"/>
              <a:gd name="connsiteX2019" fmla="*/ 13496676 w 16408544"/>
              <a:gd name="connsiteY2019" fmla="*/ 3666113 h 8684653"/>
              <a:gd name="connsiteX2020" fmla="*/ 13453518 w 16408544"/>
              <a:gd name="connsiteY2020" fmla="*/ 3631974 h 8684653"/>
              <a:gd name="connsiteX2021" fmla="*/ 13430617 w 16408544"/>
              <a:gd name="connsiteY2021" fmla="*/ 3640354 h 8684653"/>
              <a:gd name="connsiteX2022" fmla="*/ 13414763 w 16408544"/>
              <a:gd name="connsiteY2022" fmla="*/ 3611181 h 8684653"/>
              <a:gd name="connsiteX2023" fmla="*/ 13432378 w 16408544"/>
              <a:gd name="connsiteY2023" fmla="*/ 3575180 h 8684653"/>
              <a:gd name="connsiteX2024" fmla="*/ 13432378 w 16408544"/>
              <a:gd name="connsiteY2024" fmla="*/ 3537317 h 8684653"/>
              <a:gd name="connsiteX2025" fmla="*/ 13380853 w 16408544"/>
              <a:gd name="connsiteY2025" fmla="*/ 3518385 h 8684653"/>
              <a:gd name="connsiteX2026" fmla="*/ 13246974 w 16408544"/>
              <a:gd name="connsiteY2026" fmla="*/ 3569904 h 8684653"/>
              <a:gd name="connsiteX2027" fmla="*/ 13277802 w 16408544"/>
              <a:gd name="connsiteY2027" fmla="*/ 3499454 h 8684653"/>
              <a:gd name="connsiteX2028" fmla="*/ 13246974 w 16408544"/>
              <a:gd name="connsiteY2028" fmla="*/ 3467177 h 8684653"/>
              <a:gd name="connsiteX2029" fmla="*/ 13220991 w 16408544"/>
              <a:gd name="connsiteY2029" fmla="*/ 3489523 h 8684653"/>
              <a:gd name="connsiteX2030" fmla="*/ 13151850 w 16408544"/>
              <a:gd name="connsiteY2030" fmla="*/ 3552835 h 8684653"/>
              <a:gd name="connsiteX2031" fmla="*/ 13082268 w 16408544"/>
              <a:gd name="connsiteY2031" fmla="*/ 3594111 h 8684653"/>
              <a:gd name="connsiteX2032" fmla="*/ 13116178 w 16408544"/>
              <a:gd name="connsiteY2032" fmla="*/ 3623284 h 8684653"/>
              <a:gd name="connsiteX2033" fmla="*/ 13148326 w 16408544"/>
              <a:gd name="connsiteY2033" fmla="*/ 3669527 h 8684653"/>
              <a:gd name="connsiteX2034" fmla="*/ 13190164 w 16408544"/>
              <a:gd name="connsiteY2034" fmla="*/ 3672941 h 8684653"/>
              <a:gd name="connsiteX2035" fmla="*/ 13213064 w 16408544"/>
              <a:gd name="connsiteY2035" fmla="*/ 3635388 h 8684653"/>
              <a:gd name="connsiteX2036" fmla="*/ 13248295 w 16408544"/>
              <a:gd name="connsiteY2036" fmla="*/ 3655871 h 8684653"/>
              <a:gd name="connsiteX2037" fmla="*/ 13308188 w 16408544"/>
              <a:gd name="connsiteY2037" fmla="*/ 3671079 h 8684653"/>
              <a:gd name="connsiteX2038" fmla="*/ 13191925 w 16408544"/>
              <a:gd name="connsiteY2038" fmla="*/ 3751770 h 8684653"/>
              <a:gd name="connsiteX2039" fmla="*/ 13158015 w 16408544"/>
              <a:gd name="connsiteY2039" fmla="*/ 3794599 h 8684653"/>
              <a:gd name="connsiteX2040" fmla="*/ 13201614 w 16408544"/>
              <a:gd name="connsiteY2040" fmla="*/ 3837738 h 8684653"/>
              <a:gd name="connsiteX2041" fmla="*/ 13203375 w 16408544"/>
              <a:gd name="connsiteY2041" fmla="*/ 3870325 h 8684653"/>
              <a:gd name="connsiteX2042" fmla="*/ 13206458 w 16408544"/>
              <a:gd name="connsiteY2042" fmla="*/ 3870325 h 8684653"/>
              <a:gd name="connsiteX2043" fmla="*/ 13204696 w 16408544"/>
              <a:gd name="connsiteY2043" fmla="*/ 3871877 h 8684653"/>
              <a:gd name="connsiteX2044" fmla="*/ 13224514 w 16408544"/>
              <a:gd name="connsiteY2044" fmla="*/ 3909740 h 8684653"/>
              <a:gd name="connsiteX2045" fmla="*/ 13269434 w 16408544"/>
              <a:gd name="connsiteY2045" fmla="*/ 4057467 h 8684653"/>
              <a:gd name="connsiteX2046" fmla="*/ 13245212 w 16408544"/>
              <a:gd name="connsiteY2046" fmla="*/ 4162056 h 8684653"/>
              <a:gd name="connsiteX2047" fmla="*/ 13167704 w 16408544"/>
              <a:gd name="connsiteY2047" fmla="*/ 4256403 h 8684653"/>
              <a:gd name="connsiteX2048" fmla="*/ 13103406 w 16408544"/>
              <a:gd name="connsiteY2048" fmla="*/ 4352302 h 8684653"/>
              <a:gd name="connsiteX2049" fmla="*/ 13079185 w 16408544"/>
              <a:gd name="connsiteY2049" fmla="*/ 4383337 h 8684653"/>
              <a:gd name="connsiteX2050" fmla="*/ 12942223 w 16408544"/>
              <a:gd name="connsiteY2050" fmla="*/ 4458753 h 8684653"/>
              <a:gd name="connsiteX2051" fmla="*/ 12901707 w 16408544"/>
              <a:gd name="connsiteY2051" fmla="*/ 4445097 h 8684653"/>
              <a:gd name="connsiteX2052" fmla="*/ 12882330 w 16408544"/>
              <a:gd name="connsiteY2052" fmla="*/ 4477684 h 8684653"/>
              <a:gd name="connsiteX2053" fmla="*/ 12801738 w 16408544"/>
              <a:gd name="connsiteY2053" fmla="*/ 4506857 h 8684653"/>
              <a:gd name="connsiteX2054" fmla="*/ 12745368 w 16408544"/>
              <a:gd name="connsiteY2054" fmla="*/ 4530754 h 8684653"/>
              <a:gd name="connsiteX2055" fmla="*/ 12724230 w 16408544"/>
              <a:gd name="connsiteY2055" fmla="*/ 4566755 h 8684653"/>
              <a:gd name="connsiteX2056" fmla="*/ 12716302 w 16408544"/>
              <a:gd name="connsiteY2056" fmla="*/ 4523926 h 8684653"/>
              <a:gd name="connsiteX2057" fmla="*/ 12638794 w 16408544"/>
              <a:gd name="connsiteY2057" fmla="*/ 4504995 h 8684653"/>
              <a:gd name="connsiteX2058" fmla="*/ 12527374 w 16408544"/>
              <a:gd name="connsiteY2058" fmla="*/ 4644033 h 8684653"/>
              <a:gd name="connsiteX2059" fmla="*/ 12541907 w 16408544"/>
              <a:gd name="connsiteY2059" fmla="*/ 4669792 h 8684653"/>
              <a:gd name="connsiteX2060" fmla="*/ 12635710 w 16408544"/>
              <a:gd name="connsiteY2060" fmla="*/ 4781208 h 8684653"/>
              <a:gd name="connsiteX2061" fmla="*/ 12700008 w 16408544"/>
              <a:gd name="connsiteY2061" fmla="*/ 4940730 h 8684653"/>
              <a:gd name="connsiteX2062" fmla="*/ 12680630 w 16408544"/>
              <a:gd name="connsiteY2062" fmla="*/ 5026697 h 8684653"/>
              <a:gd name="connsiteX2063" fmla="*/ 12582423 w 16408544"/>
              <a:gd name="connsiteY2063" fmla="*/ 5081319 h 8684653"/>
              <a:gd name="connsiteX2064" fmla="*/ 12546752 w 16408544"/>
              <a:gd name="connsiteY2064" fmla="*/ 5119492 h 8684653"/>
              <a:gd name="connsiteX2065" fmla="*/ 12541907 w 16408544"/>
              <a:gd name="connsiteY2065" fmla="*/ 5103975 h 8684653"/>
              <a:gd name="connsiteX2066" fmla="*/ 12541907 w 16408544"/>
              <a:gd name="connsiteY2066" fmla="*/ 5122906 h 8684653"/>
              <a:gd name="connsiteX2067" fmla="*/ 12503153 w 16408544"/>
              <a:gd name="connsiteY2067" fmla="*/ 5165735 h 8684653"/>
              <a:gd name="connsiteX2068" fmla="*/ 12490382 w 16408544"/>
              <a:gd name="connsiteY2068" fmla="*/ 5131286 h 8684653"/>
              <a:gd name="connsiteX2069" fmla="*/ 12496547 w 16408544"/>
              <a:gd name="connsiteY2069" fmla="*/ 5107389 h 8684653"/>
              <a:gd name="connsiteX2070" fmla="*/ 12485537 w 16408544"/>
              <a:gd name="connsiteY2070" fmla="*/ 5081319 h 8684653"/>
              <a:gd name="connsiteX2071" fmla="*/ 12429167 w 16408544"/>
              <a:gd name="connsiteY2071" fmla="*/ 5047180 h 8684653"/>
              <a:gd name="connsiteX2072" fmla="*/ 12391734 w 16408544"/>
              <a:gd name="connsiteY2072" fmla="*/ 5000938 h 8684653"/>
              <a:gd name="connsiteX2073" fmla="*/ 12320830 w 16408544"/>
              <a:gd name="connsiteY2073" fmla="*/ 4966489 h 8684653"/>
              <a:gd name="connsiteX2074" fmla="*/ 12312904 w 16408544"/>
              <a:gd name="connsiteY2074" fmla="*/ 4944454 h 8684653"/>
              <a:gd name="connsiteX2075" fmla="*/ 12271066 w 16408544"/>
              <a:gd name="connsiteY2075" fmla="*/ 4922108 h 8684653"/>
              <a:gd name="connsiteX2076" fmla="*/ 12261378 w 16408544"/>
              <a:gd name="connsiteY2076" fmla="*/ 4940730 h 8684653"/>
              <a:gd name="connsiteX2077" fmla="*/ 12267544 w 16408544"/>
              <a:gd name="connsiteY2077" fmla="*/ 4973627 h 8684653"/>
              <a:gd name="connsiteX2078" fmla="*/ 12220862 w 16408544"/>
              <a:gd name="connsiteY2078" fmla="*/ 5085043 h 8684653"/>
              <a:gd name="connsiteX2079" fmla="*/ 12275911 w 16408544"/>
              <a:gd name="connsiteY2079" fmla="*/ 5167287 h 8684653"/>
              <a:gd name="connsiteX2080" fmla="*/ 12272828 w 16408544"/>
              <a:gd name="connsiteY2080" fmla="*/ 5167287 h 8684653"/>
              <a:gd name="connsiteX2081" fmla="*/ 12291765 w 16408544"/>
              <a:gd name="connsiteY2081" fmla="*/ 5222219 h 8684653"/>
              <a:gd name="connsiteX2082" fmla="*/ 12430488 w 16408544"/>
              <a:gd name="connsiteY2082" fmla="*/ 5364671 h 8684653"/>
              <a:gd name="connsiteX2083" fmla="*/ 12424322 w 16408544"/>
              <a:gd name="connsiteY2083" fmla="*/ 5397258 h 8684653"/>
              <a:gd name="connsiteX2084" fmla="*/ 12454710 w 16408544"/>
              <a:gd name="connsiteY2084" fmla="*/ 5459018 h 8684653"/>
              <a:gd name="connsiteX2085" fmla="*/ 12469242 w 16408544"/>
              <a:gd name="connsiteY2085" fmla="*/ 5508984 h 8684653"/>
              <a:gd name="connsiteX2086" fmla="*/ 12448104 w 16408544"/>
              <a:gd name="connsiteY2086" fmla="*/ 5510536 h 8684653"/>
              <a:gd name="connsiteX2087" fmla="*/ 12437094 w 16408544"/>
              <a:gd name="connsiteY2087" fmla="*/ 5517364 h 8684653"/>
              <a:gd name="connsiteX2088" fmla="*/ 12409790 w 16408544"/>
              <a:gd name="connsiteY2088" fmla="*/ 5501846 h 8684653"/>
              <a:gd name="connsiteX2089" fmla="*/ 12296609 w 16408544"/>
              <a:gd name="connsiteY2089" fmla="*/ 5376774 h 8684653"/>
              <a:gd name="connsiteX2090" fmla="*/ 12261378 w 16408544"/>
              <a:gd name="connsiteY2090" fmla="*/ 5251392 h 8684653"/>
              <a:gd name="connsiteX2091" fmla="*/ 12212935 w 16408544"/>
              <a:gd name="connsiteY2091" fmla="*/ 5165735 h 8684653"/>
              <a:gd name="connsiteX2092" fmla="*/ 12191796 w 16408544"/>
              <a:gd name="connsiteY2092" fmla="*/ 5165735 h 8684653"/>
              <a:gd name="connsiteX2093" fmla="*/ 12191796 w 16408544"/>
              <a:gd name="connsiteY2093" fmla="*/ 5155183 h 8684653"/>
              <a:gd name="connsiteX2094" fmla="*/ 12199723 w 16408544"/>
              <a:gd name="connsiteY2094" fmla="*/ 5090319 h 8684653"/>
              <a:gd name="connsiteX2095" fmla="*/ 12203246 w 16408544"/>
              <a:gd name="connsiteY2095" fmla="*/ 5090319 h 8684653"/>
              <a:gd name="connsiteX2096" fmla="*/ 12208090 w 16408544"/>
              <a:gd name="connsiteY2096" fmla="*/ 5090319 h 8684653"/>
              <a:gd name="connsiteX2097" fmla="*/ 12208090 w 16408544"/>
              <a:gd name="connsiteY2097" fmla="*/ 5025145 h 8684653"/>
              <a:gd name="connsiteX2098" fmla="*/ 12165813 w 16408544"/>
              <a:gd name="connsiteY2098" fmla="*/ 4849796 h 8684653"/>
              <a:gd name="connsiteX2099" fmla="*/ 12156564 w 16408544"/>
              <a:gd name="connsiteY2099" fmla="*/ 4772829 h 8684653"/>
              <a:gd name="connsiteX2100" fmla="*/ 12135426 w 16408544"/>
              <a:gd name="connsiteY2100" fmla="*/ 4764139 h 8684653"/>
              <a:gd name="connsiteX2101" fmla="*/ 12120893 w 16408544"/>
              <a:gd name="connsiteY2101" fmla="*/ 4736828 h 8684653"/>
              <a:gd name="connsiteX2102" fmla="*/ 12036778 w 16408544"/>
              <a:gd name="connsiteY2102" fmla="*/ 4815658 h 8684653"/>
              <a:gd name="connsiteX2103" fmla="*/ 12011236 w 16408544"/>
              <a:gd name="connsiteY2103" fmla="*/ 4772829 h 8684653"/>
              <a:gd name="connsiteX2104" fmla="*/ 12019162 w 16408544"/>
              <a:gd name="connsiteY2104" fmla="*/ 4721310 h 8684653"/>
              <a:gd name="connsiteX2105" fmla="*/ 12009474 w 16408544"/>
              <a:gd name="connsiteY2105" fmla="*/ 4698965 h 8684653"/>
              <a:gd name="connsiteX2106" fmla="*/ 11962792 w 16408544"/>
              <a:gd name="connsiteY2106" fmla="*/ 4608032 h 8684653"/>
              <a:gd name="connsiteX2107" fmla="*/ 11909505 w 16408544"/>
              <a:gd name="connsiteY2107" fmla="*/ 4553100 h 8684653"/>
              <a:gd name="connsiteX2108" fmla="*/ 11893651 w 16408544"/>
              <a:gd name="connsiteY2108" fmla="*/ 4484512 h 8684653"/>
              <a:gd name="connsiteX2109" fmla="*/ 11835520 w 16408544"/>
              <a:gd name="connsiteY2109" fmla="*/ 4445097 h 8684653"/>
              <a:gd name="connsiteX2110" fmla="*/ 11748322 w 16408544"/>
              <a:gd name="connsiteY2110" fmla="*/ 4506857 h 8684653"/>
              <a:gd name="connsiteX2111" fmla="*/ 11709568 w 16408544"/>
              <a:gd name="connsiteY2111" fmla="*/ 4489477 h 8684653"/>
              <a:gd name="connsiteX2112" fmla="*/ 11659363 w 16408544"/>
              <a:gd name="connsiteY2112" fmla="*/ 4532616 h 8684653"/>
              <a:gd name="connsiteX2113" fmla="*/ 11640426 w 16408544"/>
              <a:gd name="connsiteY2113" fmla="*/ 4590963 h 8684653"/>
              <a:gd name="connsiteX2114" fmla="*/ 11538696 w 16408544"/>
              <a:gd name="connsiteY2114" fmla="*/ 4657688 h 8684653"/>
              <a:gd name="connsiteX2115" fmla="*/ 11446654 w 16408544"/>
              <a:gd name="connsiteY2115" fmla="*/ 4758863 h 8684653"/>
              <a:gd name="connsiteX2116" fmla="*/ 11404816 w 16408544"/>
              <a:gd name="connsiteY2116" fmla="*/ 4796726 h 8684653"/>
              <a:gd name="connsiteX2117" fmla="*/ 11341840 w 16408544"/>
              <a:gd name="connsiteY2117" fmla="*/ 4848245 h 8684653"/>
              <a:gd name="connsiteX2118" fmla="*/ 11353290 w 16408544"/>
              <a:gd name="connsiteY2118" fmla="*/ 4923660 h 8684653"/>
              <a:gd name="connsiteX2119" fmla="*/ 11333914 w 16408544"/>
              <a:gd name="connsiteY2119" fmla="*/ 5026697 h 8684653"/>
              <a:gd name="connsiteX2120" fmla="*/ 11341840 w 16408544"/>
              <a:gd name="connsiteY2120" fmla="*/ 5071388 h 8684653"/>
              <a:gd name="connsiteX2121" fmla="*/ 11333914 w 16408544"/>
              <a:gd name="connsiteY2121" fmla="*/ 5073250 h 8684653"/>
              <a:gd name="connsiteX2122" fmla="*/ 11317619 w 16408544"/>
              <a:gd name="connsiteY2122" fmla="*/ 5079767 h 8684653"/>
              <a:gd name="connsiteX2123" fmla="*/ 11286792 w 16408544"/>
              <a:gd name="connsiteY2123" fmla="*/ 5138114 h 8684653"/>
              <a:gd name="connsiteX2124" fmla="*/ 11256404 w 16408544"/>
              <a:gd name="connsiteY2124" fmla="*/ 5158907 h 8684653"/>
              <a:gd name="connsiteX2125" fmla="*/ 11235266 w 16408544"/>
              <a:gd name="connsiteY2125" fmla="*/ 5193356 h 8684653"/>
              <a:gd name="connsiteX2126" fmla="*/ 11211044 w 16408544"/>
              <a:gd name="connsiteY2126" fmla="*/ 5175977 h 8684653"/>
              <a:gd name="connsiteX2127" fmla="*/ 11196512 w 16408544"/>
              <a:gd name="connsiteY2127" fmla="*/ 5158907 h 8684653"/>
              <a:gd name="connsiteX2128" fmla="*/ 11154674 w 16408544"/>
              <a:gd name="connsiteY2128" fmla="*/ 5047180 h 8684653"/>
              <a:gd name="connsiteX2129" fmla="*/ 11119002 w 16408544"/>
              <a:gd name="connsiteY2129" fmla="*/ 4992248 h 8684653"/>
              <a:gd name="connsiteX2130" fmla="*/ 11101387 w 16408544"/>
              <a:gd name="connsiteY2130" fmla="*/ 4922108 h 8684653"/>
              <a:gd name="connsiteX2131" fmla="*/ 11082010 w 16408544"/>
              <a:gd name="connsiteY2131" fmla="*/ 4867176 h 8684653"/>
              <a:gd name="connsiteX2132" fmla="*/ 11033566 w 16408544"/>
              <a:gd name="connsiteY2132" fmla="*/ 4747070 h 8684653"/>
              <a:gd name="connsiteX2133" fmla="*/ 11006262 w 16408544"/>
              <a:gd name="connsiteY2133" fmla="*/ 4647447 h 8684653"/>
              <a:gd name="connsiteX2134" fmla="*/ 11003620 w 16408544"/>
              <a:gd name="connsiteY2134" fmla="*/ 4623239 h 8684653"/>
              <a:gd name="connsiteX2135" fmla="*/ 11004941 w 16408544"/>
              <a:gd name="connsiteY2135" fmla="*/ 4624481 h 8684653"/>
              <a:gd name="connsiteX2136" fmla="*/ 11012868 w 16408544"/>
              <a:gd name="connsiteY2136" fmla="*/ 4575445 h 8684653"/>
              <a:gd name="connsiteX2137" fmla="*/ 10996574 w 16408544"/>
              <a:gd name="connsiteY2137" fmla="*/ 4504995 h 8684653"/>
              <a:gd name="connsiteX2138" fmla="*/ 11006262 w 16408544"/>
              <a:gd name="connsiteY2138" fmla="*/ 4481098 h 8684653"/>
              <a:gd name="connsiteX2139" fmla="*/ 10993491 w 16408544"/>
              <a:gd name="connsiteY2139" fmla="*/ 4481098 h 8684653"/>
              <a:gd name="connsiteX2140" fmla="*/ 10928753 w 16408544"/>
              <a:gd name="connsiteY2140" fmla="*/ 4561789 h 8684653"/>
              <a:gd name="connsiteX2141" fmla="*/ 10835390 w 16408544"/>
              <a:gd name="connsiteY2141" fmla="*/ 4482650 h 8684653"/>
              <a:gd name="connsiteX2142" fmla="*/ 10875906 w 16408544"/>
              <a:gd name="connsiteY2142" fmla="*/ 4475822 h 8684653"/>
              <a:gd name="connsiteX2143" fmla="*/ 10896605 w 16408544"/>
              <a:gd name="connsiteY2143" fmla="*/ 4450063 h 8684653"/>
              <a:gd name="connsiteX2144" fmla="*/ 10859612 w 16408544"/>
              <a:gd name="connsiteY2144" fmla="*/ 4446649 h 8684653"/>
              <a:gd name="connsiteX2145" fmla="*/ 10764487 w 16408544"/>
              <a:gd name="connsiteY2145" fmla="*/ 4386751 h 8684653"/>
              <a:gd name="connsiteX2146" fmla="*/ 10722210 w 16408544"/>
              <a:gd name="connsiteY2146" fmla="*/ 4318163 h 8684653"/>
              <a:gd name="connsiteX2147" fmla="*/ 10673767 w 16408544"/>
              <a:gd name="connsiteY2147" fmla="*/ 4316611 h 8684653"/>
              <a:gd name="connsiteX2148" fmla="*/ 10633691 w 16408544"/>
              <a:gd name="connsiteY2148" fmla="*/ 4329956 h 8684653"/>
              <a:gd name="connsiteX2149" fmla="*/ 10591414 w 16408544"/>
              <a:gd name="connsiteY2149" fmla="*/ 4318163 h 8684653"/>
              <a:gd name="connsiteX2150" fmla="*/ 10577321 w 16408544"/>
              <a:gd name="connsiteY2150" fmla="*/ 4329956 h 8684653"/>
              <a:gd name="connsiteX2151" fmla="*/ 10520951 w 16408544"/>
              <a:gd name="connsiteY2151" fmla="*/ 4333681 h 8684653"/>
              <a:gd name="connsiteX2152" fmla="*/ 10512584 w 16408544"/>
              <a:gd name="connsiteY2152" fmla="*/ 4333681 h 8684653"/>
              <a:gd name="connsiteX2153" fmla="*/ 10367695 w 16408544"/>
              <a:gd name="connsiteY2153" fmla="*/ 4312887 h 8684653"/>
              <a:gd name="connsiteX2154" fmla="*/ 10310884 w 16408544"/>
              <a:gd name="connsiteY2154" fmla="*/ 4297369 h 8684653"/>
              <a:gd name="connsiteX2155" fmla="*/ 10261120 w 16408544"/>
              <a:gd name="connsiteY2155" fmla="*/ 4228782 h 8684653"/>
              <a:gd name="connsiteX2156" fmla="*/ 10227210 w 16408544"/>
              <a:gd name="connsiteY2156" fmla="*/ 4254541 h 8684653"/>
              <a:gd name="connsiteX2157" fmla="*/ 10146618 w 16408544"/>
              <a:gd name="connsiteY2157" fmla="*/ 4254541 h 8684653"/>
              <a:gd name="connsiteX2158" fmla="*/ 10091569 w 16408544"/>
              <a:gd name="connsiteY2158" fmla="*/ 4206436 h 8684653"/>
              <a:gd name="connsiteX2159" fmla="*/ 10028593 w 16408544"/>
              <a:gd name="connsiteY2159" fmla="*/ 4177263 h 8684653"/>
              <a:gd name="connsiteX2160" fmla="*/ 10020666 w 16408544"/>
              <a:gd name="connsiteY2160" fmla="*/ 4146538 h 8684653"/>
              <a:gd name="connsiteX2161" fmla="*/ 9922459 w 16408544"/>
              <a:gd name="connsiteY2161" fmla="*/ 4055605 h 8684653"/>
              <a:gd name="connsiteX2162" fmla="*/ 9889870 w 16408544"/>
              <a:gd name="connsiteY2162" fmla="*/ 4110537 h 8684653"/>
              <a:gd name="connsiteX2163" fmla="*/ 9893393 w 16408544"/>
              <a:gd name="connsiteY2163" fmla="*/ 4149952 h 8684653"/>
              <a:gd name="connsiteX2164" fmla="*/ 9985435 w 16408544"/>
              <a:gd name="connsiteY2164" fmla="*/ 4273472 h 8684653"/>
              <a:gd name="connsiteX2165" fmla="*/ 9996445 w 16408544"/>
              <a:gd name="connsiteY2165" fmla="*/ 4312887 h 8684653"/>
              <a:gd name="connsiteX2166" fmla="*/ 10028593 w 16408544"/>
              <a:gd name="connsiteY2166" fmla="*/ 4282162 h 8684653"/>
              <a:gd name="connsiteX2167" fmla="*/ 10030355 w 16408544"/>
              <a:gd name="connsiteY2167" fmla="*/ 4300783 h 8684653"/>
              <a:gd name="connsiteX2168" fmla="*/ 10019345 w 16408544"/>
              <a:gd name="connsiteY2168" fmla="*/ 4355716 h 8684653"/>
              <a:gd name="connsiteX2169" fmla="*/ 10085404 w 16408544"/>
              <a:gd name="connsiteY2169" fmla="*/ 4392027 h 8684653"/>
              <a:gd name="connsiteX2170" fmla="*/ 10259358 w 16408544"/>
              <a:gd name="connsiteY2170" fmla="*/ 4275334 h 8684653"/>
              <a:gd name="connsiteX2171" fmla="*/ 10259358 w 16408544"/>
              <a:gd name="connsiteY2171" fmla="*/ 4338646 h 8684653"/>
              <a:gd name="connsiteX2172" fmla="*/ 10359327 w 16408544"/>
              <a:gd name="connsiteY2172" fmla="*/ 4412510 h 8684653"/>
              <a:gd name="connsiteX2173" fmla="*/ 10390155 w 16408544"/>
              <a:gd name="connsiteY2173" fmla="*/ 4453477 h 8684653"/>
              <a:gd name="connsiteX2174" fmla="*/ 10390155 w 16408544"/>
              <a:gd name="connsiteY2174" fmla="*/ 4451925 h 8684653"/>
              <a:gd name="connsiteX2175" fmla="*/ 10420542 w 16408544"/>
              <a:gd name="connsiteY2175" fmla="*/ 4479546 h 8684653"/>
              <a:gd name="connsiteX2176" fmla="*/ 10373860 w 16408544"/>
              <a:gd name="connsiteY2176" fmla="*/ 4573583 h 8684653"/>
              <a:gd name="connsiteX2177" fmla="*/ 10327179 w 16408544"/>
              <a:gd name="connsiteY2177" fmla="*/ 4601204 h 8684653"/>
              <a:gd name="connsiteX2178" fmla="*/ 10302957 w 16408544"/>
              <a:gd name="connsiteY2178" fmla="*/ 4650861 h 8684653"/>
              <a:gd name="connsiteX2179" fmla="*/ 10256276 w 16408544"/>
              <a:gd name="connsiteY2179" fmla="*/ 4700827 h 8684653"/>
              <a:gd name="connsiteX2180" fmla="*/ 10210915 w 16408544"/>
              <a:gd name="connsiteY2180" fmla="*/ 4750484 h 8684653"/>
              <a:gd name="connsiteX2181" fmla="*/ 10069109 w 16408544"/>
              <a:gd name="connsiteY2181" fmla="*/ 4815658 h 8684653"/>
              <a:gd name="connsiteX2182" fmla="*/ 10075275 w 16408544"/>
              <a:gd name="connsiteY2182" fmla="*/ 4831175 h 8684653"/>
              <a:gd name="connsiteX2183" fmla="*/ 9949763 w 16408544"/>
              <a:gd name="connsiteY2183" fmla="*/ 4872142 h 8684653"/>
              <a:gd name="connsiteX2184" fmla="*/ 9844950 w 16408544"/>
              <a:gd name="connsiteY2184" fmla="*/ 4935764 h 8684653"/>
              <a:gd name="connsiteX2185" fmla="*/ 9794746 w 16408544"/>
              <a:gd name="connsiteY2185" fmla="*/ 4935764 h 8684653"/>
              <a:gd name="connsiteX2186" fmla="*/ 9729127 w 16408544"/>
              <a:gd name="connsiteY2186" fmla="*/ 4970523 h 8684653"/>
              <a:gd name="connsiteX2187" fmla="*/ 9718998 w 16408544"/>
              <a:gd name="connsiteY2187" fmla="*/ 4977041 h 8684653"/>
              <a:gd name="connsiteX2188" fmla="*/ 9668794 w 16408544"/>
              <a:gd name="connsiteY2188" fmla="*/ 4953454 h 8684653"/>
              <a:gd name="connsiteX2189" fmla="*/ 9666592 w 16408544"/>
              <a:gd name="connsiteY2189" fmla="*/ 4934212 h 8684653"/>
              <a:gd name="connsiteX2190" fmla="*/ 9638406 w 16408544"/>
              <a:gd name="connsiteY2190" fmla="*/ 4846382 h 8684653"/>
              <a:gd name="connsiteX2191" fmla="*/ 9636645 w 16408544"/>
              <a:gd name="connsiteY2191" fmla="*/ 4796726 h 8684653"/>
              <a:gd name="connsiteX2192" fmla="*/ 9599652 w 16408544"/>
              <a:gd name="connsiteY2192" fmla="*/ 4724724 h 8684653"/>
              <a:gd name="connsiteX2193" fmla="*/ 9535355 w 16408544"/>
              <a:gd name="connsiteY2193" fmla="*/ 4603687 h 8684653"/>
              <a:gd name="connsiteX2194" fmla="*/ 9465773 w 16408544"/>
              <a:gd name="connsiteY2194" fmla="*/ 4489477 h 8684653"/>
              <a:gd name="connsiteX2195" fmla="*/ 9438469 w 16408544"/>
              <a:gd name="connsiteY2195" fmla="*/ 4409096 h 8684653"/>
              <a:gd name="connsiteX2196" fmla="*/ 9417330 w 16408544"/>
              <a:gd name="connsiteY2196" fmla="*/ 4386751 h 8684653"/>
              <a:gd name="connsiteX2197" fmla="*/ 9385182 w 16408544"/>
              <a:gd name="connsiteY2197" fmla="*/ 4378371 h 8684653"/>
              <a:gd name="connsiteX2198" fmla="*/ 9375493 w 16408544"/>
              <a:gd name="connsiteY2198" fmla="*/ 4331818 h 8684653"/>
              <a:gd name="connsiteX2199" fmla="*/ 9352592 w 16408544"/>
              <a:gd name="connsiteY2199" fmla="*/ 4290542 h 8684653"/>
              <a:gd name="connsiteX2200" fmla="*/ 9299746 w 16408544"/>
              <a:gd name="connsiteY2200" fmla="*/ 4204884 h 8684653"/>
              <a:gd name="connsiteX2201" fmla="*/ 9272441 w 16408544"/>
              <a:gd name="connsiteY2201" fmla="*/ 4163608 h 8684653"/>
              <a:gd name="connsiteX2202" fmla="*/ 9280808 w 16408544"/>
              <a:gd name="connsiteY2202" fmla="*/ 4109296 h 8684653"/>
              <a:gd name="connsiteX2203" fmla="*/ 9251302 w 16408544"/>
              <a:gd name="connsiteY2203" fmla="*/ 4194643 h 8684653"/>
              <a:gd name="connsiteX2204" fmla="*/ 9162343 w 16408544"/>
              <a:gd name="connsiteY2204" fmla="*/ 4082916 h 8684653"/>
              <a:gd name="connsiteX2205" fmla="*/ 9162343 w 16408544"/>
              <a:gd name="connsiteY2205" fmla="*/ 4112089 h 8684653"/>
              <a:gd name="connsiteX2206" fmla="*/ 9316040 w 16408544"/>
              <a:gd name="connsiteY2206" fmla="*/ 4400406 h 8684653"/>
              <a:gd name="connsiteX2207" fmla="*/ 9380337 w 16408544"/>
              <a:gd name="connsiteY2207" fmla="*/ 4532616 h 8684653"/>
              <a:gd name="connsiteX2208" fmla="*/ 9380337 w 16408544"/>
              <a:gd name="connsiteY2208" fmla="*/ 4623550 h 8684653"/>
              <a:gd name="connsiteX2209" fmla="*/ 9453002 w 16408544"/>
              <a:gd name="connsiteY2209" fmla="*/ 4704241 h 8684653"/>
              <a:gd name="connsiteX2210" fmla="*/ 9493077 w 16408544"/>
              <a:gd name="connsiteY2210" fmla="*/ 4820623 h 8684653"/>
              <a:gd name="connsiteX2211" fmla="*/ 9565742 w 16408544"/>
              <a:gd name="connsiteY2211" fmla="*/ 4872142 h 8684653"/>
              <a:gd name="connsiteX2212" fmla="*/ 9658664 w 16408544"/>
              <a:gd name="connsiteY2212" fmla="*/ 4964006 h 8684653"/>
              <a:gd name="connsiteX2213" fmla="*/ 9657784 w 16408544"/>
              <a:gd name="connsiteY2213" fmla="*/ 5018007 h 8684653"/>
              <a:gd name="connsiteX2214" fmla="*/ 9726925 w 16408544"/>
              <a:gd name="connsiteY2214" fmla="*/ 5090009 h 8684653"/>
              <a:gd name="connsiteX2215" fmla="*/ 9775368 w 16408544"/>
              <a:gd name="connsiteY2215" fmla="*/ 5061146 h 8684653"/>
              <a:gd name="connsiteX2216" fmla="*/ 9840106 w 16408544"/>
              <a:gd name="connsiteY2216" fmla="*/ 5061146 h 8684653"/>
              <a:gd name="connsiteX2217" fmla="*/ 10017584 w 16408544"/>
              <a:gd name="connsiteY2217" fmla="*/ 5009628 h 8684653"/>
              <a:gd name="connsiteX2218" fmla="*/ 10028593 w 16408544"/>
              <a:gd name="connsiteY2218" fmla="*/ 5035077 h 8684653"/>
              <a:gd name="connsiteX2219" fmla="*/ 9915853 w 16408544"/>
              <a:gd name="connsiteY2219" fmla="*/ 5318428 h 8684653"/>
              <a:gd name="connsiteX2220" fmla="*/ 9786818 w 16408544"/>
              <a:gd name="connsiteY2220" fmla="*/ 5498432 h 8684653"/>
              <a:gd name="connsiteX2221" fmla="*/ 9525226 w 16408544"/>
              <a:gd name="connsiteY2221" fmla="*/ 5768128 h 8684653"/>
              <a:gd name="connsiteX2222" fmla="*/ 9472379 w 16408544"/>
              <a:gd name="connsiteY2222" fmla="*/ 5871165 h 8684653"/>
              <a:gd name="connsiteX2223" fmla="*/ 9485150 w 16408544"/>
              <a:gd name="connsiteY2223" fmla="*/ 5999651 h 8684653"/>
              <a:gd name="connsiteX2224" fmla="*/ 9545044 w 16408544"/>
              <a:gd name="connsiteY2224" fmla="*/ 6119447 h 8684653"/>
              <a:gd name="connsiteX2225" fmla="*/ 9533593 w 16408544"/>
              <a:gd name="connsiteY2225" fmla="*/ 6145517 h 8684653"/>
              <a:gd name="connsiteX2226" fmla="*/ 9533593 w 16408544"/>
              <a:gd name="connsiteY2226" fmla="*/ 6188345 h 8684653"/>
              <a:gd name="connsiteX2227" fmla="*/ 9528749 w 16408544"/>
              <a:gd name="connsiteY2227" fmla="*/ 6296347 h 8684653"/>
              <a:gd name="connsiteX2228" fmla="*/ 9541520 w 16408544"/>
              <a:gd name="connsiteY2228" fmla="*/ 6330797 h 8684653"/>
              <a:gd name="connsiteX2229" fmla="*/ 9310755 w 16408544"/>
              <a:gd name="connsiteY2229" fmla="*/ 6562319 h 8684653"/>
              <a:gd name="connsiteX2230" fmla="*/ 9262752 w 16408544"/>
              <a:gd name="connsiteY2230" fmla="*/ 6613838 h 8684653"/>
              <a:gd name="connsiteX2231" fmla="*/ 9307672 w 16408544"/>
              <a:gd name="connsiteY2231" fmla="*/ 6728668 h 8684653"/>
              <a:gd name="connsiteX2232" fmla="*/ 9294901 w 16408544"/>
              <a:gd name="connsiteY2232" fmla="*/ 6827981 h 8684653"/>
              <a:gd name="connsiteX2233" fmla="*/ 9246458 w 16408544"/>
              <a:gd name="connsiteY2233" fmla="*/ 6840085 h 8684653"/>
              <a:gd name="connsiteX2234" fmla="*/ 9165866 w 16408544"/>
              <a:gd name="connsiteY2234" fmla="*/ 6921087 h 8684653"/>
              <a:gd name="connsiteX2235" fmla="*/ 9190088 w 16408544"/>
              <a:gd name="connsiteY2235" fmla="*/ 6956777 h 8684653"/>
              <a:gd name="connsiteX2236" fmla="*/ 9125350 w 16408544"/>
              <a:gd name="connsiteY2236" fmla="*/ 7063538 h 8684653"/>
              <a:gd name="connsiteX2237" fmla="*/ 9061053 w 16408544"/>
              <a:gd name="connsiteY2237" fmla="*/ 7174955 h 8684653"/>
              <a:gd name="connsiteX2238" fmla="*/ 8936863 w 16408544"/>
              <a:gd name="connsiteY2238" fmla="*/ 7312131 h 8684653"/>
              <a:gd name="connsiteX2239" fmla="*/ 8864198 w 16408544"/>
              <a:gd name="connsiteY2239" fmla="*/ 7343165 h 8684653"/>
              <a:gd name="connsiteX2240" fmla="*/ 8815755 w 16408544"/>
              <a:gd name="connsiteY2240" fmla="*/ 7354959 h 8684653"/>
              <a:gd name="connsiteX2241" fmla="*/ 8770395 w 16408544"/>
              <a:gd name="connsiteY2241" fmla="*/ 7337889 h 8684653"/>
              <a:gd name="connsiteX2242" fmla="*/ 8601285 w 16408544"/>
              <a:gd name="connsiteY2242" fmla="*/ 7389408 h 8684653"/>
              <a:gd name="connsiteX2243" fmla="*/ 8549318 w 16408544"/>
              <a:gd name="connsiteY2243" fmla="*/ 7354959 h 8684653"/>
              <a:gd name="connsiteX2244" fmla="*/ 8533464 w 16408544"/>
              <a:gd name="connsiteY2244" fmla="*/ 7363649 h 8684653"/>
              <a:gd name="connsiteX2245" fmla="*/ 8504398 w 16408544"/>
              <a:gd name="connsiteY2245" fmla="*/ 7277681 h 8684653"/>
              <a:gd name="connsiteX2246" fmla="*/ 8525537 w 16408544"/>
              <a:gd name="connsiteY2246" fmla="*/ 7231439 h 8684653"/>
              <a:gd name="connsiteX2247" fmla="*/ 8472250 w 16408544"/>
              <a:gd name="connsiteY2247" fmla="*/ 7137091 h 8684653"/>
              <a:gd name="connsiteX2248" fmla="*/ 8339692 w 16408544"/>
              <a:gd name="connsiteY2248" fmla="*/ 6780187 h 8684653"/>
              <a:gd name="connsiteX2249" fmla="*/ 8339692 w 16408544"/>
              <a:gd name="connsiteY2249" fmla="*/ 6733944 h 8684653"/>
              <a:gd name="connsiteX2250" fmla="*/ 8307544 w 16408544"/>
              <a:gd name="connsiteY2250" fmla="*/ 6677150 h 8684653"/>
              <a:gd name="connsiteX2251" fmla="*/ 8214181 w 16408544"/>
              <a:gd name="connsiteY2251" fmla="*/ 6419868 h 8684653"/>
              <a:gd name="connsiteX2252" fmla="*/ 8315911 w 16408544"/>
              <a:gd name="connsiteY2252" fmla="*/ 6179655 h 8684653"/>
              <a:gd name="connsiteX2253" fmla="*/ 8294772 w 16408544"/>
              <a:gd name="connsiteY2253" fmla="*/ 6081895 h 8684653"/>
              <a:gd name="connsiteX2254" fmla="*/ 8254256 w 16408544"/>
              <a:gd name="connsiteY2254" fmla="*/ 5939443 h 8684653"/>
              <a:gd name="connsiteX2255" fmla="*/ 8226952 w 16408544"/>
              <a:gd name="connsiteY2255" fmla="*/ 5836716 h 8684653"/>
              <a:gd name="connsiteX2256" fmla="*/ 8093073 w 16408544"/>
              <a:gd name="connsiteY2256" fmla="*/ 5639332 h 8684653"/>
              <a:gd name="connsiteX2257" fmla="*/ 8130066 w 16408544"/>
              <a:gd name="connsiteY2257" fmla="*/ 5570434 h 8684653"/>
              <a:gd name="connsiteX2258" fmla="*/ 8130066 w 16408544"/>
              <a:gd name="connsiteY2258" fmla="*/ 5544985 h 8684653"/>
              <a:gd name="connsiteX2259" fmla="*/ 8146360 w 16408544"/>
              <a:gd name="connsiteY2259" fmla="*/ 5459018 h 8684653"/>
              <a:gd name="connsiteX2260" fmla="*/ 8044630 w 16408544"/>
              <a:gd name="connsiteY2260" fmla="*/ 5387016 h 8684653"/>
              <a:gd name="connsiteX2261" fmla="*/ 7976810 w 16408544"/>
              <a:gd name="connsiteY2261" fmla="*/ 5387016 h 8684653"/>
              <a:gd name="connsiteX2262" fmla="*/ 7850858 w 16408544"/>
              <a:gd name="connsiteY2262" fmla="*/ 5287703 h 8684653"/>
              <a:gd name="connsiteX2263" fmla="*/ 7649599 w 16408544"/>
              <a:gd name="connsiteY2263" fmla="*/ 5347601 h 8684653"/>
              <a:gd name="connsiteX2264" fmla="*/ 7593229 w 16408544"/>
              <a:gd name="connsiteY2264" fmla="*/ 5378326 h 8684653"/>
              <a:gd name="connsiteX2265" fmla="*/ 7496342 w 16408544"/>
              <a:gd name="connsiteY2265" fmla="*/ 5352567 h 8684653"/>
              <a:gd name="connsiteX2266" fmla="*/ 7343086 w 16408544"/>
              <a:gd name="connsiteY2266" fmla="*/ 5387016 h 8684653"/>
              <a:gd name="connsiteX2267" fmla="*/ 7294643 w 16408544"/>
              <a:gd name="connsiteY2267" fmla="*/ 5373361 h 8684653"/>
              <a:gd name="connsiteX2268" fmla="*/ 7122010 w 16408544"/>
              <a:gd name="connsiteY2268" fmla="*/ 5223771 h 8684653"/>
              <a:gd name="connsiteX2269" fmla="*/ 7041436 w 16408544"/>
              <a:gd name="connsiteY2269" fmla="*/ 5098699 h 8684653"/>
              <a:gd name="connsiteX2270" fmla="*/ 6944548 w 16408544"/>
              <a:gd name="connsiteY2270" fmla="*/ 5002490 h 8684653"/>
              <a:gd name="connsiteX2271" fmla="*/ 6923413 w 16408544"/>
              <a:gd name="connsiteY2271" fmla="*/ 4978593 h 8684653"/>
              <a:gd name="connsiteX2272" fmla="*/ 6928694 w 16408544"/>
              <a:gd name="connsiteY2272" fmla="*/ 4978593 h 8684653"/>
              <a:gd name="connsiteX2273" fmla="*/ 6920328 w 16408544"/>
              <a:gd name="connsiteY2273" fmla="*/ 4923660 h 8684653"/>
              <a:gd name="connsiteX2274" fmla="*/ 6896109 w 16408544"/>
              <a:gd name="connsiteY2274" fmla="*/ 4867176 h 8684653"/>
              <a:gd name="connsiteX2275" fmla="*/ 6963927 w 16408544"/>
              <a:gd name="connsiteY2275" fmla="*/ 4712931 h 8684653"/>
              <a:gd name="connsiteX2276" fmla="*/ 6931778 w 16408544"/>
              <a:gd name="connsiteY2276" fmla="*/ 4520823 h 8684653"/>
              <a:gd name="connsiteX2277" fmla="*/ 6976700 w 16408544"/>
              <a:gd name="connsiteY2277" fmla="*/ 4438269 h 8684653"/>
              <a:gd name="connsiteX2278" fmla="*/ 7085017 w 16408544"/>
              <a:gd name="connsiteY2278" fmla="*/ 4223816 h 8684653"/>
              <a:gd name="connsiteX2279" fmla="*/ 7178380 w 16408544"/>
              <a:gd name="connsiteY2279" fmla="*/ 4177263 h 8684653"/>
              <a:gd name="connsiteX2280" fmla="*/ 7251044 w 16408544"/>
              <a:gd name="connsiteY2280" fmla="*/ 4099985 h 8684653"/>
              <a:gd name="connsiteX2281" fmla="*/ 7278349 w 16408544"/>
              <a:gd name="connsiteY2281" fmla="*/ 3966224 h 8684653"/>
              <a:gd name="connsiteX2282" fmla="*/ 7415751 w 16408544"/>
              <a:gd name="connsiteY2282" fmla="*/ 3803289 h 8684653"/>
              <a:gd name="connsiteX2283" fmla="*/ 7412228 w 16408544"/>
              <a:gd name="connsiteY2283" fmla="*/ 3803289 h 8684653"/>
              <a:gd name="connsiteX2284" fmla="*/ 7444376 w 16408544"/>
              <a:gd name="connsiteY2284" fmla="*/ 3757046 h 8684653"/>
              <a:gd name="connsiteX2285" fmla="*/ 7581778 w 16408544"/>
              <a:gd name="connsiteY2285" fmla="*/ 3799875 h 8684653"/>
              <a:gd name="connsiteX2286" fmla="*/ 7641231 w 16408544"/>
              <a:gd name="connsiteY2286" fmla="*/ 3769150 h 8684653"/>
              <a:gd name="connsiteX2287" fmla="*/ 7896218 w 16408544"/>
              <a:gd name="connsiteY2287" fmla="*/ 3688458 h 8684653"/>
              <a:gd name="connsiteX2288" fmla="*/ 7952588 w 16408544"/>
              <a:gd name="connsiteY2288" fmla="*/ 3705528 h 8684653"/>
              <a:gd name="connsiteX2289" fmla="*/ 8020408 w 16408544"/>
              <a:gd name="connsiteY2289" fmla="*/ 3679769 h 8684653"/>
              <a:gd name="connsiteX2290" fmla="*/ 8068851 w 16408544"/>
              <a:gd name="connsiteY2290" fmla="*/ 3691872 h 8684653"/>
              <a:gd name="connsiteX2291" fmla="*/ 8133589 w 16408544"/>
              <a:gd name="connsiteY2291" fmla="*/ 3666113 h 8684653"/>
              <a:gd name="connsiteX2292" fmla="*/ 8181592 w 16408544"/>
              <a:gd name="connsiteY2292" fmla="*/ 3696838 h 8684653"/>
              <a:gd name="connsiteX2293" fmla="*/ 8205813 w 16408544"/>
              <a:gd name="connsiteY2293" fmla="*/ 3686596 h 8684653"/>
              <a:gd name="connsiteX2294" fmla="*/ 8181592 w 16408544"/>
              <a:gd name="connsiteY2294" fmla="*/ 3731287 h 8684653"/>
              <a:gd name="connsiteX2295" fmla="*/ 8202730 w 16408544"/>
              <a:gd name="connsiteY2295" fmla="*/ 3769150 h 8684653"/>
              <a:gd name="connsiteX2296" fmla="*/ 8181592 w 16408544"/>
              <a:gd name="connsiteY2296" fmla="*/ 3834324 h 8684653"/>
              <a:gd name="connsiteX2297" fmla="*/ 8254256 w 16408544"/>
              <a:gd name="connsiteY2297" fmla="*/ 3914705 h 8684653"/>
              <a:gd name="connsiteX2298" fmla="*/ 8299616 w 16408544"/>
              <a:gd name="connsiteY2298" fmla="*/ 3914705 h 8684653"/>
              <a:gd name="connsiteX2299" fmla="*/ 8560769 w 16408544"/>
              <a:gd name="connsiteY2299" fmla="*/ 4052191 h 8684653"/>
              <a:gd name="connsiteX2300" fmla="*/ 8592917 w 16408544"/>
              <a:gd name="connsiteY2300" fmla="*/ 4026432 h 8684653"/>
              <a:gd name="connsiteX2301" fmla="*/ 8592917 w 16408544"/>
              <a:gd name="connsiteY2301" fmla="*/ 3991983 h 8684653"/>
              <a:gd name="connsiteX2302" fmla="*/ 8681876 w 16408544"/>
              <a:gd name="connsiteY2302" fmla="*/ 3919981 h 8684653"/>
              <a:gd name="connsiteX2303" fmla="*/ 8686721 w 16408544"/>
              <a:gd name="connsiteY2303" fmla="*/ 3923395 h 8684653"/>
              <a:gd name="connsiteX2304" fmla="*/ 8721952 w 16408544"/>
              <a:gd name="connsiteY2304" fmla="*/ 3923395 h 8684653"/>
              <a:gd name="connsiteX2305" fmla="*/ 8746173 w 16408544"/>
              <a:gd name="connsiteY2305" fmla="*/ 3962810 h 8684653"/>
              <a:gd name="connsiteX2306" fmla="*/ 8823682 w 16408544"/>
              <a:gd name="connsiteY2306" fmla="*/ 3980189 h 8684653"/>
              <a:gd name="connsiteX2307" fmla="*/ 9004683 w 16408544"/>
              <a:gd name="connsiteY2307" fmla="*/ 4026432 h 8684653"/>
              <a:gd name="connsiteX2308" fmla="*/ 9122268 w 16408544"/>
              <a:gd name="connsiteY2308" fmla="*/ 4000673 h 8684653"/>
              <a:gd name="connsiteX2309" fmla="*/ 9205942 w 16408544"/>
              <a:gd name="connsiteY2309" fmla="*/ 4023018 h 8684653"/>
              <a:gd name="connsiteX2310" fmla="*/ 9251302 w 16408544"/>
              <a:gd name="connsiteY2310" fmla="*/ 4009363 h 8684653"/>
              <a:gd name="connsiteX2311" fmla="*/ 9257028 w 16408544"/>
              <a:gd name="connsiteY2311" fmla="*/ 4021466 h 8684653"/>
              <a:gd name="connsiteX2312" fmla="*/ 9247779 w 16408544"/>
              <a:gd name="connsiteY2312" fmla="*/ 3998811 h 8684653"/>
              <a:gd name="connsiteX2313" fmla="*/ 9260991 w 16408544"/>
              <a:gd name="connsiteY2313" fmla="*/ 3980189 h 8684653"/>
              <a:gd name="connsiteX2314" fmla="*/ 9286534 w 16408544"/>
              <a:gd name="connsiteY2314" fmla="*/ 3888946 h 8684653"/>
              <a:gd name="connsiteX2315" fmla="*/ 9328811 w 16408544"/>
              <a:gd name="connsiteY2315" fmla="*/ 3806703 h 8684653"/>
              <a:gd name="connsiteX2316" fmla="*/ 9320884 w 16408544"/>
              <a:gd name="connsiteY2316" fmla="*/ 3733149 h 8684653"/>
              <a:gd name="connsiteX2317" fmla="*/ 9331894 w 16408544"/>
              <a:gd name="connsiteY2317" fmla="*/ 3715769 h 8684653"/>
              <a:gd name="connsiteX2318" fmla="*/ 9331894 w 16408544"/>
              <a:gd name="connsiteY2318" fmla="*/ 3698700 h 8684653"/>
              <a:gd name="connsiteX2319" fmla="*/ 9301067 w 16408544"/>
              <a:gd name="connsiteY2319" fmla="*/ 3714218 h 8684653"/>
              <a:gd name="connsiteX2320" fmla="*/ 9268918 w 16408544"/>
              <a:gd name="connsiteY2320" fmla="*/ 3700562 h 8684653"/>
              <a:gd name="connsiteX2321" fmla="*/ 9188326 w 16408544"/>
              <a:gd name="connsiteY2321" fmla="*/ 3743080 h 8684653"/>
              <a:gd name="connsiteX2322" fmla="*/ 9107735 w 16408544"/>
              <a:gd name="connsiteY2322" fmla="*/ 3700562 h 8684653"/>
              <a:gd name="connsiteX2323" fmla="*/ 9051365 w 16408544"/>
              <a:gd name="connsiteY2323" fmla="*/ 3739977 h 8684653"/>
              <a:gd name="connsiteX2324" fmla="*/ 8973856 w 16408544"/>
              <a:gd name="connsiteY2324" fmla="*/ 3708942 h 8684653"/>
              <a:gd name="connsiteX2325" fmla="*/ 8956240 w 16408544"/>
              <a:gd name="connsiteY2325" fmla="*/ 3708942 h 8684653"/>
              <a:gd name="connsiteX2326" fmla="*/ 8969012 w 16408544"/>
              <a:gd name="connsiteY2326" fmla="*/ 3698700 h 8684653"/>
              <a:gd name="connsiteX2327" fmla="*/ 8928496 w 16408544"/>
              <a:gd name="connsiteY2327" fmla="*/ 3645630 h 8684653"/>
              <a:gd name="connsiteX2328" fmla="*/ 8873887 w 16408544"/>
              <a:gd name="connsiteY2328" fmla="*/ 3613043 h 8684653"/>
              <a:gd name="connsiteX2329" fmla="*/ 8907797 w 16408544"/>
              <a:gd name="connsiteY2329" fmla="*/ 3566490 h 8684653"/>
              <a:gd name="connsiteX2330" fmla="*/ 8907797 w 16408544"/>
              <a:gd name="connsiteY2330" fmla="*/ 3546007 h 8684653"/>
              <a:gd name="connsiteX2331" fmla="*/ 8880052 w 16408544"/>
              <a:gd name="connsiteY2331" fmla="*/ 3537317 h 8684653"/>
              <a:gd name="connsiteX2332" fmla="*/ 9025382 w 16408544"/>
              <a:gd name="connsiteY2332" fmla="*/ 3478971 h 8684653"/>
              <a:gd name="connsiteX2333" fmla="*/ 9012610 w 16408544"/>
              <a:gd name="connsiteY2333" fmla="*/ 3458487 h 8684653"/>
              <a:gd name="connsiteX2334" fmla="*/ 9051365 w 16408544"/>
              <a:gd name="connsiteY2334" fmla="*/ 3449798 h 8684653"/>
              <a:gd name="connsiteX2335" fmla="*/ 9101129 w 16408544"/>
              <a:gd name="connsiteY2335" fmla="*/ 3449798 h 8684653"/>
              <a:gd name="connsiteX2336" fmla="*/ 9167628 w 16408544"/>
              <a:gd name="connsiteY2336" fmla="*/ 3415659 h 8684653"/>
              <a:gd name="connsiteX2337" fmla="*/ 9260991 w 16408544"/>
              <a:gd name="connsiteY2337" fmla="*/ 3400141 h 8684653"/>
              <a:gd name="connsiteX2338" fmla="*/ 9339821 w 16408544"/>
              <a:gd name="connsiteY2338" fmla="*/ 3425900 h 8684653"/>
              <a:gd name="connsiteX2339" fmla="*/ 9420853 w 16408544"/>
              <a:gd name="connsiteY2339" fmla="*/ 3460039 h 8684653"/>
              <a:gd name="connsiteX2340" fmla="*/ 9512454 w 16408544"/>
              <a:gd name="connsiteY2340" fmla="*/ 3460039 h 8684653"/>
              <a:gd name="connsiteX2341" fmla="*/ 9593486 w 16408544"/>
              <a:gd name="connsiteY2341" fmla="*/ 3420624 h 8684653"/>
              <a:gd name="connsiteX2342" fmla="*/ 9591725 w 16408544"/>
              <a:gd name="connsiteY2342" fmla="*/ 3421245 h 8684653"/>
              <a:gd name="connsiteX2343" fmla="*/ 9585119 w 16408544"/>
              <a:gd name="connsiteY2343" fmla="*/ 3422176 h 8684653"/>
              <a:gd name="connsiteX2344" fmla="*/ 9359198 w 16408544"/>
              <a:gd name="connsiteY2344" fmla="*/ 3202757 h 8684653"/>
              <a:gd name="connsiteX2345" fmla="*/ 9407641 w 16408544"/>
              <a:gd name="connsiteY2345" fmla="*/ 3120514 h 8684653"/>
              <a:gd name="connsiteX2346" fmla="*/ 9436707 w 16408544"/>
              <a:gd name="connsiteY2346" fmla="*/ 3091341 h 8684653"/>
              <a:gd name="connsiteX2347" fmla="*/ 9275524 w 16408544"/>
              <a:gd name="connsiteY2347" fmla="*/ 3168308 h 8684653"/>
              <a:gd name="connsiteX2348" fmla="*/ 9302828 w 16408544"/>
              <a:gd name="connsiteY2348" fmla="*/ 3194067 h 8684653"/>
              <a:gd name="connsiteX2349" fmla="*/ 9347748 w 16408544"/>
              <a:gd name="connsiteY2349" fmla="*/ 3200895 h 8684653"/>
              <a:gd name="connsiteX2350" fmla="*/ 9235008 w 16408544"/>
              <a:gd name="connsiteY2350" fmla="*/ 3254276 h 8684653"/>
              <a:gd name="connsiteX2351" fmla="*/ 9109496 w 16408544"/>
              <a:gd name="connsiteY2351" fmla="*/ 3125480 h 8684653"/>
              <a:gd name="connsiteX2352" fmla="*/ 9035070 w 16408544"/>
              <a:gd name="connsiteY2352" fmla="*/ 3180412 h 8684653"/>
              <a:gd name="connsiteX2353" fmla="*/ 9036832 w 16408544"/>
              <a:gd name="connsiteY2353" fmla="*/ 3206171 h 8684653"/>
              <a:gd name="connsiteX2354" fmla="*/ 9003362 w 16408544"/>
              <a:gd name="connsiteY2354" fmla="*/ 3235344 h 8684653"/>
              <a:gd name="connsiteX2355" fmla="*/ 8993233 w 16408544"/>
              <a:gd name="connsiteY2355" fmla="*/ 3259552 h 8684653"/>
              <a:gd name="connsiteX2356" fmla="*/ 8993233 w 16408544"/>
              <a:gd name="connsiteY2356" fmla="*/ 3304242 h 8684653"/>
              <a:gd name="connsiteX2357" fmla="*/ 8947873 w 16408544"/>
              <a:gd name="connsiteY2357" fmla="*/ 3379658 h 8684653"/>
              <a:gd name="connsiteX2358" fmla="*/ 9001160 w 16408544"/>
              <a:gd name="connsiteY2358" fmla="*/ 3453211 h 8684653"/>
              <a:gd name="connsiteX2359" fmla="*/ 8980021 w 16408544"/>
              <a:gd name="connsiteY2359" fmla="*/ 3460039 h 8684653"/>
              <a:gd name="connsiteX2360" fmla="*/ 8939946 w 16408544"/>
              <a:gd name="connsiteY2360" fmla="*/ 3465315 h 8684653"/>
              <a:gd name="connsiteX2361" fmla="*/ 8893264 w 16408544"/>
              <a:gd name="connsiteY2361" fmla="*/ 3497902 h 8684653"/>
              <a:gd name="connsiteX2362" fmla="*/ 8825444 w 16408544"/>
              <a:gd name="connsiteY2362" fmla="*/ 3463763 h 8684653"/>
              <a:gd name="connsiteX2363" fmla="*/ 8772156 w 16408544"/>
              <a:gd name="connsiteY2363" fmla="*/ 3485798 h 8684653"/>
              <a:gd name="connsiteX2364" fmla="*/ 8772156 w 16408544"/>
              <a:gd name="connsiteY2364" fmla="*/ 3523661 h 8684653"/>
              <a:gd name="connsiteX2365" fmla="*/ 8730319 w 16408544"/>
              <a:gd name="connsiteY2365" fmla="*/ 3497902 h 8684653"/>
              <a:gd name="connsiteX2366" fmla="*/ 8712704 w 16408544"/>
              <a:gd name="connsiteY2366" fmla="*/ 3516834 h 8684653"/>
              <a:gd name="connsiteX2367" fmla="*/ 8743091 w 16408544"/>
              <a:gd name="connsiteY2367" fmla="*/ 3554697 h 8684653"/>
              <a:gd name="connsiteX2368" fmla="*/ 8736485 w 16408544"/>
              <a:gd name="connsiteY2368" fmla="*/ 3575180 h 8684653"/>
              <a:gd name="connsiteX2369" fmla="*/ 8793295 w 16408544"/>
              <a:gd name="connsiteY2369" fmla="*/ 3623284 h 8684653"/>
              <a:gd name="connsiteX2370" fmla="*/ 8799461 w 16408544"/>
              <a:gd name="connsiteY2370" fmla="*/ 3638492 h 8684653"/>
              <a:gd name="connsiteX2371" fmla="*/ 8772156 w 16408544"/>
              <a:gd name="connsiteY2371" fmla="*/ 3649044 h 8684653"/>
              <a:gd name="connsiteX2372" fmla="*/ 8769074 w 16408544"/>
              <a:gd name="connsiteY2372" fmla="*/ 3649044 h 8684653"/>
              <a:gd name="connsiteX2373" fmla="*/ 8727237 w 16408544"/>
              <a:gd name="connsiteY2373" fmla="*/ 3623284 h 8684653"/>
              <a:gd name="connsiteX2374" fmla="*/ 8727237 w 16408544"/>
              <a:gd name="connsiteY2374" fmla="*/ 3636940 h 8684653"/>
              <a:gd name="connsiteX2375" fmla="*/ 8736485 w 16408544"/>
              <a:gd name="connsiteY2375" fmla="*/ 3666113 h 8684653"/>
              <a:gd name="connsiteX2376" fmla="*/ 8736485 w 16408544"/>
              <a:gd name="connsiteY2376" fmla="*/ 3705528 h 8684653"/>
              <a:gd name="connsiteX2377" fmla="*/ 8714025 w 16408544"/>
              <a:gd name="connsiteY2377" fmla="*/ 3705528 h 8684653"/>
              <a:gd name="connsiteX2378" fmla="*/ 8665582 w 16408544"/>
              <a:gd name="connsiteY2378" fmla="*/ 3649044 h 8684653"/>
              <a:gd name="connsiteX2379" fmla="*/ 8686721 w 16408544"/>
              <a:gd name="connsiteY2379" fmla="*/ 3623284 h 8684653"/>
              <a:gd name="connsiteX2380" fmla="*/ 8658976 w 16408544"/>
              <a:gd name="connsiteY2380" fmla="*/ 3623284 h 8684653"/>
              <a:gd name="connsiteX2381" fmla="*/ 8649728 w 16408544"/>
              <a:gd name="connsiteY2381" fmla="*/ 3604353 h 8684653"/>
              <a:gd name="connsiteX2382" fmla="*/ 8615818 w 16408544"/>
              <a:gd name="connsiteY2382" fmla="*/ 3549421 h 8684653"/>
              <a:gd name="connsiteX2383" fmla="*/ 8570457 w 16408544"/>
              <a:gd name="connsiteY2383" fmla="*/ 3477419 h 8684653"/>
              <a:gd name="connsiteX2384" fmla="*/ 8570457 w 16408544"/>
              <a:gd name="connsiteY2384" fmla="*/ 3432728 h 8684653"/>
              <a:gd name="connsiteX2385" fmla="*/ 8512326 w 16408544"/>
              <a:gd name="connsiteY2385" fmla="*/ 3360727 h 8684653"/>
              <a:gd name="connsiteX2386" fmla="*/ 8463882 w 16408544"/>
              <a:gd name="connsiteY2386" fmla="*/ 3322864 h 8684653"/>
              <a:gd name="connsiteX2387" fmla="*/ 8441422 w 16408544"/>
              <a:gd name="connsiteY2387" fmla="*/ 3322864 h 8684653"/>
              <a:gd name="connsiteX2388" fmla="*/ 8365675 w 16408544"/>
              <a:gd name="connsiteY2388" fmla="*/ 3225103 h 8684653"/>
              <a:gd name="connsiteX2389" fmla="*/ 8317232 w 16408544"/>
              <a:gd name="connsiteY2389" fmla="*/ 3225103 h 8684653"/>
              <a:gd name="connsiteX2390" fmla="*/ 8296093 w 16408544"/>
              <a:gd name="connsiteY2390" fmla="*/ 3178860 h 8684653"/>
              <a:gd name="connsiteX2391" fmla="*/ 8243246 w 16408544"/>
              <a:gd name="connsiteY2391" fmla="*/ 3209585 h 8684653"/>
              <a:gd name="connsiteX2392" fmla="*/ 8251174 w 16408544"/>
              <a:gd name="connsiteY2392" fmla="*/ 3219827 h 8684653"/>
              <a:gd name="connsiteX2393" fmla="*/ 8244568 w 16408544"/>
              <a:gd name="connsiteY2393" fmla="*/ 3250862 h 8684653"/>
              <a:gd name="connsiteX2394" fmla="*/ 8278478 w 16408544"/>
              <a:gd name="connsiteY2394" fmla="*/ 3293690 h 8684653"/>
              <a:gd name="connsiteX2395" fmla="*/ 8320315 w 16408544"/>
              <a:gd name="connsiteY2395" fmla="*/ 3347071 h 8684653"/>
              <a:gd name="connsiteX2396" fmla="*/ 8351142 w 16408544"/>
              <a:gd name="connsiteY2396" fmla="*/ 3405107 h 8684653"/>
              <a:gd name="connsiteX2397" fmla="*/ 8415440 w 16408544"/>
              <a:gd name="connsiteY2397" fmla="*/ 3408521 h 8684653"/>
              <a:gd name="connsiteX2398" fmla="*/ 8412357 w 16408544"/>
              <a:gd name="connsiteY2398" fmla="*/ 3422176 h 8684653"/>
              <a:gd name="connsiteX2399" fmla="*/ 8454194 w 16408544"/>
              <a:gd name="connsiteY2399" fmla="*/ 3456625 h 8684653"/>
              <a:gd name="connsiteX2400" fmla="*/ 8520693 w 16408544"/>
              <a:gd name="connsiteY2400" fmla="*/ 3523661 h 8684653"/>
              <a:gd name="connsiteX2401" fmla="*/ 8468727 w 16408544"/>
              <a:gd name="connsiteY2401" fmla="*/ 3497902 h 8684653"/>
              <a:gd name="connsiteX2402" fmla="*/ 8433496 w 16408544"/>
              <a:gd name="connsiteY2402" fmla="*/ 3525524 h 8684653"/>
              <a:gd name="connsiteX2403" fmla="*/ 8462561 w 16408544"/>
              <a:gd name="connsiteY2403" fmla="*/ 3575180 h 8684653"/>
              <a:gd name="connsiteX2404" fmla="*/ 8441422 w 16408544"/>
              <a:gd name="connsiteY2404" fmla="*/ 3583559 h 8684653"/>
              <a:gd name="connsiteX2405" fmla="*/ 8407512 w 16408544"/>
              <a:gd name="connsiteY2405" fmla="*/ 3635078 h 8684653"/>
              <a:gd name="connsiteX2406" fmla="*/ 8389897 w 16408544"/>
              <a:gd name="connsiteY2406" fmla="*/ 3623284 h 8684653"/>
              <a:gd name="connsiteX2407" fmla="*/ 8417201 w 16408544"/>
              <a:gd name="connsiteY2407" fmla="*/ 3576732 h 8684653"/>
              <a:gd name="connsiteX2408" fmla="*/ 8400906 w 16408544"/>
              <a:gd name="connsiteY2408" fmla="*/ 3528937 h 8684653"/>
              <a:gd name="connsiteX2409" fmla="*/ 8355987 w 16408544"/>
              <a:gd name="connsiteY2409" fmla="*/ 3477729 h 8684653"/>
              <a:gd name="connsiteX2410" fmla="*/ 8325159 w 16408544"/>
              <a:gd name="connsiteY2410" fmla="*/ 3460039 h 8684653"/>
              <a:gd name="connsiteX2411" fmla="*/ 8236640 w 16408544"/>
              <a:gd name="connsiteY2411" fmla="*/ 3403555 h 8684653"/>
              <a:gd name="connsiteX2412" fmla="*/ 8197886 w 16408544"/>
              <a:gd name="connsiteY2412" fmla="*/ 3372520 h 8684653"/>
              <a:gd name="connsiteX2413" fmla="*/ 8097917 w 16408544"/>
              <a:gd name="connsiteY2413" fmla="*/ 3262966 h 8684653"/>
              <a:gd name="connsiteX2414" fmla="*/ 8052557 w 16408544"/>
              <a:gd name="connsiteY2414" fmla="*/ 3292139 h 8684653"/>
              <a:gd name="connsiteX2415" fmla="*/ 7965800 w 16408544"/>
              <a:gd name="connsiteY2415" fmla="*/ 3338381 h 8684653"/>
              <a:gd name="connsiteX2416" fmla="*/ 7875079 w 16408544"/>
              <a:gd name="connsiteY2416" fmla="*/ 3319450 h 8684653"/>
              <a:gd name="connsiteX2417" fmla="*/ 7825315 w 16408544"/>
              <a:gd name="connsiteY2417" fmla="*/ 3362589 h 8684653"/>
              <a:gd name="connsiteX2418" fmla="*/ 7835004 w 16408544"/>
              <a:gd name="connsiteY2418" fmla="*/ 3400141 h 8684653"/>
              <a:gd name="connsiteX2419" fmla="*/ 7755733 w 16408544"/>
              <a:gd name="connsiteY2419" fmla="*/ 3455074 h 8684653"/>
              <a:gd name="connsiteX2420" fmla="*/ 7679986 w 16408544"/>
              <a:gd name="connsiteY2420" fmla="*/ 3569904 h 8684653"/>
              <a:gd name="connsiteX2421" fmla="*/ 7696280 w 16408544"/>
              <a:gd name="connsiteY2421" fmla="*/ 3592249 h 8684653"/>
              <a:gd name="connsiteX2422" fmla="*/ 7631543 w 16408544"/>
              <a:gd name="connsiteY2422" fmla="*/ 3664251 h 8684653"/>
              <a:gd name="connsiteX2423" fmla="*/ 7576934 w 16408544"/>
              <a:gd name="connsiteY2423" fmla="*/ 3707390 h 8684653"/>
              <a:gd name="connsiteX2424" fmla="*/ 7576934 w 16408544"/>
              <a:gd name="connsiteY2424" fmla="*/ 3708942 h 8684653"/>
              <a:gd name="connsiteX2425" fmla="*/ 7526730 w 16408544"/>
              <a:gd name="connsiteY2425" fmla="*/ 3712356 h 8684653"/>
              <a:gd name="connsiteX2426" fmla="*/ 7431605 w 16408544"/>
              <a:gd name="connsiteY2426" fmla="*/ 3746805 h 8684653"/>
              <a:gd name="connsiteX2427" fmla="*/ 7368629 w 16408544"/>
              <a:gd name="connsiteY2427" fmla="*/ 3683182 h 8684653"/>
              <a:gd name="connsiteX2428" fmla="*/ 7299488 w 16408544"/>
              <a:gd name="connsiteY2428" fmla="*/ 3695286 h 8684653"/>
              <a:gd name="connsiteX2429" fmla="*/ 7286716 w 16408544"/>
              <a:gd name="connsiteY2429" fmla="*/ 3681320 h 8684653"/>
              <a:gd name="connsiteX2430" fmla="*/ 7286716 w 16408544"/>
              <a:gd name="connsiteY2430" fmla="*/ 3612732 h 8684653"/>
              <a:gd name="connsiteX2431" fmla="*/ 7260733 w 16408544"/>
              <a:gd name="connsiteY2431" fmla="*/ 3588835 h 8684653"/>
              <a:gd name="connsiteX2432" fmla="*/ 7278349 w 16408544"/>
              <a:gd name="connsiteY2432" fmla="*/ 3549421 h 8684653"/>
              <a:gd name="connsiteX2433" fmla="*/ 7292882 w 16408544"/>
              <a:gd name="connsiteY2433" fmla="*/ 3417521 h 8684653"/>
              <a:gd name="connsiteX2434" fmla="*/ 7275266 w 16408544"/>
              <a:gd name="connsiteY2434" fmla="*/ 3352037 h 8684653"/>
              <a:gd name="connsiteX2435" fmla="*/ 7339563 w 16408544"/>
              <a:gd name="connsiteY2435" fmla="*/ 3305794 h 8684653"/>
              <a:gd name="connsiteX2436" fmla="*/ 7363785 w 16408544"/>
              <a:gd name="connsiteY2436" fmla="*/ 3312622 h 8684653"/>
              <a:gd name="connsiteX2437" fmla="*/ 7436449 w 16408544"/>
              <a:gd name="connsiteY2437" fmla="*/ 3312622 h 8684653"/>
              <a:gd name="connsiteX2438" fmla="*/ 7463754 w 16408544"/>
              <a:gd name="connsiteY2438" fmla="*/ 3322864 h 8684653"/>
              <a:gd name="connsiteX2439" fmla="*/ 7541262 w 16408544"/>
              <a:gd name="connsiteY2439" fmla="*/ 3322864 h 8684653"/>
              <a:gd name="connsiteX2440" fmla="*/ 7586623 w 16408544"/>
              <a:gd name="connsiteY2440" fmla="*/ 3329691 h 8684653"/>
              <a:gd name="connsiteX2441" fmla="*/ 7626698 w 16408544"/>
              <a:gd name="connsiteY2441" fmla="*/ 3321312 h 8684653"/>
              <a:gd name="connsiteX2442" fmla="*/ 7647837 w 16408544"/>
              <a:gd name="connsiteY2442" fmla="*/ 3244034 h 8684653"/>
              <a:gd name="connsiteX2443" fmla="*/ 7646076 w 16408544"/>
              <a:gd name="connsiteY2443" fmla="*/ 3196861 h 8684653"/>
              <a:gd name="connsiteX2444" fmla="*/ 7642993 w 16408544"/>
              <a:gd name="connsiteY2444" fmla="*/ 3199343 h 8684653"/>
              <a:gd name="connsiteX2445" fmla="*/ 7649599 w 16408544"/>
              <a:gd name="connsiteY2445" fmla="*/ 3173584 h 8684653"/>
              <a:gd name="connsiteX2446" fmla="*/ 7639910 w 16408544"/>
              <a:gd name="connsiteY2446" fmla="*/ 3147825 h 8684653"/>
              <a:gd name="connsiteX2447" fmla="*/ 7597633 w 16408544"/>
              <a:gd name="connsiteY2447" fmla="*/ 3089479 h 8684653"/>
              <a:gd name="connsiteX2448" fmla="*/ 7578696 w 16408544"/>
              <a:gd name="connsiteY2448" fmla="*/ 3077685 h 8684653"/>
              <a:gd name="connsiteX2449" fmla="*/ 7481810 w 16408544"/>
              <a:gd name="connsiteY2449" fmla="*/ 3029581 h 8684653"/>
              <a:gd name="connsiteX2450" fmla="*/ 7480048 w 16408544"/>
              <a:gd name="connsiteY2450" fmla="*/ 3022753 h 8684653"/>
              <a:gd name="connsiteX2451" fmla="*/ 7541262 w 16408544"/>
              <a:gd name="connsiteY2451" fmla="*/ 2991718 h 8684653"/>
              <a:gd name="connsiteX2452" fmla="*/ 7584861 w 16408544"/>
              <a:gd name="connsiteY2452" fmla="*/ 3009098 h 8684653"/>
              <a:gd name="connsiteX2453" fmla="*/ 7621854 w 16408544"/>
              <a:gd name="connsiteY2453" fmla="*/ 3000408 h 8684653"/>
              <a:gd name="connsiteX2454" fmla="*/ 7621854 w 16408544"/>
              <a:gd name="connsiteY2454" fmla="*/ 2988304 h 8684653"/>
              <a:gd name="connsiteX2455" fmla="*/ 7613927 w 16408544"/>
              <a:gd name="connsiteY2455" fmla="*/ 2954165 h 8684653"/>
              <a:gd name="connsiteX2456" fmla="*/ 7613927 w 16408544"/>
              <a:gd name="connsiteY2456" fmla="*/ 2940199 h 8684653"/>
              <a:gd name="connsiteX2457" fmla="*/ 7630222 w 16408544"/>
              <a:gd name="connsiteY2457" fmla="*/ 2940199 h 8684653"/>
              <a:gd name="connsiteX2458" fmla="*/ 7678224 w 16408544"/>
              <a:gd name="connsiteY2458" fmla="*/ 2962545 h 8684653"/>
              <a:gd name="connsiteX2459" fmla="*/ 7705969 w 16408544"/>
              <a:gd name="connsiteY2459" fmla="*/ 2936785 h 8684653"/>
              <a:gd name="connsiteX2460" fmla="*/ 7776872 w 16408544"/>
              <a:gd name="connsiteY2460" fmla="*/ 2857956 h 8684653"/>
              <a:gd name="connsiteX2461" fmla="*/ 7799332 w 16408544"/>
              <a:gd name="connsiteY2461" fmla="*/ 2854542 h 8684653"/>
              <a:gd name="connsiteX2462" fmla="*/ 7879923 w 16408544"/>
              <a:gd name="connsiteY2462" fmla="*/ 2816679 h 8684653"/>
              <a:gd name="connsiteX2463" fmla="*/ 7888291 w 16408544"/>
              <a:gd name="connsiteY2463" fmla="*/ 2761747 h 8684653"/>
              <a:gd name="connsiteX2464" fmla="*/ 7904145 w 16408544"/>
              <a:gd name="connsiteY2464" fmla="*/ 2742815 h 8684653"/>
              <a:gd name="connsiteX2465" fmla="*/ 7986498 w 16408544"/>
              <a:gd name="connsiteY2465" fmla="*/ 2691607 h 8684653"/>
              <a:gd name="connsiteX2466" fmla="*/ 8008958 w 16408544"/>
              <a:gd name="connsiteY2466" fmla="*/ 2691607 h 8684653"/>
              <a:gd name="connsiteX2467" fmla="*/ 8022170 w 16408544"/>
              <a:gd name="connsiteY2467" fmla="*/ 2679504 h 8684653"/>
              <a:gd name="connsiteX2468" fmla="*/ 8062246 w 16408544"/>
              <a:gd name="connsiteY2468" fmla="*/ 2677952 h 8684653"/>
              <a:gd name="connsiteX2469" fmla="*/ 8097917 w 16408544"/>
              <a:gd name="connsiteY2469" fmla="*/ 2648779 h 8684653"/>
              <a:gd name="connsiteX2470" fmla="*/ 8086467 w 16408544"/>
              <a:gd name="connsiteY2470" fmla="*/ 2605640 h 8684653"/>
              <a:gd name="connsiteX2471" fmla="*/ 8054318 w 16408544"/>
              <a:gd name="connsiteY2471" fmla="*/ 2504465 h 8684653"/>
              <a:gd name="connsiteX2472" fmla="*/ 8157810 w 16408544"/>
              <a:gd name="connsiteY2472" fmla="*/ 2396462 h 8684653"/>
              <a:gd name="connsiteX2473" fmla="*/ 8157810 w 16408544"/>
              <a:gd name="connsiteY2473" fmla="*/ 2417256 h 8684653"/>
              <a:gd name="connsiteX2474" fmla="*/ 8148122 w 16408544"/>
              <a:gd name="connsiteY2474" fmla="*/ 2461636 h 8684653"/>
              <a:gd name="connsiteX2475" fmla="*/ 8178509 w 16408544"/>
              <a:gd name="connsiteY2475" fmla="*/ 2480568 h 8684653"/>
              <a:gd name="connsiteX2476" fmla="*/ 8178509 w 16408544"/>
              <a:gd name="connsiteY2476" fmla="*/ 2494223 h 8684653"/>
              <a:gd name="connsiteX2477" fmla="*/ 8159132 w 16408544"/>
              <a:gd name="connsiteY2477" fmla="*/ 2511603 h 8684653"/>
              <a:gd name="connsiteX2478" fmla="*/ 8123900 w 16408544"/>
              <a:gd name="connsiteY2478" fmla="*/ 2574915 h 8684653"/>
              <a:gd name="connsiteX2479" fmla="*/ 8141516 w 16408544"/>
              <a:gd name="connsiteY2479" fmla="*/ 2605640 h 8684653"/>
              <a:gd name="connsiteX2480" fmla="*/ 8141516 w 16408544"/>
              <a:gd name="connsiteY2480" fmla="*/ 2624571 h 8684653"/>
              <a:gd name="connsiteX2481" fmla="*/ 8180270 w 16408544"/>
              <a:gd name="connsiteY2481" fmla="*/ 2631399 h 8684653"/>
              <a:gd name="connsiteX2482" fmla="*/ 8191280 w 16408544"/>
              <a:gd name="connsiteY2482" fmla="*/ 2652193 h 8684653"/>
              <a:gd name="connsiteX2483" fmla="*/ 8302699 w 16408544"/>
              <a:gd name="connsiteY2483" fmla="*/ 2617743 h 8684653"/>
              <a:gd name="connsiteX2484" fmla="*/ 8293011 w 16408544"/>
              <a:gd name="connsiteY2484" fmla="*/ 2636675 h 8684653"/>
              <a:gd name="connsiteX2485" fmla="*/ 8320315 w 16408544"/>
              <a:gd name="connsiteY2485" fmla="*/ 2660572 h 8684653"/>
              <a:gd name="connsiteX2486" fmla="*/ 8348060 w 16408544"/>
              <a:gd name="connsiteY2486" fmla="*/ 2645365 h 8684653"/>
              <a:gd name="connsiteX2487" fmla="*/ 8420284 w 16408544"/>
              <a:gd name="connsiteY2487" fmla="*/ 2624571 h 8684653"/>
              <a:gd name="connsiteX2488" fmla="*/ 8480177 w 16408544"/>
              <a:gd name="connsiteY2488" fmla="*/ 2591984 h 8684653"/>
              <a:gd name="connsiteX2489" fmla="*/ 8535226 w 16408544"/>
              <a:gd name="connsiteY2489" fmla="*/ 2598812 h 8684653"/>
              <a:gd name="connsiteX2490" fmla="*/ 8528620 w 16408544"/>
              <a:gd name="connsiteY2490" fmla="*/ 2617743 h 8684653"/>
              <a:gd name="connsiteX2491" fmla="*/ 8586752 w 16408544"/>
              <a:gd name="connsiteY2491" fmla="*/ 2613709 h 8684653"/>
              <a:gd name="connsiteX2492" fmla="*/ 8641360 w 16408544"/>
              <a:gd name="connsiteY2492" fmla="*/ 2496085 h 8684653"/>
              <a:gd name="connsiteX2493" fmla="*/ 8706098 w 16408544"/>
              <a:gd name="connsiteY2493" fmla="*/ 2375669 h 8684653"/>
              <a:gd name="connsiteX2494" fmla="*/ 8770395 w 16408544"/>
              <a:gd name="connsiteY2494" fmla="*/ 2418808 h 8684653"/>
              <a:gd name="connsiteX2495" fmla="*/ 8751458 w 16408544"/>
              <a:gd name="connsiteY2495" fmla="*/ 2306460 h 8684653"/>
              <a:gd name="connsiteX2496" fmla="*/ 8843060 w 16408544"/>
              <a:gd name="connsiteY2496" fmla="*/ 2247183 h 8684653"/>
              <a:gd name="connsiteX2497" fmla="*/ 8923651 w 16408544"/>
              <a:gd name="connsiteY2497" fmla="*/ 2259287 h 8684653"/>
              <a:gd name="connsiteX2498" fmla="*/ 9012610 w 16408544"/>
              <a:gd name="connsiteY2498" fmla="*/ 2221423 h 8684653"/>
              <a:gd name="connsiteX2499" fmla="*/ 8972094 w 16408544"/>
              <a:gd name="connsiteY2499" fmla="*/ 2161215 h 8684653"/>
              <a:gd name="connsiteX2500" fmla="*/ 8850987 w 16408544"/>
              <a:gd name="connsiteY2500" fmla="*/ 2195664 h 8684653"/>
              <a:gd name="connsiteX2501" fmla="*/ 8754541 w 16408544"/>
              <a:gd name="connsiteY2501" fmla="*/ 2221423 h 8684653"/>
              <a:gd name="connsiteX2502" fmla="*/ 8718869 w 16408544"/>
              <a:gd name="connsiteY2502" fmla="*/ 2199078 h 8684653"/>
              <a:gd name="connsiteX2503" fmla="*/ 8649728 w 16408544"/>
              <a:gd name="connsiteY2503" fmla="*/ 2139180 h 8684653"/>
              <a:gd name="connsiteX2504" fmla="*/ 8672188 w 16408544"/>
              <a:gd name="connsiteY2504" fmla="*/ 2101317 h 8684653"/>
              <a:gd name="connsiteX2505" fmla="*/ 8641360 w 16408544"/>
              <a:gd name="connsiteY2505" fmla="*/ 2036143 h 8684653"/>
              <a:gd name="connsiteX2506" fmla="*/ 8641360 w 16408544"/>
              <a:gd name="connsiteY2506" fmla="*/ 2001694 h 8684653"/>
              <a:gd name="connsiteX2507" fmla="*/ 8786689 w 16408544"/>
              <a:gd name="connsiteY2507" fmla="*/ 1881589 h 8684653"/>
              <a:gd name="connsiteX2508" fmla="*/ 8847904 w 16408544"/>
              <a:gd name="connsiteY2508" fmla="*/ 1830070 h 8684653"/>
              <a:gd name="connsiteX2509" fmla="*/ 8754541 w 16408544"/>
              <a:gd name="connsiteY2509" fmla="*/ 1778865 h 8684653"/>
              <a:gd name="connsiteX2510" fmla="*/ 8657655 w 16408544"/>
              <a:gd name="connsiteY2510" fmla="*/ 1847452 h 8684653"/>
              <a:gd name="connsiteX2511" fmla="*/ 8657655 w 16408544"/>
              <a:gd name="connsiteY2511" fmla="*/ 1886864 h 8684653"/>
              <a:gd name="connsiteX2512" fmla="*/ 8549759 w 16408544"/>
              <a:gd name="connsiteY2512" fmla="*/ 1981211 h 8684653"/>
              <a:gd name="connsiteX2513" fmla="*/ 8477094 w 16408544"/>
              <a:gd name="connsiteY2513" fmla="*/ 2036143 h 8684653"/>
              <a:gd name="connsiteX2514" fmla="*/ 8455956 w 16408544"/>
              <a:gd name="connsiteY2514" fmla="*/ 2104731 h 8684653"/>
              <a:gd name="connsiteX2515" fmla="*/ 8455956 w 16408544"/>
              <a:gd name="connsiteY2515" fmla="*/ 2139180 h 8684653"/>
              <a:gd name="connsiteX2516" fmla="*/ 8468727 w 16408544"/>
              <a:gd name="connsiteY2516" fmla="*/ 2169905 h 8684653"/>
              <a:gd name="connsiteX2517" fmla="*/ 8541391 w 16408544"/>
              <a:gd name="connsiteY2517" fmla="*/ 2238493 h 8684653"/>
              <a:gd name="connsiteX2518" fmla="*/ 8477094 w 16408544"/>
              <a:gd name="connsiteY2518" fmla="*/ 2307391 h 8684653"/>
              <a:gd name="connsiteX2519" fmla="*/ 8431734 w 16408544"/>
              <a:gd name="connsiteY2519" fmla="*/ 2393049 h 8684653"/>
              <a:gd name="connsiteX2520" fmla="*/ 8455956 w 16408544"/>
              <a:gd name="connsiteY2520" fmla="*/ 2422222 h 8684653"/>
              <a:gd name="connsiteX2521" fmla="*/ 8407512 w 16408544"/>
              <a:gd name="connsiteY2521" fmla="*/ 2504465 h 8684653"/>
              <a:gd name="connsiteX2522" fmla="*/ 8364354 w 16408544"/>
              <a:gd name="connsiteY2522" fmla="*/ 2504465 h 8684653"/>
              <a:gd name="connsiteX2523" fmla="*/ 8286845 w 16408544"/>
              <a:gd name="connsiteY2523" fmla="*/ 2559397 h 8684653"/>
              <a:gd name="connsiteX2524" fmla="*/ 8251174 w 16408544"/>
              <a:gd name="connsiteY2524" fmla="*/ 2479016 h 8684653"/>
              <a:gd name="connsiteX2525" fmla="*/ 8254256 w 16408544"/>
              <a:gd name="connsiteY2525" fmla="*/ 2461636 h 8684653"/>
              <a:gd name="connsiteX2526" fmla="*/ 8219025 w 16408544"/>
              <a:gd name="connsiteY2526" fmla="*/ 2370703 h 8684653"/>
              <a:gd name="connsiteX2527" fmla="*/ 8186436 w 16408544"/>
              <a:gd name="connsiteY2527" fmla="*/ 2307391 h 8684653"/>
              <a:gd name="connsiteX2528" fmla="*/ 8194803 w 16408544"/>
              <a:gd name="connsiteY2528" fmla="*/ 2282563 h 8684653"/>
              <a:gd name="connsiteX2529" fmla="*/ 8162214 w 16408544"/>
              <a:gd name="connsiteY2529" fmla="*/ 2241907 h 8684653"/>
              <a:gd name="connsiteX2530" fmla="*/ 8008958 w 16408544"/>
              <a:gd name="connsiteY2530" fmla="*/ 2358599 h 8684653"/>
              <a:gd name="connsiteX2531" fmla="*/ 7936294 w 16408544"/>
              <a:gd name="connsiteY2531" fmla="*/ 2310805 h 8684653"/>
              <a:gd name="connsiteX2532" fmla="*/ 7964038 w 16408544"/>
              <a:gd name="connsiteY2532" fmla="*/ 2284736 h 8684653"/>
              <a:gd name="connsiteX2533" fmla="*/ 7964038 w 16408544"/>
              <a:gd name="connsiteY2533" fmla="*/ 2259287 h 8684653"/>
              <a:gd name="connsiteX2534" fmla="*/ 7922201 w 16408544"/>
              <a:gd name="connsiteY2534" fmla="*/ 2267666 h 8684653"/>
              <a:gd name="connsiteX2535" fmla="*/ 7947744 w 16408544"/>
              <a:gd name="connsiteY2535" fmla="*/ 2223285 h 8684653"/>
              <a:gd name="connsiteX2536" fmla="*/ 7920440 w 16408544"/>
              <a:gd name="connsiteY2536" fmla="*/ 2101317 h 8684653"/>
              <a:gd name="connsiteX2537" fmla="*/ 7956111 w 16408544"/>
              <a:gd name="connsiteY2537" fmla="*/ 2061902 h 8684653"/>
              <a:gd name="connsiteX2538" fmla="*/ 8028776 w 16408544"/>
              <a:gd name="connsiteY2538" fmla="*/ 2001694 h 8684653"/>
              <a:gd name="connsiteX2539" fmla="*/ 8122139 w 16408544"/>
              <a:gd name="connsiteY2539" fmla="*/ 1958865 h 8684653"/>
              <a:gd name="connsiteX2540" fmla="*/ 8083384 w 16408544"/>
              <a:gd name="connsiteY2540" fmla="*/ 1946762 h 8684653"/>
              <a:gd name="connsiteX2541" fmla="*/ 8230035 w 16408544"/>
              <a:gd name="connsiteY2541" fmla="*/ 1826665 h 8684653"/>
              <a:gd name="connsiteX2542" fmla="*/ 8259100 w 16408544"/>
              <a:gd name="connsiteY2542" fmla="*/ 1758070 h 8684653"/>
              <a:gd name="connsiteX2543" fmla="*/ 8275395 w 16408544"/>
              <a:gd name="connsiteY2543" fmla="*/ 1718655 h 8684653"/>
              <a:gd name="connsiteX2544" fmla="*/ 8351142 w 16408544"/>
              <a:gd name="connsiteY2544" fmla="*/ 1646653 h 8684653"/>
              <a:gd name="connsiteX2545" fmla="*/ 8438340 w 16408544"/>
              <a:gd name="connsiteY2545" fmla="*/ 1538654 h 8684653"/>
              <a:gd name="connsiteX2546" fmla="*/ 8342775 w 16408544"/>
              <a:gd name="connsiteY2546" fmla="*/ 1569376 h 8684653"/>
              <a:gd name="connsiteX2547" fmla="*/ 8375364 w 16408544"/>
              <a:gd name="connsiteY2547" fmla="*/ 1545479 h 8684653"/>
              <a:gd name="connsiteX2548" fmla="*/ 8351142 w 16408544"/>
              <a:gd name="connsiteY2548" fmla="*/ 1540205 h 8684653"/>
              <a:gd name="connsiteX2549" fmla="*/ 8375364 w 16408544"/>
              <a:gd name="connsiteY2549" fmla="*/ 1512890 h 8684653"/>
              <a:gd name="connsiteX2550" fmla="*/ 8388135 w 16408544"/>
              <a:gd name="connsiteY2550" fmla="*/ 1517859 h 8684653"/>
              <a:gd name="connsiteX2551" fmla="*/ 8402668 w 16408544"/>
              <a:gd name="connsiteY2551" fmla="*/ 1495822 h 8684653"/>
              <a:gd name="connsiteX2552" fmla="*/ 8407512 w 16408544"/>
              <a:gd name="connsiteY2552" fmla="*/ 1526546 h 8684653"/>
              <a:gd name="connsiteX2553" fmla="*/ 8460800 w 16408544"/>
              <a:gd name="connsiteY2553" fmla="*/ 1543623 h 8684653"/>
              <a:gd name="connsiteX2554" fmla="*/ 8489866 w 16408544"/>
              <a:gd name="connsiteY2554" fmla="*/ 1500789 h 8684653"/>
              <a:gd name="connsiteX2555" fmla="*/ 8463882 w 16408544"/>
              <a:gd name="connsiteY2555" fmla="*/ 1497375 h 8684653"/>
              <a:gd name="connsiteX2556" fmla="*/ 8501316 w 16408544"/>
              <a:gd name="connsiteY2556" fmla="*/ 1469757 h 8684653"/>
              <a:gd name="connsiteX2557" fmla="*/ 8533464 w 16408544"/>
              <a:gd name="connsiteY2557" fmla="*/ 1466654 h 8684653"/>
              <a:gd name="connsiteX2558" fmla="*/ 8520693 w 16408544"/>
              <a:gd name="connsiteY2558" fmla="*/ 1452690 h 8684653"/>
              <a:gd name="connsiteX2559" fmla="*/ 8589834 w 16408544"/>
              <a:gd name="connsiteY2559" fmla="*/ 1432206 h 8684653"/>
              <a:gd name="connsiteX2560" fmla="*/ 8589834 w 16408544"/>
              <a:gd name="connsiteY2560" fmla="*/ 1452690 h 8684653"/>
              <a:gd name="connsiteX2561" fmla="*/ 8649728 w 16408544"/>
              <a:gd name="connsiteY2561" fmla="*/ 1406443 h 8684653"/>
              <a:gd name="connsiteX2562" fmla="*/ 8649728 w 16408544"/>
              <a:gd name="connsiteY2562" fmla="*/ 1435613 h 8684653"/>
              <a:gd name="connsiteX2563" fmla="*/ 8727237 w 16408544"/>
              <a:gd name="connsiteY2563" fmla="*/ 1387510 h 8684653"/>
              <a:gd name="connsiteX2564" fmla="*/ 8703015 w 16408544"/>
              <a:gd name="connsiteY2564" fmla="*/ 1367026 h 8684653"/>
              <a:gd name="connsiteX2565" fmla="*/ 8736485 w 16408544"/>
              <a:gd name="connsiteY2565" fmla="*/ 1341266 h 8684653"/>
              <a:gd name="connsiteX2566" fmla="*/ 8770395 w 16408544"/>
              <a:gd name="connsiteY2566" fmla="*/ 1367026 h 8684653"/>
              <a:gd name="connsiteX2567" fmla="*/ 8856271 w 16408544"/>
              <a:gd name="connsiteY2567" fmla="*/ 1346543 h 8684653"/>
              <a:gd name="connsiteX2568" fmla="*/ 8822361 w 16408544"/>
              <a:gd name="connsiteY2568" fmla="*/ 1401164 h 8684653"/>
              <a:gd name="connsiteX2569" fmla="*/ 8891503 w 16408544"/>
              <a:gd name="connsiteY2569" fmla="*/ 1349645 h 8684653"/>
              <a:gd name="connsiteX2570" fmla="*/ 8899430 w 16408544"/>
              <a:gd name="connsiteY2570" fmla="*/ 1380680 h 8684653"/>
              <a:gd name="connsiteX2571" fmla="*/ 8961084 w 16408544"/>
              <a:gd name="connsiteY2571" fmla="*/ 1332577 h 8684653"/>
              <a:gd name="connsiteX2572" fmla="*/ 8976938 w 16408544"/>
              <a:gd name="connsiteY2572" fmla="*/ 1371993 h 8684653"/>
              <a:gd name="connsiteX2573" fmla="*/ 9001160 w 16408544"/>
              <a:gd name="connsiteY2573" fmla="*/ 1346543 h 8684653"/>
              <a:gd name="connsiteX2574" fmla="*/ 9057530 w 16408544"/>
              <a:gd name="connsiteY2574" fmla="*/ 1373858 h 8684653"/>
              <a:gd name="connsiteX2575" fmla="*/ 8993233 w 16408544"/>
              <a:gd name="connsiteY2575" fmla="*/ 1415130 h 8684653"/>
              <a:gd name="connsiteX2576" fmla="*/ 9020537 w 16408544"/>
              <a:gd name="connsiteY2576" fmla="*/ 1440578 h 8684653"/>
              <a:gd name="connsiteX2577" fmla="*/ 9073825 w 16408544"/>
              <a:gd name="connsiteY2577" fmla="*/ 1447722 h 8684653"/>
              <a:gd name="connsiteX2578" fmla="*/ 9117424 w 16408544"/>
              <a:gd name="connsiteY2578" fmla="*/ 1449274 h 8684653"/>
              <a:gd name="connsiteX2579" fmla="*/ 9423936 w 16408544"/>
              <a:gd name="connsiteY2579" fmla="*/ 1569376 h 8684653"/>
              <a:gd name="connsiteX2580" fmla="*/ 9428780 w 16408544"/>
              <a:gd name="connsiteY2580" fmla="*/ 1757447 h 8684653"/>
              <a:gd name="connsiteX2581" fmla="*/ 9254385 w 16408544"/>
              <a:gd name="connsiteY2581" fmla="*/ 1741000 h 8684653"/>
              <a:gd name="connsiteX2582" fmla="*/ 9367566 w 16408544"/>
              <a:gd name="connsiteY2582" fmla="*/ 1904245 h 8684653"/>
              <a:gd name="connsiteX2583" fmla="*/ 9367566 w 16408544"/>
              <a:gd name="connsiteY2583" fmla="*/ 1835348 h 8684653"/>
              <a:gd name="connsiteX2584" fmla="*/ 9577192 w 16408544"/>
              <a:gd name="connsiteY2584" fmla="*/ 1741000 h 8684653"/>
              <a:gd name="connsiteX2585" fmla="*/ 9706227 w 16408544"/>
              <a:gd name="connsiteY2585" fmla="*/ 1706553 h 8684653"/>
              <a:gd name="connsiteX2586" fmla="*/ 9682005 w 16408544"/>
              <a:gd name="connsiteY2586" fmla="*/ 1655344 h 8684653"/>
              <a:gd name="connsiteX2587" fmla="*/ 9762597 w 16408544"/>
              <a:gd name="connsiteY2587" fmla="*/ 1646653 h 8684653"/>
              <a:gd name="connsiteX2588" fmla="*/ 9803113 w 16408544"/>
              <a:gd name="connsiteY2588" fmla="*/ 1681102 h 8684653"/>
              <a:gd name="connsiteX2589" fmla="*/ 10141774 w 16408544"/>
              <a:gd name="connsiteY2589" fmla="*/ 1552306 h 8684653"/>
              <a:gd name="connsiteX2590" fmla="*/ 10367254 w 16408544"/>
              <a:gd name="connsiteY2590" fmla="*/ 1517859 h 8684653"/>
              <a:gd name="connsiteX2591" fmla="*/ 10456213 w 16408544"/>
              <a:gd name="connsiteY2591" fmla="*/ 1492407 h 8684653"/>
              <a:gd name="connsiteX2592" fmla="*/ 10606387 w 16408544"/>
              <a:gd name="connsiteY2592" fmla="*/ 1461373 h 8684653"/>
              <a:gd name="connsiteX2593" fmla="*/ 10811169 w 16408544"/>
              <a:gd name="connsiteY2593" fmla="*/ 1500789 h 8684653"/>
              <a:gd name="connsiteX2594" fmla="*/ 10738504 w 16408544"/>
              <a:gd name="connsiteY2594" fmla="*/ 1329162 h 8684653"/>
              <a:gd name="connsiteX2595" fmla="*/ 10940204 w 16408544"/>
              <a:gd name="connsiteY2595" fmla="*/ 1157849 h 8684653"/>
              <a:gd name="connsiteX2596" fmla="*/ 10988646 w 16408544"/>
              <a:gd name="connsiteY2596" fmla="*/ 1269266 h 8684653"/>
              <a:gd name="connsiteX2597" fmla="*/ 11074082 w 16408544"/>
              <a:gd name="connsiteY2597" fmla="*/ 1581478 h 8684653"/>
              <a:gd name="connsiteX2598" fmla="*/ 11060871 w 16408544"/>
              <a:gd name="connsiteY2598" fmla="*/ 1415130 h 8684653"/>
              <a:gd name="connsiteX2599" fmla="*/ 11028722 w 16408544"/>
              <a:gd name="connsiteY2599" fmla="*/ 1260579 h 8684653"/>
              <a:gd name="connsiteX2600" fmla="*/ 11112837 w 16408544"/>
              <a:gd name="connsiteY2600" fmla="*/ 1157849 h 8684653"/>
              <a:gd name="connsiteX2601" fmla="*/ 11222494 w 16408544"/>
              <a:gd name="connsiteY2601" fmla="*/ 1209062 h 8684653"/>
              <a:gd name="connsiteX2602" fmla="*/ 11383678 w 16408544"/>
              <a:gd name="connsiteY2602" fmla="*/ 1209062 h 8684653"/>
              <a:gd name="connsiteX2603" fmla="*/ 11359456 w 16408544"/>
              <a:gd name="connsiteY2603" fmla="*/ 1140468 h 8684653"/>
              <a:gd name="connsiteX2604" fmla="*/ 11612682 w 16408544"/>
              <a:gd name="connsiteY2604" fmla="*/ 1063191 h 8684653"/>
              <a:gd name="connsiteX2605" fmla="*/ 11682263 w 16408544"/>
              <a:gd name="connsiteY2605" fmla="*/ 968851 h 8684653"/>
              <a:gd name="connsiteX2606" fmla="*/ 12080377 w 16408544"/>
              <a:gd name="connsiteY2606" fmla="*/ 822980 h 8684653"/>
              <a:gd name="connsiteX2607" fmla="*/ 12303215 w 16408544"/>
              <a:gd name="connsiteY2607" fmla="*/ 788840 h 8684653"/>
              <a:gd name="connsiteX2608" fmla="*/ 12464398 w 16408544"/>
              <a:gd name="connsiteY2608" fmla="*/ 685808 h 8684653"/>
              <a:gd name="connsiteX2609" fmla="*/ 2394811 w 16408544"/>
              <a:gd name="connsiteY2609" fmla="*/ 673966 h 8684653"/>
              <a:gd name="connsiteX2610" fmla="*/ 2442492 w 16408544"/>
              <a:gd name="connsiteY2610" fmla="*/ 697126 h 8684653"/>
              <a:gd name="connsiteX2611" fmla="*/ 2419846 w 16408544"/>
              <a:gd name="connsiteY2611" fmla="*/ 717643 h 8684653"/>
              <a:gd name="connsiteX2612" fmla="*/ 2387599 w 16408544"/>
              <a:gd name="connsiteY2612" fmla="*/ 692015 h 8684653"/>
              <a:gd name="connsiteX2613" fmla="*/ 2394811 w 16408544"/>
              <a:gd name="connsiteY2613" fmla="*/ 673966 h 8684653"/>
              <a:gd name="connsiteX2614" fmla="*/ 2984588 w 16408544"/>
              <a:gd name="connsiteY2614" fmla="*/ 673101 h 8684653"/>
              <a:gd name="connsiteX2615" fmla="*/ 3021704 w 16408544"/>
              <a:gd name="connsiteY2615" fmla="*/ 686831 h 8684653"/>
              <a:gd name="connsiteX2616" fmla="*/ 2970000 w 16408544"/>
              <a:gd name="connsiteY2616" fmla="*/ 698847 h 8684653"/>
              <a:gd name="connsiteX2617" fmla="*/ 2984588 w 16408544"/>
              <a:gd name="connsiteY2617" fmla="*/ 673101 h 8684653"/>
              <a:gd name="connsiteX2618" fmla="*/ 2596039 w 16408544"/>
              <a:gd name="connsiteY2618" fmla="*/ 660402 h 8684653"/>
              <a:gd name="connsiteX2619" fmla="*/ 2625040 w 16408544"/>
              <a:gd name="connsiteY2619" fmla="*/ 677517 h 8684653"/>
              <a:gd name="connsiteX2620" fmla="*/ 2555751 w 16408544"/>
              <a:gd name="connsiteY2620" fmla="*/ 698098 h 8684653"/>
              <a:gd name="connsiteX2621" fmla="*/ 2600958 w 16408544"/>
              <a:gd name="connsiteY2621" fmla="*/ 698098 h 8684653"/>
              <a:gd name="connsiteX2622" fmla="*/ 2515411 w 16408544"/>
              <a:gd name="connsiteY2622" fmla="*/ 749505 h 8684653"/>
              <a:gd name="connsiteX2623" fmla="*/ 2463799 w 16408544"/>
              <a:gd name="connsiteY2623" fmla="*/ 703365 h 8684653"/>
              <a:gd name="connsiteX2624" fmla="*/ 2596039 w 16408544"/>
              <a:gd name="connsiteY2624" fmla="*/ 660402 h 8684653"/>
              <a:gd name="connsiteX2625" fmla="*/ 2581480 w 16408544"/>
              <a:gd name="connsiteY2625" fmla="*/ 584203 h 8684653"/>
              <a:gd name="connsiteX2626" fmla="*/ 2649190 w 16408544"/>
              <a:gd name="connsiteY2626" fmla="*/ 627135 h 8684653"/>
              <a:gd name="connsiteX2627" fmla="*/ 2605752 w 16408544"/>
              <a:gd name="connsiteY2627" fmla="*/ 644213 h 8684653"/>
              <a:gd name="connsiteX2628" fmla="*/ 2536300 w 16408544"/>
              <a:gd name="connsiteY2628" fmla="*/ 644213 h 8684653"/>
              <a:gd name="connsiteX2629" fmla="*/ 2495977 w 16408544"/>
              <a:gd name="connsiteY2629" fmla="*/ 630524 h 8684653"/>
              <a:gd name="connsiteX2630" fmla="*/ 2463800 w 16408544"/>
              <a:gd name="connsiteY2630" fmla="*/ 644213 h 8684653"/>
              <a:gd name="connsiteX2631" fmla="*/ 2581480 w 16408544"/>
              <a:gd name="connsiteY2631" fmla="*/ 584203 h 8684653"/>
              <a:gd name="connsiteX2632" fmla="*/ 3199281 w 16408544"/>
              <a:gd name="connsiteY2632" fmla="*/ 571504 h 8684653"/>
              <a:gd name="connsiteX2633" fmla="*/ 3255807 w 16408544"/>
              <a:gd name="connsiteY2633" fmla="*/ 597255 h 8684653"/>
              <a:gd name="connsiteX2634" fmla="*/ 3312236 w 16408544"/>
              <a:gd name="connsiteY2634" fmla="*/ 636754 h 8684653"/>
              <a:gd name="connsiteX2635" fmla="*/ 3312236 w 16408544"/>
              <a:gd name="connsiteY2635" fmla="*/ 679613 h 8684653"/>
              <a:gd name="connsiteX2636" fmla="*/ 3199281 w 16408544"/>
              <a:gd name="connsiteY2636" fmla="*/ 679613 h 8684653"/>
              <a:gd name="connsiteX2637" fmla="*/ 3215448 w 16408544"/>
              <a:gd name="connsiteY2637" fmla="*/ 662518 h 8684653"/>
              <a:gd name="connsiteX2638" fmla="*/ 3162295 w 16408544"/>
              <a:gd name="connsiteY2638" fmla="*/ 597255 h 8684653"/>
              <a:gd name="connsiteX2639" fmla="*/ 3199281 w 16408544"/>
              <a:gd name="connsiteY2639" fmla="*/ 571504 h 8684653"/>
              <a:gd name="connsiteX2640" fmla="*/ 8172789 w 16408544"/>
              <a:gd name="connsiteY2640" fmla="*/ 558802 h 8684653"/>
              <a:gd name="connsiteX2641" fmla="*/ 8225735 w 16408544"/>
              <a:gd name="connsiteY2641" fmla="*/ 630161 h 8684653"/>
              <a:gd name="connsiteX2642" fmla="*/ 8172789 w 16408544"/>
              <a:gd name="connsiteY2642" fmla="*/ 558802 h 8684653"/>
              <a:gd name="connsiteX2643" fmla="*/ 8166090 w 16408544"/>
              <a:gd name="connsiteY2643" fmla="*/ 558802 h 8684653"/>
              <a:gd name="connsiteX2644" fmla="*/ 8167263 w 16408544"/>
              <a:gd name="connsiteY2644" fmla="*/ 560107 h 8684653"/>
              <a:gd name="connsiteX2645" fmla="*/ 8168869 w 16408544"/>
              <a:gd name="connsiteY2645" fmla="*/ 558802 h 8684653"/>
              <a:gd name="connsiteX2646" fmla="*/ 8168869 w 16408544"/>
              <a:gd name="connsiteY2646" fmla="*/ 564002 h 8684653"/>
              <a:gd name="connsiteX2647" fmla="*/ 8166090 w 16408544"/>
              <a:gd name="connsiteY2647" fmla="*/ 561057 h 8684653"/>
              <a:gd name="connsiteX2648" fmla="*/ 8167167 w 16408544"/>
              <a:gd name="connsiteY2648" fmla="*/ 560184 h 8684653"/>
              <a:gd name="connsiteX2649" fmla="*/ 2870937 w 16408544"/>
              <a:gd name="connsiteY2649" fmla="*/ 520702 h 8684653"/>
              <a:gd name="connsiteX2650" fmla="*/ 2932300 w 16408544"/>
              <a:gd name="connsiteY2650" fmla="*/ 551604 h 8684653"/>
              <a:gd name="connsiteX2651" fmla="*/ 2964509 w 16408544"/>
              <a:gd name="connsiteY2651" fmla="*/ 537802 h 8684653"/>
              <a:gd name="connsiteX2652" fmla="*/ 3012954 w 16408544"/>
              <a:gd name="connsiteY2652" fmla="*/ 577281 h 8684653"/>
              <a:gd name="connsiteX2653" fmla="*/ 3037066 w 16408544"/>
              <a:gd name="connsiteY2653" fmla="*/ 563547 h 8684653"/>
              <a:gd name="connsiteX2654" fmla="*/ 3085494 w 16408544"/>
              <a:gd name="connsiteY2654" fmla="*/ 603045 h 8684653"/>
              <a:gd name="connsiteX2655" fmla="*/ 3072591 w 16408544"/>
              <a:gd name="connsiteY2655" fmla="*/ 620209 h 8684653"/>
              <a:gd name="connsiteX2656" fmla="*/ 3117855 w 16408544"/>
              <a:gd name="connsiteY2656" fmla="*/ 666490 h 8684653"/>
              <a:gd name="connsiteX2657" fmla="*/ 3088702 w 16408544"/>
              <a:gd name="connsiteY2657" fmla="*/ 688832 h 8684653"/>
              <a:gd name="connsiteX2658" fmla="*/ 3016104 w 16408544"/>
              <a:gd name="connsiteY2658" fmla="*/ 645907 h 8684653"/>
              <a:gd name="connsiteX2659" fmla="*/ 2940398 w 16408544"/>
              <a:gd name="connsiteY2659" fmla="*/ 639138 h 8684653"/>
              <a:gd name="connsiteX2660" fmla="*/ 2887103 w 16408544"/>
              <a:gd name="connsiteY2660" fmla="*/ 632210 h 8684653"/>
              <a:gd name="connsiteX2661" fmla="*/ 2843593 w 16408544"/>
              <a:gd name="connsiteY2661" fmla="*/ 618573 h 8684653"/>
              <a:gd name="connsiteX2662" fmla="*/ 2891898 w 16408544"/>
              <a:gd name="connsiteY2662" fmla="*/ 597907 h 8684653"/>
              <a:gd name="connsiteX2663" fmla="*/ 2891898 w 16408544"/>
              <a:gd name="connsiteY2663" fmla="*/ 577281 h 8684653"/>
              <a:gd name="connsiteX2664" fmla="*/ 2835468 w 16408544"/>
              <a:gd name="connsiteY2664" fmla="*/ 577281 h 8684653"/>
              <a:gd name="connsiteX2665" fmla="*/ 2846771 w 16408544"/>
              <a:gd name="connsiteY2665" fmla="*/ 560118 h 8684653"/>
              <a:gd name="connsiteX2666" fmla="*/ 2819398 w 16408544"/>
              <a:gd name="connsiteY2666" fmla="*/ 534461 h 8684653"/>
              <a:gd name="connsiteX2667" fmla="*/ 2870937 w 16408544"/>
              <a:gd name="connsiteY2667" fmla="*/ 520702 h 8684653"/>
              <a:gd name="connsiteX2668" fmla="*/ 12387799 w 16408544"/>
              <a:gd name="connsiteY2668" fmla="*/ 495309 h 8684653"/>
              <a:gd name="connsiteX2669" fmla="*/ 12408776 w 16408544"/>
              <a:gd name="connsiteY2669" fmla="*/ 495309 h 8684653"/>
              <a:gd name="connsiteX2670" fmla="*/ 12403945 w 16408544"/>
              <a:gd name="connsiteY2670" fmla="*/ 533119 h 8684653"/>
              <a:gd name="connsiteX2671" fmla="*/ 12433151 w 16408544"/>
              <a:gd name="connsiteY2671" fmla="*/ 515998 h 8684653"/>
              <a:gd name="connsiteX2672" fmla="*/ 12521803 w 16408544"/>
              <a:gd name="connsiteY2672" fmla="*/ 584551 h 8684653"/>
              <a:gd name="connsiteX2673" fmla="*/ 12408776 w 16408544"/>
              <a:gd name="connsiteY2673" fmla="*/ 627366 h 8684653"/>
              <a:gd name="connsiteX2674" fmla="*/ 12352392 w 16408544"/>
              <a:gd name="connsiteY2674" fmla="*/ 636020 h 8684653"/>
              <a:gd name="connsiteX2675" fmla="*/ 12266944 w 16408544"/>
              <a:gd name="connsiteY2675" fmla="*/ 661735 h 8684653"/>
              <a:gd name="connsiteX2676" fmla="*/ 12242789 w 16408544"/>
              <a:gd name="connsiteY2676" fmla="*/ 636020 h 8684653"/>
              <a:gd name="connsiteX2677" fmla="*/ 12271788 w 16408544"/>
              <a:gd name="connsiteY2677" fmla="*/ 598262 h 8684653"/>
              <a:gd name="connsiteX2678" fmla="*/ 12387799 w 16408544"/>
              <a:gd name="connsiteY2678" fmla="*/ 495309 h 8684653"/>
              <a:gd name="connsiteX2679" fmla="*/ 3143428 w 16408544"/>
              <a:gd name="connsiteY2679" fmla="*/ 457326 h 8684653"/>
              <a:gd name="connsiteX2680" fmla="*/ 3168108 w 16408544"/>
              <a:gd name="connsiteY2680" fmla="*/ 458012 h 8684653"/>
              <a:gd name="connsiteX2681" fmla="*/ 3168108 w 16408544"/>
              <a:gd name="connsiteY2681" fmla="*/ 492298 h 8684653"/>
              <a:gd name="connsiteX2682" fmla="*/ 3140624 w 16408544"/>
              <a:gd name="connsiteY2682" fmla="*/ 492298 h 8684653"/>
              <a:gd name="connsiteX2683" fmla="*/ 3111497 w 16408544"/>
              <a:gd name="connsiteY2683" fmla="*/ 458012 h 8684653"/>
              <a:gd name="connsiteX2684" fmla="*/ 3143428 w 16408544"/>
              <a:gd name="connsiteY2684" fmla="*/ 457326 h 8684653"/>
              <a:gd name="connsiteX2685" fmla="*/ 8428982 w 16408544"/>
              <a:gd name="connsiteY2685" fmla="*/ 431805 h 8684653"/>
              <a:gd name="connsiteX2686" fmla="*/ 8493450 w 16408544"/>
              <a:gd name="connsiteY2686" fmla="*/ 466050 h 8684653"/>
              <a:gd name="connsiteX2687" fmla="*/ 8488813 w 16408544"/>
              <a:gd name="connsiteY2687" fmla="*/ 500267 h 8684653"/>
              <a:gd name="connsiteX2688" fmla="*/ 8517643 w 16408544"/>
              <a:gd name="connsiteY2688" fmla="*/ 478045 h 8684653"/>
              <a:gd name="connsiteX2689" fmla="*/ 8537141 w 16408544"/>
              <a:gd name="connsiteY2689" fmla="*/ 519118 h 8684653"/>
              <a:gd name="connsiteX2690" fmla="*/ 8553191 w 16408544"/>
              <a:gd name="connsiteY2690" fmla="*/ 520904 h 8684653"/>
              <a:gd name="connsiteX2691" fmla="*/ 8682275 w 16408544"/>
              <a:gd name="connsiteY2691" fmla="*/ 592886 h 8684653"/>
              <a:gd name="connsiteX2692" fmla="*/ 8666195 w 16408544"/>
              <a:gd name="connsiteY2692" fmla="*/ 594661 h 8684653"/>
              <a:gd name="connsiteX2693" fmla="*/ 8695145 w 16408544"/>
              <a:gd name="connsiteY2693" fmla="*/ 594661 h 8684653"/>
              <a:gd name="connsiteX2694" fmla="*/ 8695145 w 16408544"/>
              <a:gd name="connsiteY2694" fmla="*/ 620411 h 8684653"/>
              <a:gd name="connsiteX2695" fmla="*/ 8746772 w 16408544"/>
              <a:gd name="connsiteY2695" fmla="*/ 620411 h 8684653"/>
              <a:gd name="connsiteX2696" fmla="*/ 8808089 w 16408544"/>
              <a:gd name="connsiteY2696" fmla="*/ 682221 h 8684653"/>
              <a:gd name="connsiteX2697" fmla="*/ 8706380 w 16408544"/>
              <a:gd name="connsiteY2697" fmla="*/ 740555 h 8684653"/>
              <a:gd name="connsiteX2698" fmla="*/ 8707985 w 16408544"/>
              <a:gd name="connsiteY2698" fmla="*/ 709551 h 8684653"/>
              <a:gd name="connsiteX2699" fmla="*/ 8633887 w 16408544"/>
              <a:gd name="connsiteY2699" fmla="*/ 706198 h 8684653"/>
              <a:gd name="connsiteX2700" fmla="*/ 8657962 w 16408544"/>
              <a:gd name="connsiteY2700" fmla="*/ 658130 h 8684653"/>
              <a:gd name="connsiteX2701" fmla="*/ 8625773 w 16408544"/>
              <a:gd name="connsiteY2701" fmla="*/ 610110 h 8684653"/>
              <a:gd name="connsiteX2702" fmla="*/ 8648302 w 16408544"/>
              <a:gd name="connsiteY2702" fmla="*/ 606773 h 8684653"/>
              <a:gd name="connsiteX2703" fmla="*/ 8609574 w 16408544"/>
              <a:gd name="connsiteY2703" fmla="*/ 580947 h 8684653"/>
              <a:gd name="connsiteX2704" fmla="*/ 8521091 w 16408544"/>
              <a:gd name="connsiteY2704" fmla="*/ 701142 h 8684653"/>
              <a:gd name="connsiteX2705" fmla="*/ 8496630 w 16408544"/>
              <a:gd name="connsiteY2705" fmla="*/ 714754 h 8684653"/>
              <a:gd name="connsiteX2706" fmla="*/ 8449877 w 16408544"/>
              <a:gd name="connsiteY2706" fmla="*/ 809166 h 8684653"/>
              <a:gd name="connsiteX2707" fmla="*/ 8324122 w 16408544"/>
              <a:gd name="connsiteY2707" fmla="*/ 701142 h 8684653"/>
              <a:gd name="connsiteX2708" fmla="*/ 8383804 w 16408544"/>
              <a:gd name="connsiteY2708" fmla="*/ 702859 h 8684653"/>
              <a:gd name="connsiteX2709" fmla="*/ 8436948 w 16408544"/>
              <a:gd name="connsiteY2709" fmla="*/ 689037 h 8684653"/>
              <a:gd name="connsiteX2710" fmla="*/ 8364544 w 16408544"/>
              <a:gd name="connsiteY2710" fmla="*/ 680421 h 8684653"/>
              <a:gd name="connsiteX2711" fmla="*/ 8303138 w 16408544"/>
              <a:gd name="connsiteY2711" fmla="*/ 658130 h 8684653"/>
              <a:gd name="connsiteX2712" fmla="*/ 8348375 w 16408544"/>
              <a:gd name="connsiteY2712" fmla="*/ 640957 h 8684653"/>
              <a:gd name="connsiteX2713" fmla="*/ 8430557 w 16408544"/>
              <a:gd name="connsiteY2713" fmla="*/ 598105 h 8684653"/>
              <a:gd name="connsiteX2714" fmla="*/ 8388679 w 16408544"/>
              <a:gd name="connsiteY2714" fmla="*/ 598105 h 8684653"/>
              <a:gd name="connsiteX2715" fmla="*/ 8364544 w 16408544"/>
              <a:gd name="connsiteY2715" fmla="*/ 582714 h 8684653"/>
              <a:gd name="connsiteX2716" fmla="*/ 8351526 w 16408544"/>
              <a:gd name="connsiteY2716" fmla="*/ 582714 h 8684653"/>
              <a:gd name="connsiteX2717" fmla="*/ 8303138 w 16408544"/>
              <a:gd name="connsiteY2717" fmla="*/ 628937 h 8684653"/>
              <a:gd name="connsiteX2718" fmla="*/ 8251630 w 16408544"/>
              <a:gd name="connsiteY2718" fmla="*/ 601701 h 8684653"/>
              <a:gd name="connsiteX2719" fmla="*/ 8264440 w 16408544"/>
              <a:gd name="connsiteY2719" fmla="*/ 598105 h 8684653"/>
              <a:gd name="connsiteX2720" fmla="*/ 8219232 w 16408544"/>
              <a:gd name="connsiteY2720" fmla="*/ 541465 h 8684653"/>
              <a:gd name="connsiteX2721" fmla="*/ 8206392 w 16408544"/>
              <a:gd name="connsiteY2721" fmla="*/ 534649 h 8684653"/>
              <a:gd name="connsiteX2722" fmla="*/ 8166089 w 16408544"/>
              <a:gd name="connsiteY2722" fmla="*/ 493420 h 8684653"/>
              <a:gd name="connsiteX2723" fmla="*/ 8222442 w 16408544"/>
              <a:gd name="connsiteY2723" fmla="*/ 452369 h 8684653"/>
              <a:gd name="connsiteX2724" fmla="*/ 8303138 w 16408544"/>
              <a:gd name="connsiteY2724" fmla="*/ 459160 h 8684653"/>
              <a:gd name="connsiteX2725" fmla="*/ 8283789 w 16408544"/>
              <a:gd name="connsiteY2725" fmla="*/ 483242 h 8684653"/>
              <a:gd name="connsiteX2726" fmla="*/ 8327273 w 16408544"/>
              <a:gd name="connsiteY2726" fmla="*/ 508898 h 8684653"/>
              <a:gd name="connsiteX2727" fmla="*/ 8316067 w 16408544"/>
              <a:gd name="connsiteY2727" fmla="*/ 486519 h 8684653"/>
              <a:gd name="connsiteX2728" fmla="*/ 8343323 w 16408544"/>
              <a:gd name="connsiteY2728" fmla="*/ 457397 h 8684653"/>
              <a:gd name="connsiteX2729" fmla="*/ 8416083 w 16408544"/>
              <a:gd name="connsiteY2729" fmla="*/ 532973 h 8684653"/>
              <a:gd name="connsiteX2730" fmla="*/ 8396793 w 16408544"/>
              <a:gd name="connsiteY2730" fmla="*/ 457397 h 8684653"/>
              <a:gd name="connsiteX2731" fmla="*/ 8428982 w 16408544"/>
              <a:gd name="connsiteY2731" fmla="*/ 431805 h 8684653"/>
              <a:gd name="connsiteX2732" fmla="*/ 11892533 w 16408544"/>
              <a:gd name="connsiteY2732" fmla="*/ 406401 h 8684653"/>
              <a:gd name="connsiteX2733" fmla="*/ 11957011 w 16408544"/>
              <a:gd name="connsiteY2733" fmla="*/ 432149 h 8684653"/>
              <a:gd name="connsiteX2734" fmla="*/ 11881301 w 16408544"/>
              <a:gd name="connsiteY2734" fmla="*/ 466472 h 8684653"/>
              <a:gd name="connsiteX2735" fmla="*/ 11849089 w 16408544"/>
              <a:gd name="connsiteY2735" fmla="*/ 423535 h 8684653"/>
              <a:gd name="connsiteX2736" fmla="*/ 11892533 w 16408544"/>
              <a:gd name="connsiteY2736" fmla="*/ 406401 h 8684653"/>
              <a:gd name="connsiteX2737" fmla="*/ 10316746 w 16408544"/>
              <a:gd name="connsiteY2737" fmla="*/ 381003 h 8684653"/>
              <a:gd name="connsiteX2738" fmla="*/ 10361923 w 16408544"/>
              <a:gd name="connsiteY2738" fmla="*/ 401530 h 8684653"/>
              <a:gd name="connsiteX2739" fmla="*/ 10308684 w 16408544"/>
              <a:gd name="connsiteY2739" fmla="*/ 427261 h 8684653"/>
              <a:gd name="connsiteX2740" fmla="*/ 10276425 w 16408544"/>
              <a:gd name="connsiteY2740" fmla="*/ 410129 h 8684653"/>
              <a:gd name="connsiteX2741" fmla="*/ 10252227 w 16408544"/>
              <a:gd name="connsiteY2741" fmla="*/ 427261 h 8684653"/>
              <a:gd name="connsiteX2742" fmla="*/ 10236190 w 16408544"/>
              <a:gd name="connsiteY2742" fmla="*/ 415333 h 8684653"/>
              <a:gd name="connsiteX2743" fmla="*/ 10316746 w 16408544"/>
              <a:gd name="connsiteY2743" fmla="*/ 381003 h 8684653"/>
              <a:gd name="connsiteX2744" fmla="*/ 9980788 w 16408544"/>
              <a:gd name="connsiteY2744" fmla="*/ 381000 h 8684653"/>
              <a:gd name="connsiteX2745" fmla="*/ 9969490 w 16408544"/>
              <a:gd name="connsiteY2745" fmla="*/ 394787 h 8684653"/>
              <a:gd name="connsiteX2746" fmla="*/ 9969490 w 16408544"/>
              <a:gd name="connsiteY2746" fmla="*/ 387878 h 8684653"/>
              <a:gd name="connsiteX2747" fmla="*/ 9980788 w 16408544"/>
              <a:gd name="connsiteY2747" fmla="*/ 381000 h 8684653"/>
              <a:gd name="connsiteX2748" fmla="*/ 8734936 w 16408544"/>
              <a:gd name="connsiteY2748" fmla="*/ 381000 h 8684653"/>
              <a:gd name="connsiteX2749" fmla="*/ 8754258 w 16408544"/>
              <a:gd name="connsiteY2749" fmla="*/ 381000 h 8684653"/>
              <a:gd name="connsiteX2750" fmla="*/ 8754258 w 16408544"/>
              <a:gd name="connsiteY2750" fmla="*/ 423939 h 8684653"/>
              <a:gd name="connsiteX2751" fmla="*/ 8802749 w 16408544"/>
              <a:gd name="connsiteY2751" fmla="*/ 406701 h 8684653"/>
              <a:gd name="connsiteX2752" fmla="*/ 8855744 w 16408544"/>
              <a:gd name="connsiteY2752" fmla="*/ 406701 h 8684653"/>
              <a:gd name="connsiteX2753" fmla="*/ 8928451 w 16408544"/>
              <a:gd name="connsiteY2753" fmla="*/ 453026 h 8684653"/>
              <a:gd name="connsiteX2754" fmla="*/ 8762240 w 16408544"/>
              <a:gd name="connsiteY2754" fmla="*/ 540571 h 8684653"/>
              <a:gd name="connsiteX2755" fmla="*/ 8705748 w 16408544"/>
              <a:gd name="connsiteY2755" fmla="*/ 509687 h 8684653"/>
              <a:gd name="connsiteX2756" fmla="*/ 8613855 w 16408544"/>
              <a:gd name="connsiteY2756" fmla="*/ 509687 h 8684653"/>
              <a:gd name="connsiteX2757" fmla="*/ 8592902 w 16408544"/>
              <a:gd name="connsiteY2757" fmla="*/ 482130 h 8684653"/>
              <a:gd name="connsiteX2758" fmla="*/ 8625216 w 16408544"/>
              <a:gd name="connsiteY2758" fmla="*/ 480436 h 8684653"/>
              <a:gd name="connsiteX2759" fmla="*/ 8665531 w 16408544"/>
              <a:gd name="connsiteY2759" fmla="*/ 471944 h 8684653"/>
              <a:gd name="connsiteX2760" fmla="*/ 8589736 w 16408544"/>
              <a:gd name="connsiteY2760" fmla="*/ 466729 h 8684653"/>
              <a:gd name="connsiteX2761" fmla="*/ 8533284 w 16408544"/>
              <a:gd name="connsiteY2761" fmla="*/ 447870 h 8684653"/>
              <a:gd name="connsiteX2762" fmla="*/ 8508990 w 16408544"/>
              <a:gd name="connsiteY2762" fmla="*/ 406701 h 8684653"/>
              <a:gd name="connsiteX2763" fmla="*/ 8533284 w 16408544"/>
              <a:gd name="connsiteY2763" fmla="*/ 406701 h 8684653"/>
              <a:gd name="connsiteX2764" fmla="*/ 8565656 w 16408544"/>
              <a:gd name="connsiteY2764" fmla="*/ 411838 h 8684653"/>
              <a:gd name="connsiteX2765" fmla="*/ 8565656 w 16408544"/>
              <a:gd name="connsiteY2765" fmla="*/ 403349 h 8684653"/>
              <a:gd name="connsiteX2766" fmla="*/ 8592902 w 16408544"/>
              <a:gd name="connsiteY2766" fmla="*/ 403349 h 8684653"/>
              <a:gd name="connsiteX2767" fmla="*/ 8584901 w 16408544"/>
              <a:gd name="connsiteY2767" fmla="*/ 386119 h 8684653"/>
              <a:gd name="connsiteX2768" fmla="*/ 8629915 w 16408544"/>
              <a:gd name="connsiteY2768" fmla="*/ 386119 h 8684653"/>
              <a:gd name="connsiteX2769" fmla="*/ 8694582 w 16408544"/>
              <a:gd name="connsiteY2769" fmla="*/ 420536 h 8684653"/>
              <a:gd name="connsiteX2770" fmla="*/ 8734936 w 16408544"/>
              <a:gd name="connsiteY2770" fmla="*/ 381000 h 8684653"/>
              <a:gd name="connsiteX2771" fmla="*/ 9826967 w 16408544"/>
              <a:gd name="connsiteY2771" fmla="*/ 330201 h 8684653"/>
              <a:gd name="connsiteX2772" fmla="*/ 9920658 w 16408544"/>
              <a:gd name="connsiteY2772" fmla="*/ 352503 h 8684653"/>
              <a:gd name="connsiteX2773" fmla="*/ 9980168 w 16408544"/>
              <a:gd name="connsiteY2773" fmla="*/ 330201 h 8684653"/>
              <a:gd name="connsiteX2774" fmla="*/ 10028620 w 16408544"/>
              <a:gd name="connsiteY2774" fmla="*/ 347347 h 8684653"/>
              <a:gd name="connsiteX2775" fmla="*/ 9985191 w 16408544"/>
              <a:gd name="connsiteY2775" fmla="*/ 378348 h 8684653"/>
              <a:gd name="connsiteX2776" fmla="*/ 9968869 w 16408544"/>
              <a:gd name="connsiteY2776" fmla="*/ 378348 h 8684653"/>
              <a:gd name="connsiteX2777" fmla="*/ 9968869 w 16408544"/>
              <a:gd name="connsiteY2777" fmla="*/ 388554 h 8684653"/>
              <a:gd name="connsiteX2778" fmla="*/ 9912482 w 16408544"/>
              <a:gd name="connsiteY2778" fmla="*/ 395461 h 8684653"/>
              <a:gd name="connsiteX2779" fmla="*/ 9880171 w 16408544"/>
              <a:gd name="connsiteY2779" fmla="*/ 433216 h 8684653"/>
              <a:gd name="connsiteX2780" fmla="*/ 9862537 w 16408544"/>
              <a:gd name="connsiteY2780" fmla="*/ 416103 h 8684653"/>
              <a:gd name="connsiteX2781" fmla="*/ 9864045 w 16408544"/>
              <a:gd name="connsiteY2781" fmla="*/ 416103 h 8684653"/>
              <a:gd name="connsiteX2782" fmla="*/ 9818927 w 16408544"/>
              <a:gd name="connsiteY2782" fmla="*/ 395461 h 8684653"/>
              <a:gd name="connsiteX2783" fmla="*/ 9852671 w 16408544"/>
              <a:gd name="connsiteY2783" fmla="*/ 381685 h 8684653"/>
              <a:gd name="connsiteX2784" fmla="*/ 9823739 w 16408544"/>
              <a:gd name="connsiteY2784" fmla="*/ 378348 h 8684653"/>
              <a:gd name="connsiteX2785" fmla="*/ 9847904 w 16408544"/>
              <a:gd name="connsiteY2785" fmla="*/ 362822 h 8684653"/>
              <a:gd name="connsiteX2786" fmla="*/ 9810886 w 16408544"/>
              <a:gd name="connsiteY2786" fmla="*/ 347347 h 8684653"/>
              <a:gd name="connsiteX2787" fmla="*/ 9738283 w 16408544"/>
              <a:gd name="connsiteY2787" fmla="*/ 369632 h 8684653"/>
              <a:gd name="connsiteX2788" fmla="*/ 9702789 w 16408544"/>
              <a:gd name="connsiteY2788" fmla="*/ 362822 h 8684653"/>
              <a:gd name="connsiteX2789" fmla="*/ 9826967 w 16408544"/>
              <a:gd name="connsiteY2789" fmla="*/ 330201 h 8684653"/>
              <a:gd name="connsiteX2790" fmla="*/ 10433455 w 16408544"/>
              <a:gd name="connsiteY2790" fmla="*/ 317506 h 8684653"/>
              <a:gd name="connsiteX2791" fmla="*/ 10486720 w 16408544"/>
              <a:gd name="connsiteY2791" fmla="*/ 317506 h 8684653"/>
              <a:gd name="connsiteX2792" fmla="*/ 10470637 w 16408544"/>
              <a:gd name="connsiteY2792" fmla="*/ 331242 h 8684653"/>
              <a:gd name="connsiteX2793" fmla="*/ 10522213 w 16408544"/>
              <a:gd name="connsiteY2793" fmla="*/ 331242 h 8684653"/>
              <a:gd name="connsiteX2794" fmla="*/ 10522213 w 16408544"/>
              <a:gd name="connsiteY2794" fmla="*/ 356956 h 8684653"/>
              <a:gd name="connsiteX2795" fmla="*/ 10481892 w 16408544"/>
              <a:gd name="connsiteY2795" fmla="*/ 365576 h 8684653"/>
              <a:gd name="connsiteX2796" fmla="*/ 10489865 w 16408544"/>
              <a:gd name="connsiteY2796" fmla="*/ 386111 h 8684653"/>
              <a:gd name="connsiteX2797" fmla="*/ 10401289 w 16408544"/>
              <a:gd name="connsiteY2797" fmla="*/ 386111 h 8684653"/>
              <a:gd name="connsiteX2798" fmla="*/ 10433455 w 16408544"/>
              <a:gd name="connsiteY2798" fmla="*/ 339823 h 8684653"/>
              <a:gd name="connsiteX2799" fmla="*/ 10433455 w 16408544"/>
              <a:gd name="connsiteY2799" fmla="*/ 317506 h 8684653"/>
              <a:gd name="connsiteX2800" fmla="*/ 3365239 w 16408544"/>
              <a:gd name="connsiteY2800" fmla="*/ 304801 h 8684653"/>
              <a:gd name="connsiteX2801" fmla="*/ 3466933 w 16408544"/>
              <a:gd name="connsiteY2801" fmla="*/ 323640 h 8684653"/>
              <a:gd name="connsiteX2802" fmla="*/ 3518537 w 16408544"/>
              <a:gd name="connsiteY2802" fmla="*/ 397388 h 8684653"/>
              <a:gd name="connsiteX2803" fmla="*/ 3583029 w 16408544"/>
              <a:gd name="connsiteY2803" fmla="*/ 400805 h 8684653"/>
              <a:gd name="connsiteX2804" fmla="*/ 3612035 w 16408544"/>
              <a:gd name="connsiteY2804" fmla="*/ 448841 h 8684653"/>
              <a:gd name="connsiteX2805" fmla="*/ 3631427 w 16408544"/>
              <a:gd name="connsiteY2805" fmla="*/ 448841 h 8684653"/>
              <a:gd name="connsiteX2806" fmla="*/ 3631427 w 16408544"/>
              <a:gd name="connsiteY2806" fmla="*/ 426601 h 8684653"/>
              <a:gd name="connsiteX2807" fmla="*/ 3623414 w 16408544"/>
              <a:gd name="connsiteY2807" fmla="*/ 414501 h 8684653"/>
              <a:gd name="connsiteX2808" fmla="*/ 3639508 w 16408544"/>
              <a:gd name="connsiteY2808" fmla="*/ 414501 h 8684653"/>
              <a:gd name="connsiteX2809" fmla="*/ 3660479 w 16408544"/>
              <a:gd name="connsiteY2809" fmla="*/ 443778 h 8684653"/>
              <a:gd name="connsiteX2810" fmla="*/ 3679845 w 16408544"/>
              <a:gd name="connsiteY2810" fmla="*/ 469472 h 8684653"/>
              <a:gd name="connsiteX2811" fmla="*/ 3668466 w 16408544"/>
              <a:gd name="connsiteY2811" fmla="*/ 495152 h 8684653"/>
              <a:gd name="connsiteX2812" fmla="*/ 3695964 w 16408544"/>
              <a:gd name="connsiteY2812" fmla="*/ 495152 h 8684653"/>
              <a:gd name="connsiteX2813" fmla="*/ 3775038 w 16408544"/>
              <a:gd name="connsiteY2813" fmla="*/ 517524 h 8684653"/>
              <a:gd name="connsiteX2814" fmla="*/ 3773366 w 16408544"/>
              <a:gd name="connsiteY2814" fmla="*/ 543284 h 8684653"/>
              <a:gd name="connsiteX2815" fmla="*/ 3736233 w 16408544"/>
              <a:gd name="connsiteY2815" fmla="*/ 551886 h 8684653"/>
              <a:gd name="connsiteX2816" fmla="*/ 3660479 w 16408544"/>
              <a:gd name="connsiteY2816" fmla="*/ 606740 h 8684653"/>
              <a:gd name="connsiteX2817" fmla="*/ 3634678 w 16408544"/>
              <a:gd name="connsiteY2817" fmla="*/ 572433 h 8684653"/>
              <a:gd name="connsiteX2818" fmla="*/ 3615240 w 16408544"/>
              <a:gd name="connsiteY2818" fmla="*/ 598159 h 8684653"/>
              <a:gd name="connsiteX2819" fmla="*/ 3636210 w 16408544"/>
              <a:gd name="connsiteY2819" fmla="*/ 632383 h 8684653"/>
              <a:gd name="connsiteX2820" fmla="*/ 3607228 w 16408544"/>
              <a:gd name="connsiteY2820" fmla="*/ 632383 h 8684653"/>
              <a:gd name="connsiteX2821" fmla="*/ 3607228 w 16408544"/>
              <a:gd name="connsiteY2821" fmla="*/ 654694 h 8684653"/>
              <a:gd name="connsiteX2822" fmla="*/ 3549123 w 16408544"/>
              <a:gd name="connsiteY2822" fmla="*/ 623901 h 8684653"/>
              <a:gd name="connsiteX2823" fmla="*/ 3510409 w 16408544"/>
              <a:gd name="connsiteY2823" fmla="*/ 663322 h 8684653"/>
              <a:gd name="connsiteX2824" fmla="*/ 3445917 w 16408544"/>
              <a:gd name="connsiteY2824" fmla="*/ 632383 h 8684653"/>
              <a:gd name="connsiteX2825" fmla="*/ 3466933 w 16408544"/>
              <a:gd name="connsiteY2825" fmla="*/ 620485 h 8684653"/>
              <a:gd name="connsiteX2826" fmla="*/ 3394337 w 16408544"/>
              <a:gd name="connsiteY2826" fmla="*/ 577511 h 8684653"/>
              <a:gd name="connsiteX2827" fmla="*/ 3516865 w 16408544"/>
              <a:gd name="connsiteY2827" fmla="*/ 543284 h 8684653"/>
              <a:gd name="connsiteX2828" fmla="*/ 3450700 w 16408544"/>
              <a:gd name="connsiteY2828" fmla="*/ 529541 h 8684653"/>
              <a:gd name="connsiteX2829" fmla="*/ 3402327 w 16408544"/>
              <a:gd name="connsiteY2829" fmla="*/ 543284 h 8684653"/>
              <a:gd name="connsiteX2830" fmla="*/ 3379799 w 16408544"/>
              <a:gd name="connsiteY2830" fmla="*/ 521029 h 8684653"/>
              <a:gd name="connsiteX2831" fmla="*/ 3345870 w 16408544"/>
              <a:gd name="connsiteY2831" fmla="*/ 534689 h 8684653"/>
              <a:gd name="connsiteX2832" fmla="*/ 3332958 w 16408544"/>
              <a:gd name="connsiteY2832" fmla="*/ 517524 h 8684653"/>
              <a:gd name="connsiteX2833" fmla="*/ 3370047 w 16408544"/>
              <a:gd name="connsiteY2833" fmla="*/ 495152 h 8684653"/>
              <a:gd name="connsiteX2834" fmla="*/ 3276594 w 16408544"/>
              <a:gd name="connsiteY2834" fmla="*/ 440425 h 8684653"/>
              <a:gd name="connsiteX2835" fmla="*/ 3300747 w 16408544"/>
              <a:gd name="connsiteY2835" fmla="*/ 440425 h 8684653"/>
              <a:gd name="connsiteX2836" fmla="*/ 3349029 w 16408544"/>
              <a:gd name="connsiteY2836" fmla="*/ 457620 h 8684653"/>
              <a:gd name="connsiteX2837" fmla="*/ 3363613 w 16408544"/>
              <a:gd name="connsiteY2837" fmla="*/ 443778 h 8684653"/>
              <a:gd name="connsiteX2838" fmla="*/ 3292735 w 16408544"/>
              <a:gd name="connsiteY2838" fmla="*/ 406070 h 8684653"/>
              <a:gd name="connsiteX2839" fmla="*/ 3329683 w 16408544"/>
              <a:gd name="connsiteY2839" fmla="*/ 388924 h 8684653"/>
              <a:gd name="connsiteX2840" fmla="*/ 3373320 w 16408544"/>
              <a:gd name="connsiteY2840" fmla="*/ 400805 h 8684653"/>
              <a:gd name="connsiteX2841" fmla="*/ 3391087 w 16408544"/>
              <a:gd name="connsiteY2841" fmla="*/ 383659 h 8684653"/>
              <a:gd name="connsiteX2842" fmla="*/ 3345870 w 16408544"/>
              <a:gd name="connsiteY2842" fmla="*/ 383659 h 8684653"/>
              <a:gd name="connsiteX2843" fmla="*/ 3324945 w 16408544"/>
              <a:gd name="connsiteY2843" fmla="*/ 356258 h 8684653"/>
              <a:gd name="connsiteX2844" fmla="*/ 3386233 w 16408544"/>
              <a:gd name="connsiteY2844" fmla="*/ 340754 h 8684653"/>
              <a:gd name="connsiteX2845" fmla="*/ 3413636 w 16408544"/>
              <a:gd name="connsiteY2845" fmla="*/ 340754 h 8684653"/>
              <a:gd name="connsiteX2846" fmla="*/ 3365239 w 16408544"/>
              <a:gd name="connsiteY2846" fmla="*/ 304801 h 8684653"/>
              <a:gd name="connsiteX2847" fmla="*/ 12056535 w 16408544"/>
              <a:gd name="connsiteY2847" fmla="*/ 279406 h 8684653"/>
              <a:gd name="connsiteX2848" fmla="*/ 12153481 w 16408544"/>
              <a:gd name="connsiteY2848" fmla="*/ 346317 h 8684653"/>
              <a:gd name="connsiteX2849" fmla="*/ 12134071 w 16408544"/>
              <a:gd name="connsiteY2849" fmla="*/ 347989 h 8684653"/>
              <a:gd name="connsiteX2850" fmla="*/ 12134071 w 16408544"/>
              <a:gd name="connsiteY2850" fmla="*/ 382331 h 8684653"/>
              <a:gd name="connsiteX2851" fmla="*/ 12103373 w 16408544"/>
              <a:gd name="connsiteY2851" fmla="*/ 413316 h 8684653"/>
              <a:gd name="connsiteX2852" fmla="*/ 12137093 w 16408544"/>
              <a:gd name="connsiteY2852" fmla="*/ 413316 h 8684653"/>
              <a:gd name="connsiteX2853" fmla="*/ 12185584 w 16408544"/>
              <a:gd name="connsiteY2853" fmla="*/ 430504 h 8684653"/>
              <a:gd name="connsiteX2854" fmla="*/ 12217935 w 16408544"/>
              <a:gd name="connsiteY2854" fmla="*/ 430504 h 8684653"/>
              <a:gd name="connsiteX2855" fmla="*/ 12271136 w 16408544"/>
              <a:gd name="connsiteY2855" fmla="*/ 464738 h 8684653"/>
              <a:gd name="connsiteX2856" fmla="*/ 12258284 w 16408544"/>
              <a:gd name="connsiteY2856" fmla="*/ 498977 h 8684653"/>
              <a:gd name="connsiteX2857" fmla="*/ 12225933 w 16408544"/>
              <a:gd name="connsiteY2857" fmla="*/ 521201 h 8684653"/>
              <a:gd name="connsiteX2858" fmla="*/ 12250108 w 16408544"/>
              <a:gd name="connsiteY2858" fmla="*/ 541956 h 8684653"/>
              <a:gd name="connsiteX2859" fmla="*/ 12217935 w 16408544"/>
              <a:gd name="connsiteY2859" fmla="*/ 567622 h 8684653"/>
              <a:gd name="connsiteX2860" fmla="*/ 12037284 w 16408544"/>
              <a:gd name="connsiteY2860" fmla="*/ 536749 h 8684653"/>
              <a:gd name="connsiteX2861" fmla="*/ 11951732 w 16408544"/>
              <a:gd name="connsiteY2861" fmla="*/ 474921 h 8684653"/>
              <a:gd name="connsiteX2862" fmla="*/ 12072639 w 16408544"/>
              <a:gd name="connsiteY2862" fmla="*/ 420041 h 8684653"/>
              <a:gd name="connsiteX2863" fmla="*/ 12004951 w 16408544"/>
              <a:gd name="connsiteY2863" fmla="*/ 416744 h 8684653"/>
              <a:gd name="connsiteX2864" fmla="*/ 11887190 w 16408544"/>
              <a:gd name="connsiteY2864" fmla="*/ 380603 h 8684653"/>
              <a:gd name="connsiteX2865" fmla="*/ 12056535 w 16408544"/>
              <a:gd name="connsiteY2865" fmla="*/ 279406 h 8684653"/>
              <a:gd name="connsiteX2866" fmla="*/ 10644065 w 16408544"/>
              <a:gd name="connsiteY2866" fmla="*/ 266701 h 8684653"/>
              <a:gd name="connsiteX2867" fmla="*/ 10666666 w 16408544"/>
              <a:gd name="connsiteY2867" fmla="*/ 321488 h 8684653"/>
              <a:gd name="connsiteX2868" fmla="*/ 10581232 w 16408544"/>
              <a:gd name="connsiteY2868" fmla="*/ 343882 h 8684653"/>
              <a:gd name="connsiteX2869" fmla="*/ 10553689 w 16408544"/>
              <a:gd name="connsiteY2869" fmla="*/ 318119 h 8684653"/>
              <a:gd name="connsiteX2870" fmla="*/ 10644065 w 16408544"/>
              <a:gd name="connsiteY2870" fmla="*/ 266701 h 8684653"/>
              <a:gd name="connsiteX2871" fmla="*/ 10358141 w 16408544"/>
              <a:gd name="connsiteY2871" fmla="*/ 228601 h 8684653"/>
              <a:gd name="connsiteX2872" fmla="*/ 10363013 w 16408544"/>
              <a:gd name="connsiteY2872" fmla="*/ 249315 h 8684653"/>
              <a:gd name="connsiteX2873" fmla="*/ 10348413 w 16408544"/>
              <a:gd name="connsiteY2873" fmla="*/ 271460 h 8684653"/>
              <a:gd name="connsiteX2874" fmla="*/ 10274161 w 16408544"/>
              <a:gd name="connsiteY2874" fmla="*/ 316205 h 8684653"/>
              <a:gd name="connsiteX2875" fmla="*/ 10366157 w 16408544"/>
              <a:gd name="connsiteY2875" fmla="*/ 341955 h 8684653"/>
              <a:gd name="connsiteX2876" fmla="*/ 10317763 w 16408544"/>
              <a:gd name="connsiteY2876" fmla="*/ 348810 h 8684653"/>
              <a:gd name="connsiteX2877" fmla="*/ 10253319 w 16408544"/>
              <a:gd name="connsiteY2877" fmla="*/ 369382 h 8684653"/>
              <a:gd name="connsiteX2878" fmla="*/ 10172689 w 16408544"/>
              <a:gd name="connsiteY2878" fmla="*/ 336861 h 8684653"/>
              <a:gd name="connsiteX2879" fmla="*/ 10193630 w 16408544"/>
              <a:gd name="connsiteY2879" fmla="*/ 317898 h 8684653"/>
              <a:gd name="connsiteX2880" fmla="*/ 10261317 w 16408544"/>
              <a:gd name="connsiteY2880" fmla="*/ 317898 h 8684653"/>
              <a:gd name="connsiteX2881" fmla="*/ 10234017 w 16408544"/>
              <a:gd name="connsiteY2881" fmla="*/ 314590 h 8684653"/>
              <a:gd name="connsiteX2882" fmla="*/ 10234017 w 16408544"/>
              <a:gd name="connsiteY2882" fmla="*/ 292101 h 8684653"/>
              <a:gd name="connsiteX2883" fmla="*/ 10330777 w 16408544"/>
              <a:gd name="connsiteY2883" fmla="*/ 257778 h 8684653"/>
              <a:gd name="connsiteX2884" fmla="*/ 10358141 w 16408544"/>
              <a:gd name="connsiteY2884" fmla="*/ 228601 h 8684653"/>
              <a:gd name="connsiteX2885" fmla="*/ 4317151 w 16408544"/>
              <a:gd name="connsiteY2885" fmla="*/ 76202 h 8684653"/>
              <a:gd name="connsiteX2886" fmla="*/ 4365549 w 16408544"/>
              <a:gd name="connsiteY2886" fmla="*/ 88226 h 8684653"/>
              <a:gd name="connsiteX2887" fmla="*/ 4410672 w 16408544"/>
              <a:gd name="connsiteY2887" fmla="*/ 88226 h 8684653"/>
              <a:gd name="connsiteX2888" fmla="*/ 4620435 w 16408544"/>
              <a:gd name="connsiteY2888" fmla="*/ 117426 h 8684653"/>
              <a:gd name="connsiteX2889" fmla="*/ 4591358 w 16408544"/>
              <a:gd name="connsiteY2889" fmla="*/ 136318 h 8684653"/>
              <a:gd name="connsiteX2890" fmla="*/ 4720372 w 16408544"/>
              <a:gd name="connsiteY2890" fmla="*/ 96887 h 8684653"/>
              <a:gd name="connsiteX2891" fmla="*/ 4749450 w 16408544"/>
              <a:gd name="connsiteY2891" fmla="*/ 110664 h 8684653"/>
              <a:gd name="connsiteX2892" fmla="*/ 4776956 w 16408544"/>
              <a:gd name="connsiteY2892" fmla="*/ 139644 h 8684653"/>
              <a:gd name="connsiteX2893" fmla="*/ 4881675 w 16408544"/>
              <a:gd name="connsiteY2893" fmla="*/ 182694 h 8684653"/>
              <a:gd name="connsiteX2894" fmla="*/ 4841332 w 16408544"/>
              <a:gd name="connsiteY2894" fmla="*/ 208278 h 8684653"/>
              <a:gd name="connsiteX2895" fmla="*/ 4612315 w 16408544"/>
              <a:gd name="connsiteY2895" fmla="*/ 273437 h 8684653"/>
              <a:gd name="connsiteX2896" fmla="*/ 4733339 w 16408544"/>
              <a:gd name="connsiteY2896" fmla="*/ 278736 h 8684653"/>
              <a:gd name="connsiteX2897" fmla="*/ 4547741 w 16408544"/>
              <a:gd name="connsiteY2897" fmla="*/ 362827 h 8684653"/>
              <a:gd name="connsiteX2898" fmla="*/ 4397770 w 16408544"/>
              <a:gd name="connsiteY2898" fmla="*/ 491394 h 8684653"/>
              <a:gd name="connsiteX2899" fmla="*/ 4313943 w 16408544"/>
              <a:gd name="connsiteY2899" fmla="*/ 496585 h 8684653"/>
              <a:gd name="connsiteX2900" fmla="*/ 4212172 w 16408544"/>
              <a:gd name="connsiteY2900" fmla="*/ 534373 h 8684653"/>
              <a:gd name="connsiteX2901" fmla="*/ 4257491 w 16408544"/>
              <a:gd name="connsiteY2901" fmla="*/ 534373 h 8684653"/>
              <a:gd name="connsiteX2902" fmla="*/ 4210665 w 16408544"/>
              <a:gd name="connsiteY2902" fmla="*/ 565253 h 8684653"/>
              <a:gd name="connsiteX2903" fmla="*/ 4257491 w 16408544"/>
              <a:gd name="connsiteY2903" fmla="*/ 606549 h 8684653"/>
              <a:gd name="connsiteX2904" fmla="*/ 4184797 w 16408544"/>
              <a:gd name="connsiteY2904" fmla="*/ 685304 h 8684653"/>
              <a:gd name="connsiteX2905" fmla="*/ 4104113 w 16408544"/>
              <a:gd name="connsiteY2905" fmla="*/ 685304 h 8684653"/>
              <a:gd name="connsiteX2906" fmla="*/ 4115443 w 16408544"/>
              <a:gd name="connsiteY2906" fmla="*/ 711069 h 8684653"/>
              <a:gd name="connsiteX2907" fmla="*/ 4047792 w 16408544"/>
              <a:gd name="connsiteY2907" fmla="*/ 791726 h 8684653"/>
              <a:gd name="connsiteX2908" fmla="*/ 4088068 w 16408544"/>
              <a:gd name="connsiteY2908" fmla="*/ 791726 h 8684653"/>
              <a:gd name="connsiteX2909" fmla="*/ 4112234 w 16408544"/>
              <a:gd name="connsiteY2909" fmla="*/ 805466 h 8684653"/>
              <a:gd name="connsiteX2910" fmla="*/ 3983219 w 16408544"/>
              <a:gd name="connsiteY2910" fmla="*/ 865583 h 8684653"/>
              <a:gd name="connsiteX2911" fmla="*/ 3929976 w 16408544"/>
              <a:gd name="connsiteY2911" fmla="*/ 839782 h 8684653"/>
              <a:gd name="connsiteX2912" fmla="*/ 3808950 w 16408544"/>
              <a:gd name="connsiteY2912" fmla="*/ 839782 h 8684653"/>
              <a:gd name="connsiteX2913" fmla="*/ 3760554 w 16408544"/>
              <a:gd name="connsiteY2913" fmla="*/ 856885 h 8684653"/>
              <a:gd name="connsiteX2914" fmla="*/ 3607439 w 16408544"/>
              <a:gd name="connsiteY2914" fmla="*/ 822606 h 8684653"/>
              <a:gd name="connsiteX2915" fmla="*/ 3587988 w 16408544"/>
              <a:gd name="connsiteY2915" fmla="*/ 839782 h 8684653"/>
              <a:gd name="connsiteX2916" fmla="*/ 3571878 w 16408544"/>
              <a:gd name="connsiteY2916" fmla="*/ 826078 h 8684653"/>
              <a:gd name="connsiteX2917" fmla="*/ 3689693 w 16408544"/>
              <a:gd name="connsiteY2917" fmla="*/ 757408 h 8684653"/>
              <a:gd name="connsiteX2918" fmla="*/ 3636319 w 16408544"/>
              <a:gd name="connsiteY2918" fmla="*/ 705989 h 8684653"/>
              <a:gd name="connsiteX2919" fmla="*/ 3676792 w 16408544"/>
              <a:gd name="connsiteY2919" fmla="*/ 688777 h 8684653"/>
              <a:gd name="connsiteX2920" fmla="*/ 3776795 w 16408544"/>
              <a:gd name="connsiteY2920" fmla="*/ 736760 h 8684653"/>
              <a:gd name="connsiteX2921" fmla="*/ 3805742 w 16408544"/>
              <a:gd name="connsiteY2921" fmla="*/ 736760 h 8684653"/>
              <a:gd name="connsiteX2922" fmla="*/ 3733179 w 16408544"/>
              <a:gd name="connsiteY2922" fmla="*/ 651062 h 8684653"/>
              <a:gd name="connsiteX2923" fmla="*/ 3709013 w 16408544"/>
              <a:gd name="connsiteY2923" fmla="*/ 651062 h 8684653"/>
              <a:gd name="connsiteX2924" fmla="*/ 3692771 w 16408544"/>
              <a:gd name="connsiteY2924" fmla="*/ 663013 h 8684653"/>
              <a:gd name="connsiteX2925" fmla="*/ 3668606 w 16408544"/>
              <a:gd name="connsiteY2925" fmla="*/ 663013 h 8684653"/>
              <a:gd name="connsiteX2926" fmla="*/ 3668606 w 16408544"/>
              <a:gd name="connsiteY2926" fmla="*/ 642438 h 8684653"/>
              <a:gd name="connsiteX2927" fmla="*/ 3717069 w 16408544"/>
              <a:gd name="connsiteY2927" fmla="*/ 585827 h 8684653"/>
              <a:gd name="connsiteX2928" fmla="*/ 3805742 w 16408544"/>
              <a:gd name="connsiteY2928" fmla="*/ 539525 h 8684653"/>
              <a:gd name="connsiteX2929" fmla="*/ 3696111 w 16408544"/>
              <a:gd name="connsiteY2929" fmla="*/ 453825 h 8684653"/>
              <a:gd name="connsiteX2930" fmla="*/ 3736322 w 16408544"/>
              <a:gd name="connsiteY2930" fmla="*/ 440048 h 8684653"/>
              <a:gd name="connsiteX2931" fmla="*/ 3712222 w 16408544"/>
              <a:gd name="connsiteY2931" fmla="*/ 419472 h 8684653"/>
              <a:gd name="connsiteX2932" fmla="*/ 3736322 w 16408544"/>
              <a:gd name="connsiteY2932" fmla="*/ 419472 h 8684653"/>
              <a:gd name="connsiteX2933" fmla="*/ 3821983 w 16408544"/>
              <a:gd name="connsiteY2933" fmla="*/ 422908 h 8684653"/>
              <a:gd name="connsiteX2934" fmla="*/ 3921920 w 16408544"/>
              <a:gd name="connsiteY2934" fmla="*/ 481088 h 8684653"/>
              <a:gd name="connsiteX2935" fmla="*/ 3862194 w 16408544"/>
              <a:gd name="connsiteY2935" fmla="*/ 427988 h 8684653"/>
              <a:gd name="connsiteX2936" fmla="*/ 3873588 w 16408544"/>
              <a:gd name="connsiteY2936" fmla="*/ 410775 h 8684653"/>
              <a:gd name="connsiteX2937" fmla="*/ 3954208 w 16408544"/>
              <a:gd name="connsiteY2937" fmla="*/ 410775 h 8684653"/>
              <a:gd name="connsiteX2938" fmla="*/ 4031617 w 16408544"/>
              <a:gd name="connsiteY2938" fmla="*/ 362827 h 8684653"/>
              <a:gd name="connsiteX2939" fmla="*/ 4007450 w 16408544"/>
              <a:gd name="connsiteY2939" fmla="*/ 362827 h 8684653"/>
              <a:gd name="connsiteX2940" fmla="*/ 3886424 w 16408544"/>
              <a:gd name="connsiteY2940" fmla="*/ 402296 h 8684653"/>
              <a:gd name="connsiteX2941" fmla="*/ 3829907 w 16408544"/>
              <a:gd name="connsiteY2941" fmla="*/ 388483 h 8684653"/>
              <a:gd name="connsiteX2942" fmla="*/ 3797753 w 16408544"/>
              <a:gd name="connsiteY2942" fmla="*/ 405659 h 8684653"/>
              <a:gd name="connsiteX2943" fmla="*/ 3733179 w 16408544"/>
              <a:gd name="connsiteY2943" fmla="*/ 371380 h 8684653"/>
              <a:gd name="connsiteX2944" fmla="*/ 3712222 w 16408544"/>
              <a:gd name="connsiteY2944" fmla="*/ 371380 h 8684653"/>
              <a:gd name="connsiteX2945" fmla="*/ 3676792 w 16408544"/>
              <a:gd name="connsiteY2945" fmla="*/ 388483 h 8684653"/>
              <a:gd name="connsiteX2946" fmla="*/ 3587988 w 16408544"/>
              <a:gd name="connsiteY2946" fmla="*/ 352485 h 8684653"/>
              <a:gd name="connsiteX2947" fmla="*/ 3631539 w 16408544"/>
              <a:gd name="connsiteY2947" fmla="*/ 333629 h 8684653"/>
              <a:gd name="connsiteX2948" fmla="*/ 3555702 w 16408544"/>
              <a:gd name="connsiteY2948" fmla="*/ 333629 h 8684653"/>
              <a:gd name="connsiteX2949" fmla="*/ 3655770 w 16408544"/>
              <a:gd name="connsiteY2949" fmla="*/ 280528 h 8684653"/>
              <a:gd name="connsiteX2950" fmla="*/ 3623550 w 16408544"/>
              <a:gd name="connsiteY2950" fmla="*/ 276946 h 8684653"/>
              <a:gd name="connsiteX2951" fmla="*/ 3558976 w 16408544"/>
              <a:gd name="connsiteY2951" fmla="*/ 307753 h 8684653"/>
              <a:gd name="connsiteX2952" fmla="*/ 3529964 w 16408544"/>
              <a:gd name="connsiteY2952" fmla="*/ 294085 h 8684653"/>
              <a:gd name="connsiteX2953" fmla="*/ 3575086 w 16408544"/>
              <a:gd name="connsiteY2953" fmla="*/ 264885 h 8684653"/>
              <a:gd name="connsiteX2954" fmla="*/ 3526690 w 16408544"/>
              <a:gd name="connsiteY2954" fmla="*/ 264885 h 8684653"/>
              <a:gd name="connsiteX2955" fmla="*/ 3502524 w 16408544"/>
              <a:gd name="connsiteY2955" fmla="*/ 276946 h 8684653"/>
              <a:gd name="connsiteX2956" fmla="*/ 3467093 w 16408544"/>
              <a:gd name="connsiteY2956" fmla="*/ 276946 h 8684653"/>
              <a:gd name="connsiteX2957" fmla="*/ 3628395 w 16408544"/>
              <a:gd name="connsiteY2957" fmla="*/ 213577 h 8684653"/>
              <a:gd name="connsiteX2958" fmla="*/ 3663825 w 16408544"/>
              <a:gd name="connsiteY2958" fmla="*/ 213577 h 8684653"/>
              <a:gd name="connsiteX2959" fmla="*/ 3676792 w 16408544"/>
              <a:gd name="connsiteY2959" fmla="*/ 199761 h 8684653"/>
              <a:gd name="connsiteX2960" fmla="*/ 3741234 w 16408544"/>
              <a:gd name="connsiteY2960" fmla="*/ 162083 h 8684653"/>
              <a:gd name="connsiteX2961" fmla="*/ 3849424 w 16408544"/>
              <a:gd name="connsiteY2961" fmla="*/ 199761 h 8684653"/>
              <a:gd name="connsiteX2962" fmla="*/ 3929976 w 16408544"/>
              <a:gd name="connsiteY2962" fmla="*/ 122505 h 8684653"/>
              <a:gd name="connsiteX2963" fmla="*/ 3962264 w 16408544"/>
              <a:gd name="connsiteY2963" fmla="*/ 119106 h 8684653"/>
              <a:gd name="connsiteX2964" fmla="*/ 3999329 w 16408544"/>
              <a:gd name="connsiteY2964" fmla="*/ 96887 h 8684653"/>
              <a:gd name="connsiteX2965" fmla="*/ 4184797 w 16408544"/>
              <a:gd name="connsiteY2965" fmla="*/ 96887 h 8684653"/>
              <a:gd name="connsiteX2966" fmla="*/ 4204183 w 16408544"/>
              <a:gd name="connsiteY2966" fmla="*/ 84863 h 8684653"/>
              <a:gd name="connsiteX2967" fmla="*/ 4265415 w 16408544"/>
              <a:gd name="connsiteY2967" fmla="*/ 105439 h 8684653"/>
              <a:gd name="connsiteX2968" fmla="*/ 4317151 w 16408544"/>
              <a:gd name="connsiteY2968" fmla="*/ 76202 h 8684653"/>
              <a:gd name="connsiteX2969" fmla="*/ 6061343 w 16408544"/>
              <a:gd name="connsiteY2969" fmla="*/ 0 h 8684653"/>
              <a:gd name="connsiteX2970" fmla="*/ 6295347 w 16408544"/>
              <a:gd name="connsiteY2970" fmla="*/ 0 h 8684653"/>
              <a:gd name="connsiteX2971" fmla="*/ 6537165 w 16408544"/>
              <a:gd name="connsiteY2971" fmla="*/ 99678 h 8684653"/>
              <a:gd name="connsiteX2972" fmla="*/ 6677669 w 16408544"/>
              <a:gd name="connsiteY2972" fmla="*/ 116652 h 8684653"/>
              <a:gd name="connsiteX2973" fmla="*/ 6516287 w 16408544"/>
              <a:gd name="connsiteY2973" fmla="*/ 185382 h 8684653"/>
              <a:gd name="connsiteX2974" fmla="*/ 6162015 w 16408544"/>
              <a:gd name="connsiteY2974" fmla="*/ 205876 h 8684653"/>
              <a:gd name="connsiteX2975" fmla="*/ 6488878 w 16408544"/>
              <a:gd name="connsiteY2975" fmla="*/ 205876 h 8684653"/>
              <a:gd name="connsiteX2976" fmla="*/ 6428295 w 16408544"/>
              <a:gd name="connsiteY2976" fmla="*/ 291786 h 8684653"/>
              <a:gd name="connsiteX2977" fmla="*/ 6617983 w 16408544"/>
              <a:gd name="connsiteY2977" fmla="*/ 193973 h 8684653"/>
              <a:gd name="connsiteX2978" fmla="*/ 6658200 w 16408544"/>
              <a:gd name="connsiteY2978" fmla="*/ 245520 h 8684653"/>
              <a:gd name="connsiteX2979" fmla="*/ 6549204 w 16408544"/>
              <a:gd name="connsiteY2979" fmla="*/ 394673 h 8684653"/>
              <a:gd name="connsiteX2980" fmla="*/ 6698547 w 16408544"/>
              <a:gd name="connsiteY2980" fmla="*/ 248934 h 8684653"/>
              <a:gd name="connsiteX2981" fmla="*/ 6806647 w 16408544"/>
              <a:gd name="connsiteY2981" fmla="*/ 248934 h 8684653"/>
              <a:gd name="connsiteX2982" fmla="*/ 6843661 w 16408544"/>
              <a:gd name="connsiteY2982" fmla="*/ 253902 h 8684653"/>
              <a:gd name="connsiteX2983" fmla="*/ 6903476 w 16408544"/>
              <a:gd name="connsiteY2983" fmla="*/ 219642 h 8684653"/>
              <a:gd name="connsiteX2984" fmla="*/ 6980837 w 16408544"/>
              <a:gd name="connsiteY2984" fmla="*/ 219642 h 8684653"/>
              <a:gd name="connsiteX2985" fmla="*/ 7013113 w 16408544"/>
              <a:gd name="connsiteY2985" fmla="*/ 197388 h 8684653"/>
              <a:gd name="connsiteX2986" fmla="*/ 7109939 w 16408544"/>
              <a:gd name="connsiteY2986" fmla="*/ 257320 h 8684653"/>
              <a:gd name="connsiteX2987" fmla="*/ 7069594 w 16408544"/>
              <a:gd name="connsiteY2987" fmla="*/ 296963 h 8684653"/>
              <a:gd name="connsiteX2988" fmla="*/ 6909880 w 16408544"/>
              <a:gd name="connsiteY2988" fmla="*/ 365587 h 8684653"/>
              <a:gd name="connsiteX2989" fmla="*/ 6943693 w 16408544"/>
              <a:gd name="connsiteY2989" fmla="*/ 365587 h 8684653"/>
              <a:gd name="connsiteX2990" fmla="*/ 6871071 w 16408544"/>
              <a:gd name="connsiteY2990" fmla="*/ 420445 h 8684653"/>
              <a:gd name="connsiteX2991" fmla="*/ 6871071 w 16408544"/>
              <a:gd name="connsiteY2991" fmla="*/ 442699 h 8684653"/>
              <a:gd name="connsiteX2992" fmla="*/ 6798577 w 16408544"/>
              <a:gd name="connsiteY2992" fmla="*/ 485654 h 8684653"/>
              <a:gd name="connsiteX2993" fmla="*/ 6798577 w 16408544"/>
              <a:gd name="connsiteY2993" fmla="*/ 511326 h 8684653"/>
              <a:gd name="connsiteX2994" fmla="*/ 6734024 w 16408544"/>
              <a:gd name="connsiteY2994" fmla="*/ 583367 h 8684653"/>
              <a:gd name="connsiteX2995" fmla="*/ 6706743 w 16408544"/>
              <a:gd name="connsiteY2995" fmla="*/ 657165 h 8684653"/>
              <a:gd name="connsiteX2996" fmla="*/ 6755031 w 16408544"/>
              <a:gd name="connsiteY2996" fmla="*/ 657165 h 8684653"/>
              <a:gd name="connsiteX2997" fmla="*/ 6819582 w 16408544"/>
              <a:gd name="connsiteY2997" fmla="*/ 689668 h 8684653"/>
              <a:gd name="connsiteX2998" fmla="*/ 6790508 w 16408544"/>
              <a:gd name="connsiteY2998" fmla="*/ 700122 h 8684653"/>
              <a:gd name="connsiteX2999" fmla="*/ 6859928 w 16408544"/>
              <a:gd name="connsiteY2999" fmla="*/ 760155 h 8684653"/>
              <a:gd name="connsiteX3000" fmla="*/ 6746961 w 16408544"/>
              <a:gd name="connsiteY3000" fmla="*/ 785826 h 8684653"/>
              <a:gd name="connsiteX3001" fmla="*/ 6714684 w 16408544"/>
              <a:gd name="connsiteY3001" fmla="*/ 811598 h 8684653"/>
              <a:gd name="connsiteX3002" fmla="*/ 6766429 w 16408544"/>
              <a:gd name="connsiteY3002" fmla="*/ 840890 h 8684653"/>
              <a:gd name="connsiteX3003" fmla="*/ 6790508 w 16408544"/>
              <a:gd name="connsiteY3003" fmla="*/ 914587 h 8684653"/>
              <a:gd name="connsiteX3004" fmla="*/ 6790508 w 16408544"/>
              <a:gd name="connsiteY3004" fmla="*/ 952265 h 8684653"/>
              <a:gd name="connsiteX3005" fmla="*/ 6738891 w 16408544"/>
              <a:gd name="connsiteY3005" fmla="*/ 974725 h 8684653"/>
              <a:gd name="connsiteX3006" fmla="*/ 6803444 w 16408544"/>
              <a:gd name="connsiteY3006" fmla="*/ 1009089 h 8684653"/>
              <a:gd name="connsiteX3007" fmla="*/ 6730822 w 16408544"/>
              <a:gd name="connsiteY3007" fmla="*/ 1055253 h 8684653"/>
              <a:gd name="connsiteX3008" fmla="*/ 6746961 w 16408544"/>
              <a:gd name="connsiteY3008" fmla="*/ 1081027 h 8684653"/>
              <a:gd name="connsiteX3009" fmla="*/ 6658200 w 16408544"/>
              <a:gd name="connsiteY3009" fmla="*/ 1146236 h 8684653"/>
              <a:gd name="connsiteX3010" fmla="*/ 6609914 w 16408544"/>
              <a:gd name="connsiteY3010" fmla="*/ 1106696 h 8684653"/>
              <a:gd name="connsiteX3011" fmla="*/ 6585707 w 16408544"/>
              <a:gd name="connsiteY3011" fmla="*/ 1106696 h 8684653"/>
              <a:gd name="connsiteX3012" fmla="*/ 6674338 w 16408544"/>
              <a:gd name="connsiteY3012" fmla="*/ 1183914 h 8684653"/>
              <a:gd name="connsiteX3013" fmla="*/ 6650260 w 16408544"/>
              <a:gd name="connsiteY3013" fmla="*/ 1232043 h 8684653"/>
              <a:gd name="connsiteX3014" fmla="*/ 6561371 w 16408544"/>
              <a:gd name="connsiteY3014" fmla="*/ 1154725 h 8684653"/>
              <a:gd name="connsiteX3015" fmla="*/ 6540494 w 16408544"/>
              <a:gd name="connsiteY3015" fmla="*/ 1154725 h 8684653"/>
              <a:gd name="connsiteX3016" fmla="*/ 6540494 w 16408544"/>
              <a:gd name="connsiteY3016" fmla="*/ 1180600 h 8684653"/>
              <a:gd name="connsiteX3017" fmla="*/ 6701877 w 16408544"/>
              <a:gd name="connsiteY3017" fmla="*/ 1369190 h 8684653"/>
              <a:gd name="connsiteX3018" fmla="*/ 6658200 w 16408544"/>
              <a:gd name="connsiteY3018" fmla="*/ 1389685 h 8684653"/>
              <a:gd name="connsiteX3019" fmla="*/ 6532426 w 16408544"/>
              <a:gd name="connsiteY3019" fmla="*/ 1303981 h 8684653"/>
              <a:gd name="connsiteX3020" fmla="*/ 6508218 w 16408544"/>
              <a:gd name="connsiteY3020" fmla="*/ 1303981 h 8684653"/>
              <a:gd name="connsiteX3021" fmla="*/ 6524356 w 16408544"/>
              <a:gd name="connsiteY3021" fmla="*/ 1346936 h 8684653"/>
              <a:gd name="connsiteX3022" fmla="*/ 6488878 w 16408544"/>
              <a:gd name="connsiteY3022" fmla="*/ 1369190 h 8684653"/>
              <a:gd name="connsiteX3023" fmla="*/ 6666270 w 16408544"/>
              <a:gd name="connsiteY3023" fmla="*/ 1425808 h 8684653"/>
              <a:gd name="connsiteX3024" fmla="*/ 6596978 w 16408544"/>
              <a:gd name="connsiteY3024" fmla="*/ 1458414 h 8684653"/>
              <a:gd name="connsiteX3025" fmla="*/ 6480809 w 16408544"/>
              <a:gd name="connsiteY3025" fmla="*/ 1540804 h 8684653"/>
              <a:gd name="connsiteX3026" fmla="*/ 6314559 w 16408544"/>
              <a:gd name="connsiteY3026" fmla="*/ 1583761 h 8684653"/>
              <a:gd name="connsiteX3027" fmla="*/ 6238736 w 16408544"/>
              <a:gd name="connsiteY3027" fmla="*/ 1583761 h 8684653"/>
              <a:gd name="connsiteX3028" fmla="*/ 6206587 w 16408544"/>
              <a:gd name="connsiteY3028" fmla="*/ 1612845 h 8684653"/>
              <a:gd name="connsiteX3029" fmla="*/ 6166242 w 16408544"/>
              <a:gd name="connsiteY3029" fmla="*/ 1643897 h 8684653"/>
              <a:gd name="connsiteX3030" fmla="*/ 6109758 w 16408544"/>
              <a:gd name="connsiteY3030" fmla="*/ 1729497 h 8684653"/>
              <a:gd name="connsiteX3031" fmla="*/ 5988850 w 16408544"/>
              <a:gd name="connsiteY3031" fmla="*/ 1781044 h 8684653"/>
              <a:gd name="connsiteX3032" fmla="*/ 5964642 w 16408544"/>
              <a:gd name="connsiteY3032" fmla="*/ 1781044 h 8684653"/>
              <a:gd name="connsiteX3033" fmla="*/ 5964642 w 16408544"/>
              <a:gd name="connsiteY3033" fmla="*/ 1746680 h 8684653"/>
              <a:gd name="connsiteX3034" fmla="*/ 5932237 w 16408544"/>
              <a:gd name="connsiteY3034" fmla="*/ 1789635 h 8684653"/>
              <a:gd name="connsiteX3035" fmla="*/ 5811328 w 16408544"/>
              <a:gd name="connsiteY3035" fmla="*/ 1866851 h 8684653"/>
              <a:gd name="connsiteX3036" fmla="*/ 5814531 w 16408544"/>
              <a:gd name="connsiteY3036" fmla="*/ 1883930 h 8684653"/>
              <a:gd name="connsiteX3037" fmla="*/ 5803260 w 16408544"/>
              <a:gd name="connsiteY3037" fmla="*/ 1904631 h 8684653"/>
              <a:gd name="connsiteX3038" fmla="*/ 5822599 w 16408544"/>
              <a:gd name="connsiteY3038" fmla="*/ 1944067 h 8684653"/>
              <a:gd name="connsiteX3039" fmla="*/ 5746776 w 16408544"/>
              <a:gd name="connsiteY3039" fmla="*/ 2033290 h 8684653"/>
              <a:gd name="connsiteX3040" fmla="*/ 5746776 w 16408544"/>
              <a:gd name="connsiteY3040" fmla="*/ 2127585 h 8684653"/>
              <a:gd name="connsiteX3041" fmla="*/ 5685681 w 16408544"/>
              <a:gd name="connsiteY3041" fmla="*/ 2235750 h 8684653"/>
              <a:gd name="connsiteX3042" fmla="*/ 5666213 w 16408544"/>
              <a:gd name="connsiteY3042" fmla="*/ 2218464 h 8684653"/>
              <a:gd name="connsiteX3043" fmla="*/ 5633937 w 16408544"/>
              <a:gd name="connsiteY3043" fmla="*/ 2230575 h 8684653"/>
              <a:gd name="connsiteX3044" fmla="*/ 5556448 w 16408544"/>
              <a:gd name="connsiteY3044" fmla="*/ 2153255 h 8684653"/>
              <a:gd name="connsiteX3045" fmla="*/ 5488693 w 16408544"/>
              <a:gd name="connsiteY3045" fmla="*/ 2175612 h 8684653"/>
              <a:gd name="connsiteX3046" fmla="*/ 5435412 w 16408544"/>
              <a:gd name="connsiteY3046" fmla="*/ 2127585 h 8684653"/>
              <a:gd name="connsiteX3047" fmla="*/ 5424268 w 16408544"/>
              <a:gd name="connsiteY3047" fmla="*/ 2093324 h 8684653"/>
              <a:gd name="connsiteX3048" fmla="*/ 5330641 w 16408544"/>
              <a:gd name="connsiteY3048" fmla="*/ 1938788 h 8684653"/>
              <a:gd name="connsiteX3049" fmla="*/ 5354848 w 16408544"/>
              <a:gd name="connsiteY3049" fmla="*/ 1906185 h 8684653"/>
              <a:gd name="connsiteX3050" fmla="*/ 5295291 w 16408544"/>
              <a:gd name="connsiteY3050" fmla="*/ 1901114 h 8684653"/>
              <a:gd name="connsiteX3051" fmla="*/ 5279025 w 16408544"/>
              <a:gd name="connsiteY3051" fmla="*/ 1844599 h 8684653"/>
              <a:gd name="connsiteX3052" fmla="*/ 5225742 w 16408544"/>
              <a:gd name="connsiteY3052" fmla="*/ 1746680 h 8684653"/>
              <a:gd name="connsiteX3053" fmla="*/ 5241880 w 16408544"/>
              <a:gd name="connsiteY3053" fmla="*/ 1703931 h 8684653"/>
              <a:gd name="connsiteX3054" fmla="*/ 5209732 w 16408544"/>
              <a:gd name="connsiteY3054" fmla="*/ 1703931 h 8684653"/>
              <a:gd name="connsiteX3055" fmla="*/ 5209732 w 16408544"/>
              <a:gd name="connsiteY3055" fmla="*/ 1664288 h 8684653"/>
              <a:gd name="connsiteX3056" fmla="*/ 5274158 w 16408544"/>
              <a:gd name="connsiteY3056" fmla="*/ 1569993 h 8684653"/>
              <a:gd name="connsiteX3057" fmla="*/ 5274158 w 16408544"/>
              <a:gd name="connsiteY3057" fmla="*/ 1566578 h 8684653"/>
              <a:gd name="connsiteX3058" fmla="*/ 5319498 w 16408544"/>
              <a:gd name="connsiteY3058" fmla="*/ 1563058 h 8684653"/>
              <a:gd name="connsiteX3059" fmla="*/ 5367656 w 16408544"/>
              <a:gd name="connsiteY3059" fmla="*/ 1446406 h 8684653"/>
              <a:gd name="connsiteX3060" fmla="*/ 5193466 w 16408544"/>
              <a:gd name="connsiteY3060" fmla="*/ 1372605 h 8684653"/>
              <a:gd name="connsiteX3061" fmla="*/ 5222540 w 16408544"/>
              <a:gd name="connsiteY3061" fmla="*/ 1372605 h 8684653"/>
              <a:gd name="connsiteX3062" fmla="*/ 5319498 w 16408544"/>
              <a:gd name="connsiteY3062" fmla="*/ 1398482 h 8684653"/>
              <a:gd name="connsiteX3063" fmla="*/ 5335379 w 16408544"/>
              <a:gd name="connsiteY3063" fmla="*/ 1372605 h 8684653"/>
              <a:gd name="connsiteX3064" fmla="*/ 5217673 w 16408544"/>
              <a:gd name="connsiteY3064" fmla="*/ 1274895 h 8684653"/>
              <a:gd name="connsiteX3065" fmla="*/ 5177455 w 16408544"/>
              <a:gd name="connsiteY3065" fmla="*/ 1303981 h 8684653"/>
              <a:gd name="connsiteX3066" fmla="*/ 5133909 w 16408544"/>
              <a:gd name="connsiteY3066" fmla="*/ 1274895 h 8684653"/>
              <a:gd name="connsiteX3067" fmla="*/ 5169387 w 16408544"/>
              <a:gd name="connsiteY3067" fmla="*/ 1201094 h 8684653"/>
              <a:gd name="connsiteX3068" fmla="*/ 5129042 w 16408544"/>
              <a:gd name="connsiteY3068" fmla="*/ 1171905 h 8684653"/>
              <a:gd name="connsiteX3069" fmla="*/ 5129042 w 16408544"/>
              <a:gd name="connsiteY3069" fmla="*/ 1146236 h 8684653"/>
              <a:gd name="connsiteX3070" fmla="*/ 4790266 w 16408544"/>
              <a:gd name="connsiteY3070" fmla="*/ 849275 h 8684653"/>
              <a:gd name="connsiteX3071" fmla="*/ 4741853 w 16408544"/>
              <a:gd name="connsiteY3071" fmla="*/ 849275 h 8684653"/>
              <a:gd name="connsiteX3072" fmla="*/ 4690236 w 16408544"/>
              <a:gd name="connsiteY3072" fmla="*/ 871735 h 8684653"/>
              <a:gd name="connsiteX3073" fmla="*/ 4641821 w 16408544"/>
              <a:gd name="connsiteY3073" fmla="*/ 857970 h 8684653"/>
              <a:gd name="connsiteX3074" fmla="*/ 4609544 w 16408544"/>
              <a:gd name="connsiteY3074" fmla="*/ 864699 h 8684653"/>
              <a:gd name="connsiteX3075" fmla="*/ 4625682 w 16408544"/>
              <a:gd name="connsiteY3075" fmla="*/ 878567 h 8684653"/>
              <a:gd name="connsiteX3076" fmla="*/ 4604806 w 16408544"/>
              <a:gd name="connsiteY3076" fmla="*/ 883639 h 8684653"/>
              <a:gd name="connsiteX3077" fmla="*/ 4500035 w 16408544"/>
              <a:gd name="connsiteY3077" fmla="*/ 842444 h 8684653"/>
              <a:gd name="connsiteX3078" fmla="*/ 4532184 w 16408544"/>
              <a:gd name="connsiteY3078" fmla="*/ 814910 h 8684653"/>
              <a:gd name="connsiteX3079" fmla="*/ 4467631 w 16408544"/>
              <a:gd name="connsiteY3079" fmla="*/ 785826 h 8684653"/>
              <a:gd name="connsiteX3080" fmla="*/ 4411147 w 16408544"/>
              <a:gd name="connsiteY3080" fmla="*/ 785826 h 8684653"/>
              <a:gd name="connsiteX3081" fmla="*/ 4459690 w 16408544"/>
              <a:gd name="connsiteY3081" fmla="*/ 751669 h 8684653"/>
              <a:gd name="connsiteX3082" fmla="*/ 4500035 w 16408544"/>
              <a:gd name="connsiteY3082" fmla="*/ 751669 h 8684653"/>
              <a:gd name="connsiteX3083" fmla="*/ 4528982 w 16408544"/>
              <a:gd name="connsiteY3083" fmla="*/ 737903 h 8684653"/>
              <a:gd name="connsiteX3084" fmla="*/ 4620944 w 16408544"/>
              <a:gd name="connsiteY3084" fmla="*/ 737903 h 8684653"/>
              <a:gd name="connsiteX3085" fmla="*/ 4641821 w 16408544"/>
              <a:gd name="connsiteY3085" fmla="*/ 700122 h 8684653"/>
              <a:gd name="connsiteX3086" fmla="*/ 4577396 w 16408544"/>
              <a:gd name="connsiteY3086" fmla="*/ 700122 h 8684653"/>
              <a:gd name="connsiteX3087" fmla="*/ 4561130 w 16408544"/>
              <a:gd name="connsiteY3087" fmla="*/ 717199 h 8684653"/>
              <a:gd name="connsiteX3088" fmla="*/ 4504646 w 16408544"/>
              <a:gd name="connsiteY3088" fmla="*/ 717199 h 8684653"/>
              <a:gd name="connsiteX3089" fmla="*/ 4343392 w 16408544"/>
              <a:gd name="connsiteY3089" fmla="*/ 643399 h 8684653"/>
              <a:gd name="connsiteX3090" fmla="*/ 4435355 w 16408544"/>
              <a:gd name="connsiteY3090" fmla="*/ 597132 h 8684653"/>
              <a:gd name="connsiteX3091" fmla="*/ 4512843 w 16408544"/>
              <a:gd name="connsiteY3091" fmla="*/ 557592 h 8684653"/>
              <a:gd name="connsiteX3092" fmla="*/ 4650019 w 16408544"/>
              <a:gd name="connsiteY3092" fmla="*/ 545689 h 8684653"/>
              <a:gd name="connsiteX3093" fmla="*/ 4693566 w 16408544"/>
              <a:gd name="connsiteY3093" fmla="*/ 454811 h 8684653"/>
              <a:gd name="connsiteX3094" fmla="*/ 4572530 w 16408544"/>
              <a:gd name="connsiteY3094" fmla="*/ 420445 h 8684653"/>
              <a:gd name="connsiteX3095" fmla="*/ 4604806 w 16408544"/>
              <a:gd name="connsiteY3095" fmla="*/ 394673 h 8684653"/>
              <a:gd name="connsiteX3096" fmla="*/ 4764523 w 16408544"/>
              <a:gd name="connsiteY3096" fmla="*/ 300275 h 8684653"/>
              <a:gd name="connsiteX3097" fmla="*/ 4806405 w 16408544"/>
              <a:gd name="connsiteY3097" fmla="*/ 314143 h 8684653"/>
              <a:gd name="connsiteX3098" fmla="*/ 4870958 w 16408544"/>
              <a:gd name="connsiteY3098" fmla="*/ 228131 h 8684653"/>
              <a:gd name="connsiteX3099" fmla="*/ 5020941 w 16408544"/>
              <a:gd name="connsiteY3099" fmla="*/ 202459 h 8684653"/>
              <a:gd name="connsiteX3100" fmla="*/ 5141849 w 16408544"/>
              <a:gd name="connsiteY3100" fmla="*/ 163127 h 8684653"/>
              <a:gd name="connsiteX3101" fmla="*/ 5209732 w 16408544"/>
              <a:gd name="connsiteY3101" fmla="*/ 214571 h 8684653"/>
              <a:gd name="connsiteX3102" fmla="*/ 5201664 w 16408544"/>
              <a:gd name="connsiteY3102" fmla="*/ 180310 h 8684653"/>
              <a:gd name="connsiteX3103" fmla="*/ 5217673 w 16408544"/>
              <a:gd name="connsiteY3103" fmla="*/ 163127 h 8684653"/>
              <a:gd name="connsiteX3104" fmla="*/ 5295291 w 16408544"/>
              <a:gd name="connsiteY3104" fmla="*/ 205876 h 8684653"/>
              <a:gd name="connsiteX3105" fmla="*/ 5319498 w 16408544"/>
              <a:gd name="connsiteY3105" fmla="*/ 205876 h 8684653"/>
              <a:gd name="connsiteX3106" fmla="*/ 5306561 w 16408544"/>
              <a:gd name="connsiteY3106" fmla="*/ 168199 h 8684653"/>
              <a:gd name="connsiteX3107" fmla="*/ 5346779 w 16408544"/>
              <a:gd name="connsiteY3107" fmla="*/ 145945 h 8684653"/>
              <a:gd name="connsiteX3108" fmla="*/ 5491894 w 16408544"/>
              <a:gd name="connsiteY3108" fmla="*/ 205876 h 8684653"/>
              <a:gd name="connsiteX3109" fmla="*/ 5564517 w 16408544"/>
              <a:gd name="connsiteY3109" fmla="*/ 205876 h 8684653"/>
              <a:gd name="connsiteX3110" fmla="*/ 5472682 w 16408544"/>
              <a:gd name="connsiteY3110" fmla="*/ 137250 h 8684653"/>
              <a:gd name="connsiteX3111" fmla="*/ 5537107 w 16408544"/>
              <a:gd name="connsiteY3111" fmla="*/ 116652 h 8684653"/>
              <a:gd name="connsiteX3112" fmla="*/ 5504831 w 16408544"/>
              <a:gd name="connsiteY3112" fmla="*/ 90881 h 8684653"/>
              <a:gd name="connsiteX3113" fmla="*/ 5642006 w 16408544"/>
              <a:gd name="connsiteY3113" fmla="*/ 56723 h 8684653"/>
              <a:gd name="connsiteX3114" fmla="*/ 5741908 w 16408544"/>
              <a:gd name="connsiteY3114" fmla="*/ 68626 h 8684653"/>
              <a:gd name="connsiteX3115" fmla="*/ 5774314 w 16408544"/>
              <a:gd name="connsiteY3115" fmla="*/ 68626 h 8684653"/>
              <a:gd name="connsiteX3116" fmla="*/ 5774314 w 16408544"/>
              <a:gd name="connsiteY3116" fmla="*/ 48132 h 8684653"/>
              <a:gd name="connsiteX3117" fmla="*/ 5838738 w 16408544"/>
              <a:gd name="connsiteY3117" fmla="*/ 48132 h 8684653"/>
              <a:gd name="connsiteX3118" fmla="*/ 6061343 w 16408544"/>
              <a:gd name="connsiteY3118" fmla="*/ 0 h 8684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Lst>
            <a:rect l="l" t="t" r="r" b="b"/>
            <a:pathLst>
              <a:path w="16408544" h="8684653">
                <a:moveTo>
                  <a:pt x="15611108" y="7708901"/>
                </a:moveTo>
                <a:cubicBezTo>
                  <a:pt x="15611108" y="7720658"/>
                  <a:pt x="15617508" y="7725823"/>
                  <a:pt x="15622386" y="7725823"/>
                </a:cubicBezTo>
                <a:cubicBezTo>
                  <a:pt x="15622386" y="7737936"/>
                  <a:pt x="15620814" y="7749914"/>
                  <a:pt x="15630552" y="7749914"/>
                </a:cubicBezTo>
                <a:cubicBezTo>
                  <a:pt x="15641828" y="7749914"/>
                  <a:pt x="15649930" y="7737936"/>
                  <a:pt x="15657902" y="7734521"/>
                </a:cubicBezTo>
                <a:cubicBezTo>
                  <a:pt x="15659570" y="7739584"/>
                  <a:pt x="15664236" y="7741198"/>
                  <a:pt x="15669340" y="7741198"/>
                </a:cubicBezTo>
                <a:cubicBezTo>
                  <a:pt x="15669340" y="7754977"/>
                  <a:pt x="15672468" y="7763641"/>
                  <a:pt x="15678868" y="7767022"/>
                </a:cubicBezTo>
                <a:cubicBezTo>
                  <a:pt x="15673926" y="7789347"/>
                  <a:pt x="15641828" y="7852837"/>
                  <a:pt x="15615790" y="7852837"/>
                </a:cubicBezTo>
                <a:cubicBezTo>
                  <a:pt x="15611108" y="7878712"/>
                  <a:pt x="15619178" y="7885406"/>
                  <a:pt x="15615790" y="7906014"/>
                </a:cubicBezTo>
                <a:cubicBezTo>
                  <a:pt x="15608014" y="7906014"/>
                  <a:pt x="15569144" y="7914577"/>
                  <a:pt x="15556294" y="7914577"/>
                </a:cubicBezTo>
                <a:cubicBezTo>
                  <a:pt x="15551418" y="7935372"/>
                  <a:pt x="15506406" y="8034778"/>
                  <a:pt x="15506406" y="8034778"/>
                </a:cubicBezTo>
                <a:cubicBezTo>
                  <a:pt x="15491760" y="8050222"/>
                  <a:pt x="15462756" y="8075876"/>
                  <a:pt x="15444966" y="8075876"/>
                </a:cubicBezTo>
                <a:cubicBezTo>
                  <a:pt x="15438420" y="8075876"/>
                  <a:pt x="15419123" y="8067296"/>
                  <a:pt x="15409515" y="8067296"/>
                </a:cubicBezTo>
                <a:cubicBezTo>
                  <a:pt x="15399744" y="8067296"/>
                  <a:pt x="15336927" y="8041523"/>
                  <a:pt x="15336927" y="8032977"/>
                </a:cubicBezTo>
                <a:cubicBezTo>
                  <a:pt x="15333735" y="8032977"/>
                  <a:pt x="15328890" y="8029613"/>
                  <a:pt x="15328890" y="8026164"/>
                </a:cubicBezTo>
                <a:cubicBezTo>
                  <a:pt x="15328890" y="7981533"/>
                  <a:pt x="15377206" y="7957408"/>
                  <a:pt x="15393393" y="7931838"/>
                </a:cubicBezTo>
                <a:cubicBezTo>
                  <a:pt x="15399744" y="7919861"/>
                  <a:pt x="15407846" y="7909565"/>
                  <a:pt x="15419123" y="7909565"/>
                </a:cubicBezTo>
                <a:cubicBezTo>
                  <a:pt x="15457976" y="7909565"/>
                  <a:pt x="15482152" y="7866564"/>
                  <a:pt x="15509582" y="7852837"/>
                </a:cubicBezTo>
                <a:cubicBezTo>
                  <a:pt x="15517392" y="7849473"/>
                  <a:pt x="15540108" y="7811654"/>
                  <a:pt x="15540108" y="7811654"/>
                </a:cubicBezTo>
                <a:cubicBezTo>
                  <a:pt x="15540108" y="7811654"/>
                  <a:pt x="15540108" y="7799625"/>
                  <a:pt x="15541810" y="7794562"/>
                </a:cubicBezTo>
                <a:cubicBezTo>
                  <a:pt x="15548194" y="7780801"/>
                  <a:pt x="15558060" y="7777386"/>
                  <a:pt x="15570812" y="7775704"/>
                </a:cubicBezTo>
                <a:cubicBezTo>
                  <a:pt x="15570812" y="7772204"/>
                  <a:pt x="15572482" y="7768840"/>
                  <a:pt x="15572482" y="7765391"/>
                </a:cubicBezTo>
                <a:cubicBezTo>
                  <a:pt x="15572482" y="7739584"/>
                  <a:pt x="15596574" y="7715629"/>
                  <a:pt x="15611108" y="7708901"/>
                </a:cubicBezTo>
                <a:close/>
                <a:moveTo>
                  <a:pt x="14485179" y="7708901"/>
                </a:moveTo>
                <a:cubicBezTo>
                  <a:pt x="14490123" y="7729510"/>
                  <a:pt x="14502993" y="7739586"/>
                  <a:pt x="14502993" y="7760248"/>
                </a:cubicBezTo>
                <a:cubicBezTo>
                  <a:pt x="14502993" y="7798047"/>
                  <a:pt x="14459546" y="7888770"/>
                  <a:pt x="14427063" y="7888770"/>
                </a:cubicBezTo>
                <a:cubicBezTo>
                  <a:pt x="14378901" y="7888770"/>
                  <a:pt x="14325590" y="7761949"/>
                  <a:pt x="14325590" y="7725835"/>
                </a:cubicBezTo>
                <a:cubicBezTo>
                  <a:pt x="14325590" y="7698367"/>
                  <a:pt x="14412682" y="7725835"/>
                  <a:pt x="14414193" y="7725835"/>
                </a:cubicBezTo>
                <a:cubicBezTo>
                  <a:pt x="14435194" y="7725835"/>
                  <a:pt x="14462461" y="7715636"/>
                  <a:pt x="14485179" y="7708901"/>
                </a:cubicBezTo>
                <a:close/>
                <a:moveTo>
                  <a:pt x="13975784" y="7429538"/>
                </a:moveTo>
                <a:cubicBezTo>
                  <a:pt x="13983225" y="7429961"/>
                  <a:pt x="13989679" y="7433814"/>
                  <a:pt x="14001047" y="7439831"/>
                </a:cubicBezTo>
                <a:cubicBezTo>
                  <a:pt x="13983300" y="7451906"/>
                  <a:pt x="13959081" y="7455303"/>
                  <a:pt x="13944590" y="7439831"/>
                </a:cubicBezTo>
                <a:cubicBezTo>
                  <a:pt x="13959912" y="7432125"/>
                  <a:pt x="13968342" y="7429116"/>
                  <a:pt x="13975784" y="7429538"/>
                </a:cubicBezTo>
                <a:close/>
                <a:moveTo>
                  <a:pt x="15608290" y="7353301"/>
                </a:moveTo>
                <a:cubicBezTo>
                  <a:pt x="15626016" y="7382448"/>
                  <a:pt x="15653510" y="7384041"/>
                  <a:pt x="15669534" y="7401305"/>
                </a:cubicBezTo>
                <a:cubicBezTo>
                  <a:pt x="15679432" y="7411614"/>
                  <a:pt x="15679432" y="7423535"/>
                  <a:pt x="15689076" y="7428634"/>
                </a:cubicBezTo>
                <a:cubicBezTo>
                  <a:pt x="15687346" y="7433994"/>
                  <a:pt x="15682440" y="7435606"/>
                  <a:pt x="15682440" y="7440817"/>
                </a:cubicBezTo>
                <a:cubicBezTo>
                  <a:pt x="15682440" y="7449308"/>
                  <a:pt x="15701786" y="7487078"/>
                  <a:pt x="15710006" y="7495550"/>
                </a:cubicBezTo>
                <a:lnTo>
                  <a:pt x="15719698" y="7495550"/>
                </a:lnTo>
                <a:cubicBezTo>
                  <a:pt x="15719698" y="7485297"/>
                  <a:pt x="15726054" y="7478418"/>
                  <a:pt x="15734186" y="7478418"/>
                </a:cubicBezTo>
                <a:lnTo>
                  <a:pt x="15743768" y="7478418"/>
                </a:lnTo>
                <a:cubicBezTo>
                  <a:pt x="15743768" y="7523160"/>
                  <a:pt x="15764846" y="7548896"/>
                  <a:pt x="15803528" y="7548896"/>
                </a:cubicBezTo>
                <a:cubicBezTo>
                  <a:pt x="15834198" y="7548896"/>
                  <a:pt x="15832372" y="7531708"/>
                  <a:pt x="15858344" y="7531708"/>
                </a:cubicBezTo>
                <a:cubicBezTo>
                  <a:pt x="15863152" y="7531708"/>
                  <a:pt x="15868120" y="7536787"/>
                  <a:pt x="15871286" y="7542092"/>
                </a:cubicBezTo>
                <a:cubicBezTo>
                  <a:pt x="15848590" y="7565934"/>
                  <a:pt x="15855154" y="7602035"/>
                  <a:pt x="15839142" y="7627902"/>
                </a:cubicBezTo>
                <a:lnTo>
                  <a:pt x="15832372" y="7619186"/>
                </a:lnTo>
                <a:cubicBezTo>
                  <a:pt x="15830740" y="7619186"/>
                  <a:pt x="15829206" y="7624285"/>
                  <a:pt x="15827684" y="7624285"/>
                </a:cubicBezTo>
                <a:cubicBezTo>
                  <a:pt x="15811528" y="7627902"/>
                  <a:pt x="15795418" y="7632926"/>
                  <a:pt x="15795418" y="7646721"/>
                </a:cubicBezTo>
                <a:cubicBezTo>
                  <a:pt x="15795418" y="7651707"/>
                  <a:pt x="15801848" y="7658680"/>
                  <a:pt x="15801848" y="7663816"/>
                </a:cubicBezTo>
                <a:cubicBezTo>
                  <a:pt x="15801848" y="7675869"/>
                  <a:pt x="15782440" y="7692907"/>
                  <a:pt x="15779274" y="7697987"/>
                </a:cubicBezTo>
                <a:cubicBezTo>
                  <a:pt x="15763166" y="7723760"/>
                  <a:pt x="15753474" y="7758174"/>
                  <a:pt x="15719698" y="7758174"/>
                </a:cubicBezTo>
                <a:cubicBezTo>
                  <a:pt x="15705136" y="7758174"/>
                  <a:pt x="15695480" y="7749664"/>
                  <a:pt x="15695480" y="7735869"/>
                </a:cubicBezTo>
                <a:cubicBezTo>
                  <a:pt x="15695480" y="7715250"/>
                  <a:pt x="15714730" y="7706759"/>
                  <a:pt x="15714730" y="7686103"/>
                </a:cubicBezTo>
                <a:cubicBezTo>
                  <a:pt x="15714730" y="7651707"/>
                  <a:pt x="15654996" y="7665484"/>
                  <a:pt x="15654996" y="7634650"/>
                </a:cubicBezTo>
                <a:cubicBezTo>
                  <a:pt x="15654996" y="7617406"/>
                  <a:pt x="15669534" y="7615700"/>
                  <a:pt x="15677678" y="7607078"/>
                </a:cubicBezTo>
                <a:cubicBezTo>
                  <a:pt x="15693860" y="7589983"/>
                  <a:pt x="15697136" y="7565934"/>
                  <a:pt x="15697136" y="7540142"/>
                </a:cubicBezTo>
                <a:cubicBezTo>
                  <a:pt x="15697136" y="7529477"/>
                  <a:pt x="15693020" y="7515344"/>
                  <a:pt x="15690572" y="7506553"/>
                </a:cubicBezTo>
                <a:lnTo>
                  <a:pt x="15690572" y="7507621"/>
                </a:lnTo>
                <a:cubicBezTo>
                  <a:pt x="15685606" y="7493957"/>
                  <a:pt x="15672808" y="7488765"/>
                  <a:pt x="15672808" y="7475025"/>
                </a:cubicBezTo>
                <a:cubicBezTo>
                  <a:pt x="15672808" y="7469908"/>
                  <a:pt x="15676048" y="7463029"/>
                  <a:pt x="15677678" y="7457931"/>
                </a:cubicBezTo>
                <a:cubicBezTo>
                  <a:pt x="15640434" y="7451033"/>
                  <a:pt x="15618042" y="7394426"/>
                  <a:pt x="15608290" y="7353301"/>
                </a:cubicBezTo>
                <a:close/>
                <a:moveTo>
                  <a:pt x="9919684" y="6210301"/>
                </a:moveTo>
                <a:cubicBezTo>
                  <a:pt x="9974583" y="6217142"/>
                  <a:pt x="9969821" y="6328650"/>
                  <a:pt x="9985931" y="6373259"/>
                </a:cubicBezTo>
                <a:lnTo>
                  <a:pt x="9985931" y="6399016"/>
                </a:lnTo>
                <a:cubicBezTo>
                  <a:pt x="9977722" y="6395580"/>
                  <a:pt x="9961581" y="6390504"/>
                  <a:pt x="9958427" y="6390504"/>
                </a:cubicBezTo>
                <a:cubicBezTo>
                  <a:pt x="9958427" y="6515505"/>
                  <a:pt x="9921415" y="6601476"/>
                  <a:pt x="9885857" y="6699239"/>
                </a:cubicBezTo>
                <a:cubicBezTo>
                  <a:pt x="9856915" y="6776541"/>
                  <a:pt x="9842290" y="6891264"/>
                  <a:pt x="9743932" y="6891264"/>
                </a:cubicBezTo>
                <a:cubicBezTo>
                  <a:pt x="9703519" y="6891264"/>
                  <a:pt x="9668115" y="6841642"/>
                  <a:pt x="9668115" y="6797159"/>
                </a:cubicBezTo>
                <a:cubicBezTo>
                  <a:pt x="9668115" y="6774870"/>
                  <a:pt x="9672908" y="6766169"/>
                  <a:pt x="9671315" y="6754220"/>
                </a:cubicBezTo>
                <a:cubicBezTo>
                  <a:pt x="9651990" y="6738772"/>
                  <a:pt x="9651990" y="6711345"/>
                  <a:pt x="9651990" y="6685556"/>
                </a:cubicBezTo>
                <a:cubicBezTo>
                  <a:pt x="9651990" y="6678747"/>
                  <a:pt x="9681040" y="6651098"/>
                  <a:pt x="9684348" y="6651098"/>
                </a:cubicBezTo>
                <a:cubicBezTo>
                  <a:pt x="9684348" y="6651098"/>
                  <a:pt x="9716552" y="6577327"/>
                  <a:pt x="9716552" y="6574017"/>
                </a:cubicBezTo>
                <a:cubicBezTo>
                  <a:pt x="9716552" y="6555165"/>
                  <a:pt x="9692187" y="6512226"/>
                  <a:pt x="9692187" y="6484735"/>
                </a:cubicBezTo>
                <a:cubicBezTo>
                  <a:pt x="9692187" y="6400718"/>
                  <a:pt x="9750363" y="6405889"/>
                  <a:pt x="9797131" y="6376727"/>
                </a:cubicBezTo>
                <a:cubicBezTo>
                  <a:pt x="9834220" y="6354312"/>
                  <a:pt x="9884203" y="6289116"/>
                  <a:pt x="9910129" y="6261720"/>
                </a:cubicBezTo>
                <a:cubicBezTo>
                  <a:pt x="9918215" y="6253145"/>
                  <a:pt x="9913191" y="6224015"/>
                  <a:pt x="9919684" y="6210301"/>
                </a:cubicBezTo>
                <a:close/>
                <a:moveTo>
                  <a:pt x="14243548" y="6121401"/>
                </a:moveTo>
                <a:cubicBezTo>
                  <a:pt x="14248361" y="6167863"/>
                  <a:pt x="14269246" y="6198653"/>
                  <a:pt x="14279044" y="6231446"/>
                </a:cubicBezTo>
                <a:cubicBezTo>
                  <a:pt x="14285490" y="6255332"/>
                  <a:pt x="14277325" y="6286192"/>
                  <a:pt x="14295202" y="6299999"/>
                </a:cubicBezTo>
                <a:cubicBezTo>
                  <a:pt x="14311274" y="6305039"/>
                  <a:pt x="14341957" y="6315463"/>
                  <a:pt x="14348317" y="6318915"/>
                </a:cubicBezTo>
                <a:cubicBezTo>
                  <a:pt x="14367827" y="6332653"/>
                  <a:pt x="14367827" y="6387331"/>
                  <a:pt x="14375906" y="6415014"/>
                </a:cubicBezTo>
                <a:cubicBezTo>
                  <a:pt x="14390345" y="6461407"/>
                  <a:pt x="14403237" y="6483430"/>
                  <a:pt x="14416129" y="6526440"/>
                </a:cubicBezTo>
                <a:cubicBezTo>
                  <a:pt x="14429021" y="6567586"/>
                  <a:pt x="14498552" y="6583050"/>
                  <a:pt x="14525883" y="6612252"/>
                </a:cubicBezTo>
                <a:cubicBezTo>
                  <a:pt x="14545135" y="6632825"/>
                  <a:pt x="14548315" y="6665480"/>
                  <a:pt x="14554933" y="6689435"/>
                </a:cubicBezTo>
                <a:cubicBezTo>
                  <a:pt x="14561379" y="6711872"/>
                  <a:pt x="14587163" y="6711872"/>
                  <a:pt x="14608220" y="6711872"/>
                </a:cubicBezTo>
                <a:cubicBezTo>
                  <a:pt x="14608220" y="6780288"/>
                  <a:pt x="14669500" y="6809490"/>
                  <a:pt x="14700097" y="6842145"/>
                </a:cubicBezTo>
                <a:cubicBezTo>
                  <a:pt x="14700097" y="6842145"/>
                  <a:pt x="14698378" y="6847253"/>
                  <a:pt x="14698378" y="6847253"/>
                </a:cubicBezTo>
                <a:cubicBezTo>
                  <a:pt x="14724162" y="6883153"/>
                  <a:pt x="14740320" y="6976007"/>
                  <a:pt x="14740320" y="7027508"/>
                </a:cubicBezTo>
                <a:cubicBezTo>
                  <a:pt x="14740320" y="7065203"/>
                  <a:pt x="14730694" y="7118361"/>
                  <a:pt x="14716255" y="7133894"/>
                </a:cubicBezTo>
                <a:lnTo>
                  <a:pt x="14716255" y="7181944"/>
                </a:lnTo>
                <a:cubicBezTo>
                  <a:pt x="14708262" y="7195751"/>
                  <a:pt x="14713075" y="7202517"/>
                  <a:pt x="14704996" y="7216186"/>
                </a:cubicBezTo>
                <a:cubicBezTo>
                  <a:pt x="14675946" y="7264235"/>
                  <a:pt x="14646982" y="7281426"/>
                  <a:pt x="14630738" y="7336172"/>
                </a:cubicBezTo>
                <a:cubicBezTo>
                  <a:pt x="14617932" y="7377525"/>
                  <a:pt x="14583983" y="7430614"/>
                  <a:pt x="14583983" y="7490607"/>
                </a:cubicBezTo>
                <a:lnTo>
                  <a:pt x="14583983" y="7487293"/>
                </a:lnTo>
                <a:cubicBezTo>
                  <a:pt x="14566106" y="7566271"/>
                  <a:pt x="14433834" y="7530096"/>
                  <a:pt x="14420942" y="7612595"/>
                </a:cubicBezTo>
                <a:cubicBezTo>
                  <a:pt x="14408050" y="7610662"/>
                  <a:pt x="14341957" y="7571380"/>
                  <a:pt x="14340324" y="7561025"/>
                </a:cubicBezTo>
                <a:cubicBezTo>
                  <a:pt x="14303453" y="7564476"/>
                  <a:pt x="14316173" y="7598719"/>
                  <a:pt x="14275778" y="7598719"/>
                </a:cubicBezTo>
                <a:cubicBezTo>
                  <a:pt x="14212865" y="7598719"/>
                  <a:pt x="14109729" y="7554190"/>
                  <a:pt x="14109729" y="7483841"/>
                </a:cubicBezTo>
                <a:cubicBezTo>
                  <a:pt x="14109729" y="7458091"/>
                  <a:pt x="14088672" y="7437518"/>
                  <a:pt x="14087039" y="7415288"/>
                </a:cubicBezTo>
                <a:cubicBezTo>
                  <a:pt x="14087039" y="7415288"/>
                  <a:pt x="14085320" y="7408246"/>
                  <a:pt x="14085320" y="7406658"/>
                </a:cubicBezTo>
                <a:cubicBezTo>
                  <a:pt x="14074233" y="7413424"/>
                  <a:pt x="14066154" y="7415288"/>
                  <a:pt x="14053090" y="7418602"/>
                </a:cubicBezTo>
                <a:lnTo>
                  <a:pt x="14033752" y="7418602"/>
                </a:lnTo>
                <a:cubicBezTo>
                  <a:pt x="14038565" y="7408246"/>
                  <a:pt x="14045097" y="7398236"/>
                  <a:pt x="14045097" y="7380977"/>
                </a:cubicBezTo>
                <a:cubicBezTo>
                  <a:pt x="14045097" y="7360266"/>
                  <a:pt x="14035557" y="7353431"/>
                  <a:pt x="14029111" y="7346665"/>
                </a:cubicBezTo>
                <a:cubicBezTo>
                  <a:pt x="14029111" y="7351843"/>
                  <a:pt x="14025931" y="7358471"/>
                  <a:pt x="14025931" y="7363717"/>
                </a:cubicBezTo>
                <a:cubicBezTo>
                  <a:pt x="14011406" y="7370690"/>
                  <a:pt x="14009601" y="7401411"/>
                  <a:pt x="13985536" y="7401411"/>
                </a:cubicBezTo>
                <a:cubicBezTo>
                  <a:pt x="13977371" y="7401411"/>
                  <a:pt x="13969206" y="7393058"/>
                  <a:pt x="13969206" y="7384429"/>
                </a:cubicBezTo>
                <a:cubicBezTo>
                  <a:pt x="14009601" y="7375730"/>
                  <a:pt x="14017680" y="7286534"/>
                  <a:pt x="14016219" y="7260715"/>
                </a:cubicBezTo>
                <a:cubicBezTo>
                  <a:pt x="13987169" y="7291781"/>
                  <a:pt x="13946688" y="7380977"/>
                  <a:pt x="13912825" y="7380977"/>
                </a:cubicBezTo>
                <a:cubicBezTo>
                  <a:pt x="13893487" y="7380977"/>
                  <a:pt x="13900019" y="7350117"/>
                  <a:pt x="13900019" y="7350117"/>
                </a:cubicBezTo>
                <a:cubicBezTo>
                  <a:pt x="13888760" y="7350117"/>
                  <a:pt x="13853092" y="7266099"/>
                  <a:pt x="13840286" y="7247183"/>
                </a:cubicBezTo>
                <a:cubicBezTo>
                  <a:pt x="13814502" y="7212665"/>
                  <a:pt x="13719273" y="7195751"/>
                  <a:pt x="13665986" y="7195751"/>
                </a:cubicBezTo>
                <a:cubicBezTo>
                  <a:pt x="13608058" y="7195751"/>
                  <a:pt x="13596799" y="7223090"/>
                  <a:pt x="13561131" y="7235033"/>
                </a:cubicBezTo>
                <a:cubicBezTo>
                  <a:pt x="13478880" y="7264235"/>
                  <a:pt x="13377291" y="7233376"/>
                  <a:pt x="13364399" y="7320777"/>
                </a:cubicBezTo>
                <a:cubicBezTo>
                  <a:pt x="13330622" y="7324159"/>
                  <a:pt x="13303119" y="7332927"/>
                  <a:pt x="13267623" y="7332927"/>
                </a:cubicBezTo>
                <a:cubicBezTo>
                  <a:pt x="13241839" y="7319189"/>
                  <a:pt x="13241839" y="7332927"/>
                  <a:pt x="13222501" y="7332927"/>
                </a:cubicBezTo>
                <a:cubicBezTo>
                  <a:pt x="13165948" y="7332927"/>
                  <a:pt x="13141797" y="7389399"/>
                  <a:pt x="13069258" y="7389399"/>
                </a:cubicBezTo>
                <a:cubicBezTo>
                  <a:pt x="13041927" y="7389399"/>
                  <a:pt x="12964489" y="7353431"/>
                  <a:pt x="12964489" y="7329475"/>
                </a:cubicBezTo>
                <a:cubicBezTo>
                  <a:pt x="12964489" y="7303725"/>
                  <a:pt x="13001532" y="7291781"/>
                  <a:pt x="13001532" y="7252292"/>
                </a:cubicBezTo>
                <a:cubicBezTo>
                  <a:pt x="13001532" y="7202517"/>
                  <a:pt x="12977381" y="7174971"/>
                  <a:pt x="12969044" y="7144250"/>
                </a:cubicBezTo>
                <a:cubicBezTo>
                  <a:pt x="12949964" y="7068723"/>
                  <a:pt x="12945065" y="7044630"/>
                  <a:pt x="12924008" y="6977802"/>
                </a:cubicBezTo>
                <a:cubicBezTo>
                  <a:pt x="12916101" y="6951982"/>
                  <a:pt x="12883871" y="6943353"/>
                  <a:pt x="12891692" y="6917602"/>
                </a:cubicBezTo>
                <a:cubicBezTo>
                  <a:pt x="12894958" y="6910767"/>
                  <a:pt x="12896505" y="6903864"/>
                  <a:pt x="12901490" y="6895303"/>
                </a:cubicBezTo>
                <a:cubicBezTo>
                  <a:pt x="12904584" y="6903864"/>
                  <a:pt x="12911288" y="6912424"/>
                  <a:pt x="12916101" y="6917602"/>
                </a:cubicBezTo>
                <a:cubicBezTo>
                  <a:pt x="12920656" y="6910767"/>
                  <a:pt x="12916101" y="6903864"/>
                  <a:pt x="12916101" y="6895303"/>
                </a:cubicBezTo>
                <a:cubicBezTo>
                  <a:pt x="12916101" y="6869621"/>
                  <a:pt x="12896505" y="6848910"/>
                  <a:pt x="12896505" y="6806039"/>
                </a:cubicBezTo>
                <a:lnTo>
                  <a:pt x="12896505" y="6706695"/>
                </a:lnTo>
                <a:cubicBezTo>
                  <a:pt x="12896505" y="6692887"/>
                  <a:pt x="12907764" y="6689435"/>
                  <a:pt x="12914296" y="6685984"/>
                </a:cubicBezTo>
                <a:cubicBezTo>
                  <a:pt x="12916101" y="6691092"/>
                  <a:pt x="12916101" y="6697996"/>
                  <a:pt x="12916101" y="6703174"/>
                </a:cubicBezTo>
                <a:cubicBezTo>
                  <a:pt x="12946526" y="6699653"/>
                  <a:pt x="12983827" y="6656712"/>
                  <a:pt x="13001532" y="6638072"/>
                </a:cubicBezTo>
                <a:cubicBezTo>
                  <a:pt x="13020784" y="6617361"/>
                  <a:pt x="13078970" y="6613909"/>
                  <a:pt x="13109567" y="6608870"/>
                </a:cubicBezTo>
                <a:cubicBezTo>
                  <a:pt x="13167753" y="6598445"/>
                  <a:pt x="13299853" y="6550533"/>
                  <a:pt x="13299853" y="6492059"/>
                </a:cubicBezTo>
                <a:lnTo>
                  <a:pt x="13299853" y="6462995"/>
                </a:lnTo>
                <a:cubicBezTo>
                  <a:pt x="13299853" y="6445598"/>
                  <a:pt x="13304752" y="6428615"/>
                  <a:pt x="13320824" y="6420123"/>
                </a:cubicBezTo>
                <a:cubicBezTo>
                  <a:pt x="13328989" y="6435449"/>
                  <a:pt x="13338529" y="6442353"/>
                  <a:pt x="13345147" y="6454296"/>
                </a:cubicBezTo>
                <a:cubicBezTo>
                  <a:pt x="13362938" y="6442353"/>
                  <a:pt x="13354687" y="6416671"/>
                  <a:pt x="13362938" y="6397824"/>
                </a:cubicBezTo>
                <a:cubicBezTo>
                  <a:pt x="13375744" y="6404659"/>
                  <a:pt x="13383737" y="6411493"/>
                  <a:pt x="13396801" y="6411493"/>
                </a:cubicBezTo>
                <a:cubicBezTo>
                  <a:pt x="13396801" y="6363444"/>
                  <a:pt x="13428945" y="6356609"/>
                  <a:pt x="13432297" y="6317189"/>
                </a:cubicBezTo>
                <a:cubicBezTo>
                  <a:pt x="13475700" y="6317189"/>
                  <a:pt x="13483779" y="6282878"/>
                  <a:pt x="13517728" y="6282878"/>
                </a:cubicBezTo>
                <a:cubicBezTo>
                  <a:pt x="13546520" y="6282878"/>
                  <a:pt x="13562764" y="6317189"/>
                  <a:pt x="13566202" y="6347980"/>
                </a:cubicBezTo>
                <a:cubicBezTo>
                  <a:pt x="13574195" y="6335898"/>
                  <a:pt x="13587001" y="6329202"/>
                  <a:pt x="13601698" y="6329202"/>
                </a:cubicBezTo>
                <a:cubicBezTo>
                  <a:pt x="13609605" y="6329202"/>
                  <a:pt x="13622497" y="6341145"/>
                  <a:pt x="13625763" y="6342733"/>
                </a:cubicBezTo>
                <a:cubicBezTo>
                  <a:pt x="13635389" y="6327407"/>
                  <a:pt x="13630576" y="6315463"/>
                  <a:pt x="13630576" y="6299999"/>
                </a:cubicBezTo>
                <a:cubicBezTo>
                  <a:pt x="13630576" y="6276112"/>
                  <a:pt x="13654727" y="6263962"/>
                  <a:pt x="13654727" y="6239799"/>
                </a:cubicBezTo>
                <a:cubicBezTo>
                  <a:pt x="13654727" y="6215912"/>
                  <a:pt x="13719273" y="6200448"/>
                  <a:pt x="13746776" y="6200448"/>
                </a:cubicBezTo>
                <a:cubicBezTo>
                  <a:pt x="13758121" y="6200448"/>
                  <a:pt x="13770927" y="6190024"/>
                  <a:pt x="13775740" y="6188436"/>
                </a:cubicBezTo>
                <a:cubicBezTo>
                  <a:pt x="13765942" y="6172902"/>
                  <a:pt x="13750042" y="6167863"/>
                  <a:pt x="13746776" y="6149016"/>
                </a:cubicBezTo>
                <a:cubicBezTo>
                  <a:pt x="13801610" y="6172902"/>
                  <a:pt x="13833840" y="6197065"/>
                  <a:pt x="13891854" y="6197065"/>
                </a:cubicBezTo>
                <a:cubicBezTo>
                  <a:pt x="13912825" y="6197065"/>
                  <a:pt x="13919357" y="6183189"/>
                  <a:pt x="13937148" y="6183189"/>
                </a:cubicBezTo>
                <a:cubicBezTo>
                  <a:pt x="13946688" y="6183189"/>
                  <a:pt x="13969206" y="6200448"/>
                  <a:pt x="13969206" y="6214255"/>
                </a:cubicBezTo>
                <a:cubicBezTo>
                  <a:pt x="13969206" y="6236623"/>
                  <a:pt x="13945227" y="6238211"/>
                  <a:pt x="13932335" y="6248498"/>
                </a:cubicBezTo>
                <a:lnTo>
                  <a:pt x="13912825" y="6334448"/>
                </a:lnTo>
                <a:cubicBezTo>
                  <a:pt x="13912825" y="6347980"/>
                  <a:pt x="13935687" y="6344597"/>
                  <a:pt x="13945227" y="6351501"/>
                </a:cubicBezTo>
                <a:cubicBezTo>
                  <a:pt x="13954939" y="6358266"/>
                  <a:pt x="13954939" y="6384155"/>
                  <a:pt x="13961213" y="6385812"/>
                </a:cubicBezTo>
                <a:cubicBezTo>
                  <a:pt x="14004874" y="6402864"/>
                  <a:pt x="14029111" y="6411493"/>
                  <a:pt x="14069334" y="6428615"/>
                </a:cubicBezTo>
                <a:cubicBezTo>
                  <a:pt x="14091938" y="6437244"/>
                  <a:pt x="14099931" y="6475007"/>
                  <a:pt x="14130614" y="6475007"/>
                </a:cubicBezTo>
                <a:cubicBezTo>
                  <a:pt x="14180549" y="6475007"/>
                  <a:pt x="14190519" y="6373592"/>
                  <a:pt x="14198426" y="6334448"/>
                </a:cubicBezTo>
                <a:lnTo>
                  <a:pt x="14198426" y="6179806"/>
                </a:lnTo>
                <a:cubicBezTo>
                  <a:pt x="14224038" y="6159233"/>
                  <a:pt x="14216131" y="6136934"/>
                  <a:pt x="14243548" y="6121401"/>
                </a:cubicBezTo>
                <a:close/>
                <a:moveTo>
                  <a:pt x="13004789" y="6007101"/>
                </a:moveTo>
                <a:lnTo>
                  <a:pt x="13019371" y="6007101"/>
                </a:lnTo>
                <a:cubicBezTo>
                  <a:pt x="13027620" y="6007101"/>
                  <a:pt x="13027620" y="6015776"/>
                  <a:pt x="13034067" y="6019153"/>
                </a:cubicBezTo>
                <a:cubicBezTo>
                  <a:pt x="13032312" y="6029488"/>
                  <a:pt x="13025796" y="6036324"/>
                  <a:pt x="13017820" y="6036324"/>
                </a:cubicBezTo>
                <a:cubicBezTo>
                  <a:pt x="13012924" y="6036324"/>
                  <a:pt x="13004789" y="6029488"/>
                  <a:pt x="13004789" y="6024392"/>
                </a:cubicBezTo>
                <a:close/>
                <a:moveTo>
                  <a:pt x="12601238" y="5880100"/>
                </a:moveTo>
                <a:cubicBezTo>
                  <a:pt x="12649626" y="5880100"/>
                  <a:pt x="12670681" y="5934926"/>
                  <a:pt x="12723807" y="5934926"/>
                </a:cubicBezTo>
                <a:cubicBezTo>
                  <a:pt x="12748164" y="5934926"/>
                  <a:pt x="12752966" y="5909205"/>
                  <a:pt x="12772196" y="5909205"/>
                </a:cubicBezTo>
                <a:cubicBezTo>
                  <a:pt x="12804484" y="5909205"/>
                  <a:pt x="12815696" y="5940086"/>
                  <a:pt x="12844877" y="5940086"/>
                </a:cubicBezTo>
                <a:lnTo>
                  <a:pt x="12893309" y="5933332"/>
                </a:lnTo>
                <a:lnTo>
                  <a:pt x="12906259" y="5933332"/>
                </a:lnTo>
                <a:cubicBezTo>
                  <a:pt x="12904608" y="5941883"/>
                  <a:pt x="12849700" y="5946861"/>
                  <a:pt x="12846528" y="5945321"/>
                </a:cubicBezTo>
                <a:cubicBezTo>
                  <a:pt x="12864172" y="5963929"/>
                  <a:pt x="12885074" y="5967651"/>
                  <a:pt x="12914038" y="5967651"/>
                </a:cubicBezTo>
                <a:cubicBezTo>
                  <a:pt x="12923924" y="5967651"/>
                  <a:pt x="12923924" y="5979741"/>
                  <a:pt x="12927205" y="5983078"/>
                </a:cubicBezTo>
                <a:cubicBezTo>
                  <a:pt x="12938417" y="5995134"/>
                  <a:pt x="12951367" y="5981220"/>
                  <a:pt x="12965816" y="5986252"/>
                </a:cubicBezTo>
                <a:cubicBezTo>
                  <a:pt x="12980266" y="5991656"/>
                  <a:pt x="12980266" y="5996911"/>
                  <a:pt x="12991521" y="6001909"/>
                </a:cubicBezTo>
                <a:cubicBezTo>
                  <a:pt x="12988479" y="6008684"/>
                  <a:pt x="12977159" y="6020734"/>
                  <a:pt x="12973899" y="6020734"/>
                </a:cubicBezTo>
                <a:cubicBezTo>
                  <a:pt x="12957820" y="6020734"/>
                  <a:pt x="12959428" y="6008684"/>
                  <a:pt x="12940003" y="6008684"/>
                </a:cubicBezTo>
                <a:cubicBezTo>
                  <a:pt x="12935180" y="6008684"/>
                  <a:pt x="12938417" y="6020734"/>
                  <a:pt x="12940003" y="6025995"/>
                </a:cubicBezTo>
                <a:cubicBezTo>
                  <a:pt x="12886856" y="6003544"/>
                  <a:pt x="12832014" y="6000187"/>
                  <a:pt x="12769045" y="6000187"/>
                </a:cubicBezTo>
                <a:cubicBezTo>
                  <a:pt x="12749772" y="6000187"/>
                  <a:pt x="12744753" y="5977924"/>
                  <a:pt x="12728674" y="5977924"/>
                </a:cubicBezTo>
                <a:cubicBezTo>
                  <a:pt x="12698146" y="5977924"/>
                  <a:pt x="12672289" y="5976121"/>
                  <a:pt x="12639849" y="5966030"/>
                </a:cubicBezTo>
                <a:cubicBezTo>
                  <a:pt x="12615774" y="5957235"/>
                  <a:pt x="12591525" y="5974588"/>
                  <a:pt x="12575446" y="5957235"/>
                </a:cubicBezTo>
                <a:cubicBezTo>
                  <a:pt x="12559476" y="5940086"/>
                  <a:pt x="12546374" y="5919539"/>
                  <a:pt x="12522190" y="5919539"/>
                </a:cubicBezTo>
                <a:cubicBezTo>
                  <a:pt x="12523863" y="5914440"/>
                  <a:pt x="12552827" y="5883457"/>
                  <a:pt x="12562518" y="5883457"/>
                </a:cubicBezTo>
                <a:cubicBezTo>
                  <a:pt x="12567363" y="5883457"/>
                  <a:pt x="12570666" y="5890434"/>
                  <a:pt x="12575446" y="5890434"/>
                </a:cubicBezTo>
                <a:cubicBezTo>
                  <a:pt x="12585137" y="5890434"/>
                  <a:pt x="12591525" y="5880100"/>
                  <a:pt x="12601238" y="5880100"/>
                </a:cubicBezTo>
                <a:close/>
                <a:moveTo>
                  <a:pt x="13760135" y="5600700"/>
                </a:moveTo>
                <a:cubicBezTo>
                  <a:pt x="13787507" y="5600700"/>
                  <a:pt x="13808609" y="5628077"/>
                  <a:pt x="13837668" y="5635010"/>
                </a:cubicBezTo>
                <a:lnTo>
                  <a:pt x="13837668" y="5696767"/>
                </a:lnTo>
                <a:cubicBezTo>
                  <a:pt x="13837668" y="5705321"/>
                  <a:pt x="13847354" y="5712040"/>
                  <a:pt x="13861883" y="5712040"/>
                </a:cubicBezTo>
                <a:cubicBezTo>
                  <a:pt x="13861883" y="5719188"/>
                  <a:pt x="13884369" y="5746302"/>
                  <a:pt x="13894228" y="5746302"/>
                </a:cubicBezTo>
                <a:cubicBezTo>
                  <a:pt x="13905341" y="5746302"/>
                  <a:pt x="13920000" y="5720736"/>
                  <a:pt x="13923243" y="5717282"/>
                </a:cubicBezTo>
                <a:cubicBezTo>
                  <a:pt x="13936042" y="5703653"/>
                  <a:pt x="13939285" y="5701961"/>
                  <a:pt x="13961857" y="5694980"/>
                </a:cubicBezTo>
                <a:cubicBezTo>
                  <a:pt x="13976387" y="5689786"/>
                  <a:pt x="13995889" y="5658908"/>
                  <a:pt x="14015218" y="5655477"/>
                </a:cubicBezTo>
                <a:cubicBezTo>
                  <a:pt x="14016644" y="5664173"/>
                  <a:pt x="14029530" y="5662315"/>
                  <a:pt x="14034374" y="5664173"/>
                </a:cubicBezTo>
                <a:cubicBezTo>
                  <a:pt x="14053832" y="5670940"/>
                  <a:pt x="14066718" y="5691478"/>
                  <a:pt x="14076231" y="5696767"/>
                </a:cubicBezTo>
                <a:lnTo>
                  <a:pt x="14119905" y="5696767"/>
                </a:lnTo>
                <a:cubicBezTo>
                  <a:pt x="14126651" y="5703844"/>
                  <a:pt x="14139710" y="5708514"/>
                  <a:pt x="14147796" y="5710753"/>
                </a:cubicBezTo>
                <a:lnTo>
                  <a:pt x="14144207" y="5706941"/>
                </a:lnTo>
                <a:cubicBezTo>
                  <a:pt x="14145548" y="5708347"/>
                  <a:pt x="14147407" y="5709753"/>
                  <a:pt x="14149007" y="5711111"/>
                </a:cubicBezTo>
                <a:cubicBezTo>
                  <a:pt x="14150131" y="5711420"/>
                  <a:pt x="14151515" y="5711778"/>
                  <a:pt x="14152293" y="5712040"/>
                </a:cubicBezTo>
                <a:lnTo>
                  <a:pt x="14152293" y="5713898"/>
                </a:lnTo>
                <a:cubicBezTo>
                  <a:pt x="14176509" y="5732221"/>
                  <a:pt x="14225934" y="5749900"/>
                  <a:pt x="14261911" y="5749900"/>
                </a:cubicBezTo>
                <a:cubicBezTo>
                  <a:pt x="14281240" y="5749900"/>
                  <a:pt x="14290969" y="5773940"/>
                  <a:pt x="14310212" y="5773940"/>
                </a:cubicBezTo>
                <a:cubicBezTo>
                  <a:pt x="14310212" y="5787712"/>
                  <a:pt x="14323184" y="5789356"/>
                  <a:pt x="14331184" y="5791071"/>
                </a:cubicBezTo>
                <a:cubicBezTo>
                  <a:pt x="14382857" y="5808202"/>
                  <a:pt x="14381301" y="5854544"/>
                  <a:pt x="14419959" y="5875130"/>
                </a:cubicBezTo>
                <a:cubicBezTo>
                  <a:pt x="14436174" y="5883755"/>
                  <a:pt x="14470032" y="5864766"/>
                  <a:pt x="14470032" y="5902601"/>
                </a:cubicBezTo>
                <a:cubicBezTo>
                  <a:pt x="14470032" y="5921519"/>
                  <a:pt x="14439331" y="5914562"/>
                  <a:pt x="14439331" y="5929954"/>
                </a:cubicBezTo>
                <a:cubicBezTo>
                  <a:pt x="14439331" y="5938674"/>
                  <a:pt x="14466919" y="5967766"/>
                  <a:pt x="14470032" y="5971149"/>
                </a:cubicBezTo>
                <a:cubicBezTo>
                  <a:pt x="14486162" y="5988376"/>
                  <a:pt x="14482918" y="6000456"/>
                  <a:pt x="14495891" y="6021017"/>
                </a:cubicBezTo>
                <a:cubicBezTo>
                  <a:pt x="14500647" y="6029500"/>
                  <a:pt x="14519933" y="6038101"/>
                  <a:pt x="14531306" y="6038101"/>
                </a:cubicBezTo>
                <a:cubicBezTo>
                  <a:pt x="14536149" y="6038101"/>
                  <a:pt x="14540992" y="6050133"/>
                  <a:pt x="14544321" y="6057114"/>
                </a:cubicBezTo>
                <a:cubicBezTo>
                  <a:pt x="14547608" y="6065668"/>
                  <a:pt x="14557164" y="6058806"/>
                  <a:pt x="14563607" y="6060450"/>
                </a:cubicBezTo>
                <a:cubicBezTo>
                  <a:pt x="14573250" y="6063785"/>
                  <a:pt x="14576407" y="6074174"/>
                  <a:pt x="14579823" y="6081083"/>
                </a:cubicBezTo>
                <a:cubicBezTo>
                  <a:pt x="14582806" y="6089518"/>
                  <a:pt x="14607281" y="6086134"/>
                  <a:pt x="14611908" y="6087826"/>
                </a:cubicBezTo>
                <a:cubicBezTo>
                  <a:pt x="14602179" y="6094688"/>
                  <a:pt x="14590849" y="6103337"/>
                  <a:pt x="14590849" y="6115345"/>
                </a:cubicBezTo>
                <a:lnTo>
                  <a:pt x="14581250" y="6115345"/>
                </a:lnTo>
                <a:cubicBezTo>
                  <a:pt x="14578050" y="6115345"/>
                  <a:pt x="14553921" y="6098167"/>
                  <a:pt x="14550678" y="6094688"/>
                </a:cubicBezTo>
                <a:lnTo>
                  <a:pt x="14508690" y="6094688"/>
                </a:lnTo>
                <a:cubicBezTo>
                  <a:pt x="14484432" y="6089518"/>
                  <a:pt x="14447374" y="6070719"/>
                  <a:pt x="14447374" y="6051944"/>
                </a:cubicBezTo>
                <a:cubicBezTo>
                  <a:pt x="14447374" y="6044748"/>
                  <a:pt x="14434445" y="6041579"/>
                  <a:pt x="14431288" y="6038101"/>
                </a:cubicBezTo>
                <a:cubicBezTo>
                  <a:pt x="14398986" y="6003720"/>
                  <a:pt x="14370101" y="5955805"/>
                  <a:pt x="14316741" y="5955805"/>
                </a:cubicBezTo>
                <a:cubicBezTo>
                  <a:pt x="14276353" y="5955805"/>
                  <a:pt x="14279726" y="5986684"/>
                  <a:pt x="14257068" y="5998573"/>
                </a:cubicBezTo>
                <a:cubicBezTo>
                  <a:pt x="14263467" y="6021017"/>
                  <a:pt x="14249025" y="6027760"/>
                  <a:pt x="14249025" y="6039935"/>
                </a:cubicBezTo>
                <a:lnTo>
                  <a:pt x="14187578" y="6039935"/>
                </a:lnTo>
                <a:cubicBezTo>
                  <a:pt x="14145677" y="6039935"/>
                  <a:pt x="14134391" y="5986684"/>
                  <a:pt x="14092533" y="5986684"/>
                </a:cubicBezTo>
                <a:cubicBezTo>
                  <a:pt x="14086090" y="5986684"/>
                  <a:pt x="14068405" y="5988376"/>
                  <a:pt x="14068405" y="5996929"/>
                </a:cubicBezTo>
                <a:lnTo>
                  <a:pt x="14034374" y="5996929"/>
                </a:lnTo>
                <a:cubicBezTo>
                  <a:pt x="14023131" y="5996929"/>
                  <a:pt x="14008645" y="5996929"/>
                  <a:pt x="14008645" y="5983182"/>
                </a:cubicBezTo>
                <a:cubicBezTo>
                  <a:pt x="14008645" y="5962691"/>
                  <a:pt x="14039260" y="5954090"/>
                  <a:pt x="14049076" y="5948920"/>
                </a:cubicBezTo>
                <a:cubicBezTo>
                  <a:pt x="14026331" y="5924974"/>
                  <a:pt x="14036017" y="5900862"/>
                  <a:pt x="14027844" y="5875130"/>
                </a:cubicBezTo>
                <a:cubicBezTo>
                  <a:pt x="14021660" y="5854544"/>
                  <a:pt x="13976387" y="5835745"/>
                  <a:pt x="13960257" y="5827049"/>
                </a:cubicBezTo>
                <a:cubicBezTo>
                  <a:pt x="13942485" y="5818495"/>
                  <a:pt x="13898941" y="5809894"/>
                  <a:pt x="13873212" y="5809894"/>
                </a:cubicBezTo>
                <a:cubicBezTo>
                  <a:pt x="13849040" y="5809894"/>
                  <a:pt x="13839181" y="5765291"/>
                  <a:pt x="13813452" y="5773940"/>
                </a:cubicBezTo>
                <a:lnTo>
                  <a:pt x="13813452" y="5758501"/>
                </a:lnTo>
                <a:cubicBezTo>
                  <a:pt x="13808609" y="5772225"/>
                  <a:pt x="13802080" y="5789356"/>
                  <a:pt x="13789237" y="5789356"/>
                </a:cubicBezTo>
                <a:cubicBezTo>
                  <a:pt x="13784351" y="5789356"/>
                  <a:pt x="13774665" y="5789356"/>
                  <a:pt x="13773065" y="5784257"/>
                </a:cubicBezTo>
                <a:cubicBezTo>
                  <a:pt x="13765022" y="5767054"/>
                  <a:pt x="13773065" y="5760121"/>
                  <a:pt x="13765022" y="5746302"/>
                </a:cubicBezTo>
                <a:cubicBezTo>
                  <a:pt x="13756936" y="5732650"/>
                  <a:pt x="13739207" y="5739583"/>
                  <a:pt x="13736007" y="5725883"/>
                </a:cubicBezTo>
                <a:cubicBezTo>
                  <a:pt x="13758622" y="5713851"/>
                  <a:pt x="13806880" y="5717282"/>
                  <a:pt x="13818252" y="5696767"/>
                </a:cubicBezTo>
                <a:lnTo>
                  <a:pt x="13806880" y="5696767"/>
                </a:lnTo>
                <a:cubicBezTo>
                  <a:pt x="13789237" y="5701961"/>
                  <a:pt x="13777951" y="5703653"/>
                  <a:pt x="13760135" y="5703653"/>
                </a:cubicBezTo>
                <a:cubicBezTo>
                  <a:pt x="13752136" y="5703653"/>
                  <a:pt x="13745650" y="5700127"/>
                  <a:pt x="13737736" y="5698411"/>
                </a:cubicBezTo>
                <a:cubicBezTo>
                  <a:pt x="13732850" y="5696767"/>
                  <a:pt x="13729477" y="5688118"/>
                  <a:pt x="13727964" y="5683091"/>
                </a:cubicBezTo>
                <a:cubicBezTo>
                  <a:pt x="13716678" y="5658908"/>
                  <a:pt x="13677890" y="5669296"/>
                  <a:pt x="13677890" y="5645112"/>
                </a:cubicBezTo>
                <a:cubicBezTo>
                  <a:pt x="13677890" y="5635010"/>
                  <a:pt x="13690819" y="5629887"/>
                  <a:pt x="13700549" y="5629887"/>
                </a:cubicBezTo>
                <a:cubicBezTo>
                  <a:pt x="13719878" y="5629887"/>
                  <a:pt x="13731120" y="5600700"/>
                  <a:pt x="13760135" y="5600700"/>
                </a:cubicBezTo>
                <a:close/>
                <a:moveTo>
                  <a:pt x="13414038" y="5511801"/>
                </a:moveTo>
                <a:lnTo>
                  <a:pt x="13423673" y="5511801"/>
                </a:lnTo>
                <a:cubicBezTo>
                  <a:pt x="13422051" y="5517080"/>
                  <a:pt x="13420551" y="5525593"/>
                  <a:pt x="13415633" y="5525593"/>
                </a:cubicBezTo>
                <a:cubicBezTo>
                  <a:pt x="13410781" y="5551382"/>
                  <a:pt x="13399552" y="5580322"/>
                  <a:pt x="13367269" y="5580322"/>
                </a:cubicBezTo>
                <a:cubicBezTo>
                  <a:pt x="13346283" y="5580322"/>
                  <a:pt x="13331675" y="5568625"/>
                  <a:pt x="13310838" y="5568625"/>
                </a:cubicBezTo>
                <a:cubicBezTo>
                  <a:pt x="13288163" y="5568625"/>
                  <a:pt x="13276772" y="5575245"/>
                  <a:pt x="13249299" y="5575245"/>
                </a:cubicBezTo>
                <a:cubicBezTo>
                  <a:pt x="13222057" y="5575245"/>
                  <a:pt x="13196287" y="5568625"/>
                  <a:pt x="13196287" y="5602844"/>
                </a:cubicBezTo>
                <a:cubicBezTo>
                  <a:pt x="13196287" y="5628449"/>
                  <a:pt x="13205922" y="5661093"/>
                  <a:pt x="13230138" y="5661093"/>
                </a:cubicBezTo>
                <a:cubicBezTo>
                  <a:pt x="13239867" y="5661093"/>
                  <a:pt x="13241502" y="5652563"/>
                  <a:pt x="13248029" y="5643832"/>
                </a:cubicBezTo>
                <a:lnTo>
                  <a:pt x="13244610" y="5650720"/>
                </a:lnTo>
                <a:cubicBezTo>
                  <a:pt x="13246245" y="5645743"/>
                  <a:pt x="13331675" y="5618210"/>
                  <a:pt x="13341473" y="5620004"/>
                </a:cubicBezTo>
                <a:lnTo>
                  <a:pt x="13341473" y="5633728"/>
                </a:lnTo>
                <a:cubicBezTo>
                  <a:pt x="13304325" y="5645743"/>
                  <a:pt x="13301041" y="5683464"/>
                  <a:pt x="13256002" y="5683464"/>
                </a:cubicBezTo>
                <a:cubicBezTo>
                  <a:pt x="13256002" y="5688692"/>
                  <a:pt x="13286731" y="5750292"/>
                  <a:pt x="13296258" y="5755520"/>
                </a:cubicBezTo>
                <a:cubicBezTo>
                  <a:pt x="13294771" y="5759006"/>
                  <a:pt x="13289879" y="5762223"/>
                  <a:pt x="13289879" y="5765726"/>
                </a:cubicBezTo>
                <a:cubicBezTo>
                  <a:pt x="13289879" y="5776115"/>
                  <a:pt x="13305892" y="5794934"/>
                  <a:pt x="13312365" y="5796693"/>
                </a:cubicBezTo>
                <a:cubicBezTo>
                  <a:pt x="13312365" y="5815612"/>
                  <a:pt x="13276772" y="5813719"/>
                  <a:pt x="13276772" y="5832671"/>
                </a:cubicBezTo>
                <a:lnTo>
                  <a:pt x="13256002" y="5832671"/>
                </a:lnTo>
                <a:cubicBezTo>
                  <a:pt x="13257596" y="5827543"/>
                  <a:pt x="13256002" y="5822265"/>
                  <a:pt x="13256002" y="5817154"/>
                </a:cubicBezTo>
                <a:cubicBezTo>
                  <a:pt x="13256002" y="5794934"/>
                  <a:pt x="13230138" y="5786287"/>
                  <a:pt x="13230138" y="5764100"/>
                </a:cubicBezTo>
                <a:lnTo>
                  <a:pt x="13236610" y="5728005"/>
                </a:lnTo>
                <a:cubicBezTo>
                  <a:pt x="13231854" y="5729731"/>
                  <a:pt x="13228476" y="5728005"/>
                  <a:pt x="13223827" y="5728005"/>
                </a:cubicBezTo>
                <a:cubicBezTo>
                  <a:pt x="13212462" y="5728005"/>
                  <a:pt x="13199652" y="5736568"/>
                  <a:pt x="13199652" y="5748633"/>
                </a:cubicBezTo>
                <a:cubicBezTo>
                  <a:pt x="13199652" y="5771004"/>
                  <a:pt x="13213989" y="5782919"/>
                  <a:pt x="13213989" y="5805290"/>
                </a:cubicBezTo>
                <a:cubicBezTo>
                  <a:pt x="13213989" y="5813719"/>
                  <a:pt x="13207679" y="5873760"/>
                  <a:pt x="13189652" y="5873760"/>
                </a:cubicBezTo>
                <a:cubicBezTo>
                  <a:pt x="13176869" y="5873760"/>
                  <a:pt x="13163964" y="5861795"/>
                  <a:pt x="13163964" y="5851506"/>
                </a:cubicBezTo>
                <a:lnTo>
                  <a:pt x="13163964" y="5769144"/>
                </a:lnTo>
                <a:cubicBezTo>
                  <a:pt x="13154167" y="5767468"/>
                  <a:pt x="13131789" y="5767468"/>
                  <a:pt x="13131789" y="5746890"/>
                </a:cubicBezTo>
                <a:cubicBezTo>
                  <a:pt x="13131789" y="5709270"/>
                  <a:pt x="13149518" y="5693736"/>
                  <a:pt x="13160815" y="5654356"/>
                </a:cubicBezTo>
                <a:cubicBezTo>
                  <a:pt x="13162437" y="5647318"/>
                  <a:pt x="13175396" y="5638805"/>
                  <a:pt x="13175396" y="5628449"/>
                </a:cubicBezTo>
                <a:cubicBezTo>
                  <a:pt x="13175396" y="5587511"/>
                  <a:pt x="13194720" y="5530653"/>
                  <a:pt x="13236610" y="5530653"/>
                </a:cubicBezTo>
                <a:lnTo>
                  <a:pt x="13349445" y="5551382"/>
                </a:lnTo>
                <a:lnTo>
                  <a:pt x="13362458" y="5551382"/>
                </a:lnTo>
                <a:cubicBezTo>
                  <a:pt x="13372120" y="5541009"/>
                  <a:pt x="13394444" y="5525593"/>
                  <a:pt x="13414038" y="5511801"/>
                </a:cubicBezTo>
                <a:close/>
                <a:moveTo>
                  <a:pt x="12052290" y="5321300"/>
                </a:moveTo>
                <a:lnTo>
                  <a:pt x="12062014" y="5321300"/>
                </a:lnTo>
                <a:cubicBezTo>
                  <a:pt x="12078122" y="5321300"/>
                  <a:pt x="12081280" y="5329899"/>
                  <a:pt x="12094343" y="5336887"/>
                </a:cubicBezTo>
                <a:lnTo>
                  <a:pt x="12147496" y="5336887"/>
                </a:lnTo>
                <a:cubicBezTo>
                  <a:pt x="12182893" y="5348889"/>
                  <a:pt x="12194241" y="5374633"/>
                  <a:pt x="12207281" y="5401987"/>
                </a:cubicBezTo>
                <a:cubicBezTo>
                  <a:pt x="12210304" y="5410638"/>
                  <a:pt x="12218426" y="5408949"/>
                  <a:pt x="12224878" y="5410638"/>
                </a:cubicBezTo>
                <a:cubicBezTo>
                  <a:pt x="12248995" y="5419133"/>
                  <a:pt x="12260434" y="5439707"/>
                  <a:pt x="12276429" y="5456930"/>
                </a:cubicBezTo>
                <a:cubicBezTo>
                  <a:pt x="12307089" y="5489610"/>
                  <a:pt x="12324754" y="5511717"/>
                  <a:pt x="12370033" y="5527278"/>
                </a:cubicBezTo>
                <a:cubicBezTo>
                  <a:pt x="12394218" y="5535903"/>
                  <a:pt x="12421584" y="5544475"/>
                  <a:pt x="12421584" y="5570323"/>
                </a:cubicBezTo>
                <a:cubicBezTo>
                  <a:pt x="12421584" y="5571778"/>
                  <a:pt x="12418583" y="5576922"/>
                  <a:pt x="12418583" y="5578714"/>
                </a:cubicBezTo>
                <a:lnTo>
                  <a:pt x="12431330" y="5578714"/>
                </a:lnTo>
                <a:cubicBezTo>
                  <a:pt x="12437624" y="5578714"/>
                  <a:pt x="12442588" y="5587313"/>
                  <a:pt x="12445881" y="5594223"/>
                </a:cubicBezTo>
                <a:lnTo>
                  <a:pt x="12439452" y="5611394"/>
                </a:lnTo>
                <a:cubicBezTo>
                  <a:pt x="12439452" y="5633683"/>
                  <a:pt x="12452244" y="5638827"/>
                  <a:pt x="12469999" y="5638827"/>
                </a:cubicBezTo>
                <a:cubicBezTo>
                  <a:pt x="12469999" y="5674962"/>
                  <a:pt x="12489423" y="5685145"/>
                  <a:pt x="12507156" y="5704057"/>
                </a:cubicBezTo>
                <a:cubicBezTo>
                  <a:pt x="12516812" y="5714214"/>
                  <a:pt x="12539598" y="5719332"/>
                  <a:pt x="12539598" y="5736503"/>
                </a:cubicBezTo>
                <a:lnTo>
                  <a:pt x="12539598" y="5810436"/>
                </a:lnTo>
                <a:cubicBezTo>
                  <a:pt x="12523309" y="5817294"/>
                  <a:pt x="12531273" y="5841194"/>
                  <a:pt x="12531273" y="5858417"/>
                </a:cubicBezTo>
                <a:cubicBezTo>
                  <a:pt x="12531273" y="5877329"/>
                  <a:pt x="12499079" y="5882420"/>
                  <a:pt x="12487709" y="5882420"/>
                </a:cubicBezTo>
                <a:cubicBezTo>
                  <a:pt x="12479767" y="5882420"/>
                  <a:pt x="12450664" y="5837661"/>
                  <a:pt x="12448995" y="5836076"/>
                </a:cubicBezTo>
                <a:cubicBezTo>
                  <a:pt x="12418583" y="5803448"/>
                  <a:pt x="12389322" y="5789706"/>
                  <a:pt x="12360354" y="5758844"/>
                </a:cubicBezTo>
                <a:cubicBezTo>
                  <a:pt x="12328138" y="5724579"/>
                  <a:pt x="12315211" y="5693666"/>
                  <a:pt x="12297388" y="5654231"/>
                </a:cubicBezTo>
                <a:cubicBezTo>
                  <a:pt x="12294207" y="5645529"/>
                  <a:pt x="12274895" y="5611394"/>
                  <a:pt x="12270090" y="5611394"/>
                </a:cubicBezTo>
                <a:cubicBezTo>
                  <a:pt x="12265194" y="5611394"/>
                  <a:pt x="12268443" y="5601185"/>
                  <a:pt x="12265194" y="5596041"/>
                </a:cubicBezTo>
                <a:cubicBezTo>
                  <a:pt x="12263592" y="5592534"/>
                  <a:pt x="12244077" y="5590820"/>
                  <a:pt x="12239452" y="5587313"/>
                </a:cubicBezTo>
                <a:cubicBezTo>
                  <a:pt x="12231240" y="5582013"/>
                  <a:pt x="12220005" y="5541124"/>
                  <a:pt x="12216824" y="5527278"/>
                </a:cubicBezTo>
                <a:cubicBezTo>
                  <a:pt x="12205521" y="5487844"/>
                  <a:pt x="12168409" y="5494624"/>
                  <a:pt x="12157106" y="5470621"/>
                </a:cubicBezTo>
                <a:cubicBezTo>
                  <a:pt x="12147496" y="5450098"/>
                  <a:pt x="12142713" y="5439707"/>
                  <a:pt x="12132876" y="5419133"/>
                </a:cubicBezTo>
                <a:cubicBezTo>
                  <a:pt x="12126514" y="5403832"/>
                  <a:pt x="12110361" y="5407027"/>
                  <a:pt x="12095854" y="5403832"/>
                </a:cubicBezTo>
                <a:cubicBezTo>
                  <a:pt x="12082905" y="5400351"/>
                  <a:pt x="12057095" y="5352344"/>
                  <a:pt x="12052290" y="5335120"/>
                </a:cubicBezTo>
                <a:close/>
                <a:moveTo>
                  <a:pt x="13061416" y="5245100"/>
                </a:moveTo>
                <a:cubicBezTo>
                  <a:pt x="13088831" y="5245100"/>
                  <a:pt x="13085744" y="5262259"/>
                  <a:pt x="13085744" y="5287958"/>
                </a:cubicBezTo>
                <a:cubicBezTo>
                  <a:pt x="13085744" y="5323952"/>
                  <a:pt x="13153571" y="5303362"/>
                  <a:pt x="13153571" y="5337628"/>
                </a:cubicBezTo>
                <a:cubicBezTo>
                  <a:pt x="13153571" y="5353134"/>
                  <a:pt x="13117931" y="5342941"/>
                  <a:pt x="13117931" y="5358218"/>
                </a:cubicBezTo>
                <a:cubicBezTo>
                  <a:pt x="13117931" y="5361751"/>
                  <a:pt x="13121212" y="5366835"/>
                  <a:pt x="13124364" y="5366835"/>
                </a:cubicBezTo>
                <a:cubicBezTo>
                  <a:pt x="13121212" y="5372072"/>
                  <a:pt x="13077627" y="5390832"/>
                  <a:pt x="13077627" y="5390832"/>
                </a:cubicBezTo>
                <a:cubicBezTo>
                  <a:pt x="13079095" y="5396043"/>
                  <a:pt x="13082377" y="5401076"/>
                  <a:pt x="13084017" y="5406363"/>
                </a:cubicBezTo>
                <a:cubicBezTo>
                  <a:pt x="13079095" y="5407990"/>
                  <a:pt x="13072770" y="5413201"/>
                  <a:pt x="13072770" y="5418361"/>
                </a:cubicBezTo>
                <a:cubicBezTo>
                  <a:pt x="13072770" y="5444162"/>
                  <a:pt x="13116376" y="5529877"/>
                  <a:pt x="13145325" y="5529877"/>
                </a:cubicBezTo>
                <a:cubicBezTo>
                  <a:pt x="13140446" y="5555500"/>
                  <a:pt x="13127407" y="5547112"/>
                  <a:pt x="13109879" y="5547112"/>
                </a:cubicBezTo>
                <a:cubicBezTo>
                  <a:pt x="13105129" y="5547112"/>
                  <a:pt x="13098524" y="5548764"/>
                  <a:pt x="13093645" y="5550544"/>
                </a:cubicBezTo>
                <a:lnTo>
                  <a:pt x="13085744" y="5567651"/>
                </a:lnTo>
                <a:cubicBezTo>
                  <a:pt x="13077627" y="5605450"/>
                  <a:pt x="13064632" y="5615745"/>
                  <a:pt x="13064632" y="5644851"/>
                </a:cubicBezTo>
                <a:cubicBezTo>
                  <a:pt x="13045225" y="5648282"/>
                  <a:pt x="13029251" y="5674033"/>
                  <a:pt x="13029251" y="5684429"/>
                </a:cubicBezTo>
                <a:cubicBezTo>
                  <a:pt x="13029251" y="5696326"/>
                  <a:pt x="13037195" y="5699757"/>
                  <a:pt x="13037195" y="5708273"/>
                </a:cubicBezTo>
                <a:cubicBezTo>
                  <a:pt x="13037195" y="5722228"/>
                  <a:pt x="13017874" y="5747648"/>
                  <a:pt x="13017874" y="5766637"/>
                </a:cubicBezTo>
                <a:cubicBezTo>
                  <a:pt x="12992034" y="5773551"/>
                  <a:pt x="12988818" y="5794166"/>
                  <a:pt x="12967706" y="5794166"/>
                </a:cubicBezTo>
                <a:cubicBezTo>
                  <a:pt x="12951688" y="5794166"/>
                  <a:pt x="12946917" y="5780490"/>
                  <a:pt x="12946917" y="5770195"/>
                </a:cubicBezTo>
                <a:cubicBezTo>
                  <a:pt x="12921121" y="5763078"/>
                  <a:pt x="12903311" y="5742717"/>
                  <a:pt x="12875853" y="5742717"/>
                </a:cubicBezTo>
                <a:cubicBezTo>
                  <a:pt x="12862987" y="5742717"/>
                  <a:pt x="12854978" y="5761476"/>
                  <a:pt x="12835549" y="5761476"/>
                </a:cubicBezTo>
                <a:cubicBezTo>
                  <a:pt x="12830692" y="5761476"/>
                  <a:pt x="12827519" y="5752885"/>
                  <a:pt x="12822727" y="5752885"/>
                </a:cubicBezTo>
                <a:cubicBezTo>
                  <a:pt x="12819575" y="5752885"/>
                  <a:pt x="12820978" y="5733972"/>
                  <a:pt x="12819575" y="5727236"/>
                </a:cubicBezTo>
                <a:cubicBezTo>
                  <a:pt x="12806601" y="5725380"/>
                  <a:pt x="12798592" y="5735853"/>
                  <a:pt x="12785640" y="5735853"/>
                </a:cubicBezTo>
                <a:cubicBezTo>
                  <a:pt x="12725865" y="5735853"/>
                  <a:pt x="12751791" y="5675761"/>
                  <a:pt x="12730744" y="5641470"/>
                </a:cubicBezTo>
                <a:cubicBezTo>
                  <a:pt x="12730744" y="5639691"/>
                  <a:pt x="12732341" y="5634530"/>
                  <a:pt x="12732341" y="5632878"/>
                </a:cubicBezTo>
                <a:cubicBezTo>
                  <a:pt x="12729103" y="5624185"/>
                  <a:pt x="12719562" y="5624185"/>
                  <a:pt x="12711380" y="5622481"/>
                </a:cubicBezTo>
                <a:cubicBezTo>
                  <a:pt x="12703436" y="5620702"/>
                  <a:pt x="12687289" y="5558958"/>
                  <a:pt x="12687289" y="5550544"/>
                </a:cubicBezTo>
                <a:cubicBezTo>
                  <a:pt x="12687289" y="5521336"/>
                  <a:pt x="12721202" y="5533360"/>
                  <a:pt x="12743718" y="5533360"/>
                </a:cubicBezTo>
                <a:cubicBezTo>
                  <a:pt x="12793627" y="5533360"/>
                  <a:pt x="12787281" y="5480207"/>
                  <a:pt x="12809774" y="5456008"/>
                </a:cubicBezTo>
                <a:cubicBezTo>
                  <a:pt x="12820978" y="5444162"/>
                  <a:pt x="12837298" y="5444162"/>
                  <a:pt x="12854978" y="5440705"/>
                </a:cubicBezTo>
                <a:cubicBezTo>
                  <a:pt x="12879112" y="5435596"/>
                  <a:pt x="12879112" y="5418361"/>
                  <a:pt x="12892151" y="5404685"/>
                </a:cubicBezTo>
                <a:cubicBezTo>
                  <a:pt x="12885783" y="5397898"/>
                  <a:pt x="12903311" y="5384095"/>
                  <a:pt x="12903311" y="5384095"/>
                </a:cubicBezTo>
                <a:cubicBezTo>
                  <a:pt x="12913090" y="5378935"/>
                  <a:pt x="12911536" y="5375351"/>
                  <a:pt x="12919329" y="5372072"/>
                </a:cubicBezTo>
                <a:cubicBezTo>
                  <a:pt x="12924337" y="5370394"/>
                  <a:pt x="12925935" y="5361751"/>
                  <a:pt x="12929216" y="5358218"/>
                </a:cubicBezTo>
                <a:cubicBezTo>
                  <a:pt x="12943701" y="5342941"/>
                  <a:pt x="12980874" y="5351431"/>
                  <a:pt x="12987199" y="5337628"/>
                </a:cubicBezTo>
                <a:cubicBezTo>
                  <a:pt x="13000130" y="5310251"/>
                  <a:pt x="13035640" y="5245100"/>
                  <a:pt x="13061416" y="5245100"/>
                </a:cubicBezTo>
                <a:close/>
                <a:moveTo>
                  <a:pt x="11363575" y="5118101"/>
                </a:moveTo>
                <a:cubicBezTo>
                  <a:pt x="11386201" y="5159117"/>
                  <a:pt x="11432971" y="5179884"/>
                  <a:pt x="11432971" y="5234666"/>
                </a:cubicBezTo>
                <a:cubicBezTo>
                  <a:pt x="11432971" y="5265670"/>
                  <a:pt x="11411987" y="5305006"/>
                  <a:pt x="11381530" y="5305006"/>
                </a:cubicBezTo>
                <a:cubicBezTo>
                  <a:pt x="11358794" y="5305006"/>
                  <a:pt x="11341090" y="5281020"/>
                  <a:pt x="11341090" y="5256939"/>
                </a:cubicBezTo>
                <a:cubicBezTo>
                  <a:pt x="11341090" y="5207271"/>
                  <a:pt x="11363575" y="5169552"/>
                  <a:pt x="11363575" y="5118101"/>
                </a:cubicBezTo>
                <a:close/>
                <a:moveTo>
                  <a:pt x="13441720" y="5105401"/>
                </a:moveTo>
                <a:cubicBezTo>
                  <a:pt x="13452081" y="5105546"/>
                  <a:pt x="13459303" y="5113191"/>
                  <a:pt x="13465165" y="5119077"/>
                </a:cubicBezTo>
                <a:cubicBezTo>
                  <a:pt x="13476615" y="5131387"/>
                  <a:pt x="13500196" y="5219971"/>
                  <a:pt x="13500157" y="5233291"/>
                </a:cubicBezTo>
                <a:cubicBezTo>
                  <a:pt x="13499768" y="5249794"/>
                  <a:pt x="13481971" y="5258391"/>
                  <a:pt x="13481475" y="5283704"/>
                </a:cubicBezTo>
                <a:cubicBezTo>
                  <a:pt x="13476411" y="5282309"/>
                  <a:pt x="13465981" y="5256814"/>
                  <a:pt x="13463541" y="5248418"/>
                </a:cubicBezTo>
                <a:lnTo>
                  <a:pt x="13464290" y="5252044"/>
                </a:lnTo>
                <a:cubicBezTo>
                  <a:pt x="13462948" y="5247524"/>
                  <a:pt x="13458740" y="5244475"/>
                  <a:pt x="13455862" y="5239907"/>
                </a:cubicBezTo>
                <a:cubicBezTo>
                  <a:pt x="13449690" y="5248861"/>
                  <a:pt x="13442313" y="5251756"/>
                  <a:pt x="13442245" y="5260575"/>
                </a:cubicBezTo>
                <a:cubicBezTo>
                  <a:pt x="13442079" y="5271105"/>
                  <a:pt x="13459507" y="5275885"/>
                  <a:pt x="13459303" y="5292302"/>
                </a:cubicBezTo>
                <a:cubicBezTo>
                  <a:pt x="13459235" y="5304237"/>
                  <a:pt x="13453199" y="5313132"/>
                  <a:pt x="13442876" y="5313027"/>
                </a:cubicBezTo>
                <a:cubicBezTo>
                  <a:pt x="13438415" y="5313027"/>
                  <a:pt x="13435567" y="5305189"/>
                  <a:pt x="13435615" y="5300938"/>
                </a:cubicBezTo>
                <a:cubicBezTo>
                  <a:pt x="13431037" y="5303544"/>
                  <a:pt x="13425293" y="5302034"/>
                  <a:pt x="13420938" y="5301967"/>
                </a:cubicBezTo>
                <a:cubicBezTo>
                  <a:pt x="13400322" y="5301563"/>
                  <a:pt x="13383059" y="5277558"/>
                  <a:pt x="13383535" y="5249005"/>
                </a:cubicBezTo>
                <a:cubicBezTo>
                  <a:pt x="13383739" y="5238734"/>
                  <a:pt x="13386704" y="5234118"/>
                  <a:pt x="13391146" y="5231386"/>
                </a:cubicBezTo>
                <a:cubicBezTo>
                  <a:pt x="13389775" y="5226799"/>
                  <a:pt x="13386927" y="5220817"/>
                  <a:pt x="13385469" y="5216422"/>
                </a:cubicBezTo>
                <a:lnTo>
                  <a:pt x="13365038" y="5215835"/>
                </a:lnTo>
                <a:cubicBezTo>
                  <a:pt x="13364941" y="5220288"/>
                  <a:pt x="13363444" y="5224760"/>
                  <a:pt x="13364717" y="5229203"/>
                </a:cubicBezTo>
                <a:cubicBezTo>
                  <a:pt x="13355901" y="5229146"/>
                  <a:pt x="13352917" y="5224616"/>
                  <a:pt x="13350088" y="5221558"/>
                </a:cubicBezTo>
                <a:cubicBezTo>
                  <a:pt x="13350088" y="5221558"/>
                  <a:pt x="13346997" y="5227482"/>
                  <a:pt x="13345539" y="5229030"/>
                </a:cubicBezTo>
                <a:cubicBezTo>
                  <a:pt x="13341233" y="5227443"/>
                  <a:pt x="13331027" y="5215297"/>
                  <a:pt x="13331027" y="5215297"/>
                </a:cubicBezTo>
                <a:cubicBezTo>
                  <a:pt x="13316097" y="5230040"/>
                  <a:pt x="13318265" y="5279078"/>
                  <a:pt x="13301935" y="5278895"/>
                </a:cubicBezTo>
                <a:cubicBezTo>
                  <a:pt x="13290241" y="5278789"/>
                  <a:pt x="13302547" y="5250582"/>
                  <a:pt x="13302547" y="5244475"/>
                </a:cubicBezTo>
                <a:cubicBezTo>
                  <a:pt x="13302751" y="5240071"/>
                  <a:pt x="13296900" y="5234098"/>
                  <a:pt x="13297036" y="5229473"/>
                </a:cubicBezTo>
                <a:cubicBezTo>
                  <a:pt x="13297220" y="5214604"/>
                  <a:pt x="13303208" y="5205891"/>
                  <a:pt x="13306377" y="5190985"/>
                </a:cubicBezTo>
                <a:cubicBezTo>
                  <a:pt x="13337267" y="5191677"/>
                  <a:pt x="13330590" y="5158469"/>
                  <a:pt x="13357058" y="5159152"/>
                </a:cubicBezTo>
                <a:cubicBezTo>
                  <a:pt x="13376128" y="5159315"/>
                  <a:pt x="13372804" y="5183098"/>
                  <a:pt x="13383059" y="5183425"/>
                </a:cubicBezTo>
                <a:cubicBezTo>
                  <a:pt x="13386150" y="5183425"/>
                  <a:pt x="13388910" y="5183541"/>
                  <a:pt x="13391846" y="5183647"/>
                </a:cubicBezTo>
                <a:cubicBezTo>
                  <a:pt x="13392079" y="5173193"/>
                  <a:pt x="13396677" y="5165624"/>
                  <a:pt x="13405425" y="5164374"/>
                </a:cubicBezTo>
                <a:cubicBezTo>
                  <a:pt x="13405969" y="5143543"/>
                  <a:pt x="13432243" y="5149948"/>
                  <a:pt x="13436821" y="5141139"/>
                </a:cubicBezTo>
                <a:cubicBezTo>
                  <a:pt x="13441379" y="5130656"/>
                  <a:pt x="13440281" y="5109806"/>
                  <a:pt x="13441720" y="5105401"/>
                </a:cubicBezTo>
                <a:close/>
                <a:moveTo>
                  <a:pt x="13386964" y="5105400"/>
                </a:moveTo>
                <a:cubicBezTo>
                  <a:pt x="13394025" y="5108516"/>
                  <a:pt x="13401272" y="5111689"/>
                  <a:pt x="13405759" y="5105807"/>
                </a:cubicBezTo>
                <a:cubicBezTo>
                  <a:pt x="13405600" y="5122369"/>
                  <a:pt x="13394937" y="5135594"/>
                  <a:pt x="13381744" y="5135069"/>
                </a:cubicBezTo>
                <a:cubicBezTo>
                  <a:pt x="13378807" y="5135069"/>
                  <a:pt x="13373090" y="5130600"/>
                  <a:pt x="13373090" y="5127466"/>
                </a:cubicBezTo>
                <a:cubicBezTo>
                  <a:pt x="13373181" y="5118648"/>
                  <a:pt x="13382134" y="5114379"/>
                  <a:pt x="13386964" y="5105400"/>
                </a:cubicBezTo>
                <a:close/>
                <a:moveTo>
                  <a:pt x="13338384" y="5068203"/>
                </a:moveTo>
                <a:cubicBezTo>
                  <a:pt x="13353261" y="5063837"/>
                  <a:pt x="13360304" y="5076252"/>
                  <a:pt x="13360259" y="5085151"/>
                </a:cubicBezTo>
                <a:cubicBezTo>
                  <a:pt x="13359893" y="5103011"/>
                  <a:pt x="13343443" y="5114537"/>
                  <a:pt x="13343080" y="5132454"/>
                </a:cubicBezTo>
                <a:cubicBezTo>
                  <a:pt x="13342943" y="5145882"/>
                  <a:pt x="13350370" y="5143012"/>
                  <a:pt x="13350280" y="5152052"/>
                </a:cubicBezTo>
                <a:cubicBezTo>
                  <a:pt x="13350280" y="5154945"/>
                  <a:pt x="13344127" y="5159372"/>
                  <a:pt x="13341372" y="5159372"/>
                </a:cubicBezTo>
                <a:cubicBezTo>
                  <a:pt x="13335492" y="5159293"/>
                  <a:pt x="13309360" y="5130393"/>
                  <a:pt x="13309589" y="5119999"/>
                </a:cubicBezTo>
                <a:cubicBezTo>
                  <a:pt x="13309589" y="5115364"/>
                  <a:pt x="13318450" y="5111140"/>
                  <a:pt x="13322757" y="5111140"/>
                </a:cubicBezTo>
                <a:cubicBezTo>
                  <a:pt x="13322964" y="5106793"/>
                  <a:pt x="13330983" y="5069600"/>
                  <a:pt x="13338384" y="5068203"/>
                </a:cubicBezTo>
                <a:close/>
                <a:moveTo>
                  <a:pt x="13374491" y="5067300"/>
                </a:moveTo>
                <a:cubicBezTo>
                  <a:pt x="13378707" y="5067300"/>
                  <a:pt x="13383171" y="5067339"/>
                  <a:pt x="13387774" y="5067339"/>
                </a:cubicBezTo>
                <a:cubicBezTo>
                  <a:pt x="13387362" y="5094258"/>
                  <a:pt x="13368043" y="5101275"/>
                  <a:pt x="13367565" y="5123724"/>
                </a:cubicBezTo>
                <a:lnTo>
                  <a:pt x="13360389" y="5123724"/>
                </a:lnTo>
                <a:cubicBezTo>
                  <a:pt x="13365014" y="5105990"/>
                  <a:pt x="13373900" y="5094117"/>
                  <a:pt x="13374491" y="5067300"/>
                </a:cubicBezTo>
                <a:close/>
                <a:moveTo>
                  <a:pt x="13293326" y="5016501"/>
                </a:moveTo>
                <a:cubicBezTo>
                  <a:pt x="13295424" y="5016622"/>
                  <a:pt x="13297702" y="5019191"/>
                  <a:pt x="13299613" y="5021458"/>
                </a:cubicBezTo>
                <a:cubicBezTo>
                  <a:pt x="13311189" y="5027380"/>
                  <a:pt x="13337096" y="5032803"/>
                  <a:pt x="13336909" y="5044148"/>
                </a:cubicBezTo>
                <a:cubicBezTo>
                  <a:pt x="13336683" y="5069649"/>
                  <a:pt x="13302373" y="5082449"/>
                  <a:pt x="13289110" y="5091167"/>
                </a:cubicBezTo>
                <a:cubicBezTo>
                  <a:pt x="13289589" y="5065746"/>
                  <a:pt x="13284054" y="5037352"/>
                  <a:pt x="13284191" y="5023722"/>
                </a:cubicBezTo>
                <a:cubicBezTo>
                  <a:pt x="13284191" y="5020646"/>
                  <a:pt x="13290365" y="5016501"/>
                  <a:pt x="13293326" y="5016501"/>
                </a:cubicBezTo>
                <a:close/>
                <a:moveTo>
                  <a:pt x="13335424" y="4978401"/>
                </a:moveTo>
                <a:lnTo>
                  <a:pt x="13348567" y="4978784"/>
                </a:lnTo>
                <a:cubicBezTo>
                  <a:pt x="13352851" y="4992295"/>
                  <a:pt x="13371922" y="4997230"/>
                  <a:pt x="13371604" y="5016464"/>
                </a:cubicBezTo>
                <a:cubicBezTo>
                  <a:pt x="13371510" y="5024087"/>
                  <a:pt x="13355427" y="5008676"/>
                  <a:pt x="13355675" y="5001293"/>
                </a:cubicBezTo>
                <a:cubicBezTo>
                  <a:pt x="13348179" y="4999738"/>
                  <a:pt x="13342328" y="5001094"/>
                  <a:pt x="13334990" y="5000870"/>
                </a:cubicBezTo>
                <a:cubicBezTo>
                  <a:pt x="13335219" y="4990334"/>
                  <a:pt x="13335219" y="4984569"/>
                  <a:pt x="13335424" y="4978401"/>
                </a:cubicBezTo>
                <a:close/>
                <a:moveTo>
                  <a:pt x="13399095" y="4978400"/>
                </a:moveTo>
                <a:cubicBezTo>
                  <a:pt x="13410874" y="4978644"/>
                  <a:pt x="13419622" y="4984750"/>
                  <a:pt x="13431287" y="4985092"/>
                </a:cubicBezTo>
                <a:cubicBezTo>
                  <a:pt x="13431287" y="4989544"/>
                  <a:pt x="13432722" y="4995428"/>
                  <a:pt x="13431126" y="4999956"/>
                </a:cubicBezTo>
                <a:cubicBezTo>
                  <a:pt x="13434064" y="4999956"/>
                  <a:pt x="13437004" y="4999956"/>
                  <a:pt x="13439944" y="5000157"/>
                </a:cubicBezTo>
                <a:cubicBezTo>
                  <a:pt x="13441265" y="5008958"/>
                  <a:pt x="13439714" y="5023866"/>
                  <a:pt x="13439714" y="5023866"/>
                </a:cubicBezTo>
                <a:cubicBezTo>
                  <a:pt x="13439714" y="5023866"/>
                  <a:pt x="13449580" y="5037613"/>
                  <a:pt x="13451197" y="5037613"/>
                </a:cubicBezTo>
                <a:cubicBezTo>
                  <a:pt x="13449419" y="5046512"/>
                  <a:pt x="13446413" y="5050883"/>
                  <a:pt x="13444932" y="5056789"/>
                </a:cubicBezTo>
                <a:lnTo>
                  <a:pt x="13422944" y="5056544"/>
                </a:lnTo>
                <a:cubicBezTo>
                  <a:pt x="13424065" y="5068437"/>
                  <a:pt x="13429782" y="5083486"/>
                  <a:pt x="13435548" y="5086555"/>
                </a:cubicBezTo>
                <a:lnTo>
                  <a:pt x="13435432" y="5095535"/>
                </a:lnTo>
                <a:cubicBezTo>
                  <a:pt x="13431081" y="5095535"/>
                  <a:pt x="13426545" y="5095373"/>
                  <a:pt x="13422242" y="5095373"/>
                </a:cubicBezTo>
                <a:cubicBezTo>
                  <a:pt x="13411943" y="5095112"/>
                  <a:pt x="13409230" y="5082997"/>
                  <a:pt x="13415201" y="5074277"/>
                </a:cubicBezTo>
                <a:lnTo>
                  <a:pt x="13415450" y="5065362"/>
                </a:lnTo>
                <a:cubicBezTo>
                  <a:pt x="13405130" y="5065281"/>
                  <a:pt x="13395037" y="5049891"/>
                  <a:pt x="13393535" y="5045525"/>
                </a:cubicBezTo>
                <a:lnTo>
                  <a:pt x="13393671" y="5036545"/>
                </a:lnTo>
                <a:cubicBezTo>
                  <a:pt x="13401099" y="5036686"/>
                  <a:pt x="13411328" y="5036805"/>
                  <a:pt x="13412945" y="5036805"/>
                </a:cubicBezTo>
                <a:cubicBezTo>
                  <a:pt x="13415725" y="5036805"/>
                  <a:pt x="13420349" y="5031181"/>
                  <a:pt x="13420349" y="5028009"/>
                </a:cubicBezTo>
                <a:cubicBezTo>
                  <a:pt x="13420873" y="5007136"/>
                  <a:pt x="13388339" y="4996220"/>
                  <a:pt x="13385789" y="4984040"/>
                </a:cubicBezTo>
                <a:cubicBezTo>
                  <a:pt x="13390298" y="4982809"/>
                  <a:pt x="13394674" y="4978400"/>
                  <a:pt x="13399095" y="4978400"/>
                </a:cubicBezTo>
                <a:close/>
                <a:moveTo>
                  <a:pt x="12244202" y="4950040"/>
                </a:moveTo>
                <a:cubicBezTo>
                  <a:pt x="12249488" y="4968661"/>
                  <a:pt x="12253010" y="4985110"/>
                  <a:pt x="12253010" y="4990696"/>
                </a:cubicBezTo>
                <a:cubicBezTo>
                  <a:pt x="12253010" y="4994110"/>
                  <a:pt x="12251249" y="4997214"/>
                  <a:pt x="12248606" y="4999696"/>
                </a:cubicBezTo>
                <a:cubicBezTo>
                  <a:pt x="12251249" y="4997214"/>
                  <a:pt x="12253451" y="4994421"/>
                  <a:pt x="12253451" y="4990696"/>
                </a:cubicBezTo>
                <a:cubicBezTo>
                  <a:pt x="12253451" y="4985110"/>
                  <a:pt x="12249488" y="4968661"/>
                  <a:pt x="12244202" y="4950040"/>
                </a:cubicBezTo>
                <a:close/>
                <a:moveTo>
                  <a:pt x="13207989" y="4940300"/>
                </a:moveTo>
                <a:lnTo>
                  <a:pt x="13222707" y="4940463"/>
                </a:lnTo>
                <a:cubicBezTo>
                  <a:pt x="13240229" y="4952698"/>
                  <a:pt x="13256313" y="4950050"/>
                  <a:pt x="13260554" y="4968049"/>
                </a:cubicBezTo>
                <a:cubicBezTo>
                  <a:pt x="13263240" y="4980103"/>
                  <a:pt x="13255699" y="4997838"/>
                  <a:pt x="13249752" y="4997838"/>
                </a:cubicBezTo>
                <a:cubicBezTo>
                  <a:pt x="13240956" y="4997614"/>
                  <a:pt x="13207989" y="4940300"/>
                  <a:pt x="13207989" y="4940300"/>
                </a:cubicBezTo>
                <a:close/>
                <a:moveTo>
                  <a:pt x="12191796" y="4829313"/>
                </a:moveTo>
                <a:cubicBezTo>
                  <a:pt x="12191796" y="4834589"/>
                  <a:pt x="12190475" y="4839555"/>
                  <a:pt x="12190475" y="4844831"/>
                </a:cubicBezTo>
                <a:cubicBezTo>
                  <a:pt x="12190475" y="4839555"/>
                  <a:pt x="12191796" y="4834899"/>
                  <a:pt x="12191796" y="4829623"/>
                </a:cubicBezTo>
                <a:close/>
                <a:moveTo>
                  <a:pt x="13211048" y="4686301"/>
                </a:moveTo>
                <a:cubicBezTo>
                  <a:pt x="13227313" y="4686689"/>
                  <a:pt x="13223988" y="4713440"/>
                  <a:pt x="13237204" y="4713745"/>
                </a:cubicBezTo>
                <a:cubicBezTo>
                  <a:pt x="13245972" y="4713828"/>
                  <a:pt x="13250715" y="4701959"/>
                  <a:pt x="13256545" y="4699248"/>
                </a:cubicBezTo>
                <a:cubicBezTo>
                  <a:pt x="13256545" y="4700479"/>
                  <a:pt x="13259419" y="4705113"/>
                  <a:pt x="13259234" y="4706704"/>
                </a:cubicBezTo>
                <a:cubicBezTo>
                  <a:pt x="13259234" y="4709540"/>
                  <a:pt x="13262237" y="4714270"/>
                  <a:pt x="13262154" y="4717175"/>
                </a:cubicBezTo>
                <a:cubicBezTo>
                  <a:pt x="13261721" y="4736610"/>
                  <a:pt x="13280555" y="4759281"/>
                  <a:pt x="13280168" y="4784649"/>
                </a:cubicBezTo>
                <a:cubicBezTo>
                  <a:pt x="13279551" y="4817667"/>
                  <a:pt x="13253018" y="4820032"/>
                  <a:pt x="13252668" y="4851224"/>
                </a:cubicBezTo>
                <a:cubicBezTo>
                  <a:pt x="13252263" y="4873564"/>
                  <a:pt x="13272193" y="4911284"/>
                  <a:pt x="13288209" y="4919003"/>
                </a:cubicBezTo>
                <a:cubicBezTo>
                  <a:pt x="13288347" y="4917730"/>
                  <a:pt x="13288347" y="4913138"/>
                  <a:pt x="13288439" y="4911672"/>
                </a:cubicBezTo>
                <a:cubicBezTo>
                  <a:pt x="13288485" y="4905710"/>
                  <a:pt x="13295982" y="4899900"/>
                  <a:pt x="13304704" y="4900066"/>
                </a:cubicBezTo>
                <a:cubicBezTo>
                  <a:pt x="13322359" y="4900509"/>
                  <a:pt x="13326190" y="4934799"/>
                  <a:pt x="13335170" y="4934841"/>
                </a:cubicBezTo>
                <a:cubicBezTo>
                  <a:pt x="13340935" y="4935090"/>
                  <a:pt x="13342574" y="4924757"/>
                  <a:pt x="13348589" y="4924757"/>
                </a:cubicBezTo>
                <a:cubicBezTo>
                  <a:pt x="13351526" y="4924757"/>
                  <a:pt x="13354391" y="4927842"/>
                  <a:pt x="13357246" y="4927911"/>
                </a:cubicBezTo>
                <a:cubicBezTo>
                  <a:pt x="13355579" y="4936902"/>
                  <a:pt x="13348331" y="4938022"/>
                  <a:pt x="13348202" y="4945769"/>
                </a:cubicBezTo>
                <a:cubicBezTo>
                  <a:pt x="13348202" y="4948618"/>
                  <a:pt x="13355533" y="4947235"/>
                  <a:pt x="13358425" y="4945824"/>
                </a:cubicBezTo>
                <a:cubicBezTo>
                  <a:pt x="13358176" y="4957858"/>
                  <a:pt x="13367110" y="4963972"/>
                  <a:pt x="13377222" y="4964152"/>
                </a:cubicBezTo>
                <a:cubicBezTo>
                  <a:pt x="13377222" y="4968675"/>
                  <a:pt x="13377065" y="4971566"/>
                  <a:pt x="13377065" y="4976034"/>
                </a:cubicBezTo>
                <a:cubicBezTo>
                  <a:pt x="13376992" y="4979035"/>
                  <a:pt x="13373989" y="4985039"/>
                  <a:pt x="13371116" y="4984983"/>
                </a:cubicBezTo>
                <a:cubicBezTo>
                  <a:pt x="13366631" y="4984776"/>
                  <a:pt x="13365332" y="4977251"/>
                  <a:pt x="13363849" y="4972838"/>
                </a:cubicBezTo>
                <a:cubicBezTo>
                  <a:pt x="13355349" y="4954649"/>
                  <a:pt x="13320222" y="4940554"/>
                  <a:pt x="13311657" y="4927053"/>
                </a:cubicBezTo>
                <a:cubicBezTo>
                  <a:pt x="13304114" y="4937206"/>
                  <a:pt x="13308489" y="4943362"/>
                  <a:pt x="13312661" y="4955493"/>
                </a:cubicBezTo>
                <a:cubicBezTo>
                  <a:pt x="13291994" y="4955009"/>
                  <a:pt x="13291156" y="4922171"/>
                  <a:pt x="13270489" y="4921866"/>
                </a:cubicBezTo>
                <a:cubicBezTo>
                  <a:pt x="13261721" y="4921756"/>
                  <a:pt x="13255679" y="4930594"/>
                  <a:pt x="13246746" y="4930401"/>
                </a:cubicBezTo>
                <a:cubicBezTo>
                  <a:pt x="13236587" y="4930138"/>
                  <a:pt x="13224928" y="4916651"/>
                  <a:pt x="13225195" y="4909016"/>
                </a:cubicBezTo>
                <a:cubicBezTo>
                  <a:pt x="13225287" y="4900066"/>
                  <a:pt x="13231283" y="4895820"/>
                  <a:pt x="13234220" y="4892735"/>
                </a:cubicBezTo>
                <a:lnTo>
                  <a:pt x="13234405" y="4877838"/>
                </a:lnTo>
                <a:lnTo>
                  <a:pt x="13225747" y="4877755"/>
                </a:lnTo>
                <a:cubicBezTo>
                  <a:pt x="13222598" y="4882043"/>
                  <a:pt x="13219614" y="4887991"/>
                  <a:pt x="13215174" y="4887922"/>
                </a:cubicBezTo>
                <a:cubicBezTo>
                  <a:pt x="13209271" y="4887728"/>
                  <a:pt x="13183023" y="4869483"/>
                  <a:pt x="13183253" y="4860603"/>
                </a:cubicBezTo>
                <a:cubicBezTo>
                  <a:pt x="13183594" y="4836576"/>
                  <a:pt x="13178289" y="4805176"/>
                  <a:pt x="13192914" y="4808413"/>
                </a:cubicBezTo>
                <a:cubicBezTo>
                  <a:pt x="13198956" y="4798136"/>
                  <a:pt x="13202253" y="4777346"/>
                  <a:pt x="13202437" y="4763859"/>
                </a:cubicBezTo>
                <a:cubicBezTo>
                  <a:pt x="13202714" y="4745960"/>
                  <a:pt x="13195539" y="4733788"/>
                  <a:pt x="13196082" y="4715889"/>
                </a:cubicBezTo>
                <a:cubicBezTo>
                  <a:pt x="13196128" y="4701019"/>
                  <a:pt x="13199269" y="4686260"/>
                  <a:pt x="13211048" y="4686301"/>
                </a:cubicBezTo>
                <a:close/>
                <a:moveTo>
                  <a:pt x="4341122" y="4622801"/>
                </a:moveTo>
                <a:cubicBezTo>
                  <a:pt x="4355758" y="4622801"/>
                  <a:pt x="4365469" y="4634774"/>
                  <a:pt x="4379977" y="4634774"/>
                </a:cubicBezTo>
                <a:cubicBezTo>
                  <a:pt x="4400858" y="4634774"/>
                  <a:pt x="4410594" y="4627898"/>
                  <a:pt x="4428340" y="4627898"/>
                </a:cubicBezTo>
                <a:cubicBezTo>
                  <a:pt x="4479877" y="4627898"/>
                  <a:pt x="4489639" y="4657100"/>
                  <a:pt x="4518580" y="4672513"/>
                </a:cubicBezTo>
                <a:lnTo>
                  <a:pt x="4510634" y="4665535"/>
                </a:lnTo>
                <a:cubicBezTo>
                  <a:pt x="4526729" y="4679346"/>
                  <a:pt x="4542776" y="4686244"/>
                  <a:pt x="4554084" y="4703350"/>
                </a:cubicBezTo>
                <a:lnTo>
                  <a:pt x="4494437" y="4703350"/>
                </a:lnTo>
                <a:cubicBezTo>
                  <a:pt x="4483101" y="4710166"/>
                  <a:pt x="4476666" y="4717183"/>
                  <a:pt x="4465356" y="4717183"/>
                </a:cubicBezTo>
                <a:cubicBezTo>
                  <a:pt x="4455721" y="4717183"/>
                  <a:pt x="4457333" y="4708511"/>
                  <a:pt x="4449246" y="4708511"/>
                </a:cubicBezTo>
                <a:cubicBezTo>
                  <a:pt x="4428340" y="4708511"/>
                  <a:pt x="4429800" y="4739288"/>
                  <a:pt x="4412093" y="4739288"/>
                </a:cubicBezTo>
                <a:cubicBezTo>
                  <a:pt x="4397609" y="4739288"/>
                  <a:pt x="4400858" y="4722301"/>
                  <a:pt x="4392798" y="4717183"/>
                </a:cubicBezTo>
                <a:cubicBezTo>
                  <a:pt x="4378263" y="4706731"/>
                  <a:pt x="4339599" y="4711865"/>
                  <a:pt x="4320189" y="4711865"/>
                </a:cubicBezTo>
                <a:cubicBezTo>
                  <a:pt x="4308943" y="4711865"/>
                  <a:pt x="4308943" y="4717183"/>
                  <a:pt x="4300832" y="4711865"/>
                </a:cubicBezTo>
                <a:cubicBezTo>
                  <a:pt x="4300832" y="4717183"/>
                  <a:pt x="4299219" y="4720580"/>
                  <a:pt x="4299219" y="4725617"/>
                </a:cubicBezTo>
                <a:cubicBezTo>
                  <a:pt x="4289609" y="4724021"/>
                  <a:pt x="4279898" y="4708511"/>
                  <a:pt x="4279898" y="4698113"/>
                </a:cubicBezTo>
                <a:cubicBezTo>
                  <a:pt x="4283136" y="4698113"/>
                  <a:pt x="4286322" y="4693076"/>
                  <a:pt x="4287921" y="4691200"/>
                </a:cubicBezTo>
                <a:cubicBezTo>
                  <a:pt x="4325026" y="4691200"/>
                  <a:pt x="4341122" y="4699995"/>
                  <a:pt x="4360416" y="4689657"/>
                </a:cubicBezTo>
                <a:cubicBezTo>
                  <a:pt x="4350856" y="4679346"/>
                  <a:pt x="4349232" y="4667174"/>
                  <a:pt x="4349232" y="4653665"/>
                </a:cubicBezTo>
                <a:cubicBezTo>
                  <a:pt x="4339599" y="4653665"/>
                  <a:pt x="4328197" y="4644928"/>
                  <a:pt x="4328197" y="4634774"/>
                </a:cubicBezTo>
                <a:cubicBezTo>
                  <a:pt x="4328197" y="4629499"/>
                  <a:pt x="4336323" y="4622801"/>
                  <a:pt x="4341122" y="4622801"/>
                </a:cubicBezTo>
                <a:close/>
                <a:moveTo>
                  <a:pt x="12754294" y="4584700"/>
                </a:moveTo>
                <a:cubicBezTo>
                  <a:pt x="12762425" y="4584700"/>
                  <a:pt x="12773522" y="4600192"/>
                  <a:pt x="12773522" y="4610324"/>
                </a:cubicBezTo>
                <a:cubicBezTo>
                  <a:pt x="12773522" y="4634329"/>
                  <a:pt x="12725135" y="4687537"/>
                  <a:pt x="12701119" y="4687537"/>
                </a:cubicBezTo>
                <a:cubicBezTo>
                  <a:pt x="12676722" y="4687537"/>
                  <a:pt x="12665442" y="4675644"/>
                  <a:pt x="12665442" y="4653401"/>
                </a:cubicBezTo>
                <a:cubicBezTo>
                  <a:pt x="12665442" y="4643046"/>
                  <a:pt x="12657446" y="4627554"/>
                  <a:pt x="12665442" y="4627554"/>
                </a:cubicBezTo>
                <a:cubicBezTo>
                  <a:pt x="12678425" y="4627554"/>
                  <a:pt x="12733336" y="4584700"/>
                  <a:pt x="12754294" y="4584700"/>
                </a:cubicBezTo>
                <a:close/>
                <a:moveTo>
                  <a:pt x="3929612" y="4457700"/>
                </a:moveTo>
                <a:cubicBezTo>
                  <a:pt x="4000522" y="4457700"/>
                  <a:pt x="4034548" y="4500556"/>
                  <a:pt x="4087627" y="4500556"/>
                </a:cubicBezTo>
                <a:cubicBezTo>
                  <a:pt x="4098961" y="4500556"/>
                  <a:pt x="4111916" y="4517703"/>
                  <a:pt x="4115020" y="4521146"/>
                </a:cubicBezTo>
                <a:cubicBezTo>
                  <a:pt x="4137756" y="4545129"/>
                  <a:pt x="4178058" y="4563994"/>
                  <a:pt x="4215122" y="4563994"/>
                </a:cubicBezTo>
                <a:cubicBezTo>
                  <a:pt x="4215122" y="4567517"/>
                  <a:pt x="4213523" y="4572733"/>
                  <a:pt x="4215122" y="4576030"/>
                </a:cubicBezTo>
                <a:lnTo>
                  <a:pt x="4239319" y="4577666"/>
                </a:lnTo>
                <a:cubicBezTo>
                  <a:pt x="4257111" y="4582882"/>
                  <a:pt x="4265074" y="4606947"/>
                  <a:pt x="4276405" y="4611985"/>
                </a:cubicBezTo>
                <a:cubicBezTo>
                  <a:pt x="4265074" y="4632655"/>
                  <a:pt x="4234486" y="4632655"/>
                  <a:pt x="4215122" y="4632655"/>
                </a:cubicBezTo>
                <a:cubicBezTo>
                  <a:pt x="4178058" y="4632655"/>
                  <a:pt x="4152218" y="4620765"/>
                  <a:pt x="4121608" y="4620765"/>
                </a:cubicBezTo>
                <a:lnTo>
                  <a:pt x="4121608" y="4610373"/>
                </a:lnTo>
                <a:cubicBezTo>
                  <a:pt x="4129548" y="4610373"/>
                  <a:pt x="4136225" y="4603456"/>
                  <a:pt x="4137756" y="4595024"/>
                </a:cubicBezTo>
                <a:cubicBezTo>
                  <a:pt x="4113534" y="4582882"/>
                  <a:pt x="4087627" y="4584745"/>
                  <a:pt x="4082879" y="4558883"/>
                </a:cubicBezTo>
                <a:cubicBezTo>
                  <a:pt x="4069883" y="4558883"/>
                  <a:pt x="4071545" y="4546887"/>
                  <a:pt x="4065156" y="4543493"/>
                </a:cubicBezTo>
                <a:cubicBezTo>
                  <a:pt x="4052248" y="4536576"/>
                  <a:pt x="4044109" y="4541687"/>
                  <a:pt x="4031265" y="4541687"/>
                </a:cubicBezTo>
                <a:cubicBezTo>
                  <a:pt x="4008619" y="4541687"/>
                  <a:pt x="3997330" y="4516148"/>
                  <a:pt x="3974749" y="4516148"/>
                </a:cubicBezTo>
                <a:lnTo>
                  <a:pt x="3927971" y="4516148"/>
                </a:lnTo>
                <a:cubicBezTo>
                  <a:pt x="3918297" y="4509190"/>
                  <a:pt x="3919895" y="4502289"/>
                  <a:pt x="3924730" y="4497235"/>
                </a:cubicBezTo>
                <a:cubicBezTo>
                  <a:pt x="3918297" y="4490197"/>
                  <a:pt x="3910225" y="4491938"/>
                  <a:pt x="3902195" y="4491938"/>
                </a:cubicBezTo>
                <a:cubicBezTo>
                  <a:pt x="3871564" y="4491938"/>
                  <a:pt x="3827912" y="4516148"/>
                  <a:pt x="3811875" y="4533174"/>
                </a:cubicBezTo>
                <a:lnTo>
                  <a:pt x="3797302" y="4533174"/>
                </a:lnTo>
                <a:cubicBezTo>
                  <a:pt x="3823075" y="4486827"/>
                  <a:pt x="3856990" y="4457700"/>
                  <a:pt x="3929612" y="4457700"/>
                </a:cubicBezTo>
                <a:close/>
                <a:moveTo>
                  <a:pt x="13252173" y="4330700"/>
                </a:moveTo>
                <a:cubicBezTo>
                  <a:pt x="13292316" y="4330700"/>
                  <a:pt x="13256846" y="4481692"/>
                  <a:pt x="13219781" y="4481692"/>
                </a:cubicBezTo>
                <a:cubicBezTo>
                  <a:pt x="13190664" y="4481692"/>
                  <a:pt x="13195605" y="4459302"/>
                  <a:pt x="13195605" y="4433557"/>
                </a:cubicBezTo>
                <a:cubicBezTo>
                  <a:pt x="13195605" y="4397619"/>
                  <a:pt x="13229574" y="4330700"/>
                  <a:pt x="13252173" y="4330700"/>
                </a:cubicBezTo>
                <a:close/>
                <a:moveTo>
                  <a:pt x="9282130" y="4086330"/>
                </a:moveTo>
                <a:cubicBezTo>
                  <a:pt x="9282570" y="4087882"/>
                  <a:pt x="9282570" y="4089123"/>
                  <a:pt x="9283010" y="4090675"/>
                </a:cubicBezTo>
                <a:cubicBezTo>
                  <a:pt x="9283010" y="4089744"/>
                  <a:pt x="9283010" y="4089123"/>
                  <a:pt x="9283010" y="4088502"/>
                </a:cubicBezTo>
                <a:close/>
                <a:moveTo>
                  <a:pt x="13677076" y="3860800"/>
                </a:moveTo>
                <a:cubicBezTo>
                  <a:pt x="13689993" y="3860800"/>
                  <a:pt x="13699717" y="3874495"/>
                  <a:pt x="13719060" y="3874495"/>
                </a:cubicBezTo>
                <a:cubicBezTo>
                  <a:pt x="13719060" y="3879524"/>
                  <a:pt x="13715872" y="3891680"/>
                  <a:pt x="13720726" y="3891680"/>
                </a:cubicBezTo>
                <a:lnTo>
                  <a:pt x="13735190" y="3905396"/>
                </a:lnTo>
                <a:cubicBezTo>
                  <a:pt x="13735190" y="3910633"/>
                  <a:pt x="13732047" y="3917349"/>
                  <a:pt x="13735190" y="3922648"/>
                </a:cubicBezTo>
                <a:cubicBezTo>
                  <a:pt x="13730315" y="3922648"/>
                  <a:pt x="13725531" y="3926003"/>
                  <a:pt x="13720726" y="3922648"/>
                </a:cubicBezTo>
                <a:cubicBezTo>
                  <a:pt x="13715872" y="3953447"/>
                  <a:pt x="13702980" y="4006594"/>
                  <a:pt x="13680334" y="4006594"/>
                </a:cubicBezTo>
                <a:cubicBezTo>
                  <a:pt x="13675459" y="4006594"/>
                  <a:pt x="13675459" y="3996402"/>
                  <a:pt x="13675459" y="3991205"/>
                </a:cubicBezTo>
                <a:lnTo>
                  <a:pt x="13675459" y="4001458"/>
                </a:lnTo>
                <a:cubicBezTo>
                  <a:pt x="13662562" y="4001458"/>
                  <a:pt x="13652968" y="3981053"/>
                  <a:pt x="13652968" y="3974236"/>
                </a:cubicBezTo>
                <a:cubicBezTo>
                  <a:pt x="13652968" y="3970672"/>
                  <a:pt x="13669053" y="3946528"/>
                  <a:pt x="13669053" y="3946528"/>
                </a:cubicBezTo>
                <a:lnTo>
                  <a:pt x="13675459" y="3922648"/>
                </a:lnTo>
                <a:cubicBezTo>
                  <a:pt x="13665820" y="3919185"/>
                  <a:pt x="13664134" y="3908872"/>
                  <a:pt x="13662562" y="3900259"/>
                </a:cubicBezTo>
                <a:cubicBezTo>
                  <a:pt x="13662562" y="3905396"/>
                  <a:pt x="13659369" y="3910633"/>
                  <a:pt x="13662562" y="3915648"/>
                </a:cubicBezTo>
                <a:cubicBezTo>
                  <a:pt x="13654475" y="3915648"/>
                  <a:pt x="13648094" y="3922648"/>
                  <a:pt x="13643199" y="3922648"/>
                </a:cubicBezTo>
                <a:cubicBezTo>
                  <a:pt x="13635222" y="3922648"/>
                  <a:pt x="13627089" y="3912307"/>
                  <a:pt x="13627089" y="3903816"/>
                </a:cubicBezTo>
                <a:cubicBezTo>
                  <a:pt x="13627089" y="3893401"/>
                  <a:pt x="13672356" y="3860800"/>
                  <a:pt x="13677076" y="3860800"/>
                </a:cubicBezTo>
                <a:close/>
                <a:moveTo>
                  <a:pt x="13839456" y="3835400"/>
                </a:moveTo>
                <a:cubicBezTo>
                  <a:pt x="13875066" y="3835400"/>
                  <a:pt x="13855637" y="3895424"/>
                  <a:pt x="13839456" y="3895424"/>
                </a:cubicBezTo>
                <a:cubicBezTo>
                  <a:pt x="13826720" y="3895424"/>
                  <a:pt x="13820184" y="3885068"/>
                  <a:pt x="13815328" y="3883369"/>
                </a:cubicBezTo>
                <a:cubicBezTo>
                  <a:pt x="13800956" y="3898821"/>
                  <a:pt x="13797674" y="3926224"/>
                  <a:pt x="13776733" y="3926224"/>
                </a:cubicBezTo>
                <a:cubicBezTo>
                  <a:pt x="13768511" y="3926224"/>
                  <a:pt x="13765302" y="3909136"/>
                  <a:pt x="13766937" y="3900440"/>
                </a:cubicBezTo>
                <a:cubicBezTo>
                  <a:pt x="13757237" y="3893645"/>
                  <a:pt x="13754089" y="3890143"/>
                  <a:pt x="13754089" y="3881771"/>
                </a:cubicBezTo>
                <a:cubicBezTo>
                  <a:pt x="13754089" y="3881771"/>
                  <a:pt x="13784641" y="3857648"/>
                  <a:pt x="13784641" y="3855827"/>
                </a:cubicBezTo>
                <a:cubicBezTo>
                  <a:pt x="13812141" y="3864624"/>
                  <a:pt x="13816969" y="3835400"/>
                  <a:pt x="13839456" y="3835400"/>
                </a:cubicBezTo>
                <a:close/>
                <a:moveTo>
                  <a:pt x="8365060" y="3645482"/>
                </a:moveTo>
                <a:cubicBezTo>
                  <a:pt x="8369715" y="3644667"/>
                  <a:pt x="8374880" y="3644616"/>
                  <a:pt x="8380963" y="3645931"/>
                </a:cubicBezTo>
                <a:cubicBezTo>
                  <a:pt x="8380963" y="3645931"/>
                  <a:pt x="8374355" y="3665790"/>
                  <a:pt x="8374355" y="3665790"/>
                </a:cubicBezTo>
                <a:cubicBezTo>
                  <a:pt x="8374355" y="3665790"/>
                  <a:pt x="8366249" y="3677684"/>
                  <a:pt x="8366249" y="3684578"/>
                </a:cubicBezTo>
                <a:cubicBezTo>
                  <a:pt x="8366249" y="3696732"/>
                  <a:pt x="8374355" y="3698473"/>
                  <a:pt x="8374355" y="3712146"/>
                </a:cubicBezTo>
                <a:cubicBezTo>
                  <a:pt x="8374355" y="3717220"/>
                  <a:pt x="8369573" y="3724217"/>
                  <a:pt x="8364674" y="3724217"/>
                </a:cubicBezTo>
                <a:cubicBezTo>
                  <a:pt x="8359845" y="3724217"/>
                  <a:pt x="8351756" y="3722315"/>
                  <a:pt x="8351756" y="3717220"/>
                </a:cubicBezTo>
                <a:cubicBezTo>
                  <a:pt x="8324374" y="3710404"/>
                  <a:pt x="8303367" y="3681141"/>
                  <a:pt x="8277525" y="3672568"/>
                </a:cubicBezTo>
                <a:cubicBezTo>
                  <a:pt x="8272760" y="3670806"/>
                  <a:pt x="8259772" y="3672568"/>
                  <a:pt x="8254990" y="3664032"/>
                </a:cubicBezTo>
                <a:lnTo>
                  <a:pt x="8254990" y="3651899"/>
                </a:lnTo>
                <a:cubicBezTo>
                  <a:pt x="8288775" y="3634889"/>
                  <a:pt x="8303367" y="3657258"/>
                  <a:pt x="8326013" y="3657258"/>
                </a:cubicBezTo>
                <a:cubicBezTo>
                  <a:pt x="8341734" y="3657258"/>
                  <a:pt x="8351097" y="3647928"/>
                  <a:pt x="8365060" y="3645482"/>
                </a:cubicBezTo>
                <a:close/>
                <a:moveTo>
                  <a:pt x="14160018" y="3441701"/>
                </a:moveTo>
                <a:cubicBezTo>
                  <a:pt x="14171430" y="3441701"/>
                  <a:pt x="14177791" y="3445128"/>
                  <a:pt x="14179435" y="3450352"/>
                </a:cubicBezTo>
                <a:cubicBezTo>
                  <a:pt x="14184248" y="3462409"/>
                  <a:pt x="14182747" y="3472670"/>
                  <a:pt x="14182747" y="3484603"/>
                </a:cubicBezTo>
                <a:cubicBezTo>
                  <a:pt x="14182747" y="3508614"/>
                  <a:pt x="14205214" y="3520506"/>
                  <a:pt x="14205214" y="3544599"/>
                </a:cubicBezTo>
                <a:cubicBezTo>
                  <a:pt x="14205214" y="3572017"/>
                  <a:pt x="14182747" y="3575547"/>
                  <a:pt x="14182747" y="3597865"/>
                </a:cubicBezTo>
                <a:lnTo>
                  <a:pt x="14182747" y="3608106"/>
                </a:lnTo>
                <a:cubicBezTo>
                  <a:pt x="14177791" y="3613288"/>
                  <a:pt x="14172764" y="3609778"/>
                  <a:pt x="14168023" y="3611533"/>
                </a:cubicBezTo>
                <a:cubicBezTo>
                  <a:pt x="14151941" y="3616653"/>
                  <a:pt x="14156873" y="3669774"/>
                  <a:pt x="14156873" y="3688603"/>
                </a:cubicBezTo>
                <a:cubicBezTo>
                  <a:pt x="14156873" y="3704170"/>
                  <a:pt x="14139004" y="3714596"/>
                  <a:pt x="14139004" y="3736666"/>
                </a:cubicBezTo>
                <a:cubicBezTo>
                  <a:pt x="14139004" y="3752274"/>
                  <a:pt x="14143816" y="3759005"/>
                  <a:pt x="14147247" y="3769245"/>
                </a:cubicBezTo>
                <a:cubicBezTo>
                  <a:pt x="14127711" y="3779754"/>
                  <a:pt x="14127711" y="3796972"/>
                  <a:pt x="14108436" y="3803662"/>
                </a:cubicBezTo>
                <a:cubicBezTo>
                  <a:pt x="14101956" y="3789953"/>
                  <a:pt x="14108436" y="3788239"/>
                  <a:pt x="14109985" y="3776306"/>
                </a:cubicBezTo>
                <a:cubicBezTo>
                  <a:pt x="14087446" y="3791687"/>
                  <a:pt x="14072889" y="3793442"/>
                  <a:pt x="14066456" y="3817391"/>
                </a:cubicBezTo>
                <a:cubicBezTo>
                  <a:pt x="14063383" y="3817391"/>
                  <a:pt x="14058379" y="3812374"/>
                  <a:pt x="14058379" y="3808906"/>
                </a:cubicBezTo>
                <a:lnTo>
                  <a:pt x="14042250" y="3808906"/>
                </a:lnTo>
                <a:cubicBezTo>
                  <a:pt x="14032505" y="3819001"/>
                  <a:pt x="14022856" y="3829489"/>
                  <a:pt x="14009895" y="3829489"/>
                </a:cubicBezTo>
                <a:cubicBezTo>
                  <a:pt x="13976278" y="3829489"/>
                  <a:pt x="13977755" y="3800296"/>
                  <a:pt x="13963222" y="3800296"/>
                </a:cubicBezTo>
                <a:cubicBezTo>
                  <a:pt x="13958337" y="3800296"/>
                  <a:pt x="13953477" y="3808906"/>
                  <a:pt x="13953477" y="3813984"/>
                </a:cubicBezTo>
                <a:cubicBezTo>
                  <a:pt x="13953477" y="3820818"/>
                  <a:pt x="13967987" y="3841505"/>
                  <a:pt x="13969654" y="3841505"/>
                </a:cubicBezTo>
                <a:cubicBezTo>
                  <a:pt x="13964746" y="3843115"/>
                  <a:pt x="13958337" y="3843115"/>
                  <a:pt x="13953477" y="3843115"/>
                </a:cubicBezTo>
                <a:cubicBezTo>
                  <a:pt x="13942255" y="3843115"/>
                  <a:pt x="13922957" y="3870698"/>
                  <a:pt x="13914809" y="3887648"/>
                </a:cubicBezTo>
                <a:cubicBezTo>
                  <a:pt x="13901919" y="3884221"/>
                  <a:pt x="13903611" y="3870698"/>
                  <a:pt x="13892223" y="3870698"/>
                </a:cubicBezTo>
                <a:cubicBezTo>
                  <a:pt x="13887267" y="3870698"/>
                  <a:pt x="13892223" y="3861986"/>
                  <a:pt x="13892223" y="3856886"/>
                </a:cubicBezTo>
                <a:cubicBezTo>
                  <a:pt x="13892223" y="3846605"/>
                  <a:pt x="13897202" y="3834651"/>
                  <a:pt x="13897202" y="3827776"/>
                </a:cubicBezTo>
                <a:cubicBezTo>
                  <a:pt x="13877737" y="3822635"/>
                  <a:pt x="13868088" y="3812374"/>
                  <a:pt x="13848742" y="3812374"/>
                </a:cubicBezTo>
                <a:cubicBezTo>
                  <a:pt x="13838997" y="3812374"/>
                  <a:pt x="13837234" y="3824183"/>
                  <a:pt x="13832540" y="3826083"/>
                </a:cubicBezTo>
                <a:cubicBezTo>
                  <a:pt x="13819651" y="3832793"/>
                  <a:pt x="13809764" y="3824183"/>
                  <a:pt x="13796993" y="3831224"/>
                </a:cubicBezTo>
                <a:cubicBezTo>
                  <a:pt x="13776027" y="3841505"/>
                  <a:pt x="13747032" y="3855069"/>
                  <a:pt x="13713200" y="3855069"/>
                </a:cubicBezTo>
                <a:cubicBezTo>
                  <a:pt x="13701955" y="3855069"/>
                  <a:pt x="13690590" y="3855069"/>
                  <a:pt x="13690590" y="3848380"/>
                </a:cubicBezTo>
                <a:cubicBezTo>
                  <a:pt x="13690590" y="3843115"/>
                  <a:pt x="13705242" y="3839709"/>
                  <a:pt x="13711437" y="3836282"/>
                </a:cubicBezTo>
                <a:cubicBezTo>
                  <a:pt x="13745340" y="3812374"/>
                  <a:pt x="13759802" y="3769245"/>
                  <a:pt x="13801877" y="3769245"/>
                </a:cubicBezTo>
                <a:lnTo>
                  <a:pt x="13901919" y="3769245"/>
                </a:lnTo>
                <a:cubicBezTo>
                  <a:pt x="13929366" y="3769245"/>
                  <a:pt x="13938944" y="3716186"/>
                  <a:pt x="13953477" y="3716186"/>
                </a:cubicBezTo>
                <a:cubicBezTo>
                  <a:pt x="13955073" y="3716186"/>
                  <a:pt x="13976278" y="3675080"/>
                  <a:pt x="13980852" y="3673222"/>
                </a:cubicBezTo>
                <a:cubicBezTo>
                  <a:pt x="13976278" y="3678507"/>
                  <a:pt x="13972823" y="3685217"/>
                  <a:pt x="13972823" y="3692113"/>
                </a:cubicBezTo>
                <a:cubicBezTo>
                  <a:pt x="13972823" y="3695705"/>
                  <a:pt x="13977755" y="3700681"/>
                  <a:pt x="13980852" y="3700681"/>
                </a:cubicBezTo>
                <a:cubicBezTo>
                  <a:pt x="14005178" y="3700681"/>
                  <a:pt x="14008466" y="3683731"/>
                  <a:pt x="14027764" y="3676835"/>
                </a:cubicBezTo>
                <a:cubicBezTo>
                  <a:pt x="14061620" y="3664757"/>
                  <a:pt x="14116346" y="3592663"/>
                  <a:pt x="14116346" y="3537745"/>
                </a:cubicBezTo>
                <a:cubicBezTo>
                  <a:pt x="14116346" y="3525750"/>
                  <a:pt x="14109985" y="3525750"/>
                  <a:pt x="14109985" y="3517141"/>
                </a:cubicBezTo>
                <a:cubicBezTo>
                  <a:pt x="14109985" y="3496516"/>
                  <a:pt x="14126138" y="3453717"/>
                  <a:pt x="14147247" y="3453717"/>
                </a:cubicBezTo>
                <a:cubicBezTo>
                  <a:pt x="14150440" y="3453717"/>
                  <a:pt x="14148653" y="3475994"/>
                  <a:pt x="14168023" y="3458920"/>
                </a:cubicBezTo>
                <a:cubicBezTo>
                  <a:pt x="14166593" y="3458920"/>
                  <a:pt x="14164949" y="3457268"/>
                  <a:pt x="14163282" y="3457268"/>
                </a:cubicBezTo>
                <a:cubicBezTo>
                  <a:pt x="14158326" y="3457268"/>
                  <a:pt x="14155253" y="3441701"/>
                  <a:pt x="14160018" y="3441701"/>
                </a:cubicBezTo>
                <a:close/>
                <a:moveTo>
                  <a:pt x="14401528" y="3251201"/>
                </a:moveTo>
                <a:lnTo>
                  <a:pt x="14406952" y="3255711"/>
                </a:lnTo>
                <a:cubicBezTo>
                  <a:pt x="14400593" y="3266229"/>
                  <a:pt x="14381184" y="3291689"/>
                  <a:pt x="14366760" y="3291689"/>
                </a:cubicBezTo>
                <a:cubicBezTo>
                  <a:pt x="14361980" y="3291689"/>
                  <a:pt x="14363414" y="3281577"/>
                  <a:pt x="14366760" y="3276399"/>
                </a:cubicBezTo>
                <a:cubicBezTo>
                  <a:pt x="14372867" y="3266772"/>
                  <a:pt x="14388884" y="3252738"/>
                  <a:pt x="14401528" y="3251201"/>
                </a:cubicBezTo>
                <a:close/>
                <a:moveTo>
                  <a:pt x="14401790" y="3251200"/>
                </a:moveTo>
                <a:cubicBezTo>
                  <a:pt x="14401790" y="3251200"/>
                  <a:pt x="14406644" y="3252738"/>
                  <a:pt x="14406644" y="3252738"/>
                </a:cubicBezTo>
                <a:cubicBezTo>
                  <a:pt x="14405962" y="3252738"/>
                  <a:pt x="14405164" y="3253264"/>
                  <a:pt x="14404388" y="3253386"/>
                </a:cubicBezTo>
                <a:close/>
                <a:moveTo>
                  <a:pt x="14203305" y="3187700"/>
                </a:moveTo>
                <a:cubicBezTo>
                  <a:pt x="14246788" y="3218540"/>
                  <a:pt x="14266198" y="3273430"/>
                  <a:pt x="14329104" y="3273430"/>
                </a:cubicBezTo>
                <a:cubicBezTo>
                  <a:pt x="14341889" y="3273430"/>
                  <a:pt x="14353226" y="3263255"/>
                  <a:pt x="14362943" y="3269925"/>
                </a:cubicBezTo>
                <a:cubicBezTo>
                  <a:pt x="14359753" y="3278686"/>
                  <a:pt x="14353226" y="3281961"/>
                  <a:pt x="14353226" y="3290656"/>
                </a:cubicBezTo>
                <a:cubicBezTo>
                  <a:pt x="14353226" y="3300951"/>
                  <a:pt x="14366219" y="3311267"/>
                  <a:pt x="14372709" y="3312921"/>
                </a:cubicBezTo>
                <a:cubicBezTo>
                  <a:pt x="14358085" y="3323281"/>
                  <a:pt x="14346711" y="3328494"/>
                  <a:pt x="14322613" y="3328494"/>
                </a:cubicBezTo>
                <a:cubicBezTo>
                  <a:pt x="14288762" y="3328494"/>
                  <a:pt x="14277364" y="3367832"/>
                  <a:pt x="14264384" y="3388422"/>
                </a:cubicBezTo>
                <a:cubicBezTo>
                  <a:pt x="14238727" y="3371206"/>
                  <a:pt x="14222715" y="3367832"/>
                  <a:pt x="14195061" y="3348963"/>
                </a:cubicBezTo>
                <a:cubicBezTo>
                  <a:pt x="14190385" y="3350584"/>
                  <a:pt x="14183822" y="3357396"/>
                  <a:pt x="14183822" y="3362696"/>
                </a:cubicBezTo>
                <a:cubicBezTo>
                  <a:pt x="14162865" y="3362696"/>
                  <a:pt x="14135528" y="3345568"/>
                  <a:pt x="14135528" y="3374644"/>
                </a:cubicBezTo>
                <a:cubicBezTo>
                  <a:pt x="14135528" y="3391838"/>
                  <a:pt x="14159760" y="3391838"/>
                  <a:pt x="14166007" y="3398607"/>
                </a:cubicBezTo>
                <a:cubicBezTo>
                  <a:pt x="14153343" y="3417542"/>
                  <a:pt x="14140241" y="3410588"/>
                  <a:pt x="14127211" y="3424255"/>
                </a:cubicBezTo>
                <a:lnTo>
                  <a:pt x="14117847" y="3424255"/>
                </a:lnTo>
                <a:lnTo>
                  <a:pt x="14117847" y="3384939"/>
                </a:lnTo>
                <a:cubicBezTo>
                  <a:pt x="14117847" y="3378105"/>
                  <a:pt x="14109689" y="3374644"/>
                  <a:pt x="14109689" y="3367832"/>
                </a:cubicBezTo>
                <a:cubicBezTo>
                  <a:pt x="14109689" y="3348963"/>
                  <a:pt x="14135528" y="3336872"/>
                  <a:pt x="14138743" y="3324880"/>
                </a:cubicBezTo>
                <a:cubicBezTo>
                  <a:pt x="14138743" y="3324880"/>
                  <a:pt x="14138743" y="3311267"/>
                  <a:pt x="14138743" y="3311267"/>
                </a:cubicBezTo>
                <a:cubicBezTo>
                  <a:pt x="14141860" y="3314542"/>
                  <a:pt x="14145051" y="3316338"/>
                  <a:pt x="14150080" y="3319744"/>
                </a:cubicBezTo>
                <a:lnTo>
                  <a:pt x="14146707" y="3316338"/>
                </a:lnTo>
                <a:cubicBezTo>
                  <a:pt x="14151541" y="3317981"/>
                  <a:pt x="14158153" y="3316338"/>
                  <a:pt x="14162865" y="3316338"/>
                </a:cubicBezTo>
                <a:cubicBezTo>
                  <a:pt x="14190385" y="3316338"/>
                  <a:pt x="14201722" y="3249424"/>
                  <a:pt x="14201722" y="3227137"/>
                </a:cubicBezTo>
                <a:cubicBezTo>
                  <a:pt x="14201722" y="3220161"/>
                  <a:pt x="14193441" y="3216821"/>
                  <a:pt x="14193441" y="3210031"/>
                </a:cubicBezTo>
                <a:cubicBezTo>
                  <a:pt x="14193441" y="3198017"/>
                  <a:pt x="14200041" y="3192815"/>
                  <a:pt x="14203305" y="3187700"/>
                </a:cubicBezTo>
                <a:close/>
                <a:moveTo>
                  <a:pt x="10044888" y="3096617"/>
                </a:moveTo>
                <a:cubicBezTo>
                  <a:pt x="9991600" y="3096617"/>
                  <a:pt x="9965617" y="3108410"/>
                  <a:pt x="9923780" y="3125480"/>
                </a:cubicBezTo>
                <a:cubicBezTo>
                  <a:pt x="9918936" y="3127342"/>
                  <a:pt x="9870493" y="3156515"/>
                  <a:pt x="9862566" y="3151239"/>
                </a:cubicBezTo>
                <a:cubicBezTo>
                  <a:pt x="9854639" y="3161791"/>
                  <a:pt x="9823811" y="3225103"/>
                  <a:pt x="9823811" y="3233482"/>
                </a:cubicBezTo>
                <a:cubicBezTo>
                  <a:pt x="9823811" y="3259241"/>
                  <a:pt x="9859483" y="3285001"/>
                  <a:pt x="9859483" y="3302380"/>
                </a:cubicBezTo>
                <a:cubicBezTo>
                  <a:pt x="9859483" y="3360727"/>
                  <a:pt x="9925542" y="3463763"/>
                  <a:pt x="9969140" y="3489523"/>
                </a:cubicBezTo>
                <a:cubicBezTo>
                  <a:pt x="9943157" y="3503178"/>
                  <a:pt x="9943157" y="3544145"/>
                  <a:pt x="9923780" y="3571766"/>
                </a:cubicBezTo>
                <a:lnTo>
                  <a:pt x="9901320" y="3568352"/>
                </a:lnTo>
                <a:cubicBezTo>
                  <a:pt x="9901320" y="3585422"/>
                  <a:pt x="9914532" y="3583559"/>
                  <a:pt x="9922459" y="3597525"/>
                </a:cubicBezTo>
                <a:cubicBezTo>
                  <a:pt x="9935230" y="3618008"/>
                  <a:pt x="9920698" y="3631664"/>
                  <a:pt x="9930386" y="3652458"/>
                </a:cubicBezTo>
                <a:cubicBezTo>
                  <a:pt x="9938313" y="3671079"/>
                  <a:pt x="9959452" y="3660837"/>
                  <a:pt x="9977068" y="3664251"/>
                </a:cubicBezTo>
                <a:cubicBezTo>
                  <a:pt x="9991600" y="3667975"/>
                  <a:pt x="9995124" y="3685045"/>
                  <a:pt x="10004372" y="3695286"/>
                </a:cubicBezTo>
                <a:cubicBezTo>
                  <a:pt x="10017584" y="3708942"/>
                  <a:pt x="10057659" y="3705528"/>
                  <a:pt x="10078798" y="3705528"/>
                </a:cubicBezTo>
                <a:cubicBezTo>
                  <a:pt x="10106102" y="3705528"/>
                  <a:pt x="10135168" y="3700562"/>
                  <a:pt x="10154545" y="3695286"/>
                </a:cubicBezTo>
                <a:lnTo>
                  <a:pt x="10154545" y="3664561"/>
                </a:lnTo>
                <a:cubicBezTo>
                  <a:pt x="10152784" y="3662699"/>
                  <a:pt x="10138691" y="3643768"/>
                  <a:pt x="10138691" y="3628250"/>
                </a:cubicBezTo>
                <a:cubicBezTo>
                  <a:pt x="10138691" y="3613043"/>
                  <a:pt x="10149701" y="3607767"/>
                  <a:pt x="10149701" y="3588835"/>
                </a:cubicBezTo>
                <a:cubicBezTo>
                  <a:pt x="10149701" y="3556248"/>
                  <a:pt x="10127241" y="3521799"/>
                  <a:pt x="10093331" y="3516834"/>
                </a:cubicBezTo>
                <a:cubicBezTo>
                  <a:pt x="10096414" y="3491074"/>
                  <a:pt x="10110946" y="3474005"/>
                  <a:pt x="10125480" y="3474005"/>
                </a:cubicBezTo>
                <a:lnTo>
                  <a:pt x="10173922" y="3474005"/>
                </a:lnTo>
                <a:cubicBezTo>
                  <a:pt x="10173922" y="3448246"/>
                  <a:pt x="10148380" y="3434590"/>
                  <a:pt x="10146618" y="3408521"/>
                </a:cubicBezTo>
                <a:cubicBezTo>
                  <a:pt x="10135168" y="3410693"/>
                  <a:pt x="10104781" y="3427763"/>
                  <a:pt x="10091569" y="3434590"/>
                </a:cubicBezTo>
                <a:cubicBezTo>
                  <a:pt x="10091569" y="3367554"/>
                  <a:pt x="10047970" y="3345209"/>
                  <a:pt x="10017584" y="3288414"/>
                </a:cubicBezTo>
                <a:cubicBezTo>
                  <a:pt x="10007895" y="3269793"/>
                  <a:pt x="9981912" y="3271345"/>
                  <a:pt x="9980150" y="3236896"/>
                </a:cubicBezTo>
                <a:cubicBezTo>
                  <a:pt x="9985435" y="3239068"/>
                  <a:pt x="10049732" y="3194067"/>
                  <a:pt x="10093331" y="3194067"/>
                </a:cubicBezTo>
                <a:cubicBezTo>
                  <a:pt x="10122397" y="3194067"/>
                  <a:pt x="10154545" y="3213309"/>
                  <a:pt x="10178767" y="3192516"/>
                </a:cubicBezTo>
                <a:cubicBezTo>
                  <a:pt x="10146618" y="3140997"/>
                  <a:pt x="10132085" y="3096617"/>
                  <a:pt x="10044888" y="3096617"/>
                </a:cubicBezTo>
                <a:close/>
                <a:moveTo>
                  <a:pt x="2032001" y="2997200"/>
                </a:moveTo>
                <a:cubicBezTo>
                  <a:pt x="2032001" y="2997200"/>
                  <a:pt x="2032012" y="2997200"/>
                  <a:pt x="2032012" y="2997200"/>
                </a:cubicBezTo>
                <a:lnTo>
                  <a:pt x="2032024" y="2997241"/>
                </a:lnTo>
                <a:close/>
                <a:moveTo>
                  <a:pt x="5130131" y="2832101"/>
                </a:moveTo>
                <a:cubicBezTo>
                  <a:pt x="5136449" y="2832101"/>
                  <a:pt x="5141323" y="2842435"/>
                  <a:pt x="5141323" y="2849213"/>
                </a:cubicBezTo>
                <a:cubicBezTo>
                  <a:pt x="5141323" y="2887092"/>
                  <a:pt x="5107318" y="2905649"/>
                  <a:pt x="5097750" y="2936779"/>
                </a:cubicBezTo>
                <a:lnTo>
                  <a:pt x="5097750" y="2952084"/>
                </a:lnTo>
                <a:cubicBezTo>
                  <a:pt x="5110705" y="2948688"/>
                  <a:pt x="5110705" y="2938398"/>
                  <a:pt x="5121939" y="2938398"/>
                </a:cubicBezTo>
                <a:cubicBezTo>
                  <a:pt x="5131659" y="2938398"/>
                  <a:pt x="5141323" y="2940089"/>
                  <a:pt x="5147766" y="2947127"/>
                </a:cubicBezTo>
                <a:lnTo>
                  <a:pt x="5139629" y="2955509"/>
                </a:lnTo>
                <a:lnTo>
                  <a:pt x="5139629" y="2971103"/>
                </a:lnTo>
                <a:lnTo>
                  <a:pt x="5168663" y="2971103"/>
                </a:lnTo>
                <a:lnTo>
                  <a:pt x="5168663" y="2979616"/>
                </a:lnTo>
                <a:lnTo>
                  <a:pt x="5187992" y="2972707"/>
                </a:lnTo>
                <a:cubicBezTo>
                  <a:pt x="5205835" y="2977968"/>
                  <a:pt x="5226774" y="2977968"/>
                  <a:pt x="5234813" y="2972707"/>
                </a:cubicBezTo>
                <a:cubicBezTo>
                  <a:pt x="5234813" y="2988099"/>
                  <a:pt x="5233230" y="3003592"/>
                  <a:pt x="5233230" y="3029302"/>
                </a:cubicBezTo>
                <a:cubicBezTo>
                  <a:pt x="5236355" y="3025906"/>
                  <a:pt x="5244561" y="3024129"/>
                  <a:pt x="5250990" y="3024129"/>
                </a:cubicBezTo>
                <a:cubicBezTo>
                  <a:pt x="5249323" y="3039650"/>
                  <a:pt x="5234813" y="3043047"/>
                  <a:pt x="5234813" y="3049940"/>
                </a:cubicBezTo>
                <a:cubicBezTo>
                  <a:pt x="5234813" y="3058496"/>
                  <a:pt x="5246116" y="3065404"/>
                  <a:pt x="5246116" y="3077356"/>
                </a:cubicBezTo>
                <a:cubicBezTo>
                  <a:pt x="5262196" y="3077356"/>
                  <a:pt x="5257419" y="3073815"/>
                  <a:pt x="5267125" y="3067124"/>
                </a:cubicBezTo>
                <a:cubicBezTo>
                  <a:pt x="5267125" y="3087661"/>
                  <a:pt x="5278316" y="3086129"/>
                  <a:pt x="5278316" y="3103197"/>
                </a:cubicBezTo>
                <a:cubicBezTo>
                  <a:pt x="5278316" y="3123719"/>
                  <a:pt x="5268625" y="3144270"/>
                  <a:pt x="5252614" y="3144270"/>
                </a:cubicBezTo>
                <a:cubicBezTo>
                  <a:pt x="5241339" y="3144270"/>
                  <a:pt x="5238022" y="3130541"/>
                  <a:pt x="5238022" y="3123719"/>
                </a:cubicBezTo>
                <a:cubicBezTo>
                  <a:pt x="5233230" y="3123719"/>
                  <a:pt x="5230010" y="3120323"/>
                  <a:pt x="5225149" y="3120323"/>
                </a:cubicBezTo>
                <a:cubicBezTo>
                  <a:pt x="5212222" y="3120323"/>
                  <a:pt x="5221941" y="3087661"/>
                  <a:pt x="5209029" y="3073815"/>
                </a:cubicBezTo>
                <a:cubicBezTo>
                  <a:pt x="5196198" y="3094583"/>
                  <a:pt x="5181564" y="3120323"/>
                  <a:pt x="5162249" y="3120323"/>
                </a:cubicBezTo>
                <a:cubicBezTo>
                  <a:pt x="5159027" y="3120323"/>
                  <a:pt x="5152542" y="3123719"/>
                  <a:pt x="5152542" y="3120323"/>
                </a:cubicBezTo>
                <a:cubicBezTo>
                  <a:pt x="5152542" y="3103197"/>
                  <a:pt x="5165512" y="3103197"/>
                  <a:pt x="5170274" y="3092864"/>
                </a:cubicBezTo>
                <a:cubicBezTo>
                  <a:pt x="5154167" y="3092864"/>
                  <a:pt x="5133214" y="3103197"/>
                  <a:pt x="5125035" y="3086129"/>
                </a:cubicBezTo>
                <a:cubicBezTo>
                  <a:pt x="5113858" y="3091057"/>
                  <a:pt x="5104166" y="3094583"/>
                  <a:pt x="5092905" y="3094583"/>
                </a:cubicBezTo>
                <a:cubicBezTo>
                  <a:pt x="5071896" y="3094583"/>
                  <a:pt x="5062190" y="3082646"/>
                  <a:pt x="5044486" y="3082646"/>
                </a:cubicBezTo>
                <a:cubicBezTo>
                  <a:pt x="5020340" y="3082646"/>
                  <a:pt x="5013800" y="3092864"/>
                  <a:pt x="4994457" y="3092864"/>
                </a:cubicBezTo>
                <a:cubicBezTo>
                  <a:pt x="4986403" y="3092864"/>
                  <a:pt x="4978392" y="3080810"/>
                  <a:pt x="4978392" y="3075636"/>
                </a:cubicBezTo>
                <a:cubicBezTo>
                  <a:pt x="4978392" y="3068873"/>
                  <a:pt x="5007329" y="3044795"/>
                  <a:pt x="5007329" y="3043047"/>
                </a:cubicBezTo>
                <a:lnTo>
                  <a:pt x="5007329" y="3032843"/>
                </a:lnTo>
                <a:cubicBezTo>
                  <a:pt x="5002497" y="3032843"/>
                  <a:pt x="4996053" y="3029302"/>
                  <a:pt x="4994457" y="3024129"/>
                </a:cubicBezTo>
                <a:cubicBezTo>
                  <a:pt x="5039599" y="3000297"/>
                  <a:pt x="5057441" y="2922992"/>
                  <a:pt x="5081602" y="2883537"/>
                </a:cubicBezTo>
                <a:cubicBezTo>
                  <a:pt x="5094390" y="2861266"/>
                  <a:pt x="5104166" y="2832101"/>
                  <a:pt x="5130131" y="2832101"/>
                </a:cubicBezTo>
                <a:close/>
                <a:moveTo>
                  <a:pt x="14226395" y="2616200"/>
                </a:moveTo>
                <a:lnTo>
                  <a:pt x="14237607" y="2616200"/>
                </a:lnTo>
                <a:cubicBezTo>
                  <a:pt x="14237607" y="2650487"/>
                  <a:pt x="14250570" y="2672815"/>
                  <a:pt x="14256997" y="2695043"/>
                </a:cubicBezTo>
                <a:cubicBezTo>
                  <a:pt x="14263393" y="2719086"/>
                  <a:pt x="14250570" y="2736192"/>
                  <a:pt x="14261849" y="2760335"/>
                </a:cubicBezTo>
                <a:lnTo>
                  <a:pt x="14261849" y="2801559"/>
                </a:lnTo>
                <a:cubicBezTo>
                  <a:pt x="14258566" y="2818566"/>
                  <a:pt x="14269911" y="2837611"/>
                  <a:pt x="14273079" y="2847855"/>
                </a:cubicBezTo>
                <a:cubicBezTo>
                  <a:pt x="14286017" y="2890695"/>
                  <a:pt x="14307115" y="2925131"/>
                  <a:pt x="14316728" y="2966355"/>
                </a:cubicBezTo>
                <a:cubicBezTo>
                  <a:pt x="14308708" y="2954197"/>
                  <a:pt x="14297163" y="2943854"/>
                  <a:pt x="14282831" y="2943854"/>
                </a:cubicBezTo>
                <a:cubicBezTo>
                  <a:pt x="14239340" y="2943854"/>
                  <a:pt x="14234349" y="2998852"/>
                  <a:pt x="14234349" y="3043408"/>
                </a:cubicBezTo>
                <a:cubicBezTo>
                  <a:pt x="14234349" y="3082891"/>
                  <a:pt x="14268251" y="3101638"/>
                  <a:pt x="14281238" y="3130953"/>
                </a:cubicBezTo>
                <a:cubicBezTo>
                  <a:pt x="14281238" y="3130953"/>
                  <a:pt x="14277998" y="3132718"/>
                  <a:pt x="14276314" y="3132718"/>
                </a:cubicBezTo>
                <a:cubicBezTo>
                  <a:pt x="14269911" y="3134334"/>
                  <a:pt x="14261849" y="3122325"/>
                  <a:pt x="14260141" y="3115388"/>
                </a:cubicBezTo>
                <a:lnTo>
                  <a:pt x="14244119" y="3115388"/>
                </a:lnTo>
                <a:cubicBezTo>
                  <a:pt x="14224802" y="3115388"/>
                  <a:pt x="14224802" y="3153255"/>
                  <a:pt x="14205346" y="3153255"/>
                </a:cubicBezTo>
                <a:cubicBezTo>
                  <a:pt x="14200658" y="3153255"/>
                  <a:pt x="14205346" y="3111957"/>
                  <a:pt x="14205346" y="3103578"/>
                </a:cubicBezTo>
                <a:cubicBezTo>
                  <a:pt x="14205346" y="3072523"/>
                  <a:pt x="14211888" y="3052035"/>
                  <a:pt x="14211888" y="3026326"/>
                </a:cubicBezTo>
                <a:cubicBezTo>
                  <a:pt x="14211888" y="3002134"/>
                  <a:pt x="14202093" y="2998852"/>
                  <a:pt x="14202093" y="2978315"/>
                </a:cubicBezTo>
                <a:cubicBezTo>
                  <a:pt x="14202093" y="2952506"/>
                  <a:pt x="14210337" y="2945693"/>
                  <a:pt x="14210337" y="2925131"/>
                </a:cubicBezTo>
                <a:lnTo>
                  <a:pt x="14210337" y="2823862"/>
                </a:lnTo>
                <a:cubicBezTo>
                  <a:pt x="14210337" y="2798028"/>
                  <a:pt x="14185890" y="2787735"/>
                  <a:pt x="14185890" y="2762026"/>
                </a:cubicBezTo>
                <a:cubicBezTo>
                  <a:pt x="14185890" y="2725973"/>
                  <a:pt x="14195800" y="2679603"/>
                  <a:pt x="14219859" y="2674506"/>
                </a:cubicBezTo>
                <a:cubicBezTo>
                  <a:pt x="14219859" y="2664287"/>
                  <a:pt x="14226395" y="2660831"/>
                  <a:pt x="14226395" y="2652327"/>
                </a:cubicBezTo>
                <a:close/>
                <a:moveTo>
                  <a:pt x="7345618" y="2578101"/>
                </a:moveTo>
                <a:lnTo>
                  <a:pt x="7373067" y="2578101"/>
                </a:lnTo>
                <a:cubicBezTo>
                  <a:pt x="7410142" y="2578101"/>
                  <a:pt x="7427956" y="2619169"/>
                  <a:pt x="7427956" y="2648417"/>
                </a:cubicBezTo>
                <a:cubicBezTo>
                  <a:pt x="7427956" y="2662248"/>
                  <a:pt x="7398873" y="2660508"/>
                  <a:pt x="7398873" y="2674198"/>
                </a:cubicBezTo>
                <a:lnTo>
                  <a:pt x="7398873" y="2732468"/>
                </a:lnTo>
                <a:cubicBezTo>
                  <a:pt x="7398873" y="2746158"/>
                  <a:pt x="7410142" y="2766827"/>
                  <a:pt x="7397332" y="2780599"/>
                </a:cubicBezTo>
                <a:cubicBezTo>
                  <a:pt x="7387539" y="2790810"/>
                  <a:pt x="7371377" y="2789154"/>
                  <a:pt x="7355403" y="2789154"/>
                </a:cubicBezTo>
                <a:cubicBezTo>
                  <a:pt x="7329457" y="2789154"/>
                  <a:pt x="7310196" y="2818295"/>
                  <a:pt x="7297209" y="2826968"/>
                </a:cubicBezTo>
                <a:cubicBezTo>
                  <a:pt x="7289254" y="2832043"/>
                  <a:pt x="7276239" y="2833664"/>
                  <a:pt x="7266566" y="2833664"/>
                </a:cubicBezTo>
                <a:cubicBezTo>
                  <a:pt x="7247165" y="2833664"/>
                  <a:pt x="7226289" y="2814935"/>
                  <a:pt x="7226289" y="2794206"/>
                </a:cubicBezTo>
                <a:cubicBezTo>
                  <a:pt x="7226289" y="2751340"/>
                  <a:pt x="7266566" y="2747944"/>
                  <a:pt x="7273055" y="2706723"/>
                </a:cubicBezTo>
                <a:cubicBezTo>
                  <a:pt x="7256978" y="2698204"/>
                  <a:pt x="7242348" y="2687911"/>
                  <a:pt x="7242348" y="2670743"/>
                </a:cubicBezTo>
                <a:cubicBezTo>
                  <a:pt x="7242348" y="2648417"/>
                  <a:pt x="7255381" y="2651836"/>
                  <a:pt x="7260162" y="2651836"/>
                </a:cubicBezTo>
                <a:cubicBezTo>
                  <a:pt x="7269806" y="2651836"/>
                  <a:pt x="7297209" y="2643258"/>
                  <a:pt x="7306900" y="2632882"/>
                </a:cubicBezTo>
                <a:cubicBezTo>
                  <a:pt x="7300486" y="2622612"/>
                  <a:pt x="7297209" y="2619169"/>
                  <a:pt x="7297209" y="2610686"/>
                </a:cubicBezTo>
                <a:cubicBezTo>
                  <a:pt x="7297209" y="2598688"/>
                  <a:pt x="7329457" y="2578101"/>
                  <a:pt x="7345618" y="2578101"/>
                </a:cubicBezTo>
                <a:close/>
                <a:moveTo>
                  <a:pt x="674396" y="2413000"/>
                </a:moveTo>
                <a:lnTo>
                  <a:pt x="693705" y="2413000"/>
                </a:lnTo>
                <a:lnTo>
                  <a:pt x="693705" y="2433539"/>
                </a:lnTo>
                <a:cubicBezTo>
                  <a:pt x="664723" y="2449029"/>
                  <a:pt x="654984" y="2461051"/>
                  <a:pt x="630753" y="2481790"/>
                </a:cubicBezTo>
                <a:cubicBezTo>
                  <a:pt x="616392" y="2469586"/>
                  <a:pt x="608302" y="2467886"/>
                  <a:pt x="596891" y="2459312"/>
                </a:cubicBezTo>
                <a:lnTo>
                  <a:pt x="596891" y="2438723"/>
                </a:lnTo>
                <a:cubicBezTo>
                  <a:pt x="624420" y="2430160"/>
                  <a:pt x="645361" y="2413000"/>
                  <a:pt x="674396" y="2413000"/>
                </a:cubicBezTo>
                <a:close/>
                <a:moveTo>
                  <a:pt x="1584163" y="2403377"/>
                </a:moveTo>
                <a:cubicBezTo>
                  <a:pt x="1588406" y="2409204"/>
                  <a:pt x="1599156" y="2413316"/>
                  <a:pt x="1603399" y="2427367"/>
                </a:cubicBezTo>
                <a:cubicBezTo>
                  <a:pt x="1599156" y="2413316"/>
                  <a:pt x="1588689" y="2409204"/>
                  <a:pt x="1584163" y="2403377"/>
                </a:cubicBezTo>
                <a:close/>
                <a:moveTo>
                  <a:pt x="7481758" y="2336801"/>
                </a:moveTo>
                <a:lnTo>
                  <a:pt x="7528474" y="2336801"/>
                </a:lnTo>
                <a:cubicBezTo>
                  <a:pt x="7534900" y="2336801"/>
                  <a:pt x="7544583" y="2348842"/>
                  <a:pt x="7544583" y="2352330"/>
                </a:cubicBezTo>
                <a:cubicBezTo>
                  <a:pt x="7544583" y="2376221"/>
                  <a:pt x="7509090" y="2372843"/>
                  <a:pt x="7504364" y="2396735"/>
                </a:cubicBezTo>
                <a:cubicBezTo>
                  <a:pt x="7504364" y="2402020"/>
                  <a:pt x="7505957" y="2405398"/>
                  <a:pt x="7509090" y="2410438"/>
                </a:cubicBezTo>
                <a:lnTo>
                  <a:pt x="7604274" y="2410438"/>
                </a:lnTo>
                <a:cubicBezTo>
                  <a:pt x="7610664" y="2458603"/>
                  <a:pt x="7560815" y="2478981"/>
                  <a:pt x="7560815" y="2515159"/>
                </a:cubicBezTo>
                <a:cubicBezTo>
                  <a:pt x="7554336" y="2516902"/>
                  <a:pt x="7549504" y="2522187"/>
                  <a:pt x="7547716" y="2528889"/>
                </a:cubicBezTo>
                <a:cubicBezTo>
                  <a:pt x="7564037" y="2534011"/>
                  <a:pt x="7572021" y="2527173"/>
                  <a:pt x="7584961" y="2530578"/>
                </a:cubicBezTo>
                <a:cubicBezTo>
                  <a:pt x="7615638" y="2540958"/>
                  <a:pt x="7610664" y="2582067"/>
                  <a:pt x="7630172" y="2602689"/>
                </a:cubicBezTo>
                <a:cubicBezTo>
                  <a:pt x="7655928" y="2630041"/>
                  <a:pt x="7697881" y="2642246"/>
                  <a:pt x="7697881" y="2683273"/>
                </a:cubicBezTo>
                <a:cubicBezTo>
                  <a:pt x="7697881" y="2696976"/>
                  <a:pt x="7715513" y="2705776"/>
                  <a:pt x="7715513" y="2719315"/>
                </a:cubicBezTo>
                <a:cubicBezTo>
                  <a:pt x="7715513" y="2724491"/>
                  <a:pt x="7712450" y="2729613"/>
                  <a:pt x="7707564" y="2731438"/>
                </a:cubicBezTo>
                <a:lnTo>
                  <a:pt x="7707564" y="2743398"/>
                </a:lnTo>
                <a:cubicBezTo>
                  <a:pt x="7718787" y="2739965"/>
                  <a:pt x="7720434" y="2734789"/>
                  <a:pt x="7726842" y="2731438"/>
                </a:cubicBezTo>
                <a:lnTo>
                  <a:pt x="7718787" y="2738222"/>
                </a:lnTo>
                <a:cubicBezTo>
                  <a:pt x="7730064" y="2729613"/>
                  <a:pt x="7726842" y="2731438"/>
                  <a:pt x="7739870" y="2731438"/>
                </a:cubicBezTo>
                <a:cubicBezTo>
                  <a:pt x="7759095" y="2731438"/>
                  <a:pt x="7773752" y="2746939"/>
                  <a:pt x="7773752" y="2763993"/>
                </a:cubicBezTo>
                <a:cubicBezTo>
                  <a:pt x="7773752" y="2794886"/>
                  <a:pt x="7734914" y="2810306"/>
                  <a:pt x="7721956" y="2832617"/>
                </a:cubicBezTo>
                <a:cubicBezTo>
                  <a:pt x="7738242" y="2837684"/>
                  <a:pt x="7744650" y="2839537"/>
                  <a:pt x="7754280" y="2839537"/>
                </a:cubicBezTo>
                <a:lnTo>
                  <a:pt x="7754280" y="2851415"/>
                </a:lnTo>
                <a:cubicBezTo>
                  <a:pt x="7739870" y="2866888"/>
                  <a:pt x="7728488" y="2877268"/>
                  <a:pt x="7709122" y="2877268"/>
                </a:cubicBezTo>
                <a:lnTo>
                  <a:pt x="7644652" y="2877268"/>
                </a:lnTo>
                <a:cubicBezTo>
                  <a:pt x="7628508" y="2877268"/>
                  <a:pt x="7584961" y="2892687"/>
                  <a:pt x="7560815" y="2892687"/>
                </a:cubicBezTo>
                <a:cubicBezTo>
                  <a:pt x="7549504" y="2892687"/>
                  <a:pt x="7543043" y="2882362"/>
                  <a:pt x="7531660" y="2882362"/>
                </a:cubicBezTo>
                <a:cubicBezTo>
                  <a:pt x="7515569" y="2882362"/>
                  <a:pt x="7505957" y="2897727"/>
                  <a:pt x="7505957" y="2911594"/>
                </a:cubicBezTo>
                <a:lnTo>
                  <a:pt x="7483387" y="2911594"/>
                </a:lnTo>
                <a:cubicBezTo>
                  <a:pt x="7471952" y="2911594"/>
                  <a:pt x="7467154" y="2918377"/>
                  <a:pt x="7460675" y="2925242"/>
                </a:cubicBezTo>
                <a:lnTo>
                  <a:pt x="7449399" y="2925242"/>
                </a:lnTo>
                <a:lnTo>
                  <a:pt x="7449399" y="2914917"/>
                </a:lnTo>
                <a:cubicBezTo>
                  <a:pt x="7452727" y="2908025"/>
                  <a:pt x="7501036" y="2853076"/>
                  <a:pt x="7505957" y="2851415"/>
                </a:cubicBezTo>
                <a:cubicBezTo>
                  <a:pt x="7528474" y="2844740"/>
                  <a:pt x="7560815" y="2853076"/>
                  <a:pt x="7560815" y="2829212"/>
                </a:cubicBezTo>
                <a:cubicBezTo>
                  <a:pt x="7560815" y="2825779"/>
                  <a:pt x="7557594" y="2820494"/>
                  <a:pt x="7557594" y="2817116"/>
                </a:cubicBezTo>
                <a:cubicBezTo>
                  <a:pt x="7550991" y="2827496"/>
                  <a:pt x="7539821" y="2834306"/>
                  <a:pt x="7528474" y="2834306"/>
                </a:cubicBezTo>
                <a:cubicBezTo>
                  <a:pt x="7507550" y="2834306"/>
                  <a:pt x="7501036" y="2813738"/>
                  <a:pt x="7483387" y="2813738"/>
                </a:cubicBezTo>
                <a:cubicBezTo>
                  <a:pt x="7473651" y="2813738"/>
                  <a:pt x="7475244" y="2822320"/>
                  <a:pt x="7467154" y="2822320"/>
                </a:cubicBezTo>
                <a:cubicBezTo>
                  <a:pt x="7463933" y="2822320"/>
                  <a:pt x="7459171" y="2817116"/>
                  <a:pt x="7459171" y="2813738"/>
                </a:cubicBezTo>
                <a:cubicBezTo>
                  <a:pt x="7459171" y="2787994"/>
                  <a:pt x="7504364" y="2786223"/>
                  <a:pt x="7504364" y="2760642"/>
                </a:cubicBezTo>
                <a:cubicBezTo>
                  <a:pt x="7504364" y="2738222"/>
                  <a:pt x="7491388" y="2729613"/>
                  <a:pt x="7491388" y="2710679"/>
                </a:cubicBezTo>
                <a:cubicBezTo>
                  <a:pt x="7520384" y="2710679"/>
                  <a:pt x="7555983" y="2695369"/>
                  <a:pt x="7564037" y="2678124"/>
                </a:cubicBezTo>
                <a:lnTo>
                  <a:pt x="7564037" y="2652353"/>
                </a:lnTo>
                <a:cubicBezTo>
                  <a:pt x="7547716" y="2654260"/>
                  <a:pt x="7525270" y="2650718"/>
                  <a:pt x="7525270" y="2633446"/>
                </a:cubicBezTo>
                <a:cubicBezTo>
                  <a:pt x="7525270" y="2619771"/>
                  <a:pt x="7533306" y="2616338"/>
                  <a:pt x="7536564" y="2609500"/>
                </a:cubicBezTo>
                <a:cubicBezTo>
                  <a:pt x="7531660" y="2609500"/>
                  <a:pt x="7526845" y="2607893"/>
                  <a:pt x="7522066" y="2607893"/>
                </a:cubicBezTo>
                <a:cubicBezTo>
                  <a:pt x="7505957" y="2607893"/>
                  <a:pt x="7497885" y="2616338"/>
                  <a:pt x="7484945" y="2616338"/>
                </a:cubicBezTo>
                <a:cubicBezTo>
                  <a:pt x="7470376" y="2616338"/>
                  <a:pt x="7459171" y="2616338"/>
                  <a:pt x="7459171" y="2602689"/>
                </a:cubicBezTo>
                <a:cubicBezTo>
                  <a:pt x="7459171" y="2589041"/>
                  <a:pt x="7475244" y="2580296"/>
                  <a:pt x="7475244" y="2566675"/>
                </a:cubicBezTo>
                <a:cubicBezTo>
                  <a:pt x="7475244" y="2551283"/>
                  <a:pt x="7470376" y="2547714"/>
                  <a:pt x="7475244" y="2534011"/>
                </a:cubicBezTo>
                <a:cubicBezTo>
                  <a:pt x="7462357" y="2534011"/>
                  <a:pt x="7452727" y="2528889"/>
                  <a:pt x="7447806" y="2525402"/>
                </a:cubicBezTo>
                <a:cubicBezTo>
                  <a:pt x="7439734" y="2539269"/>
                  <a:pt x="7444673" y="2544390"/>
                  <a:pt x="7447806" y="2551283"/>
                </a:cubicBezTo>
                <a:lnTo>
                  <a:pt x="7434848" y="2551283"/>
                </a:lnTo>
                <a:lnTo>
                  <a:pt x="7434848" y="2523767"/>
                </a:lnTo>
                <a:cubicBezTo>
                  <a:pt x="7434848" y="2518537"/>
                  <a:pt x="7436530" y="2515159"/>
                  <a:pt x="7441292" y="2511699"/>
                </a:cubicBezTo>
                <a:lnTo>
                  <a:pt x="7441292" y="2496334"/>
                </a:lnTo>
                <a:cubicBezTo>
                  <a:pt x="7431662" y="2494618"/>
                  <a:pt x="7417164" y="2489496"/>
                  <a:pt x="7417164" y="2482495"/>
                </a:cubicBezTo>
                <a:cubicBezTo>
                  <a:pt x="7417164" y="2474050"/>
                  <a:pt x="7428422" y="2461927"/>
                  <a:pt x="7428422" y="2460265"/>
                </a:cubicBezTo>
                <a:lnTo>
                  <a:pt x="7428422" y="2446562"/>
                </a:lnTo>
                <a:cubicBezTo>
                  <a:pt x="7404312" y="2441386"/>
                  <a:pt x="7391390" y="2436264"/>
                  <a:pt x="7391390" y="2414034"/>
                </a:cubicBezTo>
                <a:lnTo>
                  <a:pt x="7417164" y="2414034"/>
                </a:lnTo>
                <a:cubicBezTo>
                  <a:pt x="7417164" y="2424277"/>
                  <a:pt x="7425272" y="2429263"/>
                  <a:pt x="7428422" y="2429263"/>
                </a:cubicBezTo>
                <a:cubicBezTo>
                  <a:pt x="7431662" y="2429263"/>
                  <a:pt x="7434848" y="2422534"/>
                  <a:pt x="7434848" y="2419101"/>
                </a:cubicBezTo>
                <a:cubicBezTo>
                  <a:pt x="7431662" y="2417439"/>
                  <a:pt x="7426900" y="2412182"/>
                  <a:pt x="7426900" y="2408831"/>
                </a:cubicBezTo>
                <a:cubicBezTo>
                  <a:pt x="7426900" y="2394992"/>
                  <a:pt x="7438282" y="2388181"/>
                  <a:pt x="7449399" y="2388181"/>
                </a:cubicBezTo>
                <a:cubicBezTo>
                  <a:pt x="7449399" y="2374423"/>
                  <a:pt x="7455843" y="2367667"/>
                  <a:pt x="7455843" y="2359004"/>
                </a:cubicBezTo>
                <a:cubicBezTo>
                  <a:pt x="7455843" y="2350504"/>
                  <a:pt x="7471952" y="2336801"/>
                  <a:pt x="7481758" y="2336801"/>
                </a:cubicBezTo>
                <a:close/>
                <a:moveTo>
                  <a:pt x="61114" y="2235524"/>
                </a:moveTo>
                <a:cubicBezTo>
                  <a:pt x="80456" y="2235524"/>
                  <a:pt x="82016" y="2247464"/>
                  <a:pt x="85345" y="2264686"/>
                </a:cubicBezTo>
                <a:lnTo>
                  <a:pt x="32021" y="2264686"/>
                </a:lnTo>
                <a:cubicBezTo>
                  <a:pt x="25538" y="2259589"/>
                  <a:pt x="15914" y="2254250"/>
                  <a:pt x="12713" y="2247464"/>
                </a:cubicBezTo>
                <a:lnTo>
                  <a:pt x="36863" y="2247464"/>
                </a:lnTo>
                <a:cubicBezTo>
                  <a:pt x="43266" y="2232114"/>
                  <a:pt x="48199" y="2235524"/>
                  <a:pt x="61114" y="2235524"/>
                </a:cubicBezTo>
                <a:close/>
                <a:moveTo>
                  <a:pt x="4008379" y="2070447"/>
                </a:moveTo>
                <a:cubicBezTo>
                  <a:pt x="4019682" y="2068731"/>
                  <a:pt x="4033008" y="2073438"/>
                  <a:pt x="4041095" y="2083695"/>
                </a:cubicBezTo>
                <a:cubicBezTo>
                  <a:pt x="4031403" y="2097438"/>
                  <a:pt x="4028064" y="2121454"/>
                  <a:pt x="4011968" y="2121454"/>
                </a:cubicBezTo>
                <a:cubicBezTo>
                  <a:pt x="4008779" y="2121454"/>
                  <a:pt x="3987794" y="2095741"/>
                  <a:pt x="3987794" y="2095741"/>
                </a:cubicBezTo>
                <a:cubicBezTo>
                  <a:pt x="3987794" y="2080304"/>
                  <a:pt x="3997075" y="2072164"/>
                  <a:pt x="4008379" y="2070447"/>
                </a:cubicBezTo>
                <a:close/>
                <a:moveTo>
                  <a:pt x="3888874" y="2019344"/>
                </a:moveTo>
                <a:cubicBezTo>
                  <a:pt x="3901540" y="2018994"/>
                  <a:pt x="3901488" y="2020603"/>
                  <a:pt x="3916123" y="2027035"/>
                </a:cubicBezTo>
                <a:cubicBezTo>
                  <a:pt x="3901532" y="2047592"/>
                  <a:pt x="3861260" y="2081893"/>
                  <a:pt x="3835395" y="2085291"/>
                </a:cubicBezTo>
                <a:lnTo>
                  <a:pt x="3835395" y="2063063"/>
                </a:lnTo>
                <a:cubicBezTo>
                  <a:pt x="3848300" y="2045863"/>
                  <a:pt x="3869349" y="2030343"/>
                  <a:pt x="3870956" y="2020240"/>
                </a:cubicBezTo>
                <a:cubicBezTo>
                  <a:pt x="3879019" y="2019795"/>
                  <a:pt x="3884654" y="2019461"/>
                  <a:pt x="3888874" y="2019344"/>
                </a:cubicBezTo>
                <a:close/>
                <a:moveTo>
                  <a:pt x="4106754" y="1981593"/>
                </a:moveTo>
                <a:cubicBezTo>
                  <a:pt x="4111605" y="1983101"/>
                  <a:pt x="4116868" y="1988688"/>
                  <a:pt x="4126586" y="1993829"/>
                </a:cubicBezTo>
                <a:cubicBezTo>
                  <a:pt x="4110377" y="2007530"/>
                  <a:pt x="4105537" y="2007530"/>
                  <a:pt x="4089392" y="1993829"/>
                </a:cubicBezTo>
                <a:cubicBezTo>
                  <a:pt x="4097466" y="1982655"/>
                  <a:pt x="4101904" y="1980085"/>
                  <a:pt x="4106754" y="1981593"/>
                </a:cubicBezTo>
                <a:close/>
                <a:moveTo>
                  <a:pt x="3763814" y="1790700"/>
                </a:moveTo>
                <a:cubicBezTo>
                  <a:pt x="3771955" y="1816525"/>
                  <a:pt x="3779929" y="1821688"/>
                  <a:pt x="3788085" y="1838860"/>
                </a:cubicBezTo>
                <a:cubicBezTo>
                  <a:pt x="3792859" y="1831865"/>
                  <a:pt x="3797649" y="1828248"/>
                  <a:pt x="3802547" y="1824973"/>
                </a:cubicBezTo>
                <a:cubicBezTo>
                  <a:pt x="3836368" y="1869660"/>
                  <a:pt x="3888032" y="1852369"/>
                  <a:pt x="3917093" y="1893674"/>
                </a:cubicBezTo>
                <a:cubicBezTo>
                  <a:pt x="3925144" y="1905670"/>
                  <a:pt x="3920276" y="1917615"/>
                  <a:pt x="3928341" y="1924547"/>
                </a:cubicBezTo>
                <a:cubicBezTo>
                  <a:pt x="3954174" y="1945183"/>
                  <a:pt x="3983279" y="1936430"/>
                  <a:pt x="3997742" y="1957220"/>
                </a:cubicBezTo>
                <a:cubicBezTo>
                  <a:pt x="3979945" y="1969013"/>
                  <a:pt x="3965468" y="1976007"/>
                  <a:pt x="3944472" y="1976007"/>
                </a:cubicBezTo>
                <a:lnTo>
                  <a:pt x="3900948" y="1976007"/>
                </a:lnTo>
                <a:cubicBezTo>
                  <a:pt x="3900948" y="1976007"/>
                  <a:pt x="3849268" y="1936430"/>
                  <a:pt x="3839702" y="1932943"/>
                </a:cubicBezTo>
                <a:cubicBezTo>
                  <a:pt x="3839702" y="1970914"/>
                  <a:pt x="3786402" y="2006779"/>
                  <a:pt x="3763814" y="1996593"/>
                </a:cubicBezTo>
                <a:cubicBezTo>
                  <a:pt x="3758917" y="2005224"/>
                  <a:pt x="3758917" y="2010287"/>
                  <a:pt x="3750853" y="2010287"/>
                </a:cubicBezTo>
                <a:cubicBezTo>
                  <a:pt x="3731525" y="2010287"/>
                  <a:pt x="3736405" y="1993167"/>
                  <a:pt x="3739634" y="1976007"/>
                </a:cubicBezTo>
                <a:cubicBezTo>
                  <a:pt x="3713847" y="1969013"/>
                  <a:pt x="3683104" y="1974360"/>
                  <a:pt x="3670295" y="1976007"/>
                </a:cubicBezTo>
                <a:cubicBezTo>
                  <a:pt x="3671918" y="1946820"/>
                  <a:pt x="3691215" y="1950226"/>
                  <a:pt x="3694505" y="1941747"/>
                </a:cubicBezTo>
                <a:cubicBezTo>
                  <a:pt x="3702554" y="1934885"/>
                  <a:pt x="3710559" y="1929570"/>
                  <a:pt x="3710559" y="1919383"/>
                </a:cubicBezTo>
                <a:lnTo>
                  <a:pt x="3710559" y="1893674"/>
                </a:lnTo>
                <a:cubicBezTo>
                  <a:pt x="3710559" y="1864448"/>
                  <a:pt x="3718639" y="1795785"/>
                  <a:pt x="3763814" y="1790700"/>
                </a:cubicBezTo>
                <a:close/>
                <a:moveTo>
                  <a:pt x="3835141" y="1778400"/>
                </a:moveTo>
                <a:cubicBezTo>
                  <a:pt x="3844515" y="1781063"/>
                  <a:pt x="3846622" y="1796455"/>
                  <a:pt x="3855046" y="1807992"/>
                </a:cubicBezTo>
                <a:cubicBezTo>
                  <a:pt x="3834062" y="1806229"/>
                  <a:pt x="3821143" y="1792609"/>
                  <a:pt x="3822842" y="1780596"/>
                </a:cubicBezTo>
                <a:cubicBezTo>
                  <a:pt x="3828085" y="1778040"/>
                  <a:pt x="3832016" y="1777513"/>
                  <a:pt x="3835141" y="1778400"/>
                </a:cubicBezTo>
                <a:close/>
                <a:moveTo>
                  <a:pt x="6665263" y="1727209"/>
                </a:moveTo>
                <a:lnTo>
                  <a:pt x="6678212" y="1727209"/>
                </a:lnTo>
                <a:cubicBezTo>
                  <a:pt x="6679751" y="1737520"/>
                  <a:pt x="6686114" y="1742618"/>
                  <a:pt x="6687850" y="1752903"/>
                </a:cubicBezTo>
                <a:cubicBezTo>
                  <a:pt x="6686114" y="1764967"/>
                  <a:pt x="6700713" y="1787281"/>
                  <a:pt x="6712037" y="1787281"/>
                </a:cubicBezTo>
                <a:cubicBezTo>
                  <a:pt x="6723211" y="1787281"/>
                  <a:pt x="6732998" y="1778755"/>
                  <a:pt x="6741034" y="1776959"/>
                </a:cubicBezTo>
                <a:cubicBezTo>
                  <a:pt x="6737850" y="1764967"/>
                  <a:pt x="6736269" y="1761521"/>
                  <a:pt x="6741034" y="1754635"/>
                </a:cubicBezTo>
                <a:cubicBezTo>
                  <a:pt x="6747466" y="1761521"/>
                  <a:pt x="6752379" y="1770197"/>
                  <a:pt x="6762017" y="1770197"/>
                </a:cubicBezTo>
                <a:lnTo>
                  <a:pt x="6800734" y="1759760"/>
                </a:lnTo>
                <a:cubicBezTo>
                  <a:pt x="6813598" y="1763178"/>
                  <a:pt x="6816911" y="1768444"/>
                  <a:pt x="6823298" y="1771722"/>
                </a:cubicBezTo>
                <a:cubicBezTo>
                  <a:pt x="6821717" y="1766736"/>
                  <a:pt x="6823298" y="1759760"/>
                  <a:pt x="6823298" y="1754635"/>
                </a:cubicBezTo>
                <a:cubicBezTo>
                  <a:pt x="6847552" y="1754635"/>
                  <a:pt x="6860372" y="1759760"/>
                  <a:pt x="6874966" y="1759760"/>
                </a:cubicBezTo>
                <a:cubicBezTo>
                  <a:pt x="6895908" y="1759760"/>
                  <a:pt x="6915286" y="1739198"/>
                  <a:pt x="6929838" y="1754635"/>
                </a:cubicBezTo>
                <a:cubicBezTo>
                  <a:pt x="6929838" y="1741000"/>
                  <a:pt x="6932979" y="1735782"/>
                  <a:pt x="6936226" y="1728932"/>
                </a:cubicBezTo>
                <a:cubicBezTo>
                  <a:pt x="6947574" y="1732350"/>
                  <a:pt x="6947574" y="1734092"/>
                  <a:pt x="6953984" y="1728932"/>
                </a:cubicBezTo>
                <a:cubicBezTo>
                  <a:pt x="6953984" y="1749541"/>
                  <a:pt x="6966890" y="1751330"/>
                  <a:pt x="6983066" y="1751330"/>
                </a:cubicBezTo>
                <a:cubicBezTo>
                  <a:pt x="6997511" y="1751330"/>
                  <a:pt x="7007298" y="1742618"/>
                  <a:pt x="7021721" y="1742618"/>
                </a:cubicBezTo>
                <a:cubicBezTo>
                  <a:pt x="7016891" y="1746157"/>
                  <a:pt x="7011975" y="1752903"/>
                  <a:pt x="7011975" y="1758177"/>
                </a:cubicBezTo>
                <a:cubicBezTo>
                  <a:pt x="7011975" y="1807860"/>
                  <a:pt x="7071729" y="1795902"/>
                  <a:pt x="7071729" y="1843766"/>
                </a:cubicBezTo>
                <a:lnTo>
                  <a:pt x="7068567" y="1847265"/>
                </a:lnTo>
                <a:cubicBezTo>
                  <a:pt x="7055717" y="1871382"/>
                  <a:pt x="7016891" y="1902192"/>
                  <a:pt x="6995930" y="1909086"/>
                </a:cubicBezTo>
                <a:cubicBezTo>
                  <a:pt x="6957166" y="1922899"/>
                  <a:pt x="6926590" y="1952045"/>
                  <a:pt x="6871633" y="1952045"/>
                </a:cubicBezTo>
                <a:cubicBezTo>
                  <a:pt x="6812059" y="1952045"/>
                  <a:pt x="6770049" y="1936597"/>
                  <a:pt x="6726547" y="1921154"/>
                </a:cubicBezTo>
                <a:cubicBezTo>
                  <a:pt x="6703959" y="1914197"/>
                  <a:pt x="6691140" y="1890131"/>
                  <a:pt x="6655560" y="1890131"/>
                </a:cubicBezTo>
                <a:cubicBezTo>
                  <a:pt x="6660457" y="1886706"/>
                  <a:pt x="6665263" y="1881636"/>
                  <a:pt x="6670029" y="1881636"/>
                </a:cubicBezTo>
                <a:cubicBezTo>
                  <a:pt x="6670029" y="1859424"/>
                  <a:pt x="6674922" y="1849014"/>
                  <a:pt x="6678212" y="1830177"/>
                </a:cubicBezTo>
                <a:cubicBezTo>
                  <a:pt x="6652423" y="1823272"/>
                  <a:pt x="6624943" y="1840521"/>
                  <a:pt x="6608725" y="1823272"/>
                </a:cubicBezTo>
                <a:cubicBezTo>
                  <a:pt x="6632999" y="1823272"/>
                  <a:pt x="6674922" y="1814776"/>
                  <a:pt x="6692633" y="1807860"/>
                </a:cubicBezTo>
                <a:cubicBezTo>
                  <a:pt x="6687850" y="1804366"/>
                  <a:pt x="6686114" y="1799308"/>
                  <a:pt x="6686114" y="1794098"/>
                </a:cubicBezTo>
                <a:cubicBezTo>
                  <a:pt x="6666822" y="1794098"/>
                  <a:pt x="6607143" y="1775213"/>
                  <a:pt x="6604003" y="1756390"/>
                </a:cubicBezTo>
                <a:cubicBezTo>
                  <a:pt x="6618381" y="1751330"/>
                  <a:pt x="6626459" y="1754635"/>
                  <a:pt x="6636267" y="1759760"/>
                </a:cubicBezTo>
                <a:lnTo>
                  <a:pt x="6636267" y="1746157"/>
                </a:lnTo>
                <a:cubicBezTo>
                  <a:pt x="6649129" y="1746157"/>
                  <a:pt x="6652423" y="1727209"/>
                  <a:pt x="6665263" y="1727209"/>
                </a:cubicBezTo>
                <a:close/>
                <a:moveTo>
                  <a:pt x="4190168" y="1600310"/>
                </a:moveTo>
                <a:cubicBezTo>
                  <a:pt x="4215155" y="1601814"/>
                  <a:pt x="4240142" y="1618979"/>
                  <a:pt x="4240142" y="1647310"/>
                </a:cubicBezTo>
                <a:cubicBezTo>
                  <a:pt x="4240142" y="1669488"/>
                  <a:pt x="4199737" y="1684984"/>
                  <a:pt x="4180410" y="1684984"/>
                </a:cubicBezTo>
                <a:cubicBezTo>
                  <a:pt x="4156234" y="1684984"/>
                  <a:pt x="4140197" y="1667702"/>
                  <a:pt x="4140197" y="1647310"/>
                </a:cubicBezTo>
                <a:cubicBezTo>
                  <a:pt x="4140197" y="1612972"/>
                  <a:pt x="4165181" y="1598807"/>
                  <a:pt x="4190168" y="1600310"/>
                </a:cubicBezTo>
                <a:close/>
                <a:moveTo>
                  <a:pt x="4275513" y="1600201"/>
                </a:moveTo>
                <a:cubicBezTo>
                  <a:pt x="4290024" y="1600201"/>
                  <a:pt x="4302883" y="1620949"/>
                  <a:pt x="4307760" y="1627644"/>
                </a:cubicBezTo>
                <a:cubicBezTo>
                  <a:pt x="4286823" y="1632913"/>
                  <a:pt x="4291526" y="1631153"/>
                  <a:pt x="4275513" y="1631153"/>
                </a:cubicBezTo>
                <a:cubicBezTo>
                  <a:pt x="4264157" y="1631153"/>
                  <a:pt x="4254496" y="1627644"/>
                  <a:pt x="4254496" y="1617491"/>
                </a:cubicBezTo>
                <a:cubicBezTo>
                  <a:pt x="4254496" y="1612254"/>
                  <a:pt x="4272173" y="1600201"/>
                  <a:pt x="4275513" y="1600201"/>
                </a:cubicBezTo>
                <a:close/>
                <a:moveTo>
                  <a:pt x="4081129" y="1511303"/>
                </a:moveTo>
                <a:cubicBezTo>
                  <a:pt x="4076366" y="1531852"/>
                  <a:pt x="4063448" y="1550730"/>
                  <a:pt x="4043969" y="1550730"/>
                </a:cubicBezTo>
                <a:cubicBezTo>
                  <a:pt x="4024730" y="1550730"/>
                  <a:pt x="4061853" y="1511303"/>
                  <a:pt x="4081129" y="1511303"/>
                </a:cubicBezTo>
                <a:close/>
                <a:moveTo>
                  <a:pt x="9920732" y="1473200"/>
                </a:moveTo>
                <a:cubicBezTo>
                  <a:pt x="9943377" y="1473200"/>
                  <a:pt x="9954677" y="1495575"/>
                  <a:pt x="9977255" y="1498905"/>
                </a:cubicBezTo>
                <a:lnTo>
                  <a:pt x="9977255" y="1521302"/>
                </a:lnTo>
                <a:cubicBezTo>
                  <a:pt x="9956275" y="1533202"/>
                  <a:pt x="9936973" y="1550345"/>
                  <a:pt x="9909589" y="1550345"/>
                </a:cubicBezTo>
                <a:cubicBezTo>
                  <a:pt x="9889978" y="1550345"/>
                  <a:pt x="9880589" y="1547015"/>
                  <a:pt x="9880589" y="1529733"/>
                </a:cubicBezTo>
                <a:cubicBezTo>
                  <a:pt x="9880589" y="1522961"/>
                  <a:pt x="9898316" y="1490401"/>
                  <a:pt x="9901569" y="1490401"/>
                </a:cubicBezTo>
                <a:cubicBezTo>
                  <a:pt x="9909589" y="1490401"/>
                  <a:pt x="9912690" y="1473200"/>
                  <a:pt x="9920732" y="1473200"/>
                </a:cubicBezTo>
                <a:close/>
                <a:moveTo>
                  <a:pt x="3192127" y="1460501"/>
                </a:moveTo>
                <a:cubicBezTo>
                  <a:pt x="3216320" y="1460501"/>
                  <a:pt x="3282502" y="1524093"/>
                  <a:pt x="3292127" y="1548137"/>
                </a:cubicBezTo>
                <a:cubicBezTo>
                  <a:pt x="3275987" y="1558416"/>
                  <a:pt x="3269515" y="1575501"/>
                  <a:pt x="3251779" y="1575501"/>
                </a:cubicBezTo>
                <a:cubicBezTo>
                  <a:pt x="3230721" y="1575501"/>
                  <a:pt x="3111497" y="1529289"/>
                  <a:pt x="3111497" y="1524093"/>
                </a:cubicBezTo>
                <a:cubicBezTo>
                  <a:pt x="3111497" y="1510404"/>
                  <a:pt x="3140491" y="1517298"/>
                  <a:pt x="3146929" y="1515622"/>
                </a:cubicBezTo>
                <a:cubicBezTo>
                  <a:pt x="3166279" y="1508582"/>
                  <a:pt x="3159781" y="1460501"/>
                  <a:pt x="3192127" y="1460501"/>
                </a:cubicBezTo>
                <a:close/>
                <a:moveTo>
                  <a:pt x="15392390" y="1409702"/>
                </a:moveTo>
                <a:lnTo>
                  <a:pt x="15445700" y="1409702"/>
                </a:lnTo>
                <a:cubicBezTo>
                  <a:pt x="15447295" y="1416538"/>
                  <a:pt x="15457022" y="1419937"/>
                  <a:pt x="15457022" y="1430312"/>
                </a:cubicBezTo>
                <a:cubicBezTo>
                  <a:pt x="15457022" y="1438804"/>
                  <a:pt x="15448911" y="1447380"/>
                  <a:pt x="15440826" y="1447380"/>
                </a:cubicBezTo>
                <a:cubicBezTo>
                  <a:pt x="15418180" y="1447380"/>
                  <a:pt x="15402028" y="1430312"/>
                  <a:pt x="15392390" y="1409702"/>
                </a:cubicBezTo>
                <a:close/>
                <a:moveTo>
                  <a:pt x="5204319" y="1409702"/>
                </a:moveTo>
                <a:cubicBezTo>
                  <a:pt x="5246275" y="1409702"/>
                  <a:pt x="5259142" y="1456093"/>
                  <a:pt x="5301097" y="1469789"/>
                </a:cubicBezTo>
                <a:cubicBezTo>
                  <a:pt x="5297859" y="1498919"/>
                  <a:pt x="5264032" y="1504126"/>
                  <a:pt x="5236654" y="1504126"/>
                </a:cubicBezTo>
                <a:lnTo>
                  <a:pt x="5201118" y="1504126"/>
                </a:lnTo>
                <a:cubicBezTo>
                  <a:pt x="5186490" y="1502355"/>
                  <a:pt x="5168894" y="1464546"/>
                  <a:pt x="5168894" y="1444022"/>
                </a:cubicBezTo>
                <a:cubicBezTo>
                  <a:pt x="5168894" y="1418247"/>
                  <a:pt x="5189751" y="1409702"/>
                  <a:pt x="5204319" y="1409702"/>
                </a:cubicBezTo>
                <a:close/>
                <a:moveTo>
                  <a:pt x="10375300" y="1397275"/>
                </a:moveTo>
                <a:cubicBezTo>
                  <a:pt x="10397098" y="1394049"/>
                  <a:pt x="10440695" y="1419787"/>
                  <a:pt x="10440695" y="1445456"/>
                </a:cubicBezTo>
                <a:cubicBezTo>
                  <a:pt x="10440695" y="1457431"/>
                  <a:pt x="10419715" y="1454197"/>
                  <a:pt x="10419715" y="1454197"/>
                </a:cubicBezTo>
                <a:cubicBezTo>
                  <a:pt x="10398663" y="1454197"/>
                  <a:pt x="10363190" y="1431838"/>
                  <a:pt x="10363190" y="1411232"/>
                </a:cubicBezTo>
                <a:cubicBezTo>
                  <a:pt x="10363190" y="1402644"/>
                  <a:pt x="10368034" y="1398350"/>
                  <a:pt x="10375300" y="1397275"/>
                </a:cubicBezTo>
                <a:close/>
                <a:moveTo>
                  <a:pt x="10312389" y="1371603"/>
                </a:moveTo>
                <a:cubicBezTo>
                  <a:pt x="10312389" y="1371603"/>
                  <a:pt x="10318860" y="1378471"/>
                  <a:pt x="10318860" y="1378471"/>
                </a:cubicBezTo>
                <a:cubicBezTo>
                  <a:pt x="10317266" y="1376700"/>
                  <a:pt x="10315283" y="1375222"/>
                  <a:pt x="10313598" y="1373561"/>
                </a:cubicBezTo>
                <a:cubicBezTo>
                  <a:pt x="10313211" y="1372967"/>
                  <a:pt x="10312801" y="1372168"/>
                  <a:pt x="10312389" y="1371603"/>
                </a:cubicBezTo>
                <a:close/>
                <a:moveTo>
                  <a:pt x="3319668" y="1282709"/>
                </a:moveTo>
                <a:cubicBezTo>
                  <a:pt x="3382751" y="1284415"/>
                  <a:pt x="3418112" y="1318692"/>
                  <a:pt x="3419810" y="1372149"/>
                </a:cubicBezTo>
                <a:cubicBezTo>
                  <a:pt x="3420375" y="1397510"/>
                  <a:pt x="3468183" y="1396146"/>
                  <a:pt x="3468183" y="1428697"/>
                </a:cubicBezTo>
                <a:cubicBezTo>
                  <a:pt x="3468183" y="1450974"/>
                  <a:pt x="3439046" y="1462972"/>
                  <a:pt x="3427730" y="1469822"/>
                </a:cubicBezTo>
                <a:cubicBezTo>
                  <a:pt x="3447250" y="1495869"/>
                  <a:pt x="3482610" y="1478393"/>
                  <a:pt x="3508354" y="1495869"/>
                </a:cubicBezTo>
                <a:cubicBezTo>
                  <a:pt x="3500432" y="1502388"/>
                  <a:pt x="3497321" y="1507529"/>
                  <a:pt x="3492229" y="1516089"/>
                </a:cubicBezTo>
                <a:cubicBezTo>
                  <a:pt x="3526175" y="1533231"/>
                  <a:pt x="3529569" y="1553793"/>
                  <a:pt x="3529569" y="1583261"/>
                </a:cubicBezTo>
                <a:cubicBezTo>
                  <a:pt x="3579358" y="1583261"/>
                  <a:pt x="3547109" y="1509238"/>
                  <a:pt x="3594068" y="1509238"/>
                </a:cubicBezTo>
                <a:cubicBezTo>
                  <a:pt x="3606797" y="1509238"/>
                  <a:pt x="3653757" y="1557557"/>
                  <a:pt x="3653757" y="1569559"/>
                </a:cubicBezTo>
                <a:cubicBezTo>
                  <a:pt x="3653757" y="1595262"/>
                  <a:pt x="3626317" y="1590124"/>
                  <a:pt x="3626317" y="1612393"/>
                </a:cubicBezTo>
                <a:cubicBezTo>
                  <a:pt x="3626317" y="1631246"/>
                  <a:pt x="3674125" y="1711097"/>
                  <a:pt x="3710617" y="1661746"/>
                </a:cubicBezTo>
                <a:cubicBezTo>
                  <a:pt x="3733813" y="1630214"/>
                  <a:pt x="3729571" y="1607252"/>
                  <a:pt x="3742302" y="1577778"/>
                </a:cubicBezTo>
                <a:cubicBezTo>
                  <a:pt x="3750220" y="1560642"/>
                  <a:pt x="3787562" y="1560642"/>
                  <a:pt x="3787562" y="1543513"/>
                </a:cubicBezTo>
                <a:cubicBezTo>
                  <a:pt x="3787562" y="1528090"/>
                  <a:pt x="3763232" y="1519862"/>
                  <a:pt x="3763232" y="1497247"/>
                </a:cubicBezTo>
                <a:cubicBezTo>
                  <a:pt x="3763232" y="1476684"/>
                  <a:pt x="3784451" y="1462972"/>
                  <a:pt x="3803685" y="1462972"/>
                </a:cubicBezTo>
                <a:cubicBezTo>
                  <a:pt x="3818113" y="1462972"/>
                  <a:pt x="3829427" y="1473254"/>
                  <a:pt x="3843855" y="1474963"/>
                </a:cubicBezTo>
                <a:cubicBezTo>
                  <a:pt x="3910052" y="1474963"/>
                  <a:pt x="3897322" y="1518145"/>
                  <a:pt x="3948808" y="1518145"/>
                </a:cubicBezTo>
                <a:cubicBezTo>
                  <a:pt x="3948808" y="1547276"/>
                  <a:pt x="3955314" y="1545222"/>
                  <a:pt x="3948808" y="1560642"/>
                </a:cubicBezTo>
                <a:cubicBezTo>
                  <a:pt x="3898171" y="1586691"/>
                  <a:pt x="3919953" y="1614105"/>
                  <a:pt x="3919953" y="1626107"/>
                </a:cubicBezTo>
                <a:cubicBezTo>
                  <a:pt x="3919953" y="1636386"/>
                  <a:pt x="3957012" y="1653518"/>
                  <a:pt x="3957012" y="1668941"/>
                </a:cubicBezTo>
                <a:cubicBezTo>
                  <a:pt x="3957012" y="1691218"/>
                  <a:pt x="3873843" y="1766956"/>
                  <a:pt x="3863374" y="1749478"/>
                </a:cubicBezTo>
                <a:cubicBezTo>
                  <a:pt x="3843574" y="1717605"/>
                  <a:pt x="3835936" y="1747770"/>
                  <a:pt x="3843855" y="1758051"/>
                </a:cubicBezTo>
                <a:cubicBezTo>
                  <a:pt x="3815001" y="1758051"/>
                  <a:pt x="3805102" y="1771755"/>
                  <a:pt x="3790671" y="1771755"/>
                </a:cubicBezTo>
                <a:cubicBezTo>
                  <a:pt x="3768041" y="1771755"/>
                  <a:pt x="3755311" y="1737491"/>
                  <a:pt x="3719670" y="1737491"/>
                </a:cubicBezTo>
                <a:cubicBezTo>
                  <a:pt x="3706938" y="1737491"/>
                  <a:pt x="3731266" y="1768678"/>
                  <a:pt x="3731266" y="1775181"/>
                </a:cubicBezTo>
                <a:cubicBezTo>
                  <a:pt x="3731266" y="1795744"/>
                  <a:pt x="3684309" y="1831729"/>
                  <a:pt x="3658566" y="1831729"/>
                </a:cubicBezTo>
                <a:cubicBezTo>
                  <a:pt x="3627733" y="1831729"/>
                  <a:pt x="3606797" y="1806371"/>
                  <a:pt x="3585866" y="1792317"/>
                </a:cubicBezTo>
                <a:lnTo>
                  <a:pt x="3556727" y="1792317"/>
                </a:lnTo>
                <a:cubicBezTo>
                  <a:pt x="3581056" y="1844067"/>
                  <a:pt x="3635936" y="1835160"/>
                  <a:pt x="3690815" y="1848865"/>
                </a:cubicBezTo>
                <a:lnTo>
                  <a:pt x="3690815" y="1874911"/>
                </a:lnTo>
                <a:cubicBezTo>
                  <a:pt x="3665073" y="1895474"/>
                  <a:pt x="3643856" y="1938313"/>
                  <a:pt x="3605384" y="1938313"/>
                </a:cubicBezTo>
                <a:lnTo>
                  <a:pt x="3569740" y="1938313"/>
                </a:lnTo>
                <a:cubicBezTo>
                  <a:pt x="3550503" y="1938313"/>
                  <a:pt x="3570872" y="1985950"/>
                  <a:pt x="3536924" y="1974984"/>
                </a:cubicBezTo>
                <a:cubicBezTo>
                  <a:pt x="3405947" y="1932144"/>
                  <a:pt x="3454889" y="1967101"/>
                  <a:pt x="3440178" y="1961960"/>
                </a:cubicBezTo>
                <a:cubicBezTo>
                  <a:pt x="3462808" y="1975669"/>
                  <a:pt x="3524478" y="1977725"/>
                  <a:pt x="3524478" y="2003429"/>
                </a:cubicBezTo>
                <a:cubicBezTo>
                  <a:pt x="3524478" y="2044897"/>
                  <a:pt x="3476102" y="2027762"/>
                  <a:pt x="3448663" y="2037700"/>
                </a:cubicBezTo>
                <a:cubicBezTo>
                  <a:pt x="3435934" y="2043184"/>
                  <a:pt x="3408494" y="2110013"/>
                  <a:pt x="3395482" y="2123379"/>
                </a:cubicBezTo>
                <a:cubicBezTo>
                  <a:pt x="3358423" y="2163134"/>
                  <a:pt x="3339186" y="2204260"/>
                  <a:pt x="3339186" y="2272803"/>
                </a:cubicBezTo>
                <a:cubicBezTo>
                  <a:pt x="3339186" y="2322497"/>
                  <a:pt x="3345694" y="2329351"/>
                  <a:pt x="3339186" y="2350257"/>
                </a:cubicBezTo>
                <a:cubicBezTo>
                  <a:pt x="3355311" y="2346829"/>
                  <a:pt x="3363231" y="2333121"/>
                  <a:pt x="3379357" y="2333121"/>
                </a:cubicBezTo>
                <a:cubicBezTo>
                  <a:pt x="3415001" y="2333121"/>
                  <a:pt x="3440741" y="2429081"/>
                  <a:pt x="3440741" y="2470207"/>
                </a:cubicBezTo>
                <a:cubicBezTo>
                  <a:pt x="3465072" y="2470207"/>
                  <a:pt x="3476102" y="2444503"/>
                  <a:pt x="3500432" y="2444503"/>
                </a:cubicBezTo>
                <a:cubicBezTo>
                  <a:pt x="3523064" y="2444503"/>
                  <a:pt x="3560121" y="2473634"/>
                  <a:pt x="3572851" y="2478775"/>
                </a:cubicBezTo>
                <a:cubicBezTo>
                  <a:pt x="3643856" y="2507905"/>
                  <a:pt x="3711748" y="2535323"/>
                  <a:pt x="3771437" y="2581932"/>
                </a:cubicBezTo>
                <a:lnTo>
                  <a:pt x="3876388" y="2581932"/>
                </a:lnTo>
                <a:cubicBezTo>
                  <a:pt x="3921367" y="2612433"/>
                  <a:pt x="3911749" y="2655615"/>
                  <a:pt x="3911749" y="2710450"/>
                </a:cubicBezTo>
                <a:cubicBezTo>
                  <a:pt x="3911749" y="2760143"/>
                  <a:pt x="3968608" y="2813607"/>
                  <a:pt x="4008496" y="2847536"/>
                </a:cubicBezTo>
                <a:cubicBezTo>
                  <a:pt x="4023488" y="2860559"/>
                  <a:pt x="4037634" y="2826973"/>
                  <a:pt x="4056869" y="2826973"/>
                </a:cubicBezTo>
                <a:cubicBezTo>
                  <a:pt x="4058567" y="2808124"/>
                  <a:pt x="4079501" y="2796128"/>
                  <a:pt x="4086006" y="2785847"/>
                </a:cubicBezTo>
                <a:cubicBezTo>
                  <a:pt x="4063375" y="2756716"/>
                  <a:pt x="4085441" y="2663498"/>
                  <a:pt x="4029430" y="2633339"/>
                </a:cubicBezTo>
                <a:cubicBezTo>
                  <a:pt x="4061680" y="2626142"/>
                  <a:pt x="4158426" y="2549031"/>
                  <a:pt x="4158426" y="2518187"/>
                </a:cubicBezTo>
                <a:cubicBezTo>
                  <a:pt x="4158426" y="2405091"/>
                  <a:pt x="4102418" y="2382815"/>
                  <a:pt x="4065357" y="2315985"/>
                </a:cubicBezTo>
                <a:cubicBezTo>
                  <a:pt x="4086288" y="2307075"/>
                  <a:pt x="4132119" y="2294394"/>
                  <a:pt x="4126460" y="2243672"/>
                </a:cubicBezTo>
                <a:cubicBezTo>
                  <a:pt x="4123348" y="2217968"/>
                  <a:pt x="4073559" y="2180270"/>
                  <a:pt x="4093928" y="2166561"/>
                </a:cubicBezTo>
                <a:cubicBezTo>
                  <a:pt x="4145979" y="2131604"/>
                  <a:pt x="4089119" y="2106586"/>
                  <a:pt x="4089119" y="2089108"/>
                </a:cubicBezTo>
                <a:cubicBezTo>
                  <a:pt x="4089119" y="2058606"/>
                  <a:pt x="4113448" y="2046268"/>
                  <a:pt x="4137493" y="2046268"/>
                </a:cubicBezTo>
                <a:cubicBezTo>
                  <a:pt x="4182754" y="2046268"/>
                  <a:pt x="4211609" y="2075399"/>
                  <a:pt x="4258564" y="2075399"/>
                </a:cubicBezTo>
                <a:cubicBezTo>
                  <a:pt x="4282610" y="2075399"/>
                  <a:pt x="4282610" y="2058606"/>
                  <a:pt x="4303543" y="2058606"/>
                </a:cubicBezTo>
                <a:cubicBezTo>
                  <a:pt x="4348807" y="2058606"/>
                  <a:pt x="4358425" y="2116867"/>
                  <a:pt x="4403688" y="2123379"/>
                </a:cubicBezTo>
                <a:cubicBezTo>
                  <a:pt x="4403688" y="2187124"/>
                  <a:pt x="4490817" y="2152853"/>
                  <a:pt x="4497324" y="2200833"/>
                </a:cubicBezTo>
                <a:cubicBezTo>
                  <a:pt x="4502133" y="2236818"/>
                  <a:pt x="4513447" y="2321126"/>
                  <a:pt x="4540888" y="2321126"/>
                </a:cubicBezTo>
                <a:cubicBezTo>
                  <a:pt x="4560124" y="2321126"/>
                  <a:pt x="4565216" y="2358482"/>
                  <a:pt x="4594072" y="2358482"/>
                </a:cubicBezTo>
                <a:cubicBezTo>
                  <a:pt x="4634524" y="2358482"/>
                  <a:pt x="4686007" y="2295080"/>
                  <a:pt x="4686007" y="2269376"/>
                </a:cubicBezTo>
                <a:cubicBezTo>
                  <a:pt x="4686007" y="2245386"/>
                  <a:pt x="4711751" y="2229963"/>
                  <a:pt x="4723067" y="2221395"/>
                </a:cubicBezTo>
                <a:cubicBezTo>
                  <a:pt x="4729571" y="2228250"/>
                  <a:pt x="4745696" y="2243672"/>
                  <a:pt x="4750505" y="2243672"/>
                </a:cubicBezTo>
                <a:cubicBezTo>
                  <a:pt x="4755314" y="2289939"/>
                  <a:pt x="4823772" y="2299192"/>
                  <a:pt x="4807082" y="2337919"/>
                </a:cubicBezTo>
                <a:cubicBezTo>
                  <a:pt x="4793221" y="2369449"/>
                  <a:pt x="4845556" y="2405091"/>
                  <a:pt x="4860266" y="2410232"/>
                </a:cubicBezTo>
                <a:cubicBezTo>
                  <a:pt x="4857153" y="2427367"/>
                  <a:pt x="4871582" y="2441076"/>
                  <a:pt x="4871582" y="2458212"/>
                </a:cubicBezTo>
                <a:cubicBezTo>
                  <a:pt x="4871582" y="2478775"/>
                  <a:pt x="4855456" y="2483915"/>
                  <a:pt x="4847251" y="2489056"/>
                </a:cubicBezTo>
                <a:cubicBezTo>
                  <a:pt x="4868187" y="2506192"/>
                  <a:pt x="4889402" y="2530182"/>
                  <a:pt x="4924762" y="2530182"/>
                </a:cubicBezTo>
                <a:lnTo>
                  <a:pt x="4924762" y="2535323"/>
                </a:lnTo>
                <a:cubicBezTo>
                  <a:pt x="4924762" y="2593584"/>
                  <a:pt x="5007085" y="2612433"/>
                  <a:pt x="5045840" y="2607293"/>
                </a:cubicBezTo>
                <a:cubicBezTo>
                  <a:pt x="5047255" y="2615861"/>
                  <a:pt x="5061115" y="2618260"/>
                  <a:pt x="5059419" y="2626827"/>
                </a:cubicBezTo>
                <a:cubicBezTo>
                  <a:pt x="5049799" y="2659728"/>
                  <a:pt x="4960124" y="2672751"/>
                  <a:pt x="4927875" y="2691600"/>
                </a:cubicBezTo>
                <a:cubicBezTo>
                  <a:pt x="4929573" y="2695028"/>
                  <a:pt x="4939190" y="2698455"/>
                  <a:pt x="4944283" y="2698455"/>
                </a:cubicBezTo>
                <a:cubicBezTo>
                  <a:pt x="4982755" y="2698455"/>
                  <a:pt x="5060265" y="2668981"/>
                  <a:pt x="5097326" y="2646705"/>
                </a:cubicBezTo>
                <a:lnTo>
                  <a:pt x="5097326" y="2667610"/>
                </a:lnTo>
                <a:cubicBezTo>
                  <a:pt x="5115997" y="2676521"/>
                  <a:pt x="5097326" y="2693314"/>
                  <a:pt x="5110336" y="2693314"/>
                </a:cubicBezTo>
                <a:cubicBezTo>
                  <a:pt x="5124765" y="2719018"/>
                  <a:pt x="5137776" y="2736153"/>
                  <a:pt x="5137776" y="2775566"/>
                </a:cubicBezTo>
                <a:cubicBezTo>
                  <a:pt x="5137776" y="2830400"/>
                  <a:pt x="5007648" y="2837940"/>
                  <a:pt x="4984454" y="2869812"/>
                </a:cubicBezTo>
                <a:cubicBezTo>
                  <a:pt x="4936644" y="2935613"/>
                  <a:pt x="4892514" y="2907853"/>
                  <a:pt x="4811891" y="2907853"/>
                </a:cubicBezTo>
                <a:cubicBezTo>
                  <a:pt x="4750505" y="2907853"/>
                  <a:pt x="4715146" y="2895516"/>
                  <a:pt x="4653758" y="2916079"/>
                </a:cubicBezTo>
                <a:cubicBezTo>
                  <a:pt x="4619814" y="2928416"/>
                  <a:pt x="4635937" y="2943839"/>
                  <a:pt x="4613590" y="2967486"/>
                </a:cubicBezTo>
                <a:cubicBezTo>
                  <a:pt x="4577945" y="3005184"/>
                  <a:pt x="4544001" y="2990105"/>
                  <a:pt x="4523066" y="3036372"/>
                </a:cubicBezTo>
                <a:cubicBezTo>
                  <a:pt x="4571440" y="3029517"/>
                  <a:pt x="4603691" y="2976396"/>
                  <a:pt x="4674694" y="2976396"/>
                </a:cubicBezTo>
                <a:cubicBezTo>
                  <a:pt x="4708639" y="2976396"/>
                  <a:pt x="4758708" y="2969542"/>
                  <a:pt x="4758708" y="3002100"/>
                </a:cubicBezTo>
                <a:cubicBezTo>
                  <a:pt x="4758708" y="3036372"/>
                  <a:pt x="4700437" y="3044939"/>
                  <a:pt x="4690819" y="3058648"/>
                </a:cubicBezTo>
                <a:cubicBezTo>
                  <a:pt x="4705243" y="3058648"/>
                  <a:pt x="4723067" y="3063789"/>
                  <a:pt x="4731269" y="3063789"/>
                </a:cubicBezTo>
                <a:cubicBezTo>
                  <a:pt x="4727875" y="3080924"/>
                  <a:pt x="4715146" y="3094633"/>
                  <a:pt x="4715146" y="3104914"/>
                </a:cubicBezTo>
                <a:cubicBezTo>
                  <a:pt x="4715146" y="3147754"/>
                  <a:pt x="4789260" y="3196077"/>
                  <a:pt x="4835937" y="3196077"/>
                </a:cubicBezTo>
                <a:cubicBezTo>
                  <a:pt x="4845556" y="3196077"/>
                  <a:pt x="4887706" y="3197790"/>
                  <a:pt x="4887706" y="3216297"/>
                </a:cubicBezTo>
                <a:cubicBezTo>
                  <a:pt x="4887706" y="3230348"/>
                  <a:pt x="4777379" y="3275244"/>
                  <a:pt x="4769176" y="3276957"/>
                </a:cubicBezTo>
                <a:cubicBezTo>
                  <a:pt x="4736926" y="3287239"/>
                  <a:pt x="4706942" y="3333162"/>
                  <a:pt x="4693930" y="3333162"/>
                </a:cubicBezTo>
                <a:cubicBezTo>
                  <a:pt x="4684594" y="3333162"/>
                  <a:pt x="4661965" y="3305745"/>
                  <a:pt x="4661965" y="3290323"/>
                </a:cubicBezTo>
                <a:cubicBezTo>
                  <a:pt x="4661965" y="3252625"/>
                  <a:pt x="4719953" y="3225207"/>
                  <a:pt x="4757012" y="3221780"/>
                </a:cubicBezTo>
                <a:cubicBezTo>
                  <a:pt x="4731269" y="3221780"/>
                  <a:pt x="4732967" y="3220067"/>
                  <a:pt x="4732967" y="3196077"/>
                </a:cubicBezTo>
                <a:cubicBezTo>
                  <a:pt x="4708639" y="3197790"/>
                  <a:pt x="4708639" y="3220067"/>
                  <a:pt x="4693930" y="3230348"/>
                </a:cubicBezTo>
                <a:cubicBezTo>
                  <a:pt x="4679503" y="3240287"/>
                  <a:pt x="4639335" y="3233432"/>
                  <a:pt x="4629432" y="3233432"/>
                </a:cubicBezTo>
                <a:cubicBezTo>
                  <a:pt x="4624906" y="3233432"/>
                  <a:pt x="4616701" y="3235489"/>
                  <a:pt x="4613590" y="3233432"/>
                </a:cubicBezTo>
                <a:lnTo>
                  <a:pt x="4613590" y="3238916"/>
                </a:lnTo>
                <a:lnTo>
                  <a:pt x="4614156" y="3242686"/>
                </a:lnTo>
                <a:cubicBezTo>
                  <a:pt x="4616420" y="3247484"/>
                  <a:pt x="4618401" y="3251939"/>
                  <a:pt x="4621511" y="3255709"/>
                </a:cubicBezTo>
                <a:cubicBezTo>
                  <a:pt x="4610194" y="3274901"/>
                  <a:pt x="4592375" y="3285182"/>
                  <a:pt x="4569741" y="3285182"/>
                </a:cubicBezTo>
                <a:cubicBezTo>
                  <a:pt x="4550505" y="3285182"/>
                  <a:pt x="4548810" y="3276615"/>
                  <a:pt x="4532685" y="3285182"/>
                </a:cubicBezTo>
                <a:cubicBezTo>
                  <a:pt x="4506942" y="3312600"/>
                  <a:pt x="4452062" y="3331792"/>
                  <a:pt x="4452062" y="3396565"/>
                </a:cubicBezTo>
                <a:cubicBezTo>
                  <a:pt x="4452062" y="3401705"/>
                  <a:pt x="4453759" y="3410273"/>
                  <a:pt x="4458568" y="3411987"/>
                </a:cubicBezTo>
                <a:cubicBezTo>
                  <a:pt x="4458568" y="3420555"/>
                  <a:pt x="4465074" y="3442831"/>
                  <a:pt x="4474692" y="3442831"/>
                </a:cubicBezTo>
                <a:cubicBezTo>
                  <a:pt x="4478088" y="3442831"/>
                  <a:pt x="4492515" y="3431179"/>
                  <a:pt x="4492515" y="3431179"/>
                </a:cubicBezTo>
                <a:lnTo>
                  <a:pt x="4492515" y="3442831"/>
                </a:lnTo>
                <a:cubicBezTo>
                  <a:pt x="4472996" y="3448315"/>
                  <a:pt x="4445555" y="3454826"/>
                  <a:pt x="4439332" y="3448315"/>
                </a:cubicBezTo>
                <a:cubicBezTo>
                  <a:pt x="4406798" y="3474018"/>
                  <a:pt x="4352201" y="3463737"/>
                  <a:pt x="4319670" y="3486013"/>
                </a:cubicBezTo>
                <a:lnTo>
                  <a:pt x="4335793" y="3486013"/>
                </a:lnTo>
                <a:cubicBezTo>
                  <a:pt x="4350503" y="3486013"/>
                  <a:pt x="4364930" y="3477103"/>
                  <a:pt x="4376246" y="3486013"/>
                </a:cubicBezTo>
                <a:cubicBezTo>
                  <a:pt x="4353899" y="3494581"/>
                  <a:pt x="4337491" y="3494581"/>
                  <a:pt x="4315144" y="3494581"/>
                </a:cubicBezTo>
                <a:cubicBezTo>
                  <a:pt x="4310334" y="3494581"/>
                  <a:pt x="4305242" y="3492525"/>
                  <a:pt x="4300435" y="3492525"/>
                </a:cubicBezTo>
                <a:cubicBezTo>
                  <a:pt x="4295625" y="3494581"/>
                  <a:pt x="4290814" y="3499722"/>
                  <a:pt x="4290814" y="3504520"/>
                </a:cubicBezTo>
                <a:cubicBezTo>
                  <a:pt x="4290814" y="3513430"/>
                  <a:pt x="4305242" y="3525425"/>
                  <a:pt x="4305242" y="3525425"/>
                </a:cubicBezTo>
                <a:cubicBezTo>
                  <a:pt x="4302130" y="3539134"/>
                  <a:pt x="4271579" y="3599109"/>
                  <a:pt x="4260263" y="3599109"/>
                </a:cubicBezTo>
                <a:cubicBezTo>
                  <a:pt x="4255453" y="3599109"/>
                  <a:pt x="4252059" y="3588828"/>
                  <a:pt x="4248947" y="3585400"/>
                </a:cubicBezTo>
                <a:lnTo>
                  <a:pt x="4240743" y="3593968"/>
                </a:lnTo>
                <a:cubicBezTo>
                  <a:pt x="4244141" y="3607677"/>
                  <a:pt x="4255453" y="3612818"/>
                  <a:pt x="4255453" y="3626526"/>
                </a:cubicBezTo>
                <a:cubicBezTo>
                  <a:pt x="4255453" y="3636808"/>
                  <a:pt x="4222922" y="3697125"/>
                  <a:pt x="4218115" y="3697125"/>
                </a:cubicBezTo>
                <a:cubicBezTo>
                  <a:pt x="4215003" y="3697125"/>
                  <a:pt x="4211609" y="3690271"/>
                  <a:pt x="4211609" y="3686501"/>
                </a:cubicBezTo>
                <a:lnTo>
                  <a:pt x="4211609" y="3667995"/>
                </a:lnTo>
                <a:cubicBezTo>
                  <a:pt x="4211609" y="3656000"/>
                  <a:pt x="4197182" y="3628240"/>
                  <a:pt x="4193788" y="3611104"/>
                </a:cubicBezTo>
                <a:cubicBezTo>
                  <a:pt x="4190676" y="3619672"/>
                  <a:pt x="4192371" y="3633381"/>
                  <a:pt x="4192371" y="3633381"/>
                </a:cubicBezTo>
                <a:cubicBezTo>
                  <a:pt x="4192371" y="3645376"/>
                  <a:pt x="4200575" y="3676220"/>
                  <a:pt x="4200575" y="3693698"/>
                </a:cubicBezTo>
                <a:cubicBezTo>
                  <a:pt x="4200575" y="3710491"/>
                  <a:pt x="4190676" y="3709120"/>
                  <a:pt x="4200575" y="3719059"/>
                </a:cubicBezTo>
                <a:lnTo>
                  <a:pt x="4211609" y="3719059"/>
                </a:lnTo>
                <a:lnTo>
                  <a:pt x="4211609" y="3736538"/>
                </a:lnTo>
                <a:cubicBezTo>
                  <a:pt x="4211609" y="3750246"/>
                  <a:pt x="4198595" y="3757443"/>
                  <a:pt x="4190390" y="3757443"/>
                </a:cubicBezTo>
                <a:cubicBezTo>
                  <a:pt x="4196900" y="3769438"/>
                  <a:pt x="4204536" y="3770809"/>
                  <a:pt x="4212455" y="3772180"/>
                </a:cubicBezTo>
                <a:cubicBezTo>
                  <a:pt x="4209343" y="3791029"/>
                  <a:pt x="4201988" y="3789658"/>
                  <a:pt x="4187564" y="3789658"/>
                </a:cubicBezTo>
                <a:lnTo>
                  <a:pt x="4187564" y="3803367"/>
                </a:lnTo>
                <a:lnTo>
                  <a:pt x="4206517" y="3815362"/>
                </a:lnTo>
                <a:cubicBezTo>
                  <a:pt x="4201706" y="3822216"/>
                  <a:pt x="4196332" y="3832155"/>
                  <a:pt x="4187564" y="3834211"/>
                </a:cubicBezTo>
                <a:cubicBezTo>
                  <a:pt x="4168611" y="3837981"/>
                  <a:pt x="4160125" y="3851347"/>
                  <a:pt x="4147392" y="3854774"/>
                </a:cubicBezTo>
                <a:cubicBezTo>
                  <a:pt x="4127876" y="3861629"/>
                  <a:pt x="4129571" y="3866769"/>
                  <a:pt x="4119953" y="3877051"/>
                </a:cubicBezTo>
                <a:lnTo>
                  <a:pt x="4124196" y="3880478"/>
                </a:lnTo>
                <a:cubicBezTo>
                  <a:pt x="4048665" y="3925716"/>
                  <a:pt x="3951920" y="3958274"/>
                  <a:pt x="3951920" y="4083022"/>
                </a:cubicBezTo>
                <a:cubicBezTo>
                  <a:pt x="3951920" y="4139570"/>
                  <a:pt x="3997180" y="4156706"/>
                  <a:pt x="3997180" y="4211540"/>
                </a:cubicBezTo>
                <a:lnTo>
                  <a:pt x="3997180" y="4220108"/>
                </a:lnTo>
                <a:cubicBezTo>
                  <a:pt x="4001989" y="4240671"/>
                  <a:pt x="4016418" y="4257807"/>
                  <a:pt x="4016418" y="4288994"/>
                </a:cubicBezTo>
                <a:cubicBezTo>
                  <a:pt x="4016418" y="4324979"/>
                  <a:pt x="4008496" y="4357537"/>
                  <a:pt x="3981058" y="4357537"/>
                </a:cubicBezTo>
                <a:cubicBezTo>
                  <a:pt x="3957012" y="4357537"/>
                  <a:pt x="3958425" y="4330120"/>
                  <a:pt x="3948808" y="4314697"/>
                </a:cubicBezTo>
                <a:cubicBezTo>
                  <a:pt x="3929570" y="4287280"/>
                  <a:pt x="3913162" y="4278712"/>
                  <a:pt x="3900433" y="4251295"/>
                </a:cubicBezTo>
                <a:cubicBezTo>
                  <a:pt x="3874691" y="4196118"/>
                  <a:pt x="3893927" y="4091590"/>
                  <a:pt x="3822923" y="4091590"/>
                </a:cubicBezTo>
                <a:cubicBezTo>
                  <a:pt x="3808497" y="4091590"/>
                  <a:pt x="3801989" y="4113867"/>
                  <a:pt x="3787562" y="4113867"/>
                </a:cubicBezTo>
                <a:cubicBezTo>
                  <a:pt x="3758425" y="4113867"/>
                  <a:pt x="3740884" y="4074454"/>
                  <a:pt x="3702130" y="4074454"/>
                </a:cubicBezTo>
                <a:cubicBezTo>
                  <a:pt x="3679500" y="4074454"/>
                  <a:pt x="3674690" y="4088163"/>
                  <a:pt x="3661677" y="4088163"/>
                </a:cubicBezTo>
                <a:cubicBezTo>
                  <a:pt x="3656868" y="4088163"/>
                  <a:pt x="3650363" y="4079595"/>
                  <a:pt x="3650363" y="4074454"/>
                </a:cubicBezTo>
                <a:cubicBezTo>
                  <a:pt x="3624621" y="4081309"/>
                  <a:pt x="3590674" y="4077882"/>
                  <a:pt x="3563234" y="4088163"/>
                </a:cubicBezTo>
                <a:cubicBezTo>
                  <a:pt x="3579358" y="4093304"/>
                  <a:pt x="3576247" y="4093304"/>
                  <a:pt x="3585866" y="4088163"/>
                </a:cubicBezTo>
                <a:cubicBezTo>
                  <a:pt x="3584166" y="4113867"/>
                  <a:pt x="3569740" y="4129289"/>
                  <a:pt x="3589260" y="4142997"/>
                </a:cubicBezTo>
                <a:cubicBezTo>
                  <a:pt x="3543997" y="4166987"/>
                  <a:pt x="3505242" y="4108726"/>
                  <a:pt x="3472992" y="4108726"/>
                </a:cubicBezTo>
                <a:cubicBezTo>
                  <a:pt x="3463373" y="4108726"/>
                  <a:pt x="3458565" y="4122434"/>
                  <a:pt x="3448663" y="4122434"/>
                </a:cubicBezTo>
                <a:cubicBezTo>
                  <a:pt x="3431125" y="4122434"/>
                  <a:pt x="3421506" y="4105299"/>
                  <a:pt x="3403685" y="4105299"/>
                </a:cubicBezTo>
                <a:cubicBezTo>
                  <a:pt x="3356726" y="4105299"/>
                  <a:pt x="3334378" y="4148138"/>
                  <a:pt x="3314859" y="4168701"/>
                </a:cubicBezTo>
                <a:cubicBezTo>
                  <a:pt x="3301844" y="4182410"/>
                  <a:pt x="3287420" y="4170415"/>
                  <a:pt x="3271294" y="4177269"/>
                </a:cubicBezTo>
                <a:cubicBezTo>
                  <a:pt x="3235934" y="4190977"/>
                  <a:pt x="3215000" y="4237244"/>
                  <a:pt x="3215000" y="4288994"/>
                </a:cubicBezTo>
                <a:cubicBezTo>
                  <a:pt x="3215000" y="4294135"/>
                  <a:pt x="3222919" y="4300989"/>
                  <a:pt x="3222919" y="4305787"/>
                </a:cubicBezTo>
                <a:cubicBezTo>
                  <a:pt x="3221787" y="4305787"/>
                  <a:pt x="3220092" y="4305444"/>
                  <a:pt x="3218676" y="4305444"/>
                </a:cubicBezTo>
                <a:lnTo>
                  <a:pt x="3219806" y="4309557"/>
                </a:lnTo>
                <a:cubicBezTo>
                  <a:pt x="3222919" y="4319838"/>
                  <a:pt x="3226031" y="4326692"/>
                  <a:pt x="3226031" y="4336974"/>
                </a:cubicBezTo>
                <a:cubicBezTo>
                  <a:pt x="3226031" y="4367818"/>
                  <a:pt x="3215000" y="4379813"/>
                  <a:pt x="3210190" y="4405517"/>
                </a:cubicBezTo>
                <a:lnTo>
                  <a:pt x="3210190" y="4501477"/>
                </a:lnTo>
                <a:cubicBezTo>
                  <a:pt x="3206796" y="4515186"/>
                  <a:pt x="3219806" y="4529237"/>
                  <a:pt x="3222919" y="4536091"/>
                </a:cubicBezTo>
                <a:cubicBezTo>
                  <a:pt x="3229427" y="4551513"/>
                  <a:pt x="3221224" y="4561795"/>
                  <a:pt x="3227729" y="4576874"/>
                </a:cubicBezTo>
                <a:cubicBezTo>
                  <a:pt x="3234235" y="4590926"/>
                  <a:pt x="3255169" y="4614573"/>
                  <a:pt x="3266485" y="4626911"/>
                </a:cubicBezTo>
                <a:cubicBezTo>
                  <a:pt x="3295623" y="4657755"/>
                  <a:pt x="3295623" y="4686886"/>
                  <a:pt x="3337491" y="4700594"/>
                </a:cubicBezTo>
                <a:cubicBezTo>
                  <a:pt x="3351916" y="4705735"/>
                  <a:pt x="3351916" y="4721157"/>
                  <a:pt x="3364931" y="4721157"/>
                </a:cubicBezTo>
                <a:cubicBezTo>
                  <a:pt x="3395482" y="4721157"/>
                  <a:pt x="3421506" y="4696824"/>
                  <a:pt x="3453473" y="4696824"/>
                </a:cubicBezTo>
                <a:cubicBezTo>
                  <a:pt x="3471295" y="4696824"/>
                  <a:pt x="3477801" y="4707449"/>
                  <a:pt x="3484308" y="4707449"/>
                </a:cubicBezTo>
                <a:cubicBezTo>
                  <a:pt x="3497038" y="4707449"/>
                  <a:pt x="3505242" y="4686886"/>
                  <a:pt x="3506939" y="4680031"/>
                </a:cubicBezTo>
                <a:cubicBezTo>
                  <a:pt x="3513162" y="4659468"/>
                  <a:pt x="3540885" y="4637192"/>
                  <a:pt x="3540885" y="4611146"/>
                </a:cubicBezTo>
                <a:cubicBezTo>
                  <a:pt x="3540885" y="4561795"/>
                  <a:pt x="3594068" y="4544316"/>
                  <a:pt x="3637632" y="4544316"/>
                </a:cubicBezTo>
                <a:cubicBezTo>
                  <a:pt x="3652060" y="4544316"/>
                  <a:pt x="3663376" y="4546373"/>
                  <a:pt x="3669882" y="4549800"/>
                </a:cubicBezTo>
                <a:cubicBezTo>
                  <a:pt x="3676105" y="4551513"/>
                  <a:pt x="3697322" y="4552884"/>
                  <a:pt x="3706938" y="4552884"/>
                </a:cubicBezTo>
                <a:lnTo>
                  <a:pt x="3706938" y="4568649"/>
                </a:lnTo>
                <a:cubicBezTo>
                  <a:pt x="3706938" y="4592639"/>
                  <a:pt x="3679500" y="4623483"/>
                  <a:pt x="3679500" y="4656041"/>
                </a:cubicBezTo>
                <a:cubicBezTo>
                  <a:pt x="3679500" y="4683459"/>
                  <a:pt x="3669882" y="4695454"/>
                  <a:pt x="3659981" y="4712589"/>
                </a:cubicBezTo>
                <a:lnTo>
                  <a:pt x="3659981" y="4700594"/>
                </a:lnTo>
                <a:lnTo>
                  <a:pt x="3647251" y="4700594"/>
                </a:lnTo>
                <a:lnTo>
                  <a:pt x="3647251" y="4783189"/>
                </a:lnTo>
                <a:cubicBezTo>
                  <a:pt x="3647251" y="4799982"/>
                  <a:pt x="3628015" y="4807179"/>
                  <a:pt x="3618114" y="4817117"/>
                </a:cubicBezTo>
                <a:lnTo>
                  <a:pt x="3618114" y="4826028"/>
                </a:lnTo>
                <a:cubicBezTo>
                  <a:pt x="3618114" y="4838023"/>
                  <a:pt x="3628015" y="4844534"/>
                  <a:pt x="3637632" y="4844534"/>
                </a:cubicBezTo>
                <a:cubicBezTo>
                  <a:pt x="3690531" y="4844534"/>
                  <a:pt x="3734380" y="4834253"/>
                  <a:pt x="3790671" y="4834253"/>
                </a:cubicBezTo>
                <a:cubicBezTo>
                  <a:pt x="3829427" y="4834253"/>
                  <a:pt x="3839329" y="4863726"/>
                  <a:pt x="3868184" y="4870581"/>
                </a:cubicBezTo>
                <a:lnTo>
                  <a:pt x="3868184" y="4896284"/>
                </a:lnTo>
                <a:cubicBezTo>
                  <a:pt x="3868184" y="4911707"/>
                  <a:pt x="3866487" y="4954546"/>
                  <a:pt x="3856868" y="4971682"/>
                </a:cubicBezTo>
                <a:lnTo>
                  <a:pt x="3856868" y="5076210"/>
                </a:lnTo>
                <a:cubicBezTo>
                  <a:pt x="3856868" y="5114251"/>
                  <a:pt x="3890816" y="5129673"/>
                  <a:pt x="3916557" y="5143382"/>
                </a:cubicBezTo>
                <a:cubicBezTo>
                  <a:pt x="3934097" y="5151950"/>
                  <a:pt x="3934097" y="5184507"/>
                  <a:pt x="3961820" y="5184507"/>
                </a:cubicBezTo>
                <a:cubicBezTo>
                  <a:pt x="4003689" y="5184507"/>
                  <a:pt x="4024620" y="5150236"/>
                  <a:pt x="4063375" y="5150236"/>
                </a:cubicBezTo>
                <a:cubicBezTo>
                  <a:pt x="4108355" y="5150236"/>
                  <a:pt x="4128439" y="5184507"/>
                  <a:pt x="4154184" y="5205070"/>
                </a:cubicBezTo>
                <a:cubicBezTo>
                  <a:pt x="4153334" y="5206441"/>
                  <a:pt x="4149091" y="5211925"/>
                  <a:pt x="4143435" y="5218436"/>
                </a:cubicBezTo>
                <a:cubicBezTo>
                  <a:pt x="4148524" y="5214324"/>
                  <a:pt x="4153052" y="5210554"/>
                  <a:pt x="4155315" y="5206784"/>
                </a:cubicBezTo>
                <a:cubicBezTo>
                  <a:pt x="4168326" y="5210211"/>
                  <a:pt x="4163519" y="5210211"/>
                  <a:pt x="4174549" y="5206784"/>
                </a:cubicBezTo>
                <a:lnTo>
                  <a:pt x="4174549" y="5196502"/>
                </a:lnTo>
                <a:cubicBezTo>
                  <a:pt x="4174549" y="5193075"/>
                  <a:pt x="4181055" y="5187935"/>
                  <a:pt x="4184452" y="5187935"/>
                </a:cubicBezTo>
                <a:cubicBezTo>
                  <a:pt x="4184452" y="5170799"/>
                  <a:pt x="4200575" y="5165658"/>
                  <a:pt x="4210192" y="5158804"/>
                </a:cubicBezTo>
                <a:cubicBezTo>
                  <a:pt x="4219810" y="5151950"/>
                  <a:pt x="4221509" y="5129673"/>
                  <a:pt x="4224620" y="5115965"/>
                </a:cubicBezTo>
                <a:cubicBezTo>
                  <a:pt x="4232825" y="5088205"/>
                  <a:pt x="4247252" y="5083407"/>
                  <a:pt x="4268186" y="5076210"/>
                </a:cubicBezTo>
                <a:cubicBezTo>
                  <a:pt x="4306941" y="5062844"/>
                  <a:pt x="4332681" y="5055647"/>
                  <a:pt x="4373135" y="5041938"/>
                </a:cubicBezTo>
                <a:cubicBezTo>
                  <a:pt x="4394068" y="5035084"/>
                  <a:pt x="4398878" y="5009723"/>
                  <a:pt x="4419812" y="5009723"/>
                </a:cubicBezTo>
                <a:cubicBezTo>
                  <a:pt x="4428016" y="5009723"/>
                  <a:pt x="4434522" y="5028572"/>
                  <a:pt x="4434522" y="5030286"/>
                </a:cubicBezTo>
                <a:cubicBezTo>
                  <a:pt x="4434522" y="5043652"/>
                  <a:pt x="4424622" y="5050849"/>
                  <a:pt x="4418399" y="5050849"/>
                </a:cubicBezTo>
                <a:cubicBezTo>
                  <a:pt x="4413588" y="5076210"/>
                  <a:pt x="4403688" y="5105340"/>
                  <a:pt x="4403688" y="5120763"/>
                </a:cubicBezTo>
                <a:cubicBezTo>
                  <a:pt x="4403688" y="5139955"/>
                  <a:pt x="4412739" y="5172855"/>
                  <a:pt x="4430278" y="5172855"/>
                </a:cubicBezTo>
                <a:cubicBezTo>
                  <a:pt x="4436785" y="5172855"/>
                  <a:pt x="4445838" y="5151950"/>
                  <a:pt x="4445838" y="5145095"/>
                </a:cubicBezTo>
                <a:cubicBezTo>
                  <a:pt x="4445838" y="5124532"/>
                  <a:pt x="4426319" y="5112537"/>
                  <a:pt x="4426319" y="5091632"/>
                </a:cubicBezTo>
                <a:cubicBezTo>
                  <a:pt x="4426319" y="5066271"/>
                  <a:pt x="4452062" y="5069698"/>
                  <a:pt x="4466772" y="5059074"/>
                </a:cubicBezTo>
                <a:lnTo>
                  <a:pt x="4505244" y="5059074"/>
                </a:lnTo>
                <a:cubicBezTo>
                  <a:pt x="4498737" y="5038511"/>
                  <a:pt x="4474692" y="5047079"/>
                  <a:pt x="4474692" y="5026516"/>
                </a:cubicBezTo>
                <a:lnTo>
                  <a:pt x="4502981" y="5027201"/>
                </a:lnTo>
                <a:cubicBezTo>
                  <a:pt x="4509488" y="5054619"/>
                  <a:pt x="4545697" y="5064215"/>
                  <a:pt x="4569741" y="5069698"/>
                </a:cubicBezTo>
                <a:cubicBezTo>
                  <a:pt x="4569741" y="5086491"/>
                  <a:pt x="4579644" y="5098486"/>
                  <a:pt x="4589260" y="5100200"/>
                </a:cubicBezTo>
                <a:lnTo>
                  <a:pt x="4676392" y="5100200"/>
                </a:lnTo>
                <a:cubicBezTo>
                  <a:pt x="4676392" y="5115965"/>
                  <a:pt x="4695908" y="5119049"/>
                  <a:pt x="4708639" y="5119049"/>
                </a:cubicBezTo>
                <a:cubicBezTo>
                  <a:pt x="4732967" y="5115965"/>
                  <a:pt x="4748807" y="5115965"/>
                  <a:pt x="4758708" y="5095059"/>
                </a:cubicBezTo>
                <a:cubicBezTo>
                  <a:pt x="4760123" y="5089918"/>
                  <a:pt x="4794069" y="5089918"/>
                  <a:pt x="4798879" y="5086491"/>
                </a:cubicBezTo>
                <a:cubicBezTo>
                  <a:pt x="4815003" y="5086491"/>
                  <a:pt x="4844141" y="5091632"/>
                  <a:pt x="4844141" y="5091632"/>
                </a:cubicBezTo>
                <a:cubicBezTo>
                  <a:pt x="4837634" y="5097115"/>
                  <a:pt x="4824905" y="5098486"/>
                  <a:pt x="4820095" y="5095059"/>
                </a:cubicBezTo>
                <a:lnTo>
                  <a:pt x="4820095" y="5109110"/>
                </a:lnTo>
                <a:cubicBezTo>
                  <a:pt x="4831127" y="5133100"/>
                  <a:pt x="4865074" y="5138241"/>
                  <a:pt x="4889120" y="5146809"/>
                </a:cubicBezTo>
                <a:cubicBezTo>
                  <a:pt x="4910338" y="5153320"/>
                  <a:pt x="4905244" y="5179367"/>
                  <a:pt x="4911751" y="5201643"/>
                </a:cubicBezTo>
                <a:lnTo>
                  <a:pt x="4957014" y="5201643"/>
                </a:lnTo>
                <a:cubicBezTo>
                  <a:pt x="4987563" y="5234201"/>
                  <a:pt x="5002273" y="5229060"/>
                  <a:pt x="5021510" y="5271900"/>
                </a:cubicBezTo>
                <a:cubicBezTo>
                  <a:pt x="5024903" y="5278754"/>
                  <a:pt x="5037635" y="5282181"/>
                  <a:pt x="5045840" y="5282181"/>
                </a:cubicBezTo>
                <a:cubicBezTo>
                  <a:pt x="5056871" y="5330504"/>
                  <a:pt x="5124765" y="5325021"/>
                  <a:pt x="5168329" y="5333931"/>
                </a:cubicBezTo>
                <a:lnTo>
                  <a:pt x="5210197" y="5333931"/>
                </a:lnTo>
                <a:cubicBezTo>
                  <a:pt x="5221512" y="5338729"/>
                  <a:pt x="5247252" y="5352780"/>
                  <a:pt x="5263662" y="5352780"/>
                </a:cubicBezTo>
                <a:lnTo>
                  <a:pt x="5263662" y="5355865"/>
                </a:lnTo>
                <a:lnTo>
                  <a:pt x="5273279" y="5355865"/>
                </a:lnTo>
                <a:cubicBezTo>
                  <a:pt x="5299023" y="5355865"/>
                  <a:pt x="5332686" y="5412413"/>
                  <a:pt x="5360125" y="5419610"/>
                </a:cubicBezTo>
                <a:cubicBezTo>
                  <a:pt x="5360125" y="5440173"/>
                  <a:pt x="5381341" y="5495007"/>
                  <a:pt x="5389263" y="5513856"/>
                </a:cubicBezTo>
                <a:cubicBezTo>
                  <a:pt x="5397466" y="5530992"/>
                  <a:pt x="5418399" y="5530992"/>
                  <a:pt x="5418399" y="5548128"/>
                </a:cubicBezTo>
                <a:cubicBezTo>
                  <a:pt x="5417552" y="5549156"/>
                  <a:pt x="5416419" y="5550527"/>
                  <a:pt x="5415572" y="5551555"/>
                </a:cubicBezTo>
                <a:cubicBezTo>
                  <a:pt x="5431129" y="5566977"/>
                  <a:pt x="5449234" y="5582057"/>
                  <a:pt x="5471301" y="5585484"/>
                </a:cubicBezTo>
                <a:cubicBezTo>
                  <a:pt x="5470450" y="5634835"/>
                  <a:pt x="5508640" y="5599192"/>
                  <a:pt x="5526179" y="5601934"/>
                </a:cubicBezTo>
                <a:cubicBezTo>
                  <a:pt x="5540040" y="5604333"/>
                  <a:pt x="5546264" y="5632093"/>
                  <a:pt x="5545133" y="5639633"/>
                </a:cubicBezTo>
                <a:cubicBezTo>
                  <a:pt x="5544850" y="5642374"/>
                  <a:pt x="5543717" y="5645116"/>
                  <a:pt x="5542870" y="5648201"/>
                </a:cubicBezTo>
                <a:cubicBezTo>
                  <a:pt x="5573139" y="5657111"/>
                  <a:pt x="5613025" y="5679730"/>
                  <a:pt x="5629716" y="5690697"/>
                </a:cubicBezTo>
                <a:cubicBezTo>
                  <a:pt x="5642729" y="5699265"/>
                  <a:pt x="5657155" y="5695838"/>
                  <a:pt x="5660267" y="5709547"/>
                </a:cubicBezTo>
                <a:cubicBezTo>
                  <a:pt x="5665077" y="5724969"/>
                  <a:pt x="5663379" y="5736964"/>
                  <a:pt x="5663379" y="5752043"/>
                </a:cubicBezTo>
                <a:lnTo>
                  <a:pt x="5674977" y="5752043"/>
                </a:lnTo>
                <a:cubicBezTo>
                  <a:pt x="5689404" y="5745532"/>
                  <a:pt x="5695910" y="5733537"/>
                  <a:pt x="5710338" y="5733537"/>
                </a:cubicBezTo>
                <a:cubicBezTo>
                  <a:pt x="5744285" y="5733537"/>
                  <a:pt x="5750508" y="5760954"/>
                  <a:pt x="5783040" y="5760954"/>
                </a:cubicBezTo>
                <a:lnTo>
                  <a:pt x="5844144" y="5752043"/>
                </a:lnTo>
                <a:cubicBezTo>
                  <a:pt x="5874697" y="5759240"/>
                  <a:pt x="5902417" y="5771235"/>
                  <a:pt x="5919956" y="5779803"/>
                </a:cubicBezTo>
                <a:cubicBezTo>
                  <a:pt x="5934384" y="5805507"/>
                  <a:pt x="5984737" y="5853487"/>
                  <a:pt x="6010481" y="5862397"/>
                </a:cubicBezTo>
                <a:cubicBezTo>
                  <a:pt x="6032828" y="5868909"/>
                  <a:pt x="6047539" y="5858627"/>
                  <a:pt x="6069887" y="5865482"/>
                </a:cubicBezTo>
                <a:cubicBezTo>
                  <a:pt x="6102420" y="5876106"/>
                  <a:pt x="6110340" y="5912091"/>
                  <a:pt x="6110340" y="5948076"/>
                </a:cubicBezTo>
                <a:cubicBezTo>
                  <a:pt x="6110340" y="6074880"/>
                  <a:pt x="6044709" y="6108467"/>
                  <a:pt x="6001146" y="6178723"/>
                </a:cubicBezTo>
                <a:cubicBezTo>
                  <a:pt x="5991528" y="6194145"/>
                  <a:pt x="5984737" y="6198601"/>
                  <a:pt x="5974838" y="6214023"/>
                </a:cubicBezTo>
                <a:cubicBezTo>
                  <a:pt x="5958712" y="6239726"/>
                  <a:pt x="5940892" y="6243153"/>
                  <a:pt x="5924766" y="6260289"/>
                </a:cubicBezTo>
                <a:cubicBezTo>
                  <a:pt x="5900721" y="6285993"/>
                  <a:pt x="5924483" y="6341513"/>
                  <a:pt x="5924483" y="6382638"/>
                </a:cubicBezTo>
                <a:cubicBezTo>
                  <a:pt x="5924483" y="6413483"/>
                  <a:pt x="5913452" y="6442271"/>
                  <a:pt x="5913452" y="6464547"/>
                </a:cubicBezTo>
                <a:cubicBezTo>
                  <a:pt x="5913452" y="6473115"/>
                  <a:pt x="5907227" y="6479969"/>
                  <a:pt x="5905531" y="6484767"/>
                </a:cubicBezTo>
                <a:cubicBezTo>
                  <a:pt x="5899023" y="6493335"/>
                  <a:pt x="5884596" y="6510813"/>
                  <a:pt x="5884596" y="6524522"/>
                </a:cubicBezTo>
                <a:cubicBezTo>
                  <a:pt x="5884596" y="6541657"/>
                  <a:pt x="5879787" y="6575929"/>
                  <a:pt x="5876392" y="6582783"/>
                </a:cubicBezTo>
                <a:cubicBezTo>
                  <a:pt x="5852347" y="6622195"/>
                  <a:pt x="5844144" y="6639331"/>
                  <a:pt x="5820099" y="6673603"/>
                </a:cubicBezTo>
                <a:cubicBezTo>
                  <a:pt x="5813591" y="6683885"/>
                  <a:pt x="5815290" y="6704447"/>
                  <a:pt x="5811895" y="6711301"/>
                </a:cubicBezTo>
                <a:cubicBezTo>
                  <a:pt x="5802276" y="6732207"/>
                  <a:pt x="5768329" y="6756197"/>
                  <a:pt x="5740890" y="6756197"/>
                </a:cubicBezTo>
                <a:cubicBezTo>
                  <a:pt x="5710338" y="6756197"/>
                  <a:pt x="5686010" y="6754483"/>
                  <a:pt x="5661964" y="6766136"/>
                </a:cubicBezTo>
                <a:cubicBezTo>
                  <a:pt x="5652347" y="6771619"/>
                  <a:pt x="5650649" y="6780187"/>
                  <a:pt x="5645839" y="6785328"/>
                </a:cubicBezTo>
                <a:cubicBezTo>
                  <a:pt x="5607084" y="6826453"/>
                  <a:pt x="5566632" y="6802463"/>
                  <a:pt x="5537778" y="6850443"/>
                </a:cubicBezTo>
                <a:cubicBezTo>
                  <a:pt x="5524766" y="6872720"/>
                  <a:pt x="5503831" y="6872720"/>
                  <a:pt x="5491102" y="6886429"/>
                </a:cubicBezTo>
                <a:cubicBezTo>
                  <a:pt x="5470167" y="6908705"/>
                  <a:pt x="5473279" y="6933038"/>
                  <a:pt x="5473279" y="6965596"/>
                </a:cubicBezTo>
                <a:lnTo>
                  <a:pt x="5473279" y="7046134"/>
                </a:lnTo>
                <a:cubicBezTo>
                  <a:pt x="5441030" y="7063269"/>
                  <a:pt x="5424907" y="7092401"/>
                  <a:pt x="5408782" y="7128385"/>
                </a:cubicBezTo>
                <a:lnTo>
                  <a:pt x="5408782" y="7126672"/>
                </a:lnTo>
                <a:cubicBezTo>
                  <a:pt x="5397466" y="7148948"/>
                  <a:pt x="5399165" y="7160943"/>
                  <a:pt x="5386151" y="7183219"/>
                </a:cubicBezTo>
                <a:cubicBezTo>
                  <a:pt x="5357013" y="7229486"/>
                  <a:pt x="5324763" y="7234627"/>
                  <a:pt x="5297325" y="7279180"/>
                </a:cubicBezTo>
                <a:cubicBezTo>
                  <a:pt x="5265076" y="7330930"/>
                  <a:pt x="5252627" y="7416609"/>
                  <a:pt x="5178512" y="7416609"/>
                </a:cubicBezTo>
                <a:cubicBezTo>
                  <a:pt x="5152771" y="7416609"/>
                  <a:pt x="5116844" y="7397759"/>
                  <a:pt x="5105246" y="7397759"/>
                </a:cubicBezTo>
                <a:cubicBezTo>
                  <a:pt x="5082897" y="7397759"/>
                  <a:pt x="5061965" y="7377197"/>
                  <a:pt x="5037635" y="7377197"/>
                </a:cubicBezTo>
                <a:cubicBezTo>
                  <a:pt x="5032825" y="7377197"/>
                  <a:pt x="5024903" y="7380623"/>
                  <a:pt x="5024903" y="7385764"/>
                </a:cubicBezTo>
                <a:cubicBezTo>
                  <a:pt x="5024903" y="7401187"/>
                  <a:pt x="5048949" y="7409754"/>
                  <a:pt x="5053760" y="7414895"/>
                </a:cubicBezTo>
                <a:cubicBezTo>
                  <a:pt x="5066773" y="7428603"/>
                  <a:pt x="5066773" y="7447453"/>
                  <a:pt x="5073281" y="7468015"/>
                </a:cubicBezTo>
                <a:cubicBezTo>
                  <a:pt x="5078088" y="7486865"/>
                  <a:pt x="5103830" y="7486865"/>
                  <a:pt x="5103830" y="7505715"/>
                </a:cubicBezTo>
                <a:cubicBezTo>
                  <a:pt x="5103830" y="7526620"/>
                  <a:pt x="5103830" y="7537929"/>
                  <a:pt x="5095911" y="7551295"/>
                </a:cubicBezTo>
                <a:cubicBezTo>
                  <a:pt x="5081201" y="7575628"/>
                  <a:pt x="5069886" y="7586253"/>
                  <a:pt x="5053760" y="7603731"/>
                </a:cubicBezTo>
                <a:cubicBezTo>
                  <a:pt x="5026318" y="7632861"/>
                  <a:pt x="4992375" y="7624293"/>
                  <a:pt x="4953901" y="7638002"/>
                </a:cubicBezTo>
                <a:cubicBezTo>
                  <a:pt x="4927875" y="7646227"/>
                  <a:pt x="4874692" y="7627378"/>
                  <a:pt x="4860266" y="7643143"/>
                </a:cubicBezTo>
                <a:cubicBezTo>
                  <a:pt x="4839332" y="7665419"/>
                  <a:pt x="4855456" y="7716827"/>
                  <a:pt x="4844141" y="7740817"/>
                </a:cubicBezTo>
                <a:lnTo>
                  <a:pt x="4844141" y="7757953"/>
                </a:lnTo>
                <a:cubicBezTo>
                  <a:pt x="4844141" y="7766520"/>
                  <a:pt x="4818397" y="7778515"/>
                  <a:pt x="4807082" y="7778515"/>
                </a:cubicBezTo>
                <a:cubicBezTo>
                  <a:pt x="4773135" y="7778515"/>
                  <a:pt x="4766630" y="7754525"/>
                  <a:pt x="4734380" y="7754525"/>
                </a:cubicBezTo>
                <a:cubicBezTo>
                  <a:pt x="4723067" y="7754525"/>
                  <a:pt x="4718258" y="7766520"/>
                  <a:pt x="4718258" y="7775088"/>
                </a:cubicBezTo>
                <a:cubicBezTo>
                  <a:pt x="4718258" y="7799421"/>
                  <a:pt x="4737776" y="7843973"/>
                  <a:pt x="4752203" y="7843973"/>
                </a:cubicBezTo>
                <a:cubicBezTo>
                  <a:pt x="4760123" y="7843973"/>
                  <a:pt x="4770024" y="7833349"/>
                  <a:pt x="4774833" y="7831979"/>
                </a:cubicBezTo>
                <a:cubicBezTo>
                  <a:pt x="4781340" y="7838491"/>
                  <a:pt x="4789260" y="7840547"/>
                  <a:pt x="4789260" y="7849115"/>
                </a:cubicBezTo>
                <a:cubicBezTo>
                  <a:pt x="4789260" y="7859396"/>
                  <a:pt x="4776531" y="7871391"/>
                  <a:pt x="4773135" y="7871391"/>
                </a:cubicBezTo>
                <a:cubicBezTo>
                  <a:pt x="4753901" y="7871391"/>
                  <a:pt x="4747394" y="7855626"/>
                  <a:pt x="4731269" y="7855626"/>
                </a:cubicBezTo>
                <a:cubicBezTo>
                  <a:pt x="4731269" y="7874818"/>
                  <a:pt x="4740887" y="7878245"/>
                  <a:pt x="4748807" y="7881673"/>
                </a:cubicBezTo>
                <a:cubicBezTo>
                  <a:pt x="4719953" y="7912517"/>
                  <a:pt x="4719953" y="7943361"/>
                  <a:pt x="4710338" y="7986201"/>
                </a:cubicBezTo>
                <a:cubicBezTo>
                  <a:pt x="4706942" y="8005049"/>
                  <a:pt x="4678090" y="8006763"/>
                  <a:pt x="4666774" y="8008477"/>
                </a:cubicBezTo>
                <a:cubicBezTo>
                  <a:pt x="4640746" y="8015331"/>
                  <a:pt x="4618401" y="8039321"/>
                  <a:pt x="4618401" y="8068452"/>
                </a:cubicBezTo>
                <a:cubicBezTo>
                  <a:pt x="4618401" y="8135624"/>
                  <a:pt x="4690819" y="8111634"/>
                  <a:pt x="4690819" y="8165097"/>
                </a:cubicBezTo>
                <a:cubicBezTo>
                  <a:pt x="4690819" y="8212735"/>
                  <a:pt x="4650649" y="8217875"/>
                  <a:pt x="4628017" y="8241865"/>
                </a:cubicBezTo>
                <a:cubicBezTo>
                  <a:pt x="4615005" y="8255574"/>
                  <a:pt x="4619814" y="8277851"/>
                  <a:pt x="4610194" y="8300127"/>
                </a:cubicBezTo>
                <a:cubicBezTo>
                  <a:pt x="4598881" y="8324460"/>
                  <a:pt x="4573137" y="8313835"/>
                  <a:pt x="4558710" y="8329258"/>
                </a:cubicBezTo>
                <a:cubicBezTo>
                  <a:pt x="4539192" y="8350163"/>
                  <a:pt x="4531271" y="8373811"/>
                  <a:pt x="4531271" y="8406369"/>
                </a:cubicBezTo>
                <a:cubicBezTo>
                  <a:pt x="4531271" y="8423847"/>
                  <a:pt x="4545697" y="8444410"/>
                  <a:pt x="4555317" y="8446123"/>
                </a:cubicBezTo>
                <a:cubicBezTo>
                  <a:pt x="4584453" y="8463259"/>
                  <a:pt x="4582755" y="8542427"/>
                  <a:pt x="4603691" y="8564360"/>
                </a:cubicBezTo>
                <a:cubicBezTo>
                  <a:pt x="4639335" y="8602059"/>
                  <a:pt x="4682897" y="8617823"/>
                  <a:pt x="4726460" y="8640100"/>
                </a:cubicBezTo>
                <a:cubicBezTo>
                  <a:pt x="4719953" y="8650039"/>
                  <a:pt x="4710338" y="8645241"/>
                  <a:pt x="4700437" y="8645241"/>
                </a:cubicBezTo>
                <a:cubicBezTo>
                  <a:pt x="4676392" y="8645241"/>
                  <a:pt x="4635937" y="8677456"/>
                  <a:pt x="4621511" y="8677456"/>
                </a:cubicBezTo>
                <a:lnTo>
                  <a:pt x="4603691" y="8677456"/>
                </a:lnTo>
                <a:cubicBezTo>
                  <a:pt x="4598881" y="8677456"/>
                  <a:pt x="4592375" y="8684653"/>
                  <a:pt x="4587562" y="8684653"/>
                </a:cubicBezTo>
                <a:lnTo>
                  <a:pt x="4542584" y="8684653"/>
                </a:lnTo>
                <a:cubicBezTo>
                  <a:pt x="4505244" y="8684653"/>
                  <a:pt x="4518258" y="8638387"/>
                  <a:pt x="4492515" y="8629476"/>
                </a:cubicBezTo>
                <a:cubicBezTo>
                  <a:pt x="4468187" y="8621251"/>
                  <a:pt x="4432825" y="8621251"/>
                  <a:pt x="4432825" y="8590407"/>
                </a:cubicBezTo>
                <a:lnTo>
                  <a:pt x="4402273" y="8590407"/>
                </a:lnTo>
                <a:cubicBezTo>
                  <a:pt x="4389260" y="8590407"/>
                  <a:pt x="4385866" y="8576355"/>
                  <a:pt x="4384450" y="8567787"/>
                </a:cubicBezTo>
                <a:cubicBezTo>
                  <a:pt x="4339189" y="8567787"/>
                  <a:pt x="4326175" y="8544140"/>
                  <a:pt x="4305242" y="8521521"/>
                </a:cubicBezTo>
                <a:cubicBezTo>
                  <a:pt x="4300435" y="8516380"/>
                  <a:pt x="4290814" y="8507812"/>
                  <a:pt x="4290814" y="8504385"/>
                </a:cubicBezTo>
                <a:cubicBezTo>
                  <a:pt x="4290814" y="8488963"/>
                  <a:pt x="4319670" y="8490677"/>
                  <a:pt x="4321365" y="8475255"/>
                </a:cubicBezTo>
                <a:cubicBezTo>
                  <a:pt x="4316558" y="8473541"/>
                  <a:pt x="4313446" y="8470113"/>
                  <a:pt x="4308636" y="8466687"/>
                </a:cubicBezTo>
                <a:cubicBezTo>
                  <a:pt x="4313446" y="8458119"/>
                  <a:pt x="4319670" y="8447837"/>
                  <a:pt x="4319670" y="8437555"/>
                </a:cubicBezTo>
                <a:cubicBezTo>
                  <a:pt x="4319670" y="8396430"/>
                  <a:pt x="4276104" y="8403284"/>
                  <a:pt x="4276104" y="8366957"/>
                </a:cubicBezTo>
                <a:lnTo>
                  <a:pt x="4276104" y="8342967"/>
                </a:lnTo>
                <a:cubicBezTo>
                  <a:pt x="4276104" y="8305268"/>
                  <a:pt x="4252059" y="8245293"/>
                  <a:pt x="4252059" y="8216162"/>
                </a:cubicBezTo>
                <a:cubicBezTo>
                  <a:pt x="4252059" y="8185317"/>
                  <a:pt x="4289119" y="8173323"/>
                  <a:pt x="4289119" y="8145905"/>
                </a:cubicBezTo>
                <a:cubicBezTo>
                  <a:pt x="4289119" y="8132197"/>
                  <a:pt x="4269881" y="8104779"/>
                  <a:pt x="4266487" y="8085931"/>
                </a:cubicBezTo>
                <a:lnTo>
                  <a:pt x="4266487" y="8068452"/>
                </a:lnTo>
                <a:lnTo>
                  <a:pt x="4268186" y="8068452"/>
                </a:lnTo>
                <a:cubicBezTo>
                  <a:pt x="4268186" y="8058171"/>
                  <a:pt x="4274691" y="8049603"/>
                  <a:pt x="4282610" y="8049603"/>
                </a:cubicBezTo>
                <a:cubicBezTo>
                  <a:pt x="4311747" y="8049603"/>
                  <a:pt x="4300435" y="8080789"/>
                  <a:pt x="4324762" y="8080789"/>
                </a:cubicBezTo>
                <a:lnTo>
                  <a:pt x="4377944" y="7826838"/>
                </a:lnTo>
                <a:lnTo>
                  <a:pt x="4377944" y="7800791"/>
                </a:lnTo>
                <a:cubicBezTo>
                  <a:pt x="4373135" y="7800791"/>
                  <a:pt x="4368043" y="7799421"/>
                  <a:pt x="4363517" y="7800791"/>
                </a:cubicBezTo>
                <a:cubicBezTo>
                  <a:pt x="4352201" y="7805933"/>
                  <a:pt x="4350503" y="7819983"/>
                  <a:pt x="4339189" y="7819983"/>
                </a:cubicBezTo>
                <a:cubicBezTo>
                  <a:pt x="4326175" y="7819983"/>
                  <a:pt x="4316558" y="7780229"/>
                  <a:pt x="4316558" y="7761379"/>
                </a:cubicBezTo>
                <a:cubicBezTo>
                  <a:pt x="4316558" y="7728821"/>
                  <a:pt x="4327874" y="7715113"/>
                  <a:pt x="4332681" y="7684269"/>
                </a:cubicBezTo>
                <a:cubicBezTo>
                  <a:pt x="4343997" y="7684269"/>
                  <a:pt x="4348807" y="7679128"/>
                  <a:pt x="4348807" y="7673987"/>
                </a:cubicBezTo>
                <a:cubicBezTo>
                  <a:pt x="4348807" y="7663706"/>
                  <a:pt x="4339189" y="7655138"/>
                  <a:pt x="4339189" y="7655138"/>
                </a:cubicBezTo>
                <a:cubicBezTo>
                  <a:pt x="4332681" y="7655138"/>
                  <a:pt x="4330985" y="7607158"/>
                  <a:pt x="4330985" y="7595163"/>
                </a:cubicBezTo>
                <a:cubicBezTo>
                  <a:pt x="4330985" y="7555751"/>
                  <a:pt x="4353899" y="7515995"/>
                  <a:pt x="4368043" y="7492005"/>
                </a:cubicBezTo>
                <a:cubicBezTo>
                  <a:pt x="4374833" y="7480353"/>
                  <a:pt x="4377944" y="7456021"/>
                  <a:pt x="4385866" y="7444025"/>
                </a:cubicBezTo>
                <a:cubicBezTo>
                  <a:pt x="4390674" y="7437171"/>
                  <a:pt x="4398878" y="7438885"/>
                  <a:pt x="4400576" y="7432031"/>
                </a:cubicBezTo>
                <a:cubicBezTo>
                  <a:pt x="4411891" y="7392619"/>
                  <a:pt x="4411891" y="7363487"/>
                  <a:pt x="4421509" y="7322019"/>
                </a:cubicBezTo>
                <a:lnTo>
                  <a:pt x="4419812" y="7193501"/>
                </a:lnTo>
                <a:cubicBezTo>
                  <a:pt x="4410194" y="7162657"/>
                  <a:pt x="4428016" y="7138667"/>
                  <a:pt x="4428016" y="7111249"/>
                </a:cubicBezTo>
                <a:cubicBezTo>
                  <a:pt x="4428016" y="7046134"/>
                  <a:pt x="4465074" y="7002952"/>
                  <a:pt x="4465074" y="6944691"/>
                </a:cubicBezTo>
                <a:lnTo>
                  <a:pt x="4465074" y="6929268"/>
                </a:lnTo>
                <a:cubicBezTo>
                  <a:pt x="4465074" y="6917273"/>
                  <a:pt x="4472996" y="6886429"/>
                  <a:pt x="4476389" y="6869293"/>
                </a:cubicBezTo>
                <a:lnTo>
                  <a:pt x="4476389" y="6793896"/>
                </a:lnTo>
                <a:cubicBezTo>
                  <a:pt x="4476389" y="6769563"/>
                  <a:pt x="4490817" y="6723297"/>
                  <a:pt x="4490817" y="6695879"/>
                </a:cubicBezTo>
                <a:cubicBezTo>
                  <a:pt x="4490817" y="6678743"/>
                  <a:pt x="4482896" y="6577643"/>
                  <a:pt x="4478088" y="6558793"/>
                </a:cubicBezTo>
                <a:cubicBezTo>
                  <a:pt x="4463378" y="6517667"/>
                  <a:pt x="4437634" y="6491964"/>
                  <a:pt x="4408496" y="6476542"/>
                </a:cubicBezTo>
                <a:cubicBezTo>
                  <a:pt x="4384450" y="6464547"/>
                  <a:pt x="4366629" y="6467974"/>
                  <a:pt x="4348807" y="6449125"/>
                </a:cubicBezTo>
                <a:cubicBezTo>
                  <a:pt x="4329569" y="6428562"/>
                  <a:pt x="4319670" y="6421707"/>
                  <a:pt x="4297320" y="6414511"/>
                </a:cubicBezTo>
                <a:cubicBezTo>
                  <a:pt x="4252059" y="6399089"/>
                  <a:pt x="4229431" y="6375099"/>
                  <a:pt x="4200575" y="6344254"/>
                </a:cubicBezTo>
                <a:cubicBezTo>
                  <a:pt x="4187564" y="6330545"/>
                  <a:pt x="4194070" y="6311696"/>
                  <a:pt x="4194070" y="6291133"/>
                </a:cubicBezTo>
                <a:cubicBezTo>
                  <a:pt x="4194070" y="6263716"/>
                  <a:pt x="4170024" y="6250007"/>
                  <a:pt x="4163519" y="6226017"/>
                </a:cubicBezTo>
                <a:cubicBezTo>
                  <a:pt x="4150504" y="6184549"/>
                  <a:pt x="4118255" y="6153705"/>
                  <a:pt x="4106940" y="6116006"/>
                </a:cubicBezTo>
                <a:cubicBezTo>
                  <a:pt x="4095624" y="6076594"/>
                  <a:pt x="4086006" y="6054318"/>
                  <a:pt x="4071296" y="6021760"/>
                </a:cubicBezTo>
                <a:cubicBezTo>
                  <a:pt x="4066770" y="6011478"/>
                  <a:pt x="4055456" y="6014563"/>
                  <a:pt x="4050645" y="6009765"/>
                </a:cubicBezTo>
                <a:cubicBezTo>
                  <a:pt x="4039330" y="5997770"/>
                  <a:pt x="4035935" y="5973780"/>
                  <a:pt x="4031128" y="5961785"/>
                </a:cubicBezTo>
                <a:cubicBezTo>
                  <a:pt x="4026318" y="5951503"/>
                  <a:pt x="4013305" y="5954930"/>
                  <a:pt x="4006799" y="5948076"/>
                </a:cubicBezTo>
                <a:cubicBezTo>
                  <a:pt x="3989259" y="5929227"/>
                  <a:pt x="3966630" y="5894955"/>
                  <a:pt x="3966630" y="5864111"/>
                </a:cubicBezTo>
                <a:cubicBezTo>
                  <a:pt x="3966630" y="5843205"/>
                  <a:pt x="3977945" y="5819215"/>
                  <a:pt x="3984169" y="5812361"/>
                </a:cubicBezTo>
                <a:cubicBezTo>
                  <a:pt x="3998879" y="5786657"/>
                  <a:pt x="4028016" y="5779803"/>
                  <a:pt x="4034240" y="5752043"/>
                </a:cubicBezTo>
                <a:cubicBezTo>
                  <a:pt x="4019812" y="5742104"/>
                  <a:pt x="4021508" y="5750330"/>
                  <a:pt x="4010195" y="5750330"/>
                </a:cubicBezTo>
                <a:cubicBezTo>
                  <a:pt x="3987563" y="5750330"/>
                  <a:pt x="3984169" y="5716058"/>
                  <a:pt x="3984169" y="5692411"/>
                </a:cubicBezTo>
                <a:cubicBezTo>
                  <a:pt x="3984169" y="5652999"/>
                  <a:pt x="4024905" y="5659853"/>
                  <a:pt x="4018114" y="5584113"/>
                </a:cubicBezTo>
                <a:cubicBezTo>
                  <a:pt x="4061680" y="5584113"/>
                  <a:pt x="4072994" y="5538189"/>
                  <a:pt x="4086006" y="5510429"/>
                </a:cubicBezTo>
                <a:cubicBezTo>
                  <a:pt x="4103831" y="5472731"/>
                  <a:pt x="4145697" y="5484726"/>
                  <a:pt x="4155315" y="5438459"/>
                </a:cubicBezTo>
                <a:cubicBezTo>
                  <a:pt x="4147392" y="5435032"/>
                  <a:pt x="4139192" y="5426464"/>
                  <a:pt x="4139192" y="5421323"/>
                </a:cubicBezTo>
                <a:lnTo>
                  <a:pt x="4145697" y="5407615"/>
                </a:lnTo>
                <a:lnTo>
                  <a:pt x="4145697" y="5399047"/>
                </a:lnTo>
                <a:cubicBezTo>
                  <a:pt x="4145697" y="5385338"/>
                  <a:pt x="4136080" y="5375057"/>
                  <a:pt x="4136080" y="5361006"/>
                </a:cubicBezTo>
                <a:cubicBezTo>
                  <a:pt x="4136080" y="5340443"/>
                  <a:pt x="4144281" y="5333931"/>
                  <a:pt x="4144281" y="5316795"/>
                </a:cubicBezTo>
                <a:cubicBezTo>
                  <a:pt x="4144281" y="5280468"/>
                  <a:pt x="4115145" y="5285608"/>
                  <a:pt x="4115145" y="5254764"/>
                </a:cubicBezTo>
                <a:cubicBezTo>
                  <a:pt x="4115145" y="5250994"/>
                  <a:pt x="4116278" y="5247224"/>
                  <a:pt x="4117691" y="5244140"/>
                </a:cubicBezTo>
                <a:cubicBezTo>
                  <a:pt x="4115993" y="5245511"/>
                  <a:pt x="4114295" y="5246196"/>
                  <a:pt x="4113730" y="5245853"/>
                </a:cubicBezTo>
                <a:cubicBezTo>
                  <a:pt x="4110618" y="5242426"/>
                  <a:pt x="4095624" y="5237628"/>
                  <a:pt x="4095624" y="5232488"/>
                </a:cubicBezTo>
                <a:cubicBezTo>
                  <a:pt x="4095624" y="5225633"/>
                  <a:pt x="4102132" y="5222206"/>
                  <a:pt x="4105242" y="5215352"/>
                </a:cubicBezTo>
                <a:cubicBezTo>
                  <a:pt x="4087706" y="5206784"/>
                  <a:pt x="4082894" y="5184507"/>
                  <a:pt x="4065074" y="5184507"/>
                </a:cubicBezTo>
                <a:cubicBezTo>
                  <a:pt x="4053757" y="5184507"/>
                  <a:pt x="4008496" y="5218779"/>
                  <a:pt x="4008496" y="5229060"/>
                </a:cubicBezTo>
                <a:cubicBezTo>
                  <a:pt x="4008496" y="5235915"/>
                  <a:pt x="4018114" y="5242769"/>
                  <a:pt x="4021508" y="5244483"/>
                </a:cubicBezTo>
                <a:cubicBezTo>
                  <a:pt x="4018114" y="5261618"/>
                  <a:pt x="4010195" y="5270186"/>
                  <a:pt x="3997180" y="5270186"/>
                </a:cubicBezTo>
                <a:cubicBezTo>
                  <a:pt x="3971440" y="5270186"/>
                  <a:pt x="3955314" y="5237628"/>
                  <a:pt x="3942301" y="5223920"/>
                </a:cubicBezTo>
                <a:cubicBezTo>
                  <a:pt x="3930986" y="5211925"/>
                  <a:pt x="3905243" y="5222206"/>
                  <a:pt x="3893927" y="5222206"/>
                </a:cubicBezTo>
                <a:cubicBezTo>
                  <a:pt x="3890816" y="5222206"/>
                  <a:pt x="3886007" y="5215352"/>
                  <a:pt x="3886007" y="5211925"/>
                </a:cubicBezTo>
                <a:cubicBezTo>
                  <a:pt x="3863374" y="5206784"/>
                  <a:pt x="3863374" y="5189648"/>
                  <a:pt x="3856868" y="5175940"/>
                </a:cubicBezTo>
                <a:cubicBezTo>
                  <a:pt x="3852059" y="5165658"/>
                  <a:pt x="3797181" y="5129673"/>
                  <a:pt x="3795767" y="5129673"/>
                </a:cubicBezTo>
                <a:cubicBezTo>
                  <a:pt x="3792368" y="5134814"/>
                  <a:pt x="3792368" y="5141668"/>
                  <a:pt x="3795767" y="5145095"/>
                </a:cubicBezTo>
                <a:lnTo>
                  <a:pt x="3779355" y="5145095"/>
                </a:lnTo>
                <a:cubicBezTo>
                  <a:pt x="3755311" y="5127960"/>
                  <a:pt x="3771437" y="5103969"/>
                  <a:pt x="3763232" y="5078266"/>
                </a:cubicBezTo>
                <a:cubicBezTo>
                  <a:pt x="3758425" y="5061130"/>
                  <a:pt x="3750503" y="5057360"/>
                  <a:pt x="3742302" y="5048792"/>
                </a:cubicBezTo>
                <a:cubicBezTo>
                  <a:pt x="3716557" y="5021375"/>
                  <a:pt x="3689116" y="5005953"/>
                  <a:pt x="3679500" y="4964827"/>
                </a:cubicBezTo>
                <a:lnTo>
                  <a:pt x="3669882" y="4964827"/>
                </a:lnTo>
                <a:cubicBezTo>
                  <a:pt x="3658566" y="4964827"/>
                  <a:pt x="3650363" y="4973395"/>
                  <a:pt x="3639047" y="4973395"/>
                </a:cubicBezTo>
                <a:cubicBezTo>
                  <a:pt x="3608496" y="4973395"/>
                  <a:pt x="3592370" y="4954546"/>
                  <a:pt x="3571437" y="4944264"/>
                </a:cubicBezTo>
                <a:cubicBezTo>
                  <a:pt x="3540885" y="4928842"/>
                  <a:pt x="3518254" y="4937410"/>
                  <a:pt x="3485722" y="4920274"/>
                </a:cubicBezTo>
                <a:cubicBezTo>
                  <a:pt x="3435934" y="4894228"/>
                  <a:pt x="3429429" y="4855159"/>
                  <a:pt x="3385863" y="4832539"/>
                </a:cubicBezTo>
                <a:lnTo>
                  <a:pt x="3376246" y="4832539"/>
                </a:lnTo>
                <a:cubicBezTo>
                  <a:pt x="3363231" y="4824314"/>
                  <a:pt x="3353615" y="4818831"/>
                  <a:pt x="3340601" y="4818831"/>
                </a:cubicBezTo>
                <a:cubicBezTo>
                  <a:pt x="3311747" y="4818831"/>
                  <a:pt x="3306655" y="4853445"/>
                  <a:pt x="3279214" y="4853445"/>
                </a:cubicBezTo>
                <a:cubicBezTo>
                  <a:pt x="3266485" y="4853445"/>
                  <a:pt x="3253473" y="4841450"/>
                  <a:pt x="3246964" y="4838023"/>
                </a:cubicBezTo>
                <a:cubicBezTo>
                  <a:pt x="3234235" y="4831169"/>
                  <a:pt x="3222919" y="4834253"/>
                  <a:pt x="3210190" y="4834253"/>
                </a:cubicBezTo>
                <a:cubicBezTo>
                  <a:pt x="3190673" y="4834253"/>
                  <a:pt x="3135791" y="4793127"/>
                  <a:pt x="3119668" y="4784559"/>
                </a:cubicBezTo>
                <a:cubicBezTo>
                  <a:pt x="3101847" y="4775991"/>
                  <a:pt x="3090531" y="4786273"/>
                  <a:pt x="3072991" y="4781132"/>
                </a:cubicBezTo>
                <a:cubicBezTo>
                  <a:pt x="3050363" y="4774278"/>
                  <a:pt x="3045552" y="4754058"/>
                  <a:pt x="3022923" y="4741720"/>
                </a:cubicBezTo>
                <a:cubicBezTo>
                  <a:pt x="3001987" y="4731439"/>
                  <a:pt x="2990672" y="4734866"/>
                  <a:pt x="2969739" y="4724584"/>
                </a:cubicBezTo>
                <a:cubicBezTo>
                  <a:pt x="2960120" y="4719444"/>
                  <a:pt x="2956726" y="4717730"/>
                  <a:pt x="2951916" y="4712589"/>
                </a:cubicBezTo>
                <a:cubicBezTo>
                  <a:pt x="2932679" y="4692026"/>
                  <a:pt x="2882610" y="4680031"/>
                  <a:pt x="2877800" y="4657755"/>
                </a:cubicBezTo>
                <a:cubicBezTo>
                  <a:pt x="2863374" y="4657755"/>
                  <a:pt x="2853473" y="4638906"/>
                  <a:pt x="2853473" y="4623483"/>
                </a:cubicBezTo>
                <a:cubicBezTo>
                  <a:pt x="2853473" y="4604634"/>
                  <a:pt x="2869597" y="4594010"/>
                  <a:pt x="2869597" y="4575503"/>
                </a:cubicBezTo>
                <a:cubicBezTo>
                  <a:pt x="2869597" y="4552884"/>
                  <a:pt x="2856585" y="4547743"/>
                  <a:pt x="2853473" y="4536091"/>
                </a:cubicBezTo>
                <a:cubicBezTo>
                  <a:pt x="2834237" y="4474060"/>
                  <a:pt x="2779356" y="4424366"/>
                  <a:pt x="2743996" y="4386668"/>
                </a:cubicBezTo>
                <a:cubicBezTo>
                  <a:pt x="2727871" y="4369532"/>
                  <a:pt x="2701846" y="4362678"/>
                  <a:pt x="2685721" y="4345542"/>
                </a:cubicBezTo>
                <a:cubicBezTo>
                  <a:pt x="2672992" y="4331833"/>
                  <a:pt x="2684306" y="4314697"/>
                  <a:pt x="2676103" y="4295848"/>
                </a:cubicBezTo>
                <a:cubicBezTo>
                  <a:pt x="2661676" y="4265004"/>
                  <a:pt x="2611605" y="4261234"/>
                  <a:pt x="2611605" y="4220108"/>
                </a:cubicBezTo>
                <a:cubicBezTo>
                  <a:pt x="2597178" y="4216681"/>
                  <a:pt x="2598593" y="4214967"/>
                  <a:pt x="2593783" y="4220108"/>
                </a:cubicBezTo>
                <a:cubicBezTo>
                  <a:pt x="2572849" y="4197832"/>
                  <a:pt x="2556725" y="4178982"/>
                  <a:pt x="2538903" y="4160133"/>
                </a:cubicBezTo>
                <a:cubicBezTo>
                  <a:pt x="2524476" y="4144711"/>
                  <a:pt x="2529285" y="4115580"/>
                  <a:pt x="2514858" y="4100158"/>
                </a:cubicBezTo>
                <a:cubicBezTo>
                  <a:pt x="2500148" y="4084736"/>
                  <a:pt x="2503543" y="4047037"/>
                  <a:pt x="2490529" y="4040183"/>
                </a:cubicBezTo>
                <a:cubicBezTo>
                  <a:pt x="2463373" y="4026132"/>
                  <a:pt x="2437347" y="4028188"/>
                  <a:pt x="2416414" y="4005911"/>
                </a:cubicBezTo>
                <a:cubicBezTo>
                  <a:pt x="2411605" y="4012423"/>
                  <a:pt x="2413019" y="4023047"/>
                  <a:pt x="2413019" y="4028188"/>
                </a:cubicBezTo>
                <a:cubicBezTo>
                  <a:pt x="2413019" y="4064173"/>
                  <a:pt x="2429144" y="4086449"/>
                  <a:pt x="2442157" y="4115580"/>
                </a:cubicBezTo>
                <a:cubicBezTo>
                  <a:pt x="2453472" y="4141284"/>
                  <a:pt x="2474406" y="4141284"/>
                  <a:pt x="2490529" y="4158420"/>
                </a:cubicBezTo>
                <a:cubicBezTo>
                  <a:pt x="2513161" y="4182410"/>
                  <a:pt x="2516556" y="4199888"/>
                  <a:pt x="2524476" y="4228676"/>
                </a:cubicBezTo>
                <a:cubicBezTo>
                  <a:pt x="2535792" y="4268088"/>
                  <a:pt x="2568041" y="4287280"/>
                  <a:pt x="2579356" y="4323265"/>
                </a:cubicBezTo>
                <a:cubicBezTo>
                  <a:pt x="2592086" y="4364391"/>
                  <a:pt x="2601987" y="4408944"/>
                  <a:pt x="2630841" y="4429507"/>
                </a:cubicBezTo>
                <a:cubicBezTo>
                  <a:pt x="2643854" y="4415798"/>
                  <a:pt x="2663091" y="4444929"/>
                  <a:pt x="2663091" y="4458638"/>
                </a:cubicBezTo>
                <a:cubicBezTo>
                  <a:pt x="2663091" y="4467206"/>
                  <a:pt x="2656584" y="4484341"/>
                  <a:pt x="2651775" y="4484341"/>
                </a:cubicBezTo>
                <a:cubicBezTo>
                  <a:pt x="2648663" y="4484341"/>
                  <a:pt x="2627164" y="4454868"/>
                  <a:pt x="2625467" y="4448013"/>
                </a:cubicBezTo>
                <a:cubicBezTo>
                  <a:pt x="2596612" y="4448013"/>
                  <a:pt x="2581054" y="4407230"/>
                  <a:pt x="2563232" y="4395235"/>
                </a:cubicBezTo>
                <a:cubicBezTo>
                  <a:pt x="2553613" y="4388381"/>
                  <a:pt x="2551916" y="4388381"/>
                  <a:pt x="2547107" y="4379813"/>
                </a:cubicBezTo>
                <a:lnTo>
                  <a:pt x="2547107" y="4335260"/>
                </a:lnTo>
                <a:cubicBezTo>
                  <a:pt x="2529285" y="4316411"/>
                  <a:pt x="2516556" y="4297562"/>
                  <a:pt x="2500148" y="4280426"/>
                </a:cubicBezTo>
                <a:cubicBezTo>
                  <a:pt x="2477800" y="4256093"/>
                  <a:pt x="2442157" y="4261234"/>
                  <a:pt x="2426032" y="4235530"/>
                </a:cubicBezTo>
                <a:cubicBezTo>
                  <a:pt x="2434235" y="4235530"/>
                  <a:pt x="2472425" y="4242042"/>
                  <a:pt x="2458281" y="4220451"/>
                </a:cubicBezTo>
                <a:cubicBezTo>
                  <a:pt x="2434235" y="4184466"/>
                  <a:pt x="2407927" y="4147795"/>
                  <a:pt x="2379638" y="4128261"/>
                </a:cubicBezTo>
                <a:cubicBezTo>
                  <a:pt x="2360402" y="4115237"/>
                  <a:pt x="2361534" y="4067600"/>
                  <a:pt x="2351916" y="4047037"/>
                </a:cubicBezTo>
                <a:cubicBezTo>
                  <a:pt x="2337206" y="4016193"/>
                  <a:pt x="2322778" y="4005911"/>
                  <a:pt x="2311463" y="3966157"/>
                </a:cubicBezTo>
                <a:lnTo>
                  <a:pt x="2311463" y="3954162"/>
                </a:lnTo>
                <a:lnTo>
                  <a:pt x="2314857" y="3954162"/>
                </a:lnTo>
                <a:cubicBezTo>
                  <a:pt x="2290530" y="3902754"/>
                  <a:pt x="2208210" y="3866769"/>
                  <a:pt x="2150218" y="3842779"/>
                </a:cubicBezTo>
                <a:cubicBezTo>
                  <a:pt x="2137205" y="3837639"/>
                  <a:pt x="2142297" y="3818447"/>
                  <a:pt x="2137205" y="3805081"/>
                </a:cubicBezTo>
                <a:cubicBezTo>
                  <a:pt x="2114857" y="3745106"/>
                  <a:pt x="2069596" y="3724200"/>
                  <a:pt x="2077799" y="3653943"/>
                </a:cubicBezTo>
                <a:cubicBezTo>
                  <a:pt x="2043853" y="3648803"/>
                  <a:pt x="2008492" y="3572720"/>
                  <a:pt x="1980769" y="3521998"/>
                </a:cubicBezTo>
                <a:cubicBezTo>
                  <a:pt x="1972849" y="3506919"/>
                  <a:pt x="1987276" y="3495952"/>
                  <a:pt x="1996894" y="3489440"/>
                </a:cubicBezTo>
                <a:cubicBezTo>
                  <a:pt x="1979355" y="3451742"/>
                  <a:pt x="1996328" y="3388340"/>
                  <a:pt x="1980769" y="3345158"/>
                </a:cubicBezTo>
                <a:cubicBezTo>
                  <a:pt x="1965776" y="3303346"/>
                  <a:pt x="2008209" y="3206015"/>
                  <a:pt x="2008209" y="3152895"/>
                </a:cubicBezTo>
                <a:cubicBezTo>
                  <a:pt x="2008209" y="3115196"/>
                  <a:pt x="1968039" y="3099774"/>
                  <a:pt x="1968039" y="3062075"/>
                </a:cubicBezTo>
                <a:cubicBezTo>
                  <a:pt x="1968039" y="3051794"/>
                  <a:pt x="1985861" y="3050080"/>
                  <a:pt x="1992085" y="3050080"/>
                </a:cubicBezTo>
                <a:cubicBezTo>
                  <a:pt x="2016413" y="3050080"/>
                  <a:pt x="2030840" y="3063789"/>
                  <a:pt x="2039044" y="3079211"/>
                </a:cubicBezTo>
                <a:cubicBezTo>
                  <a:pt x="2046964" y="3068929"/>
                  <a:pt x="2061675" y="3048367"/>
                  <a:pt x="2061675" y="3032944"/>
                </a:cubicBezTo>
                <a:cubicBezTo>
                  <a:pt x="2061675" y="3015809"/>
                  <a:pt x="2046964" y="3010668"/>
                  <a:pt x="2040458" y="2993532"/>
                </a:cubicBezTo>
                <a:cubicBezTo>
                  <a:pt x="2034234" y="2990105"/>
                  <a:pt x="2026030" y="2986678"/>
                  <a:pt x="2022637" y="2983251"/>
                </a:cubicBezTo>
                <a:cubicBezTo>
                  <a:pt x="2006795" y="2966115"/>
                  <a:pt x="1966342" y="2962688"/>
                  <a:pt x="1961533" y="2945209"/>
                </a:cubicBezTo>
                <a:cubicBezTo>
                  <a:pt x="1948520" y="2900656"/>
                  <a:pt x="1892226" y="2923276"/>
                  <a:pt x="1884021" y="2889004"/>
                </a:cubicBezTo>
                <a:cubicBezTo>
                  <a:pt x="1829142" y="2889004"/>
                  <a:pt x="1826030" y="2842395"/>
                  <a:pt x="1814715" y="2802983"/>
                </a:cubicBezTo>
                <a:cubicBezTo>
                  <a:pt x="1813018" y="2797842"/>
                  <a:pt x="1771150" y="2770425"/>
                  <a:pt x="1771150" y="2770425"/>
                </a:cubicBezTo>
                <a:cubicBezTo>
                  <a:pt x="1751914" y="2756716"/>
                  <a:pt x="1769454" y="2734440"/>
                  <a:pt x="1755026" y="2719018"/>
                </a:cubicBezTo>
                <a:cubicBezTo>
                  <a:pt x="1745408" y="2708736"/>
                  <a:pt x="1732395" y="2708736"/>
                  <a:pt x="1719665" y="2705309"/>
                </a:cubicBezTo>
                <a:cubicBezTo>
                  <a:pt x="1697035" y="2698455"/>
                  <a:pt x="1703541" y="2652188"/>
                  <a:pt x="1703541" y="2629569"/>
                </a:cubicBezTo>
                <a:cubicBezTo>
                  <a:pt x="1703541" y="2619630"/>
                  <a:pt x="1693923" y="2614147"/>
                  <a:pt x="1693923" y="2605579"/>
                </a:cubicBezTo>
                <a:cubicBezTo>
                  <a:pt x="1693923" y="2593584"/>
                  <a:pt x="1716271" y="2590157"/>
                  <a:pt x="1716271" y="2571308"/>
                </a:cubicBezTo>
                <a:cubicBezTo>
                  <a:pt x="1716271" y="2590157"/>
                  <a:pt x="1693640" y="2593584"/>
                  <a:pt x="1693640" y="2605579"/>
                </a:cubicBezTo>
                <a:cubicBezTo>
                  <a:pt x="1685719" y="2605579"/>
                  <a:pt x="1685719" y="2607293"/>
                  <a:pt x="1677516" y="2607293"/>
                </a:cubicBezTo>
                <a:cubicBezTo>
                  <a:pt x="1650076" y="2607293"/>
                  <a:pt x="1609905" y="2574735"/>
                  <a:pt x="1609905" y="2555885"/>
                </a:cubicBezTo>
                <a:lnTo>
                  <a:pt x="1609905" y="2530182"/>
                </a:lnTo>
                <a:cubicBezTo>
                  <a:pt x="1609905" y="2504478"/>
                  <a:pt x="1590387" y="2504478"/>
                  <a:pt x="1561532" y="2504478"/>
                </a:cubicBezTo>
                <a:cubicBezTo>
                  <a:pt x="1538901" y="2504478"/>
                  <a:pt x="1532395" y="2489056"/>
                  <a:pt x="1532395" y="2478775"/>
                </a:cubicBezTo>
                <a:cubicBezTo>
                  <a:pt x="1532395" y="2465066"/>
                  <a:pt x="1556723" y="2463352"/>
                  <a:pt x="1556723" y="2449644"/>
                </a:cubicBezTo>
                <a:lnTo>
                  <a:pt x="1556723" y="2427367"/>
                </a:lnTo>
                <a:cubicBezTo>
                  <a:pt x="1525888" y="2429081"/>
                  <a:pt x="1534092" y="2449644"/>
                  <a:pt x="1512876" y="2449644"/>
                </a:cubicBezTo>
                <a:cubicBezTo>
                  <a:pt x="1506652" y="2449644"/>
                  <a:pt x="1488831" y="2434222"/>
                  <a:pt x="1488831" y="2423940"/>
                </a:cubicBezTo>
                <a:cubicBezTo>
                  <a:pt x="1488831" y="2403377"/>
                  <a:pt x="1500146" y="2396523"/>
                  <a:pt x="1504955" y="2387613"/>
                </a:cubicBezTo>
                <a:cubicBezTo>
                  <a:pt x="1497034" y="2379387"/>
                  <a:pt x="1482324" y="2363965"/>
                  <a:pt x="1476100" y="2375618"/>
                </a:cubicBezTo>
                <a:cubicBezTo>
                  <a:pt x="1451772" y="2375618"/>
                  <a:pt x="1440457" y="2363965"/>
                  <a:pt x="1427444" y="2350257"/>
                </a:cubicBezTo>
                <a:cubicBezTo>
                  <a:pt x="1422635" y="2363965"/>
                  <a:pt x="1416129" y="2380758"/>
                  <a:pt x="1403399" y="2380758"/>
                </a:cubicBezTo>
                <a:cubicBezTo>
                  <a:pt x="1369452" y="2380758"/>
                  <a:pt x="1346822" y="2331065"/>
                  <a:pt x="1327585" y="2315985"/>
                </a:cubicBezTo>
                <a:cubicBezTo>
                  <a:pt x="1285718" y="2283085"/>
                  <a:pt x="1230838" y="2284798"/>
                  <a:pt x="1182465" y="2255667"/>
                </a:cubicBezTo>
                <a:lnTo>
                  <a:pt x="1093639" y="2255667"/>
                </a:lnTo>
                <a:cubicBezTo>
                  <a:pt x="1040456" y="2236818"/>
                  <a:pt x="969451" y="2229963"/>
                  <a:pt x="942011" y="2169988"/>
                </a:cubicBezTo>
                <a:cubicBezTo>
                  <a:pt x="922775" y="2178556"/>
                  <a:pt x="890526" y="2186781"/>
                  <a:pt x="875816" y="2195692"/>
                </a:cubicBezTo>
                <a:cubicBezTo>
                  <a:pt x="880625" y="2207687"/>
                  <a:pt x="884020" y="2212828"/>
                  <a:pt x="891941" y="2219682"/>
                </a:cubicBezTo>
                <a:cubicBezTo>
                  <a:pt x="871007" y="2253954"/>
                  <a:pt x="768035" y="2315985"/>
                  <a:pt x="730694" y="2315985"/>
                </a:cubicBezTo>
                <a:cubicBezTo>
                  <a:pt x="724188" y="2315985"/>
                  <a:pt x="714570" y="2310502"/>
                  <a:pt x="714570" y="2303647"/>
                </a:cubicBezTo>
                <a:cubicBezTo>
                  <a:pt x="714570" y="2293366"/>
                  <a:pt x="724188" y="2291652"/>
                  <a:pt x="727582" y="2289939"/>
                </a:cubicBezTo>
                <a:cubicBezTo>
                  <a:pt x="719662" y="2277944"/>
                  <a:pt x="725885" y="2277944"/>
                  <a:pt x="725885" y="2269376"/>
                </a:cubicBezTo>
                <a:cubicBezTo>
                  <a:pt x="725885" y="2231677"/>
                  <a:pt x="749930" y="2202546"/>
                  <a:pt x="796891" y="2186781"/>
                </a:cubicBezTo>
                <a:cubicBezTo>
                  <a:pt x="796891" y="2181983"/>
                  <a:pt x="798588" y="2175129"/>
                  <a:pt x="798588" y="2169988"/>
                </a:cubicBezTo>
                <a:lnTo>
                  <a:pt x="779069" y="2169988"/>
                </a:lnTo>
                <a:cubicBezTo>
                  <a:pt x="740312" y="2169988"/>
                  <a:pt x="633947" y="2264235"/>
                  <a:pt x="633947" y="2321126"/>
                </a:cubicBezTo>
                <a:lnTo>
                  <a:pt x="633947" y="2346829"/>
                </a:lnTo>
                <a:cubicBezTo>
                  <a:pt x="633947" y="2386242"/>
                  <a:pt x="598304" y="2399950"/>
                  <a:pt x="561246" y="2415372"/>
                </a:cubicBezTo>
                <a:cubicBezTo>
                  <a:pt x="540312" y="2423940"/>
                  <a:pt x="533806" y="2441076"/>
                  <a:pt x="521076" y="2458212"/>
                </a:cubicBezTo>
                <a:cubicBezTo>
                  <a:pt x="496748" y="2490770"/>
                  <a:pt x="441868" y="2507905"/>
                  <a:pt x="416125" y="2535323"/>
                </a:cubicBezTo>
                <a:cubicBezTo>
                  <a:pt x="391797" y="2561026"/>
                  <a:pt x="333805" y="2579875"/>
                  <a:pt x="287129" y="2586730"/>
                </a:cubicBezTo>
                <a:cubicBezTo>
                  <a:pt x="229137" y="2597011"/>
                  <a:pt x="196888" y="2668981"/>
                  <a:pt x="128996" y="2648761"/>
                </a:cubicBezTo>
                <a:cubicBezTo>
                  <a:pt x="148232" y="2615861"/>
                  <a:pt x="179067" y="2629569"/>
                  <a:pt x="206507" y="2612433"/>
                </a:cubicBezTo>
                <a:cubicBezTo>
                  <a:pt x="225743" y="2600438"/>
                  <a:pt x="240453" y="2566167"/>
                  <a:pt x="257992" y="2555885"/>
                </a:cubicBezTo>
                <a:cubicBezTo>
                  <a:pt x="285432" y="2538750"/>
                  <a:pt x="316266" y="2555885"/>
                  <a:pt x="335503" y="2530182"/>
                </a:cubicBezTo>
                <a:cubicBezTo>
                  <a:pt x="362943" y="2492483"/>
                  <a:pt x="425743" y="2463352"/>
                  <a:pt x="464499" y="2435935"/>
                </a:cubicBezTo>
                <a:cubicBezTo>
                  <a:pt x="501557" y="2410232"/>
                  <a:pt x="501557" y="2358482"/>
                  <a:pt x="540312" y="2333121"/>
                </a:cubicBezTo>
                <a:lnTo>
                  <a:pt x="515984" y="2333121"/>
                </a:lnTo>
                <a:cubicBezTo>
                  <a:pt x="491938" y="2343060"/>
                  <a:pt x="480623" y="2355055"/>
                  <a:pt x="456578" y="2355055"/>
                </a:cubicBezTo>
                <a:cubicBezTo>
                  <a:pt x="437059" y="2355055"/>
                  <a:pt x="429138" y="2346829"/>
                  <a:pt x="413013" y="2341346"/>
                </a:cubicBezTo>
                <a:cubicBezTo>
                  <a:pt x="407921" y="2355055"/>
                  <a:pt x="403112" y="2360195"/>
                  <a:pt x="401698" y="2372533"/>
                </a:cubicBezTo>
                <a:cubicBezTo>
                  <a:pt x="362943" y="2356768"/>
                  <a:pt x="351627" y="2346829"/>
                  <a:pt x="324187" y="2324210"/>
                </a:cubicBezTo>
                <a:cubicBezTo>
                  <a:pt x="321075" y="2334492"/>
                  <a:pt x="322490" y="2343060"/>
                  <a:pt x="322490" y="2350257"/>
                </a:cubicBezTo>
                <a:lnTo>
                  <a:pt x="303254" y="2350257"/>
                </a:lnTo>
                <a:cubicBezTo>
                  <a:pt x="293636" y="2350257"/>
                  <a:pt x="285432" y="2363965"/>
                  <a:pt x="278925" y="2363965"/>
                </a:cubicBezTo>
                <a:cubicBezTo>
                  <a:pt x="269307" y="2363965"/>
                  <a:pt x="263084" y="2334492"/>
                  <a:pt x="263084" y="2321126"/>
                </a:cubicBezTo>
                <a:lnTo>
                  <a:pt x="263084" y="2286512"/>
                </a:lnTo>
                <a:cubicBezTo>
                  <a:pt x="263084" y="2281371"/>
                  <a:pt x="264498" y="2260808"/>
                  <a:pt x="250071" y="2260808"/>
                </a:cubicBezTo>
                <a:cubicBezTo>
                  <a:pt x="237058" y="2260808"/>
                  <a:pt x="224046" y="2289939"/>
                  <a:pt x="217822" y="2289939"/>
                </a:cubicBezTo>
                <a:cubicBezTo>
                  <a:pt x="196888" y="2289939"/>
                  <a:pt x="121075" y="2226536"/>
                  <a:pt x="109760" y="2211114"/>
                </a:cubicBezTo>
                <a:cubicBezTo>
                  <a:pt x="117680" y="2211114"/>
                  <a:pt x="125884" y="2205973"/>
                  <a:pt x="133805" y="2205973"/>
                </a:cubicBezTo>
                <a:cubicBezTo>
                  <a:pt x="121075" y="2168275"/>
                  <a:pt x="69307" y="2159707"/>
                  <a:pt x="69307" y="2131947"/>
                </a:cubicBezTo>
                <a:cubicBezTo>
                  <a:pt x="69307" y="2080882"/>
                  <a:pt x="156436" y="2038043"/>
                  <a:pt x="190382" y="2038043"/>
                </a:cubicBezTo>
                <a:cubicBezTo>
                  <a:pt x="204809" y="2038043"/>
                  <a:pt x="314569" y="1991434"/>
                  <a:pt x="314569" y="1969157"/>
                </a:cubicBezTo>
                <a:cubicBezTo>
                  <a:pt x="314569" y="1957162"/>
                  <a:pt x="288827" y="1933175"/>
                  <a:pt x="287129" y="1928034"/>
                </a:cubicBezTo>
                <a:cubicBezTo>
                  <a:pt x="303254" y="1917754"/>
                  <a:pt x="300142" y="1919464"/>
                  <a:pt x="311457" y="1926328"/>
                </a:cubicBezTo>
                <a:lnTo>
                  <a:pt x="311457" y="1900615"/>
                </a:lnTo>
                <a:cubicBezTo>
                  <a:pt x="296747" y="1898903"/>
                  <a:pt x="296747" y="1900615"/>
                  <a:pt x="287129" y="1900615"/>
                </a:cubicBezTo>
                <a:cubicBezTo>
                  <a:pt x="261104" y="1900615"/>
                  <a:pt x="251486" y="1929746"/>
                  <a:pt x="217822" y="1929746"/>
                </a:cubicBezTo>
                <a:cubicBezTo>
                  <a:pt x="185290" y="1929746"/>
                  <a:pt x="173975" y="1912613"/>
                  <a:pt x="149930" y="1917754"/>
                </a:cubicBezTo>
                <a:lnTo>
                  <a:pt x="64498" y="1917754"/>
                </a:lnTo>
                <a:cubicBezTo>
                  <a:pt x="62801" y="1892051"/>
                  <a:pt x="43564" y="1885193"/>
                  <a:pt x="43564" y="1869772"/>
                </a:cubicBezTo>
                <a:cubicBezTo>
                  <a:pt x="43564" y="1864631"/>
                  <a:pt x="46676" y="1857775"/>
                  <a:pt x="48373" y="1852637"/>
                </a:cubicBezTo>
                <a:cubicBezTo>
                  <a:pt x="22631" y="1852637"/>
                  <a:pt x="7921" y="1842010"/>
                  <a:pt x="0" y="1824878"/>
                </a:cubicBezTo>
                <a:cubicBezTo>
                  <a:pt x="40170" y="1799176"/>
                  <a:pt x="106365" y="1776896"/>
                  <a:pt x="145120" y="1749478"/>
                </a:cubicBezTo>
                <a:lnTo>
                  <a:pt x="173975" y="1749478"/>
                </a:lnTo>
                <a:cubicBezTo>
                  <a:pt x="173975" y="1804662"/>
                  <a:pt x="200000" y="1788895"/>
                  <a:pt x="233947" y="1788895"/>
                </a:cubicBezTo>
                <a:cubicBezTo>
                  <a:pt x="256577" y="1788895"/>
                  <a:pt x="259689" y="1794380"/>
                  <a:pt x="278925" y="1788895"/>
                </a:cubicBezTo>
                <a:cubicBezTo>
                  <a:pt x="263084" y="1734059"/>
                  <a:pt x="229137" y="1730630"/>
                  <a:pt x="182178" y="1706646"/>
                </a:cubicBezTo>
                <a:cubicBezTo>
                  <a:pt x="169449" y="1699784"/>
                  <a:pt x="149930" y="1648377"/>
                  <a:pt x="133805" y="1638095"/>
                </a:cubicBezTo>
                <a:cubicBezTo>
                  <a:pt x="114569" y="1626107"/>
                  <a:pt x="48373" y="1612393"/>
                  <a:pt x="48373" y="1600402"/>
                </a:cubicBezTo>
                <a:cubicBezTo>
                  <a:pt x="48373" y="1600402"/>
                  <a:pt x="71004" y="1557557"/>
                  <a:pt x="72419" y="1552417"/>
                </a:cubicBezTo>
                <a:lnTo>
                  <a:pt x="161245" y="1552417"/>
                </a:lnTo>
                <a:cubicBezTo>
                  <a:pt x="209618" y="1483533"/>
                  <a:pt x="282320" y="1418415"/>
                  <a:pt x="367751" y="1389285"/>
                </a:cubicBezTo>
                <a:cubicBezTo>
                  <a:pt x="390383" y="1382431"/>
                  <a:pt x="404810" y="1394426"/>
                  <a:pt x="427441" y="1385864"/>
                </a:cubicBezTo>
                <a:cubicBezTo>
                  <a:pt x="453183" y="1375582"/>
                  <a:pt x="469308" y="1337878"/>
                  <a:pt x="496748" y="1337878"/>
                </a:cubicBezTo>
                <a:cubicBezTo>
                  <a:pt x="517964" y="1337878"/>
                  <a:pt x="525885" y="1356730"/>
                  <a:pt x="546818" y="1363581"/>
                </a:cubicBezTo>
                <a:cubicBezTo>
                  <a:pt x="538614" y="1373862"/>
                  <a:pt x="537200" y="1377290"/>
                  <a:pt x="532391" y="1385864"/>
                </a:cubicBezTo>
                <a:cubicBezTo>
                  <a:pt x="548516" y="1389285"/>
                  <a:pt x="564640" y="1377290"/>
                  <a:pt x="572561" y="1363581"/>
                </a:cubicBezTo>
                <a:cubicBezTo>
                  <a:pt x="590383" y="1370441"/>
                  <a:pt x="595192" y="1375582"/>
                  <a:pt x="609902" y="1380723"/>
                </a:cubicBezTo>
                <a:lnTo>
                  <a:pt x="690241" y="1380723"/>
                </a:lnTo>
                <a:cubicBezTo>
                  <a:pt x="709761" y="1394426"/>
                  <a:pt x="716267" y="1402993"/>
                  <a:pt x="738615" y="1414988"/>
                </a:cubicBezTo>
                <a:lnTo>
                  <a:pt x="863087" y="1414988"/>
                </a:lnTo>
                <a:cubicBezTo>
                  <a:pt x="895336" y="1449259"/>
                  <a:pt x="995194" y="1457831"/>
                  <a:pt x="1045265" y="1457831"/>
                </a:cubicBezTo>
                <a:cubicBezTo>
                  <a:pt x="1074402" y="1457831"/>
                  <a:pt x="1091941" y="1445833"/>
                  <a:pt x="1121079" y="1445833"/>
                </a:cubicBezTo>
                <a:cubicBezTo>
                  <a:pt x="1167754" y="1445833"/>
                  <a:pt x="1182465" y="1466397"/>
                  <a:pt x="1222635" y="1480104"/>
                </a:cubicBezTo>
                <a:lnTo>
                  <a:pt x="1222917" y="1478393"/>
                </a:lnTo>
                <a:cubicBezTo>
                  <a:pt x="1238759" y="1481825"/>
                  <a:pt x="1230838" y="1485245"/>
                  <a:pt x="1241871" y="1478393"/>
                </a:cubicBezTo>
                <a:cubicBezTo>
                  <a:pt x="1241871" y="1483533"/>
                  <a:pt x="1261956" y="1498956"/>
                  <a:pt x="1264502" y="1500668"/>
                </a:cubicBezTo>
                <a:cubicBezTo>
                  <a:pt x="1330980" y="1543858"/>
                  <a:pt x="1403399" y="1552417"/>
                  <a:pt x="1443568" y="1552417"/>
                </a:cubicBezTo>
                <a:cubicBezTo>
                  <a:pt x="1458278" y="1552417"/>
                  <a:pt x="1385577" y="1511634"/>
                  <a:pt x="1490528" y="1507529"/>
                </a:cubicBezTo>
                <a:cubicBezTo>
                  <a:pt x="1505804" y="1507185"/>
                  <a:pt x="1498165" y="1453715"/>
                  <a:pt x="1540598" y="1495869"/>
                </a:cubicBezTo>
                <a:cubicBezTo>
                  <a:pt x="1554743" y="1509583"/>
                  <a:pt x="1596893" y="1476684"/>
                  <a:pt x="1614714" y="1473254"/>
                </a:cubicBezTo>
                <a:cubicBezTo>
                  <a:pt x="1659976" y="1454744"/>
                  <a:pt x="1677516" y="1450974"/>
                  <a:pt x="1727586" y="1438979"/>
                </a:cubicBezTo>
                <a:cubicBezTo>
                  <a:pt x="1732395" y="1452690"/>
                  <a:pt x="1743711" y="1462972"/>
                  <a:pt x="1756724" y="1462972"/>
                </a:cubicBezTo>
                <a:cubicBezTo>
                  <a:pt x="1790387" y="1462972"/>
                  <a:pt x="1779072" y="1413274"/>
                  <a:pt x="1811320" y="1413274"/>
                </a:cubicBezTo>
                <a:cubicBezTo>
                  <a:pt x="1821221" y="1413274"/>
                  <a:pt x="1864786" y="1490386"/>
                  <a:pt x="1895337" y="1490386"/>
                </a:cubicBezTo>
                <a:cubicBezTo>
                  <a:pt x="1927586" y="1490386"/>
                  <a:pt x="1927586" y="1452690"/>
                  <a:pt x="1958421" y="1445833"/>
                </a:cubicBezTo>
                <a:cubicBezTo>
                  <a:pt x="1961533" y="1459541"/>
                  <a:pt x="1979355" y="1492106"/>
                  <a:pt x="1996894" y="1492106"/>
                </a:cubicBezTo>
                <a:cubicBezTo>
                  <a:pt x="2022637" y="1492106"/>
                  <a:pt x="2035649" y="1469822"/>
                  <a:pt x="2066484" y="1469822"/>
                </a:cubicBezTo>
                <a:cubicBezTo>
                  <a:pt x="2164645" y="1469822"/>
                  <a:pt x="2213584" y="1555159"/>
                  <a:pt x="2311463" y="1547276"/>
                </a:cubicBezTo>
                <a:cubicBezTo>
                  <a:pt x="2403684" y="1539395"/>
                  <a:pt x="2395763" y="1528769"/>
                  <a:pt x="2440742" y="1595262"/>
                </a:cubicBezTo>
                <a:cubicBezTo>
                  <a:pt x="2430841" y="1605543"/>
                  <a:pt x="2381619" y="1599027"/>
                  <a:pt x="2381619" y="1614450"/>
                </a:cubicBezTo>
                <a:cubicBezTo>
                  <a:pt x="2381619" y="1619588"/>
                  <a:pt x="2381619" y="1644614"/>
                  <a:pt x="2445551" y="1641527"/>
                </a:cubicBezTo>
                <a:cubicBezTo>
                  <a:pt x="2480912" y="1639809"/>
                  <a:pt x="2501845" y="1626107"/>
                  <a:pt x="2534094" y="1626107"/>
                </a:cubicBezTo>
                <a:lnTo>
                  <a:pt x="2637347" y="1626107"/>
                </a:lnTo>
                <a:lnTo>
                  <a:pt x="2661676" y="1638095"/>
                </a:lnTo>
                <a:cubicBezTo>
                  <a:pt x="2689116" y="1651809"/>
                  <a:pt x="2695622" y="1694643"/>
                  <a:pt x="2727871" y="1694643"/>
                </a:cubicBezTo>
                <a:cubicBezTo>
                  <a:pt x="2735792" y="1694643"/>
                  <a:pt x="2717970" y="1655231"/>
                  <a:pt x="2717970" y="1643236"/>
                </a:cubicBezTo>
                <a:cubicBezTo>
                  <a:pt x="2717970" y="1584983"/>
                  <a:pt x="2800290" y="1631246"/>
                  <a:pt x="2793784" y="1574700"/>
                </a:cubicBezTo>
                <a:cubicBezTo>
                  <a:pt x="2774548" y="1588059"/>
                  <a:pt x="2732115" y="1601767"/>
                  <a:pt x="2706372" y="1601767"/>
                </a:cubicBezTo>
                <a:cubicBezTo>
                  <a:pt x="2693359" y="1601767"/>
                  <a:pt x="2685721" y="1595262"/>
                  <a:pt x="2685721" y="1583261"/>
                </a:cubicBezTo>
                <a:cubicBezTo>
                  <a:pt x="2685721" y="1545222"/>
                  <a:pt x="2782751" y="1543513"/>
                  <a:pt x="2811606" y="1535284"/>
                </a:cubicBezTo>
                <a:cubicBezTo>
                  <a:pt x="2832539" y="1605543"/>
                  <a:pt x="2934094" y="1638095"/>
                  <a:pt x="3021225" y="1638095"/>
                </a:cubicBezTo>
                <a:cubicBezTo>
                  <a:pt x="3113163" y="1638095"/>
                  <a:pt x="3130984" y="1634670"/>
                  <a:pt x="3158423" y="1638095"/>
                </a:cubicBezTo>
                <a:cubicBezTo>
                  <a:pt x="3158423" y="1602111"/>
                  <a:pt x="3169736" y="1583261"/>
                  <a:pt x="3198874" y="1583261"/>
                </a:cubicBezTo>
                <a:cubicBezTo>
                  <a:pt x="3222919" y="1583261"/>
                  <a:pt x="3266485" y="1595262"/>
                  <a:pt x="3271294" y="1603824"/>
                </a:cubicBezTo>
                <a:cubicBezTo>
                  <a:pt x="3284308" y="1622675"/>
                  <a:pt x="3242722" y="1678878"/>
                  <a:pt x="3295623" y="1663800"/>
                </a:cubicBezTo>
                <a:cubicBezTo>
                  <a:pt x="3295623" y="1579841"/>
                  <a:pt x="3401988" y="1614105"/>
                  <a:pt x="3381055" y="1543513"/>
                </a:cubicBezTo>
                <a:cubicBezTo>
                  <a:pt x="3368042" y="1550705"/>
                  <a:pt x="3358423" y="1553793"/>
                  <a:pt x="3347108" y="1560642"/>
                </a:cubicBezTo>
                <a:cubicBezTo>
                  <a:pt x="3347108" y="1560642"/>
                  <a:pt x="3360122" y="1519862"/>
                  <a:pt x="3360122" y="1509238"/>
                </a:cubicBezTo>
                <a:cubicBezTo>
                  <a:pt x="3360122" y="1450974"/>
                  <a:pt x="3250359" y="1485245"/>
                  <a:pt x="3250359" y="1428697"/>
                </a:cubicBezTo>
                <a:cubicBezTo>
                  <a:pt x="3250359" y="1404708"/>
                  <a:pt x="3271294" y="1406425"/>
                  <a:pt x="3271294" y="1389285"/>
                </a:cubicBezTo>
                <a:cubicBezTo>
                  <a:pt x="3271294" y="1372149"/>
                  <a:pt x="3258563" y="1363581"/>
                  <a:pt x="3258563" y="1346448"/>
                </a:cubicBezTo>
                <a:cubicBezTo>
                  <a:pt x="3258563" y="1320746"/>
                  <a:pt x="3284308" y="1325885"/>
                  <a:pt x="3303543" y="1320746"/>
                </a:cubicBezTo>
                <a:cubicBezTo>
                  <a:pt x="3301844" y="1303607"/>
                  <a:pt x="3289114" y="1282019"/>
                  <a:pt x="3319668" y="1282709"/>
                </a:cubicBezTo>
                <a:close/>
                <a:moveTo>
                  <a:pt x="15963510" y="1270003"/>
                </a:moveTo>
                <a:cubicBezTo>
                  <a:pt x="15987728" y="1270003"/>
                  <a:pt x="16048850" y="1287142"/>
                  <a:pt x="16048850" y="1312800"/>
                </a:cubicBezTo>
                <a:cubicBezTo>
                  <a:pt x="16048850" y="1335227"/>
                  <a:pt x="15921504" y="1343705"/>
                  <a:pt x="15903842" y="1343705"/>
                </a:cubicBezTo>
                <a:cubicBezTo>
                  <a:pt x="15894158" y="1343705"/>
                  <a:pt x="15887690" y="1335227"/>
                  <a:pt x="15887690" y="1326576"/>
                </a:cubicBezTo>
                <a:cubicBezTo>
                  <a:pt x="15887690" y="1300864"/>
                  <a:pt x="15936030" y="1270003"/>
                  <a:pt x="15963510" y="1270003"/>
                </a:cubicBezTo>
                <a:close/>
                <a:moveTo>
                  <a:pt x="4002654" y="1104902"/>
                </a:moveTo>
                <a:cubicBezTo>
                  <a:pt x="4038105" y="1104902"/>
                  <a:pt x="4049368" y="1118632"/>
                  <a:pt x="4083217" y="1118632"/>
                </a:cubicBezTo>
                <a:cubicBezTo>
                  <a:pt x="4126888" y="1118632"/>
                  <a:pt x="4163893" y="1156280"/>
                  <a:pt x="4192893" y="1171737"/>
                </a:cubicBezTo>
                <a:cubicBezTo>
                  <a:pt x="4188132" y="1187291"/>
                  <a:pt x="4178414" y="1199242"/>
                  <a:pt x="4163893" y="1199242"/>
                </a:cubicBezTo>
                <a:cubicBezTo>
                  <a:pt x="4142909" y="1199242"/>
                  <a:pt x="4133280" y="1187291"/>
                  <a:pt x="4115462" y="1187291"/>
                </a:cubicBezTo>
                <a:cubicBezTo>
                  <a:pt x="4097687" y="1187291"/>
                  <a:pt x="4083217" y="1204430"/>
                  <a:pt x="4055863" y="1204430"/>
                </a:cubicBezTo>
                <a:cubicBezTo>
                  <a:pt x="4023575" y="1204430"/>
                  <a:pt x="3996057" y="1195755"/>
                  <a:pt x="4007422" y="1166701"/>
                </a:cubicBezTo>
                <a:cubicBezTo>
                  <a:pt x="3992912" y="1158109"/>
                  <a:pt x="3975095" y="1149507"/>
                  <a:pt x="3975095" y="1130686"/>
                </a:cubicBezTo>
                <a:cubicBezTo>
                  <a:pt x="3975095" y="1113476"/>
                  <a:pt x="3989625" y="1104902"/>
                  <a:pt x="4002654" y="1104902"/>
                </a:cubicBezTo>
                <a:close/>
                <a:moveTo>
                  <a:pt x="10910204" y="1104902"/>
                </a:moveTo>
                <a:cubicBezTo>
                  <a:pt x="10929526" y="1104902"/>
                  <a:pt x="10934309" y="1123872"/>
                  <a:pt x="10950348" y="1137622"/>
                </a:cubicBezTo>
                <a:cubicBezTo>
                  <a:pt x="10942464" y="1144490"/>
                  <a:pt x="10905262" y="1156472"/>
                  <a:pt x="10885965" y="1156472"/>
                </a:cubicBezTo>
                <a:cubicBezTo>
                  <a:pt x="10881294" y="1156472"/>
                  <a:pt x="10885965" y="1144490"/>
                  <a:pt x="10885965" y="1139272"/>
                </a:cubicBezTo>
                <a:cubicBezTo>
                  <a:pt x="10885965" y="1123872"/>
                  <a:pt x="10895693" y="1104902"/>
                  <a:pt x="10910204" y="1104902"/>
                </a:cubicBezTo>
                <a:close/>
                <a:moveTo>
                  <a:pt x="3137787" y="1092945"/>
                </a:moveTo>
                <a:lnTo>
                  <a:pt x="3202319" y="1092945"/>
                </a:lnTo>
                <a:cubicBezTo>
                  <a:pt x="3207029" y="1092945"/>
                  <a:pt x="3218404" y="1101620"/>
                  <a:pt x="3218404" y="1110220"/>
                </a:cubicBezTo>
                <a:cubicBezTo>
                  <a:pt x="3218404" y="1144429"/>
                  <a:pt x="3178069" y="1158300"/>
                  <a:pt x="3166695" y="1173705"/>
                </a:cubicBezTo>
                <a:cubicBezTo>
                  <a:pt x="3179605" y="1171949"/>
                  <a:pt x="3226468" y="1156544"/>
                  <a:pt x="3226468" y="1175466"/>
                </a:cubicBezTo>
                <a:cubicBezTo>
                  <a:pt x="3226468" y="1199316"/>
                  <a:pt x="3221642" y="1183972"/>
                  <a:pt x="3221642" y="1201138"/>
                </a:cubicBezTo>
                <a:cubicBezTo>
                  <a:pt x="3228026" y="1202817"/>
                  <a:pt x="3249014" y="1206242"/>
                  <a:pt x="3258725" y="1209674"/>
                </a:cubicBezTo>
                <a:cubicBezTo>
                  <a:pt x="3250970" y="1303351"/>
                  <a:pt x="3245828" y="1278257"/>
                  <a:pt x="3194144" y="1298928"/>
                </a:cubicBezTo>
                <a:cubicBezTo>
                  <a:pt x="3179605" y="1304037"/>
                  <a:pt x="3176345" y="1324648"/>
                  <a:pt x="3161947" y="1324648"/>
                </a:cubicBezTo>
                <a:cubicBezTo>
                  <a:pt x="3139374" y="1324648"/>
                  <a:pt x="3136174" y="1305814"/>
                  <a:pt x="3126474" y="1295503"/>
                </a:cubicBezTo>
                <a:cubicBezTo>
                  <a:pt x="3081280" y="1247491"/>
                  <a:pt x="3031270" y="1254283"/>
                  <a:pt x="2984499" y="1204617"/>
                </a:cubicBezTo>
                <a:lnTo>
                  <a:pt x="2984499" y="1175466"/>
                </a:lnTo>
                <a:cubicBezTo>
                  <a:pt x="3005473" y="1175466"/>
                  <a:pt x="3029608" y="1195993"/>
                  <a:pt x="3057056" y="1195993"/>
                </a:cubicBezTo>
                <a:lnTo>
                  <a:pt x="3081280" y="1195993"/>
                </a:lnTo>
                <a:lnTo>
                  <a:pt x="3081280" y="1149633"/>
                </a:lnTo>
                <a:cubicBezTo>
                  <a:pt x="3060292" y="1146251"/>
                  <a:pt x="3029608" y="1149633"/>
                  <a:pt x="3029608" y="1127369"/>
                </a:cubicBezTo>
                <a:cubicBezTo>
                  <a:pt x="3029608" y="1122145"/>
                  <a:pt x="3039306" y="1118745"/>
                  <a:pt x="3040906" y="1113578"/>
                </a:cubicBezTo>
                <a:cubicBezTo>
                  <a:pt x="3066794" y="1086146"/>
                  <a:pt x="3102240" y="1092945"/>
                  <a:pt x="3137787" y="1092945"/>
                </a:cubicBezTo>
                <a:close/>
                <a:moveTo>
                  <a:pt x="3715924" y="1092203"/>
                </a:moveTo>
                <a:cubicBezTo>
                  <a:pt x="3715924" y="1092203"/>
                  <a:pt x="3767494" y="1109366"/>
                  <a:pt x="3769151" y="1109366"/>
                </a:cubicBezTo>
                <a:cubicBezTo>
                  <a:pt x="3753004" y="1145385"/>
                  <a:pt x="3699840" y="1148865"/>
                  <a:pt x="3699840" y="1198571"/>
                </a:cubicBezTo>
                <a:cubicBezTo>
                  <a:pt x="3699840" y="1208823"/>
                  <a:pt x="3704629" y="1215688"/>
                  <a:pt x="3712733" y="1215688"/>
                </a:cubicBezTo>
                <a:cubicBezTo>
                  <a:pt x="3709478" y="1227820"/>
                  <a:pt x="3712733" y="1246677"/>
                  <a:pt x="3712733" y="1246677"/>
                </a:cubicBezTo>
                <a:cubicBezTo>
                  <a:pt x="3712733" y="1260312"/>
                  <a:pt x="3709478" y="1275831"/>
                  <a:pt x="3728939" y="1275831"/>
                </a:cubicBezTo>
                <a:cubicBezTo>
                  <a:pt x="3738517" y="1275831"/>
                  <a:pt x="3761047" y="1255236"/>
                  <a:pt x="3761047" y="1241409"/>
                </a:cubicBezTo>
                <a:cubicBezTo>
                  <a:pt x="3761047" y="1224387"/>
                  <a:pt x="3744962" y="1212208"/>
                  <a:pt x="3744962" y="1195184"/>
                </a:cubicBezTo>
                <a:cubicBezTo>
                  <a:pt x="3744962" y="1129962"/>
                  <a:pt x="3853072" y="1109366"/>
                  <a:pt x="3917655" y="1109366"/>
                </a:cubicBezTo>
                <a:cubicBezTo>
                  <a:pt x="3959523" y="1109366"/>
                  <a:pt x="3982115" y="1169368"/>
                  <a:pt x="3982115" y="1207225"/>
                </a:cubicBezTo>
                <a:cubicBezTo>
                  <a:pt x="3982115" y="1213994"/>
                  <a:pt x="3974073" y="1241409"/>
                  <a:pt x="3982115" y="1241409"/>
                </a:cubicBezTo>
                <a:cubicBezTo>
                  <a:pt x="3991754" y="1241409"/>
                  <a:pt x="3998323" y="1224387"/>
                  <a:pt x="4014345" y="1224387"/>
                </a:cubicBezTo>
                <a:cubicBezTo>
                  <a:pt x="4032086" y="1224387"/>
                  <a:pt x="4036936" y="1241409"/>
                  <a:pt x="4051486" y="1241409"/>
                </a:cubicBezTo>
                <a:cubicBezTo>
                  <a:pt x="4078929" y="1241409"/>
                  <a:pt x="4086907" y="1198571"/>
                  <a:pt x="4115948" y="1198571"/>
                </a:cubicBezTo>
                <a:cubicBezTo>
                  <a:pt x="4146643" y="1198571"/>
                  <a:pt x="4216075" y="1208823"/>
                  <a:pt x="4236949" y="1224387"/>
                </a:cubicBezTo>
                <a:cubicBezTo>
                  <a:pt x="4272492" y="1251661"/>
                  <a:pt x="4283726" y="1310018"/>
                  <a:pt x="4337015" y="1310018"/>
                </a:cubicBezTo>
                <a:lnTo>
                  <a:pt x="4377470" y="1310018"/>
                </a:lnTo>
                <a:cubicBezTo>
                  <a:pt x="4395028" y="1310018"/>
                  <a:pt x="4435301" y="1315191"/>
                  <a:pt x="4430513" y="1344439"/>
                </a:cubicBezTo>
                <a:cubicBezTo>
                  <a:pt x="4474039" y="1359770"/>
                  <a:pt x="4498349" y="1387184"/>
                  <a:pt x="4543473" y="1392403"/>
                </a:cubicBezTo>
                <a:lnTo>
                  <a:pt x="4543473" y="1421606"/>
                </a:lnTo>
                <a:lnTo>
                  <a:pt x="4570973" y="1421606"/>
                </a:lnTo>
                <a:cubicBezTo>
                  <a:pt x="4593444" y="1421606"/>
                  <a:pt x="4606397" y="1438818"/>
                  <a:pt x="4616098" y="1462848"/>
                </a:cubicBezTo>
                <a:cubicBezTo>
                  <a:pt x="4593444" y="1467924"/>
                  <a:pt x="4572509" y="1466137"/>
                  <a:pt x="4559556" y="1486829"/>
                </a:cubicBezTo>
                <a:cubicBezTo>
                  <a:pt x="4586936" y="1490262"/>
                  <a:pt x="4593444" y="1490262"/>
                  <a:pt x="4607992" y="1490262"/>
                </a:cubicBezTo>
                <a:cubicBezTo>
                  <a:pt x="4616098" y="1490262"/>
                  <a:pt x="4627394" y="1495388"/>
                  <a:pt x="4632120" y="1505685"/>
                </a:cubicBezTo>
                <a:cubicBezTo>
                  <a:pt x="4606397" y="1519418"/>
                  <a:pt x="4593444" y="1519418"/>
                  <a:pt x="4578956" y="1545185"/>
                </a:cubicBezTo>
                <a:cubicBezTo>
                  <a:pt x="4593444" y="1553652"/>
                  <a:pt x="4603142" y="1558823"/>
                  <a:pt x="4624138" y="1558823"/>
                </a:cubicBezTo>
                <a:cubicBezTo>
                  <a:pt x="4627394" y="1598418"/>
                  <a:pt x="4670857" y="1615440"/>
                  <a:pt x="4704745" y="1618920"/>
                </a:cubicBezTo>
                <a:cubicBezTo>
                  <a:pt x="4707999" y="1649814"/>
                  <a:pt x="4716041" y="1679015"/>
                  <a:pt x="4740289" y="1679015"/>
                </a:cubicBezTo>
                <a:cubicBezTo>
                  <a:pt x="4775773" y="1679015"/>
                  <a:pt x="4783817" y="1654941"/>
                  <a:pt x="4796708" y="1687621"/>
                </a:cubicBezTo>
                <a:cubicBezTo>
                  <a:pt x="4804749" y="1696087"/>
                  <a:pt x="4817765" y="1696087"/>
                  <a:pt x="4825745" y="1696087"/>
                </a:cubicBezTo>
                <a:cubicBezTo>
                  <a:pt x="4856379" y="1696087"/>
                  <a:pt x="4869333" y="1708171"/>
                  <a:pt x="4869333" y="1735588"/>
                </a:cubicBezTo>
                <a:cubicBezTo>
                  <a:pt x="4869333" y="1757876"/>
                  <a:pt x="4841831" y="1764696"/>
                  <a:pt x="4820957" y="1764696"/>
                </a:cubicBezTo>
                <a:cubicBezTo>
                  <a:pt x="4822552" y="1783645"/>
                  <a:pt x="4820957" y="1778473"/>
                  <a:pt x="4820957" y="1787079"/>
                </a:cubicBezTo>
                <a:cubicBezTo>
                  <a:pt x="4820957" y="1792250"/>
                  <a:pt x="4816045" y="1807629"/>
                  <a:pt x="4785351" y="1807629"/>
                </a:cubicBezTo>
                <a:cubicBezTo>
                  <a:pt x="4785351" y="1826625"/>
                  <a:pt x="4782159" y="1855688"/>
                  <a:pt x="4764416" y="1855688"/>
                </a:cubicBezTo>
                <a:cubicBezTo>
                  <a:pt x="4683811" y="1855688"/>
                  <a:pt x="4680558" y="1739020"/>
                  <a:pt x="4603142" y="1739020"/>
                </a:cubicBezTo>
                <a:cubicBezTo>
                  <a:pt x="4593444" y="1739020"/>
                  <a:pt x="4572509" y="1757876"/>
                  <a:pt x="4570973" y="1757876"/>
                </a:cubicBezTo>
                <a:cubicBezTo>
                  <a:pt x="4585462" y="1766482"/>
                  <a:pt x="4588594" y="1764696"/>
                  <a:pt x="4603142" y="1761262"/>
                </a:cubicBezTo>
                <a:lnTo>
                  <a:pt x="4603142" y="1781905"/>
                </a:lnTo>
                <a:cubicBezTo>
                  <a:pt x="4593444" y="1785337"/>
                  <a:pt x="4585462" y="1787079"/>
                  <a:pt x="4578956" y="1781905"/>
                </a:cubicBezTo>
                <a:lnTo>
                  <a:pt x="4578956" y="1807629"/>
                </a:lnTo>
                <a:lnTo>
                  <a:pt x="4599950" y="1807629"/>
                </a:lnTo>
                <a:cubicBezTo>
                  <a:pt x="4603142" y="1829869"/>
                  <a:pt x="4622481" y="1867726"/>
                  <a:pt x="4635496" y="1872897"/>
                </a:cubicBezTo>
                <a:cubicBezTo>
                  <a:pt x="4666069" y="1884841"/>
                  <a:pt x="4677303" y="1864291"/>
                  <a:pt x="4680558" y="1893494"/>
                </a:cubicBezTo>
                <a:lnTo>
                  <a:pt x="4707999" y="1893494"/>
                </a:lnTo>
                <a:cubicBezTo>
                  <a:pt x="4706341" y="1921003"/>
                  <a:pt x="4706341" y="1921003"/>
                  <a:pt x="4707999" y="1927773"/>
                </a:cubicBezTo>
                <a:cubicBezTo>
                  <a:pt x="4707999" y="1939811"/>
                  <a:pt x="4737036" y="1948323"/>
                  <a:pt x="4737036" y="1967226"/>
                </a:cubicBezTo>
                <a:cubicBezTo>
                  <a:pt x="4737036" y="1984437"/>
                  <a:pt x="4719233" y="2016837"/>
                  <a:pt x="4712848" y="2035882"/>
                </a:cubicBezTo>
                <a:cubicBezTo>
                  <a:pt x="4683811" y="2032261"/>
                  <a:pt x="4580551" y="1991303"/>
                  <a:pt x="4562809" y="1967226"/>
                </a:cubicBezTo>
                <a:lnTo>
                  <a:pt x="4538622" y="1967226"/>
                </a:lnTo>
                <a:cubicBezTo>
                  <a:pt x="4566065" y="2003294"/>
                  <a:pt x="4656430" y="2039362"/>
                  <a:pt x="4656430" y="2087232"/>
                </a:cubicBezTo>
                <a:cubicBezTo>
                  <a:pt x="4656430" y="2099270"/>
                  <a:pt x="4646670" y="2107923"/>
                  <a:pt x="4640223" y="2107923"/>
                </a:cubicBezTo>
                <a:cubicBezTo>
                  <a:pt x="4632120" y="2107923"/>
                  <a:pt x="4628989" y="2089019"/>
                  <a:pt x="4624138" y="2087232"/>
                </a:cubicBezTo>
                <a:cubicBezTo>
                  <a:pt x="4577359" y="2063297"/>
                  <a:pt x="4546726" y="2073595"/>
                  <a:pt x="4506390" y="2047779"/>
                </a:cubicBezTo>
                <a:cubicBezTo>
                  <a:pt x="4467653" y="2023938"/>
                  <a:pt x="4370902" y="2025583"/>
                  <a:pt x="4398282" y="1970706"/>
                </a:cubicBezTo>
                <a:cubicBezTo>
                  <a:pt x="4345117" y="1946630"/>
                  <a:pt x="4319211" y="1913901"/>
                  <a:pt x="4272492" y="1884841"/>
                </a:cubicBezTo>
                <a:cubicBezTo>
                  <a:pt x="4264388" y="1896831"/>
                  <a:pt x="4254629" y="1910564"/>
                  <a:pt x="4240201" y="1910564"/>
                </a:cubicBezTo>
                <a:cubicBezTo>
                  <a:pt x="4223993" y="1910564"/>
                  <a:pt x="4227371" y="1898573"/>
                  <a:pt x="4212882" y="1898573"/>
                </a:cubicBezTo>
                <a:cubicBezTo>
                  <a:pt x="4193421" y="1898573"/>
                  <a:pt x="4183784" y="1924388"/>
                  <a:pt x="4164383" y="1924388"/>
                </a:cubicBezTo>
                <a:cubicBezTo>
                  <a:pt x="4146643" y="1924388"/>
                  <a:pt x="4095012" y="1900219"/>
                  <a:pt x="4095012" y="1876283"/>
                </a:cubicBezTo>
                <a:cubicBezTo>
                  <a:pt x="4095012" y="1859168"/>
                  <a:pt x="4137004" y="1829869"/>
                  <a:pt x="4159534" y="1829869"/>
                </a:cubicBezTo>
                <a:lnTo>
                  <a:pt x="4228967" y="1829869"/>
                </a:lnTo>
                <a:cubicBezTo>
                  <a:pt x="4243394" y="1829869"/>
                  <a:pt x="4282131" y="1819665"/>
                  <a:pt x="4301469" y="1805887"/>
                </a:cubicBezTo>
                <a:cubicBezTo>
                  <a:pt x="4293428" y="1800808"/>
                  <a:pt x="4272492" y="1783645"/>
                  <a:pt x="4272492" y="1769962"/>
                </a:cubicBezTo>
                <a:cubicBezTo>
                  <a:pt x="4272492" y="1740712"/>
                  <a:pt x="4301469" y="1756137"/>
                  <a:pt x="4312764" y="1744146"/>
                </a:cubicBezTo>
                <a:cubicBezTo>
                  <a:pt x="4327254" y="1728720"/>
                  <a:pt x="4361140" y="1690961"/>
                  <a:pt x="4361140" y="1667027"/>
                </a:cubicBezTo>
                <a:cubicBezTo>
                  <a:pt x="4361140" y="1622446"/>
                  <a:pt x="4257943" y="1538273"/>
                  <a:pt x="4223993" y="1538273"/>
                </a:cubicBezTo>
                <a:cubicBezTo>
                  <a:pt x="4203060" y="1538273"/>
                  <a:pt x="4193421" y="1558823"/>
                  <a:pt x="4172427" y="1558823"/>
                </a:cubicBezTo>
                <a:cubicBezTo>
                  <a:pt x="4165981" y="1558823"/>
                  <a:pt x="4159534" y="1541659"/>
                  <a:pt x="4159534" y="1538273"/>
                </a:cubicBezTo>
                <a:cubicBezTo>
                  <a:pt x="4159534" y="1521156"/>
                  <a:pt x="4188573" y="1517724"/>
                  <a:pt x="4198272" y="1516030"/>
                </a:cubicBezTo>
                <a:cubicBezTo>
                  <a:pt x="4183784" y="1500559"/>
                  <a:pt x="4096670" y="1421606"/>
                  <a:pt x="4078929" y="1421606"/>
                </a:cubicBezTo>
                <a:cubicBezTo>
                  <a:pt x="4057994" y="1421606"/>
                  <a:pt x="4032086" y="1486829"/>
                  <a:pt x="4003050" y="1486829"/>
                </a:cubicBezTo>
                <a:cubicBezTo>
                  <a:pt x="3982115" y="1486829"/>
                  <a:pt x="3988623" y="1459225"/>
                  <a:pt x="3990156" y="1447377"/>
                </a:cubicBezTo>
                <a:cubicBezTo>
                  <a:pt x="3940185" y="1442203"/>
                  <a:pt x="3817587" y="1447377"/>
                  <a:pt x="3744962" y="1447377"/>
                </a:cubicBezTo>
                <a:cubicBezTo>
                  <a:pt x="3732071" y="1447377"/>
                  <a:pt x="3706225" y="1426732"/>
                  <a:pt x="3696586" y="1412955"/>
                </a:cubicBezTo>
                <a:lnTo>
                  <a:pt x="3619235" y="1412955"/>
                </a:lnTo>
                <a:cubicBezTo>
                  <a:pt x="3611007" y="1388878"/>
                  <a:pt x="3586882" y="1385538"/>
                  <a:pt x="3583689" y="1361556"/>
                </a:cubicBezTo>
                <a:cubicBezTo>
                  <a:pt x="3604624" y="1352905"/>
                  <a:pt x="3628873" y="1363295"/>
                  <a:pt x="3656253" y="1366682"/>
                </a:cubicBezTo>
                <a:lnTo>
                  <a:pt x="3656253" y="1344439"/>
                </a:lnTo>
                <a:cubicBezTo>
                  <a:pt x="3641704" y="1334141"/>
                  <a:pt x="3567544" y="1327229"/>
                  <a:pt x="3567544" y="1327229"/>
                </a:cubicBezTo>
                <a:cubicBezTo>
                  <a:pt x="3567544" y="1327229"/>
                  <a:pt x="3543295" y="1296333"/>
                  <a:pt x="3543295" y="1280862"/>
                </a:cubicBezTo>
                <a:cubicBezTo>
                  <a:pt x="3543295" y="1232898"/>
                  <a:pt x="3551397" y="1222553"/>
                  <a:pt x="3575586" y="1203745"/>
                </a:cubicBezTo>
                <a:cubicBezTo>
                  <a:pt x="3588478" y="1193492"/>
                  <a:pt x="3580374" y="1162455"/>
                  <a:pt x="3586882" y="1155590"/>
                </a:cubicBezTo>
                <a:cubicBezTo>
                  <a:pt x="3619235" y="1121404"/>
                  <a:pt x="3661165" y="1092203"/>
                  <a:pt x="3715924" y="1092203"/>
                </a:cubicBezTo>
                <a:close/>
                <a:moveTo>
                  <a:pt x="2826059" y="1092200"/>
                </a:moveTo>
                <a:cubicBezTo>
                  <a:pt x="2855157" y="1092200"/>
                  <a:pt x="2882489" y="1104261"/>
                  <a:pt x="2882489" y="1129951"/>
                </a:cubicBezTo>
                <a:cubicBezTo>
                  <a:pt x="2882489" y="1155715"/>
                  <a:pt x="2847079" y="1171109"/>
                  <a:pt x="2847079" y="1186620"/>
                </a:cubicBezTo>
                <a:cubicBezTo>
                  <a:pt x="2847079" y="1248291"/>
                  <a:pt x="2890606" y="1287817"/>
                  <a:pt x="2890606" y="1332514"/>
                </a:cubicBezTo>
                <a:cubicBezTo>
                  <a:pt x="2890606" y="1387258"/>
                  <a:pt x="3026132" y="1425093"/>
                  <a:pt x="3056839" y="1450872"/>
                </a:cubicBezTo>
                <a:cubicBezTo>
                  <a:pt x="3027661" y="1471316"/>
                  <a:pt x="3021232" y="1464571"/>
                  <a:pt x="2992213" y="1464571"/>
                </a:cubicBezTo>
                <a:cubicBezTo>
                  <a:pt x="2979388" y="1464571"/>
                  <a:pt x="2971193" y="1469727"/>
                  <a:pt x="2971193" y="1481762"/>
                </a:cubicBezTo>
                <a:cubicBezTo>
                  <a:pt x="2971193" y="1495509"/>
                  <a:pt x="2988957" y="1495509"/>
                  <a:pt x="2995429" y="1495509"/>
                </a:cubicBezTo>
                <a:cubicBezTo>
                  <a:pt x="2997113" y="1509066"/>
                  <a:pt x="3005154" y="1514331"/>
                  <a:pt x="3011585" y="1519470"/>
                </a:cubicBezTo>
                <a:cubicBezTo>
                  <a:pt x="2997113" y="1551995"/>
                  <a:pt x="2959938" y="1550334"/>
                  <a:pt x="2919664" y="1550334"/>
                </a:cubicBezTo>
                <a:cubicBezTo>
                  <a:pt x="2856725" y="1550334"/>
                  <a:pt x="2834138" y="1498908"/>
                  <a:pt x="2787276" y="1498908"/>
                </a:cubicBezTo>
                <a:cubicBezTo>
                  <a:pt x="2758375" y="1498908"/>
                  <a:pt x="2769630" y="1517782"/>
                  <a:pt x="2745395" y="1529711"/>
                </a:cubicBezTo>
                <a:cubicBezTo>
                  <a:pt x="2703474" y="1551995"/>
                  <a:pt x="2663162" y="1538340"/>
                  <a:pt x="2629202" y="1564074"/>
                </a:cubicBezTo>
                <a:lnTo>
                  <a:pt x="2484146" y="1564074"/>
                </a:lnTo>
                <a:cubicBezTo>
                  <a:pt x="2456657" y="1564074"/>
                  <a:pt x="2474382" y="1536572"/>
                  <a:pt x="2455049" y="1521104"/>
                </a:cubicBezTo>
                <a:cubicBezTo>
                  <a:pt x="2437364" y="1507340"/>
                  <a:pt x="2389012" y="1512670"/>
                  <a:pt x="2366385" y="1512670"/>
                </a:cubicBezTo>
                <a:cubicBezTo>
                  <a:pt x="2330857" y="1512670"/>
                  <a:pt x="2301838" y="1473086"/>
                  <a:pt x="2290583" y="1452507"/>
                </a:cubicBezTo>
                <a:cubicBezTo>
                  <a:pt x="2329210" y="1421660"/>
                  <a:pt x="2379287" y="1413118"/>
                  <a:pt x="2447010" y="1413118"/>
                </a:cubicBezTo>
                <a:cubicBezTo>
                  <a:pt x="2471206" y="1413118"/>
                  <a:pt x="2480813" y="1411331"/>
                  <a:pt x="2500225" y="1409688"/>
                </a:cubicBezTo>
                <a:cubicBezTo>
                  <a:pt x="2488931" y="1402872"/>
                  <a:pt x="2476029" y="1392476"/>
                  <a:pt x="2459873" y="1392476"/>
                </a:cubicBezTo>
                <a:lnTo>
                  <a:pt x="2374463" y="1392476"/>
                </a:lnTo>
                <a:cubicBezTo>
                  <a:pt x="2338935" y="1392476"/>
                  <a:pt x="2250231" y="1409688"/>
                  <a:pt x="2250231" y="1361633"/>
                </a:cubicBezTo>
                <a:cubicBezTo>
                  <a:pt x="2250231" y="1323863"/>
                  <a:pt x="2296936" y="1337560"/>
                  <a:pt x="2314739" y="1325587"/>
                </a:cubicBezTo>
                <a:cubicBezTo>
                  <a:pt x="2288897" y="1318722"/>
                  <a:pt x="2279211" y="1323863"/>
                  <a:pt x="2258231" y="1323863"/>
                </a:cubicBezTo>
                <a:cubicBezTo>
                  <a:pt x="2240505" y="1323863"/>
                  <a:pt x="2209801" y="1298144"/>
                  <a:pt x="2209801" y="1289559"/>
                </a:cubicBezTo>
                <a:cubicBezTo>
                  <a:pt x="2209801" y="1205428"/>
                  <a:pt x="2356620" y="1143805"/>
                  <a:pt x="2414697" y="1143805"/>
                </a:cubicBezTo>
                <a:cubicBezTo>
                  <a:pt x="2437364" y="1143805"/>
                  <a:pt x="2435717" y="1193522"/>
                  <a:pt x="2442148" y="1203724"/>
                </a:cubicBezTo>
                <a:cubicBezTo>
                  <a:pt x="2455049" y="1195336"/>
                  <a:pt x="2466343" y="1172906"/>
                  <a:pt x="2492146" y="1172906"/>
                </a:cubicBezTo>
                <a:cubicBezTo>
                  <a:pt x="2537400" y="1172906"/>
                  <a:pt x="2553400" y="1193522"/>
                  <a:pt x="2564772" y="1224437"/>
                </a:cubicBezTo>
                <a:cubicBezTo>
                  <a:pt x="2582536" y="1220833"/>
                  <a:pt x="2595320" y="1217510"/>
                  <a:pt x="2613163" y="1212311"/>
                </a:cubicBezTo>
                <a:cubicBezTo>
                  <a:pt x="2611594" y="1196887"/>
                  <a:pt x="2608379" y="1191823"/>
                  <a:pt x="2605124" y="1181450"/>
                </a:cubicBezTo>
                <a:lnTo>
                  <a:pt x="2640456" y="1181450"/>
                </a:lnTo>
                <a:cubicBezTo>
                  <a:pt x="2663162" y="1188281"/>
                  <a:pt x="2685749" y="1210676"/>
                  <a:pt x="2693827" y="1229568"/>
                </a:cubicBezTo>
                <a:cubicBezTo>
                  <a:pt x="2703474" y="1250125"/>
                  <a:pt x="2692220" y="1292943"/>
                  <a:pt x="2721199" y="1292943"/>
                </a:cubicBezTo>
                <a:cubicBezTo>
                  <a:pt x="2734101" y="1292943"/>
                  <a:pt x="2734101" y="1286020"/>
                  <a:pt x="2742218" y="1279291"/>
                </a:cubicBezTo>
                <a:cubicBezTo>
                  <a:pt x="2729317" y="1256926"/>
                  <a:pt x="2705082" y="1176354"/>
                  <a:pt x="2705082" y="1160951"/>
                </a:cubicBezTo>
                <a:cubicBezTo>
                  <a:pt x="2705082" y="1147062"/>
                  <a:pt x="2721199" y="1138492"/>
                  <a:pt x="2734101" y="1138492"/>
                </a:cubicBezTo>
                <a:cubicBezTo>
                  <a:pt x="2763159" y="1138492"/>
                  <a:pt x="2753473" y="1152283"/>
                  <a:pt x="2779355" y="1138492"/>
                </a:cubicBezTo>
                <a:cubicBezTo>
                  <a:pt x="2777708" y="1133427"/>
                  <a:pt x="2777708" y="1126720"/>
                  <a:pt x="2777708" y="1121474"/>
                </a:cubicBezTo>
                <a:cubicBezTo>
                  <a:pt x="2777708" y="1104261"/>
                  <a:pt x="2800295" y="1092200"/>
                  <a:pt x="2826059" y="1092200"/>
                </a:cubicBezTo>
                <a:close/>
                <a:moveTo>
                  <a:pt x="3369844" y="1066804"/>
                </a:moveTo>
                <a:cubicBezTo>
                  <a:pt x="3424633" y="1066804"/>
                  <a:pt x="3469839" y="1087352"/>
                  <a:pt x="3527986" y="1087352"/>
                </a:cubicBezTo>
                <a:cubicBezTo>
                  <a:pt x="3526297" y="1095900"/>
                  <a:pt x="3527986" y="1101077"/>
                  <a:pt x="3527986" y="1109527"/>
                </a:cubicBezTo>
                <a:cubicBezTo>
                  <a:pt x="3527986" y="1113083"/>
                  <a:pt x="3498880" y="1135481"/>
                  <a:pt x="3498880" y="1135481"/>
                </a:cubicBezTo>
                <a:cubicBezTo>
                  <a:pt x="3477949" y="1166358"/>
                  <a:pt x="3455439" y="1204046"/>
                  <a:pt x="3407008" y="1204046"/>
                </a:cubicBezTo>
                <a:cubicBezTo>
                  <a:pt x="3371491" y="1204046"/>
                  <a:pt x="3371491" y="1181717"/>
                  <a:pt x="3361800" y="1216074"/>
                </a:cubicBezTo>
                <a:lnTo>
                  <a:pt x="3382840" y="1216074"/>
                </a:lnTo>
                <a:cubicBezTo>
                  <a:pt x="3377978" y="1246846"/>
                  <a:pt x="3365026" y="1252090"/>
                  <a:pt x="3345566" y="1272604"/>
                </a:cubicBezTo>
                <a:lnTo>
                  <a:pt x="3313486" y="1272604"/>
                </a:lnTo>
                <a:cubicBezTo>
                  <a:pt x="3313486" y="1250300"/>
                  <a:pt x="3313486" y="1229656"/>
                  <a:pt x="3314989" y="1221177"/>
                </a:cubicBezTo>
                <a:cubicBezTo>
                  <a:pt x="3289297" y="1193642"/>
                  <a:pt x="3300436" y="1173109"/>
                  <a:pt x="3289297" y="1138770"/>
                </a:cubicBezTo>
                <a:lnTo>
                  <a:pt x="3289297" y="1109527"/>
                </a:lnTo>
                <a:lnTo>
                  <a:pt x="3326238" y="1109527"/>
                </a:lnTo>
                <a:cubicBezTo>
                  <a:pt x="3323034" y="1107866"/>
                  <a:pt x="3326238" y="1097649"/>
                  <a:pt x="3326238" y="1092449"/>
                </a:cubicBezTo>
                <a:cubicBezTo>
                  <a:pt x="3326238" y="1090726"/>
                  <a:pt x="3336074" y="1066804"/>
                  <a:pt x="3369844" y="1066804"/>
                </a:cubicBezTo>
                <a:close/>
                <a:moveTo>
                  <a:pt x="14199941" y="1054101"/>
                </a:moveTo>
                <a:cubicBezTo>
                  <a:pt x="14241787" y="1054101"/>
                  <a:pt x="14274023" y="1083333"/>
                  <a:pt x="14275691" y="1122690"/>
                </a:cubicBezTo>
                <a:lnTo>
                  <a:pt x="14227302" y="1122690"/>
                </a:lnTo>
                <a:cubicBezTo>
                  <a:pt x="14198323" y="1105497"/>
                  <a:pt x="14161275" y="1109057"/>
                  <a:pt x="14130544" y="1097045"/>
                </a:cubicBezTo>
                <a:lnTo>
                  <a:pt x="14122389" y="1105497"/>
                </a:lnTo>
                <a:cubicBezTo>
                  <a:pt x="14141750" y="1078310"/>
                  <a:pt x="14162737" y="1054101"/>
                  <a:pt x="14199941" y="1054101"/>
                </a:cubicBezTo>
                <a:close/>
                <a:moveTo>
                  <a:pt x="2090536" y="1029066"/>
                </a:moveTo>
                <a:cubicBezTo>
                  <a:pt x="2096440" y="1028329"/>
                  <a:pt x="2102899" y="1028633"/>
                  <a:pt x="2110174" y="1030761"/>
                </a:cubicBezTo>
                <a:cubicBezTo>
                  <a:pt x="2145575" y="1041152"/>
                  <a:pt x="2161634" y="1061632"/>
                  <a:pt x="2197122" y="1065174"/>
                </a:cubicBezTo>
                <a:cubicBezTo>
                  <a:pt x="2211759" y="1080580"/>
                  <a:pt x="2231122" y="1059956"/>
                  <a:pt x="2252017" y="1059956"/>
                </a:cubicBezTo>
                <a:cubicBezTo>
                  <a:pt x="2285842" y="1059956"/>
                  <a:pt x="2364892" y="1094279"/>
                  <a:pt x="2364892" y="1133900"/>
                </a:cubicBezTo>
                <a:cubicBezTo>
                  <a:pt x="2364892" y="1152610"/>
                  <a:pt x="2279410" y="1166375"/>
                  <a:pt x="2263372" y="1171484"/>
                </a:cubicBezTo>
                <a:cubicBezTo>
                  <a:pt x="2213313" y="1188629"/>
                  <a:pt x="2142314" y="1260609"/>
                  <a:pt x="2142314" y="1300198"/>
                </a:cubicBezTo>
                <a:cubicBezTo>
                  <a:pt x="2142314" y="1313881"/>
                  <a:pt x="2030994" y="1356746"/>
                  <a:pt x="2018107" y="1356746"/>
                </a:cubicBezTo>
                <a:cubicBezTo>
                  <a:pt x="2006817" y="1356746"/>
                  <a:pt x="2002135" y="1339697"/>
                  <a:pt x="1993974" y="1339697"/>
                </a:cubicBezTo>
                <a:cubicBezTo>
                  <a:pt x="1985879" y="1339697"/>
                  <a:pt x="1974589" y="1313881"/>
                  <a:pt x="1969776" y="1305338"/>
                </a:cubicBezTo>
                <a:cubicBezTo>
                  <a:pt x="1956823" y="1286486"/>
                  <a:pt x="1892302" y="1291612"/>
                  <a:pt x="1892302" y="1270985"/>
                </a:cubicBezTo>
                <a:cubicBezTo>
                  <a:pt x="1892302" y="1212667"/>
                  <a:pt x="1972883" y="1164695"/>
                  <a:pt x="1972883" y="1102788"/>
                </a:cubicBezTo>
                <a:cubicBezTo>
                  <a:pt x="1972883" y="1089208"/>
                  <a:pt x="1950391" y="1061632"/>
                  <a:pt x="1948772" y="1042888"/>
                </a:cubicBezTo>
                <a:cubicBezTo>
                  <a:pt x="1989095" y="1025604"/>
                  <a:pt x="2006817" y="1042888"/>
                  <a:pt x="2045477" y="1042888"/>
                </a:cubicBezTo>
                <a:cubicBezTo>
                  <a:pt x="2060131" y="1042888"/>
                  <a:pt x="2072828" y="1031275"/>
                  <a:pt x="2090536" y="1029066"/>
                </a:cubicBezTo>
                <a:close/>
                <a:moveTo>
                  <a:pt x="12878031" y="1028704"/>
                </a:moveTo>
                <a:cubicBezTo>
                  <a:pt x="12878031" y="1028704"/>
                  <a:pt x="12865089" y="1040819"/>
                  <a:pt x="12865089" y="1040819"/>
                </a:cubicBezTo>
                <a:cubicBezTo>
                  <a:pt x="12867894" y="1037669"/>
                  <a:pt x="12871810" y="1034504"/>
                  <a:pt x="12874592" y="1030412"/>
                </a:cubicBezTo>
                <a:cubicBezTo>
                  <a:pt x="12875707" y="1029785"/>
                  <a:pt x="12876915" y="1029378"/>
                  <a:pt x="12878031" y="1028704"/>
                </a:cubicBezTo>
                <a:close/>
                <a:moveTo>
                  <a:pt x="14144078" y="1016023"/>
                </a:moveTo>
                <a:cubicBezTo>
                  <a:pt x="14154922" y="1016460"/>
                  <a:pt x="14165767" y="1023328"/>
                  <a:pt x="14165767" y="1035319"/>
                </a:cubicBezTo>
                <a:cubicBezTo>
                  <a:pt x="14165767" y="1049183"/>
                  <a:pt x="14152989" y="1057647"/>
                  <a:pt x="14141640" y="1057647"/>
                </a:cubicBezTo>
                <a:cubicBezTo>
                  <a:pt x="14123779" y="1057647"/>
                  <a:pt x="14122389" y="1050921"/>
                  <a:pt x="14122389" y="1035319"/>
                </a:cubicBezTo>
                <a:cubicBezTo>
                  <a:pt x="14122389" y="1021583"/>
                  <a:pt x="14133233" y="1015587"/>
                  <a:pt x="14144078" y="1016023"/>
                </a:cubicBezTo>
                <a:close/>
                <a:moveTo>
                  <a:pt x="12849741" y="990604"/>
                </a:moveTo>
                <a:cubicBezTo>
                  <a:pt x="12872248" y="990604"/>
                  <a:pt x="12886851" y="995730"/>
                  <a:pt x="12886851" y="1016268"/>
                </a:cubicBezTo>
                <a:cubicBezTo>
                  <a:pt x="12886851" y="1020544"/>
                  <a:pt x="12885373" y="1023738"/>
                  <a:pt x="12883411" y="1026573"/>
                </a:cubicBezTo>
                <a:cubicBezTo>
                  <a:pt x="12873135" y="1032407"/>
                  <a:pt x="12862792" y="1036979"/>
                  <a:pt x="12849741" y="1036979"/>
                </a:cubicBezTo>
                <a:cubicBezTo>
                  <a:pt x="12832084" y="1036979"/>
                  <a:pt x="12814290" y="1031658"/>
                  <a:pt x="12814290" y="1016268"/>
                </a:cubicBezTo>
                <a:cubicBezTo>
                  <a:pt x="12814290" y="999162"/>
                  <a:pt x="12833656" y="990604"/>
                  <a:pt x="12849741" y="990604"/>
                </a:cubicBezTo>
                <a:close/>
                <a:moveTo>
                  <a:pt x="6836033" y="927100"/>
                </a:moveTo>
                <a:cubicBezTo>
                  <a:pt x="6836033" y="927100"/>
                  <a:pt x="6865172" y="927100"/>
                  <a:pt x="6865172" y="927100"/>
                </a:cubicBezTo>
                <a:lnTo>
                  <a:pt x="6865172" y="949409"/>
                </a:lnTo>
                <a:lnTo>
                  <a:pt x="6892555" y="949409"/>
                </a:lnTo>
                <a:cubicBezTo>
                  <a:pt x="6884458" y="954595"/>
                  <a:pt x="6857152" y="975275"/>
                  <a:pt x="6840941" y="975275"/>
                </a:cubicBezTo>
                <a:cubicBezTo>
                  <a:pt x="6829664" y="975275"/>
                  <a:pt x="6819892" y="958114"/>
                  <a:pt x="6819892" y="949409"/>
                </a:cubicBezTo>
                <a:cubicBezTo>
                  <a:pt x="6819892" y="939275"/>
                  <a:pt x="6831273" y="932240"/>
                  <a:pt x="6836033" y="927100"/>
                </a:cubicBezTo>
                <a:close/>
                <a:moveTo>
                  <a:pt x="2902631" y="927100"/>
                </a:moveTo>
                <a:cubicBezTo>
                  <a:pt x="2905852" y="935845"/>
                  <a:pt x="2914019" y="940800"/>
                  <a:pt x="2914019" y="952831"/>
                </a:cubicBezTo>
                <a:cubicBezTo>
                  <a:pt x="2914019" y="973465"/>
                  <a:pt x="2899462" y="975279"/>
                  <a:pt x="2889781" y="975279"/>
                </a:cubicBezTo>
                <a:cubicBezTo>
                  <a:pt x="2873718" y="975279"/>
                  <a:pt x="2870380" y="971866"/>
                  <a:pt x="2857498" y="973465"/>
                </a:cubicBezTo>
                <a:cubicBezTo>
                  <a:pt x="2863852" y="944356"/>
                  <a:pt x="2880065" y="935845"/>
                  <a:pt x="2902631" y="927100"/>
                </a:cubicBezTo>
                <a:close/>
                <a:moveTo>
                  <a:pt x="3320564" y="914404"/>
                </a:moveTo>
                <a:cubicBezTo>
                  <a:pt x="3349597" y="914404"/>
                  <a:pt x="3388321" y="948701"/>
                  <a:pt x="3388321" y="970888"/>
                </a:cubicBezTo>
                <a:cubicBezTo>
                  <a:pt x="3388321" y="1000119"/>
                  <a:pt x="3378653" y="1025843"/>
                  <a:pt x="3356060" y="1025843"/>
                </a:cubicBezTo>
                <a:cubicBezTo>
                  <a:pt x="3344708" y="1025843"/>
                  <a:pt x="3251195" y="979619"/>
                  <a:pt x="3251195" y="979619"/>
                </a:cubicBezTo>
                <a:cubicBezTo>
                  <a:pt x="3251195" y="962459"/>
                  <a:pt x="3269035" y="953759"/>
                  <a:pt x="3272177" y="953759"/>
                </a:cubicBezTo>
                <a:cubicBezTo>
                  <a:pt x="3289983" y="953759"/>
                  <a:pt x="3283502" y="914404"/>
                  <a:pt x="3320564" y="914404"/>
                </a:cubicBezTo>
                <a:close/>
                <a:moveTo>
                  <a:pt x="14414489" y="889001"/>
                </a:moveTo>
                <a:cubicBezTo>
                  <a:pt x="14429070" y="900965"/>
                  <a:pt x="14598540" y="923180"/>
                  <a:pt x="14604878" y="923180"/>
                </a:cubicBezTo>
                <a:cubicBezTo>
                  <a:pt x="14614564" y="923180"/>
                  <a:pt x="14621008" y="931856"/>
                  <a:pt x="14621008" y="940428"/>
                </a:cubicBezTo>
                <a:cubicBezTo>
                  <a:pt x="14621008" y="959328"/>
                  <a:pt x="14574302" y="966024"/>
                  <a:pt x="14548353" y="966024"/>
                </a:cubicBezTo>
                <a:cubicBezTo>
                  <a:pt x="14506572" y="966024"/>
                  <a:pt x="14430599" y="945488"/>
                  <a:pt x="14430599" y="902594"/>
                </a:cubicBezTo>
                <a:close/>
                <a:moveTo>
                  <a:pt x="2260174" y="876433"/>
                </a:moveTo>
                <a:cubicBezTo>
                  <a:pt x="2256985" y="900411"/>
                  <a:pt x="2232674" y="936538"/>
                  <a:pt x="2211749" y="936538"/>
                </a:cubicBezTo>
                <a:cubicBezTo>
                  <a:pt x="2198888" y="936538"/>
                  <a:pt x="2184400" y="927859"/>
                  <a:pt x="2184400" y="915959"/>
                </a:cubicBezTo>
                <a:cubicBezTo>
                  <a:pt x="2184400" y="888501"/>
                  <a:pt x="2244135" y="874803"/>
                  <a:pt x="2260174" y="876433"/>
                </a:cubicBezTo>
                <a:close/>
                <a:moveTo>
                  <a:pt x="13906709" y="863602"/>
                </a:moveTo>
                <a:lnTo>
                  <a:pt x="13919718" y="877357"/>
                </a:lnTo>
                <a:lnTo>
                  <a:pt x="13922862" y="877357"/>
                </a:lnTo>
                <a:cubicBezTo>
                  <a:pt x="13922723" y="878249"/>
                  <a:pt x="13922543" y="879284"/>
                  <a:pt x="13922427" y="880192"/>
                </a:cubicBezTo>
                <a:lnTo>
                  <a:pt x="13922862" y="880727"/>
                </a:lnTo>
                <a:lnTo>
                  <a:pt x="13922360" y="880397"/>
                </a:lnTo>
                <a:cubicBezTo>
                  <a:pt x="13920673" y="890460"/>
                  <a:pt x="13918373" y="903074"/>
                  <a:pt x="13906709" y="903074"/>
                </a:cubicBezTo>
                <a:cubicBezTo>
                  <a:pt x="13898757" y="903074"/>
                  <a:pt x="13893789" y="899631"/>
                  <a:pt x="13893789" y="889429"/>
                </a:cubicBezTo>
                <a:cubicBezTo>
                  <a:pt x="13893789" y="879003"/>
                  <a:pt x="13900192" y="872157"/>
                  <a:pt x="13906709" y="863602"/>
                </a:cubicBezTo>
                <a:close/>
                <a:moveTo>
                  <a:pt x="14055269" y="825503"/>
                </a:moveTo>
                <a:cubicBezTo>
                  <a:pt x="14105215" y="825503"/>
                  <a:pt x="14108516" y="880416"/>
                  <a:pt x="14152188" y="880416"/>
                </a:cubicBezTo>
                <a:cubicBezTo>
                  <a:pt x="14152188" y="854794"/>
                  <a:pt x="14160187" y="834171"/>
                  <a:pt x="14179485" y="834171"/>
                </a:cubicBezTo>
                <a:cubicBezTo>
                  <a:pt x="14208507" y="834171"/>
                  <a:pt x="14303751" y="870226"/>
                  <a:pt x="14337454" y="880416"/>
                </a:cubicBezTo>
                <a:cubicBezTo>
                  <a:pt x="14331147" y="904424"/>
                  <a:pt x="14308547" y="923351"/>
                  <a:pt x="14308547" y="936979"/>
                </a:cubicBezTo>
                <a:lnTo>
                  <a:pt x="14264957" y="936979"/>
                </a:lnTo>
                <a:cubicBezTo>
                  <a:pt x="14252081" y="936979"/>
                  <a:pt x="14243951" y="954205"/>
                  <a:pt x="14224751" y="954205"/>
                </a:cubicBezTo>
                <a:cubicBezTo>
                  <a:pt x="14213319" y="954205"/>
                  <a:pt x="14206881" y="936979"/>
                  <a:pt x="14195565" y="936979"/>
                </a:cubicBezTo>
                <a:cubicBezTo>
                  <a:pt x="14182721" y="936979"/>
                  <a:pt x="14176365" y="949054"/>
                  <a:pt x="14163258" y="949054"/>
                </a:cubicBezTo>
                <a:cubicBezTo>
                  <a:pt x="14153584" y="949054"/>
                  <a:pt x="14143943" y="962670"/>
                  <a:pt x="14127815" y="962670"/>
                </a:cubicBezTo>
                <a:cubicBezTo>
                  <a:pt x="14113361" y="962670"/>
                  <a:pt x="14106890" y="955973"/>
                  <a:pt x="14098711" y="945610"/>
                </a:cubicBezTo>
                <a:cubicBezTo>
                  <a:pt x="14087510" y="955973"/>
                  <a:pt x="14079347" y="971454"/>
                  <a:pt x="14063317" y="971454"/>
                </a:cubicBezTo>
                <a:cubicBezTo>
                  <a:pt x="14021353" y="971454"/>
                  <a:pt x="13982690" y="935405"/>
                  <a:pt x="13982690" y="894038"/>
                </a:cubicBezTo>
                <a:cubicBezTo>
                  <a:pt x="13982690" y="854794"/>
                  <a:pt x="14021353" y="825503"/>
                  <a:pt x="14055269" y="825503"/>
                </a:cubicBezTo>
                <a:close/>
                <a:moveTo>
                  <a:pt x="3037749" y="812864"/>
                </a:moveTo>
                <a:cubicBezTo>
                  <a:pt x="3042214" y="813099"/>
                  <a:pt x="3046683" y="813992"/>
                  <a:pt x="3052358" y="813992"/>
                </a:cubicBezTo>
                <a:cubicBezTo>
                  <a:pt x="3078058" y="813992"/>
                  <a:pt x="3094262" y="831092"/>
                  <a:pt x="3124898" y="831092"/>
                </a:cubicBezTo>
                <a:cubicBezTo>
                  <a:pt x="3137798" y="831092"/>
                  <a:pt x="3144225" y="817315"/>
                  <a:pt x="3157140" y="817315"/>
                </a:cubicBezTo>
                <a:cubicBezTo>
                  <a:pt x="3186089" y="817315"/>
                  <a:pt x="3189408" y="834545"/>
                  <a:pt x="3189408" y="860388"/>
                </a:cubicBezTo>
                <a:cubicBezTo>
                  <a:pt x="3189408" y="899627"/>
                  <a:pt x="3170010" y="920361"/>
                  <a:pt x="3176453" y="968308"/>
                </a:cubicBezTo>
                <a:cubicBezTo>
                  <a:pt x="3152285" y="977048"/>
                  <a:pt x="3116813" y="977048"/>
                  <a:pt x="3111943" y="977048"/>
                </a:cubicBezTo>
                <a:cubicBezTo>
                  <a:pt x="3102266" y="977048"/>
                  <a:pt x="3060362" y="983790"/>
                  <a:pt x="3060362" y="968308"/>
                </a:cubicBezTo>
                <a:cubicBezTo>
                  <a:pt x="3060362" y="961565"/>
                  <a:pt x="3065203" y="954605"/>
                  <a:pt x="3071585" y="951180"/>
                </a:cubicBezTo>
                <a:cubicBezTo>
                  <a:pt x="3070069" y="946164"/>
                  <a:pt x="3070069" y="939156"/>
                  <a:pt x="3071585" y="934011"/>
                </a:cubicBezTo>
                <a:cubicBezTo>
                  <a:pt x="3071585" y="918684"/>
                  <a:pt x="3102266" y="918684"/>
                  <a:pt x="3111943" y="908361"/>
                </a:cubicBezTo>
                <a:cubicBezTo>
                  <a:pt x="3107033" y="904922"/>
                  <a:pt x="3099032" y="903128"/>
                  <a:pt x="3092590" y="903128"/>
                </a:cubicBezTo>
                <a:cubicBezTo>
                  <a:pt x="3063556" y="903128"/>
                  <a:pt x="3007149" y="920361"/>
                  <a:pt x="2974851" y="920361"/>
                </a:cubicBezTo>
                <a:cubicBezTo>
                  <a:pt x="2963528" y="920361"/>
                  <a:pt x="2955495" y="910018"/>
                  <a:pt x="2955495" y="899627"/>
                </a:cubicBezTo>
                <a:lnTo>
                  <a:pt x="2931258" y="899627"/>
                </a:lnTo>
                <a:lnTo>
                  <a:pt x="2926448" y="882645"/>
                </a:lnTo>
                <a:cubicBezTo>
                  <a:pt x="2910384" y="887749"/>
                  <a:pt x="2898990" y="875820"/>
                  <a:pt x="2886146" y="865429"/>
                </a:cubicBezTo>
                <a:lnTo>
                  <a:pt x="2886146" y="834545"/>
                </a:lnTo>
                <a:lnTo>
                  <a:pt x="2888475" y="837688"/>
                </a:lnTo>
                <a:cubicBezTo>
                  <a:pt x="2885297" y="832305"/>
                  <a:pt x="2882897" y="825873"/>
                  <a:pt x="2882897" y="817315"/>
                </a:cubicBezTo>
                <a:lnTo>
                  <a:pt x="2902211" y="817315"/>
                </a:lnTo>
                <a:cubicBezTo>
                  <a:pt x="2949054" y="817315"/>
                  <a:pt x="2973178" y="904922"/>
                  <a:pt x="3023184" y="889507"/>
                </a:cubicBezTo>
                <a:cubicBezTo>
                  <a:pt x="3010356" y="880951"/>
                  <a:pt x="2997358" y="868894"/>
                  <a:pt x="2991000" y="860388"/>
                </a:cubicBezTo>
                <a:lnTo>
                  <a:pt x="2991000" y="839761"/>
                </a:lnTo>
                <a:cubicBezTo>
                  <a:pt x="3026477" y="839761"/>
                  <a:pt x="3039418" y="877449"/>
                  <a:pt x="3079675" y="877449"/>
                </a:cubicBezTo>
                <a:lnTo>
                  <a:pt x="3079675" y="839761"/>
                </a:lnTo>
                <a:cubicBezTo>
                  <a:pt x="3052358" y="839761"/>
                  <a:pt x="3029712" y="839761"/>
                  <a:pt x="3023184" y="815653"/>
                </a:cubicBezTo>
                <a:cubicBezTo>
                  <a:pt x="3028832" y="813039"/>
                  <a:pt x="3033287" y="812628"/>
                  <a:pt x="3037749" y="812864"/>
                </a:cubicBezTo>
                <a:close/>
                <a:moveTo>
                  <a:pt x="2665237" y="787400"/>
                </a:moveTo>
                <a:cubicBezTo>
                  <a:pt x="2674881" y="794231"/>
                  <a:pt x="2684630" y="799480"/>
                  <a:pt x="2695894" y="799480"/>
                </a:cubicBezTo>
                <a:cubicBezTo>
                  <a:pt x="2694300" y="813178"/>
                  <a:pt x="2695894" y="818309"/>
                  <a:pt x="2695894" y="821755"/>
                </a:cubicBezTo>
                <a:cubicBezTo>
                  <a:pt x="2695894" y="847443"/>
                  <a:pt x="2726526" y="885197"/>
                  <a:pt x="2757262" y="885197"/>
                </a:cubicBezTo>
                <a:cubicBezTo>
                  <a:pt x="2771663" y="885197"/>
                  <a:pt x="2779844" y="864614"/>
                  <a:pt x="2800752" y="864614"/>
                </a:cubicBezTo>
                <a:cubicBezTo>
                  <a:pt x="2820093" y="864614"/>
                  <a:pt x="2837839" y="886932"/>
                  <a:pt x="2837839" y="907544"/>
                </a:cubicBezTo>
                <a:cubicBezTo>
                  <a:pt x="2837839" y="931492"/>
                  <a:pt x="2799132" y="982972"/>
                  <a:pt x="2784653" y="988052"/>
                </a:cubicBezTo>
                <a:cubicBezTo>
                  <a:pt x="2774904" y="991656"/>
                  <a:pt x="2679716" y="979573"/>
                  <a:pt x="2679716" y="984688"/>
                </a:cubicBezTo>
                <a:cubicBezTo>
                  <a:pt x="2679716" y="988052"/>
                  <a:pt x="2576531" y="1012280"/>
                  <a:pt x="2571749" y="1013941"/>
                </a:cubicBezTo>
                <a:cubicBezTo>
                  <a:pt x="2539418" y="1027607"/>
                  <a:pt x="2507192" y="1039722"/>
                  <a:pt x="2466864" y="1039722"/>
                </a:cubicBezTo>
                <a:cubicBezTo>
                  <a:pt x="2447497" y="1039722"/>
                  <a:pt x="2421649" y="1024097"/>
                  <a:pt x="2421649" y="1013941"/>
                </a:cubicBezTo>
                <a:cubicBezTo>
                  <a:pt x="2421649" y="988052"/>
                  <a:pt x="2445903" y="993347"/>
                  <a:pt x="2466864" y="993347"/>
                </a:cubicBezTo>
                <a:cubicBezTo>
                  <a:pt x="2457220" y="979573"/>
                  <a:pt x="2442663" y="970974"/>
                  <a:pt x="2439474" y="953780"/>
                </a:cubicBezTo>
                <a:cubicBezTo>
                  <a:pt x="2429699" y="955547"/>
                  <a:pt x="2421649" y="965892"/>
                  <a:pt x="2421649" y="976233"/>
                </a:cubicBezTo>
                <a:cubicBezTo>
                  <a:pt x="2394311" y="979573"/>
                  <a:pt x="2373350" y="988052"/>
                  <a:pt x="2353879" y="988052"/>
                </a:cubicBezTo>
                <a:cubicBezTo>
                  <a:pt x="2332970" y="988052"/>
                  <a:pt x="2308820" y="976233"/>
                  <a:pt x="2297424" y="976233"/>
                </a:cubicBezTo>
                <a:cubicBezTo>
                  <a:pt x="2284461" y="976233"/>
                  <a:pt x="2273301" y="964212"/>
                  <a:pt x="2273301" y="950373"/>
                </a:cubicBezTo>
                <a:cubicBezTo>
                  <a:pt x="2273301" y="933197"/>
                  <a:pt x="2279652" y="936802"/>
                  <a:pt x="2273301" y="924705"/>
                </a:cubicBezTo>
                <a:cubicBezTo>
                  <a:pt x="2289453" y="921239"/>
                  <a:pt x="2297424" y="907544"/>
                  <a:pt x="2313576" y="907544"/>
                </a:cubicBezTo>
                <a:cubicBezTo>
                  <a:pt x="2320294" y="907544"/>
                  <a:pt x="2325913" y="908467"/>
                  <a:pt x="2331454" y="909565"/>
                </a:cubicBezTo>
                <a:cubicBezTo>
                  <a:pt x="2325286" y="907136"/>
                  <a:pt x="2319301" y="904688"/>
                  <a:pt x="2313576" y="902311"/>
                </a:cubicBezTo>
                <a:lnTo>
                  <a:pt x="2313576" y="876624"/>
                </a:lnTo>
                <a:cubicBezTo>
                  <a:pt x="2326488" y="875006"/>
                  <a:pt x="2341020" y="876624"/>
                  <a:pt x="2341020" y="876624"/>
                </a:cubicBezTo>
                <a:cubicBezTo>
                  <a:pt x="2342274" y="876624"/>
                  <a:pt x="2345672" y="877137"/>
                  <a:pt x="2349828" y="877779"/>
                </a:cubicBezTo>
                <a:cubicBezTo>
                  <a:pt x="2343947" y="875887"/>
                  <a:pt x="2338276" y="873375"/>
                  <a:pt x="2332970" y="869708"/>
                </a:cubicBezTo>
                <a:cubicBezTo>
                  <a:pt x="2339347" y="859569"/>
                  <a:pt x="2352258" y="850838"/>
                  <a:pt x="2365195" y="850838"/>
                </a:cubicBezTo>
                <a:cubicBezTo>
                  <a:pt x="2366842" y="850838"/>
                  <a:pt x="2367861" y="851058"/>
                  <a:pt x="2369299" y="851183"/>
                </a:cubicBezTo>
                <a:cubicBezTo>
                  <a:pt x="2362190" y="847641"/>
                  <a:pt x="2357146" y="842209"/>
                  <a:pt x="2357146" y="833724"/>
                </a:cubicBezTo>
                <a:cubicBezTo>
                  <a:pt x="2386209" y="828568"/>
                  <a:pt x="2395932" y="833724"/>
                  <a:pt x="2410332" y="833724"/>
                </a:cubicBezTo>
                <a:cubicBezTo>
                  <a:pt x="2416736" y="833724"/>
                  <a:pt x="2436259" y="838942"/>
                  <a:pt x="2437827" y="859569"/>
                </a:cubicBezTo>
                <a:lnTo>
                  <a:pt x="2474888" y="859569"/>
                </a:lnTo>
                <a:cubicBezTo>
                  <a:pt x="2523345" y="859569"/>
                  <a:pt x="2557191" y="924705"/>
                  <a:pt x="2628098" y="924705"/>
                </a:cubicBezTo>
                <a:cubicBezTo>
                  <a:pt x="2649111" y="924705"/>
                  <a:pt x="2657135" y="917858"/>
                  <a:pt x="2663616" y="902311"/>
                </a:cubicBezTo>
                <a:cubicBezTo>
                  <a:pt x="2645923" y="902311"/>
                  <a:pt x="2637794" y="900605"/>
                  <a:pt x="2631417" y="897291"/>
                </a:cubicBezTo>
                <a:cubicBezTo>
                  <a:pt x="2633011" y="893906"/>
                  <a:pt x="2642734" y="890430"/>
                  <a:pt x="2647517" y="890430"/>
                </a:cubicBezTo>
                <a:lnTo>
                  <a:pt x="2647517" y="868080"/>
                </a:lnTo>
                <a:cubicBezTo>
                  <a:pt x="2636173" y="866228"/>
                  <a:pt x="2607215" y="857769"/>
                  <a:pt x="2607215" y="842408"/>
                </a:cubicBezTo>
                <a:cubicBezTo>
                  <a:pt x="2607215" y="814828"/>
                  <a:pt x="2649111" y="801158"/>
                  <a:pt x="2665237" y="787400"/>
                </a:cubicBezTo>
                <a:close/>
                <a:moveTo>
                  <a:pt x="2387601" y="787400"/>
                </a:moveTo>
                <a:lnTo>
                  <a:pt x="2444030" y="787400"/>
                </a:lnTo>
                <a:lnTo>
                  <a:pt x="2444030" y="809720"/>
                </a:lnTo>
                <a:lnTo>
                  <a:pt x="2408527" y="809720"/>
                </a:lnTo>
                <a:cubicBezTo>
                  <a:pt x="2400405" y="809720"/>
                  <a:pt x="2387601" y="802896"/>
                  <a:pt x="2387601" y="787400"/>
                </a:cubicBezTo>
                <a:close/>
                <a:moveTo>
                  <a:pt x="3286801" y="774701"/>
                </a:moveTo>
                <a:cubicBezTo>
                  <a:pt x="3359478" y="774701"/>
                  <a:pt x="3372396" y="834707"/>
                  <a:pt x="3427140" y="834707"/>
                </a:cubicBezTo>
                <a:cubicBezTo>
                  <a:pt x="3443352" y="834707"/>
                  <a:pt x="3453013" y="831318"/>
                  <a:pt x="3459489" y="820952"/>
                </a:cubicBezTo>
                <a:lnTo>
                  <a:pt x="3488508" y="820952"/>
                </a:lnTo>
                <a:cubicBezTo>
                  <a:pt x="3475627" y="860474"/>
                  <a:pt x="3549805" y="850203"/>
                  <a:pt x="3564369" y="872535"/>
                </a:cubicBezTo>
                <a:lnTo>
                  <a:pt x="3499780" y="872535"/>
                </a:lnTo>
                <a:cubicBezTo>
                  <a:pt x="3509477" y="918797"/>
                  <a:pt x="3549805" y="893154"/>
                  <a:pt x="3572419" y="911929"/>
                </a:cubicBezTo>
                <a:cubicBezTo>
                  <a:pt x="3569199" y="915475"/>
                  <a:pt x="3561076" y="915475"/>
                  <a:pt x="3561076" y="920620"/>
                </a:cubicBezTo>
                <a:cubicBezTo>
                  <a:pt x="3561076" y="944686"/>
                  <a:pt x="3580507" y="934262"/>
                  <a:pt x="3586874" y="929237"/>
                </a:cubicBezTo>
                <a:cubicBezTo>
                  <a:pt x="3625701" y="939446"/>
                  <a:pt x="3657903" y="949775"/>
                  <a:pt x="3698195" y="949775"/>
                </a:cubicBezTo>
                <a:cubicBezTo>
                  <a:pt x="3786899" y="949775"/>
                  <a:pt x="3815953" y="906806"/>
                  <a:pt x="3899901" y="906806"/>
                </a:cubicBezTo>
                <a:cubicBezTo>
                  <a:pt x="3964344" y="906806"/>
                  <a:pt x="4006244" y="910304"/>
                  <a:pt x="4028933" y="954822"/>
                </a:cubicBezTo>
                <a:cubicBezTo>
                  <a:pt x="4026334" y="956237"/>
                  <a:pt x="4020662" y="957395"/>
                  <a:pt x="4016015" y="957872"/>
                </a:cubicBezTo>
                <a:cubicBezTo>
                  <a:pt x="4012684" y="962019"/>
                  <a:pt x="4009756" y="966956"/>
                  <a:pt x="4007928" y="973790"/>
                </a:cubicBezTo>
                <a:cubicBezTo>
                  <a:pt x="4019271" y="977285"/>
                  <a:pt x="4028933" y="975368"/>
                  <a:pt x="4028933" y="975368"/>
                </a:cubicBezTo>
                <a:cubicBezTo>
                  <a:pt x="4024065" y="1035477"/>
                  <a:pt x="3951462" y="1035477"/>
                  <a:pt x="3895036" y="1035477"/>
                </a:cubicBezTo>
                <a:cubicBezTo>
                  <a:pt x="3873957" y="1035477"/>
                  <a:pt x="3865979" y="1021732"/>
                  <a:pt x="3862757" y="1009822"/>
                </a:cubicBezTo>
                <a:cubicBezTo>
                  <a:pt x="3840214" y="1013305"/>
                  <a:pt x="3836995" y="1021732"/>
                  <a:pt x="3822432" y="1032073"/>
                </a:cubicBezTo>
                <a:lnTo>
                  <a:pt x="3693400" y="1032073"/>
                </a:lnTo>
                <a:cubicBezTo>
                  <a:pt x="3659476" y="1040615"/>
                  <a:pt x="3609490" y="1035477"/>
                  <a:pt x="3612673" y="1006364"/>
                </a:cubicBezTo>
                <a:lnTo>
                  <a:pt x="3593388" y="1006364"/>
                </a:lnTo>
                <a:cubicBezTo>
                  <a:pt x="3586874" y="1015007"/>
                  <a:pt x="3562758" y="1035477"/>
                  <a:pt x="3548230" y="1035477"/>
                </a:cubicBezTo>
                <a:cubicBezTo>
                  <a:pt x="3512661" y="1035477"/>
                  <a:pt x="3432045" y="992517"/>
                  <a:pt x="3432045" y="958290"/>
                </a:cubicBezTo>
                <a:cubicBezTo>
                  <a:pt x="3432045" y="946219"/>
                  <a:pt x="3445035" y="934262"/>
                  <a:pt x="3451439" y="930837"/>
                </a:cubicBezTo>
                <a:cubicBezTo>
                  <a:pt x="3422310" y="900023"/>
                  <a:pt x="3414295" y="872535"/>
                  <a:pt x="3386887" y="843409"/>
                </a:cubicBezTo>
                <a:cubicBezTo>
                  <a:pt x="3377188" y="853530"/>
                  <a:pt x="3367492" y="860474"/>
                  <a:pt x="3354610" y="860474"/>
                </a:cubicBezTo>
                <a:cubicBezTo>
                  <a:pt x="3336972" y="860474"/>
                  <a:pt x="3238496" y="815892"/>
                  <a:pt x="3238496" y="800385"/>
                </a:cubicBezTo>
                <a:cubicBezTo>
                  <a:pt x="3238496" y="774701"/>
                  <a:pt x="3267589" y="774701"/>
                  <a:pt x="3286801" y="774701"/>
                </a:cubicBezTo>
                <a:close/>
                <a:moveTo>
                  <a:pt x="10774938" y="749301"/>
                </a:moveTo>
                <a:cubicBezTo>
                  <a:pt x="10794278" y="749301"/>
                  <a:pt x="10839455" y="773417"/>
                  <a:pt x="10839455" y="792192"/>
                </a:cubicBezTo>
                <a:cubicBezTo>
                  <a:pt x="10839455" y="850621"/>
                  <a:pt x="10715349" y="860978"/>
                  <a:pt x="10674951" y="881589"/>
                </a:cubicBezTo>
                <a:cubicBezTo>
                  <a:pt x="10618386" y="910628"/>
                  <a:pt x="10578175" y="896869"/>
                  <a:pt x="10525045" y="924301"/>
                </a:cubicBezTo>
                <a:cubicBezTo>
                  <a:pt x="10515338" y="929406"/>
                  <a:pt x="10508804" y="963695"/>
                  <a:pt x="10489464" y="963695"/>
                </a:cubicBezTo>
                <a:cubicBezTo>
                  <a:pt x="10449140" y="963695"/>
                  <a:pt x="10441038" y="1001626"/>
                  <a:pt x="10412065" y="1010199"/>
                </a:cubicBezTo>
                <a:cubicBezTo>
                  <a:pt x="10329813" y="1034196"/>
                  <a:pt x="10218476" y="1149195"/>
                  <a:pt x="10218476" y="1258937"/>
                </a:cubicBezTo>
                <a:cubicBezTo>
                  <a:pt x="10218476" y="1321158"/>
                  <a:pt x="10271046" y="1336698"/>
                  <a:pt x="10306777" y="1370726"/>
                </a:cubicBezTo>
                <a:cubicBezTo>
                  <a:pt x="10308644" y="1373379"/>
                  <a:pt x="10310510" y="1375770"/>
                  <a:pt x="10312041" y="1379094"/>
                </a:cubicBezTo>
                <a:lnTo>
                  <a:pt x="10186068" y="1379094"/>
                </a:lnTo>
                <a:cubicBezTo>
                  <a:pt x="10182932" y="1377463"/>
                  <a:pt x="10179758" y="1367056"/>
                  <a:pt x="10174867" y="1367056"/>
                </a:cubicBezTo>
                <a:cubicBezTo>
                  <a:pt x="10163629" y="1367056"/>
                  <a:pt x="10137680" y="1375651"/>
                  <a:pt x="10134656" y="1367056"/>
                </a:cubicBezTo>
                <a:cubicBezTo>
                  <a:pt x="10123343" y="1343085"/>
                  <a:pt x="10137680" y="1315532"/>
                  <a:pt x="10110425" y="1306988"/>
                </a:cubicBezTo>
                <a:cubicBezTo>
                  <a:pt x="10105459" y="1305268"/>
                  <a:pt x="10062037" y="1306988"/>
                  <a:pt x="10062037" y="1306988"/>
                </a:cubicBezTo>
                <a:cubicBezTo>
                  <a:pt x="10062037" y="1306988"/>
                  <a:pt x="10032989" y="1293226"/>
                  <a:pt x="10032989" y="1272669"/>
                </a:cubicBezTo>
                <a:cubicBezTo>
                  <a:pt x="10032989" y="1231507"/>
                  <a:pt x="10081340" y="1234881"/>
                  <a:pt x="10081340" y="1204005"/>
                </a:cubicBezTo>
                <a:lnTo>
                  <a:pt x="10081340" y="1178407"/>
                </a:lnTo>
                <a:cubicBezTo>
                  <a:pt x="10081340" y="1149195"/>
                  <a:pt x="10132939" y="1137127"/>
                  <a:pt x="10158738" y="1130246"/>
                </a:cubicBezTo>
                <a:cubicBezTo>
                  <a:pt x="10157207" y="1109717"/>
                  <a:pt x="10134656" y="1106241"/>
                  <a:pt x="10134656" y="1092508"/>
                </a:cubicBezTo>
                <a:cubicBezTo>
                  <a:pt x="10134656" y="1063293"/>
                  <a:pt x="10218476" y="1037669"/>
                  <a:pt x="10218476" y="989588"/>
                </a:cubicBezTo>
                <a:cubicBezTo>
                  <a:pt x="10218476" y="975825"/>
                  <a:pt x="10207238" y="968999"/>
                  <a:pt x="10207238" y="958793"/>
                </a:cubicBezTo>
                <a:cubicBezTo>
                  <a:pt x="10207238" y="951768"/>
                  <a:pt x="10212017" y="941536"/>
                  <a:pt x="10223405" y="941536"/>
                </a:cubicBezTo>
                <a:cubicBezTo>
                  <a:pt x="10247524" y="941536"/>
                  <a:pt x="10263541" y="929406"/>
                  <a:pt x="10287847" y="929406"/>
                </a:cubicBezTo>
                <a:cubicBezTo>
                  <a:pt x="10328133" y="929406"/>
                  <a:pt x="10373348" y="847156"/>
                  <a:pt x="10433048" y="847156"/>
                </a:cubicBezTo>
                <a:cubicBezTo>
                  <a:pt x="10453882" y="847156"/>
                  <a:pt x="10453882" y="826537"/>
                  <a:pt x="10484573" y="826537"/>
                </a:cubicBezTo>
                <a:cubicBezTo>
                  <a:pt x="10503950" y="826537"/>
                  <a:pt x="10513583" y="847156"/>
                  <a:pt x="10532886" y="847156"/>
                </a:cubicBezTo>
                <a:cubicBezTo>
                  <a:pt x="10618386" y="847156"/>
                  <a:pt x="10694291" y="749301"/>
                  <a:pt x="10774938" y="749301"/>
                </a:cubicBezTo>
                <a:close/>
                <a:moveTo>
                  <a:pt x="2315236" y="724362"/>
                </a:moveTo>
                <a:cubicBezTo>
                  <a:pt x="2324166" y="723657"/>
                  <a:pt x="2332670" y="723687"/>
                  <a:pt x="2339474" y="725004"/>
                </a:cubicBezTo>
                <a:cubicBezTo>
                  <a:pt x="2348546" y="726760"/>
                  <a:pt x="2354594" y="730818"/>
                  <a:pt x="2354594" y="738504"/>
                </a:cubicBezTo>
                <a:cubicBezTo>
                  <a:pt x="2354594" y="750646"/>
                  <a:pt x="2344901" y="762571"/>
                  <a:pt x="2333685" y="766037"/>
                </a:cubicBezTo>
                <a:cubicBezTo>
                  <a:pt x="2335313" y="783149"/>
                  <a:pt x="2346529" y="786596"/>
                  <a:pt x="2346529" y="800311"/>
                </a:cubicBezTo>
                <a:lnTo>
                  <a:pt x="2277186" y="855320"/>
                </a:lnTo>
                <a:cubicBezTo>
                  <a:pt x="2249780" y="855320"/>
                  <a:pt x="2251378" y="815690"/>
                  <a:pt x="2236951" y="807175"/>
                </a:cubicBezTo>
                <a:cubicBezTo>
                  <a:pt x="2233606" y="836419"/>
                  <a:pt x="2209396" y="863815"/>
                  <a:pt x="2182021" y="860357"/>
                </a:cubicBezTo>
                <a:cubicBezTo>
                  <a:pt x="2178675" y="879283"/>
                  <a:pt x="2165861" y="898094"/>
                  <a:pt x="2148133" y="898094"/>
                </a:cubicBezTo>
                <a:cubicBezTo>
                  <a:pt x="2135215" y="898094"/>
                  <a:pt x="2123939" y="879283"/>
                  <a:pt x="2120832" y="872374"/>
                </a:cubicBezTo>
                <a:cubicBezTo>
                  <a:pt x="2101297" y="882670"/>
                  <a:pt x="2091694" y="872374"/>
                  <a:pt x="2075520" y="872374"/>
                </a:cubicBezTo>
                <a:cubicBezTo>
                  <a:pt x="2065812" y="872374"/>
                  <a:pt x="2061063" y="884439"/>
                  <a:pt x="2048099" y="886085"/>
                </a:cubicBezTo>
                <a:cubicBezTo>
                  <a:pt x="2044978" y="874127"/>
                  <a:pt x="2031999" y="865450"/>
                  <a:pt x="2031999" y="860357"/>
                </a:cubicBezTo>
                <a:cubicBezTo>
                  <a:pt x="2031999" y="856950"/>
                  <a:pt x="2061063" y="833027"/>
                  <a:pt x="2067530" y="829467"/>
                </a:cubicBezTo>
                <a:cubicBezTo>
                  <a:pt x="2093382" y="815690"/>
                  <a:pt x="2117547" y="812237"/>
                  <a:pt x="2144952" y="795232"/>
                </a:cubicBezTo>
                <a:cubicBezTo>
                  <a:pt x="2175554" y="776260"/>
                  <a:pt x="2183663" y="731702"/>
                  <a:pt x="2228752" y="731702"/>
                </a:cubicBezTo>
                <a:cubicBezTo>
                  <a:pt x="2241656" y="731702"/>
                  <a:pt x="2243388" y="733411"/>
                  <a:pt x="2257830" y="735160"/>
                </a:cubicBezTo>
                <a:cubicBezTo>
                  <a:pt x="2257830" y="735160"/>
                  <a:pt x="2288447" y="726478"/>
                  <a:pt x="2315236" y="724362"/>
                </a:cubicBezTo>
                <a:close/>
                <a:moveTo>
                  <a:pt x="3368664" y="698502"/>
                </a:moveTo>
                <a:cubicBezTo>
                  <a:pt x="3386444" y="698502"/>
                  <a:pt x="3373538" y="701993"/>
                  <a:pt x="3389688" y="698502"/>
                </a:cubicBezTo>
                <a:lnTo>
                  <a:pt x="3389688" y="720809"/>
                </a:lnTo>
                <a:cubicBezTo>
                  <a:pt x="3389688" y="729455"/>
                  <a:pt x="3380037" y="737962"/>
                  <a:pt x="3365415" y="737962"/>
                </a:cubicBezTo>
                <a:cubicBezTo>
                  <a:pt x="3357360" y="737962"/>
                  <a:pt x="3263895" y="719121"/>
                  <a:pt x="3263895" y="719121"/>
                </a:cubicBezTo>
                <a:cubicBezTo>
                  <a:pt x="3280015" y="701993"/>
                  <a:pt x="3338031" y="698502"/>
                  <a:pt x="3368664" y="698502"/>
                </a:cubicBezTo>
                <a:close/>
                <a:moveTo>
                  <a:pt x="2806698" y="698502"/>
                </a:moveTo>
                <a:cubicBezTo>
                  <a:pt x="2848718" y="698502"/>
                  <a:pt x="2851945" y="734533"/>
                  <a:pt x="2885707" y="746630"/>
                </a:cubicBezTo>
                <a:cubicBezTo>
                  <a:pt x="2884155" y="758621"/>
                  <a:pt x="2874462" y="767147"/>
                  <a:pt x="2863244" y="767147"/>
                </a:cubicBezTo>
                <a:cubicBezTo>
                  <a:pt x="2845449" y="767147"/>
                  <a:pt x="2806698" y="720809"/>
                  <a:pt x="2806698" y="698502"/>
                </a:cubicBezTo>
                <a:close/>
                <a:moveTo>
                  <a:pt x="12464398" y="685808"/>
                </a:moveTo>
                <a:cubicBezTo>
                  <a:pt x="12533980" y="685808"/>
                  <a:pt x="12569212" y="732044"/>
                  <a:pt x="12585506" y="780157"/>
                </a:cubicBezTo>
                <a:lnTo>
                  <a:pt x="12755056" y="780157"/>
                </a:lnTo>
                <a:cubicBezTo>
                  <a:pt x="13155372" y="882261"/>
                  <a:pt x="12667859" y="1022223"/>
                  <a:pt x="12617654" y="1088951"/>
                </a:cubicBezTo>
                <a:cubicBezTo>
                  <a:pt x="12617654" y="1088951"/>
                  <a:pt x="12570532" y="1204094"/>
                  <a:pt x="12782361" y="1020368"/>
                </a:cubicBezTo>
                <a:cubicBezTo>
                  <a:pt x="12817592" y="1082123"/>
                  <a:pt x="13096800" y="1116581"/>
                  <a:pt x="13150088" y="1131782"/>
                </a:cubicBezTo>
                <a:lnTo>
                  <a:pt x="13327566" y="1131782"/>
                </a:lnTo>
                <a:cubicBezTo>
                  <a:pt x="13327566" y="1078716"/>
                  <a:pt x="13350466" y="1059469"/>
                  <a:pt x="13391862" y="1063191"/>
                </a:cubicBezTo>
                <a:cubicBezTo>
                  <a:pt x="13723918" y="1092680"/>
                  <a:pt x="13593562" y="1179884"/>
                  <a:pt x="13593562" y="1191988"/>
                </a:cubicBezTo>
                <a:cubicBezTo>
                  <a:pt x="13593562" y="1240095"/>
                  <a:pt x="13622628" y="1329162"/>
                  <a:pt x="13690448" y="1329162"/>
                </a:cubicBezTo>
                <a:cubicBezTo>
                  <a:pt x="13716431" y="1329162"/>
                  <a:pt x="13725680" y="1276094"/>
                  <a:pt x="13730964" y="1251884"/>
                </a:cubicBezTo>
                <a:cubicBezTo>
                  <a:pt x="13784252" y="1255298"/>
                  <a:pt x="13790417" y="1295026"/>
                  <a:pt x="13835777" y="1295026"/>
                </a:cubicBezTo>
                <a:lnTo>
                  <a:pt x="14093406" y="1295026"/>
                </a:lnTo>
                <a:cubicBezTo>
                  <a:pt x="14103535" y="1227995"/>
                  <a:pt x="14121151" y="1157849"/>
                  <a:pt x="14247103" y="1157849"/>
                </a:cubicBezTo>
                <a:cubicBezTo>
                  <a:pt x="14373055" y="1157849"/>
                  <a:pt x="14479189" y="1183298"/>
                  <a:pt x="14577396" y="1217746"/>
                </a:cubicBezTo>
                <a:cubicBezTo>
                  <a:pt x="14624518" y="1232953"/>
                  <a:pt x="14626280" y="1274231"/>
                  <a:pt x="14658428" y="1303410"/>
                </a:cubicBezTo>
                <a:cubicBezTo>
                  <a:pt x="14693660" y="1335993"/>
                  <a:pt x="14783940" y="1312093"/>
                  <a:pt x="14843833" y="1312093"/>
                </a:cubicBezTo>
                <a:cubicBezTo>
                  <a:pt x="14953490" y="1312093"/>
                  <a:pt x="15008099" y="1343129"/>
                  <a:pt x="15029238" y="1432206"/>
                </a:cubicBezTo>
                <a:lnTo>
                  <a:pt x="15400048" y="1440578"/>
                </a:lnTo>
                <a:cubicBezTo>
                  <a:pt x="15430875" y="1439027"/>
                  <a:pt x="15555066" y="1607238"/>
                  <a:pt x="15505302" y="1440578"/>
                </a:cubicBezTo>
                <a:cubicBezTo>
                  <a:pt x="15498254" y="1417928"/>
                  <a:pt x="15534366" y="1406443"/>
                  <a:pt x="15585894" y="1406443"/>
                </a:cubicBezTo>
                <a:cubicBezTo>
                  <a:pt x="15773058" y="1406443"/>
                  <a:pt x="15942170" y="1490545"/>
                  <a:pt x="16069882" y="1569376"/>
                </a:cubicBezTo>
                <a:cubicBezTo>
                  <a:pt x="16161926" y="1625859"/>
                  <a:pt x="16350412" y="1672417"/>
                  <a:pt x="16408544" y="1754656"/>
                </a:cubicBezTo>
                <a:cubicBezTo>
                  <a:pt x="16365386" y="1770174"/>
                  <a:pt x="16339402" y="1766765"/>
                  <a:pt x="16311658" y="1801215"/>
                </a:cubicBezTo>
                <a:cubicBezTo>
                  <a:pt x="16294042" y="1823554"/>
                  <a:pt x="16287436" y="1886864"/>
                  <a:pt x="16255288" y="1886864"/>
                </a:cubicBezTo>
                <a:cubicBezTo>
                  <a:pt x="16182622" y="1886864"/>
                  <a:pt x="16098950" y="1741000"/>
                  <a:pt x="15997218" y="1741000"/>
                </a:cubicBezTo>
                <a:cubicBezTo>
                  <a:pt x="15965070" y="1741000"/>
                  <a:pt x="15981364" y="1783834"/>
                  <a:pt x="15972998" y="1801215"/>
                </a:cubicBezTo>
                <a:cubicBezTo>
                  <a:pt x="15953620" y="1842182"/>
                  <a:pt x="15860258" y="1830070"/>
                  <a:pt x="15860258" y="1904245"/>
                </a:cubicBezTo>
                <a:cubicBezTo>
                  <a:pt x="15860258" y="1931561"/>
                  <a:pt x="16051386" y="2027764"/>
                  <a:pt x="15811814" y="2032729"/>
                </a:cubicBezTo>
                <a:cubicBezTo>
                  <a:pt x="15685862" y="2035212"/>
                  <a:pt x="15584130" y="2230113"/>
                  <a:pt x="15441004" y="2230113"/>
                </a:cubicBezTo>
                <a:cubicBezTo>
                  <a:pt x="15392121" y="2230113"/>
                  <a:pt x="15272774" y="2070592"/>
                  <a:pt x="15142418" y="2367289"/>
                </a:cubicBezTo>
                <a:cubicBezTo>
                  <a:pt x="15126564" y="2402980"/>
                  <a:pt x="15142418" y="2423773"/>
                  <a:pt x="15142418" y="2444567"/>
                </a:cubicBezTo>
                <a:cubicBezTo>
                  <a:pt x="15142418" y="2475292"/>
                  <a:pt x="15086048" y="2490809"/>
                  <a:pt x="15086048" y="2547604"/>
                </a:cubicBezTo>
                <a:cubicBezTo>
                  <a:pt x="15086048" y="2583605"/>
                  <a:pt x="15013384" y="2593846"/>
                  <a:pt x="15021311" y="2641641"/>
                </a:cubicBezTo>
                <a:cubicBezTo>
                  <a:pt x="14955252" y="2659020"/>
                  <a:pt x="14932792" y="2753057"/>
                  <a:pt x="14900204" y="2804886"/>
                </a:cubicBezTo>
                <a:cubicBezTo>
                  <a:pt x="14855284" y="2767023"/>
                  <a:pt x="14835906" y="2559397"/>
                  <a:pt x="14835906" y="2496085"/>
                </a:cubicBezTo>
                <a:cubicBezTo>
                  <a:pt x="14835906" y="2422222"/>
                  <a:pt x="14892276" y="2382807"/>
                  <a:pt x="14932792" y="2358599"/>
                </a:cubicBezTo>
                <a:cubicBezTo>
                  <a:pt x="14980795" y="2329426"/>
                  <a:pt x="15011622" y="2264252"/>
                  <a:pt x="15045532" y="2212734"/>
                </a:cubicBezTo>
                <a:cubicBezTo>
                  <a:pt x="15074598" y="2168043"/>
                  <a:pt x="15114234" y="2182940"/>
                  <a:pt x="15158272" y="2152836"/>
                </a:cubicBezTo>
                <a:cubicBezTo>
                  <a:pt x="15284665" y="2066247"/>
                  <a:pt x="15200550" y="2029005"/>
                  <a:pt x="15182494" y="2032729"/>
                </a:cubicBezTo>
                <a:cubicBezTo>
                  <a:pt x="15006778" y="2263632"/>
                  <a:pt x="15017788" y="2114973"/>
                  <a:pt x="15045532" y="2092627"/>
                </a:cubicBezTo>
                <a:cubicBezTo>
                  <a:pt x="14990924" y="2083937"/>
                  <a:pt x="14977712" y="2092627"/>
                  <a:pt x="14948646" y="2092627"/>
                </a:cubicBezTo>
                <a:cubicBezTo>
                  <a:pt x="14837228" y="2092627"/>
                  <a:pt x="14788784" y="2159663"/>
                  <a:pt x="14763242" y="2272942"/>
                </a:cubicBezTo>
                <a:lnTo>
                  <a:pt x="14674282" y="2272942"/>
                </a:lnTo>
                <a:cubicBezTo>
                  <a:pt x="14634207" y="2272942"/>
                  <a:pt x="14603380" y="2238493"/>
                  <a:pt x="14537321" y="2238493"/>
                </a:cubicBezTo>
                <a:cubicBezTo>
                  <a:pt x="14484034" y="2238493"/>
                  <a:pt x="14292023" y="2255873"/>
                  <a:pt x="14230808" y="2272942"/>
                </a:cubicBezTo>
                <a:cubicBezTo>
                  <a:pt x="14161226" y="2293736"/>
                  <a:pt x="14095168" y="2382807"/>
                  <a:pt x="14045404" y="2435877"/>
                </a:cubicBezTo>
                <a:cubicBezTo>
                  <a:pt x="14011494" y="2471878"/>
                  <a:pt x="13924296" y="2524948"/>
                  <a:pt x="13924296" y="2573053"/>
                </a:cubicBezTo>
                <a:cubicBezTo>
                  <a:pt x="13924296" y="2583605"/>
                  <a:pt x="13974060" y="2701228"/>
                  <a:pt x="14069625" y="2624571"/>
                </a:cubicBezTo>
                <a:cubicBezTo>
                  <a:pt x="14101774" y="2598812"/>
                  <a:pt x="14171796" y="2689124"/>
                  <a:pt x="14171796" y="2735367"/>
                </a:cubicBezTo>
                <a:cubicBezTo>
                  <a:pt x="14171796" y="2773230"/>
                  <a:pt x="14152859" y="2812024"/>
                  <a:pt x="14143611" y="2830024"/>
                </a:cubicBezTo>
                <a:cubicBezTo>
                  <a:pt x="14118508" y="2877508"/>
                  <a:pt x="14137005" y="2909474"/>
                  <a:pt x="14125995" y="2959131"/>
                </a:cubicBezTo>
                <a:cubicBezTo>
                  <a:pt x="14116306" y="3003822"/>
                  <a:pt x="14080635" y="3059995"/>
                  <a:pt x="14054652" y="3087306"/>
                </a:cubicBezTo>
                <a:cubicBezTo>
                  <a:pt x="13989914" y="3155894"/>
                  <a:pt x="13903598" y="3362589"/>
                  <a:pt x="13811556" y="3362589"/>
                </a:cubicBezTo>
                <a:cubicBezTo>
                  <a:pt x="13761351" y="3362589"/>
                  <a:pt x="13698816" y="3345209"/>
                  <a:pt x="13698375" y="3345209"/>
                </a:cubicBezTo>
                <a:cubicBezTo>
                  <a:pt x="13660061" y="3377796"/>
                  <a:pt x="13646850" y="3405107"/>
                  <a:pt x="13625710" y="3451660"/>
                </a:cubicBezTo>
                <a:cubicBezTo>
                  <a:pt x="13619545" y="3465315"/>
                  <a:pt x="13590479" y="3482695"/>
                  <a:pt x="13579029" y="3494488"/>
                </a:cubicBezTo>
                <a:cubicBezTo>
                  <a:pt x="13566258" y="3508454"/>
                  <a:pt x="13549963" y="3520248"/>
                  <a:pt x="13531026" y="3520248"/>
                </a:cubicBezTo>
                <a:cubicBezTo>
                  <a:pt x="13527503" y="3549421"/>
                  <a:pt x="13543798" y="3564938"/>
                  <a:pt x="13558330" y="3580456"/>
                </a:cubicBezTo>
                <a:cubicBezTo>
                  <a:pt x="13593562" y="3618008"/>
                  <a:pt x="13617784" y="3657423"/>
                  <a:pt x="13617784" y="3724459"/>
                </a:cubicBezTo>
                <a:cubicBezTo>
                  <a:pt x="13617784" y="3763874"/>
                  <a:pt x="13608095" y="3782805"/>
                  <a:pt x="13585635" y="3789633"/>
                </a:cubicBezTo>
                <a:cubicBezTo>
                  <a:pt x="13575946" y="3793047"/>
                  <a:pt x="13535430" y="3794599"/>
                  <a:pt x="13535430" y="3810116"/>
                </a:cubicBezTo>
                <a:cubicBezTo>
                  <a:pt x="13516053" y="3815392"/>
                  <a:pt x="13512970" y="3815392"/>
                  <a:pt x="13503282" y="3825634"/>
                </a:cubicBezTo>
                <a:lnTo>
                  <a:pt x="13479060" y="3825634"/>
                </a:lnTo>
                <a:cubicBezTo>
                  <a:pt x="13479060" y="3817255"/>
                  <a:pt x="13486987" y="3811979"/>
                  <a:pt x="13488749" y="3803289"/>
                </a:cubicBezTo>
                <a:cubicBezTo>
                  <a:pt x="13480822" y="3801737"/>
                  <a:pt x="13480822" y="3793047"/>
                  <a:pt x="13480822" y="3786219"/>
                </a:cubicBezTo>
                <a:cubicBezTo>
                  <a:pt x="13480822" y="3774116"/>
                  <a:pt x="13495354" y="3751770"/>
                  <a:pt x="13495354" y="3746805"/>
                </a:cubicBezTo>
                <a:cubicBezTo>
                  <a:pt x="13495354" y="3736563"/>
                  <a:pt x="13486987" y="3727873"/>
                  <a:pt x="13486987" y="3717632"/>
                </a:cubicBezTo>
                <a:cubicBezTo>
                  <a:pt x="13477739" y="3715769"/>
                  <a:pt x="13474216" y="3708942"/>
                  <a:pt x="13471133" y="3705528"/>
                </a:cubicBezTo>
                <a:lnTo>
                  <a:pt x="13471133" y="3688458"/>
                </a:lnTo>
                <a:cubicBezTo>
                  <a:pt x="13483904" y="3688458"/>
                  <a:pt x="13496676" y="3678217"/>
                  <a:pt x="13496676" y="3666113"/>
                </a:cubicBezTo>
                <a:cubicBezTo>
                  <a:pt x="13496676" y="3645630"/>
                  <a:pt x="13472894" y="3631974"/>
                  <a:pt x="13453518" y="3631974"/>
                </a:cubicBezTo>
                <a:cubicBezTo>
                  <a:pt x="13442068" y="3631974"/>
                  <a:pt x="13435462" y="3640354"/>
                  <a:pt x="13430617" y="3640354"/>
                </a:cubicBezTo>
                <a:cubicBezTo>
                  <a:pt x="13419608" y="3640354"/>
                  <a:pt x="13414763" y="3619871"/>
                  <a:pt x="13414763" y="3611181"/>
                </a:cubicBezTo>
                <a:cubicBezTo>
                  <a:pt x="13414763" y="3590387"/>
                  <a:pt x="13432378" y="3592249"/>
                  <a:pt x="13432378" y="3575180"/>
                </a:cubicBezTo>
                <a:cubicBezTo>
                  <a:pt x="13432378" y="3554697"/>
                  <a:pt x="13424452" y="3554697"/>
                  <a:pt x="13432378" y="3537317"/>
                </a:cubicBezTo>
                <a:cubicBezTo>
                  <a:pt x="13408157" y="3537317"/>
                  <a:pt x="13400230" y="3518385"/>
                  <a:pt x="13380853" y="3518385"/>
                </a:cubicBezTo>
                <a:cubicBezTo>
                  <a:pt x="13328886" y="3518385"/>
                  <a:pt x="13291894" y="3569904"/>
                  <a:pt x="13246974" y="3569904"/>
                </a:cubicBezTo>
                <a:cubicBezTo>
                  <a:pt x="13246974" y="3539179"/>
                  <a:pt x="13277802" y="3527075"/>
                  <a:pt x="13277802" y="3499454"/>
                </a:cubicBezTo>
                <a:cubicBezTo>
                  <a:pt x="13277802" y="3489523"/>
                  <a:pt x="13259745" y="3467177"/>
                  <a:pt x="13246974" y="3467177"/>
                </a:cubicBezTo>
                <a:cubicBezTo>
                  <a:pt x="13230680" y="3467177"/>
                  <a:pt x="13224514" y="3484247"/>
                  <a:pt x="13220991" y="3489523"/>
                </a:cubicBezTo>
                <a:cubicBezTo>
                  <a:pt x="13208220" y="3511868"/>
                  <a:pt x="13171226" y="3537317"/>
                  <a:pt x="13151850" y="3552835"/>
                </a:cubicBezTo>
                <a:cubicBezTo>
                  <a:pt x="13128949" y="3569904"/>
                  <a:pt x="13082268" y="3558111"/>
                  <a:pt x="13082268" y="3594111"/>
                </a:cubicBezTo>
                <a:cubicBezTo>
                  <a:pt x="13082268" y="3611181"/>
                  <a:pt x="13110012" y="3618008"/>
                  <a:pt x="13116178" y="3623284"/>
                </a:cubicBezTo>
                <a:cubicBezTo>
                  <a:pt x="13135555" y="3638802"/>
                  <a:pt x="13128949" y="3655871"/>
                  <a:pt x="13148326" y="3669527"/>
                </a:cubicBezTo>
                <a:cubicBezTo>
                  <a:pt x="13161538" y="3678217"/>
                  <a:pt x="13177392" y="3672941"/>
                  <a:pt x="13190164" y="3672941"/>
                </a:cubicBezTo>
                <a:cubicBezTo>
                  <a:pt x="13199852" y="3672941"/>
                  <a:pt x="13199852" y="3635388"/>
                  <a:pt x="13213064" y="3635388"/>
                </a:cubicBezTo>
                <a:cubicBezTo>
                  <a:pt x="13230680" y="3635388"/>
                  <a:pt x="13237286" y="3649044"/>
                  <a:pt x="13248295" y="3655871"/>
                </a:cubicBezTo>
                <a:cubicBezTo>
                  <a:pt x="13271196" y="3671079"/>
                  <a:pt x="13295417" y="3652458"/>
                  <a:pt x="13308188" y="3671079"/>
                </a:cubicBezTo>
                <a:cubicBezTo>
                  <a:pt x="13275600" y="3705528"/>
                  <a:pt x="13206458" y="3705528"/>
                  <a:pt x="13191925" y="3751770"/>
                </a:cubicBezTo>
                <a:cubicBezTo>
                  <a:pt x="13185760" y="3772254"/>
                  <a:pt x="13158015" y="3774116"/>
                  <a:pt x="13158015" y="3794599"/>
                </a:cubicBezTo>
                <a:cubicBezTo>
                  <a:pt x="13158015" y="3818806"/>
                  <a:pt x="13188842" y="3835876"/>
                  <a:pt x="13201614" y="3837738"/>
                </a:cubicBezTo>
                <a:cubicBezTo>
                  <a:pt x="13201614" y="3842703"/>
                  <a:pt x="13203375" y="3870325"/>
                  <a:pt x="13203375" y="3870325"/>
                </a:cubicBezTo>
                <a:lnTo>
                  <a:pt x="13206458" y="3870325"/>
                </a:lnTo>
                <a:lnTo>
                  <a:pt x="13204696" y="3871877"/>
                </a:lnTo>
                <a:cubicBezTo>
                  <a:pt x="13219229" y="3880566"/>
                  <a:pt x="13219229" y="3901360"/>
                  <a:pt x="13224514" y="3909740"/>
                </a:cubicBezTo>
                <a:cubicBezTo>
                  <a:pt x="13253140" y="3956292"/>
                  <a:pt x="13269434" y="3983603"/>
                  <a:pt x="13269434" y="4057467"/>
                </a:cubicBezTo>
                <a:cubicBezTo>
                  <a:pt x="13269434" y="4107124"/>
                  <a:pt x="13245212" y="4124193"/>
                  <a:pt x="13245212" y="4162056"/>
                </a:cubicBezTo>
                <a:cubicBezTo>
                  <a:pt x="13220991" y="4167021"/>
                  <a:pt x="13177392" y="4235609"/>
                  <a:pt x="13167704" y="4256403"/>
                </a:cubicBezTo>
                <a:cubicBezTo>
                  <a:pt x="13153170" y="4288990"/>
                  <a:pt x="13142160" y="4352302"/>
                  <a:pt x="13103406" y="4352302"/>
                </a:cubicBezTo>
                <a:cubicBezTo>
                  <a:pt x="13100324" y="4369681"/>
                  <a:pt x="13091956" y="4376509"/>
                  <a:pt x="13079185" y="4383337"/>
                </a:cubicBezTo>
                <a:cubicBezTo>
                  <a:pt x="13033824" y="4410958"/>
                  <a:pt x="13016209" y="4458753"/>
                  <a:pt x="12942223" y="4458753"/>
                </a:cubicBezTo>
                <a:cubicBezTo>
                  <a:pt x="12925928" y="4458753"/>
                  <a:pt x="12918002" y="4445097"/>
                  <a:pt x="12901707" y="4445097"/>
                </a:cubicBezTo>
                <a:cubicBezTo>
                  <a:pt x="12898624" y="4445097"/>
                  <a:pt x="12882330" y="4477684"/>
                  <a:pt x="12882330" y="4477684"/>
                </a:cubicBezTo>
                <a:cubicBezTo>
                  <a:pt x="12862952" y="4498167"/>
                  <a:pt x="12832125" y="4491340"/>
                  <a:pt x="12801738" y="4506857"/>
                </a:cubicBezTo>
                <a:cubicBezTo>
                  <a:pt x="12788526" y="4513995"/>
                  <a:pt x="12756378" y="4518961"/>
                  <a:pt x="12745368" y="4530754"/>
                </a:cubicBezTo>
                <a:cubicBezTo>
                  <a:pt x="12732156" y="4544410"/>
                  <a:pt x="12741845" y="4566755"/>
                  <a:pt x="12724230" y="4566755"/>
                </a:cubicBezTo>
                <a:cubicBezTo>
                  <a:pt x="12709696" y="4566755"/>
                  <a:pt x="12714540" y="4532616"/>
                  <a:pt x="12716302" y="4523926"/>
                </a:cubicBezTo>
                <a:cubicBezTo>
                  <a:pt x="12685475" y="4508409"/>
                  <a:pt x="12666098" y="4518961"/>
                  <a:pt x="12638794" y="4504995"/>
                </a:cubicBezTo>
                <a:cubicBezTo>
                  <a:pt x="12606644" y="4558065"/>
                  <a:pt x="12527374" y="4570479"/>
                  <a:pt x="12527374" y="4644033"/>
                </a:cubicBezTo>
                <a:cubicBezTo>
                  <a:pt x="12527374" y="4659550"/>
                  <a:pt x="12535302" y="4662964"/>
                  <a:pt x="12541907" y="4669792"/>
                </a:cubicBezTo>
                <a:cubicBezTo>
                  <a:pt x="12578900" y="4709207"/>
                  <a:pt x="12595194" y="4753897"/>
                  <a:pt x="12635710" y="4781208"/>
                </a:cubicBezTo>
                <a:cubicBezTo>
                  <a:pt x="12674024" y="4808830"/>
                  <a:pt x="12700008" y="4884245"/>
                  <a:pt x="12700008" y="4940730"/>
                </a:cubicBezTo>
                <a:cubicBezTo>
                  <a:pt x="12700008" y="4980455"/>
                  <a:pt x="12680630" y="4995972"/>
                  <a:pt x="12680630" y="5026697"/>
                </a:cubicBezTo>
                <a:cubicBezTo>
                  <a:pt x="12629104" y="5040353"/>
                  <a:pt x="12624260" y="5059284"/>
                  <a:pt x="12582423" y="5081319"/>
                </a:cubicBezTo>
                <a:cubicBezTo>
                  <a:pt x="12562606" y="5091871"/>
                  <a:pt x="12566128" y="5119492"/>
                  <a:pt x="12546752" y="5119492"/>
                </a:cubicBezTo>
                <a:cubicBezTo>
                  <a:pt x="12541907" y="5119492"/>
                  <a:pt x="12541907" y="5109251"/>
                  <a:pt x="12541907" y="5103975"/>
                </a:cubicBezTo>
                <a:lnTo>
                  <a:pt x="12541907" y="5122906"/>
                </a:lnTo>
                <a:cubicBezTo>
                  <a:pt x="12541907" y="5139976"/>
                  <a:pt x="12509758" y="5165735"/>
                  <a:pt x="12503153" y="5165735"/>
                </a:cubicBezTo>
                <a:cubicBezTo>
                  <a:pt x="12496547" y="5165735"/>
                  <a:pt x="12490382" y="5141838"/>
                  <a:pt x="12490382" y="5131286"/>
                </a:cubicBezTo>
                <a:cubicBezTo>
                  <a:pt x="12490382" y="5117630"/>
                  <a:pt x="12490382" y="5110803"/>
                  <a:pt x="12496547" y="5107389"/>
                </a:cubicBezTo>
                <a:cubicBezTo>
                  <a:pt x="12490382" y="5103975"/>
                  <a:pt x="12487298" y="5090319"/>
                  <a:pt x="12485537" y="5081319"/>
                </a:cubicBezTo>
                <a:cubicBezTo>
                  <a:pt x="12461316" y="5081319"/>
                  <a:pt x="12429167" y="5073250"/>
                  <a:pt x="12429167" y="5047180"/>
                </a:cubicBezTo>
                <a:cubicBezTo>
                  <a:pt x="12393496" y="5047180"/>
                  <a:pt x="12411552" y="5021731"/>
                  <a:pt x="12391734" y="5000938"/>
                </a:cubicBezTo>
                <a:cubicBezTo>
                  <a:pt x="12369274" y="4977041"/>
                  <a:pt x="12346814" y="4975179"/>
                  <a:pt x="12320830" y="4966489"/>
                </a:cubicBezTo>
                <a:cubicBezTo>
                  <a:pt x="12317748" y="4966489"/>
                  <a:pt x="12312904" y="4944454"/>
                  <a:pt x="12312904" y="4944454"/>
                </a:cubicBezTo>
                <a:cubicBezTo>
                  <a:pt x="12308060" y="4925522"/>
                  <a:pt x="12288682" y="4922108"/>
                  <a:pt x="12271066" y="4922108"/>
                </a:cubicBezTo>
                <a:cubicBezTo>
                  <a:pt x="12257854" y="4922108"/>
                  <a:pt x="12261378" y="4932350"/>
                  <a:pt x="12261378" y="4940730"/>
                </a:cubicBezTo>
                <a:cubicBezTo>
                  <a:pt x="12261378" y="4956558"/>
                  <a:pt x="12267544" y="4959661"/>
                  <a:pt x="12267544" y="4973627"/>
                </a:cubicBezTo>
                <a:cubicBezTo>
                  <a:pt x="12267544" y="5025145"/>
                  <a:pt x="12220862" y="5038801"/>
                  <a:pt x="12220862" y="5085043"/>
                </a:cubicBezTo>
                <a:cubicBezTo>
                  <a:pt x="12220862" y="5138114"/>
                  <a:pt x="12275911" y="5117630"/>
                  <a:pt x="12275911" y="5167287"/>
                </a:cubicBezTo>
                <a:lnTo>
                  <a:pt x="12272828" y="5167287"/>
                </a:lnTo>
                <a:cubicBezTo>
                  <a:pt x="12278994" y="5179390"/>
                  <a:pt x="12280314" y="5210426"/>
                  <a:pt x="12291765" y="5222219"/>
                </a:cubicBezTo>
                <a:cubicBezTo>
                  <a:pt x="12335364" y="5268461"/>
                  <a:pt x="12430488" y="5279013"/>
                  <a:pt x="12430488" y="5364671"/>
                </a:cubicBezTo>
                <a:cubicBezTo>
                  <a:pt x="12430488" y="5381740"/>
                  <a:pt x="12424322" y="5381740"/>
                  <a:pt x="12424322" y="5397258"/>
                </a:cubicBezTo>
                <a:cubicBezTo>
                  <a:pt x="12424322" y="5427982"/>
                  <a:pt x="12448104" y="5438534"/>
                  <a:pt x="12454710" y="5459018"/>
                </a:cubicBezTo>
                <a:cubicBezTo>
                  <a:pt x="12461316" y="5481363"/>
                  <a:pt x="12461316" y="5490053"/>
                  <a:pt x="12469242" y="5508984"/>
                </a:cubicBezTo>
                <a:cubicBezTo>
                  <a:pt x="12456472" y="5510536"/>
                  <a:pt x="12454710" y="5510536"/>
                  <a:pt x="12448104" y="5510536"/>
                </a:cubicBezTo>
                <a:cubicBezTo>
                  <a:pt x="12443700" y="5510536"/>
                  <a:pt x="12441938" y="5517364"/>
                  <a:pt x="12437094" y="5517364"/>
                </a:cubicBezTo>
                <a:cubicBezTo>
                  <a:pt x="12420800" y="5517364"/>
                  <a:pt x="12419478" y="5505260"/>
                  <a:pt x="12409790" y="5501846"/>
                </a:cubicBezTo>
                <a:cubicBezTo>
                  <a:pt x="12359585" y="5484777"/>
                  <a:pt x="12314665" y="5433258"/>
                  <a:pt x="12296609" y="5376774"/>
                </a:cubicBezTo>
                <a:cubicBezTo>
                  <a:pt x="12282516" y="5326808"/>
                  <a:pt x="12278994" y="5291117"/>
                  <a:pt x="12261378" y="5251392"/>
                </a:cubicBezTo>
                <a:cubicBezTo>
                  <a:pt x="12249928" y="5227495"/>
                  <a:pt x="12238918" y="5165735"/>
                  <a:pt x="12212935" y="5165735"/>
                </a:cubicBezTo>
                <a:cubicBezTo>
                  <a:pt x="12196640" y="5165735"/>
                  <a:pt x="12206770" y="5175977"/>
                  <a:pt x="12191796" y="5165735"/>
                </a:cubicBezTo>
                <a:cubicBezTo>
                  <a:pt x="12188714" y="5165735"/>
                  <a:pt x="12191796" y="5158907"/>
                  <a:pt x="12191796" y="5155183"/>
                </a:cubicBezTo>
                <a:cubicBezTo>
                  <a:pt x="12191796" y="5131286"/>
                  <a:pt x="12194878" y="5114216"/>
                  <a:pt x="12199723" y="5090319"/>
                </a:cubicBezTo>
                <a:lnTo>
                  <a:pt x="12203246" y="5090319"/>
                </a:lnTo>
                <a:lnTo>
                  <a:pt x="12208090" y="5090319"/>
                </a:lnTo>
                <a:cubicBezTo>
                  <a:pt x="12194878" y="5082871"/>
                  <a:pt x="12208090" y="5043767"/>
                  <a:pt x="12208090" y="5025145"/>
                </a:cubicBezTo>
                <a:cubicBezTo>
                  <a:pt x="12208090" y="4949419"/>
                  <a:pt x="12165813" y="4905039"/>
                  <a:pt x="12165813" y="4849796"/>
                </a:cubicBezTo>
                <a:cubicBezTo>
                  <a:pt x="12145114" y="4849796"/>
                  <a:pt x="12172419" y="4798588"/>
                  <a:pt x="12156564" y="4772829"/>
                </a:cubicBezTo>
                <a:cubicBezTo>
                  <a:pt x="12151720" y="4764139"/>
                  <a:pt x="12138508" y="4767553"/>
                  <a:pt x="12135426" y="4764139"/>
                </a:cubicBezTo>
                <a:cubicBezTo>
                  <a:pt x="12125738" y="4753897"/>
                  <a:pt x="12130582" y="4747070"/>
                  <a:pt x="12120893" y="4736828"/>
                </a:cubicBezTo>
                <a:cubicBezTo>
                  <a:pt x="12093588" y="4765691"/>
                  <a:pt x="12082138" y="4815658"/>
                  <a:pt x="12036778" y="4815658"/>
                </a:cubicBezTo>
                <a:cubicBezTo>
                  <a:pt x="12012997" y="4815658"/>
                  <a:pt x="12011236" y="4794864"/>
                  <a:pt x="12011236" y="4772829"/>
                </a:cubicBezTo>
                <a:cubicBezTo>
                  <a:pt x="12011236" y="4750484"/>
                  <a:pt x="12019162" y="4740242"/>
                  <a:pt x="12019162" y="4721310"/>
                </a:cubicBezTo>
                <a:cubicBezTo>
                  <a:pt x="12019162" y="4712931"/>
                  <a:pt x="12011236" y="4707345"/>
                  <a:pt x="12009474" y="4698965"/>
                </a:cubicBezTo>
                <a:cubicBezTo>
                  <a:pt x="11998464" y="4662654"/>
                  <a:pt x="11979087" y="4635653"/>
                  <a:pt x="11962792" y="4608032"/>
                </a:cubicBezTo>
                <a:cubicBezTo>
                  <a:pt x="11940332" y="4589100"/>
                  <a:pt x="11922717" y="4575445"/>
                  <a:pt x="11909505" y="4553100"/>
                </a:cubicBezTo>
                <a:cubicBezTo>
                  <a:pt x="11896734" y="4532616"/>
                  <a:pt x="11899816" y="4504995"/>
                  <a:pt x="11893651" y="4484512"/>
                </a:cubicBezTo>
                <a:cubicBezTo>
                  <a:pt x="11887045" y="4460615"/>
                  <a:pt x="11859741" y="4450063"/>
                  <a:pt x="11835520" y="4445097"/>
                </a:cubicBezTo>
                <a:cubicBezTo>
                  <a:pt x="11835520" y="4496615"/>
                  <a:pt x="11790159" y="4506857"/>
                  <a:pt x="11748322" y="4506857"/>
                </a:cubicBezTo>
                <a:cubicBezTo>
                  <a:pt x="11722338" y="4506857"/>
                  <a:pt x="11722338" y="4498478"/>
                  <a:pt x="11709568" y="4489477"/>
                </a:cubicBezTo>
                <a:cubicBezTo>
                  <a:pt x="11698117" y="4515237"/>
                  <a:pt x="11664648" y="4517099"/>
                  <a:pt x="11659363" y="4532616"/>
                </a:cubicBezTo>
                <a:cubicBezTo>
                  <a:pt x="11653198" y="4556513"/>
                  <a:pt x="11654518" y="4575445"/>
                  <a:pt x="11640426" y="4590963"/>
                </a:cubicBezTo>
                <a:cubicBezTo>
                  <a:pt x="11611360" y="4621687"/>
                  <a:pt x="11564678" y="4630377"/>
                  <a:pt x="11538696" y="4657688"/>
                </a:cubicBezTo>
                <a:cubicBezTo>
                  <a:pt x="11506106" y="4691827"/>
                  <a:pt x="11477481" y="4726586"/>
                  <a:pt x="11446654" y="4758863"/>
                </a:cubicBezTo>
                <a:cubicBezTo>
                  <a:pt x="11433882" y="4772829"/>
                  <a:pt x="11416266" y="4793312"/>
                  <a:pt x="11404816" y="4796726"/>
                </a:cubicBezTo>
                <a:cubicBezTo>
                  <a:pt x="11375750" y="4807278"/>
                  <a:pt x="11341840" y="4812244"/>
                  <a:pt x="11341840" y="4848245"/>
                </a:cubicBezTo>
                <a:cubicBezTo>
                  <a:pt x="11341840" y="4878969"/>
                  <a:pt x="11353290" y="4896349"/>
                  <a:pt x="11353290" y="4923660"/>
                </a:cubicBezTo>
                <a:cubicBezTo>
                  <a:pt x="11353290" y="4966489"/>
                  <a:pt x="11333914" y="4994110"/>
                  <a:pt x="11333914" y="5026697"/>
                </a:cubicBezTo>
                <a:lnTo>
                  <a:pt x="11341840" y="5071388"/>
                </a:lnTo>
                <a:lnTo>
                  <a:pt x="11333914" y="5073250"/>
                </a:lnTo>
                <a:cubicBezTo>
                  <a:pt x="11333914" y="5078216"/>
                  <a:pt x="11322464" y="5078216"/>
                  <a:pt x="11317619" y="5079767"/>
                </a:cubicBezTo>
                <a:cubicBezTo>
                  <a:pt x="11295159" y="5086595"/>
                  <a:pt x="11300004" y="5131286"/>
                  <a:pt x="11286792" y="5138114"/>
                </a:cubicBezTo>
                <a:cubicBezTo>
                  <a:pt x="11267414" y="5148355"/>
                  <a:pt x="11264332" y="5141838"/>
                  <a:pt x="11256404" y="5158907"/>
                </a:cubicBezTo>
                <a:cubicBezTo>
                  <a:pt x="11249798" y="5172563"/>
                  <a:pt x="11248037" y="5193356"/>
                  <a:pt x="11235266" y="5193356"/>
                </a:cubicBezTo>
                <a:cubicBezTo>
                  <a:pt x="11222494" y="5194908"/>
                  <a:pt x="11212806" y="5188080"/>
                  <a:pt x="11211044" y="5175977"/>
                </a:cubicBezTo>
                <a:cubicBezTo>
                  <a:pt x="11203117" y="5175977"/>
                  <a:pt x="11198273" y="5163873"/>
                  <a:pt x="11196512" y="5158907"/>
                </a:cubicBezTo>
                <a:cubicBezTo>
                  <a:pt x="11183740" y="5117630"/>
                  <a:pt x="11166124" y="5083181"/>
                  <a:pt x="11154674" y="5047180"/>
                </a:cubicBezTo>
                <a:cubicBezTo>
                  <a:pt x="11148068" y="5023283"/>
                  <a:pt x="11125608" y="5006214"/>
                  <a:pt x="11119002" y="4992248"/>
                </a:cubicBezTo>
                <a:cubicBezTo>
                  <a:pt x="11106231" y="4964937"/>
                  <a:pt x="11114158" y="4942592"/>
                  <a:pt x="11101387" y="4922108"/>
                </a:cubicBezTo>
                <a:cubicBezTo>
                  <a:pt x="11088616" y="4899763"/>
                  <a:pt x="11088616" y="4889211"/>
                  <a:pt x="11082010" y="4867176"/>
                </a:cubicBezTo>
                <a:cubicBezTo>
                  <a:pt x="11074082" y="4841417"/>
                  <a:pt x="11045017" y="4784933"/>
                  <a:pt x="11033566" y="4747070"/>
                </a:cubicBezTo>
                <a:cubicBezTo>
                  <a:pt x="11023878" y="4712931"/>
                  <a:pt x="11006262" y="4680034"/>
                  <a:pt x="11006262" y="4647447"/>
                </a:cubicBezTo>
                <a:cubicBezTo>
                  <a:pt x="11006262" y="4642481"/>
                  <a:pt x="11003620" y="4628205"/>
                  <a:pt x="11003620" y="4623239"/>
                </a:cubicBezTo>
                <a:lnTo>
                  <a:pt x="11004941" y="4624481"/>
                </a:lnTo>
                <a:cubicBezTo>
                  <a:pt x="11005382" y="4601515"/>
                  <a:pt x="11012868" y="4596859"/>
                  <a:pt x="11012868" y="4575445"/>
                </a:cubicBezTo>
                <a:cubicBezTo>
                  <a:pt x="11012868" y="4547824"/>
                  <a:pt x="10996574" y="4527340"/>
                  <a:pt x="10996574" y="4504995"/>
                </a:cubicBezTo>
                <a:cubicBezTo>
                  <a:pt x="10996574" y="4500029"/>
                  <a:pt x="11006262" y="4487926"/>
                  <a:pt x="11006262" y="4481098"/>
                </a:cubicBezTo>
                <a:lnTo>
                  <a:pt x="10993491" y="4481098"/>
                </a:lnTo>
                <a:cubicBezTo>
                  <a:pt x="10972352" y="4503443"/>
                  <a:pt x="10970590" y="4561789"/>
                  <a:pt x="10928753" y="4561789"/>
                </a:cubicBezTo>
                <a:cubicBezTo>
                  <a:pt x="10878989" y="4561789"/>
                  <a:pt x="10859612" y="4508409"/>
                  <a:pt x="10835390" y="4482650"/>
                </a:cubicBezTo>
                <a:cubicBezTo>
                  <a:pt x="10849923" y="4472408"/>
                  <a:pt x="10860933" y="4481098"/>
                  <a:pt x="10875906" y="4475822"/>
                </a:cubicBezTo>
                <a:cubicBezTo>
                  <a:pt x="10888678" y="4472408"/>
                  <a:pt x="10889999" y="4457201"/>
                  <a:pt x="10896605" y="4450063"/>
                </a:cubicBezTo>
                <a:cubicBezTo>
                  <a:pt x="10883834" y="4446649"/>
                  <a:pt x="10872383" y="4446649"/>
                  <a:pt x="10859612" y="4446649"/>
                </a:cubicBezTo>
                <a:cubicBezTo>
                  <a:pt x="10827463" y="4446649"/>
                  <a:pt x="10780342" y="4412510"/>
                  <a:pt x="10764487" y="4386751"/>
                </a:cubicBezTo>
                <a:cubicBezTo>
                  <a:pt x="10751276" y="4364405"/>
                  <a:pt x="10741587" y="4324991"/>
                  <a:pt x="10722210" y="4318163"/>
                </a:cubicBezTo>
                <a:cubicBezTo>
                  <a:pt x="10704594" y="4312887"/>
                  <a:pt x="10691823" y="4316611"/>
                  <a:pt x="10673767" y="4316611"/>
                </a:cubicBezTo>
                <a:cubicBezTo>
                  <a:pt x="10654830" y="4316611"/>
                  <a:pt x="10649986" y="4329956"/>
                  <a:pt x="10633691" y="4329956"/>
                </a:cubicBezTo>
                <a:lnTo>
                  <a:pt x="10591414" y="4318163"/>
                </a:lnTo>
                <a:cubicBezTo>
                  <a:pt x="10585248" y="4321577"/>
                  <a:pt x="10580404" y="4326853"/>
                  <a:pt x="10577321" y="4329956"/>
                </a:cubicBezTo>
                <a:lnTo>
                  <a:pt x="10520951" y="4333681"/>
                </a:lnTo>
                <a:cubicBezTo>
                  <a:pt x="10520951" y="4335232"/>
                  <a:pt x="10514345" y="4333681"/>
                  <a:pt x="10512584" y="4333681"/>
                </a:cubicBezTo>
                <a:cubicBezTo>
                  <a:pt x="10482196" y="4333681"/>
                  <a:pt x="10410853" y="4312887"/>
                  <a:pt x="10367695" y="4312887"/>
                </a:cubicBezTo>
                <a:cubicBezTo>
                  <a:pt x="10359327" y="4312887"/>
                  <a:pt x="10312646" y="4299232"/>
                  <a:pt x="10310884" y="4297369"/>
                </a:cubicBezTo>
                <a:cubicBezTo>
                  <a:pt x="10295030" y="4280300"/>
                  <a:pt x="10295030" y="4228782"/>
                  <a:pt x="10261120" y="4228782"/>
                </a:cubicBezTo>
                <a:cubicBezTo>
                  <a:pt x="10243504" y="4228782"/>
                  <a:pt x="10236898" y="4244299"/>
                  <a:pt x="10227210" y="4254541"/>
                </a:cubicBezTo>
                <a:lnTo>
                  <a:pt x="10146618" y="4254541"/>
                </a:lnTo>
                <a:cubicBezTo>
                  <a:pt x="10120635" y="4245851"/>
                  <a:pt x="10107864" y="4223816"/>
                  <a:pt x="10091569" y="4206436"/>
                </a:cubicBezTo>
                <a:cubicBezTo>
                  <a:pt x="10072192" y="4185953"/>
                  <a:pt x="10046649" y="4196195"/>
                  <a:pt x="10028593" y="4177263"/>
                </a:cubicBezTo>
                <a:cubicBezTo>
                  <a:pt x="10019345" y="4167021"/>
                  <a:pt x="10024189" y="4153366"/>
                  <a:pt x="10020666" y="4146538"/>
                </a:cubicBezTo>
                <a:cubicBezTo>
                  <a:pt x="10003050" y="4108986"/>
                  <a:pt x="9967379" y="4055605"/>
                  <a:pt x="9922459" y="4055605"/>
                </a:cubicBezTo>
                <a:cubicBezTo>
                  <a:pt x="9899558" y="4055605"/>
                  <a:pt x="9889870" y="4086330"/>
                  <a:pt x="9889870" y="4110537"/>
                </a:cubicBezTo>
                <a:cubicBezTo>
                  <a:pt x="9889870" y="4127607"/>
                  <a:pt x="9889870" y="4136297"/>
                  <a:pt x="9893393" y="4149952"/>
                </a:cubicBezTo>
                <a:cubicBezTo>
                  <a:pt x="9903082" y="4191229"/>
                  <a:pt x="9948442" y="4264782"/>
                  <a:pt x="9985435" y="4273472"/>
                </a:cubicBezTo>
                <a:cubicBezTo>
                  <a:pt x="9985435" y="4292093"/>
                  <a:pt x="9995124" y="4297369"/>
                  <a:pt x="9996445" y="4312887"/>
                </a:cubicBezTo>
                <a:cubicBezTo>
                  <a:pt x="10015822" y="4307611"/>
                  <a:pt x="10012739" y="4285576"/>
                  <a:pt x="10028593" y="4282162"/>
                </a:cubicBezTo>
                <a:cubicBezTo>
                  <a:pt x="10030355" y="4288990"/>
                  <a:pt x="10030355" y="4293956"/>
                  <a:pt x="10030355" y="4300783"/>
                </a:cubicBezTo>
                <a:cubicBezTo>
                  <a:pt x="10030355" y="4321577"/>
                  <a:pt x="10019345" y="4335232"/>
                  <a:pt x="10019345" y="4355716"/>
                </a:cubicBezTo>
                <a:cubicBezTo>
                  <a:pt x="10019345" y="4379923"/>
                  <a:pt x="10060742" y="4392027"/>
                  <a:pt x="10085404" y="4392027"/>
                </a:cubicBezTo>
                <a:cubicBezTo>
                  <a:pt x="10193300" y="4392027"/>
                  <a:pt x="10201227" y="4321577"/>
                  <a:pt x="10259358" y="4275334"/>
                </a:cubicBezTo>
                <a:lnTo>
                  <a:pt x="10259358" y="4338646"/>
                </a:lnTo>
                <a:cubicBezTo>
                  <a:pt x="10281818" y="4388303"/>
                  <a:pt x="10312646" y="4396992"/>
                  <a:pt x="10359327" y="4412510"/>
                </a:cubicBezTo>
                <a:cubicBezTo>
                  <a:pt x="10377383" y="4417476"/>
                  <a:pt x="10378704" y="4446649"/>
                  <a:pt x="10390155" y="4453477"/>
                </a:cubicBezTo>
                <a:lnTo>
                  <a:pt x="10390155" y="4451925"/>
                </a:lnTo>
                <a:cubicBezTo>
                  <a:pt x="10398082" y="4467442"/>
                  <a:pt x="10420542" y="4464029"/>
                  <a:pt x="10420542" y="4479546"/>
                </a:cubicBezTo>
                <a:cubicBezTo>
                  <a:pt x="10420542" y="4518961"/>
                  <a:pt x="10373860" y="4532616"/>
                  <a:pt x="10373860" y="4573583"/>
                </a:cubicBezTo>
                <a:cubicBezTo>
                  <a:pt x="10349639" y="4573583"/>
                  <a:pt x="10333784" y="4580411"/>
                  <a:pt x="10327179" y="4601204"/>
                </a:cubicBezTo>
                <a:cubicBezTo>
                  <a:pt x="10320573" y="4621687"/>
                  <a:pt x="10322334" y="4650861"/>
                  <a:pt x="10302957" y="4650861"/>
                </a:cubicBezTo>
                <a:cubicBezTo>
                  <a:pt x="10278736" y="4650861"/>
                  <a:pt x="10280497" y="4700827"/>
                  <a:pt x="10256276" y="4700827"/>
                </a:cubicBezTo>
                <a:cubicBezTo>
                  <a:pt x="10241743" y="4700827"/>
                  <a:pt x="10210915" y="4729690"/>
                  <a:pt x="10210915" y="4750484"/>
                </a:cubicBezTo>
                <a:cubicBezTo>
                  <a:pt x="10167316" y="4758863"/>
                  <a:pt x="10069109" y="4777795"/>
                  <a:pt x="10069109" y="4815658"/>
                </a:cubicBezTo>
                <a:cubicBezTo>
                  <a:pt x="10069109" y="4820623"/>
                  <a:pt x="10072192" y="4827761"/>
                  <a:pt x="10075275" y="4831175"/>
                </a:cubicBezTo>
                <a:cubicBezTo>
                  <a:pt x="10038282" y="4849796"/>
                  <a:pt x="9988518" y="4861900"/>
                  <a:pt x="9949763" y="4872142"/>
                </a:cubicBezTo>
                <a:cubicBezTo>
                  <a:pt x="9930386" y="4877418"/>
                  <a:pt x="9865648" y="4925522"/>
                  <a:pt x="9844950" y="4935764"/>
                </a:cubicBezTo>
                <a:lnTo>
                  <a:pt x="9794746" y="4935764"/>
                </a:lnTo>
                <a:cubicBezTo>
                  <a:pt x="9767441" y="4956558"/>
                  <a:pt x="9763037" y="4970523"/>
                  <a:pt x="9729127" y="4970523"/>
                </a:cubicBezTo>
                <a:lnTo>
                  <a:pt x="9718998" y="4977041"/>
                </a:lnTo>
                <a:cubicBezTo>
                  <a:pt x="9714154" y="4977041"/>
                  <a:pt x="9673198" y="4955626"/>
                  <a:pt x="9668794" y="4953454"/>
                </a:cubicBezTo>
                <a:cubicBezTo>
                  <a:pt x="9664830" y="4951282"/>
                  <a:pt x="9677161" y="4951282"/>
                  <a:pt x="9666592" y="4934212"/>
                </a:cubicBezTo>
                <a:cubicBezTo>
                  <a:pt x="9649857" y="4907212"/>
                  <a:pt x="9638406" y="4878969"/>
                  <a:pt x="9638406" y="4846382"/>
                </a:cubicBezTo>
                <a:cubicBezTo>
                  <a:pt x="9620791" y="4844831"/>
                  <a:pt x="9633122" y="4812244"/>
                  <a:pt x="9636645" y="4796726"/>
                </a:cubicBezTo>
                <a:cubicBezTo>
                  <a:pt x="9644572" y="4758863"/>
                  <a:pt x="9617268" y="4743656"/>
                  <a:pt x="9599652" y="4724724"/>
                </a:cubicBezTo>
                <a:cubicBezTo>
                  <a:pt x="9580275" y="4704241"/>
                  <a:pt x="9535355" y="4644964"/>
                  <a:pt x="9535355" y="4603687"/>
                </a:cubicBezTo>
                <a:cubicBezTo>
                  <a:pt x="9479425" y="4590031"/>
                  <a:pt x="9465773" y="4554962"/>
                  <a:pt x="9465773" y="4489477"/>
                </a:cubicBezTo>
                <a:cubicBezTo>
                  <a:pt x="9465773" y="4450063"/>
                  <a:pt x="9445075" y="4441683"/>
                  <a:pt x="9438469" y="4409096"/>
                </a:cubicBezTo>
                <a:cubicBezTo>
                  <a:pt x="9430542" y="4402268"/>
                  <a:pt x="9422174" y="4392027"/>
                  <a:pt x="9417330" y="4386751"/>
                </a:cubicBezTo>
                <a:cubicBezTo>
                  <a:pt x="9410724" y="4379923"/>
                  <a:pt x="9390026" y="4383337"/>
                  <a:pt x="9385182" y="4378371"/>
                </a:cubicBezTo>
                <a:cubicBezTo>
                  <a:pt x="9375493" y="4367819"/>
                  <a:pt x="9378576" y="4342060"/>
                  <a:pt x="9375493" y="4331818"/>
                </a:cubicBezTo>
                <a:cubicBezTo>
                  <a:pt x="9370648" y="4314439"/>
                  <a:pt x="9359198" y="4300783"/>
                  <a:pt x="9352592" y="4290542"/>
                </a:cubicBezTo>
                <a:cubicBezTo>
                  <a:pt x="9333656" y="4259817"/>
                  <a:pt x="9317361" y="4234058"/>
                  <a:pt x="9299746" y="4204884"/>
                </a:cubicBezTo>
                <a:cubicBezTo>
                  <a:pt x="9294901" y="4196195"/>
                  <a:pt x="9272441" y="4168884"/>
                  <a:pt x="9272441" y="4163608"/>
                </a:cubicBezTo>
                <a:cubicBezTo>
                  <a:pt x="9272441" y="4152125"/>
                  <a:pt x="9277286" y="4130090"/>
                  <a:pt x="9280808" y="4109296"/>
                </a:cubicBezTo>
                <a:cubicBezTo>
                  <a:pt x="9273762" y="4133814"/>
                  <a:pt x="9256587" y="4177884"/>
                  <a:pt x="9251302" y="4194643"/>
                </a:cubicBezTo>
                <a:cubicBezTo>
                  <a:pt x="9217392" y="4189367"/>
                  <a:pt x="9190088" y="4112089"/>
                  <a:pt x="9162343" y="4082916"/>
                </a:cubicBezTo>
                <a:lnTo>
                  <a:pt x="9162343" y="4112089"/>
                </a:lnTo>
                <a:lnTo>
                  <a:pt x="9316040" y="4400406"/>
                </a:lnTo>
                <a:cubicBezTo>
                  <a:pt x="9307672" y="4436407"/>
                  <a:pt x="9356116" y="4512133"/>
                  <a:pt x="9380337" y="4532616"/>
                </a:cubicBezTo>
                <a:lnTo>
                  <a:pt x="9380337" y="4623550"/>
                </a:lnTo>
                <a:cubicBezTo>
                  <a:pt x="9396191" y="4669792"/>
                  <a:pt x="9428780" y="4669792"/>
                  <a:pt x="9453002" y="4704241"/>
                </a:cubicBezTo>
                <a:cubicBezTo>
                  <a:pt x="9482068" y="4745208"/>
                  <a:pt x="9464452" y="4789898"/>
                  <a:pt x="9493077" y="4820623"/>
                </a:cubicBezTo>
                <a:cubicBezTo>
                  <a:pt x="9519060" y="4848245"/>
                  <a:pt x="9536676" y="4849796"/>
                  <a:pt x="9565742" y="4872142"/>
                </a:cubicBezTo>
                <a:cubicBezTo>
                  <a:pt x="9591725" y="4892935"/>
                  <a:pt x="9605377" y="4964006"/>
                  <a:pt x="9658664" y="4964006"/>
                </a:cubicBezTo>
                <a:cubicBezTo>
                  <a:pt x="9658664" y="4993179"/>
                  <a:pt x="9674078" y="4997524"/>
                  <a:pt x="9657784" y="5018007"/>
                </a:cubicBezTo>
                <a:cubicBezTo>
                  <a:pt x="9678482" y="5035077"/>
                  <a:pt x="9699621" y="5090009"/>
                  <a:pt x="9726925" y="5090009"/>
                </a:cubicBezTo>
                <a:cubicBezTo>
                  <a:pt x="9752908" y="5090009"/>
                  <a:pt x="9754670" y="5067664"/>
                  <a:pt x="9775368" y="5061146"/>
                </a:cubicBezTo>
                <a:cubicBezTo>
                  <a:pt x="9799590" y="5052146"/>
                  <a:pt x="9815884" y="5064560"/>
                  <a:pt x="9840106" y="5061146"/>
                </a:cubicBezTo>
                <a:cubicBezTo>
                  <a:pt x="9901320" y="5050594"/>
                  <a:pt x="9959452" y="5025145"/>
                  <a:pt x="10017584" y="5009628"/>
                </a:cubicBezTo>
                <a:cubicBezTo>
                  <a:pt x="10022428" y="5019869"/>
                  <a:pt x="10028593" y="5025145"/>
                  <a:pt x="10028593" y="5035077"/>
                </a:cubicBezTo>
                <a:cubicBezTo>
                  <a:pt x="10028593" y="5133148"/>
                  <a:pt x="9956369" y="5259772"/>
                  <a:pt x="9915853" y="5318428"/>
                </a:cubicBezTo>
                <a:cubicBezTo>
                  <a:pt x="9867410" y="5387016"/>
                  <a:pt x="9846712" y="5448776"/>
                  <a:pt x="9786818" y="5498432"/>
                </a:cubicBezTo>
                <a:cubicBezTo>
                  <a:pt x="9680244" y="5587814"/>
                  <a:pt x="9565742" y="5615125"/>
                  <a:pt x="9525226" y="5768128"/>
                </a:cubicBezTo>
                <a:cubicBezTo>
                  <a:pt x="9514216" y="5810647"/>
                  <a:pt x="9472379" y="5822750"/>
                  <a:pt x="9472379" y="5871165"/>
                </a:cubicBezTo>
                <a:cubicBezTo>
                  <a:pt x="9472379" y="5924236"/>
                  <a:pt x="9485150" y="5948133"/>
                  <a:pt x="9485150" y="5999651"/>
                </a:cubicBezTo>
                <a:cubicBezTo>
                  <a:pt x="9485150" y="6057997"/>
                  <a:pt x="9545044" y="6086860"/>
                  <a:pt x="9545044" y="6119447"/>
                </a:cubicBezTo>
                <a:cubicBezTo>
                  <a:pt x="9545044" y="6129999"/>
                  <a:pt x="9534914" y="6141793"/>
                  <a:pt x="9533593" y="6145517"/>
                </a:cubicBezTo>
                <a:lnTo>
                  <a:pt x="9533593" y="6188345"/>
                </a:lnTo>
                <a:cubicBezTo>
                  <a:pt x="9533593" y="6215656"/>
                  <a:pt x="9528749" y="6248243"/>
                  <a:pt x="9528749" y="6296347"/>
                </a:cubicBezTo>
                <a:cubicBezTo>
                  <a:pt x="9538438" y="6306589"/>
                  <a:pt x="9541520" y="6316831"/>
                  <a:pt x="9541520" y="6330797"/>
                </a:cubicBezTo>
                <a:cubicBezTo>
                  <a:pt x="9541520" y="6464559"/>
                  <a:pt x="9328811" y="6449041"/>
                  <a:pt x="9310755" y="6562319"/>
                </a:cubicBezTo>
                <a:cubicBezTo>
                  <a:pt x="9288736" y="6565733"/>
                  <a:pt x="9262752" y="6594907"/>
                  <a:pt x="9262752" y="6613838"/>
                </a:cubicBezTo>
                <a:cubicBezTo>
                  <a:pt x="9262752" y="6651391"/>
                  <a:pt x="9307672" y="6677150"/>
                  <a:pt x="9307672" y="6728668"/>
                </a:cubicBezTo>
                <a:cubicBezTo>
                  <a:pt x="9307672" y="6756289"/>
                  <a:pt x="9304590" y="6812773"/>
                  <a:pt x="9294901" y="6827981"/>
                </a:cubicBezTo>
                <a:cubicBezTo>
                  <a:pt x="9285212" y="6841947"/>
                  <a:pt x="9257468" y="6835119"/>
                  <a:pt x="9246458" y="6840085"/>
                </a:cubicBezTo>
                <a:cubicBezTo>
                  <a:pt x="9207704" y="6860878"/>
                  <a:pt x="9185244" y="6877947"/>
                  <a:pt x="9165866" y="6921087"/>
                </a:cubicBezTo>
                <a:cubicBezTo>
                  <a:pt x="9179959" y="6929466"/>
                  <a:pt x="9190088" y="6941570"/>
                  <a:pt x="9190088" y="6956777"/>
                </a:cubicBezTo>
                <a:cubicBezTo>
                  <a:pt x="9190088" y="7004881"/>
                  <a:pt x="9144728" y="7042435"/>
                  <a:pt x="9125350" y="7063538"/>
                </a:cubicBezTo>
                <a:cubicBezTo>
                  <a:pt x="9089679" y="7100781"/>
                  <a:pt x="9086596" y="7140505"/>
                  <a:pt x="9061053" y="7174955"/>
                </a:cubicBezTo>
                <a:cubicBezTo>
                  <a:pt x="9020537" y="7229577"/>
                  <a:pt x="9002922" y="7277681"/>
                  <a:pt x="8936863" y="7312131"/>
                </a:cubicBezTo>
                <a:cubicBezTo>
                  <a:pt x="8909118" y="7325786"/>
                  <a:pt x="8869043" y="7312131"/>
                  <a:pt x="8864198" y="7343165"/>
                </a:cubicBezTo>
                <a:cubicBezTo>
                  <a:pt x="8843060" y="7344717"/>
                  <a:pt x="8830288" y="7354959"/>
                  <a:pt x="8815755" y="7354959"/>
                </a:cubicBezTo>
                <a:cubicBezTo>
                  <a:pt x="8798140" y="7354959"/>
                  <a:pt x="8788451" y="7337889"/>
                  <a:pt x="8770395" y="7337889"/>
                </a:cubicBezTo>
                <a:cubicBezTo>
                  <a:pt x="8703015" y="7337889"/>
                  <a:pt x="8662499" y="7389408"/>
                  <a:pt x="8601285" y="7389408"/>
                </a:cubicBezTo>
                <a:cubicBezTo>
                  <a:pt x="8573980" y="7389408"/>
                  <a:pt x="8559448" y="7373891"/>
                  <a:pt x="8549318" y="7354959"/>
                </a:cubicBezTo>
                <a:cubicBezTo>
                  <a:pt x="8539630" y="7356511"/>
                  <a:pt x="8536547" y="7361787"/>
                  <a:pt x="8533464" y="7363649"/>
                </a:cubicBezTo>
                <a:cubicBezTo>
                  <a:pt x="8533464" y="7329199"/>
                  <a:pt x="8517170" y="7291647"/>
                  <a:pt x="8504398" y="7277681"/>
                </a:cubicBezTo>
                <a:cubicBezTo>
                  <a:pt x="8517170" y="7264025"/>
                  <a:pt x="8525537" y="7250370"/>
                  <a:pt x="8525537" y="7231439"/>
                </a:cubicBezTo>
                <a:cubicBezTo>
                  <a:pt x="8525537" y="7203817"/>
                  <a:pt x="8480177" y="7152299"/>
                  <a:pt x="8472250" y="7137091"/>
                </a:cubicBezTo>
                <a:cubicBezTo>
                  <a:pt x="8414118" y="7032193"/>
                  <a:pt x="8339692" y="6931018"/>
                  <a:pt x="8339692" y="6780187"/>
                </a:cubicBezTo>
                <a:lnTo>
                  <a:pt x="8339692" y="6733944"/>
                </a:lnTo>
                <a:cubicBezTo>
                  <a:pt x="8339692" y="6709737"/>
                  <a:pt x="8320315" y="6701357"/>
                  <a:pt x="8307544" y="6677150"/>
                </a:cubicBezTo>
                <a:cubicBezTo>
                  <a:pt x="8262183" y="6596769"/>
                  <a:pt x="8214181" y="6531284"/>
                  <a:pt x="8214181" y="6419868"/>
                </a:cubicBezTo>
                <a:cubicBezTo>
                  <a:pt x="8214181" y="6299761"/>
                  <a:pt x="8315911" y="6270589"/>
                  <a:pt x="8315911" y="6179655"/>
                </a:cubicBezTo>
                <a:cubicBezTo>
                  <a:pt x="8315911" y="6136827"/>
                  <a:pt x="8299616" y="6119447"/>
                  <a:pt x="8294772" y="6081895"/>
                </a:cubicBezTo>
                <a:cubicBezTo>
                  <a:pt x="8283322" y="6008031"/>
                  <a:pt x="8270551" y="5982271"/>
                  <a:pt x="8254256" y="5939443"/>
                </a:cubicBezTo>
                <a:cubicBezTo>
                  <a:pt x="8241485" y="5905304"/>
                  <a:pt x="8248091" y="5865579"/>
                  <a:pt x="8226952" y="5836716"/>
                </a:cubicBezTo>
                <a:cubicBezTo>
                  <a:pt x="8185115" y="5779922"/>
                  <a:pt x="8093073" y="5719714"/>
                  <a:pt x="8093073" y="5639332"/>
                </a:cubicBezTo>
                <a:cubicBezTo>
                  <a:pt x="8093073" y="5620401"/>
                  <a:pt x="8118616" y="5577262"/>
                  <a:pt x="8130066" y="5570434"/>
                </a:cubicBezTo>
                <a:cubicBezTo>
                  <a:pt x="8123900" y="5555227"/>
                  <a:pt x="8130066" y="5551503"/>
                  <a:pt x="8130066" y="5544985"/>
                </a:cubicBezTo>
                <a:cubicBezTo>
                  <a:pt x="8130066" y="5524192"/>
                  <a:pt x="8130066" y="5472673"/>
                  <a:pt x="8146360" y="5459018"/>
                </a:cubicBezTo>
                <a:cubicBezTo>
                  <a:pt x="8128745" y="5421155"/>
                  <a:pt x="8099238" y="5387016"/>
                  <a:pt x="8044630" y="5387016"/>
                </a:cubicBezTo>
                <a:lnTo>
                  <a:pt x="7976810" y="5387016"/>
                </a:lnTo>
                <a:cubicBezTo>
                  <a:pt x="7928366" y="5387016"/>
                  <a:pt x="7917357" y="5287703"/>
                  <a:pt x="7850858" y="5287703"/>
                </a:cubicBezTo>
                <a:cubicBezTo>
                  <a:pt x="7770706" y="5287703"/>
                  <a:pt x="7710813" y="5326808"/>
                  <a:pt x="7649599" y="5347601"/>
                </a:cubicBezTo>
                <a:cubicBezTo>
                  <a:pt x="7625377" y="5355981"/>
                  <a:pt x="7617010" y="5378326"/>
                  <a:pt x="7593229" y="5378326"/>
                </a:cubicBezTo>
                <a:cubicBezTo>
                  <a:pt x="7569007" y="5378326"/>
                  <a:pt x="7528491" y="5352567"/>
                  <a:pt x="7496342" y="5352567"/>
                </a:cubicBezTo>
                <a:cubicBezTo>
                  <a:pt x="7433367" y="5352567"/>
                  <a:pt x="7405622" y="5387016"/>
                  <a:pt x="7343086" y="5387016"/>
                </a:cubicBezTo>
                <a:cubicBezTo>
                  <a:pt x="7323709" y="5387016"/>
                  <a:pt x="7301249" y="5378326"/>
                  <a:pt x="7294643" y="5373361"/>
                </a:cubicBezTo>
                <a:cubicBezTo>
                  <a:pt x="7249283" y="5337049"/>
                  <a:pt x="7155920" y="5278703"/>
                  <a:pt x="7122010" y="5223771"/>
                </a:cubicBezTo>
                <a:cubicBezTo>
                  <a:pt x="7091182" y="5174114"/>
                  <a:pt x="7081494" y="5133148"/>
                  <a:pt x="7041436" y="5098699"/>
                </a:cubicBezTo>
                <a:cubicBezTo>
                  <a:pt x="7029986" y="5090009"/>
                  <a:pt x="6944548" y="5009628"/>
                  <a:pt x="6944548" y="5002490"/>
                </a:cubicBezTo>
                <a:cubicBezTo>
                  <a:pt x="6936623" y="4992248"/>
                  <a:pt x="6931778" y="4989145"/>
                  <a:pt x="6923413" y="4978593"/>
                </a:cubicBezTo>
                <a:lnTo>
                  <a:pt x="6928694" y="4978593"/>
                </a:lnTo>
                <a:cubicBezTo>
                  <a:pt x="6928694" y="4952833"/>
                  <a:pt x="6920328" y="4939178"/>
                  <a:pt x="6920328" y="4923660"/>
                </a:cubicBezTo>
                <a:cubicBezTo>
                  <a:pt x="6920328" y="4899763"/>
                  <a:pt x="6907560" y="4891073"/>
                  <a:pt x="6896109" y="4867176"/>
                </a:cubicBezTo>
                <a:cubicBezTo>
                  <a:pt x="6931778" y="4848245"/>
                  <a:pt x="6963927" y="4755760"/>
                  <a:pt x="6963927" y="4712931"/>
                </a:cubicBezTo>
                <a:cubicBezTo>
                  <a:pt x="6963927" y="4637205"/>
                  <a:pt x="6931778" y="4589100"/>
                  <a:pt x="6931778" y="4520823"/>
                </a:cubicBezTo>
                <a:cubicBezTo>
                  <a:pt x="6931778" y="4486374"/>
                  <a:pt x="6968772" y="4465580"/>
                  <a:pt x="6976700" y="4438269"/>
                </a:cubicBezTo>
                <a:cubicBezTo>
                  <a:pt x="6997838" y="4371233"/>
                  <a:pt x="7046280" y="4280300"/>
                  <a:pt x="7085017" y="4223816"/>
                </a:cubicBezTo>
                <a:cubicBezTo>
                  <a:pt x="7107477" y="4191229"/>
                  <a:pt x="7149314" y="4194643"/>
                  <a:pt x="7178380" y="4177263"/>
                </a:cubicBezTo>
                <a:cubicBezTo>
                  <a:pt x="7202601" y="4162056"/>
                  <a:pt x="7243117" y="4127607"/>
                  <a:pt x="7251044" y="4099985"/>
                </a:cubicBezTo>
                <a:cubicBezTo>
                  <a:pt x="7270422" y="4036674"/>
                  <a:pt x="7246200" y="4009363"/>
                  <a:pt x="7278349" y="3966224"/>
                </a:cubicBezTo>
                <a:cubicBezTo>
                  <a:pt x="7320186" y="3909740"/>
                  <a:pt x="7375235" y="3856359"/>
                  <a:pt x="7415751" y="3803289"/>
                </a:cubicBezTo>
                <a:lnTo>
                  <a:pt x="7412228" y="3803289"/>
                </a:lnTo>
                <a:cubicBezTo>
                  <a:pt x="7424999" y="3786219"/>
                  <a:pt x="7428522" y="3770702"/>
                  <a:pt x="7444376" y="3757046"/>
                </a:cubicBezTo>
                <a:cubicBezTo>
                  <a:pt x="7484892" y="3787771"/>
                  <a:pt x="7526730" y="3799875"/>
                  <a:pt x="7581778" y="3799875"/>
                </a:cubicBezTo>
                <a:cubicBezTo>
                  <a:pt x="7615689" y="3799875"/>
                  <a:pt x="7621854" y="3779392"/>
                  <a:pt x="7641231" y="3769150"/>
                </a:cubicBezTo>
                <a:cubicBezTo>
                  <a:pt x="7704207" y="3736563"/>
                  <a:pt x="7823553" y="3688458"/>
                  <a:pt x="7896218" y="3688458"/>
                </a:cubicBezTo>
                <a:cubicBezTo>
                  <a:pt x="7918678" y="3688458"/>
                  <a:pt x="7939817" y="3705528"/>
                  <a:pt x="7952588" y="3705528"/>
                </a:cubicBezTo>
                <a:cubicBezTo>
                  <a:pt x="7970204" y="3705528"/>
                  <a:pt x="7996187" y="3679769"/>
                  <a:pt x="8020408" y="3679769"/>
                </a:cubicBezTo>
                <a:cubicBezTo>
                  <a:pt x="8041547" y="3679769"/>
                  <a:pt x="8051236" y="3691872"/>
                  <a:pt x="8068851" y="3691872"/>
                </a:cubicBezTo>
                <a:cubicBezTo>
                  <a:pt x="8101000" y="3691872"/>
                  <a:pt x="8102762" y="3666113"/>
                  <a:pt x="8133589" y="3666113"/>
                </a:cubicBezTo>
                <a:cubicBezTo>
                  <a:pt x="8163976" y="3666113"/>
                  <a:pt x="8156049" y="3696838"/>
                  <a:pt x="8181592" y="3696838"/>
                </a:cubicBezTo>
                <a:cubicBezTo>
                  <a:pt x="8191280" y="3696838"/>
                  <a:pt x="8196124" y="3688458"/>
                  <a:pt x="8205813" y="3686596"/>
                </a:cubicBezTo>
                <a:cubicBezTo>
                  <a:pt x="8204492" y="3712356"/>
                  <a:pt x="8181592" y="3708942"/>
                  <a:pt x="8181592" y="3731287"/>
                </a:cubicBezTo>
                <a:cubicBezTo>
                  <a:pt x="8181592" y="3746805"/>
                  <a:pt x="8202730" y="3753632"/>
                  <a:pt x="8202730" y="3769150"/>
                </a:cubicBezTo>
                <a:cubicBezTo>
                  <a:pt x="8202730" y="3794909"/>
                  <a:pt x="8181592" y="3808254"/>
                  <a:pt x="8181592" y="3834324"/>
                </a:cubicBezTo>
                <a:cubicBezTo>
                  <a:pt x="8181592" y="3876842"/>
                  <a:pt x="8223429" y="3914705"/>
                  <a:pt x="8254256" y="3914705"/>
                </a:cubicBezTo>
                <a:lnTo>
                  <a:pt x="8299616" y="3914705"/>
                </a:lnTo>
                <a:cubicBezTo>
                  <a:pt x="8404430" y="3914705"/>
                  <a:pt x="8441422" y="4052191"/>
                  <a:pt x="8560769" y="4052191"/>
                </a:cubicBezTo>
                <a:cubicBezTo>
                  <a:pt x="8575302" y="4052191"/>
                  <a:pt x="8592917" y="4034811"/>
                  <a:pt x="8592917" y="4026432"/>
                </a:cubicBezTo>
                <a:lnTo>
                  <a:pt x="8592917" y="3991983"/>
                </a:lnTo>
                <a:cubicBezTo>
                  <a:pt x="8592917" y="3937051"/>
                  <a:pt x="8631672" y="3937051"/>
                  <a:pt x="8681876" y="3919981"/>
                </a:cubicBezTo>
                <a:lnTo>
                  <a:pt x="8686721" y="3923395"/>
                </a:lnTo>
                <a:lnTo>
                  <a:pt x="8721952" y="3923395"/>
                </a:lnTo>
                <a:cubicBezTo>
                  <a:pt x="8721952" y="3947292"/>
                  <a:pt x="8740008" y="3952568"/>
                  <a:pt x="8746173" y="3962810"/>
                </a:cubicBezTo>
                <a:cubicBezTo>
                  <a:pt x="8760706" y="3983603"/>
                  <a:pt x="8798140" y="3969637"/>
                  <a:pt x="8823682" y="3980189"/>
                </a:cubicBezTo>
                <a:cubicBezTo>
                  <a:pt x="8875208" y="4000673"/>
                  <a:pt x="8947873" y="4026432"/>
                  <a:pt x="9004683" y="4026432"/>
                </a:cubicBezTo>
                <a:cubicBezTo>
                  <a:pt x="9056209" y="4026432"/>
                  <a:pt x="9072063" y="4000673"/>
                  <a:pt x="9122268" y="4000673"/>
                </a:cubicBezTo>
                <a:cubicBezTo>
                  <a:pt x="9152655" y="4000673"/>
                  <a:pt x="9170711" y="4023018"/>
                  <a:pt x="9205942" y="4023018"/>
                </a:cubicBezTo>
                <a:cubicBezTo>
                  <a:pt x="9230164" y="4023018"/>
                  <a:pt x="9230164" y="4014328"/>
                  <a:pt x="9251302" y="4009363"/>
                </a:cubicBezTo>
                <a:cubicBezTo>
                  <a:pt x="9253064" y="4013708"/>
                  <a:pt x="9254826" y="4017432"/>
                  <a:pt x="9257028" y="4021466"/>
                </a:cubicBezTo>
                <a:lnTo>
                  <a:pt x="9247779" y="3998811"/>
                </a:lnTo>
                <a:cubicBezTo>
                  <a:pt x="9247779" y="3987017"/>
                  <a:pt x="9259230" y="3987017"/>
                  <a:pt x="9260991" y="3980189"/>
                </a:cubicBezTo>
                <a:cubicBezTo>
                  <a:pt x="9272441" y="3942327"/>
                  <a:pt x="9277286" y="3923395"/>
                  <a:pt x="9286534" y="3888946"/>
                </a:cubicBezTo>
                <a:cubicBezTo>
                  <a:pt x="9296663" y="3854807"/>
                  <a:pt x="9328811" y="3846117"/>
                  <a:pt x="9328811" y="3806703"/>
                </a:cubicBezTo>
                <a:cubicBezTo>
                  <a:pt x="9328811" y="3777530"/>
                  <a:pt x="9320884" y="3753632"/>
                  <a:pt x="9320884" y="3733149"/>
                </a:cubicBezTo>
                <a:cubicBezTo>
                  <a:pt x="9320884" y="3722597"/>
                  <a:pt x="9328811" y="3719183"/>
                  <a:pt x="9331894" y="3715769"/>
                </a:cubicBezTo>
                <a:lnTo>
                  <a:pt x="9331894" y="3698700"/>
                </a:lnTo>
                <a:cubicBezTo>
                  <a:pt x="9319123" y="3703976"/>
                  <a:pt x="9314278" y="3714218"/>
                  <a:pt x="9301067" y="3714218"/>
                </a:cubicBezTo>
                <a:cubicBezTo>
                  <a:pt x="9285212" y="3714218"/>
                  <a:pt x="9275524" y="3707390"/>
                  <a:pt x="9268918" y="3700562"/>
                </a:cubicBezTo>
                <a:cubicBezTo>
                  <a:pt x="9243375" y="3721045"/>
                  <a:pt x="9235008" y="3743080"/>
                  <a:pt x="9188326" y="3743080"/>
                </a:cubicBezTo>
                <a:cubicBezTo>
                  <a:pt x="9154416" y="3743080"/>
                  <a:pt x="9141645" y="3700562"/>
                  <a:pt x="9107735" y="3700562"/>
                </a:cubicBezTo>
                <a:cubicBezTo>
                  <a:pt x="9073825" y="3700562"/>
                  <a:pt x="9079990" y="3739977"/>
                  <a:pt x="9051365" y="3739977"/>
                </a:cubicBezTo>
                <a:cubicBezTo>
                  <a:pt x="9020537" y="3739977"/>
                  <a:pt x="9004683" y="3693424"/>
                  <a:pt x="8973856" y="3708942"/>
                </a:cubicBezTo>
                <a:lnTo>
                  <a:pt x="8956240" y="3708942"/>
                </a:lnTo>
                <a:cubicBezTo>
                  <a:pt x="8961084" y="3707390"/>
                  <a:pt x="8967250" y="3702114"/>
                  <a:pt x="8969012" y="3698700"/>
                </a:cubicBezTo>
                <a:cubicBezTo>
                  <a:pt x="8959323" y="3688458"/>
                  <a:pt x="8912641" y="3662699"/>
                  <a:pt x="8928496" y="3645630"/>
                </a:cubicBezTo>
                <a:cubicBezTo>
                  <a:pt x="8913962" y="3623284"/>
                  <a:pt x="8896347" y="3624836"/>
                  <a:pt x="8873887" y="3613043"/>
                </a:cubicBezTo>
                <a:cubicBezTo>
                  <a:pt x="8889741" y="3595973"/>
                  <a:pt x="8907797" y="3599077"/>
                  <a:pt x="8907797" y="3566490"/>
                </a:cubicBezTo>
                <a:cubicBezTo>
                  <a:pt x="8907797" y="3554697"/>
                  <a:pt x="8904274" y="3554697"/>
                  <a:pt x="8907797" y="3546007"/>
                </a:cubicBezTo>
                <a:cubicBezTo>
                  <a:pt x="8896347" y="3546007"/>
                  <a:pt x="8880052" y="3547869"/>
                  <a:pt x="8880052" y="3537317"/>
                </a:cubicBezTo>
                <a:cubicBezTo>
                  <a:pt x="8880052" y="3484247"/>
                  <a:pt x="8996316" y="3494488"/>
                  <a:pt x="9025382" y="3478971"/>
                </a:cubicBezTo>
                <a:cubicBezTo>
                  <a:pt x="9022299" y="3465315"/>
                  <a:pt x="9012610" y="3470591"/>
                  <a:pt x="9012610" y="3458487"/>
                </a:cubicBezTo>
                <a:cubicBezTo>
                  <a:pt x="9012610" y="3442970"/>
                  <a:pt x="9042997" y="3449798"/>
                  <a:pt x="9051365" y="3449798"/>
                </a:cubicBezTo>
                <a:lnTo>
                  <a:pt x="9101129" y="3449798"/>
                </a:lnTo>
                <a:cubicBezTo>
                  <a:pt x="9120506" y="3449798"/>
                  <a:pt x="9149572" y="3427452"/>
                  <a:pt x="9167628" y="3415659"/>
                </a:cubicBezTo>
                <a:cubicBezTo>
                  <a:pt x="9188326" y="3401693"/>
                  <a:pt x="9233687" y="3400141"/>
                  <a:pt x="9260991" y="3400141"/>
                </a:cubicBezTo>
                <a:cubicBezTo>
                  <a:pt x="9304590" y="3400141"/>
                  <a:pt x="9302828" y="3425900"/>
                  <a:pt x="9339821" y="3425900"/>
                </a:cubicBezTo>
                <a:cubicBezTo>
                  <a:pt x="9339821" y="3446694"/>
                  <a:pt x="9402797" y="3458487"/>
                  <a:pt x="9420853" y="3460039"/>
                </a:cubicBezTo>
                <a:lnTo>
                  <a:pt x="9512454" y="3460039"/>
                </a:lnTo>
                <a:cubicBezTo>
                  <a:pt x="9545924" y="3460039"/>
                  <a:pt x="9564861" y="3433349"/>
                  <a:pt x="9593486" y="3420624"/>
                </a:cubicBezTo>
                <a:cubicBezTo>
                  <a:pt x="9593046" y="3420935"/>
                  <a:pt x="9592165" y="3420935"/>
                  <a:pt x="9591725" y="3421245"/>
                </a:cubicBezTo>
                <a:lnTo>
                  <a:pt x="9585119" y="3422176"/>
                </a:lnTo>
                <a:cubicBezTo>
                  <a:pt x="9585119" y="3286863"/>
                  <a:pt x="9399714" y="3303932"/>
                  <a:pt x="9359198" y="3202757"/>
                </a:cubicBezTo>
                <a:cubicBezTo>
                  <a:pt x="9453002" y="3177308"/>
                  <a:pt x="9410724" y="3130756"/>
                  <a:pt x="9407641" y="3120514"/>
                </a:cubicBezTo>
                <a:cubicBezTo>
                  <a:pt x="9416009" y="3117100"/>
                  <a:pt x="9436707" y="3091341"/>
                  <a:pt x="9436707" y="3091341"/>
                </a:cubicBezTo>
                <a:cubicBezTo>
                  <a:pt x="9393108" y="3108410"/>
                  <a:pt x="9275524" y="3154963"/>
                  <a:pt x="9275524" y="3168308"/>
                </a:cubicBezTo>
                <a:cubicBezTo>
                  <a:pt x="9275524" y="3189102"/>
                  <a:pt x="9296663" y="3194067"/>
                  <a:pt x="9302828" y="3194067"/>
                </a:cubicBezTo>
                <a:cubicBezTo>
                  <a:pt x="9302828" y="3194067"/>
                  <a:pt x="9344666" y="3200895"/>
                  <a:pt x="9347748" y="3200895"/>
                </a:cubicBezTo>
                <a:cubicBezTo>
                  <a:pt x="9334977" y="3218275"/>
                  <a:pt x="9257908" y="3254276"/>
                  <a:pt x="9235008" y="3254276"/>
                </a:cubicBezTo>
                <a:cubicBezTo>
                  <a:pt x="9212548" y="3254276"/>
                  <a:pt x="9138562" y="3125480"/>
                  <a:pt x="9109496" y="3125480"/>
                </a:cubicBezTo>
                <a:cubicBezTo>
                  <a:pt x="9073825" y="3125480"/>
                  <a:pt x="9070302" y="3170170"/>
                  <a:pt x="9035070" y="3180412"/>
                </a:cubicBezTo>
                <a:cubicBezTo>
                  <a:pt x="9036832" y="3189102"/>
                  <a:pt x="9035070" y="3197792"/>
                  <a:pt x="9036832" y="3206171"/>
                </a:cubicBezTo>
                <a:cubicBezTo>
                  <a:pt x="9020537" y="3209585"/>
                  <a:pt x="9003362" y="3217965"/>
                  <a:pt x="9003362" y="3235344"/>
                </a:cubicBezTo>
                <a:cubicBezTo>
                  <a:pt x="8997196" y="3263276"/>
                  <a:pt x="8998077" y="3249310"/>
                  <a:pt x="8993233" y="3259552"/>
                </a:cubicBezTo>
                <a:lnTo>
                  <a:pt x="8993233" y="3304242"/>
                </a:lnTo>
                <a:cubicBezTo>
                  <a:pt x="8976938" y="3321312"/>
                  <a:pt x="8947873" y="3355451"/>
                  <a:pt x="8947873" y="3379658"/>
                </a:cubicBezTo>
                <a:cubicBezTo>
                  <a:pt x="8947873" y="3413797"/>
                  <a:pt x="8991472" y="3437694"/>
                  <a:pt x="9001160" y="3453211"/>
                </a:cubicBezTo>
                <a:cubicBezTo>
                  <a:pt x="8994554" y="3460039"/>
                  <a:pt x="8988389" y="3458487"/>
                  <a:pt x="8980021" y="3460039"/>
                </a:cubicBezTo>
                <a:cubicBezTo>
                  <a:pt x="8965488" y="3465315"/>
                  <a:pt x="8954479" y="3458487"/>
                  <a:pt x="8939946" y="3465315"/>
                </a:cubicBezTo>
                <a:cubicBezTo>
                  <a:pt x="8918807" y="3475557"/>
                  <a:pt x="8913962" y="3497902"/>
                  <a:pt x="8893264" y="3497902"/>
                </a:cubicBezTo>
                <a:cubicBezTo>
                  <a:pt x="8869043" y="3497902"/>
                  <a:pt x="8854510" y="3463763"/>
                  <a:pt x="8825444" y="3463763"/>
                </a:cubicBezTo>
                <a:cubicBezTo>
                  <a:pt x="8799461" y="3463763"/>
                  <a:pt x="8793295" y="3478971"/>
                  <a:pt x="8772156" y="3485798"/>
                </a:cubicBezTo>
                <a:cubicBezTo>
                  <a:pt x="8775239" y="3499764"/>
                  <a:pt x="8775239" y="3509696"/>
                  <a:pt x="8772156" y="3523661"/>
                </a:cubicBezTo>
                <a:cubicBezTo>
                  <a:pt x="8747935" y="3523661"/>
                  <a:pt x="8744852" y="3497902"/>
                  <a:pt x="8730319" y="3497902"/>
                </a:cubicBezTo>
                <a:cubicBezTo>
                  <a:pt x="8721952" y="3497902"/>
                  <a:pt x="8712704" y="3508454"/>
                  <a:pt x="8712704" y="3516834"/>
                </a:cubicBezTo>
                <a:lnTo>
                  <a:pt x="8743091" y="3554697"/>
                </a:lnTo>
                <a:cubicBezTo>
                  <a:pt x="8741770" y="3564938"/>
                  <a:pt x="8736485" y="3569904"/>
                  <a:pt x="8736485" y="3575180"/>
                </a:cubicBezTo>
                <a:cubicBezTo>
                  <a:pt x="8736485" y="3580456"/>
                  <a:pt x="8780524" y="3623284"/>
                  <a:pt x="8793295" y="3623284"/>
                </a:cubicBezTo>
                <a:cubicBezTo>
                  <a:pt x="8793295" y="3628250"/>
                  <a:pt x="8796378" y="3635078"/>
                  <a:pt x="8799461" y="3638492"/>
                </a:cubicBezTo>
                <a:cubicBezTo>
                  <a:pt x="8791534" y="3643768"/>
                  <a:pt x="8775239" y="3636940"/>
                  <a:pt x="8772156" y="3649044"/>
                </a:cubicBezTo>
                <a:lnTo>
                  <a:pt x="8769074" y="3649044"/>
                </a:lnTo>
                <a:cubicBezTo>
                  <a:pt x="8751458" y="3645630"/>
                  <a:pt x="8735164" y="3631664"/>
                  <a:pt x="8727237" y="3623284"/>
                </a:cubicBezTo>
                <a:lnTo>
                  <a:pt x="8727237" y="3636940"/>
                </a:lnTo>
                <a:cubicBezTo>
                  <a:pt x="8731640" y="3647182"/>
                  <a:pt x="8736485" y="3652458"/>
                  <a:pt x="8736485" y="3666113"/>
                </a:cubicBezTo>
                <a:cubicBezTo>
                  <a:pt x="8736485" y="3676355"/>
                  <a:pt x="8720631" y="3696838"/>
                  <a:pt x="8736485" y="3705528"/>
                </a:cubicBezTo>
                <a:lnTo>
                  <a:pt x="8714025" y="3705528"/>
                </a:lnTo>
                <a:cubicBezTo>
                  <a:pt x="8688482" y="3705528"/>
                  <a:pt x="8665582" y="3677906"/>
                  <a:pt x="8665582" y="3649044"/>
                </a:cubicBezTo>
                <a:cubicBezTo>
                  <a:pt x="8665582" y="3636940"/>
                  <a:pt x="8681876" y="3631664"/>
                  <a:pt x="8686721" y="3623284"/>
                </a:cubicBezTo>
                <a:lnTo>
                  <a:pt x="8658976" y="3623284"/>
                </a:lnTo>
                <a:cubicBezTo>
                  <a:pt x="8652810" y="3623284"/>
                  <a:pt x="8649728" y="3607767"/>
                  <a:pt x="8649728" y="3604353"/>
                </a:cubicBezTo>
                <a:cubicBezTo>
                  <a:pt x="8643122" y="3580456"/>
                  <a:pt x="8630350" y="3564938"/>
                  <a:pt x="8615818" y="3549421"/>
                </a:cubicBezTo>
                <a:cubicBezTo>
                  <a:pt x="8596440" y="3528937"/>
                  <a:pt x="8570457" y="3513420"/>
                  <a:pt x="8570457" y="3477419"/>
                </a:cubicBezTo>
                <a:lnTo>
                  <a:pt x="8570457" y="3432728"/>
                </a:lnTo>
                <a:cubicBezTo>
                  <a:pt x="8570457" y="3408521"/>
                  <a:pt x="8535226" y="3372520"/>
                  <a:pt x="8512326" y="3360727"/>
                </a:cubicBezTo>
                <a:cubicBezTo>
                  <a:pt x="8489866" y="3348623"/>
                  <a:pt x="8463882" y="3347071"/>
                  <a:pt x="8463882" y="3322864"/>
                </a:cubicBezTo>
                <a:lnTo>
                  <a:pt x="8441422" y="3322864"/>
                </a:lnTo>
                <a:cubicBezTo>
                  <a:pt x="8405751" y="3322864"/>
                  <a:pt x="8365675" y="3264517"/>
                  <a:pt x="8365675" y="3225103"/>
                </a:cubicBezTo>
                <a:lnTo>
                  <a:pt x="8317232" y="3225103"/>
                </a:lnTo>
                <a:cubicBezTo>
                  <a:pt x="8296093" y="3225103"/>
                  <a:pt x="8305782" y="3189102"/>
                  <a:pt x="8296093" y="3178860"/>
                </a:cubicBezTo>
                <a:cubicBezTo>
                  <a:pt x="8278478" y="3190964"/>
                  <a:pt x="8243246" y="3190964"/>
                  <a:pt x="8243246" y="3209585"/>
                </a:cubicBezTo>
                <a:cubicBezTo>
                  <a:pt x="8243246" y="3212999"/>
                  <a:pt x="8248091" y="3219827"/>
                  <a:pt x="8251174" y="3219827"/>
                </a:cubicBezTo>
                <a:cubicBezTo>
                  <a:pt x="8248091" y="3230068"/>
                  <a:pt x="8244568" y="3240620"/>
                  <a:pt x="8244568" y="3250862"/>
                </a:cubicBezTo>
                <a:cubicBezTo>
                  <a:pt x="8244568" y="3276621"/>
                  <a:pt x="8259100" y="3286863"/>
                  <a:pt x="8278478" y="3293690"/>
                </a:cubicBezTo>
                <a:cubicBezTo>
                  <a:pt x="8302699" y="3302380"/>
                  <a:pt x="8315471" y="3331553"/>
                  <a:pt x="8320315" y="3347071"/>
                </a:cubicBezTo>
                <a:cubicBezTo>
                  <a:pt x="8326921" y="3370968"/>
                  <a:pt x="8338371" y="3398589"/>
                  <a:pt x="8351142" y="3405107"/>
                </a:cubicBezTo>
                <a:cubicBezTo>
                  <a:pt x="8375364" y="3417521"/>
                  <a:pt x="8391218" y="3408521"/>
                  <a:pt x="8415440" y="3408521"/>
                </a:cubicBezTo>
                <a:cubicBezTo>
                  <a:pt x="8415440" y="3413797"/>
                  <a:pt x="8415440" y="3419073"/>
                  <a:pt x="8412357" y="3422176"/>
                </a:cubicBezTo>
                <a:cubicBezTo>
                  <a:pt x="8405751" y="3442970"/>
                  <a:pt x="8444505" y="3451660"/>
                  <a:pt x="8454194" y="3456625"/>
                </a:cubicBezTo>
                <a:cubicBezTo>
                  <a:pt x="8486783" y="3474005"/>
                  <a:pt x="8525537" y="3487661"/>
                  <a:pt x="8520693" y="3523661"/>
                </a:cubicBezTo>
                <a:cubicBezTo>
                  <a:pt x="8504398" y="3520248"/>
                  <a:pt x="8494710" y="3497902"/>
                  <a:pt x="8468727" y="3497902"/>
                </a:cubicBezTo>
                <a:cubicBezTo>
                  <a:pt x="8449350" y="3497902"/>
                  <a:pt x="8433496" y="3508454"/>
                  <a:pt x="8433496" y="3525524"/>
                </a:cubicBezTo>
                <a:cubicBezTo>
                  <a:pt x="8433496" y="3547869"/>
                  <a:pt x="8462561" y="3552835"/>
                  <a:pt x="8462561" y="3575180"/>
                </a:cubicBezTo>
                <a:cubicBezTo>
                  <a:pt x="8462561" y="3583559"/>
                  <a:pt x="8441422" y="3583559"/>
                  <a:pt x="8441422" y="3583559"/>
                </a:cubicBezTo>
                <a:cubicBezTo>
                  <a:pt x="8426890" y="3599077"/>
                  <a:pt x="8429972" y="3635078"/>
                  <a:pt x="8407512" y="3635078"/>
                </a:cubicBezTo>
                <a:cubicBezTo>
                  <a:pt x="8396503" y="3635078"/>
                  <a:pt x="8389897" y="3630112"/>
                  <a:pt x="8389897" y="3623284"/>
                </a:cubicBezTo>
                <a:cubicBezTo>
                  <a:pt x="8409274" y="3623284"/>
                  <a:pt x="8417201" y="3597525"/>
                  <a:pt x="8417201" y="3576732"/>
                </a:cubicBezTo>
                <a:cubicBezTo>
                  <a:pt x="8417201" y="3551283"/>
                  <a:pt x="8404430" y="3544455"/>
                  <a:pt x="8400906" y="3528937"/>
                </a:cubicBezTo>
                <a:cubicBezTo>
                  <a:pt x="8396503" y="3528937"/>
                  <a:pt x="8357748" y="3487971"/>
                  <a:pt x="8355987" y="3477729"/>
                </a:cubicBezTo>
                <a:cubicBezTo>
                  <a:pt x="8349381" y="3477729"/>
                  <a:pt x="8325159" y="3470591"/>
                  <a:pt x="8325159" y="3460039"/>
                </a:cubicBezTo>
                <a:cubicBezTo>
                  <a:pt x="8275395" y="3448246"/>
                  <a:pt x="8263945" y="3432728"/>
                  <a:pt x="8236640" y="3403555"/>
                </a:cubicBezTo>
                <a:cubicBezTo>
                  <a:pt x="8225190" y="3391451"/>
                  <a:pt x="8200969" y="3384624"/>
                  <a:pt x="8197886" y="3372520"/>
                </a:cubicBezTo>
                <a:cubicBezTo>
                  <a:pt x="8168820" y="3333105"/>
                  <a:pt x="8159132" y="3262966"/>
                  <a:pt x="8097917" y="3262966"/>
                </a:cubicBezTo>
                <a:cubicBezTo>
                  <a:pt x="8068851" y="3262966"/>
                  <a:pt x="8067090" y="3285001"/>
                  <a:pt x="8052557" y="3292139"/>
                </a:cubicBezTo>
                <a:cubicBezTo>
                  <a:pt x="8022170" y="3307656"/>
                  <a:pt x="8001031" y="3338381"/>
                  <a:pt x="7965800" y="3338381"/>
                </a:cubicBezTo>
                <a:cubicBezTo>
                  <a:pt x="7930128" y="3338381"/>
                  <a:pt x="7907668" y="3319450"/>
                  <a:pt x="7875079" y="3319450"/>
                </a:cubicBezTo>
                <a:cubicBezTo>
                  <a:pt x="7850858" y="3319450"/>
                  <a:pt x="7825315" y="3336519"/>
                  <a:pt x="7825315" y="3362589"/>
                </a:cubicBezTo>
                <a:lnTo>
                  <a:pt x="7835004" y="3400141"/>
                </a:lnTo>
                <a:cubicBezTo>
                  <a:pt x="7825315" y="3434590"/>
                  <a:pt x="7789643" y="3446694"/>
                  <a:pt x="7755733" y="3455074"/>
                </a:cubicBezTo>
                <a:cubicBezTo>
                  <a:pt x="7726667" y="3461901"/>
                  <a:pt x="7679986" y="3532351"/>
                  <a:pt x="7679986" y="3569904"/>
                </a:cubicBezTo>
                <a:cubicBezTo>
                  <a:pt x="7679986" y="3583559"/>
                  <a:pt x="7688353" y="3588835"/>
                  <a:pt x="7696280" y="3592249"/>
                </a:cubicBezTo>
                <a:cubicBezTo>
                  <a:pt x="7675141" y="3626698"/>
                  <a:pt x="7665453" y="3647182"/>
                  <a:pt x="7631543" y="3664251"/>
                </a:cubicBezTo>
                <a:cubicBezTo>
                  <a:pt x="7612606" y="3674493"/>
                  <a:pt x="7609083" y="3717632"/>
                  <a:pt x="7576934" y="3707390"/>
                </a:cubicBezTo>
                <a:lnTo>
                  <a:pt x="7576934" y="3708942"/>
                </a:lnTo>
                <a:cubicBezTo>
                  <a:pt x="7562401" y="3703976"/>
                  <a:pt x="7535097" y="3712356"/>
                  <a:pt x="7526730" y="3712356"/>
                </a:cubicBezTo>
                <a:cubicBezTo>
                  <a:pt x="7487975" y="3712356"/>
                  <a:pt x="7467277" y="3746805"/>
                  <a:pt x="7431605" y="3746805"/>
                </a:cubicBezTo>
                <a:cubicBezTo>
                  <a:pt x="7407383" y="3746805"/>
                  <a:pt x="7405622" y="3683182"/>
                  <a:pt x="7368629" y="3683182"/>
                </a:cubicBezTo>
                <a:cubicBezTo>
                  <a:pt x="7341325" y="3683182"/>
                  <a:pt x="7323709" y="3695286"/>
                  <a:pt x="7299488" y="3695286"/>
                </a:cubicBezTo>
                <a:cubicBezTo>
                  <a:pt x="7289799" y="3695286"/>
                  <a:pt x="7286716" y="3686596"/>
                  <a:pt x="7286716" y="3681320"/>
                </a:cubicBezTo>
                <a:lnTo>
                  <a:pt x="7286716" y="3612732"/>
                </a:lnTo>
                <a:cubicBezTo>
                  <a:pt x="7273504" y="3612732"/>
                  <a:pt x="7260733" y="3602491"/>
                  <a:pt x="7260733" y="3588835"/>
                </a:cubicBezTo>
                <a:cubicBezTo>
                  <a:pt x="7260733" y="3566490"/>
                  <a:pt x="7278349" y="3561214"/>
                  <a:pt x="7278349" y="3549421"/>
                </a:cubicBezTo>
                <a:cubicBezTo>
                  <a:pt x="7278349" y="3506592"/>
                  <a:pt x="7292882" y="3461901"/>
                  <a:pt x="7292882" y="3417521"/>
                </a:cubicBezTo>
                <a:cubicBezTo>
                  <a:pt x="7292882" y="3391451"/>
                  <a:pt x="7275266" y="3367554"/>
                  <a:pt x="7275266" y="3352037"/>
                </a:cubicBezTo>
                <a:cubicBezTo>
                  <a:pt x="7275266" y="3341795"/>
                  <a:pt x="7330315" y="3305794"/>
                  <a:pt x="7339563" y="3305794"/>
                </a:cubicBezTo>
                <a:cubicBezTo>
                  <a:pt x="7346169" y="3305794"/>
                  <a:pt x="7354536" y="3316036"/>
                  <a:pt x="7363785" y="3312622"/>
                </a:cubicBezTo>
                <a:lnTo>
                  <a:pt x="7436449" y="3312622"/>
                </a:lnTo>
                <a:cubicBezTo>
                  <a:pt x="7443055" y="3319450"/>
                  <a:pt x="7455826" y="3321312"/>
                  <a:pt x="7463754" y="3322864"/>
                </a:cubicBezTo>
                <a:lnTo>
                  <a:pt x="7541262" y="3322864"/>
                </a:lnTo>
                <a:cubicBezTo>
                  <a:pt x="7560640" y="3317898"/>
                  <a:pt x="7570328" y="3329691"/>
                  <a:pt x="7586623" y="3329691"/>
                </a:cubicBezTo>
                <a:cubicBezTo>
                  <a:pt x="7597633" y="3329691"/>
                  <a:pt x="7621854" y="3321312"/>
                  <a:pt x="7626698" y="3321312"/>
                </a:cubicBezTo>
                <a:cubicBezTo>
                  <a:pt x="7626698" y="3286863"/>
                  <a:pt x="7647837" y="3276621"/>
                  <a:pt x="7647837" y="3244034"/>
                </a:cubicBezTo>
                <a:cubicBezTo>
                  <a:pt x="7647837" y="3237206"/>
                  <a:pt x="7646076" y="3207102"/>
                  <a:pt x="7646076" y="3196861"/>
                </a:cubicBezTo>
                <a:lnTo>
                  <a:pt x="7642993" y="3199343"/>
                </a:lnTo>
                <a:cubicBezTo>
                  <a:pt x="7646076" y="3192516"/>
                  <a:pt x="7649599" y="3180412"/>
                  <a:pt x="7649599" y="3173584"/>
                </a:cubicBezTo>
                <a:cubicBezTo>
                  <a:pt x="7649599" y="3158067"/>
                  <a:pt x="7639910" y="3161791"/>
                  <a:pt x="7639910" y="3147825"/>
                </a:cubicBezTo>
                <a:cubicBezTo>
                  <a:pt x="7607321" y="3147825"/>
                  <a:pt x="7597633" y="3117100"/>
                  <a:pt x="7597633" y="3089479"/>
                </a:cubicBezTo>
                <a:cubicBezTo>
                  <a:pt x="7587944" y="3087927"/>
                  <a:pt x="7586623" y="3079237"/>
                  <a:pt x="7578696" y="3077685"/>
                </a:cubicBezTo>
                <a:cubicBezTo>
                  <a:pt x="7552713" y="3068995"/>
                  <a:pt x="7481810" y="3055340"/>
                  <a:pt x="7481810" y="3029581"/>
                </a:cubicBezTo>
                <a:cubicBezTo>
                  <a:pt x="7480048" y="3029581"/>
                  <a:pt x="7480048" y="3024305"/>
                  <a:pt x="7480048" y="3022753"/>
                </a:cubicBezTo>
                <a:cubicBezTo>
                  <a:pt x="7480048" y="3007235"/>
                  <a:pt x="7525408" y="2996994"/>
                  <a:pt x="7541262" y="2991718"/>
                </a:cubicBezTo>
                <a:cubicBezTo>
                  <a:pt x="7546107" y="3001959"/>
                  <a:pt x="7572090" y="3009098"/>
                  <a:pt x="7584861" y="3009098"/>
                </a:cubicBezTo>
                <a:cubicBezTo>
                  <a:pt x="7597633" y="3009098"/>
                  <a:pt x="7615689" y="3001959"/>
                  <a:pt x="7621854" y="3000408"/>
                </a:cubicBezTo>
                <a:lnTo>
                  <a:pt x="7621854" y="2988304"/>
                </a:lnTo>
                <a:cubicBezTo>
                  <a:pt x="7610844" y="2984890"/>
                  <a:pt x="7615689" y="2959131"/>
                  <a:pt x="7613927" y="2954165"/>
                </a:cubicBezTo>
                <a:lnTo>
                  <a:pt x="7613927" y="2940199"/>
                </a:lnTo>
                <a:lnTo>
                  <a:pt x="7630222" y="2940199"/>
                </a:lnTo>
                <a:cubicBezTo>
                  <a:pt x="7642993" y="2954165"/>
                  <a:pt x="7659287" y="2962545"/>
                  <a:pt x="7678224" y="2962545"/>
                </a:cubicBezTo>
                <a:cubicBezTo>
                  <a:pt x="7691436" y="2962545"/>
                  <a:pt x="7702886" y="2950441"/>
                  <a:pt x="7705969" y="2936785"/>
                </a:cubicBezTo>
                <a:cubicBezTo>
                  <a:pt x="7754412" y="2936785"/>
                  <a:pt x="7767183" y="2899233"/>
                  <a:pt x="7776872" y="2857956"/>
                </a:cubicBezTo>
                <a:cubicBezTo>
                  <a:pt x="7786560" y="2857956"/>
                  <a:pt x="7791405" y="2856404"/>
                  <a:pt x="7799332" y="2854542"/>
                </a:cubicBezTo>
                <a:cubicBezTo>
                  <a:pt x="7809020" y="2851128"/>
                  <a:pt x="7873758" y="2823817"/>
                  <a:pt x="7879923" y="2816679"/>
                </a:cubicBezTo>
                <a:cubicBezTo>
                  <a:pt x="7893135" y="2803024"/>
                  <a:pt x="7888291" y="2782540"/>
                  <a:pt x="7888291" y="2761747"/>
                </a:cubicBezTo>
                <a:cubicBezTo>
                  <a:pt x="7888291" y="2754919"/>
                  <a:pt x="7902824" y="2744678"/>
                  <a:pt x="7904145" y="2742815"/>
                </a:cubicBezTo>
                <a:cubicBezTo>
                  <a:pt x="7927045" y="2718918"/>
                  <a:pt x="7949505" y="2691607"/>
                  <a:pt x="7986498" y="2691607"/>
                </a:cubicBezTo>
                <a:cubicBezTo>
                  <a:pt x="8007637" y="2691607"/>
                  <a:pt x="7997948" y="2696573"/>
                  <a:pt x="8008958" y="2691607"/>
                </a:cubicBezTo>
                <a:cubicBezTo>
                  <a:pt x="8013802" y="2696573"/>
                  <a:pt x="8018647" y="2682917"/>
                  <a:pt x="8022170" y="2679504"/>
                </a:cubicBezTo>
                <a:cubicBezTo>
                  <a:pt x="8033180" y="2667400"/>
                  <a:pt x="8047713" y="2677952"/>
                  <a:pt x="8062246" y="2677952"/>
                </a:cubicBezTo>
                <a:cubicBezTo>
                  <a:pt x="8071934" y="2677952"/>
                  <a:pt x="8097917" y="2662434"/>
                  <a:pt x="8097917" y="2648779"/>
                </a:cubicBezTo>
                <a:cubicBezTo>
                  <a:pt x="8097917" y="2640089"/>
                  <a:pt x="8086467" y="2607502"/>
                  <a:pt x="8086467" y="2605640"/>
                </a:cubicBezTo>
                <a:cubicBezTo>
                  <a:pt x="8080302" y="2559397"/>
                  <a:pt x="8054318" y="2545742"/>
                  <a:pt x="8054318" y="2504465"/>
                </a:cubicBezTo>
                <a:cubicBezTo>
                  <a:pt x="8054318" y="2432463"/>
                  <a:pt x="8117294" y="2427187"/>
                  <a:pt x="8157810" y="2396462"/>
                </a:cubicBezTo>
                <a:lnTo>
                  <a:pt x="8157810" y="2417256"/>
                </a:lnTo>
                <a:cubicBezTo>
                  <a:pt x="8149443" y="2434325"/>
                  <a:pt x="8148122" y="2444567"/>
                  <a:pt x="8148122" y="2461636"/>
                </a:cubicBezTo>
                <a:cubicBezTo>
                  <a:pt x="8148122" y="2479016"/>
                  <a:pt x="8165738" y="2480568"/>
                  <a:pt x="8178509" y="2480568"/>
                </a:cubicBezTo>
                <a:lnTo>
                  <a:pt x="8178509" y="2494223"/>
                </a:lnTo>
                <a:cubicBezTo>
                  <a:pt x="8178509" y="2502603"/>
                  <a:pt x="8163976" y="2506327"/>
                  <a:pt x="8159132" y="2511603"/>
                </a:cubicBezTo>
                <a:cubicBezTo>
                  <a:pt x="8143278" y="2528672"/>
                  <a:pt x="8123900" y="2543880"/>
                  <a:pt x="8123900" y="2574915"/>
                </a:cubicBezTo>
                <a:cubicBezTo>
                  <a:pt x="8123900" y="2591984"/>
                  <a:pt x="8131827" y="2604088"/>
                  <a:pt x="8141516" y="2605640"/>
                </a:cubicBezTo>
                <a:cubicBezTo>
                  <a:pt x="8141516" y="2616192"/>
                  <a:pt x="8143278" y="2619606"/>
                  <a:pt x="8141516" y="2624571"/>
                </a:cubicBezTo>
                <a:cubicBezTo>
                  <a:pt x="8159132" y="2624571"/>
                  <a:pt x="8165738" y="2631399"/>
                  <a:pt x="8180270" y="2631399"/>
                </a:cubicBezTo>
                <a:cubicBezTo>
                  <a:pt x="8183353" y="2640089"/>
                  <a:pt x="8186436" y="2652193"/>
                  <a:pt x="8191280" y="2652193"/>
                </a:cubicBezTo>
                <a:cubicBezTo>
                  <a:pt x="8234879" y="2652193"/>
                  <a:pt x="8265706" y="2612778"/>
                  <a:pt x="8302699" y="2617743"/>
                </a:cubicBezTo>
                <a:cubicBezTo>
                  <a:pt x="8300938" y="2626433"/>
                  <a:pt x="8293011" y="2631399"/>
                  <a:pt x="8293011" y="2636675"/>
                </a:cubicBezTo>
                <a:cubicBezTo>
                  <a:pt x="8293011" y="2640089"/>
                  <a:pt x="8320315" y="2660572"/>
                  <a:pt x="8320315" y="2660572"/>
                </a:cubicBezTo>
                <a:cubicBezTo>
                  <a:pt x="8338371" y="2660572"/>
                  <a:pt x="8339692" y="2648779"/>
                  <a:pt x="8348060" y="2645365"/>
                </a:cubicBezTo>
                <a:cubicBezTo>
                  <a:pt x="8375364" y="2631399"/>
                  <a:pt x="8396503" y="2636675"/>
                  <a:pt x="8420284" y="2624571"/>
                </a:cubicBezTo>
                <a:cubicBezTo>
                  <a:pt x="8434817" y="2617743"/>
                  <a:pt x="8460800" y="2591984"/>
                  <a:pt x="8480177" y="2591984"/>
                </a:cubicBezTo>
                <a:cubicBezTo>
                  <a:pt x="8501316" y="2591984"/>
                  <a:pt x="8523776" y="2593846"/>
                  <a:pt x="8535226" y="2598812"/>
                </a:cubicBezTo>
                <a:cubicBezTo>
                  <a:pt x="8531703" y="2605640"/>
                  <a:pt x="8528620" y="2614330"/>
                  <a:pt x="8528620" y="2617743"/>
                </a:cubicBezTo>
                <a:cubicBezTo>
                  <a:pt x="8547997" y="2617743"/>
                  <a:pt x="8567815" y="2615881"/>
                  <a:pt x="8586752" y="2613709"/>
                </a:cubicBezTo>
                <a:cubicBezTo>
                  <a:pt x="8589834" y="2553811"/>
                  <a:pt x="8641360" y="2562811"/>
                  <a:pt x="8641360" y="2496085"/>
                </a:cubicBezTo>
                <a:cubicBezTo>
                  <a:pt x="8641360" y="2454809"/>
                  <a:pt x="8677032" y="2375669"/>
                  <a:pt x="8706098" y="2375669"/>
                </a:cubicBezTo>
                <a:cubicBezTo>
                  <a:pt x="8733402" y="2375669"/>
                  <a:pt x="8738246" y="2418808"/>
                  <a:pt x="8770395" y="2418808"/>
                </a:cubicBezTo>
                <a:cubicBezTo>
                  <a:pt x="8790213" y="2418808"/>
                  <a:pt x="8832490" y="2387462"/>
                  <a:pt x="8751458" y="2306460"/>
                </a:cubicBezTo>
                <a:cubicBezTo>
                  <a:pt x="8726356" y="2281942"/>
                  <a:pt x="8807828" y="2247183"/>
                  <a:pt x="8843060" y="2247183"/>
                </a:cubicBezTo>
                <a:cubicBezTo>
                  <a:pt x="8878731" y="2247183"/>
                  <a:pt x="8896347" y="2259287"/>
                  <a:pt x="8923651" y="2259287"/>
                </a:cubicBezTo>
                <a:cubicBezTo>
                  <a:pt x="8944790" y="2259287"/>
                  <a:pt x="8993233" y="2235079"/>
                  <a:pt x="9012610" y="2221423"/>
                </a:cubicBezTo>
                <a:cubicBezTo>
                  <a:pt x="9001160" y="2188836"/>
                  <a:pt x="8985306" y="2180147"/>
                  <a:pt x="8972094" y="2161215"/>
                </a:cubicBezTo>
                <a:cubicBezTo>
                  <a:pt x="8956240" y="2195664"/>
                  <a:pt x="8881814" y="2200940"/>
                  <a:pt x="8850987" y="2195664"/>
                </a:cubicBezTo>
                <a:cubicBezTo>
                  <a:pt x="8818838" y="2205906"/>
                  <a:pt x="8781845" y="2221423"/>
                  <a:pt x="8754541" y="2221423"/>
                </a:cubicBezTo>
                <a:cubicBezTo>
                  <a:pt x="8733402" y="2221423"/>
                  <a:pt x="8718869" y="2218010"/>
                  <a:pt x="8718869" y="2199078"/>
                </a:cubicBezTo>
                <a:cubicBezTo>
                  <a:pt x="8684959" y="2199078"/>
                  <a:pt x="8649728" y="2175181"/>
                  <a:pt x="8649728" y="2139180"/>
                </a:cubicBezTo>
                <a:cubicBezTo>
                  <a:pt x="8649728" y="2121800"/>
                  <a:pt x="8667343" y="2110007"/>
                  <a:pt x="8672188" y="2101317"/>
                </a:cubicBezTo>
                <a:cubicBezTo>
                  <a:pt x="8655893" y="2094489"/>
                  <a:pt x="8641360" y="2055075"/>
                  <a:pt x="8641360" y="2036143"/>
                </a:cubicBezTo>
                <a:cubicBezTo>
                  <a:pt x="8641360" y="2024039"/>
                  <a:pt x="8644883" y="2013798"/>
                  <a:pt x="8641360" y="2001694"/>
                </a:cubicBezTo>
                <a:cubicBezTo>
                  <a:pt x="8709180" y="2001694"/>
                  <a:pt x="8744852" y="1907348"/>
                  <a:pt x="8786689" y="1881589"/>
                </a:cubicBezTo>
                <a:cubicBezTo>
                  <a:pt x="8809149" y="1867935"/>
                  <a:pt x="8847904" y="1859248"/>
                  <a:pt x="8847904" y="1830070"/>
                </a:cubicBezTo>
                <a:cubicBezTo>
                  <a:pt x="8847904" y="1787249"/>
                  <a:pt x="8795057" y="1778865"/>
                  <a:pt x="8754541" y="1778865"/>
                </a:cubicBezTo>
                <a:cubicBezTo>
                  <a:pt x="8701254" y="1778865"/>
                  <a:pt x="8657655" y="1799349"/>
                  <a:pt x="8657655" y="1847452"/>
                </a:cubicBezTo>
                <a:cubicBezTo>
                  <a:pt x="8657655" y="1867935"/>
                  <a:pt x="8662499" y="1876316"/>
                  <a:pt x="8657655" y="1886864"/>
                </a:cubicBezTo>
                <a:cubicBezTo>
                  <a:pt x="8657655" y="1926280"/>
                  <a:pt x="8583229" y="1960728"/>
                  <a:pt x="8549759" y="1981211"/>
                </a:cubicBezTo>
                <a:cubicBezTo>
                  <a:pt x="8522014" y="1998280"/>
                  <a:pt x="8492948" y="2005418"/>
                  <a:pt x="8477094" y="2036143"/>
                </a:cubicBezTo>
                <a:cubicBezTo>
                  <a:pt x="8463882" y="2060040"/>
                  <a:pt x="8480177" y="2092627"/>
                  <a:pt x="8455956" y="2104731"/>
                </a:cubicBezTo>
                <a:lnTo>
                  <a:pt x="8455956" y="2139180"/>
                </a:lnTo>
                <a:cubicBezTo>
                  <a:pt x="8463882" y="2146008"/>
                  <a:pt x="8468727" y="2157801"/>
                  <a:pt x="8468727" y="2169905"/>
                </a:cubicBezTo>
                <a:cubicBezTo>
                  <a:pt x="8497793" y="2175181"/>
                  <a:pt x="8541391" y="2205906"/>
                  <a:pt x="8541391" y="2238493"/>
                </a:cubicBezTo>
                <a:cubicBezTo>
                  <a:pt x="8541391" y="2264252"/>
                  <a:pt x="8492948" y="2307391"/>
                  <a:pt x="8477094" y="2307391"/>
                </a:cubicBezTo>
                <a:cubicBezTo>
                  <a:pt x="8444505" y="2307391"/>
                  <a:pt x="8431734" y="2357048"/>
                  <a:pt x="8431734" y="2393049"/>
                </a:cubicBezTo>
                <a:cubicBezTo>
                  <a:pt x="8431734" y="2413532"/>
                  <a:pt x="8446267" y="2420359"/>
                  <a:pt x="8455956" y="2422222"/>
                </a:cubicBezTo>
                <a:cubicBezTo>
                  <a:pt x="8451111" y="2468464"/>
                  <a:pt x="8412357" y="2471878"/>
                  <a:pt x="8407512" y="2504465"/>
                </a:cubicBezTo>
                <a:lnTo>
                  <a:pt x="8364354" y="2504465"/>
                </a:lnTo>
                <a:cubicBezTo>
                  <a:pt x="8336609" y="2504465"/>
                  <a:pt x="8326921" y="2559397"/>
                  <a:pt x="8286845" y="2559397"/>
                </a:cubicBezTo>
                <a:cubicBezTo>
                  <a:pt x="8273633" y="2559397"/>
                  <a:pt x="8251174" y="2487396"/>
                  <a:pt x="8251174" y="2479016"/>
                </a:cubicBezTo>
                <a:cubicBezTo>
                  <a:pt x="8251174" y="2473740"/>
                  <a:pt x="8254256" y="2466602"/>
                  <a:pt x="8254256" y="2461636"/>
                </a:cubicBezTo>
                <a:cubicBezTo>
                  <a:pt x="8226952" y="2432463"/>
                  <a:pt x="8230035" y="2408256"/>
                  <a:pt x="8219025" y="2370703"/>
                </a:cubicBezTo>
                <a:cubicBezTo>
                  <a:pt x="8210657" y="2344944"/>
                  <a:pt x="8186436" y="2338116"/>
                  <a:pt x="8186436" y="2307391"/>
                </a:cubicBezTo>
                <a:cubicBezTo>
                  <a:pt x="8186436" y="2299012"/>
                  <a:pt x="8191280" y="2289081"/>
                  <a:pt x="8194803" y="2282563"/>
                </a:cubicBezTo>
                <a:cubicBezTo>
                  <a:pt x="8177188" y="2272322"/>
                  <a:pt x="8172784" y="2258045"/>
                  <a:pt x="8162214" y="2241907"/>
                </a:cubicBezTo>
                <a:cubicBezTo>
                  <a:pt x="8128745" y="2293736"/>
                  <a:pt x="8076778" y="2358599"/>
                  <a:pt x="8008958" y="2358599"/>
                </a:cubicBezTo>
                <a:cubicBezTo>
                  <a:pt x="7999270" y="2358599"/>
                  <a:pt x="7936294" y="2317323"/>
                  <a:pt x="7936294" y="2310805"/>
                </a:cubicBezTo>
                <a:cubicBezTo>
                  <a:pt x="7936294" y="2296839"/>
                  <a:pt x="7957432" y="2288460"/>
                  <a:pt x="7964038" y="2284736"/>
                </a:cubicBezTo>
                <a:lnTo>
                  <a:pt x="7964038" y="2259287"/>
                </a:lnTo>
                <a:cubicBezTo>
                  <a:pt x="7941578" y="2259287"/>
                  <a:pt x="7941578" y="2259287"/>
                  <a:pt x="7922201" y="2267666"/>
                </a:cubicBezTo>
                <a:cubicBezTo>
                  <a:pt x="7922201" y="2255873"/>
                  <a:pt x="7939817" y="2235079"/>
                  <a:pt x="7947744" y="2223285"/>
                </a:cubicBezTo>
                <a:cubicBezTo>
                  <a:pt x="7923522" y="2192250"/>
                  <a:pt x="7920440" y="2149422"/>
                  <a:pt x="7920440" y="2101317"/>
                </a:cubicBezTo>
                <a:cubicBezTo>
                  <a:pt x="7920440" y="2075558"/>
                  <a:pt x="7946423" y="2077420"/>
                  <a:pt x="7956111" y="2061902"/>
                </a:cubicBezTo>
                <a:cubicBezTo>
                  <a:pt x="7975048" y="2032729"/>
                  <a:pt x="7993104" y="2011936"/>
                  <a:pt x="8028776" y="2001694"/>
                </a:cubicBezTo>
                <a:cubicBezTo>
                  <a:pt x="8057842" y="1993315"/>
                  <a:pt x="8064007" y="1952038"/>
                  <a:pt x="8122139" y="1958865"/>
                </a:cubicBezTo>
                <a:cubicBezTo>
                  <a:pt x="8104523" y="1953900"/>
                  <a:pt x="8097917" y="1950486"/>
                  <a:pt x="8083384" y="1946762"/>
                </a:cubicBezTo>
                <a:cubicBezTo>
                  <a:pt x="8154287" y="1927832"/>
                  <a:pt x="8181592" y="1867935"/>
                  <a:pt x="8230035" y="1826665"/>
                </a:cubicBezTo>
                <a:cubicBezTo>
                  <a:pt x="8249412" y="1811139"/>
                  <a:pt x="8246329" y="1758070"/>
                  <a:pt x="8259100" y="1758070"/>
                </a:cubicBezTo>
                <a:cubicBezTo>
                  <a:pt x="8259100" y="1758070"/>
                  <a:pt x="8275395" y="1720206"/>
                  <a:pt x="8275395" y="1718655"/>
                </a:cubicBezTo>
                <a:cubicBezTo>
                  <a:pt x="8294772" y="1684518"/>
                  <a:pt x="8317232" y="1660309"/>
                  <a:pt x="8351142" y="1646653"/>
                </a:cubicBezTo>
                <a:cubicBezTo>
                  <a:pt x="8385052" y="1633001"/>
                  <a:pt x="8429972" y="1574653"/>
                  <a:pt x="8438340" y="1538654"/>
                </a:cubicBezTo>
                <a:cubicBezTo>
                  <a:pt x="8397824" y="1547030"/>
                  <a:pt x="8381970" y="1569376"/>
                  <a:pt x="8342775" y="1569376"/>
                </a:cubicBezTo>
                <a:cubicBezTo>
                  <a:pt x="8351142" y="1557272"/>
                  <a:pt x="8368758" y="1548892"/>
                  <a:pt x="8375364" y="1545479"/>
                </a:cubicBezTo>
                <a:cubicBezTo>
                  <a:pt x="8367437" y="1545479"/>
                  <a:pt x="8351142" y="1540205"/>
                  <a:pt x="8351142" y="1540205"/>
                </a:cubicBezTo>
                <a:cubicBezTo>
                  <a:pt x="8354225" y="1523139"/>
                  <a:pt x="8362592" y="1512890"/>
                  <a:pt x="8375364" y="1512890"/>
                </a:cubicBezTo>
                <a:cubicBezTo>
                  <a:pt x="8380208" y="1512890"/>
                  <a:pt x="8383291" y="1517859"/>
                  <a:pt x="8388135" y="1517859"/>
                </a:cubicBezTo>
                <a:cubicBezTo>
                  <a:pt x="8392980" y="1507622"/>
                  <a:pt x="8397824" y="1500789"/>
                  <a:pt x="8402668" y="1495822"/>
                </a:cubicBezTo>
                <a:cubicBezTo>
                  <a:pt x="8411036" y="1505758"/>
                  <a:pt x="8412357" y="1514442"/>
                  <a:pt x="8407512" y="1526546"/>
                </a:cubicBezTo>
                <a:cubicBezTo>
                  <a:pt x="8433496" y="1526546"/>
                  <a:pt x="8440101" y="1543623"/>
                  <a:pt x="8460800" y="1543623"/>
                </a:cubicBezTo>
                <a:cubicBezTo>
                  <a:pt x="8468727" y="1543623"/>
                  <a:pt x="8486783" y="1502656"/>
                  <a:pt x="8489866" y="1500789"/>
                </a:cubicBezTo>
                <a:cubicBezTo>
                  <a:pt x="8478415" y="1497375"/>
                  <a:pt x="8478415" y="1495822"/>
                  <a:pt x="8463882" y="1497375"/>
                </a:cubicBezTo>
                <a:cubicBezTo>
                  <a:pt x="8472250" y="1483723"/>
                  <a:pt x="8485021" y="1469757"/>
                  <a:pt x="8501316" y="1469757"/>
                </a:cubicBezTo>
                <a:cubicBezTo>
                  <a:pt x="8512326" y="1469757"/>
                  <a:pt x="8522014" y="1473166"/>
                  <a:pt x="8533464" y="1466654"/>
                </a:cubicBezTo>
                <a:cubicBezTo>
                  <a:pt x="8525537" y="1457959"/>
                  <a:pt x="8526858" y="1459822"/>
                  <a:pt x="8520693" y="1452690"/>
                </a:cubicBezTo>
                <a:cubicBezTo>
                  <a:pt x="8536547" y="1435613"/>
                  <a:pt x="8565613" y="1437165"/>
                  <a:pt x="8589834" y="1432206"/>
                </a:cubicBezTo>
                <a:lnTo>
                  <a:pt x="8589834" y="1452690"/>
                </a:lnTo>
                <a:cubicBezTo>
                  <a:pt x="8610973" y="1447722"/>
                  <a:pt x="8615818" y="1408306"/>
                  <a:pt x="8649728" y="1406443"/>
                </a:cubicBezTo>
                <a:lnTo>
                  <a:pt x="8649728" y="1435613"/>
                </a:lnTo>
                <a:cubicBezTo>
                  <a:pt x="8670426" y="1394342"/>
                  <a:pt x="8697730" y="1404577"/>
                  <a:pt x="8727237" y="1387510"/>
                </a:cubicBezTo>
                <a:cubicBezTo>
                  <a:pt x="8714025" y="1382545"/>
                  <a:pt x="8703015" y="1378827"/>
                  <a:pt x="8703015" y="1367026"/>
                </a:cubicBezTo>
                <a:cubicBezTo>
                  <a:pt x="8703015" y="1358343"/>
                  <a:pt x="8731640" y="1351509"/>
                  <a:pt x="8736485" y="1341266"/>
                </a:cubicBezTo>
                <a:cubicBezTo>
                  <a:pt x="8746173" y="1353374"/>
                  <a:pt x="8755862" y="1367026"/>
                  <a:pt x="8770395" y="1367026"/>
                </a:cubicBezTo>
                <a:cubicBezTo>
                  <a:pt x="8795057" y="1367026"/>
                  <a:pt x="8856271" y="1324197"/>
                  <a:pt x="8856271" y="1346543"/>
                </a:cubicBezTo>
                <a:cubicBezTo>
                  <a:pt x="8856271" y="1370441"/>
                  <a:pt x="8828527" y="1377276"/>
                  <a:pt x="8822361" y="1401164"/>
                </a:cubicBezTo>
                <a:cubicBezTo>
                  <a:pt x="8854510" y="1404577"/>
                  <a:pt x="8864198" y="1365164"/>
                  <a:pt x="8891503" y="1349645"/>
                </a:cubicBezTo>
                <a:cubicBezTo>
                  <a:pt x="8898108" y="1361750"/>
                  <a:pt x="8898108" y="1370441"/>
                  <a:pt x="8899430" y="1380680"/>
                </a:cubicBezTo>
                <a:cubicBezTo>
                  <a:pt x="8922330" y="1356477"/>
                  <a:pt x="8935101" y="1349645"/>
                  <a:pt x="8961084" y="1332577"/>
                </a:cubicBezTo>
                <a:cubicBezTo>
                  <a:pt x="8962406" y="1354926"/>
                  <a:pt x="8959323" y="1370441"/>
                  <a:pt x="8976938" y="1371993"/>
                </a:cubicBezTo>
                <a:cubicBezTo>
                  <a:pt x="8981783" y="1358343"/>
                  <a:pt x="8988389" y="1346543"/>
                  <a:pt x="9001160" y="1346543"/>
                </a:cubicBezTo>
                <a:cubicBezTo>
                  <a:pt x="9009528" y="1346543"/>
                  <a:pt x="9044759" y="1367026"/>
                  <a:pt x="9057530" y="1373858"/>
                </a:cubicBezTo>
                <a:cubicBezTo>
                  <a:pt x="9042997" y="1415130"/>
                  <a:pt x="9030226" y="1401164"/>
                  <a:pt x="8993233" y="1415130"/>
                </a:cubicBezTo>
                <a:cubicBezTo>
                  <a:pt x="9009528" y="1428790"/>
                  <a:pt x="9020537" y="1430341"/>
                  <a:pt x="9020537" y="1440578"/>
                </a:cubicBezTo>
                <a:cubicBezTo>
                  <a:pt x="9035070" y="1442441"/>
                  <a:pt x="9068980" y="1447722"/>
                  <a:pt x="9073825" y="1447722"/>
                </a:cubicBezTo>
                <a:cubicBezTo>
                  <a:pt x="9110818" y="1442441"/>
                  <a:pt x="9112579" y="1449274"/>
                  <a:pt x="9117424" y="1449274"/>
                </a:cubicBezTo>
                <a:cubicBezTo>
                  <a:pt x="9170711" y="1449274"/>
                  <a:pt x="9345106" y="1542684"/>
                  <a:pt x="9423936" y="1569376"/>
                </a:cubicBezTo>
                <a:cubicBezTo>
                  <a:pt x="9699180" y="1663108"/>
                  <a:pt x="9518620" y="1782283"/>
                  <a:pt x="9428780" y="1757447"/>
                </a:cubicBezTo>
                <a:cubicBezTo>
                  <a:pt x="9361841" y="1738826"/>
                  <a:pt x="9323967" y="1741000"/>
                  <a:pt x="9254385" y="1741000"/>
                </a:cubicBezTo>
                <a:cubicBezTo>
                  <a:pt x="9286974" y="1790656"/>
                  <a:pt x="9275524" y="1895248"/>
                  <a:pt x="9367566" y="1904245"/>
                </a:cubicBezTo>
                <a:lnTo>
                  <a:pt x="9367566" y="1835348"/>
                </a:lnTo>
                <a:cubicBezTo>
                  <a:pt x="9553851" y="1920387"/>
                  <a:pt x="9531832" y="1756516"/>
                  <a:pt x="9577192" y="1741000"/>
                </a:cubicBezTo>
                <a:cubicBezTo>
                  <a:pt x="9622112" y="1725485"/>
                  <a:pt x="9706227" y="1766765"/>
                  <a:pt x="9706227" y="1706553"/>
                </a:cubicBezTo>
                <a:cubicBezTo>
                  <a:pt x="9706227" y="1675835"/>
                  <a:pt x="9677601" y="1669931"/>
                  <a:pt x="9682005" y="1655344"/>
                </a:cubicBezTo>
                <a:cubicBezTo>
                  <a:pt x="9751587" y="1427238"/>
                  <a:pt x="9787699" y="1577445"/>
                  <a:pt x="9762597" y="1646653"/>
                </a:cubicBezTo>
                <a:cubicBezTo>
                  <a:pt x="9755550" y="1665897"/>
                  <a:pt x="9783736" y="1681102"/>
                  <a:pt x="9803113" y="1681102"/>
                </a:cubicBezTo>
                <a:cubicBezTo>
                  <a:pt x="9862566" y="1681102"/>
                  <a:pt x="10104781" y="1451139"/>
                  <a:pt x="10141774" y="1552306"/>
                </a:cubicBezTo>
                <a:cubicBezTo>
                  <a:pt x="10215319" y="1590169"/>
                  <a:pt x="10317490" y="1517859"/>
                  <a:pt x="10367254" y="1517859"/>
                </a:cubicBezTo>
                <a:cubicBezTo>
                  <a:pt x="10396320" y="1517859"/>
                  <a:pt x="10449167" y="1624307"/>
                  <a:pt x="10456213" y="1492407"/>
                </a:cubicBezTo>
                <a:cubicBezTo>
                  <a:pt x="10456654" y="1480306"/>
                  <a:pt x="10385751" y="1400550"/>
                  <a:pt x="10606387" y="1461373"/>
                </a:cubicBezTo>
                <a:cubicBezTo>
                  <a:pt x="10686538" y="1483408"/>
                  <a:pt x="10901009" y="1650068"/>
                  <a:pt x="10811169" y="1500789"/>
                </a:cubicBezTo>
                <a:cubicBezTo>
                  <a:pt x="10772414" y="1459822"/>
                  <a:pt x="10738504" y="1408306"/>
                  <a:pt x="10738504" y="1329162"/>
                </a:cubicBezTo>
                <a:cubicBezTo>
                  <a:pt x="10738504" y="1263994"/>
                  <a:pt x="10870622" y="1142958"/>
                  <a:pt x="10940204" y="1157849"/>
                </a:cubicBezTo>
                <a:cubicBezTo>
                  <a:pt x="11078486" y="1187027"/>
                  <a:pt x="10988646" y="1210918"/>
                  <a:pt x="10988646" y="1269266"/>
                </a:cubicBezTo>
                <a:cubicBezTo>
                  <a:pt x="10988646" y="1322334"/>
                  <a:pt x="11006703" y="1581478"/>
                  <a:pt x="11074082" y="1581478"/>
                </a:cubicBezTo>
                <a:cubicBezTo>
                  <a:pt x="11126930" y="1581478"/>
                  <a:pt x="11026961" y="1453929"/>
                  <a:pt x="11060871" y="1415130"/>
                </a:cubicBezTo>
                <a:cubicBezTo>
                  <a:pt x="11110635" y="1358645"/>
                  <a:pt x="11041934" y="1308679"/>
                  <a:pt x="11028722" y="1260579"/>
                </a:cubicBezTo>
                <a:cubicBezTo>
                  <a:pt x="11071000" y="1236677"/>
                  <a:pt x="11104470" y="1212472"/>
                  <a:pt x="11112837" y="1157849"/>
                </a:cubicBezTo>
                <a:cubicBezTo>
                  <a:pt x="11135297" y="1188579"/>
                  <a:pt x="11126930" y="1345616"/>
                  <a:pt x="11222494" y="1209062"/>
                </a:cubicBezTo>
                <a:cubicBezTo>
                  <a:pt x="11335675" y="1209062"/>
                  <a:pt x="11348006" y="1232953"/>
                  <a:pt x="11383678" y="1209062"/>
                </a:cubicBezTo>
                <a:cubicBezTo>
                  <a:pt x="11377512" y="1181747"/>
                  <a:pt x="11359456" y="1160951"/>
                  <a:pt x="11359456" y="1140468"/>
                </a:cubicBezTo>
                <a:cubicBezTo>
                  <a:pt x="11359456" y="1042707"/>
                  <a:pt x="11559394" y="1063191"/>
                  <a:pt x="11612682" y="1063191"/>
                </a:cubicBezTo>
                <a:cubicBezTo>
                  <a:pt x="11649674" y="1063191"/>
                  <a:pt x="11657161" y="992430"/>
                  <a:pt x="11682263" y="968851"/>
                </a:cubicBezTo>
                <a:cubicBezTo>
                  <a:pt x="11800288" y="856809"/>
                  <a:pt x="12027530" y="840357"/>
                  <a:pt x="12080377" y="822980"/>
                </a:cubicBezTo>
                <a:cubicBezTo>
                  <a:pt x="12062321" y="903671"/>
                  <a:pt x="12271066" y="814604"/>
                  <a:pt x="12303215" y="788840"/>
                </a:cubicBezTo>
                <a:cubicBezTo>
                  <a:pt x="12346814" y="752838"/>
                  <a:pt x="12380724" y="685808"/>
                  <a:pt x="12464398" y="685808"/>
                </a:cubicBezTo>
                <a:close/>
                <a:moveTo>
                  <a:pt x="2394811" y="673966"/>
                </a:moveTo>
                <a:cubicBezTo>
                  <a:pt x="2407975" y="668165"/>
                  <a:pt x="2435213" y="693287"/>
                  <a:pt x="2442492" y="697126"/>
                </a:cubicBezTo>
                <a:cubicBezTo>
                  <a:pt x="2436032" y="707460"/>
                  <a:pt x="2431168" y="717643"/>
                  <a:pt x="2419846" y="717643"/>
                </a:cubicBezTo>
                <a:cubicBezTo>
                  <a:pt x="2405413" y="717643"/>
                  <a:pt x="2387599" y="700540"/>
                  <a:pt x="2387599" y="692015"/>
                </a:cubicBezTo>
                <a:cubicBezTo>
                  <a:pt x="2387599" y="681268"/>
                  <a:pt x="2390423" y="675902"/>
                  <a:pt x="2394811" y="673966"/>
                </a:cubicBezTo>
                <a:close/>
                <a:moveTo>
                  <a:pt x="2984588" y="673101"/>
                </a:moveTo>
                <a:cubicBezTo>
                  <a:pt x="3002291" y="673101"/>
                  <a:pt x="3007202" y="681736"/>
                  <a:pt x="3021704" y="686831"/>
                </a:cubicBezTo>
                <a:cubicBezTo>
                  <a:pt x="3013604" y="698847"/>
                  <a:pt x="2994158" y="698847"/>
                  <a:pt x="2970000" y="698847"/>
                </a:cubicBezTo>
                <a:cubicBezTo>
                  <a:pt x="2941051" y="698847"/>
                  <a:pt x="2978188" y="673101"/>
                  <a:pt x="2984588" y="673101"/>
                </a:cubicBezTo>
                <a:close/>
                <a:moveTo>
                  <a:pt x="2596039" y="660402"/>
                </a:moveTo>
                <a:cubicBezTo>
                  <a:pt x="2613828" y="660402"/>
                  <a:pt x="2620278" y="670718"/>
                  <a:pt x="2625040" y="677517"/>
                </a:cubicBezTo>
                <a:cubicBezTo>
                  <a:pt x="2607363" y="692913"/>
                  <a:pt x="2579930" y="698098"/>
                  <a:pt x="2555751" y="698098"/>
                </a:cubicBezTo>
                <a:lnTo>
                  <a:pt x="2600958" y="698098"/>
                </a:lnTo>
                <a:cubicBezTo>
                  <a:pt x="2604124" y="734126"/>
                  <a:pt x="2550862" y="749505"/>
                  <a:pt x="2515411" y="749505"/>
                </a:cubicBezTo>
                <a:cubicBezTo>
                  <a:pt x="2491195" y="749505"/>
                  <a:pt x="2463799" y="718721"/>
                  <a:pt x="2463799" y="703365"/>
                </a:cubicBezTo>
                <a:cubicBezTo>
                  <a:pt x="2463799" y="663788"/>
                  <a:pt x="2562260" y="660402"/>
                  <a:pt x="2596039" y="660402"/>
                </a:cubicBezTo>
                <a:close/>
                <a:moveTo>
                  <a:pt x="2581480" y="584203"/>
                </a:moveTo>
                <a:cubicBezTo>
                  <a:pt x="2615373" y="584203"/>
                  <a:pt x="2642796" y="604877"/>
                  <a:pt x="2649190" y="627135"/>
                </a:cubicBezTo>
                <a:cubicBezTo>
                  <a:pt x="2636333" y="633932"/>
                  <a:pt x="2625072" y="644213"/>
                  <a:pt x="2605752" y="644213"/>
                </a:cubicBezTo>
                <a:lnTo>
                  <a:pt x="2536300" y="644213"/>
                </a:lnTo>
                <a:cubicBezTo>
                  <a:pt x="2516963" y="644213"/>
                  <a:pt x="2512199" y="630524"/>
                  <a:pt x="2495977" y="630524"/>
                </a:cubicBezTo>
                <a:cubicBezTo>
                  <a:pt x="2483086" y="630524"/>
                  <a:pt x="2476623" y="642489"/>
                  <a:pt x="2463800" y="644213"/>
                </a:cubicBezTo>
                <a:cubicBezTo>
                  <a:pt x="2463800" y="621867"/>
                  <a:pt x="2560555" y="584203"/>
                  <a:pt x="2581480" y="584203"/>
                </a:cubicBezTo>
                <a:close/>
                <a:moveTo>
                  <a:pt x="3199281" y="571504"/>
                </a:moveTo>
                <a:cubicBezTo>
                  <a:pt x="3204170" y="585238"/>
                  <a:pt x="3238070" y="597255"/>
                  <a:pt x="3255807" y="597255"/>
                </a:cubicBezTo>
                <a:cubicBezTo>
                  <a:pt x="3255807" y="638555"/>
                  <a:pt x="3312236" y="600639"/>
                  <a:pt x="3312236" y="636754"/>
                </a:cubicBezTo>
                <a:cubicBezTo>
                  <a:pt x="3312236" y="648717"/>
                  <a:pt x="3307473" y="660747"/>
                  <a:pt x="3312236" y="679613"/>
                </a:cubicBezTo>
                <a:cubicBezTo>
                  <a:pt x="3255807" y="693349"/>
                  <a:pt x="3199281" y="700196"/>
                  <a:pt x="3199281" y="679613"/>
                </a:cubicBezTo>
                <a:cubicBezTo>
                  <a:pt x="3199281" y="671058"/>
                  <a:pt x="3210638" y="664282"/>
                  <a:pt x="3215448" y="662518"/>
                </a:cubicBezTo>
                <a:cubicBezTo>
                  <a:pt x="3196103" y="641878"/>
                  <a:pt x="3162295" y="631518"/>
                  <a:pt x="3162295" y="597255"/>
                </a:cubicBezTo>
                <a:cubicBezTo>
                  <a:pt x="3162295" y="580207"/>
                  <a:pt x="3183232" y="573294"/>
                  <a:pt x="3199281" y="571504"/>
                </a:cubicBezTo>
                <a:close/>
                <a:moveTo>
                  <a:pt x="8172789" y="558802"/>
                </a:moveTo>
                <a:cubicBezTo>
                  <a:pt x="8193270" y="585865"/>
                  <a:pt x="8214799" y="593535"/>
                  <a:pt x="8225735" y="630161"/>
                </a:cubicBezTo>
                <a:cubicBezTo>
                  <a:pt x="8194921" y="622040"/>
                  <a:pt x="8148717" y="574894"/>
                  <a:pt x="8172789" y="558802"/>
                </a:cubicBezTo>
                <a:close/>
                <a:moveTo>
                  <a:pt x="8166090" y="558802"/>
                </a:moveTo>
                <a:lnTo>
                  <a:pt x="8167263" y="560107"/>
                </a:lnTo>
                <a:lnTo>
                  <a:pt x="8168869" y="558802"/>
                </a:lnTo>
                <a:cubicBezTo>
                  <a:pt x="8168869" y="558802"/>
                  <a:pt x="8168869" y="564002"/>
                  <a:pt x="8168869" y="564002"/>
                </a:cubicBezTo>
                <a:lnTo>
                  <a:pt x="8166090" y="561057"/>
                </a:lnTo>
                <a:lnTo>
                  <a:pt x="8167167" y="560184"/>
                </a:lnTo>
                <a:close/>
                <a:moveTo>
                  <a:pt x="2870937" y="520702"/>
                </a:moveTo>
                <a:cubicBezTo>
                  <a:pt x="2904845" y="520702"/>
                  <a:pt x="2912847" y="551604"/>
                  <a:pt x="2932300" y="551604"/>
                </a:cubicBezTo>
                <a:cubicBezTo>
                  <a:pt x="2945262" y="551604"/>
                  <a:pt x="2951645" y="537802"/>
                  <a:pt x="2964509" y="537802"/>
                </a:cubicBezTo>
                <a:cubicBezTo>
                  <a:pt x="2996857" y="537802"/>
                  <a:pt x="2995212" y="577281"/>
                  <a:pt x="3012954" y="577281"/>
                </a:cubicBezTo>
                <a:cubicBezTo>
                  <a:pt x="3022613" y="577281"/>
                  <a:pt x="3027393" y="563547"/>
                  <a:pt x="3037066" y="563547"/>
                </a:cubicBezTo>
                <a:cubicBezTo>
                  <a:pt x="3059643" y="563547"/>
                  <a:pt x="3077483" y="594453"/>
                  <a:pt x="3085494" y="603045"/>
                </a:cubicBezTo>
                <a:cubicBezTo>
                  <a:pt x="3082249" y="608137"/>
                  <a:pt x="3075795" y="615060"/>
                  <a:pt x="3072591" y="620209"/>
                </a:cubicBezTo>
                <a:cubicBezTo>
                  <a:pt x="3085494" y="633956"/>
                  <a:pt x="3117855" y="647678"/>
                  <a:pt x="3117855" y="666490"/>
                </a:cubicBezTo>
                <a:cubicBezTo>
                  <a:pt x="3117855" y="683751"/>
                  <a:pt x="3101606" y="688832"/>
                  <a:pt x="3088702" y="688832"/>
                </a:cubicBezTo>
                <a:cubicBezTo>
                  <a:pt x="3049944" y="688832"/>
                  <a:pt x="3053273" y="645907"/>
                  <a:pt x="3016104" y="645907"/>
                </a:cubicBezTo>
                <a:cubicBezTo>
                  <a:pt x="2987073" y="645907"/>
                  <a:pt x="2969400" y="635624"/>
                  <a:pt x="2940398" y="639138"/>
                </a:cubicBezTo>
                <a:cubicBezTo>
                  <a:pt x="2932300" y="623557"/>
                  <a:pt x="2911243" y="632210"/>
                  <a:pt x="2887103" y="632210"/>
                </a:cubicBezTo>
                <a:cubicBezTo>
                  <a:pt x="2864595" y="632210"/>
                  <a:pt x="2858046" y="633956"/>
                  <a:pt x="2843593" y="618573"/>
                </a:cubicBezTo>
                <a:cubicBezTo>
                  <a:pt x="2858046" y="603045"/>
                  <a:pt x="2872568" y="604774"/>
                  <a:pt x="2891898" y="597907"/>
                </a:cubicBezTo>
                <a:cubicBezTo>
                  <a:pt x="2888735" y="592682"/>
                  <a:pt x="2888735" y="582446"/>
                  <a:pt x="2891898" y="577281"/>
                </a:cubicBezTo>
                <a:cubicBezTo>
                  <a:pt x="2856443" y="577281"/>
                  <a:pt x="2848332" y="587573"/>
                  <a:pt x="2835468" y="577281"/>
                </a:cubicBezTo>
                <a:cubicBezTo>
                  <a:pt x="2840373" y="573844"/>
                  <a:pt x="2845140" y="567012"/>
                  <a:pt x="2846771" y="560118"/>
                </a:cubicBezTo>
                <a:cubicBezTo>
                  <a:pt x="2824165" y="560118"/>
                  <a:pt x="2819398" y="554974"/>
                  <a:pt x="2819398" y="534461"/>
                </a:cubicBezTo>
                <a:cubicBezTo>
                  <a:pt x="2838674" y="531120"/>
                  <a:pt x="2851579" y="520702"/>
                  <a:pt x="2870937" y="520702"/>
                </a:cubicBezTo>
                <a:close/>
                <a:moveTo>
                  <a:pt x="12387799" y="495309"/>
                </a:moveTo>
                <a:lnTo>
                  <a:pt x="12408776" y="495309"/>
                </a:lnTo>
                <a:cubicBezTo>
                  <a:pt x="12408776" y="519398"/>
                  <a:pt x="12417134" y="519398"/>
                  <a:pt x="12403945" y="533119"/>
                </a:cubicBezTo>
                <a:cubicBezTo>
                  <a:pt x="12415390" y="529664"/>
                  <a:pt x="12421926" y="515998"/>
                  <a:pt x="12433151" y="515998"/>
                </a:cubicBezTo>
                <a:cubicBezTo>
                  <a:pt x="12455602" y="515998"/>
                  <a:pt x="12521803" y="560526"/>
                  <a:pt x="12521803" y="584551"/>
                </a:cubicBezTo>
                <a:cubicBezTo>
                  <a:pt x="12521803" y="625710"/>
                  <a:pt x="12437957" y="632632"/>
                  <a:pt x="12408776" y="627366"/>
                </a:cubicBezTo>
                <a:cubicBezTo>
                  <a:pt x="12402473" y="627366"/>
                  <a:pt x="12352392" y="636020"/>
                  <a:pt x="12352392" y="636020"/>
                </a:cubicBezTo>
                <a:lnTo>
                  <a:pt x="12266944" y="661735"/>
                </a:lnTo>
                <a:cubicBezTo>
                  <a:pt x="12247504" y="661735"/>
                  <a:pt x="12242789" y="653226"/>
                  <a:pt x="12242789" y="636020"/>
                </a:cubicBezTo>
                <a:cubicBezTo>
                  <a:pt x="12242789" y="608574"/>
                  <a:pt x="12262062" y="608574"/>
                  <a:pt x="12271788" y="598262"/>
                </a:cubicBezTo>
                <a:cubicBezTo>
                  <a:pt x="12308861" y="558769"/>
                  <a:pt x="12323328" y="495309"/>
                  <a:pt x="12387799" y="495309"/>
                </a:cubicBezTo>
                <a:close/>
                <a:moveTo>
                  <a:pt x="3143428" y="457326"/>
                </a:moveTo>
                <a:cubicBezTo>
                  <a:pt x="3153539" y="457555"/>
                  <a:pt x="3162440" y="458012"/>
                  <a:pt x="3168108" y="458012"/>
                </a:cubicBezTo>
                <a:lnTo>
                  <a:pt x="3168108" y="492298"/>
                </a:lnTo>
                <a:lnTo>
                  <a:pt x="3140624" y="492298"/>
                </a:lnTo>
                <a:cubicBezTo>
                  <a:pt x="3130940" y="481928"/>
                  <a:pt x="3111497" y="478540"/>
                  <a:pt x="3111497" y="458012"/>
                </a:cubicBezTo>
                <a:cubicBezTo>
                  <a:pt x="3121998" y="457100"/>
                  <a:pt x="3133317" y="457100"/>
                  <a:pt x="3143428" y="457326"/>
                </a:cubicBezTo>
                <a:close/>
                <a:moveTo>
                  <a:pt x="8428982" y="431805"/>
                </a:moveTo>
                <a:cubicBezTo>
                  <a:pt x="8449877" y="431805"/>
                  <a:pt x="8493450" y="448958"/>
                  <a:pt x="8493450" y="466050"/>
                </a:cubicBezTo>
                <a:cubicBezTo>
                  <a:pt x="8493450" y="478045"/>
                  <a:pt x="8488813" y="488335"/>
                  <a:pt x="8488813" y="500267"/>
                </a:cubicBezTo>
                <a:cubicBezTo>
                  <a:pt x="8501504" y="493420"/>
                  <a:pt x="8504774" y="478045"/>
                  <a:pt x="8517643" y="478045"/>
                </a:cubicBezTo>
                <a:cubicBezTo>
                  <a:pt x="8543532" y="478045"/>
                  <a:pt x="8540292" y="505422"/>
                  <a:pt x="8537141" y="519118"/>
                </a:cubicBezTo>
                <a:cubicBezTo>
                  <a:pt x="8541897" y="519118"/>
                  <a:pt x="8548317" y="520904"/>
                  <a:pt x="8553191" y="520904"/>
                </a:cubicBezTo>
                <a:cubicBezTo>
                  <a:pt x="8580714" y="520904"/>
                  <a:pt x="8666195" y="572454"/>
                  <a:pt x="8682275" y="592886"/>
                </a:cubicBezTo>
                <a:cubicBezTo>
                  <a:pt x="8677400" y="594661"/>
                  <a:pt x="8670921" y="594661"/>
                  <a:pt x="8666195" y="594661"/>
                </a:cubicBezTo>
                <a:cubicBezTo>
                  <a:pt x="8679035" y="598105"/>
                  <a:pt x="8683850" y="596414"/>
                  <a:pt x="8695145" y="594661"/>
                </a:cubicBezTo>
                <a:cubicBezTo>
                  <a:pt x="8698384" y="603245"/>
                  <a:pt x="8700019" y="613510"/>
                  <a:pt x="8695145" y="620411"/>
                </a:cubicBezTo>
                <a:lnTo>
                  <a:pt x="8746772" y="620411"/>
                </a:lnTo>
                <a:cubicBezTo>
                  <a:pt x="8746772" y="673556"/>
                  <a:pt x="8793585" y="659933"/>
                  <a:pt x="8808089" y="682221"/>
                </a:cubicBezTo>
                <a:cubicBezTo>
                  <a:pt x="8764427" y="697703"/>
                  <a:pt x="8746772" y="726744"/>
                  <a:pt x="8706380" y="740555"/>
                </a:cubicBezTo>
                <a:cubicBezTo>
                  <a:pt x="8703199" y="726744"/>
                  <a:pt x="8703199" y="718281"/>
                  <a:pt x="8707985" y="709551"/>
                </a:cubicBezTo>
                <a:cubicBezTo>
                  <a:pt x="8688695" y="706198"/>
                  <a:pt x="8654901" y="707989"/>
                  <a:pt x="8633887" y="706198"/>
                </a:cubicBezTo>
                <a:cubicBezTo>
                  <a:pt x="8637097" y="675338"/>
                  <a:pt x="8654901" y="683916"/>
                  <a:pt x="8657962" y="658130"/>
                </a:cubicBezTo>
                <a:cubicBezTo>
                  <a:pt x="8646816" y="654745"/>
                  <a:pt x="8632223" y="623765"/>
                  <a:pt x="8625773" y="610110"/>
                </a:cubicBezTo>
                <a:cubicBezTo>
                  <a:pt x="8633887" y="608375"/>
                  <a:pt x="8640248" y="606773"/>
                  <a:pt x="8648302" y="606773"/>
                </a:cubicBezTo>
                <a:cubicBezTo>
                  <a:pt x="8622444" y="603245"/>
                  <a:pt x="8609574" y="580947"/>
                  <a:pt x="8609574" y="580947"/>
                </a:cubicBezTo>
                <a:cubicBezTo>
                  <a:pt x="8554856" y="580947"/>
                  <a:pt x="8537141" y="656522"/>
                  <a:pt x="8521091" y="701142"/>
                </a:cubicBezTo>
                <a:cubicBezTo>
                  <a:pt x="8517643" y="711329"/>
                  <a:pt x="8504774" y="707989"/>
                  <a:pt x="8496630" y="714754"/>
                </a:cubicBezTo>
                <a:cubicBezTo>
                  <a:pt x="8469196" y="737096"/>
                  <a:pt x="8472585" y="785233"/>
                  <a:pt x="8449877" y="809166"/>
                </a:cubicBezTo>
                <a:cubicBezTo>
                  <a:pt x="8411268" y="781697"/>
                  <a:pt x="8324122" y="759424"/>
                  <a:pt x="8324122" y="701142"/>
                </a:cubicBezTo>
                <a:cubicBezTo>
                  <a:pt x="8346741" y="697703"/>
                  <a:pt x="8383804" y="702859"/>
                  <a:pt x="8383804" y="702859"/>
                </a:cubicBezTo>
                <a:cubicBezTo>
                  <a:pt x="8399973" y="689037"/>
                  <a:pt x="8417598" y="694101"/>
                  <a:pt x="8436948" y="689037"/>
                </a:cubicBezTo>
                <a:cubicBezTo>
                  <a:pt x="8427377" y="682221"/>
                  <a:pt x="8375720" y="680421"/>
                  <a:pt x="8364544" y="680421"/>
                </a:cubicBezTo>
                <a:cubicBezTo>
                  <a:pt x="8345017" y="680421"/>
                  <a:pt x="8303138" y="699364"/>
                  <a:pt x="8303138" y="658130"/>
                </a:cubicBezTo>
                <a:cubicBezTo>
                  <a:pt x="8303138" y="642694"/>
                  <a:pt x="8340202" y="642694"/>
                  <a:pt x="8348375" y="640957"/>
                </a:cubicBezTo>
                <a:cubicBezTo>
                  <a:pt x="8369330" y="634169"/>
                  <a:pt x="8412902" y="613510"/>
                  <a:pt x="8430557" y="598105"/>
                </a:cubicBezTo>
                <a:lnTo>
                  <a:pt x="8388679" y="598105"/>
                </a:lnTo>
                <a:cubicBezTo>
                  <a:pt x="8385320" y="598105"/>
                  <a:pt x="8370964" y="587778"/>
                  <a:pt x="8364544" y="582714"/>
                </a:cubicBezTo>
                <a:lnTo>
                  <a:pt x="8351526" y="582714"/>
                </a:lnTo>
                <a:cubicBezTo>
                  <a:pt x="8336992" y="591225"/>
                  <a:pt x="8336992" y="628937"/>
                  <a:pt x="8303138" y="628937"/>
                </a:cubicBezTo>
                <a:cubicBezTo>
                  <a:pt x="8277280" y="628937"/>
                  <a:pt x="8259536" y="618778"/>
                  <a:pt x="8251630" y="601701"/>
                </a:cubicBezTo>
                <a:cubicBezTo>
                  <a:pt x="8256445" y="599908"/>
                  <a:pt x="8259536" y="598105"/>
                  <a:pt x="8264440" y="598105"/>
                </a:cubicBezTo>
                <a:cubicBezTo>
                  <a:pt x="8237066" y="582714"/>
                  <a:pt x="8212812" y="568909"/>
                  <a:pt x="8219232" y="541465"/>
                </a:cubicBezTo>
                <a:cubicBezTo>
                  <a:pt x="8214447" y="539682"/>
                  <a:pt x="8211267" y="534649"/>
                  <a:pt x="8206392" y="534649"/>
                </a:cubicBezTo>
                <a:cubicBezTo>
                  <a:pt x="8195038" y="534649"/>
                  <a:pt x="8177354" y="505422"/>
                  <a:pt x="8166089" y="493420"/>
                </a:cubicBezTo>
                <a:cubicBezTo>
                  <a:pt x="8172539" y="484859"/>
                  <a:pt x="8206392" y="452369"/>
                  <a:pt x="8222442" y="452369"/>
                </a:cubicBezTo>
                <a:cubicBezTo>
                  <a:pt x="8248301" y="452369"/>
                  <a:pt x="8266075" y="452369"/>
                  <a:pt x="8303138" y="459160"/>
                </a:cubicBezTo>
                <a:cubicBezTo>
                  <a:pt x="8295113" y="469468"/>
                  <a:pt x="8288545" y="474517"/>
                  <a:pt x="8283789" y="483242"/>
                </a:cubicBezTo>
                <a:cubicBezTo>
                  <a:pt x="8300017" y="496955"/>
                  <a:pt x="8316067" y="496955"/>
                  <a:pt x="8327273" y="508898"/>
                </a:cubicBezTo>
                <a:cubicBezTo>
                  <a:pt x="8320942" y="505422"/>
                  <a:pt x="8316067" y="496955"/>
                  <a:pt x="8316067" y="486519"/>
                </a:cubicBezTo>
                <a:cubicBezTo>
                  <a:pt x="8316067" y="471129"/>
                  <a:pt x="8328967" y="457397"/>
                  <a:pt x="8343323" y="457397"/>
                </a:cubicBezTo>
                <a:cubicBezTo>
                  <a:pt x="8387014" y="457397"/>
                  <a:pt x="8375720" y="517376"/>
                  <a:pt x="8416083" y="532973"/>
                </a:cubicBezTo>
                <a:cubicBezTo>
                  <a:pt x="8406274" y="505422"/>
                  <a:pt x="8396793" y="489966"/>
                  <a:pt x="8396793" y="457397"/>
                </a:cubicBezTo>
                <a:cubicBezTo>
                  <a:pt x="8396793" y="431805"/>
                  <a:pt x="8408058" y="431805"/>
                  <a:pt x="8428982" y="431805"/>
                </a:cubicBezTo>
                <a:close/>
                <a:moveTo>
                  <a:pt x="11892533" y="406401"/>
                </a:moveTo>
                <a:cubicBezTo>
                  <a:pt x="11900577" y="406401"/>
                  <a:pt x="11945824" y="428798"/>
                  <a:pt x="11957011" y="432149"/>
                </a:cubicBezTo>
                <a:cubicBezTo>
                  <a:pt x="11953818" y="463029"/>
                  <a:pt x="11900577" y="466472"/>
                  <a:pt x="11881301" y="466472"/>
                </a:cubicBezTo>
                <a:cubicBezTo>
                  <a:pt x="11871643" y="466472"/>
                  <a:pt x="11849089" y="438955"/>
                  <a:pt x="11849089" y="423535"/>
                </a:cubicBezTo>
                <a:cubicBezTo>
                  <a:pt x="11849089" y="406401"/>
                  <a:pt x="11882945" y="406401"/>
                  <a:pt x="11892533" y="406401"/>
                </a:cubicBezTo>
                <a:close/>
                <a:moveTo>
                  <a:pt x="10316746" y="381003"/>
                </a:moveTo>
                <a:cubicBezTo>
                  <a:pt x="10337778" y="381003"/>
                  <a:pt x="10353925" y="389477"/>
                  <a:pt x="10361923" y="401530"/>
                </a:cubicBezTo>
                <a:cubicBezTo>
                  <a:pt x="10329663" y="401530"/>
                  <a:pt x="10331258" y="427261"/>
                  <a:pt x="10308684" y="427261"/>
                </a:cubicBezTo>
                <a:cubicBezTo>
                  <a:pt x="10298998" y="427261"/>
                  <a:pt x="10286175" y="410129"/>
                  <a:pt x="10276425" y="410129"/>
                </a:cubicBezTo>
                <a:cubicBezTo>
                  <a:pt x="10273211" y="427261"/>
                  <a:pt x="10266721" y="427261"/>
                  <a:pt x="10252227" y="427261"/>
                </a:cubicBezTo>
                <a:cubicBezTo>
                  <a:pt x="10244229" y="427261"/>
                  <a:pt x="10236190" y="422058"/>
                  <a:pt x="10236190" y="415333"/>
                </a:cubicBezTo>
                <a:cubicBezTo>
                  <a:pt x="10236190" y="391260"/>
                  <a:pt x="10300640" y="381003"/>
                  <a:pt x="10316746" y="381003"/>
                </a:cubicBezTo>
                <a:close/>
                <a:moveTo>
                  <a:pt x="9980788" y="381000"/>
                </a:moveTo>
                <a:cubicBezTo>
                  <a:pt x="9980788" y="381000"/>
                  <a:pt x="9969490" y="394787"/>
                  <a:pt x="9969490" y="394787"/>
                </a:cubicBezTo>
                <a:lnTo>
                  <a:pt x="9969490" y="387878"/>
                </a:lnTo>
                <a:cubicBezTo>
                  <a:pt x="9973111" y="386342"/>
                  <a:pt x="9976824" y="384303"/>
                  <a:pt x="9980788" y="381000"/>
                </a:cubicBezTo>
                <a:close/>
                <a:moveTo>
                  <a:pt x="8734936" y="381000"/>
                </a:moveTo>
                <a:lnTo>
                  <a:pt x="8754258" y="381000"/>
                </a:lnTo>
                <a:cubicBezTo>
                  <a:pt x="8754258" y="403349"/>
                  <a:pt x="8750918" y="411838"/>
                  <a:pt x="8754258" y="423939"/>
                </a:cubicBezTo>
                <a:cubicBezTo>
                  <a:pt x="8768745" y="423939"/>
                  <a:pt x="8778377" y="406701"/>
                  <a:pt x="8802749" y="406701"/>
                </a:cubicBezTo>
                <a:lnTo>
                  <a:pt x="8855744" y="406701"/>
                </a:lnTo>
                <a:cubicBezTo>
                  <a:pt x="8888039" y="406701"/>
                  <a:pt x="8918838" y="432453"/>
                  <a:pt x="8928451" y="453026"/>
                </a:cubicBezTo>
                <a:cubicBezTo>
                  <a:pt x="8889729" y="480436"/>
                  <a:pt x="8808943" y="540571"/>
                  <a:pt x="8762240" y="540571"/>
                </a:cubicBezTo>
                <a:cubicBezTo>
                  <a:pt x="8733285" y="540571"/>
                  <a:pt x="8717109" y="530212"/>
                  <a:pt x="8705748" y="509687"/>
                </a:cubicBezTo>
                <a:lnTo>
                  <a:pt x="8613855" y="509687"/>
                </a:lnTo>
                <a:cubicBezTo>
                  <a:pt x="8599291" y="504612"/>
                  <a:pt x="8594630" y="495859"/>
                  <a:pt x="8592902" y="482130"/>
                </a:cubicBezTo>
                <a:cubicBezTo>
                  <a:pt x="8604126" y="480436"/>
                  <a:pt x="8621992" y="480436"/>
                  <a:pt x="8625216" y="480436"/>
                </a:cubicBezTo>
                <a:cubicBezTo>
                  <a:pt x="8639644" y="475379"/>
                  <a:pt x="8657433" y="475379"/>
                  <a:pt x="8665531" y="471944"/>
                </a:cubicBezTo>
                <a:cubicBezTo>
                  <a:pt x="8659064" y="471944"/>
                  <a:pt x="8592902" y="466729"/>
                  <a:pt x="8589736" y="466729"/>
                </a:cubicBezTo>
                <a:cubicBezTo>
                  <a:pt x="8562316" y="466729"/>
                  <a:pt x="8529963" y="487355"/>
                  <a:pt x="8533284" y="447870"/>
                </a:cubicBezTo>
                <a:cubicBezTo>
                  <a:pt x="8520389" y="437713"/>
                  <a:pt x="8510563" y="423939"/>
                  <a:pt x="8508990" y="406701"/>
                </a:cubicBezTo>
                <a:lnTo>
                  <a:pt x="8533284" y="406701"/>
                </a:lnTo>
                <a:cubicBezTo>
                  <a:pt x="8542916" y="413489"/>
                  <a:pt x="8555791" y="417041"/>
                  <a:pt x="8565656" y="411838"/>
                </a:cubicBezTo>
                <a:lnTo>
                  <a:pt x="8565656" y="403349"/>
                </a:lnTo>
                <a:lnTo>
                  <a:pt x="8592902" y="403349"/>
                </a:lnTo>
                <a:lnTo>
                  <a:pt x="8584901" y="386119"/>
                </a:lnTo>
                <a:lnTo>
                  <a:pt x="8629915" y="386119"/>
                </a:lnTo>
                <a:cubicBezTo>
                  <a:pt x="8639644" y="396330"/>
                  <a:pt x="8686504" y="420536"/>
                  <a:pt x="8694582" y="420536"/>
                </a:cubicBezTo>
                <a:cubicBezTo>
                  <a:pt x="8713846" y="420536"/>
                  <a:pt x="8726877" y="387878"/>
                  <a:pt x="8734936" y="381000"/>
                </a:cubicBezTo>
                <a:close/>
                <a:moveTo>
                  <a:pt x="9826967" y="330201"/>
                </a:moveTo>
                <a:cubicBezTo>
                  <a:pt x="9867228" y="330201"/>
                  <a:pt x="9889810" y="352503"/>
                  <a:pt x="9920658" y="352503"/>
                </a:cubicBezTo>
                <a:cubicBezTo>
                  <a:pt x="9944764" y="352503"/>
                  <a:pt x="9956017" y="330201"/>
                  <a:pt x="9980168" y="330201"/>
                </a:cubicBezTo>
                <a:cubicBezTo>
                  <a:pt x="9999552" y="330201"/>
                  <a:pt x="10019026" y="343985"/>
                  <a:pt x="10028620" y="347347"/>
                </a:cubicBezTo>
                <a:cubicBezTo>
                  <a:pt x="10025332" y="378348"/>
                  <a:pt x="10004424" y="362822"/>
                  <a:pt x="9985191" y="378348"/>
                </a:cubicBezTo>
                <a:cubicBezTo>
                  <a:pt x="9980168" y="379954"/>
                  <a:pt x="9973787" y="379954"/>
                  <a:pt x="9968869" y="378348"/>
                </a:cubicBezTo>
                <a:lnTo>
                  <a:pt x="9968869" y="388554"/>
                </a:lnTo>
                <a:cubicBezTo>
                  <a:pt x="9948354" y="397545"/>
                  <a:pt x="9934461" y="382249"/>
                  <a:pt x="9912482" y="395461"/>
                </a:cubicBezTo>
                <a:cubicBezTo>
                  <a:pt x="9897986" y="403976"/>
                  <a:pt x="9894773" y="434879"/>
                  <a:pt x="9880171" y="433216"/>
                </a:cubicBezTo>
                <a:cubicBezTo>
                  <a:pt x="9872100" y="431449"/>
                  <a:pt x="9867228" y="422846"/>
                  <a:pt x="9862537" y="416103"/>
                </a:cubicBezTo>
                <a:lnTo>
                  <a:pt x="9864045" y="416103"/>
                </a:lnTo>
                <a:cubicBezTo>
                  <a:pt x="9839864" y="416103"/>
                  <a:pt x="9823739" y="410844"/>
                  <a:pt x="9818927" y="395461"/>
                </a:cubicBezTo>
                <a:cubicBezTo>
                  <a:pt x="9831688" y="388534"/>
                  <a:pt x="9839864" y="385007"/>
                  <a:pt x="9852671" y="381685"/>
                </a:cubicBezTo>
                <a:cubicBezTo>
                  <a:pt x="9838235" y="381685"/>
                  <a:pt x="9830331" y="379954"/>
                  <a:pt x="9823739" y="378348"/>
                </a:cubicBezTo>
                <a:cubicBezTo>
                  <a:pt x="9831688" y="373082"/>
                  <a:pt x="9839864" y="369632"/>
                  <a:pt x="9847904" y="362822"/>
                </a:cubicBezTo>
                <a:cubicBezTo>
                  <a:pt x="9833514" y="357692"/>
                  <a:pt x="9825443" y="347347"/>
                  <a:pt x="9810886" y="347347"/>
                </a:cubicBezTo>
                <a:cubicBezTo>
                  <a:pt x="9793162" y="347347"/>
                  <a:pt x="9762570" y="369632"/>
                  <a:pt x="9738283" y="369632"/>
                </a:cubicBezTo>
                <a:cubicBezTo>
                  <a:pt x="9725295" y="369632"/>
                  <a:pt x="9715732" y="364590"/>
                  <a:pt x="9702789" y="362822"/>
                </a:cubicBezTo>
                <a:cubicBezTo>
                  <a:pt x="9717285" y="335327"/>
                  <a:pt x="9793162" y="330201"/>
                  <a:pt x="9826967" y="330201"/>
                </a:cubicBezTo>
                <a:close/>
                <a:moveTo>
                  <a:pt x="10433455" y="317506"/>
                </a:moveTo>
                <a:lnTo>
                  <a:pt x="10486720" y="317506"/>
                </a:lnTo>
                <a:cubicBezTo>
                  <a:pt x="10483462" y="326117"/>
                  <a:pt x="10473850" y="331242"/>
                  <a:pt x="10470637" y="331242"/>
                </a:cubicBezTo>
                <a:cubicBezTo>
                  <a:pt x="10480271" y="333039"/>
                  <a:pt x="10507637" y="334605"/>
                  <a:pt x="10522213" y="331242"/>
                </a:cubicBezTo>
                <a:cubicBezTo>
                  <a:pt x="10523698" y="346798"/>
                  <a:pt x="10522213" y="350105"/>
                  <a:pt x="10522213" y="356956"/>
                </a:cubicBezTo>
                <a:cubicBezTo>
                  <a:pt x="10512488" y="372397"/>
                  <a:pt x="10496286" y="365576"/>
                  <a:pt x="10481892" y="365576"/>
                </a:cubicBezTo>
                <a:lnTo>
                  <a:pt x="10489865" y="386111"/>
                </a:lnTo>
                <a:cubicBezTo>
                  <a:pt x="10480271" y="391292"/>
                  <a:pt x="10401289" y="394662"/>
                  <a:pt x="10401289" y="386111"/>
                </a:cubicBezTo>
                <a:cubicBezTo>
                  <a:pt x="10401289" y="360358"/>
                  <a:pt x="10414068" y="346798"/>
                  <a:pt x="10433455" y="339823"/>
                </a:cubicBezTo>
                <a:cubicBezTo>
                  <a:pt x="10431818" y="326117"/>
                  <a:pt x="10433455" y="320781"/>
                  <a:pt x="10433455" y="317506"/>
                </a:cubicBezTo>
                <a:close/>
                <a:moveTo>
                  <a:pt x="3365239" y="304801"/>
                </a:moveTo>
                <a:cubicBezTo>
                  <a:pt x="3405647" y="308122"/>
                  <a:pt x="3437812" y="311540"/>
                  <a:pt x="3466933" y="323640"/>
                </a:cubicBezTo>
                <a:cubicBezTo>
                  <a:pt x="3499145" y="337384"/>
                  <a:pt x="3492643" y="387095"/>
                  <a:pt x="3518537" y="397388"/>
                </a:cubicBezTo>
                <a:cubicBezTo>
                  <a:pt x="3542736" y="407661"/>
                  <a:pt x="3558806" y="390600"/>
                  <a:pt x="3583029" y="400805"/>
                </a:cubicBezTo>
                <a:cubicBezTo>
                  <a:pt x="3607228" y="411212"/>
                  <a:pt x="3597496" y="433422"/>
                  <a:pt x="3612035" y="448841"/>
                </a:cubicBezTo>
                <a:lnTo>
                  <a:pt x="3631427" y="448841"/>
                </a:lnTo>
                <a:lnTo>
                  <a:pt x="3631427" y="426601"/>
                </a:lnTo>
                <a:lnTo>
                  <a:pt x="3623414" y="414501"/>
                </a:lnTo>
                <a:lnTo>
                  <a:pt x="3639508" y="414501"/>
                </a:lnTo>
                <a:cubicBezTo>
                  <a:pt x="3662033" y="414501"/>
                  <a:pt x="3660479" y="423249"/>
                  <a:pt x="3660479" y="443778"/>
                </a:cubicBezTo>
                <a:cubicBezTo>
                  <a:pt x="3660479" y="455731"/>
                  <a:pt x="3679845" y="457620"/>
                  <a:pt x="3679845" y="469472"/>
                </a:cubicBezTo>
                <a:cubicBezTo>
                  <a:pt x="3679845" y="481423"/>
                  <a:pt x="3668466" y="484843"/>
                  <a:pt x="3668466" y="495152"/>
                </a:cubicBezTo>
                <a:cubicBezTo>
                  <a:pt x="3668466" y="510669"/>
                  <a:pt x="3692641" y="495152"/>
                  <a:pt x="3695964" y="495152"/>
                </a:cubicBezTo>
                <a:cubicBezTo>
                  <a:pt x="3712080" y="495152"/>
                  <a:pt x="3753975" y="515731"/>
                  <a:pt x="3775038" y="517524"/>
                </a:cubicBezTo>
                <a:cubicBezTo>
                  <a:pt x="3775038" y="529541"/>
                  <a:pt x="3778220" y="536400"/>
                  <a:pt x="3773366" y="543284"/>
                </a:cubicBezTo>
                <a:cubicBezTo>
                  <a:pt x="3766956" y="553529"/>
                  <a:pt x="3749168" y="550175"/>
                  <a:pt x="3736233" y="551886"/>
                </a:cubicBezTo>
                <a:cubicBezTo>
                  <a:pt x="3704045" y="555271"/>
                  <a:pt x="3681449" y="606740"/>
                  <a:pt x="3660479" y="606740"/>
                </a:cubicBezTo>
                <a:cubicBezTo>
                  <a:pt x="3639508" y="606740"/>
                  <a:pt x="3639508" y="591336"/>
                  <a:pt x="3634678" y="572433"/>
                </a:cubicBezTo>
                <a:cubicBezTo>
                  <a:pt x="3626711" y="580962"/>
                  <a:pt x="3623414" y="589579"/>
                  <a:pt x="3615240" y="598159"/>
                </a:cubicBezTo>
                <a:cubicBezTo>
                  <a:pt x="3624900" y="615390"/>
                  <a:pt x="3631427" y="618709"/>
                  <a:pt x="3636210" y="632383"/>
                </a:cubicBezTo>
                <a:lnTo>
                  <a:pt x="3607228" y="632383"/>
                </a:lnTo>
                <a:lnTo>
                  <a:pt x="3607228" y="654694"/>
                </a:lnTo>
                <a:cubicBezTo>
                  <a:pt x="3592665" y="656500"/>
                  <a:pt x="3563659" y="634195"/>
                  <a:pt x="3549123" y="623901"/>
                </a:cubicBezTo>
                <a:cubicBezTo>
                  <a:pt x="3549123" y="654694"/>
                  <a:pt x="3534653" y="663322"/>
                  <a:pt x="3510409" y="663322"/>
                </a:cubicBezTo>
                <a:cubicBezTo>
                  <a:pt x="3484654" y="663322"/>
                  <a:pt x="3449122" y="656500"/>
                  <a:pt x="3445917" y="632383"/>
                </a:cubicBezTo>
                <a:cubicBezTo>
                  <a:pt x="3457157" y="630810"/>
                  <a:pt x="3462056" y="625713"/>
                  <a:pt x="3466933" y="620485"/>
                </a:cubicBezTo>
                <a:cubicBezTo>
                  <a:pt x="3439461" y="620485"/>
                  <a:pt x="3394337" y="603289"/>
                  <a:pt x="3394337" y="577511"/>
                </a:cubicBezTo>
                <a:cubicBezTo>
                  <a:pt x="3394337" y="544977"/>
                  <a:pt x="3494291" y="548314"/>
                  <a:pt x="3516865" y="543284"/>
                </a:cubicBezTo>
                <a:cubicBezTo>
                  <a:pt x="3492643" y="536400"/>
                  <a:pt x="3474993" y="529541"/>
                  <a:pt x="3450700" y="529541"/>
                </a:cubicBezTo>
                <a:cubicBezTo>
                  <a:pt x="3426502" y="529541"/>
                  <a:pt x="3421695" y="543284"/>
                  <a:pt x="3402327" y="543284"/>
                </a:cubicBezTo>
                <a:cubicBezTo>
                  <a:pt x="3386233" y="543284"/>
                  <a:pt x="3384677" y="531120"/>
                  <a:pt x="3379799" y="521029"/>
                </a:cubicBezTo>
                <a:cubicBezTo>
                  <a:pt x="3363613" y="527751"/>
                  <a:pt x="3358829" y="534689"/>
                  <a:pt x="3345870" y="534689"/>
                </a:cubicBezTo>
                <a:cubicBezTo>
                  <a:pt x="3334654" y="534689"/>
                  <a:pt x="3332958" y="527751"/>
                  <a:pt x="3332958" y="517524"/>
                </a:cubicBezTo>
                <a:cubicBezTo>
                  <a:pt x="3349029" y="510669"/>
                  <a:pt x="3360431" y="508913"/>
                  <a:pt x="3370047" y="495152"/>
                </a:cubicBezTo>
                <a:cubicBezTo>
                  <a:pt x="3315355" y="495152"/>
                  <a:pt x="3281309" y="490091"/>
                  <a:pt x="3276594" y="440425"/>
                </a:cubicBezTo>
                <a:lnTo>
                  <a:pt x="3300747" y="440425"/>
                </a:lnTo>
                <a:cubicBezTo>
                  <a:pt x="3308759" y="447180"/>
                  <a:pt x="3334654" y="457620"/>
                  <a:pt x="3349029" y="457620"/>
                </a:cubicBezTo>
                <a:cubicBezTo>
                  <a:pt x="3355601" y="457620"/>
                  <a:pt x="3363613" y="443778"/>
                  <a:pt x="3363613" y="443778"/>
                </a:cubicBezTo>
                <a:cubicBezTo>
                  <a:pt x="3342642" y="436857"/>
                  <a:pt x="3292735" y="424892"/>
                  <a:pt x="3292735" y="406070"/>
                </a:cubicBezTo>
                <a:cubicBezTo>
                  <a:pt x="3292735" y="387095"/>
                  <a:pt x="3315355" y="388924"/>
                  <a:pt x="3329683" y="388924"/>
                </a:cubicBezTo>
                <a:cubicBezTo>
                  <a:pt x="3352326" y="388924"/>
                  <a:pt x="3360431" y="400805"/>
                  <a:pt x="3373320" y="400805"/>
                </a:cubicBezTo>
                <a:cubicBezTo>
                  <a:pt x="3383004" y="400805"/>
                  <a:pt x="3386233" y="388924"/>
                  <a:pt x="3391087" y="383659"/>
                </a:cubicBezTo>
                <a:cubicBezTo>
                  <a:pt x="3374946" y="373405"/>
                  <a:pt x="3355601" y="383659"/>
                  <a:pt x="3345870" y="383659"/>
                </a:cubicBezTo>
                <a:cubicBezTo>
                  <a:pt x="3339506" y="383659"/>
                  <a:pt x="3324945" y="357952"/>
                  <a:pt x="3324945" y="356258"/>
                </a:cubicBezTo>
                <a:cubicBezTo>
                  <a:pt x="3344315" y="344175"/>
                  <a:pt x="3357134" y="333915"/>
                  <a:pt x="3386233" y="340754"/>
                </a:cubicBezTo>
                <a:lnTo>
                  <a:pt x="3413636" y="340754"/>
                </a:lnTo>
                <a:cubicBezTo>
                  <a:pt x="3394337" y="330448"/>
                  <a:pt x="3366911" y="328772"/>
                  <a:pt x="3365239" y="304801"/>
                </a:cubicBezTo>
                <a:close/>
                <a:moveTo>
                  <a:pt x="12056535" y="279406"/>
                </a:moveTo>
                <a:cubicBezTo>
                  <a:pt x="12101773" y="279406"/>
                  <a:pt x="12127512" y="325756"/>
                  <a:pt x="12153481" y="346317"/>
                </a:cubicBezTo>
                <a:cubicBezTo>
                  <a:pt x="12137093" y="353149"/>
                  <a:pt x="12140417" y="349734"/>
                  <a:pt x="12134071" y="347989"/>
                </a:cubicBezTo>
                <a:cubicBezTo>
                  <a:pt x="12135564" y="368613"/>
                  <a:pt x="12134071" y="373725"/>
                  <a:pt x="12134071" y="382331"/>
                </a:cubicBezTo>
                <a:cubicBezTo>
                  <a:pt x="12134071" y="392566"/>
                  <a:pt x="12116260" y="406375"/>
                  <a:pt x="12103373" y="413316"/>
                </a:cubicBezTo>
                <a:cubicBezTo>
                  <a:pt x="12119477" y="408110"/>
                  <a:pt x="12124330" y="413316"/>
                  <a:pt x="12137093" y="413316"/>
                </a:cubicBezTo>
                <a:cubicBezTo>
                  <a:pt x="12156539" y="413316"/>
                  <a:pt x="12166209" y="430504"/>
                  <a:pt x="12185584" y="430504"/>
                </a:cubicBezTo>
                <a:lnTo>
                  <a:pt x="12217935" y="430504"/>
                </a:lnTo>
                <a:cubicBezTo>
                  <a:pt x="12250108" y="430504"/>
                  <a:pt x="12250108" y="442391"/>
                  <a:pt x="12271136" y="464738"/>
                </a:cubicBezTo>
                <a:cubicBezTo>
                  <a:pt x="12255067" y="478367"/>
                  <a:pt x="12258284" y="481800"/>
                  <a:pt x="12258284" y="498977"/>
                </a:cubicBezTo>
                <a:cubicBezTo>
                  <a:pt x="12258284" y="516138"/>
                  <a:pt x="12235603" y="517820"/>
                  <a:pt x="12225933" y="521201"/>
                </a:cubicBezTo>
                <a:cubicBezTo>
                  <a:pt x="12237310" y="524758"/>
                  <a:pt x="12250108" y="529936"/>
                  <a:pt x="12250108" y="541956"/>
                </a:cubicBezTo>
                <a:cubicBezTo>
                  <a:pt x="12250108" y="557236"/>
                  <a:pt x="12232528" y="567622"/>
                  <a:pt x="12217935" y="567622"/>
                </a:cubicBezTo>
                <a:cubicBezTo>
                  <a:pt x="12146922" y="567622"/>
                  <a:pt x="12095303" y="536749"/>
                  <a:pt x="12037284" y="536749"/>
                </a:cubicBezTo>
                <a:cubicBezTo>
                  <a:pt x="12017892" y="536749"/>
                  <a:pt x="11975871" y="488650"/>
                  <a:pt x="11951732" y="474921"/>
                </a:cubicBezTo>
                <a:cubicBezTo>
                  <a:pt x="12004951" y="456113"/>
                  <a:pt x="12021073" y="437228"/>
                  <a:pt x="12072639" y="420041"/>
                </a:cubicBezTo>
                <a:cubicBezTo>
                  <a:pt x="12056535" y="420041"/>
                  <a:pt x="12014674" y="416744"/>
                  <a:pt x="12004951" y="416744"/>
                </a:cubicBezTo>
                <a:cubicBezTo>
                  <a:pt x="11959820" y="416744"/>
                  <a:pt x="11929069" y="402920"/>
                  <a:pt x="11887190" y="380603"/>
                </a:cubicBezTo>
                <a:cubicBezTo>
                  <a:pt x="11955056" y="360075"/>
                  <a:pt x="11979106" y="279406"/>
                  <a:pt x="12056535" y="279406"/>
                </a:cubicBezTo>
                <a:close/>
                <a:moveTo>
                  <a:pt x="10644065" y="266701"/>
                </a:moveTo>
                <a:lnTo>
                  <a:pt x="10666666" y="321488"/>
                </a:lnTo>
                <a:cubicBezTo>
                  <a:pt x="10655342" y="330154"/>
                  <a:pt x="10592462" y="343882"/>
                  <a:pt x="10581232" y="343882"/>
                </a:cubicBezTo>
                <a:cubicBezTo>
                  <a:pt x="10561728" y="343882"/>
                  <a:pt x="10553689" y="335218"/>
                  <a:pt x="10553689" y="318119"/>
                </a:cubicBezTo>
                <a:cubicBezTo>
                  <a:pt x="10553689" y="294144"/>
                  <a:pt x="10619985" y="266701"/>
                  <a:pt x="10644065" y="266701"/>
                </a:cubicBezTo>
                <a:close/>
                <a:moveTo>
                  <a:pt x="10358141" y="228601"/>
                </a:moveTo>
                <a:cubicBezTo>
                  <a:pt x="10361374" y="228601"/>
                  <a:pt x="10363013" y="244113"/>
                  <a:pt x="10363013" y="249315"/>
                </a:cubicBezTo>
                <a:cubicBezTo>
                  <a:pt x="10356448" y="254346"/>
                  <a:pt x="10348413" y="262910"/>
                  <a:pt x="10348413" y="271460"/>
                </a:cubicBezTo>
                <a:cubicBezTo>
                  <a:pt x="10322663" y="288669"/>
                  <a:pt x="10290364" y="299050"/>
                  <a:pt x="10274161" y="316205"/>
                </a:cubicBezTo>
                <a:cubicBezTo>
                  <a:pt x="10319429" y="323013"/>
                  <a:pt x="10330777" y="326519"/>
                  <a:pt x="10366157" y="341955"/>
                </a:cubicBezTo>
                <a:cubicBezTo>
                  <a:pt x="10353241" y="352173"/>
                  <a:pt x="10335534" y="348810"/>
                  <a:pt x="10317763" y="348810"/>
                </a:cubicBezTo>
                <a:cubicBezTo>
                  <a:pt x="10298452" y="348810"/>
                  <a:pt x="10272656" y="369382"/>
                  <a:pt x="10253319" y="369382"/>
                </a:cubicBezTo>
                <a:cubicBezTo>
                  <a:pt x="10241899" y="369382"/>
                  <a:pt x="10175905" y="338539"/>
                  <a:pt x="10172689" y="336861"/>
                </a:cubicBezTo>
                <a:cubicBezTo>
                  <a:pt x="10182237" y="328202"/>
                  <a:pt x="10185470" y="324638"/>
                  <a:pt x="10193630" y="317898"/>
                </a:cubicBezTo>
                <a:lnTo>
                  <a:pt x="10261317" y="317898"/>
                </a:lnTo>
                <a:cubicBezTo>
                  <a:pt x="10243636" y="311034"/>
                  <a:pt x="10250058" y="304169"/>
                  <a:pt x="10234017" y="314590"/>
                </a:cubicBezTo>
                <a:lnTo>
                  <a:pt x="10234017" y="292101"/>
                </a:lnTo>
                <a:cubicBezTo>
                  <a:pt x="10282294" y="292101"/>
                  <a:pt x="10283960" y="257778"/>
                  <a:pt x="10330777" y="257778"/>
                </a:cubicBezTo>
                <a:cubicBezTo>
                  <a:pt x="10332390" y="242393"/>
                  <a:pt x="10343693" y="228601"/>
                  <a:pt x="10358141" y="228601"/>
                </a:cubicBezTo>
                <a:close/>
                <a:moveTo>
                  <a:pt x="4317151" y="76202"/>
                </a:moveTo>
                <a:cubicBezTo>
                  <a:pt x="4341317" y="76202"/>
                  <a:pt x="4350944" y="88226"/>
                  <a:pt x="4365549" y="88226"/>
                </a:cubicBezTo>
                <a:lnTo>
                  <a:pt x="4410672" y="88226"/>
                </a:lnTo>
                <a:cubicBezTo>
                  <a:pt x="4449376" y="88226"/>
                  <a:pt x="4588214" y="83072"/>
                  <a:pt x="4620435" y="117426"/>
                </a:cubicBezTo>
                <a:cubicBezTo>
                  <a:pt x="4609105" y="129450"/>
                  <a:pt x="4604259" y="132920"/>
                  <a:pt x="4591358" y="136318"/>
                </a:cubicBezTo>
                <a:lnTo>
                  <a:pt x="4720372" y="96887"/>
                </a:lnTo>
                <a:cubicBezTo>
                  <a:pt x="4731768" y="103720"/>
                  <a:pt x="4738186" y="107192"/>
                  <a:pt x="4749450" y="110664"/>
                </a:cubicBezTo>
                <a:cubicBezTo>
                  <a:pt x="4767198" y="115670"/>
                  <a:pt x="4767198" y="129450"/>
                  <a:pt x="4776956" y="139644"/>
                </a:cubicBezTo>
                <a:cubicBezTo>
                  <a:pt x="4796145" y="160329"/>
                  <a:pt x="4881675" y="151778"/>
                  <a:pt x="4881675" y="182694"/>
                </a:cubicBezTo>
                <a:cubicBezTo>
                  <a:pt x="4881675" y="204916"/>
                  <a:pt x="4852662" y="199761"/>
                  <a:pt x="4841332" y="208278"/>
                </a:cubicBezTo>
                <a:cubicBezTo>
                  <a:pt x="4776956" y="259770"/>
                  <a:pt x="4697780" y="229107"/>
                  <a:pt x="4612315" y="273437"/>
                </a:cubicBezTo>
                <a:cubicBezTo>
                  <a:pt x="4628491" y="290650"/>
                  <a:pt x="4692933" y="276946"/>
                  <a:pt x="4733339" y="278736"/>
                </a:cubicBezTo>
                <a:cubicBezTo>
                  <a:pt x="4696142" y="318169"/>
                  <a:pt x="4605832" y="342144"/>
                  <a:pt x="4547741" y="362827"/>
                </a:cubicBezTo>
                <a:cubicBezTo>
                  <a:pt x="4483300" y="385157"/>
                  <a:pt x="4446167" y="453825"/>
                  <a:pt x="4397770" y="491394"/>
                </a:cubicBezTo>
                <a:cubicBezTo>
                  <a:pt x="4375307" y="508535"/>
                  <a:pt x="4339680" y="488107"/>
                  <a:pt x="4313943" y="496585"/>
                </a:cubicBezTo>
                <a:cubicBezTo>
                  <a:pt x="4278316" y="508535"/>
                  <a:pt x="4238106" y="511969"/>
                  <a:pt x="4212172" y="534373"/>
                </a:cubicBezTo>
                <a:lnTo>
                  <a:pt x="4257491" y="534373"/>
                </a:lnTo>
                <a:cubicBezTo>
                  <a:pt x="4260700" y="572124"/>
                  <a:pt x="4241314" y="568615"/>
                  <a:pt x="4210665" y="565253"/>
                </a:cubicBezTo>
                <a:cubicBezTo>
                  <a:pt x="4230050" y="575523"/>
                  <a:pt x="4247733" y="582356"/>
                  <a:pt x="4257491" y="606549"/>
                </a:cubicBezTo>
                <a:cubicBezTo>
                  <a:pt x="4223567" y="623543"/>
                  <a:pt x="4212172" y="664802"/>
                  <a:pt x="4184797" y="685304"/>
                </a:cubicBezTo>
                <a:lnTo>
                  <a:pt x="4104113" y="685304"/>
                </a:lnTo>
                <a:cubicBezTo>
                  <a:pt x="4107454" y="697291"/>
                  <a:pt x="4115443" y="700801"/>
                  <a:pt x="4115443" y="711069"/>
                </a:cubicBezTo>
                <a:cubicBezTo>
                  <a:pt x="4115443" y="765960"/>
                  <a:pt x="4047792" y="733327"/>
                  <a:pt x="4047792" y="791726"/>
                </a:cubicBezTo>
                <a:lnTo>
                  <a:pt x="4088068" y="791726"/>
                </a:lnTo>
                <a:cubicBezTo>
                  <a:pt x="4092915" y="791726"/>
                  <a:pt x="4112234" y="790080"/>
                  <a:pt x="4112234" y="805466"/>
                </a:cubicBezTo>
                <a:cubicBezTo>
                  <a:pt x="4112234" y="834593"/>
                  <a:pt x="4020287" y="865583"/>
                  <a:pt x="3983219" y="865583"/>
                </a:cubicBezTo>
                <a:cubicBezTo>
                  <a:pt x="3946153" y="865583"/>
                  <a:pt x="3962264" y="839782"/>
                  <a:pt x="3929976" y="839782"/>
                </a:cubicBezTo>
                <a:lnTo>
                  <a:pt x="3808950" y="839782"/>
                </a:lnTo>
                <a:cubicBezTo>
                  <a:pt x="3794478" y="839782"/>
                  <a:pt x="3784785" y="856885"/>
                  <a:pt x="3760554" y="856885"/>
                </a:cubicBezTo>
                <a:cubicBezTo>
                  <a:pt x="3707375" y="856885"/>
                  <a:pt x="3663825" y="841572"/>
                  <a:pt x="3607439" y="822606"/>
                </a:cubicBezTo>
                <a:cubicBezTo>
                  <a:pt x="3602461" y="831120"/>
                  <a:pt x="3596044" y="839782"/>
                  <a:pt x="3587988" y="839782"/>
                </a:cubicBezTo>
                <a:cubicBezTo>
                  <a:pt x="3576658" y="839782"/>
                  <a:pt x="3571878" y="831120"/>
                  <a:pt x="3571878" y="826078"/>
                </a:cubicBezTo>
                <a:cubicBezTo>
                  <a:pt x="3571878" y="757408"/>
                  <a:pt x="3655770" y="783102"/>
                  <a:pt x="3689693" y="757408"/>
                </a:cubicBezTo>
                <a:cubicBezTo>
                  <a:pt x="3670178" y="741951"/>
                  <a:pt x="3636319" y="736760"/>
                  <a:pt x="3636319" y="705989"/>
                </a:cubicBezTo>
                <a:cubicBezTo>
                  <a:pt x="3636319" y="681942"/>
                  <a:pt x="3660616" y="688777"/>
                  <a:pt x="3676792" y="688777"/>
                </a:cubicBezTo>
                <a:cubicBezTo>
                  <a:pt x="3728333" y="688777"/>
                  <a:pt x="3746081" y="717940"/>
                  <a:pt x="3776795" y="736760"/>
                </a:cubicBezTo>
                <a:lnTo>
                  <a:pt x="3805742" y="736760"/>
                </a:lnTo>
                <a:cubicBezTo>
                  <a:pt x="3783212" y="712861"/>
                  <a:pt x="3733179" y="692103"/>
                  <a:pt x="3733179" y="651062"/>
                </a:cubicBezTo>
                <a:lnTo>
                  <a:pt x="3709013" y="651062"/>
                </a:lnTo>
                <a:cubicBezTo>
                  <a:pt x="3699386" y="656214"/>
                  <a:pt x="3699386" y="656214"/>
                  <a:pt x="3692771" y="663013"/>
                </a:cubicBezTo>
                <a:lnTo>
                  <a:pt x="3668606" y="663013"/>
                </a:lnTo>
                <a:lnTo>
                  <a:pt x="3668606" y="642438"/>
                </a:lnTo>
                <a:cubicBezTo>
                  <a:pt x="3681573" y="613238"/>
                  <a:pt x="3692771" y="594379"/>
                  <a:pt x="3717069" y="585827"/>
                </a:cubicBezTo>
                <a:cubicBezTo>
                  <a:pt x="3757344" y="572124"/>
                  <a:pt x="3805742" y="587584"/>
                  <a:pt x="3805742" y="539525"/>
                </a:cubicBezTo>
                <a:cubicBezTo>
                  <a:pt x="3805742" y="484561"/>
                  <a:pt x="3696111" y="484561"/>
                  <a:pt x="3696111" y="453825"/>
                </a:cubicBezTo>
                <a:cubicBezTo>
                  <a:pt x="3696111" y="436649"/>
                  <a:pt x="3720278" y="440048"/>
                  <a:pt x="3736322" y="440048"/>
                </a:cubicBezTo>
                <a:cubicBezTo>
                  <a:pt x="3718575" y="440048"/>
                  <a:pt x="3715496" y="433141"/>
                  <a:pt x="3712222" y="419472"/>
                </a:cubicBezTo>
                <a:cubicBezTo>
                  <a:pt x="3720278" y="415964"/>
                  <a:pt x="3728333" y="419472"/>
                  <a:pt x="3736322" y="419472"/>
                </a:cubicBezTo>
                <a:cubicBezTo>
                  <a:pt x="3754136" y="419472"/>
                  <a:pt x="3789697" y="412458"/>
                  <a:pt x="3821983" y="422908"/>
                </a:cubicBezTo>
                <a:cubicBezTo>
                  <a:pt x="3862194" y="436649"/>
                  <a:pt x="3876732" y="486314"/>
                  <a:pt x="3921920" y="481088"/>
                </a:cubicBezTo>
                <a:cubicBezTo>
                  <a:pt x="3913800" y="472574"/>
                  <a:pt x="3862194" y="438258"/>
                  <a:pt x="3862194" y="427988"/>
                </a:cubicBezTo>
                <a:cubicBezTo>
                  <a:pt x="3862194" y="421082"/>
                  <a:pt x="3870314" y="415964"/>
                  <a:pt x="3873588" y="410775"/>
                </a:cubicBezTo>
                <a:lnTo>
                  <a:pt x="3954208" y="410775"/>
                </a:lnTo>
                <a:cubicBezTo>
                  <a:pt x="3984791" y="397034"/>
                  <a:pt x="4012231" y="388483"/>
                  <a:pt x="4031617" y="362827"/>
                </a:cubicBezTo>
                <a:lnTo>
                  <a:pt x="4007450" y="362827"/>
                </a:lnTo>
                <a:cubicBezTo>
                  <a:pt x="3975098" y="390163"/>
                  <a:pt x="3938030" y="402296"/>
                  <a:pt x="3886424" y="402296"/>
                </a:cubicBezTo>
                <a:cubicBezTo>
                  <a:pt x="3855776" y="402296"/>
                  <a:pt x="3846083" y="388483"/>
                  <a:pt x="3829907" y="388483"/>
                </a:cubicBezTo>
                <a:cubicBezTo>
                  <a:pt x="3817006" y="388483"/>
                  <a:pt x="3810652" y="405659"/>
                  <a:pt x="3797753" y="405659"/>
                </a:cubicBezTo>
                <a:cubicBezTo>
                  <a:pt x="3765465" y="405659"/>
                  <a:pt x="3723487" y="393635"/>
                  <a:pt x="3733179" y="371380"/>
                </a:cubicBezTo>
                <a:lnTo>
                  <a:pt x="3712222" y="371380"/>
                </a:lnTo>
                <a:cubicBezTo>
                  <a:pt x="3700892" y="379968"/>
                  <a:pt x="3691265" y="388483"/>
                  <a:pt x="3676792" y="388483"/>
                </a:cubicBezTo>
                <a:cubicBezTo>
                  <a:pt x="3644440" y="388483"/>
                  <a:pt x="3599383" y="367945"/>
                  <a:pt x="3587988" y="352485"/>
                </a:cubicBezTo>
                <a:cubicBezTo>
                  <a:pt x="3599383" y="343933"/>
                  <a:pt x="3610647" y="335419"/>
                  <a:pt x="3631539" y="333629"/>
                </a:cubicBezTo>
                <a:cubicBezTo>
                  <a:pt x="3600955" y="333629"/>
                  <a:pt x="3568669" y="331910"/>
                  <a:pt x="3555702" y="333629"/>
                </a:cubicBezTo>
                <a:cubicBezTo>
                  <a:pt x="3573449" y="289079"/>
                  <a:pt x="3613856" y="294085"/>
                  <a:pt x="3655770" y="280528"/>
                </a:cubicBezTo>
                <a:cubicBezTo>
                  <a:pt x="3641231" y="276946"/>
                  <a:pt x="3636319" y="276946"/>
                  <a:pt x="3623550" y="276946"/>
                </a:cubicBezTo>
                <a:cubicBezTo>
                  <a:pt x="3591263" y="276946"/>
                  <a:pt x="3589560" y="307753"/>
                  <a:pt x="3558976" y="307753"/>
                </a:cubicBezTo>
                <a:cubicBezTo>
                  <a:pt x="3550920" y="307753"/>
                  <a:pt x="3533108" y="295912"/>
                  <a:pt x="3529964" y="294085"/>
                </a:cubicBezTo>
                <a:cubicBezTo>
                  <a:pt x="3546075" y="276946"/>
                  <a:pt x="3555702" y="271940"/>
                  <a:pt x="3575086" y="264885"/>
                </a:cubicBezTo>
                <a:lnTo>
                  <a:pt x="3526690" y="264885"/>
                </a:lnTo>
                <a:cubicBezTo>
                  <a:pt x="3516932" y="268394"/>
                  <a:pt x="3507369" y="273437"/>
                  <a:pt x="3502524" y="276946"/>
                </a:cubicBezTo>
                <a:lnTo>
                  <a:pt x="3467093" y="276946"/>
                </a:lnTo>
                <a:cubicBezTo>
                  <a:pt x="3476655" y="234006"/>
                  <a:pt x="3581505" y="213577"/>
                  <a:pt x="3628395" y="213577"/>
                </a:cubicBezTo>
                <a:lnTo>
                  <a:pt x="3663825" y="213577"/>
                </a:lnTo>
                <a:cubicBezTo>
                  <a:pt x="3670178" y="213577"/>
                  <a:pt x="3676792" y="206668"/>
                  <a:pt x="3676792" y="199761"/>
                </a:cubicBezTo>
                <a:cubicBezTo>
                  <a:pt x="3728333" y="199761"/>
                  <a:pt x="3707375" y="162083"/>
                  <a:pt x="3741234" y="162083"/>
                </a:cubicBezTo>
                <a:cubicBezTo>
                  <a:pt x="3771818" y="162083"/>
                  <a:pt x="3834884" y="194572"/>
                  <a:pt x="3849424" y="199761"/>
                </a:cubicBezTo>
                <a:cubicBezTo>
                  <a:pt x="3863765" y="158647"/>
                  <a:pt x="3883216" y="122505"/>
                  <a:pt x="3929976" y="122505"/>
                </a:cubicBezTo>
                <a:cubicBezTo>
                  <a:pt x="3957416" y="122505"/>
                  <a:pt x="3941175" y="137965"/>
                  <a:pt x="3962264" y="119106"/>
                </a:cubicBezTo>
                <a:cubicBezTo>
                  <a:pt x="3970253" y="102039"/>
                  <a:pt x="3983219" y="96887"/>
                  <a:pt x="3999329" y="96887"/>
                </a:cubicBezTo>
                <a:lnTo>
                  <a:pt x="4184797" y="96887"/>
                </a:lnTo>
                <a:cubicBezTo>
                  <a:pt x="4188072" y="89979"/>
                  <a:pt x="4196061" y="84863"/>
                  <a:pt x="4204183" y="84863"/>
                </a:cubicBezTo>
                <a:cubicBezTo>
                  <a:pt x="4233325" y="84863"/>
                  <a:pt x="4241314" y="105439"/>
                  <a:pt x="4265415" y="105439"/>
                </a:cubicBezTo>
                <a:cubicBezTo>
                  <a:pt x="4288074" y="105439"/>
                  <a:pt x="4294557" y="76202"/>
                  <a:pt x="4317151" y="76202"/>
                </a:cubicBezTo>
                <a:close/>
                <a:moveTo>
                  <a:pt x="6061343" y="0"/>
                </a:moveTo>
                <a:lnTo>
                  <a:pt x="6295347" y="0"/>
                </a:lnTo>
                <a:cubicBezTo>
                  <a:pt x="6390511" y="0"/>
                  <a:pt x="6461469" y="65209"/>
                  <a:pt x="6537165" y="99678"/>
                </a:cubicBezTo>
                <a:cubicBezTo>
                  <a:pt x="6580711" y="118412"/>
                  <a:pt x="6637195" y="106407"/>
                  <a:pt x="6677669" y="116652"/>
                </a:cubicBezTo>
                <a:cubicBezTo>
                  <a:pt x="6669472" y="176790"/>
                  <a:pt x="6559834" y="168199"/>
                  <a:pt x="6516287" y="185382"/>
                </a:cubicBezTo>
                <a:lnTo>
                  <a:pt x="6162015" y="205876"/>
                </a:lnTo>
                <a:cubicBezTo>
                  <a:pt x="6189424" y="228131"/>
                  <a:pt x="6459931" y="193973"/>
                  <a:pt x="6488878" y="205876"/>
                </a:cubicBezTo>
                <a:cubicBezTo>
                  <a:pt x="6485675" y="219642"/>
                  <a:pt x="6415231" y="291786"/>
                  <a:pt x="6428295" y="291786"/>
                </a:cubicBezTo>
                <a:cubicBezTo>
                  <a:pt x="6468513" y="291786"/>
                  <a:pt x="6564701" y="193973"/>
                  <a:pt x="6617983" y="193973"/>
                </a:cubicBezTo>
                <a:cubicBezTo>
                  <a:pt x="6646929" y="193973"/>
                  <a:pt x="6658200" y="219642"/>
                  <a:pt x="6658200" y="245520"/>
                </a:cubicBezTo>
                <a:cubicBezTo>
                  <a:pt x="6658200" y="260837"/>
                  <a:pt x="6554071" y="377593"/>
                  <a:pt x="6549204" y="394673"/>
                </a:cubicBezTo>
                <a:cubicBezTo>
                  <a:pt x="6591087" y="382665"/>
                  <a:pt x="6672674" y="269532"/>
                  <a:pt x="6698547" y="248934"/>
                </a:cubicBezTo>
                <a:lnTo>
                  <a:pt x="6806647" y="248934"/>
                </a:lnTo>
                <a:cubicBezTo>
                  <a:pt x="6806647" y="248934"/>
                  <a:pt x="6837386" y="255663"/>
                  <a:pt x="6843661" y="253902"/>
                </a:cubicBezTo>
                <a:cubicBezTo>
                  <a:pt x="6872865" y="242000"/>
                  <a:pt x="6877475" y="233408"/>
                  <a:pt x="6903476" y="219642"/>
                </a:cubicBezTo>
                <a:lnTo>
                  <a:pt x="6980837" y="219642"/>
                </a:lnTo>
                <a:cubicBezTo>
                  <a:pt x="6985704" y="199045"/>
                  <a:pt x="6997103" y="197388"/>
                  <a:pt x="7013113" y="197388"/>
                </a:cubicBezTo>
                <a:cubicBezTo>
                  <a:pt x="7034118" y="197388"/>
                  <a:pt x="7109939" y="235065"/>
                  <a:pt x="7109939" y="257320"/>
                </a:cubicBezTo>
                <a:cubicBezTo>
                  <a:pt x="7109939" y="278123"/>
                  <a:pt x="7079200" y="293443"/>
                  <a:pt x="7069594" y="296963"/>
                </a:cubicBezTo>
                <a:cubicBezTo>
                  <a:pt x="7016315" y="315801"/>
                  <a:pt x="6982501" y="365587"/>
                  <a:pt x="6909880" y="365587"/>
                </a:cubicBezTo>
                <a:cubicBezTo>
                  <a:pt x="6929220" y="375730"/>
                  <a:pt x="6930758" y="375730"/>
                  <a:pt x="6943693" y="365587"/>
                </a:cubicBezTo>
                <a:cubicBezTo>
                  <a:pt x="6943693" y="413614"/>
                  <a:pt x="6900146" y="413614"/>
                  <a:pt x="6871071" y="420445"/>
                </a:cubicBezTo>
                <a:cubicBezTo>
                  <a:pt x="6882470" y="444459"/>
                  <a:pt x="6871071" y="425517"/>
                  <a:pt x="6871071" y="442699"/>
                </a:cubicBezTo>
                <a:cubicBezTo>
                  <a:pt x="6871071" y="470128"/>
                  <a:pt x="6829189" y="476960"/>
                  <a:pt x="6798577" y="485654"/>
                </a:cubicBezTo>
                <a:cubicBezTo>
                  <a:pt x="6800242" y="504494"/>
                  <a:pt x="6798577" y="504494"/>
                  <a:pt x="6798577" y="511326"/>
                </a:cubicBezTo>
                <a:cubicBezTo>
                  <a:pt x="6798577" y="547346"/>
                  <a:pt x="6764765" y="559455"/>
                  <a:pt x="6734024" y="583367"/>
                </a:cubicBezTo>
                <a:cubicBezTo>
                  <a:pt x="6714684" y="598893"/>
                  <a:pt x="6716350" y="640087"/>
                  <a:pt x="6706743" y="657165"/>
                </a:cubicBezTo>
                <a:cubicBezTo>
                  <a:pt x="6724419" y="665862"/>
                  <a:pt x="6737354" y="657165"/>
                  <a:pt x="6755031" y="657165"/>
                </a:cubicBezTo>
                <a:cubicBezTo>
                  <a:pt x="6780774" y="657165"/>
                  <a:pt x="6803444" y="676107"/>
                  <a:pt x="6819582" y="689668"/>
                </a:cubicBezTo>
                <a:cubicBezTo>
                  <a:pt x="6811513" y="694945"/>
                  <a:pt x="6800242" y="700122"/>
                  <a:pt x="6790508" y="700122"/>
                </a:cubicBezTo>
                <a:cubicBezTo>
                  <a:pt x="6797040" y="727551"/>
                  <a:pt x="6859928" y="719063"/>
                  <a:pt x="6859928" y="760155"/>
                </a:cubicBezTo>
                <a:cubicBezTo>
                  <a:pt x="6859928" y="801247"/>
                  <a:pt x="6776036" y="785826"/>
                  <a:pt x="6746961" y="785826"/>
                </a:cubicBezTo>
                <a:cubicBezTo>
                  <a:pt x="6729285" y="785826"/>
                  <a:pt x="6714684" y="799592"/>
                  <a:pt x="6714684" y="811598"/>
                </a:cubicBezTo>
                <a:cubicBezTo>
                  <a:pt x="6714684" y="840890"/>
                  <a:pt x="6743759" y="840890"/>
                  <a:pt x="6766429" y="840890"/>
                </a:cubicBezTo>
                <a:cubicBezTo>
                  <a:pt x="6766429" y="878567"/>
                  <a:pt x="6790508" y="888919"/>
                  <a:pt x="6790508" y="914587"/>
                </a:cubicBezTo>
                <a:cubicBezTo>
                  <a:pt x="6790508" y="928250"/>
                  <a:pt x="6782439" y="942120"/>
                  <a:pt x="6790508" y="952265"/>
                </a:cubicBezTo>
                <a:cubicBezTo>
                  <a:pt x="6764765" y="952265"/>
                  <a:pt x="6738891" y="952265"/>
                  <a:pt x="6738891" y="974725"/>
                </a:cubicBezTo>
                <a:cubicBezTo>
                  <a:pt x="6738891" y="1003707"/>
                  <a:pt x="6783976" y="1001949"/>
                  <a:pt x="6803444" y="1009089"/>
                </a:cubicBezTo>
                <a:cubicBezTo>
                  <a:pt x="6793710" y="1036415"/>
                  <a:pt x="6761434" y="1051838"/>
                  <a:pt x="6730822" y="1055253"/>
                </a:cubicBezTo>
                <a:cubicBezTo>
                  <a:pt x="6730822" y="1067158"/>
                  <a:pt x="6738891" y="1077613"/>
                  <a:pt x="6746961" y="1081027"/>
                </a:cubicBezTo>
                <a:cubicBezTo>
                  <a:pt x="6735690" y="1132470"/>
                  <a:pt x="6671137" y="1110215"/>
                  <a:pt x="6658200" y="1146236"/>
                </a:cubicBezTo>
                <a:cubicBezTo>
                  <a:pt x="6640525" y="1134230"/>
                  <a:pt x="6622723" y="1125639"/>
                  <a:pt x="6609914" y="1106696"/>
                </a:cubicBezTo>
                <a:lnTo>
                  <a:pt x="6585707" y="1106696"/>
                </a:lnTo>
                <a:cubicBezTo>
                  <a:pt x="6601845" y="1153067"/>
                  <a:pt x="6674338" y="1137542"/>
                  <a:pt x="6674338" y="1183914"/>
                </a:cubicBezTo>
                <a:cubicBezTo>
                  <a:pt x="6674338" y="1204511"/>
                  <a:pt x="6669472" y="1232043"/>
                  <a:pt x="6650260" y="1232043"/>
                </a:cubicBezTo>
                <a:cubicBezTo>
                  <a:pt x="6621057" y="1232043"/>
                  <a:pt x="6571106" y="1187328"/>
                  <a:pt x="6561371" y="1154725"/>
                </a:cubicBezTo>
                <a:cubicBezTo>
                  <a:pt x="6548563" y="1156588"/>
                  <a:pt x="6543696" y="1154725"/>
                  <a:pt x="6540494" y="1154725"/>
                </a:cubicBezTo>
                <a:lnTo>
                  <a:pt x="6540494" y="1180600"/>
                </a:lnTo>
                <a:cubicBezTo>
                  <a:pt x="6598514" y="1242292"/>
                  <a:pt x="6701877" y="1271272"/>
                  <a:pt x="6701877" y="1369190"/>
                </a:cubicBezTo>
                <a:cubicBezTo>
                  <a:pt x="6701877" y="1388133"/>
                  <a:pt x="6675876" y="1389685"/>
                  <a:pt x="6658200" y="1389685"/>
                </a:cubicBezTo>
                <a:cubicBezTo>
                  <a:pt x="6582504" y="1389685"/>
                  <a:pt x="6598514" y="1303981"/>
                  <a:pt x="6532426" y="1303981"/>
                </a:cubicBezTo>
                <a:cubicBezTo>
                  <a:pt x="6524356" y="1303981"/>
                  <a:pt x="6516287" y="1309156"/>
                  <a:pt x="6508218" y="1303981"/>
                </a:cubicBezTo>
                <a:cubicBezTo>
                  <a:pt x="6508218" y="1328098"/>
                  <a:pt x="6524356" y="1333273"/>
                  <a:pt x="6524356" y="1346936"/>
                </a:cubicBezTo>
                <a:cubicBezTo>
                  <a:pt x="6524356" y="1362256"/>
                  <a:pt x="6496946" y="1367534"/>
                  <a:pt x="6488878" y="1369190"/>
                </a:cubicBezTo>
                <a:cubicBezTo>
                  <a:pt x="6488878" y="1420736"/>
                  <a:pt x="6632457" y="1413905"/>
                  <a:pt x="6666270" y="1425808"/>
                </a:cubicBezTo>
                <a:cubicBezTo>
                  <a:pt x="6642191" y="1446406"/>
                  <a:pt x="6626052" y="1448165"/>
                  <a:pt x="6596978" y="1458414"/>
                </a:cubicBezTo>
                <a:cubicBezTo>
                  <a:pt x="6543696" y="1477354"/>
                  <a:pt x="6527558" y="1525278"/>
                  <a:pt x="6480809" y="1540804"/>
                </a:cubicBezTo>
                <a:cubicBezTo>
                  <a:pt x="6422660" y="1561404"/>
                  <a:pt x="6375910" y="1556124"/>
                  <a:pt x="6314559" y="1583761"/>
                </a:cubicBezTo>
                <a:lnTo>
                  <a:pt x="6238736" y="1583761"/>
                </a:lnTo>
                <a:cubicBezTo>
                  <a:pt x="6222597" y="1594007"/>
                  <a:pt x="6206587" y="1599079"/>
                  <a:pt x="6206587" y="1612845"/>
                </a:cubicBezTo>
                <a:lnTo>
                  <a:pt x="6166242" y="1643897"/>
                </a:lnTo>
                <a:cubicBezTo>
                  <a:pt x="6135630" y="1669568"/>
                  <a:pt x="6133837" y="1703931"/>
                  <a:pt x="6109758" y="1729497"/>
                </a:cubicBezTo>
                <a:cubicBezTo>
                  <a:pt x="6077481" y="1763758"/>
                  <a:pt x="6022791" y="1755375"/>
                  <a:pt x="5988850" y="1781044"/>
                </a:cubicBezTo>
                <a:lnTo>
                  <a:pt x="5964642" y="1781044"/>
                </a:lnTo>
                <a:lnTo>
                  <a:pt x="5964642" y="1746680"/>
                </a:lnTo>
                <a:cubicBezTo>
                  <a:pt x="5940306" y="1756927"/>
                  <a:pt x="5946838" y="1774212"/>
                  <a:pt x="5932237" y="1789635"/>
                </a:cubicBezTo>
                <a:cubicBezTo>
                  <a:pt x="5898424" y="1825655"/>
                  <a:pt x="5811328" y="1810129"/>
                  <a:pt x="5811328" y="1866851"/>
                </a:cubicBezTo>
                <a:cubicBezTo>
                  <a:pt x="5811328" y="1872028"/>
                  <a:pt x="5814531" y="1878859"/>
                  <a:pt x="5814531" y="1883930"/>
                </a:cubicBezTo>
                <a:cubicBezTo>
                  <a:pt x="5809664" y="1890762"/>
                  <a:pt x="5803260" y="1896040"/>
                  <a:pt x="5803260" y="1904631"/>
                </a:cubicBezTo>
                <a:cubicBezTo>
                  <a:pt x="5803260" y="1916431"/>
                  <a:pt x="5822599" y="1925229"/>
                  <a:pt x="5822599" y="1944067"/>
                </a:cubicBezTo>
                <a:cubicBezTo>
                  <a:pt x="5822599" y="2002342"/>
                  <a:pt x="5746776" y="1983400"/>
                  <a:pt x="5746776" y="2033290"/>
                </a:cubicBezTo>
                <a:cubicBezTo>
                  <a:pt x="5746776" y="2064135"/>
                  <a:pt x="5743574" y="2108747"/>
                  <a:pt x="5746776" y="2127585"/>
                </a:cubicBezTo>
                <a:cubicBezTo>
                  <a:pt x="5709760" y="2146423"/>
                  <a:pt x="5729100" y="2235750"/>
                  <a:pt x="5685681" y="2235750"/>
                </a:cubicBezTo>
                <a:cubicBezTo>
                  <a:pt x="5674283" y="2235750"/>
                  <a:pt x="5669415" y="2228918"/>
                  <a:pt x="5666213" y="2218464"/>
                </a:cubicBezTo>
                <a:cubicBezTo>
                  <a:pt x="5646872" y="2220327"/>
                  <a:pt x="5643671" y="2230575"/>
                  <a:pt x="5633937" y="2230575"/>
                </a:cubicBezTo>
                <a:cubicBezTo>
                  <a:pt x="5593592" y="2230575"/>
                  <a:pt x="5596793" y="2153255"/>
                  <a:pt x="5556448" y="2153255"/>
                </a:cubicBezTo>
                <a:cubicBezTo>
                  <a:pt x="5533906" y="2153255"/>
                  <a:pt x="5508161" y="2173853"/>
                  <a:pt x="5488693" y="2175612"/>
                </a:cubicBezTo>
                <a:cubicBezTo>
                  <a:pt x="5477421" y="2136176"/>
                  <a:pt x="5461283" y="2148079"/>
                  <a:pt x="5435412" y="2127585"/>
                </a:cubicBezTo>
                <a:cubicBezTo>
                  <a:pt x="5425805" y="2120754"/>
                  <a:pt x="5429007" y="2096740"/>
                  <a:pt x="5424268" y="2093324"/>
                </a:cubicBezTo>
                <a:cubicBezTo>
                  <a:pt x="5391991" y="2065791"/>
                  <a:pt x="5330641" y="1988575"/>
                  <a:pt x="5330641" y="1938788"/>
                </a:cubicBezTo>
                <a:cubicBezTo>
                  <a:pt x="5330641" y="1916431"/>
                  <a:pt x="5343576" y="1918191"/>
                  <a:pt x="5354848" y="1906185"/>
                </a:cubicBezTo>
                <a:cubicBezTo>
                  <a:pt x="5330641" y="1873683"/>
                  <a:pt x="5322571" y="1916431"/>
                  <a:pt x="5295291" y="1901114"/>
                </a:cubicBezTo>
                <a:cubicBezTo>
                  <a:pt x="5288758" y="1894177"/>
                  <a:pt x="5283764" y="1861676"/>
                  <a:pt x="5279025" y="1844599"/>
                </a:cubicBezTo>
                <a:cubicBezTo>
                  <a:pt x="5269289" y="1811890"/>
                  <a:pt x="5225742" y="1792947"/>
                  <a:pt x="5225742" y="1746680"/>
                </a:cubicBezTo>
                <a:cubicBezTo>
                  <a:pt x="5225742" y="1729497"/>
                  <a:pt x="5237142" y="1721012"/>
                  <a:pt x="5241880" y="1703931"/>
                </a:cubicBezTo>
                <a:cubicBezTo>
                  <a:pt x="5230609" y="1696894"/>
                  <a:pt x="5219338" y="1695031"/>
                  <a:pt x="5209732" y="1703931"/>
                </a:cubicBezTo>
                <a:lnTo>
                  <a:pt x="5209732" y="1664288"/>
                </a:lnTo>
                <a:cubicBezTo>
                  <a:pt x="5232274" y="1631685"/>
                  <a:pt x="5241880" y="1597422"/>
                  <a:pt x="5274158" y="1569993"/>
                </a:cubicBezTo>
                <a:lnTo>
                  <a:pt x="5274158" y="1566578"/>
                </a:lnTo>
                <a:cubicBezTo>
                  <a:pt x="5296699" y="1554573"/>
                  <a:pt x="5296699" y="1552812"/>
                  <a:pt x="5319498" y="1563058"/>
                </a:cubicBezTo>
                <a:cubicBezTo>
                  <a:pt x="5329103" y="1511512"/>
                  <a:pt x="5353311" y="1494435"/>
                  <a:pt x="5367656" y="1446406"/>
                </a:cubicBezTo>
                <a:cubicBezTo>
                  <a:pt x="5317705" y="1429225"/>
                  <a:pt x="5199998" y="1420736"/>
                  <a:pt x="5193466" y="1372605"/>
                </a:cubicBezTo>
                <a:cubicBezTo>
                  <a:pt x="5209732" y="1365879"/>
                  <a:pt x="5208068" y="1372605"/>
                  <a:pt x="5222540" y="1372605"/>
                </a:cubicBezTo>
                <a:cubicBezTo>
                  <a:pt x="5256353" y="1372605"/>
                  <a:pt x="5280689" y="1398482"/>
                  <a:pt x="5319498" y="1398482"/>
                </a:cubicBezTo>
                <a:cubicBezTo>
                  <a:pt x="5335379" y="1398482"/>
                  <a:pt x="5333842" y="1383060"/>
                  <a:pt x="5335379" y="1372605"/>
                </a:cubicBezTo>
                <a:cubicBezTo>
                  <a:pt x="5285428" y="1355424"/>
                  <a:pt x="5271084" y="1274895"/>
                  <a:pt x="5217673" y="1274895"/>
                </a:cubicBezTo>
                <a:cubicBezTo>
                  <a:pt x="5203200" y="1274895"/>
                  <a:pt x="5198333" y="1303981"/>
                  <a:pt x="5177455" y="1303981"/>
                </a:cubicBezTo>
                <a:cubicBezTo>
                  <a:pt x="5148381" y="1303981"/>
                  <a:pt x="5133909" y="1300669"/>
                  <a:pt x="5133909" y="1274895"/>
                </a:cubicBezTo>
                <a:cubicBezTo>
                  <a:pt x="5133909" y="1237115"/>
                  <a:pt x="5169387" y="1240429"/>
                  <a:pt x="5169387" y="1201094"/>
                </a:cubicBezTo>
                <a:cubicBezTo>
                  <a:pt x="5169387" y="1175425"/>
                  <a:pt x="5143514" y="1173665"/>
                  <a:pt x="5129042" y="1171905"/>
                </a:cubicBezTo>
                <a:lnTo>
                  <a:pt x="5129042" y="1146236"/>
                </a:lnTo>
                <a:cubicBezTo>
                  <a:pt x="5083700" y="998635"/>
                  <a:pt x="4970861" y="849275"/>
                  <a:pt x="4790266" y="849275"/>
                </a:cubicBezTo>
                <a:lnTo>
                  <a:pt x="4741853" y="849275"/>
                </a:lnTo>
                <a:cubicBezTo>
                  <a:pt x="4720975" y="849275"/>
                  <a:pt x="4711113" y="871735"/>
                  <a:pt x="4690236" y="871735"/>
                </a:cubicBezTo>
                <a:cubicBezTo>
                  <a:pt x="4675762" y="871735"/>
                  <a:pt x="4661161" y="857970"/>
                  <a:pt x="4641821" y="857970"/>
                </a:cubicBezTo>
                <a:cubicBezTo>
                  <a:pt x="4624147" y="857970"/>
                  <a:pt x="4617742" y="861281"/>
                  <a:pt x="4609544" y="864699"/>
                </a:cubicBezTo>
                <a:cubicBezTo>
                  <a:pt x="4614540" y="869976"/>
                  <a:pt x="4620944" y="876911"/>
                  <a:pt x="4625682" y="878567"/>
                </a:cubicBezTo>
                <a:cubicBezTo>
                  <a:pt x="4616078" y="888919"/>
                  <a:pt x="4617742" y="883639"/>
                  <a:pt x="4604806" y="883639"/>
                </a:cubicBezTo>
                <a:cubicBezTo>
                  <a:pt x="4570865" y="883639"/>
                  <a:pt x="4519247" y="868113"/>
                  <a:pt x="4500035" y="842444"/>
                </a:cubicBezTo>
                <a:cubicBezTo>
                  <a:pt x="4514508" y="832196"/>
                  <a:pt x="4525780" y="830333"/>
                  <a:pt x="4532184" y="814910"/>
                </a:cubicBezTo>
                <a:cubicBezTo>
                  <a:pt x="4506311" y="804766"/>
                  <a:pt x="4486971" y="785826"/>
                  <a:pt x="4467631" y="785826"/>
                </a:cubicBezTo>
                <a:cubicBezTo>
                  <a:pt x="4432024" y="785826"/>
                  <a:pt x="4441758" y="797935"/>
                  <a:pt x="4411147" y="785826"/>
                </a:cubicBezTo>
                <a:cubicBezTo>
                  <a:pt x="4414349" y="761914"/>
                  <a:pt x="4446753" y="751669"/>
                  <a:pt x="4459690" y="751669"/>
                </a:cubicBezTo>
                <a:lnTo>
                  <a:pt x="4500035" y="751669"/>
                </a:lnTo>
                <a:cubicBezTo>
                  <a:pt x="4516045" y="751669"/>
                  <a:pt x="4520913" y="749806"/>
                  <a:pt x="4528982" y="737903"/>
                </a:cubicBezTo>
                <a:lnTo>
                  <a:pt x="4620944" y="737903"/>
                </a:lnTo>
                <a:cubicBezTo>
                  <a:pt x="4637083" y="725894"/>
                  <a:pt x="4637083" y="719063"/>
                  <a:pt x="4641821" y="700122"/>
                </a:cubicBezTo>
                <a:lnTo>
                  <a:pt x="4577396" y="700122"/>
                </a:lnTo>
                <a:cubicBezTo>
                  <a:pt x="4574066" y="708608"/>
                  <a:pt x="4569327" y="717199"/>
                  <a:pt x="4561130" y="717199"/>
                </a:cubicBezTo>
                <a:lnTo>
                  <a:pt x="4504646" y="717199"/>
                </a:lnTo>
                <a:cubicBezTo>
                  <a:pt x="4498242" y="717199"/>
                  <a:pt x="4343392" y="670933"/>
                  <a:pt x="4343392" y="643399"/>
                </a:cubicBezTo>
                <a:cubicBezTo>
                  <a:pt x="4343392" y="590198"/>
                  <a:pt x="4400005" y="609242"/>
                  <a:pt x="4435355" y="597132"/>
                </a:cubicBezTo>
                <a:cubicBezTo>
                  <a:pt x="4464429" y="586884"/>
                  <a:pt x="4482232" y="567944"/>
                  <a:pt x="4512843" y="557592"/>
                </a:cubicBezTo>
                <a:cubicBezTo>
                  <a:pt x="4556390" y="542169"/>
                  <a:pt x="4614540" y="567944"/>
                  <a:pt x="4650019" y="545689"/>
                </a:cubicBezTo>
                <a:cubicBezTo>
                  <a:pt x="4675762" y="528506"/>
                  <a:pt x="4693566" y="497663"/>
                  <a:pt x="4693566" y="454811"/>
                </a:cubicBezTo>
                <a:cubicBezTo>
                  <a:pt x="4664363" y="451394"/>
                  <a:pt x="4572530" y="453051"/>
                  <a:pt x="4572530" y="420445"/>
                </a:cubicBezTo>
                <a:cubicBezTo>
                  <a:pt x="4572530" y="404919"/>
                  <a:pt x="4596737" y="396328"/>
                  <a:pt x="4604806" y="394673"/>
                </a:cubicBezTo>
                <a:cubicBezTo>
                  <a:pt x="4659624" y="375730"/>
                  <a:pt x="4732246" y="334535"/>
                  <a:pt x="4764523" y="300275"/>
                </a:cubicBezTo>
                <a:cubicBezTo>
                  <a:pt x="4777330" y="310624"/>
                  <a:pt x="4790266" y="314143"/>
                  <a:pt x="4806405" y="314143"/>
                </a:cubicBezTo>
                <a:cubicBezTo>
                  <a:pt x="4862888" y="314143"/>
                  <a:pt x="4819341" y="235065"/>
                  <a:pt x="4870958" y="228131"/>
                </a:cubicBezTo>
                <a:cubicBezTo>
                  <a:pt x="4935511" y="219642"/>
                  <a:pt x="4959590" y="202459"/>
                  <a:pt x="5020941" y="202459"/>
                </a:cubicBezTo>
                <a:cubicBezTo>
                  <a:pt x="5066153" y="190453"/>
                  <a:pt x="5098303" y="163127"/>
                  <a:pt x="5141849" y="163127"/>
                </a:cubicBezTo>
                <a:cubicBezTo>
                  <a:pt x="5170924" y="163127"/>
                  <a:pt x="5178993" y="214571"/>
                  <a:pt x="5209732" y="214571"/>
                </a:cubicBezTo>
                <a:cubicBezTo>
                  <a:pt x="5209732" y="202459"/>
                  <a:pt x="5201664" y="192316"/>
                  <a:pt x="5201664" y="180310"/>
                </a:cubicBezTo>
                <a:lnTo>
                  <a:pt x="5217673" y="163127"/>
                </a:lnTo>
                <a:cubicBezTo>
                  <a:pt x="5235477" y="195628"/>
                  <a:pt x="5262886" y="192316"/>
                  <a:pt x="5295291" y="205876"/>
                </a:cubicBezTo>
                <a:lnTo>
                  <a:pt x="5319498" y="205876"/>
                </a:lnTo>
                <a:cubicBezTo>
                  <a:pt x="5314502" y="192316"/>
                  <a:pt x="5306561" y="181965"/>
                  <a:pt x="5306561" y="168199"/>
                </a:cubicBezTo>
                <a:cubicBezTo>
                  <a:pt x="5306561" y="147601"/>
                  <a:pt x="5330641" y="145945"/>
                  <a:pt x="5346779" y="145945"/>
                </a:cubicBezTo>
                <a:cubicBezTo>
                  <a:pt x="5412869" y="145945"/>
                  <a:pt x="5451677" y="185382"/>
                  <a:pt x="5491894" y="205876"/>
                </a:cubicBezTo>
                <a:lnTo>
                  <a:pt x="5564517" y="205876"/>
                </a:lnTo>
                <a:cubicBezTo>
                  <a:pt x="5538772" y="192316"/>
                  <a:pt x="5472682" y="169856"/>
                  <a:pt x="5472682" y="137250"/>
                </a:cubicBezTo>
                <a:cubicBezTo>
                  <a:pt x="5472682" y="111684"/>
                  <a:pt x="5522635" y="120070"/>
                  <a:pt x="5537107" y="116652"/>
                </a:cubicBezTo>
                <a:cubicBezTo>
                  <a:pt x="5525964" y="104749"/>
                  <a:pt x="5513028" y="103093"/>
                  <a:pt x="5504831" y="90881"/>
                </a:cubicBezTo>
                <a:cubicBezTo>
                  <a:pt x="5548378" y="68626"/>
                  <a:pt x="5588724" y="56723"/>
                  <a:pt x="5642006" y="56723"/>
                </a:cubicBezTo>
                <a:cubicBezTo>
                  <a:pt x="5680686" y="56723"/>
                  <a:pt x="5706430" y="54860"/>
                  <a:pt x="5741908" y="68626"/>
                </a:cubicBezTo>
                <a:lnTo>
                  <a:pt x="5774314" y="68626"/>
                </a:lnTo>
                <a:lnTo>
                  <a:pt x="5774314" y="48132"/>
                </a:lnTo>
                <a:cubicBezTo>
                  <a:pt x="5798393" y="44611"/>
                  <a:pt x="5814531" y="48132"/>
                  <a:pt x="5838738" y="48132"/>
                </a:cubicBezTo>
                <a:cubicBezTo>
                  <a:pt x="5916227" y="48132"/>
                  <a:pt x="5979115" y="0"/>
                  <a:pt x="6061343" y="0"/>
                </a:cubicBezTo>
                <a:close/>
              </a:path>
            </a:pathLst>
          </a:custGeom>
          <a:solidFill>
            <a:schemeClr val="accent1"/>
          </a:solidFill>
          <a:ln w="12700">
            <a:miter lim="400000"/>
          </a:ln>
        </p:spPr>
        <p:txBody>
          <a:bodyPr wrap="square" lIns="38100" tIns="38100" rIns="38100" bIns="38100" anchor="ctr">
            <a:noAutofit/>
          </a:bodyPr>
          <a:lstStyle/>
          <a:p>
            <a:pPr>
              <a:defRPr sz="3000">
                <a:solidFill>
                  <a:srgbClr val="FFFFFF"/>
                </a:solidFill>
                <a:effectLst>
                  <a:outerShdw blurRad="38100" dist="12700" dir="5400000" rotWithShape="0">
                    <a:srgbClr val="000000">
                      <a:alpha val="50000"/>
                    </a:srgbClr>
                  </a:outerShdw>
                </a:effectLst>
              </a:defRPr>
            </a:pPr>
            <a:endParaRPr/>
          </a:p>
        </p:txBody>
      </p:sp>
    </p:spTree>
    <p:extLst>
      <p:ext uri="{BB962C8B-B14F-4D97-AF65-F5344CB8AC3E}">
        <p14:creationId xmlns:p14="http://schemas.microsoft.com/office/powerpoint/2010/main" val="25604916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obe</a:t>
            </a:r>
          </a:p>
        </p:txBody>
      </p:sp>
      <p:grpSp>
        <p:nvGrpSpPr>
          <p:cNvPr id="1417" name="Group 1416"/>
          <p:cNvGrpSpPr/>
          <p:nvPr/>
        </p:nvGrpSpPr>
        <p:grpSpPr>
          <a:xfrm>
            <a:off x="3973874" y="1726621"/>
            <a:ext cx="4429104" cy="4094163"/>
            <a:chOff x="3505200" y="1003300"/>
            <a:chExt cx="7137400" cy="6597650"/>
          </a:xfrm>
          <a:solidFill>
            <a:schemeClr val="bg1">
              <a:lumMod val="75000"/>
            </a:schemeClr>
          </a:solidFill>
        </p:grpSpPr>
        <p:sp>
          <p:nvSpPr>
            <p:cNvPr id="3" name="AutoShape 1"/>
            <p:cNvSpPr>
              <a:spLocks/>
            </p:cNvSpPr>
            <p:nvPr/>
          </p:nvSpPr>
          <p:spPr bwMode="auto">
            <a:xfrm>
              <a:off x="9232900" y="5994400"/>
              <a:ext cx="7938" cy="15875"/>
            </a:xfrm>
            <a:custGeom>
              <a:avLst/>
              <a:gdLst/>
              <a:ahLst/>
              <a:cxnLst/>
              <a:rect l="0" t="0" r="r" b="b"/>
              <a:pathLst>
                <a:path w="19301" h="20275">
                  <a:moveTo>
                    <a:pt x="12259" y="13753"/>
                  </a:moveTo>
                  <a:cubicBezTo>
                    <a:pt x="17589" y="9283"/>
                    <a:pt x="20871" y="3980"/>
                    <a:pt x="18538" y="2302"/>
                  </a:cubicBezTo>
                  <a:cubicBezTo>
                    <a:pt x="16810" y="435"/>
                    <a:pt x="12981" y="-474"/>
                    <a:pt x="10331" y="247"/>
                  </a:cubicBezTo>
                  <a:cubicBezTo>
                    <a:pt x="7652" y="859"/>
                    <a:pt x="5145" y="3164"/>
                    <a:pt x="5145" y="5299"/>
                  </a:cubicBezTo>
                  <a:cubicBezTo>
                    <a:pt x="4743" y="7400"/>
                    <a:pt x="3158" y="11102"/>
                    <a:pt x="1863" y="13674"/>
                  </a:cubicBezTo>
                  <a:cubicBezTo>
                    <a:pt x="79" y="16138"/>
                    <a:pt x="-729" y="19227"/>
                    <a:pt x="825" y="20043"/>
                  </a:cubicBezTo>
                  <a:cubicBezTo>
                    <a:pt x="1604" y="21126"/>
                    <a:pt x="7219" y="18318"/>
                    <a:pt x="12259" y="13753"/>
                  </a:cubicBezTo>
                  <a:close/>
                  <a:moveTo>
                    <a:pt x="12259" y="137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 name="AutoShape 2"/>
            <p:cNvSpPr>
              <a:spLocks/>
            </p:cNvSpPr>
            <p:nvPr/>
          </p:nvSpPr>
          <p:spPr bwMode="auto">
            <a:xfrm>
              <a:off x="9194800" y="5994400"/>
              <a:ext cx="4763" cy="3175"/>
            </a:xfrm>
            <a:custGeom>
              <a:avLst/>
              <a:gdLst/>
              <a:ahLst/>
              <a:cxnLst/>
              <a:rect l="0" t="0" r="r" b="b"/>
              <a:pathLst>
                <a:path w="20260" h="20766">
                  <a:moveTo>
                    <a:pt x="10087" y="132"/>
                  </a:moveTo>
                  <a:cubicBezTo>
                    <a:pt x="6789" y="1161"/>
                    <a:pt x="2847" y="3335"/>
                    <a:pt x="1117" y="5939"/>
                  </a:cubicBezTo>
                  <a:cubicBezTo>
                    <a:pt x="-293" y="8783"/>
                    <a:pt x="-532" y="13684"/>
                    <a:pt x="1359" y="16528"/>
                  </a:cubicBezTo>
                  <a:cubicBezTo>
                    <a:pt x="2927" y="19675"/>
                    <a:pt x="8636" y="20766"/>
                    <a:pt x="13946" y="20766"/>
                  </a:cubicBezTo>
                  <a:cubicBezTo>
                    <a:pt x="19255" y="19737"/>
                    <a:pt x="21068" y="15320"/>
                    <a:pt x="19939" y="9328"/>
                  </a:cubicBezTo>
                  <a:cubicBezTo>
                    <a:pt x="18293" y="3640"/>
                    <a:pt x="13423" y="-834"/>
                    <a:pt x="10087" y="132"/>
                  </a:cubicBezTo>
                  <a:close/>
                  <a:moveTo>
                    <a:pt x="10087" y="1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 name="AutoShape 3"/>
            <p:cNvSpPr>
              <a:spLocks/>
            </p:cNvSpPr>
            <p:nvPr/>
          </p:nvSpPr>
          <p:spPr bwMode="auto">
            <a:xfrm>
              <a:off x="9220200" y="5981700"/>
              <a:ext cx="7938" cy="7938"/>
            </a:xfrm>
            <a:custGeom>
              <a:avLst/>
              <a:gdLst/>
              <a:ahLst/>
              <a:cxnLst/>
              <a:rect l="0" t="0" r="r" b="b"/>
              <a:pathLst>
                <a:path w="19771" h="19360">
                  <a:moveTo>
                    <a:pt x="1457" y="12242"/>
                  </a:moveTo>
                  <a:cubicBezTo>
                    <a:pt x="3916" y="13064"/>
                    <a:pt x="7700" y="15610"/>
                    <a:pt x="9746" y="17887"/>
                  </a:cubicBezTo>
                  <a:cubicBezTo>
                    <a:pt x="11762" y="20221"/>
                    <a:pt x="15326" y="19637"/>
                    <a:pt x="17563" y="17146"/>
                  </a:cubicBezTo>
                  <a:cubicBezTo>
                    <a:pt x="19221" y="14337"/>
                    <a:pt x="20545" y="8983"/>
                    <a:pt x="19247" y="4849"/>
                  </a:cubicBezTo>
                  <a:cubicBezTo>
                    <a:pt x="18116" y="556"/>
                    <a:pt x="14939" y="-1379"/>
                    <a:pt x="13225" y="1085"/>
                  </a:cubicBezTo>
                  <a:cubicBezTo>
                    <a:pt x="10713" y="2993"/>
                    <a:pt x="6680" y="6624"/>
                    <a:pt x="3225" y="7870"/>
                  </a:cubicBezTo>
                  <a:cubicBezTo>
                    <a:pt x="-226" y="9115"/>
                    <a:pt x="-1055" y="11579"/>
                    <a:pt x="1457" y="12242"/>
                  </a:cubicBezTo>
                  <a:close/>
                  <a:moveTo>
                    <a:pt x="1457" y="122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 name="AutoShape 4"/>
            <p:cNvSpPr>
              <a:spLocks/>
            </p:cNvSpPr>
            <p:nvPr/>
          </p:nvSpPr>
          <p:spPr bwMode="auto">
            <a:xfrm>
              <a:off x="9182100" y="5956300"/>
              <a:ext cx="11113" cy="23813"/>
            </a:xfrm>
            <a:custGeom>
              <a:avLst/>
              <a:gdLst/>
              <a:ahLst/>
              <a:cxnLst/>
              <a:rect l="0" t="0" r="r" b="b"/>
              <a:pathLst>
                <a:path w="20391" h="21198">
                  <a:moveTo>
                    <a:pt x="323" y="16989"/>
                  </a:moveTo>
                  <a:cubicBezTo>
                    <a:pt x="-11" y="19068"/>
                    <a:pt x="950" y="21127"/>
                    <a:pt x="2512" y="21127"/>
                  </a:cubicBezTo>
                  <a:cubicBezTo>
                    <a:pt x="4010" y="21307"/>
                    <a:pt x="6534" y="21127"/>
                    <a:pt x="8230" y="20808"/>
                  </a:cubicBezTo>
                  <a:cubicBezTo>
                    <a:pt x="9927" y="20406"/>
                    <a:pt x="12429" y="19058"/>
                    <a:pt x="14328" y="17986"/>
                  </a:cubicBezTo>
                  <a:cubicBezTo>
                    <a:pt x="16248" y="16926"/>
                    <a:pt x="17166" y="14496"/>
                    <a:pt x="16473" y="12872"/>
                  </a:cubicBezTo>
                  <a:cubicBezTo>
                    <a:pt x="16473" y="11187"/>
                    <a:pt x="16986" y="8979"/>
                    <a:pt x="18573" y="7929"/>
                  </a:cubicBezTo>
                  <a:cubicBezTo>
                    <a:pt x="20157" y="6879"/>
                    <a:pt x="21052" y="4598"/>
                    <a:pt x="19801" y="2975"/>
                  </a:cubicBezTo>
                  <a:cubicBezTo>
                    <a:pt x="19153" y="1267"/>
                    <a:pt x="16540" y="-293"/>
                    <a:pt x="14820" y="47"/>
                  </a:cubicBezTo>
                  <a:cubicBezTo>
                    <a:pt x="13033" y="217"/>
                    <a:pt x="9102" y="2307"/>
                    <a:pt x="5439" y="4682"/>
                  </a:cubicBezTo>
                  <a:cubicBezTo>
                    <a:pt x="2000" y="7133"/>
                    <a:pt x="-548" y="10136"/>
                    <a:pt x="101" y="11207"/>
                  </a:cubicBezTo>
                  <a:cubicBezTo>
                    <a:pt x="436" y="12331"/>
                    <a:pt x="993" y="14931"/>
                    <a:pt x="323" y="16989"/>
                  </a:cubicBezTo>
                  <a:close/>
                  <a:moveTo>
                    <a:pt x="323" y="169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 name="AutoShape 5"/>
            <p:cNvSpPr>
              <a:spLocks/>
            </p:cNvSpPr>
            <p:nvPr/>
          </p:nvSpPr>
          <p:spPr bwMode="auto">
            <a:xfrm>
              <a:off x="9309100" y="5854700"/>
              <a:ext cx="9525" cy="4763"/>
            </a:xfrm>
            <a:custGeom>
              <a:avLst/>
              <a:gdLst/>
              <a:ahLst/>
              <a:cxnLst/>
              <a:rect l="0" t="0" r="r" b="b"/>
              <a:pathLst>
                <a:path w="20361" h="20267">
                  <a:moveTo>
                    <a:pt x="10856" y="17645"/>
                  </a:moveTo>
                  <a:cubicBezTo>
                    <a:pt x="14700" y="15036"/>
                    <a:pt x="18367" y="10443"/>
                    <a:pt x="19708" y="8252"/>
                  </a:cubicBezTo>
                  <a:cubicBezTo>
                    <a:pt x="20846" y="5727"/>
                    <a:pt x="20441" y="3120"/>
                    <a:pt x="18924" y="3120"/>
                  </a:cubicBezTo>
                  <a:cubicBezTo>
                    <a:pt x="17455" y="2333"/>
                    <a:pt x="14117" y="889"/>
                    <a:pt x="11436" y="265"/>
                  </a:cubicBezTo>
                  <a:cubicBezTo>
                    <a:pt x="8831" y="-976"/>
                    <a:pt x="4761" y="2253"/>
                    <a:pt x="2256" y="7672"/>
                  </a:cubicBezTo>
                  <a:cubicBezTo>
                    <a:pt x="-44" y="13340"/>
                    <a:pt x="-754" y="18307"/>
                    <a:pt x="917" y="19921"/>
                  </a:cubicBezTo>
                  <a:cubicBezTo>
                    <a:pt x="2738" y="20539"/>
                    <a:pt x="7189" y="20624"/>
                    <a:pt x="10856" y="17645"/>
                  </a:cubicBezTo>
                  <a:close/>
                  <a:moveTo>
                    <a:pt x="10856" y="176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 name="AutoShape 6"/>
            <p:cNvSpPr>
              <a:spLocks/>
            </p:cNvSpPr>
            <p:nvPr/>
          </p:nvSpPr>
          <p:spPr bwMode="auto">
            <a:xfrm>
              <a:off x="9626600" y="5613400"/>
              <a:ext cx="6350" cy="7938"/>
            </a:xfrm>
            <a:custGeom>
              <a:avLst/>
              <a:gdLst/>
              <a:ahLst/>
              <a:cxnLst/>
              <a:rect l="0" t="0" r="r" b="b"/>
              <a:pathLst>
                <a:path w="20406" h="19696">
                  <a:moveTo>
                    <a:pt x="13201" y="370"/>
                  </a:moveTo>
                  <a:cubicBezTo>
                    <a:pt x="9986" y="-908"/>
                    <a:pt x="5226" y="1222"/>
                    <a:pt x="2368" y="5267"/>
                  </a:cubicBezTo>
                  <a:cubicBezTo>
                    <a:pt x="72" y="9497"/>
                    <a:pt x="-781" y="14727"/>
                    <a:pt x="830" y="17680"/>
                  </a:cubicBezTo>
                  <a:cubicBezTo>
                    <a:pt x="3353" y="20050"/>
                    <a:pt x="8378" y="20692"/>
                    <a:pt x="13105" y="17618"/>
                  </a:cubicBezTo>
                  <a:cubicBezTo>
                    <a:pt x="17865" y="14668"/>
                    <a:pt x="20819" y="10347"/>
                    <a:pt x="20359" y="7640"/>
                  </a:cubicBezTo>
                  <a:cubicBezTo>
                    <a:pt x="19243" y="5116"/>
                    <a:pt x="16123" y="1983"/>
                    <a:pt x="13201" y="370"/>
                  </a:cubicBezTo>
                  <a:close/>
                  <a:moveTo>
                    <a:pt x="13201" y="3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 name="AutoShape 7"/>
            <p:cNvSpPr>
              <a:spLocks/>
            </p:cNvSpPr>
            <p:nvPr/>
          </p:nvSpPr>
          <p:spPr bwMode="auto">
            <a:xfrm>
              <a:off x="9309100" y="5867400"/>
              <a:ext cx="0" cy="1588"/>
            </a:xfrm>
            <a:custGeom>
              <a:avLst/>
              <a:gdLst/>
              <a:ahLst/>
              <a:cxnLst/>
              <a:rect l="0" t="0" r="r" b="b"/>
              <a:pathLst>
                <a:path w="18924" h="18203">
                  <a:moveTo>
                    <a:pt x="0" y="14242"/>
                  </a:moveTo>
                  <a:cubicBezTo>
                    <a:pt x="2642" y="20388"/>
                    <a:pt x="7449" y="19303"/>
                    <a:pt x="14131" y="11531"/>
                  </a:cubicBezTo>
                  <a:cubicBezTo>
                    <a:pt x="21600" y="4292"/>
                    <a:pt x="19891" y="-1212"/>
                    <a:pt x="12111" y="231"/>
                  </a:cubicBezTo>
                  <a:cubicBezTo>
                    <a:pt x="3885" y="231"/>
                    <a:pt x="0" y="7913"/>
                    <a:pt x="0" y="14242"/>
                  </a:cubicBezTo>
                  <a:close/>
                  <a:moveTo>
                    <a:pt x="0" y="142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 name="AutoShape 8"/>
            <p:cNvSpPr>
              <a:spLocks/>
            </p:cNvSpPr>
            <p:nvPr/>
          </p:nvSpPr>
          <p:spPr bwMode="auto">
            <a:xfrm>
              <a:off x="10439400" y="4965700"/>
              <a:ext cx="1588" cy="4763"/>
            </a:xfrm>
            <a:custGeom>
              <a:avLst/>
              <a:gdLst/>
              <a:ahLst/>
              <a:cxnLst/>
              <a:rect l="0" t="0" r="r" b="b"/>
              <a:pathLst>
                <a:path w="18672" h="19806">
                  <a:moveTo>
                    <a:pt x="12803" y="10999"/>
                  </a:moveTo>
                  <a:cubicBezTo>
                    <a:pt x="18065" y="4687"/>
                    <a:pt x="20172" y="-464"/>
                    <a:pt x="17538" y="33"/>
                  </a:cubicBezTo>
                  <a:cubicBezTo>
                    <a:pt x="14594" y="33"/>
                    <a:pt x="9952" y="4227"/>
                    <a:pt x="5421" y="8468"/>
                  </a:cubicBezTo>
                  <a:cubicBezTo>
                    <a:pt x="2161" y="12828"/>
                    <a:pt x="-1428" y="17814"/>
                    <a:pt x="581" y="19391"/>
                  </a:cubicBezTo>
                  <a:cubicBezTo>
                    <a:pt x="581" y="21136"/>
                    <a:pt x="6481" y="17189"/>
                    <a:pt x="12803" y="10999"/>
                  </a:cubicBezTo>
                  <a:close/>
                  <a:moveTo>
                    <a:pt x="12803" y="109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 name="AutoShape 9"/>
            <p:cNvSpPr>
              <a:spLocks/>
            </p:cNvSpPr>
            <p:nvPr/>
          </p:nvSpPr>
          <p:spPr bwMode="auto">
            <a:xfrm>
              <a:off x="10426700" y="4800600"/>
              <a:ext cx="4763" cy="31750"/>
            </a:xfrm>
            <a:custGeom>
              <a:avLst/>
              <a:gdLst/>
              <a:ahLst/>
              <a:cxnLst/>
              <a:rect l="0" t="0" r="r" b="b"/>
              <a:pathLst>
                <a:path w="20617" h="20891">
                  <a:moveTo>
                    <a:pt x="5552" y="18526"/>
                  </a:moveTo>
                  <a:cubicBezTo>
                    <a:pt x="8467" y="16611"/>
                    <a:pt x="10730" y="14120"/>
                    <a:pt x="10730" y="13031"/>
                  </a:cubicBezTo>
                  <a:cubicBezTo>
                    <a:pt x="10730" y="11949"/>
                    <a:pt x="10918" y="10451"/>
                    <a:pt x="10256" y="9731"/>
                  </a:cubicBezTo>
                  <a:cubicBezTo>
                    <a:pt x="10256" y="8984"/>
                    <a:pt x="10400" y="7334"/>
                    <a:pt x="11718" y="6035"/>
                  </a:cubicBezTo>
                  <a:cubicBezTo>
                    <a:pt x="13177" y="4735"/>
                    <a:pt x="15668" y="3166"/>
                    <a:pt x="17130" y="2505"/>
                  </a:cubicBezTo>
                  <a:cubicBezTo>
                    <a:pt x="18589" y="1847"/>
                    <a:pt x="20516" y="894"/>
                    <a:pt x="20516" y="326"/>
                  </a:cubicBezTo>
                  <a:cubicBezTo>
                    <a:pt x="21178" y="-203"/>
                    <a:pt x="18492" y="-56"/>
                    <a:pt x="14589" y="536"/>
                  </a:cubicBezTo>
                  <a:cubicBezTo>
                    <a:pt x="11433" y="1263"/>
                    <a:pt x="8329" y="3159"/>
                    <a:pt x="6820" y="4851"/>
                  </a:cubicBezTo>
                  <a:cubicBezTo>
                    <a:pt x="6167" y="6541"/>
                    <a:pt x="4140" y="8560"/>
                    <a:pt x="3481" y="9377"/>
                  </a:cubicBezTo>
                  <a:cubicBezTo>
                    <a:pt x="2117" y="10152"/>
                    <a:pt x="1928" y="11875"/>
                    <a:pt x="2631" y="13186"/>
                  </a:cubicBezTo>
                  <a:cubicBezTo>
                    <a:pt x="3996" y="14479"/>
                    <a:pt x="3105" y="16385"/>
                    <a:pt x="1784" y="17389"/>
                  </a:cubicBezTo>
                  <a:cubicBezTo>
                    <a:pt x="375" y="18377"/>
                    <a:pt x="-422" y="19841"/>
                    <a:pt x="231" y="20619"/>
                  </a:cubicBezTo>
                  <a:cubicBezTo>
                    <a:pt x="940" y="21397"/>
                    <a:pt x="2775" y="20448"/>
                    <a:pt x="5552" y="18526"/>
                  </a:cubicBezTo>
                  <a:close/>
                  <a:moveTo>
                    <a:pt x="5552" y="185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 name="AutoShape 10"/>
            <p:cNvSpPr>
              <a:spLocks/>
            </p:cNvSpPr>
            <p:nvPr/>
          </p:nvSpPr>
          <p:spPr bwMode="auto">
            <a:xfrm>
              <a:off x="10439400" y="4940300"/>
              <a:ext cx="1588" cy="7938"/>
            </a:xfrm>
            <a:custGeom>
              <a:avLst/>
              <a:gdLst/>
              <a:ahLst/>
              <a:cxnLst/>
              <a:rect l="0" t="0" r="r" b="b"/>
              <a:pathLst>
                <a:path w="21600" h="19774">
                  <a:moveTo>
                    <a:pt x="6868" y="4803"/>
                  </a:moveTo>
                  <a:cubicBezTo>
                    <a:pt x="2010" y="8639"/>
                    <a:pt x="0" y="14090"/>
                    <a:pt x="0" y="17001"/>
                  </a:cubicBezTo>
                  <a:cubicBezTo>
                    <a:pt x="4691" y="19887"/>
                    <a:pt x="6198" y="20666"/>
                    <a:pt x="10879" y="18646"/>
                  </a:cubicBezTo>
                  <a:cubicBezTo>
                    <a:pt x="15580" y="16626"/>
                    <a:pt x="21600" y="12274"/>
                    <a:pt x="21600" y="8928"/>
                  </a:cubicBezTo>
                  <a:cubicBezTo>
                    <a:pt x="21600" y="5642"/>
                    <a:pt x="20773" y="1862"/>
                    <a:pt x="20773" y="451"/>
                  </a:cubicBezTo>
                  <a:cubicBezTo>
                    <a:pt x="18082" y="-934"/>
                    <a:pt x="11894" y="970"/>
                    <a:pt x="6868" y="4803"/>
                  </a:cubicBezTo>
                  <a:close/>
                  <a:moveTo>
                    <a:pt x="6868" y="48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 name="AutoShape 11"/>
            <p:cNvSpPr>
              <a:spLocks/>
            </p:cNvSpPr>
            <p:nvPr/>
          </p:nvSpPr>
          <p:spPr bwMode="auto">
            <a:xfrm>
              <a:off x="10439400" y="4762500"/>
              <a:ext cx="4763" cy="42863"/>
            </a:xfrm>
            <a:custGeom>
              <a:avLst/>
              <a:gdLst/>
              <a:ahLst/>
              <a:cxnLst/>
              <a:rect l="0" t="0" r="r" b="b"/>
              <a:pathLst>
                <a:path w="20777" h="21055">
                  <a:moveTo>
                    <a:pt x="7100" y="20018"/>
                  </a:moveTo>
                  <a:cubicBezTo>
                    <a:pt x="9697" y="19151"/>
                    <a:pt x="12724" y="17403"/>
                    <a:pt x="13376" y="16112"/>
                  </a:cubicBezTo>
                  <a:cubicBezTo>
                    <a:pt x="13979" y="14828"/>
                    <a:pt x="13289" y="13500"/>
                    <a:pt x="12118" y="13146"/>
                  </a:cubicBezTo>
                  <a:cubicBezTo>
                    <a:pt x="10820" y="12779"/>
                    <a:pt x="11125" y="11597"/>
                    <a:pt x="13679" y="10540"/>
                  </a:cubicBezTo>
                  <a:cubicBezTo>
                    <a:pt x="15624" y="9479"/>
                    <a:pt x="18483" y="7816"/>
                    <a:pt x="18483" y="6856"/>
                  </a:cubicBezTo>
                  <a:cubicBezTo>
                    <a:pt x="19130" y="5904"/>
                    <a:pt x="19046" y="4853"/>
                    <a:pt x="18437" y="4543"/>
                  </a:cubicBezTo>
                  <a:cubicBezTo>
                    <a:pt x="18437" y="4223"/>
                    <a:pt x="18048" y="3332"/>
                    <a:pt x="19346" y="2562"/>
                  </a:cubicBezTo>
                  <a:cubicBezTo>
                    <a:pt x="19955" y="1771"/>
                    <a:pt x="20777" y="714"/>
                    <a:pt x="20777" y="208"/>
                  </a:cubicBezTo>
                  <a:cubicBezTo>
                    <a:pt x="20128" y="-301"/>
                    <a:pt x="18310" y="156"/>
                    <a:pt x="15667" y="1223"/>
                  </a:cubicBezTo>
                  <a:cubicBezTo>
                    <a:pt x="13116" y="2311"/>
                    <a:pt x="11036" y="4434"/>
                    <a:pt x="10390" y="5937"/>
                  </a:cubicBezTo>
                  <a:cubicBezTo>
                    <a:pt x="10390" y="7453"/>
                    <a:pt x="8875" y="9131"/>
                    <a:pt x="8266" y="9692"/>
                  </a:cubicBezTo>
                  <a:cubicBezTo>
                    <a:pt x="7620" y="10231"/>
                    <a:pt x="6840" y="11182"/>
                    <a:pt x="6840" y="11798"/>
                  </a:cubicBezTo>
                  <a:cubicBezTo>
                    <a:pt x="6191" y="12403"/>
                    <a:pt x="4933" y="14558"/>
                    <a:pt x="2945" y="16590"/>
                  </a:cubicBezTo>
                  <a:cubicBezTo>
                    <a:pt x="998" y="18612"/>
                    <a:pt x="-823" y="20578"/>
                    <a:pt x="392" y="20917"/>
                  </a:cubicBezTo>
                  <a:cubicBezTo>
                    <a:pt x="998" y="21299"/>
                    <a:pt x="3808" y="20848"/>
                    <a:pt x="7100" y="20018"/>
                  </a:cubicBezTo>
                  <a:close/>
                  <a:moveTo>
                    <a:pt x="7100" y="200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 name="AutoShape 12"/>
            <p:cNvSpPr>
              <a:spLocks/>
            </p:cNvSpPr>
            <p:nvPr/>
          </p:nvSpPr>
          <p:spPr bwMode="auto">
            <a:xfrm>
              <a:off x="10426700" y="4914900"/>
              <a:ext cx="0" cy="1588"/>
            </a:xfrm>
            <a:custGeom>
              <a:avLst/>
              <a:gdLst/>
              <a:ahLst/>
              <a:cxnLst/>
              <a:rect l="0" t="0" r="r" b="b"/>
              <a:pathLst>
                <a:path w="16234" h="16925">
                  <a:moveTo>
                    <a:pt x="8302" y="2485"/>
                  </a:moveTo>
                  <a:cubicBezTo>
                    <a:pt x="880" y="6512"/>
                    <a:pt x="-2502" y="13211"/>
                    <a:pt x="2086" y="15797"/>
                  </a:cubicBezTo>
                  <a:cubicBezTo>
                    <a:pt x="5730" y="18913"/>
                    <a:pt x="11001" y="15338"/>
                    <a:pt x="14771" y="7962"/>
                  </a:cubicBezTo>
                  <a:cubicBezTo>
                    <a:pt x="19098" y="734"/>
                    <a:pt x="12890" y="-2687"/>
                    <a:pt x="8302" y="2485"/>
                  </a:cubicBezTo>
                  <a:close/>
                  <a:moveTo>
                    <a:pt x="8302" y="24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 name="AutoShape 13"/>
            <p:cNvSpPr>
              <a:spLocks/>
            </p:cNvSpPr>
            <p:nvPr/>
          </p:nvSpPr>
          <p:spPr bwMode="auto">
            <a:xfrm>
              <a:off x="10426700" y="4838700"/>
              <a:ext cx="1588" cy="1588"/>
            </a:xfrm>
            <a:custGeom>
              <a:avLst/>
              <a:gdLst/>
              <a:ahLst/>
              <a:cxnLst/>
              <a:rect l="0" t="0" r="r" b="b"/>
              <a:pathLst>
                <a:path w="17038" h="17756">
                  <a:moveTo>
                    <a:pt x="15843" y="7148"/>
                  </a:moveTo>
                  <a:cubicBezTo>
                    <a:pt x="15843" y="-795"/>
                    <a:pt x="10288" y="-1830"/>
                    <a:pt x="2862" y="2620"/>
                  </a:cubicBezTo>
                  <a:cubicBezTo>
                    <a:pt x="-1112" y="8573"/>
                    <a:pt x="-1642" y="14767"/>
                    <a:pt x="5784" y="16996"/>
                  </a:cubicBezTo>
                  <a:cubicBezTo>
                    <a:pt x="12672" y="19770"/>
                    <a:pt x="19958" y="14613"/>
                    <a:pt x="15843" y="7148"/>
                  </a:cubicBezTo>
                  <a:close/>
                  <a:moveTo>
                    <a:pt x="15843" y="71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 name="AutoShape 14"/>
            <p:cNvSpPr>
              <a:spLocks/>
            </p:cNvSpPr>
            <p:nvPr/>
          </p:nvSpPr>
          <p:spPr bwMode="auto">
            <a:xfrm>
              <a:off x="10426700" y="4978400"/>
              <a:ext cx="1588" cy="15875"/>
            </a:xfrm>
            <a:custGeom>
              <a:avLst/>
              <a:gdLst/>
              <a:ahLst/>
              <a:cxnLst/>
              <a:rect l="0" t="0" r="r" b="b"/>
              <a:pathLst>
                <a:path w="19531" h="19983">
                  <a:moveTo>
                    <a:pt x="8717" y="1763"/>
                  </a:moveTo>
                  <a:cubicBezTo>
                    <a:pt x="6496" y="3553"/>
                    <a:pt x="1437" y="6671"/>
                    <a:pt x="370" y="8865"/>
                  </a:cubicBezTo>
                  <a:cubicBezTo>
                    <a:pt x="-932" y="11013"/>
                    <a:pt x="1437" y="13266"/>
                    <a:pt x="3892" y="13981"/>
                  </a:cubicBezTo>
                  <a:cubicBezTo>
                    <a:pt x="3892" y="13981"/>
                    <a:pt x="4280" y="13981"/>
                    <a:pt x="4280" y="14668"/>
                  </a:cubicBezTo>
                  <a:cubicBezTo>
                    <a:pt x="4280" y="15354"/>
                    <a:pt x="4582" y="15339"/>
                    <a:pt x="4582" y="15339"/>
                  </a:cubicBezTo>
                  <a:cubicBezTo>
                    <a:pt x="5726" y="19232"/>
                    <a:pt x="8329" y="21052"/>
                    <a:pt x="10550" y="19336"/>
                  </a:cubicBezTo>
                  <a:cubicBezTo>
                    <a:pt x="12776" y="17621"/>
                    <a:pt x="15992" y="14832"/>
                    <a:pt x="15992" y="13086"/>
                  </a:cubicBezTo>
                  <a:cubicBezTo>
                    <a:pt x="16987" y="11326"/>
                    <a:pt x="17136" y="8193"/>
                    <a:pt x="18289" y="6089"/>
                  </a:cubicBezTo>
                  <a:cubicBezTo>
                    <a:pt x="20668" y="4061"/>
                    <a:pt x="19127" y="1510"/>
                    <a:pt x="17825" y="480"/>
                  </a:cubicBezTo>
                  <a:cubicBezTo>
                    <a:pt x="16753" y="-548"/>
                    <a:pt x="13465" y="167"/>
                    <a:pt x="8717" y="1763"/>
                  </a:cubicBezTo>
                  <a:close/>
                  <a:moveTo>
                    <a:pt x="8717" y="17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 name="AutoShape 15"/>
            <p:cNvSpPr>
              <a:spLocks/>
            </p:cNvSpPr>
            <p:nvPr/>
          </p:nvSpPr>
          <p:spPr bwMode="auto">
            <a:xfrm>
              <a:off x="10426700" y="4851400"/>
              <a:ext cx="3175" cy="14288"/>
            </a:xfrm>
            <a:custGeom>
              <a:avLst/>
              <a:gdLst/>
              <a:ahLst/>
              <a:cxnLst/>
              <a:rect l="0" t="0" r="r" b="b"/>
              <a:pathLst>
                <a:path w="21600" h="20452">
                  <a:moveTo>
                    <a:pt x="0" y="17060"/>
                  </a:moveTo>
                  <a:cubicBezTo>
                    <a:pt x="0" y="19171"/>
                    <a:pt x="1666" y="20795"/>
                    <a:pt x="4993" y="20389"/>
                  </a:cubicBezTo>
                  <a:cubicBezTo>
                    <a:pt x="8450" y="20098"/>
                    <a:pt x="14469" y="17223"/>
                    <a:pt x="16546" y="13926"/>
                  </a:cubicBezTo>
                  <a:cubicBezTo>
                    <a:pt x="20639" y="10727"/>
                    <a:pt x="21600" y="5707"/>
                    <a:pt x="21600" y="2947"/>
                  </a:cubicBezTo>
                  <a:cubicBezTo>
                    <a:pt x="20566" y="186"/>
                    <a:pt x="18069" y="-805"/>
                    <a:pt x="13855" y="705"/>
                  </a:cubicBezTo>
                  <a:cubicBezTo>
                    <a:pt x="9485" y="2217"/>
                    <a:pt x="4777" y="5691"/>
                    <a:pt x="3808" y="8372"/>
                  </a:cubicBezTo>
                  <a:cubicBezTo>
                    <a:pt x="1800" y="11003"/>
                    <a:pt x="2012" y="14998"/>
                    <a:pt x="0" y="17060"/>
                  </a:cubicBezTo>
                  <a:close/>
                  <a:moveTo>
                    <a:pt x="0" y="170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 name="AutoShape 16"/>
            <p:cNvSpPr>
              <a:spLocks/>
            </p:cNvSpPr>
            <p:nvPr/>
          </p:nvSpPr>
          <p:spPr bwMode="auto">
            <a:xfrm>
              <a:off x="10426700" y="4940300"/>
              <a:ext cx="0" cy="6350"/>
            </a:xfrm>
            <a:custGeom>
              <a:avLst/>
              <a:gdLst/>
              <a:ahLst/>
              <a:cxnLst/>
              <a:rect l="0" t="0" r="r" b="b"/>
              <a:pathLst>
                <a:path w="21600" h="19306">
                  <a:moveTo>
                    <a:pt x="21600" y="12527"/>
                  </a:moveTo>
                  <a:cubicBezTo>
                    <a:pt x="21600" y="6304"/>
                    <a:pt x="17174" y="630"/>
                    <a:pt x="10613" y="82"/>
                  </a:cubicBezTo>
                  <a:cubicBezTo>
                    <a:pt x="4052" y="-466"/>
                    <a:pt x="0" y="1792"/>
                    <a:pt x="0" y="5337"/>
                  </a:cubicBezTo>
                  <a:cubicBezTo>
                    <a:pt x="0" y="8850"/>
                    <a:pt x="5198" y="14462"/>
                    <a:pt x="10999" y="17812"/>
                  </a:cubicBezTo>
                  <a:cubicBezTo>
                    <a:pt x="16583" y="21134"/>
                    <a:pt x="21600" y="18717"/>
                    <a:pt x="21600" y="12527"/>
                  </a:cubicBezTo>
                  <a:close/>
                  <a:moveTo>
                    <a:pt x="21600" y="125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 name="AutoShape 17"/>
            <p:cNvSpPr>
              <a:spLocks/>
            </p:cNvSpPr>
            <p:nvPr/>
          </p:nvSpPr>
          <p:spPr bwMode="auto">
            <a:xfrm>
              <a:off x="10426700" y="4953000"/>
              <a:ext cx="1588" cy="6350"/>
            </a:xfrm>
            <a:custGeom>
              <a:avLst/>
              <a:gdLst/>
              <a:ahLst/>
              <a:cxnLst/>
              <a:rect l="0" t="0" r="r" b="b"/>
              <a:pathLst>
                <a:path w="19741" h="19861">
                  <a:moveTo>
                    <a:pt x="18559" y="6509"/>
                  </a:moveTo>
                  <a:cubicBezTo>
                    <a:pt x="18559" y="1696"/>
                    <a:pt x="12571" y="-1108"/>
                    <a:pt x="8117" y="416"/>
                  </a:cubicBezTo>
                  <a:cubicBezTo>
                    <a:pt x="3250" y="1660"/>
                    <a:pt x="0" y="5676"/>
                    <a:pt x="0" y="9033"/>
                  </a:cubicBezTo>
                  <a:cubicBezTo>
                    <a:pt x="0" y="12459"/>
                    <a:pt x="2541" y="16717"/>
                    <a:pt x="5272" y="18588"/>
                  </a:cubicBezTo>
                  <a:cubicBezTo>
                    <a:pt x="8015" y="20492"/>
                    <a:pt x="10752" y="20077"/>
                    <a:pt x="15207" y="18553"/>
                  </a:cubicBezTo>
                  <a:cubicBezTo>
                    <a:pt x="18153" y="16614"/>
                    <a:pt x="21600" y="11145"/>
                    <a:pt x="18559" y="6509"/>
                  </a:cubicBezTo>
                  <a:close/>
                  <a:moveTo>
                    <a:pt x="18559" y="65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 name="AutoShape 18"/>
            <p:cNvSpPr>
              <a:spLocks/>
            </p:cNvSpPr>
            <p:nvPr/>
          </p:nvSpPr>
          <p:spPr bwMode="auto">
            <a:xfrm>
              <a:off x="8813800" y="1435100"/>
              <a:ext cx="20638" cy="9525"/>
            </a:xfrm>
            <a:custGeom>
              <a:avLst/>
              <a:gdLst/>
              <a:ahLst/>
              <a:cxnLst/>
              <a:rect l="0" t="0" r="r" b="b"/>
              <a:pathLst>
                <a:path w="21411" h="20776">
                  <a:moveTo>
                    <a:pt x="4935" y="7580"/>
                  </a:moveTo>
                  <a:cubicBezTo>
                    <a:pt x="6396" y="9373"/>
                    <a:pt x="9005" y="11613"/>
                    <a:pt x="10355" y="13716"/>
                  </a:cubicBezTo>
                  <a:cubicBezTo>
                    <a:pt x="11765" y="15583"/>
                    <a:pt x="13497" y="17835"/>
                    <a:pt x="14264" y="18218"/>
                  </a:cubicBezTo>
                  <a:cubicBezTo>
                    <a:pt x="14981" y="19021"/>
                    <a:pt x="16972" y="19986"/>
                    <a:pt x="18631" y="20320"/>
                  </a:cubicBezTo>
                  <a:cubicBezTo>
                    <a:pt x="20238" y="21212"/>
                    <a:pt x="21600" y="20629"/>
                    <a:pt x="21390" y="19986"/>
                  </a:cubicBezTo>
                  <a:cubicBezTo>
                    <a:pt x="21390" y="19170"/>
                    <a:pt x="20412" y="17686"/>
                    <a:pt x="19472" y="16746"/>
                  </a:cubicBezTo>
                  <a:cubicBezTo>
                    <a:pt x="18581" y="15633"/>
                    <a:pt x="16355" y="14445"/>
                    <a:pt x="14734" y="13098"/>
                  </a:cubicBezTo>
                  <a:cubicBezTo>
                    <a:pt x="13014" y="12489"/>
                    <a:pt x="10614" y="10052"/>
                    <a:pt x="9278" y="8816"/>
                  </a:cubicBezTo>
                  <a:cubicBezTo>
                    <a:pt x="7991" y="7344"/>
                    <a:pt x="6000" y="5105"/>
                    <a:pt x="4873" y="3820"/>
                  </a:cubicBezTo>
                  <a:cubicBezTo>
                    <a:pt x="3786" y="2371"/>
                    <a:pt x="2202" y="752"/>
                    <a:pt x="1386" y="430"/>
                  </a:cubicBezTo>
                  <a:cubicBezTo>
                    <a:pt x="668" y="-388"/>
                    <a:pt x="0" y="96"/>
                    <a:pt x="0" y="762"/>
                  </a:cubicBezTo>
                  <a:cubicBezTo>
                    <a:pt x="148" y="1345"/>
                    <a:pt x="605" y="2409"/>
                    <a:pt x="1052" y="3410"/>
                  </a:cubicBezTo>
                  <a:cubicBezTo>
                    <a:pt x="1584" y="4301"/>
                    <a:pt x="3266" y="6430"/>
                    <a:pt x="4935" y="7580"/>
                  </a:cubicBezTo>
                  <a:close/>
                  <a:moveTo>
                    <a:pt x="4935" y="75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 name="AutoShape 19"/>
            <p:cNvSpPr>
              <a:spLocks/>
            </p:cNvSpPr>
            <p:nvPr/>
          </p:nvSpPr>
          <p:spPr bwMode="auto">
            <a:xfrm>
              <a:off x="8724900" y="1574800"/>
              <a:ext cx="11113" cy="4763"/>
            </a:xfrm>
            <a:custGeom>
              <a:avLst/>
              <a:gdLst/>
              <a:ahLst/>
              <a:cxnLst/>
              <a:rect l="0" t="0" r="r" b="b"/>
              <a:pathLst>
                <a:path w="21159" h="20761">
                  <a:moveTo>
                    <a:pt x="6892" y="20684"/>
                  </a:moveTo>
                  <a:cubicBezTo>
                    <a:pt x="7952" y="21040"/>
                    <a:pt x="9386" y="20133"/>
                    <a:pt x="9386" y="18372"/>
                  </a:cubicBezTo>
                  <a:cubicBezTo>
                    <a:pt x="9697" y="16753"/>
                    <a:pt x="12501" y="14300"/>
                    <a:pt x="15661" y="13373"/>
                  </a:cubicBezTo>
                  <a:cubicBezTo>
                    <a:pt x="18753" y="11681"/>
                    <a:pt x="21159" y="9252"/>
                    <a:pt x="21159" y="6702"/>
                  </a:cubicBezTo>
                  <a:cubicBezTo>
                    <a:pt x="20875" y="4229"/>
                    <a:pt x="20211" y="1059"/>
                    <a:pt x="19150" y="630"/>
                  </a:cubicBezTo>
                  <a:cubicBezTo>
                    <a:pt x="18201" y="-560"/>
                    <a:pt x="15307" y="132"/>
                    <a:pt x="12833" y="1083"/>
                  </a:cubicBezTo>
                  <a:cubicBezTo>
                    <a:pt x="10360" y="2083"/>
                    <a:pt x="6935" y="2752"/>
                    <a:pt x="5256" y="2205"/>
                  </a:cubicBezTo>
                  <a:cubicBezTo>
                    <a:pt x="3555" y="1678"/>
                    <a:pt x="1303" y="2634"/>
                    <a:pt x="420" y="4561"/>
                  </a:cubicBezTo>
                  <a:cubicBezTo>
                    <a:pt x="-441" y="6633"/>
                    <a:pt x="23" y="10584"/>
                    <a:pt x="1812" y="13920"/>
                  </a:cubicBezTo>
                  <a:cubicBezTo>
                    <a:pt x="3402" y="17660"/>
                    <a:pt x="5876" y="20304"/>
                    <a:pt x="6892" y="20684"/>
                  </a:cubicBezTo>
                  <a:close/>
                  <a:moveTo>
                    <a:pt x="6892" y="206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 name="AutoShape 20"/>
            <p:cNvSpPr>
              <a:spLocks/>
            </p:cNvSpPr>
            <p:nvPr/>
          </p:nvSpPr>
          <p:spPr bwMode="auto">
            <a:xfrm>
              <a:off x="8877300" y="1397000"/>
              <a:ext cx="14288" cy="7938"/>
            </a:xfrm>
            <a:custGeom>
              <a:avLst/>
              <a:gdLst/>
              <a:ahLst/>
              <a:cxnLst/>
              <a:rect l="0" t="0" r="r" b="b"/>
              <a:pathLst>
                <a:path w="20935" h="20932">
                  <a:moveTo>
                    <a:pt x="7619" y="12231"/>
                  </a:moveTo>
                  <a:cubicBezTo>
                    <a:pt x="9617" y="14304"/>
                    <a:pt x="12972" y="16815"/>
                    <a:pt x="14836" y="18496"/>
                  </a:cubicBezTo>
                  <a:cubicBezTo>
                    <a:pt x="16836" y="19705"/>
                    <a:pt x="19087" y="20615"/>
                    <a:pt x="19918" y="20927"/>
                  </a:cubicBezTo>
                  <a:cubicBezTo>
                    <a:pt x="20748" y="21023"/>
                    <a:pt x="21188" y="19814"/>
                    <a:pt x="20782" y="18888"/>
                  </a:cubicBezTo>
                  <a:cubicBezTo>
                    <a:pt x="20494" y="17805"/>
                    <a:pt x="20239" y="16612"/>
                    <a:pt x="20494" y="16220"/>
                  </a:cubicBezTo>
                  <a:cubicBezTo>
                    <a:pt x="20494" y="15622"/>
                    <a:pt x="18834" y="13565"/>
                    <a:pt x="16462" y="10945"/>
                  </a:cubicBezTo>
                  <a:cubicBezTo>
                    <a:pt x="13989" y="8652"/>
                    <a:pt x="10024" y="4901"/>
                    <a:pt x="7568" y="2815"/>
                  </a:cubicBezTo>
                  <a:cubicBezTo>
                    <a:pt x="5043" y="882"/>
                    <a:pt x="2535" y="-577"/>
                    <a:pt x="2535" y="223"/>
                  </a:cubicBezTo>
                  <a:cubicBezTo>
                    <a:pt x="2197" y="757"/>
                    <a:pt x="1298" y="1606"/>
                    <a:pt x="452" y="1857"/>
                  </a:cubicBezTo>
                  <a:cubicBezTo>
                    <a:pt x="-412" y="2123"/>
                    <a:pt x="-6" y="3817"/>
                    <a:pt x="1401" y="5451"/>
                  </a:cubicBezTo>
                  <a:cubicBezTo>
                    <a:pt x="2638" y="7553"/>
                    <a:pt x="5552" y="10302"/>
                    <a:pt x="7619" y="12231"/>
                  </a:cubicBezTo>
                  <a:close/>
                  <a:moveTo>
                    <a:pt x="7619" y="122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 name="AutoShape 21"/>
            <p:cNvSpPr>
              <a:spLocks/>
            </p:cNvSpPr>
            <p:nvPr/>
          </p:nvSpPr>
          <p:spPr bwMode="auto">
            <a:xfrm>
              <a:off x="8763000" y="1358900"/>
              <a:ext cx="23813" cy="11113"/>
            </a:xfrm>
            <a:custGeom>
              <a:avLst/>
              <a:gdLst/>
              <a:ahLst/>
              <a:cxnLst/>
              <a:rect l="0" t="0" r="r" b="b"/>
              <a:pathLst>
                <a:path w="21127" h="21028">
                  <a:moveTo>
                    <a:pt x="1896" y="5554"/>
                  </a:moveTo>
                  <a:cubicBezTo>
                    <a:pt x="2511" y="6734"/>
                    <a:pt x="3972" y="8159"/>
                    <a:pt x="4984" y="9223"/>
                  </a:cubicBezTo>
                  <a:cubicBezTo>
                    <a:pt x="6038" y="10138"/>
                    <a:pt x="8774" y="12822"/>
                    <a:pt x="11158" y="14789"/>
                  </a:cubicBezTo>
                  <a:cubicBezTo>
                    <a:pt x="13521" y="16747"/>
                    <a:pt x="16553" y="19338"/>
                    <a:pt x="17948" y="19999"/>
                  </a:cubicBezTo>
                  <a:cubicBezTo>
                    <a:pt x="19333" y="20763"/>
                    <a:pt x="21046" y="21481"/>
                    <a:pt x="21046" y="20670"/>
                  </a:cubicBezTo>
                  <a:cubicBezTo>
                    <a:pt x="21376" y="20196"/>
                    <a:pt x="20640" y="18622"/>
                    <a:pt x="19716" y="16479"/>
                  </a:cubicBezTo>
                  <a:cubicBezTo>
                    <a:pt x="18630" y="14685"/>
                    <a:pt x="16223" y="11388"/>
                    <a:pt x="14268" y="9453"/>
                  </a:cubicBezTo>
                  <a:cubicBezTo>
                    <a:pt x="12334" y="7452"/>
                    <a:pt x="9114" y="4257"/>
                    <a:pt x="7038" y="2799"/>
                  </a:cubicBezTo>
                  <a:cubicBezTo>
                    <a:pt x="5006" y="1109"/>
                    <a:pt x="2457" y="-119"/>
                    <a:pt x="1390" y="9"/>
                  </a:cubicBezTo>
                  <a:cubicBezTo>
                    <a:pt x="336" y="9"/>
                    <a:pt x="-224" y="969"/>
                    <a:pt x="84" y="2000"/>
                  </a:cubicBezTo>
                  <a:cubicBezTo>
                    <a:pt x="402" y="2937"/>
                    <a:pt x="1193" y="4650"/>
                    <a:pt x="1896" y="5554"/>
                  </a:cubicBezTo>
                  <a:close/>
                  <a:moveTo>
                    <a:pt x="1896" y="55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 name="AutoShape 22"/>
            <p:cNvSpPr>
              <a:spLocks/>
            </p:cNvSpPr>
            <p:nvPr/>
          </p:nvSpPr>
          <p:spPr bwMode="auto">
            <a:xfrm>
              <a:off x="8699500" y="1547813"/>
              <a:ext cx="195263" cy="171450"/>
            </a:xfrm>
            <a:custGeom>
              <a:avLst/>
              <a:gdLst/>
              <a:ahLst/>
              <a:cxnLst/>
              <a:rect l="0" t="0" r="r" b="b"/>
              <a:pathLst>
                <a:path w="21568" h="21554">
                  <a:moveTo>
                    <a:pt x="780" y="8118"/>
                  </a:moveTo>
                  <a:cubicBezTo>
                    <a:pt x="984" y="8288"/>
                    <a:pt x="1246" y="8418"/>
                    <a:pt x="1352" y="8437"/>
                  </a:cubicBezTo>
                  <a:cubicBezTo>
                    <a:pt x="1461" y="8442"/>
                    <a:pt x="1610" y="8478"/>
                    <a:pt x="1672" y="8531"/>
                  </a:cubicBezTo>
                  <a:cubicBezTo>
                    <a:pt x="1742" y="8568"/>
                    <a:pt x="1833" y="8686"/>
                    <a:pt x="1882" y="8784"/>
                  </a:cubicBezTo>
                  <a:cubicBezTo>
                    <a:pt x="1920" y="8889"/>
                    <a:pt x="1956" y="9071"/>
                    <a:pt x="1913" y="9189"/>
                  </a:cubicBezTo>
                  <a:cubicBezTo>
                    <a:pt x="1873" y="9309"/>
                    <a:pt x="1915" y="9474"/>
                    <a:pt x="1962" y="9560"/>
                  </a:cubicBezTo>
                  <a:cubicBezTo>
                    <a:pt x="2005" y="9648"/>
                    <a:pt x="2172" y="9773"/>
                    <a:pt x="2304" y="9865"/>
                  </a:cubicBezTo>
                  <a:cubicBezTo>
                    <a:pt x="2437" y="9949"/>
                    <a:pt x="2596" y="9979"/>
                    <a:pt x="2657" y="9924"/>
                  </a:cubicBezTo>
                  <a:cubicBezTo>
                    <a:pt x="2720" y="9870"/>
                    <a:pt x="2834" y="9840"/>
                    <a:pt x="2913" y="9869"/>
                  </a:cubicBezTo>
                  <a:cubicBezTo>
                    <a:pt x="2994" y="9887"/>
                    <a:pt x="3130" y="9980"/>
                    <a:pt x="3227" y="10047"/>
                  </a:cubicBezTo>
                  <a:cubicBezTo>
                    <a:pt x="3319" y="10116"/>
                    <a:pt x="3547" y="10229"/>
                    <a:pt x="3735" y="10300"/>
                  </a:cubicBezTo>
                  <a:cubicBezTo>
                    <a:pt x="3920" y="10364"/>
                    <a:pt x="4147" y="10392"/>
                    <a:pt x="4241" y="10381"/>
                  </a:cubicBezTo>
                  <a:cubicBezTo>
                    <a:pt x="4332" y="10349"/>
                    <a:pt x="4468" y="10387"/>
                    <a:pt x="4534" y="10444"/>
                  </a:cubicBezTo>
                  <a:cubicBezTo>
                    <a:pt x="4605" y="10498"/>
                    <a:pt x="4655" y="10621"/>
                    <a:pt x="4616" y="10691"/>
                  </a:cubicBezTo>
                  <a:cubicBezTo>
                    <a:pt x="4593" y="10772"/>
                    <a:pt x="4460" y="10823"/>
                    <a:pt x="4326" y="10791"/>
                  </a:cubicBezTo>
                  <a:cubicBezTo>
                    <a:pt x="4188" y="10780"/>
                    <a:pt x="3894" y="10689"/>
                    <a:pt x="3674" y="10601"/>
                  </a:cubicBezTo>
                  <a:cubicBezTo>
                    <a:pt x="3448" y="10518"/>
                    <a:pt x="3225" y="10504"/>
                    <a:pt x="3172" y="10555"/>
                  </a:cubicBezTo>
                  <a:cubicBezTo>
                    <a:pt x="3115" y="10605"/>
                    <a:pt x="2974" y="10601"/>
                    <a:pt x="2854" y="10526"/>
                  </a:cubicBezTo>
                  <a:cubicBezTo>
                    <a:pt x="2736" y="10451"/>
                    <a:pt x="2623" y="10464"/>
                    <a:pt x="2577" y="10522"/>
                  </a:cubicBezTo>
                  <a:cubicBezTo>
                    <a:pt x="2551" y="10597"/>
                    <a:pt x="2616" y="10799"/>
                    <a:pt x="2737" y="10974"/>
                  </a:cubicBezTo>
                  <a:cubicBezTo>
                    <a:pt x="2835" y="11169"/>
                    <a:pt x="3096" y="11393"/>
                    <a:pt x="3266" y="11508"/>
                  </a:cubicBezTo>
                  <a:cubicBezTo>
                    <a:pt x="3443" y="11611"/>
                    <a:pt x="3687" y="11763"/>
                    <a:pt x="3815" y="11836"/>
                  </a:cubicBezTo>
                  <a:cubicBezTo>
                    <a:pt x="3946" y="11900"/>
                    <a:pt x="4141" y="11958"/>
                    <a:pt x="4252" y="11958"/>
                  </a:cubicBezTo>
                  <a:cubicBezTo>
                    <a:pt x="4362" y="11945"/>
                    <a:pt x="4523" y="12005"/>
                    <a:pt x="4586" y="12084"/>
                  </a:cubicBezTo>
                  <a:cubicBezTo>
                    <a:pt x="4655" y="12157"/>
                    <a:pt x="4704" y="12238"/>
                    <a:pt x="4684" y="12280"/>
                  </a:cubicBezTo>
                  <a:cubicBezTo>
                    <a:pt x="4665" y="12324"/>
                    <a:pt x="4495" y="12360"/>
                    <a:pt x="4315" y="12353"/>
                  </a:cubicBezTo>
                  <a:cubicBezTo>
                    <a:pt x="4137" y="12365"/>
                    <a:pt x="3811" y="12262"/>
                    <a:pt x="3584" y="12202"/>
                  </a:cubicBezTo>
                  <a:cubicBezTo>
                    <a:pt x="3363" y="12113"/>
                    <a:pt x="3106" y="12068"/>
                    <a:pt x="3021" y="12098"/>
                  </a:cubicBezTo>
                  <a:cubicBezTo>
                    <a:pt x="2941" y="12139"/>
                    <a:pt x="2891" y="12204"/>
                    <a:pt x="2891" y="12282"/>
                  </a:cubicBezTo>
                  <a:cubicBezTo>
                    <a:pt x="2891" y="12361"/>
                    <a:pt x="3001" y="12495"/>
                    <a:pt x="3114" y="12570"/>
                  </a:cubicBezTo>
                  <a:cubicBezTo>
                    <a:pt x="3224" y="12645"/>
                    <a:pt x="3437" y="12753"/>
                    <a:pt x="3594" y="12788"/>
                  </a:cubicBezTo>
                  <a:cubicBezTo>
                    <a:pt x="3750" y="12827"/>
                    <a:pt x="4038" y="12912"/>
                    <a:pt x="4228" y="12999"/>
                  </a:cubicBezTo>
                  <a:cubicBezTo>
                    <a:pt x="4420" y="13076"/>
                    <a:pt x="4596" y="13183"/>
                    <a:pt x="4613" y="13236"/>
                  </a:cubicBezTo>
                  <a:cubicBezTo>
                    <a:pt x="4640" y="13284"/>
                    <a:pt x="4564" y="13338"/>
                    <a:pt x="4462" y="13323"/>
                  </a:cubicBezTo>
                  <a:cubicBezTo>
                    <a:pt x="4360" y="13328"/>
                    <a:pt x="4131" y="13276"/>
                    <a:pt x="3953" y="13242"/>
                  </a:cubicBezTo>
                  <a:cubicBezTo>
                    <a:pt x="3777" y="13186"/>
                    <a:pt x="3658" y="13239"/>
                    <a:pt x="3701" y="13320"/>
                  </a:cubicBezTo>
                  <a:cubicBezTo>
                    <a:pt x="3727" y="13411"/>
                    <a:pt x="3837" y="13506"/>
                    <a:pt x="3906" y="13566"/>
                  </a:cubicBezTo>
                  <a:cubicBezTo>
                    <a:pt x="3978" y="13618"/>
                    <a:pt x="4235" y="13744"/>
                    <a:pt x="4477" y="13851"/>
                  </a:cubicBezTo>
                  <a:cubicBezTo>
                    <a:pt x="4721" y="13946"/>
                    <a:pt x="5169" y="14228"/>
                    <a:pt x="5480" y="14452"/>
                  </a:cubicBezTo>
                  <a:cubicBezTo>
                    <a:pt x="5793" y="14679"/>
                    <a:pt x="6187" y="14943"/>
                    <a:pt x="6355" y="15045"/>
                  </a:cubicBezTo>
                  <a:cubicBezTo>
                    <a:pt x="6522" y="15141"/>
                    <a:pt x="6670" y="15261"/>
                    <a:pt x="6686" y="15305"/>
                  </a:cubicBezTo>
                  <a:cubicBezTo>
                    <a:pt x="6709" y="15345"/>
                    <a:pt x="6772" y="15465"/>
                    <a:pt x="6814" y="15573"/>
                  </a:cubicBezTo>
                  <a:cubicBezTo>
                    <a:pt x="6870" y="15671"/>
                    <a:pt x="6774" y="15624"/>
                    <a:pt x="6600" y="15469"/>
                  </a:cubicBezTo>
                  <a:cubicBezTo>
                    <a:pt x="6448" y="15287"/>
                    <a:pt x="6115" y="15079"/>
                    <a:pt x="5910" y="14939"/>
                  </a:cubicBezTo>
                  <a:cubicBezTo>
                    <a:pt x="5694" y="14818"/>
                    <a:pt x="5384" y="14647"/>
                    <a:pt x="5217" y="14578"/>
                  </a:cubicBezTo>
                  <a:cubicBezTo>
                    <a:pt x="5048" y="14505"/>
                    <a:pt x="4752" y="14364"/>
                    <a:pt x="4579" y="14221"/>
                  </a:cubicBezTo>
                  <a:cubicBezTo>
                    <a:pt x="4393" y="14097"/>
                    <a:pt x="4112" y="13930"/>
                    <a:pt x="3947" y="13876"/>
                  </a:cubicBezTo>
                  <a:cubicBezTo>
                    <a:pt x="3783" y="13814"/>
                    <a:pt x="3583" y="13811"/>
                    <a:pt x="3505" y="13855"/>
                  </a:cubicBezTo>
                  <a:cubicBezTo>
                    <a:pt x="3431" y="13912"/>
                    <a:pt x="3373" y="14015"/>
                    <a:pt x="3373" y="14106"/>
                  </a:cubicBezTo>
                  <a:cubicBezTo>
                    <a:pt x="3394" y="14193"/>
                    <a:pt x="3335" y="14285"/>
                    <a:pt x="3284" y="14321"/>
                  </a:cubicBezTo>
                  <a:cubicBezTo>
                    <a:pt x="3229" y="14348"/>
                    <a:pt x="3213" y="14448"/>
                    <a:pt x="3253" y="14533"/>
                  </a:cubicBezTo>
                  <a:cubicBezTo>
                    <a:pt x="3277" y="14626"/>
                    <a:pt x="3405" y="14754"/>
                    <a:pt x="3490" y="14853"/>
                  </a:cubicBezTo>
                  <a:cubicBezTo>
                    <a:pt x="3594" y="14927"/>
                    <a:pt x="3663" y="15067"/>
                    <a:pt x="3663" y="15129"/>
                  </a:cubicBezTo>
                  <a:cubicBezTo>
                    <a:pt x="3663" y="15191"/>
                    <a:pt x="3602" y="15237"/>
                    <a:pt x="3522" y="15237"/>
                  </a:cubicBezTo>
                  <a:cubicBezTo>
                    <a:pt x="3443" y="15225"/>
                    <a:pt x="3301" y="15200"/>
                    <a:pt x="3212" y="15153"/>
                  </a:cubicBezTo>
                  <a:cubicBezTo>
                    <a:pt x="3125" y="15109"/>
                    <a:pt x="2978" y="15123"/>
                    <a:pt x="2921" y="15211"/>
                  </a:cubicBezTo>
                  <a:cubicBezTo>
                    <a:pt x="2854" y="15288"/>
                    <a:pt x="2789" y="15433"/>
                    <a:pt x="2770" y="15535"/>
                  </a:cubicBezTo>
                  <a:cubicBezTo>
                    <a:pt x="2788" y="15638"/>
                    <a:pt x="2798" y="15771"/>
                    <a:pt x="2838" y="15846"/>
                  </a:cubicBezTo>
                  <a:cubicBezTo>
                    <a:pt x="2883" y="15916"/>
                    <a:pt x="2899" y="15998"/>
                    <a:pt x="2872" y="16046"/>
                  </a:cubicBezTo>
                  <a:cubicBezTo>
                    <a:pt x="2852" y="16099"/>
                    <a:pt x="2692" y="16101"/>
                    <a:pt x="2544" y="16090"/>
                  </a:cubicBezTo>
                  <a:cubicBezTo>
                    <a:pt x="2396" y="16069"/>
                    <a:pt x="2275" y="16098"/>
                    <a:pt x="2297" y="16142"/>
                  </a:cubicBezTo>
                  <a:cubicBezTo>
                    <a:pt x="2313" y="16190"/>
                    <a:pt x="2533" y="16433"/>
                    <a:pt x="2804" y="16666"/>
                  </a:cubicBezTo>
                  <a:cubicBezTo>
                    <a:pt x="3062" y="16920"/>
                    <a:pt x="3454" y="17214"/>
                    <a:pt x="3655" y="17341"/>
                  </a:cubicBezTo>
                  <a:cubicBezTo>
                    <a:pt x="3855" y="17473"/>
                    <a:pt x="4074" y="17582"/>
                    <a:pt x="4135" y="17553"/>
                  </a:cubicBezTo>
                  <a:cubicBezTo>
                    <a:pt x="4197" y="17547"/>
                    <a:pt x="4256" y="17460"/>
                    <a:pt x="4276" y="17388"/>
                  </a:cubicBezTo>
                  <a:cubicBezTo>
                    <a:pt x="4294" y="17314"/>
                    <a:pt x="4398" y="17257"/>
                    <a:pt x="4506" y="17225"/>
                  </a:cubicBezTo>
                  <a:cubicBezTo>
                    <a:pt x="4613" y="17210"/>
                    <a:pt x="4858" y="17139"/>
                    <a:pt x="5044" y="17061"/>
                  </a:cubicBezTo>
                  <a:cubicBezTo>
                    <a:pt x="5230" y="16992"/>
                    <a:pt x="5523" y="16925"/>
                    <a:pt x="5693" y="16944"/>
                  </a:cubicBezTo>
                  <a:cubicBezTo>
                    <a:pt x="5865" y="16933"/>
                    <a:pt x="6167" y="17030"/>
                    <a:pt x="6368" y="17113"/>
                  </a:cubicBezTo>
                  <a:cubicBezTo>
                    <a:pt x="6569" y="17194"/>
                    <a:pt x="6815" y="17363"/>
                    <a:pt x="6938" y="17444"/>
                  </a:cubicBezTo>
                  <a:cubicBezTo>
                    <a:pt x="7051" y="17547"/>
                    <a:pt x="7162" y="17686"/>
                    <a:pt x="7182" y="17758"/>
                  </a:cubicBezTo>
                  <a:cubicBezTo>
                    <a:pt x="7199" y="17833"/>
                    <a:pt x="7158" y="17874"/>
                    <a:pt x="7076" y="17851"/>
                  </a:cubicBezTo>
                  <a:cubicBezTo>
                    <a:pt x="6996" y="17828"/>
                    <a:pt x="6815" y="17710"/>
                    <a:pt x="6667" y="17592"/>
                  </a:cubicBezTo>
                  <a:cubicBezTo>
                    <a:pt x="6520" y="17477"/>
                    <a:pt x="6322" y="17336"/>
                    <a:pt x="6212" y="17310"/>
                  </a:cubicBezTo>
                  <a:cubicBezTo>
                    <a:pt x="6111" y="17252"/>
                    <a:pt x="6002" y="17307"/>
                    <a:pt x="5960" y="17367"/>
                  </a:cubicBezTo>
                  <a:cubicBezTo>
                    <a:pt x="5918" y="17427"/>
                    <a:pt x="5729" y="17506"/>
                    <a:pt x="5525" y="17560"/>
                  </a:cubicBezTo>
                  <a:cubicBezTo>
                    <a:pt x="5316" y="17595"/>
                    <a:pt x="5112" y="17720"/>
                    <a:pt x="5040" y="17797"/>
                  </a:cubicBezTo>
                  <a:cubicBezTo>
                    <a:pt x="4994" y="17898"/>
                    <a:pt x="4954" y="18067"/>
                    <a:pt x="4954" y="18190"/>
                  </a:cubicBezTo>
                  <a:cubicBezTo>
                    <a:pt x="4972" y="18313"/>
                    <a:pt x="5064" y="18533"/>
                    <a:pt x="5154" y="18688"/>
                  </a:cubicBezTo>
                  <a:cubicBezTo>
                    <a:pt x="5237" y="18850"/>
                    <a:pt x="5319" y="18999"/>
                    <a:pt x="5298" y="19047"/>
                  </a:cubicBezTo>
                  <a:cubicBezTo>
                    <a:pt x="5260" y="19080"/>
                    <a:pt x="5287" y="19193"/>
                    <a:pt x="5287" y="19267"/>
                  </a:cubicBezTo>
                  <a:cubicBezTo>
                    <a:pt x="5287" y="19341"/>
                    <a:pt x="5542" y="19482"/>
                    <a:pt x="5824" y="19580"/>
                  </a:cubicBezTo>
                  <a:cubicBezTo>
                    <a:pt x="6110" y="19680"/>
                    <a:pt x="6533" y="19750"/>
                    <a:pt x="6768" y="19728"/>
                  </a:cubicBezTo>
                  <a:cubicBezTo>
                    <a:pt x="7000" y="19706"/>
                    <a:pt x="7349" y="19681"/>
                    <a:pt x="7544" y="19675"/>
                  </a:cubicBezTo>
                  <a:cubicBezTo>
                    <a:pt x="7740" y="19653"/>
                    <a:pt x="8061" y="19725"/>
                    <a:pt x="8243" y="19835"/>
                  </a:cubicBezTo>
                  <a:cubicBezTo>
                    <a:pt x="8436" y="19921"/>
                    <a:pt x="8682" y="20116"/>
                    <a:pt x="8807" y="20229"/>
                  </a:cubicBezTo>
                  <a:cubicBezTo>
                    <a:pt x="8937" y="20340"/>
                    <a:pt x="9215" y="20540"/>
                    <a:pt x="9437" y="20657"/>
                  </a:cubicBezTo>
                  <a:cubicBezTo>
                    <a:pt x="9659" y="20779"/>
                    <a:pt x="9943" y="20841"/>
                    <a:pt x="10060" y="20830"/>
                  </a:cubicBezTo>
                  <a:cubicBezTo>
                    <a:pt x="10177" y="20808"/>
                    <a:pt x="10177" y="20710"/>
                    <a:pt x="10071" y="20589"/>
                  </a:cubicBezTo>
                  <a:cubicBezTo>
                    <a:pt x="9953" y="20482"/>
                    <a:pt x="9837" y="20294"/>
                    <a:pt x="9815" y="20184"/>
                  </a:cubicBezTo>
                  <a:cubicBezTo>
                    <a:pt x="9815" y="20070"/>
                    <a:pt x="9837" y="20033"/>
                    <a:pt x="9930" y="20080"/>
                  </a:cubicBezTo>
                  <a:cubicBezTo>
                    <a:pt x="10022" y="20120"/>
                    <a:pt x="10201" y="20333"/>
                    <a:pt x="10352" y="20507"/>
                  </a:cubicBezTo>
                  <a:cubicBezTo>
                    <a:pt x="10507" y="20679"/>
                    <a:pt x="10767" y="20935"/>
                    <a:pt x="10941" y="21067"/>
                  </a:cubicBezTo>
                  <a:cubicBezTo>
                    <a:pt x="11120" y="21196"/>
                    <a:pt x="11497" y="21352"/>
                    <a:pt x="11763" y="21467"/>
                  </a:cubicBezTo>
                  <a:cubicBezTo>
                    <a:pt x="12034" y="21556"/>
                    <a:pt x="12281" y="21586"/>
                    <a:pt x="12281" y="21514"/>
                  </a:cubicBezTo>
                  <a:cubicBezTo>
                    <a:pt x="12312" y="21453"/>
                    <a:pt x="12416" y="21407"/>
                    <a:pt x="12548" y="21429"/>
                  </a:cubicBezTo>
                  <a:cubicBezTo>
                    <a:pt x="12674" y="21453"/>
                    <a:pt x="12787" y="21334"/>
                    <a:pt x="12825" y="21179"/>
                  </a:cubicBezTo>
                  <a:cubicBezTo>
                    <a:pt x="12845" y="21019"/>
                    <a:pt x="12809" y="20745"/>
                    <a:pt x="12729" y="20573"/>
                  </a:cubicBezTo>
                  <a:cubicBezTo>
                    <a:pt x="12633" y="20409"/>
                    <a:pt x="12633" y="20151"/>
                    <a:pt x="12692" y="20027"/>
                  </a:cubicBezTo>
                  <a:cubicBezTo>
                    <a:pt x="12757" y="19906"/>
                    <a:pt x="12771" y="19695"/>
                    <a:pt x="12752" y="19564"/>
                  </a:cubicBezTo>
                  <a:cubicBezTo>
                    <a:pt x="12715" y="19436"/>
                    <a:pt x="12573" y="19207"/>
                    <a:pt x="12408" y="19070"/>
                  </a:cubicBezTo>
                  <a:cubicBezTo>
                    <a:pt x="12243" y="18929"/>
                    <a:pt x="11982" y="18619"/>
                    <a:pt x="11800" y="18404"/>
                  </a:cubicBezTo>
                  <a:cubicBezTo>
                    <a:pt x="11651" y="18158"/>
                    <a:pt x="11334" y="17919"/>
                    <a:pt x="11148" y="17819"/>
                  </a:cubicBezTo>
                  <a:cubicBezTo>
                    <a:pt x="10960" y="17732"/>
                    <a:pt x="10706" y="17605"/>
                    <a:pt x="10579" y="17562"/>
                  </a:cubicBezTo>
                  <a:cubicBezTo>
                    <a:pt x="10456" y="17509"/>
                    <a:pt x="10274" y="17394"/>
                    <a:pt x="10176" y="17303"/>
                  </a:cubicBezTo>
                  <a:cubicBezTo>
                    <a:pt x="10080" y="17210"/>
                    <a:pt x="10083" y="17150"/>
                    <a:pt x="10167" y="17119"/>
                  </a:cubicBezTo>
                  <a:cubicBezTo>
                    <a:pt x="10260" y="17119"/>
                    <a:pt x="10460" y="17188"/>
                    <a:pt x="10623" y="17264"/>
                  </a:cubicBezTo>
                  <a:cubicBezTo>
                    <a:pt x="10781" y="17360"/>
                    <a:pt x="11002" y="17433"/>
                    <a:pt x="11110" y="17439"/>
                  </a:cubicBezTo>
                  <a:cubicBezTo>
                    <a:pt x="11218" y="17458"/>
                    <a:pt x="11413" y="17608"/>
                    <a:pt x="11573" y="17747"/>
                  </a:cubicBezTo>
                  <a:cubicBezTo>
                    <a:pt x="11702" y="17920"/>
                    <a:pt x="11883" y="18103"/>
                    <a:pt x="11902" y="18204"/>
                  </a:cubicBezTo>
                  <a:cubicBezTo>
                    <a:pt x="11944" y="18295"/>
                    <a:pt x="12068" y="18427"/>
                    <a:pt x="12170" y="18519"/>
                  </a:cubicBezTo>
                  <a:cubicBezTo>
                    <a:pt x="12287" y="18581"/>
                    <a:pt x="12397" y="18591"/>
                    <a:pt x="12458" y="18538"/>
                  </a:cubicBezTo>
                  <a:cubicBezTo>
                    <a:pt x="12512" y="18475"/>
                    <a:pt x="12418" y="18200"/>
                    <a:pt x="12257" y="17951"/>
                  </a:cubicBezTo>
                  <a:cubicBezTo>
                    <a:pt x="12106" y="17691"/>
                    <a:pt x="11751" y="17241"/>
                    <a:pt x="11466" y="16971"/>
                  </a:cubicBezTo>
                  <a:cubicBezTo>
                    <a:pt x="11190" y="16688"/>
                    <a:pt x="10756" y="16228"/>
                    <a:pt x="10494" y="15956"/>
                  </a:cubicBezTo>
                  <a:cubicBezTo>
                    <a:pt x="10229" y="15687"/>
                    <a:pt x="10042" y="15411"/>
                    <a:pt x="10060" y="15346"/>
                  </a:cubicBezTo>
                  <a:cubicBezTo>
                    <a:pt x="10060" y="15279"/>
                    <a:pt x="10242" y="15368"/>
                    <a:pt x="10414" y="15534"/>
                  </a:cubicBezTo>
                  <a:cubicBezTo>
                    <a:pt x="10581" y="15707"/>
                    <a:pt x="10770" y="15946"/>
                    <a:pt x="10853" y="16053"/>
                  </a:cubicBezTo>
                  <a:cubicBezTo>
                    <a:pt x="10916" y="16176"/>
                    <a:pt x="11134" y="16387"/>
                    <a:pt x="11337" y="16503"/>
                  </a:cubicBezTo>
                  <a:cubicBezTo>
                    <a:pt x="11534" y="16635"/>
                    <a:pt x="11843" y="16810"/>
                    <a:pt x="12015" y="16913"/>
                  </a:cubicBezTo>
                  <a:cubicBezTo>
                    <a:pt x="12189" y="17008"/>
                    <a:pt x="12333" y="17028"/>
                    <a:pt x="12355" y="16961"/>
                  </a:cubicBezTo>
                  <a:cubicBezTo>
                    <a:pt x="12374" y="16891"/>
                    <a:pt x="12315" y="16752"/>
                    <a:pt x="12272" y="16639"/>
                  </a:cubicBezTo>
                  <a:cubicBezTo>
                    <a:pt x="12196" y="16550"/>
                    <a:pt x="12094" y="16365"/>
                    <a:pt x="11992" y="16289"/>
                  </a:cubicBezTo>
                  <a:cubicBezTo>
                    <a:pt x="11891" y="16208"/>
                    <a:pt x="11799" y="16058"/>
                    <a:pt x="11776" y="15971"/>
                  </a:cubicBezTo>
                  <a:cubicBezTo>
                    <a:pt x="11776" y="15879"/>
                    <a:pt x="11776" y="15721"/>
                    <a:pt x="11819" y="15604"/>
                  </a:cubicBezTo>
                  <a:cubicBezTo>
                    <a:pt x="11856" y="15487"/>
                    <a:pt x="11850" y="15271"/>
                    <a:pt x="11769" y="15130"/>
                  </a:cubicBezTo>
                  <a:cubicBezTo>
                    <a:pt x="11695" y="14982"/>
                    <a:pt x="11478" y="14696"/>
                    <a:pt x="11278" y="14512"/>
                  </a:cubicBezTo>
                  <a:cubicBezTo>
                    <a:pt x="11097" y="14310"/>
                    <a:pt x="10718" y="13932"/>
                    <a:pt x="10439" y="13685"/>
                  </a:cubicBezTo>
                  <a:cubicBezTo>
                    <a:pt x="10182" y="13408"/>
                    <a:pt x="10059" y="13218"/>
                    <a:pt x="10181" y="13264"/>
                  </a:cubicBezTo>
                  <a:cubicBezTo>
                    <a:pt x="10307" y="13296"/>
                    <a:pt x="10568" y="13448"/>
                    <a:pt x="10751" y="13616"/>
                  </a:cubicBezTo>
                  <a:cubicBezTo>
                    <a:pt x="10945" y="13765"/>
                    <a:pt x="11186" y="13924"/>
                    <a:pt x="11300" y="13944"/>
                  </a:cubicBezTo>
                  <a:cubicBezTo>
                    <a:pt x="11417" y="13954"/>
                    <a:pt x="11525" y="13870"/>
                    <a:pt x="11525" y="13735"/>
                  </a:cubicBezTo>
                  <a:cubicBezTo>
                    <a:pt x="11525" y="13601"/>
                    <a:pt x="11490" y="13445"/>
                    <a:pt x="11425" y="13383"/>
                  </a:cubicBezTo>
                  <a:cubicBezTo>
                    <a:pt x="11368" y="13318"/>
                    <a:pt x="11209" y="13246"/>
                    <a:pt x="11093" y="13186"/>
                  </a:cubicBezTo>
                  <a:cubicBezTo>
                    <a:pt x="10970" y="13139"/>
                    <a:pt x="10845" y="12935"/>
                    <a:pt x="10759" y="12764"/>
                  </a:cubicBezTo>
                  <a:cubicBezTo>
                    <a:pt x="10738" y="12574"/>
                    <a:pt x="10732" y="12446"/>
                    <a:pt x="10832" y="12463"/>
                  </a:cubicBezTo>
                  <a:cubicBezTo>
                    <a:pt x="10933" y="12492"/>
                    <a:pt x="11176" y="12615"/>
                    <a:pt x="11371" y="12761"/>
                  </a:cubicBezTo>
                  <a:cubicBezTo>
                    <a:pt x="11557" y="12922"/>
                    <a:pt x="11944" y="13155"/>
                    <a:pt x="12208" y="13329"/>
                  </a:cubicBezTo>
                  <a:cubicBezTo>
                    <a:pt x="12478" y="13474"/>
                    <a:pt x="12723" y="13578"/>
                    <a:pt x="12758" y="13518"/>
                  </a:cubicBezTo>
                  <a:cubicBezTo>
                    <a:pt x="12782" y="13451"/>
                    <a:pt x="12703" y="13307"/>
                    <a:pt x="12539" y="13198"/>
                  </a:cubicBezTo>
                  <a:cubicBezTo>
                    <a:pt x="12383" y="13075"/>
                    <a:pt x="12216" y="12906"/>
                    <a:pt x="12155" y="12825"/>
                  </a:cubicBezTo>
                  <a:cubicBezTo>
                    <a:pt x="12098" y="12743"/>
                    <a:pt x="12179" y="12715"/>
                    <a:pt x="12326" y="12775"/>
                  </a:cubicBezTo>
                  <a:cubicBezTo>
                    <a:pt x="12478" y="12819"/>
                    <a:pt x="12695" y="12948"/>
                    <a:pt x="12811" y="13032"/>
                  </a:cubicBezTo>
                  <a:cubicBezTo>
                    <a:pt x="12927" y="13124"/>
                    <a:pt x="13105" y="13133"/>
                    <a:pt x="13200" y="13097"/>
                  </a:cubicBezTo>
                  <a:cubicBezTo>
                    <a:pt x="13294" y="13051"/>
                    <a:pt x="13321" y="12900"/>
                    <a:pt x="13280" y="12754"/>
                  </a:cubicBezTo>
                  <a:cubicBezTo>
                    <a:pt x="13259" y="12606"/>
                    <a:pt x="13121" y="12446"/>
                    <a:pt x="13052" y="12359"/>
                  </a:cubicBezTo>
                  <a:cubicBezTo>
                    <a:pt x="12964" y="12293"/>
                    <a:pt x="12921" y="12187"/>
                    <a:pt x="12921" y="12141"/>
                  </a:cubicBezTo>
                  <a:cubicBezTo>
                    <a:pt x="12921" y="12094"/>
                    <a:pt x="13100" y="12069"/>
                    <a:pt x="13297" y="12058"/>
                  </a:cubicBezTo>
                  <a:cubicBezTo>
                    <a:pt x="13492" y="12069"/>
                    <a:pt x="13658" y="11987"/>
                    <a:pt x="13658" y="11900"/>
                  </a:cubicBezTo>
                  <a:cubicBezTo>
                    <a:pt x="13658" y="11813"/>
                    <a:pt x="13514" y="11629"/>
                    <a:pt x="13331" y="11494"/>
                  </a:cubicBezTo>
                  <a:cubicBezTo>
                    <a:pt x="13153" y="11354"/>
                    <a:pt x="12915" y="11132"/>
                    <a:pt x="12795" y="11010"/>
                  </a:cubicBezTo>
                  <a:cubicBezTo>
                    <a:pt x="12675" y="10886"/>
                    <a:pt x="12616" y="10698"/>
                    <a:pt x="12656" y="10610"/>
                  </a:cubicBezTo>
                  <a:cubicBezTo>
                    <a:pt x="12695" y="10520"/>
                    <a:pt x="12829" y="10586"/>
                    <a:pt x="12976" y="10732"/>
                  </a:cubicBezTo>
                  <a:cubicBezTo>
                    <a:pt x="13114" y="10886"/>
                    <a:pt x="13287" y="10990"/>
                    <a:pt x="13369" y="10961"/>
                  </a:cubicBezTo>
                  <a:cubicBezTo>
                    <a:pt x="13446" y="10928"/>
                    <a:pt x="13624" y="10769"/>
                    <a:pt x="13772" y="10612"/>
                  </a:cubicBezTo>
                  <a:cubicBezTo>
                    <a:pt x="13914" y="10451"/>
                    <a:pt x="14024" y="10212"/>
                    <a:pt x="14024" y="10077"/>
                  </a:cubicBezTo>
                  <a:cubicBezTo>
                    <a:pt x="14024" y="9943"/>
                    <a:pt x="14080" y="9812"/>
                    <a:pt x="14145" y="9768"/>
                  </a:cubicBezTo>
                  <a:cubicBezTo>
                    <a:pt x="14207" y="9714"/>
                    <a:pt x="14245" y="9562"/>
                    <a:pt x="14184" y="9404"/>
                  </a:cubicBezTo>
                  <a:cubicBezTo>
                    <a:pt x="14144" y="9239"/>
                    <a:pt x="14260" y="9089"/>
                    <a:pt x="14460" y="9060"/>
                  </a:cubicBezTo>
                  <a:cubicBezTo>
                    <a:pt x="14660" y="9026"/>
                    <a:pt x="14884" y="8904"/>
                    <a:pt x="14925" y="8756"/>
                  </a:cubicBezTo>
                  <a:cubicBezTo>
                    <a:pt x="14988" y="8620"/>
                    <a:pt x="15028" y="8326"/>
                    <a:pt x="15008" y="8117"/>
                  </a:cubicBezTo>
                  <a:cubicBezTo>
                    <a:pt x="14988" y="7908"/>
                    <a:pt x="15101" y="7780"/>
                    <a:pt x="15236" y="7820"/>
                  </a:cubicBezTo>
                  <a:cubicBezTo>
                    <a:pt x="15367" y="7878"/>
                    <a:pt x="15677" y="7850"/>
                    <a:pt x="15913" y="7792"/>
                  </a:cubicBezTo>
                  <a:cubicBezTo>
                    <a:pt x="16151" y="7736"/>
                    <a:pt x="16509" y="7529"/>
                    <a:pt x="16726" y="7370"/>
                  </a:cubicBezTo>
                  <a:cubicBezTo>
                    <a:pt x="16919" y="7179"/>
                    <a:pt x="17262" y="6989"/>
                    <a:pt x="17467" y="6946"/>
                  </a:cubicBezTo>
                  <a:cubicBezTo>
                    <a:pt x="17667" y="6883"/>
                    <a:pt x="17910" y="6847"/>
                    <a:pt x="17997" y="6885"/>
                  </a:cubicBezTo>
                  <a:cubicBezTo>
                    <a:pt x="18092" y="6899"/>
                    <a:pt x="18296" y="6887"/>
                    <a:pt x="18453" y="6823"/>
                  </a:cubicBezTo>
                  <a:cubicBezTo>
                    <a:pt x="18608" y="6756"/>
                    <a:pt x="18935" y="6754"/>
                    <a:pt x="19179" y="6805"/>
                  </a:cubicBezTo>
                  <a:cubicBezTo>
                    <a:pt x="19421" y="6852"/>
                    <a:pt x="19710" y="6868"/>
                    <a:pt x="19822" y="6836"/>
                  </a:cubicBezTo>
                  <a:cubicBezTo>
                    <a:pt x="19934" y="6804"/>
                    <a:pt x="20129" y="6661"/>
                    <a:pt x="20263" y="6539"/>
                  </a:cubicBezTo>
                  <a:cubicBezTo>
                    <a:pt x="20398" y="6418"/>
                    <a:pt x="20583" y="6282"/>
                    <a:pt x="20686" y="6288"/>
                  </a:cubicBezTo>
                  <a:cubicBezTo>
                    <a:pt x="20789" y="6277"/>
                    <a:pt x="20958" y="6302"/>
                    <a:pt x="21050" y="6368"/>
                  </a:cubicBezTo>
                  <a:cubicBezTo>
                    <a:pt x="21156" y="6398"/>
                    <a:pt x="21314" y="6486"/>
                    <a:pt x="21423" y="6486"/>
                  </a:cubicBezTo>
                  <a:cubicBezTo>
                    <a:pt x="21526" y="6516"/>
                    <a:pt x="21586" y="6443"/>
                    <a:pt x="21564" y="6361"/>
                  </a:cubicBezTo>
                  <a:cubicBezTo>
                    <a:pt x="21540" y="6281"/>
                    <a:pt x="21447" y="6149"/>
                    <a:pt x="21367" y="6065"/>
                  </a:cubicBezTo>
                  <a:cubicBezTo>
                    <a:pt x="21295" y="5976"/>
                    <a:pt x="21243" y="5840"/>
                    <a:pt x="21264" y="5752"/>
                  </a:cubicBezTo>
                  <a:cubicBezTo>
                    <a:pt x="21283" y="5663"/>
                    <a:pt x="21239" y="5488"/>
                    <a:pt x="21159" y="5374"/>
                  </a:cubicBezTo>
                  <a:cubicBezTo>
                    <a:pt x="21095" y="5246"/>
                    <a:pt x="20943" y="5014"/>
                    <a:pt x="20862" y="4832"/>
                  </a:cubicBezTo>
                  <a:cubicBezTo>
                    <a:pt x="20779" y="4650"/>
                    <a:pt x="20644" y="4464"/>
                    <a:pt x="20575" y="4405"/>
                  </a:cubicBezTo>
                  <a:cubicBezTo>
                    <a:pt x="20507" y="4346"/>
                    <a:pt x="20353" y="4252"/>
                    <a:pt x="20236" y="4191"/>
                  </a:cubicBezTo>
                  <a:cubicBezTo>
                    <a:pt x="20121" y="4135"/>
                    <a:pt x="19934" y="3949"/>
                    <a:pt x="19847" y="3768"/>
                  </a:cubicBezTo>
                  <a:cubicBezTo>
                    <a:pt x="19736" y="3612"/>
                    <a:pt x="19648" y="3352"/>
                    <a:pt x="19684" y="3238"/>
                  </a:cubicBezTo>
                  <a:cubicBezTo>
                    <a:pt x="19684" y="3117"/>
                    <a:pt x="19624" y="2965"/>
                    <a:pt x="19561" y="2879"/>
                  </a:cubicBezTo>
                  <a:cubicBezTo>
                    <a:pt x="19475" y="2818"/>
                    <a:pt x="19271" y="2677"/>
                    <a:pt x="19096" y="2572"/>
                  </a:cubicBezTo>
                  <a:cubicBezTo>
                    <a:pt x="18916" y="2484"/>
                    <a:pt x="18674" y="2321"/>
                    <a:pt x="18555" y="2213"/>
                  </a:cubicBezTo>
                  <a:cubicBezTo>
                    <a:pt x="18435" y="2109"/>
                    <a:pt x="18197" y="1962"/>
                    <a:pt x="18037" y="1864"/>
                  </a:cubicBezTo>
                  <a:cubicBezTo>
                    <a:pt x="17869" y="1780"/>
                    <a:pt x="17625" y="1595"/>
                    <a:pt x="17485" y="1469"/>
                  </a:cubicBezTo>
                  <a:cubicBezTo>
                    <a:pt x="17343" y="1346"/>
                    <a:pt x="17198" y="1136"/>
                    <a:pt x="17129" y="1036"/>
                  </a:cubicBezTo>
                  <a:cubicBezTo>
                    <a:pt x="17086" y="920"/>
                    <a:pt x="16952" y="749"/>
                    <a:pt x="16843" y="671"/>
                  </a:cubicBezTo>
                  <a:cubicBezTo>
                    <a:pt x="16754" y="568"/>
                    <a:pt x="16548" y="507"/>
                    <a:pt x="16401" y="518"/>
                  </a:cubicBezTo>
                  <a:cubicBezTo>
                    <a:pt x="16253" y="529"/>
                    <a:pt x="16147" y="582"/>
                    <a:pt x="16131" y="628"/>
                  </a:cubicBezTo>
                  <a:cubicBezTo>
                    <a:pt x="16106" y="669"/>
                    <a:pt x="16028" y="670"/>
                    <a:pt x="15912" y="588"/>
                  </a:cubicBezTo>
                  <a:cubicBezTo>
                    <a:pt x="15791" y="525"/>
                    <a:pt x="15567" y="388"/>
                    <a:pt x="15421" y="274"/>
                  </a:cubicBezTo>
                  <a:cubicBezTo>
                    <a:pt x="15269" y="165"/>
                    <a:pt x="15033" y="81"/>
                    <a:pt x="14910" y="35"/>
                  </a:cubicBezTo>
                  <a:cubicBezTo>
                    <a:pt x="14781" y="23"/>
                    <a:pt x="14547" y="-14"/>
                    <a:pt x="14388" y="5"/>
                  </a:cubicBezTo>
                  <a:cubicBezTo>
                    <a:pt x="14229" y="19"/>
                    <a:pt x="14112" y="105"/>
                    <a:pt x="14112" y="197"/>
                  </a:cubicBezTo>
                  <a:cubicBezTo>
                    <a:pt x="14131" y="287"/>
                    <a:pt x="14066" y="380"/>
                    <a:pt x="13993" y="396"/>
                  </a:cubicBezTo>
                  <a:cubicBezTo>
                    <a:pt x="13921" y="418"/>
                    <a:pt x="13766" y="407"/>
                    <a:pt x="13650" y="369"/>
                  </a:cubicBezTo>
                  <a:cubicBezTo>
                    <a:pt x="13535" y="349"/>
                    <a:pt x="13392" y="339"/>
                    <a:pt x="13331" y="379"/>
                  </a:cubicBezTo>
                  <a:cubicBezTo>
                    <a:pt x="13272" y="419"/>
                    <a:pt x="13249" y="514"/>
                    <a:pt x="13265" y="600"/>
                  </a:cubicBezTo>
                  <a:cubicBezTo>
                    <a:pt x="13287" y="685"/>
                    <a:pt x="13244" y="790"/>
                    <a:pt x="13170" y="848"/>
                  </a:cubicBezTo>
                  <a:cubicBezTo>
                    <a:pt x="13093" y="898"/>
                    <a:pt x="13038" y="993"/>
                    <a:pt x="13059" y="1052"/>
                  </a:cubicBezTo>
                  <a:cubicBezTo>
                    <a:pt x="13059" y="1115"/>
                    <a:pt x="13214" y="1310"/>
                    <a:pt x="13384" y="1473"/>
                  </a:cubicBezTo>
                  <a:cubicBezTo>
                    <a:pt x="13545" y="1647"/>
                    <a:pt x="13715" y="1866"/>
                    <a:pt x="13775" y="1950"/>
                  </a:cubicBezTo>
                  <a:cubicBezTo>
                    <a:pt x="13797" y="2056"/>
                    <a:pt x="13751" y="2061"/>
                    <a:pt x="13601" y="2008"/>
                  </a:cubicBezTo>
                  <a:cubicBezTo>
                    <a:pt x="13456" y="1937"/>
                    <a:pt x="13295" y="1924"/>
                    <a:pt x="13255" y="1964"/>
                  </a:cubicBezTo>
                  <a:cubicBezTo>
                    <a:pt x="13218" y="2011"/>
                    <a:pt x="13211" y="2106"/>
                    <a:pt x="13255" y="2201"/>
                  </a:cubicBezTo>
                  <a:cubicBezTo>
                    <a:pt x="13294" y="2299"/>
                    <a:pt x="13283" y="2377"/>
                    <a:pt x="13222" y="2395"/>
                  </a:cubicBezTo>
                  <a:cubicBezTo>
                    <a:pt x="13155" y="2401"/>
                    <a:pt x="13053" y="2454"/>
                    <a:pt x="13004" y="2517"/>
                  </a:cubicBezTo>
                  <a:cubicBezTo>
                    <a:pt x="12964" y="2587"/>
                    <a:pt x="12719" y="2655"/>
                    <a:pt x="12485" y="2675"/>
                  </a:cubicBezTo>
                  <a:cubicBezTo>
                    <a:pt x="12253" y="2711"/>
                    <a:pt x="11997" y="2747"/>
                    <a:pt x="11922" y="2774"/>
                  </a:cubicBezTo>
                  <a:cubicBezTo>
                    <a:pt x="11845" y="2796"/>
                    <a:pt x="11720" y="2765"/>
                    <a:pt x="11637" y="2724"/>
                  </a:cubicBezTo>
                  <a:cubicBezTo>
                    <a:pt x="11555" y="2677"/>
                    <a:pt x="11371" y="2576"/>
                    <a:pt x="11222" y="2519"/>
                  </a:cubicBezTo>
                  <a:cubicBezTo>
                    <a:pt x="11077" y="2462"/>
                    <a:pt x="10876" y="2432"/>
                    <a:pt x="10776" y="2449"/>
                  </a:cubicBezTo>
                  <a:cubicBezTo>
                    <a:pt x="10675" y="2459"/>
                    <a:pt x="10535" y="2576"/>
                    <a:pt x="10472" y="2690"/>
                  </a:cubicBezTo>
                  <a:cubicBezTo>
                    <a:pt x="10426" y="2814"/>
                    <a:pt x="10267" y="2908"/>
                    <a:pt x="10166" y="2918"/>
                  </a:cubicBezTo>
                  <a:cubicBezTo>
                    <a:pt x="10066" y="2929"/>
                    <a:pt x="9911" y="2889"/>
                    <a:pt x="9824" y="2828"/>
                  </a:cubicBezTo>
                  <a:cubicBezTo>
                    <a:pt x="9741" y="2756"/>
                    <a:pt x="9564" y="2632"/>
                    <a:pt x="9482" y="2494"/>
                  </a:cubicBezTo>
                  <a:cubicBezTo>
                    <a:pt x="9382" y="2373"/>
                    <a:pt x="9238" y="2265"/>
                    <a:pt x="9171" y="2227"/>
                  </a:cubicBezTo>
                  <a:cubicBezTo>
                    <a:pt x="9103" y="2194"/>
                    <a:pt x="9069" y="2239"/>
                    <a:pt x="9069" y="2317"/>
                  </a:cubicBezTo>
                  <a:cubicBezTo>
                    <a:pt x="9085" y="2393"/>
                    <a:pt x="9164" y="2590"/>
                    <a:pt x="9261" y="2746"/>
                  </a:cubicBezTo>
                  <a:cubicBezTo>
                    <a:pt x="9348" y="2908"/>
                    <a:pt x="9401" y="3063"/>
                    <a:pt x="9360" y="3078"/>
                  </a:cubicBezTo>
                  <a:cubicBezTo>
                    <a:pt x="9317" y="3078"/>
                    <a:pt x="9190" y="3023"/>
                    <a:pt x="9098" y="2869"/>
                  </a:cubicBezTo>
                  <a:cubicBezTo>
                    <a:pt x="8979" y="2745"/>
                    <a:pt x="8797" y="2499"/>
                    <a:pt x="8663" y="2356"/>
                  </a:cubicBezTo>
                  <a:cubicBezTo>
                    <a:pt x="8521" y="2220"/>
                    <a:pt x="8202" y="2041"/>
                    <a:pt x="7946" y="1943"/>
                  </a:cubicBezTo>
                  <a:cubicBezTo>
                    <a:pt x="7688" y="1864"/>
                    <a:pt x="7226" y="1743"/>
                    <a:pt x="6923" y="1685"/>
                  </a:cubicBezTo>
                  <a:cubicBezTo>
                    <a:pt x="6617" y="1622"/>
                    <a:pt x="6331" y="1608"/>
                    <a:pt x="6282" y="1617"/>
                  </a:cubicBezTo>
                  <a:cubicBezTo>
                    <a:pt x="6235" y="1638"/>
                    <a:pt x="6096" y="1637"/>
                    <a:pt x="5973" y="1602"/>
                  </a:cubicBezTo>
                  <a:cubicBezTo>
                    <a:pt x="5853" y="1562"/>
                    <a:pt x="5729" y="1584"/>
                    <a:pt x="5710" y="1635"/>
                  </a:cubicBezTo>
                  <a:cubicBezTo>
                    <a:pt x="5710" y="1691"/>
                    <a:pt x="5818" y="1900"/>
                    <a:pt x="5997" y="2111"/>
                  </a:cubicBezTo>
                  <a:cubicBezTo>
                    <a:pt x="6162" y="2336"/>
                    <a:pt x="6401" y="2564"/>
                    <a:pt x="6500" y="2649"/>
                  </a:cubicBezTo>
                  <a:cubicBezTo>
                    <a:pt x="6594" y="2736"/>
                    <a:pt x="6686" y="2841"/>
                    <a:pt x="6686" y="2893"/>
                  </a:cubicBezTo>
                  <a:cubicBezTo>
                    <a:pt x="6686" y="2946"/>
                    <a:pt x="6637" y="2974"/>
                    <a:pt x="6565" y="2974"/>
                  </a:cubicBezTo>
                  <a:cubicBezTo>
                    <a:pt x="6490" y="2969"/>
                    <a:pt x="6390" y="3031"/>
                    <a:pt x="6325" y="3100"/>
                  </a:cubicBezTo>
                  <a:cubicBezTo>
                    <a:pt x="6270" y="3184"/>
                    <a:pt x="6153" y="3190"/>
                    <a:pt x="6073" y="3158"/>
                  </a:cubicBezTo>
                  <a:cubicBezTo>
                    <a:pt x="6002" y="3091"/>
                    <a:pt x="5915" y="3007"/>
                    <a:pt x="5881" y="2939"/>
                  </a:cubicBezTo>
                  <a:cubicBezTo>
                    <a:pt x="5842" y="2875"/>
                    <a:pt x="5871" y="2773"/>
                    <a:pt x="5915" y="2752"/>
                  </a:cubicBezTo>
                  <a:cubicBezTo>
                    <a:pt x="5956" y="2718"/>
                    <a:pt x="5958" y="2619"/>
                    <a:pt x="5914" y="2522"/>
                  </a:cubicBezTo>
                  <a:cubicBezTo>
                    <a:pt x="5872" y="2428"/>
                    <a:pt x="5746" y="2308"/>
                    <a:pt x="5634" y="2270"/>
                  </a:cubicBezTo>
                  <a:cubicBezTo>
                    <a:pt x="5519" y="2231"/>
                    <a:pt x="5365" y="2278"/>
                    <a:pt x="5281" y="2370"/>
                  </a:cubicBezTo>
                  <a:cubicBezTo>
                    <a:pt x="5207" y="2475"/>
                    <a:pt x="5052" y="2573"/>
                    <a:pt x="4949" y="2588"/>
                  </a:cubicBezTo>
                  <a:cubicBezTo>
                    <a:pt x="4850" y="2616"/>
                    <a:pt x="4817" y="2707"/>
                    <a:pt x="4855" y="2811"/>
                  </a:cubicBezTo>
                  <a:cubicBezTo>
                    <a:pt x="4903" y="2910"/>
                    <a:pt x="5045" y="3080"/>
                    <a:pt x="5188" y="3151"/>
                  </a:cubicBezTo>
                  <a:cubicBezTo>
                    <a:pt x="5312" y="3252"/>
                    <a:pt x="5372" y="3316"/>
                    <a:pt x="5305" y="3348"/>
                  </a:cubicBezTo>
                  <a:cubicBezTo>
                    <a:pt x="5236" y="3358"/>
                    <a:pt x="5172" y="3458"/>
                    <a:pt x="5135" y="3536"/>
                  </a:cubicBezTo>
                  <a:cubicBezTo>
                    <a:pt x="5112" y="3620"/>
                    <a:pt x="4923" y="3638"/>
                    <a:pt x="4727" y="3556"/>
                  </a:cubicBezTo>
                  <a:cubicBezTo>
                    <a:pt x="4528" y="3487"/>
                    <a:pt x="4299" y="3449"/>
                    <a:pt x="4215" y="3480"/>
                  </a:cubicBezTo>
                  <a:cubicBezTo>
                    <a:pt x="4131" y="3498"/>
                    <a:pt x="4083" y="3591"/>
                    <a:pt x="4083" y="3666"/>
                  </a:cubicBezTo>
                  <a:cubicBezTo>
                    <a:pt x="4105" y="3735"/>
                    <a:pt x="3978" y="3790"/>
                    <a:pt x="3829" y="3766"/>
                  </a:cubicBezTo>
                  <a:cubicBezTo>
                    <a:pt x="3682" y="3747"/>
                    <a:pt x="3507" y="3768"/>
                    <a:pt x="3439" y="3813"/>
                  </a:cubicBezTo>
                  <a:cubicBezTo>
                    <a:pt x="3368" y="3854"/>
                    <a:pt x="3356" y="4039"/>
                    <a:pt x="3394" y="4222"/>
                  </a:cubicBezTo>
                  <a:cubicBezTo>
                    <a:pt x="3417" y="4408"/>
                    <a:pt x="3528" y="4611"/>
                    <a:pt x="3600" y="4668"/>
                  </a:cubicBezTo>
                  <a:cubicBezTo>
                    <a:pt x="3662" y="4739"/>
                    <a:pt x="3815" y="4839"/>
                    <a:pt x="3933" y="4884"/>
                  </a:cubicBezTo>
                  <a:cubicBezTo>
                    <a:pt x="4049" y="4940"/>
                    <a:pt x="4074" y="5039"/>
                    <a:pt x="3977" y="5077"/>
                  </a:cubicBezTo>
                  <a:cubicBezTo>
                    <a:pt x="3886" y="5130"/>
                    <a:pt x="3591" y="5086"/>
                    <a:pt x="3319" y="4996"/>
                  </a:cubicBezTo>
                  <a:cubicBezTo>
                    <a:pt x="3047" y="4894"/>
                    <a:pt x="2767" y="4863"/>
                    <a:pt x="2688" y="4868"/>
                  </a:cubicBezTo>
                  <a:cubicBezTo>
                    <a:pt x="2615" y="4900"/>
                    <a:pt x="2603" y="5050"/>
                    <a:pt x="2623" y="5226"/>
                  </a:cubicBezTo>
                  <a:cubicBezTo>
                    <a:pt x="2684" y="5389"/>
                    <a:pt x="2759" y="5627"/>
                    <a:pt x="2822" y="5752"/>
                  </a:cubicBezTo>
                  <a:cubicBezTo>
                    <a:pt x="2888" y="5874"/>
                    <a:pt x="3019" y="5997"/>
                    <a:pt x="3108" y="6028"/>
                  </a:cubicBezTo>
                  <a:cubicBezTo>
                    <a:pt x="3195" y="6063"/>
                    <a:pt x="3371" y="6121"/>
                    <a:pt x="3497" y="6143"/>
                  </a:cubicBezTo>
                  <a:cubicBezTo>
                    <a:pt x="3624" y="6178"/>
                    <a:pt x="3791" y="6264"/>
                    <a:pt x="3875" y="6343"/>
                  </a:cubicBezTo>
                  <a:cubicBezTo>
                    <a:pt x="3957" y="6422"/>
                    <a:pt x="4018" y="6538"/>
                    <a:pt x="4018" y="6599"/>
                  </a:cubicBezTo>
                  <a:cubicBezTo>
                    <a:pt x="4018" y="6661"/>
                    <a:pt x="4063" y="6822"/>
                    <a:pt x="4141" y="6941"/>
                  </a:cubicBezTo>
                  <a:cubicBezTo>
                    <a:pt x="4204" y="7070"/>
                    <a:pt x="4192" y="7205"/>
                    <a:pt x="4098" y="7232"/>
                  </a:cubicBezTo>
                  <a:cubicBezTo>
                    <a:pt x="4004" y="7265"/>
                    <a:pt x="3823" y="7242"/>
                    <a:pt x="3702" y="7163"/>
                  </a:cubicBezTo>
                  <a:cubicBezTo>
                    <a:pt x="3575" y="7090"/>
                    <a:pt x="3284" y="6922"/>
                    <a:pt x="3043" y="6818"/>
                  </a:cubicBezTo>
                  <a:cubicBezTo>
                    <a:pt x="2807" y="6694"/>
                    <a:pt x="2475" y="6609"/>
                    <a:pt x="2310" y="6623"/>
                  </a:cubicBezTo>
                  <a:cubicBezTo>
                    <a:pt x="2145" y="6638"/>
                    <a:pt x="2007" y="6710"/>
                    <a:pt x="1988" y="6790"/>
                  </a:cubicBezTo>
                  <a:cubicBezTo>
                    <a:pt x="1969" y="6871"/>
                    <a:pt x="2007" y="7021"/>
                    <a:pt x="2048" y="7126"/>
                  </a:cubicBezTo>
                  <a:cubicBezTo>
                    <a:pt x="2092" y="7230"/>
                    <a:pt x="2086" y="7386"/>
                    <a:pt x="2069" y="7486"/>
                  </a:cubicBezTo>
                  <a:cubicBezTo>
                    <a:pt x="2047" y="7584"/>
                    <a:pt x="1911" y="7709"/>
                    <a:pt x="1782" y="7752"/>
                  </a:cubicBezTo>
                  <a:cubicBezTo>
                    <a:pt x="1657" y="7807"/>
                    <a:pt x="1431" y="7756"/>
                    <a:pt x="1273" y="7661"/>
                  </a:cubicBezTo>
                  <a:cubicBezTo>
                    <a:pt x="1126" y="7552"/>
                    <a:pt x="883" y="7370"/>
                    <a:pt x="749" y="7238"/>
                  </a:cubicBezTo>
                  <a:cubicBezTo>
                    <a:pt x="608" y="7113"/>
                    <a:pt x="426" y="6908"/>
                    <a:pt x="344" y="6788"/>
                  </a:cubicBezTo>
                  <a:cubicBezTo>
                    <a:pt x="263" y="6667"/>
                    <a:pt x="140" y="6590"/>
                    <a:pt x="78" y="6584"/>
                  </a:cubicBezTo>
                  <a:cubicBezTo>
                    <a:pt x="20" y="6601"/>
                    <a:pt x="-14" y="6727"/>
                    <a:pt x="6" y="6894"/>
                  </a:cubicBezTo>
                  <a:cubicBezTo>
                    <a:pt x="27" y="7061"/>
                    <a:pt x="134" y="7331"/>
                    <a:pt x="224" y="7508"/>
                  </a:cubicBezTo>
                  <a:cubicBezTo>
                    <a:pt x="320" y="7682"/>
                    <a:pt x="565" y="7967"/>
                    <a:pt x="780" y="8118"/>
                  </a:cubicBezTo>
                  <a:close/>
                  <a:moveTo>
                    <a:pt x="780" y="81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 name="AutoShape 23"/>
            <p:cNvSpPr>
              <a:spLocks/>
            </p:cNvSpPr>
            <p:nvPr/>
          </p:nvSpPr>
          <p:spPr bwMode="auto">
            <a:xfrm>
              <a:off x="8382000" y="1282700"/>
              <a:ext cx="11113" cy="7938"/>
            </a:xfrm>
            <a:custGeom>
              <a:avLst/>
              <a:gdLst/>
              <a:ahLst/>
              <a:cxnLst/>
              <a:rect l="0" t="0" r="r" b="b"/>
              <a:pathLst>
                <a:path w="20921" h="20972">
                  <a:moveTo>
                    <a:pt x="1651" y="67"/>
                  </a:moveTo>
                  <a:cubicBezTo>
                    <a:pt x="142" y="-294"/>
                    <a:pt x="-388" y="834"/>
                    <a:pt x="292" y="2640"/>
                  </a:cubicBezTo>
                  <a:cubicBezTo>
                    <a:pt x="949" y="4491"/>
                    <a:pt x="4816" y="8684"/>
                    <a:pt x="8426" y="12601"/>
                  </a:cubicBezTo>
                  <a:cubicBezTo>
                    <a:pt x="12269" y="16071"/>
                    <a:pt x="16328" y="19962"/>
                    <a:pt x="17791" y="20509"/>
                  </a:cubicBezTo>
                  <a:cubicBezTo>
                    <a:pt x="19172" y="21306"/>
                    <a:pt x="20616" y="21001"/>
                    <a:pt x="20871" y="20148"/>
                  </a:cubicBezTo>
                  <a:cubicBezTo>
                    <a:pt x="21212" y="19352"/>
                    <a:pt x="19768" y="17069"/>
                    <a:pt x="18134" y="14742"/>
                  </a:cubicBezTo>
                  <a:cubicBezTo>
                    <a:pt x="16347" y="12616"/>
                    <a:pt x="12653" y="8379"/>
                    <a:pt x="9616" y="5806"/>
                  </a:cubicBezTo>
                  <a:cubicBezTo>
                    <a:pt x="6641" y="3117"/>
                    <a:pt x="3095" y="123"/>
                    <a:pt x="1651" y="67"/>
                  </a:cubicBezTo>
                  <a:close/>
                  <a:moveTo>
                    <a:pt x="1651" y="6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 name="AutoShape 24"/>
            <p:cNvSpPr>
              <a:spLocks/>
            </p:cNvSpPr>
            <p:nvPr/>
          </p:nvSpPr>
          <p:spPr bwMode="auto">
            <a:xfrm>
              <a:off x="8369300" y="1270000"/>
              <a:ext cx="31750" cy="11113"/>
            </a:xfrm>
            <a:custGeom>
              <a:avLst/>
              <a:gdLst/>
              <a:ahLst/>
              <a:cxnLst/>
              <a:rect l="0" t="0" r="r" b="b"/>
              <a:pathLst>
                <a:path w="21382" h="21326">
                  <a:moveTo>
                    <a:pt x="9627" y="14378"/>
                  </a:moveTo>
                  <a:cubicBezTo>
                    <a:pt x="10410" y="15499"/>
                    <a:pt x="11666" y="17354"/>
                    <a:pt x="12425" y="18288"/>
                  </a:cubicBezTo>
                  <a:cubicBezTo>
                    <a:pt x="13175" y="19328"/>
                    <a:pt x="15451" y="20587"/>
                    <a:pt x="17482" y="21008"/>
                  </a:cubicBezTo>
                  <a:cubicBezTo>
                    <a:pt x="19489" y="21555"/>
                    <a:pt x="21170" y="21287"/>
                    <a:pt x="21357" y="21020"/>
                  </a:cubicBezTo>
                  <a:cubicBezTo>
                    <a:pt x="21471" y="20530"/>
                    <a:pt x="21177" y="19490"/>
                    <a:pt x="20802" y="18345"/>
                  </a:cubicBezTo>
                  <a:cubicBezTo>
                    <a:pt x="20377" y="17344"/>
                    <a:pt x="19537" y="15755"/>
                    <a:pt x="18869" y="15196"/>
                  </a:cubicBezTo>
                  <a:cubicBezTo>
                    <a:pt x="18233" y="14378"/>
                    <a:pt x="17523" y="13948"/>
                    <a:pt x="17335" y="14216"/>
                  </a:cubicBezTo>
                  <a:cubicBezTo>
                    <a:pt x="17132" y="14297"/>
                    <a:pt x="16430" y="14087"/>
                    <a:pt x="15753" y="13527"/>
                  </a:cubicBezTo>
                  <a:cubicBezTo>
                    <a:pt x="15068" y="12956"/>
                    <a:pt x="13844" y="10925"/>
                    <a:pt x="12988" y="9092"/>
                  </a:cubicBezTo>
                  <a:cubicBezTo>
                    <a:pt x="12139" y="7294"/>
                    <a:pt x="11177" y="5662"/>
                    <a:pt x="10834" y="5873"/>
                  </a:cubicBezTo>
                  <a:cubicBezTo>
                    <a:pt x="10467" y="5954"/>
                    <a:pt x="9081" y="5043"/>
                    <a:pt x="7759" y="3805"/>
                  </a:cubicBezTo>
                  <a:cubicBezTo>
                    <a:pt x="6421" y="2768"/>
                    <a:pt x="4488" y="1181"/>
                    <a:pt x="3420" y="749"/>
                  </a:cubicBezTo>
                  <a:cubicBezTo>
                    <a:pt x="2368" y="259"/>
                    <a:pt x="1062" y="48"/>
                    <a:pt x="549" y="3"/>
                  </a:cubicBezTo>
                  <a:cubicBezTo>
                    <a:pt x="43" y="-45"/>
                    <a:pt x="-129" y="655"/>
                    <a:pt x="100" y="1554"/>
                  </a:cubicBezTo>
                  <a:cubicBezTo>
                    <a:pt x="345" y="2452"/>
                    <a:pt x="1332" y="4728"/>
                    <a:pt x="2327" y="6245"/>
                  </a:cubicBezTo>
                  <a:cubicBezTo>
                    <a:pt x="3273" y="8066"/>
                    <a:pt x="4994" y="10260"/>
                    <a:pt x="6136" y="10867"/>
                  </a:cubicBezTo>
                  <a:cubicBezTo>
                    <a:pt x="7253" y="11847"/>
                    <a:pt x="8819" y="13434"/>
                    <a:pt x="9627" y="14378"/>
                  </a:cubicBezTo>
                  <a:close/>
                  <a:moveTo>
                    <a:pt x="9627" y="143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 name="AutoShape 25"/>
            <p:cNvSpPr>
              <a:spLocks/>
            </p:cNvSpPr>
            <p:nvPr/>
          </p:nvSpPr>
          <p:spPr bwMode="auto">
            <a:xfrm>
              <a:off x="8394700" y="1282700"/>
              <a:ext cx="11113" cy="4763"/>
            </a:xfrm>
            <a:custGeom>
              <a:avLst/>
              <a:gdLst/>
              <a:ahLst/>
              <a:cxnLst/>
              <a:rect l="0" t="0" r="r" b="b"/>
              <a:pathLst>
                <a:path w="21002" h="20261">
                  <a:moveTo>
                    <a:pt x="4343" y="7342"/>
                  </a:moveTo>
                  <a:cubicBezTo>
                    <a:pt x="7450" y="10667"/>
                    <a:pt x="12504" y="15095"/>
                    <a:pt x="15502" y="17806"/>
                  </a:cubicBezTo>
                  <a:cubicBezTo>
                    <a:pt x="18633" y="19660"/>
                    <a:pt x="21002" y="20947"/>
                    <a:pt x="21002" y="19865"/>
                  </a:cubicBezTo>
                  <a:cubicBezTo>
                    <a:pt x="20668" y="18888"/>
                    <a:pt x="18721" y="15032"/>
                    <a:pt x="15972" y="11912"/>
                  </a:cubicBezTo>
                  <a:cubicBezTo>
                    <a:pt x="13422" y="8487"/>
                    <a:pt x="8971" y="4489"/>
                    <a:pt x="6290" y="2793"/>
                  </a:cubicBezTo>
                  <a:cubicBezTo>
                    <a:pt x="3672" y="855"/>
                    <a:pt x="674" y="-653"/>
                    <a:pt x="161" y="287"/>
                  </a:cubicBezTo>
                  <a:cubicBezTo>
                    <a:pt x="-598" y="571"/>
                    <a:pt x="1413" y="3612"/>
                    <a:pt x="4343" y="7342"/>
                  </a:cubicBezTo>
                  <a:close/>
                  <a:moveTo>
                    <a:pt x="4343" y="73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 name="AutoShape 26"/>
            <p:cNvSpPr>
              <a:spLocks/>
            </p:cNvSpPr>
            <p:nvPr/>
          </p:nvSpPr>
          <p:spPr bwMode="auto">
            <a:xfrm>
              <a:off x="9271000" y="1790700"/>
              <a:ext cx="4763" cy="4763"/>
            </a:xfrm>
            <a:custGeom>
              <a:avLst/>
              <a:gdLst/>
              <a:ahLst/>
              <a:cxnLst/>
              <a:rect l="0" t="0" r="r" b="b"/>
              <a:pathLst>
                <a:path w="20157" h="20411">
                  <a:moveTo>
                    <a:pt x="10902" y="15257"/>
                  </a:moveTo>
                  <a:cubicBezTo>
                    <a:pt x="15127" y="19379"/>
                    <a:pt x="19826" y="21020"/>
                    <a:pt x="19826" y="20210"/>
                  </a:cubicBezTo>
                  <a:cubicBezTo>
                    <a:pt x="20263" y="19524"/>
                    <a:pt x="19039" y="17482"/>
                    <a:pt x="17619" y="15820"/>
                  </a:cubicBezTo>
                  <a:cubicBezTo>
                    <a:pt x="16277" y="14009"/>
                    <a:pt x="15127" y="12031"/>
                    <a:pt x="14734" y="11367"/>
                  </a:cubicBezTo>
                  <a:cubicBezTo>
                    <a:pt x="14734" y="10638"/>
                    <a:pt x="16195" y="9657"/>
                    <a:pt x="17970" y="10118"/>
                  </a:cubicBezTo>
                  <a:cubicBezTo>
                    <a:pt x="19749" y="10118"/>
                    <a:pt x="20776" y="8783"/>
                    <a:pt x="19749" y="7266"/>
                  </a:cubicBezTo>
                  <a:cubicBezTo>
                    <a:pt x="18641" y="5809"/>
                    <a:pt x="16037" y="3541"/>
                    <a:pt x="13826" y="1773"/>
                  </a:cubicBezTo>
                  <a:cubicBezTo>
                    <a:pt x="11457" y="379"/>
                    <a:pt x="6955" y="-580"/>
                    <a:pt x="3954" y="400"/>
                  </a:cubicBezTo>
                  <a:cubicBezTo>
                    <a:pt x="874" y="792"/>
                    <a:pt x="-824" y="3312"/>
                    <a:pt x="400" y="5246"/>
                  </a:cubicBezTo>
                  <a:cubicBezTo>
                    <a:pt x="1464" y="7348"/>
                    <a:pt x="6086" y="12096"/>
                    <a:pt x="10902" y="15257"/>
                  </a:cubicBezTo>
                  <a:close/>
                  <a:moveTo>
                    <a:pt x="10902" y="152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 name="AutoShape 27"/>
            <p:cNvSpPr>
              <a:spLocks/>
            </p:cNvSpPr>
            <p:nvPr/>
          </p:nvSpPr>
          <p:spPr bwMode="auto">
            <a:xfrm>
              <a:off x="9258300" y="1765300"/>
              <a:ext cx="9525" cy="6350"/>
            </a:xfrm>
            <a:custGeom>
              <a:avLst/>
              <a:gdLst/>
              <a:ahLst/>
              <a:cxnLst/>
              <a:rect l="0" t="0" r="r" b="b"/>
              <a:pathLst>
                <a:path w="20813" h="20509">
                  <a:moveTo>
                    <a:pt x="8451" y="3194"/>
                  </a:moveTo>
                  <a:cubicBezTo>
                    <a:pt x="7049" y="2540"/>
                    <a:pt x="4344" y="1671"/>
                    <a:pt x="2541" y="653"/>
                  </a:cubicBezTo>
                  <a:cubicBezTo>
                    <a:pt x="690" y="-53"/>
                    <a:pt x="-332" y="-361"/>
                    <a:pt x="97" y="635"/>
                  </a:cubicBezTo>
                  <a:cubicBezTo>
                    <a:pt x="548" y="1634"/>
                    <a:pt x="3776" y="5352"/>
                    <a:pt x="7312" y="8707"/>
                  </a:cubicBezTo>
                  <a:cubicBezTo>
                    <a:pt x="10825" y="12209"/>
                    <a:pt x="15146" y="16362"/>
                    <a:pt x="16472" y="18754"/>
                  </a:cubicBezTo>
                  <a:cubicBezTo>
                    <a:pt x="18064" y="20585"/>
                    <a:pt x="19988" y="21239"/>
                    <a:pt x="20390" y="19464"/>
                  </a:cubicBezTo>
                  <a:cubicBezTo>
                    <a:pt x="21268" y="18212"/>
                    <a:pt x="20675" y="15218"/>
                    <a:pt x="19559" y="13532"/>
                  </a:cubicBezTo>
                  <a:cubicBezTo>
                    <a:pt x="18539" y="11808"/>
                    <a:pt x="16069" y="9234"/>
                    <a:pt x="14336" y="7239"/>
                  </a:cubicBezTo>
                  <a:cubicBezTo>
                    <a:pt x="12627" y="5278"/>
                    <a:pt x="9852" y="3629"/>
                    <a:pt x="8451" y="3194"/>
                  </a:cubicBezTo>
                  <a:close/>
                  <a:moveTo>
                    <a:pt x="8451" y="319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 name="AutoShape 28"/>
            <p:cNvSpPr>
              <a:spLocks/>
            </p:cNvSpPr>
            <p:nvPr/>
          </p:nvSpPr>
          <p:spPr bwMode="auto">
            <a:xfrm>
              <a:off x="9271000" y="1765300"/>
              <a:ext cx="17463" cy="12700"/>
            </a:xfrm>
            <a:custGeom>
              <a:avLst/>
              <a:gdLst/>
              <a:ahLst/>
              <a:cxnLst/>
              <a:rect l="0" t="0" r="r" b="b"/>
              <a:pathLst>
                <a:path w="21198" h="21456">
                  <a:moveTo>
                    <a:pt x="2100" y="3589"/>
                  </a:moveTo>
                  <a:cubicBezTo>
                    <a:pt x="3597" y="5417"/>
                    <a:pt x="5602" y="8051"/>
                    <a:pt x="6740" y="9274"/>
                  </a:cubicBezTo>
                  <a:cubicBezTo>
                    <a:pt x="7938" y="10388"/>
                    <a:pt x="10034" y="12374"/>
                    <a:pt x="11576" y="13388"/>
                  </a:cubicBezTo>
                  <a:cubicBezTo>
                    <a:pt x="13057" y="14622"/>
                    <a:pt x="15617" y="16590"/>
                    <a:pt x="17070" y="18290"/>
                  </a:cubicBezTo>
                  <a:cubicBezTo>
                    <a:pt x="18671" y="19739"/>
                    <a:pt x="20198" y="21331"/>
                    <a:pt x="20721" y="21421"/>
                  </a:cubicBezTo>
                  <a:cubicBezTo>
                    <a:pt x="21230" y="21600"/>
                    <a:pt x="21365" y="21063"/>
                    <a:pt x="20962" y="20456"/>
                  </a:cubicBezTo>
                  <a:cubicBezTo>
                    <a:pt x="20529" y="19821"/>
                    <a:pt x="19480" y="18090"/>
                    <a:pt x="18402" y="16808"/>
                  </a:cubicBezTo>
                  <a:cubicBezTo>
                    <a:pt x="17278" y="15605"/>
                    <a:pt x="17413" y="14850"/>
                    <a:pt x="18462" y="15336"/>
                  </a:cubicBezTo>
                  <a:cubicBezTo>
                    <a:pt x="19464" y="16012"/>
                    <a:pt x="20152" y="15815"/>
                    <a:pt x="19944" y="15149"/>
                  </a:cubicBezTo>
                  <a:cubicBezTo>
                    <a:pt x="19571" y="14591"/>
                    <a:pt x="18207" y="12436"/>
                    <a:pt x="16666" y="10547"/>
                  </a:cubicBezTo>
                  <a:cubicBezTo>
                    <a:pt x="15199" y="8519"/>
                    <a:pt x="12190" y="5995"/>
                    <a:pt x="10304" y="4354"/>
                  </a:cubicBezTo>
                  <a:cubicBezTo>
                    <a:pt x="8357" y="2813"/>
                    <a:pt x="6338" y="1531"/>
                    <a:pt x="5828" y="1620"/>
                  </a:cubicBezTo>
                  <a:cubicBezTo>
                    <a:pt x="5289" y="1620"/>
                    <a:pt x="5364" y="2675"/>
                    <a:pt x="6051" y="3817"/>
                  </a:cubicBezTo>
                  <a:cubicBezTo>
                    <a:pt x="6846" y="4851"/>
                    <a:pt x="6950" y="5816"/>
                    <a:pt x="6605" y="5685"/>
                  </a:cubicBezTo>
                  <a:cubicBezTo>
                    <a:pt x="6231" y="5506"/>
                    <a:pt x="4720" y="4134"/>
                    <a:pt x="3253" y="2664"/>
                  </a:cubicBezTo>
                  <a:cubicBezTo>
                    <a:pt x="1711" y="1341"/>
                    <a:pt x="348" y="0"/>
                    <a:pt x="49" y="0"/>
                  </a:cubicBezTo>
                  <a:cubicBezTo>
                    <a:pt x="-235" y="0"/>
                    <a:pt x="737" y="1561"/>
                    <a:pt x="2100" y="3589"/>
                  </a:cubicBezTo>
                  <a:close/>
                  <a:moveTo>
                    <a:pt x="2100" y="35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 name="AutoShape 29"/>
            <p:cNvSpPr>
              <a:spLocks/>
            </p:cNvSpPr>
            <p:nvPr/>
          </p:nvSpPr>
          <p:spPr bwMode="auto">
            <a:xfrm>
              <a:off x="9156700" y="1562100"/>
              <a:ext cx="106363" cy="85725"/>
            </a:xfrm>
            <a:custGeom>
              <a:avLst/>
              <a:gdLst/>
              <a:ahLst/>
              <a:cxnLst/>
              <a:rect l="0" t="0" r="r" b="b"/>
              <a:pathLst>
                <a:path w="21557" h="21500">
                  <a:moveTo>
                    <a:pt x="1184" y="1434"/>
                  </a:moveTo>
                  <a:cubicBezTo>
                    <a:pt x="1512" y="1715"/>
                    <a:pt x="2004" y="2208"/>
                    <a:pt x="2295" y="2498"/>
                  </a:cubicBezTo>
                  <a:cubicBezTo>
                    <a:pt x="2588" y="2782"/>
                    <a:pt x="2744" y="2997"/>
                    <a:pt x="2744" y="3050"/>
                  </a:cubicBezTo>
                  <a:cubicBezTo>
                    <a:pt x="2699" y="3050"/>
                    <a:pt x="2511" y="2949"/>
                    <a:pt x="2315" y="2805"/>
                  </a:cubicBezTo>
                  <a:cubicBezTo>
                    <a:pt x="2119" y="2659"/>
                    <a:pt x="1826" y="2392"/>
                    <a:pt x="1660" y="2215"/>
                  </a:cubicBezTo>
                  <a:cubicBezTo>
                    <a:pt x="1497" y="2030"/>
                    <a:pt x="1171" y="1705"/>
                    <a:pt x="933" y="1497"/>
                  </a:cubicBezTo>
                  <a:cubicBezTo>
                    <a:pt x="705" y="1275"/>
                    <a:pt x="444" y="1033"/>
                    <a:pt x="351" y="994"/>
                  </a:cubicBezTo>
                  <a:cubicBezTo>
                    <a:pt x="261" y="938"/>
                    <a:pt x="311" y="1003"/>
                    <a:pt x="434" y="1177"/>
                  </a:cubicBezTo>
                  <a:cubicBezTo>
                    <a:pt x="562" y="1349"/>
                    <a:pt x="828" y="1647"/>
                    <a:pt x="1018" y="1858"/>
                  </a:cubicBezTo>
                  <a:cubicBezTo>
                    <a:pt x="1184" y="2100"/>
                    <a:pt x="1309" y="2228"/>
                    <a:pt x="1309" y="2262"/>
                  </a:cubicBezTo>
                  <a:cubicBezTo>
                    <a:pt x="1279" y="2252"/>
                    <a:pt x="1380" y="2448"/>
                    <a:pt x="1530" y="2667"/>
                  </a:cubicBezTo>
                  <a:cubicBezTo>
                    <a:pt x="1685" y="2874"/>
                    <a:pt x="1954" y="3221"/>
                    <a:pt x="2150" y="3403"/>
                  </a:cubicBezTo>
                  <a:cubicBezTo>
                    <a:pt x="2338" y="3600"/>
                    <a:pt x="2661" y="3884"/>
                    <a:pt x="2864" y="4040"/>
                  </a:cubicBezTo>
                  <a:cubicBezTo>
                    <a:pt x="3067" y="4191"/>
                    <a:pt x="3358" y="4492"/>
                    <a:pt x="3539" y="4657"/>
                  </a:cubicBezTo>
                  <a:cubicBezTo>
                    <a:pt x="3695" y="4852"/>
                    <a:pt x="3913" y="5085"/>
                    <a:pt x="3975" y="5222"/>
                  </a:cubicBezTo>
                  <a:cubicBezTo>
                    <a:pt x="4051" y="5349"/>
                    <a:pt x="4587" y="6014"/>
                    <a:pt x="5179" y="6690"/>
                  </a:cubicBezTo>
                  <a:cubicBezTo>
                    <a:pt x="5774" y="7365"/>
                    <a:pt x="6499" y="8132"/>
                    <a:pt x="6765" y="8427"/>
                  </a:cubicBezTo>
                  <a:cubicBezTo>
                    <a:pt x="7056" y="8678"/>
                    <a:pt x="7442" y="9052"/>
                    <a:pt x="7650" y="9205"/>
                  </a:cubicBezTo>
                  <a:cubicBezTo>
                    <a:pt x="7860" y="9355"/>
                    <a:pt x="7981" y="9499"/>
                    <a:pt x="7913" y="9499"/>
                  </a:cubicBezTo>
                  <a:cubicBezTo>
                    <a:pt x="7850" y="9509"/>
                    <a:pt x="7640" y="9422"/>
                    <a:pt x="7447" y="9304"/>
                  </a:cubicBezTo>
                  <a:cubicBezTo>
                    <a:pt x="7256" y="9174"/>
                    <a:pt x="7216" y="9274"/>
                    <a:pt x="7294" y="9545"/>
                  </a:cubicBezTo>
                  <a:cubicBezTo>
                    <a:pt x="7417" y="9791"/>
                    <a:pt x="7856" y="10426"/>
                    <a:pt x="8299" y="10918"/>
                  </a:cubicBezTo>
                  <a:cubicBezTo>
                    <a:pt x="8743" y="11412"/>
                    <a:pt x="9313" y="12098"/>
                    <a:pt x="9571" y="12418"/>
                  </a:cubicBezTo>
                  <a:cubicBezTo>
                    <a:pt x="9827" y="12745"/>
                    <a:pt x="10193" y="13178"/>
                    <a:pt x="10314" y="13439"/>
                  </a:cubicBezTo>
                  <a:cubicBezTo>
                    <a:pt x="10471" y="13670"/>
                    <a:pt x="10740" y="14018"/>
                    <a:pt x="10923" y="14199"/>
                  </a:cubicBezTo>
                  <a:cubicBezTo>
                    <a:pt x="11114" y="14366"/>
                    <a:pt x="11395" y="14695"/>
                    <a:pt x="11550" y="14918"/>
                  </a:cubicBezTo>
                  <a:cubicBezTo>
                    <a:pt x="11708" y="15139"/>
                    <a:pt x="11856" y="15374"/>
                    <a:pt x="11823" y="15407"/>
                  </a:cubicBezTo>
                  <a:cubicBezTo>
                    <a:pt x="11788" y="15438"/>
                    <a:pt x="12089" y="15842"/>
                    <a:pt x="12440" y="16253"/>
                  </a:cubicBezTo>
                  <a:cubicBezTo>
                    <a:pt x="12792" y="16672"/>
                    <a:pt x="13363" y="17333"/>
                    <a:pt x="13692" y="17760"/>
                  </a:cubicBezTo>
                  <a:cubicBezTo>
                    <a:pt x="14008" y="18199"/>
                    <a:pt x="14558" y="18770"/>
                    <a:pt x="14866" y="19079"/>
                  </a:cubicBezTo>
                  <a:cubicBezTo>
                    <a:pt x="15184" y="19376"/>
                    <a:pt x="15543" y="19797"/>
                    <a:pt x="15651" y="20006"/>
                  </a:cubicBezTo>
                  <a:cubicBezTo>
                    <a:pt x="15791" y="20191"/>
                    <a:pt x="16080" y="20520"/>
                    <a:pt x="16275" y="20776"/>
                  </a:cubicBezTo>
                  <a:cubicBezTo>
                    <a:pt x="16511" y="20984"/>
                    <a:pt x="16880" y="21288"/>
                    <a:pt x="17121" y="21417"/>
                  </a:cubicBezTo>
                  <a:cubicBezTo>
                    <a:pt x="17354" y="21563"/>
                    <a:pt x="17540" y="21505"/>
                    <a:pt x="17504" y="21333"/>
                  </a:cubicBezTo>
                  <a:cubicBezTo>
                    <a:pt x="17462" y="21166"/>
                    <a:pt x="17492" y="20915"/>
                    <a:pt x="17524" y="20776"/>
                  </a:cubicBezTo>
                  <a:cubicBezTo>
                    <a:pt x="17562" y="20641"/>
                    <a:pt x="17705" y="20548"/>
                    <a:pt x="17815" y="20604"/>
                  </a:cubicBezTo>
                  <a:cubicBezTo>
                    <a:pt x="17921" y="20658"/>
                    <a:pt x="17931" y="20529"/>
                    <a:pt x="17795" y="20383"/>
                  </a:cubicBezTo>
                  <a:cubicBezTo>
                    <a:pt x="17680" y="20217"/>
                    <a:pt x="17497" y="19981"/>
                    <a:pt x="17422" y="19829"/>
                  </a:cubicBezTo>
                  <a:cubicBezTo>
                    <a:pt x="17351" y="19674"/>
                    <a:pt x="17524" y="19640"/>
                    <a:pt x="17825" y="19680"/>
                  </a:cubicBezTo>
                  <a:cubicBezTo>
                    <a:pt x="18121" y="19773"/>
                    <a:pt x="18508" y="19899"/>
                    <a:pt x="18678" y="20004"/>
                  </a:cubicBezTo>
                  <a:cubicBezTo>
                    <a:pt x="18834" y="20140"/>
                    <a:pt x="19137" y="20386"/>
                    <a:pt x="19348" y="20571"/>
                  </a:cubicBezTo>
                  <a:cubicBezTo>
                    <a:pt x="19544" y="20779"/>
                    <a:pt x="19824" y="21041"/>
                    <a:pt x="19982" y="21119"/>
                  </a:cubicBezTo>
                  <a:cubicBezTo>
                    <a:pt x="20130" y="21212"/>
                    <a:pt x="20208" y="21209"/>
                    <a:pt x="20208" y="21094"/>
                  </a:cubicBezTo>
                  <a:cubicBezTo>
                    <a:pt x="20208" y="20981"/>
                    <a:pt x="20186" y="20816"/>
                    <a:pt x="20158" y="20742"/>
                  </a:cubicBezTo>
                  <a:cubicBezTo>
                    <a:pt x="20158" y="20661"/>
                    <a:pt x="20309" y="20681"/>
                    <a:pt x="20504" y="20790"/>
                  </a:cubicBezTo>
                  <a:cubicBezTo>
                    <a:pt x="20700" y="20900"/>
                    <a:pt x="21013" y="20979"/>
                    <a:pt x="21199" y="21007"/>
                  </a:cubicBezTo>
                  <a:cubicBezTo>
                    <a:pt x="21387" y="21020"/>
                    <a:pt x="21470" y="20934"/>
                    <a:pt x="21430" y="20804"/>
                  </a:cubicBezTo>
                  <a:cubicBezTo>
                    <a:pt x="21385" y="20672"/>
                    <a:pt x="21397" y="20607"/>
                    <a:pt x="21485" y="20614"/>
                  </a:cubicBezTo>
                  <a:cubicBezTo>
                    <a:pt x="21573" y="20602"/>
                    <a:pt x="21580" y="20458"/>
                    <a:pt x="21507" y="20209"/>
                  </a:cubicBezTo>
                  <a:cubicBezTo>
                    <a:pt x="21430" y="19966"/>
                    <a:pt x="21186" y="19564"/>
                    <a:pt x="20986" y="19290"/>
                  </a:cubicBezTo>
                  <a:cubicBezTo>
                    <a:pt x="20787" y="19009"/>
                    <a:pt x="20186" y="18381"/>
                    <a:pt x="19692" y="17850"/>
                  </a:cubicBezTo>
                  <a:cubicBezTo>
                    <a:pt x="19177" y="17339"/>
                    <a:pt x="18503" y="16666"/>
                    <a:pt x="18249" y="16287"/>
                  </a:cubicBezTo>
                  <a:cubicBezTo>
                    <a:pt x="17951" y="15964"/>
                    <a:pt x="17585" y="15547"/>
                    <a:pt x="17467" y="15339"/>
                  </a:cubicBezTo>
                  <a:cubicBezTo>
                    <a:pt x="17306" y="15173"/>
                    <a:pt x="16800" y="14615"/>
                    <a:pt x="16311" y="14137"/>
                  </a:cubicBezTo>
                  <a:cubicBezTo>
                    <a:pt x="15816" y="13656"/>
                    <a:pt x="15214" y="13132"/>
                    <a:pt x="14981" y="12938"/>
                  </a:cubicBezTo>
                  <a:cubicBezTo>
                    <a:pt x="14753" y="12748"/>
                    <a:pt x="14515" y="12570"/>
                    <a:pt x="14455" y="12570"/>
                  </a:cubicBezTo>
                  <a:cubicBezTo>
                    <a:pt x="14397" y="12551"/>
                    <a:pt x="14146" y="12379"/>
                    <a:pt x="13928" y="12141"/>
                  </a:cubicBezTo>
                  <a:cubicBezTo>
                    <a:pt x="13679" y="11946"/>
                    <a:pt x="13223" y="11514"/>
                    <a:pt x="12899" y="11212"/>
                  </a:cubicBezTo>
                  <a:cubicBezTo>
                    <a:pt x="12568" y="10915"/>
                    <a:pt x="11954" y="10288"/>
                    <a:pt x="11495" y="9886"/>
                  </a:cubicBezTo>
                  <a:cubicBezTo>
                    <a:pt x="11069" y="9431"/>
                    <a:pt x="10587" y="8981"/>
                    <a:pt x="10439" y="8875"/>
                  </a:cubicBezTo>
                  <a:cubicBezTo>
                    <a:pt x="10296" y="8756"/>
                    <a:pt x="10186" y="8694"/>
                    <a:pt x="10186" y="8736"/>
                  </a:cubicBezTo>
                  <a:cubicBezTo>
                    <a:pt x="10186" y="8776"/>
                    <a:pt x="10030" y="8657"/>
                    <a:pt x="9824" y="8498"/>
                  </a:cubicBezTo>
                  <a:cubicBezTo>
                    <a:pt x="9626" y="8328"/>
                    <a:pt x="9328" y="8053"/>
                    <a:pt x="9182" y="7860"/>
                  </a:cubicBezTo>
                  <a:cubicBezTo>
                    <a:pt x="9007" y="7708"/>
                    <a:pt x="8668" y="7282"/>
                    <a:pt x="8372" y="6996"/>
                  </a:cubicBezTo>
                  <a:cubicBezTo>
                    <a:pt x="8071" y="6726"/>
                    <a:pt x="7730" y="6380"/>
                    <a:pt x="7587" y="6280"/>
                  </a:cubicBezTo>
                  <a:cubicBezTo>
                    <a:pt x="7447" y="6181"/>
                    <a:pt x="7407" y="6203"/>
                    <a:pt x="7474" y="6353"/>
                  </a:cubicBezTo>
                  <a:cubicBezTo>
                    <a:pt x="7549" y="6501"/>
                    <a:pt x="7522" y="6547"/>
                    <a:pt x="7409" y="6443"/>
                  </a:cubicBezTo>
                  <a:cubicBezTo>
                    <a:pt x="7284" y="6375"/>
                    <a:pt x="6865" y="5942"/>
                    <a:pt x="6468" y="5527"/>
                  </a:cubicBezTo>
                  <a:cubicBezTo>
                    <a:pt x="6062" y="5119"/>
                    <a:pt x="5588" y="4632"/>
                    <a:pt x="5395" y="4467"/>
                  </a:cubicBezTo>
                  <a:cubicBezTo>
                    <a:pt x="5204" y="4301"/>
                    <a:pt x="5102" y="4236"/>
                    <a:pt x="5167" y="4317"/>
                  </a:cubicBezTo>
                  <a:cubicBezTo>
                    <a:pt x="5229" y="4405"/>
                    <a:pt x="5510" y="4711"/>
                    <a:pt x="5789" y="5001"/>
                  </a:cubicBezTo>
                  <a:cubicBezTo>
                    <a:pt x="6075" y="5287"/>
                    <a:pt x="6393" y="5641"/>
                    <a:pt x="6511" y="5784"/>
                  </a:cubicBezTo>
                  <a:cubicBezTo>
                    <a:pt x="6627" y="5917"/>
                    <a:pt x="6644" y="6049"/>
                    <a:pt x="6564" y="6023"/>
                  </a:cubicBezTo>
                  <a:cubicBezTo>
                    <a:pt x="6478" y="6049"/>
                    <a:pt x="6536" y="6150"/>
                    <a:pt x="6667" y="6352"/>
                  </a:cubicBezTo>
                  <a:cubicBezTo>
                    <a:pt x="6815" y="6546"/>
                    <a:pt x="6820" y="6619"/>
                    <a:pt x="6689" y="6516"/>
                  </a:cubicBezTo>
                  <a:cubicBezTo>
                    <a:pt x="6562" y="6398"/>
                    <a:pt x="6298" y="6161"/>
                    <a:pt x="6110" y="5965"/>
                  </a:cubicBezTo>
                  <a:cubicBezTo>
                    <a:pt x="5919" y="5776"/>
                    <a:pt x="5365" y="5073"/>
                    <a:pt x="4891" y="4401"/>
                  </a:cubicBezTo>
                  <a:cubicBezTo>
                    <a:pt x="4402" y="3749"/>
                    <a:pt x="3767" y="3005"/>
                    <a:pt x="3482" y="2751"/>
                  </a:cubicBezTo>
                  <a:cubicBezTo>
                    <a:pt x="3185" y="2510"/>
                    <a:pt x="2754" y="2110"/>
                    <a:pt x="2486" y="1923"/>
                  </a:cubicBezTo>
                  <a:cubicBezTo>
                    <a:pt x="2250" y="1691"/>
                    <a:pt x="1716" y="1275"/>
                    <a:pt x="1329" y="949"/>
                  </a:cubicBezTo>
                  <a:cubicBezTo>
                    <a:pt x="961" y="595"/>
                    <a:pt x="479" y="292"/>
                    <a:pt x="344" y="135"/>
                  </a:cubicBezTo>
                  <a:cubicBezTo>
                    <a:pt x="181" y="24"/>
                    <a:pt x="3" y="-37"/>
                    <a:pt x="3" y="25"/>
                  </a:cubicBezTo>
                  <a:cubicBezTo>
                    <a:pt x="-20" y="83"/>
                    <a:pt x="105" y="295"/>
                    <a:pt x="276" y="513"/>
                  </a:cubicBezTo>
                  <a:cubicBezTo>
                    <a:pt x="457" y="717"/>
                    <a:pt x="863" y="1138"/>
                    <a:pt x="1184" y="1434"/>
                  </a:cubicBezTo>
                  <a:close/>
                  <a:moveTo>
                    <a:pt x="1184" y="14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 name="AutoShape 30"/>
            <p:cNvSpPr>
              <a:spLocks/>
            </p:cNvSpPr>
            <p:nvPr/>
          </p:nvSpPr>
          <p:spPr bwMode="auto">
            <a:xfrm>
              <a:off x="8928100" y="1409700"/>
              <a:ext cx="103188" cy="74613"/>
            </a:xfrm>
            <a:custGeom>
              <a:avLst/>
              <a:gdLst/>
              <a:ahLst/>
              <a:cxnLst/>
              <a:rect l="0" t="0" r="r" b="b"/>
              <a:pathLst>
                <a:path w="21571" h="21546">
                  <a:moveTo>
                    <a:pt x="424" y="834"/>
                  </a:moveTo>
                  <a:cubicBezTo>
                    <a:pt x="568" y="1031"/>
                    <a:pt x="821" y="1419"/>
                    <a:pt x="1010" y="1644"/>
                  </a:cubicBezTo>
                  <a:cubicBezTo>
                    <a:pt x="1154" y="1931"/>
                    <a:pt x="1268" y="2197"/>
                    <a:pt x="1190" y="2265"/>
                  </a:cubicBezTo>
                  <a:cubicBezTo>
                    <a:pt x="1113" y="2333"/>
                    <a:pt x="1038" y="2531"/>
                    <a:pt x="994" y="2669"/>
                  </a:cubicBezTo>
                  <a:cubicBezTo>
                    <a:pt x="927" y="2784"/>
                    <a:pt x="834" y="2977"/>
                    <a:pt x="726" y="3050"/>
                  </a:cubicBezTo>
                  <a:cubicBezTo>
                    <a:pt x="620" y="3136"/>
                    <a:pt x="609" y="3311"/>
                    <a:pt x="687" y="3499"/>
                  </a:cubicBezTo>
                  <a:cubicBezTo>
                    <a:pt x="790" y="3656"/>
                    <a:pt x="1296" y="4506"/>
                    <a:pt x="1864" y="5332"/>
                  </a:cubicBezTo>
                  <a:cubicBezTo>
                    <a:pt x="2424" y="6188"/>
                    <a:pt x="3163" y="7116"/>
                    <a:pt x="3465" y="7474"/>
                  </a:cubicBezTo>
                  <a:cubicBezTo>
                    <a:pt x="3785" y="7783"/>
                    <a:pt x="4289" y="8305"/>
                    <a:pt x="4598" y="8575"/>
                  </a:cubicBezTo>
                  <a:cubicBezTo>
                    <a:pt x="4919" y="8820"/>
                    <a:pt x="5296" y="9249"/>
                    <a:pt x="5453" y="9480"/>
                  </a:cubicBezTo>
                  <a:cubicBezTo>
                    <a:pt x="5605" y="9720"/>
                    <a:pt x="5990" y="10290"/>
                    <a:pt x="6235" y="10828"/>
                  </a:cubicBezTo>
                  <a:cubicBezTo>
                    <a:pt x="6511" y="11334"/>
                    <a:pt x="6685" y="11894"/>
                    <a:pt x="6728" y="12014"/>
                  </a:cubicBezTo>
                  <a:cubicBezTo>
                    <a:pt x="6685" y="12134"/>
                    <a:pt x="6757" y="12368"/>
                    <a:pt x="6790" y="12493"/>
                  </a:cubicBezTo>
                  <a:cubicBezTo>
                    <a:pt x="6827" y="12620"/>
                    <a:pt x="6992" y="12883"/>
                    <a:pt x="7154" y="13092"/>
                  </a:cubicBezTo>
                  <a:cubicBezTo>
                    <a:pt x="7325" y="13285"/>
                    <a:pt x="7552" y="13494"/>
                    <a:pt x="7663" y="13557"/>
                  </a:cubicBezTo>
                  <a:cubicBezTo>
                    <a:pt x="7774" y="13634"/>
                    <a:pt x="7862" y="13544"/>
                    <a:pt x="7921" y="13462"/>
                  </a:cubicBezTo>
                  <a:cubicBezTo>
                    <a:pt x="7921" y="13349"/>
                    <a:pt x="8208" y="13367"/>
                    <a:pt x="8487" y="13505"/>
                  </a:cubicBezTo>
                  <a:cubicBezTo>
                    <a:pt x="8773" y="13634"/>
                    <a:pt x="9140" y="13861"/>
                    <a:pt x="9295" y="14023"/>
                  </a:cubicBezTo>
                  <a:cubicBezTo>
                    <a:pt x="9468" y="14156"/>
                    <a:pt x="9754" y="14517"/>
                    <a:pt x="9961" y="14775"/>
                  </a:cubicBezTo>
                  <a:cubicBezTo>
                    <a:pt x="10152" y="15052"/>
                    <a:pt x="10777" y="15631"/>
                    <a:pt x="11293" y="16142"/>
                  </a:cubicBezTo>
                  <a:cubicBezTo>
                    <a:pt x="11822" y="16636"/>
                    <a:pt x="12424" y="17155"/>
                    <a:pt x="12641" y="17303"/>
                  </a:cubicBezTo>
                  <a:cubicBezTo>
                    <a:pt x="12853" y="17439"/>
                    <a:pt x="13067" y="17530"/>
                    <a:pt x="13129" y="17530"/>
                  </a:cubicBezTo>
                  <a:cubicBezTo>
                    <a:pt x="13191" y="17507"/>
                    <a:pt x="13451" y="17616"/>
                    <a:pt x="13681" y="17836"/>
                  </a:cubicBezTo>
                  <a:cubicBezTo>
                    <a:pt x="13922" y="18018"/>
                    <a:pt x="14492" y="18487"/>
                    <a:pt x="14928" y="18912"/>
                  </a:cubicBezTo>
                  <a:cubicBezTo>
                    <a:pt x="15380" y="19304"/>
                    <a:pt x="16028" y="19885"/>
                    <a:pt x="16395" y="20151"/>
                  </a:cubicBezTo>
                  <a:cubicBezTo>
                    <a:pt x="16746" y="20436"/>
                    <a:pt x="17273" y="20776"/>
                    <a:pt x="17544" y="20961"/>
                  </a:cubicBezTo>
                  <a:cubicBezTo>
                    <a:pt x="17823" y="21119"/>
                    <a:pt x="18295" y="21360"/>
                    <a:pt x="18610" y="21457"/>
                  </a:cubicBezTo>
                  <a:cubicBezTo>
                    <a:pt x="18925" y="21553"/>
                    <a:pt x="19258" y="21587"/>
                    <a:pt x="19258" y="21478"/>
                  </a:cubicBezTo>
                  <a:cubicBezTo>
                    <a:pt x="19297" y="21383"/>
                    <a:pt x="19232" y="21181"/>
                    <a:pt x="19150" y="20972"/>
                  </a:cubicBezTo>
                  <a:cubicBezTo>
                    <a:pt x="19041" y="20795"/>
                    <a:pt x="19096" y="20582"/>
                    <a:pt x="19256" y="20582"/>
                  </a:cubicBezTo>
                  <a:cubicBezTo>
                    <a:pt x="19416" y="20559"/>
                    <a:pt x="19800" y="20613"/>
                    <a:pt x="20118" y="20650"/>
                  </a:cubicBezTo>
                  <a:cubicBezTo>
                    <a:pt x="20430" y="20741"/>
                    <a:pt x="20880" y="20856"/>
                    <a:pt x="21128" y="20926"/>
                  </a:cubicBezTo>
                  <a:cubicBezTo>
                    <a:pt x="21365" y="21026"/>
                    <a:pt x="21566" y="21010"/>
                    <a:pt x="21566" y="20913"/>
                  </a:cubicBezTo>
                  <a:cubicBezTo>
                    <a:pt x="21600" y="20834"/>
                    <a:pt x="21432" y="20561"/>
                    <a:pt x="21272" y="20310"/>
                  </a:cubicBezTo>
                  <a:cubicBezTo>
                    <a:pt x="21089" y="20098"/>
                    <a:pt x="20521" y="19441"/>
                    <a:pt x="19953" y="18955"/>
                  </a:cubicBezTo>
                  <a:cubicBezTo>
                    <a:pt x="19390" y="18455"/>
                    <a:pt x="18458" y="17557"/>
                    <a:pt x="17879" y="16981"/>
                  </a:cubicBezTo>
                  <a:cubicBezTo>
                    <a:pt x="17286" y="16428"/>
                    <a:pt x="16452" y="15527"/>
                    <a:pt x="16008" y="15027"/>
                  </a:cubicBezTo>
                  <a:cubicBezTo>
                    <a:pt x="15543" y="14558"/>
                    <a:pt x="15094" y="13954"/>
                    <a:pt x="14965" y="13748"/>
                  </a:cubicBezTo>
                  <a:cubicBezTo>
                    <a:pt x="14830" y="13550"/>
                    <a:pt x="14737" y="13283"/>
                    <a:pt x="14737" y="13172"/>
                  </a:cubicBezTo>
                  <a:cubicBezTo>
                    <a:pt x="14737" y="13061"/>
                    <a:pt x="14642" y="12847"/>
                    <a:pt x="14554" y="12679"/>
                  </a:cubicBezTo>
                  <a:cubicBezTo>
                    <a:pt x="14451" y="12523"/>
                    <a:pt x="14239" y="12264"/>
                    <a:pt x="14082" y="12126"/>
                  </a:cubicBezTo>
                  <a:cubicBezTo>
                    <a:pt x="13916" y="12001"/>
                    <a:pt x="13281" y="11477"/>
                    <a:pt x="12641" y="11046"/>
                  </a:cubicBezTo>
                  <a:cubicBezTo>
                    <a:pt x="12014" y="10572"/>
                    <a:pt x="11035" y="9818"/>
                    <a:pt x="10459" y="9393"/>
                  </a:cubicBezTo>
                  <a:cubicBezTo>
                    <a:pt x="9907" y="8915"/>
                    <a:pt x="9062" y="8203"/>
                    <a:pt x="8603" y="7790"/>
                  </a:cubicBezTo>
                  <a:cubicBezTo>
                    <a:pt x="8136" y="7384"/>
                    <a:pt x="7087" y="6292"/>
                    <a:pt x="6220" y="5471"/>
                  </a:cubicBezTo>
                  <a:cubicBezTo>
                    <a:pt x="5388" y="4593"/>
                    <a:pt x="4229" y="3542"/>
                    <a:pt x="3700" y="3029"/>
                  </a:cubicBezTo>
                  <a:cubicBezTo>
                    <a:pt x="3168" y="2533"/>
                    <a:pt x="2282" y="1750"/>
                    <a:pt x="1738" y="1294"/>
                  </a:cubicBezTo>
                  <a:cubicBezTo>
                    <a:pt x="1190" y="847"/>
                    <a:pt x="571" y="373"/>
                    <a:pt x="387" y="194"/>
                  </a:cubicBezTo>
                  <a:cubicBezTo>
                    <a:pt x="186" y="64"/>
                    <a:pt x="31" y="-13"/>
                    <a:pt x="0" y="1"/>
                  </a:cubicBezTo>
                  <a:cubicBezTo>
                    <a:pt x="0" y="46"/>
                    <a:pt x="57" y="155"/>
                    <a:pt x="57" y="282"/>
                  </a:cubicBezTo>
                  <a:cubicBezTo>
                    <a:pt x="101" y="400"/>
                    <a:pt x="261" y="658"/>
                    <a:pt x="424" y="834"/>
                  </a:cubicBezTo>
                  <a:close/>
                  <a:moveTo>
                    <a:pt x="424" y="8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 name="AutoShape 31"/>
            <p:cNvSpPr>
              <a:spLocks/>
            </p:cNvSpPr>
            <p:nvPr/>
          </p:nvSpPr>
          <p:spPr bwMode="auto">
            <a:xfrm>
              <a:off x="8737600" y="1701800"/>
              <a:ext cx="203200" cy="188913"/>
            </a:xfrm>
            <a:custGeom>
              <a:avLst/>
              <a:gdLst/>
              <a:ahLst/>
              <a:cxnLst/>
              <a:rect l="0" t="0" r="r" b="b"/>
              <a:pathLst>
                <a:path w="21559" h="21574">
                  <a:moveTo>
                    <a:pt x="16447" y="15803"/>
                  </a:moveTo>
                  <a:cubicBezTo>
                    <a:pt x="16290" y="15607"/>
                    <a:pt x="15995" y="15400"/>
                    <a:pt x="15799" y="15334"/>
                  </a:cubicBezTo>
                  <a:cubicBezTo>
                    <a:pt x="15604" y="15264"/>
                    <a:pt x="15161" y="14879"/>
                    <a:pt x="14821" y="14469"/>
                  </a:cubicBezTo>
                  <a:cubicBezTo>
                    <a:pt x="14496" y="14044"/>
                    <a:pt x="13851" y="13369"/>
                    <a:pt x="13417" y="12945"/>
                  </a:cubicBezTo>
                  <a:cubicBezTo>
                    <a:pt x="12987" y="12518"/>
                    <a:pt x="12453" y="11858"/>
                    <a:pt x="12204" y="11497"/>
                  </a:cubicBezTo>
                  <a:cubicBezTo>
                    <a:pt x="11968" y="11123"/>
                    <a:pt x="11565" y="10572"/>
                    <a:pt x="11302" y="10280"/>
                  </a:cubicBezTo>
                  <a:cubicBezTo>
                    <a:pt x="11044" y="9985"/>
                    <a:pt x="10713" y="9432"/>
                    <a:pt x="10563" y="9055"/>
                  </a:cubicBezTo>
                  <a:cubicBezTo>
                    <a:pt x="10408" y="8683"/>
                    <a:pt x="10123" y="8160"/>
                    <a:pt x="9909" y="7901"/>
                  </a:cubicBezTo>
                  <a:cubicBezTo>
                    <a:pt x="9688" y="7652"/>
                    <a:pt x="9322" y="7082"/>
                    <a:pt x="9106" y="6637"/>
                  </a:cubicBezTo>
                  <a:cubicBezTo>
                    <a:pt x="8870" y="6208"/>
                    <a:pt x="8629" y="5759"/>
                    <a:pt x="8554" y="5650"/>
                  </a:cubicBezTo>
                  <a:cubicBezTo>
                    <a:pt x="8482" y="5542"/>
                    <a:pt x="8445" y="5372"/>
                    <a:pt x="8484" y="5278"/>
                  </a:cubicBezTo>
                  <a:cubicBezTo>
                    <a:pt x="8542" y="5195"/>
                    <a:pt x="8504" y="5027"/>
                    <a:pt x="8452" y="4927"/>
                  </a:cubicBezTo>
                  <a:cubicBezTo>
                    <a:pt x="8393" y="4836"/>
                    <a:pt x="8218" y="4682"/>
                    <a:pt x="8050" y="4601"/>
                  </a:cubicBezTo>
                  <a:cubicBezTo>
                    <a:pt x="7882" y="4515"/>
                    <a:pt x="7645" y="4452"/>
                    <a:pt x="7530" y="4463"/>
                  </a:cubicBezTo>
                  <a:cubicBezTo>
                    <a:pt x="7414" y="4479"/>
                    <a:pt x="7207" y="4389"/>
                    <a:pt x="7067" y="4287"/>
                  </a:cubicBezTo>
                  <a:cubicBezTo>
                    <a:pt x="6931" y="4176"/>
                    <a:pt x="6828" y="4059"/>
                    <a:pt x="6857" y="4031"/>
                  </a:cubicBezTo>
                  <a:cubicBezTo>
                    <a:pt x="6882" y="3999"/>
                    <a:pt x="7105" y="4045"/>
                    <a:pt x="7359" y="4146"/>
                  </a:cubicBezTo>
                  <a:cubicBezTo>
                    <a:pt x="7610" y="4253"/>
                    <a:pt x="7956" y="4296"/>
                    <a:pt x="8118" y="4261"/>
                  </a:cubicBezTo>
                  <a:cubicBezTo>
                    <a:pt x="8286" y="4237"/>
                    <a:pt x="8381" y="3974"/>
                    <a:pt x="8284" y="3714"/>
                  </a:cubicBezTo>
                  <a:cubicBezTo>
                    <a:pt x="8189" y="3455"/>
                    <a:pt x="8090" y="3108"/>
                    <a:pt x="7991" y="2975"/>
                  </a:cubicBezTo>
                  <a:cubicBezTo>
                    <a:pt x="7903" y="2839"/>
                    <a:pt x="7713" y="2711"/>
                    <a:pt x="7569" y="2677"/>
                  </a:cubicBezTo>
                  <a:cubicBezTo>
                    <a:pt x="7424" y="2649"/>
                    <a:pt x="7182" y="2600"/>
                    <a:pt x="7033" y="2600"/>
                  </a:cubicBezTo>
                  <a:cubicBezTo>
                    <a:pt x="6886" y="2570"/>
                    <a:pt x="6785" y="2513"/>
                    <a:pt x="6839" y="2493"/>
                  </a:cubicBezTo>
                  <a:cubicBezTo>
                    <a:pt x="6881" y="2453"/>
                    <a:pt x="7087" y="2420"/>
                    <a:pt x="7299" y="2430"/>
                  </a:cubicBezTo>
                  <a:cubicBezTo>
                    <a:pt x="7512" y="2436"/>
                    <a:pt x="7692" y="2387"/>
                    <a:pt x="7712" y="2320"/>
                  </a:cubicBezTo>
                  <a:cubicBezTo>
                    <a:pt x="7730" y="2254"/>
                    <a:pt x="7660" y="2119"/>
                    <a:pt x="7560" y="2039"/>
                  </a:cubicBezTo>
                  <a:cubicBezTo>
                    <a:pt x="7469" y="1951"/>
                    <a:pt x="7114" y="1803"/>
                    <a:pt x="6786" y="1683"/>
                  </a:cubicBezTo>
                  <a:cubicBezTo>
                    <a:pt x="6457" y="1560"/>
                    <a:pt x="5805" y="1329"/>
                    <a:pt x="5351" y="1125"/>
                  </a:cubicBezTo>
                  <a:cubicBezTo>
                    <a:pt x="4891" y="939"/>
                    <a:pt x="4351" y="651"/>
                    <a:pt x="4147" y="508"/>
                  </a:cubicBezTo>
                  <a:cubicBezTo>
                    <a:pt x="3947" y="361"/>
                    <a:pt x="3657" y="212"/>
                    <a:pt x="3515" y="162"/>
                  </a:cubicBezTo>
                  <a:cubicBezTo>
                    <a:pt x="3367" y="122"/>
                    <a:pt x="3039" y="129"/>
                    <a:pt x="2780" y="188"/>
                  </a:cubicBezTo>
                  <a:cubicBezTo>
                    <a:pt x="2521" y="254"/>
                    <a:pt x="2057" y="201"/>
                    <a:pt x="1741" y="121"/>
                  </a:cubicBezTo>
                  <a:cubicBezTo>
                    <a:pt x="1434" y="12"/>
                    <a:pt x="1111" y="-16"/>
                    <a:pt x="1022" y="9"/>
                  </a:cubicBezTo>
                  <a:cubicBezTo>
                    <a:pt x="938" y="53"/>
                    <a:pt x="713" y="128"/>
                    <a:pt x="523" y="185"/>
                  </a:cubicBezTo>
                  <a:cubicBezTo>
                    <a:pt x="336" y="256"/>
                    <a:pt x="209" y="423"/>
                    <a:pt x="250" y="579"/>
                  </a:cubicBezTo>
                  <a:cubicBezTo>
                    <a:pt x="287" y="736"/>
                    <a:pt x="321" y="937"/>
                    <a:pt x="277" y="1001"/>
                  </a:cubicBezTo>
                  <a:cubicBezTo>
                    <a:pt x="260" y="1080"/>
                    <a:pt x="314" y="1268"/>
                    <a:pt x="410" y="1426"/>
                  </a:cubicBezTo>
                  <a:cubicBezTo>
                    <a:pt x="508" y="1584"/>
                    <a:pt x="727" y="1772"/>
                    <a:pt x="894" y="1832"/>
                  </a:cubicBezTo>
                  <a:cubicBezTo>
                    <a:pt x="1059" y="1896"/>
                    <a:pt x="1274" y="2002"/>
                    <a:pt x="1353" y="2087"/>
                  </a:cubicBezTo>
                  <a:cubicBezTo>
                    <a:pt x="1440" y="2159"/>
                    <a:pt x="1507" y="2278"/>
                    <a:pt x="1489" y="2343"/>
                  </a:cubicBezTo>
                  <a:cubicBezTo>
                    <a:pt x="1468" y="2407"/>
                    <a:pt x="1332" y="2411"/>
                    <a:pt x="1161" y="2360"/>
                  </a:cubicBezTo>
                  <a:cubicBezTo>
                    <a:pt x="995" y="2287"/>
                    <a:pt x="708" y="2248"/>
                    <a:pt x="534" y="2232"/>
                  </a:cubicBezTo>
                  <a:cubicBezTo>
                    <a:pt x="355" y="2227"/>
                    <a:pt x="128" y="2335"/>
                    <a:pt x="69" y="2510"/>
                  </a:cubicBezTo>
                  <a:cubicBezTo>
                    <a:pt x="-12" y="2674"/>
                    <a:pt x="-8" y="2938"/>
                    <a:pt x="13" y="3106"/>
                  </a:cubicBezTo>
                  <a:cubicBezTo>
                    <a:pt x="53" y="3268"/>
                    <a:pt x="191" y="3489"/>
                    <a:pt x="308" y="3595"/>
                  </a:cubicBezTo>
                  <a:cubicBezTo>
                    <a:pt x="434" y="3688"/>
                    <a:pt x="627" y="3801"/>
                    <a:pt x="762" y="3806"/>
                  </a:cubicBezTo>
                  <a:cubicBezTo>
                    <a:pt x="899" y="3806"/>
                    <a:pt x="1170" y="3800"/>
                    <a:pt x="1367" y="3768"/>
                  </a:cubicBezTo>
                  <a:cubicBezTo>
                    <a:pt x="1567" y="3741"/>
                    <a:pt x="1783" y="3777"/>
                    <a:pt x="1843" y="3856"/>
                  </a:cubicBezTo>
                  <a:cubicBezTo>
                    <a:pt x="1911" y="3924"/>
                    <a:pt x="1859" y="4058"/>
                    <a:pt x="1732" y="4115"/>
                  </a:cubicBezTo>
                  <a:cubicBezTo>
                    <a:pt x="1606" y="4183"/>
                    <a:pt x="1504" y="4331"/>
                    <a:pt x="1521" y="4442"/>
                  </a:cubicBezTo>
                  <a:cubicBezTo>
                    <a:pt x="1538" y="4556"/>
                    <a:pt x="1623" y="4674"/>
                    <a:pt x="1724" y="4706"/>
                  </a:cubicBezTo>
                  <a:cubicBezTo>
                    <a:pt x="1826" y="4728"/>
                    <a:pt x="1974" y="4700"/>
                    <a:pt x="2048" y="4615"/>
                  </a:cubicBezTo>
                  <a:cubicBezTo>
                    <a:pt x="2134" y="4544"/>
                    <a:pt x="2282" y="4472"/>
                    <a:pt x="2392" y="4488"/>
                  </a:cubicBezTo>
                  <a:cubicBezTo>
                    <a:pt x="2502" y="4493"/>
                    <a:pt x="2642" y="4574"/>
                    <a:pt x="2709" y="4648"/>
                  </a:cubicBezTo>
                  <a:cubicBezTo>
                    <a:pt x="2776" y="4719"/>
                    <a:pt x="2741" y="4849"/>
                    <a:pt x="2627" y="4900"/>
                  </a:cubicBezTo>
                  <a:cubicBezTo>
                    <a:pt x="2521" y="4969"/>
                    <a:pt x="2418" y="5094"/>
                    <a:pt x="2439" y="5190"/>
                  </a:cubicBezTo>
                  <a:cubicBezTo>
                    <a:pt x="2439" y="5288"/>
                    <a:pt x="2588" y="5505"/>
                    <a:pt x="2768" y="5661"/>
                  </a:cubicBezTo>
                  <a:cubicBezTo>
                    <a:pt x="2945" y="5822"/>
                    <a:pt x="3243" y="6005"/>
                    <a:pt x="3430" y="6061"/>
                  </a:cubicBezTo>
                  <a:cubicBezTo>
                    <a:pt x="3615" y="6121"/>
                    <a:pt x="3695" y="6173"/>
                    <a:pt x="3609" y="6196"/>
                  </a:cubicBezTo>
                  <a:cubicBezTo>
                    <a:pt x="3517" y="6202"/>
                    <a:pt x="3343" y="6196"/>
                    <a:pt x="3217" y="6162"/>
                  </a:cubicBezTo>
                  <a:cubicBezTo>
                    <a:pt x="3091" y="6127"/>
                    <a:pt x="2917" y="6147"/>
                    <a:pt x="2827" y="6200"/>
                  </a:cubicBezTo>
                  <a:cubicBezTo>
                    <a:pt x="2737" y="6248"/>
                    <a:pt x="2708" y="6385"/>
                    <a:pt x="2747" y="6493"/>
                  </a:cubicBezTo>
                  <a:cubicBezTo>
                    <a:pt x="2785" y="6600"/>
                    <a:pt x="2953" y="6836"/>
                    <a:pt x="3107" y="7021"/>
                  </a:cubicBezTo>
                  <a:cubicBezTo>
                    <a:pt x="3256" y="7212"/>
                    <a:pt x="3332" y="7367"/>
                    <a:pt x="3277" y="7411"/>
                  </a:cubicBezTo>
                  <a:cubicBezTo>
                    <a:pt x="3223" y="7455"/>
                    <a:pt x="3079" y="7407"/>
                    <a:pt x="2970" y="7343"/>
                  </a:cubicBezTo>
                  <a:cubicBezTo>
                    <a:pt x="2858" y="7278"/>
                    <a:pt x="2644" y="7217"/>
                    <a:pt x="2491" y="7196"/>
                  </a:cubicBezTo>
                  <a:cubicBezTo>
                    <a:pt x="2336" y="7196"/>
                    <a:pt x="2081" y="7091"/>
                    <a:pt x="1925" y="6986"/>
                  </a:cubicBezTo>
                  <a:cubicBezTo>
                    <a:pt x="1772" y="6878"/>
                    <a:pt x="1545" y="6776"/>
                    <a:pt x="1427" y="6754"/>
                  </a:cubicBezTo>
                  <a:cubicBezTo>
                    <a:pt x="1309" y="6733"/>
                    <a:pt x="1131" y="6805"/>
                    <a:pt x="1022" y="6917"/>
                  </a:cubicBezTo>
                  <a:cubicBezTo>
                    <a:pt x="913" y="7029"/>
                    <a:pt x="876" y="7256"/>
                    <a:pt x="938" y="7413"/>
                  </a:cubicBezTo>
                  <a:cubicBezTo>
                    <a:pt x="998" y="7570"/>
                    <a:pt x="1141" y="7873"/>
                    <a:pt x="1266" y="8081"/>
                  </a:cubicBezTo>
                  <a:cubicBezTo>
                    <a:pt x="1368" y="8303"/>
                    <a:pt x="1519" y="8595"/>
                    <a:pt x="1519" y="8756"/>
                  </a:cubicBezTo>
                  <a:cubicBezTo>
                    <a:pt x="1519" y="8918"/>
                    <a:pt x="1630" y="9174"/>
                    <a:pt x="1725" y="9329"/>
                  </a:cubicBezTo>
                  <a:cubicBezTo>
                    <a:pt x="1817" y="9487"/>
                    <a:pt x="2150" y="9817"/>
                    <a:pt x="2461" y="10065"/>
                  </a:cubicBezTo>
                  <a:cubicBezTo>
                    <a:pt x="2767" y="10323"/>
                    <a:pt x="3053" y="10603"/>
                    <a:pt x="3098" y="10698"/>
                  </a:cubicBezTo>
                  <a:cubicBezTo>
                    <a:pt x="3137" y="10795"/>
                    <a:pt x="3413" y="11081"/>
                    <a:pt x="3725" y="11313"/>
                  </a:cubicBezTo>
                  <a:cubicBezTo>
                    <a:pt x="4039" y="11540"/>
                    <a:pt x="4432" y="11841"/>
                    <a:pt x="4624" y="11946"/>
                  </a:cubicBezTo>
                  <a:cubicBezTo>
                    <a:pt x="4811" y="12057"/>
                    <a:pt x="5032" y="12134"/>
                    <a:pt x="5111" y="12112"/>
                  </a:cubicBezTo>
                  <a:cubicBezTo>
                    <a:pt x="5193" y="12108"/>
                    <a:pt x="5367" y="12092"/>
                    <a:pt x="5504" y="12104"/>
                  </a:cubicBezTo>
                  <a:cubicBezTo>
                    <a:pt x="5643" y="12118"/>
                    <a:pt x="5848" y="12015"/>
                    <a:pt x="5915" y="11854"/>
                  </a:cubicBezTo>
                  <a:cubicBezTo>
                    <a:pt x="5992" y="11698"/>
                    <a:pt x="5971" y="11393"/>
                    <a:pt x="5832" y="11170"/>
                  </a:cubicBezTo>
                  <a:cubicBezTo>
                    <a:pt x="5698" y="10945"/>
                    <a:pt x="5571" y="10645"/>
                    <a:pt x="5571" y="10506"/>
                  </a:cubicBezTo>
                  <a:cubicBezTo>
                    <a:pt x="5571" y="10368"/>
                    <a:pt x="5601" y="10168"/>
                    <a:pt x="5671" y="10066"/>
                  </a:cubicBezTo>
                  <a:cubicBezTo>
                    <a:pt x="5746" y="9970"/>
                    <a:pt x="5779" y="10003"/>
                    <a:pt x="5743" y="10152"/>
                  </a:cubicBezTo>
                  <a:cubicBezTo>
                    <a:pt x="5703" y="10300"/>
                    <a:pt x="5716" y="10520"/>
                    <a:pt x="5756" y="10628"/>
                  </a:cubicBezTo>
                  <a:cubicBezTo>
                    <a:pt x="5793" y="10735"/>
                    <a:pt x="5917" y="10926"/>
                    <a:pt x="6027" y="11066"/>
                  </a:cubicBezTo>
                  <a:cubicBezTo>
                    <a:pt x="6151" y="11189"/>
                    <a:pt x="6342" y="11494"/>
                    <a:pt x="6488" y="11710"/>
                  </a:cubicBezTo>
                  <a:cubicBezTo>
                    <a:pt x="6631" y="11931"/>
                    <a:pt x="6837" y="12170"/>
                    <a:pt x="6962" y="12233"/>
                  </a:cubicBezTo>
                  <a:cubicBezTo>
                    <a:pt x="7090" y="12288"/>
                    <a:pt x="7262" y="12311"/>
                    <a:pt x="7360" y="12284"/>
                  </a:cubicBezTo>
                  <a:cubicBezTo>
                    <a:pt x="7457" y="12253"/>
                    <a:pt x="7504" y="12131"/>
                    <a:pt x="7466" y="12025"/>
                  </a:cubicBezTo>
                  <a:cubicBezTo>
                    <a:pt x="7428" y="11919"/>
                    <a:pt x="7443" y="11730"/>
                    <a:pt x="7484" y="11604"/>
                  </a:cubicBezTo>
                  <a:cubicBezTo>
                    <a:pt x="7503" y="11469"/>
                    <a:pt x="7627" y="11451"/>
                    <a:pt x="7700" y="11544"/>
                  </a:cubicBezTo>
                  <a:cubicBezTo>
                    <a:pt x="7782" y="11632"/>
                    <a:pt x="7831" y="11762"/>
                    <a:pt x="7831" y="11820"/>
                  </a:cubicBezTo>
                  <a:cubicBezTo>
                    <a:pt x="7831" y="11880"/>
                    <a:pt x="7886" y="12039"/>
                    <a:pt x="7922" y="12187"/>
                  </a:cubicBezTo>
                  <a:cubicBezTo>
                    <a:pt x="7985" y="12327"/>
                    <a:pt x="8249" y="12675"/>
                    <a:pt x="8500" y="12980"/>
                  </a:cubicBezTo>
                  <a:cubicBezTo>
                    <a:pt x="8765" y="13274"/>
                    <a:pt x="9184" y="13653"/>
                    <a:pt x="9432" y="13833"/>
                  </a:cubicBezTo>
                  <a:cubicBezTo>
                    <a:pt x="9696" y="13991"/>
                    <a:pt x="10008" y="14182"/>
                    <a:pt x="10149" y="14226"/>
                  </a:cubicBezTo>
                  <a:cubicBezTo>
                    <a:pt x="10296" y="14265"/>
                    <a:pt x="10493" y="14256"/>
                    <a:pt x="10597" y="14240"/>
                  </a:cubicBezTo>
                  <a:cubicBezTo>
                    <a:pt x="10693" y="14197"/>
                    <a:pt x="10857" y="14243"/>
                    <a:pt x="10963" y="14300"/>
                  </a:cubicBezTo>
                  <a:cubicBezTo>
                    <a:pt x="11066" y="14361"/>
                    <a:pt x="11121" y="14460"/>
                    <a:pt x="11098" y="14509"/>
                  </a:cubicBezTo>
                  <a:cubicBezTo>
                    <a:pt x="11063" y="14548"/>
                    <a:pt x="10970" y="14575"/>
                    <a:pt x="10872" y="14538"/>
                  </a:cubicBezTo>
                  <a:cubicBezTo>
                    <a:pt x="10772" y="14511"/>
                    <a:pt x="10663" y="14542"/>
                    <a:pt x="10644" y="14621"/>
                  </a:cubicBezTo>
                  <a:cubicBezTo>
                    <a:pt x="10590" y="14682"/>
                    <a:pt x="10506" y="14775"/>
                    <a:pt x="10407" y="14814"/>
                  </a:cubicBezTo>
                  <a:cubicBezTo>
                    <a:pt x="10306" y="14851"/>
                    <a:pt x="10215" y="14931"/>
                    <a:pt x="10215" y="15012"/>
                  </a:cubicBezTo>
                  <a:cubicBezTo>
                    <a:pt x="10233" y="15090"/>
                    <a:pt x="10385" y="15299"/>
                    <a:pt x="10591" y="15483"/>
                  </a:cubicBezTo>
                  <a:cubicBezTo>
                    <a:pt x="10812" y="15646"/>
                    <a:pt x="11016" y="15903"/>
                    <a:pt x="11070" y="16024"/>
                  </a:cubicBezTo>
                  <a:cubicBezTo>
                    <a:pt x="11127" y="16140"/>
                    <a:pt x="11074" y="16231"/>
                    <a:pt x="10972" y="16190"/>
                  </a:cubicBezTo>
                  <a:cubicBezTo>
                    <a:pt x="10865" y="16184"/>
                    <a:pt x="10689" y="16079"/>
                    <a:pt x="10567" y="16024"/>
                  </a:cubicBezTo>
                  <a:cubicBezTo>
                    <a:pt x="10458" y="15952"/>
                    <a:pt x="10410" y="15986"/>
                    <a:pt x="10429" y="16093"/>
                  </a:cubicBezTo>
                  <a:cubicBezTo>
                    <a:pt x="10474" y="16190"/>
                    <a:pt x="10599" y="16383"/>
                    <a:pt x="10735" y="16488"/>
                  </a:cubicBezTo>
                  <a:cubicBezTo>
                    <a:pt x="10858" y="16615"/>
                    <a:pt x="11204" y="16787"/>
                    <a:pt x="11482" y="16900"/>
                  </a:cubicBezTo>
                  <a:cubicBezTo>
                    <a:pt x="11765" y="17010"/>
                    <a:pt x="12170" y="17206"/>
                    <a:pt x="12381" y="17344"/>
                  </a:cubicBezTo>
                  <a:cubicBezTo>
                    <a:pt x="12596" y="17472"/>
                    <a:pt x="12909" y="17596"/>
                    <a:pt x="13080" y="17622"/>
                  </a:cubicBezTo>
                  <a:cubicBezTo>
                    <a:pt x="13251" y="17639"/>
                    <a:pt x="13602" y="17792"/>
                    <a:pt x="13864" y="17939"/>
                  </a:cubicBezTo>
                  <a:cubicBezTo>
                    <a:pt x="14123" y="18094"/>
                    <a:pt x="14292" y="18096"/>
                    <a:pt x="14220" y="17950"/>
                  </a:cubicBezTo>
                  <a:cubicBezTo>
                    <a:pt x="14161" y="17802"/>
                    <a:pt x="14199" y="17742"/>
                    <a:pt x="14319" y="17796"/>
                  </a:cubicBezTo>
                  <a:cubicBezTo>
                    <a:pt x="14425" y="17871"/>
                    <a:pt x="14612" y="17999"/>
                    <a:pt x="14696" y="18123"/>
                  </a:cubicBezTo>
                  <a:cubicBezTo>
                    <a:pt x="14783" y="18246"/>
                    <a:pt x="14983" y="18538"/>
                    <a:pt x="15134" y="18779"/>
                  </a:cubicBezTo>
                  <a:cubicBezTo>
                    <a:pt x="15292" y="19013"/>
                    <a:pt x="15544" y="19341"/>
                    <a:pt x="15722" y="19491"/>
                  </a:cubicBezTo>
                  <a:cubicBezTo>
                    <a:pt x="15894" y="19643"/>
                    <a:pt x="16139" y="19794"/>
                    <a:pt x="16259" y="19816"/>
                  </a:cubicBezTo>
                  <a:cubicBezTo>
                    <a:pt x="16378" y="19848"/>
                    <a:pt x="16544" y="19800"/>
                    <a:pt x="16621" y="19707"/>
                  </a:cubicBezTo>
                  <a:cubicBezTo>
                    <a:pt x="16698" y="19612"/>
                    <a:pt x="16688" y="19399"/>
                    <a:pt x="16594" y="19220"/>
                  </a:cubicBezTo>
                  <a:cubicBezTo>
                    <a:pt x="16495" y="19045"/>
                    <a:pt x="16194" y="18766"/>
                    <a:pt x="15930" y="18588"/>
                  </a:cubicBezTo>
                  <a:cubicBezTo>
                    <a:pt x="15656" y="18429"/>
                    <a:pt x="15357" y="18225"/>
                    <a:pt x="15262" y="18147"/>
                  </a:cubicBezTo>
                  <a:cubicBezTo>
                    <a:pt x="15165" y="18074"/>
                    <a:pt x="15140" y="18014"/>
                    <a:pt x="15203" y="17988"/>
                  </a:cubicBezTo>
                  <a:cubicBezTo>
                    <a:pt x="15266" y="17967"/>
                    <a:pt x="15434" y="18024"/>
                    <a:pt x="15577" y="18087"/>
                  </a:cubicBezTo>
                  <a:cubicBezTo>
                    <a:pt x="15714" y="18165"/>
                    <a:pt x="16012" y="18325"/>
                    <a:pt x="16215" y="18489"/>
                  </a:cubicBezTo>
                  <a:cubicBezTo>
                    <a:pt x="16426" y="18646"/>
                    <a:pt x="16693" y="18886"/>
                    <a:pt x="16812" y="19025"/>
                  </a:cubicBezTo>
                  <a:cubicBezTo>
                    <a:pt x="16931" y="19169"/>
                    <a:pt x="17130" y="19446"/>
                    <a:pt x="17276" y="19621"/>
                  </a:cubicBezTo>
                  <a:cubicBezTo>
                    <a:pt x="17421" y="19802"/>
                    <a:pt x="17579" y="19973"/>
                    <a:pt x="17642" y="19990"/>
                  </a:cubicBezTo>
                  <a:cubicBezTo>
                    <a:pt x="17707" y="19995"/>
                    <a:pt x="17731" y="19916"/>
                    <a:pt x="17752" y="19796"/>
                  </a:cubicBezTo>
                  <a:cubicBezTo>
                    <a:pt x="17752" y="19673"/>
                    <a:pt x="17795" y="19575"/>
                    <a:pt x="17858" y="19569"/>
                  </a:cubicBezTo>
                  <a:cubicBezTo>
                    <a:pt x="17920" y="19573"/>
                    <a:pt x="18094" y="19699"/>
                    <a:pt x="18244" y="19860"/>
                  </a:cubicBezTo>
                  <a:cubicBezTo>
                    <a:pt x="18390" y="20024"/>
                    <a:pt x="18701" y="20280"/>
                    <a:pt x="18931" y="20433"/>
                  </a:cubicBezTo>
                  <a:cubicBezTo>
                    <a:pt x="19166" y="20571"/>
                    <a:pt x="19450" y="20725"/>
                    <a:pt x="19573" y="20767"/>
                  </a:cubicBezTo>
                  <a:cubicBezTo>
                    <a:pt x="19697" y="20790"/>
                    <a:pt x="19776" y="20743"/>
                    <a:pt x="19736" y="20650"/>
                  </a:cubicBezTo>
                  <a:cubicBezTo>
                    <a:pt x="19695" y="20556"/>
                    <a:pt x="19512" y="20356"/>
                    <a:pt x="19333" y="20184"/>
                  </a:cubicBezTo>
                  <a:cubicBezTo>
                    <a:pt x="19146" y="20021"/>
                    <a:pt x="18967" y="19840"/>
                    <a:pt x="18949" y="19772"/>
                  </a:cubicBezTo>
                  <a:cubicBezTo>
                    <a:pt x="18924" y="19707"/>
                    <a:pt x="18961" y="19636"/>
                    <a:pt x="19023" y="19644"/>
                  </a:cubicBezTo>
                  <a:cubicBezTo>
                    <a:pt x="19089" y="19636"/>
                    <a:pt x="19315" y="19763"/>
                    <a:pt x="19529" y="19907"/>
                  </a:cubicBezTo>
                  <a:cubicBezTo>
                    <a:pt x="19748" y="20044"/>
                    <a:pt x="20000" y="20247"/>
                    <a:pt x="20086" y="20352"/>
                  </a:cubicBezTo>
                  <a:cubicBezTo>
                    <a:pt x="20179" y="20454"/>
                    <a:pt x="20300" y="20553"/>
                    <a:pt x="20354" y="20567"/>
                  </a:cubicBezTo>
                  <a:cubicBezTo>
                    <a:pt x="20405" y="20596"/>
                    <a:pt x="20536" y="20747"/>
                    <a:pt x="20652" y="20914"/>
                  </a:cubicBezTo>
                  <a:cubicBezTo>
                    <a:pt x="20771" y="21079"/>
                    <a:pt x="20951" y="21322"/>
                    <a:pt x="21089" y="21410"/>
                  </a:cubicBezTo>
                  <a:cubicBezTo>
                    <a:pt x="21219" y="21512"/>
                    <a:pt x="21380" y="21584"/>
                    <a:pt x="21449" y="21573"/>
                  </a:cubicBezTo>
                  <a:cubicBezTo>
                    <a:pt x="21512" y="21550"/>
                    <a:pt x="21588" y="21446"/>
                    <a:pt x="21549" y="21336"/>
                  </a:cubicBezTo>
                  <a:cubicBezTo>
                    <a:pt x="21549" y="21220"/>
                    <a:pt x="21437" y="21003"/>
                    <a:pt x="21320" y="20861"/>
                  </a:cubicBezTo>
                  <a:cubicBezTo>
                    <a:pt x="21208" y="20714"/>
                    <a:pt x="21025" y="20549"/>
                    <a:pt x="20911" y="20519"/>
                  </a:cubicBezTo>
                  <a:cubicBezTo>
                    <a:pt x="20800" y="20469"/>
                    <a:pt x="20613" y="20361"/>
                    <a:pt x="20500" y="20269"/>
                  </a:cubicBezTo>
                  <a:cubicBezTo>
                    <a:pt x="20384" y="20180"/>
                    <a:pt x="20318" y="20064"/>
                    <a:pt x="20318" y="20019"/>
                  </a:cubicBezTo>
                  <a:cubicBezTo>
                    <a:pt x="20318" y="19972"/>
                    <a:pt x="20423" y="19990"/>
                    <a:pt x="20523" y="20055"/>
                  </a:cubicBezTo>
                  <a:cubicBezTo>
                    <a:pt x="20625" y="20119"/>
                    <a:pt x="20787" y="20206"/>
                    <a:pt x="20887" y="20234"/>
                  </a:cubicBezTo>
                  <a:cubicBezTo>
                    <a:pt x="20987" y="20266"/>
                    <a:pt x="21127" y="20218"/>
                    <a:pt x="21198" y="20126"/>
                  </a:cubicBezTo>
                  <a:cubicBezTo>
                    <a:pt x="21261" y="20029"/>
                    <a:pt x="21321" y="19888"/>
                    <a:pt x="21341" y="19807"/>
                  </a:cubicBezTo>
                  <a:cubicBezTo>
                    <a:pt x="21362" y="19728"/>
                    <a:pt x="21320" y="19593"/>
                    <a:pt x="21297" y="19500"/>
                  </a:cubicBezTo>
                  <a:cubicBezTo>
                    <a:pt x="21256" y="19413"/>
                    <a:pt x="21030" y="19193"/>
                    <a:pt x="20797" y="18993"/>
                  </a:cubicBezTo>
                  <a:cubicBezTo>
                    <a:pt x="20555" y="18804"/>
                    <a:pt x="20291" y="18658"/>
                    <a:pt x="20205" y="18663"/>
                  </a:cubicBezTo>
                  <a:cubicBezTo>
                    <a:pt x="20119" y="18682"/>
                    <a:pt x="19924" y="18608"/>
                    <a:pt x="19765" y="18533"/>
                  </a:cubicBezTo>
                  <a:cubicBezTo>
                    <a:pt x="19610" y="18450"/>
                    <a:pt x="19327" y="18174"/>
                    <a:pt x="19118" y="17932"/>
                  </a:cubicBezTo>
                  <a:cubicBezTo>
                    <a:pt x="18911" y="17688"/>
                    <a:pt x="18603" y="17429"/>
                    <a:pt x="18418" y="17370"/>
                  </a:cubicBezTo>
                  <a:cubicBezTo>
                    <a:pt x="18238" y="17310"/>
                    <a:pt x="17784" y="17011"/>
                    <a:pt x="17414" y="16706"/>
                  </a:cubicBezTo>
                  <a:cubicBezTo>
                    <a:pt x="17042" y="16402"/>
                    <a:pt x="16591" y="16010"/>
                    <a:pt x="16447" y="15803"/>
                  </a:cubicBezTo>
                  <a:close/>
                  <a:moveTo>
                    <a:pt x="16447" y="158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 name="AutoShape 32"/>
            <p:cNvSpPr>
              <a:spLocks/>
            </p:cNvSpPr>
            <p:nvPr/>
          </p:nvSpPr>
          <p:spPr bwMode="auto">
            <a:xfrm>
              <a:off x="9029700" y="1485900"/>
              <a:ext cx="141288" cy="95250"/>
            </a:xfrm>
            <a:custGeom>
              <a:avLst/>
              <a:gdLst/>
              <a:ahLst/>
              <a:cxnLst/>
              <a:rect l="0" t="0" r="r" b="b"/>
              <a:pathLst>
                <a:path w="21552" h="21528">
                  <a:moveTo>
                    <a:pt x="640" y="306"/>
                  </a:moveTo>
                  <a:cubicBezTo>
                    <a:pt x="426" y="149"/>
                    <a:pt x="166" y="99"/>
                    <a:pt x="82" y="67"/>
                  </a:cubicBezTo>
                  <a:cubicBezTo>
                    <a:pt x="-1" y="84"/>
                    <a:pt x="-23" y="234"/>
                    <a:pt x="26" y="422"/>
                  </a:cubicBezTo>
                  <a:cubicBezTo>
                    <a:pt x="87" y="603"/>
                    <a:pt x="205" y="892"/>
                    <a:pt x="308" y="1043"/>
                  </a:cubicBezTo>
                  <a:cubicBezTo>
                    <a:pt x="411" y="1195"/>
                    <a:pt x="692" y="1505"/>
                    <a:pt x="926" y="1752"/>
                  </a:cubicBezTo>
                  <a:cubicBezTo>
                    <a:pt x="1173" y="1975"/>
                    <a:pt x="1467" y="2243"/>
                    <a:pt x="1583" y="2350"/>
                  </a:cubicBezTo>
                  <a:cubicBezTo>
                    <a:pt x="1712" y="2425"/>
                    <a:pt x="1935" y="2632"/>
                    <a:pt x="2057" y="2821"/>
                  </a:cubicBezTo>
                  <a:cubicBezTo>
                    <a:pt x="2210" y="2954"/>
                    <a:pt x="2207" y="3137"/>
                    <a:pt x="2085" y="3137"/>
                  </a:cubicBezTo>
                  <a:cubicBezTo>
                    <a:pt x="1961" y="3150"/>
                    <a:pt x="1888" y="3259"/>
                    <a:pt x="1939" y="3376"/>
                  </a:cubicBezTo>
                  <a:cubicBezTo>
                    <a:pt x="1995" y="3486"/>
                    <a:pt x="2197" y="3870"/>
                    <a:pt x="2426" y="4184"/>
                  </a:cubicBezTo>
                  <a:cubicBezTo>
                    <a:pt x="2650" y="4506"/>
                    <a:pt x="2843" y="4859"/>
                    <a:pt x="2890" y="4929"/>
                  </a:cubicBezTo>
                  <a:cubicBezTo>
                    <a:pt x="2914" y="5018"/>
                    <a:pt x="2826" y="5034"/>
                    <a:pt x="2686" y="5023"/>
                  </a:cubicBezTo>
                  <a:cubicBezTo>
                    <a:pt x="2542" y="4989"/>
                    <a:pt x="2424" y="5021"/>
                    <a:pt x="2452" y="5071"/>
                  </a:cubicBezTo>
                  <a:cubicBezTo>
                    <a:pt x="2484" y="5118"/>
                    <a:pt x="2688" y="5404"/>
                    <a:pt x="2954" y="5659"/>
                  </a:cubicBezTo>
                  <a:cubicBezTo>
                    <a:pt x="3203" y="5946"/>
                    <a:pt x="3513" y="6235"/>
                    <a:pt x="3622" y="6355"/>
                  </a:cubicBezTo>
                  <a:cubicBezTo>
                    <a:pt x="3732" y="6468"/>
                    <a:pt x="3880" y="6625"/>
                    <a:pt x="3964" y="6646"/>
                  </a:cubicBezTo>
                  <a:cubicBezTo>
                    <a:pt x="4049" y="6676"/>
                    <a:pt x="4021" y="6582"/>
                    <a:pt x="3897" y="6425"/>
                  </a:cubicBezTo>
                  <a:cubicBezTo>
                    <a:pt x="3788" y="6253"/>
                    <a:pt x="3682" y="6090"/>
                    <a:pt x="3682" y="6037"/>
                  </a:cubicBezTo>
                  <a:cubicBezTo>
                    <a:pt x="3682" y="5986"/>
                    <a:pt x="3852" y="6072"/>
                    <a:pt x="4036" y="6284"/>
                  </a:cubicBezTo>
                  <a:cubicBezTo>
                    <a:pt x="4236" y="6454"/>
                    <a:pt x="4569" y="6843"/>
                    <a:pt x="4807" y="7068"/>
                  </a:cubicBezTo>
                  <a:cubicBezTo>
                    <a:pt x="5035" y="7309"/>
                    <a:pt x="5326" y="7526"/>
                    <a:pt x="5438" y="7588"/>
                  </a:cubicBezTo>
                  <a:cubicBezTo>
                    <a:pt x="5552" y="7638"/>
                    <a:pt x="5756" y="7760"/>
                    <a:pt x="5893" y="7870"/>
                  </a:cubicBezTo>
                  <a:cubicBezTo>
                    <a:pt x="6022" y="7984"/>
                    <a:pt x="6312" y="8314"/>
                    <a:pt x="6552" y="8570"/>
                  </a:cubicBezTo>
                  <a:cubicBezTo>
                    <a:pt x="6767" y="8864"/>
                    <a:pt x="7229" y="9402"/>
                    <a:pt x="7531" y="9847"/>
                  </a:cubicBezTo>
                  <a:cubicBezTo>
                    <a:pt x="7853" y="10251"/>
                    <a:pt x="8252" y="10816"/>
                    <a:pt x="8452" y="11037"/>
                  </a:cubicBezTo>
                  <a:cubicBezTo>
                    <a:pt x="8648" y="11265"/>
                    <a:pt x="9019" y="11600"/>
                    <a:pt x="9255" y="11817"/>
                  </a:cubicBezTo>
                  <a:cubicBezTo>
                    <a:pt x="9498" y="12017"/>
                    <a:pt x="9920" y="12407"/>
                    <a:pt x="10185" y="12691"/>
                  </a:cubicBezTo>
                  <a:cubicBezTo>
                    <a:pt x="10457" y="12958"/>
                    <a:pt x="10822" y="13355"/>
                    <a:pt x="11022" y="13514"/>
                  </a:cubicBezTo>
                  <a:cubicBezTo>
                    <a:pt x="11215" y="13694"/>
                    <a:pt x="11502" y="13889"/>
                    <a:pt x="11664" y="13948"/>
                  </a:cubicBezTo>
                  <a:cubicBezTo>
                    <a:pt x="11825" y="13997"/>
                    <a:pt x="12117" y="14177"/>
                    <a:pt x="12329" y="14274"/>
                  </a:cubicBezTo>
                  <a:cubicBezTo>
                    <a:pt x="12533" y="14397"/>
                    <a:pt x="12832" y="14630"/>
                    <a:pt x="12994" y="14798"/>
                  </a:cubicBezTo>
                  <a:cubicBezTo>
                    <a:pt x="13140" y="14993"/>
                    <a:pt x="13527" y="15371"/>
                    <a:pt x="13832" y="15676"/>
                  </a:cubicBezTo>
                  <a:cubicBezTo>
                    <a:pt x="14141" y="15972"/>
                    <a:pt x="14753" y="16570"/>
                    <a:pt x="15218" y="16944"/>
                  </a:cubicBezTo>
                  <a:cubicBezTo>
                    <a:pt x="15674" y="17328"/>
                    <a:pt x="16174" y="17730"/>
                    <a:pt x="16335" y="17818"/>
                  </a:cubicBezTo>
                  <a:cubicBezTo>
                    <a:pt x="16487" y="17922"/>
                    <a:pt x="16762" y="18122"/>
                    <a:pt x="16929" y="18297"/>
                  </a:cubicBezTo>
                  <a:cubicBezTo>
                    <a:pt x="17093" y="18478"/>
                    <a:pt x="17371" y="18699"/>
                    <a:pt x="17530" y="18814"/>
                  </a:cubicBezTo>
                  <a:cubicBezTo>
                    <a:pt x="17687" y="18932"/>
                    <a:pt x="17953" y="19191"/>
                    <a:pt x="18125" y="19381"/>
                  </a:cubicBezTo>
                  <a:cubicBezTo>
                    <a:pt x="18299" y="19565"/>
                    <a:pt x="18638" y="19990"/>
                    <a:pt x="18909" y="20270"/>
                  </a:cubicBezTo>
                  <a:cubicBezTo>
                    <a:pt x="19171" y="20579"/>
                    <a:pt x="19518" y="20896"/>
                    <a:pt x="19667" y="21018"/>
                  </a:cubicBezTo>
                  <a:cubicBezTo>
                    <a:pt x="19821" y="21120"/>
                    <a:pt x="20021" y="21221"/>
                    <a:pt x="20117" y="21238"/>
                  </a:cubicBezTo>
                  <a:cubicBezTo>
                    <a:pt x="20212" y="21251"/>
                    <a:pt x="20377" y="21254"/>
                    <a:pt x="20467" y="21197"/>
                  </a:cubicBezTo>
                  <a:cubicBezTo>
                    <a:pt x="20564" y="21179"/>
                    <a:pt x="20825" y="21245"/>
                    <a:pt x="21038" y="21403"/>
                  </a:cubicBezTo>
                  <a:cubicBezTo>
                    <a:pt x="21257" y="21534"/>
                    <a:pt x="21470" y="21571"/>
                    <a:pt x="21525" y="21469"/>
                  </a:cubicBezTo>
                  <a:cubicBezTo>
                    <a:pt x="21577" y="21364"/>
                    <a:pt x="21553" y="21163"/>
                    <a:pt x="21470" y="21019"/>
                  </a:cubicBezTo>
                  <a:cubicBezTo>
                    <a:pt x="21381" y="20887"/>
                    <a:pt x="21040" y="20401"/>
                    <a:pt x="20679" y="19993"/>
                  </a:cubicBezTo>
                  <a:cubicBezTo>
                    <a:pt x="20349" y="19530"/>
                    <a:pt x="19901" y="19130"/>
                    <a:pt x="19763" y="18965"/>
                  </a:cubicBezTo>
                  <a:cubicBezTo>
                    <a:pt x="19610" y="18824"/>
                    <a:pt x="19214" y="18363"/>
                    <a:pt x="18868" y="17970"/>
                  </a:cubicBezTo>
                  <a:cubicBezTo>
                    <a:pt x="18516" y="17581"/>
                    <a:pt x="18039" y="17035"/>
                    <a:pt x="17775" y="16812"/>
                  </a:cubicBezTo>
                  <a:cubicBezTo>
                    <a:pt x="17520" y="16571"/>
                    <a:pt x="17077" y="16152"/>
                    <a:pt x="16805" y="15852"/>
                  </a:cubicBezTo>
                  <a:cubicBezTo>
                    <a:pt x="16530" y="15557"/>
                    <a:pt x="16182" y="15140"/>
                    <a:pt x="16041" y="14906"/>
                  </a:cubicBezTo>
                  <a:cubicBezTo>
                    <a:pt x="15886" y="14695"/>
                    <a:pt x="15864" y="14555"/>
                    <a:pt x="15961" y="14637"/>
                  </a:cubicBezTo>
                  <a:cubicBezTo>
                    <a:pt x="16066" y="14696"/>
                    <a:pt x="16268" y="14928"/>
                    <a:pt x="16431" y="15088"/>
                  </a:cubicBezTo>
                  <a:cubicBezTo>
                    <a:pt x="16588" y="15262"/>
                    <a:pt x="16859" y="15487"/>
                    <a:pt x="17015" y="15634"/>
                  </a:cubicBezTo>
                  <a:cubicBezTo>
                    <a:pt x="17178" y="15765"/>
                    <a:pt x="17260" y="15815"/>
                    <a:pt x="17232" y="15714"/>
                  </a:cubicBezTo>
                  <a:cubicBezTo>
                    <a:pt x="17172" y="15651"/>
                    <a:pt x="16861" y="15237"/>
                    <a:pt x="16532" y="14805"/>
                  </a:cubicBezTo>
                  <a:cubicBezTo>
                    <a:pt x="16185" y="14402"/>
                    <a:pt x="15568" y="13679"/>
                    <a:pt x="15160" y="13195"/>
                  </a:cubicBezTo>
                  <a:cubicBezTo>
                    <a:pt x="14751" y="12713"/>
                    <a:pt x="14302" y="12148"/>
                    <a:pt x="14165" y="11927"/>
                  </a:cubicBezTo>
                  <a:cubicBezTo>
                    <a:pt x="14023" y="11717"/>
                    <a:pt x="13773" y="11308"/>
                    <a:pt x="13595" y="11034"/>
                  </a:cubicBezTo>
                  <a:cubicBezTo>
                    <a:pt x="13422" y="10758"/>
                    <a:pt x="13111" y="10357"/>
                    <a:pt x="12900" y="10168"/>
                  </a:cubicBezTo>
                  <a:cubicBezTo>
                    <a:pt x="12698" y="9957"/>
                    <a:pt x="12428" y="9623"/>
                    <a:pt x="12301" y="9416"/>
                  </a:cubicBezTo>
                  <a:cubicBezTo>
                    <a:pt x="12185" y="9202"/>
                    <a:pt x="11960" y="8931"/>
                    <a:pt x="11822" y="8788"/>
                  </a:cubicBezTo>
                  <a:cubicBezTo>
                    <a:pt x="11685" y="8646"/>
                    <a:pt x="11496" y="8445"/>
                    <a:pt x="11393" y="8359"/>
                  </a:cubicBezTo>
                  <a:cubicBezTo>
                    <a:pt x="11294" y="8259"/>
                    <a:pt x="10551" y="7469"/>
                    <a:pt x="9740" y="6603"/>
                  </a:cubicBezTo>
                  <a:cubicBezTo>
                    <a:pt x="8939" y="5727"/>
                    <a:pt x="7971" y="4772"/>
                    <a:pt x="7606" y="4453"/>
                  </a:cubicBezTo>
                  <a:cubicBezTo>
                    <a:pt x="7235" y="4149"/>
                    <a:pt x="6715" y="3706"/>
                    <a:pt x="6426" y="3514"/>
                  </a:cubicBezTo>
                  <a:cubicBezTo>
                    <a:pt x="6142" y="3305"/>
                    <a:pt x="5938" y="3206"/>
                    <a:pt x="5966" y="3286"/>
                  </a:cubicBezTo>
                  <a:cubicBezTo>
                    <a:pt x="6011" y="3351"/>
                    <a:pt x="6102" y="3546"/>
                    <a:pt x="6205" y="3682"/>
                  </a:cubicBezTo>
                  <a:cubicBezTo>
                    <a:pt x="6293" y="3835"/>
                    <a:pt x="6696" y="4304"/>
                    <a:pt x="7085" y="4727"/>
                  </a:cubicBezTo>
                  <a:cubicBezTo>
                    <a:pt x="7463" y="5176"/>
                    <a:pt x="7858" y="5618"/>
                    <a:pt x="7937" y="5743"/>
                  </a:cubicBezTo>
                  <a:cubicBezTo>
                    <a:pt x="8023" y="5869"/>
                    <a:pt x="8102" y="6029"/>
                    <a:pt x="8102" y="6104"/>
                  </a:cubicBezTo>
                  <a:cubicBezTo>
                    <a:pt x="8132" y="6162"/>
                    <a:pt x="8175" y="6353"/>
                    <a:pt x="8253" y="6488"/>
                  </a:cubicBezTo>
                  <a:cubicBezTo>
                    <a:pt x="8328" y="6635"/>
                    <a:pt x="8484" y="6865"/>
                    <a:pt x="8546" y="7057"/>
                  </a:cubicBezTo>
                  <a:cubicBezTo>
                    <a:pt x="8635" y="7223"/>
                    <a:pt x="8727" y="7482"/>
                    <a:pt x="8727" y="7620"/>
                  </a:cubicBezTo>
                  <a:cubicBezTo>
                    <a:pt x="8727" y="7756"/>
                    <a:pt x="8720" y="7865"/>
                    <a:pt x="8665" y="7856"/>
                  </a:cubicBezTo>
                  <a:cubicBezTo>
                    <a:pt x="8611" y="7856"/>
                    <a:pt x="8471" y="7742"/>
                    <a:pt x="8386" y="7574"/>
                  </a:cubicBezTo>
                  <a:cubicBezTo>
                    <a:pt x="8278" y="7435"/>
                    <a:pt x="8199" y="7242"/>
                    <a:pt x="8223" y="7184"/>
                  </a:cubicBezTo>
                  <a:cubicBezTo>
                    <a:pt x="8223" y="7115"/>
                    <a:pt x="8231" y="6955"/>
                    <a:pt x="8175" y="6864"/>
                  </a:cubicBezTo>
                  <a:cubicBezTo>
                    <a:pt x="8152" y="6748"/>
                    <a:pt x="8001" y="6551"/>
                    <a:pt x="7868" y="6400"/>
                  </a:cubicBezTo>
                  <a:cubicBezTo>
                    <a:pt x="7724" y="6275"/>
                    <a:pt x="7578" y="5985"/>
                    <a:pt x="7518" y="5800"/>
                  </a:cubicBezTo>
                  <a:cubicBezTo>
                    <a:pt x="7463" y="5611"/>
                    <a:pt x="7265" y="5288"/>
                    <a:pt x="7093" y="5055"/>
                  </a:cubicBezTo>
                  <a:cubicBezTo>
                    <a:pt x="6920" y="4832"/>
                    <a:pt x="6340" y="4154"/>
                    <a:pt x="5810" y="3528"/>
                  </a:cubicBezTo>
                  <a:cubicBezTo>
                    <a:pt x="5282" y="2900"/>
                    <a:pt x="4563" y="2125"/>
                    <a:pt x="4225" y="1771"/>
                  </a:cubicBezTo>
                  <a:cubicBezTo>
                    <a:pt x="3888" y="1418"/>
                    <a:pt x="3311" y="877"/>
                    <a:pt x="2937" y="582"/>
                  </a:cubicBezTo>
                  <a:cubicBezTo>
                    <a:pt x="2568" y="278"/>
                    <a:pt x="2214" y="58"/>
                    <a:pt x="2184" y="11"/>
                  </a:cubicBezTo>
                  <a:cubicBezTo>
                    <a:pt x="2137" y="1"/>
                    <a:pt x="2128" y="106"/>
                    <a:pt x="2179" y="239"/>
                  </a:cubicBezTo>
                  <a:cubicBezTo>
                    <a:pt x="2205" y="386"/>
                    <a:pt x="2096" y="447"/>
                    <a:pt x="1902" y="386"/>
                  </a:cubicBezTo>
                  <a:cubicBezTo>
                    <a:pt x="1711" y="305"/>
                    <a:pt x="1398" y="186"/>
                    <a:pt x="1207" y="105"/>
                  </a:cubicBezTo>
                  <a:cubicBezTo>
                    <a:pt x="1022" y="-2"/>
                    <a:pt x="849" y="-29"/>
                    <a:pt x="849" y="30"/>
                  </a:cubicBezTo>
                  <a:cubicBezTo>
                    <a:pt x="849" y="89"/>
                    <a:pt x="866" y="234"/>
                    <a:pt x="932" y="343"/>
                  </a:cubicBezTo>
                  <a:cubicBezTo>
                    <a:pt x="990" y="459"/>
                    <a:pt x="857" y="434"/>
                    <a:pt x="640" y="306"/>
                  </a:cubicBezTo>
                  <a:close/>
                  <a:moveTo>
                    <a:pt x="640" y="3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 name="AutoShape 33"/>
            <p:cNvSpPr>
              <a:spLocks/>
            </p:cNvSpPr>
            <p:nvPr/>
          </p:nvSpPr>
          <p:spPr bwMode="auto">
            <a:xfrm>
              <a:off x="9258300" y="1676400"/>
              <a:ext cx="12700" cy="9525"/>
            </a:xfrm>
            <a:custGeom>
              <a:avLst/>
              <a:gdLst/>
              <a:ahLst/>
              <a:cxnLst/>
              <a:rect l="0" t="0" r="r" b="b"/>
              <a:pathLst>
                <a:path w="21176" h="21522">
                  <a:moveTo>
                    <a:pt x="20460" y="16119"/>
                  </a:moveTo>
                  <a:cubicBezTo>
                    <a:pt x="19796" y="14404"/>
                    <a:pt x="19523" y="13286"/>
                    <a:pt x="20186" y="13286"/>
                  </a:cubicBezTo>
                  <a:cubicBezTo>
                    <a:pt x="20829" y="13133"/>
                    <a:pt x="20226" y="11614"/>
                    <a:pt x="19015" y="9182"/>
                  </a:cubicBezTo>
                  <a:cubicBezTo>
                    <a:pt x="17786" y="6859"/>
                    <a:pt x="16011" y="3876"/>
                    <a:pt x="14977" y="2866"/>
                  </a:cubicBezTo>
                  <a:cubicBezTo>
                    <a:pt x="13983" y="1705"/>
                    <a:pt x="12557" y="516"/>
                    <a:pt x="11855" y="103"/>
                  </a:cubicBezTo>
                  <a:cubicBezTo>
                    <a:pt x="11093" y="-36"/>
                    <a:pt x="10507" y="-78"/>
                    <a:pt x="10274" y="253"/>
                  </a:cubicBezTo>
                  <a:cubicBezTo>
                    <a:pt x="10021" y="530"/>
                    <a:pt x="9279" y="1054"/>
                    <a:pt x="8420" y="1360"/>
                  </a:cubicBezTo>
                  <a:cubicBezTo>
                    <a:pt x="7562" y="1662"/>
                    <a:pt x="5512" y="1054"/>
                    <a:pt x="3913" y="683"/>
                  </a:cubicBezTo>
                  <a:cubicBezTo>
                    <a:pt x="2314" y="114"/>
                    <a:pt x="812" y="793"/>
                    <a:pt x="264" y="1954"/>
                  </a:cubicBezTo>
                  <a:cubicBezTo>
                    <a:pt x="-8" y="3307"/>
                    <a:pt x="-125" y="5588"/>
                    <a:pt x="186" y="7218"/>
                  </a:cubicBezTo>
                  <a:cubicBezTo>
                    <a:pt x="733" y="8699"/>
                    <a:pt x="1591" y="10592"/>
                    <a:pt x="2450" y="11503"/>
                  </a:cubicBezTo>
                  <a:cubicBezTo>
                    <a:pt x="3407" y="12179"/>
                    <a:pt x="5259" y="13286"/>
                    <a:pt x="6567" y="14101"/>
                  </a:cubicBezTo>
                  <a:cubicBezTo>
                    <a:pt x="7912" y="14874"/>
                    <a:pt x="9415" y="14959"/>
                    <a:pt x="9824" y="14364"/>
                  </a:cubicBezTo>
                  <a:cubicBezTo>
                    <a:pt x="10156" y="13671"/>
                    <a:pt x="11269" y="13796"/>
                    <a:pt x="12010" y="14336"/>
                  </a:cubicBezTo>
                  <a:cubicBezTo>
                    <a:pt x="12850" y="14475"/>
                    <a:pt x="13786" y="16269"/>
                    <a:pt x="14528" y="17141"/>
                  </a:cubicBezTo>
                  <a:cubicBezTo>
                    <a:pt x="15231" y="18066"/>
                    <a:pt x="15640" y="19532"/>
                    <a:pt x="15640" y="20181"/>
                  </a:cubicBezTo>
                  <a:cubicBezTo>
                    <a:pt x="15640" y="20803"/>
                    <a:pt x="16575" y="21316"/>
                    <a:pt x="17767" y="21522"/>
                  </a:cubicBezTo>
                  <a:cubicBezTo>
                    <a:pt x="18917" y="21522"/>
                    <a:pt x="20284" y="21038"/>
                    <a:pt x="20869" y="20401"/>
                  </a:cubicBezTo>
                  <a:cubicBezTo>
                    <a:pt x="21475" y="19767"/>
                    <a:pt x="21103" y="17860"/>
                    <a:pt x="20460" y="16119"/>
                  </a:cubicBezTo>
                  <a:close/>
                  <a:moveTo>
                    <a:pt x="20460" y="161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 name="AutoShape 34"/>
            <p:cNvSpPr>
              <a:spLocks/>
            </p:cNvSpPr>
            <p:nvPr/>
          </p:nvSpPr>
          <p:spPr bwMode="auto">
            <a:xfrm>
              <a:off x="8496300" y="1333500"/>
              <a:ext cx="11113" cy="4763"/>
            </a:xfrm>
            <a:custGeom>
              <a:avLst/>
              <a:gdLst/>
              <a:ahLst/>
              <a:cxnLst/>
              <a:rect l="0" t="0" r="r" b="b"/>
              <a:pathLst>
                <a:path w="20517" h="20429">
                  <a:moveTo>
                    <a:pt x="15711" y="11891"/>
                  </a:moveTo>
                  <a:cubicBezTo>
                    <a:pt x="12173" y="7445"/>
                    <a:pt x="7092" y="2523"/>
                    <a:pt x="4383" y="1049"/>
                  </a:cubicBezTo>
                  <a:cubicBezTo>
                    <a:pt x="1697" y="-577"/>
                    <a:pt x="-318" y="-253"/>
                    <a:pt x="42" y="1613"/>
                  </a:cubicBezTo>
                  <a:cubicBezTo>
                    <a:pt x="42" y="3541"/>
                    <a:pt x="3198" y="7445"/>
                    <a:pt x="6554" y="9963"/>
                  </a:cubicBezTo>
                  <a:cubicBezTo>
                    <a:pt x="9868" y="12757"/>
                    <a:pt x="13874" y="16381"/>
                    <a:pt x="15508" y="17812"/>
                  </a:cubicBezTo>
                  <a:cubicBezTo>
                    <a:pt x="17163" y="19202"/>
                    <a:pt x="19336" y="21023"/>
                    <a:pt x="20254" y="20241"/>
                  </a:cubicBezTo>
                  <a:cubicBezTo>
                    <a:pt x="21282" y="20068"/>
                    <a:pt x="19202" y="16230"/>
                    <a:pt x="15711" y="11891"/>
                  </a:cubicBezTo>
                  <a:close/>
                  <a:moveTo>
                    <a:pt x="15711" y="118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 name="AutoShape 35"/>
            <p:cNvSpPr>
              <a:spLocks/>
            </p:cNvSpPr>
            <p:nvPr/>
          </p:nvSpPr>
          <p:spPr bwMode="auto">
            <a:xfrm>
              <a:off x="8445500" y="1308100"/>
              <a:ext cx="39688" cy="23813"/>
            </a:xfrm>
            <a:custGeom>
              <a:avLst/>
              <a:gdLst/>
              <a:ahLst/>
              <a:cxnLst/>
              <a:rect l="0" t="0" r="r" b="b"/>
              <a:pathLst>
                <a:path w="21423" h="21272">
                  <a:moveTo>
                    <a:pt x="20210" y="12277"/>
                  </a:moveTo>
                  <a:cubicBezTo>
                    <a:pt x="19496" y="11736"/>
                    <a:pt x="18367" y="11199"/>
                    <a:pt x="17739" y="11075"/>
                  </a:cubicBezTo>
                  <a:cubicBezTo>
                    <a:pt x="17106" y="10892"/>
                    <a:pt x="14986" y="9591"/>
                    <a:pt x="13071" y="7978"/>
                  </a:cubicBezTo>
                  <a:cubicBezTo>
                    <a:pt x="11123" y="6464"/>
                    <a:pt x="8554" y="4205"/>
                    <a:pt x="7299" y="3122"/>
                  </a:cubicBezTo>
                  <a:cubicBezTo>
                    <a:pt x="6077" y="1977"/>
                    <a:pt x="4697" y="1014"/>
                    <a:pt x="4242" y="1066"/>
                  </a:cubicBezTo>
                  <a:cubicBezTo>
                    <a:pt x="3800" y="1066"/>
                    <a:pt x="2842" y="858"/>
                    <a:pt x="2109" y="712"/>
                  </a:cubicBezTo>
                  <a:cubicBezTo>
                    <a:pt x="1383" y="446"/>
                    <a:pt x="550" y="222"/>
                    <a:pt x="286" y="62"/>
                  </a:cubicBezTo>
                  <a:cubicBezTo>
                    <a:pt x="35" y="-157"/>
                    <a:pt x="-90" y="238"/>
                    <a:pt x="75" y="791"/>
                  </a:cubicBezTo>
                  <a:cubicBezTo>
                    <a:pt x="75" y="1399"/>
                    <a:pt x="1574" y="3346"/>
                    <a:pt x="3067" y="5214"/>
                  </a:cubicBezTo>
                  <a:cubicBezTo>
                    <a:pt x="4492" y="7202"/>
                    <a:pt x="6065" y="9383"/>
                    <a:pt x="6368" y="10383"/>
                  </a:cubicBezTo>
                  <a:cubicBezTo>
                    <a:pt x="6725" y="11335"/>
                    <a:pt x="7828" y="13287"/>
                    <a:pt x="8838" y="14739"/>
                  </a:cubicBezTo>
                  <a:cubicBezTo>
                    <a:pt x="9848" y="16191"/>
                    <a:pt x="11651" y="18060"/>
                    <a:pt x="12800" y="18970"/>
                  </a:cubicBezTo>
                  <a:cubicBezTo>
                    <a:pt x="13930" y="19876"/>
                    <a:pt x="15422" y="20886"/>
                    <a:pt x="16115" y="21078"/>
                  </a:cubicBezTo>
                  <a:cubicBezTo>
                    <a:pt x="16795" y="21443"/>
                    <a:pt x="17330" y="21239"/>
                    <a:pt x="17165" y="20916"/>
                  </a:cubicBezTo>
                  <a:cubicBezTo>
                    <a:pt x="17001" y="20600"/>
                    <a:pt x="16353" y="19627"/>
                    <a:pt x="15580" y="18944"/>
                  </a:cubicBezTo>
                  <a:cubicBezTo>
                    <a:pt x="14867" y="18117"/>
                    <a:pt x="14068" y="17383"/>
                    <a:pt x="13969" y="17040"/>
                  </a:cubicBezTo>
                  <a:cubicBezTo>
                    <a:pt x="13857" y="16695"/>
                    <a:pt x="14174" y="16420"/>
                    <a:pt x="14702" y="16420"/>
                  </a:cubicBezTo>
                  <a:cubicBezTo>
                    <a:pt x="15217" y="16420"/>
                    <a:pt x="15798" y="15967"/>
                    <a:pt x="15798" y="15400"/>
                  </a:cubicBezTo>
                  <a:cubicBezTo>
                    <a:pt x="15957" y="14900"/>
                    <a:pt x="16043" y="14068"/>
                    <a:pt x="15937" y="13724"/>
                  </a:cubicBezTo>
                  <a:cubicBezTo>
                    <a:pt x="15864" y="13364"/>
                    <a:pt x="16696" y="13021"/>
                    <a:pt x="17647" y="13095"/>
                  </a:cubicBezTo>
                  <a:cubicBezTo>
                    <a:pt x="18598" y="13115"/>
                    <a:pt x="19807" y="13245"/>
                    <a:pt x="20309" y="13526"/>
                  </a:cubicBezTo>
                  <a:cubicBezTo>
                    <a:pt x="20843" y="13672"/>
                    <a:pt x="21279" y="13656"/>
                    <a:pt x="21411" y="13557"/>
                  </a:cubicBezTo>
                  <a:cubicBezTo>
                    <a:pt x="21510" y="13396"/>
                    <a:pt x="20975" y="12709"/>
                    <a:pt x="20210" y="12277"/>
                  </a:cubicBezTo>
                  <a:close/>
                  <a:moveTo>
                    <a:pt x="20210" y="122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 name="AutoShape 36"/>
            <p:cNvSpPr>
              <a:spLocks/>
            </p:cNvSpPr>
            <p:nvPr/>
          </p:nvSpPr>
          <p:spPr bwMode="auto">
            <a:xfrm>
              <a:off x="8496300" y="1333500"/>
              <a:ext cx="22225" cy="11113"/>
            </a:xfrm>
            <a:custGeom>
              <a:avLst/>
              <a:gdLst/>
              <a:ahLst/>
              <a:cxnLst/>
              <a:rect l="0" t="0" r="r" b="b"/>
              <a:pathLst>
                <a:path w="21281" h="21210">
                  <a:moveTo>
                    <a:pt x="14829" y="4873"/>
                  </a:moveTo>
                  <a:cubicBezTo>
                    <a:pt x="13328" y="3405"/>
                    <a:pt x="10727" y="1523"/>
                    <a:pt x="8968" y="964"/>
                  </a:cubicBezTo>
                  <a:cubicBezTo>
                    <a:pt x="7230" y="291"/>
                    <a:pt x="4439" y="167"/>
                    <a:pt x="2770" y="0"/>
                  </a:cubicBezTo>
                  <a:cubicBezTo>
                    <a:pt x="1088" y="257"/>
                    <a:pt x="0" y="886"/>
                    <a:pt x="0" y="1815"/>
                  </a:cubicBezTo>
                  <a:cubicBezTo>
                    <a:pt x="0" y="2735"/>
                    <a:pt x="1917" y="4919"/>
                    <a:pt x="3845" y="6957"/>
                  </a:cubicBezTo>
                  <a:cubicBezTo>
                    <a:pt x="5795" y="8751"/>
                    <a:pt x="8766" y="12009"/>
                    <a:pt x="10302" y="14285"/>
                  </a:cubicBezTo>
                  <a:cubicBezTo>
                    <a:pt x="11915" y="16470"/>
                    <a:pt x="14852" y="18989"/>
                    <a:pt x="16690" y="20414"/>
                  </a:cubicBezTo>
                  <a:cubicBezTo>
                    <a:pt x="18562" y="21600"/>
                    <a:pt x="20546" y="21476"/>
                    <a:pt x="21107" y="19943"/>
                  </a:cubicBezTo>
                  <a:cubicBezTo>
                    <a:pt x="21600" y="18319"/>
                    <a:pt x="21005" y="15114"/>
                    <a:pt x="19829" y="12358"/>
                  </a:cubicBezTo>
                  <a:cubicBezTo>
                    <a:pt x="18495" y="9871"/>
                    <a:pt x="16287" y="6454"/>
                    <a:pt x="14829" y="4873"/>
                  </a:cubicBezTo>
                  <a:close/>
                  <a:moveTo>
                    <a:pt x="14829" y="48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 name="AutoShape 37"/>
            <p:cNvSpPr>
              <a:spLocks/>
            </p:cNvSpPr>
            <p:nvPr/>
          </p:nvSpPr>
          <p:spPr bwMode="auto">
            <a:xfrm>
              <a:off x="8458200" y="1282700"/>
              <a:ext cx="58738" cy="31750"/>
            </a:xfrm>
            <a:custGeom>
              <a:avLst/>
              <a:gdLst/>
              <a:ahLst/>
              <a:cxnLst/>
              <a:rect l="0" t="0" r="r" b="b"/>
              <a:pathLst>
                <a:path w="21334" h="21435">
                  <a:moveTo>
                    <a:pt x="5701" y="2597"/>
                  </a:moveTo>
                  <a:cubicBezTo>
                    <a:pt x="5099" y="2671"/>
                    <a:pt x="4170" y="2597"/>
                    <a:pt x="3622" y="2348"/>
                  </a:cubicBezTo>
                  <a:cubicBezTo>
                    <a:pt x="3083" y="2049"/>
                    <a:pt x="2257" y="1451"/>
                    <a:pt x="1804" y="952"/>
                  </a:cubicBezTo>
                  <a:cubicBezTo>
                    <a:pt x="1337" y="498"/>
                    <a:pt x="713" y="7"/>
                    <a:pt x="389" y="7"/>
                  </a:cubicBezTo>
                  <a:cubicBezTo>
                    <a:pt x="62" y="-55"/>
                    <a:pt x="-109" y="330"/>
                    <a:pt x="75" y="743"/>
                  </a:cubicBezTo>
                  <a:cubicBezTo>
                    <a:pt x="196" y="1231"/>
                    <a:pt x="686" y="2118"/>
                    <a:pt x="1090" y="2805"/>
                  </a:cubicBezTo>
                  <a:cubicBezTo>
                    <a:pt x="1508" y="3473"/>
                    <a:pt x="2226" y="5200"/>
                    <a:pt x="2657" y="6669"/>
                  </a:cubicBezTo>
                  <a:cubicBezTo>
                    <a:pt x="3083" y="8134"/>
                    <a:pt x="3999" y="10106"/>
                    <a:pt x="4623" y="11134"/>
                  </a:cubicBezTo>
                  <a:cubicBezTo>
                    <a:pt x="5270" y="12128"/>
                    <a:pt x="6617" y="14044"/>
                    <a:pt x="7649" y="15366"/>
                  </a:cubicBezTo>
                  <a:cubicBezTo>
                    <a:pt x="8659" y="16716"/>
                    <a:pt x="9970" y="17968"/>
                    <a:pt x="10514" y="18275"/>
                  </a:cubicBezTo>
                  <a:cubicBezTo>
                    <a:pt x="11066" y="18529"/>
                    <a:pt x="12184" y="18995"/>
                    <a:pt x="13014" y="19151"/>
                  </a:cubicBezTo>
                  <a:cubicBezTo>
                    <a:pt x="13836" y="19368"/>
                    <a:pt x="15084" y="19839"/>
                    <a:pt x="15793" y="20129"/>
                  </a:cubicBezTo>
                  <a:cubicBezTo>
                    <a:pt x="16498" y="20419"/>
                    <a:pt x="17428" y="20693"/>
                    <a:pt x="17858" y="20693"/>
                  </a:cubicBezTo>
                  <a:cubicBezTo>
                    <a:pt x="18285" y="20678"/>
                    <a:pt x="19309" y="20865"/>
                    <a:pt x="20121" y="21238"/>
                  </a:cubicBezTo>
                  <a:cubicBezTo>
                    <a:pt x="20934" y="21545"/>
                    <a:pt x="21491" y="21480"/>
                    <a:pt x="21293" y="21136"/>
                  </a:cubicBezTo>
                  <a:cubicBezTo>
                    <a:pt x="21109" y="20763"/>
                    <a:pt x="20490" y="19904"/>
                    <a:pt x="19888" y="19204"/>
                  </a:cubicBezTo>
                  <a:cubicBezTo>
                    <a:pt x="19268" y="18594"/>
                    <a:pt x="18384" y="17330"/>
                    <a:pt x="17818" y="16671"/>
                  </a:cubicBezTo>
                  <a:cubicBezTo>
                    <a:pt x="17279" y="15951"/>
                    <a:pt x="16269" y="14862"/>
                    <a:pt x="15551" y="14289"/>
                  </a:cubicBezTo>
                  <a:cubicBezTo>
                    <a:pt x="14832" y="13753"/>
                    <a:pt x="13813" y="12472"/>
                    <a:pt x="13203" y="11678"/>
                  </a:cubicBezTo>
                  <a:cubicBezTo>
                    <a:pt x="12646" y="10774"/>
                    <a:pt x="12103" y="9869"/>
                    <a:pt x="12035" y="9546"/>
                  </a:cubicBezTo>
                  <a:cubicBezTo>
                    <a:pt x="11964" y="9219"/>
                    <a:pt x="12233" y="8973"/>
                    <a:pt x="12615" y="8904"/>
                  </a:cubicBezTo>
                  <a:cubicBezTo>
                    <a:pt x="12996" y="8904"/>
                    <a:pt x="13863" y="9084"/>
                    <a:pt x="14518" y="9513"/>
                  </a:cubicBezTo>
                  <a:cubicBezTo>
                    <a:pt x="15187" y="9898"/>
                    <a:pt x="16081" y="10221"/>
                    <a:pt x="16503" y="10209"/>
                  </a:cubicBezTo>
                  <a:cubicBezTo>
                    <a:pt x="16929" y="10250"/>
                    <a:pt x="17181" y="9960"/>
                    <a:pt x="17059" y="9628"/>
                  </a:cubicBezTo>
                  <a:cubicBezTo>
                    <a:pt x="16916" y="9317"/>
                    <a:pt x="16301" y="8228"/>
                    <a:pt x="15569" y="7467"/>
                  </a:cubicBezTo>
                  <a:cubicBezTo>
                    <a:pt x="14891" y="6583"/>
                    <a:pt x="13787" y="5355"/>
                    <a:pt x="13118" y="4819"/>
                  </a:cubicBezTo>
                  <a:cubicBezTo>
                    <a:pt x="12476" y="4193"/>
                    <a:pt x="11501" y="3027"/>
                    <a:pt x="10945" y="2209"/>
                  </a:cubicBezTo>
                  <a:cubicBezTo>
                    <a:pt x="10424" y="1345"/>
                    <a:pt x="9943" y="964"/>
                    <a:pt x="9831" y="1124"/>
                  </a:cubicBezTo>
                  <a:cubicBezTo>
                    <a:pt x="9746" y="1336"/>
                    <a:pt x="9867" y="2003"/>
                    <a:pt x="10069" y="2577"/>
                  </a:cubicBezTo>
                  <a:cubicBezTo>
                    <a:pt x="10289" y="3129"/>
                    <a:pt x="10114" y="3698"/>
                    <a:pt x="9719" y="3759"/>
                  </a:cubicBezTo>
                  <a:cubicBezTo>
                    <a:pt x="9319" y="3866"/>
                    <a:pt x="8794" y="3747"/>
                    <a:pt x="8597" y="3457"/>
                  </a:cubicBezTo>
                  <a:cubicBezTo>
                    <a:pt x="8372" y="3223"/>
                    <a:pt x="7883" y="2831"/>
                    <a:pt x="7492" y="2671"/>
                  </a:cubicBezTo>
                  <a:cubicBezTo>
                    <a:pt x="7115" y="2429"/>
                    <a:pt x="6307" y="2503"/>
                    <a:pt x="5701" y="2597"/>
                  </a:cubicBezTo>
                  <a:close/>
                  <a:moveTo>
                    <a:pt x="5701" y="25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 name="AutoShape 38"/>
            <p:cNvSpPr>
              <a:spLocks/>
            </p:cNvSpPr>
            <p:nvPr/>
          </p:nvSpPr>
          <p:spPr bwMode="auto">
            <a:xfrm>
              <a:off x="8369300" y="1282700"/>
              <a:ext cx="9525" cy="7938"/>
            </a:xfrm>
            <a:custGeom>
              <a:avLst/>
              <a:gdLst/>
              <a:ahLst/>
              <a:cxnLst/>
              <a:rect l="0" t="0" r="r" b="b"/>
              <a:pathLst>
                <a:path w="20491" h="20418">
                  <a:moveTo>
                    <a:pt x="17177" y="15976"/>
                  </a:moveTo>
                  <a:cubicBezTo>
                    <a:pt x="14526" y="13711"/>
                    <a:pt x="10992" y="9769"/>
                    <a:pt x="9468" y="7057"/>
                  </a:cubicBezTo>
                  <a:cubicBezTo>
                    <a:pt x="7775" y="4498"/>
                    <a:pt x="5101" y="1242"/>
                    <a:pt x="3039" y="418"/>
                  </a:cubicBezTo>
                  <a:cubicBezTo>
                    <a:pt x="1124" y="-785"/>
                    <a:pt x="-226" y="753"/>
                    <a:pt x="511" y="3241"/>
                  </a:cubicBezTo>
                  <a:cubicBezTo>
                    <a:pt x="903" y="5840"/>
                    <a:pt x="1074" y="8260"/>
                    <a:pt x="192" y="8328"/>
                  </a:cubicBezTo>
                  <a:cubicBezTo>
                    <a:pt x="-373" y="9001"/>
                    <a:pt x="314" y="10092"/>
                    <a:pt x="2227" y="11670"/>
                  </a:cubicBezTo>
                  <a:cubicBezTo>
                    <a:pt x="4019" y="13308"/>
                    <a:pt x="8365" y="15976"/>
                    <a:pt x="11826" y="17557"/>
                  </a:cubicBezTo>
                  <a:cubicBezTo>
                    <a:pt x="15164" y="19303"/>
                    <a:pt x="18967" y="20815"/>
                    <a:pt x="20098" y="20325"/>
                  </a:cubicBezTo>
                  <a:cubicBezTo>
                    <a:pt x="21227" y="20254"/>
                    <a:pt x="19826" y="18353"/>
                    <a:pt x="17177" y="15976"/>
                  </a:cubicBezTo>
                  <a:close/>
                  <a:moveTo>
                    <a:pt x="17177" y="159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 name="AutoShape 39"/>
            <p:cNvSpPr>
              <a:spLocks/>
            </p:cNvSpPr>
            <p:nvPr/>
          </p:nvSpPr>
          <p:spPr bwMode="auto">
            <a:xfrm>
              <a:off x="8458200" y="1282700"/>
              <a:ext cx="28575" cy="11113"/>
            </a:xfrm>
            <a:custGeom>
              <a:avLst/>
              <a:gdLst/>
              <a:ahLst/>
              <a:cxnLst/>
              <a:rect l="0" t="0" r="r" b="b"/>
              <a:pathLst>
                <a:path w="21418" h="21126">
                  <a:moveTo>
                    <a:pt x="2674" y="31"/>
                  </a:moveTo>
                  <a:cubicBezTo>
                    <a:pt x="1403" y="-156"/>
                    <a:pt x="280" y="539"/>
                    <a:pt x="49" y="1029"/>
                  </a:cubicBezTo>
                  <a:cubicBezTo>
                    <a:pt x="-88" y="1652"/>
                    <a:pt x="59" y="2898"/>
                    <a:pt x="491" y="3687"/>
                  </a:cubicBezTo>
                  <a:cubicBezTo>
                    <a:pt x="943" y="4383"/>
                    <a:pt x="3253" y="7686"/>
                    <a:pt x="5719" y="10614"/>
                  </a:cubicBezTo>
                  <a:cubicBezTo>
                    <a:pt x="8167" y="13709"/>
                    <a:pt x="11287" y="17156"/>
                    <a:pt x="12649" y="18154"/>
                  </a:cubicBezTo>
                  <a:cubicBezTo>
                    <a:pt x="13992" y="19368"/>
                    <a:pt x="16045" y="20687"/>
                    <a:pt x="17214" y="20978"/>
                  </a:cubicBezTo>
                  <a:cubicBezTo>
                    <a:pt x="18374" y="21444"/>
                    <a:pt x="19533" y="20759"/>
                    <a:pt x="19681" y="19617"/>
                  </a:cubicBezTo>
                  <a:cubicBezTo>
                    <a:pt x="19938" y="18569"/>
                    <a:pt x="20380" y="17344"/>
                    <a:pt x="20840" y="17260"/>
                  </a:cubicBezTo>
                  <a:cubicBezTo>
                    <a:pt x="21273" y="17010"/>
                    <a:pt x="21512" y="16472"/>
                    <a:pt x="21383" y="15857"/>
                  </a:cubicBezTo>
                  <a:cubicBezTo>
                    <a:pt x="21190" y="15338"/>
                    <a:pt x="20233" y="13626"/>
                    <a:pt x="19128" y="12390"/>
                  </a:cubicBezTo>
                  <a:cubicBezTo>
                    <a:pt x="18079" y="10946"/>
                    <a:pt x="16459" y="9066"/>
                    <a:pt x="15705" y="7581"/>
                  </a:cubicBezTo>
                  <a:cubicBezTo>
                    <a:pt x="14940" y="6199"/>
                    <a:pt x="13349" y="4631"/>
                    <a:pt x="12254" y="3634"/>
                  </a:cubicBezTo>
                  <a:cubicBezTo>
                    <a:pt x="11122" y="2834"/>
                    <a:pt x="9042" y="1828"/>
                    <a:pt x="7624" y="1111"/>
                  </a:cubicBezTo>
                  <a:cubicBezTo>
                    <a:pt x="6179" y="539"/>
                    <a:pt x="3942" y="74"/>
                    <a:pt x="2674" y="31"/>
                  </a:cubicBezTo>
                  <a:close/>
                  <a:moveTo>
                    <a:pt x="2674" y="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 name="AutoShape 40"/>
            <p:cNvSpPr>
              <a:spLocks/>
            </p:cNvSpPr>
            <p:nvPr/>
          </p:nvSpPr>
          <p:spPr bwMode="auto">
            <a:xfrm>
              <a:off x="8432800" y="1308100"/>
              <a:ext cx="34925" cy="19050"/>
            </a:xfrm>
            <a:custGeom>
              <a:avLst/>
              <a:gdLst/>
              <a:ahLst/>
              <a:cxnLst/>
              <a:rect l="0" t="0" r="r" b="b"/>
              <a:pathLst>
                <a:path w="21380" h="21410">
                  <a:moveTo>
                    <a:pt x="19589" y="18092"/>
                  </a:moveTo>
                  <a:cubicBezTo>
                    <a:pt x="18701" y="17081"/>
                    <a:pt x="17673" y="15196"/>
                    <a:pt x="17181" y="14098"/>
                  </a:cubicBezTo>
                  <a:cubicBezTo>
                    <a:pt x="16690" y="13020"/>
                    <a:pt x="16153" y="11575"/>
                    <a:pt x="16153" y="10898"/>
                  </a:cubicBezTo>
                  <a:cubicBezTo>
                    <a:pt x="15956" y="10308"/>
                    <a:pt x="15060" y="8474"/>
                    <a:pt x="13959" y="6951"/>
                  </a:cubicBezTo>
                  <a:cubicBezTo>
                    <a:pt x="12836" y="5511"/>
                    <a:pt x="11192" y="3646"/>
                    <a:pt x="10363" y="2634"/>
                  </a:cubicBezTo>
                  <a:cubicBezTo>
                    <a:pt x="9445" y="1899"/>
                    <a:pt x="8499" y="1181"/>
                    <a:pt x="8176" y="1352"/>
                  </a:cubicBezTo>
                  <a:cubicBezTo>
                    <a:pt x="7838" y="1327"/>
                    <a:pt x="6620" y="1241"/>
                    <a:pt x="5453" y="768"/>
                  </a:cubicBezTo>
                  <a:cubicBezTo>
                    <a:pt x="4293" y="223"/>
                    <a:pt x="2583" y="46"/>
                    <a:pt x="1695" y="0"/>
                  </a:cubicBezTo>
                  <a:cubicBezTo>
                    <a:pt x="792" y="151"/>
                    <a:pt x="7" y="591"/>
                    <a:pt x="7" y="1169"/>
                  </a:cubicBezTo>
                  <a:cubicBezTo>
                    <a:pt x="-96" y="1714"/>
                    <a:pt x="910" y="3383"/>
                    <a:pt x="2061" y="4893"/>
                  </a:cubicBezTo>
                  <a:cubicBezTo>
                    <a:pt x="3229" y="6326"/>
                    <a:pt x="4836" y="8842"/>
                    <a:pt x="5541" y="10557"/>
                  </a:cubicBezTo>
                  <a:cubicBezTo>
                    <a:pt x="6304" y="12160"/>
                    <a:pt x="7581" y="14275"/>
                    <a:pt x="8403" y="15123"/>
                  </a:cubicBezTo>
                  <a:cubicBezTo>
                    <a:pt x="9174" y="16115"/>
                    <a:pt x="10540" y="17081"/>
                    <a:pt x="11251" y="17776"/>
                  </a:cubicBezTo>
                  <a:cubicBezTo>
                    <a:pt x="12000" y="18355"/>
                    <a:pt x="13651" y="18993"/>
                    <a:pt x="14921" y="19223"/>
                  </a:cubicBezTo>
                  <a:cubicBezTo>
                    <a:pt x="16191" y="19367"/>
                    <a:pt x="18180" y="20253"/>
                    <a:pt x="19398" y="20852"/>
                  </a:cubicBezTo>
                  <a:cubicBezTo>
                    <a:pt x="20594" y="21488"/>
                    <a:pt x="21504" y="21600"/>
                    <a:pt x="21365" y="21087"/>
                  </a:cubicBezTo>
                  <a:cubicBezTo>
                    <a:pt x="21248" y="20536"/>
                    <a:pt x="20440" y="19216"/>
                    <a:pt x="19589" y="18092"/>
                  </a:cubicBezTo>
                  <a:close/>
                  <a:moveTo>
                    <a:pt x="19589" y="180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 name="AutoShape 41"/>
            <p:cNvSpPr>
              <a:spLocks/>
            </p:cNvSpPr>
            <p:nvPr/>
          </p:nvSpPr>
          <p:spPr bwMode="auto">
            <a:xfrm>
              <a:off x="8483600" y="1270000"/>
              <a:ext cx="47625" cy="31750"/>
            </a:xfrm>
            <a:custGeom>
              <a:avLst/>
              <a:gdLst/>
              <a:ahLst/>
              <a:cxnLst/>
              <a:rect l="0" t="0" r="r" b="b"/>
              <a:pathLst>
                <a:path w="21479" h="21400">
                  <a:moveTo>
                    <a:pt x="3017" y="8845"/>
                  </a:moveTo>
                  <a:cubicBezTo>
                    <a:pt x="3692" y="9727"/>
                    <a:pt x="4229" y="10650"/>
                    <a:pt x="4078" y="10854"/>
                  </a:cubicBezTo>
                  <a:cubicBezTo>
                    <a:pt x="3994" y="11131"/>
                    <a:pt x="4033" y="11600"/>
                    <a:pt x="4212" y="11996"/>
                  </a:cubicBezTo>
                  <a:cubicBezTo>
                    <a:pt x="4396" y="12384"/>
                    <a:pt x="5206" y="13192"/>
                    <a:pt x="5966" y="13915"/>
                  </a:cubicBezTo>
                  <a:cubicBezTo>
                    <a:pt x="6764" y="14547"/>
                    <a:pt x="7954" y="15429"/>
                    <a:pt x="8658" y="15662"/>
                  </a:cubicBezTo>
                  <a:cubicBezTo>
                    <a:pt x="9367" y="15902"/>
                    <a:pt x="10429" y="16678"/>
                    <a:pt x="11065" y="17196"/>
                  </a:cubicBezTo>
                  <a:cubicBezTo>
                    <a:pt x="11691" y="17772"/>
                    <a:pt x="12362" y="18649"/>
                    <a:pt x="12657" y="19000"/>
                  </a:cubicBezTo>
                  <a:cubicBezTo>
                    <a:pt x="12903" y="19425"/>
                    <a:pt x="13713" y="20221"/>
                    <a:pt x="14434" y="20817"/>
                  </a:cubicBezTo>
                  <a:cubicBezTo>
                    <a:pt x="15171" y="21396"/>
                    <a:pt x="15947" y="21519"/>
                    <a:pt x="16254" y="21294"/>
                  </a:cubicBezTo>
                  <a:cubicBezTo>
                    <a:pt x="16539" y="20997"/>
                    <a:pt x="16618" y="20253"/>
                    <a:pt x="16439" y="19703"/>
                  </a:cubicBezTo>
                  <a:cubicBezTo>
                    <a:pt x="16254" y="19152"/>
                    <a:pt x="15757" y="18278"/>
                    <a:pt x="15378" y="17674"/>
                  </a:cubicBezTo>
                  <a:cubicBezTo>
                    <a:pt x="14998" y="17058"/>
                    <a:pt x="14758" y="16490"/>
                    <a:pt x="14758" y="16228"/>
                  </a:cubicBezTo>
                  <a:cubicBezTo>
                    <a:pt x="14891" y="16053"/>
                    <a:pt x="15679" y="15927"/>
                    <a:pt x="16634" y="16147"/>
                  </a:cubicBezTo>
                  <a:cubicBezTo>
                    <a:pt x="17595" y="16339"/>
                    <a:pt x="19120" y="16600"/>
                    <a:pt x="20036" y="16616"/>
                  </a:cubicBezTo>
                  <a:cubicBezTo>
                    <a:pt x="20941" y="16768"/>
                    <a:pt x="21600" y="16498"/>
                    <a:pt x="21460" y="16245"/>
                  </a:cubicBezTo>
                  <a:cubicBezTo>
                    <a:pt x="21365" y="15948"/>
                    <a:pt x="20863" y="15535"/>
                    <a:pt x="20388" y="15352"/>
                  </a:cubicBezTo>
                  <a:cubicBezTo>
                    <a:pt x="19941" y="15103"/>
                    <a:pt x="18695" y="14066"/>
                    <a:pt x="17567" y="13167"/>
                  </a:cubicBezTo>
                  <a:cubicBezTo>
                    <a:pt x="16466" y="12204"/>
                    <a:pt x="15003" y="10996"/>
                    <a:pt x="14311" y="10531"/>
                  </a:cubicBezTo>
                  <a:cubicBezTo>
                    <a:pt x="13618" y="10069"/>
                    <a:pt x="12774" y="9404"/>
                    <a:pt x="12462" y="9050"/>
                  </a:cubicBezTo>
                  <a:cubicBezTo>
                    <a:pt x="12132" y="8703"/>
                    <a:pt x="11534" y="7833"/>
                    <a:pt x="11289" y="7004"/>
                  </a:cubicBezTo>
                  <a:cubicBezTo>
                    <a:pt x="10965" y="6233"/>
                    <a:pt x="10312" y="5111"/>
                    <a:pt x="9831" y="4515"/>
                  </a:cubicBezTo>
                  <a:cubicBezTo>
                    <a:pt x="9339" y="3935"/>
                    <a:pt x="8390" y="3090"/>
                    <a:pt x="7697" y="2662"/>
                  </a:cubicBezTo>
                  <a:cubicBezTo>
                    <a:pt x="7004" y="2204"/>
                    <a:pt x="5966" y="1563"/>
                    <a:pt x="5390" y="1159"/>
                  </a:cubicBezTo>
                  <a:cubicBezTo>
                    <a:pt x="4809" y="793"/>
                    <a:pt x="3977" y="339"/>
                    <a:pt x="3514" y="106"/>
                  </a:cubicBezTo>
                  <a:cubicBezTo>
                    <a:pt x="3050" y="-81"/>
                    <a:pt x="2592" y="-12"/>
                    <a:pt x="2592" y="245"/>
                  </a:cubicBezTo>
                  <a:cubicBezTo>
                    <a:pt x="2525" y="494"/>
                    <a:pt x="2692" y="919"/>
                    <a:pt x="2771" y="1257"/>
                  </a:cubicBezTo>
                  <a:cubicBezTo>
                    <a:pt x="2910" y="1560"/>
                    <a:pt x="2721" y="2033"/>
                    <a:pt x="2352" y="2323"/>
                  </a:cubicBezTo>
                  <a:cubicBezTo>
                    <a:pt x="1989" y="2642"/>
                    <a:pt x="1262" y="2841"/>
                    <a:pt x="782" y="2841"/>
                  </a:cubicBezTo>
                  <a:cubicBezTo>
                    <a:pt x="291" y="2841"/>
                    <a:pt x="0" y="3274"/>
                    <a:pt x="0" y="3837"/>
                  </a:cubicBezTo>
                  <a:cubicBezTo>
                    <a:pt x="79" y="4392"/>
                    <a:pt x="525" y="5360"/>
                    <a:pt x="950" y="6078"/>
                  </a:cubicBezTo>
                  <a:cubicBezTo>
                    <a:pt x="1402" y="6768"/>
                    <a:pt x="2324" y="8033"/>
                    <a:pt x="3017" y="8845"/>
                  </a:cubicBezTo>
                  <a:close/>
                  <a:moveTo>
                    <a:pt x="3017" y="88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 name="AutoShape 42"/>
            <p:cNvSpPr>
              <a:spLocks/>
            </p:cNvSpPr>
            <p:nvPr/>
          </p:nvSpPr>
          <p:spPr bwMode="auto">
            <a:xfrm>
              <a:off x="8445500" y="1244600"/>
              <a:ext cx="20638" cy="6350"/>
            </a:xfrm>
            <a:custGeom>
              <a:avLst/>
              <a:gdLst/>
              <a:ahLst/>
              <a:cxnLst/>
              <a:rect l="0" t="0" r="r" b="b"/>
              <a:pathLst>
                <a:path w="21191" h="21172">
                  <a:moveTo>
                    <a:pt x="6017" y="8638"/>
                  </a:moveTo>
                  <a:cubicBezTo>
                    <a:pt x="8380" y="11112"/>
                    <a:pt x="11339" y="14439"/>
                    <a:pt x="12589" y="16006"/>
                  </a:cubicBezTo>
                  <a:cubicBezTo>
                    <a:pt x="13828" y="17729"/>
                    <a:pt x="15633" y="19795"/>
                    <a:pt x="16586" y="20560"/>
                  </a:cubicBezTo>
                  <a:cubicBezTo>
                    <a:pt x="17565" y="21198"/>
                    <a:pt x="19137" y="21289"/>
                    <a:pt x="20115" y="21056"/>
                  </a:cubicBezTo>
                  <a:cubicBezTo>
                    <a:pt x="21080" y="20630"/>
                    <a:pt x="21427" y="19172"/>
                    <a:pt x="21030" y="17554"/>
                  </a:cubicBezTo>
                  <a:cubicBezTo>
                    <a:pt x="20536" y="16184"/>
                    <a:pt x="19062" y="14012"/>
                    <a:pt x="17763" y="12464"/>
                  </a:cubicBezTo>
                  <a:cubicBezTo>
                    <a:pt x="16425" y="11520"/>
                    <a:pt x="14755" y="9119"/>
                    <a:pt x="14037" y="7785"/>
                  </a:cubicBezTo>
                  <a:cubicBezTo>
                    <a:pt x="13270" y="6787"/>
                    <a:pt x="11773" y="4725"/>
                    <a:pt x="10646" y="3515"/>
                  </a:cubicBezTo>
                  <a:cubicBezTo>
                    <a:pt x="9518" y="2393"/>
                    <a:pt x="7823" y="1664"/>
                    <a:pt x="6981" y="2429"/>
                  </a:cubicBezTo>
                  <a:cubicBezTo>
                    <a:pt x="6115" y="3052"/>
                    <a:pt x="4506" y="2786"/>
                    <a:pt x="3516" y="1737"/>
                  </a:cubicBezTo>
                  <a:cubicBezTo>
                    <a:pt x="2477" y="1095"/>
                    <a:pt x="1114" y="-60"/>
                    <a:pt x="471" y="64"/>
                  </a:cubicBezTo>
                  <a:cubicBezTo>
                    <a:pt x="-149" y="-311"/>
                    <a:pt x="-173" y="1041"/>
                    <a:pt x="495" y="2232"/>
                  </a:cubicBezTo>
                  <a:cubicBezTo>
                    <a:pt x="1189" y="3231"/>
                    <a:pt x="3664" y="6237"/>
                    <a:pt x="6017" y="8638"/>
                  </a:cubicBezTo>
                  <a:close/>
                  <a:moveTo>
                    <a:pt x="6017" y="86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 name="AutoShape 43"/>
            <p:cNvSpPr>
              <a:spLocks/>
            </p:cNvSpPr>
            <p:nvPr/>
          </p:nvSpPr>
          <p:spPr bwMode="auto">
            <a:xfrm>
              <a:off x="8382000" y="1295400"/>
              <a:ext cx="19050" cy="11113"/>
            </a:xfrm>
            <a:custGeom>
              <a:avLst/>
              <a:gdLst/>
              <a:ahLst/>
              <a:cxnLst/>
              <a:rect l="0" t="0" r="r" b="b"/>
              <a:pathLst>
                <a:path w="20980" h="21315">
                  <a:moveTo>
                    <a:pt x="15934" y="9554"/>
                  </a:moveTo>
                  <a:cubicBezTo>
                    <a:pt x="14623" y="8897"/>
                    <a:pt x="12005" y="6816"/>
                    <a:pt x="10020" y="4942"/>
                  </a:cubicBezTo>
                  <a:cubicBezTo>
                    <a:pt x="8184" y="2727"/>
                    <a:pt x="5660" y="974"/>
                    <a:pt x="4621" y="559"/>
                  </a:cubicBezTo>
                  <a:cubicBezTo>
                    <a:pt x="3594" y="141"/>
                    <a:pt x="1826" y="218"/>
                    <a:pt x="732" y="0"/>
                  </a:cubicBezTo>
                  <a:cubicBezTo>
                    <a:pt x="-388" y="108"/>
                    <a:pt x="-199" y="1499"/>
                    <a:pt x="1137" y="3091"/>
                  </a:cubicBezTo>
                  <a:cubicBezTo>
                    <a:pt x="2406" y="4843"/>
                    <a:pt x="3837" y="6892"/>
                    <a:pt x="4215" y="7954"/>
                  </a:cubicBezTo>
                  <a:cubicBezTo>
                    <a:pt x="4621" y="9007"/>
                    <a:pt x="3837" y="10223"/>
                    <a:pt x="2541" y="10409"/>
                  </a:cubicBezTo>
                  <a:cubicBezTo>
                    <a:pt x="1272" y="10760"/>
                    <a:pt x="1110" y="11879"/>
                    <a:pt x="2217" y="13139"/>
                  </a:cubicBezTo>
                  <a:cubicBezTo>
                    <a:pt x="3324" y="14313"/>
                    <a:pt x="6578" y="16833"/>
                    <a:pt x="9507" y="18541"/>
                  </a:cubicBezTo>
                  <a:cubicBezTo>
                    <a:pt x="12436" y="20361"/>
                    <a:pt x="16096" y="21600"/>
                    <a:pt x="17594" y="21259"/>
                  </a:cubicBezTo>
                  <a:cubicBezTo>
                    <a:pt x="19093" y="21171"/>
                    <a:pt x="20442" y="19582"/>
                    <a:pt x="20875" y="18323"/>
                  </a:cubicBezTo>
                  <a:cubicBezTo>
                    <a:pt x="21212" y="17028"/>
                    <a:pt x="20713" y="14586"/>
                    <a:pt x="19835" y="13192"/>
                  </a:cubicBezTo>
                  <a:cubicBezTo>
                    <a:pt x="19025" y="11713"/>
                    <a:pt x="17243" y="10158"/>
                    <a:pt x="15934" y="9554"/>
                  </a:cubicBezTo>
                  <a:close/>
                  <a:moveTo>
                    <a:pt x="15934" y="95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 name="AutoShape 44"/>
            <p:cNvSpPr>
              <a:spLocks/>
            </p:cNvSpPr>
            <p:nvPr/>
          </p:nvSpPr>
          <p:spPr bwMode="auto">
            <a:xfrm>
              <a:off x="8420100" y="1295400"/>
              <a:ext cx="7938" cy="3175"/>
            </a:xfrm>
            <a:custGeom>
              <a:avLst/>
              <a:gdLst/>
              <a:ahLst/>
              <a:cxnLst/>
              <a:rect l="0" t="0" r="r" b="b"/>
              <a:pathLst>
                <a:path w="21094" h="20615">
                  <a:moveTo>
                    <a:pt x="11730" y="1843"/>
                  </a:moveTo>
                  <a:cubicBezTo>
                    <a:pt x="9222" y="-149"/>
                    <a:pt x="6823" y="-557"/>
                    <a:pt x="6490" y="771"/>
                  </a:cubicBezTo>
                  <a:cubicBezTo>
                    <a:pt x="6072" y="1873"/>
                    <a:pt x="4260" y="2281"/>
                    <a:pt x="2365" y="2137"/>
                  </a:cubicBezTo>
                  <a:cubicBezTo>
                    <a:pt x="442" y="1986"/>
                    <a:pt x="-506" y="3020"/>
                    <a:pt x="273" y="5043"/>
                  </a:cubicBezTo>
                  <a:cubicBezTo>
                    <a:pt x="1083" y="7186"/>
                    <a:pt x="3840" y="10756"/>
                    <a:pt x="6407" y="13745"/>
                  </a:cubicBezTo>
                  <a:cubicBezTo>
                    <a:pt x="8969" y="16545"/>
                    <a:pt x="13098" y="18862"/>
                    <a:pt x="15549" y="20190"/>
                  </a:cubicBezTo>
                  <a:cubicBezTo>
                    <a:pt x="18085" y="21043"/>
                    <a:pt x="20732" y="20673"/>
                    <a:pt x="21094" y="18537"/>
                  </a:cubicBezTo>
                  <a:cubicBezTo>
                    <a:pt x="21094" y="16175"/>
                    <a:pt x="20819" y="12892"/>
                    <a:pt x="19171" y="10167"/>
                  </a:cubicBezTo>
                  <a:cubicBezTo>
                    <a:pt x="17556" y="7217"/>
                    <a:pt x="14155" y="4123"/>
                    <a:pt x="11730" y="1843"/>
                  </a:cubicBezTo>
                  <a:close/>
                  <a:moveTo>
                    <a:pt x="11730" y="18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 name="AutoShape 45"/>
            <p:cNvSpPr>
              <a:spLocks/>
            </p:cNvSpPr>
            <p:nvPr/>
          </p:nvSpPr>
          <p:spPr bwMode="auto">
            <a:xfrm>
              <a:off x="8394700" y="1308100"/>
              <a:ext cx="7938" cy="6350"/>
            </a:xfrm>
            <a:custGeom>
              <a:avLst/>
              <a:gdLst/>
              <a:ahLst/>
              <a:cxnLst/>
              <a:rect l="0" t="0" r="r" b="b"/>
              <a:pathLst>
                <a:path w="20315" h="20102">
                  <a:moveTo>
                    <a:pt x="13161" y="8124"/>
                  </a:moveTo>
                  <a:cubicBezTo>
                    <a:pt x="10549" y="5300"/>
                    <a:pt x="5887" y="2227"/>
                    <a:pt x="3181" y="774"/>
                  </a:cubicBezTo>
                  <a:cubicBezTo>
                    <a:pt x="503" y="-656"/>
                    <a:pt x="-597" y="-74"/>
                    <a:pt x="316" y="2263"/>
                  </a:cubicBezTo>
                  <a:cubicBezTo>
                    <a:pt x="1639" y="4334"/>
                    <a:pt x="4346" y="8647"/>
                    <a:pt x="6802" y="11352"/>
                  </a:cubicBezTo>
                  <a:cubicBezTo>
                    <a:pt x="9321" y="14021"/>
                    <a:pt x="13570" y="17657"/>
                    <a:pt x="16530" y="19225"/>
                  </a:cubicBezTo>
                  <a:cubicBezTo>
                    <a:pt x="19431" y="20944"/>
                    <a:pt x="21003" y="20017"/>
                    <a:pt x="20025" y="17463"/>
                  </a:cubicBezTo>
                  <a:cubicBezTo>
                    <a:pt x="18704" y="15241"/>
                    <a:pt x="15934" y="10813"/>
                    <a:pt x="13161" y="8124"/>
                  </a:cubicBezTo>
                  <a:close/>
                  <a:moveTo>
                    <a:pt x="13161" y="81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 name="AutoShape 46"/>
            <p:cNvSpPr>
              <a:spLocks/>
            </p:cNvSpPr>
            <p:nvPr/>
          </p:nvSpPr>
          <p:spPr bwMode="auto">
            <a:xfrm>
              <a:off x="8407400" y="1308100"/>
              <a:ext cx="12700" cy="4763"/>
            </a:xfrm>
            <a:custGeom>
              <a:avLst/>
              <a:gdLst/>
              <a:ahLst/>
              <a:cxnLst/>
              <a:rect l="0" t="0" r="r" b="b"/>
              <a:pathLst>
                <a:path w="20904" h="21148">
                  <a:moveTo>
                    <a:pt x="15157" y="4678"/>
                  </a:moveTo>
                  <a:cubicBezTo>
                    <a:pt x="13584" y="2318"/>
                    <a:pt x="11371" y="401"/>
                    <a:pt x="10222" y="0"/>
                  </a:cubicBezTo>
                  <a:cubicBezTo>
                    <a:pt x="9076" y="0"/>
                    <a:pt x="7153" y="0"/>
                    <a:pt x="6398" y="1687"/>
                  </a:cubicBezTo>
                  <a:cubicBezTo>
                    <a:pt x="5346" y="2615"/>
                    <a:pt x="3211" y="3479"/>
                    <a:pt x="1559" y="2848"/>
                  </a:cubicBezTo>
                  <a:cubicBezTo>
                    <a:pt x="-92" y="2848"/>
                    <a:pt x="-479" y="3733"/>
                    <a:pt x="627" y="6111"/>
                  </a:cubicBezTo>
                  <a:cubicBezTo>
                    <a:pt x="1793" y="8411"/>
                    <a:pt x="5270" y="11846"/>
                    <a:pt x="8184" y="14837"/>
                  </a:cubicBezTo>
                  <a:cubicBezTo>
                    <a:pt x="11175" y="17112"/>
                    <a:pt x="15040" y="20020"/>
                    <a:pt x="16828" y="20655"/>
                  </a:cubicBezTo>
                  <a:cubicBezTo>
                    <a:pt x="18594" y="21600"/>
                    <a:pt x="20461" y="21095"/>
                    <a:pt x="20810" y="19917"/>
                  </a:cubicBezTo>
                  <a:cubicBezTo>
                    <a:pt x="21121" y="18691"/>
                    <a:pt x="20635" y="16015"/>
                    <a:pt x="19781" y="13426"/>
                  </a:cubicBezTo>
                  <a:cubicBezTo>
                    <a:pt x="18906" y="10789"/>
                    <a:pt x="16768" y="6892"/>
                    <a:pt x="15157" y="4678"/>
                  </a:cubicBezTo>
                  <a:close/>
                  <a:moveTo>
                    <a:pt x="15157" y="46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 name="AutoShape 47"/>
            <p:cNvSpPr>
              <a:spLocks/>
            </p:cNvSpPr>
            <p:nvPr/>
          </p:nvSpPr>
          <p:spPr bwMode="auto">
            <a:xfrm>
              <a:off x="8394700" y="1282700"/>
              <a:ext cx="23813" cy="9525"/>
            </a:xfrm>
            <a:custGeom>
              <a:avLst/>
              <a:gdLst/>
              <a:ahLst/>
              <a:cxnLst/>
              <a:rect l="0" t="0" r="r" b="b"/>
              <a:pathLst>
                <a:path w="21213" h="21261">
                  <a:moveTo>
                    <a:pt x="12285" y="15908"/>
                  </a:moveTo>
                  <a:cubicBezTo>
                    <a:pt x="13310" y="16987"/>
                    <a:pt x="15459" y="18818"/>
                    <a:pt x="17024" y="19858"/>
                  </a:cubicBezTo>
                  <a:cubicBezTo>
                    <a:pt x="18546" y="21129"/>
                    <a:pt x="20251" y="21390"/>
                    <a:pt x="20747" y="21209"/>
                  </a:cubicBezTo>
                  <a:cubicBezTo>
                    <a:pt x="21244" y="20975"/>
                    <a:pt x="21341" y="19610"/>
                    <a:pt x="21051" y="18272"/>
                  </a:cubicBezTo>
                  <a:cubicBezTo>
                    <a:pt x="20747" y="16908"/>
                    <a:pt x="19291" y="14596"/>
                    <a:pt x="17823" y="13181"/>
                  </a:cubicBezTo>
                  <a:cubicBezTo>
                    <a:pt x="16365" y="11726"/>
                    <a:pt x="14423" y="9531"/>
                    <a:pt x="13613" y="7986"/>
                  </a:cubicBezTo>
                  <a:cubicBezTo>
                    <a:pt x="12673" y="6829"/>
                    <a:pt x="11044" y="4504"/>
                    <a:pt x="9856" y="3480"/>
                  </a:cubicBezTo>
                  <a:cubicBezTo>
                    <a:pt x="8701" y="2192"/>
                    <a:pt x="6455" y="945"/>
                    <a:pt x="4935" y="386"/>
                  </a:cubicBezTo>
                  <a:cubicBezTo>
                    <a:pt x="3412" y="-210"/>
                    <a:pt x="1469" y="-183"/>
                    <a:pt x="713" y="945"/>
                  </a:cubicBezTo>
                  <a:cubicBezTo>
                    <a:pt x="-10" y="2088"/>
                    <a:pt x="-259" y="4166"/>
                    <a:pt x="325" y="6036"/>
                  </a:cubicBezTo>
                  <a:cubicBezTo>
                    <a:pt x="951" y="7792"/>
                    <a:pt x="2094" y="10689"/>
                    <a:pt x="3077" y="11686"/>
                  </a:cubicBezTo>
                  <a:cubicBezTo>
                    <a:pt x="4016" y="13000"/>
                    <a:pt x="5646" y="14492"/>
                    <a:pt x="6693" y="15024"/>
                  </a:cubicBezTo>
                  <a:cubicBezTo>
                    <a:pt x="7698" y="15884"/>
                    <a:pt x="8939" y="15479"/>
                    <a:pt x="9478" y="15000"/>
                  </a:cubicBezTo>
                  <a:cubicBezTo>
                    <a:pt x="9975" y="14349"/>
                    <a:pt x="11259" y="14726"/>
                    <a:pt x="12285" y="15908"/>
                  </a:cubicBezTo>
                  <a:close/>
                  <a:moveTo>
                    <a:pt x="12285" y="159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 name="AutoShape 48"/>
            <p:cNvSpPr>
              <a:spLocks/>
            </p:cNvSpPr>
            <p:nvPr/>
          </p:nvSpPr>
          <p:spPr bwMode="auto">
            <a:xfrm>
              <a:off x="8407400" y="1295400"/>
              <a:ext cx="3175" cy="1588"/>
            </a:xfrm>
            <a:custGeom>
              <a:avLst/>
              <a:gdLst/>
              <a:ahLst/>
              <a:cxnLst/>
              <a:rect l="0" t="0" r="r" b="b"/>
              <a:pathLst>
                <a:path w="20259" h="20628">
                  <a:moveTo>
                    <a:pt x="17991" y="17703"/>
                  </a:moveTo>
                  <a:cubicBezTo>
                    <a:pt x="20506" y="16192"/>
                    <a:pt x="20737" y="10950"/>
                    <a:pt x="19623" y="7081"/>
                  </a:cubicBezTo>
                  <a:cubicBezTo>
                    <a:pt x="17700" y="3704"/>
                    <a:pt x="13041" y="454"/>
                    <a:pt x="7938" y="54"/>
                  </a:cubicBezTo>
                  <a:cubicBezTo>
                    <a:pt x="2909" y="-565"/>
                    <a:pt x="-863" y="4277"/>
                    <a:pt x="172" y="9702"/>
                  </a:cubicBezTo>
                  <a:cubicBezTo>
                    <a:pt x="172" y="15163"/>
                    <a:pt x="4240" y="20370"/>
                    <a:pt x="7795" y="20543"/>
                  </a:cubicBezTo>
                  <a:cubicBezTo>
                    <a:pt x="11192" y="21035"/>
                    <a:pt x="15481" y="19305"/>
                    <a:pt x="17991" y="17703"/>
                  </a:cubicBezTo>
                  <a:close/>
                  <a:moveTo>
                    <a:pt x="17991" y="177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 name="AutoShape 49"/>
            <p:cNvSpPr>
              <a:spLocks/>
            </p:cNvSpPr>
            <p:nvPr/>
          </p:nvSpPr>
          <p:spPr bwMode="auto">
            <a:xfrm>
              <a:off x="8394700" y="1295400"/>
              <a:ext cx="6350" cy="6350"/>
            </a:xfrm>
            <a:custGeom>
              <a:avLst/>
              <a:gdLst/>
              <a:ahLst/>
              <a:cxnLst/>
              <a:rect l="0" t="0" r="r" b="b"/>
              <a:pathLst>
                <a:path w="21285" h="20923">
                  <a:moveTo>
                    <a:pt x="21285" y="16313"/>
                  </a:moveTo>
                  <a:cubicBezTo>
                    <a:pt x="21285" y="13997"/>
                    <a:pt x="20591" y="10538"/>
                    <a:pt x="19160" y="9147"/>
                  </a:cubicBezTo>
                  <a:cubicBezTo>
                    <a:pt x="17767" y="7731"/>
                    <a:pt x="13549" y="4433"/>
                    <a:pt x="9112" y="2507"/>
                  </a:cubicBezTo>
                  <a:cubicBezTo>
                    <a:pt x="4672" y="287"/>
                    <a:pt x="753" y="-477"/>
                    <a:pt x="201" y="287"/>
                  </a:cubicBezTo>
                  <a:cubicBezTo>
                    <a:pt x="-315" y="1055"/>
                    <a:pt x="201" y="3038"/>
                    <a:pt x="1338" y="4530"/>
                  </a:cubicBezTo>
                  <a:cubicBezTo>
                    <a:pt x="2731" y="5748"/>
                    <a:pt x="2986" y="8479"/>
                    <a:pt x="2438" y="9851"/>
                  </a:cubicBezTo>
                  <a:cubicBezTo>
                    <a:pt x="1778" y="11149"/>
                    <a:pt x="4672" y="14270"/>
                    <a:pt x="8562" y="16784"/>
                  </a:cubicBezTo>
                  <a:cubicBezTo>
                    <a:pt x="12449" y="19201"/>
                    <a:pt x="16884" y="21123"/>
                    <a:pt x="18461" y="20906"/>
                  </a:cubicBezTo>
                  <a:cubicBezTo>
                    <a:pt x="20038" y="20946"/>
                    <a:pt x="21285" y="18670"/>
                    <a:pt x="21285" y="16313"/>
                  </a:cubicBezTo>
                  <a:close/>
                  <a:moveTo>
                    <a:pt x="21285" y="163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 name="AutoShape 50"/>
            <p:cNvSpPr>
              <a:spLocks/>
            </p:cNvSpPr>
            <p:nvPr/>
          </p:nvSpPr>
          <p:spPr bwMode="auto">
            <a:xfrm>
              <a:off x="8978900" y="1981200"/>
              <a:ext cx="6350" cy="4763"/>
            </a:xfrm>
            <a:custGeom>
              <a:avLst/>
              <a:gdLst/>
              <a:ahLst/>
              <a:cxnLst/>
              <a:rect l="0" t="0" r="r" b="b"/>
              <a:pathLst>
                <a:path w="20221" h="20196">
                  <a:moveTo>
                    <a:pt x="12182" y="5437"/>
                  </a:moveTo>
                  <a:cubicBezTo>
                    <a:pt x="7803" y="1761"/>
                    <a:pt x="2804" y="-763"/>
                    <a:pt x="942" y="210"/>
                  </a:cubicBezTo>
                  <a:cubicBezTo>
                    <a:pt x="-955" y="1014"/>
                    <a:pt x="140" y="5161"/>
                    <a:pt x="3095" y="9564"/>
                  </a:cubicBezTo>
                  <a:cubicBezTo>
                    <a:pt x="6088" y="13710"/>
                    <a:pt x="11233" y="18287"/>
                    <a:pt x="14373" y="19711"/>
                  </a:cubicBezTo>
                  <a:cubicBezTo>
                    <a:pt x="17689" y="20837"/>
                    <a:pt x="20645" y="19987"/>
                    <a:pt x="20171" y="17361"/>
                  </a:cubicBezTo>
                  <a:cubicBezTo>
                    <a:pt x="20171" y="14612"/>
                    <a:pt x="16414" y="9410"/>
                    <a:pt x="12182" y="5437"/>
                  </a:cubicBezTo>
                  <a:close/>
                  <a:moveTo>
                    <a:pt x="12182" y="54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 name="AutoShape 51"/>
            <p:cNvSpPr>
              <a:spLocks/>
            </p:cNvSpPr>
            <p:nvPr/>
          </p:nvSpPr>
          <p:spPr bwMode="auto">
            <a:xfrm>
              <a:off x="9017000" y="1981200"/>
              <a:ext cx="12700" cy="4763"/>
            </a:xfrm>
            <a:custGeom>
              <a:avLst/>
              <a:gdLst/>
              <a:ahLst/>
              <a:cxnLst/>
              <a:rect l="0" t="0" r="r" b="b"/>
              <a:pathLst>
                <a:path w="20815" h="20229">
                  <a:moveTo>
                    <a:pt x="16958" y="4369"/>
                  </a:moveTo>
                  <a:cubicBezTo>
                    <a:pt x="14333" y="1109"/>
                    <a:pt x="9822" y="-884"/>
                    <a:pt x="6868" y="388"/>
                  </a:cubicBezTo>
                  <a:cubicBezTo>
                    <a:pt x="3914" y="1659"/>
                    <a:pt x="1034" y="5542"/>
                    <a:pt x="296" y="9111"/>
                  </a:cubicBezTo>
                  <a:cubicBezTo>
                    <a:pt x="-287" y="12852"/>
                    <a:pt x="-34" y="17481"/>
                    <a:pt x="1267" y="18580"/>
                  </a:cubicBezTo>
                  <a:cubicBezTo>
                    <a:pt x="2299" y="20716"/>
                    <a:pt x="4399" y="20643"/>
                    <a:pt x="5468" y="19130"/>
                  </a:cubicBezTo>
                  <a:cubicBezTo>
                    <a:pt x="6615" y="18080"/>
                    <a:pt x="10212" y="16902"/>
                    <a:pt x="13554" y="17240"/>
                  </a:cubicBezTo>
                  <a:cubicBezTo>
                    <a:pt x="16958" y="17432"/>
                    <a:pt x="19952" y="15729"/>
                    <a:pt x="20690" y="14074"/>
                  </a:cubicBezTo>
                  <a:cubicBezTo>
                    <a:pt x="21313" y="12159"/>
                    <a:pt x="19523" y="7844"/>
                    <a:pt x="16958" y="4369"/>
                  </a:cubicBezTo>
                  <a:close/>
                  <a:moveTo>
                    <a:pt x="16958" y="43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 name="AutoShape 52"/>
            <p:cNvSpPr>
              <a:spLocks/>
            </p:cNvSpPr>
            <p:nvPr/>
          </p:nvSpPr>
          <p:spPr bwMode="auto">
            <a:xfrm>
              <a:off x="8953500" y="1993900"/>
              <a:ext cx="4763" cy="6350"/>
            </a:xfrm>
            <a:custGeom>
              <a:avLst/>
              <a:gdLst/>
              <a:ahLst/>
              <a:cxnLst/>
              <a:rect l="0" t="0" r="r" b="b"/>
              <a:pathLst>
                <a:path w="20430" h="20520">
                  <a:moveTo>
                    <a:pt x="10037" y="45"/>
                  </a:moveTo>
                  <a:cubicBezTo>
                    <a:pt x="6261" y="-272"/>
                    <a:pt x="2219" y="1136"/>
                    <a:pt x="817" y="3349"/>
                  </a:cubicBezTo>
                  <a:cubicBezTo>
                    <a:pt x="-500" y="5530"/>
                    <a:pt x="-20" y="9061"/>
                    <a:pt x="817" y="11347"/>
                  </a:cubicBezTo>
                  <a:cubicBezTo>
                    <a:pt x="1473" y="13614"/>
                    <a:pt x="5205" y="17077"/>
                    <a:pt x="7929" y="19237"/>
                  </a:cubicBezTo>
                  <a:cubicBezTo>
                    <a:pt x="10824" y="21328"/>
                    <a:pt x="15393" y="20889"/>
                    <a:pt x="17761" y="17743"/>
                  </a:cubicBezTo>
                  <a:cubicBezTo>
                    <a:pt x="20395" y="14719"/>
                    <a:pt x="21100" y="9695"/>
                    <a:pt x="19783" y="6513"/>
                  </a:cubicBezTo>
                  <a:cubicBezTo>
                    <a:pt x="18331" y="3313"/>
                    <a:pt x="13809" y="556"/>
                    <a:pt x="10037" y="45"/>
                  </a:cubicBezTo>
                  <a:close/>
                  <a:moveTo>
                    <a:pt x="10037" y="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 name="AutoShape 53"/>
            <p:cNvSpPr>
              <a:spLocks/>
            </p:cNvSpPr>
            <p:nvPr/>
          </p:nvSpPr>
          <p:spPr bwMode="auto">
            <a:xfrm>
              <a:off x="8966200" y="1968500"/>
              <a:ext cx="11113" cy="7938"/>
            </a:xfrm>
            <a:custGeom>
              <a:avLst/>
              <a:gdLst/>
              <a:ahLst/>
              <a:cxnLst/>
              <a:rect l="0" t="0" r="r" b="b"/>
              <a:pathLst>
                <a:path w="20108" h="20174">
                  <a:moveTo>
                    <a:pt x="9787" y="3172"/>
                  </a:moveTo>
                  <a:cubicBezTo>
                    <a:pt x="6823" y="542"/>
                    <a:pt x="2980" y="-267"/>
                    <a:pt x="1132" y="74"/>
                  </a:cubicBezTo>
                  <a:cubicBezTo>
                    <a:pt x="-670" y="836"/>
                    <a:pt x="-242" y="2767"/>
                    <a:pt x="1862" y="4555"/>
                  </a:cubicBezTo>
                  <a:cubicBezTo>
                    <a:pt x="4032" y="6130"/>
                    <a:pt x="7232" y="9257"/>
                    <a:pt x="8905" y="11577"/>
                  </a:cubicBezTo>
                  <a:cubicBezTo>
                    <a:pt x="10603" y="13894"/>
                    <a:pt x="14402" y="17397"/>
                    <a:pt x="17367" y="19325"/>
                  </a:cubicBezTo>
                  <a:cubicBezTo>
                    <a:pt x="20330" y="21333"/>
                    <a:pt x="20930" y="19685"/>
                    <a:pt x="18977" y="15389"/>
                  </a:cubicBezTo>
                  <a:cubicBezTo>
                    <a:pt x="16767" y="11421"/>
                    <a:pt x="12770" y="5770"/>
                    <a:pt x="9787" y="3172"/>
                  </a:cubicBezTo>
                  <a:close/>
                  <a:moveTo>
                    <a:pt x="9787" y="31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 name="AutoShape 54"/>
            <p:cNvSpPr>
              <a:spLocks/>
            </p:cNvSpPr>
            <p:nvPr/>
          </p:nvSpPr>
          <p:spPr bwMode="auto">
            <a:xfrm>
              <a:off x="8978900" y="1892300"/>
              <a:ext cx="69850" cy="57150"/>
            </a:xfrm>
            <a:custGeom>
              <a:avLst/>
              <a:gdLst/>
              <a:ahLst/>
              <a:cxnLst/>
              <a:rect l="0" t="0" r="r" b="b"/>
              <a:pathLst>
                <a:path w="21412" h="21454">
                  <a:moveTo>
                    <a:pt x="18091" y="15390"/>
                  </a:moveTo>
                  <a:cubicBezTo>
                    <a:pt x="16966" y="14436"/>
                    <a:pt x="15408" y="12880"/>
                    <a:pt x="14611" y="11969"/>
                  </a:cubicBezTo>
                  <a:cubicBezTo>
                    <a:pt x="13805" y="11053"/>
                    <a:pt x="12703" y="10136"/>
                    <a:pt x="12186" y="9844"/>
                  </a:cubicBezTo>
                  <a:cubicBezTo>
                    <a:pt x="11654" y="9587"/>
                    <a:pt x="10651" y="8685"/>
                    <a:pt x="9892" y="7925"/>
                  </a:cubicBezTo>
                  <a:cubicBezTo>
                    <a:pt x="9189" y="7077"/>
                    <a:pt x="8003" y="6106"/>
                    <a:pt x="7410" y="5548"/>
                  </a:cubicBezTo>
                  <a:cubicBezTo>
                    <a:pt x="6768" y="5066"/>
                    <a:pt x="6062" y="4256"/>
                    <a:pt x="5761" y="3862"/>
                  </a:cubicBezTo>
                  <a:cubicBezTo>
                    <a:pt x="5480" y="3440"/>
                    <a:pt x="4599" y="2501"/>
                    <a:pt x="3805" y="1764"/>
                  </a:cubicBezTo>
                  <a:cubicBezTo>
                    <a:pt x="3003" y="1023"/>
                    <a:pt x="2057" y="305"/>
                    <a:pt x="1704" y="144"/>
                  </a:cubicBezTo>
                  <a:cubicBezTo>
                    <a:pt x="1347" y="-37"/>
                    <a:pt x="894" y="-30"/>
                    <a:pt x="682" y="69"/>
                  </a:cubicBezTo>
                  <a:cubicBezTo>
                    <a:pt x="507" y="243"/>
                    <a:pt x="374" y="539"/>
                    <a:pt x="534" y="810"/>
                  </a:cubicBezTo>
                  <a:cubicBezTo>
                    <a:pt x="693" y="1085"/>
                    <a:pt x="545" y="1462"/>
                    <a:pt x="298" y="1638"/>
                  </a:cubicBezTo>
                  <a:cubicBezTo>
                    <a:pt x="55" y="1824"/>
                    <a:pt x="207" y="2359"/>
                    <a:pt x="613" y="2918"/>
                  </a:cubicBezTo>
                  <a:cubicBezTo>
                    <a:pt x="1039" y="3474"/>
                    <a:pt x="1776" y="4103"/>
                    <a:pt x="2220" y="4353"/>
                  </a:cubicBezTo>
                  <a:cubicBezTo>
                    <a:pt x="2665" y="4603"/>
                    <a:pt x="3011" y="4959"/>
                    <a:pt x="3011" y="5167"/>
                  </a:cubicBezTo>
                  <a:cubicBezTo>
                    <a:pt x="3011" y="5374"/>
                    <a:pt x="2802" y="5532"/>
                    <a:pt x="2570" y="5532"/>
                  </a:cubicBezTo>
                  <a:cubicBezTo>
                    <a:pt x="2338" y="5532"/>
                    <a:pt x="1787" y="5110"/>
                    <a:pt x="1293" y="4679"/>
                  </a:cubicBezTo>
                  <a:cubicBezTo>
                    <a:pt x="807" y="4238"/>
                    <a:pt x="275" y="3800"/>
                    <a:pt x="85" y="3763"/>
                  </a:cubicBezTo>
                  <a:cubicBezTo>
                    <a:pt x="-101" y="3724"/>
                    <a:pt x="36" y="4073"/>
                    <a:pt x="317" y="4603"/>
                  </a:cubicBezTo>
                  <a:cubicBezTo>
                    <a:pt x="644" y="5105"/>
                    <a:pt x="1894" y="6633"/>
                    <a:pt x="3105" y="7992"/>
                  </a:cubicBezTo>
                  <a:cubicBezTo>
                    <a:pt x="4302" y="9369"/>
                    <a:pt x="5784" y="10856"/>
                    <a:pt x="6369" y="11335"/>
                  </a:cubicBezTo>
                  <a:cubicBezTo>
                    <a:pt x="6992" y="11760"/>
                    <a:pt x="7855" y="12676"/>
                    <a:pt x="8322" y="13305"/>
                  </a:cubicBezTo>
                  <a:cubicBezTo>
                    <a:pt x="8816" y="13887"/>
                    <a:pt x="9398" y="14518"/>
                    <a:pt x="9645" y="14640"/>
                  </a:cubicBezTo>
                  <a:cubicBezTo>
                    <a:pt x="9903" y="14761"/>
                    <a:pt x="9952" y="14417"/>
                    <a:pt x="9835" y="13837"/>
                  </a:cubicBezTo>
                  <a:cubicBezTo>
                    <a:pt x="9716" y="13256"/>
                    <a:pt x="9892" y="13084"/>
                    <a:pt x="10332" y="13367"/>
                  </a:cubicBezTo>
                  <a:cubicBezTo>
                    <a:pt x="10758" y="13672"/>
                    <a:pt x="11445" y="14041"/>
                    <a:pt x="11871" y="14151"/>
                  </a:cubicBezTo>
                  <a:cubicBezTo>
                    <a:pt x="12289" y="14248"/>
                    <a:pt x="12809" y="14582"/>
                    <a:pt x="13026" y="14846"/>
                  </a:cubicBezTo>
                  <a:cubicBezTo>
                    <a:pt x="13243" y="15106"/>
                    <a:pt x="13706" y="15909"/>
                    <a:pt x="14078" y="16622"/>
                  </a:cubicBezTo>
                  <a:cubicBezTo>
                    <a:pt x="14428" y="17347"/>
                    <a:pt x="14755" y="18075"/>
                    <a:pt x="14709" y="18261"/>
                  </a:cubicBezTo>
                  <a:cubicBezTo>
                    <a:pt x="14762" y="18444"/>
                    <a:pt x="14986" y="18968"/>
                    <a:pt x="15378" y="19374"/>
                  </a:cubicBezTo>
                  <a:cubicBezTo>
                    <a:pt x="15739" y="19828"/>
                    <a:pt x="16647" y="20477"/>
                    <a:pt x="17353" y="20824"/>
                  </a:cubicBezTo>
                  <a:cubicBezTo>
                    <a:pt x="18041" y="21203"/>
                    <a:pt x="18714" y="21278"/>
                    <a:pt x="18870" y="21028"/>
                  </a:cubicBezTo>
                  <a:cubicBezTo>
                    <a:pt x="18984" y="20749"/>
                    <a:pt x="19599" y="20852"/>
                    <a:pt x="20173" y="21214"/>
                  </a:cubicBezTo>
                  <a:cubicBezTo>
                    <a:pt x="20750" y="21563"/>
                    <a:pt x="21278" y="21529"/>
                    <a:pt x="21385" y="21127"/>
                  </a:cubicBezTo>
                  <a:cubicBezTo>
                    <a:pt x="21499" y="20721"/>
                    <a:pt x="21240" y="19647"/>
                    <a:pt x="20841" y="18766"/>
                  </a:cubicBezTo>
                  <a:cubicBezTo>
                    <a:pt x="20393" y="17919"/>
                    <a:pt x="19223" y="16343"/>
                    <a:pt x="18091" y="15390"/>
                  </a:cubicBezTo>
                  <a:close/>
                  <a:moveTo>
                    <a:pt x="18091" y="1539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 name="AutoShape 55"/>
            <p:cNvSpPr>
              <a:spLocks/>
            </p:cNvSpPr>
            <p:nvPr/>
          </p:nvSpPr>
          <p:spPr bwMode="auto">
            <a:xfrm>
              <a:off x="9017000" y="1943100"/>
              <a:ext cx="3175" cy="4763"/>
            </a:xfrm>
            <a:custGeom>
              <a:avLst/>
              <a:gdLst/>
              <a:ahLst/>
              <a:cxnLst/>
              <a:rect l="0" t="0" r="r" b="b"/>
              <a:pathLst>
                <a:path w="18730" h="19553">
                  <a:moveTo>
                    <a:pt x="14180" y="19520"/>
                  </a:moveTo>
                  <a:cubicBezTo>
                    <a:pt x="17448" y="19268"/>
                    <a:pt x="19513" y="16090"/>
                    <a:pt x="18447" y="12331"/>
                  </a:cubicBezTo>
                  <a:cubicBezTo>
                    <a:pt x="17448" y="8549"/>
                    <a:pt x="12195" y="3165"/>
                    <a:pt x="6293" y="752"/>
                  </a:cubicBezTo>
                  <a:cubicBezTo>
                    <a:pt x="329" y="-1567"/>
                    <a:pt x="-2087" y="1654"/>
                    <a:pt x="2105" y="7988"/>
                  </a:cubicBezTo>
                  <a:cubicBezTo>
                    <a:pt x="5231" y="14602"/>
                    <a:pt x="11062" y="20033"/>
                    <a:pt x="14180" y="19520"/>
                  </a:cubicBezTo>
                  <a:close/>
                  <a:moveTo>
                    <a:pt x="14180" y="195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 name="AutoShape 56"/>
            <p:cNvSpPr>
              <a:spLocks/>
            </p:cNvSpPr>
            <p:nvPr/>
          </p:nvSpPr>
          <p:spPr bwMode="auto">
            <a:xfrm>
              <a:off x="9029700" y="1955800"/>
              <a:ext cx="17463" cy="14288"/>
            </a:xfrm>
            <a:custGeom>
              <a:avLst/>
              <a:gdLst/>
              <a:ahLst/>
              <a:cxnLst/>
              <a:rect l="0" t="0" r="r" b="b"/>
              <a:pathLst>
                <a:path w="20578" h="20188">
                  <a:moveTo>
                    <a:pt x="12247" y="10044"/>
                  </a:moveTo>
                  <a:cubicBezTo>
                    <a:pt x="8869" y="7295"/>
                    <a:pt x="4709" y="3763"/>
                    <a:pt x="3116" y="1999"/>
                  </a:cubicBezTo>
                  <a:cubicBezTo>
                    <a:pt x="1482" y="319"/>
                    <a:pt x="205" y="-474"/>
                    <a:pt x="13" y="294"/>
                  </a:cubicBezTo>
                  <a:cubicBezTo>
                    <a:pt x="-180" y="1071"/>
                    <a:pt x="1797" y="3867"/>
                    <a:pt x="4269" y="6365"/>
                  </a:cubicBezTo>
                  <a:cubicBezTo>
                    <a:pt x="6700" y="8936"/>
                    <a:pt x="11754" y="13656"/>
                    <a:pt x="15433" y="17020"/>
                  </a:cubicBezTo>
                  <a:cubicBezTo>
                    <a:pt x="19084" y="20374"/>
                    <a:pt x="21420" y="21126"/>
                    <a:pt x="20293" y="18984"/>
                  </a:cubicBezTo>
                  <a:cubicBezTo>
                    <a:pt x="19456" y="16656"/>
                    <a:pt x="15638" y="12784"/>
                    <a:pt x="12247" y="10044"/>
                  </a:cubicBezTo>
                  <a:close/>
                  <a:moveTo>
                    <a:pt x="12247" y="100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 name="AutoShape 57"/>
            <p:cNvSpPr>
              <a:spLocks/>
            </p:cNvSpPr>
            <p:nvPr/>
          </p:nvSpPr>
          <p:spPr bwMode="auto">
            <a:xfrm>
              <a:off x="8940800" y="1993900"/>
              <a:ext cx="4763" cy="4763"/>
            </a:xfrm>
            <a:custGeom>
              <a:avLst/>
              <a:gdLst/>
              <a:ahLst/>
              <a:cxnLst/>
              <a:rect l="0" t="0" r="r" b="b"/>
              <a:pathLst>
                <a:path w="19935" h="20442">
                  <a:moveTo>
                    <a:pt x="6482" y="20"/>
                  </a:moveTo>
                  <a:cubicBezTo>
                    <a:pt x="3826" y="-180"/>
                    <a:pt x="993" y="3794"/>
                    <a:pt x="241" y="7938"/>
                  </a:cubicBezTo>
                  <a:cubicBezTo>
                    <a:pt x="-999" y="11932"/>
                    <a:pt x="2720" y="17456"/>
                    <a:pt x="7500" y="19175"/>
                  </a:cubicBezTo>
                  <a:cubicBezTo>
                    <a:pt x="12149" y="21323"/>
                    <a:pt x="17328" y="20577"/>
                    <a:pt x="19273" y="18152"/>
                  </a:cubicBezTo>
                  <a:cubicBezTo>
                    <a:pt x="20601" y="15257"/>
                    <a:pt x="19987" y="10285"/>
                    <a:pt x="16930" y="6516"/>
                  </a:cubicBezTo>
                  <a:cubicBezTo>
                    <a:pt x="13784" y="2792"/>
                    <a:pt x="9138" y="-277"/>
                    <a:pt x="6482" y="20"/>
                  </a:cubicBezTo>
                  <a:close/>
                  <a:moveTo>
                    <a:pt x="6482" y="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 name="AutoShape 58"/>
            <p:cNvSpPr>
              <a:spLocks/>
            </p:cNvSpPr>
            <p:nvPr/>
          </p:nvSpPr>
          <p:spPr bwMode="auto">
            <a:xfrm>
              <a:off x="9271000" y="1701800"/>
              <a:ext cx="7938" cy="3175"/>
            </a:xfrm>
            <a:custGeom>
              <a:avLst/>
              <a:gdLst/>
              <a:ahLst/>
              <a:cxnLst/>
              <a:rect l="0" t="0" r="r" b="b"/>
              <a:pathLst>
                <a:path w="20378" h="20496">
                  <a:moveTo>
                    <a:pt x="8272" y="12306"/>
                  </a:moveTo>
                  <a:cubicBezTo>
                    <a:pt x="10788" y="15084"/>
                    <a:pt x="15056" y="18185"/>
                    <a:pt x="17567" y="19820"/>
                  </a:cubicBezTo>
                  <a:cubicBezTo>
                    <a:pt x="20110" y="20987"/>
                    <a:pt x="20958" y="20783"/>
                    <a:pt x="19985" y="18095"/>
                  </a:cubicBezTo>
                  <a:cubicBezTo>
                    <a:pt x="18760" y="15611"/>
                    <a:pt x="15495" y="10319"/>
                    <a:pt x="12856" y="5906"/>
                  </a:cubicBezTo>
                  <a:cubicBezTo>
                    <a:pt x="10187" y="1752"/>
                    <a:pt x="7079" y="-26"/>
                    <a:pt x="7552" y="1142"/>
                  </a:cubicBezTo>
                  <a:cubicBezTo>
                    <a:pt x="7175" y="2542"/>
                    <a:pt x="5041" y="2925"/>
                    <a:pt x="2527" y="848"/>
                  </a:cubicBezTo>
                  <a:cubicBezTo>
                    <a:pt x="-77" y="-613"/>
                    <a:pt x="-642" y="-320"/>
                    <a:pt x="708" y="2776"/>
                  </a:cubicBezTo>
                  <a:cubicBezTo>
                    <a:pt x="2276" y="5470"/>
                    <a:pt x="5637" y="10055"/>
                    <a:pt x="8272" y="12306"/>
                  </a:cubicBezTo>
                  <a:close/>
                  <a:moveTo>
                    <a:pt x="8272" y="123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 name="AutoShape 59"/>
            <p:cNvSpPr>
              <a:spLocks/>
            </p:cNvSpPr>
            <p:nvPr/>
          </p:nvSpPr>
          <p:spPr bwMode="auto">
            <a:xfrm>
              <a:off x="8775700" y="1905000"/>
              <a:ext cx="52388" cy="46038"/>
            </a:xfrm>
            <a:custGeom>
              <a:avLst/>
              <a:gdLst/>
              <a:ahLst/>
              <a:cxnLst/>
              <a:rect l="0" t="0" r="r" b="b"/>
              <a:pathLst>
                <a:path w="21533" h="21387">
                  <a:moveTo>
                    <a:pt x="19351" y="10217"/>
                  </a:moveTo>
                  <a:cubicBezTo>
                    <a:pt x="18464" y="9255"/>
                    <a:pt x="15348" y="6935"/>
                    <a:pt x="12405" y="5106"/>
                  </a:cubicBezTo>
                  <a:cubicBezTo>
                    <a:pt x="9472" y="3282"/>
                    <a:pt x="6064" y="1195"/>
                    <a:pt x="4766" y="717"/>
                  </a:cubicBezTo>
                  <a:cubicBezTo>
                    <a:pt x="3503" y="150"/>
                    <a:pt x="1922" y="-151"/>
                    <a:pt x="1283" y="75"/>
                  </a:cubicBezTo>
                  <a:cubicBezTo>
                    <a:pt x="639" y="282"/>
                    <a:pt x="144" y="1518"/>
                    <a:pt x="0" y="2793"/>
                  </a:cubicBezTo>
                  <a:cubicBezTo>
                    <a:pt x="0" y="4078"/>
                    <a:pt x="188" y="6558"/>
                    <a:pt x="703" y="8250"/>
                  </a:cubicBezTo>
                  <a:cubicBezTo>
                    <a:pt x="1075" y="9999"/>
                    <a:pt x="2016" y="12178"/>
                    <a:pt x="2720" y="13051"/>
                  </a:cubicBezTo>
                  <a:cubicBezTo>
                    <a:pt x="3388" y="13973"/>
                    <a:pt x="4310" y="15494"/>
                    <a:pt x="4771" y="16450"/>
                  </a:cubicBezTo>
                  <a:cubicBezTo>
                    <a:pt x="5172" y="17421"/>
                    <a:pt x="5756" y="18111"/>
                    <a:pt x="5940" y="17982"/>
                  </a:cubicBezTo>
                  <a:cubicBezTo>
                    <a:pt x="6138" y="17884"/>
                    <a:pt x="6827" y="18159"/>
                    <a:pt x="7461" y="18646"/>
                  </a:cubicBezTo>
                  <a:cubicBezTo>
                    <a:pt x="8095" y="19113"/>
                    <a:pt x="8610" y="19863"/>
                    <a:pt x="8477" y="20261"/>
                  </a:cubicBezTo>
                  <a:cubicBezTo>
                    <a:pt x="8412" y="20688"/>
                    <a:pt x="8799" y="21131"/>
                    <a:pt x="9343" y="21326"/>
                  </a:cubicBezTo>
                  <a:cubicBezTo>
                    <a:pt x="9908" y="21449"/>
                    <a:pt x="10731" y="21395"/>
                    <a:pt x="11146" y="21057"/>
                  </a:cubicBezTo>
                  <a:cubicBezTo>
                    <a:pt x="11583" y="20771"/>
                    <a:pt x="12559" y="20556"/>
                    <a:pt x="13292" y="20816"/>
                  </a:cubicBezTo>
                  <a:cubicBezTo>
                    <a:pt x="14045" y="21014"/>
                    <a:pt x="15313" y="20782"/>
                    <a:pt x="16061" y="20255"/>
                  </a:cubicBezTo>
                  <a:cubicBezTo>
                    <a:pt x="16819" y="19768"/>
                    <a:pt x="17805" y="18898"/>
                    <a:pt x="18251" y="18317"/>
                  </a:cubicBezTo>
                  <a:cubicBezTo>
                    <a:pt x="18732" y="17782"/>
                    <a:pt x="18875" y="16241"/>
                    <a:pt x="18449" y="15076"/>
                  </a:cubicBezTo>
                  <a:cubicBezTo>
                    <a:pt x="18152" y="13859"/>
                    <a:pt x="18082" y="12610"/>
                    <a:pt x="18424" y="12330"/>
                  </a:cubicBezTo>
                  <a:cubicBezTo>
                    <a:pt x="18732" y="12001"/>
                    <a:pt x="19301" y="12370"/>
                    <a:pt x="19791" y="12997"/>
                  </a:cubicBezTo>
                  <a:cubicBezTo>
                    <a:pt x="20178" y="13713"/>
                    <a:pt x="20609" y="14961"/>
                    <a:pt x="20678" y="15849"/>
                  </a:cubicBezTo>
                  <a:cubicBezTo>
                    <a:pt x="20753" y="16733"/>
                    <a:pt x="20926" y="16831"/>
                    <a:pt x="21288" y="16161"/>
                  </a:cubicBezTo>
                  <a:cubicBezTo>
                    <a:pt x="21590" y="15460"/>
                    <a:pt x="21600" y="14214"/>
                    <a:pt x="21387" y="13409"/>
                  </a:cubicBezTo>
                  <a:cubicBezTo>
                    <a:pt x="21080" y="12651"/>
                    <a:pt x="20217" y="11202"/>
                    <a:pt x="19351" y="10217"/>
                  </a:cubicBezTo>
                  <a:close/>
                  <a:moveTo>
                    <a:pt x="19351" y="102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 name="AutoShape 60"/>
            <p:cNvSpPr>
              <a:spLocks/>
            </p:cNvSpPr>
            <p:nvPr/>
          </p:nvSpPr>
          <p:spPr bwMode="auto">
            <a:xfrm>
              <a:off x="9296400" y="1651000"/>
              <a:ext cx="6350" cy="6350"/>
            </a:xfrm>
            <a:custGeom>
              <a:avLst/>
              <a:gdLst/>
              <a:ahLst/>
              <a:cxnLst/>
              <a:rect l="0" t="0" r="r" b="b"/>
              <a:pathLst>
                <a:path w="20911" h="20821">
                  <a:moveTo>
                    <a:pt x="2101" y="6263"/>
                  </a:moveTo>
                  <a:cubicBezTo>
                    <a:pt x="373" y="5849"/>
                    <a:pt x="20" y="6203"/>
                    <a:pt x="1198" y="7772"/>
                  </a:cubicBezTo>
                  <a:cubicBezTo>
                    <a:pt x="2335" y="9358"/>
                    <a:pt x="5440" y="12260"/>
                    <a:pt x="7833" y="14532"/>
                  </a:cubicBezTo>
                  <a:cubicBezTo>
                    <a:pt x="10624" y="16455"/>
                    <a:pt x="13765" y="18923"/>
                    <a:pt x="15216" y="19650"/>
                  </a:cubicBezTo>
                  <a:cubicBezTo>
                    <a:pt x="16591" y="20509"/>
                    <a:pt x="18908" y="21099"/>
                    <a:pt x="20010" y="20686"/>
                  </a:cubicBezTo>
                  <a:cubicBezTo>
                    <a:pt x="21188" y="20686"/>
                    <a:pt x="21031" y="19766"/>
                    <a:pt x="20557" y="18414"/>
                  </a:cubicBezTo>
                  <a:cubicBezTo>
                    <a:pt x="19575" y="17354"/>
                    <a:pt x="17415" y="14945"/>
                    <a:pt x="15412" y="13552"/>
                  </a:cubicBezTo>
                  <a:cubicBezTo>
                    <a:pt x="13137" y="12417"/>
                    <a:pt x="12035" y="10281"/>
                    <a:pt x="12035" y="9771"/>
                  </a:cubicBezTo>
                  <a:cubicBezTo>
                    <a:pt x="12430" y="9378"/>
                    <a:pt x="13213" y="9635"/>
                    <a:pt x="14629" y="9984"/>
                  </a:cubicBezTo>
                  <a:cubicBezTo>
                    <a:pt x="15847" y="10887"/>
                    <a:pt x="15101" y="9731"/>
                    <a:pt x="13213" y="7495"/>
                  </a:cubicBezTo>
                  <a:cubicBezTo>
                    <a:pt x="11331" y="5320"/>
                    <a:pt x="7519" y="2715"/>
                    <a:pt x="5162" y="1422"/>
                  </a:cubicBezTo>
                  <a:cubicBezTo>
                    <a:pt x="2730" y="206"/>
                    <a:pt x="177" y="-501"/>
                    <a:pt x="177" y="423"/>
                  </a:cubicBezTo>
                  <a:cubicBezTo>
                    <a:pt x="-412" y="1125"/>
                    <a:pt x="531" y="3284"/>
                    <a:pt x="2138" y="4774"/>
                  </a:cubicBezTo>
                  <a:cubicBezTo>
                    <a:pt x="3474" y="6576"/>
                    <a:pt x="3555" y="7182"/>
                    <a:pt x="2101" y="6263"/>
                  </a:cubicBezTo>
                  <a:close/>
                  <a:moveTo>
                    <a:pt x="2101" y="62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 name="AutoShape 61"/>
            <p:cNvSpPr>
              <a:spLocks/>
            </p:cNvSpPr>
            <p:nvPr/>
          </p:nvSpPr>
          <p:spPr bwMode="auto">
            <a:xfrm>
              <a:off x="8978900" y="1460500"/>
              <a:ext cx="50800" cy="30163"/>
            </a:xfrm>
            <a:custGeom>
              <a:avLst/>
              <a:gdLst/>
              <a:ahLst/>
              <a:cxnLst/>
              <a:rect l="0" t="0" r="r" b="b"/>
              <a:pathLst>
                <a:path w="21453" h="21459">
                  <a:moveTo>
                    <a:pt x="14397" y="16876"/>
                  </a:moveTo>
                  <a:cubicBezTo>
                    <a:pt x="13768" y="16360"/>
                    <a:pt x="13368" y="16175"/>
                    <a:pt x="13524" y="16428"/>
                  </a:cubicBezTo>
                  <a:cubicBezTo>
                    <a:pt x="13706" y="16644"/>
                    <a:pt x="14365" y="17384"/>
                    <a:pt x="14968" y="18150"/>
                  </a:cubicBezTo>
                  <a:cubicBezTo>
                    <a:pt x="15606" y="18835"/>
                    <a:pt x="16609" y="19808"/>
                    <a:pt x="17190" y="20315"/>
                  </a:cubicBezTo>
                  <a:cubicBezTo>
                    <a:pt x="17772" y="20789"/>
                    <a:pt x="18519" y="21228"/>
                    <a:pt x="18852" y="21297"/>
                  </a:cubicBezTo>
                  <a:cubicBezTo>
                    <a:pt x="19189" y="21322"/>
                    <a:pt x="19734" y="21342"/>
                    <a:pt x="20067" y="21309"/>
                  </a:cubicBezTo>
                  <a:cubicBezTo>
                    <a:pt x="20404" y="21241"/>
                    <a:pt x="20902" y="21335"/>
                    <a:pt x="21163" y="21440"/>
                  </a:cubicBezTo>
                  <a:cubicBezTo>
                    <a:pt x="21422" y="21546"/>
                    <a:pt x="21531" y="21178"/>
                    <a:pt x="21390" y="20657"/>
                  </a:cubicBezTo>
                  <a:cubicBezTo>
                    <a:pt x="21240" y="20133"/>
                    <a:pt x="21110" y="19224"/>
                    <a:pt x="20965" y="18734"/>
                  </a:cubicBezTo>
                  <a:cubicBezTo>
                    <a:pt x="20893" y="18204"/>
                    <a:pt x="20544" y="17426"/>
                    <a:pt x="20254" y="16969"/>
                  </a:cubicBezTo>
                  <a:cubicBezTo>
                    <a:pt x="19947" y="16538"/>
                    <a:pt x="18561" y="14906"/>
                    <a:pt x="17138" y="13426"/>
                  </a:cubicBezTo>
                  <a:cubicBezTo>
                    <a:pt x="15736" y="11903"/>
                    <a:pt x="13732" y="9957"/>
                    <a:pt x="12720" y="9039"/>
                  </a:cubicBezTo>
                  <a:cubicBezTo>
                    <a:pt x="11707" y="8118"/>
                    <a:pt x="10274" y="6988"/>
                    <a:pt x="9557" y="6464"/>
                  </a:cubicBezTo>
                  <a:cubicBezTo>
                    <a:pt x="8825" y="5990"/>
                    <a:pt x="7942" y="5415"/>
                    <a:pt x="7590" y="5271"/>
                  </a:cubicBezTo>
                  <a:cubicBezTo>
                    <a:pt x="7226" y="5123"/>
                    <a:pt x="6457" y="4459"/>
                    <a:pt x="5855" y="3897"/>
                  </a:cubicBezTo>
                  <a:cubicBezTo>
                    <a:pt x="5258" y="3322"/>
                    <a:pt x="4526" y="2551"/>
                    <a:pt x="4189" y="2357"/>
                  </a:cubicBezTo>
                  <a:cubicBezTo>
                    <a:pt x="3872" y="2069"/>
                    <a:pt x="3363" y="1930"/>
                    <a:pt x="3078" y="1875"/>
                  </a:cubicBezTo>
                  <a:cubicBezTo>
                    <a:pt x="2792" y="1833"/>
                    <a:pt x="2039" y="1363"/>
                    <a:pt x="1364" y="914"/>
                  </a:cubicBezTo>
                  <a:cubicBezTo>
                    <a:pt x="731" y="335"/>
                    <a:pt x="92" y="-54"/>
                    <a:pt x="19" y="6"/>
                  </a:cubicBezTo>
                  <a:cubicBezTo>
                    <a:pt x="-69" y="6"/>
                    <a:pt x="144" y="517"/>
                    <a:pt x="560" y="957"/>
                  </a:cubicBezTo>
                  <a:cubicBezTo>
                    <a:pt x="917" y="1511"/>
                    <a:pt x="1842" y="2493"/>
                    <a:pt x="2605" y="3110"/>
                  </a:cubicBezTo>
                  <a:cubicBezTo>
                    <a:pt x="3337" y="3807"/>
                    <a:pt x="4381" y="4831"/>
                    <a:pt x="4843" y="5516"/>
                  </a:cubicBezTo>
                  <a:cubicBezTo>
                    <a:pt x="5357" y="6146"/>
                    <a:pt x="6338" y="7246"/>
                    <a:pt x="7013" y="8008"/>
                  </a:cubicBezTo>
                  <a:cubicBezTo>
                    <a:pt x="7719" y="8680"/>
                    <a:pt x="8774" y="9949"/>
                    <a:pt x="9371" y="10735"/>
                  </a:cubicBezTo>
                  <a:cubicBezTo>
                    <a:pt x="9957" y="11530"/>
                    <a:pt x="11100" y="12817"/>
                    <a:pt x="11904" y="13586"/>
                  </a:cubicBezTo>
                  <a:cubicBezTo>
                    <a:pt x="12688" y="14415"/>
                    <a:pt x="14137" y="15675"/>
                    <a:pt x="15118" y="16416"/>
                  </a:cubicBezTo>
                  <a:cubicBezTo>
                    <a:pt x="16084" y="17202"/>
                    <a:pt x="17216" y="18170"/>
                    <a:pt x="17637" y="18568"/>
                  </a:cubicBezTo>
                  <a:cubicBezTo>
                    <a:pt x="18062" y="18983"/>
                    <a:pt x="18285" y="19262"/>
                    <a:pt x="18150" y="19291"/>
                  </a:cubicBezTo>
                  <a:cubicBezTo>
                    <a:pt x="18021" y="19190"/>
                    <a:pt x="17382" y="18847"/>
                    <a:pt x="16723" y="18526"/>
                  </a:cubicBezTo>
                  <a:cubicBezTo>
                    <a:pt x="16084" y="18107"/>
                    <a:pt x="15041" y="17367"/>
                    <a:pt x="14397" y="16876"/>
                  </a:cubicBezTo>
                  <a:close/>
                  <a:moveTo>
                    <a:pt x="14397" y="168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 name="AutoShape 62"/>
            <p:cNvSpPr>
              <a:spLocks/>
            </p:cNvSpPr>
            <p:nvPr/>
          </p:nvSpPr>
          <p:spPr bwMode="auto">
            <a:xfrm>
              <a:off x="8953500" y="1968500"/>
              <a:ext cx="4763" cy="1588"/>
            </a:xfrm>
            <a:custGeom>
              <a:avLst/>
              <a:gdLst/>
              <a:ahLst/>
              <a:cxnLst/>
              <a:rect l="0" t="0" r="r" b="b"/>
              <a:pathLst>
                <a:path w="19562" h="19656">
                  <a:moveTo>
                    <a:pt x="4264" y="728"/>
                  </a:moveTo>
                  <a:cubicBezTo>
                    <a:pt x="876" y="2271"/>
                    <a:pt x="-987" y="6332"/>
                    <a:pt x="538" y="9118"/>
                  </a:cubicBezTo>
                  <a:cubicBezTo>
                    <a:pt x="1935" y="12245"/>
                    <a:pt x="5998" y="16455"/>
                    <a:pt x="9640" y="18625"/>
                  </a:cubicBezTo>
                  <a:cubicBezTo>
                    <a:pt x="13157" y="20516"/>
                    <a:pt x="17646" y="19899"/>
                    <a:pt x="18871" y="15996"/>
                  </a:cubicBezTo>
                  <a:cubicBezTo>
                    <a:pt x="20613" y="12862"/>
                    <a:pt x="18829" y="7915"/>
                    <a:pt x="16079" y="3823"/>
                  </a:cubicBezTo>
                  <a:cubicBezTo>
                    <a:pt x="12900" y="689"/>
                    <a:pt x="7567" y="-1084"/>
                    <a:pt x="4264" y="728"/>
                  </a:cubicBezTo>
                  <a:close/>
                  <a:moveTo>
                    <a:pt x="4264" y="7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 name="AutoShape 63"/>
            <p:cNvSpPr>
              <a:spLocks/>
            </p:cNvSpPr>
            <p:nvPr/>
          </p:nvSpPr>
          <p:spPr bwMode="auto">
            <a:xfrm>
              <a:off x="8864600" y="1968500"/>
              <a:ext cx="11113" cy="3175"/>
            </a:xfrm>
            <a:custGeom>
              <a:avLst/>
              <a:gdLst/>
              <a:ahLst/>
              <a:cxnLst/>
              <a:rect l="0" t="0" r="r" b="b"/>
              <a:pathLst>
                <a:path w="20251" h="20052">
                  <a:moveTo>
                    <a:pt x="3905" y="411"/>
                  </a:moveTo>
                  <a:cubicBezTo>
                    <a:pt x="1542" y="1483"/>
                    <a:pt x="-473" y="6625"/>
                    <a:pt x="98" y="10495"/>
                  </a:cubicBezTo>
                  <a:cubicBezTo>
                    <a:pt x="363" y="14757"/>
                    <a:pt x="1503" y="18495"/>
                    <a:pt x="2460" y="19760"/>
                  </a:cubicBezTo>
                  <a:cubicBezTo>
                    <a:pt x="3498" y="20579"/>
                    <a:pt x="4638" y="19567"/>
                    <a:pt x="5249" y="18101"/>
                  </a:cubicBezTo>
                  <a:cubicBezTo>
                    <a:pt x="5595" y="15890"/>
                    <a:pt x="8749" y="15370"/>
                    <a:pt x="11905" y="16995"/>
                  </a:cubicBezTo>
                  <a:cubicBezTo>
                    <a:pt x="15020" y="18101"/>
                    <a:pt x="18663" y="18268"/>
                    <a:pt x="19906" y="16283"/>
                  </a:cubicBezTo>
                  <a:cubicBezTo>
                    <a:pt x="21127" y="14658"/>
                    <a:pt x="19009" y="10362"/>
                    <a:pt x="15203" y="5680"/>
                  </a:cubicBezTo>
                  <a:cubicBezTo>
                    <a:pt x="11335" y="1423"/>
                    <a:pt x="6246" y="-1021"/>
                    <a:pt x="3905" y="411"/>
                  </a:cubicBezTo>
                  <a:close/>
                  <a:moveTo>
                    <a:pt x="3905" y="4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 name="AutoShape 64"/>
            <p:cNvSpPr>
              <a:spLocks/>
            </p:cNvSpPr>
            <p:nvPr/>
          </p:nvSpPr>
          <p:spPr bwMode="auto">
            <a:xfrm>
              <a:off x="8801100" y="1816100"/>
              <a:ext cx="30163" cy="23813"/>
            </a:xfrm>
            <a:custGeom>
              <a:avLst/>
              <a:gdLst/>
              <a:ahLst/>
              <a:cxnLst/>
              <a:rect l="0" t="0" r="r" b="b"/>
              <a:pathLst>
                <a:path w="21377" h="21279">
                  <a:moveTo>
                    <a:pt x="18836" y="14785"/>
                  </a:moveTo>
                  <a:cubicBezTo>
                    <a:pt x="19200" y="14112"/>
                    <a:pt x="18836" y="12637"/>
                    <a:pt x="18176" y="11625"/>
                  </a:cubicBezTo>
                  <a:cubicBezTo>
                    <a:pt x="17464" y="10672"/>
                    <a:pt x="15728" y="9138"/>
                    <a:pt x="14313" y="8143"/>
                  </a:cubicBezTo>
                  <a:cubicBezTo>
                    <a:pt x="12839" y="7230"/>
                    <a:pt x="11229" y="5802"/>
                    <a:pt x="10755" y="4978"/>
                  </a:cubicBezTo>
                  <a:cubicBezTo>
                    <a:pt x="10256" y="4134"/>
                    <a:pt x="9019" y="3038"/>
                    <a:pt x="8206" y="2168"/>
                  </a:cubicBezTo>
                  <a:cubicBezTo>
                    <a:pt x="7274" y="1553"/>
                    <a:pt x="5470" y="546"/>
                    <a:pt x="4106" y="239"/>
                  </a:cubicBezTo>
                  <a:cubicBezTo>
                    <a:pt x="2734" y="-100"/>
                    <a:pt x="1065" y="-131"/>
                    <a:pt x="557" y="494"/>
                  </a:cubicBezTo>
                  <a:cubicBezTo>
                    <a:pt x="-27" y="995"/>
                    <a:pt x="-121" y="1897"/>
                    <a:pt x="133" y="2653"/>
                  </a:cubicBezTo>
                  <a:cubicBezTo>
                    <a:pt x="515" y="3331"/>
                    <a:pt x="1565" y="4503"/>
                    <a:pt x="2522" y="5202"/>
                  </a:cubicBezTo>
                  <a:cubicBezTo>
                    <a:pt x="3412" y="6015"/>
                    <a:pt x="4699" y="6505"/>
                    <a:pt x="5258" y="6505"/>
                  </a:cubicBezTo>
                  <a:cubicBezTo>
                    <a:pt x="5808" y="6505"/>
                    <a:pt x="7062" y="7011"/>
                    <a:pt x="8020" y="7679"/>
                  </a:cubicBezTo>
                  <a:cubicBezTo>
                    <a:pt x="8994" y="8315"/>
                    <a:pt x="10044" y="9764"/>
                    <a:pt x="10518" y="10807"/>
                  </a:cubicBezTo>
                  <a:cubicBezTo>
                    <a:pt x="10899" y="11907"/>
                    <a:pt x="12111" y="13237"/>
                    <a:pt x="13170" y="13804"/>
                  </a:cubicBezTo>
                  <a:cubicBezTo>
                    <a:pt x="14245" y="14342"/>
                    <a:pt x="16092" y="16114"/>
                    <a:pt x="17354" y="17622"/>
                  </a:cubicBezTo>
                  <a:cubicBezTo>
                    <a:pt x="18582" y="19170"/>
                    <a:pt x="20064" y="20671"/>
                    <a:pt x="20564" y="21093"/>
                  </a:cubicBezTo>
                  <a:cubicBezTo>
                    <a:pt x="21115" y="21469"/>
                    <a:pt x="21479" y="21255"/>
                    <a:pt x="21352" y="20619"/>
                  </a:cubicBezTo>
                  <a:cubicBezTo>
                    <a:pt x="21225" y="19983"/>
                    <a:pt x="20488" y="18716"/>
                    <a:pt x="19726" y="17772"/>
                  </a:cubicBezTo>
                  <a:cubicBezTo>
                    <a:pt x="18904" y="16938"/>
                    <a:pt x="18565" y="15526"/>
                    <a:pt x="18836" y="14785"/>
                  </a:cubicBezTo>
                  <a:close/>
                  <a:moveTo>
                    <a:pt x="18836" y="147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 name="AutoShape 65"/>
            <p:cNvSpPr>
              <a:spLocks/>
            </p:cNvSpPr>
            <p:nvPr/>
          </p:nvSpPr>
          <p:spPr bwMode="auto">
            <a:xfrm>
              <a:off x="9258300" y="1866900"/>
              <a:ext cx="17463" cy="15875"/>
            </a:xfrm>
            <a:custGeom>
              <a:avLst/>
              <a:gdLst/>
              <a:ahLst/>
              <a:cxnLst/>
              <a:rect l="0" t="0" r="r" b="b"/>
              <a:pathLst>
                <a:path w="21094" h="21281">
                  <a:moveTo>
                    <a:pt x="17281" y="6247"/>
                  </a:moveTo>
                  <a:cubicBezTo>
                    <a:pt x="16231" y="5531"/>
                    <a:pt x="14146" y="3932"/>
                    <a:pt x="12369" y="3054"/>
                  </a:cubicBezTo>
                  <a:cubicBezTo>
                    <a:pt x="10648" y="2093"/>
                    <a:pt x="7559" y="908"/>
                    <a:pt x="5519" y="307"/>
                  </a:cubicBezTo>
                  <a:cubicBezTo>
                    <a:pt x="3448" y="-186"/>
                    <a:pt x="1381" y="-85"/>
                    <a:pt x="898" y="615"/>
                  </a:cubicBezTo>
                  <a:cubicBezTo>
                    <a:pt x="448" y="1338"/>
                    <a:pt x="577" y="3254"/>
                    <a:pt x="1613" y="4648"/>
                  </a:cubicBezTo>
                  <a:cubicBezTo>
                    <a:pt x="2458" y="6178"/>
                    <a:pt x="2910" y="8141"/>
                    <a:pt x="2488" y="8988"/>
                  </a:cubicBezTo>
                  <a:cubicBezTo>
                    <a:pt x="2253" y="9911"/>
                    <a:pt x="1234" y="10641"/>
                    <a:pt x="607" y="10888"/>
                  </a:cubicBezTo>
                  <a:cubicBezTo>
                    <a:pt x="53" y="11233"/>
                    <a:pt x="-209" y="12258"/>
                    <a:pt x="198" y="13534"/>
                  </a:cubicBezTo>
                  <a:cubicBezTo>
                    <a:pt x="797" y="14727"/>
                    <a:pt x="1992" y="16921"/>
                    <a:pt x="3216" y="18267"/>
                  </a:cubicBezTo>
                  <a:cubicBezTo>
                    <a:pt x="4556" y="19506"/>
                    <a:pt x="6160" y="20915"/>
                    <a:pt x="6962" y="21200"/>
                  </a:cubicBezTo>
                  <a:cubicBezTo>
                    <a:pt x="7806" y="21414"/>
                    <a:pt x="9206" y="21192"/>
                    <a:pt x="10226" y="20699"/>
                  </a:cubicBezTo>
                  <a:cubicBezTo>
                    <a:pt x="11189" y="20130"/>
                    <a:pt x="12645" y="19737"/>
                    <a:pt x="13433" y="19737"/>
                  </a:cubicBezTo>
                  <a:cubicBezTo>
                    <a:pt x="14235" y="19814"/>
                    <a:pt x="15168" y="18845"/>
                    <a:pt x="15401" y="17666"/>
                  </a:cubicBezTo>
                  <a:cubicBezTo>
                    <a:pt x="15605" y="16483"/>
                    <a:pt x="16741" y="15674"/>
                    <a:pt x="17746" y="15674"/>
                  </a:cubicBezTo>
                  <a:cubicBezTo>
                    <a:pt x="18753" y="15874"/>
                    <a:pt x="20138" y="15028"/>
                    <a:pt x="20633" y="13982"/>
                  </a:cubicBezTo>
                  <a:cubicBezTo>
                    <a:pt x="21391" y="13128"/>
                    <a:pt x="21157" y="11073"/>
                    <a:pt x="20355" y="9903"/>
                  </a:cubicBezTo>
                  <a:cubicBezTo>
                    <a:pt x="19700" y="8649"/>
                    <a:pt x="18257" y="7026"/>
                    <a:pt x="17281" y="6247"/>
                  </a:cubicBezTo>
                  <a:close/>
                  <a:moveTo>
                    <a:pt x="17281" y="62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 name="AutoShape 66"/>
            <p:cNvSpPr>
              <a:spLocks/>
            </p:cNvSpPr>
            <p:nvPr/>
          </p:nvSpPr>
          <p:spPr bwMode="auto">
            <a:xfrm>
              <a:off x="9055100" y="1981200"/>
              <a:ext cx="1588" cy="1588"/>
            </a:xfrm>
            <a:custGeom>
              <a:avLst/>
              <a:gdLst/>
              <a:ahLst/>
              <a:cxnLst/>
              <a:rect l="0" t="0" r="r" b="b"/>
              <a:pathLst>
                <a:path w="17461" h="18226">
                  <a:moveTo>
                    <a:pt x="1202" y="11305"/>
                  </a:moveTo>
                  <a:cubicBezTo>
                    <a:pt x="5092" y="19240"/>
                    <a:pt x="11677" y="20465"/>
                    <a:pt x="15572" y="14395"/>
                  </a:cubicBezTo>
                  <a:cubicBezTo>
                    <a:pt x="20018" y="8857"/>
                    <a:pt x="16207" y="2687"/>
                    <a:pt x="8427" y="289"/>
                  </a:cubicBezTo>
                  <a:cubicBezTo>
                    <a:pt x="328" y="-1135"/>
                    <a:pt x="-1582" y="2736"/>
                    <a:pt x="1202" y="11305"/>
                  </a:cubicBezTo>
                  <a:close/>
                  <a:moveTo>
                    <a:pt x="1202" y="113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 name="AutoShape 67"/>
            <p:cNvSpPr>
              <a:spLocks/>
            </p:cNvSpPr>
            <p:nvPr/>
          </p:nvSpPr>
          <p:spPr bwMode="auto">
            <a:xfrm>
              <a:off x="9169400" y="1790700"/>
              <a:ext cx="9525" cy="7938"/>
            </a:xfrm>
            <a:custGeom>
              <a:avLst/>
              <a:gdLst/>
              <a:ahLst/>
              <a:cxnLst/>
              <a:rect l="0" t="0" r="r" b="b"/>
              <a:pathLst>
                <a:path w="20788" h="20865">
                  <a:moveTo>
                    <a:pt x="20033" y="16092"/>
                  </a:moveTo>
                  <a:cubicBezTo>
                    <a:pt x="18694" y="14204"/>
                    <a:pt x="17779" y="11318"/>
                    <a:pt x="17431" y="9950"/>
                  </a:cubicBezTo>
                  <a:cubicBezTo>
                    <a:pt x="17431" y="8503"/>
                    <a:pt x="17977" y="7395"/>
                    <a:pt x="19115" y="7265"/>
                  </a:cubicBezTo>
                  <a:cubicBezTo>
                    <a:pt x="20279" y="7525"/>
                    <a:pt x="20132" y="6318"/>
                    <a:pt x="19240" y="4853"/>
                  </a:cubicBezTo>
                  <a:cubicBezTo>
                    <a:pt x="18200" y="3485"/>
                    <a:pt x="15622" y="1547"/>
                    <a:pt x="13593" y="763"/>
                  </a:cubicBezTo>
                  <a:cubicBezTo>
                    <a:pt x="11636" y="-311"/>
                    <a:pt x="7846" y="-148"/>
                    <a:pt x="5196" y="616"/>
                  </a:cubicBezTo>
                  <a:cubicBezTo>
                    <a:pt x="2471" y="1254"/>
                    <a:pt x="68" y="4349"/>
                    <a:pt x="68" y="6988"/>
                  </a:cubicBezTo>
                  <a:cubicBezTo>
                    <a:pt x="-254" y="9577"/>
                    <a:pt x="611" y="13797"/>
                    <a:pt x="1677" y="16142"/>
                  </a:cubicBezTo>
                  <a:cubicBezTo>
                    <a:pt x="2496" y="18714"/>
                    <a:pt x="4624" y="19121"/>
                    <a:pt x="6135" y="17786"/>
                  </a:cubicBezTo>
                  <a:cubicBezTo>
                    <a:pt x="7524" y="16289"/>
                    <a:pt x="10346" y="16549"/>
                    <a:pt x="12329" y="18404"/>
                  </a:cubicBezTo>
                  <a:cubicBezTo>
                    <a:pt x="14435" y="20131"/>
                    <a:pt x="17431" y="21289"/>
                    <a:pt x="19166" y="20719"/>
                  </a:cubicBezTo>
                  <a:cubicBezTo>
                    <a:pt x="20875" y="20148"/>
                    <a:pt x="21346" y="18030"/>
                    <a:pt x="20033" y="16092"/>
                  </a:cubicBezTo>
                  <a:close/>
                  <a:moveTo>
                    <a:pt x="20033" y="160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 name="AutoShape 68"/>
            <p:cNvSpPr>
              <a:spLocks/>
            </p:cNvSpPr>
            <p:nvPr/>
          </p:nvSpPr>
          <p:spPr bwMode="auto">
            <a:xfrm>
              <a:off x="9194800" y="1816100"/>
              <a:ext cx="14288" cy="9525"/>
            </a:xfrm>
            <a:custGeom>
              <a:avLst/>
              <a:gdLst/>
              <a:ahLst/>
              <a:cxnLst/>
              <a:rect l="0" t="0" r="r" b="b"/>
              <a:pathLst>
                <a:path w="20726" h="21295">
                  <a:moveTo>
                    <a:pt x="14493" y="12418"/>
                  </a:moveTo>
                  <a:cubicBezTo>
                    <a:pt x="11669" y="10100"/>
                    <a:pt x="7661" y="6424"/>
                    <a:pt x="5624" y="4196"/>
                  </a:cubicBezTo>
                  <a:cubicBezTo>
                    <a:pt x="3553" y="1968"/>
                    <a:pt x="1140" y="103"/>
                    <a:pt x="268" y="0"/>
                  </a:cubicBezTo>
                  <a:cubicBezTo>
                    <a:pt x="-618" y="167"/>
                    <a:pt x="761" y="2695"/>
                    <a:pt x="3422" y="6124"/>
                  </a:cubicBezTo>
                  <a:cubicBezTo>
                    <a:pt x="6083" y="9479"/>
                    <a:pt x="10174" y="14542"/>
                    <a:pt x="12851" y="16396"/>
                  </a:cubicBezTo>
                  <a:cubicBezTo>
                    <a:pt x="15413" y="18608"/>
                    <a:pt x="18403" y="20823"/>
                    <a:pt x="19535" y="21173"/>
                  </a:cubicBezTo>
                  <a:cubicBezTo>
                    <a:pt x="20637" y="21600"/>
                    <a:pt x="20982" y="20889"/>
                    <a:pt x="20539" y="19322"/>
                  </a:cubicBezTo>
                  <a:cubicBezTo>
                    <a:pt x="19980" y="17871"/>
                    <a:pt x="17335" y="14569"/>
                    <a:pt x="14493" y="12418"/>
                  </a:cubicBezTo>
                  <a:close/>
                  <a:moveTo>
                    <a:pt x="14493" y="124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 name="AutoShape 69"/>
            <p:cNvSpPr>
              <a:spLocks/>
            </p:cNvSpPr>
            <p:nvPr/>
          </p:nvSpPr>
          <p:spPr bwMode="auto">
            <a:xfrm>
              <a:off x="9258300" y="1841500"/>
              <a:ext cx="25400" cy="26988"/>
            </a:xfrm>
            <a:custGeom>
              <a:avLst/>
              <a:gdLst/>
              <a:ahLst/>
              <a:cxnLst/>
              <a:rect l="0" t="0" r="r" b="b"/>
              <a:pathLst>
                <a:path w="21205" h="21242">
                  <a:moveTo>
                    <a:pt x="160" y="237"/>
                  </a:moveTo>
                  <a:cubicBezTo>
                    <a:pt x="-142" y="870"/>
                    <a:pt x="-1" y="2363"/>
                    <a:pt x="452" y="3661"/>
                  </a:cubicBezTo>
                  <a:cubicBezTo>
                    <a:pt x="1026" y="4922"/>
                    <a:pt x="1469" y="6648"/>
                    <a:pt x="1328" y="7443"/>
                  </a:cubicBezTo>
                  <a:cubicBezTo>
                    <a:pt x="1328" y="8239"/>
                    <a:pt x="1590" y="9504"/>
                    <a:pt x="2174" y="10183"/>
                  </a:cubicBezTo>
                  <a:cubicBezTo>
                    <a:pt x="2637" y="10932"/>
                    <a:pt x="4249" y="12016"/>
                    <a:pt x="5597" y="12747"/>
                  </a:cubicBezTo>
                  <a:cubicBezTo>
                    <a:pt x="7017" y="13398"/>
                    <a:pt x="8710" y="14510"/>
                    <a:pt x="9354" y="15180"/>
                  </a:cubicBezTo>
                  <a:cubicBezTo>
                    <a:pt x="10109" y="15733"/>
                    <a:pt x="11560" y="16798"/>
                    <a:pt x="12727" y="17366"/>
                  </a:cubicBezTo>
                  <a:cubicBezTo>
                    <a:pt x="13927" y="17860"/>
                    <a:pt x="15709" y="19013"/>
                    <a:pt x="16836" y="19697"/>
                  </a:cubicBezTo>
                  <a:cubicBezTo>
                    <a:pt x="17883" y="20469"/>
                    <a:pt x="19445" y="21130"/>
                    <a:pt x="20209" y="21233"/>
                  </a:cubicBezTo>
                  <a:cubicBezTo>
                    <a:pt x="20975" y="21302"/>
                    <a:pt x="21458" y="20971"/>
                    <a:pt x="21065" y="20460"/>
                  </a:cubicBezTo>
                  <a:cubicBezTo>
                    <a:pt x="20763" y="19897"/>
                    <a:pt x="19112" y="18166"/>
                    <a:pt x="17612" y="16432"/>
                  </a:cubicBezTo>
                  <a:cubicBezTo>
                    <a:pt x="15960" y="14826"/>
                    <a:pt x="13976" y="12318"/>
                    <a:pt x="13000" y="11035"/>
                  </a:cubicBezTo>
                  <a:cubicBezTo>
                    <a:pt x="12103" y="9714"/>
                    <a:pt x="9847" y="7490"/>
                    <a:pt x="8065" y="6052"/>
                  </a:cubicBezTo>
                  <a:cubicBezTo>
                    <a:pt x="6273" y="4634"/>
                    <a:pt x="3906" y="2503"/>
                    <a:pt x="2829" y="1293"/>
                  </a:cubicBezTo>
                  <a:cubicBezTo>
                    <a:pt x="1741" y="79"/>
                    <a:pt x="623" y="-298"/>
                    <a:pt x="160" y="237"/>
                  </a:cubicBezTo>
                  <a:close/>
                  <a:moveTo>
                    <a:pt x="160" y="2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 name="AutoShape 70"/>
            <p:cNvSpPr>
              <a:spLocks/>
            </p:cNvSpPr>
            <p:nvPr/>
          </p:nvSpPr>
          <p:spPr bwMode="auto">
            <a:xfrm>
              <a:off x="9245600" y="1790700"/>
              <a:ext cx="6350" cy="4763"/>
            </a:xfrm>
            <a:custGeom>
              <a:avLst/>
              <a:gdLst/>
              <a:ahLst/>
              <a:cxnLst/>
              <a:rect l="0" t="0" r="r" b="b"/>
              <a:pathLst>
                <a:path w="20229" h="20422">
                  <a:moveTo>
                    <a:pt x="19920" y="18206"/>
                  </a:moveTo>
                  <a:cubicBezTo>
                    <a:pt x="20858" y="15812"/>
                    <a:pt x="19552" y="11735"/>
                    <a:pt x="17476" y="9198"/>
                  </a:cubicBezTo>
                  <a:cubicBezTo>
                    <a:pt x="15098" y="7006"/>
                    <a:pt x="11044" y="3546"/>
                    <a:pt x="8164" y="1785"/>
                  </a:cubicBezTo>
                  <a:cubicBezTo>
                    <a:pt x="5219" y="128"/>
                    <a:pt x="1803" y="-425"/>
                    <a:pt x="564" y="334"/>
                  </a:cubicBezTo>
                  <a:cubicBezTo>
                    <a:pt x="-742" y="1009"/>
                    <a:pt x="263" y="5043"/>
                    <a:pt x="3143" y="8561"/>
                  </a:cubicBezTo>
                  <a:cubicBezTo>
                    <a:pt x="5688" y="12431"/>
                    <a:pt x="10412" y="16919"/>
                    <a:pt x="13223" y="19044"/>
                  </a:cubicBezTo>
                  <a:cubicBezTo>
                    <a:pt x="16002" y="21175"/>
                    <a:pt x="19385" y="20785"/>
                    <a:pt x="19920" y="18206"/>
                  </a:cubicBezTo>
                  <a:close/>
                  <a:moveTo>
                    <a:pt x="19920" y="182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 name="AutoShape 71"/>
            <p:cNvSpPr>
              <a:spLocks/>
            </p:cNvSpPr>
            <p:nvPr/>
          </p:nvSpPr>
          <p:spPr bwMode="auto">
            <a:xfrm>
              <a:off x="9169400" y="1739900"/>
              <a:ext cx="11113" cy="9525"/>
            </a:xfrm>
            <a:custGeom>
              <a:avLst/>
              <a:gdLst/>
              <a:ahLst/>
              <a:cxnLst/>
              <a:rect l="0" t="0" r="r" b="b"/>
              <a:pathLst>
                <a:path w="20829" h="21251">
                  <a:moveTo>
                    <a:pt x="11769" y="5443"/>
                  </a:moveTo>
                  <a:cubicBezTo>
                    <a:pt x="9859" y="3857"/>
                    <a:pt x="6498" y="1648"/>
                    <a:pt x="4237" y="855"/>
                  </a:cubicBezTo>
                  <a:cubicBezTo>
                    <a:pt x="1995" y="-159"/>
                    <a:pt x="45" y="-263"/>
                    <a:pt x="45" y="503"/>
                  </a:cubicBezTo>
                  <a:cubicBezTo>
                    <a:pt x="-286" y="1153"/>
                    <a:pt x="1269" y="3130"/>
                    <a:pt x="2826" y="4586"/>
                  </a:cubicBezTo>
                  <a:cubicBezTo>
                    <a:pt x="4424" y="5989"/>
                    <a:pt x="6520" y="9018"/>
                    <a:pt x="7909" y="10836"/>
                  </a:cubicBezTo>
                  <a:cubicBezTo>
                    <a:pt x="9113" y="12838"/>
                    <a:pt x="11935" y="16035"/>
                    <a:pt x="14176" y="17882"/>
                  </a:cubicBezTo>
                  <a:cubicBezTo>
                    <a:pt x="16229" y="20129"/>
                    <a:pt x="19094" y="21337"/>
                    <a:pt x="20213" y="21246"/>
                  </a:cubicBezTo>
                  <a:cubicBezTo>
                    <a:pt x="21314" y="21129"/>
                    <a:pt x="20835" y="19452"/>
                    <a:pt x="19591" y="17089"/>
                  </a:cubicBezTo>
                  <a:cubicBezTo>
                    <a:pt x="18077" y="14997"/>
                    <a:pt x="16459" y="12085"/>
                    <a:pt x="16127" y="10732"/>
                  </a:cubicBezTo>
                  <a:cubicBezTo>
                    <a:pt x="15753" y="9343"/>
                    <a:pt x="13699" y="6964"/>
                    <a:pt x="11769" y="5443"/>
                  </a:cubicBezTo>
                  <a:close/>
                  <a:moveTo>
                    <a:pt x="11769" y="54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 name="AutoShape 72"/>
            <p:cNvSpPr>
              <a:spLocks/>
            </p:cNvSpPr>
            <p:nvPr/>
          </p:nvSpPr>
          <p:spPr bwMode="auto">
            <a:xfrm>
              <a:off x="9258300" y="1803400"/>
              <a:ext cx="7938" cy="4763"/>
            </a:xfrm>
            <a:custGeom>
              <a:avLst/>
              <a:gdLst/>
              <a:ahLst/>
              <a:cxnLst/>
              <a:rect l="0" t="0" r="r" b="b"/>
              <a:pathLst>
                <a:path w="20660" h="20457">
                  <a:moveTo>
                    <a:pt x="13598" y="5430"/>
                  </a:moveTo>
                  <a:cubicBezTo>
                    <a:pt x="10380" y="2087"/>
                    <a:pt x="6911" y="437"/>
                    <a:pt x="6113" y="437"/>
                  </a:cubicBezTo>
                  <a:cubicBezTo>
                    <a:pt x="5484" y="1197"/>
                    <a:pt x="3198" y="957"/>
                    <a:pt x="1437" y="112"/>
                  </a:cubicBezTo>
                  <a:cubicBezTo>
                    <a:pt x="-407" y="-452"/>
                    <a:pt x="-462" y="1153"/>
                    <a:pt x="1187" y="3758"/>
                  </a:cubicBezTo>
                  <a:cubicBezTo>
                    <a:pt x="3031" y="6084"/>
                    <a:pt x="7216" y="11486"/>
                    <a:pt x="10791" y="15159"/>
                  </a:cubicBezTo>
                  <a:cubicBezTo>
                    <a:pt x="14424" y="18698"/>
                    <a:pt x="18113" y="21148"/>
                    <a:pt x="19186" y="20281"/>
                  </a:cubicBezTo>
                  <a:cubicBezTo>
                    <a:pt x="20175" y="19130"/>
                    <a:pt x="21138" y="16742"/>
                    <a:pt x="20397" y="14874"/>
                  </a:cubicBezTo>
                  <a:cubicBezTo>
                    <a:pt x="20397" y="12660"/>
                    <a:pt x="17038" y="8298"/>
                    <a:pt x="13598" y="5430"/>
                  </a:cubicBezTo>
                  <a:close/>
                  <a:moveTo>
                    <a:pt x="13598" y="54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 name="AutoShape 73"/>
            <p:cNvSpPr>
              <a:spLocks/>
            </p:cNvSpPr>
            <p:nvPr/>
          </p:nvSpPr>
          <p:spPr bwMode="auto">
            <a:xfrm>
              <a:off x="9182100" y="1816100"/>
              <a:ext cx="15875" cy="17463"/>
            </a:xfrm>
            <a:custGeom>
              <a:avLst/>
              <a:gdLst/>
              <a:ahLst/>
              <a:cxnLst/>
              <a:rect l="0" t="0" r="r" b="b"/>
              <a:pathLst>
                <a:path w="20931" h="21236">
                  <a:moveTo>
                    <a:pt x="15660" y="14417"/>
                  </a:moveTo>
                  <a:cubicBezTo>
                    <a:pt x="14304" y="13263"/>
                    <a:pt x="12726" y="11542"/>
                    <a:pt x="12269" y="10565"/>
                  </a:cubicBezTo>
                  <a:cubicBezTo>
                    <a:pt x="11796" y="9601"/>
                    <a:pt x="11780" y="8507"/>
                    <a:pt x="12395" y="8359"/>
                  </a:cubicBezTo>
                  <a:cubicBezTo>
                    <a:pt x="13027" y="8219"/>
                    <a:pt x="12507" y="6969"/>
                    <a:pt x="11435" y="5756"/>
                  </a:cubicBezTo>
                  <a:cubicBezTo>
                    <a:pt x="10331" y="4573"/>
                    <a:pt x="7997" y="2713"/>
                    <a:pt x="6153" y="1801"/>
                  </a:cubicBezTo>
                  <a:cubicBezTo>
                    <a:pt x="4402" y="729"/>
                    <a:pt x="2006" y="0"/>
                    <a:pt x="949" y="0"/>
                  </a:cubicBezTo>
                  <a:cubicBezTo>
                    <a:pt x="-123" y="51"/>
                    <a:pt x="-280" y="1808"/>
                    <a:pt x="445" y="4037"/>
                  </a:cubicBezTo>
                  <a:cubicBezTo>
                    <a:pt x="1328" y="6197"/>
                    <a:pt x="2764" y="9145"/>
                    <a:pt x="4055" y="10344"/>
                  </a:cubicBezTo>
                  <a:cubicBezTo>
                    <a:pt x="5190" y="11667"/>
                    <a:pt x="7555" y="13189"/>
                    <a:pt x="9117" y="13975"/>
                  </a:cubicBezTo>
                  <a:cubicBezTo>
                    <a:pt x="10678" y="14763"/>
                    <a:pt x="13248" y="16329"/>
                    <a:pt x="14681" y="17667"/>
                  </a:cubicBezTo>
                  <a:cubicBezTo>
                    <a:pt x="16180" y="18946"/>
                    <a:pt x="18419" y="20534"/>
                    <a:pt x="19790" y="21062"/>
                  </a:cubicBezTo>
                  <a:cubicBezTo>
                    <a:pt x="21146" y="21600"/>
                    <a:pt x="21320" y="20858"/>
                    <a:pt x="20169" y="19305"/>
                  </a:cubicBezTo>
                  <a:cubicBezTo>
                    <a:pt x="19064" y="17762"/>
                    <a:pt x="17109" y="15490"/>
                    <a:pt x="15660" y="14417"/>
                  </a:cubicBezTo>
                  <a:close/>
                  <a:moveTo>
                    <a:pt x="15660" y="144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 name="AutoShape 74"/>
            <p:cNvSpPr>
              <a:spLocks/>
            </p:cNvSpPr>
            <p:nvPr/>
          </p:nvSpPr>
          <p:spPr bwMode="auto">
            <a:xfrm>
              <a:off x="9131300" y="1676400"/>
              <a:ext cx="12700" cy="9525"/>
            </a:xfrm>
            <a:custGeom>
              <a:avLst/>
              <a:gdLst/>
              <a:ahLst/>
              <a:cxnLst/>
              <a:rect l="0" t="0" r="r" b="b"/>
              <a:pathLst>
                <a:path w="21084" h="20804">
                  <a:moveTo>
                    <a:pt x="16225" y="14999"/>
                  </a:moveTo>
                  <a:cubicBezTo>
                    <a:pt x="13401" y="12288"/>
                    <a:pt x="9852" y="8956"/>
                    <a:pt x="8507" y="7229"/>
                  </a:cubicBezTo>
                  <a:cubicBezTo>
                    <a:pt x="7312" y="5315"/>
                    <a:pt x="4961" y="3102"/>
                    <a:pt x="3653" y="1765"/>
                  </a:cubicBezTo>
                  <a:cubicBezTo>
                    <a:pt x="2153" y="715"/>
                    <a:pt x="560" y="-407"/>
                    <a:pt x="182" y="146"/>
                  </a:cubicBezTo>
                  <a:cubicBezTo>
                    <a:pt x="-274" y="552"/>
                    <a:pt x="182" y="1886"/>
                    <a:pt x="922" y="3627"/>
                  </a:cubicBezTo>
                  <a:cubicBezTo>
                    <a:pt x="1984" y="5044"/>
                    <a:pt x="4942" y="8700"/>
                    <a:pt x="7786" y="11437"/>
                  </a:cubicBezTo>
                  <a:cubicBezTo>
                    <a:pt x="10668" y="14231"/>
                    <a:pt x="14727" y="17577"/>
                    <a:pt x="16775" y="19032"/>
                  </a:cubicBezTo>
                  <a:cubicBezTo>
                    <a:pt x="18899" y="20328"/>
                    <a:pt x="20757" y="21193"/>
                    <a:pt x="21061" y="20627"/>
                  </a:cubicBezTo>
                  <a:cubicBezTo>
                    <a:pt x="21326" y="19978"/>
                    <a:pt x="19278" y="17184"/>
                    <a:pt x="16225" y="14999"/>
                  </a:cubicBezTo>
                  <a:close/>
                  <a:moveTo>
                    <a:pt x="16225" y="149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 name="AutoShape 75"/>
            <p:cNvSpPr>
              <a:spLocks/>
            </p:cNvSpPr>
            <p:nvPr/>
          </p:nvSpPr>
          <p:spPr bwMode="auto">
            <a:xfrm>
              <a:off x="9169400" y="1701800"/>
              <a:ext cx="17463" cy="20638"/>
            </a:xfrm>
            <a:custGeom>
              <a:avLst/>
              <a:gdLst/>
              <a:ahLst/>
              <a:cxnLst/>
              <a:rect l="0" t="0" r="r" b="b"/>
              <a:pathLst>
                <a:path w="21049" h="21216">
                  <a:moveTo>
                    <a:pt x="7776" y="11895"/>
                  </a:moveTo>
                  <a:cubicBezTo>
                    <a:pt x="8826" y="12668"/>
                    <a:pt x="10250" y="13045"/>
                    <a:pt x="10693" y="12850"/>
                  </a:cubicBezTo>
                  <a:cubicBezTo>
                    <a:pt x="11148" y="12706"/>
                    <a:pt x="12267" y="12951"/>
                    <a:pt x="12972" y="13598"/>
                  </a:cubicBezTo>
                  <a:cubicBezTo>
                    <a:pt x="13774" y="14152"/>
                    <a:pt x="15058" y="15672"/>
                    <a:pt x="16082" y="16779"/>
                  </a:cubicBezTo>
                  <a:cubicBezTo>
                    <a:pt x="16856" y="18023"/>
                    <a:pt x="18554" y="19771"/>
                    <a:pt x="19758" y="20589"/>
                  </a:cubicBezTo>
                  <a:cubicBezTo>
                    <a:pt x="20892" y="21494"/>
                    <a:pt x="21416" y="21400"/>
                    <a:pt x="20766" y="20425"/>
                  </a:cubicBezTo>
                  <a:cubicBezTo>
                    <a:pt x="20144" y="19438"/>
                    <a:pt x="18804" y="17370"/>
                    <a:pt x="17408" y="16056"/>
                  </a:cubicBezTo>
                  <a:cubicBezTo>
                    <a:pt x="16275" y="14560"/>
                    <a:pt x="15681" y="13448"/>
                    <a:pt x="16371" y="13448"/>
                  </a:cubicBezTo>
                  <a:cubicBezTo>
                    <a:pt x="17062" y="13398"/>
                    <a:pt x="17312" y="12881"/>
                    <a:pt x="16925" y="12290"/>
                  </a:cubicBezTo>
                  <a:cubicBezTo>
                    <a:pt x="16690" y="11631"/>
                    <a:pt x="15017" y="10197"/>
                    <a:pt x="13428" y="9111"/>
                  </a:cubicBezTo>
                  <a:cubicBezTo>
                    <a:pt x="12033" y="7840"/>
                    <a:pt x="10250" y="6477"/>
                    <a:pt x="9849" y="5790"/>
                  </a:cubicBezTo>
                  <a:cubicBezTo>
                    <a:pt x="9434" y="5118"/>
                    <a:pt x="8231" y="3767"/>
                    <a:pt x="7306" y="2711"/>
                  </a:cubicBezTo>
                  <a:cubicBezTo>
                    <a:pt x="6256" y="1717"/>
                    <a:pt x="4915" y="744"/>
                    <a:pt x="4183" y="831"/>
                  </a:cubicBezTo>
                  <a:cubicBezTo>
                    <a:pt x="3437" y="744"/>
                    <a:pt x="2290" y="511"/>
                    <a:pt x="1599" y="303"/>
                  </a:cubicBezTo>
                  <a:cubicBezTo>
                    <a:pt x="1004" y="-106"/>
                    <a:pt x="189" y="-56"/>
                    <a:pt x="22" y="184"/>
                  </a:cubicBezTo>
                  <a:cubicBezTo>
                    <a:pt x="-184" y="410"/>
                    <a:pt x="1087" y="1592"/>
                    <a:pt x="2676" y="2949"/>
                  </a:cubicBezTo>
                  <a:cubicBezTo>
                    <a:pt x="4432" y="4137"/>
                    <a:pt x="5841" y="5910"/>
                    <a:pt x="6256" y="6558"/>
                  </a:cubicBezTo>
                  <a:cubicBezTo>
                    <a:pt x="6671" y="7212"/>
                    <a:pt x="6076" y="7475"/>
                    <a:pt x="5329" y="6910"/>
                  </a:cubicBezTo>
                  <a:cubicBezTo>
                    <a:pt x="4528" y="6401"/>
                    <a:pt x="3035" y="5395"/>
                    <a:pt x="2095" y="4603"/>
                  </a:cubicBezTo>
                  <a:cubicBezTo>
                    <a:pt x="1100" y="3924"/>
                    <a:pt x="1612" y="4885"/>
                    <a:pt x="3022" y="6941"/>
                  </a:cubicBezTo>
                  <a:cubicBezTo>
                    <a:pt x="4611" y="8915"/>
                    <a:pt x="6615" y="11235"/>
                    <a:pt x="7776" y="11895"/>
                  </a:cubicBezTo>
                  <a:close/>
                  <a:moveTo>
                    <a:pt x="7776" y="118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 name="AutoShape 76"/>
            <p:cNvSpPr>
              <a:spLocks/>
            </p:cNvSpPr>
            <p:nvPr/>
          </p:nvSpPr>
          <p:spPr bwMode="auto">
            <a:xfrm>
              <a:off x="9144000" y="1676400"/>
              <a:ext cx="14288" cy="7938"/>
            </a:xfrm>
            <a:custGeom>
              <a:avLst/>
              <a:gdLst/>
              <a:ahLst/>
              <a:cxnLst/>
              <a:rect l="0" t="0" r="r" b="b"/>
              <a:pathLst>
                <a:path w="21600" h="20896">
                  <a:moveTo>
                    <a:pt x="15670" y="13577"/>
                  </a:moveTo>
                  <a:cubicBezTo>
                    <a:pt x="12507" y="10661"/>
                    <a:pt x="8517" y="6743"/>
                    <a:pt x="6828" y="4669"/>
                  </a:cubicBezTo>
                  <a:cubicBezTo>
                    <a:pt x="5067" y="2842"/>
                    <a:pt x="2966" y="562"/>
                    <a:pt x="1906" y="119"/>
                  </a:cubicBezTo>
                  <a:cubicBezTo>
                    <a:pt x="916" y="-382"/>
                    <a:pt x="0" y="752"/>
                    <a:pt x="0" y="2579"/>
                  </a:cubicBezTo>
                  <a:cubicBezTo>
                    <a:pt x="0" y="4434"/>
                    <a:pt x="900" y="6819"/>
                    <a:pt x="1923" y="8203"/>
                  </a:cubicBezTo>
                  <a:cubicBezTo>
                    <a:pt x="2966" y="9497"/>
                    <a:pt x="5643" y="11237"/>
                    <a:pt x="7638" y="12754"/>
                  </a:cubicBezTo>
                  <a:cubicBezTo>
                    <a:pt x="9686" y="14107"/>
                    <a:pt x="12633" y="16049"/>
                    <a:pt x="14106" y="17376"/>
                  </a:cubicBezTo>
                  <a:cubicBezTo>
                    <a:pt x="15579" y="18685"/>
                    <a:pt x="17933" y="20186"/>
                    <a:pt x="19317" y="20555"/>
                  </a:cubicBezTo>
                  <a:cubicBezTo>
                    <a:pt x="20648" y="21218"/>
                    <a:pt x="21600" y="20835"/>
                    <a:pt x="21600" y="20084"/>
                  </a:cubicBezTo>
                  <a:cubicBezTo>
                    <a:pt x="21600" y="19394"/>
                    <a:pt x="18923" y="16140"/>
                    <a:pt x="15670" y="13577"/>
                  </a:cubicBezTo>
                  <a:close/>
                  <a:moveTo>
                    <a:pt x="15670" y="135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 name="AutoShape 77"/>
            <p:cNvSpPr>
              <a:spLocks/>
            </p:cNvSpPr>
            <p:nvPr/>
          </p:nvSpPr>
          <p:spPr bwMode="auto">
            <a:xfrm>
              <a:off x="9080500" y="1778000"/>
              <a:ext cx="39688" cy="28575"/>
            </a:xfrm>
            <a:custGeom>
              <a:avLst/>
              <a:gdLst/>
              <a:ahLst/>
              <a:cxnLst/>
              <a:rect l="0" t="0" r="r" b="b"/>
              <a:pathLst>
                <a:path w="21401" h="21470">
                  <a:moveTo>
                    <a:pt x="16395" y="11526"/>
                  </a:moveTo>
                  <a:cubicBezTo>
                    <a:pt x="15124" y="10397"/>
                    <a:pt x="13744" y="8859"/>
                    <a:pt x="13412" y="8075"/>
                  </a:cubicBezTo>
                  <a:cubicBezTo>
                    <a:pt x="13040" y="7318"/>
                    <a:pt x="11835" y="5727"/>
                    <a:pt x="10864" y="4381"/>
                  </a:cubicBezTo>
                  <a:cubicBezTo>
                    <a:pt x="9836" y="3136"/>
                    <a:pt x="8539" y="1635"/>
                    <a:pt x="8011" y="1054"/>
                  </a:cubicBezTo>
                  <a:cubicBezTo>
                    <a:pt x="7418" y="584"/>
                    <a:pt x="6591" y="71"/>
                    <a:pt x="6129" y="9"/>
                  </a:cubicBezTo>
                  <a:cubicBezTo>
                    <a:pt x="5653" y="-58"/>
                    <a:pt x="4930" y="261"/>
                    <a:pt x="4487" y="562"/>
                  </a:cubicBezTo>
                  <a:cubicBezTo>
                    <a:pt x="4064" y="913"/>
                    <a:pt x="3211" y="957"/>
                    <a:pt x="2585" y="678"/>
                  </a:cubicBezTo>
                  <a:cubicBezTo>
                    <a:pt x="1993" y="341"/>
                    <a:pt x="1068" y="474"/>
                    <a:pt x="533" y="713"/>
                  </a:cubicBezTo>
                  <a:cubicBezTo>
                    <a:pt x="12" y="983"/>
                    <a:pt x="-118" y="1781"/>
                    <a:pt x="103" y="2499"/>
                  </a:cubicBezTo>
                  <a:cubicBezTo>
                    <a:pt x="312" y="3207"/>
                    <a:pt x="1269" y="4598"/>
                    <a:pt x="2071" y="5683"/>
                  </a:cubicBezTo>
                  <a:cubicBezTo>
                    <a:pt x="2885" y="6755"/>
                    <a:pt x="3875" y="8355"/>
                    <a:pt x="4279" y="9240"/>
                  </a:cubicBezTo>
                  <a:cubicBezTo>
                    <a:pt x="4579" y="10184"/>
                    <a:pt x="5230" y="11778"/>
                    <a:pt x="5595" y="12903"/>
                  </a:cubicBezTo>
                  <a:cubicBezTo>
                    <a:pt x="5888" y="14056"/>
                    <a:pt x="6943" y="15778"/>
                    <a:pt x="7835" y="16825"/>
                  </a:cubicBezTo>
                  <a:cubicBezTo>
                    <a:pt x="8741" y="17839"/>
                    <a:pt x="9764" y="18813"/>
                    <a:pt x="10076" y="19062"/>
                  </a:cubicBezTo>
                  <a:cubicBezTo>
                    <a:pt x="10421" y="19239"/>
                    <a:pt x="10369" y="18964"/>
                    <a:pt x="10004" y="18375"/>
                  </a:cubicBezTo>
                  <a:cubicBezTo>
                    <a:pt x="9627" y="17790"/>
                    <a:pt x="9301" y="16851"/>
                    <a:pt x="9118" y="16425"/>
                  </a:cubicBezTo>
                  <a:cubicBezTo>
                    <a:pt x="9118" y="15925"/>
                    <a:pt x="9236" y="15770"/>
                    <a:pt x="9679" y="15921"/>
                  </a:cubicBezTo>
                  <a:cubicBezTo>
                    <a:pt x="10122" y="16142"/>
                    <a:pt x="10936" y="17130"/>
                    <a:pt x="11607" y="18065"/>
                  </a:cubicBezTo>
                  <a:cubicBezTo>
                    <a:pt x="12187" y="19062"/>
                    <a:pt x="13001" y="19801"/>
                    <a:pt x="13346" y="19881"/>
                  </a:cubicBezTo>
                  <a:cubicBezTo>
                    <a:pt x="13704" y="19912"/>
                    <a:pt x="14310" y="20182"/>
                    <a:pt x="14669" y="20545"/>
                  </a:cubicBezTo>
                  <a:cubicBezTo>
                    <a:pt x="15007" y="20935"/>
                    <a:pt x="15783" y="21281"/>
                    <a:pt x="16297" y="21453"/>
                  </a:cubicBezTo>
                  <a:cubicBezTo>
                    <a:pt x="16825" y="21542"/>
                    <a:pt x="17202" y="21276"/>
                    <a:pt x="17294" y="20731"/>
                  </a:cubicBezTo>
                  <a:cubicBezTo>
                    <a:pt x="17294" y="20187"/>
                    <a:pt x="17724" y="19443"/>
                    <a:pt x="18205" y="19185"/>
                  </a:cubicBezTo>
                  <a:cubicBezTo>
                    <a:pt x="18669" y="18836"/>
                    <a:pt x="19613" y="18742"/>
                    <a:pt x="20284" y="18871"/>
                  </a:cubicBezTo>
                  <a:cubicBezTo>
                    <a:pt x="20948" y="19034"/>
                    <a:pt x="21482" y="18769"/>
                    <a:pt x="21391" y="18392"/>
                  </a:cubicBezTo>
                  <a:cubicBezTo>
                    <a:pt x="21391" y="18007"/>
                    <a:pt x="20720" y="16758"/>
                    <a:pt x="19984" y="15660"/>
                  </a:cubicBezTo>
                  <a:cubicBezTo>
                    <a:pt x="19268" y="14538"/>
                    <a:pt x="17600" y="12762"/>
                    <a:pt x="16395" y="11526"/>
                  </a:cubicBezTo>
                  <a:close/>
                  <a:moveTo>
                    <a:pt x="16395" y="115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 name="AutoShape 78"/>
            <p:cNvSpPr>
              <a:spLocks/>
            </p:cNvSpPr>
            <p:nvPr/>
          </p:nvSpPr>
          <p:spPr bwMode="auto">
            <a:xfrm>
              <a:off x="9156700" y="1625600"/>
              <a:ext cx="11113" cy="9525"/>
            </a:xfrm>
            <a:custGeom>
              <a:avLst/>
              <a:gdLst/>
              <a:ahLst/>
              <a:cxnLst/>
              <a:rect l="0" t="0" r="r" b="b"/>
              <a:pathLst>
                <a:path w="21035" h="21073">
                  <a:moveTo>
                    <a:pt x="21001" y="20231"/>
                  </a:moveTo>
                  <a:cubicBezTo>
                    <a:pt x="21001" y="19487"/>
                    <a:pt x="19457" y="16972"/>
                    <a:pt x="17869" y="14432"/>
                  </a:cubicBezTo>
                  <a:cubicBezTo>
                    <a:pt x="16062" y="12097"/>
                    <a:pt x="12975" y="8249"/>
                    <a:pt x="10604" y="6370"/>
                  </a:cubicBezTo>
                  <a:cubicBezTo>
                    <a:pt x="8362" y="4272"/>
                    <a:pt x="5186" y="2093"/>
                    <a:pt x="3752" y="1146"/>
                  </a:cubicBezTo>
                  <a:cubicBezTo>
                    <a:pt x="2251" y="390"/>
                    <a:pt x="685" y="-243"/>
                    <a:pt x="183" y="91"/>
                  </a:cubicBezTo>
                  <a:cubicBezTo>
                    <a:pt x="-316" y="307"/>
                    <a:pt x="228" y="2127"/>
                    <a:pt x="1575" y="3698"/>
                  </a:cubicBezTo>
                  <a:cubicBezTo>
                    <a:pt x="2771" y="5351"/>
                    <a:pt x="4513" y="8119"/>
                    <a:pt x="5535" y="9712"/>
                  </a:cubicBezTo>
                  <a:cubicBezTo>
                    <a:pt x="6208" y="11498"/>
                    <a:pt x="8015" y="13881"/>
                    <a:pt x="9233" y="15043"/>
                  </a:cubicBezTo>
                  <a:cubicBezTo>
                    <a:pt x="9995" y="16565"/>
                    <a:pt x="12255" y="17836"/>
                    <a:pt x="13365" y="18758"/>
                  </a:cubicBezTo>
                  <a:cubicBezTo>
                    <a:pt x="14670" y="19333"/>
                    <a:pt x="16825" y="20363"/>
                    <a:pt x="18281" y="20854"/>
                  </a:cubicBezTo>
                  <a:cubicBezTo>
                    <a:pt x="19782" y="21357"/>
                    <a:pt x="21284" y="20925"/>
                    <a:pt x="21001" y="20231"/>
                  </a:cubicBezTo>
                  <a:close/>
                  <a:moveTo>
                    <a:pt x="21001" y="202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 name="AutoShape 79"/>
            <p:cNvSpPr>
              <a:spLocks/>
            </p:cNvSpPr>
            <p:nvPr/>
          </p:nvSpPr>
          <p:spPr bwMode="auto">
            <a:xfrm>
              <a:off x="9156700" y="1612900"/>
              <a:ext cx="4763" cy="3175"/>
            </a:xfrm>
            <a:custGeom>
              <a:avLst/>
              <a:gdLst/>
              <a:ahLst/>
              <a:cxnLst/>
              <a:rect l="0" t="0" r="r" b="b"/>
              <a:pathLst>
                <a:path w="20255" h="20590">
                  <a:moveTo>
                    <a:pt x="18875" y="20373"/>
                  </a:moveTo>
                  <a:cubicBezTo>
                    <a:pt x="20730" y="21106"/>
                    <a:pt x="20639" y="19980"/>
                    <a:pt x="19054" y="17046"/>
                  </a:cubicBezTo>
                  <a:cubicBezTo>
                    <a:pt x="17285" y="14314"/>
                    <a:pt x="12780" y="9405"/>
                    <a:pt x="9203" y="6136"/>
                  </a:cubicBezTo>
                  <a:cubicBezTo>
                    <a:pt x="5449" y="3029"/>
                    <a:pt x="1474" y="43"/>
                    <a:pt x="240" y="43"/>
                  </a:cubicBezTo>
                  <a:cubicBezTo>
                    <a:pt x="-870" y="-494"/>
                    <a:pt x="1957" y="4074"/>
                    <a:pt x="6859" y="9209"/>
                  </a:cubicBezTo>
                  <a:cubicBezTo>
                    <a:pt x="11455" y="14678"/>
                    <a:pt x="17153" y="19247"/>
                    <a:pt x="18875" y="20373"/>
                  </a:cubicBezTo>
                  <a:close/>
                  <a:moveTo>
                    <a:pt x="18875" y="203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 name="AutoShape 80"/>
            <p:cNvSpPr>
              <a:spLocks/>
            </p:cNvSpPr>
            <p:nvPr/>
          </p:nvSpPr>
          <p:spPr bwMode="auto">
            <a:xfrm>
              <a:off x="9359900" y="2171700"/>
              <a:ext cx="19050" cy="14288"/>
            </a:xfrm>
            <a:custGeom>
              <a:avLst/>
              <a:gdLst/>
              <a:ahLst/>
              <a:cxnLst/>
              <a:rect l="0" t="0" r="r" b="b"/>
              <a:pathLst>
                <a:path w="21130" h="21061">
                  <a:moveTo>
                    <a:pt x="14723" y="8166"/>
                  </a:moveTo>
                  <a:cubicBezTo>
                    <a:pt x="13270" y="7072"/>
                    <a:pt x="11226" y="6024"/>
                    <a:pt x="10115" y="5779"/>
                  </a:cubicBezTo>
                  <a:cubicBezTo>
                    <a:pt x="8991" y="5663"/>
                    <a:pt x="7057" y="4415"/>
                    <a:pt x="5727" y="3374"/>
                  </a:cubicBezTo>
                  <a:cubicBezTo>
                    <a:pt x="4438" y="2191"/>
                    <a:pt x="2490" y="789"/>
                    <a:pt x="1379" y="272"/>
                  </a:cubicBezTo>
                  <a:cubicBezTo>
                    <a:pt x="322" y="-350"/>
                    <a:pt x="-281" y="155"/>
                    <a:pt x="130" y="1178"/>
                  </a:cubicBezTo>
                  <a:cubicBezTo>
                    <a:pt x="542" y="2254"/>
                    <a:pt x="1900" y="3816"/>
                    <a:pt x="3080" y="4911"/>
                  </a:cubicBezTo>
                  <a:cubicBezTo>
                    <a:pt x="4314" y="5851"/>
                    <a:pt x="5727" y="7840"/>
                    <a:pt x="6179" y="9260"/>
                  </a:cubicBezTo>
                  <a:cubicBezTo>
                    <a:pt x="6851" y="10581"/>
                    <a:pt x="9004" y="13771"/>
                    <a:pt x="11158" y="16321"/>
                  </a:cubicBezTo>
                  <a:cubicBezTo>
                    <a:pt x="13379" y="18782"/>
                    <a:pt x="16384" y="21006"/>
                    <a:pt x="17836" y="21006"/>
                  </a:cubicBezTo>
                  <a:cubicBezTo>
                    <a:pt x="19276" y="21250"/>
                    <a:pt x="20703" y="20643"/>
                    <a:pt x="21059" y="20037"/>
                  </a:cubicBezTo>
                  <a:cubicBezTo>
                    <a:pt x="21319" y="19332"/>
                    <a:pt x="20881" y="16737"/>
                    <a:pt x="19482" y="14549"/>
                  </a:cubicBezTo>
                  <a:cubicBezTo>
                    <a:pt x="18398" y="12064"/>
                    <a:pt x="16136" y="9296"/>
                    <a:pt x="14723" y="8166"/>
                  </a:cubicBezTo>
                  <a:close/>
                  <a:moveTo>
                    <a:pt x="14723" y="816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 name="AutoShape 81"/>
            <p:cNvSpPr>
              <a:spLocks/>
            </p:cNvSpPr>
            <p:nvPr/>
          </p:nvSpPr>
          <p:spPr bwMode="auto">
            <a:xfrm>
              <a:off x="10426700" y="3175000"/>
              <a:ext cx="0" cy="0"/>
            </a:xfrm>
            <a:custGeom>
              <a:avLst/>
              <a:gdLst/>
              <a:ahLst/>
              <a:cxnLst/>
              <a:rect l="0" t="0" r="r" b="b"/>
              <a:pathLst>
                <a:path w="16585" h="19022">
                  <a:moveTo>
                    <a:pt x="16585" y="19022"/>
                  </a:moveTo>
                  <a:cubicBezTo>
                    <a:pt x="12265" y="12283"/>
                    <a:pt x="7675" y="6466"/>
                    <a:pt x="3355" y="898"/>
                  </a:cubicBezTo>
                  <a:cubicBezTo>
                    <a:pt x="-5015" y="-2578"/>
                    <a:pt x="3355" y="4161"/>
                    <a:pt x="16585" y="19022"/>
                  </a:cubicBezTo>
                  <a:close/>
                  <a:moveTo>
                    <a:pt x="16585" y="190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 name="AutoShape 82"/>
            <p:cNvSpPr>
              <a:spLocks/>
            </p:cNvSpPr>
            <p:nvPr/>
          </p:nvSpPr>
          <p:spPr bwMode="auto">
            <a:xfrm>
              <a:off x="10426700" y="3162300"/>
              <a:ext cx="6350" cy="20638"/>
            </a:xfrm>
            <a:custGeom>
              <a:avLst/>
              <a:gdLst/>
              <a:ahLst/>
              <a:cxnLst/>
              <a:rect l="0" t="0" r="r" b="b"/>
              <a:pathLst>
                <a:path w="21564" h="21368">
                  <a:moveTo>
                    <a:pt x="2479" y="2689"/>
                  </a:moveTo>
                  <a:cubicBezTo>
                    <a:pt x="3500" y="3723"/>
                    <a:pt x="4590" y="4913"/>
                    <a:pt x="5032" y="5321"/>
                  </a:cubicBezTo>
                  <a:cubicBezTo>
                    <a:pt x="5032" y="5771"/>
                    <a:pt x="6425" y="6875"/>
                    <a:pt x="7481" y="7821"/>
                  </a:cubicBezTo>
                  <a:cubicBezTo>
                    <a:pt x="8060" y="8810"/>
                    <a:pt x="11051" y="11248"/>
                    <a:pt x="13062" y="13353"/>
                  </a:cubicBezTo>
                  <a:cubicBezTo>
                    <a:pt x="13670" y="14011"/>
                    <a:pt x="14248" y="14600"/>
                    <a:pt x="14795" y="15133"/>
                  </a:cubicBezTo>
                  <a:cubicBezTo>
                    <a:pt x="14625" y="14900"/>
                    <a:pt x="14455" y="14676"/>
                    <a:pt x="14455" y="14550"/>
                  </a:cubicBezTo>
                  <a:cubicBezTo>
                    <a:pt x="14083" y="14293"/>
                    <a:pt x="14285" y="14363"/>
                    <a:pt x="14691" y="14732"/>
                  </a:cubicBezTo>
                  <a:cubicBezTo>
                    <a:pt x="15305" y="15070"/>
                    <a:pt x="16260" y="16417"/>
                    <a:pt x="17616" y="17595"/>
                  </a:cubicBezTo>
                  <a:cubicBezTo>
                    <a:pt x="18639" y="18817"/>
                    <a:pt x="20201" y="20358"/>
                    <a:pt x="21086" y="21016"/>
                  </a:cubicBezTo>
                  <a:cubicBezTo>
                    <a:pt x="21394" y="21199"/>
                    <a:pt x="21428" y="21261"/>
                    <a:pt x="21564" y="21368"/>
                  </a:cubicBezTo>
                  <a:cubicBezTo>
                    <a:pt x="21156" y="20897"/>
                    <a:pt x="20578" y="20032"/>
                    <a:pt x="19759" y="19488"/>
                  </a:cubicBezTo>
                  <a:cubicBezTo>
                    <a:pt x="19759" y="18843"/>
                    <a:pt x="18094" y="17658"/>
                    <a:pt x="17108" y="16830"/>
                  </a:cubicBezTo>
                  <a:cubicBezTo>
                    <a:pt x="16562" y="15941"/>
                    <a:pt x="15133" y="14606"/>
                    <a:pt x="14149" y="13867"/>
                  </a:cubicBezTo>
                  <a:cubicBezTo>
                    <a:pt x="14149" y="13046"/>
                    <a:pt x="12006" y="12131"/>
                    <a:pt x="12006" y="11687"/>
                  </a:cubicBezTo>
                  <a:cubicBezTo>
                    <a:pt x="11155" y="11373"/>
                    <a:pt x="10815" y="10514"/>
                    <a:pt x="10305" y="9976"/>
                  </a:cubicBezTo>
                  <a:cubicBezTo>
                    <a:pt x="9758" y="9468"/>
                    <a:pt x="8672" y="8766"/>
                    <a:pt x="8672" y="8384"/>
                  </a:cubicBezTo>
                  <a:cubicBezTo>
                    <a:pt x="8536" y="8266"/>
                    <a:pt x="8502" y="8277"/>
                    <a:pt x="8432" y="8259"/>
                  </a:cubicBezTo>
                  <a:cubicBezTo>
                    <a:pt x="8466" y="8290"/>
                    <a:pt x="8502" y="8322"/>
                    <a:pt x="8536" y="8359"/>
                  </a:cubicBezTo>
                  <a:cubicBezTo>
                    <a:pt x="8604" y="8434"/>
                    <a:pt x="8638" y="8472"/>
                    <a:pt x="8842" y="8597"/>
                  </a:cubicBezTo>
                  <a:cubicBezTo>
                    <a:pt x="8842" y="8798"/>
                    <a:pt x="9114" y="8992"/>
                    <a:pt x="9316" y="9168"/>
                  </a:cubicBezTo>
                  <a:cubicBezTo>
                    <a:pt x="9352" y="9212"/>
                    <a:pt x="9452" y="9286"/>
                    <a:pt x="9486" y="9325"/>
                  </a:cubicBezTo>
                  <a:cubicBezTo>
                    <a:pt x="9965" y="9769"/>
                    <a:pt x="10473" y="9881"/>
                    <a:pt x="10031" y="9801"/>
                  </a:cubicBezTo>
                  <a:cubicBezTo>
                    <a:pt x="10031" y="9688"/>
                    <a:pt x="9658" y="9444"/>
                    <a:pt x="9316" y="9168"/>
                  </a:cubicBezTo>
                  <a:cubicBezTo>
                    <a:pt x="9044" y="8961"/>
                    <a:pt x="8808" y="8642"/>
                    <a:pt x="8536" y="8359"/>
                  </a:cubicBezTo>
                  <a:cubicBezTo>
                    <a:pt x="8432" y="8277"/>
                    <a:pt x="8366" y="8240"/>
                    <a:pt x="8432" y="8259"/>
                  </a:cubicBezTo>
                  <a:cubicBezTo>
                    <a:pt x="8160" y="7958"/>
                    <a:pt x="7822" y="7688"/>
                    <a:pt x="7618" y="7419"/>
                  </a:cubicBezTo>
                  <a:cubicBezTo>
                    <a:pt x="6597" y="6875"/>
                    <a:pt x="6425" y="5878"/>
                    <a:pt x="5645" y="5464"/>
                  </a:cubicBezTo>
                  <a:cubicBezTo>
                    <a:pt x="5645" y="4988"/>
                    <a:pt x="4930" y="4211"/>
                    <a:pt x="4112" y="3910"/>
                  </a:cubicBezTo>
                  <a:cubicBezTo>
                    <a:pt x="4112" y="3465"/>
                    <a:pt x="3332" y="2926"/>
                    <a:pt x="2855" y="2758"/>
                  </a:cubicBezTo>
                  <a:cubicBezTo>
                    <a:pt x="2855" y="2513"/>
                    <a:pt x="1359" y="1743"/>
                    <a:pt x="880" y="915"/>
                  </a:cubicBezTo>
                  <a:cubicBezTo>
                    <a:pt x="-36" y="150"/>
                    <a:pt x="0" y="-232"/>
                    <a:pt x="0" y="150"/>
                  </a:cubicBezTo>
                  <a:cubicBezTo>
                    <a:pt x="0" y="339"/>
                    <a:pt x="270" y="721"/>
                    <a:pt x="678" y="1166"/>
                  </a:cubicBezTo>
                  <a:cubicBezTo>
                    <a:pt x="744" y="1215"/>
                    <a:pt x="814" y="1260"/>
                    <a:pt x="848" y="1310"/>
                  </a:cubicBezTo>
                  <a:cubicBezTo>
                    <a:pt x="1257" y="1748"/>
                    <a:pt x="1835" y="2243"/>
                    <a:pt x="2479" y="2689"/>
                  </a:cubicBezTo>
                  <a:close/>
                  <a:moveTo>
                    <a:pt x="2479" y="26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 name="AutoShape 83"/>
            <p:cNvSpPr>
              <a:spLocks/>
            </p:cNvSpPr>
            <p:nvPr/>
          </p:nvSpPr>
          <p:spPr bwMode="auto">
            <a:xfrm>
              <a:off x="10426700" y="3162300"/>
              <a:ext cx="3175" cy="7938"/>
            </a:xfrm>
            <a:custGeom>
              <a:avLst/>
              <a:gdLst/>
              <a:ahLst/>
              <a:cxnLst/>
              <a:rect l="0" t="0" r="r" b="b"/>
              <a:pathLst>
                <a:path w="21600" h="21285">
                  <a:moveTo>
                    <a:pt x="3536" y="4139"/>
                  </a:moveTo>
                  <a:cubicBezTo>
                    <a:pt x="3685" y="4139"/>
                    <a:pt x="4300" y="6264"/>
                    <a:pt x="7533" y="8389"/>
                  </a:cubicBezTo>
                  <a:cubicBezTo>
                    <a:pt x="9839" y="10682"/>
                    <a:pt x="13990" y="14460"/>
                    <a:pt x="16296" y="16903"/>
                  </a:cubicBezTo>
                  <a:cubicBezTo>
                    <a:pt x="18525" y="19350"/>
                    <a:pt x="20985" y="21114"/>
                    <a:pt x="20831" y="21114"/>
                  </a:cubicBezTo>
                  <a:cubicBezTo>
                    <a:pt x="20831" y="21031"/>
                    <a:pt x="19443" y="20405"/>
                    <a:pt x="19443" y="19640"/>
                  </a:cubicBezTo>
                  <a:cubicBezTo>
                    <a:pt x="18833" y="19197"/>
                    <a:pt x="18372" y="18613"/>
                    <a:pt x="17910" y="18058"/>
                  </a:cubicBezTo>
                  <a:cubicBezTo>
                    <a:pt x="16752" y="17196"/>
                    <a:pt x="16138" y="16681"/>
                    <a:pt x="16911" y="17128"/>
                  </a:cubicBezTo>
                  <a:cubicBezTo>
                    <a:pt x="16911" y="17390"/>
                    <a:pt x="17526" y="17723"/>
                    <a:pt x="17910" y="18058"/>
                  </a:cubicBezTo>
                  <a:cubicBezTo>
                    <a:pt x="18295" y="18334"/>
                    <a:pt x="18444" y="18502"/>
                    <a:pt x="18986" y="18892"/>
                  </a:cubicBezTo>
                  <a:cubicBezTo>
                    <a:pt x="20135" y="20585"/>
                    <a:pt x="21600" y="21600"/>
                    <a:pt x="21600" y="21196"/>
                  </a:cubicBezTo>
                  <a:cubicBezTo>
                    <a:pt x="20601" y="21031"/>
                    <a:pt x="18986" y="18642"/>
                    <a:pt x="16604" y="16306"/>
                  </a:cubicBezTo>
                  <a:cubicBezTo>
                    <a:pt x="13298" y="14113"/>
                    <a:pt x="11458" y="11058"/>
                    <a:pt x="10070" y="9834"/>
                  </a:cubicBezTo>
                  <a:cubicBezTo>
                    <a:pt x="9455" y="9069"/>
                    <a:pt x="8220" y="7777"/>
                    <a:pt x="6841" y="6446"/>
                  </a:cubicBezTo>
                  <a:cubicBezTo>
                    <a:pt x="6764" y="6335"/>
                    <a:pt x="6606" y="6235"/>
                    <a:pt x="6457" y="6125"/>
                  </a:cubicBezTo>
                  <a:cubicBezTo>
                    <a:pt x="5683" y="5391"/>
                    <a:pt x="4924" y="4640"/>
                    <a:pt x="4151" y="4000"/>
                  </a:cubicBezTo>
                  <a:cubicBezTo>
                    <a:pt x="1994" y="2057"/>
                    <a:pt x="615" y="0"/>
                    <a:pt x="0" y="0"/>
                  </a:cubicBezTo>
                  <a:cubicBezTo>
                    <a:pt x="615" y="0"/>
                    <a:pt x="1537" y="555"/>
                    <a:pt x="1537" y="1835"/>
                  </a:cubicBezTo>
                  <a:cubicBezTo>
                    <a:pt x="3536" y="2876"/>
                    <a:pt x="3536" y="4085"/>
                    <a:pt x="3536" y="4139"/>
                  </a:cubicBezTo>
                  <a:close/>
                  <a:moveTo>
                    <a:pt x="3536" y="41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 name="AutoShape 84"/>
            <p:cNvSpPr>
              <a:spLocks/>
            </p:cNvSpPr>
            <p:nvPr/>
          </p:nvSpPr>
          <p:spPr bwMode="auto">
            <a:xfrm>
              <a:off x="10426700" y="3187700"/>
              <a:ext cx="0" cy="0"/>
            </a:xfrm>
            <a:custGeom>
              <a:avLst/>
              <a:gdLst/>
              <a:ahLst/>
              <a:cxnLst/>
              <a:rect l="0" t="0" r="r" b="b"/>
              <a:pathLst>
                <a:path w="21600" h="21600">
                  <a:moveTo>
                    <a:pt x="21600" y="21600"/>
                  </a:moveTo>
                  <a:cubicBezTo>
                    <a:pt x="13521" y="13902"/>
                    <a:pt x="6490" y="6717"/>
                    <a:pt x="0" y="0"/>
                  </a:cubicBezTo>
                  <a:cubicBezTo>
                    <a:pt x="1623" y="1803"/>
                    <a:pt x="3211" y="3318"/>
                    <a:pt x="4327" y="5202"/>
                  </a:cubicBezTo>
                  <a:cubicBezTo>
                    <a:pt x="9735" y="9010"/>
                    <a:pt x="15685" y="15602"/>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 name="AutoShape 85"/>
            <p:cNvSpPr>
              <a:spLocks/>
            </p:cNvSpPr>
            <p:nvPr/>
          </p:nvSpPr>
          <p:spPr bwMode="auto">
            <a:xfrm>
              <a:off x="10426700" y="3187700"/>
              <a:ext cx="0" cy="0"/>
            </a:xfrm>
            <a:custGeom>
              <a:avLst/>
              <a:gdLst/>
              <a:ahLst/>
              <a:cxnLst/>
              <a:rect l="0" t="0" r="r" b="b"/>
              <a:pathLst>
                <a:path w="21600" h="21600">
                  <a:moveTo>
                    <a:pt x="21600" y="21600"/>
                  </a:moveTo>
                  <a:cubicBezTo>
                    <a:pt x="14355" y="11991"/>
                    <a:pt x="6480" y="4454"/>
                    <a:pt x="0" y="0"/>
                  </a:cubicBezTo>
                  <a:cubicBezTo>
                    <a:pt x="1395" y="1594"/>
                    <a:pt x="1395" y="2582"/>
                    <a:pt x="4275" y="4809"/>
                  </a:cubicBezTo>
                  <a:cubicBezTo>
                    <a:pt x="8640" y="8019"/>
                    <a:pt x="15120" y="14823"/>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 name="AutoShape 86"/>
            <p:cNvSpPr>
              <a:spLocks/>
            </p:cNvSpPr>
            <p:nvPr/>
          </p:nvSpPr>
          <p:spPr bwMode="auto">
            <a:xfrm>
              <a:off x="10426700" y="3187700"/>
              <a:ext cx="0" cy="0"/>
            </a:xfrm>
            <a:custGeom>
              <a:avLst/>
              <a:gdLst/>
              <a:ahLst/>
              <a:cxnLst/>
              <a:rect l="0" t="0" r="r" b="b"/>
              <a:pathLst>
                <a:path w="15787" h="14458">
                  <a:moveTo>
                    <a:pt x="0" y="0"/>
                  </a:moveTo>
                  <a:cubicBezTo>
                    <a:pt x="1975" y="1053"/>
                    <a:pt x="1975" y="2174"/>
                    <a:pt x="1975" y="2929"/>
                  </a:cubicBezTo>
                  <a:cubicBezTo>
                    <a:pt x="21600" y="21600"/>
                    <a:pt x="19749" y="15376"/>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 name="AutoShape 87"/>
            <p:cNvSpPr>
              <a:spLocks/>
            </p:cNvSpPr>
            <p:nvPr/>
          </p:nvSpPr>
          <p:spPr bwMode="auto">
            <a:xfrm>
              <a:off x="9867900" y="2197100"/>
              <a:ext cx="0" cy="0"/>
            </a:xfrm>
            <a:custGeom>
              <a:avLst/>
              <a:gdLst/>
              <a:ahLst/>
              <a:cxnLst/>
              <a:rect l="0" t="0" r="r" b="b"/>
              <a:pathLst>
                <a:path w="21600" h="21600">
                  <a:moveTo>
                    <a:pt x="21600" y="21600"/>
                  </a:moveTo>
                  <a:cubicBezTo>
                    <a:pt x="14501" y="14425"/>
                    <a:pt x="7059" y="7147"/>
                    <a:pt x="0" y="0"/>
                  </a:cubicBezTo>
                  <a:cubicBezTo>
                    <a:pt x="1916" y="2173"/>
                    <a:pt x="3529" y="3563"/>
                    <a:pt x="6111" y="6651"/>
                  </a:cubicBezTo>
                  <a:cubicBezTo>
                    <a:pt x="9640" y="9715"/>
                    <a:pt x="16437" y="16730"/>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 name="AutoShape 88"/>
            <p:cNvSpPr>
              <a:spLocks/>
            </p:cNvSpPr>
            <p:nvPr/>
          </p:nvSpPr>
          <p:spPr bwMode="auto">
            <a:xfrm>
              <a:off x="10426700" y="3175000"/>
              <a:ext cx="0" cy="0"/>
            </a:xfrm>
            <a:custGeom>
              <a:avLst/>
              <a:gdLst/>
              <a:ahLst/>
              <a:cxnLst/>
              <a:rect l="0" t="0" r="r" b="b"/>
              <a:pathLst>
                <a:path w="21600" h="21600">
                  <a:moveTo>
                    <a:pt x="17325" y="14583"/>
                  </a:moveTo>
                  <a:cubicBezTo>
                    <a:pt x="10080" y="10098"/>
                    <a:pt x="5085" y="5034"/>
                    <a:pt x="0" y="0"/>
                  </a:cubicBezTo>
                  <a:cubicBezTo>
                    <a:pt x="8685" y="8544"/>
                    <a:pt x="15165" y="15706"/>
                    <a:pt x="21600" y="21600"/>
                  </a:cubicBezTo>
                  <a:cubicBezTo>
                    <a:pt x="20205" y="19213"/>
                    <a:pt x="17325" y="17400"/>
                    <a:pt x="17325" y="14583"/>
                  </a:cubicBezTo>
                  <a:close/>
                  <a:moveTo>
                    <a:pt x="17325" y="145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 name="AutoShape 89"/>
            <p:cNvSpPr>
              <a:spLocks/>
            </p:cNvSpPr>
            <p:nvPr/>
          </p:nvSpPr>
          <p:spPr bwMode="auto">
            <a:xfrm>
              <a:off x="8216900" y="1676400"/>
              <a:ext cx="2352675" cy="2014538"/>
            </a:xfrm>
            <a:custGeom>
              <a:avLst/>
              <a:gdLst/>
              <a:ahLst/>
              <a:cxnLst/>
              <a:rect l="0" t="0" r="r" b="b"/>
              <a:pathLst>
                <a:path w="21594" h="21598">
                  <a:moveTo>
                    <a:pt x="14333" y="4406"/>
                  </a:moveTo>
                  <a:cubicBezTo>
                    <a:pt x="14331" y="4405"/>
                    <a:pt x="14325" y="4397"/>
                    <a:pt x="14319" y="4389"/>
                  </a:cubicBezTo>
                  <a:cubicBezTo>
                    <a:pt x="14313" y="4381"/>
                    <a:pt x="14303" y="4369"/>
                    <a:pt x="14296" y="4361"/>
                  </a:cubicBezTo>
                  <a:cubicBezTo>
                    <a:pt x="14290" y="4354"/>
                    <a:pt x="14279" y="4344"/>
                    <a:pt x="14273" y="4336"/>
                  </a:cubicBezTo>
                  <a:cubicBezTo>
                    <a:pt x="14267" y="4329"/>
                    <a:pt x="14265" y="4325"/>
                    <a:pt x="14265" y="4328"/>
                  </a:cubicBezTo>
                  <a:cubicBezTo>
                    <a:pt x="14267" y="4330"/>
                    <a:pt x="14274" y="4339"/>
                    <a:pt x="14279" y="4349"/>
                  </a:cubicBezTo>
                  <a:cubicBezTo>
                    <a:pt x="14285" y="4358"/>
                    <a:pt x="14299" y="4375"/>
                    <a:pt x="14307" y="4388"/>
                  </a:cubicBezTo>
                  <a:cubicBezTo>
                    <a:pt x="14315" y="4401"/>
                    <a:pt x="14319" y="4406"/>
                    <a:pt x="14314" y="4399"/>
                  </a:cubicBezTo>
                  <a:cubicBezTo>
                    <a:pt x="14309" y="4391"/>
                    <a:pt x="14303" y="4385"/>
                    <a:pt x="14301" y="4385"/>
                  </a:cubicBezTo>
                  <a:cubicBezTo>
                    <a:pt x="14301" y="4383"/>
                    <a:pt x="14303" y="4389"/>
                    <a:pt x="14307" y="4397"/>
                  </a:cubicBezTo>
                  <a:cubicBezTo>
                    <a:pt x="14311" y="4405"/>
                    <a:pt x="14314" y="4407"/>
                    <a:pt x="14311" y="4403"/>
                  </a:cubicBezTo>
                  <a:cubicBezTo>
                    <a:pt x="14309" y="4399"/>
                    <a:pt x="14301" y="4391"/>
                    <a:pt x="14295" y="4386"/>
                  </a:cubicBezTo>
                  <a:cubicBezTo>
                    <a:pt x="14291" y="4378"/>
                    <a:pt x="14282" y="4371"/>
                    <a:pt x="14278" y="4365"/>
                  </a:cubicBezTo>
                  <a:cubicBezTo>
                    <a:pt x="14273" y="4360"/>
                    <a:pt x="14268" y="4351"/>
                    <a:pt x="14266" y="4346"/>
                  </a:cubicBezTo>
                  <a:cubicBezTo>
                    <a:pt x="14262" y="4341"/>
                    <a:pt x="14261" y="4336"/>
                    <a:pt x="14262" y="4336"/>
                  </a:cubicBezTo>
                  <a:cubicBezTo>
                    <a:pt x="14262" y="4336"/>
                    <a:pt x="14256" y="4323"/>
                    <a:pt x="14245" y="4309"/>
                  </a:cubicBezTo>
                  <a:cubicBezTo>
                    <a:pt x="14235" y="4296"/>
                    <a:pt x="14222" y="4276"/>
                    <a:pt x="14215" y="4269"/>
                  </a:cubicBezTo>
                  <a:cubicBezTo>
                    <a:pt x="14208" y="4260"/>
                    <a:pt x="14206" y="4262"/>
                    <a:pt x="14213" y="4270"/>
                  </a:cubicBezTo>
                  <a:cubicBezTo>
                    <a:pt x="14219" y="4280"/>
                    <a:pt x="14224" y="4288"/>
                    <a:pt x="14223" y="4288"/>
                  </a:cubicBezTo>
                  <a:cubicBezTo>
                    <a:pt x="14222" y="4287"/>
                    <a:pt x="14213" y="4278"/>
                    <a:pt x="14204" y="4265"/>
                  </a:cubicBezTo>
                  <a:cubicBezTo>
                    <a:pt x="14195" y="4252"/>
                    <a:pt x="14181" y="4235"/>
                    <a:pt x="14174" y="4225"/>
                  </a:cubicBezTo>
                  <a:cubicBezTo>
                    <a:pt x="14166" y="4217"/>
                    <a:pt x="14150" y="4196"/>
                    <a:pt x="14138" y="4179"/>
                  </a:cubicBezTo>
                  <a:cubicBezTo>
                    <a:pt x="14126" y="4163"/>
                    <a:pt x="14118" y="4152"/>
                    <a:pt x="14120" y="4156"/>
                  </a:cubicBezTo>
                  <a:cubicBezTo>
                    <a:pt x="14122" y="4159"/>
                    <a:pt x="14119" y="4159"/>
                    <a:pt x="14116" y="4155"/>
                  </a:cubicBezTo>
                  <a:cubicBezTo>
                    <a:pt x="14112" y="4151"/>
                    <a:pt x="14101" y="4141"/>
                    <a:pt x="14094" y="4131"/>
                  </a:cubicBezTo>
                  <a:cubicBezTo>
                    <a:pt x="14084" y="4123"/>
                    <a:pt x="14072" y="4108"/>
                    <a:pt x="14067" y="4099"/>
                  </a:cubicBezTo>
                  <a:cubicBezTo>
                    <a:pt x="14061" y="4090"/>
                    <a:pt x="14058" y="4089"/>
                    <a:pt x="14063" y="4095"/>
                  </a:cubicBezTo>
                  <a:cubicBezTo>
                    <a:pt x="14066" y="4102"/>
                    <a:pt x="14068" y="4108"/>
                    <a:pt x="14068" y="4107"/>
                  </a:cubicBezTo>
                  <a:cubicBezTo>
                    <a:pt x="14066" y="4106"/>
                    <a:pt x="14054" y="4092"/>
                    <a:pt x="14040" y="4074"/>
                  </a:cubicBezTo>
                  <a:cubicBezTo>
                    <a:pt x="14026" y="4056"/>
                    <a:pt x="14012" y="4036"/>
                    <a:pt x="14007" y="4032"/>
                  </a:cubicBezTo>
                  <a:cubicBezTo>
                    <a:pt x="14002" y="4027"/>
                    <a:pt x="14004" y="4030"/>
                    <a:pt x="14011" y="4041"/>
                  </a:cubicBezTo>
                  <a:cubicBezTo>
                    <a:pt x="14018" y="4052"/>
                    <a:pt x="14028" y="4064"/>
                    <a:pt x="14031" y="4070"/>
                  </a:cubicBezTo>
                  <a:cubicBezTo>
                    <a:pt x="14036" y="4075"/>
                    <a:pt x="14037" y="4081"/>
                    <a:pt x="14036" y="4082"/>
                  </a:cubicBezTo>
                  <a:cubicBezTo>
                    <a:pt x="14034" y="4083"/>
                    <a:pt x="14028" y="4078"/>
                    <a:pt x="14023" y="4071"/>
                  </a:cubicBezTo>
                  <a:cubicBezTo>
                    <a:pt x="14018" y="4065"/>
                    <a:pt x="14011" y="4052"/>
                    <a:pt x="14005" y="4046"/>
                  </a:cubicBezTo>
                  <a:cubicBezTo>
                    <a:pt x="14001" y="4038"/>
                    <a:pt x="13997" y="4038"/>
                    <a:pt x="14000" y="4043"/>
                  </a:cubicBezTo>
                  <a:cubicBezTo>
                    <a:pt x="14003" y="4049"/>
                    <a:pt x="14012" y="4065"/>
                    <a:pt x="14022" y="4078"/>
                  </a:cubicBezTo>
                  <a:cubicBezTo>
                    <a:pt x="14029" y="4094"/>
                    <a:pt x="14046" y="4114"/>
                    <a:pt x="14056" y="4127"/>
                  </a:cubicBezTo>
                  <a:cubicBezTo>
                    <a:pt x="14066" y="4139"/>
                    <a:pt x="14079" y="4160"/>
                    <a:pt x="14088" y="4172"/>
                  </a:cubicBezTo>
                  <a:cubicBezTo>
                    <a:pt x="14096" y="4184"/>
                    <a:pt x="14106" y="4199"/>
                    <a:pt x="14112" y="4205"/>
                  </a:cubicBezTo>
                  <a:cubicBezTo>
                    <a:pt x="14115" y="4212"/>
                    <a:pt x="14128" y="4229"/>
                    <a:pt x="14138" y="4243"/>
                  </a:cubicBezTo>
                  <a:cubicBezTo>
                    <a:pt x="14145" y="4259"/>
                    <a:pt x="14161" y="4280"/>
                    <a:pt x="14172" y="4288"/>
                  </a:cubicBezTo>
                  <a:cubicBezTo>
                    <a:pt x="14181" y="4299"/>
                    <a:pt x="14196" y="4316"/>
                    <a:pt x="14203" y="4328"/>
                  </a:cubicBezTo>
                  <a:cubicBezTo>
                    <a:pt x="14212" y="4338"/>
                    <a:pt x="14221" y="4357"/>
                    <a:pt x="14228" y="4366"/>
                  </a:cubicBezTo>
                  <a:cubicBezTo>
                    <a:pt x="14233" y="4375"/>
                    <a:pt x="14246" y="4394"/>
                    <a:pt x="14257" y="4408"/>
                  </a:cubicBezTo>
                  <a:cubicBezTo>
                    <a:pt x="14268" y="4422"/>
                    <a:pt x="14281" y="4443"/>
                    <a:pt x="14289" y="4453"/>
                  </a:cubicBezTo>
                  <a:cubicBezTo>
                    <a:pt x="14295" y="4464"/>
                    <a:pt x="14302" y="4476"/>
                    <a:pt x="14305" y="4481"/>
                  </a:cubicBezTo>
                  <a:cubicBezTo>
                    <a:pt x="14307" y="4486"/>
                    <a:pt x="14305" y="4486"/>
                    <a:pt x="14301" y="4481"/>
                  </a:cubicBezTo>
                  <a:cubicBezTo>
                    <a:pt x="14297" y="4476"/>
                    <a:pt x="14287" y="4463"/>
                    <a:pt x="14280" y="4453"/>
                  </a:cubicBezTo>
                  <a:cubicBezTo>
                    <a:pt x="14274" y="4442"/>
                    <a:pt x="14263" y="4427"/>
                    <a:pt x="14255" y="4423"/>
                  </a:cubicBezTo>
                  <a:cubicBezTo>
                    <a:pt x="14251" y="4414"/>
                    <a:pt x="14236" y="4405"/>
                    <a:pt x="14230" y="4395"/>
                  </a:cubicBezTo>
                  <a:cubicBezTo>
                    <a:pt x="14222" y="4386"/>
                    <a:pt x="14212" y="4374"/>
                    <a:pt x="14207" y="4370"/>
                  </a:cubicBezTo>
                  <a:cubicBezTo>
                    <a:pt x="14202" y="4366"/>
                    <a:pt x="14204" y="4369"/>
                    <a:pt x="14211" y="4380"/>
                  </a:cubicBezTo>
                  <a:cubicBezTo>
                    <a:pt x="14218" y="4390"/>
                    <a:pt x="14226" y="4402"/>
                    <a:pt x="14228" y="4408"/>
                  </a:cubicBezTo>
                  <a:cubicBezTo>
                    <a:pt x="14231" y="4413"/>
                    <a:pt x="14227" y="4412"/>
                    <a:pt x="14220" y="4406"/>
                  </a:cubicBezTo>
                  <a:cubicBezTo>
                    <a:pt x="14214" y="4398"/>
                    <a:pt x="14202" y="4386"/>
                    <a:pt x="14195" y="4378"/>
                  </a:cubicBezTo>
                  <a:cubicBezTo>
                    <a:pt x="14188" y="4369"/>
                    <a:pt x="14176" y="4359"/>
                    <a:pt x="14169" y="4355"/>
                  </a:cubicBezTo>
                  <a:cubicBezTo>
                    <a:pt x="14162" y="4350"/>
                    <a:pt x="14140" y="4333"/>
                    <a:pt x="14122" y="4315"/>
                  </a:cubicBezTo>
                  <a:cubicBezTo>
                    <a:pt x="14104" y="4297"/>
                    <a:pt x="14079" y="4273"/>
                    <a:pt x="14068" y="4259"/>
                  </a:cubicBezTo>
                  <a:cubicBezTo>
                    <a:pt x="14057" y="4246"/>
                    <a:pt x="14039" y="4225"/>
                    <a:pt x="14027" y="4213"/>
                  </a:cubicBezTo>
                  <a:cubicBezTo>
                    <a:pt x="14016" y="4200"/>
                    <a:pt x="14005" y="4189"/>
                    <a:pt x="14004" y="4189"/>
                  </a:cubicBezTo>
                  <a:cubicBezTo>
                    <a:pt x="14003" y="4189"/>
                    <a:pt x="13995" y="4181"/>
                    <a:pt x="13987" y="4171"/>
                  </a:cubicBezTo>
                  <a:cubicBezTo>
                    <a:pt x="13979" y="4163"/>
                    <a:pt x="13947" y="4125"/>
                    <a:pt x="13913" y="4091"/>
                  </a:cubicBezTo>
                  <a:cubicBezTo>
                    <a:pt x="13879" y="4056"/>
                    <a:pt x="13839" y="4010"/>
                    <a:pt x="13822" y="3989"/>
                  </a:cubicBezTo>
                  <a:cubicBezTo>
                    <a:pt x="13806" y="3968"/>
                    <a:pt x="13780" y="3931"/>
                    <a:pt x="13763" y="3908"/>
                  </a:cubicBezTo>
                  <a:cubicBezTo>
                    <a:pt x="13746" y="3884"/>
                    <a:pt x="13730" y="3858"/>
                    <a:pt x="13728" y="3851"/>
                  </a:cubicBezTo>
                  <a:cubicBezTo>
                    <a:pt x="13725" y="3844"/>
                    <a:pt x="13726" y="3837"/>
                    <a:pt x="13726" y="3839"/>
                  </a:cubicBezTo>
                  <a:cubicBezTo>
                    <a:pt x="13727" y="3840"/>
                    <a:pt x="13726" y="3834"/>
                    <a:pt x="13720" y="3827"/>
                  </a:cubicBezTo>
                  <a:cubicBezTo>
                    <a:pt x="13715" y="3820"/>
                    <a:pt x="13702" y="3799"/>
                    <a:pt x="13687" y="3784"/>
                  </a:cubicBezTo>
                  <a:cubicBezTo>
                    <a:pt x="13674" y="3767"/>
                    <a:pt x="13653" y="3747"/>
                    <a:pt x="13643" y="3735"/>
                  </a:cubicBezTo>
                  <a:cubicBezTo>
                    <a:pt x="13631" y="3725"/>
                    <a:pt x="13611" y="3708"/>
                    <a:pt x="13597" y="3699"/>
                  </a:cubicBezTo>
                  <a:cubicBezTo>
                    <a:pt x="13583" y="3690"/>
                    <a:pt x="13547" y="3661"/>
                    <a:pt x="13519" y="3632"/>
                  </a:cubicBezTo>
                  <a:cubicBezTo>
                    <a:pt x="13490" y="3604"/>
                    <a:pt x="13450" y="3567"/>
                    <a:pt x="13430" y="3552"/>
                  </a:cubicBezTo>
                  <a:cubicBezTo>
                    <a:pt x="13411" y="3536"/>
                    <a:pt x="13383" y="3514"/>
                    <a:pt x="13369" y="3503"/>
                  </a:cubicBezTo>
                  <a:cubicBezTo>
                    <a:pt x="13357" y="3489"/>
                    <a:pt x="13347" y="3485"/>
                    <a:pt x="13347" y="3489"/>
                  </a:cubicBezTo>
                  <a:cubicBezTo>
                    <a:pt x="13348" y="3494"/>
                    <a:pt x="13346" y="3492"/>
                    <a:pt x="13340" y="3489"/>
                  </a:cubicBezTo>
                  <a:cubicBezTo>
                    <a:pt x="13336" y="3483"/>
                    <a:pt x="13332" y="3483"/>
                    <a:pt x="13332" y="3486"/>
                  </a:cubicBezTo>
                  <a:cubicBezTo>
                    <a:pt x="13333" y="3489"/>
                    <a:pt x="13329" y="3491"/>
                    <a:pt x="13324" y="3490"/>
                  </a:cubicBezTo>
                  <a:cubicBezTo>
                    <a:pt x="13320" y="3488"/>
                    <a:pt x="13315" y="3490"/>
                    <a:pt x="13312" y="3492"/>
                  </a:cubicBezTo>
                  <a:cubicBezTo>
                    <a:pt x="13309" y="3495"/>
                    <a:pt x="13318" y="3513"/>
                    <a:pt x="13331" y="3531"/>
                  </a:cubicBezTo>
                  <a:cubicBezTo>
                    <a:pt x="13345" y="3548"/>
                    <a:pt x="13361" y="3570"/>
                    <a:pt x="13368" y="3578"/>
                  </a:cubicBezTo>
                  <a:cubicBezTo>
                    <a:pt x="13374" y="3586"/>
                    <a:pt x="13384" y="3594"/>
                    <a:pt x="13388" y="3595"/>
                  </a:cubicBezTo>
                  <a:cubicBezTo>
                    <a:pt x="13391" y="3598"/>
                    <a:pt x="13399" y="3604"/>
                    <a:pt x="13404" y="3610"/>
                  </a:cubicBezTo>
                  <a:cubicBezTo>
                    <a:pt x="13408" y="3618"/>
                    <a:pt x="13415" y="3625"/>
                    <a:pt x="13415" y="3630"/>
                  </a:cubicBezTo>
                  <a:cubicBezTo>
                    <a:pt x="13415" y="3634"/>
                    <a:pt x="13415" y="3635"/>
                    <a:pt x="13411" y="3632"/>
                  </a:cubicBezTo>
                  <a:cubicBezTo>
                    <a:pt x="13408" y="3630"/>
                    <a:pt x="13403" y="3630"/>
                    <a:pt x="13403" y="3634"/>
                  </a:cubicBezTo>
                  <a:cubicBezTo>
                    <a:pt x="13401" y="3637"/>
                    <a:pt x="13406" y="3646"/>
                    <a:pt x="13409" y="3652"/>
                  </a:cubicBezTo>
                  <a:cubicBezTo>
                    <a:pt x="13414" y="3658"/>
                    <a:pt x="13412" y="3659"/>
                    <a:pt x="13407" y="3652"/>
                  </a:cubicBezTo>
                  <a:cubicBezTo>
                    <a:pt x="13402" y="3645"/>
                    <a:pt x="13386" y="3622"/>
                    <a:pt x="13373" y="3601"/>
                  </a:cubicBezTo>
                  <a:cubicBezTo>
                    <a:pt x="13358" y="3580"/>
                    <a:pt x="13335" y="3544"/>
                    <a:pt x="13316" y="3523"/>
                  </a:cubicBezTo>
                  <a:cubicBezTo>
                    <a:pt x="13300" y="3502"/>
                    <a:pt x="13280" y="3478"/>
                    <a:pt x="13274" y="3468"/>
                  </a:cubicBezTo>
                  <a:cubicBezTo>
                    <a:pt x="13267" y="3459"/>
                    <a:pt x="13258" y="3447"/>
                    <a:pt x="13256" y="3440"/>
                  </a:cubicBezTo>
                  <a:cubicBezTo>
                    <a:pt x="13253" y="3434"/>
                    <a:pt x="13239" y="3414"/>
                    <a:pt x="13225" y="3396"/>
                  </a:cubicBezTo>
                  <a:cubicBezTo>
                    <a:pt x="13210" y="3378"/>
                    <a:pt x="13194" y="3358"/>
                    <a:pt x="13187" y="3352"/>
                  </a:cubicBezTo>
                  <a:cubicBezTo>
                    <a:pt x="13182" y="3345"/>
                    <a:pt x="13154" y="3312"/>
                    <a:pt x="13126" y="3279"/>
                  </a:cubicBezTo>
                  <a:cubicBezTo>
                    <a:pt x="13098" y="3245"/>
                    <a:pt x="13071" y="3213"/>
                    <a:pt x="13066" y="3208"/>
                  </a:cubicBezTo>
                  <a:cubicBezTo>
                    <a:pt x="13061" y="3202"/>
                    <a:pt x="13061" y="3203"/>
                    <a:pt x="13065" y="3210"/>
                  </a:cubicBezTo>
                  <a:cubicBezTo>
                    <a:pt x="13069" y="3217"/>
                    <a:pt x="13092" y="3246"/>
                    <a:pt x="13116" y="3277"/>
                  </a:cubicBezTo>
                  <a:cubicBezTo>
                    <a:pt x="13140" y="3307"/>
                    <a:pt x="13166" y="3341"/>
                    <a:pt x="13174" y="3354"/>
                  </a:cubicBezTo>
                  <a:cubicBezTo>
                    <a:pt x="13183" y="3365"/>
                    <a:pt x="13187" y="3379"/>
                    <a:pt x="13187" y="3383"/>
                  </a:cubicBezTo>
                  <a:cubicBezTo>
                    <a:pt x="13185" y="3386"/>
                    <a:pt x="13174" y="3380"/>
                    <a:pt x="13161" y="3370"/>
                  </a:cubicBezTo>
                  <a:cubicBezTo>
                    <a:pt x="13149" y="3358"/>
                    <a:pt x="13135" y="3349"/>
                    <a:pt x="13132" y="3349"/>
                  </a:cubicBezTo>
                  <a:cubicBezTo>
                    <a:pt x="13129" y="3348"/>
                    <a:pt x="13116" y="3340"/>
                    <a:pt x="13105" y="3328"/>
                  </a:cubicBezTo>
                  <a:cubicBezTo>
                    <a:pt x="13094" y="3317"/>
                    <a:pt x="13056" y="3271"/>
                    <a:pt x="13019" y="3229"/>
                  </a:cubicBezTo>
                  <a:cubicBezTo>
                    <a:pt x="12981" y="3186"/>
                    <a:pt x="12946" y="3141"/>
                    <a:pt x="12940" y="3130"/>
                  </a:cubicBezTo>
                  <a:cubicBezTo>
                    <a:pt x="12932" y="3120"/>
                    <a:pt x="12928" y="3108"/>
                    <a:pt x="12928" y="3106"/>
                  </a:cubicBezTo>
                  <a:cubicBezTo>
                    <a:pt x="12928" y="3103"/>
                    <a:pt x="12924" y="3093"/>
                    <a:pt x="12918" y="3084"/>
                  </a:cubicBezTo>
                  <a:cubicBezTo>
                    <a:pt x="12911" y="3075"/>
                    <a:pt x="12900" y="3062"/>
                    <a:pt x="12892" y="3059"/>
                  </a:cubicBezTo>
                  <a:cubicBezTo>
                    <a:pt x="12885" y="3054"/>
                    <a:pt x="12886" y="3061"/>
                    <a:pt x="12893" y="3074"/>
                  </a:cubicBezTo>
                  <a:cubicBezTo>
                    <a:pt x="12901" y="3085"/>
                    <a:pt x="12906" y="3099"/>
                    <a:pt x="12906" y="3103"/>
                  </a:cubicBezTo>
                  <a:cubicBezTo>
                    <a:pt x="12906" y="3106"/>
                    <a:pt x="12888" y="3088"/>
                    <a:pt x="12866" y="3064"/>
                  </a:cubicBezTo>
                  <a:cubicBezTo>
                    <a:pt x="12845" y="3039"/>
                    <a:pt x="12818" y="3010"/>
                    <a:pt x="12806" y="3001"/>
                  </a:cubicBezTo>
                  <a:cubicBezTo>
                    <a:pt x="12794" y="2992"/>
                    <a:pt x="12782" y="2983"/>
                    <a:pt x="12779" y="2986"/>
                  </a:cubicBezTo>
                  <a:cubicBezTo>
                    <a:pt x="12776" y="2987"/>
                    <a:pt x="12783" y="3004"/>
                    <a:pt x="12796" y="3023"/>
                  </a:cubicBezTo>
                  <a:cubicBezTo>
                    <a:pt x="12808" y="3043"/>
                    <a:pt x="12820" y="3064"/>
                    <a:pt x="12820" y="3070"/>
                  </a:cubicBezTo>
                  <a:cubicBezTo>
                    <a:pt x="12820" y="3076"/>
                    <a:pt x="12833" y="3096"/>
                    <a:pt x="12847" y="3116"/>
                  </a:cubicBezTo>
                  <a:cubicBezTo>
                    <a:pt x="12861" y="3135"/>
                    <a:pt x="12883" y="3162"/>
                    <a:pt x="12896" y="3175"/>
                  </a:cubicBezTo>
                  <a:cubicBezTo>
                    <a:pt x="12909" y="3189"/>
                    <a:pt x="12923" y="3200"/>
                    <a:pt x="12929" y="3199"/>
                  </a:cubicBezTo>
                  <a:cubicBezTo>
                    <a:pt x="12934" y="3198"/>
                    <a:pt x="12936" y="3193"/>
                    <a:pt x="12933" y="3187"/>
                  </a:cubicBezTo>
                  <a:cubicBezTo>
                    <a:pt x="12930" y="3180"/>
                    <a:pt x="12934" y="3178"/>
                    <a:pt x="12943" y="3180"/>
                  </a:cubicBezTo>
                  <a:cubicBezTo>
                    <a:pt x="12952" y="3184"/>
                    <a:pt x="12965" y="3195"/>
                    <a:pt x="12974" y="3205"/>
                  </a:cubicBezTo>
                  <a:cubicBezTo>
                    <a:pt x="12982" y="3216"/>
                    <a:pt x="12994" y="3235"/>
                    <a:pt x="13000" y="3245"/>
                  </a:cubicBezTo>
                  <a:cubicBezTo>
                    <a:pt x="13004" y="3257"/>
                    <a:pt x="13006" y="3266"/>
                    <a:pt x="12999" y="3267"/>
                  </a:cubicBezTo>
                  <a:cubicBezTo>
                    <a:pt x="12993" y="3269"/>
                    <a:pt x="12995" y="3280"/>
                    <a:pt x="13005" y="3291"/>
                  </a:cubicBezTo>
                  <a:cubicBezTo>
                    <a:pt x="13014" y="3304"/>
                    <a:pt x="13024" y="3319"/>
                    <a:pt x="13024" y="3326"/>
                  </a:cubicBezTo>
                  <a:cubicBezTo>
                    <a:pt x="13025" y="3332"/>
                    <a:pt x="13019" y="3333"/>
                    <a:pt x="13011" y="3328"/>
                  </a:cubicBezTo>
                  <a:cubicBezTo>
                    <a:pt x="13003" y="3324"/>
                    <a:pt x="12987" y="3308"/>
                    <a:pt x="12974" y="3293"/>
                  </a:cubicBezTo>
                  <a:cubicBezTo>
                    <a:pt x="12961" y="3280"/>
                    <a:pt x="12954" y="3270"/>
                    <a:pt x="12956" y="3275"/>
                  </a:cubicBezTo>
                  <a:cubicBezTo>
                    <a:pt x="12959" y="3279"/>
                    <a:pt x="12969" y="3297"/>
                    <a:pt x="12981" y="3311"/>
                  </a:cubicBezTo>
                  <a:cubicBezTo>
                    <a:pt x="12992" y="3327"/>
                    <a:pt x="13004" y="3345"/>
                    <a:pt x="13004" y="3353"/>
                  </a:cubicBezTo>
                  <a:cubicBezTo>
                    <a:pt x="13005" y="3360"/>
                    <a:pt x="13003" y="3369"/>
                    <a:pt x="12997" y="3370"/>
                  </a:cubicBezTo>
                  <a:cubicBezTo>
                    <a:pt x="12993" y="3373"/>
                    <a:pt x="12996" y="3384"/>
                    <a:pt x="13006" y="3397"/>
                  </a:cubicBezTo>
                  <a:cubicBezTo>
                    <a:pt x="13017" y="3411"/>
                    <a:pt x="13023" y="3423"/>
                    <a:pt x="13022" y="3424"/>
                  </a:cubicBezTo>
                  <a:cubicBezTo>
                    <a:pt x="13022" y="3426"/>
                    <a:pt x="13013" y="3423"/>
                    <a:pt x="13007" y="3417"/>
                  </a:cubicBezTo>
                  <a:cubicBezTo>
                    <a:pt x="13001" y="3411"/>
                    <a:pt x="12992" y="3409"/>
                    <a:pt x="12988" y="3413"/>
                  </a:cubicBezTo>
                  <a:cubicBezTo>
                    <a:pt x="12984" y="3417"/>
                    <a:pt x="12968" y="3411"/>
                    <a:pt x="12954" y="3400"/>
                  </a:cubicBezTo>
                  <a:cubicBezTo>
                    <a:pt x="12940" y="3390"/>
                    <a:pt x="12917" y="3372"/>
                    <a:pt x="12904" y="3361"/>
                  </a:cubicBezTo>
                  <a:cubicBezTo>
                    <a:pt x="12890" y="3350"/>
                    <a:pt x="12881" y="3347"/>
                    <a:pt x="12882" y="3355"/>
                  </a:cubicBezTo>
                  <a:cubicBezTo>
                    <a:pt x="12884" y="3363"/>
                    <a:pt x="12896" y="3385"/>
                    <a:pt x="12909" y="3403"/>
                  </a:cubicBezTo>
                  <a:cubicBezTo>
                    <a:pt x="12920" y="3423"/>
                    <a:pt x="12952" y="3464"/>
                    <a:pt x="12978" y="3495"/>
                  </a:cubicBezTo>
                  <a:cubicBezTo>
                    <a:pt x="13004" y="3527"/>
                    <a:pt x="13031" y="3560"/>
                    <a:pt x="13039" y="3567"/>
                  </a:cubicBezTo>
                  <a:cubicBezTo>
                    <a:pt x="13047" y="3575"/>
                    <a:pt x="13050" y="3579"/>
                    <a:pt x="13045" y="3577"/>
                  </a:cubicBezTo>
                  <a:cubicBezTo>
                    <a:pt x="13040" y="3573"/>
                    <a:pt x="13027" y="3565"/>
                    <a:pt x="13016" y="3555"/>
                  </a:cubicBezTo>
                  <a:cubicBezTo>
                    <a:pt x="13005" y="3546"/>
                    <a:pt x="12998" y="3543"/>
                    <a:pt x="12998" y="3548"/>
                  </a:cubicBezTo>
                  <a:cubicBezTo>
                    <a:pt x="12999" y="3553"/>
                    <a:pt x="13006" y="3562"/>
                    <a:pt x="13009" y="3569"/>
                  </a:cubicBezTo>
                  <a:cubicBezTo>
                    <a:pt x="13013" y="3576"/>
                    <a:pt x="13019" y="3586"/>
                    <a:pt x="13021" y="3594"/>
                  </a:cubicBezTo>
                  <a:cubicBezTo>
                    <a:pt x="13023" y="3601"/>
                    <a:pt x="13022" y="3610"/>
                    <a:pt x="13020" y="3614"/>
                  </a:cubicBezTo>
                  <a:cubicBezTo>
                    <a:pt x="13019" y="3618"/>
                    <a:pt x="13010" y="3615"/>
                    <a:pt x="13002" y="3610"/>
                  </a:cubicBezTo>
                  <a:cubicBezTo>
                    <a:pt x="12994" y="3605"/>
                    <a:pt x="12987" y="3603"/>
                    <a:pt x="12989" y="3608"/>
                  </a:cubicBezTo>
                  <a:cubicBezTo>
                    <a:pt x="12989" y="3612"/>
                    <a:pt x="12988" y="3609"/>
                    <a:pt x="12984" y="3600"/>
                  </a:cubicBezTo>
                  <a:cubicBezTo>
                    <a:pt x="12981" y="3591"/>
                    <a:pt x="12980" y="3583"/>
                    <a:pt x="12983" y="3581"/>
                  </a:cubicBezTo>
                  <a:cubicBezTo>
                    <a:pt x="12985" y="3579"/>
                    <a:pt x="12980" y="3558"/>
                    <a:pt x="12969" y="3533"/>
                  </a:cubicBezTo>
                  <a:cubicBezTo>
                    <a:pt x="12957" y="3509"/>
                    <a:pt x="12942" y="3480"/>
                    <a:pt x="12933" y="3470"/>
                  </a:cubicBezTo>
                  <a:cubicBezTo>
                    <a:pt x="12924" y="3460"/>
                    <a:pt x="12912" y="3443"/>
                    <a:pt x="12906" y="3433"/>
                  </a:cubicBezTo>
                  <a:cubicBezTo>
                    <a:pt x="12899" y="3424"/>
                    <a:pt x="12896" y="3413"/>
                    <a:pt x="12896" y="3410"/>
                  </a:cubicBezTo>
                  <a:cubicBezTo>
                    <a:pt x="12896" y="3407"/>
                    <a:pt x="12888" y="3394"/>
                    <a:pt x="12881" y="3379"/>
                  </a:cubicBezTo>
                  <a:cubicBezTo>
                    <a:pt x="12872" y="3366"/>
                    <a:pt x="12856" y="3337"/>
                    <a:pt x="12842" y="3319"/>
                  </a:cubicBezTo>
                  <a:cubicBezTo>
                    <a:pt x="12830" y="3300"/>
                    <a:pt x="12815" y="3275"/>
                    <a:pt x="12811" y="3264"/>
                  </a:cubicBezTo>
                  <a:cubicBezTo>
                    <a:pt x="12808" y="3252"/>
                    <a:pt x="12807" y="3244"/>
                    <a:pt x="12812" y="3244"/>
                  </a:cubicBezTo>
                  <a:cubicBezTo>
                    <a:pt x="12817" y="3245"/>
                    <a:pt x="12819" y="3239"/>
                    <a:pt x="12816" y="3233"/>
                  </a:cubicBezTo>
                  <a:cubicBezTo>
                    <a:pt x="12816" y="3225"/>
                    <a:pt x="12797" y="3199"/>
                    <a:pt x="12780" y="3173"/>
                  </a:cubicBezTo>
                  <a:cubicBezTo>
                    <a:pt x="12764" y="3146"/>
                    <a:pt x="12744" y="3118"/>
                    <a:pt x="12737" y="3111"/>
                  </a:cubicBezTo>
                  <a:cubicBezTo>
                    <a:pt x="12733" y="3101"/>
                    <a:pt x="12724" y="3092"/>
                    <a:pt x="12724" y="3088"/>
                  </a:cubicBezTo>
                  <a:cubicBezTo>
                    <a:pt x="12724" y="3084"/>
                    <a:pt x="12727" y="3085"/>
                    <a:pt x="12732" y="3088"/>
                  </a:cubicBezTo>
                  <a:cubicBezTo>
                    <a:pt x="12736" y="3093"/>
                    <a:pt x="12745" y="3099"/>
                    <a:pt x="12750" y="3103"/>
                  </a:cubicBezTo>
                  <a:cubicBezTo>
                    <a:pt x="12755" y="3107"/>
                    <a:pt x="12765" y="3117"/>
                    <a:pt x="12774" y="3121"/>
                  </a:cubicBezTo>
                  <a:cubicBezTo>
                    <a:pt x="12781" y="3127"/>
                    <a:pt x="12785" y="3115"/>
                    <a:pt x="12778" y="3098"/>
                  </a:cubicBezTo>
                  <a:cubicBezTo>
                    <a:pt x="12771" y="3081"/>
                    <a:pt x="12761" y="3059"/>
                    <a:pt x="12754" y="3049"/>
                  </a:cubicBezTo>
                  <a:cubicBezTo>
                    <a:pt x="12747" y="3039"/>
                    <a:pt x="12733" y="3017"/>
                    <a:pt x="12721" y="3002"/>
                  </a:cubicBezTo>
                  <a:cubicBezTo>
                    <a:pt x="12710" y="2986"/>
                    <a:pt x="12692" y="2956"/>
                    <a:pt x="12682" y="2935"/>
                  </a:cubicBezTo>
                  <a:cubicBezTo>
                    <a:pt x="12672" y="2914"/>
                    <a:pt x="12663" y="2893"/>
                    <a:pt x="12663" y="2887"/>
                  </a:cubicBezTo>
                  <a:cubicBezTo>
                    <a:pt x="12663" y="2881"/>
                    <a:pt x="12660" y="2866"/>
                    <a:pt x="12655" y="2855"/>
                  </a:cubicBezTo>
                  <a:cubicBezTo>
                    <a:pt x="12652" y="2843"/>
                    <a:pt x="12636" y="2819"/>
                    <a:pt x="12623" y="2799"/>
                  </a:cubicBezTo>
                  <a:cubicBezTo>
                    <a:pt x="12609" y="2781"/>
                    <a:pt x="12597" y="2763"/>
                    <a:pt x="12594" y="2761"/>
                  </a:cubicBezTo>
                  <a:cubicBezTo>
                    <a:pt x="12591" y="2758"/>
                    <a:pt x="12587" y="2758"/>
                    <a:pt x="12587" y="2761"/>
                  </a:cubicBezTo>
                  <a:cubicBezTo>
                    <a:pt x="12585" y="2762"/>
                    <a:pt x="12580" y="2762"/>
                    <a:pt x="12574" y="2756"/>
                  </a:cubicBezTo>
                  <a:cubicBezTo>
                    <a:pt x="12567" y="2751"/>
                    <a:pt x="12552" y="2736"/>
                    <a:pt x="12540" y="2724"/>
                  </a:cubicBezTo>
                  <a:cubicBezTo>
                    <a:pt x="12528" y="2711"/>
                    <a:pt x="12526" y="2707"/>
                    <a:pt x="12534" y="2716"/>
                  </a:cubicBezTo>
                  <a:cubicBezTo>
                    <a:pt x="12544" y="2722"/>
                    <a:pt x="12554" y="2728"/>
                    <a:pt x="12558" y="2727"/>
                  </a:cubicBezTo>
                  <a:cubicBezTo>
                    <a:pt x="12561" y="2725"/>
                    <a:pt x="12569" y="2725"/>
                    <a:pt x="12573" y="2728"/>
                  </a:cubicBezTo>
                  <a:cubicBezTo>
                    <a:pt x="12578" y="2730"/>
                    <a:pt x="12580" y="2726"/>
                    <a:pt x="12577" y="2719"/>
                  </a:cubicBezTo>
                  <a:cubicBezTo>
                    <a:pt x="12575" y="2712"/>
                    <a:pt x="12569" y="2701"/>
                    <a:pt x="12564" y="2694"/>
                  </a:cubicBezTo>
                  <a:cubicBezTo>
                    <a:pt x="12560" y="2686"/>
                    <a:pt x="12557" y="2680"/>
                    <a:pt x="12557" y="2677"/>
                  </a:cubicBezTo>
                  <a:cubicBezTo>
                    <a:pt x="12557" y="2674"/>
                    <a:pt x="12555" y="2663"/>
                    <a:pt x="12551" y="2653"/>
                  </a:cubicBezTo>
                  <a:cubicBezTo>
                    <a:pt x="12547" y="2642"/>
                    <a:pt x="12540" y="2626"/>
                    <a:pt x="12534" y="2620"/>
                  </a:cubicBezTo>
                  <a:cubicBezTo>
                    <a:pt x="12528" y="2613"/>
                    <a:pt x="12521" y="2601"/>
                    <a:pt x="12518" y="2594"/>
                  </a:cubicBezTo>
                  <a:cubicBezTo>
                    <a:pt x="12515" y="2586"/>
                    <a:pt x="12518" y="2583"/>
                    <a:pt x="12525" y="2587"/>
                  </a:cubicBezTo>
                  <a:cubicBezTo>
                    <a:pt x="12532" y="2590"/>
                    <a:pt x="12531" y="2587"/>
                    <a:pt x="12527" y="2577"/>
                  </a:cubicBezTo>
                  <a:cubicBezTo>
                    <a:pt x="12521" y="2569"/>
                    <a:pt x="12510" y="2551"/>
                    <a:pt x="12499" y="2540"/>
                  </a:cubicBezTo>
                  <a:cubicBezTo>
                    <a:pt x="12491" y="2527"/>
                    <a:pt x="12478" y="2515"/>
                    <a:pt x="12475" y="2509"/>
                  </a:cubicBezTo>
                  <a:cubicBezTo>
                    <a:pt x="12471" y="2504"/>
                    <a:pt x="12465" y="2494"/>
                    <a:pt x="12465" y="2487"/>
                  </a:cubicBezTo>
                  <a:cubicBezTo>
                    <a:pt x="12462" y="2481"/>
                    <a:pt x="12456" y="2465"/>
                    <a:pt x="12447" y="2454"/>
                  </a:cubicBezTo>
                  <a:cubicBezTo>
                    <a:pt x="12439" y="2443"/>
                    <a:pt x="12432" y="2429"/>
                    <a:pt x="12429" y="2424"/>
                  </a:cubicBezTo>
                  <a:cubicBezTo>
                    <a:pt x="12428" y="2419"/>
                    <a:pt x="12430" y="2415"/>
                    <a:pt x="12430" y="2418"/>
                  </a:cubicBezTo>
                  <a:cubicBezTo>
                    <a:pt x="12433" y="2419"/>
                    <a:pt x="12432" y="2412"/>
                    <a:pt x="12427" y="2401"/>
                  </a:cubicBezTo>
                  <a:cubicBezTo>
                    <a:pt x="12422" y="2391"/>
                    <a:pt x="12410" y="2366"/>
                    <a:pt x="12397" y="2348"/>
                  </a:cubicBezTo>
                  <a:cubicBezTo>
                    <a:pt x="12386" y="2328"/>
                    <a:pt x="12364" y="2298"/>
                    <a:pt x="12350" y="2279"/>
                  </a:cubicBezTo>
                  <a:cubicBezTo>
                    <a:pt x="12337" y="2259"/>
                    <a:pt x="12310" y="2226"/>
                    <a:pt x="12293" y="2204"/>
                  </a:cubicBezTo>
                  <a:cubicBezTo>
                    <a:pt x="12276" y="2181"/>
                    <a:pt x="12260" y="2161"/>
                    <a:pt x="12259" y="2158"/>
                  </a:cubicBezTo>
                  <a:cubicBezTo>
                    <a:pt x="12257" y="2155"/>
                    <a:pt x="12250" y="2147"/>
                    <a:pt x="12245" y="2137"/>
                  </a:cubicBezTo>
                  <a:cubicBezTo>
                    <a:pt x="12239" y="2129"/>
                    <a:pt x="12228" y="2119"/>
                    <a:pt x="12223" y="2111"/>
                  </a:cubicBezTo>
                  <a:cubicBezTo>
                    <a:pt x="12217" y="2106"/>
                    <a:pt x="12210" y="2100"/>
                    <a:pt x="12208" y="2099"/>
                  </a:cubicBezTo>
                  <a:cubicBezTo>
                    <a:pt x="12206" y="2098"/>
                    <a:pt x="12197" y="2090"/>
                    <a:pt x="12188" y="2080"/>
                  </a:cubicBezTo>
                  <a:cubicBezTo>
                    <a:pt x="12181" y="2070"/>
                    <a:pt x="12165" y="2055"/>
                    <a:pt x="12156" y="2044"/>
                  </a:cubicBezTo>
                  <a:cubicBezTo>
                    <a:pt x="12147" y="2033"/>
                    <a:pt x="12138" y="2022"/>
                    <a:pt x="12136" y="2020"/>
                  </a:cubicBezTo>
                  <a:cubicBezTo>
                    <a:pt x="12134" y="2016"/>
                    <a:pt x="12134" y="2021"/>
                    <a:pt x="12136" y="2028"/>
                  </a:cubicBezTo>
                  <a:cubicBezTo>
                    <a:pt x="12139" y="2035"/>
                    <a:pt x="12140" y="2041"/>
                    <a:pt x="12138" y="2041"/>
                  </a:cubicBezTo>
                  <a:cubicBezTo>
                    <a:pt x="12138" y="2042"/>
                    <a:pt x="12130" y="2035"/>
                    <a:pt x="12123" y="2027"/>
                  </a:cubicBezTo>
                  <a:cubicBezTo>
                    <a:pt x="12115" y="2020"/>
                    <a:pt x="12100" y="1999"/>
                    <a:pt x="12087" y="1984"/>
                  </a:cubicBezTo>
                  <a:cubicBezTo>
                    <a:pt x="12074" y="1968"/>
                    <a:pt x="12064" y="1952"/>
                    <a:pt x="12063" y="1952"/>
                  </a:cubicBezTo>
                  <a:cubicBezTo>
                    <a:pt x="12064" y="1952"/>
                    <a:pt x="12059" y="1944"/>
                    <a:pt x="12052" y="1938"/>
                  </a:cubicBezTo>
                  <a:cubicBezTo>
                    <a:pt x="12047" y="1930"/>
                    <a:pt x="12031" y="1916"/>
                    <a:pt x="12019" y="1905"/>
                  </a:cubicBezTo>
                  <a:cubicBezTo>
                    <a:pt x="12007" y="1893"/>
                    <a:pt x="11986" y="1874"/>
                    <a:pt x="11976" y="1860"/>
                  </a:cubicBezTo>
                  <a:cubicBezTo>
                    <a:pt x="11965" y="1845"/>
                    <a:pt x="11953" y="1833"/>
                    <a:pt x="11954" y="1832"/>
                  </a:cubicBezTo>
                  <a:cubicBezTo>
                    <a:pt x="11954" y="1831"/>
                    <a:pt x="11963" y="1837"/>
                    <a:pt x="11974" y="1847"/>
                  </a:cubicBezTo>
                  <a:cubicBezTo>
                    <a:pt x="11984" y="1857"/>
                    <a:pt x="12010" y="1879"/>
                    <a:pt x="12028" y="1899"/>
                  </a:cubicBezTo>
                  <a:cubicBezTo>
                    <a:pt x="12048" y="1917"/>
                    <a:pt x="12072" y="1945"/>
                    <a:pt x="12084" y="1958"/>
                  </a:cubicBezTo>
                  <a:cubicBezTo>
                    <a:pt x="12094" y="1972"/>
                    <a:pt x="12104" y="1980"/>
                    <a:pt x="12106" y="1979"/>
                  </a:cubicBezTo>
                  <a:cubicBezTo>
                    <a:pt x="12104" y="1978"/>
                    <a:pt x="12109" y="1978"/>
                    <a:pt x="12112" y="1981"/>
                  </a:cubicBezTo>
                  <a:cubicBezTo>
                    <a:pt x="12114" y="1984"/>
                    <a:pt x="12124" y="1992"/>
                    <a:pt x="12130" y="2001"/>
                  </a:cubicBezTo>
                  <a:cubicBezTo>
                    <a:pt x="12137" y="2010"/>
                    <a:pt x="12146" y="2024"/>
                    <a:pt x="12152" y="2028"/>
                  </a:cubicBezTo>
                  <a:cubicBezTo>
                    <a:pt x="12156" y="2035"/>
                    <a:pt x="12163" y="2042"/>
                    <a:pt x="12167" y="2046"/>
                  </a:cubicBezTo>
                  <a:cubicBezTo>
                    <a:pt x="12170" y="2050"/>
                    <a:pt x="12170" y="2047"/>
                    <a:pt x="12166" y="2040"/>
                  </a:cubicBezTo>
                  <a:cubicBezTo>
                    <a:pt x="12163" y="2034"/>
                    <a:pt x="12148" y="2015"/>
                    <a:pt x="12135" y="1999"/>
                  </a:cubicBezTo>
                  <a:cubicBezTo>
                    <a:pt x="12121" y="1983"/>
                    <a:pt x="12104" y="1962"/>
                    <a:pt x="12097" y="1952"/>
                  </a:cubicBezTo>
                  <a:cubicBezTo>
                    <a:pt x="12090" y="1942"/>
                    <a:pt x="12075" y="1922"/>
                    <a:pt x="12063" y="1908"/>
                  </a:cubicBezTo>
                  <a:cubicBezTo>
                    <a:pt x="12051" y="1894"/>
                    <a:pt x="12035" y="1875"/>
                    <a:pt x="12027" y="1867"/>
                  </a:cubicBezTo>
                  <a:cubicBezTo>
                    <a:pt x="12019" y="1858"/>
                    <a:pt x="12010" y="1848"/>
                    <a:pt x="12007" y="1847"/>
                  </a:cubicBezTo>
                  <a:cubicBezTo>
                    <a:pt x="12005" y="1843"/>
                    <a:pt x="12000" y="1841"/>
                    <a:pt x="11997" y="1841"/>
                  </a:cubicBezTo>
                  <a:cubicBezTo>
                    <a:pt x="11997" y="1838"/>
                    <a:pt x="11985" y="1834"/>
                    <a:pt x="11979" y="1825"/>
                  </a:cubicBezTo>
                  <a:cubicBezTo>
                    <a:pt x="11971" y="1818"/>
                    <a:pt x="11958" y="1802"/>
                    <a:pt x="11949" y="1790"/>
                  </a:cubicBezTo>
                  <a:cubicBezTo>
                    <a:pt x="11941" y="1777"/>
                    <a:pt x="11916" y="1749"/>
                    <a:pt x="11896" y="1726"/>
                  </a:cubicBezTo>
                  <a:cubicBezTo>
                    <a:pt x="11874" y="1703"/>
                    <a:pt x="11853" y="1678"/>
                    <a:pt x="11848" y="1670"/>
                  </a:cubicBezTo>
                  <a:cubicBezTo>
                    <a:pt x="11842" y="1663"/>
                    <a:pt x="11830" y="1645"/>
                    <a:pt x="11819" y="1634"/>
                  </a:cubicBezTo>
                  <a:cubicBezTo>
                    <a:pt x="11808" y="1622"/>
                    <a:pt x="11792" y="1602"/>
                    <a:pt x="11782" y="1591"/>
                  </a:cubicBezTo>
                  <a:cubicBezTo>
                    <a:pt x="11772" y="1579"/>
                    <a:pt x="11759" y="1567"/>
                    <a:pt x="11753" y="1561"/>
                  </a:cubicBezTo>
                  <a:cubicBezTo>
                    <a:pt x="11747" y="1556"/>
                    <a:pt x="11740" y="1551"/>
                    <a:pt x="11736" y="1550"/>
                  </a:cubicBezTo>
                  <a:cubicBezTo>
                    <a:pt x="11733" y="1549"/>
                    <a:pt x="11735" y="1556"/>
                    <a:pt x="11741" y="1565"/>
                  </a:cubicBezTo>
                  <a:cubicBezTo>
                    <a:pt x="11748" y="1574"/>
                    <a:pt x="11759" y="1587"/>
                    <a:pt x="11767" y="1594"/>
                  </a:cubicBezTo>
                  <a:cubicBezTo>
                    <a:pt x="11776" y="1602"/>
                    <a:pt x="11789" y="1615"/>
                    <a:pt x="11798" y="1624"/>
                  </a:cubicBezTo>
                  <a:cubicBezTo>
                    <a:pt x="11806" y="1634"/>
                    <a:pt x="11815" y="1643"/>
                    <a:pt x="11817" y="1648"/>
                  </a:cubicBezTo>
                  <a:cubicBezTo>
                    <a:pt x="11818" y="1652"/>
                    <a:pt x="11819" y="1654"/>
                    <a:pt x="11816" y="1653"/>
                  </a:cubicBezTo>
                  <a:cubicBezTo>
                    <a:pt x="11814" y="1653"/>
                    <a:pt x="11815" y="1658"/>
                    <a:pt x="11820" y="1664"/>
                  </a:cubicBezTo>
                  <a:cubicBezTo>
                    <a:pt x="11824" y="1671"/>
                    <a:pt x="11826" y="1675"/>
                    <a:pt x="11824" y="1674"/>
                  </a:cubicBezTo>
                  <a:cubicBezTo>
                    <a:pt x="11824" y="1671"/>
                    <a:pt x="11796" y="1646"/>
                    <a:pt x="11769" y="1614"/>
                  </a:cubicBezTo>
                  <a:cubicBezTo>
                    <a:pt x="11740" y="1582"/>
                    <a:pt x="11714" y="1550"/>
                    <a:pt x="11710" y="1544"/>
                  </a:cubicBezTo>
                  <a:cubicBezTo>
                    <a:pt x="11705" y="1538"/>
                    <a:pt x="11693" y="1521"/>
                    <a:pt x="11681" y="1507"/>
                  </a:cubicBezTo>
                  <a:cubicBezTo>
                    <a:pt x="11671" y="1492"/>
                    <a:pt x="11653" y="1474"/>
                    <a:pt x="11644" y="1467"/>
                  </a:cubicBezTo>
                  <a:cubicBezTo>
                    <a:pt x="11636" y="1457"/>
                    <a:pt x="11591" y="1411"/>
                    <a:pt x="11543" y="1364"/>
                  </a:cubicBezTo>
                  <a:cubicBezTo>
                    <a:pt x="11497" y="1315"/>
                    <a:pt x="11449" y="1267"/>
                    <a:pt x="11437" y="1257"/>
                  </a:cubicBezTo>
                  <a:cubicBezTo>
                    <a:pt x="11426" y="1246"/>
                    <a:pt x="11412" y="1235"/>
                    <a:pt x="11409" y="1228"/>
                  </a:cubicBezTo>
                  <a:cubicBezTo>
                    <a:pt x="11404" y="1225"/>
                    <a:pt x="11386" y="1208"/>
                    <a:pt x="11368" y="1193"/>
                  </a:cubicBezTo>
                  <a:cubicBezTo>
                    <a:pt x="11348" y="1179"/>
                    <a:pt x="11327" y="1159"/>
                    <a:pt x="11321" y="1149"/>
                  </a:cubicBezTo>
                  <a:cubicBezTo>
                    <a:pt x="11314" y="1142"/>
                    <a:pt x="11308" y="1131"/>
                    <a:pt x="11308" y="1129"/>
                  </a:cubicBezTo>
                  <a:cubicBezTo>
                    <a:pt x="11308" y="1127"/>
                    <a:pt x="11303" y="1120"/>
                    <a:pt x="11297" y="1112"/>
                  </a:cubicBezTo>
                  <a:cubicBezTo>
                    <a:pt x="11292" y="1105"/>
                    <a:pt x="11281" y="1095"/>
                    <a:pt x="11273" y="1089"/>
                  </a:cubicBezTo>
                  <a:cubicBezTo>
                    <a:pt x="11265" y="1084"/>
                    <a:pt x="11252" y="1075"/>
                    <a:pt x="11248" y="1067"/>
                  </a:cubicBezTo>
                  <a:cubicBezTo>
                    <a:pt x="11242" y="1061"/>
                    <a:pt x="11231" y="1049"/>
                    <a:pt x="11223" y="1045"/>
                  </a:cubicBezTo>
                  <a:cubicBezTo>
                    <a:pt x="11215" y="1039"/>
                    <a:pt x="11207" y="1036"/>
                    <a:pt x="11204" y="1037"/>
                  </a:cubicBezTo>
                  <a:cubicBezTo>
                    <a:pt x="11202" y="1039"/>
                    <a:pt x="11197" y="1035"/>
                    <a:pt x="11192" y="1030"/>
                  </a:cubicBezTo>
                  <a:cubicBezTo>
                    <a:pt x="11187" y="1026"/>
                    <a:pt x="11181" y="1022"/>
                    <a:pt x="11178" y="1024"/>
                  </a:cubicBezTo>
                  <a:cubicBezTo>
                    <a:pt x="11176" y="1026"/>
                    <a:pt x="11178" y="1029"/>
                    <a:pt x="11178" y="1037"/>
                  </a:cubicBezTo>
                  <a:cubicBezTo>
                    <a:pt x="11182" y="1043"/>
                    <a:pt x="11174" y="1040"/>
                    <a:pt x="11161" y="1030"/>
                  </a:cubicBezTo>
                  <a:cubicBezTo>
                    <a:pt x="11149" y="1019"/>
                    <a:pt x="11132" y="1006"/>
                    <a:pt x="11125" y="999"/>
                  </a:cubicBezTo>
                  <a:cubicBezTo>
                    <a:pt x="11117" y="993"/>
                    <a:pt x="11109" y="991"/>
                    <a:pt x="11106" y="992"/>
                  </a:cubicBezTo>
                  <a:cubicBezTo>
                    <a:pt x="11102" y="995"/>
                    <a:pt x="11089" y="991"/>
                    <a:pt x="11076" y="982"/>
                  </a:cubicBezTo>
                  <a:cubicBezTo>
                    <a:pt x="11063" y="974"/>
                    <a:pt x="11048" y="966"/>
                    <a:pt x="11044" y="962"/>
                  </a:cubicBezTo>
                  <a:cubicBezTo>
                    <a:pt x="11039" y="960"/>
                    <a:pt x="11031" y="950"/>
                    <a:pt x="11023" y="944"/>
                  </a:cubicBezTo>
                  <a:cubicBezTo>
                    <a:pt x="11017" y="937"/>
                    <a:pt x="11005" y="928"/>
                    <a:pt x="10999" y="922"/>
                  </a:cubicBezTo>
                  <a:cubicBezTo>
                    <a:pt x="10992" y="916"/>
                    <a:pt x="10985" y="913"/>
                    <a:pt x="10983" y="912"/>
                  </a:cubicBezTo>
                  <a:cubicBezTo>
                    <a:pt x="10982" y="913"/>
                    <a:pt x="10986" y="920"/>
                    <a:pt x="10993" y="930"/>
                  </a:cubicBezTo>
                  <a:cubicBezTo>
                    <a:pt x="11000" y="941"/>
                    <a:pt x="11014" y="956"/>
                    <a:pt x="11022" y="964"/>
                  </a:cubicBezTo>
                  <a:cubicBezTo>
                    <a:pt x="11032" y="972"/>
                    <a:pt x="11042" y="982"/>
                    <a:pt x="11047" y="985"/>
                  </a:cubicBezTo>
                  <a:cubicBezTo>
                    <a:pt x="11052" y="988"/>
                    <a:pt x="11066" y="1004"/>
                    <a:pt x="11079" y="1021"/>
                  </a:cubicBezTo>
                  <a:cubicBezTo>
                    <a:pt x="11093" y="1037"/>
                    <a:pt x="11114" y="1066"/>
                    <a:pt x="11127" y="1084"/>
                  </a:cubicBezTo>
                  <a:cubicBezTo>
                    <a:pt x="11139" y="1102"/>
                    <a:pt x="11151" y="1124"/>
                    <a:pt x="11155" y="1132"/>
                  </a:cubicBezTo>
                  <a:cubicBezTo>
                    <a:pt x="11155" y="1140"/>
                    <a:pt x="11148" y="1137"/>
                    <a:pt x="11134" y="1127"/>
                  </a:cubicBezTo>
                  <a:cubicBezTo>
                    <a:pt x="11121" y="1117"/>
                    <a:pt x="11107" y="1111"/>
                    <a:pt x="11103" y="1113"/>
                  </a:cubicBezTo>
                  <a:cubicBezTo>
                    <a:pt x="11099" y="1116"/>
                    <a:pt x="11084" y="1109"/>
                    <a:pt x="11068" y="1099"/>
                  </a:cubicBezTo>
                  <a:cubicBezTo>
                    <a:pt x="11053" y="1089"/>
                    <a:pt x="11035" y="1076"/>
                    <a:pt x="11027" y="1070"/>
                  </a:cubicBezTo>
                  <a:cubicBezTo>
                    <a:pt x="11020" y="1062"/>
                    <a:pt x="11016" y="1058"/>
                    <a:pt x="11020" y="1057"/>
                  </a:cubicBezTo>
                  <a:cubicBezTo>
                    <a:pt x="11024" y="1056"/>
                    <a:pt x="11031" y="1059"/>
                    <a:pt x="11037" y="1062"/>
                  </a:cubicBezTo>
                  <a:cubicBezTo>
                    <a:pt x="11042" y="1065"/>
                    <a:pt x="11042" y="1059"/>
                    <a:pt x="11036" y="1049"/>
                  </a:cubicBezTo>
                  <a:cubicBezTo>
                    <a:pt x="11029" y="1040"/>
                    <a:pt x="11004" y="1009"/>
                    <a:pt x="10981" y="980"/>
                  </a:cubicBezTo>
                  <a:cubicBezTo>
                    <a:pt x="10956" y="952"/>
                    <a:pt x="10935" y="922"/>
                    <a:pt x="10932" y="914"/>
                  </a:cubicBezTo>
                  <a:cubicBezTo>
                    <a:pt x="10930" y="905"/>
                    <a:pt x="10922" y="892"/>
                    <a:pt x="10917" y="883"/>
                  </a:cubicBezTo>
                  <a:cubicBezTo>
                    <a:pt x="10912" y="874"/>
                    <a:pt x="10906" y="865"/>
                    <a:pt x="10906" y="862"/>
                  </a:cubicBezTo>
                  <a:cubicBezTo>
                    <a:pt x="10906" y="859"/>
                    <a:pt x="10893" y="842"/>
                    <a:pt x="10878" y="823"/>
                  </a:cubicBezTo>
                  <a:cubicBezTo>
                    <a:pt x="10863" y="804"/>
                    <a:pt x="10845" y="782"/>
                    <a:pt x="10839" y="773"/>
                  </a:cubicBezTo>
                  <a:cubicBezTo>
                    <a:pt x="10832" y="764"/>
                    <a:pt x="10811" y="737"/>
                    <a:pt x="10789" y="716"/>
                  </a:cubicBezTo>
                  <a:cubicBezTo>
                    <a:pt x="10769" y="694"/>
                    <a:pt x="10747" y="675"/>
                    <a:pt x="10743" y="673"/>
                  </a:cubicBezTo>
                  <a:cubicBezTo>
                    <a:pt x="10738" y="672"/>
                    <a:pt x="10727" y="662"/>
                    <a:pt x="10717" y="653"/>
                  </a:cubicBezTo>
                  <a:cubicBezTo>
                    <a:pt x="10708" y="644"/>
                    <a:pt x="10697" y="633"/>
                    <a:pt x="10692" y="631"/>
                  </a:cubicBezTo>
                  <a:cubicBezTo>
                    <a:pt x="10688" y="626"/>
                    <a:pt x="10687" y="632"/>
                    <a:pt x="10692" y="640"/>
                  </a:cubicBezTo>
                  <a:cubicBezTo>
                    <a:pt x="10698" y="648"/>
                    <a:pt x="10692" y="648"/>
                    <a:pt x="10680" y="641"/>
                  </a:cubicBezTo>
                  <a:cubicBezTo>
                    <a:pt x="10670" y="631"/>
                    <a:pt x="10654" y="619"/>
                    <a:pt x="10646" y="612"/>
                  </a:cubicBezTo>
                  <a:cubicBezTo>
                    <a:pt x="10638" y="604"/>
                    <a:pt x="10627" y="596"/>
                    <a:pt x="10621" y="593"/>
                  </a:cubicBezTo>
                  <a:cubicBezTo>
                    <a:pt x="10615" y="591"/>
                    <a:pt x="10612" y="594"/>
                    <a:pt x="10610" y="600"/>
                  </a:cubicBezTo>
                  <a:cubicBezTo>
                    <a:pt x="10610" y="606"/>
                    <a:pt x="10602" y="605"/>
                    <a:pt x="10593" y="598"/>
                  </a:cubicBezTo>
                  <a:cubicBezTo>
                    <a:pt x="10584" y="590"/>
                    <a:pt x="10572" y="579"/>
                    <a:pt x="10567" y="572"/>
                  </a:cubicBezTo>
                  <a:cubicBezTo>
                    <a:pt x="10561" y="566"/>
                    <a:pt x="10558" y="555"/>
                    <a:pt x="10558" y="551"/>
                  </a:cubicBezTo>
                  <a:cubicBezTo>
                    <a:pt x="10558" y="547"/>
                    <a:pt x="10555" y="538"/>
                    <a:pt x="10550" y="531"/>
                  </a:cubicBezTo>
                  <a:cubicBezTo>
                    <a:pt x="10545" y="525"/>
                    <a:pt x="10535" y="513"/>
                    <a:pt x="10527" y="507"/>
                  </a:cubicBezTo>
                  <a:cubicBezTo>
                    <a:pt x="10518" y="501"/>
                    <a:pt x="10514" y="503"/>
                    <a:pt x="10511" y="513"/>
                  </a:cubicBezTo>
                  <a:cubicBezTo>
                    <a:pt x="10513" y="523"/>
                    <a:pt x="10497" y="525"/>
                    <a:pt x="10480" y="517"/>
                  </a:cubicBezTo>
                  <a:cubicBezTo>
                    <a:pt x="10463" y="508"/>
                    <a:pt x="10442" y="494"/>
                    <a:pt x="10432" y="487"/>
                  </a:cubicBezTo>
                  <a:cubicBezTo>
                    <a:pt x="10423" y="478"/>
                    <a:pt x="10415" y="467"/>
                    <a:pt x="10415" y="461"/>
                  </a:cubicBezTo>
                  <a:cubicBezTo>
                    <a:pt x="10415" y="454"/>
                    <a:pt x="10421" y="455"/>
                    <a:pt x="10431" y="460"/>
                  </a:cubicBezTo>
                  <a:cubicBezTo>
                    <a:pt x="10440" y="466"/>
                    <a:pt x="10446" y="464"/>
                    <a:pt x="10448" y="457"/>
                  </a:cubicBezTo>
                  <a:cubicBezTo>
                    <a:pt x="10446" y="450"/>
                    <a:pt x="10441" y="434"/>
                    <a:pt x="10430" y="423"/>
                  </a:cubicBezTo>
                  <a:cubicBezTo>
                    <a:pt x="10420" y="411"/>
                    <a:pt x="10414" y="397"/>
                    <a:pt x="10412" y="393"/>
                  </a:cubicBezTo>
                  <a:cubicBezTo>
                    <a:pt x="10410" y="389"/>
                    <a:pt x="10409" y="381"/>
                    <a:pt x="10406" y="378"/>
                  </a:cubicBezTo>
                  <a:cubicBezTo>
                    <a:pt x="10404" y="374"/>
                    <a:pt x="10407" y="370"/>
                    <a:pt x="10412" y="374"/>
                  </a:cubicBezTo>
                  <a:cubicBezTo>
                    <a:pt x="10418" y="375"/>
                    <a:pt x="10419" y="374"/>
                    <a:pt x="10416" y="369"/>
                  </a:cubicBezTo>
                  <a:cubicBezTo>
                    <a:pt x="10412" y="364"/>
                    <a:pt x="10396" y="347"/>
                    <a:pt x="10378" y="334"/>
                  </a:cubicBezTo>
                  <a:cubicBezTo>
                    <a:pt x="10361" y="318"/>
                    <a:pt x="10342" y="301"/>
                    <a:pt x="10335" y="295"/>
                  </a:cubicBezTo>
                  <a:cubicBezTo>
                    <a:pt x="10328" y="288"/>
                    <a:pt x="10314" y="272"/>
                    <a:pt x="10304" y="258"/>
                  </a:cubicBezTo>
                  <a:cubicBezTo>
                    <a:pt x="10294" y="244"/>
                    <a:pt x="10280" y="230"/>
                    <a:pt x="10276" y="224"/>
                  </a:cubicBezTo>
                  <a:cubicBezTo>
                    <a:pt x="10270" y="220"/>
                    <a:pt x="10261" y="215"/>
                    <a:pt x="10256" y="216"/>
                  </a:cubicBezTo>
                  <a:cubicBezTo>
                    <a:pt x="10250" y="218"/>
                    <a:pt x="10232" y="208"/>
                    <a:pt x="10218" y="195"/>
                  </a:cubicBezTo>
                  <a:cubicBezTo>
                    <a:pt x="10203" y="183"/>
                    <a:pt x="10180" y="159"/>
                    <a:pt x="10165" y="143"/>
                  </a:cubicBezTo>
                  <a:cubicBezTo>
                    <a:pt x="10151" y="126"/>
                    <a:pt x="10132" y="107"/>
                    <a:pt x="10124" y="101"/>
                  </a:cubicBezTo>
                  <a:cubicBezTo>
                    <a:pt x="10116" y="95"/>
                    <a:pt x="10106" y="92"/>
                    <a:pt x="10103" y="93"/>
                  </a:cubicBezTo>
                  <a:cubicBezTo>
                    <a:pt x="10099" y="95"/>
                    <a:pt x="10079" y="79"/>
                    <a:pt x="10059" y="57"/>
                  </a:cubicBezTo>
                  <a:cubicBezTo>
                    <a:pt x="10038" y="36"/>
                    <a:pt x="10015" y="13"/>
                    <a:pt x="10008" y="9"/>
                  </a:cubicBezTo>
                  <a:cubicBezTo>
                    <a:pt x="10001" y="3"/>
                    <a:pt x="9990" y="-1"/>
                    <a:pt x="9984" y="0"/>
                  </a:cubicBezTo>
                  <a:cubicBezTo>
                    <a:pt x="9977" y="0"/>
                    <a:pt x="9975" y="5"/>
                    <a:pt x="9977" y="12"/>
                  </a:cubicBezTo>
                  <a:cubicBezTo>
                    <a:pt x="9980" y="17"/>
                    <a:pt x="9976" y="20"/>
                    <a:pt x="9969" y="15"/>
                  </a:cubicBezTo>
                  <a:cubicBezTo>
                    <a:pt x="9962" y="10"/>
                    <a:pt x="9966" y="18"/>
                    <a:pt x="9979" y="32"/>
                  </a:cubicBezTo>
                  <a:cubicBezTo>
                    <a:pt x="9992" y="46"/>
                    <a:pt x="9998" y="57"/>
                    <a:pt x="9995" y="61"/>
                  </a:cubicBezTo>
                  <a:cubicBezTo>
                    <a:pt x="9992" y="62"/>
                    <a:pt x="9994" y="76"/>
                    <a:pt x="10004" y="88"/>
                  </a:cubicBezTo>
                  <a:cubicBezTo>
                    <a:pt x="10011" y="103"/>
                    <a:pt x="10026" y="125"/>
                    <a:pt x="10039" y="138"/>
                  </a:cubicBezTo>
                  <a:cubicBezTo>
                    <a:pt x="10050" y="153"/>
                    <a:pt x="10056" y="166"/>
                    <a:pt x="10054" y="170"/>
                  </a:cubicBezTo>
                  <a:cubicBezTo>
                    <a:pt x="10051" y="174"/>
                    <a:pt x="10071" y="211"/>
                    <a:pt x="10099" y="253"/>
                  </a:cubicBezTo>
                  <a:cubicBezTo>
                    <a:pt x="10126" y="296"/>
                    <a:pt x="10164" y="346"/>
                    <a:pt x="10183" y="365"/>
                  </a:cubicBezTo>
                  <a:cubicBezTo>
                    <a:pt x="10202" y="384"/>
                    <a:pt x="10224" y="409"/>
                    <a:pt x="10231" y="420"/>
                  </a:cubicBezTo>
                  <a:cubicBezTo>
                    <a:pt x="10239" y="431"/>
                    <a:pt x="10237" y="435"/>
                    <a:pt x="10227" y="428"/>
                  </a:cubicBezTo>
                  <a:cubicBezTo>
                    <a:pt x="10218" y="422"/>
                    <a:pt x="10219" y="426"/>
                    <a:pt x="10227" y="440"/>
                  </a:cubicBezTo>
                  <a:cubicBezTo>
                    <a:pt x="10236" y="452"/>
                    <a:pt x="10259" y="477"/>
                    <a:pt x="10275" y="496"/>
                  </a:cubicBezTo>
                  <a:cubicBezTo>
                    <a:pt x="10292" y="515"/>
                    <a:pt x="10314" y="534"/>
                    <a:pt x="10323" y="542"/>
                  </a:cubicBezTo>
                  <a:cubicBezTo>
                    <a:pt x="10333" y="547"/>
                    <a:pt x="10357" y="572"/>
                    <a:pt x="10378" y="594"/>
                  </a:cubicBezTo>
                  <a:cubicBezTo>
                    <a:pt x="10399" y="617"/>
                    <a:pt x="10428" y="646"/>
                    <a:pt x="10444" y="659"/>
                  </a:cubicBezTo>
                  <a:cubicBezTo>
                    <a:pt x="10459" y="672"/>
                    <a:pt x="10466" y="681"/>
                    <a:pt x="10457" y="680"/>
                  </a:cubicBezTo>
                  <a:cubicBezTo>
                    <a:pt x="10448" y="678"/>
                    <a:pt x="10451" y="689"/>
                    <a:pt x="10464" y="705"/>
                  </a:cubicBezTo>
                  <a:cubicBezTo>
                    <a:pt x="10476" y="720"/>
                    <a:pt x="10490" y="738"/>
                    <a:pt x="10494" y="746"/>
                  </a:cubicBezTo>
                  <a:cubicBezTo>
                    <a:pt x="10498" y="754"/>
                    <a:pt x="10519" y="771"/>
                    <a:pt x="10538" y="786"/>
                  </a:cubicBezTo>
                  <a:cubicBezTo>
                    <a:pt x="10557" y="800"/>
                    <a:pt x="10581" y="815"/>
                    <a:pt x="10590" y="820"/>
                  </a:cubicBezTo>
                  <a:cubicBezTo>
                    <a:pt x="10599" y="825"/>
                    <a:pt x="10622" y="843"/>
                    <a:pt x="10642" y="860"/>
                  </a:cubicBezTo>
                  <a:cubicBezTo>
                    <a:pt x="10662" y="878"/>
                    <a:pt x="10692" y="902"/>
                    <a:pt x="10708" y="916"/>
                  </a:cubicBezTo>
                  <a:cubicBezTo>
                    <a:pt x="10724" y="929"/>
                    <a:pt x="10744" y="945"/>
                    <a:pt x="10751" y="955"/>
                  </a:cubicBezTo>
                  <a:cubicBezTo>
                    <a:pt x="10759" y="964"/>
                    <a:pt x="10762" y="970"/>
                    <a:pt x="10757" y="970"/>
                  </a:cubicBezTo>
                  <a:cubicBezTo>
                    <a:pt x="10753" y="970"/>
                    <a:pt x="10741" y="964"/>
                    <a:pt x="10731" y="955"/>
                  </a:cubicBezTo>
                  <a:cubicBezTo>
                    <a:pt x="10721" y="947"/>
                    <a:pt x="10708" y="936"/>
                    <a:pt x="10701" y="932"/>
                  </a:cubicBezTo>
                  <a:cubicBezTo>
                    <a:pt x="10694" y="927"/>
                    <a:pt x="10675" y="913"/>
                    <a:pt x="10660" y="897"/>
                  </a:cubicBezTo>
                  <a:cubicBezTo>
                    <a:pt x="10644" y="882"/>
                    <a:pt x="10617" y="863"/>
                    <a:pt x="10600" y="857"/>
                  </a:cubicBezTo>
                  <a:cubicBezTo>
                    <a:pt x="10583" y="850"/>
                    <a:pt x="10562" y="836"/>
                    <a:pt x="10552" y="827"/>
                  </a:cubicBezTo>
                  <a:cubicBezTo>
                    <a:pt x="10541" y="818"/>
                    <a:pt x="10528" y="807"/>
                    <a:pt x="10521" y="804"/>
                  </a:cubicBezTo>
                  <a:cubicBezTo>
                    <a:pt x="10513" y="802"/>
                    <a:pt x="10498" y="790"/>
                    <a:pt x="10487" y="781"/>
                  </a:cubicBezTo>
                  <a:cubicBezTo>
                    <a:pt x="10476" y="771"/>
                    <a:pt x="10459" y="758"/>
                    <a:pt x="10449" y="752"/>
                  </a:cubicBezTo>
                  <a:cubicBezTo>
                    <a:pt x="10440" y="746"/>
                    <a:pt x="10430" y="742"/>
                    <a:pt x="10428" y="745"/>
                  </a:cubicBezTo>
                  <a:cubicBezTo>
                    <a:pt x="10426" y="747"/>
                    <a:pt x="10407" y="737"/>
                    <a:pt x="10386" y="722"/>
                  </a:cubicBezTo>
                  <a:cubicBezTo>
                    <a:pt x="10364" y="707"/>
                    <a:pt x="10343" y="695"/>
                    <a:pt x="10343" y="699"/>
                  </a:cubicBezTo>
                  <a:cubicBezTo>
                    <a:pt x="10340" y="701"/>
                    <a:pt x="10342" y="708"/>
                    <a:pt x="10346" y="713"/>
                  </a:cubicBezTo>
                  <a:cubicBezTo>
                    <a:pt x="10351" y="717"/>
                    <a:pt x="10365" y="730"/>
                    <a:pt x="10377" y="742"/>
                  </a:cubicBezTo>
                  <a:cubicBezTo>
                    <a:pt x="10390" y="752"/>
                    <a:pt x="10405" y="771"/>
                    <a:pt x="10413" y="780"/>
                  </a:cubicBezTo>
                  <a:cubicBezTo>
                    <a:pt x="10420" y="790"/>
                    <a:pt x="10436" y="803"/>
                    <a:pt x="10446" y="809"/>
                  </a:cubicBezTo>
                  <a:cubicBezTo>
                    <a:pt x="10457" y="815"/>
                    <a:pt x="10473" y="829"/>
                    <a:pt x="10482" y="837"/>
                  </a:cubicBezTo>
                  <a:cubicBezTo>
                    <a:pt x="10491" y="846"/>
                    <a:pt x="10504" y="853"/>
                    <a:pt x="10510" y="855"/>
                  </a:cubicBezTo>
                  <a:cubicBezTo>
                    <a:pt x="10517" y="855"/>
                    <a:pt x="10537" y="873"/>
                    <a:pt x="10555" y="893"/>
                  </a:cubicBezTo>
                  <a:cubicBezTo>
                    <a:pt x="10572" y="914"/>
                    <a:pt x="10603" y="942"/>
                    <a:pt x="10620" y="961"/>
                  </a:cubicBezTo>
                  <a:cubicBezTo>
                    <a:pt x="10638" y="978"/>
                    <a:pt x="10673" y="1016"/>
                    <a:pt x="10697" y="1045"/>
                  </a:cubicBezTo>
                  <a:cubicBezTo>
                    <a:pt x="10720" y="1075"/>
                    <a:pt x="10744" y="1109"/>
                    <a:pt x="10746" y="1123"/>
                  </a:cubicBezTo>
                  <a:cubicBezTo>
                    <a:pt x="10750" y="1137"/>
                    <a:pt x="10744" y="1145"/>
                    <a:pt x="10733" y="1143"/>
                  </a:cubicBezTo>
                  <a:cubicBezTo>
                    <a:pt x="10724" y="1139"/>
                    <a:pt x="10711" y="1122"/>
                    <a:pt x="10705" y="1105"/>
                  </a:cubicBezTo>
                  <a:cubicBezTo>
                    <a:pt x="10698" y="1088"/>
                    <a:pt x="10686" y="1065"/>
                    <a:pt x="10677" y="1055"/>
                  </a:cubicBezTo>
                  <a:cubicBezTo>
                    <a:pt x="10667" y="1044"/>
                    <a:pt x="10653" y="1023"/>
                    <a:pt x="10643" y="1010"/>
                  </a:cubicBezTo>
                  <a:cubicBezTo>
                    <a:pt x="10635" y="994"/>
                    <a:pt x="10613" y="973"/>
                    <a:pt x="10597" y="961"/>
                  </a:cubicBezTo>
                  <a:cubicBezTo>
                    <a:pt x="10580" y="948"/>
                    <a:pt x="10562" y="934"/>
                    <a:pt x="10557" y="928"/>
                  </a:cubicBezTo>
                  <a:cubicBezTo>
                    <a:pt x="10551" y="923"/>
                    <a:pt x="10544" y="912"/>
                    <a:pt x="10539" y="906"/>
                  </a:cubicBezTo>
                  <a:cubicBezTo>
                    <a:pt x="10535" y="899"/>
                    <a:pt x="10525" y="888"/>
                    <a:pt x="10518" y="882"/>
                  </a:cubicBezTo>
                  <a:cubicBezTo>
                    <a:pt x="10510" y="876"/>
                    <a:pt x="10500" y="870"/>
                    <a:pt x="10493" y="868"/>
                  </a:cubicBezTo>
                  <a:cubicBezTo>
                    <a:pt x="10487" y="868"/>
                    <a:pt x="10471" y="860"/>
                    <a:pt x="10459" y="851"/>
                  </a:cubicBezTo>
                  <a:cubicBezTo>
                    <a:pt x="10446" y="843"/>
                    <a:pt x="10432" y="837"/>
                    <a:pt x="10427" y="840"/>
                  </a:cubicBezTo>
                  <a:cubicBezTo>
                    <a:pt x="10422" y="843"/>
                    <a:pt x="10429" y="855"/>
                    <a:pt x="10442" y="866"/>
                  </a:cubicBezTo>
                  <a:cubicBezTo>
                    <a:pt x="10455" y="879"/>
                    <a:pt x="10462" y="888"/>
                    <a:pt x="10462" y="891"/>
                  </a:cubicBezTo>
                  <a:cubicBezTo>
                    <a:pt x="10460" y="892"/>
                    <a:pt x="10449" y="888"/>
                    <a:pt x="10437" y="879"/>
                  </a:cubicBezTo>
                  <a:cubicBezTo>
                    <a:pt x="10426" y="871"/>
                    <a:pt x="10426" y="875"/>
                    <a:pt x="10439" y="889"/>
                  </a:cubicBezTo>
                  <a:cubicBezTo>
                    <a:pt x="10451" y="902"/>
                    <a:pt x="10461" y="917"/>
                    <a:pt x="10464" y="922"/>
                  </a:cubicBezTo>
                  <a:cubicBezTo>
                    <a:pt x="10464" y="927"/>
                    <a:pt x="10460" y="930"/>
                    <a:pt x="10452" y="931"/>
                  </a:cubicBezTo>
                  <a:cubicBezTo>
                    <a:pt x="10443" y="932"/>
                    <a:pt x="10430" y="922"/>
                    <a:pt x="10421" y="910"/>
                  </a:cubicBezTo>
                  <a:cubicBezTo>
                    <a:pt x="10413" y="897"/>
                    <a:pt x="10402" y="884"/>
                    <a:pt x="10396" y="880"/>
                  </a:cubicBezTo>
                  <a:cubicBezTo>
                    <a:pt x="10391" y="876"/>
                    <a:pt x="10384" y="874"/>
                    <a:pt x="10380" y="874"/>
                  </a:cubicBezTo>
                  <a:cubicBezTo>
                    <a:pt x="10376" y="875"/>
                    <a:pt x="10380" y="887"/>
                    <a:pt x="10391" y="900"/>
                  </a:cubicBezTo>
                  <a:cubicBezTo>
                    <a:pt x="10401" y="914"/>
                    <a:pt x="10412" y="932"/>
                    <a:pt x="10416" y="940"/>
                  </a:cubicBezTo>
                  <a:cubicBezTo>
                    <a:pt x="10419" y="948"/>
                    <a:pt x="10413" y="952"/>
                    <a:pt x="10405" y="945"/>
                  </a:cubicBezTo>
                  <a:cubicBezTo>
                    <a:pt x="10397" y="937"/>
                    <a:pt x="10379" y="920"/>
                    <a:pt x="10368" y="902"/>
                  </a:cubicBezTo>
                  <a:cubicBezTo>
                    <a:pt x="10357" y="884"/>
                    <a:pt x="10336" y="858"/>
                    <a:pt x="10321" y="843"/>
                  </a:cubicBezTo>
                  <a:cubicBezTo>
                    <a:pt x="10307" y="828"/>
                    <a:pt x="10296" y="817"/>
                    <a:pt x="10296" y="819"/>
                  </a:cubicBezTo>
                  <a:cubicBezTo>
                    <a:pt x="10294" y="822"/>
                    <a:pt x="10304" y="833"/>
                    <a:pt x="10311" y="845"/>
                  </a:cubicBezTo>
                  <a:cubicBezTo>
                    <a:pt x="10319" y="856"/>
                    <a:pt x="10325" y="873"/>
                    <a:pt x="10325" y="882"/>
                  </a:cubicBezTo>
                  <a:cubicBezTo>
                    <a:pt x="10324" y="891"/>
                    <a:pt x="10329" y="908"/>
                    <a:pt x="10334" y="921"/>
                  </a:cubicBezTo>
                  <a:cubicBezTo>
                    <a:pt x="10337" y="933"/>
                    <a:pt x="10329" y="930"/>
                    <a:pt x="10314" y="914"/>
                  </a:cubicBezTo>
                  <a:cubicBezTo>
                    <a:pt x="10298" y="899"/>
                    <a:pt x="10281" y="882"/>
                    <a:pt x="10278" y="875"/>
                  </a:cubicBezTo>
                  <a:cubicBezTo>
                    <a:pt x="10273" y="870"/>
                    <a:pt x="10268" y="850"/>
                    <a:pt x="10265" y="833"/>
                  </a:cubicBezTo>
                  <a:cubicBezTo>
                    <a:pt x="10261" y="816"/>
                    <a:pt x="10251" y="793"/>
                    <a:pt x="10241" y="782"/>
                  </a:cubicBezTo>
                  <a:cubicBezTo>
                    <a:pt x="10232" y="771"/>
                    <a:pt x="10214" y="754"/>
                    <a:pt x="10201" y="744"/>
                  </a:cubicBezTo>
                  <a:cubicBezTo>
                    <a:pt x="10188" y="735"/>
                    <a:pt x="10159" y="719"/>
                    <a:pt x="10137" y="709"/>
                  </a:cubicBezTo>
                  <a:cubicBezTo>
                    <a:pt x="10114" y="701"/>
                    <a:pt x="10086" y="683"/>
                    <a:pt x="10073" y="673"/>
                  </a:cubicBezTo>
                  <a:cubicBezTo>
                    <a:pt x="10060" y="663"/>
                    <a:pt x="10043" y="654"/>
                    <a:pt x="10034" y="655"/>
                  </a:cubicBezTo>
                  <a:cubicBezTo>
                    <a:pt x="10025" y="655"/>
                    <a:pt x="10009" y="649"/>
                    <a:pt x="9998" y="641"/>
                  </a:cubicBezTo>
                  <a:cubicBezTo>
                    <a:pt x="9988" y="633"/>
                    <a:pt x="9968" y="618"/>
                    <a:pt x="9956" y="605"/>
                  </a:cubicBezTo>
                  <a:cubicBezTo>
                    <a:pt x="9943" y="593"/>
                    <a:pt x="9922" y="576"/>
                    <a:pt x="9909" y="569"/>
                  </a:cubicBezTo>
                  <a:cubicBezTo>
                    <a:pt x="9896" y="562"/>
                    <a:pt x="9901" y="571"/>
                    <a:pt x="9920" y="591"/>
                  </a:cubicBezTo>
                  <a:cubicBezTo>
                    <a:pt x="9939" y="609"/>
                    <a:pt x="9951" y="628"/>
                    <a:pt x="9947" y="630"/>
                  </a:cubicBezTo>
                  <a:cubicBezTo>
                    <a:pt x="9944" y="632"/>
                    <a:pt x="9937" y="630"/>
                    <a:pt x="9932" y="626"/>
                  </a:cubicBezTo>
                  <a:cubicBezTo>
                    <a:pt x="9927" y="622"/>
                    <a:pt x="9918" y="614"/>
                    <a:pt x="9915" y="607"/>
                  </a:cubicBezTo>
                  <a:cubicBezTo>
                    <a:pt x="9911" y="600"/>
                    <a:pt x="9902" y="592"/>
                    <a:pt x="9897" y="588"/>
                  </a:cubicBezTo>
                  <a:cubicBezTo>
                    <a:pt x="9892" y="584"/>
                    <a:pt x="9890" y="585"/>
                    <a:pt x="9890" y="592"/>
                  </a:cubicBezTo>
                  <a:cubicBezTo>
                    <a:pt x="9891" y="598"/>
                    <a:pt x="9888" y="603"/>
                    <a:pt x="9885" y="603"/>
                  </a:cubicBezTo>
                  <a:cubicBezTo>
                    <a:pt x="9881" y="603"/>
                    <a:pt x="9887" y="622"/>
                    <a:pt x="9901" y="644"/>
                  </a:cubicBezTo>
                  <a:cubicBezTo>
                    <a:pt x="9913" y="668"/>
                    <a:pt x="9933" y="694"/>
                    <a:pt x="9943" y="705"/>
                  </a:cubicBezTo>
                  <a:cubicBezTo>
                    <a:pt x="9954" y="715"/>
                    <a:pt x="9967" y="721"/>
                    <a:pt x="9972" y="717"/>
                  </a:cubicBezTo>
                  <a:cubicBezTo>
                    <a:pt x="9978" y="714"/>
                    <a:pt x="9990" y="718"/>
                    <a:pt x="9999" y="728"/>
                  </a:cubicBezTo>
                  <a:cubicBezTo>
                    <a:pt x="10009" y="738"/>
                    <a:pt x="10027" y="747"/>
                    <a:pt x="10039" y="749"/>
                  </a:cubicBezTo>
                  <a:cubicBezTo>
                    <a:pt x="10051" y="749"/>
                    <a:pt x="10067" y="755"/>
                    <a:pt x="10074" y="761"/>
                  </a:cubicBezTo>
                  <a:cubicBezTo>
                    <a:pt x="10081" y="768"/>
                    <a:pt x="10091" y="779"/>
                    <a:pt x="10094" y="788"/>
                  </a:cubicBezTo>
                  <a:cubicBezTo>
                    <a:pt x="10098" y="796"/>
                    <a:pt x="10082" y="797"/>
                    <a:pt x="10059" y="789"/>
                  </a:cubicBezTo>
                  <a:cubicBezTo>
                    <a:pt x="10036" y="781"/>
                    <a:pt x="10018" y="782"/>
                    <a:pt x="10018" y="789"/>
                  </a:cubicBezTo>
                  <a:cubicBezTo>
                    <a:pt x="10020" y="797"/>
                    <a:pt x="10013" y="803"/>
                    <a:pt x="10004" y="801"/>
                  </a:cubicBezTo>
                  <a:cubicBezTo>
                    <a:pt x="9995" y="801"/>
                    <a:pt x="9969" y="791"/>
                    <a:pt x="9948" y="778"/>
                  </a:cubicBezTo>
                  <a:cubicBezTo>
                    <a:pt x="9925" y="767"/>
                    <a:pt x="9911" y="761"/>
                    <a:pt x="9913" y="769"/>
                  </a:cubicBezTo>
                  <a:cubicBezTo>
                    <a:pt x="9918" y="776"/>
                    <a:pt x="9925" y="790"/>
                    <a:pt x="9933" y="799"/>
                  </a:cubicBezTo>
                  <a:cubicBezTo>
                    <a:pt x="9941" y="808"/>
                    <a:pt x="9934" y="810"/>
                    <a:pt x="9917" y="801"/>
                  </a:cubicBezTo>
                  <a:cubicBezTo>
                    <a:pt x="9900" y="794"/>
                    <a:pt x="9877" y="778"/>
                    <a:pt x="9864" y="768"/>
                  </a:cubicBezTo>
                  <a:cubicBezTo>
                    <a:pt x="9852" y="757"/>
                    <a:pt x="9837" y="747"/>
                    <a:pt x="9832" y="744"/>
                  </a:cubicBezTo>
                  <a:cubicBezTo>
                    <a:pt x="9827" y="742"/>
                    <a:pt x="9824" y="746"/>
                    <a:pt x="9827" y="754"/>
                  </a:cubicBezTo>
                  <a:cubicBezTo>
                    <a:pt x="9830" y="761"/>
                    <a:pt x="9828" y="766"/>
                    <a:pt x="9823" y="766"/>
                  </a:cubicBezTo>
                  <a:cubicBezTo>
                    <a:pt x="9819" y="765"/>
                    <a:pt x="9805" y="759"/>
                    <a:pt x="9793" y="755"/>
                  </a:cubicBezTo>
                  <a:cubicBezTo>
                    <a:pt x="9781" y="750"/>
                    <a:pt x="9771" y="750"/>
                    <a:pt x="9770" y="753"/>
                  </a:cubicBezTo>
                  <a:cubicBezTo>
                    <a:pt x="9770" y="757"/>
                    <a:pt x="9778" y="771"/>
                    <a:pt x="9790" y="784"/>
                  </a:cubicBezTo>
                  <a:cubicBezTo>
                    <a:pt x="9802" y="798"/>
                    <a:pt x="9808" y="808"/>
                    <a:pt x="9804" y="805"/>
                  </a:cubicBezTo>
                  <a:cubicBezTo>
                    <a:pt x="9799" y="803"/>
                    <a:pt x="9798" y="806"/>
                    <a:pt x="9800" y="814"/>
                  </a:cubicBezTo>
                  <a:cubicBezTo>
                    <a:pt x="9803" y="821"/>
                    <a:pt x="9800" y="828"/>
                    <a:pt x="9795" y="826"/>
                  </a:cubicBezTo>
                  <a:cubicBezTo>
                    <a:pt x="9791" y="826"/>
                    <a:pt x="9780" y="816"/>
                    <a:pt x="9770" y="806"/>
                  </a:cubicBezTo>
                  <a:cubicBezTo>
                    <a:pt x="9761" y="796"/>
                    <a:pt x="9750" y="785"/>
                    <a:pt x="9746" y="782"/>
                  </a:cubicBezTo>
                  <a:cubicBezTo>
                    <a:pt x="9742" y="779"/>
                    <a:pt x="9735" y="783"/>
                    <a:pt x="9733" y="792"/>
                  </a:cubicBezTo>
                  <a:cubicBezTo>
                    <a:pt x="9731" y="799"/>
                    <a:pt x="9733" y="811"/>
                    <a:pt x="9737" y="818"/>
                  </a:cubicBezTo>
                  <a:cubicBezTo>
                    <a:pt x="9741" y="826"/>
                    <a:pt x="9745" y="832"/>
                    <a:pt x="9743" y="833"/>
                  </a:cubicBezTo>
                  <a:cubicBezTo>
                    <a:pt x="9741" y="834"/>
                    <a:pt x="9745" y="844"/>
                    <a:pt x="9750" y="855"/>
                  </a:cubicBezTo>
                  <a:cubicBezTo>
                    <a:pt x="9757" y="864"/>
                    <a:pt x="9757" y="878"/>
                    <a:pt x="9752" y="883"/>
                  </a:cubicBezTo>
                  <a:cubicBezTo>
                    <a:pt x="9747" y="887"/>
                    <a:pt x="9750" y="902"/>
                    <a:pt x="9757" y="913"/>
                  </a:cubicBezTo>
                  <a:cubicBezTo>
                    <a:pt x="9764" y="924"/>
                    <a:pt x="9760" y="930"/>
                    <a:pt x="9748" y="925"/>
                  </a:cubicBezTo>
                  <a:cubicBezTo>
                    <a:pt x="9737" y="921"/>
                    <a:pt x="9711" y="909"/>
                    <a:pt x="9692" y="898"/>
                  </a:cubicBezTo>
                  <a:cubicBezTo>
                    <a:pt x="9673" y="886"/>
                    <a:pt x="9652" y="880"/>
                    <a:pt x="9646" y="882"/>
                  </a:cubicBezTo>
                  <a:cubicBezTo>
                    <a:pt x="9640" y="885"/>
                    <a:pt x="9639" y="894"/>
                    <a:pt x="9645" y="905"/>
                  </a:cubicBezTo>
                  <a:cubicBezTo>
                    <a:pt x="9651" y="915"/>
                    <a:pt x="9662" y="930"/>
                    <a:pt x="9671" y="935"/>
                  </a:cubicBezTo>
                  <a:cubicBezTo>
                    <a:pt x="9680" y="940"/>
                    <a:pt x="9688" y="942"/>
                    <a:pt x="9690" y="938"/>
                  </a:cubicBezTo>
                  <a:cubicBezTo>
                    <a:pt x="9692" y="934"/>
                    <a:pt x="9718" y="949"/>
                    <a:pt x="9748" y="972"/>
                  </a:cubicBezTo>
                  <a:cubicBezTo>
                    <a:pt x="9779" y="994"/>
                    <a:pt x="9802" y="1017"/>
                    <a:pt x="9801" y="1021"/>
                  </a:cubicBezTo>
                  <a:cubicBezTo>
                    <a:pt x="9799" y="1026"/>
                    <a:pt x="9788" y="1022"/>
                    <a:pt x="9774" y="1013"/>
                  </a:cubicBezTo>
                  <a:cubicBezTo>
                    <a:pt x="9762" y="1003"/>
                    <a:pt x="9750" y="999"/>
                    <a:pt x="9750" y="1001"/>
                  </a:cubicBezTo>
                  <a:cubicBezTo>
                    <a:pt x="9749" y="1003"/>
                    <a:pt x="9760" y="1016"/>
                    <a:pt x="9772" y="1028"/>
                  </a:cubicBezTo>
                  <a:cubicBezTo>
                    <a:pt x="9784" y="1040"/>
                    <a:pt x="9802" y="1067"/>
                    <a:pt x="9812" y="1089"/>
                  </a:cubicBezTo>
                  <a:cubicBezTo>
                    <a:pt x="9822" y="1110"/>
                    <a:pt x="9825" y="1128"/>
                    <a:pt x="9818" y="1129"/>
                  </a:cubicBezTo>
                  <a:cubicBezTo>
                    <a:pt x="9811" y="1130"/>
                    <a:pt x="9811" y="1139"/>
                    <a:pt x="9818" y="1148"/>
                  </a:cubicBezTo>
                  <a:cubicBezTo>
                    <a:pt x="9823" y="1158"/>
                    <a:pt x="9833" y="1173"/>
                    <a:pt x="9836" y="1183"/>
                  </a:cubicBezTo>
                  <a:cubicBezTo>
                    <a:pt x="9842" y="1192"/>
                    <a:pt x="9826" y="1179"/>
                    <a:pt x="9804" y="1155"/>
                  </a:cubicBezTo>
                  <a:cubicBezTo>
                    <a:pt x="9782" y="1129"/>
                    <a:pt x="9756" y="1105"/>
                    <a:pt x="9747" y="1103"/>
                  </a:cubicBezTo>
                  <a:cubicBezTo>
                    <a:pt x="9738" y="1099"/>
                    <a:pt x="9714" y="1077"/>
                    <a:pt x="9693" y="1053"/>
                  </a:cubicBezTo>
                  <a:cubicBezTo>
                    <a:pt x="9672" y="1029"/>
                    <a:pt x="9646" y="1004"/>
                    <a:pt x="9637" y="997"/>
                  </a:cubicBezTo>
                  <a:cubicBezTo>
                    <a:pt x="9628" y="991"/>
                    <a:pt x="9621" y="987"/>
                    <a:pt x="9620" y="990"/>
                  </a:cubicBezTo>
                  <a:cubicBezTo>
                    <a:pt x="9618" y="992"/>
                    <a:pt x="9628" y="1004"/>
                    <a:pt x="9639" y="1015"/>
                  </a:cubicBezTo>
                  <a:cubicBezTo>
                    <a:pt x="9650" y="1027"/>
                    <a:pt x="9663" y="1046"/>
                    <a:pt x="9671" y="1055"/>
                  </a:cubicBezTo>
                  <a:cubicBezTo>
                    <a:pt x="9676" y="1067"/>
                    <a:pt x="9680" y="1078"/>
                    <a:pt x="9677" y="1081"/>
                  </a:cubicBezTo>
                  <a:cubicBezTo>
                    <a:pt x="9674" y="1085"/>
                    <a:pt x="9683" y="1101"/>
                    <a:pt x="9697" y="1117"/>
                  </a:cubicBezTo>
                  <a:cubicBezTo>
                    <a:pt x="9711" y="1133"/>
                    <a:pt x="9729" y="1148"/>
                    <a:pt x="9737" y="1149"/>
                  </a:cubicBezTo>
                  <a:cubicBezTo>
                    <a:pt x="9746" y="1151"/>
                    <a:pt x="9771" y="1166"/>
                    <a:pt x="9792" y="1182"/>
                  </a:cubicBezTo>
                  <a:cubicBezTo>
                    <a:pt x="9814" y="1199"/>
                    <a:pt x="9842" y="1221"/>
                    <a:pt x="9857" y="1230"/>
                  </a:cubicBezTo>
                  <a:cubicBezTo>
                    <a:pt x="9871" y="1241"/>
                    <a:pt x="9889" y="1257"/>
                    <a:pt x="9897" y="1270"/>
                  </a:cubicBezTo>
                  <a:cubicBezTo>
                    <a:pt x="9905" y="1282"/>
                    <a:pt x="9924" y="1305"/>
                    <a:pt x="9940" y="1320"/>
                  </a:cubicBezTo>
                  <a:cubicBezTo>
                    <a:pt x="9956" y="1336"/>
                    <a:pt x="9976" y="1351"/>
                    <a:pt x="9986" y="1355"/>
                  </a:cubicBezTo>
                  <a:cubicBezTo>
                    <a:pt x="9995" y="1358"/>
                    <a:pt x="10006" y="1362"/>
                    <a:pt x="10011" y="1363"/>
                  </a:cubicBezTo>
                  <a:cubicBezTo>
                    <a:pt x="10015" y="1364"/>
                    <a:pt x="10026" y="1371"/>
                    <a:pt x="10033" y="1381"/>
                  </a:cubicBezTo>
                  <a:cubicBezTo>
                    <a:pt x="10041" y="1392"/>
                    <a:pt x="10041" y="1398"/>
                    <a:pt x="10032" y="1397"/>
                  </a:cubicBezTo>
                  <a:cubicBezTo>
                    <a:pt x="10024" y="1396"/>
                    <a:pt x="10005" y="1389"/>
                    <a:pt x="9992" y="1381"/>
                  </a:cubicBezTo>
                  <a:cubicBezTo>
                    <a:pt x="9978" y="1372"/>
                    <a:pt x="9953" y="1353"/>
                    <a:pt x="9937" y="1336"/>
                  </a:cubicBezTo>
                  <a:cubicBezTo>
                    <a:pt x="9921" y="1319"/>
                    <a:pt x="9904" y="1305"/>
                    <a:pt x="9899" y="1305"/>
                  </a:cubicBezTo>
                  <a:cubicBezTo>
                    <a:pt x="9895" y="1305"/>
                    <a:pt x="9894" y="1310"/>
                    <a:pt x="9896" y="1319"/>
                  </a:cubicBezTo>
                  <a:cubicBezTo>
                    <a:pt x="9899" y="1327"/>
                    <a:pt x="9898" y="1334"/>
                    <a:pt x="9895" y="1334"/>
                  </a:cubicBezTo>
                  <a:cubicBezTo>
                    <a:pt x="9891" y="1334"/>
                    <a:pt x="9907" y="1354"/>
                    <a:pt x="9928" y="1380"/>
                  </a:cubicBezTo>
                  <a:cubicBezTo>
                    <a:pt x="9951" y="1403"/>
                    <a:pt x="9974" y="1426"/>
                    <a:pt x="9981" y="1427"/>
                  </a:cubicBezTo>
                  <a:cubicBezTo>
                    <a:pt x="9988" y="1429"/>
                    <a:pt x="10010" y="1437"/>
                    <a:pt x="10028" y="1449"/>
                  </a:cubicBezTo>
                  <a:cubicBezTo>
                    <a:pt x="10047" y="1459"/>
                    <a:pt x="10074" y="1484"/>
                    <a:pt x="10087" y="1504"/>
                  </a:cubicBezTo>
                  <a:cubicBezTo>
                    <a:pt x="10101" y="1523"/>
                    <a:pt x="10120" y="1548"/>
                    <a:pt x="10130" y="1557"/>
                  </a:cubicBezTo>
                  <a:cubicBezTo>
                    <a:pt x="10140" y="1567"/>
                    <a:pt x="10149" y="1571"/>
                    <a:pt x="10152" y="1568"/>
                  </a:cubicBezTo>
                  <a:cubicBezTo>
                    <a:pt x="10154" y="1565"/>
                    <a:pt x="10171" y="1570"/>
                    <a:pt x="10189" y="1583"/>
                  </a:cubicBezTo>
                  <a:cubicBezTo>
                    <a:pt x="10208" y="1594"/>
                    <a:pt x="10224" y="1611"/>
                    <a:pt x="10225" y="1619"/>
                  </a:cubicBezTo>
                  <a:cubicBezTo>
                    <a:pt x="10229" y="1626"/>
                    <a:pt x="10247" y="1651"/>
                    <a:pt x="10269" y="1673"/>
                  </a:cubicBezTo>
                  <a:cubicBezTo>
                    <a:pt x="10291" y="1695"/>
                    <a:pt x="10321" y="1719"/>
                    <a:pt x="10334" y="1728"/>
                  </a:cubicBezTo>
                  <a:cubicBezTo>
                    <a:pt x="10349" y="1734"/>
                    <a:pt x="10373" y="1761"/>
                    <a:pt x="10390" y="1783"/>
                  </a:cubicBezTo>
                  <a:cubicBezTo>
                    <a:pt x="10407" y="1804"/>
                    <a:pt x="10422" y="1836"/>
                    <a:pt x="10425" y="1853"/>
                  </a:cubicBezTo>
                  <a:cubicBezTo>
                    <a:pt x="10429" y="1869"/>
                    <a:pt x="10417" y="1883"/>
                    <a:pt x="10402" y="1883"/>
                  </a:cubicBezTo>
                  <a:cubicBezTo>
                    <a:pt x="10386" y="1885"/>
                    <a:pt x="10370" y="1890"/>
                    <a:pt x="10369" y="1898"/>
                  </a:cubicBezTo>
                  <a:cubicBezTo>
                    <a:pt x="10367" y="1906"/>
                    <a:pt x="10367" y="1919"/>
                    <a:pt x="10372" y="1927"/>
                  </a:cubicBezTo>
                  <a:cubicBezTo>
                    <a:pt x="10376" y="1936"/>
                    <a:pt x="10405" y="1971"/>
                    <a:pt x="10435" y="2003"/>
                  </a:cubicBezTo>
                  <a:cubicBezTo>
                    <a:pt x="10465" y="2036"/>
                    <a:pt x="10504" y="2073"/>
                    <a:pt x="10519" y="2088"/>
                  </a:cubicBezTo>
                  <a:cubicBezTo>
                    <a:pt x="10534" y="2101"/>
                    <a:pt x="10529" y="2103"/>
                    <a:pt x="10509" y="2090"/>
                  </a:cubicBezTo>
                  <a:cubicBezTo>
                    <a:pt x="10487" y="2078"/>
                    <a:pt x="10444" y="2038"/>
                    <a:pt x="10409" y="2004"/>
                  </a:cubicBezTo>
                  <a:cubicBezTo>
                    <a:pt x="10376" y="1969"/>
                    <a:pt x="10340" y="1931"/>
                    <a:pt x="10335" y="1917"/>
                  </a:cubicBezTo>
                  <a:cubicBezTo>
                    <a:pt x="10328" y="1904"/>
                    <a:pt x="10322" y="1878"/>
                    <a:pt x="10320" y="1860"/>
                  </a:cubicBezTo>
                  <a:cubicBezTo>
                    <a:pt x="10320" y="1842"/>
                    <a:pt x="10322" y="1826"/>
                    <a:pt x="10328" y="1826"/>
                  </a:cubicBezTo>
                  <a:cubicBezTo>
                    <a:pt x="10333" y="1824"/>
                    <a:pt x="10332" y="1816"/>
                    <a:pt x="10327" y="1806"/>
                  </a:cubicBezTo>
                  <a:cubicBezTo>
                    <a:pt x="10320" y="1797"/>
                    <a:pt x="10318" y="1781"/>
                    <a:pt x="10317" y="1773"/>
                  </a:cubicBezTo>
                  <a:cubicBezTo>
                    <a:pt x="10317" y="1764"/>
                    <a:pt x="10310" y="1752"/>
                    <a:pt x="10305" y="1744"/>
                  </a:cubicBezTo>
                  <a:cubicBezTo>
                    <a:pt x="10298" y="1738"/>
                    <a:pt x="10268" y="1725"/>
                    <a:pt x="10237" y="1718"/>
                  </a:cubicBezTo>
                  <a:cubicBezTo>
                    <a:pt x="10206" y="1711"/>
                    <a:pt x="10167" y="1702"/>
                    <a:pt x="10149" y="1698"/>
                  </a:cubicBezTo>
                  <a:cubicBezTo>
                    <a:pt x="10132" y="1693"/>
                    <a:pt x="10120" y="1698"/>
                    <a:pt x="10120" y="1709"/>
                  </a:cubicBezTo>
                  <a:cubicBezTo>
                    <a:pt x="10122" y="1720"/>
                    <a:pt x="10113" y="1727"/>
                    <a:pt x="10102" y="1724"/>
                  </a:cubicBezTo>
                  <a:cubicBezTo>
                    <a:pt x="10091" y="1722"/>
                    <a:pt x="10070" y="1710"/>
                    <a:pt x="10056" y="1699"/>
                  </a:cubicBezTo>
                  <a:cubicBezTo>
                    <a:pt x="10042" y="1688"/>
                    <a:pt x="10021" y="1674"/>
                    <a:pt x="10008" y="1669"/>
                  </a:cubicBezTo>
                  <a:cubicBezTo>
                    <a:pt x="9996" y="1663"/>
                    <a:pt x="9977" y="1663"/>
                    <a:pt x="9968" y="1669"/>
                  </a:cubicBezTo>
                  <a:cubicBezTo>
                    <a:pt x="9958" y="1674"/>
                    <a:pt x="9920" y="1670"/>
                    <a:pt x="9883" y="1661"/>
                  </a:cubicBezTo>
                  <a:cubicBezTo>
                    <a:pt x="9845" y="1653"/>
                    <a:pt x="9791" y="1636"/>
                    <a:pt x="9762" y="1624"/>
                  </a:cubicBezTo>
                  <a:cubicBezTo>
                    <a:pt x="9732" y="1614"/>
                    <a:pt x="9696" y="1597"/>
                    <a:pt x="9682" y="1588"/>
                  </a:cubicBezTo>
                  <a:cubicBezTo>
                    <a:pt x="9667" y="1580"/>
                    <a:pt x="9649" y="1579"/>
                    <a:pt x="9641" y="1585"/>
                  </a:cubicBezTo>
                  <a:cubicBezTo>
                    <a:pt x="9632" y="1591"/>
                    <a:pt x="9612" y="1591"/>
                    <a:pt x="9596" y="1581"/>
                  </a:cubicBezTo>
                  <a:cubicBezTo>
                    <a:pt x="9578" y="1573"/>
                    <a:pt x="9560" y="1566"/>
                    <a:pt x="9554" y="1569"/>
                  </a:cubicBezTo>
                  <a:cubicBezTo>
                    <a:pt x="9548" y="1571"/>
                    <a:pt x="9560" y="1588"/>
                    <a:pt x="9580" y="1608"/>
                  </a:cubicBezTo>
                  <a:cubicBezTo>
                    <a:pt x="9600" y="1626"/>
                    <a:pt x="9619" y="1654"/>
                    <a:pt x="9626" y="1667"/>
                  </a:cubicBezTo>
                  <a:cubicBezTo>
                    <a:pt x="9632" y="1680"/>
                    <a:pt x="9639" y="1700"/>
                    <a:pt x="9641" y="1710"/>
                  </a:cubicBezTo>
                  <a:cubicBezTo>
                    <a:pt x="9644" y="1720"/>
                    <a:pt x="9654" y="1739"/>
                    <a:pt x="9665" y="1751"/>
                  </a:cubicBezTo>
                  <a:cubicBezTo>
                    <a:pt x="9676" y="1763"/>
                    <a:pt x="9693" y="1778"/>
                    <a:pt x="9703" y="1784"/>
                  </a:cubicBezTo>
                  <a:cubicBezTo>
                    <a:pt x="9713" y="1790"/>
                    <a:pt x="9726" y="1803"/>
                    <a:pt x="9733" y="1811"/>
                  </a:cubicBezTo>
                  <a:cubicBezTo>
                    <a:pt x="9739" y="1820"/>
                    <a:pt x="9744" y="1833"/>
                    <a:pt x="9744" y="1840"/>
                  </a:cubicBezTo>
                  <a:cubicBezTo>
                    <a:pt x="9744" y="1847"/>
                    <a:pt x="9766" y="1874"/>
                    <a:pt x="9794" y="1899"/>
                  </a:cubicBezTo>
                  <a:cubicBezTo>
                    <a:pt x="9822" y="1924"/>
                    <a:pt x="9868" y="1975"/>
                    <a:pt x="9897" y="2012"/>
                  </a:cubicBezTo>
                  <a:cubicBezTo>
                    <a:pt x="9927" y="2049"/>
                    <a:pt x="9957" y="2098"/>
                    <a:pt x="9966" y="2120"/>
                  </a:cubicBezTo>
                  <a:cubicBezTo>
                    <a:pt x="9974" y="2142"/>
                    <a:pt x="9990" y="2171"/>
                    <a:pt x="10000" y="2184"/>
                  </a:cubicBezTo>
                  <a:cubicBezTo>
                    <a:pt x="10010" y="2197"/>
                    <a:pt x="10023" y="2210"/>
                    <a:pt x="10028" y="2214"/>
                  </a:cubicBezTo>
                  <a:cubicBezTo>
                    <a:pt x="10034" y="2215"/>
                    <a:pt x="10046" y="2235"/>
                    <a:pt x="10057" y="2253"/>
                  </a:cubicBezTo>
                  <a:cubicBezTo>
                    <a:pt x="10066" y="2273"/>
                    <a:pt x="10094" y="2305"/>
                    <a:pt x="10117" y="2327"/>
                  </a:cubicBezTo>
                  <a:cubicBezTo>
                    <a:pt x="10140" y="2349"/>
                    <a:pt x="10170" y="2371"/>
                    <a:pt x="10183" y="2379"/>
                  </a:cubicBezTo>
                  <a:cubicBezTo>
                    <a:pt x="10196" y="2385"/>
                    <a:pt x="10242" y="2411"/>
                    <a:pt x="10284" y="2436"/>
                  </a:cubicBezTo>
                  <a:cubicBezTo>
                    <a:pt x="10327" y="2461"/>
                    <a:pt x="10369" y="2480"/>
                    <a:pt x="10379" y="2480"/>
                  </a:cubicBezTo>
                  <a:cubicBezTo>
                    <a:pt x="10389" y="2477"/>
                    <a:pt x="10400" y="2486"/>
                    <a:pt x="10405" y="2495"/>
                  </a:cubicBezTo>
                  <a:cubicBezTo>
                    <a:pt x="10408" y="2505"/>
                    <a:pt x="10423" y="2523"/>
                    <a:pt x="10432" y="2538"/>
                  </a:cubicBezTo>
                  <a:cubicBezTo>
                    <a:pt x="10443" y="2550"/>
                    <a:pt x="10455" y="2577"/>
                    <a:pt x="10463" y="2592"/>
                  </a:cubicBezTo>
                  <a:cubicBezTo>
                    <a:pt x="10472" y="2608"/>
                    <a:pt x="10494" y="2640"/>
                    <a:pt x="10517" y="2659"/>
                  </a:cubicBezTo>
                  <a:cubicBezTo>
                    <a:pt x="10539" y="2680"/>
                    <a:pt x="10573" y="2716"/>
                    <a:pt x="10590" y="2740"/>
                  </a:cubicBezTo>
                  <a:cubicBezTo>
                    <a:pt x="10608" y="2763"/>
                    <a:pt x="10647" y="2798"/>
                    <a:pt x="10679" y="2817"/>
                  </a:cubicBezTo>
                  <a:cubicBezTo>
                    <a:pt x="10710" y="2835"/>
                    <a:pt x="10757" y="2873"/>
                    <a:pt x="10784" y="2899"/>
                  </a:cubicBezTo>
                  <a:cubicBezTo>
                    <a:pt x="10811" y="2926"/>
                    <a:pt x="10839" y="2952"/>
                    <a:pt x="10848" y="2957"/>
                  </a:cubicBezTo>
                  <a:cubicBezTo>
                    <a:pt x="10856" y="2961"/>
                    <a:pt x="10878" y="2983"/>
                    <a:pt x="10896" y="3006"/>
                  </a:cubicBezTo>
                  <a:cubicBezTo>
                    <a:pt x="10916" y="3028"/>
                    <a:pt x="10945" y="3077"/>
                    <a:pt x="10964" y="3112"/>
                  </a:cubicBezTo>
                  <a:cubicBezTo>
                    <a:pt x="10981" y="3148"/>
                    <a:pt x="11005" y="3191"/>
                    <a:pt x="11015" y="3207"/>
                  </a:cubicBezTo>
                  <a:cubicBezTo>
                    <a:pt x="11025" y="3223"/>
                    <a:pt x="11037" y="3248"/>
                    <a:pt x="11040" y="3261"/>
                  </a:cubicBezTo>
                  <a:cubicBezTo>
                    <a:pt x="11044" y="3275"/>
                    <a:pt x="11065" y="3307"/>
                    <a:pt x="11085" y="3333"/>
                  </a:cubicBezTo>
                  <a:cubicBezTo>
                    <a:pt x="11105" y="3359"/>
                    <a:pt x="11135" y="3393"/>
                    <a:pt x="11150" y="3408"/>
                  </a:cubicBezTo>
                  <a:cubicBezTo>
                    <a:pt x="11166" y="3424"/>
                    <a:pt x="11205" y="3470"/>
                    <a:pt x="11236" y="3513"/>
                  </a:cubicBezTo>
                  <a:cubicBezTo>
                    <a:pt x="11267" y="3555"/>
                    <a:pt x="11310" y="3617"/>
                    <a:pt x="11330" y="3651"/>
                  </a:cubicBezTo>
                  <a:cubicBezTo>
                    <a:pt x="11349" y="3686"/>
                    <a:pt x="11385" y="3735"/>
                    <a:pt x="11408" y="3761"/>
                  </a:cubicBezTo>
                  <a:cubicBezTo>
                    <a:pt x="11430" y="3787"/>
                    <a:pt x="11459" y="3820"/>
                    <a:pt x="11467" y="3837"/>
                  </a:cubicBezTo>
                  <a:cubicBezTo>
                    <a:pt x="11478" y="3853"/>
                    <a:pt x="11486" y="3885"/>
                    <a:pt x="11486" y="3908"/>
                  </a:cubicBezTo>
                  <a:cubicBezTo>
                    <a:pt x="11484" y="3930"/>
                    <a:pt x="11480" y="3946"/>
                    <a:pt x="11474" y="3944"/>
                  </a:cubicBezTo>
                  <a:cubicBezTo>
                    <a:pt x="11468" y="3942"/>
                    <a:pt x="11453" y="3932"/>
                    <a:pt x="11443" y="3922"/>
                  </a:cubicBezTo>
                  <a:cubicBezTo>
                    <a:pt x="11433" y="3911"/>
                    <a:pt x="11439" y="3926"/>
                    <a:pt x="11458" y="3953"/>
                  </a:cubicBezTo>
                  <a:cubicBezTo>
                    <a:pt x="11478" y="3979"/>
                    <a:pt x="11510" y="4013"/>
                    <a:pt x="11531" y="4026"/>
                  </a:cubicBezTo>
                  <a:cubicBezTo>
                    <a:pt x="11551" y="4040"/>
                    <a:pt x="11580" y="4066"/>
                    <a:pt x="11596" y="4082"/>
                  </a:cubicBezTo>
                  <a:cubicBezTo>
                    <a:pt x="11611" y="4098"/>
                    <a:pt x="11650" y="4145"/>
                    <a:pt x="11683" y="4185"/>
                  </a:cubicBezTo>
                  <a:cubicBezTo>
                    <a:pt x="11715" y="4226"/>
                    <a:pt x="11763" y="4276"/>
                    <a:pt x="11786" y="4298"/>
                  </a:cubicBezTo>
                  <a:cubicBezTo>
                    <a:pt x="11810" y="4320"/>
                    <a:pt x="11831" y="4337"/>
                    <a:pt x="11831" y="4335"/>
                  </a:cubicBezTo>
                  <a:cubicBezTo>
                    <a:pt x="11831" y="4334"/>
                    <a:pt x="11841" y="4340"/>
                    <a:pt x="11851" y="4349"/>
                  </a:cubicBezTo>
                  <a:cubicBezTo>
                    <a:pt x="11862" y="4357"/>
                    <a:pt x="11878" y="4358"/>
                    <a:pt x="11889" y="4352"/>
                  </a:cubicBezTo>
                  <a:cubicBezTo>
                    <a:pt x="11899" y="4345"/>
                    <a:pt x="11922" y="4345"/>
                    <a:pt x="11938" y="4353"/>
                  </a:cubicBezTo>
                  <a:cubicBezTo>
                    <a:pt x="11954" y="4360"/>
                    <a:pt x="11990" y="4391"/>
                    <a:pt x="12019" y="4420"/>
                  </a:cubicBezTo>
                  <a:cubicBezTo>
                    <a:pt x="12047" y="4451"/>
                    <a:pt x="12085" y="4488"/>
                    <a:pt x="12103" y="4504"/>
                  </a:cubicBezTo>
                  <a:cubicBezTo>
                    <a:pt x="12121" y="4521"/>
                    <a:pt x="12144" y="4539"/>
                    <a:pt x="12154" y="4546"/>
                  </a:cubicBezTo>
                  <a:cubicBezTo>
                    <a:pt x="12165" y="4552"/>
                    <a:pt x="12182" y="4578"/>
                    <a:pt x="12198" y="4598"/>
                  </a:cubicBezTo>
                  <a:cubicBezTo>
                    <a:pt x="12211" y="4621"/>
                    <a:pt x="12235" y="4663"/>
                    <a:pt x="12250" y="4692"/>
                  </a:cubicBezTo>
                  <a:cubicBezTo>
                    <a:pt x="12264" y="4721"/>
                    <a:pt x="12263" y="4721"/>
                    <a:pt x="12246" y="4692"/>
                  </a:cubicBezTo>
                  <a:cubicBezTo>
                    <a:pt x="12229" y="4664"/>
                    <a:pt x="12204" y="4624"/>
                    <a:pt x="12190" y="4604"/>
                  </a:cubicBezTo>
                  <a:cubicBezTo>
                    <a:pt x="12176" y="4585"/>
                    <a:pt x="12151" y="4560"/>
                    <a:pt x="12134" y="4551"/>
                  </a:cubicBezTo>
                  <a:cubicBezTo>
                    <a:pt x="12117" y="4540"/>
                    <a:pt x="12077" y="4500"/>
                    <a:pt x="12042" y="4462"/>
                  </a:cubicBezTo>
                  <a:cubicBezTo>
                    <a:pt x="12010" y="4423"/>
                    <a:pt x="11971" y="4386"/>
                    <a:pt x="11959" y="4380"/>
                  </a:cubicBezTo>
                  <a:cubicBezTo>
                    <a:pt x="11947" y="4372"/>
                    <a:pt x="11931" y="4377"/>
                    <a:pt x="11923" y="4389"/>
                  </a:cubicBezTo>
                  <a:cubicBezTo>
                    <a:pt x="11914" y="4399"/>
                    <a:pt x="11917" y="4426"/>
                    <a:pt x="11923" y="4446"/>
                  </a:cubicBezTo>
                  <a:cubicBezTo>
                    <a:pt x="11932" y="4465"/>
                    <a:pt x="11943" y="4490"/>
                    <a:pt x="11949" y="4501"/>
                  </a:cubicBezTo>
                  <a:cubicBezTo>
                    <a:pt x="11956" y="4512"/>
                    <a:pt x="11932" y="4487"/>
                    <a:pt x="11897" y="4444"/>
                  </a:cubicBezTo>
                  <a:cubicBezTo>
                    <a:pt x="11864" y="4400"/>
                    <a:pt x="11815" y="4355"/>
                    <a:pt x="11792" y="4341"/>
                  </a:cubicBezTo>
                  <a:cubicBezTo>
                    <a:pt x="11768" y="4327"/>
                    <a:pt x="11736" y="4298"/>
                    <a:pt x="11718" y="4280"/>
                  </a:cubicBezTo>
                  <a:cubicBezTo>
                    <a:pt x="11701" y="4260"/>
                    <a:pt x="11682" y="4233"/>
                    <a:pt x="11677" y="4219"/>
                  </a:cubicBezTo>
                  <a:cubicBezTo>
                    <a:pt x="11672" y="4205"/>
                    <a:pt x="11651" y="4175"/>
                    <a:pt x="11634" y="4149"/>
                  </a:cubicBezTo>
                  <a:cubicBezTo>
                    <a:pt x="11614" y="4127"/>
                    <a:pt x="11584" y="4093"/>
                    <a:pt x="11565" y="4077"/>
                  </a:cubicBezTo>
                  <a:cubicBezTo>
                    <a:pt x="11545" y="4061"/>
                    <a:pt x="11514" y="4040"/>
                    <a:pt x="11496" y="4031"/>
                  </a:cubicBezTo>
                  <a:cubicBezTo>
                    <a:pt x="11478" y="4022"/>
                    <a:pt x="11441" y="3990"/>
                    <a:pt x="11413" y="3961"/>
                  </a:cubicBezTo>
                  <a:cubicBezTo>
                    <a:pt x="11384" y="3934"/>
                    <a:pt x="11365" y="3908"/>
                    <a:pt x="11368" y="3905"/>
                  </a:cubicBezTo>
                  <a:cubicBezTo>
                    <a:pt x="11371" y="3903"/>
                    <a:pt x="11368" y="3888"/>
                    <a:pt x="11361" y="3872"/>
                  </a:cubicBezTo>
                  <a:cubicBezTo>
                    <a:pt x="11354" y="3856"/>
                    <a:pt x="11353" y="3841"/>
                    <a:pt x="11358" y="3840"/>
                  </a:cubicBezTo>
                  <a:cubicBezTo>
                    <a:pt x="11364" y="3838"/>
                    <a:pt x="11362" y="3826"/>
                    <a:pt x="11354" y="3814"/>
                  </a:cubicBezTo>
                  <a:cubicBezTo>
                    <a:pt x="11347" y="3800"/>
                    <a:pt x="11326" y="3764"/>
                    <a:pt x="11312" y="3731"/>
                  </a:cubicBezTo>
                  <a:cubicBezTo>
                    <a:pt x="11297" y="3698"/>
                    <a:pt x="11270" y="3648"/>
                    <a:pt x="11253" y="3620"/>
                  </a:cubicBezTo>
                  <a:cubicBezTo>
                    <a:pt x="11236" y="3593"/>
                    <a:pt x="11211" y="3560"/>
                    <a:pt x="11199" y="3546"/>
                  </a:cubicBezTo>
                  <a:cubicBezTo>
                    <a:pt x="11186" y="3533"/>
                    <a:pt x="11178" y="3537"/>
                    <a:pt x="11181" y="3554"/>
                  </a:cubicBezTo>
                  <a:cubicBezTo>
                    <a:pt x="11184" y="3572"/>
                    <a:pt x="11180" y="3585"/>
                    <a:pt x="11173" y="3585"/>
                  </a:cubicBezTo>
                  <a:cubicBezTo>
                    <a:pt x="11166" y="3583"/>
                    <a:pt x="11168" y="3597"/>
                    <a:pt x="11177" y="3616"/>
                  </a:cubicBezTo>
                  <a:cubicBezTo>
                    <a:pt x="11186" y="3634"/>
                    <a:pt x="11190" y="3653"/>
                    <a:pt x="11188" y="3660"/>
                  </a:cubicBezTo>
                  <a:cubicBezTo>
                    <a:pt x="11186" y="3666"/>
                    <a:pt x="11190" y="3680"/>
                    <a:pt x="11197" y="3692"/>
                  </a:cubicBezTo>
                  <a:cubicBezTo>
                    <a:pt x="11206" y="3702"/>
                    <a:pt x="11213" y="3722"/>
                    <a:pt x="11215" y="3734"/>
                  </a:cubicBezTo>
                  <a:cubicBezTo>
                    <a:pt x="11218" y="3746"/>
                    <a:pt x="11214" y="3752"/>
                    <a:pt x="11206" y="3750"/>
                  </a:cubicBezTo>
                  <a:cubicBezTo>
                    <a:pt x="11200" y="3745"/>
                    <a:pt x="11175" y="3706"/>
                    <a:pt x="11151" y="3660"/>
                  </a:cubicBezTo>
                  <a:cubicBezTo>
                    <a:pt x="11127" y="3614"/>
                    <a:pt x="11111" y="3571"/>
                    <a:pt x="11113" y="3563"/>
                  </a:cubicBezTo>
                  <a:cubicBezTo>
                    <a:pt x="11117" y="3556"/>
                    <a:pt x="11113" y="3537"/>
                    <a:pt x="11104" y="3521"/>
                  </a:cubicBezTo>
                  <a:cubicBezTo>
                    <a:pt x="11096" y="3505"/>
                    <a:pt x="11069" y="3467"/>
                    <a:pt x="11042" y="3440"/>
                  </a:cubicBezTo>
                  <a:cubicBezTo>
                    <a:pt x="11016" y="3411"/>
                    <a:pt x="10984" y="3370"/>
                    <a:pt x="10975" y="3347"/>
                  </a:cubicBezTo>
                  <a:cubicBezTo>
                    <a:pt x="10967" y="3324"/>
                    <a:pt x="10944" y="3291"/>
                    <a:pt x="10931" y="3271"/>
                  </a:cubicBezTo>
                  <a:cubicBezTo>
                    <a:pt x="10916" y="3252"/>
                    <a:pt x="10901" y="3220"/>
                    <a:pt x="10892" y="3203"/>
                  </a:cubicBezTo>
                  <a:cubicBezTo>
                    <a:pt x="10883" y="3187"/>
                    <a:pt x="10889" y="3171"/>
                    <a:pt x="10901" y="3169"/>
                  </a:cubicBezTo>
                  <a:cubicBezTo>
                    <a:pt x="10913" y="3168"/>
                    <a:pt x="10921" y="3158"/>
                    <a:pt x="10916" y="3149"/>
                  </a:cubicBezTo>
                  <a:cubicBezTo>
                    <a:pt x="10913" y="3139"/>
                    <a:pt x="10901" y="3120"/>
                    <a:pt x="10894" y="3105"/>
                  </a:cubicBezTo>
                  <a:cubicBezTo>
                    <a:pt x="10887" y="3090"/>
                    <a:pt x="10875" y="3061"/>
                    <a:pt x="10867" y="3040"/>
                  </a:cubicBezTo>
                  <a:cubicBezTo>
                    <a:pt x="10860" y="3018"/>
                    <a:pt x="10841" y="2994"/>
                    <a:pt x="10827" y="2983"/>
                  </a:cubicBezTo>
                  <a:cubicBezTo>
                    <a:pt x="10812" y="2976"/>
                    <a:pt x="10798" y="2965"/>
                    <a:pt x="10793" y="2964"/>
                  </a:cubicBezTo>
                  <a:cubicBezTo>
                    <a:pt x="10789" y="2963"/>
                    <a:pt x="10775" y="2949"/>
                    <a:pt x="10761" y="2934"/>
                  </a:cubicBezTo>
                  <a:cubicBezTo>
                    <a:pt x="10748" y="2919"/>
                    <a:pt x="10723" y="2908"/>
                    <a:pt x="10706" y="2911"/>
                  </a:cubicBezTo>
                  <a:cubicBezTo>
                    <a:pt x="10688" y="2913"/>
                    <a:pt x="10650" y="2905"/>
                    <a:pt x="10621" y="2892"/>
                  </a:cubicBezTo>
                  <a:cubicBezTo>
                    <a:pt x="10591" y="2879"/>
                    <a:pt x="10553" y="2859"/>
                    <a:pt x="10535" y="2848"/>
                  </a:cubicBezTo>
                  <a:cubicBezTo>
                    <a:pt x="10518" y="2839"/>
                    <a:pt x="10473" y="2795"/>
                    <a:pt x="10436" y="2753"/>
                  </a:cubicBezTo>
                  <a:cubicBezTo>
                    <a:pt x="10399" y="2711"/>
                    <a:pt x="10353" y="2665"/>
                    <a:pt x="10337" y="2648"/>
                  </a:cubicBezTo>
                  <a:cubicBezTo>
                    <a:pt x="10319" y="2633"/>
                    <a:pt x="10299" y="2608"/>
                    <a:pt x="10290" y="2594"/>
                  </a:cubicBezTo>
                  <a:cubicBezTo>
                    <a:pt x="10281" y="2580"/>
                    <a:pt x="10244" y="2549"/>
                    <a:pt x="10207" y="2524"/>
                  </a:cubicBezTo>
                  <a:cubicBezTo>
                    <a:pt x="10169" y="2501"/>
                    <a:pt x="10123" y="2464"/>
                    <a:pt x="10102" y="2445"/>
                  </a:cubicBezTo>
                  <a:cubicBezTo>
                    <a:pt x="10082" y="2427"/>
                    <a:pt x="10047" y="2391"/>
                    <a:pt x="10026" y="2365"/>
                  </a:cubicBezTo>
                  <a:cubicBezTo>
                    <a:pt x="10003" y="2341"/>
                    <a:pt x="9950" y="2302"/>
                    <a:pt x="9908" y="2279"/>
                  </a:cubicBezTo>
                  <a:cubicBezTo>
                    <a:pt x="9865" y="2257"/>
                    <a:pt x="9818" y="2228"/>
                    <a:pt x="9803" y="2216"/>
                  </a:cubicBezTo>
                  <a:cubicBezTo>
                    <a:pt x="9789" y="2203"/>
                    <a:pt x="9768" y="2193"/>
                    <a:pt x="9758" y="2195"/>
                  </a:cubicBezTo>
                  <a:cubicBezTo>
                    <a:pt x="9748" y="2196"/>
                    <a:pt x="9735" y="2211"/>
                    <a:pt x="9731" y="2228"/>
                  </a:cubicBezTo>
                  <a:cubicBezTo>
                    <a:pt x="9728" y="2244"/>
                    <a:pt x="9727" y="2269"/>
                    <a:pt x="9733" y="2283"/>
                  </a:cubicBezTo>
                  <a:cubicBezTo>
                    <a:pt x="9738" y="2298"/>
                    <a:pt x="9738" y="2309"/>
                    <a:pt x="9733" y="2311"/>
                  </a:cubicBezTo>
                  <a:cubicBezTo>
                    <a:pt x="9728" y="2314"/>
                    <a:pt x="9717" y="2307"/>
                    <a:pt x="9709" y="2299"/>
                  </a:cubicBezTo>
                  <a:cubicBezTo>
                    <a:pt x="9701" y="2292"/>
                    <a:pt x="9696" y="2291"/>
                    <a:pt x="9694" y="2296"/>
                  </a:cubicBezTo>
                  <a:cubicBezTo>
                    <a:pt x="9696" y="2302"/>
                    <a:pt x="9704" y="2319"/>
                    <a:pt x="9717" y="2333"/>
                  </a:cubicBezTo>
                  <a:cubicBezTo>
                    <a:pt x="9729" y="2347"/>
                    <a:pt x="9751" y="2355"/>
                    <a:pt x="9766" y="2352"/>
                  </a:cubicBezTo>
                  <a:cubicBezTo>
                    <a:pt x="9781" y="2349"/>
                    <a:pt x="9814" y="2362"/>
                    <a:pt x="9840" y="2381"/>
                  </a:cubicBezTo>
                  <a:cubicBezTo>
                    <a:pt x="9866" y="2398"/>
                    <a:pt x="9905" y="2438"/>
                    <a:pt x="9926" y="2468"/>
                  </a:cubicBezTo>
                  <a:cubicBezTo>
                    <a:pt x="9948" y="2498"/>
                    <a:pt x="9963" y="2539"/>
                    <a:pt x="9962" y="2558"/>
                  </a:cubicBezTo>
                  <a:cubicBezTo>
                    <a:pt x="9958" y="2577"/>
                    <a:pt x="9945" y="2587"/>
                    <a:pt x="9929" y="2583"/>
                  </a:cubicBezTo>
                  <a:cubicBezTo>
                    <a:pt x="9913" y="2578"/>
                    <a:pt x="9873" y="2550"/>
                    <a:pt x="9838" y="2524"/>
                  </a:cubicBezTo>
                  <a:cubicBezTo>
                    <a:pt x="9805" y="2495"/>
                    <a:pt x="9755" y="2449"/>
                    <a:pt x="9729" y="2419"/>
                  </a:cubicBezTo>
                  <a:cubicBezTo>
                    <a:pt x="9703" y="2388"/>
                    <a:pt x="9673" y="2360"/>
                    <a:pt x="9664" y="2355"/>
                  </a:cubicBezTo>
                  <a:cubicBezTo>
                    <a:pt x="9654" y="2350"/>
                    <a:pt x="9637" y="2350"/>
                    <a:pt x="9624" y="2353"/>
                  </a:cubicBezTo>
                  <a:cubicBezTo>
                    <a:pt x="9612" y="2357"/>
                    <a:pt x="9600" y="2364"/>
                    <a:pt x="9598" y="2369"/>
                  </a:cubicBezTo>
                  <a:cubicBezTo>
                    <a:pt x="9595" y="2374"/>
                    <a:pt x="9587" y="2377"/>
                    <a:pt x="9579" y="2376"/>
                  </a:cubicBezTo>
                  <a:cubicBezTo>
                    <a:pt x="9571" y="2374"/>
                    <a:pt x="9591" y="2407"/>
                    <a:pt x="9624" y="2447"/>
                  </a:cubicBezTo>
                  <a:cubicBezTo>
                    <a:pt x="9656" y="2486"/>
                    <a:pt x="9689" y="2525"/>
                    <a:pt x="9697" y="2529"/>
                  </a:cubicBezTo>
                  <a:cubicBezTo>
                    <a:pt x="9705" y="2534"/>
                    <a:pt x="9721" y="2555"/>
                    <a:pt x="9733" y="2574"/>
                  </a:cubicBezTo>
                  <a:cubicBezTo>
                    <a:pt x="9745" y="2593"/>
                    <a:pt x="9780" y="2635"/>
                    <a:pt x="9810" y="2667"/>
                  </a:cubicBezTo>
                  <a:cubicBezTo>
                    <a:pt x="9841" y="2699"/>
                    <a:pt x="9884" y="2735"/>
                    <a:pt x="9906" y="2748"/>
                  </a:cubicBezTo>
                  <a:cubicBezTo>
                    <a:pt x="9928" y="2760"/>
                    <a:pt x="9958" y="2784"/>
                    <a:pt x="9975" y="2800"/>
                  </a:cubicBezTo>
                  <a:cubicBezTo>
                    <a:pt x="9990" y="2817"/>
                    <a:pt x="10030" y="2846"/>
                    <a:pt x="10062" y="2865"/>
                  </a:cubicBezTo>
                  <a:cubicBezTo>
                    <a:pt x="10094" y="2883"/>
                    <a:pt x="10123" y="2895"/>
                    <a:pt x="10127" y="2890"/>
                  </a:cubicBezTo>
                  <a:cubicBezTo>
                    <a:pt x="10132" y="2886"/>
                    <a:pt x="10139" y="2883"/>
                    <a:pt x="10145" y="2887"/>
                  </a:cubicBezTo>
                  <a:cubicBezTo>
                    <a:pt x="10151" y="2891"/>
                    <a:pt x="10161" y="2905"/>
                    <a:pt x="10168" y="2917"/>
                  </a:cubicBezTo>
                  <a:cubicBezTo>
                    <a:pt x="10175" y="2929"/>
                    <a:pt x="10198" y="2947"/>
                    <a:pt x="10219" y="2959"/>
                  </a:cubicBezTo>
                  <a:cubicBezTo>
                    <a:pt x="10240" y="2970"/>
                    <a:pt x="10270" y="2999"/>
                    <a:pt x="10286" y="3023"/>
                  </a:cubicBezTo>
                  <a:cubicBezTo>
                    <a:pt x="10301" y="3047"/>
                    <a:pt x="10321" y="3073"/>
                    <a:pt x="10331" y="3080"/>
                  </a:cubicBezTo>
                  <a:cubicBezTo>
                    <a:pt x="10340" y="3086"/>
                    <a:pt x="10355" y="3105"/>
                    <a:pt x="10363" y="3121"/>
                  </a:cubicBezTo>
                  <a:cubicBezTo>
                    <a:pt x="10372" y="3136"/>
                    <a:pt x="10401" y="3162"/>
                    <a:pt x="10427" y="3178"/>
                  </a:cubicBezTo>
                  <a:cubicBezTo>
                    <a:pt x="10454" y="3194"/>
                    <a:pt x="10481" y="3206"/>
                    <a:pt x="10488" y="3203"/>
                  </a:cubicBezTo>
                  <a:cubicBezTo>
                    <a:pt x="10495" y="3201"/>
                    <a:pt x="10495" y="3204"/>
                    <a:pt x="10495" y="3213"/>
                  </a:cubicBezTo>
                  <a:cubicBezTo>
                    <a:pt x="10491" y="3221"/>
                    <a:pt x="10469" y="3220"/>
                    <a:pt x="10446" y="3211"/>
                  </a:cubicBezTo>
                  <a:cubicBezTo>
                    <a:pt x="10422" y="3202"/>
                    <a:pt x="10386" y="3179"/>
                    <a:pt x="10365" y="3160"/>
                  </a:cubicBezTo>
                  <a:cubicBezTo>
                    <a:pt x="10345" y="3140"/>
                    <a:pt x="10317" y="3120"/>
                    <a:pt x="10305" y="3111"/>
                  </a:cubicBezTo>
                  <a:cubicBezTo>
                    <a:pt x="10292" y="3104"/>
                    <a:pt x="10262" y="3071"/>
                    <a:pt x="10236" y="3042"/>
                  </a:cubicBezTo>
                  <a:cubicBezTo>
                    <a:pt x="10211" y="3012"/>
                    <a:pt x="10179" y="2982"/>
                    <a:pt x="10167" y="2972"/>
                  </a:cubicBezTo>
                  <a:cubicBezTo>
                    <a:pt x="10155" y="2964"/>
                    <a:pt x="10138" y="2955"/>
                    <a:pt x="10129" y="2957"/>
                  </a:cubicBezTo>
                  <a:cubicBezTo>
                    <a:pt x="10120" y="2957"/>
                    <a:pt x="10101" y="2953"/>
                    <a:pt x="10088" y="2947"/>
                  </a:cubicBezTo>
                  <a:cubicBezTo>
                    <a:pt x="10074" y="2941"/>
                    <a:pt x="10058" y="2943"/>
                    <a:pt x="10053" y="2952"/>
                  </a:cubicBezTo>
                  <a:cubicBezTo>
                    <a:pt x="10047" y="2961"/>
                    <a:pt x="10037" y="2957"/>
                    <a:pt x="10028" y="2945"/>
                  </a:cubicBezTo>
                  <a:cubicBezTo>
                    <a:pt x="10018" y="2932"/>
                    <a:pt x="9999" y="2909"/>
                    <a:pt x="9984" y="2894"/>
                  </a:cubicBezTo>
                  <a:cubicBezTo>
                    <a:pt x="9969" y="2880"/>
                    <a:pt x="9949" y="2867"/>
                    <a:pt x="9939" y="2867"/>
                  </a:cubicBezTo>
                  <a:cubicBezTo>
                    <a:pt x="9930" y="2867"/>
                    <a:pt x="9903" y="2855"/>
                    <a:pt x="9881" y="2844"/>
                  </a:cubicBezTo>
                  <a:cubicBezTo>
                    <a:pt x="9858" y="2831"/>
                    <a:pt x="9822" y="2805"/>
                    <a:pt x="9799" y="2785"/>
                  </a:cubicBezTo>
                  <a:cubicBezTo>
                    <a:pt x="9778" y="2762"/>
                    <a:pt x="9746" y="2744"/>
                    <a:pt x="9732" y="2738"/>
                  </a:cubicBezTo>
                  <a:cubicBezTo>
                    <a:pt x="9718" y="2733"/>
                    <a:pt x="9697" y="2718"/>
                    <a:pt x="9686" y="2704"/>
                  </a:cubicBezTo>
                  <a:cubicBezTo>
                    <a:pt x="9675" y="2690"/>
                    <a:pt x="9673" y="2676"/>
                    <a:pt x="9681" y="2674"/>
                  </a:cubicBezTo>
                  <a:cubicBezTo>
                    <a:pt x="9689" y="2673"/>
                    <a:pt x="9693" y="2661"/>
                    <a:pt x="9688" y="2651"/>
                  </a:cubicBezTo>
                  <a:cubicBezTo>
                    <a:pt x="9685" y="2641"/>
                    <a:pt x="9669" y="2620"/>
                    <a:pt x="9653" y="2605"/>
                  </a:cubicBezTo>
                  <a:cubicBezTo>
                    <a:pt x="9638" y="2590"/>
                    <a:pt x="9620" y="2569"/>
                    <a:pt x="9617" y="2557"/>
                  </a:cubicBezTo>
                  <a:cubicBezTo>
                    <a:pt x="9612" y="2546"/>
                    <a:pt x="9586" y="2514"/>
                    <a:pt x="9559" y="2486"/>
                  </a:cubicBezTo>
                  <a:cubicBezTo>
                    <a:pt x="9532" y="2458"/>
                    <a:pt x="9498" y="2420"/>
                    <a:pt x="9485" y="2401"/>
                  </a:cubicBezTo>
                  <a:cubicBezTo>
                    <a:pt x="9470" y="2384"/>
                    <a:pt x="9459" y="2356"/>
                    <a:pt x="9458" y="2342"/>
                  </a:cubicBezTo>
                  <a:cubicBezTo>
                    <a:pt x="9456" y="2329"/>
                    <a:pt x="9441" y="2298"/>
                    <a:pt x="9423" y="2275"/>
                  </a:cubicBezTo>
                  <a:cubicBezTo>
                    <a:pt x="9405" y="2251"/>
                    <a:pt x="9382" y="2208"/>
                    <a:pt x="9370" y="2181"/>
                  </a:cubicBezTo>
                  <a:cubicBezTo>
                    <a:pt x="9360" y="2152"/>
                    <a:pt x="9335" y="2111"/>
                    <a:pt x="9314" y="2091"/>
                  </a:cubicBezTo>
                  <a:cubicBezTo>
                    <a:pt x="9293" y="2071"/>
                    <a:pt x="9269" y="2035"/>
                    <a:pt x="9258" y="2013"/>
                  </a:cubicBezTo>
                  <a:cubicBezTo>
                    <a:pt x="9247" y="1992"/>
                    <a:pt x="9232" y="1966"/>
                    <a:pt x="9224" y="1956"/>
                  </a:cubicBezTo>
                  <a:cubicBezTo>
                    <a:pt x="9215" y="1946"/>
                    <a:pt x="9199" y="1933"/>
                    <a:pt x="9190" y="1925"/>
                  </a:cubicBezTo>
                  <a:cubicBezTo>
                    <a:pt x="9180" y="1918"/>
                    <a:pt x="9164" y="1897"/>
                    <a:pt x="9153" y="1879"/>
                  </a:cubicBezTo>
                  <a:cubicBezTo>
                    <a:pt x="9142" y="1860"/>
                    <a:pt x="9114" y="1826"/>
                    <a:pt x="9089" y="1803"/>
                  </a:cubicBezTo>
                  <a:cubicBezTo>
                    <a:pt x="9065" y="1781"/>
                    <a:pt x="9040" y="1762"/>
                    <a:pt x="9034" y="1763"/>
                  </a:cubicBezTo>
                  <a:cubicBezTo>
                    <a:pt x="9027" y="1764"/>
                    <a:pt x="9064" y="1818"/>
                    <a:pt x="9114" y="1886"/>
                  </a:cubicBezTo>
                  <a:cubicBezTo>
                    <a:pt x="9164" y="1953"/>
                    <a:pt x="9224" y="2040"/>
                    <a:pt x="9248" y="2079"/>
                  </a:cubicBezTo>
                  <a:cubicBezTo>
                    <a:pt x="9271" y="2119"/>
                    <a:pt x="9295" y="2173"/>
                    <a:pt x="9300" y="2198"/>
                  </a:cubicBezTo>
                  <a:cubicBezTo>
                    <a:pt x="9307" y="2224"/>
                    <a:pt x="9301" y="2257"/>
                    <a:pt x="9290" y="2273"/>
                  </a:cubicBezTo>
                  <a:cubicBezTo>
                    <a:pt x="9279" y="2287"/>
                    <a:pt x="9263" y="2305"/>
                    <a:pt x="9255" y="2313"/>
                  </a:cubicBezTo>
                  <a:cubicBezTo>
                    <a:pt x="9247" y="2320"/>
                    <a:pt x="9246" y="2333"/>
                    <a:pt x="9248" y="2341"/>
                  </a:cubicBezTo>
                  <a:cubicBezTo>
                    <a:pt x="9251" y="2349"/>
                    <a:pt x="9265" y="2369"/>
                    <a:pt x="9280" y="2383"/>
                  </a:cubicBezTo>
                  <a:cubicBezTo>
                    <a:pt x="9293" y="2397"/>
                    <a:pt x="9317" y="2427"/>
                    <a:pt x="9328" y="2451"/>
                  </a:cubicBezTo>
                  <a:cubicBezTo>
                    <a:pt x="9341" y="2474"/>
                    <a:pt x="9352" y="2511"/>
                    <a:pt x="9354" y="2533"/>
                  </a:cubicBezTo>
                  <a:cubicBezTo>
                    <a:pt x="9356" y="2555"/>
                    <a:pt x="9364" y="2587"/>
                    <a:pt x="9371" y="2605"/>
                  </a:cubicBezTo>
                  <a:cubicBezTo>
                    <a:pt x="9378" y="2622"/>
                    <a:pt x="9408" y="2660"/>
                    <a:pt x="9440" y="2686"/>
                  </a:cubicBezTo>
                  <a:cubicBezTo>
                    <a:pt x="9471" y="2713"/>
                    <a:pt x="9529" y="2770"/>
                    <a:pt x="9570" y="2811"/>
                  </a:cubicBezTo>
                  <a:cubicBezTo>
                    <a:pt x="9611" y="2854"/>
                    <a:pt x="9656" y="2908"/>
                    <a:pt x="9671" y="2930"/>
                  </a:cubicBezTo>
                  <a:cubicBezTo>
                    <a:pt x="9686" y="2952"/>
                    <a:pt x="9711" y="2978"/>
                    <a:pt x="9727" y="2986"/>
                  </a:cubicBezTo>
                  <a:cubicBezTo>
                    <a:pt x="9744" y="2996"/>
                    <a:pt x="9775" y="3020"/>
                    <a:pt x="9795" y="3044"/>
                  </a:cubicBezTo>
                  <a:cubicBezTo>
                    <a:pt x="9815" y="3069"/>
                    <a:pt x="9852" y="3115"/>
                    <a:pt x="9875" y="3150"/>
                  </a:cubicBezTo>
                  <a:cubicBezTo>
                    <a:pt x="9897" y="3185"/>
                    <a:pt x="9928" y="3250"/>
                    <a:pt x="9943" y="3293"/>
                  </a:cubicBezTo>
                  <a:cubicBezTo>
                    <a:pt x="9956" y="3338"/>
                    <a:pt x="9970" y="3388"/>
                    <a:pt x="9975" y="3403"/>
                  </a:cubicBezTo>
                  <a:cubicBezTo>
                    <a:pt x="9977" y="3420"/>
                    <a:pt x="10001" y="3460"/>
                    <a:pt x="10026" y="3493"/>
                  </a:cubicBezTo>
                  <a:cubicBezTo>
                    <a:pt x="10051" y="3525"/>
                    <a:pt x="10077" y="3579"/>
                    <a:pt x="10089" y="3609"/>
                  </a:cubicBezTo>
                  <a:cubicBezTo>
                    <a:pt x="10097" y="3641"/>
                    <a:pt x="10117" y="3684"/>
                    <a:pt x="10132" y="3704"/>
                  </a:cubicBezTo>
                  <a:cubicBezTo>
                    <a:pt x="10147" y="3724"/>
                    <a:pt x="10188" y="3774"/>
                    <a:pt x="10223" y="3816"/>
                  </a:cubicBezTo>
                  <a:cubicBezTo>
                    <a:pt x="10259" y="3856"/>
                    <a:pt x="10292" y="3905"/>
                    <a:pt x="10301" y="3921"/>
                  </a:cubicBezTo>
                  <a:cubicBezTo>
                    <a:pt x="10308" y="3938"/>
                    <a:pt x="10318" y="3966"/>
                    <a:pt x="10324" y="3984"/>
                  </a:cubicBezTo>
                  <a:cubicBezTo>
                    <a:pt x="10328" y="4002"/>
                    <a:pt x="10343" y="4027"/>
                    <a:pt x="10353" y="4041"/>
                  </a:cubicBezTo>
                  <a:cubicBezTo>
                    <a:pt x="10363" y="4055"/>
                    <a:pt x="10389" y="4078"/>
                    <a:pt x="10409" y="4093"/>
                  </a:cubicBezTo>
                  <a:cubicBezTo>
                    <a:pt x="10429" y="4108"/>
                    <a:pt x="10458" y="4118"/>
                    <a:pt x="10471" y="4113"/>
                  </a:cubicBezTo>
                  <a:cubicBezTo>
                    <a:pt x="10485" y="4110"/>
                    <a:pt x="10518" y="4123"/>
                    <a:pt x="10543" y="4142"/>
                  </a:cubicBezTo>
                  <a:cubicBezTo>
                    <a:pt x="10570" y="4161"/>
                    <a:pt x="10596" y="4177"/>
                    <a:pt x="10600" y="4171"/>
                  </a:cubicBezTo>
                  <a:cubicBezTo>
                    <a:pt x="10606" y="4168"/>
                    <a:pt x="10606" y="4150"/>
                    <a:pt x="10604" y="4131"/>
                  </a:cubicBezTo>
                  <a:cubicBezTo>
                    <a:pt x="10601" y="4114"/>
                    <a:pt x="10606" y="4092"/>
                    <a:pt x="10614" y="4080"/>
                  </a:cubicBezTo>
                  <a:cubicBezTo>
                    <a:pt x="10622" y="4070"/>
                    <a:pt x="10643" y="4073"/>
                    <a:pt x="10661" y="4086"/>
                  </a:cubicBezTo>
                  <a:cubicBezTo>
                    <a:pt x="10679" y="4101"/>
                    <a:pt x="10701" y="4111"/>
                    <a:pt x="10711" y="4113"/>
                  </a:cubicBezTo>
                  <a:cubicBezTo>
                    <a:pt x="10720" y="4114"/>
                    <a:pt x="10751" y="4138"/>
                    <a:pt x="10779" y="4165"/>
                  </a:cubicBezTo>
                  <a:cubicBezTo>
                    <a:pt x="10807" y="4193"/>
                    <a:pt x="10840" y="4216"/>
                    <a:pt x="10851" y="4217"/>
                  </a:cubicBezTo>
                  <a:cubicBezTo>
                    <a:pt x="10862" y="4219"/>
                    <a:pt x="10882" y="4237"/>
                    <a:pt x="10896" y="4257"/>
                  </a:cubicBezTo>
                  <a:cubicBezTo>
                    <a:pt x="10910" y="4278"/>
                    <a:pt x="10949" y="4321"/>
                    <a:pt x="10985" y="4349"/>
                  </a:cubicBezTo>
                  <a:cubicBezTo>
                    <a:pt x="11019" y="4381"/>
                    <a:pt x="11065" y="4413"/>
                    <a:pt x="11086" y="4423"/>
                  </a:cubicBezTo>
                  <a:cubicBezTo>
                    <a:pt x="11106" y="4435"/>
                    <a:pt x="11141" y="4467"/>
                    <a:pt x="11164" y="4496"/>
                  </a:cubicBezTo>
                  <a:cubicBezTo>
                    <a:pt x="11188" y="4524"/>
                    <a:pt x="11208" y="4561"/>
                    <a:pt x="11215" y="4572"/>
                  </a:cubicBezTo>
                  <a:cubicBezTo>
                    <a:pt x="11221" y="4584"/>
                    <a:pt x="11244" y="4613"/>
                    <a:pt x="11267" y="4636"/>
                  </a:cubicBezTo>
                  <a:cubicBezTo>
                    <a:pt x="11291" y="4658"/>
                    <a:pt x="11316" y="4689"/>
                    <a:pt x="11325" y="4702"/>
                  </a:cubicBezTo>
                  <a:cubicBezTo>
                    <a:pt x="11334" y="4716"/>
                    <a:pt x="11345" y="4731"/>
                    <a:pt x="11349" y="4737"/>
                  </a:cubicBezTo>
                  <a:cubicBezTo>
                    <a:pt x="11355" y="4740"/>
                    <a:pt x="11364" y="4756"/>
                    <a:pt x="11371" y="4769"/>
                  </a:cubicBezTo>
                  <a:cubicBezTo>
                    <a:pt x="11378" y="4783"/>
                    <a:pt x="11393" y="4805"/>
                    <a:pt x="11405" y="4817"/>
                  </a:cubicBezTo>
                  <a:cubicBezTo>
                    <a:pt x="11418" y="4830"/>
                    <a:pt x="11422" y="4846"/>
                    <a:pt x="11416" y="4850"/>
                  </a:cubicBezTo>
                  <a:cubicBezTo>
                    <a:pt x="11411" y="4856"/>
                    <a:pt x="11397" y="4858"/>
                    <a:pt x="11387" y="4855"/>
                  </a:cubicBezTo>
                  <a:cubicBezTo>
                    <a:pt x="11376" y="4851"/>
                    <a:pt x="11375" y="4870"/>
                    <a:pt x="11382" y="4894"/>
                  </a:cubicBezTo>
                  <a:cubicBezTo>
                    <a:pt x="11391" y="4918"/>
                    <a:pt x="11410" y="4960"/>
                    <a:pt x="11427" y="4986"/>
                  </a:cubicBezTo>
                  <a:cubicBezTo>
                    <a:pt x="11443" y="5013"/>
                    <a:pt x="11465" y="5043"/>
                    <a:pt x="11474" y="5052"/>
                  </a:cubicBezTo>
                  <a:cubicBezTo>
                    <a:pt x="11484" y="5061"/>
                    <a:pt x="11491" y="5078"/>
                    <a:pt x="11493" y="5088"/>
                  </a:cubicBezTo>
                  <a:cubicBezTo>
                    <a:pt x="11491" y="5098"/>
                    <a:pt x="11504" y="5121"/>
                    <a:pt x="11516" y="5139"/>
                  </a:cubicBezTo>
                  <a:cubicBezTo>
                    <a:pt x="11528" y="5157"/>
                    <a:pt x="11550" y="5177"/>
                    <a:pt x="11563" y="5184"/>
                  </a:cubicBezTo>
                  <a:cubicBezTo>
                    <a:pt x="11577" y="5190"/>
                    <a:pt x="11598" y="5211"/>
                    <a:pt x="11611" y="5228"/>
                  </a:cubicBezTo>
                  <a:cubicBezTo>
                    <a:pt x="11624" y="5246"/>
                    <a:pt x="11648" y="5269"/>
                    <a:pt x="11666" y="5278"/>
                  </a:cubicBezTo>
                  <a:cubicBezTo>
                    <a:pt x="11683" y="5288"/>
                    <a:pt x="11699" y="5283"/>
                    <a:pt x="11701" y="5268"/>
                  </a:cubicBezTo>
                  <a:cubicBezTo>
                    <a:pt x="11702" y="5254"/>
                    <a:pt x="11710" y="5254"/>
                    <a:pt x="11719" y="5267"/>
                  </a:cubicBezTo>
                  <a:cubicBezTo>
                    <a:pt x="11729" y="5279"/>
                    <a:pt x="11743" y="5293"/>
                    <a:pt x="11753" y="5296"/>
                  </a:cubicBezTo>
                  <a:cubicBezTo>
                    <a:pt x="11763" y="5298"/>
                    <a:pt x="11780" y="5306"/>
                    <a:pt x="11789" y="5316"/>
                  </a:cubicBezTo>
                  <a:cubicBezTo>
                    <a:pt x="11798" y="5325"/>
                    <a:pt x="11802" y="5331"/>
                    <a:pt x="11798" y="5334"/>
                  </a:cubicBezTo>
                  <a:cubicBezTo>
                    <a:pt x="11793" y="5335"/>
                    <a:pt x="11789" y="5342"/>
                    <a:pt x="11787" y="5348"/>
                  </a:cubicBezTo>
                  <a:cubicBezTo>
                    <a:pt x="11785" y="5354"/>
                    <a:pt x="11771" y="5354"/>
                    <a:pt x="11754" y="5346"/>
                  </a:cubicBezTo>
                  <a:cubicBezTo>
                    <a:pt x="11737" y="5338"/>
                    <a:pt x="11716" y="5331"/>
                    <a:pt x="11707" y="5330"/>
                  </a:cubicBezTo>
                  <a:cubicBezTo>
                    <a:pt x="11699" y="5328"/>
                    <a:pt x="11680" y="5324"/>
                    <a:pt x="11665" y="5320"/>
                  </a:cubicBezTo>
                  <a:cubicBezTo>
                    <a:pt x="11650" y="5316"/>
                    <a:pt x="11620" y="5294"/>
                    <a:pt x="11599" y="5270"/>
                  </a:cubicBezTo>
                  <a:cubicBezTo>
                    <a:pt x="11578" y="5247"/>
                    <a:pt x="11548" y="5221"/>
                    <a:pt x="11533" y="5212"/>
                  </a:cubicBezTo>
                  <a:cubicBezTo>
                    <a:pt x="11518" y="5204"/>
                    <a:pt x="11493" y="5178"/>
                    <a:pt x="11477" y="5156"/>
                  </a:cubicBezTo>
                  <a:cubicBezTo>
                    <a:pt x="11462" y="5134"/>
                    <a:pt x="11453" y="5113"/>
                    <a:pt x="11456" y="5109"/>
                  </a:cubicBezTo>
                  <a:cubicBezTo>
                    <a:pt x="11459" y="5106"/>
                    <a:pt x="11452" y="5086"/>
                    <a:pt x="11445" y="5065"/>
                  </a:cubicBezTo>
                  <a:cubicBezTo>
                    <a:pt x="11435" y="5046"/>
                    <a:pt x="11414" y="5008"/>
                    <a:pt x="11395" y="4985"/>
                  </a:cubicBezTo>
                  <a:cubicBezTo>
                    <a:pt x="11378" y="4961"/>
                    <a:pt x="11356" y="4926"/>
                    <a:pt x="11345" y="4908"/>
                  </a:cubicBezTo>
                  <a:cubicBezTo>
                    <a:pt x="11335" y="4890"/>
                    <a:pt x="11316" y="4862"/>
                    <a:pt x="11303" y="4848"/>
                  </a:cubicBezTo>
                  <a:cubicBezTo>
                    <a:pt x="11289" y="4834"/>
                    <a:pt x="11273" y="4809"/>
                    <a:pt x="11270" y="4792"/>
                  </a:cubicBezTo>
                  <a:cubicBezTo>
                    <a:pt x="11263" y="4776"/>
                    <a:pt x="11242" y="4736"/>
                    <a:pt x="11218" y="4704"/>
                  </a:cubicBezTo>
                  <a:cubicBezTo>
                    <a:pt x="11195" y="4673"/>
                    <a:pt x="11170" y="4645"/>
                    <a:pt x="11164" y="4642"/>
                  </a:cubicBezTo>
                  <a:cubicBezTo>
                    <a:pt x="11160" y="4638"/>
                    <a:pt x="11146" y="4626"/>
                    <a:pt x="11137" y="4611"/>
                  </a:cubicBezTo>
                  <a:cubicBezTo>
                    <a:pt x="11128" y="4598"/>
                    <a:pt x="11101" y="4566"/>
                    <a:pt x="11076" y="4545"/>
                  </a:cubicBezTo>
                  <a:cubicBezTo>
                    <a:pt x="11052" y="4522"/>
                    <a:pt x="11024" y="4489"/>
                    <a:pt x="11017" y="4468"/>
                  </a:cubicBezTo>
                  <a:cubicBezTo>
                    <a:pt x="11008" y="4449"/>
                    <a:pt x="10980" y="4405"/>
                    <a:pt x="10952" y="4371"/>
                  </a:cubicBezTo>
                  <a:cubicBezTo>
                    <a:pt x="10925" y="4337"/>
                    <a:pt x="10887" y="4304"/>
                    <a:pt x="10871" y="4297"/>
                  </a:cubicBezTo>
                  <a:cubicBezTo>
                    <a:pt x="10854" y="4289"/>
                    <a:pt x="10829" y="4296"/>
                    <a:pt x="10814" y="4311"/>
                  </a:cubicBezTo>
                  <a:cubicBezTo>
                    <a:pt x="10798" y="4325"/>
                    <a:pt x="10774" y="4336"/>
                    <a:pt x="10759" y="4330"/>
                  </a:cubicBezTo>
                  <a:cubicBezTo>
                    <a:pt x="10743" y="4324"/>
                    <a:pt x="10726" y="4329"/>
                    <a:pt x="10724" y="4341"/>
                  </a:cubicBezTo>
                  <a:cubicBezTo>
                    <a:pt x="10719" y="4353"/>
                    <a:pt x="10707" y="4371"/>
                    <a:pt x="10694" y="4378"/>
                  </a:cubicBezTo>
                  <a:cubicBezTo>
                    <a:pt x="10681" y="4388"/>
                    <a:pt x="10683" y="4430"/>
                    <a:pt x="10702" y="4473"/>
                  </a:cubicBezTo>
                  <a:cubicBezTo>
                    <a:pt x="10719" y="4518"/>
                    <a:pt x="10744" y="4569"/>
                    <a:pt x="10757" y="4585"/>
                  </a:cubicBezTo>
                  <a:cubicBezTo>
                    <a:pt x="10770" y="4601"/>
                    <a:pt x="10808" y="4641"/>
                    <a:pt x="10840" y="4673"/>
                  </a:cubicBezTo>
                  <a:cubicBezTo>
                    <a:pt x="10873" y="4705"/>
                    <a:pt x="10932" y="4785"/>
                    <a:pt x="10971" y="4850"/>
                  </a:cubicBezTo>
                  <a:cubicBezTo>
                    <a:pt x="11011" y="4915"/>
                    <a:pt x="11043" y="4981"/>
                    <a:pt x="11048" y="4993"/>
                  </a:cubicBezTo>
                  <a:cubicBezTo>
                    <a:pt x="11050" y="5007"/>
                    <a:pt x="11052" y="5043"/>
                    <a:pt x="11045" y="5075"/>
                  </a:cubicBezTo>
                  <a:cubicBezTo>
                    <a:pt x="11041" y="5108"/>
                    <a:pt x="11040" y="5154"/>
                    <a:pt x="11047" y="5178"/>
                  </a:cubicBezTo>
                  <a:cubicBezTo>
                    <a:pt x="11050" y="5203"/>
                    <a:pt x="11073" y="5245"/>
                    <a:pt x="11091" y="5274"/>
                  </a:cubicBezTo>
                  <a:cubicBezTo>
                    <a:pt x="11111" y="5302"/>
                    <a:pt x="11127" y="5351"/>
                    <a:pt x="11129" y="5383"/>
                  </a:cubicBezTo>
                  <a:cubicBezTo>
                    <a:pt x="11131" y="5414"/>
                    <a:pt x="11135" y="5451"/>
                    <a:pt x="11138" y="5465"/>
                  </a:cubicBezTo>
                  <a:cubicBezTo>
                    <a:pt x="11141" y="5478"/>
                    <a:pt x="11137" y="5501"/>
                    <a:pt x="11125" y="5514"/>
                  </a:cubicBezTo>
                  <a:cubicBezTo>
                    <a:pt x="11115" y="5528"/>
                    <a:pt x="11110" y="5547"/>
                    <a:pt x="11112" y="5558"/>
                  </a:cubicBezTo>
                  <a:cubicBezTo>
                    <a:pt x="11115" y="5569"/>
                    <a:pt x="11109" y="5579"/>
                    <a:pt x="11099" y="5581"/>
                  </a:cubicBezTo>
                  <a:cubicBezTo>
                    <a:pt x="11089" y="5582"/>
                    <a:pt x="11078" y="5591"/>
                    <a:pt x="11075" y="5601"/>
                  </a:cubicBezTo>
                  <a:cubicBezTo>
                    <a:pt x="11071" y="5611"/>
                    <a:pt x="11073" y="5636"/>
                    <a:pt x="11080" y="5655"/>
                  </a:cubicBezTo>
                  <a:cubicBezTo>
                    <a:pt x="11087" y="5675"/>
                    <a:pt x="11102" y="5704"/>
                    <a:pt x="11113" y="5720"/>
                  </a:cubicBezTo>
                  <a:cubicBezTo>
                    <a:pt x="11125" y="5735"/>
                    <a:pt x="11140" y="5761"/>
                    <a:pt x="11145" y="5777"/>
                  </a:cubicBezTo>
                  <a:cubicBezTo>
                    <a:pt x="11150" y="5793"/>
                    <a:pt x="11144" y="5812"/>
                    <a:pt x="11128" y="5815"/>
                  </a:cubicBezTo>
                  <a:cubicBezTo>
                    <a:pt x="11114" y="5821"/>
                    <a:pt x="11078" y="5808"/>
                    <a:pt x="11052" y="5789"/>
                  </a:cubicBezTo>
                  <a:cubicBezTo>
                    <a:pt x="11024" y="5771"/>
                    <a:pt x="10996" y="5746"/>
                    <a:pt x="10989" y="5736"/>
                  </a:cubicBezTo>
                  <a:cubicBezTo>
                    <a:pt x="10981" y="5726"/>
                    <a:pt x="10957" y="5708"/>
                    <a:pt x="10934" y="5698"/>
                  </a:cubicBezTo>
                  <a:cubicBezTo>
                    <a:pt x="10912" y="5688"/>
                    <a:pt x="10875" y="5674"/>
                    <a:pt x="10852" y="5668"/>
                  </a:cubicBezTo>
                  <a:cubicBezTo>
                    <a:pt x="10829" y="5661"/>
                    <a:pt x="10792" y="5641"/>
                    <a:pt x="10768" y="5625"/>
                  </a:cubicBezTo>
                  <a:cubicBezTo>
                    <a:pt x="10744" y="5608"/>
                    <a:pt x="10683" y="5566"/>
                    <a:pt x="10629" y="5535"/>
                  </a:cubicBezTo>
                  <a:cubicBezTo>
                    <a:pt x="10577" y="5502"/>
                    <a:pt x="10513" y="5452"/>
                    <a:pt x="10489" y="5424"/>
                  </a:cubicBezTo>
                  <a:cubicBezTo>
                    <a:pt x="10465" y="5396"/>
                    <a:pt x="10435" y="5358"/>
                    <a:pt x="10424" y="5339"/>
                  </a:cubicBezTo>
                  <a:cubicBezTo>
                    <a:pt x="10414" y="5319"/>
                    <a:pt x="10388" y="5301"/>
                    <a:pt x="10369" y="5296"/>
                  </a:cubicBezTo>
                  <a:cubicBezTo>
                    <a:pt x="10349" y="5291"/>
                    <a:pt x="10331" y="5298"/>
                    <a:pt x="10328" y="5310"/>
                  </a:cubicBezTo>
                  <a:cubicBezTo>
                    <a:pt x="10328" y="5322"/>
                    <a:pt x="10317" y="5325"/>
                    <a:pt x="10311" y="5316"/>
                  </a:cubicBezTo>
                  <a:cubicBezTo>
                    <a:pt x="10306" y="5308"/>
                    <a:pt x="10291" y="5296"/>
                    <a:pt x="10281" y="5291"/>
                  </a:cubicBezTo>
                  <a:cubicBezTo>
                    <a:pt x="10272" y="5284"/>
                    <a:pt x="10267" y="5266"/>
                    <a:pt x="10269" y="5249"/>
                  </a:cubicBezTo>
                  <a:cubicBezTo>
                    <a:pt x="10274" y="5232"/>
                    <a:pt x="10290" y="5224"/>
                    <a:pt x="10309" y="5231"/>
                  </a:cubicBezTo>
                  <a:cubicBezTo>
                    <a:pt x="10329" y="5237"/>
                    <a:pt x="10374" y="5255"/>
                    <a:pt x="10410" y="5264"/>
                  </a:cubicBezTo>
                  <a:cubicBezTo>
                    <a:pt x="10446" y="5276"/>
                    <a:pt x="10479" y="5279"/>
                    <a:pt x="10482" y="5272"/>
                  </a:cubicBezTo>
                  <a:cubicBezTo>
                    <a:pt x="10486" y="5265"/>
                    <a:pt x="10518" y="5287"/>
                    <a:pt x="10555" y="5321"/>
                  </a:cubicBezTo>
                  <a:cubicBezTo>
                    <a:pt x="10592" y="5356"/>
                    <a:pt x="10630" y="5386"/>
                    <a:pt x="10639" y="5390"/>
                  </a:cubicBezTo>
                  <a:cubicBezTo>
                    <a:pt x="10648" y="5394"/>
                    <a:pt x="10656" y="5389"/>
                    <a:pt x="10656" y="5380"/>
                  </a:cubicBezTo>
                  <a:cubicBezTo>
                    <a:pt x="10656" y="5372"/>
                    <a:pt x="10668" y="5370"/>
                    <a:pt x="10682" y="5376"/>
                  </a:cubicBezTo>
                  <a:cubicBezTo>
                    <a:pt x="10696" y="5383"/>
                    <a:pt x="10710" y="5398"/>
                    <a:pt x="10713" y="5410"/>
                  </a:cubicBezTo>
                  <a:cubicBezTo>
                    <a:pt x="10717" y="5422"/>
                    <a:pt x="10707" y="5435"/>
                    <a:pt x="10692" y="5439"/>
                  </a:cubicBezTo>
                  <a:cubicBezTo>
                    <a:pt x="10676" y="5443"/>
                    <a:pt x="10676" y="5462"/>
                    <a:pt x="10694" y="5480"/>
                  </a:cubicBezTo>
                  <a:cubicBezTo>
                    <a:pt x="10710" y="5499"/>
                    <a:pt x="10743" y="5522"/>
                    <a:pt x="10767" y="5531"/>
                  </a:cubicBezTo>
                  <a:cubicBezTo>
                    <a:pt x="10791" y="5540"/>
                    <a:pt x="10816" y="5540"/>
                    <a:pt x="10819" y="5529"/>
                  </a:cubicBezTo>
                  <a:cubicBezTo>
                    <a:pt x="10826" y="5519"/>
                    <a:pt x="10837" y="5508"/>
                    <a:pt x="10848" y="5506"/>
                  </a:cubicBezTo>
                  <a:cubicBezTo>
                    <a:pt x="10859" y="5503"/>
                    <a:pt x="10864" y="5493"/>
                    <a:pt x="10859" y="5480"/>
                  </a:cubicBezTo>
                  <a:cubicBezTo>
                    <a:pt x="10853" y="5468"/>
                    <a:pt x="10834" y="5436"/>
                    <a:pt x="10814" y="5412"/>
                  </a:cubicBezTo>
                  <a:cubicBezTo>
                    <a:pt x="10795" y="5387"/>
                    <a:pt x="10777" y="5358"/>
                    <a:pt x="10772" y="5348"/>
                  </a:cubicBezTo>
                  <a:cubicBezTo>
                    <a:pt x="10768" y="5337"/>
                    <a:pt x="10781" y="5342"/>
                    <a:pt x="10801" y="5360"/>
                  </a:cubicBezTo>
                  <a:cubicBezTo>
                    <a:pt x="10820" y="5378"/>
                    <a:pt x="10838" y="5385"/>
                    <a:pt x="10841" y="5378"/>
                  </a:cubicBezTo>
                  <a:cubicBezTo>
                    <a:pt x="10843" y="5370"/>
                    <a:pt x="10838" y="5338"/>
                    <a:pt x="10827" y="5306"/>
                  </a:cubicBezTo>
                  <a:cubicBezTo>
                    <a:pt x="10817" y="5273"/>
                    <a:pt x="10818" y="5244"/>
                    <a:pt x="10830" y="5240"/>
                  </a:cubicBezTo>
                  <a:cubicBezTo>
                    <a:pt x="10841" y="5238"/>
                    <a:pt x="10848" y="5225"/>
                    <a:pt x="10842" y="5216"/>
                  </a:cubicBezTo>
                  <a:cubicBezTo>
                    <a:pt x="10838" y="5206"/>
                    <a:pt x="10825" y="5198"/>
                    <a:pt x="10816" y="5195"/>
                  </a:cubicBezTo>
                  <a:cubicBezTo>
                    <a:pt x="10808" y="5194"/>
                    <a:pt x="10796" y="5186"/>
                    <a:pt x="10791" y="5177"/>
                  </a:cubicBezTo>
                  <a:cubicBezTo>
                    <a:pt x="10785" y="5170"/>
                    <a:pt x="10791" y="5162"/>
                    <a:pt x="10802" y="5159"/>
                  </a:cubicBezTo>
                  <a:cubicBezTo>
                    <a:pt x="10813" y="5155"/>
                    <a:pt x="10812" y="5128"/>
                    <a:pt x="10802" y="5094"/>
                  </a:cubicBezTo>
                  <a:cubicBezTo>
                    <a:pt x="10791" y="5061"/>
                    <a:pt x="10775" y="5024"/>
                    <a:pt x="10766" y="5013"/>
                  </a:cubicBezTo>
                  <a:cubicBezTo>
                    <a:pt x="10758" y="5001"/>
                    <a:pt x="10756" y="4985"/>
                    <a:pt x="10759" y="4976"/>
                  </a:cubicBezTo>
                  <a:cubicBezTo>
                    <a:pt x="10763" y="4967"/>
                    <a:pt x="10765" y="4953"/>
                    <a:pt x="10760" y="4946"/>
                  </a:cubicBezTo>
                  <a:cubicBezTo>
                    <a:pt x="10756" y="4938"/>
                    <a:pt x="10760" y="4925"/>
                    <a:pt x="10767" y="4919"/>
                  </a:cubicBezTo>
                  <a:cubicBezTo>
                    <a:pt x="10775" y="4913"/>
                    <a:pt x="10772" y="4887"/>
                    <a:pt x="10762" y="4862"/>
                  </a:cubicBezTo>
                  <a:cubicBezTo>
                    <a:pt x="10751" y="4837"/>
                    <a:pt x="10726" y="4797"/>
                    <a:pt x="10705" y="4772"/>
                  </a:cubicBezTo>
                  <a:cubicBezTo>
                    <a:pt x="10685" y="4747"/>
                    <a:pt x="10652" y="4700"/>
                    <a:pt x="10634" y="4667"/>
                  </a:cubicBezTo>
                  <a:cubicBezTo>
                    <a:pt x="10616" y="4633"/>
                    <a:pt x="10596" y="4592"/>
                    <a:pt x="10593" y="4572"/>
                  </a:cubicBezTo>
                  <a:cubicBezTo>
                    <a:pt x="10589" y="4553"/>
                    <a:pt x="10582" y="4524"/>
                    <a:pt x="10575" y="4508"/>
                  </a:cubicBezTo>
                  <a:cubicBezTo>
                    <a:pt x="10570" y="4491"/>
                    <a:pt x="10572" y="4482"/>
                    <a:pt x="10579" y="4489"/>
                  </a:cubicBezTo>
                  <a:cubicBezTo>
                    <a:pt x="10587" y="4494"/>
                    <a:pt x="10588" y="4490"/>
                    <a:pt x="10584" y="4478"/>
                  </a:cubicBezTo>
                  <a:cubicBezTo>
                    <a:pt x="10581" y="4466"/>
                    <a:pt x="10554" y="4430"/>
                    <a:pt x="10526" y="4398"/>
                  </a:cubicBezTo>
                  <a:cubicBezTo>
                    <a:pt x="10498" y="4367"/>
                    <a:pt x="10468" y="4335"/>
                    <a:pt x="10458" y="4328"/>
                  </a:cubicBezTo>
                  <a:cubicBezTo>
                    <a:pt x="10447" y="4322"/>
                    <a:pt x="10429" y="4301"/>
                    <a:pt x="10415" y="4285"/>
                  </a:cubicBezTo>
                  <a:cubicBezTo>
                    <a:pt x="10402" y="4267"/>
                    <a:pt x="10371" y="4239"/>
                    <a:pt x="10348" y="4221"/>
                  </a:cubicBezTo>
                  <a:cubicBezTo>
                    <a:pt x="10324" y="4203"/>
                    <a:pt x="10270" y="4148"/>
                    <a:pt x="10232" y="4095"/>
                  </a:cubicBezTo>
                  <a:cubicBezTo>
                    <a:pt x="10191" y="4044"/>
                    <a:pt x="10145" y="3974"/>
                    <a:pt x="10128" y="3940"/>
                  </a:cubicBezTo>
                  <a:cubicBezTo>
                    <a:pt x="10111" y="3906"/>
                    <a:pt x="10087" y="3870"/>
                    <a:pt x="10078" y="3857"/>
                  </a:cubicBezTo>
                  <a:cubicBezTo>
                    <a:pt x="10067" y="3846"/>
                    <a:pt x="10061" y="3829"/>
                    <a:pt x="10063" y="3819"/>
                  </a:cubicBezTo>
                  <a:cubicBezTo>
                    <a:pt x="10066" y="3810"/>
                    <a:pt x="10053" y="3788"/>
                    <a:pt x="10035" y="3773"/>
                  </a:cubicBezTo>
                  <a:cubicBezTo>
                    <a:pt x="10019" y="3755"/>
                    <a:pt x="9993" y="3726"/>
                    <a:pt x="9978" y="3707"/>
                  </a:cubicBezTo>
                  <a:cubicBezTo>
                    <a:pt x="9965" y="3687"/>
                    <a:pt x="9950" y="3657"/>
                    <a:pt x="9949" y="3640"/>
                  </a:cubicBezTo>
                  <a:cubicBezTo>
                    <a:pt x="9945" y="3623"/>
                    <a:pt x="9918" y="3574"/>
                    <a:pt x="9885" y="3531"/>
                  </a:cubicBezTo>
                  <a:cubicBezTo>
                    <a:pt x="9851" y="3489"/>
                    <a:pt x="9819" y="3435"/>
                    <a:pt x="9810" y="3413"/>
                  </a:cubicBezTo>
                  <a:cubicBezTo>
                    <a:pt x="9801" y="3392"/>
                    <a:pt x="9779" y="3353"/>
                    <a:pt x="9758" y="3330"/>
                  </a:cubicBezTo>
                  <a:cubicBezTo>
                    <a:pt x="9737" y="3308"/>
                    <a:pt x="9723" y="3280"/>
                    <a:pt x="9721" y="3272"/>
                  </a:cubicBezTo>
                  <a:cubicBezTo>
                    <a:pt x="9721" y="3264"/>
                    <a:pt x="9718" y="3249"/>
                    <a:pt x="9715" y="3239"/>
                  </a:cubicBezTo>
                  <a:cubicBezTo>
                    <a:pt x="9710" y="3231"/>
                    <a:pt x="9696" y="3207"/>
                    <a:pt x="9680" y="3190"/>
                  </a:cubicBezTo>
                  <a:cubicBezTo>
                    <a:pt x="9665" y="3172"/>
                    <a:pt x="9633" y="3121"/>
                    <a:pt x="9612" y="3074"/>
                  </a:cubicBezTo>
                  <a:cubicBezTo>
                    <a:pt x="9590" y="3028"/>
                    <a:pt x="9561" y="2976"/>
                    <a:pt x="9547" y="2957"/>
                  </a:cubicBezTo>
                  <a:cubicBezTo>
                    <a:pt x="9533" y="2938"/>
                    <a:pt x="9503" y="2909"/>
                    <a:pt x="9484" y="2888"/>
                  </a:cubicBezTo>
                  <a:cubicBezTo>
                    <a:pt x="9462" y="2870"/>
                    <a:pt x="9433" y="2829"/>
                    <a:pt x="9417" y="2799"/>
                  </a:cubicBezTo>
                  <a:cubicBezTo>
                    <a:pt x="9402" y="2770"/>
                    <a:pt x="9380" y="2740"/>
                    <a:pt x="9371" y="2730"/>
                  </a:cubicBezTo>
                  <a:cubicBezTo>
                    <a:pt x="9362" y="2721"/>
                    <a:pt x="9347" y="2713"/>
                    <a:pt x="9339" y="2712"/>
                  </a:cubicBezTo>
                  <a:cubicBezTo>
                    <a:pt x="9331" y="2711"/>
                    <a:pt x="9323" y="2707"/>
                    <a:pt x="9321" y="2704"/>
                  </a:cubicBezTo>
                  <a:cubicBezTo>
                    <a:pt x="9319" y="2700"/>
                    <a:pt x="9304" y="2687"/>
                    <a:pt x="9287" y="2675"/>
                  </a:cubicBezTo>
                  <a:cubicBezTo>
                    <a:pt x="9269" y="2662"/>
                    <a:pt x="9243" y="2633"/>
                    <a:pt x="9226" y="2612"/>
                  </a:cubicBezTo>
                  <a:cubicBezTo>
                    <a:pt x="9210" y="2589"/>
                    <a:pt x="9180" y="2555"/>
                    <a:pt x="9161" y="2534"/>
                  </a:cubicBezTo>
                  <a:cubicBezTo>
                    <a:pt x="9142" y="2512"/>
                    <a:pt x="9116" y="2482"/>
                    <a:pt x="9104" y="2463"/>
                  </a:cubicBezTo>
                  <a:cubicBezTo>
                    <a:pt x="9092" y="2445"/>
                    <a:pt x="9088" y="2428"/>
                    <a:pt x="9095" y="2428"/>
                  </a:cubicBezTo>
                  <a:cubicBezTo>
                    <a:pt x="9101" y="2427"/>
                    <a:pt x="9106" y="2417"/>
                    <a:pt x="9103" y="2406"/>
                  </a:cubicBezTo>
                  <a:cubicBezTo>
                    <a:pt x="9103" y="2395"/>
                    <a:pt x="9089" y="2376"/>
                    <a:pt x="9081" y="2360"/>
                  </a:cubicBezTo>
                  <a:cubicBezTo>
                    <a:pt x="9068" y="2347"/>
                    <a:pt x="9060" y="2327"/>
                    <a:pt x="9060" y="2319"/>
                  </a:cubicBezTo>
                  <a:cubicBezTo>
                    <a:pt x="9060" y="2312"/>
                    <a:pt x="9048" y="2295"/>
                    <a:pt x="9038" y="2279"/>
                  </a:cubicBezTo>
                  <a:cubicBezTo>
                    <a:pt x="9026" y="2265"/>
                    <a:pt x="9009" y="2226"/>
                    <a:pt x="9001" y="2192"/>
                  </a:cubicBezTo>
                  <a:cubicBezTo>
                    <a:pt x="8991" y="2158"/>
                    <a:pt x="8969" y="2111"/>
                    <a:pt x="8953" y="2085"/>
                  </a:cubicBezTo>
                  <a:cubicBezTo>
                    <a:pt x="8935" y="2060"/>
                    <a:pt x="8913" y="2020"/>
                    <a:pt x="8903" y="1995"/>
                  </a:cubicBezTo>
                  <a:cubicBezTo>
                    <a:pt x="8893" y="1971"/>
                    <a:pt x="8875" y="1943"/>
                    <a:pt x="8866" y="1932"/>
                  </a:cubicBezTo>
                  <a:cubicBezTo>
                    <a:pt x="8855" y="1922"/>
                    <a:pt x="8841" y="1899"/>
                    <a:pt x="8835" y="1883"/>
                  </a:cubicBezTo>
                  <a:cubicBezTo>
                    <a:pt x="8828" y="1867"/>
                    <a:pt x="8811" y="1838"/>
                    <a:pt x="8796" y="1819"/>
                  </a:cubicBezTo>
                  <a:cubicBezTo>
                    <a:pt x="8781" y="1800"/>
                    <a:pt x="8776" y="1785"/>
                    <a:pt x="8784" y="1785"/>
                  </a:cubicBezTo>
                  <a:cubicBezTo>
                    <a:pt x="8793" y="1786"/>
                    <a:pt x="8792" y="1775"/>
                    <a:pt x="8782" y="1760"/>
                  </a:cubicBezTo>
                  <a:cubicBezTo>
                    <a:pt x="8772" y="1746"/>
                    <a:pt x="8752" y="1726"/>
                    <a:pt x="8737" y="1717"/>
                  </a:cubicBezTo>
                  <a:cubicBezTo>
                    <a:pt x="8722" y="1707"/>
                    <a:pt x="8695" y="1691"/>
                    <a:pt x="8675" y="1682"/>
                  </a:cubicBezTo>
                  <a:cubicBezTo>
                    <a:pt x="8656" y="1672"/>
                    <a:pt x="8603" y="1636"/>
                    <a:pt x="8556" y="1601"/>
                  </a:cubicBezTo>
                  <a:cubicBezTo>
                    <a:pt x="8509" y="1565"/>
                    <a:pt x="8458" y="1530"/>
                    <a:pt x="8442" y="1522"/>
                  </a:cubicBezTo>
                  <a:cubicBezTo>
                    <a:pt x="8426" y="1514"/>
                    <a:pt x="8407" y="1508"/>
                    <a:pt x="8403" y="1513"/>
                  </a:cubicBezTo>
                  <a:cubicBezTo>
                    <a:pt x="8398" y="1516"/>
                    <a:pt x="8382" y="1510"/>
                    <a:pt x="8369" y="1498"/>
                  </a:cubicBezTo>
                  <a:cubicBezTo>
                    <a:pt x="8354" y="1488"/>
                    <a:pt x="8333" y="1473"/>
                    <a:pt x="8321" y="1467"/>
                  </a:cubicBezTo>
                  <a:cubicBezTo>
                    <a:pt x="8309" y="1460"/>
                    <a:pt x="8288" y="1457"/>
                    <a:pt x="8275" y="1457"/>
                  </a:cubicBezTo>
                  <a:cubicBezTo>
                    <a:pt x="8261" y="1457"/>
                    <a:pt x="8235" y="1450"/>
                    <a:pt x="8216" y="1442"/>
                  </a:cubicBezTo>
                  <a:cubicBezTo>
                    <a:pt x="8197" y="1433"/>
                    <a:pt x="8171" y="1427"/>
                    <a:pt x="8158" y="1425"/>
                  </a:cubicBezTo>
                  <a:cubicBezTo>
                    <a:pt x="8145" y="1425"/>
                    <a:pt x="8129" y="1417"/>
                    <a:pt x="8121" y="1410"/>
                  </a:cubicBezTo>
                  <a:cubicBezTo>
                    <a:pt x="8115" y="1402"/>
                    <a:pt x="8111" y="1393"/>
                    <a:pt x="8113" y="1389"/>
                  </a:cubicBezTo>
                  <a:cubicBezTo>
                    <a:pt x="8116" y="1386"/>
                    <a:pt x="8105" y="1375"/>
                    <a:pt x="8092" y="1363"/>
                  </a:cubicBezTo>
                  <a:cubicBezTo>
                    <a:pt x="8078" y="1352"/>
                    <a:pt x="8059" y="1342"/>
                    <a:pt x="8049" y="1340"/>
                  </a:cubicBezTo>
                  <a:cubicBezTo>
                    <a:pt x="8040" y="1338"/>
                    <a:pt x="8044" y="1358"/>
                    <a:pt x="8056" y="1388"/>
                  </a:cubicBezTo>
                  <a:cubicBezTo>
                    <a:pt x="8070" y="1416"/>
                    <a:pt x="8084" y="1456"/>
                    <a:pt x="8089" y="1477"/>
                  </a:cubicBezTo>
                  <a:cubicBezTo>
                    <a:pt x="8094" y="1497"/>
                    <a:pt x="8113" y="1531"/>
                    <a:pt x="8131" y="1552"/>
                  </a:cubicBezTo>
                  <a:cubicBezTo>
                    <a:pt x="8150" y="1572"/>
                    <a:pt x="8163" y="1592"/>
                    <a:pt x="8160" y="1595"/>
                  </a:cubicBezTo>
                  <a:cubicBezTo>
                    <a:pt x="8157" y="1596"/>
                    <a:pt x="8159" y="1617"/>
                    <a:pt x="8161" y="1639"/>
                  </a:cubicBezTo>
                  <a:cubicBezTo>
                    <a:pt x="8164" y="1661"/>
                    <a:pt x="8177" y="1688"/>
                    <a:pt x="8188" y="1701"/>
                  </a:cubicBezTo>
                  <a:cubicBezTo>
                    <a:pt x="8200" y="1712"/>
                    <a:pt x="8213" y="1736"/>
                    <a:pt x="8219" y="1751"/>
                  </a:cubicBezTo>
                  <a:cubicBezTo>
                    <a:pt x="8224" y="1767"/>
                    <a:pt x="8238" y="1789"/>
                    <a:pt x="8246" y="1802"/>
                  </a:cubicBezTo>
                  <a:cubicBezTo>
                    <a:pt x="8255" y="1814"/>
                    <a:pt x="8260" y="1831"/>
                    <a:pt x="8260" y="1840"/>
                  </a:cubicBezTo>
                  <a:cubicBezTo>
                    <a:pt x="8259" y="1848"/>
                    <a:pt x="8267" y="1872"/>
                    <a:pt x="8276" y="1894"/>
                  </a:cubicBezTo>
                  <a:cubicBezTo>
                    <a:pt x="8286" y="1915"/>
                    <a:pt x="8308" y="1950"/>
                    <a:pt x="8325" y="1971"/>
                  </a:cubicBezTo>
                  <a:cubicBezTo>
                    <a:pt x="8342" y="1990"/>
                    <a:pt x="8352" y="2019"/>
                    <a:pt x="8350" y="2032"/>
                  </a:cubicBezTo>
                  <a:cubicBezTo>
                    <a:pt x="8347" y="2045"/>
                    <a:pt x="8351" y="2067"/>
                    <a:pt x="8357" y="2081"/>
                  </a:cubicBezTo>
                  <a:cubicBezTo>
                    <a:pt x="8364" y="2094"/>
                    <a:pt x="8380" y="2122"/>
                    <a:pt x="8393" y="2142"/>
                  </a:cubicBezTo>
                  <a:cubicBezTo>
                    <a:pt x="8406" y="2162"/>
                    <a:pt x="8415" y="2184"/>
                    <a:pt x="8415" y="2191"/>
                  </a:cubicBezTo>
                  <a:cubicBezTo>
                    <a:pt x="8415" y="2198"/>
                    <a:pt x="8404" y="2206"/>
                    <a:pt x="8392" y="2210"/>
                  </a:cubicBezTo>
                  <a:cubicBezTo>
                    <a:pt x="8381" y="2214"/>
                    <a:pt x="8364" y="2239"/>
                    <a:pt x="8354" y="2266"/>
                  </a:cubicBezTo>
                  <a:cubicBezTo>
                    <a:pt x="8345" y="2294"/>
                    <a:pt x="8330" y="2318"/>
                    <a:pt x="8323" y="2320"/>
                  </a:cubicBezTo>
                  <a:cubicBezTo>
                    <a:pt x="8316" y="2323"/>
                    <a:pt x="8315" y="2335"/>
                    <a:pt x="8322" y="2348"/>
                  </a:cubicBezTo>
                  <a:cubicBezTo>
                    <a:pt x="8329" y="2361"/>
                    <a:pt x="8347" y="2387"/>
                    <a:pt x="8361" y="2404"/>
                  </a:cubicBezTo>
                  <a:cubicBezTo>
                    <a:pt x="8375" y="2423"/>
                    <a:pt x="8383" y="2444"/>
                    <a:pt x="8381" y="2453"/>
                  </a:cubicBezTo>
                  <a:cubicBezTo>
                    <a:pt x="8378" y="2462"/>
                    <a:pt x="8380" y="2488"/>
                    <a:pt x="8387" y="2511"/>
                  </a:cubicBezTo>
                  <a:cubicBezTo>
                    <a:pt x="8394" y="2534"/>
                    <a:pt x="8419" y="2571"/>
                    <a:pt x="8441" y="2596"/>
                  </a:cubicBezTo>
                  <a:cubicBezTo>
                    <a:pt x="8465" y="2619"/>
                    <a:pt x="8489" y="2637"/>
                    <a:pt x="8496" y="2636"/>
                  </a:cubicBezTo>
                  <a:cubicBezTo>
                    <a:pt x="8503" y="2635"/>
                    <a:pt x="8519" y="2643"/>
                    <a:pt x="8532" y="2656"/>
                  </a:cubicBezTo>
                  <a:cubicBezTo>
                    <a:pt x="8545" y="2670"/>
                    <a:pt x="8571" y="2707"/>
                    <a:pt x="8591" y="2737"/>
                  </a:cubicBezTo>
                  <a:cubicBezTo>
                    <a:pt x="8611" y="2768"/>
                    <a:pt x="8641" y="2798"/>
                    <a:pt x="8657" y="2807"/>
                  </a:cubicBezTo>
                  <a:cubicBezTo>
                    <a:pt x="8674" y="2816"/>
                    <a:pt x="8701" y="2836"/>
                    <a:pt x="8718" y="2855"/>
                  </a:cubicBezTo>
                  <a:cubicBezTo>
                    <a:pt x="8736" y="2871"/>
                    <a:pt x="8739" y="2883"/>
                    <a:pt x="8729" y="2874"/>
                  </a:cubicBezTo>
                  <a:cubicBezTo>
                    <a:pt x="8718" y="2867"/>
                    <a:pt x="8705" y="2869"/>
                    <a:pt x="8700" y="2878"/>
                  </a:cubicBezTo>
                  <a:cubicBezTo>
                    <a:pt x="8696" y="2888"/>
                    <a:pt x="8696" y="2911"/>
                    <a:pt x="8705" y="2929"/>
                  </a:cubicBezTo>
                  <a:cubicBezTo>
                    <a:pt x="8712" y="2949"/>
                    <a:pt x="8742" y="2985"/>
                    <a:pt x="8769" y="3010"/>
                  </a:cubicBezTo>
                  <a:cubicBezTo>
                    <a:pt x="8797" y="3034"/>
                    <a:pt x="8824" y="3070"/>
                    <a:pt x="8830" y="3086"/>
                  </a:cubicBezTo>
                  <a:cubicBezTo>
                    <a:pt x="8836" y="3103"/>
                    <a:pt x="8835" y="3122"/>
                    <a:pt x="8827" y="3127"/>
                  </a:cubicBezTo>
                  <a:cubicBezTo>
                    <a:pt x="8820" y="3133"/>
                    <a:pt x="8804" y="3128"/>
                    <a:pt x="8792" y="3116"/>
                  </a:cubicBezTo>
                  <a:cubicBezTo>
                    <a:pt x="8779" y="3104"/>
                    <a:pt x="8771" y="3104"/>
                    <a:pt x="8776" y="3114"/>
                  </a:cubicBezTo>
                  <a:cubicBezTo>
                    <a:pt x="8779" y="3126"/>
                    <a:pt x="8803" y="3165"/>
                    <a:pt x="8825" y="3202"/>
                  </a:cubicBezTo>
                  <a:cubicBezTo>
                    <a:pt x="8849" y="3239"/>
                    <a:pt x="8878" y="3283"/>
                    <a:pt x="8893" y="3297"/>
                  </a:cubicBezTo>
                  <a:cubicBezTo>
                    <a:pt x="8907" y="3312"/>
                    <a:pt x="8928" y="3348"/>
                    <a:pt x="8944" y="3374"/>
                  </a:cubicBezTo>
                  <a:cubicBezTo>
                    <a:pt x="8958" y="3402"/>
                    <a:pt x="8971" y="3417"/>
                    <a:pt x="8974" y="3408"/>
                  </a:cubicBezTo>
                  <a:cubicBezTo>
                    <a:pt x="8978" y="3400"/>
                    <a:pt x="8991" y="3405"/>
                    <a:pt x="9008" y="3419"/>
                  </a:cubicBezTo>
                  <a:cubicBezTo>
                    <a:pt x="9024" y="3434"/>
                    <a:pt x="9051" y="3451"/>
                    <a:pt x="9067" y="3460"/>
                  </a:cubicBezTo>
                  <a:cubicBezTo>
                    <a:pt x="9084" y="3467"/>
                    <a:pt x="9113" y="3487"/>
                    <a:pt x="9131" y="3505"/>
                  </a:cubicBezTo>
                  <a:cubicBezTo>
                    <a:pt x="9150" y="3522"/>
                    <a:pt x="9169" y="3525"/>
                    <a:pt x="9176" y="3511"/>
                  </a:cubicBezTo>
                  <a:cubicBezTo>
                    <a:pt x="9182" y="3498"/>
                    <a:pt x="9195" y="3494"/>
                    <a:pt x="9205" y="3505"/>
                  </a:cubicBezTo>
                  <a:cubicBezTo>
                    <a:pt x="9215" y="3516"/>
                    <a:pt x="9232" y="3546"/>
                    <a:pt x="9240" y="3573"/>
                  </a:cubicBezTo>
                  <a:cubicBezTo>
                    <a:pt x="9252" y="3598"/>
                    <a:pt x="9271" y="3637"/>
                    <a:pt x="9285" y="3656"/>
                  </a:cubicBezTo>
                  <a:cubicBezTo>
                    <a:pt x="9301" y="3675"/>
                    <a:pt x="9320" y="3696"/>
                    <a:pt x="9329" y="3700"/>
                  </a:cubicBezTo>
                  <a:cubicBezTo>
                    <a:pt x="9337" y="3707"/>
                    <a:pt x="9378" y="3750"/>
                    <a:pt x="9419" y="3799"/>
                  </a:cubicBezTo>
                  <a:cubicBezTo>
                    <a:pt x="9460" y="3849"/>
                    <a:pt x="9507" y="3896"/>
                    <a:pt x="9522" y="3909"/>
                  </a:cubicBezTo>
                  <a:cubicBezTo>
                    <a:pt x="9538" y="3920"/>
                    <a:pt x="9557" y="3926"/>
                    <a:pt x="9564" y="3924"/>
                  </a:cubicBezTo>
                  <a:cubicBezTo>
                    <a:pt x="9572" y="3921"/>
                    <a:pt x="9589" y="3924"/>
                    <a:pt x="9602" y="3930"/>
                  </a:cubicBezTo>
                  <a:cubicBezTo>
                    <a:pt x="9615" y="3936"/>
                    <a:pt x="9630" y="3945"/>
                    <a:pt x="9633" y="3953"/>
                  </a:cubicBezTo>
                  <a:cubicBezTo>
                    <a:pt x="9637" y="3961"/>
                    <a:pt x="9651" y="3970"/>
                    <a:pt x="9663" y="3975"/>
                  </a:cubicBezTo>
                  <a:cubicBezTo>
                    <a:pt x="9675" y="3979"/>
                    <a:pt x="9678" y="3987"/>
                    <a:pt x="9669" y="3993"/>
                  </a:cubicBezTo>
                  <a:cubicBezTo>
                    <a:pt x="9660" y="3996"/>
                    <a:pt x="9667" y="4036"/>
                    <a:pt x="9681" y="4077"/>
                  </a:cubicBezTo>
                  <a:cubicBezTo>
                    <a:pt x="9695" y="4119"/>
                    <a:pt x="9705" y="4160"/>
                    <a:pt x="9707" y="4168"/>
                  </a:cubicBezTo>
                  <a:cubicBezTo>
                    <a:pt x="9707" y="4177"/>
                    <a:pt x="9718" y="4200"/>
                    <a:pt x="9733" y="4221"/>
                  </a:cubicBezTo>
                  <a:cubicBezTo>
                    <a:pt x="9748" y="4241"/>
                    <a:pt x="9759" y="4264"/>
                    <a:pt x="9759" y="4271"/>
                  </a:cubicBezTo>
                  <a:cubicBezTo>
                    <a:pt x="9759" y="4278"/>
                    <a:pt x="9752" y="4281"/>
                    <a:pt x="9744" y="4277"/>
                  </a:cubicBezTo>
                  <a:cubicBezTo>
                    <a:pt x="9736" y="4275"/>
                    <a:pt x="9740" y="4290"/>
                    <a:pt x="9749" y="4314"/>
                  </a:cubicBezTo>
                  <a:cubicBezTo>
                    <a:pt x="9760" y="4338"/>
                    <a:pt x="9772" y="4364"/>
                    <a:pt x="9774" y="4374"/>
                  </a:cubicBezTo>
                  <a:cubicBezTo>
                    <a:pt x="9775" y="4384"/>
                    <a:pt x="9765" y="4384"/>
                    <a:pt x="9749" y="4373"/>
                  </a:cubicBezTo>
                  <a:cubicBezTo>
                    <a:pt x="9734" y="4363"/>
                    <a:pt x="9699" y="4320"/>
                    <a:pt x="9670" y="4279"/>
                  </a:cubicBezTo>
                  <a:cubicBezTo>
                    <a:pt x="9643" y="4236"/>
                    <a:pt x="9599" y="4184"/>
                    <a:pt x="9575" y="4159"/>
                  </a:cubicBezTo>
                  <a:cubicBezTo>
                    <a:pt x="9552" y="4134"/>
                    <a:pt x="9512" y="4103"/>
                    <a:pt x="9490" y="4089"/>
                  </a:cubicBezTo>
                  <a:cubicBezTo>
                    <a:pt x="9466" y="4075"/>
                    <a:pt x="9434" y="4042"/>
                    <a:pt x="9418" y="4016"/>
                  </a:cubicBezTo>
                  <a:cubicBezTo>
                    <a:pt x="9402" y="3991"/>
                    <a:pt x="9372" y="3954"/>
                    <a:pt x="9353" y="3934"/>
                  </a:cubicBezTo>
                  <a:cubicBezTo>
                    <a:pt x="9333" y="3914"/>
                    <a:pt x="9286" y="3882"/>
                    <a:pt x="9248" y="3862"/>
                  </a:cubicBezTo>
                  <a:cubicBezTo>
                    <a:pt x="9210" y="3842"/>
                    <a:pt x="9140" y="3793"/>
                    <a:pt x="9093" y="3751"/>
                  </a:cubicBezTo>
                  <a:cubicBezTo>
                    <a:pt x="9046" y="3710"/>
                    <a:pt x="8987" y="3665"/>
                    <a:pt x="8962" y="3652"/>
                  </a:cubicBezTo>
                  <a:cubicBezTo>
                    <a:pt x="8937" y="3637"/>
                    <a:pt x="8910" y="3614"/>
                    <a:pt x="8903" y="3598"/>
                  </a:cubicBezTo>
                  <a:cubicBezTo>
                    <a:pt x="8896" y="3583"/>
                    <a:pt x="8879" y="3566"/>
                    <a:pt x="8869" y="3560"/>
                  </a:cubicBezTo>
                  <a:cubicBezTo>
                    <a:pt x="8857" y="3554"/>
                    <a:pt x="8834" y="3537"/>
                    <a:pt x="8820" y="3519"/>
                  </a:cubicBezTo>
                  <a:cubicBezTo>
                    <a:pt x="8804" y="3502"/>
                    <a:pt x="8777" y="3488"/>
                    <a:pt x="8759" y="3488"/>
                  </a:cubicBezTo>
                  <a:cubicBezTo>
                    <a:pt x="8741" y="3487"/>
                    <a:pt x="8718" y="3491"/>
                    <a:pt x="8709" y="3499"/>
                  </a:cubicBezTo>
                  <a:cubicBezTo>
                    <a:pt x="8701" y="3507"/>
                    <a:pt x="8681" y="3496"/>
                    <a:pt x="8669" y="3476"/>
                  </a:cubicBezTo>
                  <a:cubicBezTo>
                    <a:pt x="8656" y="3457"/>
                    <a:pt x="8647" y="3434"/>
                    <a:pt x="8650" y="3429"/>
                  </a:cubicBezTo>
                  <a:cubicBezTo>
                    <a:pt x="8650" y="3423"/>
                    <a:pt x="8648" y="3408"/>
                    <a:pt x="8641" y="3397"/>
                  </a:cubicBezTo>
                  <a:cubicBezTo>
                    <a:pt x="8634" y="3384"/>
                    <a:pt x="8585" y="3344"/>
                    <a:pt x="8533" y="3307"/>
                  </a:cubicBezTo>
                  <a:cubicBezTo>
                    <a:pt x="8482" y="3270"/>
                    <a:pt x="8417" y="3221"/>
                    <a:pt x="8392" y="3197"/>
                  </a:cubicBezTo>
                  <a:cubicBezTo>
                    <a:pt x="8366" y="3173"/>
                    <a:pt x="8286" y="3128"/>
                    <a:pt x="8214" y="3095"/>
                  </a:cubicBezTo>
                  <a:cubicBezTo>
                    <a:pt x="8143" y="3061"/>
                    <a:pt x="8040" y="3023"/>
                    <a:pt x="7987" y="3009"/>
                  </a:cubicBezTo>
                  <a:cubicBezTo>
                    <a:pt x="7934" y="2995"/>
                    <a:pt x="7877" y="2976"/>
                    <a:pt x="7862" y="2964"/>
                  </a:cubicBezTo>
                  <a:cubicBezTo>
                    <a:pt x="7846" y="2954"/>
                    <a:pt x="7822" y="2944"/>
                    <a:pt x="7808" y="2939"/>
                  </a:cubicBezTo>
                  <a:cubicBezTo>
                    <a:pt x="7794" y="2936"/>
                    <a:pt x="7770" y="2922"/>
                    <a:pt x="7755" y="2908"/>
                  </a:cubicBezTo>
                  <a:cubicBezTo>
                    <a:pt x="7741" y="2893"/>
                    <a:pt x="7723" y="2885"/>
                    <a:pt x="7718" y="2886"/>
                  </a:cubicBezTo>
                  <a:cubicBezTo>
                    <a:pt x="7713" y="2887"/>
                    <a:pt x="7697" y="2882"/>
                    <a:pt x="7684" y="2873"/>
                  </a:cubicBezTo>
                  <a:cubicBezTo>
                    <a:pt x="7671" y="2865"/>
                    <a:pt x="7654" y="2864"/>
                    <a:pt x="7648" y="2869"/>
                  </a:cubicBezTo>
                  <a:cubicBezTo>
                    <a:pt x="7642" y="2873"/>
                    <a:pt x="7648" y="2893"/>
                    <a:pt x="7660" y="2912"/>
                  </a:cubicBezTo>
                  <a:cubicBezTo>
                    <a:pt x="7674" y="2930"/>
                    <a:pt x="7686" y="2958"/>
                    <a:pt x="7691" y="2970"/>
                  </a:cubicBezTo>
                  <a:cubicBezTo>
                    <a:pt x="7694" y="2983"/>
                    <a:pt x="7687" y="2992"/>
                    <a:pt x="7673" y="2992"/>
                  </a:cubicBezTo>
                  <a:cubicBezTo>
                    <a:pt x="7659" y="2992"/>
                    <a:pt x="7648" y="2998"/>
                    <a:pt x="7651" y="3003"/>
                  </a:cubicBezTo>
                  <a:cubicBezTo>
                    <a:pt x="7651" y="3010"/>
                    <a:pt x="7668" y="3033"/>
                    <a:pt x="7685" y="3054"/>
                  </a:cubicBezTo>
                  <a:cubicBezTo>
                    <a:pt x="7702" y="3075"/>
                    <a:pt x="7725" y="3102"/>
                    <a:pt x="7737" y="3111"/>
                  </a:cubicBezTo>
                  <a:cubicBezTo>
                    <a:pt x="7749" y="3122"/>
                    <a:pt x="7774" y="3154"/>
                    <a:pt x="7790" y="3186"/>
                  </a:cubicBezTo>
                  <a:cubicBezTo>
                    <a:pt x="7807" y="3217"/>
                    <a:pt x="7831" y="3255"/>
                    <a:pt x="7842" y="3271"/>
                  </a:cubicBezTo>
                  <a:cubicBezTo>
                    <a:pt x="7854" y="3287"/>
                    <a:pt x="7862" y="3290"/>
                    <a:pt x="7860" y="3277"/>
                  </a:cubicBezTo>
                  <a:cubicBezTo>
                    <a:pt x="7858" y="3265"/>
                    <a:pt x="7865" y="3258"/>
                    <a:pt x="7875" y="3263"/>
                  </a:cubicBezTo>
                  <a:cubicBezTo>
                    <a:pt x="7884" y="3268"/>
                    <a:pt x="7909" y="3297"/>
                    <a:pt x="7930" y="3327"/>
                  </a:cubicBezTo>
                  <a:cubicBezTo>
                    <a:pt x="7950" y="3357"/>
                    <a:pt x="7973" y="3393"/>
                    <a:pt x="7979" y="3409"/>
                  </a:cubicBezTo>
                  <a:cubicBezTo>
                    <a:pt x="7985" y="3423"/>
                    <a:pt x="8005" y="3445"/>
                    <a:pt x="8023" y="3456"/>
                  </a:cubicBezTo>
                  <a:cubicBezTo>
                    <a:pt x="8042" y="3468"/>
                    <a:pt x="8080" y="3502"/>
                    <a:pt x="8107" y="3533"/>
                  </a:cubicBezTo>
                  <a:cubicBezTo>
                    <a:pt x="8134" y="3566"/>
                    <a:pt x="8141" y="3580"/>
                    <a:pt x="8120" y="3569"/>
                  </a:cubicBezTo>
                  <a:cubicBezTo>
                    <a:pt x="8099" y="3557"/>
                    <a:pt x="8074" y="3542"/>
                    <a:pt x="8066" y="3532"/>
                  </a:cubicBezTo>
                  <a:cubicBezTo>
                    <a:pt x="8056" y="3524"/>
                    <a:pt x="8041" y="3513"/>
                    <a:pt x="8030" y="3509"/>
                  </a:cubicBezTo>
                  <a:cubicBezTo>
                    <a:pt x="8019" y="3506"/>
                    <a:pt x="8010" y="3523"/>
                    <a:pt x="8013" y="3547"/>
                  </a:cubicBezTo>
                  <a:cubicBezTo>
                    <a:pt x="8015" y="3571"/>
                    <a:pt x="8008" y="3593"/>
                    <a:pt x="7997" y="3598"/>
                  </a:cubicBezTo>
                  <a:cubicBezTo>
                    <a:pt x="7986" y="3603"/>
                    <a:pt x="7957" y="3593"/>
                    <a:pt x="7934" y="3575"/>
                  </a:cubicBezTo>
                  <a:cubicBezTo>
                    <a:pt x="7910" y="3558"/>
                    <a:pt x="7884" y="3546"/>
                    <a:pt x="7877" y="3552"/>
                  </a:cubicBezTo>
                  <a:cubicBezTo>
                    <a:pt x="7869" y="3557"/>
                    <a:pt x="7865" y="3567"/>
                    <a:pt x="7865" y="3576"/>
                  </a:cubicBezTo>
                  <a:cubicBezTo>
                    <a:pt x="7868" y="3583"/>
                    <a:pt x="7886" y="3613"/>
                    <a:pt x="7909" y="3639"/>
                  </a:cubicBezTo>
                  <a:cubicBezTo>
                    <a:pt x="7932" y="3664"/>
                    <a:pt x="7955" y="3693"/>
                    <a:pt x="7963" y="3701"/>
                  </a:cubicBezTo>
                  <a:cubicBezTo>
                    <a:pt x="7970" y="3709"/>
                    <a:pt x="7980" y="3723"/>
                    <a:pt x="7981" y="3732"/>
                  </a:cubicBezTo>
                  <a:cubicBezTo>
                    <a:pt x="7984" y="3742"/>
                    <a:pt x="7982" y="3755"/>
                    <a:pt x="7977" y="3761"/>
                  </a:cubicBezTo>
                  <a:cubicBezTo>
                    <a:pt x="7972" y="3767"/>
                    <a:pt x="7936" y="3758"/>
                    <a:pt x="7896" y="3743"/>
                  </a:cubicBezTo>
                  <a:cubicBezTo>
                    <a:pt x="7857" y="3726"/>
                    <a:pt x="7815" y="3702"/>
                    <a:pt x="7803" y="3686"/>
                  </a:cubicBezTo>
                  <a:cubicBezTo>
                    <a:pt x="7789" y="3671"/>
                    <a:pt x="7779" y="3649"/>
                    <a:pt x="7779" y="3638"/>
                  </a:cubicBezTo>
                  <a:cubicBezTo>
                    <a:pt x="7779" y="3627"/>
                    <a:pt x="7769" y="3601"/>
                    <a:pt x="7756" y="3584"/>
                  </a:cubicBezTo>
                  <a:cubicBezTo>
                    <a:pt x="7744" y="3565"/>
                    <a:pt x="7741" y="3545"/>
                    <a:pt x="7749" y="3537"/>
                  </a:cubicBezTo>
                  <a:cubicBezTo>
                    <a:pt x="7758" y="3529"/>
                    <a:pt x="7761" y="3517"/>
                    <a:pt x="7760" y="3508"/>
                  </a:cubicBezTo>
                  <a:cubicBezTo>
                    <a:pt x="7756" y="3499"/>
                    <a:pt x="7738" y="3474"/>
                    <a:pt x="7718" y="3453"/>
                  </a:cubicBezTo>
                  <a:cubicBezTo>
                    <a:pt x="7697" y="3433"/>
                    <a:pt x="7670" y="3407"/>
                    <a:pt x="7657" y="3398"/>
                  </a:cubicBezTo>
                  <a:cubicBezTo>
                    <a:pt x="7644" y="3387"/>
                    <a:pt x="7638" y="3373"/>
                    <a:pt x="7646" y="3364"/>
                  </a:cubicBezTo>
                  <a:cubicBezTo>
                    <a:pt x="7654" y="3355"/>
                    <a:pt x="7653" y="3343"/>
                    <a:pt x="7651" y="3335"/>
                  </a:cubicBezTo>
                  <a:cubicBezTo>
                    <a:pt x="7646" y="3330"/>
                    <a:pt x="7635" y="3326"/>
                    <a:pt x="7625" y="3327"/>
                  </a:cubicBezTo>
                  <a:cubicBezTo>
                    <a:pt x="7615" y="3329"/>
                    <a:pt x="7601" y="3328"/>
                    <a:pt x="7593" y="3326"/>
                  </a:cubicBezTo>
                  <a:cubicBezTo>
                    <a:pt x="7585" y="3324"/>
                    <a:pt x="7568" y="3332"/>
                    <a:pt x="7554" y="3345"/>
                  </a:cubicBezTo>
                  <a:cubicBezTo>
                    <a:pt x="7540" y="3358"/>
                    <a:pt x="7520" y="3366"/>
                    <a:pt x="7509" y="3366"/>
                  </a:cubicBezTo>
                  <a:cubicBezTo>
                    <a:pt x="7497" y="3363"/>
                    <a:pt x="7480" y="3368"/>
                    <a:pt x="7469" y="3376"/>
                  </a:cubicBezTo>
                  <a:cubicBezTo>
                    <a:pt x="7459" y="3384"/>
                    <a:pt x="7453" y="3396"/>
                    <a:pt x="7453" y="3405"/>
                  </a:cubicBezTo>
                  <a:cubicBezTo>
                    <a:pt x="7453" y="3413"/>
                    <a:pt x="7440" y="3415"/>
                    <a:pt x="7421" y="3410"/>
                  </a:cubicBezTo>
                  <a:cubicBezTo>
                    <a:pt x="7402" y="3405"/>
                    <a:pt x="7382" y="3405"/>
                    <a:pt x="7377" y="3412"/>
                  </a:cubicBezTo>
                  <a:cubicBezTo>
                    <a:pt x="7371" y="3418"/>
                    <a:pt x="7371" y="3431"/>
                    <a:pt x="7373" y="3442"/>
                  </a:cubicBezTo>
                  <a:cubicBezTo>
                    <a:pt x="7377" y="3452"/>
                    <a:pt x="7370" y="3463"/>
                    <a:pt x="7362" y="3469"/>
                  </a:cubicBezTo>
                  <a:cubicBezTo>
                    <a:pt x="7353" y="3473"/>
                    <a:pt x="7317" y="3468"/>
                    <a:pt x="7283" y="3455"/>
                  </a:cubicBezTo>
                  <a:cubicBezTo>
                    <a:pt x="7249" y="3444"/>
                    <a:pt x="7211" y="3426"/>
                    <a:pt x="7198" y="3417"/>
                  </a:cubicBezTo>
                  <a:cubicBezTo>
                    <a:pt x="7185" y="3409"/>
                    <a:pt x="7169" y="3402"/>
                    <a:pt x="7164" y="3404"/>
                  </a:cubicBezTo>
                  <a:cubicBezTo>
                    <a:pt x="7158" y="3406"/>
                    <a:pt x="7144" y="3403"/>
                    <a:pt x="7134" y="3399"/>
                  </a:cubicBezTo>
                  <a:cubicBezTo>
                    <a:pt x="7123" y="3394"/>
                    <a:pt x="7106" y="3382"/>
                    <a:pt x="7094" y="3372"/>
                  </a:cubicBezTo>
                  <a:cubicBezTo>
                    <a:pt x="7083" y="3360"/>
                    <a:pt x="7059" y="3357"/>
                    <a:pt x="7042" y="3364"/>
                  </a:cubicBezTo>
                  <a:cubicBezTo>
                    <a:pt x="7025" y="3370"/>
                    <a:pt x="7010" y="3380"/>
                    <a:pt x="7008" y="3387"/>
                  </a:cubicBezTo>
                  <a:cubicBezTo>
                    <a:pt x="7006" y="3394"/>
                    <a:pt x="6992" y="3397"/>
                    <a:pt x="6977" y="3394"/>
                  </a:cubicBezTo>
                  <a:cubicBezTo>
                    <a:pt x="6961" y="3391"/>
                    <a:pt x="6942" y="3398"/>
                    <a:pt x="6932" y="3408"/>
                  </a:cubicBezTo>
                  <a:cubicBezTo>
                    <a:pt x="6922" y="3417"/>
                    <a:pt x="6918" y="3432"/>
                    <a:pt x="6920" y="3440"/>
                  </a:cubicBezTo>
                  <a:cubicBezTo>
                    <a:pt x="6921" y="3448"/>
                    <a:pt x="6936" y="3463"/>
                    <a:pt x="6950" y="3476"/>
                  </a:cubicBezTo>
                  <a:cubicBezTo>
                    <a:pt x="6965" y="3487"/>
                    <a:pt x="6974" y="3506"/>
                    <a:pt x="6974" y="3515"/>
                  </a:cubicBezTo>
                  <a:cubicBezTo>
                    <a:pt x="6973" y="3524"/>
                    <a:pt x="6977" y="3540"/>
                    <a:pt x="6983" y="3550"/>
                  </a:cubicBezTo>
                  <a:cubicBezTo>
                    <a:pt x="6989" y="3561"/>
                    <a:pt x="6991" y="3573"/>
                    <a:pt x="6989" y="3579"/>
                  </a:cubicBezTo>
                  <a:cubicBezTo>
                    <a:pt x="6984" y="3583"/>
                    <a:pt x="6971" y="3575"/>
                    <a:pt x="6954" y="3562"/>
                  </a:cubicBezTo>
                  <a:cubicBezTo>
                    <a:pt x="6939" y="3547"/>
                    <a:pt x="6916" y="3526"/>
                    <a:pt x="6907" y="3511"/>
                  </a:cubicBezTo>
                  <a:cubicBezTo>
                    <a:pt x="6897" y="3498"/>
                    <a:pt x="6883" y="3485"/>
                    <a:pt x="6875" y="3484"/>
                  </a:cubicBezTo>
                  <a:cubicBezTo>
                    <a:pt x="6868" y="3482"/>
                    <a:pt x="6852" y="3492"/>
                    <a:pt x="6842" y="3507"/>
                  </a:cubicBezTo>
                  <a:cubicBezTo>
                    <a:pt x="6830" y="3520"/>
                    <a:pt x="6821" y="3547"/>
                    <a:pt x="6818" y="3564"/>
                  </a:cubicBezTo>
                  <a:cubicBezTo>
                    <a:pt x="6814" y="3581"/>
                    <a:pt x="6809" y="3580"/>
                    <a:pt x="6804" y="3560"/>
                  </a:cubicBezTo>
                  <a:cubicBezTo>
                    <a:pt x="6797" y="3541"/>
                    <a:pt x="6777" y="3517"/>
                    <a:pt x="6760" y="3503"/>
                  </a:cubicBezTo>
                  <a:cubicBezTo>
                    <a:pt x="6741" y="3491"/>
                    <a:pt x="6719" y="3485"/>
                    <a:pt x="6709" y="3487"/>
                  </a:cubicBezTo>
                  <a:cubicBezTo>
                    <a:pt x="6701" y="3493"/>
                    <a:pt x="6684" y="3489"/>
                    <a:pt x="6673" y="3487"/>
                  </a:cubicBezTo>
                  <a:cubicBezTo>
                    <a:pt x="6663" y="3482"/>
                    <a:pt x="6646" y="3479"/>
                    <a:pt x="6636" y="3479"/>
                  </a:cubicBezTo>
                  <a:cubicBezTo>
                    <a:pt x="6626" y="3479"/>
                    <a:pt x="6606" y="3473"/>
                    <a:pt x="6592" y="3465"/>
                  </a:cubicBezTo>
                  <a:cubicBezTo>
                    <a:pt x="6578" y="3457"/>
                    <a:pt x="6561" y="3439"/>
                    <a:pt x="6553" y="3425"/>
                  </a:cubicBezTo>
                  <a:cubicBezTo>
                    <a:pt x="6545" y="3412"/>
                    <a:pt x="6550" y="3390"/>
                    <a:pt x="6562" y="3380"/>
                  </a:cubicBezTo>
                  <a:cubicBezTo>
                    <a:pt x="6574" y="3370"/>
                    <a:pt x="6596" y="3367"/>
                    <a:pt x="6613" y="3370"/>
                  </a:cubicBezTo>
                  <a:cubicBezTo>
                    <a:pt x="6628" y="3376"/>
                    <a:pt x="6646" y="3372"/>
                    <a:pt x="6648" y="3362"/>
                  </a:cubicBezTo>
                  <a:cubicBezTo>
                    <a:pt x="6651" y="3353"/>
                    <a:pt x="6641" y="3328"/>
                    <a:pt x="6625" y="3307"/>
                  </a:cubicBezTo>
                  <a:cubicBezTo>
                    <a:pt x="6609" y="3286"/>
                    <a:pt x="6596" y="3264"/>
                    <a:pt x="6599" y="3260"/>
                  </a:cubicBezTo>
                  <a:cubicBezTo>
                    <a:pt x="6603" y="3255"/>
                    <a:pt x="6610" y="3248"/>
                    <a:pt x="6619" y="3246"/>
                  </a:cubicBezTo>
                  <a:cubicBezTo>
                    <a:pt x="6627" y="3243"/>
                    <a:pt x="6615" y="3223"/>
                    <a:pt x="6592" y="3199"/>
                  </a:cubicBezTo>
                  <a:cubicBezTo>
                    <a:pt x="6567" y="3177"/>
                    <a:pt x="6542" y="3157"/>
                    <a:pt x="6534" y="3160"/>
                  </a:cubicBezTo>
                  <a:cubicBezTo>
                    <a:pt x="6527" y="3162"/>
                    <a:pt x="6511" y="3158"/>
                    <a:pt x="6499" y="3152"/>
                  </a:cubicBezTo>
                  <a:cubicBezTo>
                    <a:pt x="6487" y="3146"/>
                    <a:pt x="6473" y="3132"/>
                    <a:pt x="6464" y="3123"/>
                  </a:cubicBezTo>
                  <a:cubicBezTo>
                    <a:pt x="6457" y="3114"/>
                    <a:pt x="6471" y="3103"/>
                    <a:pt x="6497" y="3099"/>
                  </a:cubicBezTo>
                  <a:cubicBezTo>
                    <a:pt x="6523" y="3096"/>
                    <a:pt x="6553" y="3095"/>
                    <a:pt x="6565" y="3098"/>
                  </a:cubicBezTo>
                  <a:cubicBezTo>
                    <a:pt x="6577" y="3101"/>
                    <a:pt x="6598" y="3103"/>
                    <a:pt x="6612" y="3099"/>
                  </a:cubicBezTo>
                  <a:cubicBezTo>
                    <a:pt x="6626" y="3097"/>
                    <a:pt x="6631" y="3089"/>
                    <a:pt x="6628" y="3081"/>
                  </a:cubicBezTo>
                  <a:cubicBezTo>
                    <a:pt x="6622" y="3075"/>
                    <a:pt x="6596" y="3064"/>
                    <a:pt x="6569" y="3058"/>
                  </a:cubicBezTo>
                  <a:cubicBezTo>
                    <a:pt x="6541" y="3052"/>
                    <a:pt x="6488" y="3051"/>
                    <a:pt x="6451" y="3054"/>
                  </a:cubicBezTo>
                  <a:cubicBezTo>
                    <a:pt x="6413" y="3056"/>
                    <a:pt x="6374" y="3065"/>
                    <a:pt x="6365" y="3072"/>
                  </a:cubicBezTo>
                  <a:cubicBezTo>
                    <a:pt x="6355" y="3078"/>
                    <a:pt x="6352" y="3092"/>
                    <a:pt x="6361" y="3099"/>
                  </a:cubicBezTo>
                  <a:cubicBezTo>
                    <a:pt x="6369" y="3108"/>
                    <a:pt x="6383" y="3130"/>
                    <a:pt x="6392" y="3146"/>
                  </a:cubicBezTo>
                  <a:cubicBezTo>
                    <a:pt x="6401" y="3163"/>
                    <a:pt x="6416" y="3186"/>
                    <a:pt x="6425" y="3198"/>
                  </a:cubicBezTo>
                  <a:cubicBezTo>
                    <a:pt x="6433" y="3210"/>
                    <a:pt x="6436" y="3226"/>
                    <a:pt x="6431" y="3235"/>
                  </a:cubicBezTo>
                  <a:cubicBezTo>
                    <a:pt x="6425" y="3244"/>
                    <a:pt x="6413" y="3251"/>
                    <a:pt x="6404" y="3250"/>
                  </a:cubicBezTo>
                  <a:cubicBezTo>
                    <a:pt x="6395" y="3251"/>
                    <a:pt x="6371" y="3232"/>
                    <a:pt x="6351" y="3211"/>
                  </a:cubicBezTo>
                  <a:cubicBezTo>
                    <a:pt x="6332" y="3188"/>
                    <a:pt x="6317" y="3166"/>
                    <a:pt x="6321" y="3161"/>
                  </a:cubicBezTo>
                  <a:cubicBezTo>
                    <a:pt x="6326" y="3156"/>
                    <a:pt x="6331" y="3148"/>
                    <a:pt x="6336" y="3148"/>
                  </a:cubicBezTo>
                  <a:cubicBezTo>
                    <a:pt x="6341" y="3147"/>
                    <a:pt x="6340" y="3137"/>
                    <a:pt x="6335" y="3126"/>
                  </a:cubicBezTo>
                  <a:cubicBezTo>
                    <a:pt x="6330" y="3114"/>
                    <a:pt x="6321" y="3105"/>
                    <a:pt x="6316" y="3103"/>
                  </a:cubicBezTo>
                  <a:cubicBezTo>
                    <a:pt x="6311" y="3100"/>
                    <a:pt x="6288" y="3115"/>
                    <a:pt x="6267" y="3136"/>
                  </a:cubicBezTo>
                  <a:cubicBezTo>
                    <a:pt x="6245" y="3155"/>
                    <a:pt x="6233" y="3177"/>
                    <a:pt x="6233" y="3185"/>
                  </a:cubicBezTo>
                  <a:cubicBezTo>
                    <a:pt x="6237" y="3192"/>
                    <a:pt x="6251" y="3213"/>
                    <a:pt x="6267" y="3229"/>
                  </a:cubicBezTo>
                  <a:cubicBezTo>
                    <a:pt x="6283" y="3246"/>
                    <a:pt x="6304" y="3265"/>
                    <a:pt x="6315" y="3272"/>
                  </a:cubicBezTo>
                  <a:cubicBezTo>
                    <a:pt x="6326" y="3280"/>
                    <a:pt x="6336" y="3295"/>
                    <a:pt x="6337" y="3306"/>
                  </a:cubicBezTo>
                  <a:cubicBezTo>
                    <a:pt x="6339" y="3317"/>
                    <a:pt x="6329" y="3337"/>
                    <a:pt x="6315" y="3348"/>
                  </a:cubicBezTo>
                  <a:cubicBezTo>
                    <a:pt x="6301" y="3360"/>
                    <a:pt x="6281" y="3364"/>
                    <a:pt x="6271" y="3354"/>
                  </a:cubicBezTo>
                  <a:cubicBezTo>
                    <a:pt x="6260" y="3345"/>
                    <a:pt x="6254" y="3332"/>
                    <a:pt x="6257" y="3324"/>
                  </a:cubicBezTo>
                  <a:cubicBezTo>
                    <a:pt x="6261" y="3317"/>
                    <a:pt x="6257" y="3299"/>
                    <a:pt x="6251" y="3285"/>
                  </a:cubicBezTo>
                  <a:cubicBezTo>
                    <a:pt x="6246" y="3271"/>
                    <a:pt x="6234" y="3259"/>
                    <a:pt x="6228" y="3256"/>
                  </a:cubicBezTo>
                  <a:cubicBezTo>
                    <a:pt x="6222" y="3254"/>
                    <a:pt x="6213" y="3240"/>
                    <a:pt x="6207" y="3228"/>
                  </a:cubicBezTo>
                  <a:cubicBezTo>
                    <a:pt x="6202" y="3215"/>
                    <a:pt x="6174" y="3204"/>
                    <a:pt x="6144" y="3203"/>
                  </a:cubicBezTo>
                  <a:cubicBezTo>
                    <a:pt x="6115" y="3202"/>
                    <a:pt x="6089" y="3210"/>
                    <a:pt x="6089" y="3219"/>
                  </a:cubicBezTo>
                  <a:cubicBezTo>
                    <a:pt x="6087" y="3228"/>
                    <a:pt x="6071" y="3238"/>
                    <a:pt x="6052" y="3242"/>
                  </a:cubicBezTo>
                  <a:cubicBezTo>
                    <a:pt x="6032" y="3245"/>
                    <a:pt x="6000" y="3241"/>
                    <a:pt x="5981" y="3231"/>
                  </a:cubicBezTo>
                  <a:cubicBezTo>
                    <a:pt x="5962" y="3222"/>
                    <a:pt x="5939" y="3216"/>
                    <a:pt x="5931" y="3218"/>
                  </a:cubicBezTo>
                  <a:cubicBezTo>
                    <a:pt x="5922" y="3219"/>
                    <a:pt x="5918" y="3229"/>
                    <a:pt x="5920" y="3239"/>
                  </a:cubicBezTo>
                  <a:cubicBezTo>
                    <a:pt x="5923" y="3248"/>
                    <a:pt x="5906" y="3280"/>
                    <a:pt x="5883" y="3311"/>
                  </a:cubicBezTo>
                  <a:cubicBezTo>
                    <a:pt x="5859" y="3341"/>
                    <a:pt x="5834" y="3366"/>
                    <a:pt x="5825" y="3366"/>
                  </a:cubicBezTo>
                  <a:cubicBezTo>
                    <a:pt x="5816" y="3365"/>
                    <a:pt x="5791" y="3388"/>
                    <a:pt x="5771" y="3417"/>
                  </a:cubicBezTo>
                  <a:cubicBezTo>
                    <a:pt x="5750" y="3446"/>
                    <a:pt x="5722" y="3469"/>
                    <a:pt x="5710" y="3474"/>
                  </a:cubicBezTo>
                  <a:cubicBezTo>
                    <a:pt x="5698" y="3477"/>
                    <a:pt x="5676" y="3466"/>
                    <a:pt x="5659" y="3451"/>
                  </a:cubicBezTo>
                  <a:cubicBezTo>
                    <a:pt x="5643" y="3435"/>
                    <a:pt x="5623" y="3420"/>
                    <a:pt x="5615" y="3418"/>
                  </a:cubicBezTo>
                  <a:cubicBezTo>
                    <a:pt x="5607" y="3415"/>
                    <a:pt x="5609" y="3428"/>
                    <a:pt x="5620" y="3447"/>
                  </a:cubicBezTo>
                  <a:cubicBezTo>
                    <a:pt x="5631" y="3466"/>
                    <a:pt x="5663" y="3499"/>
                    <a:pt x="5690" y="3523"/>
                  </a:cubicBezTo>
                  <a:cubicBezTo>
                    <a:pt x="5717" y="3546"/>
                    <a:pt x="5743" y="3578"/>
                    <a:pt x="5751" y="3591"/>
                  </a:cubicBezTo>
                  <a:cubicBezTo>
                    <a:pt x="5759" y="3604"/>
                    <a:pt x="5740" y="3601"/>
                    <a:pt x="5709" y="3582"/>
                  </a:cubicBezTo>
                  <a:cubicBezTo>
                    <a:pt x="5680" y="3563"/>
                    <a:pt x="5650" y="3554"/>
                    <a:pt x="5646" y="3562"/>
                  </a:cubicBezTo>
                  <a:cubicBezTo>
                    <a:pt x="5641" y="3570"/>
                    <a:pt x="5601" y="3571"/>
                    <a:pt x="5557" y="3562"/>
                  </a:cubicBezTo>
                  <a:cubicBezTo>
                    <a:pt x="5513" y="3554"/>
                    <a:pt x="5470" y="3551"/>
                    <a:pt x="5463" y="3554"/>
                  </a:cubicBezTo>
                  <a:cubicBezTo>
                    <a:pt x="5456" y="3559"/>
                    <a:pt x="5464" y="3577"/>
                    <a:pt x="5480" y="3597"/>
                  </a:cubicBezTo>
                  <a:cubicBezTo>
                    <a:pt x="5498" y="3616"/>
                    <a:pt x="5516" y="3645"/>
                    <a:pt x="5520" y="3661"/>
                  </a:cubicBezTo>
                  <a:cubicBezTo>
                    <a:pt x="5523" y="3677"/>
                    <a:pt x="5523" y="3703"/>
                    <a:pt x="5517" y="3719"/>
                  </a:cubicBezTo>
                  <a:cubicBezTo>
                    <a:pt x="5510" y="3735"/>
                    <a:pt x="5519" y="3771"/>
                    <a:pt x="5532" y="3800"/>
                  </a:cubicBezTo>
                  <a:cubicBezTo>
                    <a:pt x="5546" y="3828"/>
                    <a:pt x="5558" y="3865"/>
                    <a:pt x="5555" y="3881"/>
                  </a:cubicBezTo>
                  <a:cubicBezTo>
                    <a:pt x="5553" y="3898"/>
                    <a:pt x="5531" y="3916"/>
                    <a:pt x="5503" y="3920"/>
                  </a:cubicBezTo>
                  <a:cubicBezTo>
                    <a:pt x="5476" y="3925"/>
                    <a:pt x="5453" y="3936"/>
                    <a:pt x="5450" y="3943"/>
                  </a:cubicBezTo>
                  <a:cubicBezTo>
                    <a:pt x="5448" y="3952"/>
                    <a:pt x="5430" y="3954"/>
                    <a:pt x="5412" y="3948"/>
                  </a:cubicBezTo>
                  <a:cubicBezTo>
                    <a:pt x="5393" y="3943"/>
                    <a:pt x="5375" y="3946"/>
                    <a:pt x="5369" y="3954"/>
                  </a:cubicBezTo>
                  <a:cubicBezTo>
                    <a:pt x="5364" y="3962"/>
                    <a:pt x="5347" y="3951"/>
                    <a:pt x="5332" y="3929"/>
                  </a:cubicBezTo>
                  <a:cubicBezTo>
                    <a:pt x="5316" y="3907"/>
                    <a:pt x="5288" y="3895"/>
                    <a:pt x="5269" y="3907"/>
                  </a:cubicBezTo>
                  <a:cubicBezTo>
                    <a:pt x="5250" y="3916"/>
                    <a:pt x="5222" y="3922"/>
                    <a:pt x="5206" y="3916"/>
                  </a:cubicBezTo>
                  <a:cubicBezTo>
                    <a:pt x="5190" y="3912"/>
                    <a:pt x="5139" y="3864"/>
                    <a:pt x="5093" y="3808"/>
                  </a:cubicBezTo>
                  <a:cubicBezTo>
                    <a:pt x="5047" y="3753"/>
                    <a:pt x="4973" y="3676"/>
                    <a:pt x="4930" y="3635"/>
                  </a:cubicBezTo>
                  <a:cubicBezTo>
                    <a:pt x="4886" y="3596"/>
                    <a:pt x="4840" y="3553"/>
                    <a:pt x="4825" y="3544"/>
                  </a:cubicBezTo>
                  <a:cubicBezTo>
                    <a:pt x="4810" y="3534"/>
                    <a:pt x="4794" y="3506"/>
                    <a:pt x="4790" y="3481"/>
                  </a:cubicBezTo>
                  <a:cubicBezTo>
                    <a:pt x="4785" y="3456"/>
                    <a:pt x="4784" y="3429"/>
                    <a:pt x="4786" y="3420"/>
                  </a:cubicBezTo>
                  <a:cubicBezTo>
                    <a:pt x="4789" y="3412"/>
                    <a:pt x="4798" y="3411"/>
                    <a:pt x="4809" y="3419"/>
                  </a:cubicBezTo>
                  <a:cubicBezTo>
                    <a:pt x="4819" y="3427"/>
                    <a:pt x="4834" y="3426"/>
                    <a:pt x="4836" y="3414"/>
                  </a:cubicBezTo>
                  <a:cubicBezTo>
                    <a:pt x="4841" y="3404"/>
                    <a:pt x="4839" y="3387"/>
                    <a:pt x="4835" y="3377"/>
                  </a:cubicBezTo>
                  <a:cubicBezTo>
                    <a:pt x="4829" y="3367"/>
                    <a:pt x="4830" y="3352"/>
                    <a:pt x="4837" y="3346"/>
                  </a:cubicBezTo>
                  <a:cubicBezTo>
                    <a:pt x="4844" y="3340"/>
                    <a:pt x="4870" y="3342"/>
                    <a:pt x="4898" y="3347"/>
                  </a:cubicBezTo>
                  <a:cubicBezTo>
                    <a:pt x="4925" y="3354"/>
                    <a:pt x="4950" y="3351"/>
                    <a:pt x="4956" y="3343"/>
                  </a:cubicBezTo>
                  <a:cubicBezTo>
                    <a:pt x="4960" y="3333"/>
                    <a:pt x="4990" y="3334"/>
                    <a:pt x="5021" y="3343"/>
                  </a:cubicBezTo>
                  <a:cubicBezTo>
                    <a:pt x="5052" y="3353"/>
                    <a:pt x="5079" y="3350"/>
                    <a:pt x="5078" y="3339"/>
                  </a:cubicBezTo>
                  <a:cubicBezTo>
                    <a:pt x="5076" y="3327"/>
                    <a:pt x="5053" y="3286"/>
                    <a:pt x="5020" y="3250"/>
                  </a:cubicBezTo>
                  <a:cubicBezTo>
                    <a:pt x="4988" y="3214"/>
                    <a:pt x="4955" y="3172"/>
                    <a:pt x="4950" y="3157"/>
                  </a:cubicBezTo>
                  <a:cubicBezTo>
                    <a:pt x="4945" y="3142"/>
                    <a:pt x="4921" y="3125"/>
                    <a:pt x="4901" y="3116"/>
                  </a:cubicBezTo>
                  <a:cubicBezTo>
                    <a:pt x="4880" y="3109"/>
                    <a:pt x="4845" y="3079"/>
                    <a:pt x="4821" y="3054"/>
                  </a:cubicBezTo>
                  <a:cubicBezTo>
                    <a:pt x="4798" y="3027"/>
                    <a:pt x="4775" y="2995"/>
                    <a:pt x="4772" y="2980"/>
                  </a:cubicBezTo>
                  <a:cubicBezTo>
                    <a:pt x="4767" y="2965"/>
                    <a:pt x="4746" y="2936"/>
                    <a:pt x="4721" y="2917"/>
                  </a:cubicBezTo>
                  <a:cubicBezTo>
                    <a:pt x="4696" y="2898"/>
                    <a:pt x="4636" y="2867"/>
                    <a:pt x="4588" y="2850"/>
                  </a:cubicBezTo>
                  <a:cubicBezTo>
                    <a:pt x="4540" y="2833"/>
                    <a:pt x="4474" y="2813"/>
                    <a:pt x="4442" y="2806"/>
                  </a:cubicBezTo>
                  <a:cubicBezTo>
                    <a:pt x="4410" y="2799"/>
                    <a:pt x="4374" y="2797"/>
                    <a:pt x="4362" y="2800"/>
                  </a:cubicBezTo>
                  <a:cubicBezTo>
                    <a:pt x="4349" y="2802"/>
                    <a:pt x="4322" y="2801"/>
                    <a:pt x="4301" y="2796"/>
                  </a:cubicBezTo>
                  <a:cubicBezTo>
                    <a:pt x="4280" y="2791"/>
                    <a:pt x="4229" y="2759"/>
                    <a:pt x="4187" y="2728"/>
                  </a:cubicBezTo>
                  <a:cubicBezTo>
                    <a:pt x="4145" y="2694"/>
                    <a:pt x="4094" y="2664"/>
                    <a:pt x="4074" y="2659"/>
                  </a:cubicBezTo>
                  <a:cubicBezTo>
                    <a:pt x="4054" y="2653"/>
                    <a:pt x="4041" y="2656"/>
                    <a:pt x="4043" y="2665"/>
                  </a:cubicBezTo>
                  <a:cubicBezTo>
                    <a:pt x="4045" y="2675"/>
                    <a:pt x="4090" y="2719"/>
                    <a:pt x="4142" y="2764"/>
                  </a:cubicBezTo>
                  <a:cubicBezTo>
                    <a:pt x="4194" y="2808"/>
                    <a:pt x="4260" y="2866"/>
                    <a:pt x="4290" y="2890"/>
                  </a:cubicBezTo>
                  <a:cubicBezTo>
                    <a:pt x="4320" y="2913"/>
                    <a:pt x="4361" y="2966"/>
                    <a:pt x="4384" y="3004"/>
                  </a:cubicBezTo>
                  <a:cubicBezTo>
                    <a:pt x="4406" y="3044"/>
                    <a:pt x="4428" y="3092"/>
                    <a:pt x="4433" y="3111"/>
                  </a:cubicBezTo>
                  <a:cubicBezTo>
                    <a:pt x="4437" y="3130"/>
                    <a:pt x="4451" y="3157"/>
                    <a:pt x="4464" y="3171"/>
                  </a:cubicBezTo>
                  <a:cubicBezTo>
                    <a:pt x="4476" y="3185"/>
                    <a:pt x="4481" y="3200"/>
                    <a:pt x="4475" y="3204"/>
                  </a:cubicBezTo>
                  <a:cubicBezTo>
                    <a:pt x="4469" y="3207"/>
                    <a:pt x="4466" y="3224"/>
                    <a:pt x="4470" y="3239"/>
                  </a:cubicBezTo>
                  <a:cubicBezTo>
                    <a:pt x="4473" y="3255"/>
                    <a:pt x="4481" y="3280"/>
                    <a:pt x="4488" y="3293"/>
                  </a:cubicBezTo>
                  <a:cubicBezTo>
                    <a:pt x="4495" y="3306"/>
                    <a:pt x="4497" y="3320"/>
                    <a:pt x="4491" y="3323"/>
                  </a:cubicBezTo>
                  <a:cubicBezTo>
                    <a:pt x="4486" y="3327"/>
                    <a:pt x="4490" y="3361"/>
                    <a:pt x="4498" y="3400"/>
                  </a:cubicBezTo>
                  <a:cubicBezTo>
                    <a:pt x="4507" y="3439"/>
                    <a:pt x="4514" y="3488"/>
                    <a:pt x="4512" y="3508"/>
                  </a:cubicBezTo>
                  <a:cubicBezTo>
                    <a:pt x="4511" y="3528"/>
                    <a:pt x="4520" y="3564"/>
                    <a:pt x="4532" y="3588"/>
                  </a:cubicBezTo>
                  <a:cubicBezTo>
                    <a:pt x="4545" y="3612"/>
                    <a:pt x="4577" y="3634"/>
                    <a:pt x="4602" y="3641"/>
                  </a:cubicBezTo>
                  <a:cubicBezTo>
                    <a:pt x="4628" y="3647"/>
                    <a:pt x="4667" y="3666"/>
                    <a:pt x="4690" y="3681"/>
                  </a:cubicBezTo>
                  <a:cubicBezTo>
                    <a:pt x="4711" y="3699"/>
                    <a:pt x="4743" y="3726"/>
                    <a:pt x="4759" y="3743"/>
                  </a:cubicBezTo>
                  <a:cubicBezTo>
                    <a:pt x="4775" y="3760"/>
                    <a:pt x="4786" y="3780"/>
                    <a:pt x="4786" y="3788"/>
                  </a:cubicBezTo>
                  <a:cubicBezTo>
                    <a:pt x="4786" y="3796"/>
                    <a:pt x="4789" y="3812"/>
                    <a:pt x="4794" y="3826"/>
                  </a:cubicBezTo>
                  <a:cubicBezTo>
                    <a:pt x="4801" y="3838"/>
                    <a:pt x="4803" y="3855"/>
                    <a:pt x="4803" y="3863"/>
                  </a:cubicBezTo>
                  <a:cubicBezTo>
                    <a:pt x="4801" y="3870"/>
                    <a:pt x="4803" y="3885"/>
                    <a:pt x="4806" y="3895"/>
                  </a:cubicBezTo>
                  <a:cubicBezTo>
                    <a:pt x="4808" y="3906"/>
                    <a:pt x="4819" y="3920"/>
                    <a:pt x="4829" y="3928"/>
                  </a:cubicBezTo>
                  <a:cubicBezTo>
                    <a:pt x="4838" y="3936"/>
                    <a:pt x="4845" y="3953"/>
                    <a:pt x="4840" y="3963"/>
                  </a:cubicBezTo>
                  <a:cubicBezTo>
                    <a:pt x="4837" y="3974"/>
                    <a:pt x="4845" y="4016"/>
                    <a:pt x="4853" y="4058"/>
                  </a:cubicBezTo>
                  <a:cubicBezTo>
                    <a:pt x="4864" y="4098"/>
                    <a:pt x="4866" y="4138"/>
                    <a:pt x="4862" y="4147"/>
                  </a:cubicBezTo>
                  <a:cubicBezTo>
                    <a:pt x="4858" y="4156"/>
                    <a:pt x="4867" y="4184"/>
                    <a:pt x="4885" y="4210"/>
                  </a:cubicBezTo>
                  <a:cubicBezTo>
                    <a:pt x="4901" y="4238"/>
                    <a:pt x="4925" y="4286"/>
                    <a:pt x="4935" y="4319"/>
                  </a:cubicBezTo>
                  <a:cubicBezTo>
                    <a:pt x="4945" y="4352"/>
                    <a:pt x="4941" y="4369"/>
                    <a:pt x="4928" y="4356"/>
                  </a:cubicBezTo>
                  <a:cubicBezTo>
                    <a:pt x="4914" y="4342"/>
                    <a:pt x="4892" y="4313"/>
                    <a:pt x="4882" y="4288"/>
                  </a:cubicBezTo>
                  <a:cubicBezTo>
                    <a:pt x="4868" y="4264"/>
                    <a:pt x="4839" y="4225"/>
                    <a:pt x="4813" y="4203"/>
                  </a:cubicBezTo>
                  <a:cubicBezTo>
                    <a:pt x="4786" y="4180"/>
                    <a:pt x="4751" y="4173"/>
                    <a:pt x="4734" y="4188"/>
                  </a:cubicBezTo>
                  <a:cubicBezTo>
                    <a:pt x="4717" y="4203"/>
                    <a:pt x="4702" y="4199"/>
                    <a:pt x="4700" y="4181"/>
                  </a:cubicBezTo>
                  <a:cubicBezTo>
                    <a:pt x="4699" y="4163"/>
                    <a:pt x="4688" y="4135"/>
                    <a:pt x="4675" y="4121"/>
                  </a:cubicBezTo>
                  <a:cubicBezTo>
                    <a:pt x="4662" y="4107"/>
                    <a:pt x="4630" y="4086"/>
                    <a:pt x="4601" y="4075"/>
                  </a:cubicBezTo>
                  <a:cubicBezTo>
                    <a:pt x="4572" y="4065"/>
                    <a:pt x="4528" y="4053"/>
                    <a:pt x="4503" y="4050"/>
                  </a:cubicBezTo>
                  <a:cubicBezTo>
                    <a:pt x="4478" y="4046"/>
                    <a:pt x="4441" y="4028"/>
                    <a:pt x="4420" y="4010"/>
                  </a:cubicBezTo>
                  <a:cubicBezTo>
                    <a:pt x="4399" y="3991"/>
                    <a:pt x="4363" y="3969"/>
                    <a:pt x="4339" y="3959"/>
                  </a:cubicBezTo>
                  <a:cubicBezTo>
                    <a:pt x="4316" y="3951"/>
                    <a:pt x="4289" y="3948"/>
                    <a:pt x="4278" y="3954"/>
                  </a:cubicBezTo>
                  <a:cubicBezTo>
                    <a:pt x="4268" y="3961"/>
                    <a:pt x="4251" y="3997"/>
                    <a:pt x="4239" y="4034"/>
                  </a:cubicBezTo>
                  <a:cubicBezTo>
                    <a:pt x="4227" y="4072"/>
                    <a:pt x="4199" y="4118"/>
                    <a:pt x="4174" y="4134"/>
                  </a:cubicBezTo>
                  <a:cubicBezTo>
                    <a:pt x="4150" y="4150"/>
                    <a:pt x="4113" y="4163"/>
                    <a:pt x="4092" y="4161"/>
                  </a:cubicBezTo>
                  <a:cubicBezTo>
                    <a:pt x="4072" y="4159"/>
                    <a:pt x="4046" y="4169"/>
                    <a:pt x="4033" y="4178"/>
                  </a:cubicBezTo>
                  <a:cubicBezTo>
                    <a:pt x="4022" y="4191"/>
                    <a:pt x="4010" y="4216"/>
                    <a:pt x="4010" y="4238"/>
                  </a:cubicBezTo>
                  <a:cubicBezTo>
                    <a:pt x="4010" y="4259"/>
                    <a:pt x="3995" y="4294"/>
                    <a:pt x="3982" y="4317"/>
                  </a:cubicBezTo>
                  <a:cubicBezTo>
                    <a:pt x="3968" y="4340"/>
                    <a:pt x="3938" y="4369"/>
                    <a:pt x="3917" y="4383"/>
                  </a:cubicBezTo>
                  <a:cubicBezTo>
                    <a:pt x="3897" y="4398"/>
                    <a:pt x="3879" y="4421"/>
                    <a:pt x="3881" y="4437"/>
                  </a:cubicBezTo>
                  <a:cubicBezTo>
                    <a:pt x="3881" y="4452"/>
                    <a:pt x="3898" y="4487"/>
                    <a:pt x="3911" y="4518"/>
                  </a:cubicBezTo>
                  <a:cubicBezTo>
                    <a:pt x="3928" y="4547"/>
                    <a:pt x="3979" y="4614"/>
                    <a:pt x="4029" y="4666"/>
                  </a:cubicBezTo>
                  <a:cubicBezTo>
                    <a:pt x="4078" y="4717"/>
                    <a:pt x="4144" y="4795"/>
                    <a:pt x="4176" y="4837"/>
                  </a:cubicBezTo>
                  <a:cubicBezTo>
                    <a:pt x="4208" y="4880"/>
                    <a:pt x="4226" y="4925"/>
                    <a:pt x="4215" y="4938"/>
                  </a:cubicBezTo>
                  <a:cubicBezTo>
                    <a:pt x="4203" y="4950"/>
                    <a:pt x="4184" y="4960"/>
                    <a:pt x="4170" y="4957"/>
                  </a:cubicBezTo>
                  <a:cubicBezTo>
                    <a:pt x="4156" y="4955"/>
                    <a:pt x="4150" y="4968"/>
                    <a:pt x="4154" y="4988"/>
                  </a:cubicBezTo>
                  <a:cubicBezTo>
                    <a:pt x="4157" y="5009"/>
                    <a:pt x="4151" y="5034"/>
                    <a:pt x="4138" y="5043"/>
                  </a:cubicBezTo>
                  <a:cubicBezTo>
                    <a:pt x="4124" y="5052"/>
                    <a:pt x="4108" y="5072"/>
                    <a:pt x="4101" y="5085"/>
                  </a:cubicBezTo>
                  <a:cubicBezTo>
                    <a:pt x="4094" y="5098"/>
                    <a:pt x="4064" y="5085"/>
                    <a:pt x="4035" y="5054"/>
                  </a:cubicBezTo>
                  <a:cubicBezTo>
                    <a:pt x="4006" y="5024"/>
                    <a:pt x="3928" y="4965"/>
                    <a:pt x="3863" y="4923"/>
                  </a:cubicBezTo>
                  <a:cubicBezTo>
                    <a:pt x="3797" y="4882"/>
                    <a:pt x="3727" y="4842"/>
                    <a:pt x="3706" y="4834"/>
                  </a:cubicBezTo>
                  <a:cubicBezTo>
                    <a:pt x="3685" y="4827"/>
                    <a:pt x="3661" y="4810"/>
                    <a:pt x="3652" y="4797"/>
                  </a:cubicBezTo>
                  <a:cubicBezTo>
                    <a:pt x="3643" y="4784"/>
                    <a:pt x="3609" y="4765"/>
                    <a:pt x="3576" y="4756"/>
                  </a:cubicBezTo>
                  <a:cubicBezTo>
                    <a:pt x="3543" y="4747"/>
                    <a:pt x="3500" y="4725"/>
                    <a:pt x="3480" y="4707"/>
                  </a:cubicBezTo>
                  <a:cubicBezTo>
                    <a:pt x="3460" y="4689"/>
                    <a:pt x="3429" y="4657"/>
                    <a:pt x="3413" y="4633"/>
                  </a:cubicBezTo>
                  <a:cubicBezTo>
                    <a:pt x="3396" y="4611"/>
                    <a:pt x="3360" y="4584"/>
                    <a:pt x="3333" y="4572"/>
                  </a:cubicBezTo>
                  <a:cubicBezTo>
                    <a:pt x="3305" y="4561"/>
                    <a:pt x="3263" y="4538"/>
                    <a:pt x="3239" y="4518"/>
                  </a:cubicBezTo>
                  <a:cubicBezTo>
                    <a:pt x="3215" y="4500"/>
                    <a:pt x="3177" y="4482"/>
                    <a:pt x="3156" y="4477"/>
                  </a:cubicBezTo>
                  <a:cubicBezTo>
                    <a:pt x="3134" y="4473"/>
                    <a:pt x="3115" y="4478"/>
                    <a:pt x="3113" y="4489"/>
                  </a:cubicBezTo>
                  <a:cubicBezTo>
                    <a:pt x="3112" y="4501"/>
                    <a:pt x="3116" y="4521"/>
                    <a:pt x="3124" y="4534"/>
                  </a:cubicBezTo>
                  <a:cubicBezTo>
                    <a:pt x="3131" y="4547"/>
                    <a:pt x="3139" y="4567"/>
                    <a:pt x="3135" y="4575"/>
                  </a:cubicBezTo>
                  <a:cubicBezTo>
                    <a:pt x="3133" y="4585"/>
                    <a:pt x="3136" y="4603"/>
                    <a:pt x="3146" y="4614"/>
                  </a:cubicBezTo>
                  <a:cubicBezTo>
                    <a:pt x="3153" y="4626"/>
                    <a:pt x="3153" y="4642"/>
                    <a:pt x="3143" y="4651"/>
                  </a:cubicBezTo>
                  <a:cubicBezTo>
                    <a:pt x="3133" y="4661"/>
                    <a:pt x="3109" y="4664"/>
                    <a:pt x="3090" y="4658"/>
                  </a:cubicBezTo>
                  <a:cubicBezTo>
                    <a:pt x="3071" y="4654"/>
                    <a:pt x="3070" y="4673"/>
                    <a:pt x="3089" y="4700"/>
                  </a:cubicBezTo>
                  <a:cubicBezTo>
                    <a:pt x="3107" y="4729"/>
                    <a:pt x="3129" y="4771"/>
                    <a:pt x="3139" y="4792"/>
                  </a:cubicBezTo>
                  <a:cubicBezTo>
                    <a:pt x="3147" y="4814"/>
                    <a:pt x="3178" y="4847"/>
                    <a:pt x="3207" y="4864"/>
                  </a:cubicBezTo>
                  <a:cubicBezTo>
                    <a:pt x="3235" y="4882"/>
                    <a:pt x="3274" y="4919"/>
                    <a:pt x="3296" y="4944"/>
                  </a:cubicBezTo>
                  <a:cubicBezTo>
                    <a:pt x="3317" y="4969"/>
                    <a:pt x="3354" y="5006"/>
                    <a:pt x="3380" y="5021"/>
                  </a:cubicBezTo>
                  <a:cubicBezTo>
                    <a:pt x="3405" y="5038"/>
                    <a:pt x="3439" y="5047"/>
                    <a:pt x="3455" y="5044"/>
                  </a:cubicBezTo>
                  <a:cubicBezTo>
                    <a:pt x="3472" y="5040"/>
                    <a:pt x="3494" y="5040"/>
                    <a:pt x="3505" y="5042"/>
                  </a:cubicBezTo>
                  <a:cubicBezTo>
                    <a:pt x="3516" y="5047"/>
                    <a:pt x="3536" y="5042"/>
                    <a:pt x="3549" y="5035"/>
                  </a:cubicBezTo>
                  <a:cubicBezTo>
                    <a:pt x="3561" y="5026"/>
                    <a:pt x="3576" y="5034"/>
                    <a:pt x="3582" y="5049"/>
                  </a:cubicBezTo>
                  <a:cubicBezTo>
                    <a:pt x="3587" y="5065"/>
                    <a:pt x="3609" y="5088"/>
                    <a:pt x="3631" y="5101"/>
                  </a:cubicBezTo>
                  <a:cubicBezTo>
                    <a:pt x="3654" y="5113"/>
                    <a:pt x="3675" y="5129"/>
                    <a:pt x="3676" y="5137"/>
                  </a:cubicBezTo>
                  <a:cubicBezTo>
                    <a:pt x="3679" y="5145"/>
                    <a:pt x="3676" y="5157"/>
                    <a:pt x="3672" y="5165"/>
                  </a:cubicBezTo>
                  <a:cubicBezTo>
                    <a:pt x="3668" y="5173"/>
                    <a:pt x="3678" y="5192"/>
                    <a:pt x="3694" y="5208"/>
                  </a:cubicBezTo>
                  <a:cubicBezTo>
                    <a:pt x="3711" y="5224"/>
                    <a:pt x="3729" y="5261"/>
                    <a:pt x="3732" y="5291"/>
                  </a:cubicBezTo>
                  <a:cubicBezTo>
                    <a:pt x="3736" y="5321"/>
                    <a:pt x="3731" y="5347"/>
                    <a:pt x="3721" y="5350"/>
                  </a:cubicBezTo>
                  <a:cubicBezTo>
                    <a:pt x="3710" y="5351"/>
                    <a:pt x="3689" y="5353"/>
                    <a:pt x="3674" y="5350"/>
                  </a:cubicBezTo>
                  <a:cubicBezTo>
                    <a:pt x="3658" y="5348"/>
                    <a:pt x="3632" y="5362"/>
                    <a:pt x="3616" y="5380"/>
                  </a:cubicBezTo>
                  <a:cubicBezTo>
                    <a:pt x="3601" y="5399"/>
                    <a:pt x="3578" y="5410"/>
                    <a:pt x="3567" y="5407"/>
                  </a:cubicBezTo>
                  <a:cubicBezTo>
                    <a:pt x="3557" y="5404"/>
                    <a:pt x="3532" y="5385"/>
                    <a:pt x="3512" y="5366"/>
                  </a:cubicBezTo>
                  <a:cubicBezTo>
                    <a:pt x="3492" y="5346"/>
                    <a:pt x="3453" y="5324"/>
                    <a:pt x="3426" y="5318"/>
                  </a:cubicBezTo>
                  <a:cubicBezTo>
                    <a:pt x="3398" y="5311"/>
                    <a:pt x="3364" y="5294"/>
                    <a:pt x="3350" y="5282"/>
                  </a:cubicBezTo>
                  <a:cubicBezTo>
                    <a:pt x="3336" y="5268"/>
                    <a:pt x="3299" y="5252"/>
                    <a:pt x="3269" y="5245"/>
                  </a:cubicBezTo>
                  <a:cubicBezTo>
                    <a:pt x="3239" y="5239"/>
                    <a:pt x="3207" y="5225"/>
                    <a:pt x="3196" y="5217"/>
                  </a:cubicBezTo>
                  <a:cubicBezTo>
                    <a:pt x="3186" y="5208"/>
                    <a:pt x="3173" y="5182"/>
                    <a:pt x="3166" y="5158"/>
                  </a:cubicBezTo>
                  <a:cubicBezTo>
                    <a:pt x="3162" y="5133"/>
                    <a:pt x="3140" y="5101"/>
                    <a:pt x="3121" y="5088"/>
                  </a:cubicBezTo>
                  <a:cubicBezTo>
                    <a:pt x="3103" y="5074"/>
                    <a:pt x="3073" y="5047"/>
                    <a:pt x="3058" y="5026"/>
                  </a:cubicBezTo>
                  <a:cubicBezTo>
                    <a:pt x="3042" y="5005"/>
                    <a:pt x="3021" y="4988"/>
                    <a:pt x="3014" y="4984"/>
                  </a:cubicBezTo>
                  <a:cubicBezTo>
                    <a:pt x="3006" y="4981"/>
                    <a:pt x="2986" y="4986"/>
                    <a:pt x="2972" y="4998"/>
                  </a:cubicBezTo>
                  <a:cubicBezTo>
                    <a:pt x="2957" y="5009"/>
                    <a:pt x="2911" y="4999"/>
                    <a:pt x="2869" y="4977"/>
                  </a:cubicBezTo>
                  <a:cubicBezTo>
                    <a:pt x="2828" y="4955"/>
                    <a:pt x="2786" y="4922"/>
                    <a:pt x="2773" y="4906"/>
                  </a:cubicBezTo>
                  <a:cubicBezTo>
                    <a:pt x="2763" y="4887"/>
                    <a:pt x="2744" y="4864"/>
                    <a:pt x="2733" y="4854"/>
                  </a:cubicBezTo>
                  <a:cubicBezTo>
                    <a:pt x="2722" y="4842"/>
                    <a:pt x="2717" y="4822"/>
                    <a:pt x="2723" y="4809"/>
                  </a:cubicBezTo>
                  <a:cubicBezTo>
                    <a:pt x="2728" y="4795"/>
                    <a:pt x="2726" y="4766"/>
                    <a:pt x="2718" y="4743"/>
                  </a:cubicBezTo>
                  <a:cubicBezTo>
                    <a:pt x="2711" y="4720"/>
                    <a:pt x="2703" y="4686"/>
                    <a:pt x="2698" y="4669"/>
                  </a:cubicBezTo>
                  <a:cubicBezTo>
                    <a:pt x="2696" y="4651"/>
                    <a:pt x="2674" y="4622"/>
                    <a:pt x="2653" y="4604"/>
                  </a:cubicBezTo>
                  <a:cubicBezTo>
                    <a:pt x="2631" y="4588"/>
                    <a:pt x="2614" y="4559"/>
                    <a:pt x="2610" y="4544"/>
                  </a:cubicBezTo>
                  <a:cubicBezTo>
                    <a:pt x="2607" y="4529"/>
                    <a:pt x="2582" y="4490"/>
                    <a:pt x="2550" y="4461"/>
                  </a:cubicBezTo>
                  <a:cubicBezTo>
                    <a:pt x="2520" y="4430"/>
                    <a:pt x="2489" y="4388"/>
                    <a:pt x="2484" y="4366"/>
                  </a:cubicBezTo>
                  <a:cubicBezTo>
                    <a:pt x="2478" y="4345"/>
                    <a:pt x="2461" y="4322"/>
                    <a:pt x="2445" y="4314"/>
                  </a:cubicBezTo>
                  <a:cubicBezTo>
                    <a:pt x="2429" y="4306"/>
                    <a:pt x="2417" y="4287"/>
                    <a:pt x="2417" y="4272"/>
                  </a:cubicBezTo>
                  <a:cubicBezTo>
                    <a:pt x="2415" y="4257"/>
                    <a:pt x="2429" y="4241"/>
                    <a:pt x="2443" y="4240"/>
                  </a:cubicBezTo>
                  <a:cubicBezTo>
                    <a:pt x="2457" y="4238"/>
                    <a:pt x="2465" y="4213"/>
                    <a:pt x="2463" y="4184"/>
                  </a:cubicBezTo>
                  <a:cubicBezTo>
                    <a:pt x="2460" y="4156"/>
                    <a:pt x="2457" y="4116"/>
                    <a:pt x="2450" y="4098"/>
                  </a:cubicBezTo>
                  <a:cubicBezTo>
                    <a:pt x="2444" y="4080"/>
                    <a:pt x="2436" y="4061"/>
                    <a:pt x="2428" y="4058"/>
                  </a:cubicBezTo>
                  <a:cubicBezTo>
                    <a:pt x="2422" y="4054"/>
                    <a:pt x="2412" y="4042"/>
                    <a:pt x="2414" y="4030"/>
                  </a:cubicBezTo>
                  <a:cubicBezTo>
                    <a:pt x="2414" y="4018"/>
                    <a:pt x="2416" y="3999"/>
                    <a:pt x="2421" y="3990"/>
                  </a:cubicBezTo>
                  <a:cubicBezTo>
                    <a:pt x="2426" y="3980"/>
                    <a:pt x="2420" y="3969"/>
                    <a:pt x="2409" y="3964"/>
                  </a:cubicBezTo>
                  <a:cubicBezTo>
                    <a:pt x="2399" y="3960"/>
                    <a:pt x="2368" y="3931"/>
                    <a:pt x="2342" y="3898"/>
                  </a:cubicBezTo>
                  <a:cubicBezTo>
                    <a:pt x="2316" y="3865"/>
                    <a:pt x="2255" y="3820"/>
                    <a:pt x="2209" y="3792"/>
                  </a:cubicBezTo>
                  <a:cubicBezTo>
                    <a:pt x="2161" y="3766"/>
                    <a:pt x="2115" y="3749"/>
                    <a:pt x="2104" y="3754"/>
                  </a:cubicBezTo>
                  <a:cubicBezTo>
                    <a:pt x="2094" y="3759"/>
                    <a:pt x="2077" y="3755"/>
                    <a:pt x="2066" y="3744"/>
                  </a:cubicBezTo>
                  <a:cubicBezTo>
                    <a:pt x="2054" y="3732"/>
                    <a:pt x="2032" y="3719"/>
                    <a:pt x="2017" y="3717"/>
                  </a:cubicBezTo>
                  <a:cubicBezTo>
                    <a:pt x="2002" y="3713"/>
                    <a:pt x="1983" y="3714"/>
                    <a:pt x="1976" y="3718"/>
                  </a:cubicBezTo>
                  <a:cubicBezTo>
                    <a:pt x="1969" y="3723"/>
                    <a:pt x="1944" y="3718"/>
                    <a:pt x="1921" y="3711"/>
                  </a:cubicBezTo>
                  <a:cubicBezTo>
                    <a:pt x="1897" y="3701"/>
                    <a:pt x="1883" y="3689"/>
                    <a:pt x="1889" y="3680"/>
                  </a:cubicBezTo>
                  <a:cubicBezTo>
                    <a:pt x="1895" y="3671"/>
                    <a:pt x="1916" y="3664"/>
                    <a:pt x="1934" y="3666"/>
                  </a:cubicBezTo>
                  <a:cubicBezTo>
                    <a:pt x="1953" y="3669"/>
                    <a:pt x="1971" y="3658"/>
                    <a:pt x="1973" y="3645"/>
                  </a:cubicBezTo>
                  <a:cubicBezTo>
                    <a:pt x="1976" y="3633"/>
                    <a:pt x="1959" y="3618"/>
                    <a:pt x="1938" y="3610"/>
                  </a:cubicBezTo>
                  <a:cubicBezTo>
                    <a:pt x="1916" y="3605"/>
                    <a:pt x="1898" y="3594"/>
                    <a:pt x="1897" y="3589"/>
                  </a:cubicBezTo>
                  <a:cubicBezTo>
                    <a:pt x="1897" y="3583"/>
                    <a:pt x="1905" y="3576"/>
                    <a:pt x="1918" y="3574"/>
                  </a:cubicBezTo>
                  <a:cubicBezTo>
                    <a:pt x="1931" y="3570"/>
                    <a:pt x="1930" y="3559"/>
                    <a:pt x="1915" y="3548"/>
                  </a:cubicBezTo>
                  <a:cubicBezTo>
                    <a:pt x="1900" y="3536"/>
                    <a:pt x="1878" y="3531"/>
                    <a:pt x="1866" y="3537"/>
                  </a:cubicBezTo>
                  <a:cubicBezTo>
                    <a:pt x="1855" y="3543"/>
                    <a:pt x="1820" y="3548"/>
                    <a:pt x="1790" y="3549"/>
                  </a:cubicBezTo>
                  <a:cubicBezTo>
                    <a:pt x="1760" y="3551"/>
                    <a:pt x="1731" y="3546"/>
                    <a:pt x="1725" y="3541"/>
                  </a:cubicBezTo>
                  <a:cubicBezTo>
                    <a:pt x="1720" y="3535"/>
                    <a:pt x="1723" y="3524"/>
                    <a:pt x="1728" y="3514"/>
                  </a:cubicBezTo>
                  <a:cubicBezTo>
                    <a:pt x="1735" y="3505"/>
                    <a:pt x="1755" y="3493"/>
                    <a:pt x="1773" y="3488"/>
                  </a:cubicBezTo>
                  <a:cubicBezTo>
                    <a:pt x="1790" y="3484"/>
                    <a:pt x="1799" y="3472"/>
                    <a:pt x="1792" y="3465"/>
                  </a:cubicBezTo>
                  <a:cubicBezTo>
                    <a:pt x="1786" y="3456"/>
                    <a:pt x="1754" y="3442"/>
                    <a:pt x="1725" y="3430"/>
                  </a:cubicBezTo>
                  <a:cubicBezTo>
                    <a:pt x="1695" y="3419"/>
                    <a:pt x="1664" y="3396"/>
                    <a:pt x="1656" y="3382"/>
                  </a:cubicBezTo>
                  <a:cubicBezTo>
                    <a:pt x="1648" y="3367"/>
                    <a:pt x="1622" y="3339"/>
                    <a:pt x="1596" y="3322"/>
                  </a:cubicBezTo>
                  <a:cubicBezTo>
                    <a:pt x="1572" y="3302"/>
                    <a:pt x="1543" y="3266"/>
                    <a:pt x="1533" y="3240"/>
                  </a:cubicBezTo>
                  <a:cubicBezTo>
                    <a:pt x="1525" y="3213"/>
                    <a:pt x="1498" y="3177"/>
                    <a:pt x="1475" y="3161"/>
                  </a:cubicBezTo>
                  <a:cubicBezTo>
                    <a:pt x="1452" y="3143"/>
                    <a:pt x="1435" y="3126"/>
                    <a:pt x="1439" y="3122"/>
                  </a:cubicBezTo>
                  <a:cubicBezTo>
                    <a:pt x="1443" y="3117"/>
                    <a:pt x="1460" y="3115"/>
                    <a:pt x="1477" y="3119"/>
                  </a:cubicBezTo>
                  <a:cubicBezTo>
                    <a:pt x="1494" y="3121"/>
                    <a:pt x="1514" y="3129"/>
                    <a:pt x="1520" y="3136"/>
                  </a:cubicBezTo>
                  <a:cubicBezTo>
                    <a:pt x="1526" y="3142"/>
                    <a:pt x="1552" y="3153"/>
                    <a:pt x="1578" y="3160"/>
                  </a:cubicBezTo>
                  <a:cubicBezTo>
                    <a:pt x="1603" y="3168"/>
                    <a:pt x="1630" y="3187"/>
                    <a:pt x="1636" y="3205"/>
                  </a:cubicBezTo>
                  <a:cubicBezTo>
                    <a:pt x="1644" y="3222"/>
                    <a:pt x="1687" y="3271"/>
                    <a:pt x="1736" y="3311"/>
                  </a:cubicBezTo>
                  <a:cubicBezTo>
                    <a:pt x="1784" y="3351"/>
                    <a:pt x="1833" y="3388"/>
                    <a:pt x="1847" y="3392"/>
                  </a:cubicBezTo>
                  <a:cubicBezTo>
                    <a:pt x="1860" y="3396"/>
                    <a:pt x="1874" y="3395"/>
                    <a:pt x="1876" y="3389"/>
                  </a:cubicBezTo>
                  <a:cubicBezTo>
                    <a:pt x="1878" y="3384"/>
                    <a:pt x="1898" y="3394"/>
                    <a:pt x="1921" y="3411"/>
                  </a:cubicBezTo>
                  <a:cubicBezTo>
                    <a:pt x="1943" y="3427"/>
                    <a:pt x="1987" y="3447"/>
                    <a:pt x="2019" y="3453"/>
                  </a:cubicBezTo>
                  <a:cubicBezTo>
                    <a:pt x="2050" y="3460"/>
                    <a:pt x="2078" y="3460"/>
                    <a:pt x="2080" y="3453"/>
                  </a:cubicBezTo>
                  <a:cubicBezTo>
                    <a:pt x="2080" y="3446"/>
                    <a:pt x="2095" y="3454"/>
                    <a:pt x="2110" y="3469"/>
                  </a:cubicBezTo>
                  <a:cubicBezTo>
                    <a:pt x="2125" y="3486"/>
                    <a:pt x="2129" y="3503"/>
                    <a:pt x="2119" y="3506"/>
                  </a:cubicBezTo>
                  <a:cubicBezTo>
                    <a:pt x="2108" y="3511"/>
                    <a:pt x="2107" y="3521"/>
                    <a:pt x="2115" y="3528"/>
                  </a:cubicBezTo>
                  <a:cubicBezTo>
                    <a:pt x="2123" y="3536"/>
                    <a:pt x="2132" y="3549"/>
                    <a:pt x="2134" y="3560"/>
                  </a:cubicBezTo>
                  <a:cubicBezTo>
                    <a:pt x="2136" y="3570"/>
                    <a:pt x="2154" y="3581"/>
                    <a:pt x="2172" y="3587"/>
                  </a:cubicBezTo>
                  <a:cubicBezTo>
                    <a:pt x="2191" y="3591"/>
                    <a:pt x="2214" y="3591"/>
                    <a:pt x="2220" y="3583"/>
                  </a:cubicBezTo>
                  <a:cubicBezTo>
                    <a:pt x="2228" y="3577"/>
                    <a:pt x="2258" y="3574"/>
                    <a:pt x="2288" y="3583"/>
                  </a:cubicBezTo>
                  <a:cubicBezTo>
                    <a:pt x="2319" y="3590"/>
                    <a:pt x="2338" y="3598"/>
                    <a:pt x="2331" y="3600"/>
                  </a:cubicBezTo>
                  <a:cubicBezTo>
                    <a:pt x="2324" y="3604"/>
                    <a:pt x="2331" y="3611"/>
                    <a:pt x="2349" y="3615"/>
                  </a:cubicBezTo>
                  <a:cubicBezTo>
                    <a:pt x="2366" y="3621"/>
                    <a:pt x="2395" y="3624"/>
                    <a:pt x="2413" y="3627"/>
                  </a:cubicBezTo>
                  <a:cubicBezTo>
                    <a:pt x="2432" y="3629"/>
                    <a:pt x="2447" y="3638"/>
                    <a:pt x="2449" y="3649"/>
                  </a:cubicBezTo>
                  <a:cubicBezTo>
                    <a:pt x="2452" y="3659"/>
                    <a:pt x="2474" y="3691"/>
                    <a:pt x="2503" y="3718"/>
                  </a:cubicBezTo>
                  <a:cubicBezTo>
                    <a:pt x="2531" y="3746"/>
                    <a:pt x="2564" y="3762"/>
                    <a:pt x="2577" y="3756"/>
                  </a:cubicBezTo>
                  <a:cubicBezTo>
                    <a:pt x="2589" y="3749"/>
                    <a:pt x="2613" y="3751"/>
                    <a:pt x="2630" y="3759"/>
                  </a:cubicBezTo>
                  <a:cubicBezTo>
                    <a:pt x="2647" y="3766"/>
                    <a:pt x="2667" y="3781"/>
                    <a:pt x="2671" y="3791"/>
                  </a:cubicBezTo>
                  <a:cubicBezTo>
                    <a:pt x="2676" y="3801"/>
                    <a:pt x="2701" y="3814"/>
                    <a:pt x="2728" y="3820"/>
                  </a:cubicBezTo>
                  <a:cubicBezTo>
                    <a:pt x="2754" y="3826"/>
                    <a:pt x="2789" y="3838"/>
                    <a:pt x="2806" y="3845"/>
                  </a:cubicBezTo>
                  <a:cubicBezTo>
                    <a:pt x="2822" y="3854"/>
                    <a:pt x="2845" y="3853"/>
                    <a:pt x="2858" y="3848"/>
                  </a:cubicBezTo>
                  <a:cubicBezTo>
                    <a:pt x="2870" y="3842"/>
                    <a:pt x="2901" y="3852"/>
                    <a:pt x="2926" y="3873"/>
                  </a:cubicBezTo>
                  <a:cubicBezTo>
                    <a:pt x="2951" y="3894"/>
                    <a:pt x="3000" y="3923"/>
                    <a:pt x="3032" y="3939"/>
                  </a:cubicBezTo>
                  <a:cubicBezTo>
                    <a:pt x="3065" y="3954"/>
                    <a:pt x="3137" y="3980"/>
                    <a:pt x="3192" y="3995"/>
                  </a:cubicBezTo>
                  <a:cubicBezTo>
                    <a:pt x="3247" y="4011"/>
                    <a:pt x="3326" y="4026"/>
                    <a:pt x="3367" y="4032"/>
                  </a:cubicBezTo>
                  <a:cubicBezTo>
                    <a:pt x="3409" y="4037"/>
                    <a:pt x="3446" y="4036"/>
                    <a:pt x="3450" y="4029"/>
                  </a:cubicBezTo>
                  <a:cubicBezTo>
                    <a:pt x="3454" y="4023"/>
                    <a:pt x="3480" y="4024"/>
                    <a:pt x="3508" y="4030"/>
                  </a:cubicBezTo>
                  <a:cubicBezTo>
                    <a:pt x="3535" y="4036"/>
                    <a:pt x="3566" y="4035"/>
                    <a:pt x="3578" y="4029"/>
                  </a:cubicBezTo>
                  <a:cubicBezTo>
                    <a:pt x="3589" y="4022"/>
                    <a:pt x="3622" y="4016"/>
                    <a:pt x="3651" y="4019"/>
                  </a:cubicBezTo>
                  <a:cubicBezTo>
                    <a:pt x="3680" y="4019"/>
                    <a:pt x="3723" y="4016"/>
                    <a:pt x="3745" y="4009"/>
                  </a:cubicBezTo>
                  <a:cubicBezTo>
                    <a:pt x="3767" y="4001"/>
                    <a:pt x="3805" y="3966"/>
                    <a:pt x="3831" y="3928"/>
                  </a:cubicBezTo>
                  <a:cubicBezTo>
                    <a:pt x="3856" y="3891"/>
                    <a:pt x="3878" y="3851"/>
                    <a:pt x="3878" y="3840"/>
                  </a:cubicBezTo>
                  <a:cubicBezTo>
                    <a:pt x="3878" y="3829"/>
                    <a:pt x="3891" y="3803"/>
                    <a:pt x="3906" y="3783"/>
                  </a:cubicBezTo>
                  <a:cubicBezTo>
                    <a:pt x="3919" y="3762"/>
                    <a:pt x="3931" y="3737"/>
                    <a:pt x="3927" y="3725"/>
                  </a:cubicBezTo>
                  <a:cubicBezTo>
                    <a:pt x="3926" y="3713"/>
                    <a:pt x="3924" y="3693"/>
                    <a:pt x="3929" y="3682"/>
                  </a:cubicBezTo>
                  <a:cubicBezTo>
                    <a:pt x="3932" y="3670"/>
                    <a:pt x="3933" y="3640"/>
                    <a:pt x="3932" y="3615"/>
                  </a:cubicBezTo>
                  <a:cubicBezTo>
                    <a:pt x="3930" y="3590"/>
                    <a:pt x="3922" y="3554"/>
                    <a:pt x="3919" y="3532"/>
                  </a:cubicBezTo>
                  <a:cubicBezTo>
                    <a:pt x="3914" y="3511"/>
                    <a:pt x="3905" y="3477"/>
                    <a:pt x="3899" y="3455"/>
                  </a:cubicBezTo>
                  <a:cubicBezTo>
                    <a:pt x="3894" y="3433"/>
                    <a:pt x="3882" y="3409"/>
                    <a:pt x="3874" y="3400"/>
                  </a:cubicBezTo>
                  <a:cubicBezTo>
                    <a:pt x="3865" y="3392"/>
                    <a:pt x="3853" y="3385"/>
                    <a:pt x="3847" y="3385"/>
                  </a:cubicBezTo>
                  <a:cubicBezTo>
                    <a:pt x="3840" y="3386"/>
                    <a:pt x="3819" y="3366"/>
                    <a:pt x="3800" y="3340"/>
                  </a:cubicBezTo>
                  <a:cubicBezTo>
                    <a:pt x="3780" y="3315"/>
                    <a:pt x="3754" y="3287"/>
                    <a:pt x="3742" y="3277"/>
                  </a:cubicBezTo>
                  <a:cubicBezTo>
                    <a:pt x="3729" y="3268"/>
                    <a:pt x="3711" y="3240"/>
                    <a:pt x="3699" y="3218"/>
                  </a:cubicBezTo>
                  <a:cubicBezTo>
                    <a:pt x="3688" y="3195"/>
                    <a:pt x="3659" y="3158"/>
                    <a:pt x="3636" y="3133"/>
                  </a:cubicBezTo>
                  <a:cubicBezTo>
                    <a:pt x="3612" y="3109"/>
                    <a:pt x="3579" y="3084"/>
                    <a:pt x="3563" y="3076"/>
                  </a:cubicBezTo>
                  <a:cubicBezTo>
                    <a:pt x="3546" y="3070"/>
                    <a:pt x="3531" y="3069"/>
                    <a:pt x="3529" y="3076"/>
                  </a:cubicBezTo>
                  <a:cubicBezTo>
                    <a:pt x="3526" y="3082"/>
                    <a:pt x="3505" y="3077"/>
                    <a:pt x="3483" y="3062"/>
                  </a:cubicBezTo>
                  <a:cubicBezTo>
                    <a:pt x="3460" y="3048"/>
                    <a:pt x="3442" y="3027"/>
                    <a:pt x="3441" y="3017"/>
                  </a:cubicBezTo>
                  <a:cubicBezTo>
                    <a:pt x="3441" y="3006"/>
                    <a:pt x="3405" y="2970"/>
                    <a:pt x="3363" y="2938"/>
                  </a:cubicBezTo>
                  <a:cubicBezTo>
                    <a:pt x="3322" y="2903"/>
                    <a:pt x="3284" y="2865"/>
                    <a:pt x="3282" y="2849"/>
                  </a:cubicBezTo>
                  <a:cubicBezTo>
                    <a:pt x="3281" y="2833"/>
                    <a:pt x="3259" y="2802"/>
                    <a:pt x="3236" y="2779"/>
                  </a:cubicBezTo>
                  <a:cubicBezTo>
                    <a:pt x="3211" y="2758"/>
                    <a:pt x="3185" y="2736"/>
                    <a:pt x="3175" y="2733"/>
                  </a:cubicBezTo>
                  <a:cubicBezTo>
                    <a:pt x="3166" y="2731"/>
                    <a:pt x="3162" y="2738"/>
                    <a:pt x="3168" y="2746"/>
                  </a:cubicBezTo>
                  <a:cubicBezTo>
                    <a:pt x="3174" y="2756"/>
                    <a:pt x="3195" y="2783"/>
                    <a:pt x="3214" y="2806"/>
                  </a:cubicBezTo>
                  <a:cubicBezTo>
                    <a:pt x="3234" y="2829"/>
                    <a:pt x="3239" y="2850"/>
                    <a:pt x="3227" y="2852"/>
                  </a:cubicBezTo>
                  <a:cubicBezTo>
                    <a:pt x="3215" y="2854"/>
                    <a:pt x="3183" y="2835"/>
                    <a:pt x="3156" y="2810"/>
                  </a:cubicBezTo>
                  <a:cubicBezTo>
                    <a:pt x="3128" y="2786"/>
                    <a:pt x="3094" y="2762"/>
                    <a:pt x="3079" y="2756"/>
                  </a:cubicBezTo>
                  <a:cubicBezTo>
                    <a:pt x="3064" y="2752"/>
                    <a:pt x="3027" y="2723"/>
                    <a:pt x="2994" y="2695"/>
                  </a:cubicBezTo>
                  <a:cubicBezTo>
                    <a:pt x="2963" y="2666"/>
                    <a:pt x="2930" y="2640"/>
                    <a:pt x="2921" y="2639"/>
                  </a:cubicBezTo>
                  <a:cubicBezTo>
                    <a:pt x="2911" y="2636"/>
                    <a:pt x="2905" y="2641"/>
                    <a:pt x="2907" y="2647"/>
                  </a:cubicBezTo>
                  <a:cubicBezTo>
                    <a:pt x="2908" y="2655"/>
                    <a:pt x="2915" y="2669"/>
                    <a:pt x="2920" y="2679"/>
                  </a:cubicBezTo>
                  <a:cubicBezTo>
                    <a:pt x="2925" y="2690"/>
                    <a:pt x="2918" y="2694"/>
                    <a:pt x="2903" y="2686"/>
                  </a:cubicBezTo>
                  <a:cubicBezTo>
                    <a:pt x="2889" y="2681"/>
                    <a:pt x="2852" y="2647"/>
                    <a:pt x="2825" y="2612"/>
                  </a:cubicBezTo>
                  <a:cubicBezTo>
                    <a:pt x="2797" y="2577"/>
                    <a:pt x="2758" y="2542"/>
                    <a:pt x="2740" y="2532"/>
                  </a:cubicBezTo>
                  <a:cubicBezTo>
                    <a:pt x="2722" y="2521"/>
                    <a:pt x="2691" y="2502"/>
                    <a:pt x="2676" y="2484"/>
                  </a:cubicBezTo>
                  <a:cubicBezTo>
                    <a:pt x="2659" y="2467"/>
                    <a:pt x="2587" y="2409"/>
                    <a:pt x="2514" y="2356"/>
                  </a:cubicBezTo>
                  <a:cubicBezTo>
                    <a:pt x="2443" y="2302"/>
                    <a:pt x="2296" y="2204"/>
                    <a:pt x="2191" y="2137"/>
                  </a:cubicBezTo>
                  <a:cubicBezTo>
                    <a:pt x="2086" y="2069"/>
                    <a:pt x="1979" y="2005"/>
                    <a:pt x="1956" y="1991"/>
                  </a:cubicBezTo>
                  <a:cubicBezTo>
                    <a:pt x="1932" y="1979"/>
                    <a:pt x="1910" y="1972"/>
                    <a:pt x="1910" y="1979"/>
                  </a:cubicBezTo>
                  <a:cubicBezTo>
                    <a:pt x="1908" y="1985"/>
                    <a:pt x="1889" y="1978"/>
                    <a:pt x="1867" y="1962"/>
                  </a:cubicBezTo>
                  <a:cubicBezTo>
                    <a:pt x="1845" y="1948"/>
                    <a:pt x="1807" y="1928"/>
                    <a:pt x="1784" y="1918"/>
                  </a:cubicBezTo>
                  <a:cubicBezTo>
                    <a:pt x="1760" y="1909"/>
                    <a:pt x="1743" y="1908"/>
                    <a:pt x="1747" y="1916"/>
                  </a:cubicBezTo>
                  <a:cubicBezTo>
                    <a:pt x="1751" y="1925"/>
                    <a:pt x="1744" y="1936"/>
                    <a:pt x="1731" y="1939"/>
                  </a:cubicBezTo>
                  <a:cubicBezTo>
                    <a:pt x="1718" y="1943"/>
                    <a:pt x="1692" y="1936"/>
                    <a:pt x="1672" y="1927"/>
                  </a:cubicBezTo>
                  <a:cubicBezTo>
                    <a:pt x="1652" y="1915"/>
                    <a:pt x="1613" y="1903"/>
                    <a:pt x="1585" y="1895"/>
                  </a:cubicBezTo>
                  <a:cubicBezTo>
                    <a:pt x="1558" y="1889"/>
                    <a:pt x="1523" y="1868"/>
                    <a:pt x="1508" y="1851"/>
                  </a:cubicBezTo>
                  <a:cubicBezTo>
                    <a:pt x="1492" y="1834"/>
                    <a:pt x="1464" y="1811"/>
                    <a:pt x="1445" y="1800"/>
                  </a:cubicBezTo>
                  <a:cubicBezTo>
                    <a:pt x="1425" y="1790"/>
                    <a:pt x="1408" y="1785"/>
                    <a:pt x="1410" y="1789"/>
                  </a:cubicBezTo>
                  <a:cubicBezTo>
                    <a:pt x="1410" y="1793"/>
                    <a:pt x="1421" y="1808"/>
                    <a:pt x="1433" y="1822"/>
                  </a:cubicBezTo>
                  <a:cubicBezTo>
                    <a:pt x="1445" y="1836"/>
                    <a:pt x="1455" y="1853"/>
                    <a:pt x="1454" y="1860"/>
                  </a:cubicBezTo>
                  <a:cubicBezTo>
                    <a:pt x="1454" y="1867"/>
                    <a:pt x="1439" y="1864"/>
                    <a:pt x="1424" y="1853"/>
                  </a:cubicBezTo>
                  <a:cubicBezTo>
                    <a:pt x="1410" y="1841"/>
                    <a:pt x="1382" y="1831"/>
                    <a:pt x="1363" y="1829"/>
                  </a:cubicBezTo>
                  <a:cubicBezTo>
                    <a:pt x="1344" y="1826"/>
                    <a:pt x="1323" y="1828"/>
                    <a:pt x="1318" y="1833"/>
                  </a:cubicBezTo>
                  <a:cubicBezTo>
                    <a:pt x="1312" y="1838"/>
                    <a:pt x="1314" y="1850"/>
                    <a:pt x="1318" y="1863"/>
                  </a:cubicBezTo>
                  <a:cubicBezTo>
                    <a:pt x="1323" y="1875"/>
                    <a:pt x="1321" y="1898"/>
                    <a:pt x="1313" y="1916"/>
                  </a:cubicBezTo>
                  <a:cubicBezTo>
                    <a:pt x="1307" y="1934"/>
                    <a:pt x="1282" y="1946"/>
                    <a:pt x="1263" y="1944"/>
                  </a:cubicBezTo>
                  <a:cubicBezTo>
                    <a:pt x="1243" y="1942"/>
                    <a:pt x="1233" y="1928"/>
                    <a:pt x="1242" y="1915"/>
                  </a:cubicBezTo>
                  <a:cubicBezTo>
                    <a:pt x="1250" y="1902"/>
                    <a:pt x="1265" y="1887"/>
                    <a:pt x="1275" y="1884"/>
                  </a:cubicBezTo>
                  <a:cubicBezTo>
                    <a:pt x="1286" y="1880"/>
                    <a:pt x="1288" y="1869"/>
                    <a:pt x="1280" y="1861"/>
                  </a:cubicBezTo>
                  <a:cubicBezTo>
                    <a:pt x="1272" y="1853"/>
                    <a:pt x="1253" y="1843"/>
                    <a:pt x="1239" y="1841"/>
                  </a:cubicBezTo>
                  <a:cubicBezTo>
                    <a:pt x="1225" y="1837"/>
                    <a:pt x="1216" y="1829"/>
                    <a:pt x="1216" y="1820"/>
                  </a:cubicBezTo>
                  <a:cubicBezTo>
                    <a:pt x="1216" y="1811"/>
                    <a:pt x="1222" y="1799"/>
                    <a:pt x="1225" y="1794"/>
                  </a:cubicBezTo>
                  <a:cubicBezTo>
                    <a:pt x="1229" y="1788"/>
                    <a:pt x="1225" y="1780"/>
                    <a:pt x="1217" y="1775"/>
                  </a:cubicBezTo>
                  <a:cubicBezTo>
                    <a:pt x="1208" y="1769"/>
                    <a:pt x="1195" y="1770"/>
                    <a:pt x="1188" y="1775"/>
                  </a:cubicBezTo>
                  <a:cubicBezTo>
                    <a:pt x="1180" y="1780"/>
                    <a:pt x="1165" y="1798"/>
                    <a:pt x="1152" y="1812"/>
                  </a:cubicBezTo>
                  <a:cubicBezTo>
                    <a:pt x="1142" y="1828"/>
                    <a:pt x="1128" y="1829"/>
                    <a:pt x="1126" y="1818"/>
                  </a:cubicBezTo>
                  <a:cubicBezTo>
                    <a:pt x="1124" y="1808"/>
                    <a:pt x="1121" y="1793"/>
                    <a:pt x="1124" y="1788"/>
                  </a:cubicBezTo>
                  <a:cubicBezTo>
                    <a:pt x="1124" y="1782"/>
                    <a:pt x="1121" y="1772"/>
                    <a:pt x="1114" y="1767"/>
                  </a:cubicBezTo>
                  <a:cubicBezTo>
                    <a:pt x="1108" y="1760"/>
                    <a:pt x="1098" y="1762"/>
                    <a:pt x="1091" y="1771"/>
                  </a:cubicBezTo>
                  <a:cubicBezTo>
                    <a:pt x="1087" y="1781"/>
                    <a:pt x="1076" y="1785"/>
                    <a:pt x="1071" y="1786"/>
                  </a:cubicBezTo>
                  <a:cubicBezTo>
                    <a:pt x="1066" y="1785"/>
                    <a:pt x="1059" y="1776"/>
                    <a:pt x="1054" y="1763"/>
                  </a:cubicBezTo>
                  <a:cubicBezTo>
                    <a:pt x="1049" y="1751"/>
                    <a:pt x="1033" y="1733"/>
                    <a:pt x="1016" y="1726"/>
                  </a:cubicBezTo>
                  <a:cubicBezTo>
                    <a:pt x="999" y="1717"/>
                    <a:pt x="974" y="1717"/>
                    <a:pt x="962" y="1726"/>
                  </a:cubicBezTo>
                  <a:cubicBezTo>
                    <a:pt x="949" y="1735"/>
                    <a:pt x="931" y="1729"/>
                    <a:pt x="924" y="1713"/>
                  </a:cubicBezTo>
                  <a:cubicBezTo>
                    <a:pt x="916" y="1697"/>
                    <a:pt x="904" y="1678"/>
                    <a:pt x="895" y="1673"/>
                  </a:cubicBezTo>
                  <a:cubicBezTo>
                    <a:pt x="886" y="1666"/>
                    <a:pt x="870" y="1667"/>
                    <a:pt x="859" y="1676"/>
                  </a:cubicBezTo>
                  <a:cubicBezTo>
                    <a:pt x="849" y="1685"/>
                    <a:pt x="831" y="1680"/>
                    <a:pt x="824" y="1663"/>
                  </a:cubicBezTo>
                  <a:cubicBezTo>
                    <a:pt x="816" y="1647"/>
                    <a:pt x="806" y="1619"/>
                    <a:pt x="803" y="1601"/>
                  </a:cubicBezTo>
                  <a:cubicBezTo>
                    <a:pt x="800" y="1583"/>
                    <a:pt x="802" y="1560"/>
                    <a:pt x="811" y="1551"/>
                  </a:cubicBezTo>
                  <a:cubicBezTo>
                    <a:pt x="818" y="1541"/>
                    <a:pt x="829" y="1542"/>
                    <a:pt x="831" y="1553"/>
                  </a:cubicBezTo>
                  <a:cubicBezTo>
                    <a:pt x="833" y="1564"/>
                    <a:pt x="850" y="1587"/>
                    <a:pt x="868" y="1601"/>
                  </a:cubicBezTo>
                  <a:cubicBezTo>
                    <a:pt x="884" y="1618"/>
                    <a:pt x="917" y="1631"/>
                    <a:pt x="939" y="1634"/>
                  </a:cubicBezTo>
                  <a:cubicBezTo>
                    <a:pt x="961" y="1636"/>
                    <a:pt x="991" y="1644"/>
                    <a:pt x="1007" y="1653"/>
                  </a:cubicBezTo>
                  <a:cubicBezTo>
                    <a:pt x="1023" y="1661"/>
                    <a:pt x="1047" y="1663"/>
                    <a:pt x="1062" y="1654"/>
                  </a:cubicBezTo>
                  <a:cubicBezTo>
                    <a:pt x="1076" y="1647"/>
                    <a:pt x="1086" y="1632"/>
                    <a:pt x="1082" y="1624"/>
                  </a:cubicBezTo>
                  <a:cubicBezTo>
                    <a:pt x="1079" y="1615"/>
                    <a:pt x="1064" y="1602"/>
                    <a:pt x="1053" y="1592"/>
                  </a:cubicBezTo>
                  <a:cubicBezTo>
                    <a:pt x="1039" y="1584"/>
                    <a:pt x="1025" y="1569"/>
                    <a:pt x="1019" y="1564"/>
                  </a:cubicBezTo>
                  <a:cubicBezTo>
                    <a:pt x="1015" y="1556"/>
                    <a:pt x="995" y="1546"/>
                    <a:pt x="979" y="1537"/>
                  </a:cubicBezTo>
                  <a:cubicBezTo>
                    <a:pt x="964" y="1529"/>
                    <a:pt x="946" y="1526"/>
                    <a:pt x="940" y="1531"/>
                  </a:cubicBezTo>
                  <a:cubicBezTo>
                    <a:pt x="934" y="1535"/>
                    <a:pt x="919" y="1531"/>
                    <a:pt x="907" y="1522"/>
                  </a:cubicBezTo>
                  <a:cubicBezTo>
                    <a:pt x="896" y="1512"/>
                    <a:pt x="877" y="1492"/>
                    <a:pt x="863" y="1479"/>
                  </a:cubicBezTo>
                  <a:cubicBezTo>
                    <a:pt x="852" y="1463"/>
                    <a:pt x="824" y="1441"/>
                    <a:pt x="803" y="1432"/>
                  </a:cubicBezTo>
                  <a:cubicBezTo>
                    <a:pt x="782" y="1421"/>
                    <a:pt x="750" y="1407"/>
                    <a:pt x="731" y="1401"/>
                  </a:cubicBezTo>
                  <a:cubicBezTo>
                    <a:pt x="713" y="1398"/>
                    <a:pt x="696" y="1396"/>
                    <a:pt x="692" y="1400"/>
                  </a:cubicBezTo>
                  <a:cubicBezTo>
                    <a:pt x="689" y="1404"/>
                    <a:pt x="693" y="1418"/>
                    <a:pt x="703" y="1427"/>
                  </a:cubicBezTo>
                  <a:cubicBezTo>
                    <a:pt x="710" y="1438"/>
                    <a:pt x="723" y="1448"/>
                    <a:pt x="729" y="1451"/>
                  </a:cubicBezTo>
                  <a:cubicBezTo>
                    <a:pt x="735" y="1454"/>
                    <a:pt x="740" y="1462"/>
                    <a:pt x="742" y="1468"/>
                  </a:cubicBezTo>
                  <a:cubicBezTo>
                    <a:pt x="744" y="1474"/>
                    <a:pt x="736" y="1480"/>
                    <a:pt x="724" y="1479"/>
                  </a:cubicBezTo>
                  <a:cubicBezTo>
                    <a:pt x="713" y="1479"/>
                    <a:pt x="695" y="1474"/>
                    <a:pt x="684" y="1471"/>
                  </a:cubicBezTo>
                  <a:cubicBezTo>
                    <a:pt x="673" y="1465"/>
                    <a:pt x="663" y="1469"/>
                    <a:pt x="665" y="1475"/>
                  </a:cubicBezTo>
                  <a:cubicBezTo>
                    <a:pt x="666" y="1481"/>
                    <a:pt x="681" y="1497"/>
                    <a:pt x="700" y="1509"/>
                  </a:cubicBezTo>
                  <a:cubicBezTo>
                    <a:pt x="717" y="1523"/>
                    <a:pt x="726" y="1533"/>
                    <a:pt x="719" y="1537"/>
                  </a:cubicBezTo>
                  <a:cubicBezTo>
                    <a:pt x="711" y="1539"/>
                    <a:pt x="694" y="1537"/>
                    <a:pt x="682" y="1533"/>
                  </a:cubicBezTo>
                  <a:cubicBezTo>
                    <a:pt x="669" y="1530"/>
                    <a:pt x="653" y="1534"/>
                    <a:pt x="648" y="1544"/>
                  </a:cubicBezTo>
                  <a:cubicBezTo>
                    <a:pt x="642" y="1552"/>
                    <a:pt x="639" y="1577"/>
                    <a:pt x="641" y="1597"/>
                  </a:cubicBezTo>
                  <a:cubicBezTo>
                    <a:pt x="642" y="1617"/>
                    <a:pt x="635" y="1624"/>
                    <a:pt x="625" y="1612"/>
                  </a:cubicBezTo>
                  <a:cubicBezTo>
                    <a:pt x="615" y="1599"/>
                    <a:pt x="604" y="1577"/>
                    <a:pt x="601" y="1561"/>
                  </a:cubicBezTo>
                  <a:cubicBezTo>
                    <a:pt x="597" y="1545"/>
                    <a:pt x="588" y="1525"/>
                    <a:pt x="578" y="1517"/>
                  </a:cubicBezTo>
                  <a:cubicBezTo>
                    <a:pt x="570" y="1508"/>
                    <a:pt x="544" y="1499"/>
                    <a:pt x="523" y="1491"/>
                  </a:cubicBezTo>
                  <a:cubicBezTo>
                    <a:pt x="501" y="1486"/>
                    <a:pt x="484" y="1480"/>
                    <a:pt x="484" y="1481"/>
                  </a:cubicBezTo>
                  <a:cubicBezTo>
                    <a:pt x="484" y="1481"/>
                    <a:pt x="487" y="1495"/>
                    <a:pt x="491" y="1513"/>
                  </a:cubicBezTo>
                  <a:cubicBezTo>
                    <a:pt x="494" y="1530"/>
                    <a:pt x="492" y="1554"/>
                    <a:pt x="482" y="1563"/>
                  </a:cubicBezTo>
                  <a:cubicBezTo>
                    <a:pt x="472" y="1574"/>
                    <a:pt x="447" y="1574"/>
                    <a:pt x="426" y="1563"/>
                  </a:cubicBezTo>
                  <a:cubicBezTo>
                    <a:pt x="404" y="1553"/>
                    <a:pt x="374" y="1541"/>
                    <a:pt x="358" y="1540"/>
                  </a:cubicBezTo>
                  <a:cubicBezTo>
                    <a:pt x="342" y="1537"/>
                    <a:pt x="334" y="1556"/>
                    <a:pt x="341" y="1580"/>
                  </a:cubicBezTo>
                  <a:cubicBezTo>
                    <a:pt x="348" y="1604"/>
                    <a:pt x="345" y="1637"/>
                    <a:pt x="332" y="1651"/>
                  </a:cubicBezTo>
                  <a:cubicBezTo>
                    <a:pt x="320" y="1665"/>
                    <a:pt x="292" y="1676"/>
                    <a:pt x="269" y="1674"/>
                  </a:cubicBezTo>
                  <a:cubicBezTo>
                    <a:pt x="246" y="1673"/>
                    <a:pt x="209" y="1683"/>
                    <a:pt x="188" y="1701"/>
                  </a:cubicBezTo>
                  <a:cubicBezTo>
                    <a:pt x="166" y="1718"/>
                    <a:pt x="151" y="1756"/>
                    <a:pt x="156" y="1785"/>
                  </a:cubicBezTo>
                  <a:cubicBezTo>
                    <a:pt x="161" y="1814"/>
                    <a:pt x="156" y="1839"/>
                    <a:pt x="144" y="1838"/>
                  </a:cubicBezTo>
                  <a:cubicBezTo>
                    <a:pt x="133" y="1837"/>
                    <a:pt x="123" y="1838"/>
                    <a:pt x="123" y="1838"/>
                  </a:cubicBezTo>
                  <a:cubicBezTo>
                    <a:pt x="124" y="1838"/>
                    <a:pt x="104" y="1844"/>
                    <a:pt x="80" y="1847"/>
                  </a:cubicBezTo>
                  <a:cubicBezTo>
                    <a:pt x="55" y="1851"/>
                    <a:pt x="23" y="1858"/>
                    <a:pt x="9" y="1867"/>
                  </a:cubicBezTo>
                  <a:cubicBezTo>
                    <a:pt x="-5" y="1873"/>
                    <a:pt x="-3" y="1884"/>
                    <a:pt x="14" y="1892"/>
                  </a:cubicBezTo>
                  <a:cubicBezTo>
                    <a:pt x="31" y="1899"/>
                    <a:pt x="44" y="1924"/>
                    <a:pt x="44" y="1946"/>
                  </a:cubicBezTo>
                  <a:cubicBezTo>
                    <a:pt x="44" y="1968"/>
                    <a:pt x="41" y="2008"/>
                    <a:pt x="40" y="2036"/>
                  </a:cubicBezTo>
                  <a:cubicBezTo>
                    <a:pt x="36" y="2064"/>
                    <a:pt x="50" y="2100"/>
                    <a:pt x="66" y="2117"/>
                  </a:cubicBezTo>
                  <a:cubicBezTo>
                    <a:pt x="82" y="2134"/>
                    <a:pt x="114" y="2183"/>
                    <a:pt x="139" y="2225"/>
                  </a:cubicBezTo>
                  <a:cubicBezTo>
                    <a:pt x="163" y="2267"/>
                    <a:pt x="195" y="2304"/>
                    <a:pt x="208" y="2310"/>
                  </a:cubicBezTo>
                  <a:cubicBezTo>
                    <a:pt x="222" y="2314"/>
                    <a:pt x="257" y="2334"/>
                    <a:pt x="287" y="2351"/>
                  </a:cubicBezTo>
                  <a:cubicBezTo>
                    <a:pt x="316" y="2369"/>
                    <a:pt x="355" y="2403"/>
                    <a:pt x="374" y="2426"/>
                  </a:cubicBezTo>
                  <a:cubicBezTo>
                    <a:pt x="393" y="2448"/>
                    <a:pt x="416" y="2482"/>
                    <a:pt x="428" y="2500"/>
                  </a:cubicBezTo>
                  <a:cubicBezTo>
                    <a:pt x="438" y="2518"/>
                    <a:pt x="488" y="2559"/>
                    <a:pt x="537" y="2593"/>
                  </a:cubicBezTo>
                  <a:cubicBezTo>
                    <a:pt x="587" y="2627"/>
                    <a:pt x="638" y="2665"/>
                    <a:pt x="652" y="2678"/>
                  </a:cubicBezTo>
                  <a:cubicBezTo>
                    <a:pt x="666" y="2689"/>
                    <a:pt x="674" y="2720"/>
                    <a:pt x="669" y="2745"/>
                  </a:cubicBezTo>
                  <a:cubicBezTo>
                    <a:pt x="664" y="2769"/>
                    <a:pt x="648" y="2809"/>
                    <a:pt x="634" y="2835"/>
                  </a:cubicBezTo>
                  <a:cubicBezTo>
                    <a:pt x="618" y="2859"/>
                    <a:pt x="597" y="2912"/>
                    <a:pt x="590" y="2952"/>
                  </a:cubicBezTo>
                  <a:cubicBezTo>
                    <a:pt x="582" y="2992"/>
                    <a:pt x="596" y="3047"/>
                    <a:pt x="624" y="3075"/>
                  </a:cubicBezTo>
                  <a:cubicBezTo>
                    <a:pt x="651" y="3103"/>
                    <a:pt x="687" y="3146"/>
                    <a:pt x="698" y="3174"/>
                  </a:cubicBezTo>
                  <a:cubicBezTo>
                    <a:pt x="712" y="3201"/>
                    <a:pt x="765" y="3286"/>
                    <a:pt x="817" y="3362"/>
                  </a:cubicBezTo>
                  <a:cubicBezTo>
                    <a:pt x="870" y="3439"/>
                    <a:pt x="963" y="3587"/>
                    <a:pt x="1024" y="3691"/>
                  </a:cubicBezTo>
                  <a:cubicBezTo>
                    <a:pt x="1085" y="3795"/>
                    <a:pt x="1120" y="3882"/>
                    <a:pt x="1103" y="3883"/>
                  </a:cubicBezTo>
                  <a:cubicBezTo>
                    <a:pt x="1086" y="3883"/>
                    <a:pt x="1077" y="3933"/>
                    <a:pt x="1082" y="3993"/>
                  </a:cubicBezTo>
                  <a:cubicBezTo>
                    <a:pt x="1088" y="4053"/>
                    <a:pt x="1097" y="4115"/>
                    <a:pt x="1099" y="4132"/>
                  </a:cubicBezTo>
                  <a:cubicBezTo>
                    <a:pt x="1102" y="4149"/>
                    <a:pt x="1121" y="4169"/>
                    <a:pt x="1142" y="4177"/>
                  </a:cubicBezTo>
                  <a:cubicBezTo>
                    <a:pt x="1162" y="4186"/>
                    <a:pt x="1171" y="4205"/>
                    <a:pt x="1159" y="4219"/>
                  </a:cubicBezTo>
                  <a:cubicBezTo>
                    <a:pt x="1150" y="4235"/>
                    <a:pt x="1143" y="4271"/>
                    <a:pt x="1149" y="4303"/>
                  </a:cubicBezTo>
                  <a:cubicBezTo>
                    <a:pt x="1154" y="4334"/>
                    <a:pt x="1170" y="4375"/>
                    <a:pt x="1186" y="4393"/>
                  </a:cubicBezTo>
                  <a:cubicBezTo>
                    <a:pt x="1202" y="4411"/>
                    <a:pt x="1235" y="4434"/>
                    <a:pt x="1260" y="4442"/>
                  </a:cubicBezTo>
                  <a:cubicBezTo>
                    <a:pt x="1286" y="4450"/>
                    <a:pt x="1316" y="4473"/>
                    <a:pt x="1327" y="4493"/>
                  </a:cubicBezTo>
                  <a:cubicBezTo>
                    <a:pt x="1339" y="4512"/>
                    <a:pt x="1342" y="4534"/>
                    <a:pt x="1337" y="4542"/>
                  </a:cubicBezTo>
                  <a:cubicBezTo>
                    <a:pt x="1330" y="4549"/>
                    <a:pt x="1329" y="4585"/>
                    <a:pt x="1338" y="4621"/>
                  </a:cubicBezTo>
                  <a:cubicBezTo>
                    <a:pt x="1346" y="4656"/>
                    <a:pt x="1363" y="4705"/>
                    <a:pt x="1377" y="4730"/>
                  </a:cubicBezTo>
                  <a:cubicBezTo>
                    <a:pt x="1391" y="4755"/>
                    <a:pt x="1430" y="4796"/>
                    <a:pt x="1465" y="4821"/>
                  </a:cubicBezTo>
                  <a:cubicBezTo>
                    <a:pt x="1498" y="4847"/>
                    <a:pt x="1531" y="4891"/>
                    <a:pt x="1538" y="4921"/>
                  </a:cubicBezTo>
                  <a:cubicBezTo>
                    <a:pt x="1546" y="4949"/>
                    <a:pt x="1538" y="4991"/>
                    <a:pt x="1523" y="5014"/>
                  </a:cubicBezTo>
                  <a:cubicBezTo>
                    <a:pt x="1509" y="5036"/>
                    <a:pt x="1494" y="5076"/>
                    <a:pt x="1490" y="5104"/>
                  </a:cubicBezTo>
                  <a:cubicBezTo>
                    <a:pt x="1487" y="5131"/>
                    <a:pt x="1530" y="5213"/>
                    <a:pt x="1587" y="5285"/>
                  </a:cubicBezTo>
                  <a:cubicBezTo>
                    <a:pt x="1644" y="5358"/>
                    <a:pt x="1712" y="5428"/>
                    <a:pt x="1739" y="5442"/>
                  </a:cubicBezTo>
                  <a:cubicBezTo>
                    <a:pt x="1766" y="5455"/>
                    <a:pt x="1831" y="5512"/>
                    <a:pt x="1882" y="5570"/>
                  </a:cubicBezTo>
                  <a:cubicBezTo>
                    <a:pt x="1935" y="5626"/>
                    <a:pt x="1984" y="5701"/>
                    <a:pt x="1996" y="5732"/>
                  </a:cubicBezTo>
                  <a:cubicBezTo>
                    <a:pt x="2007" y="5763"/>
                    <a:pt x="2001" y="5843"/>
                    <a:pt x="1984" y="5910"/>
                  </a:cubicBezTo>
                  <a:cubicBezTo>
                    <a:pt x="1967" y="5978"/>
                    <a:pt x="1924" y="6082"/>
                    <a:pt x="1896" y="6146"/>
                  </a:cubicBezTo>
                  <a:cubicBezTo>
                    <a:pt x="1865" y="6208"/>
                    <a:pt x="1828" y="6298"/>
                    <a:pt x="1816" y="6346"/>
                  </a:cubicBezTo>
                  <a:cubicBezTo>
                    <a:pt x="1802" y="6394"/>
                    <a:pt x="1772" y="6464"/>
                    <a:pt x="1750" y="6502"/>
                  </a:cubicBezTo>
                  <a:cubicBezTo>
                    <a:pt x="1727" y="6540"/>
                    <a:pt x="1692" y="6609"/>
                    <a:pt x="1672" y="6654"/>
                  </a:cubicBezTo>
                  <a:cubicBezTo>
                    <a:pt x="1653" y="6700"/>
                    <a:pt x="1616" y="6742"/>
                    <a:pt x="1594" y="6751"/>
                  </a:cubicBezTo>
                  <a:cubicBezTo>
                    <a:pt x="1571" y="6759"/>
                    <a:pt x="1518" y="6796"/>
                    <a:pt x="1477" y="6835"/>
                  </a:cubicBezTo>
                  <a:cubicBezTo>
                    <a:pt x="1435" y="6873"/>
                    <a:pt x="1409" y="6931"/>
                    <a:pt x="1416" y="6962"/>
                  </a:cubicBezTo>
                  <a:cubicBezTo>
                    <a:pt x="1423" y="6991"/>
                    <a:pt x="1431" y="7014"/>
                    <a:pt x="1430" y="7014"/>
                  </a:cubicBezTo>
                  <a:cubicBezTo>
                    <a:pt x="1431" y="7014"/>
                    <a:pt x="1435" y="7006"/>
                    <a:pt x="1441" y="6997"/>
                  </a:cubicBezTo>
                  <a:cubicBezTo>
                    <a:pt x="1441" y="6997"/>
                    <a:pt x="1441" y="6997"/>
                    <a:pt x="1446" y="6996"/>
                  </a:cubicBezTo>
                  <a:cubicBezTo>
                    <a:pt x="1462" y="6994"/>
                    <a:pt x="1462" y="6993"/>
                    <a:pt x="1462" y="6993"/>
                  </a:cubicBezTo>
                  <a:cubicBezTo>
                    <a:pt x="1506" y="6971"/>
                    <a:pt x="1561" y="6955"/>
                    <a:pt x="1583" y="6954"/>
                  </a:cubicBezTo>
                  <a:cubicBezTo>
                    <a:pt x="1605" y="6953"/>
                    <a:pt x="1613" y="6964"/>
                    <a:pt x="1599" y="6973"/>
                  </a:cubicBezTo>
                  <a:cubicBezTo>
                    <a:pt x="1587" y="6984"/>
                    <a:pt x="1582" y="7005"/>
                    <a:pt x="1592" y="7018"/>
                  </a:cubicBezTo>
                  <a:cubicBezTo>
                    <a:pt x="1601" y="7032"/>
                    <a:pt x="1609" y="7061"/>
                    <a:pt x="1613" y="7079"/>
                  </a:cubicBezTo>
                  <a:cubicBezTo>
                    <a:pt x="1614" y="7097"/>
                    <a:pt x="1596" y="7095"/>
                    <a:pt x="1571" y="7071"/>
                  </a:cubicBezTo>
                  <a:cubicBezTo>
                    <a:pt x="1545" y="7048"/>
                    <a:pt x="1521" y="7039"/>
                    <a:pt x="1521" y="7053"/>
                  </a:cubicBezTo>
                  <a:cubicBezTo>
                    <a:pt x="1520" y="7066"/>
                    <a:pt x="1541" y="7102"/>
                    <a:pt x="1569" y="7133"/>
                  </a:cubicBezTo>
                  <a:cubicBezTo>
                    <a:pt x="1595" y="7165"/>
                    <a:pt x="1639" y="7195"/>
                    <a:pt x="1663" y="7200"/>
                  </a:cubicBezTo>
                  <a:cubicBezTo>
                    <a:pt x="1688" y="7205"/>
                    <a:pt x="1721" y="7228"/>
                    <a:pt x="1737" y="7251"/>
                  </a:cubicBezTo>
                  <a:cubicBezTo>
                    <a:pt x="1752" y="7273"/>
                    <a:pt x="1785" y="7295"/>
                    <a:pt x="1808" y="7298"/>
                  </a:cubicBezTo>
                  <a:cubicBezTo>
                    <a:pt x="1832" y="7303"/>
                    <a:pt x="1859" y="7304"/>
                    <a:pt x="1867" y="7301"/>
                  </a:cubicBezTo>
                  <a:cubicBezTo>
                    <a:pt x="1876" y="7298"/>
                    <a:pt x="1896" y="7297"/>
                    <a:pt x="1913" y="7301"/>
                  </a:cubicBezTo>
                  <a:cubicBezTo>
                    <a:pt x="1929" y="7304"/>
                    <a:pt x="1959" y="7331"/>
                    <a:pt x="1981" y="7360"/>
                  </a:cubicBezTo>
                  <a:cubicBezTo>
                    <a:pt x="2003" y="7389"/>
                    <a:pt x="2012" y="7425"/>
                    <a:pt x="2002" y="7439"/>
                  </a:cubicBezTo>
                  <a:cubicBezTo>
                    <a:pt x="1992" y="7453"/>
                    <a:pt x="1957" y="7452"/>
                    <a:pt x="1925" y="7437"/>
                  </a:cubicBezTo>
                  <a:cubicBezTo>
                    <a:pt x="1895" y="7419"/>
                    <a:pt x="1858" y="7412"/>
                    <a:pt x="1846" y="7414"/>
                  </a:cubicBezTo>
                  <a:cubicBezTo>
                    <a:pt x="1834" y="7415"/>
                    <a:pt x="1823" y="7433"/>
                    <a:pt x="1820" y="7451"/>
                  </a:cubicBezTo>
                  <a:cubicBezTo>
                    <a:pt x="1816" y="7469"/>
                    <a:pt x="1795" y="7495"/>
                    <a:pt x="1773" y="7511"/>
                  </a:cubicBezTo>
                  <a:cubicBezTo>
                    <a:pt x="1751" y="7527"/>
                    <a:pt x="1715" y="7525"/>
                    <a:pt x="1692" y="7510"/>
                  </a:cubicBezTo>
                  <a:cubicBezTo>
                    <a:pt x="1670" y="7495"/>
                    <a:pt x="1643" y="7486"/>
                    <a:pt x="1633" y="7495"/>
                  </a:cubicBezTo>
                  <a:cubicBezTo>
                    <a:pt x="1623" y="7504"/>
                    <a:pt x="1615" y="7527"/>
                    <a:pt x="1622" y="7548"/>
                  </a:cubicBezTo>
                  <a:cubicBezTo>
                    <a:pt x="1627" y="7569"/>
                    <a:pt x="1615" y="7589"/>
                    <a:pt x="1597" y="7594"/>
                  </a:cubicBezTo>
                  <a:cubicBezTo>
                    <a:pt x="1579" y="7597"/>
                    <a:pt x="1556" y="7583"/>
                    <a:pt x="1544" y="7565"/>
                  </a:cubicBezTo>
                  <a:cubicBezTo>
                    <a:pt x="1534" y="7545"/>
                    <a:pt x="1517" y="7531"/>
                    <a:pt x="1508" y="7533"/>
                  </a:cubicBezTo>
                  <a:cubicBezTo>
                    <a:pt x="1499" y="7534"/>
                    <a:pt x="1491" y="7547"/>
                    <a:pt x="1494" y="7559"/>
                  </a:cubicBezTo>
                  <a:cubicBezTo>
                    <a:pt x="1494" y="7571"/>
                    <a:pt x="1506" y="7596"/>
                    <a:pt x="1518" y="7613"/>
                  </a:cubicBezTo>
                  <a:cubicBezTo>
                    <a:pt x="1529" y="7632"/>
                    <a:pt x="1535" y="7664"/>
                    <a:pt x="1533" y="7687"/>
                  </a:cubicBezTo>
                  <a:cubicBezTo>
                    <a:pt x="1530" y="7710"/>
                    <a:pt x="1528" y="7730"/>
                    <a:pt x="1528" y="7732"/>
                  </a:cubicBezTo>
                  <a:cubicBezTo>
                    <a:pt x="1528" y="7734"/>
                    <a:pt x="1537" y="7752"/>
                    <a:pt x="1550" y="7769"/>
                  </a:cubicBezTo>
                  <a:cubicBezTo>
                    <a:pt x="1551" y="7770"/>
                    <a:pt x="1551" y="7770"/>
                    <a:pt x="1551" y="7770"/>
                  </a:cubicBezTo>
                  <a:cubicBezTo>
                    <a:pt x="1564" y="7787"/>
                    <a:pt x="1573" y="7806"/>
                    <a:pt x="1574" y="7809"/>
                  </a:cubicBezTo>
                  <a:cubicBezTo>
                    <a:pt x="1574" y="7814"/>
                    <a:pt x="1576" y="7821"/>
                    <a:pt x="1574" y="7828"/>
                  </a:cubicBezTo>
                  <a:cubicBezTo>
                    <a:pt x="1573" y="7835"/>
                    <a:pt x="1559" y="7855"/>
                    <a:pt x="1546" y="7875"/>
                  </a:cubicBezTo>
                  <a:cubicBezTo>
                    <a:pt x="1531" y="7893"/>
                    <a:pt x="1519" y="7934"/>
                    <a:pt x="1515" y="7964"/>
                  </a:cubicBezTo>
                  <a:cubicBezTo>
                    <a:pt x="1510" y="7994"/>
                    <a:pt x="1501" y="8026"/>
                    <a:pt x="1489" y="8032"/>
                  </a:cubicBezTo>
                  <a:cubicBezTo>
                    <a:pt x="1477" y="8038"/>
                    <a:pt x="1472" y="8111"/>
                    <a:pt x="1473" y="8193"/>
                  </a:cubicBezTo>
                  <a:cubicBezTo>
                    <a:pt x="1477" y="8274"/>
                    <a:pt x="1526" y="8424"/>
                    <a:pt x="1587" y="8523"/>
                  </a:cubicBezTo>
                  <a:cubicBezTo>
                    <a:pt x="1647" y="8622"/>
                    <a:pt x="1698" y="8724"/>
                    <a:pt x="1700" y="8747"/>
                  </a:cubicBezTo>
                  <a:cubicBezTo>
                    <a:pt x="1703" y="8769"/>
                    <a:pt x="1693" y="8799"/>
                    <a:pt x="1678" y="8812"/>
                  </a:cubicBezTo>
                  <a:cubicBezTo>
                    <a:pt x="1664" y="8826"/>
                    <a:pt x="1654" y="8853"/>
                    <a:pt x="1661" y="8874"/>
                  </a:cubicBezTo>
                  <a:cubicBezTo>
                    <a:pt x="1665" y="8896"/>
                    <a:pt x="1661" y="8933"/>
                    <a:pt x="1648" y="8955"/>
                  </a:cubicBezTo>
                  <a:cubicBezTo>
                    <a:pt x="1635" y="8978"/>
                    <a:pt x="1642" y="9002"/>
                    <a:pt x="1663" y="9008"/>
                  </a:cubicBezTo>
                  <a:cubicBezTo>
                    <a:pt x="1685" y="9015"/>
                    <a:pt x="1707" y="9036"/>
                    <a:pt x="1712" y="9056"/>
                  </a:cubicBezTo>
                  <a:cubicBezTo>
                    <a:pt x="1715" y="9077"/>
                    <a:pt x="1720" y="9101"/>
                    <a:pt x="1715" y="9110"/>
                  </a:cubicBezTo>
                  <a:cubicBezTo>
                    <a:pt x="1712" y="9120"/>
                    <a:pt x="1719" y="9136"/>
                    <a:pt x="1728" y="9147"/>
                  </a:cubicBezTo>
                  <a:cubicBezTo>
                    <a:pt x="1739" y="9157"/>
                    <a:pt x="1755" y="9182"/>
                    <a:pt x="1761" y="9202"/>
                  </a:cubicBezTo>
                  <a:cubicBezTo>
                    <a:pt x="1770" y="9222"/>
                    <a:pt x="1774" y="9249"/>
                    <a:pt x="1774" y="9264"/>
                  </a:cubicBezTo>
                  <a:cubicBezTo>
                    <a:pt x="1772" y="9278"/>
                    <a:pt x="1785" y="9314"/>
                    <a:pt x="1802" y="9344"/>
                  </a:cubicBezTo>
                  <a:cubicBezTo>
                    <a:pt x="1818" y="9375"/>
                    <a:pt x="1841" y="9407"/>
                    <a:pt x="1848" y="9420"/>
                  </a:cubicBezTo>
                  <a:cubicBezTo>
                    <a:pt x="1855" y="9432"/>
                    <a:pt x="1875" y="9469"/>
                    <a:pt x="1890" y="9504"/>
                  </a:cubicBezTo>
                  <a:cubicBezTo>
                    <a:pt x="1906" y="9538"/>
                    <a:pt x="1933" y="9585"/>
                    <a:pt x="1949" y="9610"/>
                  </a:cubicBezTo>
                  <a:cubicBezTo>
                    <a:pt x="1965" y="9634"/>
                    <a:pt x="1986" y="9679"/>
                    <a:pt x="1993" y="9713"/>
                  </a:cubicBezTo>
                  <a:cubicBezTo>
                    <a:pt x="1998" y="9746"/>
                    <a:pt x="2012" y="9772"/>
                    <a:pt x="2021" y="9771"/>
                  </a:cubicBezTo>
                  <a:cubicBezTo>
                    <a:pt x="2029" y="9772"/>
                    <a:pt x="2052" y="9783"/>
                    <a:pt x="2071" y="9798"/>
                  </a:cubicBezTo>
                  <a:cubicBezTo>
                    <a:pt x="2091" y="9813"/>
                    <a:pt x="2125" y="9818"/>
                    <a:pt x="2146" y="9806"/>
                  </a:cubicBezTo>
                  <a:cubicBezTo>
                    <a:pt x="2166" y="9794"/>
                    <a:pt x="2203" y="9819"/>
                    <a:pt x="2230" y="9857"/>
                  </a:cubicBezTo>
                  <a:cubicBezTo>
                    <a:pt x="2255" y="9897"/>
                    <a:pt x="2296" y="9921"/>
                    <a:pt x="2320" y="9912"/>
                  </a:cubicBezTo>
                  <a:cubicBezTo>
                    <a:pt x="2344" y="9901"/>
                    <a:pt x="2383" y="9900"/>
                    <a:pt x="2406" y="9907"/>
                  </a:cubicBezTo>
                  <a:cubicBezTo>
                    <a:pt x="2429" y="9913"/>
                    <a:pt x="2468" y="9952"/>
                    <a:pt x="2492" y="9994"/>
                  </a:cubicBezTo>
                  <a:cubicBezTo>
                    <a:pt x="2515" y="10036"/>
                    <a:pt x="2556" y="10054"/>
                    <a:pt x="2580" y="10034"/>
                  </a:cubicBezTo>
                  <a:cubicBezTo>
                    <a:pt x="2604" y="10014"/>
                    <a:pt x="2648" y="9995"/>
                    <a:pt x="2676" y="9989"/>
                  </a:cubicBezTo>
                  <a:cubicBezTo>
                    <a:pt x="2705" y="9984"/>
                    <a:pt x="2740" y="9994"/>
                    <a:pt x="2754" y="10013"/>
                  </a:cubicBezTo>
                  <a:cubicBezTo>
                    <a:pt x="2767" y="10033"/>
                    <a:pt x="2792" y="10048"/>
                    <a:pt x="2807" y="10051"/>
                  </a:cubicBezTo>
                  <a:cubicBezTo>
                    <a:pt x="2822" y="10052"/>
                    <a:pt x="2872" y="10077"/>
                    <a:pt x="2920" y="10100"/>
                  </a:cubicBezTo>
                  <a:cubicBezTo>
                    <a:pt x="2967" y="10125"/>
                    <a:pt x="3013" y="10169"/>
                    <a:pt x="3021" y="10196"/>
                  </a:cubicBezTo>
                  <a:cubicBezTo>
                    <a:pt x="3030" y="10224"/>
                    <a:pt x="3034" y="10270"/>
                    <a:pt x="3031" y="10299"/>
                  </a:cubicBezTo>
                  <a:cubicBezTo>
                    <a:pt x="3026" y="10328"/>
                    <a:pt x="3042" y="10372"/>
                    <a:pt x="3062" y="10399"/>
                  </a:cubicBezTo>
                  <a:cubicBezTo>
                    <a:pt x="3082" y="10426"/>
                    <a:pt x="3103" y="10475"/>
                    <a:pt x="3107" y="10511"/>
                  </a:cubicBezTo>
                  <a:cubicBezTo>
                    <a:pt x="3110" y="10546"/>
                    <a:pt x="3136" y="10601"/>
                    <a:pt x="3163" y="10633"/>
                  </a:cubicBezTo>
                  <a:cubicBezTo>
                    <a:pt x="3191" y="10665"/>
                    <a:pt x="3227" y="10719"/>
                    <a:pt x="3241" y="10753"/>
                  </a:cubicBezTo>
                  <a:cubicBezTo>
                    <a:pt x="3257" y="10787"/>
                    <a:pt x="3295" y="10853"/>
                    <a:pt x="3327" y="10899"/>
                  </a:cubicBezTo>
                  <a:cubicBezTo>
                    <a:pt x="3359" y="10945"/>
                    <a:pt x="3403" y="11001"/>
                    <a:pt x="3427" y="11020"/>
                  </a:cubicBezTo>
                  <a:cubicBezTo>
                    <a:pt x="3449" y="11040"/>
                    <a:pt x="3480" y="11089"/>
                    <a:pt x="3492" y="11130"/>
                  </a:cubicBezTo>
                  <a:cubicBezTo>
                    <a:pt x="3506" y="11171"/>
                    <a:pt x="3546" y="11216"/>
                    <a:pt x="3581" y="11232"/>
                  </a:cubicBezTo>
                  <a:cubicBezTo>
                    <a:pt x="3616" y="11249"/>
                    <a:pt x="3680" y="11297"/>
                    <a:pt x="3723" y="11342"/>
                  </a:cubicBezTo>
                  <a:cubicBezTo>
                    <a:pt x="3766" y="11387"/>
                    <a:pt x="3804" y="11443"/>
                    <a:pt x="3811" y="11465"/>
                  </a:cubicBezTo>
                  <a:cubicBezTo>
                    <a:pt x="3815" y="11488"/>
                    <a:pt x="3845" y="11527"/>
                    <a:pt x="3874" y="11551"/>
                  </a:cubicBezTo>
                  <a:cubicBezTo>
                    <a:pt x="3903" y="11575"/>
                    <a:pt x="3916" y="11602"/>
                    <a:pt x="3907" y="11615"/>
                  </a:cubicBezTo>
                  <a:cubicBezTo>
                    <a:pt x="3897" y="11625"/>
                    <a:pt x="3876" y="11663"/>
                    <a:pt x="3859" y="11699"/>
                  </a:cubicBezTo>
                  <a:cubicBezTo>
                    <a:pt x="3843" y="11735"/>
                    <a:pt x="3786" y="11767"/>
                    <a:pt x="3734" y="11766"/>
                  </a:cubicBezTo>
                  <a:cubicBezTo>
                    <a:pt x="3681" y="11767"/>
                    <a:pt x="3618" y="11745"/>
                    <a:pt x="3593" y="11717"/>
                  </a:cubicBezTo>
                  <a:cubicBezTo>
                    <a:pt x="3569" y="11688"/>
                    <a:pt x="3542" y="11682"/>
                    <a:pt x="3535" y="11699"/>
                  </a:cubicBezTo>
                  <a:cubicBezTo>
                    <a:pt x="3528" y="11717"/>
                    <a:pt x="3527" y="11755"/>
                    <a:pt x="3531" y="11785"/>
                  </a:cubicBezTo>
                  <a:cubicBezTo>
                    <a:pt x="3538" y="11814"/>
                    <a:pt x="3559" y="11873"/>
                    <a:pt x="3585" y="11913"/>
                  </a:cubicBezTo>
                  <a:cubicBezTo>
                    <a:pt x="3610" y="11954"/>
                    <a:pt x="3632" y="12015"/>
                    <a:pt x="3632" y="12047"/>
                  </a:cubicBezTo>
                  <a:cubicBezTo>
                    <a:pt x="3633" y="12080"/>
                    <a:pt x="3655" y="12135"/>
                    <a:pt x="3682" y="12170"/>
                  </a:cubicBezTo>
                  <a:cubicBezTo>
                    <a:pt x="3710" y="12204"/>
                    <a:pt x="3734" y="12258"/>
                    <a:pt x="3738" y="12288"/>
                  </a:cubicBezTo>
                  <a:cubicBezTo>
                    <a:pt x="3741" y="12318"/>
                    <a:pt x="3757" y="12349"/>
                    <a:pt x="3774" y="12356"/>
                  </a:cubicBezTo>
                  <a:cubicBezTo>
                    <a:pt x="3794" y="12363"/>
                    <a:pt x="3826" y="12368"/>
                    <a:pt x="3848" y="12365"/>
                  </a:cubicBezTo>
                  <a:cubicBezTo>
                    <a:pt x="3871" y="12363"/>
                    <a:pt x="3886" y="12339"/>
                    <a:pt x="3881" y="12313"/>
                  </a:cubicBezTo>
                  <a:cubicBezTo>
                    <a:pt x="3876" y="12288"/>
                    <a:pt x="3884" y="12256"/>
                    <a:pt x="3897" y="12241"/>
                  </a:cubicBezTo>
                  <a:cubicBezTo>
                    <a:pt x="3911" y="12227"/>
                    <a:pt x="3967" y="12236"/>
                    <a:pt x="4019" y="12266"/>
                  </a:cubicBezTo>
                  <a:cubicBezTo>
                    <a:pt x="4072" y="12293"/>
                    <a:pt x="4158" y="12322"/>
                    <a:pt x="4211" y="12330"/>
                  </a:cubicBezTo>
                  <a:cubicBezTo>
                    <a:pt x="4263" y="12338"/>
                    <a:pt x="4325" y="12335"/>
                    <a:pt x="4349" y="12322"/>
                  </a:cubicBezTo>
                  <a:cubicBezTo>
                    <a:pt x="4372" y="12308"/>
                    <a:pt x="4411" y="12304"/>
                    <a:pt x="4435" y="12309"/>
                  </a:cubicBezTo>
                  <a:cubicBezTo>
                    <a:pt x="4458" y="12315"/>
                    <a:pt x="4495" y="12366"/>
                    <a:pt x="4517" y="12423"/>
                  </a:cubicBezTo>
                  <a:cubicBezTo>
                    <a:pt x="4539" y="12481"/>
                    <a:pt x="4575" y="12549"/>
                    <a:pt x="4599" y="12572"/>
                  </a:cubicBezTo>
                  <a:cubicBezTo>
                    <a:pt x="4622" y="12597"/>
                    <a:pt x="4634" y="12637"/>
                    <a:pt x="4626" y="12662"/>
                  </a:cubicBezTo>
                  <a:cubicBezTo>
                    <a:pt x="4619" y="12688"/>
                    <a:pt x="4636" y="12747"/>
                    <a:pt x="4669" y="12794"/>
                  </a:cubicBezTo>
                  <a:cubicBezTo>
                    <a:pt x="4702" y="12842"/>
                    <a:pt x="4773" y="12881"/>
                    <a:pt x="4828" y="12880"/>
                  </a:cubicBezTo>
                  <a:cubicBezTo>
                    <a:pt x="4883" y="12879"/>
                    <a:pt x="4945" y="12899"/>
                    <a:pt x="4969" y="12922"/>
                  </a:cubicBezTo>
                  <a:cubicBezTo>
                    <a:pt x="4991" y="12946"/>
                    <a:pt x="5015" y="12986"/>
                    <a:pt x="5020" y="13012"/>
                  </a:cubicBezTo>
                  <a:cubicBezTo>
                    <a:pt x="5025" y="13038"/>
                    <a:pt x="5046" y="13065"/>
                    <a:pt x="5065" y="13071"/>
                  </a:cubicBezTo>
                  <a:cubicBezTo>
                    <a:pt x="5084" y="13077"/>
                    <a:pt x="5103" y="13110"/>
                    <a:pt x="5107" y="13143"/>
                  </a:cubicBezTo>
                  <a:cubicBezTo>
                    <a:pt x="5110" y="13176"/>
                    <a:pt x="5127" y="13236"/>
                    <a:pt x="5141" y="13278"/>
                  </a:cubicBezTo>
                  <a:cubicBezTo>
                    <a:pt x="5157" y="13319"/>
                    <a:pt x="5209" y="13403"/>
                    <a:pt x="5261" y="13463"/>
                  </a:cubicBezTo>
                  <a:cubicBezTo>
                    <a:pt x="5312" y="13525"/>
                    <a:pt x="5368" y="13556"/>
                    <a:pt x="5382" y="13533"/>
                  </a:cubicBezTo>
                  <a:cubicBezTo>
                    <a:pt x="5398" y="13512"/>
                    <a:pt x="5434" y="13513"/>
                    <a:pt x="5465" y="13535"/>
                  </a:cubicBezTo>
                  <a:cubicBezTo>
                    <a:pt x="5494" y="13559"/>
                    <a:pt x="5537" y="13573"/>
                    <a:pt x="5559" y="13569"/>
                  </a:cubicBezTo>
                  <a:cubicBezTo>
                    <a:pt x="5581" y="13565"/>
                    <a:pt x="5616" y="13569"/>
                    <a:pt x="5639" y="13577"/>
                  </a:cubicBezTo>
                  <a:cubicBezTo>
                    <a:pt x="5661" y="13585"/>
                    <a:pt x="5703" y="13570"/>
                    <a:pt x="5733" y="13545"/>
                  </a:cubicBezTo>
                  <a:cubicBezTo>
                    <a:pt x="5763" y="13519"/>
                    <a:pt x="5800" y="13497"/>
                    <a:pt x="5815" y="13497"/>
                  </a:cubicBezTo>
                  <a:cubicBezTo>
                    <a:pt x="5830" y="13495"/>
                    <a:pt x="5866" y="13549"/>
                    <a:pt x="5895" y="13612"/>
                  </a:cubicBezTo>
                  <a:cubicBezTo>
                    <a:pt x="5925" y="13674"/>
                    <a:pt x="5973" y="13751"/>
                    <a:pt x="6006" y="13778"/>
                  </a:cubicBezTo>
                  <a:cubicBezTo>
                    <a:pt x="6038" y="13808"/>
                    <a:pt x="6076" y="13851"/>
                    <a:pt x="6088" y="13876"/>
                  </a:cubicBezTo>
                  <a:cubicBezTo>
                    <a:pt x="6100" y="13901"/>
                    <a:pt x="6119" y="13911"/>
                    <a:pt x="6130" y="13896"/>
                  </a:cubicBezTo>
                  <a:cubicBezTo>
                    <a:pt x="6142" y="13881"/>
                    <a:pt x="6180" y="13882"/>
                    <a:pt x="6217" y="13897"/>
                  </a:cubicBezTo>
                  <a:cubicBezTo>
                    <a:pt x="6253" y="13912"/>
                    <a:pt x="6304" y="13929"/>
                    <a:pt x="6330" y="13934"/>
                  </a:cubicBezTo>
                  <a:cubicBezTo>
                    <a:pt x="6355" y="13941"/>
                    <a:pt x="6393" y="13957"/>
                    <a:pt x="6412" y="13975"/>
                  </a:cubicBezTo>
                  <a:cubicBezTo>
                    <a:pt x="6432" y="13992"/>
                    <a:pt x="6465" y="14005"/>
                    <a:pt x="6485" y="14004"/>
                  </a:cubicBezTo>
                  <a:cubicBezTo>
                    <a:pt x="6505" y="14002"/>
                    <a:pt x="6543" y="14023"/>
                    <a:pt x="6571" y="14045"/>
                  </a:cubicBezTo>
                  <a:cubicBezTo>
                    <a:pt x="6598" y="14069"/>
                    <a:pt x="6645" y="14098"/>
                    <a:pt x="6675" y="14109"/>
                  </a:cubicBezTo>
                  <a:cubicBezTo>
                    <a:pt x="6705" y="14119"/>
                    <a:pt x="6739" y="14117"/>
                    <a:pt x="6752" y="14102"/>
                  </a:cubicBezTo>
                  <a:cubicBezTo>
                    <a:pt x="6763" y="14085"/>
                    <a:pt x="6785" y="14096"/>
                    <a:pt x="6795" y="14126"/>
                  </a:cubicBezTo>
                  <a:cubicBezTo>
                    <a:pt x="6805" y="14156"/>
                    <a:pt x="6828" y="14189"/>
                    <a:pt x="6841" y="14201"/>
                  </a:cubicBezTo>
                  <a:cubicBezTo>
                    <a:pt x="6856" y="14213"/>
                    <a:pt x="6872" y="14249"/>
                    <a:pt x="6875" y="14282"/>
                  </a:cubicBezTo>
                  <a:cubicBezTo>
                    <a:pt x="6879" y="14314"/>
                    <a:pt x="6870" y="14360"/>
                    <a:pt x="6860" y="14386"/>
                  </a:cubicBezTo>
                  <a:cubicBezTo>
                    <a:pt x="6847" y="14410"/>
                    <a:pt x="6821" y="14432"/>
                    <a:pt x="6801" y="14434"/>
                  </a:cubicBezTo>
                  <a:cubicBezTo>
                    <a:pt x="6782" y="14435"/>
                    <a:pt x="6767" y="14480"/>
                    <a:pt x="6765" y="14532"/>
                  </a:cubicBezTo>
                  <a:cubicBezTo>
                    <a:pt x="6762" y="14583"/>
                    <a:pt x="6790" y="14650"/>
                    <a:pt x="6820" y="14679"/>
                  </a:cubicBezTo>
                  <a:cubicBezTo>
                    <a:pt x="6850" y="14708"/>
                    <a:pt x="6881" y="14762"/>
                    <a:pt x="6889" y="14798"/>
                  </a:cubicBezTo>
                  <a:cubicBezTo>
                    <a:pt x="6898" y="14834"/>
                    <a:pt x="6900" y="14899"/>
                    <a:pt x="6892" y="14942"/>
                  </a:cubicBezTo>
                  <a:cubicBezTo>
                    <a:pt x="6885" y="14986"/>
                    <a:pt x="6886" y="15047"/>
                    <a:pt x="6891" y="15079"/>
                  </a:cubicBezTo>
                  <a:cubicBezTo>
                    <a:pt x="6899" y="15111"/>
                    <a:pt x="6891" y="15148"/>
                    <a:pt x="6875" y="15162"/>
                  </a:cubicBezTo>
                  <a:cubicBezTo>
                    <a:pt x="6860" y="15177"/>
                    <a:pt x="6809" y="15187"/>
                    <a:pt x="6763" y="15181"/>
                  </a:cubicBezTo>
                  <a:cubicBezTo>
                    <a:pt x="6717" y="15179"/>
                    <a:pt x="6664" y="15206"/>
                    <a:pt x="6649" y="15247"/>
                  </a:cubicBezTo>
                  <a:cubicBezTo>
                    <a:pt x="6632" y="15287"/>
                    <a:pt x="6610" y="15324"/>
                    <a:pt x="6598" y="15329"/>
                  </a:cubicBezTo>
                  <a:cubicBezTo>
                    <a:pt x="6586" y="15333"/>
                    <a:pt x="6577" y="15381"/>
                    <a:pt x="6576" y="15435"/>
                  </a:cubicBezTo>
                  <a:cubicBezTo>
                    <a:pt x="6576" y="15437"/>
                    <a:pt x="6576" y="15439"/>
                    <a:pt x="6576" y="15441"/>
                  </a:cubicBezTo>
                  <a:cubicBezTo>
                    <a:pt x="6578" y="15496"/>
                    <a:pt x="6578" y="15541"/>
                    <a:pt x="6578" y="15543"/>
                  </a:cubicBezTo>
                  <a:cubicBezTo>
                    <a:pt x="6579" y="15544"/>
                    <a:pt x="6581" y="15544"/>
                    <a:pt x="6585" y="15543"/>
                  </a:cubicBezTo>
                  <a:cubicBezTo>
                    <a:pt x="6589" y="15542"/>
                    <a:pt x="6609" y="15548"/>
                    <a:pt x="6629" y="15555"/>
                  </a:cubicBezTo>
                  <a:cubicBezTo>
                    <a:pt x="6649" y="15562"/>
                    <a:pt x="6682" y="15556"/>
                    <a:pt x="6701" y="15540"/>
                  </a:cubicBezTo>
                  <a:cubicBezTo>
                    <a:pt x="6720" y="15523"/>
                    <a:pt x="6757" y="15512"/>
                    <a:pt x="6782" y="15510"/>
                  </a:cubicBezTo>
                  <a:cubicBezTo>
                    <a:pt x="6807" y="15510"/>
                    <a:pt x="6835" y="15519"/>
                    <a:pt x="6841" y="15535"/>
                  </a:cubicBezTo>
                  <a:cubicBezTo>
                    <a:pt x="6848" y="15549"/>
                    <a:pt x="6851" y="15575"/>
                    <a:pt x="6848" y="15593"/>
                  </a:cubicBezTo>
                  <a:cubicBezTo>
                    <a:pt x="6845" y="15611"/>
                    <a:pt x="6804" y="15648"/>
                    <a:pt x="6757" y="15676"/>
                  </a:cubicBezTo>
                  <a:cubicBezTo>
                    <a:pt x="6710" y="15705"/>
                    <a:pt x="6655" y="15738"/>
                    <a:pt x="6635" y="15754"/>
                  </a:cubicBezTo>
                  <a:cubicBezTo>
                    <a:pt x="6617" y="15772"/>
                    <a:pt x="6609" y="15795"/>
                    <a:pt x="6620" y="15808"/>
                  </a:cubicBezTo>
                  <a:cubicBezTo>
                    <a:pt x="6630" y="15822"/>
                    <a:pt x="6649" y="15836"/>
                    <a:pt x="6662" y="15837"/>
                  </a:cubicBezTo>
                  <a:cubicBezTo>
                    <a:pt x="6674" y="15838"/>
                    <a:pt x="6676" y="15853"/>
                    <a:pt x="6665" y="15869"/>
                  </a:cubicBezTo>
                  <a:cubicBezTo>
                    <a:pt x="6654" y="15885"/>
                    <a:pt x="6626" y="15890"/>
                    <a:pt x="6602" y="15882"/>
                  </a:cubicBezTo>
                  <a:cubicBezTo>
                    <a:pt x="6578" y="15873"/>
                    <a:pt x="6531" y="15867"/>
                    <a:pt x="6498" y="15867"/>
                  </a:cubicBezTo>
                  <a:cubicBezTo>
                    <a:pt x="6466" y="15869"/>
                    <a:pt x="6454" y="15900"/>
                    <a:pt x="6469" y="15940"/>
                  </a:cubicBezTo>
                  <a:cubicBezTo>
                    <a:pt x="6486" y="15979"/>
                    <a:pt x="6514" y="16027"/>
                    <a:pt x="6529" y="16048"/>
                  </a:cubicBezTo>
                  <a:cubicBezTo>
                    <a:pt x="6546" y="16067"/>
                    <a:pt x="6565" y="16076"/>
                    <a:pt x="6574" y="16067"/>
                  </a:cubicBezTo>
                  <a:cubicBezTo>
                    <a:pt x="6583" y="16056"/>
                    <a:pt x="6597" y="16059"/>
                    <a:pt x="6603" y="16074"/>
                  </a:cubicBezTo>
                  <a:cubicBezTo>
                    <a:pt x="6609" y="16088"/>
                    <a:pt x="6631" y="16109"/>
                    <a:pt x="6652" y="16119"/>
                  </a:cubicBezTo>
                  <a:cubicBezTo>
                    <a:pt x="6672" y="16131"/>
                    <a:pt x="6690" y="16147"/>
                    <a:pt x="6692" y="16157"/>
                  </a:cubicBezTo>
                  <a:cubicBezTo>
                    <a:pt x="6692" y="16168"/>
                    <a:pt x="6683" y="16178"/>
                    <a:pt x="6671" y="16180"/>
                  </a:cubicBezTo>
                  <a:cubicBezTo>
                    <a:pt x="6659" y="16182"/>
                    <a:pt x="6644" y="16195"/>
                    <a:pt x="6637" y="16209"/>
                  </a:cubicBezTo>
                  <a:cubicBezTo>
                    <a:pt x="6630" y="16223"/>
                    <a:pt x="6614" y="16231"/>
                    <a:pt x="6600" y="16226"/>
                  </a:cubicBezTo>
                  <a:cubicBezTo>
                    <a:pt x="6587" y="16220"/>
                    <a:pt x="6569" y="16224"/>
                    <a:pt x="6562" y="16233"/>
                  </a:cubicBezTo>
                  <a:cubicBezTo>
                    <a:pt x="6556" y="16242"/>
                    <a:pt x="6551" y="16256"/>
                    <a:pt x="6551" y="16266"/>
                  </a:cubicBezTo>
                  <a:cubicBezTo>
                    <a:pt x="6554" y="16275"/>
                    <a:pt x="6538" y="16303"/>
                    <a:pt x="6519" y="16327"/>
                  </a:cubicBezTo>
                  <a:cubicBezTo>
                    <a:pt x="6501" y="16351"/>
                    <a:pt x="6490" y="16392"/>
                    <a:pt x="6490" y="16418"/>
                  </a:cubicBezTo>
                  <a:cubicBezTo>
                    <a:pt x="6493" y="16443"/>
                    <a:pt x="6502" y="16474"/>
                    <a:pt x="6513" y="16483"/>
                  </a:cubicBezTo>
                  <a:cubicBezTo>
                    <a:pt x="6524" y="16492"/>
                    <a:pt x="6534" y="16531"/>
                    <a:pt x="6530" y="16567"/>
                  </a:cubicBezTo>
                  <a:cubicBezTo>
                    <a:pt x="6529" y="16603"/>
                    <a:pt x="6512" y="16626"/>
                    <a:pt x="6492" y="16620"/>
                  </a:cubicBezTo>
                  <a:cubicBezTo>
                    <a:pt x="6472" y="16615"/>
                    <a:pt x="6453" y="16612"/>
                    <a:pt x="6449" y="16614"/>
                  </a:cubicBezTo>
                  <a:cubicBezTo>
                    <a:pt x="6444" y="16617"/>
                    <a:pt x="6429" y="16604"/>
                    <a:pt x="6410" y="16588"/>
                  </a:cubicBezTo>
                  <a:cubicBezTo>
                    <a:pt x="6393" y="16572"/>
                    <a:pt x="6361" y="16549"/>
                    <a:pt x="6339" y="16539"/>
                  </a:cubicBezTo>
                  <a:cubicBezTo>
                    <a:pt x="6316" y="16530"/>
                    <a:pt x="6297" y="16531"/>
                    <a:pt x="6299" y="16542"/>
                  </a:cubicBezTo>
                  <a:cubicBezTo>
                    <a:pt x="6299" y="16554"/>
                    <a:pt x="6307" y="16578"/>
                    <a:pt x="6316" y="16598"/>
                  </a:cubicBezTo>
                  <a:cubicBezTo>
                    <a:pt x="6324" y="16618"/>
                    <a:pt x="6321" y="16639"/>
                    <a:pt x="6307" y="16646"/>
                  </a:cubicBezTo>
                  <a:cubicBezTo>
                    <a:pt x="6292" y="16651"/>
                    <a:pt x="6270" y="16668"/>
                    <a:pt x="6259" y="16681"/>
                  </a:cubicBezTo>
                  <a:cubicBezTo>
                    <a:pt x="6247" y="16694"/>
                    <a:pt x="6256" y="16711"/>
                    <a:pt x="6279" y="16717"/>
                  </a:cubicBezTo>
                  <a:cubicBezTo>
                    <a:pt x="6303" y="16723"/>
                    <a:pt x="6331" y="16732"/>
                    <a:pt x="6343" y="16731"/>
                  </a:cubicBezTo>
                  <a:cubicBezTo>
                    <a:pt x="6354" y="16731"/>
                    <a:pt x="6386" y="16759"/>
                    <a:pt x="6416" y="16791"/>
                  </a:cubicBezTo>
                  <a:cubicBezTo>
                    <a:pt x="6445" y="16824"/>
                    <a:pt x="6472" y="16866"/>
                    <a:pt x="6476" y="16886"/>
                  </a:cubicBezTo>
                  <a:cubicBezTo>
                    <a:pt x="6480" y="16905"/>
                    <a:pt x="6502" y="16947"/>
                    <a:pt x="6525" y="16980"/>
                  </a:cubicBezTo>
                  <a:cubicBezTo>
                    <a:pt x="6550" y="17011"/>
                    <a:pt x="6599" y="17039"/>
                    <a:pt x="6635" y="17040"/>
                  </a:cubicBezTo>
                  <a:cubicBezTo>
                    <a:pt x="6671" y="17041"/>
                    <a:pt x="6734" y="17070"/>
                    <a:pt x="6774" y="17105"/>
                  </a:cubicBezTo>
                  <a:cubicBezTo>
                    <a:pt x="6815" y="17140"/>
                    <a:pt x="6869" y="17179"/>
                    <a:pt x="6896" y="17191"/>
                  </a:cubicBezTo>
                  <a:cubicBezTo>
                    <a:pt x="6923" y="17202"/>
                    <a:pt x="6999" y="17270"/>
                    <a:pt x="7067" y="17338"/>
                  </a:cubicBezTo>
                  <a:cubicBezTo>
                    <a:pt x="7135" y="17407"/>
                    <a:pt x="7204" y="17488"/>
                    <a:pt x="7217" y="17522"/>
                  </a:cubicBezTo>
                  <a:cubicBezTo>
                    <a:pt x="7233" y="17554"/>
                    <a:pt x="7260" y="17590"/>
                    <a:pt x="7278" y="17600"/>
                  </a:cubicBezTo>
                  <a:cubicBezTo>
                    <a:pt x="7296" y="17611"/>
                    <a:pt x="7317" y="17632"/>
                    <a:pt x="7324" y="17648"/>
                  </a:cubicBezTo>
                  <a:cubicBezTo>
                    <a:pt x="7331" y="17664"/>
                    <a:pt x="7350" y="17694"/>
                    <a:pt x="7368" y="17713"/>
                  </a:cubicBezTo>
                  <a:cubicBezTo>
                    <a:pt x="7384" y="17733"/>
                    <a:pt x="7410" y="17751"/>
                    <a:pt x="7426" y="17754"/>
                  </a:cubicBezTo>
                  <a:cubicBezTo>
                    <a:pt x="7441" y="17758"/>
                    <a:pt x="7461" y="17774"/>
                    <a:pt x="7467" y="17793"/>
                  </a:cubicBezTo>
                  <a:cubicBezTo>
                    <a:pt x="7474" y="17812"/>
                    <a:pt x="7497" y="17834"/>
                    <a:pt x="7515" y="17848"/>
                  </a:cubicBezTo>
                  <a:cubicBezTo>
                    <a:pt x="7534" y="17860"/>
                    <a:pt x="7558" y="17871"/>
                    <a:pt x="7568" y="17873"/>
                  </a:cubicBezTo>
                  <a:cubicBezTo>
                    <a:pt x="7578" y="17874"/>
                    <a:pt x="7601" y="17901"/>
                    <a:pt x="7618" y="17934"/>
                  </a:cubicBezTo>
                  <a:cubicBezTo>
                    <a:pt x="7635" y="17967"/>
                    <a:pt x="7666" y="17997"/>
                    <a:pt x="7685" y="18004"/>
                  </a:cubicBezTo>
                  <a:cubicBezTo>
                    <a:pt x="7704" y="18010"/>
                    <a:pt x="7728" y="18023"/>
                    <a:pt x="7738" y="18030"/>
                  </a:cubicBezTo>
                  <a:cubicBezTo>
                    <a:pt x="7748" y="18037"/>
                    <a:pt x="7763" y="18038"/>
                    <a:pt x="7773" y="18031"/>
                  </a:cubicBezTo>
                  <a:cubicBezTo>
                    <a:pt x="7782" y="18024"/>
                    <a:pt x="7812" y="18043"/>
                    <a:pt x="7838" y="18075"/>
                  </a:cubicBezTo>
                  <a:cubicBezTo>
                    <a:pt x="7864" y="18108"/>
                    <a:pt x="7887" y="18147"/>
                    <a:pt x="7892" y="18163"/>
                  </a:cubicBezTo>
                  <a:cubicBezTo>
                    <a:pt x="7895" y="18179"/>
                    <a:pt x="7916" y="18199"/>
                    <a:pt x="7940" y="18206"/>
                  </a:cubicBezTo>
                  <a:cubicBezTo>
                    <a:pt x="7963" y="18212"/>
                    <a:pt x="8001" y="18256"/>
                    <a:pt x="8024" y="18301"/>
                  </a:cubicBezTo>
                  <a:cubicBezTo>
                    <a:pt x="8048" y="18347"/>
                    <a:pt x="8078" y="18401"/>
                    <a:pt x="8091" y="18422"/>
                  </a:cubicBezTo>
                  <a:cubicBezTo>
                    <a:pt x="8104" y="18443"/>
                    <a:pt x="8123" y="18504"/>
                    <a:pt x="8132" y="18559"/>
                  </a:cubicBezTo>
                  <a:cubicBezTo>
                    <a:pt x="8142" y="18613"/>
                    <a:pt x="8164" y="18693"/>
                    <a:pt x="8185" y="18736"/>
                  </a:cubicBezTo>
                  <a:cubicBezTo>
                    <a:pt x="8205" y="18778"/>
                    <a:pt x="8217" y="18826"/>
                    <a:pt x="8211" y="18840"/>
                  </a:cubicBezTo>
                  <a:cubicBezTo>
                    <a:pt x="8206" y="18853"/>
                    <a:pt x="8206" y="18884"/>
                    <a:pt x="8212" y="18907"/>
                  </a:cubicBezTo>
                  <a:cubicBezTo>
                    <a:pt x="8219" y="18929"/>
                    <a:pt x="8221" y="18952"/>
                    <a:pt x="8219" y="18957"/>
                  </a:cubicBezTo>
                  <a:cubicBezTo>
                    <a:pt x="8218" y="18962"/>
                    <a:pt x="8216" y="18968"/>
                    <a:pt x="8215" y="18968"/>
                  </a:cubicBezTo>
                  <a:cubicBezTo>
                    <a:pt x="8216" y="18968"/>
                    <a:pt x="8225" y="18971"/>
                    <a:pt x="8237" y="18975"/>
                  </a:cubicBezTo>
                  <a:cubicBezTo>
                    <a:pt x="8237" y="18975"/>
                    <a:pt x="8237" y="18974"/>
                    <a:pt x="8237" y="18975"/>
                  </a:cubicBezTo>
                  <a:cubicBezTo>
                    <a:pt x="8249" y="18976"/>
                    <a:pt x="8263" y="19000"/>
                    <a:pt x="8270" y="19024"/>
                  </a:cubicBezTo>
                  <a:cubicBezTo>
                    <a:pt x="8276" y="19048"/>
                    <a:pt x="8290" y="19071"/>
                    <a:pt x="8300" y="19078"/>
                  </a:cubicBezTo>
                  <a:cubicBezTo>
                    <a:pt x="8311" y="19085"/>
                    <a:pt x="8325" y="19076"/>
                    <a:pt x="8334" y="19062"/>
                  </a:cubicBezTo>
                  <a:cubicBezTo>
                    <a:pt x="8343" y="19049"/>
                    <a:pt x="8369" y="19049"/>
                    <a:pt x="8394" y="19065"/>
                  </a:cubicBezTo>
                  <a:cubicBezTo>
                    <a:pt x="8419" y="19082"/>
                    <a:pt x="8449" y="19093"/>
                    <a:pt x="8460" y="19092"/>
                  </a:cubicBezTo>
                  <a:cubicBezTo>
                    <a:pt x="8471" y="19091"/>
                    <a:pt x="8490" y="19078"/>
                    <a:pt x="8502" y="19064"/>
                  </a:cubicBezTo>
                  <a:cubicBezTo>
                    <a:pt x="8516" y="19052"/>
                    <a:pt x="8537" y="19045"/>
                    <a:pt x="8553" y="19052"/>
                  </a:cubicBezTo>
                  <a:cubicBezTo>
                    <a:pt x="8569" y="19061"/>
                    <a:pt x="8617" y="19107"/>
                    <a:pt x="8659" y="19158"/>
                  </a:cubicBezTo>
                  <a:cubicBezTo>
                    <a:pt x="8701" y="19209"/>
                    <a:pt x="8750" y="19256"/>
                    <a:pt x="8766" y="19264"/>
                  </a:cubicBezTo>
                  <a:cubicBezTo>
                    <a:pt x="8784" y="19271"/>
                    <a:pt x="8798" y="19281"/>
                    <a:pt x="8800" y="19283"/>
                  </a:cubicBezTo>
                  <a:cubicBezTo>
                    <a:pt x="8802" y="19284"/>
                    <a:pt x="8826" y="19279"/>
                    <a:pt x="8853" y="19269"/>
                  </a:cubicBezTo>
                  <a:cubicBezTo>
                    <a:pt x="8880" y="19259"/>
                    <a:pt x="8935" y="19246"/>
                    <a:pt x="8975" y="19237"/>
                  </a:cubicBezTo>
                  <a:cubicBezTo>
                    <a:pt x="9015" y="19229"/>
                    <a:pt x="9057" y="19229"/>
                    <a:pt x="9069" y="19233"/>
                  </a:cubicBezTo>
                  <a:cubicBezTo>
                    <a:pt x="9081" y="19239"/>
                    <a:pt x="9133" y="19246"/>
                    <a:pt x="9184" y="19252"/>
                  </a:cubicBezTo>
                  <a:cubicBezTo>
                    <a:pt x="9234" y="19256"/>
                    <a:pt x="9296" y="19287"/>
                    <a:pt x="9320" y="19320"/>
                  </a:cubicBezTo>
                  <a:cubicBezTo>
                    <a:pt x="9322" y="19323"/>
                    <a:pt x="9325" y="19327"/>
                    <a:pt x="9328" y="19330"/>
                  </a:cubicBezTo>
                  <a:cubicBezTo>
                    <a:pt x="9311" y="19303"/>
                    <a:pt x="9295" y="19269"/>
                    <a:pt x="9295" y="19249"/>
                  </a:cubicBezTo>
                  <a:cubicBezTo>
                    <a:pt x="9295" y="19228"/>
                    <a:pt x="9321" y="19200"/>
                    <a:pt x="9353" y="19185"/>
                  </a:cubicBezTo>
                  <a:cubicBezTo>
                    <a:pt x="9385" y="19172"/>
                    <a:pt x="9455" y="19200"/>
                    <a:pt x="9509" y="19247"/>
                  </a:cubicBezTo>
                  <a:cubicBezTo>
                    <a:pt x="9563" y="19293"/>
                    <a:pt x="9634" y="19338"/>
                    <a:pt x="9667" y="19345"/>
                  </a:cubicBezTo>
                  <a:cubicBezTo>
                    <a:pt x="9700" y="19351"/>
                    <a:pt x="9755" y="19381"/>
                    <a:pt x="9789" y="19409"/>
                  </a:cubicBezTo>
                  <a:cubicBezTo>
                    <a:pt x="9823" y="19437"/>
                    <a:pt x="9852" y="19423"/>
                    <a:pt x="9852" y="19378"/>
                  </a:cubicBezTo>
                  <a:cubicBezTo>
                    <a:pt x="9854" y="19333"/>
                    <a:pt x="9843" y="19273"/>
                    <a:pt x="9827" y="19246"/>
                  </a:cubicBezTo>
                  <a:cubicBezTo>
                    <a:pt x="9812" y="19219"/>
                    <a:pt x="9781" y="19176"/>
                    <a:pt x="9755" y="19153"/>
                  </a:cubicBezTo>
                  <a:cubicBezTo>
                    <a:pt x="9730" y="19131"/>
                    <a:pt x="9716" y="19075"/>
                    <a:pt x="9720" y="19030"/>
                  </a:cubicBezTo>
                  <a:cubicBezTo>
                    <a:pt x="9727" y="18986"/>
                    <a:pt x="9750" y="18954"/>
                    <a:pt x="9775" y="18963"/>
                  </a:cubicBezTo>
                  <a:cubicBezTo>
                    <a:pt x="9801" y="18969"/>
                    <a:pt x="9859" y="19020"/>
                    <a:pt x="9903" y="19073"/>
                  </a:cubicBezTo>
                  <a:cubicBezTo>
                    <a:pt x="9947" y="19127"/>
                    <a:pt x="9996" y="19197"/>
                    <a:pt x="10009" y="19230"/>
                  </a:cubicBezTo>
                  <a:cubicBezTo>
                    <a:pt x="10023" y="19263"/>
                    <a:pt x="10068" y="19299"/>
                    <a:pt x="10108" y="19310"/>
                  </a:cubicBezTo>
                  <a:cubicBezTo>
                    <a:pt x="10149" y="19321"/>
                    <a:pt x="10187" y="19314"/>
                    <a:pt x="10192" y="19293"/>
                  </a:cubicBezTo>
                  <a:cubicBezTo>
                    <a:pt x="10197" y="19272"/>
                    <a:pt x="10221" y="19243"/>
                    <a:pt x="10244" y="19226"/>
                  </a:cubicBezTo>
                  <a:cubicBezTo>
                    <a:pt x="10266" y="19211"/>
                    <a:pt x="10302" y="19163"/>
                    <a:pt x="10326" y="19117"/>
                  </a:cubicBezTo>
                  <a:cubicBezTo>
                    <a:pt x="10328" y="19114"/>
                    <a:pt x="10330" y="19111"/>
                    <a:pt x="10331" y="19108"/>
                  </a:cubicBezTo>
                  <a:cubicBezTo>
                    <a:pt x="10355" y="19062"/>
                    <a:pt x="10375" y="19024"/>
                    <a:pt x="10375" y="19022"/>
                  </a:cubicBezTo>
                  <a:cubicBezTo>
                    <a:pt x="10373" y="19021"/>
                    <a:pt x="10369" y="19010"/>
                    <a:pt x="10361" y="19001"/>
                  </a:cubicBezTo>
                  <a:cubicBezTo>
                    <a:pt x="10353" y="18992"/>
                    <a:pt x="10304" y="18934"/>
                    <a:pt x="10253" y="18873"/>
                  </a:cubicBezTo>
                  <a:cubicBezTo>
                    <a:pt x="10202" y="18812"/>
                    <a:pt x="10129" y="18710"/>
                    <a:pt x="10092" y="18647"/>
                  </a:cubicBezTo>
                  <a:cubicBezTo>
                    <a:pt x="10055" y="18583"/>
                    <a:pt x="10018" y="18502"/>
                    <a:pt x="10008" y="18465"/>
                  </a:cubicBezTo>
                  <a:cubicBezTo>
                    <a:pt x="9997" y="18428"/>
                    <a:pt x="9979" y="18378"/>
                    <a:pt x="9964" y="18355"/>
                  </a:cubicBezTo>
                  <a:cubicBezTo>
                    <a:pt x="9948" y="18331"/>
                    <a:pt x="9933" y="18281"/>
                    <a:pt x="9926" y="18245"/>
                  </a:cubicBezTo>
                  <a:cubicBezTo>
                    <a:pt x="9921" y="18209"/>
                    <a:pt x="9911" y="18165"/>
                    <a:pt x="9905" y="18147"/>
                  </a:cubicBezTo>
                  <a:cubicBezTo>
                    <a:pt x="9900" y="18128"/>
                    <a:pt x="9889" y="18103"/>
                    <a:pt x="9886" y="18089"/>
                  </a:cubicBezTo>
                  <a:cubicBezTo>
                    <a:pt x="9882" y="18075"/>
                    <a:pt x="9869" y="18063"/>
                    <a:pt x="9857" y="18060"/>
                  </a:cubicBezTo>
                  <a:cubicBezTo>
                    <a:pt x="9845" y="18058"/>
                    <a:pt x="9835" y="18039"/>
                    <a:pt x="9835" y="18018"/>
                  </a:cubicBezTo>
                  <a:cubicBezTo>
                    <a:pt x="9835" y="17997"/>
                    <a:pt x="9842" y="17985"/>
                    <a:pt x="9852" y="17992"/>
                  </a:cubicBezTo>
                  <a:cubicBezTo>
                    <a:pt x="9861" y="17998"/>
                    <a:pt x="9872" y="17986"/>
                    <a:pt x="9872" y="17963"/>
                  </a:cubicBezTo>
                  <a:cubicBezTo>
                    <a:pt x="9876" y="17941"/>
                    <a:pt x="9880" y="17906"/>
                    <a:pt x="9885" y="17887"/>
                  </a:cubicBezTo>
                  <a:cubicBezTo>
                    <a:pt x="9890" y="17867"/>
                    <a:pt x="9885" y="17850"/>
                    <a:pt x="9876" y="17850"/>
                  </a:cubicBezTo>
                  <a:cubicBezTo>
                    <a:pt x="9866" y="17851"/>
                    <a:pt x="9852" y="17857"/>
                    <a:pt x="9844" y="17867"/>
                  </a:cubicBezTo>
                  <a:cubicBezTo>
                    <a:pt x="9836" y="17877"/>
                    <a:pt x="9812" y="17868"/>
                    <a:pt x="9790" y="17847"/>
                  </a:cubicBezTo>
                  <a:cubicBezTo>
                    <a:pt x="9768" y="17826"/>
                    <a:pt x="9748" y="17774"/>
                    <a:pt x="9743" y="17733"/>
                  </a:cubicBezTo>
                  <a:cubicBezTo>
                    <a:pt x="9741" y="17692"/>
                    <a:pt x="9722" y="17650"/>
                    <a:pt x="9704" y="17641"/>
                  </a:cubicBezTo>
                  <a:cubicBezTo>
                    <a:pt x="9688" y="17630"/>
                    <a:pt x="9663" y="17605"/>
                    <a:pt x="9649" y="17583"/>
                  </a:cubicBezTo>
                  <a:cubicBezTo>
                    <a:pt x="9636" y="17562"/>
                    <a:pt x="9617" y="17546"/>
                    <a:pt x="9606" y="17549"/>
                  </a:cubicBezTo>
                  <a:cubicBezTo>
                    <a:pt x="9596" y="17552"/>
                    <a:pt x="9575" y="17551"/>
                    <a:pt x="9561" y="17545"/>
                  </a:cubicBezTo>
                  <a:cubicBezTo>
                    <a:pt x="9546" y="17540"/>
                    <a:pt x="9524" y="17499"/>
                    <a:pt x="9511" y="17455"/>
                  </a:cubicBezTo>
                  <a:cubicBezTo>
                    <a:pt x="9498" y="17411"/>
                    <a:pt x="9491" y="17357"/>
                    <a:pt x="9494" y="17335"/>
                  </a:cubicBezTo>
                  <a:cubicBezTo>
                    <a:pt x="9498" y="17314"/>
                    <a:pt x="9508" y="17290"/>
                    <a:pt x="9516" y="17281"/>
                  </a:cubicBezTo>
                  <a:cubicBezTo>
                    <a:pt x="9525" y="17274"/>
                    <a:pt x="9528" y="17229"/>
                    <a:pt x="9523" y="17184"/>
                  </a:cubicBezTo>
                  <a:cubicBezTo>
                    <a:pt x="9518" y="17139"/>
                    <a:pt x="9518" y="17086"/>
                    <a:pt x="9523" y="17068"/>
                  </a:cubicBezTo>
                  <a:cubicBezTo>
                    <a:pt x="9528" y="17050"/>
                    <a:pt x="9536" y="17015"/>
                    <a:pt x="9537" y="16990"/>
                  </a:cubicBezTo>
                  <a:cubicBezTo>
                    <a:pt x="9541" y="16965"/>
                    <a:pt x="9550" y="16939"/>
                    <a:pt x="9558" y="16932"/>
                  </a:cubicBezTo>
                  <a:cubicBezTo>
                    <a:pt x="9566" y="16925"/>
                    <a:pt x="9573" y="16897"/>
                    <a:pt x="9575" y="16870"/>
                  </a:cubicBezTo>
                  <a:cubicBezTo>
                    <a:pt x="9577" y="16843"/>
                    <a:pt x="9583" y="16807"/>
                    <a:pt x="9587" y="16789"/>
                  </a:cubicBezTo>
                  <a:cubicBezTo>
                    <a:pt x="9593" y="16771"/>
                    <a:pt x="9598" y="16743"/>
                    <a:pt x="9595" y="16728"/>
                  </a:cubicBezTo>
                  <a:cubicBezTo>
                    <a:pt x="9595" y="16713"/>
                    <a:pt x="9601" y="16705"/>
                    <a:pt x="9610" y="16711"/>
                  </a:cubicBezTo>
                  <a:cubicBezTo>
                    <a:pt x="9619" y="16716"/>
                    <a:pt x="9634" y="16731"/>
                    <a:pt x="9644" y="16742"/>
                  </a:cubicBezTo>
                  <a:cubicBezTo>
                    <a:pt x="9654" y="16753"/>
                    <a:pt x="9666" y="16759"/>
                    <a:pt x="9673" y="16755"/>
                  </a:cubicBezTo>
                  <a:cubicBezTo>
                    <a:pt x="9679" y="16752"/>
                    <a:pt x="9685" y="16737"/>
                    <a:pt x="9689" y="16724"/>
                  </a:cubicBezTo>
                  <a:cubicBezTo>
                    <a:pt x="9690" y="16710"/>
                    <a:pt x="9700" y="16708"/>
                    <a:pt x="9707" y="16720"/>
                  </a:cubicBezTo>
                  <a:cubicBezTo>
                    <a:pt x="9717" y="16730"/>
                    <a:pt x="9729" y="16735"/>
                    <a:pt x="9736" y="16727"/>
                  </a:cubicBezTo>
                  <a:cubicBezTo>
                    <a:pt x="9743" y="16719"/>
                    <a:pt x="9759" y="16713"/>
                    <a:pt x="9770" y="16716"/>
                  </a:cubicBezTo>
                  <a:cubicBezTo>
                    <a:pt x="9782" y="16718"/>
                    <a:pt x="9801" y="16714"/>
                    <a:pt x="9810" y="16702"/>
                  </a:cubicBezTo>
                  <a:cubicBezTo>
                    <a:pt x="9821" y="16692"/>
                    <a:pt x="9828" y="16674"/>
                    <a:pt x="9823" y="16664"/>
                  </a:cubicBezTo>
                  <a:cubicBezTo>
                    <a:pt x="9819" y="16654"/>
                    <a:pt x="9805" y="16637"/>
                    <a:pt x="9792" y="16628"/>
                  </a:cubicBezTo>
                  <a:cubicBezTo>
                    <a:pt x="9779" y="16620"/>
                    <a:pt x="9775" y="16613"/>
                    <a:pt x="9783" y="16613"/>
                  </a:cubicBezTo>
                  <a:cubicBezTo>
                    <a:pt x="9791" y="16613"/>
                    <a:pt x="9808" y="16624"/>
                    <a:pt x="9820" y="16636"/>
                  </a:cubicBezTo>
                  <a:cubicBezTo>
                    <a:pt x="9820" y="16636"/>
                    <a:pt x="9820" y="16636"/>
                    <a:pt x="9828" y="16637"/>
                  </a:cubicBezTo>
                  <a:cubicBezTo>
                    <a:pt x="9836" y="16638"/>
                    <a:pt x="9835" y="16639"/>
                    <a:pt x="9835" y="16639"/>
                  </a:cubicBezTo>
                  <a:cubicBezTo>
                    <a:pt x="9857" y="16634"/>
                    <a:pt x="9883" y="16639"/>
                    <a:pt x="9891" y="16652"/>
                  </a:cubicBezTo>
                  <a:cubicBezTo>
                    <a:pt x="9901" y="16664"/>
                    <a:pt x="9911" y="16669"/>
                    <a:pt x="9917" y="16664"/>
                  </a:cubicBezTo>
                  <a:cubicBezTo>
                    <a:pt x="9923" y="16657"/>
                    <a:pt x="9923" y="16640"/>
                    <a:pt x="9918" y="16625"/>
                  </a:cubicBezTo>
                  <a:cubicBezTo>
                    <a:pt x="9911" y="16612"/>
                    <a:pt x="9887" y="16579"/>
                    <a:pt x="9860" y="16554"/>
                  </a:cubicBezTo>
                  <a:cubicBezTo>
                    <a:pt x="9833" y="16529"/>
                    <a:pt x="9820" y="16507"/>
                    <a:pt x="9830" y="16507"/>
                  </a:cubicBezTo>
                  <a:cubicBezTo>
                    <a:pt x="9841" y="16505"/>
                    <a:pt x="9864" y="16510"/>
                    <a:pt x="9880" y="16520"/>
                  </a:cubicBezTo>
                  <a:cubicBezTo>
                    <a:pt x="9897" y="16528"/>
                    <a:pt x="9915" y="16536"/>
                    <a:pt x="9920" y="16534"/>
                  </a:cubicBezTo>
                  <a:cubicBezTo>
                    <a:pt x="9926" y="16532"/>
                    <a:pt x="9942" y="16537"/>
                    <a:pt x="9957" y="16543"/>
                  </a:cubicBezTo>
                  <a:cubicBezTo>
                    <a:pt x="9970" y="16552"/>
                    <a:pt x="9981" y="16545"/>
                    <a:pt x="9979" y="16530"/>
                  </a:cubicBezTo>
                  <a:cubicBezTo>
                    <a:pt x="9977" y="16516"/>
                    <a:pt x="9969" y="16496"/>
                    <a:pt x="9960" y="16488"/>
                  </a:cubicBezTo>
                  <a:cubicBezTo>
                    <a:pt x="9951" y="16480"/>
                    <a:pt x="9952" y="16473"/>
                    <a:pt x="9961" y="16473"/>
                  </a:cubicBezTo>
                  <a:cubicBezTo>
                    <a:pt x="9970" y="16474"/>
                    <a:pt x="9976" y="16464"/>
                    <a:pt x="9974" y="16450"/>
                  </a:cubicBezTo>
                  <a:cubicBezTo>
                    <a:pt x="9972" y="16436"/>
                    <a:pt x="9962" y="16418"/>
                    <a:pt x="9955" y="16406"/>
                  </a:cubicBezTo>
                  <a:cubicBezTo>
                    <a:pt x="9946" y="16396"/>
                    <a:pt x="9950" y="16386"/>
                    <a:pt x="9963" y="16385"/>
                  </a:cubicBezTo>
                  <a:cubicBezTo>
                    <a:pt x="9975" y="16385"/>
                    <a:pt x="9986" y="16373"/>
                    <a:pt x="9984" y="16360"/>
                  </a:cubicBezTo>
                  <a:cubicBezTo>
                    <a:pt x="9983" y="16348"/>
                    <a:pt x="9987" y="16329"/>
                    <a:pt x="9983" y="16321"/>
                  </a:cubicBezTo>
                  <a:cubicBezTo>
                    <a:pt x="9983" y="16311"/>
                    <a:pt x="9984" y="16303"/>
                    <a:pt x="9984" y="16303"/>
                  </a:cubicBezTo>
                  <a:cubicBezTo>
                    <a:pt x="9984" y="16303"/>
                    <a:pt x="9985" y="16303"/>
                    <a:pt x="9985" y="16303"/>
                  </a:cubicBezTo>
                  <a:cubicBezTo>
                    <a:pt x="9985" y="16303"/>
                    <a:pt x="9966" y="16284"/>
                    <a:pt x="9943" y="16261"/>
                  </a:cubicBezTo>
                  <a:cubicBezTo>
                    <a:pt x="9919" y="16239"/>
                    <a:pt x="9883" y="16223"/>
                    <a:pt x="9863" y="16230"/>
                  </a:cubicBezTo>
                  <a:cubicBezTo>
                    <a:pt x="9842" y="16236"/>
                    <a:pt x="9796" y="16212"/>
                    <a:pt x="9761" y="16176"/>
                  </a:cubicBezTo>
                  <a:cubicBezTo>
                    <a:pt x="9727" y="16140"/>
                    <a:pt x="9696" y="16095"/>
                    <a:pt x="9696" y="16076"/>
                  </a:cubicBezTo>
                  <a:cubicBezTo>
                    <a:pt x="9695" y="16056"/>
                    <a:pt x="9723" y="16045"/>
                    <a:pt x="9755" y="16052"/>
                  </a:cubicBezTo>
                  <a:cubicBezTo>
                    <a:pt x="9788" y="16058"/>
                    <a:pt x="9778" y="15991"/>
                    <a:pt x="9735" y="15903"/>
                  </a:cubicBezTo>
                  <a:cubicBezTo>
                    <a:pt x="9689" y="15815"/>
                    <a:pt x="9616" y="15693"/>
                    <a:pt x="9570" y="15634"/>
                  </a:cubicBezTo>
                  <a:cubicBezTo>
                    <a:pt x="9523" y="15576"/>
                    <a:pt x="9438" y="15498"/>
                    <a:pt x="9379" y="15466"/>
                  </a:cubicBezTo>
                  <a:cubicBezTo>
                    <a:pt x="9321" y="15433"/>
                    <a:pt x="9269" y="15421"/>
                    <a:pt x="9264" y="15437"/>
                  </a:cubicBezTo>
                  <a:cubicBezTo>
                    <a:pt x="9259" y="15454"/>
                    <a:pt x="9228" y="15438"/>
                    <a:pt x="9196" y="15398"/>
                  </a:cubicBezTo>
                  <a:cubicBezTo>
                    <a:pt x="9163" y="15361"/>
                    <a:pt x="9142" y="15315"/>
                    <a:pt x="9144" y="15297"/>
                  </a:cubicBezTo>
                  <a:cubicBezTo>
                    <a:pt x="9148" y="15281"/>
                    <a:pt x="9135" y="15236"/>
                    <a:pt x="9115" y="15200"/>
                  </a:cubicBezTo>
                  <a:cubicBezTo>
                    <a:pt x="9096" y="15163"/>
                    <a:pt x="9049" y="15111"/>
                    <a:pt x="9010" y="15086"/>
                  </a:cubicBezTo>
                  <a:cubicBezTo>
                    <a:pt x="8972" y="15060"/>
                    <a:pt x="8948" y="15007"/>
                    <a:pt x="8955" y="14968"/>
                  </a:cubicBezTo>
                  <a:cubicBezTo>
                    <a:pt x="8964" y="14929"/>
                    <a:pt x="8969" y="14838"/>
                    <a:pt x="8967" y="14766"/>
                  </a:cubicBezTo>
                  <a:cubicBezTo>
                    <a:pt x="8964" y="14694"/>
                    <a:pt x="8951" y="14619"/>
                    <a:pt x="8936" y="14597"/>
                  </a:cubicBezTo>
                  <a:cubicBezTo>
                    <a:pt x="8920" y="14578"/>
                    <a:pt x="8898" y="14512"/>
                    <a:pt x="8886" y="14453"/>
                  </a:cubicBezTo>
                  <a:cubicBezTo>
                    <a:pt x="8874" y="14394"/>
                    <a:pt x="8877" y="14339"/>
                    <a:pt x="8893" y="14332"/>
                  </a:cubicBezTo>
                  <a:cubicBezTo>
                    <a:pt x="8908" y="14324"/>
                    <a:pt x="8936" y="14290"/>
                    <a:pt x="8954" y="14256"/>
                  </a:cubicBezTo>
                  <a:cubicBezTo>
                    <a:pt x="8972" y="14222"/>
                    <a:pt x="8985" y="14169"/>
                    <a:pt x="8980" y="14140"/>
                  </a:cubicBezTo>
                  <a:cubicBezTo>
                    <a:pt x="8977" y="14110"/>
                    <a:pt x="8980" y="14070"/>
                    <a:pt x="8991" y="14051"/>
                  </a:cubicBezTo>
                  <a:cubicBezTo>
                    <a:pt x="9001" y="14032"/>
                    <a:pt x="9053" y="14069"/>
                    <a:pt x="9106" y="14137"/>
                  </a:cubicBezTo>
                  <a:cubicBezTo>
                    <a:pt x="9161" y="14202"/>
                    <a:pt x="9211" y="14275"/>
                    <a:pt x="9219" y="14298"/>
                  </a:cubicBezTo>
                  <a:cubicBezTo>
                    <a:pt x="9229" y="14319"/>
                    <a:pt x="9257" y="14362"/>
                    <a:pt x="9287" y="14388"/>
                  </a:cubicBezTo>
                  <a:cubicBezTo>
                    <a:pt x="9317" y="14415"/>
                    <a:pt x="9361" y="14440"/>
                    <a:pt x="9387" y="14442"/>
                  </a:cubicBezTo>
                  <a:cubicBezTo>
                    <a:pt x="9413" y="14445"/>
                    <a:pt x="9427" y="14417"/>
                    <a:pt x="9421" y="14381"/>
                  </a:cubicBezTo>
                  <a:cubicBezTo>
                    <a:pt x="9415" y="14344"/>
                    <a:pt x="9414" y="14308"/>
                    <a:pt x="9423" y="14298"/>
                  </a:cubicBezTo>
                  <a:cubicBezTo>
                    <a:pt x="9432" y="14289"/>
                    <a:pt x="9412" y="14201"/>
                    <a:pt x="9380" y="14103"/>
                  </a:cubicBezTo>
                  <a:cubicBezTo>
                    <a:pt x="9346" y="14006"/>
                    <a:pt x="9342" y="13927"/>
                    <a:pt x="9368" y="13929"/>
                  </a:cubicBezTo>
                  <a:cubicBezTo>
                    <a:pt x="9394" y="13930"/>
                    <a:pt x="9438" y="13936"/>
                    <a:pt x="9465" y="13943"/>
                  </a:cubicBezTo>
                  <a:cubicBezTo>
                    <a:pt x="9493" y="13949"/>
                    <a:pt x="9512" y="13932"/>
                    <a:pt x="9508" y="13904"/>
                  </a:cubicBezTo>
                  <a:cubicBezTo>
                    <a:pt x="9505" y="13877"/>
                    <a:pt x="9489" y="13835"/>
                    <a:pt x="9473" y="13812"/>
                  </a:cubicBezTo>
                  <a:cubicBezTo>
                    <a:pt x="9458" y="13788"/>
                    <a:pt x="9448" y="13748"/>
                    <a:pt x="9449" y="13723"/>
                  </a:cubicBezTo>
                  <a:cubicBezTo>
                    <a:pt x="9451" y="13697"/>
                    <a:pt x="9470" y="13663"/>
                    <a:pt x="9492" y="13648"/>
                  </a:cubicBezTo>
                  <a:cubicBezTo>
                    <a:pt x="9514" y="13632"/>
                    <a:pt x="9541" y="13622"/>
                    <a:pt x="9553" y="13622"/>
                  </a:cubicBezTo>
                  <a:cubicBezTo>
                    <a:pt x="9564" y="13623"/>
                    <a:pt x="9576" y="13602"/>
                    <a:pt x="9580" y="13573"/>
                  </a:cubicBezTo>
                  <a:cubicBezTo>
                    <a:pt x="9586" y="13545"/>
                    <a:pt x="9595" y="13512"/>
                    <a:pt x="9605" y="13502"/>
                  </a:cubicBezTo>
                  <a:cubicBezTo>
                    <a:pt x="9617" y="13493"/>
                    <a:pt x="9640" y="13492"/>
                    <a:pt x="9659" y="13503"/>
                  </a:cubicBezTo>
                  <a:cubicBezTo>
                    <a:pt x="9678" y="13512"/>
                    <a:pt x="9693" y="13506"/>
                    <a:pt x="9691" y="13486"/>
                  </a:cubicBezTo>
                  <a:cubicBezTo>
                    <a:pt x="9691" y="13466"/>
                    <a:pt x="9685" y="13432"/>
                    <a:pt x="9677" y="13411"/>
                  </a:cubicBezTo>
                  <a:cubicBezTo>
                    <a:pt x="9670" y="13389"/>
                    <a:pt x="9666" y="13361"/>
                    <a:pt x="9667" y="13347"/>
                  </a:cubicBezTo>
                  <a:cubicBezTo>
                    <a:pt x="9671" y="13333"/>
                    <a:pt x="9693" y="13343"/>
                    <a:pt x="9721" y="13368"/>
                  </a:cubicBezTo>
                  <a:cubicBezTo>
                    <a:pt x="9749" y="13394"/>
                    <a:pt x="9789" y="13428"/>
                    <a:pt x="9810" y="13444"/>
                  </a:cubicBezTo>
                  <a:cubicBezTo>
                    <a:pt x="9831" y="13461"/>
                    <a:pt x="9850" y="13485"/>
                    <a:pt x="9849" y="13499"/>
                  </a:cubicBezTo>
                  <a:cubicBezTo>
                    <a:pt x="9849" y="13513"/>
                    <a:pt x="9842" y="13538"/>
                    <a:pt x="9833" y="13554"/>
                  </a:cubicBezTo>
                  <a:cubicBezTo>
                    <a:pt x="9826" y="13572"/>
                    <a:pt x="9826" y="13595"/>
                    <a:pt x="9836" y="13608"/>
                  </a:cubicBezTo>
                  <a:cubicBezTo>
                    <a:pt x="9845" y="13622"/>
                    <a:pt x="9866" y="13626"/>
                    <a:pt x="9879" y="13617"/>
                  </a:cubicBezTo>
                  <a:cubicBezTo>
                    <a:pt x="9893" y="13609"/>
                    <a:pt x="9905" y="13588"/>
                    <a:pt x="9907" y="13572"/>
                  </a:cubicBezTo>
                  <a:cubicBezTo>
                    <a:pt x="9909" y="13556"/>
                    <a:pt x="9918" y="13537"/>
                    <a:pt x="9928" y="13529"/>
                  </a:cubicBezTo>
                  <a:cubicBezTo>
                    <a:pt x="9937" y="13521"/>
                    <a:pt x="9949" y="13533"/>
                    <a:pt x="9952" y="13552"/>
                  </a:cubicBezTo>
                  <a:cubicBezTo>
                    <a:pt x="9954" y="13573"/>
                    <a:pt x="9965" y="13578"/>
                    <a:pt x="9974" y="13565"/>
                  </a:cubicBezTo>
                  <a:cubicBezTo>
                    <a:pt x="9982" y="13552"/>
                    <a:pt x="9990" y="13530"/>
                    <a:pt x="9990" y="13517"/>
                  </a:cubicBezTo>
                  <a:cubicBezTo>
                    <a:pt x="9990" y="13504"/>
                    <a:pt x="10003" y="13493"/>
                    <a:pt x="10018" y="13495"/>
                  </a:cubicBezTo>
                  <a:cubicBezTo>
                    <a:pt x="10034" y="13496"/>
                    <a:pt x="10060" y="13489"/>
                    <a:pt x="10073" y="13476"/>
                  </a:cubicBezTo>
                  <a:cubicBezTo>
                    <a:pt x="10088" y="13464"/>
                    <a:pt x="10112" y="13457"/>
                    <a:pt x="10127" y="13459"/>
                  </a:cubicBezTo>
                  <a:cubicBezTo>
                    <a:pt x="10141" y="13461"/>
                    <a:pt x="10165" y="13490"/>
                    <a:pt x="10178" y="13523"/>
                  </a:cubicBezTo>
                  <a:cubicBezTo>
                    <a:pt x="10191" y="13555"/>
                    <a:pt x="10219" y="13600"/>
                    <a:pt x="10240" y="13621"/>
                  </a:cubicBezTo>
                  <a:cubicBezTo>
                    <a:pt x="10261" y="13642"/>
                    <a:pt x="10300" y="13655"/>
                    <a:pt x="10327" y="13649"/>
                  </a:cubicBezTo>
                  <a:cubicBezTo>
                    <a:pt x="10354" y="13643"/>
                    <a:pt x="10388" y="13642"/>
                    <a:pt x="10401" y="13646"/>
                  </a:cubicBezTo>
                  <a:cubicBezTo>
                    <a:pt x="10414" y="13651"/>
                    <a:pt x="10435" y="13669"/>
                    <a:pt x="10445" y="13689"/>
                  </a:cubicBezTo>
                  <a:cubicBezTo>
                    <a:pt x="10455" y="13708"/>
                    <a:pt x="10472" y="13726"/>
                    <a:pt x="10482" y="13729"/>
                  </a:cubicBezTo>
                  <a:cubicBezTo>
                    <a:pt x="10490" y="13734"/>
                    <a:pt x="10516" y="13762"/>
                    <a:pt x="10536" y="13796"/>
                  </a:cubicBezTo>
                  <a:cubicBezTo>
                    <a:pt x="10557" y="13829"/>
                    <a:pt x="10588" y="13860"/>
                    <a:pt x="10605" y="13864"/>
                  </a:cubicBezTo>
                  <a:cubicBezTo>
                    <a:pt x="10623" y="13868"/>
                    <a:pt x="10649" y="13894"/>
                    <a:pt x="10666" y="13921"/>
                  </a:cubicBezTo>
                  <a:cubicBezTo>
                    <a:pt x="10681" y="13949"/>
                    <a:pt x="10717" y="13994"/>
                    <a:pt x="10743" y="14023"/>
                  </a:cubicBezTo>
                  <a:cubicBezTo>
                    <a:pt x="10768" y="14053"/>
                    <a:pt x="10800" y="14080"/>
                    <a:pt x="10813" y="14085"/>
                  </a:cubicBezTo>
                  <a:cubicBezTo>
                    <a:pt x="10826" y="14089"/>
                    <a:pt x="10845" y="14107"/>
                    <a:pt x="10852" y="14125"/>
                  </a:cubicBezTo>
                  <a:cubicBezTo>
                    <a:pt x="10862" y="14141"/>
                    <a:pt x="10872" y="14177"/>
                    <a:pt x="10877" y="14204"/>
                  </a:cubicBezTo>
                  <a:cubicBezTo>
                    <a:pt x="10882" y="14230"/>
                    <a:pt x="10894" y="14258"/>
                    <a:pt x="10904" y="14263"/>
                  </a:cubicBezTo>
                  <a:cubicBezTo>
                    <a:pt x="10912" y="14272"/>
                    <a:pt x="10927" y="14259"/>
                    <a:pt x="10934" y="14239"/>
                  </a:cubicBezTo>
                  <a:cubicBezTo>
                    <a:pt x="10941" y="14220"/>
                    <a:pt x="10943" y="14180"/>
                    <a:pt x="10936" y="14151"/>
                  </a:cubicBezTo>
                  <a:cubicBezTo>
                    <a:pt x="10929" y="14123"/>
                    <a:pt x="10937" y="14093"/>
                    <a:pt x="10949" y="14082"/>
                  </a:cubicBezTo>
                  <a:cubicBezTo>
                    <a:pt x="10963" y="14074"/>
                    <a:pt x="10985" y="14086"/>
                    <a:pt x="10999" y="14110"/>
                  </a:cubicBezTo>
                  <a:cubicBezTo>
                    <a:pt x="11013" y="14135"/>
                    <a:pt x="11050" y="14168"/>
                    <a:pt x="11081" y="14181"/>
                  </a:cubicBezTo>
                  <a:cubicBezTo>
                    <a:pt x="11112" y="14195"/>
                    <a:pt x="11148" y="14225"/>
                    <a:pt x="11159" y="14250"/>
                  </a:cubicBezTo>
                  <a:cubicBezTo>
                    <a:pt x="11171" y="14273"/>
                    <a:pt x="11193" y="14300"/>
                    <a:pt x="11205" y="14311"/>
                  </a:cubicBezTo>
                  <a:cubicBezTo>
                    <a:pt x="11220" y="14320"/>
                    <a:pt x="11244" y="14318"/>
                    <a:pt x="11259" y="14301"/>
                  </a:cubicBezTo>
                  <a:cubicBezTo>
                    <a:pt x="11275" y="14285"/>
                    <a:pt x="11284" y="14237"/>
                    <a:pt x="11278" y="14195"/>
                  </a:cubicBezTo>
                  <a:cubicBezTo>
                    <a:pt x="11273" y="14154"/>
                    <a:pt x="11282" y="14122"/>
                    <a:pt x="11298" y="14123"/>
                  </a:cubicBezTo>
                  <a:cubicBezTo>
                    <a:pt x="11314" y="14124"/>
                    <a:pt x="11325" y="14109"/>
                    <a:pt x="11323" y="14089"/>
                  </a:cubicBezTo>
                  <a:cubicBezTo>
                    <a:pt x="11321" y="14068"/>
                    <a:pt x="11328" y="14050"/>
                    <a:pt x="11340" y="14047"/>
                  </a:cubicBezTo>
                  <a:cubicBezTo>
                    <a:pt x="11351" y="14044"/>
                    <a:pt x="11371" y="14057"/>
                    <a:pt x="11381" y="14077"/>
                  </a:cubicBezTo>
                  <a:cubicBezTo>
                    <a:pt x="11392" y="14097"/>
                    <a:pt x="11405" y="14099"/>
                    <a:pt x="11409" y="14082"/>
                  </a:cubicBezTo>
                  <a:cubicBezTo>
                    <a:pt x="11412" y="14065"/>
                    <a:pt x="11429" y="14053"/>
                    <a:pt x="11446" y="14053"/>
                  </a:cubicBezTo>
                  <a:cubicBezTo>
                    <a:pt x="11463" y="14054"/>
                    <a:pt x="11499" y="14083"/>
                    <a:pt x="11525" y="14119"/>
                  </a:cubicBezTo>
                  <a:cubicBezTo>
                    <a:pt x="11551" y="14156"/>
                    <a:pt x="11578" y="14195"/>
                    <a:pt x="11585" y="14208"/>
                  </a:cubicBezTo>
                  <a:cubicBezTo>
                    <a:pt x="11591" y="14222"/>
                    <a:pt x="11614" y="14233"/>
                    <a:pt x="11634" y="14237"/>
                  </a:cubicBezTo>
                  <a:cubicBezTo>
                    <a:pt x="11655" y="14238"/>
                    <a:pt x="11666" y="14218"/>
                    <a:pt x="11659" y="14190"/>
                  </a:cubicBezTo>
                  <a:cubicBezTo>
                    <a:pt x="11652" y="14162"/>
                    <a:pt x="11655" y="14137"/>
                    <a:pt x="11667" y="14135"/>
                  </a:cubicBezTo>
                  <a:cubicBezTo>
                    <a:pt x="11678" y="14133"/>
                    <a:pt x="11701" y="14136"/>
                    <a:pt x="11718" y="14143"/>
                  </a:cubicBezTo>
                  <a:cubicBezTo>
                    <a:pt x="11735" y="14150"/>
                    <a:pt x="11755" y="14146"/>
                    <a:pt x="11759" y="14133"/>
                  </a:cubicBezTo>
                  <a:cubicBezTo>
                    <a:pt x="11766" y="14120"/>
                    <a:pt x="11786" y="14125"/>
                    <a:pt x="11806" y="14144"/>
                  </a:cubicBezTo>
                  <a:cubicBezTo>
                    <a:pt x="11826" y="14164"/>
                    <a:pt x="11853" y="14188"/>
                    <a:pt x="11864" y="14199"/>
                  </a:cubicBezTo>
                  <a:cubicBezTo>
                    <a:pt x="11877" y="14210"/>
                    <a:pt x="11884" y="14231"/>
                    <a:pt x="11882" y="14245"/>
                  </a:cubicBezTo>
                  <a:cubicBezTo>
                    <a:pt x="11880" y="14259"/>
                    <a:pt x="11870" y="14275"/>
                    <a:pt x="11860" y="14280"/>
                  </a:cubicBezTo>
                  <a:cubicBezTo>
                    <a:pt x="11850" y="14286"/>
                    <a:pt x="11857" y="14315"/>
                    <a:pt x="11875" y="14344"/>
                  </a:cubicBezTo>
                  <a:cubicBezTo>
                    <a:pt x="11892" y="14375"/>
                    <a:pt x="11921" y="14406"/>
                    <a:pt x="11935" y="14417"/>
                  </a:cubicBezTo>
                  <a:cubicBezTo>
                    <a:pt x="11950" y="14426"/>
                    <a:pt x="11965" y="14430"/>
                    <a:pt x="11971" y="14427"/>
                  </a:cubicBezTo>
                  <a:cubicBezTo>
                    <a:pt x="11976" y="14421"/>
                    <a:pt x="11991" y="14427"/>
                    <a:pt x="12002" y="14439"/>
                  </a:cubicBezTo>
                  <a:cubicBezTo>
                    <a:pt x="12013" y="14452"/>
                    <a:pt x="12041" y="14463"/>
                    <a:pt x="12063" y="14469"/>
                  </a:cubicBezTo>
                  <a:cubicBezTo>
                    <a:pt x="12085" y="14473"/>
                    <a:pt x="12127" y="14501"/>
                    <a:pt x="12157" y="14530"/>
                  </a:cubicBezTo>
                  <a:cubicBezTo>
                    <a:pt x="12186" y="14558"/>
                    <a:pt x="12223" y="14581"/>
                    <a:pt x="12238" y="14582"/>
                  </a:cubicBezTo>
                  <a:cubicBezTo>
                    <a:pt x="12254" y="14582"/>
                    <a:pt x="12268" y="14564"/>
                    <a:pt x="12273" y="14543"/>
                  </a:cubicBezTo>
                  <a:cubicBezTo>
                    <a:pt x="12277" y="14522"/>
                    <a:pt x="12275" y="14488"/>
                    <a:pt x="12275" y="14466"/>
                  </a:cubicBezTo>
                  <a:cubicBezTo>
                    <a:pt x="12272" y="14445"/>
                    <a:pt x="12275" y="14420"/>
                    <a:pt x="12281" y="14413"/>
                  </a:cubicBezTo>
                  <a:cubicBezTo>
                    <a:pt x="12288" y="14405"/>
                    <a:pt x="12312" y="14421"/>
                    <a:pt x="12339" y="14447"/>
                  </a:cubicBezTo>
                  <a:cubicBezTo>
                    <a:pt x="12363" y="14476"/>
                    <a:pt x="12402" y="14505"/>
                    <a:pt x="12423" y="14513"/>
                  </a:cubicBezTo>
                  <a:cubicBezTo>
                    <a:pt x="12444" y="14521"/>
                    <a:pt x="12479" y="14524"/>
                    <a:pt x="12501" y="14519"/>
                  </a:cubicBezTo>
                  <a:cubicBezTo>
                    <a:pt x="12523" y="14513"/>
                    <a:pt x="12545" y="14496"/>
                    <a:pt x="12548" y="14479"/>
                  </a:cubicBezTo>
                  <a:cubicBezTo>
                    <a:pt x="12555" y="14464"/>
                    <a:pt x="12541" y="14378"/>
                    <a:pt x="12523" y="14291"/>
                  </a:cubicBezTo>
                  <a:cubicBezTo>
                    <a:pt x="12506" y="14204"/>
                    <a:pt x="12482" y="14126"/>
                    <a:pt x="12475" y="14115"/>
                  </a:cubicBezTo>
                  <a:cubicBezTo>
                    <a:pt x="12467" y="14106"/>
                    <a:pt x="12444" y="14091"/>
                    <a:pt x="12422" y="14084"/>
                  </a:cubicBezTo>
                  <a:cubicBezTo>
                    <a:pt x="12402" y="14076"/>
                    <a:pt x="12370" y="14055"/>
                    <a:pt x="12354" y="14034"/>
                  </a:cubicBezTo>
                  <a:cubicBezTo>
                    <a:pt x="12339" y="14012"/>
                    <a:pt x="12320" y="13986"/>
                    <a:pt x="12316" y="13973"/>
                  </a:cubicBezTo>
                  <a:cubicBezTo>
                    <a:pt x="12313" y="13960"/>
                    <a:pt x="12294" y="13942"/>
                    <a:pt x="12277" y="13932"/>
                  </a:cubicBezTo>
                  <a:cubicBezTo>
                    <a:pt x="12261" y="13920"/>
                    <a:pt x="12235" y="13900"/>
                    <a:pt x="12224" y="13882"/>
                  </a:cubicBezTo>
                  <a:cubicBezTo>
                    <a:pt x="12211" y="13866"/>
                    <a:pt x="12187" y="13847"/>
                    <a:pt x="12170" y="13842"/>
                  </a:cubicBezTo>
                  <a:cubicBezTo>
                    <a:pt x="12153" y="13837"/>
                    <a:pt x="12137" y="13820"/>
                    <a:pt x="12132" y="13806"/>
                  </a:cubicBezTo>
                  <a:cubicBezTo>
                    <a:pt x="12128" y="13792"/>
                    <a:pt x="12121" y="13768"/>
                    <a:pt x="12113" y="13753"/>
                  </a:cubicBezTo>
                  <a:cubicBezTo>
                    <a:pt x="12108" y="13737"/>
                    <a:pt x="12101" y="13718"/>
                    <a:pt x="12101" y="13707"/>
                  </a:cubicBezTo>
                  <a:cubicBezTo>
                    <a:pt x="12101" y="13697"/>
                    <a:pt x="12112" y="13690"/>
                    <a:pt x="12125" y="13691"/>
                  </a:cubicBezTo>
                  <a:cubicBezTo>
                    <a:pt x="12137" y="13692"/>
                    <a:pt x="12149" y="13676"/>
                    <a:pt x="12145" y="13654"/>
                  </a:cubicBezTo>
                  <a:cubicBezTo>
                    <a:pt x="12144" y="13632"/>
                    <a:pt x="12150" y="13601"/>
                    <a:pt x="12157" y="13585"/>
                  </a:cubicBezTo>
                  <a:cubicBezTo>
                    <a:pt x="12164" y="13568"/>
                    <a:pt x="12164" y="13534"/>
                    <a:pt x="12156" y="13508"/>
                  </a:cubicBezTo>
                  <a:cubicBezTo>
                    <a:pt x="12148" y="13482"/>
                    <a:pt x="12132" y="13456"/>
                    <a:pt x="12121" y="13450"/>
                  </a:cubicBezTo>
                  <a:cubicBezTo>
                    <a:pt x="12110" y="13444"/>
                    <a:pt x="12098" y="13420"/>
                    <a:pt x="12091" y="13397"/>
                  </a:cubicBezTo>
                  <a:cubicBezTo>
                    <a:pt x="12088" y="13373"/>
                    <a:pt x="12090" y="13329"/>
                    <a:pt x="12100" y="13299"/>
                  </a:cubicBezTo>
                  <a:cubicBezTo>
                    <a:pt x="12110" y="13269"/>
                    <a:pt x="12128" y="13230"/>
                    <a:pt x="12141" y="13213"/>
                  </a:cubicBezTo>
                  <a:cubicBezTo>
                    <a:pt x="12154" y="13196"/>
                    <a:pt x="12188" y="13184"/>
                    <a:pt x="12217" y="13190"/>
                  </a:cubicBezTo>
                  <a:cubicBezTo>
                    <a:pt x="12246" y="13194"/>
                    <a:pt x="12281" y="13206"/>
                    <a:pt x="12293" y="13217"/>
                  </a:cubicBezTo>
                  <a:cubicBezTo>
                    <a:pt x="12307" y="13226"/>
                    <a:pt x="12323" y="13232"/>
                    <a:pt x="12329" y="13224"/>
                  </a:cubicBezTo>
                  <a:cubicBezTo>
                    <a:pt x="12335" y="13218"/>
                    <a:pt x="12338" y="13196"/>
                    <a:pt x="12334" y="13175"/>
                  </a:cubicBezTo>
                  <a:cubicBezTo>
                    <a:pt x="12331" y="13153"/>
                    <a:pt x="12316" y="13127"/>
                    <a:pt x="12301" y="13117"/>
                  </a:cubicBezTo>
                  <a:cubicBezTo>
                    <a:pt x="12286" y="13106"/>
                    <a:pt x="12262" y="13081"/>
                    <a:pt x="12248" y="13060"/>
                  </a:cubicBezTo>
                  <a:cubicBezTo>
                    <a:pt x="12234" y="13039"/>
                    <a:pt x="12213" y="13020"/>
                    <a:pt x="12202" y="13018"/>
                  </a:cubicBezTo>
                  <a:cubicBezTo>
                    <a:pt x="12190" y="13016"/>
                    <a:pt x="12176" y="13019"/>
                    <a:pt x="12169" y="13026"/>
                  </a:cubicBezTo>
                  <a:cubicBezTo>
                    <a:pt x="12160" y="13031"/>
                    <a:pt x="12143" y="13028"/>
                    <a:pt x="12127" y="13014"/>
                  </a:cubicBezTo>
                  <a:cubicBezTo>
                    <a:pt x="12110" y="13001"/>
                    <a:pt x="12082" y="12983"/>
                    <a:pt x="12064" y="12977"/>
                  </a:cubicBezTo>
                  <a:cubicBezTo>
                    <a:pt x="12046" y="12969"/>
                    <a:pt x="12028" y="12953"/>
                    <a:pt x="12023" y="12939"/>
                  </a:cubicBezTo>
                  <a:cubicBezTo>
                    <a:pt x="12018" y="12925"/>
                    <a:pt x="12019" y="12907"/>
                    <a:pt x="12024" y="12901"/>
                  </a:cubicBezTo>
                  <a:cubicBezTo>
                    <a:pt x="12029" y="12895"/>
                    <a:pt x="12048" y="12895"/>
                    <a:pt x="12068" y="12899"/>
                  </a:cubicBezTo>
                  <a:cubicBezTo>
                    <a:pt x="12087" y="12903"/>
                    <a:pt x="12094" y="12888"/>
                    <a:pt x="12084" y="12863"/>
                  </a:cubicBezTo>
                  <a:cubicBezTo>
                    <a:pt x="12074" y="12839"/>
                    <a:pt x="12052" y="12817"/>
                    <a:pt x="12034" y="12815"/>
                  </a:cubicBezTo>
                  <a:cubicBezTo>
                    <a:pt x="12017" y="12813"/>
                    <a:pt x="11991" y="12803"/>
                    <a:pt x="11977" y="12794"/>
                  </a:cubicBezTo>
                  <a:cubicBezTo>
                    <a:pt x="11963" y="12784"/>
                    <a:pt x="11956" y="12770"/>
                    <a:pt x="11961" y="12761"/>
                  </a:cubicBezTo>
                  <a:cubicBezTo>
                    <a:pt x="11966" y="12754"/>
                    <a:pt x="11961" y="12722"/>
                    <a:pt x="11947" y="12695"/>
                  </a:cubicBezTo>
                  <a:cubicBezTo>
                    <a:pt x="11936" y="12666"/>
                    <a:pt x="11927" y="12641"/>
                    <a:pt x="11931" y="12635"/>
                  </a:cubicBezTo>
                  <a:cubicBezTo>
                    <a:pt x="11936" y="12631"/>
                    <a:pt x="11951" y="12628"/>
                    <a:pt x="11966" y="12632"/>
                  </a:cubicBezTo>
                  <a:cubicBezTo>
                    <a:pt x="11981" y="12635"/>
                    <a:pt x="11996" y="12628"/>
                    <a:pt x="12003" y="12619"/>
                  </a:cubicBezTo>
                  <a:cubicBezTo>
                    <a:pt x="12006" y="12608"/>
                    <a:pt x="12020" y="12603"/>
                    <a:pt x="12031" y="12607"/>
                  </a:cubicBezTo>
                  <a:cubicBezTo>
                    <a:pt x="12041" y="12611"/>
                    <a:pt x="12055" y="12625"/>
                    <a:pt x="12062" y="12638"/>
                  </a:cubicBezTo>
                  <a:cubicBezTo>
                    <a:pt x="12071" y="12649"/>
                    <a:pt x="12087" y="12663"/>
                    <a:pt x="12103" y="12666"/>
                  </a:cubicBezTo>
                  <a:cubicBezTo>
                    <a:pt x="12119" y="12668"/>
                    <a:pt x="12145" y="12684"/>
                    <a:pt x="12160" y="12702"/>
                  </a:cubicBezTo>
                  <a:cubicBezTo>
                    <a:pt x="12175" y="12720"/>
                    <a:pt x="12191" y="12727"/>
                    <a:pt x="12195" y="12718"/>
                  </a:cubicBezTo>
                  <a:cubicBezTo>
                    <a:pt x="12199" y="12710"/>
                    <a:pt x="12199" y="12692"/>
                    <a:pt x="12197" y="12679"/>
                  </a:cubicBezTo>
                  <a:cubicBezTo>
                    <a:pt x="12193" y="12667"/>
                    <a:pt x="12200" y="12648"/>
                    <a:pt x="12211" y="12642"/>
                  </a:cubicBezTo>
                  <a:cubicBezTo>
                    <a:pt x="12221" y="12635"/>
                    <a:pt x="12240" y="12631"/>
                    <a:pt x="12253" y="12638"/>
                  </a:cubicBezTo>
                  <a:cubicBezTo>
                    <a:pt x="12265" y="12644"/>
                    <a:pt x="12287" y="12664"/>
                    <a:pt x="12297" y="12686"/>
                  </a:cubicBezTo>
                  <a:cubicBezTo>
                    <a:pt x="12308" y="12708"/>
                    <a:pt x="12320" y="12715"/>
                    <a:pt x="12326" y="12704"/>
                  </a:cubicBezTo>
                  <a:cubicBezTo>
                    <a:pt x="12330" y="12693"/>
                    <a:pt x="12331" y="12672"/>
                    <a:pt x="12331" y="12657"/>
                  </a:cubicBezTo>
                  <a:cubicBezTo>
                    <a:pt x="12329" y="12642"/>
                    <a:pt x="12346" y="12627"/>
                    <a:pt x="12369" y="12624"/>
                  </a:cubicBezTo>
                  <a:cubicBezTo>
                    <a:pt x="12391" y="12621"/>
                    <a:pt x="12421" y="12621"/>
                    <a:pt x="12437" y="12624"/>
                  </a:cubicBezTo>
                  <a:cubicBezTo>
                    <a:pt x="12453" y="12627"/>
                    <a:pt x="12478" y="12624"/>
                    <a:pt x="12493" y="12617"/>
                  </a:cubicBezTo>
                  <a:cubicBezTo>
                    <a:pt x="12508" y="12612"/>
                    <a:pt x="12535" y="12608"/>
                    <a:pt x="12553" y="12612"/>
                  </a:cubicBezTo>
                  <a:cubicBezTo>
                    <a:pt x="12571" y="12616"/>
                    <a:pt x="12587" y="12613"/>
                    <a:pt x="12589" y="12605"/>
                  </a:cubicBezTo>
                  <a:cubicBezTo>
                    <a:pt x="12591" y="12598"/>
                    <a:pt x="12604" y="12582"/>
                    <a:pt x="12619" y="12571"/>
                  </a:cubicBezTo>
                  <a:cubicBezTo>
                    <a:pt x="12633" y="12559"/>
                    <a:pt x="12660" y="12556"/>
                    <a:pt x="12676" y="12560"/>
                  </a:cubicBezTo>
                  <a:cubicBezTo>
                    <a:pt x="12693" y="12565"/>
                    <a:pt x="12713" y="12562"/>
                    <a:pt x="12722" y="12556"/>
                  </a:cubicBezTo>
                  <a:cubicBezTo>
                    <a:pt x="12730" y="12548"/>
                    <a:pt x="12746" y="12543"/>
                    <a:pt x="12755" y="12546"/>
                  </a:cubicBezTo>
                  <a:cubicBezTo>
                    <a:pt x="12765" y="12548"/>
                    <a:pt x="12780" y="12558"/>
                    <a:pt x="12791" y="12566"/>
                  </a:cubicBezTo>
                  <a:cubicBezTo>
                    <a:pt x="12801" y="12577"/>
                    <a:pt x="12814" y="12579"/>
                    <a:pt x="12817" y="12573"/>
                  </a:cubicBezTo>
                  <a:cubicBezTo>
                    <a:pt x="12821" y="12567"/>
                    <a:pt x="12823" y="12544"/>
                    <a:pt x="12816" y="12523"/>
                  </a:cubicBezTo>
                  <a:cubicBezTo>
                    <a:pt x="12814" y="12501"/>
                    <a:pt x="12812" y="12478"/>
                    <a:pt x="12817" y="12470"/>
                  </a:cubicBezTo>
                  <a:cubicBezTo>
                    <a:pt x="12822" y="12461"/>
                    <a:pt x="12840" y="12460"/>
                    <a:pt x="12854" y="12465"/>
                  </a:cubicBezTo>
                  <a:cubicBezTo>
                    <a:pt x="12869" y="12470"/>
                    <a:pt x="12881" y="12464"/>
                    <a:pt x="12879" y="12452"/>
                  </a:cubicBezTo>
                  <a:cubicBezTo>
                    <a:pt x="12878" y="12439"/>
                    <a:pt x="12882" y="12421"/>
                    <a:pt x="12890" y="12415"/>
                  </a:cubicBezTo>
                  <a:cubicBezTo>
                    <a:pt x="12896" y="12406"/>
                    <a:pt x="12908" y="12412"/>
                    <a:pt x="12918" y="12423"/>
                  </a:cubicBezTo>
                  <a:cubicBezTo>
                    <a:pt x="12928" y="12436"/>
                    <a:pt x="12944" y="12453"/>
                    <a:pt x="12954" y="12459"/>
                  </a:cubicBezTo>
                  <a:cubicBezTo>
                    <a:pt x="12964" y="12465"/>
                    <a:pt x="12981" y="12465"/>
                    <a:pt x="12991" y="12459"/>
                  </a:cubicBezTo>
                  <a:cubicBezTo>
                    <a:pt x="13001" y="12452"/>
                    <a:pt x="13021" y="12446"/>
                    <a:pt x="13034" y="12443"/>
                  </a:cubicBezTo>
                  <a:cubicBezTo>
                    <a:pt x="13047" y="12441"/>
                    <a:pt x="13076" y="12424"/>
                    <a:pt x="13098" y="12405"/>
                  </a:cubicBezTo>
                  <a:cubicBezTo>
                    <a:pt x="13120" y="12386"/>
                    <a:pt x="13144" y="12371"/>
                    <a:pt x="13149" y="12375"/>
                  </a:cubicBezTo>
                  <a:cubicBezTo>
                    <a:pt x="13155" y="12376"/>
                    <a:pt x="13164" y="12375"/>
                    <a:pt x="13169" y="12371"/>
                  </a:cubicBezTo>
                  <a:cubicBezTo>
                    <a:pt x="13174" y="12368"/>
                    <a:pt x="13190" y="12363"/>
                    <a:pt x="13204" y="12366"/>
                  </a:cubicBezTo>
                  <a:cubicBezTo>
                    <a:pt x="13219" y="12367"/>
                    <a:pt x="13234" y="12356"/>
                    <a:pt x="13240" y="12341"/>
                  </a:cubicBezTo>
                  <a:cubicBezTo>
                    <a:pt x="13243" y="12326"/>
                    <a:pt x="13256" y="12321"/>
                    <a:pt x="13266" y="12327"/>
                  </a:cubicBezTo>
                  <a:cubicBezTo>
                    <a:pt x="13275" y="12334"/>
                    <a:pt x="13296" y="12340"/>
                    <a:pt x="13312" y="12340"/>
                  </a:cubicBezTo>
                  <a:cubicBezTo>
                    <a:pt x="13328" y="12343"/>
                    <a:pt x="13338" y="12330"/>
                    <a:pt x="13335" y="12315"/>
                  </a:cubicBezTo>
                  <a:cubicBezTo>
                    <a:pt x="13333" y="12300"/>
                    <a:pt x="13322" y="12273"/>
                    <a:pt x="13311" y="12256"/>
                  </a:cubicBezTo>
                  <a:cubicBezTo>
                    <a:pt x="13303" y="12238"/>
                    <a:pt x="13299" y="12222"/>
                    <a:pt x="13305" y="12219"/>
                  </a:cubicBezTo>
                  <a:cubicBezTo>
                    <a:pt x="13311" y="12216"/>
                    <a:pt x="13329" y="12217"/>
                    <a:pt x="13346" y="12222"/>
                  </a:cubicBezTo>
                  <a:cubicBezTo>
                    <a:pt x="13363" y="12227"/>
                    <a:pt x="13376" y="12217"/>
                    <a:pt x="13376" y="12199"/>
                  </a:cubicBezTo>
                  <a:cubicBezTo>
                    <a:pt x="13374" y="12181"/>
                    <a:pt x="13383" y="12162"/>
                    <a:pt x="13392" y="12156"/>
                  </a:cubicBezTo>
                  <a:cubicBezTo>
                    <a:pt x="13401" y="12150"/>
                    <a:pt x="13415" y="12150"/>
                    <a:pt x="13424" y="12155"/>
                  </a:cubicBezTo>
                  <a:cubicBezTo>
                    <a:pt x="13432" y="12161"/>
                    <a:pt x="13446" y="12164"/>
                    <a:pt x="13454" y="12162"/>
                  </a:cubicBezTo>
                  <a:cubicBezTo>
                    <a:pt x="13463" y="12161"/>
                    <a:pt x="13484" y="12174"/>
                    <a:pt x="13502" y="12190"/>
                  </a:cubicBezTo>
                  <a:cubicBezTo>
                    <a:pt x="13518" y="12208"/>
                    <a:pt x="13548" y="12223"/>
                    <a:pt x="13564" y="12226"/>
                  </a:cubicBezTo>
                  <a:cubicBezTo>
                    <a:pt x="13581" y="12231"/>
                    <a:pt x="13610" y="12251"/>
                    <a:pt x="13628" y="12274"/>
                  </a:cubicBezTo>
                  <a:cubicBezTo>
                    <a:pt x="13647" y="12296"/>
                    <a:pt x="13674" y="12318"/>
                    <a:pt x="13689" y="12325"/>
                  </a:cubicBezTo>
                  <a:cubicBezTo>
                    <a:pt x="13704" y="12330"/>
                    <a:pt x="13726" y="12333"/>
                    <a:pt x="13737" y="12328"/>
                  </a:cubicBezTo>
                  <a:cubicBezTo>
                    <a:pt x="13748" y="12323"/>
                    <a:pt x="13768" y="12328"/>
                    <a:pt x="13782" y="12334"/>
                  </a:cubicBezTo>
                  <a:cubicBezTo>
                    <a:pt x="13795" y="12340"/>
                    <a:pt x="13816" y="12367"/>
                    <a:pt x="13825" y="12394"/>
                  </a:cubicBezTo>
                  <a:cubicBezTo>
                    <a:pt x="13837" y="12420"/>
                    <a:pt x="13850" y="12448"/>
                    <a:pt x="13855" y="12458"/>
                  </a:cubicBezTo>
                  <a:cubicBezTo>
                    <a:pt x="13861" y="12466"/>
                    <a:pt x="13873" y="12491"/>
                    <a:pt x="13883" y="12513"/>
                  </a:cubicBezTo>
                  <a:cubicBezTo>
                    <a:pt x="13889" y="12536"/>
                    <a:pt x="13908" y="12571"/>
                    <a:pt x="13921" y="12592"/>
                  </a:cubicBezTo>
                  <a:cubicBezTo>
                    <a:pt x="13932" y="12613"/>
                    <a:pt x="13951" y="12638"/>
                    <a:pt x="13960" y="12649"/>
                  </a:cubicBezTo>
                  <a:cubicBezTo>
                    <a:pt x="13969" y="12660"/>
                    <a:pt x="13980" y="12678"/>
                    <a:pt x="13985" y="12689"/>
                  </a:cubicBezTo>
                  <a:cubicBezTo>
                    <a:pt x="13990" y="12700"/>
                    <a:pt x="13993" y="12724"/>
                    <a:pt x="13993" y="12740"/>
                  </a:cubicBezTo>
                  <a:cubicBezTo>
                    <a:pt x="13993" y="12756"/>
                    <a:pt x="13999" y="12785"/>
                    <a:pt x="14005" y="12805"/>
                  </a:cubicBezTo>
                  <a:cubicBezTo>
                    <a:pt x="14012" y="12825"/>
                    <a:pt x="14017" y="12848"/>
                    <a:pt x="14019" y="12855"/>
                  </a:cubicBezTo>
                  <a:cubicBezTo>
                    <a:pt x="14020" y="12862"/>
                    <a:pt x="14013" y="12869"/>
                    <a:pt x="14005" y="12869"/>
                  </a:cubicBezTo>
                  <a:cubicBezTo>
                    <a:pt x="13996" y="12869"/>
                    <a:pt x="13997" y="12887"/>
                    <a:pt x="14006" y="12909"/>
                  </a:cubicBezTo>
                  <a:cubicBezTo>
                    <a:pt x="14016" y="12930"/>
                    <a:pt x="14031" y="12957"/>
                    <a:pt x="14040" y="12968"/>
                  </a:cubicBezTo>
                  <a:cubicBezTo>
                    <a:pt x="14049" y="12980"/>
                    <a:pt x="14066" y="12984"/>
                    <a:pt x="14076" y="12975"/>
                  </a:cubicBezTo>
                  <a:cubicBezTo>
                    <a:pt x="14087" y="12967"/>
                    <a:pt x="14104" y="12975"/>
                    <a:pt x="14117" y="12990"/>
                  </a:cubicBezTo>
                  <a:cubicBezTo>
                    <a:pt x="14129" y="13007"/>
                    <a:pt x="14145" y="13020"/>
                    <a:pt x="14150" y="13018"/>
                  </a:cubicBezTo>
                  <a:cubicBezTo>
                    <a:pt x="14156" y="13017"/>
                    <a:pt x="14161" y="13000"/>
                    <a:pt x="14158" y="12982"/>
                  </a:cubicBezTo>
                  <a:cubicBezTo>
                    <a:pt x="14155" y="12964"/>
                    <a:pt x="14160" y="12947"/>
                    <a:pt x="14166" y="12945"/>
                  </a:cubicBezTo>
                  <a:cubicBezTo>
                    <a:pt x="14173" y="12942"/>
                    <a:pt x="14186" y="12958"/>
                    <a:pt x="14193" y="12980"/>
                  </a:cubicBezTo>
                  <a:cubicBezTo>
                    <a:pt x="14203" y="13001"/>
                    <a:pt x="14214" y="13023"/>
                    <a:pt x="14222" y="13026"/>
                  </a:cubicBezTo>
                  <a:cubicBezTo>
                    <a:pt x="14229" y="13028"/>
                    <a:pt x="14232" y="13019"/>
                    <a:pt x="14232" y="13004"/>
                  </a:cubicBezTo>
                  <a:cubicBezTo>
                    <a:pt x="14230" y="12989"/>
                    <a:pt x="14221" y="12959"/>
                    <a:pt x="14212" y="12937"/>
                  </a:cubicBezTo>
                  <a:cubicBezTo>
                    <a:pt x="14204" y="12914"/>
                    <a:pt x="14199" y="12894"/>
                    <a:pt x="14202" y="12891"/>
                  </a:cubicBezTo>
                  <a:cubicBezTo>
                    <a:pt x="14205" y="12889"/>
                    <a:pt x="14229" y="12913"/>
                    <a:pt x="14254" y="12947"/>
                  </a:cubicBezTo>
                  <a:cubicBezTo>
                    <a:pt x="14280" y="12981"/>
                    <a:pt x="14308" y="13035"/>
                    <a:pt x="14318" y="13068"/>
                  </a:cubicBezTo>
                  <a:cubicBezTo>
                    <a:pt x="14328" y="13101"/>
                    <a:pt x="14344" y="13152"/>
                    <a:pt x="14358" y="13180"/>
                  </a:cubicBezTo>
                  <a:cubicBezTo>
                    <a:pt x="14372" y="13208"/>
                    <a:pt x="14387" y="13233"/>
                    <a:pt x="14394" y="13235"/>
                  </a:cubicBezTo>
                  <a:cubicBezTo>
                    <a:pt x="14401" y="13237"/>
                    <a:pt x="14412" y="13228"/>
                    <a:pt x="14417" y="13216"/>
                  </a:cubicBezTo>
                  <a:cubicBezTo>
                    <a:pt x="14422" y="13204"/>
                    <a:pt x="14420" y="13188"/>
                    <a:pt x="14412" y="13180"/>
                  </a:cubicBezTo>
                  <a:cubicBezTo>
                    <a:pt x="14405" y="13171"/>
                    <a:pt x="14393" y="13156"/>
                    <a:pt x="14388" y="13143"/>
                  </a:cubicBezTo>
                  <a:cubicBezTo>
                    <a:pt x="14382" y="13131"/>
                    <a:pt x="14388" y="13121"/>
                    <a:pt x="14400" y="13121"/>
                  </a:cubicBezTo>
                  <a:cubicBezTo>
                    <a:pt x="14412" y="13121"/>
                    <a:pt x="14443" y="13145"/>
                    <a:pt x="14469" y="13172"/>
                  </a:cubicBezTo>
                  <a:cubicBezTo>
                    <a:pt x="14495" y="13199"/>
                    <a:pt x="14522" y="13225"/>
                    <a:pt x="14530" y="13228"/>
                  </a:cubicBezTo>
                  <a:cubicBezTo>
                    <a:pt x="14538" y="13230"/>
                    <a:pt x="14550" y="13228"/>
                    <a:pt x="14555" y="13218"/>
                  </a:cubicBezTo>
                  <a:cubicBezTo>
                    <a:pt x="14562" y="13211"/>
                    <a:pt x="14572" y="13210"/>
                    <a:pt x="14580" y="13218"/>
                  </a:cubicBezTo>
                  <a:cubicBezTo>
                    <a:pt x="14587" y="13228"/>
                    <a:pt x="14595" y="13249"/>
                    <a:pt x="14593" y="13266"/>
                  </a:cubicBezTo>
                  <a:cubicBezTo>
                    <a:pt x="14593" y="13284"/>
                    <a:pt x="14589" y="13305"/>
                    <a:pt x="14583" y="13312"/>
                  </a:cubicBezTo>
                  <a:cubicBezTo>
                    <a:pt x="14577" y="13319"/>
                    <a:pt x="14577" y="13348"/>
                    <a:pt x="14584" y="13374"/>
                  </a:cubicBezTo>
                  <a:cubicBezTo>
                    <a:pt x="14587" y="13400"/>
                    <a:pt x="14602" y="13438"/>
                    <a:pt x="14614" y="13459"/>
                  </a:cubicBezTo>
                  <a:cubicBezTo>
                    <a:pt x="14626" y="13480"/>
                    <a:pt x="14641" y="13500"/>
                    <a:pt x="14649" y="13502"/>
                  </a:cubicBezTo>
                  <a:cubicBezTo>
                    <a:pt x="14657" y="13504"/>
                    <a:pt x="14667" y="13497"/>
                    <a:pt x="14670" y="13485"/>
                  </a:cubicBezTo>
                  <a:cubicBezTo>
                    <a:pt x="14672" y="13473"/>
                    <a:pt x="14687" y="13465"/>
                    <a:pt x="14699" y="13464"/>
                  </a:cubicBezTo>
                  <a:cubicBezTo>
                    <a:pt x="14711" y="13464"/>
                    <a:pt x="14741" y="13478"/>
                    <a:pt x="14766" y="13498"/>
                  </a:cubicBezTo>
                  <a:cubicBezTo>
                    <a:pt x="14791" y="13518"/>
                    <a:pt x="14817" y="13542"/>
                    <a:pt x="14825" y="13550"/>
                  </a:cubicBezTo>
                  <a:cubicBezTo>
                    <a:pt x="14831" y="13559"/>
                    <a:pt x="14843" y="13562"/>
                    <a:pt x="14847" y="13555"/>
                  </a:cubicBezTo>
                  <a:cubicBezTo>
                    <a:pt x="14852" y="13550"/>
                    <a:pt x="14850" y="13526"/>
                    <a:pt x="14843" y="13502"/>
                  </a:cubicBezTo>
                  <a:cubicBezTo>
                    <a:pt x="14834" y="13480"/>
                    <a:pt x="14838" y="13457"/>
                    <a:pt x="14847" y="13455"/>
                  </a:cubicBezTo>
                  <a:cubicBezTo>
                    <a:pt x="14857" y="13453"/>
                    <a:pt x="14877" y="13454"/>
                    <a:pt x="14893" y="13457"/>
                  </a:cubicBezTo>
                  <a:cubicBezTo>
                    <a:pt x="14909" y="13460"/>
                    <a:pt x="14928" y="13456"/>
                    <a:pt x="14936" y="13448"/>
                  </a:cubicBezTo>
                  <a:cubicBezTo>
                    <a:pt x="14943" y="13440"/>
                    <a:pt x="14952" y="13422"/>
                    <a:pt x="14952" y="13406"/>
                  </a:cubicBezTo>
                  <a:cubicBezTo>
                    <a:pt x="14952" y="13391"/>
                    <a:pt x="14958" y="13371"/>
                    <a:pt x="14965" y="13364"/>
                  </a:cubicBezTo>
                  <a:cubicBezTo>
                    <a:pt x="14971" y="13355"/>
                    <a:pt x="14975" y="13336"/>
                    <a:pt x="14972" y="13322"/>
                  </a:cubicBezTo>
                  <a:cubicBezTo>
                    <a:pt x="14972" y="13308"/>
                    <a:pt x="14974" y="13284"/>
                    <a:pt x="14982" y="13268"/>
                  </a:cubicBezTo>
                  <a:cubicBezTo>
                    <a:pt x="14990" y="13253"/>
                    <a:pt x="15002" y="13237"/>
                    <a:pt x="15010" y="13236"/>
                  </a:cubicBezTo>
                  <a:cubicBezTo>
                    <a:pt x="15018" y="13235"/>
                    <a:pt x="15028" y="13224"/>
                    <a:pt x="15033" y="13212"/>
                  </a:cubicBezTo>
                  <a:cubicBezTo>
                    <a:pt x="15037" y="13199"/>
                    <a:pt x="15051" y="13190"/>
                    <a:pt x="15062" y="13190"/>
                  </a:cubicBezTo>
                  <a:cubicBezTo>
                    <a:pt x="15073" y="13190"/>
                    <a:pt x="15092" y="13188"/>
                    <a:pt x="15104" y="13187"/>
                  </a:cubicBezTo>
                  <a:cubicBezTo>
                    <a:pt x="15117" y="13186"/>
                    <a:pt x="15133" y="13192"/>
                    <a:pt x="15141" y="13202"/>
                  </a:cubicBezTo>
                  <a:cubicBezTo>
                    <a:pt x="15148" y="13212"/>
                    <a:pt x="15157" y="13233"/>
                    <a:pt x="15161" y="13251"/>
                  </a:cubicBezTo>
                  <a:cubicBezTo>
                    <a:pt x="15164" y="13268"/>
                    <a:pt x="15161" y="13292"/>
                    <a:pt x="15158" y="13307"/>
                  </a:cubicBezTo>
                  <a:cubicBezTo>
                    <a:pt x="15152" y="13321"/>
                    <a:pt x="15142" y="13332"/>
                    <a:pt x="15134" y="13332"/>
                  </a:cubicBezTo>
                  <a:cubicBezTo>
                    <a:pt x="15126" y="13332"/>
                    <a:pt x="15125" y="13346"/>
                    <a:pt x="15133" y="13362"/>
                  </a:cubicBezTo>
                  <a:cubicBezTo>
                    <a:pt x="15140" y="13379"/>
                    <a:pt x="15251" y="13537"/>
                    <a:pt x="15378" y="13715"/>
                  </a:cubicBezTo>
                  <a:cubicBezTo>
                    <a:pt x="15503" y="13892"/>
                    <a:pt x="15709" y="14228"/>
                    <a:pt x="15832" y="14464"/>
                  </a:cubicBezTo>
                  <a:cubicBezTo>
                    <a:pt x="15913" y="14619"/>
                    <a:pt x="15995" y="14773"/>
                    <a:pt x="16074" y="14929"/>
                  </a:cubicBezTo>
                  <a:cubicBezTo>
                    <a:pt x="16196" y="15164"/>
                    <a:pt x="16302" y="15358"/>
                    <a:pt x="16314" y="15360"/>
                  </a:cubicBezTo>
                  <a:cubicBezTo>
                    <a:pt x="16325" y="15362"/>
                    <a:pt x="16340" y="15357"/>
                    <a:pt x="16346" y="15350"/>
                  </a:cubicBezTo>
                  <a:cubicBezTo>
                    <a:pt x="16351" y="15343"/>
                    <a:pt x="16357" y="15329"/>
                    <a:pt x="16357" y="15318"/>
                  </a:cubicBezTo>
                  <a:cubicBezTo>
                    <a:pt x="16357" y="15307"/>
                    <a:pt x="16352" y="15295"/>
                    <a:pt x="16350" y="15288"/>
                  </a:cubicBezTo>
                  <a:cubicBezTo>
                    <a:pt x="16345" y="15284"/>
                    <a:pt x="16339" y="15260"/>
                    <a:pt x="16335" y="15238"/>
                  </a:cubicBezTo>
                  <a:cubicBezTo>
                    <a:pt x="16330" y="15216"/>
                    <a:pt x="16332" y="15194"/>
                    <a:pt x="16338" y="15191"/>
                  </a:cubicBezTo>
                  <a:cubicBezTo>
                    <a:pt x="16344" y="15186"/>
                    <a:pt x="16363" y="15200"/>
                    <a:pt x="16380" y="15221"/>
                  </a:cubicBezTo>
                  <a:cubicBezTo>
                    <a:pt x="16398" y="15240"/>
                    <a:pt x="16414" y="15268"/>
                    <a:pt x="16414" y="15281"/>
                  </a:cubicBezTo>
                  <a:cubicBezTo>
                    <a:pt x="16417" y="15294"/>
                    <a:pt x="16419" y="15316"/>
                    <a:pt x="16423" y="15330"/>
                  </a:cubicBezTo>
                  <a:cubicBezTo>
                    <a:pt x="16426" y="15344"/>
                    <a:pt x="16440" y="15364"/>
                    <a:pt x="16452" y="15376"/>
                  </a:cubicBezTo>
                  <a:cubicBezTo>
                    <a:pt x="16465" y="15387"/>
                    <a:pt x="16482" y="15412"/>
                    <a:pt x="16493" y="15430"/>
                  </a:cubicBezTo>
                  <a:cubicBezTo>
                    <a:pt x="16501" y="15448"/>
                    <a:pt x="16518" y="15466"/>
                    <a:pt x="16527" y="15470"/>
                  </a:cubicBezTo>
                  <a:cubicBezTo>
                    <a:pt x="16535" y="15474"/>
                    <a:pt x="16546" y="15474"/>
                    <a:pt x="16551" y="15468"/>
                  </a:cubicBezTo>
                  <a:cubicBezTo>
                    <a:pt x="16555" y="15461"/>
                    <a:pt x="16566" y="15458"/>
                    <a:pt x="16574" y="15459"/>
                  </a:cubicBezTo>
                  <a:cubicBezTo>
                    <a:pt x="16581" y="15460"/>
                    <a:pt x="16601" y="15476"/>
                    <a:pt x="16615" y="15497"/>
                  </a:cubicBezTo>
                  <a:cubicBezTo>
                    <a:pt x="16630" y="15516"/>
                    <a:pt x="16651" y="15531"/>
                    <a:pt x="16658" y="15524"/>
                  </a:cubicBezTo>
                  <a:cubicBezTo>
                    <a:pt x="16667" y="15520"/>
                    <a:pt x="16680" y="15523"/>
                    <a:pt x="16689" y="15529"/>
                  </a:cubicBezTo>
                  <a:cubicBezTo>
                    <a:pt x="16697" y="15538"/>
                    <a:pt x="16712" y="15540"/>
                    <a:pt x="16719" y="15537"/>
                  </a:cubicBezTo>
                  <a:cubicBezTo>
                    <a:pt x="16727" y="15533"/>
                    <a:pt x="16733" y="15525"/>
                    <a:pt x="16735" y="15517"/>
                  </a:cubicBezTo>
                  <a:cubicBezTo>
                    <a:pt x="16735" y="15510"/>
                    <a:pt x="16731" y="15494"/>
                    <a:pt x="16726" y="15482"/>
                  </a:cubicBezTo>
                  <a:cubicBezTo>
                    <a:pt x="16723" y="15469"/>
                    <a:pt x="16716" y="15453"/>
                    <a:pt x="16716" y="15443"/>
                  </a:cubicBezTo>
                  <a:cubicBezTo>
                    <a:pt x="16715" y="15434"/>
                    <a:pt x="16728" y="15428"/>
                    <a:pt x="16743" y="15432"/>
                  </a:cubicBezTo>
                  <a:cubicBezTo>
                    <a:pt x="16758" y="15435"/>
                    <a:pt x="16783" y="15443"/>
                    <a:pt x="16800" y="15452"/>
                  </a:cubicBezTo>
                  <a:cubicBezTo>
                    <a:pt x="16817" y="15460"/>
                    <a:pt x="16842" y="15480"/>
                    <a:pt x="16859" y="15494"/>
                  </a:cubicBezTo>
                  <a:cubicBezTo>
                    <a:pt x="16875" y="15508"/>
                    <a:pt x="16903" y="15543"/>
                    <a:pt x="16920" y="15572"/>
                  </a:cubicBezTo>
                  <a:cubicBezTo>
                    <a:pt x="16938" y="15599"/>
                    <a:pt x="16963" y="15649"/>
                    <a:pt x="16976" y="15681"/>
                  </a:cubicBezTo>
                  <a:cubicBezTo>
                    <a:pt x="16987" y="15714"/>
                    <a:pt x="17009" y="15759"/>
                    <a:pt x="17017" y="15785"/>
                  </a:cubicBezTo>
                  <a:cubicBezTo>
                    <a:pt x="17026" y="15810"/>
                    <a:pt x="17038" y="15833"/>
                    <a:pt x="17043" y="15836"/>
                  </a:cubicBezTo>
                  <a:cubicBezTo>
                    <a:pt x="17047" y="15838"/>
                    <a:pt x="17060" y="15849"/>
                    <a:pt x="17070" y="15860"/>
                  </a:cubicBezTo>
                  <a:cubicBezTo>
                    <a:pt x="17081" y="15870"/>
                    <a:pt x="17100" y="15895"/>
                    <a:pt x="17114" y="15915"/>
                  </a:cubicBezTo>
                  <a:cubicBezTo>
                    <a:pt x="17128" y="15934"/>
                    <a:pt x="17142" y="15952"/>
                    <a:pt x="17145" y="15954"/>
                  </a:cubicBezTo>
                  <a:cubicBezTo>
                    <a:pt x="17148" y="15956"/>
                    <a:pt x="17157" y="15965"/>
                    <a:pt x="17165" y="15975"/>
                  </a:cubicBezTo>
                  <a:cubicBezTo>
                    <a:pt x="17174" y="15985"/>
                    <a:pt x="17183" y="16003"/>
                    <a:pt x="17185" y="16014"/>
                  </a:cubicBezTo>
                  <a:cubicBezTo>
                    <a:pt x="17188" y="16026"/>
                    <a:pt x="17190" y="16043"/>
                    <a:pt x="17190" y="16051"/>
                  </a:cubicBezTo>
                  <a:cubicBezTo>
                    <a:pt x="17190" y="16060"/>
                    <a:pt x="17193" y="16080"/>
                    <a:pt x="17197" y="16096"/>
                  </a:cubicBezTo>
                  <a:cubicBezTo>
                    <a:pt x="17200" y="16111"/>
                    <a:pt x="17206" y="16136"/>
                    <a:pt x="17212" y="16150"/>
                  </a:cubicBezTo>
                  <a:cubicBezTo>
                    <a:pt x="17215" y="16165"/>
                    <a:pt x="17225" y="16186"/>
                    <a:pt x="17232" y="16197"/>
                  </a:cubicBezTo>
                  <a:cubicBezTo>
                    <a:pt x="17239" y="16208"/>
                    <a:pt x="17245" y="16223"/>
                    <a:pt x="17248" y="16229"/>
                  </a:cubicBezTo>
                  <a:cubicBezTo>
                    <a:pt x="17252" y="16235"/>
                    <a:pt x="17257" y="16240"/>
                    <a:pt x="17261" y="16243"/>
                  </a:cubicBezTo>
                  <a:cubicBezTo>
                    <a:pt x="17265" y="16244"/>
                    <a:pt x="17276" y="16257"/>
                    <a:pt x="17287" y="16269"/>
                  </a:cubicBezTo>
                  <a:cubicBezTo>
                    <a:pt x="17297" y="16281"/>
                    <a:pt x="17313" y="16300"/>
                    <a:pt x="17321" y="16310"/>
                  </a:cubicBezTo>
                  <a:cubicBezTo>
                    <a:pt x="17329" y="16321"/>
                    <a:pt x="17337" y="16323"/>
                    <a:pt x="17337" y="16315"/>
                  </a:cubicBezTo>
                  <a:cubicBezTo>
                    <a:pt x="17339" y="16308"/>
                    <a:pt x="17344" y="16299"/>
                    <a:pt x="17348" y="16292"/>
                  </a:cubicBezTo>
                  <a:cubicBezTo>
                    <a:pt x="17354" y="16288"/>
                    <a:pt x="17374" y="16290"/>
                    <a:pt x="17394" y="16297"/>
                  </a:cubicBezTo>
                  <a:cubicBezTo>
                    <a:pt x="17415" y="16304"/>
                    <a:pt x="17438" y="16310"/>
                    <a:pt x="17446" y="16308"/>
                  </a:cubicBezTo>
                  <a:cubicBezTo>
                    <a:pt x="17454" y="16307"/>
                    <a:pt x="17463" y="16293"/>
                    <a:pt x="17463" y="16278"/>
                  </a:cubicBezTo>
                  <a:cubicBezTo>
                    <a:pt x="17464" y="16264"/>
                    <a:pt x="17470" y="16247"/>
                    <a:pt x="17476" y="16241"/>
                  </a:cubicBezTo>
                  <a:cubicBezTo>
                    <a:pt x="17482" y="16234"/>
                    <a:pt x="17492" y="16236"/>
                    <a:pt x="17498" y="16243"/>
                  </a:cubicBezTo>
                  <a:cubicBezTo>
                    <a:pt x="17503" y="16250"/>
                    <a:pt x="17510" y="16274"/>
                    <a:pt x="17510" y="16296"/>
                  </a:cubicBezTo>
                  <a:cubicBezTo>
                    <a:pt x="17511" y="16318"/>
                    <a:pt x="17517" y="16349"/>
                    <a:pt x="17522" y="16367"/>
                  </a:cubicBezTo>
                  <a:cubicBezTo>
                    <a:pt x="17527" y="16385"/>
                    <a:pt x="17537" y="16405"/>
                    <a:pt x="17544" y="16411"/>
                  </a:cubicBezTo>
                  <a:cubicBezTo>
                    <a:pt x="17551" y="16418"/>
                    <a:pt x="17567" y="16443"/>
                    <a:pt x="17581" y="16467"/>
                  </a:cubicBezTo>
                  <a:cubicBezTo>
                    <a:pt x="17593" y="16491"/>
                    <a:pt x="17617" y="16523"/>
                    <a:pt x="17631" y="16540"/>
                  </a:cubicBezTo>
                  <a:cubicBezTo>
                    <a:pt x="17642" y="16553"/>
                    <a:pt x="17655" y="16568"/>
                    <a:pt x="17661" y="16579"/>
                  </a:cubicBezTo>
                  <a:cubicBezTo>
                    <a:pt x="17662" y="16580"/>
                    <a:pt x="17663" y="16581"/>
                    <a:pt x="17663" y="16581"/>
                  </a:cubicBezTo>
                  <a:cubicBezTo>
                    <a:pt x="17667" y="16587"/>
                    <a:pt x="17672" y="16597"/>
                    <a:pt x="17678" y="16599"/>
                  </a:cubicBezTo>
                  <a:cubicBezTo>
                    <a:pt x="17683" y="16602"/>
                    <a:pt x="17695" y="16613"/>
                    <a:pt x="17705" y="16625"/>
                  </a:cubicBezTo>
                  <a:cubicBezTo>
                    <a:pt x="17714" y="16634"/>
                    <a:pt x="17724" y="16643"/>
                    <a:pt x="17731" y="16649"/>
                  </a:cubicBezTo>
                  <a:cubicBezTo>
                    <a:pt x="17733" y="16649"/>
                    <a:pt x="17735" y="16650"/>
                    <a:pt x="17735" y="16648"/>
                  </a:cubicBezTo>
                  <a:cubicBezTo>
                    <a:pt x="17735" y="16646"/>
                    <a:pt x="17733" y="16617"/>
                    <a:pt x="17733" y="16585"/>
                  </a:cubicBezTo>
                  <a:cubicBezTo>
                    <a:pt x="17733" y="16553"/>
                    <a:pt x="17738" y="16523"/>
                    <a:pt x="17743" y="16518"/>
                  </a:cubicBezTo>
                  <a:cubicBezTo>
                    <a:pt x="17749" y="16513"/>
                    <a:pt x="17770" y="16518"/>
                    <a:pt x="17789" y="16531"/>
                  </a:cubicBezTo>
                  <a:cubicBezTo>
                    <a:pt x="17808" y="16544"/>
                    <a:pt x="17824" y="16546"/>
                    <a:pt x="17825" y="16538"/>
                  </a:cubicBezTo>
                  <a:cubicBezTo>
                    <a:pt x="17827" y="16530"/>
                    <a:pt x="17829" y="16512"/>
                    <a:pt x="17833" y="16497"/>
                  </a:cubicBezTo>
                  <a:cubicBezTo>
                    <a:pt x="17837" y="16483"/>
                    <a:pt x="17848" y="16469"/>
                    <a:pt x="17859" y="16464"/>
                  </a:cubicBezTo>
                  <a:cubicBezTo>
                    <a:pt x="17869" y="16460"/>
                    <a:pt x="17875" y="16442"/>
                    <a:pt x="17872" y="16423"/>
                  </a:cubicBezTo>
                  <a:cubicBezTo>
                    <a:pt x="17869" y="16404"/>
                    <a:pt x="17864" y="16374"/>
                    <a:pt x="17864" y="16356"/>
                  </a:cubicBezTo>
                  <a:cubicBezTo>
                    <a:pt x="17864" y="16338"/>
                    <a:pt x="17870" y="16320"/>
                    <a:pt x="17877" y="16313"/>
                  </a:cubicBezTo>
                  <a:cubicBezTo>
                    <a:pt x="17886" y="16308"/>
                    <a:pt x="17891" y="16292"/>
                    <a:pt x="17887" y="16279"/>
                  </a:cubicBezTo>
                  <a:cubicBezTo>
                    <a:pt x="17884" y="16267"/>
                    <a:pt x="17886" y="16247"/>
                    <a:pt x="17889" y="16235"/>
                  </a:cubicBezTo>
                  <a:cubicBezTo>
                    <a:pt x="17893" y="16224"/>
                    <a:pt x="17901" y="16213"/>
                    <a:pt x="17906" y="16214"/>
                  </a:cubicBezTo>
                  <a:cubicBezTo>
                    <a:pt x="17912" y="16213"/>
                    <a:pt x="17920" y="16201"/>
                    <a:pt x="17920" y="16186"/>
                  </a:cubicBezTo>
                  <a:cubicBezTo>
                    <a:pt x="17923" y="16171"/>
                    <a:pt x="17923" y="16153"/>
                    <a:pt x="17926" y="16148"/>
                  </a:cubicBezTo>
                  <a:cubicBezTo>
                    <a:pt x="17926" y="16142"/>
                    <a:pt x="17924" y="16130"/>
                    <a:pt x="17919" y="16120"/>
                  </a:cubicBezTo>
                  <a:cubicBezTo>
                    <a:pt x="17914" y="16110"/>
                    <a:pt x="17904" y="16091"/>
                    <a:pt x="17903" y="16077"/>
                  </a:cubicBezTo>
                  <a:cubicBezTo>
                    <a:pt x="17899" y="16063"/>
                    <a:pt x="17900" y="16046"/>
                    <a:pt x="17898" y="16040"/>
                  </a:cubicBezTo>
                  <a:cubicBezTo>
                    <a:pt x="17901" y="16034"/>
                    <a:pt x="17913" y="16040"/>
                    <a:pt x="17927" y="16058"/>
                  </a:cubicBezTo>
                  <a:cubicBezTo>
                    <a:pt x="17942" y="16073"/>
                    <a:pt x="17957" y="16085"/>
                    <a:pt x="17961" y="16081"/>
                  </a:cubicBezTo>
                  <a:cubicBezTo>
                    <a:pt x="17965" y="16077"/>
                    <a:pt x="17966" y="16056"/>
                    <a:pt x="17966" y="16034"/>
                  </a:cubicBezTo>
                  <a:cubicBezTo>
                    <a:pt x="17966" y="16012"/>
                    <a:pt x="17968" y="15993"/>
                    <a:pt x="17973" y="15990"/>
                  </a:cubicBezTo>
                  <a:cubicBezTo>
                    <a:pt x="17978" y="15988"/>
                    <a:pt x="17993" y="15987"/>
                    <a:pt x="18005" y="15993"/>
                  </a:cubicBezTo>
                  <a:cubicBezTo>
                    <a:pt x="18017" y="15998"/>
                    <a:pt x="18033" y="16000"/>
                    <a:pt x="18040" y="16000"/>
                  </a:cubicBezTo>
                  <a:cubicBezTo>
                    <a:pt x="18046" y="16000"/>
                    <a:pt x="18056" y="16004"/>
                    <a:pt x="18063" y="16006"/>
                  </a:cubicBezTo>
                  <a:cubicBezTo>
                    <a:pt x="18069" y="16008"/>
                    <a:pt x="18081" y="16017"/>
                    <a:pt x="18090" y="16024"/>
                  </a:cubicBezTo>
                  <a:cubicBezTo>
                    <a:pt x="18099" y="16031"/>
                    <a:pt x="18109" y="16030"/>
                    <a:pt x="18114" y="16026"/>
                  </a:cubicBezTo>
                  <a:cubicBezTo>
                    <a:pt x="18117" y="16021"/>
                    <a:pt x="18123" y="16018"/>
                    <a:pt x="18124" y="16020"/>
                  </a:cubicBezTo>
                  <a:cubicBezTo>
                    <a:pt x="18126" y="16023"/>
                    <a:pt x="18133" y="16040"/>
                    <a:pt x="18142" y="16057"/>
                  </a:cubicBezTo>
                  <a:cubicBezTo>
                    <a:pt x="18149" y="16076"/>
                    <a:pt x="18159" y="16099"/>
                    <a:pt x="18162" y="16110"/>
                  </a:cubicBezTo>
                  <a:cubicBezTo>
                    <a:pt x="18166" y="16121"/>
                    <a:pt x="18173" y="16142"/>
                    <a:pt x="18180" y="16156"/>
                  </a:cubicBezTo>
                  <a:cubicBezTo>
                    <a:pt x="18187" y="16170"/>
                    <a:pt x="18199" y="16184"/>
                    <a:pt x="18206" y="16188"/>
                  </a:cubicBezTo>
                  <a:cubicBezTo>
                    <a:pt x="18213" y="16192"/>
                    <a:pt x="18223" y="16195"/>
                    <a:pt x="18226" y="16193"/>
                  </a:cubicBezTo>
                  <a:cubicBezTo>
                    <a:pt x="18229" y="16192"/>
                    <a:pt x="18237" y="16196"/>
                    <a:pt x="18244" y="16201"/>
                  </a:cubicBezTo>
                  <a:cubicBezTo>
                    <a:pt x="18251" y="16206"/>
                    <a:pt x="18260" y="16207"/>
                    <a:pt x="18263" y="16201"/>
                  </a:cubicBezTo>
                  <a:cubicBezTo>
                    <a:pt x="18268" y="16196"/>
                    <a:pt x="18279" y="16195"/>
                    <a:pt x="18290" y="16200"/>
                  </a:cubicBezTo>
                  <a:cubicBezTo>
                    <a:pt x="18301" y="16204"/>
                    <a:pt x="18314" y="16223"/>
                    <a:pt x="18320" y="16239"/>
                  </a:cubicBezTo>
                  <a:cubicBezTo>
                    <a:pt x="18326" y="16255"/>
                    <a:pt x="18333" y="16282"/>
                    <a:pt x="18339" y="16298"/>
                  </a:cubicBezTo>
                  <a:cubicBezTo>
                    <a:pt x="18343" y="16314"/>
                    <a:pt x="18352" y="16338"/>
                    <a:pt x="18355" y="16351"/>
                  </a:cubicBezTo>
                  <a:cubicBezTo>
                    <a:pt x="18359" y="16365"/>
                    <a:pt x="18382" y="16406"/>
                    <a:pt x="18406" y="16443"/>
                  </a:cubicBezTo>
                  <a:cubicBezTo>
                    <a:pt x="18429" y="16480"/>
                    <a:pt x="18456" y="16525"/>
                    <a:pt x="18465" y="16544"/>
                  </a:cubicBezTo>
                  <a:cubicBezTo>
                    <a:pt x="18475" y="16562"/>
                    <a:pt x="18495" y="16597"/>
                    <a:pt x="18511" y="16620"/>
                  </a:cubicBezTo>
                  <a:cubicBezTo>
                    <a:pt x="18528" y="16643"/>
                    <a:pt x="18543" y="16659"/>
                    <a:pt x="18546" y="16656"/>
                  </a:cubicBezTo>
                  <a:cubicBezTo>
                    <a:pt x="18549" y="16652"/>
                    <a:pt x="18556" y="16647"/>
                    <a:pt x="18562" y="16645"/>
                  </a:cubicBezTo>
                  <a:cubicBezTo>
                    <a:pt x="18568" y="16645"/>
                    <a:pt x="18577" y="16634"/>
                    <a:pt x="18580" y="16624"/>
                  </a:cubicBezTo>
                  <a:cubicBezTo>
                    <a:pt x="18586" y="16615"/>
                    <a:pt x="18593" y="16608"/>
                    <a:pt x="18599" y="16609"/>
                  </a:cubicBezTo>
                  <a:cubicBezTo>
                    <a:pt x="18604" y="16612"/>
                    <a:pt x="18614" y="16621"/>
                    <a:pt x="18622" y="16629"/>
                  </a:cubicBezTo>
                  <a:cubicBezTo>
                    <a:pt x="18629" y="16639"/>
                    <a:pt x="18642" y="16656"/>
                    <a:pt x="18649" y="16669"/>
                  </a:cubicBezTo>
                  <a:cubicBezTo>
                    <a:pt x="18656" y="16683"/>
                    <a:pt x="18665" y="16693"/>
                    <a:pt x="18670" y="16692"/>
                  </a:cubicBezTo>
                  <a:cubicBezTo>
                    <a:pt x="18674" y="16691"/>
                    <a:pt x="18690" y="16698"/>
                    <a:pt x="18705" y="16709"/>
                  </a:cubicBezTo>
                  <a:cubicBezTo>
                    <a:pt x="18720" y="16719"/>
                    <a:pt x="18737" y="16736"/>
                    <a:pt x="18744" y="16748"/>
                  </a:cubicBezTo>
                  <a:cubicBezTo>
                    <a:pt x="18751" y="16759"/>
                    <a:pt x="18762" y="16769"/>
                    <a:pt x="18768" y="16772"/>
                  </a:cubicBezTo>
                  <a:cubicBezTo>
                    <a:pt x="18773" y="16774"/>
                    <a:pt x="18778" y="16772"/>
                    <a:pt x="18779" y="16769"/>
                  </a:cubicBezTo>
                  <a:cubicBezTo>
                    <a:pt x="18779" y="16765"/>
                    <a:pt x="18786" y="16768"/>
                    <a:pt x="18792" y="16776"/>
                  </a:cubicBezTo>
                  <a:cubicBezTo>
                    <a:pt x="18800" y="16783"/>
                    <a:pt x="18813" y="16792"/>
                    <a:pt x="18824" y="16796"/>
                  </a:cubicBezTo>
                  <a:cubicBezTo>
                    <a:pt x="18834" y="16800"/>
                    <a:pt x="18843" y="16784"/>
                    <a:pt x="18843" y="16761"/>
                  </a:cubicBezTo>
                  <a:cubicBezTo>
                    <a:pt x="18843" y="16737"/>
                    <a:pt x="18838" y="16707"/>
                    <a:pt x="18832" y="16694"/>
                  </a:cubicBezTo>
                  <a:cubicBezTo>
                    <a:pt x="18827" y="16680"/>
                    <a:pt x="18815" y="16655"/>
                    <a:pt x="18805" y="16638"/>
                  </a:cubicBezTo>
                  <a:cubicBezTo>
                    <a:pt x="18795" y="16622"/>
                    <a:pt x="18784" y="16584"/>
                    <a:pt x="18778" y="16558"/>
                  </a:cubicBezTo>
                  <a:cubicBezTo>
                    <a:pt x="18771" y="16531"/>
                    <a:pt x="18766" y="16485"/>
                    <a:pt x="18759" y="16457"/>
                  </a:cubicBezTo>
                  <a:cubicBezTo>
                    <a:pt x="18756" y="16429"/>
                    <a:pt x="18748" y="16396"/>
                    <a:pt x="18744" y="16383"/>
                  </a:cubicBezTo>
                  <a:cubicBezTo>
                    <a:pt x="18739" y="16372"/>
                    <a:pt x="18731" y="16353"/>
                    <a:pt x="18724" y="16342"/>
                  </a:cubicBezTo>
                  <a:cubicBezTo>
                    <a:pt x="18716" y="16333"/>
                    <a:pt x="18705" y="16312"/>
                    <a:pt x="18700" y="16298"/>
                  </a:cubicBezTo>
                  <a:cubicBezTo>
                    <a:pt x="18694" y="16284"/>
                    <a:pt x="18680" y="16261"/>
                    <a:pt x="18668" y="16247"/>
                  </a:cubicBezTo>
                  <a:cubicBezTo>
                    <a:pt x="18657" y="16233"/>
                    <a:pt x="18642" y="16202"/>
                    <a:pt x="18634" y="16178"/>
                  </a:cubicBezTo>
                  <a:cubicBezTo>
                    <a:pt x="18627" y="16154"/>
                    <a:pt x="18613" y="16099"/>
                    <a:pt x="18603" y="16055"/>
                  </a:cubicBezTo>
                  <a:cubicBezTo>
                    <a:pt x="18595" y="16010"/>
                    <a:pt x="18588" y="15962"/>
                    <a:pt x="18590" y="15946"/>
                  </a:cubicBezTo>
                  <a:cubicBezTo>
                    <a:pt x="18593" y="15931"/>
                    <a:pt x="18591" y="15906"/>
                    <a:pt x="18588" y="15893"/>
                  </a:cubicBezTo>
                  <a:cubicBezTo>
                    <a:pt x="18586" y="15879"/>
                    <a:pt x="18582" y="15858"/>
                    <a:pt x="18582" y="15845"/>
                  </a:cubicBezTo>
                  <a:cubicBezTo>
                    <a:pt x="18582" y="15833"/>
                    <a:pt x="18586" y="15823"/>
                    <a:pt x="18590" y="15821"/>
                  </a:cubicBezTo>
                  <a:cubicBezTo>
                    <a:pt x="18594" y="15821"/>
                    <a:pt x="18601" y="15823"/>
                    <a:pt x="18605" y="15829"/>
                  </a:cubicBezTo>
                  <a:cubicBezTo>
                    <a:pt x="18610" y="15833"/>
                    <a:pt x="18614" y="15828"/>
                    <a:pt x="18610" y="15815"/>
                  </a:cubicBezTo>
                  <a:cubicBezTo>
                    <a:pt x="18610" y="15802"/>
                    <a:pt x="18604" y="15778"/>
                    <a:pt x="18599" y="15762"/>
                  </a:cubicBezTo>
                  <a:cubicBezTo>
                    <a:pt x="18595" y="15745"/>
                    <a:pt x="18586" y="15721"/>
                    <a:pt x="18585" y="15708"/>
                  </a:cubicBezTo>
                  <a:cubicBezTo>
                    <a:pt x="18583" y="15695"/>
                    <a:pt x="18582" y="15679"/>
                    <a:pt x="18584" y="15672"/>
                  </a:cubicBezTo>
                  <a:cubicBezTo>
                    <a:pt x="18587" y="15666"/>
                    <a:pt x="18592" y="15665"/>
                    <a:pt x="18599" y="15670"/>
                  </a:cubicBezTo>
                  <a:cubicBezTo>
                    <a:pt x="18606" y="15675"/>
                    <a:pt x="18616" y="15690"/>
                    <a:pt x="18622" y="15701"/>
                  </a:cubicBezTo>
                  <a:cubicBezTo>
                    <a:pt x="18629" y="15711"/>
                    <a:pt x="18641" y="15732"/>
                    <a:pt x="18652" y="15744"/>
                  </a:cubicBezTo>
                  <a:cubicBezTo>
                    <a:pt x="18662" y="15756"/>
                    <a:pt x="18679" y="15781"/>
                    <a:pt x="18690" y="15798"/>
                  </a:cubicBezTo>
                  <a:cubicBezTo>
                    <a:pt x="18702" y="15816"/>
                    <a:pt x="18713" y="15836"/>
                    <a:pt x="18715" y="15843"/>
                  </a:cubicBezTo>
                  <a:cubicBezTo>
                    <a:pt x="18717" y="15850"/>
                    <a:pt x="18729" y="15865"/>
                    <a:pt x="18736" y="15879"/>
                  </a:cubicBezTo>
                  <a:cubicBezTo>
                    <a:pt x="18746" y="15890"/>
                    <a:pt x="18759" y="15908"/>
                    <a:pt x="18768" y="15916"/>
                  </a:cubicBezTo>
                  <a:cubicBezTo>
                    <a:pt x="18776" y="15923"/>
                    <a:pt x="18792" y="15937"/>
                    <a:pt x="18803" y="15944"/>
                  </a:cubicBezTo>
                  <a:cubicBezTo>
                    <a:pt x="18814" y="15951"/>
                    <a:pt x="18830" y="15966"/>
                    <a:pt x="18834" y="15979"/>
                  </a:cubicBezTo>
                  <a:cubicBezTo>
                    <a:pt x="18840" y="15990"/>
                    <a:pt x="18849" y="16007"/>
                    <a:pt x="18854" y="16018"/>
                  </a:cubicBezTo>
                  <a:cubicBezTo>
                    <a:pt x="18859" y="16028"/>
                    <a:pt x="18869" y="16044"/>
                    <a:pt x="18878" y="16051"/>
                  </a:cubicBezTo>
                  <a:cubicBezTo>
                    <a:pt x="18886" y="16060"/>
                    <a:pt x="18897" y="16075"/>
                    <a:pt x="18903" y="16083"/>
                  </a:cubicBezTo>
                  <a:cubicBezTo>
                    <a:pt x="18908" y="16094"/>
                    <a:pt x="18918" y="16106"/>
                    <a:pt x="18925" y="16113"/>
                  </a:cubicBezTo>
                  <a:cubicBezTo>
                    <a:pt x="18931" y="16119"/>
                    <a:pt x="18946" y="16131"/>
                    <a:pt x="18958" y="16141"/>
                  </a:cubicBezTo>
                  <a:cubicBezTo>
                    <a:pt x="18970" y="16149"/>
                    <a:pt x="18988" y="16163"/>
                    <a:pt x="18991" y="16174"/>
                  </a:cubicBezTo>
                  <a:cubicBezTo>
                    <a:pt x="18998" y="16183"/>
                    <a:pt x="19007" y="16204"/>
                    <a:pt x="19012" y="16219"/>
                  </a:cubicBezTo>
                  <a:cubicBezTo>
                    <a:pt x="19017" y="16235"/>
                    <a:pt x="19025" y="16257"/>
                    <a:pt x="19027" y="16268"/>
                  </a:cubicBezTo>
                  <a:cubicBezTo>
                    <a:pt x="19030" y="16279"/>
                    <a:pt x="19037" y="16300"/>
                    <a:pt x="19042" y="16315"/>
                  </a:cubicBezTo>
                  <a:cubicBezTo>
                    <a:pt x="19047" y="16330"/>
                    <a:pt x="19054" y="16352"/>
                    <a:pt x="19058" y="16364"/>
                  </a:cubicBezTo>
                  <a:cubicBezTo>
                    <a:pt x="19061" y="16377"/>
                    <a:pt x="19065" y="16398"/>
                    <a:pt x="19072" y="16409"/>
                  </a:cubicBezTo>
                  <a:cubicBezTo>
                    <a:pt x="19077" y="16420"/>
                    <a:pt x="19087" y="16448"/>
                    <a:pt x="19094" y="16470"/>
                  </a:cubicBezTo>
                  <a:cubicBezTo>
                    <a:pt x="19101" y="16492"/>
                    <a:pt x="19110" y="16523"/>
                    <a:pt x="19114" y="16539"/>
                  </a:cubicBezTo>
                  <a:cubicBezTo>
                    <a:pt x="19119" y="16554"/>
                    <a:pt x="19124" y="16577"/>
                    <a:pt x="19130" y="16588"/>
                  </a:cubicBezTo>
                  <a:cubicBezTo>
                    <a:pt x="19136" y="16600"/>
                    <a:pt x="19144" y="16612"/>
                    <a:pt x="19147" y="16616"/>
                  </a:cubicBezTo>
                  <a:cubicBezTo>
                    <a:pt x="19151" y="16620"/>
                    <a:pt x="19162" y="16639"/>
                    <a:pt x="19171" y="16660"/>
                  </a:cubicBezTo>
                  <a:cubicBezTo>
                    <a:pt x="19181" y="16680"/>
                    <a:pt x="19190" y="16707"/>
                    <a:pt x="19195" y="16717"/>
                  </a:cubicBezTo>
                  <a:cubicBezTo>
                    <a:pt x="19197" y="16728"/>
                    <a:pt x="19210" y="16748"/>
                    <a:pt x="19220" y="16762"/>
                  </a:cubicBezTo>
                  <a:cubicBezTo>
                    <a:pt x="19230" y="16777"/>
                    <a:pt x="19250" y="16804"/>
                    <a:pt x="19260" y="16826"/>
                  </a:cubicBezTo>
                  <a:cubicBezTo>
                    <a:pt x="19274" y="16846"/>
                    <a:pt x="19286" y="16867"/>
                    <a:pt x="19289" y="16871"/>
                  </a:cubicBezTo>
                  <a:cubicBezTo>
                    <a:pt x="19293" y="16875"/>
                    <a:pt x="19295" y="16874"/>
                    <a:pt x="19298" y="16870"/>
                  </a:cubicBezTo>
                  <a:cubicBezTo>
                    <a:pt x="19298" y="16866"/>
                    <a:pt x="19307" y="16868"/>
                    <a:pt x="19316" y="16877"/>
                  </a:cubicBezTo>
                  <a:cubicBezTo>
                    <a:pt x="19325" y="16884"/>
                    <a:pt x="19332" y="16887"/>
                    <a:pt x="19335" y="16883"/>
                  </a:cubicBezTo>
                  <a:cubicBezTo>
                    <a:pt x="19335" y="16877"/>
                    <a:pt x="19342" y="16877"/>
                    <a:pt x="19346" y="16881"/>
                  </a:cubicBezTo>
                  <a:cubicBezTo>
                    <a:pt x="19350" y="16886"/>
                    <a:pt x="19357" y="16894"/>
                    <a:pt x="19362" y="16900"/>
                  </a:cubicBezTo>
                  <a:cubicBezTo>
                    <a:pt x="19365" y="16907"/>
                    <a:pt x="19372" y="16911"/>
                    <a:pt x="19375" y="16911"/>
                  </a:cubicBezTo>
                  <a:cubicBezTo>
                    <a:pt x="19377" y="16910"/>
                    <a:pt x="19382" y="16900"/>
                    <a:pt x="19382" y="16887"/>
                  </a:cubicBezTo>
                  <a:cubicBezTo>
                    <a:pt x="19384" y="16875"/>
                    <a:pt x="19389" y="16863"/>
                    <a:pt x="19395" y="16862"/>
                  </a:cubicBezTo>
                  <a:cubicBezTo>
                    <a:pt x="19401" y="16861"/>
                    <a:pt x="19414" y="16865"/>
                    <a:pt x="19424" y="16872"/>
                  </a:cubicBezTo>
                  <a:cubicBezTo>
                    <a:pt x="19434" y="16878"/>
                    <a:pt x="19444" y="16878"/>
                    <a:pt x="19448" y="16873"/>
                  </a:cubicBezTo>
                  <a:cubicBezTo>
                    <a:pt x="19452" y="16867"/>
                    <a:pt x="19459" y="16866"/>
                    <a:pt x="19466" y="16871"/>
                  </a:cubicBezTo>
                  <a:cubicBezTo>
                    <a:pt x="19472" y="16876"/>
                    <a:pt x="19482" y="16879"/>
                    <a:pt x="19487" y="16879"/>
                  </a:cubicBezTo>
                  <a:cubicBezTo>
                    <a:pt x="19492" y="16878"/>
                    <a:pt x="19503" y="16891"/>
                    <a:pt x="19512" y="16907"/>
                  </a:cubicBezTo>
                  <a:cubicBezTo>
                    <a:pt x="19520" y="16923"/>
                    <a:pt x="19533" y="16944"/>
                    <a:pt x="19542" y="16952"/>
                  </a:cubicBezTo>
                  <a:cubicBezTo>
                    <a:pt x="19549" y="16962"/>
                    <a:pt x="19564" y="16976"/>
                    <a:pt x="19574" y="16984"/>
                  </a:cubicBezTo>
                  <a:cubicBezTo>
                    <a:pt x="19584" y="16992"/>
                    <a:pt x="19600" y="17024"/>
                    <a:pt x="19611" y="17052"/>
                  </a:cubicBezTo>
                  <a:cubicBezTo>
                    <a:pt x="19622" y="17082"/>
                    <a:pt x="19639" y="17123"/>
                    <a:pt x="19652" y="17142"/>
                  </a:cubicBezTo>
                  <a:cubicBezTo>
                    <a:pt x="19662" y="17162"/>
                    <a:pt x="19678" y="17183"/>
                    <a:pt x="19685" y="17188"/>
                  </a:cubicBezTo>
                  <a:cubicBezTo>
                    <a:pt x="19692" y="17194"/>
                    <a:pt x="19701" y="17199"/>
                    <a:pt x="19705" y="17199"/>
                  </a:cubicBezTo>
                  <a:cubicBezTo>
                    <a:pt x="19710" y="17199"/>
                    <a:pt x="19717" y="17208"/>
                    <a:pt x="19721" y="17219"/>
                  </a:cubicBezTo>
                  <a:cubicBezTo>
                    <a:pt x="19724" y="17229"/>
                    <a:pt x="19735" y="17261"/>
                    <a:pt x="19744" y="17291"/>
                  </a:cubicBezTo>
                  <a:cubicBezTo>
                    <a:pt x="19751" y="17321"/>
                    <a:pt x="19766" y="17358"/>
                    <a:pt x="19773" y="17374"/>
                  </a:cubicBezTo>
                  <a:cubicBezTo>
                    <a:pt x="19781" y="17390"/>
                    <a:pt x="19790" y="17411"/>
                    <a:pt x="19795" y="17420"/>
                  </a:cubicBezTo>
                  <a:cubicBezTo>
                    <a:pt x="19799" y="17429"/>
                    <a:pt x="19806" y="17440"/>
                    <a:pt x="19809" y="17446"/>
                  </a:cubicBezTo>
                  <a:cubicBezTo>
                    <a:pt x="19813" y="17451"/>
                    <a:pt x="19821" y="17472"/>
                    <a:pt x="19830" y="17492"/>
                  </a:cubicBezTo>
                  <a:cubicBezTo>
                    <a:pt x="19837" y="17512"/>
                    <a:pt x="19847" y="17531"/>
                    <a:pt x="19850" y="17535"/>
                  </a:cubicBezTo>
                  <a:cubicBezTo>
                    <a:pt x="19854" y="17538"/>
                    <a:pt x="19866" y="17545"/>
                    <a:pt x="19875" y="17553"/>
                  </a:cubicBezTo>
                  <a:cubicBezTo>
                    <a:pt x="19885" y="17559"/>
                    <a:pt x="19903" y="17579"/>
                    <a:pt x="19913" y="17598"/>
                  </a:cubicBezTo>
                  <a:cubicBezTo>
                    <a:pt x="19924" y="17617"/>
                    <a:pt x="19944" y="17642"/>
                    <a:pt x="19958" y="17654"/>
                  </a:cubicBezTo>
                  <a:cubicBezTo>
                    <a:pt x="19972" y="17666"/>
                    <a:pt x="19987" y="17678"/>
                    <a:pt x="19991" y="17681"/>
                  </a:cubicBezTo>
                  <a:cubicBezTo>
                    <a:pt x="19996" y="17684"/>
                    <a:pt x="20000" y="17682"/>
                    <a:pt x="20002" y="17677"/>
                  </a:cubicBezTo>
                  <a:cubicBezTo>
                    <a:pt x="20003" y="17673"/>
                    <a:pt x="20008" y="17672"/>
                    <a:pt x="20012" y="17678"/>
                  </a:cubicBezTo>
                  <a:cubicBezTo>
                    <a:pt x="20017" y="17682"/>
                    <a:pt x="20025" y="17698"/>
                    <a:pt x="20032" y="17710"/>
                  </a:cubicBezTo>
                  <a:cubicBezTo>
                    <a:pt x="20037" y="17723"/>
                    <a:pt x="20045" y="17733"/>
                    <a:pt x="20046" y="17735"/>
                  </a:cubicBezTo>
                  <a:cubicBezTo>
                    <a:pt x="20049" y="17736"/>
                    <a:pt x="20049" y="17723"/>
                    <a:pt x="20049" y="17706"/>
                  </a:cubicBezTo>
                  <a:cubicBezTo>
                    <a:pt x="20047" y="17689"/>
                    <a:pt x="20050" y="17667"/>
                    <a:pt x="20054" y="17657"/>
                  </a:cubicBezTo>
                  <a:cubicBezTo>
                    <a:pt x="20058" y="17647"/>
                    <a:pt x="20066" y="17642"/>
                    <a:pt x="20070" y="17649"/>
                  </a:cubicBezTo>
                  <a:cubicBezTo>
                    <a:pt x="20074" y="17655"/>
                    <a:pt x="20079" y="17649"/>
                    <a:pt x="20079" y="17637"/>
                  </a:cubicBezTo>
                  <a:cubicBezTo>
                    <a:pt x="20079" y="17625"/>
                    <a:pt x="20081" y="17617"/>
                    <a:pt x="20084" y="17618"/>
                  </a:cubicBezTo>
                  <a:cubicBezTo>
                    <a:pt x="20087" y="17620"/>
                    <a:pt x="20097" y="17630"/>
                    <a:pt x="20107" y="17641"/>
                  </a:cubicBezTo>
                  <a:cubicBezTo>
                    <a:pt x="20116" y="17653"/>
                    <a:pt x="20124" y="17651"/>
                    <a:pt x="20126" y="17641"/>
                  </a:cubicBezTo>
                  <a:cubicBezTo>
                    <a:pt x="20126" y="17630"/>
                    <a:pt x="20126" y="17609"/>
                    <a:pt x="20122" y="17594"/>
                  </a:cubicBezTo>
                  <a:cubicBezTo>
                    <a:pt x="20119" y="17580"/>
                    <a:pt x="20117" y="17562"/>
                    <a:pt x="20115" y="17555"/>
                  </a:cubicBezTo>
                  <a:cubicBezTo>
                    <a:pt x="20114" y="17547"/>
                    <a:pt x="20111" y="17530"/>
                    <a:pt x="20110" y="17516"/>
                  </a:cubicBezTo>
                  <a:cubicBezTo>
                    <a:pt x="20108" y="17502"/>
                    <a:pt x="20109" y="17488"/>
                    <a:pt x="20112" y="17485"/>
                  </a:cubicBezTo>
                  <a:cubicBezTo>
                    <a:pt x="20114" y="17482"/>
                    <a:pt x="20116" y="17472"/>
                    <a:pt x="20116" y="17463"/>
                  </a:cubicBezTo>
                  <a:cubicBezTo>
                    <a:pt x="20116" y="17453"/>
                    <a:pt x="20114" y="17433"/>
                    <a:pt x="20112" y="17418"/>
                  </a:cubicBezTo>
                  <a:cubicBezTo>
                    <a:pt x="20109" y="17402"/>
                    <a:pt x="20106" y="17382"/>
                    <a:pt x="20108" y="17374"/>
                  </a:cubicBezTo>
                  <a:cubicBezTo>
                    <a:pt x="20108" y="17366"/>
                    <a:pt x="20110" y="17363"/>
                    <a:pt x="20114" y="17366"/>
                  </a:cubicBezTo>
                  <a:cubicBezTo>
                    <a:pt x="20118" y="17369"/>
                    <a:pt x="20123" y="17378"/>
                    <a:pt x="20125" y="17384"/>
                  </a:cubicBezTo>
                  <a:cubicBezTo>
                    <a:pt x="20128" y="17390"/>
                    <a:pt x="20133" y="17394"/>
                    <a:pt x="20137" y="17396"/>
                  </a:cubicBezTo>
                  <a:cubicBezTo>
                    <a:pt x="20141" y="17396"/>
                    <a:pt x="20147" y="17401"/>
                    <a:pt x="20152" y="17406"/>
                  </a:cubicBezTo>
                  <a:cubicBezTo>
                    <a:pt x="20155" y="17413"/>
                    <a:pt x="20166" y="17431"/>
                    <a:pt x="20173" y="17449"/>
                  </a:cubicBezTo>
                  <a:cubicBezTo>
                    <a:pt x="20180" y="17467"/>
                    <a:pt x="20193" y="17495"/>
                    <a:pt x="20196" y="17512"/>
                  </a:cubicBezTo>
                  <a:cubicBezTo>
                    <a:pt x="20203" y="17528"/>
                    <a:pt x="20209" y="17550"/>
                    <a:pt x="20213" y="17557"/>
                  </a:cubicBezTo>
                  <a:cubicBezTo>
                    <a:pt x="20217" y="17565"/>
                    <a:pt x="20224" y="17569"/>
                    <a:pt x="20224" y="17564"/>
                  </a:cubicBezTo>
                  <a:cubicBezTo>
                    <a:pt x="20226" y="17561"/>
                    <a:pt x="20233" y="17563"/>
                    <a:pt x="20233" y="17572"/>
                  </a:cubicBezTo>
                  <a:cubicBezTo>
                    <a:pt x="20238" y="17580"/>
                    <a:pt x="20241" y="17591"/>
                    <a:pt x="20244" y="17594"/>
                  </a:cubicBezTo>
                  <a:cubicBezTo>
                    <a:pt x="20247" y="17599"/>
                    <a:pt x="20252" y="17596"/>
                    <a:pt x="20253" y="17590"/>
                  </a:cubicBezTo>
                  <a:cubicBezTo>
                    <a:pt x="20255" y="17585"/>
                    <a:pt x="20255" y="17574"/>
                    <a:pt x="20253" y="17566"/>
                  </a:cubicBezTo>
                  <a:cubicBezTo>
                    <a:pt x="20251" y="17557"/>
                    <a:pt x="20255" y="17552"/>
                    <a:pt x="20259" y="17556"/>
                  </a:cubicBezTo>
                  <a:cubicBezTo>
                    <a:pt x="20264" y="17558"/>
                    <a:pt x="20274" y="17576"/>
                    <a:pt x="20284" y="17593"/>
                  </a:cubicBezTo>
                  <a:cubicBezTo>
                    <a:pt x="20288" y="17603"/>
                    <a:pt x="20294" y="17615"/>
                    <a:pt x="20299" y="17625"/>
                  </a:cubicBezTo>
                  <a:cubicBezTo>
                    <a:pt x="20302" y="17632"/>
                    <a:pt x="20305" y="17639"/>
                    <a:pt x="20307" y="17643"/>
                  </a:cubicBezTo>
                  <a:cubicBezTo>
                    <a:pt x="20310" y="17654"/>
                    <a:pt x="20314" y="17662"/>
                    <a:pt x="20316" y="17661"/>
                  </a:cubicBezTo>
                  <a:cubicBezTo>
                    <a:pt x="20316" y="17660"/>
                    <a:pt x="20320" y="17665"/>
                    <a:pt x="20323" y="17669"/>
                  </a:cubicBezTo>
                  <a:cubicBezTo>
                    <a:pt x="20325" y="17675"/>
                    <a:pt x="20330" y="17683"/>
                    <a:pt x="20332" y="17689"/>
                  </a:cubicBezTo>
                  <a:cubicBezTo>
                    <a:pt x="20333" y="17696"/>
                    <a:pt x="20340" y="17700"/>
                    <a:pt x="20340" y="17703"/>
                  </a:cubicBezTo>
                  <a:cubicBezTo>
                    <a:pt x="20342" y="17704"/>
                    <a:pt x="20349" y="17713"/>
                    <a:pt x="20355" y="17723"/>
                  </a:cubicBezTo>
                  <a:cubicBezTo>
                    <a:pt x="20360" y="17733"/>
                    <a:pt x="20369" y="17751"/>
                    <a:pt x="20374" y="17764"/>
                  </a:cubicBezTo>
                  <a:cubicBezTo>
                    <a:pt x="20379" y="17777"/>
                    <a:pt x="20384" y="17789"/>
                    <a:pt x="20386" y="17790"/>
                  </a:cubicBezTo>
                  <a:cubicBezTo>
                    <a:pt x="20387" y="17790"/>
                    <a:pt x="20388" y="17770"/>
                    <a:pt x="20388" y="17744"/>
                  </a:cubicBezTo>
                  <a:cubicBezTo>
                    <a:pt x="20386" y="17719"/>
                    <a:pt x="20386" y="17691"/>
                    <a:pt x="20388" y="17683"/>
                  </a:cubicBezTo>
                  <a:cubicBezTo>
                    <a:pt x="20390" y="17676"/>
                    <a:pt x="20394" y="17671"/>
                    <a:pt x="20398" y="17675"/>
                  </a:cubicBezTo>
                  <a:cubicBezTo>
                    <a:pt x="20403" y="17677"/>
                    <a:pt x="20408" y="17673"/>
                    <a:pt x="20406" y="17665"/>
                  </a:cubicBezTo>
                  <a:cubicBezTo>
                    <a:pt x="20406" y="17656"/>
                    <a:pt x="20402" y="17638"/>
                    <a:pt x="20400" y="17623"/>
                  </a:cubicBezTo>
                  <a:cubicBezTo>
                    <a:pt x="20397" y="17610"/>
                    <a:pt x="20392" y="17584"/>
                    <a:pt x="20387" y="17567"/>
                  </a:cubicBezTo>
                  <a:cubicBezTo>
                    <a:pt x="20384" y="17549"/>
                    <a:pt x="20377" y="17531"/>
                    <a:pt x="20375" y="17526"/>
                  </a:cubicBezTo>
                  <a:cubicBezTo>
                    <a:pt x="20373" y="17520"/>
                    <a:pt x="20371" y="17518"/>
                    <a:pt x="20371" y="17521"/>
                  </a:cubicBezTo>
                  <a:cubicBezTo>
                    <a:pt x="20371" y="17524"/>
                    <a:pt x="20368" y="17521"/>
                    <a:pt x="20366" y="17515"/>
                  </a:cubicBezTo>
                  <a:cubicBezTo>
                    <a:pt x="20363" y="17510"/>
                    <a:pt x="20361" y="17501"/>
                    <a:pt x="20359" y="17497"/>
                  </a:cubicBezTo>
                  <a:cubicBezTo>
                    <a:pt x="20355" y="17494"/>
                    <a:pt x="20350" y="17472"/>
                    <a:pt x="20345" y="17449"/>
                  </a:cubicBezTo>
                  <a:cubicBezTo>
                    <a:pt x="20340" y="17427"/>
                    <a:pt x="20335" y="17404"/>
                    <a:pt x="20333" y="17399"/>
                  </a:cubicBezTo>
                  <a:cubicBezTo>
                    <a:pt x="20331" y="17394"/>
                    <a:pt x="20328" y="17370"/>
                    <a:pt x="20322" y="17347"/>
                  </a:cubicBezTo>
                  <a:cubicBezTo>
                    <a:pt x="20316" y="17324"/>
                    <a:pt x="20306" y="17293"/>
                    <a:pt x="20303" y="17277"/>
                  </a:cubicBezTo>
                  <a:cubicBezTo>
                    <a:pt x="20297" y="17262"/>
                    <a:pt x="20294" y="17241"/>
                    <a:pt x="20291" y="17234"/>
                  </a:cubicBezTo>
                  <a:cubicBezTo>
                    <a:pt x="20290" y="17225"/>
                    <a:pt x="20288" y="17215"/>
                    <a:pt x="20290" y="17214"/>
                  </a:cubicBezTo>
                  <a:cubicBezTo>
                    <a:pt x="20291" y="17212"/>
                    <a:pt x="20290" y="17197"/>
                    <a:pt x="20285" y="17184"/>
                  </a:cubicBezTo>
                  <a:cubicBezTo>
                    <a:pt x="20283" y="17169"/>
                    <a:pt x="20276" y="17147"/>
                    <a:pt x="20271" y="17135"/>
                  </a:cubicBezTo>
                  <a:cubicBezTo>
                    <a:pt x="20266" y="17123"/>
                    <a:pt x="20260" y="17098"/>
                    <a:pt x="20254" y="17080"/>
                  </a:cubicBezTo>
                  <a:cubicBezTo>
                    <a:pt x="20249" y="17063"/>
                    <a:pt x="20246" y="17041"/>
                    <a:pt x="20243" y="17034"/>
                  </a:cubicBezTo>
                  <a:cubicBezTo>
                    <a:pt x="20241" y="17026"/>
                    <a:pt x="20234" y="17008"/>
                    <a:pt x="20231" y="16992"/>
                  </a:cubicBezTo>
                  <a:cubicBezTo>
                    <a:pt x="20224" y="16978"/>
                    <a:pt x="20220" y="16954"/>
                    <a:pt x="20216" y="16941"/>
                  </a:cubicBezTo>
                  <a:cubicBezTo>
                    <a:pt x="20214" y="16928"/>
                    <a:pt x="20210" y="16907"/>
                    <a:pt x="20207" y="16895"/>
                  </a:cubicBezTo>
                  <a:cubicBezTo>
                    <a:pt x="20207" y="16881"/>
                    <a:pt x="20203" y="16867"/>
                    <a:pt x="20203" y="16862"/>
                  </a:cubicBezTo>
                  <a:cubicBezTo>
                    <a:pt x="20203" y="16857"/>
                    <a:pt x="20201" y="16838"/>
                    <a:pt x="20196" y="16822"/>
                  </a:cubicBezTo>
                  <a:cubicBezTo>
                    <a:pt x="20191" y="16805"/>
                    <a:pt x="20189" y="16780"/>
                    <a:pt x="20186" y="16769"/>
                  </a:cubicBezTo>
                  <a:cubicBezTo>
                    <a:pt x="20186" y="16757"/>
                    <a:pt x="20181" y="16743"/>
                    <a:pt x="20182" y="16739"/>
                  </a:cubicBezTo>
                  <a:cubicBezTo>
                    <a:pt x="20182" y="16735"/>
                    <a:pt x="20180" y="16716"/>
                    <a:pt x="20174" y="16698"/>
                  </a:cubicBezTo>
                  <a:cubicBezTo>
                    <a:pt x="20171" y="16680"/>
                    <a:pt x="20163" y="16657"/>
                    <a:pt x="20160" y="16646"/>
                  </a:cubicBezTo>
                  <a:cubicBezTo>
                    <a:pt x="20157" y="16636"/>
                    <a:pt x="20150" y="16618"/>
                    <a:pt x="20149" y="16606"/>
                  </a:cubicBezTo>
                  <a:cubicBezTo>
                    <a:pt x="20144" y="16595"/>
                    <a:pt x="20139" y="16575"/>
                    <a:pt x="20135" y="16563"/>
                  </a:cubicBezTo>
                  <a:cubicBezTo>
                    <a:pt x="20131" y="16551"/>
                    <a:pt x="20122" y="16528"/>
                    <a:pt x="20117" y="16512"/>
                  </a:cubicBezTo>
                  <a:cubicBezTo>
                    <a:pt x="20112" y="16496"/>
                    <a:pt x="20101" y="16464"/>
                    <a:pt x="20095" y="16442"/>
                  </a:cubicBezTo>
                  <a:cubicBezTo>
                    <a:pt x="20086" y="16421"/>
                    <a:pt x="20080" y="16398"/>
                    <a:pt x="20076" y="16393"/>
                  </a:cubicBezTo>
                  <a:cubicBezTo>
                    <a:pt x="20074" y="16388"/>
                    <a:pt x="20070" y="16384"/>
                    <a:pt x="20070" y="16386"/>
                  </a:cubicBezTo>
                  <a:cubicBezTo>
                    <a:pt x="20070" y="16388"/>
                    <a:pt x="20068" y="16393"/>
                    <a:pt x="20066" y="16397"/>
                  </a:cubicBezTo>
                  <a:cubicBezTo>
                    <a:pt x="20066" y="16403"/>
                    <a:pt x="20060" y="16405"/>
                    <a:pt x="20060" y="16401"/>
                  </a:cubicBezTo>
                  <a:cubicBezTo>
                    <a:pt x="20058" y="16398"/>
                    <a:pt x="20055" y="16387"/>
                    <a:pt x="20052" y="16380"/>
                  </a:cubicBezTo>
                  <a:cubicBezTo>
                    <a:pt x="20052" y="16372"/>
                    <a:pt x="20041" y="16351"/>
                    <a:pt x="20037" y="16331"/>
                  </a:cubicBezTo>
                  <a:cubicBezTo>
                    <a:pt x="20031" y="16313"/>
                    <a:pt x="20027" y="16293"/>
                    <a:pt x="20027" y="16288"/>
                  </a:cubicBezTo>
                  <a:cubicBezTo>
                    <a:pt x="20027" y="16283"/>
                    <a:pt x="20022" y="16272"/>
                    <a:pt x="20022" y="16264"/>
                  </a:cubicBezTo>
                  <a:cubicBezTo>
                    <a:pt x="20019" y="16257"/>
                    <a:pt x="20017" y="16245"/>
                    <a:pt x="20017" y="16239"/>
                  </a:cubicBezTo>
                  <a:cubicBezTo>
                    <a:pt x="20017" y="16234"/>
                    <a:pt x="20014" y="16218"/>
                    <a:pt x="20010" y="16205"/>
                  </a:cubicBezTo>
                  <a:cubicBezTo>
                    <a:pt x="20007" y="16192"/>
                    <a:pt x="20003" y="16174"/>
                    <a:pt x="20003" y="16164"/>
                  </a:cubicBezTo>
                  <a:cubicBezTo>
                    <a:pt x="20000" y="16154"/>
                    <a:pt x="19996" y="16139"/>
                    <a:pt x="19996" y="16129"/>
                  </a:cubicBezTo>
                  <a:cubicBezTo>
                    <a:pt x="19992" y="16120"/>
                    <a:pt x="19991" y="16108"/>
                    <a:pt x="19991" y="16104"/>
                  </a:cubicBezTo>
                  <a:cubicBezTo>
                    <a:pt x="19991" y="16099"/>
                    <a:pt x="19993" y="16100"/>
                    <a:pt x="19997" y="16103"/>
                  </a:cubicBezTo>
                  <a:cubicBezTo>
                    <a:pt x="20001" y="16108"/>
                    <a:pt x="20005" y="16110"/>
                    <a:pt x="20006" y="16110"/>
                  </a:cubicBezTo>
                  <a:cubicBezTo>
                    <a:pt x="20008" y="16110"/>
                    <a:pt x="20010" y="16112"/>
                    <a:pt x="20012" y="16114"/>
                  </a:cubicBezTo>
                  <a:cubicBezTo>
                    <a:pt x="20015" y="16116"/>
                    <a:pt x="20015" y="16118"/>
                    <a:pt x="20015" y="16116"/>
                  </a:cubicBezTo>
                  <a:cubicBezTo>
                    <a:pt x="20015" y="16114"/>
                    <a:pt x="20017" y="16116"/>
                    <a:pt x="20020" y="16121"/>
                  </a:cubicBezTo>
                  <a:cubicBezTo>
                    <a:pt x="20023" y="16125"/>
                    <a:pt x="20027" y="16129"/>
                    <a:pt x="20027" y="16127"/>
                  </a:cubicBezTo>
                  <a:cubicBezTo>
                    <a:pt x="20028" y="16127"/>
                    <a:pt x="20026" y="16117"/>
                    <a:pt x="20026" y="16107"/>
                  </a:cubicBezTo>
                  <a:cubicBezTo>
                    <a:pt x="20022" y="16098"/>
                    <a:pt x="20025" y="16093"/>
                    <a:pt x="20027" y="16098"/>
                  </a:cubicBezTo>
                  <a:cubicBezTo>
                    <a:pt x="20030" y="16101"/>
                    <a:pt x="20032" y="16100"/>
                    <a:pt x="20031" y="16093"/>
                  </a:cubicBezTo>
                  <a:cubicBezTo>
                    <a:pt x="20029" y="16086"/>
                    <a:pt x="20032" y="16087"/>
                    <a:pt x="20037" y="16095"/>
                  </a:cubicBezTo>
                  <a:cubicBezTo>
                    <a:pt x="20042" y="16102"/>
                    <a:pt x="20045" y="16111"/>
                    <a:pt x="20047" y="16112"/>
                  </a:cubicBezTo>
                  <a:cubicBezTo>
                    <a:pt x="20047" y="16114"/>
                    <a:pt x="20053" y="16119"/>
                    <a:pt x="20056" y="16125"/>
                  </a:cubicBezTo>
                  <a:cubicBezTo>
                    <a:pt x="20060" y="16130"/>
                    <a:pt x="20062" y="16132"/>
                    <a:pt x="20062" y="16128"/>
                  </a:cubicBezTo>
                  <a:cubicBezTo>
                    <a:pt x="20062" y="16124"/>
                    <a:pt x="20062" y="16123"/>
                    <a:pt x="20064" y="16125"/>
                  </a:cubicBezTo>
                  <a:cubicBezTo>
                    <a:pt x="20064" y="16127"/>
                    <a:pt x="20063" y="16120"/>
                    <a:pt x="20062" y="16110"/>
                  </a:cubicBezTo>
                  <a:cubicBezTo>
                    <a:pt x="20059" y="16100"/>
                    <a:pt x="20061" y="16095"/>
                    <a:pt x="20064" y="16100"/>
                  </a:cubicBezTo>
                  <a:cubicBezTo>
                    <a:pt x="20069" y="16103"/>
                    <a:pt x="20071" y="16107"/>
                    <a:pt x="20071" y="16106"/>
                  </a:cubicBezTo>
                  <a:cubicBezTo>
                    <a:pt x="20072" y="16106"/>
                    <a:pt x="20074" y="16108"/>
                    <a:pt x="20076" y="16113"/>
                  </a:cubicBezTo>
                  <a:cubicBezTo>
                    <a:pt x="20078" y="16119"/>
                    <a:pt x="20082" y="16127"/>
                    <a:pt x="20085" y="16132"/>
                  </a:cubicBezTo>
                  <a:cubicBezTo>
                    <a:pt x="20088" y="16137"/>
                    <a:pt x="20094" y="16149"/>
                    <a:pt x="20098" y="16161"/>
                  </a:cubicBezTo>
                  <a:cubicBezTo>
                    <a:pt x="20103" y="16171"/>
                    <a:pt x="20110" y="16189"/>
                    <a:pt x="20115" y="16199"/>
                  </a:cubicBezTo>
                  <a:cubicBezTo>
                    <a:pt x="20121" y="16208"/>
                    <a:pt x="20127" y="16227"/>
                    <a:pt x="20133" y="16237"/>
                  </a:cubicBezTo>
                  <a:cubicBezTo>
                    <a:pt x="20136" y="16249"/>
                    <a:pt x="20143" y="16263"/>
                    <a:pt x="20144" y="16271"/>
                  </a:cubicBezTo>
                  <a:cubicBezTo>
                    <a:pt x="20146" y="16279"/>
                    <a:pt x="20152" y="16289"/>
                    <a:pt x="20155" y="16295"/>
                  </a:cubicBezTo>
                  <a:cubicBezTo>
                    <a:pt x="20158" y="16300"/>
                    <a:pt x="20162" y="16305"/>
                    <a:pt x="20163" y="16305"/>
                  </a:cubicBezTo>
                  <a:cubicBezTo>
                    <a:pt x="20163" y="16306"/>
                    <a:pt x="20166" y="16310"/>
                    <a:pt x="20169" y="16316"/>
                  </a:cubicBezTo>
                  <a:cubicBezTo>
                    <a:pt x="20172" y="16322"/>
                    <a:pt x="20176" y="16337"/>
                    <a:pt x="20181" y="16348"/>
                  </a:cubicBezTo>
                  <a:cubicBezTo>
                    <a:pt x="20185" y="16359"/>
                    <a:pt x="20190" y="16367"/>
                    <a:pt x="20190" y="16366"/>
                  </a:cubicBezTo>
                  <a:cubicBezTo>
                    <a:pt x="20190" y="16365"/>
                    <a:pt x="20188" y="16357"/>
                    <a:pt x="20185" y="16347"/>
                  </a:cubicBezTo>
                  <a:cubicBezTo>
                    <a:pt x="20184" y="16338"/>
                    <a:pt x="20181" y="16328"/>
                    <a:pt x="20181" y="16326"/>
                  </a:cubicBezTo>
                  <a:cubicBezTo>
                    <a:pt x="20181" y="16324"/>
                    <a:pt x="20183" y="16326"/>
                    <a:pt x="20185" y="16331"/>
                  </a:cubicBezTo>
                  <a:cubicBezTo>
                    <a:pt x="20187" y="16336"/>
                    <a:pt x="20189" y="16343"/>
                    <a:pt x="20192" y="16346"/>
                  </a:cubicBezTo>
                  <a:cubicBezTo>
                    <a:pt x="20192" y="16351"/>
                    <a:pt x="20196" y="16352"/>
                    <a:pt x="20196" y="16351"/>
                  </a:cubicBezTo>
                  <a:cubicBezTo>
                    <a:pt x="20197" y="16351"/>
                    <a:pt x="20200" y="16359"/>
                    <a:pt x="20204" y="16370"/>
                  </a:cubicBezTo>
                  <a:cubicBezTo>
                    <a:pt x="20207" y="16381"/>
                    <a:pt x="20213" y="16391"/>
                    <a:pt x="20213" y="16393"/>
                  </a:cubicBezTo>
                  <a:cubicBezTo>
                    <a:pt x="20214" y="16394"/>
                    <a:pt x="20218" y="16401"/>
                    <a:pt x="20220" y="16408"/>
                  </a:cubicBezTo>
                  <a:cubicBezTo>
                    <a:pt x="20223" y="16415"/>
                    <a:pt x="20228" y="16427"/>
                    <a:pt x="20230" y="16436"/>
                  </a:cubicBezTo>
                  <a:cubicBezTo>
                    <a:pt x="20233" y="16443"/>
                    <a:pt x="20235" y="16457"/>
                    <a:pt x="20238" y="16464"/>
                  </a:cubicBezTo>
                  <a:cubicBezTo>
                    <a:pt x="20238" y="16471"/>
                    <a:pt x="20243" y="16484"/>
                    <a:pt x="20246" y="16492"/>
                  </a:cubicBezTo>
                  <a:cubicBezTo>
                    <a:pt x="20249" y="16500"/>
                    <a:pt x="20252" y="16509"/>
                    <a:pt x="20254" y="16512"/>
                  </a:cubicBezTo>
                  <a:cubicBezTo>
                    <a:pt x="20256" y="16514"/>
                    <a:pt x="20261" y="16523"/>
                    <a:pt x="20261" y="16530"/>
                  </a:cubicBezTo>
                  <a:cubicBezTo>
                    <a:pt x="20263" y="16537"/>
                    <a:pt x="20264" y="16540"/>
                    <a:pt x="20264" y="16536"/>
                  </a:cubicBezTo>
                  <a:cubicBezTo>
                    <a:pt x="20264" y="16533"/>
                    <a:pt x="20265" y="16535"/>
                    <a:pt x="20268" y="16539"/>
                  </a:cubicBezTo>
                  <a:cubicBezTo>
                    <a:pt x="20270" y="16545"/>
                    <a:pt x="20275" y="16555"/>
                    <a:pt x="20277" y="16563"/>
                  </a:cubicBezTo>
                  <a:cubicBezTo>
                    <a:pt x="20280" y="16570"/>
                    <a:pt x="20280" y="16583"/>
                    <a:pt x="20283" y="16588"/>
                  </a:cubicBezTo>
                  <a:cubicBezTo>
                    <a:pt x="20283" y="16594"/>
                    <a:pt x="20287" y="16605"/>
                    <a:pt x="20290" y="16612"/>
                  </a:cubicBezTo>
                  <a:cubicBezTo>
                    <a:pt x="20293" y="16620"/>
                    <a:pt x="20297" y="16632"/>
                    <a:pt x="20300" y="16640"/>
                  </a:cubicBezTo>
                  <a:cubicBezTo>
                    <a:pt x="20304" y="16647"/>
                    <a:pt x="20307" y="16654"/>
                    <a:pt x="20308" y="16656"/>
                  </a:cubicBezTo>
                  <a:cubicBezTo>
                    <a:pt x="20309" y="16656"/>
                    <a:pt x="20314" y="16663"/>
                    <a:pt x="20314" y="16670"/>
                  </a:cubicBezTo>
                  <a:cubicBezTo>
                    <a:pt x="20317" y="16676"/>
                    <a:pt x="20319" y="16687"/>
                    <a:pt x="20321" y="16694"/>
                  </a:cubicBezTo>
                  <a:cubicBezTo>
                    <a:pt x="20323" y="16701"/>
                    <a:pt x="20327" y="16712"/>
                    <a:pt x="20329" y="16719"/>
                  </a:cubicBezTo>
                  <a:cubicBezTo>
                    <a:pt x="20331" y="16725"/>
                    <a:pt x="20335" y="16739"/>
                    <a:pt x="20339" y="16749"/>
                  </a:cubicBezTo>
                  <a:cubicBezTo>
                    <a:pt x="20342" y="16759"/>
                    <a:pt x="20347" y="16776"/>
                    <a:pt x="20351" y="16787"/>
                  </a:cubicBezTo>
                  <a:cubicBezTo>
                    <a:pt x="20354" y="16797"/>
                    <a:pt x="20358" y="16814"/>
                    <a:pt x="20361" y="16824"/>
                  </a:cubicBezTo>
                  <a:cubicBezTo>
                    <a:pt x="20363" y="16834"/>
                    <a:pt x="20369" y="16848"/>
                    <a:pt x="20371" y="16856"/>
                  </a:cubicBezTo>
                  <a:cubicBezTo>
                    <a:pt x="20372" y="16863"/>
                    <a:pt x="20376" y="16873"/>
                    <a:pt x="20378" y="16879"/>
                  </a:cubicBezTo>
                  <a:cubicBezTo>
                    <a:pt x="20378" y="16886"/>
                    <a:pt x="20386" y="16895"/>
                    <a:pt x="20387" y="16903"/>
                  </a:cubicBezTo>
                  <a:cubicBezTo>
                    <a:pt x="20392" y="16909"/>
                    <a:pt x="20397" y="16923"/>
                    <a:pt x="20399" y="16932"/>
                  </a:cubicBezTo>
                  <a:cubicBezTo>
                    <a:pt x="20402" y="16941"/>
                    <a:pt x="20405" y="16956"/>
                    <a:pt x="20407" y="16964"/>
                  </a:cubicBezTo>
                  <a:cubicBezTo>
                    <a:pt x="20409" y="16973"/>
                    <a:pt x="20411" y="16987"/>
                    <a:pt x="20415" y="16996"/>
                  </a:cubicBezTo>
                  <a:cubicBezTo>
                    <a:pt x="20418" y="17004"/>
                    <a:pt x="20424" y="17024"/>
                    <a:pt x="20430" y="17040"/>
                  </a:cubicBezTo>
                  <a:cubicBezTo>
                    <a:pt x="20435" y="17055"/>
                    <a:pt x="20444" y="17079"/>
                    <a:pt x="20448" y="17094"/>
                  </a:cubicBezTo>
                  <a:cubicBezTo>
                    <a:pt x="20453" y="17108"/>
                    <a:pt x="20459" y="17132"/>
                    <a:pt x="20464" y="17146"/>
                  </a:cubicBezTo>
                  <a:cubicBezTo>
                    <a:pt x="20467" y="17161"/>
                    <a:pt x="20475" y="17182"/>
                    <a:pt x="20478" y="17194"/>
                  </a:cubicBezTo>
                  <a:cubicBezTo>
                    <a:pt x="20480" y="17206"/>
                    <a:pt x="20486" y="17220"/>
                    <a:pt x="20488" y="17226"/>
                  </a:cubicBezTo>
                  <a:cubicBezTo>
                    <a:pt x="20490" y="17232"/>
                    <a:pt x="20493" y="17250"/>
                    <a:pt x="20500" y="17263"/>
                  </a:cubicBezTo>
                  <a:cubicBezTo>
                    <a:pt x="20503" y="17277"/>
                    <a:pt x="20510" y="17296"/>
                    <a:pt x="20513" y="17306"/>
                  </a:cubicBezTo>
                  <a:cubicBezTo>
                    <a:pt x="20518" y="17315"/>
                    <a:pt x="20521" y="17329"/>
                    <a:pt x="20522" y="17336"/>
                  </a:cubicBezTo>
                  <a:cubicBezTo>
                    <a:pt x="20524" y="17342"/>
                    <a:pt x="20525" y="17354"/>
                    <a:pt x="20528" y="17361"/>
                  </a:cubicBezTo>
                  <a:cubicBezTo>
                    <a:pt x="20528" y="17369"/>
                    <a:pt x="20534" y="17378"/>
                    <a:pt x="20534" y="17382"/>
                  </a:cubicBezTo>
                  <a:cubicBezTo>
                    <a:pt x="20536" y="17385"/>
                    <a:pt x="20537" y="17388"/>
                    <a:pt x="20537" y="17387"/>
                  </a:cubicBezTo>
                  <a:cubicBezTo>
                    <a:pt x="20537" y="17385"/>
                    <a:pt x="20542" y="17395"/>
                    <a:pt x="20545" y="17409"/>
                  </a:cubicBezTo>
                  <a:cubicBezTo>
                    <a:pt x="20550" y="17423"/>
                    <a:pt x="20554" y="17443"/>
                    <a:pt x="20558" y="17452"/>
                  </a:cubicBezTo>
                  <a:cubicBezTo>
                    <a:pt x="20561" y="17462"/>
                    <a:pt x="20568" y="17489"/>
                    <a:pt x="20576" y="17513"/>
                  </a:cubicBezTo>
                  <a:cubicBezTo>
                    <a:pt x="20582" y="17536"/>
                    <a:pt x="20596" y="17576"/>
                    <a:pt x="20604" y="17602"/>
                  </a:cubicBezTo>
                  <a:cubicBezTo>
                    <a:pt x="20614" y="17626"/>
                    <a:pt x="20623" y="17661"/>
                    <a:pt x="20628" y="17676"/>
                  </a:cubicBezTo>
                  <a:cubicBezTo>
                    <a:pt x="20632" y="17692"/>
                    <a:pt x="20640" y="17717"/>
                    <a:pt x="20643" y="17733"/>
                  </a:cubicBezTo>
                  <a:cubicBezTo>
                    <a:pt x="20647" y="17749"/>
                    <a:pt x="20653" y="17767"/>
                    <a:pt x="20655" y="17774"/>
                  </a:cubicBezTo>
                  <a:cubicBezTo>
                    <a:pt x="20656" y="17780"/>
                    <a:pt x="20661" y="17799"/>
                    <a:pt x="20666" y="17814"/>
                  </a:cubicBezTo>
                  <a:cubicBezTo>
                    <a:pt x="20669" y="17829"/>
                    <a:pt x="20678" y="17847"/>
                    <a:pt x="20678" y="17855"/>
                  </a:cubicBezTo>
                  <a:cubicBezTo>
                    <a:pt x="20681" y="17862"/>
                    <a:pt x="20683" y="17872"/>
                    <a:pt x="20685" y="17876"/>
                  </a:cubicBezTo>
                  <a:cubicBezTo>
                    <a:pt x="20687" y="17880"/>
                    <a:pt x="20691" y="17895"/>
                    <a:pt x="20695" y="17909"/>
                  </a:cubicBezTo>
                  <a:cubicBezTo>
                    <a:pt x="20698" y="17923"/>
                    <a:pt x="20704" y="17942"/>
                    <a:pt x="20706" y="17952"/>
                  </a:cubicBezTo>
                  <a:cubicBezTo>
                    <a:pt x="20709" y="17962"/>
                    <a:pt x="20715" y="17983"/>
                    <a:pt x="20719" y="18001"/>
                  </a:cubicBezTo>
                  <a:cubicBezTo>
                    <a:pt x="20724" y="18018"/>
                    <a:pt x="20733" y="18050"/>
                    <a:pt x="20740" y="18072"/>
                  </a:cubicBezTo>
                  <a:cubicBezTo>
                    <a:pt x="20746" y="18094"/>
                    <a:pt x="20755" y="18119"/>
                    <a:pt x="20757" y="18127"/>
                  </a:cubicBezTo>
                  <a:cubicBezTo>
                    <a:pt x="20761" y="18134"/>
                    <a:pt x="20764" y="18151"/>
                    <a:pt x="20768" y="18162"/>
                  </a:cubicBezTo>
                  <a:cubicBezTo>
                    <a:pt x="20771" y="18173"/>
                    <a:pt x="20775" y="18186"/>
                    <a:pt x="20777" y="18190"/>
                  </a:cubicBezTo>
                  <a:cubicBezTo>
                    <a:pt x="20778" y="18195"/>
                    <a:pt x="20780" y="18198"/>
                    <a:pt x="20781" y="18197"/>
                  </a:cubicBezTo>
                  <a:cubicBezTo>
                    <a:pt x="20782" y="18197"/>
                    <a:pt x="20784" y="18202"/>
                    <a:pt x="20786" y="18208"/>
                  </a:cubicBezTo>
                  <a:cubicBezTo>
                    <a:pt x="20789" y="18214"/>
                    <a:pt x="20788" y="18218"/>
                    <a:pt x="20790" y="18217"/>
                  </a:cubicBezTo>
                  <a:cubicBezTo>
                    <a:pt x="20790" y="18215"/>
                    <a:pt x="20791" y="18220"/>
                    <a:pt x="20795" y="18226"/>
                  </a:cubicBezTo>
                  <a:cubicBezTo>
                    <a:pt x="20796" y="18233"/>
                    <a:pt x="20799" y="18235"/>
                    <a:pt x="20799" y="18231"/>
                  </a:cubicBezTo>
                  <a:cubicBezTo>
                    <a:pt x="20799" y="18226"/>
                    <a:pt x="20800" y="18225"/>
                    <a:pt x="20800" y="18228"/>
                  </a:cubicBezTo>
                  <a:cubicBezTo>
                    <a:pt x="20803" y="18230"/>
                    <a:pt x="20802" y="18238"/>
                    <a:pt x="20805" y="18241"/>
                  </a:cubicBezTo>
                  <a:cubicBezTo>
                    <a:pt x="20805" y="18244"/>
                    <a:pt x="20808" y="18251"/>
                    <a:pt x="20808" y="18256"/>
                  </a:cubicBezTo>
                  <a:cubicBezTo>
                    <a:pt x="20808" y="18261"/>
                    <a:pt x="20809" y="18271"/>
                    <a:pt x="20812" y="18275"/>
                  </a:cubicBezTo>
                  <a:cubicBezTo>
                    <a:pt x="20812" y="18281"/>
                    <a:pt x="20818" y="18290"/>
                    <a:pt x="20820" y="18297"/>
                  </a:cubicBezTo>
                  <a:cubicBezTo>
                    <a:pt x="20822" y="18304"/>
                    <a:pt x="20825" y="18314"/>
                    <a:pt x="20828" y="18319"/>
                  </a:cubicBezTo>
                  <a:cubicBezTo>
                    <a:pt x="20830" y="18326"/>
                    <a:pt x="20833" y="18337"/>
                    <a:pt x="20836" y="18344"/>
                  </a:cubicBezTo>
                  <a:cubicBezTo>
                    <a:pt x="20838" y="18351"/>
                    <a:pt x="20843" y="18363"/>
                    <a:pt x="20844" y="18372"/>
                  </a:cubicBezTo>
                  <a:cubicBezTo>
                    <a:pt x="20846" y="18381"/>
                    <a:pt x="20847" y="18384"/>
                    <a:pt x="20847" y="18378"/>
                  </a:cubicBezTo>
                  <a:cubicBezTo>
                    <a:pt x="20845" y="18373"/>
                    <a:pt x="20845" y="18368"/>
                    <a:pt x="20845" y="18367"/>
                  </a:cubicBezTo>
                  <a:cubicBezTo>
                    <a:pt x="20845" y="18366"/>
                    <a:pt x="20846" y="18370"/>
                    <a:pt x="20849" y="18373"/>
                  </a:cubicBezTo>
                  <a:cubicBezTo>
                    <a:pt x="20849" y="18378"/>
                    <a:pt x="20850" y="18375"/>
                    <a:pt x="20848" y="18366"/>
                  </a:cubicBezTo>
                  <a:cubicBezTo>
                    <a:pt x="20848" y="18358"/>
                    <a:pt x="20847" y="18352"/>
                    <a:pt x="20847" y="18354"/>
                  </a:cubicBezTo>
                  <a:cubicBezTo>
                    <a:pt x="20847" y="18355"/>
                    <a:pt x="20850" y="18361"/>
                    <a:pt x="20852" y="18368"/>
                  </a:cubicBezTo>
                  <a:cubicBezTo>
                    <a:pt x="20855" y="18375"/>
                    <a:pt x="20857" y="18389"/>
                    <a:pt x="20860" y="18398"/>
                  </a:cubicBezTo>
                  <a:cubicBezTo>
                    <a:pt x="20861" y="18407"/>
                    <a:pt x="20866" y="18424"/>
                    <a:pt x="20870" y="18435"/>
                  </a:cubicBezTo>
                  <a:cubicBezTo>
                    <a:pt x="20873" y="18446"/>
                    <a:pt x="20878" y="18457"/>
                    <a:pt x="20878" y="18461"/>
                  </a:cubicBezTo>
                  <a:cubicBezTo>
                    <a:pt x="20879" y="18464"/>
                    <a:pt x="20882" y="18474"/>
                    <a:pt x="20884" y="18481"/>
                  </a:cubicBezTo>
                  <a:cubicBezTo>
                    <a:pt x="20884" y="18490"/>
                    <a:pt x="20889" y="18503"/>
                    <a:pt x="20892" y="18512"/>
                  </a:cubicBezTo>
                  <a:cubicBezTo>
                    <a:pt x="20895" y="18520"/>
                    <a:pt x="20897" y="18528"/>
                    <a:pt x="20897" y="18529"/>
                  </a:cubicBezTo>
                  <a:cubicBezTo>
                    <a:pt x="20898" y="18529"/>
                    <a:pt x="20903" y="18537"/>
                    <a:pt x="20903" y="18547"/>
                  </a:cubicBezTo>
                  <a:cubicBezTo>
                    <a:pt x="20906" y="18555"/>
                    <a:pt x="20909" y="18569"/>
                    <a:pt x="20911" y="18577"/>
                  </a:cubicBezTo>
                  <a:cubicBezTo>
                    <a:pt x="20913" y="18585"/>
                    <a:pt x="20918" y="18601"/>
                    <a:pt x="20921" y="18613"/>
                  </a:cubicBezTo>
                  <a:cubicBezTo>
                    <a:pt x="20925" y="18624"/>
                    <a:pt x="20930" y="18637"/>
                    <a:pt x="20930" y="18642"/>
                  </a:cubicBezTo>
                  <a:cubicBezTo>
                    <a:pt x="20933" y="18646"/>
                    <a:pt x="20935" y="18653"/>
                    <a:pt x="20935" y="18656"/>
                  </a:cubicBezTo>
                  <a:cubicBezTo>
                    <a:pt x="20935" y="18659"/>
                    <a:pt x="20937" y="18668"/>
                    <a:pt x="20941" y="18675"/>
                  </a:cubicBezTo>
                  <a:cubicBezTo>
                    <a:pt x="20944" y="18683"/>
                    <a:pt x="20948" y="18693"/>
                    <a:pt x="20948" y="18698"/>
                  </a:cubicBezTo>
                  <a:cubicBezTo>
                    <a:pt x="20951" y="18702"/>
                    <a:pt x="20952" y="18706"/>
                    <a:pt x="20952" y="18706"/>
                  </a:cubicBezTo>
                  <a:cubicBezTo>
                    <a:pt x="20952" y="18706"/>
                    <a:pt x="20953" y="18707"/>
                    <a:pt x="20954" y="18709"/>
                  </a:cubicBezTo>
                  <a:cubicBezTo>
                    <a:pt x="20954" y="18708"/>
                    <a:pt x="20954" y="18707"/>
                    <a:pt x="20955" y="18705"/>
                  </a:cubicBezTo>
                  <a:cubicBezTo>
                    <a:pt x="20955" y="18701"/>
                    <a:pt x="20954" y="18698"/>
                    <a:pt x="20954" y="18699"/>
                  </a:cubicBezTo>
                  <a:cubicBezTo>
                    <a:pt x="20955" y="18699"/>
                    <a:pt x="20956" y="18703"/>
                    <a:pt x="20957" y="18707"/>
                  </a:cubicBezTo>
                  <a:cubicBezTo>
                    <a:pt x="20959" y="18711"/>
                    <a:pt x="20964" y="18722"/>
                    <a:pt x="20964" y="18731"/>
                  </a:cubicBezTo>
                  <a:cubicBezTo>
                    <a:pt x="20967" y="18740"/>
                    <a:pt x="20968" y="18754"/>
                    <a:pt x="20970" y="18762"/>
                  </a:cubicBezTo>
                  <a:cubicBezTo>
                    <a:pt x="20972" y="18769"/>
                    <a:pt x="20973" y="18784"/>
                    <a:pt x="20977" y="18794"/>
                  </a:cubicBezTo>
                  <a:cubicBezTo>
                    <a:pt x="20979" y="18804"/>
                    <a:pt x="20985" y="18820"/>
                    <a:pt x="20985" y="18829"/>
                  </a:cubicBezTo>
                  <a:cubicBezTo>
                    <a:pt x="20988" y="18838"/>
                    <a:pt x="20990" y="18848"/>
                    <a:pt x="20991" y="18850"/>
                  </a:cubicBezTo>
                  <a:cubicBezTo>
                    <a:pt x="20993" y="18852"/>
                    <a:pt x="20997" y="18866"/>
                    <a:pt x="21000" y="18880"/>
                  </a:cubicBezTo>
                  <a:cubicBezTo>
                    <a:pt x="21003" y="18894"/>
                    <a:pt x="21009" y="18917"/>
                    <a:pt x="21012" y="18930"/>
                  </a:cubicBezTo>
                  <a:cubicBezTo>
                    <a:pt x="21016" y="18943"/>
                    <a:pt x="21020" y="18965"/>
                    <a:pt x="21023" y="18978"/>
                  </a:cubicBezTo>
                  <a:cubicBezTo>
                    <a:pt x="21027" y="18992"/>
                    <a:pt x="21030" y="19005"/>
                    <a:pt x="21030" y="19009"/>
                  </a:cubicBezTo>
                  <a:cubicBezTo>
                    <a:pt x="21031" y="19012"/>
                    <a:pt x="21032" y="19024"/>
                    <a:pt x="21035" y="19035"/>
                  </a:cubicBezTo>
                  <a:cubicBezTo>
                    <a:pt x="21037" y="19046"/>
                    <a:pt x="21043" y="19073"/>
                    <a:pt x="21050" y="19094"/>
                  </a:cubicBezTo>
                  <a:cubicBezTo>
                    <a:pt x="21057" y="19115"/>
                    <a:pt x="21062" y="19138"/>
                    <a:pt x="21063" y="19144"/>
                  </a:cubicBezTo>
                  <a:cubicBezTo>
                    <a:pt x="21065" y="19149"/>
                    <a:pt x="21072" y="19168"/>
                    <a:pt x="21075" y="19187"/>
                  </a:cubicBezTo>
                  <a:cubicBezTo>
                    <a:pt x="21081" y="19205"/>
                    <a:pt x="21085" y="19227"/>
                    <a:pt x="21087" y="19236"/>
                  </a:cubicBezTo>
                  <a:cubicBezTo>
                    <a:pt x="21089" y="19245"/>
                    <a:pt x="21093" y="19251"/>
                    <a:pt x="21092" y="19251"/>
                  </a:cubicBezTo>
                  <a:cubicBezTo>
                    <a:pt x="21093" y="19251"/>
                    <a:pt x="21094" y="19247"/>
                    <a:pt x="21092" y="19242"/>
                  </a:cubicBezTo>
                  <a:cubicBezTo>
                    <a:pt x="21092" y="19238"/>
                    <a:pt x="21093" y="19236"/>
                    <a:pt x="21093" y="19239"/>
                  </a:cubicBezTo>
                  <a:cubicBezTo>
                    <a:pt x="21095" y="19242"/>
                    <a:pt x="21099" y="19254"/>
                    <a:pt x="21100" y="19266"/>
                  </a:cubicBezTo>
                  <a:cubicBezTo>
                    <a:pt x="21104" y="19277"/>
                    <a:pt x="21107" y="19296"/>
                    <a:pt x="21110" y="19306"/>
                  </a:cubicBezTo>
                  <a:cubicBezTo>
                    <a:pt x="21112" y="19318"/>
                    <a:pt x="21115" y="19325"/>
                    <a:pt x="21115" y="19324"/>
                  </a:cubicBezTo>
                  <a:cubicBezTo>
                    <a:pt x="21115" y="19323"/>
                    <a:pt x="21117" y="19318"/>
                    <a:pt x="21114" y="19314"/>
                  </a:cubicBezTo>
                  <a:cubicBezTo>
                    <a:pt x="21113" y="19310"/>
                    <a:pt x="21114" y="19310"/>
                    <a:pt x="21116" y="19315"/>
                  </a:cubicBezTo>
                  <a:cubicBezTo>
                    <a:pt x="21118" y="19321"/>
                    <a:pt x="21119" y="19325"/>
                    <a:pt x="21119" y="19324"/>
                  </a:cubicBezTo>
                  <a:cubicBezTo>
                    <a:pt x="21119" y="19323"/>
                    <a:pt x="21120" y="19324"/>
                    <a:pt x="21122" y="19325"/>
                  </a:cubicBezTo>
                  <a:cubicBezTo>
                    <a:pt x="21123" y="19327"/>
                    <a:pt x="21122" y="19324"/>
                    <a:pt x="21122" y="19318"/>
                  </a:cubicBezTo>
                  <a:cubicBezTo>
                    <a:pt x="21122" y="19311"/>
                    <a:pt x="21120" y="19305"/>
                    <a:pt x="21120" y="19304"/>
                  </a:cubicBezTo>
                  <a:cubicBezTo>
                    <a:pt x="21120" y="19302"/>
                    <a:pt x="21119" y="19294"/>
                    <a:pt x="21117" y="19286"/>
                  </a:cubicBezTo>
                  <a:cubicBezTo>
                    <a:pt x="21115" y="19278"/>
                    <a:pt x="21110" y="19261"/>
                    <a:pt x="21108" y="19248"/>
                  </a:cubicBezTo>
                  <a:cubicBezTo>
                    <a:pt x="21105" y="19235"/>
                    <a:pt x="21103" y="19223"/>
                    <a:pt x="21103" y="19220"/>
                  </a:cubicBezTo>
                  <a:cubicBezTo>
                    <a:pt x="21103" y="19218"/>
                    <a:pt x="21101" y="19206"/>
                    <a:pt x="21098" y="19194"/>
                  </a:cubicBezTo>
                  <a:cubicBezTo>
                    <a:pt x="21094" y="19183"/>
                    <a:pt x="21092" y="19165"/>
                    <a:pt x="21089" y="19156"/>
                  </a:cubicBezTo>
                  <a:cubicBezTo>
                    <a:pt x="21087" y="19146"/>
                    <a:pt x="21086" y="19140"/>
                    <a:pt x="21087" y="19141"/>
                  </a:cubicBezTo>
                  <a:cubicBezTo>
                    <a:pt x="21087" y="19142"/>
                    <a:pt x="21089" y="19146"/>
                    <a:pt x="21090" y="19150"/>
                  </a:cubicBezTo>
                  <a:cubicBezTo>
                    <a:pt x="21093" y="19153"/>
                    <a:pt x="21091" y="19146"/>
                    <a:pt x="21087" y="19132"/>
                  </a:cubicBezTo>
                  <a:cubicBezTo>
                    <a:pt x="21084" y="19119"/>
                    <a:pt x="21082" y="19108"/>
                    <a:pt x="21082" y="19108"/>
                  </a:cubicBezTo>
                  <a:cubicBezTo>
                    <a:pt x="21083" y="19108"/>
                    <a:pt x="21083" y="19109"/>
                    <a:pt x="21083" y="19108"/>
                  </a:cubicBezTo>
                  <a:cubicBezTo>
                    <a:pt x="21084" y="19108"/>
                    <a:pt x="21081" y="19099"/>
                    <a:pt x="21079" y="19088"/>
                  </a:cubicBezTo>
                  <a:cubicBezTo>
                    <a:pt x="21076" y="19078"/>
                    <a:pt x="21075" y="19065"/>
                    <a:pt x="21073" y="19060"/>
                  </a:cubicBezTo>
                  <a:cubicBezTo>
                    <a:pt x="21072" y="19056"/>
                    <a:pt x="21073" y="19052"/>
                    <a:pt x="21073" y="19054"/>
                  </a:cubicBezTo>
                  <a:cubicBezTo>
                    <a:pt x="21074" y="19055"/>
                    <a:pt x="21072" y="19053"/>
                    <a:pt x="21072" y="19047"/>
                  </a:cubicBezTo>
                  <a:cubicBezTo>
                    <a:pt x="21071" y="19042"/>
                    <a:pt x="21073" y="19045"/>
                    <a:pt x="21075" y="19054"/>
                  </a:cubicBezTo>
                  <a:cubicBezTo>
                    <a:pt x="21077" y="19063"/>
                    <a:pt x="21080" y="19078"/>
                    <a:pt x="21083" y="19086"/>
                  </a:cubicBezTo>
                  <a:cubicBezTo>
                    <a:pt x="21085" y="19094"/>
                    <a:pt x="21088" y="19104"/>
                    <a:pt x="21089" y="19108"/>
                  </a:cubicBezTo>
                  <a:cubicBezTo>
                    <a:pt x="21091" y="19112"/>
                    <a:pt x="21096" y="19122"/>
                    <a:pt x="21096" y="19131"/>
                  </a:cubicBezTo>
                  <a:cubicBezTo>
                    <a:pt x="21099" y="19140"/>
                    <a:pt x="21103" y="19160"/>
                    <a:pt x="21106" y="19175"/>
                  </a:cubicBezTo>
                  <a:cubicBezTo>
                    <a:pt x="21110" y="19190"/>
                    <a:pt x="21115" y="19206"/>
                    <a:pt x="21115" y="19211"/>
                  </a:cubicBezTo>
                  <a:cubicBezTo>
                    <a:pt x="21116" y="19216"/>
                    <a:pt x="21116" y="19227"/>
                    <a:pt x="21120" y="19235"/>
                  </a:cubicBezTo>
                  <a:cubicBezTo>
                    <a:pt x="21120" y="19243"/>
                    <a:pt x="21127" y="19262"/>
                    <a:pt x="21131" y="19279"/>
                  </a:cubicBezTo>
                  <a:cubicBezTo>
                    <a:pt x="21134" y="19296"/>
                    <a:pt x="21141" y="19318"/>
                    <a:pt x="21143" y="19329"/>
                  </a:cubicBezTo>
                  <a:cubicBezTo>
                    <a:pt x="21144" y="19340"/>
                    <a:pt x="21147" y="19357"/>
                    <a:pt x="21151" y="19365"/>
                  </a:cubicBezTo>
                  <a:cubicBezTo>
                    <a:pt x="21151" y="19375"/>
                    <a:pt x="21159" y="19388"/>
                    <a:pt x="21159" y="19396"/>
                  </a:cubicBezTo>
                  <a:cubicBezTo>
                    <a:pt x="21162" y="19403"/>
                    <a:pt x="21165" y="19422"/>
                    <a:pt x="21168" y="19436"/>
                  </a:cubicBezTo>
                  <a:cubicBezTo>
                    <a:pt x="21172" y="19450"/>
                    <a:pt x="21176" y="19472"/>
                    <a:pt x="21179" y="19485"/>
                  </a:cubicBezTo>
                  <a:cubicBezTo>
                    <a:pt x="21181" y="19497"/>
                    <a:pt x="21186" y="19511"/>
                    <a:pt x="21186" y="19517"/>
                  </a:cubicBezTo>
                  <a:cubicBezTo>
                    <a:pt x="21186" y="19522"/>
                    <a:pt x="21187" y="19525"/>
                    <a:pt x="21187" y="19524"/>
                  </a:cubicBezTo>
                  <a:cubicBezTo>
                    <a:pt x="21187" y="19523"/>
                    <a:pt x="21188" y="19530"/>
                    <a:pt x="21190" y="19540"/>
                  </a:cubicBezTo>
                  <a:cubicBezTo>
                    <a:pt x="21193" y="19549"/>
                    <a:pt x="21196" y="19563"/>
                    <a:pt x="21196" y="19570"/>
                  </a:cubicBezTo>
                  <a:cubicBezTo>
                    <a:pt x="21199" y="19575"/>
                    <a:pt x="21200" y="19591"/>
                    <a:pt x="21203" y="19601"/>
                  </a:cubicBezTo>
                  <a:cubicBezTo>
                    <a:pt x="21205" y="19612"/>
                    <a:pt x="21208" y="19624"/>
                    <a:pt x="21210" y="19629"/>
                  </a:cubicBezTo>
                  <a:cubicBezTo>
                    <a:pt x="21211" y="19633"/>
                    <a:pt x="21213" y="19647"/>
                    <a:pt x="21216" y="19659"/>
                  </a:cubicBezTo>
                  <a:cubicBezTo>
                    <a:pt x="21218" y="19671"/>
                    <a:pt x="21223" y="19688"/>
                    <a:pt x="21225" y="19698"/>
                  </a:cubicBezTo>
                  <a:cubicBezTo>
                    <a:pt x="21227" y="19708"/>
                    <a:pt x="21232" y="19721"/>
                    <a:pt x="21232" y="19729"/>
                  </a:cubicBezTo>
                  <a:cubicBezTo>
                    <a:pt x="21235" y="19737"/>
                    <a:pt x="21238" y="19748"/>
                    <a:pt x="21238" y="19755"/>
                  </a:cubicBezTo>
                  <a:cubicBezTo>
                    <a:pt x="21241" y="19760"/>
                    <a:pt x="21241" y="19773"/>
                    <a:pt x="21244" y="19781"/>
                  </a:cubicBezTo>
                  <a:cubicBezTo>
                    <a:pt x="21245" y="19789"/>
                    <a:pt x="21249" y="19800"/>
                    <a:pt x="21249" y="19806"/>
                  </a:cubicBezTo>
                  <a:cubicBezTo>
                    <a:pt x="21251" y="19812"/>
                    <a:pt x="21251" y="19823"/>
                    <a:pt x="21254" y="19827"/>
                  </a:cubicBezTo>
                  <a:cubicBezTo>
                    <a:pt x="21254" y="19833"/>
                    <a:pt x="21257" y="19839"/>
                    <a:pt x="21257" y="19842"/>
                  </a:cubicBezTo>
                  <a:cubicBezTo>
                    <a:pt x="21257" y="19844"/>
                    <a:pt x="21258" y="19847"/>
                    <a:pt x="21258" y="19847"/>
                  </a:cubicBezTo>
                  <a:cubicBezTo>
                    <a:pt x="21258" y="19848"/>
                    <a:pt x="21261" y="19863"/>
                    <a:pt x="21265" y="19881"/>
                  </a:cubicBezTo>
                  <a:cubicBezTo>
                    <a:pt x="21268" y="19898"/>
                    <a:pt x="21275" y="19926"/>
                    <a:pt x="21278" y="19943"/>
                  </a:cubicBezTo>
                  <a:cubicBezTo>
                    <a:pt x="21282" y="19960"/>
                    <a:pt x="21286" y="19981"/>
                    <a:pt x="21289" y="19989"/>
                  </a:cubicBezTo>
                  <a:cubicBezTo>
                    <a:pt x="21291" y="19998"/>
                    <a:pt x="21292" y="20010"/>
                    <a:pt x="21295" y="20016"/>
                  </a:cubicBezTo>
                  <a:cubicBezTo>
                    <a:pt x="21295" y="20022"/>
                    <a:pt x="21298" y="20029"/>
                    <a:pt x="21298" y="20033"/>
                  </a:cubicBezTo>
                  <a:cubicBezTo>
                    <a:pt x="21299" y="20036"/>
                    <a:pt x="21300" y="20047"/>
                    <a:pt x="21302" y="20056"/>
                  </a:cubicBezTo>
                  <a:cubicBezTo>
                    <a:pt x="21304" y="20065"/>
                    <a:pt x="21306" y="20080"/>
                    <a:pt x="21309" y="20089"/>
                  </a:cubicBezTo>
                  <a:cubicBezTo>
                    <a:pt x="21309" y="20098"/>
                    <a:pt x="21314" y="20112"/>
                    <a:pt x="21316" y="20120"/>
                  </a:cubicBezTo>
                  <a:cubicBezTo>
                    <a:pt x="21319" y="20128"/>
                    <a:pt x="21322" y="20141"/>
                    <a:pt x="21322" y="20150"/>
                  </a:cubicBezTo>
                  <a:cubicBezTo>
                    <a:pt x="21325" y="20157"/>
                    <a:pt x="21326" y="20166"/>
                    <a:pt x="21326" y="20169"/>
                  </a:cubicBezTo>
                  <a:cubicBezTo>
                    <a:pt x="21327" y="20171"/>
                    <a:pt x="21326" y="20177"/>
                    <a:pt x="21328" y="20180"/>
                  </a:cubicBezTo>
                  <a:cubicBezTo>
                    <a:pt x="21329" y="20184"/>
                    <a:pt x="21331" y="20194"/>
                    <a:pt x="21332" y="20203"/>
                  </a:cubicBezTo>
                  <a:cubicBezTo>
                    <a:pt x="21334" y="20211"/>
                    <a:pt x="21337" y="20228"/>
                    <a:pt x="21340" y="20240"/>
                  </a:cubicBezTo>
                  <a:cubicBezTo>
                    <a:pt x="21344" y="20252"/>
                    <a:pt x="21345" y="20266"/>
                    <a:pt x="21346" y="20270"/>
                  </a:cubicBezTo>
                  <a:cubicBezTo>
                    <a:pt x="21348" y="20274"/>
                    <a:pt x="21349" y="20289"/>
                    <a:pt x="21352" y="20302"/>
                  </a:cubicBezTo>
                  <a:cubicBezTo>
                    <a:pt x="21354" y="20315"/>
                    <a:pt x="21357" y="20334"/>
                    <a:pt x="21360" y="20342"/>
                  </a:cubicBezTo>
                  <a:cubicBezTo>
                    <a:pt x="21362" y="20351"/>
                    <a:pt x="21365" y="20365"/>
                    <a:pt x="21367" y="20373"/>
                  </a:cubicBezTo>
                  <a:cubicBezTo>
                    <a:pt x="21370" y="20381"/>
                    <a:pt x="21372" y="20393"/>
                    <a:pt x="21372" y="20398"/>
                  </a:cubicBezTo>
                  <a:cubicBezTo>
                    <a:pt x="21373" y="20403"/>
                    <a:pt x="21375" y="20413"/>
                    <a:pt x="21376" y="20422"/>
                  </a:cubicBezTo>
                  <a:cubicBezTo>
                    <a:pt x="21378" y="20430"/>
                    <a:pt x="21382" y="20444"/>
                    <a:pt x="21383" y="20453"/>
                  </a:cubicBezTo>
                  <a:cubicBezTo>
                    <a:pt x="21385" y="20463"/>
                    <a:pt x="21388" y="20480"/>
                    <a:pt x="21391" y="20491"/>
                  </a:cubicBezTo>
                  <a:cubicBezTo>
                    <a:pt x="21394" y="20503"/>
                    <a:pt x="21394" y="20518"/>
                    <a:pt x="21397" y="20523"/>
                  </a:cubicBezTo>
                  <a:cubicBezTo>
                    <a:pt x="21397" y="20526"/>
                    <a:pt x="21397" y="20527"/>
                    <a:pt x="21397" y="20529"/>
                  </a:cubicBezTo>
                  <a:cubicBezTo>
                    <a:pt x="21398" y="20529"/>
                    <a:pt x="21398" y="20530"/>
                    <a:pt x="21398" y="20530"/>
                  </a:cubicBezTo>
                  <a:cubicBezTo>
                    <a:pt x="21398" y="20531"/>
                    <a:pt x="21398" y="20531"/>
                    <a:pt x="21397" y="20529"/>
                  </a:cubicBezTo>
                  <a:cubicBezTo>
                    <a:pt x="21397" y="20527"/>
                    <a:pt x="21397" y="20522"/>
                    <a:pt x="21395" y="20520"/>
                  </a:cubicBezTo>
                  <a:cubicBezTo>
                    <a:pt x="21395" y="20515"/>
                    <a:pt x="21388" y="20496"/>
                    <a:pt x="21383" y="20477"/>
                  </a:cubicBezTo>
                  <a:cubicBezTo>
                    <a:pt x="21378" y="20457"/>
                    <a:pt x="21373" y="20435"/>
                    <a:pt x="21370" y="20430"/>
                  </a:cubicBezTo>
                  <a:cubicBezTo>
                    <a:pt x="21370" y="20424"/>
                    <a:pt x="21366" y="20414"/>
                    <a:pt x="21364" y="20408"/>
                  </a:cubicBezTo>
                  <a:cubicBezTo>
                    <a:pt x="21362" y="20402"/>
                    <a:pt x="21361" y="20398"/>
                    <a:pt x="21361" y="20398"/>
                  </a:cubicBezTo>
                  <a:cubicBezTo>
                    <a:pt x="21361" y="20398"/>
                    <a:pt x="21363" y="20413"/>
                    <a:pt x="21366" y="20431"/>
                  </a:cubicBezTo>
                  <a:cubicBezTo>
                    <a:pt x="21368" y="20449"/>
                    <a:pt x="21375" y="20472"/>
                    <a:pt x="21375" y="20481"/>
                  </a:cubicBezTo>
                  <a:cubicBezTo>
                    <a:pt x="21376" y="20491"/>
                    <a:pt x="21380" y="20505"/>
                    <a:pt x="21380" y="20513"/>
                  </a:cubicBezTo>
                  <a:cubicBezTo>
                    <a:pt x="21382" y="20521"/>
                    <a:pt x="21381" y="20527"/>
                    <a:pt x="21381" y="20525"/>
                  </a:cubicBezTo>
                  <a:cubicBezTo>
                    <a:pt x="21382" y="20525"/>
                    <a:pt x="21381" y="20526"/>
                    <a:pt x="21381" y="20530"/>
                  </a:cubicBezTo>
                  <a:cubicBezTo>
                    <a:pt x="21381" y="20534"/>
                    <a:pt x="21383" y="20542"/>
                    <a:pt x="21383" y="20548"/>
                  </a:cubicBezTo>
                  <a:cubicBezTo>
                    <a:pt x="21386" y="20554"/>
                    <a:pt x="21387" y="20571"/>
                    <a:pt x="21391" y="20585"/>
                  </a:cubicBezTo>
                  <a:cubicBezTo>
                    <a:pt x="21394" y="20598"/>
                    <a:pt x="21402" y="20636"/>
                    <a:pt x="21408" y="20668"/>
                  </a:cubicBezTo>
                  <a:cubicBezTo>
                    <a:pt x="21415" y="20699"/>
                    <a:pt x="21422" y="20735"/>
                    <a:pt x="21425" y="20747"/>
                  </a:cubicBezTo>
                  <a:cubicBezTo>
                    <a:pt x="21427" y="20759"/>
                    <a:pt x="21431" y="20778"/>
                    <a:pt x="21434" y="20788"/>
                  </a:cubicBezTo>
                  <a:cubicBezTo>
                    <a:pt x="21437" y="20798"/>
                    <a:pt x="21440" y="20819"/>
                    <a:pt x="21444" y="20834"/>
                  </a:cubicBezTo>
                  <a:cubicBezTo>
                    <a:pt x="21447" y="20849"/>
                    <a:pt x="21453" y="20873"/>
                    <a:pt x="21454" y="20887"/>
                  </a:cubicBezTo>
                  <a:cubicBezTo>
                    <a:pt x="21458" y="20900"/>
                    <a:pt x="21462" y="20927"/>
                    <a:pt x="21465" y="20945"/>
                  </a:cubicBezTo>
                  <a:cubicBezTo>
                    <a:pt x="21469" y="20964"/>
                    <a:pt x="21473" y="20990"/>
                    <a:pt x="21476" y="21003"/>
                  </a:cubicBezTo>
                  <a:cubicBezTo>
                    <a:pt x="21480" y="21016"/>
                    <a:pt x="21484" y="21048"/>
                    <a:pt x="21490" y="21074"/>
                  </a:cubicBezTo>
                  <a:cubicBezTo>
                    <a:pt x="21495" y="21100"/>
                    <a:pt x="21498" y="21130"/>
                    <a:pt x="21502" y="21137"/>
                  </a:cubicBezTo>
                  <a:cubicBezTo>
                    <a:pt x="21502" y="21146"/>
                    <a:pt x="21507" y="21164"/>
                    <a:pt x="21510" y="21178"/>
                  </a:cubicBezTo>
                  <a:cubicBezTo>
                    <a:pt x="21513" y="21191"/>
                    <a:pt x="21516" y="21214"/>
                    <a:pt x="21519" y="21228"/>
                  </a:cubicBezTo>
                  <a:cubicBezTo>
                    <a:pt x="21523" y="21242"/>
                    <a:pt x="21524" y="21259"/>
                    <a:pt x="21525" y="21265"/>
                  </a:cubicBezTo>
                  <a:cubicBezTo>
                    <a:pt x="21525" y="21271"/>
                    <a:pt x="21529" y="21285"/>
                    <a:pt x="21530" y="21295"/>
                  </a:cubicBezTo>
                  <a:cubicBezTo>
                    <a:pt x="21534" y="21304"/>
                    <a:pt x="21534" y="21320"/>
                    <a:pt x="21537" y="21328"/>
                  </a:cubicBezTo>
                  <a:cubicBezTo>
                    <a:pt x="21537" y="21337"/>
                    <a:pt x="21540" y="21354"/>
                    <a:pt x="21544" y="21367"/>
                  </a:cubicBezTo>
                  <a:cubicBezTo>
                    <a:pt x="21547" y="21380"/>
                    <a:pt x="21547" y="21392"/>
                    <a:pt x="21547" y="21392"/>
                  </a:cubicBezTo>
                  <a:cubicBezTo>
                    <a:pt x="21548" y="21392"/>
                    <a:pt x="21544" y="21388"/>
                    <a:pt x="21544" y="21382"/>
                  </a:cubicBezTo>
                  <a:cubicBezTo>
                    <a:pt x="21541" y="21377"/>
                    <a:pt x="21541" y="21374"/>
                    <a:pt x="21541" y="21378"/>
                  </a:cubicBezTo>
                  <a:cubicBezTo>
                    <a:pt x="21541" y="21381"/>
                    <a:pt x="21541" y="21389"/>
                    <a:pt x="21543" y="21394"/>
                  </a:cubicBezTo>
                  <a:cubicBezTo>
                    <a:pt x="21544" y="21400"/>
                    <a:pt x="21548" y="21416"/>
                    <a:pt x="21549" y="21430"/>
                  </a:cubicBezTo>
                  <a:cubicBezTo>
                    <a:pt x="21553" y="21443"/>
                    <a:pt x="21554" y="21459"/>
                    <a:pt x="21556" y="21464"/>
                  </a:cubicBezTo>
                  <a:cubicBezTo>
                    <a:pt x="21557" y="21469"/>
                    <a:pt x="21561" y="21480"/>
                    <a:pt x="21561" y="21489"/>
                  </a:cubicBezTo>
                  <a:cubicBezTo>
                    <a:pt x="21564" y="21497"/>
                    <a:pt x="21566" y="21511"/>
                    <a:pt x="21566" y="21518"/>
                  </a:cubicBezTo>
                  <a:cubicBezTo>
                    <a:pt x="21568" y="21523"/>
                    <a:pt x="21568" y="21527"/>
                    <a:pt x="21568" y="21530"/>
                  </a:cubicBezTo>
                  <a:cubicBezTo>
                    <a:pt x="21569" y="21535"/>
                    <a:pt x="21570" y="21541"/>
                    <a:pt x="21571" y="21546"/>
                  </a:cubicBezTo>
                  <a:cubicBezTo>
                    <a:pt x="21574" y="21562"/>
                    <a:pt x="21577" y="21575"/>
                    <a:pt x="21579" y="21584"/>
                  </a:cubicBezTo>
                  <a:cubicBezTo>
                    <a:pt x="21579" y="21586"/>
                    <a:pt x="21580" y="21590"/>
                    <a:pt x="21580" y="21590"/>
                  </a:cubicBezTo>
                  <a:cubicBezTo>
                    <a:pt x="21581" y="21592"/>
                    <a:pt x="21582" y="21596"/>
                    <a:pt x="21582" y="21598"/>
                  </a:cubicBezTo>
                  <a:cubicBezTo>
                    <a:pt x="21582" y="21599"/>
                    <a:pt x="21580" y="21582"/>
                    <a:pt x="21576" y="21561"/>
                  </a:cubicBezTo>
                  <a:cubicBezTo>
                    <a:pt x="21573" y="21539"/>
                    <a:pt x="21571" y="21522"/>
                    <a:pt x="21572" y="21522"/>
                  </a:cubicBezTo>
                  <a:cubicBezTo>
                    <a:pt x="21572" y="21523"/>
                    <a:pt x="21574" y="21529"/>
                    <a:pt x="21576" y="21535"/>
                  </a:cubicBezTo>
                  <a:cubicBezTo>
                    <a:pt x="21575" y="21530"/>
                    <a:pt x="21574" y="21521"/>
                    <a:pt x="21572" y="21509"/>
                  </a:cubicBezTo>
                  <a:cubicBezTo>
                    <a:pt x="21569" y="21485"/>
                    <a:pt x="21564" y="21461"/>
                    <a:pt x="21564" y="21457"/>
                  </a:cubicBezTo>
                  <a:cubicBezTo>
                    <a:pt x="21564" y="21452"/>
                    <a:pt x="21560" y="21425"/>
                    <a:pt x="21555" y="21398"/>
                  </a:cubicBezTo>
                  <a:cubicBezTo>
                    <a:pt x="21550" y="21371"/>
                    <a:pt x="21546" y="21342"/>
                    <a:pt x="21545" y="21334"/>
                  </a:cubicBezTo>
                  <a:cubicBezTo>
                    <a:pt x="21543" y="21326"/>
                    <a:pt x="21542" y="21307"/>
                    <a:pt x="21538" y="21294"/>
                  </a:cubicBezTo>
                  <a:cubicBezTo>
                    <a:pt x="21537" y="21280"/>
                    <a:pt x="21532" y="21263"/>
                    <a:pt x="21532" y="21255"/>
                  </a:cubicBezTo>
                  <a:cubicBezTo>
                    <a:pt x="21530" y="21249"/>
                    <a:pt x="21532" y="21254"/>
                    <a:pt x="21535" y="21268"/>
                  </a:cubicBezTo>
                  <a:cubicBezTo>
                    <a:pt x="21539" y="21281"/>
                    <a:pt x="21542" y="21289"/>
                    <a:pt x="21541" y="21285"/>
                  </a:cubicBezTo>
                  <a:cubicBezTo>
                    <a:pt x="21541" y="21281"/>
                    <a:pt x="21543" y="21285"/>
                    <a:pt x="21544" y="21294"/>
                  </a:cubicBezTo>
                  <a:cubicBezTo>
                    <a:pt x="21547" y="21303"/>
                    <a:pt x="21552" y="21333"/>
                    <a:pt x="21557" y="21361"/>
                  </a:cubicBezTo>
                  <a:cubicBezTo>
                    <a:pt x="21562" y="21388"/>
                    <a:pt x="21567" y="21419"/>
                    <a:pt x="21571" y="21430"/>
                  </a:cubicBezTo>
                  <a:cubicBezTo>
                    <a:pt x="21572" y="21442"/>
                    <a:pt x="21580" y="21467"/>
                    <a:pt x="21583" y="21487"/>
                  </a:cubicBezTo>
                  <a:cubicBezTo>
                    <a:pt x="21587" y="21506"/>
                    <a:pt x="21589" y="21517"/>
                    <a:pt x="21589" y="21510"/>
                  </a:cubicBezTo>
                  <a:cubicBezTo>
                    <a:pt x="21588" y="21503"/>
                    <a:pt x="21589" y="21507"/>
                    <a:pt x="21592" y="21519"/>
                  </a:cubicBezTo>
                  <a:cubicBezTo>
                    <a:pt x="21595" y="21530"/>
                    <a:pt x="21594" y="21528"/>
                    <a:pt x="21592" y="21514"/>
                  </a:cubicBezTo>
                  <a:cubicBezTo>
                    <a:pt x="21589" y="21500"/>
                    <a:pt x="21590" y="21489"/>
                    <a:pt x="21590" y="21490"/>
                  </a:cubicBezTo>
                  <a:cubicBezTo>
                    <a:pt x="21591" y="21490"/>
                    <a:pt x="21590" y="21484"/>
                    <a:pt x="21588" y="21474"/>
                  </a:cubicBezTo>
                  <a:cubicBezTo>
                    <a:pt x="21586" y="21465"/>
                    <a:pt x="21585" y="21458"/>
                    <a:pt x="21586" y="21460"/>
                  </a:cubicBezTo>
                  <a:cubicBezTo>
                    <a:pt x="21586" y="21462"/>
                    <a:pt x="21585" y="21449"/>
                    <a:pt x="21582" y="21432"/>
                  </a:cubicBezTo>
                  <a:cubicBezTo>
                    <a:pt x="21580" y="21415"/>
                    <a:pt x="21575" y="21381"/>
                    <a:pt x="21570" y="21355"/>
                  </a:cubicBezTo>
                  <a:cubicBezTo>
                    <a:pt x="21566" y="21330"/>
                    <a:pt x="21562" y="21302"/>
                    <a:pt x="21559" y="21294"/>
                  </a:cubicBezTo>
                  <a:cubicBezTo>
                    <a:pt x="21559" y="21285"/>
                    <a:pt x="21555" y="21274"/>
                    <a:pt x="21555" y="21270"/>
                  </a:cubicBezTo>
                  <a:cubicBezTo>
                    <a:pt x="21555" y="21266"/>
                    <a:pt x="21552" y="21248"/>
                    <a:pt x="21549" y="21231"/>
                  </a:cubicBezTo>
                  <a:cubicBezTo>
                    <a:pt x="21545" y="21213"/>
                    <a:pt x="21540" y="21185"/>
                    <a:pt x="21537" y="21168"/>
                  </a:cubicBezTo>
                  <a:cubicBezTo>
                    <a:pt x="21537" y="21167"/>
                    <a:pt x="21537" y="21167"/>
                    <a:pt x="21537" y="21166"/>
                  </a:cubicBezTo>
                  <a:cubicBezTo>
                    <a:pt x="21535" y="21161"/>
                    <a:pt x="21535" y="21158"/>
                    <a:pt x="21534" y="21154"/>
                  </a:cubicBezTo>
                  <a:cubicBezTo>
                    <a:pt x="21534" y="21152"/>
                    <a:pt x="21534" y="21151"/>
                    <a:pt x="21533" y="21149"/>
                  </a:cubicBezTo>
                  <a:cubicBezTo>
                    <a:pt x="21533" y="21145"/>
                    <a:pt x="21532" y="21141"/>
                    <a:pt x="21532" y="21136"/>
                  </a:cubicBezTo>
                  <a:cubicBezTo>
                    <a:pt x="21527" y="21116"/>
                    <a:pt x="21523" y="21085"/>
                    <a:pt x="21520" y="21070"/>
                  </a:cubicBezTo>
                  <a:cubicBezTo>
                    <a:pt x="21516" y="21054"/>
                    <a:pt x="21515" y="21041"/>
                    <a:pt x="21514" y="21041"/>
                  </a:cubicBezTo>
                  <a:cubicBezTo>
                    <a:pt x="21515" y="21041"/>
                    <a:pt x="21511" y="21020"/>
                    <a:pt x="21506" y="20997"/>
                  </a:cubicBezTo>
                  <a:cubicBezTo>
                    <a:pt x="21503" y="20974"/>
                    <a:pt x="21497" y="20952"/>
                    <a:pt x="21497" y="20947"/>
                  </a:cubicBezTo>
                  <a:cubicBezTo>
                    <a:pt x="21497" y="20943"/>
                    <a:pt x="21492" y="20928"/>
                    <a:pt x="21491" y="20913"/>
                  </a:cubicBezTo>
                  <a:cubicBezTo>
                    <a:pt x="21487" y="20898"/>
                    <a:pt x="21486" y="20878"/>
                    <a:pt x="21483" y="20869"/>
                  </a:cubicBezTo>
                  <a:cubicBezTo>
                    <a:pt x="21483" y="20861"/>
                    <a:pt x="21478" y="20848"/>
                    <a:pt x="21478" y="20842"/>
                  </a:cubicBezTo>
                  <a:cubicBezTo>
                    <a:pt x="21476" y="20835"/>
                    <a:pt x="21473" y="20824"/>
                    <a:pt x="21473" y="20817"/>
                  </a:cubicBezTo>
                  <a:cubicBezTo>
                    <a:pt x="21471" y="20810"/>
                    <a:pt x="21468" y="20791"/>
                    <a:pt x="21464" y="20774"/>
                  </a:cubicBezTo>
                  <a:cubicBezTo>
                    <a:pt x="21461" y="20758"/>
                    <a:pt x="21457" y="20742"/>
                    <a:pt x="21457" y="20739"/>
                  </a:cubicBezTo>
                  <a:cubicBezTo>
                    <a:pt x="21456" y="20736"/>
                    <a:pt x="21447" y="20685"/>
                    <a:pt x="21435" y="20626"/>
                  </a:cubicBezTo>
                  <a:cubicBezTo>
                    <a:pt x="21423" y="20567"/>
                    <a:pt x="21410" y="20506"/>
                    <a:pt x="21408" y="20490"/>
                  </a:cubicBezTo>
                  <a:cubicBezTo>
                    <a:pt x="21404" y="20474"/>
                    <a:pt x="21401" y="20450"/>
                    <a:pt x="21397" y="20438"/>
                  </a:cubicBezTo>
                  <a:cubicBezTo>
                    <a:pt x="21394" y="20425"/>
                    <a:pt x="21391" y="20407"/>
                    <a:pt x="21389" y="20397"/>
                  </a:cubicBezTo>
                  <a:cubicBezTo>
                    <a:pt x="21386" y="20388"/>
                    <a:pt x="21383" y="20366"/>
                    <a:pt x="21379" y="20350"/>
                  </a:cubicBezTo>
                  <a:cubicBezTo>
                    <a:pt x="21376" y="20334"/>
                    <a:pt x="21370" y="20307"/>
                    <a:pt x="21367" y="20290"/>
                  </a:cubicBezTo>
                  <a:cubicBezTo>
                    <a:pt x="21363" y="20273"/>
                    <a:pt x="21368" y="20245"/>
                    <a:pt x="21369" y="20229"/>
                  </a:cubicBezTo>
                  <a:cubicBezTo>
                    <a:pt x="21370" y="20213"/>
                    <a:pt x="21365" y="20199"/>
                    <a:pt x="21359" y="20196"/>
                  </a:cubicBezTo>
                  <a:cubicBezTo>
                    <a:pt x="21352" y="20194"/>
                    <a:pt x="21343" y="20176"/>
                    <a:pt x="21339" y="20156"/>
                  </a:cubicBezTo>
                  <a:cubicBezTo>
                    <a:pt x="21335" y="20135"/>
                    <a:pt x="21342" y="20106"/>
                    <a:pt x="21356" y="20089"/>
                  </a:cubicBezTo>
                  <a:cubicBezTo>
                    <a:pt x="21362" y="20082"/>
                    <a:pt x="21366" y="20070"/>
                    <a:pt x="21369" y="20057"/>
                  </a:cubicBezTo>
                  <a:cubicBezTo>
                    <a:pt x="21099" y="18841"/>
                    <a:pt x="20781" y="17649"/>
                    <a:pt x="20416" y="16483"/>
                  </a:cubicBezTo>
                  <a:cubicBezTo>
                    <a:pt x="20410" y="16491"/>
                    <a:pt x="20401" y="16497"/>
                    <a:pt x="20395" y="16497"/>
                  </a:cubicBezTo>
                  <a:cubicBezTo>
                    <a:pt x="20392" y="16497"/>
                    <a:pt x="20390" y="16494"/>
                    <a:pt x="20388" y="16490"/>
                  </a:cubicBezTo>
                  <a:cubicBezTo>
                    <a:pt x="20390" y="16497"/>
                    <a:pt x="20392" y="16503"/>
                    <a:pt x="20392" y="16508"/>
                  </a:cubicBezTo>
                  <a:cubicBezTo>
                    <a:pt x="20399" y="16524"/>
                    <a:pt x="20404" y="16546"/>
                    <a:pt x="20407" y="16556"/>
                  </a:cubicBezTo>
                  <a:cubicBezTo>
                    <a:pt x="20408" y="16558"/>
                    <a:pt x="20409" y="16561"/>
                    <a:pt x="20410" y="16564"/>
                  </a:cubicBezTo>
                  <a:cubicBezTo>
                    <a:pt x="20411" y="16566"/>
                    <a:pt x="20411" y="16568"/>
                    <a:pt x="20412" y="16571"/>
                  </a:cubicBezTo>
                  <a:cubicBezTo>
                    <a:pt x="20416" y="16584"/>
                    <a:pt x="20422" y="16602"/>
                    <a:pt x="20427" y="16620"/>
                  </a:cubicBezTo>
                  <a:cubicBezTo>
                    <a:pt x="20433" y="16646"/>
                    <a:pt x="20446" y="16679"/>
                    <a:pt x="20450" y="16697"/>
                  </a:cubicBezTo>
                  <a:cubicBezTo>
                    <a:pt x="20453" y="16706"/>
                    <a:pt x="20456" y="16715"/>
                    <a:pt x="20458" y="16722"/>
                  </a:cubicBezTo>
                  <a:cubicBezTo>
                    <a:pt x="20460" y="16729"/>
                    <a:pt x="20461" y="16733"/>
                    <a:pt x="20460" y="16732"/>
                  </a:cubicBezTo>
                  <a:cubicBezTo>
                    <a:pt x="20460" y="16731"/>
                    <a:pt x="20459" y="16727"/>
                    <a:pt x="20458" y="16722"/>
                  </a:cubicBezTo>
                  <a:cubicBezTo>
                    <a:pt x="20456" y="16717"/>
                    <a:pt x="20455" y="16712"/>
                    <a:pt x="20452" y="16705"/>
                  </a:cubicBezTo>
                  <a:cubicBezTo>
                    <a:pt x="20447" y="16688"/>
                    <a:pt x="20437" y="16661"/>
                    <a:pt x="20434" y="16644"/>
                  </a:cubicBezTo>
                  <a:cubicBezTo>
                    <a:pt x="20433" y="16642"/>
                    <a:pt x="20432" y="16640"/>
                    <a:pt x="20431" y="16637"/>
                  </a:cubicBezTo>
                  <a:cubicBezTo>
                    <a:pt x="20433" y="16642"/>
                    <a:pt x="20434" y="16648"/>
                    <a:pt x="20436" y="16652"/>
                  </a:cubicBezTo>
                  <a:cubicBezTo>
                    <a:pt x="20441" y="16671"/>
                    <a:pt x="20446" y="16690"/>
                    <a:pt x="20448" y="16694"/>
                  </a:cubicBezTo>
                  <a:cubicBezTo>
                    <a:pt x="20448" y="16698"/>
                    <a:pt x="20449" y="16696"/>
                    <a:pt x="20446" y="16690"/>
                  </a:cubicBezTo>
                  <a:cubicBezTo>
                    <a:pt x="20444" y="16684"/>
                    <a:pt x="20440" y="16674"/>
                    <a:pt x="20438" y="16666"/>
                  </a:cubicBezTo>
                  <a:cubicBezTo>
                    <a:pt x="20436" y="16658"/>
                    <a:pt x="20432" y="16646"/>
                    <a:pt x="20431" y="16640"/>
                  </a:cubicBezTo>
                  <a:cubicBezTo>
                    <a:pt x="20428" y="16634"/>
                    <a:pt x="20429" y="16630"/>
                    <a:pt x="20429" y="16633"/>
                  </a:cubicBezTo>
                  <a:cubicBezTo>
                    <a:pt x="20429" y="16636"/>
                    <a:pt x="20426" y="16621"/>
                    <a:pt x="20419" y="16601"/>
                  </a:cubicBezTo>
                  <a:cubicBezTo>
                    <a:pt x="20413" y="16581"/>
                    <a:pt x="20404" y="16558"/>
                    <a:pt x="20404" y="16549"/>
                  </a:cubicBezTo>
                  <a:cubicBezTo>
                    <a:pt x="20401" y="16541"/>
                    <a:pt x="20400" y="16530"/>
                    <a:pt x="20398" y="16528"/>
                  </a:cubicBezTo>
                  <a:cubicBezTo>
                    <a:pt x="20398" y="16524"/>
                    <a:pt x="20393" y="16516"/>
                    <a:pt x="20392" y="16508"/>
                  </a:cubicBezTo>
                  <a:cubicBezTo>
                    <a:pt x="20390" y="16501"/>
                    <a:pt x="20390" y="16500"/>
                    <a:pt x="20390" y="16504"/>
                  </a:cubicBezTo>
                  <a:cubicBezTo>
                    <a:pt x="20391" y="16506"/>
                    <a:pt x="20391" y="16507"/>
                    <a:pt x="20390" y="16504"/>
                  </a:cubicBezTo>
                  <a:cubicBezTo>
                    <a:pt x="20391" y="16507"/>
                    <a:pt x="20391" y="16506"/>
                    <a:pt x="20390" y="16504"/>
                  </a:cubicBezTo>
                  <a:cubicBezTo>
                    <a:pt x="20389" y="16502"/>
                    <a:pt x="20388" y="16499"/>
                    <a:pt x="20387" y="16495"/>
                  </a:cubicBezTo>
                  <a:cubicBezTo>
                    <a:pt x="20384" y="16485"/>
                    <a:pt x="20382" y="16478"/>
                    <a:pt x="20382" y="16478"/>
                  </a:cubicBezTo>
                  <a:cubicBezTo>
                    <a:pt x="20382" y="16478"/>
                    <a:pt x="20384" y="16488"/>
                    <a:pt x="20388" y="16499"/>
                  </a:cubicBezTo>
                  <a:cubicBezTo>
                    <a:pt x="20391" y="16510"/>
                    <a:pt x="20395" y="16522"/>
                    <a:pt x="20395" y="16525"/>
                  </a:cubicBezTo>
                  <a:cubicBezTo>
                    <a:pt x="20395" y="16528"/>
                    <a:pt x="20395" y="16528"/>
                    <a:pt x="20395" y="16526"/>
                  </a:cubicBezTo>
                  <a:cubicBezTo>
                    <a:pt x="20395" y="16525"/>
                    <a:pt x="20395" y="16526"/>
                    <a:pt x="20395" y="16526"/>
                  </a:cubicBezTo>
                  <a:cubicBezTo>
                    <a:pt x="20399" y="16537"/>
                    <a:pt x="20400" y="16542"/>
                    <a:pt x="20398" y="16536"/>
                  </a:cubicBezTo>
                  <a:cubicBezTo>
                    <a:pt x="20397" y="16530"/>
                    <a:pt x="20395" y="16527"/>
                    <a:pt x="20395" y="16526"/>
                  </a:cubicBezTo>
                  <a:cubicBezTo>
                    <a:pt x="20394" y="16522"/>
                    <a:pt x="20392" y="16518"/>
                    <a:pt x="20390" y="16512"/>
                  </a:cubicBezTo>
                  <a:cubicBezTo>
                    <a:pt x="20384" y="16491"/>
                    <a:pt x="20372" y="16460"/>
                    <a:pt x="20368" y="16443"/>
                  </a:cubicBezTo>
                  <a:cubicBezTo>
                    <a:pt x="20362" y="16427"/>
                    <a:pt x="20353" y="16394"/>
                    <a:pt x="20346" y="16370"/>
                  </a:cubicBezTo>
                  <a:cubicBezTo>
                    <a:pt x="20339" y="16347"/>
                    <a:pt x="20327" y="16306"/>
                    <a:pt x="20318" y="16280"/>
                  </a:cubicBezTo>
                  <a:cubicBezTo>
                    <a:pt x="20310" y="16254"/>
                    <a:pt x="20293" y="16203"/>
                    <a:pt x="20283" y="16168"/>
                  </a:cubicBezTo>
                  <a:cubicBezTo>
                    <a:pt x="20272" y="16133"/>
                    <a:pt x="20262" y="16103"/>
                    <a:pt x="20262" y="16102"/>
                  </a:cubicBezTo>
                  <a:cubicBezTo>
                    <a:pt x="20262" y="16100"/>
                    <a:pt x="20261" y="16096"/>
                    <a:pt x="20259" y="16092"/>
                  </a:cubicBezTo>
                  <a:cubicBezTo>
                    <a:pt x="20259" y="16088"/>
                    <a:pt x="20256" y="16089"/>
                    <a:pt x="20258" y="16092"/>
                  </a:cubicBezTo>
                  <a:cubicBezTo>
                    <a:pt x="20258" y="16096"/>
                    <a:pt x="20259" y="16098"/>
                    <a:pt x="20259" y="16098"/>
                  </a:cubicBezTo>
                  <a:cubicBezTo>
                    <a:pt x="20259" y="16098"/>
                    <a:pt x="20260" y="16103"/>
                    <a:pt x="20261" y="16110"/>
                  </a:cubicBezTo>
                  <a:cubicBezTo>
                    <a:pt x="20263" y="16116"/>
                    <a:pt x="20262" y="16116"/>
                    <a:pt x="20260" y="16110"/>
                  </a:cubicBezTo>
                  <a:cubicBezTo>
                    <a:pt x="20259" y="16104"/>
                    <a:pt x="20251" y="16088"/>
                    <a:pt x="20248" y="16073"/>
                  </a:cubicBezTo>
                  <a:cubicBezTo>
                    <a:pt x="20243" y="16058"/>
                    <a:pt x="20239" y="16047"/>
                    <a:pt x="20238" y="16047"/>
                  </a:cubicBezTo>
                  <a:cubicBezTo>
                    <a:pt x="20238" y="16047"/>
                    <a:pt x="20233" y="16036"/>
                    <a:pt x="20230" y="16023"/>
                  </a:cubicBezTo>
                  <a:cubicBezTo>
                    <a:pt x="20223" y="16011"/>
                    <a:pt x="20216" y="15987"/>
                    <a:pt x="20213" y="15971"/>
                  </a:cubicBezTo>
                  <a:cubicBezTo>
                    <a:pt x="20206" y="15956"/>
                    <a:pt x="20202" y="15934"/>
                    <a:pt x="20198" y="15925"/>
                  </a:cubicBezTo>
                  <a:cubicBezTo>
                    <a:pt x="20195" y="15915"/>
                    <a:pt x="20191" y="15896"/>
                    <a:pt x="20186" y="15884"/>
                  </a:cubicBezTo>
                  <a:cubicBezTo>
                    <a:pt x="20181" y="15871"/>
                    <a:pt x="20175" y="15846"/>
                    <a:pt x="20170" y="15831"/>
                  </a:cubicBezTo>
                  <a:cubicBezTo>
                    <a:pt x="20165" y="15815"/>
                    <a:pt x="20159" y="15793"/>
                    <a:pt x="20156" y="15783"/>
                  </a:cubicBezTo>
                  <a:cubicBezTo>
                    <a:pt x="20153" y="15773"/>
                    <a:pt x="20148" y="15755"/>
                    <a:pt x="20144" y="15745"/>
                  </a:cubicBezTo>
                  <a:cubicBezTo>
                    <a:pt x="20143" y="15734"/>
                    <a:pt x="20134" y="15707"/>
                    <a:pt x="20126" y="15686"/>
                  </a:cubicBezTo>
                  <a:cubicBezTo>
                    <a:pt x="20120" y="15663"/>
                    <a:pt x="20109" y="15638"/>
                    <a:pt x="20109" y="15628"/>
                  </a:cubicBezTo>
                  <a:cubicBezTo>
                    <a:pt x="20105" y="15620"/>
                    <a:pt x="20099" y="15598"/>
                    <a:pt x="20094" y="15580"/>
                  </a:cubicBezTo>
                  <a:cubicBezTo>
                    <a:pt x="20088" y="15564"/>
                    <a:pt x="20084" y="15549"/>
                    <a:pt x="20084" y="15549"/>
                  </a:cubicBezTo>
                  <a:cubicBezTo>
                    <a:pt x="20084" y="15549"/>
                    <a:pt x="20083" y="15543"/>
                    <a:pt x="20080" y="15535"/>
                  </a:cubicBezTo>
                  <a:cubicBezTo>
                    <a:pt x="20078" y="15528"/>
                    <a:pt x="20070" y="15510"/>
                    <a:pt x="20067" y="15495"/>
                  </a:cubicBezTo>
                  <a:cubicBezTo>
                    <a:pt x="20060" y="15480"/>
                    <a:pt x="20054" y="15456"/>
                    <a:pt x="20049" y="15441"/>
                  </a:cubicBezTo>
                  <a:cubicBezTo>
                    <a:pt x="20046" y="15427"/>
                    <a:pt x="20038" y="15406"/>
                    <a:pt x="20034" y="15395"/>
                  </a:cubicBezTo>
                  <a:cubicBezTo>
                    <a:pt x="20031" y="15384"/>
                    <a:pt x="20024" y="15361"/>
                    <a:pt x="20017" y="15344"/>
                  </a:cubicBezTo>
                  <a:cubicBezTo>
                    <a:pt x="20012" y="15326"/>
                    <a:pt x="20006" y="15307"/>
                    <a:pt x="20003" y="15301"/>
                  </a:cubicBezTo>
                  <a:cubicBezTo>
                    <a:pt x="20001" y="15295"/>
                    <a:pt x="19991" y="15270"/>
                    <a:pt x="19984" y="15245"/>
                  </a:cubicBezTo>
                  <a:cubicBezTo>
                    <a:pt x="19976" y="15220"/>
                    <a:pt x="19960" y="15177"/>
                    <a:pt x="19951" y="15147"/>
                  </a:cubicBezTo>
                  <a:cubicBezTo>
                    <a:pt x="19941" y="15118"/>
                    <a:pt x="19933" y="15096"/>
                    <a:pt x="19935" y="15098"/>
                  </a:cubicBezTo>
                  <a:cubicBezTo>
                    <a:pt x="19935" y="15100"/>
                    <a:pt x="19930" y="15082"/>
                    <a:pt x="19922" y="15060"/>
                  </a:cubicBezTo>
                  <a:cubicBezTo>
                    <a:pt x="19915" y="15036"/>
                    <a:pt x="19907" y="15017"/>
                    <a:pt x="19907" y="15015"/>
                  </a:cubicBezTo>
                  <a:cubicBezTo>
                    <a:pt x="19907" y="15014"/>
                    <a:pt x="19901" y="15000"/>
                    <a:pt x="19896" y="14984"/>
                  </a:cubicBezTo>
                  <a:cubicBezTo>
                    <a:pt x="19891" y="14969"/>
                    <a:pt x="19882" y="14944"/>
                    <a:pt x="19877" y="14930"/>
                  </a:cubicBezTo>
                  <a:cubicBezTo>
                    <a:pt x="19874" y="14921"/>
                    <a:pt x="19878" y="14905"/>
                    <a:pt x="19882" y="14889"/>
                  </a:cubicBezTo>
                  <a:cubicBezTo>
                    <a:pt x="18755" y="11728"/>
                    <a:pt x="17283" y="8777"/>
                    <a:pt x="15519" y="6100"/>
                  </a:cubicBezTo>
                  <a:cubicBezTo>
                    <a:pt x="15504" y="6081"/>
                    <a:pt x="15486" y="6053"/>
                    <a:pt x="15474" y="6034"/>
                  </a:cubicBezTo>
                  <a:cubicBezTo>
                    <a:pt x="15459" y="6013"/>
                    <a:pt x="15443" y="5986"/>
                    <a:pt x="15436" y="5977"/>
                  </a:cubicBezTo>
                  <a:cubicBezTo>
                    <a:pt x="15429" y="5967"/>
                    <a:pt x="15394" y="5914"/>
                    <a:pt x="15356" y="5859"/>
                  </a:cubicBezTo>
                  <a:cubicBezTo>
                    <a:pt x="15319" y="5804"/>
                    <a:pt x="15286" y="5754"/>
                    <a:pt x="15282" y="5750"/>
                  </a:cubicBezTo>
                  <a:cubicBezTo>
                    <a:pt x="15278" y="5745"/>
                    <a:pt x="15274" y="5741"/>
                    <a:pt x="15274" y="5742"/>
                  </a:cubicBezTo>
                  <a:cubicBezTo>
                    <a:pt x="15273" y="5742"/>
                    <a:pt x="15269" y="5736"/>
                    <a:pt x="15262" y="5729"/>
                  </a:cubicBezTo>
                  <a:cubicBezTo>
                    <a:pt x="15256" y="5722"/>
                    <a:pt x="15247" y="5707"/>
                    <a:pt x="15240" y="5697"/>
                  </a:cubicBezTo>
                  <a:cubicBezTo>
                    <a:pt x="15234" y="5688"/>
                    <a:pt x="15228" y="5676"/>
                    <a:pt x="15228" y="5671"/>
                  </a:cubicBezTo>
                  <a:cubicBezTo>
                    <a:pt x="15227" y="5668"/>
                    <a:pt x="15229" y="5669"/>
                    <a:pt x="15232" y="5671"/>
                  </a:cubicBezTo>
                  <a:cubicBezTo>
                    <a:pt x="15208" y="5635"/>
                    <a:pt x="15183" y="5600"/>
                    <a:pt x="15159" y="5564"/>
                  </a:cubicBezTo>
                  <a:cubicBezTo>
                    <a:pt x="15163" y="5570"/>
                    <a:pt x="15167" y="5575"/>
                    <a:pt x="15170" y="5581"/>
                  </a:cubicBezTo>
                  <a:cubicBezTo>
                    <a:pt x="15181" y="5598"/>
                    <a:pt x="15195" y="5620"/>
                    <a:pt x="15202" y="5629"/>
                  </a:cubicBezTo>
                  <a:cubicBezTo>
                    <a:pt x="15209" y="5638"/>
                    <a:pt x="15211" y="5647"/>
                    <a:pt x="15209" y="5647"/>
                  </a:cubicBezTo>
                  <a:cubicBezTo>
                    <a:pt x="15209" y="5645"/>
                    <a:pt x="15194" y="5631"/>
                    <a:pt x="15181" y="5612"/>
                  </a:cubicBezTo>
                  <a:cubicBezTo>
                    <a:pt x="15167" y="5593"/>
                    <a:pt x="15140" y="5554"/>
                    <a:pt x="15120" y="5526"/>
                  </a:cubicBezTo>
                  <a:cubicBezTo>
                    <a:pt x="15100" y="5499"/>
                    <a:pt x="15079" y="5465"/>
                    <a:pt x="15071" y="5455"/>
                  </a:cubicBezTo>
                  <a:cubicBezTo>
                    <a:pt x="15065" y="5444"/>
                    <a:pt x="15049" y="5421"/>
                    <a:pt x="15035" y="5406"/>
                  </a:cubicBezTo>
                  <a:cubicBezTo>
                    <a:pt x="15023" y="5388"/>
                    <a:pt x="15005" y="5364"/>
                    <a:pt x="14995" y="5351"/>
                  </a:cubicBezTo>
                  <a:cubicBezTo>
                    <a:pt x="14986" y="5337"/>
                    <a:pt x="14972" y="5315"/>
                    <a:pt x="14963" y="5303"/>
                  </a:cubicBezTo>
                  <a:cubicBezTo>
                    <a:pt x="14955" y="5290"/>
                    <a:pt x="14959" y="5293"/>
                    <a:pt x="14971" y="5310"/>
                  </a:cubicBezTo>
                  <a:cubicBezTo>
                    <a:pt x="14985" y="5326"/>
                    <a:pt x="15006" y="5356"/>
                    <a:pt x="15021" y="5375"/>
                  </a:cubicBezTo>
                  <a:cubicBezTo>
                    <a:pt x="15036" y="5394"/>
                    <a:pt x="15055" y="5422"/>
                    <a:pt x="15065" y="5435"/>
                  </a:cubicBezTo>
                  <a:cubicBezTo>
                    <a:pt x="15074" y="5450"/>
                    <a:pt x="15085" y="5463"/>
                    <a:pt x="15089" y="5467"/>
                  </a:cubicBezTo>
                  <a:cubicBezTo>
                    <a:pt x="15091" y="5470"/>
                    <a:pt x="15090" y="5466"/>
                    <a:pt x="15088" y="5459"/>
                  </a:cubicBezTo>
                  <a:cubicBezTo>
                    <a:pt x="15017" y="5357"/>
                    <a:pt x="14946" y="5255"/>
                    <a:pt x="14875" y="5153"/>
                  </a:cubicBezTo>
                  <a:cubicBezTo>
                    <a:pt x="14871" y="5149"/>
                    <a:pt x="14866" y="5143"/>
                    <a:pt x="14860" y="5135"/>
                  </a:cubicBezTo>
                  <a:cubicBezTo>
                    <a:pt x="14848" y="5123"/>
                    <a:pt x="14832" y="5098"/>
                    <a:pt x="14823" y="5083"/>
                  </a:cubicBezTo>
                  <a:cubicBezTo>
                    <a:pt x="14818" y="5076"/>
                    <a:pt x="14814" y="5068"/>
                    <a:pt x="14811" y="5062"/>
                  </a:cubicBezTo>
                  <a:cubicBezTo>
                    <a:pt x="14682" y="4879"/>
                    <a:pt x="14550" y="4696"/>
                    <a:pt x="14417" y="4515"/>
                  </a:cubicBezTo>
                  <a:cubicBezTo>
                    <a:pt x="14418" y="4516"/>
                    <a:pt x="14418" y="4517"/>
                    <a:pt x="14418" y="4519"/>
                  </a:cubicBezTo>
                  <a:cubicBezTo>
                    <a:pt x="14421" y="4523"/>
                    <a:pt x="14414" y="4514"/>
                    <a:pt x="14404" y="4499"/>
                  </a:cubicBezTo>
                  <a:cubicBezTo>
                    <a:pt x="14400" y="4493"/>
                    <a:pt x="14395" y="4487"/>
                    <a:pt x="14392" y="4480"/>
                  </a:cubicBezTo>
                  <a:cubicBezTo>
                    <a:pt x="14378" y="4462"/>
                    <a:pt x="14365" y="4444"/>
                    <a:pt x="14352" y="4426"/>
                  </a:cubicBezTo>
                  <a:cubicBezTo>
                    <a:pt x="14343" y="4417"/>
                    <a:pt x="14333" y="4408"/>
                    <a:pt x="14333" y="4406"/>
                  </a:cubicBezTo>
                  <a:close/>
                  <a:moveTo>
                    <a:pt x="14333" y="44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 name="AutoShape 90"/>
            <p:cNvSpPr>
              <a:spLocks/>
            </p:cNvSpPr>
            <p:nvPr/>
          </p:nvSpPr>
          <p:spPr bwMode="auto">
            <a:xfrm>
              <a:off x="9296400" y="1701800"/>
              <a:ext cx="9525" cy="7938"/>
            </a:xfrm>
            <a:custGeom>
              <a:avLst/>
              <a:gdLst/>
              <a:ahLst/>
              <a:cxnLst/>
              <a:rect l="0" t="0" r="r" b="b"/>
              <a:pathLst>
                <a:path w="21080" h="21174">
                  <a:moveTo>
                    <a:pt x="6025" y="1251"/>
                  </a:moveTo>
                  <a:cubicBezTo>
                    <a:pt x="4721" y="81"/>
                    <a:pt x="2975" y="-99"/>
                    <a:pt x="2453" y="41"/>
                  </a:cubicBezTo>
                  <a:cubicBezTo>
                    <a:pt x="1879" y="41"/>
                    <a:pt x="1879" y="1402"/>
                    <a:pt x="2269" y="2613"/>
                  </a:cubicBezTo>
                  <a:cubicBezTo>
                    <a:pt x="2608" y="3866"/>
                    <a:pt x="2138" y="4937"/>
                    <a:pt x="992" y="4937"/>
                  </a:cubicBezTo>
                  <a:cubicBezTo>
                    <a:pt x="-184" y="5102"/>
                    <a:pt x="-314" y="5854"/>
                    <a:pt x="599" y="6925"/>
                  </a:cubicBezTo>
                  <a:cubicBezTo>
                    <a:pt x="1486" y="8011"/>
                    <a:pt x="3129" y="9372"/>
                    <a:pt x="4251" y="9526"/>
                  </a:cubicBezTo>
                  <a:cubicBezTo>
                    <a:pt x="5296" y="9985"/>
                    <a:pt x="6757" y="10053"/>
                    <a:pt x="7435" y="9777"/>
                  </a:cubicBezTo>
                  <a:cubicBezTo>
                    <a:pt x="8218" y="9637"/>
                    <a:pt x="9785" y="10278"/>
                    <a:pt x="11034" y="11375"/>
                  </a:cubicBezTo>
                  <a:cubicBezTo>
                    <a:pt x="12314" y="12489"/>
                    <a:pt x="14870" y="15326"/>
                    <a:pt x="16801" y="17593"/>
                  </a:cubicBezTo>
                  <a:cubicBezTo>
                    <a:pt x="18549" y="20068"/>
                    <a:pt x="20608" y="21501"/>
                    <a:pt x="20973" y="21111"/>
                  </a:cubicBezTo>
                  <a:cubicBezTo>
                    <a:pt x="21286" y="20695"/>
                    <a:pt x="20896" y="19248"/>
                    <a:pt x="20035" y="17747"/>
                  </a:cubicBezTo>
                  <a:cubicBezTo>
                    <a:pt x="19173" y="16257"/>
                    <a:pt x="17453" y="14061"/>
                    <a:pt x="16096" y="12975"/>
                  </a:cubicBezTo>
                  <a:cubicBezTo>
                    <a:pt x="14870" y="11779"/>
                    <a:pt x="12522" y="9165"/>
                    <a:pt x="11244" y="6911"/>
                  </a:cubicBezTo>
                  <a:cubicBezTo>
                    <a:pt x="10070" y="4533"/>
                    <a:pt x="7540" y="2057"/>
                    <a:pt x="6025" y="1251"/>
                  </a:cubicBezTo>
                  <a:close/>
                  <a:moveTo>
                    <a:pt x="6025" y="12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 name="AutoShape 91"/>
            <p:cNvSpPr>
              <a:spLocks/>
            </p:cNvSpPr>
            <p:nvPr/>
          </p:nvSpPr>
          <p:spPr bwMode="auto">
            <a:xfrm>
              <a:off x="9461500" y="2032000"/>
              <a:ext cx="4763" cy="6350"/>
            </a:xfrm>
            <a:custGeom>
              <a:avLst/>
              <a:gdLst/>
              <a:ahLst/>
              <a:cxnLst/>
              <a:rect l="0" t="0" r="r" b="b"/>
              <a:pathLst>
                <a:path w="19812" h="20141">
                  <a:moveTo>
                    <a:pt x="14688" y="17976"/>
                  </a:moveTo>
                  <a:cubicBezTo>
                    <a:pt x="18863" y="20767"/>
                    <a:pt x="20715" y="20935"/>
                    <a:pt x="19389" y="18044"/>
                  </a:cubicBezTo>
                  <a:cubicBezTo>
                    <a:pt x="18629" y="15003"/>
                    <a:pt x="14071" y="10309"/>
                    <a:pt x="10842" y="7268"/>
                  </a:cubicBezTo>
                  <a:cubicBezTo>
                    <a:pt x="6946" y="4631"/>
                    <a:pt x="3290" y="922"/>
                    <a:pt x="1157" y="170"/>
                  </a:cubicBezTo>
                  <a:cubicBezTo>
                    <a:pt x="-885" y="-665"/>
                    <a:pt x="-128" y="1658"/>
                    <a:pt x="2673" y="5582"/>
                  </a:cubicBezTo>
                  <a:cubicBezTo>
                    <a:pt x="5522" y="9475"/>
                    <a:pt x="11172" y="14887"/>
                    <a:pt x="14688" y="17976"/>
                  </a:cubicBezTo>
                  <a:close/>
                  <a:moveTo>
                    <a:pt x="14688" y="179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 name="AutoShape 92"/>
            <p:cNvSpPr>
              <a:spLocks/>
            </p:cNvSpPr>
            <p:nvPr/>
          </p:nvSpPr>
          <p:spPr bwMode="auto">
            <a:xfrm>
              <a:off x="9207500" y="2006600"/>
              <a:ext cx="6350" cy="7938"/>
            </a:xfrm>
            <a:custGeom>
              <a:avLst/>
              <a:gdLst/>
              <a:ahLst/>
              <a:cxnLst/>
              <a:rect l="0" t="0" r="r" b="b"/>
              <a:pathLst>
                <a:path w="20643" h="20836">
                  <a:moveTo>
                    <a:pt x="1071" y="8528"/>
                  </a:moveTo>
                  <a:cubicBezTo>
                    <a:pt x="534" y="9606"/>
                    <a:pt x="1670" y="11960"/>
                    <a:pt x="3242" y="13611"/>
                  </a:cubicBezTo>
                  <a:cubicBezTo>
                    <a:pt x="4947" y="15137"/>
                    <a:pt x="8627" y="18090"/>
                    <a:pt x="11968" y="19589"/>
                  </a:cubicBezTo>
                  <a:cubicBezTo>
                    <a:pt x="15146" y="21143"/>
                    <a:pt x="18922" y="21324"/>
                    <a:pt x="19925" y="19673"/>
                  </a:cubicBezTo>
                  <a:cubicBezTo>
                    <a:pt x="20961" y="18064"/>
                    <a:pt x="20997" y="14730"/>
                    <a:pt x="19223" y="12296"/>
                  </a:cubicBezTo>
                  <a:cubicBezTo>
                    <a:pt x="17685" y="9732"/>
                    <a:pt x="14108" y="5687"/>
                    <a:pt x="11134" y="3502"/>
                  </a:cubicBezTo>
                  <a:cubicBezTo>
                    <a:pt x="8292" y="1123"/>
                    <a:pt x="4448" y="-276"/>
                    <a:pt x="2442" y="45"/>
                  </a:cubicBezTo>
                  <a:cubicBezTo>
                    <a:pt x="534" y="535"/>
                    <a:pt x="-603" y="2161"/>
                    <a:pt x="335" y="3643"/>
                  </a:cubicBezTo>
                  <a:cubicBezTo>
                    <a:pt x="835" y="5268"/>
                    <a:pt x="1537" y="7425"/>
                    <a:pt x="1071" y="8528"/>
                  </a:cubicBezTo>
                  <a:close/>
                  <a:moveTo>
                    <a:pt x="1071" y="85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 name="AutoShape 93"/>
            <p:cNvSpPr>
              <a:spLocks/>
            </p:cNvSpPr>
            <p:nvPr/>
          </p:nvSpPr>
          <p:spPr bwMode="auto">
            <a:xfrm>
              <a:off x="8382000" y="2349500"/>
              <a:ext cx="7938" cy="6350"/>
            </a:xfrm>
            <a:custGeom>
              <a:avLst/>
              <a:gdLst/>
              <a:ahLst/>
              <a:cxnLst/>
              <a:rect l="0" t="0" r="r" b="b"/>
              <a:pathLst>
                <a:path w="19661" h="19107">
                  <a:moveTo>
                    <a:pt x="7639" y="16035"/>
                  </a:moveTo>
                  <a:cubicBezTo>
                    <a:pt x="12945" y="19128"/>
                    <a:pt x="17869" y="20063"/>
                    <a:pt x="19414" y="18024"/>
                  </a:cubicBezTo>
                  <a:cubicBezTo>
                    <a:pt x="20659" y="15774"/>
                    <a:pt x="17057" y="10074"/>
                    <a:pt x="12051" y="4543"/>
                  </a:cubicBezTo>
                  <a:cubicBezTo>
                    <a:pt x="6692" y="-586"/>
                    <a:pt x="1416" y="-1537"/>
                    <a:pt x="250" y="2538"/>
                  </a:cubicBezTo>
                  <a:cubicBezTo>
                    <a:pt x="-941" y="6642"/>
                    <a:pt x="2226" y="13061"/>
                    <a:pt x="7639" y="16035"/>
                  </a:cubicBezTo>
                  <a:close/>
                  <a:moveTo>
                    <a:pt x="7639" y="1603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 name="AutoShape 94"/>
            <p:cNvSpPr>
              <a:spLocks/>
            </p:cNvSpPr>
            <p:nvPr/>
          </p:nvSpPr>
          <p:spPr bwMode="auto">
            <a:xfrm>
              <a:off x="8521700" y="2095500"/>
              <a:ext cx="12700" cy="14288"/>
            </a:xfrm>
            <a:custGeom>
              <a:avLst/>
              <a:gdLst/>
              <a:ahLst/>
              <a:cxnLst/>
              <a:rect l="0" t="0" r="r" b="b"/>
              <a:pathLst>
                <a:path w="21201" h="21186">
                  <a:moveTo>
                    <a:pt x="15280" y="8207"/>
                  </a:moveTo>
                  <a:cubicBezTo>
                    <a:pt x="16325" y="7561"/>
                    <a:pt x="16161" y="5621"/>
                    <a:pt x="15504" y="4114"/>
                  </a:cubicBezTo>
                  <a:cubicBezTo>
                    <a:pt x="14889" y="2623"/>
                    <a:pt x="12144" y="965"/>
                    <a:pt x="9787" y="252"/>
                  </a:cubicBezTo>
                  <a:cubicBezTo>
                    <a:pt x="7450" y="-286"/>
                    <a:pt x="4070" y="21"/>
                    <a:pt x="2369" y="1338"/>
                  </a:cubicBezTo>
                  <a:cubicBezTo>
                    <a:pt x="462" y="2424"/>
                    <a:pt x="-399" y="4951"/>
                    <a:pt x="176" y="6583"/>
                  </a:cubicBezTo>
                  <a:cubicBezTo>
                    <a:pt x="482" y="8232"/>
                    <a:pt x="3618" y="11099"/>
                    <a:pt x="6611" y="13145"/>
                  </a:cubicBezTo>
                  <a:cubicBezTo>
                    <a:pt x="9583" y="15200"/>
                    <a:pt x="12861" y="17769"/>
                    <a:pt x="14030" y="18821"/>
                  </a:cubicBezTo>
                  <a:cubicBezTo>
                    <a:pt x="15116" y="19923"/>
                    <a:pt x="17104" y="20825"/>
                    <a:pt x="18457" y="21166"/>
                  </a:cubicBezTo>
                  <a:cubicBezTo>
                    <a:pt x="19889" y="21314"/>
                    <a:pt x="20895" y="20603"/>
                    <a:pt x="21201" y="19583"/>
                  </a:cubicBezTo>
                  <a:cubicBezTo>
                    <a:pt x="21201" y="18540"/>
                    <a:pt x="19787" y="15763"/>
                    <a:pt x="17472" y="13668"/>
                  </a:cubicBezTo>
                  <a:cubicBezTo>
                    <a:pt x="15237" y="11562"/>
                    <a:pt x="14235" y="8911"/>
                    <a:pt x="15280" y="8207"/>
                  </a:cubicBezTo>
                  <a:close/>
                  <a:moveTo>
                    <a:pt x="15280" y="82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 name="AutoShape 95"/>
            <p:cNvSpPr>
              <a:spLocks/>
            </p:cNvSpPr>
            <p:nvPr/>
          </p:nvSpPr>
          <p:spPr bwMode="auto">
            <a:xfrm>
              <a:off x="8686800" y="2032000"/>
              <a:ext cx="7938" cy="6350"/>
            </a:xfrm>
            <a:custGeom>
              <a:avLst/>
              <a:gdLst/>
              <a:ahLst/>
              <a:cxnLst/>
              <a:rect l="0" t="0" r="r" b="b"/>
              <a:pathLst>
                <a:path w="20735" h="20868">
                  <a:moveTo>
                    <a:pt x="18101" y="20797"/>
                  </a:moveTo>
                  <a:cubicBezTo>
                    <a:pt x="20234" y="21273"/>
                    <a:pt x="21259" y="19309"/>
                    <a:pt x="20468" y="16936"/>
                  </a:cubicBezTo>
                  <a:cubicBezTo>
                    <a:pt x="19211" y="14825"/>
                    <a:pt x="16170" y="10032"/>
                    <a:pt x="13132" y="6496"/>
                  </a:cubicBezTo>
                  <a:cubicBezTo>
                    <a:pt x="10062" y="3058"/>
                    <a:pt x="5533" y="672"/>
                    <a:pt x="3314" y="48"/>
                  </a:cubicBezTo>
                  <a:cubicBezTo>
                    <a:pt x="1089" y="-327"/>
                    <a:pt x="-341" y="1553"/>
                    <a:pt x="70" y="3795"/>
                  </a:cubicBezTo>
                  <a:cubicBezTo>
                    <a:pt x="507" y="6054"/>
                    <a:pt x="3897" y="10719"/>
                    <a:pt x="7492" y="14121"/>
                  </a:cubicBezTo>
                  <a:cubicBezTo>
                    <a:pt x="11203" y="17492"/>
                    <a:pt x="15880" y="20666"/>
                    <a:pt x="18101" y="20797"/>
                  </a:cubicBezTo>
                  <a:close/>
                  <a:moveTo>
                    <a:pt x="18101" y="207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 name="AutoShape 96"/>
            <p:cNvSpPr>
              <a:spLocks/>
            </p:cNvSpPr>
            <p:nvPr/>
          </p:nvSpPr>
          <p:spPr bwMode="auto">
            <a:xfrm>
              <a:off x="10439400" y="3187700"/>
              <a:ext cx="0" cy="1588"/>
            </a:xfrm>
            <a:custGeom>
              <a:avLst/>
              <a:gdLst/>
              <a:ahLst/>
              <a:cxnLst/>
              <a:rect l="0" t="0" r="r" b="b"/>
              <a:pathLst>
                <a:path w="21600" h="21600">
                  <a:moveTo>
                    <a:pt x="18958" y="18620"/>
                  </a:moveTo>
                  <a:cubicBezTo>
                    <a:pt x="13235" y="13019"/>
                    <a:pt x="6631" y="6432"/>
                    <a:pt x="0" y="0"/>
                  </a:cubicBezTo>
                  <a:cubicBezTo>
                    <a:pt x="7952" y="7514"/>
                    <a:pt x="14969" y="15326"/>
                    <a:pt x="21600" y="21600"/>
                  </a:cubicBezTo>
                  <a:cubicBezTo>
                    <a:pt x="20252" y="20377"/>
                    <a:pt x="20692" y="20142"/>
                    <a:pt x="18958" y="18620"/>
                  </a:cubicBezTo>
                  <a:close/>
                  <a:moveTo>
                    <a:pt x="18958" y="186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 name="AutoShape 97"/>
            <p:cNvSpPr>
              <a:spLocks/>
            </p:cNvSpPr>
            <p:nvPr/>
          </p:nvSpPr>
          <p:spPr bwMode="auto">
            <a:xfrm>
              <a:off x="10439400" y="3225800"/>
              <a:ext cx="0" cy="3175"/>
            </a:xfrm>
            <a:custGeom>
              <a:avLst/>
              <a:gdLst/>
              <a:ahLst/>
              <a:cxnLst/>
              <a:rect l="0" t="0" r="r" b="b"/>
              <a:pathLst>
                <a:path w="18323" h="19028">
                  <a:moveTo>
                    <a:pt x="13230" y="13594"/>
                  </a:moveTo>
                  <a:cubicBezTo>
                    <a:pt x="14997" y="15236"/>
                    <a:pt x="16732" y="17153"/>
                    <a:pt x="18323" y="19028"/>
                  </a:cubicBezTo>
                  <a:cubicBezTo>
                    <a:pt x="16216" y="16315"/>
                    <a:pt x="13933" y="13525"/>
                    <a:pt x="11463" y="10880"/>
                  </a:cubicBezTo>
                  <a:cubicBezTo>
                    <a:pt x="10421" y="9671"/>
                    <a:pt x="9367" y="8626"/>
                    <a:pt x="8302" y="7658"/>
                  </a:cubicBezTo>
                  <a:cubicBezTo>
                    <a:pt x="6019" y="5171"/>
                    <a:pt x="3572" y="2594"/>
                    <a:pt x="1629" y="1214"/>
                  </a:cubicBezTo>
                  <a:cubicBezTo>
                    <a:pt x="-3277" y="-2572"/>
                    <a:pt x="3572" y="2760"/>
                    <a:pt x="13230" y="13594"/>
                  </a:cubicBezTo>
                  <a:close/>
                  <a:moveTo>
                    <a:pt x="13230" y="1359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 name="AutoShape 98"/>
            <p:cNvSpPr>
              <a:spLocks/>
            </p:cNvSpPr>
            <p:nvPr/>
          </p:nvSpPr>
          <p:spPr bwMode="auto">
            <a:xfrm>
              <a:off x="10439400" y="3200400"/>
              <a:ext cx="0" cy="0"/>
            </a:xfrm>
            <a:custGeom>
              <a:avLst/>
              <a:gdLst/>
              <a:ahLst/>
              <a:cxnLst/>
              <a:rect l="0" t="0" r="r" b="b"/>
              <a:pathLst>
                <a:path w="21600" h="16509">
                  <a:moveTo>
                    <a:pt x="21600" y="12325"/>
                  </a:moveTo>
                  <a:cubicBezTo>
                    <a:pt x="13684" y="9971"/>
                    <a:pt x="6873" y="4469"/>
                    <a:pt x="0" y="0"/>
                  </a:cubicBezTo>
                  <a:cubicBezTo>
                    <a:pt x="19636" y="14561"/>
                    <a:pt x="21600" y="21600"/>
                    <a:pt x="21600" y="12325"/>
                  </a:cubicBezTo>
                  <a:close/>
                  <a:moveTo>
                    <a:pt x="21600" y="123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 name="AutoShape 99"/>
            <p:cNvSpPr>
              <a:spLocks/>
            </p:cNvSpPr>
            <p:nvPr/>
          </p:nvSpPr>
          <p:spPr bwMode="auto">
            <a:xfrm>
              <a:off x="10439400" y="3200400"/>
              <a:ext cx="0" cy="3175"/>
            </a:xfrm>
            <a:custGeom>
              <a:avLst/>
              <a:gdLst/>
              <a:ahLst/>
              <a:cxnLst/>
              <a:rect l="0" t="0" r="r" b="b"/>
              <a:pathLst>
                <a:path w="21600" h="19697">
                  <a:moveTo>
                    <a:pt x="0" y="361"/>
                  </a:moveTo>
                  <a:cubicBezTo>
                    <a:pt x="5243" y="2015"/>
                    <a:pt x="10066" y="9354"/>
                    <a:pt x="16986" y="15439"/>
                  </a:cubicBezTo>
                  <a:cubicBezTo>
                    <a:pt x="18441" y="16824"/>
                    <a:pt x="20119" y="18243"/>
                    <a:pt x="21600" y="19697"/>
                  </a:cubicBezTo>
                  <a:cubicBezTo>
                    <a:pt x="9017" y="6716"/>
                    <a:pt x="0" y="-1903"/>
                    <a:pt x="0" y="361"/>
                  </a:cubicBezTo>
                  <a:close/>
                  <a:moveTo>
                    <a:pt x="0" y="3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 name="AutoShape 100"/>
            <p:cNvSpPr>
              <a:spLocks/>
            </p:cNvSpPr>
            <p:nvPr/>
          </p:nvSpPr>
          <p:spPr bwMode="auto">
            <a:xfrm>
              <a:off x="10439400" y="3213100"/>
              <a:ext cx="1588" cy="4763"/>
            </a:xfrm>
            <a:custGeom>
              <a:avLst/>
              <a:gdLst/>
              <a:ahLst/>
              <a:cxnLst/>
              <a:rect l="0" t="0" r="r" b="b"/>
              <a:pathLst>
                <a:path w="21600" h="21600">
                  <a:moveTo>
                    <a:pt x="8157" y="8458"/>
                  </a:moveTo>
                  <a:cubicBezTo>
                    <a:pt x="10097" y="10630"/>
                    <a:pt x="12805" y="14894"/>
                    <a:pt x="16952" y="17601"/>
                  </a:cubicBezTo>
                  <a:cubicBezTo>
                    <a:pt x="18504" y="18944"/>
                    <a:pt x="19919" y="20407"/>
                    <a:pt x="21600" y="21600"/>
                  </a:cubicBezTo>
                  <a:cubicBezTo>
                    <a:pt x="15917" y="15090"/>
                    <a:pt x="7114" y="6701"/>
                    <a:pt x="0" y="0"/>
                  </a:cubicBezTo>
                  <a:cubicBezTo>
                    <a:pt x="3234" y="3485"/>
                    <a:pt x="6596" y="6895"/>
                    <a:pt x="8157" y="8458"/>
                  </a:cubicBezTo>
                  <a:close/>
                  <a:moveTo>
                    <a:pt x="8157" y="84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 name="AutoShape 101"/>
            <p:cNvSpPr>
              <a:spLocks/>
            </p:cNvSpPr>
            <p:nvPr/>
          </p:nvSpPr>
          <p:spPr bwMode="auto">
            <a:xfrm>
              <a:off x="10566400" y="3683000"/>
              <a:ext cx="0" cy="0"/>
            </a:xfrm>
            <a:custGeom>
              <a:avLst/>
              <a:gdLst/>
              <a:ahLst/>
              <a:cxnLst/>
              <a:rect l="0" t="0" r="r" b="b"/>
              <a:pathLst>
                <a:path w="21600" h="16104">
                  <a:moveTo>
                    <a:pt x="21600" y="8812"/>
                  </a:moveTo>
                  <a:cubicBezTo>
                    <a:pt x="10715" y="5474"/>
                    <a:pt x="5272" y="3142"/>
                    <a:pt x="0" y="0"/>
                  </a:cubicBezTo>
                  <a:cubicBezTo>
                    <a:pt x="13266" y="16887"/>
                    <a:pt x="21600" y="21600"/>
                    <a:pt x="21600" y="8812"/>
                  </a:cubicBezTo>
                  <a:close/>
                  <a:moveTo>
                    <a:pt x="21600" y="88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 name="AutoShape 103"/>
            <p:cNvSpPr>
              <a:spLocks/>
            </p:cNvSpPr>
            <p:nvPr/>
          </p:nvSpPr>
          <p:spPr bwMode="auto">
            <a:xfrm>
              <a:off x="10566400" y="3644900"/>
              <a:ext cx="0" cy="1588"/>
            </a:xfrm>
            <a:custGeom>
              <a:avLst/>
              <a:gdLst/>
              <a:ahLst/>
              <a:cxnLst/>
              <a:rect l="0" t="0" r="r" b="b"/>
              <a:pathLst>
                <a:path w="20786" h="20592">
                  <a:moveTo>
                    <a:pt x="17667" y="19764"/>
                  </a:moveTo>
                  <a:cubicBezTo>
                    <a:pt x="19515" y="20833"/>
                    <a:pt x="20786" y="20904"/>
                    <a:pt x="20786" y="19764"/>
                  </a:cubicBezTo>
                  <a:cubicBezTo>
                    <a:pt x="20786" y="15199"/>
                    <a:pt x="457" y="6648"/>
                    <a:pt x="457" y="311"/>
                  </a:cubicBezTo>
                  <a:cubicBezTo>
                    <a:pt x="-814" y="-696"/>
                    <a:pt x="1034" y="1085"/>
                    <a:pt x="457" y="881"/>
                  </a:cubicBezTo>
                  <a:cubicBezTo>
                    <a:pt x="1650" y="3085"/>
                    <a:pt x="3537" y="4867"/>
                    <a:pt x="4769" y="6866"/>
                  </a:cubicBezTo>
                  <a:cubicBezTo>
                    <a:pt x="7849" y="10278"/>
                    <a:pt x="12161" y="14206"/>
                    <a:pt x="17667" y="19764"/>
                  </a:cubicBezTo>
                  <a:close/>
                  <a:moveTo>
                    <a:pt x="17667" y="197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 name="AutoShape 104"/>
            <p:cNvSpPr>
              <a:spLocks/>
            </p:cNvSpPr>
            <p:nvPr/>
          </p:nvSpPr>
          <p:spPr bwMode="auto">
            <a:xfrm>
              <a:off x="10439400" y="3225800"/>
              <a:ext cx="0" cy="1588"/>
            </a:xfrm>
            <a:custGeom>
              <a:avLst/>
              <a:gdLst/>
              <a:ahLst/>
              <a:cxnLst/>
              <a:rect l="0" t="0" r="r" b="b"/>
              <a:pathLst>
                <a:path w="21600" h="21600">
                  <a:moveTo>
                    <a:pt x="5372" y="5799"/>
                  </a:moveTo>
                  <a:cubicBezTo>
                    <a:pt x="10378" y="9713"/>
                    <a:pt x="16622" y="16189"/>
                    <a:pt x="21600" y="21600"/>
                  </a:cubicBezTo>
                  <a:cubicBezTo>
                    <a:pt x="14400" y="14155"/>
                    <a:pt x="7172" y="7078"/>
                    <a:pt x="0" y="0"/>
                  </a:cubicBezTo>
                  <a:cubicBezTo>
                    <a:pt x="1772" y="1960"/>
                    <a:pt x="4050" y="3994"/>
                    <a:pt x="5372" y="5799"/>
                  </a:cubicBezTo>
                  <a:close/>
                  <a:moveTo>
                    <a:pt x="5372" y="57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 name="AutoShape 105"/>
            <p:cNvSpPr>
              <a:spLocks/>
            </p:cNvSpPr>
            <p:nvPr/>
          </p:nvSpPr>
          <p:spPr bwMode="auto">
            <a:xfrm>
              <a:off x="10426700" y="3187700"/>
              <a:ext cx="0" cy="0"/>
            </a:xfrm>
            <a:custGeom>
              <a:avLst/>
              <a:gdLst/>
              <a:ahLst/>
              <a:cxnLst/>
              <a:rect l="0" t="0" r="r" b="b"/>
              <a:pathLst>
                <a:path w="21600" h="21600">
                  <a:moveTo>
                    <a:pt x="12075" y="11018"/>
                  </a:moveTo>
                  <a:cubicBezTo>
                    <a:pt x="7275" y="7418"/>
                    <a:pt x="3675" y="3818"/>
                    <a:pt x="0" y="0"/>
                  </a:cubicBezTo>
                  <a:cubicBezTo>
                    <a:pt x="7275" y="7200"/>
                    <a:pt x="15600" y="14400"/>
                    <a:pt x="21600" y="21600"/>
                  </a:cubicBezTo>
                  <a:cubicBezTo>
                    <a:pt x="19275" y="18000"/>
                    <a:pt x="15600" y="14618"/>
                    <a:pt x="12075" y="11018"/>
                  </a:cubicBezTo>
                  <a:close/>
                  <a:moveTo>
                    <a:pt x="12075" y="110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 name="AutoShape 106"/>
            <p:cNvSpPr>
              <a:spLocks/>
            </p:cNvSpPr>
            <p:nvPr/>
          </p:nvSpPr>
          <p:spPr bwMode="auto">
            <a:xfrm>
              <a:off x="9448800" y="2006600"/>
              <a:ext cx="12700" cy="22225"/>
            </a:xfrm>
            <a:custGeom>
              <a:avLst/>
              <a:gdLst/>
              <a:ahLst/>
              <a:cxnLst/>
              <a:rect l="0" t="0" r="r" b="b"/>
              <a:pathLst>
                <a:path w="20909" h="21212">
                  <a:moveTo>
                    <a:pt x="8836" y="10078"/>
                  </a:moveTo>
                  <a:cubicBezTo>
                    <a:pt x="10815" y="11647"/>
                    <a:pt x="13686" y="14391"/>
                    <a:pt x="14788" y="16299"/>
                  </a:cubicBezTo>
                  <a:cubicBezTo>
                    <a:pt x="16205" y="18122"/>
                    <a:pt x="17959" y="20152"/>
                    <a:pt x="18853" y="20797"/>
                  </a:cubicBezTo>
                  <a:cubicBezTo>
                    <a:pt x="19655" y="21460"/>
                    <a:pt x="20887" y="21294"/>
                    <a:pt x="20887" y="20549"/>
                  </a:cubicBezTo>
                  <a:cubicBezTo>
                    <a:pt x="21166" y="19817"/>
                    <a:pt x="18761" y="16439"/>
                    <a:pt x="15664" y="13088"/>
                  </a:cubicBezTo>
                  <a:cubicBezTo>
                    <a:pt x="12417" y="9796"/>
                    <a:pt x="7979" y="5558"/>
                    <a:pt x="5684" y="3638"/>
                  </a:cubicBezTo>
                  <a:cubicBezTo>
                    <a:pt x="3258" y="1804"/>
                    <a:pt x="816" y="103"/>
                    <a:pt x="200" y="10"/>
                  </a:cubicBezTo>
                  <a:cubicBezTo>
                    <a:pt x="-434" y="-140"/>
                    <a:pt x="499" y="1394"/>
                    <a:pt x="2178" y="3470"/>
                  </a:cubicBezTo>
                  <a:cubicBezTo>
                    <a:pt x="3875" y="5552"/>
                    <a:pt x="6914" y="8510"/>
                    <a:pt x="8836" y="10078"/>
                  </a:cubicBezTo>
                  <a:close/>
                  <a:moveTo>
                    <a:pt x="8836" y="100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 name="AutoShape 107"/>
            <p:cNvSpPr>
              <a:spLocks/>
            </p:cNvSpPr>
            <p:nvPr/>
          </p:nvSpPr>
          <p:spPr bwMode="auto">
            <a:xfrm>
              <a:off x="10439400" y="3200400"/>
              <a:ext cx="1588" cy="4763"/>
            </a:xfrm>
            <a:custGeom>
              <a:avLst/>
              <a:gdLst/>
              <a:ahLst/>
              <a:cxnLst/>
              <a:rect l="0" t="0" r="r" b="b"/>
              <a:pathLst>
                <a:path w="20828" h="21089">
                  <a:moveTo>
                    <a:pt x="10728" y="11186"/>
                  </a:moveTo>
                  <a:cubicBezTo>
                    <a:pt x="12902" y="14026"/>
                    <a:pt x="16816" y="17693"/>
                    <a:pt x="18701" y="19423"/>
                  </a:cubicBezTo>
                  <a:cubicBezTo>
                    <a:pt x="20721" y="21202"/>
                    <a:pt x="21600" y="21600"/>
                    <a:pt x="20005" y="20403"/>
                  </a:cubicBezTo>
                  <a:cubicBezTo>
                    <a:pt x="20005" y="19129"/>
                    <a:pt x="16961" y="15593"/>
                    <a:pt x="12748" y="12856"/>
                  </a:cubicBezTo>
                  <a:cubicBezTo>
                    <a:pt x="12748" y="9750"/>
                    <a:pt x="5355" y="4570"/>
                    <a:pt x="1160" y="1142"/>
                  </a:cubicBezTo>
                  <a:cubicBezTo>
                    <a:pt x="580" y="637"/>
                    <a:pt x="580" y="452"/>
                    <a:pt x="0" y="0"/>
                  </a:cubicBezTo>
                  <a:cubicBezTo>
                    <a:pt x="725" y="772"/>
                    <a:pt x="1450" y="1539"/>
                    <a:pt x="2039" y="2285"/>
                  </a:cubicBezTo>
                  <a:cubicBezTo>
                    <a:pt x="4050" y="4412"/>
                    <a:pt x="8544" y="8340"/>
                    <a:pt x="10728" y="11186"/>
                  </a:cubicBezTo>
                  <a:close/>
                  <a:moveTo>
                    <a:pt x="10728" y="111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 name="AutoShape 108"/>
            <p:cNvSpPr>
              <a:spLocks/>
            </p:cNvSpPr>
            <p:nvPr/>
          </p:nvSpPr>
          <p:spPr bwMode="auto">
            <a:xfrm>
              <a:off x="8432800" y="1295400"/>
              <a:ext cx="11113" cy="3175"/>
            </a:xfrm>
            <a:custGeom>
              <a:avLst/>
              <a:gdLst/>
              <a:ahLst/>
              <a:cxnLst/>
              <a:rect l="0" t="0" r="r" b="b"/>
              <a:pathLst>
                <a:path w="20922" h="19739">
                  <a:moveTo>
                    <a:pt x="1479" y="874"/>
                  </a:moveTo>
                  <a:cubicBezTo>
                    <a:pt x="-678" y="-1555"/>
                    <a:pt x="-508" y="1451"/>
                    <a:pt x="2205" y="5344"/>
                  </a:cubicBezTo>
                  <a:cubicBezTo>
                    <a:pt x="4896" y="9479"/>
                    <a:pt x="8765" y="14858"/>
                    <a:pt x="10901" y="16514"/>
                  </a:cubicBezTo>
                  <a:cubicBezTo>
                    <a:pt x="13015" y="18474"/>
                    <a:pt x="16199" y="20045"/>
                    <a:pt x="17995" y="19689"/>
                  </a:cubicBezTo>
                  <a:cubicBezTo>
                    <a:pt x="19767" y="19604"/>
                    <a:pt x="20922" y="17728"/>
                    <a:pt x="20922" y="15740"/>
                  </a:cubicBezTo>
                  <a:cubicBezTo>
                    <a:pt x="20922" y="13757"/>
                    <a:pt x="19211" y="9479"/>
                    <a:pt x="17310" y="6858"/>
                  </a:cubicBezTo>
                  <a:cubicBezTo>
                    <a:pt x="15452" y="4072"/>
                    <a:pt x="12803" y="1202"/>
                    <a:pt x="11307" y="541"/>
                  </a:cubicBezTo>
                  <a:cubicBezTo>
                    <a:pt x="9832" y="180"/>
                    <a:pt x="7994" y="874"/>
                    <a:pt x="7141" y="1784"/>
                  </a:cubicBezTo>
                  <a:cubicBezTo>
                    <a:pt x="6352" y="3191"/>
                    <a:pt x="3806" y="2168"/>
                    <a:pt x="1479" y="874"/>
                  </a:cubicBezTo>
                  <a:close/>
                  <a:moveTo>
                    <a:pt x="1479" y="8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 name="AutoShape 109"/>
            <p:cNvSpPr>
              <a:spLocks/>
            </p:cNvSpPr>
            <p:nvPr/>
          </p:nvSpPr>
          <p:spPr bwMode="auto">
            <a:xfrm>
              <a:off x="10439400" y="3200400"/>
              <a:ext cx="3175" cy="7938"/>
            </a:xfrm>
            <a:custGeom>
              <a:avLst/>
              <a:gdLst/>
              <a:ahLst/>
              <a:cxnLst/>
              <a:rect l="0" t="0" r="r" b="b"/>
              <a:pathLst>
                <a:path w="20911" h="20928">
                  <a:moveTo>
                    <a:pt x="10676" y="10933"/>
                  </a:moveTo>
                  <a:cubicBezTo>
                    <a:pt x="13188" y="13083"/>
                    <a:pt x="16828" y="16784"/>
                    <a:pt x="19254" y="19075"/>
                  </a:cubicBezTo>
                  <a:cubicBezTo>
                    <a:pt x="21600" y="21363"/>
                    <a:pt x="21110" y="21600"/>
                    <a:pt x="19902" y="19409"/>
                  </a:cubicBezTo>
                  <a:cubicBezTo>
                    <a:pt x="17475" y="17313"/>
                    <a:pt x="16424" y="15666"/>
                    <a:pt x="16424" y="15835"/>
                  </a:cubicBezTo>
                  <a:cubicBezTo>
                    <a:pt x="16904" y="15835"/>
                    <a:pt x="15453" y="14451"/>
                    <a:pt x="13188" y="12526"/>
                  </a:cubicBezTo>
                  <a:cubicBezTo>
                    <a:pt x="10924" y="10627"/>
                    <a:pt x="9625" y="7973"/>
                    <a:pt x="7603" y="7107"/>
                  </a:cubicBezTo>
                  <a:cubicBezTo>
                    <a:pt x="7603" y="5991"/>
                    <a:pt x="5020" y="3841"/>
                    <a:pt x="2750" y="2486"/>
                  </a:cubicBezTo>
                  <a:cubicBezTo>
                    <a:pt x="1946" y="1564"/>
                    <a:pt x="814" y="712"/>
                    <a:pt x="0" y="0"/>
                  </a:cubicBezTo>
                  <a:cubicBezTo>
                    <a:pt x="490" y="655"/>
                    <a:pt x="1137" y="1424"/>
                    <a:pt x="2103" y="2457"/>
                  </a:cubicBezTo>
                  <a:cubicBezTo>
                    <a:pt x="4448" y="4927"/>
                    <a:pt x="8174" y="8768"/>
                    <a:pt x="10676" y="10933"/>
                  </a:cubicBezTo>
                  <a:close/>
                  <a:moveTo>
                    <a:pt x="10676" y="1093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 name="AutoShape 110"/>
            <p:cNvSpPr>
              <a:spLocks/>
            </p:cNvSpPr>
            <p:nvPr/>
          </p:nvSpPr>
          <p:spPr bwMode="auto">
            <a:xfrm>
              <a:off x="10439400" y="3213100"/>
              <a:ext cx="0" cy="0"/>
            </a:xfrm>
            <a:custGeom>
              <a:avLst/>
              <a:gdLst/>
              <a:ahLst/>
              <a:cxnLst/>
              <a:rect l="0" t="0" r="r" b="b"/>
              <a:pathLst>
                <a:path w="21600" h="21600">
                  <a:moveTo>
                    <a:pt x="0" y="0"/>
                  </a:moveTo>
                  <a:cubicBezTo>
                    <a:pt x="11148" y="7312"/>
                    <a:pt x="11148" y="14288"/>
                    <a:pt x="21600" y="21600"/>
                  </a:cubicBezTo>
                  <a:lnTo>
                    <a:pt x="11148" y="12447"/>
                  </a:lnTo>
                  <a:cubicBezTo>
                    <a:pt x="11148" y="7312"/>
                    <a:pt x="11148" y="5470"/>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 name="AutoShape 111"/>
            <p:cNvSpPr>
              <a:spLocks/>
            </p:cNvSpPr>
            <p:nvPr/>
          </p:nvSpPr>
          <p:spPr bwMode="auto">
            <a:xfrm>
              <a:off x="10439400" y="3200400"/>
              <a:ext cx="0" cy="0"/>
            </a:xfrm>
            <a:custGeom>
              <a:avLst/>
              <a:gdLst/>
              <a:ahLst/>
              <a:cxnLst/>
              <a:rect l="0" t="0" r="r" b="b"/>
              <a:pathLst>
                <a:path w="21600" h="18307">
                  <a:moveTo>
                    <a:pt x="0" y="1255"/>
                  </a:moveTo>
                  <a:cubicBezTo>
                    <a:pt x="0" y="4402"/>
                    <a:pt x="10848" y="11462"/>
                    <a:pt x="21600" y="18307"/>
                  </a:cubicBezTo>
                  <a:cubicBezTo>
                    <a:pt x="7652" y="4999"/>
                    <a:pt x="0" y="-3293"/>
                    <a:pt x="0" y="1255"/>
                  </a:cubicBezTo>
                  <a:close/>
                  <a:moveTo>
                    <a:pt x="0" y="12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 name="AutoShape 112"/>
            <p:cNvSpPr>
              <a:spLocks/>
            </p:cNvSpPr>
            <p:nvPr/>
          </p:nvSpPr>
          <p:spPr bwMode="auto">
            <a:xfrm>
              <a:off x="8356600" y="1219200"/>
              <a:ext cx="23813" cy="7938"/>
            </a:xfrm>
            <a:custGeom>
              <a:avLst/>
              <a:gdLst/>
              <a:ahLst/>
              <a:cxnLst/>
              <a:rect l="0" t="0" r="r" b="b"/>
              <a:pathLst>
                <a:path w="21378" h="20930">
                  <a:moveTo>
                    <a:pt x="5240" y="9628"/>
                  </a:moveTo>
                  <a:cubicBezTo>
                    <a:pt x="6080" y="11337"/>
                    <a:pt x="7759" y="13716"/>
                    <a:pt x="8743" y="15732"/>
                  </a:cubicBezTo>
                  <a:cubicBezTo>
                    <a:pt x="9849" y="17271"/>
                    <a:pt x="11607" y="18642"/>
                    <a:pt x="12668" y="18252"/>
                  </a:cubicBezTo>
                  <a:cubicBezTo>
                    <a:pt x="13729" y="17859"/>
                    <a:pt x="15697" y="18490"/>
                    <a:pt x="17001" y="19525"/>
                  </a:cubicBezTo>
                  <a:cubicBezTo>
                    <a:pt x="18306" y="20560"/>
                    <a:pt x="19886" y="21400"/>
                    <a:pt x="19886" y="20632"/>
                  </a:cubicBezTo>
                  <a:cubicBezTo>
                    <a:pt x="20152" y="20282"/>
                    <a:pt x="20716" y="19777"/>
                    <a:pt x="21158" y="19875"/>
                  </a:cubicBezTo>
                  <a:cubicBezTo>
                    <a:pt x="21600" y="19734"/>
                    <a:pt x="21334" y="18995"/>
                    <a:pt x="20738" y="17607"/>
                  </a:cubicBezTo>
                  <a:cubicBezTo>
                    <a:pt x="20086" y="16291"/>
                    <a:pt x="18715" y="14037"/>
                    <a:pt x="18029" y="11686"/>
                  </a:cubicBezTo>
                  <a:cubicBezTo>
                    <a:pt x="17156" y="9852"/>
                    <a:pt x="15664" y="6927"/>
                    <a:pt x="14602" y="5583"/>
                  </a:cubicBezTo>
                  <a:cubicBezTo>
                    <a:pt x="13519" y="4209"/>
                    <a:pt x="12016" y="3315"/>
                    <a:pt x="11264" y="3258"/>
                  </a:cubicBezTo>
                  <a:cubicBezTo>
                    <a:pt x="10501" y="3398"/>
                    <a:pt x="8457" y="2713"/>
                    <a:pt x="6743" y="1815"/>
                  </a:cubicBezTo>
                  <a:cubicBezTo>
                    <a:pt x="5008" y="1076"/>
                    <a:pt x="2719" y="95"/>
                    <a:pt x="1669" y="95"/>
                  </a:cubicBezTo>
                  <a:cubicBezTo>
                    <a:pt x="608" y="-200"/>
                    <a:pt x="0" y="222"/>
                    <a:pt x="0" y="935"/>
                  </a:cubicBezTo>
                  <a:cubicBezTo>
                    <a:pt x="232" y="1299"/>
                    <a:pt x="1016" y="3189"/>
                    <a:pt x="1990" y="4281"/>
                  </a:cubicBezTo>
                  <a:cubicBezTo>
                    <a:pt x="2896" y="5763"/>
                    <a:pt x="4355" y="8143"/>
                    <a:pt x="5240" y="9628"/>
                  </a:cubicBezTo>
                  <a:close/>
                  <a:moveTo>
                    <a:pt x="5240" y="96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 name="AutoShape 113"/>
            <p:cNvSpPr>
              <a:spLocks/>
            </p:cNvSpPr>
            <p:nvPr/>
          </p:nvSpPr>
          <p:spPr bwMode="auto">
            <a:xfrm>
              <a:off x="8356600" y="1257300"/>
              <a:ext cx="73025" cy="31750"/>
            </a:xfrm>
            <a:custGeom>
              <a:avLst/>
              <a:gdLst/>
              <a:ahLst/>
              <a:cxnLst/>
              <a:rect l="0" t="0" r="r" b="b"/>
              <a:pathLst>
                <a:path w="21425" h="21398">
                  <a:moveTo>
                    <a:pt x="507" y="2038"/>
                  </a:moveTo>
                  <a:cubicBezTo>
                    <a:pt x="507" y="2228"/>
                    <a:pt x="804" y="2760"/>
                    <a:pt x="1180" y="3131"/>
                  </a:cubicBezTo>
                  <a:cubicBezTo>
                    <a:pt x="1559" y="3550"/>
                    <a:pt x="2500" y="4373"/>
                    <a:pt x="3241" y="5155"/>
                  </a:cubicBezTo>
                  <a:cubicBezTo>
                    <a:pt x="4011" y="5745"/>
                    <a:pt x="4742" y="6219"/>
                    <a:pt x="4926" y="6077"/>
                  </a:cubicBezTo>
                  <a:cubicBezTo>
                    <a:pt x="5089" y="5861"/>
                    <a:pt x="5418" y="5795"/>
                    <a:pt x="5638" y="5923"/>
                  </a:cubicBezTo>
                  <a:cubicBezTo>
                    <a:pt x="5852" y="6011"/>
                    <a:pt x="6412" y="6689"/>
                    <a:pt x="6912" y="7261"/>
                  </a:cubicBezTo>
                  <a:cubicBezTo>
                    <a:pt x="7389" y="7947"/>
                    <a:pt x="8061" y="8862"/>
                    <a:pt x="8362" y="9469"/>
                  </a:cubicBezTo>
                  <a:cubicBezTo>
                    <a:pt x="8673" y="10047"/>
                    <a:pt x="9139" y="10762"/>
                    <a:pt x="9414" y="10870"/>
                  </a:cubicBezTo>
                  <a:cubicBezTo>
                    <a:pt x="9689" y="10998"/>
                    <a:pt x="10094" y="11248"/>
                    <a:pt x="10329" y="11310"/>
                  </a:cubicBezTo>
                  <a:cubicBezTo>
                    <a:pt x="10560" y="11331"/>
                    <a:pt x="11099" y="11983"/>
                    <a:pt x="11497" y="12769"/>
                  </a:cubicBezTo>
                  <a:cubicBezTo>
                    <a:pt x="11920" y="13496"/>
                    <a:pt x="12741" y="14673"/>
                    <a:pt x="13377" y="15100"/>
                  </a:cubicBezTo>
                  <a:cubicBezTo>
                    <a:pt x="13992" y="15616"/>
                    <a:pt x="14936" y="16219"/>
                    <a:pt x="15464" y="16522"/>
                  </a:cubicBezTo>
                  <a:cubicBezTo>
                    <a:pt x="15999" y="16693"/>
                    <a:pt x="17008" y="17540"/>
                    <a:pt x="17717" y="18292"/>
                  </a:cubicBezTo>
                  <a:cubicBezTo>
                    <a:pt x="18437" y="18941"/>
                    <a:pt x="19431" y="19955"/>
                    <a:pt x="19941" y="20491"/>
                  </a:cubicBezTo>
                  <a:cubicBezTo>
                    <a:pt x="20462" y="20973"/>
                    <a:pt x="21037" y="21384"/>
                    <a:pt x="21225" y="21397"/>
                  </a:cubicBezTo>
                  <a:cubicBezTo>
                    <a:pt x="21416" y="21410"/>
                    <a:pt x="21456" y="20890"/>
                    <a:pt x="21406" y="20179"/>
                  </a:cubicBezTo>
                  <a:cubicBezTo>
                    <a:pt x="21341" y="19473"/>
                    <a:pt x="20863" y="18342"/>
                    <a:pt x="20393" y="17594"/>
                  </a:cubicBezTo>
                  <a:cubicBezTo>
                    <a:pt x="19923" y="16850"/>
                    <a:pt x="19203" y="16002"/>
                    <a:pt x="18784" y="15744"/>
                  </a:cubicBezTo>
                  <a:cubicBezTo>
                    <a:pt x="18371" y="15466"/>
                    <a:pt x="17352" y="14639"/>
                    <a:pt x="16538" y="13857"/>
                  </a:cubicBezTo>
                  <a:cubicBezTo>
                    <a:pt x="15706" y="13172"/>
                    <a:pt x="14310" y="11555"/>
                    <a:pt x="13396" y="10470"/>
                  </a:cubicBezTo>
                  <a:cubicBezTo>
                    <a:pt x="12491" y="9340"/>
                    <a:pt x="11530" y="8413"/>
                    <a:pt x="11287" y="8155"/>
                  </a:cubicBezTo>
                  <a:cubicBezTo>
                    <a:pt x="11034" y="7993"/>
                    <a:pt x="10535" y="7486"/>
                    <a:pt x="10174" y="7029"/>
                  </a:cubicBezTo>
                  <a:cubicBezTo>
                    <a:pt x="9808" y="6622"/>
                    <a:pt x="9023" y="5911"/>
                    <a:pt x="8412" y="5541"/>
                  </a:cubicBezTo>
                  <a:cubicBezTo>
                    <a:pt x="7812" y="5097"/>
                    <a:pt x="6941" y="4386"/>
                    <a:pt x="6467" y="3974"/>
                  </a:cubicBezTo>
                  <a:cubicBezTo>
                    <a:pt x="6015" y="3438"/>
                    <a:pt x="4695" y="2457"/>
                    <a:pt x="3545" y="1734"/>
                  </a:cubicBezTo>
                  <a:cubicBezTo>
                    <a:pt x="2388" y="994"/>
                    <a:pt x="1060" y="163"/>
                    <a:pt x="576" y="84"/>
                  </a:cubicBezTo>
                  <a:cubicBezTo>
                    <a:pt x="99" y="-190"/>
                    <a:pt x="-144" y="250"/>
                    <a:pt x="91" y="733"/>
                  </a:cubicBezTo>
                  <a:cubicBezTo>
                    <a:pt x="301" y="1272"/>
                    <a:pt x="507" y="1842"/>
                    <a:pt x="507" y="2038"/>
                  </a:cubicBezTo>
                  <a:close/>
                  <a:moveTo>
                    <a:pt x="507" y="20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 name="AutoShape 114"/>
            <p:cNvSpPr>
              <a:spLocks/>
            </p:cNvSpPr>
            <p:nvPr/>
          </p:nvSpPr>
          <p:spPr bwMode="auto">
            <a:xfrm>
              <a:off x="8382000" y="1231900"/>
              <a:ext cx="1588" cy="1588"/>
            </a:xfrm>
            <a:custGeom>
              <a:avLst/>
              <a:gdLst/>
              <a:ahLst/>
              <a:cxnLst/>
              <a:rect l="0" t="0" r="r" b="b"/>
              <a:pathLst>
                <a:path w="19493" h="19549">
                  <a:moveTo>
                    <a:pt x="16352" y="8320"/>
                  </a:moveTo>
                  <a:cubicBezTo>
                    <a:pt x="12018" y="3171"/>
                    <a:pt x="5885" y="-851"/>
                    <a:pt x="2527" y="155"/>
                  </a:cubicBezTo>
                  <a:cubicBezTo>
                    <a:pt x="-663" y="1584"/>
                    <a:pt x="-990" y="6309"/>
                    <a:pt x="2450" y="11167"/>
                  </a:cubicBezTo>
                  <a:cubicBezTo>
                    <a:pt x="6048" y="16073"/>
                    <a:pt x="12100" y="20749"/>
                    <a:pt x="16184" y="19271"/>
                  </a:cubicBezTo>
                  <a:cubicBezTo>
                    <a:pt x="20523" y="18314"/>
                    <a:pt x="20610" y="13117"/>
                    <a:pt x="16352" y="8320"/>
                  </a:cubicBezTo>
                  <a:close/>
                  <a:moveTo>
                    <a:pt x="16352" y="83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 name="AutoShape 115"/>
            <p:cNvSpPr>
              <a:spLocks/>
            </p:cNvSpPr>
            <p:nvPr/>
          </p:nvSpPr>
          <p:spPr bwMode="auto">
            <a:xfrm>
              <a:off x="8356600" y="1231900"/>
              <a:ext cx="26988" cy="9525"/>
            </a:xfrm>
            <a:custGeom>
              <a:avLst/>
              <a:gdLst/>
              <a:ahLst/>
              <a:cxnLst/>
              <a:rect l="0" t="0" r="r" b="b"/>
              <a:pathLst>
                <a:path w="21475" h="21428">
                  <a:moveTo>
                    <a:pt x="7982" y="1570"/>
                  </a:moveTo>
                  <a:cubicBezTo>
                    <a:pt x="7036" y="772"/>
                    <a:pt x="5570" y="118"/>
                    <a:pt x="4691" y="0"/>
                  </a:cubicBezTo>
                  <a:cubicBezTo>
                    <a:pt x="3792" y="40"/>
                    <a:pt x="2355" y="327"/>
                    <a:pt x="1456" y="589"/>
                  </a:cubicBezTo>
                  <a:cubicBezTo>
                    <a:pt x="558" y="772"/>
                    <a:pt x="0" y="1843"/>
                    <a:pt x="0" y="2709"/>
                  </a:cubicBezTo>
                  <a:cubicBezTo>
                    <a:pt x="0" y="3585"/>
                    <a:pt x="663" y="5088"/>
                    <a:pt x="1239" y="6358"/>
                  </a:cubicBezTo>
                  <a:cubicBezTo>
                    <a:pt x="1864" y="7379"/>
                    <a:pt x="3320" y="9616"/>
                    <a:pt x="4520" y="11146"/>
                  </a:cubicBezTo>
                  <a:cubicBezTo>
                    <a:pt x="5769" y="12429"/>
                    <a:pt x="7566" y="13777"/>
                    <a:pt x="8568" y="13959"/>
                  </a:cubicBezTo>
                  <a:cubicBezTo>
                    <a:pt x="9553" y="14246"/>
                    <a:pt x="11037" y="15280"/>
                    <a:pt x="11869" y="16681"/>
                  </a:cubicBezTo>
                  <a:cubicBezTo>
                    <a:pt x="12644" y="18251"/>
                    <a:pt x="13996" y="19703"/>
                    <a:pt x="14762" y="20499"/>
                  </a:cubicBezTo>
                  <a:cubicBezTo>
                    <a:pt x="15548" y="21155"/>
                    <a:pt x="16616" y="21600"/>
                    <a:pt x="17145" y="21364"/>
                  </a:cubicBezTo>
                  <a:cubicBezTo>
                    <a:pt x="17675" y="20997"/>
                    <a:pt x="18347" y="20159"/>
                    <a:pt x="18687" y="19532"/>
                  </a:cubicBezTo>
                  <a:cubicBezTo>
                    <a:pt x="18980" y="18706"/>
                    <a:pt x="19671" y="18079"/>
                    <a:pt x="20209" y="18079"/>
                  </a:cubicBezTo>
                  <a:cubicBezTo>
                    <a:pt x="20731" y="18133"/>
                    <a:pt x="21316" y="17608"/>
                    <a:pt x="21439" y="16954"/>
                  </a:cubicBezTo>
                  <a:cubicBezTo>
                    <a:pt x="21600" y="16354"/>
                    <a:pt x="21203" y="14993"/>
                    <a:pt x="20484" y="14090"/>
                  </a:cubicBezTo>
                  <a:cubicBezTo>
                    <a:pt x="19860" y="12951"/>
                    <a:pt x="18848" y="12166"/>
                    <a:pt x="18347" y="11880"/>
                  </a:cubicBezTo>
                  <a:cubicBezTo>
                    <a:pt x="17846" y="11762"/>
                    <a:pt x="16464" y="10754"/>
                    <a:pt x="15273" y="9720"/>
                  </a:cubicBezTo>
                  <a:cubicBezTo>
                    <a:pt x="14034" y="9026"/>
                    <a:pt x="12313" y="6985"/>
                    <a:pt x="11377" y="5546"/>
                  </a:cubicBezTo>
                  <a:cubicBezTo>
                    <a:pt x="10442" y="4252"/>
                    <a:pt x="8908" y="2500"/>
                    <a:pt x="7982" y="1570"/>
                  </a:cubicBezTo>
                  <a:close/>
                  <a:moveTo>
                    <a:pt x="7982" y="15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 name="AutoShape 116"/>
            <p:cNvSpPr>
              <a:spLocks/>
            </p:cNvSpPr>
            <p:nvPr/>
          </p:nvSpPr>
          <p:spPr bwMode="auto">
            <a:xfrm>
              <a:off x="8343900" y="1295400"/>
              <a:ext cx="28575" cy="14288"/>
            </a:xfrm>
            <a:custGeom>
              <a:avLst/>
              <a:gdLst/>
              <a:ahLst/>
              <a:cxnLst/>
              <a:rect l="0" t="0" r="r" b="b"/>
              <a:pathLst>
                <a:path w="21138" h="20967">
                  <a:moveTo>
                    <a:pt x="5923" y="14921"/>
                  </a:moveTo>
                  <a:cubicBezTo>
                    <a:pt x="6569" y="15878"/>
                    <a:pt x="7789" y="17427"/>
                    <a:pt x="8840" y="17719"/>
                  </a:cubicBezTo>
                  <a:cubicBezTo>
                    <a:pt x="9890" y="18127"/>
                    <a:pt x="11418" y="18386"/>
                    <a:pt x="12216" y="18277"/>
                  </a:cubicBezTo>
                  <a:cubicBezTo>
                    <a:pt x="13024" y="18277"/>
                    <a:pt x="15197" y="18918"/>
                    <a:pt x="17055" y="19819"/>
                  </a:cubicBezTo>
                  <a:cubicBezTo>
                    <a:pt x="18913" y="20834"/>
                    <a:pt x="20735" y="21259"/>
                    <a:pt x="21005" y="20752"/>
                  </a:cubicBezTo>
                  <a:cubicBezTo>
                    <a:pt x="21310" y="20334"/>
                    <a:pt x="21059" y="19210"/>
                    <a:pt x="20547" y="18135"/>
                  </a:cubicBezTo>
                  <a:cubicBezTo>
                    <a:pt x="20008" y="17112"/>
                    <a:pt x="18366" y="15479"/>
                    <a:pt x="16894" y="14696"/>
                  </a:cubicBezTo>
                  <a:cubicBezTo>
                    <a:pt x="15466" y="13688"/>
                    <a:pt x="13912" y="11997"/>
                    <a:pt x="13410" y="10830"/>
                  </a:cubicBezTo>
                  <a:cubicBezTo>
                    <a:pt x="12988" y="9515"/>
                    <a:pt x="11039" y="6432"/>
                    <a:pt x="9119" y="3958"/>
                  </a:cubicBezTo>
                  <a:cubicBezTo>
                    <a:pt x="7296" y="1292"/>
                    <a:pt x="5563" y="-341"/>
                    <a:pt x="5402" y="60"/>
                  </a:cubicBezTo>
                  <a:cubicBezTo>
                    <a:pt x="5195" y="358"/>
                    <a:pt x="5491" y="2349"/>
                    <a:pt x="6021" y="4224"/>
                  </a:cubicBezTo>
                  <a:cubicBezTo>
                    <a:pt x="6425" y="6174"/>
                    <a:pt x="6676" y="8032"/>
                    <a:pt x="6542" y="8622"/>
                  </a:cubicBezTo>
                  <a:cubicBezTo>
                    <a:pt x="6246" y="8981"/>
                    <a:pt x="4935" y="9023"/>
                    <a:pt x="3445" y="8264"/>
                  </a:cubicBezTo>
                  <a:cubicBezTo>
                    <a:pt x="1945" y="7631"/>
                    <a:pt x="428" y="7015"/>
                    <a:pt x="79" y="7174"/>
                  </a:cubicBezTo>
                  <a:cubicBezTo>
                    <a:pt x="-290" y="7232"/>
                    <a:pt x="671" y="8590"/>
                    <a:pt x="2170" y="10105"/>
                  </a:cubicBezTo>
                  <a:cubicBezTo>
                    <a:pt x="3669" y="11656"/>
                    <a:pt x="5410" y="13729"/>
                    <a:pt x="5923" y="14921"/>
                  </a:cubicBezTo>
                  <a:close/>
                  <a:moveTo>
                    <a:pt x="5923" y="149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 name="AutoShape 117"/>
            <p:cNvSpPr>
              <a:spLocks/>
            </p:cNvSpPr>
            <p:nvPr/>
          </p:nvSpPr>
          <p:spPr bwMode="auto">
            <a:xfrm>
              <a:off x="8255000" y="1244600"/>
              <a:ext cx="79375" cy="47625"/>
            </a:xfrm>
            <a:custGeom>
              <a:avLst/>
              <a:gdLst/>
              <a:ahLst/>
              <a:cxnLst/>
              <a:rect l="0" t="0" r="r" b="b"/>
              <a:pathLst>
                <a:path w="21557" h="21501">
                  <a:moveTo>
                    <a:pt x="9935" y="18"/>
                  </a:moveTo>
                  <a:cubicBezTo>
                    <a:pt x="9817" y="43"/>
                    <a:pt x="9654" y="426"/>
                    <a:pt x="9599" y="780"/>
                  </a:cubicBezTo>
                  <a:cubicBezTo>
                    <a:pt x="9466" y="1069"/>
                    <a:pt x="9188" y="1359"/>
                    <a:pt x="8849" y="1323"/>
                  </a:cubicBezTo>
                  <a:cubicBezTo>
                    <a:pt x="8518" y="1274"/>
                    <a:pt x="8381" y="1481"/>
                    <a:pt x="8437" y="1842"/>
                  </a:cubicBezTo>
                  <a:cubicBezTo>
                    <a:pt x="8578" y="2127"/>
                    <a:pt x="8786" y="2593"/>
                    <a:pt x="8983" y="2745"/>
                  </a:cubicBezTo>
                  <a:cubicBezTo>
                    <a:pt x="9174" y="2936"/>
                    <a:pt x="9613" y="3191"/>
                    <a:pt x="9951" y="3222"/>
                  </a:cubicBezTo>
                  <a:cubicBezTo>
                    <a:pt x="10273" y="3371"/>
                    <a:pt x="10755" y="3524"/>
                    <a:pt x="11006" y="3679"/>
                  </a:cubicBezTo>
                  <a:cubicBezTo>
                    <a:pt x="11251" y="3862"/>
                    <a:pt x="11505" y="4150"/>
                    <a:pt x="11556" y="4366"/>
                  </a:cubicBezTo>
                  <a:cubicBezTo>
                    <a:pt x="11636" y="4566"/>
                    <a:pt x="11395" y="4768"/>
                    <a:pt x="11080" y="4685"/>
                  </a:cubicBezTo>
                  <a:cubicBezTo>
                    <a:pt x="10765" y="4627"/>
                    <a:pt x="10300" y="4768"/>
                    <a:pt x="10035" y="4804"/>
                  </a:cubicBezTo>
                  <a:cubicBezTo>
                    <a:pt x="9770" y="4879"/>
                    <a:pt x="9740" y="5325"/>
                    <a:pt x="9918" y="5777"/>
                  </a:cubicBezTo>
                  <a:cubicBezTo>
                    <a:pt x="10119" y="6201"/>
                    <a:pt x="10216" y="6719"/>
                    <a:pt x="10112" y="6880"/>
                  </a:cubicBezTo>
                  <a:cubicBezTo>
                    <a:pt x="10002" y="7027"/>
                    <a:pt x="9683" y="7196"/>
                    <a:pt x="9368" y="7077"/>
                  </a:cubicBezTo>
                  <a:cubicBezTo>
                    <a:pt x="9057" y="7010"/>
                    <a:pt x="8635" y="7190"/>
                    <a:pt x="8404" y="7395"/>
                  </a:cubicBezTo>
                  <a:cubicBezTo>
                    <a:pt x="8186" y="7645"/>
                    <a:pt x="7737" y="7853"/>
                    <a:pt x="7406" y="7897"/>
                  </a:cubicBezTo>
                  <a:cubicBezTo>
                    <a:pt x="7078" y="7936"/>
                    <a:pt x="6391" y="7670"/>
                    <a:pt x="5899" y="7304"/>
                  </a:cubicBezTo>
                  <a:cubicBezTo>
                    <a:pt x="5396" y="6994"/>
                    <a:pt x="4700" y="6650"/>
                    <a:pt x="4345" y="6484"/>
                  </a:cubicBezTo>
                  <a:cubicBezTo>
                    <a:pt x="3986" y="6409"/>
                    <a:pt x="3259" y="5935"/>
                    <a:pt x="2700" y="5627"/>
                  </a:cubicBezTo>
                  <a:cubicBezTo>
                    <a:pt x="2171" y="5198"/>
                    <a:pt x="1457" y="4693"/>
                    <a:pt x="1152" y="4388"/>
                  </a:cubicBezTo>
                  <a:cubicBezTo>
                    <a:pt x="848" y="4061"/>
                    <a:pt x="449" y="3912"/>
                    <a:pt x="255" y="3942"/>
                  </a:cubicBezTo>
                  <a:cubicBezTo>
                    <a:pt x="57" y="3962"/>
                    <a:pt x="-43" y="4261"/>
                    <a:pt x="17" y="4508"/>
                  </a:cubicBezTo>
                  <a:cubicBezTo>
                    <a:pt x="97" y="4740"/>
                    <a:pt x="114" y="5106"/>
                    <a:pt x="44" y="5223"/>
                  </a:cubicBezTo>
                  <a:cubicBezTo>
                    <a:pt x="1" y="5370"/>
                    <a:pt x="4" y="5757"/>
                    <a:pt x="104" y="6040"/>
                  </a:cubicBezTo>
                  <a:cubicBezTo>
                    <a:pt x="205" y="6334"/>
                    <a:pt x="597" y="6727"/>
                    <a:pt x="1008" y="7008"/>
                  </a:cubicBezTo>
                  <a:cubicBezTo>
                    <a:pt x="1421" y="7226"/>
                    <a:pt x="1960" y="7340"/>
                    <a:pt x="2211" y="7207"/>
                  </a:cubicBezTo>
                  <a:cubicBezTo>
                    <a:pt x="2459" y="7066"/>
                    <a:pt x="3011" y="7335"/>
                    <a:pt x="3460" y="7645"/>
                  </a:cubicBezTo>
                  <a:cubicBezTo>
                    <a:pt x="3903" y="7980"/>
                    <a:pt x="4452" y="8670"/>
                    <a:pt x="4683" y="9147"/>
                  </a:cubicBezTo>
                  <a:cubicBezTo>
                    <a:pt x="4951" y="9574"/>
                    <a:pt x="5456" y="10167"/>
                    <a:pt x="5855" y="10402"/>
                  </a:cubicBezTo>
                  <a:cubicBezTo>
                    <a:pt x="6264" y="10613"/>
                    <a:pt x="6796" y="10945"/>
                    <a:pt x="7017" y="11178"/>
                  </a:cubicBezTo>
                  <a:cubicBezTo>
                    <a:pt x="7259" y="11356"/>
                    <a:pt x="7215" y="11558"/>
                    <a:pt x="6944" y="11558"/>
                  </a:cubicBezTo>
                  <a:cubicBezTo>
                    <a:pt x="6679" y="11514"/>
                    <a:pt x="6006" y="11381"/>
                    <a:pt x="5463" y="11153"/>
                  </a:cubicBezTo>
                  <a:cubicBezTo>
                    <a:pt x="4917" y="10918"/>
                    <a:pt x="4201" y="10865"/>
                    <a:pt x="3869" y="10951"/>
                  </a:cubicBezTo>
                  <a:cubicBezTo>
                    <a:pt x="3544" y="11029"/>
                    <a:pt x="3638" y="11963"/>
                    <a:pt x="4093" y="12949"/>
                  </a:cubicBezTo>
                  <a:cubicBezTo>
                    <a:pt x="4515" y="13969"/>
                    <a:pt x="5152" y="15105"/>
                    <a:pt x="5473" y="15474"/>
                  </a:cubicBezTo>
                  <a:cubicBezTo>
                    <a:pt x="5768" y="15920"/>
                    <a:pt x="6056" y="16377"/>
                    <a:pt x="5982" y="16527"/>
                  </a:cubicBezTo>
                  <a:cubicBezTo>
                    <a:pt x="5982" y="16715"/>
                    <a:pt x="6050" y="17114"/>
                    <a:pt x="6257" y="17350"/>
                  </a:cubicBezTo>
                  <a:cubicBezTo>
                    <a:pt x="6435" y="17647"/>
                    <a:pt x="6840" y="17860"/>
                    <a:pt x="7128" y="17860"/>
                  </a:cubicBezTo>
                  <a:cubicBezTo>
                    <a:pt x="7412" y="17818"/>
                    <a:pt x="7979" y="18002"/>
                    <a:pt x="8377" y="18179"/>
                  </a:cubicBezTo>
                  <a:cubicBezTo>
                    <a:pt x="8782" y="18284"/>
                    <a:pt x="9228" y="18373"/>
                    <a:pt x="9325" y="18137"/>
                  </a:cubicBezTo>
                  <a:cubicBezTo>
                    <a:pt x="9432" y="17924"/>
                    <a:pt x="9432" y="17480"/>
                    <a:pt x="9385" y="17073"/>
                  </a:cubicBezTo>
                  <a:cubicBezTo>
                    <a:pt x="9288" y="16688"/>
                    <a:pt x="9432" y="16463"/>
                    <a:pt x="9690" y="16555"/>
                  </a:cubicBezTo>
                  <a:cubicBezTo>
                    <a:pt x="9941" y="16696"/>
                    <a:pt x="10527" y="17162"/>
                    <a:pt x="10997" y="17616"/>
                  </a:cubicBezTo>
                  <a:cubicBezTo>
                    <a:pt x="11452" y="18107"/>
                    <a:pt x="12014" y="19121"/>
                    <a:pt x="12289" y="19836"/>
                  </a:cubicBezTo>
                  <a:cubicBezTo>
                    <a:pt x="12537" y="20590"/>
                    <a:pt x="12929" y="21288"/>
                    <a:pt x="13147" y="21363"/>
                  </a:cubicBezTo>
                  <a:cubicBezTo>
                    <a:pt x="13361" y="21460"/>
                    <a:pt x="13736" y="21546"/>
                    <a:pt x="13964" y="21474"/>
                  </a:cubicBezTo>
                  <a:cubicBezTo>
                    <a:pt x="14192" y="21474"/>
                    <a:pt x="14450" y="21158"/>
                    <a:pt x="14607" y="20997"/>
                  </a:cubicBezTo>
                  <a:cubicBezTo>
                    <a:pt x="14724" y="20756"/>
                    <a:pt x="14754" y="20332"/>
                    <a:pt x="14620" y="20055"/>
                  </a:cubicBezTo>
                  <a:cubicBezTo>
                    <a:pt x="14473" y="19783"/>
                    <a:pt x="14459" y="19412"/>
                    <a:pt x="14459" y="19265"/>
                  </a:cubicBezTo>
                  <a:cubicBezTo>
                    <a:pt x="14513" y="19143"/>
                    <a:pt x="14744" y="19110"/>
                    <a:pt x="14958" y="19381"/>
                  </a:cubicBezTo>
                  <a:cubicBezTo>
                    <a:pt x="15210" y="19537"/>
                    <a:pt x="15632" y="19720"/>
                    <a:pt x="15916" y="19720"/>
                  </a:cubicBezTo>
                  <a:cubicBezTo>
                    <a:pt x="16201" y="19764"/>
                    <a:pt x="16385" y="19307"/>
                    <a:pt x="16332" y="18835"/>
                  </a:cubicBezTo>
                  <a:cubicBezTo>
                    <a:pt x="16282" y="18361"/>
                    <a:pt x="16051" y="17494"/>
                    <a:pt x="15783" y="16967"/>
                  </a:cubicBezTo>
                  <a:cubicBezTo>
                    <a:pt x="15535" y="16419"/>
                    <a:pt x="14949" y="15610"/>
                    <a:pt x="14490" y="15147"/>
                  </a:cubicBezTo>
                  <a:cubicBezTo>
                    <a:pt x="14007" y="14748"/>
                    <a:pt x="13558" y="14160"/>
                    <a:pt x="13441" y="13997"/>
                  </a:cubicBezTo>
                  <a:cubicBezTo>
                    <a:pt x="13341" y="13808"/>
                    <a:pt x="13595" y="13698"/>
                    <a:pt x="14024" y="13708"/>
                  </a:cubicBezTo>
                  <a:cubicBezTo>
                    <a:pt x="14453" y="13753"/>
                    <a:pt x="15126" y="13889"/>
                    <a:pt x="15525" y="14088"/>
                  </a:cubicBezTo>
                  <a:cubicBezTo>
                    <a:pt x="15916" y="14274"/>
                    <a:pt x="16781" y="14587"/>
                    <a:pt x="17451" y="14737"/>
                  </a:cubicBezTo>
                  <a:cubicBezTo>
                    <a:pt x="18113" y="14933"/>
                    <a:pt x="18787" y="15069"/>
                    <a:pt x="18938" y="15020"/>
                  </a:cubicBezTo>
                  <a:cubicBezTo>
                    <a:pt x="19088" y="14989"/>
                    <a:pt x="19172" y="14870"/>
                    <a:pt x="19132" y="14715"/>
                  </a:cubicBezTo>
                  <a:cubicBezTo>
                    <a:pt x="19078" y="14568"/>
                    <a:pt x="18894" y="14316"/>
                    <a:pt x="18723" y="14138"/>
                  </a:cubicBezTo>
                  <a:cubicBezTo>
                    <a:pt x="18542" y="13977"/>
                    <a:pt x="18204" y="13606"/>
                    <a:pt x="17986" y="13284"/>
                  </a:cubicBezTo>
                  <a:cubicBezTo>
                    <a:pt x="17749" y="12999"/>
                    <a:pt x="17333" y="12675"/>
                    <a:pt x="17052" y="12484"/>
                  </a:cubicBezTo>
                  <a:cubicBezTo>
                    <a:pt x="16761" y="12398"/>
                    <a:pt x="16436" y="12104"/>
                    <a:pt x="16301" y="11965"/>
                  </a:cubicBezTo>
                  <a:cubicBezTo>
                    <a:pt x="16161" y="11849"/>
                    <a:pt x="15980" y="11394"/>
                    <a:pt x="15880" y="11015"/>
                  </a:cubicBezTo>
                  <a:cubicBezTo>
                    <a:pt x="15746" y="10666"/>
                    <a:pt x="15819" y="10333"/>
                    <a:pt x="15943" y="10217"/>
                  </a:cubicBezTo>
                  <a:cubicBezTo>
                    <a:pt x="16084" y="10197"/>
                    <a:pt x="16395" y="10250"/>
                    <a:pt x="16660" y="10352"/>
                  </a:cubicBezTo>
                  <a:cubicBezTo>
                    <a:pt x="16901" y="10549"/>
                    <a:pt x="17259" y="10682"/>
                    <a:pt x="17340" y="10904"/>
                  </a:cubicBezTo>
                  <a:cubicBezTo>
                    <a:pt x="17467" y="11043"/>
                    <a:pt x="17779" y="11389"/>
                    <a:pt x="18067" y="11519"/>
                  </a:cubicBezTo>
                  <a:cubicBezTo>
                    <a:pt x="18351" y="11694"/>
                    <a:pt x="18787" y="11905"/>
                    <a:pt x="19045" y="11905"/>
                  </a:cubicBezTo>
                  <a:cubicBezTo>
                    <a:pt x="19309" y="11979"/>
                    <a:pt x="19771" y="11802"/>
                    <a:pt x="20083" y="11655"/>
                  </a:cubicBezTo>
                  <a:cubicBezTo>
                    <a:pt x="20381" y="11431"/>
                    <a:pt x="20853" y="11292"/>
                    <a:pt x="21108" y="11262"/>
                  </a:cubicBezTo>
                  <a:cubicBezTo>
                    <a:pt x="21363" y="11187"/>
                    <a:pt x="21557" y="11093"/>
                    <a:pt x="21557" y="10968"/>
                  </a:cubicBezTo>
                  <a:cubicBezTo>
                    <a:pt x="21557" y="10846"/>
                    <a:pt x="21235" y="10392"/>
                    <a:pt x="20880" y="9887"/>
                  </a:cubicBezTo>
                  <a:cubicBezTo>
                    <a:pt x="20515" y="9402"/>
                    <a:pt x="20127" y="8889"/>
                    <a:pt x="20057" y="8698"/>
                  </a:cubicBezTo>
                  <a:cubicBezTo>
                    <a:pt x="20006" y="8482"/>
                    <a:pt x="19467" y="7988"/>
                    <a:pt x="18924" y="7562"/>
                  </a:cubicBezTo>
                  <a:cubicBezTo>
                    <a:pt x="18388" y="7107"/>
                    <a:pt x="17789" y="6440"/>
                    <a:pt x="17571" y="6110"/>
                  </a:cubicBezTo>
                  <a:cubicBezTo>
                    <a:pt x="17370" y="5738"/>
                    <a:pt x="17022" y="5364"/>
                    <a:pt x="16807" y="5242"/>
                  </a:cubicBezTo>
                  <a:cubicBezTo>
                    <a:pt x="16600" y="5112"/>
                    <a:pt x="16074" y="5018"/>
                    <a:pt x="15635" y="5006"/>
                  </a:cubicBezTo>
                  <a:cubicBezTo>
                    <a:pt x="15203" y="5026"/>
                    <a:pt x="14711" y="5231"/>
                    <a:pt x="14500" y="5414"/>
                  </a:cubicBezTo>
                  <a:cubicBezTo>
                    <a:pt x="14329" y="5697"/>
                    <a:pt x="13984" y="5869"/>
                    <a:pt x="13776" y="5857"/>
                  </a:cubicBezTo>
                  <a:cubicBezTo>
                    <a:pt x="13572" y="5849"/>
                    <a:pt x="13338" y="5713"/>
                    <a:pt x="13247" y="5522"/>
                  </a:cubicBezTo>
                  <a:cubicBezTo>
                    <a:pt x="13183" y="5303"/>
                    <a:pt x="13019" y="4909"/>
                    <a:pt x="13090" y="4641"/>
                  </a:cubicBezTo>
                  <a:cubicBezTo>
                    <a:pt x="13046" y="4363"/>
                    <a:pt x="13298" y="4073"/>
                    <a:pt x="13542" y="3942"/>
                  </a:cubicBezTo>
                  <a:cubicBezTo>
                    <a:pt x="13780" y="3784"/>
                    <a:pt x="14057" y="3496"/>
                    <a:pt x="14108" y="3153"/>
                  </a:cubicBezTo>
                  <a:cubicBezTo>
                    <a:pt x="14108" y="2800"/>
                    <a:pt x="14108" y="2216"/>
                    <a:pt x="14057" y="1783"/>
                  </a:cubicBezTo>
                  <a:cubicBezTo>
                    <a:pt x="13964" y="1376"/>
                    <a:pt x="13790" y="938"/>
                    <a:pt x="13696" y="747"/>
                  </a:cubicBezTo>
                  <a:cubicBezTo>
                    <a:pt x="13575" y="611"/>
                    <a:pt x="13204" y="689"/>
                    <a:pt x="12822" y="858"/>
                  </a:cubicBezTo>
                  <a:cubicBezTo>
                    <a:pt x="12447" y="1052"/>
                    <a:pt x="12038" y="1548"/>
                    <a:pt x="11934" y="1925"/>
                  </a:cubicBezTo>
                  <a:cubicBezTo>
                    <a:pt x="11787" y="2266"/>
                    <a:pt x="11612" y="2548"/>
                    <a:pt x="11475" y="2570"/>
                  </a:cubicBezTo>
                  <a:cubicBezTo>
                    <a:pt x="11341" y="2543"/>
                    <a:pt x="11174" y="2329"/>
                    <a:pt x="11054" y="2196"/>
                  </a:cubicBezTo>
                  <a:cubicBezTo>
                    <a:pt x="10969" y="1992"/>
                    <a:pt x="10785" y="1595"/>
                    <a:pt x="10836" y="1301"/>
                  </a:cubicBezTo>
                  <a:cubicBezTo>
                    <a:pt x="10893" y="1013"/>
                    <a:pt x="10638" y="575"/>
                    <a:pt x="10467" y="315"/>
                  </a:cubicBezTo>
                  <a:cubicBezTo>
                    <a:pt x="10283" y="96"/>
                    <a:pt x="10055" y="-54"/>
                    <a:pt x="9935" y="18"/>
                  </a:cubicBezTo>
                  <a:close/>
                  <a:moveTo>
                    <a:pt x="9935" y="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 name="AutoShape 118"/>
            <p:cNvSpPr>
              <a:spLocks/>
            </p:cNvSpPr>
            <p:nvPr/>
          </p:nvSpPr>
          <p:spPr bwMode="auto">
            <a:xfrm>
              <a:off x="8318500" y="1282700"/>
              <a:ext cx="14288" cy="11113"/>
            </a:xfrm>
            <a:custGeom>
              <a:avLst/>
              <a:gdLst/>
              <a:ahLst/>
              <a:cxnLst/>
              <a:rect l="0" t="0" r="r" b="b"/>
              <a:pathLst>
                <a:path w="21025" h="20502">
                  <a:moveTo>
                    <a:pt x="29" y="1474"/>
                  </a:moveTo>
                  <a:cubicBezTo>
                    <a:pt x="29" y="3304"/>
                    <a:pt x="575" y="5498"/>
                    <a:pt x="188" y="6066"/>
                  </a:cubicBezTo>
                  <a:cubicBezTo>
                    <a:pt x="-75" y="6760"/>
                    <a:pt x="1121" y="8511"/>
                    <a:pt x="2281" y="10341"/>
                  </a:cubicBezTo>
                  <a:cubicBezTo>
                    <a:pt x="3742" y="11866"/>
                    <a:pt x="8016" y="15412"/>
                    <a:pt x="12113" y="17731"/>
                  </a:cubicBezTo>
                  <a:cubicBezTo>
                    <a:pt x="16177" y="20220"/>
                    <a:pt x="19484" y="21186"/>
                    <a:pt x="19484" y="19994"/>
                  </a:cubicBezTo>
                  <a:cubicBezTo>
                    <a:pt x="19712" y="18834"/>
                    <a:pt x="20047" y="17128"/>
                    <a:pt x="20575" y="16129"/>
                  </a:cubicBezTo>
                  <a:cubicBezTo>
                    <a:pt x="21348" y="15423"/>
                    <a:pt x="20997" y="13330"/>
                    <a:pt x="20470" y="11717"/>
                  </a:cubicBezTo>
                  <a:cubicBezTo>
                    <a:pt x="19889" y="10159"/>
                    <a:pt x="16758" y="7919"/>
                    <a:pt x="13839" y="6317"/>
                  </a:cubicBezTo>
                  <a:cubicBezTo>
                    <a:pt x="10847" y="4906"/>
                    <a:pt x="6414" y="2406"/>
                    <a:pt x="3988" y="906"/>
                  </a:cubicBezTo>
                  <a:cubicBezTo>
                    <a:pt x="1490" y="-414"/>
                    <a:pt x="-252" y="-346"/>
                    <a:pt x="29" y="1474"/>
                  </a:cubicBezTo>
                  <a:close/>
                  <a:moveTo>
                    <a:pt x="29" y="14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 name="AutoShape 119"/>
            <p:cNvSpPr>
              <a:spLocks/>
            </p:cNvSpPr>
            <p:nvPr/>
          </p:nvSpPr>
          <p:spPr bwMode="auto">
            <a:xfrm>
              <a:off x="8394700" y="1257300"/>
              <a:ext cx="11113" cy="4763"/>
            </a:xfrm>
            <a:custGeom>
              <a:avLst/>
              <a:gdLst/>
              <a:ahLst/>
              <a:cxnLst/>
              <a:rect l="0" t="0" r="r" b="b"/>
              <a:pathLst>
                <a:path w="20752" h="19968">
                  <a:moveTo>
                    <a:pt x="220" y="6271"/>
                  </a:moveTo>
                  <a:cubicBezTo>
                    <a:pt x="-486" y="7928"/>
                    <a:pt x="543" y="10412"/>
                    <a:pt x="2791" y="12560"/>
                  </a:cubicBezTo>
                  <a:cubicBezTo>
                    <a:pt x="5021" y="14704"/>
                    <a:pt x="7785" y="16083"/>
                    <a:pt x="8898" y="15870"/>
                  </a:cubicBezTo>
                  <a:cubicBezTo>
                    <a:pt x="10057" y="15957"/>
                    <a:pt x="13185" y="17314"/>
                    <a:pt x="16120" y="18698"/>
                  </a:cubicBezTo>
                  <a:cubicBezTo>
                    <a:pt x="18907" y="20694"/>
                    <a:pt x="21007" y="20203"/>
                    <a:pt x="20706" y="18167"/>
                  </a:cubicBezTo>
                  <a:cubicBezTo>
                    <a:pt x="20407" y="16149"/>
                    <a:pt x="20706" y="13874"/>
                    <a:pt x="20706" y="12791"/>
                  </a:cubicBezTo>
                  <a:cubicBezTo>
                    <a:pt x="21114" y="12030"/>
                    <a:pt x="18757" y="8141"/>
                    <a:pt x="15714" y="4574"/>
                  </a:cubicBezTo>
                  <a:cubicBezTo>
                    <a:pt x="12737" y="664"/>
                    <a:pt x="9820" y="-906"/>
                    <a:pt x="9820" y="516"/>
                  </a:cubicBezTo>
                  <a:cubicBezTo>
                    <a:pt x="9393" y="1664"/>
                    <a:pt x="7785" y="3043"/>
                    <a:pt x="5685" y="3404"/>
                  </a:cubicBezTo>
                  <a:cubicBezTo>
                    <a:pt x="3564" y="4000"/>
                    <a:pt x="1034" y="4744"/>
                    <a:pt x="220" y="6271"/>
                  </a:cubicBezTo>
                  <a:close/>
                  <a:moveTo>
                    <a:pt x="220" y="62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 name="AutoShape 120"/>
            <p:cNvSpPr>
              <a:spLocks/>
            </p:cNvSpPr>
            <p:nvPr/>
          </p:nvSpPr>
          <p:spPr bwMode="auto">
            <a:xfrm>
              <a:off x="8407400" y="1257300"/>
              <a:ext cx="17463" cy="9525"/>
            </a:xfrm>
            <a:custGeom>
              <a:avLst/>
              <a:gdLst/>
              <a:ahLst/>
              <a:cxnLst/>
              <a:rect l="0" t="0" r="r" b="b"/>
              <a:pathLst>
                <a:path w="21223" h="21073">
                  <a:moveTo>
                    <a:pt x="9742" y="14418"/>
                  </a:moveTo>
                  <a:cubicBezTo>
                    <a:pt x="13024" y="17631"/>
                    <a:pt x="17101" y="20251"/>
                    <a:pt x="18763" y="20932"/>
                  </a:cubicBezTo>
                  <a:cubicBezTo>
                    <a:pt x="20424" y="21378"/>
                    <a:pt x="21415" y="20750"/>
                    <a:pt x="21192" y="19282"/>
                  </a:cubicBezTo>
                  <a:cubicBezTo>
                    <a:pt x="20955" y="17800"/>
                    <a:pt x="19307" y="15126"/>
                    <a:pt x="17603" y="13527"/>
                  </a:cubicBezTo>
                  <a:cubicBezTo>
                    <a:pt x="15928" y="11785"/>
                    <a:pt x="12898" y="9479"/>
                    <a:pt x="10873" y="8429"/>
                  </a:cubicBezTo>
                  <a:cubicBezTo>
                    <a:pt x="8834" y="7224"/>
                    <a:pt x="6266" y="5257"/>
                    <a:pt x="5219" y="3684"/>
                  </a:cubicBezTo>
                  <a:cubicBezTo>
                    <a:pt x="4213" y="2019"/>
                    <a:pt x="2677" y="605"/>
                    <a:pt x="1951" y="159"/>
                  </a:cubicBezTo>
                  <a:cubicBezTo>
                    <a:pt x="1239" y="-222"/>
                    <a:pt x="442" y="132"/>
                    <a:pt x="52" y="683"/>
                  </a:cubicBezTo>
                  <a:cubicBezTo>
                    <a:pt x="-185" y="1496"/>
                    <a:pt x="401" y="3555"/>
                    <a:pt x="1588" y="5388"/>
                  </a:cubicBezTo>
                  <a:cubicBezTo>
                    <a:pt x="2704" y="7380"/>
                    <a:pt x="6322" y="11771"/>
                    <a:pt x="9742" y="14418"/>
                  </a:cubicBezTo>
                  <a:close/>
                  <a:moveTo>
                    <a:pt x="9742" y="144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 name="AutoShape 121"/>
            <p:cNvSpPr>
              <a:spLocks/>
            </p:cNvSpPr>
            <p:nvPr/>
          </p:nvSpPr>
          <p:spPr bwMode="auto">
            <a:xfrm>
              <a:off x="8382000" y="1257300"/>
              <a:ext cx="44450" cy="19050"/>
            </a:xfrm>
            <a:custGeom>
              <a:avLst/>
              <a:gdLst/>
              <a:ahLst/>
              <a:cxnLst/>
              <a:rect l="0" t="0" r="r" b="b"/>
              <a:pathLst>
                <a:path w="21471" h="21491">
                  <a:moveTo>
                    <a:pt x="20910" y="16213"/>
                  </a:moveTo>
                  <a:cubicBezTo>
                    <a:pt x="20648" y="15785"/>
                    <a:pt x="20128" y="15694"/>
                    <a:pt x="19765" y="15753"/>
                  </a:cubicBezTo>
                  <a:cubicBezTo>
                    <a:pt x="19407" y="15921"/>
                    <a:pt x="18744" y="15649"/>
                    <a:pt x="18273" y="15474"/>
                  </a:cubicBezTo>
                  <a:cubicBezTo>
                    <a:pt x="17825" y="15111"/>
                    <a:pt x="16256" y="13317"/>
                    <a:pt x="14747" y="11628"/>
                  </a:cubicBezTo>
                  <a:cubicBezTo>
                    <a:pt x="13285" y="9768"/>
                    <a:pt x="10862" y="7209"/>
                    <a:pt x="9400" y="5746"/>
                  </a:cubicBezTo>
                  <a:cubicBezTo>
                    <a:pt x="7926" y="4340"/>
                    <a:pt x="5850" y="2598"/>
                    <a:pt x="4776" y="1879"/>
                  </a:cubicBezTo>
                  <a:cubicBezTo>
                    <a:pt x="3702" y="1102"/>
                    <a:pt x="2234" y="448"/>
                    <a:pt x="1530" y="201"/>
                  </a:cubicBezTo>
                  <a:cubicBezTo>
                    <a:pt x="814" y="33"/>
                    <a:pt x="128" y="-109"/>
                    <a:pt x="20" y="118"/>
                  </a:cubicBezTo>
                  <a:cubicBezTo>
                    <a:pt x="-93" y="298"/>
                    <a:pt x="277" y="850"/>
                    <a:pt x="802" y="1516"/>
                  </a:cubicBezTo>
                  <a:cubicBezTo>
                    <a:pt x="1351" y="2138"/>
                    <a:pt x="2449" y="2942"/>
                    <a:pt x="3231" y="3486"/>
                  </a:cubicBezTo>
                  <a:cubicBezTo>
                    <a:pt x="4018" y="3888"/>
                    <a:pt x="5832" y="5377"/>
                    <a:pt x="7258" y="6757"/>
                  </a:cubicBezTo>
                  <a:cubicBezTo>
                    <a:pt x="8696" y="8123"/>
                    <a:pt x="11399" y="10966"/>
                    <a:pt x="13285" y="13019"/>
                  </a:cubicBezTo>
                  <a:cubicBezTo>
                    <a:pt x="15128" y="15221"/>
                    <a:pt x="17384" y="17864"/>
                    <a:pt x="18214" y="19121"/>
                  </a:cubicBezTo>
                  <a:cubicBezTo>
                    <a:pt x="19078" y="20300"/>
                    <a:pt x="20152" y="21426"/>
                    <a:pt x="20648" y="21491"/>
                  </a:cubicBezTo>
                  <a:cubicBezTo>
                    <a:pt x="21131" y="21413"/>
                    <a:pt x="21471" y="20954"/>
                    <a:pt x="21471" y="20143"/>
                  </a:cubicBezTo>
                  <a:cubicBezTo>
                    <a:pt x="21382" y="19347"/>
                    <a:pt x="21399" y="18285"/>
                    <a:pt x="21399" y="17799"/>
                  </a:cubicBezTo>
                  <a:cubicBezTo>
                    <a:pt x="21507" y="17372"/>
                    <a:pt x="21191" y="16614"/>
                    <a:pt x="20910" y="16213"/>
                  </a:cubicBezTo>
                  <a:close/>
                  <a:moveTo>
                    <a:pt x="20910" y="162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 name="AutoShape 122"/>
            <p:cNvSpPr>
              <a:spLocks/>
            </p:cNvSpPr>
            <p:nvPr/>
          </p:nvSpPr>
          <p:spPr bwMode="auto">
            <a:xfrm>
              <a:off x="8432800" y="1282700"/>
              <a:ext cx="11113" cy="7938"/>
            </a:xfrm>
            <a:custGeom>
              <a:avLst/>
              <a:gdLst/>
              <a:ahLst/>
              <a:cxnLst/>
              <a:rect l="0" t="0" r="r" b="b"/>
              <a:pathLst>
                <a:path w="21222" h="21437">
                  <a:moveTo>
                    <a:pt x="3548" y="15622"/>
                  </a:moveTo>
                  <a:cubicBezTo>
                    <a:pt x="4967" y="16607"/>
                    <a:pt x="8204" y="18493"/>
                    <a:pt x="10848" y="19719"/>
                  </a:cubicBezTo>
                  <a:cubicBezTo>
                    <a:pt x="13517" y="20637"/>
                    <a:pt x="16514" y="21526"/>
                    <a:pt x="17648" y="21430"/>
                  </a:cubicBezTo>
                  <a:cubicBezTo>
                    <a:pt x="18808" y="21268"/>
                    <a:pt x="19703" y="19977"/>
                    <a:pt x="19355" y="18863"/>
                  </a:cubicBezTo>
                  <a:cubicBezTo>
                    <a:pt x="19005" y="17720"/>
                    <a:pt x="19684" y="16461"/>
                    <a:pt x="20579" y="16574"/>
                  </a:cubicBezTo>
                  <a:cubicBezTo>
                    <a:pt x="21474" y="16735"/>
                    <a:pt x="21410" y="15236"/>
                    <a:pt x="20534" y="13670"/>
                  </a:cubicBezTo>
                  <a:cubicBezTo>
                    <a:pt x="19551" y="12282"/>
                    <a:pt x="17189" y="8605"/>
                    <a:pt x="14807" y="6491"/>
                  </a:cubicBezTo>
                  <a:cubicBezTo>
                    <a:pt x="12577" y="4072"/>
                    <a:pt x="9711" y="1426"/>
                    <a:pt x="8334" y="878"/>
                  </a:cubicBezTo>
                  <a:cubicBezTo>
                    <a:pt x="7090" y="-41"/>
                    <a:pt x="5099" y="-74"/>
                    <a:pt x="4027" y="55"/>
                  </a:cubicBezTo>
                  <a:cubicBezTo>
                    <a:pt x="2979" y="379"/>
                    <a:pt x="2343" y="2070"/>
                    <a:pt x="2017" y="3861"/>
                  </a:cubicBezTo>
                  <a:cubicBezTo>
                    <a:pt x="1709" y="5701"/>
                    <a:pt x="1251" y="7280"/>
                    <a:pt x="639" y="7961"/>
                  </a:cubicBezTo>
                  <a:cubicBezTo>
                    <a:pt x="-104" y="8040"/>
                    <a:pt x="-126" y="9636"/>
                    <a:pt x="201" y="11106"/>
                  </a:cubicBezTo>
                  <a:cubicBezTo>
                    <a:pt x="814" y="12365"/>
                    <a:pt x="2192" y="14492"/>
                    <a:pt x="3548" y="15622"/>
                  </a:cubicBezTo>
                  <a:close/>
                  <a:moveTo>
                    <a:pt x="3548" y="156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 name="AutoShape 123"/>
            <p:cNvSpPr>
              <a:spLocks/>
            </p:cNvSpPr>
            <p:nvPr/>
          </p:nvSpPr>
          <p:spPr bwMode="auto">
            <a:xfrm>
              <a:off x="8356600" y="1244600"/>
              <a:ext cx="30163" cy="12700"/>
            </a:xfrm>
            <a:custGeom>
              <a:avLst/>
              <a:gdLst/>
              <a:ahLst/>
              <a:cxnLst/>
              <a:rect l="0" t="0" r="r" b="b"/>
              <a:pathLst>
                <a:path w="21452" h="20927">
                  <a:moveTo>
                    <a:pt x="15422" y="7315"/>
                  </a:moveTo>
                  <a:cubicBezTo>
                    <a:pt x="14303" y="7120"/>
                    <a:pt x="12353" y="6208"/>
                    <a:pt x="11040" y="5023"/>
                  </a:cubicBezTo>
                  <a:cubicBezTo>
                    <a:pt x="9752" y="3714"/>
                    <a:pt x="7522" y="1812"/>
                    <a:pt x="6067" y="900"/>
                  </a:cubicBezTo>
                  <a:cubicBezTo>
                    <a:pt x="4648" y="-235"/>
                    <a:pt x="3308" y="-225"/>
                    <a:pt x="3414" y="532"/>
                  </a:cubicBezTo>
                  <a:cubicBezTo>
                    <a:pt x="3246" y="1230"/>
                    <a:pt x="3158" y="2521"/>
                    <a:pt x="2840" y="2996"/>
                  </a:cubicBezTo>
                  <a:cubicBezTo>
                    <a:pt x="2559" y="3606"/>
                    <a:pt x="2664" y="4344"/>
                    <a:pt x="3114" y="4908"/>
                  </a:cubicBezTo>
                  <a:cubicBezTo>
                    <a:pt x="3599" y="5296"/>
                    <a:pt x="4631" y="6256"/>
                    <a:pt x="5503" y="6568"/>
                  </a:cubicBezTo>
                  <a:cubicBezTo>
                    <a:pt x="6340" y="7033"/>
                    <a:pt x="7760" y="8662"/>
                    <a:pt x="8563" y="10459"/>
                  </a:cubicBezTo>
                  <a:cubicBezTo>
                    <a:pt x="9409" y="12146"/>
                    <a:pt x="10370" y="14272"/>
                    <a:pt x="10837" y="14737"/>
                  </a:cubicBezTo>
                  <a:cubicBezTo>
                    <a:pt x="11217" y="15427"/>
                    <a:pt x="10485" y="15320"/>
                    <a:pt x="9153" y="14660"/>
                  </a:cubicBezTo>
                  <a:cubicBezTo>
                    <a:pt x="7795" y="14097"/>
                    <a:pt x="5275" y="13213"/>
                    <a:pt x="3538" y="12700"/>
                  </a:cubicBezTo>
                  <a:cubicBezTo>
                    <a:pt x="1782" y="12283"/>
                    <a:pt x="187" y="12253"/>
                    <a:pt x="54" y="12738"/>
                  </a:cubicBezTo>
                  <a:cubicBezTo>
                    <a:pt x="-148" y="13078"/>
                    <a:pt x="231" y="14397"/>
                    <a:pt x="874" y="15272"/>
                  </a:cubicBezTo>
                  <a:cubicBezTo>
                    <a:pt x="1412" y="16454"/>
                    <a:pt x="3079" y="17911"/>
                    <a:pt x="4437" y="18841"/>
                  </a:cubicBezTo>
                  <a:cubicBezTo>
                    <a:pt x="5777" y="19910"/>
                    <a:pt x="7637" y="20520"/>
                    <a:pt x="8527" y="20103"/>
                  </a:cubicBezTo>
                  <a:cubicBezTo>
                    <a:pt x="9436" y="19823"/>
                    <a:pt x="11375" y="20200"/>
                    <a:pt x="12838" y="20608"/>
                  </a:cubicBezTo>
                  <a:cubicBezTo>
                    <a:pt x="14294" y="21365"/>
                    <a:pt x="16030" y="20656"/>
                    <a:pt x="16762" y="19726"/>
                  </a:cubicBezTo>
                  <a:cubicBezTo>
                    <a:pt x="17467" y="18764"/>
                    <a:pt x="18243" y="16901"/>
                    <a:pt x="18516" y="15775"/>
                  </a:cubicBezTo>
                  <a:cubicBezTo>
                    <a:pt x="18869" y="14795"/>
                    <a:pt x="19663" y="13690"/>
                    <a:pt x="20395" y="13320"/>
                  </a:cubicBezTo>
                  <a:cubicBezTo>
                    <a:pt x="21152" y="13038"/>
                    <a:pt x="21452" y="12573"/>
                    <a:pt x="21452" y="11943"/>
                  </a:cubicBezTo>
                  <a:cubicBezTo>
                    <a:pt x="21241" y="11526"/>
                    <a:pt x="20306" y="10167"/>
                    <a:pt x="19284" y="9187"/>
                  </a:cubicBezTo>
                  <a:cubicBezTo>
                    <a:pt x="18279" y="8149"/>
                    <a:pt x="16532" y="7237"/>
                    <a:pt x="15422" y="7315"/>
                  </a:cubicBezTo>
                  <a:close/>
                  <a:moveTo>
                    <a:pt x="15422" y="731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 name="AutoShape 124"/>
            <p:cNvSpPr>
              <a:spLocks/>
            </p:cNvSpPr>
            <p:nvPr/>
          </p:nvSpPr>
          <p:spPr bwMode="auto">
            <a:xfrm>
              <a:off x="8394700" y="1244600"/>
              <a:ext cx="9525" cy="4763"/>
            </a:xfrm>
            <a:custGeom>
              <a:avLst/>
              <a:gdLst/>
              <a:ahLst/>
              <a:cxnLst/>
              <a:rect l="0" t="0" r="r" b="b"/>
              <a:pathLst>
                <a:path w="21038" h="20916">
                  <a:moveTo>
                    <a:pt x="9390" y="17136"/>
                  </a:moveTo>
                  <a:cubicBezTo>
                    <a:pt x="11972" y="18570"/>
                    <a:pt x="15560" y="20743"/>
                    <a:pt x="17451" y="20803"/>
                  </a:cubicBezTo>
                  <a:cubicBezTo>
                    <a:pt x="19365" y="21309"/>
                    <a:pt x="20609" y="20026"/>
                    <a:pt x="20966" y="18842"/>
                  </a:cubicBezTo>
                  <a:cubicBezTo>
                    <a:pt x="21374" y="17641"/>
                    <a:pt x="19987" y="14289"/>
                    <a:pt x="18456" y="12556"/>
                  </a:cubicBezTo>
                  <a:cubicBezTo>
                    <a:pt x="17067" y="10384"/>
                    <a:pt x="13959" y="7347"/>
                    <a:pt x="11734" y="5048"/>
                  </a:cubicBezTo>
                  <a:cubicBezTo>
                    <a:pt x="9462" y="3130"/>
                    <a:pt x="6328" y="681"/>
                    <a:pt x="4702" y="219"/>
                  </a:cubicBezTo>
                  <a:cubicBezTo>
                    <a:pt x="3076" y="-291"/>
                    <a:pt x="1185" y="197"/>
                    <a:pt x="227" y="616"/>
                  </a:cubicBezTo>
                  <a:cubicBezTo>
                    <a:pt x="-226" y="2115"/>
                    <a:pt x="-130" y="5109"/>
                    <a:pt x="1735" y="8042"/>
                  </a:cubicBezTo>
                  <a:cubicBezTo>
                    <a:pt x="3027" y="11775"/>
                    <a:pt x="6950" y="15067"/>
                    <a:pt x="9390" y="17136"/>
                  </a:cubicBezTo>
                  <a:close/>
                  <a:moveTo>
                    <a:pt x="9390" y="1713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 name="AutoShape 125"/>
            <p:cNvSpPr>
              <a:spLocks/>
            </p:cNvSpPr>
            <p:nvPr/>
          </p:nvSpPr>
          <p:spPr bwMode="auto">
            <a:xfrm>
              <a:off x="8280400" y="1231900"/>
              <a:ext cx="9525" cy="6350"/>
            </a:xfrm>
            <a:custGeom>
              <a:avLst/>
              <a:gdLst/>
              <a:ahLst/>
              <a:cxnLst/>
              <a:rect l="0" t="0" r="r" b="b"/>
              <a:pathLst>
                <a:path w="21302" h="20749">
                  <a:moveTo>
                    <a:pt x="3012" y="13982"/>
                  </a:moveTo>
                  <a:cubicBezTo>
                    <a:pt x="4374" y="15148"/>
                    <a:pt x="9040" y="17462"/>
                    <a:pt x="13339" y="19165"/>
                  </a:cubicBezTo>
                  <a:cubicBezTo>
                    <a:pt x="17568" y="21303"/>
                    <a:pt x="21261" y="21095"/>
                    <a:pt x="21261" y="19623"/>
                  </a:cubicBezTo>
                  <a:cubicBezTo>
                    <a:pt x="21600" y="18225"/>
                    <a:pt x="19755" y="15227"/>
                    <a:pt x="17689" y="13351"/>
                  </a:cubicBezTo>
                  <a:cubicBezTo>
                    <a:pt x="15867" y="11077"/>
                    <a:pt x="13169" y="7886"/>
                    <a:pt x="12100" y="5513"/>
                  </a:cubicBezTo>
                  <a:cubicBezTo>
                    <a:pt x="10764" y="3544"/>
                    <a:pt x="9014" y="600"/>
                    <a:pt x="7580" y="259"/>
                  </a:cubicBezTo>
                  <a:cubicBezTo>
                    <a:pt x="6171" y="-297"/>
                    <a:pt x="3764" y="48"/>
                    <a:pt x="2258" y="1250"/>
                  </a:cubicBezTo>
                  <a:cubicBezTo>
                    <a:pt x="847" y="2686"/>
                    <a:pt x="361" y="5227"/>
                    <a:pt x="0" y="7600"/>
                  </a:cubicBezTo>
                  <a:cubicBezTo>
                    <a:pt x="361" y="9929"/>
                    <a:pt x="1529" y="13199"/>
                    <a:pt x="3012" y="13982"/>
                  </a:cubicBezTo>
                  <a:close/>
                  <a:moveTo>
                    <a:pt x="3012" y="1398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 name="AutoShape 126"/>
            <p:cNvSpPr>
              <a:spLocks/>
            </p:cNvSpPr>
            <p:nvPr/>
          </p:nvSpPr>
          <p:spPr bwMode="auto">
            <a:xfrm>
              <a:off x="9309100" y="1714500"/>
              <a:ext cx="9525" cy="7938"/>
            </a:xfrm>
            <a:custGeom>
              <a:avLst/>
              <a:gdLst/>
              <a:ahLst/>
              <a:cxnLst/>
              <a:rect l="0" t="0" r="r" b="b"/>
              <a:pathLst>
                <a:path w="21269" h="21381">
                  <a:moveTo>
                    <a:pt x="162" y="691"/>
                  </a:moveTo>
                  <a:cubicBezTo>
                    <a:pt x="660" y="1523"/>
                    <a:pt x="2790" y="4056"/>
                    <a:pt x="4946" y="6219"/>
                  </a:cubicBezTo>
                  <a:cubicBezTo>
                    <a:pt x="7186" y="8287"/>
                    <a:pt x="10286" y="12164"/>
                    <a:pt x="12165" y="14387"/>
                  </a:cubicBezTo>
                  <a:cubicBezTo>
                    <a:pt x="13882" y="16793"/>
                    <a:pt x="16233" y="19250"/>
                    <a:pt x="17338" y="19866"/>
                  </a:cubicBezTo>
                  <a:cubicBezTo>
                    <a:pt x="18528" y="20407"/>
                    <a:pt x="19938" y="21195"/>
                    <a:pt x="20604" y="21381"/>
                  </a:cubicBezTo>
                  <a:cubicBezTo>
                    <a:pt x="21349" y="21271"/>
                    <a:pt x="21266" y="20964"/>
                    <a:pt x="21266" y="19946"/>
                  </a:cubicBezTo>
                  <a:cubicBezTo>
                    <a:pt x="21266" y="18924"/>
                    <a:pt x="18446" y="16701"/>
                    <a:pt x="16012" y="14431"/>
                  </a:cubicBezTo>
                  <a:cubicBezTo>
                    <a:pt x="13327" y="12439"/>
                    <a:pt x="9430" y="8688"/>
                    <a:pt x="7214" y="6203"/>
                  </a:cubicBezTo>
                  <a:cubicBezTo>
                    <a:pt x="4946" y="3901"/>
                    <a:pt x="2152" y="1463"/>
                    <a:pt x="1241" y="457"/>
                  </a:cubicBezTo>
                  <a:cubicBezTo>
                    <a:pt x="133" y="-159"/>
                    <a:pt x="-251" y="-219"/>
                    <a:pt x="162" y="691"/>
                  </a:cubicBezTo>
                  <a:close/>
                  <a:moveTo>
                    <a:pt x="162" y="6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 name="AutoShape 127"/>
            <p:cNvSpPr>
              <a:spLocks/>
            </p:cNvSpPr>
            <p:nvPr/>
          </p:nvSpPr>
          <p:spPr bwMode="auto">
            <a:xfrm>
              <a:off x="9283700" y="1790700"/>
              <a:ext cx="6350" cy="4763"/>
            </a:xfrm>
            <a:custGeom>
              <a:avLst/>
              <a:gdLst/>
              <a:ahLst/>
              <a:cxnLst/>
              <a:rect l="0" t="0" r="r" b="b"/>
              <a:pathLst>
                <a:path w="21185" h="20631">
                  <a:moveTo>
                    <a:pt x="12131" y="17689"/>
                  </a:moveTo>
                  <a:cubicBezTo>
                    <a:pt x="14762" y="19400"/>
                    <a:pt x="17943" y="20825"/>
                    <a:pt x="19137" y="20575"/>
                  </a:cubicBezTo>
                  <a:cubicBezTo>
                    <a:pt x="20370" y="20947"/>
                    <a:pt x="21600" y="19400"/>
                    <a:pt x="21051" y="18720"/>
                  </a:cubicBezTo>
                  <a:cubicBezTo>
                    <a:pt x="21429" y="17833"/>
                    <a:pt x="19515" y="14512"/>
                    <a:pt x="17428" y="12239"/>
                  </a:cubicBezTo>
                  <a:cubicBezTo>
                    <a:pt x="15514" y="9661"/>
                    <a:pt x="10866" y="5803"/>
                    <a:pt x="7246" y="2998"/>
                  </a:cubicBezTo>
                  <a:cubicBezTo>
                    <a:pt x="3486" y="564"/>
                    <a:pt x="0" y="-653"/>
                    <a:pt x="0" y="357"/>
                  </a:cubicBezTo>
                  <a:cubicBezTo>
                    <a:pt x="0" y="1388"/>
                    <a:pt x="1335" y="4979"/>
                    <a:pt x="3486" y="8402"/>
                  </a:cubicBezTo>
                  <a:cubicBezTo>
                    <a:pt x="5673" y="11828"/>
                    <a:pt x="9570" y="15953"/>
                    <a:pt x="12131" y="17689"/>
                  </a:cubicBezTo>
                  <a:close/>
                  <a:moveTo>
                    <a:pt x="12131" y="176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 name="AutoShape 128"/>
            <p:cNvSpPr>
              <a:spLocks/>
            </p:cNvSpPr>
            <p:nvPr/>
          </p:nvSpPr>
          <p:spPr bwMode="auto">
            <a:xfrm>
              <a:off x="9740900" y="2057400"/>
              <a:ext cx="11113" cy="11113"/>
            </a:xfrm>
            <a:custGeom>
              <a:avLst/>
              <a:gdLst/>
              <a:ahLst/>
              <a:cxnLst/>
              <a:rect l="0" t="0" r="r" b="b"/>
              <a:pathLst>
                <a:path w="21335" h="21249">
                  <a:moveTo>
                    <a:pt x="2467" y="1697"/>
                  </a:moveTo>
                  <a:cubicBezTo>
                    <a:pt x="1636" y="342"/>
                    <a:pt x="0" y="-143"/>
                    <a:pt x="0" y="35"/>
                  </a:cubicBezTo>
                  <a:cubicBezTo>
                    <a:pt x="0" y="231"/>
                    <a:pt x="239" y="1124"/>
                    <a:pt x="1045" y="1873"/>
                  </a:cubicBezTo>
                  <a:cubicBezTo>
                    <a:pt x="1471" y="2853"/>
                    <a:pt x="3461" y="4889"/>
                    <a:pt x="5263" y="6363"/>
                  </a:cubicBezTo>
                  <a:cubicBezTo>
                    <a:pt x="6830" y="8016"/>
                    <a:pt x="8868" y="10548"/>
                    <a:pt x="10054" y="11713"/>
                  </a:cubicBezTo>
                  <a:cubicBezTo>
                    <a:pt x="10907" y="13111"/>
                    <a:pt x="13539" y="15313"/>
                    <a:pt x="15387" y="17009"/>
                  </a:cubicBezTo>
                  <a:cubicBezTo>
                    <a:pt x="17451" y="18440"/>
                    <a:pt x="19109" y="19915"/>
                    <a:pt x="19109" y="19771"/>
                  </a:cubicBezTo>
                  <a:cubicBezTo>
                    <a:pt x="19253" y="19739"/>
                    <a:pt x="19820" y="20201"/>
                    <a:pt x="20626" y="20762"/>
                  </a:cubicBezTo>
                  <a:cubicBezTo>
                    <a:pt x="21292" y="21457"/>
                    <a:pt x="21600" y="21367"/>
                    <a:pt x="21053" y="20751"/>
                  </a:cubicBezTo>
                  <a:cubicBezTo>
                    <a:pt x="20675" y="20025"/>
                    <a:pt x="18635" y="18098"/>
                    <a:pt x="16953" y="16150"/>
                  </a:cubicBezTo>
                  <a:cubicBezTo>
                    <a:pt x="15197" y="14279"/>
                    <a:pt x="11854" y="10559"/>
                    <a:pt x="9223" y="8181"/>
                  </a:cubicBezTo>
                  <a:cubicBezTo>
                    <a:pt x="6899" y="5505"/>
                    <a:pt x="3676" y="2743"/>
                    <a:pt x="2467" y="1697"/>
                  </a:cubicBezTo>
                  <a:close/>
                  <a:moveTo>
                    <a:pt x="2467" y="16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 name="AutoShape 129"/>
            <p:cNvSpPr>
              <a:spLocks/>
            </p:cNvSpPr>
            <p:nvPr/>
          </p:nvSpPr>
          <p:spPr bwMode="auto">
            <a:xfrm>
              <a:off x="9283700" y="1790700"/>
              <a:ext cx="6350" cy="6350"/>
            </a:xfrm>
            <a:custGeom>
              <a:avLst/>
              <a:gdLst/>
              <a:ahLst/>
              <a:cxnLst/>
              <a:rect l="0" t="0" r="r" b="b"/>
              <a:pathLst>
                <a:path w="20597" h="21079">
                  <a:moveTo>
                    <a:pt x="7381" y="14436"/>
                  </a:moveTo>
                  <a:cubicBezTo>
                    <a:pt x="7381" y="15662"/>
                    <a:pt x="8202" y="17692"/>
                    <a:pt x="9517" y="18681"/>
                  </a:cubicBezTo>
                  <a:cubicBezTo>
                    <a:pt x="10802" y="19653"/>
                    <a:pt x="12549" y="20893"/>
                    <a:pt x="13636" y="21078"/>
                  </a:cubicBezTo>
                  <a:cubicBezTo>
                    <a:pt x="14656" y="21078"/>
                    <a:pt x="17091" y="21113"/>
                    <a:pt x="18803" y="20240"/>
                  </a:cubicBezTo>
                  <a:cubicBezTo>
                    <a:pt x="20483" y="19386"/>
                    <a:pt x="20911" y="17692"/>
                    <a:pt x="20386" y="15714"/>
                  </a:cubicBezTo>
                  <a:cubicBezTo>
                    <a:pt x="19826" y="13767"/>
                    <a:pt x="16468" y="10631"/>
                    <a:pt x="14064" y="7966"/>
                  </a:cubicBezTo>
                  <a:cubicBezTo>
                    <a:pt x="11460" y="5634"/>
                    <a:pt x="7050" y="2364"/>
                    <a:pt x="4086" y="839"/>
                  </a:cubicBezTo>
                  <a:cubicBezTo>
                    <a:pt x="1023" y="-487"/>
                    <a:pt x="-689" y="-253"/>
                    <a:pt x="264" y="1626"/>
                  </a:cubicBezTo>
                  <a:cubicBezTo>
                    <a:pt x="824" y="3638"/>
                    <a:pt x="2898" y="6891"/>
                    <a:pt x="4646" y="8653"/>
                  </a:cubicBezTo>
                  <a:cubicBezTo>
                    <a:pt x="5798" y="10864"/>
                    <a:pt x="7838" y="13331"/>
                    <a:pt x="7381" y="14436"/>
                  </a:cubicBezTo>
                  <a:close/>
                  <a:moveTo>
                    <a:pt x="7381" y="1443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 name="AutoShape 130"/>
            <p:cNvSpPr>
              <a:spLocks/>
            </p:cNvSpPr>
            <p:nvPr/>
          </p:nvSpPr>
          <p:spPr bwMode="auto">
            <a:xfrm>
              <a:off x="9283700" y="1816100"/>
              <a:ext cx="7938" cy="4763"/>
            </a:xfrm>
            <a:custGeom>
              <a:avLst/>
              <a:gdLst/>
              <a:ahLst/>
              <a:cxnLst/>
              <a:rect l="0" t="0" r="r" b="b"/>
              <a:pathLst>
                <a:path w="20095" h="20737">
                  <a:moveTo>
                    <a:pt x="14893" y="11277"/>
                  </a:moveTo>
                  <a:cubicBezTo>
                    <a:pt x="11425" y="6151"/>
                    <a:pt x="6047" y="1489"/>
                    <a:pt x="3163" y="372"/>
                  </a:cubicBezTo>
                  <a:cubicBezTo>
                    <a:pt x="277" y="-515"/>
                    <a:pt x="-830" y="170"/>
                    <a:pt x="666" y="2580"/>
                  </a:cubicBezTo>
                  <a:cubicBezTo>
                    <a:pt x="2220" y="4884"/>
                    <a:pt x="6824" y="9880"/>
                    <a:pt x="10926" y="14013"/>
                  </a:cubicBezTo>
                  <a:cubicBezTo>
                    <a:pt x="15032" y="17969"/>
                    <a:pt x="19106" y="21085"/>
                    <a:pt x="19910" y="20705"/>
                  </a:cubicBezTo>
                  <a:cubicBezTo>
                    <a:pt x="20770" y="20529"/>
                    <a:pt x="18553" y="16090"/>
                    <a:pt x="14893" y="11277"/>
                  </a:cubicBezTo>
                  <a:close/>
                  <a:moveTo>
                    <a:pt x="14893" y="112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 name="AutoShape 131"/>
            <p:cNvSpPr>
              <a:spLocks/>
            </p:cNvSpPr>
            <p:nvPr/>
          </p:nvSpPr>
          <p:spPr bwMode="auto">
            <a:xfrm>
              <a:off x="9740900" y="2044700"/>
              <a:ext cx="6350" cy="6350"/>
            </a:xfrm>
            <a:custGeom>
              <a:avLst/>
              <a:gdLst/>
              <a:ahLst/>
              <a:cxnLst/>
              <a:rect l="0" t="0" r="r" b="b"/>
              <a:pathLst>
                <a:path w="21173" h="21501">
                  <a:moveTo>
                    <a:pt x="11182" y="12342"/>
                  </a:moveTo>
                  <a:cubicBezTo>
                    <a:pt x="12301" y="13462"/>
                    <a:pt x="14908" y="15770"/>
                    <a:pt x="16749" y="17660"/>
                  </a:cubicBezTo>
                  <a:cubicBezTo>
                    <a:pt x="18675" y="19429"/>
                    <a:pt x="21039" y="20962"/>
                    <a:pt x="21039" y="21501"/>
                  </a:cubicBezTo>
                  <a:cubicBezTo>
                    <a:pt x="21600" y="21501"/>
                    <a:pt x="20358" y="19644"/>
                    <a:pt x="18071" y="17084"/>
                  </a:cubicBezTo>
                  <a:cubicBezTo>
                    <a:pt x="15830" y="14558"/>
                    <a:pt x="12705" y="10160"/>
                    <a:pt x="10378" y="7940"/>
                  </a:cubicBezTo>
                  <a:cubicBezTo>
                    <a:pt x="8535" y="5437"/>
                    <a:pt x="4851" y="2984"/>
                    <a:pt x="3366" y="1615"/>
                  </a:cubicBezTo>
                  <a:cubicBezTo>
                    <a:pt x="1405" y="854"/>
                    <a:pt x="203" y="-99"/>
                    <a:pt x="0" y="8"/>
                  </a:cubicBezTo>
                  <a:cubicBezTo>
                    <a:pt x="243" y="8"/>
                    <a:pt x="1445" y="3110"/>
                    <a:pt x="4490" y="5400"/>
                  </a:cubicBezTo>
                  <a:cubicBezTo>
                    <a:pt x="6935" y="8140"/>
                    <a:pt x="9980" y="11261"/>
                    <a:pt x="11182" y="12342"/>
                  </a:cubicBezTo>
                  <a:close/>
                  <a:moveTo>
                    <a:pt x="11182" y="123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 name="AutoShape 132"/>
            <p:cNvSpPr>
              <a:spLocks/>
            </p:cNvSpPr>
            <p:nvPr/>
          </p:nvSpPr>
          <p:spPr bwMode="auto">
            <a:xfrm>
              <a:off x="9321800" y="1828800"/>
              <a:ext cx="6350" cy="6350"/>
            </a:xfrm>
            <a:custGeom>
              <a:avLst/>
              <a:gdLst/>
              <a:ahLst/>
              <a:cxnLst/>
              <a:rect l="0" t="0" r="r" b="b"/>
              <a:pathLst>
                <a:path w="20136" h="19609">
                  <a:moveTo>
                    <a:pt x="14626" y="17475"/>
                  </a:moveTo>
                  <a:cubicBezTo>
                    <a:pt x="17143" y="19153"/>
                    <a:pt x="19589" y="20222"/>
                    <a:pt x="20059" y="19224"/>
                  </a:cubicBezTo>
                  <a:cubicBezTo>
                    <a:pt x="20599" y="18265"/>
                    <a:pt x="18259" y="15077"/>
                    <a:pt x="15020" y="11609"/>
                  </a:cubicBezTo>
                  <a:cubicBezTo>
                    <a:pt x="11598" y="8360"/>
                    <a:pt x="5949" y="3604"/>
                    <a:pt x="2565" y="983"/>
                  </a:cubicBezTo>
                  <a:cubicBezTo>
                    <a:pt x="-1001" y="-1378"/>
                    <a:pt x="-927" y="707"/>
                    <a:pt x="3283" y="5191"/>
                  </a:cubicBezTo>
                  <a:cubicBezTo>
                    <a:pt x="7098" y="10170"/>
                    <a:pt x="12498" y="15409"/>
                    <a:pt x="14626" y="17475"/>
                  </a:cubicBezTo>
                  <a:close/>
                  <a:moveTo>
                    <a:pt x="14626" y="1747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 name="AutoShape 133"/>
            <p:cNvSpPr>
              <a:spLocks/>
            </p:cNvSpPr>
            <p:nvPr/>
          </p:nvSpPr>
          <p:spPr bwMode="auto">
            <a:xfrm>
              <a:off x="8204200" y="1244600"/>
              <a:ext cx="76200" cy="30163"/>
            </a:xfrm>
            <a:custGeom>
              <a:avLst/>
              <a:gdLst/>
              <a:ahLst/>
              <a:cxnLst/>
              <a:rect l="0" t="0" r="r" b="b"/>
              <a:pathLst>
                <a:path w="21329" h="21307">
                  <a:moveTo>
                    <a:pt x="1589" y="10376"/>
                  </a:moveTo>
                  <a:cubicBezTo>
                    <a:pt x="2019" y="10949"/>
                    <a:pt x="2808" y="11332"/>
                    <a:pt x="3328" y="11214"/>
                  </a:cubicBezTo>
                  <a:cubicBezTo>
                    <a:pt x="3851" y="11149"/>
                    <a:pt x="4691" y="11684"/>
                    <a:pt x="5228" y="12292"/>
                  </a:cubicBezTo>
                  <a:cubicBezTo>
                    <a:pt x="5751" y="12952"/>
                    <a:pt x="6440" y="13895"/>
                    <a:pt x="6732" y="14447"/>
                  </a:cubicBezTo>
                  <a:cubicBezTo>
                    <a:pt x="7039" y="14947"/>
                    <a:pt x="7555" y="15650"/>
                    <a:pt x="7872" y="16046"/>
                  </a:cubicBezTo>
                  <a:cubicBezTo>
                    <a:pt x="8192" y="16401"/>
                    <a:pt x="8571" y="16471"/>
                    <a:pt x="8688" y="16119"/>
                  </a:cubicBezTo>
                  <a:cubicBezTo>
                    <a:pt x="8798" y="15767"/>
                    <a:pt x="8898" y="15211"/>
                    <a:pt x="8798" y="14947"/>
                  </a:cubicBezTo>
                  <a:cubicBezTo>
                    <a:pt x="8708" y="14668"/>
                    <a:pt x="8864" y="14238"/>
                    <a:pt x="9091" y="14099"/>
                  </a:cubicBezTo>
                  <a:cubicBezTo>
                    <a:pt x="9301" y="13912"/>
                    <a:pt x="9824" y="14260"/>
                    <a:pt x="10206" y="14899"/>
                  </a:cubicBezTo>
                  <a:cubicBezTo>
                    <a:pt x="10626" y="15411"/>
                    <a:pt x="11287" y="16784"/>
                    <a:pt x="11697" y="17839"/>
                  </a:cubicBezTo>
                  <a:cubicBezTo>
                    <a:pt x="12141" y="18808"/>
                    <a:pt x="12843" y="20194"/>
                    <a:pt x="13312" y="20742"/>
                  </a:cubicBezTo>
                  <a:cubicBezTo>
                    <a:pt x="13783" y="21298"/>
                    <a:pt x="14183" y="21480"/>
                    <a:pt x="14183" y="21124"/>
                  </a:cubicBezTo>
                  <a:cubicBezTo>
                    <a:pt x="14131" y="20790"/>
                    <a:pt x="13845" y="19733"/>
                    <a:pt x="13391" y="18965"/>
                  </a:cubicBezTo>
                  <a:cubicBezTo>
                    <a:pt x="12929" y="18192"/>
                    <a:pt x="12362" y="16745"/>
                    <a:pt x="12151" y="15824"/>
                  </a:cubicBezTo>
                  <a:cubicBezTo>
                    <a:pt x="11941" y="14881"/>
                    <a:pt x="11439" y="13747"/>
                    <a:pt x="11098" y="13226"/>
                  </a:cubicBezTo>
                  <a:cubicBezTo>
                    <a:pt x="10760" y="12661"/>
                    <a:pt x="10206" y="12105"/>
                    <a:pt x="9917" y="11705"/>
                  </a:cubicBezTo>
                  <a:cubicBezTo>
                    <a:pt x="9604" y="11466"/>
                    <a:pt x="9098" y="10580"/>
                    <a:pt x="8767" y="9906"/>
                  </a:cubicBezTo>
                  <a:cubicBezTo>
                    <a:pt x="8492" y="9094"/>
                    <a:pt x="8509" y="8464"/>
                    <a:pt x="8908" y="8212"/>
                  </a:cubicBezTo>
                  <a:cubicBezTo>
                    <a:pt x="9311" y="7977"/>
                    <a:pt x="9852" y="7469"/>
                    <a:pt x="10134" y="7153"/>
                  </a:cubicBezTo>
                  <a:cubicBezTo>
                    <a:pt x="10375" y="6705"/>
                    <a:pt x="11177" y="6800"/>
                    <a:pt x="11862" y="7135"/>
                  </a:cubicBezTo>
                  <a:cubicBezTo>
                    <a:pt x="12544" y="7517"/>
                    <a:pt x="13294" y="7743"/>
                    <a:pt x="13494" y="7474"/>
                  </a:cubicBezTo>
                  <a:cubicBezTo>
                    <a:pt x="13704" y="7309"/>
                    <a:pt x="14158" y="7517"/>
                    <a:pt x="14513" y="7834"/>
                  </a:cubicBezTo>
                  <a:cubicBezTo>
                    <a:pt x="14854" y="8208"/>
                    <a:pt x="15464" y="9094"/>
                    <a:pt x="15846" y="9872"/>
                  </a:cubicBezTo>
                  <a:cubicBezTo>
                    <a:pt x="16227" y="10649"/>
                    <a:pt x="17036" y="11796"/>
                    <a:pt x="17643" y="12400"/>
                  </a:cubicBezTo>
                  <a:cubicBezTo>
                    <a:pt x="18235" y="13052"/>
                    <a:pt x="19171" y="13690"/>
                    <a:pt x="19681" y="13999"/>
                  </a:cubicBezTo>
                  <a:cubicBezTo>
                    <a:pt x="20211" y="14230"/>
                    <a:pt x="20672" y="14338"/>
                    <a:pt x="20717" y="14182"/>
                  </a:cubicBezTo>
                  <a:cubicBezTo>
                    <a:pt x="20762" y="14029"/>
                    <a:pt x="20986" y="13934"/>
                    <a:pt x="21213" y="13899"/>
                  </a:cubicBezTo>
                  <a:cubicBezTo>
                    <a:pt x="21440" y="13899"/>
                    <a:pt x="21326" y="13348"/>
                    <a:pt x="20934" y="12834"/>
                  </a:cubicBezTo>
                  <a:cubicBezTo>
                    <a:pt x="20552" y="12266"/>
                    <a:pt x="19774" y="11276"/>
                    <a:pt x="19178" y="10884"/>
                  </a:cubicBezTo>
                  <a:cubicBezTo>
                    <a:pt x="18607" y="10289"/>
                    <a:pt x="16958" y="8582"/>
                    <a:pt x="15529" y="6983"/>
                  </a:cubicBezTo>
                  <a:cubicBezTo>
                    <a:pt x="14114" y="5298"/>
                    <a:pt x="12038" y="3295"/>
                    <a:pt x="10922" y="2434"/>
                  </a:cubicBezTo>
                  <a:cubicBezTo>
                    <a:pt x="9814" y="1618"/>
                    <a:pt x="8361" y="618"/>
                    <a:pt x="7690" y="245"/>
                  </a:cubicBezTo>
                  <a:cubicBezTo>
                    <a:pt x="7018" y="-72"/>
                    <a:pt x="5875" y="-120"/>
                    <a:pt x="5156" y="332"/>
                  </a:cubicBezTo>
                  <a:cubicBezTo>
                    <a:pt x="4443" y="849"/>
                    <a:pt x="3672" y="1522"/>
                    <a:pt x="3520" y="2174"/>
                  </a:cubicBezTo>
                  <a:cubicBezTo>
                    <a:pt x="3362" y="2813"/>
                    <a:pt x="2787" y="3216"/>
                    <a:pt x="2281" y="3043"/>
                  </a:cubicBezTo>
                  <a:cubicBezTo>
                    <a:pt x="1765" y="2951"/>
                    <a:pt x="945" y="2982"/>
                    <a:pt x="477" y="3299"/>
                  </a:cubicBezTo>
                  <a:cubicBezTo>
                    <a:pt x="-12" y="3512"/>
                    <a:pt x="-160" y="5097"/>
                    <a:pt x="198" y="6592"/>
                  </a:cubicBezTo>
                  <a:cubicBezTo>
                    <a:pt x="539" y="8130"/>
                    <a:pt x="1148" y="9868"/>
                    <a:pt x="1589" y="10376"/>
                  </a:cubicBezTo>
                  <a:close/>
                  <a:moveTo>
                    <a:pt x="1589" y="103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 name="AutoShape 134"/>
            <p:cNvSpPr>
              <a:spLocks/>
            </p:cNvSpPr>
            <p:nvPr/>
          </p:nvSpPr>
          <p:spPr bwMode="auto">
            <a:xfrm>
              <a:off x="9296400" y="1816100"/>
              <a:ext cx="4763" cy="4763"/>
            </a:xfrm>
            <a:custGeom>
              <a:avLst/>
              <a:gdLst/>
              <a:ahLst/>
              <a:cxnLst/>
              <a:rect l="0" t="0" r="r" b="b"/>
              <a:pathLst>
                <a:path w="21064" h="20038">
                  <a:moveTo>
                    <a:pt x="2836" y="10106"/>
                  </a:moveTo>
                  <a:cubicBezTo>
                    <a:pt x="2012" y="11117"/>
                    <a:pt x="6551" y="14180"/>
                    <a:pt x="11000" y="17530"/>
                  </a:cubicBezTo>
                  <a:cubicBezTo>
                    <a:pt x="15705" y="20178"/>
                    <a:pt x="20330" y="20880"/>
                    <a:pt x="21064" y="18907"/>
                  </a:cubicBezTo>
                  <a:cubicBezTo>
                    <a:pt x="21064" y="16753"/>
                    <a:pt x="18731" y="12601"/>
                    <a:pt x="14282" y="8601"/>
                  </a:cubicBezTo>
                  <a:cubicBezTo>
                    <a:pt x="9788" y="4911"/>
                    <a:pt x="4259" y="1019"/>
                    <a:pt x="2056" y="370"/>
                  </a:cubicBezTo>
                  <a:cubicBezTo>
                    <a:pt x="-101" y="-720"/>
                    <a:pt x="-536" y="705"/>
                    <a:pt x="633" y="3279"/>
                  </a:cubicBezTo>
                  <a:cubicBezTo>
                    <a:pt x="2447" y="5305"/>
                    <a:pt x="2836" y="8729"/>
                    <a:pt x="2836" y="10106"/>
                  </a:cubicBezTo>
                  <a:close/>
                  <a:moveTo>
                    <a:pt x="2836" y="101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 name="AutoShape 135"/>
            <p:cNvSpPr>
              <a:spLocks/>
            </p:cNvSpPr>
            <p:nvPr/>
          </p:nvSpPr>
          <p:spPr bwMode="auto">
            <a:xfrm>
              <a:off x="9296400" y="1663700"/>
              <a:ext cx="15875" cy="11113"/>
            </a:xfrm>
            <a:custGeom>
              <a:avLst/>
              <a:gdLst/>
              <a:ahLst/>
              <a:cxnLst/>
              <a:rect l="0" t="0" r="r" b="b"/>
              <a:pathLst>
                <a:path w="21600" h="20738">
                  <a:moveTo>
                    <a:pt x="5865" y="7740"/>
                  </a:moveTo>
                  <a:cubicBezTo>
                    <a:pt x="7836" y="9993"/>
                    <a:pt x="11061" y="12488"/>
                    <a:pt x="12731" y="13826"/>
                  </a:cubicBezTo>
                  <a:cubicBezTo>
                    <a:pt x="14368" y="15264"/>
                    <a:pt x="15862" y="16022"/>
                    <a:pt x="16117" y="15945"/>
                  </a:cubicBezTo>
                  <a:cubicBezTo>
                    <a:pt x="16117" y="15577"/>
                    <a:pt x="17690" y="16903"/>
                    <a:pt x="19151" y="18686"/>
                  </a:cubicBezTo>
                  <a:cubicBezTo>
                    <a:pt x="20709" y="20259"/>
                    <a:pt x="21600" y="21227"/>
                    <a:pt x="21600" y="20481"/>
                  </a:cubicBezTo>
                  <a:cubicBezTo>
                    <a:pt x="21409" y="19768"/>
                    <a:pt x="20025" y="17460"/>
                    <a:pt x="18548" y="15210"/>
                  </a:cubicBezTo>
                  <a:cubicBezTo>
                    <a:pt x="16974" y="13091"/>
                    <a:pt x="14796" y="10493"/>
                    <a:pt x="13748" y="9302"/>
                  </a:cubicBezTo>
                  <a:cubicBezTo>
                    <a:pt x="12588" y="8320"/>
                    <a:pt x="11618" y="7329"/>
                    <a:pt x="11428" y="7329"/>
                  </a:cubicBezTo>
                  <a:cubicBezTo>
                    <a:pt x="11237" y="7329"/>
                    <a:pt x="10077" y="6482"/>
                    <a:pt x="8900" y="5323"/>
                  </a:cubicBezTo>
                  <a:cubicBezTo>
                    <a:pt x="7676" y="4206"/>
                    <a:pt x="6595" y="3916"/>
                    <a:pt x="6802" y="4542"/>
                  </a:cubicBezTo>
                  <a:cubicBezTo>
                    <a:pt x="6802" y="5254"/>
                    <a:pt x="5371" y="4352"/>
                    <a:pt x="3497" y="2535"/>
                  </a:cubicBezTo>
                  <a:cubicBezTo>
                    <a:pt x="1526" y="819"/>
                    <a:pt x="0" y="-373"/>
                    <a:pt x="0" y="106"/>
                  </a:cubicBezTo>
                  <a:cubicBezTo>
                    <a:pt x="0" y="574"/>
                    <a:pt x="428" y="1654"/>
                    <a:pt x="985" y="2547"/>
                  </a:cubicBezTo>
                  <a:cubicBezTo>
                    <a:pt x="1478" y="3494"/>
                    <a:pt x="3623" y="6012"/>
                    <a:pt x="5865" y="7740"/>
                  </a:cubicBezTo>
                  <a:close/>
                  <a:moveTo>
                    <a:pt x="5865" y="774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 name="AutoShape 136"/>
            <p:cNvSpPr>
              <a:spLocks/>
            </p:cNvSpPr>
            <p:nvPr/>
          </p:nvSpPr>
          <p:spPr bwMode="auto">
            <a:xfrm>
              <a:off x="9436100" y="2006600"/>
              <a:ext cx="6350" cy="6350"/>
            </a:xfrm>
            <a:custGeom>
              <a:avLst/>
              <a:gdLst/>
              <a:ahLst/>
              <a:cxnLst/>
              <a:rect l="0" t="0" r="r" b="b"/>
              <a:pathLst>
                <a:path w="19825" h="20397">
                  <a:moveTo>
                    <a:pt x="17097" y="19343"/>
                  </a:moveTo>
                  <a:cubicBezTo>
                    <a:pt x="19490" y="21354"/>
                    <a:pt x="20745" y="20314"/>
                    <a:pt x="19034" y="17688"/>
                  </a:cubicBezTo>
                  <a:cubicBezTo>
                    <a:pt x="17817" y="14909"/>
                    <a:pt x="13330" y="9864"/>
                    <a:pt x="9451" y="6489"/>
                  </a:cubicBezTo>
                  <a:cubicBezTo>
                    <a:pt x="5534" y="3217"/>
                    <a:pt x="1538" y="12"/>
                    <a:pt x="324" y="12"/>
                  </a:cubicBezTo>
                  <a:cubicBezTo>
                    <a:pt x="-855" y="-246"/>
                    <a:pt x="1275" y="3437"/>
                    <a:pt x="5230" y="7889"/>
                  </a:cubicBezTo>
                  <a:cubicBezTo>
                    <a:pt x="8688" y="12661"/>
                    <a:pt x="14544" y="17468"/>
                    <a:pt x="17097" y="19343"/>
                  </a:cubicBezTo>
                  <a:close/>
                  <a:moveTo>
                    <a:pt x="17097" y="193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 name="AutoShape 137"/>
            <p:cNvSpPr>
              <a:spLocks/>
            </p:cNvSpPr>
            <p:nvPr/>
          </p:nvSpPr>
          <p:spPr bwMode="auto">
            <a:xfrm>
              <a:off x="9296400" y="1701800"/>
              <a:ext cx="4763" cy="3175"/>
            </a:xfrm>
            <a:custGeom>
              <a:avLst/>
              <a:gdLst/>
              <a:ahLst/>
              <a:cxnLst/>
              <a:rect l="0" t="0" r="r" b="b"/>
              <a:pathLst>
                <a:path w="21129" h="20080">
                  <a:moveTo>
                    <a:pt x="13167" y="17248"/>
                  </a:moveTo>
                  <a:cubicBezTo>
                    <a:pt x="17229" y="20001"/>
                    <a:pt x="20428" y="20875"/>
                    <a:pt x="21059" y="19299"/>
                  </a:cubicBezTo>
                  <a:cubicBezTo>
                    <a:pt x="21600" y="17751"/>
                    <a:pt x="18939" y="13120"/>
                    <a:pt x="15377" y="9789"/>
                  </a:cubicBezTo>
                  <a:cubicBezTo>
                    <a:pt x="12085" y="5860"/>
                    <a:pt x="7077" y="1829"/>
                    <a:pt x="4464" y="1085"/>
                  </a:cubicBezTo>
                  <a:cubicBezTo>
                    <a:pt x="2032" y="-725"/>
                    <a:pt x="0" y="-57"/>
                    <a:pt x="0" y="1525"/>
                  </a:cubicBezTo>
                  <a:cubicBezTo>
                    <a:pt x="0" y="3074"/>
                    <a:pt x="1260" y="6397"/>
                    <a:pt x="3018" y="8111"/>
                  </a:cubicBezTo>
                  <a:cubicBezTo>
                    <a:pt x="4419" y="10498"/>
                    <a:pt x="9064" y="14696"/>
                    <a:pt x="13167" y="17248"/>
                  </a:cubicBezTo>
                  <a:close/>
                  <a:moveTo>
                    <a:pt x="13167" y="172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 name="AutoShape 138"/>
            <p:cNvSpPr>
              <a:spLocks/>
            </p:cNvSpPr>
            <p:nvPr/>
          </p:nvSpPr>
          <p:spPr bwMode="auto">
            <a:xfrm>
              <a:off x="9601200" y="1930400"/>
              <a:ext cx="31750" cy="31750"/>
            </a:xfrm>
            <a:custGeom>
              <a:avLst/>
              <a:gdLst/>
              <a:ahLst/>
              <a:cxnLst/>
              <a:rect l="0" t="0" r="r" b="b"/>
              <a:pathLst>
                <a:path w="21424" h="21443">
                  <a:moveTo>
                    <a:pt x="3821" y="4484"/>
                  </a:moveTo>
                  <a:cubicBezTo>
                    <a:pt x="4561" y="5159"/>
                    <a:pt x="5505" y="6298"/>
                    <a:pt x="6067" y="6884"/>
                  </a:cubicBezTo>
                  <a:cubicBezTo>
                    <a:pt x="6604" y="7469"/>
                    <a:pt x="6938" y="8100"/>
                    <a:pt x="6938" y="8221"/>
                  </a:cubicBezTo>
                  <a:cubicBezTo>
                    <a:pt x="6938" y="8336"/>
                    <a:pt x="6343" y="8108"/>
                    <a:pt x="5814" y="7571"/>
                  </a:cubicBezTo>
                  <a:cubicBezTo>
                    <a:pt x="5188" y="7139"/>
                    <a:pt x="4716" y="6815"/>
                    <a:pt x="4781" y="6892"/>
                  </a:cubicBezTo>
                  <a:cubicBezTo>
                    <a:pt x="4854" y="6965"/>
                    <a:pt x="5245" y="7562"/>
                    <a:pt x="5814" y="8128"/>
                  </a:cubicBezTo>
                  <a:cubicBezTo>
                    <a:pt x="6279" y="8767"/>
                    <a:pt x="7508" y="9742"/>
                    <a:pt x="8378" y="10426"/>
                  </a:cubicBezTo>
                  <a:cubicBezTo>
                    <a:pt x="9209" y="11166"/>
                    <a:pt x="11317" y="12992"/>
                    <a:pt x="13115" y="14404"/>
                  </a:cubicBezTo>
                  <a:cubicBezTo>
                    <a:pt x="14800" y="15965"/>
                    <a:pt x="16826" y="17779"/>
                    <a:pt x="17673" y="18361"/>
                  </a:cubicBezTo>
                  <a:cubicBezTo>
                    <a:pt x="18438" y="19028"/>
                    <a:pt x="19463" y="19968"/>
                    <a:pt x="19960" y="20432"/>
                  </a:cubicBezTo>
                  <a:cubicBezTo>
                    <a:pt x="20456" y="20866"/>
                    <a:pt x="21018" y="21383"/>
                    <a:pt x="21270" y="21424"/>
                  </a:cubicBezTo>
                  <a:cubicBezTo>
                    <a:pt x="21498" y="21521"/>
                    <a:pt x="21465" y="21236"/>
                    <a:pt x="21229" y="20806"/>
                  </a:cubicBezTo>
                  <a:cubicBezTo>
                    <a:pt x="21002" y="20374"/>
                    <a:pt x="20936" y="20069"/>
                    <a:pt x="20936" y="19968"/>
                  </a:cubicBezTo>
                  <a:cubicBezTo>
                    <a:pt x="21042" y="19955"/>
                    <a:pt x="20846" y="19601"/>
                    <a:pt x="20603" y="19195"/>
                  </a:cubicBezTo>
                  <a:cubicBezTo>
                    <a:pt x="20334" y="18796"/>
                    <a:pt x="19618" y="17995"/>
                    <a:pt x="19032" y="17385"/>
                  </a:cubicBezTo>
                  <a:cubicBezTo>
                    <a:pt x="18511" y="16730"/>
                    <a:pt x="17290" y="15421"/>
                    <a:pt x="16541" y="14319"/>
                  </a:cubicBezTo>
                  <a:cubicBezTo>
                    <a:pt x="15743" y="13237"/>
                    <a:pt x="14604" y="11744"/>
                    <a:pt x="13896" y="11122"/>
                  </a:cubicBezTo>
                  <a:cubicBezTo>
                    <a:pt x="13277" y="10409"/>
                    <a:pt x="12057" y="9206"/>
                    <a:pt x="11332" y="8307"/>
                  </a:cubicBezTo>
                  <a:cubicBezTo>
                    <a:pt x="10592" y="7441"/>
                    <a:pt x="9648" y="6436"/>
                    <a:pt x="9387" y="5981"/>
                  </a:cubicBezTo>
                  <a:cubicBezTo>
                    <a:pt x="9013" y="5611"/>
                    <a:pt x="8362" y="4862"/>
                    <a:pt x="7858" y="4391"/>
                  </a:cubicBezTo>
                  <a:cubicBezTo>
                    <a:pt x="7312" y="3955"/>
                    <a:pt x="6229" y="3114"/>
                    <a:pt x="5392" y="2633"/>
                  </a:cubicBezTo>
                  <a:cubicBezTo>
                    <a:pt x="4545" y="2153"/>
                    <a:pt x="3430" y="1596"/>
                    <a:pt x="2877" y="1458"/>
                  </a:cubicBezTo>
                  <a:cubicBezTo>
                    <a:pt x="2331" y="1295"/>
                    <a:pt x="1396" y="913"/>
                    <a:pt x="890" y="474"/>
                  </a:cubicBezTo>
                  <a:cubicBezTo>
                    <a:pt x="370" y="43"/>
                    <a:pt x="-102" y="-79"/>
                    <a:pt x="20" y="47"/>
                  </a:cubicBezTo>
                  <a:cubicBezTo>
                    <a:pt x="134" y="193"/>
                    <a:pt x="696" y="986"/>
                    <a:pt x="1322" y="1792"/>
                  </a:cubicBezTo>
                  <a:cubicBezTo>
                    <a:pt x="2022" y="2531"/>
                    <a:pt x="3080" y="3813"/>
                    <a:pt x="3821" y="4484"/>
                  </a:cubicBezTo>
                  <a:close/>
                  <a:moveTo>
                    <a:pt x="3821" y="44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 name="AutoShape 139"/>
            <p:cNvSpPr>
              <a:spLocks/>
            </p:cNvSpPr>
            <p:nvPr/>
          </p:nvSpPr>
          <p:spPr bwMode="auto">
            <a:xfrm>
              <a:off x="9309100" y="1727200"/>
              <a:ext cx="20638" cy="12700"/>
            </a:xfrm>
            <a:custGeom>
              <a:avLst/>
              <a:gdLst/>
              <a:ahLst/>
              <a:cxnLst/>
              <a:rect l="0" t="0" r="r" b="b"/>
              <a:pathLst>
                <a:path w="21426" h="21205">
                  <a:moveTo>
                    <a:pt x="1015" y="2778"/>
                  </a:moveTo>
                  <a:cubicBezTo>
                    <a:pt x="1696" y="3504"/>
                    <a:pt x="2723" y="4938"/>
                    <a:pt x="3503" y="5369"/>
                  </a:cubicBezTo>
                  <a:cubicBezTo>
                    <a:pt x="4208" y="6048"/>
                    <a:pt x="5645" y="7395"/>
                    <a:pt x="6572" y="8619"/>
                  </a:cubicBezTo>
                  <a:cubicBezTo>
                    <a:pt x="7501" y="9833"/>
                    <a:pt x="9086" y="11688"/>
                    <a:pt x="10163" y="12520"/>
                  </a:cubicBezTo>
                  <a:cubicBezTo>
                    <a:pt x="11215" y="13505"/>
                    <a:pt x="12551" y="14500"/>
                    <a:pt x="13122" y="14786"/>
                  </a:cubicBezTo>
                  <a:cubicBezTo>
                    <a:pt x="13678" y="15140"/>
                    <a:pt x="15225" y="16278"/>
                    <a:pt x="16450" y="17627"/>
                  </a:cubicBezTo>
                  <a:cubicBezTo>
                    <a:pt x="17750" y="18841"/>
                    <a:pt x="19384" y="20314"/>
                    <a:pt x="20115" y="20868"/>
                  </a:cubicBezTo>
                  <a:cubicBezTo>
                    <a:pt x="20870" y="21309"/>
                    <a:pt x="21426" y="21356"/>
                    <a:pt x="21426" y="20772"/>
                  </a:cubicBezTo>
                  <a:cubicBezTo>
                    <a:pt x="21426" y="20189"/>
                    <a:pt x="21080" y="19319"/>
                    <a:pt x="20894" y="18660"/>
                  </a:cubicBezTo>
                  <a:cubicBezTo>
                    <a:pt x="20696" y="18029"/>
                    <a:pt x="20140" y="17101"/>
                    <a:pt x="19670" y="16795"/>
                  </a:cubicBezTo>
                  <a:cubicBezTo>
                    <a:pt x="19384" y="16135"/>
                    <a:pt x="18902" y="15505"/>
                    <a:pt x="18716" y="15064"/>
                  </a:cubicBezTo>
                  <a:cubicBezTo>
                    <a:pt x="18567" y="14606"/>
                    <a:pt x="17886" y="12749"/>
                    <a:pt x="16896" y="11363"/>
                  </a:cubicBezTo>
                  <a:cubicBezTo>
                    <a:pt x="16067" y="9757"/>
                    <a:pt x="14532" y="7989"/>
                    <a:pt x="13652" y="7156"/>
                  </a:cubicBezTo>
                  <a:cubicBezTo>
                    <a:pt x="12750" y="6449"/>
                    <a:pt x="11748" y="5760"/>
                    <a:pt x="11574" y="6105"/>
                  </a:cubicBezTo>
                  <a:cubicBezTo>
                    <a:pt x="11288" y="6105"/>
                    <a:pt x="11475" y="7272"/>
                    <a:pt x="12056" y="8094"/>
                  </a:cubicBezTo>
                  <a:cubicBezTo>
                    <a:pt x="12613" y="8954"/>
                    <a:pt x="12774" y="9700"/>
                    <a:pt x="12501" y="9594"/>
                  </a:cubicBezTo>
                  <a:cubicBezTo>
                    <a:pt x="12218" y="9489"/>
                    <a:pt x="11512" y="8696"/>
                    <a:pt x="10782" y="8132"/>
                  </a:cubicBezTo>
                  <a:cubicBezTo>
                    <a:pt x="10112" y="7425"/>
                    <a:pt x="9110" y="5846"/>
                    <a:pt x="8317" y="4994"/>
                  </a:cubicBezTo>
                  <a:cubicBezTo>
                    <a:pt x="7724" y="3849"/>
                    <a:pt x="6672" y="2825"/>
                    <a:pt x="6226" y="2394"/>
                  </a:cubicBezTo>
                  <a:cubicBezTo>
                    <a:pt x="5830" y="1849"/>
                    <a:pt x="5038" y="2031"/>
                    <a:pt x="5224" y="2376"/>
                  </a:cubicBezTo>
                  <a:cubicBezTo>
                    <a:pt x="5050" y="2758"/>
                    <a:pt x="4654" y="3236"/>
                    <a:pt x="4283" y="2882"/>
                  </a:cubicBezTo>
                  <a:cubicBezTo>
                    <a:pt x="3862" y="2795"/>
                    <a:pt x="2834" y="1687"/>
                    <a:pt x="1831" y="921"/>
                  </a:cubicBezTo>
                  <a:cubicBezTo>
                    <a:pt x="891" y="52"/>
                    <a:pt x="-174" y="-244"/>
                    <a:pt x="24" y="214"/>
                  </a:cubicBezTo>
                  <a:cubicBezTo>
                    <a:pt x="-124" y="721"/>
                    <a:pt x="446" y="1840"/>
                    <a:pt x="1015" y="2778"/>
                  </a:cubicBezTo>
                  <a:close/>
                  <a:moveTo>
                    <a:pt x="1015" y="27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1" name="AutoShape 140"/>
            <p:cNvSpPr>
              <a:spLocks/>
            </p:cNvSpPr>
            <p:nvPr/>
          </p:nvSpPr>
          <p:spPr bwMode="auto">
            <a:xfrm>
              <a:off x="9359900" y="1714500"/>
              <a:ext cx="11113" cy="11113"/>
            </a:xfrm>
            <a:custGeom>
              <a:avLst/>
              <a:gdLst/>
              <a:ahLst/>
              <a:cxnLst/>
              <a:rect l="0" t="0" r="r" b="b"/>
              <a:pathLst>
                <a:path w="21033" h="21008">
                  <a:moveTo>
                    <a:pt x="8662" y="9797"/>
                  </a:moveTo>
                  <a:cubicBezTo>
                    <a:pt x="11864" y="12900"/>
                    <a:pt x="14914" y="15794"/>
                    <a:pt x="14649" y="16060"/>
                  </a:cubicBezTo>
                  <a:cubicBezTo>
                    <a:pt x="14649" y="16431"/>
                    <a:pt x="15443" y="17374"/>
                    <a:pt x="16129" y="18185"/>
                  </a:cubicBezTo>
                  <a:cubicBezTo>
                    <a:pt x="16878" y="18975"/>
                    <a:pt x="18426" y="20324"/>
                    <a:pt x="19729" y="20743"/>
                  </a:cubicBezTo>
                  <a:cubicBezTo>
                    <a:pt x="20920" y="21381"/>
                    <a:pt x="21384" y="20824"/>
                    <a:pt x="20743" y="19546"/>
                  </a:cubicBezTo>
                  <a:cubicBezTo>
                    <a:pt x="19928" y="18406"/>
                    <a:pt x="16944" y="14908"/>
                    <a:pt x="14097" y="11644"/>
                  </a:cubicBezTo>
                  <a:cubicBezTo>
                    <a:pt x="11137" y="8543"/>
                    <a:pt x="7049" y="4742"/>
                    <a:pt x="4995" y="3220"/>
                  </a:cubicBezTo>
                  <a:cubicBezTo>
                    <a:pt x="2987" y="1639"/>
                    <a:pt x="888" y="36"/>
                    <a:pt x="291" y="36"/>
                  </a:cubicBezTo>
                  <a:cubicBezTo>
                    <a:pt x="-216" y="-219"/>
                    <a:pt x="-128" y="942"/>
                    <a:pt x="1087" y="1908"/>
                  </a:cubicBezTo>
                  <a:cubicBezTo>
                    <a:pt x="1770" y="3360"/>
                    <a:pt x="5615" y="6577"/>
                    <a:pt x="8662" y="9797"/>
                  </a:cubicBezTo>
                  <a:close/>
                  <a:moveTo>
                    <a:pt x="8662" y="97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2" name="AutoShape 141"/>
            <p:cNvSpPr>
              <a:spLocks/>
            </p:cNvSpPr>
            <p:nvPr/>
          </p:nvSpPr>
          <p:spPr bwMode="auto">
            <a:xfrm>
              <a:off x="7505700" y="1206500"/>
              <a:ext cx="268288" cy="188913"/>
            </a:xfrm>
            <a:custGeom>
              <a:avLst/>
              <a:gdLst/>
              <a:ahLst/>
              <a:cxnLst/>
              <a:rect l="0" t="0" r="r" b="b"/>
              <a:pathLst>
                <a:path w="21582" h="21586">
                  <a:moveTo>
                    <a:pt x="330" y="3049"/>
                  </a:moveTo>
                  <a:cubicBezTo>
                    <a:pt x="373" y="3168"/>
                    <a:pt x="546" y="3422"/>
                    <a:pt x="728" y="3604"/>
                  </a:cubicBezTo>
                  <a:cubicBezTo>
                    <a:pt x="909" y="3788"/>
                    <a:pt x="1080" y="4022"/>
                    <a:pt x="1116" y="4120"/>
                  </a:cubicBezTo>
                  <a:cubicBezTo>
                    <a:pt x="1144" y="4221"/>
                    <a:pt x="1251" y="4282"/>
                    <a:pt x="1349" y="4261"/>
                  </a:cubicBezTo>
                  <a:cubicBezTo>
                    <a:pt x="1449" y="4242"/>
                    <a:pt x="1595" y="4181"/>
                    <a:pt x="1658" y="4103"/>
                  </a:cubicBezTo>
                  <a:cubicBezTo>
                    <a:pt x="1731" y="4045"/>
                    <a:pt x="1759" y="3905"/>
                    <a:pt x="1721" y="3804"/>
                  </a:cubicBezTo>
                  <a:cubicBezTo>
                    <a:pt x="1690" y="3700"/>
                    <a:pt x="1665" y="3530"/>
                    <a:pt x="1671" y="3419"/>
                  </a:cubicBezTo>
                  <a:cubicBezTo>
                    <a:pt x="1671" y="3308"/>
                    <a:pt x="1741" y="3223"/>
                    <a:pt x="1804" y="3218"/>
                  </a:cubicBezTo>
                  <a:cubicBezTo>
                    <a:pt x="1867" y="3221"/>
                    <a:pt x="1998" y="3281"/>
                    <a:pt x="2101" y="3343"/>
                  </a:cubicBezTo>
                  <a:cubicBezTo>
                    <a:pt x="2200" y="3413"/>
                    <a:pt x="2362" y="3438"/>
                    <a:pt x="2463" y="3418"/>
                  </a:cubicBezTo>
                  <a:cubicBezTo>
                    <a:pt x="2563" y="3379"/>
                    <a:pt x="2681" y="3382"/>
                    <a:pt x="2719" y="3411"/>
                  </a:cubicBezTo>
                  <a:cubicBezTo>
                    <a:pt x="2760" y="3437"/>
                    <a:pt x="2742" y="3537"/>
                    <a:pt x="2677" y="3634"/>
                  </a:cubicBezTo>
                  <a:cubicBezTo>
                    <a:pt x="2619" y="3742"/>
                    <a:pt x="2534" y="3928"/>
                    <a:pt x="2484" y="4058"/>
                  </a:cubicBezTo>
                  <a:cubicBezTo>
                    <a:pt x="2438" y="4191"/>
                    <a:pt x="2386" y="4314"/>
                    <a:pt x="2359" y="4330"/>
                  </a:cubicBezTo>
                  <a:cubicBezTo>
                    <a:pt x="2332" y="4345"/>
                    <a:pt x="2318" y="4421"/>
                    <a:pt x="2338" y="4494"/>
                  </a:cubicBezTo>
                  <a:cubicBezTo>
                    <a:pt x="2352" y="4570"/>
                    <a:pt x="2490" y="4706"/>
                    <a:pt x="2639" y="4811"/>
                  </a:cubicBezTo>
                  <a:cubicBezTo>
                    <a:pt x="2790" y="4908"/>
                    <a:pt x="2913" y="5019"/>
                    <a:pt x="2919" y="5053"/>
                  </a:cubicBezTo>
                  <a:cubicBezTo>
                    <a:pt x="2911" y="5086"/>
                    <a:pt x="2992" y="5145"/>
                    <a:pt x="3068" y="5188"/>
                  </a:cubicBezTo>
                  <a:cubicBezTo>
                    <a:pt x="3143" y="5240"/>
                    <a:pt x="3291" y="5263"/>
                    <a:pt x="3391" y="5263"/>
                  </a:cubicBezTo>
                  <a:cubicBezTo>
                    <a:pt x="3490" y="5278"/>
                    <a:pt x="3610" y="5294"/>
                    <a:pt x="3661" y="5319"/>
                  </a:cubicBezTo>
                  <a:cubicBezTo>
                    <a:pt x="3713" y="5349"/>
                    <a:pt x="3756" y="5449"/>
                    <a:pt x="3756" y="5539"/>
                  </a:cubicBezTo>
                  <a:cubicBezTo>
                    <a:pt x="3756" y="5629"/>
                    <a:pt x="3659" y="5737"/>
                    <a:pt x="3544" y="5791"/>
                  </a:cubicBezTo>
                  <a:cubicBezTo>
                    <a:pt x="3428" y="5840"/>
                    <a:pt x="3278" y="5869"/>
                    <a:pt x="3214" y="5866"/>
                  </a:cubicBezTo>
                  <a:cubicBezTo>
                    <a:pt x="3149" y="5849"/>
                    <a:pt x="3089" y="5823"/>
                    <a:pt x="3081" y="5784"/>
                  </a:cubicBezTo>
                  <a:cubicBezTo>
                    <a:pt x="3074" y="5744"/>
                    <a:pt x="3009" y="5673"/>
                    <a:pt x="2952" y="5602"/>
                  </a:cubicBezTo>
                  <a:cubicBezTo>
                    <a:pt x="2888" y="5541"/>
                    <a:pt x="2666" y="5375"/>
                    <a:pt x="2450" y="5251"/>
                  </a:cubicBezTo>
                  <a:cubicBezTo>
                    <a:pt x="2241" y="5109"/>
                    <a:pt x="2020" y="5014"/>
                    <a:pt x="1965" y="5021"/>
                  </a:cubicBezTo>
                  <a:cubicBezTo>
                    <a:pt x="1910" y="5016"/>
                    <a:pt x="1853" y="5095"/>
                    <a:pt x="1861" y="5166"/>
                  </a:cubicBezTo>
                  <a:cubicBezTo>
                    <a:pt x="1861" y="5238"/>
                    <a:pt x="1948" y="5398"/>
                    <a:pt x="2069" y="5503"/>
                  </a:cubicBezTo>
                  <a:cubicBezTo>
                    <a:pt x="2184" y="5615"/>
                    <a:pt x="2380" y="5742"/>
                    <a:pt x="2496" y="5806"/>
                  </a:cubicBezTo>
                  <a:cubicBezTo>
                    <a:pt x="2613" y="5854"/>
                    <a:pt x="2788" y="5954"/>
                    <a:pt x="2879" y="6030"/>
                  </a:cubicBezTo>
                  <a:cubicBezTo>
                    <a:pt x="2974" y="6096"/>
                    <a:pt x="3062" y="6181"/>
                    <a:pt x="3062" y="6212"/>
                  </a:cubicBezTo>
                  <a:cubicBezTo>
                    <a:pt x="3072" y="6240"/>
                    <a:pt x="3019" y="6296"/>
                    <a:pt x="2955" y="6350"/>
                  </a:cubicBezTo>
                  <a:cubicBezTo>
                    <a:pt x="2889" y="6384"/>
                    <a:pt x="2919" y="6503"/>
                    <a:pt x="3013" y="6583"/>
                  </a:cubicBezTo>
                  <a:cubicBezTo>
                    <a:pt x="3105" y="6670"/>
                    <a:pt x="3309" y="6790"/>
                    <a:pt x="3458" y="6859"/>
                  </a:cubicBezTo>
                  <a:cubicBezTo>
                    <a:pt x="3607" y="6928"/>
                    <a:pt x="3814" y="7030"/>
                    <a:pt x="3914" y="7095"/>
                  </a:cubicBezTo>
                  <a:cubicBezTo>
                    <a:pt x="4013" y="7163"/>
                    <a:pt x="4135" y="7273"/>
                    <a:pt x="4190" y="7344"/>
                  </a:cubicBezTo>
                  <a:cubicBezTo>
                    <a:pt x="4242" y="7419"/>
                    <a:pt x="4381" y="7528"/>
                    <a:pt x="4502" y="7583"/>
                  </a:cubicBezTo>
                  <a:cubicBezTo>
                    <a:pt x="4623" y="7637"/>
                    <a:pt x="4785" y="7659"/>
                    <a:pt x="4862" y="7674"/>
                  </a:cubicBezTo>
                  <a:cubicBezTo>
                    <a:pt x="4934" y="7656"/>
                    <a:pt x="5099" y="7687"/>
                    <a:pt x="5221" y="7706"/>
                  </a:cubicBezTo>
                  <a:cubicBezTo>
                    <a:pt x="5344" y="7725"/>
                    <a:pt x="5477" y="7782"/>
                    <a:pt x="5518" y="7816"/>
                  </a:cubicBezTo>
                  <a:cubicBezTo>
                    <a:pt x="5550" y="7867"/>
                    <a:pt x="5520" y="7924"/>
                    <a:pt x="5429" y="7951"/>
                  </a:cubicBezTo>
                  <a:cubicBezTo>
                    <a:pt x="5341" y="7990"/>
                    <a:pt x="5115" y="7999"/>
                    <a:pt x="4927" y="7979"/>
                  </a:cubicBezTo>
                  <a:cubicBezTo>
                    <a:pt x="4740" y="7958"/>
                    <a:pt x="4613" y="8025"/>
                    <a:pt x="4643" y="8126"/>
                  </a:cubicBezTo>
                  <a:cubicBezTo>
                    <a:pt x="4676" y="8225"/>
                    <a:pt x="4782" y="8405"/>
                    <a:pt x="4879" y="8531"/>
                  </a:cubicBezTo>
                  <a:cubicBezTo>
                    <a:pt x="4983" y="8652"/>
                    <a:pt x="5101" y="8747"/>
                    <a:pt x="5144" y="8744"/>
                  </a:cubicBezTo>
                  <a:cubicBezTo>
                    <a:pt x="5186" y="8732"/>
                    <a:pt x="5327" y="8769"/>
                    <a:pt x="5451" y="8810"/>
                  </a:cubicBezTo>
                  <a:cubicBezTo>
                    <a:pt x="5575" y="8860"/>
                    <a:pt x="5850" y="9013"/>
                    <a:pt x="6060" y="9177"/>
                  </a:cubicBezTo>
                  <a:cubicBezTo>
                    <a:pt x="6267" y="9340"/>
                    <a:pt x="6504" y="9546"/>
                    <a:pt x="6584" y="9643"/>
                  </a:cubicBezTo>
                  <a:cubicBezTo>
                    <a:pt x="6660" y="9745"/>
                    <a:pt x="6694" y="9853"/>
                    <a:pt x="6655" y="9901"/>
                  </a:cubicBezTo>
                  <a:cubicBezTo>
                    <a:pt x="6612" y="9944"/>
                    <a:pt x="6564" y="10022"/>
                    <a:pt x="6549" y="10075"/>
                  </a:cubicBezTo>
                  <a:cubicBezTo>
                    <a:pt x="6533" y="10126"/>
                    <a:pt x="6657" y="10201"/>
                    <a:pt x="6827" y="10231"/>
                  </a:cubicBezTo>
                  <a:cubicBezTo>
                    <a:pt x="6998" y="10255"/>
                    <a:pt x="7380" y="10303"/>
                    <a:pt x="7679" y="10340"/>
                  </a:cubicBezTo>
                  <a:cubicBezTo>
                    <a:pt x="7979" y="10350"/>
                    <a:pt x="8306" y="10347"/>
                    <a:pt x="8403" y="10298"/>
                  </a:cubicBezTo>
                  <a:cubicBezTo>
                    <a:pt x="8504" y="10257"/>
                    <a:pt x="8575" y="10146"/>
                    <a:pt x="8575" y="10065"/>
                  </a:cubicBezTo>
                  <a:cubicBezTo>
                    <a:pt x="8575" y="9984"/>
                    <a:pt x="8606" y="9818"/>
                    <a:pt x="8662" y="9700"/>
                  </a:cubicBezTo>
                  <a:cubicBezTo>
                    <a:pt x="8720" y="9582"/>
                    <a:pt x="8836" y="9475"/>
                    <a:pt x="8927" y="9456"/>
                  </a:cubicBezTo>
                  <a:cubicBezTo>
                    <a:pt x="9017" y="9437"/>
                    <a:pt x="9189" y="9457"/>
                    <a:pt x="9305" y="9475"/>
                  </a:cubicBezTo>
                  <a:cubicBezTo>
                    <a:pt x="9423" y="9499"/>
                    <a:pt x="9514" y="9459"/>
                    <a:pt x="9495" y="9389"/>
                  </a:cubicBezTo>
                  <a:cubicBezTo>
                    <a:pt x="9481" y="9316"/>
                    <a:pt x="9401" y="9152"/>
                    <a:pt x="9310" y="9026"/>
                  </a:cubicBezTo>
                  <a:cubicBezTo>
                    <a:pt x="9225" y="8897"/>
                    <a:pt x="9074" y="8712"/>
                    <a:pt x="8987" y="8594"/>
                  </a:cubicBezTo>
                  <a:cubicBezTo>
                    <a:pt x="8891" y="8486"/>
                    <a:pt x="8797" y="8290"/>
                    <a:pt x="8782" y="8164"/>
                  </a:cubicBezTo>
                  <a:cubicBezTo>
                    <a:pt x="8767" y="8038"/>
                    <a:pt x="8705" y="7877"/>
                    <a:pt x="8665" y="7790"/>
                  </a:cubicBezTo>
                  <a:cubicBezTo>
                    <a:pt x="8615" y="7715"/>
                    <a:pt x="8591" y="7575"/>
                    <a:pt x="8577" y="7498"/>
                  </a:cubicBezTo>
                  <a:cubicBezTo>
                    <a:pt x="8577" y="7420"/>
                    <a:pt x="8614" y="7343"/>
                    <a:pt x="8674" y="7324"/>
                  </a:cubicBezTo>
                  <a:cubicBezTo>
                    <a:pt x="8731" y="7299"/>
                    <a:pt x="8848" y="7322"/>
                    <a:pt x="8931" y="7361"/>
                  </a:cubicBezTo>
                  <a:cubicBezTo>
                    <a:pt x="9014" y="7400"/>
                    <a:pt x="9156" y="7520"/>
                    <a:pt x="9249" y="7628"/>
                  </a:cubicBezTo>
                  <a:cubicBezTo>
                    <a:pt x="9337" y="7740"/>
                    <a:pt x="9407" y="7861"/>
                    <a:pt x="9394" y="7897"/>
                  </a:cubicBezTo>
                  <a:cubicBezTo>
                    <a:pt x="9378" y="7934"/>
                    <a:pt x="9396" y="8017"/>
                    <a:pt x="9423" y="8080"/>
                  </a:cubicBezTo>
                  <a:cubicBezTo>
                    <a:pt x="9452" y="8145"/>
                    <a:pt x="9551" y="8151"/>
                    <a:pt x="9635" y="8093"/>
                  </a:cubicBezTo>
                  <a:cubicBezTo>
                    <a:pt x="9722" y="8035"/>
                    <a:pt x="9809" y="7931"/>
                    <a:pt x="9823" y="7856"/>
                  </a:cubicBezTo>
                  <a:cubicBezTo>
                    <a:pt x="9835" y="7780"/>
                    <a:pt x="9798" y="7571"/>
                    <a:pt x="9740" y="7385"/>
                  </a:cubicBezTo>
                  <a:cubicBezTo>
                    <a:pt x="9694" y="7192"/>
                    <a:pt x="9674" y="7008"/>
                    <a:pt x="9721" y="6937"/>
                  </a:cubicBezTo>
                  <a:cubicBezTo>
                    <a:pt x="9774" y="6876"/>
                    <a:pt x="9854" y="6831"/>
                    <a:pt x="9904" y="6833"/>
                  </a:cubicBezTo>
                  <a:cubicBezTo>
                    <a:pt x="9954" y="6838"/>
                    <a:pt x="10049" y="6898"/>
                    <a:pt x="10109" y="6973"/>
                  </a:cubicBezTo>
                  <a:cubicBezTo>
                    <a:pt x="10174" y="7038"/>
                    <a:pt x="10249" y="7225"/>
                    <a:pt x="10298" y="7365"/>
                  </a:cubicBezTo>
                  <a:cubicBezTo>
                    <a:pt x="10340" y="7508"/>
                    <a:pt x="10426" y="7675"/>
                    <a:pt x="10486" y="7746"/>
                  </a:cubicBezTo>
                  <a:cubicBezTo>
                    <a:pt x="10550" y="7809"/>
                    <a:pt x="10615" y="7919"/>
                    <a:pt x="10615" y="7987"/>
                  </a:cubicBezTo>
                  <a:cubicBezTo>
                    <a:pt x="10628" y="8053"/>
                    <a:pt x="10567" y="8162"/>
                    <a:pt x="10486" y="8218"/>
                  </a:cubicBezTo>
                  <a:cubicBezTo>
                    <a:pt x="10404" y="8273"/>
                    <a:pt x="10339" y="8375"/>
                    <a:pt x="10316" y="8419"/>
                  </a:cubicBezTo>
                  <a:cubicBezTo>
                    <a:pt x="10316" y="8473"/>
                    <a:pt x="10343" y="8640"/>
                    <a:pt x="10399" y="8798"/>
                  </a:cubicBezTo>
                  <a:cubicBezTo>
                    <a:pt x="10442" y="8963"/>
                    <a:pt x="10567" y="9117"/>
                    <a:pt x="10644" y="9160"/>
                  </a:cubicBezTo>
                  <a:cubicBezTo>
                    <a:pt x="10723" y="9203"/>
                    <a:pt x="10893" y="9236"/>
                    <a:pt x="11020" y="9231"/>
                  </a:cubicBezTo>
                  <a:cubicBezTo>
                    <a:pt x="11146" y="9240"/>
                    <a:pt x="11417" y="9116"/>
                    <a:pt x="11620" y="8983"/>
                  </a:cubicBezTo>
                  <a:cubicBezTo>
                    <a:pt x="11820" y="8844"/>
                    <a:pt x="12008" y="8655"/>
                    <a:pt x="12048" y="8560"/>
                  </a:cubicBezTo>
                  <a:cubicBezTo>
                    <a:pt x="12077" y="8454"/>
                    <a:pt x="12081" y="8275"/>
                    <a:pt x="12065" y="8147"/>
                  </a:cubicBezTo>
                  <a:cubicBezTo>
                    <a:pt x="12049" y="8018"/>
                    <a:pt x="12046" y="7871"/>
                    <a:pt x="12085" y="7825"/>
                  </a:cubicBezTo>
                  <a:cubicBezTo>
                    <a:pt x="12117" y="7770"/>
                    <a:pt x="12210" y="7735"/>
                    <a:pt x="12283" y="7756"/>
                  </a:cubicBezTo>
                  <a:cubicBezTo>
                    <a:pt x="12355" y="7768"/>
                    <a:pt x="12481" y="7861"/>
                    <a:pt x="12570" y="7948"/>
                  </a:cubicBezTo>
                  <a:cubicBezTo>
                    <a:pt x="12653" y="8033"/>
                    <a:pt x="12722" y="8219"/>
                    <a:pt x="12737" y="8346"/>
                  </a:cubicBezTo>
                  <a:cubicBezTo>
                    <a:pt x="12737" y="8475"/>
                    <a:pt x="12708" y="8658"/>
                    <a:pt x="12650" y="8763"/>
                  </a:cubicBezTo>
                  <a:cubicBezTo>
                    <a:pt x="12589" y="8863"/>
                    <a:pt x="12546" y="9016"/>
                    <a:pt x="12560" y="9096"/>
                  </a:cubicBezTo>
                  <a:cubicBezTo>
                    <a:pt x="12575" y="9177"/>
                    <a:pt x="12678" y="9301"/>
                    <a:pt x="12800" y="9354"/>
                  </a:cubicBezTo>
                  <a:cubicBezTo>
                    <a:pt x="12919" y="9421"/>
                    <a:pt x="13124" y="9469"/>
                    <a:pt x="13253" y="9466"/>
                  </a:cubicBezTo>
                  <a:cubicBezTo>
                    <a:pt x="13379" y="9461"/>
                    <a:pt x="13565" y="9413"/>
                    <a:pt x="13669" y="9351"/>
                  </a:cubicBezTo>
                  <a:cubicBezTo>
                    <a:pt x="13772" y="9288"/>
                    <a:pt x="13929" y="9261"/>
                    <a:pt x="14022" y="9261"/>
                  </a:cubicBezTo>
                  <a:cubicBezTo>
                    <a:pt x="14110" y="9292"/>
                    <a:pt x="14181" y="9333"/>
                    <a:pt x="14196" y="9381"/>
                  </a:cubicBezTo>
                  <a:cubicBezTo>
                    <a:pt x="14196" y="9434"/>
                    <a:pt x="14135" y="9495"/>
                    <a:pt x="14066" y="9559"/>
                  </a:cubicBezTo>
                  <a:cubicBezTo>
                    <a:pt x="13988" y="9597"/>
                    <a:pt x="13814" y="9658"/>
                    <a:pt x="13675" y="9670"/>
                  </a:cubicBezTo>
                  <a:cubicBezTo>
                    <a:pt x="13538" y="9689"/>
                    <a:pt x="13329" y="9749"/>
                    <a:pt x="13215" y="9813"/>
                  </a:cubicBezTo>
                  <a:cubicBezTo>
                    <a:pt x="13105" y="9891"/>
                    <a:pt x="12796" y="9920"/>
                    <a:pt x="12542" y="9874"/>
                  </a:cubicBezTo>
                  <a:cubicBezTo>
                    <a:pt x="12285" y="9855"/>
                    <a:pt x="11914" y="9843"/>
                    <a:pt x="11716" y="9878"/>
                  </a:cubicBezTo>
                  <a:cubicBezTo>
                    <a:pt x="11516" y="9900"/>
                    <a:pt x="11328" y="9991"/>
                    <a:pt x="11278" y="10020"/>
                  </a:cubicBezTo>
                  <a:cubicBezTo>
                    <a:pt x="11236" y="10073"/>
                    <a:pt x="11231" y="10166"/>
                    <a:pt x="11262" y="10248"/>
                  </a:cubicBezTo>
                  <a:cubicBezTo>
                    <a:pt x="11290" y="10328"/>
                    <a:pt x="11201" y="10393"/>
                    <a:pt x="11056" y="10422"/>
                  </a:cubicBezTo>
                  <a:cubicBezTo>
                    <a:pt x="10907" y="10429"/>
                    <a:pt x="10683" y="10525"/>
                    <a:pt x="10565" y="10622"/>
                  </a:cubicBezTo>
                  <a:cubicBezTo>
                    <a:pt x="10440" y="10703"/>
                    <a:pt x="10279" y="10863"/>
                    <a:pt x="10189" y="10935"/>
                  </a:cubicBezTo>
                  <a:cubicBezTo>
                    <a:pt x="10107" y="11028"/>
                    <a:pt x="9977" y="11055"/>
                    <a:pt x="9899" y="11037"/>
                  </a:cubicBezTo>
                  <a:cubicBezTo>
                    <a:pt x="9827" y="11004"/>
                    <a:pt x="9659" y="11025"/>
                    <a:pt x="9524" y="11056"/>
                  </a:cubicBezTo>
                  <a:cubicBezTo>
                    <a:pt x="9391" y="11089"/>
                    <a:pt x="9258" y="11200"/>
                    <a:pt x="9245" y="11300"/>
                  </a:cubicBezTo>
                  <a:cubicBezTo>
                    <a:pt x="9212" y="11388"/>
                    <a:pt x="9157" y="11458"/>
                    <a:pt x="9103" y="11473"/>
                  </a:cubicBezTo>
                  <a:cubicBezTo>
                    <a:pt x="9047" y="11456"/>
                    <a:pt x="8956" y="11414"/>
                    <a:pt x="8920" y="11323"/>
                  </a:cubicBezTo>
                  <a:cubicBezTo>
                    <a:pt x="8877" y="11240"/>
                    <a:pt x="8792" y="11139"/>
                    <a:pt x="8734" y="11088"/>
                  </a:cubicBezTo>
                  <a:cubicBezTo>
                    <a:pt x="8671" y="11062"/>
                    <a:pt x="8543" y="11019"/>
                    <a:pt x="8441" y="11042"/>
                  </a:cubicBezTo>
                  <a:cubicBezTo>
                    <a:pt x="8337" y="11064"/>
                    <a:pt x="8179" y="11102"/>
                    <a:pt x="8088" y="11126"/>
                  </a:cubicBezTo>
                  <a:cubicBezTo>
                    <a:pt x="8000" y="11154"/>
                    <a:pt x="7927" y="11215"/>
                    <a:pt x="7927" y="11270"/>
                  </a:cubicBezTo>
                  <a:cubicBezTo>
                    <a:pt x="7927" y="11326"/>
                    <a:pt x="7899" y="11406"/>
                    <a:pt x="7899" y="11460"/>
                  </a:cubicBezTo>
                  <a:cubicBezTo>
                    <a:pt x="7877" y="11506"/>
                    <a:pt x="7926" y="11701"/>
                    <a:pt x="8002" y="11882"/>
                  </a:cubicBezTo>
                  <a:cubicBezTo>
                    <a:pt x="8075" y="12065"/>
                    <a:pt x="8149" y="12351"/>
                    <a:pt x="8191" y="12508"/>
                  </a:cubicBezTo>
                  <a:cubicBezTo>
                    <a:pt x="8220" y="12670"/>
                    <a:pt x="8288" y="12839"/>
                    <a:pt x="8340" y="12871"/>
                  </a:cubicBezTo>
                  <a:cubicBezTo>
                    <a:pt x="8390" y="12913"/>
                    <a:pt x="8533" y="12947"/>
                    <a:pt x="8652" y="12961"/>
                  </a:cubicBezTo>
                  <a:cubicBezTo>
                    <a:pt x="8772" y="12983"/>
                    <a:pt x="8962" y="12957"/>
                    <a:pt x="9076" y="12927"/>
                  </a:cubicBezTo>
                  <a:cubicBezTo>
                    <a:pt x="9192" y="12893"/>
                    <a:pt x="9423" y="12876"/>
                    <a:pt x="9592" y="12884"/>
                  </a:cubicBezTo>
                  <a:cubicBezTo>
                    <a:pt x="9761" y="12886"/>
                    <a:pt x="9952" y="12864"/>
                    <a:pt x="10022" y="12854"/>
                  </a:cubicBezTo>
                  <a:cubicBezTo>
                    <a:pt x="10089" y="12824"/>
                    <a:pt x="10228" y="12823"/>
                    <a:pt x="10326" y="12855"/>
                  </a:cubicBezTo>
                  <a:cubicBezTo>
                    <a:pt x="10426" y="12883"/>
                    <a:pt x="10614" y="12897"/>
                    <a:pt x="10745" y="12903"/>
                  </a:cubicBezTo>
                  <a:cubicBezTo>
                    <a:pt x="10874" y="12898"/>
                    <a:pt x="11060" y="12821"/>
                    <a:pt x="11164" y="12736"/>
                  </a:cubicBezTo>
                  <a:cubicBezTo>
                    <a:pt x="11263" y="12638"/>
                    <a:pt x="11383" y="12560"/>
                    <a:pt x="11428" y="12563"/>
                  </a:cubicBezTo>
                  <a:cubicBezTo>
                    <a:pt x="11471" y="12551"/>
                    <a:pt x="11550" y="12544"/>
                    <a:pt x="11602" y="12514"/>
                  </a:cubicBezTo>
                  <a:cubicBezTo>
                    <a:pt x="11653" y="12486"/>
                    <a:pt x="11807" y="12501"/>
                    <a:pt x="11943" y="12506"/>
                  </a:cubicBezTo>
                  <a:cubicBezTo>
                    <a:pt x="12074" y="12530"/>
                    <a:pt x="12213" y="12584"/>
                    <a:pt x="12255" y="12619"/>
                  </a:cubicBezTo>
                  <a:cubicBezTo>
                    <a:pt x="12295" y="12660"/>
                    <a:pt x="12397" y="12706"/>
                    <a:pt x="12486" y="12709"/>
                  </a:cubicBezTo>
                  <a:cubicBezTo>
                    <a:pt x="12575" y="12709"/>
                    <a:pt x="12911" y="12747"/>
                    <a:pt x="13233" y="12810"/>
                  </a:cubicBezTo>
                  <a:cubicBezTo>
                    <a:pt x="13553" y="12864"/>
                    <a:pt x="13879" y="12860"/>
                    <a:pt x="13954" y="12819"/>
                  </a:cubicBezTo>
                  <a:cubicBezTo>
                    <a:pt x="14028" y="12770"/>
                    <a:pt x="14181" y="12708"/>
                    <a:pt x="14292" y="12666"/>
                  </a:cubicBezTo>
                  <a:cubicBezTo>
                    <a:pt x="14404" y="12632"/>
                    <a:pt x="14549" y="12621"/>
                    <a:pt x="14622" y="12644"/>
                  </a:cubicBezTo>
                  <a:cubicBezTo>
                    <a:pt x="14689" y="12680"/>
                    <a:pt x="14748" y="12747"/>
                    <a:pt x="14763" y="12805"/>
                  </a:cubicBezTo>
                  <a:cubicBezTo>
                    <a:pt x="14763" y="12867"/>
                    <a:pt x="14714" y="12946"/>
                    <a:pt x="14639" y="12976"/>
                  </a:cubicBezTo>
                  <a:cubicBezTo>
                    <a:pt x="14567" y="13015"/>
                    <a:pt x="14510" y="13106"/>
                    <a:pt x="14496" y="13185"/>
                  </a:cubicBezTo>
                  <a:cubicBezTo>
                    <a:pt x="14483" y="13264"/>
                    <a:pt x="14447" y="13319"/>
                    <a:pt x="14413" y="13277"/>
                  </a:cubicBezTo>
                  <a:cubicBezTo>
                    <a:pt x="14372" y="13255"/>
                    <a:pt x="14292" y="13224"/>
                    <a:pt x="14229" y="13214"/>
                  </a:cubicBezTo>
                  <a:cubicBezTo>
                    <a:pt x="14167" y="13209"/>
                    <a:pt x="14035" y="13225"/>
                    <a:pt x="13935" y="13246"/>
                  </a:cubicBezTo>
                  <a:cubicBezTo>
                    <a:pt x="13831" y="13270"/>
                    <a:pt x="13572" y="13252"/>
                    <a:pt x="13360" y="13209"/>
                  </a:cubicBezTo>
                  <a:cubicBezTo>
                    <a:pt x="13146" y="13163"/>
                    <a:pt x="12868" y="13165"/>
                    <a:pt x="12743" y="13210"/>
                  </a:cubicBezTo>
                  <a:cubicBezTo>
                    <a:pt x="12618" y="13255"/>
                    <a:pt x="12306" y="13316"/>
                    <a:pt x="12054" y="13374"/>
                  </a:cubicBezTo>
                  <a:cubicBezTo>
                    <a:pt x="11797" y="13417"/>
                    <a:pt x="11494" y="13445"/>
                    <a:pt x="11377" y="13432"/>
                  </a:cubicBezTo>
                  <a:cubicBezTo>
                    <a:pt x="11262" y="13414"/>
                    <a:pt x="11064" y="13411"/>
                    <a:pt x="10937" y="13416"/>
                  </a:cubicBezTo>
                  <a:cubicBezTo>
                    <a:pt x="10811" y="13422"/>
                    <a:pt x="10719" y="13457"/>
                    <a:pt x="10719" y="13495"/>
                  </a:cubicBezTo>
                  <a:cubicBezTo>
                    <a:pt x="10719" y="13534"/>
                    <a:pt x="10857" y="13621"/>
                    <a:pt x="11014" y="13692"/>
                  </a:cubicBezTo>
                  <a:cubicBezTo>
                    <a:pt x="11172" y="13757"/>
                    <a:pt x="11480" y="13872"/>
                    <a:pt x="11704" y="13928"/>
                  </a:cubicBezTo>
                  <a:cubicBezTo>
                    <a:pt x="11926" y="13981"/>
                    <a:pt x="12215" y="14037"/>
                    <a:pt x="12345" y="14058"/>
                  </a:cubicBezTo>
                  <a:cubicBezTo>
                    <a:pt x="12478" y="14064"/>
                    <a:pt x="12715" y="14182"/>
                    <a:pt x="12882" y="14270"/>
                  </a:cubicBezTo>
                  <a:cubicBezTo>
                    <a:pt x="13048" y="14372"/>
                    <a:pt x="13161" y="14507"/>
                    <a:pt x="13176" y="14559"/>
                  </a:cubicBezTo>
                  <a:cubicBezTo>
                    <a:pt x="13160" y="14613"/>
                    <a:pt x="12939" y="14644"/>
                    <a:pt x="12659" y="14615"/>
                  </a:cubicBezTo>
                  <a:cubicBezTo>
                    <a:pt x="12381" y="14587"/>
                    <a:pt x="12048" y="14566"/>
                    <a:pt x="11925" y="14561"/>
                  </a:cubicBezTo>
                  <a:cubicBezTo>
                    <a:pt x="11800" y="14556"/>
                    <a:pt x="11636" y="14523"/>
                    <a:pt x="11558" y="14479"/>
                  </a:cubicBezTo>
                  <a:cubicBezTo>
                    <a:pt x="11483" y="14438"/>
                    <a:pt x="11299" y="14370"/>
                    <a:pt x="11152" y="14317"/>
                  </a:cubicBezTo>
                  <a:cubicBezTo>
                    <a:pt x="11005" y="14275"/>
                    <a:pt x="10855" y="14273"/>
                    <a:pt x="10815" y="14313"/>
                  </a:cubicBezTo>
                  <a:cubicBezTo>
                    <a:pt x="10786" y="14369"/>
                    <a:pt x="10711" y="14375"/>
                    <a:pt x="10668" y="14383"/>
                  </a:cubicBezTo>
                  <a:cubicBezTo>
                    <a:pt x="10626" y="14372"/>
                    <a:pt x="10530" y="14328"/>
                    <a:pt x="10455" y="14276"/>
                  </a:cubicBezTo>
                  <a:cubicBezTo>
                    <a:pt x="10381" y="14223"/>
                    <a:pt x="10226" y="14103"/>
                    <a:pt x="10130" y="13974"/>
                  </a:cubicBezTo>
                  <a:cubicBezTo>
                    <a:pt x="10023" y="13868"/>
                    <a:pt x="9871" y="13761"/>
                    <a:pt x="9788" y="13740"/>
                  </a:cubicBezTo>
                  <a:cubicBezTo>
                    <a:pt x="9702" y="13730"/>
                    <a:pt x="9480" y="13755"/>
                    <a:pt x="9301" y="13839"/>
                  </a:cubicBezTo>
                  <a:cubicBezTo>
                    <a:pt x="9115" y="13896"/>
                    <a:pt x="8971" y="13996"/>
                    <a:pt x="8971" y="14032"/>
                  </a:cubicBezTo>
                  <a:cubicBezTo>
                    <a:pt x="8983" y="14063"/>
                    <a:pt x="9047" y="14177"/>
                    <a:pt x="9143" y="14253"/>
                  </a:cubicBezTo>
                  <a:cubicBezTo>
                    <a:pt x="9240" y="14338"/>
                    <a:pt x="9328" y="14461"/>
                    <a:pt x="9343" y="14525"/>
                  </a:cubicBezTo>
                  <a:cubicBezTo>
                    <a:pt x="9343" y="14592"/>
                    <a:pt x="9337" y="14694"/>
                    <a:pt x="9319" y="14771"/>
                  </a:cubicBezTo>
                  <a:cubicBezTo>
                    <a:pt x="9291" y="14841"/>
                    <a:pt x="9299" y="14928"/>
                    <a:pt x="9337" y="14935"/>
                  </a:cubicBezTo>
                  <a:cubicBezTo>
                    <a:pt x="9373" y="14950"/>
                    <a:pt x="9390" y="15011"/>
                    <a:pt x="9401" y="15057"/>
                  </a:cubicBezTo>
                  <a:cubicBezTo>
                    <a:pt x="9386" y="15101"/>
                    <a:pt x="9417" y="15193"/>
                    <a:pt x="9449" y="15233"/>
                  </a:cubicBezTo>
                  <a:cubicBezTo>
                    <a:pt x="9479" y="15283"/>
                    <a:pt x="9604" y="15379"/>
                    <a:pt x="9727" y="15451"/>
                  </a:cubicBezTo>
                  <a:cubicBezTo>
                    <a:pt x="9853" y="15520"/>
                    <a:pt x="9977" y="15646"/>
                    <a:pt x="9994" y="15732"/>
                  </a:cubicBezTo>
                  <a:cubicBezTo>
                    <a:pt x="10011" y="15820"/>
                    <a:pt x="10059" y="15919"/>
                    <a:pt x="10090" y="15958"/>
                  </a:cubicBezTo>
                  <a:cubicBezTo>
                    <a:pt x="10113" y="16004"/>
                    <a:pt x="10190" y="16042"/>
                    <a:pt x="10246" y="16032"/>
                  </a:cubicBezTo>
                  <a:cubicBezTo>
                    <a:pt x="10302" y="16036"/>
                    <a:pt x="10438" y="16100"/>
                    <a:pt x="10542" y="16188"/>
                  </a:cubicBezTo>
                  <a:cubicBezTo>
                    <a:pt x="10646" y="16275"/>
                    <a:pt x="10744" y="16393"/>
                    <a:pt x="10760" y="16455"/>
                  </a:cubicBezTo>
                  <a:cubicBezTo>
                    <a:pt x="10760" y="16522"/>
                    <a:pt x="10861" y="16629"/>
                    <a:pt x="10946" y="16716"/>
                  </a:cubicBezTo>
                  <a:cubicBezTo>
                    <a:pt x="11032" y="16801"/>
                    <a:pt x="11141" y="16856"/>
                    <a:pt x="11184" y="16869"/>
                  </a:cubicBezTo>
                  <a:cubicBezTo>
                    <a:pt x="11224" y="16857"/>
                    <a:pt x="11345" y="16903"/>
                    <a:pt x="11450" y="16940"/>
                  </a:cubicBezTo>
                  <a:cubicBezTo>
                    <a:pt x="11557" y="16974"/>
                    <a:pt x="11724" y="17086"/>
                    <a:pt x="11827" y="17178"/>
                  </a:cubicBezTo>
                  <a:cubicBezTo>
                    <a:pt x="11924" y="17285"/>
                    <a:pt x="12067" y="17362"/>
                    <a:pt x="12125" y="17403"/>
                  </a:cubicBezTo>
                  <a:cubicBezTo>
                    <a:pt x="12189" y="17428"/>
                    <a:pt x="12258" y="17528"/>
                    <a:pt x="12273" y="17622"/>
                  </a:cubicBezTo>
                  <a:cubicBezTo>
                    <a:pt x="12289" y="17717"/>
                    <a:pt x="12468" y="17902"/>
                    <a:pt x="12665" y="18042"/>
                  </a:cubicBezTo>
                  <a:cubicBezTo>
                    <a:pt x="12867" y="18164"/>
                    <a:pt x="13161" y="18291"/>
                    <a:pt x="13331" y="18256"/>
                  </a:cubicBezTo>
                  <a:cubicBezTo>
                    <a:pt x="13499" y="18245"/>
                    <a:pt x="13675" y="18151"/>
                    <a:pt x="13723" y="18066"/>
                  </a:cubicBezTo>
                  <a:cubicBezTo>
                    <a:pt x="13776" y="17989"/>
                    <a:pt x="13864" y="17920"/>
                    <a:pt x="13932" y="17933"/>
                  </a:cubicBezTo>
                  <a:cubicBezTo>
                    <a:pt x="13997" y="17935"/>
                    <a:pt x="14100" y="18001"/>
                    <a:pt x="14163" y="18058"/>
                  </a:cubicBezTo>
                  <a:cubicBezTo>
                    <a:pt x="14224" y="18122"/>
                    <a:pt x="14348" y="18173"/>
                    <a:pt x="14438" y="18173"/>
                  </a:cubicBezTo>
                  <a:cubicBezTo>
                    <a:pt x="14525" y="18171"/>
                    <a:pt x="14649" y="18207"/>
                    <a:pt x="14703" y="18246"/>
                  </a:cubicBezTo>
                  <a:cubicBezTo>
                    <a:pt x="14764" y="18281"/>
                    <a:pt x="14810" y="18376"/>
                    <a:pt x="14799" y="18451"/>
                  </a:cubicBezTo>
                  <a:cubicBezTo>
                    <a:pt x="14799" y="18528"/>
                    <a:pt x="14746" y="18637"/>
                    <a:pt x="14688" y="18666"/>
                  </a:cubicBezTo>
                  <a:cubicBezTo>
                    <a:pt x="14633" y="18703"/>
                    <a:pt x="14531" y="18741"/>
                    <a:pt x="14459" y="18730"/>
                  </a:cubicBezTo>
                  <a:cubicBezTo>
                    <a:pt x="14387" y="18727"/>
                    <a:pt x="14219" y="18773"/>
                    <a:pt x="14088" y="18841"/>
                  </a:cubicBezTo>
                  <a:cubicBezTo>
                    <a:pt x="13954" y="18906"/>
                    <a:pt x="13846" y="19018"/>
                    <a:pt x="13861" y="19081"/>
                  </a:cubicBezTo>
                  <a:cubicBezTo>
                    <a:pt x="13861" y="19147"/>
                    <a:pt x="14116" y="19388"/>
                    <a:pt x="14404" y="19633"/>
                  </a:cubicBezTo>
                  <a:cubicBezTo>
                    <a:pt x="14695" y="19869"/>
                    <a:pt x="15001" y="20104"/>
                    <a:pt x="15087" y="20152"/>
                  </a:cubicBezTo>
                  <a:cubicBezTo>
                    <a:pt x="15176" y="20188"/>
                    <a:pt x="15305" y="20284"/>
                    <a:pt x="15364" y="20367"/>
                  </a:cubicBezTo>
                  <a:cubicBezTo>
                    <a:pt x="15434" y="20434"/>
                    <a:pt x="15499" y="20636"/>
                    <a:pt x="15499" y="20805"/>
                  </a:cubicBezTo>
                  <a:cubicBezTo>
                    <a:pt x="15515" y="20974"/>
                    <a:pt x="15551" y="21193"/>
                    <a:pt x="15590" y="21295"/>
                  </a:cubicBezTo>
                  <a:cubicBezTo>
                    <a:pt x="15629" y="21396"/>
                    <a:pt x="15712" y="21492"/>
                    <a:pt x="15765" y="21475"/>
                  </a:cubicBezTo>
                  <a:cubicBezTo>
                    <a:pt x="15823" y="21480"/>
                    <a:pt x="15896" y="21427"/>
                    <a:pt x="15936" y="21378"/>
                  </a:cubicBezTo>
                  <a:cubicBezTo>
                    <a:pt x="15968" y="21319"/>
                    <a:pt x="16055" y="21274"/>
                    <a:pt x="16119" y="21268"/>
                  </a:cubicBezTo>
                  <a:cubicBezTo>
                    <a:pt x="16179" y="21260"/>
                    <a:pt x="16319" y="21314"/>
                    <a:pt x="16415" y="21418"/>
                  </a:cubicBezTo>
                  <a:cubicBezTo>
                    <a:pt x="16519" y="21503"/>
                    <a:pt x="16706" y="21586"/>
                    <a:pt x="16834" y="21586"/>
                  </a:cubicBezTo>
                  <a:cubicBezTo>
                    <a:pt x="16961" y="21592"/>
                    <a:pt x="17139" y="21516"/>
                    <a:pt x="17222" y="21407"/>
                  </a:cubicBezTo>
                  <a:cubicBezTo>
                    <a:pt x="17312" y="21311"/>
                    <a:pt x="17383" y="21114"/>
                    <a:pt x="17383" y="20979"/>
                  </a:cubicBezTo>
                  <a:cubicBezTo>
                    <a:pt x="17383" y="20845"/>
                    <a:pt x="17415" y="20712"/>
                    <a:pt x="17455" y="20687"/>
                  </a:cubicBezTo>
                  <a:cubicBezTo>
                    <a:pt x="17495" y="20667"/>
                    <a:pt x="17507" y="20572"/>
                    <a:pt x="17507" y="20486"/>
                  </a:cubicBezTo>
                  <a:cubicBezTo>
                    <a:pt x="17483" y="20408"/>
                    <a:pt x="17414" y="20179"/>
                    <a:pt x="17309" y="20010"/>
                  </a:cubicBezTo>
                  <a:cubicBezTo>
                    <a:pt x="17220" y="19823"/>
                    <a:pt x="17084" y="19570"/>
                    <a:pt x="17052" y="19414"/>
                  </a:cubicBezTo>
                  <a:cubicBezTo>
                    <a:pt x="17011" y="19263"/>
                    <a:pt x="17032" y="19094"/>
                    <a:pt x="17094" y="19023"/>
                  </a:cubicBezTo>
                  <a:cubicBezTo>
                    <a:pt x="17158" y="18960"/>
                    <a:pt x="17252" y="18832"/>
                    <a:pt x="17297" y="18733"/>
                  </a:cubicBezTo>
                  <a:cubicBezTo>
                    <a:pt x="17345" y="18637"/>
                    <a:pt x="17339" y="18239"/>
                    <a:pt x="17309" y="17839"/>
                  </a:cubicBezTo>
                  <a:cubicBezTo>
                    <a:pt x="17264" y="17445"/>
                    <a:pt x="17245" y="17039"/>
                    <a:pt x="17245" y="16938"/>
                  </a:cubicBezTo>
                  <a:cubicBezTo>
                    <a:pt x="17260" y="16839"/>
                    <a:pt x="17244" y="16680"/>
                    <a:pt x="17231" y="16588"/>
                  </a:cubicBezTo>
                  <a:cubicBezTo>
                    <a:pt x="17231" y="16496"/>
                    <a:pt x="17281" y="16369"/>
                    <a:pt x="17374" y="16311"/>
                  </a:cubicBezTo>
                  <a:cubicBezTo>
                    <a:pt x="17468" y="16255"/>
                    <a:pt x="17562" y="16163"/>
                    <a:pt x="17578" y="16115"/>
                  </a:cubicBezTo>
                  <a:cubicBezTo>
                    <a:pt x="17592" y="16067"/>
                    <a:pt x="17485" y="15963"/>
                    <a:pt x="17326" y="15885"/>
                  </a:cubicBezTo>
                  <a:cubicBezTo>
                    <a:pt x="17169" y="15798"/>
                    <a:pt x="17134" y="15669"/>
                    <a:pt x="17258" y="15618"/>
                  </a:cubicBezTo>
                  <a:cubicBezTo>
                    <a:pt x="17374" y="15536"/>
                    <a:pt x="17624" y="15528"/>
                    <a:pt x="17800" y="15580"/>
                  </a:cubicBezTo>
                  <a:cubicBezTo>
                    <a:pt x="17973" y="15625"/>
                    <a:pt x="18167" y="15668"/>
                    <a:pt x="18232" y="15674"/>
                  </a:cubicBezTo>
                  <a:cubicBezTo>
                    <a:pt x="18295" y="15685"/>
                    <a:pt x="18336" y="15591"/>
                    <a:pt x="18336" y="15470"/>
                  </a:cubicBezTo>
                  <a:cubicBezTo>
                    <a:pt x="18323" y="15350"/>
                    <a:pt x="18308" y="15118"/>
                    <a:pt x="18278" y="14957"/>
                  </a:cubicBezTo>
                  <a:cubicBezTo>
                    <a:pt x="18248" y="14796"/>
                    <a:pt x="18251" y="14562"/>
                    <a:pt x="18279" y="14434"/>
                  </a:cubicBezTo>
                  <a:cubicBezTo>
                    <a:pt x="18311" y="14309"/>
                    <a:pt x="18304" y="14100"/>
                    <a:pt x="18288" y="13966"/>
                  </a:cubicBezTo>
                  <a:cubicBezTo>
                    <a:pt x="18259" y="13838"/>
                    <a:pt x="18132" y="13597"/>
                    <a:pt x="18000" y="13424"/>
                  </a:cubicBezTo>
                  <a:cubicBezTo>
                    <a:pt x="17858" y="13267"/>
                    <a:pt x="17742" y="13018"/>
                    <a:pt x="17742" y="12894"/>
                  </a:cubicBezTo>
                  <a:cubicBezTo>
                    <a:pt x="17727" y="12772"/>
                    <a:pt x="17777" y="12640"/>
                    <a:pt x="17835" y="12625"/>
                  </a:cubicBezTo>
                  <a:cubicBezTo>
                    <a:pt x="17887" y="12581"/>
                    <a:pt x="18068" y="12640"/>
                    <a:pt x="18223" y="12715"/>
                  </a:cubicBezTo>
                  <a:cubicBezTo>
                    <a:pt x="18378" y="12800"/>
                    <a:pt x="18554" y="12779"/>
                    <a:pt x="18619" y="12711"/>
                  </a:cubicBezTo>
                  <a:cubicBezTo>
                    <a:pt x="18672" y="12628"/>
                    <a:pt x="18689" y="12529"/>
                    <a:pt x="18645" y="12478"/>
                  </a:cubicBezTo>
                  <a:cubicBezTo>
                    <a:pt x="18597" y="12429"/>
                    <a:pt x="18520" y="12273"/>
                    <a:pt x="18491" y="12128"/>
                  </a:cubicBezTo>
                  <a:cubicBezTo>
                    <a:pt x="18439" y="11997"/>
                    <a:pt x="18441" y="11805"/>
                    <a:pt x="18457" y="11718"/>
                  </a:cubicBezTo>
                  <a:cubicBezTo>
                    <a:pt x="18473" y="11630"/>
                    <a:pt x="18459" y="11380"/>
                    <a:pt x="18412" y="11165"/>
                  </a:cubicBezTo>
                  <a:cubicBezTo>
                    <a:pt x="18359" y="10952"/>
                    <a:pt x="18283" y="10646"/>
                    <a:pt x="18213" y="10503"/>
                  </a:cubicBezTo>
                  <a:cubicBezTo>
                    <a:pt x="18149" y="10358"/>
                    <a:pt x="18126" y="10195"/>
                    <a:pt x="18126" y="10134"/>
                  </a:cubicBezTo>
                  <a:cubicBezTo>
                    <a:pt x="18154" y="10087"/>
                    <a:pt x="18283" y="9959"/>
                    <a:pt x="18442" y="9891"/>
                  </a:cubicBezTo>
                  <a:cubicBezTo>
                    <a:pt x="18600" y="9813"/>
                    <a:pt x="18741" y="9692"/>
                    <a:pt x="18723" y="9631"/>
                  </a:cubicBezTo>
                  <a:cubicBezTo>
                    <a:pt x="18723" y="9566"/>
                    <a:pt x="18666" y="9460"/>
                    <a:pt x="18610" y="9383"/>
                  </a:cubicBezTo>
                  <a:cubicBezTo>
                    <a:pt x="18550" y="9311"/>
                    <a:pt x="18518" y="9225"/>
                    <a:pt x="18535" y="9186"/>
                  </a:cubicBezTo>
                  <a:cubicBezTo>
                    <a:pt x="18549" y="9146"/>
                    <a:pt x="18693" y="9128"/>
                    <a:pt x="18843" y="9152"/>
                  </a:cubicBezTo>
                  <a:cubicBezTo>
                    <a:pt x="18994" y="9165"/>
                    <a:pt x="19279" y="9109"/>
                    <a:pt x="19481" y="9029"/>
                  </a:cubicBezTo>
                  <a:cubicBezTo>
                    <a:pt x="19681" y="8941"/>
                    <a:pt x="19940" y="8893"/>
                    <a:pt x="20053" y="8934"/>
                  </a:cubicBezTo>
                  <a:cubicBezTo>
                    <a:pt x="20169" y="8957"/>
                    <a:pt x="20387" y="8968"/>
                    <a:pt x="20539" y="8951"/>
                  </a:cubicBezTo>
                  <a:cubicBezTo>
                    <a:pt x="20688" y="8919"/>
                    <a:pt x="20905" y="8997"/>
                    <a:pt x="21004" y="9130"/>
                  </a:cubicBezTo>
                  <a:cubicBezTo>
                    <a:pt x="21112" y="9251"/>
                    <a:pt x="21249" y="9342"/>
                    <a:pt x="21315" y="9351"/>
                  </a:cubicBezTo>
                  <a:cubicBezTo>
                    <a:pt x="21380" y="9345"/>
                    <a:pt x="21441" y="9294"/>
                    <a:pt x="21456" y="9223"/>
                  </a:cubicBezTo>
                  <a:cubicBezTo>
                    <a:pt x="21473" y="9155"/>
                    <a:pt x="21514" y="9056"/>
                    <a:pt x="21547" y="8997"/>
                  </a:cubicBezTo>
                  <a:cubicBezTo>
                    <a:pt x="21585" y="8940"/>
                    <a:pt x="21594" y="8791"/>
                    <a:pt x="21564" y="8663"/>
                  </a:cubicBezTo>
                  <a:cubicBezTo>
                    <a:pt x="21532" y="8536"/>
                    <a:pt x="21413" y="8399"/>
                    <a:pt x="21298" y="8347"/>
                  </a:cubicBezTo>
                  <a:cubicBezTo>
                    <a:pt x="21180" y="8300"/>
                    <a:pt x="20790" y="8157"/>
                    <a:pt x="20432" y="8038"/>
                  </a:cubicBezTo>
                  <a:cubicBezTo>
                    <a:pt x="20074" y="7913"/>
                    <a:pt x="19625" y="7749"/>
                    <a:pt x="19446" y="7638"/>
                  </a:cubicBezTo>
                  <a:cubicBezTo>
                    <a:pt x="19263" y="7546"/>
                    <a:pt x="18919" y="7311"/>
                    <a:pt x="18684" y="7117"/>
                  </a:cubicBezTo>
                  <a:cubicBezTo>
                    <a:pt x="18449" y="6925"/>
                    <a:pt x="18174" y="6701"/>
                    <a:pt x="18069" y="6642"/>
                  </a:cubicBezTo>
                  <a:cubicBezTo>
                    <a:pt x="17966" y="6575"/>
                    <a:pt x="17699" y="6372"/>
                    <a:pt x="17486" y="6168"/>
                  </a:cubicBezTo>
                  <a:cubicBezTo>
                    <a:pt x="17261" y="5990"/>
                    <a:pt x="17021" y="5790"/>
                    <a:pt x="16936" y="5752"/>
                  </a:cubicBezTo>
                  <a:cubicBezTo>
                    <a:pt x="16853" y="5713"/>
                    <a:pt x="16653" y="5640"/>
                    <a:pt x="16482" y="5615"/>
                  </a:cubicBezTo>
                  <a:cubicBezTo>
                    <a:pt x="16316" y="5570"/>
                    <a:pt x="16095" y="5470"/>
                    <a:pt x="15985" y="5385"/>
                  </a:cubicBezTo>
                  <a:cubicBezTo>
                    <a:pt x="15881" y="5285"/>
                    <a:pt x="15758" y="5165"/>
                    <a:pt x="15758" y="5087"/>
                  </a:cubicBezTo>
                  <a:cubicBezTo>
                    <a:pt x="15733" y="5019"/>
                    <a:pt x="15615" y="4730"/>
                    <a:pt x="15467" y="4472"/>
                  </a:cubicBezTo>
                  <a:cubicBezTo>
                    <a:pt x="15321" y="4215"/>
                    <a:pt x="15081" y="3810"/>
                    <a:pt x="14922" y="3591"/>
                  </a:cubicBezTo>
                  <a:cubicBezTo>
                    <a:pt x="14763" y="3376"/>
                    <a:pt x="14461" y="3067"/>
                    <a:pt x="14241" y="2922"/>
                  </a:cubicBezTo>
                  <a:cubicBezTo>
                    <a:pt x="14022" y="2775"/>
                    <a:pt x="13766" y="2683"/>
                    <a:pt x="13671" y="2721"/>
                  </a:cubicBezTo>
                  <a:cubicBezTo>
                    <a:pt x="13577" y="2766"/>
                    <a:pt x="13471" y="2859"/>
                    <a:pt x="13457" y="2954"/>
                  </a:cubicBezTo>
                  <a:cubicBezTo>
                    <a:pt x="13427" y="3042"/>
                    <a:pt x="13467" y="3283"/>
                    <a:pt x="13527" y="3489"/>
                  </a:cubicBezTo>
                  <a:cubicBezTo>
                    <a:pt x="13599" y="3686"/>
                    <a:pt x="13672" y="3967"/>
                    <a:pt x="13686" y="4106"/>
                  </a:cubicBezTo>
                  <a:cubicBezTo>
                    <a:pt x="13716" y="4237"/>
                    <a:pt x="13659" y="4387"/>
                    <a:pt x="13571" y="4436"/>
                  </a:cubicBezTo>
                  <a:cubicBezTo>
                    <a:pt x="13485" y="4495"/>
                    <a:pt x="13362" y="4487"/>
                    <a:pt x="13298" y="4470"/>
                  </a:cubicBezTo>
                  <a:cubicBezTo>
                    <a:pt x="13237" y="4441"/>
                    <a:pt x="13193" y="4374"/>
                    <a:pt x="13193" y="4323"/>
                  </a:cubicBezTo>
                  <a:cubicBezTo>
                    <a:pt x="13193" y="4271"/>
                    <a:pt x="13181" y="4115"/>
                    <a:pt x="13151" y="3977"/>
                  </a:cubicBezTo>
                  <a:cubicBezTo>
                    <a:pt x="13137" y="3835"/>
                    <a:pt x="13074" y="3538"/>
                    <a:pt x="13044" y="3307"/>
                  </a:cubicBezTo>
                  <a:cubicBezTo>
                    <a:pt x="13014" y="3078"/>
                    <a:pt x="13034" y="2865"/>
                    <a:pt x="13085" y="2811"/>
                  </a:cubicBezTo>
                  <a:cubicBezTo>
                    <a:pt x="13140" y="2776"/>
                    <a:pt x="13171" y="2624"/>
                    <a:pt x="13132" y="2511"/>
                  </a:cubicBezTo>
                  <a:cubicBezTo>
                    <a:pt x="13116" y="2385"/>
                    <a:pt x="13011" y="2181"/>
                    <a:pt x="12921" y="2058"/>
                  </a:cubicBezTo>
                  <a:cubicBezTo>
                    <a:pt x="12848" y="1914"/>
                    <a:pt x="12623" y="1672"/>
                    <a:pt x="12442" y="1507"/>
                  </a:cubicBezTo>
                  <a:cubicBezTo>
                    <a:pt x="12259" y="1337"/>
                    <a:pt x="12006" y="1133"/>
                    <a:pt x="11874" y="1054"/>
                  </a:cubicBezTo>
                  <a:cubicBezTo>
                    <a:pt x="11741" y="977"/>
                    <a:pt x="11546" y="943"/>
                    <a:pt x="11442" y="972"/>
                  </a:cubicBezTo>
                  <a:cubicBezTo>
                    <a:pt x="11340" y="1011"/>
                    <a:pt x="11207" y="1084"/>
                    <a:pt x="11149" y="1151"/>
                  </a:cubicBezTo>
                  <a:cubicBezTo>
                    <a:pt x="11088" y="1208"/>
                    <a:pt x="10982" y="1234"/>
                    <a:pt x="10896" y="1192"/>
                  </a:cubicBezTo>
                  <a:cubicBezTo>
                    <a:pt x="10816" y="1133"/>
                    <a:pt x="10704" y="1003"/>
                    <a:pt x="10650" y="878"/>
                  </a:cubicBezTo>
                  <a:cubicBezTo>
                    <a:pt x="10602" y="748"/>
                    <a:pt x="10419" y="516"/>
                    <a:pt x="10248" y="367"/>
                  </a:cubicBezTo>
                  <a:cubicBezTo>
                    <a:pt x="10088" y="198"/>
                    <a:pt x="9891" y="65"/>
                    <a:pt x="9826" y="35"/>
                  </a:cubicBezTo>
                  <a:cubicBezTo>
                    <a:pt x="9764" y="-1"/>
                    <a:pt x="9639" y="-8"/>
                    <a:pt x="9553" y="10"/>
                  </a:cubicBezTo>
                  <a:cubicBezTo>
                    <a:pt x="9466" y="22"/>
                    <a:pt x="9326" y="106"/>
                    <a:pt x="9252" y="205"/>
                  </a:cubicBezTo>
                  <a:cubicBezTo>
                    <a:pt x="9168" y="289"/>
                    <a:pt x="9136" y="511"/>
                    <a:pt x="9193" y="662"/>
                  </a:cubicBezTo>
                  <a:cubicBezTo>
                    <a:pt x="9223" y="828"/>
                    <a:pt x="9237" y="1025"/>
                    <a:pt x="9174" y="1095"/>
                  </a:cubicBezTo>
                  <a:cubicBezTo>
                    <a:pt x="9118" y="1171"/>
                    <a:pt x="9092" y="1326"/>
                    <a:pt x="9124" y="1424"/>
                  </a:cubicBezTo>
                  <a:cubicBezTo>
                    <a:pt x="9140" y="1530"/>
                    <a:pt x="9151" y="1691"/>
                    <a:pt x="9137" y="1797"/>
                  </a:cubicBezTo>
                  <a:cubicBezTo>
                    <a:pt x="9121" y="1904"/>
                    <a:pt x="9159" y="2027"/>
                    <a:pt x="9234" y="2059"/>
                  </a:cubicBezTo>
                  <a:cubicBezTo>
                    <a:pt x="9308" y="2104"/>
                    <a:pt x="9411" y="2199"/>
                    <a:pt x="9472" y="2259"/>
                  </a:cubicBezTo>
                  <a:cubicBezTo>
                    <a:pt x="9527" y="2337"/>
                    <a:pt x="9611" y="2651"/>
                    <a:pt x="9657" y="2972"/>
                  </a:cubicBezTo>
                  <a:cubicBezTo>
                    <a:pt x="9715" y="3292"/>
                    <a:pt x="9758" y="3686"/>
                    <a:pt x="9787" y="3841"/>
                  </a:cubicBezTo>
                  <a:cubicBezTo>
                    <a:pt x="9803" y="4000"/>
                    <a:pt x="9901" y="4226"/>
                    <a:pt x="9975" y="4359"/>
                  </a:cubicBezTo>
                  <a:cubicBezTo>
                    <a:pt x="10064" y="4476"/>
                    <a:pt x="10240" y="4743"/>
                    <a:pt x="10401" y="4906"/>
                  </a:cubicBezTo>
                  <a:cubicBezTo>
                    <a:pt x="10557" y="5084"/>
                    <a:pt x="10726" y="5313"/>
                    <a:pt x="10769" y="5430"/>
                  </a:cubicBezTo>
                  <a:cubicBezTo>
                    <a:pt x="10816" y="5543"/>
                    <a:pt x="10989" y="5769"/>
                    <a:pt x="11166" y="5915"/>
                  </a:cubicBezTo>
                  <a:cubicBezTo>
                    <a:pt x="11336" y="6077"/>
                    <a:pt x="11471" y="6255"/>
                    <a:pt x="11455" y="6341"/>
                  </a:cubicBezTo>
                  <a:cubicBezTo>
                    <a:pt x="11441" y="6427"/>
                    <a:pt x="11337" y="6498"/>
                    <a:pt x="11230" y="6474"/>
                  </a:cubicBezTo>
                  <a:cubicBezTo>
                    <a:pt x="11122" y="6471"/>
                    <a:pt x="10968" y="6401"/>
                    <a:pt x="10887" y="6343"/>
                  </a:cubicBezTo>
                  <a:cubicBezTo>
                    <a:pt x="10812" y="6270"/>
                    <a:pt x="10635" y="6070"/>
                    <a:pt x="10500" y="5878"/>
                  </a:cubicBezTo>
                  <a:cubicBezTo>
                    <a:pt x="10369" y="5682"/>
                    <a:pt x="10168" y="5424"/>
                    <a:pt x="10048" y="5314"/>
                  </a:cubicBezTo>
                  <a:cubicBezTo>
                    <a:pt x="9932" y="5202"/>
                    <a:pt x="9771" y="5080"/>
                    <a:pt x="9687" y="5060"/>
                  </a:cubicBezTo>
                  <a:cubicBezTo>
                    <a:pt x="9604" y="5038"/>
                    <a:pt x="9449" y="5040"/>
                    <a:pt x="9345" y="5075"/>
                  </a:cubicBezTo>
                  <a:cubicBezTo>
                    <a:pt x="9241" y="5106"/>
                    <a:pt x="9109" y="5099"/>
                    <a:pt x="9045" y="5087"/>
                  </a:cubicBezTo>
                  <a:cubicBezTo>
                    <a:pt x="8985" y="5060"/>
                    <a:pt x="8909" y="5010"/>
                    <a:pt x="8894" y="4958"/>
                  </a:cubicBezTo>
                  <a:cubicBezTo>
                    <a:pt x="8876" y="4910"/>
                    <a:pt x="8938" y="4815"/>
                    <a:pt x="9049" y="4766"/>
                  </a:cubicBezTo>
                  <a:cubicBezTo>
                    <a:pt x="9157" y="4715"/>
                    <a:pt x="9263" y="4605"/>
                    <a:pt x="9291" y="4542"/>
                  </a:cubicBezTo>
                  <a:cubicBezTo>
                    <a:pt x="9320" y="4479"/>
                    <a:pt x="9341" y="4345"/>
                    <a:pt x="9315" y="4258"/>
                  </a:cubicBezTo>
                  <a:cubicBezTo>
                    <a:pt x="9315" y="4164"/>
                    <a:pt x="9151" y="3897"/>
                    <a:pt x="8989" y="3649"/>
                  </a:cubicBezTo>
                  <a:cubicBezTo>
                    <a:pt x="8821" y="3411"/>
                    <a:pt x="8674" y="3035"/>
                    <a:pt x="8631" y="2830"/>
                  </a:cubicBezTo>
                  <a:cubicBezTo>
                    <a:pt x="8615" y="2619"/>
                    <a:pt x="8541" y="2410"/>
                    <a:pt x="8524" y="2340"/>
                  </a:cubicBezTo>
                  <a:cubicBezTo>
                    <a:pt x="8489" y="2286"/>
                    <a:pt x="8325" y="2136"/>
                    <a:pt x="8136" y="2036"/>
                  </a:cubicBezTo>
                  <a:cubicBezTo>
                    <a:pt x="7948" y="1932"/>
                    <a:pt x="7670" y="1737"/>
                    <a:pt x="7514" y="1612"/>
                  </a:cubicBezTo>
                  <a:cubicBezTo>
                    <a:pt x="7355" y="1486"/>
                    <a:pt x="7159" y="1364"/>
                    <a:pt x="7080" y="1316"/>
                  </a:cubicBezTo>
                  <a:cubicBezTo>
                    <a:pt x="6998" y="1287"/>
                    <a:pt x="6878" y="1290"/>
                    <a:pt x="6813" y="1316"/>
                  </a:cubicBezTo>
                  <a:cubicBezTo>
                    <a:pt x="6752" y="1367"/>
                    <a:pt x="6696" y="1466"/>
                    <a:pt x="6668" y="1560"/>
                  </a:cubicBezTo>
                  <a:cubicBezTo>
                    <a:pt x="6653" y="1660"/>
                    <a:pt x="6534" y="1864"/>
                    <a:pt x="6397" y="2005"/>
                  </a:cubicBezTo>
                  <a:cubicBezTo>
                    <a:pt x="6262" y="2152"/>
                    <a:pt x="6122" y="2361"/>
                    <a:pt x="6107" y="2481"/>
                  </a:cubicBezTo>
                  <a:cubicBezTo>
                    <a:pt x="6078" y="2597"/>
                    <a:pt x="6098" y="2801"/>
                    <a:pt x="6141" y="2928"/>
                  </a:cubicBezTo>
                  <a:cubicBezTo>
                    <a:pt x="6170" y="3060"/>
                    <a:pt x="6308" y="3268"/>
                    <a:pt x="6418" y="3405"/>
                  </a:cubicBezTo>
                  <a:cubicBezTo>
                    <a:pt x="6529" y="3541"/>
                    <a:pt x="6659" y="3794"/>
                    <a:pt x="6730" y="3945"/>
                  </a:cubicBezTo>
                  <a:cubicBezTo>
                    <a:pt x="6791" y="4106"/>
                    <a:pt x="6782" y="4206"/>
                    <a:pt x="6706" y="4179"/>
                  </a:cubicBezTo>
                  <a:cubicBezTo>
                    <a:pt x="6635" y="4138"/>
                    <a:pt x="6500" y="4051"/>
                    <a:pt x="6406" y="3977"/>
                  </a:cubicBezTo>
                  <a:cubicBezTo>
                    <a:pt x="6313" y="3900"/>
                    <a:pt x="6198" y="3727"/>
                    <a:pt x="6143" y="3604"/>
                  </a:cubicBezTo>
                  <a:cubicBezTo>
                    <a:pt x="6096" y="3475"/>
                    <a:pt x="6036" y="3318"/>
                    <a:pt x="6051" y="3255"/>
                  </a:cubicBezTo>
                  <a:cubicBezTo>
                    <a:pt x="6051" y="3191"/>
                    <a:pt x="5996" y="3105"/>
                    <a:pt x="5929" y="3056"/>
                  </a:cubicBezTo>
                  <a:cubicBezTo>
                    <a:pt x="5862" y="3003"/>
                    <a:pt x="5739" y="2913"/>
                    <a:pt x="5667" y="2830"/>
                  </a:cubicBezTo>
                  <a:cubicBezTo>
                    <a:pt x="5590" y="2753"/>
                    <a:pt x="5480" y="2692"/>
                    <a:pt x="5427" y="2660"/>
                  </a:cubicBezTo>
                  <a:cubicBezTo>
                    <a:pt x="5372" y="2648"/>
                    <a:pt x="5290" y="2665"/>
                    <a:pt x="5246" y="2699"/>
                  </a:cubicBezTo>
                  <a:cubicBezTo>
                    <a:pt x="5202" y="2733"/>
                    <a:pt x="5097" y="2726"/>
                    <a:pt x="5010" y="2696"/>
                  </a:cubicBezTo>
                  <a:cubicBezTo>
                    <a:pt x="4926" y="2656"/>
                    <a:pt x="4866" y="2590"/>
                    <a:pt x="4872" y="2540"/>
                  </a:cubicBezTo>
                  <a:cubicBezTo>
                    <a:pt x="4891" y="2497"/>
                    <a:pt x="5000" y="2393"/>
                    <a:pt x="5139" y="2346"/>
                  </a:cubicBezTo>
                  <a:cubicBezTo>
                    <a:pt x="5275" y="2294"/>
                    <a:pt x="5380" y="2209"/>
                    <a:pt x="5380" y="2172"/>
                  </a:cubicBezTo>
                  <a:cubicBezTo>
                    <a:pt x="5380" y="2136"/>
                    <a:pt x="5307" y="2086"/>
                    <a:pt x="5229" y="2037"/>
                  </a:cubicBezTo>
                  <a:cubicBezTo>
                    <a:pt x="5148" y="2012"/>
                    <a:pt x="4935" y="1999"/>
                    <a:pt x="4751" y="2018"/>
                  </a:cubicBezTo>
                  <a:cubicBezTo>
                    <a:pt x="4571" y="2048"/>
                    <a:pt x="4326" y="2104"/>
                    <a:pt x="4205" y="2136"/>
                  </a:cubicBezTo>
                  <a:cubicBezTo>
                    <a:pt x="4085" y="2169"/>
                    <a:pt x="3915" y="2155"/>
                    <a:pt x="3819" y="2107"/>
                  </a:cubicBezTo>
                  <a:cubicBezTo>
                    <a:pt x="3728" y="2046"/>
                    <a:pt x="3677" y="1963"/>
                    <a:pt x="3697" y="1899"/>
                  </a:cubicBezTo>
                  <a:cubicBezTo>
                    <a:pt x="3725" y="1842"/>
                    <a:pt x="3798" y="1791"/>
                    <a:pt x="3864" y="1786"/>
                  </a:cubicBezTo>
                  <a:cubicBezTo>
                    <a:pt x="3928" y="1803"/>
                    <a:pt x="4000" y="1744"/>
                    <a:pt x="4013" y="1696"/>
                  </a:cubicBezTo>
                  <a:cubicBezTo>
                    <a:pt x="4027" y="1650"/>
                    <a:pt x="4173" y="1560"/>
                    <a:pt x="4329" y="1494"/>
                  </a:cubicBezTo>
                  <a:cubicBezTo>
                    <a:pt x="4484" y="1427"/>
                    <a:pt x="4675" y="1372"/>
                    <a:pt x="4750" y="1377"/>
                  </a:cubicBezTo>
                  <a:cubicBezTo>
                    <a:pt x="4825" y="1377"/>
                    <a:pt x="4927" y="1411"/>
                    <a:pt x="4979" y="1443"/>
                  </a:cubicBezTo>
                  <a:cubicBezTo>
                    <a:pt x="5029" y="1474"/>
                    <a:pt x="5152" y="1521"/>
                    <a:pt x="5252" y="1538"/>
                  </a:cubicBezTo>
                  <a:cubicBezTo>
                    <a:pt x="5352" y="1562"/>
                    <a:pt x="5502" y="1538"/>
                    <a:pt x="5575" y="1480"/>
                  </a:cubicBezTo>
                  <a:cubicBezTo>
                    <a:pt x="5652" y="1422"/>
                    <a:pt x="5734" y="1327"/>
                    <a:pt x="5749" y="1253"/>
                  </a:cubicBezTo>
                  <a:cubicBezTo>
                    <a:pt x="5767" y="1180"/>
                    <a:pt x="5685" y="1020"/>
                    <a:pt x="5576" y="879"/>
                  </a:cubicBezTo>
                  <a:cubicBezTo>
                    <a:pt x="5467" y="740"/>
                    <a:pt x="5292" y="586"/>
                    <a:pt x="5193" y="528"/>
                  </a:cubicBezTo>
                  <a:cubicBezTo>
                    <a:pt x="5092" y="477"/>
                    <a:pt x="4886" y="417"/>
                    <a:pt x="4727" y="419"/>
                  </a:cubicBezTo>
                  <a:cubicBezTo>
                    <a:pt x="4567" y="425"/>
                    <a:pt x="4190" y="523"/>
                    <a:pt x="3887" y="648"/>
                  </a:cubicBezTo>
                  <a:cubicBezTo>
                    <a:pt x="3584" y="774"/>
                    <a:pt x="3239" y="899"/>
                    <a:pt x="3124" y="914"/>
                  </a:cubicBezTo>
                  <a:cubicBezTo>
                    <a:pt x="3007" y="943"/>
                    <a:pt x="2857" y="914"/>
                    <a:pt x="2788" y="867"/>
                  </a:cubicBezTo>
                  <a:cubicBezTo>
                    <a:pt x="2723" y="811"/>
                    <a:pt x="2633" y="732"/>
                    <a:pt x="2624" y="661"/>
                  </a:cubicBezTo>
                  <a:cubicBezTo>
                    <a:pt x="2595" y="600"/>
                    <a:pt x="2503" y="491"/>
                    <a:pt x="2402" y="450"/>
                  </a:cubicBezTo>
                  <a:cubicBezTo>
                    <a:pt x="2304" y="394"/>
                    <a:pt x="2170" y="370"/>
                    <a:pt x="2106" y="385"/>
                  </a:cubicBezTo>
                  <a:cubicBezTo>
                    <a:pt x="2042" y="392"/>
                    <a:pt x="2001" y="496"/>
                    <a:pt x="2015" y="600"/>
                  </a:cubicBezTo>
                  <a:cubicBezTo>
                    <a:pt x="2022" y="705"/>
                    <a:pt x="2190" y="928"/>
                    <a:pt x="2379" y="1083"/>
                  </a:cubicBezTo>
                  <a:cubicBezTo>
                    <a:pt x="2562" y="1251"/>
                    <a:pt x="2686" y="1407"/>
                    <a:pt x="2657" y="1451"/>
                  </a:cubicBezTo>
                  <a:cubicBezTo>
                    <a:pt x="2625" y="1488"/>
                    <a:pt x="2493" y="1504"/>
                    <a:pt x="2364" y="1470"/>
                  </a:cubicBezTo>
                  <a:cubicBezTo>
                    <a:pt x="2232" y="1441"/>
                    <a:pt x="2066" y="1325"/>
                    <a:pt x="1984" y="1231"/>
                  </a:cubicBezTo>
                  <a:cubicBezTo>
                    <a:pt x="1912" y="1124"/>
                    <a:pt x="1759" y="916"/>
                    <a:pt x="1646" y="766"/>
                  </a:cubicBezTo>
                  <a:cubicBezTo>
                    <a:pt x="1533" y="616"/>
                    <a:pt x="1356" y="480"/>
                    <a:pt x="1248" y="455"/>
                  </a:cubicBezTo>
                  <a:cubicBezTo>
                    <a:pt x="1140" y="445"/>
                    <a:pt x="947" y="499"/>
                    <a:pt x="816" y="578"/>
                  </a:cubicBezTo>
                  <a:cubicBezTo>
                    <a:pt x="684" y="662"/>
                    <a:pt x="598" y="825"/>
                    <a:pt x="621" y="940"/>
                  </a:cubicBezTo>
                  <a:cubicBezTo>
                    <a:pt x="649" y="1054"/>
                    <a:pt x="715" y="1187"/>
                    <a:pt x="761" y="1256"/>
                  </a:cubicBezTo>
                  <a:cubicBezTo>
                    <a:pt x="816" y="1309"/>
                    <a:pt x="864" y="1438"/>
                    <a:pt x="880" y="1528"/>
                  </a:cubicBezTo>
                  <a:cubicBezTo>
                    <a:pt x="887" y="1621"/>
                    <a:pt x="868" y="1702"/>
                    <a:pt x="827" y="1720"/>
                  </a:cubicBezTo>
                  <a:cubicBezTo>
                    <a:pt x="785" y="1733"/>
                    <a:pt x="654" y="1784"/>
                    <a:pt x="539" y="1854"/>
                  </a:cubicBezTo>
                  <a:cubicBezTo>
                    <a:pt x="420" y="1906"/>
                    <a:pt x="248" y="1961"/>
                    <a:pt x="154" y="1969"/>
                  </a:cubicBezTo>
                  <a:cubicBezTo>
                    <a:pt x="59" y="1969"/>
                    <a:pt x="-6" y="2049"/>
                    <a:pt x="1" y="2141"/>
                  </a:cubicBezTo>
                  <a:cubicBezTo>
                    <a:pt x="21" y="2228"/>
                    <a:pt x="76" y="2422"/>
                    <a:pt x="144" y="2565"/>
                  </a:cubicBezTo>
                  <a:cubicBezTo>
                    <a:pt x="209" y="2709"/>
                    <a:pt x="295" y="2924"/>
                    <a:pt x="330" y="3049"/>
                  </a:cubicBezTo>
                  <a:close/>
                  <a:moveTo>
                    <a:pt x="330" y="30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3" name="AutoShape 142"/>
            <p:cNvSpPr>
              <a:spLocks/>
            </p:cNvSpPr>
            <p:nvPr/>
          </p:nvSpPr>
          <p:spPr bwMode="auto">
            <a:xfrm>
              <a:off x="7734300" y="1257300"/>
              <a:ext cx="19050" cy="7938"/>
            </a:xfrm>
            <a:custGeom>
              <a:avLst/>
              <a:gdLst/>
              <a:ahLst/>
              <a:cxnLst/>
              <a:rect l="0" t="0" r="r" b="b"/>
              <a:pathLst>
                <a:path w="21423" h="21248">
                  <a:moveTo>
                    <a:pt x="9017" y="3125"/>
                  </a:moveTo>
                  <a:cubicBezTo>
                    <a:pt x="5230" y="1142"/>
                    <a:pt x="1573" y="-280"/>
                    <a:pt x="970" y="47"/>
                  </a:cubicBezTo>
                  <a:cubicBezTo>
                    <a:pt x="366" y="135"/>
                    <a:pt x="0" y="1024"/>
                    <a:pt x="0" y="1779"/>
                  </a:cubicBezTo>
                  <a:cubicBezTo>
                    <a:pt x="236" y="2312"/>
                    <a:pt x="747" y="5199"/>
                    <a:pt x="1678" y="7406"/>
                  </a:cubicBezTo>
                  <a:cubicBezTo>
                    <a:pt x="2425" y="9923"/>
                    <a:pt x="4417" y="13225"/>
                    <a:pt x="5845" y="15356"/>
                  </a:cubicBezTo>
                  <a:cubicBezTo>
                    <a:pt x="7247" y="17457"/>
                    <a:pt x="9987" y="19649"/>
                    <a:pt x="11875" y="20226"/>
                  </a:cubicBezTo>
                  <a:cubicBezTo>
                    <a:pt x="13710" y="21217"/>
                    <a:pt x="16737" y="21320"/>
                    <a:pt x="18520" y="21217"/>
                  </a:cubicBezTo>
                  <a:cubicBezTo>
                    <a:pt x="20355" y="21278"/>
                    <a:pt x="21600" y="19367"/>
                    <a:pt x="21403" y="17266"/>
                  </a:cubicBezTo>
                  <a:cubicBezTo>
                    <a:pt x="21194" y="15207"/>
                    <a:pt x="19843" y="12009"/>
                    <a:pt x="18467" y="10056"/>
                  </a:cubicBezTo>
                  <a:cubicBezTo>
                    <a:pt x="17078" y="8161"/>
                    <a:pt x="12805" y="5153"/>
                    <a:pt x="9017" y="3125"/>
                  </a:cubicBezTo>
                  <a:close/>
                  <a:moveTo>
                    <a:pt x="9017" y="31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4" name="AutoShape 143"/>
            <p:cNvSpPr>
              <a:spLocks/>
            </p:cNvSpPr>
            <p:nvPr/>
          </p:nvSpPr>
          <p:spPr bwMode="auto">
            <a:xfrm>
              <a:off x="7874000" y="1219200"/>
              <a:ext cx="9525" cy="4763"/>
            </a:xfrm>
            <a:custGeom>
              <a:avLst/>
              <a:gdLst/>
              <a:ahLst/>
              <a:cxnLst/>
              <a:rect l="0" t="0" r="r" b="b"/>
              <a:pathLst>
                <a:path w="20804" h="21061">
                  <a:moveTo>
                    <a:pt x="4374" y="12766"/>
                  </a:moveTo>
                  <a:cubicBezTo>
                    <a:pt x="7072" y="16005"/>
                    <a:pt x="10949" y="19964"/>
                    <a:pt x="13236" y="20590"/>
                  </a:cubicBezTo>
                  <a:cubicBezTo>
                    <a:pt x="15572" y="21311"/>
                    <a:pt x="18707" y="21330"/>
                    <a:pt x="19914" y="19756"/>
                  </a:cubicBezTo>
                  <a:cubicBezTo>
                    <a:pt x="21301" y="18717"/>
                    <a:pt x="21096" y="14824"/>
                    <a:pt x="19092" y="12254"/>
                  </a:cubicBezTo>
                  <a:cubicBezTo>
                    <a:pt x="17448" y="9152"/>
                    <a:pt x="13594" y="5169"/>
                    <a:pt x="10771" y="3154"/>
                  </a:cubicBezTo>
                  <a:cubicBezTo>
                    <a:pt x="7971" y="911"/>
                    <a:pt x="4427" y="-270"/>
                    <a:pt x="2961" y="53"/>
                  </a:cubicBezTo>
                  <a:cubicBezTo>
                    <a:pt x="1576" y="679"/>
                    <a:pt x="35" y="1883"/>
                    <a:pt x="35" y="3481"/>
                  </a:cubicBezTo>
                  <a:cubicBezTo>
                    <a:pt x="-299" y="4918"/>
                    <a:pt x="1807" y="9129"/>
                    <a:pt x="4374" y="12766"/>
                  </a:cubicBezTo>
                  <a:close/>
                  <a:moveTo>
                    <a:pt x="4374" y="1276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5" name="AutoShape 144"/>
            <p:cNvSpPr>
              <a:spLocks/>
            </p:cNvSpPr>
            <p:nvPr/>
          </p:nvSpPr>
          <p:spPr bwMode="auto">
            <a:xfrm>
              <a:off x="7696200" y="1181100"/>
              <a:ext cx="23813" cy="7938"/>
            </a:xfrm>
            <a:custGeom>
              <a:avLst/>
              <a:gdLst/>
              <a:ahLst/>
              <a:cxnLst/>
              <a:rect l="0" t="0" r="r" b="b"/>
              <a:pathLst>
                <a:path w="21162" h="20806">
                  <a:moveTo>
                    <a:pt x="7520" y="11759"/>
                  </a:moveTo>
                  <a:cubicBezTo>
                    <a:pt x="10477" y="15230"/>
                    <a:pt x="13911" y="18953"/>
                    <a:pt x="15174" y="19863"/>
                  </a:cubicBezTo>
                  <a:cubicBezTo>
                    <a:pt x="16425" y="20555"/>
                    <a:pt x="17990" y="21153"/>
                    <a:pt x="18617" y="20571"/>
                  </a:cubicBezTo>
                  <a:cubicBezTo>
                    <a:pt x="19222" y="19847"/>
                    <a:pt x="20258" y="18811"/>
                    <a:pt x="20851" y="17617"/>
                  </a:cubicBezTo>
                  <a:cubicBezTo>
                    <a:pt x="21392" y="16234"/>
                    <a:pt x="21229" y="14320"/>
                    <a:pt x="20355" y="13297"/>
                  </a:cubicBezTo>
                  <a:cubicBezTo>
                    <a:pt x="19491" y="12322"/>
                    <a:pt x="17430" y="11035"/>
                    <a:pt x="15713" y="10691"/>
                  </a:cubicBezTo>
                  <a:cubicBezTo>
                    <a:pt x="13997" y="10469"/>
                    <a:pt x="11007" y="8757"/>
                    <a:pt x="9096" y="6557"/>
                  </a:cubicBezTo>
                  <a:cubicBezTo>
                    <a:pt x="7153" y="4643"/>
                    <a:pt x="4497" y="2082"/>
                    <a:pt x="3148" y="1107"/>
                  </a:cubicBezTo>
                  <a:cubicBezTo>
                    <a:pt x="1799" y="245"/>
                    <a:pt x="385" y="-447"/>
                    <a:pt x="137" y="354"/>
                  </a:cubicBezTo>
                  <a:cubicBezTo>
                    <a:pt x="-208" y="872"/>
                    <a:pt x="125" y="2223"/>
                    <a:pt x="850" y="3291"/>
                  </a:cubicBezTo>
                  <a:cubicBezTo>
                    <a:pt x="1572" y="4327"/>
                    <a:pt x="4617" y="7879"/>
                    <a:pt x="7520" y="11759"/>
                  </a:cubicBezTo>
                  <a:close/>
                  <a:moveTo>
                    <a:pt x="7520" y="117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6" name="AutoShape 145"/>
            <p:cNvSpPr>
              <a:spLocks/>
            </p:cNvSpPr>
            <p:nvPr/>
          </p:nvSpPr>
          <p:spPr bwMode="auto">
            <a:xfrm>
              <a:off x="7658100" y="1181100"/>
              <a:ext cx="215900" cy="80963"/>
            </a:xfrm>
            <a:custGeom>
              <a:avLst/>
              <a:gdLst/>
              <a:ahLst/>
              <a:cxnLst/>
              <a:rect l="0" t="0" r="r" b="b"/>
              <a:pathLst>
                <a:path w="21560" h="21557">
                  <a:moveTo>
                    <a:pt x="481" y="5120"/>
                  </a:moveTo>
                  <a:cubicBezTo>
                    <a:pt x="607" y="5144"/>
                    <a:pt x="813" y="5261"/>
                    <a:pt x="927" y="5455"/>
                  </a:cubicBezTo>
                  <a:cubicBezTo>
                    <a:pt x="1047" y="5614"/>
                    <a:pt x="1102" y="5839"/>
                    <a:pt x="1050" y="5951"/>
                  </a:cubicBezTo>
                  <a:cubicBezTo>
                    <a:pt x="1005" y="6081"/>
                    <a:pt x="1000" y="6250"/>
                    <a:pt x="1061" y="6338"/>
                  </a:cubicBezTo>
                  <a:cubicBezTo>
                    <a:pt x="1119" y="6445"/>
                    <a:pt x="1306" y="6583"/>
                    <a:pt x="1478" y="6617"/>
                  </a:cubicBezTo>
                  <a:cubicBezTo>
                    <a:pt x="1648" y="6655"/>
                    <a:pt x="1828" y="6829"/>
                    <a:pt x="1895" y="6902"/>
                  </a:cubicBezTo>
                  <a:cubicBezTo>
                    <a:pt x="1952" y="7009"/>
                    <a:pt x="1797" y="7161"/>
                    <a:pt x="1557" y="7320"/>
                  </a:cubicBezTo>
                  <a:cubicBezTo>
                    <a:pt x="1311" y="7427"/>
                    <a:pt x="1108" y="7657"/>
                    <a:pt x="1108" y="7784"/>
                  </a:cubicBezTo>
                  <a:cubicBezTo>
                    <a:pt x="1108" y="7910"/>
                    <a:pt x="1311" y="8365"/>
                    <a:pt x="1549" y="8851"/>
                  </a:cubicBezTo>
                  <a:cubicBezTo>
                    <a:pt x="1803" y="9272"/>
                    <a:pt x="2118" y="9763"/>
                    <a:pt x="2266" y="9899"/>
                  </a:cubicBezTo>
                  <a:cubicBezTo>
                    <a:pt x="2419" y="9983"/>
                    <a:pt x="2688" y="10251"/>
                    <a:pt x="2871" y="10446"/>
                  </a:cubicBezTo>
                  <a:cubicBezTo>
                    <a:pt x="3054" y="10642"/>
                    <a:pt x="3405" y="10893"/>
                    <a:pt x="3651" y="10955"/>
                  </a:cubicBezTo>
                  <a:cubicBezTo>
                    <a:pt x="3893" y="11074"/>
                    <a:pt x="4218" y="11125"/>
                    <a:pt x="4366" y="11075"/>
                  </a:cubicBezTo>
                  <a:cubicBezTo>
                    <a:pt x="4517" y="11032"/>
                    <a:pt x="4748" y="11136"/>
                    <a:pt x="4879" y="11302"/>
                  </a:cubicBezTo>
                  <a:cubicBezTo>
                    <a:pt x="5015" y="11443"/>
                    <a:pt x="5184" y="11609"/>
                    <a:pt x="5263" y="11597"/>
                  </a:cubicBezTo>
                  <a:cubicBezTo>
                    <a:pt x="5342" y="11622"/>
                    <a:pt x="5568" y="11514"/>
                    <a:pt x="5766" y="11381"/>
                  </a:cubicBezTo>
                  <a:cubicBezTo>
                    <a:pt x="5963" y="11256"/>
                    <a:pt x="6215" y="11134"/>
                    <a:pt x="6324" y="11128"/>
                  </a:cubicBezTo>
                  <a:cubicBezTo>
                    <a:pt x="6430" y="11110"/>
                    <a:pt x="6802" y="11152"/>
                    <a:pt x="7147" y="11236"/>
                  </a:cubicBezTo>
                  <a:cubicBezTo>
                    <a:pt x="7493" y="11313"/>
                    <a:pt x="7999" y="11489"/>
                    <a:pt x="8273" y="11568"/>
                  </a:cubicBezTo>
                  <a:cubicBezTo>
                    <a:pt x="8546" y="11711"/>
                    <a:pt x="8887" y="11704"/>
                    <a:pt x="9022" y="11614"/>
                  </a:cubicBezTo>
                  <a:cubicBezTo>
                    <a:pt x="9153" y="11515"/>
                    <a:pt x="9351" y="11478"/>
                    <a:pt x="9457" y="11501"/>
                  </a:cubicBezTo>
                  <a:cubicBezTo>
                    <a:pt x="9563" y="11530"/>
                    <a:pt x="9717" y="11639"/>
                    <a:pt x="9808" y="11718"/>
                  </a:cubicBezTo>
                  <a:cubicBezTo>
                    <a:pt x="9894" y="11831"/>
                    <a:pt x="9979" y="11980"/>
                    <a:pt x="9997" y="12084"/>
                  </a:cubicBezTo>
                  <a:cubicBezTo>
                    <a:pt x="9997" y="12195"/>
                    <a:pt x="9978" y="12330"/>
                    <a:pt x="9921" y="12392"/>
                  </a:cubicBezTo>
                  <a:cubicBezTo>
                    <a:pt x="9876" y="12491"/>
                    <a:pt x="9776" y="12591"/>
                    <a:pt x="9735" y="12732"/>
                  </a:cubicBezTo>
                  <a:cubicBezTo>
                    <a:pt x="9680" y="12841"/>
                    <a:pt x="9566" y="13004"/>
                    <a:pt x="9466" y="13023"/>
                  </a:cubicBezTo>
                  <a:cubicBezTo>
                    <a:pt x="9368" y="13069"/>
                    <a:pt x="9112" y="12994"/>
                    <a:pt x="8900" y="12861"/>
                  </a:cubicBezTo>
                  <a:cubicBezTo>
                    <a:pt x="8687" y="12749"/>
                    <a:pt x="8324" y="12565"/>
                    <a:pt x="8093" y="12499"/>
                  </a:cubicBezTo>
                  <a:cubicBezTo>
                    <a:pt x="7867" y="12405"/>
                    <a:pt x="7527" y="12282"/>
                    <a:pt x="7342" y="12177"/>
                  </a:cubicBezTo>
                  <a:cubicBezTo>
                    <a:pt x="7160" y="12056"/>
                    <a:pt x="6981" y="12043"/>
                    <a:pt x="6947" y="12117"/>
                  </a:cubicBezTo>
                  <a:cubicBezTo>
                    <a:pt x="6913" y="12189"/>
                    <a:pt x="6965" y="12307"/>
                    <a:pt x="7049" y="12442"/>
                  </a:cubicBezTo>
                  <a:cubicBezTo>
                    <a:pt x="7141" y="12540"/>
                    <a:pt x="7459" y="12795"/>
                    <a:pt x="7762" y="12979"/>
                  </a:cubicBezTo>
                  <a:cubicBezTo>
                    <a:pt x="8063" y="13179"/>
                    <a:pt x="8398" y="13444"/>
                    <a:pt x="8509" y="13560"/>
                  </a:cubicBezTo>
                  <a:cubicBezTo>
                    <a:pt x="8618" y="13698"/>
                    <a:pt x="8711" y="13892"/>
                    <a:pt x="8727" y="13999"/>
                  </a:cubicBezTo>
                  <a:cubicBezTo>
                    <a:pt x="8727" y="14115"/>
                    <a:pt x="8672" y="14174"/>
                    <a:pt x="8577" y="14168"/>
                  </a:cubicBezTo>
                  <a:cubicBezTo>
                    <a:pt x="8483" y="14137"/>
                    <a:pt x="8233" y="13984"/>
                    <a:pt x="8016" y="13830"/>
                  </a:cubicBezTo>
                  <a:cubicBezTo>
                    <a:pt x="7801" y="13674"/>
                    <a:pt x="7595" y="13578"/>
                    <a:pt x="7552" y="13649"/>
                  </a:cubicBezTo>
                  <a:cubicBezTo>
                    <a:pt x="7510" y="13710"/>
                    <a:pt x="7393" y="13748"/>
                    <a:pt x="7283" y="13726"/>
                  </a:cubicBezTo>
                  <a:cubicBezTo>
                    <a:pt x="7178" y="13677"/>
                    <a:pt x="6918" y="13473"/>
                    <a:pt x="6706" y="13227"/>
                  </a:cubicBezTo>
                  <a:cubicBezTo>
                    <a:pt x="6496" y="12979"/>
                    <a:pt x="6166" y="12686"/>
                    <a:pt x="5971" y="12583"/>
                  </a:cubicBezTo>
                  <a:cubicBezTo>
                    <a:pt x="5778" y="12466"/>
                    <a:pt x="5427" y="12381"/>
                    <a:pt x="5195" y="12411"/>
                  </a:cubicBezTo>
                  <a:cubicBezTo>
                    <a:pt x="4958" y="12404"/>
                    <a:pt x="4782" y="12570"/>
                    <a:pt x="4829" y="12680"/>
                  </a:cubicBezTo>
                  <a:cubicBezTo>
                    <a:pt x="4863" y="12816"/>
                    <a:pt x="4991" y="13031"/>
                    <a:pt x="5117" y="13147"/>
                  </a:cubicBezTo>
                  <a:cubicBezTo>
                    <a:pt x="5239" y="13294"/>
                    <a:pt x="5667" y="13787"/>
                    <a:pt x="6063" y="14296"/>
                  </a:cubicBezTo>
                  <a:cubicBezTo>
                    <a:pt x="6454" y="14827"/>
                    <a:pt x="6875" y="15290"/>
                    <a:pt x="6993" y="15369"/>
                  </a:cubicBezTo>
                  <a:cubicBezTo>
                    <a:pt x="7111" y="15429"/>
                    <a:pt x="7332" y="15462"/>
                    <a:pt x="7482" y="15400"/>
                  </a:cubicBezTo>
                  <a:cubicBezTo>
                    <a:pt x="7632" y="15349"/>
                    <a:pt x="7838" y="15357"/>
                    <a:pt x="7945" y="15434"/>
                  </a:cubicBezTo>
                  <a:cubicBezTo>
                    <a:pt x="8048" y="15520"/>
                    <a:pt x="8225" y="15776"/>
                    <a:pt x="8324" y="16059"/>
                  </a:cubicBezTo>
                  <a:cubicBezTo>
                    <a:pt x="8435" y="16316"/>
                    <a:pt x="8518" y="16727"/>
                    <a:pt x="8555" y="16906"/>
                  </a:cubicBezTo>
                  <a:cubicBezTo>
                    <a:pt x="8572" y="17105"/>
                    <a:pt x="8706" y="17348"/>
                    <a:pt x="8849" y="17448"/>
                  </a:cubicBezTo>
                  <a:cubicBezTo>
                    <a:pt x="8987" y="17566"/>
                    <a:pt x="9250" y="17632"/>
                    <a:pt x="9425" y="17612"/>
                  </a:cubicBezTo>
                  <a:cubicBezTo>
                    <a:pt x="9598" y="17625"/>
                    <a:pt x="9961" y="17642"/>
                    <a:pt x="10226" y="17712"/>
                  </a:cubicBezTo>
                  <a:cubicBezTo>
                    <a:pt x="10492" y="17750"/>
                    <a:pt x="10918" y="17800"/>
                    <a:pt x="11178" y="17762"/>
                  </a:cubicBezTo>
                  <a:cubicBezTo>
                    <a:pt x="11435" y="17709"/>
                    <a:pt x="11806" y="17734"/>
                    <a:pt x="12000" y="17804"/>
                  </a:cubicBezTo>
                  <a:cubicBezTo>
                    <a:pt x="12196" y="17857"/>
                    <a:pt x="12558" y="17972"/>
                    <a:pt x="12802" y="17967"/>
                  </a:cubicBezTo>
                  <a:cubicBezTo>
                    <a:pt x="13048" y="18000"/>
                    <a:pt x="13290" y="18108"/>
                    <a:pt x="13309" y="18264"/>
                  </a:cubicBezTo>
                  <a:cubicBezTo>
                    <a:pt x="13355" y="18374"/>
                    <a:pt x="13352" y="18682"/>
                    <a:pt x="13352" y="18885"/>
                  </a:cubicBezTo>
                  <a:cubicBezTo>
                    <a:pt x="13352" y="19087"/>
                    <a:pt x="13405" y="19435"/>
                    <a:pt x="13458" y="19715"/>
                  </a:cubicBezTo>
                  <a:cubicBezTo>
                    <a:pt x="13533" y="19953"/>
                    <a:pt x="13768" y="20388"/>
                    <a:pt x="13992" y="20667"/>
                  </a:cubicBezTo>
                  <a:cubicBezTo>
                    <a:pt x="14217" y="20946"/>
                    <a:pt x="14585" y="21232"/>
                    <a:pt x="14806" y="21362"/>
                  </a:cubicBezTo>
                  <a:cubicBezTo>
                    <a:pt x="15029" y="21462"/>
                    <a:pt x="15442" y="21569"/>
                    <a:pt x="15724" y="21556"/>
                  </a:cubicBezTo>
                  <a:cubicBezTo>
                    <a:pt x="16004" y="21538"/>
                    <a:pt x="16281" y="21487"/>
                    <a:pt x="16324" y="21370"/>
                  </a:cubicBezTo>
                  <a:cubicBezTo>
                    <a:pt x="16367" y="21250"/>
                    <a:pt x="16374" y="21116"/>
                    <a:pt x="16351" y="20979"/>
                  </a:cubicBezTo>
                  <a:cubicBezTo>
                    <a:pt x="16318" y="20863"/>
                    <a:pt x="16269" y="20643"/>
                    <a:pt x="16236" y="20506"/>
                  </a:cubicBezTo>
                  <a:cubicBezTo>
                    <a:pt x="16198" y="20375"/>
                    <a:pt x="16228" y="20130"/>
                    <a:pt x="16286" y="19994"/>
                  </a:cubicBezTo>
                  <a:cubicBezTo>
                    <a:pt x="16338" y="19844"/>
                    <a:pt x="16516" y="19639"/>
                    <a:pt x="16665" y="19458"/>
                  </a:cubicBezTo>
                  <a:cubicBezTo>
                    <a:pt x="16818" y="19299"/>
                    <a:pt x="17037" y="19181"/>
                    <a:pt x="17154" y="19197"/>
                  </a:cubicBezTo>
                  <a:cubicBezTo>
                    <a:pt x="17270" y="19190"/>
                    <a:pt x="17480" y="19376"/>
                    <a:pt x="17618" y="19557"/>
                  </a:cubicBezTo>
                  <a:cubicBezTo>
                    <a:pt x="17757" y="19742"/>
                    <a:pt x="18005" y="20050"/>
                    <a:pt x="18175" y="20222"/>
                  </a:cubicBezTo>
                  <a:cubicBezTo>
                    <a:pt x="18341" y="20396"/>
                    <a:pt x="18626" y="20578"/>
                    <a:pt x="18803" y="20672"/>
                  </a:cubicBezTo>
                  <a:cubicBezTo>
                    <a:pt x="18981" y="20725"/>
                    <a:pt x="19284" y="20740"/>
                    <a:pt x="19462" y="20587"/>
                  </a:cubicBezTo>
                  <a:cubicBezTo>
                    <a:pt x="19645" y="20495"/>
                    <a:pt x="19832" y="20312"/>
                    <a:pt x="19879" y="20217"/>
                  </a:cubicBezTo>
                  <a:cubicBezTo>
                    <a:pt x="19920" y="20105"/>
                    <a:pt x="19917" y="19731"/>
                    <a:pt x="19816" y="19419"/>
                  </a:cubicBezTo>
                  <a:cubicBezTo>
                    <a:pt x="19746" y="19058"/>
                    <a:pt x="19616" y="18611"/>
                    <a:pt x="19550" y="18401"/>
                  </a:cubicBezTo>
                  <a:cubicBezTo>
                    <a:pt x="19482" y="18187"/>
                    <a:pt x="19496" y="17921"/>
                    <a:pt x="19585" y="17814"/>
                  </a:cubicBezTo>
                  <a:cubicBezTo>
                    <a:pt x="19668" y="17683"/>
                    <a:pt x="19842" y="17542"/>
                    <a:pt x="19957" y="17413"/>
                  </a:cubicBezTo>
                  <a:cubicBezTo>
                    <a:pt x="20077" y="17315"/>
                    <a:pt x="20246" y="16939"/>
                    <a:pt x="20351" y="16627"/>
                  </a:cubicBezTo>
                  <a:cubicBezTo>
                    <a:pt x="20456" y="16320"/>
                    <a:pt x="20612" y="15916"/>
                    <a:pt x="20708" y="15753"/>
                  </a:cubicBezTo>
                  <a:cubicBezTo>
                    <a:pt x="20802" y="15590"/>
                    <a:pt x="21023" y="15303"/>
                    <a:pt x="21189" y="15076"/>
                  </a:cubicBezTo>
                  <a:cubicBezTo>
                    <a:pt x="21353" y="14858"/>
                    <a:pt x="21541" y="14557"/>
                    <a:pt x="21541" y="14368"/>
                  </a:cubicBezTo>
                  <a:cubicBezTo>
                    <a:pt x="21573" y="14201"/>
                    <a:pt x="21559" y="13922"/>
                    <a:pt x="21540" y="13733"/>
                  </a:cubicBezTo>
                  <a:cubicBezTo>
                    <a:pt x="21515" y="13552"/>
                    <a:pt x="21431" y="13194"/>
                    <a:pt x="21332" y="13010"/>
                  </a:cubicBezTo>
                  <a:cubicBezTo>
                    <a:pt x="21269" y="12737"/>
                    <a:pt x="21149" y="12433"/>
                    <a:pt x="21091" y="12273"/>
                  </a:cubicBezTo>
                  <a:cubicBezTo>
                    <a:pt x="21052" y="12081"/>
                    <a:pt x="21058" y="11880"/>
                    <a:pt x="21080" y="11745"/>
                  </a:cubicBezTo>
                  <a:cubicBezTo>
                    <a:pt x="21115" y="11625"/>
                    <a:pt x="21159" y="11438"/>
                    <a:pt x="21143" y="11318"/>
                  </a:cubicBezTo>
                  <a:cubicBezTo>
                    <a:pt x="21128" y="11194"/>
                    <a:pt x="21068" y="11021"/>
                    <a:pt x="20996" y="10931"/>
                  </a:cubicBezTo>
                  <a:cubicBezTo>
                    <a:pt x="20924" y="10853"/>
                    <a:pt x="20653" y="10673"/>
                    <a:pt x="20388" y="10564"/>
                  </a:cubicBezTo>
                  <a:cubicBezTo>
                    <a:pt x="20130" y="10428"/>
                    <a:pt x="19772" y="10180"/>
                    <a:pt x="19603" y="9944"/>
                  </a:cubicBezTo>
                  <a:cubicBezTo>
                    <a:pt x="19428" y="9712"/>
                    <a:pt x="19204" y="9462"/>
                    <a:pt x="19099" y="9415"/>
                  </a:cubicBezTo>
                  <a:cubicBezTo>
                    <a:pt x="18994" y="9339"/>
                    <a:pt x="18644" y="9226"/>
                    <a:pt x="18320" y="9112"/>
                  </a:cubicBezTo>
                  <a:cubicBezTo>
                    <a:pt x="18000" y="9006"/>
                    <a:pt x="17588" y="8830"/>
                    <a:pt x="17406" y="8746"/>
                  </a:cubicBezTo>
                  <a:cubicBezTo>
                    <a:pt x="17226" y="8639"/>
                    <a:pt x="16949" y="8455"/>
                    <a:pt x="16806" y="8267"/>
                  </a:cubicBezTo>
                  <a:cubicBezTo>
                    <a:pt x="16656" y="8111"/>
                    <a:pt x="16399" y="7912"/>
                    <a:pt x="16229" y="7881"/>
                  </a:cubicBezTo>
                  <a:cubicBezTo>
                    <a:pt x="16060" y="7805"/>
                    <a:pt x="15799" y="7657"/>
                    <a:pt x="15652" y="7503"/>
                  </a:cubicBezTo>
                  <a:cubicBezTo>
                    <a:pt x="15505" y="7348"/>
                    <a:pt x="15356" y="7128"/>
                    <a:pt x="15323" y="7017"/>
                  </a:cubicBezTo>
                  <a:cubicBezTo>
                    <a:pt x="15286" y="6903"/>
                    <a:pt x="15193" y="6779"/>
                    <a:pt x="15133" y="6642"/>
                  </a:cubicBezTo>
                  <a:cubicBezTo>
                    <a:pt x="15055" y="6600"/>
                    <a:pt x="14885" y="6498"/>
                    <a:pt x="14739" y="6595"/>
                  </a:cubicBezTo>
                  <a:cubicBezTo>
                    <a:pt x="14595" y="6655"/>
                    <a:pt x="14434" y="6644"/>
                    <a:pt x="14434" y="6521"/>
                  </a:cubicBezTo>
                  <a:cubicBezTo>
                    <a:pt x="14413" y="6421"/>
                    <a:pt x="14392" y="6205"/>
                    <a:pt x="14392" y="6051"/>
                  </a:cubicBezTo>
                  <a:cubicBezTo>
                    <a:pt x="14392" y="5897"/>
                    <a:pt x="14370" y="5639"/>
                    <a:pt x="14325" y="5535"/>
                  </a:cubicBezTo>
                  <a:cubicBezTo>
                    <a:pt x="14301" y="5391"/>
                    <a:pt x="14181" y="5310"/>
                    <a:pt x="14086" y="5399"/>
                  </a:cubicBezTo>
                  <a:cubicBezTo>
                    <a:pt x="13989" y="5456"/>
                    <a:pt x="13871" y="5631"/>
                    <a:pt x="13852" y="5818"/>
                  </a:cubicBezTo>
                  <a:cubicBezTo>
                    <a:pt x="13815" y="5985"/>
                    <a:pt x="13729" y="6131"/>
                    <a:pt x="13650" y="6172"/>
                  </a:cubicBezTo>
                  <a:cubicBezTo>
                    <a:pt x="13574" y="6209"/>
                    <a:pt x="13451" y="5993"/>
                    <a:pt x="13391" y="5708"/>
                  </a:cubicBezTo>
                  <a:cubicBezTo>
                    <a:pt x="13333" y="5422"/>
                    <a:pt x="13238" y="5151"/>
                    <a:pt x="13191" y="5136"/>
                  </a:cubicBezTo>
                  <a:cubicBezTo>
                    <a:pt x="13149" y="5093"/>
                    <a:pt x="13052" y="5128"/>
                    <a:pt x="12981" y="5203"/>
                  </a:cubicBezTo>
                  <a:cubicBezTo>
                    <a:pt x="12912" y="5290"/>
                    <a:pt x="12895" y="5425"/>
                    <a:pt x="12945" y="5527"/>
                  </a:cubicBezTo>
                  <a:cubicBezTo>
                    <a:pt x="12995" y="5634"/>
                    <a:pt x="13016" y="5780"/>
                    <a:pt x="13000" y="5885"/>
                  </a:cubicBezTo>
                  <a:cubicBezTo>
                    <a:pt x="12976" y="5980"/>
                    <a:pt x="12874" y="6135"/>
                    <a:pt x="12777" y="6276"/>
                  </a:cubicBezTo>
                  <a:cubicBezTo>
                    <a:pt x="12672" y="6363"/>
                    <a:pt x="12617" y="6652"/>
                    <a:pt x="12637" y="6859"/>
                  </a:cubicBezTo>
                  <a:cubicBezTo>
                    <a:pt x="12655" y="7066"/>
                    <a:pt x="12677" y="7362"/>
                    <a:pt x="12646" y="7486"/>
                  </a:cubicBezTo>
                  <a:cubicBezTo>
                    <a:pt x="12629" y="7626"/>
                    <a:pt x="12502" y="7616"/>
                    <a:pt x="12357" y="7513"/>
                  </a:cubicBezTo>
                  <a:cubicBezTo>
                    <a:pt x="12215" y="7385"/>
                    <a:pt x="12032" y="7168"/>
                    <a:pt x="11958" y="6995"/>
                  </a:cubicBezTo>
                  <a:cubicBezTo>
                    <a:pt x="11872" y="6859"/>
                    <a:pt x="11775" y="6678"/>
                    <a:pt x="11721" y="6642"/>
                  </a:cubicBezTo>
                  <a:cubicBezTo>
                    <a:pt x="11673" y="6595"/>
                    <a:pt x="11640" y="6693"/>
                    <a:pt x="11658" y="6828"/>
                  </a:cubicBezTo>
                  <a:cubicBezTo>
                    <a:pt x="11675" y="6961"/>
                    <a:pt x="11669" y="7183"/>
                    <a:pt x="11640" y="7298"/>
                  </a:cubicBezTo>
                  <a:cubicBezTo>
                    <a:pt x="11640" y="7441"/>
                    <a:pt x="11536" y="7383"/>
                    <a:pt x="11461" y="7248"/>
                  </a:cubicBezTo>
                  <a:cubicBezTo>
                    <a:pt x="11388" y="7112"/>
                    <a:pt x="11293" y="6853"/>
                    <a:pt x="11273" y="6659"/>
                  </a:cubicBezTo>
                  <a:cubicBezTo>
                    <a:pt x="11237" y="6488"/>
                    <a:pt x="11233" y="6156"/>
                    <a:pt x="11253" y="5926"/>
                  </a:cubicBezTo>
                  <a:cubicBezTo>
                    <a:pt x="11272" y="5694"/>
                    <a:pt x="11272" y="5202"/>
                    <a:pt x="11218" y="4850"/>
                  </a:cubicBezTo>
                  <a:cubicBezTo>
                    <a:pt x="11180" y="4486"/>
                    <a:pt x="11106" y="4037"/>
                    <a:pt x="11047" y="3881"/>
                  </a:cubicBezTo>
                  <a:cubicBezTo>
                    <a:pt x="10989" y="3720"/>
                    <a:pt x="10777" y="3411"/>
                    <a:pt x="10569" y="3197"/>
                  </a:cubicBezTo>
                  <a:cubicBezTo>
                    <a:pt x="10355" y="3011"/>
                    <a:pt x="10097" y="2669"/>
                    <a:pt x="9988" y="2482"/>
                  </a:cubicBezTo>
                  <a:cubicBezTo>
                    <a:pt x="9885" y="2272"/>
                    <a:pt x="9742" y="2150"/>
                    <a:pt x="9682" y="2124"/>
                  </a:cubicBezTo>
                  <a:cubicBezTo>
                    <a:pt x="9620" y="2139"/>
                    <a:pt x="9562" y="2232"/>
                    <a:pt x="9537" y="2365"/>
                  </a:cubicBezTo>
                  <a:cubicBezTo>
                    <a:pt x="9522" y="2503"/>
                    <a:pt x="9598" y="2782"/>
                    <a:pt x="9722" y="2925"/>
                  </a:cubicBezTo>
                  <a:cubicBezTo>
                    <a:pt x="9841" y="3103"/>
                    <a:pt x="9988" y="3380"/>
                    <a:pt x="10060" y="3527"/>
                  </a:cubicBezTo>
                  <a:cubicBezTo>
                    <a:pt x="10129" y="3671"/>
                    <a:pt x="10058" y="3733"/>
                    <a:pt x="9913" y="3650"/>
                  </a:cubicBezTo>
                  <a:cubicBezTo>
                    <a:pt x="9772" y="3528"/>
                    <a:pt x="9580" y="3344"/>
                    <a:pt x="9487" y="3221"/>
                  </a:cubicBezTo>
                  <a:cubicBezTo>
                    <a:pt x="9402" y="3063"/>
                    <a:pt x="9265" y="3022"/>
                    <a:pt x="9187" y="3042"/>
                  </a:cubicBezTo>
                  <a:cubicBezTo>
                    <a:pt x="9112" y="3098"/>
                    <a:pt x="9084" y="3310"/>
                    <a:pt x="9122" y="3546"/>
                  </a:cubicBezTo>
                  <a:cubicBezTo>
                    <a:pt x="9159" y="3776"/>
                    <a:pt x="9318" y="4170"/>
                    <a:pt x="9481" y="4392"/>
                  </a:cubicBezTo>
                  <a:cubicBezTo>
                    <a:pt x="9645" y="4615"/>
                    <a:pt x="9803" y="5005"/>
                    <a:pt x="9843" y="5228"/>
                  </a:cubicBezTo>
                  <a:cubicBezTo>
                    <a:pt x="9879" y="5453"/>
                    <a:pt x="9904" y="5796"/>
                    <a:pt x="9888" y="5987"/>
                  </a:cubicBezTo>
                  <a:cubicBezTo>
                    <a:pt x="9869" y="6176"/>
                    <a:pt x="9882" y="6578"/>
                    <a:pt x="9935" y="6838"/>
                  </a:cubicBezTo>
                  <a:cubicBezTo>
                    <a:pt x="9955" y="7127"/>
                    <a:pt x="10116" y="7636"/>
                    <a:pt x="10257" y="8004"/>
                  </a:cubicBezTo>
                  <a:cubicBezTo>
                    <a:pt x="10396" y="8373"/>
                    <a:pt x="10488" y="8830"/>
                    <a:pt x="10436" y="8988"/>
                  </a:cubicBezTo>
                  <a:cubicBezTo>
                    <a:pt x="10398" y="9170"/>
                    <a:pt x="10297" y="9287"/>
                    <a:pt x="10223" y="9262"/>
                  </a:cubicBezTo>
                  <a:cubicBezTo>
                    <a:pt x="10144" y="9255"/>
                    <a:pt x="10013" y="8993"/>
                    <a:pt x="9921" y="8761"/>
                  </a:cubicBezTo>
                  <a:cubicBezTo>
                    <a:pt x="9845" y="8488"/>
                    <a:pt x="9609" y="8098"/>
                    <a:pt x="9417" y="7874"/>
                  </a:cubicBezTo>
                  <a:cubicBezTo>
                    <a:pt x="9231" y="7633"/>
                    <a:pt x="8919" y="7294"/>
                    <a:pt x="8730" y="7094"/>
                  </a:cubicBezTo>
                  <a:cubicBezTo>
                    <a:pt x="8543" y="6895"/>
                    <a:pt x="8352" y="6604"/>
                    <a:pt x="8304" y="6450"/>
                  </a:cubicBezTo>
                  <a:cubicBezTo>
                    <a:pt x="8261" y="6289"/>
                    <a:pt x="8277" y="6054"/>
                    <a:pt x="8333" y="5906"/>
                  </a:cubicBezTo>
                  <a:cubicBezTo>
                    <a:pt x="8392" y="5763"/>
                    <a:pt x="8441" y="5560"/>
                    <a:pt x="8420" y="5460"/>
                  </a:cubicBezTo>
                  <a:cubicBezTo>
                    <a:pt x="8420" y="5345"/>
                    <a:pt x="8299" y="5172"/>
                    <a:pt x="8179" y="5049"/>
                  </a:cubicBezTo>
                  <a:cubicBezTo>
                    <a:pt x="8058" y="4937"/>
                    <a:pt x="7826" y="4883"/>
                    <a:pt x="7664" y="4960"/>
                  </a:cubicBezTo>
                  <a:cubicBezTo>
                    <a:pt x="7504" y="5015"/>
                    <a:pt x="7306" y="5057"/>
                    <a:pt x="7227" y="5005"/>
                  </a:cubicBezTo>
                  <a:cubicBezTo>
                    <a:pt x="7149" y="4965"/>
                    <a:pt x="7048" y="4969"/>
                    <a:pt x="7011" y="5049"/>
                  </a:cubicBezTo>
                  <a:cubicBezTo>
                    <a:pt x="6972" y="5125"/>
                    <a:pt x="6822" y="5223"/>
                    <a:pt x="6680" y="5312"/>
                  </a:cubicBezTo>
                  <a:cubicBezTo>
                    <a:pt x="6540" y="5406"/>
                    <a:pt x="6303" y="5389"/>
                    <a:pt x="6165" y="5230"/>
                  </a:cubicBezTo>
                  <a:cubicBezTo>
                    <a:pt x="6021" y="5123"/>
                    <a:pt x="5895" y="4914"/>
                    <a:pt x="5895" y="4796"/>
                  </a:cubicBezTo>
                  <a:cubicBezTo>
                    <a:pt x="5895" y="4678"/>
                    <a:pt x="5848" y="4512"/>
                    <a:pt x="5827" y="4384"/>
                  </a:cubicBezTo>
                  <a:cubicBezTo>
                    <a:pt x="5790" y="4292"/>
                    <a:pt x="5686" y="4192"/>
                    <a:pt x="5583" y="4169"/>
                  </a:cubicBezTo>
                  <a:cubicBezTo>
                    <a:pt x="5481" y="4188"/>
                    <a:pt x="5289" y="3963"/>
                    <a:pt x="5157" y="3745"/>
                  </a:cubicBezTo>
                  <a:cubicBezTo>
                    <a:pt x="5032" y="3500"/>
                    <a:pt x="4838" y="3177"/>
                    <a:pt x="4775" y="2922"/>
                  </a:cubicBezTo>
                  <a:cubicBezTo>
                    <a:pt x="4698" y="2692"/>
                    <a:pt x="4517" y="2421"/>
                    <a:pt x="4378" y="2303"/>
                  </a:cubicBezTo>
                  <a:cubicBezTo>
                    <a:pt x="4236" y="2214"/>
                    <a:pt x="4061" y="2094"/>
                    <a:pt x="3989" y="2131"/>
                  </a:cubicBezTo>
                  <a:cubicBezTo>
                    <a:pt x="3916" y="2167"/>
                    <a:pt x="3753" y="2001"/>
                    <a:pt x="3625" y="1837"/>
                  </a:cubicBezTo>
                  <a:cubicBezTo>
                    <a:pt x="3499" y="1649"/>
                    <a:pt x="3420" y="1383"/>
                    <a:pt x="3438" y="1217"/>
                  </a:cubicBezTo>
                  <a:cubicBezTo>
                    <a:pt x="3456" y="1048"/>
                    <a:pt x="3411" y="752"/>
                    <a:pt x="3330" y="535"/>
                  </a:cubicBezTo>
                  <a:cubicBezTo>
                    <a:pt x="3248" y="322"/>
                    <a:pt x="3110" y="114"/>
                    <a:pt x="3030" y="30"/>
                  </a:cubicBezTo>
                  <a:cubicBezTo>
                    <a:pt x="2950" y="-31"/>
                    <a:pt x="2817" y="7"/>
                    <a:pt x="2729" y="94"/>
                  </a:cubicBezTo>
                  <a:cubicBezTo>
                    <a:pt x="2646" y="211"/>
                    <a:pt x="2582" y="529"/>
                    <a:pt x="2582" y="838"/>
                  </a:cubicBezTo>
                  <a:cubicBezTo>
                    <a:pt x="2582" y="1147"/>
                    <a:pt x="2644" y="1598"/>
                    <a:pt x="2697" y="1863"/>
                  </a:cubicBezTo>
                  <a:cubicBezTo>
                    <a:pt x="2767" y="2099"/>
                    <a:pt x="2921" y="2549"/>
                    <a:pt x="3056" y="2838"/>
                  </a:cubicBezTo>
                  <a:cubicBezTo>
                    <a:pt x="3185" y="3147"/>
                    <a:pt x="3373" y="3628"/>
                    <a:pt x="3464" y="3940"/>
                  </a:cubicBezTo>
                  <a:cubicBezTo>
                    <a:pt x="3543" y="4279"/>
                    <a:pt x="3561" y="4563"/>
                    <a:pt x="3479" y="4591"/>
                  </a:cubicBezTo>
                  <a:cubicBezTo>
                    <a:pt x="3401" y="4642"/>
                    <a:pt x="3234" y="4474"/>
                    <a:pt x="3101" y="4304"/>
                  </a:cubicBezTo>
                  <a:cubicBezTo>
                    <a:pt x="2982" y="4088"/>
                    <a:pt x="2797" y="3798"/>
                    <a:pt x="2732" y="3554"/>
                  </a:cubicBezTo>
                  <a:cubicBezTo>
                    <a:pt x="2660" y="3321"/>
                    <a:pt x="2525" y="3106"/>
                    <a:pt x="2462" y="2976"/>
                  </a:cubicBezTo>
                  <a:cubicBezTo>
                    <a:pt x="2384" y="2919"/>
                    <a:pt x="2328" y="2955"/>
                    <a:pt x="2328" y="3142"/>
                  </a:cubicBezTo>
                  <a:cubicBezTo>
                    <a:pt x="2328" y="3331"/>
                    <a:pt x="2376" y="3714"/>
                    <a:pt x="2447" y="3975"/>
                  </a:cubicBezTo>
                  <a:cubicBezTo>
                    <a:pt x="2509" y="4256"/>
                    <a:pt x="2665" y="4632"/>
                    <a:pt x="2782" y="4836"/>
                  </a:cubicBezTo>
                  <a:cubicBezTo>
                    <a:pt x="2898" y="5044"/>
                    <a:pt x="2997" y="5342"/>
                    <a:pt x="2997" y="5510"/>
                  </a:cubicBezTo>
                  <a:cubicBezTo>
                    <a:pt x="3016" y="5670"/>
                    <a:pt x="2980" y="5947"/>
                    <a:pt x="2942" y="6098"/>
                  </a:cubicBezTo>
                  <a:cubicBezTo>
                    <a:pt x="2904" y="6246"/>
                    <a:pt x="2828" y="6342"/>
                    <a:pt x="2761" y="6269"/>
                  </a:cubicBezTo>
                  <a:cubicBezTo>
                    <a:pt x="2692" y="6200"/>
                    <a:pt x="2548" y="5903"/>
                    <a:pt x="2431" y="5603"/>
                  </a:cubicBezTo>
                  <a:cubicBezTo>
                    <a:pt x="2323" y="5299"/>
                    <a:pt x="2160" y="4962"/>
                    <a:pt x="2082" y="4826"/>
                  </a:cubicBezTo>
                  <a:cubicBezTo>
                    <a:pt x="1995" y="4730"/>
                    <a:pt x="1660" y="4545"/>
                    <a:pt x="1325" y="4499"/>
                  </a:cubicBezTo>
                  <a:cubicBezTo>
                    <a:pt x="989" y="4453"/>
                    <a:pt x="596" y="4267"/>
                    <a:pt x="449" y="4109"/>
                  </a:cubicBezTo>
                  <a:cubicBezTo>
                    <a:pt x="300" y="3944"/>
                    <a:pt x="126" y="3922"/>
                    <a:pt x="48" y="3988"/>
                  </a:cubicBezTo>
                  <a:cubicBezTo>
                    <a:pt x="-27" y="4082"/>
                    <a:pt x="-13" y="4371"/>
                    <a:pt x="82" y="4619"/>
                  </a:cubicBezTo>
                  <a:cubicBezTo>
                    <a:pt x="178" y="4865"/>
                    <a:pt x="356" y="5097"/>
                    <a:pt x="481" y="5120"/>
                  </a:cubicBezTo>
                  <a:close/>
                  <a:moveTo>
                    <a:pt x="481" y="51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7" name="AutoShape 146"/>
            <p:cNvSpPr>
              <a:spLocks/>
            </p:cNvSpPr>
            <p:nvPr/>
          </p:nvSpPr>
          <p:spPr bwMode="auto">
            <a:xfrm>
              <a:off x="7899400" y="1295400"/>
              <a:ext cx="12700" cy="11113"/>
            </a:xfrm>
            <a:custGeom>
              <a:avLst/>
              <a:gdLst/>
              <a:ahLst/>
              <a:cxnLst/>
              <a:rect l="0" t="0" r="r" b="b"/>
              <a:pathLst>
                <a:path w="21070" h="21191">
                  <a:moveTo>
                    <a:pt x="4227" y="11563"/>
                  </a:moveTo>
                  <a:cubicBezTo>
                    <a:pt x="6255" y="13151"/>
                    <a:pt x="8151" y="15954"/>
                    <a:pt x="8676" y="17395"/>
                  </a:cubicBezTo>
                  <a:cubicBezTo>
                    <a:pt x="9410" y="18688"/>
                    <a:pt x="10930" y="20398"/>
                    <a:pt x="12466" y="20940"/>
                  </a:cubicBezTo>
                  <a:cubicBezTo>
                    <a:pt x="13986" y="21468"/>
                    <a:pt x="16708" y="21187"/>
                    <a:pt x="18266" y="19894"/>
                  </a:cubicBezTo>
                  <a:cubicBezTo>
                    <a:pt x="19992" y="18891"/>
                    <a:pt x="21437" y="16954"/>
                    <a:pt x="20988" y="16122"/>
                  </a:cubicBezTo>
                  <a:cubicBezTo>
                    <a:pt x="20988" y="15108"/>
                    <a:pt x="18510" y="13038"/>
                    <a:pt x="16052" y="11394"/>
                  </a:cubicBezTo>
                  <a:cubicBezTo>
                    <a:pt x="13576" y="9672"/>
                    <a:pt x="10816" y="6544"/>
                    <a:pt x="9465" y="4596"/>
                  </a:cubicBezTo>
                  <a:cubicBezTo>
                    <a:pt x="8394" y="2445"/>
                    <a:pt x="6725" y="555"/>
                    <a:pt x="5843" y="149"/>
                  </a:cubicBezTo>
                  <a:cubicBezTo>
                    <a:pt x="4924" y="-132"/>
                    <a:pt x="3628" y="-42"/>
                    <a:pt x="3065" y="656"/>
                  </a:cubicBezTo>
                  <a:cubicBezTo>
                    <a:pt x="2352" y="981"/>
                    <a:pt x="1412" y="2120"/>
                    <a:pt x="738" y="2321"/>
                  </a:cubicBezTo>
                  <a:cubicBezTo>
                    <a:pt x="61" y="2761"/>
                    <a:pt x="-163" y="4077"/>
                    <a:pt x="120" y="5596"/>
                  </a:cubicBezTo>
                  <a:cubicBezTo>
                    <a:pt x="588" y="7072"/>
                    <a:pt x="2408" y="9672"/>
                    <a:pt x="4227" y="11563"/>
                  </a:cubicBezTo>
                  <a:close/>
                  <a:moveTo>
                    <a:pt x="4227" y="115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8" name="AutoShape 147"/>
            <p:cNvSpPr>
              <a:spLocks/>
            </p:cNvSpPr>
            <p:nvPr/>
          </p:nvSpPr>
          <p:spPr bwMode="auto">
            <a:xfrm>
              <a:off x="7670800" y="1193800"/>
              <a:ext cx="11113" cy="6350"/>
            </a:xfrm>
            <a:custGeom>
              <a:avLst/>
              <a:gdLst/>
              <a:ahLst/>
              <a:cxnLst/>
              <a:rect l="0" t="0" r="r" b="b"/>
              <a:pathLst>
                <a:path w="21600" h="21245">
                  <a:moveTo>
                    <a:pt x="7752" y="17409"/>
                  </a:moveTo>
                  <a:cubicBezTo>
                    <a:pt x="10645" y="20119"/>
                    <a:pt x="14201" y="21101"/>
                    <a:pt x="15304" y="21245"/>
                  </a:cubicBezTo>
                  <a:cubicBezTo>
                    <a:pt x="16431" y="21142"/>
                    <a:pt x="18199" y="20119"/>
                    <a:pt x="19413" y="19416"/>
                  </a:cubicBezTo>
                  <a:cubicBezTo>
                    <a:pt x="20494" y="18113"/>
                    <a:pt x="21600" y="16406"/>
                    <a:pt x="21600" y="14939"/>
                  </a:cubicBezTo>
                  <a:cubicBezTo>
                    <a:pt x="21600" y="13434"/>
                    <a:pt x="19855" y="10363"/>
                    <a:pt x="17978" y="7353"/>
                  </a:cubicBezTo>
                  <a:cubicBezTo>
                    <a:pt x="15967" y="4644"/>
                    <a:pt x="12788" y="1812"/>
                    <a:pt x="10955" y="767"/>
                  </a:cubicBezTo>
                  <a:cubicBezTo>
                    <a:pt x="9098" y="-76"/>
                    <a:pt x="5963" y="-355"/>
                    <a:pt x="4064" y="607"/>
                  </a:cubicBezTo>
                  <a:cubicBezTo>
                    <a:pt x="2142" y="1409"/>
                    <a:pt x="353" y="3497"/>
                    <a:pt x="0" y="5084"/>
                  </a:cubicBezTo>
                  <a:cubicBezTo>
                    <a:pt x="0" y="6770"/>
                    <a:pt x="22" y="9240"/>
                    <a:pt x="794" y="10807"/>
                  </a:cubicBezTo>
                  <a:cubicBezTo>
                    <a:pt x="1480" y="12472"/>
                    <a:pt x="4638" y="15584"/>
                    <a:pt x="7752" y="17409"/>
                  </a:cubicBezTo>
                  <a:close/>
                  <a:moveTo>
                    <a:pt x="7752" y="174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9" name="AutoShape 148"/>
            <p:cNvSpPr>
              <a:spLocks/>
            </p:cNvSpPr>
            <p:nvPr/>
          </p:nvSpPr>
          <p:spPr bwMode="auto">
            <a:xfrm>
              <a:off x="7759700" y="1295400"/>
              <a:ext cx="50800" cy="20638"/>
            </a:xfrm>
            <a:custGeom>
              <a:avLst/>
              <a:gdLst/>
              <a:ahLst/>
              <a:cxnLst/>
              <a:rect l="0" t="0" r="r" b="b"/>
              <a:pathLst>
                <a:path w="21257" h="21451">
                  <a:moveTo>
                    <a:pt x="7753" y="15335"/>
                  </a:moveTo>
                  <a:cubicBezTo>
                    <a:pt x="7753" y="15869"/>
                    <a:pt x="8078" y="16628"/>
                    <a:pt x="8493" y="17089"/>
                  </a:cubicBezTo>
                  <a:cubicBezTo>
                    <a:pt x="8923" y="17413"/>
                    <a:pt x="8989" y="18333"/>
                    <a:pt x="8746" y="19111"/>
                  </a:cubicBezTo>
                  <a:cubicBezTo>
                    <a:pt x="8468" y="19810"/>
                    <a:pt x="8670" y="20319"/>
                    <a:pt x="9177" y="20447"/>
                  </a:cubicBezTo>
                  <a:cubicBezTo>
                    <a:pt x="9688" y="20582"/>
                    <a:pt x="10463" y="20833"/>
                    <a:pt x="10909" y="21170"/>
                  </a:cubicBezTo>
                  <a:cubicBezTo>
                    <a:pt x="11350" y="21514"/>
                    <a:pt x="11927" y="21544"/>
                    <a:pt x="12195" y="21250"/>
                  </a:cubicBezTo>
                  <a:cubicBezTo>
                    <a:pt x="12463" y="20876"/>
                    <a:pt x="13512" y="20294"/>
                    <a:pt x="14505" y="19834"/>
                  </a:cubicBezTo>
                  <a:cubicBezTo>
                    <a:pt x="15508" y="19245"/>
                    <a:pt x="16774" y="19105"/>
                    <a:pt x="17305" y="19332"/>
                  </a:cubicBezTo>
                  <a:cubicBezTo>
                    <a:pt x="17843" y="19601"/>
                    <a:pt x="18663" y="19307"/>
                    <a:pt x="19118" y="18939"/>
                  </a:cubicBezTo>
                  <a:cubicBezTo>
                    <a:pt x="19579" y="18565"/>
                    <a:pt x="19782" y="17774"/>
                    <a:pt x="19630" y="17132"/>
                  </a:cubicBezTo>
                  <a:cubicBezTo>
                    <a:pt x="19483" y="16494"/>
                    <a:pt x="19352" y="15041"/>
                    <a:pt x="19275" y="13809"/>
                  </a:cubicBezTo>
                  <a:cubicBezTo>
                    <a:pt x="19275" y="12571"/>
                    <a:pt x="19599" y="11455"/>
                    <a:pt x="20025" y="11136"/>
                  </a:cubicBezTo>
                  <a:cubicBezTo>
                    <a:pt x="20460" y="10959"/>
                    <a:pt x="21002" y="10175"/>
                    <a:pt x="21160" y="9401"/>
                  </a:cubicBezTo>
                  <a:cubicBezTo>
                    <a:pt x="21372" y="8721"/>
                    <a:pt x="21231" y="7281"/>
                    <a:pt x="20815" y="6509"/>
                  </a:cubicBezTo>
                  <a:cubicBezTo>
                    <a:pt x="20436" y="5633"/>
                    <a:pt x="19605" y="4481"/>
                    <a:pt x="18942" y="4351"/>
                  </a:cubicBezTo>
                  <a:cubicBezTo>
                    <a:pt x="18303" y="3922"/>
                    <a:pt x="17498" y="3224"/>
                    <a:pt x="17153" y="2604"/>
                  </a:cubicBezTo>
                  <a:cubicBezTo>
                    <a:pt x="16829" y="1924"/>
                    <a:pt x="16262" y="1311"/>
                    <a:pt x="15953" y="962"/>
                  </a:cubicBezTo>
                  <a:cubicBezTo>
                    <a:pt x="15634" y="771"/>
                    <a:pt x="15097" y="692"/>
                    <a:pt x="14763" y="1047"/>
                  </a:cubicBezTo>
                  <a:cubicBezTo>
                    <a:pt x="14444" y="1409"/>
                    <a:pt x="13249" y="1826"/>
                    <a:pt x="12135" y="2138"/>
                  </a:cubicBezTo>
                  <a:cubicBezTo>
                    <a:pt x="11020" y="2340"/>
                    <a:pt x="9977" y="2255"/>
                    <a:pt x="9825" y="1698"/>
                  </a:cubicBezTo>
                  <a:cubicBezTo>
                    <a:pt x="9698" y="1122"/>
                    <a:pt x="9238" y="441"/>
                    <a:pt x="8857" y="159"/>
                  </a:cubicBezTo>
                  <a:cubicBezTo>
                    <a:pt x="8463" y="-56"/>
                    <a:pt x="7744" y="-50"/>
                    <a:pt x="7212" y="159"/>
                  </a:cubicBezTo>
                  <a:cubicBezTo>
                    <a:pt x="6685" y="429"/>
                    <a:pt x="6270" y="1177"/>
                    <a:pt x="6199" y="1679"/>
                  </a:cubicBezTo>
                  <a:cubicBezTo>
                    <a:pt x="6128" y="2187"/>
                    <a:pt x="5885" y="2782"/>
                    <a:pt x="5591" y="3089"/>
                  </a:cubicBezTo>
                  <a:cubicBezTo>
                    <a:pt x="5282" y="3322"/>
                    <a:pt x="4507" y="3138"/>
                    <a:pt x="3839" y="2868"/>
                  </a:cubicBezTo>
                  <a:cubicBezTo>
                    <a:pt x="3191" y="2495"/>
                    <a:pt x="2345" y="2697"/>
                    <a:pt x="1950" y="3242"/>
                  </a:cubicBezTo>
                  <a:cubicBezTo>
                    <a:pt x="1570" y="3860"/>
                    <a:pt x="805" y="4437"/>
                    <a:pt x="298" y="4793"/>
                  </a:cubicBezTo>
                  <a:cubicBezTo>
                    <a:pt x="-228" y="4995"/>
                    <a:pt x="-36" y="5786"/>
                    <a:pt x="704" y="6484"/>
                  </a:cubicBezTo>
                  <a:cubicBezTo>
                    <a:pt x="1443" y="7177"/>
                    <a:pt x="2745" y="7864"/>
                    <a:pt x="3575" y="8157"/>
                  </a:cubicBezTo>
                  <a:cubicBezTo>
                    <a:pt x="4426" y="8342"/>
                    <a:pt x="5459" y="9401"/>
                    <a:pt x="5850" y="10396"/>
                  </a:cubicBezTo>
                  <a:cubicBezTo>
                    <a:pt x="6250" y="11394"/>
                    <a:pt x="6872" y="12663"/>
                    <a:pt x="7196" y="13258"/>
                  </a:cubicBezTo>
                  <a:cubicBezTo>
                    <a:pt x="7485" y="13956"/>
                    <a:pt x="7753" y="14808"/>
                    <a:pt x="7753" y="15335"/>
                  </a:cubicBezTo>
                  <a:close/>
                  <a:moveTo>
                    <a:pt x="7753" y="1533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0" name="AutoShape 149"/>
            <p:cNvSpPr>
              <a:spLocks/>
            </p:cNvSpPr>
            <p:nvPr/>
          </p:nvSpPr>
          <p:spPr bwMode="auto">
            <a:xfrm>
              <a:off x="7518400" y="1257300"/>
              <a:ext cx="44450" cy="36513"/>
            </a:xfrm>
            <a:custGeom>
              <a:avLst/>
              <a:gdLst/>
              <a:ahLst/>
              <a:cxnLst/>
              <a:rect l="0" t="0" r="r" b="b"/>
              <a:pathLst>
                <a:path w="21460" h="21484">
                  <a:moveTo>
                    <a:pt x="18597" y="16309"/>
                  </a:moveTo>
                  <a:cubicBezTo>
                    <a:pt x="17694" y="15465"/>
                    <a:pt x="16595" y="14240"/>
                    <a:pt x="16197" y="13592"/>
                  </a:cubicBezTo>
                  <a:cubicBezTo>
                    <a:pt x="15781" y="12947"/>
                    <a:pt x="15110" y="12389"/>
                    <a:pt x="14730" y="12302"/>
                  </a:cubicBezTo>
                  <a:cubicBezTo>
                    <a:pt x="14344" y="12236"/>
                    <a:pt x="13874" y="12040"/>
                    <a:pt x="13731" y="11829"/>
                  </a:cubicBezTo>
                  <a:cubicBezTo>
                    <a:pt x="13559" y="11642"/>
                    <a:pt x="13132" y="11424"/>
                    <a:pt x="12769" y="11413"/>
                  </a:cubicBezTo>
                  <a:cubicBezTo>
                    <a:pt x="12412" y="11392"/>
                    <a:pt x="11664" y="11013"/>
                    <a:pt x="11070" y="10710"/>
                  </a:cubicBezTo>
                  <a:cubicBezTo>
                    <a:pt x="10500" y="10335"/>
                    <a:pt x="9330" y="9442"/>
                    <a:pt x="8474" y="8695"/>
                  </a:cubicBezTo>
                  <a:cubicBezTo>
                    <a:pt x="7642" y="7930"/>
                    <a:pt x="6971" y="6837"/>
                    <a:pt x="7012" y="6255"/>
                  </a:cubicBezTo>
                  <a:cubicBezTo>
                    <a:pt x="7102" y="5668"/>
                    <a:pt x="6924" y="4739"/>
                    <a:pt x="6834" y="4163"/>
                  </a:cubicBezTo>
                  <a:cubicBezTo>
                    <a:pt x="6680" y="3617"/>
                    <a:pt x="5765" y="2470"/>
                    <a:pt x="4684" y="1729"/>
                  </a:cubicBezTo>
                  <a:cubicBezTo>
                    <a:pt x="3645" y="895"/>
                    <a:pt x="2355" y="196"/>
                    <a:pt x="1850" y="50"/>
                  </a:cubicBezTo>
                  <a:cubicBezTo>
                    <a:pt x="1351" y="-59"/>
                    <a:pt x="692" y="7"/>
                    <a:pt x="359" y="276"/>
                  </a:cubicBezTo>
                  <a:cubicBezTo>
                    <a:pt x="27" y="557"/>
                    <a:pt x="-104" y="1365"/>
                    <a:pt x="92" y="2094"/>
                  </a:cubicBezTo>
                  <a:cubicBezTo>
                    <a:pt x="282" y="2822"/>
                    <a:pt x="947" y="3821"/>
                    <a:pt x="1559" y="4305"/>
                  </a:cubicBezTo>
                  <a:cubicBezTo>
                    <a:pt x="2189" y="4746"/>
                    <a:pt x="3074" y="5686"/>
                    <a:pt x="3585" y="6258"/>
                  </a:cubicBezTo>
                  <a:cubicBezTo>
                    <a:pt x="4108" y="6845"/>
                    <a:pt x="4738" y="8134"/>
                    <a:pt x="4963" y="9140"/>
                  </a:cubicBezTo>
                  <a:cubicBezTo>
                    <a:pt x="5284" y="10098"/>
                    <a:pt x="5872" y="11322"/>
                    <a:pt x="6407" y="11868"/>
                  </a:cubicBezTo>
                  <a:cubicBezTo>
                    <a:pt x="6989" y="12309"/>
                    <a:pt x="8011" y="12892"/>
                    <a:pt x="8747" y="13049"/>
                  </a:cubicBezTo>
                  <a:cubicBezTo>
                    <a:pt x="9490" y="13205"/>
                    <a:pt x="10868" y="13759"/>
                    <a:pt x="11837" y="14251"/>
                  </a:cubicBezTo>
                  <a:cubicBezTo>
                    <a:pt x="12805" y="14743"/>
                    <a:pt x="13886" y="15734"/>
                    <a:pt x="14337" y="16303"/>
                  </a:cubicBezTo>
                  <a:cubicBezTo>
                    <a:pt x="14706" y="16961"/>
                    <a:pt x="15401" y="17534"/>
                    <a:pt x="15757" y="17672"/>
                  </a:cubicBezTo>
                  <a:cubicBezTo>
                    <a:pt x="16102" y="17843"/>
                    <a:pt x="16886" y="18586"/>
                    <a:pt x="17475" y="19391"/>
                  </a:cubicBezTo>
                  <a:cubicBezTo>
                    <a:pt x="18109" y="20153"/>
                    <a:pt x="18799" y="21031"/>
                    <a:pt x="19125" y="21191"/>
                  </a:cubicBezTo>
                  <a:cubicBezTo>
                    <a:pt x="19411" y="21417"/>
                    <a:pt x="20058" y="21541"/>
                    <a:pt x="20504" y="21457"/>
                  </a:cubicBezTo>
                  <a:cubicBezTo>
                    <a:pt x="20955" y="21457"/>
                    <a:pt x="21324" y="21067"/>
                    <a:pt x="21455" y="20728"/>
                  </a:cubicBezTo>
                  <a:cubicBezTo>
                    <a:pt x="21496" y="20364"/>
                    <a:pt x="21294" y="19573"/>
                    <a:pt x="20908" y="18973"/>
                  </a:cubicBezTo>
                  <a:cubicBezTo>
                    <a:pt x="20551" y="18372"/>
                    <a:pt x="19494" y="17191"/>
                    <a:pt x="18597" y="16309"/>
                  </a:cubicBezTo>
                  <a:close/>
                  <a:moveTo>
                    <a:pt x="18597" y="163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1" name="AutoShape 150"/>
            <p:cNvSpPr>
              <a:spLocks/>
            </p:cNvSpPr>
            <p:nvPr/>
          </p:nvSpPr>
          <p:spPr bwMode="auto">
            <a:xfrm>
              <a:off x="7962900" y="1231900"/>
              <a:ext cx="31750" cy="6350"/>
            </a:xfrm>
            <a:custGeom>
              <a:avLst/>
              <a:gdLst/>
              <a:ahLst/>
              <a:cxnLst/>
              <a:rect l="0" t="0" r="r" b="b"/>
              <a:pathLst>
                <a:path w="21423" h="21171">
                  <a:moveTo>
                    <a:pt x="2008" y="19070"/>
                  </a:moveTo>
                  <a:cubicBezTo>
                    <a:pt x="2601" y="20010"/>
                    <a:pt x="4194" y="21055"/>
                    <a:pt x="5509" y="21146"/>
                  </a:cubicBezTo>
                  <a:cubicBezTo>
                    <a:pt x="6823" y="21338"/>
                    <a:pt x="9025" y="20416"/>
                    <a:pt x="10372" y="18718"/>
                  </a:cubicBezTo>
                  <a:cubicBezTo>
                    <a:pt x="11728" y="17175"/>
                    <a:pt x="13510" y="15405"/>
                    <a:pt x="14333" y="15350"/>
                  </a:cubicBezTo>
                  <a:cubicBezTo>
                    <a:pt x="15162" y="15278"/>
                    <a:pt x="17084" y="13844"/>
                    <a:pt x="18613" y="12832"/>
                  </a:cubicBezTo>
                  <a:cubicBezTo>
                    <a:pt x="20141" y="11594"/>
                    <a:pt x="21317" y="9805"/>
                    <a:pt x="21423" y="8865"/>
                  </a:cubicBezTo>
                  <a:cubicBezTo>
                    <a:pt x="21423" y="7820"/>
                    <a:pt x="21110" y="5922"/>
                    <a:pt x="20684" y="4840"/>
                  </a:cubicBezTo>
                  <a:cubicBezTo>
                    <a:pt x="20265" y="3636"/>
                    <a:pt x="18974" y="2380"/>
                    <a:pt x="17874" y="1033"/>
                  </a:cubicBezTo>
                  <a:cubicBezTo>
                    <a:pt x="16731" y="286"/>
                    <a:pt x="14932" y="-262"/>
                    <a:pt x="13823" y="130"/>
                  </a:cubicBezTo>
                  <a:cubicBezTo>
                    <a:pt x="12731" y="536"/>
                    <a:pt x="11169" y="2645"/>
                    <a:pt x="10307" y="4238"/>
                  </a:cubicBezTo>
                  <a:cubicBezTo>
                    <a:pt x="9443" y="5871"/>
                    <a:pt x="8097" y="8067"/>
                    <a:pt x="7299" y="8847"/>
                  </a:cubicBezTo>
                  <a:cubicBezTo>
                    <a:pt x="6486" y="9112"/>
                    <a:pt x="4876" y="10070"/>
                    <a:pt x="3725" y="9732"/>
                  </a:cubicBezTo>
                  <a:cubicBezTo>
                    <a:pt x="2567" y="9874"/>
                    <a:pt x="1113" y="9910"/>
                    <a:pt x="570" y="11184"/>
                  </a:cubicBezTo>
                  <a:cubicBezTo>
                    <a:pt x="-29" y="12000"/>
                    <a:pt x="-177" y="14163"/>
                    <a:pt x="225" y="15296"/>
                  </a:cubicBezTo>
                  <a:cubicBezTo>
                    <a:pt x="570" y="16751"/>
                    <a:pt x="1425" y="18184"/>
                    <a:pt x="2008" y="19070"/>
                  </a:cubicBezTo>
                  <a:close/>
                  <a:moveTo>
                    <a:pt x="2008" y="190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2" name="AutoShape 151"/>
            <p:cNvSpPr>
              <a:spLocks/>
            </p:cNvSpPr>
            <p:nvPr/>
          </p:nvSpPr>
          <p:spPr bwMode="auto">
            <a:xfrm>
              <a:off x="7924800" y="1295400"/>
              <a:ext cx="31750" cy="6350"/>
            </a:xfrm>
            <a:custGeom>
              <a:avLst/>
              <a:gdLst/>
              <a:ahLst/>
              <a:cxnLst/>
              <a:rect l="0" t="0" r="r" b="b"/>
              <a:pathLst>
                <a:path w="21298" h="20842">
                  <a:moveTo>
                    <a:pt x="2717" y="13434"/>
                  </a:moveTo>
                  <a:cubicBezTo>
                    <a:pt x="3518" y="11030"/>
                    <a:pt x="4765" y="9722"/>
                    <a:pt x="5407" y="10158"/>
                  </a:cubicBezTo>
                  <a:cubicBezTo>
                    <a:pt x="6050" y="10669"/>
                    <a:pt x="7035" y="10538"/>
                    <a:pt x="7581" y="9867"/>
                  </a:cubicBezTo>
                  <a:cubicBezTo>
                    <a:pt x="8129" y="9610"/>
                    <a:pt x="9224" y="9010"/>
                    <a:pt x="10017" y="9867"/>
                  </a:cubicBezTo>
                  <a:cubicBezTo>
                    <a:pt x="10827" y="10341"/>
                    <a:pt x="12771" y="13579"/>
                    <a:pt x="14398" y="16363"/>
                  </a:cubicBezTo>
                  <a:cubicBezTo>
                    <a:pt x="15953" y="19728"/>
                    <a:pt x="18111" y="21204"/>
                    <a:pt x="19088" y="20768"/>
                  </a:cubicBezTo>
                  <a:cubicBezTo>
                    <a:pt x="20064" y="20328"/>
                    <a:pt x="21048" y="18308"/>
                    <a:pt x="21270" y="16654"/>
                  </a:cubicBezTo>
                  <a:cubicBezTo>
                    <a:pt x="21405" y="14760"/>
                    <a:pt x="21040" y="13050"/>
                    <a:pt x="20278" y="12852"/>
                  </a:cubicBezTo>
                  <a:cubicBezTo>
                    <a:pt x="19500" y="12286"/>
                    <a:pt x="17374" y="10795"/>
                    <a:pt x="15565" y="8775"/>
                  </a:cubicBezTo>
                  <a:cubicBezTo>
                    <a:pt x="13747" y="6972"/>
                    <a:pt x="11819" y="4333"/>
                    <a:pt x="11462" y="2243"/>
                  </a:cubicBezTo>
                  <a:cubicBezTo>
                    <a:pt x="10994" y="622"/>
                    <a:pt x="10057" y="-396"/>
                    <a:pt x="9343" y="148"/>
                  </a:cubicBezTo>
                  <a:cubicBezTo>
                    <a:pt x="8613" y="767"/>
                    <a:pt x="7463" y="949"/>
                    <a:pt x="6772" y="293"/>
                  </a:cubicBezTo>
                  <a:cubicBezTo>
                    <a:pt x="6097" y="-250"/>
                    <a:pt x="4725" y="260"/>
                    <a:pt x="3701" y="1169"/>
                  </a:cubicBezTo>
                  <a:cubicBezTo>
                    <a:pt x="2662" y="2205"/>
                    <a:pt x="1313" y="5880"/>
                    <a:pt x="630" y="9301"/>
                  </a:cubicBezTo>
                  <a:cubicBezTo>
                    <a:pt x="-75" y="12633"/>
                    <a:pt x="-195" y="16072"/>
                    <a:pt x="304" y="16564"/>
                  </a:cubicBezTo>
                  <a:cubicBezTo>
                    <a:pt x="789" y="17216"/>
                    <a:pt x="1916" y="16016"/>
                    <a:pt x="2717" y="13434"/>
                  </a:cubicBezTo>
                  <a:close/>
                  <a:moveTo>
                    <a:pt x="2717" y="134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3" name="AutoShape 152"/>
            <p:cNvSpPr>
              <a:spLocks/>
            </p:cNvSpPr>
            <p:nvPr/>
          </p:nvSpPr>
          <p:spPr bwMode="auto">
            <a:xfrm>
              <a:off x="7810500" y="1511300"/>
              <a:ext cx="14288" cy="12700"/>
            </a:xfrm>
            <a:custGeom>
              <a:avLst/>
              <a:gdLst/>
              <a:ahLst/>
              <a:cxnLst/>
              <a:rect l="0" t="0" r="r" b="b"/>
              <a:pathLst>
                <a:path w="21277" h="20838">
                  <a:moveTo>
                    <a:pt x="7127" y="11999"/>
                  </a:moveTo>
                  <a:cubicBezTo>
                    <a:pt x="9317" y="13326"/>
                    <a:pt x="11489" y="15602"/>
                    <a:pt x="12297" y="16862"/>
                  </a:cubicBezTo>
                  <a:cubicBezTo>
                    <a:pt x="12869" y="18269"/>
                    <a:pt x="14451" y="19897"/>
                    <a:pt x="15664" y="20427"/>
                  </a:cubicBezTo>
                  <a:cubicBezTo>
                    <a:pt x="16787" y="21265"/>
                    <a:pt x="18810" y="20746"/>
                    <a:pt x="19695" y="19537"/>
                  </a:cubicBezTo>
                  <a:cubicBezTo>
                    <a:pt x="20763" y="18529"/>
                    <a:pt x="21277" y="15314"/>
                    <a:pt x="21277" y="12537"/>
                  </a:cubicBezTo>
                  <a:cubicBezTo>
                    <a:pt x="21002" y="9792"/>
                    <a:pt x="19123" y="5947"/>
                    <a:pt x="16605" y="4279"/>
                  </a:cubicBezTo>
                  <a:cubicBezTo>
                    <a:pt x="14266" y="2373"/>
                    <a:pt x="9741" y="614"/>
                    <a:pt x="6815" y="174"/>
                  </a:cubicBezTo>
                  <a:cubicBezTo>
                    <a:pt x="3889" y="-335"/>
                    <a:pt x="1074" y="336"/>
                    <a:pt x="283" y="1334"/>
                  </a:cubicBezTo>
                  <a:cubicBezTo>
                    <a:pt x="-323" y="2442"/>
                    <a:pt x="82" y="4749"/>
                    <a:pt x="1148" y="6496"/>
                  </a:cubicBezTo>
                  <a:cubicBezTo>
                    <a:pt x="2290" y="8183"/>
                    <a:pt x="4939" y="10731"/>
                    <a:pt x="7127" y="11999"/>
                  </a:cubicBezTo>
                  <a:close/>
                  <a:moveTo>
                    <a:pt x="7127" y="119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4" name="AutoShape 153"/>
            <p:cNvSpPr>
              <a:spLocks/>
            </p:cNvSpPr>
            <p:nvPr/>
          </p:nvSpPr>
          <p:spPr bwMode="auto">
            <a:xfrm>
              <a:off x="7785100" y="1308100"/>
              <a:ext cx="100013" cy="57150"/>
            </a:xfrm>
            <a:custGeom>
              <a:avLst/>
              <a:gdLst/>
              <a:ahLst/>
              <a:cxnLst/>
              <a:rect l="0" t="0" r="r" b="b"/>
              <a:pathLst>
                <a:path w="21417" h="21437">
                  <a:moveTo>
                    <a:pt x="12559" y="20594"/>
                  </a:moveTo>
                  <a:cubicBezTo>
                    <a:pt x="12731" y="20991"/>
                    <a:pt x="13110" y="21332"/>
                    <a:pt x="13361" y="21411"/>
                  </a:cubicBezTo>
                  <a:cubicBezTo>
                    <a:pt x="13613" y="21488"/>
                    <a:pt x="14060" y="21381"/>
                    <a:pt x="14354" y="21228"/>
                  </a:cubicBezTo>
                  <a:cubicBezTo>
                    <a:pt x="14646" y="21058"/>
                    <a:pt x="14836" y="20635"/>
                    <a:pt x="14799" y="20294"/>
                  </a:cubicBezTo>
                  <a:cubicBezTo>
                    <a:pt x="14720" y="19973"/>
                    <a:pt x="14850" y="19462"/>
                    <a:pt x="15027" y="19209"/>
                  </a:cubicBezTo>
                  <a:cubicBezTo>
                    <a:pt x="15210" y="18960"/>
                    <a:pt x="15636" y="18633"/>
                    <a:pt x="15996" y="18510"/>
                  </a:cubicBezTo>
                  <a:cubicBezTo>
                    <a:pt x="16356" y="18370"/>
                    <a:pt x="16920" y="18300"/>
                    <a:pt x="17254" y="18275"/>
                  </a:cubicBezTo>
                  <a:cubicBezTo>
                    <a:pt x="17583" y="18250"/>
                    <a:pt x="17982" y="17652"/>
                    <a:pt x="18141" y="16904"/>
                  </a:cubicBezTo>
                  <a:cubicBezTo>
                    <a:pt x="18300" y="16156"/>
                    <a:pt x="18441" y="15262"/>
                    <a:pt x="18441" y="14915"/>
                  </a:cubicBezTo>
                  <a:cubicBezTo>
                    <a:pt x="18398" y="14574"/>
                    <a:pt x="18705" y="13907"/>
                    <a:pt x="18999" y="13410"/>
                  </a:cubicBezTo>
                  <a:cubicBezTo>
                    <a:pt x="19299" y="12924"/>
                    <a:pt x="19905" y="12506"/>
                    <a:pt x="20340" y="12436"/>
                  </a:cubicBezTo>
                  <a:cubicBezTo>
                    <a:pt x="20779" y="12392"/>
                    <a:pt x="21248" y="12253"/>
                    <a:pt x="21378" y="12146"/>
                  </a:cubicBezTo>
                  <a:cubicBezTo>
                    <a:pt x="21518" y="12070"/>
                    <a:pt x="21272" y="11705"/>
                    <a:pt x="20843" y="11460"/>
                  </a:cubicBezTo>
                  <a:cubicBezTo>
                    <a:pt x="20414" y="11177"/>
                    <a:pt x="19890" y="10738"/>
                    <a:pt x="19664" y="10492"/>
                  </a:cubicBezTo>
                  <a:cubicBezTo>
                    <a:pt x="19468" y="10173"/>
                    <a:pt x="18947" y="9825"/>
                    <a:pt x="18570" y="9549"/>
                  </a:cubicBezTo>
                  <a:cubicBezTo>
                    <a:pt x="18176" y="9342"/>
                    <a:pt x="17503" y="9170"/>
                    <a:pt x="17037" y="9288"/>
                  </a:cubicBezTo>
                  <a:cubicBezTo>
                    <a:pt x="16579" y="9423"/>
                    <a:pt x="16004" y="9630"/>
                    <a:pt x="15761" y="9799"/>
                  </a:cubicBezTo>
                  <a:cubicBezTo>
                    <a:pt x="15525" y="10004"/>
                    <a:pt x="14876" y="9760"/>
                    <a:pt x="14336" y="9354"/>
                  </a:cubicBezTo>
                  <a:cubicBezTo>
                    <a:pt x="13793" y="8961"/>
                    <a:pt x="12900" y="8096"/>
                    <a:pt x="12315" y="7518"/>
                  </a:cubicBezTo>
                  <a:cubicBezTo>
                    <a:pt x="11748" y="6912"/>
                    <a:pt x="11163" y="5994"/>
                    <a:pt x="10980" y="5508"/>
                  </a:cubicBezTo>
                  <a:cubicBezTo>
                    <a:pt x="10813" y="5018"/>
                    <a:pt x="10763" y="4444"/>
                    <a:pt x="10890" y="4326"/>
                  </a:cubicBezTo>
                  <a:cubicBezTo>
                    <a:pt x="11009" y="4205"/>
                    <a:pt x="11351" y="4096"/>
                    <a:pt x="11661" y="4044"/>
                  </a:cubicBezTo>
                  <a:cubicBezTo>
                    <a:pt x="11968" y="4051"/>
                    <a:pt x="12185" y="3863"/>
                    <a:pt x="12225" y="3689"/>
                  </a:cubicBezTo>
                  <a:cubicBezTo>
                    <a:pt x="12262" y="3510"/>
                    <a:pt x="11897" y="2899"/>
                    <a:pt x="11484" y="2360"/>
                  </a:cubicBezTo>
                  <a:cubicBezTo>
                    <a:pt x="11070" y="1830"/>
                    <a:pt x="10575" y="971"/>
                    <a:pt x="10339" y="527"/>
                  </a:cubicBezTo>
                  <a:cubicBezTo>
                    <a:pt x="10117" y="67"/>
                    <a:pt x="9495" y="-112"/>
                    <a:pt x="8944" y="69"/>
                  </a:cubicBezTo>
                  <a:cubicBezTo>
                    <a:pt x="8393" y="267"/>
                    <a:pt x="7548" y="673"/>
                    <a:pt x="7077" y="991"/>
                  </a:cubicBezTo>
                  <a:cubicBezTo>
                    <a:pt x="6597" y="1307"/>
                    <a:pt x="5824" y="1491"/>
                    <a:pt x="5363" y="1401"/>
                  </a:cubicBezTo>
                  <a:cubicBezTo>
                    <a:pt x="4899" y="1340"/>
                    <a:pt x="3856" y="1256"/>
                    <a:pt x="3040" y="1231"/>
                  </a:cubicBezTo>
                  <a:cubicBezTo>
                    <a:pt x="2230" y="1196"/>
                    <a:pt x="1285" y="1380"/>
                    <a:pt x="935" y="1591"/>
                  </a:cubicBezTo>
                  <a:cubicBezTo>
                    <a:pt x="585" y="1812"/>
                    <a:pt x="207" y="2316"/>
                    <a:pt x="37" y="2630"/>
                  </a:cubicBezTo>
                  <a:cubicBezTo>
                    <a:pt x="-82" y="3008"/>
                    <a:pt x="90" y="3485"/>
                    <a:pt x="472" y="3770"/>
                  </a:cubicBezTo>
                  <a:cubicBezTo>
                    <a:pt x="861" y="4033"/>
                    <a:pt x="1491" y="4614"/>
                    <a:pt x="1888" y="5011"/>
                  </a:cubicBezTo>
                  <a:cubicBezTo>
                    <a:pt x="2280" y="5408"/>
                    <a:pt x="2905" y="5815"/>
                    <a:pt x="3279" y="5905"/>
                  </a:cubicBezTo>
                  <a:cubicBezTo>
                    <a:pt x="3650" y="5994"/>
                    <a:pt x="4052" y="6240"/>
                    <a:pt x="4155" y="6479"/>
                  </a:cubicBezTo>
                  <a:cubicBezTo>
                    <a:pt x="4266" y="6705"/>
                    <a:pt x="4285" y="7065"/>
                    <a:pt x="4245" y="7302"/>
                  </a:cubicBezTo>
                  <a:cubicBezTo>
                    <a:pt x="4200" y="7532"/>
                    <a:pt x="4174" y="8015"/>
                    <a:pt x="4211" y="8401"/>
                  </a:cubicBezTo>
                  <a:cubicBezTo>
                    <a:pt x="4251" y="8782"/>
                    <a:pt x="4081" y="9455"/>
                    <a:pt x="3845" y="9913"/>
                  </a:cubicBezTo>
                  <a:cubicBezTo>
                    <a:pt x="3602" y="10357"/>
                    <a:pt x="3390" y="11196"/>
                    <a:pt x="3390" y="11770"/>
                  </a:cubicBezTo>
                  <a:cubicBezTo>
                    <a:pt x="3390" y="12346"/>
                    <a:pt x="3133" y="12934"/>
                    <a:pt x="2847" y="13084"/>
                  </a:cubicBezTo>
                  <a:cubicBezTo>
                    <a:pt x="2566" y="13261"/>
                    <a:pt x="2397" y="13673"/>
                    <a:pt x="2503" y="14037"/>
                  </a:cubicBezTo>
                  <a:cubicBezTo>
                    <a:pt x="2627" y="14393"/>
                    <a:pt x="2593" y="14853"/>
                    <a:pt x="2508" y="15045"/>
                  </a:cubicBezTo>
                  <a:cubicBezTo>
                    <a:pt x="2405" y="15224"/>
                    <a:pt x="2378" y="15645"/>
                    <a:pt x="2484" y="15947"/>
                  </a:cubicBezTo>
                  <a:cubicBezTo>
                    <a:pt x="2598" y="16244"/>
                    <a:pt x="2802" y="16551"/>
                    <a:pt x="2974" y="16656"/>
                  </a:cubicBezTo>
                  <a:cubicBezTo>
                    <a:pt x="3152" y="16693"/>
                    <a:pt x="3570" y="16693"/>
                    <a:pt x="3909" y="16605"/>
                  </a:cubicBezTo>
                  <a:cubicBezTo>
                    <a:pt x="4251" y="16511"/>
                    <a:pt x="4862" y="16456"/>
                    <a:pt x="5260" y="16516"/>
                  </a:cubicBezTo>
                  <a:cubicBezTo>
                    <a:pt x="5665" y="16542"/>
                    <a:pt x="6287" y="16374"/>
                    <a:pt x="6647" y="16107"/>
                  </a:cubicBezTo>
                  <a:cubicBezTo>
                    <a:pt x="6997" y="15819"/>
                    <a:pt x="7553" y="15680"/>
                    <a:pt x="7871" y="15768"/>
                  </a:cubicBezTo>
                  <a:cubicBezTo>
                    <a:pt x="8186" y="15873"/>
                    <a:pt x="8658" y="15826"/>
                    <a:pt x="8904" y="15647"/>
                  </a:cubicBezTo>
                  <a:cubicBezTo>
                    <a:pt x="9153" y="15501"/>
                    <a:pt x="9516" y="15039"/>
                    <a:pt x="9688" y="14623"/>
                  </a:cubicBezTo>
                  <a:cubicBezTo>
                    <a:pt x="9884" y="14228"/>
                    <a:pt x="10188" y="13805"/>
                    <a:pt x="10384" y="13710"/>
                  </a:cubicBezTo>
                  <a:cubicBezTo>
                    <a:pt x="10588" y="13640"/>
                    <a:pt x="11015" y="13633"/>
                    <a:pt x="11333" y="13782"/>
                  </a:cubicBezTo>
                  <a:cubicBezTo>
                    <a:pt x="11650" y="13921"/>
                    <a:pt x="12058" y="13986"/>
                    <a:pt x="12217" y="13863"/>
                  </a:cubicBezTo>
                  <a:cubicBezTo>
                    <a:pt x="12371" y="13705"/>
                    <a:pt x="12559" y="14060"/>
                    <a:pt x="12636" y="14474"/>
                  </a:cubicBezTo>
                  <a:cubicBezTo>
                    <a:pt x="12678" y="14904"/>
                    <a:pt x="12641" y="15668"/>
                    <a:pt x="12559" y="16221"/>
                  </a:cubicBezTo>
                  <a:cubicBezTo>
                    <a:pt x="12477" y="16774"/>
                    <a:pt x="12514" y="17592"/>
                    <a:pt x="12641" y="18094"/>
                  </a:cubicBezTo>
                  <a:cubicBezTo>
                    <a:pt x="12762" y="18605"/>
                    <a:pt x="12726" y="19146"/>
                    <a:pt x="12559" y="19451"/>
                  </a:cubicBezTo>
                  <a:cubicBezTo>
                    <a:pt x="12360" y="19688"/>
                    <a:pt x="12365" y="20218"/>
                    <a:pt x="12559" y="20594"/>
                  </a:cubicBezTo>
                  <a:close/>
                  <a:moveTo>
                    <a:pt x="12559" y="2059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5" name="AutoShape 154"/>
            <p:cNvSpPr>
              <a:spLocks/>
            </p:cNvSpPr>
            <p:nvPr/>
          </p:nvSpPr>
          <p:spPr bwMode="auto">
            <a:xfrm>
              <a:off x="10642600" y="4140200"/>
              <a:ext cx="0" cy="0"/>
            </a:xfrm>
            <a:custGeom>
              <a:avLst/>
              <a:gdLst/>
              <a:ahLst/>
              <a:cxnLst/>
              <a:rect l="0" t="0" r="r" b="b"/>
              <a:pathLst>
                <a:path w="15448" h="19284">
                  <a:moveTo>
                    <a:pt x="0" y="0"/>
                  </a:moveTo>
                  <a:cubicBezTo>
                    <a:pt x="4410" y="8112"/>
                    <a:pt x="10080" y="15375"/>
                    <a:pt x="10080" y="18682"/>
                  </a:cubicBezTo>
                  <a:cubicBezTo>
                    <a:pt x="21600" y="21600"/>
                    <a:pt x="12870" y="13677"/>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6" name="AutoShape 155"/>
            <p:cNvSpPr>
              <a:spLocks/>
            </p:cNvSpPr>
            <p:nvPr/>
          </p:nvSpPr>
          <p:spPr bwMode="auto">
            <a:xfrm>
              <a:off x="10642600" y="4356100"/>
              <a:ext cx="0" cy="4763"/>
            </a:xfrm>
            <a:custGeom>
              <a:avLst/>
              <a:gdLst/>
              <a:ahLst/>
              <a:cxnLst/>
              <a:rect l="0" t="0" r="r" b="b"/>
              <a:pathLst>
                <a:path w="17860" h="21600">
                  <a:moveTo>
                    <a:pt x="15581" y="18037"/>
                  </a:moveTo>
                  <a:cubicBezTo>
                    <a:pt x="15581" y="15998"/>
                    <a:pt x="21600" y="10994"/>
                    <a:pt x="14076" y="7171"/>
                  </a:cubicBezTo>
                  <a:cubicBezTo>
                    <a:pt x="6019" y="3303"/>
                    <a:pt x="8026" y="0"/>
                    <a:pt x="5047" y="0"/>
                  </a:cubicBezTo>
                  <a:cubicBezTo>
                    <a:pt x="2006" y="0"/>
                    <a:pt x="0" y="4877"/>
                    <a:pt x="0" y="10708"/>
                  </a:cubicBezTo>
                  <a:cubicBezTo>
                    <a:pt x="0" y="16642"/>
                    <a:pt x="10565" y="21600"/>
                    <a:pt x="7054" y="21600"/>
                  </a:cubicBezTo>
                  <a:cubicBezTo>
                    <a:pt x="10565" y="21600"/>
                    <a:pt x="15581" y="20105"/>
                    <a:pt x="15581" y="18037"/>
                  </a:cubicBezTo>
                  <a:close/>
                  <a:moveTo>
                    <a:pt x="15581" y="180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7" name="AutoShape 156"/>
            <p:cNvSpPr>
              <a:spLocks/>
            </p:cNvSpPr>
            <p:nvPr/>
          </p:nvSpPr>
          <p:spPr bwMode="auto">
            <a:xfrm>
              <a:off x="10642600" y="4343400"/>
              <a:ext cx="0" cy="6350"/>
            </a:xfrm>
            <a:custGeom>
              <a:avLst/>
              <a:gdLst/>
              <a:ahLst/>
              <a:cxnLst/>
              <a:rect l="0" t="0" r="r" b="b"/>
              <a:pathLst>
                <a:path w="15268" h="19817">
                  <a:moveTo>
                    <a:pt x="5103" y="16147"/>
                  </a:moveTo>
                  <a:cubicBezTo>
                    <a:pt x="5103" y="17763"/>
                    <a:pt x="8519" y="19469"/>
                    <a:pt x="11299" y="19770"/>
                  </a:cubicBezTo>
                  <a:cubicBezTo>
                    <a:pt x="11299" y="20233"/>
                    <a:pt x="13770" y="17176"/>
                    <a:pt x="13770" y="13091"/>
                  </a:cubicBezTo>
                  <a:cubicBezTo>
                    <a:pt x="18383" y="9061"/>
                    <a:pt x="11299" y="3642"/>
                    <a:pt x="6647" y="1172"/>
                  </a:cubicBezTo>
                  <a:cubicBezTo>
                    <a:pt x="6647" y="-1367"/>
                    <a:pt x="-3217" y="373"/>
                    <a:pt x="1088" y="4901"/>
                  </a:cubicBezTo>
                  <a:cubicBezTo>
                    <a:pt x="1088" y="9486"/>
                    <a:pt x="1088" y="14564"/>
                    <a:pt x="5103" y="16147"/>
                  </a:cubicBezTo>
                  <a:close/>
                  <a:moveTo>
                    <a:pt x="5103" y="161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8" name="AutoShape 157"/>
            <p:cNvSpPr>
              <a:spLocks/>
            </p:cNvSpPr>
            <p:nvPr/>
          </p:nvSpPr>
          <p:spPr bwMode="auto">
            <a:xfrm>
              <a:off x="10642600" y="4356100"/>
              <a:ext cx="0" cy="4763"/>
            </a:xfrm>
            <a:custGeom>
              <a:avLst/>
              <a:gdLst/>
              <a:ahLst/>
              <a:cxnLst/>
              <a:rect l="0" t="0" r="r" b="b"/>
              <a:pathLst>
                <a:path w="19621" h="20385">
                  <a:moveTo>
                    <a:pt x="19395" y="13437"/>
                  </a:moveTo>
                  <a:cubicBezTo>
                    <a:pt x="19395" y="8865"/>
                    <a:pt x="12240" y="3436"/>
                    <a:pt x="12240" y="1273"/>
                  </a:cubicBezTo>
                  <a:cubicBezTo>
                    <a:pt x="1440" y="-771"/>
                    <a:pt x="0" y="-333"/>
                    <a:pt x="0" y="2434"/>
                  </a:cubicBezTo>
                  <a:cubicBezTo>
                    <a:pt x="0" y="5138"/>
                    <a:pt x="0" y="9990"/>
                    <a:pt x="0" y="13154"/>
                  </a:cubicBezTo>
                  <a:cubicBezTo>
                    <a:pt x="0" y="16261"/>
                    <a:pt x="1440" y="19728"/>
                    <a:pt x="12240" y="20328"/>
                  </a:cubicBezTo>
                  <a:cubicBezTo>
                    <a:pt x="21600" y="20829"/>
                    <a:pt x="19395" y="17963"/>
                    <a:pt x="19395" y="13437"/>
                  </a:cubicBezTo>
                  <a:close/>
                  <a:moveTo>
                    <a:pt x="19395" y="134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59" name="AutoShape 158"/>
            <p:cNvSpPr>
              <a:spLocks/>
            </p:cNvSpPr>
            <p:nvPr/>
          </p:nvSpPr>
          <p:spPr bwMode="auto">
            <a:xfrm>
              <a:off x="10629900" y="4025900"/>
              <a:ext cx="1588" cy="19050"/>
            </a:xfrm>
            <a:custGeom>
              <a:avLst/>
              <a:gdLst/>
              <a:ahLst/>
              <a:cxnLst/>
              <a:rect l="0" t="0" r="r" b="b"/>
              <a:pathLst>
                <a:path w="21600" h="21427">
                  <a:moveTo>
                    <a:pt x="5442" y="5765"/>
                  </a:moveTo>
                  <a:cubicBezTo>
                    <a:pt x="7080" y="7271"/>
                    <a:pt x="9919" y="9203"/>
                    <a:pt x="9919" y="10074"/>
                  </a:cubicBezTo>
                  <a:cubicBezTo>
                    <a:pt x="11681" y="10938"/>
                    <a:pt x="14159" y="13504"/>
                    <a:pt x="15936" y="15752"/>
                  </a:cubicBezTo>
                  <a:cubicBezTo>
                    <a:pt x="17699" y="18001"/>
                    <a:pt x="21128" y="20296"/>
                    <a:pt x="21128" y="20877"/>
                  </a:cubicBezTo>
                  <a:cubicBezTo>
                    <a:pt x="21128" y="21458"/>
                    <a:pt x="21600" y="21600"/>
                    <a:pt x="21600" y="21202"/>
                  </a:cubicBezTo>
                  <a:cubicBezTo>
                    <a:pt x="21600" y="20802"/>
                    <a:pt x="19122" y="18771"/>
                    <a:pt x="17470" y="16684"/>
                  </a:cubicBezTo>
                  <a:cubicBezTo>
                    <a:pt x="15693" y="14597"/>
                    <a:pt x="12869" y="11694"/>
                    <a:pt x="11209" y="10243"/>
                  </a:cubicBezTo>
                  <a:cubicBezTo>
                    <a:pt x="9447" y="8798"/>
                    <a:pt x="9557" y="7197"/>
                    <a:pt x="7913" y="6818"/>
                  </a:cubicBezTo>
                  <a:cubicBezTo>
                    <a:pt x="7913" y="6380"/>
                    <a:pt x="5789" y="5441"/>
                    <a:pt x="5789" y="4706"/>
                  </a:cubicBezTo>
                  <a:cubicBezTo>
                    <a:pt x="5789" y="3977"/>
                    <a:pt x="4373" y="2525"/>
                    <a:pt x="2485" y="1464"/>
                  </a:cubicBezTo>
                  <a:cubicBezTo>
                    <a:pt x="2485" y="1113"/>
                    <a:pt x="1305" y="579"/>
                    <a:pt x="0" y="0"/>
                  </a:cubicBezTo>
                  <a:cubicBezTo>
                    <a:pt x="951" y="883"/>
                    <a:pt x="1777" y="1687"/>
                    <a:pt x="1777" y="2031"/>
                  </a:cubicBezTo>
                  <a:cubicBezTo>
                    <a:pt x="3311" y="2558"/>
                    <a:pt x="3658" y="4273"/>
                    <a:pt x="5442" y="5765"/>
                  </a:cubicBezTo>
                  <a:close/>
                  <a:moveTo>
                    <a:pt x="5442" y="576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0" name="AutoShape 159"/>
            <p:cNvSpPr>
              <a:spLocks/>
            </p:cNvSpPr>
            <p:nvPr/>
          </p:nvSpPr>
          <p:spPr bwMode="auto">
            <a:xfrm>
              <a:off x="10642600" y="4216400"/>
              <a:ext cx="0" cy="11113"/>
            </a:xfrm>
            <a:custGeom>
              <a:avLst/>
              <a:gdLst/>
              <a:ahLst/>
              <a:cxnLst/>
              <a:rect l="0" t="0" r="r" b="b"/>
              <a:pathLst>
                <a:path w="19076" h="20997">
                  <a:moveTo>
                    <a:pt x="5901" y="16686"/>
                  </a:moveTo>
                  <a:cubicBezTo>
                    <a:pt x="5901" y="17281"/>
                    <a:pt x="10989" y="17932"/>
                    <a:pt x="10989" y="18180"/>
                  </a:cubicBezTo>
                  <a:cubicBezTo>
                    <a:pt x="14346" y="18289"/>
                    <a:pt x="16732" y="19307"/>
                    <a:pt x="16732" y="20206"/>
                  </a:cubicBezTo>
                  <a:cubicBezTo>
                    <a:pt x="16732" y="21108"/>
                    <a:pt x="19076" y="21259"/>
                    <a:pt x="19076" y="20555"/>
                  </a:cubicBezTo>
                  <a:cubicBezTo>
                    <a:pt x="19076" y="19838"/>
                    <a:pt x="16036" y="17965"/>
                    <a:pt x="16036" y="16371"/>
                  </a:cubicBezTo>
                  <a:cubicBezTo>
                    <a:pt x="11327" y="14810"/>
                    <a:pt x="14346" y="12329"/>
                    <a:pt x="14346" y="10931"/>
                  </a:cubicBezTo>
                  <a:cubicBezTo>
                    <a:pt x="14346" y="9510"/>
                    <a:pt x="12699" y="6333"/>
                    <a:pt x="12699" y="3841"/>
                  </a:cubicBezTo>
                  <a:cubicBezTo>
                    <a:pt x="12699" y="1359"/>
                    <a:pt x="8287" y="-341"/>
                    <a:pt x="8287" y="59"/>
                  </a:cubicBezTo>
                  <a:cubicBezTo>
                    <a:pt x="4908" y="396"/>
                    <a:pt x="6597" y="1164"/>
                    <a:pt x="6597" y="1641"/>
                  </a:cubicBezTo>
                  <a:cubicBezTo>
                    <a:pt x="6597" y="2096"/>
                    <a:pt x="4908" y="2454"/>
                    <a:pt x="4908" y="2509"/>
                  </a:cubicBezTo>
                  <a:cubicBezTo>
                    <a:pt x="3895" y="2509"/>
                    <a:pt x="-497" y="3202"/>
                    <a:pt x="3895" y="3918"/>
                  </a:cubicBezTo>
                  <a:cubicBezTo>
                    <a:pt x="3895" y="4709"/>
                    <a:pt x="3895" y="5434"/>
                    <a:pt x="3895" y="5588"/>
                  </a:cubicBezTo>
                  <a:cubicBezTo>
                    <a:pt x="1509" y="5641"/>
                    <a:pt x="1868" y="6585"/>
                    <a:pt x="1868" y="7484"/>
                  </a:cubicBezTo>
                  <a:cubicBezTo>
                    <a:pt x="-2524" y="8329"/>
                    <a:pt x="2206" y="10573"/>
                    <a:pt x="2206" y="12360"/>
                  </a:cubicBezTo>
                  <a:cubicBezTo>
                    <a:pt x="2206" y="14127"/>
                    <a:pt x="5901" y="16078"/>
                    <a:pt x="5901" y="16686"/>
                  </a:cubicBezTo>
                  <a:close/>
                  <a:moveTo>
                    <a:pt x="5901" y="166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1" name="AutoShape 160"/>
            <p:cNvSpPr>
              <a:spLocks/>
            </p:cNvSpPr>
            <p:nvPr/>
          </p:nvSpPr>
          <p:spPr bwMode="auto">
            <a:xfrm>
              <a:off x="10642600" y="4267200"/>
              <a:ext cx="0" cy="20638"/>
            </a:xfrm>
            <a:custGeom>
              <a:avLst/>
              <a:gdLst/>
              <a:ahLst/>
              <a:cxnLst/>
              <a:rect l="0" t="0" r="r" b="b"/>
              <a:pathLst>
                <a:path w="16584" h="21367">
                  <a:moveTo>
                    <a:pt x="560" y="4759"/>
                  </a:moveTo>
                  <a:cubicBezTo>
                    <a:pt x="560" y="5484"/>
                    <a:pt x="560" y="6541"/>
                    <a:pt x="560" y="7110"/>
                  </a:cubicBezTo>
                  <a:cubicBezTo>
                    <a:pt x="560" y="7681"/>
                    <a:pt x="-2024" y="8763"/>
                    <a:pt x="3911" y="9449"/>
                  </a:cubicBezTo>
                  <a:cubicBezTo>
                    <a:pt x="3911" y="10172"/>
                    <a:pt x="2422" y="11531"/>
                    <a:pt x="2422" y="12478"/>
                  </a:cubicBezTo>
                  <a:cubicBezTo>
                    <a:pt x="2422" y="13420"/>
                    <a:pt x="932" y="15912"/>
                    <a:pt x="6891" y="17994"/>
                  </a:cubicBezTo>
                  <a:cubicBezTo>
                    <a:pt x="6891" y="20089"/>
                    <a:pt x="14735" y="21600"/>
                    <a:pt x="14735" y="21338"/>
                  </a:cubicBezTo>
                  <a:cubicBezTo>
                    <a:pt x="14735" y="21088"/>
                    <a:pt x="19576" y="19736"/>
                    <a:pt x="13594" y="18360"/>
                  </a:cubicBezTo>
                  <a:cubicBezTo>
                    <a:pt x="13594" y="16969"/>
                    <a:pt x="13594" y="14932"/>
                    <a:pt x="13594" y="13836"/>
                  </a:cubicBezTo>
                  <a:cubicBezTo>
                    <a:pt x="13594" y="12747"/>
                    <a:pt x="19576" y="10750"/>
                    <a:pt x="13594" y="9436"/>
                  </a:cubicBezTo>
                  <a:cubicBezTo>
                    <a:pt x="13594" y="8097"/>
                    <a:pt x="11010" y="6259"/>
                    <a:pt x="11010" y="5343"/>
                  </a:cubicBezTo>
                  <a:cubicBezTo>
                    <a:pt x="11010" y="4426"/>
                    <a:pt x="5401" y="2377"/>
                    <a:pt x="5401" y="788"/>
                  </a:cubicBezTo>
                  <a:cubicBezTo>
                    <a:pt x="2817" y="442"/>
                    <a:pt x="1700" y="199"/>
                    <a:pt x="560" y="0"/>
                  </a:cubicBezTo>
                  <a:cubicBezTo>
                    <a:pt x="932" y="179"/>
                    <a:pt x="1328" y="366"/>
                    <a:pt x="1328" y="666"/>
                  </a:cubicBezTo>
                  <a:cubicBezTo>
                    <a:pt x="6542" y="2179"/>
                    <a:pt x="5401" y="4055"/>
                    <a:pt x="560" y="4759"/>
                  </a:cubicBezTo>
                  <a:close/>
                  <a:moveTo>
                    <a:pt x="560" y="47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2" name="AutoShape 161"/>
            <p:cNvSpPr>
              <a:spLocks/>
            </p:cNvSpPr>
            <p:nvPr/>
          </p:nvSpPr>
          <p:spPr bwMode="auto">
            <a:xfrm>
              <a:off x="10642600" y="4241800"/>
              <a:ext cx="0" cy="6350"/>
            </a:xfrm>
            <a:custGeom>
              <a:avLst/>
              <a:gdLst/>
              <a:ahLst/>
              <a:cxnLst/>
              <a:rect l="0" t="0" r="r" b="b"/>
              <a:pathLst>
                <a:path w="16431" h="20349">
                  <a:moveTo>
                    <a:pt x="10768" y="16922"/>
                  </a:moveTo>
                  <a:cubicBezTo>
                    <a:pt x="15847" y="19479"/>
                    <a:pt x="15847" y="20936"/>
                    <a:pt x="15847" y="20124"/>
                  </a:cubicBezTo>
                  <a:cubicBezTo>
                    <a:pt x="11464" y="19444"/>
                    <a:pt x="21600" y="15753"/>
                    <a:pt x="12475" y="12534"/>
                  </a:cubicBezTo>
                  <a:cubicBezTo>
                    <a:pt x="12475" y="9230"/>
                    <a:pt x="9083" y="4589"/>
                    <a:pt x="4046" y="2350"/>
                  </a:cubicBezTo>
                  <a:cubicBezTo>
                    <a:pt x="4046" y="81"/>
                    <a:pt x="0" y="-664"/>
                    <a:pt x="0" y="640"/>
                  </a:cubicBezTo>
                  <a:cubicBezTo>
                    <a:pt x="0" y="1997"/>
                    <a:pt x="3035" y="5148"/>
                    <a:pt x="3035" y="7656"/>
                  </a:cubicBezTo>
                  <a:cubicBezTo>
                    <a:pt x="3035" y="10178"/>
                    <a:pt x="5732" y="14379"/>
                    <a:pt x="10768" y="16922"/>
                  </a:cubicBezTo>
                  <a:close/>
                  <a:moveTo>
                    <a:pt x="10768" y="169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3" name="AutoShape 162"/>
            <p:cNvSpPr>
              <a:spLocks/>
            </p:cNvSpPr>
            <p:nvPr/>
          </p:nvSpPr>
          <p:spPr bwMode="auto">
            <a:xfrm>
              <a:off x="10642600" y="4127500"/>
              <a:ext cx="0" cy="7938"/>
            </a:xfrm>
            <a:custGeom>
              <a:avLst/>
              <a:gdLst/>
              <a:ahLst/>
              <a:cxnLst/>
              <a:rect l="0" t="0" r="r" b="b"/>
              <a:pathLst>
                <a:path w="21600" h="20961">
                  <a:moveTo>
                    <a:pt x="21600" y="20961"/>
                  </a:moveTo>
                  <a:cubicBezTo>
                    <a:pt x="20538" y="20105"/>
                    <a:pt x="19807" y="19218"/>
                    <a:pt x="19807" y="18334"/>
                  </a:cubicBezTo>
                  <a:cubicBezTo>
                    <a:pt x="19807" y="16214"/>
                    <a:pt x="16289" y="12162"/>
                    <a:pt x="10955" y="9379"/>
                  </a:cubicBezTo>
                  <a:cubicBezTo>
                    <a:pt x="10955" y="6570"/>
                    <a:pt x="708" y="2864"/>
                    <a:pt x="708" y="1104"/>
                  </a:cubicBezTo>
                  <a:cubicBezTo>
                    <a:pt x="708" y="-639"/>
                    <a:pt x="0" y="-279"/>
                    <a:pt x="0" y="1909"/>
                  </a:cubicBezTo>
                  <a:cubicBezTo>
                    <a:pt x="5311" y="4051"/>
                    <a:pt x="9184" y="10223"/>
                    <a:pt x="14518" y="15523"/>
                  </a:cubicBezTo>
                  <a:cubicBezTo>
                    <a:pt x="16643" y="17739"/>
                    <a:pt x="19475" y="19536"/>
                    <a:pt x="21600" y="20961"/>
                  </a:cubicBezTo>
                  <a:close/>
                  <a:moveTo>
                    <a:pt x="21600" y="209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4" name="AutoShape 163"/>
            <p:cNvSpPr>
              <a:spLocks/>
            </p:cNvSpPr>
            <p:nvPr/>
          </p:nvSpPr>
          <p:spPr bwMode="auto">
            <a:xfrm>
              <a:off x="10629900" y="4051300"/>
              <a:ext cx="0" cy="0"/>
            </a:xfrm>
            <a:custGeom>
              <a:avLst/>
              <a:gdLst/>
              <a:ahLst/>
              <a:cxnLst/>
              <a:rect l="0" t="0" r="r" b="b"/>
              <a:pathLst>
                <a:path w="11873" h="18006">
                  <a:moveTo>
                    <a:pt x="8410" y="11764"/>
                  </a:moveTo>
                  <a:cubicBezTo>
                    <a:pt x="17836" y="4914"/>
                    <a:pt x="1647" y="-1110"/>
                    <a:pt x="1647" y="174"/>
                  </a:cubicBezTo>
                  <a:cubicBezTo>
                    <a:pt x="1647" y="1961"/>
                    <a:pt x="-3764" y="8324"/>
                    <a:pt x="5028" y="14230"/>
                  </a:cubicBezTo>
                  <a:cubicBezTo>
                    <a:pt x="5028" y="20490"/>
                    <a:pt x="17836" y="18482"/>
                    <a:pt x="8410" y="11764"/>
                  </a:cubicBezTo>
                  <a:close/>
                  <a:moveTo>
                    <a:pt x="8410" y="117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5" name="AutoShape 164"/>
            <p:cNvSpPr>
              <a:spLocks/>
            </p:cNvSpPr>
            <p:nvPr/>
          </p:nvSpPr>
          <p:spPr bwMode="auto">
            <a:xfrm>
              <a:off x="10629900" y="4051300"/>
              <a:ext cx="0" cy="0"/>
            </a:xfrm>
            <a:custGeom>
              <a:avLst/>
              <a:gdLst/>
              <a:ahLst/>
              <a:cxnLst/>
              <a:rect l="0" t="0" r="r" b="b"/>
              <a:pathLst>
                <a:path w="17575" h="17170">
                  <a:moveTo>
                    <a:pt x="0" y="9283"/>
                  </a:moveTo>
                  <a:cubicBezTo>
                    <a:pt x="21600" y="16705"/>
                    <a:pt x="17208" y="19464"/>
                    <a:pt x="17208" y="15059"/>
                  </a:cubicBezTo>
                  <a:cubicBezTo>
                    <a:pt x="17208" y="10718"/>
                    <a:pt x="17208" y="4328"/>
                    <a:pt x="1524" y="1242"/>
                  </a:cubicBezTo>
                  <a:cubicBezTo>
                    <a:pt x="1524" y="-2136"/>
                    <a:pt x="0" y="1650"/>
                    <a:pt x="0" y="9283"/>
                  </a:cubicBezTo>
                  <a:close/>
                  <a:moveTo>
                    <a:pt x="0" y="92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6" name="AutoShape 165"/>
            <p:cNvSpPr>
              <a:spLocks/>
            </p:cNvSpPr>
            <p:nvPr/>
          </p:nvSpPr>
          <p:spPr bwMode="auto">
            <a:xfrm>
              <a:off x="10629900" y="4013200"/>
              <a:ext cx="0" cy="0"/>
            </a:xfrm>
            <a:custGeom>
              <a:avLst/>
              <a:gdLst/>
              <a:ahLst/>
              <a:cxnLst/>
              <a:rect l="0" t="0" r="r" b="b"/>
              <a:pathLst>
                <a:path w="21600" h="18391">
                  <a:moveTo>
                    <a:pt x="21600" y="18391"/>
                  </a:moveTo>
                  <a:cubicBezTo>
                    <a:pt x="12960" y="5466"/>
                    <a:pt x="0" y="-3209"/>
                    <a:pt x="0" y="1129"/>
                  </a:cubicBezTo>
                  <a:cubicBezTo>
                    <a:pt x="0" y="4177"/>
                    <a:pt x="4590" y="10802"/>
                    <a:pt x="21600" y="18391"/>
                  </a:cubicBezTo>
                  <a:close/>
                  <a:moveTo>
                    <a:pt x="21600" y="183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7" name="AutoShape 166"/>
            <p:cNvSpPr>
              <a:spLocks/>
            </p:cNvSpPr>
            <p:nvPr/>
          </p:nvSpPr>
          <p:spPr bwMode="auto">
            <a:xfrm>
              <a:off x="10629900" y="4064000"/>
              <a:ext cx="0" cy="11113"/>
            </a:xfrm>
            <a:custGeom>
              <a:avLst/>
              <a:gdLst/>
              <a:ahLst/>
              <a:cxnLst/>
              <a:rect l="0" t="0" r="r" b="b"/>
              <a:pathLst>
                <a:path w="20286" h="21360">
                  <a:moveTo>
                    <a:pt x="6353" y="8948"/>
                  </a:moveTo>
                  <a:cubicBezTo>
                    <a:pt x="12296" y="11544"/>
                    <a:pt x="8696" y="15552"/>
                    <a:pt x="14837" y="17418"/>
                  </a:cubicBezTo>
                  <a:cubicBezTo>
                    <a:pt x="14837" y="19423"/>
                    <a:pt x="21600" y="21357"/>
                    <a:pt x="19906" y="21357"/>
                  </a:cubicBezTo>
                  <a:cubicBezTo>
                    <a:pt x="21401" y="21440"/>
                    <a:pt x="18000" y="19841"/>
                    <a:pt x="18000" y="17603"/>
                  </a:cubicBezTo>
                  <a:cubicBezTo>
                    <a:pt x="18000" y="15355"/>
                    <a:pt x="12494" y="11255"/>
                    <a:pt x="9331" y="8461"/>
                  </a:cubicBezTo>
                  <a:cubicBezTo>
                    <a:pt x="5943" y="5680"/>
                    <a:pt x="2131" y="2714"/>
                    <a:pt x="2131" y="1869"/>
                  </a:cubicBezTo>
                  <a:cubicBezTo>
                    <a:pt x="2131" y="986"/>
                    <a:pt x="0" y="188"/>
                    <a:pt x="0" y="25"/>
                  </a:cubicBezTo>
                  <a:cubicBezTo>
                    <a:pt x="0" y="-160"/>
                    <a:pt x="649" y="697"/>
                    <a:pt x="649" y="1890"/>
                  </a:cubicBezTo>
                  <a:cubicBezTo>
                    <a:pt x="649" y="3095"/>
                    <a:pt x="6353" y="6236"/>
                    <a:pt x="6353" y="8948"/>
                  </a:cubicBezTo>
                  <a:close/>
                  <a:moveTo>
                    <a:pt x="6353" y="89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8" name="AutoShape 167"/>
            <p:cNvSpPr>
              <a:spLocks/>
            </p:cNvSpPr>
            <p:nvPr/>
          </p:nvSpPr>
          <p:spPr bwMode="auto">
            <a:xfrm>
              <a:off x="10629900" y="4064000"/>
              <a:ext cx="0" cy="9525"/>
            </a:xfrm>
            <a:custGeom>
              <a:avLst/>
              <a:gdLst/>
              <a:ahLst/>
              <a:cxnLst/>
              <a:rect l="0" t="0" r="r" b="b"/>
              <a:pathLst>
                <a:path w="20766" h="20944">
                  <a:moveTo>
                    <a:pt x="0" y="180"/>
                  </a:moveTo>
                  <a:cubicBezTo>
                    <a:pt x="0" y="758"/>
                    <a:pt x="2274" y="2805"/>
                    <a:pt x="2274" y="4727"/>
                  </a:cubicBezTo>
                  <a:cubicBezTo>
                    <a:pt x="5345" y="6612"/>
                    <a:pt x="10909" y="10838"/>
                    <a:pt x="10909" y="14103"/>
                  </a:cubicBezTo>
                  <a:cubicBezTo>
                    <a:pt x="13788" y="17369"/>
                    <a:pt x="15432" y="20634"/>
                    <a:pt x="18927" y="20844"/>
                  </a:cubicBezTo>
                  <a:cubicBezTo>
                    <a:pt x="21600" y="21177"/>
                    <a:pt x="20572" y="20672"/>
                    <a:pt x="20572" y="19463"/>
                  </a:cubicBezTo>
                  <a:cubicBezTo>
                    <a:pt x="20572" y="18232"/>
                    <a:pt x="19133" y="15483"/>
                    <a:pt x="16255" y="13364"/>
                  </a:cubicBezTo>
                  <a:cubicBezTo>
                    <a:pt x="13158" y="11233"/>
                    <a:pt x="9059" y="8632"/>
                    <a:pt x="9059" y="7524"/>
                  </a:cubicBezTo>
                  <a:cubicBezTo>
                    <a:pt x="4125" y="6612"/>
                    <a:pt x="6386" y="4099"/>
                    <a:pt x="3302" y="2335"/>
                  </a:cubicBezTo>
                  <a:cubicBezTo>
                    <a:pt x="3302" y="536"/>
                    <a:pt x="0" y="-423"/>
                    <a:pt x="0" y="180"/>
                  </a:cubicBezTo>
                  <a:close/>
                  <a:moveTo>
                    <a:pt x="0" y="1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69" name="AutoShape 168"/>
            <p:cNvSpPr>
              <a:spLocks/>
            </p:cNvSpPr>
            <p:nvPr/>
          </p:nvSpPr>
          <p:spPr bwMode="auto">
            <a:xfrm>
              <a:off x="10629900" y="4051300"/>
              <a:ext cx="0" cy="0"/>
            </a:xfrm>
            <a:custGeom>
              <a:avLst/>
              <a:gdLst/>
              <a:ahLst/>
              <a:cxnLst/>
              <a:rect l="0" t="0" r="r" b="b"/>
              <a:pathLst>
                <a:path w="17279" h="18708">
                  <a:moveTo>
                    <a:pt x="11333" y="11471"/>
                  </a:moveTo>
                  <a:cubicBezTo>
                    <a:pt x="11333" y="19926"/>
                    <a:pt x="2829" y="20763"/>
                    <a:pt x="17279" y="15076"/>
                  </a:cubicBezTo>
                  <a:cubicBezTo>
                    <a:pt x="4108" y="9541"/>
                    <a:pt x="7646" y="2300"/>
                    <a:pt x="7646" y="128"/>
                  </a:cubicBezTo>
                  <a:cubicBezTo>
                    <a:pt x="-1988" y="-837"/>
                    <a:pt x="-4321" y="3733"/>
                    <a:pt x="11333" y="11471"/>
                  </a:cubicBezTo>
                  <a:close/>
                  <a:moveTo>
                    <a:pt x="11333" y="114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0" name="AutoShape 169"/>
            <p:cNvSpPr>
              <a:spLocks/>
            </p:cNvSpPr>
            <p:nvPr/>
          </p:nvSpPr>
          <p:spPr bwMode="auto">
            <a:xfrm>
              <a:off x="10629900" y="4051300"/>
              <a:ext cx="0" cy="1588"/>
            </a:xfrm>
            <a:custGeom>
              <a:avLst/>
              <a:gdLst/>
              <a:ahLst/>
              <a:cxnLst/>
              <a:rect l="0" t="0" r="r" b="b"/>
              <a:pathLst>
                <a:path w="19880" h="20487">
                  <a:moveTo>
                    <a:pt x="11651" y="14631"/>
                  </a:moveTo>
                  <a:cubicBezTo>
                    <a:pt x="19398" y="19073"/>
                    <a:pt x="19880" y="21600"/>
                    <a:pt x="19880" y="20008"/>
                  </a:cubicBezTo>
                  <a:cubicBezTo>
                    <a:pt x="19880" y="18380"/>
                    <a:pt x="11137" y="13362"/>
                    <a:pt x="11137" y="8640"/>
                  </a:cubicBezTo>
                  <a:cubicBezTo>
                    <a:pt x="11137" y="3907"/>
                    <a:pt x="337" y="117"/>
                    <a:pt x="337" y="0"/>
                  </a:cubicBezTo>
                  <a:cubicBezTo>
                    <a:pt x="-1720" y="0"/>
                    <a:pt x="6541" y="1386"/>
                    <a:pt x="884" y="3013"/>
                  </a:cubicBezTo>
                  <a:cubicBezTo>
                    <a:pt x="7023" y="4524"/>
                    <a:pt x="3455" y="10140"/>
                    <a:pt x="11651" y="14631"/>
                  </a:cubicBezTo>
                  <a:close/>
                  <a:moveTo>
                    <a:pt x="11651" y="146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1" name="AutoShape 170"/>
            <p:cNvSpPr>
              <a:spLocks/>
            </p:cNvSpPr>
            <p:nvPr/>
          </p:nvSpPr>
          <p:spPr bwMode="auto">
            <a:xfrm>
              <a:off x="10629900" y="4076700"/>
              <a:ext cx="0" cy="1588"/>
            </a:xfrm>
            <a:custGeom>
              <a:avLst/>
              <a:gdLst/>
              <a:ahLst/>
              <a:cxnLst/>
              <a:rect l="0" t="0" r="r" b="b"/>
              <a:pathLst>
                <a:path w="16280" h="19010">
                  <a:moveTo>
                    <a:pt x="12830" y="13493"/>
                  </a:moveTo>
                  <a:cubicBezTo>
                    <a:pt x="12830" y="8015"/>
                    <a:pt x="1554" y="2285"/>
                    <a:pt x="1554" y="623"/>
                  </a:cubicBezTo>
                  <a:cubicBezTo>
                    <a:pt x="1554" y="-1041"/>
                    <a:pt x="0" y="748"/>
                    <a:pt x="0" y="4564"/>
                  </a:cubicBezTo>
                  <a:cubicBezTo>
                    <a:pt x="0" y="8421"/>
                    <a:pt x="11176" y="14142"/>
                    <a:pt x="11176" y="17433"/>
                  </a:cubicBezTo>
                  <a:cubicBezTo>
                    <a:pt x="21600" y="20559"/>
                    <a:pt x="12830" y="18930"/>
                    <a:pt x="12830" y="13493"/>
                  </a:cubicBezTo>
                  <a:close/>
                  <a:moveTo>
                    <a:pt x="12830" y="1349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2" name="AutoShape 171"/>
            <p:cNvSpPr>
              <a:spLocks/>
            </p:cNvSpPr>
            <p:nvPr/>
          </p:nvSpPr>
          <p:spPr bwMode="auto">
            <a:xfrm>
              <a:off x="10629900" y="4076700"/>
              <a:ext cx="0" cy="3175"/>
            </a:xfrm>
            <a:custGeom>
              <a:avLst/>
              <a:gdLst/>
              <a:ahLst/>
              <a:cxnLst/>
              <a:rect l="0" t="0" r="r" b="b"/>
              <a:pathLst>
                <a:path w="16700" h="20861">
                  <a:moveTo>
                    <a:pt x="16400" y="20858"/>
                  </a:moveTo>
                  <a:cubicBezTo>
                    <a:pt x="17973" y="20858"/>
                    <a:pt x="12838" y="17052"/>
                    <a:pt x="12838" y="12487"/>
                  </a:cubicBezTo>
                  <a:cubicBezTo>
                    <a:pt x="12838" y="7919"/>
                    <a:pt x="2567" y="2781"/>
                    <a:pt x="2567" y="1001"/>
                  </a:cubicBezTo>
                  <a:cubicBezTo>
                    <a:pt x="-3627" y="-617"/>
                    <a:pt x="7189" y="-232"/>
                    <a:pt x="0" y="1859"/>
                  </a:cubicBezTo>
                  <a:cubicBezTo>
                    <a:pt x="7189" y="3917"/>
                    <a:pt x="8216" y="9251"/>
                    <a:pt x="8216" y="13402"/>
                  </a:cubicBezTo>
                  <a:cubicBezTo>
                    <a:pt x="8216" y="17559"/>
                    <a:pt x="16400" y="20983"/>
                    <a:pt x="16400" y="20858"/>
                  </a:cubicBezTo>
                  <a:close/>
                  <a:moveTo>
                    <a:pt x="16400" y="208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3" name="AutoShape 172"/>
            <p:cNvSpPr>
              <a:spLocks/>
            </p:cNvSpPr>
            <p:nvPr/>
          </p:nvSpPr>
          <p:spPr bwMode="auto">
            <a:xfrm>
              <a:off x="10642600" y="4140200"/>
              <a:ext cx="0" cy="7938"/>
            </a:xfrm>
            <a:custGeom>
              <a:avLst/>
              <a:gdLst/>
              <a:ahLst/>
              <a:cxnLst/>
              <a:rect l="0" t="0" r="r" b="b"/>
              <a:pathLst>
                <a:path w="21600" h="21355">
                  <a:moveTo>
                    <a:pt x="894" y="4031"/>
                  </a:moveTo>
                  <a:cubicBezTo>
                    <a:pt x="894" y="5971"/>
                    <a:pt x="10029" y="10378"/>
                    <a:pt x="10029" y="13905"/>
                  </a:cubicBezTo>
                  <a:cubicBezTo>
                    <a:pt x="18574" y="17134"/>
                    <a:pt x="19792" y="20377"/>
                    <a:pt x="19792" y="21355"/>
                  </a:cubicBezTo>
                  <a:cubicBezTo>
                    <a:pt x="20097" y="21071"/>
                    <a:pt x="20097" y="20830"/>
                    <a:pt x="21600" y="20348"/>
                  </a:cubicBezTo>
                  <a:cubicBezTo>
                    <a:pt x="21600" y="18892"/>
                    <a:pt x="16157" y="15860"/>
                    <a:pt x="16157" y="13565"/>
                  </a:cubicBezTo>
                  <a:cubicBezTo>
                    <a:pt x="11247" y="11297"/>
                    <a:pt x="15206" y="7062"/>
                    <a:pt x="6699" y="4472"/>
                  </a:cubicBezTo>
                  <a:cubicBezTo>
                    <a:pt x="6699" y="1750"/>
                    <a:pt x="0" y="-245"/>
                    <a:pt x="0" y="24"/>
                  </a:cubicBezTo>
                  <a:cubicBezTo>
                    <a:pt x="0" y="306"/>
                    <a:pt x="894" y="2078"/>
                    <a:pt x="894" y="4031"/>
                  </a:cubicBezTo>
                  <a:close/>
                  <a:moveTo>
                    <a:pt x="894" y="40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4" name="AutoShape 173"/>
            <p:cNvSpPr>
              <a:spLocks/>
            </p:cNvSpPr>
            <p:nvPr/>
          </p:nvSpPr>
          <p:spPr bwMode="auto">
            <a:xfrm>
              <a:off x="10629900" y="4013200"/>
              <a:ext cx="0" cy="3175"/>
            </a:xfrm>
            <a:custGeom>
              <a:avLst/>
              <a:gdLst/>
              <a:ahLst/>
              <a:cxnLst/>
              <a:rect l="0" t="0" r="r" b="b"/>
              <a:pathLst>
                <a:path w="14664" h="20029">
                  <a:moveTo>
                    <a:pt x="8399" y="9431"/>
                  </a:moveTo>
                  <a:cubicBezTo>
                    <a:pt x="8399" y="6016"/>
                    <a:pt x="6594" y="1674"/>
                    <a:pt x="2643" y="414"/>
                  </a:cubicBezTo>
                  <a:cubicBezTo>
                    <a:pt x="2643" y="-1124"/>
                    <a:pt x="-4367" y="1801"/>
                    <a:pt x="4448" y="6166"/>
                  </a:cubicBezTo>
                  <a:cubicBezTo>
                    <a:pt x="4448" y="10906"/>
                    <a:pt x="11458" y="16380"/>
                    <a:pt x="11458" y="18417"/>
                  </a:cubicBezTo>
                  <a:cubicBezTo>
                    <a:pt x="11458" y="20476"/>
                    <a:pt x="17233" y="20476"/>
                    <a:pt x="13282" y="18907"/>
                  </a:cubicBezTo>
                  <a:cubicBezTo>
                    <a:pt x="13282" y="17149"/>
                    <a:pt x="8399" y="12909"/>
                    <a:pt x="8399" y="9431"/>
                  </a:cubicBezTo>
                  <a:close/>
                  <a:moveTo>
                    <a:pt x="8399" y="94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5" name="AutoShape 174"/>
            <p:cNvSpPr>
              <a:spLocks/>
            </p:cNvSpPr>
            <p:nvPr/>
          </p:nvSpPr>
          <p:spPr bwMode="auto">
            <a:xfrm>
              <a:off x="10617200" y="3898900"/>
              <a:ext cx="22225" cy="227013"/>
            </a:xfrm>
            <a:custGeom>
              <a:avLst/>
              <a:gdLst/>
              <a:ahLst/>
              <a:cxnLst/>
              <a:rect l="0" t="0" r="r" b="b"/>
              <a:pathLst>
                <a:path w="21600" h="21570">
                  <a:moveTo>
                    <a:pt x="0" y="506"/>
                  </a:moveTo>
                  <a:cubicBezTo>
                    <a:pt x="0" y="542"/>
                    <a:pt x="238" y="670"/>
                    <a:pt x="408" y="792"/>
                  </a:cubicBezTo>
                  <a:cubicBezTo>
                    <a:pt x="566" y="915"/>
                    <a:pt x="1166" y="1155"/>
                    <a:pt x="1166" y="1328"/>
                  </a:cubicBezTo>
                  <a:cubicBezTo>
                    <a:pt x="1506" y="1497"/>
                    <a:pt x="1890" y="1897"/>
                    <a:pt x="2399" y="2210"/>
                  </a:cubicBezTo>
                  <a:cubicBezTo>
                    <a:pt x="2740" y="2526"/>
                    <a:pt x="3383" y="2902"/>
                    <a:pt x="3542" y="3051"/>
                  </a:cubicBezTo>
                  <a:cubicBezTo>
                    <a:pt x="3722" y="3199"/>
                    <a:pt x="4232" y="3431"/>
                    <a:pt x="4232" y="3569"/>
                  </a:cubicBezTo>
                  <a:cubicBezTo>
                    <a:pt x="4572" y="3703"/>
                    <a:pt x="4775" y="3889"/>
                    <a:pt x="4775" y="3976"/>
                  </a:cubicBezTo>
                  <a:cubicBezTo>
                    <a:pt x="5081" y="4057"/>
                    <a:pt x="5104" y="4177"/>
                    <a:pt x="5104" y="4233"/>
                  </a:cubicBezTo>
                  <a:cubicBezTo>
                    <a:pt x="5273" y="4285"/>
                    <a:pt x="5432" y="4522"/>
                    <a:pt x="5782" y="4752"/>
                  </a:cubicBezTo>
                  <a:cubicBezTo>
                    <a:pt x="6121" y="4981"/>
                    <a:pt x="6348" y="5231"/>
                    <a:pt x="6495" y="5303"/>
                  </a:cubicBezTo>
                  <a:cubicBezTo>
                    <a:pt x="6495" y="5377"/>
                    <a:pt x="6902" y="5515"/>
                    <a:pt x="6902" y="5613"/>
                  </a:cubicBezTo>
                  <a:cubicBezTo>
                    <a:pt x="7072" y="5710"/>
                    <a:pt x="7185" y="5815"/>
                    <a:pt x="7185" y="5846"/>
                  </a:cubicBezTo>
                  <a:cubicBezTo>
                    <a:pt x="7185" y="5876"/>
                    <a:pt x="7355" y="5935"/>
                    <a:pt x="7355" y="5978"/>
                  </a:cubicBezTo>
                  <a:cubicBezTo>
                    <a:pt x="7547" y="6016"/>
                    <a:pt x="7468" y="6120"/>
                    <a:pt x="7638" y="6197"/>
                  </a:cubicBezTo>
                  <a:cubicBezTo>
                    <a:pt x="7638" y="6274"/>
                    <a:pt x="7818" y="6334"/>
                    <a:pt x="7796" y="6334"/>
                  </a:cubicBezTo>
                  <a:cubicBezTo>
                    <a:pt x="7808" y="6334"/>
                    <a:pt x="7773" y="6389"/>
                    <a:pt x="7943" y="6453"/>
                  </a:cubicBezTo>
                  <a:cubicBezTo>
                    <a:pt x="8101" y="6518"/>
                    <a:pt x="8158" y="6595"/>
                    <a:pt x="8158" y="6624"/>
                  </a:cubicBezTo>
                  <a:cubicBezTo>
                    <a:pt x="8272" y="6649"/>
                    <a:pt x="8056" y="6624"/>
                    <a:pt x="8056" y="6561"/>
                  </a:cubicBezTo>
                  <a:cubicBezTo>
                    <a:pt x="8011" y="6544"/>
                    <a:pt x="8011" y="6543"/>
                    <a:pt x="7989" y="6536"/>
                  </a:cubicBezTo>
                  <a:cubicBezTo>
                    <a:pt x="7989" y="6538"/>
                    <a:pt x="7989" y="6540"/>
                    <a:pt x="7989" y="6543"/>
                  </a:cubicBezTo>
                  <a:cubicBezTo>
                    <a:pt x="8011" y="6550"/>
                    <a:pt x="7989" y="6547"/>
                    <a:pt x="8023" y="6557"/>
                  </a:cubicBezTo>
                  <a:cubicBezTo>
                    <a:pt x="8215" y="6615"/>
                    <a:pt x="8067" y="6642"/>
                    <a:pt x="8067" y="6612"/>
                  </a:cubicBezTo>
                  <a:cubicBezTo>
                    <a:pt x="8067" y="6603"/>
                    <a:pt x="8023" y="6569"/>
                    <a:pt x="7989" y="6543"/>
                  </a:cubicBezTo>
                  <a:cubicBezTo>
                    <a:pt x="7989" y="6540"/>
                    <a:pt x="7989" y="6538"/>
                    <a:pt x="7989" y="6536"/>
                  </a:cubicBezTo>
                  <a:cubicBezTo>
                    <a:pt x="7898" y="6473"/>
                    <a:pt x="7785" y="6392"/>
                    <a:pt x="7661" y="6294"/>
                  </a:cubicBezTo>
                  <a:cubicBezTo>
                    <a:pt x="7502" y="6229"/>
                    <a:pt x="7446" y="6173"/>
                    <a:pt x="7377" y="6121"/>
                  </a:cubicBezTo>
                  <a:cubicBezTo>
                    <a:pt x="7377" y="6121"/>
                    <a:pt x="7377" y="6123"/>
                    <a:pt x="7377" y="6122"/>
                  </a:cubicBezTo>
                  <a:cubicBezTo>
                    <a:pt x="7377" y="6118"/>
                    <a:pt x="7355" y="6100"/>
                    <a:pt x="7332" y="6090"/>
                  </a:cubicBezTo>
                  <a:cubicBezTo>
                    <a:pt x="7299" y="6074"/>
                    <a:pt x="7265" y="6064"/>
                    <a:pt x="7265" y="6044"/>
                  </a:cubicBezTo>
                  <a:cubicBezTo>
                    <a:pt x="7106" y="6012"/>
                    <a:pt x="7400" y="6035"/>
                    <a:pt x="7241" y="6097"/>
                  </a:cubicBezTo>
                  <a:cubicBezTo>
                    <a:pt x="7559" y="6153"/>
                    <a:pt x="7366" y="6246"/>
                    <a:pt x="7366" y="6285"/>
                  </a:cubicBezTo>
                  <a:cubicBezTo>
                    <a:pt x="7502" y="6320"/>
                    <a:pt x="7434" y="6383"/>
                    <a:pt x="7434" y="6417"/>
                  </a:cubicBezTo>
                  <a:cubicBezTo>
                    <a:pt x="7434" y="6450"/>
                    <a:pt x="7377" y="6471"/>
                    <a:pt x="7377" y="6460"/>
                  </a:cubicBezTo>
                  <a:cubicBezTo>
                    <a:pt x="7377" y="6450"/>
                    <a:pt x="7299" y="6467"/>
                    <a:pt x="7299" y="6497"/>
                  </a:cubicBezTo>
                  <a:cubicBezTo>
                    <a:pt x="7299" y="6527"/>
                    <a:pt x="7343" y="6513"/>
                    <a:pt x="7185" y="6471"/>
                  </a:cubicBezTo>
                  <a:cubicBezTo>
                    <a:pt x="7185" y="6426"/>
                    <a:pt x="7027" y="6389"/>
                    <a:pt x="6992" y="6389"/>
                  </a:cubicBezTo>
                  <a:cubicBezTo>
                    <a:pt x="7027" y="6389"/>
                    <a:pt x="7139" y="6504"/>
                    <a:pt x="7139" y="6649"/>
                  </a:cubicBezTo>
                  <a:cubicBezTo>
                    <a:pt x="7299" y="6795"/>
                    <a:pt x="7310" y="7043"/>
                    <a:pt x="7649" y="7194"/>
                  </a:cubicBezTo>
                  <a:cubicBezTo>
                    <a:pt x="7649" y="7350"/>
                    <a:pt x="7842" y="7522"/>
                    <a:pt x="8034" y="7570"/>
                  </a:cubicBezTo>
                  <a:cubicBezTo>
                    <a:pt x="7875" y="7621"/>
                    <a:pt x="8293" y="7744"/>
                    <a:pt x="8293" y="7841"/>
                  </a:cubicBezTo>
                  <a:cubicBezTo>
                    <a:pt x="8464" y="7936"/>
                    <a:pt x="8464" y="8174"/>
                    <a:pt x="8791" y="8362"/>
                  </a:cubicBezTo>
                  <a:cubicBezTo>
                    <a:pt x="8791" y="8553"/>
                    <a:pt x="8927" y="8739"/>
                    <a:pt x="9086" y="8765"/>
                  </a:cubicBezTo>
                  <a:cubicBezTo>
                    <a:pt x="9086" y="8795"/>
                    <a:pt x="9098" y="8923"/>
                    <a:pt x="9279" y="9047"/>
                  </a:cubicBezTo>
                  <a:cubicBezTo>
                    <a:pt x="9448" y="9171"/>
                    <a:pt x="9482" y="9345"/>
                    <a:pt x="9651" y="9431"/>
                  </a:cubicBezTo>
                  <a:cubicBezTo>
                    <a:pt x="9822" y="9515"/>
                    <a:pt x="9934" y="9662"/>
                    <a:pt x="9934" y="9756"/>
                  </a:cubicBezTo>
                  <a:cubicBezTo>
                    <a:pt x="10092" y="9848"/>
                    <a:pt x="9957" y="9937"/>
                    <a:pt x="9957" y="9954"/>
                  </a:cubicBezTo>
                  <a:cubicBezTo>
                    <a:pt x="9844" y="9966"/>
                    <a:pt x="9844" y="10055"/>
                    <a:pt x="10003" y="10141"/>
                  </a:cubicBezTo>
                  <a:cubicBezTo>
                    <a:pt x="10003" y="10230"/>
                    <a:pt x="10444" y="10482"/>
                    <a:pt x="10613" y="10705"/>
                  </a:cubicBezTo>
                  <a:cubicBezTo>
                    <a:pt x="10952" y="10927"/>
                    <a:pt x="11225" y="11147"/>
                    <a:pt x="11225" y="11193"/>
                  </a:cubicBezTo>
                  <a:cubicBezTo>
                    <a:pt x="11225" y="11239"/>
                    <a:pt x="11541" y="11340"/>
                    <a:pt x="11541" y="11421"/>
                  </a:cubicBezTo>
                  <a:cubicBezTo>
                    <a:pt x="11541" y="11501"/>
                    <a:pt x="11813" y="11624"/>
                    <a:pt x="11813" y="11695"/>
                  </a:cubicBezTo>
                  <a:cubicBezTo>
                    <a:pt x="11813" y="11765"/>
                    <a:pt x="11904" y="11813"/>
                    <a:pt x="11824" y="11813"/>
                  </a:cubicBezTo>
                  <a:cubicBezTo>
                    <a:pt x="11824" y="11805"/>
                    <a:pt x="11824" y="11882"/>
                    <a:pt x="11824" y="11978"/>
                  </a:cubicBezTo>
                  <a:cubicBezTo>
                    <a:pt x="11824" y="12076"/>
                    <a:pt x="12028" y="12218"/>
                    <a:pt x="12028" y="12294"/>
                  </a:cubicBezTo>
                  <a:cubicBezTo>
                    <a:pt x="12028" y="12370"/>
                    <a:pt x="12186" y="12482"/>
                    <a:pt x="12186" y="12542"/>
                  </a:cubicBezTo>
                  <a:cubicBezTo>
                    <a:pt x="12186" y="12603"/>
                    <a:pt x="12367" y="12757"/>
                    <a:pt x="12367" y="12883"/>
                  </a:cubicBezTo>
                  <a:cubicBezTo>
                    <a:pt x="12367" y="13011"/>
                    <a:pt x="12345" y="13203"/>
                    <a:pt x="12662" y="13302"/>
                  </a:cubicBezTo>
                  <a:cubicBezTo>
                    <a:pt x="12662" y="13406"/>
                    <a:pt x="12695" y="13483"/>
                    <a:pt x="12695" y="13473"/>
                  </a:cubicBezTo>
                  <a:cubicBezTo>
                    <a:pt x="12695" y="13460"/>
                    <a:pt x="12582" y="13501"/>
                    <a:pt x="12582" y="13559"/>
                  </a:cubicBezTo>
                  <a:cubicBezTo>
                    <a:pt x="12582" y="13617"/>
                    <a:pt x="12718" y="13677"/>
                    <a:pt x="12650" y="13677"/>
                  </a:cubicBezTo>
                  <a:cubicBezTo>
                    <a:pt x="12650" y="13684"/>
                    <a:pt x="12695" y="13704"/>
                    <a:pt x="12797" y="13714"/>
                  </a:cubicBezTo>
                  <a:cubicBezTo>
                    <a:pt x="12797" y="13729"/>
                    <a:pt x="12989" y="13846"/>
                    <a:pt x="13148" y="13974"/>
                  </a:cubicBezTo>
                  <a:cubicBezTo>
                    <a:pt x="13317" y="14102"/>
                    <a:pt x="13601" y="14347"/>
                    <a:pt x="13782" y="14517"/>
                  </a:cubicBezTo>
                  <a:cubicBezTo>
                    <a:pt x="13951" y="14688"/>
                    <a:pt x="14166" y="14861"/>
                    <a:pt x="14166" y="14901"/>
                  </a:cubicBezTo>
                  <a:cubicBezTo>
                    <a:pt x="14166" y="14941"/>
                    <a:pt x="13974" y="14885"/>
                    <a:pt x="13974" y="14773"/>
                  </a:cubicBezTo>
                  <a:cubicBezTo>
                    <a:pt x="13657" y="14666"/>
                    <a:pt x="13884" y="14493"/>
                    <a:pt x="13555" y="14409"/>
                  </a:cubicBezTo>
                  <a:cubicBezTo>
                    <a:pt x="13555" y="14319"/>
                    <a:pt x="13352" y="14337"/>
                    <a:pt x="13521" y="14443"/>
                  </a:cubicBezTo>
                  <a:cubicBezTo>
                    <a:pt x="13521" y="14551"/>
                    <a:pt x="13623" y="14749"/>
                    <a:pt x="13940" y="14875"/>
                  </a:cubicBezTo>
                  <a:cubicBezTo>
                    <a:pt x="13940" y="15006"/>
                    <a:pt x="14178" y="15152"/>
                    <a:pt x="14347" y="15196"/>
                  </a:cubicBezTo>
                  <a:cubicBezTo>
                    <a:pt x="14347" y="15244"/>
                    <a:pt x="14506" y="15350"/>
                    <a:pt x="14664" y="15431"/>
                  </a:cubicBezTo>
                  <a:cubicBezTo>
                    <a:pt x="14834" y="15511"/>
                    <a:pt x="14924" y="15650"/>
                    <a:pt x="14924" y="15732"/>
                  </a:cubicBezTo>
                  <a:cubicBezTo>
                    <a:pt x="14924" y="15773"/>
                    <a:pt x="14992" y="15800"/>
                    <a:pt x="15038" y="15818"/>
                  </a:cubicBezTo>
                  <a:cubicBezTo>
                    <a:pt x="15139" y="15784"/>
                    <a:pt x="14924" y="15694"/>
                    <a:pt x="14924" y="15611"/>
                  </a:cubicBezTo>
                  <a:cubicBezTo>
                    <a:pt x="14924" y="15522"/>
                    <a:pt x="14981" y="15426"/>
                    <a:pt x="14857" y="15405"/>
                  </a:cubicBezTo>
                  <a:cubicBezTo>
                    <a:pt x="14981" y="15384"/>
                    <a:pt x="15003" y="15386"/>
                    <a:pt x="15003" y="15419"/>
                  </a:cubicBezTo>
                  <a:cubicBezTo>
                    <a:pt x="15003" y="15452"/>
                    <a:pt x="15150" y="15514"/>
                    <a:pt x="15150" y="15559"/>
                  </a:cubicBezTo>
                  <a:cubicBezTo>
                    <a:pt x="15150" y="15604"/>
                    <a:pt x="15297" y="15675"/>
                    <a:pt x="15297" y="15719"/>
                  </a:cubicBezTo>
                  <a:cubicBezTo>
                    <a:pt x="15297" y="15762"/>
                    <a:pt x="15456" y="15778"/>
                    <a:pt x="15456" y="15756"/>
                  </a:cubicBezTo>
                  <a:cubicBezTo>
                    <a:pt x="15456" y="15734"/>
                    <a:pt x="15581" y="15607"/>
                    <a:pt x="15264" y="15481"/>
                  </a:cubicBezTo>
                  <a:cubicBezTo>
                    <a:pt x="15264" y="15351"/>
                    <a:pt x="15161" y="15176"/>
                    <a:pt x="14834" y="15108"/>
                  </a:cubicBezTo>
                  <a:cubicBezTo>
                    <a:pt x="14834" y="15032"/>
                    <a:pt x="14720" y="14992"/>
                    <a:pt x="14584" y="15006"/>
                  </a:cubicBezTo>
                  <a:cubicBezTo>
                    <a:pt x="14471" y="15024"/>
                    <a:pt x="14437" y="14999"/>
                    <a:pt x="14437" y="14944"/>
                  </a:cubicBezTo>
                  <a:cubicBezTo>
                    <a:pt x="14257" y="14892"/>
                    <a:pt x="14257" y="14798"/>
                    <a:pt x="14257" y="14740"/>
                  </a:cubicBezTo>
                  <a:cubicBezTo>
                    <a:pt x="14257" y="14684"/>
                    <a:pt x="14143" y="14547"/>
                    <a:pt x="13974" y="14440"/>
                  </a:cubicBezTo>
                  <a:cubicBezTo>
                    <a:pt x="13974" y="14330"/>
                    <a:pt x="13668" y="14184"/>
                    <a:pt x="13668" y="14114"/>
                  </a:cubicBezTo>
                  <a:cubicBezTo>
                    <a:pt x="13668" y="14045"/>
                    <a:pt x="13601" y="14037"/>
                    <a:pt x="13782" y="14092"/>
                  </a:cubicBezTo>
                  <a:cubicBezTo>
                    <a:pt x="13940" y="14148"/>
                    <a:pt x="14121" y="14376"/>
                    <a:pt x="14461" y="14594"/>
                  </a:cubicBezTo>
                  <a:cubicBezTo>
                    <a:pt x="14801" y="14811"/>
                    <a:pt x="14891" y="15121"/>
                    <a:pt x="15230" y="15273"/>
                  </a:cubicBezTo>
                  <a:cubicBezTo>
                    <a:pt x="15230" y="15429"/>
                    <a:pt x="15501" y="15620"/>
                    <a:pt x="15682" y="15693"/>
                  </a:cubicBezTo>
                  <a:cubicBezTo>
                    <a:pt x="15682" y="15770"/>
                    <a:pt x="16270" y="16024"/>
                    <a:pt x="16270" y="16262"/>
                  </a:cubicBezTo>
                  <a:cubicBezTo>
                    <a:pt x="16610" y="16498"/>
                    <a:pt x="16644" y="16869"/>
                    <a:pt x="16972" y="17079"/>
                  </a:cubicBezTo>
                  <a:cubicBezTo>
                    <a:pt x="16972" y="17292"/>
                    <a:pt x="17210" y="17467"/>
                    <a:pt x="17153" y="17467"/>
                  </a:cubicBezTo>
                  <a:cubicBezTo>
                    <a:pt x="17210" y="17467"/>
                    <a:pt x="17074" y="17536"/>
                    <a:pt x="17222" y="17617"/>
                  </a:cubicBezTo>
                  <a:cubicBezTo>
                    <a:pt x="17222" y="17698"/>
                    <a:pt x="17448" y="17925"/>
                    <a:pt x="17776" y="18116"/>
                  </a:cubicBezTo>
                  <a:cubicBezTo>
                    <a:pt x="17776" y="18311"/>
                    <a:pt x="18250" y="18672"/>
                    <a:pt x="18590" y="18916"/>
                  </a:cubicBezTo>
                  <a:cubicBezTo>
                    <a:pt x="18918" y="19161"/>
                    <a:pt x="18974" y="19487"/>
                    <a:pt x="19326" y="19629"/>
                  </a:cubicBezTo>
                  <a:cubicBezTo>
                    <a:pt x="19326" y="19777"/>
                    <a:pt x="19812" y="19992"/>
                    <a:pt x="19812" y="20110"/>
                  </a:cubicBezTo>
                  <a:cubicBezTo>
                    <a:pt x="19812" y="20229"/>
                    <a:pt x="19869" y="20384"/>
                    <a:pt x="20050" y="20449"/>
                  </a:cubicBezTo>
                  <a:cubicBezTo>
                    <a:pt x="20050" y="20518"/>
                    <a:pt x="20344" y="20667"/>
                    <a:pt x="20344" y="20785"/>
                  </a:cubicBezTo>
                  <a:cubicBezTo>
                    <a:pt x="20672" y="20896"/>
                    <a:pt x="20650" y="20991"/>
                    <a:pt x="20650" y="20984"/>
                  </a:cubicBezTo>
                  <a:cubicBezTo>
                    <a:pt x="20650" y="20977"/>
                    <a:pt x="20705" y="21027"/>
                    <a:pt x="20887" y="21088"/>
                  </a:cubicBezTo>
                  <a:cubicBezTo>
                    <a:pt x="20887" y="21152"/>
                    <a:pt x="21000" y="21164"/>
                    <a:pt x="21000" y="21114"/>
                  </a:cubicBezTo>
                  <a:cubicBezTo>
                    <a:pt x="21000" y="21066"/>
                    <a:pt x="20842" y="20966"/>
                    <a:pt x="20842" y="20893"/>
                  </a:cubicBezTo>
                  <a:cubicBezTo>
                    <a:pt x="20842" y="20820"/>
                    <a:pt x="20740" y="20621"/>
                    <a:pt x="20411" y="20456"/>
                  </a:cubicBezTo>
                  <a:cubicBezTo>
                    <a:pt x="20411" y="20288"/>
                    <a:pt x="19914" y="19969"/>
                    <a:pt x="19744" y="19746"/>
                  </a:cubicBezTo>
                  <a:cubicBezTo>
                    <a:pt x="19586" y="19522"/>
                    <a:pt x="19337" y="19286"/>
                    <a:pt x="19337" y="19221"/>
                  </a:cubicBezTo>
                  <a:cubicBezTo>
                    <a:pt x="19337" y="19155"/>
                    <a:pt x="19235" y="19158"/>
                    <a:pt x="19428" y="19220"/>
                  </a:cubicBezTo>
                  <a:cubicBezTo>
                    <a:pt x="19428" y="19284"/>
                    <a:pt x="19642" y="19382"/>
                    <a:pt x="19642" y="19438"/>
                  </a:cubicBezTo>
                  <a:cubicBezTo>
                    <a:pt x="19642" y="19495"/>
                    <a:pt x="19801" y="19595"/>
                    <a:pt x="19801" y="19661"/>
                  </a:cubicBezTo>
                  <a:cubicBezTo>
                    <a:pt x="19971" y="19723"/>
                    <a:pt x="20152" y="19877"/>
                    <a:pt x="20152" y="19996"/>
                  </a:cubicBezTo>
                  <a:cubicBezTo>
                    <a:pt x="20480" y="20112"/>
                    <a:pt x="20389" y="20372"/>
                    <a:pt x="20717" y="20558"/>
                  </a:cubicBezTo>
                  <a:cubicBezTo>
                    <a:pt x="20717" y="20748"/>
                    <a:pt x="21000" y="20992"/>
                    <a:pt x="21170" y="21098"/>
                  </a:cubicBezTo>
                  <a:cubicBezTo>
                    <a:pt x="21170" y="21206"/>
                    <a:pt x="21453" y="21374"/>
                    <a:pt x="21453" y="21474"/>
                  </a:cubicBezTo>
                  <a:cubicBezTo>
                    <a:pt x="21453" y="21575"/>
                    <a:pt x="21600" y="21600"/>
                    <a:pt x="21600" y="21533"/>
                  </a:cubicBezTo>
                  <a:cubicBezTo>
                    <a:pt x="21600" y="21464"/>
                    <a:pt x="21396" y="21263"/>
                    <a:pt x="21396" y="21084"/>
                  </a:cubicBezTo>
                  <a:cubicBezTo>
                    <a:pt x="21396" y="20906"/>
                    <a:pt x="21113" y="20649"/>
                    <a:pt x="20943" y="20515"/>
                  </a:cubicBezTo>
                  <a:cubicBezTo>
                    <a:pt x="20774" y="20378"/>
                    <a:pt x="20536" y="20206"/>
                    <a:pt x="20536" y="20130"/>
                  </a:cubicBezTo>
                  <a:cubicBezTo>
                    <a:pt x="20366" y="20056"/>
                    <a:pt x="20423" y="19973"/>
                    <a:pt x="20423" y="19949"/>
                  </a:cubicBezTo>
                  <a:cubicBezTo>
                    <a:pt x="20423" y="19924"/>
                    <a:pt x="20377" y="19940"/>
                    <a:pt x="20548" y="19975"/>
                  </a:cubicBezTo>
                  <a:cubicBezTo>
                    <a:pt x="20684" y="20003"/>
                    <a:pt x="20672" y="20057"/>
                    <a:pt x="20740" y="20103"/>
                  </a:cubicBezTo>
                  <a:cubicBezTo>
                    <a:pt x="20717" y="20072"/>
                    <a:pt x="20705" y="20036"/>
                    <a:pt x="20705" y="19979"/>
                  </a:cubicBezTo>
                  <a:cubicBezTo>
                    <a:pt x="20705" y="19843"/>
                    <a:pt x="20163" y="19553"/>
                    <a:pt x="20163" y="19332"/>
                  </a:cubicBezTo>
                  <a:cubicBezTo>
                    <a:pt x="19824" y="19115"/>
                    <a:pt x="19778" y="18840"/>
                    <a:pt x="19609" y="18728"/>
                  </a:cubicBezTo>
                  <a:cubicBezTo>
                    <a:pt x="19609" y="18614"/>
                    <a:pt x="19100" y="18202"/>
                    <a:pt x="18771" y="17809"/>
                  </a:cubicBezTo>
                  <a:cubicBezTo>
                    <a:pt x="18602" y="17417"/>
                    <a:pt x="17934" y="16926"/>
                    <a:pt x="17764" y="16716"/>
                  </a:cubicBezTo>
                  <a:cubicBezTo>
                    <a:pt x="17583" y="16505"/>
                    <a:pt x="17402" y="16237"/>
                    <a:pt x="17232" y="16121"/>
                  </a:cubicBezTo>
                  <a:cubicBezTo>
                    <a:pt x="17232" y="16003"/>
                    <a:pt x="16927" y="15814"/>
                    <a:pt x="16927" y="15697"/>
                  </a:cubicBezTo>
                  <a:cubicBezTo>
                    <a:pt x="16927" y="15581"/>
                    <a:pt x="16905" y="15395"/>
                    <a:pt x="16588" y="15293"/>
                  </a:cubicBezTo>
                  <a:cubicBezTo>
                    <a:pt x="16588" y="15184"/>
                    <a:pt x="16508" y="15065"/>
                    <a:pt x="16294" y="15048"/>
                  </a:cubicBezTo>
                  <a:cubicBezTo>
                    <a:pt x="16294" y="15021"/>
                    <a:pt x="16158" y="14893"/>
                    <a:pt x="15976" y="14764"/>
                  </a:cubicBezTo>
                  <a:cubicBezTo>
                    <a:pt x="15807" y="14635"/>
                    <a:pt x="15660" y="14511"/>
                    <a:pt x="15660" y="14489"/>
                  </a:cubicBezTo>
                  <a:cubicBezTo>
                    <a:pt x="15660" y="14465"/>
                    <a:pt x="15434" y="14377"/>
                    <a:pt x="15434" y="14289"/>
                  </a:cubicBezTo>
                  <a:cubicBezTo>
                    <a:pt x="15264" y="14205"/>
                    <a:pt x="15116" y="14118"/>
                    <a:pt x="15116" y="14095"/>
                  </a:cubicBezTo>
                  <a:cubicBezTo>
                    <a:pt x="15116" y="14072"/>
                    <a:pt x="14834" y="14015"/>
                    <a:pt x="14834" y="13961"/>
                  </a:cubicBezTo>
                  <a:cubicBezTo>
                    <a:pt x="14675" y="13911"/>
                    <a:pt x="14857" y="13816"/>
                    <a:pt x="14687" y="13764"/>
                  </a:cubicBezTo>
                  <a:cubicBezTo>
                    <a:pt x="14687" y="13708"/>
                    <a:pt x="14517" y="13595"/>
                    <a:pt x="14517" y="13512"/>
                  </a:cubicBezTo>
                  <a:cubicBezTo>
                    <a:pt x="14517" y="13428"/>
                    <a:pt x="14359" y="13208"/>
                    <a:pt x="14008" y="13027"/>
                  </a:cubicBezTo>
                  <a:cubicBezTo>
                    <a:pt x="13849" y="12845"/>
                    <a:pt x="13646" y="12640"/>
                    <a:pt x="13476" y="12577"/>
                  </a:cubicBezTo>
                  <a:cubicBezTo>
                    <a:pt x="13476" y="12513"/>
                    <a:pt x="13329" y="12475"/>
                    <a:pt x="13250" y="12475"/>
                  </a:cubicBezTo>
                  <a:cubicBezTo>
                    <a:pt x="13170" y="12479"/>
                    <a:pt x="13284" y="12526"/>
                    <a:pt x="13284" y="12571"/>
                  </a:cubicBezTo>
                  <a:cubicBezTo>
                    <a:pt x="13284" y="12617"/>
                    <a:pt x="13419" y="12700"/>
                    <a:pt x="13419" y="12757"/>
                  </a:cubicBezTo>
                  <a:cubicBezTo>
                    <a:pt x="13601" y="12811"/>
                    <a:pt x="13362" y="12841"/>
                    <a:pt x="13362" y="12815"/>
                  </a:cubicBezTo>
                  <a:cubicBezTo>
                    <a:pt x="13362" y="12790"/>
                    <a:pt x="13159" y="12618"/>
                    <a:pt x="12809" y="12440"/>
                  </a:cubicBezTo>
                  <a:cubicBezTo>
                    <a:pt x="12457" y="12260"/>
                    <a:pt x="12198" y="12031"/>
                    <a:pt x="12198" y="11935"/>
                  </a:cubicBezTo>
                  <a:cubicBezTo>
                    <a:pt x="11881" y="11846"/>
                    <a:pt x="11994" y="11695"/>
                    <a:pt x="11994" y="11611"/>
                  </a:cubicBezTo>
                  <a:cubicBezTo>
                    <a:pt x="12175" y="11529"/>
                    <a:pt x="12061" y="11448"/>
                    <a:pt x="12061" y="11434"/>
                  </a:cubicBezTo>
                  <a:cubicBezTo>
                    <a:pt x="12061" y="11420"/>
                    <a:pt x="12288" y="11487"/>
                    <a:pt x="12446" y="11581"/>
                  </a:cubicBezTo>
                  <a:cubicBezTo>
                    <a:pt x="12628" y="11676"/>
                    <a:pt x="12752" y="11804"/>
                    <a:pt x="12922" y="11861"/>
                  </a:cubicBezTo>
                  <a:cubicBezTo>
                    <a:pt x="13092" y="11918"/>
                    <a:pt x="12989" y="11924"/>
                    <a:pt x="12989" y="11867"/>
                  </a:cubicBezTo>
                  <a:cubicBezTo>
                    <a:pt x="12989" y="11813"/>
                    <a:pt x="12865" y="11691"/>
                    <a:pt x="12707" y="11597"/>
                  </a:cubicBezTo>
                  <a:cubicBezTo>
                    <a:pt x="12707" y="11500"/>
                    <a:pt x="12424" y="11310"/>
                    <a:pt x="12254" y="11174"/>
                  </a:cubicBezTo>
                  <a:cubicBezTo>
                    <a:pt x="12085" y="11036"/>
                    <a:pt x="11925" y="10844"/>
                    <a:pt x="11768" y="10748"/>
                  </a:cubicBezTo>
                  <a:cubicBezTo>
                    <a:pt x="11768" y="10650"/>
                    <a:pt x="11451" y="10516"/>
                    <a:pt x="11451" y="10446"/>
                  </a:cubicBezTo>
                  <a:cubicBezTo>
                    <a:pt x="11451" y="10376"/>
                    <a:pt x="11429" y="10325"/>
                    <a:pt x="11382" y="10325"/>
                  </a:cubicBezTo>
                  <a:cubicBezTo>
                    <a:pt x="11429" y="10325"/>
                    <a:pt x="11643" y="10403"/>
                    <a:pt x="11643" y="10491"/>
                  </a:cubicBezTo>
                  <a:cubicBezTo>
                    <a:pt x="11994" y="10573"/>
                    <a:pt x="11914" y="10663"/>
                    <a:pt x="11914" y="10679"/>
                  </a:cubicBezTo>
                  <a:cubicBezTo>
                    <a:pt x="12028" y="10691"/>
                    <a:pt x="11937" y="10667"/>
                    <a:pt x="11937" y="10618"/>
                  </a:cubicBezTo>
                  <a:cubicBezTo>
                    <a:pt x="11937" y="10569"/>
                    <a:pt x="11847" y="10513"/>
                    <a:pt x="11960" y="10501"/>
                  </a:cubicBezTo>
                  <a:cubicBezTo>
                    <a:pt x="12073" y="10489"/>
                    <a:pt x="12005" y="10437"/>
                    <a:pt x="12005" y="10392"/>
                  </a:cubicBezTo>
                  <a:cubicBezTo>
                    <a:pt x="12141" y="10350"/>
                    <a:pt x="12175" y="10332"/>
                    <a:pt x="12073" y="10332"/>
                  </a:cubicBezTo>
                  <a:cubicBezTo>
                    <a:pt x="12073" y="10345"/>
                    <a:pt x="12220" y="10376"/>
                    <a:pt x="12220" y="10405"/>
                  </a:cubicBezTo>
                  <a:cubicBezTo>
                    <a:pt x="12367" y="10428"/>
                    <a:pt x="12254" y="10436"/>
                    <a:pt x="12254" y="10409"/>
                  </a:cubicBezTo>
                  <a:cubicBezTo>
                    <a:pt x="12254" y="10384"/>
                    <a:pt x="12299" y="10324"/>
                    <a:pt x="12141" y="10284"/>
                  </a:cubicBezTo>
                  <a:cubicBezTo>
                    <a:pt x="12141" y="10240"/>
                    <a:pt x="11971" y="10155"/>
                    <a:pt x="11971" y="10092"/>
                  </a:cubicBezTo>
                  <a:cubicBezTo>
                    <a:pt x="11802" y="10032"/>
                    <a:pt x="11925" y="9921"/>
                    <a:pt x="11745" y="9854"/>
                  </a:cubicBezTo>
                  <a:cubicBezTo>
                    <a:pt x="11745" y="9784"/>
                    <a:pt x="11586" y="9637"/>
                    <a:pt x="11429" y="9527"/>
                  </a:cubicBezTo>
                  <a:cubicBezTo>
                    <a:pt x="11429" y="9426"/>
                    <a:pt x="11337" y="9322"/>
                    <a:pt x="11213" y="9281"/>
                  </a:cubicBezTo>
                  <a:cubicBezTo>
                    <a:pt x="11134" y="9255"/>
                    <a:pt x="11078" y="9242"/>
                    <a:pt x="11190" y="9265"/>
                  </a:cubicBezTo>
                  <a:cubicBezTo>
                    <a:pt x="11201" y="9268"/>
                    <a:pt x="11201" y="9277"/>
                    <a:pt x="11213" y="9281"/>
                  </a:cubicBezTo>
                  <a:cubicBezTo>
                    <a:pt x="11247" y="9291"/>
                    <a:pt x="11270" y="9297"/>
                    <a:pt x="11315" y="9313"/>
                  </a:cubicBezTo>
                  <a:cubicBezTo>
                    <a:pt x="11315" y="9375"/>
                    <a:pt x="11462" y="9410"/>
                    <a:pt x="11462" y="9392"/>
                  </a:cubicBezTo>
                  <a:cubicBezTo>
                    <a:pt x="11462" y="9374"/>
                    <a:pt x="11429" y="9407"/>
                    <a:pt x="11564" y="9460"/>
                  </a:cubicBezTo>
                  <a:cubicBezTo>
                    <a:pt x="11564" y="9515"/>
                    <a:pt x="11925" y="9650"/>
                    <a:pt x="11925" y="9762"/>
                  </a:cubicBezTo>
                  <a:cubicBezTo>
                    <a:pt x="12085" y="9874"/>
                    <a:pt x="12254" y="10072"/>
                    <a:pt x="12424" y="10203"/>
                  </a:cubicBezTo>
                  <a:cubicBezTo>
                    <a:pt x="12604" y="10335"/>
                    <a:pt x="12899" y="10532"/>
                    <a:pt x="12899" y="10644"/>
                  </a:cubicBezTo>
                  <a:cubicBezTo>
                    <a:pt x="13080" y="10754"/>
                    <a:pt x="13227" y="10885"/>
                    <a:pt x="13227" y="10933"/>
                  </a:cubicBezTo>
                  <a:cubicBezTo>
                    <a:pt x="13227" y="10982"/>
                    <a:pt x="13419" y="11122"/>
                    <a:pt x="13589" y="11245"/>
                  </a:cubicBezTo>
                  <a:cubicBezTo>
                    <a:pt x="13725" y="11343"/>
                    <a:pt x="13860" y="11489"/>
                    <a:pt x="14008" y="11611"/>
                  </a:cubicBezTo>
                  <a:cubicBezTo>
                    <a:pt x="14031" y="11581"/>
                    <a:pt x="14041" y="11552"/>
                    <a:pt x="14178" y="11527"/>
                  </a:cubicBezTo>
                  <a:cubicBezTo>
                    <a:pt x="15026" y="11364"/>
                    <a:pt x="16644" y="11217"/>
                    <a:pt x="17764" y="11199"/>
                  </a:cubicBezTo>
                  <a:cubicBezTo>
                    <a:pt x="18749" y="11183"/>
                    <a:pt x="20174" y="11172"/>
                    <a:pt x="21204" y="11170"/>
                  </a:cubicBezTo>
                  <a:cubicBezTo>
                    <a:pt x="20796" y="10825"/>
                    <a:pt x="20423" y="10479"/>
                    <a:pt x="20005" y="10135"/>
                  </a:cubicBezTo>
                  <a:cubicBezTo>
                    <a:pt x="19495" y="10101"/>
                    <a:pt x="18963" y="10070"/>
                    <a:pt x="18409" y="10046"/>
                  </a:cubicBezTo>
                  <a:cubicBezTo>
                    <a:pt x="16090" y="9940"/>
                    <a:pt x="13940" y="9799"/>
                    <a:pt x="13635" y="9730"/>
                  </a:cubicBezTo>
                  <a:cubicBezTo>
                    <a:pt x="13317" y="9662"/>
                    <a:pt x="13499" y="9458"/>
                    <a:pt x="14008" y="9278"/>
                  </a:cubicBezTo>
                  <a:cubicBezTo>
                    <a:pt x="14528" y="9098"/>
                    <a:pt x="15569" y="8894"/>
                    <a:pt x="16327" y="8825"/>
                  </a:cubicBezTo>
                  <a:cubicBezTo>
                    <a:pt x="16927" y="8768"/>
                    <a:pt x="17685" y="8717"/>
                    <a:pt x="18217" y="8689"/>
                  </a:cubicBezTo>
                  <a:cubicBezTo>
                    <a:pt x="15513" y="6517"/>
                    <a:pt x="12593" y="4351"/>
                    <a:pt x="9494" y="2192"/>
                  </a:cubicBezTo>
                  <a:cubicBezTo>
                    <a:pt x="8170" y="2081"/>
                    <a:pt x="6721" y="1936"/>
                    <a:pt x="5702" y="1806"/>
                  </a:cubicBezTo>
                  <a:cubicBezTo>
                    <a:pt x="4176" y="1610"/>
                    <a:pt x="2965" y="1383"/>
                    <a:pt x="2998" y="1301"/>
                  </a:cubicBezTo>
                  <a:cubicBezTo>
                    <a:pt x="3056" y="1217"/>
                    <a:pt x="3644" y="1121"/>
                    <a:pt x="4323" y="1087"/>
                  </a:cubicBezTo>
                  <a:cubicBezTo>
                    <a:pt x="5012" y="1053"/>
                    <a:pt x="6121" y="923"/>
                    <a:pt x="6811" y="799"/>
                  </a:cubicBezTo>
                  <a:cubicBezTo>
                    <a:pt x="7027" y="759"/>
                    <a:pt x="7163" y="716"/>
                    <a:pt x="7321" y="673"/>
                  </a:cubicBezTo>
                  <a:cubicBezTo>
                    <a:pt x="6982" y="448"/>
                    <a:pt x="6619" y="224"/>
                    <a:pt x="6292" y="0"/>
                  </a:cubicBezTo>
                  <a:cubicBezTo>
                    <a:pt x="5002" y="56"/>
                    <a:pt x="3644" y="135"/>
                    <a:pt x="2829" y="221"/>
                  </a:cubicBezTo>
                  <a:cubicBezTo>
                    <a:pt x="1766" y="336"/>
                    <a:pt x="0" y="472"/>
                    <a:pt x="0" y="506"/>
                  </a:cubicBezTo>
                  <a:close/>
                  <a:moveTo>
                    <a:pt x="0" y="5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6" name="AutoShape 175"/>
            <p:cNvSpPr>
              <a:spLocks/>
            </p:cNvSpPr>
            <p:nvPr/>
          </p:nvSpPr>
          <p:spPr bwMode="auto">
            <a:xfrm>
              <a:off x="10629900" y="4000500"/>
              <a:ext cx="0" cy="0"/>
            </a:xfrm>
            <a:custGeom>
              <a:avLst/>
              <a:gdLst/>
              <a:ahLst/>
              <a:cxnLst/>
              <a:rect l="0" t="0" r="r" b="b"/>
              <a:pathLst>
                <a:path w="21600" h="21600">
                  <a:moveTo>
                    <a:pt x="21600" y="21600"/>
                  </a:moveTo>
                  <a:cubicBezTo>
                    <a:pt x="16242" y="9857"/>
                    <a:pt x="5526" y="0"/>
                    <a:pt x="0" y="0"/>
                  </a:cubicBezTo>
                  <a:cubicBezTo>
                    <a:pt x="5526" y="0"/>
                    <a:pt x="10884" y="9529"/>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7" name="AutoShape 176"/>
            <p:cNvSpPr>
              <a:spLocks/>
            </p:cNvSpPr>
            <p:nvPr/>
          </p:nvSpPr>
          <p:spPr bwMode="auto">
            <a:xfrm>
              <a:off x="10617200" y="3962400"/>
              <a:ext cx="0" cy="0"/>
            </a:xfrm>
            <a:custGeom>
              <a:avLst/>
              <a:gdLst/>
              <a:ahLst/>
              <a:cxnLst/>
              <a:rect l="0" t="0" r="r" b="b"/>
              <a:pathLst>
                <a:path w="15122" h="19087">
                  <a:moveTo>
                    <a:pt x="4800" y="8418"/>
                  </a:moveTo>
                  <a:cubicBezTo>
                    <a:pt x="4800" y="1398"/>
                    <a:pt x="0" y="-1866"/>
                    <a:pt x="0" y="1089"/>
                  </a:cubicBezTo>
                  <a:cubicBezTo>
                    <a:pt x="0" y="2529"/>
                    <a:pt x="2325" y="7945"/>
                    <a:pt x="7125" y="14786"/>
                  </a:cubicBezTo>
                  <a:cubicBezTo>
                    <a:pt x="8325" y="15997"/>
                    <a:pt x="11925" y="17741"/>
                    <a:pt x="11925" y="19016"/>
                  </a:cubicBezTo>
                  <a:cubicBezTo>
                    <a:pt x="13125" y="19734"/>
                    <a:pt x="21600" y="14871"/>
                    <a:pt x="4800" y="8418"/>
                  </a:cubicBezTo>
                  <a:close/>
                  <a:moveTo>
                    <a:pt x="4800" y="84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8" name="AutoShape 177"/>
            <p:cNvSpPr>
              <a:spLocks/>
            </p:cNvSpPr>
            <p:nvPr/>
          </p:nvSpPr>
          <p:spPr bwMode="auto">
            <a:xfrm>
              <a:off x="10629900" y="4025900"/>
              <a:ext cx="0" cy="1588"/>
            </a:xfrm>
            <a:custGeom>
              <a:avLst/>
              <a:gdLst/>
              <a:ahLst/>
              <a:cxnLst/>
              <a:rect l="0" t="0" r="r" b="b"/>
              <a:pathLst>
                <a:path w="21600" h="21600">
                  <a:moveTo>
                    <a:pt x="11544" y="15607"/>
                  </a:moveTo>
                  <a:cubicBezTo>
                    <a:pt x="15152" y="17735"/>
                    <a:pt x="18038" y="19639"/>
                    <a:pt x="21600" y="21600"/>
                  </a:cubicBezTo>
                  <a:cubicBezTo>
                    <a:pt x="18038" y="17242"/>
                    <a:pt x="14430" y="12731"/>
                    <a:pt x="10056" y="8264"/>
                  </a:cubicBezTo>
                  <a:cubicBezTo>
                    <a:pt x="7937" y="5980"/>
                    <a:pt x="5772" y="2716"/>
                    <a:pt x="4329" y="0"/>
                  </a:cubicBezTo>
                  <a:cubicBezTo>
                    <a:pt x="2886" y="979"/>
                    <a:pt x="0" y="1737"/>
                    <a:pt x="0" y="2716"/>
                  </a:cubicBezTo>
                  <a:cubicBezTo>
                    <a:pt x="4329" y="7227"/>
                    <a:pt x="9334" y="11205"/>
                    <a:pt x="11544" y="15607"/>
                  </a:cubicBezTo>
                  <a:close/>
                  <a:moveTo>
                    <a:pt x="11544" y="156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79" name="AutoShape 178"/>
            <p:cNvSpPr>
              <a:spLocks/>
            </p:cNvSpPr>
            <p:nvPr/>
          </p:nvSpPr>
          <p:spPr bwMode="auto">
            <a:xfrm>
              <a:off x="10629900" y="4013200"/>
              <a:ext cx="0" cy="11113"/>
            </a:xfrm>
            <a:custGeom>
              <a:avLst/>
              <a:gdLst/>
              <a:ahLst/>
              <a:cxnLst/>
              <a:rect l="0" t="0" r="r" b="b"/>
              <a:pathLst>
                <a:path w="21600" h="21480">
                  <a:moveTo>
                    <a:pt x="21600" y="21471"/>
                  </a:moveTo>
                  <a:cubicBezTo>
                    <a:pt x="21600" y="21600"/>
                    <a:pt x="19024" y="20343"/>
                    <a:pt x="19024" y="18712"/>
                  </a:cubicBezTo>
                  <a:cubicBezTo>
                    <a:pt x="16237" y="17093"/>
                    <a:pt x="16646" y="14729"/>
                    <a:pt x="14070" y="13601"/>
                  </a:cubicBezTo>
                  <a:cubicBezTo>
                    <a:pt x="14070" y="12436"/>
                    <a:pt x="8521" y="9968"/>
                    <a:pt x="8521" y="8058"/>
                  </a:cubicBezTo>
                  <a:cubicBezTo>
                    <a:pt x="8521" y="6160"/>
                    <a:pt x="1771" y="3214"/>
                    <a:pt x="1771" y="1457"/>
                  </a:cubicBezTo>
                  <a:cubicBezTo>
                    <a:pt x="978" y="887"/>
                    <a:pt x="594" y="455"/>
                    <a:pt x="0" y="0"/>
                  </a:cubicBezTo>
                  <a:cubicBezTo>
                    <a:pt x="384" y="338"/>
                    <a:pt x="594" y="617"/>
                    <a:pt x="594" y="989"/>
                  </a:cubicBezTo>
                  <a:cubicBezTo>
                    <a:pt x="594" y="2341"/>
                    <a:pt x="6738" y="5136"/>
                    <a:pt x="6738" y="7277"/>
                  </a:cubicBezTo>
                  <a:cubicBezTo>
                    <a:pt x="12484" y="9292"/>
                    <a:pt x="9710" y="13473"/>
                    <a:pt x="15853" y="16187"/>
                  </a:cubicBezTo>
                  <a:cubicBezTo>
                    <a:pt x="15853" y="19003"/>
                    <a:pt x="21600" y="21366"/>
                    <a:pt x="21600" y="21471"/>
                  </a:cubicBezTo>
                  <a:close/>
                  <a:moveTo>
                    <a:pt x="21600" y="214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0" name="AutoShape 179"/>
            <p:cNvSpPr>
              <a:spLocks/>
            </p:cNvSpPr>
            <p:nvPr/>
          </p:nvSpPr>
          <p:spPr bwMode="auto">
            <a:xfrm>
              <a:off x="10617200" y="3962400"/>
              <a:ext cx="0" cy="0"/>
            </a:xfrm>
            <a:custGeom>
              <a:avLst/>
              <a:gdLst/>
              <a:ahLst/>
              <a:cxnLst/>
              <a:rect l="0" t="0" r="r" b="b"/>
              <a:pathLst>
                <a:path w="21600" h="21292">
                  <a:moveTo>
                    <a:pt x="21600" y="20421"/>
                  </a:moveTo>
                  <a:cubicBezTo>
                    <a:pt x="21600" y="14264"/>
                    <a:pt x="5400" y="5845"/>
                    <a:pt x="0" y="0"/>
                  </a:cubicBezTo>
                  <a:cubicBezTo>
                    <a:pt x="11137" y="6951"/>
                    <a:pt x="21600" y="18521"/>
                    <a:pt x="21600" y="21215"/>
                  </a:cubicBezTo>
                  <a:cubicBezTo>
                    <a:pt x="21600" y="21600"/>
                    <a:pt x="21600" y="20421"/>
                    <a:pt x="21600" y="20421"/>
                  </a:cubicBezTo>
                  <a:close/>
                  <a:moveTo>
                    <a:pt x="21600" y="204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1" name="AutoShape 180"/>
            <p:cNvSpPr>
              <a:spLocks/>
            </p:cNvSpPr>
            <p:nvPr/>
          </p:nvSpPr>
          <p:spPr bwMode="auto">
            <a:xfrm>
              <a:off x="10642600" y="4114800"/>
              <a:ext cx="0" cy="0"/>
            </a:xfrm>
            <a:custGeom>
              <a:avLst/>
              <a:gdLst/>
              <a:ahLst/>
              <a:cxnLst/>
              <a:rect l="0" t="0" r="r" b="b"/>
              <a:pathLst>
                <a:path w="21600" h="16240">
                  <a:moveTo>
                    <a:pt x="21600" y="11501"/>
                  </a:moveTo>
                  <a:cubicBezTo>
                    <a:pt x="0" y="8281"/>
                    <a:pt x="6750" y="3648"/>
                    <a:pt x="0" y="0"/>
                  </a:cubicBezTo>
                  <a:cubicBezTo>
                    <a:pt x="6750" y="14530"/>
                    <a:pt x="21600" y="21600"/>
                    <a:pt x="21600" y="11501"/>
                  </a:cubicBezTo>
                  <a:close/>
                  <a:moveTo>
                    <a:pt x="21600" y="115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2" name="AutoShape 181"/>
            <p:cNvSpPr>
              <a:spLocks/>
            </p:cNvSpPr>
            <p:nvPr/>
          </p:nvSpPr>
          <p:spPr bwMode="auto">
            <a:xfrm>
              <a:off x="10629900" y="4013200"/>
              <a:ext cx="4763" cy="47625"/>
            </a:xfrm>
            <a:custGeom>
              <a:avLst/>
              <a:gdLst/>
              <a:ahLst/>
              <a:cxnLst/>
              <a:rect l="0" t="0" r="r" b="b"/>
              <a:pathLst>
                <a:path w="21494" h="21536">
                  <a:moveTo>
                    <a:pt x="4063" y="2682"/>
                  </a:moveTo>
                  <a:cubicBezTo>
                    <a:pt x="4063" y="2054"/>
                    <a:pt x="2406" y="1482"/>
                    <a:pt x="2406" y="1402"/>
                  </a:cubicBezTo>
                  <a:cubicBezTo>
                    <a:pt x="2406" y="1319"/>
                    <a:pt x="1173" y="935"/>
                    <a:pt x="1173" y="540"/>
                  </a:cubicBezTo>
                  <a:cubicBezTo>
                    <a:pt x="531" y="362"/>
                    <a:pt x="214" y="171"/>
                    <a:pt x="0" y="0"/>
                  </a:cubicBezTo>
                  <a:cubicBezTo>
                    <a:pt x="50" y="105"/>
                    <a:pt x="104" y="171"/>
                    <a:pt x="104" y="307"/>
                  </a:cubicBezTo>
                  <a:cubicBezTo>
                    <a:pt x="1604" y="841"/>
                    <a:pt x="909" y="1643"/>
                    <a:pt x="1711" y="2024"/>
                  </a:cubicBezTo>
                  <a:cubicBezTo>
                    <a:pt x="1711" y="2417"/>
                    <a:pt x="3258" y="3083"/>
                    <a:pt x="3258" y="3514"/>
                  </a:cubicBezTo>
                  <a:cubicBezTo>
                    <a:pt x="3258" y="3940"/>
                    <a:pt x="4063" y="4386"/>
                    <a:pt x="4063" y="4507"/>
                  </a:cubicBezTo>
                  <a:cubicBezTo>
                    <a:pt x="4063" y="4623"/>
                    <a:pt x="4434" y="4960"/>
                    <a:pt x="4434" y="5254"/>
                  </a:cubicBezTo>
                  <a:cubicBezTo>
                    <a:pt x="4434" y="5395"/>
                    <a:pt x="4434" y="5492"/>
                    <a:pt x="4491" y="5549"/>
                  </a:cubicBezTo>
                  <a:lnTo>
                    <a:pt x="4491" y="5555"/>
                  </a:lnTo>
                  <a:lnTo>
                    <a:pt x="4491" y="5549"/>
                  </a:lnTo>
                  <a:cubicBezTo>
                    <a:pt x="3796" y="5430"/>
                    <a:pt x="2941" y="4590"/>
                    <a:pt x="2192" y="3694"/>
                  </a:cubicBezTo>
                  <a:cubicBezTo>
                    <a:pt x="1390" y="2798"/>
                    <a:pt x="214" y="2046"/>
                    <a:pt x="104" y="2046"/>
                  </a:cubicBezTo>
                  <a:cubicBezTo>
                    <a:pt x="0" y="2046"/>
                    <a:pt x="531" y="2746"/>
                    <a:pt x="1337" y="3622"/>
                  </a:cubicBezTo>
                  <a:cubicBezTo>
                    <a:pt x="2135" y="4496"/>
                    <a:pt x="2941" y="5688"/>
                    <a:pt x="3739" y="6266"/>
                  </a:cubicBezTo>
                  <a:cubicBezTo>
                    <a:pt x="4491" y="6841"/>
                    <a:pt x="4334" y="7601"/>
                    <a:pt x="5240" y="7922"/>
                  </a:cubicBezTo>
                  <a:cubicBezTo>
                    <a:pt x="5240" y="8254"/>
                    <a:pt x="5985" y="9050"/>
                    <a:pt x="6737" y="9683"/>
                  </a:cubicBezTo>
                  <a:cubicBezTo>
                    <a:pt x="6737" y="10322"/>
                    <a:pt x="8925" y="11104"/>
                    <a:pt x="8925" y="11439"/>
                  </a:cubicBezTo>
                  <a:cubicBezTo>
                    <a:pt x="10369" y="11740"/>
                    <a:pt x="10529" y="12570"/>
                    <a:pt x="11335" y="13211"/>
                  </a:cubicBezTo>
                  <a:cubicBezTo>
                    <a:pt x="12133" y="13852"/>
                    <a:pt x="11919" y="14544"/>
                    <a:pt x="12778" y="14682"/>
                  </a:cubicBezTo>
                  <a:cubicBezTo>
                    <a:pt x="12778" y="14848"/>
                    <a:pt x="13634" y="15249"/>
                    <a:pt x="13634" y="15578"/>
                  </a:cubicBezTo>
                  <a:cubicBezTo>
                    <a:pt x="14382" y="15896"/>
                    <a:pt x="15127" y="16839"/>
                    <a:pt x="15933" y="17663"/>
                  </a:cubicBezTo>
                  <a:cubicBezTo>
                    <a:pt x="17587" y="18467"/>
                    <a:pt x="17159" y="19338"/>
                    <a:pt x="18392" y="19465"/>
                  </a:cubicBezTo>
                  <a:cubicBezTo>
                    <a:pt x="18392" y="19645"/>
                    <a:pt x="18927" y="20104"/>
                    <a:pt x="19729" y="20494"/>
                  </a:cubicBezTo>
                  <a:cubicBezTo>
                    <a:pt x="19729" y="20884"/>
                    <a:pt x="19996" y="21334"/>
                    <a:pt x="20745" y="21453"/>
                  </a:cubicBezTo>
                  <a:cubicBezTo>
                    <a:pt x="20745" y="21600"/>
                    <a:pt x="20848" y="21545"/>
                    <a:pt x="20848" y="21334"/>
                  </a:cubicBezTo>
                  <a:cubicBezTo>
                    <a:pt x="20848" y="21121"/>
                    <a:pt x="21009" y="21094"/>
                    <a:pt x="21009" y="21274"/>
                  </a:cubicBezTo>
                  <a:cubicBezTo>
                    <a:pt x="21009" y="21459"/>
                    <a:pt x="21490" y="21550"/>
                    <a:pt x="21490" y="21490"/>
                  </a:cubicBezTo>
                  <a:cubicBezTo>
                    <a:pt x="21490" y="21426"/>
                    <a:pt x="21600" y="21042"/>
                    <a:pt x="20745" y="20652"/>
                  </a:cubicBezTo>
                  <a:cubicBezTo>
                    <a:pt x="20745" y="20251"/>
                    <a:pt x="18549" y="19371"/>
                    <a:pt x="18549" y="18680"/>
                  </a:cubicBezTo>
                  <a:cubicBezTo>
                    <a:pt x="17804" y="18000"/>
                    <a:pt x="16200" y="17008"/>
                    <a:pt x="16200" y="16482"/>
                  </a:cubicBezTo>
                  <a:cubicBezTo>
                    <a:pt x="15398" y="15957"/>
                    <a:pt x="14596" y="14792"/>
                    <a:pt x="13791" y="13897"/>
                  </a:cubicBezTo>
                  <a:cubicBezTo>
                    <a:pt x="12992" y="13001"/>
                    <a:pt x="11762" y="11961"/>
                    <a:pt x="11762" y="11580"/>
                  </a:cubicBezTo>
                  <a:cubicBezTo>
                    <a:pt x="11762" y="11195"/>
                    <a:pt x="10797" y="10626"/>
                    <a:pt x="10797" y="10300"/>
                  </a:cubicBezTo>
                  <a:cubicBezTo>
                    <a:pt x="10797" y="9976"/>
                    <a:pt x="10797" y="9852"/>
                    <a:pt x="10797" y="10026"/>
                  </a:cubicBezTo>
                  <a:cubicBezTo>
                    <a:pt x="10797" y="10197"/>
                    <a:pt x="12187" y="10883"/>
                    <a:pt x="12885" y="11558"/>
                  </a:cubicBezTo>
                  <a:cubicBezTo>
                    <a:pt x="13737" y="12227"/>
                    <a:pt x="15398" y="13150"/>
                    <a:pt x="15398" y="13617"/>
                  </a:cubicBezTo>
                  <a:cubicBezTo>
                    <a:pt x="15398" y="14082"/>
                    <a:pt x="16147" y="14345"/>
                    <a:pt x="16147" y="14204"/>
                  </a:cubicBezTo>
                  <a:cubicBezTo>
                    <a:pt x="16147" y="14060"/>
                    <a:pt x="14810" y="13056"/>
                    <a:pt x="14005" y="11961"/>
                  </a:cubicBezTo>
                  <a:cubicBezTo>
                    <a:pt x="13152" y="10864"/>
                    <a:pt x="11762" y="9495"/>
                    <a:pt x="10960" y="8912"/>
                  </a:cubicBezTo>
                  <a:cubicBezTo>
                    <a:pt x="10212" y="8334"/>
                    <a:pt x="9998" y="7515"/>
                    <a:pt x="9193" y="7114"/>
                  </a:cubicBezTo>
                  <a:cubicBezTo>
                    <a:pt x="8448" y="6719"/>
                    <a:pt x="7913" y="6180"/>
                    <a:pt x="7913" y="5920"/>
                  </a:cubicBezTo>
                  <a:cubicBezTo>
                    <a:pt x="7913" y="5665"/>
                    <a:pt x="7218" y="5085"/>
                    <a:pt x="6413" y="4640"/>
                  </a:cubicBezTo>
                  <a:cubicBezTo>
                    <a:pt x="6095" y="4446"/>
                    <a:pt x="5935" y="4148"/>
                    <a:pt x="5667" y="3846"/>
                  </a:cubicBezTo>
                  <a:cubicBezTo>
                    <a:pt x="5504" y="3622"/>
                    <a:pt x="5133" y="3420"/>
                    <a:pt x="4812" y="3191"/>
                  </a:cubicBezTo>
                  <a:cubicBezTo>
                    <a:pt x="4595" y="3019"/>
                    <a:pt x="4434" y="2831"/>
                    <a:pt x="4063" y="2682"/>
                  </a:cubicBezTo>
                  <a:close/>
                  <a:moveTo>
                    <a:pt x="4063" y="268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3" name="AutoShape 182"/>
            <p:cNvSpPr>
              <a:spLocks/>
            </p:cNvSpPr>
            <p:nvPr/>
          </p:nvSpPr>
          <p:spPr bwMode="auto">
            <a:xfrm>
              <a:off x="10617200" y="3937000"/>
              <a:ext cx="0" cy="4763"/>
            </a:xfrm>
            <a:custGeom>
              <a:avLst/>
              <a:gdLst/>
              <a:ahLst/>
              <a:cxnLst/>
              <a:rect l="0" t="0" r="r" b="b"/>
              <a:pathLst>
                <a:path w="18795" h="21185">
                  <a:moveTo>
                    <a:pt x="17514" y="21044"/>
                  </a:moveTo>
                  <a:cubicBezTo>
                    <a:pt x="17514" y="21600"/>
                    <a:pt x="20743" y="20440"/>
                    <a:pt x="16948" y="18813"/>
                  </a:cubicBezTo>
                  <a:cubicBezTo>
                    <a:pt x="16948" y="17048"/>
                    <a:pt x="12552" y="12125"/>
                    <a:pt x="7900" y="7849"/>
                  </a:cubicBezTo>
                  <a:cubicBezTo>
                    <a:pt x="3521" y="3601"/>
                    <a:pt x="0" y="96"/>
                    <a:pt x="0" y="0"/>
                  </a:cubicBezTo>
                  <a:cubicBezTo>
                    <a:pt x="894" y="0"/>
                    <a:pt x="-857" y="2668"/>
                    <a:pt x="3795" y="5923"/>
                  </a:cubicBezTo>
                  <a:cubicBezTo>
                    <a:pt x="3795" y="9242"/>
                    <a:pt x="7590" y="13866"/>
                    <a:pt x="11986" y="16001"/>
                  </a:cubicBezTo>
                  <a:cubicBezTo>
                    <a:pt x="16054" y="18232"/>
                    <a:pt x="17514" y="20530"/>
                    <a:pt x="17514" y="21044"/>
                  </a:cubicBezTo>
                  <a:close/>
                  <a:moveTo>
                    <a:pt x="17514" y="210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4" name="AutoShape 183"/>
            <p:cNvSpPr>
              <a:spLocks/>
            </p:cNvSpPr>
            <p:nvPr/>
          </p:nvSpPr>
          <p:spPr bwMode="auto">
            <a:xfrm>
              <a:off x="10617200" y="3949700"/>
              <a:ext cx="0" cy="1588"/>
            </a:xfrm>
            <a:custGeom>
              <a:avLst/>
              <a:gdLst/>
              <a:ahLst/>
              <a:cxnLst/>
              <a:rect l="0" t="0" r="r" b="b"/>
              <a:pathLst>
                <a:path w="16071" h="19485">
                  <a:moveTo>
                    <a:pt x="11996" y="18421"/>
                  </a:moveTo>
                  <a:cubicBezTo>
                    <a:pt x="16823" y="19743"/>
                    <a:pt x="17466" y="19845"/>
                    <a:pt x="13369" y="18662"/>
                  </a:cubicBezTo>
                  <a:cubicBezTo>
                    <a:pt x="13369" y="16884"/>
                    <a:pt x="6505" y="10524"/>
                    <a:pt x="6505" y="4315"/>
                  </a:cubicBezTo>
                  <a:cubicBezTo>
                    <a:pt x="-4134" y="-1056"/>
                    <a:pt x="328" y="-1755"/>
                    <a:pt x="5454" y="4164"/>
                  </a:cubicBezTo>
                  <a:cubicBezTo>
                    <a:pt x="5454" y="10231"/>
                    <a:pt x="11996" y="16542"/>
                    <a:pt x="11996" y="18421"/>
                  </a:cubicBezTo>
                  <a:close/>
                  <a:moveTo>
                    <a:pt x="11996" y="184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5" name="AutoShape 184"/>
            <p:cNvSpPr>
              <a:spLocks/>
            </p:cNvSpPr>
            <p:nvPr/>
          </p:nvSpPr>
          <p:spPr bwMode="auto">
            <a:xfrm>
              <a:off x="10617200" y="4025900"/>
              <a:ext cx="1588" cy="9525"/>
            </a:xfrm>
            <a:custGeom>
              <a:avLst/>
              <a:gdLst/>
              <a:ahLst/>
              <a:cxnLst/>
              <a:rect l="0" t="0" r="r" b="b"/>
              <a:pathLst>
                <a:path w="20608" h="21038">
                  <a:moveTo>
                    <a:pt x="14880" y="5396"/>
                  </a:moveTo>
                  <a:cubicBezTo>
                    <a:pt x="14880" y="3489"/>
                    <a:pt x="11388" y="1273"/>
                    <a:pt x="9337" y="456"/>
                  </a:cubicBezTo>
                  <a:cubicBezTo>
                    <a:pt x="7440" y="-350"/>
                    <a:pt x="2781" y="-78"/>
                    <a:pt x="2781" y="1191"/>
                  </a:cubicBezTo>
                  <a:cubicBezTo>
                    <a:pt x="301" y="2399"/>
                    <a:pt x="0" y="4969"/>
                    <a:pt x="0" y="6879"/>
                  </a:cubicBezTo>
                  <a:cubicBezTo>
                    <a:pt x="4094" y="8680"/>
                    <a:pt x="301" y="12305"/>
                    <a:pt x="4377" y="14521"/>
                  </a:cubicBezTo>
                  <a:cubicBezTo>
                    <a:pt x="4377" y="16831"/>
                    <a:pt x="9337" y="19342"/>
                    <a:pt x="11242" y="20148"/>
                  </a:cubicBezTo>
                  <a:cubicBezTo>
                    <a:pt x="13713" y="20920"/>
                    <a:pt x="15911" y="21250"/>
                    <a:pt x="18090" y="20895"/>
                  </a:cubicBezTo>
                  <a:cubicBezTo>
                    <a:pt x="20424" y="20529"/>
                    <a:pt x="21600" y="17578"/>
                    <a:pt x="19558" y="14472"/>
                  </a:cubicBezTo>
                  <a:cubicBezTo>
                    <a:pt x="19558" y="11356"/>
                    <a:pt x="17078" y="7245"/>
                    <a:pt x="14880" y="5396"/>
                  </a:cubicBezTo>
                  <a:close/>
                  <a:moveTo>
                    <a:pt x="14880" y="53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6" name="AutoShape 185"/>
            <p:cNvSpPr>
              <a:spLocks/>
            </p:cNvSpPr>
            <p:nvPr/>
          </p:nvSpPr>
          <p:spPr bwMode="auto">
            <a:xfrm>
              <a:off x="10617200" y="4000500"/>
              <a:ext cx="0" cy="11113"/>
            </a:xfrm>
            <a:custGeom>
              <a:avLst/>
              <a:gdLst/>
              <a:ahLst/>
              <a:cxnLst/>
              <a:rect l="0" t="0" r="r" b="b"/>
              <a:pathLst>
                <a:path w="21600" h="20766">
                  <a:moveTo>
                    <a:pt x="17061" y="14490"/>
                  </a:moveTo>
                  <a:cubicBezTo>
                    <a:pt x="17061" y="11970"/>
                    <a:pt x="12343" y="8388"/>
                    <a:pt x="9257" y="6546"/>
                  </a:cubicBezTo>
                  <a:cubicBezTo>
                    <a:pt x="9257" y="4662"/>
                    <a:pt x="2469" y="2250"/>
                    <a:pt x="2469" y="1143"/>
                  </a:cubicBezTo>
                  <a:cubicBezTo>
                    <a:pt x="2469" y="48"/>
                    <a:pt x="0" y="-325"/>
                    <a:pt x="0" y="311"/>
                  </a:cubicBezTo>
                  <a:cubicBezTo>
                    <a:pt x="0" y="957"/>
                    <a:pt x="2687" y="2709"/>
                    <a:pt x="2687" y="4233"/>
                  </a:cubicBezTo>
                  <a:cubicBezTo>
                    <a:pt x="5966" y="5713"/>
                    <a:pt x="6171" y="8837"/>
                    <a:pt x="9257" y="11030"/>
                  </a:cubicBezTo>
                  <a:cubicBezTo>
                    <a:pt x="12343" y="13231"/>
                    <a:pt x="18103" y="16585"/>
                    <a:pt x="18103" y="18492"/>
                  </a:cubicBezTo>
                  <a:cubicBezTo>
                    <a:pt x="20777" y="20366"/>
                    <a:pt x="21600" y="21275"/>
                    <a:pt x="21600" y="20476"/>
                  </a:cubicBezTo>
                  <a:cubicBezTo>
                    <a:pt x="21600" y="19709"/>
                    <a:pt x="20173" y="16991"/>
                    <a:pt x="17061" y="14490"/>
                  </a:cubicBezTo>
                  <a:close/>
                  <a:moveTo>
                    <a:pt x="17061" y="1449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7" name="AutoShape 186"/>
            <p:cNvSpPr>
              <a:spLocks/>
            </p:cNvSpPr>
            <p:nvPr/>
          </p:nvSpPr>
          <p:spPr bwMode="auto">
            <a:xfrm>
              <a:off x="10617200" y="3987800"/>
              <a:ext cx="0" cy="1588"/>
            </a:xfrm>
            <a:custGeom>
              <a:avLst/>
              <a:gdLst/>
              <a:ahLst/>
              <a:cxnLst/>
              <a:rect l="0" t="0" r="r" b="b"/>
              <a:pathLst>
                <a:path w="21600" h="18969">
                  <a:moveTo>
                    <a:pt x="0" y="988"/>
                  </a:moveTo>
                  <a:cubicBezTo>
                    <a:pt x="0" y="3435"/>
                    <a:pt x="9941" y="9069"/>
                    <a:pt x="9941" y="13615"/>
                  </a:cubicBezTo>
                  <a:cubicBezTo>
                    <a:pt x="9941" y="18201"/>
                    <a:pt x="21600" y="20188"/>
                    <a:pt x="21600" y="18201"/>
                  </a:cubicBezTo>
                  <a:cubicBezTo>
                    <a:pt x="21600" y="16210"/>
                    <a:pt x="21600" y="10461"/>
                    <a:pt x="12280" y="5612"/>
                  </a:cubicBezTo>
                  <a:cubicBezTo>
                    <a:pt x="2924" y="727"/>
                    <a:pt x="0" y="-1412"/>
                    <a:pt x="0" y="988"/>
                  </a:cubicBezTo>
                  <a:close/>
                  <a:moveTo>
                    <a:pt x="0" y="9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8" name="AutoShape 187"/>
            <p:cNvSpPr>
              <a:spLocks/>
            </p:cNvSpPr>
            <p:nvPr/>
          </p:nvSpPr>
          <p:spPr bwMode="auto">
            <a:xfrm>
              <a:off x="10591800" y="3848100"/>
              <a:ext cx="22225" cy="152400"/>
            </a:xfrm>
            <a:custGeom>
              <a:avLst/>
              <a:gdLst/>
              <a:ahLst/>
              <a:cxnLst/>
              <a:rect l="0" t="0" r="r" b="b"/>
              <a:pathLst>
                <a:path w="21553" h="21395">
                  <a:moveTo>
                    <a:pt x="781" y="323"/>
                  </a:moveTo>
                  <a:cubicBezTo>
                    <a:pt x="373" y="272"/>
                    <a:pt x="222" y="452"/>
                    <a:pt x="222" y="725"/>
                  </a:cubicBezTo>
                  <a:cubicBezTo>
                    <a:pt x="222" y="1000"/>
                    <a:pt x="104" y="1246"/>
                    <a:pt x="104" y="1288"/>
                  </a:cubicBezTo>
                  <a:cubicBezTo>
                    <a:pt x="-47" y="1322"/>
                    <a:pt x="11" y="1572"/>
                    <a:pt x="11" y="1843"/>
                  </a:cubicBezTo>
                  <a:cubicBezTo>
                    <a:pt x="11" y="2113"/>
                    <a:pt x="198" y="2524"/>
                    <a:pt x="525" y="2748"/>
                  </a:cubicBezTo>
                  <a:cubicBezTo>
                    <a:pt x="525" y="2977"/>
                    <a:pt x="781" y="3201"/>
                    <a:pt x="956" y="3227"/>
                  </a:cubicBezTo>
                  <a:cubicBezTo>
                    <a:pt x="956" y="3262"/>
                    <a:pt x="1037" y="3209"/>
                    <a:pt x="1037" y="3107"/>
                  </a:cubicBezTo>
                  <a:cubicBezTo>
                    <a:pt x="1037" y="3007"/>
                    <a:pt x="1282" y="2963"/>
                    <a:pt x="1433" y="3023"/>
                  </a:cubicBezTo>
                  <a:cubicBezTo>
                    <a:pt x="1596" y="3082"/>
                    <a:pt x="1794" y="3169"/>
                    <a:pt x="1794" y="3227"/>
                  </a:cubicBezTo>
                  <a:cubicBezTo>
                    <a:pt x="1969" y="3276"/>
                    <a:pt x="2179" y="3667"/>
                    <a:pt x="2877" y="4072"/>
                  </a:cubicBezTo>
                  <a:cubicBezTo>
                    <a:pt x="3402" y="4483"/>
                    <a:pt x="4463" y="5163"/>
                    <a:pt x="4998" y="5590"/>
                  </a:cubicBezTo>
                  <a:cubicBezTo>
                    <a:pt x="5511" y="6017"/>
                    <a:pt x="6209" y="6403"/>
                    <a:pt x="6209" y="6459"/>
                  </a:cubicBezTo>
                  <a:cubicBezTo>
                    <a:pt x="6478" y="6498"/>
                    <a:pt x="6536" y="6634"/>
                    <a:pt x="6536" y="6735"/>
                  </a:cubicBezTo>
                  <a:cubicBezTo>
                    <a:pt x="6536" y="6838"/>
                    <a:pt x="7013" y="7108"/>
                    <a:pt x="7188" y="7345"/>
                  </a:cubicBezTo>
                  <a:cubicBezTo>
                    <a:pt x="7362" y="7582"/>
                    <a:pt x="7946" y="7930"/>
                    <a:pt x="8132" y="8124"/>
                  </a:cubicBezTo>
                  <a:cubicBezTo>
                    <a:pt x="8470" y="8314"/>
                    <a:pt x="8108" y="8346"/>
                    <a:pt x="7934" y="8174"/>
                  </a:cubicBezTo>
                  <a:cubicBezTo>
                    <a:pt x="7456" y="8015"/>
                    <a:pt x="7072" y="7779"/>
                    <a:pt x="7072" y="7664"/>
                  </a:cubicBezTo>
                  <a:cubicBezTo>
                    <a:pt x="6908" y="7552"/>
                    <a:pt x="6862" y="7601"/>
                    <a:pt x="7037" y="7772"/>
                  </a:cubicBezTo>
                  <a:cubicBezTo>
                    <a:pt x="7223" y="7943"/>
                    <a:pt x="7188" y="8035"/>
                    <a:pt x="7025" y="7976"/>
                  </a:cubicBezTo>
                  <a:cubicBezTo>
                    <a:pt x="6862" y="7916"/>
                    <a:pt x="6862" y="8088"/>
                    <a:pt x="7037" y="8360"/>
                  </a:cubicBezTo>
                  <a:cubicBezTo>
                    <a:pt x="7211" y="8633"/>
                    <a:pt x="7841" y="9079"/>
                    <a:pt x="8190" y="9361"/>
                  </a:cubicBezTo>
                  <a:cubicBezTo>
                    <a:pt x="8691" y="9637"/>
                    <a:pt x="9157" y="9846"/>
                    <a:pt x="9157" y="9821"/>
                  </a:cubicBezTo>
                  <a:cubicBezTo>
                    <a:pt x="9157" y="9796"/>
                    <a:pt x="9553" y="9976"/>
                    <a:pt x="9728" y="10222"/>
                  </a:cubicBezTo>
                  <a:cubicBezTo>
                    <a:pt x="10066" y="10464"/>
                    <a:pt x="10590" y="11022"/>
                    <a:pt x="10939" y="11461"/>
                  </a:cubicBezTo>
                  <a:cubicBezTo>
                    <a:pt x="11289" y="11898"/>
                    <a:pt x="11743" y="12335"/>
                    <a:pt x="11907" y="12428"/>
                  </a:cubicBezTo>
                  <a:cubicBezTo>
                    <a:pt x="11907" y="12524"/>
                    <a:pt x="12139" y="12551"/>
                    <a:pt x="12139" y="12490"/>
                  </a:cubicBezTo>
                  <a:cubicBezTo>
                    <a:pt x="12139" y="12429"/>
                    <a:pt x="12711" y="12687"/>
                    <a:pt x="12885" y="13072"/>
                  </a:cubicBezTo>
                  <a:cubicBezTo>
                    <a:pt x="13410" y="13448"/>
                    <a:pt x="13630" y="13915"/>
                    <a:pt x="13630" y="14102"/>
                  </a:cubicBezTo>
                  <a:cubicBezTo>
                    <a:pt x="13630" y="14288"/>
                    <a:pt x="13782" y="14537"/>
                    <a:pt x="13782" y="14656"/>
                  </a:cubicBezTo>
                  <a:cubicBezTo>
                    <a:pt x="13957" y="14772"/>
                    <a:pt x="14120" y="14976"/>
                    <a:pt x="14283" y="15106"/>
                  </a:cubicBezTo>
                  <a:cubicBezTo>
                    <a:pt x="14620" y="15229"/>
                    <a:pt x="14562" y="15498"/>
                    <a:pt x="14902" y="15675"/>
                  </a:cubicBezTo>
                  <a:cubicBezTo>
                    <a:pt x="14902" y="15861"/>
                    <a:pt x="15332" y="16061"/>
                    <a:pt x="15156" y="16111"/>
                  </a:cubicBezTo>
                  <a:cubicBezTo>
                    <a:pt x="15332" y="16161"/>
                    <a:pt x="15425" y="16373"/>
                    <a:pt x="15425" y="16574"/>
                  </a:cubicBezTo>
                  <a:cubicBezTo>
                    <a:pt x="15752" y="16769"/>
                    <a:pt x="15809" y="17113"/>
                    <a:pt x="16136" y="17322"/>
                  </a:cubicBezTo>
                  <a:cubicBezTo>
                    <a:pt x="16310" y="17537"/>
                    <a:pt x="16520" y="17694"/>
                    <a:pt x="16415" y="17694"/>
                  </a:cubicBezTo>
                  <a:cubicBezTo>
                    <a:pt x="16415" y="17680"/>
                    <a:pt x="16752" y="18108"/>
                    <a:pt x="17277" y="18633"/>
                  </a:cubicBezTo>
                  <a:cubicBezTo>
                    <a:pt x="17965" y="19153"/>
                    <a:pt x="18453" y="19610"/>
                    <a:pt x="18453" y="19646"/>
                  </a:cubicBezTo>
                  <a:cubicBezTo>
                    <a:pt x="18593" y="19678"/>
                    <a:pt x="18710" y="19911"/>
                    <a:pt x="19025" y="20153"/>
                  </a:cubicBezTo>
                  <a:cubicBezTo>
                    <a:pt x="19025" y="20399"/>
                    <a:pt x="19409" y="20661"/>
                    <a:pt x="19595" y="20730"/>
                  </a:cubicBezTo>
                  <a:cubicBezTo>
                    <a:pt x="19595" y="20804"/>
                    <a:pt x="19840" y="21012"/>
                    <a:pt x="20015" y="21192"/>
                  </a:cubicBezTo>
                  <a:cubicBezTo>
                    <a:pt x="20015" y="21376"/>
                    <a:pt x="20260" y="21447"/>
                    <a:pt x="20260" y="21352"/>
                  </a:cubicBezTo>
                  <a:cubicBezTo>
                    <a:pt x="20260" y="21258"/>
                    <a:pt x="20248" y="20958"/>
                    <a:pt x="19910" y="20693"/>
                  </a:cubicBezTo>
                  <a:cubicBezTo>
                    <a:pt x="19910" y="20424"/>
                    <a:pt x="19468" y="20327"/>
                    <a:pt x="19817" y="20458"/>
                  </a:cubicBezTo>
                  <a:cubicBezTo>
                    <a:pt x="19817" y="20596"/>
                    <a:pt x="20120" y="20545"/>
                    <a:pt x="19945" y="20350"/>
                  </a:cubicBezTo>
                  <a:cubicBezTo>
                    <a:pt x="19945" y="20152"/>
                    <a:pt x="19688" y="19706"/>
                    <a:pt x="19688" y="19358"/>
                  </a:cubicBezTo>
                  <a:cubicBezTo>
                    <a:pt x="19526" y="19011"/>
                    <a:pt x="19595" y="18710"/>
                    <a:pt x="19701" y="18695"/>
                  </a:cubicBezTo>
                  <a:cubicBezTo>
                    <a:pt x="19817" y="18686"/>
                    <a:pt x="19817" y="18760"/>
                    <a:pt x="20015" y="18872"/>
                  </a:cubicBezTo>
                  <a:cubicBezTo>
                    <a:pt x="20178" y="18985"/>
                    <a:pt x="20248" y="18950"/>
                    <a:pt x="20084" y="18794"/>
                  </a:cubicBezTo>
                  <a:cubicBezTo>
                    <a:pt x="20084" y="18637"/>
                    <a:pt x="20084" y="18532"/>
                    <a:pt x="20084" y="18564"/>
                  </a:cubicBezTo>
                  <a:cubicBezTo>
                    <a:pt x="20236" y="18585"/>
                    <a:pt x="20434" y="18793"/>
                    <a:pt x="20621" y="19010"/>
                  </a:cubicBezTo>
                  <a:cubicBezTo>
                    <a:pt x="20796" y="19229"/>
                    <a:pt x="20912" y="19354"/>
                    <a:pt x="21075" y="19303"/>
                  </a:cubicBezTo>
                  <a:cubicBezTo>
                    <a:pt x="21075" y="19250"/>
                    <a:pt x="21028" y="19299"/>
                    <a:pt x="21355" y="19393"/>
                  </a:cubicBezTo>
                  <a:cubicBezTo>
                    <a:pt x="21355" y="19498"/>
                    <a:pt x="21553" y="19534"/>
                    <a:pt x="21553" y="19476"/>
                  </a:cubicBezTo>
                  <a:cubicBezTo>
                    <a:pt x="21553" y="19415"/>
                    <a:pt x="21413" y="19239"/>
                    <a:pt x="21250" y="19080"/>
                  </a:cubicBezTo>
                  <a:cubicBezTo>
                    <a:pt x="21064" y="18922"/>
                    <a:pt x="21110" y="18687"/>
                    <a:pt x="20947" y="18562"/>
                  </a:cubicBezTo>
                  <a:cubicBezTo>
                    <a:pt x="20947" y="18435"/>
                    <a:pt x="20994" y="18361"/>
                    <a:pt x="21145" y="18383"/>
                  </a:cubicBezTo>
                  <a:cubicBezTo>
                    <a:pt x="21145" y="18417"/>
                    <a:pt x="21226" y="18170"/>
                    <a:pt x="21064" y="17844"/>
                  </a:cubicBezTo>
                  <a:cubicBezTo>
                    <a:pt x="20877" y="17519"/>
                    <a:pt x="20703" y="17156"/>
                    <a:pt x="20527" y="17041"/>
                  </a:cubicBezTo>
                  <a:cubicBezTo>
                    <a:pt x="20527" y="16923"/>
                    <a:pt x="20434" y="16751"/>
                    <a:pt x="20260" y="16661"/>
                  </a:cubicBezTo>
                  <a:cubicBezTo>
                    <a:pt x="20260" y="16570"/>
                    <a:pt x="19654" y="15847"/>
                    <a:pt x="18955" y="15053"/>
                  </a:cubicBezTo>
                  <a:cubicBezTo>
                    <a:pt x="18268" y="14260"/>
                    <a:pt x="17674" y="13595"/>
                    <a:pt x="17603" y="13595"/>
                  </a:cubicBezTo>
                  <a:cubicBezTo>
                    <a:pt x="17603" y="13585"/>
                    <a:pt x="17441" y="13640"/>
                    <a:pt x="17603" y="13702"/>
                  </a:cubicBezTo>
                  <a:cubicBezTo>
                    <a:pt x="17451" y="13768"/>
                    <a:pt x="17277" y="13631"/>
                    <a:pt x="17277" y="13387"/>
                  </a:cubicBezTo>
                  <a:cubicBezTo>
                    <a:pt x="16940" y="13149"/>
                    <a:pt x="16276" y="12340"/>
                    <a:pt x="15577" y="11597"/>
                  </a:cubicBezTo>
                  <a:cubicBezTo>
                    <a:pt x="14877" y="10855"/>
                    <a:pt x="14015" y="10098"/>
                    <a:pt x="13841" y="9913"/>
                  </a:cubicBezTo>
                  <a:cubicBezTo>
                    <a:pt x="13503" y="9731"/>
                    <a:pt x="12978" y="9201"/>
                    <a:pt x="12628" y="8739"/>
                  </a:cubicBezTo>
                  <a:cubicBezTo>
                    <a:pt x="12279" y="8277"/>
                    <a:pt x="10800" y="7213"/>
                    <a:pt x="9927" y="6359"/>
                  </a:cubicBezTo>
                  <a:cubicBezTo>
                    <a:pt x="8726" y="5513"/>
                    <a:pt x="7269" y="4275"/>
                    <a:pt x="6396" y="3618"/>
                  </a:cubicBezTo>
                  <a:cubicBezTo>
                    <a:pt x="5359" y="2963"/>
                    <a:pt x="4124" y="1799"/>
                    <a:pt x="3087" y="1050"/>
                  </a:cubicBezTo>
                  <a:cubicBezTo>
                    <a:pt x="2214" y="296"/>
                    <a:pt x="1259" y="-153"/>
                    <a:pt x="1433" y="47"/>
                  </a:cubicBezTo>
                  <a:cubicBezTo>
                    <a:pt x="1433" y="249"/>
                    <a:pt x="967" y="394"/>
                    <a:pt x="781" y="323"/>
                  </a:cubicBezTo>
                  <a:close/>
                  <a:moveTo>
                    <a:pt x="781" y="3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89" name="AutoShape 188"/>
            <p:cNvSpPr>
              <a:spLocks/>
            </p:cNvSpPr>
            <p:nvPr/>
          </p:nvSpPr>
          <p:spPr bwMode="auto">
            <a:xfrm>
              <a:off x="10617200" y="3975100"/>
              <a:ext cx="0" cy="7938"/>
            </a:xfrm>
            <a:custGeom>
              <a:avLst/>
              <a:gdLst/>
              <a:ahLst/>
              <a:cxnLst/>
              <a:rect l="0" t="0" r="r" b="b"/>
              <a:pathLst>
                <a:path w="20299" h="20828">
                  <a:moveTo>
                    <a:pt x="11304" y="8078"/>
                  </a:moveTo>
                  <a:cubicBezTo>
                    <a:pt x="4266" y="5097"/>
                    <a:pt x="2324" y="1582"/>
                    <a:pt x="2324" y="497"/>
                  </a:cubicBezTo>
                  <a:cubicBezTo>
                    <a:pt x="-1301" y="-451"/>
                    <a:pt x="398" y="-35"/>
                    <a:pt x="398" y="1685"/>
                  </a:cubicBezTo>
                  <a:cubicBezTo>
                    <a:pt x="398" y="3435"/>
                    <a:pt x="1369" y="6565"/>
                    <a:pt x="5009" y="8597"/>
                  </a:cubicBezTo>
                  <a:cubicBezTo>
                    <a:pt x="8392" y="10630"/>
                    <a:pt x="10591" y="14444"/>
                    <a:pt x="14232" y="16908"/>
                  </a:cubicBezTo>
                  <a:cubicBezTo>
                    <a:pt x="17857" y="19399"/>
                    <a:pt x="20299" y="21149"/>
                    <a:pt x="20299" y="20779"/>
                  </a:cubicBezTo>
                  <a:cubicBezTo>
                    <a:pt x="20299" y="20393"/>
                    <a:pt x="19086" y="18657"/>
                    <a:pt x="19086" y="16908"/>
                  </a:cubicBezTo>
                  <a:cubicBezTo>
                    <a:pt x="15202" y="15215"/>
                    <a:pt x="11304" y="11210"/>
                    <a:pt x="11304" y="8078"/>
                  </a:cubicBezTo>
                  <a:close/>
                  <a:moveTo>
                    <a:pt x="11304" y="80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0" name="AutoShape 189"/>
            <p:cNvSpPr>
              <a:spLocks/>
            </p:cNvSpPr>
            <p:nvPr/>
          </p:nvSpPr>
          <p:spPr bwMode="auto">
            <a:xfrm>
              <a:off x="10617200" y="3987800"/>
              <a:ext cx="0" cy="6350"/>
            </a:xfrm>
            <a:custGeom>
              <a:avLst/>
              <a:gdLst/>
              <a:ahLst/>
              <a:cxnLst/>
              <a:rect l="0" t="0" r="r" b="b"/>
              <a:pathLst>
                <a:path w="17996" h="20354">
                  <a:moveTo>
                    <a:pt x="15769" y="20138"/>
                  </a:moveTo>
                  <a:cubicBezTo>
                    <a:pt x="15769" y="19259"/>
                    <a:pt x="17731" y="18624"/>
                    <a:pt x="17731" y="18846"/>
                  </a:cubicBezTo>
                  <a:cubicBezTo>
                    <a:pt x="19203" y="18949"/>
                    <a:pt x="14052" y="16244"/>
                    <a:pt x="14052" y="12639"/>
                  </a:cubicBezTo>
                  <a:cubicBezTo>
                    <a:pt x="6709" y="9159"/>
                    <a:pt x="7430" y="4124"/>
                    <a:pt x="3735" y="1797"/>
                  </a:cubicBezTo>
                  <a:cubicBezTo>
                    <a:pt x="3735" y="-600"/>
                    <a:pt x="-2397" y="-564"/>
                    <a:pt x="1052" y="1695"/>
                  </a:cubicBezTo>
                  <a:cubicBezTo>
                    <a:pt x="1052" y="4004"/>
                    <a:pt x="1773" y="5798"/>
                    <a:pt x="1773" y="5607"/>
                  </a:cubicBezTo>
                  <a:cubicBezTo>
                    <a:pt x="2999" y="5607"/>
                    <a:pt x="1543" y="6469"/>
                    <a:pt x="1543" y="7849"/>
                  </a:cubicBezTo>
                  <a:cubicBezTo>
                    <a:pt x="1543" y="9208"/>
                    <a:pt x="2033" y="13035"/>
                    <a:pt x="9131" y="16054"/>
                  </a:cubicBezTo>
                  <a:cubicBezTo>
                    <a:pt x="9131" y="19210"/>
                    <a:pt x="15769" y="21000"/>
                    <a:pt x="15769" y="20138"/>
                  </a:cubicBezTo>
                  <a:close/>
                  <a:moveTo>
                    <a:pt x="15769" y="201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1" name="AutoShape 190"/>
            <p:cNvSpPr>
              <a:spLocks/>
            </p:cNvSpPr>
            <p:nvPr/>
          </p:nvSpPr>
          <p:spPr bwMode="auto">
            <a:xfrm>
              <a:off x="10617200" y="4013200"/>
              <a:ext cx="0" cy="4763"/>
            </a:xfrm>
            <a:custGeom>
              <a:avLst/>
              <a:gdLst/>
              <a:ahLst/>
              <a:cxnLst/>
              <a:rect l="0" t="0" r="r" b="b"/>
              <a:pathLst>
                <a:path w="18111" h="21111">
                  <a:moveTo>
                    <a:pt x="10801" y="15688"/>
                  </a:moveTo>
                  <a:cubicBezTo>
                    <a:pt x="10801" y="18816"/>
                    <a:pt x="19123" y="21111"/>
                    <a:pt x="18009" y="21111"/>
                  </a:cubicBezTo>
                  <a:cubicBezTo>
                    <a:pt x="18009" y="20973"/>
                    <a:pt x="18009" y="19356"/>
                    <a:pt x="18009" y="17444"/>
                  </a:cubicBezTo>
                  <a:cubicBezTo>
                    <a:pt x="12318" y="15665"/>
                    <a:pt x="17606" y="11100"/>
                    <a:pt x="11939" y="7704"/>
                  </a:cubicBezTo>
                  <a:cubicBezTo>
                    <a:pt x="11939" y="4258"/>
                    <a:pt x="2858" y="907"/>
                    <a:pt x="2858" y="120"/>
                  </a:cubicBezTo>
                  <a:cubicBezTo>
                    <a:pt x="-2477" y="-489"/>
                    <a:pt x="1293" y="1267"/>
                    <a:pt x="1293" y="4418"/>
                  </a:cubicBezTo>
                  <a:cubicBezTo>
                    <a:pt x="1293" y="7542"/>
                    <a:pt x="5869" y="12675"/>
                    <a:pt x="10801" y="15688"/>
                  </a:cubicBezTo>
                  <a:close/>
                  <a:moveTo>
                    <a:pt x="10801" y="156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2" name="AutoShape 191"/>
            <p:cNvSpPr>
              <a:spLocks/>
            </p:cNvSpPr>
            <p:nvPr/>
          </p:nvSpPr>
          <p:spPr bwMode="auto">
            <a:xfrm>
              <a:off x="10617200" y="4800600"/>
              <a:ext cx="14288" cy="117475"/>
            </a:xfrm>
            <a:custGeom>
              <a:avLst/>
              <a:gdLst/>
              <a:ahLst/>
              <a:cxnLst/>
              <a:rect l="0" t="0" r="r" b="b"/>
              <a:pathLst>
                <a:path w="21437" h="21526">
                  <a:moveTo>
                    <a:pt x="5504" y="11019"/>
                  </a:moveTo>
                  <a:cubicBezTo>
                    <a:pt x="5250" y="11116"/>
                    <a:pt x="4826" y="11462"/>
                    <a:pt x="4335" y="11787"/>
                  </a:cubicBezTo>
                  <a:cubicBezTo>
                    <a:pt x="4083" y="12117"/>
                    <a:pt x="3406" y="12532"/>
                    <a:pt x="3406" y="12724"/>
                  </a:cubicBezTo>
                  <a:cubicBezTo>
                    <a:pt x="3406" y="12913"/>
                    <a:pt x="2526" y="13394"/>
                    <a:pt x="2526" y="13805"/>
                  </a:cubicBezTo>
                  <a:cubicBezTo>
                    <a:pt x="2036" y="14205"/>
                    <a:pt x="1511" y="14875"/>
                    <a:pt x="1003" y="15281"/>
                  </a:cubicBezTo>
                  <a:cubicBezTo>
                    <a:pt x="513" y="15688"/>
                    <a:pt x="40" y="16250"/>
                    <a:pt x="40" y="16521"/>
                  </a:cubicBezTo>
                  <a:cubicBezTo>
                    <a:pt x="40" y="16796"/>
                    <a:pt x="-163" y="16852"/>
                    <a:pt x="343" y="16665"/>
                  </a:cubicBezTo>
                  <a:cubicBezTo>
                    <a:pt x="615" y="16469"/>
                    <a:pt x="1393" y="15821"/>
                    <a:pt x="1918" y="15223"/>
                  </a:cubicBezTo>
                  <a:cubicBezTo>
                    <a:pt x="2661" y="14622"/>
                    <a:pt x="3168" y="14006"/>
                    <a:pt x="3440" y="13850"/>
                  </a:cubicBezTo>
                  <a:cubicBezTo>
                    <a:pt x="3660" y="13690"/>
                    <a:pt x="4015" y="13274"/>
                    <a:pt x="4523" y="12925"/>
                  </a:cubicBezTo>
                  <a:cubicBezTo>
                    <a:pt x="5013" y="12570"/>
                    <a:pt x="5233" y="12204"/>
                    <a:pt x="5469" y="12123"/>
                  </a:cubicBezTo>
                  <a:cubicBezTo>
                    <a:pt x="5469" y="12033"/>
                    <a:pt x="5706" y="12094"/>
                    <a:pt x="5706" y="12245"/>
                  </a:cubicBezTo>
                  <a:cubicBezTo>
                    <a:pt x="5706" y="12399"/>
                    <a:pt x="5673" y="12764"/>
                    <a:pt x="5166" y="13051"/>
                  </a:cubicBezTo>
                  <a:cubicBezTo>
                    <a:pt x="5166" y="13342"/>
                    <a:pt x="4641" y="13631"/>
                    <a:pt x="4641" y="13703"/>
                  </a:cubicBezTo>
                  <a:cubicBezTo>
                    <a:pt x="4641" y="13771"/>
                    <a:pt x="4623" y="13758"/>
                    <a:pt x="4861" y="13676"/>
                  </a:cubicBezTo>
                  <a:cubicBezTo>
                    <a:pt x="4861" y="13591"/>
                    <a:pt x="5132" y="13581"/>
                    <a:pt x="5132" y="13651"/>
                  </a:cubicBezTo>
                  <a:cubicBezTo>
                    <a:pt x="5132" y="13721"/>
                    <a:pt x="5553" y="13577"/>
                    <a:pt x="5553" y="13324"/>
                  </a:cubicBezTo>
                  <a:cubicBezTo>
                    <a:pt x="5808" y="13076"/>
                    <a:pt x="6196" y="12796"/>
                    <a:pt x="6196" y="12699"/>
                  </a:cubicBezTo>
                  <a:cubicBezTo>
                    <a:pt x="6468" y="12606"/>
                    <a:pt x="6519" y="12552"/>
                    <a:pt x="6519" y="12586"/>
                  </a:cubicBezTo>
                  <a:cubicBezTo>
                    <a:pt x="6519" y="12622"/>
                    <a:pt x="6264" y="12792"/>
                    <a:pt x="6264" y="12967"/>
                  </a:cubicBezTo>
                  <a:cubicBezTo>
                    <a:pt x="6011" y="13141"/>
                    <a:pt x="6113" y="13261"/>
                    <a:pt x="6113" y="13223"/>
                  </a:cubicBezTo>
                  <a:cubicBezTo>
                    <a:pt x="6333" y="13193"/>
                    <a:pt x="6551" y="13272"/>
                    <a:pt x="6299" y="13408"/>
                  </a:cubicBezTo>
                  <a:cubicBezTo>
                    <a:pt x="6551" y="13543"/>
                    <a:pt x="6316" y="13663"/>
                    <a:pt x="6383" y="13663"/>
                  </a:cubicBezTo>
                  <a:cubicBezTo>
                    <a:pt x="6383" y="13667"/>
                    <a:pt x="6636" y="13509"/>
                    <a:pt x="6636" y="13311"/>
                  </a:cubicBezTo>
                  <a:cubicBezTo>
                    <a:pt x="6636" y="13117"/>
                    <a:pt x="6839" y="12850"/>
                    <a:pt x="7094" y="12724"/>
                  </a:cubicBezTo>
                  <a:cubicBezTo>
                    <a:pt x="7314" y="12599"/>
                    <a:pt x="7246" y="12392"/>
                    <a:pt x="7483" y="12279"/>
                  </a:cubicBezTo>
                  <a:cubicBezTo>
                    <a:pt x="7483" y="12164"/>
                    <a:pt x="7906" y="11961"/>
                    <a:pt x="7906" y="11832"/>
                  </a:cubicBezTo>
                  <a:cubicBezTo>
                    <a:pt x="8329" y="11715"/>
                    <a:pt x="8312" y="11588"/>
                    <a:pt x="8312" y="11577"/>
                  </a:cubicBezTo>
                  <a:cubicBezTo>
                    <a:pt x="8312" y="11566"/>
                    <a:pt x="8378" y="11724"/>
                    <a:pt x="8378" y="11922"/>
                  </a:cubicBezTo>
                  <a:cubicBezTo>
                    <a:pt x="8126" y="12119"/>
                    <a:pt x="8464" y="12297"/>
                    <a:pt x="8464" y="12324"/>
                  </a:cubicBezTo>
                  <a:cubicBezTo>
                    <a:pt x="8464" y="12351"/>
                    <a:pt x="8819" y="12518"/>
                    <a:pt x="8581" y="12699"/>
                  </a:cubicBezTo>
                  <a:cubicBezTo>
                    <a:pt x="8581" y="12884"/>
                    <a:pt x="8210" y="13214"/>
                    <a:pt x="8210" y="13439"/>
                  </a:cubicBezTo>
                  <a:cubicBezTo>
                    <a:pt x="7956" y="13663"/>
                    <a:pt x="7803" y="13997"/>
                    <a:pt x="7803" y="14182"/>
                  </a:cubicBezTo>
                  <a:cubicBezTo>
                    <a:pt x="7803" y="14372"/>
                    <a:pt x="7601" y="14471"/>
                    <a:pt x="7601" y="14408"/>
                  </a:cubicBezTo>
                  <a:cubicBezTo>
                    <a:pt x="7601" y="14349"/>
                    <a:pt x="7297" y="14349"/>
                    <a:pt x="7297" y="14417"/>
                  </a:cubicBezTo>
                  <a:cubicBezTo>
                    <a:pt x="7076" y="14480"/>
                    <a:pt x="6688" y="14656"/>
                    <a:pt x="6908" y="14792"/>
                  </a:cubicBezTo>
                  <a:cubicBezTo>
                    <a:pt x="6654" y="14929"/>
                    <a:pt x="6586" y="15189"/>
                    <a:pt x="6333" y="15358"/>
                  </a:cubicBezTo>
                  <a:cubicBezTo>
                    <a:pt x="6079" y="15527"/>
                    <a:pt x="5841" y="15778"/>
                    <a:pt x="5841" y="15918"/>
                  </a:cubicBezTo>
                  <a:cubicBezTo>
                    <a:pt x="5841" y="16058"/>
                    <a:pt x="5436" y="16336"/>
                    <a:pt x="5436" y="16543"/>
                  </a:cubicBezTo>
                  <a:cubicBezTo>
                    <a:pt x="5181" y="16751"/>
                    <a:pt x="5030" y="17065"/>
                    <a:pt x="4793" y="17243"/>
                  </a:cubicBezTo>
                  <a:cubicBezTo>
                    <a:pt x="4793" y="17424"/>
                    <a:pt x="4506" y="17758"/>
                    <a:pt x="4251" y="17986"/>
                  </a:cubicBezTo>
                  <a:cubicBezTo>
                    <a:pt x="4251" y="18218"/>
                    <a:pt x="4167" y="18591"/>
                    <a:pt x="3711" y="18807"/>
                  </a:cubicBezTo>
                  <a:cubicBezTo>
                    <a:pt x="3711" y="19026"/>
                    <a:pt x="3152" y="19417"/>
                    <a:pt x="3152" y="19679"/>
                  </a:cubicBezTo>
                  <a:cubicBezTo>
                    <a:pt x="3152" y="19941"/>
                    <a:pt x="3220" y="20130"/>
                    <a:pt x="3220" y="20085"/>
                  </a:cubicBezTo>
                  <a:cubicBezTo>
                    <a:pt x="3491" y="20067"/>
                    <a:pt x="3372" y="20171"/>
                    <a:pt x="3372" y="20356"/>
                  </a:cubicBezTo>
                  <a:cubicBezTo>
                    <a:pt x="3101" y="20536"/>
                    <a:pt x="3033" y="20769"/>
                    <a:pt x="3304" y="20839"/>
                  </a:cubicBezTo>
                  <a:cubicBezTo>
                    <a:pt x="3304" y="20925"/>
                    <a:pt x="3558" y="20866"/>
                    <a:pt x="3795" y="20713"/>
                  </a:cubicBezTo>
                  <a:cubicBezTo>
                    <a:pt x="3795" y="20557"/>
                    <a:pt x="4201" y="20309"/>
                    <a:pt x="4489" y="20164"/>
                  </a:cubicBezTo>
                  <a:cubicBezTo>
                    <a:pt x="4742" y="20015"/>
                    <a:pt x="5030" y="19798"/>
                    <a:pt x="5030" y="19677"/>
                  </a:cubicBezTo>
                  <a:cubicBezTo>
                    <a:pt x="5553" y="19575"/>
                    <a:pt x="5233" y="19541"/>
                    <a:pt x="5233" y="19643"/>
                  </a:cubicBezTo>
                  <a:cubicBezTo>
                    <a:pt x="5233" y="19742"/>
                    <a:pt x="4776" y="19959"/>
                    <a:pt x="4776" y="20130"/>
                  </a:cubicBezTo>
                  <a:cubicBezTo>
                    <a:pt x="4523" y="20293"/>
                    <a:pt x="4083" y="20629"/>
                    <a:pt x="4083" y="20868"/>
                  </a:cubicBezTo>
                  <a:cubicBezTo>
                    <a:pt x="3828" y="21110"/>
                    <a:pt x="3626" y="21385"/>
                    <a:pt x="3626" y="21482"/>
                  </a:cubicBezTo>
                  <a:cubicBezTo>
                    <a:pt x="3626" y="21575"/>
                    <a:pt x="3626" y="21516"/>
                    <a:pt x="3914" y="21358"/>
                  </a:cubicBezTo>
                  <a:cubicBezTo>
                    <a:pt x="3914" y="21191"/>
                    <a:pt x="4726" y="20634"/>
                    <a:pt x="5453" y="20114"/>
                  </a:cubicBezTo>
                  <a:cubicBezTo>
                    <a:pt x="6231" y="19602"/>
                    <a:pt x="6788" y="18952"/>
                    <a:pt x="7026" y="18674"/>
                  </a:cubicBezTo>
                  <a:cubicBezTo>
                    <a:pt x="7026" y="18394"/>
                    <a:pt x="7669" y="18044"/>
                    <a:pt x="7669" y="17889"/>
                  </a:cubicBezTo>
                  <a:cubicBezTo>
                    <a:pt x="7669" y="17737"/>
                    <a:pt x="8294" y="17338"/>
                    <a:pt x="8294" y="17001"/>
                  </a:cubicBezTo>
                  <a:cubicBezTo>
                    <a:pt x="8786" y="16670"/>
                    <a:pt x="8819" y="16270"/>
                    <a:pt x="8819" y="16121"/>
                  </a:cubicBezTo>
                  <a:cubicBezTo>
                    <a:pt x="8819" y="15977"/>
                    <a:pt x="8801" y="15663"/>
                    <a:pt x="9276" y="15451"/>
                  </a:cubicBezTo>
                  <a:cubicBezTo>
                    <a:pt x="9276" y="15223"/>
                    <a:pt x="10104" y="14541"/>
                    <a:pt x="10866" y="13931"/>
                  </a:cubicBezTo>
                  <a:cubicBezTo>
                    <a:pt x="11356" y="13322"/>
                    <a:pt x="12336" y="12724"/>
                    <a:pt x="12336" y="12595"/>
                  </a:cubicBezTo>
                  <a:cubicBezTo>
                    <a:pt x="12336" y="12469"/>
                    <a:pt x="12659" y="12570"/>
                    <a:pt x="12404" y="12810"/>
                  </a:cubicBezTo>
                  <a:cubicBezTo>
                    <a:pt x="12133" y="13053"/>
                    <a:pt x="12033" y="13469"/>
                    <a:pt x="11761" y="13726"/>
                  </a:cubicBezTo>
                  <a:cubicBezTo>
                    <a:pt x="11509" y="13983"/>
                    <a:pt x="11441" y="14351"/>
                    <a:pt x="11186" y="14536"/>
                  </a:cubicBezTo>
                  <a:cubicBezTo>
                    <a:pt x="10934" y="14721"/>
                    <a:pt x="11051" y="15083"/>
                    <a:pt x="10578" y="15320"/>
                  </a:cubicBezTo>
                  <a:cubicBezTo>
                    <a:pt x="10578" y="15561"/>
                    <a:pt x="9902" y="16080"/>
                    <a:pt x="9631" y="16466"/>
                  </a:cubicBezTo>
                  <a:cubicBezTo>
                    <a:pt x="9376" y="16857"/>
                    <a:pt x="8853" y="17315"/>
                    <a:pt x="8853" y="17487"/>
                  </a:cubicBezTo>
                  <a:cubicBezTo>
                    <a:pt x="8581" y="17658"/>
                    <a:pt x="8684" y="17647"/>
                    <a:pt x="8936" y="17460"/>
                  </a:cubicBezTo>
                  <a:cubicBezTo>
                    <a:pt x="9191" y="17275"/>
                    <a:pt x="9497" y="16873"/>
                    <a:pt x="9748" y="16577"/>
                  </a:cubicBezTo>
                  <a:cubicBezTo>
                    <a:pt x="10003" y="16281"/>
                    <a:pt x="10527" y="15726"/>
                    <a:pt x="10798" y="15349"/>
                  </a:cubicBezTo>
                  <a:cubicBezTo>
                    <a:pt x="11051" y="14972"/>
                    <a:pt x="11627" y="14527"/>
                    <a:pt x="11627" y="14360"/>
                  </a:cubicBezTo>
                  <a:cubicBezTo>
                    <a:pt x="11897" y="14198"/>
                    <a:pt x="11847" y="14015"/>
                    <a:pt x="12067" y="13983"/>
                  </a:cubicBezTo>
                  <a:cubicBezTo>
                    <a:pt x="12067" y="13943"/>
                    <a:pt x="12016" y="14044"/>
                    <a:pt x="12016" y="14205"/>
                  </a:cubicBezTo>
                  <a:cubicBezTo>
                    <a:pt x="12016" y="14369"/>
                    <a:pt x="11829" y="14369"/>
                    <a:pt x="12067" y="14205"/>
                  </a:cubicBezTo>
                  <a:cubicBezTo>
                    <a:pt x="12067" y="14042"/>
                    <a:pt x="12404" y="13909"/>
                    <a:pt x="12404" y="13902"/>
                  </a:cubicBezTo>
                  <a:cubicBezTo>
                    <a:pt x="12404" y="13909"/>
                    <a:pt x="12642" y="13593"/>
                    <a:pt x="13117" y="13223"/>
                  </a:cubicBezTo>
                  <a:cubicBezTo>
                    <a:pt x="13369" y="12850"/>
                    <a:pt x="14146" y="12202"/>
                    <a:pt x="14401" y="11776"/>
                  </a:cubicBezTo>
                  <a:cubicBezTo>
                    <a:pt x="14892" y="11349"/>
                    <a:pt x="15282" y="10809"/>
                    <a:pt x="15282" y="10575"/>
                  </a:cubicBezTo>
                  <a:cubicBezTo>
                    <a:pt x="15535" y="10342"/>
                    <a:pt x="15754" y="9981"/>
                    <a:pt x="15754" y="9776"/>
                  </a:cubicBezTo>
                  <a:cubicBezTo>
                    <a:pt x="16007" y="9574"/>
                    <a:pt x="16177" y="9157"/>
                    <a:pt x="16414" y="8861"/>
                  </a:cubicBezTo>
                  <a:cubicBezTo>
                    <a:pt x="16685" y="8561"/>
                    <a:pt x="16769" y="8064"/>
                    <a:pt x="17277" y="7762"/>
                  </a:cubicBezTo>
                  <a:cubicBezTo>
                    <a:pt x="17277" y="7683"/>
                    <a:pt x="17294" y="7620"/>
                    <a:pt x="17327" y="7568"/>
                  </a:cubicBezTo>
                  <a:cubicBezTo>
                    <a:pt x="17260" y="7557"/>
                    <a:pt x="17226" y="7439"/>
                    <a:pt x="17546" y="7234"/>
                  </a:cubicBezTo>
                  <a:cubicBezTo>
                    <a:pt x="17546" y="6909"/>
                    <a:pt x="18004" y="6516"/>
                    <a:pt x="18241" y="6353"/>
                  </a:cubicBezTo>
                  <a:cubicBezTo>
                    <a:pt x="18241" y="6186"/>
                    <a:pt x="18460" y="6053"/>
                    <a:pt x="18427" y="6053"/>
                  </a:cubicBezTo>
                  <a:cubicBezTo>
                    <a:pt x="18460" y="6053"/>
                    <a:pt x="18495" y="5911"/>
                    <a:pt x="18495" y="5732"/>
                  </a:cubicBezTo>
                  <a:cubicBezTo>
                    <a:pt x="18495" y="5554"/>
                    <a:pt x="18647" y="5286"/>
                    <a:pt x="18885" y="5141"/>
                  </a:cubicBezTo>
                  <a:cubicBezTo>
                    <a:pt x="18885" y="4990"/>
                    <a:pt x="19222" y="4877"/>
                    <a:pt x="19222" y="4888"/>
                  </a:cubicBezTo>
                  <a:cubicBezTo>
                    <a:pt x="19222" y="4902"/>
                    <a:pt x="19290" y="4628"/>
                    <a:pt x="19779" y="4292"/>
                  </a:cubicBezTo>
                  <a:cubicBezTo>
                    <a:pt x="19779" y="3953"/>
                    <a:pt x="20254" y="3455"/>
                    <a:pt x="20490" y="3184"/>
                  </a:cubicBezTo>
                  <a:cubicBezTo>
                    <a:pt x="20490" y="2914"/>
                    <a:pt x="21015" y="2527"/>
                    <a:pt x="21015" y="2323"/>
                  </a:cubicBezTo>
                  <a:cubicBezTo>
                    <a:pt x="21015" y="2117"/>
                    <a:pt x="21184" y="2094"/>
                    <a:pt x="20948" y="2262"/>
                  </a:cubicBezTo>
                  <a:cubicBezTo>
                    <a:pt x="20694" y="2431"/>
                    <a:pt x="20997" y="2379"/>
                    <a:pt x="20761" y="2146"/>
                  </a:cubicBezTo>
                  <a:cubicBezTo>
                    <a:pt x="20997" y="1911"/>
                    <a:pt x="20981" y="1498"/>
                    <a:pt x="20981" y="1230"/>
                  </a:cubicBezTo>
                  <a:cubicBezTo>
                    <a:pt x="20981" y="967"/>
                    <a:pt x="21320" y="570"/>
                    <a:pt x="21320" y="352"/>
                  </a:cubicBezTo>
                  <a:cubicBezTo>
                    <a:pt x="21320" y="133"/>
                    <a:pt x="21437" y="-24"/>
                    <a:pt x="21437" y="3"/>
                  </a:cubicBezTo>
                  <a:cubicBezTo>
                    <a:pt x="21437" y="35"/>
                    <a:pt x="21235" y="35"/>
                    <a:pt x="21235" y="3"/>
                  </a:cubicBezTo>
                  <a:cubicBezTo>
                    <a:pt x="21235" y="-25"/>
                    <a:pt x="20964" y="200"/>
                    <a:pt x="20728" y="504"/>
                  </a:cubicBezTo>
                  <a:cubicBezTo>
                    <a:pt x="20728" y="807"/>
                    <a:pt x="20220" y="1478"/>
                    <a:pt x="19730" y="1990"/>
                  </a:cubicBezTo>
                  <a:cubicBezTo>
                    <a:pt x="19730" y="2505"/>
                    <a:pt x="19104" y="3095"/>
                    <a:pt x="18850" y="3297"/>
                  </a:cubicBezTo>
                  <a:cubicBezTo>
                    <a:pt x="18612" y="3503"/>
                    <a:pt x="18460" y="3505"/>
                    <a:pt x="18697" y="3300"/>
                  </a:cubicBezTo>
                  <a:cubicBezTo>
                    <a:pt x="18951" y="3098"/>
                    <a:pt x="18697" y="2953"/>
                    <a:pt x="18697" y="2980"/>
                  </a:cubicBezTo>
                  <a:cubicBezTo>
                    <a:pt x="18697" y="3012"/>
                    <a:pt x="18647" y="3328"/>
                    <a:pt x="18123" y="3675"/>
                  </a:cubicBezTo>
                  <a:cubicBezTo>
                    <a:pt x="18123" y="4029"/>
                    <a:pt x="17682" y="4427"/>
                    <a:pt x="17412" y="4555"/>
                  </a:cubicBezTo>
                  <a:cubicBezTo>
                    <a:pt x="17174" y="4684"/>
                    <a:pt x="17209" y="4707"/>
                    <a:pt x="17209" y="4598"/>
                  </a:cubicBezTo>
                  <a:cubicBezTo>
                    <a:pt x="17209" y="4490"/>
                    <a:pt x="17125" y="4325"/>
                    <a:pt x="17125" y="4236"/>
                  </a:cubicBezTo>
                  <a:cubicBezTo>
                    <a:pt x="17125" y="4149"/>
                    <a:pt x="16685" y="4519"/>
                    <a:pt x="16177" y="5062"/>
                  </a:cubicBezTo>
                  <a:cubicBezTo>
                    <a:pt x="15687" y="5602"/>
                    <a:pt x="15315" y="6100"/>
                    <a:pt x="15315" y="6166"/>
                  </a:cubicBezTo>
                  <a:cubicBezTo>
                    <a:pt x="15315" y="6234"/>
                    <a:pt x="15230" y="6466"/>
                    <a:pt x="14976" y="6685"/>
                  </a:cubicBezTo>
                  <a:cubicBezTo>
                    <a:pt x="14722" y="6902"/>
                    <a:pt x="14366" y="7155"/>
                    <a:pt x="14366" y="7256"/>
                  </a:cubicBezTo>
                  <a:cubicBezTo>
                    <a:pt x="13927" y="7331"/>
                    <a:pt x="13911" y="7184"/>
                    <a:pt x="14417" y="6902"/>
                  </a:cubicBezTo>
                  <a:cubicBezTo>
                    <a:pt x="14417" y="6613"/>
                    <a:pt x="14266" y="6493"/>
                    <a:pt x="14266" y="6642"/>
                  </a:cubicBezTo>
                  <a:cubicBezTo>
                    <a:pt x="14266" y="6796"/>
                    <a:pt x="13554" y="7304"/>
                    <a:pt x="13031" y="7782"/>
                  </a:cubicBezTo>
                  <a:cubicBezTo>
                    <a:pt x="12524" y="8256"/>
                    <a:pt x="11948" y="8807"/>
                    <a:pt x="11677" y="8999"/>
                  </a:cubicBezTo>
                  <a:cubicBezTo>
                    <a:pt x="11221" y="9191"/>
                    <a:pt x="10781" y="9426"/>
                    <a:pt x="10781" y="9523"/>
                  </a:cubicBezTo>
                  <a:cubicBezTo>
                    <a:pt x="10611" y="9559"/>
                    <a:pt x="10391" y="9649"/>
                    <a:pt x="10206" y="9755"/>
                  </a:cubicBezTo>
                  <a:cubicBezTo>
                    <a:pt x="10189" y="9776"/>
                    <a:pt x="10171" y="9803"/>
                    <a:pt x="10139" y="9821"/>
                  </a:cubicBezTo>
                  <a:cubicBezTo>
                    <a:pt x="10104" y="9857"/>
                    <a:pt x="10071" y="9879"/>
                    <a:pt x="10036" y="9911"/>
                  </a:cubicBezTo>
                  <a:cubicBezTo>
                    <a:pt x="9936" y="9999"/>
                    <a:pt x="9816" y="10085"/>
                    <a:pt x="9816" y="10175"/>
                  </a:cubicBezTo>
                  <a:cubicBezTo>
                    <a:pt x="9394" y="10417"/>
                    <a:pt x="9596" y="10292"/>
                    <a:pt x="10036" y="9911"/>
                  </a:cubicBezTo>
                  <a:cubicBezTo>
                    <a:pt x="10104" y="9854"/>
                    <a:pt x="10122" y="9803"/>
                    <a:pt x="10206" y="9755"/>
                  </a:cubicBezTo>
                  <a:cubicBezTo>
                    <a:pt x="10697" y="9288"/>
                    <a:pt x="11186" y="8593"/>
                    <a:pt x="11677" y="8168"/>
                  </a:cubicBezTo>
                  <a:cubicBezTo>
                    <a:pt x="11677" y="7717"/>
                    <a:pt x="12354" y="7132"/>
                    <a:pt x="12354" y="6864"/>
                  </a:cubicBezTo>
                  <a:cubicBezTo>
                    <a:pt x="12354" y="6595"/>
                    <a:pt x="12389" y="6419"/>
                    <a:pt x="12151" y="6453"/>
                  </a:cubicBezTo>
                  <a:cubicBezTo>
                    <a:pt x="12151" y="6498"/>
                    <a:pt x="11373" y="6733"/>
                    <a:pt x="11373" y="6988"/>
                  </a:cubicBezTo>
                  <a:cubicBezTo>
                    <a:pt x="10866" y="7234"/>
                    <a:pt x="10611" y="7584"/>
                    <a:pt x="10342" y="7757"/>
                  </a:cubicBezTo>
                  <a:cubicBezTo>
                    <a:pt x="9884" y="7925"/>
                    <a:pt x="9783" y="8288"/>
                    <a:pt x="9309" y="8538"/>
                  </a:cubicBezTo>
                  <a:cubicBezTo>
                    <a:pt x="9309" y="8803"/>
                    <a:pt x="8853" y="9191"/>
                    <a:pt x="8616" y="9403"/>
                  </a:cubicBezTo>
                  <a:cubicBezTo>
                    <a:pt x="8378" y="9620"/>
                    <a:pt x="8126" y="9893"/>
                    <a:pt x="7871" y="10013"/>
                  </a:cubicBezTo>
                  <a:cubicBezTo>
                    <a:pt x="7583" y="10132"/>
                    <a:pt x="7143" y="10189"/>
                    <a:pt x="7143" y="10137"/>
                  </a:cubicBezTo>
                  <a:cubicBezTo>
                    <a:pt x="6874" y="10101"/>
                    <a:pt x="6704" y="10222"/>
                    <a:pt x="6451" y="10444"/>
                  </a:cubicBezTo>
                  <a:cubicBezTo>
                    <a:pt x="6196" y="10665"/>
                    <a:pt x="5741" y="10922"/>
                    <a:pt x="5504" y="11019"/>
                  </a:cubicBezTo>
                  <a:close/>
                  <a:moveTo>
                    <a:pt x="5504" y="110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3" name="AutoShape 192"/>
            <p:cNvSpPr>
              <a:spLocks/>
            </p:cNvSpPr>
            <p:nvPr/>
          </p:nvSpPr>
          <p:spPr bwMode="auto">
            <a:xfrm>
              <a:off x="10604500" y="4762500"/>
              <a:ext cx="14288" cy="92075"/>
            </a:xfrm>
            <a:custGeom>
              <a:avLst/>
              <a:gdLst/>
              <a:ahLst/>
              <a:cxnLst/>
              <a:rect l="0" t="0" r="r" b="b"/>
              <a:pathLst>
                <a:path w="21448" h="21454">
                  <a:moveTo>
                    <a:pt x="745" y="21058"/>
                  </a:moveTo>
                  <a:cubicBezTo>
                    <a:pt x="1258" y="20742"/>
                    <a:pt x="1596" y="20403"/>
                    <a:pt x="1951" y="20360"/>
                  </a:cubicBezTo>
                  <a:cubicBezTo>
                    <a:pt x="1951" y="20291"/>
                    <a:pt x="2962" y="20033"/>
                    <a:pt x="2962" y="19752"/>
                  </a:cubicBezTo>
                  <a:cubicBezTo>
                    <a:pt x="3457" y="19485"/>
                    <a:pt x="4256" y="19117"/>
                    <a:pt x="4256" y="18919"/>
                  </a:cubicBezTo>
                  <a:cubicBezTo>
                    <a:pt x="4824" y="18739"/>
                    <a:pt x="5427" y="18044"/>
                    <a:pt x="6207" y="17393"/>
                  </a:cubicBezTo>
                  <a:cubicBezTo>
                    <a:pt x="7004" y="16744"/>
                    <a:pt x="7893" y="16061"/>
                    <a:pt x="8158" y="15869"/>
                  </a:cubicBezTo>
                  <a:cubicBezTo>
                    <a:pt x="8690" y="15699"/>
                    <a:pt x="9257" y="15318"/>
                    <a:pt x="9524" y="15039"/>
                  </a:cubicBezTo>
                  <a:cubicBezTo>
                    <a:pt x="9789" y="14761"/>
                    <a:pt x="10144" y="14382"/>
                    <a:pt x="10392" y="14204"/>
                  </a:cubicBezTo>
                  <a:cubicBezTo>
                    <a:pt x="10392" y="14017"/>
                    <a:pt x="11262" y="13604"/>
                    <a:pt x="11262" y="13280"/>
                  </a:cubicBezTo>
                  <a:cubicBezTo>
                    <a:pt x="11757" y="12964"/>
                    <a:pt x="12237" y="12251"/>
                    <a:pt x="12485" y="11703"/>
                  </a:cubicBezTo>
                  <a:cubicBezTo>
                    <a:pt x="12750" y="11155"/>
                    <a:pt x="13282" y="10490"/>
                    <a:pt x="13584" y="10226"/>
                  </a:cubicBezTo>
                  <a:cubicBezTo>
                    <a:pt x="13869" y="9964"/>
                    <a:pt x="14417" y="9666"/>
                    <a:pt x="14844" y="9579"/>
                  </a:cubicBezTo>
                  <a:cubicBezTo>
                    <a:pt x="15305" y="9503"/>
                    <a:pt x="15607" y="9107"/>
                    <a:pt x="16121" y="8736"/>
                  </a:cubicBezTo>
                  <a:cubicBezTo>
                    <a:pt x="16121" y="8361"/>
                    <a:pt x="16706" y="7817"/>
                    <a:pt x="17238" y="7541"/>
                  </a:cubicBezTo>
                  <a:cubicBezTo>
                    <a:pt x="17238" y="7253"/>
                    <a:pt x="17964" y="6966"/>
                    <a:pt x="18213" y="6887"/>
                  </a:cubicBezTo>
                  <a:cubicBezTo>
                    <a:pt x="18213" y="6802"/>
                    <a:pt x="19083" y="6498"/>
                    <a:pt x="19083" y="6185"/>
                  </a:cubicBezTo>
                  <a:cubicBezTo>
                    <a:pt x="19631" y="5877"/>
                    <a:pt x="19508" y="5268"/>
                    <a:pt x="19776" y="4848"/>
                  </a:cubicBezTo>
                  <a:cubicBezTo>
                    <a:pt x="20022" y="4424"/>
                    <a:pt x="19952" y="3832"/>
                    <a:pt x="19952" y="3527"/>
                  </a:cubicBezTo>
                  <a:cubicBezTo>
                    <a:pt x="19952" y="3222"/>
                    <a:pt x="20305" y="2699"/>
                    <a:pt x="20305" y="2358"/>
                  </a:cubicBezTo>
                  <a:cubicBezTo>
                    <a:pt x="20572" y="2023"/>
                    <a:pt x="21086" y="1323"/>
                    <a:pt x="21086" y="802"/>
                  </a:cubicBezTo>
                  <a:cubicBezTo>
                    <a:pt x="21600" y="294"/>
                    <a:pt x="21477" y="-63"/>
                    <a:pt x="21264" y="9"/>
                  </a:cubicBezTo>
                  <a:cubicBezTo>
                    <a:pt x="21034" y="81"/>
                    <a:pt x="20661" y="609"/>
                    <a:pt x="20394" y="1177"/>
                  </a:cubicBezTo>
                  <a:cubicBezTo>
                    <a:pt x="20129" y="1742"/>
                    <a:pt x="19631" y="2626"/>
                    <a:pt x="19348" y="3138"/>
                  </a:cubicBezTo>
                  <a:cubicBezTo>
                    <a:pt x="19083" y="3655"/>
                    <a:pt x="18994" y="3952"/>
                    <a:pt x="18746" y="3809"/>
                  </a:cubicBezTo>
                  <a:cubicBezTo>
                    <a:pt x="18746" y="3662"/>
                    <a:pt x="18496" y="3814"/>
                    <a:pt x="18496" y="4153"/>
                  </a:cubicBezTo>
                  <a:cubicBezTo>
                    <a:pt x="18496" y="4482"/>
                    <a:pt x="18444" y="4970"/>
                    <a:pt x="18178" y="5229"/>
                  </a:cubicBezTo>
                  <a:cubicBezTo>
                    <a:pt x="18178" y="5492"/>
                    <a:pt x="17699" y="6013"/>
                    <a:pt x="17185" y="6387"/>
                  </a:cubicBezTo>
                  <a:cubicBezTo>
                    <a:pt x="16900" y="6772"/>
                    <a:pt x="16352" y="7065"/>
                    <a:pt x="16192" y="7065"/>
                  </a:cubicBezTo>
                  <a:cubicBezTo>
                    <a:pt x="16352" y="7065"/>
                    <a:pt x="15642" y="7389"/>
                    <a:pt x="15128" y="7792"/>
                  </a:cubicBezTo>
                  <a:cubicBezTo>
                    <a:pt x="14596" y="8191"/>
                    <a:pt x="14275" y="8758"/>
                    <a:pt x="14011" y="9029"/>
                  </a:cubicBezTo>
                  <a:cubicBezTo>
                    <a:pt x="13743" y="9303"/>
                    <a:pt x="13266" y="9725"/>
                    <a:pt x="13017" y="9972"/>
                  </a:cubicBezTo>
                  <a:cubicBezTo>
                    <a:pt x="12734" y="10219"/>
                    <a:pt x="11811" y="11073"/>
                    <a:pt x="11049" y="11874"/>
                  </a:cubicBezTo>
                  <a:cubicBezTo>
                    <a:pt x="10250" y="12668"/>
                    <a:pt x="9240" y="13791"/>
                    <a:pt x="8495" y="14348"/>
                  </a:cubicBezTo>
                  <a:cubicBezTo>
                    <a:pt x="7945" y="14907"/>
                    <a:pt x="7004" y="15415"/>
                    <a:pt x="6792" y="15481"/>
                  </a:cubicBezTo>
                  <a:cubicBezTo>
                    <a:pt x="6792" y="15559"/>
                    <a:pt x="5977" y="16032"/>
                    <a:pt x="5445" y="16552"/>
                  </a:cubicBezTo>
                  <a:cubicBezTo>
                    <a:pt x="4913" y="17074"/>
                    <a:pt x="4433" y="17576"/>
                    <a:pt x="4168" y="17659"/>
                  </a:cubicBezTo>
                  <a:cubicBezTo>
                    <a:pt x="4168" y="17754"/>
                    <a:pt x="3086" y="18414"/>
                    <a:pt x="2304" y="19152"/>
                  </a:cubicBezTo>
                  <a:cubicBezTo>
                    <a:pt x="1258" y="19878"/>
                    <a:pt x="708" y="20642"/>
                    <a:pt x="443" y="20831"/>
                  </a:cubicBezTo>
                  <a:cubicBezTo>
                    <a:pt x="443" y="21032"/>
                    <a:pt x="0" y="21287"/>
                    <a:pt x="0" y="21411"/>
                  </a:cubicBezTo>
                  <a:cubicBezTo>
                    <a:pt x="0" y="21537"/>
                    <a:pt x="176" y="21373"/>
                    <a:pt x="745" y="21058"/>
                  </a:cubicBezTo>
                  <a:close/>
                  <a:moveTo>
                    <a:pt x="745" y="210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4" name="AutoShape 193"/>
            <p:cNvSpPr>
              <a:spLocks/>
            </p:cNvSpPr>
            <p:nvPr/>
          </p:nvSpPr>
          <p:spPr bwMode="auto">
            <a:xfrm>
              <a:off x="10604500" y="4864100"/>
              <a:ext cx="0" cy="1588"/>
            </a:xfrm>
            <a:custGeom>
              <a:avLst/>
              <a:gdLst/>
              <a:ahLst/>
              <a:cxnLst/>
              <a:rect l="0" t="0" r="r" b="b"/>
              <a:pathLst>
                <a:path w="14812" h="18214">
                  <a:moveTo>
                    <a:pt x="13246" y="3683"/>
                  </a:moveTo>
                  <a:cubicBezTo>
                    <a:pt x="18970" y="-2173"/>
                    <a:pt x="7165" y="-1035"/>
                    <a:pt x="7165" y="7015"/>
                  </a:cubicBezTo>
                  <a:cubicBezTo>
                    <a:pt x="1034" y="14828"/>
                    <a:pt x="-2630" y="19427"/>
                    <a:pt x="2280" y="17933"/>
                  </a:cubicBezTo>
                  <a:cubicBezTo>
                    <a:pt x="7572" y="16436"/>
                    <a:pt x="13246" y="9769"/>
                    <a:pt x="13246" y="3683"/>
                  </a:cubicBezTo>
                  <a:close/>
                  <a:moveTo>
                    <a:pt x="13246" y="36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5" name="AutoShape 194"/>
            <p:cNvSpPr>
              <a:spLocks/>
            </p:cNvSpPr>
            <p:nvPr/>
          </p:nvSpPr>
          <p:spPr bwMode="auto">
            <a:xfrm>
              <a:off x="10617200" y="4787900"/>
              <a:ext cx="0" cy="6350"/>
            </a:xfrm>
            <a:custGeom>
              <a:avLst/>
              <a:gdLst/>
              <a:ahLst/>
              <a:cxnLst/>
              <a:rect l="0" t="0" r="r" b="b"/>
              <a:pathLst>
                <a:path w="18600" h="21121">
                  <a:moveTo>
                    <a:pt x="15685" y="1455"/>
                  </a:moveTo>
                  <a:cubicBezTo>
                    <a:pt x="11784" y="3296"/>
                    <a:pt x="12528" y="6225"/>
                    <a:pt x="9371" y="7643"/>
                  </a:cubicBezTo>
                  <a:cubicBezTo>
                    <a:pt x="9371" y="9133"/>
                    <a:pt x="1356" y="12741"/>
                    <a:pt x="1356" y="15724"/>
                  </a:cubicBezTo>
                  <a:cubicBezTo>
                    <a:pt x="-2287" y="18654"/>
                    <a:pt x="2813" y="21121"/>
                    <a:pt x="612" y="21121"/>
                  </a:cubicBezTo>
                  <a:cubicBezTo>
                    <a:pt x="2813" y="21121"/>
                    <a:pt x="6213" y="20661"/>
                    <a:pt x="8870" y="20234"/>
                  </a:cubicBezTo>
                  <a:cubicBezTo>
                    <a:pt x="8870" y="19665"/>
                    <a:pt x="16414" y="17252"/>
                    <a:pt x="16414" y="14619"/>
                  </a:cubicBezTo>
                  <a:cubicBezTo>
                    <a:pt x="16414" y="12025"/>
                    <a:pt x="18600" y="8782"/>
                    <a:pt x="18600" y="7459"/>
                  </a:cubicBezTo>
                  <a:cubicBezTo>
                    <a:pt x="18600" y="6151"/>
                    <a:pt x="18099" y="3371"/>
                    <a:pt x="18099" y="1417"/>
                  </a:cubicBezTo>
                  <a:cubicBezTo>
                    <a:pt x="18099" y="-479"/>
                    <a:pt x="19313" y="-479"/>
                    <a:pt x="15685" y="1455"/>
                  </a:cubicBezTo>
                  <a:close/>
                  <a:moveTo>
                    <a:pt x="15685" y="14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6" name="AutoShape 195"/>
            <p:cNvSpPr>
              <a:spLocks/>
            </p:cNvSpPr>
            <p:nvPr/>
          </p:nvSpPr>
          <p:spPr bwMode="auto">
            <a:xfrm>
              <a:off x="10604500" y="4864100"/>
              <a:ext cx="0" cy="1588"/>
            </a:xfrm>
            <a:custGeom>
              <a:avLst/>
              <a:gdLst/>
              <a:ahLst/>
              <a:cxnLst/>
              <a:rect l="0" t="0" r="r" b="b"/>
              <a:pathLst>
                <a:path w="14007" h="17395">
                  <a:moveTo>
                    <a:pt x="12872" y="7847"/>
                  </a:moveTo>
                  <a:cubicBezTo>
                    <a:pt x="12872" y="5"/>
                    <a:pt x="17740" y="-2196"/>
                    <a:pt x="7309" y="2320"/>
                  </a:cubicBezTo>
                  <a:cubicBezTo>
                    <a:pt x="-3860" y="6940"/>
                    <a:pt x="1095" y="13371"/>
                    <a:pt x="1095" y="16386"/>
                  </a:cubicBezTo>
                  <a:cubicBezTo>
                    <a:pt x="1095" y="19404"/>
                    <a:pt x="12872" y="15391"/>
                    <a:pt x="12872" y="7847"/>
                  </a:cubicBezTo>
                  <a:close/>
                  <a:moveTo>
                    <a:pt x="12872" y="78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7" name="AutoShape 196"/>
            <p:cNvSpPr>
              <a:spLocks/>
            </p:cNvSpPr>
            <p:nvPr/>
          </p:nvSpPr>
          <p:spPr bwMode="auto">
            <a:xfrm>
              <a:off x="10629900" y="4775200"/>
              <a:ext cx="0" cy="7938"/>
            </a:xfrm>
            <a:custGeom>
              <a:avLst/>
              <a:gdLst/>
              <a:ahLst/>
              <a:cxnLst/>
              <a:rect l="0" t="0" r="r" b="b"/>
              <a:pathLst>
                <a:path w="21600" h="20271">
                  <a:moveTo>
                    <a:pt x="16490" y="1251"/>
                  </a:moveTo>
                  <a:cubicBezTo>
                    <a:pt x="10684" y="2324"/>
                    <a:pt x="12774" y="6548"/>
                    <a:pt x="5806" y="10106"/>
                  </a:cubicBezTo>
                  <a:cubicBezTo>
                    <a:pt x="5806" y="13748"/>
                    <a:pt x="3237" y="18059"/>
                    <a:pt x="0" y="19613"/>
                  </a:cubicBezTo>
                  <a:cubicBezTo>
                    <a:pt x="0" y="21254"/>
                    <a:pt x="4877" y="19714"/>
                    <a:pt x="8129" y="16215"/>
                  </a:cubicBezTo>
                  <a:cubicBezTo>
                    <a:pt x="11613" y="12732"/>
                    <a:pt x="19031" y="8043"/>
                    <a:pt x="19031" y="5808"/>
                  </a:cubicBezTo>
                  <a:cubicBezTo>
                    <a:pt x="19031" y="3545"/>
                    <a:pt x="21600" y="1063"/>
                    <a:pt x="21600" y="338"/>
                  </a:cubicBezTo>
                  <a:cubicBezTo>
                    <a:pt x="21600" y="-346"/>
                    <a:pt x="16490" y="31"/>
                    <a:pt x="16490" y="1251"/>
                  </a:cubicBezTo>
                  <a:close/>
                  <a:moveTo>
                    <a:pt x="16490" y="12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8" name="AutoShape 197"/>
            <p:cNvSpPr>
              <a:spLocks/>
            </p:cNvSpPr>
            <p:nvPr/>
          </p:nvSpPr>
          <p:spPr bwMode="auto">
            <a:xfrm>
              <a:off x="10604500" y="4876800"/>
              <a:ext cx="0" cy="9525"/>
            </a:xfrm>
            <a:custGeom>
              <a:avLst/>
              <a:gdLst/>
              <a:ahLst/>
              <a:cxnLst/>
              <a:rect l="0" t="0" r="r" b="b"/>
              <a:pathLst>
                <a:path w="20161" h="21107">
                  <a:moveTo>
                    <a:pt x="10455" y="13656"/>
                  </a:moveTo>
                  <a:cubicBezTo>
                    <a:pt x="15481" y="9774"/>
                    <a:pt x="18329" y="5425"/>
                    <a:pt x="18329" y="4049"/>
                  </a:cubicBezTo>
                  <a:cubicBezTo>
                    <a:pt x="18329" y="2673"/>
                    <a:pt x="18151" y="954"/>
                    <a:pt x="20161" y="315"/>
                  </a:cubicBezTo>
                  <a:cubicBezTo>
                    <a:pt x="20161" y="-375"/>
                    <a:pt x="16486" y="93"/>
                    <a:pt x="13795" y="1493"/>
                  </a:cubicBezTo>
                  <a:cubicBezTo>
                    <a:pt x="11293" y="2843"/>
                    <a:pt x="7607" y="5647"/>
                    <a:pt x="5094" y="7710"/>
                  </a:cubicBezTo>
                  <a:cubicBezTo>
                    <a:pt x="2404" y="9824"/>
                    <a:pt x="1063" y="13805"/>
                    <a:pt x="1063" y="16482"/>
                  </a:cubicBezTo>
                  <a:cubicBezTo>
                    <a:pt x="-1439" y="19187"/>
                    <a:pt x="1063" y="21225"/>
                    <a:pt x="2582" y="21102"/>
                  </a:cubicBezTo>
                  <a:cubicBezTo>
                    <a:pt x="2582" y="20858"/>
                    <a:pt x="10455" y="17637"/>
                    <a:pt x="10455" y="13656"/>
                  </a:cubicBezTo>
                  <a:close/>
                  <a:moveTo>
                    <a:pt x="10455" y="136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99" name="AutoShape 198"/>
            <p:cNvSpPr>
              <a:spLocks/>
            </p:cNvSpPr>
            <p:nvPr/>
          </p:nvSpPr>
          <p:spPr bwMode="auto">
            <a:xfrm>
              <a:off x="10629900" y="4724400"/>
              <a:ext cx="0" cy="1588"/>
            </a:xfrm>
            <a:custGeom>
              <a:avLst/>
              <a:gdLst/>
              <a:ahLst/>
              <a:cxnLst/>
              <a:rect l="0" t="0" r="r" b="b"/>
              <a:pathLst>
                <a:path w="21600" h="18136">
                  <a:moveTo>
                    <a:pt x="0" y="18136"/>
                  </a:moveTo>
                  <a:cubicBezTo>
                    <a:pt x="15215" y="10751"/>
                    <a:pt x="21600" y="4530"/>
                    <a:pt x="21600" y="1554"/>
                  </a:cubicBezTo>
                  <a:cubicBezTo>
                    <a:pt x="21600" y="-3464"/>
                    <a:pt x="4211" y="4095"/>
                    <a:pt x="0" y="18136"/>
                  </a:cubicBezTo>
                  <a:close/>
                  <a:moveTo>
                    <a:pt x="0" y="1813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0" name="AutoShape 199"/>
            <p:cNvSpPr>
              <a:spLocks/>
            </p:cNvSpPr>
            <p:nvPr/>
          </p:nvSpPr>
          <p:spPr bwMode="auto">
            <a:xfrm>
              <a:off x="10629900" y="4724400"/>
              <a:ext cx="0" cy="15875"/>
            </a:xfrm>
            <a:custGeom>
              <a:avLst/>
              <a:gdLst/>
              <a:ahLst/>
              <a:cxnLst/>
              <a:rect l="0" t="0" r="r" b="b"/>
              <a:pathLst>
                <a:path w="20743" h="21206">
                  <a:moveTo>
                    <a:pt x="1101" y="21124"/>
                  </a:moveTo>
                  <a:cubicBezTo>
                    <a:pt x="1101" y="20608"/>
                    <a:pt x="6232" y="18167"/>
                    <a:pt x="8876" y="15628"/>
                  </a:cubicBezTo>
                  <a:cubicBezTo>
                    <a:pt x="11541" y="13106"/>
                    <a:pt x="15257" y="9623"/>
                    <a:pt x="15257" y="7915"/>
                  </a:cubicBezTo>
                  <a:cubicBezTo>
                    <a:pt x="15257" y="6215"/>
                    <a:pt x="18078" y="2933"/>
                    <a:pt x="20743" y="637"/>
                  </a:cubicBezTo>
                  <a:cubicBezTo>
                    <a:pt x="20743" y="394"/>
                    <a:pt x="20743" y="218"/>
                    <a:pt x="20743" y="0"/>
                  </a:cubicBezTo>
                  <a:cubicBezTo>
                    <a:pt x="19670" y="863"/>
                    <a:pt x="18443" y="1837"/>
                    <a:pt x="15965" y="2764"/>
                  </a:cubicBezTo>
                  <a:cubicBezTo>
                    <a:pt x="15965" y="4772"/>
                    <a:pt x="7117" y="7825"/>
                    <a:pt x="7117" y="9615"/>
                  </a:cubicBezTo>
                  <a:cubicBezTo>
                    <a:pt x="1808" y="11373"/>
                    <a:pt x="3036" y="14927"/>
                    <a:pt x="393" y="17449"/>
                  </a:cubicBezTo>
                  <a:cubicBezTo>
                    <a:pt x="393" y="19956"/>
                    <a:pt x="-857" y="21600"/>
                    <a:pt x="1101" y="21124"/>
                  </a:cubicBezTo>
                  <a:close/>
                  <a:moveTo>
                    <a:pt x="1101" y="211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1" name="AutoShape 200"/>
            <p:cNvSpPr>
              <a:spLocks/>
            </p:cNvSpPr>
            <p:nvPr/>
          </p:nvSpPr>
          <p:spPr bwMode="auto">
            <a:xfrm>
              <a:off x="10629900" y="4813300"/>
              <a:ext cx="0" cy="4763"/>
            </a:xfrm>
            <a:custGeom>
              <a:avLst/>
              <a:gdLst/>
              <a:ahLst/>
              <a:cxnLst/>
              <a:rect l="0" t="0" r="r" b="b"/>
              <a:pathLst>
                <a:path w="21315" h="20748">
                  <a:moveTo>
                    <a:pt x="5176" y="8805"/>
                  </a:moveTo>
                  <a:cubicBezTo>
                    <a:pt x="609" y="12126"/>
                    <a:pt x="0" y="16803"/>
                    <a:pt x="0" y="19092"/>
                  </a:cubicBezTo>
                  <a:cubicBezTo>
                    <a:pt x="0" y="21316"/>
                    <a:pt x="2112" y="21292"/>
                    <a:pt x="6394" y="19069"/>
                  </a:cubicBezTo>
                  <a:cubicBezTo>
                    <a:pt x="6394" y="16803"/>
                    <a:pt x="16728" y="12357"/>
                    <a:pt x="16728" y="9130"/>
                  </a:cubicBezTo>
                  <a:cubicBezTo>
                    <a:pt x="21600" y="5921"/>
                    <a:pt x="17642" y="2075"/>
                    <a:pt x="21315" y="954"/>
                  </a:cubicBezTo>
                  <a:cubicBezTo>
                    <a:pt x="21315" y="-284"/>
                    <a:pt x="20097" y="-261"/>
                    <a:pt x="16157" y="701"/>
                  </a:cubicBezTo>
                  <a:cubicBezTo>
                    <a:pt x="12465" y="1756"/>
                    <a:pt x="5176" y="5420"/>
                    <a:pt x="5176" y="8805"/>
                  </a:cubicBezTo>
                  <a:close/>
                  <a:moveTo>
                    <a:pt x="5176" y="88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2" name="AutoShape 201"/>
            <p:cNvSpPr>
              <a:spLocks/>
            </p:cNvSpPr>
            <p:nvPr/>
          </p:nvSpPr>
          <p:spPr bwMode="auto">
            <a:xfrm>
              <a:off x="10629900" y="4775200"/>
              <a:ext cx="4763" cy="52388"/>
            </a:xfrm>
            <a:custGeom>
              <a:avLst/>
              <a:gdLst/>
              <a:ahLst/>
              <a:cxnLst/>
              <a:rect l="0" t="0" r="r" b="b"/>
              <a:pathLst>
                <a:path w="21206" h="21394">
                  <a:moveTo>
                    <a:pt x="121" y="17071"/>
                  </a:moveTo>
                  <a:cubicBezTo>
                    <a:pt x="447" y="17089"/>
                    <a:pt x="1561" y="17430"/>
                    <a:pt x="915" y="17794"/>
                  </a:cubicBezTo>
                  <a:cubicBezTo>
                    <a:pt x="1561" y="18166"/>
                    <a:pt x="2449" y="18440"/>
                    <a:pt x="1980" y="18440"/>
                  </a:cubicBezTo>
                  <a:cubicBezTo>
                    <a:pt x="2402" y="18430"/>
                    <a:pt x="2309" y="18984"/>
                    <a:pt x="1657" y="19685"/>
                  </a:cubicBezTo>
                  <a:cubicBezTo>
                    <a:pt x="956" y="20383"/>
                    <a:pt x="-394" y="21156"/>
                    <a:pt x="726" y="21306"/>
                  </a:cubicBezTo>
                  <a:cubicBezTo>
                    <a:pt x="726" y="21505"/>
                    <a:pt x="1561" y="21355"/>
                    <a:pt x="2262" y="20971"/>
                  </a:cubicBezTo>
                  <a:cubicBezTo>
                    <a:pt x="3612" y="20607"/>
                    <a:pt x="4497" y="19832"/>
                    <a:pt x="4497" y="19278"/>
                  </a:cubicBezTo>
                  <a:cubicBezTo>
                    <a:pt x="5800" y="18744"/>
                    <a:pt x="6123" y="17687"/>
                    <a:pt x="6123" y="16964"/>
                  </a:cubicBezTo>
                  <a:cubicBezTo>
                    <a:pt x="7430" y="16245"/>
                    <a:pt x="7243" y="14672"/>
                    <a:pt x="8640" y="13502"/>
                  </a:cubicBezTo>
                  <a:cubicBezTo>
                    <a:pt x="9289" y="12332"/>
                    <a:pt x="12128" y="9931"/>
                    <a:pt x="13528" y="8160"/>
                  </a:cubicBezTo>
                  <a:cubicBezTo>
                    <a:pt x="15576" y="6404"/>
                    <a:pt x="16877" y="4444"/>
                    <a:pt x="18183" y="3833"/>
                  </a:cubicBezTo>
                  <a:cubicBezTo>
                    <a:pt x="18183" y="3215"/>
                    <a:pt x="20511" y="2302"/>
                    <a:pt x="20511" y="1798"/>
                  </a:cubicBezTo>
                  <a:cubicBezTo>
                    <a:pt x="20511" y="1294"/>
                    <a:pt x="21206" y="626"/>
                    <a:pt x="21206" y="314"/>
                  </a:cubicBezTo>
                  <a:cubicBezTo>
                    <a:pt x="21206" y="2"/>
                    <a:pt x="20461" y="-95"/>
                    <a:pt x="20461" y="102"/>
                  </a:cubicBezTo>
                  <a:cubicBezTo>
                    <a:pt x="20461" y="309"/>
                    <a:pt x="20185" y="324"/>
                    <a:pt x="19580" y="167"/>
                  </a:cubicBezTo>
                  <a:cubicBezTo>
                    <a:pt x="19580" y="7"/>
                    <a:pt x="18974" y="177"/>
                    <a:pt x="18183" y="546"/>
                  </a:cubicBezTo>
                  <a:cubicBezTo>
                    <a:pt x="17531" y="918"/>
                    <a:pt x="16272" y="1686"/>
                    <a:pt x="16272" y="2254"/>
                  </a:cubicBezTo>
                  <a:cubicBezTo>
                    <a:pt x="15576" y="2828"/>
                    <a:pt x="14785" y="3768"/>
                    <a:pt x="14133" y="4352"/>
                  </a:cubicBezTo>
                  <a:cubicBezTo>
                    <a:pt x="14133" y="4938"/>
                    <a:pt x="13106" y="6075"/>
                    <a:pt x="11709" y="6868"/>
                  </a:cubicBezTo>
                  <a:cubicBezTo>
                    <a:pt x="11061" y="7669"/>
                    <a:pt x="10499" y="8928"/>
                    <a:pt x="9103" y="9654"/>
                  </a:cubicBezTo>
                  <a:cubicBezTo>
                    <a:pt x="8407" y="10394"/>
                    <a:pt x="7101" y="11278"/>
                    <a:pt x="5800" y="11592"/>
                  </a:cubicBezTo>
                  <a:cubicBezTo>
                    <a:pt x="5800" y="11933"/>
                    <a:pt x="3100" y="12507"/>
                    <a:pt x="3100" y="12919"/>
                  </a:cubicBezTo>
                  <a:cubicBezTo>
                    <a:pt x="2353" y="13313"/>
                    <a:pt x="1561" y="14402"/>
                    <a:pt x="866" y="15330"/>
                  </a:cubicBezTo>
                  <a:cubicBezTo>
                    <a:pt x="165" y="16263"/>
                    <a:pt x="-208" y="17053"/>
                    <a:pt x="121" y="17071"/>
                  </a:cubicBezTo>
                  <a:close/>
                  <a:moveTo>
                    <a:pt x="121" y="170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3" name="AutoShape 202"/>
            <p:cNvSpPr>
              <a:spLocks/>
            </p:cNvSpPr>
            <p:nvPr/>
          </p:nvSpPr>
          <p:spPr bwMode="auto">
            <a:xfrm>
              <a:off x="10617200" y="4737100"/>
              <a:ext cx="0" cy="9525"/>
            </a:xfrm>
            <a:custGeom>
              <a:avLst/>
              <a:gdLst/>
              <a:ahLst/>
              <a:cxnLst/>
              <a:rect l="0" t="0" r="r" b="b"/>
              <a:pathLst>
                <a:path w="20103" h="20986">
                  <a:moveTo>
                    <a:pt x="4567" y="19312"/>
                  </a:moveTo>
                  <a:cubicBezTo>
                    <a:pt x="6761" y="19312"/>
                    <a:pt x="10304" y="19878"/>
                    <a:pt x="10304" y="20693"/>
                  </a:cubicBezTo>
                  <a:cubicBezTo>
                    <a:pt x="10304" y="21469"/>
                    <a:pt x="15198" y="20653"/>
                    <a:pt x="15198" y="18865"/>
                  </a:cubicBezTo>
                  <a:cubicBezTo>
                    <a:pt x="19923" y="17248"/>
                    <a:pt x="21273" y="14251"/>
                    <a:pt x="19079" y="12622"/>
                  </a:cubicBezTo>
                  <a:cubicBezTo>
                    <a:pt x="21600" y="11004"/>
                    <a:pt x="16369" y="9281"/>
                    <a:pt x="16369" y="8743"/>
                  </a:cubicBezTo>
                  <a:cubicBezTo>
                    <a:pt x="13173" y="8493"/>
                    <a:pt x="12498" y="6220"/>
                    <a:pt x="12498" y="4155"/>
                  </a:cubicBezTo>
                  <a:cubicBezTo>
                    <a:pt x="12498" y="2104"/>
                    <a:pt x="9123" y="356"/>
                    <a:pt x="9123" y="14"/>
                  </a:cubicBezTo>
                  <a:cubicBezTo>
                    <a:pt x="7256" y="-131"/>
                    <a:pt x="6265" y="868"/>
                    <a:pt x="3723" y="2276"/>
                  </a:cubicBezTo>
                  <a:cubicBezTo>
                    <a:pt x="1192" y="3695"/>
                    <a:pt x="3217" y="6863"/>
                    <a:pt x="517" y="9176"/>
                  </a:cubicBezTo>
                  <a:cubicBezTo>
                    <a:pt x="2869" y="11529"/>
                    <a:pt x="0" y="14789"/>
                    <a:pt x="0" y="16434"/>
                  </a:cubicBezTo>
                  <a:cubicBezTo>
                    <a:pt x="0" y="18036"/>
                    <a:pt x="2194" y="19312"/>
                    <a:pt x="4567" y="19312"/>
                  </a:cubicBezTo>
                  <a:close/>
                  <a:moveTo>
                    <a:pt x="4567" y="193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4" name="AutoShape 203"/>
            <p:cNvSpPr>
              <a:spLocks/>
            </p:cNvSpPr>
            <p:nvPr/>
          </p:nvSpPr>
          <p:spPr bwMode="auto">
            <a:xfrm>
              <a:off x="10629900" y="4838700"/>
              <a:ext cx="0" cy="0"/>
            </a:xfrm>
            <a:custGeom>
              <a:avLst/>
              <a:gdLst/>
              <a:ahLst/>
              <a:cxnLst/>
              <a:rect l="0" t="0" r="r" b="b"/>
              <a:pathLst>
                <a:path w="12941" h="15559">
                  <a:moveTo>
                    <a:pt x="0" y="15245"/>
                  </a:moveTo>
                  <a:cubicBezTo>
                    <a:pt x="2958" y="16266"/>
                    <a:pt x="5826" y="14980"/>
                    <a:pt x="5826" y="8549"/>
                  </a:cubicBezTo>
                  <a:cubicBezTo>
                    <a:pt x="21600" y="-5334"/>
                    <a:pt x="7260" y="-1749"/>
                    <a:pt x="0" y="15245"/>
                  </a:cubicBezTo>
                  <a:close/>
                  <a:moveTo>
                    <a:pt x="0" y="152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5" name="AutoShape 204"/>
            <p:cNvSpPr>
              <a:spLocks/>
            </p:cNvSpPr>
            <p:nvPr/>
          </p:nvSpPr>
          <p:spPr bwMode="auto">
            <a:xfrm>
              <a:off x="10629900" y="4686300"/>
              <a:ext cx="0" cy="4763"/>
            </a:xfrm>
            <a:custGeom>
              <a:avLst/>
              <a:gdLst/>
              <a:ahLst/>
              <a:cxnLst/>
              <a:rect l="0" t="0" r="r" b="b"/>
              <a:pathLst>
                <a:path w="19949" h="20469">
                  <a:moveTo>
                    <a:pt x="4889" y="18039"/>
                  </a:moveTo>
                  <a:cubicBezTo>
                    <a:pt x="9757" y="20358"/>
                    <a:pt x="15668" y="21192"/>
                    <a:pt x="15668" y="19772"/>
                  </a:cubicBezTo>
                  <a:cubicBezTo>
                    <a:pt x="20883" y="18453"/>
                    <a:pt x="21600" y="13192"/>
                    <a:pt x="16341" y="8430"/>
                  </a:cubicBezTo>
                  <a:cubicBezTo>
                    <a:pt x="16341" y="3605"/>
                    <a:pt x="8019" y="-408"/>
                    <a:pt x="8019" y="33"/>
                  </a:cubicBezTo>
                  <a:cubicBezTo>
                    <a:pt x="8019" y="469"/>
                    <a:pt x="0" y="3459"/>
                    <a:pt x="0" y="7070"/>
                  </a:cubicBezTo>
                  <a:cubicBezTo>
                    <a:pt x="0" y="10770"/>
                    <a:pt x="4889" y="15613"/>
                    <a:pt x="4889" y="18039"/>
                  </a:cubicBezTo>
                  <a:close/>
                  <a:moveTo>
                    <a:pt x="4889" y="180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6" name="AutoShape 205"/>
            <p:cNvSpPr>
              <a:spLocks/>
            </p:cNvSpPr>
            <p:nvPr/>
          </p:nvSpPr>
          <p:spPr bwMode="auto">
            <a:xfrm>
              <a:off x="10617200" y="4749800"/>
              <a:ext cx="0" cy="7938"/>
            </a:xfrm>
            <a:custGeom>
              <a:avLst/>
              <a:gdLst/>
              <a:ahLst/>
              <a:cxnLst/>
              <a:rect l="0" t="0" r="r" b="b"/>
              <a:pathLst>
                <a:path w="18634" h="20996">
                  <a:moveTo>
                    <a:pt x="6544" y="17667"/>
                  </a:moveTo>
                  <a:cubicBezTo>
                    <a:pt x="9630" y="16015"/>
                    <a:pt x="12936" y="13768"/>
                    <a:pt x="12936" y="12728"/>
                  </a:cubicBezTo>
                  <a:cubicBezTo>
                    <a:pt x="16021" y="11746"/>
                    <a:pt x="17123" y="8773"/>
                    <a:pt x="17123" y="6241"/>
                  </a:cubicBezTo>
                  <a:cubicBezTo>
                    <a:pt x="20650" y="3749"/>
                    <a:pt x="17330" y="919"/>
                    <a:pt x="14038" y="235"/>
                  </a:cubicBezTo>
                  <a:cubicBezTo>
                    <a:pt x="14038" y="-532"/>
                    <a:pt x="6764" y="649"/>
                    <a:pt x="6764" y="2797"/>
                  </a:cubicBezTo>
                  <a:cubicBezTo>
                    <a:pt x="6764" y="4959"/>
                    <a:pt x="1034" y="9968"/>
                    <a:pt x="1034" y="13966"/>
                  </a:cubicBezTo>
                  <a:cubicBezTo>
                    <a:pt x="1034" y="17964"/>
                    <a:pt x="-950" y="21068"/>
                    <a:pt x="579" y="20995"/>
                  </a:cubicBezTo>
                  <a:cubicBezTo>
                    <a:pt x="579" y="20768"/>
                    <a:pt x="3224" y="19317"/>
                    <a:pt x="6544" y="17667"/>
                  </a:cubicBezTo>
                  <a:close/>
                  <a:moveTo>
                    <a:pt x="6544" y="1766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7" name="AutoShape 206"/>
            <p:cNvSpPr>
              <a:spLocks/>
            </p:cNvSpPr>
            <p:nvPr/>
          </p:nvSpPr>
          <p:spPr bwMode="auto">
            <a:xfrm>
              <a:off x="10629900" y="4749800"/>
              <a:ext cx="4763" cy="41275"/>
            </a:xfrm>
            <a:custGeom>
              <a:avLst/>
              <a:gdLst/>
              <a:ahLst/>
              <a:cxnLst/>
              <a:rect l="0" t="0" r="r" b="b"/>
              <a:pathLst>
                <a:path w="21013" h="21284">
                  <a:moveTo>
                    <a:pt x="1512" y="20341"/>
                  </a:moveTo>
                  <a:cubicBezTo>
                    <a:pt x="2150" y="20001"/>
                    <a:pt x="3230" y="19224"/>
                    <a:pt x="3920" y="18604"/>
                  </a:cubicBezTo>
                  <a:cubicBezTo>
                    <a:pt x="4654" y="17990"/>
                    <a:pt x="5881" y="17466"/>
                    <a:pt x="6224" y="17466"/>
                  </a:cubicBezTo>
                  <a:cubicBezTo>
                    <a:pt x="6568" y="17466"/>
                    <a:pt x="6568" y="17217"/>
                    <a:pt x="7206" y="16967"/>
                  </a:cubicBezTo>
                  <a:cubicBezTo>
                    <a:pt x="7206" y="16714"/>
                    <a:pt x="7743" y="16462"/>
                    <a:pt x="8136" y="16440"/>
                  </a:cubicBezTo>
                  <a:cubicBezTo>
                    <a:pt x="8532" y="16440"/>
                    <a:pt x="8826" y="15938"/>
                    <a:pt x="9609" y="15405"/>
                  </a:cubicBezTo>
                  <a:cubicBezTo>
                    <a:pt x="9609" y="14866"/>
                    <a:pt x="11035" y="13733"/>
                    <a:pt x="12554" y="12911"/>
                  </a:cubicBezTo>
                  <a:cubicBezTo>
                    <a:pt x="13294" y="12066"/>
                    <a:pt x="15944" y="10706"/>
                    <a:pt x="15944" y="9858"/>
                  </a:cubicBezTo>
                  <a:cubicBezTo>
                    <a:pt x="17365" y="9032"/>
                    <a:pt x="17365" y="8028"/>
                    <a:pt x="18154" y="7686"/>
                  </a:cubicBezTo>
                  <a:cubicBezTo>
                    <a:pt x="18939" y="7343"/>
                    <a:pt x="19184" y="6510"/>
                    <a:pt x="19869" y="5858"/>
                  </a:cubicBezTo>
                  <a:cubicBezTo>
                    <a:pt x="19869" y="5194"/>
                    <a:pt x="20310" y="4231"/>
                    <a:pt x="21001" y="3716"/>
                  </a:cubicBezTo>
                  <a:cubicBezTo>
                    <a:pt x="21001" y="3190"/>
                    <a:pt x="21145" y="3031"/>
                    <a:pt x="20412" y="3355"/>
                  </a:cubicBezTo>
                  <a:cubicBezTo>
                    <a:pt x="19672" y="3676"/>
                    <a:pt x="18252" y="4483"/>
                    <a:pt x="18252" y="5147"/>
                  </a:cubicBezTo>
                  <a:cubicBezTo>
                    <a:pt x="17515" y="5802"/>
                    <a:pt x="17221" y="5799"/>
                    <a:pt x="17221" y="5138"/>
                  </a:cubicBezTo>
                  <a:cubicBezTo>
                    <a:pt x="17221" y="4471"/>
                    <a:pt x="17074" y="3835"/>
                    <a:pt x="17074" y="3726"/>
                  </a:cubicBezTo>
                  <a:cubicBezTo>
                    <a:pt x="16386" y="3638"/>
                    <a:pt x="16488" y="3670"/>
                    <a:pt x="15552" y="3729"/>
                  </a:cubicBezTo>
                  <a:cubicBezTo>
                    <a:pt x="15552" y="3875"/>
                    <a:pt x="14324" y="3944"/>
                    <a:pt x="14079" y="3944"/>
                  </a:cubicBezTo>
                  <a:cubicBezTo>
                    <a:pt x="13830" y="3931"/>
                    <a:pt x="14128" y="3666"/>
                    <a:pt x="14128" y="3349"/>
                  </a:cubicBezTo>
                  <a:cubicBezTo>
                    <a:pt x="14815" y="3046"/>
                    <a:pt x="14861" y="2603"/>
                    <a:pt x="14223" y="2432"/>
                  </a:cubicBezTo>
                  <a:cubicBezTo>
                    <a:pt x="14861" y="2257"/>
                    <a:pt x="14377" y="1524"/>
                    <a:pt x="13686" y="845"/>
                  </a:cubicBezTo>
                  <a:cubicBezTo>
                    <a:pt x="14377" y="165"/>
                    <a:pt x="12358" y="-178"/>
                    <a:pt x="12358" y="93"/>
                  </a:cubicBezTo>
                  <a:cubicBezTo>
                    <a:pt x="11081" y="330"/>
                    <a:pt x="11134" y="991"/>
                    <a:pt x="10397" y="1465"/>
                  </a:cubicBezTo>
                  <a:cubicBezTo>
                    <a:pt x="9661" y="1948"/>
                    <a:pt x="10348" y="2532"/>
                    <a:pt x="10348" y="2772"/>
                  </a:cubicBezTo>
                  <a:cubicBezTo>
                    <a:pt x="10348" y="3006"/>
                    <a:pt x="11379" y="3236"/>
                    <a:pt x="11379" y="3314"/>
                  </a:cubicBezTo>
                  <a:cubicBezTo>
                    <a:pt x="11772" y="3361"/>
                    <a:pt x="10885" y="4037"/>
                    <a:pt x="10885" y="4780"/>
                  </a:cubicBezTo>
                  <a:cubicBezTo>
                    <a:pt x="10885" y="5512"/>
                    <a:pt x="9020" y="6709"/>
                    <a:pt x="9020" y="7449"/>
                  </a:cubicBezTo>
                  <a:cubicBezTo>
                    <a:pt x="8332" y="8187"/>
                    <a:pt x="7894" y="9871"/>
                    <a:pt x="6421" y="11171"/>
                  </a:cubicBezTo>
                  <a:cubicBezTo>
                    <a:pt x="6421" y="12496"/>
                    <a:pt x="4160" y="14332"/>
                    <a:pt x="3426" y="15277"/>
                  </a:cubicBezTo>
                  <a:cubicBezTo>
                    <a:pt x="2003" y="16197"/>
                    <a:pt x="2248" y="18021"/>
                    <a:pt x="775" y="19277"/>
                  </a:cubicBezTo>
                  <a:cubicBezTo>
                    <a:pt x="775" y="20552"/>
                    <a:pt x="-455" y="21422"/>
                    <a:pt x="183" y="21266"/>
                  </a:cubicBezTo>
                  <a:cubicBezTo>
                    <a:pt x="775" y="21114"/>
                    <a:pt x="1512" y="20687"/>
                    <a:pt x="1512" y="20341"/>
                  </a:cubicBezTo>
                  <a:close/>
                  <a:moveTo>
                    <a:pt x="1512" y="203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8" name="AutoShape 207"/>
            <p:cNvSpPr>
              <a:spLocks/>
            </p:cNvSpPr>
            <p:nvPr/>
          </p:nvSpPr>
          <p:spPr bwMode="auto">
            <a:xfrm>
              <a:off x="10629900" y="4711700"/>
              <a:ext cx="0" cy="9525"/>
            </a:xfrm>
            <a:custGeom>
              <a:avLst/>
              <a:gdLst/>
              <a:ahLst/>
              <a:cxnLst/>
              <a:rect l="0" t="0" r="r" b="b"/>
              <a:pathLst>
                <a:path w="17524" h="20228">
                  <a:moveTo>
                    <a:pt x="10840" y="45"/>
                  </a:moveTo>
                  <a:cubicBezTo>
                    <a:pt x="6312" y="278"/>
                    <a:pt x="3190" y="2215"/>
                    <a:pt x="3190" y="4035"/>
                  </a:cubicBezTo>
                  <a:cubicBezTo>
                    <a:pt x="3190" y="5894"/>
                    <a:pt x="40" y="10815"/>
                    <a:pt x="40" y="14998"/>
                  </a:cubicBezTo>
                  <a:cubicBezTo>
                    <a:pt x="40" y="19128"/>
                    <a:pt x="-860" y="21259"/>
                    <a:pt x="5890" y="19736"/>
                  </a:cubicBezTo>
                  <a:cubicBezTo>
                    <a:pt x="5890" y="18197"/>
                    <a:pt x="7690" y="15447"/>
                    <a:pt x="13962" y="13678"/>
                  </a:cubicBezTo>
                  <a:cubicBezTo>
                    <a:pt x="20740" y="11912"/>
                    <a:pt x="15762" y="7935"/>
                    <a:pt x="15762" y="4873"/>
                  </a:cubicBezTo>
                  <a:cubicBezTo>
                    <a:pt x="15762" y="1840"/>
                    <a:pt x="10840" y="-341"/>
                    <a:pt x="10840" y="45"/>
                  </a:cubicBezTo>
                  <a:close/>
                  <a:moveTo>
                    <a:pt x="10840" y="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09" name="AutoShape 208"/>
            <p:cNvSpPr>
              <a:spLocks/>
            </p:cNvSpPr>
            <p:nvPr/>
          </p:nvSpPr>
          <p:spPr bwMode="auto">
            <a:xfrm>
              <a:off x="10629900" y="4787900"/>
              <a:ext cx="1588" cy="15875"/>
            </a:xfrm>
            <a:custGeom>
              <a:avLst/>
              <a:gdLst/>
              <a:ahLst/>
              <a:cxnLst/>
              <a:rect l="0" t="0" r="r" b="b"/>
              <a:pathLst>
                <a:path w="20141" h="21264">
                  <a:moveTo>
                    <a:pt x="13734" y="12443"/>
                  </a:moveTo>
                  <a:cubicBezTo>
                    <a:pt x="13734" y="11109"/>
                    <a:pt x="14673" y="8384"/>
                    <a:pt x="17906" y="6462"/>
                  </a:cubicBezTo>
                  <a:cubicBezTo>
                    <a:pt x="17906" y="4487"/>
                    <a:pt x="20097" y="2162"/>
                    <a:pt x="20097" y="1332"/>
                  </a:cubicBezTo>
                  <a:cubicBezTo>
                    <a:pt x="20097" y="464"/>
                    <a:pt x="20410" y="-69"/>
                    <a:pt x="19360" y="8"/>
                  </a:cubicBezTo>
                  <a:cubicBezTo>
                    <a:pt x="19360" y="163"/>
                    <a:pt x="15090" y="2022"/>
                    <a:pt x="13519" y="4299"/>
                  </a:cubicBezTo>
                  <a:cubicBezTo>
                    <a:pt x="10291" y="6508"/>
                    <a:pt x="5701" y="9655"/>
                    <a:pt x="5701" y="11305"/>
                  </a:cubicBezTo>
                  <a:cubicBezTo>
                    <a:pt x="2363" y="12861"/>
                    <a:pt x="799" y="15240"/>
                    <a:pt x="2363" y="16395"/>
                  </a:cubicBezTo>
                  <a:cubicBezTo>
                    <a:pt x="2363" y="17564"/>
                    <a:pt x="590" y="19239"/>
                    <a:pt x="590" y="20129"/>
                  </a:cubicBezTo>
                  <a:cubicBezTo>
                    <a:pt x="-1190" y="21020"/>
                    <a:pt x="1627" y="21531"/>
                    <a:pt x="1627" y="21120"/>
                  </a:cubicBezTo>
                  <a:cubicBezTo>
                    <a:pt x="3824" y="20873"/>
                    <a:pt x="4756" y="19153"/>
                    <a:pt x="7781" y="17650"/>
                  </a:cubicBezTo>
                  <a:cubicBezTo>
                    <a:pt x="10911" y="16154"/>
                    <a:pt x="10604" y="13705"/>
                    <a:pt x="13734" y="12443"/>
                  </a:cubicBezTo>
                  <a:close/>
                  <a:moveTo>
                    <a:pt x="13734" y="124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0" name="AutoShape 209"/>
            <p:cNvSpPr>
              <a:spLocks/>
            </p:cNvSpPr>
            <p:nvPr/>
          </p:nvSpPr>
          <p:spPr bwMode="auto">
            <a:xfrm>
              <a:off x="10629900" y="4762500"/>
              <a:ext cx="4763" cy="47625"/>
            </a:xfrm>
            <a:custGeom>
              <a:avLst/>
              <a:gdLst/>
              <a:ahLst/>
              <a:cxnLst/>
              <a:rect l="0" t="0" r="r" b="b"/>
              <a:pathLst>
                <a:path w="20619" h="21304">
                  <a:moveTo>
                    <a:pt x="16791" y="5087"/>
                  </a:moveTo>
                  <a:cubicBezTo>
                    <a:pt x="17548" y="4664"/>
                    <a:pt x="17883" y="3272"/>
                    <a:pt x="19260" y="2011"/>
                  </a:cubicBezTo>
                  <a:cubicBezTo>
                    <a:pt x="19969" y="739"/>
                    <a:pt x="21156" y="-122"/>
                    <a:pt x="20349" y="15"/>
                  </a:cubicBezTo>
                  <a:cubicBezTo>
                    <a:pt x="20349" y="196"/>
                    <a:pt x="19307" y="1327"/>
                    <a:pt x="17883" y="2539"/>
                  </a:cubicBezTo>
                  <a:cubicBezTo>
                    <a:pt x="17883" y="3767"/>
                    <a:pt x="15367" y="5621"/>
                    <a:pt x="13942" y="6676"/>
                  </a:cubicBezTo>
                  <a:cubicBezTo>
                    <a:pt x="12565" y="7735"/>
                    <a:pt x="10663" y="9233"/>
                    <a:pt x="10663" y="10018"/>
                  </a:cubicBezTo>
                  <a:cubicBezTo>
                    <a:pt x="10001" y="10789"/>
                    <a:pt x="9194" y="12227"/>
                    <a:pt x="7770" y="13203"/>
                  </a:cubicBezTo>
                  <a:cubicBezTo>
                    <a:pt x="7058" y="14193"/>
                    <a:pt x="5301" y="15541"/>
                    <a:pt x="4538" y="16208"/>
                  </a:cubicBezTo>
                  <a:cubicBezTo>
                    <a:pt x="3829" y="16879"/>
                    <a:pt x="1927" y="18000"/>
                    <a:pt x="1927" y="18697"/>
                  </a:cubicBezTo>
                  <a:cubicBezTo>
                    <a:pt x="503" y="19375"/>
                    <a:pt x="930" y="20406"/>
                    <a:pt x="268" y="20942"/>
                  </a:cubicBezTo>
                  <a:cubicBezTo>
                    <a:pt x="-444" y="21478"/>
                    <a:pt x="411" y="21412"/>
                    <a:pt x="1120" y="20791"/>
                  </a:cubicBezTo>
                  <a:cubicBezTo>
                    <a:pt x="1835" y="20171"/>
                    <a:pt x="3541" y="18481"/>
                    <a:pt x="4966" y="17051"/>
                  </a:cubicBezTo>
                  <a:cubicBezTo>
                    <a:pt x="6346" y="15615"/>
                    <a:pt x="8432" y="13529"/>
                    <a:pt x="9856" y="12429"/>
                  </a:cubicBezTo>
                  <a:cubicBezTo>
                    <a:pt x="10524" y="11311"/>
                    <a:pt x="12755" y="9873"/>
                    <a:pt x="13464" y="9206"/>
                  </a:cubicBezTo>
                  <a:cubicBezTo>
                    <a:pt x="14180" y="8547"/>
                    <a:pt x="14559" y="7518"/>
                    <a:pt x="15272" y="6930"/>
                  </a:cubicBezTo>
                  <a:cubicBezTo>
                    <a:pt x="15933" y="6342"/>
                    <a:pt x="16079" y="5503"/>
                    <a:pt x="16791" y="5087"/>
                  </a:cubicBezTo>
                  <a:close/>
                  <a:moveTo>
                    <a:pt x="16791" y="50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1" name="AutoShape 210"/>
            <p:cNvSpPr>
              <a:spLocks/>
            </p:cNvSpPr>
            <p:nvPr/>
          </p:nvSpPr>
          <p:spPr bwMode="auto">
            <a:xfrm>
              <a:off x="10629900" y="4813300"/>
              <a:ext cx="0" cy="6350"/>
            </a:xfrm>
            <a:custGeom>
              <a:avLst/>
              <a:gdLst/>
              <a:ahLst/>
              <a:cxnLst/>
              <a:rect l="0" t="0" r="r" b="b"/>
              <a:pathLst>
                <a:path w="21600" h="19634">
                  <a:moveTo>
                    <a:pt x="4412" y="10778"/>
                  </a:moveTo>
                  <a:cubicBezTo>
                    <a:pt x="4412" y="13455"/>
                    <a:pt x="0" y="17126"/>
                    <a:pt x="0" y="18935"/>
                  </a:cubicBezTo>
                  <a:cubicBezTo>
                    <a:pt x="0" y="20741"/>
                    <a:pt x="2972" y="18916"/>
                    <a:pt x="10294" y="14959"/>
                  </a:cubicBezTo>
                  <a:cubicBezTo>
                    <a:pt x="10294" y="11005"/>
                    <a:pt x="21600" y="5374"/>
                    <a:pt x="21600" y="2492"/>
                  </a:cubicBezTo>
                  <a:cubicBezTo>
                    <a:pt x="21600" y="-408"/>
                    <a:pt x="16208" y="-859"/>
                    <a:pt x="16208" y="1571"/>
                  </a:cubicBezTo>
                  <a:cubicBezTo>
                    <a:pt x="8824" y="3885"/>
                    <a:pt x="11306" y="8086"/>
                    <a:pt x="4412" y="10778"/>
                  </a:cubicBezTo>
                  <a:close/>
                  <a:moveTo>
                    <a:pt x="4412" y="107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2" name="AutoShape 211"/>
            <p:cNvSpPr>
              <a:spLocks/>
            </p:cNvSpPr>
            <p:nvPr/>
          </p:nvSpPr>
          <p:spPr bwMode="auto">
            <a:xfrm>
              <a:off x="10629900" y="4724400"/>
              <a:ext cx="1588" cy="19050"/>
            </a:xfrm>
            <a:custGeom>
              <a:avLst/>
              <a:gdLst/>
              <a:ahLst/>
              <a:cxnLst/>
              <a:rect l="0" t="0" r="r" b="b"/>
              <a:pathLst>
                <a:path w="19621" h="21205">
                  <a:moveTo>
                    <a:pt x="13979" y="44"/>
                  </a:moveTo>
                  <a:cubicBezTo>
                    <a:pt x="13979" y="-257"/>
                    <a:pt x="10950" y="1003"/>
                    <a:pt x="10950" y="2817"/>
                  </a:cubicBezTo>
                  <a:cubicBezTo>
                    <a:pt x="7680" y="4605"/>
                    <a:pt x="7906" y="7207"/>
                    <a:pt x="7906" y="8563"/>
                  </a:cubicBezTo>
                  <a:cubicBezTo>
                    <a:pt x="7906" y="9879"/>
                    <a:pt x="4986" y="11528"/>
                    <a:pt x="4986" y="12234"/>
                  </a:cubicBezTo>
                  <a:cubicBezTo>
                    <a:pt x="3241" y="12912"/>
                    <a:pt x="2307" y="14288"/>
                    <a:pt x="2307" y="15240"/>
                  </a:cubicBezTo>
                  <a:cubicBezTo>
                    <a:pt x="2307" y="16227"/>
                    <a:pt x="431" y="17788"/>
                    <a:pt x="431" y="18726"/>
                  </a:cubicBezTo>
                  <a:cubicBezTo>
                    <a:pt x="-1197" y="19650"/>
                    <a:pt x="2190" y="18562"/>
                    <a:pt x="3935" y="16254"/>
                  </a:cubicBezTo>
                  <a:cubicBezTo>
                    <a:pt x="5811" y="13925"/>
                    <a:pt x="9782" y="11891"/>
                    <a:pt x="9782" y="11645"/>
                  </a:cubicBezTo>
                  <a:cubicBezTo>
                    <a:pt x="11410" y="11473"/>
                    <a:pt x="10950" y="13015"/>
                    <a:pt x="10950" y="15172"/>
                  </a:cubicBezTo>
                  <a:cubicBezTo>
                    <a:pt x="10950" y="17343"/>
                    <a:pt x="10015" y="19699"/>
                    <a:pt x="11651" y="20348"/>
                  </a:cubicBezTo>
                  <a:cubicBezTo>
                    <a:pt x="13519" y="21006"/>
                    <a:pt x="13169" y="21343"/>
                    <a:pt x="14687" y="21151"/>
                  </a:cubicBezTo>
                  <a:cubicBezTo>
                    <a:pt x="14687" y="20876"/>
                    <a:pt x="17490" y="19856"/>
                    <a:pt x="17490" y="18816"/>
                  </a:cubicBezTo>
                  <a:cubicBezTo>
                    <a:pt x="17490" y="17794"/>
                    <a:pt x="19242" y="15980"/>
                    <a:pt x="19242" y="14761"/>
                  </a:cubicBezTo>
                  <a:cubicBezTo>
                    <a:pt x="19242" y="13521"/>
                    <a:pt x="20403" y="11316"/>
                    <a:pt x="18658" y="9858"/>
                  </a:cubicBezTo>
                  <a:cubicBezTo>
                    <a:pt x="18658" y="8406"/>
                    <a:pt x="16432" y="7112"/>
                    <a:pt x="16432" y="6955"/>
                  </a:cubicBezTo>
                  <a:cubicBezTo>
                    <a:pt x="16432" y="6817"/>
                    <a:pt x="15271" y="5694"/>
                    <a:pt x="15271" y="4461"/>
                  </a:cubicBezTo>
                  <a:cubicBezTo>
                    <a:pt x="15271" y="3201"/>
                    <a:pt x="14220" y="2242"/>
                    <a:pt x="14220" y="2365"/>
                  </a:cubicBezTo>
                  <a:cubicBezTo>
                    <a:pt x="15154" y="2365"/>
                    <a:pt x="14220" y="2092"/>
                    <a:pt x="14220" y="1537"/>
                  </a:cubicBezTo>
                  <a:cubicBezTo>
                    <a:pt x="14220" y="983"/>
                    <a:pt x="15622" y="216"/>
                    <a:pt x="13979" y="44"/>
                  </a:cubicBezTo>
                  <a:close/>
                  <a:moveTo>
                    <a:pt x="13979" y="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3" name="AutoShape 212"/>
            <p:cNvSpPr>
              <a:spLocks/>
            </p:cNvSpPr>
            <p:nvPr/>
          </p:nvSpPr>
          <p:spPr bwMode="auto">
            <a:xfrm>
              <a:off x="10629900" y="4699000"/>
              <a:ext cx="0" cy="9525"/>
            </a:xfrm>
            <a:custGeom>
              <a:avLst/>
              <a:gdLst/>
              <a:ahLst/>
              <a:cxnLst/>
              <a:rect l="0" t="0" r="r" b="b"/>
              <a:pathLst>
                <a:path w="18514" h="20400">
                  <a:moveTo>
                    <a:pt x="7787" y="2796"/>
                  </a:moveTo>
                  <a:cubicBezTo>
                    <a:pt x="7787" y="5062"/>
                    <a:pt x="1933" y="8626"/>
                    <a:pt x="1933" y="10807"/>
                  </a:cubicBezTo>
                  <a:cubicBezTo>
                    <a:pt x="-1297" y="12916"/>
                    <a:pt x="-98" y="16458"/>
                    <a:pt x="2740" y="18555"/>
                  </a:cubicBezTo>
                  <a:cubicBezTo>
                    <a:pt x="2740" y="20664"/>
                    <a:pt x="4759" y="21023"/>
                    <a:pt x="7573" y="19329"/>
                  </a:cubicBezTo>
                  <a:cubicBezTo>
                    <a:pt x="7573" y="17625"/>
                    <a:pt x="13439" y="15003"/>
                    <a:pt x="13439" y="13406"/>
                  </a:cubicBezTo>
                  <a:cubicBezTo>
                    <a:pt x="13439" y="11807"/>
                    <a:pt x="17060" y="8602"/>
                    <a:pt x="17060" y="6182"/>
                  </a:cubicBezTo>
                  <a:cubicBezTo>
                    <a:pt x="20303" y="3773"/>
                    <a:pt x="17477" y="1056"/>
                    <a:pt x="14853" y="270"/>
                  </a:cubicBezTo>
                  <a:cubicBezTo>
                    <a:pt x="14853" y="-577"/>
                    <a:pt x="13439" y="651"/>
                    <a:pt x="7787" y="2796"/>
                  </a:cubicBezTo>
                  <a:close/>
                  <a:moveTo>
                    <a:pt x="7787" y="27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4" name="AutoShape 213"/>
            <p:cNvSpPr>
              <a:spLocks/>
            </p:cNvSpPr>
            <p:nvPr/>
          </p:nvSpPr>
          <p:spPr bwMode="auto">
            <a:xfrm>
              <a:off x="10629900" y="4749800"/>
              <a:ext cx="0" cy="4763"/>
            </a:xfrm>
            <a:custGeom>
              <a:avLst/>
              <a:gdLst/>
              <a:ahLst/>
              <a:cxnLst/>
              <a:rect l="0" t="0" r="r" b="b"/>
              <a:pathLst>
                <a:path w="18893" h="20052">
                  <a:moveTo>
                    <a:pt x="0" y="16927"/>
                  </a:moveTo>
                  <a:cubicBezTo>
                    <a:pt x="0" y="19478"/>
                    <a:pt x="370" y="20512"/>
                    <a:pt x="5242" y="19863"/>
                  </a:cubicBezTo>
                  <a:cubicBezTo>
                    <a:pt x="5242" y="18946"/>
                    <a:pt x="6982" y="13463"/>
                    <a:pt x="16727" y="7931"/>
                  </a:cubicBezTo>
                  <a:cubicBezTo>
                    <a:pt x="16727" y="2182"/>
                    <a:pt x="21600" y="-1088"/>
                    <a:pt x="16727" y="330"/>
                  </a:cubicBezTo>
                  <a:cubicBezTo>
                    <a:pt x="12203" y="1773"/>
                    <a:pt x="9419" y="5237"/>
                    <a:pt x="4176" y="7664"/>
                  </a:cubicBezTo>
                  <a:cubicBezTo>
                    <a:pt x="4176" y="10286"/>
                    <a:pt x="0" y="14399"/>
                    <a:pt x="0" y="16927"/>
                  </a:cubicBezTo>
                  <a:close/>
                  <a:moveTo>
                    <a:pt x="0" y="169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5" name="AutoShape 214"/>
            <p:cNvSpPr>
              <a:spLocks/>
            </p:cNvSpPr>
            <p:nvPr/>
          </p:nvSpPr>
          <p:spPr bwMode="auto">
            <a:xfrm>
              <a:off x="10629900" y="4699000"/>
              <a:ext cx="1588" cy="38100"/>
            </a:xfrm>
            <a:custGeom>
              <a:avLst/>
              <a:gdLst/>
              <a:ahLst/>
              <a:cxnLst/>
              <a:rect l="0" t="0" r="r" b="b"/>
              <a:pathLst>
                <a:path w="20676" h="21396">
                  <a:moveTo>
                    <a:pt x="20" y="19563"/>
                  </a:moveTo>
                  <a:cubicBezTo>
                    <a:pt x="20" y="20499"/>
                    <a:pt x="455" y="21347"/>
                    <a:pt x="1488" y="21388"/>
                  </a:cubicBezTo>
                  <a:cubicBezTo>
                    <a:pt x="1488" y="21472"/>
                    <a:pt x="3037" y="20933"/>
                    <a:pt x="5527" y="20263"/>
                  </a:cubicBezTo>
                  <a:cubicBezTo>
                    <a:pt x="5527" y="19556"/>
                    <a:pt x="8114" y="18462"/>
                    <a:pt x="9405" y="17795"/>
                  </a:cubicBezTo>
                  <a:cubicBezTo>
                    <a:pt x="10696" y="17139"/>
                    <a:pt x="11815" y="16361"/>
                    <a:pt x="11815" y="16051"/>
                  </a:cubicBezTo>
                  <a:cubicBezTo>
                    <a:pt x="13961" y="15795"/>
                    <a:pt x="13020" y="14906"/>
                    <a:pt x="14396" y="14192"/>
                  </a:cubicBezTo>
                  <a:cubicBezTo>
                    <a:pt x="14396" y="13471"/>
                    <a:pt x="15682" y="12381"/>
                    <a:pt x="15682" y="11785"/>
                  </a:cubicBezTo>
                  <a:cubicBezTo>
                    <a:pt x="15682" y="11185"/>
                    <a:pt x="16032" y="10195"/>
                    <a:pt x="17408" y="9610"/>
                  </a:cubicBezTo>
                  <a:cubicBezTo>
                    <a:pt x="18613" y="9020"/>
                    <a:pt x="20157" y="7916"/>
                    <a:pt x="20157" y="7158"/>
                  </a:cubicBezTo>
                  <a:cubicBezTo>
                    <a:pt x="21367" y="6400"/>
                    <a:pt x="20082" y="5559"/>
                    <a:pt x="20082" y="5286"/>
                  </a:cubicBezTo>
                  <a:cubicBezTo>
                    <a:pt x="18694" y="5030"/>
                    <a:pt x="17231" y="3623"/>
                    <a:pt x="17231" y="2206"/>
                  </a:cubicBezTo>
                  <a:cubicBezTo>
                    <a:pt x="15945" y="771"/>
                    <a:pt x="15338" y="-118"/>
                    <a:pt x="13020" y="148"/>
                  </a:cubicBezTo>
                  <a:cubicBezTo>
                    <a:pt x="13020" y="484"/>
                    <a:pt x="8711" y="482"/>
                    <a:pt x="8711" y="171"/>
                  </a:cubicBezTo>
                  <a:cubicBezTo>
                    <a:pt x="7426" y="-128"/>
                    <a:pt x="4586" y="-31"/>
                    <a:pt x="4586" y="434"/>
                  </a:cubicBezTo>
                  <a:cubicBezTo>
                    <a:pt x="3290" y="875"/>
                    <a:pt x="2091" y="1559"/>
                    <a:pt x="2091" y="1936"/>
                  </a:cubicBezTo>
                  <a:cubicBezTo>
                    <a:pt x="3467" y="2306"/>
                    <a:pt x="2263" y="2552"/>
                    <a:pt x="3290" y="2515"/>
                  </a:cubicBezTo>
                  <a:cubicBezTo>
                    <a:pt x="4323" y="2475"/>
                    <a:pt x="5016" y="3199"/>
                    <a:pt x="3634" y="4185"/>
                  </a:cubicBezTo>
                  <a:cubicBezTo>
                    <a:pt x="3634" y="5175"/>
                    <a:pt x="3634" y="6111"/>
                    <a:pt x="3634" y="6289"/>
                  </a:cubicBezTo>
                  <a:cubicBezTo>
                    <a:pt x="3634" y="6471"/>
                    <a:pt x="4667" y="7182"/>
                    <a:pt x="4667" y="7869"/>
                  </a:cubicBezTo>
                  <a:cubicBezTo>
                    <a:pt x="4667" y="8552"/>
                    <a:pt x="2693" y="10186"/>
                    <a:pt x="2693" y="11488"/>
                  </a:cubicBezTo>
                  <a:cubicBezTo>
                    <a:pt x="197" y="12781"/>
                    <a:pt x="1397" y="14138"/>
                    <a:pt x="1397" y="14489"/>
                  </a:cubicBezTo>
                  <a:cubicBezTo>
                    <a:pt x="1397" y="14828"/>
                    <a:pt x="2349" y="15728"/>
                    <a:pt x="1052" y="16482"/>
                  </a:cubicBezTo>
                  <a:cubicBezTo>
                    <a:pt x="-233" y="17239"/>
                    <a:pt x="20" y="18623"/>
                    <a:pt x="20" y="19563"/>
                  </a:cubicBezTo>
                  <a:close/>
                  <a:moveTo>
                    <a:pt x="20" y="195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6" name="AutoShape 215"/>
            <p:cNvSpPr>
              <a:spLocks/>
            </p:cNvSpPr>
            <p:nvPr/>
          </p:nvSpPr>
          <p:spPr bwMode="auto">
            <a:xfrm>
              <a:off x="10629900" y="4787900"/>
              <a:ext cx="0" cy="4763"/>
            </a:xfrm>
            <a:custGeom>
              <a:avLst/>
              <a:gdLst/>
              <a:ahLst/>
              <a:cxnLst/>
              <a:rect l="0" t="0" r="r" b="b"/>
              <a:pathLst>
                <a:path w="16672" h="19635">
                  <a:moveTo>
                    <a:pt x="8775" y="3177"/>
                  </a:moveTo>
                  <a:cubicBezTo>
                    <a:pt x="8775" y="7354"/>
                    <a:pt x="0" y="13594"/>
                    <a:pt x="0" y="17078"/>
                  </a:cubicBezTo>
                  <a:cubicBezTo>
                    <a:pt x="0" y="20581"/>
                    <a:pt x="3038" y="20463"/>
                    <a:pt x="3038" y="16859"/>
                  </a:cubicBezTo>
                  <a:cubicBezTo>
                    <a:pt x="8079" y="13336"/>
                    <a:pt x="11813" y="7038"/>
                    <a:pt x="11813" y="2942"/>
                  </a:cubicBezTo>
                  <a:cubicBezTo>
                    <a:pt x="21600" y="-1019"/>
                    <a:pt x="14513" y="-1019"/>
                    <a:pt x="8775" y="3177"/>
                  </a:cubicBezTo>
                  <a:close/>
                  <a:moveTo>
                    <a:pt x="8775" y="31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7" name="AutoShape 216"/>
            <p:cNvSpPr>
              <a:spLocks/>
            </p:cNvSpPr>
            <p:nvPr/>
          </p:nvSpPr>
          <p:spPr bwMode="auto">
            <a:xfrm>
              <a:off x="10629900" y="4800600"/>
              <a:ext cx="0" cy="3175"/>
            </a:xfrm>
            <a:custGeom>
              <a:avLst/>
              <a:gdLst/>
              <a:ahLst/>
              <a:cxnLst/>
              <a:rect l="0" t="0" r="r" b="b"/>
              <a:pathLst>
                <a:path w="21600" h="19007">
                  <a:moveTo>
                    <a:pt x="13085" y="4058"/>
                  </a:moveTo>
                  <a:cubicBezTo>
                    <a:pt x="13085" y="8225"/>
                    <a:pt x="0" y="14157"/>
                    <a:pt x="0" y="17291"/>
                  </a:cubicBezTo>
                  <a:cubicBezTo>
                    <a:pt x="0" y="20363"/>
                    <a:pt x="8515" y="19236"/>
                    <a:pt x="8515" y="14519"/>
                  </a:cubicBezTo>
                  <a:cubicBezTo>
                    <a:pt x="20012" y="10020"/>
                    <a:pt x="21600" y="4090"/>
                    <a:pt x="21600" y="1472"/>
                  </a:cubicBezTo>
                  <a:cubicBezTo>
                    <a:pt x="21600" y="-1237"/>
                    <a:pt x="13085" y="-110"/>
                    <a:pt x="13085" y="4058"/>
                  </a:cubicBezTo>
                  <a:close/>
                  <a:moveTo>
                    <a:pt x="13085" y="40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8" name="AutoShape 217"/>
            <p:cNvSpPr>
              <a:spLocks/>
            </p:cNvSpPr>
            <p:nvPr/>
          </p:nvSpPr>
          <p:spPr bwMode="auto">
            <a:xfrm>
              <a:off x="10629900" y="4762500"/>
              <a:ext cx="1588" cy="33338"/>
            </a:xfrm>
            <a:custGeom>
              <a:avLst/>
              <a:gdLst/>
              <a:ahLst/>
              <a:cxnLst/>
              <a:rect l="0" t="0" r="r" b="b"/>
              <a:pathLst>
                <a:path w="21161" h="21190">
                  <a:moveTo>
                    <a:pt x="19771" y="304"/>
                  </a:moveTo>
                  <a:cubicBezTo>
                    <a:pt x="19771" y="700"/>
                    <a:pt x="18381" y="749"/>
                    <a:pt x="17176" y="478"/>
                  </a:cubicBezTo>
                  <a:cubicBezTo>
                    <a:pt x="18468" y="207"/>
                    <a:pt x="15508" y="-20"/>
                    <a:pt x="15508" y="63"/>
                  </a:cubicBezTo>
                  <a:cubicBezTo>
                    <a:pt x="16614" y="63"/>
                    <a:pt x="13469" y="874"/>
                    <a:pt x="13469" y="1725"/>
                  </a:cubicBezTo>
                  <a:cubicBezTo>
                    <a:pt x="12258" y="2559"/>
                    <a:pt x="10781" y="4006"/>
                    <a:pt x="10781" y="4938"/>
                  </a:cubicBezTo>
                  <a:cubicBezTo>
                    <a:pt x="7809" y="5824"/>
                    <a:pt x="8835" y="7023"/>
                    <a:pt x="8835" y="7532"/>
                  </a:cubicBezTo>
                  <a:cubicBezTo>
                    <a:pt x="8835" y="8052"/>
                    <a:pt x="7723" y="8029"/>
                    <a:pt x="10219" y="7566"/>
                  </a:cubicBezTo>
                  <a:cubicBezTo>
                    <a:pt x="10219" y="7057"/>
                    <a:pt x="11615" y="7023"/>
                    <a:pt x="11615" y="7479"/>
                  </a:cubicBezTo>
                  <a:cubicBezTo>
                    <a:pt x="10132" y="7913"/>
                    <a:pt x="9113" y="9259"/>
                    <a:pt x="9113" y="10457"/>
                  </a:cubicBezTo>
                  <a:cubicBezTo>
                    <a:pt x="7809" y="11630"/>
                    <a:pt x="5776" y="13243"/>
                    <a:pt x="5776" y="14043"/>
                  </a:cubicBezTo>
                  <a:cubicBezTo>
                    <a:pt x="5776" y="14827"/>
                    <a:pt x="2341" y="16539"/>
                    <a:pt x="2341" y="17859"/>
                  </a:cubicBezTo>
                  <a:cubicBezTo>
                    <a:pt x="-439" y="19163"/>
                    <a:pt x="30" y="20622"/>
                    <a:pt x="30" y="21059"/>
                  </a:cubicBezTo>
                  <a:cubicBezTo>
                    <a:pt x="30" y="21493"/>
                    <a:pt x="1328" y="20814"/>
                    <a:pt x="2712" y="19551"/>
                  </a:cubicBezTo>
                  <a:cubicBezTo>
                    <a:pt x="4207" y="18281"/>
                    <a:pt x="6147" y="17768"/>
                    <a:pt x="4751" y="18383"/>
                  </a:cubicBezTo>
                  <a:cubicBezTo>
                    <a:pt x="4751" y="19004"/>
                    <a:pt x="5684" y="19299"/>
                    <a:pt x="5684" y="19004"/>
                  </a:cubicBezTo>
                  <a:cubicBezTo>
                    <a:pt x="8001" y="18778"/>
                    <a:pt x="7537" y="17896"/>
                    <a:pt x="8742" y="17198"/>
                  </a:cubicBezTo>
                  <a:cubicBezTo>
                    <a:pt x="8742" y="16487"/>
                    <a:pt x="9205" y="14843"/>
                    <a:pt x="11893" y="13568"/>
                  </a:cubicBezTo>
                  <a:cubicBezTo>
                    <a:pt x="11893" y="12264"/>
                    <a:pt x="13283" y="10914"/>
                    <a:pt x="13283" y="10544"/>
                  </a:cubicBezTo>
                  <a:cubicBezTo>
                    <a:pt x="13283" y="10167"/>
                    <a:pt x="14303" y="8738"/>
                    <a:pt x="15687" y="7377"/>
                  </a:cubicBezTo>
                  <a:cubicBezTo>
                    <a:pt x="18381" y="6031"/>
                    <a:pt x="18097" y="4003"/>
                    <a:pt x="19400" y="2906"/>
                  </a:cubicBezTo>
                  <a:cubicBezTo>
                    <a:pt x="19400" y="1809"/>
                    <a:pt x="21161" y="625"/>
                    <a:pt x="21161" y="263"/>
                  </a:cubicBezTo>
                  <a:cubicBezTo>
                    <a:pt x="21161" y="-107"/>
                    <a:pt x="21068" y="-81"/>
                    <a:pt x="19771" y="304"/>
                  </a:cubicBezTo>
                  <a:close/>
                  <a:moveTo>
                    <a:pt x="19771" y="3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19" name="AutoShape 218"/>
            <p:cNvSpPr>
              <a:spLocks/>
            </p:cNvSpPr>
            <p:nvPr/>
          </p:nvSpPr>
          <p:spPr bwMode="auto">
            <a:xfrm>
              <a:off x="10629900" y="4724400"/>
              <a:ext cx="0" cy="3175"/>
            </a:xfrm>
            <a:custGeom>
              <a:avLst/>
              <a:gdLst/>
              <a:ahLst/>
              <a:cxnLst/>
              <a:rect l="0" t="0" r="r" b="b"/>
              <a:pathLst>
                <a:path w="16013" h="20232">
                  <a:moveTo>
                    <a:pt x="3626" y="20047"/>
                  </a:moveTo>
                  <a:cubicBezTo>
                    <a:pt x="3626" y="18918"/>
                    <a:pt x="11900" y="15326"/>
                    <a:pt x="11900" y="11619"/>
                  </a:cubicBezTo>
                  <a:cubicBezTo>
                    <a:pt x="20784" y="8473"/>
                    <a:pt x="12510" y="3375"/>
                    <a:pt x="12510" y="1236"/>
                  </a:cubicBezTo>
                  <a:cubicBezTo>
                    <a:pt x="7772" y="-665"/>
                    <a:pt x="10437" y="-368"/>
                    <a:pt x="5977" y="2098"/>
                  </a:cubicBezTo>
                  <a:cubicBezTo>
                    <a:pt x="5977" y="4796"/>
                    <a:pt x="72" y="10344"/>
                    <a:pt x="72" y="14469"/>
                  </a:cubicBezTo>
                  <a:cubicBezTo>
                    <a:pt x="72" y="18565"/>
                    <a:pt x="-816" y="20935"/>
                    <a:pt x="3626" y="20047"/>
                  </a:cubicBezTo>
                  <a:close/>
                  <a:moveTo>
                    <a:pt x="3626" y="200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0" name="AutoShape 219"/>
            <p:cNvSpPr>
              <a:spLocks/>
            </p:cNvSpPr>
            <p:nvPr/>
          </p:nvSpPr>
          <p:spPr bwMode="auto">
            <a:xfrm>
              <a:off x="10617200" y="4902200"/>
              <a:ext cx="1588" cy="9525"/>
            </a:xfrm>
            <a:custGeom>
              <a:avLst/>
              <a:gdLst/>
              <a:ahLst/>
              <a:cxnLst/>
              <a:rect l="0" t="0" r="r" b="b"/>
              <a:pathLst>
                <a:path w="19650" h="20826">
                  <a:moveTo>
                    <a:pt x="19070" y="2897"/>
                  </a:moveTo>
                  <a:cubicBezTo>
                    <a:pt x="19070" y="2535"/>
                    <a:pt x="17963" y="1444"/>
                    <a:pt x="17963" y="501"/>
                  </a:cubicBezTo>
                  <a:cubicBezTo>
                    <a:pt x="17963" y="-465"/>
                    <a:pt x="16717" y="18"/>
                    <a:pt x="14649" y="1494"/>
                  </a:cubicBezTo>
                  <a:cubicBezTo>
                    <a:pt x="12712" y="2968"/>
                    <a:pt x="8836" y="4566"/>
                    <a:pt x="8836" y="5170"/>
                  </a:cubicBezTo>
                  <a:cubicBezTo>
                    <a:pt x="7037" y="5654"/>
                    <a:pt x="4399" y="7251"/>
                    <a:pt x="4399" y="8727"/>
                  </a:cubicBezTo>
                  <a:cubicBezTo>
                    <a:pt x="2193" y="10079"/>
                    <a:pt x="1086" y="13275"/>
                    <a:pt x="1086" y="15742"/>
                  </a:cubicBezTo>
                  <a:cubicBezTo>
                    <a:pt x="-852" y="18160"/>
                    <a:pt x="394" y="20433"/>
                    <a:pt x="394" y="20798"/>
                  </a:cubicBezTo>
                  <a:cubicBezTo>
                    <a:pt x="394" y="21135"/>
                    <a:pt x="7037" y="18330"/>
                    <a:pt x="9105" y="14509"/>
                  </a:cubicBezTo>
                  <a:cubicBezTo>
                    <a:pt x="15203" y="10806"/>
                    <a:pt x="18248" y="6744"/>
                    <a:pt x="18248" y="5607"/>
                  </a:cubicBezTo>
                  <a:cubicBezTo>
                    <a:pt x="18248" y="4517"/>
                    <a:pt x="20748" y="3211"/>
                    <a:pt x="19070" y="2897"/>
                  </a:cubicBezTo>
                  <a:close/>
                  <a:moveTo>
                    <a:pt x="19070" y="28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1" name="AutoShape 220"/>
            <p:cNvSpPr>
              <a:spLocks/>
            </p:cNvSpPr>
            <p:nvPr/>
          </p:nvSpPr>
          <p:spPr bwMode="auto">
            <a:xfrm>
              <a:off x="10629900" y="4775200"/>
              <a:ext cx="1588" cy="19050"/>
            </a:xfrm>
            <a:custGeom>
              <a:avLst/>
              <a:gdLst/>
              <a:ahLst/>
              <a:cxnLst/>
              <a:rect l="0" t="0" r="r" b="b"/>
              <a:pathLst>
                <a:path w="19773" h="21257">
                  <a:moveTo>
                    <a:pt x="13728" y="4309"/>
                  </a:moveTo>
                  <a:cubicBezTo>
                    <a:pt x="11499" y="6144"/>
                    <a:pt x="10096" y="9238"/>
                    <a:pt x="8015" y="11183"/>
                  </a:cubicBezTo>
                  <a:cubicBezTo>
                    <a:pt x="8015" y="13115"/>
                    <a:pt x="5506" y="15547"/>
                    <a:pt x="3695" y="16579"/>
                  </a:cubicBezTo>
                  <a:cubicBezTo>
                    <a:pt x="1326" y="17589"/>
                    <a:pt x="768" y="19047"/>
                    <a:pt x="768" y="19797"/>
                  </a:cubicBezTo>
                  <a:cubicBezTo>
                    <a:pt x="768" y="20531"/>
                    <a:pt x="-486" y="21254"/>
                    <a:pt x="211" y="21254"/>
                  </a:cubicBezTo>
                  <a:cubicBezTo>
                    <a:pt x="211" y="21337"/>
                    <a:pt x="4531" y="19823"/>
                    <a:pt x="4531" y="17906"/>
                  </a:cubicBezTo>
                  <a:cubicBezTo>
                    <a:pt x="8433" y="16022"/>
                    <a:pt x="9129" y="13389"/>
                    <a:pt x="9129" y="12138"/>
                  </a:cubicBezTo>
                  <a:cubicBezTo>
                    <a:pt x="9129" y="10852"/>
                    <a:pt x="8990" y="8515"/>
                    <a:pt x="12753" y="7010"/>
                  </a:cubicBezTo>
                  <a:cubicBezTo>
                    <a:pt x="12753" y="5463"/>
                    <a:pt x="14564" y="3806"/>
                    <a:pt x="16507" y="3400"/>
                  </a:cubicBezTo>
                  <a:cubicBezTo>
                    <a:pt x="16507" y="2968"/>
                    <a:pt x="16933" y="1867"/>
                    <a:pt x="18876" y="994"/>
                  </a:cubicBezTo>
                  <a:cubicBezTo>
                    <a:pt x="21114" y="162"/>
                    <a:pt x="18458" y="-263"/>
                    <a:pt x="18458" y="176"/>
                  </a:cubicBezTo>
                  <a:cubicBezTo>
                    <a:pt x="18458" y="617"/>
                    <a:pt x="15819" y="2465"/>
                    <a:pt x="13728" y="4309"/>
                  </a:cubicBezTo>
                  <a:close/>
                  <a:moveTo>
                    <a:pt x="13728" y="43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2" name="AutoShape 221"/>
            <p:cNvSpPr>
              <a:spLocks/>
            </p:cNvSpPr>
            <p:nvPr/>
          </p:nvSpPr>
          <p:spPr bwMode="auto">
            <a:xfrm>
              <a:off x="10629900" y="4787900"/>
              <a:ext cx="0" cy="7938"/>
            </a:xfrm>
            <a:custGeom>
              <a:avLst/>
              <a:gdLst/>
              <a:ahLst/>
              <a:cxnLst/>
              <a:rect l="0" t="0" r="r" b="b"/>
              <a:pathLst>
                <a:path w="18456" h="20045">
                  <a:moveTo>
                    <a:pt x="13542" y="3087"/>
                  </a:moveTo>
                  <a:cubicBezTo>
                    <a:pt x="9883" y="6619"/>
                    <a:pt x="8842" y="10679"/>
                    <a:pt x="4955" y="11946"/>
                  </a:cubicBezTo>
                  <a:cubicBezTo>
                    <a:pt x="1311" y="13214"/>
                    <a:pt x="270" y="15964"/>
                    <a:pt x="270" y="17919"/>
                  </a:cubicBezTo>
                  <a:cubicBezTo>
                    <a:pt x="270" y="19875"/>
                    <a:pt x="-1031" y="20590"/>
                    <a:pt x="2076" y="19607"/>
                  </a:cubicBezTo>
                  <a:cubicBezTo>
                    <a:pt x="5735" y="18607"/>
                    <a:pt x="5735" y="15291"/>
                    <a:pt x="9379" y="12325"/>
                  </a:cubicBezTo>
                  <a:cubicBezTo>
                    <a:pt x="9379" y="9331"/>
                    <a:pt x="12762" y="4571"/>
                    <a:pt x="16665" y="1768"/>
                  </a:cubicBezTo>
                  <a:cubicBezTo>
                    <a:pt x="20569" y="-1010"/>
                    <a:pt x="17430" y="-471"/>
                    <a:pt x="13542" y="3087"/>
                  </a:cubicBezTo>
                  <a:close/>
                  <a:moveTo>
                    <a:pt x="13542" y="30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3" name="AutoShape 222"/>
            <p:cNvSpPr>
              <a:spLocks/>
            </p:cNvSpPr>
            <p:nvPr/>
          </p:nvSpPr>
          <p:spPr bwMode="auto">
            <a:xfrm>
              <a:off x="10629900" y="4724400"/>
              <a:ext cx="0" cy="4763"/>
            </a:xfrm>
            <a:custGeom>
              <a:avLst/>
              <a:gdLst/>
              <a:ahLst/>
              <a:cxnLst/>
              <a:rect l="0" t="0" r="r" b="b"/>
              <a:pathLst>
                <a:path w="21600" h="20730">
                  <a:moveTo>
                    <a:pt x="21600" y="11213"/>
                  </a:moveTo>
                  <a:cubicBezTo>
                    <a:pt x="21600" y="6201"/>
                    <a:pt x="16040" y="1249"/>
                    <a:pt x="16040" y="309"/>
                  </a:cubicBezTo>
                  <a:cubicBezTo>
                    <a:pt x="16040" y="-636"/>
                    <a:pt x="18178" y="664"/>
                    <a:pt x="2210" y="3118"/>
                  </a:cubicBezTo>
                  <a:cubicBezTo>
                    <a:pt x="2210" y="5656"/>
                    <a:pt x="0" y="10604"/>
                    <a:pt x="0" y="14315"/>
                  </a:cubicBezTo>
                  <a:cubicBezTo>
                    <a:pt x="0" y="18048"/>
                    <a:pt x="9125" y="20964"/>
                    <a:pt x="9125" y="20715"/>
                  </a:cubicBezTo>
                  <a:cubicBezTo>
                    <a:pt x="16040" y="20715"/>
                    <a:pt x="21600" y="16286"/>
                    <a:pt x="21600" y="11213"/>
                  </a:cubicBezTo>
                  <a:close/>
                  <a:moveTo>
                    <a:pt x="21600" y="112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4" name="AutoShape 223"/>
            <p:cNvSpPr>
              <a:spLocks/>
            </p:cNvSpPr>
            <p:nvPr/>
          </p:nvSpPr>
          <p:spPr bwMode="auto">
            <a:xfrm>
              <a:off x="10629900" y="4521200"/>
              <a:ext cx="0" cy="1588"/>
            </a:xfrm>
            <a:custGeom>
              <a:avLst/>
              <a:gdLst/>
              <a:ahLst/>
              <a:cxnLst/>
              <a:rect l="0" t="0" r="r" b="b"/>
              <a:pathLst>
                <a:path w="15520" h="17772">
                  <a:moveTo>
                    <a:pt x="5394" y="17317"/>
                  </a:moveTo>
                  <a:cubicBezTo>
                    <a:pt x="13302" y="15879"/>
                    <a:pt x="21600" y="8889"/>
                    <a:pt x="9153" y="3454"/>
                  </a:cubicBezTo>
                  <a:cubicBezTo>
                    <a:pt x="9153" y="-2269"/>
                    <a:pt x="0" y="-721"/>
                    <a:pt x="0" y="6913"/>
                  </a:cubicBezTo>
                  <a:cubicBezTo>
                    <a:pt x="0" y="14434"/>
                    <a:pt x="5394" y="19331"/>
                    <a:pt x="5394" y="17317"/>
                  </a:cubicBezTo>
                  <a:close/>
                  <a:moveTo>
                    <a:pt x="5394" y="173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5" name="AutoShape 224"/>
            <p:cNvSpPr>
              <a:spLocks/>
            </p:cNvSpPr>
            <p:nvPr/>
          </p:nvSpPr>
          <p:spPr bwMode="auto">
            <a:xfrm>
              <a:off x="10642600" y="4533900"/>
              <a:ext cx="0" cy="4763"/>
            </a:xfrm>
            <a:custGeom>
              <a:avLst/>
              <a:gdLst/>
              <a:ahLst/>
              <a:cxnLst/>
              <a:rect l="0" t="0" r="r" b="b"/>
              <a:pathLst>
                <a:path w="21600" h="18924">
                  <a:moveTo>
                    <a:pt x="16236" y="14647"/>
                  </a:moveTo>
                  <a:cubicBezTo>
                    <a:pt x="16236" y="10324"/>
                    <a:pt x="21600" y="4501"/>
                    <a:pt x="21600" y="1544"/>
                  </a:cubicBezTo>
                  <a:cubicBezTo>
                    <a:pt x="21600" y="-1390"/>
                    <a:pt x="17009" y="-5"/>
                    <a:pt x="5412" y="4524"/>
                  </a:cubicBezTo>
                  <a:cubicBezTo>
                    <a:pt x="5412" y="8987"/>
                    <a:pt x="0" y="14902"/>
                    <a:pt x="0" y="17555"/>
                  </a:cubicBezTo>
                  <a:cubicBezTo>
                    <a:pt x="0" y="20210"/>
                    <a:pt x="6185" y="18873"/>
                    <a:pt x="16236" y="14647"/>
                  </a:cubicBezTo>
                  <a:close/>
                  <a:moveTo>
                    <a:pt x="16236" y="146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6" name="AutoShape 225"/>
            <p:cNvSpPr>
              <a:spLocks/>
            </p:cNvSpPr>
            <p:nvPr/>
          </p:nvSpPr>
          <p:spPr bwMode="auto">
            <a:xfrm>
              <a:off x="10642600" y="4521200"/>
              <a:ext cx="0" cy="3175"/>
            </a:xfrm>
            <a:custGeom>
              <a:avLst/>
              <a:gdLst/>
              <a:ahLst/>
              <a:cxnLst/>
              <a:rect l="0" t="0" r="r" b="b"/>
              <a:pathLst>
                <a:path w="15667" h="17230">
                  <a:moveTo>
                    <a:pt x="15667" y="8526"/>
                  </a:moveTo>
                  <a:cubicBezTo>
                    <a:pt x="15667" y="837"/>
                    <a:pt x="8043" y="-2231"/>
                    <a:pt x="8043" y="1737"/>
                  </a:cubicBezTo>
                  <a:cubicBezTo>
                    <a:pt x="8043" y="5739"/>
                    <a:pt x="-5933" y="12022"/>
                    <a:pt x="2961" y="15708"/>
                  </a:cubicBezTo>
                  <a:cubicBezTo>
                    <a:pt x="13761" y="19369"/>
                    <a:pt x="5542" y="16215"/>
                    <a:pt x="15667" y="8526"/>
                  </a:cubicBezTo>
                  <a:close/>
                  <a:moveTo>
                    <a:pt x="15667" y="85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7" name="AutoShape 226"/>
            <p:cNvSpPr>
              <a:spLocks/>
            </p:cNvSpPr>
            <p:nvPr/>
          </p:nvSpPr>
          <p:spPr bwMode="auto">
            <a:xfrm>
              <a:off x="10629900" y="4533900"/>
              <a:ext cx="0" cy="1588"/>
            </a:xfrm>
            <a:custGeom>
              <a:avLst/>
              <a:gdLst/>
              <a:ahLst/>
              <a:cxnLst/>
              <a:rect l="0" t="0" r="r" b="b"/>
              <a:pathLst>
                <a:path w="18293" h="19077">
                  <a:moveTo>
                    <a:pt x="14411" y="12899"/>
                  </a:moveTo>
                  <a:cubicBezTo>
                    <a:pt x="21600" y="5427"/>
                    <a:pt x="17973" y="-501"/>
                    <a:pt x="10303" y="33"/>
                  </a:cubicBezTo>
                  <a:cubicBezTo>
                    <a:pt x="17973" y="33"/>
                    <a:pt x="0" y="6626"/>
                    <a:pt x="0" y="13833"/>
                  </a:cubicBezTo>
                  <a:cubicBezTo>
                    <a:pt x="0" y="21099"/>
                    <a:pt x="14411" y="20838"/>
                    <a:pt x="14411" y="12899"/>
                  </a:cubicBezTo>
                  <a:close/>
                  <a:moveTo>
                    <a:pt x="14411" y="128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8" name="AutoShape 227"/>
            <p:cNvSpPr>
              <a:spLocks/>
            </p:cNvSpPr>
            <p:nvPr/>
          </p:nvSpPr>
          <p:spPr bwMode="auto">
            <a:xfrm>
              <a:off x="10629900" y="4673600"/>
              <a:ext cx="0" cy="4763"/>
            </a:xfrm>
            <a:custGeom>
              <a:avLst/>
              <a:gdLst/>
              <a:ahLst/>
              <a:cxnLst/>
              <a:rect l="0" t="0" r="r" b="b"/>
              <a:pathLst>
                <a:path w="18291" h="19000">
                  <a:moveTo>
                    <a:pt x="6504" y="5322"/>
                  </a:moveTo>
                  <a:cubicBezTo>
                    <a:pt x="-2701" y="10155"/>
                    <a:pt x="-2006" y="16111"/>
                    <a:pt x="7772" y="18136"/>
                  </a:cubicBezTo>
                  <a:cubicBezTo>
                    <a:pt x="18899" y="20205"/>
                    <a:pt x="18285" y="18468"/>
                    <a:pt x="18285" y="13917"/>
                  </a:cubicBezTo>
                  <a:cubicBezTo>
                    <a:pt x="18285" y="9420"/>
                    <a:pt x="16935" y="3678"/>
                    <a:pt x="16935" y="1084"/>
                  </a:cubicBezTo>
                  <a:cubicBezTo>
                    <a:pt x="16935" y="-1395"/>
                    <a:pt x="16281" y="531"/>
                    <a:pt x="6504" y="5322"/>
                  </a:cubicBezTo>
                  <a:close/>
                  <a:moveTo>
                    <a:pt x="6504" y="53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29" name="AutoShape 228"/>
            <p:cNvSpPr>
              <a:spLocks/>
            </p:cNvSpPr>
            <p:nvPr/>
          </p:nvSpPr>
          <p:spPr bwMode="auto">
            <a:xfrm>
              <a:off x="10629900" y="4648200"/>
              <a:ext cx="0" cy="14288"/>
            </a:xfrm>
            <a:custGeom>
              <a:avLst/>
              <a:gdLst/>
              <a:ahLst/>
              <a:cxnLst/>
              <a:rect l="0" t="0" r="r" b="b"/>
              <a:pathLst>
                <a:path w="20390" h="20763">
                  <a:moveTo>
                    <a:pt x="6414" y="9176"/>
                  </a:moveTo>
                  <a:cubicBezTo>
                    <a:pt x="6414" y="11847"/>
                    <a:pt x="3884" y="14731"/>
                    <a:pt x="3884" y="15656"/>
                  </a:cubicBezTo>
                  <a:cubicBezTo>
                    <a:pt x="3884" y="16549"/>
                    <a:pt x="1535" y="18384"/>
                    <a:pt x="1535" y="19776"/>
                  </a:cubicBezTo>
                  <a:cubicBezTo>
                    <a:pt x="-1210" y="21135"/>
                    <a:pt x="-291" y="21061"/>
                    <a:pt x="4428" y="19734"/>
                  </a:cubicBezTo>
                  <a:cubicBezTo>
                    <a:pt x="4428" y="18325"/>
                    <a:pt x="9499" y="14656"/>
                    <a:pt x="12233" y="11585"/>
                  </a:cubicBezTo>
                  <a:cubicBezTo>
                    <a:pt x="14945" y="8488"/>
                    <a:pt x="18938" y="5081"/>
                    <a:pt x="18938" y="3976"/>
                  </a:cubicBezTo>
                  <a:cubicBezTo>
                    <a:pt x="18938" y="2885"/>
                    <a:pt x="20390" y="1297"/>
                    <a:pt x="20390" y="412"/>
                  </a:cubicBezTo>
                  <a:cubicBezTo>
                    <a:pt x="20390" y="-465"/>
                    <a:pt x="18756" y="117"/>
                    <a:pt x="13311" y="1583"/>
                  </a:cubicBezTo>
                  <a:cubicBezTo>
                    <a:pt x="13311" y="3115"/>
                    <a:pt x="6414" y="6514"/>
                    <a:pt x="6414" y="9176"/>
                  </a:cubicBezTo>
                  <a:close/>
                  <a:moveTo>
                    <a:pt x="6414" y="91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0" name="AutoShape 229"/>
            <p:cNvSpPr>
              <a:spLocks/>
            </p:cNvSpPr>
            <p:nvPr/>
          </p:nvSpPr>
          <p:spPr bwMode="auto">
            <a:xfrm>
              <a:off x="10629900" y="4546600"/>
              <a:ext cx="9525" cy="180975"/>
            </a:xfrm>
            <a:custGeom>
              <a:avLst/>
              <a:gdLst/>
              <a:ahLst/>
              <a:cxnLst/>
              <a:rect l="0" t="0" r="r" b="b"/>
              <a:pathLst>
                <a:path w="21369" h="21537">
                  <a:moveTo>
                    <a:pt x="1596" y="9666"/>
                  </a:moveTo>
                  <a:cubicBezTo>
                    <a:pt x="1221" y="9865"/>
                    <a:pt x="2052" y="10033"/>
                    <a:pt x="1837" y="10033"/>
                  </a:cubicBezTo>
                  <a:cubicBezTo>
                    <a:pt x="2052" y="10033"/>
                    <a:pt x="2617" y="10093"/>
                    <a:pt x="2215" y="10156"/>
                  </a:cubicBezTo>
                  <a:cubicBezTo>
                    <a:pt x="2564" y="10219"/>
                    <a:pt x="1811" y="10382"/>
                    <a:pt x="1811" y="10512"/>
                  </a:cubicBezTo>
                  <a:cubicBezTo>
                    <a:pt x="1381" y="10640"/>
                    <a:pt x="1596" y="10966"/>
                    <a:pt x="1194" y="11232"/>
                  </a:cubicBezTo>
                  <a:cubicBezTo>
                    <a:pt x="1194" y="11497"/>
                    <a:pt x="1060" y="11915"/>
                    <a:pt x="1060" y="12162"/>
                  </a:cubicBezTo>
                  <a:cubicBezTo>
                    <a:pt x="1060" y="12409"/>
                    <a:pt x="953" y="12885"/>
                    <a:pt x="548" y="13218"/>
                  </a:cubicBezTo>
                  <a:cubicBezTo>
                    <a:pt x="147" y="13553"/>
                    <a:pt x="-231" y="13875"/>
                    <a:pt x="174" y="13928"/>
                  </a:cubicBezTo>
                  <a:cubicBezTo>
                    <a:pt x="174" y="13984"/>
                    <a:pt x="630" y="13983"/>
                    <a:pt x="630" y="13926"/>
                  </a:cubicBezTo>
                  <a:cubicBezTo>
                    <a:pt x="1246" y="13877"/>
                    <a:pt x="1194" y="13839"/>
                    <a:pt x="1194" y="13862"/>
                  </a:cubicBezTo>
                  <a:cubicBezTo>
                    <a:pt x="1194" y="13886"/>
                    <a:pt x="1060" y="14057"/>
                    <a:pt x="1060" y="14243"/>
                  </a:cubicBezTo>
                  <a:cubicBezTo>
                    <a:pt x="682" y="14429"/>
                    <a:pt x="924" y="14765"/>
                    <a:pt x="924" y="14987"/>
                  </a:cubicBezTo>
                  <a:cubicBezTo>
                    <a:pt x="1329" y="15210"/>
                    <a:pt x="1246" y="15393"/>
                    <a:pt x="1461" y="15393"/>
                  </a:cubicBezTo>
                  <a:cubicBezTo>
                    <a:pt x="1680" y="15393"/>
                    <a:pt x="2108" y="15274"/>
                    <a:pt x="2484" y="15130"/>
                  </a:cubicBezTo>
                  <a:cubicBezTo>
                    <a:pt x="2887" y="14984"/>
                    <a:pt x="2591" y="14778"/>
                    <a:pt x="2966" y="14682"/>
                  </a:cubicBezTo>
                  <a:cubicBezTo>
                    <a:pt x="2617" y="14582"/>
                    <a:pt x="3073" y="14405"/>
                    <a:pt x="3073" y="14290"/>
                  </a:cubicBezTo>
                  <a:cubicBezTo>
                    <a:pt x="3073" y="14177"/>
                    <a:pt x="3585" y="14091"/>
                    <a:pt x="3908" y="14100"/>
                  </a:cubicBezTo>
                  <a:cubicBezTo>
                    <a:pt x="4257" y="14109"/>
                    <a:pt x="4443" y="14208"/>
                    <a:pt x="4848" y="14316"/>
                  </a:cubicBezTo>
                  <a:cubicBezTo>
                    <a:pt x="4848" y="14428"/>
                    <a:pt x="4792" y="14742"/>
                    <a:pt x="3987" y="15011"/>
                  </a:cubicBezTo>
                  <a:cubicBezTo>
                    <a:pt x="3236" y="15279"/>
                    <a:pt x="3100" y="15612"/>
                    <a:pt x="2294" y="15732"/>
                  </a:cubicBezTo>
                  <a:cubicBezTo>
                    <a:pt x="2294" y="15857"/>
                    <a:pt x="1596" y="16045"/>
                    <a:pt x="1596" y="16151"/>
                  </a:cubicBezTo>
                  <a:cubicBezTo>
                    <a:pt x="1596" y="16253"/>
                    <a:pt x="953" y="16521"/>
                    <a:pt x="953" y="16744"/>
                  </a:cubicBezTo>
                  <a:cubicBezTo>
                    <a:pt x="174" y="16961"/>
                    <a:pt x="415" y="17307"/>
                    <a:pt x="415" y="17506"/>
                  </a:cubicBezTo>
                  <a:cubicBezTo>
                    <a:pt x="415" y="17705"/>
                    <a:pt x="174" y="17708"/>
                    <a:pt x="953" y="17523"/>
                  </a:cubicBezTo>
                  <a:cubicBezTo>
                    <a:pt x="953" y="17331"/>
                    <a:pt x="1544" y="17136"/>
                    <a:pt x="1945" y="17092"/>
                  </a:cubicBezTo>
                  <a:cubicBezTo>
                    <a:pt x="2376" y="17054"/>
                    <a:pt x="2267" y="17138"/>
                    <a:pt x="2267" y="17292"/>
                  </a:cubicBezTo>
                  <a:cubicBezTo>
                    <a:pt x="2267" y="17445"/>
                    <a:pt x="2323" y="17706"/>
                    <a:pt x="1571" y="17859"/>
                  </a:cubicBezTo>
                  <a:cubicBezTo>
                    <a:pt x="1571" y="18017"/>
                    <a:pt x="924" y="18100"/>
                    <a:pt x="1544" y="18068"/>
                  </a:cubicBezTo>
                  <a:cubicBezTo>
                    <a:pt x="1544" y="18024"/>
                    <a:pt x="2699" y="17895"/>
                    <a:pt x="2699" y="17773"/>
                  </a:cubicBezTo>
                  <a:cubicBezTo>
                    <a:pt x="3073" y="17650"/>
                    <a:pt x="3181" y="17716"/>
                    <a:pt x="3585" y="17913"/>
                  </a:cubicBezTo>
                  <a:cubicBezTo>
                    <a:pt x="3585" y="18114"/>
                    <a:pt x="3800" y="18174"/>
                    <a:pt x="4526" y="18063"/>
                  </a:cubicBezTo>
                  <a:cubicBezTo>
                    <a:pt x="4526" y="17945"/>
                    <a:pt x="5009" y="17750"/>
                    <a:pt x="5412" y="17628"/>
                  </a:cubicBezTo>
                  <a:cubicBezTo>
                    <a:pt x="5412" y="17504"/>
                    <a:pt x="5625" y="17302"/>
                    <a:pt x="6055" y="17179"/>
                  </a:cubicBezTo>
                  <a:cubicBezTo>
                    <a:pt x="6460" y="17056"/>
                    <a:pt x="6916" y="16928"/>
                    <a:pt x="7239" y="16892"/>
                  </a:cubicBezTo>
                  <a:cubicBezTo>
                    <a:pt x="7588" y="16861"/>
                    <a:pt x="8313" y="16938"/>
                    <a:pt x="8688" y="17067"/>
                  </a:cubicBezTo>
                  <a:cubicBezTo>
                    <a:pt x="9468" y="17193"/>
                    <a:pt x="9386" y="17410"/>
                    <a:pt x="9386" y="17545"/>
                  </a:cubicBezTo>
                  <a:cubicBezTo>
                    <a:pt x="9012" y="17674"/>
                    <a:pt x="9601" y="17893"/>
                    <a:pt x="9601" y="18024"/>
                  </a:cubicBezTo>
                  <a:cubicBezTo>
                    <a:pt x="9601" y="18158"/>
                    <a:pt x="10113" y="18501"/>
                    <a:pt x="9712" y="18790"/>
                  </a:cubicBezTo>
                  <a:cubicBezTo>
                    <a:pt x="9712" y="19077"/>
                    <a:pt x="9764" y="19301"/>
                    <a:pt x="9764" y="19281"/>
                  </a:cubicBezTo>
                  <a:cubicBezTo>
                    <a:pt x="10058" y="19272"/>
                    <a:pt x="10085" y="19007"/>
                    <a:pt x="10489" y="18708"/>
                  </a:cubicBezTo>
                  <a:cubicBezTo>
                    <a:pt x="10489" y="18411"/>
                    <a:pt x="11161" y="17906"/>
                    <a:pt x="11161" y="17586"/>
                  </a:cubicBezTo>
                  <a:cubicBezTo>
                    <a:pt x="11161" y="17263"/>
                    <a:pt x="11589" y="16925"/>
                    <a:pt x="11589" y="16830"/>
                  </a:cubicBezTo>
                  <a:cubicBezTo>
                    <a:pt x="11940" y="16738"/>
                    <a:pt x="12074" y="16670"/>
                    <a:pt x="12074" y="16686"/>
                  </a:cubicBezTo>
                  <a:cubicBezTo>
                    <a:pt x="12074" y="16701"/>
                    <a:pt x="12397" y="16791"/>
                    <a:pt x="12397" y="16891"/>
                  </a:cubicBezTo>
                  <a:cubicBezTo>
                    <a:pt x="12397" y="16986"/>
                    <a:pt x="12235" y="17113"/>
                    <a:pt x="12665" y="17161"/>
                  </a:cubicBezTo>
                  <a:cubicBezTo>
                    <a:pt x="12665" y="17212"/>
                    <a:pt x="12746" y="17419"/>
                    <a:pt x="12746" y="17622"/>
                  </a:cubicBezTo>
                  <a:cubicBezTo>
                    <a:pt x="12746" y="17824"/>
                    <a:pt x="13095" y="18053"/>
                    <a:pt x="13095" y="18135"/>
                  </a:cubicBezTo>
                  <a:cubicBezTo>
                    <a:pt x="13846" y="18206"/>
                    <a:pt x="13389" y="18416"/>
                    <a:pt x="13389" y="18581"/>
                  </a:cubicBezTo>
                  <a:cubicBezTo>
                    <a:pt x="13040" y="18746"/>
                    <a:pt x="13150" y="19041"/>
                    <a:pt x="12773" y="19237"/>
                  </a:cubicBezTo>
                  <a:cubicBezTo>
                    <a:pt x="12397" y="19430"/>
                    <a:pt x="12583" y="19618"/>
                    <a:pt x="12583" y="19657"/>
                  </a:cubicBezTo>
                  <a:cubicBezTo>
                    <a:pt x="12880" y="19690"/>
                    <a:pt x="12423" y="19903"/>
                    <a:pt x="12825" y="20121"/>
                  </a:cubicBezTo>
                  <a:cubicBezTo>
                    <a:pt x="12423" y="20340"/>
                    <a:pt x="12880" y="20473"/>
                    <a:pt x="13281" y="20418"/>
                  </a:cubicBezTo>
                  <a:cubicBezTo>
                    <a:pt x="13281" y="20361"/>
                    <a:pt x="13901" y="20265"/>
                    <a:pt x="13901" y="20201"/>
                  </a:cubicBezTo>
                  <a:cubicBezTo>
                    <a:pt x="14279" y="20138"/>
                    <a:pt x="14329" y="20098"/>
                    <a:pt x="14329" y="20123"/>
                  </a:cubicBezTo>
                  <a:cubicBezTo>
                    <a:pt x="14651" y="20140"/>
                    <a:pt x="14786" y="20240"/>
                    <a:pt x="14384" y="20329"/>
                  </a:cubicBezTo>
                  <a:cubicBezTo>
                    <a:pt x="14384" y="20421"/>
                    <a:pt x="14302" y="20580"/>
                    <a:pt x="13579" y="20668"/>
                  </a:cubicBezTo>
                  <a:cubicBezTo>
                    <a:pt x="13579" y="20763"/>
                    <a:pt x="12959" y="20979"/>
                    <a:pt x="12959" y="21149"/>
                  </a:cubicBezTo>
                  <a:cubicBezTo>
                    <a:pt x="12959" y="21319"/>
                    <a:pt x="12746" y="21498"/>
                    <a:pt x="13150" y="21531"/>
                  </a:cubicBezTo>
                  <a:cubicBezTo>
                    <a:pt x="13150" y="21571"/>
                    <a:pt x="13793" y="21390"/>
                    <a:pt x="14170" y="21127"/>
                  </a:cubicBezTo>
                  <a:cubicBezTo>
                    <a:pt x="14599" y="20863"/>
                    <a:pt x="14734" y="20557"/>
                    <a:pt x="15164" y="20452"/>
                  </a:cubicBezTo>
                  <a:cubicBezTo>
                    <a:pt x="15164" y="20342"/>
                    <a:pt x="15350" y="20184"/>
                    <a:pt x="15755" y="20104"/>
                  </a:cubicBezTo>
                  <a:cubicBezTo>
                    <a:pt x="15755" y="20019"/>
                    <a:pt x="16156" y="19876"/>
                    <a:pt x="16156" y="19785"/>
                  </a:cubicBezTo>
                  <a:cubicBezTo>
                    <a:pt x="16156" y="19692"/>
                    <a:pt x="16156" y="19639"/>
                    <a:pt x="15835" y="19647"/>
                  </a:cubicBezTo>
                  <a:cubicBezTo>
                    <a:pt x="15835" y="19668"/>
                    <a:pt x="15298" y="19632"/>
                    <a:pt x="15298" y="19577"/>
                  </a:cubicBezTo>
                  <a:cubicBezTo>
                    <a:pt x="15298" y="19520"/>
                    <a:pt x="14975" y="19489"/>
                    <a:pt x="14678" y="19498"/>
                  </a:cubicBezTo>
                  <a:cubicBezTo>
                    <a:pt x="14384" y="19505"/>
                    <a:pt x="14519" y="19418"/>
                    <a:pt x="14519" y="19294"/>
                  </a:cubicBezTo>
                  <a:cubicBezTo>
                    <a:pt x="14922" y="19174"/>
                    <a:pt x="14786" y="18820"/>
                    <a:pt x="15190" y="18514"/>
                  </a:cubicBezTo>
                  <a:cubicBezTo>
                    <a:pt x="15620" y="18211"/>
                    <a:pt x="15405" y="17831"/>
                    <a:pt x="15807" y="17681"/>
                  </a:cubicBezTo>
                  <a:cubicBezTo>
                    <a:pt x="15807" y="17527"/>
                    <a:pt x="15941" y="17343"/>
                    <a:pt x="16398" y="17282"/>
                  </a:cubicBezTo>
                  <a:cubicBezTo>
                    <a:pt x="16398" y="17219"/>
                    <a:pt x="16854" y="17204"/>
                    <a:pt x="16854" y="17248"/>
                  </a:cubicBezTo>
                  <a:cubicBezTo>
                    <a:pt x="16854" y="17297"/>
                    <a:pt x="17044" y="17309"/>
                    <a:pt x="17339" y="17285"/>
                  </a:cubicBezTo>
                  <a:cubicBezTo>
                    <a:pt x="17339" y="17255"/>
                    <a:pt x="17717" y="17185"/>
                    <a:pt x="17717" y="17126"/>
                  </a:cubicBezTo>
                  <a:cubicBezTo>
                    <a:pt x="17717" y="17067"/>
                    <a:pt x="17957" y="16930"/>
                    <a:pt x="17581" y="16826"/>
                  </a:cubicBezTo>
                  <a:cubicBezTo>
                    <a:pt x="17581" y="16719"/>
                    <a:pt x="17151" y="16638"/>
                    <a:pt x="16854" y="16638"/>
                  </a:cubicBezTo>
                  <a:cubicBezTo>
                    <a:pt x="16589" y="16646"/>
                    <a:pt x="16426" y="16510"/>
                    <a:pt x="16426" y="16342"/>
                  </a:cubicBezTo>
                  <a:cubicBezTo>
                    <a:pt x="16426" y="16174"/>
                    <a:pt x="16589" y="16098"/>
                    <a:pt x="16156" y="16166"/>
                  </a:cubicBezTo>
                  <a:cubicBezTo>
                    <a:pt x="16156" y="16237"/>
                    <a:pt x="15914" y="16437"/>
                    <a:pt x="15513" y="16611"/>
                  </a:cubicBezTo>
                  <a:cubicBezTo>
                    <a:pt x="15513" y="16789"/>
                    <a:pt x="14707" y="17000"/>
                    <a:pt x="14707" y="17087"/>
                  </a:cubicBezTo>
                  <a:cubicBezTo>
                    <a:pt x="14329" y="17173"/>
                    <a:pt x="14195" y="17173"/>
                    <a:pt x="14195" y="17088"/>
                  </a:cubicBezTo>
                  <a:cubicBezTo>
                    <a:pt x="14195" y="17002"/>
                    <a:pt x="14195" y="16772"/>
                    <a:pt x="14599" y="16583"/>
                  </a:cubicBezTo>
                  <a:cubicBezTo>
                    <a:pt x="14599" y="16393"/>
                    <a:pt x="15190" y="16068"/>
                    <a:pt x="15190" y="15863"/>
                  </a:cubicBezTo>
                  <a:cubicBezTo>
                    <a:pt x="15190" y="15656"/>
                    <a:pt x="14922" y="15361"/>
                    <a:pt x="14922" y="15205"/>
                  </a:cubicBezTo>
                  <a:cubicBezTo>
                    <a:pt x="14922" y="15049"/>
                    <a:pt x="14008" y="14926"/>
                    <a:pt x="14008" y="14947"/>
                  </a:cubicBezTo>
                  <a:cubicBezTo>
                    <a:pt x="14008" y="14969"/>
                    <a:pt x="12853" y="15141"/>
                    <a:pt x="12450" y="15350"/>
                  </a:cubicBezTo>
                  <a:cubicBezTo>
                    <a:pt x="11618" y="15556"/>
                    <a:pt x="10998" y="15848"/>
                    <a:pt x="10998" y="15996"/>
                  </a:cubicBezTo>
                  <a:cubicBezTo>
                    <a:pt x="10570" y="16142"/>
                    <a:pt x="10058" y="16310"/>
                    <a:pt x="10058" y="16371"/>
                  </a:cubicBezTo>
                  <a:cubicBezTo>
                    <a:pt x="10058" y="16429"/>
                    <a:pt x="9468" y="16424"/>
                    <a:pt x="9064" y="16368"/>
                  </a:cubicBezTo>
                  <a:cubicBezTo>
                    <a:pt x="8715" y="16310"/>
                    <a:pt x="8688" y="16117"/>
                    <a:pt x="8688" y="15943"/>
                  </a:cubicBezTo>
                  <a:cubicBezTo>
                    <a:pt x="8688" y="15770"/>
                    <a:pt x="8557" y="15543"/>
                    <a:pt x="8557" y="15439"/>
                  </a:cubicBezTo>
                  <a:cubicBezTo>
                    <a:pt x="8206" y="15336"/>
                    <a:pt x="8743" y="15087"/>
                    <a:pt x="8743" y="14890"/>
                  </a:cubicBezTo>
                  <a:cubicBezTo>
                    <a:pt x="9119" y="14692"/>
                    <a:pt x="9119" y="14438"/>
                    <a:pt x="9520" y="14331"/>
                  </a:cubicBezTo>
                  <a:cubicBezTo>
                    <a:pt x="9520" y="14220"/>
                    <a:pt x="9818" y="14028"/>
                    <a:pt x="9818" y="13904"/>
                  </a:cubicBezTo>
                  <a:cubicBezTo>
                    <a:pt x="9818" y="13778"/>
                    <a:pt x="10247" y="13483"/>
                    <a:pt x="9818" y="13251"/>
                  </a:cubicBezTo>
                  <a:cubicBezTo>
                    <a:pt x="10221" y="13017"/>
                    <a:pt x="9791" y="12764"/>
                    <a:pt x="9791" y="12691"/>
                  </a:cubicBezTo>
                  <a:cubicBezTo>
                    <a:pt x="9791" y="12617"/>
                    <a:pt x="9712" y="12370"/>
                    <a:pt x="10113" y="12144"/>
                  </a:cubicBezTo>
                  <a:cubicBezTo>
                    <a:pt x="10516" y="11918"/>
                    <a:pt x="11105" y="11614"/>
                    <a:pt x="11105" y="11470"/>
                  </a:cubicBezTo>
                  <a:cubicBezTo>
                    <a:pt x="11510" y="11328"/>
                    <a:pt x="11886" y="11042"/>
                    <a:pt x="11886" y="10839"/>
                  </a:cubicBezTo>
                  <a:cubicBezTo>
                    <a:pt x="11886" y="10634"/>
                    <a:pt x="11859" y="10324"/>
                    <a:pt x="12610" y="10159"/>
                  </a:cubicBezTo>
                  <a:cubicBezTo>
                    <a:pt x="12610" y="9989"/>
                    <a:pt x="13955" y="9621"/>
                    <a:pt x="14358" y="9334"/>
                  </a:cubicBezTo>
                  <a:cubicBezTo>
                    <a:pt x="15135" y="9052"/>
                    <a:pt x="16021" y="8763"/>
                    <a:pt x="16021" y="8690"/>
                  </a:cubicBezTo>
                  <a:cubicBezTo>
                    <a:pt x="16021" y="8618"/>
                    <a:pt x="16104" y="8670"/>
                    <a:pt x="16104" y="8806"/>
                  </a:cubicBezTo>
                  <a:cubicBezTo>
                    <a:pt x="15699" y="8941"/>
                    <a:pt x="15620" y="9125"/>
                    <a:pt x="15620" y="9218"/>
                  </a:cubicBezTo>
                  <a:cubicBezTo>
                    <a:pt x="15620" y="9312"/>
                    <a:pt x="15914" y="9181"/>
                    <a:pt x="16319" y="8930"/>
                  </a:cubicBezTo>
                  <a:cubicBezTo>
                    <a:pt x="16695" y="8678"/>
                    <a:pt x="17284" y="8297"/>
                    <a:pt x="17284" y="8081"/>
                  </a:cubicBezTo>
                  <a:cubicBezTo>
                    <a:pt x="17284" y="7866"/>
                    <a:pt x="17311" y="7468"/>
                    <a:pt x="18117" y="7201"/>
                  </a:cubicBezTo>
                  <a:cubicBezTo>
                    <a:pt x="18117" y="6931"/>
                    <a:pt x="19193" y="6359"/>
                    <a:pt x="19594" y="5924"/>
                  </a:cubicBezTo>
                  <a:cubicBezTo>
                    <a:pt x="19594" y="5492"/>
                    <a:pt x="20241" y="5052"/>
                    <a:pt x="20241" y="4943"/>
                  </a:cubicBezTo>
                  <a:cubicBezTo>
                    <a:pt x="20241" y="4834"/>
                    <a:pt x="20214" y="4558"/>
                    <a:pt x="20214" y="4328"/>
                  </a:cubicBezTo>
                  <a:cubicBezTo>
                    <a:pt x="20615" y="4099"/>
                    <a:pt x="20028" y="3881"/>
                    <a:pt x="20028" y="3847"/>
                  </a:cubicBezTo>
                  <a:cubicBezTo>
                    <a:pt x="19650" y="3816"/>
                    <a:pt x="19594" y="3553"/>
                    <a:pt x="19594" y="3274"/>
                  </a:cubicBezTo>
                  <a:cubicBezTo>
                    <a:pt x="19594" y="2994"/>
                    <a:pt x="19487" y="2471"/>
                    <a:pt x="19892" y="2113"/>
                  </a:cubicBezTo>
                  <a:cubicBezTo>
                    <a:pt x="19892" y="1754"/>
                    <a:pt x="20373" y="1355"/>
                    <a:pt x="20778" y="1226"/>
                  </a:cubicBezTo>
                  <a:cubicBezTo>
                    <a:pt x="20778" y="1095"/>
                    <a:pt x="20964" y="881"/>
                    <a:pt x="21369" y="752"/>
                  </a:cubicBezTo>
                  <a:cubicBezTo>
                    <a:pt x="21369" y="619"/>
                    <a:pt x="21314" y="382"/>
                    <a:pt x="21314" y="227"/>
                  </a:cubicBezTo>
                  <a:cubicBezTo>
                    <a:pt x="21314" y="73"/>
                    <a:pt x="20805" y="-29"/>
                    <a:pt x="20805" y="8"/>
                  </a:cubicBezTo>
                  <a:cubicBezTo>
                    <a:pt x="20456" y="38"/>
                    <a:pt x="20429" y="143"/>
                    <a:pt x="20429" y="229"/>
                  </a:cubicBezTo>
                  <a:cubicBezTo>
                    <a:pt x="20429" y="315"/>
                    <a:pt x="20241" y="477"/>
                    <a:pt x="19836" y="585"/>
                  </a:cubicBezTo>
                  <a:cubicBezTo>
                    <a:pt x="19836" y="696"/>
                    <a:pt x="19030" y="798"/>
                    <a:pt x="18574" y="798"/>
                  </a:cubicBezTo>
                  <a:cubicBezTo>
                    <a:pt x="18574" y="823"/>
                    <a:pt x="17581" y="886"/>
                    <a:pt x="17581" y="982"/>
                  </a:cubicBezTo>
                  <a:cubicBezTo>
                    <a:pt x="17581" y="1077"/>
                    <a:pt x="17393" y="1083"/>
                    <a:pt x="17017" y="1001"/>
                  </a:cubicBezTo>
                  <a:cubicBezTo>
                    <a:pt x="16589" y="923"/>
                    <a:pt x="16775" y="712"/>
                    <a:pt x="16346" y="542"/>
                  </a:cubicBezTo>
                  <a:cubicBezTo>
                    <a:pt x="15941" y="377"/>
                    <a:pt x="15325" y="194"/>
                    <a:pt x="14922" y="131"/>
                  </a:cubicBezTo>
                  <a:cubicBezTo>
                    <a:pt x="14544" y="67"/>
                    <a:pt x="13308" y="105"/>
                    <a:pt x="12880" y="209"/>
                  </a:cubicBezTo>
                  <a:cubicBezTo>
                    <a:pt x="12182" y="306"/>
                    <a:pt x="11618" y="561"/>
                    <a:pt x="11618" y="771"/>
                  </a:cubicBezTo>
                  <a:cubicBezTo>
                    <a:pt x="11618" y="979"/>
                    <a:pt x="10756" y="1459"/>
                    <a:pt x="10355" y="1843"/>
                  </a:cubicBezTo>
                  <a:cubicBezTo>
                    <a:pt x="9549" y="2220"/>
                    <a:pt x="9279" y="2722"/>
                    <a:pt x="9279" y="2946"/>
                  </a:cubicBezTo>
                  <a:cubicBezTo>
                    <a:pt x="9279" y="3172"/>
                    <a:pt x="9227" y="3669"/>
                    <a:pt x="8851" y="4052"/>
                  </a:cubicBezTo>
                  <a:cubicBezTo>
                    <a:pt x="8448" y="4434"/>
                    <a:pt x="7937" y="5127"/>
                    <a:pt x="7507" y="5593"/>
                  </a:cubicBezTo>
                  <a:cubicBezTo>
                    <a:pt x="7103" y="6058"/>
                    <a:pt x="6404" y="6625"/>
                    <a:pt x="6003" y="6849"/>
                  </a:cubicBezTo>
                  <a:cubicBezTo>
                    <a:pt x="5598" y="7073"/>
                    <a:pt x="5491" y="7505"/>
                    <a:pt x="5491" y="7807"/>
                  </a:cubicBezTo>
                  <a:cubicBezTo>
                    <a:pt x="5491" y="8109"/>
                    <a:pt x="5412" y="8455"/>
                    <a:pt x="5412" y="8575"/>
                  </a:cubicBezTo>
                  <a:cubicBezTo>
                    <a:pt x="5412" y="8695"/>
                    <a:pt x="4660" y="8857"/>
                    <a:pt x="4660" y="8939"/>
                  </a:cubicBezTo>
                  <a:cubicBezTo>
                    <a:pt x="4660" y="9019"/>
                    <a:pt x="4042" y="9052"/>
                    <a:pt x="3585" y="9046"/>
                  </a:cubicBezTo>
                  <a:cubicBezTo>
                    <a:pt x="3585" y="9022"/>
                    <a:pt x="2835" y="8889"/>
                    <a:pt x="2835" y="8740"/>
                  </a:cubicBezTo>
                  <a:cubicBezTo>
                    <a:pt x="2835" y="8592"/>
                    <a:pt x="2564" y="8659"/>
                    <a:pt x="2160" y="8887"/>
                  </a:cubicBezTo>
                  <a:cubicBezTo>
                    <a:pt x="1759" y="9115"/>
                    <a:pt x="1596" y="9468"/>
                    <a:pt x="1596" y="9666"/>
                  </a:cubicBezTo>
                  <a:close/>
                  <a:moveTo>
                    <a:pt x="1596" y="966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1" name="AutoShape 230"/>
            <p:cNvSpPr>
              <a:spLocks/>
            </p:cNvSpPr>
            <p:nvPr/>
          </p:nvSpPr>
          <p:spPr bwMode="auto">
            <a:xfrm>
              <a:off x="10629900" y="4775200"/>
              <a:ext cx="0" cy="1588"/>
            </a:xfrm>
            <a:custGeom>
              <a:avLst/>
              <a:gdLst/>
              <a:ahLst/>
              <a:cxnLst/>
              <a:rect l="0" t="0" r="r" b="b"/>
              <a:pathLst>
                <a:path w="13839" h="19046">
                  <a:moveTo>
                    <a:pt x="7847" y="5472"/>
                  </a:moveTo>
                  <a:cubicBezTo>
                    <a:pt x="7847" y="10734"/>
                    <a:pt x="-4811" y="16860"/>
                    <a:pt x="2027" y="18417"/>
                  </a:cubicBezTo>
                  <a:cubicBezTo>
                    <a:pt x="-4252" y="20013"/>
                    <a:pt x="7847" y="18536"/>
                    <a:pt x="7847" y="14401"/>
                  </a:cubicBezTo>
                  <a:cubicBezTo>
                    <a:pt x="16789" y="10502"/>
                    <a:pt x="13074" y="4578"/>
                    <a:pt x="13074" y="1457"/>
                  </a:cubicBezTo>
                  <a:cubicBezTo>
                    <a:pt x="13074" y="-1587"/>
                    <a:pt x="15178" y="323"/>
                    <a:pt x="7847" y="5472"/>
                  </a:cubicBezTo>
                  <a:close/>
                  <a:moveTo>
                    <a:pt x="7847" y="54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2" name="AutoShape 231"/>
            <p:cNvSpPr>
              <a:spLocks/>
            </p:cNvSpPr>
            <p:nvPr/>
          </p:nvSpPr>
          <p:spPr bwMode="auto">
            <a:xfrm>
              <a:off x="10629900" y="4775200"/>
              <a:ext cx="0" cy="0"/>
            </a:xfrm>
            <a:custGeom>
              <a:avLst/>
              <a:gdLst/>
              <a:ahLst/>
              <a:cxnLst/>
              <a:rect l="0" t="0" r="r" b="b"/>
              <a:pathLst>
                <a:path w="15739" h="15722">
                  <a:moveTo>
                    <a:pt x="15739" y="9968"/>
                  </a:moveTo>
                  <a:cubicBezTo>
                    <a:pt x="9314" y="7366"/>
                    <a:pt x="15739" y="3071"/>
                    <a:pt x="13688" y="0"/>
                  </a:cubicBezTo>
                  <a:cubicBezTo>
                    <a:pt x="-3947" y="14234"/>
                    <a:pt x="-5861" y="21600"/>
                    <a:pt x="15739" y="9968"/>
                  </a:cubicBezTo>
                  <a:close/>
                  <a:moveTo>
                    <a:pt x="15739" y="99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3" name="AutoShape 232"/>
            <p:cNvSpPr>
              <a:spLocks/>
            </p:cNvSpPr>
            <p:nvPr/>
          </p:nvSpPr>
          <p:spPr bwMode="auto">
            <a:xfrm>
              <a:off x="10629900" y="4762500"/>
              <a:ext cx="0" cy="1588"/>
            </a:xfrm>
            <a:custGeom>
              <a:avLst/>
              <a:gdLst/>
              <a:ahLst/>
              <a:cxnLst/>
              <a:rect l="0" t="0" r="r" b="b"/>
              <a:pathLst>
                <a:path w="21600" h="19083">
                  <a:moveTo>
                    <a:pt x="0" y="12480"/>
                  </a:moveTo>
                  <a:cubicBezTo>
                    <a:pt x="0" y="17982"/>
                    <a:pt x="4649" y="20625"/>
                    <a:pt x="4649" y="18151"/>
                  </a:cubicBezTo>
                  <a:cubicBezTo>
                    <a:pt x="4649" y="15557"/>
                    <a:pt x="21600" y="10308"/>
                    <a:pt x="21600" y="5967"/>
                  </a:cubicBezTo>
                  <a:cubicBezTo>
                    <a:pt x="21600" y="1510"/>
                    <a:pt x="16951" y="-975"/>
                    <a:pt x="16951" y="360"/>
                  </a:cubicBezTo>
                  <a:cubicBezTo>
                    <a:pt x="16951" y="1559"/>
                    <a:pt x="0" y="6993"/>
                    <a:pt x="0" y="12480"/>
                  </a:cubicBezTo>
                  <a:close/>
                  <a:moveTo>
                    <a:pt x="0" y="124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4" name="AutoShape 233"/>
            <p:cNvSpPr>
              <a:spLocks/>
            </p:cNvSpPr>
            <p:nvPr/>
          </p:nvSpPr>
          <p:spPr bwMode="auto">
            <a:xfrm>
              <a:off x="10629900" y="4775200"/>
              <a:ext cx="0" cy="1588"/>
            </a:xfrm>
            <a:custGeom>
              <a:avLst/>
              <a:gdLst/>
              <a:ahLst/>
              <a:cxnLst/>
              <a:rect l="0" t="0" r="r" b="b"/>
              <a:pathLst>
                <a:path w="14277" h="18662">
                  <a:moveTo>
                    <a:pt x="11347" y="2281"/>
                  </a:moveTo>
                  <a:cubicBezTo>
                    <a:pt x="4488" y="6834"/>
                    <a:pt x="-2371" y="13579"/>
                    <a:pt x="795" y="18662"/>
                  </a:cubicBezTo>
                  <a:cubicBezTo>
                    <a:pt x="2905" y="16695"/>
                    <a:pt x="3961" y="15097"/>
                    <a:pt x="8709" y="11752"/>
                  </a:cubicBezTo>
                  <a:cubicBezTo>
                    <a:pt x="8709" y="1037"/>
                    <a:pt x="19229" y="-2938"/>
                    <a:pt x="11347" y="2281"/>
                  </a:cubicBezTo>
                  <a:close/>
                  <a:moveTo>
                    <a:pt x="11347" y="228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5" name="AutoShape 234"/>
            <p:cNvSpPr>
              <a:spLocks/>
            </p:cNvSpPr>
            <p:nvPr/>
          </p:nvSpPr>
          <p:spPr bwMode="auto">
            <a:xfrm>
              <a:off x="10629900" y="4711700"/>
              <a:ext cx="1588" cy="42863"/>
            </a:xfrm>
            <a:custGeom>
              <a:avLst/>
              <a:gdLst/>
              <a:ahLst/>
              <a:cxnLst/>
              <a:rect l="0" t="0" r="r" b="b"/>
              <a:pathLst>
                <a:path w="20805" h="21543">
                  <a:moveTo>
                    <a:pt x="19412" y="230"/>
                  </a:moveTo>
                  <a:cubicBezTo>
                    <a:pt x="19412" y="373"/>
                    <a:pt x="17501" y="339"/>
                    <a:pt x="18503" y="218"/>
                  </a:cubicBezTo>
                  <a:cubicBezTo>
                    <a:pt x="18503" y="62"/>
                    <a:pt x="17501" y="25"/>
                    <a:pt x="17501" y="137"/>
                  </a:cubicBezTo>
                  <a:cubicBezTo>
                    <a:pt x="17501" y="249"/>
                    <a:pt x="17085" y="584"/>
                    <a:pt x="15834" y="857"/>
                  </a:cubicBezTo>
                  <a:cubicBezTo>
                    <a:pt x="14759" y="1149"/>
                    <a:pt x="14510" y="1441"/>
                    <a:pt x="13762" y="1441"/>
                  </a:cubicBezTo>
                  <a:cubicBezTo>
                    <a:pt x="13098" y="1469"/>
                    <a:pt x="11597" y="1522"/>
                    <a:pt x="11597" y="1599"/>
                  </a:cubicBezTo>
                  <a:cubicBezTo>
                    <a:pt x="11597" y="1667"/>
                    <a:pt x="10273" y="1599"/>
                    <a:pt x="10273" y="1463"/>
                  </a:cubicBezTo>
                  <a:cubicBezTo>
                    <a:pt x="10273" y="1339"/>
                    <a:pt x="9022" y="1646"/>
                    <a:pt x="9022" y="2148"/>
                  </a:cubicBezTo>
                  <a:cubicBezTo>
                    <a:pt x="9022" y="2667"/>
                    <a:pt x="7033" y="4024"/>
                    <a:pt x="7033" y="5176"/>
                  </a:cubicBezTo>
                  <a:cubicBezTo>
                    <a:pt x="7033" y="6325"/>
                    <a:pt x="6036" y="7834"/>
                    <a:pt x="6036" y="8525"/>
                  </a:cubicBezTo>
                  <a:cubicBezTo>
                    <a:pt x="6036" y="9218"/>
                    <a:pt x="5704" y="10550"/>
                    <a:pt x="5704" y="11485"/>
                  </a:cubicBezTo>
                  <a:cubicBezTo>
                    <a:pt x="5704" y="12416"/>
                    <a:pt x="5372" y="13360"/>
                    <a:pt x="5372" y="13568"/>
                  </a:cubicBezTo>
                  <a:cubicBezTo>
                    <a:pt x="5372" y="13789"/>
                    <a:pt x="4624" y="14251"/>
                    <a:pt x="4624" y="14602"/>
                  </a:cubicBezTo>
                  <a:cubicBezTo>
                    <a:pt x="4624" y="14940"/>
                    <a:pt x="2376" y="15620"/>
                    <a:pt x="2376" y="16111"/>
                  </a:cubicBezTo>
                  <a:cubicBezTo>
                    <a:pt x="1212" y="16605"/>
                    <a:pt x="387" y="17154"/>
                    <a:pt x="387" y="17340"/>
                  </a:cubicBezTo>
                  <a:cubicBezTo>
                    <a:pt x="-610" y="17514"/>
                    <a:pt x="636" y="17555"/>
                    <a:pt x="636" y="17384"/>
                  </a:cubicBezTo>
                  <a:cubicBezTo>
                    <a:pt x="636" y="17216"/>
                    <a:pt x="1296" y="17241"/>
                    <a:pt x="1296" y="17428"/>
                  </a:cubicBezTo>
                  <a:cubicBezTo>
                    <a:pt x="1296" y="17620"/>
                    <a:pt x="1212" y="17924"/>
                    <a:pt x="1212" y="18110"/>
                  </a:cubicBezTo>
                  <a:cubicBezTo>
                    <a:pt x="1212" y="18287"/>
                    <a:pt x="387" y="18716"/>
                    <a:pt x="1467" y="19036"/>
                  </a:cubicBezTo>
                  <a:cubicBezTo>
                    <a:pt x="1467" y="19361"/>
                    <a:pt x="2132" y="20048"/>
                    <a:pt x="963" y="20535"/>
                  </a:cubicBezTo>
                  <a:cubicBezTo>
                    <a:pt x="-361" y="21016"/>
                    <a:pt x="1799" y="21463"/>
                    <a:pt x="1799" y="21386"/>
                  </a:cubicBezTo>
                  <a:cubicBezTo>
                    <a:pt x="1799" y="21321"/>
                    <a:pt x="3461" y="21417"/>
                    <a:pt x="3461" y="21507"/>
                  </a:cubicBezTo>
                  <a:cubicBezTo>
                    <a:pt x="3461" y="21600"/>
                    <a:pt x="4208" y="21507"/>
                    <a:pt x="4208" y="21295"/>
                  </a:cubicBezTo>
                  <a:cubicBezTo>
                    <a:pt x="4208" y="21097"/>
                    <a:pt x="5039" y="21054"/>
                    <a:pt x="5039" y="21196"/>
                  </a:cubicBezTo>
                  <a:cubicBezTo>
                    <a:pt x="5039" y="21333"/>
                    <a:pt x="5704" y="21100"/>
                    <a:pt x="5704" y="20665"/>
                  </a:cubicBezTo>
                  <a:cubicBezTo>
                    <a:pt x="7033" y="20256"/>
                    <a:pt x="7116" y="19361"/>
                    <a:pt x="7116" y="18703"/>
                  </a:cubicBezTo>
                  <a:cubicBezTo>
                    <a:pt x="7116" y="18048"/>
                    <a:pt x="9437" y="17232"/>
                    <a:pt x="8196" y="16918"/>
                  </a:cubicBezTo>
                  <a:cubicBezTo>
                    <a:pt x="9437" y="16586"/>
                    <a:pt x="8025" y="15421"/>
                    <a:pt x="10517" y="14360"/>
                  </a:cubicBezTo>
                  <a:cubicBezTo>
                    <a:pt x="10517" y="13289"/>
                    <a:pt x="12433" y="11327"/>
                    <a:pt x="14925" y="10013"/>
                  </a:cubicBezTo>
                  <a:cubicBezTo>
                    <a:pt x="14925" y="8681"/>
                    <a:pt x="16753" y="7256"/>
                    <a:pt x="18082" y="6856"/>
                  </a:cubicBezTo>
                  <a:cubicBezTo>
                    <a:pt x="18082" y="6433"/>
                    <a:pt x="18913" y="5930"/>
                    <a:pt x="18913" y="5725"/>
                  </a:cubicBezTo>
                  <a:cubicBezTo>
                    <a:pt x="18913" y="5520"/>
                    <a:pt x="18243" y="4691"/>
                    <a:pt x="19412" y="3884"/>
                  </a:cubicBezTo>
                  <a:cubicBezTo>
                    <a:pt x="19412" y="3071"/>
                    <a:pt x="19412" y="1866"/>
                    <a:pt x="20658" y="1211"/>
                  </a:cubicBezTo>
                  <a:cubicBezTo>
                    <a:pt x="20658" y="556"/>
                    <a:pt x="20990" y="0"/>
                    <a:pt x="20658" y="0"/>
                  </a:cubicBezTo>
                  <a:cubicBezTo>
                    <a:pt x="20990" y="0"/>
                    <a:pt x="19412" y="94"/>
                    <a:pt x="19412" y="230"/>
                  </a:cubicBezTo>
                  <a:close/>
                  <a:moveTo>
                    <a:pt x="19412" y="2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6" name="AutoShape 235"/>
            <p:cNvSpPr>
              <a:spLocks/>
            </p:cNvSpPr>
            <p:nvPr/>
          </p:nvSpPr>
          <p:spPr bwMode="auto">
            <a:xfrm>
              <a:off x="10642600" y="4673600"/>
              <a:ext cx="0" cy="14288"/>
            </a:xfrm>
            <a:custGeom>
              <a:avLst/>
              <a:gdLst/>
              <a:ahLst/>
              <a:cxnLst/>
              <a:rect l="0" t="0" r="r" b="b"/>
              <a:pathLst>
                <a:path w="20613" h="20853">
                  <a:moveTo>
                    <a:pt x="17802" y="376"/>
                  </a:moveTo>
                  <a:cubicBezTo>
                    <a:pt x="17802" y="1220"/>
                    <a:pt x="12818" y="3711"/>
                    <a:pt x="12818" y="5941"/>
                  </a:cubicBezTo>
                  <a:cubicBezTo>
                    <a:pt x="12818" y="8177"/>
                    <a:pt x="10219" y="11322"/>
                    <a:pt x="7233" y="12922"/>
                  </a:cubicBezTo>
                  <a:cubicBezTo>
                    <a:pt x="4210" y="14491"/>
                    <a:pt x="2211" y="16306"/>
                    <a:pt x="2211" y="16910"/>
                  </a:cubicBezTo>
                  <a:cubicBezTo>
                    <a:pt x="-987" y="17429"/>
                    <a:pt x="225" y="18825"/>
                    <a:pt x="225" y="19856"/>
                  </a:cubicBezTo>
                  <a:cubicBezTo>
                    <a:pt x="225" y="20896"/>
                    <a:pt x="5222" y="21185"/>
                    <a:pt x="5222" y="20426"/>
                  </a:cubicBezTo>
                  <a:cubicBezTo>
                    <a:pt x="10806" y="19856"/>
                    <a:pt x="14017" y="17371"/>
                    <a:pt x="14017" y="15201"/>
                  </a:cubicBezTo>
                  <a:cubicBezTo>
                    <a:pt x="20013" y="13121"/>
                    <a:pt x="19401" y="9687"/>
                    <a:pt x="19401" y="7714"/>
                  </a:cubicBezTo>
                  <a:cubicBezTo>
                    <a:pt x="19401" y="5726"/>
                    <a:pt x="20613" y="2927"/>
                    <a:pt x="20613" y="1507"/>
                  </a:cubicBezTo>
                  <a:cubicBezTo>
                    <a:pt x="20613" y="80"/>
                    <a:pt x="20401" y="-415"/>
                    <a:pt x="17802" y="376"/>
                  </a:cubicBezTo>
                  <a:close/>
                  <a:moveTo>
                    <a:pt x="17802" y="3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7" name="AutoShape 236"/>
            <p:cNvSpPr>
              <a:spLocks/>
            </p:cNvSpPr>
            <p:nvPr/>
          </p:nvSpPr>
          <p:spPr bwMode="auto">
            <a:xfrm>
              <a:off x="10502900" y="5194300"/>
              <a:ext cx="1588" cy="6350"/>
            </a:xfrm>
            <a:custGeom>
              <a:avLst/>
              <a:gdLst/>
              <a:ahLst/>
              <a:cxnLst/>
              <a:rect l="0" t="0" r="r" b="b"/>
              <a:pathLst>
                <a:path w="19741" h="20400">
                  <a:moveTo>
                    <a:pt x="10130" y="18204"/>
                  </a:moveTo>
                  <a:cubicBezTo>
                    <a:pt x="13340" y="15202"/>
                    <a:pt x="18197" y="9826"/>
                    <a:pt x="19741" y="5969"/>
                  </a:cubicBezTo>
                  <a:cubicBezTo>
                    <a:pt x="19741" y="2074"/>
                    <a:pt x="19644" y="-431"/>
                    <a:pt x="16440" y="62"/>
                  </a:cubicBezTo>
                  <a:cubicBezTo>
                    <a:pt x="14057" y="856"/>
                    <a:pt x="8373" y="3888"/>
                    <a:pt x="5272" y="7252"/>
                  </a:cubicBezTo>
                  <a:cubicBezTo>
                    <a:pt x="1868" y="10585"/>
                    <a:pt x="-1859" y="15695"/>
                    <a:pt x="1041" y="18367"/>
                  </a:cubicBezTo>
                  <a:cubicBezTo>
                    <a:pt x="1041" y="21169"/>
                    <a:pt x="5685" y="21038"/>
                    <a:pt x="10130" y="18204"/>
                  </a:cubicBezTo>
                  <a:close/>
                  <a:moveTo>
                    <a:pt x="10130" y="182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8" name="AutoShape 237"/>
            <p:cNvSpPr>
              <a:spLocks/>
            </p:cNvSpPr>
            <p:nvPr/>
          </p:nvSpPr>
          <p:spPr bwMode="auto">
            <a:xfrm>
              <a:off x="10490200" y="5219700"/>
              <a:ext cx="6350" cy="42863"/>
            </a:xfrm>
            <a:custGeom>
              <a:avLst/>
              <a:gdLst/>
              <a:ahLst/>
              <a:cxnLst/>
              <a:rect l="0" t="0" r="r" b="b"/>
              <a:pathLst>
                <a:path w="21223" h="21410">
                  <a:moveTo>
                    <a:pt x="3638" y="9629"/>
                  </a:moveTo>
                  <a:cubicBezTo>
                    <a:pt x="5602" y="9461"/>
                    <a:pt x="7454" y="9581"/>
                    <a:pt x="7454" y="9893"/>
                  </a:cubicBezTo>
                  <a:cubicBezTo>
                    <a:pt x="7454" y="10218"/>
                    <a:pt x="7202" y="11118"/>
                    <a:pt x="6181" y="11881"/>
                  </a:cubicBezTo>
                  <a:cubicBezTo>
                    <a:pt x="5708" y="12661"/>
                    <a:pt x="4838" y="13460"/>
                    <a:pt x="5236" y="13658"/>
                  </a:cubicBezTo>
                  <a:cubicBezTo>
                    <a:pt x="5236" y="13875"/>
                    <a:pt x="5381" y="14865"/>
                    <a:pt x="4256" y="15862"/>
                  </a:cubicBezTo>
                  <a:cubicBezTo>
                    <a:pt x="3709" y="16865"/>
                    <a:pt x="2945" y="18024"/>
                    <a:pt x="3893" y="18408"/>
                  </a:cubicBezTo>
                  <a:cubicBezTo>
                    <a:pt x="3893" y="18828"/>
                    <a:pt x="6111" y="18960"/>
                    <a:pt x="7202" y="18691"/>
                  </a:cubicBezTo>
                  <a:cubicBezTo>
                    <a:pt x="8547" y="18469"/>
                    <a:pt x="8438" y="18841"/>
                    <a:pt x="8438" y="19573"/>
                  </a:cubicBezTo>
                  <a:cubicBezTo>
                    <a:pt x="7492" y="20288"/>
                    <a:pt x="7127" y="21122"/>
                    <a:pt x="7783" y="21338"/>
                  </a:cubicBezTo>
                  <a:cubicBezTo>
                    <a:pt x="8256" y="21567"/>
                    <a:pt x="8835" y="21225"/>
                    <a:pt x="10256" y="20588"/>
                  </a:cubicBezTo>
                  <a:cubicBezTo>
                    <a:pt x="11892" y="19963"/>
                    <a:pt x="13453" y="18810"/>
                    <a:pt x="13453" y="18060"/>
                  </a:cubicBezTo>
                  <a:cubicBezTo>
                    <a:pt x="14398" y="17327"/>
                    <a:pt x="15855" y="15862"/>
                    <a:pt x="17455" y="14823"/>
                  </a:cubicBezTo>
                  <a:cubicBezTo>
                    <a:pt x="19128" y="13796"/>
                    <a:pt x="19273" y="12842"/>
                    <a:pt x="17782" y="12842"/>
                  </a:cubicBezTo>
                  <a:cubicBezTo>
                    <a:pt x="16328" y="12757"/>
                    <a:pt x="14801" y="12109"/>
                    <a:pt x="14801" y="11334"/>
                  </a:cubicBezTo>
                  <a:cubicBezTo>
                    <a:pt x="14801" y="10572"/>
                    <a:pt x="15635" y="8536"/>
                    <a:pt x="17273" y="6825"/>
                  </a:cubicBezTo>
                  <a:cubicBezTo>
                    <a:pt x="18907" y="5101"/>
                    <a:pt x="19782" y="3510"/>
                    <a:pt x="19782" y="3270"/>
                  </a:cubicBezTo>
                  <a:cubicBezTo>
                    <a:pt x="19782" y="3042"/>
                    <a:pt x="20109" y="2327"/>
                    <a:pt x="20616" y="1672"/>
                  </a:cubicBezTo>
                  <a:cubicBezTo>
                    <a:pt x="21600" y="1030"/>
                    <a:pt x="21200" y="351"/>
                    <a:pt x="20727" y="183"/>
                  </a:cubicBezTo>
                  <a:cubicBezTo>
                    <a:pt x="20727" y="-9"/>
                    <a:pt x="19309" y="-33"/>
                    <a:pt x="18473" y="33"/>
                  </a:cubicBezTo>
                  <a:cubicBezTo>
                    <a:pt x="17855" y="141"/>
                    <a:pt x="16510" y="753"/>
                    <a:pt x="15962" y="1450"/>
                  </a:cubicBezTo>
                  <a:cubicBezTo>
                    <a:pt x="15455" y="2141"/>
                    <a:pt x="14510" y="3071"/>
                    <a:pt x="14510" y="3528"/>
                  </a:cubicBezTo>
                  <a:cubicBezTo>
                    <a:pt x="13962" y="3984"/>
                    <a:pt x="13780" y="4230"/>
                    <a:pt x="12801" y="4152"/>
                  </a:cubicBezTo>
                  <a:cubicBezTo>
                    <a:pt x="12037" y="4026"/>
                    <a:pt x="11019" y="3564"/>
                    <a:pt x="11019" y="3120"/>
                  </a:cubicBezTo>
                  <a:cubicBezTo>
                    <a:pt x="11019" y="2663"/>
                    <a:pt x="10690" y="2483"/>
                    <a:pt x="9781" y="2633"/>
                  </a:cubicBezTo>
                  <a:cubicBezTo>
                    <a:pt x="9781" y="2849"/>
                    <a:pt x="7529" y="3504"/>
                    <a:pt x="7529" y="4152"/>
                  </a:cubicBezTo>
                  <a:cubicBezTo>
                    <a:pt x="6440" y="4789"/>
                    <a:pt x="4220" y="5870"/>
                    <a:pt x="3091" y="6614"/>
                  </a:cubicBezTo>
                  <a:cubicBezTo>
                    <a:pt x="1054" y="7293"/>
                    <a:pt x="0" y="8350"/>
                    <a:pt x="0" y="8908"/>
                  </a:cubicBezTo>
                  <a:cubicBezTo>
                    <a:pt x="548" y="9449"/>
                    <a:pt x="1786" y="9827"/>
                    <a:pt x="3638" y="9629"/>
                  </a:cubicBezTo>
                  <a:close/>
                  <a:moveTo>
                    <a:pt x="3638" y="962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39" name="AutoShape 238"/>
            <p:cNvSpPr>
              <a:spLocks/>
            </p:cNvSpPr>
            <p:nvPr/>
          </p:nvSpPr>
          <p:spPr bwMode="auto">
            <a:xfrm>
              <a:off x="10502900" y="5130800"/>
              <a:ext cx="1588" cy="7938"/>
            </a:xfrm>
            <a:custGeom>
              <a:avLst/>
              <a:gdLst/>
              <a:ahLst/>
              <a:cxnLst/>
              <a:rect l="0" t="0" r="r" b="b"/>
              <a:pathLst>
                <a:path w="19814" h="19217">
                  <a:moveTo>
                    <a:pt x="11977" y="12953"/>
                  </a:moveTo>
                  <a:cubicBezTo>
                    <a:pt x="15035" y="8898"/>
                    <a:pt x="18094" y="3485"/>
                    <a:pt x="19814" y="962"/>
                  </a:cubicBezTo>
                  <a:cubicBezTo>
                    <a:pt x="19814" y="-1618"/>
                    <a:pt x="16087" y="1189"/>
                    <a:pt x="8626" y="7029"/>
                  </a:cubicBezTo>
                  <a:cubicBezTo>
                    <a:pt x="2706" y="13094"/>
                    <a:pt x="-1786" y="18336"/>
                    <a:pt x="699" y="19045"/>
                  </a:cubicBezTo>
                  <a:cubicBezTo>
                    <a:pt x="2228" y="19982"/>
                    <a:pt x="8918" y="16976"/>
                    <a:pt x="11977" y="12953"/>
                  </a:cubicBezTo>
                  <a:close/>
                  <a:moveTo>
                    <a:pt x="11977" y="129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0" name="AutoShape 239"/>
            <p:cNvSpPr>
              <a:spLocks/>
            </p:cNvSpPr>
            <p:nvPr/>
          </p:nvSpPr>
          <p:spPr bwMode="auto">
            <a:xfrm>
              <a:off x="10502900" y="5181600"/>
              <a:ext cx="3175" cy="7938"/>
            </a:xfrm>
            <a:custGeom>
              <a:avLst/>
              <a:gdLst/>
              <a:ahLst/>
              <a:cxnLst/>
              <a:rect l="0" t="0" r="r" b="b"/>
              <a:pathLst>
                <a:path w="19956" h="21097">
                  <a:moveTo>
                    <a:pt x="4925" y="19691"/>
                  </a:moveTo>
                  <a:cubicBezTo>
                    <a:pt x="7436" y="18139"/>
                    <a:pt x="10391" y="18170"/>
                    <a:pt x="12467" y="19810"/>
                  </a:cubicBezTo>
                  <a:cubicBezTo>
                    <a:pt x="14395" y="21393"/>
                    <a:pt x="17272" y="21600"/>
                    <a:pt x="18233" y="19960"/>
                  </a:cubicBezTo>
                  <a:cubicBezTo>
                    <a:pt x="20083" y="18465"/>
                    <a:pt x="20749" y="13366"/>
                    <a:pt x="18682" y="8800"/>
                  </a:cubicBezTo>
                  <a:cubicBezTo>
                    <a:pt x="17503" y="4177"/>
                    <a:pt x="14909" y="296"/>
                    <a:pt x="13355" y="0"/>
                  </a:cubicBezTo>
                  <a:cubicBezTo>
                    <a:pt x="11648" y="0"/>
                    <a:pt x="8250" y="3043"/>
                    <a:pt x="5068" y="7309"/>
                  </a:cubicBezTo>
                  <a:cubicBezTo>
                    <a:pt x="2700" y="11576"/>
                    <a:pt x="-851" y="16737"/>
                    <a:pt x="185" y="18795"/>
                  </a:cubicBezTo>
                  <a:cubicBezTo>
                    <a:pt x="185" y="20882"/>
                    <a:pt x="2770" y="21393"/>
                    <a:pt x="4925" y="19691"/>
                  </a:cubicBezTo>
                  <a:close/>
                  <a:moveTo>
                    <a:pt x="4925" y="196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1" name="AutoShape 240"/>
            <p:cNvSpPr>
              <a:spLocks/>
            </p:cNvSpPr>
            <p:nvPr/>
          </p:nvSpPr>
          <p:spPr bwMode="auto">
            <a:xfrm>
              <a:off x="10490200" y="5143500"/>
              <a:ext cx="4763" cy="14288"/>
            </a:xfrm>
            <a:custGeom>
              <a:avLst/>
              <a:gdLst/>
              <a:ahLst/>
              <a:cxnLst/>
              <a:rect l="0" t="0" r="r" b="b"/>
              <a:pathLst>
                <a:path w="20497" h="21075">
                  <a:moveTo>
                    <a:pt x="170" y="15446"/>
                  </a:moveTo>
                  <a:cubicBezTo>
                    <a:pt x="-564" y="17605"/>
                    <a:pt x="1142" y="19048"/>
                    <a:pt x="3975" y="19048"/>
                  </a:cubicBezTo>
                  <a:cubicBezTo>
                    <a:pt x="6699" y="19048"/>
                    <a:pt x="9819" y="19537"/>
                    <a:pt x="11430" y="20406"/>
                  </a:cubicBezTo>
                  <a:cubicBezTo>
                    <a:pt x="13039" y="21276"/>
                    <a:pt x="14501" y="21312"/>
                    <a:pt x="15720" y="20424"/>
                  </a:cubicBezTo>
                  <a:cubicBezTo>
                    <a:pt x="15720" y="19450"/>
                    <a:pt x="19327" y="16108"/>
                    <a:pt x="19327" y="12800"/>
                  </a:cubicBezTo>
                  <a:cubicBezTo>
                    <a:pt x="20689" y="9563"/>
                    <a:pt x="21036" y="5282"/>
                    <a:pt x="19421" y="3559"/>
                  </a:cubicBezTo>
                  <a:cubicBezTo>
                    <a:pt x="18693" y="1730"/>
                    <a:pt x="16253" y="24"/>
                    <a:pt x="14306" y="24"/>
                  </a:cubicBezTo>
                  <a:cubicBezTo>
                    <a:pt x="12548" y="-288"/>
                    <a:pt x="8896" y="2445"/>
                    <a:pt x="6114" y="5647"/>
                  </a:cubicBezTo>
                  <a:cubicBezTo>
                    <a:pt x="3339" y="8866"/>
                    <a:pt x="950" y="13288"/>
                    <a:pt x="170" y="15446"/>
                  </a:cubicBezTo>
                  <a:close/>
                  <a:moveTo>
                    <a:pt x="170" y="154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2" name="AutoShape 241"/>
            <p:cNvSpPr>
              <a:spLocks/>
            </p:cNvSpPr>
            <p:nvPr/>
          </p:nvSpPr>
          <p:spPr bwMode="auto">
            <a:xfrm>
              <a:off x="10502900" y="5130800"/>
              <a:ext cx="3175" cy="17463"/>
            </a:xfrm>
            <a:custGeom>
              <a:avLst/>
              <a:gdLst/>
              <a:ahLst/>
              <a:cxnLst/>
              <a:rect l="0" t="0" r="r" b="b"/>
              <a:pathLst>
                <a:path w="20136" h="20990">
                  <a:moveTo>
                    <a:pt x="2287" y="17788"/>
                  </a:moveTo>
                  <a:cubicBezTo>
                    <a:pt x="1415" y="20172"/>
                    <a:pt x="979" y="21415"/>
                    <a:pt x="3345" y="20859"/>
                  </a:cubicBezTo>
                  <a:cubicBezTo>
                    <a:pt x="4341" y="20129"/>
                    <a:pt x="8264" y="17131"/>
                    <a:pt x="11069" y="14074"/>
                  </a:cubicBezTo>
                  <a:cubicBezTo>
                    <a:pt x="13801" y="11018"/>
                    <a:pt x="15299" y="7771"/>
                    <a:pt x="15299" y="6879"/>
                  </a:cubicBezTo>
                  <a:cubicBezTo>
                    <a:pt x="15299" y="6001"/>
                    <a:pt x="16295" y="3939"/>
                    <a:pt x="18035" y="2287"/>
                  </a:cubicBezTo>
                  <a:cubicBezTo>
                    <a:pt x="20093" y="649"/>
                    <a:pt x="21023" y="-185"/>
                    <a:pt x="19038" y="35"/>
                  </a:cubicBezTo>
                  <a:cubicBezTo>
                    <a:pt x="18035" y="517"/>
                    <a:pt x="16046" y="1673"/>
                    <a:pt x="14050" y="2638"/>
                  </a:cubicBezTo>
                  <a:cubicBezTo>
                    <a:pt x="11995" y="3589"/>
                    <a:pt x="9945" y="4510"/>
                    <a:pt x="8575" y="4672"/>
                  </a:cubicBezTo>
                  <a:cubicBezTo>
                    <a:pt x="7392" y="4933"/>
                    <a:pt x="3532" y="6630"/>
                    <a:pt x="1664" y="8794"/>
                  </a:cubicBezTo>
                  <a:cubicBezTo>
                    <a:pt x="-141" y="10959"/>
                    <a:pt x="-577" y="12758"/>
                    <a:pt x="851" y="13108"/>
                  </a:cubicBezTo>
                  <a:cubicBezTo>
                    <a:pt x="2657" y="13313"/>
                    <a:pt x="3155" y="15449"/>
                    <a:pt x="2287" y="17788"/>
                  </a:cubicBezTo>
                  <a:close/>
                  <a:moveTo>
                    <a:pt x="2287" y="177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3" name="AutoShape 242"/>
            <p:cNvSpPr>
              <a:spLocks/>
            </p:cNvSpPr>
            <p:nvPr/>
          </p:nvSpPr>
          <p:spPr bwMode="auto">
            <a:xfrm>
              <a:off x="10439400" y="5118100"/>
              <a:ext cx="3175" cy="7938"/>
            </a:xfrm>
            <a:custGeom>
              <a:avLst/>
              <a:gdLst/>
              <a:ahLst/>
              <a:cxnLst/>
              <a:rect l="0" t="0" r="r" b="b"/>
              <a:pathLst>
                <a:path w="19244" h="20605">
                  <a:moveTo>
                    <a:pt x="7967" y="1517"/>
                  </a:moveTo>
                  <a:cubicBezTo>
                    <a:pt x="6025" y="3497"/>
                    <a:pt x="3190" y="7418"/>
                    <a:pt x="1317" y="10192"/>
                  </a:cubicBezTo>
                  <a:cubicBezTo>
                    <a:pt x="-825" y="12908"/>
                    <a:pt x="-202" y="16832"/>
                    <a:pt x="2083" y="18779"/>
                  </a:cubicBezTo>
                  <a:cubicBezTo>
                    <a:pt x="3052" y="20933"/>
                    <a:pt x="9001" y="21081"/>
                    <a:pt x="13229" y="19751"/>
                  </a:cubicBezTo>
                  <a:cubicBezTo>
                    <a:pt x="15998" y="17953"/>
                    <a:pt x="20775" y="14295"/>
                    <a:pt x="18763" y="10902"/>
                  </a:cubicBezTo>
                  <a:cubicBezTo>
                    <a:pt x="18763" y="7418"/>
                    <a:pt x="15306" y="3170"/>
                    <a:pt x="14198" y="1251"/>
                  </a:cubicBezTo>
                  <a:cubicBezTo>
                    <a:pt x="11632" y="-401"/>
                    <a:pt x="9144" y="-519"/>
                    <a:pt x="7967" y="1517"/>
                  </a:cubicBezTo>
                  <a:close/>
                  <a:moveTo>
                    <a:pt x="7967" y="15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4" name="AutoShape 243"/>
            <p:cNvSpPr>
              <a:spLocks/>
            </p:cNvSpPr>
            <p:nvPr/>
          </p:nvSpPr>
          <p:spPr bwMode="auto">
            <a:xfrm>
              <a:off x="10490200" y="5118100"/>
              <a:ext cx="3175" cy="11113"/>
            </a:xfrm>
            <a:custGeom>
              <a:avLst/>
              <a:gdLst/>
              <a:ahLst/>
              <a:cxnLst/>
              <a:rect l="0" t="0" r="r" b="b"/>
              <a:pathLst>
                <a:path w="20401" h="20222">
                  <a:moveTo>
                    <a:pt x="3807" y="20086"/>
                  </a:moveTo>
                  <a:cubicBezTo>
                    <a:pt x="6348" y="19312"/>
                    <a:pt x="11144" y="15950"/>
                    <a:pt x="15125" y="12709"/>
                  </a:cubicBezTo>
                  <a:cubicBezTo>
                    <a:pt x="19377" y="9510"/>
                    <a:pt x="20401" y="4781"/>
                    <a:pt x="20401" y="2336"/>
                  </a:cubicBezTo>
                  <a:cubicBezTo>
                    <a:pt x="19377" y="-150"/>
                    <a:pt x="17187" y="-740"/>
                    <a:pt x="14847" y="992"/>
                  </a:cubicBezTo>
                  <a:cubicBezTo>
                    <a:pt x="12040" y="2643"/>
                    <a:pt x="8885" y="4844"/>
                    <a:pt x="6348" y="5597"/>
                  </a:cubicBezTo>
                  <a:cubicBezTo>
                    <a:pt x="3807" y="6350"/>
                    <a:pt x="657" y="10305"/>
                    <a:pt x="657" y="14299"/>
                  </a:cubicBezTo>
                  <a:cubicBezTo>
                    <a:pt x="-1199" y="18252"/>
                    <a:pt x="1205" y="20860"/>
                    <a:pt x="3807" y="20086"/>
                  </a:cubicBezTo>
                  <a:close/>
                  <a:moveTo>
                    <a:pt x="3807" y="200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5" name="AutoShape 244"/>
            <p:cNvSpPr>
              <a:spLocks/>
            </p:cNvSpPr>
            <p:nvPr/>
          </p:nvSpPr>
          <p:spPr bwMode="auto">
            <a:xfrm>
              <a:off x="10490200" y="5143500"/>
              <a:ext cx="1588" cy="11113"/>
            </a:xfrm>
            <a:custGeom>
              <a:avLst/>
              <a:gdLst/>
              <a:ahLst/>
              <a:cxnLst/>
              <a:rect l="0" t="0" r="r" b="b"/>
              <a:pathLst>
                <a:path w="19391" h="20721">
                  <a:moveTo>
                    <a:pt x="2826" y="20498"/>
                  </a:moveTo>
                  <a:cubicBezTo>
                    <a:pt x="5549" y="21388"/>
                    <a:pt x="7890" y="19564"/>
                    <a:pt x="12027" y="16051"/>
                  </a:cubicBezTo>
                  <a:cubicBezTo>
                    <a:pt x="16534" y="12603"/>
                    <a:pt x="17760" y="8051"/>
                    <a:pt x="19163" y="6077"/>
                  </a:cubicBezTo>
                  <a:cubicBezTo>
                    <a:pt x="20571" y="4103"/>
                    <a:pt x="15120" y="1936"/>
                    <a:pt x="12403" y="1003"/>
                  </a:cubicBezTo>
                  <a:cubicBezTo>
                    <a:pt x="9780" y="70"/>
                    <a:pt x="4516" y="-212"/>
                    <a:pt x="2826" y="157"/>
                  </a:cubicBezTo>
                  <a:cubicBezTo>
                    <a:pt x="1037" y="570"/>
                    <a:pt x="-1029" y="4798"/>
                    <a:pt x="579" y="9677"/>
                  </a:cubicBezTo>
                  <a:cubicBezTo>
                    <a:pt x="579" y="14577"/>
                    <a:pt x="2826" y="19392"/>
                    <a:pt x="2826" y="20498"/>
                  </a:cubicBezTo>
                  <a:close/>
                  <a:moveTo>
                    <a:pt x="2826" y="204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6" name="AutoShape 245"/>
            <p:cNvSpPr>
              <a:spLocks/>
            </p:cNvSpPr>
            <p:nvPr/>
          </p:nvSpPr>
          <p:spPr bwMode="auto">
            <a:xfrm>
              <a:off x="10439400" y="5029200"/>
              <a:ext cx="52388" cy="327025"/>
            </a:xfrm>
            <a:custGeom>
              <a:avLst/>
              <a:gdLst/>
              <a:ahLst/>
              <a:cxnLst/>
              <a:rect l="0" t="0" r="r" b="b"/>
              <a:pathLst>
                <a:path w="21505" h="21558">
                  <a:moveTo>
                    <a:pt x="382" y="2207"/>
                  </a:moveTo>
                  <a:cubicBezTo>
                    <a:pt x="571" y="2231"/>
                    <a:pt x="835" y="2467"/>
                    <a:pt x="1139" y="2713"/>
                  </a:cubicBezTo>
                  <a:cubicBezTo>
                    <a:pt x="1453" y="2958"/>
                    <a:pt x="1747" y="3155"/>
                    <a:pt x="1887" y="3144"/>
                  </a:cubicBezTo>
                  <a:cubicBezTo>
                    <a:pt x="2026" y="3132"/>
                    <a:pt x="2265" y="3268"/>
                    <a:pt x="2405" y="3441"/>
                  </a:cubicBezTo>
                  <a:cubicBezTo>
                    <a:pt x="2480" y="3616"/>
                    <a:pt x="2768" y="3776"/>
                    <a:pt x="2908" y="3799"/>
                  </a:cubicBezTo>
                  <a:cubicBezTo>
                    <a:pt x="3082" y="3812"/>
                    <a:pt x="3312" y="3805"/>
                    <a:pt x="3471" y="3766"/>
                  </a:cubicBezTo>
                  <a:cubicBezTo>
                    <a:pt x="3636" y="3725"/>
                    <a:pt x="3979" y="3803"/>
                    <a:pt x="4184" y="3937"/>
                  </a:cubicBezTo>
                  <a:cubicBezTo>
                    <a:pt x="4388" y="4072"/>
                    <a:pt x="4712" y="4425"/>
                    <a:pt x="4782" y="4725"/>
                  </a:cubicBezTo>
                  <a:cubicBezTo>
                    <a:pt x="4856" y="5024"/>
                    <a:pt x="5130" y="5403"/>
                    <a:pt x="5350" y="5570"/>
                  </a:cubicBezTo>
                  <a:cubicBezTo>
                    <a:pt x="5584" y="5737"/>
                    <a:pt x="5808" y="5867"/>
                    <a:pt x="5917" y="5858"/>
                  </a:cubicBezTo>
                  <a:cubicBezTo>
                    <a:pt x="6022" y="5850"/>
                    <a:pt x="6012" y="5967"/>
                    <a:pt x="5872" y="6115"/>
                  </a:cubicBezTo>
                  <a:cubicBezTo>
                    <a:pt x="5798" y="6267"/>
                    <a:pt x="5609" y="6425"/>
                    <a:pt x="5743" y="6457"/>
                  </a:cubicBezTo>
                  <a:cubicBezTo>
                    <a:pt x="5743" y="6496"/>
                    <a:pt x="5753" y="6645"/>
                    <a:pt x="5678" y="6790"/>
                  </a:cubicBezTo>
                  <a:cubicBezTo>
                    <a:pt x="5609" y="6934"/>
                    <a:pt x="5559" y="7099"/>
                    <a:pt x="5644" y="7154"/>
                  </a:cubicBezTo>
                  <a:cubicBezTo>
                    <a:pt x="5723" y="7210"/>
                    <a:pt x="5962" y="7243"/>
                    <a:pt x="6177" y="7220"/>
                  </a:cubicBezTo>
                  <a:cubicBezTo>
                    <a:pt x="6416" y="7206"/>
                    <a:pt x="6615" y="7323"/>
                    <a:pt x="6760" y="7493"/>
                  </a:cubicBezTo>
                  <a:cubicBezTo>
                    <a:pt x="6909" y="7662"/>
                    <a:pt x="6999" y="7831"/>
                    <a:pt x="7123" y="7862"/>
                  </a:cubicBezTo>
                  <a:cubicBezTo>
                    <a:pt x="7123" y="7899"/>
                    <a:pt x="7462" y="7912"/>
                    <a:pt x="7542" y="7886"/>
                  </a:cubicBezTo>
                  <a:cubicBezTo>
                    <a:pt x="7691" y="7869"/>
                    <a:pt x="7831" y="7897"/>
                    <a:pt x="7746" y="7952"/>
                  </a:cubicBezTo>
                  <a:cubicBezTo>
                    <a:pt x="7746" y="8009"/>
                    <a:pt x="7507" y="8124"/>
                    <a:pt x="7432" y="8214"/>
                  </a:cubicBezTo>
                  <a:cubicBezTo>
                    <a:pt x="7278" y="8301"/>
                    <a:pt x="7243" y="8429"/>
                    <a:pt x="7243" y="8499"/>
                  </a:cubicBezTo>
                  <a:cubicBezTo>
                    <a:pt x="7328" y="8568"/>
                    <a:pt x="7412" y="8739"/>
                    <a:pt x="7273" y="8873"/>
                  </a:cubicBezTo>
                  <a:cubicBezTo>
                    <a:pt x="7273" y="9007"/>
                    <a:pt x="7133" y="9148"/>
                    <a:pt x="7133" y="9185"/>
                  </a:cubicBezTo>
                  <a:cubicBezTo>
                    <a:pt x="7133" y="9224"/>
                    <a:pt x="6969" y="9487"/>
                    <a:pt x="6894" y="9773"/>
                  </a:cubicBezTo>
                  <a:cubicBezTo>
                    <a:pt x="6744" y="10056"/>
                    <a:pt x="6615" y="10414"/>
                    <a:pt x="6615" y="10570"/>
                  </a:cubicBezTo>
                  <a:cubicBezTo>
                    <a:pt x="6540" y="10726"/>
                    <a:pt x="6645" y="10878"/>
                    <a:pt x="6884" y="10891"/>
                  </a:cubicBezTo>
                  <a:cubicBezTo>
                    <a:pt x="7088" y="10913"/>
                    <a:pt x="7462" y="10996"/>
                    <a:pt x="7602" y="11085"/>
                  </a:cubicBezTo>
                  <a:cubicBezTo>
                    <a:pt x="7816" y="11169"/>
                    <a:pt x="7881" y="11323"/>
                    <a:pt x="7751" y="11419"/>
                  </a:cubicBezTo>
                  <a:cubicBezTo>
                    <a:pt x="7677" y="11516"/>
                    <a:pt x="7562" y="11776"/>
                    <a:pt x="7562" y="11996"/>
                  </a:cubicBezTo>
                  <a:cubicBezTo>
                    <a:pt x="7562" y="12217"/>
                    <a:pt x="7706" y="12456"/>
                    <a:pt x="7776" y="12532"/>
                  </a:cubicBezTo>
                  <a:cubicBezTo>
                    <a:pt x="7851" y="12608"/>
                    <a:pt x="7706" y="12887"/>
                    <a:pt x="7552" y="13160"/>
                  </a:cubicBezTo>
                  <a:cubicBezTo>
                    <a:pt x="7263" y="13427"/>
                    <a:pt x="7094" y="13934"/>
                    <a:pt x="7019" y="14284"/>
                  </a:cubicBezTo>
                  <a:cubicBezTo>
                    <a:pt x="6944" y="14632"/>
                    <a:pt x="6789" y="15045"/>
                    <a:pt x="6565" y="15203"/>
                  </a:cubicBezTo>
                  <a:cubicBezTo>
                    <a:pt x="6346" y="15360"/>
                    <a:pt x="6177" y="15595"/>
                    <a:pt x="6102" y="15727"/>
                  </a:cubicBezTo>
                  <a:cubicBezTo>
                    <a:pt x="6032" y="15855"/>
                    <a:pt x="6162" y="16055"/>
                    <a:pt x="6301" y="16171"/>
                  </a:cubicBezTo>
                  <a:cubicBezTo>
                    <a:pt x="6506" y="16283"/>
                    <a:pt x="6725" y="16551"/>
                    <a:pt x="6725" y="16765"/>
                  </a:cubicBezTo>
                  <a:cubicBezTo>
                    <a:pt x="6805" y="16976"/>
                    <a:pt x="6795" y="17251"/>
                    <a:pt x="6720" y="17374"/>
                  </a:cubicBezTo>
                  <a:cubicBezTo>
                    <a:pt x="6720" y="17498"/>
                    <a:pt x="6795" y="17603"/>
                    <a:pt x="7019" y="17603"/>
                  </a:cubicBezTo>
                  <a:cubicBezTo>
                    <a:pt x="7238" y="17603"/>
                    <a:pt x="7452" y="17651"/>
                    <a:pt x="7452" y="17704"/>
                  </a:cubicBezTo>
                  <a:cubicBezTo>
                    <a:pt x="7452" y="17755"/>
                    <a:pt x="7632" y="17846"/>
                    <a:pt x="7711" y="17910"/>
                  </a:cubicBezTo>
                  <a:cubicBezTo>
                    <a:pt x="7791" y="17973"/>
                    <a:pt x="7886" y="18147"/>
                    <a:pt x="7656" y="18297"/>
                  </a:cubicBezTo>
                  <a:cubicBezTo>
                    <a:pt x="7512" y="18451"/>
                    <a:pt x="7492" y="18617"/>
                    <a:pt x="7577" y="18668"/>
                  </a:cubicBezTo>
                  <a:cubicBezTo>
                    <a:pt x="7652" y="18721"/>
                    <a:pt x="7851" y="18867"/>
                    <a:pt x="7851" y="18995"/>
                  </a:cubicBezTo>
                  <a:cubicBezTo>
                    <a:pt x="7851" y="19123"/>
                    <a:pt x="8105" y="19314"/>
                    <a:pt x="8314" y="19416"/>
                  </a:cubicBezTo>
                  <a:cubicBezTo>
                    <a:pt x="8549" y="19518"/>
                    <a:pt x="8753" y="19694"/>
                    <a:pt x="8598" y="19795"/>
                  </a:cubicBezTo>
                  <a:cubicBezTo>
                    <a:pt x="8598" y="19902"/>
                    <a:pt x="8653" y="20000"/>
                    <a:pt x="8857" y="20008"/>
                  </a:cubicBezTo>
                  <a:cubicBezTo>
                    <a:pt x="9041" y="20022"/>
                    <a:pt x="9281" y="20204"/>
                    <a:pt x="9510" y="20415"/>
                  </a:cubicBezTo>
                  <a:cubicBezTo>
                    <a:pt x="9654" y="20628"/>
                    <a:pt x="9685" y="20885"/>
                    <a:pt x="9610" y="20992"/>
                  </a:cubicBezTo>
                  <a:cubicBezTo>
                    <a:pt x="9530" y="21097"/>
                    <a:pt x="9470" y="21200"/>
                    <a:pt x="9560" y="21215"/>
                  </a:cubicBezTo>
                  <a:cubicBezTo>
                    <a:pt x="9639" y="21228"/>
                    <a:pt x="9610" y="21330"/>
                    <a:pt x="9610" y="21438"/>
                  </a:cubicBezTo>
                  <a:cubicBezTo>
                    <a:pt x="9535" y="21545"/>
                    <a:pt x="9659" y="21590"/>
                    <a:pt x="9749" y="21534"/>
                  </a:cubicBezTo>
                  <a:cubicBezTo>
                    <a:pt x="9904" y="21484"/>
                    <a:pt x="10023" y="21351"/>
                    <a:pt x="10203" y="21250"/>
                  </a:cubicBezTo>
                  <a:cubicBezTo>
                    <a:pt x="10327" y="21146"/>
                    <a:pt x="10477" y="21024"/>
                    <a:pt x="10477" y="20976"/>
                  </a:cubicBezTo>
                  <a:cubicBezTo>
                    <a:pt x="10477" y="20929"/>
                    <a:pt x="10562" y="20843"/>
                    <a:pt x="10646" y="20786"/>
                  </a:cubicBezTo>
                  <a:cubicBezTo>
                    <a:pt x="10721" y="20729"/>
                    <a:pt x="10895" y="20689"/>
                    <a:pt x="11010" y="20680"/>
                  </a:cubicBezTo>
                  <a:cubicBezTo>
                    <a:pt x="11135" y="20680"/>
                    <a:pt x="11244" y="20801"/>
                    <a:pt x="11378" y="20947"/>
                  </a:cubicBezTo>
                  <a:cubicBezTo>
                    <a:pt x="11453" y="21096"/>
                    <a:pt x="11583" y="21180"/>
                    <a:pt x="11713" y="21137"/>
                  </a:cubicBezTo>
                  <a:cubicBezTo>
                    <a:pt x="11842" y="21095"/>
                    <a:pt x="12081" y="20948"/>
                    <a:pt x="12236" y="20809"/>
                  </a:cubicBezTo>
                  <a:cubicBezTo>
                    <a:pt x="12380" y="20670"/>
                    <a:pt x="12684" y="20492"/>
                    <a:pt x="12848" y="20410"/>
                  </a:cubicBezTo>
                  <a:cubicBezTo>
                    <a:pt x="13013" y="20329"/>
                    <a:pt x="13232" y="20273"/>
                    <a:pt x="13332" y="20264"/>
                  </a:cubicBezTo>
                  <a:cubicBezTo>
                    <a:pt x="13441" y="20264"/>
                    <a:pt x="13446" y="20372"/>
                    <a:pt x="13446" y="20501"/>
                  </a:cubicBezTo>
                  <a:cubicBezTo>
                    <a:pt x="13446" y="20629"/>
                    <a:pt x="13471" y="20742"/>
                    <a:pt x="13471" y="20760"/>
                  </a:cubicBezTo>
                  <a:cubicBezTo>
                    <a:pt x="13522" y="20774"/>
                    <a:pt x="13721" y="20710"/>
                    <a:pt x="13940" y="20625"/>
                  </a:cubicBezTo>
                  <a:cubicBezTo>
                    <a:pt x="14099" y="20535"/>
                    <a:pt x="14518" y="20274"/>
                    <a:pt x="14821" y="20043"/>
                  </a:cubicBezTo>
                  <a:cubicBezTo>
                    <a:pt x="15046" y="19808"/>
                    <a:pt x="15758" y="19375"/>
                    <a:pt x="16127" y="19072"/>
                  </a:cubicBezTo>
                  <a:cubicBezTo>
                    <a:pt x="16585" y="18773"/>
                    <a:pt x="17054" y="18376"/>
                    <a:pt x="17203" y="18194"/>
                  </a:cubicBezTo>
                  <a:cubicBezTo>
                    <a:pt x="17353" y="18012"/>
                    <a:pt x="17811" y="17677"/>
                    <a:pt x="18180" y="17447"/>
                  </a:cubicBezTo>
                  <a:cubicBezTo>
                    <a:pt x="18633" y="17223"/>
                    <a:pt x="18922" y="16975"/>
                    <a:pt x="18922" y="16904"/>
                  </a:cubicBezTo>
                  <a:cubicBezTo>
                    <a:pt x="18992" y="16834"/>
                    <a:pt x="19116" y="16634"/>
                    <a:pt x="19356" y="16465"/>
                  </a:cubicBezTo>
                  <a:cubicBezTo>
                    <a:pt x="19580" y="16295"/>
                    <a:pt x="19899" y="16105"/>
                    <a:pt x="20083" y="16045"/>
                  </a:cubicBezTo>
                  <a:cubicBezTo>
                    <a:pt x="20238" y="15981"/>
                    <a:pt x="20537" y="15863"/>
                    <a:pt x="20701" y="15781"/>
                  </a:cubicBezTo>
                  <a:cubicBezTo>
                    <a:pt x="20831" y="15696"/>
                    <a:pt x="21000" y="15546"/>
                    <a:pt x="21145" y="15451"/>
                  </a:cubicBezTo>
                  <a:cubicBezTo>
                    <a:pt x="21309" y="15357"/>
                    <a:pt x="21184" y="15259"/>
                    <a:pt x="21184" y="15232"/>
                  </a:cubicBezTo>
                  <a:cubicBezTo>
                    <a:pt x="21134" y="15208"/>
                    <a:pt x="21020" y="15143"/>
                    <a:pt x="20955" y="15084"/>
                  </a:cubicBezTo>
                  <a:cubicBezTo>
                    <a:pt x="20955" y="15023"/>
                    <a:pt x="20865" y="14882"/>
                    <a:pt x="21005" y="14767"/>
                  </a:cubicBezTo>
                  <a:cubicBezTo>
                    <a:pt x="21080" y="14652"/>
                    <a:pt x="21155" y="14533"/>
                    <a:pt x="21045" y="14516"/>
                  </a:cubicBezTo>
                  <a:cubicBezTo>
                    <a:pt x="20945" y="14499"/>
                    <a:pt x="20955" y="14410"/>
                    <a:pt x="21035" y="14331"/>
                  </a:cubicBezTo>
                  <a:cubicBezTo>
                    <a:pt x="21035" y="14252"/>
                    <a:pt x="21020" y="14170"/>
                    <a:pt x="20940" y="14143"/>
                  </a:cubicBezTo>
                  <a:cubicBezTo>
                    <a:pt x="20816" y="14122"/>
                    <a:pt x="20522" y="14136"/>
                    <a:pt x="20283" y="14189"/>
                  </a:cubicBezTo>
                  <a:cubicBezTo>
                    <a:pt x="19999" y="14235"/>
                    <a:pt x="19690" y="14286"/>
                    <a:pt x="19545" y="14286"/>
                  </a:cubicBezTo>
                  <a:cubicBezTo>
                    <a:pt x="19401" y="14286"/>
                    <a:pt x="19415" y="14164"/>
                    <a:pt x="19575" y="14008"/>
                  </a:cubicBezTo>
                  <a:cubicBezTo>
                    <a:pt x="19645" y="13850"/>
                    <a:pt x="19849" y="13649"/>
                    <a:pt x="19849" y="13557"/>
                  </a:cubicBezTo>
                  <a:cubicBezTo>
                    <a:pt x="19770" y="13467"/>
                    <a:pt x="19794" y="13445"/>
                    <a:pt x="19565" y="13493"/>
                  </a:cubicBezTo>
                  <a:cubicBezTo>
                    <a:pt x="19431" y="13550"/>
                    <a:pt x="19480" y="13503"/>
                    <a:pt x="19635" y="13388"/>
                  </a:cubicBezTo>
                  <a:cubicBezTo>
                    <a:pt x="19844" y="13273"/>
                    <a:pt x="20029" y="13089"/>
                    <a:pt x="20098" y="12980"/>
                  </a:cubicBezTo>
                  <a:cubicBezTo>
                    <a:pt x="20173" y="12870"/>
                    <a:pt x="20387" y="12565"/>
                    <a:pt x="20691" y="12302"/>
                  </a:cubicBezTo>
                  <a:cubicBezTo>
                    <a:pt x="20980" y="12039"/>
                    <a:pt x="20995" y="11887"/>
                    <a:pt x="20711" y="11958"/>
                  </a:cubicBezTo>
                  <a:cubicBezTo>
                    <a:pt x="20427" y="12027"/>
                    <a:pt x="20263" y="12056"/>
                    <a:pt x="20198" y="12016"/>
                  </a:cubicBezTo>
                  <a:cubicBezTo>
                    <a:pt x="20263" y="11975"/>
                    <a:pt x="19889" y="11967"/>
                    <a:pt x="19565" y="11999"/>
                  </a:cubicBezTo>
                  <a:cubicBezTo>
                    <a:pt x="19262" y="12037"/>
                    <a:pt x="18842" y="11984"/>
                    <a:pt x="18698" y="11889"/>
                  </a:cubicBezTo>
                  <a:cubicBezTo>
                    <a:pt x="18559" y="11793"/>
                    <a:pt x="18519" y="11644"/>
                    <a:pt x="18594" y="11552"/>
                  </a:cubicBezTo>
                  <a:cubicBezTo>
                    <a:pt x="18678" y="11460"/>
                    <a:pt x="18922" y="11323"/>
                    <a:pt x="19192" y="11257"/>
                  </a:cubicBezTo>
                  <a:cubicBezTo>
                    <a:pt x="19326" y="11181"/>
                    <a:pt x="19804" y="11054"/>
                    <a:pt x="20093" y="10960"/>
                  </a:cubicBezTo>
                  <a:cubicBezTo>
                    <a:pt x="20338" y="10866"/>
                    <a:pt x="20512" y="10768"/>
                    <a:pt x="20427" y="10740"/>
                  </a:cubicBezTo>
                  <a:cubicBezTo>
                    <a:pt x="20362" y="10709"/>
                    <a:pt x="20123" y="10718"/>
                    <a:pt x="19909" y="10754"/>
                  </a:cubicBezTo>
                  <a:cubicBezTo>
                    <a:pt x="19694" y="10790"/>
                    <a:pt x="19491" y="10809"/>
                    <a:pt x="19406" y="10795"/>
                  </a:cubicBezTo>
                  <a:cubicBezTo>
                    <a:pt x="19301" y="10786"/>
                    <a:pt x="19017" y="10816"/>
                    <a:pt x="18848" y="10884"/>
                  </a:cubicBezTo>
                  <a:cubicBezTo>
                    <a:pt x="18568" y="10942"/>
                    <a:pt x="18653" y="10928"/>
                    <a:pt x="18818" y="10833"/>
                  </a:cubicBezTo>
                  <a:cubicBezTo>
                    <a:pt x="19047" y="10744"/>
                    <a:pt x="19466" y="10570"/>
                    <a:pt x="19754" y="10450"/>
                  </a:cubicBezTo>
                  <a:cubicBezTo>
                    <a:pt x="20049" y="10329"/>
                    <a:pt x="20557" y="10193"/>
                    <a:pt x="20806" y="10138"/>
                  </a:cubicBezTo>
                  <a:cubicBezTo>
                    <a:pt x="21070" y="10083"/>
                    <a:pt x="21284" y="9951"/>
                    <a:pt x="21424" y="9846"/>
                  </a:cubicBezTo>
                  <a:cubicBezTo>
                    <a:pt x="21498" y="9738"/>
                    <a:pt x="21563" y="9518"/>
                    <a:pt x="21419" y="9360"/>
                  </a:cubicBezTo>
                  <a:cubicBezTo>
                    <a:pt x="21344" y="9201"/>
                    <a:pt x="21170" y="9077"/>
                    <a:pt x="21030" y="9077"/>
                  </a:cubicBezTo>
                  <a:cubicBezTo>
                    <a:pt x="20885" y="9077"/>
                    <a:pt x="20577" y="9173"/>
                    <a:pt x="20258" y="9278"/>
                  </a:cubicBezTo>
                  <a:cubicBezTo>
                    <a:pt x="19969" y="9384"/>
                    <a:pt x="19525" y="9543"/>
                    <a:pt x="19291" y="9632"/>
                  </a:cubicBezTo>
                  <a:cubicBezTo>
                    <a:pt x="19027" y="9719"/>
                    <a:pt x="18633" y="9815"/>
                    <a:pt x="18419" y="9850"/>
                  </a:cubicBezTo>
                  <a:cubicBezTo>
                    <a:pt x="18210" y="9884"/>
                    <a:pt x="18140" y="9883"/>
                    <a:pt x="18264" y="9852"/>
                  </a:cubicBezTo>
                  <a:cubicBezTo>
                    <a:pt x="18424" y="9826"/>
                    <a:pt x="18594" y="9752"/>
                    <a:pt x="18758" y="9698"/>
                  </a:cubicBezTo>
                  <a:cubicBezTo>
                    <a:pt x="18898" y="9640"/>
                    <a:pt x="19052" y="9574"/>
                    <a:pt x="19172" y="9555"/>
                  </a:cubicBezTo>
                  <a:cubicBezTo>
                    <a:pt x="19246" y="9528"/>
                    <a:pt x="19486" y="9444"/>
                    <a:pt x="19635" y="9359"/>
                  </a:cubicBezTo>
                  <a:cubicBezTo>
                    <a:pt x="19804" y="9275"/>
                    <a:pt x="19909" y="9150"/>
                    <a:pt x="19974" y="9086"/>
                  </a:cubicBezTo>
                  <a:cubicBezTo>
                    <a:pt x="19974" y="9019"/>
                    <a:pt x="19864" y="8938"/>
                    <a:pt x="19774" y="8894"/>
                  </a:cubicBezTo>
                  <a:cubicBezTo>
                    <a:pt x="19615" y="8856"/>
                    <a:pt x="19301" y="8860"/>
                    <a:pt x="18952" y="8889"/>
                  </a:cubicBezTo>
                  <a:cubicBezTo>
                    <a:pt x="18608" y="8917"/>
                    <a:pt x="18314" y="8879"/>
                    <a:pt x="18180" y="8789"/>
                  </a:cubicBezTo>
                  <a:cubicBezTo>
                    <a:pt x="18021" y="8698"/>
                    <a:pt x="18105" y="8560"/>
                    <a:pt x="18105" y="8483"/>
                  </a:cubicBezTo>
                  <a:cubicBezTo>
                    <a:pt x="18255" y="8412"/>
                    <a:pt x="18354" y="8232"/>
                    <a:pt x="18439" y="8090"/>
                  </a:cubicBezTo>
                  <a:cubicBezTo>
                    <a:pt x="18583" y="7949"/>
                    <a:pt x="18568" y="7672"/>
                    <a:pt x="18344" y="7480"/>
                  </a:cubicBezTo>
                  <a:cubicBezTo>
                    <a:pt x="18269" y="7284"/>
                    <a:pt x="17951" y="7127"/>
                    <a:pt x="17851" y="7118"/>
                  </a:cubicBezTo>
                  <a:cubicBezTo>
                    <a:pt x="17732" y="7118"/>
                    <a:pt x="17532" y="7136"/>
                    <a:pt x="17393" y="7171"/>
                  </a:cubicBezTo>
                  <a:cubicBezTo>
                    <a:pt x="17283" y="7207"/>
                    <a:pt x="17059" y="7185"/>
                    <a:pt x="16989" y="7127"/>
                  </a:cubicBezTo>
                  <a:cubicBezTo>
                    <a:pt x="16989" y="7069"/>
                    <a:pt x="16949" y="6857"/>
                    <a:pt x="17104" y="6653"/>
                  </a:cubicBezTo>
                  <a:cubicBezTo>
                    <a:pt x="17258" y="6451"/>
                    <a:pt x="17223" y="6170"/>
                    <a:pt x="17149" y="6032"/>
                  </a:cubicBezTo>
                  <a:cubicBezTo>
                    <a:pt x="17069" y="5892"/>
                    <a:pt x="16740" y="5706"/>
                    <a:pt x="16476" y="5621"/>
                  </a:cubicBezTo>
                  <a:cubicBezTo>
                    <a:pt x="16316" y="5527"/>
                    <a:pt x="15858" y="5481"/>
                    <a:pt x="15629" y="5481"/>
                  </a:cubicBezTo>
                  <a:cubicBezTo>
                    <a:pt x="15419" y="5498"/>
                    <a:pt x="15171" y="5550"/>
                    <a:pt x="15056" y="5607"/>
                  </a:cubicBezTo>
                  <a:cubicBezTo>
                    <a:pt x="14986" y="5666"/>
                    <a:pt x="14821" y="5682"/>
                    <a:pt x="14747" y="5646"/>
                  </a:cubicBezTo>
                  <a:cubicBezTo>
                    <a:pt x="14677" y="5611"/>
                    <a:pt x="14682" y="5462"/>
                    <a:pt x="14762" y="5315"/>
                  </a:cubicBezTo>
                  <a:cubicBezTo>
                    <a:pt x="14762" y="5167"/>
                    <a:pt x="14826" y="5127"/>
                    <a:pt x="14538" y="5210"/>
                  </a:cubicBezTo>
                  <a:cubicBezTo>
                    <a:pt x="14378" y="5302"/>
                    <a:pt x="14124" y="5311"/>
                    <a:pt x="14124" y="5238"/>
                  </a:cubicBezTo>
                  <a:cubicBezTo>
                    <a:pt x="14124" y="5163"/>
                    <a:pt x="14244" y="4966"/>
                    <a:pt x="14318" y="4800"/>
                  </a:cubicBezTo>
                  <a:cubicBezTo>
                    <a:pt x="14398" y="4631"/>
                    <a:pt x="14513" y="4399"/>
                    <a:pt x="14443" y="4282"/>
                  </a:cubicBezTo>
                  <a:cubicBezTo>
                    <a:pt x="14443" y="4165"/>
                    <a:pt x="14164" y="4066"/>
                    <a:pt x="13974" y="4055"/>
                  </a:cubicBezTo>
                  <a:cubicBezTo>
                    <a:pt x="13800" y="4040"/>
                    <a:pt x="13606" y="3982"/>
                    <a:pt x="13606" y="3910"/>
                  </a:cubicBezTo>
                  <a:cubicBezTo>
                    <a:pt x="13606" y="3838"/>
                    <a:pt x="13287" y="3635"/>
                    <a:pt x="12868" y="3463"/>
                  </a:cubicBezTo>
                  <a:cubicBezTo>
                    <a:pt x="12485" y="3288"/>
                    <a:pt x="11992" y="3151"/>
                    <a:pt x="11802" y="3151"/>
                  </a:cubicBezTo>
                  <a:cubicBezTo>
                    <a:pt x="11613" y="3151"/>
                    <a:pt x="11324" y="3046"/>
                    <a:pt x="11249" y="2909"/>
                  </a:cubicBezTo>
                  <a:cubicBezTo>
                    <a:pt x="11174" y="2773"/>
                    <a:pt x="10845" y="2658"/>
                    <a:pt x="10616" y="2658"/>
                  </a:cubicBezTo>
                  <a:cubicBezTo>
                    <a:pt x="10387" y="2658"/>
                    <a:pt x="10138" y="2584"/>
                    <a:pt x="10203" y="2502"/>
                  </a:cubicBezTo>
                  <a:cubicBezTo>
                    <a:pt x="10203" y="2420"/>
                    <a:pt x="10302" y="2204"/>
                    <a:pt x="10382" y="2024"/>
                  </a:cubicBezTo>
                  <a:cubicBezTo>
                    <a:pt x="10532" y="1846"/>
                    <a:pt x="10407" y="1659"/>
                    <a:pt x="10257" y="1610"/>
                  </a:cubicBezTo>
                  <a:cubicBezTo>
                    <a:pt x="10108" y="1561"/>
                    <a:pt x="9949" y="1413"/>
                    <a:pt x="9949" y="1279"/>
                  </a:cubicBezTo>
                  <a:cubicBezTo>
                    <a:pt x="9949" y="1145"/>
                    <a:pt x="9859" y="1028"/>
                    <a:pt x="9784" y="1016"/>
                  </a:cubicBezTo>
                  <a:cubicBezTo>
                    <a:pt x="9685" y="1016"/>
                    <a:pt x="9650" y="882"/>
                    <a:pt x="9575" y="740"/>
                  </a:cubicBezTo>
                  <a:cubicBezTo>
                    <a:pt x="9505" y="601"/>
                    <a:pt x="9296" y="463"/>
                    <a:pt x="9131" y="422"/>
                  </a:cubicBezTo>
                  <a:cubicBezTo>
                    <a:pt x="8872" y="401"/>
                    <a:pt x="8578" y="380"/>
                    <a:pt x="8344" y="389"/>
                  </a:cubicBezTo>
                  <a:cubicBezTo>
                    <a:pt x="8130" y="407"/>
                    <a:pt x="7791" y="448"/>
                    <a:pt x="7627" y="489"/>
                  </a:cubicBezTo>
                  <a:cubicBezTo>
                    <a:pt x="7467" y="529"/>
                    <a:pt x="7288" y="529"/>
                    <a:pt x="7158" y="497"/>
                  </a:cubicBezTo>
                  <a:cubicBezTo>
                    <a:pt x="7158" y="461"/>
                    <a:pt x="6780" y="445"/>
                    <a:pt x="6515" y="460"/>
                  </a:cubicBezTo>
                  <a:cubicBezTo>
                    <a:pt x="6256" y="481"/>
                    <a:pt x="5778" y="552"/>
                    <a:pt x="5364" y="609"/>
                  </a:cubicBezTo>
                  <a:cubicBezTo>
                    <a:pt x="5016" y="680"/>
                    <a:pt x="4557" y="699"/>
                    <a:pt x="4488" y="652"/>
                  </a:cubicBezTo>
                  <a:cubicBezTo>
                    <a:pt x="4358" y="609"/>
                    <a:pt x="4009" y="441"/>
                    <a:pt x="3591" y="291"/>
                  </a:cubicBezTo>
                  <a:cubicBezTo>
                    <a:pt x="3197" y="138"/>
                    <a:pt x="2529" y="2"/>
                    <a:pt x="2086" y="2"/>
                  </a:cubicBezTo>
                  <a:cubicBezTo>
                    <a:pt x="1647" y="-10"/>
                    <a:pt x="1144" y="39"/>
                    <a:pt x="915" y="89"/>
                  </a:cubicBezTo>
                  <a:cubicBezTo>
                    <a:pt x="775" y="147"/>
                    <a:pt x="456" y="240"/>
                    <a:pt x="387" y="307"/>
                  </a:cubicBezTo>
                  <a:cubicBezTo>
                    <a:pt x="307" y="373"/>
                    <a:pt x="163" y="567"/>
                    <a:pt x="88" y="737"/>
                  </a:cubicBezTo>
                  <a:cubicBezTo>
                    <a:pt x="13" y="909"/>
                    <a:pt x="-37" y="1298"/>
                    <a:pt x="33" y="1600"/>
                  </a:cubicBezTo>
                  <a:cubicBezTo>
                    <a:pt x="108" y="1902"/>
                    <a:pt x="242" y="2175"/>
                    <a:pt x="382" y="2207"/>
                  </a:cubicBezTo>
                  <a:close/>
                  <a:moveTo>
                    <a:pt x="382" y="22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7" name="AutoShape 246"/>
            <p:cNvSpPr>
              <a:spLocks/>
            </p:cNvSpPr>
            <p:nvPr/>
          </p:nvSpPr>
          <p:spPr bwMode="auto">
            <a:xfrm>
              <a:off x="10528300" y="5168900"/>
              <a:ext cx="1588" cy="4763"/>
            </a:xfrm>
            <a:custGeom>
              <a:avLst/>
              <a:gdLst/>
              <a:ahLst/>
              <a:cxnLst/>
              <a:rect l="0" t="0" r="r" b="b"/>
              <a:pathLst>
                <a:path w="20618" h="20548">
                  <a:moveTo>
                    <a:pt x="11974" y="17904"/>
                  </a:moveTo>
                  <a:cubicBezTo>
                    <a:pt x="15026" y="16872"/>
                    <a:pt x="18188" y="14809"/>
                    <a:pt x="19832" y="12952"/>
                  </a:cubicBezTo>
                  <a:cubicBezTo>
                    <a:pt x="21600" y="11133"/>
                    <a:pt x="19832" y="9480"/>
                    <a:pt x="19832" y="9070"/>
                  </a:cubicBezTo>
                  <a:cubicBezTo>
                    <a:pt x="20896" y="9070"/>
                    <a:pt x="16083" y="6631"/>
                    <a:pt x="17609" y="4322"/>
                  </a:cubicBezTo>
                  <a:cubicBezTo>
                    <a:pt x="15613" y="2131"/>
                    <a:pt x="14314" y="67"/>
                    <a:pt x="11035" y="67"/>
                  </a:cubicBezTo>
                  <a:cubicBezTo>
                    <a:pt x="8100" y="-432"/>
                    <a:pt x="4461" y="1924"/>
                    <a:pt x="2465" y="4029"/>
                  </a:cubicBezTo>
                  <a:cubicBezTo>
                    <a:pt x="939" y="6220"/>
                    <a:pt x="0" y="11049"/>
                    <a:pt x="0" y="14766"/>
                  </a:cubicBezTo>
                  <a:cubicBezTo>
                    <a:pt x="0" y="18441"/>
                    <a:pt x="2935" y="21168"/>
                    <a:pt x="2935" y="20425"/>
                  </a:cubicBezTo>
                  <a:cubicBezTo>
                    <a:pt x="4930" y="20052"/>
                    <a:pt x="8452" y="18568"/>
                    <a:pt x="11974" y="17904"/>
                  </a:cubicBezTo>
                  <a:close/>
                  <a:moveTo>
                    <a:pt x="11974" y="179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8" name="AutoShape 247"/>
            <p:cNvSpPr>
              <a:spLocks/>
            </p:cNvSpPr>
            <p:nvPr/>
          </p:nvSpPr>
          <p:spPr bwMode="auto">
            <a:xfrm>
              <a:off x="10553700" y="5270500"/>
              <a:ext cx="3175" cy="12700"/>
            </a:xfrm>
            <a:custGeom>
              <a:avLst/>
              <a:gdLst/>
              <a:ahLst/>
              <a:cxnLst/>
              <a:rect l="0" t="0" r="r" b="b"/>
              <a:pathLst>
                <a:path w="21123" h="21339">
                  <a:moveTo>
                    <a:pt x="13159" y="7682"/>
                  </a:moveTo>
                  <a:cubicBezTo>
                    <a:pt x="13159" y="8924"/>
                    <a:pt x="10323" y="9205"/>
                    <a:pt x="11559" y="8563"/>
                  </a:cubicBezTo>
                  <a:cubicBezTo>
                    <a:pt x="12655" y="7901"/>
                    <a:pt x="10109" y="8263"/>
                    <a:pt x="10109" y="9546"/>
                  </a:cubicBezTo>
                  <a:cubicBezTo>
                    <a:pt x="8364" y="10770"/>
                    <a:pt x="5959" y="13899"/>
                    <a:pt x="3927" y="16466"/>
                  </a:cubicBezTo>
                  <a:cubicBezTo>
                    <a:pt x="3055" y="18351"/>
                    <a:pt x="1382" y="20076"/>
                    <a:pt x="0" y="21339"/>
                  </a:cubicBezTo>
                  <a:cubicBezTo>
                    <a:pt x="359" y="21058"/>
                    <a:pt x="509" y="20959"/>
                    <a:pt x="950" y="20618"/>
                  </a:cubicBezTo>
                  <a:cubicBezTo>
                    <a:pt x="2982" y="18633"/>
                    <a:pt x="5527" y="16928"/>
                    <a:pt x="5086" y="16928"/>
                  </a:cubicBezTo>
                  <a:cubicBezTo>
                    <a:pt x="5605" y="16928"/>
                    <a:pt x="6109" y="17468"/>
                    <a:pt x="4950" y="18090"/>
                  </a:cubicBezTo>
                  <a:cubicBezTo>
                    <a:pt x="3850" y="18733"/>
                    <a:pt x="5959" y="18431"/>
                    <a:pt x="5959" y="17269"/>
                  </a:cubicBezTo>
                  <a:cubicBezTo>
                    <a:pt x="8218" y="16326"/>
                    <a:pt x="9309" y="13939"/>
                    <a:pt x="10473" y="12274"/>
                  </a:cubicBezTo>
                  <a:cubicBezTo>
                    <a:pt x="11491" y="10610"/>
                    <a:pt x="15418" y="8322"/>
                    <a:pt x="15418" y="7000"/>
                  </a:cubicBezTo>
                  <a:cubicBezTo>
                    <a:pt x="17450" y="5835"/>
                    <a:pt x="19127" y="3831"/>
                    <a:pt x="19127" y="2687"/>
                  </a:cubicBezTo>
                  <a:cubicBezTo>
                    <a:pt x="20145" y="1604"/>
                    <a:pt x="21018" y="401"/>
                    <a:pt x="21018" y="60"/>
                  </a:cubicBezTo>
                  <a:cubicBezTo>
                    <a:pt x="21600" y="-261"/>
                    <a:pt x="19632" y="741"/>
                    <a:pt x="18395" y="2467"/>
                  </a:cubicBezTo>
                  <a:cubicBezTo>
                    <a:pt x="16145" y="4091"/>
                    <a:pt x="15200" y="6597"/>
                    <a:pt x="13159" y="7682"/>
                  </a:cubicBezTo>
                  <a:close/>
                  <a:moveTo>
                    <a:pt x="13159" y="768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49" name="AutoShape 248"/>
            <p:cNvSpPr>
              <a:spLocks/>
            </p:cNvSpPr>
            <p:nvPr/>
          </p:nvSpPr>
          <p:spPr bwMode="auto">
            <a:xfrm>
              <a:off x="10553700" y="5283200"/>
              <a:ext cx="0" cy="0"/>
            </a:xfrm>
            <a:custGeom>
              <a:avLst/>
              <a:gdLst/>
              <a:ahLst/>
              <a:cxnLst/>
              <a:rect l="0" t="0" r="r" b="b"/>
              <a:pathLst>
                <a:path w="16195" h="17118">
                  <a:moveTo>
                    <a:pt x="4124" y="14333"/>
                  </a:moveTo>
                  <a:cubicBezTo>
                    <a:pt x="6666" y="11923"/>
                    <a:pt x="12383" y="5083"/>
                    <a:pt x="16195" y="0"/>
                  </a:cubicBezTo>
                  <a:cubicBezTo>
                    <a:pt x="2814" y="13886"/>
                    <a:pt x="-5405" y="21600"/>
                    <a:pt x="4124" y="14333"/>
                  </a:cubicBezTo>
                  <a:close/>
                  <a:moveTo>
                    <a:pt x="4124" y="1433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0" name="AutoShape 249"/>
            <p:cNvSpPr>
              <a:spLocks/>
            </p:cNvSpPr>
            <p:nvPr/>
          </p:nvSpPr>
          <p:spPr bwMode="auto">
            <a:xfrm>
              <a:off x="10553700" y="5257800"/>
              <a:ext cx="0" cy="3175"/>
            </a:xfrm>
            <a:custGeom>
              <a:avLst/>
              <a:gdLst/>
              <a:ahLst/>
              <a:cxnLst/>
              <a:rect l="0" t="0" r="r" b="b"/>
              <a:pathLst>
                <a:path w="20097" h="19562">
                  <a:moveTo>
                    <a:pt x="2345" y="17224"/>
                  </a:moveTo>
                  <a:cubicBezTo>
                    <a:pt x="-1260" y="21600"/>
                    <a:pt x="-1503" y="19582"/>
                    <a:pt x="7355" y="13257"/>
                  </a:cubicBezTo>
                  <a:cubicBezTo>
                    <a:pt x="15104" y="7269"/>
                    <a:pt x="19560" y="1819"/>
                    <a:pt x="20097" y="0"/>
                  </a:cubicBezTo>
                  <a:cubicBezTo>
                    <a:pt x="19560" y="807"/>
                    <a:pt x="18710" y="1819"/>
                    <a:pt x="15954" y="3162"/>
                  </a:cubicBezTo>
                  <a:cubicBezTo>
                    <a:pt x="15954" y="6663"/>
                    <a:pt x="6246" y="12851"/>
                    <a:pt x="2345" y="17224"/>
                  </a:cubicBezTo>
                  <a:close/>
                  <a:moveTo>
                    <a:pt x="2345" y="172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1" name="AutoShape 250"/>
            <p:cNvSpPr>
              <a:spLocks/>
            </p:cNvSpPr>
            <p:nvPr/>
          </p:nvSpPr>
          <p:spPr bwMode="auto">
            <a:xfrm>
              <a:off x="10553700" y="5270500"/>
              <a:ext cx="0" cy="0"/>
            </a:xfrm>
            <a:custGeom>
              <a:avLst/>
              <a:gdLst/>
              <a:ahLst/>
              <a:cxnLst/>
              <a:rect l="0" t="0" r="r" b="b"/>
              <a:pathLst>
                <a:path w="17787" h="20015">
                  <a:moveTo>
                    <a:pt x="0" y="20015"/>
                  </a:moveTo>
                  <a:cubicBezTo>
                    <a:pt x="653" y="19101"/>
                    <a:pt x="653" y="18355"/>
                    <a:pt x="3267" y="16853"/>
                  </a:cubicBezTo>
                  <a:cubicBezTo>
                    <a:pt x="3267" y="11448"/>
                    <a:pt x="16292" y="4926"/>
                    <a:pt x="16292" y="1391"/>
                  </a:cubicBezTo>
                  <a:cubicBezTo>
                    <a:pt x="21600" y="-1585"/>
                    <a:pt x="11065" y="267"/>
                    <a:pt x="11065" y="6428"/>
                  </a:cubicBezTo>
                  <a:cubicBezTo>
                    <a:pt x="653" y="10703"/>
                    <a:pt x="653" y="16486"/>
                    <a:pt x="0" y="20015"/>
                  </a:cubicBezTo>
                  <a:close/>
                  <a:moveTo>
                    <a:pt x="0" y="2001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2" name="AutoShape 251"/>
            <p:cNvSpPr>
              <a:spLocks/>
            </p:cNvSpPr>
            <p:nvPr/>
          </p:nvSpPr>
          <p:spPr bwMode="auto">
            <a:xfrm>
              <a:off x="10566400" y="5219700"/>
              <a:ext cx="3175" cy="17463"/>
            </a:xfrm>
            <a:custGeom>
              <a:avLst/>
              <a:gdLst/>
              <a:ahLst/>
              <a:cxnLst/>
              <a:rect l="0" t="0" r="r" b="b"/>
              <a:pathLst>
                <a:path w="20656" h="21082">
                  <a:moveTo>
                    <a:pt x="1047" y="20655"/>
                  </a:moveTo>
                  <a:cubicBezTo>
                    <a:pt x="2218" y="20246"/>
                    <a:pt x="2744" y="19216"/>
                    <a:pt x="3678" y="18538"/>
                  </a:cubicBezTo>
                  <a:cubicBezTo>
                    <a:pt x="4378" y="17860"/>
                    <a:pt x="5017" y="17014"/>
                    <a:pt x="5604" y="16732"/>
                  </a:cubicBezTo>
                  <a:cubicBezTo>
                    <a:pt x="5604" y="16407"/>
                    <a:pt x="7706" y="15053"/>
                    <a:pt x="8640" y="13656"/>
                  </a:cubicBezTo>
                  <a:cubicBezTo>
                    <a:pt x="9457" y="12232"/>
                    <a:pt x="11676" y="10030"/>
                    <a:pt x="13369" y="8803"/>
                  </a:cubicBezTo>
                  <a:cubicBezTo>
                    <a:pt x="15058" y="7534"/>
                    <a:pt x="16284" y="5755"/>
                    <a:pt x="17163" y="4881"/>
                  </a:cubicBezTo>
                  <a:cubicBezTo>
                    <a:pt x="18035" y="4034"/>
                    <a:pt x="19261" y="2327"/>
                    <a:pt x="20141" y="1086"/>
                  </a:cubicBezTo>
                  <a:cubicBezTo>
                    <a:pt x="21600" y="-128"/>
                    <a:pt x="19495" y="-395"/>
                    <a:pt x="19495" y="648"/>
                  </a:cubicBezTo>
                  <a:cubicBezTo>
                    <a:pt x="17630" y="1580"/>
                    <a:pt x="15704" y="3540"/>
                    <a:pt x="14766" y="4909"/>
                  </a:cubicBezTo>
                  <a:cubicBezTo>
                    <a:pt x="12960" y="6222"/>
                    <a:pt x="11676" y="8084"/>
                    <a:pt x="10975" y="8987"/>
                  </a:cubicBezTo>
                  <a:cubicBezTo>
                    <a:pt x="10975" y="9847"/>
                    <a:pt x="8520" y="12175"/>
                    <a:pt x="6071" y="14122"/>
                  </a:cubicBezTo>
                  <a:cubicBezTo>
                    <a:pt x="4265" y="16098"/>
                    <a:pt x="2218" y="18242"/>
                    <a:pt x="1339" y="18876"/>
                  </a:cubicBezTo>
                  <a:cubicBezTo>
                    <a:pt x="409" y="19526"/>
                    <a:pt x="0" y="20415"/>
                    <a:pt x="0" y="20824"/>
                  </a:cubicBezTo>
                  <a:cubicBezTo>
                    <a:pt x="0" y="21205"/>
                    <a:pt x="1047" y="21176"/>
                    <a:pt x="1047" y="20655"/>
                  </a:cubicBezTo>
                  <a:close/>
                  <a:moveTo>
                    <a:pt x="1047" y="206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3" name="AutoShape 252"/>
            <p:cNvSpPr>
              <a:spLocks/>
            </p:cNvSpPr>
            <p:nvPr/>
          </p:nvSpPr>
          <p:spPr bwMode="auto">
            <a:xfrm>
              <a:off x="10553700" y="5270500"/>
              <a:ext cx="0" cy="3175"/>
            </a:xfrm>
            <a:custGeom>
              <a:avLst/>
              <a:gdLst/>
              <a:ahLst/>
              <a:cxnLst/>
              <a:rect l="0" t="0" r="r" b="b"/>
              <a:pathLst>
                <a:path w="21600" h="21600">
                  <a:moveTo>
                    <a:pt x="4741" y="15600"/>
                  </a:moveTo>
                  <a:cubicBezTo>
                    <a:pt x="4741" y="17600"/>
                    <a:pt x="2091" y="19804"/>
                    <a:pt x="0" y="21600"/>
                  </a:cubicBezTo>
                  <a:cubicBezTo>
                    <a:pt x="1317" y="20535"/>
                    <a:pt x="2371" y="19537"/>
                    <a:pt x="5005" y="17865"/>
                  </a:cubicBezTo>
                  <a:cubicBezTo>
                    <a:pt x="5005" y="12602"/>
                    <a:pt x="16859" y="5537"/>
                    <a:pt x="20283" y="1733"/>
                  </a:cubicBezTo>
                  <a:cubicBezTo>
                    <a:pt x="21337" y="798"/>
                    <a:pt x="21057" y="600"/>
                    <a:pt x="21600" y="0"/>
                  </a:cubicBezTo>
                  <a:cubicBezTo>
                    <a:pt x="17632" y="2335"/>
                    <a:pt x="16579" y="5735"/>
                    <a:pt x="13418" y="7340"/>
                  </a:cubicBezTo>
                  <a:cubicBezTo>
                    <a:pt x="13418" y="9202"/>
                    <a:pt x="4741" y="12800"/>
                    <a:pt x="4741" y="15600"/>
                  </a:cubicBezTo>
                  <a:close/>
                  <a:moveTo>
                    <a:pt x="4741" y="15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4" name="AutoShape 253"/>
            <p:cNvSpPr>
              <a:spLocks/>
            </p:cNvSpPr>
            <p:nvPr/>
          </p:nvSpPr>
          <p:spPr bwMode="auto">
            <a:xfrm>
              <a:off x="10553700" y="5232400"/>
              <a:ext cx="1588" cy="11113"/>
            </a:xfrm>
            <a:custGeom>
              <a:avLst/>
              <a:gdLst/>
              <a:ahLst/>
              <a:cxnLst/>
              <a:rect l="0" t="0" r="r" b="b"/>
              <a:pathLst>
                <a:path w="21600" h="21600">
                  <a:moveTo>
                    <a:pt x="21600" y="0"/>
                  </a:moveTo>
                  <a:cubicBezTo>
                    <a:pt x="20914" y="909"/>
                    <a:pt x="18366" y="2467"/>
                    <a:pt x="16972" y="3999"/>
                  </a:cubicBezTo>
                  <a:cubicBezTo>
                    <a:pt x="16972" y="5819"/>
                    <a:pt x="11320" y="8071"/>
                    <a:pt x="11320" y="9100"/>
                  </a:cubicBezTo>
                  <a:cubicBezTo>
                    <a:pt x="9580" y="10130"/>
                    <a:pt x="6230" y="13267"/>
                    <a:pt x="4389" y="16092"/>
                  </a:cubicBezTo>
                  <a:cubicBezTo>
                    <a:pt x="1040" y="18823"/>
                    <a:pt x="1040" y="21600"/>
                    <a:pt x="0" y="21600"/>
                  </a:cubicBezTo>
                  <a:cubicBezTo>
                    <a:pt x="1155" y="21600"/>
                    <a:pt x="1841" y="20523"/>
                    <a:pt x="4729" y="18704"/>
                  </a:cubicBezTo>
                  <a:cubicBezTo>
                    <a:pt x="4729" y="16789"/>
                    <a:pt x="10735" y="13171"/>
                    <a:pt x="13976" y="10489"/>
                  </a:cubicBezTo>
                  <a:cubicBezTo>
                    <a:pt x="15478" y="7806"/>
                    <a:pt x="19636" y="3951"/>
                    <a:pt x="21253" y="1890"/>
                  </a:cubicBezTo>
                  <a:cubicBezTo>
                    <a:pt x="21253" y="1030"/>
                    <a:pt x="21477" y="454"/>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5" name="AutoShape 254"/>
            <p:cNvSpPr>
              <a:spLocks/>
            </p:cNvSpPr>
            <p:nvPr/>
          </p:nvSpPr>
          <p:spPr bwMode="auto">
            <a:xfrm>
              <a:off x="10566400" y="5232400"/>
              <a:ext cx="0" cy="0"/>
            </a:xfrm>
            <a:custGeom>
              <a:avLst/>
              <a:gdLst/>
              <a:ahLst/>
              <a:cxnLst/>
              <a:rect l="0" t="0" r="r" b="b"/>
              <a:pathLst>
                <a:path w="21600" h="16333">
                  <a:moveTo>
                    <a:pt x="0" y="16333"/>
                  </a:moveTo>
                  <a:cubicBezTo>
                    <a:pt x="8640" y="12701"/>
                    <a:pt x="21600" y="6529"/>
                    <a:pt x="21600" y="4472"/>
                  </a:cubicBezTo>
                  <a:cubicBezTo>
                    <a:pt x="21600" y="-5267"/>
                    <a:pt x="12690" y="1901"/>
                    <a:pt x="0" y="16333"/>
                  </a:cubicBezTo>
                  <a:close/>
                  <a:moveTo>
                    <a:pt x="0" y="1633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6" name="AutoShape 255"/>
            <p:cNvSpPr>
              <a:spLocks/>
            </p:cNvSpPr>
            <p:nvPr/>
          </p:nvSpPr>
          <p:spPr bwMode="auto">
            <a:xfrm>
              <a:off x="10553700" y="5270500"/>
              <a:ext cx="0" cy="0"/>
            </a:xfrm>
            <a:custGeom>
              <a:avLst/>
              <a:gdLst/>
              <a:ahLst/>
              <a:cxnLst/>
              <a:rect l="0" t="0" r="r" b="b"/>
              <a:pathLst>
                <a:path w="15453" h="14769">
                  <a:moveTo>
                    <a:pt x="14247" y="10338"/>
                  </a:moveTo>
                  <a:cubicBezTo>
                    <a:pt x="14247" y="-6831"/>
                    <a:pt x="21600" y="-704"/>
                    <a:pt x="0" y="14769"/>
                  </a:cubicBezTo>
                  <a:cubicBezTo>
                    <a:pt x="0" y="13696"/>
                    <a:pt x="0" y="11481"/>
                    <a:pt x="14247" y="10338"/>
                  </a:cubicBezTo>
                  <a:close/>
                  <a:moveTo>
                    <a:pt x="14247" y="103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7" name="AutoShape 256"/>
            <p:cNvSpPr>
              <a:spLocks/>
            </p:cNvSpPr>
            <p:nvPr/>
          </p:nvSpPr>
          <p:spPr bwMode="auto">
            <a:xfrm>
              <a:off x="10553700" y="5283200"/>
              <a:ext cx="0" cy="1588"/>
            </a:xfrm>
            <a:custGeom>
              <a:avLst/>
              <a:gdLst/>
              <a:ahLst/>
              <a:cxnLst/>
              <a:rect l="0" t="0" r="r" b="b"/>
              <a:pathLst>
                <a:path w="16127" h="19003">
                  <a:moveTo>
                    <a:pt x="11113" y="4408"/>
                  </a:moveTo>
                  <a:cubicBezTo>
                    <a:pt x="6483" y="8762"/>
                    <a:pt x="5060" y="14994"/>
                    <a:pt x="719" y="17555"/>
                  </a:cubicBezTo>
                  <a:cubicBezTo>
                    <a:pt x="719" y="20457"/>
                    <a:pt x="-2434" y="18744"/>
                    <a:pt x="4466" y="14652"/>
                  </a:cubicBezTo>
                  <a:cubicBezTo>
                    <a:pt x="4466" y="10037"/>
                    <a:pt x="14860" y="4320"/>
                    <a:pt x="14860" y="1418"/>
                  </a:cubicBezTo>
                  <a:cubicBezTo>
                    <a:pt x="19166" y="-1143"/>
                    <a:pt x="11113" y="-287"/>
                    <a:pt x="11113" y="4408"/>
                  </a:cubicBezTo>
                  <a:close/>
                  <a:moveTo>
                    <a:pt x="11113" y="44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8" name="AutoShape 257"/>
            <p:cNvSpPr>
              <a:spLocks/>
            </p:cNvSpPr>
            <p:nvPr/>
          </p:nvSpPr>
          <p:spPr bwMode="auto">
            <a:xfrm>
              <a:off x="10528300" y="5321300"/>
              <a:ext cx="11113" cy="44450"/>
            </a:xfrm>
            <a:custGeom>
              <a:avLst/>
              <a:gdLst/>
              <a:ahLst/>
              <a:cxnLst/>
              <a:rect l="0" t="0" r="r" b="b"/>
              <a:pathLst>
                <a:path w="21426" h="21361">
                  <a:moveTo>
                    <a:pt x="21216" y="60"/>
                  </a:moveTo>
                  <a:cubicBezTo>
                    <a:pt x="20982" y="268"/>
                    <a:pt x="20235" y="666"/>
                    <a:pt x="20235" y="987"/>
                  </a:cubicBezTo>
                  <a:cubicBezTo>
                    <a:pt x="19958" y="1135"/>
                    <a:pt x="19596" y="1491"/>
                    <a:pt x="19189" y="1919"/>
                  </a:cubicBezTo>
                  <a:cubicBezTo>
                    <a:pt x="19360" y="1848"/>
                    <a:pt x="18806" y="2305"/>
                    <a:pt x="18253" y="3101"/>
                  </a:cubicBezTo>
                  <a:cubicBezTo>
                    <a:pt x="17336" y="3956"/>
                    <a:pt x="16845" y="4906"/>
                    <a:pt x="16312" y="5120"/>
                  </a:cubicBezTo>
                  <a:cubicBezTo>
                    <a:pt x="16312" y="5376"/>
                    <a:pt x="15395" y="5993"/>
                    <a:pt x="14756" y="6516"/>
                  </a:cubicBezTo>
                  <a:cubicBezTo>
                    <a:pt x="14159" y="7038"/>
                    <a:pt x="14331" y="7109"/>
                    <a:pt x="14331" y="6634"/>
                  </a:cubicBezTo>
                  <a:cubicBezTo>
                    <a:pt x="14969" y="6207"/>
                    <a:pt x="14521" y="5987"/>
                    <a:pt x="14521" y="6219"/>
                  </a:cubicBezTo>
                  <a:cubicBezTo>
                    <a:pt x="14521" y="6469"/>
                    <a:pt x="13370" y="7074"/>
                    <a:pt x="13050" y="7632"/>
                  </a:cubicBezTo>
                  <a:cubicBezTo>
                    <a:pt x="12410" y="8161"/>
                    <a:pt x="11387" y="9236"/>
                    <a:pt x="10725" y="9996"/>
                  </a:cubicBezTo>
                  <a:cubicBezTo>
                    <a:pt x="9829" y="10732"/>
                    <a:pt x="8550" y="12347"/>
                    <a:pt x="7336" y="13530"/>
                  </a:cubicBezTo>
                  <a:cubicBezTo>
                    <a:pt x="6057" y="14700"/>
                    <a:pt x="5075" y="15941"/>
                    <a:pt x="4712" y="16249"/>
                  </a:cubicBezTo>
                  <a:cubicBezTo>
                    <a:pt x="4371" y="16547"/>
                    <a:pt x="3987" y="16944"/>
                    <a:pt x="3987" y="17140"/>
                  </a:cubicBezTo>
                  <a:cubicBezTo>
                    <a:pt x="3669" y="17301"/>
                    <a:pt x="3669" y="17681"/>
                    <a:pt x="3391" y="17924"/>
                  </a:cubicBezTo>
                  <a:cubicBezTo>
                    <a:pt x="3391" y="18174"/>
                    <a:pt x="2752" y="18435"/>
                    <a:pt x="2752" y="18536"/>
                  </a:cubicBezTo>
                  <a:cubicBezTo>
                    <a:pt x="2752" y="18631"/>
                    <a:pt x="2623" y="18602"/>
                    <a:pt x="2623" y="18489"/>
                  </a:cubicBezTo>
                  <a:cubicBezTo>
                    <a:pt x="2623" y="18370"/>
                    <a:pt x="2133" y="18869"/>
                    <a:pt x="1473" y="19605"/>
                  </a:cubicBezTo>
                  <a:cubicBezTo>
                    <a:pt x="810" y="20354"/>
                    <a:pt x="0" y="21096"/>
                    <a:pt x="0" y="21274"/>
                  </a:cubicBezTo>
                  <a:cubicBezTo>
                    <a:pt x="0" y="21458"/>
                    <a:pt x="362" y="21345"/>
                    <a:pt x="685" y="20995"/>
                  </a:cubicBezTo>
                  <a:cubicBezTo>
                    <a:pt x="1131" y="20674"/>
                    <a:pt x="2560" y="19712"/>
                    <a:pt x="3200" y="18839"/>
                  </a:cubicBezTo>
                  <a:cubicBezTo>
                    <a:pt x="4223" y="17984"/>
                    <a:pt x="5544" y="17016"/>
                    <a:pt x="5544" y="16677"/>
                  </a:cubicBezTo>
                  <a:cubicBezTo>
                    <a:pt x="5929" y="16356"/>
                    <a:pt x="6504" y="16024"/>
                    <a:pt x="6504" y="15929"/>
                  </a:cubicBezTo>
                  <a:cubicBezTo>
                    <a:pt x="6867" y="15929"/>
                    <a:pt x="7293" y="15269"/>
                    <a:pt x="7933" y="14652"/>
                  </a:cubicBezTo>
                  <a:cubicBezTo>
                    <a:pt x="8635" y="14052"/>
                    <a:pt x="9681" y="12959"/>
                    <a:pt x="10321" y="12247"/>
                  </a:cubicBezTo>
                  <a:cubicBezTo>
                    <a:pt x="10981" y="11511"/>
                    <a:pt x="12900" y="9931"/>
                    <a:pt x="13882" y="8666"/>
                  </a:cubicBezTo>
                  <a:cubicBezTo>
                    <a:pt x="15161" y="7436"/>
                    <a:pt x="16631" y="6040"/>
                    <a:pt x="16952" y="5571"/>
                  </a:cubicBezTo>
                  <a:cubicBezTo>
                    <a:pt x="17250" y="5090"/>
                    <a:pt x="17933" y="4526"/>
                    <a:pt x="18210" y="4294"/>
                  </a:cubicBezTo>
                  <a:cubicBezTo>
                    <a:pt x="18464" y="4075"/>
                    <a:pt x="18786" y="3428"/>
                    <a:pt x="19340" y="2893"/>
                  </a:cubicBezTo>
                  <a:cubicBezTo>
                    <a:pt x="19894" y="2353"/>
                    <a:pt x="20831" y="1414"/>
                    <a:pt x="20831" y="785"/>
                  </a:cubicBezTo>
                  <a:cubicBezTo>
                    <a:pt x="21449" y="184"/>
                    <a:pt x="21600" y="-142"/>
                    <a:pt x="21216" y="60"/>
                  </a:cubicBezTo>
                  <a:close/>
                  <a:moveTo>
                    <a:pt x="21216" y="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59" name="AutoShape 258"/>
            <p:cNvSpPr>
              <a:spLocks/>
            </p:cNvSpPr>
            <p:nvPr/>
          </p:nvSpPr>
          <p:spPr bwMode="auto">
            <a:xfrm>
              <a:off x="10528300" y="5359400"/>
              <a:ext cx="0" cy="4763"/>
            </a:xfrm>
            <a:custGeom>
              <a:avLst/>
              <a:gdLst/>
              <a:ahLst/>
              <a:cxnLst/>
              <a:rect l="0" t="0" r="r" b="b"/>
              <a:pathLst>
                <a:path w="20294" h="21222">
                  <a:moveTo>
                    <a:pt x="20041" y="0"/>
                  </a:moveTo>
                  <a:cubicBezTo>
                    <a:pt x="20041" y="454"/>
                    <a:pt x="14587" y="5221"/>
                    <a:pt x="9143" y="10700"/>
                  </a:cubicBezTo>
                  <a:cubicBezTo>
                    <a:pt x="3688" y="16024"/>
                    <a:pt x="0" y="20796"/>
                    <a:pt x="0" y="21198"/>
                  </a:cubicBezTo>
                  <a:cubicBezTo>
                    <a:pt x="0" y="21600"/>
                    <a:pt x="5795" y="16928"/>
                    <a:pt x="10723" y="10546"/>
                  </a:cubicBezTo>
                  <a:cubicBezTo>
                    <a:pt x="15629" y="4218"/>
                    <a:pt x="21600" y="0"/>
                    <a:pt x="20041" y="0"/>
                  </a:cubicBezTo>
                  <a:close/>
                  <a:moveTo>
                    <a:pt x="20041"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0" name="AutoShape 259"/>
            <p:cNvSpPr>
              <a:spLocks/>
            </p:cNvSpPr>
            <p:nvPr/>
          </p:nvSpPr>
          <p:spPr bwMode="auto">
            <a:xfrm>
              <a:off x="10553700" y="5207000"/>
              <a:ext cx="6350" cy="31750"/>
            </a:xfrm>
            <a:custGeom>
              <a:avLst/>
              <a:gdLst/>
              <a:ahLst/>
              <a:cxnLst/>
              <a:rect l="0" t="0" r="r" b="b"/>
              <a:pathLst>
                <a:path w="21372" h="21475">
                  <a:moveTo>
                    <a:pt x="6590" y="15961"/>
                  </a:moveTo>
                  <a:cubicBezTo>
                    <a:pt x="6590" y="15643"/>
                    <a:pt x="7094" y="14966"/>
                    <a:pt x="8238" y="14574"/>
                  </a:cubicBezTo>
                  <a:cubicBezTo>
                    <a:pt x="8238" y="14101"/>
                    <a:pt x="9207" y="13407"/>
                    <a:pt x="9778" y="13016"/>
                  </a:cubicBezTo>
                  <a:cubicBezTo>
                    <a:pt x="9778" y="12624"/>
                    <a:pt x="10031" y="12248"/>
                    <a:pt x="10031" y="12289"/>
                  </a:cubicBezTo>
                  <a:cubicBezTo>
                    <a:pt x="9852" y="12289"/>
                    <a:pt x="9599" y="11677"/>
                    <a:pt x="10747" y="11040"/>
                  </a:cubicBezTo>
                  <a:cubicBezTo>
                    <a:pt x="11249" y="10379"/>
                    <a:pt x="12108" y="9490"/>
                    <a:pt x="12574" y="9074"/>
                  </a:cubicBezTo>
                  <a:cubicBezTo>
                    <a:pt x="13145" y="8658"/>
                    <a:pt x="14040" y="7866"/>
                    <a:pt x="14542" y="7312"/>
                  </a:cubicBezTo>
                  <a:cubicBezTo>
                    <a:pt x="15045" y="6740"/>
                    <a:pt x="16512" y="5949"/>
                    <a:pt x="16512" y="5492"/>
                  </a:cubicBezTo>
                  <a:cubicBezTo>
                    <a:pt x="16512" y="5034"/>
                    <a:pt x="17517" y="4985"/>
                    <a:pt x="16872" y="5271"/>
                  </a:cubicBezTo>
                  <a:cubicBezTo>
                    <a:pt x="16442" y="5581"/>
                    <a:pt x="16729" y="5492"/>
                    <a:pt x="17230" y="5043"/>
                  </a:cubicBezTo>
                  <a:cubicBezTo>
                    <a:pt x="17696" y="4610"/>
                    <a:pt x="17803" y="3737"/>
                    <a:pt x="18768" y="3190"/>
                  </a:cubicBezTo>
                  <a:cubicBezTo>
                    <a:pt x="18768" y="2611"/>
                    <a:pt x="20022" y="1656"/>
                    <a:pt x="20597" y="1045"/>
                  </a:cubicBezTo>
                  <a:cubicBezTo>
                    <a:pt x="21600" y="473"/>
                    <a:pt x="21419" y="0"/>
                    <a:pt x="21206" y="0"/>
                  </a:cubicBezTo>
                  <a:cubicBezTo>
                    <a:pt x="21493" y="0"/>
                    <a:pt x="20418" y="408"/>
                    <a:pt x="19952" y="865"/>
                  </a:cubicBezTo>
                  <a:cubicBezTo>
                    <a:pt x="19308" y="1289"/>
                    <a:pt x="18661" y="2929"/>
                    <a:pt x="16550" y="4390"/>
                  </a:cubicBezTo>
                  <a:cubicBezTo>
                    <a:pt x="15547" y="5891"/>
                    <a:pt x="12357" y="8364"/>
                    <a:pt x="11282" y="9947"/>
                  </a:cubicBezTo>
                  <a:cubicBezTo>
                    <a:pt x="10244" y="11514"/>
                    <a:pt x="6628" y="14011"/>
                    <a:pt x="5554" y="15586"/>
                  </a:cubicBezTo>
                  <a:cubicBezTo>
                    <a:pt x="3976" y="17120"/>
                    <a:pt x="1327" y="18964"/>
                    <a:pt x="1327" y="19707"/>
                  </a:cubicBezTo>
                  <a:cubicBezTo>
                    <a:pt x="287" y="20408"/>
                    <a:pt x="0" y="21192"/>
                    <a:pt x="0" y="21396"/>
                  </a:cubicBezTo>
                  <a:cubicBezTo>
                    <a:pt x="0" y="21600"/>
                    <a:pt x="38" y="21388"/>
                    <a:pt x="931" y="20980"/>
                  </a:cubicBezTo>
                  <a:cubicBezTo>
                    <a:pt x="931" y="20539"/>
                    <a:pt x="2758" y="19372"/>
                    <a:pt x="3906" y="18352"/>
                  </a:cubicBezTo>
                  <a:cubicBezTo>
                    <a:pt x="4444" y="17332"/>
                    <a:pt x="5802" y="16239"/>
                    <a:pt x="6590" y="15961"/>
                  </a:cubicBezTo>
                  <a:close/>
                  <a:moveTo>
                    <a:pt x="6590" y="159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1" name="AutoShape 260"/>
            <p:cNvSpPr>
              <a:spLocks/>
            </p:cNvSpPr>
            <p:nvPr/>
          </p:nvSpPr>
          <p:spPr bwMode="auto">
            <a:xfrm>
              <a:off x="10553700" y="5283200"/>
              <a:ext cx="0" cy="0"/>
            </a:xfrm>
            <a:custGeom>
              <a:avLst/>
              <a:gdLst/>
              <a:ahLst/>
              <a:cxnLst/>
              <a:rect l="0" t="0" r="r" b="b"/>
              <a:pathLst>
                <a:path w="16372" h="17099">
                  <a:moveTo>
                    <a:pt x="4084" y="14400"/>
                  </a:moveTo>
                  <a:cubicBezTo>
                    <a:pt x="4084" y="11012"/>
                    <a:pt x="10228" y="5122"/>
                    <a:pt x="16372" y="0"/>
                  </a:cubicBezTo>
                  <a:cubicBezTo>
                    <a:pt x="2452" y="13579"/>
                    <a:pt x="-5228" y="21600"/>
                    <a:pt x="4084" y="14400"/>
                  </a:cubicBezTo>
                  <a:close/>
                  <a:moveTo>
                    <a:pt x="4084" y="144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2" name="AutoShape 261"/>
            <p:cNvSpPr>
              <a:spLocks/>
            </p:cNvSpPr>
            <p:nvPr/>
          </p:nvSpPr>
          <p:spPr bwMode="auto">
            <a:xfrm>
              <a:off x="10541000" y="5321300"/>
              <a:ext cx="0" cy="3175"/>
            </a:xfrm>
            <a:custGeom>
              <a:avLst/>
              <a:gdLst/>
              <a:ahLst/>
              <a:cxnLst/>
              <a:rect l="0" t="0" r="r" b="b"/>
              <a:pathLst>
                <a:path w="20087" h="19988">
                  <a:moveTo>
                    <a:pt x="2161" y="16846"/>
                  </a:moveTo>
                  <a:cubicBezTo>
                    <a:pt x="8010" y="12210"/>
                    <a:pt x="15764" y="5256"/>
                    <a:pt x="19222" y="1412"/>
                  </a:cubicBezTo>
                  <a:cubicBezTo>
                    <a:pt x="20087" y="618"/>
                    <a:pt x="19668" y="509"/>
                    <a:pt x="20087" y="0"/>
                  </a:cubicBezTo>
                  <a:cubicBezTo>
                    <a:pt x="14913" y="2883"/>
                    <a:pt x="10145" y="9726"/>
                    <a:pt x="3026" y="15091"/>
                  </a:cubicBezTo>
                  <a:cubicBezTo>
                    <a:pt x="-14" y="20916"/>
                    <a:pt x="-1513" y="21600"/>
                    <a:pt x="2161" y="16846"/>
                  </a:cubicBezTo>
                  <a:close/>
                  <a:moveTo>
                    <a:pt x="2161" y="168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3" name="AutoShape 262"/>
            <p:cNvSpPr>
              <a:spLocks/>
            </p:cNvSpPr>
            <p:nvPr/>
          </p:nvSpPr>
          <p:spPr bwMode="auto">
            <a:xfrm>
              <a:off x="10553700" y="5283200"/>
              <a:ext cx="0" cy="0"/>
            </a:xfrm>
            <a:custGeom>
              <a:avLst/>
              <a:gdLst/>
              <a:ahLst/>
              <a:cxnLst/>
              <a:rect l="0" t="0" r="r" b="b"/>
              <a:pathLst>
                <a:path w="21600" h="19195">
                  <a:moveTo>
                    <a:pt x="16615" y="5830"/>
                  </a:moveTo>
                  <a:cubicBezTo>
                    <a:pt x="19887" y="2744"/>
                    <a:pt x="19887" y="1704"/>
                    <a:pt x="21600" y="0"/>
                  </a:cubicBezTo>
                  <a:cubicBezTo>
                    <a:pt x="3323" y="5991"/>
                    <a:pt x="0" y="14736"/>
                    <a:pt x="0" y="18176"/>
                  </a:cubicBezTo>
                  <a:cubicBezTo>
                    <a:pt x="0" y="21600"/>
                    <a:pt x="4154" y="16118"/>
                    <a:pt x="16615" y="5830"/>
                  </a:cubicBezTo>
                  <a:close/>
                  <a:moveTo>
                    <a:pt x="16615" y="58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4" name="AutoShape 263"/>
            <p:cNvSpPr>
              <a:spLocks/>
            </p:cNvSpPr>
            <p:nvPr/>
          </p:nvSpPr>
          <p:spPr bwMode="auto">
            <a:xfrm>
              <a:off x="10553700" y="5283200"/>
              <a:ext cx="0" cy="0"/>
            </a:xfrm>
            <a:custGeom>
              <a:avLst/>
              <a:gdLst/>
              <a:ahLst/>
              <a:cxnLst/>
              <a:rect l="0" t="0" r="r" b="b"/>
              <a:pathLst>
                <a:path w="13170" h="14630">
                  <a:moveTo>
                    <a:pt x="10125" y="11363"/>
                  </a:moveTo>
                  <a:cubicBezTo>
                    <a:pt x="10125" y="-6970"/>
                    <a:pt x="21600" y="-1090"/>
                    <a:pt x="0" y="14630"/>
                  </a:cubicBezTo>
                  <a:cubicBezTo>
                    <a:pt x="0" y="13977"/>
                    <a:pt x="0" y="12629"/>
                    <a:pt x="10125" y="11363"/>
                  </a:cubicBezTo>
                  <a:close/>
                  <a:moveTo>
                    <a:pt x="10125" y="113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5" name="AutoShape 264"/>
            <p:cNvSpPr>
              <a:spLocks/>
            </p:cNvSpPr>
            <p:nvPr/>
          </p:nvSpPr>
          <p:spPr bwMode="auto">
            <a:xfrm>
              <a:off x="10591800" y="5003800"/>
              <a:ext cx="0" cy="4763"/>
            </a:xfrm>
            <a:custGeom>
              <a:avLst/>
              <a:gdLst/>
              <a:ahLst/>
              <a:cxnLst/>
              <a:rect l="0" t="0" r="r" b="b"/>
              <a:pathLst>
                <a:path w="21600" h="20576">
                  <a:moveTo>
                    <a:pt x="8397" y="9004"/>
                  </a:moveTo>
                  <a:cubicBezTo>
                    <a:pt x="2929" y="15024"/>
                    <a:pt x="0" y="20203"/>
                    <a:pt x="0" y="20576"/>
                  </a:cubicBezTo>
                  <a:cubicBezTo>
                    <a:pt x="2563" y="20576"/>
                    <a:pt x="2929" y="16845"/>
                    <a:pt x="12791" y="11757"/>
                  </a:cubicBezTo>
                  <a:cubicBezTo>
                    <a:pt x="17939" y="6626"/>
                    <a:pt x="21600" y="1447"/>
                    <a:pt x="21600" y="233"/>
                  </a:cubicBezTo>
                  <a:cubicBezTo>
                    <a:pt x="21600" y="-1024"/>
                    <a:pt x="14621" y="2942"/>
                    <a:pt x="8397" y="9004"/>
                  </a:cubicBezTo>
                  <a:close/>
                  <a:moveTo>
                    <a:pt x="8397" y="90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6" name="AutoShape 265"/>
            <p:cNvSpPr>
              <a:spLocks/>
            </p:cNvSpPr>
            <p:nvPr/>
          </p:nvSpPr>
          <p:spPr bwMode="auto">
            <a:xfrm>
              <a:off x="10591800" y="5003800"/>
              <a:ext cx="0" cy="1588"/>
            </a:xfrm>
            <a:custGeom>
              <a:avLst/>
              <a:gdLst/>
              <a:ahLst/>
              <a:cxnLst/>
              <a:rect l="0" t="0" r="r" b="b"/>
              <a:pathLst>
                <a:path w="16089" h="18310">
                  <a:moveTo>
                    <a:pt x="9888" y="3992"/>
                  </a:moveTo>
                  <a:cubicBezTo>
                    <a:pt x="3550" y="10338"/>
                    <a:pt x="-2788" y="16812"/>
                    <a:pt x="1290" y="18090"/>
                  </a:cubicBezTo>
                  <a:cubicBezTo>
                    <a:pt x="5041" y="19491"/>
                    <a:pt x="5041" y="14029"/>
                    <a:pt x="15480" y="6655"/>
                  </a:cubicBezTo>
                  <a:cubicBezTo>
                    <a:pt x="15480" y="-1212"/>
                    <a:pt x="18812" y="-2109"/>
                    <a:pt x="9888" y="3992"/>
                  </a:cubicBezTo>
                  <a:close/>
                  <a:moveTo>
                    <a:pt x="9888" y="39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7" name="AutoShape 266"/>
            <p:cNvSpPr>
              <a:spLocks/>
            </p:cNvSpPr>
            <p:nvPr/>
          </p:nvSpPr>
          <p:spPr bwMode="auto">
            <a:xfrm>
              <a:off x="10553700" y="5029200"/>
              <a:ext cx="50800" cy="223838"/>
            </a:xfrm>
            <a:custGeom>
              <a:avLst/>
              <a:gdLst/>
              <a:ahLst/>
              <a:cxnLst/>
              <a:rect l="0" t="0" r="r" b="b"/>
              <a:pathLst>
                <a:path w="21495" h="21572">
                  <a:moveTo>
                    <a:pt x="12959" y="9319"/>
                  </a:moveTo>
                  <a:cubicBezTo>
                    <a:pt x="13185" y="9128"/>
                    <a:pt x="13480" y="8822"/>
                    <a:pt x="13635" y="8644"/>
                  </a:cubicBezTo>
                  <a:cubicBezTo>
                    <a:pt x="13779" y="8463"/>
                    <a:pt x="13975" y="8242"/>
                    <a:pt x="14120" y="8159"/>
                  </a:cubicBezTo>
                  <a:cubicBezTo>
                    <a:pt x="14270" y="8073"/>
                    <a:pt x="14445" y="7920"/>
                    <a:pt x="14445" y="7822"/>
                  </a:cubicBezTo>
                  <a:cubicBezTo>
                    <a:pt x="14580" y="7729"/>
                    <a:pt x="14678" y="7597"/>
                    <a:pt x="14740" y="7534"/>
                  </a:cubicBezTo>
                  <a:cubicBezTo>
                    <a:pt x="14833" y="7470"/>
                    <a:pt x="14900" y="7459"/>
                    <a:pt x="14900" y="7504"/>
                  </a:cubicBezTo>
                  <a:cubicBezTo>
                    <a:pt x="14900" y="7551"/>
                    <a:pt x="14987" y="7579"/>
                    <a:pt x="14951" y="7579"/>
                  </a:cubicBezTo>
                  <a:cubicBezTo>
                    <a:pt x="14977" y="7579"/>
                    <a:pt x="15163" y="7413"/>
                    <a:pt x="15318" y="7220"/>
                  </a:cubicBezTo>
                  <a:cubicBezTo>
                    <a:pt x="15561" y="7032"/>
                    <a:pt x="15787" y="6782"/>
                    <a:pt x="15787" y="6670"/>
                  </a:cubicBezTo>
                  <a:cubicBezTo>
                    <a:pt x="15942" y="6563"/>
                    <a:pt x="15974" y="6441"/>
                    <a:pt x="15916" y="6414"/>
                  </a:cubicBezTo>
                  <a:cubicBezTo>
                    <a:pt x="15916" y="6384"/>
                    <a:pt x="15777" y="6430"/>
                    <a:pt x="15632" y="6513"/>
                  </a:cubicBezTo>
                  <a:cubicBezTo>
                    <a:pt x="15483" y="6599"/>
                    <a:pt x="15297" y="6770"/>
                    <a:pt x="15127" y="6884"/>
                  </a:cubicBezTo>
                  <a:cubicBezTo>
                    <a:pt x="15127" y="7008"/>
                    <a:pt x="14817" y="7132"/>
                    <a:pt x="14740" y="7170"/>
                  </a:cubicBezTo>
                  <a:cubicBezTo>
                    <a:pt x="14662" y="7207"/>
                    <a:pt x="14466" y="7274"/>
                    <a:pt x="14466" y="7322"/>
                  </a:cubicBezTo>
                  <a:cubicBezTo>
                    <a:pt x="14363" y="7368"/>
                    <a:pt x="14234" y="7532"/>
                    <a:pt x="14074" y="7680"/>
                  </a:cubicBezTo>
                  <a:cubicBezTo>
                    <a:pt x="13929" y="7829"/>
                    <a:pt x="13784" y="7974"/>
                    <a:pt x="13712" y="7974"/>
                  </a:cubicBezTo>
                  <a:cubicBezTo>
                    <a:pt x="13645" y="7974"/>
                    <a:pt x="13645" y="8043"/>
                    <a:pt x="13506" y="8076"/>
                  </a:cubicBezTo>
                  <a:cubicBezTo>
                    <a:pt x="13506" y="8123"/>
                    <a:pt x="13392" y="8108"/>
                    <a:pt x="13392" y="8049"/>
                  </a:cubicBezTo>
                  <a:cubicBezTo>
                    <a:pt x="13392" y="7992"/>
                    <a:pt x="13346" y="7935"/>
                    <a:pt x="13346" y="7920"/>
                  </a:cubicBezTo>
                  <a:cubicBezTo>
                    <a:pt x="13346" y="7904"/>
                    <a:pt x="13077" y="8059"/>
                    <a:pt x="12928" y="8264"/>
                  </a:cubicBezTo>
                  <a:cubicBezTo>
                    <a:pt x="12711" y="8466"/>
                    <a:pt x="12390" y="8839"/>
                    <a:pt x="12153" y="9090"/>
                  </a:cubicBezTo>
                  <a:cubicBezTo>
                    <a:pt x="11921" y="9343"/>
                    <a:pt x="11658" y="9629"/>
                    <a:pt x="11523" y="9724"/>
                  </a:cubicBezTo>
                  <a:cubicBezTo>
                    <a:pt x="11436" y="9823"/>
                    <a:pt x="11198" y="9897"/>
                    <a:pt x="11198" y="9911"/>
                  </a:cubicBezTo>
                  <a:cubicBezTo>
                    <a:pt x="11141" y="9911"/>
                    <a:pt x="11100" y="9872"/>
                    <a:pt x="11162" y="9815"/>
                  </a:cubicBezTo>
                  <a:cubicBezTo>
                    <a:pt x="11162" y="9754"/>
                    <a:pt x="11353" y="9564"/>
                    <a:pt x="11353" y="9392"/>
                  </a:cubicBezTo>
                  <a:cubicBezTo>
                    <a:pt x="11425" y="9218"/>
                    <a:pt x="11529" y="8974"/>
                    <a:pt x="11529" y="8849"/>
                  </a:cubicBezTo>
                  <a:cubicBezTo>
                    <a:pt x="11529" y="8721"/>
                    <a:pt x="11771" y="8426"/>
                    <a:pt x="11838" y="8187"/>
                  </a:cubicBezTo>
                  <a:cubicBezTo>
                    <a:pt x="12009" y="7955"/>
                    <a:pt x="12267" y="7529"/>
                    <a:pt x="12494" y="7247"/>
                  </a:cubicBezTo>
                  <a:cubicBezTo>
                    <a:pt x="12659" y="6963"/>
                    <a:pt x="13041" y="6496"/>
                    <a:pt x="13351" y="6209"/>
                  </a:cubicBezTo>
                  <a:cubicBezTo>
                    <a:pt x="13604" y="5921"/>
                    <a:pt x="13878" y="5560"/>
                    <a:pt x="14089" y="5412"/>
                  </a:cubicBezTo>
                  <a:cubicBezTo>
                    <a:pt x="14254" y="5262"/>
                    <a:pt x="14518" y="5073"/>
                    <a:pt x="14595" y="4986"/>
                  </a:cubicBezTo>
                  <a:cubicBezTo>
                    <a:pt x="14667" y="4899"/>
                    <a:pt x="14858" y="4881"/>
                    <a:pt x="14858" y="4942"/>
                  </a:cubicBezTo>
                  <a:cubicBezTo>
                    <a:pt x="14941" y="5000"/>
                    <a:pt x="15034" y="5030"/>
                    <a:pt x="15091" y="4991"/>
                  </a:cubicBezTo>
                  <a:cubicBezTo>
                    <a:pt x="15168" y="4955"/>
                    <a:pt x="15411" y="4788"/>
                    <a:pt x="15659" y="4620"/>
                  </a:cubicBezTo>
                  <a:cubicBezTo>
                    <a:pt x="15808" y="4446"/>
                    <a:pt x="16077" y="4296"/>
                    <a:pt x="16138" y="4296"/>
                  </a:cubicBezTo>
                  <a:cubicBezTo>
                    <a:pt x="16185" y="4286"/>
                    <a:pt x="16284" y="4345"/>
                    <a:pt x="16185" y="4414"/>
                  </a:cubicBezTo>
                  <a:cubicBezTo>
                    <a:pt x="16113" y="4482"/>
                    <a:pt x="16247" y="4526"/>
                    <a:pt x="16247" y="4499"/>
                  </a:cubicBezTo>
                  <a:cubicBezTo>
                    <a:pt x="16299" y="4473"/>
                    <a:pt x="16345" y="4400"/>
                    <a:pt x="16479" y="4353"/>
                  </a:cubicBezTo>
                  <a:cubicBezTo>
                    <a:pt x="16479" y="4296"/>
                    <a:pt x="16691" y="4239"/>
                    <a:pt x="16784" y="4218"/>
                  </a:cubicBezTo>
                  <a:cubicBezTo>
                    <a:pt x="16918" y="4218"/>
                    <a:pt x="17094" y="4157"/>
                    <a:pt x="17094" y="4118"/>
                  </a:cubicBezTo>
                  <a:cubicBezTo>
                    <a:pt x="17197" y="4083"/>
                    <a:pt x="17305" y="4014"/>
                    <a:pt x="17305" y="3967"/>
                  </a:cubicBezTo>
                  <a:cubicBezTo>
                    <a:pt x="17393" y="3925"/>
                    <a:pt x="17486" y="3871"/>
                    <a:pt x="17486" y="3844"/>
                  </a:cubicBezTo>
                  <a:cubicBezTo>
                    <a:pt x="17595" y="3832"/>
                    <a:pt x="17682" y="3840"/>
                    <a:pt x="17600" y="3878"/>
                  </a:cubicBezTo>
                  <a:cubicBezTo>
                    <a:pt x="17682" y="3917"/>
                    <a:pt x="17527" y="4007"/>
                    <a:pt x="17527" y="4073"/>
                  </a:cubicBezTo>
                  <a:cubicBezTo>
                    <a:pt x="17527" y="4139"/>
                    <a:pt x="17455" y="4210"/>
                    <a:pt x="17501" y="4232"/>
                  </a:cubicBezTo>
                  <a:cubicBezTo>
                    <a:pt x="17501" y="4255"/>
                    <a:pt x="17749" y="4097"/>
                    <a:pt x="18049" y="3889"/>
                  </a:cubicBezTo>
                  <a:cubicBezTo>
                    <a:pt x="18348" y="3683"/>
                    <a:pt x="18725" y="3358"/>
                    <a:pt x="18885" y="3168"/>
                  </a:cubicBezTo>
                  <a:cubicBezTo>
                    <a:pt x="19050" y="2981"/>
                    <a:pt x="19407" y="2728"/>
                    <a:pt x="19407" y="2601"/>
                  </a:cubicBezTo>
                  <a:cubicBezTo>
                    <a:pt x="19577" y="2480"/>
                    <a:pt x="19556" y="2339"/>
                    <a:pt x="19659" y="2327"/>
                  </a:cubicBezTo>
                  <a:cubicBezTo>
                    <a:pt x="19659" y="2300"/>
                    <a:pt x="19722" y="2192"/>
                    <a:pt x="19892" y="2096"/>
                  </a:cubicBezTo>
                  <a:cubicBezTo>
                    <a:pt x="19964" y="1993"/>
                    <a:pt x="20057" y="1840"/>
                    <a:pt x="20191" y="1763"/>
                  </a:cubicBezTo>
                  <a:cubicBezTo>
                    <a:pt x="20258" y="1681"/>
                    <a:pt x="20439" y="1512"/>
                    <a:pt x="20506" y="1383"/>
                  </a:cubicBezTo>
                  <a:cubicBezTo>
                    <a:pt x="20661" y="1259"/>
                    <a:pt x="20713" y="1059"/>
                    <a:pt x="20847" y="951"/>
                  </a:cubicBezTo>
                  <a:cubicBezTo>
                    <a:pt x="20847" y="840"/>
                    <a:pt x="21043" y="703"/>
                    <a:pt x="21110" y="642"/>
                  </a:cubicBezTo>
                  <a:cubicBezTo>
                    <a:pt x="21172" y="581"/>
                    <a:pt x="21255" y="484"/>
                    <a:pt x="21255" y="423"/>
                  </a:cubicBezTo>
                  <a:cubicBezTo>
                    <a:pt x="21255" y="362"/>
                    <a:pt x="21399" y="250"/>
                    <a:pt x="21399" y="172"/>
                  </a:cubicBezTo>
                  <a:cubicBezTo>
                    <a:pt x="21554" y="103"/>
                    <a:pt x="21487" y="16"/>
                    <a:pt x="21436" y="4"/>
                  </a:cubicBezTo>
                  <a:cubicBezTo>
                    <a:pt x="21436" y="-13"/>
                    <a:pt x="21317" y="31"/>
                    <a:pt x="21239" y="99"/>
                  </a:cubicBezTo>
                  <a:cubicBezTo>
                    <a:pt x="21131" y="163"/>
                    <a:pt x="20997" y="332"/>
                    <a:pt x="20924" y="475"/>
                  </a:cubicBezTo>
                  <a:cubicBezTo>
                    <a:pt x="20847" y="616"/>
                    <a:pt x="20733" y="815"/>
                    <a:pt x="20573" y="907"/>
                  </a:cubicBezTo>
                  <a:cubicBezTo>
                    <a:pt x="20573" y="1007"/>
                    <a:pt x="20310" y="1141"/>
                    <a:pt x="20310" y="1216"/>
                  </a:cubicBezTo>
                  <a:cubicBezTo>
                    <a:pt x="20165" y="1282"/>
                    <a:pt x="20150" y="1456"/>
                    <a:pt x="19990" y="1582"/>
                  </a:cubicBezTo>
                  <a:cubicBezTo>
                    <a:pt x="19856" y="1710"/>
                    <a:pt x="19680" y="1843"/>
                    <a:pt x="19680" y="1876"/>
                  </a:cubicBezTo>
                  <a:cubicBezTo>
                    <a:pt x="19608" y="1908"/>
                    <a:pt x="19551" y="2037"/>
                    <a:pt x="19412" y="2151"/>
                  </a:cubicBezTo>
                  <a:cubicBezTo>
                    <a:pt x="19334" y="2269"/>
                    <a:pt x="19164" y="2420"/>
                    <a:pt x="19071" y="2488"/>
                  </a:cubicBezTo>
                  <a:cubicBezTo>
                    <a:pt x="18994" y="2556"/>
                    <a:pt x="18772" y="2610"/>
                    <a:pt x="18772" y="2588"/>
                  </a:cubicBezTo>
                  <a:cubicBezTo>
                    <a:pt x="18730" y="2569"/>
                    <a:pt x="18555" y="2586"/>
                    <a:pt x="18462" y="2606"/>
                  </a:cubicBezTo>
                  <a:cubicBezTo>
                    <a:pt x="18374" y="2628"/>
                    <a:pt x="18235" y="2712"/>
                    <a:pt x="18157" y="2797"/>
                  </a:cubicBezTo>
                  <a:cubicBezTo>
                    <a:pt x="18070" y="2881"/>
                    <a:pt x="18054" y="2987"/>
                    <a:pt x="17966" y="2987"/>
                  </a:cubicBezTo>
                  <a:cubicBezTo>
                    <a:pt x="17920" y="3009"/>
                    <a:pt x="17961" y="2944"/>
                    <a:pt x="17961" y="2846"/>
                  </a:cubicBezTo>
                  <a:cubicBezTo>
                    <a:pt x="18100" y="2751"/>
                    <a:pt x="17997" y="2675"/>
                    <a:pt x="17951" y="2675"/>
                  </a:cubicBezTo>
                  <a:cubicBezTo>
                    <a:pt x="17915" y="2684"/>
                    <a:pt x="17790" y="2706"/>
                    <a:pt x="17790" y="2734"/>
                  </a:cubicBezTo>
                  <a:cubicBezTo>
                    <a:pt x="17698" y="2755"/>
                    <a:pt x="17626" y="2775"/>
                    <a:pt x="17626" y="2763"/>
                  </a:cubicBezTo>
                  <a:cubicBezTo>
                    <a:pt x="17626" y="2751"/>
                    <a:pt x="17501" y="2754"/>
                    <a:pt x="17460" y="2744"/>
                  </a:cubicBezTo>
                  <a:cubicBezTo>
                    <a:pt x="17517" y="2744"/>
                    <a:pt x="17357" y="2811"/>
                    <a:pt x="17207" y="2881"/>
                  </a:cubicBezTo>
                  <a:cubicBezTo>
                    <a:pt x="17120" y="2960"/>
                    <a:pt x="17042" y="2987"/>
                    <a:pt x="17042" y="2942"/>
                  </a:cubicBezTo>
                  <a:cubicBezTo>
                    <a:pt x="17042" y="2899"/>
                    <a:pt x="17094" y="2771"/>
                    <a:pt x="17094" y="2660"/>
                  </a:cubicBezTo>
                  <a:cubicBezTo>
                    <a:pt x="17094" y="2549"/>
                    <a:pt x="17104" y="2444"/>
                    <a:pt x="17032" y="2444"/>
                  </a:cubicBezTo>
                  <a:cubicBezTo>
                    <a:pt x="16954" y="2444"/>
                    <a:pt x="16794" y="2447"/>
                    <a:pt x="16794" y="2478"/>
                  </a:cubicBezTo>
                  <a:cubicBezTo>
                    <a:pt x="16681" y="2491"/>
                    <a:pt x="16562" y="2648"/>
                    <a:pt x="16485" y="2805"/>
                  </a:cubicBezTo>
                  <a:cubicBezTo>
                    <a:pt x="16402" y="2961"/>
                    <a:pt x="16185" y="3159"/>
                    <a:pt x="16103" y="3250"/>
                  </a:cubicBezTo>
                  <a:cubicBezTo>
                    <a:pt x="15979" y="3339"/>
                    <a:pt x="15854" y="3534"/>
                    <a:pt x="15694" y="3677"/>
                  </a:cubicBezTo>
                  <a:cubicBezTo>
                    <a:pt x="15540" y="3819"/>
                    <a:pt x="15369" y="4018"/>
                    <a:pt x="15287" y="4115"/>
                  </a:cubicBezTo>
                  <a:cubicBezTo>
                    <a:pt x="15127" y="4208"/>
                    <a:pt x="15142" y="4251"/>
                    <a:pt x="15013" y="4238"/>
                  </a:cubicBezTo>
                  <a:cubicBezTo>
                    <a:pt x="15013" y="4202"/>
                    <a:pt x="14807" y="4233"/>
                    <a:pt x="14729" y="4303"/>
                  </a:cubicBezTo>
                  <a:cubicBezTo>
                    <a:pt x="14626" y="4375"/>
                    <a:pt x="14363" y="4501"/>
                    <a:pt x="14363" y="4593"/>
                  </a:cubicBezTo>
                  <a:cubicBezTo>
                    <a:pt x="14218" y="4676"/>
                    <a:pt x="14218" y="4795"/>
                    <a:pt x="14146" y="4843"/>
                  </a:cubicBezTo>
                  <a:cubicBezTo>
                    <a:pt x="14146" y="4893"/>
                    <a:pt x="13945" y="5099"/>
                    <a:pt x="13707" y="5299"/>
                  </a:cubicBezTo>
                  <a:cubicBezTo>
                    <a:pt x="13397" y="5495"/>
                    <a:pt x="13206" y="5835"/>
                    <a:pt x="13041" y="6041"/>
                  </a:cubicBezTo>
                  <a:cubicBezTo>
                    <a:pt x="12891" y="6250"/>
                    <a:pt x="12644" y="6510"/>
                    <a:pt x="12644" y="6625"/>
                  </a:cubicBezTo>
                  <a:cubicBezTo>
                    <a:pt x="12561" y="6737"/>
                    <a:pt x="12334" y="7025"/>
                    <a:pt x="12189" y="7266"/>
                  </a:cubicBezTo>
                  <a:cubicBezTo>
                    <a:pt x="11967" y="7505"/>
                    <a:pt x="11807" y="7777"/>
                    <a:pt x="11709" y="7865"/>
                  </a:cubicBezTo>
                  <a:cubicBezTo>
                    <a:pt x="11632" y="7953"/>
                    <a:pt x="11549" y="8158"/>
                    <a:pt x="11399" y="8313"/>
                  </a:cubicBezTo>
                  <a:cubicBezTo>
                    <a:pt x="11399" y="8472"/>
                    <a:pt x="11147" y="8707"/>
                    <a:pt x="11069" y="8838"/>
                  </a:cubicBezTo>
                  <a:cubicBezTo>
                    <a:pt x="10909" y="8965"/>
                    <a:pt x="10950" y="9024"/>
                    <a:pt x="10950" y="8961"/>
                  </a:cubicBezTo>
                  <a:cubicBezTo>
                    <a:pt x="11012" y="8902"/>
                    <a:pt x="11033" y="8764"/>
                    <a:pt x="11105" y="8665"/>
                  </a:cubicBezTo>
                  <a:cubicBezTo>
                    <a:pt x="11177" y="8564"/>
                    <a:pt x="11095" y="8511"/>
                    <a:pt x="11095" y="8557"/>
                  </a:cubicBezTo>
                  <a:cubicBezTo>
                    <a:pt x="11002" y="8597"/>
                    <a:pt x="10805" y="8738"/>
                    <a:pt x="10723" y="8870"/>
                  </a:cubicBezTo>
                  <a:cubicBezTo>
                    <a:pt x="10563" y="9000"/>
                    <a:pt x="10372" y="9173"/>
                    <a:pt x="10284" y="9256"/>
                  </a:cubicBezTo>
                  <a:cubicBezTo>
                    <a:pt x="10114" y="9333"/>
                    <a:pt x="10042" y="9525"/>
                    <a:pt x="9866" y="9667"/>
                  </a:cubicBezTo>
                  <a:cubicBezTo>
                    <a:pt x="9726" y="9812"/>
                    <a:pt x="9592" y="10063"/>
                    <a:pt x="9433" y="10224"/>
                  </a:cubicBezTo>
                  <a:cubicBezTo>
                    <a:pt x="9278" y="10384"/>
                    <a:pt x="9091" y="10613"/>
                    <a:pt x="9015" y="10732"/>
                  </a:cubicBezTo>
                  <a:cubicBezTo>
                    <a:pt x="8942" y="10852"/>
                    <a:pt x="8570" y="11184"/>
                    <a:pt x="8421" y="11480"/>
                  </a:cubicBezTo>
                  <a:cubicBezTo>
                    <a:pt x="8183" y="11771"/>
                    <a:pt x="8012" y="12074"/>
                    <a:pt x="7889" y="12144"/>
                  </a:cubicBezTo>
                  <a:cubicBezTo>
                    <a:pt x="7889" y="12219"/>
                    <a:pt x="7651" y="12378"/>
                    <a:pt x="7564" y="12503"/>
                  </a:cubicBezTo>
                  <a:cubicBezTo>
                    <a:pt x="7414" y="12622"/>
                    <a:pt x="7217" y="12770"/>
                    <a:pt x="7217" y="12831"/>
                  </a:cubicBezTo>
                  <a:cubicBezTo>
                    <a:pt x="7068" y="12883"/>
                    <a:pt x="6960" y="13085"/>
                    <a:pt x="6805" y="13263"/>
                  </a:cubicBezTo>
                  <a:cubicBezTo>
                    <a:pt x="6593" y="13440"/>
                    <a:pt x="6412" y="13721"/>
                    <a:pt x="6185" y="13881"/>
                  </a:cubicBezTo>
                  <a:cubicBezTo>
                    <a:pt x="5958" y="14038"/>
                    <a:pt x="5653" y="14329"/>
                    <a:pt x="5494" y="14524"/>
                  </a:cubicBezTo>
                  <a:cubicBezTo>
                    <a:pt x="5272" y="14717"/>
                    <a:pt x="5179" y="14925"/>
                    <a:pt x="5101" y="14975"/>
                  </a:cubicBezTo>
                  <a:cubicBezTo>
                    <a:pt x="5101" y="15028"/>
                    <a:pt x="5013" y="15152"/>
                    <a:pt x="4858" y="15241"/>
                  </a:cubicBezTo>
                  <a:cubicBezTo>
                    <a:pt x="4776" y="15335"/>
                    <a:pt x="4528" y="15601"/>
                    <a:pt x="4378" y="15832"/>
                  </a:cubicBezTo>
                  <a:cubicBezTo>
                    <a:pt x="4213" y="16063"/>
                    <a:pt x="3991" y="16330"/>
                    <a:pt x="3991" y="16431"/>
                  </a:cubicBezTo>
                  <a:cubicBezTo>
                    <a:pt x="3852" y="16524"/>
                    <a:pt x="3893" y="16568"/>
                    <a:pt x="3991" y="16533"/>
                  </a:cubicBezTo>
                  <a:cubicBezTo>
                    <a:pt x="4074" y="16495"/>
                    <a:pt x="4125" y="16438"/>
                    <a:pt x="4202" y="16420"/>
                  </a:cubicBezTo>
                  <a:cubicBezTo>
                    <a:pt x="4280" y="16402"/>
                    <a:pt x="4399" y="16324"/>
                    <a:pt x="4476" y="16252"/>
                  </a:cubicBezTo>
                  <a:cubicBezTo>
                    <a:pt x="4621" y="16187"/>
                    <a:pt x="4595" y="16146"/>
                    <a:pt x="4657" y="16162"/>
                  </a:cubicBezTo>
                  <a:cubicBezTo>
                    <a:pt x="4657" y="16184"/>
                    <a:pt x="4590" y="16340"/>
                    <a:pt x="4440" y="16511"/>
                  </a:cubicBezTo>
                  <a:cubicBezTo>
                    <a:pt x="4368" y="16681"/>
                    <a:pt x="3975" y="17063"/>
                    <a:pt x="3820" y="17368"/>
                  </a:cubicBezTo>
                  <a:cubicBezTo>
                    <a:pt x="3516" y="17667"/>
                    <a:pt x="3392" y="17997"/>
                    <a:pt x="3247" y="18083"/>
                  </a:cubicBezTo>
                  <a:cubicBezTo>
                    <a:pt x="3247" y="18178"/>
                    <a:pt x="2953" y="18410"/>
                    <a:pt x="2731" y="18600"/>
                  </a:cubicBezTo>
                  <a:cubicBezTo>
                    <a:pt x="2566" y="18792"/>
                    <a:pt x="2200" y="19083"/>
                    <a:pt x="2055" y="19254"/>
                  </a:cubicBezTo>
                  <a:cubicBezTo>
                    <a:pt x="1838" y="19419"/>
                    <a:pt x="1498" y="19812"/>
                    <a:pt x="1198" y="20121"/>
                  </a:cubicBezTo>
                  <a:cubicBezTo>
                    <a:pt x="904" y="20428"/>
                    <a:pt x="542" y="20872"/>
                    <a:pt x="310" y="21106"/>
                  </a:cubicBezTo>
                  <a:cubicBezTo>
                    <a:pt x="78" y="21339"/>
                    <a:pt x="-46" y="21516"/>
                    <a:pt x="16" y="21501"/>
                  </a:cubicBezTo>
                  <a:cubicBezTo>
                    <a:pt x="93" y="21501"/>
                    <a:pt x="165" y="21510"/>
                    <a:pt x="88" y="21545"/>
                  </a:cubicBezTo>
                  <a:cubicBezTo>
                    <a:pt x="88" y="21587"/>
                    <a:pt x="83" y="21572"/>
                    <a:pt x="238" y="21554"/>
                  </a:cubicBezTo>
                  <a:cubicBezTo>
                    <a:pt x="238" y="21512"/>
                    <a:pt x="512" y="21414"/>
                    <a:pt x="589" y="21324"/>
                  </a:cubicBezTo>
                  <a:cubicBezTo>
                    <a:pt x="738" y="21237"/>
                    <a:pt x="826" y="21158"/>
                    <a:pt x="863" y="21165"/>
                  </a:cubicBezTo>
                  <a:cubicBezTo>
                    <a:pt x="909" y="21165"/>
                    <a:pt x="940" y="21123"/>
                    <a:pt x="1089" y="21088"/>
                  </a:cubicBezTo>
                  <a:cubicBezTo>
                    <a:pt x="1182" y="21045"/>
                    <a:pt x="1270" y="21049"/>
                    <a:pt x="1209" y="21092"/>
                  </a:cubicBezTo>
                  <a:cubicBezTo>
                    <a:pt x="1209" y="21140"/>
                    <a:pt x="1224" y="21082"/>
                    <a:pt x="1389" y="20968"/>
                  </a:cubicBezTo>
                  <a:cubicBezTo>
                    <a:pt x="1554" y="20854"/>
                    <a:pt x="1746" y="20645"/>
                    <a:pt x="1817" y="20507"/>
                  </a:cubicBezTo>
                  <a:cubicBezTo>
                    <a:pt x="1968" y="20371"/>
                    <a:pt x="2055" y="20220"/>
                    <a:pt x="2055" y="20174"/>
                  </a:cubicBezTo>
                  <a:cubicBezTo>
                    <a:pt x="2055" y="20129"/>
                    <a:pt x="2194" y="19946"/>
                    <a:pt x="2345" y="19767"/>
                  </a:cubicBezTo>
                  <a:cubicBezTo>
                    <a:pt x="2499" y="19590"/>
                    <a:pt x="2752" y="19329"/>
                    <a:pt x="2907" y="19185"/>
                  </a:cubicBezTo>
                  <a:cubicBezTo>
                    <a:pt x="3057" y="19044"/>
                    <a:pt x="3439" y="18736"/>
                    <a:pt x="3588" y="18495"/>
                  </a:cubicBezTo>
                  <a:cubicBezTo>
                    <a:pt x="3872" y="18260"/>
                    <a:pt x="4084" y="17885"/>
                    <a:pt x="4311" y="17673"/>
                  </a:cubicBezTo>
                  <a:cubicBezTo>
                    <a:pt x="4544" y="17462"/>
                    <a:pt x="4745" y="17244"/>
                    <a:pt x="4678" y="17197"/>
                  </a:cubicBezTo>
                  <a:cubicBezTo>
                    <a:pt x="4837" y="17160"/>
                    <a:pt x="4936" y="16919"/>
                    <a:pt x="5168" y="16687"/>
                  </a:cubicBezTo>
                  <a:cubicBezTo>
                    <a:pt x="5406" y="16455"/>
                    <a:pt x="5793" y="16113"/>
                    <a:pt x="5942" y="15919"/>
                  </a:cubicBezTo>
                  <a:cubicBezTo>
                    <a:pt x="6097" y="15727"/>
                    <a:pt x="6412" y="15399"/>
                    <a:pt x="6567" y="15187"/>
                  </a:cubicBezTo>
                  <a:cubicBezTo>
                    <a:pt x="6722" y="14978"/>
                    <a:pt x="6815" y="14750"/>
                    <a:pt x="6903" y="14691"/>
                  </a:cubicBezTo>
                  <a:cubicBezTo>
                    <a:pt x="6903" y="14626"/>
                    <a:pt x="6975" y="14519"/>
                    <a:pt x="7042" y="14455"/>
                  </a:cubicBezTo>
                  <a:cubicBezTo>
                    <a:pt x="7115" y="14389"/>
                    <a:pt x="7202" y="14226"/>
                    <a:pt x="7434" y="14105"/>
                  </a:cubicBezTo>
                  <a:cubicBezTo>
                    <a:pt x="7512" y="13974"/>
                    <a:pt x="7739" y="13782"/>
                    <a:pt x="7920" y="13676"/>
                  </a:cubicBezTo>
                  <a:cubicBezTo>
                    <a:pt x="7920" y="13568"/>
                    <a:pt x="8209" y="13433"/>
                    <a:pt x="8296" y="13377"/>
                  </a:cubicBezTo>
                  <a:cubicBezTo>
                    <a:pt x="8416" y="13322"/>
                    <a:pt x="8518" y="13290"/>
                    <a:pt x="8518" y="13314"/>
                  </a:cubicBezTo>
                  <a:cubicBezTo>
                    <a:pt x="8518" y="13340"/>
                    <a:pt x="8513" y="13418"/>
                    <a:pt x="8446" y="13493"/>
                  </a:cubicBezTo>
                  <a:cubicBezTo>
                    <a:pt x="8364" y="13568"/>
                    <a:pt x="8209" y="13712"/>
                    <a:pt x="8209" y="13815"/>
                  </a:cubicBezTo>
                  <a:cubicBezTo>
                    <a:pt x="8039" y="13913"/>
                    <a:pt x="8028" y="14123"/>
                    <a:pt x="7873" y="14263"/>
                  </a:cubicBezTo>
                  <a:cubicBezTo>
                    <a:pt x="7723" y="14402"/>
                    <a:pt x="7527" y="14641"/>
                    <a:pt x="7367" y="14790"/>
                  </a:cubicBezTo>
                  <a:cubicBezTo>
                    <a:pt x="7207" y="14938"/>
                    <a:pt x="7011" y="15170"/>
                    <a:pt x="6851" y="15302"/>
                  </a:cubicBezTo>
                  <a:cubicBezTo>
                    <a:pt x="6706" y="15432"/>
                    <a:pt x="6474" y="15644"/>
                    <a:pt x="6474" y="15771"/>
                  </a:cubicBezTo>
                  <a:cubicBezTo>
                    <a:pt x="6340" y="15896"/>
                    <a:pt x="6422" y="15995"/>
                    <a:pt x="6387" y="15995"/>
                  </a:cubicBezTo>
                  <a:cubicBezTo>
                    <a:pt x="6422" y="15995"/>
                    <a:pt x="6433" y="16063"/>
                    <a:pt x="6355" y="16150"/>
                  </a:cubicBezTo>
                  <a:cubicBezTo>
                    <a:pt x="6355" y="16240"/>
                    <a:pt x="6258" y="16364"/>
                    <a:pt x="6258" y="16427"/>
                  </a:cubicBezTo>
                  <a:cubicBezTo>
                    <a:pt x="6258" y="16492"/>
                    <a:pt x="6211" y="16650"/>
                    <a:pt x="6061" y="16772"/>
                  </a:cubicBezTo>
                  <a:cubicBezTo>
                    <a:pt x="5886" y="16892"/>
                    <a:pt x="5860" y="17001"/>
                    <a:pt x="5845" y="17001"/>
                  </a:cubicBezTo>
                  <a:cubicBezTo>
                    <a:pt x="5845" y="16998"/>
                    <a:pt x="5669" y="17223"/>
                    <a:pt x="5369" y="17483"/>
                  </a:cubicBezTo>
                  <a:cubicBezTo>
                    <a:pt x="5142" y="17746"/>
                    <a:pt x="4884" y="18070"/>
                    <a:pt x="4745" y="18200"/>
                  </a:cubicBezTo>
                  <a:cubicBezTo>
                    <a:pt x="4662" y="18331"/>
                    <a:pt x="4548" y="18451"/>
                    <a:pt x="4595" y="18460"/>
                  </a:cubicBezTo>
                  <a:cubicBezTo>
                    <a:pt x="4595" y="18476"/>
                    <a:pt x="4724" y="18458"/>
                    <a:pt x="4724" y="18415"/>
                  </a:cubicBezTo>
                  <a:cubicBezTo>
                    <a:pt x="4812" y="18376"/>
                    <a:pt x="4863" y="18368"/>
                    <a:pt x="4863" y="18401"/>
                  </a:cubicBezTo>
                  <a:cubicBezTo>
                    <a:pt x="4863" y="18433"/>
                    <a:pt x="4874" y="18413"/>
                    <a:pt x="5019" y="18379"/>
                  </a:cubicBezTo>
                  <a:cubicBezTo>
                    <a:pt x="5019" y="18334"/>
                    <a:pt x="5101" y="18254"/>
                    <a:pt x="5220" y="18214"/>
                  </a:cubicBezTo>
                  <a:cubicBezTo>
                    <a:pt x="5220" y="18165"/>
                    <a:pt x="5297" y="18048"/>
                    <a:pt x="5421" y="17960"/>
                  </a:cubicBezTo>
                  <a:cubicBezTo>
                    <a:pt x="5421" y="17866"/>
                    <a:pt x="5669" y="17683"/>
                    <a:pt x="5829" y="17548"/>
                  </a:cubicBezTo>
                  <a:cubicBezTo>
                    <a:pt x="5979" y="17413"/>
                    <a:pt x="6118" y="17253"/>
                    <a:pt x="6258" y="17206"/>
                  </a:cubicBezTo>
                  <a:cubicBezTo>
                    <a:pt x="6314" y="17150"/>
                    <a:pt x="6531" y="17001"/>
                    <a:pt x="6686" y="16873"/>
                  </a:cubicBezTo>
                  <a:cubicBezTo>
                    <a:pt x="6846" y="16744"/>
                    <a:pt x="7011" y="16614"/>
                    <a:pt x="7109" y="16590"/>
                  </a:cubicBezTo>
                  <a:cubicBezTo>
                    <a:pt x="7171" y="16563"/>
                    <a:pt x="7275" y="16462"/>
                    <a:pt x="7434" y="16372"/>
                  </a:cubicBezTo>
                  <a:cubicBezTo>
                    <a:pt x="7434" y="16276"/>
                    <a:pt x="7610" y="16215"/>
                    <a:pt x="7610" y="16234"/>
                  </a:cubicBezTo>
                  <a:cubicBezTo>
                    <a:pt x="7610" y="16251"/>
                    <a:pt x="7682" y="16252"/>
                    <a:pt x="7682" y="16231"/>
                  </a:cubicBezTo>
                  <a:cubicBezTo>
                    <a:pt x="7770" y="16220"/>
                    <a:pt x="7827" y="16101"/>
                    <a:pt x="7962" y="15991"/>
                  </a:cubicBezTo>
                  <a:cubicBezTo>
                    <a:pt x="8116" y="15884"/>
                    <a:pt x="8317" y="15742"/>
                    <a:pt x="8240" y="15690"/>
                  </a:cubicBezTo>
                  <a:cubicBezTo>
                    <a:pt x="8323" y="15635"/>
                    <a:pt x="8286" y="15607"/>
                    <a:pt x="8214" y="15624"/>
                  </a:cubicBezTo>
                  <a:cubicBezTo>
                    <a:pt x="8111" y="15636"/>
                    <a:pt x="8018" y="15691"/>
                    <a:pt x="8018" y="15729"/>
                  </a:cubicBezTo>
                  <a:cubicBezTo>
                    <a:pt x="8018" y="15766"/>
                    <a:pt x="7940" y="15784"/>
                    <a:pt x="7915" y="15781"/>
                  </a:cubicBezTo>
                  <a:cubicBezTo>
                    <a:pt x="7956" y="15781"/>
                    <a:pt x="7781" y="15795"/>
                    <a:pt x="7781" y="15840"/>
                  </a:cubicBezTo>
                  <a:cubicBezTo>
                    <a:pt x="7646" y="15870"/>
                    <a:pt x="7719" y="15833"/>
                    <a:pt x="7801" y="15736"/>
                  </a:cubicBezTo>
                  <a:cubicBezTo>
                    <a:pt x="7940" y="15642"/>
                    <a:pt x="7935" y="15564"/>
                    <a:pt x="7915" y="15564"/>
                  </a:cubicBezTo>
                  <a:cubicBezTo>
                    <a:pt x="7935" y="15564"/>
                    <a:pt x="7915" y="15514"/>
                    <a:pt x="7987" y="15448"/>
                  </a:cubicBezTo>
                  <a:cubicBezTo>
                    <a:pt x="8044" y="15384"/>
                    <a:pt x="8085" y="15323"/>
                    <a:pt x="8070" y="15323"/>
                  </a:cubicBezTo>
                  <a:cubicBezTo>
                    <a:pt x="8085" y="15323"/>
                    <a:pt x="8007" y="15357"/>
                    <a:pt x="7940" y="15404"/>
                  </a:cubicBezTo>
                  <a:cubicBezTo>
                    <a:pt x="7873" y="15449"/>
                    <a:pt x="7873" y="15427"/>
                    <a:pt x="7951" y="15353"/>
                  </a:cubicBezTo>
                  <a:cubicBezTo>
                    <a:pt x="8033" y="15280"/>
                    <a:pt x="8023" y="15211"/>
                    <a:pt x="8023" y="15199"/>
                  </a:cubicBezTo>
                  <a:cubicBezTo>
                    <a:pt x="7962" y="15199"/>
                    <a:pt x="7992" y="15114"/>
                    <a:pt x="8080" y="15036"/>
                  </a:cubicBezTo>
                  <a:cubicBezTo>
                    <a:pt x="8147" y="14959"/>
                    <a:pt x="8209" y="14813"/>
                    <a:pt x="8369" y="14722"/>
                  </a:cubicBezTo>
                  <a:cubicBezTo>
                    <a:pt x="8369" y="14623"/>
                    <a:pt x="8622" y="14488"/>
                    <a:pt x="8679" y="14418"/>
                  </a:cubicBezTo>
                  <a:cubicBezTo>
                    <a:pt x="8756" y="14349"/>
                    <a:pt x="8818" y="14298"/>
                    <a:pt x="8818" y="14308"/>
                  </a:cubicBezTo>
                  <a:cubicBezTo>
                    <a:pt x="8859" y="14308"/>
                    <a:pt x="8921" y="14264"/>
                    <a:pt x="8921" y="14185"/>
                  </a:cubicBezTo>
                  <a:cubicBezTo>
                    <a:pt x="9004" y="14108"/>
                    <a:pt x="9086" y="14029"/>
                    <a:pt x="9086" y="14003"/>
                  </a:cubicBezTo>
                  <a:cubicBezTo>
                    <a:pt x="9153" y="13988"/>
                    <a:pt x="9216" y="13903"/>
                    <a:pt x="9283" y="13827"/>
                  </a:cubicBezTo>
                  <a:cubicBezTo>
                    <a:pt x="9283" y="13749"/>
                    <a:pt x="9459" y="13646"/>
                    <a:pt x="9459" y="13594"/>
                  </a:cubicBezTo>
                  <a:cubicBezTo>
                    <a:pt x="9459" y="13540"/>
                    <a:pt x="9474" y="13488"/>
                    <a:pt x="9474" y="13476"/>
                  </a:cubicBezTo>
                  <a:cubicBezTo>
                    <a:pt x="9474" y="13464"/>
                    <a:pt x="9500" y="13394"/>
                    <a:pt x="9577" y="13322"/>
                  </a:cubicBezTo>
                  <a:cubicBezTo>
                    <a:pt x="9644" y="13247"/>
                    <a:pt x="9732" y="13127"/>
                    <a:pt x="9809" y="13055"/>
                  </a:cubicBezTo>
                  <a:cubicBezTo>
                    <a:pt x="9809" y="12982"/>
                    <a:pt x="9938" y="12877"/>
                    <a:pt x="9938" y="12820"/>
                  </a:cubicBezTo>
                  <a:cubicBezTo>
                    <a:pt x="9938" y="12761"/>
                    <a:pt x="9944" y="12724"/>
                    <a:pt x="9902" y="12733"/>
                  </a:cubicBezTo>
                  <a:cubicBezTo>
                    <a:pt x="9902" y="12747"/>
                    <a:pt x="9933" y="12650"/>
                    <a:pt x="10010" y="12524"/>
                  </a:cubicBezTo>
                  <a:cubicBezTo>
                    <a:pt x="10088" y="12400"/>
                    <a:pt x="10269" y="12151"/>
                    <a:pt x="10341" y="11968"/>
                  </a:cubicBezTo>
                  <a:cubicBezTo>
                    <a:pt x="10419" y="11787"/>
                    <a:pt x="10522" y="11590"/>
                    <a:pt x="10522" y="11532"/>
                  </a:cubicBezTo>
                  <a:cubicBezTo>
                    <a:pt x="10635" y="11480"/>
                    <a:pt x="10599" y="11331"/>
                    <a:pt x="10671" y="11216"/>
                  </a:cubicBezTo>
                  <a:cubicBezTo>
                    <a:pt x="10754" y="11103"/>
                    <a:pt x="10888" y="10963"/>
                    <a:pt x="10888" y="10903"/>
                  </a:cubicBezTo>
                  <a:cubicBezTo>
                    <a:pt x="10976" y="10872"/>
                    <a:pt x="10997" y="10840"/>
                    <a:pt x="11002" y="10816"/>
                  </a:cubicBezTo>
                  <a:cubicBezTo>
                    <a:pt x="11012" y="10795"/>
                    <a:pt x="11023" y="10783"/>
                    <a:pt x="11023" y="10786"/>
                  </a:cubicBezTo>
                  <a:cubicBezTo>
                    <a:pt x="11023" y="10783"/>
                    <a:pt x="11012" y="10795"/>
                    <a:pt x="11002" y="10816"/>
                  </a:cubicBezTo>
                  <a:cubicBezTo>
                    <a:pt x="10992" y="10836"/>
                    <a:pt x="10986" y="10864"/>
                    <a:pt x="10986" y="10897"/>
                  </a:cubicBezTo>
                  <a:cubicBezTo>
                    <a:pt x="10914" y="10961"/>
                    <a:pt x="10940" y="10997"/>
                    <a:pt x="11002" y="10982"/>
                  </a:cubicBezTo>
                  <a:cubicBezTo>
                    <a:pt x="11074" y="10967"/>
                    <a:pt x="11172" y="10859"/>
                    <a:pt x="11322" y="10754"/>
                  </a:cubicBezTo>
                  <a:cubicBezTo>
                    <a:pt x="11451" y="10648"/>
                    <a:pt x="11616" y="10487"/>
                    <a:pt x="11683" y="10393"/>
                  </a:cubicBezTo>
                  <a:cubicBezTo>
                    <a:pt x="11766" y="10303"/>
                    <a:pt x="11988" y="10100"/>
                    <a:pt x="12205" y="9949"/>
                  </a:cubicBezTo>
                  <a:cubicBezTo>
                    <a:pt x="12427" y="9797"/>
                    <a:pt x="12747" y="9512"/>
                    <a:pt x="12959" y="9319"/>
                  </a:cubicBezTo>
                  <a:close/>
                  <a:moveTo>
                    <a:pt x="12959" y="93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8" name="AutoShape 267"/>
            <p:cNvSpPr>
              <a:spLocks/>
            </p:cNvSpPr>
            <p:nvPr/>
          </p:nvSpPr>
          <p:spPr bwMode="auto">
            <a:xfrm>
              <a:off x="10566400" y="5219700"/>
              <a:ext cx="1588" cy="1588"/>
            </a:xfrm>
            <a:custGeom>
              <a:avLst/>
              <a:gdLst/>
              <a:ahLst/>
              <a:cxnLst/>
              <a:rect l="0" t="0" r="r" b="b"/>
              <a:pathLst>
                <a:path w="17726" h="17386">
                  <a:moveTo>
                    <a:pt x="478" y="9643"/>
                  </a:moveTo>
                  <a:cubicBezTo>
                    <a:pt x="-1556" y="17255"/>
                    <a:pt x="3093" y="19649"/>
                    <a:pt x="10642" y="15051"/>
                  </a:cubicBezTo>
                  <a:cubicBezTo>
                    <a:pt x="18301" y="10246"/>
                    <a:pt x="20044" y="3948"/>
                    <a:pt x="14420" y="947"/>
                  </a:cubicBezTo>
                  <a:cubicBezTo>
                    <a:pt x="8711" y="-1951"/>
                    <a:pt x="2512" y="2044"/>
                    <a:pt x="478" y="9643"/>
                  </a:cubicBezTo>
                  <a:close/>
                  <a:moveTo>
                    <a:pt x="478" y="96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69" name="AutoShape 268"/>
            <p:cNvSpPr>
              <a:spLocks/>
            </p:cNvSpPr>
            <p:nvPr/>
          </p:nvSpPr>
          <p:spPr bwMode="auto">
            <a:xfrm>
              <a:off x="10566400" y="5245100"/>
              <a:ext cx="0" cy="0"/>
            </a:xfrm>
            <a:custGeom>
              <a:avLst/>
              <a:gdLst/>
              <a:ahLst/>
              <a:cxnLst/>
              <a:rect l="0" t="0" r="r" b="b"/>
              <a:pathLst>
                <a:path w="21600" h="21600">
                  <a:moveTo>
                    <a:pt x="10800" y="12259"/>
                  </a:moveTo>
                  <a:cubicBezTo>
                    <a:pt x="14954" y="8374"/>
                    <a:pt x="18277" y="4086"/>
                    <a:pt x="21600" y="0"/>
                  </a:cubicBezTo>
                  <a:cubicBezTo>
                    <a:pt x="13240" y="7595"/>
                    <a:pt x="10800" y="16164"/>
                    <a:pt x="0" y="21600"/>
                  </a:cubicBezTo>
                  <a:cubicBezTo>
                    <a:pt x="3323" y="18693"/>
                    <a:pt x="6594" y="15568"/>
                    <a:pt x="10800" y="12259"/>
                  </a:cubicBezTo>
                  <a:close/>
                  <a:moveTo>
                    <a:pt x="10800" y="122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0" name="AutoShape 269"/>
            <p:cNvSpPr>
              <a:spLocks/>
            </p:cNvSpPr>
            <p:nvPr/>
          </p:nvSpPr>
          <p:spPr bwMode="auto">
            <a:xfrm>
              <a:off x="10502900" y="5232400"/>
              <a:ext cx="6350" cy="19050"/>
            </a:xfrm>
            <a:custGeom>
              <a:avLst/>
              <a:gdLst/>
              <a:ahLst/>
              <a:cxnLst/>
              <a:rect l="0" t="0" r="r" b="b"/>
              <a:pathLst>
                <a:path w="20780" h="20835">
                  <a:moveTo>
                    <a:pt x="9416" y="3898"/>
                  </a:moveTo>
                  <a:cubicBezTo>
                    <a:pt x="8482" y="5221"/>
                    <a:pt x="8223" y="7017"/>
                    <a:pt x="7774" y="7839"/>
                  </a:cubicBezTo>
                  <a:cubicBezTo>
                    <a:pt x="7211" y="8648"/>
                    <a:pt x="5569" y="9880"/>
                    <a:pt x="4448" y="10650"/>
                  </a:cubicBezTo>
                  <a:cubicBezTo>
                    <a:pt x="3362" y="11407"/>
                    <a:pt x="1605" y="12780"/>
                    <a:pt x="561" y="13679"/>
                  </a:cubicBezTo>
                  <a:cubicBezTo>
                    <a:pt x="0" y="14642"/>
                    <a:pt x="-336" y="15219"/>
                    <a:pt x="521" y="15065"/>
                  </a:cubicBezTo>
                  <a:cubicBezTo>
                    <a:pt x="1421" y="14911"/>
                    <a:pt x="2542" y="14295"/>
                    <a:pt x="2542" y="13744"/>
                  </a:cubicBezTo>
                  <a:cubicBezTo>
                    <a:pt x="2542" y="13204"/>
                    <a:pt x="4298" y="12228"/>
                    <a:pt x="4896" y="11394"/>
                  </a:cubicBezTo>
                  <a:cubicBezTo>
                    <a:pt x="5791" y="10623"/>
                    <a:pt x="5494" y="11946"/>
                    <a:pt x="4333" y="14307"/>
                  </a:cubicBezTo>
                  <a:cubicBezTo>
                    <a:pt x="3289" y="16669"/>
                    <a:pt x="1533" y="19454"/>
                    <a:pt x="2128" y="20456"/>
                  </a:cubicBezTo>
                  <a:cubicBezTo>
                    <a:pt x="1605" y="21482"/>
                    <a:pt x="3962" y="20353"/>
                    <a:pt x="6167" y="17927"/>
                  </a:cubicBezTo>
                  <a:cubicBezTo>
                    <a:pt x="8332" y="15501"/>
                    <a:pt x="9680" y="14436"/>
                    <a:pt x="9680" y="15578"/>
                  </a:cubicBezTo>
                  <a:cubicBezTo>
                    <a:pt x="9155" y="16683"/>
                    <a:pt x="9940" y="17633"/>
                    <a:pt x="10615" y="17633"/>
                  </a:cubicBezTo>
                  <a:cubicBezTo>
                    <a:pt x="11287" y="17633"/>
                    <a:pt x="12967" y="16656"/>
                    <a:pt x="13565" y="15387"/>
                  </a:cubicBezTo>
                  <a:cubicBezTo>
                    <a:pt x="14200" y="14116"/>
                    <a:pt x="16856" y="12484"/>
                    <a:pt x="17379" y="11561"/>
                  </a:cubicBezTo>
                  <a:cubicBezTo>
                    <a:pt x="19022" y="10830"/>
                    <a:pt x="20220" y="8840"/>
                    <a:pt x="20220" y="7326"/>
                  </a:cubicBezTo>
                  <a:cubicBezTo>
                    <a:pt x="21264" y="5888"/>
                    <a:pt x="20741" y="3553"/>
                    <a:pt x="19547" y="2320"/>
                  </a:cubicBezTo>
                  <a:cubicBezTo>
                    <a:pt x="19547" y="1037"/>
                    <a:pt x="16856" y="-118"/>
                    <a:pt x="15359" y="10"/>
                  </a:cubicBezTo>
                  <a:cubicBezTo>
                    <a:pt x="13866" y="10"/>
                    <a:pt x="11995" y="330"/>
                    <a:pt x="11360" y="755"/>
                  </a:cubicBezTo>
                  <a:cubicBezTo>
                    <a:pt x="10802" y="1165"/>
                    <a:pt x="9416" y="2576"/>
                    <a:pt x="9416" y="3898"/>
                  </a:cubicBezTo>
                  <a:close/>
                  <a:moveTo>
                    <a:pt x="9416" y="38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1" name="AutoShape 270"/>
            <p:cNvSpPr>
              <a:spLocks/>
            </p:cNvSpPr>
            <p:nvPr/>
          </p:nvSpPr>
          <p:spPr bwMode="auto">
            <a:xfrm>
              <a:off x="10591800" y="4991100"/>
              <a:ext cx="0" cy="1588"/>
            </a:xfrm>
            <a:custGeom>
              <a:avLst/>
              <a:gdLst/>
              <a:ahLst/>
              <a:cxnLst/>
              <a:rect l="0" t="0" r="r" b="b"/>
              <a:pathLst>
                <a:path w="20065" h="19976">
                  <a:moveTo>
                    <a:pt x="13601" y="2109"/>
                  </a:moveTo>
                  <a:cubicBezTo>
                    <a:pt x="13601" y="-571"/>
                    <a:pt x="9067" y="-571"/>
                    <a:pt x="4882" y="1400"/>
                  </a:cubicBezTo>
                  <a:cubicBezTo>
                    <a:pt x="4882" y="3449"/>
                    <a:pt x="0" y="8728"/>
                    <a:pt x="0" y="13142"/>
                  </a:cubicBezTo>
                  <a:cubicBezTo>
                    <a:pt x="0" y="17477"/>
                    <a:pt x="5558" y="21029"/>
                    <a:pt x="5558" y="19689"/>
                  </a:cubicBezTo>
                  <a:cubicBezTo>
                    <a:pt x="10462" y="19132"/>
                    <a:pt x="16739" y="15743"/>
                    <a:pt x="16739" y="12595"/>
                  </a:cubicBezTo>
                  <a:cubicBezTo>
                    <a:pt x="21600" y="9358"/>
                    <a:pt x="21600" y="3846"/>
                    <a:pt x="13601" y="2109"/>
                  </a:cubicBezTo>
                  <a:close/>
                  <a:moveTo>
                    <a:pt x="13601" y="21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2" name="AutoShape 271"/>
            <p:cNvSpPr>
              <a:spLocks/>
            </p:cNvSpPr>
            <p:nvPr/>
          </p:nvSpPr>
          <p:spPr bwMode="auto">
            <a:xfrm>
              <a:off x="10591800" y="4991100"/>
              <a:ext cx="0" cy="1588"/>
            </a:xfrm>
            <a:custGeom>
              <a:avLst/>
              <a:gdLst/>
              <a:ahLst/>
              <a:cxnLst/>
              <a:rect l="0" t="0" r="r" b="b"/>
              <a:pathLst>
                <a:path w="14369" h="17665">
                  <a:moveTo>
                    <a:pt x="8654" y="2998"/>
                  </a:moveTo>
                  <a:cubicBezTo>
                    <a:pt x="-7231" y="7454"/>
                    <a:pt x="3614" y="14338"/>
                    <a:pt x="3614" y="17187"/>
                  </a:cubicBezTo>
                  <a:cubicBezTo>
                    <a:pt x="13649" y="19069"/>
                    <a:pt x="3614" y="15296"/>
                    <a:pt x="14369" y="7729"/>
                  </a:cubicBezTo>
                  <a:cubicBezTo>
                    <a:pt x="14369" y="-100"/>
                    <a:pt x="8654" y="-2531"/>
                    <a:pt x="8654" y="2998"/>
                  </a:cubicBezTo>
                  <a:close/>
                  <a:moveTo>
                    <a:pt x="8654" y="29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3" name="AutoShape 272"/>
            <p:cNvSpPr>
              <a:spLocks/>
            </p:cNvSpPr>
            <p:nvPr/>
          </p:nvSpPr>
          <p:spPr bwMode="auto">
            <a:xfrm>
              <a:off x="10566400" y="5245100"/>
              <a:ext cx="0" cy="0"/>
            </a:xfrm>
            <a:custGeom>
              <a:avLst/>
              <a:gdLst/>
              <a:ahLst/>
              <a:cxnLst/>
              <a:rect l="0" t="0" r="r" b="b"/>
              <a:pathLst>
                <a:path w="21600" h="17523">
                  <a:moveTo>
                    <a:pt x="1550" y="15568"/>
                  </a:moveTo>
                  <a:cubicBezTo>
                    <a:pt x="0" y="16130"/>
                    <a:pt x="1550" y="16952"/>
                    <a:pt x="0" y="17523"/>
                  </a:cubicBezTo>
                  <a:cubicBezTo>
                    <a:pt x="6614" y="11961"/>
                    <a:pt x="13229" y="6433"/>
                    <a:pt x="21600" y="3380"/>
                  </a:cubicBezTo>
                  <a:cubicBezTo>
                    <a:pt x="21600" y="-4077"/>
                    <a:pt x="1550" y="1165"/>
                    <a:pt x="1550" y="15568"/>
                  </a:cubicBezTo>
                  <a:close/>
                  <a:moveTo>
                    <a:pt x="1550" y="155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4" name="AutoShape 273"/>
            <p:cNvSpPr>
              <a:spLocks/>
            </p:cNvSpPr>
            <p:nvPr/>
          </p:nvSpPr>
          <p:spPr bwMode="auto">
            <a:xfrm>
              <a:off x="10566400" y="5245100"/>
              <a:ext cx="0" cy="0"/>
            </a:xfrm>
            <a:custGeom>
              <a:avLst/>
              <a:gdLst/>
              <a:ahLst/>
              <a:cxnLst/>
              <a:rect l="0" t="0" r="r" b="b"/>
              <a:pathLst>
                <a:path w="15218" h="19762">
                  <a:moveTo>
                    <a:pt x="2491" y="19200"/>
                  </a:moveTo>
                  <a:cubicBezTo>
                    <a:pt x="2491" y="16500"/>
                    <a:pt x="8365" y="8700"/>
                    <a:pt x="15218" y="0"/>
                  </a:cubicBezTo>
                  <a:cubicBezTo>
                    <a:pt x="13260" y="1200"/>
                    <a:pt x="14178" y="3909"/>
                    <a:pt x="11302" y="4800"/>
                  </a:cubicBezTo>
                  <a:cubicBezTo>
                    <a:pt x="11302" y="16228"/>
                    <a:pt x="-6382" y="21600"/>
                    <a:pt x="2491" y="19200"/>
                  </a:cubicBezTo>
                  <a:close/>
                  <a:moveTo>
                    <a:pt x="2491" y="192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5" name="AutoShape 274"/>
            <p:cNvSpPr>
              <a:spLocks/>
            </p:cNvSpPr>
            <p:nvPr/>
          </p:nvSpPr>
          <p:spPr bwMode="auto">
            <a:xfrm>
              <a:off x="10566400" y="5257800"/>
              <a:ext cx="4763" cy="4763"/>
            </a:xfrm>
            <a:custGeom>
              <a:avLst/>
              <a:gdLst/>
              <a:ahLst/>
              <a:cxnLst/>
              <a:rect l="0" t="0" r="r" b="b"/>
              <a:pathLst>
                <a:path w="20399" h="20259">
                  <a:moveTo>
                    <a:pt x="20186" y="11821"/>
                  </a:moveTo>
                  <a:cubicBezTo>
                    <a:pt x="19206" y="8086"/>
                    <a:pt x="15788" y="3527"/>
                    <a:pt x="12589" y="1802"/>
                  </a:cubicBezTo>
                  <a:cubicBezTo>
                    <a:pt x="9344" y="-48"/>
                    <a:pt x="3837" y="-826"/>
                    <a:pt x="2473" y="1185"/>
                  </a:cubicBezTo>
                  <a:cubicBezTo>
                    <a:pt x="2473" y="3073"/>
                    <a:pt x="638" y="6442"/>
                    <a:pt x="638" y="8827"/>
                  </a:cubicBezTo>
                  <a:cubicBezTo>
                    <a:pt x="-475" y="10920"/>
                    <a:pt x="-347" y="14490"/>
                    <a:pt x="2770" y="16956"/>
                  </a:cubicBezTo>
                  <a:cubicBezTo>
                    <a:pt x="5886" y="19420"/>
                    <a:pt x="11479" y="20774"/>
                    <a:pt x="15193" y="20076"/>
                  </a:cubicBezTo>
                  <a:cubicBezTo>
                    <a:pt x="18868" y="19298"/>
                    <a:pt x="21125" y="15559"/>
                    <a:pt x="20186" y="11821"/>
                  </a:cubicBezTo>
                  <a:close/>
                  <a:moveTo>
                    <a:pt x="20186" y="118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6" name="AutoShape 275"/>
            <p:cNvSpPr>
              <a:spLocks/>
            </p:cNvSpPr>
            <p:nvPr/>
          </p:nvSpPr>
          <p:spPr bwMode="auto">
            <a:xfrm>
              <a:off x="10566400" y="5232400"/>
              <a:ext cx="0" cy="0"/>
            </a:xfrm>
            <a:custGeom>
              <a:avLst/>
              <a:gdLst/>
              <a:ahLst/>
              <a:cxnLst/>
              <a:rect l="0" t="0" r="r" b="b"/>
              <a:pathLst>
                <a:path w="13196" h="16279">
                  <a:moveTo>
                    <a:pt x="0" y="16279"/>
                  </a:moveTo>
                  <a:cubicBezTo>
                    <a:pt x="11300" y="-2609"/>
                    <a:pt x="21600" y="-5321"/>
                    <a:pt x="2825" y="9505"/>
                  </a:cubicBezTo>
                  <a:cubicBezTo>
                    <a:pt x="2825" y="11754"/>
                    <a:pt x="0" y="13553"/>
                    <a:pt x="0" y="16279"/>
                  </a:cubicBezTo>
                  <a:close/>
                  <a:moveTo>
                    <a:pt x="0" y="1627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7" name="AutoShape 276"/>
            <p:cNvSpPr>
              <a:spLocks/>
            </p:cNvSpPr>
            <p:nvPr/>
          </p:nvSpPr>
          <p:spPr bwMode="auto">
            <a:xfrm>
              <a:off x="10566400" y="5232400"/>
              <a:ext cx="0" cy="0"/>
            </a:xfrm>
            <a:custGeom>
              <a:avLst/>
              <a:gdLst/>
              <a:ahLst/>
              <a:cxnLst/>
              <a:rect l="0" t="0" r="r" b="b"/>
              <a:pathLst>
                <a:path w="21600" h="21600">
                  <a:moveTo>
                    <a:pt x="0" y="21600"/>
                  </a:moveTo>
                  <a:cubicBezTo>
                    <a:pt x="9366" y="14773"/>
                    <a:pt x="15292" y="7386"/>
                    <a:pt x="21600" y="0"/>
                  </a:cubicBezTo>
                  <a:cubicBezTo>
                    <a:pt x="15292" y="1832"/>
                    <a:pt x="15292" y="1832"/>
                    <a:pt x="12234" y="4918"/>
                  </a:cubicBezTo>
                  <a:cubicBezTo>
                    <a:pt x="12234" y="12304"/>
                    <a:pt x="6308" y="15409"/>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8" name="AutoShape 277"/>
            <p:cNvSpPr>
              <a:spLocks/>
            </p:cNvSpPr>
            <p:nvPr/>
          </p:nvSpPr>
          <p:spPr bwMode="auto">
            <a:xfrm>
              <a:off x="10591800" y="5080000"/>
              <a:ext cx="0" cy="4763"/>
            </a:xfrm>
            <a:custGeom>
              <a:avLst/>
              <a:gdLst/>
              <a:ahLst/>
              <a:cxnLst/>
              <a:rect l="0" t="0" r="r" b="b"/>
              <a:pathLst>
                <a:path w="20051" h="21600">
                  <a:moveTo>
                    <a:pt x="0" y="21600"/>
                  </a:moveTo>
                  <a:cubicBezTo>
                    <a:pt x="682" y="20521"/>
                    <a:pt x="2018" y="18907"/>
                    <a:pt x="5358" y="17096"/>
                  </a:cubicBezTo>
                  <a:cubicBezTo>
                    <a:pt x="5358" y="12979"/>
                    <a:pt x="15602" y="7448"/>
                    <a:pt x="15602" y="4509"/>
                  </a:cubicBezTo>
                  <a:cubicBezTo>
                    <a:pt x="21600" y="1866"/>
                    <a:pt x="20501" y="0"/>
                    <a:pt x="18274" y="0"/>
                  </a:cubicBezTo>
                  <a:cubicBezTo>
                    <a:pt x="18274" y="493"/>
                    <a:pt x="14711" y="5587"/>
                    <a:pt x="8253" y="11365"/>
                  </a:cubicBezTo>
                  <a:cubicBezTo>
                    <a:pt x="2241" y="15918"/>
                    <a:pt x="682" y="19739"/>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79" name="AutoShape 278"/>
            <p:cNvSpPr>
              <a:spLocks/>
            </p:cNvSpPr>
            <p:nvPr/>
          </p:nvSpPr>
          <p:spPr bwMode="auto">
            <a:xfrm>
              <a:off x="10566400" y="5270500"/>
              <a:ext cx="3175" cy="1588"/>
            </a:xfrm>
            <a:custGeom>
              <a:avLst/>
              <a:gdLst/>
              <a:ahLst/>
              <a:cxnLst/>
              <a:rect l="0" t="0" r="r" b="b"/>
              <a:pathLst>
                <a:path w="17295" h="19697">
                  <a:moveTo>
                    <a:pt x="2165" y="19697"/>
                  </a:moveTo>
                  <a:cubicBezTo>
                    <a:pt x="6628" y="19697"/>
                    <a:pt x="12906" y="13562"/>
                    <a:pt x="16141" y="5709"/>
                  </a:cubicBezTo>
                  <a:cubicBezTo>
                    <a:pt x="19306" y="-1903"/>
                    <a:pt x="15748" y="-1903"/>
                    <a:pt x="8055" y="5709"/>
                  </a:cubicBezTo>
                  <a:cubicBezTo>
                    <a:pt x="358" y="13562"/>
                    <a:pt x="-2294" y="19697"/>
                    <a:pt x="2165" y="19697"/>
                  </a:cubicBezTo>
                  <a:close/>
                  <a:moveTo>
                    <a:pt x="2165" y="196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0" name="AutoShape 279"/>
            <p:cNvSpPr>
              <a:spLocks/>
            </p:cNvSpPr>
            <p:nvPr/>
          </p:nvSpPr>
          <p:spPr bwMode="auto">
            <a:xfrm>
              <a:off x="10566400" y="5232400"/>
              <a:ext cx="0" cy="0"/>
            </a:xfrm>
            <a:custGeom>
              <a:avLst/>
              <a:gdLst/>
              <a:ahLst/>
              <a:cxnLst/>
              <a:rect l="0" t="0" r="r" b="b"/>
              <a:pathLst>
                <a:path w="21600" h="18350">
                  <a:moveTo>
                    <a:pt x="21600" y="0"/>
                  </a:moveTo>
                  <a:cubicBezTo>
                    <a:pt x="11735" y="7688"/>
                    <a:pt x="0" y="14621"/>
                    <a:pt x="0" y="17207"/>
                  </a:cubicBezTo>
                  <a:cubicBezTo>
                    <a:pt x="0" y="21600"/>
                    <a:pt x="14954" y="12791"/>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1" name="AutoShape 280"/>
            <p:cNvSpPr>
              <a:spLocks/>
            </p:cNvSpPr>
            <p:nvPr/>
          </p:nvSpPr>
          <p:spPr bwMode="auto">
            <a:xfrm>
              <a:off x="10464800" y="5334000"/>
              <a:ext cx="46038" cy="58738"/>
            </a:xfrm>
            <a:custGeom>
              <a:avLst/>
              <a:gdLst/>
              <a:ahLst/>
              <a:cxnLst/>
              <a:rect l="0" t="0" r="r" b="b"/>
              <a:pathLst>
                <a:path w="21523" h="21472">
                  <a:moveTo>
                    <a:pt x="21493" y="8091"/>
                  </a:moveTo>
                  <a:cubicBezTo>
                    <a:pt x="21573" y="7838"/>
                    <a:pt x="21476" y="7669"/>
                    <a:pt x="21391" y="7669"/>
                  </a:cubicBezTo>
                  <a:cubicBezTo>
                    <a:pt x="21311" y="7695"/>
                    <a:pt x="21277" y="7597"/>
                    <a:pt x="21277" y="7459"/>
                  </a:cubicBezTo>
                  <a:cubicBezTo>
                    <a:pt x="21362" y="7322"/>
                    <a:pt x="21202" y="7259"/>
                    <a:pt x="21128" y="7384"/>
                  </a:cubicBezTo>
                  <a:cubicBezTo>
                    <a:pt x="20969" y="7446"/>
                    <a:pt x="20855" y="7846"/>
                    <a:pt x="20667" y="8136"/>
                  </a:cubicBezTo>
                  <a:cubicBezTo>
                    <a:pt x="20485" y="8429"/>
                    <a:pt x="20291" y="8772"/>
                    <a:pt x="20205" y="8905"/>
                  </a:cubicBezTo>
                  <a:cubicBezTo>
                    <a:pt x="20034" y="8972"/>
                    <a:pt x="20052" y="8977"/>
                    <a:pt x="19960" y="8834"/>
                  </a:cubicBezTo>
                  <a:cubicBezTo>
                    <a:pt x="19898" y="8687"/>
                    <a:pt x="19727" y="8821"/>
                    <a:pt x="19544" y="9181"/>
                  </a:cubicBezTo>
                  <a:cubicBezTo>
                    <a:pt x="19362" y="9532"/>
                    <a:pt x="19203" y="9657"/>
                    <a:pt x="19060" y="9546"/>
                  </a:cubicBezTo>
                  <a:cubicBezTo>
                    <a:pt x="19060" y="9390"/>
                    <a:pt x="19003" y="9008"/>
                    <a:pt x="19003" y="8674"/>
                  </a:cubicBezTo>
                  <a:cubicBezTo>
                    <a:pt x="19003" y="8331"/>
                    <a:pt x="19169" y="7735"/>
                    <a:pt x="19254" y="7344"/>
                  </a:cubicBezTo>
                  <a:cubicBezTo>
                    <a:pt x="19340" y="6952"/>
                    <a:pt x="19493" y="6160"/>
                    <a:pt x="19573" y="5595"/>
                  </a:cubicBezTo>
                  <a:cubicBezTo>
                    <a:pt x="19659" y="5026"/>
                    <a:pt x="19898" y="3963"/>
                    <a:pt x="20063" y="3233"/>
                  </a:cubicBezTo>
                  <a:cubicBezTo>
                    <a:pt x="20234" y="2512"/>
                    <a:pt x="20297" y="2049"/>
                    <a:pt x="20108" y="2196"/>
                  </a:cubicBezTo>
                  <a:cubicBezTo>
                    <a:pt x="19966" y="2365"/>
                    <a:pt x="19607" y="2659"/>
                    <a:pt x="19539" y="2935"/>
                  </a:cubicBezTo>
                  <a:cubicBezTo>
                    <a:pt x="19346" y="3166"/>
                    <a:pt x="19259" y="3113"/>
                    <a:pt x="19328" y="2783"/>
                  </a:cubicBezTo>
                  <a:cubicBezTo>
                    <a:pt x="19328" y="2441"/>
                    <a:pt x="19334" y="2334"/>
                    <a:pt x="19140" y="2410"/>
                  </a:cubicBezTo>
                  <a:cubicBezTo>
                    <a:pt x="19049" y="2556"/>
                    <a:pt x="18906" y="2338"/>
                    <a:pt x="18906" y="1960"/>
                  </a:cubicBezTo>
                  <a:cubicBezTo>
                    <a:pt x="18906" y="1582"/>
                    <a:pt x="18924" y="1137"/>
                    <a:pt x="18838" y="1004"/>
                  </a:cubicBezTo>
                  <a:cubicBezTo>
                    <a:pt x="18838" y="853"/>
                    <a:pt x="18667" y="901"/>
                    <a:pt x="18502" y="1093"/>
                  </a:cubicBezTo>
                  <a:cubicBezTo>
                    <a:pt x="18291" y="1262"/>
                    <a:pt x="18177" y="1587"/>
                    <a:pt x="18017" y="1649"/>
                  </a:cubicBezTo>
                  <a:cubicBezTo>
                    <a:pt x="17938" y="1773"/>
                    <a:pt x="17761" y="1364"/>
                    <a:pt x="17852" y="799"/>
                  </a:cubicBezTo>
                  <a:cubicBezTo>
                    <a:pt x="17852" y="225"/>
                    <a:pt x="17835" y="-64"/>
                    <a:pt x="17630" y="12"/>
                  </a:cubicBezTo>
                  <a:cubicBezTo>
                    <a:pt x="17527" y="176"/>
                    <a:pt x="17083" y="1195"/>
                    <a:pt x="16747" y="2321"/>
                  </a:cubicBezTo>
                  <a:cubicBezTo>
                    <a:pt x="16405" y="3446"/>
                    <a:pt x="15995" y="4817"/>
                    <a:pt x="15721" y="5324"/>
                  </a:cubicBezTo>
                  <a:cubicBezTo>
                    <a:pt x="15471" y="5831"/>
                    <a:pt x="15089" y="6716"/>
                    <a:pt x="14605" y="7157"/>
                  </a:cubicBezTo>
                  <a:cubicBezTo>
                    <a:pt x="14274" y="7677"/>
                    <a:pt x="13585" y="8078"/>
                    <a:pt x="13266" y="8198"/>
                  </a:cubicBezTo>
                  <a:cubicBezTo>
                    <a:pt x="12947" y="8327"/>
                    <a:pt x="12211" y="8656"/>
                    <a:pt x="11779" y="9083"/>
                  </a:cubicBezTo>
                  <a:cubicBezTo>
                    <a:pt x="11243" y="9435"/>
                    <a:pt x="10701" y="9648"/>
                    <a:pt x="10627" y="9399"/>
                  </a:cubicBezTo>
                  <a:cubicBezTo>
                    <a:pt x="10440" y="9186"/>
                    <a:pt x="10343" y="8843"/>
                    <a:pt x="10343" y="8660"/>
                  </a:cubicBezTo>
                  <a:cubicBezTo>
                    <a:pt x="10343" y="8474"/>
                    <a:pt x="10497" y="7855"/>
                    <a:pt x="10679" y="7290"/>
                  </a:cubicBezTo>
                  <a:cubicBezTo>
                    <a:pt x="10787" y="6707"/>
                    <a:pt x="11049" y="5827"/>
                    <a:pt x="11134" y="5306"/>
                  </a:cubicBezTo>
                  <a:cubicBezTo>
                    <a:pt x="11134" y="4785"/>
                    <a:pt x="10975" y="4447"/>
                    <a:pt x="10679" y="4603"/>
                  </a:cubicBezTo>
                  <a:cubicBezTo>
                    <a:pt x="10355" y="4732"/>
                    <a:pt x="9887" y="4701"/>
                    <a:pt x="9676" y="4785"/>
                  </a:cubicBezTo>
                  <a:cubicBezTo>
                    <a:pt x="9454" y="4723"/>
                    <a:pt x="9255" y="4470"/>
                    <a:pt x="9175" y="4145"/>
                  </a:cubicBezTo>
                  <a:cubicBezTo>
                    <a:pt x="9175" y="3824"/>
                    <a:pt x="8913" y="3695"/>
                    <a:pt x="8645" y="3797"/>
                  </a:cubicBezTo>
                  <a:cubicBezTo>
                    <a:pt x="8388" y="3931"/>
                    <a:pt x="8087" y="4336"/>
                    <a:pt x="7910" y="4674"/>
                  </a:cubicBezTo>
                  <a:cubicBezTo>
                    <a:pt x="7739" y="5003"/>
                    <a:pt x="7551" y="5510"/>
                    <a:pt x="7397" y="5755"/>
                  </a:cubicBezTo>
                  <a:cubicBezTo>
                    <a:pt x="7238" y="6004"/>
                    <a:pt x="7100" y="6004"/>
                    <a:pt x="7100" y="5747"/>
                  </a:cubicBezTo>
                  <a:cubicBezTo>
                    <a:pt x="7032" y="5497"/>
                    <a:pt x="6844" y="5368"/>
                    <a:pt x="6593" y="5368"/>
                  </a:cubicBezTo>
                  <a:cubicBezTo>
                    <a:pt x="6366" y="5457"/>
                    <a:pt x="6012" y="5618"/>
                    <a:pt x="5767" y="5742"/>
                  </a:cubicBezTo>
                  <a:cubicBezTo>
                    <a:pt x="5568" y="5902"/>
                    <a:pt x="5369" y="5844"/>
                    <a:pt x="5369" y="5644"/>
                  </a:cubicBezTo>
                  <a:cubicBezTo>
                    <a:pt x="5369" y="5439"/>
                    <a:pt x="5106" y="5933"/>
                    <a:pt x="4691" y="6716"/>
                  </a:cubicBezTo>
                  <a:cubicBezTo>
                    <a:pt x="4349" y="7517"/>
                    <a:pt x="3921" y="8647"/>
                    <a:pt x="3756" y="9226"/>
                  </a:cubicBezTo>
                  <a:cubicBezTo>
                    <a:pt x="3585" y="9822"/>
                    <a:pt x="3278" y="10832"/>
                    <a:pt x="3033" y="11477"/>
                  </a:cubicBezTo>
                  <a:cubicBezTo>
                    <a:pt x="2782" y="12126"/>
                    <a:pt x="2383" y="12816"/>
                    <a:pt x="2195" y="13039"/>
                  </a:cubicBezTo>
                  <a:cubicBezTo>
                    <a:pt x="1950" y="13230"/>
                    <a:pt x="1653" y="13906"/>
                    <a:pt x="1488" y="14493"/>
                  </a:cubicBezTo>
                  <a:cubicBezTo>
                    <a:pt x="1261" y="15076"/>
                    <a:pt x="998" y="15761"/>
                    <a:pt x="827" y="16019"/>
                  </a:cubicBezTo>
                  <a:cubicBezTo>
                    <a:pt x="629" y="16259"/>
                    <a:pt x="565" y="16313"/>
                    <a:pt x="485" y="16131"/>
                  </a:cubicBezTo>
                  <a:cubicBezTo>
                    <a:pt x="594" y="15962"/>
                    <a:pt x="423" y="15854"/>
                    <a:pt x="343" y="15917"/>
                  </a:cubicBezTo>
                  <a:cubicBezTo>
                    <a:pt x="258" y="15984"/>
                    <a:pt x="161" y="16326"/>
                    <a:pt x="58" y="16642"/>
                  </a:cubicBezTo>
                  <a:cubicBezTo>
                    <a:pt x="-27" y="16971"/>
                    <a:pt x="7" y="17341"/>
                    <a:pt x="7" y="17483"/>
                  </a:cubicBezTo>
                  <a:cubicBezTo>
                    <a:pt x="7" y="17630"/>
                    <a:pt x="452" y="17572"/>
                    <a:pt x="782" y="17314"/>
                  </a:cubicBezTo>
                  <a:cubicBezTo>
                    <a:pt x="1146" y="17083"/>
                    <a:pt x="1636" y="16575"/>
                    <a:pt x="1921" y="16197"/>
                  </a:cubicBezTo>
                  <a:cubicBezTo>
                    <a:pt x="2132" y="15792"/>
                    <a:pt x="2383" y="15864"/>
                    <a:pt x="2298" y="16295"/>
                  </a:cubicBezTo>
                  <a:cubicBezTo>
                    <a:pt x="2224" y="16736"/>
                    <a:pt x="2201" y="17229"/>
                    <a:pt x="2292" y="17372"/>
                  </a:cubicBezTo>
                  <a:cubicBezTo>
                    <a:pt x="2292" y="17532"/>
                    <a:pt x="2417" y="17381"/>
                    <a:pt x="2673" y="17180"/>
                  </a:cubicBezTo>
                  <a:cubicBezTo>
                    <a:pt x="2788" y="16909"/>
                    <a:pt x="3073" y="16664"/>
                    <a:pt x="3175" y="16584"/>
                  </a:cubicBezTo>
                  <a:cubicBezTo>
                    <a:pt x="3278" y="16504"/>
                    <a:pt x="3232" y="16686"/>
                    <a:pt x="3135" y="16993"/>
                  </a:cubicBezTo>
                  <a:cubicBezTo>
                    <a:pt x="3033" y="17296"/>
                    <a:pt x="2600" y="18164"/>
                    <a:pt x="2286" y="18960"/>
                  </a:cubicBezTo>
                  <a:cubicBezTo>
                    <a:pt x="1950" y="19747"/>
                    <a:pt x="1722" y="20553"/>
                    <a:pt x="1722" y="20744"/>
                  </a:cubicBezTo>
                  <a:cubicBezTo>
                    <a:pt x="1722" y="20931"/>
                    <a:pt x="1910" y="21078"/>
                    <a:pt x="2098" y="21007"/>
                  </a:cubicBezTo>
                  <a:cubicBezTo>
                    <a:pt x="2309" y="21007"/>
                    <a:pt x="2548" y="21020"/>
                    <a:pt x="2708" y="21082"/>
                  </a:cubicBezTo>
                  <a:cubicBezTo>
                    <a:pt x="2862" y="21145"/>
                    <a:pt x="3147" y="20882"/>
                    <a:pt x="3408" y="20468"/>
                  </a:cubicBezTo>
                  <a:cubicBezTo>
                    <a:pt x="3642" y="20046"/>
                    <a:pt x="3893" y="19805"/>
                    <a:pt x="3967" y="19916"/>
                  </a:cubicBezTo>
                  <a:cubicBezTo>
                    <a:pt x="3967" y="20046"/>
                    <a:pt x="4309" y="20054"/>
                    <a:pt x="4514" y="19899"/>
                  </a:cubicBezTo>
                  <a:cubicBezTo>
                    <a:pt x="4759" y="19770"/>
                    <a:pt x="4913" y="20050"/>
                    <a:pt x="5078" y="20500"/>
                  </a:cubicBezTo>
                  <a:cubicBezTo>
                    <a:pt x="5078" y="20967"/>
                    <a:pt x="5460" y="21345"/>
                    <a:pt x="5693" y="21465"/>
                  </a:cubicBezTo>
                  <a:cubicBezTo>
                    <a:pt x="5955" y="21536"/>
                    <a:pt x="6497" y="21042"/>
                    <a:pt x="6748" y="20331"/>
                  </a:cubicBezTo>
                  <a:cubicBezTo>
                    <a:pt x="7100" y="19641"/>
                    <a:pt x="7363" y="18911"/>
                    <a:pt x="7539" y="18844"/>
                  </a:cubicBezTo>
                  <a:cubicBezTo>
                    <a:pt x="7716" y="18777"/>
                    <a:pt x="7750" y="18916"/>
                    <a:pt x="7750" y="19258"/>
                  </a:cubicBezTo>
                  <a:cubicBezTo>
                    <a:pt x="7750" y="19610"/>
                    <a:pt x="7835" y="19859"/>
                    <a:pt x="7955" y="19859"/>
                  </a:cubicBezTo>
                  <a:cubicBezTo>
                    <a:pt x="8064" y="19814"/>
                    <a:pt x="8338" y="19432"/>
                    <a:pt x="8565" y="18956"/>
                  </a:cubicBezTo>
                  <a:cubicBezTo>
                    <a:pt x="8793" y="18480"/>
                    <a:pt x="9038" y="17990"/>
                    <a:pt x="9169" y="17883"/>
                  </a:cubicBezTo>
                  <a:cubicBezTo>
                    <a:pt x="9294" y="17786"/>
                    <a:pt x="9482" y="17941"/>
                    <a:pt x="9482" y="18253"/>
                  </a:cubicBezTo>
                  <a:cubicBezTo>
                    <a:pt x="9579" y="18555"/>
                    <a:pt x="9801" y="18653"/>
                    <a:pt x="10035" y="18417"/>
                  </a:cubicBezTo>
                  <a:cubicBezTo>
                    <a:pt x="10303" y="18208"/>
                    <a:pt x="10542" y="18457"/>
                    <a:pt x="10713" y="18982"/>
                  </a:cubicBezTo>
                  <a:cubicBezTo>
                    <a:pt x="10713" y="19520"/>
                    <a:pt x="11084" y="20143"/>
                    <a:pt x="11340" y="20339"/>
                  </a:cubicBezTo>
                  <a:cubicBezTo>
                    <a:pt x="11505" y="20593"/>
                    <a:pt x="12024" y="20392"/>
                    <a:pt x="12195" y="19930"/>
                  </a:cubicBezTo>
                  <a:cubicBezTo>
                    <a:pt x="12473" y="19494"/>
                    <a:pt x="12804" y="18956"/>
                    <a:pt x="13066" y="18818"/>
                  </a:cubicBezTo>
                  <a:cubicBezTo>
                    <a:pt x="13283" y="18649"/>
                    <a:pt x="13545" y="18809"/>
                    <a:pt x="13545" y="19134"/>
                  </a:cubicBezTo>
                  <a:cubicBezTo>
                    <a:pt x="13613" y="19463"/>
                    <a:pt x="13835" y="19178"/>
                    <a:pt x="14183" y="18502"/>
                  </a:cubicBezTo>
                  <a:cubicBezTo>
                    <a:pt x="14451" y="17817"/>
                    <a:pt x="14895" y="17296"/>
                    <a:pt x="15026" y="17247"/>
                  </a:cubicBezTo>
                  <a:cubicBezTo>
                    <a:pt x="15180" y="17247"/>
                    <a:pt x="15397" y="17398"/>
                    <a:pt x="15397" y="17634"/>
                  </a:cubicBezTo>
                  <a:cubicBezTo>
                    <a:pt x="15505" y="17852"/>
                    <a:pt x="15687" y="17883"/>
                    <a:pt x="15881" y="17656"/>
                  </a:cubicBezTo>
                  <a:cubicBezTo>
                    <a:pt x="16126" y="17465"/>
                    <a:pt x="16496" y="16780"/>
                    <a:pt x="16821" y="16206"/>
                  </a:cubicBezTo>
                  <a:cubicBezTo>
                    <a:pt x="17146" y="15632"/>
                    <a:pt x="17425" y="15045"/>
                    <a:pt x="17556" y="14996"/>
                  </a:cubicBezTo>
                  <a:cubicBezTo>
                    <a:pt x="17556" y="14885"/>
                    <a:pt x="17664" y="15187"/>
                    <a:pt x="17664" y="15619"/>
                  </a:cubicBezTo>
                  <a:cubicBezTo>
                    <a:pt x="17585" y="16041"/>
                    <a:pt x="17846" y="16420"/>
                    <a:pt x="17756" y="16420"/>
                  </a:cubicBezTo>
                  <a:cubicBezTo>
                    <a:pt x="17841" y="16420"/>
                    <a:pt x="17898" y="16784"/>
                    <a:pt x="17898" y="17194"/>
                  </a:cubicBezTo>
                  <a:cubicBezTo>
                    <a:pt x="17898" y="17603"/>
                    <a:pt x="18001" y="17759"/>
                    <a:pt x="18171" y="17559"/>
                  </a:cubicBezTo>
                  <a:cubicBezTo>
                    <a:pt x="18348" y="17354"/>
                    <a:pt x="18410" y="17438"/>
                    <a:pt x="18410" y="17750"/>
                  </a:cubicBezTo>
                  <a:cubicBezTo>
                    <a:pt x="18314" y="18053"/>
                    <a:pt x="18433" y="18177"/>
                    <a:pt x="18542" y="18008"/>
                  </a:cubicBezTo>
                  <a:cubicBezTo>
                    <a:pt x="18713" y="17870"/>
                    <a:pt x="18924" y="17069"/>
                    <a:pt x="19106" y="16304"/>
                  </a:cubicBezTo>
                  <a:cubicBezTo>
                    <a:pt x="19271" y="15530"/>
                    <a:pt x="19465" y="14805"/>
                    <a:pt x="19465" y="14667"/>
                  </a:cubicBezTo>
                  <a:cubicBezTo>
                    <a:pt x="19465" y="14529"/>
                    <a:pt x="19573" y="14093"/>
                    <a:pt x="19744" y="13692"/>
                  </a:cubicBezTo>
                  <a:cubicBezTo>
                    <a:pt x="19892" y="13292"/>
                    <a:pt x="20416" y="11988"/>
                    <a:pt x="20741" y="10769"/>
                  </a:cubicBezTo>
                  <a:cubicBezTo>
                    <a:pt x="21174" y="9564"/>
                    <a:pt x="21493" y="8349"/>
                    <a:pt x="21493" y="8091"/>
                  </a:cubicBezTo>
                  <a:close/>
                  <a:moveTo>
                    <a:pt x="21493" y="80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2" name="AutoShape 281"/>
            <p:cNvSpPr>
              <a:spLocks/>
            </p:cNvSpPr>
            <p:nvPr/>
          </p:nvSpPr>
          <p:spPr bwMode="auto">
            <a:xfrm>
              <a:off x="10452100" y="5194300"/>
              <a:ext cx="1588" cy="3175"/>
            </a:xfrm>
            <a:custGeom>
              <a:avLst/>
              <a:gdLst/>
              <a:ahLst/>
              <a:cxnLst/>
              <a:rect l="0" t="0" r="r" b="b"/>
              <a:pathLst>
                <a:path w="19310" h="19036">
                  <a:moveTo>
                    <a:pt x="2536" y="8763"/>
                  </a:moveTo>
                  <a:cubicBezTo>
                    <a:pt x="-1383" y="14868"/>
                    <a:pt x="-654" y="18644"/>
                    <a:pt x="3994" y="17675"/>
                  </a:cubicBezTo>
                  <a:cubicBezTo>
                    <a:pt x="8090" y="16106"/>
                    <a:pt x="12373" y="16864"/>
                    <a:pt x="13752" y="18538"/>
                  </a:cubicBezTo>
                  <a:cubicBezTo>
                    <a:pt x="15108" y="20213"/>
                    <a:pt x="16025" y="17510"/>
                    <a:pt x="18759" y="12705"/>
                  </a:cubicBezTo>
                  <a:cubicBezTo>
                    <a:pt x="20217" y="7630"/>
                    <a:pt x="18668" y="2394"/>
                    <a:pt x="15472" y="449"/>
                  </a:cubicBezTo>
                  <a:cubicBezTo>
                    <a:pt x="12282" y="-1387"/>
                    <a:pt x="6449" y="2610"/>
                    <a:pt x="2536" y="8763"/>
                  </a:cubicBezTo>
                  <a:close/>
                  <a:moveTo>
                    <a:pt x="2536" y="87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3" name="AutoShape 282"/>
            <p:cNvSpPr>
              <a:spLocks/>
            </p:cNvSpPr>
            <p:nvPr/>
          </p:nvSpPr>
          <p:spPr bwMode="auto">
            <a:xfrm>
              <a:off x="10515600" y="5359400"/>
              <a:ext cx="4763" cy="22225"/>
            </a:xfrm>
            <a:custGeom>
              <a:avLst/>
              <a:gdLst/>
              <a:ahLst/>
              <a:cxnLst/>
              <a:rect l="0" t="0" r="r" b="b"/>
              <a:pathLst>
                <a:path w="21600" h="21163">
                  <a:moveTo>
                    <a:pt x="16122" y="10122"/>
                  </a:moveTo>
                  <a:cubicBezTo>
                    <a:pt x="16766" y="9350"/>
                    <a:pt x="17559" y="7554"/>
                    <a:pt x="18903" y="6172"/>
                  </a:cubicBezTo>
                  <a:cubicBezTo>
                    <a:pt x="20206" y="4790"/>
                    <a:pt x="20253" y="3892"/>
                    <a:pt x="19652" y="4215"/>
                  </a:cubicBezTo>
                  <a:cubicBezTo>
                    <a:pt x="18581" y="4469"/>
                    <a:pt x="18674" y="3870"/>
                    <a:pt x="20067" y="2810"/>
                  </a:cubicBezTo>
                  <a:cubicBezTo>
                    <a:pt x="20810" y="1717"/>
                    <a:pt x="21600" y="519"/>
                    <a:pt x="21600" y="139"/>
                  </a:cubicBezTo>
                  <a:cubicBezTo>
                    <a:pt x="21600" y="-252"/>
                    <a:pt x="20343" y="208"/>
                    <a:pt x="19045" y="1176"/>
                  </a:cubicBezTo>
                  <a:cubicBezTo>
                    <a:pt x="17742" y="2143"/>
                    <a:pt x="16397" y="3225"/>
                    <a:pt x="15422" y="3455"/>
                  </a:cubicBezTo>
                  <a:cubicBezTo>
                    <a:pt x="15422" y="3789"/>
                    <a:pt x="14121" y="3179"/>
                    <a:pt x="14911" y="2234"/>
                  </a:cubicBezTo>
                  <a:cubicBezTo>
                    <a:pt x="14911" y="1267"/>
                    <a:pt x="12681" y="2246"/>
                    <a:pt x="9894" y="4469"/>
                  </a:cubicBezTo>
                  <a:cubicBezTo>
                    <a:pt x="6550" y="6633"/>
                    <a:pt x="3159" y="9258"/>
                    <a:pt x="2415" y="10248"/>
                  </a:cubicBezTo>
                  <a:cubicBezTo>
                    <a:pt x="1065" y="11215"/>
                    <a:pt x="694" y="12632"/>
                    <a:pt x="0" y="13312"/>
                  </a:cubicBezTo>
                  <a:cubicBezTo>
                    <a:pt x="0" y="14037"/>
                    <a:pt x="46" y="14612"/>
                    <a:pt x="604" y="14486"/>
                  </a:cubicBezTo>
                  <a:cubicBezTo>
                    <a:pt x="1065" y="14359"/>
                    <a:pt x="2926" y="13911"/>
                    <a:pt x="3763" y="13288"/>
                  </a:cubicBezTo>
                  <a:cubicBezTo>
                    <a:pt x="4599" y="12643"/>
                    <a:pt x="5156" y="13024"/>
                    <a:pt x="4456" y="14048"/>
                  </a:cubicBezTo>
                  <a:cubicBezTo>
                    <a:pt x="3623" y="15073"/>
                    <a:pt x="3853" y="15960"/>
                    <a:pt x="3853" y="15868"/>
                  </a:cubicBezTo>
                  <a:cubicBezTo>
                    <a:pt x="4134" y="15798"/>
                    <a:pt x="3481" y="16869"/>
                    <a:pt x="2834" y="18170"/>
                  </a:cubicBezTo>
                  <a:cubicBezTo>
                    <a:pt x="1347" y="19437"/>
                    <a:pt x="1855" y="20795"/>
                    <a:pt x="1347" y="21048"/>
                  </a:cubicBezTo>
                  <a:cubicBezTo>
                    <a:pt x="1347" y="21348"/>
                    <a:pt x="2505" y="21037"/>
                    <a:pt x="3812" y="20393"/>
                  </a:cubicBezTo>
                  <a:cubicBezTo>
                    <a:pt x="4506" y="19690"/>
                    <a:pt x="7665" y="18182"/>
                    <a:pt x="9151" y="16904"/>
                  </a:cubicBezTo>
                  <a:cubicBezTo>
                    <a:pt x="10452" y="15614"/>
                    <a:pt x="13099" y="13921"/>
                    <a:pt x="13793" y="13058"/>
                  </a:cubicBezTo>
                  <a:cubicBezTo>
                    <a:pt x="14911" y="12241"/>
                    <a:pt x="16122" y="10916"/>
                    <a:pt x="16122" y="10122"/>
                  </a:cubicBezTo>
                  <a:close/>
                  <a:moveTo>
                    <a:pt x="16122" y="101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4" name="AutoShape 283"/>
            <p:cNvSpPr>
              <a:spLocks/>
            </p:cNvSpPr>
            <p:nvPr/>
          </p:nvSpPr>
          <p:spPr bwMode="auto">
            <a:xfrm>
              <a:off x="10464800" y="5372100"/>
              <a:ext cx="0" cy="1588"/>
            </a:xfrm>
            <a:custGeom>
              <a:avLst/>
              <a:gdLst/>
              <a:ahLst/>
              <a:cxnLst/>
              <a:rect l="0" t="0" r="r" b="b"/>
              <a:pathLst>
                <a:path w="18346" h="20651">
                  <a:moveTo>
                    <a:pt x="14735" y="0"/>
                  </a:moveTo>
                  <a:cubicBezTo>
                    <a:pt x="14735" y="2000"/>
                    <a:pt x="6195" y="7074"/>
                    <a:pt x="2412" y="12520"/>
                  </a:cubicBezTo>
                  <a:cubicBezTo>
                    <a:pt x="-1591" y="18154"/>
                    <a:pt x="-100" y="21600"/>
                    <a:pt x="3165" y="20420"/>
                  </a:cubicBezTo>
                  <a:cubicBezTo>
                    <a:pt x="6697" y="19146"/>
                    <a:pt x="11705" y="13337"/>
                    <a:pt x="15739" y="7809"/>
                  </a:cubicBezTo>
                  <a:cubicBezTo>
                    <a:pt x="18753" y="2269"/>
                    <a:pt x="20009" y="0"/>
                    <a:pt x="14735" y="0"/>
                  </a:cubicBezTo>
                  <a:close/>
                  <a:moveTo>
                    <a:pt x="14735"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5" name="AutoShape 284"/>
            <p:cNvSpPr>
              <a:spLocks/>
            </p:cNvSpPr>
            <p:nvPr/>
          </p:nvSpPr>
          <p:spPr bwMode="auto">
            <a:xfrm>
              <a:off x="10452100" y="5283200"/>
              <a:ext cx="1588" cy="11113"/>
            </a:xfrm>
            <a:custGeom>
              <a:avLst/>
              <a:gdLst/>
              <a:ahLst/>
              <a:cxnLst/>
              <a:rect l="0" t="0" r="r" b="b"/>
              <a:pathLst>
                <a:path w="18796" h="19520">
                  <a:moveTo>
                    <a:pt x="4855" y="3117"/>
                  </a:moveTo>
                  <a:cubicBezTo>
                    <a:pt x="396" y="6131"/>
                    <a:pt x="-1592" y="11814"/>
                    <a:pt x="1486" y="15783"/>
                  </a:cubicBezTo>
                  <a:cubicBezTo>
                    <a:pt x="2978" y="19773"/>
                    <a:pt x="6539" y="20662"/>
                    <a:pt x="9611" y="17994"/>
                  </a:cubicBezTo>
                  <a:cubicBezTo>
                    <a:pt x="9611" y="15241"/>
                    <a:pt x="13667" y="10968"/>
                    <a:pt x="16844" y="8518"/>
                  </a:cubicBezTo>
                  <a:cubicBezTo>
                    <a:pt x="18429" y="6024"/>
                    <a:pt x="20008" y="2575"/>
                    <a:pt x="17432" y="861"/>
                  </a:cubicBezTo>
                  <a:cubicBezTo>
                    <a:pt x="17432" y="-938"/>
                    <a:pt x="10899" y="210"/>
                    <a:pt x="4855" y="3117"/>
                  </a:cubicBezTo>
                  <a:close/>
                  <a:moveTo>
                    <a:pt x="4855" y="31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6" name="AutoShape 285"/>
            <p:cNvSpPr>
              <a:spLocks/>
            </p:cNvSpPr>
            <p:nvPr/>
          </p:nvSpPr>
          <p:spPr bwMode="auto">
            <a:xfrm>
              <a:off x="10515600" y="5346700"/>
              <a:ext cx="4763" cy="19050"/>
            </a:xfrm>
            <a:custGeom>
              <a:avLst/>
              <a:gdLst/>
              <a:ahLst/>
              <a:cxnLst/>
              <a:rect l="0" t="0" r="r" b="b"/>
              <a:pathLst>
                <a:path w="20879" h="21094">
                  <a:moveTo>
                    <a:pt x="17435" y="7904"/>
                  </a:moveTo>
                  <a:cubicBezTo>
                    <a:pt x="18706" y="6924"/>
                    <a:pt x="20239" y="4711"/>
                    <a:pt x="20239" y="3033"/>
                  </a:cubicBezTo>
                  <a:cubicBezTo>
                    <a:pt x="21600" y="1384"/>
                    <a:pt x="20461" y="-173"/>
                    <a:pt x="19845" y="15"/>
                  </a:cubicBezTo>
                  <a:cubicBezTo>
                    <a:pt x="19015" y="15"/>
                    <a:pt x="16781" y="1114"/>
                    <a:pt x="15028" y="2376"/>
                  </a:cubicBezTo>
                  <a:cubicBezTo>
                    <a:pt x="12531" y="3529"/>
                    <a:pt x="11172" y="4576"/>
                    <a:pt x="10471" y="4576"/>
                  </a:cubicBezTo>
                  <a:cubicBezTo>
                    <a:pt x="9768" y="4576"/>
                    <a:pt x="8149" y="5286"/>
                    <a:pt x="6613" y="6200"/>
                  </a:cubicBezTo>
                  <a:cubicBezTo>
                    <a:pt x="5564" y="7178"/>
                    <a:pt x="3637" y="8963"/>
                    <a:pt x="2319" y="10117"/>
                  </a:cubicBezTo>
                  <a:cubicBezTo>
                    <a:pt x="1750" y="11378"/>
                    <a:pt x="701" y="13095"/>
                    <a:pt x="0" y="13927"/>
                  </a:cubicBezTo>
                  <a:cubicBezTo>
                    <a:pt x="0" y="14812"/>
                    <a:pt x="88" y="15417"/>
                    <a:pt x="1052" y="15417"/>
                  </a:cubicBezTo>
                  <a:cubicBezTo>
                    <a:pt x="1706" y="15215"/>
                    <a:pt x="1796" y="16220"/>
                    <a:pt x="2670" y="17241"/>
                  </a:cubicBezTo>
                  <a:cubicBezTo>
                    <a:pt x="2670" y="18274"/>
                    <a:pt x="1706" y="19803"/>
                    <a:pt x="1706" y="20622"/>
                  </a:cubicBezTo>
                  <a:cubicBezTo>
                    <a:pt x="1052" y="21427"/>
                    <a:pt x="1706" y="21185"/>
                    <a:pt x="2935" y="20031"/>
                  </a:cubicBezTo>
                  <a:cubicBezTo>
                    <a:pt x="4206" y="18904"/>
                    <a:pt x="5740" y="17160"/>
                    <a:pt x="7185" y="16262"/>
                  </a:cubicBezTo>
                  <a:cubicBezTo>
                    <a:pt x="8412" y="15335"/>
                    <a:pt x="9639" y="13967"/>
                    <a:pt x="10732" y="13309"/>
                  </a:cubicBezTo>
                  <a:cubicBezTo>
                    <a:pt x="12049" y="12693"/>
                    <a:pt x="12618" y="11471"/>
                    <a:pt x="13886" y="10896"/>
                  </a:cubicBezTo>
                  <a:cubicBezTo>
                    <a:pt x="15510" y="10398"/>
                    <a:pt x="16167" y="8883"/>
                    <a:pt x="17435" y="7904"/>
                  </a:cubicBezTo>
                  <a:close/>
                  <a:moveTo>
                    <a:pt x="17435" y="79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7" name="AutoShape 286"/>
            <p:cNvSpPr>
              <a:spLocks/>
            </p:cNvSpPr>
            <p:nvPr/>
          </p:nvSpPr>
          <p:spPr bwMode="auto">
            <a:xfrm>
              <a:off x="10515600" y="5372100"/>
              <a:ext cx="0" cy="3175"/>
            </a:xfrm>
            <a:custGeom>
              <a:avLst/>
              <a:gdLst/>
              <a:ahLst/>
              <a:cxnLst/>
              <a:rect l="0" t="0" r="r" b="b"/>
              <a:pathLst>
                <a:path w="21304" h="19041">
                  <a:moveTo>
                    <a:pt x="13752" y="4569"/>
                  </a:moveTo>
                  <a:cubicBezTo>
                    <a:pt x="5886" y="9563"/>
                    <a:pt x="0" y="15623"/>
                    <a:pt x="0" y="17899"/>
                  </a:cubicBezTo>
                  <a:cubicBezTo>
                    <a:pt x="0" y="20038"/>
                    <a:pt x="3364" y="19111"/>
                    <a:pt x="7866" y="15623"/>
                  </a:cubicBezTo>
                  <a:cubicBezTo>
                    <a:pt x="12070" y="12343"/>
                    <a:pt x="21302" y="6498"/>
                    <a:pt x="21302" y="2430"/>
                  </a:cubicBezTo>
                  <a:cubicBezTo>
                    <a:pt x="21302" y="-1562"/>
                    <a:pt x="21600" y="-488"/>
                    <a:pt x="13752" y="4569"/>
                  </a:cubicBezTo>
                  <a:close/>
                  <a:moveTo>
                    <a:pt x="13752" y="45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8" name="AutoShape 287"/>
            <p:cNvSpPr>
              <a:spLocks/>
            </p:cNvSpPr>
            <p:nvPr/>
          </p:nvSpPr>
          <p:spPr bwMode="auto">
            <a:xfrm>
              <a:off x="10502900" y="5257800"/>
              <a:ext cx="0" cy="3175"/>
            </a:xfrm>
            <a:custGeom>
              <a:avLst/>
              <a:gdLst/>
              <a:ahLst/>
              <a:cxnLst/>
              <a:rect l="0" t="0" r="r" b="b"/>
              <a:pathLst>
                <a:path w="17183" h="17883">
                  <a:moveTo>
                    <a:pt x="16130" y="443"/>
                  </a:moveTo>
                  <a:cubicBezTo>
                    <a:pt x="13075" y="-1469"/>
                    <a:pt x="10007" y="2960"/>
                    <a:pt x="3912" y="10727"/>
                  </a:cubicBezTo>
                  <a:cubicBezTo>
                    <a:pt x="-2211" y="18498"/>
                    <a:pt x="-888" y="20131"/>
                    <a:pt x="6080" y="14683"/>
                  </a:cubicBezTo>
                  <a:cubicBezTo>
                    <a:pt x="14821" y="9164"/>
                    <a:pt x="19389" y="2417"/>
                    <a:pt x="16130" y="443"/>
                  </a:cubicBezTo>
                  <a:close/>
                  <a:moveTo>
                    <a:pt x="16130" y="4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89" name="AutoShape 288"/>
            <p:cNvSpPr>
              <a:spLocks/>
            </p:cNvSpPr>
            <p:nvPr/>
          </p:nvSpPr>
          <p:spPr bwMode="auto">
            <a:xfrm>
              <a:off x="10452100" y="5346700"/>
              <a:ext cx="0" cy="3175"/>
            </a:xfrm>
            <a:custGeom>
              <a:avLst/>
              <a:gdLst/>
              <a:ahLst/>
              <a:cxnLst/>
              <a:rect l="0" t="0" r="r" b="b"/>
              <a:pathLst>
                <a:path w="17899" h="19335">
                  <a:moveTo>
                    <a:pt x="4736" y="2234"/>
                  </a:moveTo>
                  <a:cubicBezTo>
                    <a:pt x="580" y="5036"/>
                    <a:pt x="-2246" y="11248"/>
                    <a:pt x="2398" y="15920"/>
                  </a:cubicBezTo>
                  <a:cubicBezTo>
                    <a:pt x="4902" y="20811"/>
                    <a:pt x="8559" y="20258"/>
                    <a:pt x="14367" y="15480"/>
                  </a:cubicBezTo>
                  <a:cubicBezTo>
                    <a:pt x="16871" y="10314"/>
                    <a:pt x="19354" y="4051"/>
                    <a:pt x="16871" y="1631"/>
                  </a:cubicBezTo>
                  <a:cubicBezTo>
                    <a:pt x="15032" y="-789"/>
                    <a:pt x="10211" y="-456"/>
                    <a:pt x="4736" y="2234"/>
                  </a:cubicBezTo>
                  <a:close/>
                  <a:moveTo>
                    <a:pt x="4736" y="22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0" name="AutoShape 289"/>
            <p:cNvSpPr>
              <a:spLocks/>
            </p:cNvSpPr>
            <p:nvPr/>
          </p:nvSpPr>
          <p:spPr bwMode="auto">
            <a:xfrm>
              <a:off x="10439400" y="5232400"/>
              <a:ext cx="4763" cy="22225"/>
            </a:xfrm>
            <a:custGeom>
              <a:avLst/>
              <a:gdLst/>
              <a:ahLst/>
              <a:cxnLst/>
              <a:rect l="0" t="0" r="r" b="b"/>
              <a:pathLst>
                <a:path w="21188" h="21242">
                  <a:moveTo>
                    <a:pt x="21188" y="5826"/>
                  </a:moveTo>
                  <a:cubicBezTo>
                    <a:pt x="20437" y="2921"/>
                    <a:pt x="18445" y="392"/>
                    <a:pt x="16899" y="29"/>
                  </a:cubicBezTo>
                  <a:cubicBezTo>
                    <a:pt x="14950" y="-187"/>
                    <a:pt x="10910" y="846"/>
                    <a:pt x="7821" y="2412"/>
                  </a:cubicBezTo>
                  <a:cubicBezTo>
                    <a:pt x="4675" y="4022"/>
                    <a:pt x="1187" y="6325"/>
                    <a:pt x="389" y="7561"/>
                  </a:cubicBezTo>
                  <a:cubicBezTo>
                    <a:pt x="-412" y="8810"/>
                    <a:pt x="-7" y="10125"/>
                    <a:pt x="1885" y="10408"/>
                  </a:cubicBezTo>
                  <a:cubicBezTo>
                    <a:pt x="3482" y="10772"/>
                    <a:pt x="5676" y="13222"/>
                    <a:pt x="5676" y="15888"/>
                  </a:cubicBezTo>
                  <a:cubicBezTo>
                    <a:pt x="6421" y="18566"/>
                    <a:pt x="7771" y="21061"/>
                    <a:pt x="10012" y="21231"/>
                  </a:cubicBezTo>
                  <a:cubicBezTo>
                    <a:pt x="12310" y="21413"/>
                    <a:pt x="14950" y="19325"/>
                    <a:pt x="17943" y="16433"/>
                  </a:cubicBezTo>
                  <a:cubicBezTo>
                    <a:pt x="19442" y="13483"/>
                    <a:pt x="21188" y="8741"/>
                    <a:pt x="21188" y="5826"/>
                  </a:cubicBezTo>
                  <a:close/>
                  <a:moveTo>
                    <a:pt x="21188" y="58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1" name="AutoShape 290"/>
            <p:cNvSpPr>
              <a:spLocks/>
            </p:cNvSpPr>
            <p:nvPr/>
          </p:nvSpPr>
          <p:spPr bwMode="auto">
            <a:xfrm>
              <a:off x="10604500" y="5067300"/>
              <a:ext cx="12700" cy="17463"/>
            </a:xfrm>
            <a:custGeom>
              <a:avLst/>
              <a:gdLst/>
              <a:ahLst/>
              <a:cxnLst/>
              <a:rect l="0" t="0" r="r" b="b"/>
              <a:pathLst>
                <a:path w="21232" h="21405">
                  <a:moveTo>
                    <a:pt x="12090" y="2085"/>
                  </a:moveTo>
                  <a:cubicBezTo>
                    <a:pt x="10289" y="3180"/>
                    <a:pt x="9531" y="4958"/>
                    <a:pt x="10371" y="6053"/>
                  </a:cubicBezTo>
                  <a:cubicBezTo>
                    <a:pt x="11230" y="7131"/>
                    <a:pt x="11701" y="9013"/>
                    <a:pt x="11435" y="10224"/>
                  </a:cubicBezTo>
                  <a:cubicBezTo>
                    <a:pt x="11188" y="11419"/>
                    <a:pt x="8694" y="13447"/>
                    <a:pt x="5912" y="14715"/>
                  </a:cubicBezTo>
                  <a:cubicBezTo>
                    <a:pt x="3109" y="15985"/>
                    <a:pt x="469" y="17866"/>
                    <a:pt x="62" y="18886"/>
                  </a:cubicBezTo>
                  <a:cubicBezTo>
                    <a:pt x="-368" y="19908"/>
                    <a:pt x="1495" y="20987"/>
                    <a:pt x="4194" y="21294"/>
                  </a:cubicBezTo>
                  <a:cubicBezTo>
                    <a:pt x="6913" y="21600"/>
                    <a:pt x="10677" y="21249"/>
                    <a:pt x="12518" y="20535"/>
                  </a:cubicBezTo>
                  <a:cubicBezTo>
                    <a:pt x="14236" y="19849"/>
                    <a:pt x="16017" y="18873"/>
                    <a:pt x="16835" y="18187"/>
                  </a:cubicBezTo>
                  <a:cubicBezTo>
                    <a:pt x="18308" y="12120"/>
                    <a:pt x="19801" y="6067"/>
                    <a:pt x="21232" y="0"/>
                  </a:cubicBezTo>
                  <a:cubicBezTo>
                    <a:pt x="21192" y="0"/>
                    <a:pt x="21172" y="0"/>
                    <a:pt x="21150" y="0"/>
                  </a:cubicBezTo>
                  <a:cubicBezTo>
                    <a:pt x="17940" y="58"/>
                    <a:pt x="13827" y="1007"/>
                    <a:pt x="12090" y="2085"/>
                  </a:cubicBezTo>
                  <a:close/>
                  <a:moveTo>
                    <a:pt x="12090" y="20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2" name="AutoShape 291"/>
            <p:cNvSpPr>
              <a:spLocks/>
            </p:cNvSpPr>
            <p:nvPr/>
          </p:nvSpPr>
          <p:spPr bwMode="auto">
            <a:xfrm>
              <a:off x="10439400" y="5156200"/>
              <a:ext cx="4763" cy="26988"/>
            </a:xfrm>
            <a:custGeom>
              <a:avLst/>
              <a:gdLst/>
              <a:ahLst/>
              <a:cxnLst/>
              <a:rect l="0" t="0" r="r" b="b"/>
              <a:pathLst>
                <a:path w="20130" h="21064">
                  <a:moveTo>
                    <a:pt x="9191" y="1173"/>
                  </a:moveTo>
                  <a:cubicBezTo>
                    <a:pt x="7841" y="2000"/>
                    <a:pt x="4608" y="2818"/>
                    <a:pt x="2586" y="3084"/>
                  </a:cubicBezTo>
                  <a:cubicBezTo>
                    <a:pt x="223" y="3235"/>
                    <a:pt x="-985" y="4651"/>
                    <a:pt x="995" y="5925"/>
                  </a:cubicBezTo>
                  <a:cubicBezTo>
                    <a:pt x="1715" y="7275"/>
                    <a:pt x="1959" y="9508"/>
                    <a:pt x="1959" y="10952"/>
                  </a:cubicBezTo>
                  <a:cubicBezTo>
                    <a:pt x="654" y="12358"/>
                    <a:pt x="1715" y="13727"/>
                    <a:pt x="3068" y="13727"/>
                  </a:cubicBezTo>
                  <a:cubicBezTo>
                    <a:pt x="4032" y="13917"/>
                    <a:pt x="5575" y="15656"/>
                    <a:pt x="5575" y="17785"/>
                  </a:cubicBezTo>
                  <a:cubicBezTo>
                    <a:pt x="5575" y="19913"/>
                    <a:pt x="7118" y="21405"/>
                    <a:pt x="7793" y="20996"/>
                  </a:cubicBezTo>
                  <a:cubicBezTo>
                    <a:pt x="8465" y="20597"/>
                    <a:pt x="11599" y="18897"/>
                    <a:pt x="13145" y="17091"/>
                  </a:cubicBezTo>
                  <a:cubicBezTo>
                    <a:pt x="15218" y="15313"/>
                    <a:pt x="17677" y="13033"/>
                    <a:pt x="18934" y="12017"/>
                  </a:cubicBezTo>
                  <a:cubicBezTo>
                    <a:pt x="20615" y="11028"/>
                    <a:pt x="20473" y="9403"/>
                    <a:pt x="18834" y="8453"/>
                  </a:cubicBezTo>
                  <a:cubicBezTo>
                    <a:pt x="17436" y="7484"/>
                    <a:pt x="16182" y="5279"/>
                    <a:pt x="16182" y="3540"/>
                  </a:cubicBezTo>
                  <a:cubicBezTo>
                    <a:pt x="15504" y="1811"/>
                    <a:pt x="15263" y="185"/>
                    <a:pt x="14013" y="62"/>
                  </a:cubicBezTo>
                  <a:cubicBezTo>
                    <a:pt x="13386" y="-195"/>
                    <a:pt x="10779" y="385"/>
                    <a:pt x="9191" y="1173"/>
                  </a:cubicBezTo>
                  <a:close/>
                  <a:moveTo>
                    <a:pt x="9191" y="11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3" name="AutoShape 292"/>
            <p:cNvSpPr>
              <a:spLocks/>
            </p:cNvSpPr>
            <p:nvPr/>
          </p:nvSpPr>
          <p:spPr bwMode="auto">
            <a:xfrm>
              <a:off x="10439400" y="5219700"/>
              <a:ext cx="1588" cy="7938"/>
            </a:xfrm>
            <a:custGeom>
              <a:avLst/>
              <a:gdLst/>
              <a:ahLst/>
              <a:cxnLst/>
              <a:rect l="0" t="0" r="r" b="b"/>
              <a:pathLst>
                <a:path w="20427" h="19926">
                  <a:moveTo>
                    <a:pt x="6754" y="6713"/>
                  </a:moveTo>
                  <a:cubicBezTo>
                    <a:pt x="2605" y="11126"/>
                    <a:pt x="-1173" y="16538"/>
                    <a:pt x="342" y="18651"/>
                  </a:cubicBezTo>
                  <a:cubicBezTo>
                    <a:pt x="1850" y="20843"/>
                    <a:pt x="5151" y="20139"/>
                    <a:pt x="9765" y="17079"/>
                  </a:cubicBezTo>
                  <a:cubicBezTo>
                    <a:pt x="14298" y="13994"/>
                    <a:pt x="17781" y="9177"/>
                    <a:pt x="20427" y="6524"/>
                  </a:cubicBezTo>
                  <a:cubicBezTo>
                    <a:pt x="20427" y="3789"/>
                    <a:pt x="20050" y="1164"/>
                    <a:pt x="18912" y="163"/>
                  </a:cubicBezTo>
                  <a:cubicBezTo>
                    <a:pt x="17309" y="-757"/>
                    <a:pt x="11374" y="2328"/>
                    <a:pt x="6754" y="6713"/>
                  </a:cubicBezTo>
                  <a:close/>
                  <a:moveTo>
                    <a:pt x="6754" y="67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4" name="AutoShape 293"/>
            <p:cNvSpPr>
              <a:spLocks/>
            </p:cNvSpPr>
            <p:nvPr/>
          </p:nvSpPr>
          <p:spPr bwMode="auto">
            <a:xfrm>
              <a:off x="10452100" y="5270500"/>
              <a:ext cx="1588" cy="6350"/>
            </a:xfrm>
            <a:custGeom>
              <a:avLst/>
              <a:gdLst/>
              <a:ahLst/>
              <a:cxnLst/>
              <a:rect l="0" t="0" r="r" b="b"/>
              <a:pathLst>
                <a:path w="19923" h="19355">
                  <a:moveTo>
                    <a:pt x="19326" y="8062"/>
                  </a:moveTo>
                  <a:cubicBezTo>
                    <a:pt x="17231" y="1128"/>
                    <a:pt x="14796" y="-1827"/>
                    <a:pt x="8163" y="1159"/>
                  </a:cubicBezTo>
                  <a:cubicBezTo>
                    <a:pt x="2878" y="4250"/>
                    <a:pt x="0" y="9331"/>
                    <a:pt x="0" y="12423"/>
                  </a:cubicBezTo>
                  <a:cubicBezTo>
                    <a:pt x="1812" y="15412"/>
                    <a:pt x="6653" y="18296"/>
                    <a:pt x="11031" y="19327"/>
                  </a:cubicBezTo>
                  <a:cubicBezTo>
                    <a:pt x="17071" y="19773"/>
                    <a:pt x="21600" y="15001"/>
                    <a:pt x="19326" y="8062"/>
                  </a:cubicBezTo>
                  <a:close/>
                  <a:moveTo>
                    <a:pt x="19326" y="806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5" name="AutoShape 294"/>
            <p:cNvSpPr>
              <a:spLocks/>
            </p:cNvSpPr>
            <p:nvPr/>
          </p:nvSpPr>
          <p:spPr bwMode="auto">
            <a:xfrm>
              <a:off x="10452100" y="5283200"/>
              <a:ext cx="0" cy="3175"/>
            </a:xfrm>
            <a:custGeom>
              <a:avLst/>
              <a:gdLst/>
              <a:ahLst/>
              <a:cxnLst/>
              <a:rect l="0" t="0" r="r" b="b"/>
              <a:pathLst>
                <a:path w="16516" h="18105">
                  <a:moveTo>
                    <a:pt x="14917" y="299"/>
                  </a:moveTo>
                  <a:cubicBezTo>
                    <a:pt x="10658" y="-1277"/>
                    <a:pt x="4269" y="3509"/>
                    <a:pt x="1987" y="11397"/>
                  </a:cubicBezTo>
                  <a:cubicBezTo>
                    <a:pt x="-2424" y="19019"/>
                    <a:pt x="770" y="20323"/>
                    <a:pt x="8975" y="14394"/>
                  </a:cubicBezTo>
                  <a:cubicBezTo>
                    <a:pt x="14147" y="7971"/>
                    <a:pt x="19176" y="1770"/>
                    <a:pt x="14917" y="299"/>
                  </a:cubicBezTo>
                  <a:close/>
                  <a:moveTo>
                    <a:pt x="14917" y="2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6" name="AutoShape 295"/>
            <p:cNvSpPr>
              <a:spLocks/>
            </p:cNvSpPr>
            <p:nvPr/>
          </p:nvSpPr>
          <p:spPr bwMode="auto">
            <a:xfrm>
              <a:off x="10452100" y="5143500"/>
              <a:ext cx="0" cy="1588"/>
            </a:xfrm>
            <a:custGeom>
              <a:avLst/>
              <a:gdLst/>
              <a:ahLst/>
              <a:cxnLst/>
              <a:rect l="0" t="0" r="r" b="b"/>
              <a:pathLst>
                <a:path w="17584" h="17564">
                  <a:moveTo>
                    <a:pt x="17038" y="7551"/>
                  </a:moveTo>
                  <a:cubicBezTo>
                    <a:pt x="17038" y="-311"/>
                    <a:pt x="11415" y="-2070"/>
                    <a:pt x="3602" y="2445"/>
                  </a:cubicBezTo>
                  <a:cubicBezTo>
                    <a:pt x="-1001" y="7944"/>
                    <a:pt x="-2011" y="13837"/>
                    <a:pt x="5483" y="16685"/>
                  </a:cubicBezTo>
                  <a:cubicBezTo>
                    <a:pt x="12775" y="19530"/>
                    <a:pt x="19589" y="15206"/>
                    <a:pt x="17038" y="7551"/>
                  </a:cubicBezTo>
                  <a:close/>
                  <a:moveTo>
                    <a:pt x="17038" y="75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7" name="AutoShape 296"/>
            <p:cNvSpPr>
              <a:spLocks/>
            </p:cNvSpPr>
            <p:nvPr/>
          </p:nvSpPr>
          <p:spPr bwMode="auto">
            <a:xfrm>
              <a:off x="10528300" y="5372100"/>
              <a:ext cx="1588" cy="4763"/>
            </a:xfrm>
            <a:custGeom>
              <a:avLst/>
              <a:gdLst/>
              <a:ahLst/>
              <a:cxnLst/>
              <a:rect l="0" t="0" r="r" b="b"/>
              <a:pathLst>
                <a:path w="20118" h="20454">
                  <a:moveTo>
                    <a:pt x="17012" y="2069"/>
                  </a:moveTo>
                  <a:cubicBezTo>
                    <a:pt x="14886" y="4048"/>
                    <a:pt x="10518" y="9355"/>
                    <a:pt x="5718" y="13731"/>
                  </a:cubicBezTo>
                  <a:cubicBezTo>
                    <a:pt x="1492" y="18197"/>
                    <a:pt x="-1482" y="21060"/>
                    <a:pt x="777" y="20344"/>
                  </a:cubicBezTo>
                  <a:cubicBezTo>
                    <a:pt x="2180" y="19460"/>
                    <a:pt x="6283" y="16973"/>
                    <a:pt x="8250" y="14620"/>
                  </a:cubicBezTo>
                  <a:cubicBezTo>
                    <a:pt x="10377" y="12175"/>
                    <a:pt x="14321" y="8596"/>
                    <a:pt x="16156" y="6406"/>
                  </a:cubicBezTo>
                  <a:cubicBezTo>
                    <a:pt x="18556" y="4258"/>
                    <a:pt x="20118" y="1607"/>
                    <a:pt x="20118" y="513"/>
                  </a:cubicBezTo>
                  <a:cubicBezTo>
                    <a:pt x="20118" y="-540"/>
                    <a:pt x="17012" y="51"/>
                    <a:pt x="17012" y="2069"/>
                  </a:cubicBezTo>
                  <a:close/>
                  <a:moveTo>
                    <a:pt x="17012" y="20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8" name="AutoShape 297"/>
            <p:cNvSpPr>
              <a:spLocks/>
            </p:cNvSpPr>
            <p:nvPr/>
          </p:nvSpPr>
          <p:spPr bwMode="auto">
            <a:xfrm>
              <a:off x="10553700" y="5219700"/>
              <a:ext cx="1588" cy="7938"/>
            </a:xfrm>
            <a:custGeom>
              <a:avLst/>
              <a:gdLst/>
              <a:ahLst/>
              <a:cxnLst/>
              <a:rect l="0" t="0" r="r" b="b"/>
              <a:pathLst>
                <a:path w="20428" h="20716">
                  <a:moveTo>
                    <a:pt x="17052" y="1810"/>
                  </a:moveTo>
                  <a:cubicBezTo>
                    <a:pt x="14406" y="3399"/>
                    <a:pt x="7929" y="8470"/>
                    <a:pt x="5889" y="13176"/>
                  </a:cubicBezTo>
                  <a:cubicBezTo>
                    <a:pt x="0" y="17728"/>
                    <a:pt x="0" y="21210"/>
                    <a:pt x="0" y="20659"/>
                  </a:cubicBezTo>
                  <a:cubicBezTo>
                    <a:pt x="0" y="20140"/>
                    <a:pt x="4410" y="15557"/>
                    <a:pt x="10878" y="10639"/>
                  </a:cubicBezTo>
                  <a:cubicBezTo>
                    <a:pt x="15288" y="5629"/>
                    <a:pt x="20139" y="924"/>
                    <a:pt x="20139" y="252"/>
                  </a:cubicBezTo>
                  <a:cubicBezTo>
                    <a:pt x="21600" y="-390"/>
                    <a:pt x="17052" y="220"/>
                    <a:pt x="17052" y="1810"/>
                  </a:cubicBezTo>
                  <a:close/>
                  <a:moveTo>
                    <a:pt x="17052" y="181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299" name="AutoShape 298"/>
            <p:cNvSpPr>
              <a:spLocks/>
            </p:cNvSpPr>
            <p:nvPr/>
          </p:nvSpPr>
          <p:spPr bwMode="auto">
            <a:xfrm>
              <a:off x="10541000" y="5219700"/>
              <a:ext cx="3175" cy="19050"/>
            </a:xfrm>
            <a:custGeom>
              <a:avLst/>
              <a:gdLst/>
              <a:ahLst/>
              <a:cxnLst/>
              <a:rect l="0" t="0" r="r" b="b"/>
              <a:pathLst>
                <a:path w="21185" h="21064">
                  <a:moveTo>
                    <a:pt x="13525" y="6185"/>
                  </a:moveTo>
                  <a:cubicBezTo>
                    <a:pt x="10888" y="8715"/>
                    <a:pt x="6403" y="12732"/>
                    <a:pt x="4608" y="15143"/>
                  </a:cubicBezTo>
                  <a:cubicBezTo>
                    <a:pt x="2749" y="17566"/>
                    <a:pt x="0" y="20044"/>
                    <a:pt x="0" y="20713"/>
                  </a:cubicBezTo>
                  <a:cubicBezTo>
                    <a:pt x="0" y="21396"/>
                    <a:pt x="1496" y="21061"/>
                    <a:pt x="2513" y="19897"/>
                  </a:cubicBezTo>
                  <a:cubicBezTo>
                    <a:pt x="4847" y="18852"/>
                    <a:pt x="6882" y="16482"/>
                    <a:pt x="8614" y="14741"/>
                  </a:cubicBezTo>
                  <a:cubicBezTo>
                    <a:pt x="10349" y="13027"/>
                    <a:pt x="12683" y="9278"/>
                    <a:pt x="16214" y="6506"/>
                  </a:cubicBezTo>
                  <a:cubicBezTo>
                    <a:pt x="18069" y="3653"/>
                    <a:pt x="20343" y="908"/>
                    <a:pt x="21121" y="372"/>
                  </a:cubicBezTo>
                  <a:cubicBezTo>
                    <a:pt x="21121" y="-204"/>
                    <a:pt x="21600" y="-69"/>
                    <a:pt x="19928" y="493"/>
                  </a:cubicBezTo>
                  <a:cubicBezTo>
                    <a:pt x="18372" y="1015"/>
                    <a:pt x="16274" y="3681"/>
                    <a:pt x="13525" y="6185"/>
                  </a:cubicBezTo>
                  <a:close/>
                  <a:moveTo>
                    <a:pt x="13525" y="61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0" name="AutoShape 299"/>
            <p:cNvSpPr>
              <a:spLocks/>
            </p:cNvSpPr>
            <p:nvPr/>
          </p:nvSpPr>
          <p:spPr bwMode="auto">
            <a:xfrm>
              <a:off x="10553700" y="5295900"/>
              <a:ext cx="0" cy="1588"/>
            </a:xfrm>
            <a:custGeom>
              <a:avLst/>
              <a:gdLst/>
              <a:ahLst/>
              <a:cxnLst/>
              <a:rect l="0" t="0" r="r" b="b"/>
              <a:pathLst>
                <a:path w="19549" h="19636">
                  <a:moveTo>
                    <a:pt x="4702" y="17185"/>
                  </a:moveTo>
                  <a:cubicBezTo>
                    <a:pt x="11256" y="12513"/>
                    <a:pt x="19249" y="5389"/>
                    <a:pt x="19249" y="1778"/>
                  </a:cubicBezTo>
                  <a:cubicBezTo>
                    <a:pt x="19249" y="-1964"/>
                    <a:pt x="21600" y="487"/>
                    <a:pt x="13136" y="6440"/>
                  </a:cubicBezTo>
                  <a:cubicBezTo>
                    <a:pt x="6583" y="11338"/>
                    <a:pt x="1881" y="16361"/>
                    <a:pt x="0" y="19636"/>
                  </a:cubicBezTo>
                  <a:cubicBezTo>
                    <a:pt x="1381" y="18702"/>
                    <a:pt x="2351" y="18345"/>
                    <a:pt x="4702" y="17185"/>
                  </a:cubicBezTo>
                  <a:close/>
                  <a:moveTo>
                    <a:pt x="4702" y="171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1" name="AutoShape 300"/>
            <p:cNvSpPr>
              <a:spLocks/>
            </p:cNvSpPr>
            <p:nvPr/>
          </p:nvSpPr>
          <p:spPr bwMode="auto">
            <a:xfrm>
              <a:off x="10541000" y="5295900"/>
              <a:ext cx="1588" cy="9525"/>
            </a:xfrm>
            <a:custGeom>
              <a:avLst/>
              <a:gdLst/>
              <a:ahLst/>
              <a:cxnLst/>
              <a:rect l="0" t="0" r="r" b="b"/>
              <a:pathLst>
                <a:path w="20323" h="21089">
                  <a:moveTo>
                    <a:pt x="7699" y="11136"/>
                  </a:moveTo>
                  <a:cubicBezTo>
                    <a:pt x="7699" y="11759"/>
                    <a:pt x="6519" y="13354"/>
                    <a:pt x="4975" y="14652"/>
                  </a:cubicBezTo>
                  <a:cubicBezTo>
                    <a:pt x="2893" y="15895"/>
                    <a:pt x="1350" y="17924"/>
                    <a:pt x="1350" y="19060"/>
                  </a:cubicBezTo>
                  <a:cubicBezTo>
                    <a:pt x="-1277" y="19871"/>
                    <a:pt x="805" y="21086"/>
                    <a:pt x="442" y="21086"/>
                  </a:cubicBezTo>
                  <a:cubicBezTo>
                    <a:pt x="442" y="21194"/>
                    <a:pt x="2893" y="18600"/>
                    <a:pt x="6615" y="15626"/>
                  </a:cubicBezTo>
                  <a:cubicBezTo>
                    <a:pt x="9242" y="12570"/>
                    <a:pt x="14598" y="8245"/>
                    <a:pt x="15966" y="5812"/>
                  </a:cubicBezTo>
                  <a:cubicBezTo>
                    <a:pt x="17322" y="3407"/>
                    <a:pt x="20323" y="973"/>
                    <a:pt x="20323" y="270"/>
                  </a:cubicBezTo>
                  <a:cubicBezTo>
                    <a:pt x="20323" y="-406"/>
                    <a:pt x="20232" y="242"/>
                    <a:pt x="17963" y="1593"/>
                  </a:cubicBezTo>
                  <a:cubicBezTo>
                    <a:pt x="15149" y="2864"/>
                    <a:pt x="14326" y="3703"/>
                    <a:pt x="15239" y="3407"/>
                  </a:cubicBezTo>
                  <a:cubicBezTo>
                    <a:pt x="15239" y="3028"/>
                    <a:pt x="15052" y="4459"/>
                    <a:pt x="11880" y="6352"/>
                  </a:cubicBezTo>
                  <a:cubicBezTo>
                    <a:pt x="9242" y="8354"/>
                    <a:pt x="9157" y="10704"/>
                    <a:pt x="7699" y="11136"/>
                  </a:cubicBezTo>
                  <a:close/>
                  <a:moveTo>
                    <a:pt x="7699" y="1113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2" name="AutoShape 301"/>
            <p:cNvSpPr>
              <a:spLocks/>
            </p:cNvSpPr>
            <p:nvPr/>
          </p:nvSpPr>
          <p:spPr bwMode="auto">
            <a:xfrm>
              <a:off x="10541000" y="5308600"/>
              <a:ext cx="0" cy="0"/>
            </a:xfrm>
            <a:custGeom>
              <a:avLst/>
              <a:gdLst/>
              <a:ahLst/>
              <a:cxnLst/>
              <a:rect l="0" t="0" r="r" b="b"/>
              <a:pathLst>
                <a:path w="17569" h="16865">
                  <a:moveTo>
                    <a:pt x="3399" y="14430"/>
                  </a:moveTo>
                  <a:cubicBezTo>
                    <a:pt x="2337" y="15181"/>
                    <a:pt x="1204" y="16144"/>
                    <a:pt x="0" y="16865"/>
                  </a:cubicBezTo>
                  <a:cubicBezTo>
                    <a:pt x="5736" y="12495"/>
                    <a:pt x="10269" y="8618"/>
                    <a:pt x="17068" y="6676"/>
                  </a:cubicBezTo>
                  <a:cubicBezTo>
                    <a:pt x="17068" y="-4735"/>
                    <a:pt x="21600" y="-1108"/>
                    <a:pt x="3399" y="14430"/>
                  </a:cubicBezTo>
                  <a:close/>
                  <a:moveTo>
                    <a:pt x="3399" y="144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3" name="AutoShape 302"/>
            <p:cNvSpPr>
              <a:spLocks/>
            </p:cNvSpPr>
            <p:nvPr/>
          </p:nvSpPr>
          <p:spPr bwMode="auto">
            <a:xfrm>
              <a:off x="10541000" y="5308600"/>
              <a:ext cx="0" cy="3175"/>
            </a:xfrm>
            <a:custGeom>
              <a:avLst/>
              <a:gdLst/>
              <a:ahLst/>
              <a:cxnLst/>
              <a:rect l="0" t="0" r="r" b="b"/>
              <a:pathLst>
                <a:path w="21600" h="19052">
                  <a:moveTo>
                    <a:pt x="13754" y="6146"/>
                  </a:moveTo>
                  <a:cubicBezTo>
                    <a:pt x="5635" y="11515"/>
                    <a:pt x="0" y="17364"/>
                    <a:pt x="0" y="18667"/>
                  </a:cubicBezTo>
                  <a:cubicBezTo>
                    <a:pt x="0" y="19976"/>
                    <a:pt x="1859" y="17841"/>
                    <a:pt x="7826" y="13855"/>
                  </a:cubicBezTo>
                  <a:cubicBezTo>
                    <a:pt x="12209" y="9931"/>
                    <a:pt x="15320" y="4082"/>
                    <a:pt x="21600" y="1328"/>
                  </a:cubicBezTo>
                  <a:cubicBezTo>
                    <a:pt x="21600" y="-1624"/>
                    <a:pt x="19076" y="502"/>
                    <a:pt x="13754" y="6146"/>
                  </a:cubicBezTo>
                  <a:close/>
                  <a:moveTo>
                    <a:pt x="13754" y="61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4" name="AutoShape 303"/>
            <p:cNvSpPr>
              <a:spLocks/>
            </p:cNvSpPr>
            <p:nvPr/>
          </p:nvSpPr>
          <p:spPr bwMode="auto">
            <a:xfrm>
              <a:off x="10541000" y="5308600"/>
              <a:ext cx="3175" cy="11113"/>
            </a:xfrm>
            <a:custGeom>
              <a:avLst/>
              <a:gdLst/>
              <a:ahLst/>
              <a:cxnLst/>
              <a:rect l="0" t="0" r="r" b="b"/>
              <a:pathLst>
                <a:path w="20834" h="21022">
                  <a:moveTo>
                    <a:pt x="10454" y="9112"/>
                  </a:moveTo>
                  <a:cubicBezTo>
                    <a:pt x="10454" y="10124"/>
                    <a:pt x="7195" y="12809"/>
                    <a:pt x="4922" y="15139"/>
                  </a:cubicBezTo>
                  <a:cubicBezTo>
                    <a:pt x="2885" y="17536"/>
                    <a:pt x="0" y="19957"/>
                    <a:pt x="0" y="20682"/>
                  </a:cubicBezTo>
                  <a:cubicBezTo>
                    <a:pt x="0" y="21365"/>
                    <a:pt x="909" y="20991"/>
                    <a:pt x="1819" y="19825"/>
                  </a:cubicBezTo>
                  <a:cubicBezTo>
                    <a:pt x="3789" y="18725"/>
                    <a:pt x="7119" y="16415"/>
                    <a:pt x="7119" y="14700"/>
                  </a:cubicBezTo>
                  <a:cubicBezTo>
                    <a:pt x="9327" y="13072"/>
                    <a:pt x="12808" y="9245"/>
                    <a:pt x="15082" y="6231"/>
                  </a:cubicBezTo>
                  <a:cubicBezTo>
                    <a:pt x="17356" y="3218"/>
                    <a:pt x="20539" y="490"/>
                    <a:pt x="20539" y="74"/>
                  </a:cubicBezTo>
                  <a:cubicBezTo>
                    <a:pt x="21600" y="-235"/>
                    <a:pt x="19554" y="447"/>
                    <a:pt x="18341" y="1855"/>
                  </a:cubicBezTo>
                  <a:cubicBezTo>
                    <a:pt x="16143" y="3130"/>
                    <a:pt x="15764" y="4648"/>
                    <a:pt x="15082" y="4648"/>
                  </a:cubicBezTo>
                  <a:cubicBezTo>
                    <a:pt x="15688" y="4648"/>
                    <a:pt x="13031" y="5396"/>
                    <a:pt x="13031" y="6098"/>
                  </a:cubicBezTo>
                  <a:cubicBezTo>
                    <a:pt x="13031" y="6804"/>
                    <a:pt x="11520" y="8146"/>
                    <a:pt x="10454" y="9112"/>
                  </a:cubicBezTo>
                  <a:close/>
                  <a:moveTo>
                    <a:pt x="10454" y="91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5" name="AutoShape 304"/>
            <p:cNvSpPr>
              <a:spLocks/>
            </p:cNvSpPr>
            <p:nvPr/>
          </p:nvSpPr>
          <p:spPr bwMode="auto">
            <a:xfrm>
              <a:off x="10553700" y="5257800"/>
              <a:ext cx="1588" cy="14288"/>
            </a:xfrm>
            <a:custGeom>
              <a:avLst/>
              <a:gdLst/>
              <a:ahLst/>
              <a:cxnLst/>
              <a:rect l="0" t="0" r="r" b="b"/>
              <a:pathLst>
                <a:path w="20921" h="20903">
                  <a:moveTo>
                    <a:pt x="20921" y="0"/>
                  </a:moveTo>
                  <a:cubicBezTo>
                    <a:pt x="18827" y="1166"/>
                    <a:pt x="17158" y="3110"/>
                    <a:pt x="15986" y="4667"/>
                  </a:cubicBezTo>
                  <a:cubicBezTo>
                    <a:pt x="13384" y="6274"/>
                    <a:pt x="10710" y="8873"/>
                    <a:pt x="9621" y="10341"/>
                  </a:cubicBezTo>
                  <a:cubicBezTo>
                    <a:pt x="8198" y="11808"/>
                    <a:pt x="4597" y="14018"/>
                    <a:pt x="4597" y="15272"/>
                  </a:cubicBezTo>
                  <a:cubicBezTo>
                    <a:pt x="3173" y="16528"/>
                    <a:pt x="3000" y="18825"/>
                    <a:pt x="410" y="20168"/>
                  </a:cubicBezTo>
                  <a:cubicBezTo>
                    <a:pt x="-679" y="21600"/>
                    <a:pt x="488" y="20876"/>
                    <a:pt x="2922" y="18543"/>
                  </a:cubicBezTo>
                  <a:cubicBezTo>
                    <a:pt x="5434" y="16210"/>
                    <a:pt x="8867" y="12868"/>
                    <a:pt x="11547" y="11207"/>
                  </a:cubicBezTo>
                  <a:cubicBezTo>
                    <a:pt x="13803" y="9527"/>
                    <a:pt x="15897" y="5638"/>
                    <a:pt x="19670" y="2775"/>
                  </a:cubicBezTo>
                  <a:cubicBezTo>
                    <a:pt x="20167" y="1521"/>
                    <a:pt x="20586" y="618"/>
                    <a:pt x="20921" y="0"/>
                  </a:cubicBezTo>
                  <a:close/>
                  <a:moveTo>
                    <a:pt x="20921"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6" name="AutoShape 305"/>
            <p:cNvSpPr>
              <a:spLocks/>
            </p:cNvSpPr>
            <p:nvPr/>
          </p:nvSpPr>
          <p:spPr bwMode="auto">
            <a:xfrm>
              <a:off x="10528300" y="5346700"/>
              <a:ext cx="0" cy="3175"/>
            </a:xfrm>
            <a:custGeom>
              <a:avLst/>
              <a:gdLst/>
              <a:ahLst/>
              <a:cxnLst/>
              <a:rect l="0" t="0" r="r" b="b"/>
              <a:pathLst>
                <a:path w="20117" h="19418">
                  <a:moveTo>
                    <a:pt x="7871" y="10211"/>
                  </a:moveTo>
                  <a:cubicBezTo>
                    <a:pt x="2046" y="16831"/>
                    <a:pt x="-1483" y="20775"/>
                    <a:pt x="606" y="18988"/>
                  </a:cubicBezTo>
                  <a:cubicBezTo>
                    <a:pt x="606" y="16992"/>
                    <a:pt x="9933" y="12735"/>
                    <a:pt x="12852" y="8952"/>
                  </a:cubicBezTo>
                  <a:cubicBezTo>
                    <a:pt x="17821" y="5218"/>
                    <a:pt x="20117" y="1172"/>
                    <a:pt x="20117" y="122"/>
                  </a:cubicBezTo>
                  <a:cubicBezTo>
                    <a:pt x="20117" y="-825"/>
                    <a:pt x="17211" y="3852"/>
                    <a:pt x="7871" y="10211"/>
                  </a:cubicBezTo>
                  <a:close/>
                  <a:moveTo>
                    <a:pt x="7871" y="102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7" name="AutoShape 306"/>
            <p:cNvSpPr>
              <a:spLocks/>
            </p:cNvSpPr>
            <p:nvPr/>
          </p:nvSpPr>
          <p:spPr bwMode="auto">
            <a:xfrm>
              <a:off x="10528300" y="5334000"/>
              <a:ext cx="1588" cy="7938"/>
            </a:xfrm>
            <a:custGeom>
              <a:avLst/>
              <a:gdLst/>
              <a:ahLst/>
              <a:cxnLst/>
              <a:rect l="0" t="0" r="r" b="b"/>
              <a:pathLst>
                <a:path w="19843" h="20146">
                  <a:moveTo>
                    <a:pt x="17127" y="3601"/>
                  </a:moveTo>
                  <a:cubicBezTo>
                    <a:pt x="20082" y="2005"/>
                    <a:pt x="20316" y="10"/>
                    <a:pt x="19293" y="10"/>
                  </a:cubicBezTo>
                  <a:cubicBezTo>
                    <a:pt x="20082" y="-204"/>
                    <a:pt x="16566" y="3293"/>
                    <a:pt x="10315" y="7465"/>
                  </a:cubicBezTo>
                  <a:cubicBezTo>
                    <a:pt x="7133" y="11914"/>
                    <a:pt x="1671" y="17129"/>
                    <a:pt x="428" y="19278"/>
                  </a:cubicBezTo>
                  <a:cubicBezTo>
                    <a:pt x="-1284" y="21396"/>
                    <a:pt x="2473" y="19523"/>
                    <a:pt x="5769" y="14952"/>
                  </a:cubicBezTo>
                  <a:cubicBezTo>
                    <a:pt x="9520" y="10412"/>
                    <a:pt x="17127" y="5379"/>
                    <a:pt x="17127" y="3601"/>
                  </a:cubicBezTo>
                  <a:close/>
                  <a:moveTo>
                    <a:pt x="17127" y="36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8" name="AutoShape 307"/>
            <p:cNvSpPr>
              <a:spLocks/>
            </p:cNvSpPr>
            <p:nvPr/>
          </p:nvSpPr>
          <p:spPr bwMode="auto">
            <a:xfrm>
              <a:off x="10528300" y="5372100"/>
              <a:ext cx="3175" cy="12700"/>
            </a:xfrm>
            <a:custGeom>
              <a:avLst/>
              <a:gdLst/>
              <a:ahLst/>
              <a:cxnLst/>
              <a:rect l="0" t="0" r="r" b="b"/>
              <a:pathLst>
                <a:path w="20848" h="20974">
                  <a:moveTo>
                    <a:pt x="16291" y="4405"/>
                  </a:moveTo>
                  <a:cubicBezTo>
                    <a:pt x="17309" y="4405"/>
                    <a:pt x="14274" y="7000"/>
                    <a:pt x="11242" y="9383"/>
                  </a:cubicBezTo>
                  <a:cubicBezTo>
                    <a:pt x="9411" y="11921"/>
                    <a:pt x="4863" y="15413"/>
                    <a:pt x="3095" y="17302"/>
                  </a:cubicBezTo>
                  <a:cubicBezTo>
                    <a:pt x="1074" y="19135"/>
                    <a:pt x="505" y="20966"/>
                    <a:pt x="0" y="20966"/>
                  </a:cubicBezTo>
                  <a:cubicBezTo>
                    <a:pt x="0" y="21138"/>
                    <a:pt x="3659" y="18639"/>
                    <a:pt x="6632" y="15337"/>
                  </a:cubicBezTo>
                  <a:cubicBezTo>
                    <a:pt x="10484" y="12152"/>
                    <a:pt x="15154" y="7973"/>
                    <a:pt x="16038" y="6046"/>
                  </a:cubicBezTo>
                  <a:cubicBezTo>
                    <a:pt x="17112" y="4137"/>
                    <a:pt x="18943" y="1656"/>
                    <a:pt x="20653" y="646"/>
                  </a:cubicBezTo>
                  <a:cubicBezTo>
                    <a:pt x="20653" y="-462"/>
                    <a:pt x="21600" y="-79"/>
                    <a:pt x="19326" y="1294"/>
                  </a:cubicBezTo>
                  <a:cubicBezTo>
                    <a:pt x="17558" y="2668"/>
                    <a:pt x="16291" y="4098"/>
                    <a:pt x="16291" y="4405"/>
                  </a:cubicBezTo>
                  <a:close/>
                  <a:moveTo>
                    <a:pt x="16291" y="44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09" name="AutoShape 308"/>
            <p:cNvSpPr>
              <a:spLocks/>
            </p:cNvSpPr>
            <p:nvPr/>
          </p:nvSpPr>
          <p:spPr bwMode="auto">
            <a:xfrm>
              <a:off x="10553700" y="5257800"/>
              <a:ext cx="0" cy="0"/>
            </a:xfrm>
            <a:custGeom>
              <a:avLst/>
              <a:gdLst/>
              <a:ahLst/>
              <a:cxnLst/>
              <a:rect l="0" t="0" r="r" b="b"/>
              <a:pathLst>
                <a:path w="21600" h="15962">
                  <a:moveTo>
                    <a:pt x="0" y="15962"/>
                  </a:moveTo>
                  <a:cubicBezTo>
                    <a:pt x="9366" y="13355"/>
                    <a:pt x="15483" y="8765"/>
                    <a:pt x="21600" y="6782"/>
                  </a:cubicBezTo>
                  <a:cubicBezTo>
                    <a:pt x="21600" y="-5638"/>
                    <a:pt x="15483" y="-77"/>
                    <a:pt x="0" y="15962"/>
                  </a:cubicBezTo>
                  <a:close/>
                  <a:moveTo>
                    <a:pt x="0" y="1596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0" name="AutoShape 309"/>
            <p:cNvSpPr>
              <a:spLocks/>
            </p:cNvSpPr>
            <p:nvPr/>
          </p:nvSpPr>
          <p:spPr bwMode="auto">
            <a:xfrm>
              <a:off x="10541000" y="5321300"/>
              <a:ext cx="0" cy="0"/>
            </a:xfrm>
            <a:custGeom>
              <a:avLst/>
              <a:gdLst/>
              <a:ahLst/>
              <a:cxnLst/>
              <a:rect l="0" t="0" r="r" b="b"/>
              <a:pathLst>
                <a:path w="10864" h="14506">
                  <a:moveTo>
                    <a:pt x="0" y="14506"/>
                  </a:moveTo>
                  <a:cubicBezTo>
                    <a:pt x="0" y="14032"/>
                    <a:pt x="0" y="12668"/>
                    <a:pt x="4320" y="12668"/>
                  </a:cubicBezTo>
                  <a:cubicBezTo>
                    <a:pt x="4320" y="-7094"/>
                    <a:pt x="21600" y="-1593"/>
                    <a:pt x="0" y="14506"/>
                  </a:cubicBezTo>
                  <a:close/>
                  <a:moveTo>
                    <a:pt x="0" y="145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1" name="AutoShape 310"/>
            <p:cNvSpPr>
              <a:spLocks/>
            </p:cNvSpPr>
            <p:nvPr/>
          </p:nvSpPr>
          <p:spPr bwMode="auto">
            <a:xfrm>
              <a:off x="10541000" y="5295900"/>
              <a:ext cx="0" cy="1588"/>
            </a:xfrm>
            <a:custGeom>
              <a:avLst/>
              <a:gdLst/>
              <a:ahLst/>
              <a:cxnLst/>
              <a:rect l="0" t="0" r="r" b="b"/>
              <a:pathLst>
                <a:path w="17737" h="19166">
                  <a:moveTo>
                    <a:pt x="17737" y="789"/>
                  </a:moveTo>
                  <a:cubicBezTo>
                    <a:pt x="17737" y="-1165"/>
                    <a:pt x="13941" y="630"/>
                    <a:pt x="10638" y="4862"/>
                  </a:cubicBezTo>
                  <a:cubicBezTo>
                    <a:pt x="6318" y="8932"/>
                    <a:pt x="1743" y="14641"/>
                    <a:pt x="1743" y="17855"/>
                  </a:cubicBezTo>
                  <a:cubicBezTo>
                    <a:pt x="-3863" y="20435"/>
                    <a:pt x="5555" y="19263"/>
                    <a:pt x="8859" y="13863"/>
                  </a:cubicBezTo>
                  <a:cubicBezTo>
                    <a:pt x="12401" y="8379"/>
                    <a:pt x="17737" y="2746"/>
                    <a:pt x="17737" y="789"/>
                  </a:cubicBezTo>
                  <a:close/>
                  <a:moveTo>
                    <a:pt x="17737" y="7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2" name="AutoShape 311"/>
            <p:cNvSpPr>
              <a:spLocks/>
            </p:cNvSpPr>
            <p:nvPr/>
          </p:nvSpPr>
          <p:spPr bwMode="auto">
            <a:xfrm>
              <a:off x="10528300" y="5308600"/>
              <a:ext cx="14288" cy="38100"/>
            </a:xfrm>
            <a:custGeom>
              <a:avLst/>
              <a:gdLst/>
              <a:ahLst/>
              <a:cxnLst/>
              <a:rect l="0" t="0" r="r" b="b"/>
              <a:pathLst>
                <a:path w="21498" h="21489">
                  <a:moveTo>
                    <a:pt x="1333" y="20854"/>
                  </a:moveTo>
                  <a:cubicBezTo>
                    <a:pt x="1425" y="20887"/>
                    <a:pt x="2012" y="20711"/>
                    <a:pt x="2012" y="20461"/>
                  </a:cubicBezTo>
                  <a:cubicBezTo>
                    <a:pt x="2490" y="20292"/>
                    <a:pt x="3006" y="19933"/>
                    <a:pt x="2767" y="19933"/>
                  </a:cubicBezTo>
                  <a:cubicBezTo>
                    <a:pt x="2987" y="19893"/>
                    <a:pt x="2895" y="20041"/>
                    <a:pt x="2895" y="20326"/>
                  </a:cubicBezTo>
                  <a:cubicBezTo>
                    <a:pt x="2895" y="20596"/>
                    <a:pt x="3188" y="20454"/>
                    <a:pt x="3520" y="19974"/>
                  </a:cubicBezTo>
                  <a:cubicBezTo>
                    <a:pt x="4017" y="19520"/>
                    <a:pt x="4311" y="19243"/>
                    <a:pt x="4311" y="19378"/>
                  </a:cubicBezTo>
                  <a:cubicBezTo>
                    <a:pt x="4311" y="19520"/>
                    <a:pt x="4623" y="19540"/>
                    <a:pt x="4623" y="19405"/>
                  </a:cubicBezTo>
                  <a:cubicBezTo>
                    <a:pt x="4623" y="19270"/>
                    <a:pt x="5082" y="18972"/>
                    <a:pt x="5302" y="18735"/>
                  </a:cubicBezTo>
                  <a:cubicBezTo>
                    <a:pt x="5615" y="18505"/>
                    <a:pt x="6332" y="17835"/>
                    <a:pt x="6609" y="17240"/>
                  </a:cubicBezTo>
                  <a:cubicBezTo>
                    <a:pt x="7122" y="16671"/>
                    <a:pt x="8024" y="16211"/>
                    <a:pt x="8024" y="16096"/>
                  </a:cubicBezTo>
                  <a:cubicBezTo>
                    <a:pt x="8299" y="16049"/>
                    <a:pt x="9127" y="15365"/>
                    <a:pt x="9715" y="14600"/>
                  </a:cubicBezTo>
                  <a:cubicBezTo>
                    <a:pt x="10231" y="13829"/>
                    <a:pt x="11037" y="12963"/>
                    <a:pt x="11571" y="12767"/>
                  </a:cubicBezTo>
                  <a:cubicBezTo>
                    <a:pt x="11571" y="12489"/>
                    <a:pt x="12491" y="12428"/>
                    <a:pt x="12287" y="12428"/>
                  </a:cubicBezTo>
                  <a:cubicBezTo>
                    <a:pt x="12287" y="12489"/>
                    <a:pt x="12747" y="12178"/>
                    <a:pt x="12986" y="11738"/>
                  </a:cubicBezTo>
                  <a:cubicBezTo>
                    <a:pt x="13537" y="11332"/>
                    <a:pt x="13667" y="10655"/>
                    <a:pt x="14181" y="10378"/>
                  </a:cubicBezTo>
                  <a:cubicBezTo>
                    <a:pt x="14181" y="10046"/>
                    <a:pt x="15339" y="9112"/>
                    <a:pt x="15947" y="8226"/>
                  </a:cubicBezTo>
                  <a:cubicBezTo>
                    <a:pt x="16665" y="7340"/>
                    <a:pt x="17105" y="6290"/>
                    <a:pt x="17656" y="5993"/>
                  </a:cubicBezTo>
                  <a:cubicBezTo>
                    <a:pt x="17656" y="5648"/>
                    <a:pt x="18317" y="4754"/>
                    <a:pt x="19107" y="4071"/>
                  </a:cubicBezTo>
                  <a:cubicBezTo>
                    <a:pt x="19384" y="3333"/>
                    <a:pt x="20194" y="2190"/>
                    <a:pt x="20781" y="1526"/>
                  </a:cubicBezTo>
                  <a:cubicBezTo>
                    <a:pt x="21295" y="863"/>
                    <a:pt x="21498" y="186"/>
                    <a:pt x="21498" y="31"/>
                  </a:cubicBezTo>
                  <a:cubicBezTo>
                    <a:pt x="21498" y="-111"/>
                    <a:pt x="20927" y="254"/>
                    <a:pt x="20579" y="863"/>
                  </a:cubicBezTo>
                  <a:cubicBezTo>
                    <a:pt x="20045" y="1459"/>
                    <a:pt x="19678" y="2034"/>
                    <a:pt x="19678" y="2129"/>
                  </a:cubicBezTo>
                  <a:cubicBezTo>
                    <a:pt x="19512" y="2197"/>
                    <a:pt x="19163" y="2934"/>
                    <a:pt x="18648" y="3705"/>
                  </a:cubicBezTo>
                  <a:cubicBezTo>
                    <a:pt x="18134" y="4477"/>
                    <a:pt x="16993" y="5404"/>
                    <a:pt x="16993" y="5803"/>
                  </a:cubicBezTo>
                  <a:cubicBezTo>
                    <a:pt x="16499" y="6169"/>
                    <a:pt x="16056" y="7035"/>
                    <a:pt x="15488" y="7658"/>
                  </a:cubicBezTo>
                  <a:cubicBezTo>
                    <a:pt x="14917" y="8294"/>
                    <a:pt x="14493" y="9078"/>
                    <a:pt x="14053" y="9329"/>
                  </a:cubicBezTo>
                  <a:cubicBezTo>
                    <a:pt x="13776" y="9626"/>
                    <a:pt x="13629" y="9633"/>
                    <a:pt x="13629" y="9356"/>
                  </a:cubicBezTo>
                  <a:cubicBezTo>
                    <a:pt x="13868" y="9099"/>
                    <a:pt x="13520" y="9024"/>
                    <a:pt x="13225" y="9241"/>
                  </a:cubicBezTo>
                  <a:cubicBezTo>
                    <a:pt x="12765" y="9403"/>
                    <a:pt x="12453" y="10073"/>
                    <a:pt x="11756" y="10581"/>
                  </a:cubicBezTo>
                  <a:cubicBezTo>
                    <a:pt x="11204" y="11089"/>
                    <a:pt x="10782" y="11170"/>
                    <a:pt x="11037" y="10764"/>
                  </a:cubicBezTo>
                  <a:cubicBezTo>
                    <a:pt x="10818" y="10351"/>
                    <a:pt x="11057" y="9965"/>
                    <a:pt x="10872" y="9965"/>
                  </a:cubicBezTo>
                  <a:cubicBezTo>
                    <a:pt x="10689" y="9965"/>
                    <a:pt x="10394" y="10168"/>
                    <a:pt x="10046" y="10425"/>
                  </a:cubicBezTo>
                  <a:cubicBezTo>
                    <a:pt x="9696" y="10676"/>
                    <a:pt x="9513" y="10696"/>
                    <a:pt x="9513" y="10439"/>
                  </a:cubicBezTo>
                  <a:cubicBezTo>
                    <a:pt x="9513" y="10182"/>
                    <a:pt x="8905" y="10723"/>
                    <a:pt x="7747" y="11562"/>
                  </a:cubicBezTo>
                  <a:cubicBezTo>
                    <a:pt x="6957" y="12455"/>
                    <a:pt x="5579" y="13944"/>
                    <a:pt x="4495" y="14837"/>
                  </a:cubicBezTo>
                  <a:cubicBezTo>
                    <a:pt x="3944" y="15785"/>
                    <a:pt x="2601" y="17145"/>
                    <a:pt x="2031" y="17889"/>
                  </a:cubicBezTo>
                  <a:cubicBezTo>
                    <a:pt x="1517" y="18647"/>
                    <a:pt x="909" y="19771"/>
                    <a:pt x="449" y="20373"/>
                  </a:cubicBezTo>
                  <a:cubicBezTo>
                    <a:pt x="-102" y="20975"/>
                    <a:pt x="-28" y="21456"/>
                    <a:pt x="63" y="21489"/>
                  </a:cubicBezTo>
                  <a:cubicBezTo>
                    <a:pt x="194" y="21489"/>
                    <a:pt x="726" y="21368"/>
                    <a:pt x="726" y="21165"/>
                  </a:cubicBezTo>
                  <a:cubicBezTo>
                    <a:pt x="892" y="20962"/>
                    <a:pt x="1333" y="20806"/>
                    <a:pt x="1333" y="20854"/>
                  </a:cubicBezTo>
                  <a:close/>
                  <a:moveTo>
                    <a:pt x="1333" y="208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3" name="AutoShape 312"/>
            <p:cNvSpPr>
              <a:spLocks/>
            </p:cNvSpPr>
            <p:nvPr/>
          </p:nvSpPr>
          <p:spPr bwMode="auto">
            <a:xfrm>
              <a:off x="10604500" y="4965700"/>
              <a:ext cx="0" cy="4763"/>
            </a:xfrm>
            <a:custGeom>
              <a:avLst/>
              <a:gdLst/>
              <a:ahLst/>
              <a:cxnLst/>
              <a:rect l="0" t="0" r="r" b="b"/>
              <a:pathLst>
                <a:path w="16285" h="19491">
                  <a:moveTo>
                    <a:pt x="10797" y="2254"/>
                  </a:moveTo>
                  <a:cubicBezTo>
                    <a:pt x="6599" y="5491"/>
                    <a:pt x="8196" y="11931"/>
                    <a:pt x="524" y="16125"/>
                  </a:cubicBezTo>
                  <a:cubicBezTo>
                    <a:pt x="524" y="20448"/>
                    <a:pt x="-1583" y="20613"/>
                    <a:pt x="2648" y="16585"/>
                  </a:cubicBezTo>
                  <a:cubicBezTo>
                    <a:pt x="2648" y="12472"/>
                    <a:pt x="12905" y="6283"/>
                    <a:pt x="12905" y="2752"/>
                  </a:cubicBezTo>
                  <a:cubicBezTo>
                    <a:pt x="20017" y="-656"/>
                    <a:pt x="14222" y="-987"/>
                    <a:pt x="10797" y="2254"/>
                  </a:cubicBezTo>
                  <a:close/>
                  <a:moveTo>
                    <a:pt x="10797" y="22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4" name="AutoShape 313"/>
            <p:cNvSpPr>
              <a:spLocks/>
            </p:cNvSpPr>
            <p:nvPr/>
          </p:nvSpPr>
          <p:spPr bwMode="auto">
            <a:xfrm>
              <a:off x="10604500" y="4914900"/>
              <a:ext cx="1588" cy="4763"/>
            </a:xfrm>
            <a:custGeom>
              <a:avLst/>
              <a:gdLst/>
              <a:ahLst/>
              <a:cxnLst/>
              <a:rect l="0" t="0" r="r" b="b"/>
              <a:pathLst>
                <a:path w="20750" h="20932">
                  <a:moveTo>
                    <a:pt x="0" y="18720"/>
                  </a:moveTo>
                  <a:cubicBezTo>
                    <a:pt x="0" y="20351"/>
                    <a:pt x="867" y="21252"/>
                    <a:pt x="2335" y="20827"/>
                  </a:cubicBezTo>
                  <a:cubicBezTo>
                    <a:pt x="3795" y="20394"/>
                    <a:pt x="5692" y="18461"/>
                    <a:pt x="7589" y="16745"/>
                  </a:cubicBezTo>
                  <a:cubicBezTo>
                    <a:pt x="7589" y="14855"/>
                    <a:pt x="10508" y="14424"/>
                    <a:pt x="10508" y="15500"/>
                  </a:cubicBezTo>
                  <a:cubicBezTo>
                    <a:pt x="10508" y="16613"/>
                    <a:pt x="12405" y="15672"/>
                    <a:pt x="14449" y="13311"/>
                  </a:cubicBezTo>
                  <a:cubicBezTo>
                    <a:pt x="17067" y="11032"/>
                    <a:pt x="19849" y="7167"/>
                    <a:pt x="19849" y="4933"/>
                  </a:cubicBezTo>
                  <a:cubicBezTo>
                    <a:pt x="21600" y="2743"/>
                    <a:pt x="20578" y="83"/>
                    <a:pt x="18681" y="83"/>
                  </a:cubicBezTo>
                  <a:cubicBezTo>
                    <a:pt x="17222" y="-348"/>
                    <a:pt x="13573" y="940"/>
                    <a:pt x="11247" y="3003"/>
                  </a:cubicBezTo>
                  <a:cubicBezTo>
                    <a:pt x="8757" y="5066"/>
                    <a:pt x="5546" y="8715"/>
                    <a:pt x="3348" y="11204"/>
                  </a:cubicBezTo>
                  <a:cubicBezTo>
                    <a:pt x="1596" y="13737"/>
                    <a:pt x="0" y="17132"/>
                    <a:pt x="0" y="18720"/>
                  </a:cubicBezTo>
                  <a:close/>
                  <a:moveTo>
                    <a:pt x="0" y="187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5" name="AutoShape 314"/>
            <p:cNvSpPr>
              <a:spLocks/>
            </p:cNvSpPr>
            <p:nvPr/>
          </p:nvSpPr>
          <p:spPr bwMode="auto">
            <a:xfrm>
              <a:off x="10604500" y="5054600"/>
              <a:ext cx="0" cy="0"/>
            </a:xfrm>
            <a:custGeom>
              <a:avLst/>
              <a:gdLst/>
              <a:ahLst/>
              <a:cxnLst/>
              <a:rect l="0" t="0" r="r" b="b"/>
              <a:pathLst>
                <a:path w="21600" h="21600">
                  <a:moveTo>
                    <a:pt x="15429" y="0"/>
                  </a:moveTo>
                  <a:cubicBezTo>
                    <a:pt x="12343" y="7410"/>
                    <a:pt x="0" y="15658"/>
                    <a:pt x="0" y="21600"/>
                  </a:cubicBezTo>
                  <a:cubicBezTo>
                    <a:pt x="5979" y="17103"/>
                    <a:pt x="15429" y="12676"/>
                    <a:pt x="21600" y="7410"/>
                  </a:cubicBezTo>
                  <a:cubicBezTo>
                    <a:pt x="21600" y="5965"/>
                    <a:pt x="12343" y="5196"/>
                    <a:pt x="12343" y="3751"/>
                  </a:cubicBezTo>
                  <a:cubicBezTo>
                    <a:pt x="12343" y="2214"/>
                    <a:pt x="15429" y="1445"/>
                    <a:pt x="15429" y="0"/>
                  </a:cubicBezTo>
                  <a:close/>
                  <a:moveTo>
                    <a:pt x="15429"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6" name="AutoShape 315"/>
            <p:cNvSpPr>
              <a:spLocks/>
            </p:cNvSpPr>
            <p:nvPr/>
          </p:nvSpPr>
          <p:spPr bwMode="auto">
            <a:xfrm>
              <a:off x="10604500" y="4914900"/>
              <a:ext cx="0" cy="3175"/>
            </a:xfrm>
            <a:custGeom>
              <a:avLst/>
              <a:gdLst/>
              <a:ahLst/>
              <a:cxnLst/>
              <a:rect l="0" t="0" r="r" b="b"/>
              <a:pathLst>
                <a:path w="19770" h="19140">
                  <a:moveTo>
                    <a:pt x="19738" y="1412"/>
                  </a:moveTo>
                  <a:cubicBezTo>
                    <a:pt x="19738" y="-1705"/>
                    <a:pt x="14984" y="490"/>
                    <a:pt x="9521" y="6499"/>
                  </a:cubicBezTo>
                  <a:cubicBezTo>
                    <a:pt x="-742" y="12213"/>
                    <a:pt x="12" y="17872"/>
                    <a:pt x="12" y="18913"/>
                  </a:cubicBezTo>
                  <a:cubicBezTo>
                    <a:pt x="12" y="19895"/>
                    <a:pt x="9887" y="17588"/>
                    <a:pt x="9887" y="13892"/>
                  </a:cubicBezTo>
                  <a:cubicBezTo>
                    <a:pt x="20858" y="10426"/>
                    <a:pt x="19738" y="4589"/>
                    <a:pt x="19738" y="1412"/>
                  </a:cubicBezTo>
                  <a:close/>
                  <a:moveTo>
                    <a:pt x="19738" y="14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7" name="AutoShape 316"/>
            <p:cNvSpPr>
              <a:spLocks/>
            </p:cNvSpPr>
            <p:nvPr/>
          </p:nvSpPr>
          <p:spPr bwMode="auto">
            <a:xfrm>
              <a:off x="10604500" y="5054600"/>
              <a:ext cx="9525" cy="7938"/>
            </a:xfrm>
            <a:custGeom>
              <a:avLst/>
              <a:gdLst/>
              <a:ahLst/>
              <a:cxnLst/>
              <a:rect l="0" t="0" r="r" b="b"/>
              <a:pathLst>
                <a:path w="20614" h="20088">
                  <a:moveTo>
                    <a:pt x="13319" y="4406"/>
                  </a:moveTo>
                  <a:cubicBezTo>
                    <a:pt x="9856" y="1888"/>
                    <a:pt x="1788" y="-1225"/>
                    <a:pt x="1788" y="495"/>
                  </a:cubicBezTo>
                  <a:cubicBezTo>
                    <a:pt x="1443" y="1353"/>
                    <a:pt x="923" y="4138"/>
                    <a:pt x="923" y="6450"/>
                  </a:cubicBezTo>
                  <a:cubicBezTo>
                    <a:pt x="255" y="8434"/>
                    <a:pt x="156" y="10509"/>
                    <a:pt x="156" y="11398"/>
                  </a:cubicBezTo>
                  <a:cubicBezTo>
                    <a:pt x="181" y="11425"/>
                    <a:pt x="204" y="11219"/>
                    <a:pt x="204" y="11456"/>
                  </a:cubicBezTo>
                  <a:cubicBezTo>
                    <a:pt x="156" y="11662"/>
                    <a:pt x="156" y="11901"/>
                    <a:pt x="130" y="12138"/>
                  </a:cubicBezTo>
                  <a:cubicBezTo>
                    <a:pt x="130" y="12523"/>
                    <a:pt x="82" y="12967"/>
                    <a:pt x="33" y="13440"/>
                  </a:cubicBezTo>
                  <a:cubicBezTo>
                    <a:pt x="-586" y="17529"/>
                    <a:pt x="7801" y="18772"/>
                    <a:pt x="9559" y="19574"/>
                  </a:cubicBezTo>
                  <a:cubicBezTo>
                    <a:pt x="11365" y="20375"/>
                    <a:pt x="14779" y="20226"/>
                    <a:pt x="17129" y="19219"/>
                  </a:cubicBezTo>
                  <a:cubicBezTo>
                    <a:pt x="19506" y="18269"/>
                    <a:pt x="21014" y="15515"/>
                    <a:pt x="20521" y="13203"/>
                  </a:cubicBezTo>
                  <a:cubicBezTo>
                    <a:pt x="20001" y="10922"/>
                    <a:pt x="16760" y="6892"/>
                    <a:pt x="13319" y="4406"/>
                  </a:cubicBezTo>
                  <a:close/>
                  <a:moveTo>
                    <a:pt x="13319" y="44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8" name="AutoShape 317"/>
            <p:cNvSpPr>
              <a:spLocks/>
            </p:cNvSpPr>
            <p:nvPr/>
          </p:nvSpPr>
          <p:spPr bwMode="auto">
            <a:xfrm>
              <a:off x="10604500" y="4965700"/>
              <a:ext cx="0" cy="11113"/>
            </a:xfrm>
            <a:custGeom>
              <a:avLst/>
              <a:gdLst/>
              <a:ahLst/>
              <a:cxnLst/>
              <a:rect l="0" t="0" r="r" b="b"/>
              <a:pathLst>
                <a:path w="19595" h="20309">
                  <a:moveTo>
                    <a:pt x="57" y="18870"/>
                  </a:moveTo>
                  <a:cubicBezTo>
                    <a:pt x="57" y="20584"/>
                    <a:pt x="-483" y="20802"/>
                    <a:pt x="1762" y="19330"/>
                  </a:cubicBezTo>
                  <a:cubicBezTo>
                    <a:pt x="4698" y="17879"/>
                    <a:pt x="10236" y="14562"/>
                    <a:pt x="10236" y="11990"/>
                  </a:cubicBezTo>
                  <a:cubicBezTo>
                    <a:pt x="15245" y="9486"/>
                    <a:pt x="18526" y="5179"/>
                    <a:pt x="18526" y="2564"/>
                  </a:cubicBezTo>
                  <a:cubicBezTo>
                    <a:pt x="21117" y="-73"/>
                    <a:pt x="18181" y="-798"/>
                    <a:pt x="18181" y="960"/>
                  </a:cubicBezTo>
                  <a:cubicBezTo>
                    <a:pt x="15417" y="2717"/>
                    <a:pt x="13172" y="6783"/>
                    <a:pt x="8325" y="9947"/>
                  </a:cubicBezTo>
                  <a:cubicBezTo>
                    <a:pt x="5918" y="13156"/>
                    <a:pt x="4536" y="17242"/>
                    <a:pt x="57" y="18870"/>
                  </a:cubicBezTo>
                  <a:close/>
                  <a:moveTo>
                    <a:pt x="57" y="188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19" name="AutoShape 318"/>
            <p:cNvSpPr>
              <a:spLocks/>
            </p:cNvSpPr>
            <p:nvPr/>
          </p:nvSpPr>
          <p:spPr bwMode="auto">
            <a:xfrm>
              <a:off x="10617200" y="4940300"/>
              <a:ext cx="0" cy="11113"/>
            </a:xfrm>
            <a:custGeom>
              <a:avLst/>
              <a:gdLst/>
              <a:ahLst/>
              <a:cxnLst/>
              <a:rect l="0" t="0" r="r" b="b"/>
              <a:pathLst>
                <a:path w="21434" h="20818">
                  <a:moveTo>
                    <a:pt x="19588" y="822"/>
                  </a:moveTo>
                  <a:cubicBezTo>
                    <a:pt x="16045" y="1716"/>
                    <a:pt x="14526" y="5054"/>
                    <a:pt x="12005" y="8001"/>
                  </a:cubicBezTo>
                  <a:cubicBezTo>
                    <a:pt x="7090" y="10901"/>
                    <a:pt x="4897" y="15331"/>
                    <a:pt x="2376" y="17666"/>
                  </a:cubicBezTo>
                  <a:cubicBezTo>
                    <a:pt x="-166" y="20000"/>
                    <a:pt x="3" y="21330"/>
                    <a:pt x="3" y="20633"/>
                  </a:cubicBezTo>
                  <a:cubicBezTo>
                    <a:pt x="3" y="19891"/>
                    <a:pt x="4749" y="17337"/>
                    <a:pt x="7438" y="14915"/>
                  </a:cubicBezTo>
                  <a:cubicBezTo>
                    <a:pt x="9632" y="12516"/>
                    <a:pt x="16540" y="8698"/>
                    <a:pt x="16540" y="6408"/>
                  </a:cubicBezTo>
                  <a:cubicBezTo>
                    <a:pt x="16540" y="4093"/>
                    <a:pt x="21434" y="1497"/>
                    <a:pt x="21434" y="626"/>
                  </a:cubicBezTo>
                  <a:cubicBezTo>
                    <a:pt x="21434" y="-270"/>
                    <a:pt x="19588" y="-203"/>
                    <a:pt x="19588" y="822"/>
                  </a:cubicBezTo>
                  <a:close/>
                  <a:moveTo>
                    <a:pt x="19588" y="8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0" name="AutoShape 319"/>
            <p:cNvSpPr>
              <a:spLocks/>
            </p:cNvSpPr>
            <p:nvPr/>
          </p:nvSpPr>
          <p:spPr bwMode="auto">
            <a:xfrm>
              <a:off x="10604500" y="5003800"/>
              <a:ext cx="1588" cy="9525"/>
            </a:xfrm>
            <a:custGeom>
              <a:avLst/>
              <a:gdLst/>
              <a:ahLst/>
              <a:cxnLst/>
              <a:rect l="0" t="0" r="r" b="b"/>
              <a:pathLst>
                <a:path w="19149" h="20245">
                  <a:moveTo>
                    <a:pt x="1362" y="19810"/>
                  </a:moveTo>
                  <a:cubicBezTo>
                    <a:pt x="1362" y="18310"/>
                    <a:pt x="4667" y="16993"/>
                    <a:pt x="4667" y="16812"/>
                  </a:cubicBezTo>
                  <a:cubicBezTo>
                    <a:pt x="4667" y="16652"/>
                    <a:pt x="9116" y="14812"/>
                    <a:pt x="9116" y="12677"/>
                  </a:cubicBezTo>
                  <a:cubicBezTo>
                    <a:pt x="11014" y="10542"/>
                    <a:pt x="15598" y="7295"/>
                    <a:pt x="15598" y="5364"/>
                  </a:cubicBezTo>
                  <a:cubicBezTo>
                    <a:pt x="15598" y="3411"/>
                    <a:pt x="19149" y="1232"/>
                    <a:pt x="19149" y="389"/>
                  </a:cubicBezTo>
                  <a:cubicBezTo>
                    <a:pt x="19149" y="-427"/>
                    <a:pt x="17497" y="71"/>
                    <a:pt x="17497" y="1594"/>
                  </a:cubicBezTo>
                  <a:cubicBezTo>
                    <a:pt x="15844" y="3071"/>
                    <a:pt x="12802" y="5092"/>
                    <a:pt x="12802" y="6069"/>
                  </a:cubicBezTo>
                  <a:cubicBezTo>
                    <a:pt x="9497" y="6932"/>
                    <a:pt x="6566" y="11202"/>
                    <a:pt x="4667" y="15221"/>
                  </a:cubicBezTo>
                  <a:cubicBezTo>
                    <a:pt x="2752" y="19242"/>
                    <a:pt x="-2451" y="21173"/>
                    <a:pt x="1362" y="19810"/>
                  </a:cubicBezTo>
                  <a:close/>
                  <a:moveTo>
                    <a:pt x="1362" y="1981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1" name="AutoShape 320"/>
            <p:cNvSpPr>
              <a:spLocks/>
            </p:cNvSpPr>
            <p:nvPr/>
          </p:nvSpPr>
          <p:spPr bwMode="auto">
            <a:xfrm>
              <a:off x="10617200" y="4965700"/>
              <a:ext cx="0" cy="4763"/>
            </a:xfrm>
            <a:custGeom>
              <a:avLst/>
              <a:gdLst/>
              <a:ahLst/>
              <a:cxnLst/>
              <a:rect l="0" t="0" r="r" b="b"/>
              <a:pathLst>
                <a:path w="18922" h="21354">
                  <a:moveTo>
                    <a:pt x="0" y="21354"/>
                  </a:moveTo>
                  <a:cubicBezTo>
                    <a:pt x="0" y="20985"/>
                    <a:pt x="5125" y="16228"/>
                    <a:pt x="10617" y="10787"/>
                  </a:cubicBezTo>
                  <a:cubicBezTo>
                    <a:pt x="10617" y="5297"/>
                    <a:pt x="21600" y="11"/>
                    <a:pt x="18305" y="11"/>
                  </a:cubicBezTo>
                  <a:cubicBezTo>
                    <a:pt x="16841" y="-246"/>
                    <a:pt x="13523" y="4407"/>
                    <a:pt x="7688" y="10632"/>
                  </a:cubicBezTo>
                  <a:cubicBezTo>
                    <a:pt x="1831" y="16748"/>
                    <a:pt x="2174" y="21354"/>
                    <a:pt x="0" y="21354"/>
                  </a:cubicBezTo>
                  <a:close/>
                  <a:moveTo>
                    <a:pt x="0" y="213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2" name="AutoShape 321"/>
            <p:cNvSpPr>
              <a:spLocks/>
            </p:cNvSpPr>
            <p:nvPr/>
          </p:nvSpPr>
          <p:spPr bwMode="auto">
            <a:xfrm>
              <a:off x="10604500" y="5054600"/>
              <a:ext cx="0" cy="0"/>
            </a:xfrm>
            <a:custGeom>
              <a:avLst/>
              <a:gdLst/>
              <a:ahLst/>
              <a:cxnLst/>
              <a:rect l="0" t="0" r="r" b="b"/>
              <a:pathLst>
                <a:path w="12216" h="18209">
                  <a:moveTo>
                    <a:pt x="8166" y="9631"/>
                  </a:moveTo>
                  <a:cubicBezTo>
                    <a:pt x="8166" y="7341"/>
                    <a:pt x="12216" y="3074"/>
                    <a:pt x="12216" y="0"/>
                  </a:cubicBezTo>
                  <a:cubicBezTo>
                    <a:pt x="8166" y="3074"/>
                    <a:pt x="6816" y="3869"/>
                    <a:pt x="6816" y="10812"/>
                  </a:cubicBezTo>
                  <a:cubicBezTo>
                    <a:pt x="6816" y="21600"/>
                    <a:pt x="-9384" y="20057"/>
                    <a:pt x="8166" y="9631"/>
                  </a:cubicBezTo>
                  <a:close/>
                  <a:moveTo>
                    <a:pt x="8166" y="96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3" name="AutoShape 322"/>
            <p:cNvSpPr>
              <a:spLocks/>
            </p:cNvSpPr>
            <p:nvPr/>
          </p:nvSpPr>
          <p:spPr bwMode="auto">
            <a:xfrm>
              <a:off x="10604500" y="5054600"/>
              <a:ext cx="0" cy="3175"/>
            </a:xfrm>
            <a:custGeom>
              <a:avLst/>
              <a:gdLst/>
              <a:ahLst/>
              <a:cxnLst/>
              <a:rect l="0" t="0" r="r" b="b"/>
              <a:pathLst>
                <a:path w="15209" h="19462">
                  <a:moveTo>
                    <a:pt x="11359" y="2936"/>
                  </a:moveTo>
                  <a:cubicBezTo>
                    <a:pt x="7198" y="7050"/>
                    <a:pt x="5441" y="13400"/>
                    <a:pt x="1298" y="16788"/>
                  </a:cubicBezTo>
                  <a:cubicBezTo>
                    <a:pt x="1298" y="20300"/>
                    <a:pt x="-1975" y="20300"/>
                    <a:pt x="1872" y="17092"/>
                  </a:cubicBezTo>
                  <a:cubicBezTo>
                    <a:pt x="5718" y="13944"/>
                    <a:pt x="11932" y="7594"/>
                    <a:pt x="11932" y="3301"/>
                  </a:cubicBezTo>
                  <a:cubicBezTo>
                    <a:pt x="19625" y="-756"/>
                    <a:pt x="11359" y="-1300"/>
                    <a:pt x="11359" y="2936"/>
                  </a:cubicBezTo>
                  <a:close/>
                  <a:moveTo>
                    <a:pt x="11359" y="293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4" name="AutoShape 323"/>
            <p:cNvSpPr>
              <a:spLocks/>
            </p:cNvSpPr>
            <p:nvPr/>
          </p:nvSpPr>
          <p:spPr bwMode="auto">
            <a:xfrm>
              <a:off x="10604500" y="5067300"/>
              <a:ext cx="0" cy="1588"/>
            </a:xfrm>
            <a:custGeom>
              <a:avLst/>
              <a:gdLst/>
              <a:ahLst/>
              <a:cxnLst/>
              <a:rect l="0" t="0" r="r" b="b"/>
              <a:pathLst>
                <a:path w="13594" h="18715">
                  <a:moveTo>
                    <a:pt x="7535" y="1396"/>
                  </a:moveTo>
                  <a:cubicBezTo>
                    <a:pt x="7535" y="5283"/>
                    <a:pt x="4132" y="12902"/>
                    <a:pt x="0" y="18715"/>
                  </a:cubicBezTo>
                  <a:cubicBezTo>
                    <a:pt x="1713" y="16914"/>
                    <a:pt x="2419" y="15525"/>
                    <a:pt x="6872" y="12616"/>
                  </a:cubicBezTo>
                  <a:cubicBezTo>
                    <a:pt x="21600" y="3197"/>
                    <a:pt x="7535" y="-2885"/>
                    <a:pt x="7535" y="1396"/>
                  </a:cubicBezTo>
                  <a:close/>
                  <a:moveTo>
                    <a:pt x="7535" y="13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5" name="AutoShape 324"/>
            <p:cNvSpPr>
              <a:spLocks/>
            </p:cNvSpPr>
            <p:nvPr/>
          </p:nvSpPr>
          <p:spPr bwMode="auto">
            <a:xfrm>
              <a:off x="10604500" y="5067300"/>
              <a:ext cx="0" cy="0"/>
            </a:xfrm>
            <a:custGeom>
              <a:avLst/>
              <a:gdLst/>
              <a:ahLst/>
              <a:cxnLst/>
              <a:rect l="0" t="0" r="r" b="b"/>
              <a:pathLst>
                <a:path w="16108" h="14586">
                  <a:moveTo>
                    <a:pt x="11870" y="4547"/>
                  </a:moveTo>
                  <a:cubicBezTo>
                    <a:pt x="14057" y="3446"/>
                    <a:pt x="16108" y="1101"/>
                    <a:pt x="16108" y="0"/>
                  </a:cubicBezTo>
                  <a:cubicBezTo>
                    <a:pt x="-3578" y="14797"/>
                    <a:pt x="-5492" y="21600"/>
                    <a:pt x="11870" y="4547"/>
                  </a:cubicBezTo>
                  <a:close/>
                  <a:moveTo>
                    <a:pt x="11870" y="45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6" name="AutoShape 325"/>
            <p:cNvSpPr>
              <a:spLocks/>
            </p:cNvSpPr>
            <p:nvPr/>
          </p:nvSpPr>
          <p:spPr bwMode="auto">
            <a:xfrm>
              <a:off x="10604500" y="5054600"/>
              <a:ext cx="0" cy="1588"/>
            </a:xfrm>
            <a:custGeom>
              <a:avLst/>
              <a:gdLst/>
              <a:ahLst/>
              <a:cxnLst/>
              <a:rect l="0" t="0" r="r" b="b"/>
              <a:pathLst>
                <a:path w="21600" h="21600">
                  <a:moveTo>
                    <a:pt x="10575" y="10322"/>
                  </a:moveTo>
                  <a:cubicBezTo>
                    <a:pt x="1917" y="12747"/>
                    <a:pt x="5752" y="18128"/>
                    <a:pt x="509" y="21077"/>
                  </a:cubicBezTo>
                  <a:cubicBezTo>
                    <a:pt x="509" y="21424"/>
                    <a:pt x="0" y="21334"/>
                    <a:pt x="0" y="21600"/>
                  </a:cubicBezTo>
                  <a:cubicBezTo>
                    <a:pt x="1468" y="20296"/>
                    <a:pt x="2906" y="18911"/>
                    <a:pt x="4823" y="17781"/>
                  </a:cubicBezTo>
                  <a:cubicBezTo>
                    <a:pt x="11983" y="13875"/>
                    <a:pt x="14889" y="9105"/>
                    <a:pt x="14889" y="7283"/>
                  </a:cubicBezTo>
                  <a:cubicBezTo>
                    <a:pt x="14889" y="5464"/>
                    <a:pt x="21121" y="2426"/>
                    <a:pt x="21121" y="604"/>
                  </a:cubicBezTo>
                  <a:cubicBezTo>
                    <a:pt x="21121" y="436"/>
                    <a:pt x="21600" y="171"/>
                    <a:pt x="21600" y="0"/>
                  </a:cubicBezTo>
                  <a:cubicBezTo>
                    <a:pt x="20611" y="347"/>
                    <a:pt x="20611" y="870"/>
                    <a:pt x="19203" y="1128"/>
                  </a:cubicBezTo>
                  <a:cubicBezTo>
                    <a:pt x="19203" y="3475"/>
                    <a:pt x="10575" y="7551"/>
                    <a:pt x="10575" y="10322"/>
                  </a:cubicBezTo>
                  <a:close/>
                  <a:moveTo>
                    <a:pt x="10575" y="103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7" name="AutoShape 326"/>
            <p:cNvSpPr>
              <a:spLocks/>
            </p:cNvSpPr>
            <p:nvPr/>
          </p:nvSpPr>
          <p:spPr bwMode="auto">
            <a:xfrm>
              <a:off x="10604500" y="5054600"/>
              <a:ext cx="0" cy="0"/>
            </a:xfrm>
            <a:custGeom>
              <a:avLst/>
              <a:gdLst/>
              <a:ahLst/>
              <a:cxnLst/>
              <a:rect l="0" t="0" r="r" b="b"/>
              <a:pathLst>
                <a:path w="21600" h="21244">
                  <a:moveTo>
                    <a:pt x="18321" y="5393"/>
                  </a:moveTo>
                  <a:cubicBezTo>
                    <a:pt x="18321" y="4650"/>
                    <a:pt x="21600" y="1444"/>
                    <a:pt x="21600" y="15"/>
                  </a:cubicBezTo>
                  <a:cubicBezTo>
                    <a:pt x="12343" y="-356"/>
                    <a:pt x="0" y="6124"/>
                    <a:pt x="0" y="21244"/>
                  </a:cubicBezTo>
                  <a:cubicBezTo>
                    <a:pt x="6171" y="16935"/>
                    <a:pt x="9257" y="13313"/>
                    <a:pt x="18321" y="9004"/>
                  </a:cubicBezTo>
                  <a:cubicBezTo>
                    <a:pt x="18321" y="7901"/>
                    <a:pt x="18321" y="6124"/>
                    <a:pt x="18321" y="5393"/>
                  </a:cubicBezTo>
                  <a:close/>
                  <a:moveTo>
                    <a:pt x="18321" y="539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8" name="AutoShape 327"/>
            <p:cNvSpPr>
              <a:spLocks/>
            </p:cNvSpPr>
            <p:nvPr/>
          </p:nvSpPr>
          <p:spPr bwMode="auto">
            <a:xfrm>
              <a:off x="10604500" y="5054600"/>
              <a:ext cx="0" cy="0"/>
            </a:xfrm>
            <a:custGeom>
              <a:avLst/>
              <a:gdLst/>
              <a:ahLst/>
              <a:cxnLst/>
              <a:rect l="0" t="0" r="r" b="b"/>
              <a:pathLst>
                <a:path w="21600" h="21600">
                  <a:moveTo>
                    <a:pt x="0" y="21600"/>
                  </a:moveTo>
                  <a:cubicBezTo>
                    <a:pt x="3826" y="15117"/>
                    <a:pt x="9874" y="8316"/>
                    <a:pt x="21600" y="0"/>
                  </a:cubicBezTo>
                  <a:cubicBezTo>
                    <a:pt x="19872" y="9271"/>
                    <a:pt x="9874" y="16034"/>
                    <a:pt x="3826" y="16034"/>
                  </a:cubicBezTo>
                  <a:cubicBezTo>
                    <a:pt x="7899" y="16034"/>
                    <a:pt x="2098" y="20047"/>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29" name="AutoShape 328"/>
            <p:cNvSpPr>
              <a:spLocks/>
            </p:cNvSpPr>
            <p:nvPr/>
          </p:nvSpPr>
          <p:spPr bwMode="auto">
            <a:xfrm>
              <a:off x="10604500" y="4940300"/>
              <a:ext cx="1588" cy="9525"/>
            </a:xfrm>
            <a:custGeom>
              <a:avLst/>
              <a:gdLst/>
              <a:ahLst/>
              <a:cxnLst/>
              <a:rect l="0" t="0" r="r" b="b"/>
              <a:pathLst>
                <a:path w="21600" h="20698">
                  <a:moveTo>
                    <a:pt x="0" y="20211"/>
                  </a:moveTo>
                  <a:cubicBezTo>
                    <a:pt x="0" y="21039"/>
                    <a:pt x="917" y="20772"/>
                    <a:pt x="3575" y="19700"/>
                  </a:cubicBezTo>
                  <a:cubicBezTo>
                    <a:pt x="3575" y="18508"/>
                    <a:pt x="9814" y="15294"/>
                    <a:pt x="13281" y="12346"/>
                  </a:cubicBezTo>
                  <a:cubicBezTo>
                    <a:pt x="17318" y="9424"/>
                    <a:pt x="18242" y="5090"/>
                    <a:pt x="21600" y="2946"/>
                  </a:cubicBezTo>
                  <a:cubicBezTo>
                    <a:pt x="21600" y="706"/>
                    <a:pt x="21246" y="-561"/>
                    <a:pt x="21246" y="242"/>
                  </a:cubicBezTo>
                  <a:cubicBezTo>
                    <a:pt x="18719" y="756"/>
                    <a:pt x="14667" y="5431"/>
                    <a:pt x="9460" y="10107"/>
                  </a:cubicBezTo>
                  <a:cubicBezTo>
                    <a:pt x="5655" y="14855"/>
                    <a:pt x="0" y="19383"/>
                    <a:pt x="0" y="20211"/>
                  </a:cubicBezTo>
                  <a:close/>
                  <a:moveTo>
                    <a:pt x="0" y="202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0" name="AutoShape 329"/>
            <p:cNvSpPr>
              <a:spLocks/>
            </p:cNvSpPr>
            <p:nvPr/>
          </p:nvSpPr>
          <p:spPr bwMode="auto">
            <a:xfrm>
              <a:off x="10528300" y="5168900"/>
              <a:ext cx="0" cy="3175"/>
            </a:xfrm>
            <a:custGeom>
              <a:avLst/>
              <a:gdLst/>
              <a:ahLst/>
              <a:cxnLst/>
              <a:rect l="0" t="0" r="r" b="b"/>
              <a:pathLst>
                <a:path w="21600" h="20586">
                  <a:moveTo>
                    <a:pt x="14981" y="16942"/>
                  </a:moveTo>
                  <a:cubicBezTo>
                    <a:pt x="20032" y="14046"/>
                    <a:pt x="19335" y="9064"/>
                    <a:pt x="21600" y="7251"/>
                  </a:cubicBezTo>
                  <a:cubicBezTo>
                    <a:pt x="21600" y="5162"/>
                    <a:pt x="18279" y="2538"/>
                    <a:pt x="14447" y="1055"/>
                  </a:cubicBezTo>
                  <a:cubicBezTo>
                    <a:pt x="10626" y="-489"/>
                    <a:pt x="4170" y="-287"/>
                    <a:pt x="4170" y="1324"/>
                  </a:cubicBezTo>
                  <a:cubicBezTo>
                    <a:pt x="4170" y="2737"/>
                    <a:pt x="2265" y="7114"/>
                    <a:pt x="0" y="10746"/>
                  </a:cubicBezTo>
                  <a:cubicBezTo>
                    <a:pt x="0" y="14654"/>
                    <a:pt x="3473" y="18553"/>
                    <a:pt x="3473" y="20305"/>
                  </a:cubicBezTo>
                  <a:cubicBezTo>
                    <a:pt x="7490" y="21111"/>
                    <a:pt x="12183" y="20236"/>
                    <a:pt x="14981" y="16942"/>
                  </a:cubicBezTo>
                  <a:close/>
                  <a:moveTo>
                    <a:pt x="14981" y="169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1" name="AutoShape 330"/>
            <p:cNvSpPr>
              <a:spLocks/>
            </p:cNvSpPr>
            <p:nvPr/>
          </p:nvSpPr>
          <p:spPr bwMode="auto">
            <a:xfrm>
              <a:off x="10528300" y="5321300"/>
              <a:ext cx="0" cy="1588"/>
            </a:xfrm>
            <a:custGeom>
              <a:avLst/>
              <a:gdLst/>
              <a:ahLst/>
              <a:cxnLst/>
              <a:rect l="0" t="0" r="r" b="b"/>
              <a:pathLst>
                <a:path w="19544" h="20698">
                  <a:moveTo>
                    <a:pt x="0" y="17551"/>
                  </a:moveTo>
                  <a:cubicBezTo>
                    <a:pt x="0" y="21047"/>
                    <a:pt x="977" y="21600"/>
                    <a:pt x="4714" y="19362"/>
                  </a:cubicBezTo>
                  <a:cubicBezTo>
                    <a:pt x="4714" y="16436"/>
                    <a:pt x="14886" y="11002"/>
                    <a:pt x="14886" y="5995"/>
                  </a:cubicBezTo>
                  <a:cubicBezTo>
                    <a:pt x="21600" y="2225"/>
                    <a:pt x="20096" y="0"/>
                    <a:pt x="16374" y="0"/>
                  </a:cubicBezTo>
                  <a:cubicBezTo>
                    <a:pt x="19600" y="0"/>
                    <a:pt x="11180" y="5294"/>
                    <a:pt x="7443" y="7393"/>
                  </a:cubicBezTo>
                  <a:cubicBezTo>
                    <a:pt x="3954" y="9331"/>
                    <a:pt x="2745" y="14494"/>
                    <a:pt x="0" y="17551"/>
                  </a:cubicBezTo>
                  <a:close/>
                  <a:moveTo>
                    <a:pt x="0" y="175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2" name="AutoShape 331"/>
            <p:cNvSpPr>
              <a:spLocks/>
            </p:cNvSpPr>
            <p:nvPr/>
          </p:nvSpPr>
          <p:spPr bwMode="auto">
            <a:xfrm>
              <a:off x="10515600" y="5207000"/>
              <a:ext cx="0" cy="3175"/>
            </a:xfrm>
            <a:custGeom>
              <a:avLst/>
              <a:gdLst/>
              <a:ahLst/>
              <a:cxnLst/>
              <a:rect l="0" t="0" r="r" b="b"/>
              <a:pathLst>
                <a:path w="20194" h="20028">
                  <a:moveTo>
                    <a:pt x="13861" y="15492"/>
                  </a:moveTo>
                  <a:cubicBezTo>
                    <a:pt x="13861" y="11484"/>
                    <a:pt x="20194" y="6208"/>
                    <a:pt x="20194" y="3356"/>
                  </a:cubicBezTo>
                  <a:cubicBezTo>
                    <a:pt x="20194" y="444"/>
                    <a:pt x="17815" y="-527"/>
                    <a:pt x="12659" y="264"/>
                  </a:cubicBezTo>
                  <a:cubicBezTo>
                    <a:pt x="8706" y="1474"/>
                    <a:pt x="1754" y="5600"/>
                    <a:pt x="1754" y="9546"/>
                  </a:cubicBezTo>
                  <a:cubicBezTo>
                    <a:pt x="-1406" y="13367"/>
                    <a:pt x="180" y="17921"/>
                    <a:pt x="2758" y="19499"/>
                  </a:cubicBezTo>
                  <a:cubicBezTo>
                    <a:pt x="5125" y="21073"/>
                    <a:pt x="8297" y="18953"/>
                    <a:pt x="13861" y="15492"/>
                  </a:cubicBezTo>
                  <a:close/>
                  <a:moveTo>
                    <a:pt x="13861" y="154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3" name="AutoShape 332"/>
            <p:cNvSpPr>
              <a:spLocks/>
            </p:cNvSpPr>
            <p:nvPr/>
          </p:nvSpPr>
          <p:spPr bwMode="auto">
            <a:xfrm>
              <a:off x="10591800" y="5003800"/>
              <a:ext cx="12700" cy="84138"/>
            </a:xfrm>
            <a:custGeom>
              <a:avLst/>
              <a:gdLst/>
              <a:ahLst/>
              <a:cxnLst/>
              <a:rect l="0" t="0" r="r" b="b"/>
              <a:pathLst>
                <a:path w="21322" h="21458">
                  <a:moveTo>
                    <a:pt x="9038" y="12103"/>
                  </a:moveTo>
                  <a:cubicBezTo>
                    <a:pt x="8479" y="12471"/>
                    <a:pt x="8289" y="12972"/>
                    <a:pt x="7999" y="13201"/>
                  </a:cubicBezTo>
                  <a:cubicBezTo>
                    <a:pt x="7999" y="13428"/>
                    <a:pt x="7540" y="13799"/>
                    <a:pt x="7251" y="14032"/>
                  </a:cubicBezTo>
                  <a:cubicBezTo>
                    <a:pt x="6983" y="14259"/>
                    <a:pt x="6465" y="14605"/>
                    <a:pt x="6465" y="14803"/>
                  </a:cubicBezTo>
                  <a:cubicBezTo>
                    <a:pt x="6081" y="14995"/>
                    <a:pt x="5619" y="15486"/>
                    <a:pt x="5332" y="15888"/>
                  </a:cubicBezTo>
                  <a:cubicBezTo>
                    <a:pt x="5042" y="16294"/>
                    <a:pt x="4390" y="16917"/>
                    <a:pt x="3910" y="17269"/>
                  </a:cubicBezTo>
                  <a:cubicBezTo>
                    <a:pt x="3910" y="17635"/>
                    <a:pt x="3314" y="18069"/>
                    <a:pt x="3066" y="18233"/>
                  </a:cubicBezTo>
                  <a:cubicBezTo>
                    <a:pt x="2741" y="18396"/>
                    <a:pt x="2165" y="18969"/>
                    <a:pt x="1876" y="19507"/>
                  </a:cubicBezTo>
                  <a:cubicBezTo>
                    <a:pt x="1279" y="20035"/>
                    <a:pt x="839" y="20532"/>
                    <a:pt x="839" y="20605"/>
                  </a:cubicBezTo>
                  <a:cubicBezTo>
                    <a:pt x="839" y="20680"/>
                    <a:pt x="530" y="20960"/>
                    <a:pt x="263" y="21228"/>
                  </a:cubicBezTo>
                  <a:cubicBezTo>
                    <a:pt x="-64" y="21498"/>
                    <a:pt x="-83" y="21536"/>
                    <a:pt x="186" y="21316"/>
                  </a:cubicBezTo>
                  <a:cubicBezTo>
                    <a:pt x="474" y="21086"/>
                    <a:pt x="799" y="20844"/>
                    <a:pt x="799" y="20765"/>
                  </a:cubicBezTo>
                  <a:cubicBezTo>
                    <a:pt x="1029" y="20696"/>
                    <a:pt x="1261" y="20507"/>
                    <a:pt x="1261" y="20359"/>
                  </a:cubicBezTo>
                  <a:cubicBezTo>
                    <a:pt x="1472" y="20215"/>
                    <a:pt x="1512" y="19809"/>
                    <a:pt x="2068" y="19491"/>
                  </a:cubicBezTo>
                  <a:cubicBezTo>
                    <a:pt x="2354" y="19154"/>
                    <a:pt x="3220" y="18494"/>
                    <a:pt x="3487" y="18012"/>
                  </a:cubicBezTo>
                  <a:cubicBezTo>
                    <a:pt x="4063" y="17537"/>
                    <a:pt x="5005" y="16716"/>
                    <a:pt x="5292" y="16178"/>
                  </a:cubicBezTo>
                  <a:cubicBezTo>
                    <a:pt x="5850" y="15646"/>
                    <a:pt x="6887" y="14664"/>
                    <a:pt x="7482" y="13985"/>
                  </a:cubicBezTo>
                  <a:cubicBezTo>
                    <a:pt x="8076" y="13308"/>
                    <a:pt x="8575" y="12635"/>
                    <a:pt x="9056" y="12515"/>
                  </a:cubicBezTo>
                  <a:cubicBezTo>
                    <a:pt x="9056" y="12380"/>
                    <a:pt x="9364" y="12327"/>
                    <a:pt x="9364" y="12386"/>
                  </a:cubicBezTo>
                  <a:cubicBezTo>
                    <a:pt x="9364" y="12446"/>
                    <a:pt x="9594" y="12446"/>
                    <a:pt x="9594" y="12380"/>
                  </a:cubicBezTo>
                  <a:cubicBezTo>
                    <a:pt x="9594" y="12311"/>
                    <a:pt x="9881" y="12390"/>
                    <a:pt x="9575" y="12538"/>
                  </a:cubicBezTo>
                  <a:cubicBezTo>
                    <a:pt x="9575" y="12691"/>
                    <a:pt x="9210" y="12723"/>
                    <a:pt x="9575" y="12666"/>
                  </a:cubicBezTo>
                  <a:cubicBezTo>
                    <a:pt x="9825" y="12585"/>
                    <a:pt x="9671" y="12405"/>
                    <a:pt x="9977" y="12301"/>
                  </a:cubicBezTo>
                  <a:cubicBezTo>
                    <a:pt x="9671" y="12204"/>
                    <a:pt x="10344" y="11896"/>
                    <a:pt x="10593" y="11647"/>
                  </a:cubicBezTo>
                  <a:cubicBezTo>
                    <a:pt x="10860" y="11401"/>
                    <a:pt x="11170" y="10996"/>
                    <a:pt x="11399" y="10747"/>
                  </a:cubicBezTo>
                  <a:cubicBezTo>
                    <a:pt x="11399" y="10495"/>
                    <a:pt x="11686" y="10332"/>
                    <a:pt x="11686" y="10319"/>
                  </a:cubicBezTo>
                  <a:cubicBezTo>
                    <a:pt x="11763" y="10319"/>
                    <a:pt x="11360" y="10134"/>
                    <a:pt x="11975" y="9935"/>
                  </a:cubicBezTo>
                  <a:cubicBezTo>
                    <a:pt x="11975" y="9712"/>
                    <a:pt x="12686" y="9281"/>
                    <a:pt x="12955" y="8966"/>
                  </a:cubicBezTo>
                  <a:cubicBezTo>
                    <a:pt x="13491" y="8667"/>
                    <a:pt x="14067" y="8145"/>
                    <a:pt x="14317" y="7815"/>
                  </a:cubicBezTo>
                  <a:cubicBezTo>
                    <a:pt x="14606" y="7487"/>
                    <a:pt x="15739" y="6676"/>
                    <a:pt x="16315" y="5993"/>
                  </a:cubicBezTo>
                  <a:cubicBezTo>
                    <a:pt x="16891" y="5319"/>
                    <a:pt x="17487" y="4549"/>
                    <a:pt x="17984" y="4303"/>
                  </a:cubicBezTo>
                  <a:cubicBezTo>
                    <a:pt x="17984" y="4045"/>
                    <a:pt x="18446" y="3683"/>
                    <a:pt x="18716" y="3498"/>
                  </a:cubicBezTo>
                  <a:cubicBezTo>
                    <a:pt x="19003" y="3315"/>
                    <a:pt x="18716" y="3400"/>
                    <a:pt x="18369" y="3699"/>
                  </a:cubicBezTo>
                  <a:cubicBezTo>
                    <a:pt x="17774" y="3986"/>
                    <a:pt x="17217" y="4530"/>
                    <a:pt x="16948" y="4895"/>
                  </a:cubicBezTo>
                  <a:cubicBezTo>
                    <a:pt x="16411" y="5247"/>
                    <a:pt x="16025" y="5751"/>
                    <a:pt x="15699" y="6005"/>
                  </a:cubicBezTo>
                  <a:cubicBezTo>
                    <a:pt x="15393" y="6257"/>
                    <a:pt x="15260" y="6443"/>
                    <a:pt x="15335" y="6433"/>
                  </a:cubicBezTo>
                  <a:cubicBezTo>
                    <a:pt x="15412" y="6433"/>
                    <a:pt x="15009" y="6569"/>
                    <a:pt x="15009" y="6780"/>
                  </a:cubicBezTo>
                  <a:cubicBezTo>
                    <a:pt x="14683" y="6984"/>
                    <a:pt x="14164" y="7311"/>
                    <a:pt x="14164" y="7503"/>
                  </a:cubicBezTo>
                  <a:cubicBezTo>
                    <a:pt x="14164" y="7705"/>
                    <a:pt x="13414" y="8104"/>
                    <a:pt x="13145" y="8416"/>
                  </a:cubicBezTo>
                  <a:cubicBezTo>
                    <a:pt x="12838" y="8718"/>
                    <a:pt x="12572" y="9032"/>
                    <a:pt x="12378" y="9098"/>
                  </a:cubicBezTo>
                  <a:cubicBezTo>
                    <a:pt x="12378" y="9171"/>
                    <a:pt x="12108" y="8995"/>
                    <a:pt x="12628" y="8730"/>
                  </a:cubicBezTo>
                  <a:cubicBezTo>
                    <a:pt x="12628" y="8457"/>
                    <a:pt x="13185" y="7981"/>
                    <a:pt x="13684" y="7686"/>
                  </a:cubicBezTo>
                  <a:cubicBezTo>
                    <a:pt x="13971" y="7380"/>
                    <a:pt x="14491" y="7091"/>
                    <a:pt x="14491" y="7031"/>
                  </a:cubicBezTo>
                  <a:cubicBezTo>
                    <a:pt x="14491" y="6965"/>
                    <a:pt x="15046" y="6531"/>
                    <a:pt x="15566" y="6056"/>
                  </a:cubicBezTo>
                  <a:cubicBezTo>
                    <a:pt x="15853" y="5574"/>
                    <a:pt x="17121" y="4747"/>
                    <a:pt x="17390" y="4196"/>
                  </a:cubicBezTo>
                  <a:cubicBezTo>
                    <a:pt x="17966" y="3652"/>
                    <a:pt x="18406" y="3133"/>
                    <a:pt x="18406" y="3051"/>
                  </a:cubicBezTo>
                  <a:cubicBezTo>
                    <a:pt x="18406" y="2969"/>
                    <a:pt x="18753" y="2752"/>
                    <a:pt x="18753" y="2563"/>
                  </a:cubicBezTo>
                  <a:cubicBezTo>
                    <a:pt x="19136" y="2387"/>
                    <a:pt x="19136" y="1925"/>
                    <a:pt x="19752" y="1582"/>
                  </a:cubicBezTo>
                  <a:cubicBezTo>
                    <a:pt x="20021" y="1226"/>
                    <a:pt x="20941" y="700"/>
                    <a:pt x="20941" y="405"/>
                  </a:cubicBezTo>
                  <a:cubicBezTo>
                    <a:pt x="21517" y="125"/>
                    <a:pt x="21267" y="-64"/>
                    <a:pt x="21267" y="21"/>
                  </a:cubicBezTo>
                  <a:cubicBezTo>
                    <a:pt x="21037" y="94"/>
                    <a:pt x="20442" y="666"/>
                    <a:pt x="19866" y="1292"/>
                  </a:cubicBezTo>
                  <a:cubicBezTo>
                    <a:pt x="18926" y="1903"/>
                    <a:pt x="18253" y="2859"/>
                    <a:pt x="17658" y="3397"/>
                  </a:cubicBezTo>
                  <a:cubicBezTo>
                    <a:pt x="17390" y="3948"/>
                    <a:pt x="16468" y="4753"/>
                    <a:pt x="15911" y="5200"/>
                  </a:cubicBezTo>
                  <a:cubicBezTo>
                    <a:pt x="15355" y="5650"/>
                    <a:pt x="15163" y="6201"/>
                    <a:pt x="14701" y="6392"/>
                  </a:cubicBezTo>
                  <a:cubicBezTo>
                    <a:pt x="14701" y="6600"/>
                    <a:pt x="13664" y="7144"/>
                    <a:pt x="13395" y="7623"/>
                  </a:cubicBezTo>
                  <a:cubicBezTo>
                    <a:pt x="12819" y="8101"/>
                    <a:pt x="12185" y="8658"/>
                    <a:pt x="12185" y="8865"/>
                  </a:cubicBezTo>
                  <a:cubicBezTo>
                    <a:pt x="12185" y="9073"/>
                    <a:pt x="11590" y="9520"/>
                    <a:pt x="11322" y="9863"/>
                  </a:cubicBezTo>
                  <a:cubicBezTo>
                    <a:pt x="10746" y="10196"/>
                    <a:pt x="10516" y="10700"/>
                    <a:pt x="10247" y="10955"/>
                  </a:cubicBezTo>
                  <a:cubicBezTo>
                    <a:pt x="9671" y="11194"/>
                    <a:pt x="9326" y="11729"/>
                    <a:pt x="9038" y="12103"/>
                  </a:cubicBezTo>
                  <a:close/>
                  <a:moveTo>
                    <a:pt x="9038" y="121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4" name="AutoShape 333"/>
            <p:cNvSpPr>
              <a:spLocks/>
            </p:cNvSpPr>
            <p:nvPr/>
          </p:nvSpPr>
          <p:spPr bwMode="auto">
            <a:xfrm>
              <a:off x="10515600" y="5346700"/>
              <a:ext cx="4763" cy="17463"/>
            </a:xfrm>
            <a:custGeom>
              <a:avLst/>
              <a:gdLst/>
              <a:ahLst/>
              <a:cxnLst/>
              <a:rect l="0" t="0" r="r" b="b"/>
              <a:pathLst>
                <a:path w="21230" h="21201">
                  <a:moveTo>
                    <a:pt x="4583" y="15376"/>
                  </a:moveTo>
                  <a:cubicBezTo>
                    <a:pt x="4583" y="15745"/>
                    <a:pt x="3098" y="16540"/>
                    <a:pt x="1889" y="17130"/>
                  </a:cubicBezTo>
                  <a:cubicBezTo>
                    <a:pt x="1889" y="17882"/>
                    <a:pt x="901" y="19002"/>
                    <a:pt x="0" y="19606"/>
                  </a:cubicBezTo>
                  <a:cubicBezTo>
                    <a:pt x="0" y="20271"/>
                    <a:pt x="93" y="20992"/>
                    <a:pt x="988" y="21125"/>
                  </a:cubicBezTo>
                  <a:cubicBezTo>
                    <a:pt x="988" y="21465"/>
                    <a:pt x="3550" y="20609"/>
                    <a:pt x="4849" y="19534"/>
                  </a:cubicBezTo>
                  <a:cubicBezTo>
                    <a:pt x="6196" y="18457"/>
                    <a:pt x="7367" y="17764"/>
                    <a:pt x="7771" y="17897"/>
                  </a:cubicBezTo>
                  <a:cubicBezTo>
                    <a:pt x="7771" y="18074"/>
                    <a:pt x="9297" y="17026"/>
                    <a:pt x="10061" y="15597"/>
                  </a:cubicBezTo>
                  <a:cubicBezTo>
                    <a:pt x="11408" y="14210"/>
                    <a:pt x="13293" y="11985"/>
                    <a:pt x="13967" y="10628"/>
                  </a:cubicBezTo>
                  <a:cubicBezTo>
                    <a:pt x="15269" y="9346"/>
                    <a:pt x="17870" y="6516"/>
                    <a:pt x="19173" y="4363"/>
                  </a:cubicBezTo>
                  <a:cubicBezTo>
                    <a:pt x="21283" y="2269"/>
                    <a:pt x="21600" y="249"/>
                    <a:pt x="20884" y="13"/>
                  </a:cubicBezTo>
                  <a:cubicBezTo>
                    <a:pt x="19936" y="-135"/>
                    <a:pt x="17379" y="956"/>
                    <a:pt x="16119" y="2785"/>
                  </a:cubicBezTo>
                  <a:cubicBezTo>
                    <a:pt x="14146" y="4524"/>
                    <a:pt x="11944" y="8048"/>
                    <a:pt x="9297" y="10421"/>
                  </a:cubicBezTo>
                  <a:cubicBezTo>
                    <a:pt x="7950" y="12868"/>
                    <a:pt x="5388" y="15095"/>
                    <a:pt x="4583" y="15376"/>
                  </a:cubicBezTo>
                  <a:close/>
                  <a:moveTo>
                    <a:pt x="4583" y="153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5" name="AutoShape 334"/>
            <p:cNvSpPr>
              <a:spLocks/>
            </p:cNvSpPr>
            <p:nvPr/>
          </p:nvSpPr>
          <p:spPr bwMode="auto">
            <a:xfrm>
              <a:off x="10515600" y="5334000"/>
              <a:ext cx="6350" cy="12700"/>
            </a:xfrm>
            <a:custGeom>
              <a:avLst/>
              <a:gdLst/>
              <a:ahLst/>
              <a:cxnLst/>
              <a:rect l="0" t="0" r="r" b="b"/>
              <a:pathLst>
                <a:path w="21298" h="21391">
                  <a:moveTo>
                    <a:pt x="640" y="21391"/>
                  </a:moveTo>
                  <a:cubicBezTo>
                    <a:pt x="1054" y="21167"/>
                    <a:pt x="2672" y="20234"/>
                    <a:pt x="3311" y="18986"/>
                  </a:cubicBezTo>
                  <a:cubicBezTo>
                    <a:pt x="4252" y="17832"/>
                    <a:pt x="6131" y="16303"/>
                    <a:pt x="7489" y="15631"/>
                  </a:cubicBezTo>
                  <a:cubicBezTo>
                    <a:pt x="9069" y="15111"/>
                    <a:pt x="10725" y="13265"/>
                    <a:pt x="12042" y="11923"/>
                  </a:cubicBezTo>
                  <a:cubicBezTo>
                    <a:pt x="12983" y="10544"/>
                    <a:pt x="15391" y="8849"/>
                    <a:pt x="16071" y="7861"/>
                  </a:cubicBezTo>
                  <a:cubicBezTo>
                    <a:pt x="17235" y="7004"/>
                    <a:pt x="18702" y="4972"/>
                    <a:pt x="19756" y="3407"/>
                  </a:cubicBezTo>
                  <a:cubicBezTo>
                    <a:pt x="20810" y="1860"/>
                    <a:pt x="21600" y="258"/>
                    <a:pt x="21186" y="52"/>
                  </a:cubicBezTo>
                  <a:cubicBezTo>
                    <a:pt x="21186" y="-209"/>
                    <a:pt x="20057" y="556"/>
                    <a:pt x="18479" y="1600"/>
                  </a:cubicBezTo>
                  <a:cubicBezTo>
                    <a:pt x="17122" y="2718"/>
                    <a:pt x="15803" y="3481"/>
                    <a:pt x="15391" y="3295"/>
                  </a:cubicBezTo>
                  <a:cubicBezTo>
                    <a:pt x="15993" y="3295"/>
                    <a:pt x="12717" y="3743"/>
                    <a:pt x="10762" y="5010"/>
                  </a:cubicBezTo>
                  <a:cubicBezTo>
                    <a:pt x="8467" y="6148"/>
                    <a:pt x="6585" y="6649"/>
                    <a:pt x="6585" y="6090"/>
                  </a:cubicBezTo>
                  <a:cubicBezTo>
                    <a:pt x="6585" y="5531"/>
                    <a:pt x="5529" y="7357"/>
                    <a:pt x="3384" y="10023"/>
                  </a:cubicBezTo>
                  <a:cubicBezTo>
                    <a:pt x="1731" y="12744"/>
                    <a:pt x="0" y="16452"/>
                    <a:pt x="0" y="18297"/>
                  </a:cubicBezTo>
                  <a:cubicBezTo>
                    <a:pt x="0" y="20124"/>
                    <a:pt x="1242" y="21391"/>
                    <a:pt x="640" y="21391"/>
                  </a:cubicBezTo>
                  <a:close/>
                  <a:moveTo>
                    <a:pt x="640" y="213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6" name="AutoShape 335"/>
            <p:cNvSpPr>
              <a:spLocks/>
            </p:cNvSpPr>
            <p:nvPr/>
          </p:nvSpPr>
          <p:spPr bwMode="auto">
            <a:xfrm>
              <a:off x="10515600" y="5334000"/>
              <a:ext cx="12700" cy="33338"/>
            </a:xfrm>
            <a:custGeom>
              <a:avLst/>
              <a:gdLst/>
              <a:ahLst/>
              <a:cxnLst/>
              <a:rect l="0" t="0" r="r" b="b"/>
              <a:pathLst>
                <a:path w="21294" h="21323">
                  <a:moveTo>
                    <a:pt x="2612" y="15838"/>
                  </a:moveTo>
                  <a:cubicBezTo>
                    <a:pt x="2115" y="16424"/>
                    <a:pt x="1798" y="17129"/>
                    <a:pt x="1798" y="17387"/>
                  </a:cubicBezTo>
                  <a:cubicBezTo>
                    <a:pt x="1798" y="17637"/>
                    <a:pt x="1441" y="18217"/>
                    <a:pt x="1044" y="18670"/>
                  </a:cubicBezTo>
                  <a:cubicBezTo>
                    <a:pt x="491" y="19116"/>
                    <a:pt x="391" y="19859"/>
                    <a:pt x="153" y="20258"/>
                  </a:cubicBezTo>
                  <a:cubicBezTo>
                    <a:pt x="-166" y="20641"/>
                    <a:pt x="112" y="21126"/>
                    <a:pt x="112" y="21298"/>
                  </a:cubicBezTo>
                  <a:cubicBezTo>
                    <a:pt x="410" y="21416"/>
                    <a:pt x="708" y="21111"/>
                    <a:pt x="1501" y="20586"/>
                  </a:cubicBezTo>
                  <a:cubicBezTo>
                    <a:pt x="2393" y="20110"/>
                    <a:pt x="2850" y="19671"/>
                    <a:pt x="2850" y="19781"/>
                  </a:cubicBezTo>
                  <a:cubicBezTo>
                    <a:pt x="3067" y="19859"/>
                    <a:pt x="3524" y="19515"/>
                    <a:pt x="4120" y="18944"/>
                  </a:cubicBezTo>
                  <a:cubicBezTo>
                    <a:pt x="4695" y="18373"/>
                    <a:pt x="5726" y="17418"/>
                    <a:pt x="6044" y="16784"/>
                  </a:cubicBezTo>
                  <a:cubicBezTo>
                    <a:pt x="6678" y="16166"/>
                    <a:pt x="6896" y="15814"/>
                    <a:pt x="7174" y="15814"/>
                  </a:cubicBezTo>
                  <a:cubicBezTo>
                    <a:pt x="7174" y="15932"/>
                    <a:pt x="8086" y="15485"/>
                    <a:pt x="8582" y="14797"/>
                  </a:cubicBezTo>
                  <a:cubicBezTo>
                    <a:pt x="9257" y="14133"/>
                    <a:pt x="9989" y="13561"/>
                    <a:pt x="10209" y="13483"/>
                  </a:cubicBezTo>
                  <a:cubicBezTo>
                    <a:pt x="10209" y="13374"/>
                    <a:pt x="11637" y="12513"/>
                    <a:pt x="12252" y="11410"/>
                  </a:cubicBezTo>
                  <a:cubicBezTo>
                    <a:pt x="13460" y="10354"/>
                    <a:pt x="13738" y="9876"/>
                    <a:pt x="13402" y="10424"/>
                  </a:cubicBezTo>
                  <a:cubicBezTo>
                    <a:pt x="13044" y="10972"/>
                    <a:pt x="13302" y="11183"/>
                    <a:pt x="13620" y="10823"/>
                  </a:cubicBezTo>
                  <a:cubicBezTo>
                    <a:pt x="14275" y="10565"/>
                    <a:pt x="14651" y="10104"/>
                    <a:pt x="15008" y="9963"/>
                  </a:cubicBezTo>
                  <a:cubicBezTo>
                    <a:pt x="15386" y="9814"/>
                    <a:pt x="15822" y="9407"/>
                    <a:pt x="15822" y="9070"/>
                  </a:cubicBezTo>
                  <a:cubicBezTo>
                    <a:pt x="15822" y="8711"/>
                    <a:pt x="16277" y="8179"/>
                    <a:pt x="16755" y="7913"/>
                  </a:cubicBezTo>
                  <a:cubicBezTo>
                    <a:pt x="16755" y="7584"/>
                    <a:pt x="18025" y="6575"/>
                    <a:pt x="18658" y="5565"/>
                  </a:cubicBezTo>
                  <a:cubicBezTo>
                    <a:pt x="19591" y="4596"/>
                    <a:pt x="19452" y="4103"/>
                    <a:pt x="19153" y="4580"/>
                  </a:cubicBezTo>
                  <a:cubicBezTo>
                    <a:pt x="18837" y="5073"/>
                    <a:pt x="18698" y="4815"/>
                    <a:pt x="19232" y="4079"/>
                  </a:cubicBezTo>
                  <a:cubicBezTo>
                    <a:pt x="19232" y="3290"/>
                    <a:pt x="20244" y="2100"/>
                    <a:pt x="20761" y="1404"/>
                  </a:cubicBezTo>
                  <a:cubicBezTo>
                    <a:pt x="21077" y="668"/>
                    <a:pt x="21434" y="27"/>
                    <a:pt x="21237" y="27"/>
                  </a:cubicBezTo>
                  <a:cubicBezTo>
                    <a:pt x="21434" y="27"/>
                    <a:pt x="20781" y="535"/>
                    <a:pt x="20205" y="1208"/>
                  </a:cubicBezTo>
                  <a:cubicBezTo>
                    <a:pt x="19908" y="1920"/>
                    <a:pt x="18996" y="2702"/>
                    <a:pt x="18996" y="3024"/>
                  </a:cubicBezTo>
                  <a:cubicBezTo>
                    <a:pt x="18538" y="3297"/>
                    <a:pt x="18717" y="2937"/>
                    <a:pt x="19273" y="2178"/>
                  </a:cubicBezTo>
                  <a:cubicBezTo>
                    <a:pt x="19808" y="1435"/>
                    <a:pt x="20047" y="512"/>
                    <a:pt x="20047" y="168"/>
                  </a:cubicBezTo>
                  <a:cubicBezTo>
                    <a:pt x="20047" y="-184"/>
                    <a:pt x="19928" y="58"/>
                    <a:pt x="19075" y="520"/>
                  </a:cubicBezTo>
                  <a:cubicBezTo>
                    <a:pt x="18520" y="1067"/>
                    <a:pt x="18083" y="1247"/>
                    <a:pt x="18083" y="926"/>
                  </a:cubicBezTo>
                  <a:cubicBezTo>
                    <a:pt x="18083" y="591"/>
                    <a:pt x="17884" y="199"/>
                    <a:pt x="17884" y="35"/>
                  </a:cubicBezTo>
                  <a:cubicBezTo>
                    <a:pt x="17606" y="-75"/>
                    <a:pt x="17091" y="551"/>
                    <a:pt x="16219" y="1490"/>
                  </a:cubicBezTo>
                  <a:cubicBezTo>
                    <a:pt x="15386" y="2461"/>
                    <a:pt x="14155" y="3633"/>
                    <a:pt x="14155" y="4142"/>
                  </a:cubicBezTo>
                  <a:cubicBezTo>
                    <a:pt x="13601" y="4588"/>
                    <a:pt x="13958" y="5237"/>
                    <a:pt x="14176" y="5511"/>
                  </a:cubicBezTo>
                  <a:cubicBezTo>
                    <a:pt x="14492" y="5762"/>
                    <a:pt x="14413" y="6427"/>
                    <a:pt x="14413" y="6990"/>
                  </a:cubicBezTo>
                  <a:cubicBezTo>
                    <a:pt x="14413" y="7553"/>
                    <a:pt x="13817" y="8398"/>
                    <a:pt x="13105" y="8820"/>
                  </a:cubicBezTo>
                  <a:cubicBezTo>
                    <a:pt x="12528" y="9274"/>
                    <a:pt x="11736" y="10064"/>
                    <a:pt x="11220" y="10565"/>
                  </a:cubicBezTo>
                  <a:cubicBezTo>
                    <a:pt x="10605" y="11050"/>
                    <a:pt x="10089" y="11112"/>
                    <a:pt x="10346" y="10682"/>
                  </a:cubicBezTo>
                  <a:cubicBezTo>
                    <a:pt x="10346" y="10252"/>
                    <a:pt x="10763" y="9290"/>
                    <a:pt x="11042" y="8546"/>
                  </a:cubicBezTo>
                  <a:cubicBezTo>
                    <a:pt x="11577" y="7811"/>
                    <a:pt x="11596" y="7208"/>
                    <a:pt x="11437" y="7208"/>
                  </a:cubicBezTo>
                  <a:cubicBezTo>
                    <a:pt x="11437" y="7287"/>
                    <a:pt x="10941" y="7592"/>
                    <a:pt x="10387" y="7936"/>
                  </a:cubicBezTo>
                  <a:cubicBezTo>
                    <a:pt x="10129" y="8328"/>
                    <a:pt x="9435" y="8617"/>
                    <a:pt x="9236" y="8617"/>
                  </a:cubicBezTo>
                  <a:cubicBezTo>
                    <a:pt x="9019" y="8617"/>
                    <a:pt x="8344" y="9290"/>
                    <a:pt x="7333" y="10080"/>
                  </a:cubicBezTo>
                  <a:cubicBezTo>
                    <a:pt x="6480" y="10886"/>
                    <a:pt x="5151" y="12263"/>
                    <a:pt x="4574" y="13154"/>
                  </a:cubicBezTo>
                  <a:cubicBezTo>
                    <a:pt x="3941" y="14039"/>
                    <a:pt x="2929" y="15219"/>
                    <a:pt x="2612" y="15838"/>
                  </a:cubicBezTo>
                  <a:close/>
                  <a:moveTo>
                    <a:pt x="2612" y="158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7" name="AutoShape 336"/>
            <p:cNvSpPr>
              <a:spLocks/>
            </p:cNvSpPr>
            <p:nvPr/>
          </p:nvSpPr>
          <p:spPr bwMode="auto">
            <a:xfrm>
              <a:off x="10528300" y="4978400"/>
              <a:ext cx="68263" cy="260350"/>
            </a:xfrm>
            <a:custGeom>
              <a:avLst/>
              <a:gdLst/>
              <a:ahLst/>
              <a:cxnLst/>
              <a:rect l="0" t="0" r="r" b="b"/>
              <a:pathLst>
                <a:path w="21552" h="21568">
                  <a:moveTo>
                    <a:pt x="382" y="20470"/>
                  </a:moveTo>
                  <a:cubicBezTo>
                    <a:pt x="500" y="20361"/>
                    <a:pt x="578" y="20340"/>
                    <a:pt x="578" y="20419"/>
                  </a:cubicBezTo>
                  <a:cubicBezTo>
                    <a:pt x="523" y="20492"/>
                    <a:pt x="586" y="20527"/>
                    <a:pt x="695" y="20527"/>
                  </a:cubicBezTo>
                  <a:cubicBezTo>
                    <a:pt x="777" y="20507"/>
                    <a:pt x="887" y="20517"/>
                    <a:pt x="958" y="20527"/>
                  </a:cubicBezTo>
                  <a:cubicBezTo>
                    <a:pt x="958" y="20548"/>
                    <a:pt x="1130" y="20515"/>
                    <a:pt x="1282" y="20476"/>
                  </a:cubicBezTo>
                  <a:cubicBezTo>
                    <a:pt x="1404" y="20428"/>
                    <a:pt x="1662" y="20312"/>
                    <a:pt x="1772" y="20210"/>
                  </a:cubicBezTo>
                  <a:cubicBezTo>
                    <a:pt x="1885" y="20107"/>
                    <a:pt x="1944" y="20073"/>
                    <a:pt x="2053" y="20102"/>
                  </a:cubicBezTo>
                  <a:cubicBezTo>
                    <a:pt x="2053" y="20143"/>
                    <a:pt x="2092" y="20110"/>
                    <a:pt x="2261" y="20051"/>
                  </a:cubicBezTo>
                  <a:cubicBezTo>
                    <a:pt x="2319" y="19978"/>
                    <a:pt x="2550" y="19815"/>
                    <a:pt x="2679" y="19680"/>
                  </a:cubicBezTo>
                  <a:cubicBezTo>
                    <a:pt x="2793" y="19547"/>
                    <a:pt x="2992" y="19384"/>
                    <a:pt x="2992" y="19314"/>
                  </a:cubicBezTo>
                  <a:cubicBezTo>
                    <a:pt x="3043" y="19246"/>
                    <a:pt x="3067" y="19257"/>
                    <a:pt x="3008" y="19334"/>
                  </a:cubicBezTo>
                  <a:cubicBezTo>
                    <a:pt x="3008" y="19413"/>
                    <a:pt x="2875" y="19573"/>
                    <a:pt x="2765" y="19687"/>
                  </a:cubicBezTo>
                  <a:cubicBezTo>
                    <a:pt x="2711" y="19807"/>
                    <a:pt x="2511" y="20022"/>
                    <a:pt x="2448" y="20169"/>
                  </a:cubicBezTo>
                  <a:cubicBezTo>
                    <a:pt x="2386" y="20316"/>
                    <a:pt x="2214" y="20613"/>
                    <a:pt x="2042" y="20822"/>
                  </a:cubicBezTo>
                  <a:cubicBezTo>
                    <a:pt x="1873" y="21033"/>
                    <a:pt x="1678" y="21296"/>
                    <a:pt x="1619" y="21401"/>
                  </a:cubicBezTo>
                  <a:cubicBezTo>
                    <a:pt x="1486" y="21507"/>
                    <a:pt x="1537" y="21587"/>
                    <a:pt x="1580" y="21564"/>
                  </a:cubicBezTo>
                  <a:cubicBezTo>
                    <a:pt x="1646" y="21546"/>
                    <a:pt x="1909" y="21358"/>
                    <a:pt x="2144" y="21147"/>
                  </a:cubicBezTo>
                  <a:cubicBezTo>
                    <a:pt x="2370" y="20934"/>
                    <a:pt x="2703" y="20738"/>
                    <a:pt x="2703" y="20696"/>
                  </a:cubicBezTo>
                  <a:cubicBezTo>
                    <a:pt x="2805" y="20670"/>
                    <a:pt x="2828" y="20672"/>
                    <a:pt x="2828" y="20720"/>
                  </a:cubicBezTo>
                  <a:cubicBezTo>
                    <a:pt x="2785" y="20764"/>
                    <a:pt x="2926" y="20783"/>
                    <a:pt x="2973" y="20747"/>
                  </a:cubicBezTo>
                  <a:cubicBezTo>
                    <a:pt x="3070" y="20720"/>
                    <a:pt x="3129" y="20629"/>
                    <a:pt x="3227" y="20565"/>
                  </a:cubicBezTo>
                  <a:cubicBezTo>
                    <a:pt x="3294" y="20498"/>
                    <a:pt x="3442" y="20397"/>
                    <a:pt x="3571" y="20344"/>
                  </a:cubicBezTo>
                  <a:cubicBezTo>
                    <a:pt x="3704" y="20293"/>
                    <a:pt x="3939" y="20148"/>
                    <a:pt x="4061" y="20022"/>
                  </a:cubicBezTo>
                  <a:cubicBezTo>
                    <a:pt x="4194" y="19898"/>
                    <a:pt x="4417" y="19783"/>
                    <a:pt x="4417" y="19756"/>
                  </a:cubicBezTo>
                  <a:cubicBezTo>
                    <a:pt x="4491" y="19736"/>
                    <a:pt x="4507" y="19755"/>
                    <a:pt x="4562" y="19800"/>
                  </a:cubicBezTo>
                  <a:cubicBezTo>
                    <a:pt x="4562" y="19847"/>
                    <a:pt x="4655" y="19832"/>
                    <a:pt x="4761" y="19776"/>
                  </a:cubicBezTo>
                  <a:cubicBezTo>
                    <a:pt x="4820" y="19715"/>
                    <a:pt x="4968" y="19708"/>
                    <a:pt x="4914" y="19751"/>
                  </a:cubicBezTo>
                  <a:cubicBezTo>
                    <a:pt x="4957" y="19796"/>
                    <a:pt x="4839" y="19915"/>
                    <a:pt x="4781" y="20019"/>
                  </a:cubicBezTo>
                  <a:cubicBezTo>
                    <a:pt x="4718" y="20120"/>
                    <a:pt x="4620" y="20246"/>
                    <a:pt x="4620" y="20303"/>
                  </a:cubicBezTo>
                  <a:cubicBezTo>
                    <a:pt x="4554" y="20355"/>
                    <a:pt x="4644" y="20409"/>
                    <a:pt x="4687" y="20422"/>
                  </a:cubicBezTo>
                  <a:cubicBezTo>
                    <a:pt x="4753" y="20422"/>
                    <a:pt x="4788" y="20378"/>
                    <a:pt x="4847" y="20302"/>
                  </a:cubicBezTo>
                  <a:cubicBezTo>
                    <a:pt x="4847" y="20226"/>
                    <a:pt x="4980" y="20073"/>
                    <a:pt x="5098" y="19965"/>
                  </a:cubicBezTo>
                  <a:cubicBezTo>
                    <a:pt x="5215" y="19857"/>
                    <a:pt x="5274" y="19841"/>
                    <a:pt x="5215" y="19930"/>
                  </a:cubicBezTo>
                  <a:cubicBezTo>
                    <a:pt x="5215" y="20021"/>
                    <a:pt x="5227" y="20094"/>
                    <a:pt x="5227" y="20107"/>
                  </a:cubicBezTo>
                  <a:cubicBezTo>
                    <a:pt x="5266" y="20117"/>
                    <a:pt x="5422" y="20089"/>
                    <a:pt x="5422" y="20043"/>
                  </a:cubicBezTo>
                  <a:cubicBezTo>
                    <a:pt x="5520" y="20005"/>
                    <a:pt x="5540" y="20028"/>
                    <a:pt x="5493" y="20105"/>
                  </a:cubicBezTo>
                  <a:cubicBezTo>
                    <a:pt x="5442" y="20183"/>
                    <a:pt x="5501" y="20216"/>
                    <a:pt x="5555" y="20176"/>
                  </a:cubicBezTo>
                  <a:cubicBezTo>
                    <a:pt x="5642" y="20141"/>
                    <a:pt x="5626" y="20139"/>
                    <a:pt x="5626" y="20180"/>
                  </a:cubicBezTo>
                  <a:cubicBezTo>
                    <a:pt x="5626" y="20222"/>
                    <a:pt x="5532" y="20322"/>
                    <a:pt x="5532" y="20406"/>
                  </a:cubicBezTo>
                  <a:cubicBezTo>
                    <a:pt x="5481" y="20486"/>
                    <a:pt x="5376" y="20636"/>
                    <a:pt x="5321" y="20738"/>
                  </a:cubicBezTo>
                  <a:cubicBezTo>
                    <a:pt x="5254" y="20839"/>
                    <a:pt x="5074" y="21055"/>
                    <a:pt x="4968" y="21220"/>
                  </a:cubicBezTo>
                  <a:cubicBezTo>
                    <a:pt x="4855" y="21384"/>
                    <a:pt x="4937" y="21491"/>
                    <a:pt x="4937" y="21443"/>
                  </a:cubicBezTo>
                  <a:cubicBezTo>
                    <a:pt x="5043" y="21401"/>
                    <a:pt x="5324" y="21224"/>
                    <a:pt x="5567" y="21050"/>
                  </a:cubicBezTo>
                  <a:cubicBezTo>
                    <a:pt x="5861" y="20881"/>
                    <a:pt x="6096" y="20673"/>
                    <a:pt x="6271" y="20613"/>
                  </a:cubicBezTo>
                  <a:cubicBezTo>
                    <a:pt x="6424" y="20547"/>
                    <a:pt x="6710" y="20338"/>
                    <a:pt x="6949" y="20151"/>
                  </a:cubicBezTo>
                  <a:cubicBezTo>
                    <a:pt x="7183" y="19965"/>
                    <a:pt x="7614" y="19599"/>
                    <a:pt x="7841" y="19332"/>
                  </a:cubicBezTo>
                  <a:cubicBezTo>
                    <a:pt x="8079" y="19066"/>
                    <a:pt x="8416" y="18782"/>
                    <a:pt x="8416" y="18696"/>
                  </a:cubicBezTo>
                  <a:cubicBezTo>
                    <a:pt x="8537" y="18616"/>
                    <a:pt x="8623" y="18404"/>
                    <a:pt x="8780" y="18242"/>
                  </a:cubicBezTo>
                  <a:cubicBezTo>
                    <a:pt x="8893" y="18075"/>
                    <a:pt x="8991" y="17979"/>
                    <a:pt x="8991" y="18022"/>
                  </a:cubicBezTo>
                  <a:cubicBezTo>
                    <a:pt x="8913" y="18062"/>
                    <a:pt x="8979" y="18091"/>
                    <a:pt x="9023" y="18080"/>
                  </a:cubicBezTo>
                  <a:cubicBezTo>
                    <a:pt x="9023" y="18064"/>
                    <a:pt x="9218" y="17875"/>
                    <a:pt x="9457" y="17659"/>
                  </a:cubicBezTo>
                  <a:cubicBezTo>
                    <a:pt x="9578" y="17434"/>
                    <a:pt x="9828" y="17237"/>
                    <a:pt x="9828" y="17207"/>
                  </a:cubicBezTo>
                  <a:cubicBezTo>
                    <a:pt x="9828" y="17178"/>
                    <a:pt x="9774" y="17115"/>
                    <a:pt x="9848" y="17075"/>
                  </a:cubicBezTo>
                  <a:cubicBezTo>
                    <a:pt x="9797" y="17034"/>
                    <a:pt x="9883" y="16954"/>
                    <a:pt x="9930" y="16905"/>
                  </a:cubicBezTo>
                  <a:cubicBezTo>
                    <a:pt x="9961" y="16883"/>
                    <a:pt x="9981" y="16871"/>
                    <a:pt x="9997" y="16861"/>
                  </a:cubicBezTo>
                  <a:cubicBezTo>
                    <a:pt x="9993" y="16857"/>
                    <a:pt x="9997" y="16852"/>
                    <a:pt x="9989" y="16850"/>
                  </a:cubicBezTo>
                  <a:cubicBezTo>
                    <a:pt x="9997" y="16852"/>
                    <a:pt x="9993" y="16857"/>
                    <a:pt x="9997" y="16861"/>
                  </a:cubicBezTo>
                  <a:cubicBezTo>
                    <a:pt x="10020" y="16877"/>
                    <a:pt x="10009" y="16900"/>
                    <a:pt x="10040" y="16909"/>
                  </a:cubicBezTo>
                  <a:cubicBezTo>
                    <a:pt x="10079" y="16919"/>
                    <a:pt x="10216" y="16845"/>
                    <a:pt x="10271" y="16738"/>
                  </a:cubicBezTo>
                  <a:cubicBezTo>
                    <a:pt x="10337" y="16631"/>
                    <a:pt x="10478" y="16481"/>
                    <a:pt x="10533" y="16397"/>
                  </a:cubicBezTo>
                  <a:cubicBezTo>
                    <a:pt x="10595" y="16315"/>
                    <a:pt x="10607" y="16268"/>
                    <a:pt x="10544" y="16284"/>
                  </a:cubicBezTo>
                  <a:cubicBezTo>
                    <a:pt x="10544" y="16306"/>
                    <a:pt x="10455" y="16304"/>
                    <a:pt x="10455" y="16284"/>
                  </a:cubicBezTo>
                  <a:cubicBezTo>
                    <a:pt x="10455" y="16265"/>
                    <a:pt x="10435" y="16184"/>
                    <a:pt x="10588" y="16131"/>
                  </a:cubicBezTo>
                  <a:cubicBezTo>
                    <a:pt x="10654" y="16063"/>
                    <a:pt x="10827" y="15919"/>
                    <a:pt x="10893" y="15803"/>
                  </a:cubicBezTo>
                  <a:cubicBezTo>
                    <a:pt x="10944" y="15688"/>
                    <a:pt x="11057" y="15580"/>
                    <a:pt x="11057" y="15559"/>
                  </a:cubicBezTo>
                  <a:cubicBezTo>
                    <a:pt x="11057" y="15537"/>
                    <a:pt x="10987" y="15552"/>
                    <a:pt x="10893" y="15588"/>
                  </a:cubicBezTo>
                  <a:cubicBezTo>
                    <a:pt x="10803" y="15625"/>
                    <a:pt x="10752" y="15585"/>
                    <a:pt x="10870" y="15507"/>
                  </a:cubicBezTo>
                  <a:cubicBezTo>
                    <a:pt x="10870" y="15422"/>
                    <a:pt x="11061" y="15314"/>
                    <a:pt x="11061" y="15264"/>
                  </a:cubicBezTo>
                  <a:cubicBezTo>
                    <a:pt x="11151" y="15216"/>
                    <a:pt x="11143" y="15159"/>
                    <a:pt x="11190" y="15159"/>
                  </a:cubicBezTo>
                  <a:cubicBezTo>
                    <a:pt x="11233" y="15159"/>
                    <a:pt x="11378" y="15106"/>
                    <a:pt x="11429" y="15042"/>
                  </a:cubicBezTo>
                  <a:cubicBezTo>
                    <a:pt x="11543" y="14983"/>
                    <a:pt x="11644" y="14834"/>
                    <a:pt x="11750" y="14721"/>
                  </a:cubicBezTo>
                  <a:cubicBezTo>
                    <a:pt x="11875" y="14607"/>
                    <a:pt x="12063" y="14398"/>
                    <a:pt x="12173" y="14253"/>
                  </a:cubicBezTo>
                  <a:cubicBezTo>
                    <a:pt x="12294" y="14110"/>
                    <a:pt x="12548" y="13887"/>
                    <a:pt x="12607" y="13750"/>
                  </a:cubicBezTo>
                  <a:cubicBezTo>
                    <a:pt x="12720" y="13617"/>
                    <a:pt x="12849" y="13442"/>
                    <a:pt x="12849" y="13364"/>
                  </a:cubicBezTo>
                  <a:cubicBezTo>
                    <a:pt x="12904" y="13329"/>
                    <a:pt x="12924" y="13300"/>
                    <a:pt x="12935" y="13280"/>
                  </a:cubicBezTo>
                  <a:cubicBezTo>
                    <a:pt x="12935" y="13276"/>
                    <a:pt x="12943" y="13262"/>
                    <a:pt x="12943" y="13259"/>
                  </a:cubicBezTo>
                  <a:cubicBezTo>
                    <a:pt x="12943" y="13262"/>
                    <a:pt x="12935" y="13276"/>
                    <a:pt x="12935" y="13280"/>
                  </a:cubicBezTo>
                  <a:cubicBezTo>
                    <a:pt x="12920" y="13317"/>
                    <a:pt x="12877" y="13399"/>
                    <a:pt x="12877" y="13494"/>
                  </a:cubicBezTo>
                  <a:cubicBezTo>
                    <a:pt x="12760" y="13600"/>
                    <a:pt x="12861" y="13581"/>
                    <a:pt x="13030" y="13451"/>
                  </a:cubicBezTo>
                  <a:cubicBezTo>
                    <a:pt x="13092" y="13315"/>
                    <a:pt x="13366" y="13107"/>
                    <a:pt x="13487" y="12980"/>
                  </a:cubicBezTo>
                  <a:cubicBezTo>
                    <a:pt x="13597" y="12854"/>
                    <a:pt x="13722" y="12624"/>
                    <a:pt x="13835" y="12475"/>
                  </a:cubicBezTo>
                  <a:cubicBezTo>
                    <a:pt x="13835" y="12322"/>
                    <a:pt x="14110" y="12065"/>
                    <a:pt x="14293" y="11907"/>
                  </a:cubicBezTo>
                  <a:cubicBezTo>
                    <a:pt x="14418" y="11744"/>
                    <a:pt x="14790" y="11434"/>
                    <a:pt x="14912" y="11207"/>
                  </a:cubicBezTo>
                  <a:cubicBezTo>
                    <a:pt x="15084" y="10981"/>
                    <a:pt x="15244" y="10718"/>
                    <a:pt x="15362" y="10625"/>
                  </a:cubicBezTo>
                  <a:cubicBezTo>
                    <a:pt x="15424" y="10527"/>
                    <a:pt x="15588" y="10248"/>
                    <a:pt x="15816" y="10008"/>
                  </a:cubicBezTo>
                  <a:cubicBezTo>
                    <a:pt x="15933" y="9762"/>
                    <a:pt x="16187" y="9501"/>
                    <a:pt x="16246" y="9422"/>
                  </a:cubicBezTo>
                  <a:cubicBezTo>
                    <a:pt x="16305" y="9346"/>
                    <a:pt x="16372" y="9205"/>
                    <a:pt x="16485" y="9118"/>
                  </a:cubicBezTo>
                  <a:cubicBezTo>
                    <a:pt x="16536" y="9026"/>
                    <a:pt x="16743" y="8828"/>
                    <a:pt x="16860" y="8674"/>
                  </a:cubicBezTo>
                  <a:cubicBezTo>
                    <a:pt x="17028" y="8524"/>
                    <a:pt x="17095" y="8451"/>
                    <a:pt x="17095" y="8519"/>
                  </a:cubicBezTo>
                  <a:cubicBezTo>
                    <a:pt x="17095" y="8587"/>
                    <a:pt x="17099" y="8585"/>
                    <a:pt x="17166" y="8515"/>
                  </a:cubicBezTo>
                  <a:cubicBezTo>
                    <a:pt x="17217" y="8446"/>
                    <a:pt x="17310" y="8256"/>
                    <a:pt x="17424" y="8096"/>
                  </a:cubicBezTo>
                  <a:cubicBezTo>
                    <a:pt x="17424" y="7935"/>
                    <a:pt x="17534" y="7941"/>
                    <a:pt x="17534" y="8107"/>
                  </a:cubicBezTo>
                  <a:cubicBezTo>
                    <a:pt x="17534" y="8273"/>
                    <a:pt x="17663" y="8398"/>
                    <a:pt x="17600" y="8398"/>
                  </a:cubicBezTo>
                  <a:cubicBezTo>
                    <a:pt x="17655" y="8391"/>
                    <a:pt x="17804" y="8322"/>
                    <a:pt x="17866" y="8239"/>
                  </a:cubicBezTo>
                  <a:cubicBezTo>
                    <a:pt x="17933" y="8154"/>
                    <a:pt x="18062" y="8101"/>
                    <a:pt x="18062" y="8121"/>
                  </a:cubicBezTo>
                  <a:cubicBezTo>
                    <a:pt x="18062" y="8140"/>
                    <a:pt x="18101" y="8113"/>
                    <a:pt x="18195" y="8075"/>
                  </a:cubicBezTo>
                  <a:cubicBezTo>
                    <a:pt x="18195" y="8028"/>
                    <a:pt x="18387" y="7900"/>
                    <a:pt x="18453" y="7780"/>
                  </a:cubicBezTo>
                  <a:cubicBezTo>
                    <a:pt x="18508" y="7661"/>
                    <a:pt x="18586" y="7554"/>
                    <a:pt x="18543" y="7554"/>
                  </a:cubicBezTo>
                  <a:cubicBezTo>
                    <a:pt x="18586" y="7554"/>
                    <a:pt x="18484" y="7483"/>
                    <a:pt x="18539" y="7413"/>
                  </a:cubicBezTo>
                  <a:cubicBezTo>
                    <a:pt x="18606" y="7344"/>
                    <a:pt x="18570" y="7201"/>
                    <a:pt x="18633" y="7101"/>
                  </a:cubicBezTo>
                  <a:cubicBezTo>
                    <a:pt x="18633" y="7001"/>
                    <a:pt x="18594" y="6925"/>
                    <a:pt x="18594" y="6943"/>
                  </a:cubicBezTo>
                  <a:cubicBezTo>
                    <a:pt x="18527" y="6943"/>
                    <a:pt x="18551" y="6801"/>
                    <a:pt x="18551" y="6592"/>
                  </a:cubicBezTo>
                  <a:cubicBezTo>
                    <a:pt x="18551" y="6385"/>
                    <a:pt x="18555" y="6183"/>
                    <a:pt x="18555" y="6142"/>
                  </a:cubicBezTo>
                  <a:cubicBezTo>
                    <a:pt x="18473" y="6109"/>
                    <a:pt x="18621" y="5984"/>
                    <a:pt x="18621" y="5880"/>
                  </a:cubicBezTo>
                  <a:cubicBezTo>
                    <a:pt x="18731" y="5778"/>
                    <a:pt x="18711" y="5657"/>
                    <a:pt x="18711" y="5621"/>
                  </a:cubicBezTo>
                  <a:cubicBezTo>
                    <a:pt x="18711" y="5584"/>
                    <a:pt x="18813" y="5487"/>
                    <a:pt x="18813" y="5406"/>
                  </a:cubicBezTo>
                  <a:cubicBezTo>
                    <a:pt x="18911" y="5329"/>
                    <a:pt x="18989" y="5206"/>
                    <a:pt x="19103" y="5147"/>
                  </a:cubicBezTo>
                  <a:cubicBezTo>
                    <a:pt x="19161" y="5082"/>
                    <a:pt x="19349" y="4930"/>
                    <a:pt x="19467" y="4803"/>
                  </a:cubicBezTo>
                  <a:cubicBezTo>
                    <a:pt x="19576" y="4675"/>
                    <a:pt x="19654" y="4509"/>
                    <a:pt x="19654" y="4439"/>
                  </a:cubicBezTo>
                  <a:cubicBezTo>
                    <a:pt x="19654" y="4366"/>
                    <a:pt x="19697" y="4154"/>
                    <a:pt x="19697" y="3965"/>
                  </a:cubicBezTo>
                  <a:cubicBezTo>
                    <a:pt x="19697" y="3778"/>
                    <a:pt x="19764" y="3520"/>
                    <a:pt x="19827" y="3393"/>
                  </a:cubicBezTo>
                  <a:cubicBezTo>
                    <a:pt x="19885" y="3268"/>
                    <a:pt x="19920" y="3100"/>
                    <a:pt x="19920" y="3025"/>
                  </a:cubicBezTo>
                  <a:cubicBezTo>
                    <a:pt x="19920" y="2947"/>
                    <a:pt x="19944" y="2798"/>
                    <a:pt x="20054" y="2699"/>
                  </a:cubicBezTo>
                  <a:cubicBezTo>
                    <a:pt x="20054" y="2593"/>
                    <a:pt x="20190" y="2486"/>
                    <a:pt x="20257" y="2469"/>
                  </a:cubicBezTo>
                  <a:cubicBezTo>
                    <a:pt x="20257" y="2445"/>
                    <a:pt x="20379" y="2373"/>
                    <a:pt x="20379" y="2305"/>
                  </a:cubicBezTo>
                  <a:cubicBezTo>
                    <a:pt x="20379" y="2237"/>
                    <a:pt x="20410" y="2164"/>
                    <a:pt x="20410" y="2141"/>
                  </a:cubicBezTo>
                  <a:cubicBezTo>
                    <a:pt x="20410" y="2119"/>
                    <a:pt x="20417" y="2014"/>
                    <a:pt x="20417" y="1910"/>
                  </a:cubicBezTo>
                  <a:cubicBezTo>
                    <a:pt x="20472" y="1807"/>
                    <a:pt x="20433" y="1676"/>
                    <a:pt x="20531" y="1638"/>
                  </a:cubicBezTo>
                  <a:cubicBezTo>
                    <a:pt x="20590" y="1592"/>
                    <a:pt x="20668" y="1560"/>
                    <a:pt x="20727" y="1560"/>
                  </a:cubicBezTo>
                  <a:cubicBezTo>
                    <a:pt x="20789" y="1560"/>
                    <a:pt x="20895" y="1517"/>
                    <a:pt x="21000" y="1462"/>
                  </a:cubicBezTo>
                  <a:cubicBezTo>
                    <a:pt x="21075" y="1404"/>
                    <a:pt x="21192" y="1254"/>
                    <a:pt x="21192" y="1122"/>
                  </a:cubicBezTo>
                  <a:cubicBezTo>
                    <a:pt x="21192" y="992"/>
                    <a:pt x="21153" y="862"/>
                    <a:pt x="21153" y="830"/>
                  </a:cubicBezTo>
                  <a:cubicBezTo>
                    <a:pt x="21094" y="800"/>
                    <a:pt x="21122" y="714"/>
                    <a:pt x="21180" y="644"/>
                  </a:cubicBezTo>
                  <a:cubicBezTo>
                    <a:pt x="21180" y="571"/>
                    <a:pt x="21271" y="467"/>
                    <a:pt x="21325" y="408"/>
                  </a:cubicBezTo>
                  <a:cubicBezTo>
                    <a:pt x="21325" y="351"/>
                    <a:pt x="21380" y="280"/>
                    <a:pt x="21447" y="263"/>
                  </a:cubicBezTo>
                  <a:cubicBezTo>
                    <a:pt x="21447" y="239"/>
                    <a:pt x="21509" y="191"/>
                    <a:pt x="21552" y="157"/>
                  </a:cubicBezTo>
                  <a:cubicBezTo>
                    <a:pt x="21490" y="124"/>
                    <a:pt x="21509" y="75"/>
                    <a:pt x="21509" y="49"/>
                  </a:cubicBezTo>
                  <a:cubicBezTo>
                    <a:pt x="21423" y="37"/>
                    <a:pt x="21317" y="27"/>
                    <a:pt x="21255" y="60"/>
                  </a:cubicBezTo>
                  <a:cubicBezTo>
                    <a:pt x="21153" y="86"/>
                    <a:pt x="21067" y="79"/>
                    <a:pt x="21067" y="37"/>
                  </a:cubicBezTo>
                  <a:cubicBezTo>
                    <a:pt x="21067" y="-4"/>
                    <a:pt x="20926" y="-13"/>
                    <a:pt x="20793" y="21"/>
                  </a:cubicBezTo>
                  <a:cubicBezTo>
                    <a:pt x="20656" y="58"/>
                    <a:pt x="20433" y="120"/>
                    <a:pt x="20315" y="166"/>
                  </a:cubicBezTo>
                  <a:cubicBezTo>
                    <a:pt x="20198" y="213"/>
                    <a:pt x="20042" y="225"/>
                    <a:pt x="20042" y="193"/>
                  </a:cubicBezTo>
                  <a:cubicBezTo>
                    <a:pt x="19999" y="161"/>
                    <a:pt x="19865" y="283"/>
                    <a:pt x="19697" y="463"/>
                  </a:cubicBezTo>
                  <a:cubicBezTo>
                    <a:pt x="19576" y="646"/>
                    <a:pt x="19337" y="859"/>
                    <a:pt x="19337" y="943"/>
                  </a:cubicBezTo>
                  <a:cubicBezTo>
                    <a:pt x="19275" y="1024"/>
                    <a:pt x="19150" y="1191"/>
                    <a:pt x="19095" y="1311"/>
                  </a:cubicBezTo>
                  <a:cubicBezTo>
                    <a:pt x="18981" y="1431"/>
                    <a:pt x="18891" y="1610"/>
                    <a:pt x="18833" y="1708"/>
                  </a:cubicBezTo>
                  <a:cubicBezTo>
                    <a:pt x="18833" y="1807"/>
                    <a:pt x="18461" y="2308"/>
                    <a:pt x="18112" y="2825"/>
                  </a:cubicBezTo>
                  <a:cubicBezTo>
                    <a:pt x="17772" y="3342"/>
                    <a:pt x="17228" y="4026"/>
                    <a:pt x="16982" y="4349"/>
                  </a:cubicBezTo>
                  <a:cubicBezTo>
                    <a:pt x="16633" y="4666"/>
                    <a:pt x="16207" y="5166"/>
                    <a:pt x="16089" y="5459"/>
                  </a:cubicBezTo>
                  <a:cubicBezTo>
                    <a:pt x="15847" y="5747"/>
                    <a:pt x="15366" y="6331"/>
                    <a:pt x="15017" y="6757"/>
                  </a:cubicBezTo>
                  <a:cubicBezTo>
                    <a:pt x="14602" y="7179"/>
                    <a:pt x="14243" y="7605"/>
                    <a:pt x="14243" y="7701"/>
                  </a:cubicBezTo>
                  <a:cubicBezTo>
                    <a:pt x="14243" y="7795"/>
                    <a:pt x="13937" y="7944"/>
                    <a:pt x="13773" y="8045"/>
                  </a:cubicBezTo>
                  <a:cubicBezTo>
                    <a:pt x="13538" y="8135"/>
                    <a:pt x="13198" y="8371"/>
                    <a:pt x="12928" y="8554"/>
                  </a:cubicBezTo>
                  <a:cubicBezTo>
                    <a:pt x="12638" y="8737"/>
                    <a:pt x="12419" y="8929"/>
                    <a:pt x="12286" y="8947"/>
                  </a:cubicBezTo>
                  <a:cubicBezTo>
                    <a:pt x="12184" y="8975"/>
                    <a:pt x="12133" y="8943"/>
                    <a:pt x="12133" y="8871"/>
                  </a:cubicBezTo>
                  <a:cubicBezTo>
                    <a:pt x="12133" y="8798"/>
                    <a:pt x="12110" y="8698"/>
                    <a:pt x="12055" y="8641"/>
                  </a:cubicBezTo>
                  <a:cubicBezTo>
                    <a:pt x="12004" y="8588"/>
                    <a:pt x="11785" y="8594"/>
                    <a:pt x="11566" y="8652"/>
                  </a:cubicBezTo>
                  <a:cubicBezTo>
                    <a:pt x="11410" y="8723"/>
                    <a:pt x="11081" y="8841"/>
                    <a:pt x="10971" y="8942"/>
                  </a:cubicBezTo>
                  <a:cubicBezTo>
                    <a:pt x="10846" y="9041"/>
                    <a:pt x="10498" y="9290"/>
                    <a:pt x="10161" y="9495"/>
                  </a:cubicBezTo>
                  <a:cubicBezTo>
                    <a:pt x="9825" y="9701"/>
                    <a:pt x="9378" y="9908"/>
                    <a:pt x="9120" y="9936"/>
                  </a:cubicBezTo>
                  <a:cubicBezTo>
                    <a:pt x="8893" y="9980"/>
                    <a:pt x="8611" y="10056"/>
                    <a:pt x="8514" y="10118"/>
                  </a:cubicBezTo>
                  <a:cubicBezTo>
                    <a:pt x="8400" y="10179"/>
                    <a:pt x="8232" y="10234"/>
                    <a:pt x="8146" y="10257"/>
                  </a:cubicBezTo>
                  <a:cubicBezTo>
                    <a:pt x="8021" y="10257"/>
                    <a:pt x="7950" y="10352"/>
                    <a:pt x="7833" y="10428"/>
                  </a:cubicBezTo>
                  <a:cubicBezTo>
                    <a:pt x="7833" y="10509"/>
                    <a:pt x="7547" y="10637"/>
                    <a:pt x="7414" y="10724"/>
                  </a:cubicBezTo>
                  <a:cubicBezTo>
                    <a:pt x="7191" y="10797"/>
                    <a:pt x="7058" y="10882"/>
                    <a:pt x="6988" y="10882"/>
                  </a:cubicBezTo>
                  <a:cubicBezTo>
                    <a:pt x="6933" y="10875"/>
                    <a:pt x="6921" y="10806"/>
                    <a:pt x="6921" y="10705"/>
                  </a:cubicBezTo>
                  <a:cubicBezTo>
                    <a:pt x="6988" y="10604"/>
                    <a:pt x="6929" y="10425"/>
                    <a:pt x="6929" y="10307"/>
                  </a:cubicBezTo>
                  <a:cubicBezTo>
                    <a:pt x="6870" y="10190"/>
                    <a:pt x="6909" y="10052"/>
                    <a:pt x="6909" y="9999"/>
                  </a:cubicBezTo>
                  <a:cubicBezTo>
                    <a:pt x="6909" y="9947"/>
                    <a:pt x="6878" y="9810"/>
                    <a:pt x="6820" y="9690"/>
                  </a:cubicBezTo>
                  <a:cubicBezTo>
                    <a:pt x="6761" y="9571"/>
                    <a:pt x="6655" y="9293"/>
                    <a:pt x="6769" y="9072"/>
                  </a:cubicBezTo>
                  <a:cubicBezTo>
                    <a:pt x="6769" y="8849"/>
                    <a:pt x="6780" y="8710"/>
                    <a:pt x="6667" y="8755"/>
                  </a:cubicBezTo>
                  <a:cubicBezTo>
                    <a:pt x="6553" y="8800"/>
                    <a:pt x="6346" y="8930"/>
                    <a:pt x="6287" y="9045"/>
                  </a:cubicBezTo>
                  <a:cubicBezTo>
                    <a:pt x="6170" y="9154"/>
                    <a:pt x="5880" y="9440"/>
                    <a:pt x="5642" y="9677"/>
                  </a:cubicBezTo>
                  <a:cubicBezTo>
                    <a:pt x="5403" y="9913"/>
                    <a:pt x="5007" y="10268"/>
                    <a:pt x="4843" y="10469"/>
                  </a:cubicBezTo>
                  <a:cubicBezTo>
                    <a:pt x="4667" y="10670"/>
                    <a:pt x="4440" y="10908"/>
                    <a:pt x="4382" y="11003"/>
                  </a:cubicBezTo>
                  <a:cubicBezTo>
                    <a:pt x="4323" y="11098"/>
                    <a:pt x="4323" y="11246"/>
                    <a:pt x="4221" y="11325"/>
                  </a:cubicBezTo>
                  <a:cubicBezTo>
                    <a:pt x="4221" y="11410"/>
                    <a:pt x="4116" y="11544"/>
                    <a:pt x="4061" y="11627"/>
                  </a:cubicBezTo>
                  <a:cubicBezTo>
                    <a:pt x="3994" y="11710"/>
                    <a:pt x="3755" y="11828"/>
                    <a:pt x="3755" y="11903"/>
                  </a:cubicBezTo>
                  <a:cubicBezTo>
                    <a:pt x="3611" y="11967"/>
                    <a:pt x="3478" y="12236"/>
                    <a:pt x="3309" y="12484"/>
                  </a:cubicBezTo>
                  <a:cubicBezTo>
                    <a:pt x="3196" y="12734"/>
                    <a:pt x="3047" y="13114"/>
                    <a:pt x="3047" y="13328"/>
                  </a:cubicBezTo>
                  <a:cubicBezTo>
                    <a:pt x="3047" y="13542"/>
                    <a:pt x="3012" y="13792"/>
                    <a:pt x="3012" y="13882"/>
                  </a:cubicBezTo>
                  <a:cubicBezTo>
                    <a:pt x="2953" y="13973"/>
                    <a:pt x="2914" y="14028"/>
                    <a:pt x="2914" y="14000"/>
                  </a:cubicBezTo>
                  <a:cubicBezTo>
                    <a:pt x="2871" y="13977"/>
                    <a:pt x="2851" y="13999"/>
                    <a:pt x="2746" y="14041"/>
                  </a:cubicBezTo>
                  <a:cubicBezTo>
                    <a:pt x="2746" y="14092"/>
                    <a:pt x="2578" y="14241"/>
                    <a:pt x="2578" y="14381"/>
                  </a:cubicBezTo>
                  <a:cubicBezTo>
                    <a:pt x="2519" y="14519"/>
                    <a:pt x="2566" y="14654"/>
                    <a:pt x="2660" y="14666"/>
                  </a:cubicBezTo>
                  <a:cubicBezTo>
                    <a:pt x="2762" y="14666"/>
                    <a:pt x="2879" y="14671"/>
                    <a:pt x="2946" y="14638"/>
                  </a:cubicBezTo>
                  <a:cubicBezTo>
                    <a:pt x="3055" y="14609"/>
                    <a:pt x="3250" y="14524"/>
                    <a:pt x="3411" y="14454"/>
                  </a:cubicBezTo>
                  <a:cubicBezTo>
                    <a:pt x="3630" y="14397"/>
                    <a:pt x="3873" y="14218"/>
                    <a:pt x="4104" y="14082"/>
                  </a:cubicBezTo>
                  <a:cubicBezTo>
                    <a:pt x="4303" y="13943"/>
                    <a:pt x="4593" y="13835"/>
                    <a:pt x="4593" y="13859"/>
                  </a:cubicBezTo>
                  <a:cubicBezTo>
                    <a:pt x="4671" y="13869"/>
                    <a:pt x="4651" y="13909"/>
                    <a:pt x="4550" y="13909"/>
                  </a:cubicBezTo>
                  <a:cubicBezTo>
                    <a:pt x="4456" y="13909"/>
                    <a:pt x="4260" y="14052"/>
                    <a:pt x="4037" y="14197"/>
                  </a:cubicBezTo>
                  <a:cubicBezTo>
                    <a:pt x="3799" y="14339"/>
                    <a:pt x="3529" y="14544"/>
                    <a:pt x="3298" y="14636"/>
                  </a:cubicBezTo>
                  <a:cubicBezTo>
                    <a:pt x="3110" y="14735"/>
                    <a:pt x="2828" y="14899"/>
                    <a:pt x="2656" y="15004"/>
                  </a:cubicBezTo>
                  <a:cubicBezTo>
                    <a:pt x="2519" y="15113"/>
                    <a:pt x="2339" y="15233"/>
                    <a:pt x="2217" y="15264"/>
                  </a:cubicBezTo>
                  <a:cubicBezTo>
                    <a:pt x="2120" y="15302"/>
                    <a:pt x="1975" y="15370"/>
                    <a:pt x="1975" y="15422"/>
                  </a:cubicBezTo>
                  <a:cubicBezTo>
                    <a:pt x="1885" y="15469"/>
                    <a:pt x="2002" y="15521"/>
                    <a:pt x="2097" y="15533"/>
                  </a:cubicBezTo>
                  <a:cubicBezTo>
                    <a:pt x="2202" y="15533"/>
                    <a:pt x="2390" y="15604"/>
                    <a:pt x="2390" y="15672"/>
                  </a:cubicBezTo>
                  <a:cubicBezTo>
                    <a:pt x="2488" y="15736"/>
                    <a:pt x="2534" y="15920"/>
                    <a:pt x="2534" y="16074"/>
                  </a:cubicBezTo>
                  <a:cubicBezTo>
                    <a:pt x="2534" y="16228"/>
                    <a:pt x="2511" y="16440"/>
                    <a:pt x="2511" y="16546"/>
                  </a:cubicBezTo>
                  <a:cubicBezTo>
                    <a:pt x="2511" y="16651"/>
                    <a:pt x="2401" y="16829"/>
                    <a:pt x="2339" y="16941"/>
                  </a:cubicBezTo>
                  <a:cubicBezTo>
                    <a:pt x="2280" y="17055"/>
                    <a:pt x="2042" y="17264"/>
                    <a:pt x="1928" y="17414"/>
                  </a:cubicBezTo>
                  <a:cubicBezTo>
                    <a:pt x="1717" y="17553"/>
                    <a:pt x="1545" y="17760"/>
                    <a:pt x="1435" y="17861"/>
                  </a:cubicBezTo>
                  <a:cubicBezTo>
                    <a:pt x="1306" y="17961"/>
                    <a:pt x="1271" y="18109"/>
                    <a:pt x="1165" y="18178"/>
                  </a:cubicBezTo>
                  <a:cubicBezTo>
                    <a:pt x="1165" y="18255"/>
                    <a:pt x="1063" y="18367"/>
                    <a:pt x="1173" y="18411"/>
                  </a:cubicBezTo>
                  <a:cubicBezTo>
                    <a:pt x="1173" y="18464"/>
                    <a:pt x="1153" y="18744"/>
                    <a:pt x="914" y="19025"/>
                  </a:cubicBezTo>
                  <a:cubicBezTo>
                    <a:pt x="742" y="19311"/>
                    <a:pt x="449" y="19670"/>
                    <a:pt x="390" y="19827"/>
                  </a:cubicBezTo>
                  <a:cubicBezTo>
                    <a:pt x="273" y="19980"/>
                    <a:pt x="163" y="20245"/>
                    <a:pt x="61" y="20409"/>
                  </a:cubicBezTo>
                  <a:cubicBezTo>
                    <a:pt x="61" y="20577"/>
                    <a:pt x="-48" y="20689"/>
                    <a:pt x="26" y="20689"/>
                  </a:cubicBezTo>
                  <a:cubicBezTo>
                    <a:pt x="81" y="20675"/>
                    <a:pt x="210" y="20574"/>
                    <a:pt x="382" y="20470"/>
                  </a:cubicBezTo>
                  <a:close/>
                  <a:moveTo>
                    <a:pt x="382" y="204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8" name="AutoShape 337"/>
            <p:cNvSpPr>
              <a:spLocks/>
            </p:cNvSpPr>
            <p:nvPr/>
          </p:nvSpPr>
          <p:spPr bwMode="auto">
            <a:xfrm>
              <a:off x="10528300" y="5321300"/>
              <a:ext cx="1588" cy="4763"/>
            </a:xfrm>
            <a:custGeom>
              <a:avLst/>
              <a:gdLst/>
              <a:ahLst/>
              <a:cxnLst/>
              <a:rect l="0" t="0" r="r" b="b"/>
              <a:pathLst>
                <a:path w="20320" h="20045">
                  <a:moveTo>
                    <a:pt x="19931" y="3859"/>
                  </a:moveTo>
                  <a:cubicBezTo>
                    <a:pt x="19931" y="2608"/>
                    <a:pt x="21007" y="981"/>
                    <a:pt x="19582" y="481"/>
                  </a:cubicBezTo>
                  <a:cubicBezTo>
                    <a:pt x="21600" y="481"/>
                    <a:pt x="17090" y="-271"/>
                    <a:pt x="14954" y="106"/>
                  </a:cubicBezTo>
                  <a:cubicBezTo>
                    <a:pt x="14954" y="895"/>
                    <a:pt x="9495" y="2688"/>
                    <a:pt x="7707" y="5025"/>
                  </a:cubicBezTo>
                  <a:cubicBezTo>
                    <a:pt x="4740" y="7152"/>
                    <a:pt x="2374" y="10281"/>
                    <a:pt x="2374" y="11699"/>
                  </a:cubicBezTo>
                  <a:cubicBezTo>
                    <a:pt x="2374" y="13156"/>
                    <a:pt x="0" y="16410"/>
                    <a:pt x="0" y="18869"/>
                  </a:cubicBezTo>
                  <a:cubicBezTo>
                    <a:pt x="0" y="21329"/>
                    <a:pt x="2129" y="19787"/>
                    <a:pt x="6283" y="15577"/>
                  </a:cubicBezTo>
                  <a:cubicBezTo>
                    <a:pt x="11156" y="11447"/>
                    <a:pt x="15547" y="7612"/>
                    <a:pt x="14709" y="7612"/>
                  </a:cubicBezTo>
                  <a:cubicBezTo>
                    <a:pt x="15666" y="7612"/>
                    <a:pt x="16741" y="7028"/>
                    <a:pt x="17684" y="6694"/>
                  </a:cubicBezTo>
                  <a:cubicBezTo>
                    <a:pt x="18989" y="6694"/>
                    <a:pt x="17446" y="4734"/>
                    <a:pt x="19931" y="3859"/>
                  </a:cubicBezTo>
                  <a:close/>
                  <a:moveTo>
                    <a:pt x="19931" y="38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39" name="AutoShape 338"/>
            <p:cNvSpPr>
              <a:spLocks/>
            </p:cNvSpPr>
            <p:nvPr/>
          </p:nvSpPr>
          <p:spPr bwMode="auto">
            <a:xfrm>
              <a:off x="10591800" y="5080000"/>
              <a:ext cx="0" cy="0"/>
            </a:xfrm>
            <a:custGeom>
              <a:avLst/>
              <a:gdLst/>
              <a:ahLst/>
              <a:cxnLst/>
              <a:rect l="0" t="0" r="r" b="b"/>
              <a:pathLst>
                <a:path w="21600" h="21600">
                  <a:moveTo>
                    <a:pt x="21600" y="0"/>
                  </a:moveTo>
                  <a:cubicBezTo>
                    <a:pt x="9366" y="7189"/>
                    <a:pt x="0" y="15919"/>
                    <a:pt x="0" y="21600"/>
                  </a:cubicBezTo>
                  <a:cubicBezTo>
                    <a:pt x="0" y="17444"/>
                    <a:pt x="0" y="14395"/>
                    <a:pt x="15292" y="6676"/>
                  </a:cubicBezTo>
                  <a:cubicBezTo>
                    <a:pt x="15292" y="4622"/>
                    <a:pt x="21600" y="2102"/>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0" name="AutoShape 339"/>
            <p:cNvSpPr>
              <a:spLocks/>
            </p:cNvSpPr>
            <p:nvPr/>
          </p:nvSpPr>
          <p:spPr bwMode="auto">
            <a:xfrm>
              <a:off x="10528300" y="5054600"/>
              <a:ext cx="0" cy="3175"/>
            </a:xfrm>
            <a:custGeom>
              <a:avLst/>
              <a:gdLst/>
              <a:ahLst/>
              <a:cxnLst/>
              <a:rect l="0" t="0" r="r" b="b"/>
              <a:pathLst>
                <a:path w="19062" h="18513">
                  <a:moveTo>
                    <a:pt x="19062" y="103"/>
                  </a:moveTo>
                  <a:cubicBezTo>
                    <a:pt x="10266" y="-728"/>
                    <a:pt x="11975" y="3511"/>
                    <a:pt x="2187" y="11426"/>
                  </a:cubicBezTo>
                  <a:cubicBezTo>
                    <a:pt x="-2538" y="19348"/>
                    <a:pt x="499" y="20872"/>
                    <a:pt x="10266" y="14762"/>
                  </a:cubicBezTo>
                  <a:cubicBezTo>
                    <a:pt x="16362" y="8581"/>
                    <a:pt x="19062" y="2330"/>
                    <a:pt x="19062" y="103"/>
                  </a:cubicBezTo>
                  <a:close/>
                  <a:moveTo>
                    <a:pt x="19062" y="1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1" name="AutoShape 340"/>
            <p:cNvSpPr>
              <a:spLocks/>
            </p:cNvSpPr>
            <p:nvPr/>
          </p:nvSpPr>
          <p:spPr bwMode="auto">
            <a:xfrm>
              <a:off x="10541000" y="5016500"/>
              <a:ext cx="1588" cy="15875"/>
            </a:xfrm>
            <a:custGeom>
              <a:avLst/>
              <a:gdLst/>
              <a:ahLst/>
              <a:cxnLst/>
              <a:rect l="0" t="0" r="r" b="b"/>
              <a:pathLst>
                <a:path w="20142" h="20624">
                  <a:moveTo>
                    <a:pt x="3738" y="17861"/>
                  </a:moveTo>
                  <a:cubicBezTo>
                    <a:pt x="1185" y="19566"/>
                    <a:pt x="1676" y="20772"/>
                    <a:pt x="3738" y="20610"/>
                  </a:cubicBezTo>
                  <a:cubicBezTo>
                    <a:pt x="5408" y="20322"/>
                    <a:pt x="9834" y="17636"/>
                    <a:pt x="13958" y="14515"/>
                  </a:cubicBezTo>
                  <a:cubicBezTo>
                    <a:pt x="16905" y="11396"/>
                    <a:pt x="21318" y="6442"/>
                    <a:pt x="19851" y="3498"/>
                  </a:cubicBezTo>
                  <a:cubicBezTo>
                    <a:pt x="19851" y="539"/>
                    <a:pt x="16223" y="-828"/>
                    <a:pt x="13461" y="523"/>
                  </a:cubicBezTo>
                  <a:cubicBezTo>
                    <a:pt x="10226" y="1858"/>
                    <a:pt x="4432" y="4238"/>
                    <a:pt x="2953" y="5943"/>
                  </a:cubicBezTo>
                  <a:cubicBezTo>
                    <a:pt x="-282" y="7552"/>
                    <a:pt x="6" y="10367"/>
                    <a:pt x="6" y="12135"/>
                  </a:cubicBezTo>
                  <a:cubicBezTo>
                    <a:pt x="3450" y="13808"/>
                    <a:pt x="3254" y="15240"/>
                    <a:pt x="4536" y="15031"/>
                  </a:cubicBezTo>
                  <a:cubicBezTo>
                    <a:pt x="6396" y="15031"/>
                    <a:pt x="5218" y="16124"/>
                    <a:pt x="3738" y="17861"/>
                  </a:cubicBezTo>
                  <a:close/>
                  <a:moveTo>
                    <a:pt x="3738" y="178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2" name="AutoShape 341"/>
            <p:cNvSpPr>
              <a:spLocks/>
            </p:cNvSpPr>
            <p:nvPr/>
          </p:nvSpPr>
          <p:spPr bwMode="auto">
            <a:xfrm>
              <a:off x="10528300" y="5067300"/>
              <a:ext cx="1588" cy="6350"/>
            </a:xfrm>
            <a:custGeom>
              <a:avLst/>
              <a:gdLst/>
              <a:ahLst/>
              <a:cxnLst/>
              <a:rect l="0" t="0" r="r" b="b"/>
              <a:pathLst>
                <a:path w="19728" h="20299">
                  <a:moveTo>
                    <a:pt x="12446" y="12227"/>
                  </a:moveTo>
                  <a:cubicBezTo>
                    <a:pt x="17480" y="6627"/>
                    <a:pt x="21600" y="1341"/>
                    <a:pt x="18844" y="504"/>
                  </a:cubicBezTo>
                  <a:cubicBezTo>
                    <a:pt x="16223" y="-294"/>
                    <a:pt x="13710" y="-120"/>
                    <a:pt x="10504" y="853"/>
                  </a:cubicBezTo>
                  <a:cubicBezTo>
                    <a:pt x="7426" y="1826"/>
                    <a:pt x="4913" y="6313"/>
                    <a:pt x="2064" y="10385"/>
                  </a:cubicBezTo>
                  <a:cubicBezTo>
                    <a:pt x="336" y="14489"/>
                    <a:pt x="0" y="18735"/>
                    <a:pt x="0" y="20056"/>
                  </a:cubicBezTo>
                  <a:cubicBezTo>
                    <a:pt x="0" y="21306"/>
                    <a:pt x="5484" y="17584"/>
                    <a:pt x="12446" y="12227"/>
                  </a:cubicBezTo>
                  <a:close/>
                  <a:moveTo>
                    <a:pt x="12446" y="122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3" name="AutoShape 342"/>
            <p:cNvSpPr>
              <a:spLocks/>
            </p:cNvSpPr>
            <p:nvPr/>
          </p:nvSpPr>
          <p:spPr bwMode="auto">
            <a:xfrm>
              <a:off x="10528300" y="5067300"/>
              <a:ext cx="0" cy="1588"/>
            </a:xfrm>
            <a:custGeom>
              <a:avLst/>
              <a:gdLst/>
              <a:ahLst/>
              <a:cxnLst/>
              <a:rect l="0" t="0" r="r" b="b"/>
              <a:pathLst>
                <a:path w="15947" h="17353">
                  <a:moveTo>
                    <a:pt x="3338" y="8358"/>
                  </a:moveTo>
                  <a:cubicBezTo>
                    <a:pt x="-1025" y="16112"/>
                    <a:pt x="-2194" y="19337"/>
                    <a:pt x="6570" y="16112"/>
                  </a:cubicBezTo>
                  <a:cubicBezTo>
                    <a:pt x="6570" y="12303"/>
                    <a:pt x="19406" y="6130"/>
                    <a:pt x="15042" y="1970"/>
                  </a:cubicBezTo>
                  <a:cubicBezTo>
                    <a:pt x="10642" y="-2263"/>
                    <a:pt x="8013" y="536"/>
                    <a:pt x="3338" y="8358"/>
                  </a:cubicBezTo>
                  <a:close/>
                  <a:moveTo>
                    <a:pt x="3338" y="83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4" name="AutoShape 343"/>
            <p:cNvSpPr>
              <a:spLocks/>
            </p:cNvSpPr>
            <p:nvPr/>
          </p:nvSpPr>
          <p:spPr bwMode="auto">
            <a:xfrm>
              <a:off x="10528300" y="5067300"/>
              <a:ext cx="0" cy="1588"/>
            </a:xfrm>
            <a:custGeom>
              <a:avLst/>
              <a:gdLst/>
              <a:ahLst/>
              <a:cxnLst/>
              <a:rect l="0" t="0" r="r" b="b"/>
              <a:pathLst>
                <a:path w="19551" h="19695">
                  <a:moveTo>
                    <a:pt x="19551" y="5622"/>
                  </a:moveTo>
                  <a:cubicBezTo>
                    <a:pt x="19551" y="-1905"/>
                    <a:pt x="11494" y="-1905"/>
                    <a:pt x="5133" y="5807"/>
                  </a:cubicBezTo>
                  <a:cubicBezTo>
                    <a:pt x="-803" y="13692"/>
                    <a:pt x="-2049" y="18446"/>
                    <a:pt x="3835" y="19695"/>
                  </a:cubicBezTo>
                  <a:cubicBezTo>
                    <a:pt x="11494" y="19695"/>
                    <a:pt x="19551" y="13333"/>
                    <a:pt x="19551" y="5622"/>
                  </a:cubicBezTo>
                  <a:close/>
                  <a:moveTo>
                    <a:pt x="19551" y="56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5" name="AutoShape 344"/>
            <p:cNvSpPr>
              <a:spLocks/>
            </p:cNvSpPr>
            <p:nvPr/>
          </p:nvSpPr>
          <p:spPr bwMode="auto">
            <a:xfrm>
              <a:off x="10528300" y="5181600"/>
              <a:ext cx="1588" cy="9525"/>
            </a:xfrm>
            <a:custGeom>
              <a:avLst/>
              <a:gdLst/>
              <a:ahLst/>
              <a:cxnLst/>
              <a:rect l="0" t="0" r="r" b="b"/>
              <a:pathLst>
                <a:path w="21600" h="20803">
                  <a:moveTo>
                    <a:pt x="0" y="19321"/>
                  </a:moveTo>
                  <a:cubicBezTo>
                    <a:pt x="0" y="20905"/>
                    <a:pt x="456" y="21170"/>
                    <a:pt x="3323" y="20351"/>
                  </a:cubicBezTo>
                  <a:cubicBezTo>
                    <a:pt x="3323" y="19215"/>
                    <a:pt x="10892" y="15335"/>
                    <a:pt x="14671" y="11295"/>
                  </a:cubicBezTo>
                  <a:cubicBezTo>
                    <a:pt x="20210" y="7385"/>
                    <a:pt x="21600" y="2950"/>
                    <a:pt x="21600" y="1603"/>
                  </a:cubicBezTo>
                  <a:cubicBezTo>
                    <a:pt x="21600" y="281"/>
                    <a:pt x="17631" y="-430"/>
                    <a:pt x="15231" y="281"/>
                  </a:cubicBezTo>
                  <a:cubicBezTo>
                    <a:pt x="12733" y="968"/>
                    <a:pt x="8221" y="2844"/>
                    <a:pt x="8221" y="4773"/>
                  </a:cubicBezTo>
                  <a:cubicBezTo>
                    <a:pt x="5723" y="6593"/>
                    <a:pt x="6277" y="10238"/>
                    <a:pt x="3323" y="12404"/>
                  </a:cubicBezTo>
                  <a:cubicBezTo>
                    <a:pt x="3323" y="14699"/>
                    <a:pt x="0" y="17763"/>
                    <a:pt x="0" y="19321"/>
                  </a:cubicBezTo>
                  <a:close/>
                  <a:moveTo>
                    <a:pt x="0" y="193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6" name="AutoShape 345"/>
            <p:cNvSpPr>
              <a:spLocks/>
            </p:cNvSpPr>
            <p:nvPr/>
          </p:nvSpPr>
          <p:spPr bwMode="auto">
            <a:xfrm>
              <a:off x="10591800" y="5080000"/>
              <a:ext cx="0" cy="0"/>
            </a:xfrm>
            <a:custGeom>
              <a:avLst/>
              <a:gdLst/>
              <a:ahLst/>
              <a:cxnLst/>
              <a:rect l="0" t="0" r="r" b="b"/>
              <a:pathLst>
                <a:path w="15453" h="15162">
                  <a:moveTo>
                    <a:pt x="15453" y="0"/>
                  </a:moveTo>
                  <a:cubicBezTo>
                    <a:pt x="9019" y="1579"/>
                    <a:pt x="1206" y="3959"/>
                    <a:pt x="1206" y="5588"/>
                  </a:cubicBezTo>
                  <a:cubicBezTo>
                    <a:pt x="1206" y="21600"/>
                    <a:pt x="-6147" y="16012"/>
                    <a:pt x="15453" y="0"/>
                  </a:cubicBezTo>
                  <a:close/>
                  <a:moveTo>
                    <a:pt x="15453"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7" name="AutoShape 346"/>
            <p:cNvSpPr>
              <a:spLocks/>
            </p:cNvSpPr>
            <p:nvPr/>
          </p:nvSpPr>
          <p:spPr bwMode="auto">
            <a:xfrm>
              <a:off x="10591800" y="5130800"/>
              <a:ext cx="0" cy="0"/>
            </a:xfrm>
            <a:custGeom>
              <a:avLst/>
              <a:gdLst/>
              <a:ahLst/>
              <a:cxnLst/>
              <a:rect l="0" t="0" r="r" b="b"/>
              <a:pathLst>
                <a:path w="21600" h="21600">
                  <a:moveTo>
                    <a:pt x="6850" y="14287"/>
                  </a:moveTo>
                  <a:cubicBezTo>
                    <a:pt x="5863" y="16153"/>
                    <a:pt x="1913" y="19346"/>
                    <a:pt x="0" y="21600"/>
                  </a:cubicBezTo>
                  <a:cubicBezTo>
                    <a:pt x="11849" y="12772"/>
                    <a:pt x="18699" y="5635"/>
                    <a:pt x="21600" y="0"/>
                  </a:cubicBezTo>
                  <a:cubicBezTo>
                    <a:pt x="17650" y="3768"/>
                    <a:pt x="12713" y="7900"/>
                    <a:pt x="6850" y="14287"/>
                  </a:cubicBezTo>
                  <a:close/>
                  <a:moveTo>
                    <a:pt x="6850" y="142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8" name="AutoShape 347"/>
            <p:cNvSpPr>
              <a:spLocks/>
            </p:cNvSpPr>
            <p:nvPr/>
          </p:nvSpPr>
          <p:spPr bwMode="auto">
            <a:xfrm>
              <a:off x="10579100" y="5130800"/>
              <a:ext cx="0" cy="1588"/>
            </a:xfrm>
            <a:custGeom>
              <a:avLst/>
              <a:gdLst/>
              <a:ahLst/>
              <a:cxnLst/>
              <a:rect l="0" t="0" r="r" b="b"/>
              <a:pathLst>
                <a:path w="17978" h="18234">
                  <a:moveTo>
                    <a:pt x="8702" y="3857"/>
                  </a:moveTo>
                  <a:cubicBezTo>
                    <a:pt x="8702" y="10549"/>
                    <a:pt x="0" y="16617"/>
                    <a:pt x="0" y="17958"/>
                  </a:cubicBezTo>
                  <a:cubicBezTo>
                    <a:pt x="0" y="19495"/>
                    <a:pt x="10598" y="14459"/>
                    <a:pt x="10598" y="6430"/>
                  </a:cubicBezTo>
                  <a:cubicBezTo>
                    <a:pt x="21600" y="-1086"/>
                    <a:pt x="19751" y="-2105"/>
                    <a:pt x="8702" y="3857"/>
                  </a:cubicBezTo>
                  <a:close/>
                  <a:moveTo>
                    <a:pt x="8702" y="38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49" name="AutoShape 348"/>
            <p:cNvSpPr>
              <a:spLocks/>
            </p:cNvSpPr>
            <p:nvPr/>
          </p:nvSpPr>
          <p:spPr bwMode="auto">
            <a:xfrm>
              <a:off x="10579100" y="5143500"/>
              <a:ext cx="0" cy="1588"/>
            </a:xfrm>
            <a:custGeom>
              <a:avLst/>
              <a:gdLst/>
              <a:ahLst/>
              <a:cxnLst/>
              <a:rect l="0" t="0" r="r" b="b"/>
              <a:pathLst>
                <a:path w="16063" h="19564">
                  <a:moveTo>
                    <a:pt x="1222" y="19259"/>
                  </a:moveTo>
                  <a:cubicBezTo>
                    <a:pt x="6938" y="19259"/>
                    <a:pt x="10292" y="11818"/>
                    <a:pt x="10292" y="6231"/>
                  </a:cubicBezTo>
                  <a:cubicBezTo>
                    <a:pt x="15038" y="653"/>
                    <a:pt x="19067" y="-1207"/>
                    <a:pt x="12992" y="760"/>
                  </a:cubicBezTo>
                  <a:cubicBezTo>
                    <a:pt x="12992" y="3237"/>
                    <a:pt x="3563" y="8921"/>
                    <a:pt x="3563" y="13672"/>
                  </a:cubicBezTo>
                  <a:cubicBezTo>
                    <a:pt x="3563" y="18329"/>
                    <a:pt x="-2533" y="20393"/>
                    <a:pt x="1222" y="19259"/>
                  </a:cubicBezTo>
                  <a:close/>
                  <a:moveTo>
                    <a:pt x="1222" y="192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0" name="AutoShape 349"/>
            <p:cNvSpPr>
              <a:spLocks/>
            </p:cNvSpPr>
            <p:nvPr/>
          </p:nvSpPr>
          <p:spPr bwMode="auto">
            <a:xfrm>
              <a:off x="10591800" y="5130800"/>
              <a:ext cx="0" cy="0"/>
            </a:xfrm>
            <a:custGeom>
              <a:avLst/>
              <a:gdLst/>
              <a:ahLst/>
              <a:cxnLst/>
              <a:rect l="0" t="0" r="r" b="b"/>
              <a:pathLst>
                <a:path w="14528" h="16985">
                  <a:moveTo>
                    <a:pt x="6574" y="3022"/>
                  </a:moveTo>
                  <a:cubicBezTo>
                    <a:pt x="6574" y="5139"/>
                    <a:pt x="0" y="12339"/>
                    <a:pt x="0" y="16985"/>
                  </a:cubicBezTo>
                  <a:cubicBezTo>
                    <a:pt x="13014" y="3022"/>
                    <a:pt x="21600" y="-4615"/>
                    <a:pt x="6574" y="3022"/>
                  </a:cubicBezTo>
                  <a:close/>
                  <a:moveTo>
                    <a:pt x="6574" y="30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1" name="AutoShape 350"/>
            <p:cNvSpPr>
              <a:spLocks/>
            </p:cNvSpPr>
            <p:nvPr/>
          </p:nvSpPr>
          <p:spPr bwMode="auto">
            <a:xfrm>
              <a:off x="10579100" y="5118100"/>
              <a:ext cx="1588" cy="11113"/>
            </a:xfrm>
            <a:custGeom>
              <a:avLst/>
              <a:gdLst/>
              <a:ahLst/>
              <a:cxnLst/>
              <a:rect l="0" t="0" r="r" b="b"/>
              <a:pathLst>
                <a:path w="20836" h="21416">
                  <a:moveTo>
                    <a:pt x="8459" y="13901"/>
                  </a:moveTo>
                  <a:cubicBezTo>
                    <a:pt x="8956" y="13901"/>
                    <a:pt x="11383" y="13004"/>
                    <a:pt x="11383" y="11469"/>
                  </a:cubicBezTo>
                  <a:cubicBezTo>
                    <a:pt x="13978" y="10132"/>
                    <a:pt x="14648" y="8753"/>
                    <a:pt x="14648" y="8578"/>
                  </a:cubicBezTo>
                  <a:cubicBezTo>
                    <a:pt x="15317" y="8578"/>
                    <a:pt x="16996" y="6606"/>
                    <a:pt x="18163" y="4459"/>
                  </a:cubicBezTo>
                  <a:cubicBezTo>
                    <a:pt x="19335" y="2313"/>
                    <a:pt x="20674" y="341"/>
                    <a:pt x="20674" y="34"/>
                  </a:cubicBezTo>
                  <a:cubicBezTo>
                    <a:pt x="21600" y="-184"/>
                    <a:pt x="18247" y="668"/>
                    <a:pt x="18247" y="2203"/>
                  </a:cubicBezTo>
                  <a:cubicBezTo>
                    <a:pt x="16071" y="3605"/>
                    <a:pt x="16071" y="4415"/>
                    <a:pt x="16071" y="3845"/>
                  </a:cubicBezTo>
                  <a:cubicBezTo>
                    <a:pt x="16071" y="3255"/>
                    <a:pt x="16327" y="2598"/>
                    <a:pt x="15825" y="2465"/>
                  </a:cubicBezTo>
                  <a:cubicBezTo>
                    <a:pt x="16494" y="2465"/>
                    <a:pt x="13481" y="2860"/>
                    <a:pt x="13481" y="3825"/>
                  </a:cubicBezTo>
                  <a:cubicBezTo>
                    <a:pt x="12309" y="4744"/>
                    <a:pt x="12058" y="5314"/>
                    <a:pt x="11556" y="5314"/>
                  </a:cubicBezTo>
                  <a:cubicBezTo>
                    <a:pt x="11891" y="5314"/>
                    <a:pt x="8203" y="6694"/>
                    <a:pt x="8203" y="8688"/>
                  </a:cubicBezTo>
                  <a:cubicBezTo>
                    <a:pt x="5781" y="10615"/>
                    <a:pt x="4604" y="13309"/>
                    <a:pt x="3437" y="14601"/>
                  </a:cubicBezTo>
                  <a:cubicBezTo>
                    <a:pt x="2265" y="15851"/>
                    <a:pt x="1596" y="17910"/>
                    <a:pt x="507" y="19115"/>
                  </a:cubicBezTo>
                  <a:cubicBezTo>
                    <a:pt x="507" y="20319"/>
                    <a:pt x="0" y="21283"/>
                    <a:pt x="0" y="21416"/>
                  </a:cubicBezTo>
                  <a:cubicBezTo>
                    <a:pt x="419" y="21416"/>
                    <a:pt x="2093" y="19729"/>
                    <a:pt x="4441" y="17625"/>
                  </a:cubicBezTo>
                  <a:cubicBezTo>
                    <a:pt x="6780" y="15478"/>
                    <a:pt x="8956" y="13901"/>
                    <a:pt x="8459" y="13901"/>
                  </a:cubicBezTo>
                  <a:close/>
                  <a:moveTo>
                    <a:pt x="8459" y="139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2" name="AutoShape 351"/>
            <p:cNvSpPr>
              <a:spLocks/>
            </p:cNvSpPr>
            <p:nvPr/>
          </p:nvSpPr>
          <p:spPr bwMode="auto">
            <a:xfrm>
              <a:off x="10579100" y="5130800"/>
              <a:ext cx="0" cy="1588"/>
            </a:xfrm>
            <a:custGeom>
              <a:avLst/>
              <a:gdLst/>
              <a:ahLst/>
              <a:cxnLst/>
              <a:rect l="0" t="0" r="r" b="b"/>
              <a:pathLst>
                <a:path w="17359" h="19328">
                  <a:moveTo>
                    <a:pt x="0" y="19328"/>
                  </a:moveTo>
                  <a:cubicBezTo>
                    <a:pt x="4224" y="19328"/>
                    <a:pt x="16069" y="12680"/>
                    <a:pt x="16069" y="5336"/>
                  </a:cubicBezTo>
                  <a:cubicBezTo>
                    <a:pt x="16069" y="-2272"/>
                    <a:pt x="21600" y="-1437"/>
                    <a:pt x="9755" y="5890"/>
                  </a:cubicBezTo>
                  <a:cubicBezTo>
                    <a:pt x="0" y="13502"/>
                    <a:pt x="3484" y="19328"/>
                    <a:pt x="0" y="19328"/>
                  </a:cubicBezTo>
                  <a:close/>
                  <a:moveTo>
                    <a:pt x="0" y="193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3" name="AutoShape 352"/>
            <p:cNvSpPr>
              <a:spLocks/>
            </p:cNvSpPr>
            <p:nvPr/>
          </p:nvSpPr>
          <p:spPr bwMode="auto">
            <a:xfrm>
              <a:off x="10579100" y="5118100"/>
              <a:ext cx="1588" cy="11113"/>
            </a:xfrm>
            <a:custGeom>
              <a:avLst/>
              <a:gdLst/>
              <a:ahLst/>
              <a:cxnLst/>
              <a:rect l="0" t="0" r="r" b="b"/>
              <a:pathLst>
                <a:path w="20137" h="20803">
                  <a:moveTo>
                    <a:pt x="5314" y="17741"/>
                  </a:moveTo>
                  <a:cubicBezTo>
                    <a:pt x="4217" y="18966"/>
                    <a:pt x="6407" y="18341"/>
                    <a:pt x="7668" y="16238"/>
                  </a:cubicBezTo>
                  <a:cubicBezTo>
                    <a:pt x="9012" y="14138"/>
                    <a:pt x="9932" y="13120"/>
                    <a:pt x="9932" y="13974"/>
                  </a:cubicBezTo>
                  <a:cubicBezTo>
                    <a:pt x="9012" y="14784"/>
                    <a:pt x="10441" y="14668"/>
                    <a:pt x="11360" y="13606"/>
                  </a:cubicBezTo>
                  <a:cubicBezTo>
                    <a:pt x="12705" y="12612"/>
                    <a:pt x="13798" y="9932"/>
                    <a:pt x="16319" y="7876"/>
                  </a:cubicBezTo>
                  <a:cubicBezTo>
                    <a:pt x="17412" y="5752"/>
                    <a:pt x="19597" y="3095"/>
                    <a:pt x="19597" y="1985"/>
                  </a:cubicBezTo>
                  <a:cubicBezTo>
                    <a:pt x="20863" y="924"/>
                    <a:pt x="19770" y="1501"/>
                    <a:pt x="17669" y="3256"/>
                  </a:cubicBezTo>
                  <a:cubicBezTo>
                    <a:pt x="16319" y="5127"/>
                    <a:pt x="13299" y="7275"/>
                    <a:pt x="13299" y="8177"/>
                  </a:cubicBezTo>
                  <a:cubicBezTo>
                    <a:pt x="11024" y="8825"/>
                    <a:pt x="12626" y="8338"/>
                    <a:pt x="13882" y="6582"/>
                  </a:cubicBezTo>
                  <a:cubicBezTo>
                    <a:pt x="15400" y="4942"/>
                    <a:pt x="16156" y="2539"/>
                    <a:pt x="17412" y="1453"/>
                  </a:cubicBezTo>
                  <a:cubicBezTo>
                    <a:pt x="17412" y="323"/>
                    <a:pt x="18005" y="-233"/>
                    <a:pt x="16739" y="91"/>
                  </a:cubicBezTo>
                  <a:cubicBezTo>
                    <a:pt x="16739" y="552"/>
                    <a:pt x="13299" y="2679"/>
                    <a:pt x="10861" y="5011"/>
                  </a:cubicBezTo>
                  <a:cubicBezTo>
                    <a:pt x="8419" y="7391"/>
                    <a:pt x="5225" y="11365"/>
                    <a:pt x="3886" y="13837"/>
                  </a:cubicBezTo>
                  <a:cubicBezTo>
                    <a:pt x="1448" y="16238"/>
                    <a:pt x="1784" y="19288"/>
                    <a:pt x="518" y="20305"/>
                  </a:cubicBezTo>
                  <a:cubicBezTo>
                    <a:pt x="-737" y="21367"/>
                    <a:pt x="356" y="20653"/>
                    <a:pt x="3040" y="18873"/>
                  </a:cubicBezTo>
                  <a:cubicBezTo>
                    <a:pt x="3040" y="16955"/>
                    <a:pt x="5314" y="16494"/>
                    <a:pt x="5314" y="17741"/>
                  </a:cubicBezTo>
                  <a:close/>
                  <a:moveTo>
                    <a:pt x="5314" y="177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4" name="AutoShape 353"/>
            <p:cNvSpPr>
              <a:spLocks/>
            </p:cNvSpPr>
            <p:nvPr/>
          </p:nvSpPr>
          <p:spPr bwMode="auto">
            <a:xfrm>
              <a:off x="10579100" y="5143500"/>
              <a:ext cx="0" cy="0"/>
            </a:xfrm>
            <a:custGeom>
              <a:avLst/>
              <a:gdLst/>
              <a:ahLst/>
              <a:cxnLst/>
              <a:rect l="0" t="0" r="r" b="b"/>
              <a:pathLst>
                <a:path w="21600" h="21600">
                  <a:moveTo>
                    <a:pt x="21600" y="0"/>
                  </a:moveTo>
                  <a:cubicBezTo>
                    <a:pt x="4909" y="11405"/>
                    <a:pt x="2884" y="21600"/>
                    <a:pt x="0" y="21600"/>
                  </a:cubicBezTo>
                  <a:cubicBezTo>
                    <a:pt x="0" y="20976"/>
                    <a:pt x="16691" y="12028"/>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5" name="AutoShape 354"/>
            <p:cNvSpPr>
              <a:spLocks/>
            </p:cNvSpPr>
            <p:nvPr/>
          </p:nvSpPr>
          <p:spPr bwMode="auto">
            <a:xfrm>
              <a:off x="10579100" y="5143500"/>
              <a:ext cx="0" cy="0"/>
            </a:xfrm>
            <a:custGeom>
              <a:avLst/>
              <a:gdLst/>
              <a:ahLst/>
              <a:cxnLst/>
              <a:rect l="0" t="0" r="r" b="b"/>
              <a:pathLst>
                <a:path w="11385" h="16899">
                  <a:moveTo>
                    <a:pt x="4275" y="11272"/>
                  </a:moveTo>
                  <a:cubicBezTo>
                    <a:pt x="4275" y="-4701"/>
                    <a:pt x="21600" y="-3133"/>
                    <a:pt x="2160" y="12405"/>
                  </a:cubicBezTo>
                  <a:cubicBezTo>
                    <a:pt x="2160" y="14198"/>
                    <a:pt x="675" y="15331"/>
                    <a:pt x="0" y="16899"/>
                  </a:cubicBezTo>
                  <a:cubicBezTo>
                    <a:pt x="2160" y="14894"/>
                    <a:pt x="2160" y="13530"/>
                    <a:pt x="4275" y="11272"/>
                  </a:cubicBezTo>
                  <a:close/>
                  <a:moveTo>
                    <a:pt x="4275" y="112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6" name="AutoShape 355"/>
            <p:cNvSpPr>
              <a:spLocks/>
            </p:cNvSpPr>
            <p:nvPr/>
          </p:nvSpPr>
          <p:spPr bwMode="auto">
            <a:xfrm>
              <a:off x="10591800" y="5105400"/>
              <a:ext cx="0" cy="1588"/>
            </a:xfrm>
            <a:custGeom>
              <a:avLst/>
              <a:gdLst/>
              <a:ahLst/>
              <a:cxnLst/>
              <a:rect l="0" t="0" r="r" b="b"/>
              <a:pathLst>
                <a:path w="21600" h="21600">
                  <a:moveTo>
                    <a:pt x="21600" y="0"/>
                  </a:moveTo>
                  <a:cubicBezTo>
                    <a:pt x="15120" y="7557"/>
                    <a:pt x="7155" y="14718"/>
                    <a:pt x="0" y="21600"/>
                  </a:cubicBezTo>
                  <a:cubicBezTo>
                    <a:pt x="2880" y="18353"/>
                    <a:pt x="5760" y="15257"/>
                    <a:pt x="12240" y="11884"/>
                  </a:cubicBezTo>
                  <a:cubicBezTo>
                    <a:pt x="12240" y="7975"/>
                    <a:pt x="18000" y="4048"/>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7" name="AutoShape 356"/>
            <p:cNvSpPr>
              <a:spLocks/>
            </p:cNvSpPr>
            <p:nvPr/>
          </p:nvSpPr>
          <p:spPr bwMode="auto">
            <a:xfrm>
              <a:off x="10591800" y="5092700"/>
              <a:ext cx="0" cy="0"/>
            </a:xfrm>
            <a:custGeom>
              <a:avLst/>
              <a:gdLst/>
              <a:ahLst/>
              <a:cxnLst/>
              <a:rect l="0" t="0" r="r" b="b"/>
              <a:pathLst>
                <a:path w="15037" h="17436">
                  <a:moveTo>
                    <a:pt x="10103" y="2653"/>
                  </a:moveTo>
                  <a:cubicBezTo>
                    <a:pt x="10103" y="5560"/>
                    <a:pt x="4016" y="11975"/>
                    <a:pt x="0" y="17436"/>
                  </a:cubicBezTo>
                  <a:cubicBezTo>
                    <a:pt x="10821" y="2653"/>
                    <a:pt x="21600" y="-4164"/>
                    <a:pt x="10103" y="2653"/>
                  </a:cubicBezTo>
                  <a:close/>
                  <a:moveTo>
                    <a:pt x="10103" y="26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8" name="AutoShape 357"/>
            <p:cNvSpPr>
              <a:spLocks/>
            </p:cNvSpPr>
            <p:nvPr/>
          </p:nvSpPr>
          <p:spPr bwMode="auto">
            <a:xfrm>
              <a:off x="10591800" y="5105400"/>
              <a:ext cx="0" cy="3175"/>
            </a:xfrm>
            <a:custGeom>
              <a:avLst/>
              <a:gdLst/>
              <a:ahLst/>
              <a:cxnLst/>
              <a:rect l="0" t="0" r="r" b="b"/>
              <a:pathLst>
                <a:path w="21600" h="21600">
                  <a:moveTo>
                    <a:pt x="19634" y="4245"/>
                  </a:moveTo>
                  <a:cubicBezTo>
                    <a:pt x="19634" y="3669"/>
                    <a:pt x="20445" y="1946"/>
                    <a:pt x="21600" y="0"/>
                  </a:cubicBezTo>
                  <a:cubicBezTo>
                    <a:pt x="21207" y="360"/>
                    <a:pt x="20838" y="936"/>
                    <a:pt x="20445" y="1224"/>
                  </a:cubicBezTo>
                  <a:cubicBezTo>
                    <a:pt x="14523" y="5543"/>
                    <a:pt x="7077" y="11521"/>
                    <a:pt x="7077" y="14108"/>
                  </a:cubicBezTo>
                  <a:cubicBezTo>
                    <a:pt x="1155" y="16417"/>
                    <a:pt x="393" y="19580"/>
                    <a:pt x="0" y="21600"/>
                  </a:cubicBezTo>
                  <a:cubicBezTo>
                    <a:pt x="1548" y="20448"/>
                    <a:pt x="4694" y="18576"/>
                    <a:pt x="7470" y="15982"/>
                  </a:cubicBezTo>
                  <a:cubicBezTo>
                    <a:pt x="14523" y="10799"/>
                    <a:pt x="19634" y="5330"/>
                    <a:pt x="19634" y="4245"/>
                  </a:cubicBezTo>
                  <a:close/>
                  <a:moveTo>
                    <a:pt x="19634" y="42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59" name="AutoShape 358"/>
            <p:cNvSpPr>
              <a:spLocks/>
            </p:cNvSpPr>
            <p:nvPr/>
          </p:nvSpPr>
          <p:spPr bwMode="auto">
            <a:xfrm>
              <a:off x="10579100" y="5105400"/>
              <a:ext cx="0" cy="1588"/>
            </a:xfrm>
            <a:custGeom>
              <a:avLst/>
              <a:gdLst/>
              <a:ahLst/>
              <a:cxnLst/>
              <a:rect l="0" t="0" r="r" b="b"/>
              <a:pathLst>
                <a:path w="13627" h="17891">
                  <a:moveTo>
                    <a:pt x="9090" y="7909"/>
                  </a:moveTo>
                  <a:cubicBezTo>
                    <a:pt x="20250" y="457"/>
                    <a:pt x="7313" y="-2759"/>
                    <a:pt x="7313" y="2823"/>
                  </a:cubicBezTo>
                  <a:cubicBezTo>
                    <a:pt x="-1350" y="7413"/>
                    <a:pt x="90" y="14861"/>
                    <a:pt x="90" y="17596"/>
                  </a:cubicBezTo>
                  <a:cubicBezTo>
                    <a:pt x="7313" y="18841"/>
                    <a:pt x="9090" y="16234"/>
                    <a:pt x="9090" y="7909"/>
                  </a:cubicBezTo>
                  <a:close/>
                  <a:moveTo>
                    <a:pt x="9090" y="79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0" name="AutoShape 359"/>
            <p:cNvSpPr>
              <a:spLocks/>
            </p:cNvSpPr>
            <p:nvPr/>
          </p:nvSpPr>
          <p:spPr bwMode="auto">
            <a:xfrm>
              <a:off x="10579100" y="5105400"/>
              <a:ext cx="0" cy="1588"/>
            </a:xfrm>
            <a:custGeom>
              <a:avLst/>
              <a:gdLst/>
              <a:ahLst/>
              <a:cxnLst/>
              <a:rect l="0" t="0" r="r" b="b"/>
              <a:pathLst>
                <a:path w="19818" h="18930">
                  <a:moveTo>
                    <a:pt x="0" y="12924"/>
                  </a:moveTo>
                  <a:cubicBezTo>
                    <a:pt x="0" y="18704"/>
                    <a:pt x="6171" y="20692"/>
                    <a:pt x="6171" y="17208"/>
                  </a:cubicBezTo>
                  <a:cubicBezTo>
                    <a:pt x="21600" y="14719"/>
                    <a:pt x="19749" y="8245"/>
                    <a:pt x="19749" y="4667"/>
                  </a:cubicBezTo>
                  <a:cubicBezTo>
                    <a:pt x="19749" y="1183"/>
                    <a:pt x="13577" y="-908"/>
                    <a:pt x="13577" y="386"/>
                  </a:cubicBezTo>
                  <a:cubicBezTo>
                    <a:pt x="13577" y="1774"/>
                    <a:pt x="0" y="7156"/>
                    <a:pt x="0" y="12924"/>
                  </a:cubicBezTo>
                  <a:close/>
                  <a:moveTo>
                    <a:pt x="0" y="129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1" name="AutoShape 360"/>
            <p:cNvSpPr>
              <a:spLocks/>
            </p:cNvSpPr>
            <p:nvPr/>
          </p:nvSpPr>
          <p:spPr bwMode="auto">
            <a:xfrm>
              <a:off x="10579100" y="5130800"/>
              <a:ext cx="1588" cy="7938"/>
            </a:xfrm>
            <a:custGeom>
              <a:avLst/>
              <a:gdLst/>
              <a:ahLst/>
              <a:cxnLst/>
              <a:rect l="0" t="0" r="r" b="b"/>
              <a:pathLst>
                <a:path w="20108" h="21308">
                  <a:moveTo>
                    <a:pt x="17302" y="2163"/>
                  </a:moveTo>
                  <a:cubicBezTo>
                    <a:pt x="17302" y="4978"/>
                    <a:pt x="8905" y="10132"/>
                    <a:pt x="6740" y="13837"/>
                  </a:cubicBezTo>
                  <a:cubicBezTo>
                    <a:pt x="4245" y="17598"/>
                    <a:pt x="-1492" y="21243"/>
                    <a:pt x="362" y="21243"/>
                  </a:cubicBezTo>
                  <a:cubicBezTo>
                    <a:pt x="362" y="21600"/>
                    <a:pt x="-715" y="20445"/>
                    <a:pt x="3168" y="18991"/>
                  </a:cubicBezTo>
                  <a:cubicBezTo>
                    <a:pt x="3168" y="17332"/>
                    <a:pt x="9060" y="13273"/>
                    <a:pt x="11400" y="9926"/>
                  </a:cubicBezTo>
                  <a:cubicBezTo>
                    <a:pt x="13419" y="6905"/>
                    <a:pt x="17603" y="2845"/>
                    <a:pt x="20108" y="0"/>
                  </a:cubicBezTo>
                  <a:cubicBezTo>
                    <a:pt x="19322" y="743"/>
                    <a:pt x="18545" y="1453"/>
                    <a:pt x="17302" y="2163"/>
                  </a:cubicBezTo>
                  <a:close/>
                  <a:moveTo>
                    <a:pt x="17302" y="21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2" name="AutoShape 361"/>
            <p:cNvSpPr>
              <a:spLocks/>
            </p:cNvSpPr>
            <p:nvPr/>
          </p:nvSpPr>
          <p:spPr bwMode="auto">
            <a:xfrm>
              <a:off x="10591800" y="5067300"/>
              <a:ext cx="0" cy="0"/>
            </a:xfrm>
            <a:custGeom>
              <a:avLst/>
              <a:gdLst/>
              <a:ahLst/>
              <a:cxnLst/>
              <a:rect l="0" t="0" r="r" b="b"/>
              <a:pathLst>
                <a:path w="17021" h="20130">
                  <a:moveTo>
                    <a:pt x="11937" y="1292"/>
                  </a:moveTo>
                  <a:cubicBezTo>
                    <a:pt x="6821" y="4207"/>
                    <a:pt x="533" y="12488"/>
                    <a:pt x="0" y="20130"/>
                  </a:cubicBezTo>
                  <a:cubicBezTo>
                    <a:pt x="3375" y="15418"/>
                    <a:pt x="7922" y="10879"/>
                    <a:pt x="7922" y="6649"/>
                  </a:cubicBezTo>
                  <a:cubicBezTo>
                    <a:pt x="15916" y="145"/>
                    <a:pt x="21600" y="-1470"/>
                    <a:pt x="11937" y="1292"/>
                  </a:cubicBezTo>
                  <a:close/>
                  <a:moveTo>
                    <a:pt x="11937" y="12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3" name="AutoShape 362"/>
            <p:cNvSpPr>
              <a:spLocks/>
            </p:cNvSpPr>
            <p:nvPr/>
          </p:nvSpPr>
          <p:spPr bwMode="auto">
            <a:xfrm>
              <a:off x="10591800" y="5105400"/>
              <a:ext cx="1588" cy="9525"/>
            </a:xfrm>
            <a:custGeom>
              <a:avLst/>
              <a:gdLst/>
              <a:ahLst/>
              <a:cxnLst/>
              <a:rect l="0" t="0" r="r" b="b"/>
              <a:pathLst>
                <a:path w="20082" h="21076">
                  <a:moveTo>
                    <a:pt x="11495" y="7730"/>
                  </a:moveTo>
                  <a:cubicBezTo>
                    <a:pt x="7963" y="11438"/>
                    <a:pt x="2713" y="15627"/>
                    <a:pt x="2713" y="17092"/>
                  </a:cubicBezTo>
                  <a:cubicBezTo>
                    <a:pt x="997" y="18480"/>
                    <a:pt x="-827" y="20196"/>
                    <a:pt x="401" y="20725"/>
                  </a:cubicBezTo>
                  <a:cubicBezTo>
                    <a:pt x="-827" y="21229"/>
                    <a:pt x="1485" y="21229"/>
                    <a:pt x="1485" y="20472"/>
                  </a:cubicBezTo>
                  <a:cubicBezTo>
                    <a:pt x="1485" y="19741"/>
                    <a:pt x="4171" y="18831"/>
                    <a:pt x="4171" y="18379"/>
                  </a:cubicBezTo>
                  <a:cubicBezTo>
                    <a:pt x="4171" y="17924"/>
                    <a:pt x="6246" y="17343"/>
                    <a:pt x="6246" y="16991"/>
                  </a:cubicBezTo>
                  <a:cubicBezTo>
                    <a:pt x="7345" y="16764"/>
                    <a:pt x="10160" y="14971"/>
                    <a:pt x="10160" y="13154"/>
                  </a:cubicBezTo>
                  <a:cubicBezTo>
                    <a:pt x="11861" y="11389"/>
                    <a:pt x="15409" y="7525"/>
                    <a:pt x="17240" y="4574"/>
                  </a:cubicBezTo>
                  <a:cubicBezTo>
                    <a:pt x="19072" y="1621"/>
                    <a:pt x="20773" y="-371"/>
                    <a:pt x="19796" y="58"/>
                  </a:cubicBezTo>
                  <a:cubicBezTo>
                    <a:pt x="19796" y="587"/>
                    <a:pt x="15035" y="3993"/>
                    <a:pt x="11495" y="7730"/>
                  </a:cubicBezTo>
                  <a:close/>
                  <a:moveTo>
                    <a:pt x="11495" y="77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4" name="AutoShape 363"/>
            <p:cNvSpPr>
              <a:spLocks/>
            </p:cNvSpPr>
            <p:nvPr/>
          </p:nvSpPr>
          <p:spPr bwMode="auto">
            <a:xfrm>
              <a:off x="10591800" y="5080000"/>
              <a:ext cx="0" cy="0"/>
            </a:xfrm>
            <a:custGeom>
              <a:avLst/>
              <a:gdLst/>
              <a:ahLst/>
              <a:cxnLst/>
              <a:rect l="0" t="0" r="r" b="b"/>
              <a:pathLst>
                <a:path w="15611" h="19236">
                  <a:moveTo>
                    <a:pt x="7584" y="4492"/>
                  </a:moveTo>
                  <a:cubicBezTo>
                    <a:pt x="7584" y="8043"/>
                    <a:pt x="5417" y="13781"/>
                    <a:pt x="0" y="19236"/>
                  </a:cubicBezTo>
                  <a:cubicBezTo>
                    <a:pt x="5417" y="15684"/>
                    <a:pt x="8667" y="9947"/>
                    <a:pt x="13001" y="8043"/>
                  </a:cubicBezTo>
                  <a:cubicBezTo>
                    <a:pt x="13001" y="-1519"/>
                    <a:pt x="21600" y="-2364"/>
                    <a:pt x="7584" y="4492"/>
                  </a:cubicBezTo>
                  <a:close/>
                  <a:moveTo>
                    <a:pt x="7584" y="44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5" name="AutoShape 364"/>
            <p:cNvSpPr>
              <a:spLocks/>
            </p:cNvSpPr>
            <p:nvPr/>
          </p:nvSpPr>
          <p:spPr bwMode="auto">
            <a:xfrm>
              <a:off x="10579100" y="5143500"/>
              <a:ext cx="0" cy="0"/>
            </a:xfrm>
            <a:custGeom>
              <a:avLst/>
              <a:gdLst/>
              <a:ahLst/>
              <a:cxnLst/>
              <a:rect l="0" t="0" r="r" b="b"/>
              <a:pathLst>
                <a:path w="14800" h="19326">
                  <a:moveTo>
                    <a:pt x="0" y="19326"/>
                  </a:moveTo>
                  <a:cubicBezTo>
                    <a:pt x="5760" y="6015"/>
                    <a:pt x="21600" y="-2274"/>
                    <a:pt x="11520" y="552"/>
                  </a:cubicBezTo>
                  <a:cubicBezTo>
                    <a:pt x="7155" y="2766"/>
                    <a:pt x="5040" y="10437"/>
                    <a:pt x="0" y="19326"/>
                  </a:cubicBezTo>
                  <a:close/>
                  <a:moveTo>
                    <a:pt x="0" y="193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6" name="AutoShape 365"/>
            <p:cNvSpPr>
              <a:spLocks/>
            </p:cNvSpPr>
            <p:nvPr/>
          </p:nvSpPr>
          <p:spPr bwMode="auto">
            <a:xfrm>
              <a:off x="10579100" y="5130800"/>
              <a:ext cx="11113" cy="23813"/>
            </a:xfrm>
            <a:custGeom>
              <a:avLst/>
              <a:gdLst/>
              <a:ahLst/>
              <a:cxnLst/>
              <a:rect l="0" t="0" r="r" b="b"/>
              <a:pathLst>
                <a:path w="21273" h="21600">
                  <a:moveTo>
                    <a:pt x="7594" y="4703"/>
                  </a:moveTo>
                  <a:cubicBezTo>
                    <a:pt x="7594" y="3550"/>
                    <a:pt x="8378" y="2640"/>
                    <a:pt x="8336" y="2640"/>
                  </a:cubicBezTo>
                  <a:cubicBezTo>
                    <a:pt x="8336" y="2652"/>
                    <a:pt x="8510" y="1986"/>
                    <a:pt x="8816" y="1199"/>
                  </a:cubicBezTo>
                  <a:cubicBezTo>
                    <a:pt x="9187" y="421"/>
                    <a:pt x="9470" y="0"/>
                    <a:pt x="9209" y="0"/>
                  </a:cubicBezTo>
                  <a:cubicBezTo>
                    <a:pt x="9012" y="88"/>
                    <a:pt x="8554" y="1187"/>
                    <a:pt x="8227" y="2396"/>
                  </a:cubicBezTo>
                  <a:cubicBezTo>
                    <a:pt x="7571" y="3572"/>
                    <a:pt x="7507" y="4782"/>
                    <a:pt x="7223" y="4782"/>
                  </a:cubicBezTo>
                  <a:cubicBezTo>
                    <a:pt x="7223" y="4837"/>
                    <a:pt x="7265" y="4737"/>
                    <a:pt x="7223" y="4714"/>
                  </a:cubicBezTo>
                  <a:cubicBezTo>
                    <a:pt x="7201" y="4826"/>
                    <a:pt x="7114" y="5003"/>
                    <a:pt x="6852" y="5203"/>
                  </a:cubicBezTo>
                  <a:cubicBezTo>
                    <a:pt x="6852" y="5691"/>
                    <a:pt x="5978" y="6412"/>
                    <a:pt x="5978" y="6889"/>
                  </a:cubicBezTo>
                  <a:cubicBezTo>
                    <a:pt x="5566" y="7311"/>
                    <a:pt x="4910" y="8353"/>
                    <a:pt x="4910" y="9198"/>
                  </a:cubicBezTo>
                  <a:cubicBezTo>
                    <a:pt x="4583" y="10029"/>
                    <a:pt x="4473" y="11372"/>
                    <a:pt x="3798" y="12048"/>
                  </a:cubicBezTo>
                  <a:cubicBezTo>
                    <a:pt x="3798" y="12792"/>
                    <a:pt x="3185" y="13857"/>
                    <a:pt x="2815" y="14401"/>
                  </a:cubicBezTo>
                  <a:cubicBezTo>
                    <a:pt x="2554" y="14955"/>
                    <a:pt x="2160" y="16387"/>
                    <a:pt x="1550" y="17530"/>
                  </a:cubicBezTo>
                  <a:cubicBezTo>
                    <a:pt x="1201" y="18694"/>
                    <a:pt x="547" y="20259"/>
                    <a:pt x="196" y="20990"/>
                  </a:cubicBezTo>
                  <a:cubicBezTo>
                    <a:pt x="109" y="21257"/>
                    <a:pt x="45" y="21423"/>
                    <a:pt x="0" y="21600"/>
                  </a:cubicBezTo>
                  <a:cubicBezTo>
                    <a:pt x="241" y="20924"/>
                    <a:pt x="764" y="19614"/>
                    <a:pt x="1485" y="18184"/>
                  </a:cubicBezTo>
                  <a:cubicBezTo>
                    <a:pt x="2138" y="16154"/>
                    <a:pt x="2422" y="15199"/>
                    <a:pt x="2422" y="16054"/>
                  </a:cubicBezTo>
                  <a:cubicBezTo>
                    <a:pt x="1790" y="16853"/>
                    <a:pt x="1767" y="18184"/>
                    <a:pt x="1418" y="18871"/>
                  </a:cubicBezTo>
                  <a:cubicBezTo>
                    <a:pt x="1092" y="19560"/>
                    <a:pt x="960" y="19870"/>
                    <a:pt x="1245" y="19581"/>
                  </a:cubicBezTo>
                  <a:cubicBezTo>
                    <a:pt x="1245" y="19260"/>
                    <a:pt x="2247" y="17907"/>
                    <a:pt x="2531" y="16487"/>
                  </a:cubicBezTo>
                  <a:cubicBezTo>
                    <a:pt x="2881" y="15088"/>
                    <a:pt x="3492" y="13801"/>
                    <a:pt x="3689" y="13701"/>
                  </a:cubicBezTo>
                  <a:cubicBezTo>
                    <a:pt x="3689" y="13546"/>
                    <a:pt x="3492" y="14278"/>
                    <a:pt x="3143" y="15288"/>
                  </a:cubicBezTo>
                  <a:cubicBezTo>
                    <a:pt x="2815" y="16331"/>
                    <a:pt x="2705" y="17008"/>
                    <a:pt x="2705" y="16797"/>
                  </a:cubicBezTo>
                  <a:cubicBezTo>
                    <a:pt x="2947" y="16664"/>
                    <a:pt x="3185" y="15987"/>
                    <a:pt x="3427" y="15265"/>
                  </a:cubicBezTo>
                  <a:cubicBezTo>
                    <a:pt x="3427" y="15244"/>
                    <a:pt x="3427" y="15244"/>
                    <a:pt x="3427" y="15210"/>
                  </a:cubicBezTo>
                  <a:cubicBezTo>
                    <a:pt x="3469" y="15055"/>
                    <a:pt x="3535" y="14911"/>
                    <a:pt x="3580" y="14744"/>
                  </a:cubicBezTo>
                  <a:cubicBezTo>
                    <a:pt x="3863" y="14390"/>
                    <a:pt x="3972" y="14012"/>
                    <a:pt x="4081" y="13668"/>
                  </a:cubicBezTo>
                  <a:cubicBezTo>
                    <a:pt x="4234" y="13180"/>
                    <a:pt x="4298" y="12758"/>
                    <a:pt x="4430" y="12636"/>
                  </a:cubicBezTo>
                  <a:cubicBezTo>
                    <a:pt x="4736" y="12481"/>
                    <a:pt x="4256" y="12937"/>
                    <a:pt x="4081" y="13668"/>
                  </a:cubicBezTo>
                  <a:cubicBezTo>
                    <a:pt x="4060" y="13789"/>
                    <a:pt x="3972" y="13845"/>
                    <a:pt x="3972" y="13990"/>
                  </a:cubicBezTo>
                  <a:cubicBezTo>
                    <a:pt x="3667" y="14455"/>
                    <a:pt x="3514" y="14888"/>
                    <a:pt x="3427" y="15210"/>
                  </a:cubicBezTo>
                  <a:cubicBezTo>
                    <a:pt x="3427" y="15244"/>
                    <a:pt x="3427" y="15244"/>
                    <a:pt x="3427" y="15265"/>
                  </a:cubicBezTo>
                  <a:cubicBezTo>
                    <a:pt x="3340" y="15577"/>
                    <a:pt x="3318" y="15787"/>
                    <a:pt x="3318" y="15787"/>
                  </a:cubicBezTo>
                  <a:cubicBezTo>
                    <a:pt x="3318" y="15787"/>
                    <a:pt x="2380" y="16941"/>
                    <a:pt x="4343" y="18073"/>
                  </a:cubicBezTo>
                  <a:cubicBezTo>
                    <a:pt x="7070" y="19537"/>
                    <a:pt x="11434" y="20736"/>
                    <a:pt x="14030" y="20736"/>
                  </a:cubicBezTo>
                  <a:cubicBezTo>
                    <a:pt x="16649" y="20736"/>
                    <a:pt x="19616" y="19793"/>
                    <a:pt x="20620" y="18661"/>
                  </a:cubicBezTo>
                  <a:cubicBezTo>
                    <a:pt x="21600" y="17507"/>
                    <a:pt x="21470" y="14622"/>
                    <a:pt x="20270" y="12227"/>
                  </a:cubicBezTo>
                  <a:cubicBezTo>
                    <a:pt x="19113" y="9829"/>
                    <a:pt x="5849" y="7832"/>
                    <a:pt x="7594" y="4703"/>
                  </a:cubicBezTo>
                  <a:close/>
                  <a:moveTo>
                    <a:pt x="7594" y="47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7" name="AutoShape 366"/>
            <p:cNvSpPr>
              <a:spLocks/>
            </p:cNvSpPr>
            <p:nvPr/>
          </p:nvSpPr>
          <p:spPr bwMode="auto">
            <a:xfrm>
              <a:off x="10591800" y="5080000"/>
              <a:ext cx="0" cy="3175"/>
            </a:xfrm>
            <a:custGeom>
              <a:avLst/>
              <a:gdLst/>
              <a:ahLst/>
              <a:cxnLst/>
              <a:rect l="0" t="0" r="r" b="b"/>
              <a:pathLst>
                <a:path w="19486" h="19836">
                  <a:moveTo>
                    <a:pt x="0" y="19686"/>
                  </a:moveTo>
                  <a:cubicBezTo>
                    <a:pt x="0" y="20610"/>
                    <a:pt x="3978" y="17168"/>
                    <a:pt x="8676" y="12065"/>
                  </a:cubicBezTo>
                  <a:cubicBezTo>
                    <a:pt x="14048" y="7025"/>
                    <a:pt x="18723" y="1657"/>
                    <a:pt x="18723" y="265"/>
                  </a:cubicBezTo>
                  <a:cubicBezTo>
                    <a:pt x="21600" y="-990"/>
                    <a:pt x="15846" y="2321"/>
                    <a:pt x="9732" y="7886"/>
                  </a:cubicBezTo>
                  <a:cubicBezTo>
                    <a:pt x="4698" y="13457"/>
                    <a:pt x="5057" y="19686"/>
                    <a:pt x="0" y="19686"/>
                  </a:cubicBezTo>
                  <a:close/>
                  <a:moveTo>
                    <a:pt x="0" y="196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8" name="AutoShape 367"/>
            <p:cNvSpPr>
              <a:spLocks/>
            </p:cNvSpPr>
            <p:nvPr/>
          </p:nvSpPr>
          <p:spPr bwMode="auto">
            <a:xfrm>
              <a:off x="10591800" y="5105400"/>
              <a:ext cx="0" cy="0"/>
            </a:xfrm>
            <a:custGeom>
              <a:avLst/>
              <a:gdLst/>
              <a:ahLst/>
              <a:cxnLst/>
              <a:rect l="0" t="0" r="r" b="b"/>
              <a:pathLst>
                <a:path w="21600" h="21600">
                  <a:moveTo>
                    <a:pt x="16313" y="4471"/>
                  </a:moveTo>
                  <a:cubicBezTo>
                    <a:pt x="12600" y="9315"/>
                    <a:pt x="5400" y="16034"/>
                    <a:pt x="0" y="21600"/>
                  </a:cubicBezTo>
                  <a:cubicBezTo>
                    <a:pt x="8888" y="13053"/>
                    <a:pt x="12600" y="7825"/>
                    <a:pt x="21600" y="0"/>
                  </a:cubicBezTo>
                  <a:cubicBezTo>
                    <a:pt x="17888" y="1875"/>
                    <a:pt x="17888" y="2259"/>
                    <a:pt x="16313" y="4471"/>
                  </a:cubicBezTo>
                  <a:close/>
                  <a:moveTo>
                    <a:pt x="16313" y="44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69" name="AutoShape 368"/>
            <p:cNvSpPr>
              <a:spLocks/>
            </p:cNvSpPr>
            <p:nvPr/>
          </p:nvSpPr>
          <p:spPr bwMode="auto">
            <a:xfrm>
              <a:off x="10591800" y="5080000"/>
              <a:ext cx="0" cy="7938"/>
            </a:xfrm>
            <a:custGeom>
              <a:avLst/>
              <a:gdLst/>
              <a:ahLst/>
              <a:cxnLst/>
              <a:rect l="0" t="0" r="r" b="b"/>
              <a:pathLst>
                <a:path w="20639" h="21030">
                  <a:moveTo>
                    <a:pt x="8960" y="13786"/>
                  </a:moveTo>
                  <a:cubicBezTo>
                    <a:pt x="12145" y="12666"/>
                    <a:pt x="11780" y="11022"/>
                    <a:pt x="11780" y="10376"/>
                  </a:cubicBezTo>
                  <a:cubicBezTo>
                    <a:pt x="11780" y="9786"/>
                    <a:pt x="12145" y="7114"/>
                    <a:pt x="17089" y="4703"/>
                  </a:cubicBezTo>
                  <a:cubicBezTo>
                    <a:pt x="17089" y="2999"/>
                    <a:pt x="18681" y="1354"/>
                    <a:pt x="20639" y="0"/>
                  </a:cubicBezTo>
                  <a:cubicBezTo>
                    <a:pt x="19754" y="559"/>
                    <a:pt x="18869" y="1119"/>
                    <a:pt x="17631" y="1558"/>
                  </a:cubicBezTo>
                  <a:cubicBezTo>
                    <a:pt x="17631" y="2735"/>
                    <a:pt x="14445" y="5290"/>
                    <a:pt x="11614" y="7171"/>
                  </a:cubicBezTo>
                  <a:cubicBezTo>
                    <a:pt x="9137" y="9141"/>
                    <a:pt x="6128" y="12786"/>
                    <a:pt x="3651" y="15254"/>
                  </a:cubicBezTo>
                  <a:cubicBezTo>
                    <a:pt x="3651" y="17781"/>
                    <a:pt x="1339" y="19337"/>
                    <a:pt x="1339" y="18720"/>
                  </a:cubicBezTo>
                  <a:cubicBezTo>
                    <a:pt x="1339" y="18163"/>
                    <a:pt x="997" y="18838"/>
                    <a:pt x="997" y="20219"/>
                  </a:cubicBezTo>
                  <a:cubicBezTo>
                    <a:pt x="-961" y="21600"/>
                    <a:pt x="112" y="21161"/>
                    <a:pt x="2943" y="19337"/>
                  </a:cubicBezTo>
                  <a:cubicBezTo>
                    <a:pt x="5056" y="17547"/>
                    <a:pt x="8960" y="15047"/>
                    <a:pt x="8960" y="13786"/>
                  </a:cubicBezTo>
                  <a:close/>
                  <a:moveTo>
                    <a:pt x="8960" y="137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0" name="AutoShape 369"/>
            <p:cNvSpPr>
              <a:spLocks/>
            </p:cNvSpPr>
            <p:nvPr/>
          </p:nvSpPr>
          <p:spPr bwMode="auto">
            <a:xfrm>
              <a:off x="10591800" y="5080000"/>
              <a:ext cx="4763" cy="9525"/>
            </a:xfrm>
            <a:custGeom>
              <a:avLst/>
              <a:gdLst/>
              <a:ahLst/>
              <a:cxnLst/>
              <a:rect l="0" t="0" r="r" b="b"/>
              <a:pathLst>
                <a:path w="20237" h="20779">
                  <a:moveTo>
                    <a:pt x="15301" y="233"/>
                  </a:moveTo>
                  <a:cubicBezTo>
                    <a:pt x="11619" y="-538"/>
                    <a:pt x="6202" y="654"/>
                    <a:pt x="5002" y="2991"/>
                  </a:cubicBezTo>
                  <a:cubicBezTo>
                    <a:pt x="4464" y="5399"/>
                    <a:pt x="2227" y="10216"/>
                    <a:pt x="1609" y="13744"/>
                  </a:cubicBezTo>
                  <a:cubicBezTo>
                    <a:pt x="368" y="17251"/>
                    <a:pt x="-501" y="20315"/>
                    <a:pt x="324" y="20430"/>
                  </a:cubicBezTo>
                  <a:cubicBezTo>
                    <a:pt x="5454" y="21062"/>
                    <a:pt x="11412" y="20806"/>
                    <a:pt x="13649" y="19894"/>
                  </a:cubicBezTo>
                  <a:cubicBezTo>
                    <a:pt x="15839" y="18981"/>
                    <a:pt x="18694" y="14493"/>
                    <a:pt x="19894" y="9935"/>
                  </a:cubicBezTo>
                  <a:cubicBezTo>
                    <a:pt x="21099" y="5375"/>
                    <a:pt x="19025" y="1004"/>
                    <a:pt x="15301" y="233"/>
                  </a:cubicBezTo>
                  <a:close/>
                  <a:moveTo>
                    <a:pt x="15301" y="23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1" name="AutoShape 370"/>
            <p:cNvSpPr>
              <a:spLocks/>
            </p:cNvSpPr>
            <p:nvPr/>
          </p:nvSpPr>
          <p:spPr bwMode="auto">
            <a:xfrm>
              <a:off x="10591800" y="5118100"/>
              <a:ext cx="1588" cy="6350"/>
            </a:xfrm>
            <a:custGeom>
              <a:avLst/>
              <a:gdLst/>
              <a:ahLst/>
              <a:cxnLst/>
              <a:rect l="0" t="0" r="r" b="b"/>
              <a:pathLst>
                <a:path w="21143" h="21031">
                  <a:moveTo>
                    <a:pt x="18392" y="3859"/>
                  </a:moveTo>
                  <a:cubicBezTo>
                    <a:pt x="20258" y="1673"/>
                    <a:pt x="21467" y="-140"/>
                    <a:pt x="21067" y="8"/>
                  </a:cubicBezTo>
                  <a:cubicBezTo>
                    <a:pt x="21600" y="8"/>
                    <a:pt x="18925" y="342"/>
                    <a:pt x="17733" y="710"/>
                  </a:cubicBezTo>
                  <a:cubicBezTo>
                    <a:pt x="19467" y="710"/>
                    <a:pt x="12125" y="2899"/>
                    <a:pt x="12125" y="4898"/>
                  </a:cubicBezTo>
                  <a:cubicBezTo>
                    <a:pt x="8258" y="6529"/>
                    <a:pt x="8933" y="7899"/>
                    <a:pt x="8933" y="7269"/>
                  </a:cubicBezTo>
                  <a:cubicBezTo>
                    <a:pt x="8933" y="6602"/>
                    <a:pt x="8258" y="7342"/>
                    <a:pt x="6525" y="8825"/>
                  </a:cubicBezTo>
                  <a:cubicBezTo>
                    <a:pt x="6525" y="10380"/>
                    <a:pt x="1600" y="12385"/>
                    <a:pt x="3592" y="12900"/>
                  </a:cubicBezTo>
                  <a:cubicBezTo>
                    <a:pt x="3592" y="13716"/>
                    <a:pt x="4400" y="15901"/>
                    <a:pt x="1200" y="17237"/>
                  </a:cubicBezTo>
                  <a:cubicBezTo>
                    <a:pt x="1200" y="18830"/>
                    <a:pt x="1733" y="20977"/>
                    <a:pt x="0" y="20977"/>
                  </a:cubicBezTo>
                  <a:cubicBezTo>
                    <a:pt x="0" y="21460"/>
                    <a:pt x="3725" y="18644"/>
                    <a:pt x="7725" y="14790"/>
                  </a:cubicBezTo>
                  <a:cubicBezTo>
                    <a:pt x="11725" y="10900"/>
                    <a:pt x="15733" y="5972"/>
                    <a:pt x="18392" y="3859"/>
                  </a:cubicBezTo>
                  <a:close/>
                  <a:moveTo>
                    <a:pt x="18392" y="38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2" name="AutoShape 371"/>
            <p:cNvSpPr>
              <a:spLocks/>
            </p:cNvSpPr>
            <p:nvPr/>
          </p:nvSpPr>
          <p:spPr bwMode="auto">
            <a:xfrm>
              <a:off x="10579100" y="5156200"/>
              <a:ext cx="3175" cy="19050"/>
            </a:xfrm>
            <a:custGeom>
              <a:avLst/>
              <a:gdLst/>
              <a:ahLst/>
              <a:cxnLst/>
              <a:rect l="0" t="0" r="r" b="b"/>
              <a:pathLst>
                <a:path w="21221" h="21340">
                  <a:moveTo>
                    <a:pt x="19648" y="2702"/>
                  </a:moveTo>
                  <a:cubicBezTo>
                    <a:pt x="19648" y="1856"/>
                    <a:pt x="21221" y="830"/>
                    <a:pt x="21221" y="362"/>
                  </a:cubicBezTo>
                  <a:cubicBezTo>
                    <a:pt x="21221" y="-67"/>
                    <a:pt x="21043" y="-132"/>
                    <a:pt x="20136" y="258"/>
                  </a:cubicBezTo>
                  <a:cubicBezTo>
                    <a:pt x="19288" y="648"/>
                    <a:pt x="17409" y="1960"/>
                    <a:pt x="16444" y="3221"/>
                  </a:cubicBezTo>
                  <a:cubicBezTo>
                    <a:pt x="14504" y="4442"/>
                    <a:pt x="14205" y="5210"/>
                    <a:pt x="14205" y="4897"/>
                  </a:cubicBezTo>
                  <a:cubicBezTo>
                    <a:pt x="15291" y="4663"/>
                    <a:pt x="13176" y="5197"/>
                    <a:pt x="12204" y="6301"/>
                  </a:cubicBezTo>
                  <a:cubicBezTo>
                    <a:pt x="11119" y="7406"/>
                    <a:pt x="8517" y="9863"/>
                    <a:pt x="6758" y="11786"/>
                  </a:cubicBezTo>
                  <a:cubicBezTo>
                    <a:pt x="5128" y="13697"/>
                    <a:pt x="1614" y="16348"/>
                    <a:pt x="1614" y="17751"/>
                  </a:cubicBezTo>
                  <a:cubicBezTo>
                    <a:pt x="-137" y="19064"/>
                    <a:pt x="585" y="20221"/>
                    <a:pt x="283" y="20221"/>
                  </a:cubicBezTo>
                  <a:cubicBezTo>
                    <a:pt x="650" y="20221"/>
                    <a:pt x="1255" y="20636"/>
                    <a:pt x="283" y="21040"/>
                  </a:cubicBezTo>
                  <a:cubicBezTo>
                    <a:pt x="-379" y="21468"/>
                    <a:pt x="226" y="21443"/>
                    <a:pt x="1013" y="20936"/>
                  </a:cubicBezTo>
                  <a:cubicBezTo>
                    <a:pt x="1803" y="20455"/>
                    <a:pt x="3010" y="19910"/>
                    <a:pt x="3010" y="19687"/>
                  </a:cubicBezTo>
                  <a:cubicBezTo>
                    <a:pt x="3615" y="19558"/>
                    <a:pt x="5790" y="18077"/>
                    <a:pt x="6758" y="16413"/>
                  </a:cubicBezTo>
                  <a:cubicBezTo>
                    <a:pt x="8396" y="14814"/>
                    <a:pt x="9727" y="13281"/>
                    <a:pt x="10332" y="13150"/>
                  </a:cubicBezTo>
                  <a:cubicBezTo>
                    <a:pt x="10332" y="12956"/>
                    <a:pt x="11119" y="11838"/>
                    <a:pt x="12813" y="10747"/>
                  </a:cubicBezTo>
                  <a:cubicBezTo>
                    <a:pt x="13717" y="9615"/>
                    <a:pt x="15718" y="7679"/>
                    <a:pt x="16505" y="6444"/>
                  </a:cubicBezTo>
                  <a:cubicBezTo>
                    <a:pt x="17473" y="5210"/>
                    <a:pt x="18377" y="3495"/>
                    <a:pt x="19648" y="2702"/>
                  </a:cubicBezTo>
                  <a:close/>
                  <a:moveTo>
                    <a:pt x="19648" y="270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3" name="AutoShape 372"/>
            <p:cNvSpPr>
              <a:spLocks/>
            </p:cNvSpPr>
            <p:nvPr/>
          </p:nvSpPr>
          <p:spPr bwMode="auto">
            <a:xfrm>
              <a:off x="10579100" y="5143500"/>
              <a:ext cx="0" cy="1588"/>
            </a:xfrm>
            <a:custGeom>
              <a:avLst/>
              <a:gdLst/>
              <a:ahLst/>
              <a:cxnLst/>
              <a:rect l="0" t="0" r="r" b="b"/>
              <a:pathLst>
                <a:path w="17089" h="17976">
                  <a:moveTo>
                    <a:pt x="10220" y="6714"/>
                  </a:moveTo>
                  <a:cubicBezTo>
                    <a:pt x="17058" y="-967"/>
                    <a:pt x="21600" y="-1947"/>
                    <a:pt x="9842" y="3208"/>
                  </a:cubicBezTo>
                  <a:cubicBezTo>
                    <a:pt x="9842" y="9453"/>
                    <a:pt x="0" y="15598"/>
                    <a:pt x="0" y="17463"/>
                  </a:cubicBezTo>
                  <a:cubicBezTo>
                    <a:pt x="0" y="19653"/>
                    <a:pt x="4921" y="14608"/>
                    <a:pt x="10220" y="6714"/>
                  </a:cubicBezTo>
                  <a:close/>
                  <a:moveTo>
                    <a:pt x="10220" y="671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4" name="AutoShape 373"/>
            <p:cNvSpPr>
              <a:spLocks/>
            </p:cNvSpPr>
            <p:nvPr/>
          </p:nvSpPr>
          <p:spPr bwMode="auto">
            <a:xfrm>
              <a:off x="10579100" y="5156200"/>
              <a:ext cx="0" cy="3175"/>
            </a:xfrm>
            <a:custGeom>
              <a:avLst/>
              <a:gdLst/>
              <a:ahLst/>
              <a:cxnLst/>
              <a:rect l="0" t="0" r="r" b="b"/>
              <a:pathLst>
                <a:path w="21600" h="20435">
                  <a:moveTo>
                    <a:pt x="0" y="18654"/>
                  </a:moveTo>
                  <a:cubicBezTo>
                    <a:pt x="0" y="21600"/>
                    <a:pt x="3413" y="20835"/>
                    <a:pt x="3413" y="16774"/>
                  </a:cubicBezTo>
                  <a:cubicBezTo>
                    <a:pt x="5387" y="15948"/>
                    <a:pt x="5387" y="15713"/>
                    <a:pt x="6222" y="15183"/>
                  </a:cubicBezTo>
                  <a:cubicBezTo>
                    <a:pt x="6222" y="15008"/>
                    <a:pt x="6222" y="15122"/>
                    <a:pt x="6222" y="14832"/>
                  </a:cubicBezTo>
                  <a:cubicBezTo>
                    <a:pt x="7093" y="13947"/>
                    <a:pt x="7644" y="14122"/>
                    <a:pt x="8231" y="13947"/>
                  </a:cubicBezTo>
                  <a:cubicBezTo>
                    <a:pt x="9369" y="12240"/>
                    <a:pt x="11929" y="9474"/>
                    <a:pt x="15644" y="5768"/>
                  </a:cubicBezTo>
                  <a:cubicBezTo>
                    <a:pt x="17902" y="3647"/>
                    <a:pt x="19591" y="1940"/>
                    <a:pt x="21600" y="0"/>
                  </a:cubicBezTo>
                  <a:cubicBezTo>
                    <a:pt x="19040" y="2176"/>
                    <a:pt x="15893" y="4352"/>
                    <a:pt x="12480" y="6117"/>
                  </a:cubicBezTo>
                  <a:cubicBezTo>
                    <a:pt x="12480" y="10180"/>
                    <a:pt x="4533" y="15773"/>
                    <a:pt x="0" y="18654"/>
                  </a:cubicBezTo>
                  <a:close/>
                  <a:moveTo>
                    <a:pt x="0" y="186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5" name="AutoShape 374"/>
            <p:cNvSpPr>
              <a:spLocks/>
            </p:cNvSpPr>
            <p:nvPr/>
          </p:nvSpPr>
          <p:spPr bwMode="auto">
            <a:xfrm>
              <a:off x="10579100" y="5156200"/>
              <a:ext cx="0" cy="1588"/>
            </a:xfrm>
            <a:custGeom>
              <a:avLst/>
              <a:gdLst/>
              <a:ahLst/>
              <a:cxnLst/>
              <a:rect l="0" t="0" r="r" b="b"/>
              <a:pathLst>
                <a:path w="20844" h="20241">
                  <a:moveTo>
                    <a:pt x="15" y="19906"/>
                  </a:moveTo>
                  <a:cubicBezTo>
                    <a:pt x="15" y="18226"/>
                    <a:pt x="16987" y="11027"/>
                    <a:pt x="16987" y="3216"/>
                  </a:cubicBezTo>
                  <a:cubicBezTo>
                    <a:pt x="19301" y="1838"/>
                    <a:pt x="19301" y="1225"/>
                    <a:pt x="20844" y="0"/>
                  </a:cubicBezTo>
                  <a:cubicBezTo>
                    <a:pt x="17710" y="2905"/>
                    <a:pt x="13901" y="6117"/>
                    <a:pt x="8453" y="9333"/>
                  </a:cubicBezTo>
                  <a:cubicBezTo>
                    <a:pt x="-756" y="16689"/>
                    <a:pt x="15" y="21600"/>
                    <a:pt x="15" y="19906"/>
                  </a:cubicBezTo>
                  <a:close/>
                  <a:moveTo>
                    <a:pt x="15" y="199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6" name="AutoShape 375"/>
            <p:cNvSpPr>
              <a:spLocks/>
            </p:cNvSpPr>
            <p:nvPr/>
          </p:nvSpPr>
          <p:spPr bwMode="auto">
            <a:xfrm>
              <a:off x="10579100" y="5156200"/>
              <a:ext cx="0" cy="1588"/>
            </a:xfrm>
            <a:custGeom>
              <a:avLst/>
              <a:gdLst/>
              <a:ahLst/>
              <a:cxnLst/>
              <a:rect l="0" t="0" r="r" b="b"/>
              <a:pathLst>
                <a:path w="15584" h="19081">
                  <a:moveTo>
                    <a:pt x="3712" y="14071"/>
                  </a:moveTo>
                  <a:cubicBezTo>
                    <a:pt x="3712" y="18788"/>
                    <a:pt x="-2881" y="20282"/>
                    <a:pt x="1505" y="18092"/>
                  </a:cubicBezTo>
                  <a:cubicBezTo>
                    <a:pt x="7712" y="16376"/>
                    <a:pt x="11685" y="10056"/>
                    <a:pt x="11685" y="5116"/>
                  </a:cubicBezTo>
                  <a:cubicBezTo>
                    <a:pt x="11685" y="176"/>
                    <a:pt x="18719" y="-1318"/>
                    <a:pt x="13891" y="1210"/>
                  </a:cubicBezTo>
                  <a:cubicBezTo>
                    <a:pt x="13891" y="3622"/>
                    <a:pt x="3712" y="9482"/>
                    <a:pt x="3712" y="14071"/>
                  </a:cubicBezTo>
                  <a:close/>
                  <a:moveTo>
                    <a:pt x="3712" y="140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7" name="AutoShape 376"/>
            <p:cNvSpPr>
              <a:spLocks/>
            </p:cNvSpPr>
            <p:nvPr/>
          </p:nvSpPr>
          <p:spPr bwMode="auto">
            <a:xfrm>
              <a:off x="10579100" y="5156200"/>
              <a:ext cx="0" cy="0"/>
            </a:xfrm>
            <a:custGeom>
              <a:avLst/>
              <a:gdLst/>
              <a:ahLst/>
              <a:cxnLst/>
              <a:rect l="0" t="0" r="r" b="b"/>
              <a:pathLst>
                <a:path w="21600" h="19038">
                  <a:moveTo>
                    <a:pt x="21600" y="0"/>
                  </a:moveTo>
                  <a:cubicBezTo>
                    <a:pt x="9146" y="9795"/>
                    <a:pt x="0" y="16715"/>
                    <a:pt x="0" y="18343"/>
                  </a:cubicBezTo>
                  <a:cubicBezTo>
                    <a:pt x="0" y="21600"/>
                    <a:pt x="9146" y="13052"/>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8" name="AutoShape 377"/>
            <p:cNvSpPr>
              <a:spLocks/>
            </p:cNvSpPr>
            <p:nvPr/>
          </p:nvSpPr>
          <p:spPr bwMode="auto">
            <a:xfrm>
              <a:off x="10579100" y="5156200"/>
              <a:ext cx="0" cy="1588"/>
            </a:xfrm>
            <a:custGeom>
              <a:avLst/>
              <a:gdLst/>
              <a:ahLst/>
              <a:cxnLst/>
              <a:rect l="0" t="0" r="r" b="b"/>
              <a:pathLst>
                <a:path w="21600" h="20085">
                  <a:moveTo>
                    <a:pt x="9683" y="8595"/>
                  </a:moveTo>
                  <a:cubicBezTo>
                    <a:pt x="9683" y="11469"/>
                    <a:pt x="5959" y="15841"/>
                    <a:pt x="0" y="20085"/>
                  </a:cubicBezTo>
                  <a:cubicBezTo>
                    <a:pt x="11917" y="10346"/>
                    <a:pt x="21600" y="2112"/>
                    <a:pt x="21600" y="607"/>
                  </a:cubicBezTo>
                  <a:cubicBezTo>
                    <a:pt x="21600" y="-1515"/>
                    <a:pt x="18621" y="2112"/>
                    <a:pt x="9683" y="8595"/>
                  </a:cubicBezTo>
                  <a:close/>
                  <a:moveTo>
                    <a:pt x="9683" y="85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79" name="AutoShape 378"/>
            <p:cNvSpPr>
              <a:spLocks/>
            </p:cNvSpPr>
            <p:nvPr/>
          </p:nvSpPr>
          <p:spPr bwMode="auto">
            <a:xfrm>
              <a:off x="10541000" y="5308600"/>
              <a:ext cx="0" cy="4763"/>
            </a:xfrm>
            <a:custGeom>
              <a:avLst/>
              <a:gdLst/>
              <a:ahLst/>
              <a:cxnLst/>
              <a:rect l="0" t="0" r="r" b="b"/>
              <a:pathLst>
                <a:path w="21600" h="21600">
                  <a:moveTo>
                    <a:pt x="21600" y="0"/>
                  </a:moveTo>
                  <a:cubicBezTo>
                    <a:pt x="18707" y="2770"/>
                    <a:pt x="15077" y="5927"/>
                    <a:pt x="13069" y="7453"/>
                  </a:cubicBezTo>
                  <a:cubicBezTo>
                    <a:pt x="10891" y="9225"/>
                    <a:pt x="7272" y="13330"/>
                    <a:pt x="2904" y="16246"/>
                  </a:cubicBezTo>
                  <a:cubicBezTo>
                    <a:pt x="919" y="18973"/>
                    <a:pt x="193" y="20216"/>
                    <a:pt x="0" y="20069"/>
                  </a:cubicBezTo>
                  <a:cubicBezTo>
                    <a:pt x="0" y="20358"/>
                    <a:pt x="193" y="20929"/>
                    <a:pt x="193" y="21600"/>
                  </a:cubicBezTo>
                  <a:cubicBezTo>
                    <a:pt x="1282" y="20455"/>
                    <a:pt x="4538" y="17490"/>
                    <a:pt x="9983" y="13237"/>
                  </a:cubicBezTo>
                  <a:cubicBezTo>
                    <a:pt x="15984" y="8603"/>
                    <a:pt x="18707" y="3299"/>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0" name="AutoShape 379"/>
            <p:cNvSpPr>
              <a:spLocks/>
            </p:cNvSpPr>
            <p:nvPr/>
          </p:nvSpPr>
          <p:spPr bwMode="auto">
            <a:xfrm>
              <a:off x="10541000" y="5295900"/>
              <a:ext cx="7938" cy="33338"/>
            </a:xfrm>
            <a:custGeom>
              <a:avLst/>
              <a:gdLst/>
              <a:ahLst/>
              <a:cxnLst/>
              <a:rect l="0" t="0" r="r" b="b"/>
              <a:pathLst>
                <a:path w="21600" h="21517">
                  <a:moveTo>
                    <a:pt x="19352" y="2084"/>
                  </a:moveTo>
                  <a:cubicBezTo>
                    <a:pt x="18691" y="2084"/>
                    <a:pt x="18806" y="2801"/>
                    <a:pt x="18029" y="3223"/>
                  </a:cubicBezTo>
                  <a:cubicBezTo>
                    <a:pt x="17624" y="3668"/>
                    <a:pt x="17019" y="4214"/>
                    <a:pt x="16675" y="4409"/>
                  </a:cubicBezTo>
                  <a:cubicBezTo>
                    <a:pt x="16301" y="4604"/>
                    <a:pt x="16011" y="5205"/>
                    <a:pt x="15206" y="5642"/>
                  </a:cubicBezTo>
                  <a:cubicBezTo>
                    <a:pt x="15206" y="6134"/>
                    <a:pt x="13738" y="6766"/>
                    <a:pt x="13333" y="7101"/>
                  </a:cubicBezTo>
                  <a:cubicBezTo>
                    <a:pt x="12902" y="7460"/>
                    <a:pt x="11345" y="9021"/>
                    <a:pt x="9590" y="10550"/>
                  </a:cubicBezTo>
                  <a:cubicBezTo>
                    <a:pt x="8352" y="12127"/>
                    <a:pt x="6221" y="14015"/>
                    <a:pt x="5326" y="14756"/>
                  </a:cubicBezTo>
                  <a:cubicBezTo>
                    <a:pt x="4896" y="15544"/>
                    <a:pt x="3598" y="16808"/>
                    <a:pt x="2763" y="17597"/>
                  </a:cubicBezTo>
                  <a:cubicBezTo>
                    <a:pt x="2763" y="18424"/>
                    <a:pt x="1498" y="19657"/>
                    <a:pt x="749" y="20367"/>
                  </a:cubicBezTo>
                  <a:cubicBezTo>
                    <a:pt x="0" y="21070"/>
                    <a:pt x="0" y="21600"/>
                    <a:pt x="0" y="21506"/>
                  </a:cubicBezTo>
                  <a:cubicBezTo>
                    <a:pt x="315" y="21506"/>
                    <a:pt x="1123" y="20554"/>
                    <a:pt x="1930" y="19563"/>
                  </a:cubicBezTo>
                  <a:cubicBezTo>
                    <a:pt x="3598" y="18658"/>
                    <a:pt x="4462" y="17479"/>
                    <a:pt x="4462" y="17066"/>
                  </a:cubicBezTo>
                  <a:cubicBezTo>
                    <a:pt x="4837" y="16668"/>
                    <a:pt x="5616" y="16255"/>
                    <a:pt x="5616" y="16122"/>
                  </a:cubicBezTo>
                  <a:cubicBezTo>
                    <a:pt x="6134" y="16122"/>
                    <a:pt x="6739" y="15279"/>
                    <a:pt x="7544" y="14499"/>
                  </a:cubicBezTo>
                  <a:cubicBezTo>
                    <a:pt x="8467" y="13742"/>
                    <a:pt x="10226" y="12282"/>
                    <a:pt x="11000" y="11221"/>
                  </a:cubicBezTo>
                  <a:cubicBezTo>
                    <a:pt x="12240" y="10207"/>
                    <a:pt x="13162" y="8763"/>
                    <a:pt x="14112" y="8131"/>
                  </a:cubicBezTo>
                  <a:cubicBezTo>
                    <a:pt x="15032" y="7499"/>
                    <a:pt x="15984" y="6469"/>
                    <a:pt x="16358" y="5860"/>
                  </a:cubicBezTo>
                  <a:cubicBezTo>
                    <a:pt x="17194" y="5283"/>
                    <a:pt x="17712" y="4627"/>
                    <a:pt x="17712" y="4432"/>
                  </a:cubicBezTo>
                  <a:cubicBezTo>
                    <a:pt x="17712" y="4237"/>
                    <a:pt x="19008" y="3473"/>
                    <a:pt x="19411" y="2685"/>
                  </a:cubicBezTo>
                  <a:cubicBezTo>
                    <a:pt x="20331" y="1943"/>
                    <a:pt x="20880" y="999"/>
                    <a:pt x="21310" y="648"/>
                  </a:cubicBezTo>
                  <a:cubicBezTo>
                    <a:pt x="21310" y="460"/>
                    <a:pt x="21398" y="227"/>
                    <a:pt x="21600" y="0"/>
                  </a:cubicBezTo>
                  <a:cubicBezTo>
                    <a:pt x="21456" y="118"/>
                    <a:pt x="21425" y="164"/>
                    <a:pt x="21285" y="312"/>
                  </a:cubicBezTo>
                  <a:cubicBezTo>
                    <a:pt x="20446" y="1100"/>
                    <a:pt x="19670" y="1912"/>
                    <a:pt x="19352" y="2084"/>
                  </a:cubicBezTo>
                  <a:close/>
                  <a:moveTo>
                    <a:pt x="19352" y="20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1" name="AutoShape 380"/>
            <p:cNvSpPr>
              <a:spLocks/>
            </p:cNvSpPr>
            <p:nvPr/>
          </p:nvSpPr>
          <p:spPr bwMode="auto">
            <a:xfrm>
              <a:off x="10553700" y="5295900"/>
              <a:ext cx="0" cy="0"/>
            </a:xfrm>
            <a:custGeom>
              <a:avLst/>
              <a:gdLst/>
              <a:ahLst/>
              <a:cxnLst/>
              <a:rect l="0" t="0" r="r" b="b"/>
              <a:pathLst>
                <a:path w="21600" h="17177">
                  <a:moveTo>
                    <a:pt x="0" y="17177"/>
                  </a:moveTo>
                  <a:cubicBezTo>
                    <a:pt x="5184" y="11352"/>
                    <a:pt x="12906" y="5955"/>
                    <a:pt x="21600" y="2634"/>
                  </a:cubicBezTo>
                  <a:cubicBezTo>
                    <a:pt x="21600" y="-4423"/>
                    <a:pt x="15552" y="3465"/>
                    <a:pt x="0" y="17177"/>
                  </a:cubicBezTo>
                  <a:close/>
                  <a:moveTo>
                    <a:pt x="0" y="171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2" name="AutoShape 381"/>
            <p:cNvSpPr>
              <a:spLocks/>
            </p:cNvSpPr>
            <p:nvPr/>
          </p:nvSpPr>
          <p:spPr bwMode="auto">
            <a:xfrm>
              <a:off x="10541000" y="5321300"/>
              <a:ext cx="1588" cy="9525"/>
            </a:xfrm>
            <a:custGeom>
              <a:avLst/>
              <a:gdLst/>
              <a:ahLst/>
              <a:cxnLst/>
              <a:rect l="0" t="0" r="r" b="b"/>
              <a:pathLst>
                <a:path w="20960" h="20904">
                  <a:moveTo>
                    <a:pt x="1923" y="19091"/>
                  </a:moveTo>
                  <a:cubicBezTo>
                    <a:pt x="4670" y="16919"/>
                    <a:pt x="8607" y="14356"/>
                    <a:pt x="8607" y="13295"/>
                  </a:cubicBezTo>
                  <a:cubicBezTo>
                    <a:pt x="10895" y="12407"/>
                    <a:pt x="13001" y="8462"/>
                    <a:pt x="16938" y="4909"/>
                  </a:cubicBezTo>
                  <a:cubicBezTo>
                    <a:pt x="18128" y="3232"/>
                    <a:pt x="19592" y="1508"/>
                    <a:pt x="20960" y="3"/>
                  </a:cubicBezTo>
                  <a:cubicBezTo>
                    <a:pt x="20868" y="28"/>
                    <a:pt x="20960" y="-45"/>
                    <a:pt x="20868" y="53"/>
                  </a:cubicBezTo>
                  <a:cubicBezTo>
                    <a:pt x="19690" y="990"/>
                    <a:pt x="18036" y="2864"/>
                    <a:pt x="15753" y="4096"/>
                  </a:cubicBezTo>
                  <a:cubicBezTo>
                    <a:pt x="15753" y="5477"/>
                    <a:pt x="10432" y="8659"/>
                    <a:pt x="7691" y="11298"/>
                  </a:cubicBezTo>
                  <a:cubicBezTo>
                    <a:pt x="5128" y="13960"/>
                    <a:pt x="2839" y="17808"/>
                    <a:pt x="98" y="19583"/>
                  </a:cubicBezTo>
                  <a:cubicBezTo>
                    <a:pt x="98" y="21555"/>
                    <a:pt x="-640" y="21260"/>
                    <a:pt x="1923" y="19091"/>
                  </a:cubicBezTo>
                  <a:close/>
                  <a:moveTo>
                    <a:pt x="1923" y="190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3" name="AutoShape 382"/>
            <p:cNvSpPr>
              <a:spLocks/>
            </p:cNvSpPr>
            <p:nvPr/>
          </p:nvSpPr>
          <p:spPr bwMode="auto">
            <a:xfrm>
              <a:off x="10541000" y="5321300"/>
              <a:ext cx="0" cy="1588"/>
            </a:xfrm>
            <a:custGeom>
              <a:avLst/>
              <a:gdLst/>
              <a:ahLst/>
              <a:cxnLst/>
              <a:rect l="0" t="0" r="r" b="b"/>
              <a:pathLst>
                <a:path w="18885" h="20499">
                  <a:moveTo>
                    <a:pt x="18273" y="125"/>
                  </a:moveTo>
                  <a:cubicBezTo>
                    <a:pt x="12061" y="6374"/>
                    <a:pt x="5406" y="13536"/>
                    <a:pt x="0" y="20499"/>
                  </a:cubicBezTo>
                  <a:cubicBezTo>
                    <a:pt x="10787" y="6784"/>
                    <a:pt x="21600" y="-1101"/>
                    <a:pt x="18273" y="125"/>
                  </a:cubicBezTo>
                  <a:close/>
                  <a:moveTo>
                    <a:pt x="18273" y="1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4" name="AutoShape 383"/>
            <p:cNvSpPr>
              <a:spLocks/>
            </p:cNvSpPr>
            <p:nvPr/>
          </p:nvSpPr>
          <p:spPr bwMode="auto">
            <a:xfrm>
              <a:off x="10604500" y="4902200"/>
              <a:ext cx="0" cy="4763"/>
            </a:xfrm>
            <a:custGeom>
              <a:avLst/>
              <a:gdLst/>
              <a:ahLst/>
              <a:cxnLst/>
              <a:rect l="0" t="0" r="r" b="b"/>
              <a:pathLst>
                <a:path w="21064" h="20411">
                  <a:moveTo>
                    <a:pt x="7262" y="18297"/>
                  </a:moveTo>
                  <a:cubicBezTo>
                    <a:pt x="10241" y="16018"/>
                    <a:pt x="18446" y="11227"/>
                    <a:pt x="18446" y="7515"/>
                  </a:cubicBezTo>
                  <a:cubicBezTo>
                    <a:pt x="21414" y="3801"/>
                    <a:pt x="21600" y="326"/>
                    <a:pt x="20285" y="48"/>
                  </a:cubicBezTo>
                  <a:cubicBezTo>
                    <a:pt x="20285" y="-471"/>
                    <a:pt x="14885" y="3282"/>
                    <a:pt x="9299" y="8115"/>
                  </a:cubicBezTo>
                  <a:cubicBezTo>
                    <a:pt x="3713" y="12903"/>
                    <a:pt x="0" y="18096"/>
                    <a:pt x="0" y="19613"/>
                  </a:cubicBezTo>
                  <a:cubicBezTo>
                    <a:pt x="0" y="21129"/>
                    <a:pt x="1676" y="20373"/>
                    <a:pt x="7262" y="18297"/>
                  </a:cubicBezTo>
                  <a:close/>
                  <a:moveTo>
                    <a:pt x="7262" y="182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5" name="AutoShape 384"/>
            <p:cNvSpPr>
              <a:spLocks/>
            </p:cNvSpPr>
            <p:nvPr/>
          </p:nvSpPr>
          <p:spPr bwMode="auto">
            <a:xfrm>
              <a:off x="10553700" y="5054600"/>
              <a:ext cx="0" cy="6350"/>
            </a:xfrm>
            <a:custGeom>
              <a:avLst/>
              <a:gdLst/>
              <a:ahLst/>
              <a:cxnLst/>
              <a:rect l="0" t="0" r="r" b="b"/>
              <a:pathLst>
                <a:path w="20176" h="19840">
                  <a:moveTo>
                    <a:pt x="0" y="17312"/>
                  </a:moveTo>
                  <a:cubicBezTo>
                    <a:pt x="2805" y="19822"/>
                    <a:pt x="4481" y="20670"/>
                    <a:pt x="7832" y="18906"/>
                  </a:cubicBezTo>
                  <a:cubicBezTo>
                    <a:pt x="13593" y="17347"/>
                    <a:pt x="14524" y="11718"/>
                    <a:pt x="19563" y="6938"/>
                  </a:cubicBezTo>
                  <a:cubicBezTo>
                    <a:pt x="19563" y="2122"/>
                    <a:pt x="21600" y="-930"/>
                    <a:pt x="18248" y="257"/>
                  </a:cubicBezTo>
                  <a:cubicBezTo>
                    <a:pt x="14908" y="1445"/>
                    <a:pt x="12103" y="2562"/>
                    <a:pt x="11359" y="2562"/>
                  </a:cubicBezTo>
                  <a:cubicBezTo>
                    <a:pt x="11359" y="2666"/>
                    <a:pt x="9683" y="3108"/>
                    <a:pt x="8007" y="3685"/>
                  </a:cubicBezTo>
                  <a:cubicBezTo>
                    <a:pt x="5586" y="4121"/>
                    <a:pt x="4481" y="6396"/>
                    <a:pt x="2246" y="8566"/>
                  </a:cubicBezTo>
                  <a:cubicBezTo>
                    <a:pt x="2246" y="10701"/>
                    <a:pt x="2421" y="14669"/>
                    <a:pt x="0" y="17312"/>
                  </a:cubicBezTo>
                  <a:close/>
                  <a:moveTo>
                    <a:pt x="0" y="173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6" name="AutoShape 385"/>
            <p:cNvSpPr>
              <a:spLocks/>
            </p:cNvSpPr>
            <p:nvPr/>
          </p:nvSpPr>
          <p:spPr bwMode="auto">
            <a:xfrm>
              <a:off x="10604500" y="4902200"/>
              <a:ext cx="0" cy="3175"/>
            </a:xfrm>
            <a:custGeom>
              <a:avLst/>
              <a:gdLst/>
              <a:ahLst/>
              <a:cxnLst/>
              <a:rect l="0" t="0" r="r" b="b"/>
              <a:pathLst>
                <a:path w="19421" h="19391">
                  <a:moveTo>
                    <a:pt x="19421" y="947"/>
                  </a:moveTo>
                  <a:cubicBezTo>
                    <a:pt x="19421" y="-1764"/>
                    <a:pt x="15186" y="1543"/>
                    <a:pt x="9256" y="8346"/>
                  </a:cubicBezTo>
                  <a:cubicBezTo>
                    <a:pt x="2678" y="15265"/>
                    <a:pt x="-2179" y="19836"/>
                    <a:pt x="997" y="19357"/>
                  </a:cubicBezTo>
                  <a:cubicBezTo>
                    <a:pt x="3525" y="18635"/>
                    <a:pt x="8409" y="15265"/>
                    <a:pt x="11374" y="11956"/>
                  </a:cubicBezTo>
                  <a:cubicBezTo>
                    <a:pt x="11374" y="8525"/>
                    <a:pt x="15821" y="3529"/>
                    <a:pt x="19421" y="947"/>
                  </a:cubicBezTo>
                  <a:close/>
                  <a:moveTo>
                    <a:pt x="19421" y="9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7" name="AutoShape 386"/>
            <p:cNvSpPr>
              <a:spLocks/>
            </p:cNvSpPr>
            <p:nvPr/>
          </p:nvSpPr>
          <p:spPr bwMode="auto">
            <a:xfrm>
              <a:off x="10490200" y="5016500"/>
              <a:ext cx="0" cy="9525"/>
            </a:xfrm>
            <a:custGeom>
              <a:avLst/>
              <a:gdLst/>
              <a:ahLst/>
              <a:cxnLst/>
              <a:rect l="0" t="0" r="r" b="b"/>
              <a:pathLst>
                <a:path w="20310" h="20699">
                  <a:moveTo>
                    <a:pt x="1778" y="6445"/>
                  </a:moveTo>
                  <a:cubicBezTo>
                    <a:pt x="-1290" y="10254"/>
                    <a:pt x="543" y="15355"/>
                    <a:pt x="543" y="17894"/>
                  </a:cubicBezTo>
                  <a:cubicBezTo>
                    <a:pt x="543" y="20379"/>
                    <a:pt x="5443" y="21330"/>
                    <a:pt x="10929" y="20274"/>
                  </a:cubicBezTo>
                  <a:cubicBezTo>
                    <a:pt x="10929" y="18953"/>
                    <a:pt x="17459" y="16069"/>
                    <a:pt x="20310" y="13611"/>
                  </a:cubicBezTo>
                  <a:cubicBezTo>
                    <a:pt x="20310" y="11125"/>
                    <a:pt x="19088" y="7187"/>
                    <a:pt x="19088" y="4806"/>
                  </a:cubicBezTo>
                  <a:cubicBezTo>
                    <a:pt x="19088" y="2372"/>
                    <a:pt x="13182" y="340"/>
                    <a:pt x="10929" y="20"/>
                  </a:cubicBezTo>
                  <a:cubicBezTo>
                    <a:pt x="8485" y="-270"/>
                    <a:pt x="1778" y="2692"/>
                    <a:pt x="1778" y="6445"/>
                  </a:cubicBezTo>
                  <a:close/>
                  <a:moveTo>
                    <a:pt x="1778" y="64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8" name="AutoShape 387"/>
            <p:cNvSpPr>
              <a:spLocks/>
            </p:cNvSpPr>
            <p:nvPr/>
          </p:nvSpPr>
          <p:spPr bwMode="auto">
            <a:xfrm>
              <a:off x="10490200" y="4965700"/>
              <a:ext cx="25400" cy="160338"/>
            </a:xfrm>
            <a:custGeom>
              <a:avLst/>
              <a:gdLst/>
              <a:ahLst/>
              <a:cxnLst/>
              <a:rect l="0" t="0" r="r" b="b"/>
              <a:pathLst>
                <a:path w="21409" h="21484">
                  <a:moveTo>
                    <a:pt x="14554" y="3156"/>
                  </a:moveTo>
                  <a:cubicBezTo>
                    <a:pt x="14085" y="3283"/>
                    <a:pt x="13921" y="3303"/>
                    <a:pt x="13655" y="3196"/>
                  </a:cubicBezTo>
                  <a:cubicBezTo>
                    <a:pt x="13655" y="3078"/>
                    <a:pt x="12980" y="3014"/>
                    <a:pt x="12725" y="3077"/>
                  </a:cubicBezTo>
                  <a:cubicBezTo>
                    <a:pt x="12388" y="3131"/>
                    <a:pt x="11764" y="3389"/>
                    <a:pt x="11017" y="3634"/>
                  </a:cubicBezTo>
                  <a:cubicBezTo>
                    <a:pt x="10568" y="3898"/>
                    <a:pt x="9567" y="4069"/>
                    <a:pt x="9117" y="4032"/>
                  </a:cubicBezTo>
                  <a:cubicBezTo>
                    <a:pt x="8657" y="3996"/>
                    <a:pt x="8401" y="3826"/>
                    <a:pt x="8555" y="3659"/>
                  </a:cubicBezTo>
                  <a:cubicBezTo>
                    <a:pt x="8555" y="3487"/>
                    <a:pt x="9250" y="3209"/>
                    <a:pt x="9423" y="3019"/>
                  </a:cubicBezTo>
                  <a:cubicBezTo>
                    <a:pt x="9894" y="2842"/>
                    <a:pt x="10446" y="2414"/>
                    <a:pt x="10588" y="2073"/>
                  </a:cubicBezTo>
                  <a:cubicBezTo>
                    <a:pt x="10916" y="1734"/>
                    <a:pt x="11017" y="1349"/>
                    <a:pt x="10885" y="1217"/>
                  </a:cubicBezTo>
                  <a:cubicBezTo>
                    <a:pt x="10711" y="1086"/>
                    <a:pt x="10313" y="1005"/>
                    <a:pt x="9894" y="1028"/>
                  </a:cubicBezTo>
                  <a:cubicBezTo>
                    <a:pt x="9505" y="1058"/>
                    <a:pt x="9168" y="972"/>
                    <a:pt x="9168" y="846"/>
                  </a:cubicBezTo>
                  <a:cubicBezTo>
                    <a:pt x="9168" y="717"/>
                    <a:pt x="8810" y="563"/>
                    <a:pt x="8319" y="511"/>
                  </a:cubicBezTo>
                  <a:cubicBezTo>
                    <a:pt x="7849" y="459"/>
                    <a:pt x="7205" y="274"/>
                    <a:pt x="7051" y="105"/>
                  </a:cubicBezTo>
                  <a:cubicBezTo>
                    <a:pt x="6909" y="-65"/>
                    <a:pt x="6397" y="-22"/>
                    <a:pt x="5917" y="183"/>
                  </a:cubicBezTo>
                  <a:cubicBezTo>
                    <a:pt x="5498" y="390"/>
                    <a:pt x="4946" y="790"/>
                    <a:pt x="4629" y="1069"/>
                  </a:cubicBezTo>
                  <a:cubicBezTo>
                    <a:pt x="4077" y="1337"/>
                    <a:pt x="3985" y="1875"/>
                    <a:pt x="4282" y="2235"/>
                  </a:cubicBezTo>
                  <a:cubicBezTo>
                    <a:pt x="4282" y="2599"/>
                    <a:pt x="4179" y="3672"/>
                    <a:pt x="3576" y="4616"/>
                  </a:cubicBezTo>
                  <a:cubicBezTo>
                    <a:pt x="2963" y="5557"/>
                    <a:pt x="2759" y="6577"/>
                    <a:pt x="2596" y="6875"/>
                  </a:cubicBezTo>
                  <a:cubicBezTo>
                    <a:pt x="2596" y="7172"/>
                    <a:pt x="2575" y="7640"/>
                    <a:pt x="2575" y="7912"/>
                  </a:cubicBezTo>
                  <a:cubicBezTo>
                    <a:pt x="2727" y="8183"/>
                    <a:pt x="2206" y="8714"/>
                    <a:pt x="1920" y="9097"/>
                  </a:cubicBezTo>
                  <a:cubicBezTo>
                    <a:pt x="1470" y="9479"/>
                    <a:pt x="929" y="9843"/>
                    <a:pt x="929" y="9921"/>
                  </a:cubicBezTo>
                  <a:cubicBezTo>
                    <a:pt x="683" y="9983"/>
                    <a:pt x="500" y="10251"/>
                    <a:pt x="335" y="10503"/>
                  </a:cubicBezTo>
                  <a:cubicBezTo>
                    <a:pt x="172" y="10754"/>
                    <a:pt x="50" y="11080"/>
                    <a:pt x="326" y="11215"/>
                  </a:cubicBezTo>
                  <a:cubicBezTo>
                    <a:pt x="326" y="11361"/>
                    <a:pt x="397" y="11566"/>
                    <a:pt x="275" y="11682"/>
                  </a:cubicBezTo>
                  <a:cubicBezTo>
                    <a:pt x="101" y="11794"/>
                    <a:pt x="-94" y="12037"/>
                    <a:pt x="50" y="12219"/>
                  </a:cubicBezTo>
                  <a:cubicBezTo>
                    <a:pt x="193" y="12398"/>
                    <a:pt x="264" y="12685"/>
                    <a:pt x="847" y="12803"/>
                  </a:cubicBezTo>
                  <a:cubicBezTo>
                    <a:pt x="1000" y="12953"/>
                    <a:pt x="1501" y="13292"/>
                    <a:pt x="1644" y="13577"/>
                  </a:cubicBezTo>
                  <a:cubicBezTo>
                    <a:pt x="1808" y="13861"/>
                    <a:pt x="2002" y="14167"/>
                    <a:pt x="2206" y="14264"/>
                  </a:cubicBezTo>
                  <a:cubicBezTo>
                    <a:pt x="2360" y="14364"/>
                    <a:pt x="2554" y="14590"/>
                    <a:pt x="2727" y="14779"/>
                  </a:cubicBezTo>
                  <a:cubicBezTo>
                    <a:pt x="2870" y="14970"/>
                    <a:pt x="2575" y="15290"/>
                    <a:pt x="2023" y="15472"/>
                  </a:cubicBezTo>
                  <a:cubicBezTo>
                    <a:pt x="1685" y="15663"/>
                    <a:pt x="1071" y="15941"/>
                    <a:pt x="919" y="16102"/>
                  </a:cubicBezTo>
                  <a:cubicBezTo>
                    <a:pt x="745" y="16262"/>
                    <a:pt x="642" y="16482"/>
                    <a:pt x="816" y="16588"/>
                  </a:cubicBezTo>
                  <a:cubicBezTo>
                    <a:pt x="970" y="16694"/>
                    <a:pt x="1429" y="16874"/>
                    <a:pt x="2002" y="16966"/>
                  </a:cubicBezTo>
                  <a:cubicBezTo>
                    <a:pt x="2575" y="17061"/>
                    <a:pt x="3198" y="17333"/>
                    <a:pt x="3546" y="17558"/>
                  </a:cubicBezTo>
                  <a:cubicBezTo>
                    <a:pt x="3862" y="17783"/>
                    <a:pt x="4005" y="18142"/>
                    <a:pt x="3709" y="18353"/>
                  </a:cubicBezTo>
                  <a:cubicBezTo>
                    <a:pt x="3546" y="18565"/>
                    <a:pt x="3474" y="18944"/>
                    <a:pt x="3638" y="19194"/>
                  </a:cubicBezTo>
                  <a:cubicBezTo>
                    <a:pt x="3791" y="19443"/>
                    <a:pt x="4159" y="19638"/>
                    <a:pt x="4415" y="19618"/>
                  </a:cubicBezTo>
                  <a:cubicBezTo>
                    <a:pt x="4649" y="19599"/>
                    <a:pt x="5059" y="19532"/>
                    <a:pt x="5406" y="19476"/>
                  </a:cubicBezTo>
                  <a:cubicBezTo>
                    <a:pt x="5620" y="19407"/>
                    <a:pt x="5835" y="19440"/>
                    <a:pt x="6122" y="19511"/>
                  </a:cubicBezTo>
                  <a:cubicBezTo>
                    <a:pt x="6122" y="19592"/>
                    <a:pt x="6479" y="19786"/>
                    <a:pt x="6479" y="19948"/>
                  </a:cubicBezTo>
                  <a:cubicBezTo>
                    <a:pt x="6796" y="20101"/>
                    <a:pt x="6869" y="20353"/>
                    <a:pt x="7328" y="20473"/>
                  </a:cubicBezTo>
                  <a:cubicBezTo>
                    <a:pt x="7767" y="20594"/>
                    <a:pt x="8401" y="20730"/>
                    <a:pt x="8912" y="20730"/>
                  </a:cubicBezTo>
                  <a:cubicBezTo>
                    <a:pt x="9434" y="20730"/>
                    <a:pt x="9955" y="20879"/>
                    <a:pt x="9955" y="21024"/>
                  </a:cubicBezTo>
                  <a:cubicBezTo>
                    <a:pt x="9955" y="21171"/>
                    <a:pt x="10221" y="21356"/>
                    <a:pt x="10507" y="21424"/>
                  </a:cubicBezTo>
                  <a:cubicBezTo>
                    <a:pt x="10507" y="21505"/>
                    <a:pt x="11263" y="21487"/>
                    <a:pt x="11263" y="21396"/>
                  </a:cubicBezTo>
                  <a:cubicBezTo>
                    <a:pt x="11519" y="21313"/>
                    <a:pt x="11621" y="21322"/>
                    <a:pt x="11621" y="21429"/>
                  </a:cubicBezTo>
                  <a:cubicBezTo>
                    <a:pt x="11621" y="21535"/>
                    <a:pt x="12081" y="21484"/>
                    <a:pt x="12500" y="21305"/>
                  </a:cubicBezTo>
                  <a:cubicBezTo>
                    <a:pt x="12960" y="21130"/>
                    <a:pt x="13298" y="20945"/>
                    <a:pt x="13441" y="20900"/>
                  </a:cubicBezTo>
                  <a:cubicBezTo>
                    <a:pt x="13441" y="20847"/>
                    <a:pt x="13420" y="20806"/>
                    <a:pt x="13267" y="20806"/>
                  </a:cubicBezTo>
                  <a:cubicBezTo>
                    <a:pt x="13134" y="20796"/>
                    <a:pt x="13246" y="20781"/>
                    <a:pt x="13246" y="20738"/>
                  </a:cubicBezTo>
                  <a:cubicBezTo>
                    <a:pt x="13441" y="20707"/>
                    <a:pt x="13747" y="20573"/>
                    <a:pt x="13747" y="20444"/>
                  </a:cubicBezTo>
                  <a:cubicBezTo>
                    <a:pt x="14044" y="20328"/>
                    <a:pt x="13962" y="20161"/>
                    <a:pt x="13962" y="20085"/>
                  </a:cubicBezTo>
                  <a:cubicBezTo>
                    <a:pt x="13962" y="20009"/>
                    <a:pt x="13962" y="20009"/>
                    <a:pt x="14105" y="20078"/>
                  </a:cubicBezTo>
                  <a:cubicBezTo>
                    <a:pt x="14105" y="20149"/>
                    <a:pt x="14207" y="20311"/>
                    <a:pt x="14054" y="20437"/>
                  </a:cubicBezTo>
                  <a:cubicBezTo>
                    <a:pt x="14054" y="20566"/>
                    <a:pt x="13900" y="20733"/>
                    <a:pt x="13778" y="20811"/>
                  </a:cubicBezTo>
                  <a:cubicBezTo>
                    <a:pt x="13931" y="20883"/>
                    <a:pt x="13941" y="20956"/>
                    <a:pt x="14166" y="20956"/>
                  </a:cubicBezTo>
                  <a:cubicBezTo>
                    <a:pt x="14391" y="20956"/>
                    <a:pt x="14759" y="20735"/>
                    <a:pt x="15046" y="20459"/>
                  </a:cubicBezTo>
                  <a:cubicBezTo>
                    <a:pt x="15382" y="20187"/>
                    <a:pt x="15648" y="19610"/>
                    <a:pt x="15648" y="19184"/>
                  </a:cubicBezTo>
                  <a:cubicBezTo>
                    <a:pt x="15648" y="18754"/>
                    <a:pt x="15659" y="18387"/>
                    <a:pt x="15659" y="18362"/>
                  </a:cubicBezTo>
                  <a:cubicBezTo>
                    <a:pt x="15536" y="18342"/>
                    <a:pt x="15659" y="18263"/>
                    <a:pt x="15659" y="18193"/>
                  </a:cubicBezTo>
                  <a:cubicBezTo>
                    <a:pt x="15659" y="18125"/>
                    <a:pt x="15935" y="18003"/>
                    <a:pt x="15792" y="17930"/>
                  </a:cubicBezTo>
                  <a:cubicBezTo>
                    <a:pt x="15945" y="17854"/>
                    <a:pt x="15843" y="17742"/>
                    <a:pt x="15700" y="17694"/>
                  </a:cubicBezTo>
                  <a:cubicBezTo>
                    <a:pt x="15700" y="17639"/>
                    <a:pt x="15751" y="17327"/>
                    <a:pt x="16037" y="16996"/>
                  </a:cubicBezTo>
                  <a:cubicBezTo>
                    <a:pt x="16190" y="16662"/>
                    <a:pt x="16702" y="16320"/>
                    <a:pt x="16702" y="16229"/>
                  </a:cubicBezTo>
                  <a:cubicBezTo>
                    <a:pt x="16946" y="16148"/>
                    <a:pt x="16946" y="15994"/>
                    <a:pt x="16946" y="15905"/>
                  </a:cubicBezTo>
                  <a:cubicBezTo>
                    <a:pt x="16813" y="15817"/>
                    <a:pt x="16732" y="15758"/>
                    <a:pt x="16476" y="15779"/>
                  </a:cubicBezTo>
                  <a:cubicBezTo>
                    <a:pt x="16201" y="15800"/>
                    <a:pt x="15935" y="15653"/>
                    <a:pt x="15648" y="15463"/>
                  </a:cubicBezTo>
                  <a:cubicBezTo>
                    <a:pt x="15495" y="15265"/>
                    <a:pt x="15363" y="14883"/>
                    <a:pt x="15363" y="14610"/>
                  </a:cubicBezTo>
                  <a:cubicBezTo>
                    <a:pt x="15363" y="14337"/>
                    <a:pt x="15996" y="13658"/>
                    <a:pt x="16313" y="13092"/>
                  </a:cubicBezTo>
                  <a:cubicBezTo>
                    <a:pt x="16916" y="12533"/>
                    <a:pt x="17171" y="11956"/>
                    <a:pt x="17171" y="11817"/>
                  </a:cubicBezTo>
                  <a:cubicBezTo>
                    <a:pt x="17171" y="11682"/>
                    <a:pt x="17468" y="11409"/>
                    <a:pt x="17468" y="11210"/>
                  </a:cubicBezTo>
                  <a:cubicBezTo>
                    <a:pt x="17765" y="11019"/>
                    <a:pt x="17907" y="10767"/>
                    <a:pt x="18071" y="10663"/>
                  </a:cubicBezTo>
                  <a:cubicBezTo>
                    <a:pt x="18378" y="10564"/>
                    <a:pt x="18827" y="10018"/>
                    <a:pt x="19145" y="9463"/>
                  </a:cubicBezTo>
                  <a:cubicBezTo>
                    <a:pt x="19430" y="8905"/>
                    <a:pt x="20003" y="8342"/>
                    <a:pt x="20320" y="8213"/>
                  </a:cubicBezTo>
                  <a:cubicBezTo>
                    <a:pt x="20463" y="8077"/>
                    <a:pt x="20831" y="7602"/>
                    <a:pt x="21128" y="7156"/>
                  </a:cubicBezTo>
                  <a:cubicBezTo>
                    <a:pt x="21281" y="6708"/>
                    <a:pt x="21506" y="6040"/>
                    <a:pt x="21362" y="5676"/>
                  </a:cubicBezTo>
                  <a:cubicBezTo>
                    <a:pt x="21199" y="5312"/>
                    <a:pt x="20667" y="4405"/>
                    <a:pt x="20075" y="3659"/>
                  </a:cubicBezTo>
                  <a:cubicBezTo>
                    <a:pt x="19298" y="2916"/>
                    <a:pt x="18776" y="2058"/>
                    <a:pt x="18776" y="1769"/>
                  </a:cubicBezTo>
                  <a:cubicBezTo>
                    <a:pt x="18776" y="1476"/>
                    <a:pt x="18388" y="1256"/>
                    <a:pt x="18388" y="1304"/>
                  </a:cubicBezTo>
                  <a:cubicBezTo>
                    <a:pt x="18184" y="1339"/>
                    <a:pt x="17928" y="1479"/>
                    <a:pt x="17622" y="1600"/>
                  </a:cubicBezTo>
                  <a:cubicBezTo>
                    <a:pt x="17325" y="1723"/>
                    <a:pt x="16967" y="1858"/>
                    <a:pt x="16681" y="1880"/>
                  </a:cubicBezTo>
                  <a:cubicBezTo>
                    <a:pt x="16457" y="1916"/>
                    <a:pt x="16221" y="1926"/>
                    <a:pt x="16190" y="1926"/>
                  </a:cubicBezTo>
                  <a:cubicBezTo>
                    <a:pt x="16190" y="1926"/>
                    <a:pt x="16190" y="1984"/>
                    <a:pt x="15966" y="2040"/>
                  </a:cubicBezTo>
                  <a:cubicBezTo>
                    <a:pt x="15966" y="2108"/>
                    <a:pt x="15618" y="2324"/>
                    <a:pt x="15444" y="2534"/>
                  </a:cubicBezTo>
                  <a:cubicBezTo>
                    <a:pt x="15444" y="2744"/>
                    <a:pt x="14964" y="3027"/>
                    <a:pt x="14554" y="3156"/>
                  </a:cubicBezTo>
                  <a:close/>
                  <a:moveTo>
                    <a:pt x="14554" y="31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89" name="AutoShape 388"/>
            <p:cNvSpPr>
              <a:spLocks/>
            </p:cNvSpPr>
            <p:nvPr/>
          </p:nvSpPr>
          <p:spPr bwMode="auto">
            <a:xfrm>
              <a:off x="10553700" y="5067300"/>
              <a:ext cx="0" cy="3175"/>
            </a:xfrm>
            <a:custGeom>
              <a:avLst/>
              <a:gdLst/>
              <a:ahLst/>
              <a:cxnLst/>
              <a:rect l="0" t="0" r="r" b="b"/>
              <a:pathLst>
                <a:path w="19235" h="17195">
                  <a:moveTo>
                    <a:pt x="19235" y="1604"/>
                  </a:moveTo>
                  <a:cubicBezTo>
                    <a:pt x="19235" y="-2154"/>
                    <a:pt x="10718" y="895"/>
                    <a:pt x="6702" y="8614"/>
                  </a:cubicBezTo>
                  <a:cubicBezTo>
                    <a:pt x="-2365" y="16264"/>
                    <a:pt x="-1565" y="19446"/>
                    <a:pt x="5118" y="15487"/>
                  </a:cubicBezTo>
                  <a:cubicBezTo>
                    <a:pt x="12852" y="11727"/>
                    <a:pt x="19235" y="5370"/>
                    <a:pt x="19235" y="1604"/>
                  </a:cubicBezTo>
                  <a:close/>
                  <a:moveTo>
                    <a:pt x="19235" y="16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0" name="AutoShape 389"/>
            <p:cNvSpPr>
              <a:spLocks/>
            </p:cNvSpPr>
            <p:nvPr/>
          </p:nvSpPr>
          <p:spPr bwMode="auto">
            <a:xfrm>
              <a:off x="10541000" y="4902200"/>
              <a:ext cx="55563" cy="207963"/>
            </a:xfrm>
            <a:custGeom>
              <a:avLst/>
              <a:gdLst/>
              <a:ahLst/>
              <a:cxnLst/>
              <a:rect l="0" t="0" r="r" b="b"/>
              <a:pathLst>
                <a:path w="21485" h="21572">
                  <a:moveTo>
                    <a:pt x="122" y="20082"/>
                  </a:moveTo>
                  <a:cubicBezTo>
                    <a:pt x="193" y="20232"/>
                    <a:pt x="230" y="20404"/>
                    <a:pt x="230" y="20469"/>
                  </a:cubicBezTo>
                  <a:cubicBezTo>
                    <a:pt x="230" y="20535"/>
                    <a:pt x="183" y="20707"/>
                    <a:pt x="254" y="20853"/>
                  </a:cubicBezTo>
                  <a:cubicBezTo>
                    <a:pt x="254" y="21001"/>
                    <a:pt x="325" y="21225"/>
                    <a:pt x="244" y="21352"/>
                  </a:cubicBezTo>
                  <a:cubicBezTo>
                    <a:pt x="244" y="21477"/>
                    <a:pt x="258" y="21563"/>
                    <a:pt x="325" y="21572"/>
                  </a:cubicBezTo>
                  <a:cubicBezTo>
                    <a:pt x="409" y="21572"/>
                    <a:pt x="569" y="21466"/>
                    <a:pt x="837" y="21375"/>
                  </a:cubicBezTo>
                  <a:cubicBezTo>
                    <a:pt x="997" y="21266"/>
                    <a:pt x="1341" y="21106"/>
                    <a:pt x="1341" y="21005"/>
                  </a:cubicBezTo>
                  <a:cubicBezTo>
                    <a:pt x="1482" y="20910"/>
                    <a:pt x="1567" y="20791"/>
                    <a:pt x="1717" y="20791"/>
                  </a:cubicBezTo>
                  <a:cubicBezTo>
                    <a:pt x="1821" y="20763"/>
                    <a:pt x="2023" y="20693"/>
                    <a:pt x="2159" y="20618"/>
                  </a:cubicBezTo>
                  <a:cubicBezTo>
                    <a:pt x="2277" y="20540"/>
                    <a:pt x="2616" y="20445"/>
                    <a:pt x="2889" y="20390"/>
                  </a:cubicBezTo>
                  <a:cubicBezTo>
                    <a:pt x="3199" y="20355"/>
                    <a:pt x="3736" y="20096"/>
                    <a:pt x="4140" y="19839"/>
                  </a:cubicBezTo>
                  <a:cubicBezTo>
                    <a:pt x="4545" y="19583"/>
                    <a:pt x="4964" y="19272"/>
                    <a:pt x="5115" y="19147"/>
                  </a:cubicBezTo>
                  <a:cubicBezTo>
                    <a:pt x="5246" y="19022"/>
                    <a:pt x="5642" y="18873"/>
                    <a:pt x="5830" y="18785"/>
                  </a:cubicBezTo>
                  <a:cubicBezTo>
                    <a:pt x="6093" y="18713"/>
                    <a:pt x="6357" y="18705"/>
                    <a:pt x="6418" y="18772"/>
                  </a:cubicBezTo>
                  <a:cubicBezTo>
                    <a:pt x="6484" y="18843"/>
                    <a:pt x="6512" y="18968"/>
                    <a:pt x="6512" y="19059"/>
                  </a:cubicBezTo>
                  <a:cubicBezTo>
                    <a:pt x="6512" y="19149"/>
                    <a:pt x="6573" y="19188"/>
                    <a:pt x="6696" y="19154"/>
                  </a:cubicBezTo>
                  <a:cubicBezTo>
                    <a:pt x="6856" y="19132"/>
                    <a:pt x="7119" y="18891"/>
                    <a:pt x="7468" y="18663"/>
                  </a:cubicBezTo>
                  <a:cubicBezTo>
                    <a:pt x="7792" y="18434"/>
                    <a:pt x="8202" y="18139"/>
                    <a:pt x="8484" y="18027"/>
                  </a:cubicBezTo>
                  <a:cubicBezTo>
                    <a:pt x="8682" y="17900"/>
                    <a:pt x="9049" y="17714"/>
                    <a:pt x="9049" y="17596"/>
                  </a:cubicBezTo>
                  <a:cubicBezTo>
                    <a:pt x="9049" y="17477"/>
                    <a:pt x="9482" y="16944"/>
                    <a:pt x="9981" y="16417"/>
                  </a:cubicBezTo>
                  <a:cubicBezTo>
                    <a:pt x="10399" y="15884"/>
                    <a:pt x="10978" y="15155"/>
                    <a:pt x="11270" y="14795"/>
                  </a:cubicBezTo>
                  <a:cubicBezTo>
                    <a:pt x="11411" y="14429"/>
                    <a:pt x="11924" y="13804"/>
                    <a:pt x="12343" y="13407"/>
                  </a:cubicBezTo>
                  <a:cubicBezTo>
                    <a:pt x="12639" y="13003"/>
                    <a:pt x="13294" y="12149"/>
                    <a:pt x="13703" y="11502"/>
                  </a:cubicBezTo>
                  <a:cubicBezTo>
                    <a:pt x="14121" y="10857"/>
                    <a:pt x="14569" y="10230"/>
                    <a:pt x="14569" y="10106"/>
                  </a:cubicBezTo>
                  <a:cubicBezTo>
                    <a:pt x="14639" y="9984"/>
                    <a:pt x="14747" y="9760"/>
                    <a:pt x="14884" y="9610"/>
                  </a:cubicBezTo>
                  <a:cubicBezTo>
                    <a:pt x="14950" y="9460"/>
                    <a:pt x="15101" y="9252"/>
                    <a:pt x="15176" y="9150"/>
                  </a:cubicBezTo>
                  <a:cubicBezTo>
                    <a:pt x="15176" y="9045"/>
                    <a:pt x="15463" y="8779"/>
                    <a:pt x="15608" y="8550"/>
                  </a:cubicBezTo>
                  <a:cubicBezTo>
                    <a:pt x="15811" y="8326"/>
                    <a:pt x="15971" y="8173"/>
                    <a:pt x="16023" y="8213"/>
                  </a:cubicBezTo>
                  <a:cubicBezTo>
                    <a:pt x="16023" y="8253"/>
                    <a:pt x="16211" y="8239"/>
                    <a:pt x="16352" y="8180"/>
                  </a:cubicBezTo>
                  <a:cubicBezTo>
                    <a:pt x="16493" y="8122"/>
                    <a:pt x="16762" y="8044"/>
                    <a:pt x="16926" y="7998"/>
                  </a:cubicBezTo>
                  <a:cubicBezTo>
                    <a:pt x="17086" y="7956"/>
                    <a:pt x="17256" y="7967"/>
                    <a:pt x="17256" y="8018"/>
                  </a:cubicBezTo>
                  <a:cubicBezTo>
                    <a:pt x="17256" y="8071"/>
                    <a:pt x="17359" y="8080"/>
                    <a:pt x="17482" y="8046"/>
                  </a:cubicBezTo>
                  <a:cubicBezTo>
                    <a:pt x="17557" y="8005"/>
                    <a:pt x="17684" y="8018"/>
                    <a:pt x="17788" y="8034"/>
                  </a:cubicBezTo>
                  <a:cubicBezTo>
                    <a:pt x="17788" y="8066"/>
                    <a:pt x="17910" y="8026"/>
                    <a:pt x="17966" y="7953"/>
                  </a:cubicBezTo>
                  <a:cubicBezTo>
                    <a:pt x="18051" y="7881"/>
                    <a:pt x="18093" y="7900"/>
                    <a:pt x="18093" y="8002"/>
                  </a:cubicBezTo>
                  <a:cubicBezTo>
                    <a:pt x="18230" y="8098"/>
                    <a:pt x="18169" y="8200"/>
                    <a:pt x="18216" y="8214"/>
                  </a:cubicBezTo>
                  <a:cubicBezTo>
                    <a:pt x="18272" y="8228"/>
                    <a:pt x="18446" y="8159"/>
                    <a:pt x="18517" y="8046"/>
                  </a:cubicBezTo>
                  <a:cubicBezTo>
                    <a:pt x="18668" y="7943"/>
                    <a:pt x="18813" y="7795"/>
                    <a:pt x="18936" y="7726"/>
                  </a:cubicBezTo>
                  <a:cubicBezTo>
                    <a:pt x="19091" y="7663"/>
                    <a:pt x="19223" y="7528"/>
                    <a:pt x="19223" y="7437"/>
                  </a:cubicBezTo>
                  <a:cubicBezTo>
                    <a:pt x="19223" y="7346"/>
                    <a:pt x="19364" y="7147"/>
                    <a:pt x="19293" y="7001"/>
                  </a:cubicBezTo>
                  <a:cubicBezTo>
                    <a:pt x="19293" y="6850"/>
                    <a:pt x="19388" y="6561"/>
                    <a:pt x="19458" y="6355"/>
                  </a:cubicBezTo>
                  <a:cubicBezTo>
                    <a:pt x="19529" y="6146"/>
                    <a:pt x="19641" y="5905"/>
                    <a:pt x="19778" y="5831"/>
                  </a:cubicBezTo>
                  <a:cubicBezTo>
                    <a:pt x="19853" y="5747"/>
                    <a:pt x="20032" y="5674"/>
                    <a:pt x="20155" y="5658"/>
                  </a:cubicBezTo>
                  <a:cubicBezTo>
                    <a:pt x="20277" y="5641"/>
                    <a:pt x="20503" y="5554"/>
                    <a:pt x="20648" y="5458"/>
                  </a:cubicBezTo>
                  <a:cubicBezTo>
                    <a:pt x="20790" y="5362"/>
                    <a:pt x="20992" y="5161"/>
                    <a:pt x="21143" y="5016"/>
                  </a:cubicBezTo>
                  <a:cubicBezTo>
                    <a:pt x="21279" y="4867"/>
                    <a:pt x="21458" y="4650"/>
                    <a:pt x="21458" y="4527"/>
                  </a:cubicBezTo>
                  <a:cubicBezTo>
                    <a:pt x="21458" y="4405"/>
                    <a:pt x="21524" y="4336"/>
                    <a:pt x="21448" y="4336"/>
                  </a:cubicBezTo>
                  <a:cubicBezTo>
                    <a:pt x="21387" y="4351"/>
                    <a:pt x="21312" y="4345"/>
                    <a:pt x="21237" y="4345"/>
                  </a:cubicBezTo>
                  <a:cubicBezTo>
                    <a:pt x="21237" y="4326"/>
                    <a:pt x="21119" y="4237"/>
                    <a:pt x="21119" y="4128"/>
                  </a:cubicBezTo>
                  <a:cubicBezTo>
                    <a:pt x="21119" y="4021"/>
                    <a:pt x="21086" y="3958"/>
                    <a:pt x="20997" y="3982"/>
                  </a:cubicBezTo>
                  <a:cubicBezTo>
                    <a:pt x="20997" y="4017"/>
                    <a:pt x="20945" y="3900"/>
                    <a:pt x="20879" y="3736"/>
                  </a:cubicBezTo>
                  <a:cubicBezTo>
                    <a:pt x="20959" y="3572"/>
                    <a:pt x="20851" y="3452"/>
                    <a:pt x="20790" y="3461"/>
                  </a:cubicBezTo>
                  <a:cubicBezTo>
                    <a:pt x="20790" y="3479"/>
                    <a:pt x="20700" y="3606"/>
                    <a:pt x="20493" y="3735"/>
                  </a:cubicBezTo>
                  <a:cubicBezTo>
                    <a:pt x="20423" y="3871"/>
                    <a:pt x="20286" y="3934"/>
                    <a:pt x="20286" y="3875"/>
                  </a:cubicBezTo>
                  <a:cubicBezTo>
                    <a:pt x="20286" y="3813"/>
                    <a:pt x="20408" y="3625"/>
                    <a:pt x="20550" y="3455"/>
                  </a:cubicBezTo>
                  <a:cubicBezTo>
                    <a:pt x="20705" y="3284"/>
                    <a:pt x="20827" y="3066"/>
                    <a:pt x="20827" y="2974"/>
                  </a:cubicBezTo>
                  <a:cubicBezTo>
                    <a:pt x="20912" y="2883"/>
                    <a:pt x="20766" y="2828"/>
                    <a:pt x="20766" y="2862"/>
                  </a:cubicBezTo>
                  <a:cubicBezTo>
                    <a:pt x="20766" y="2897"/>
                    <a:pt x="20540" y="3051"/>
                    <a:pt x="20475" y="3216"/>
                  </a:cubicBezTo>
                  <a:cubicBezTo>
                    <a:pt x="20328" y="3378"/>
                    <a:pt x="20272" y="3450"/>
                    <a:pt x="20272" y="3371"/>
                  </a:cubicBezTo>
                  <a:cubicBezTo>
                    <a:pt x="20272" y="3293"/>
                    <a:pt x="20315" y="3206"/>
                    <a:pt x="20258" y="3191"/>
                  </a:cubicBezTo>
                  <a:cubicBezTo>
                    <a:pt x="20258" y="3169"/>
                    <a:pt x="20291" y="2958"/>
                    <a:pt x="20427" y="2719"/>
                  </a:cubicBezTo>
                  <a:cubicBezTo>
                    <a:pt x="20427" y="2481"/>
                    <a:pt x="20780" y="2237"/>
                    <a:pt x="20780" y="2162"/>
                  </a:cubicBezTo>
                  <a:cubicBezTo>
                    <a:pt x="20931" y="2103"/>
                    <a:pt x="20945" y="1954"/>
                    <a:pt x="21020" y="1850"/>
                  </a:cubicBezTo>
                  <a:cubicBezTo>
                    <a:pt x="21082" y="1750"/>
                    <a:pt x="21039" y="1579"/>
                    <a:pt x="21039" y="1474"/>
                  </a:cubicBezTo>
                  <a:cubicBezTo>
                    <a:pt x="20973" y="1369"/>
                    <a:pt x="20884" y="1327"/>
                    <a:pt x="20884" y="1382"/>
                  </a:cubicBezTo>
                  <a:cubicBezTo>
                    <a:pt x="20884" y="1439"/>
                    <a:pt x="20766" y="1382"/>
                    <a:pt x="20766" y="1262"/>
                  </a:cubicBezTo>
                  <a:cubicBezTo>
                    <a:pt x="20766" y="1139"/>
                    <a:pt x="20842" y="860"/>
                    <a:pt x="20917" y="639"/>
                  </a:cubicBezTo>
                  <a:cubicBezTo>
                    <a:pt x="21048" y="420"/>
                    <a:pt x="21020" y="169"/>
                    <a:pt x="21020" y="83"/>
                  </a:cubicBezTo>
                  <a:cubicBezTo>
                    <a:pt x="20879" y="7"/>
                    <a:pt x="20860" y="-28"/>
                    <a:pt x="20860" y="27"/>
                  </a:cubicBezTo>
                  <a:cubicBezTo>
                    <a:pt x="20743" y="76"/>
                    <a:pt x="20682" y="244"/>
                    <a:pt x="20682" y="384"/>
                  </a:cubicBezTo>
                  <a:cubicBezTo>
                    <a:pt x="20625" y="523"/>
                    <a:pt x="20536" y="797"/>
                    <a:pt x="20328" y="981"/>
                  </a:cubicBezTo>
                  <a:cubicBezTo>
                    <a:pt x="20192" y="1172"/>
                    <a:pt x="20023" y="1320"/>
                    <a:pt x="19990" y="1320"/>
                  </a:cubicBezTo>
                  <a:cubicBezTo>
                    <a:pt x="20018" y="1320"/>
                    <a:pt x="19957" y="1188"/>
                    <a:pt x="20098" y="1038"/>
                  </a:cubicBezTo>
                  <a:cubicBezTo>
                    <a:pt x="20168" y="885"/>
                    <a:pt x="20267" y="656"/>
                    <a:pt x="20338" y="524"/>
                  </a:cubicBezTo>
                  <a:cubicBezTo>
                    <a:pt x="20338" y="393"/>
                    <a:pt x="20376" y="299"/>
                    <a:pt x="20324" y="299"/>
                  </a:cubicBezTo>
                  <a:cubicBezTo>
                    <a:pt x="20272" y="299"/>
                    <a:pt x="19995" y="615"/>
                    <a:pt x="19853" y="990"/>
                  </a:cubicBezTo>
                  <a:cubicBezTo>
                    <a:pt x="19566" y="1362"/>
                    <a:pt x="19397" y="1706"/>
                    <a:pt x="19340" y="1751"/>
                  </a:cubicBezTo>
                  <a:cubicBezTo>
                    <a:pt x="19265" y="1793"/>
                    <a:pt x="19016" y="2167"/>
                    <a:pt x="18743" y="2577"/>
                  </a:cubicBezTo>
                  <a:cubicBezTo>
                    <a:pt x="18526" y="2990"/>
                    <a:pt x="18145" y="3501"/>
                    <a:pt x="18074" y="3713"/>
                  </a:cubicBezTo>
                  <a:cubicBezTo>
                    <a:pt x="17943" y="3926"/>
                    <a:pt x="17623" y="4383"/>
                    <a:pt x="17345" y="4730"/>
                  </a:cubicBezTo>
                  <a:cubicBezTo>
                    <a:pt x="16992" y="5074"/>
                    <a:pt x="16738" y="5373"/>
                    <a:pt x="16668" y="5393"/>
                  </a:cubicBezTo>
                  <a:cubicBezTo>
                    <a:pt x="16583" y="5405"/>
                    <a:pt x="16310" y="5515"/>
                    <a:pt x="16235" y="5640"/>
                  </a:cubicBezTo>
                  <a:cubicBezTo>
                    <a:pt x="16023" y="5752"/>
                    <a:pt x="15835" y="5947"/>
                    <a:pt x="15759" y="6064"/>
                  </a:cubicBezTo>
                  <a:cubicBezTo>
                    <a:pt x="15688" y="6180"/>
                    <a:pt x="15604" y="6252"/>
                    <a:pt x="15679" y="6243"/>
                  </a:cubicBezTo>
                  <a:cubicBezTo>
                    <a:pt x="15759" y="6243"/>
                    <a:pt x="15773" y="6295"/>
                    <a:pt x="15642" y="6386"/>
                  </a:cubicBezTo>
                  <a:cubicBezTo>
                    <a:pt x="15642" y="6484"/>
                    <a:pt x="15637" y="6596"/>
                    <a:pt x="15557" y="6596"/>
                  </a:cubicBezTo>
                  <a:cubicBezTo>
                    <a:pt x="15608" y="6609"/>
                    <a:pt x="15693" y="6567"/>
                    <a:pt x="15835" y="6490"/>
                  </a:cubicBezTo>
                  <a:cubicBezTo>
                    <a:pt x="15952" y="6411"/>
                    <a:pt x="15886" y="6450"/>
                    <a:pt x="15886" y="6581"/>
                  </a:cubicBezTo>
                  <a:cubicBezTo>
                    <a:pt x="15755" y="6707"/>
                    <a:pt x="15608" y="6877"/>
                    <a:pt x="15528" y="6960"/>
                  </a:cubicBezTo>
                  <a:cubicBezTo>
                    <a:pt x="15416" y="7037"/>
                    <a:pt x="15298" y="7133"/>
                    <a:pt x="15298" y="7169"/>
                  </a:cubicBezTo>
                  <a:cubicBezTo>
                    <a:pt x="15298" y="7202"/>
                    <a:pt x="15208" y="7280"/>
                    <a:pt x="15208" y="7342"/>
                  </a:cubicBezTo>
                  <a:cubicBezTo>
                    <a:pt x="15208" y="7406"/>
                    <a:pt x="15016" y="7676"/>
                    <a:pt x="15016" y="7945"/>
                  </a:cubicBezTo>
                  <a:cubicBezTo>
                    <a:pt x="14865" y="8210"/>
                    <a:pt x="14747" y="8552"/>
                    <a:pt x="14672" y="8698"/>
                  </a:cubicBezTo>
                  <a:cubicBezTo>
                    <a:pt x="14550" y="8847"/>
                    <a:pt x="14503" y="8924"/>
                    <a:pt x="14428" y="8882"/>
                  </a:cubicBezTo>
                  <a:cubicBezTo>
                    <a:pt x="14428" y="8835"/>
                    <a:pt x="14475" y="8633"/>
                    <a:pt x="14545" y="8432"/>
                  </a:cubicBezTo>
                  <a:cubicBezTo>
                    <a:pt x="14606" y="8231"/>
                    <a:pt x="14804" y="7953"/>
                    <a:pt x="14804" y="7809"/>
                  </a:cubicBezTo>
                  <a:cubicBezTo>
                    <a:pt x="14804" y="7667"/>
                    <a:pt x="14903" y="7570"/>
                    <a:pt x="14861" y="7570"/>
                  </a:cubicBezTo>
                  <a:cubicBezTo>
                    <a:pt x="14907" y="7570"/>
                    <a:pt x="14861" y="7561"/>
                    <a:pt x="14861" y="7528"/>
                  </a:cubicBezTo>
                  <a:cubicBezTo>
                    <a:pt x="14861" y="7492"/>
                    <a:pt x="14894" y="7498"/>
                    <a:pt x="14814" y="7498"/>
                  </a:cubicBezTo>
                  <a:cubicBezTo>
                    <a:pt x="14814" y="7520"/>
                    <a:pt x="14658" y="7651"/>
                    <a:pt x="14531" y="7792"/>
                  </a:cubicBezTo>
                  <a:cubicBezTo>
                    <a:pt x="14380" y="7934"/>
                    <a:pt x="14201" y="8345"/>
                    <a:pt x="14060" y="8698"/>
                  </a:cubicBezTo>
                  <a:cubicBezTo>
                    <a:pt x="13915" y="9052"/>
                    <a:pt x="13731" y="9385"/>
                    <a:pt x="13665" y="9439"/>
                  </a:cubicBezTo>
                  <a:cubicBezTo>
                    <a:pt x="13665" y="9495"/>
                    <a:pt x="13496" y="9452"/>
                    <a:pt x="13496" y="9350"/>
                  </a:cubicBezTo>
                  <a:cubicBezTo>
                    <a:pt x="13496" y="9247"/>
                    <a:pt x="13515" y="8984"/>
                    <a:pt x="13515" y="8764"/>
                  </a:cubicBezTo>
                  <a:cubicBezTo>
                    <a:pt x="13515" y="8545"/>
                    <a:pt x="13500" y="8356"/>
                    <a:pt x="13500" y="8368"/>
                  </a:cubicBezTo>
                  <a:cubicBezTo>
                    <a:pt x="13468" y="8377"/>
                    <a:pt x="13406" y="8341"/>
                    <a:pt x="13340" y="8304"/>
                  </a:cubicBezTo>
                  <a:cubicBezTo>
                    <a:pt x="13340" y="8263"/>
                    <a:pt x="13091" y="8358"/>
                    <a:pt x="13020" y="8515"/>
                  </a:cubicBezTo>
                  <a:cubicBezTo>
                    <a:pt x="12898" y="8669"/>
                    <a:pt x="12748" y="8955"/>
                    <a:pt x="12602" y="9147"/>
                  </a:cubicBezTo>
                  <a:cubicBezTo>
                    <a:pt x="12602" y="9343"/>
                    <a:pt x="12310" y="9677"/>
                    <a:pt x="12037" y="9882"/>
                  </a:cubicBezTo>
                  <a:cubicBezTo>
                    <a:pt x="11783" y="10089"/>
                    <a:pt x="11477" y="10407"/>
                    <a:pt x="11411" y="10584"/>
                  </a:cubicBezTo>
                  <a:cubicBezTo>
                    <a:pt x="11270" y="10762"/>
                    <a:pt x="11007" y="11113"/>
                    <a:pt x="10724" y="11360"/>
                  </a:cubicBezTo>
                  <a:cubicBezTo>
                    <a:pt x="10446" y="11608"/>
                    <a:pt x="10216" y="11943"/>
                    <a:pt x="10075" y="12096"/>
                  </a:cubicBezTo>
                  <a:cubicBezTo>
                    <a:pt x="10004" y="12254"/>
                    <a:pt x="9642" y="12601"/>
                    <a:pt x="9420" y="12880"/>
                  </a:cubicBezTo>
                  <a:cubicBezTo>
                    <a:pt x="9152" y="13156"/>
                    <a:pt x="8687" y="13557"/>
                    <a:pt x="8540" y="13782"/>
                  </a:cubicBezTo>
                  <a:cubicBezTo>
                    <a:pt x="8268" y="14004"/>
                    <a:pt x="7694" y="14394"/>
                    <a:pt x="7185" y="14652"/>
                  </a:cubicBezTo>
                  <a:cubicBezTo>
                    <a:pt x="6621" y="14902"/>
                    <a:pt x="6225" y="15163"/>
                    <a:pt x="6122" y="15204"/>
                  </a:cubicBezTo>
                  <a:cubicBezTo>
                    <a:pt x="6065" y="15252"/>
                    <a:pt x="5915" y="15459"/>
                    <a:pt x="5844" y="15665"/>
                  </a:cubicBezTo>
                  <a:cubicBezTo>
                    <a:pt x="5707" y="15872"/>
                    <a:pt x="5694" y="16105"/>
                    <a:pt x="5694" y="16181"/>
                  </a:cubicBezTo>
                  <a:cubicBezTo>
                    <a:pt x="5694" y="16258"/>
                    <a:pt x="5661" y="16301"/>
                    <a:pt x="5618" y="16277"/>
                  </a:cubicBezTo>
                  <a:cubicBezTo>
                    <a:pt x="5547" y="16258"/>
                    <a:pt x="5472" y="16301"/>
                    <a:pt x="5336" y="16376"/>
                  </a:cubicBezTo>
                  <a:cubicBezTo>
                    <a:pt x="5223" y="16454"/>
                    <a:pt x="5049" y="16568"/>
                    <a:pt x="4880" y="16614"/>
                  </a:cubicBezTo>
                  <a:cubicBezTo>
                    <a:pt x="4743" y="16669"/>
                    <a:pt x="4475" y="16810"/>
                    <a:pt x="4400" y="16937"/>
                  </a:cubicBezTo>
                  <a:cubicBezTo>
                    <a:pt x="4334" y="17063"/>
                    <a:pt x="4084" y="17311"/>
                    <a:pt x="3939" y="17490"/>
                  </a:cubicBezTo>
                  <a:cubicBezTo>
                    <a:pt x="3807" y="17669"/>
                    <a:pt x="3590" y="18010"/>
                    <a:pt x="3454" y="18250"/>
                  </a:cubicBezTo>
                  <a:cubicBezTo>
                    <a:pt x="3308" y="18487"/>
                    <a:pt x="3044" y="18860"/>
                    <a:pt x="2828" y="19077"/>
                  </a:cubicBezTo>
                  <a:cubicBezTo>
                    <a:pt x="2611" y="19295"/>
                    <a:pt x="2385" y="19526"/>
                    <a:pt x="2385" y="19592"/>
                  </a:cubicBezTo>
                  <a:cubicBezTo>
                    <a:pt x="2253" y="19646"/>
                    <a:pt x="2164" y="19726"/>
                    <a:pt x="1967" y="19726"/>
                  </a:cubicBezTo>
                  <a:cubicBezTo>
                    <a:pt x="1769" y="19739"/>
                    <a:pt x="1435" y="19687"/>
                    <a:pt x="1293" y="19612"/>
                  </a:cubicBezTo>
                  <a:cubicBezTo>
                    <a:pt x="1110" y="19543"/>
                    <a:pt x="842" y="19512"/>
                    <a:pt x="677" y="19557"/>
                  </a:cubicBezTo>
                  <a:cubicBezTo>
                    <a:pt x="484" y="19593"/>
                    <a:pt x="381" y="19541"/>
                    <a:pt x="381" y="19421"/>
                  </a:cubicBezTo>
                  <a:cubicBezTo>
                    <a:pt x="381" y="19304"/>
                    <a:pt x="376" y="19094"/>
                    <a:pt x="376" y="18951"/>
                  </a:cubicBezTo>
                  <a:cubicBezTo>
                    <a:pt x="376" y="18810"/>
                    <a:pt x="254" y="18718"/>
                    <a:pt x="254" y="18750"/>
                  </a:cubicBezTo>
                  <a:cubicBezTo>
                    <a:pt x="169" y="18773"/>
                    <a:pt x="61" y="19031"/>
                    <a:pt x="61" y="19310"/>
                  </a:cubicBezTo>
                  <a:cubicBezTo>
                    <a:pt x="-76" y="19587"/>
                    <a:pt x="51" y="19934"/>
                    <a:pt x="122" y="20082"/>
                  </a:cubicBezTo>
                  <a:close/>
                  <a:moveTo>
                    <a:pt x="122" y="2008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1" name="AutoShape 390"/>
            <p:cNvSpPr>
              <a:spLocks/>
            </p:cNvSpPr>
            <p:nvPr/>
          </p:nvSpPr>
          <p:spPr bwMode="auto">
            <a:xfrm>
              <a:off x="10553700" y="5054600"/>
              <a:ext cx="0" cy="4763"/>
            </a:xfrm>
            <a:custGeom>
              <a:avLst/>
              <a:gdLst/>
              <a:ahLst/>
              <a:cxnLst/>
              <a:rect l="0" t="0" r="r" b="b"/>
              <a:pathLst>
                <a:path w="20052" h="21130">
                  <a:moveTo>
                    <a:pt x="1270" y="20850"/>
                  </a:moveTo>
                  <a:cubicBezTo>
                    <a:pt x="4114" y="20295"/>
                    <a:pt x="11571" y="15287"/>
                    <a:pt x="11571" y="10028"/>
                  </a:cubicBezTo>
                  <a:cubicBezTo>
                    <a:pt x="15445" y="4864"/>
                    <a:pt x="21343" y="0"/>
                    <a:pt x="19800" y="0"/>
                  </a:cubicBezTo>
                  <a:cubicBezTo>
                    <a:pt x="21600" y="0"/>
                    <a:pt x="10800" y="2910"/>
                    <a:pt x="10800" y="7621"/>
                  </a:cubicBezTo>
                  <a:cubicBezTo>
                    <a:pt x="6943" y="12178"/>
                    <a:pt x="0" y="17293"/>
                    <a:pt x="0" y="18997"/>
                  </a:cubicBezTo>
                  <a:cubicBezTo>
                    <a:pt x="0" y="20800"/>
                    <a:pt x="1270" y="21600"/>
                    <a:pt x="1270" y="20850"/>
                  </a:cubicBezTo>
                  <a:close/>
                  <a:moveTo>
                    <a:pt x="1270" y="208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2" name="AutoShape 391"/>
            <p:cNvSpPr>
              <a:spLocks/>
            </p:cNvSpPr>
            <p:nvPr/>
          </p:nvSpPr>
          <p:spPr bwMode="auto">
            <a:xfrm>
              <a:off x="10553700" y="5067300"/>
              <a:ext cx="0" cy="1588"/>
            </a:xfrm>
            <a:custGeom>
              <a:avLst/>
              <a:gdLst/>
              <a:ahLst/>
              <a:cxnLst/>
              <a:rect l="0" t="0" r="r" b="b"/>
              <a:pathLst>
                <a:path w="15926" h="19029">
                  <a:moveTo>
                    <a:pt x="7895" y="16880"/>
                  </a:moveTo>
                  <a:cubicBezTo>
                    <a:pt x="14736" y="13677"/>
                    <a:pt x="18276" y="7177"/>
                    <a:pt x="14189" y="3549"/>
                  </a:cubicBezTo>
                  <a:cubicBezTo>
                    <a:pt x="14189" y="-417"/>
                    <a:pt x="7348" y="-1176"/>
                    <a:pt x="7348" y="1864"/>
                  </a:cubicBezTo>
                  <a:cubicBezTo>
                    <a:pt x="7348" y="4812"/>
                    <a:pt x="-3324" y="10971"/>
                    <a:pt x="1054" y="15111"/>
                  </a:cubicBezTo>
                  <a:cubicBezTo>
                    <a:pt x="5706" y="19411"/>
                    <a:pt x="4047" y="20424"/>
                    <a:pt x="7895" y="16880"/>
                  </a:cubicBezTo>
                  <a:close/>
                  <a:moveTo>
                    <a:pt x="7895" y="168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3" name="AutoShape 392"/>
            <p:cNvSpPr>
              <a:spLocks/>
            </p:cNvSpPr>
            <p:nvPr/>
          </p:nvSpPr>
          <p:spPr bwMode="auto">
            <a:xfrm>
              <a:off x="10579100" y="4978400"/>
              <a:ext cx="1588" cy="14288"/>
            </a:xfrm>
            <a:custGeom>
              <a:avLst/>
              <a:gdLst/>
              <a:ahLst/>
              <a:cxnLst/>
              <a:rect l="0" t="0" r="r" b="b"/>
              <a:pathLst>
                <a:path w="21466" h="20984">
                  <a:moveTo>
                    <a:pt x="0" y="20832"/>
                  </a:moveTo>
                  <a:cubicBezTo>
                    <a:pt x="2061" y="21387"/>
                    <a:pt x="3363" y="20378"/>
                    <a:pt x="6726" y="18427"/>
                  </a:cubicBezTo>
                  <a:cubicBezTo>
                    <a:pt x="8787" y="16508"/>
                    <a:pt x="12021" y="12017"/>
                    <a:pt x="16168" y="8535"/>
                  </a:cubicBezTo>
                  <a:cubicBezTo>
                    <a:pt x="16168" y="5003"/>
                    <a:pt x="21463" y="1453"/>
                    <a:pt x="21463" y="612"/>
                  </a:cubicBezTo>
                  <a:cubicBezTo>
                    <a:pt x="21463" y="-196"/>
                    <a:pt x="21600" y="-213"/>
                    <a:pt x="20048" y="612"/>
                  </a:cubicBezTo>
                  <a:cubicBezTo>
                    <a:pt x="20048" y="1470"/>
                    <a:pt x="15254" y="2361"/>
                    <a:pt x="15254" y="2748"/>
                  </a:cubicBezTo>
                  <a:cubicBezTo>
                    <a:pt x="13969" y="3084"/>
                    <a:pt x="10339" y="4884"/>
                    <a:pt x="10339" y="6751"/>
                  </a:cubicBezTo>
                  <a:cubicBezTo>
                    <a:pt x="10339" y="8636"/>
                    <a:pt x="4907" y="12286"/>
                    <a:pt x="3225" y="14927"/>
                  </a:cubicBezTo>
                  <a:cubicBezTo>
                    <a:pt x="1293" y="17569"/>
                    <a:pt x="0" y="20228"/>
                    <a:pt x="0" y="20832"/>
                  </a:cubicBezTo>
                  <a:close/>
                  <a:moveTo>
                    <a:pt x="0" y="208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4" name="AutoShape 393"/>
            <p:cNvSpPr>
              <a:spLocks/>
            </p:cNvSpPr>
            <p:nvPr/>
          </p:nvSpPr>
          <p:spPr bwMode="auto">
            <a:xfrm>
              <a:off x="10579100" y="4978400"/>
              <a:ext cx="4763" cy="25400"/>
            </a:xfrm>
            <a:custGeom>
              <a:avLst/>
              <a:gdLst/>
              <a:ahLst/>
              <a:cxnLst/>
              <a:rect l="0" t="0" r="r" b="b"/>
              <a:pathLst>
                <a:path w="20652" h="20996">
                  <a:moveTo>
                    <a:pt x="2240" y="12469"/>
                  </a:moveTo>
                  <a:cubicBezTo>
                    <a:pt x="2240" y="12379"/>
                    <a:pt x="2401" y="13845"/>
                    <a:pt x="2401" y="15549"/>
                  </a:cubicBezTo>
                  <a:cubicBezTo>
                    <a:pt x="2401" y="17263"/>
                    <a:pt x="2190" y="19307"/>
                    <a:pt x="2190" y="20114"/>
                  </a:cubicBezTo>
                  <a:cubicBezTo>
                    <a:pt x="2190" y="20902"/>
                    <a:pt x="4091" y="21241"/>
                    <a:pt x="4091" y="20802"/>
                  </a:cubicBezTo>
                  <a:cubicBezTo>
                    <a:pt x="4831" y="20383"/>
                    <a:pt x="6890" y="17792"/>
                    <a:pt x="8524" y="15041"/>
                  </a:cubicBezTo>
                  <a:cubicBezTo>
                    <a:pt x="10109" y="12289"/>
                    <a:pt x="12116" y="9091"/>
                    <a:pt x="13809" y="7984"/>
                  </a:cubicBezTo>
                  <a:cubicBezTo>
                    <a:pt x="15235" y="6887"/>
                    <a:pt x="16977" y="5870"/>
                    <a:pt x="16977" y="5701"/>
                  </a:cubicBezTo>
                  <a:cubicBezTo>
                    <a:pt x="17875" y="5701"/>
                    <a:pt x="18509" y="5053"/>
                    <a:pt x="18509" y="4584"/>
                  </a:cubicBezTo>
                  <a:cubicBezTo>
                    <a:pt x="18509" y="4116"/>
                    <a:pt x="19090" y="2681"/>
                    <a:pt x="20569" y="1435"/>
                  </a:cubicBezTo>
                  <a:cubicBezTo>
                    <a:pt x="20569" y="169"/>
                    <a:pt x="21044" y="-359"/>
                    <a:pt x="19724" y="258"/>
                  </a:cubicBezTo>
                  <a:cubicBezTo>
                    <a:pt x="18087" y="857"/>
                    <a:pt x="15337" y="2461"/>
                    <a:pt x="13700" y="3807"/>
                  </a:cubicBezTo>
                  <a:cubicBezTo>
                    <a:pt x="11436" y="5123"/>
                    <a:pt x="8369" y="7087"/>
                    <a:pt x="5781" y="8073"/>
                  </a:cubicBezTo>
                  <a:cubicBezTo>
                    <a:pt x="3511" y="9080"/>
                    <a:pt x="1187" y="10266"/>
                    <a:pt x="444" y="10666"/>
                  </a:cubicBezTo>
                  <a:cubicBezTo>
                    <a:pt x="-556" y="11044"/>
                    <a:pt x="444" y="11651"/>
                    <a:pt x="444" y="11971"/>
                  </a:cubicBezTo>
                  <a:cubicBezTo>
                    <a:pt x="1187" y="12260"/>
                    <a:pt x="1873" y="12539"/>
                    <a:pt x="2240" y="12469"/>
                  </a:cubicBezTo>
                  <a:close/>
                  <a:moveTo>
                    <a:pt x="2240" y="124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5" name="AutoShape 394"/>
            <p:cNvSpPr>
              <a:spLocks/>
            </p:cNvSpPr>
            <p:nvPr/>
          </p:nvSpPr>
          <p:spPr bwMode="auto">
            <a:xfrm>
              <a:off x="10528300" y="4686300"/>
              <a:ext cx="38100" cy="144463"/>
            </a:xfrm>
            <a:custGeom>
              <a:avLst/>
              <a:gdLst/>
              <a:ahLst/>
              <a:cxnLst/>
              <a:rect l="0" t="0" r="r" b="b"/>
              <a:pathLst>
                <a:path w="21562" h="21543">
                  <a:moveTo>
                    <a:pt x="8422" y="19345"/>
                  </a:moveTo>
                  <a:cubicBezTo>
                    <a:pt x="8527" y="18964"/>
                    <a:pt x="9036" y="18625"/>
                    <a:pt x="9273" y="18605"/>
                  </a:cubicBezTo>
                  <a:cubicBezTo>
                    <a:pt x="9503" y="18574"/>
                    <a:pt x="9838" y="18609"/>
                    <a:pt x="9838" y="18694"/>
                  </a:cubicBezTo>
                  <a:cubicBezTo>
                    <a:pt x="9998" y="18766"/>
                    <a:pt x="10423" y="18673"/>
                    <a:pt x="11002" y="18482"/>
                  </a:cubicBezTo>
                  <a:cubicBezTo>
                    <a:pt x="11595" y="18300"/>
                    <a:pt x="12097" y="18238"/>
                    <a:pt x="12292" y="18355"/>
                  </a:cubicBezTo>
                  <a:cubicBezTo>
                    <a:pt x="12481" y="18478"/>
                    <a:pt x="12571" y="18720"/>
                    <a:pt x="12571" y="18887"/>
                  </a:cubicBezTo>
                  <a:cubicBezTo>
                    <a:pt x="12571" y="19056"/>
                    <a:pt x="12843" y="19138"/>
                    <a:pt x="13191" y="19081"/>
                  </a:cubicBezTo>
                  <a:cubicBezTo>
                    <a:pt x="13526" y="19023"/>
                    <a:pt x="13784" y="18763"/>
                    <a:pt x="13784" y="18510"/>
                  </a:cubicBezTo>
                  <a:cubicBezTo>
                    <a:pt x="13784" y="18257"/>
                    <a:pt x="13826" y="17906"/>
                    <a:pt x="13924" y="17728"/>
                  </a:cubicBezTo>
                  <a:cubicBezTo>
                    <a:pt x="14035" y="17555"/>
                    <a:pt x="14091" y="17224"/>
                    <a:pt x="13882" y="17014"/>
                  </a:cubicBezTo>
                  <a:cubicBezTo>
                    <a:pt x="13777" y="16797"/>
                    <a:pt x="13512" y="16569"/>
                    <a:pt x="13296" y="16511"/>
                  </a:cubicBezTo>
                  <a:cubicBezTo>
                    <a:pt x="13073" y="16453"/>
                    <a:pt x="12969" y="16040"/>
                    <a:pt x="13073" y="15603"/>
                  </a:cubicBezTo>
                  <a:cubicBezTo>
                    <a:pt x="13073" y="15159"/>
                    <a:pt x="13415" y="14630"/>
                    <a:pt x="13721" y="14431"/>
                  </a:cubicBezTo>
                  <a:cubicBezTo>
                    <a:pt x="13945" y="14224"/>
                    <a:pt x="14510" y="14045"/>
                    <a:pt x="14886" y="14033"/>
                  </a:cubicBezTo>
                  <a:cubicBezTo>
                    <a:pt x="15256" y="14000"/>
                    <a:pt x="15680" y="13790"/>
                    <a:pt x="15890" y="13536"/>
                  </a:cubicBezTo>
                  <a:cubicBezTo>
                    <a:pt x="16092" y="13282"/>
                    <a:pt x="16545" y="12859"/>
                    <a:pt x="16866" y="12596"/>
                  </a:cubicBezTo>
                  <a:cubicBezTo>
                    <a:pt x="17298" y="12338"/>
                    <a:pt x="17703" y="11999"/>
                    <a:pt x="18072" y="11891"/>
                  </a:cubicBezTo>
                  <a:cubicBezTo>
                    <a:pt x="18302" y="11756"/>
                    <a:pt x="18783" y="11529"/>
                    <a:pt x="18783" y="11360"/>
                  </a:cubicBezTo>
                  <a:cubicBezTo>
                    <a:pt x="18972" y="11197"/>
                    <a:pt x="19076" y="10974"/>
                    <a:pt x="19272" y="10881"/>
                  </a:cubicBezTo>
                  <a:cubicBezTo>
                    <a:pt x="19481" y="10788"/>
                    <a:pt x="19934" y="10397"/>
                    <a:pt x="20039" y="10011"/>
                  </a:cubicBezTo>
                  <a:cubicBezTo>
                    <a:pt x="20450" y="9636"/>
                    <a:pt x="20457" y="9079"/>
                    <a:pt x="20561" y="8794"/>
                  </a:cubicBezTo>
                  <a:cubicBezTo>
                    <a:pt x="20561" y="8508"/>
                    <a:pt x="20805" y="7995"/>
                    <a:pt x="20903" y="7656"/>
                  </a:cubicBezTo>
                  <a:cubicBezTo>
                    <a:pt x="21112" y="7319"/>
                    <a:pt x="21161" y="6844"/>
                    <a:pt x="21161" y="6603"/>
                  </a:cubicBezTo>
                  <a:cubicBezTo>
                    <a:pt x="21161" y="6365"/>
                    <a:pt x="21196" y="5848"/>
                    <a:pt x="21398" y="5458"/>
                  </a:cubicBezTo>
                  <a:cubicBezTo>
                    <a:pt x="21600" y="5067"/>
                    <a:pt x="21559" y="4341"/>
                    <a:pt x="21559" y="3848"/>
                  </a:cubicBezTo>
                  <a:cubicBezTo>
                    <a:pt x="21356" y="3357"/>
                    <a:pt x="21307" y="2868"/>
                    <a:pt x="21196" y="2759"/>
                  </a:cubicBezTo>
                  <a:cubicBezTo>
                    <a:pt x="20979" y="2662"/>
                    <a:pt x="20966" y="2257"/>
                    <a:pt x="20854" y="1880"/>
                  </a:cubicBezTo>
                  <a:cubicBezTo>
                    <a:pt x="20854" y="1500"/>
                    <a:pt x="20673" y="1202"/>
                    <a:pt x="20527" y="1221"/>
                  </a:cubicBezTo>
                  <a:cubicBezTo>
                    <a:pt x="20381" y="1240"/>
                    <a:pt x="20150" y="1127"/>
                    <a:pt x="19948" y="983"/>
                  </a:cubicBezTo>
                  <a:cubicBezTo>
                    <a:pt x="19746" y="837"/>
                    <a:pt x="19585" y="658"/>
                    <a:pt x="19390" y="633"/>
                  </a:cubicBezTo>
                  <a:cubicBezTo>
                    <a:pt x="19272" y="586"/>
                    <a:pt x="19056" y="394"/>
                    <a:pt x="19056" y="200"/>
                  </a:cubicBezTo>
                  <a:cubicBezTo>
                    <a:pt x="18846" y="10"/>
                    <a:pt x="18665" y="-57"/>
                    <a:pt x="18282" y="55"/>
                  </a:cubicBezTo>
                  <a:cubicBezTo>
                    <a:pt x="17905" y="167"/>
                    <a:pt x="17382" y="446"/>
                    <a:pt x="17187" y="672"/>
                  </a:cubicBezTo>
                  <a:cubicBezTo>
                    <a:pt x="16873" y="887"/>
                    <a:pt x="16957" y="1287"/>
                    <a:pt x="17061" y="1548"/>
                  </a:cubicBezTo>
                  <a:cubicBezTo>
                    <a:pt x="17166" y="1810"/>
                    <a:pt x="17194" y="2214"/>
                    <a:pt x="17194" y="2455"/>
                  </a:cubicBezTo>
                  <a:cubicBezTo>
                    <a:pt x="17194" y="2697"/>
                    <a:pt x="16943" y="3086"/>
                    <a:pt x="17054" y="3316"/>
                  </a:cubicBezTo>
                  <a:cubicBezTo>
                    <a:pt x="17054" y="3548"/>
                    <a:pt x="17082" y="3884"/>
                    <a:pt x="16971" y="4054"/>
                  </a:cubicBezTo>
                  <a:cubicBezTo>
                    <a:pt x="16971" y="4229"/>
                    <a:pt x="16706" y="4259"/>
                    <a:pt x="16343" y="4150"/>
                  </a:cubicBezTo>
                  <a:cubicBezTo>
                    <a:pt x="16127" y="4019"/>
                    <a:pt x="15730" y="3632"/>
                    <a:pt x="15632" y="3270"/>
                  </a:cubicBezTo>
                  <a:cubicBezTo>
                    <a:pt x="15521" y="2910"/>
                    <a:pt x="15186" y="2635"/>
                    <a:pt x="14872" y="2635"/>
                  </a:cubicBezTo>
                  <a:cubicBezTo>
                    <a:pt x="14593" y="2673"/>
                    <a:pt x="14321" y="2518"/>
                    <a:pt x="14217" y="2353"/>
                  </a:cubicBezTo>
                  <a:cubicBezTo>
                    <a:pt x="14217" y="2184"/>
                    <a:pt x="13854" y="1886"/>
                    <a:pt x="13743" y="1681"/>
                  </a:cubicBezTo>
                  <a:cubicBezTo>
                    <a:pt x="13457" y="1490"/>
                    <a:pt x="13275" y="1393"/>
                    <a:pt x="13087" y="1479"/>
                  </a:cubicBezTo>
                  <a:cubicBezTo>
                    <a:pt x="12899" y="1565"/>
                    <a:pt x="12732" y="1502"/>
                    <a:pt x="12522" y="1345"/>
                  </a:cubicBezTo>
                  <a:cubicBezTo>
                    <a:pt x="12417" y="1181"/>
                    <a:pt x="11999" y="1112"/>
                    <a:pt x="11651" y="1170"/>
                  </a:cubicBezTo>
                  <a:cubicBezTo>
                    <a:pt x="11337" y="1239"/>
                    <a:pt x="10870" y="1244"/>
                    <a:pt x="10647" y="1187"/>
                  </a:cubicBezTo>
                  <a:cubicBezTo>
                    <a:pt x="10395" y="1136"/>
                    <a:pt x="10033" y="1093"/>
                    <a:pt x="9782" y="1110"/>
                  </a:cubicBezTo>
                  <a:cubicBezTo>
                    <a:pt x="9559" y="1139"/>
                    <a:pt x="9022" y="1256"/>
                    <a:pt x="8694" y="1412"/>
                  </a:cubicBezTo>
                  <a:cubicBezTo>
                    <a:pt x="8318" y="1559"/>
                    <a:pt x="8004" y="1599"/>
                    <a:pt x="7914" y="1493"/>
                  </a:cubicBezTo>
                  <a:cubicBezTo>
                    <a:pt x="8018" y="1388"/>
                    <a:pt x="7509" y="1312"/>
                    <a:pt x="7168" y="1323"/>
                  </a:cubicBezTo>
                  <a:cubicBezTo>
                    <a:pt x="6833" y="1335"/>
                    <a:pt x="6003" y="1520"/>
                    <a:pt x="5473" y="1759"/>
                  </a:cubicBezTo>
                  <a:cubicBezTo>
                    <a:pt x="4874" y="1993"/>
                    <a:pt x="4183" y="2191"/>
                    <a:pt x="3954" y="2205"/>
                  </a:cubicBezTo>
                  <a:cubicBezTo>
                    <a:pt x="3716" y="2222"/>
                    <a:pt x="3214" y="2558"/>
                    <a:pt x="2907" y="2961"/>
                  </a:cubicBezTo>
                  <a:cubicBezTo>
                    <a:pt x="2496" y="3354"/>
                    <a:pt x="2091" y="4003"/>
                    <a:pt x="1987" y="4393"/>
                  </a:cubicBezTo>
                  <a:cubicBezTo>
                    <a:pt x="1882" y="4786"/>
                    <a:pt x="1499" y="5353"/>
                    <a:pt x="1185" y="5657"/>
                  </a:cubicBezTo>
                  <a:cubicBezTo>
                    <a:pt x="962" y="5961"/>
                    <a:pt x="523" y="6623"/>
                    <a:pt x="418" y="7133"/>
                  </a:cubicBezTo>
                  <a:cubicBezTo>
                    <a:pt x="321" y="7638"/>
                    <a:pt x="105" y="8472"/>
                    <a:pt x="105" y="8979"/>
                  </a:cubicBezTo>
                  <a:cubicBezTo>
                    <a:pt x="0" y="9485"/>
                    <a:pt x="188" y="9992"/>
                    <a:pt x="384" y="10095"/>
                  </a:cubicBezTo>
                  <a:cubicBezTo>
                    <a:pt x="599" y="10195"/>
                    <a:pt x="697" y="10487"/>
                    <a:pt x="795" y="10730"/>
                  </a:cubicBezTo>
                  <a:cubicBezTo>
                    <a:pt x="795" y="10977"/>
                    <a:pt x="815" y="11568"/>
                    <a:pt x="599" y="12044"/>
                  </a:cubicBezTo>
                  <a:cubicBezTo>
                    <a:pt x="390" y="12522"/>
                    <a:pt x="258" y="13080"/>
                    <a:pt x="160" y="13282"/>
                  </a:cubicBezTo>
                  <a:cubicBezTo>
                    <a:pt x="49" y="13482"/>
                    <a:pt x="14" y="13649"/>
                    <a:pt x="0" y="13649"/>
                  </a:cubicBezTo>
                  <a:cubicBezTo>
                    <a:pt x="0" y="13649"/>
                    <a:pt x="97" y="13806"/>
                    <a:pt x="202" y="14000"/>
                  </a:cubicBezTo>
                  <a:cubicBezTo>
                    <a:pt x="404" y="14187"/>
                    <a:pt x="286" y="14545"/>
                    <a:pt x="286" y="14789"/>
                  </a:cubicBezTo>
                  <a:cubicBezTo>
                    <a:pt x="181" y="15032"/>
                    <a:pt x="188" y="15352"/>
                    <a:pt x="390" y="15483"/>
                  </a:cubicBezTo>
                  <a:cubicBezTo>
                    <a:pt x="390" y="15622"/>
                    <a:pt x="586" y="15934"/>
                    <a:pt x="481" y="16182"/>
                  </a:cubicBezTo>
                  <a:cubicBezTo>
                    <a:pt x="481" y="16431"/>
                    <a:pt x="425" y="16833"/>
                    <a:pt x="530" y="17078"/>
                  </a:cubicBezTo>
                  <a:cubicBezTo>
                    <a:pt x="627" y="17320"/>
                    <a:pt x="725" y="17466"/>
                    <a:pt x="885" y="17434"/>
                  </a:cubicBezTo>
                  <a:cubicBezTo>
                    <a:pt x="885" y="17378"/>
                    <a:pt x="1032" y="17496"/>
                    <a:pt x="1143" y="17679"/>
                  </a:cubicBezTo>
                  <a:cubicBezTo>
                    <a:pt x="1248" y="17858"/>
                    <a:pt x="1052" y="18175"/>
                    <a:pt x="1052" y="18382"/>
                  </a:cubicBezTo>
                  <a:cubicBezTo>
                    <a:pt x="836" y="18582"/>
                    <a:pt x="969" y="18869"/>
                    <a:pt x="969" y="19009"/>
                  </a:cubicBezTo>
                  <a:cubicBezTo>
                    <a:pt x="1073" y="19142"/>
                    <a:pt x="976" y="19416"/>
                    <a:pt x="976" y="19607"/>
                  </a:cubicBezTo>
                  <a:cubicBezTo>
                    <a:pt x="976" y="19797"/>
                    <a:pt x="1067" y="19968"/>
                    <a:pt x="1248" y="19968"/>
                  </a:cubicBezTo>
                  <a:cubicBezTo>
                    <a:pt x="1422" y="19968"/>
                    <a:pt x="1701" y="19951"/>
                    <a:pt x="1847" y="19913"/>
                  </a:cubicBezTo>
                  <a:cubicBezTo>
                    <a:pt x="1959" y="19867"/>
                    <a:pt x="2056" y="19662"/>
                    <a:pt x="2259" y="19446"/>
                  </a:cubicBezTo>
                  <a:cubicBezTo>
                    <a:pt x="2259" y="19227"/>
                    <a:pt x="2524" y="18929"/>
                    <a:pt x="2733" y="18781"/>
                  </a:cubicBezTo>
                  <a:cubicBezTo>
                    <a:pt x="2935" y="18633"/>
                    <a:pt x="3096" y="18436"/>
                    <a:pt x="3284" y="18361"/>
                  </a:cubicBezTo>
                  <a:cubicBezTo>
                    <a:pt x="3284" y="18276"/>
                    <a:pt x="3409" y="18342"/>
                    <a:pt x="3409" y="18497"/>
                  </a:cubicBezTo>
                  <a:cubicBezTo>
                    <a:pt x="3409" y="18651"/>
                    <a:pt x="3354" y="18936"/>
                    <a:pt x="3354" y="19129"/>
                  </a:cubicBezTo>
                  <a:cubicBezTo>
                    <a:pt x="3451" y="19315"/>
                    <a:pt x="3458" y="19616"/>
                    <a:pt x="3256" y="19774"/>
                  </a:cubicBezTo>
                  <a:cubicBezTo>
                    <a:pt x="3256" y="19944"/>
                    <a:pt x="2956" y="20237"/>
                    <a:pt x="2754" y="20433"/>
                  </a:cubicBezTo>
                  <a:cubicBezTo>
                    <a:pt x="2545" y="20629"/>
                    <a:pt x="2454" y="20883"/>
                    <a:pt x="2454" y="20999"/>
                  </a:cubicBezTo>
                  <a:cubicBezTo>
                    <a:pt x="2454" y="21114"/>
                    <a:pt x="2517" y="21283"/>
                    <a:pt x="2517" y="21375"/>
                  </a:cubicBezTo>
                  <a:cubicBezTo>
                    <a:pt x="2517" y="21470"/>
                    <a:pt x="2615" y="21534"/>
                    <a:pt x="2740" y="21543"/>
                  </a:cubicBezTo>
                  <a:cubicBezTo>
                    <a:pt x="2740" y="21510"/>
                    <a:pt x="3124" y="21362"/>
                    <a:pt x="3424" y="21153"/>
                  </a:cubicBezTo>
                  <a:cubicBezTo>
                    <a:pt x="3626" y="20938"/>
                    <a:pt x="3841" y="20710"/>
                    <a:pt x="3954" y="20638"/>
                  </a:cubicBezTo>
                  <a:cubicBezTo>
                    <a:pt x="4044" y="20565"/>
                    <a:pt x="4190" y="20578"/>
                    <a:pt x="4190" y="20673"/>
                  </a:cubicBezTo>
                  <a:cubicBezTo>
                    <a:pt x="4309" y="20766"/>
                    <a:pt x="4476" y="20907"/>
                    <a:pt x="4727" y="20953"/>
                  </a:cubicBezTo>
                  <a:cubicBezTo>
                    <a:pt x="4839" y="21026"/>
                    <a:pt x="5146" y="21014"/>
                    <a:pt x="5243" y="20962"/>
                  </a:cubicBezTo>
                  <a:cubicBezTo>
                    <a:pt x="5243" y="20904"/>
                    <a:pt x="5564" y="20984"/>
                    <a:pt x="5669" y="21138"/>
                  </a:cubicBezTo>
                  <a:cubicBezTo>
                    <a:pt x="5787" y="21292"/>
                    <a:pt x="6191" y="21160"/>
                    <a:pt x="6498" y="20851"/>
                  </a:cubicBezTo>
                  <a:cubicBezTo>
                    <a:pt x="6903" y="20547"/>
                    <a:pt x="7279" y="20235"/>
                    <a:pt x="7516" y="20160"/>
                  </a:cubicBezTo>
                  <a:cubicBezTo>
                    <a:pt x="7774" y="20092"/>
                    <a:pt x="8116" y="19722"/>
                    <a:pt x="8422" y="19345"/>
                  </a:cubicBezTo>
                  <a:close/>
                  <a:moveTo>
                    <a:pt x="8422" y="193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6" name="AutoShape 395"/>
            <p:cNvSpPr>
              <a:spLocks/>
            </p:cNvSpPr>
            <p:nvPr/>
          </p:nvSpPr>
          <p:spPr bwMode="auto">
            <a:xfrm>
              <a:off x="10502900" y="4864100"/>
              <a:ext cx="0" cy="1588"/>
            </a:xfrm>
            <a:custGeom>
              <a:avLst/>
              <a:gdLst/>
              <a:ahLst/>
              <a:cxnLst/>
              <a:rect l="0" t="0" r="r" b="b"/>
              <a:pathLst>
                <a:path w="17194" h="17508">
                  <a:moveTo>
                    <a:pt x="15920" y="6569"/>
                  </a:moveTo>
                  <a:cubicBezTo>
                    <a:pt x="19086" y="-790"/>
                    <a:pt x="16281" y="-2071"/>
                    <a:pt x="8274" y="3257"/>
                  </a:cubicBezTo>
                  <a:cubicBezTo>
                    <a:pt x="93" y="8585"/>
                    <a:pt x="-2514" y="15482"/>
                    <a:pt x="2688" y="16772"/>
                  </a:cubicBezTo>
                  <a:cubicBezTo>
                    <a:pt x="2688" y="19529"/>
                    <a:pt x="13116" y="14192"/>
                    <a:pt x="15920" y="6569"/>
                  </a:cubicBezTo>
                  <a:close/>
                  <a:moveTo>
                    <a:pt x="15920" y="65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7" name="AutoShape 396"/>
            <p:cNvSpPr>
              <a:spLocks/>
            </p:cNvSpPr>
            <p:nvPr/>
          </p:nvSpPr>
          <p:spPr bwMode="auto">
            <a:xfrm>
              <a:off x="10477500" y="4495800"/>
              <a:ext cx="74613" cy="504825"/>
            </a:xfrm>
            <a:custGeom>
              <a:avLst/>
              <a:gdLst/>
              <a:ahLst/>
              <a:cxnLst/>
              <a:rect l="0" t="0" r="r" b="b"/>
              <a:pathLst>
                <a:path w="21577" h="21583">
                  <a:moveTo>
                    <a:pt x="13981" y="11416"/>
                  </a:moveTo>
                  <a:cubicBezTo>
                    <a:pt x="13931" y="11346"/>
                    <a:pt x="13881" y="11262"/>
                    <a:pt x="13772" y="11232"/>
                  </a:cubicBezTo>
                  <a:cubicBezTo>
                    <a:pt x="13672" y="11203"/>
                    <a:pt x="13576" y="11056"/>
                    <a:pt x="13630" y="10910"/>
                  </a:cubicBezTo>
                  <a:cubicBezTo>
                    <a:pt x="13630" y="10763"/>
                    <a:pt x="13740" y="10521"/>
                    <a:pt x="13789" y="10375"/>
                  </a:cubicBezTo>
                  <a:cubicBezTo>
                    <a:pt x="13843" y="10228"/>
                    <a:pt x="14066" y="10036"/>
                    <a:pt x="14180" y="9948"/>
                  </a:cubicBezTo>
                  <a:cubicBezTo>
                    <a:pt x="14339" y="9860"/>
                    <a:pt x="14535" y="9696"/>
                    <a:pt x="14588" y="9582"/>
                  </a:cubicBezTo>
                  <a:cubicBezTo>
                    <a:pt x="14641" y="9469"/>
                    <a:pt x="14847" y="9281"/>
                    <a:pt x="15057" y="9167"/>
                  </a:cubicBezTo>
                  <a:cubicBezTo>
                    <a:pt x="15213" y="9051"/>
                    <a:pt x="15468" y="8954"/>
                    <a:pt x="15589" y="8949"/>
                  </a:cubicBezTo>
                  <a:cubicBezTo>
                    <a:pt x="15706" y="8945"/>
                    <a:pt x="16058" y="8887"/>
                    <a:pt x="16363" y="8820"/>
                  </a:cubicBezTo>
                  <a:cubicBezTo>
                    <a:pt x="16633" y="8750"/>
                    <a:pt x="17055" y="8697"/>
                    <a:pt x="17226" y="8693"/>
                  </a:cubicBezTo>
                  <a:cubicBezTo>
                    <a:pt x="17399" y="8690"/>
                    <a:pt x="17659" y="8712"/>
                    <a:pt x="17605" y="8743"/>
                  </a:cubicBezTo>
                  <a:cubicBezTo>
                    <a:pt x="17651" y="8773"/>
                    <a:pt x="17811" y="8762"/>
                    <a:pt x="18003" y="8719"/>
                  </a:cubicBezTo>
                  <a:cubicBezTo>
                    <a:pt x="18170" y="8674"/>
                    <a:pt x="18443" y="8640"/>
                    <a:pt x="18557" y="8632"/>
                  </a:cubicBezTo>
                  <a:cubicBezTo>
                    <a:pt x="18684" y="8627"/>
                    <a:pt x="18869" y="8639"/>
                    <a:pt x="18997" y="8654"/>
                  </a:cubicBezTo>
                  <a:cubicBezTo>
                    <a:pt x="19110" y="8671"/>
                    <a:pt x="19348" y="8669"/>
                    <a:pt x="19508" y="8649"/>
                  </a:cubicBezTo>
                  <a:cubicBezTo>
                    <a:pt x="19685" y="8632"/>
                    <a:pt x="19898" y="8652"/>
                    <a:pt x="19952" y="8700"/>
                  </a:cubicBezTo>
                  <a:cubicBezTo>
                    <a:pt x="20058" y="8745"/>
                    <a:pt x="20253" y="8748"/>
                    <a:pt x="20363" y="8699"/>
                  </a:cubicBezTo>
                  <a:cubicBezTo>
                    <a:pt x="20427" y="8685"/>
                    <a:pt x="20477" y="8661"/>
                    <a:pt x="20530" y="8640"/>
                  </a:cubicBezTo>
                  <a:cubicBezTo>
                    <a:pt x="20566" y="8611"/>
                    <a:pt x="20711" y="8560"/>
                    <a:pt x="20800" y="8511"/>
                  </a:cubicBezTo>
                  <a:cubicBezTo>
                    <a:pt x="20853" y="8453"/>
                    <a:pt x="20967" y="8299"/>
                    <a:pt x="21070" y="8166"/>
                  </a:cubicBezTo>
                  <a:cubicBezTo>
                    <a:pt x="21070" y="8031"/>
                    <a:pt x="21137" y="7876"/>
                    <a:pt x="21137" y="7819"/>
                  </a:cubicBezTo>
                  <a:cubicBezTo>
                    <a:pt x="21084" y="7762"/>
                    <a:pt x="21120" y="7657"/>
                    <a:pt x="21219" y="7587"/>
                  </a:cubicBezTo>
                  <a:cubicBezTo>
                    <a:pt x="21219" y="7515"/>
                    <a:pt x="21400" y="7418"/>
                    <a:pt x="21347" y="7371"/>
                  </a:cubicBezTo>
                  <a:cubicBezTo>
                    <a:pt x="21400" y="7325"/>
                    <a:pt x="21478" y="7217"/>
                    <a:pt x="21478" y="7132"/>
                  </a:cubicBezTo>
                  <a:cubicBezTo>
                    <a:pt x="21581" y="7049"/>
                    <a:pt x="21577" y="6939"/>
                    <a:pt x="21577" y="6889"/>
                  </a:cubicBezTo>
                  <a:cubicBezTo>
                    <a:pt x="21531" y="6839"/>
                    <a:pt x="21503" y="6750"/>
                    <a:pt x="21347" y="6695"/>
                  </a:cubicBezTo>
                  <a:cubicBezTo>
                    <a:pt x="21240" y="6636"/>
                    <a:pt x="21215" y="6557"/>
                    <a:pt x="21215" y="6517"/>
                  </a:cubicBezTo>
                  <a:cubicBezTo>
                    <a:pt x="21318" y="6477"/>
                    <a:pt x="21244" y="6421"/>
                    <a:pt x="21141" y="6398"/>
                  </a:cubicBezTo>
                  <a:cubicBezTo>
                    <a:pt x="21048" y="6374"/>
                    <a:pt x="20896" y="6351"/>
                    <a:pt x="20793" y="6351"/>
                  </a:cubicBezTo>
                  <a:cubicBezTo>
                    <a:pt x="20690" y="6347"/>
                    <a:pt x="20491" y="6280"/>
                    <a:pt x="20438" y="6196"/>
                  </a:cubicBezTo>
                  <a:cubicBezTo>
                    <a:pt x="20332" y="6114"/>
                    <a:pt x="20204" y="6009"/>
                    <a:pt x="20104" y="5964"/>
                  </a:cubicBezTo>
                  <a:cubicBezTo>
                    <a:pt x="19994" y="5920"/>
                    <a:pt x="19973" y="5834"/>
                    <a:pt x="20023" y="5777"/>
                  </a:cubicBezTo>
                  <a:cubicBezTo>
                    <a:pt x="20076" y="5720"/>
                    <a:pt x="20168" y="5588"/>
                    <a:pt x="20168" y="5483"/>
                  </a:cubicBezTo>
                  <a:cubicBezTo>
                    <a:pt x="20221" y="5377"/>
                    <a:pt x="20274" y="5219"/>
                    <a:pt x="20165" y="5134"/>
                  </a:cubicBezTo>
                  <a:cubicBezTo>
                    <a:pt x="20165" y="5046"/>
                    <a:pt x="20140" y="4937"/>
                    <a:pt x="20190" y="4890"/>
                  </a:cubicBezTo>
                  <a:cubicBezTo>
                    <a:pt x="20243" y="4843"/>
                    <a:pt x="20349" y="4752"/>
                    <a:pt x="20349" y="4687"/>
                  </a:cubicBezTo>
                  <a:cubicBezTo>
                    <a:pt x="20456" y="4624"/>
                    <a:pt x="20399" y="4504"/>
                    <a:pt x="20346" y="4424"/>
                  </a:cubicBezTo>
                  <a:cubicBezTo>
                    <a:pt x="20346" y="4344"/>
                    <a:pt x="20154" y="4228"/>
                    <a:pt x="20044" y="4163"/>
                  </a:cubicBezTo>
                  <a:cubicBezTo>
                    <a:pt x="19941" y="4097"/>
                    <a:pt x="19611" y="3955"/>
                    <a:pt x="19401" y="3842"/>
                  </a:cubicBezTo>
                  <a:cubicBezTo>
                    <a:pt x="19188" y="3730"/>
                    <a:pt x="18922" y="3552"/>
                    <a:pt x="18869" y="3445"/>
                  </a:cubicBezTo>
                  <a:cubicBezTo>
                    <a:pt x="18812" y="3338"/>
                    <a:pt x="18557" y="3216"/>
                    <a:pt x="18280" y="3181"/>
                  </a:cubicBezTo>
                  <a:cubicBezTo>
                    <a:pt x="18053" y="3138"/>
                    <a:pt x="17634" y="3135"/>
                    <a:pt x="17428" y="3166"/>
                  </a:cubicBezTo>
                  <a:cubicBezTo>
                    <a:pt x="17222" y="3196"/>
                    <a:pt x="16910" y="3362"/>
                    <a:pt x="16750" y="3534"/>
                  </a:cubicBezTo>
                  <a:cubicBezTo>
                    <a:pt x="16537" y="3704"/>
                    <a:pt x="16239" y="3867"/>
                    <a:pt x="15962" y="3884"/>
                  </a:cubicBezTo>
                  <a:cubicBezTo>
                    <a:pt x="15706" y="3908"/>
                    <a:pt x="15411" y="3858"/>
                    <a:pt x="15312" y="3777"/>
                  </a:cubicBezTo>
                  <a:cubicBezTo>
                    <a:pt x="15255" y="3696"/>
                    <a:pt x="15039" y="3639"/>
                    <a:pt x="14904" y="3646"/>
                  </a:cubicBezTo>
                  <a:cubicBezTo>
                    <a:pt x="14776" y="3656"/>
                    <a:pt x="14521" y="3609"/>
                    <a:pt x="14304" y="3548"/>
                  </a:cubicBezTo>
                  <a:cubicBezTo>
                    <a:pt x="14084" y="3487"/>
                    <a:pt x="13708" y="3478"/>
                    <a:pt x="13541" y="3540"/>
                  </a:cubicBezTo>
                  <a:cubicBezTo>
                    <a:pt x="13289" y="3597"/>
                    <a:pt x="13079" y="3710"/>
                    <a:pt x="13079" y="3788"/>
                  </a:cubicBezTo>
                  <a:cubicBezTo>
                    <a:pt x="13026" y="3866"/>
                    <a:pt x="12891" y="3952"/>
                    <a:pt x="12714" y="3975"/>
                  </a:cubicBezTo>
                  <a:cubicBezTo>
                    <a:pt x="12547" y="4000"/>
                    <a:pt x="12263" y="4069"/>
                    <a:pt x="12057" y="4127"/>
                  </a:cubicBezTo>
                  <a:cubicBezTo>
                    <a:pt x="11837" y="4184"/>
                    <a:pt x="11752" y="4069"/>
                    <a:pt x="11752" y="3868"/>
                  </a:cubicBezTo>
                  <a:cubicBezTo>
                    <a:pt x="11805" y="3668"/>
                    <a:pt x="11851" y="3395"/>
                    <a:pt x="11851" y="3262"/>
                  </a:cubicBezTo>
                  <a:cubicBezTo>
                    <a:pt x="11904" y="3129"/>
                    <a:pt x="11873" y="2944"/>
                    <a:pt x="11819" y="2851"/>
                  </a:cubicBezTo>
                  <a:cubicBezTo>
                    <a:pt x="11766" y="2758"/>
                    <a:pt x="11851" y="2634"/>
                    <a:pt x="11901" y="2574"/>
                  </a:cubicBezTo>
                  <a:cubicBezTo>
                    <a:pt x="12004" y="2516"/>
                    <a:pt x="12086" y="2417"/>
                    <a:pt x="12086" y="2355"/>
                  </a:cubicBezTo>
                  <a:cubicBezTo>
                    <a:pt x="12086" y="2294"/>
                    <a:pt x="11989" y="2186"/>
                    <a:pt x="11989" y="2110"/>
                  </a:cubicBezTo>
                  <a:cubicBezTo>
                    <a:pt x="11887" y="2037"/>
                    <a:pt x="11922" y="1903"/>
                    <a:pt x="12032" y="1814"/>
                  </a:cubicBezTo>
                  <a:cubicBezTo>
                    <a:pt x="12139" y="1725"/>
                    <a:pt x="12149" y="1596"/>
                    <a:pt x="12202" y="1531"/>
                  </a:cubicBezTo>
                  <a:cubicBezTo>
                    <a:pt x="12202" y="1465"/>
                    <a:pt x="12007" y="1407"/>
                    <a:pt x="11759" y="1410"/>
                  </a:cubicBezTo>
                  <a:cubicBezTo>
                    <a:pt x="11514" y="1406"/>
                    <a:pt x="11276" y="1461"/>
                    <a:pt x="11077" y="1513"/>
                  </a:cubicBezTo>
                  <a:cubicBezTo>
                    <a:pt x="10974" y="1571"/>
                    <a:pt x="10765" y="1599"/>
                    <a:pt x="10658" y="1578"/>
                  </a:cubicBezTo>
                  <a:cubicBezTo>
                    <a:pt x="10602" y="1553"/>
                    <a:pt x="10413" y="1461"/>
                    <a:pt x="10304" y="1364"/>
                  </a:cubicBezTo>
                  <a:cubicBezTo>
                    <a:pt x="10250" y="1268"/>
                    <a:pt x="10250" y="1153"/>
                    <a:pt x="10353" y="1108"/>
                  </a:cubicBezTo>
                  <a:cubicBezTo>
                    <a:pt x="10467" y="1062"/>
                    <a:pt x="10573" y="915"/>
                    <a:pt x="10523" y="782"/>
                  </a:cubicBezTo>
                  <a:cubicBezTo>
                    <a:pt x="10523" y="649"/>
                    <a:pt x="10413" y="467"/>
                    <a:pt x="10257" y="381"/>
                  </a:cubicBezTo>
                  <a:cubicBezTo>
                    <a:pt x="10151" y="291"/>
                    <a:pt x="9863" y="240"/>
                    <a:pt x="9683" y="267"/>
                  </a:cubicBezTo>
                  <a:cubicBezTo>
                    <a:pt x="9512" y="297"/>
                    <a:pt x="9313" y="241"/>
                    <a:pt x="9203" y="152"/>
                  </a:cubicBezTo>
                  <a:cubicBezTo>
                    <a:pt x="9150" y="61"/>
                    <a:pt x="9058" y="-7"/>
                    <a:pt x="9058" y="0"/>
                  </a:cubicBezTo>
                  <a:cubicBezTo>
                    <a:pt x="9058" y="7"/>
                    <a:pt x="8877" y="19"/>
                    <a:pt x="8667" y="26"/>
                  </a:cubicBezTo>
                  <a:cubicBezTo>
                    <a:pt x="8454" y="32"/>
                    <a:pt x="8149" y="65"/>
                    <a:pt x="7992" y="97"/>
                  </a:cubicBezTo>
                  <a:cubicBezTo>
                    <a:pt x="7829" y="130"/>
                    <a:pt x="7733" y="193"/>
                    <a:pt x="7680" y="235"/>
                  </a:cubicBezTo>
                  <a:cubicBezTo>
                    <a:pt x="7680" y="278"/>
                    <a:pt x="7695" y="363"/>
                    <a:pt x="7801" y="418"/>
                  </a:cubicBezTo>
                  <a:cubicBezTo>
                    <a:pt x="7858" y="476"/>
                    <a:pt x="7936" y="559"/>
                    <a:pt x="7826" y="600"/>
                  </a:cubicBezTo>
                  <a:cubicBezTo>
                    <a:pt x="7776" y="643"/>
                    <a:pt x="7570" y="667"/>
                    <a:pt x="7389" y="654"/>
                  </a:cubicBezTo>
                  <a:cubicBezTo>
                    <a:pt x="7212" y="640"/>
                    <a:pt x="6985" y="669"/>
                    <a:pt x="6885" y="714"/>
                  </a:cubicBezTo>
                  <a:cubicBezTo>
                    <a:pt x="6782" y="759"/>
                    <a:pt x="6679" y="877"/>
                    <a:pt x="6679" y="974"/>
                  </a:cubicBezTo>
                  <a:cubicBezTo>
                    <a:pt x="6679" y="1072"/>
                    <a:pt x="6608" y="1185"/>
                    <a:pt x="6555" y="1226"/>
                  </a:cubicBezTo>
                  <a:cubicBezTo>
                    <a:pt x="6502" y="1267"/>
                    <a:pt x="6328" y="1301"/>
                    <a:pt x="6165" y="1301"/>
                  </a:cubicBezTo>
                  <a:cubicBezTo>
                    <a:pt x="6005" y="1301"/>
                    <a:pt x="5703" y="1363"/>
                    <a:pt x="5540" y="1439"/>
                  </a:cubicBezTo>
                  <a:cubicBezTo>
                    <a:pt x="5324" y="1512"/>
                    <a:pt x="5007" y="1527"/>
                    <a:pt x="4716" y="1473"/>
                  </a:cubicBezTo>
                  <a:cubicBezTo>
                    <a:pt x="4418" y="1417"/>
                    <a:pt x="4092" y="1438"/>
                    <a:pt x="3982" y="1524"/>
                  </a:cubicBezTo>
                  <a:cubicBezTo>
                    <a:pt x="3875" y="1611"/>
                    <a:pt x="3722" y="1791"/>
                    <a:pt x="3776" y="1926"/>
                  </a:cubicBezTo>
                  <a:cubicBezTo>
                    <a:pt x="3829" y="2062"/>
                    <a:pt x="3758" y="2220"/>
                    <a:pt x="3598" y="2272"/>
                  </a:cubicBezTo>
                  <a:cubicBezTo>
                    <a:pt x="3485" y="2327"/>
                    <a:pt x="3350" y="2467"/>
                    <a:pt x="3350" y="2584"/>
                  </a:cubicBezTo>
                  <a:cubicBezTo>
                    <a:pt x="3296" y="2699"/>
                    <a:pt x="3342" y="2847"/>
                    <a:pt x="3396" y="2911"/>
                  </a:cubicBezTo>
                  <a:cubicBezTo>
                    <a:pt x="3445" y="2975"/>
                    <a:pt x="3346" y="3073"/>
                    <a:pt x="3197" y="3129"/>
                  </a:cubicBezTo>
                  <a:cubicBezTo>
                    <a:pt x="3094" y="3187"/>
                    <a:pt x="2760" y="3268"/>
                    <a:pt x="2544" y="3313"/>
                  </a:cubicBezTo>
                  <a:cubicBezTo>
                    <a:pt x="2327" y="3357"/>
                    <a:pt x="2175" y="3446"/>
                    <a:pt x="2175" y="3508"/>
                  </a:cubicBezTo>
                  <a:cubicBezTo>
                    <a:pt x="2228" y="3570"/>
                    <a:pt x="2271" y="3636"/>
                    <a:pt x="2391" y="3649"/>
                  </a:cubicBezTo>
                  <a:cubicBezTo>
                    <a:pt x="2498" y="3665"/>
                    <a:pt x="2679" y="3768"/>
                    <a:pt x="2789" y="3880"/>
                  </a:cubicBezTo>
                  <a:cubicBezTo>
                    <a:pt x="2895" y="3990"/>
                    <a:pt x="3059" y="4124"/>
                    <a:pt x="3154" y="4176"/>
                  </a:cubicBezTo>
                  <a:cubicBezTo>
                    <a:pt x="3254" y="4228"/>
                    <a:pt x="3392" y="4318"/>
                    <a:pt x="3392" y="4376"/>
                  </a:cubicBezTo>
                  <a:cubicBezTo>
                    <a:pt x="3392" y="4435"/>
                    <a:pt x="3570" y="4539"/>
                    <a:pt x="3776" y="4605"/>
                  </a:cubicBezTo>
                  <a:cubicBezTo>
                    <a:pt x="3974" y="4671"/>
                    <a:pt x="4188" y="4891"/>
                    <a:pt x="4343" y="5090"/>
                  </a:cubicBezTo>
                  <a:cubicBezTo>
                    <a:pt x="4450" y="5289"/>
                    <a:pt x="4670" y="5468"/>
                    <a:pt x="4780" y="5489"/>
                  </a:cubicBezTo>
                  <a:cubicBezTo>
                    <a:pt x="4901" y="5507"/>
                    <a:pt x="4990" y="5607"/>
                    <a:pt x="5093" y="5705"/>
                  </a:cubicBezTo>
                  <a:cubicBezTo>
                    <a:pt x="5093" y="5805"/>
                    <a:pt x="5259" y="5954"/>
                    <a:pt x="5206" y="6038"/>
                  </a:cubicBezTo>
                  <a:cubicBezTo>
                    <a:pt x="5206" y="6122"/>
                    <a:pt x="5316" y="6220"/>
                    <a:pt x="5472" y="6255"/>
                  </a:cubicBezTo>
                  <a:cubicBezTo>
                    <a:pt x="5618" y="6291"/>
                    <a:pt x="5717" y="6384"/>
                    <a:pt x="5717" y="6462"/>
                  </a:cubicBezTo>
                  <a:cubicBezTo>
                    <a:pt x="5668" y="6540"/>
                    <a:pt x="5593" y="6638"/>
                    <a:pt x="5437" y="6681"/>
                  </a:cubicBezTo>
                  <a:cubicBezTo>
                    <a:pt x="5280" y="6723"/>
                    <a:pt x="5082" y="6804"/>
                    <a:pt x="5029" y="6862"/>
                  </a:cubicBezTo>
                  <a:cubicBezTo>
                    <a:pt x="4883" y="6917"/>
                    <a:pt x="4883" y="7128"/>
                    <a:pt x="4936" y="7325"/>
                  </a:cubicBezTo>
                  <a:cubicBezTo>
                    <a:pt x="4936" y="7521"/>
                    <a:pt x="4951" y="7731"/>
                    <a:pt x="4901" y="7790"/>
                  </a:cubicBezTo>
                  <a:cubicBezTo>
                    <a:pt x="4901" y="7850"/>
                    <a:pt x="4677" y="7940"/>
                    <a:pt x="4518" y="7992"/>
                  </a:cubicBezTo>
                  <a:cubicBezTo>
                    <a:pt x="4305" y="8040"/>
                    <a:pt x="4315" y="8193"/>
                    <a:pt x="4315" y="8325"/>
                  </a:cubicBezTo>
                  <a:cubicBezTo>
                    <a:pt x="4422" y="8456"/>
                    <a:pt x="4443" y="8621"/>
                    <a:pt x="4390" y="8690"/>
                  </a:cubicBezTo>
                  <a:cubicBezTo>
                    <a:pt x="4390" y="8761"/>
                    <a:pt x="4464" y="8916"/>
                    <a:pt x="4620" y="9037"/>
                  </a:cubicBezTo>
                  <a:cubicBezTo>
                    <a:pt x="4780" y="9156"/>
                    <a:pt x="5007" y="9326"/>
                    <a:pt x="5220" y="9410"/>
                  </a:cubicBezTo>
                  <a:cubicBezTo>
                    <a:pt x="5384" y="9495"/>
                    <a:pt x="5678" y="9644"/>
                    <a:pt x="5838" y="9740"/>
                  </a:cubicBezTo>
                  <a:cubicBezTo>
                    <a:pt x="5994" y="9837"/>
                    <a:pt x="6118" y="10048"/>
                    <a:pt x="6168" y="10208"/>
                  </a:cubicBezTo>
                  <a:cubicBezTo>
                    <a:pt x="6168" y="10369"/>
                    <a:pt x="6179" y="10555"/>
                    <a:pt x="6072" y="10619"/>
                  </a:cubicBezTo>
                  <a:cubicBezTo>
                    <a:pt x="6019" y="10685"/>
                    <a:pt x="5980" y="10799"/>
                    <a:pt x="5927" y="10872"/>
                  </a:cubicBezTo>
                  <a:cubicBezTo>
                    <a:pt x="5980" y="10946"/>
                    <a:pt x="5827" y="11075"/>
                    <a:pt x="5827" y="11159"/>
                  </a:cubicBezTo>
                  <a:cubicBezTo>
                    <a:pt x="5724" y="11242"/>
                    <a:pt x="5792" y="11347"/>
                    <a:pt x="5845" y="11392"/>
                  </a:cubicBezTo>
                  <a:cubicBezTo>
                    <a:pt x="5902" y="11437"/>
                    <a:pt x="5916" y="11564"/>
                    <a:pt x="5916" y="11676"/>
                  </a:cubicBezTo>
                  <a:cubicBezTo>
                    <a:pt x="5863" y="11787"/>
                    <a:pt x="5930" y="11934"/>
                    <a:pt x="5930" y="12002"/>
                  </a:cubicBezTo>
                  <a:cubicBezTo>
                    <a:pt x="5930" y="12069"/>
                    <a:pt x="5919" y="12213"/>
                    <a:pt x="5866" y="12324"/>
                  </a:cubicBezTo>
                  <a:cubicBezTo>
                    <a:pt x="5813" y="12435"/>
                    <a:pt x="5739" y="12594"/>
                    <a:pt x="5845" y="12674"/>
                  </a:cubicBezTo>
                  <a:cubicBezTo>
                    <a:pt x="5845" y="12757"/>
                    <a:pt x="5905" y="12928"/>
                    <a:pt x="5799" y="13054"/>
                  </a:cubicBezTo>
                  <a:cubicBezTo>
                    <a:pt x="5746" y="13183"/>
                    <a:pt x="5590" y="13312"/>
                    <a:pt x="5487" y="13342"/>
                  </a:cubicBezTo>
                  <a:cubicBezTo>
                    <a:pt x="5387" y="13374"/>
                    <a:pt x="5039" y="13603"/>
                    <a:pt x="4773" y="13853"/>
                  </a:cubicBezTo>
                  <a:cubicBezTo>
                    <a:pt x="4461" y="14103"/>
                    <a:pt x="4092" y="14364"/>
                    <a:pt x="3882" y="14431"/>
                  </a:cubicBezTo>
                  <a:cubicBezTo>
                    <a:pt x="3719" y="14500"/>
                    <a:pt x="3460" y="14633"/>
                    <a:pt x="3403" y="14731"/>
                  </a:cubicBezTo>
                  <a:cubicBezTo>
                    <a:pt x="3296" y="14828"/>
                    <a:pt x="3190" y="14960"/>
                    <a:pt x="3080" y="15025"/>
                  </a:cubicBezTo>
                  <a:cubicBezTo>
                    <a:pt x="3026" y="15089"/>
                    <a:pt x="2813" y="15188"/>
                    <a:pt x="2764" y="15248"/>
                  </a:cubicBezTo>
                  <a:cubicBezTo>
                    <a:pt x="2711" y="15308"/>
                    <a:pt x="2551" y="15460"/>
                    <a:pt x="2445" y="15587"/>
                  </a:cubicBezTo>
                  <a:cubicBezTo>
                    <a:pt x="2338" y="15714"/>
                    <a:pt x="2320" y="15823"/>
                    <a:pt x="2398" y="15823"/>
                  </a:cubicBezTo>
                  <a:cubicBezTo>
                    <a:pt x="2476" y="15825"/>
                    <a:pt x="2445" y="15889"/>
                    <a:pt x="2292" y="15965"/>
                  </a:cubicBezTo>
                  <a:cubicBezTo>
                    <a:pt x="2189" y="16044"/>
                    <a:pt x="2015" y="16131"/>
                    <a:pt x="2068" y="16160"/>
                  </a:cubicBezTo>
                  <a:cubicBezTo>
                    <a:pt x="2068" y="16191"/>
                    <a:pt x="1976" y="16284"/>
                    <a:pt x="1816" y="16367"/>
                  </a:cubicBezTo>
                  <a:cubicBezTo>
                    <a:pt x="1663" y="16449"/>
                    <a:pt x="1603" y="16521"/>
                    <a:pt x="1678" y="16527"/>
                  </a:cubicBezTo>
                  <a:cubicBezTo>
                    <a:pt x="1759" y="16530"/>
                    <a:pt x="1752" y="16585"/>
                    <a:pt x="1653" y="16645"/>
                  </a:cubicBezTo>
                  <a:cubicBezTo>
                    <a:pt x="1546" y="16704"/>
                    <a:pt x="1429" y="16750"/>
                    <a:pt x="1358" y="16745"/>
                  </a:cubicBezTo>
                  <a:cubicBezTo>
                    <a:pt x="1305" y="16737"/>
                    <a:pt x="1173" y="16858"/>
                    <a:pt x="1071" y="17005"/>
                  </a:cubicBezTo>
                  <a:cubicBezTo>
                    <a:pt x="964" y="17151"/>
                    <a:pt x="805" y="17294"/>
                    <a:pt x="705" y="17324"/>
                  </a:cubicBezTo>
                  <a:cubicBezTo>
                    <a:pt x="609" y="17353"/>
                    <a:pt x="417" y="17463"/>
                    <a:pt x="417" y="17572"/>
                  </a:cubicBezTo>
                  <a:cubicBezTo>
                    <a:pt x="308" y="17679"/>
                    <a:pt x="226" y="17799"/>
                    <a:pt x="226" y="17836"/>
                  </a:cubicBezTo>
                  <a:cubicBezTo>
                    <a:pt x="116" y="17870"/>
                    <a:pt x="91" y="18007"/>
                    <a:pt x="34" y="18135"/>
                  </a:cubicBezTo>
                  <a:cubicBezTo>
                    <a:pt x="-19" y="18263"/>
                    <a:pt x="6" y="18407"/>
                    <a:pt x="6" y="18456"/>
                  </a:cubicBezTo>
                  <a:cubicBezTo>
                    <a:pt x="52" y="18504"/>
                    <a:pt x="134" y="18545"/>
                    <a:pt x="226" y="18545"/>
                  </a:cubicBezTo>
                  <a:cubicBezTo>
                    <a:pt x="314" y="18545"/>
                    <a:pt x="421" y="18489"/>
                    <a:pt x="471" y="18416"/>
                  </a:cubicBezTo>
                  <a:cubicBezTo>
                    <a:pt x="524" y="18344"/>
                    <a:pt x="677" y="18250"/>
                    <a:pt x="843" y="18209"/>
                  </a:cubicBezTo>
                  <a:cubicBezTo>
                    <a:pt x="989" y="18166"/>
                    <a:pt x="1078" y="18164"/>
                    <a:pt x="1078" y="18202"/>
                  </a:cubicBezTo>
                  <a:cubicBezTo>
                    <a:pt x="1018" y="18238"/>
                    <a:pt x="1135" y="18291"/>
                    <a:pt x="1135" y="18320"/>
                  </a:cubicBezTo>
                  <a:cubicBezTo>
                    <a:pt x="1241" y="18344"/>
                    <a:pt x="1230" y="18418"/>
                    <a:pt x="1173" y="18475"/>
                  </a:cubicBezTo>
                  <a:cubicBezTo>
                    <a:pt x="1173" y="18532"/>
                    <a:pt x="1199" y="18587"/>
                    <a:pt x="1326" y="18587"/>
                  </a:cubicBezTo>
                  <a:cubicBezTo>
                    <a:pt x="1447" y="18593"/>
                    <a:pt x="1529" y="18703"/>
                    <a:pt x="1529" y="18837"/>
                  </a:cubicBezTo>
                  <a:cubicBezTo>
                    <a:pt x="1475" y="18970"/>
                    <a:pt x="1585" y="19077"/>
                    <a:pt x="1685" y="19069"/>
                  </a:cubicBezTo>
                  <a:cubicBezTo>
                    <a:pt x="1780" y="19062"/>
                    <a:pt x="1908" y="19145"/>
                    <a:pt x="2015" y="19249"/>
                  </a:cubicBezTo>
                  <a:cubicBezTo>
                    <a:pt x="2125" y="19354"/>
                    <a:pt x="2139" y="19483"/>
                    <a:pt x="2093" y="19534"/>
                  </a:cubicBezTo>
                  <a:cubicBezTo>
                    <a:pt x="2093" y="19587"/>
                    <a:pt x="2128" y="19634"/>
                    <a:pt x="2260" y="19634"/>
                  </a:cubicBezTo>
                  <a:cubicBezTo>
                    <a:pt x="2391" y="19634"/>
                    <a:pt x="2501" y="19690"/>
                    <a:pt x="2501" y="19749"/>
                  </a:cubicBezTo>
                  <a:cubicBezTo>
                    <a:pt x="2551" y="19808"/>
                    <a:pt x="2562" y="19860"/>
                    <a:pt x="2632" y="19860"/>
                  </a:cubicBezTo>
                  <a:cubicBezTo>
                    <a:pt x="2703" y="19860"/>
                    <a:pt x="2750" y="19895"/>
                    <a:pt x="2693" y="19936"/>
                  </a:cubicBezTo>
                  <a:cubicBezTo>
                    <a:pt x="2693" y="19977"/>
                    <a:pt x="2579" y="20044"/>
                    <a:pt x="2473" y="20083"/>
                  </a:cubicBezTo>
                  <a:cubicBezTo>
                    <a:pt x="2405" y="20124"/>
                    <a:pt x="2295" y="20181"/>
                    <a:pt x="2295" y="20211"/>
                  </a:cubicBezTo>
                  <a:cubicBezTo>
                    <a:pt x="2359" y="20239"/>
                    <a:pt x="2455" y="20345"/>
                    <a:pt x="2654" y="20443"/>
                  </a:cubicBezTo>
                  <a:cubicBezTo>
                    <a:pt x="2920" y="20538"/>
                    <a:pt x="3020" y="20660"/>
                    <a:pt x="3069" y="20706"/>
                  </a:cubicBezTo>
                  <a:cubicBezTo>
                    <a:pt x="3069" y="20754"/>
                    <a:pt x="3112" y="20717"/>
                    <a:pt x="3304" y="20631"/>
                  </a:cubicBezTo>
                  <a:cubicBezTo>
                    <a:pt x="3414" y="20542"/>
                    <a:pt x="3605" y="20413"/>
                    <a:pt x="3751" y="20347"/>
                  </a:cubicBezTo>
                  <a:cubicBezTo>
                    <a:pt x="3917" y="20281"/>
                    <a:pt x="4095" y="20267"/>
                    <a:pt x="4145" y="20322"/>
                  </a:cubicBezTo>
                  <a:cubicBezTo>
                    <a:pt x="4198" y="20376"/>
                    <a:pt x="4422" y="20436"/>
                    <a:pt x="4585" y="20452"/>
                  </a:cubicBezTo>
                  <a:cubicBezTo>
                    <a:pt x="4755" y="20469"/>
                    <a:pt x="4880" y="20518"/>
                    <a:pt x="4880" y="20560"/>
                  </a:cubicBezTo>
                  <a:cubicBezTo>
                    <a:pt x="4880" y="20600"/>
                    <a:pt x="4997" y="20627"/>
                    <a:pt x="5132" y="20618"/>
                  </a:cubicBezTo>
                  <a:cubicBezTo>
                    <a:pt x="5277" y="20611"/>
                    <a:pt x="5415" y="20636"/>
                    <a:pt x="5476" y="20678"/>
                  </a:cubicBezTo>
                  <a:cubicBezTo>
                    <a:pt x="5522" y="20721"/>
                    <a:pt x="5487" y="20844"/>
                    <a:pt x="5373" y="20953"/>
                  </a:cubicBezTo>
                  <a:cubicBezTo>
                    <a:pt x="5324" y="21062"/>
                    <a:pt x="5132" y="21200"/>
                    <a:pt x="4968" y="21256"/>
                  </a:cubicBezTo>
                  <a:cubicBezTo>
                    <a:pt x="4908" y="21317"/>
                    <a:pt x="4667" y="21406"/>
                    <a:pt x="4667" y="21462"/>
                  </a:cubicBezTo>
                  <a:cubicBezTo>
                    <a:pt x="4613" y="21515"/>
                    <a:pt x="4702" y="21570"/>
                    <a:pt x="4862" y="21581"/>
                  </a:cubicBezTo>
                  <a:cubicBezTo>
                    <a:pt x="5018" y="21593"/>
                    <a:pt x="5366" y="21538"/>
                    <a:pt x="5522" y="21454"/>
                  </a:cubicBezTo>
                  <a:cubicBezTo>
                    <a:pt x="5781" y="21375"/>
                    <a:pt x="5998" y="21292"/>
                    <a:pt x="6115" y="21275"/>
                  </a:cubicBezTo>
                  <a:cubicBezTo>
                    <a:pt x="6203" y="21255"/>
                    <a:pt x="6438" y="21275"/>
                    <a:pt x="6438" y="21313"/>
                  </a:cubicBezTo>
                  <a:cubicBezTo>
                    <a:pt x="6530" y="21348"/>
                    <a:pt x="6587" y="21341"/>
                    <a:pt x="6750" y="21300"/>
                  </a:cubicBezTo>
                  <a:cubicBezTo>
                    <a:pt x="6892" y="21259"/>
                    <a:pt x="7059" y="21168"/>
                    <a:pt x="7059" y="21101"/>
                  </a:cubicBezTo>
                  <a:cubicBezTo>
                    <a:pt x="7119" y="21034"/>
                    <a:pt x="7240" y="20964"/>
                    <a:pt x="7240" y="20942"/>
                  </a:cubicBezTo>
                  <a:cubicBezTo>
                    <a:pt x="7318" y="20924"/>
                    <a:pt x="7290" y="20876"/>
                    <a:pt x="7347" y="20842"/>
                  </a:cubicBezTo>
                  <a:cubicBezTo>
                    <a:pt x="7347" y="20807"/>
                    <a:pt x="7283" y="20751"/>
                    <a:pt x="7219" y="20715"/>
                  </a:cubicBezTo>
                  <a:cubicBezTo>
                    <a:pt x="7126" y="20680"/>
                    <a:pt x="7013" y="20611"/>
                    <a:pt x="7013" y="20564"/>
                  </a:cubicBezTo>
                  <a:cubicBezTo>
                    <a:pt x="7013" y="20516"/>
                    <a:pt x="6960" y="20393"/>
                    <a:pt x="6960" y="20291"/>
                  </a:cubicBezTo>
                  <a:cubicBezTo>
                    <a:pt x="6960" y="20190"/>
                    <a:pt x="6864" y="20093"/>
                    <a:pt x="6775" y="20073"/>
                  </a:cubicBezTo>
                  <a:cubicBezTo>
                    <a:pt x="6704" y="20051"/>
                    <a:pt x="6488" y="20043"/>
                    <a:pt x="6363" y="20038"/>
                  </a:cubicBezTo>
                  <a:cubicBezTo>
                    <a:pt x="6235" y="20038"/>
                    <a:pt x="6062" y="20059"/>
                    <a:pt x="6005" y="20084"/>
                  </a:cubicBezTo>
                  <a:cubicBezTo>
                    <a:pt x="5902" y="20107"/>
                    <a:pt x="5863" y="20104"/>
                    <a:pt x="5778" y="20078"/>
                  </a:cubicBezTo>
                  <a:cubicBezTo>
                    <a:pt x="5664" y="20052"/>
                    <a:pt x="5632" y="19947"/>
                    <a:pt x="5476" y="19855"/>
                  </a:cubicBezTo>
                  <a:cubicBezTo>
                    <a:pt x="5426" y="19761"/>
                    <a:pt x="5217" y="19657"/>
                    <a:pt x="5167" y="19621"/>
                  </a:cubicBezTo>
                  <a:cubicBezTo>
                    <a:pt x="5107" y="19586"/>
                    <a:pt x="5125" y="19502"/>
                    <a:pt x="5125" y="19436"/>
                  </a:cubicBezTo>
                  <a:cubicBezTo>
                    <a:pt x="5178" y="19371"/>
                    <a:pt x="5135" y="19307"/>
                    <a:pt x="5135" y="19292"/>
                  </a:cubicBezTo>
                  <a:cubicBezTo>
                    <a:pt x="5135" y="19279"/>
                    <a:pt x="5071" y="19317"/>
                    <a:pt x="4968" y="19372"/>
                  </a:cubicBezTo>
                  <a:cubicBezTo>
                    <a:pt x="4915" y="19428"/>
                    <a:pt x="4702" y="19451"/>
                    <a:pt x="4549" y="19421"/>
                  </a:cubicBezTo>
                  <a:cubicBezTo>
                    <a:pt x="4368" y="19394"/>
                    <a:pt x="4297" y="19323"/>
                    <a:pt x="4347" y="19268"/>
                  </a:cubicBezTo>
                  <a:cubicBezTo>
                    <a:pt x="4347" y="19213"/>
                    <a:pt x="4525" y="19128"/>
                    <a:pt x="4699" y="19085"/>
                  </a:cubicBezTo>
                  <a:cubicBezTo>
                    <a:pt x="4805" y="19037"/>
                    <a:pt x="4972" y="19021"/>
                    <a:pt x="4972" y="19044"/>
                  </a:cubicBezTo>
                  <a:cubicBezTo>
                    <a:pt x="4972" y="19068"/>
                    <a:pt x="5018" y="19063"/>
                    <a:pt x="5078" y="19036"/>
                  </a:cubicBezTo>
                  <a:cubicBezTo>
                    <a:pt x="5078" y="19007"/>
                    <a:pt x="5227" y="18966"/>
                    <a:pt x="5227" y="18943"/>
                  </a:cubicBezTo>
                  <a:cubicBezTo>
                    <a:pt x="5227" y="18919"/>
                    <a:pt x="5355" y="18778"/>
                    <a:pt x="5405" y="18626"/>
                  </a:cubicBezTo>
                  <a:cubicBezTo>
                    <a:pt x="5462" y="18476"/>
                    <a:pt x="5493" y="18335"/>
                    <a:pt x="5412" y="18323"/>
                  </a:cubicBezTo>
                  <a:cubicBezTo>
                    <a:pt x="5412" y="18304"/>
                    <a:pt x="5292" y="18240"/>
                    <a:pt x="5391" y="18179"/>
                  </a:cubicBezTo>
                  <a:cubicBezTo>
                    <a:pt x="5391" y="18117"/>
                    <a:pt x="5458" y="18018"/>
                    <a:pt x="5401" y="17960"/>
                  </a:cubicBezTo>
                  <a:cubicBezTo>
                    <a:pt x="5401" y="17902"/>
                    <a:pt x="5352" y="17808"/>
                    <a:pt x="5352" y="17753"/>
                  </a:cubicBezTo>
                  <a:cubicBezTo>
                    <a:pt x="5352" y="17696"/>
                    <a:pt x="5355" y="17676"/>
                    <a:pt x="5302" y="17708"/>
                  </a:cubicBezTo>
                  <a:cubicBezTo>
                    <a:pt x="5252" y="17738"/>
                    <a:pt x="5199" y="17799"/>
                    <a:pt x="5199" y="17840"/>
                  </a:cubicBezTo>
                  <a:cubicBezTo>
                    <a:pt x="5199" y="17880"/>
                    <a:pt x="5103" y="17924"/>
                    <a:pt x="5018" y="17924"/>
                  </a:cubicBezTo>
                  <a:cubicBezTo>
                    <a:pt x="4954" y="17933"/>
                    <a:pt x="4855" y="17869"/>
                    <a:pt x="4855" y="17790"/>
                  </a:cubicBezTo>
                  <a:cubicBezTo>
                    <a:pt x="4855" y="17709"/>
                    <a:pt x="4755" y="17638"/>
                    <a:pt x="4713" y="17624"/>
                  </a:cubicBezTo>
                  <a:cubicBezTo>
                    <a:pt x="4631" y="17618"/>
                    <a:pt x="4610" y="17538"/>
                    <a:pt x="4716" y="17458"/>
                  </a:cubicBezTo>
                  <a:cubicBezTo>
                    <a:pt x="4766" y="17376"/>
                    <a:pt x="4777" y="17274"/>
                    <a:pt x="4777" y="17231"/>
                  </a:cubicBezTo>
                  <a:cubicBezTo>
                    <a:pt x="4777" y="17188"/>
                    <a:pt x="4727" y="17090"/>
                    <a:pt x="4780" y="17013"/>
                  </a:cubicBezTo>
                  <a:cubicBezTo>
                    <a:pt x="4780" y="16935"/>
                    <a:pt x="4823" y="16848"/>
                    <a:pt x="4770" y="16819"/>
                  </a:cubicBezTo>
                  <a:cubicBezTo>
                    <a:pt x="4713" y="16792"/>
                    <a:pt x="4620" y="16762"/>
                    <a:pt x="4518" y="16758"/>
                  </a:cubicBezTo>
                  <a:cubicBezTo>
                    <a:pt x="4422" y="16750"/>
                    <a:pt x="4340" y="16737"/>
                    <a:pt x="4290" y="16726"/>
                  </a:cubicBezTo>
                  <a:cubicBezTo>
                    <a:pt x="4290" y="16714"/>
                    <a:pt x="4177" y="16744"/>
                    <a:pt x="4070" y="16788"/>
                  </a:cubicBezTo>
                  <a:cubicBezTo>
                    <a:pt x="3960" y="16833"/>
                    <a:pt x="3917" y="16899"/>
                    <a:pt x="3825" y="16930"/>
                  </a:cubicBezTo>
                  <a:cubicBezTo>
                    <a:pt x="3825" y="16962"/>
                    <a:pt x="3676" y="17000"/>
                    <a:pt x="3601" y="17016"/>
                  </a:cubicBezTo>
                  <a:cubicBezTo>
                    <a:pt x="3495" y="17028"/>
                    <a:pt x="3403" y="17024"/>
                    <a:pt x="3403" y="16996"/>
                  </a:cubicBezTo>
                  <a:cubicBezTo>
                    <a:pt x="3403" y="16969"/>
                    <a:pt x="3417" y="16883"/>
                    <a:pt x="3570" y="16808"/>
                  </a:cubicBezTo>
                  <a:cubicBezTo>
                    <a:pt x="3726" y="16734"/>
                    <a:pt x="3754" y="16585"/>
                    <a:pt x="3651" y="16484"/>
                  </a:cubicBezTo>
                  <a:cubicBezTo>
                    <a:pt x="3598" y="16381"/>
                    <a:pt x="3577" y="16256"/>
                    <a:pt x="3577" y="16206"/>
                  </a:cubicBezTo>
                  <a:cubicBezTo>
                    <a:pt x="3577" y="16155"/>
                    <a:pt x="3655" y="16051"/>
                    <a:pt x="3655" y="15974"/>
                  </a:cubicBezTo>
                  <a:cubicBezTo>
                    <a:pt x="3655" y="15897"/>
                    <a:pt x="3694" y="15805"/>
                    <a:pt x="3694" y="15771"/>
                  </a:cubicBezTo>
                  <a:cubicBezTo>
                    <a:pt x="3694" y="15737"/>
                    <a:pt x="3776" y="15668"/>
                    <a:pt x="3882" y="15620"/>
                  </a:cubicBezTo>
                  <a:cubicBezTo>
                    <a:pt x="3939" y="15570"/>
                    <a:pt x="4038" y="15516"/>
                    <a:pt x="4038" y="15498"/>
                  </a:cubicBezTo>
                  <a:cubicBezTo>
                    <a:pt x="3964" y="15484"/>
                    <a:pt x="3960" y="15464"/>
                    <a:pt x="3893" y="15459"/>
                  </a:cubicBezTo>
                  <a:cubicBezTo>
                    <a:pt x="3822" y="15459"/>
                    <a:pt x="3921" y="15388"/>
                    <a:pt x="3974" y="15308"/>
                  </a:cubicBezTo>
                  <a:cubicBezTo>
                    <a:pt x="4127" y="15230"/>
                    <a:pt x="4152" y="15097"/>
                    <a:pt x="4262" y="15016"/>
                  </a:cubicBezTo>
                  <a:cubicBezTo>
                    <a:pt x="4262" y="14936"/>
                    <a:pt x="4556" y="14771"/>
                    <a:pt x="4770" y="14645"/>
                  </a:cubicBezTo>
                  <a:cubicBezTo>
                    <a:pt x="4983" y="14519"/>
                    <a:pt x="5338" y="14180"/>
                    <a:pt x="5547" y="13889"/>
                  </a:cubicBezTo>
                  <a:cubicBezTo>
                    <a:pt x="5763" y="13597"/>
                    <a:pt x="5998" y="13289"/>
                    <a:pt x="6150" y="13204"/>
                  </a:cubicBezTo>
                  <a:cubicBezTo>
                    <a:pt x="6260" y="13117"/>
                    <a:pt x="6466" y="12985"/>
                    <a:pt x="6520" y="12906"/>
                  </a:cubicBezTo>
                  <a:cubicBezTo>
                    <a:pt x="6573" y="12826"/>
                    <a:pt x="6715" y="12701"/>
                    <a:pt x="6875" y="12629"/>
                  </a:cubicBezTo>
                  <a:cubicBezTo>
                    <a:pt x="6977" y="12554"/>
                    <a:pt x="7198" y="12408"/>
                    <a:pt x="7247" y="12300"/>
                  </a:cubicBezTo>
                  <a:cubicBezTo>
                    <a:pt x="7350" y="12193"/>
                    <a:pt x="7354" y="12087"/>
                    <a:pt x="7307" y="12066"/>
                  </a:cubicBezTo>
                  <a:cubicBezTo>
                    <a:pt x="7258" y="12044"/>
                    <a:pt x="7262" y="11988"/>
                    <a:pt x="7318" y="11941"/>
                  </a:cubicBezTo>
                  <a:cubicBezTo>
                    <a:pt x="7371" y="11895"/>
                    <a:pt x="7414" y="11787"/>
                    <a:pt x="7467" y="11703"/>
                  </a:cubicBezTo>
                  <a:cubicBezTo>
                    <a:pt x="7517" y="11619"/>
                    <a:pt x="7606" y="11494"/>
                    <a:pt x="7716" y="11425"/>
                  </a:cubicBezTo>
                  <a:cubicBezTo>
                    <a:pt x="7823" y="11357"/>
                    <a:pt x="7872" y="11242"/>
                    <a:pt x="7922" y="11175"/>
                  </a:cubicBezTo>
                  <a:cubicBezTo>
                    <a:pt x="7868" y="11107"/>
                    <a:pt x="7861" y="11027"/>
                    <a:pt x="7758" y="11000"/>
                  </a:cubicBezTo>
                  <a:cubicBezTo>
                    <a:pt x="7659" y="10971"/>
                    <a:pt x="7616" y="10906"/>
                    <a:pt x="7670" y="10852"/>
                  </a:cubicBezTo>
                  <a:cubicBezTo>
                    <a:pt x="7723" y="10799"/>
                    <a:pt x="7733" y="10739"/>
                    <a:pt x="7787" y="10724"/>
                  </a:cubicBezTo>
                  <a:cubicBezTo>
                    <a:pt x="7787" y="10706"/>
                    <a:pt x="7865" y="10699"/>
                    <a:pt x="7865" y="10710"/>
                  </a:cubicBezTo>
                  <a:cubicBezTo>
                    <a:pt x="7939" y="10715"/>
                    <a:pt x="8000" y="10729"/>
                    <a:pt x="8074" y="10723"/>
                  </a:cubicBezTo>
                  <a:cubicBezTo>
                    <a:pt x="8145" y="10718"/>
                    <a:pt x="8316" y="10692"/>
                    <a:pt x="8316" y="10659"/>
                  </a:cubicBezTo>
                  <a:cubicBezTo>
                    <a:pt x="8415" y="10629"/>
                    <a:pt x="8497" y="10618"/>
                    <a:pt x="8497" y="10640"/>
                  </a:cubicBezTo>
                  <a:cubicBezTo>
                    <a:pt x="8586" y="10657"/>
                    <a:pt x="8632" y="10671"/>
                    <a:pt x="8720" y="10665"/>
                  </a:cubicBezTo>
                  <a:cubicBezTo>
                    <a:pt x="8791" y="10654"/>
                    <a:pt x="8990" y="10628"/>
                    <a:pt x="9090" y="10595"/>
                  </a:cubicBezTo>
                  <a:cubicBezTo>
                    <a:pt x="9203" y="10564"/>
                    <a:pt x="9313" y="10555"/>
                    <a:pt x="9374" y="10572"/>
                  </a:cubicBezTo>
                  <a:cubicBezTo>
                    <a:pt x="9420" y="10590"/>
                    <a:pt x="9530" y="10601"/>
                    <a:pt x="9530" y="10590"/>
                  </a:cubicBezTo>
                  <a:cubicBezTo>
                    <a:pt x="9594" y="10585"/>
                    <a:pt x="9647" y="10581"/>
                    <a:pt x="9647" y="10591"/>
                  </a:cubicBezTo>
                  <a:cubicBezTo>
                    <a:pt x="9647" y="10601"/>
                    <a:pt x="9771" y="10615"/>
                    <a:pt x="9881" y="10624"/>
                  </a:cubicBezTo>
                  <a:cubicBezTo>
                    <a:pt x="9981" y="10635"/>
                    <a:pt x="10108" y="10679"/>
                    <a:pt x="10108" y="10728"/>
                  </a:cubicBezTo>
                  <a:cubicBezTo>
                    <a:pt x="10165" y="10776"/>
                    <a:pt x="10048" y="10836"/>
                    <a:pt x="10048" y="10861"/>
                  </a:cubicBezTo>
                  <a:cubicBezTo>
                    <a:pt x="9966" y="10883"/>
                    <a:pt x="9970" y="10989"/>
                    <a:pt x="9863" y="11089"/>
                  </a:cubicBezTo>
                  <a:cubicBezTo>
                    <a:pt x="9863" y="11190"/>
                    <a:pt x="9764" y="11319"/>
                    <a:pt x="9821" y="11377"/>
                  </a:cubicBezTo>
                  <a:cubicBezTo>
                    <a:pt x="9874" y="11434"/>
                    <a:pt x="9782" y="11503"/>
                    <a:pt x="9782" y="11532"/>
                  </a:cubicBezTo>
                  <a:cubicBezTo>
                    <a:pt x="9686" y="11557"/>
                    <a:pt x="9668" y="11634"/>
                    <a:pt x="9565" y="11694"/>
                  </a:cubicBezTo>
                  <a:cubicBezTo>
                    <a:pt x="9565" y="11756"/>
                    <a:pt x="9530" y="11797"/>
                    <a:pt x="9640" y="11788"/>
                  </a:cubicBezTo>
                  <a:cubicBezTo>
                    <a:pt x="9739" y="11777"/>
                    <a:pt x="9888" y="11784"/>
                    <a:pt x="9981" y="11798"/>
                  </a:cubicBezTo>
                  <a:cubicBezTo>
                    <a:pt x="10030" y="11816"/>
                    <a:pt x="10250" y="11806"/>
                    <a:pt x="10392" y="11781"/>
                  </a:cubicBezTo>
                  <a:cubicBezTo>
                    <a:pt x="10541" y="11759"/>
                    <a:pt x="10772" y="11746"/>
                    <a:pt x="10889" y="11763"/>
                  </a:cubicBezTo>
                  <a:cubicBezTo>
                    <a:pt x="11020" y="11778"/>
                    <a:pt x="11209" y="11806"/>
                    <a:pt x="11209" y="11827"/>
                  </a:cubicBezTo>
                  <a:cubicBezTo>
                    <a:pt x="11287" y="11845"/>
                    <a:pt x="11283" y="11850"/>
                    <a:pt x="11326" y="11838"/>
                  </a:cubicBezTo>
                  <a:cubicBezTo>
                    <a:pt x="11326" y="11822"/>
                    <a:pt x="11347" y="11797"/>
                    <a:pt x="11347" y="11781"/>
                  </a:cubicBezTo>
                  <a:cubicBezTo>
                    <a:pt x="11347" y="11764"/>
                    <a:pt x="11439" y="11720"/>
                    <a:pt x="11500" y="11680"/>
                  </a:cubicBezTo>
                  <a:cubicBezTo>
                    <a:pt x="11613" y="11643"/>
                    <a:pt x="11716" y="11625"/>
                    <a:pt x="11816" y="11640"/>
                  </a:cubicBezTo>
                  <a:cubicBezTo>
                    <a:pt x="11876" y="11658"/>
                    <a:pt x="12089" y="11742"/>
                    <a:pt x="12192" y="11832"/>
                  </a:cubicBezTo>
                  <a:cubicBezTo>
                    <a:pt x="12345" y="11920"/>
                    <a:pt x="12480" y="12011"/>
                    <a:pt x="12540" y="12033"/>
                  </a:cubicBezTo>
                  <a:cubicBezTo>
                    <a:pt x="12596" y="12053"/>
                    <a:pt x="12625" y="12098"/>
                    <a:pt x="12625" y="12132"/>
                  </a:cubicBezTo>
                  <a:cubicBezTo>
                    <a:pt x="12568" y="12165"/>
                    <a:pt x="12632" y="12193"/>
                    <a:pt x="12682" y="12193"/>
                  </a:cubicBezTo>
                  <a:cubicBezTo>
                    <a:pt x="12682" y="12186"/>
                    <a:pt x="12838" y="12241"/>
                    <a:pt x="12952" y="12299"/>
                  </a:cubicBezTo>
                  <a:cubicBezTo>
                    <a:pt x="13055" y="12358"/>
                    <a:pt x="13147" y="12422"/>
                    <a:pt x="13147" y="12439"/>
                  </a:cubicBezTo>
                  <a:cubicBezTo>
                    <a:pt x="13147" y="12456"/>
                    <a:pt x="13165" y="12462"/>
                    <a:pt x="13214" y="12458"/>
                  </a:cubicBezTo>
                  <a:cubicBezTo>
                    <a:pt x="13253" y="12453"/>
                    <a:pt x="13321" y="12404"/>
                    <a:pt x="13321" y="12351"/>
                  </a:cubicBezTo>
                  <a:cubicBezTo>
                    <a:pt x="13321" y="12298"/>
                    <a:pt x="13530" y="12258"/>
                    <a:pt x="13477" y="12258"/>
                  </a:cubicBezTo>
                  <a:cubicBezTo>
                    <a:pt x="13530" y="12260"/>
                    <a:pt x="13601" y="12213"/>
                    <a:pt x="13658" y="12155"/>
                  </a:cubicBezTo>
                  <a:cubicBezTo>
                    <a:pt x="13708" y="12097"/>
                    <a:pt x="13775" y="11935"/>
                    <a:pt x="13881" y="11797"/>
                  </a:cubicBezTo>
                  <a:cubicBezTo>
                    <a:pt x="13991" y="11659"/>
                    <a:pt x="13981" y="11488"/>
                    <a:pt x="13981" y="11416"/>
                  </a:cubicBezTo>
                  <a:close/>
                  <a:moveTo>
                    <a:pt x="13981" y="114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8" name="AutoShape 397"/>
            <p:cNvSpPr>
              <a:spLocks/>
            </p:cNvSpPr>
            <p:nvPr/>
          </p:nvSpPr>
          <p:spPr bwMode="auto">
            <a:xfrm>
              <a:off x="10490200" y="4953000"/>
              <a:ext cx="0" cy="4763"/>
            </a:xfrm>
            <a:custGeom>
              <a:avLst/>
              <a:gdLst/>
              <a:ahLst/>
              <a:cxnLst/>
              <a:rect l="0" t="0" r="r" b="b"/>
              <a:pathLst>
                <a:path w="15937" h="19052">
                  <a:moveTo>
                    <a:pt x="6315" y="17279"/>
                  </a:moveTo>
                  <a:cubicBezTo>
                    <a:pt x="15079" y="13799"/>
                    <a:pt x="11573" y="8283"/>
                    <a:pt x="15937" y="5549"/>
                  </a:cubicBezTo>
                  <a:cubicBezTo>
                    <a:pt x="12139" y="2720"/>
                    <a:pt x="15937" y="32"/>
                    <a:pt x="12742" y="32"/>
                  </a:cubicBezTo>
                  <a:cubicBezTo>
                    <a:pt x="12742" y="-476"/>
                    <a:pt x="3375" y="5084"/>
                    <a:pt x="3375" y="11900"/>
                  </a:cubicBezTo>
                  <a:cubicBezTo>
                    <a:pt x="-5663" y="18437"/>
                    <a:pt x="6315" y="21124"/>
                    <a:pt x="6315" y="17279"/>
                  </a:cubicBezTo>
                  <a:close/>
                  <a:moveTo>
                    <a:pt x="6315" y="1727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399" name="AutoShape 398"/>
            <p:cNvSpPr>
              <a:spLocks/>
            </p:cNvSpPr>
            <p:nvPr/>
          </p:nvSpPr>
          <p:spPr bwMode="auto">
            <a:xfrm>
              <a:off x="10490200" y="4978400"/>
              <a:ext cx="0" cy="4763"/>
            </a:xfrm>
            <a:custGeom>
              <a:avLst/>
              <a:gdLst/>
              <a:ahLst/>
              <a:cxnLst/>
              <a:rect l="0" t="0" r="r" b="b"/>
              <a:pathLst>
                <a:path w="20566" h="20321">
                  <a:moveTo>
                    <a:pt x="9486" y="20086"/>
                  </a:moveTo>
                  <a:cubicBezTo>
                    <a:pt x="13824" y="18698"/>
                    <a:pt x="20448" y="14274"/>
                    <a:pt x="20448" y="10104"/>
                  </a:cubicBezTo>
                  <a:cubicBezTo>
                    <a:pt x="20448" y="5885"/>
                    <a:pt x="21600" y="1466"/>
                    <a:pt x="16704" y="622"/>
                  </a:cubicBezTo>
                  <a:cubicBezTo>
                    <a:pt x="12384" y="-171"/>
                    <a:pt x="4878" y="-370"/>
                    <a:pt x="4878" y="1019"/>
                  </a:cubicBezTo>
                  <a:cubicBezTo>
                    <a:pt x="4878" y="2361"/>
                    <a:pt x="0" y="7573"/>
                    <a:pt x="0" y="12835"/>
                  </a:cubicBezTo>
                  <a:cubicBezTo>
                    <a:pt x="0" y="18099"/>
                    <a:pt x="3168" y="21230"/>
                    <a:pt x="9486" y="20086"/>
                  </a:cubicBezTo>
                  <a:close/>
                  <a:moveTo>
                    <a:pt x="9486" y="200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0" name="AutoShape 399"/>
            <p:cNvSpPr>
              <a:spLocks/>
            </p:cNvSpPr>
            <p:nvPr/>
          </p:nvSpPr>
          <p:spPr bwMode="auto">
            <a:xfrm>
              <a:off x="10502900" y="4876800"/>
              <a:ext cx="1588" cy="7938"/>
            </a:xfrm>
            <a:custGeom>
              <a:avLst/>
              <a:gdLst/>
              <a:ahLst/>
              <a:cxnLst/>
              <a:rect l="0" t="0" r="r" b="b"/>
              <a:pathLst>
                <a:path w="21600" h="19686">
                  <a:moveTo>
                    <a:pt x="11339" y="1245"/>
                  </a:moveTo>
                  <a:cubicBezTo>
                    <a:pt x="6999" y="3460"/>
                    <a:pt x="0" y="7291"/>
                    <a:pt x="0" y="9959"/>
                  </a:cubicBezTo>
                  <a:cubicBezTo>
                    <a:pt x="0" y="12544"/>
                    <a:pt x="1563" y="16432"/>
                    <a:pt x="4048" y="18645"/>
                  </a:cubicBezTo>
                  <a:cubicBezTo>
                    <a:pt x="6378" y="20944"/>
                    <a:pt x="13678" y="19298"/>
                    <a:pt x="15843" y="15070"/>
                  </a:cubicBezTo>
                  <a:cubicBezTo>
                    <a:pt x="20357" y="10954"/>
                    <a:pt x="21600" y="5190"/>
                    <a:pt x="21600" y="2381"/>
                  </a:cubicBezTo>
                  <a:cubicBezTo>
                    <a:pt x="21600" y="-458"/>
                    <a:pt x="19736" y="-656"/>
                    <a:pt x="11339" y="1245"/>
                  </a:cubicBezTo>
                  <a:close/>
                  <a:moveTo>
                    <a:pt x="11339" y="12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1" name="AutoShape 400"/>
            <p:cNvSpPr>
              <a:spLocks/>
            </p:cNvSpPr>
            <p:nvPr/>
          </p:nvSpPr>
          <p:spPr bwMode="auto">
            <a:xfrm>
              <a:off x="10477500" y="4927600"/>
              <a:ext cx="1588" cy="11113"/>
            </a:xfrm>
            <a:custGeom>
              <a:avLst/>
              <a:gdLst/>
              <a:ahLst/>
              <a:cxnLst/>
              <a:rect l="0" t="0" r="r" b="b"/>
              <a:pathLst>
                <a:path w="18823" h="20546">
                  <a:moveTo>
                    <a:pt x="5403" y="18623"/>
                  </a:moveTo>
                  <a:cubicBezTo>
                    <a:pt x="9550" y="15761"/>
                    <a:pt x="14954" y="10405"/>
                    <a:pt x="18480" y="6704"/>
                  </a:cubicBezTo>
                  <a:cubicBezTo>
                    <a:pt x="18480" y="2939"/>
                    <a:pt x="19855" y="-223"/>
                    <a:pt x="17090" y="12"/>
                  </a:cubicBezTo>
                  <a:cubicBezTo>
                    <a:pt x="14341" y="248"/>
                    <a:pt x="10814" y="1885"/>
                    <a:pt x="7296" y="3950"/>
                  </a:cubicBezTo>
                  <a:cubicBezTo>
                    <a:pt x="7296" y="6058"/>
                    <a:pt x="2025" y="8748"/>
                    <a:pt x="3769" y="9910"/>
                  </a:cubicBezTo>
                  <a:cubicBezTo>
                    <a:pt x="6039" y="11070"/>
                    <a:pt x="4028" y="14816"/>
                    <a:pt x="258" y="17977"/>
                  </a:cubicBezTo>
                  <a:cubicBezTo>
                    <a:pt x="258" y="21183"/>
                    <a:pt x="-1745" y="21377"/>
                    <a:pt x="5403" y="18623"/>
                  </a:cubicBezTo>
                  <a:close/>
                  <a:moveTo>
                    <a:pt x="5403" y="186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2" name="AutoShape 401"/>
            <p:cNvSpPr>
              <a:spLocks/>
            </p:cNvSpPr>
            <p:nvPr/>
          </p:nvSpPr>
          <p:spPr bwMode="auto">
            <a:xfrm>
              <a:off x="10528300" y="4787900"/>
              <a:ext cx="0" cy="6350"/>
            </a:xfrm>
            <a:custGeom>
              <a:avLst/>
              <a:gdLst/>
              <a:ahLst/>
              <a:cxnLst/>
              <a:rect l="0" t="0" r="r" b="b"/>
              <a:pathLst>
                <a:path w="20173" h="19041">
                  <a:moveTo>
                    <a:pt x="17787" y="18839"/>
                  </a:moveTo>
                  <a:cubicBezTo>
                    <a:pt x="21421" y="18105"/>
                    <a:pt x="21600" y="12252"/>
                    <a:pt x="13376" y="6076"/>
                  </a:cubicBezTo>
                  <a:cubicBezTo>
                    <a:pt x="7830" y="-240"/>
                    <a:pt x="0" y="-1922"/>
                    <a:pt x="0" y="2407"/>
                  </a:cubicBezTo>
                  <a:cubicBezTo>
                    <a:pt x="0" y="6720"/>
                    <a:pt x="1136" y="12413"/>
                    <a:pt x="4208" y="15206"/>
                  </a:cubicBezTo>
                  <a:cubicBezTo>
                    <a:pt x="9754" y="17801"/>
                    <a:pt x="14535" y="19678"/>
                    <a:pt x="17787" y="18839"/>
                  </a:cubicBezTo>
                  <a:close/>
                  <a:moveTo>
                    <a:pt x="17787" y="188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3" name="AutoShape 402"/>
            <p:cNvSpPr>
              <a:spLocks/>
            </p:cNvSpPr>
            <p:nvPr/>
          </p:nvSpPr>
          <p:spPr bwMode="auto">
            <a:xfrm>
              <a:off x="10236200" y="4940300"/>
              <a:ext cx="33338" cy="131763"/>
            </a:xfrm>
            <a:custGeom>
              <a:avLst/>
              <a:gdLst/>
              <a:ahLst/>
              <a:cxnLst/>
              <a:rect l="0" t="0" r="r" b="b"/>
              <a:pathLst>
                <a:path w="21509" h="21524">
                  <a:moveTo>
                    <a:pt x="915" y="20449"/>
                  </a:moveTo>
                  <a:cubicBezTo>
                    <a:pt x="1164" y="20799"/>
                    <a:pt x="1829" y="21220"/>
                    <a:pt x="2438" y="21374"/>
                  </a:cubicBezTo>
                  <a:cubicBezTo>
                    <a:pt x="2986" y="21544"/>
                    <a:pt x="4025" y="21570"/>
                    <a:pt x="4611" y="21450"/>
                  </a:cubicBezTo>
                  <a:cubicBezTo>
                    <a:pt x="5189" y="21328"/>
                    <a:pt x="6526" y="21140"/>
                    <a:pt x="7510" y="21013"/>
                  </a:cubicBezTo>
                  <a:cubicBezTo>
                    <a:pt x="8519" y="20899"/>
                    <a:pt x="10050" y="20591"/>
                    <a:pt x="11058" y="20395"/>
                  </a:cubicBezTo>
                  <a:cubicBezTo>
                    <a:pt x="11949" y="20166"/>
                    <a:pt x="13653" y="19515"/>
                    <a:pt x="14849" y="18931"/>
                  </a:cubicBezTo>
                  <a:cubicBezTo>
                    <a:pt x="15872" y="18322"/>
                    <a:pt x="17381" y="17459"/>
                    <a:pt x="17966" y="16980"/>
                  </a:cubicBezTo>
                  <a:cubicBezTo>
                    <a:pt x="18553" y="16500"/>
                    <a:pt x="19225" y="15857"/>
                    <a:pt x="19568" y="15564"/>
                  </a:cubicBezTo>
                  <a:cubicBezTo>
                    <a:pt x="19780" y="15266"/>
                    <a:pt x="20225" y="14817"/>
                    <a:pt x="20225" y="14553"/>
                  </a:cubicBezTo>
                  <a:cubicBezTo>
                    <a:pt x="20225" y="14291"/>
                    <a:pt x="20389" y="13990"/>
                    <a:pt x="20608" y="13902"/>
                  </a:cubicBezTo>
                  <a:cubicBezTo>
                    <a:pt x="20803" y="13802"/>
                    <a:pt x="21076" y="13371"/>
                    <a:pt x="21194" y="12935"/>
                  </a:cubicBezTo>
                  <a:cubicBezTo>
                    <a:pt x="21311" y="12500"/>
                    <a:pt x="21421" y="11998"/>
                    <a:pt x="21194" y="11823"/>
                  </a:cubicBezTo>
                  <a:cubicBezTo>
                    <a:pt x="21061" y="11645"/>
                    <a:pt x="20999" y="11277"/>
                    <a:pt x="21350" y="11032"/>
                  </a:cubicBezTo>
                  <a:cubicBezTo>
                    <a:pt x="21577" y="10774"/>
                    <a:pt x="21600" y="10404"/>
                    <a:pt x="21163" y="10237"/>
                  </a:cubicBezTo>
                  <a:cubicBezTo>
                    <a:pt x="20811" y="10057"/>
                    <a:pt x="20460" y="9338"/>
                    <a:pt x="20232" y="8651"/>
                  </a:cubicBezTo>
                  <a:cubicBezTo>
                    <a:pt x="20232" y="7960"/>
                    <a:pt x="19827" y="7001"/>
                    <a:pt x="19599" y="6525"/>
                  </a:cubicBezTo>
                  <a:cubicBezTo>
                    <a:pt x="19483" y="6046"/>
                    <a:pt x="18873" y="5703"/>
                    <a:pt x="18373" y="5768"/>
                  </a:cubicBezTo>
                  <a:cubicBezTo>
                    <a:pt x="17881" y="5832"/>
                    <a:pt x="17466" y="5832"/>
                    <a:pt x="17466" y="5772"/>
                  </a:cubicBezTo>
                  <a:cubicBezTo>
                    <a:pt x="17568" y="5722"/>
                    <a:pt x="17130" y="5661"/>
                    <a:pt x="16724" y="5661"/>
                  </a:cubicBezTo>
                  <a:cubicBezTo>
                    <a:pt x="16309" y="5661"/>
                    <a:pt x="16372" y="5477"/>
                    <a:pt x="17084" y="5297"/>
                  </a:cubicBezTo>
                  <a:cubicBezTo>
                    <a:pt x="17732" y="5101"/>
                    <a:pt x="18248" y="4812"/>
                    <a:pt x="18138" y="4672"/>
                  </a:cubicBezTo>
                  <a:cubicBezTo>
                    <a:pt x="18138" y="4532"/>
                    <a:pt x="17896" y="4378"/>
                    <a:pt x="17700" y="4328"/>
                  </a:cubicBezTo>
                  <a:cubicBezTo>
                    <a:pt x="17498" y="4278"/>
                    <a:pt x="17162" y="3941"/>
                    <a:pt x="16903" y="3583"/>
                  </a:cubicBezTo>
                  <a:cubicBezTo>
                    <a:pt x="16669" y="3226"/>
                    <a:pt x="16270" y="2960"/>
                    <a:pt x="15982" y="2978"/>
                  </a:cubicBezTo>
                  <a:cubicBezTo>
                    <a:pt x="15716" y="3014"/>
                    <a:pt x="15356" y="2790"/>
                    <a:pt x="15356" y="2491"/>
                  </a:cubicBezTo>
                  <a:cubicBezTo>
                    <a:pt x="15356" y="2191"/>
                    <a:pt x="15013" y="1863"/>
                    <a:pt x="15013" y="1740"/>
                  </a:cubicBezTo>
                  <a:cubicBezTo>
                    <a:pt x="14903" y="1626"/>
                    <a:pt x="14895" y="1386"/>
                    <a:pt x="14895" y="1202"/>
                  </a:cubicBezTo>
                  <a:cubicBezTo>
                    <a:pt x="15013" y="1019"/>
                    <a:pt x="14395" y="761"/>
                    <a:pt x="13645" y="631"/>
                  </a:cubicBezTo>
                  <a:cubicBezTo>
                    <a:pt x="12895" y="495"/>
                    <a:pt x="12136" y="495"/>
                    <a:pt x="11910" y="609"/>
                  </a:cubicBezTo>
                  <a:cubicBezTo>
                    <a:pt x="11644" y="713"/>
                    <a:pt x="11300" y="769"/>
                    <a:pt x="10941" y="723"/>
                  </a:cubicBezTo>
                  <a:cubicBezTo>
                    <a:pt x="10597" y="665"/>
                    <a:pt x="10472" y="521"/>
                    <a:pt x="10472" y="391"/>
                  </a:cubicBezTo>
                  <a:cubicBezTo>
                    <a:pt x="10652" y="276"/>
                    <a:pt x="10104" y="132"/>
                    <a:pt x="9542" y="44"/>
                  </a:cubicBezTo>
                  <a:cubicBezTo>
                    <a:pt x="8957" y="-30"/>
                    <a:pt x="8363" y="-6"/>
                    <a:pt x="8363" y="84"/>
                  </a:cubicBezTo>
                  <a:cubicBezTo>
                    <a:pt x="8363" y="178"/>
                    <a:pt x="8315" y="336"/>
                    <a:pt x="8409" y="437"/>
                  </a:cubicBezTo>
                  <a:cubicBezTo>
                    <a:pt x="8409" y="539"/>
                    <a:pt x="8558" y="697"/>
                    <a:pt x="8354" y="751"/>
                  </a:cubicBezTo>
                  <a:cubicBezTo>
                    <a:pt x="8354" y="825"/>
                    <a:pt x="8034" y="903"/>
                    <a:pt x="7854" y="927"/>
                  </a:cubicBezTo>
                  <a:cubicBezTo>
                    <a:pt x="7854" y="979"/>
                    <a:pt x="7581" y="1065"/>
                    <a:pt x="7581" y="1172"/>
                  </a:cubicBezTo>
                  <a:cubicBezTo>
                    <a:pt x="7581" y="1276"/>
                    <a:pt x="7682" y="1550"/>
                    <a:pt x="7440" y="1766"/>
                  </a:cubicBezTo>
                  <a:cubicBezTo>
                    <a:pt x="7440" y="1987"/>
                    <a:pt x="6987" y="2421"/>
                    <a:pt x="6518" y="2726"/>
                  </a:cubicBezTo>
                  <a:cubicBezTo>
                    <a:pt x="6033" y="3030"/>
                    <a:pt x="5502" y="3280"/>
                    <a:pt x="5502" y="3228"/>
                  </a:cubicBezTo>
                  <a:cubicBezTo>
                    <a:pt x="5306" y="3204"/>
                    <a:pt x="4978" y="3050"/>
                    <a:pt x="4752" y="2902"/>
                  </a:cubicBezTo>
                  <a:cubicBezTo>
                    <a:pt x="4478" y="2762"/>
                    <a:pt x="4001" y="2627"/>
                    <a:pt x="3650" y="2627"/>
                  </a:cubicBezTo>
                  <a:cubicBezTo>
                    <a:pt x="3298" y="2627"/>
                    <a:pt x="3056" y="2690"/>
                    <a:pt x="2955" y="2766"/>
                  </a:cubicBezTo>
                  <a:cubicBezTo>
                    <a:pt x="2955" y="2844"/>
                    <a:pt x="3126" y="2968"/>
                    <a:pt x="3408" y="3040"/>
                  </a:cubicBezTo>
                  <a:cubicBezTo>
                    <a:pt x="3759" y="3084"/>
                    <a:pt x="4017" y="3282"/>
                    <a:pt x="4142" y="3415"/>
                  </a:cubicBezTo>
                  <a:cubicBezTo>
                    <a:pt x="4260" y="3555"/>
                    <a:pt x="4291" y="3749"/>
                    <a:pt x="4088" y="3825"/>
                  </a:cubicBezTo>
                  <a:cubicBezTo>
                    <a:pt x="3978" y="3911"/>
                    <a:pt x="3829" y="4226"/>
                    <a:pt x="4064" y="4520"/>
                  </a:cubicBezTo>
                  <a:cubicBezTo>
                    <a:pt x="4064" y="4814"/>
                    <a:pt x="4260" y="5415"/>
                    <a:pt x="4025" y="5856"/>
                  </a:cubicBezTo>
                  <a:cubicBezTo>
                    <a:pt x="3783" y="6294"/>
                    <a:pt x="3509" y="6793"/>
                    <a:pt x="3291" y="6963"/>
                  </a:cubicBezTo>
                  <a:cubicBezTo>
                    <a:pt x="3063" y="7137"/>
                    <a:pt x="2478" y="7876"/>
                    <a:pt x="2017" y="8617"/>
                  </a:cubicBezTo>
                  <a:cubicBezTo>
                    <a:pt x="1657" y="9356"/>
                    <a:pt x="1282" y="10125"/>
                    <a:pt x="1172" y="10327"/>
                  </a:cubicBezTo>
                  <a:cubicBezTo>
                    <a:pt x="1282" y="10532"/>
                    <a:pt x="891" y="10768"/>
                    <a:pt x="797" y="10868"/>
                  </a:cubicBezTo>
                  <a:cubicBezTo>
                    <a:pt x="664" y="10972"/>
                    <a:pt x="508" y="11531"/>
                    <a:pt x="508" y="12126"/>
                  </a:cubicBezTo>
                  <a:cubicBezTo>
                    <a:pt x="508" y="12725"/>
                    <a:pt x="336" y="13400"/>
                    <a:pt x="203" y="13636"/>
                  </a:cubicBezTo>
                  <a:cubicBezTo>
                    <a:pt x="86" y="13868"/>
                    <a:pt x="0" y="14669"/>
                    <a:pt x="0" y="15414"/>
                  </a:cubicBezTo>
                  <a:cubicBezTo>
                    <a:pt x="110" y="16159"/>
                    <a:pt x="188" y="17459"/>
                    <a:pt x="305" y="18290"/>
                  </a:cubicBezTo>
                  <a:cubicBezTo>
                    <a:pt x="422" y="19123"/>
                    <a:pt x="688" y="20098"/>
                    <a:pt x="915" y="20449"/>
                  </a:cubicBezTo>
                  <a:close/>
                  <a:moveTo>
                    <a:pt x="915" y="204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4" name="AutoShape 403"/>
            <p:cNvSpPr>
              <a:spLocks/>
            </p:cNvSpPr>
            <p:nvPr/>
          </p:nvSpPr>
          <p:spPr bwMode="auto">
            <a:xfrm>
              <a:off x="10236200" y="4991100"/>
              <a:ext cx="3175" cy="12700"/>
            </a:xfrm>
            <a:custGeom>
              <a:avLst/>
              <a:gdLst/>
              <a:ahLst/>
              <a:cxnLst/>
              <a:rect l="0" t="0" r="r" b="b"/>
              <a:pathLst>
                <a:path w="20441" h="20373">
                  <a:moveTo>
                    <a:pt x="4980" y="17741"/>
                  </a:moveTo>
                  <a:cubicBezTo>
                    <a:pt x="9683" y="14297"/>
                    <a:pt x="12947" y="9598"/>
                    <a:pt x="12947" y="7386"/>
                  </a:cubicBezTo>
                  <a:cubicBezTo>
                    <a:pt x="14223" y="5156"/>
                    <a:pt x="13988" y="2944"/>
                    <a:pt x="16061" y="2472"/>
                  </a:cubicBezTo>
                  <a:cubicBezTo>
                    <a:pt x="16061" y="1855"/>
                    <a:pt x="20441" y="1092"/>
                    <a:pt x="20441" y="386"/>
                  </a:cubicBezTo>
                  <a:cubicBezTo>
                    <a:pt x="20441" y="-321"/>
                    <a:pt x="19086" y="22"/>
                    <a:pt x="14786" y="767"/>
                  </a:cubicBezTo>
                  <a:cubicBezTo>
                    <a:pt x="12394" y="1855"/>
                    <a:pt x="7929" y="4467"/>
                    <a:pt x="6729" y="6952"/>
                  </a:cubicBezTo>
                  <a:cubicBezTo>
                    <a:pt x="6729" y="9526"/>
                    <a:pt x="3545" y="14387"/>
                    <a:pt x="1153" y="17833"/>
                  </a:cubicBezTo>
                  <a:cubicBezTo>
                    <a:pt x="-1159" y="21279"/>
                    <a:pt x="-48" y="21188"/>
                    <a:pt x="4980" y="17741"/>
                  </a:cubicBezTo>
                  <a:close/>
                  <a:moveTo>
                    <a:pt x="4980" y="177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5" name="AutoShape 404"/>
            <p:cNvSpPr>
              <a:spLocks/>
            </p:cNvSpPr>
            <p:nvPr/>
          </p:nvSpPr>
          <p:spPr bwMode="auto">
            <a:xfrm>
              <a:off x="10248900" y="4927600"/>
              <a:ext cx="4763" cy="9525"/>
            </a:xfrm>
            <a:custGeom>
              <a:avLst/>
              <a:gdLst/>
              <a:ahLst/>
              <a:cxnLst/>
              <a:rect l="0" t="0" r="r" b="b"/>
              <a:pathLst>
                <a:path w="21389" h="20464">
                  <a:moveTo>
                    <a:pt x="12934" y="19660"/>
                  </a:moveTo>
                  <a:cubicBezTo>
                    <a:pt x="12934" y="17965"/>
                    <a:pt x="13723" y="16322"/>
                    <a:pt x="14606" y="15817"/>
                  </a:cubicBezTo>
                  <a:cubicBezTo>
                    <a:pt x="15440" y="15339"/>
                    <a:pt x="17598" y="12004"/>
                    <a:pt x="19532" y="8364"/>
                  </a:cubicBezTo>
                  <a:cubicBezTo>
                    <a:pt x="21600" y="4778"/>
                    <a:pt x="21383" y="1216"/>
                    <a:pt x="21383" y="458"/>
                  </a:cubicBezTo>
                  <a:cubicBezTo>
                    <a:pt x="20767" y="-300"/>
                    <a:pt x="15616" y="-124"/>
                    <a:pt x="10335" y="1037"/>
                  </a:cubicBezTo>
                  <a:cubicBezTo>
                    <a:pt x="5014" y="2176"/>
                    <a:pt x="1229" y="5029"/>
                    <a:pt x="0" y="7404"/>
                  </a:cubicBezTo>
                  <a:cubicBezTo>
                    <a:pt x="0" y="9854"/>
                    <a:pt x="2417" y="14354"/>
                    <a:pt x="6243" y="17284"/>
                  </a:cubicBezTo>
                  <a:cubicBezTo>
                    <a:pt x="9631" y="20392"/>
                    <a:pt x="12934" y="21300"/>
                    <a:pt x="12934" y="19660"/>
                  </a:cubicBezTo>
                  <a:close/>
                  <a:moveTo>
                    <a:pt x="12934" y="196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6" name="AutoShape 405"/>
            <p:cNvSpPr>
              <a:spLocks/>
            </p:cNvSpPr>
            <p:nvPr/>
          </p:nvSpPr>
          <p:spPr bwMode="auto">
            <a:xfrm>
              <a:off x="10248900" y="4940300"/>
              <a:ext cx="7938" cy="12700"/>
            </a:xfrm>
            <a:custGeom>
              <a:avLst/>
              <a:gdLst/>
              <a:ahLst/>
              <a:cxnLst/>
              <a:rect l="0" t="0" r="r" b="b"/>
              <a:pathLst>
                <a:path w="21273" h="20898">
                  <a:moveTo>
                    <a:pt x="3527" y="12977"/>
                  </a:moveTo>
                  <a:cubicBezTo>
                    <a:pt x="5817" y="14096"/>
                    <a:pt x="8333" y="16095"/>
                    <a:pt x="9217" y="17215"/>
                  </a:cubicBezTo>
                  <a:cubicBezTo>
                    <a:pt x="9738" y="18452"/>
                    <a:pt x="12448" y="19111"/>
                    <a:pt x="14476" y="18792"/>
                  </a:cubicBezTo>
                  <a:cubicBezTo>
                    <a:pt x="16437" y="18493"/>
                    <a:pt x="18920" y="19111"/>
                    <a:pt x="19866" y="20230"/>
                  </a:cubicBezTo>
                  <a:cubicBezTo>
                    <a:pt x="20783" y="21370"/>
                    <a:pt x="21600" y="20990"/>
                    <a:pt x="21143" y="19551"/>
                  </a:cubicBezTo>
                  <a:cubicBezTo>
                    <a:pt x="20552" y="18093"/>
                    <a:pt x="18626" y="15256"/>
                    <a:pt x="16306" y="13258"/>
                  </a:cubicBezTo>
                  <a:cubicBezTo>
                    <a:pt x="13921" y="11220"/>
                    <a:pt x="11729" y="7623"/>
                    <a:pt x="11729" y="5245"/>
                  </a:cubicBezTo>
                  <a:cubicBezTo>
                    <a:pt x="11729" y="2868"/>
                    <a:pt x="10032" y="709"/>
                    <a:pt x="8527" y="110"/>
                  </a:cubicBezTo>
                  <a:cubicBezTo>
                    <a:pt x="6860" y="-230"/>
                    <a:pt x="4967" y="230"/>
                    <a:pt x="4477" y="1370"/>
                  </a:cubicBezTo>
                  <a:cubicBezTo>
                    <a:pt x="4477" y="2549"/>
                    <a:pt x="4117" y="3766"/>
                    <a:pt x="4608" y="4326"/>
                  </a:cubicBezTo>
                  <a:cubicBezTo>
                    <a:pt x="5034" y="4885"/>
                    <a:pt x="4608" y="5605"/>
                    <a:pt x="3135" y="5904"/>
                  </a:cubicBezTo>
                  <a:cubicBezTo>
                    <a:pt x="1730" y="6344"/>
                    <a:pt x="0" y="7483"/>
                    <a:pt x="0" y="8683"/>
                  </a:cubicBezTo>
                  <a:cubicBezTo>
                    <a:pt x="0" y="9861"/>
                    <a:pt x="1436" y="11699"/>
                    <a:pt x="3527" y="12977"/>
                  </a:cubicBezTo>
                  <a:close/>
                  <a:moveTo>
                    <a:pt x="3527" y="129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7" name="AutoShape 406"/>
            <p:cNvSpPr>
              <a:spLocks/>
            </p:cNvSpPr>
            <p:nvPr/>
          </p:nvSpPr>
          <p:spPr bwMode="auto">
            <a:xfrm>
              <a:off x="10591800" y="4470400"/>
              <a:ext cx="1588" cy="3175"/>
            </a:xfrm>
            <a:custGeom>
              <a:avLst/>
              <a:gdLst/>
              <a:ahLst/>
              <a:cxnLst/>
              <a:rect l="0" t="0" r="r" b="b"/>
              <a:pathLst>
                <a:path w="20403" h="19777">
                  <a:moveTo>
                    <a:pt x="15113" y="19362"/>
                  </a:moveTo>
                  <a:cubicBezTo>
                    <a:pt x="18290" y="20598"/>
                    <a:pt x="18517" y="18987"/>
                    <a:pt x="20403" y="15649"/>
                  </a:cubicBezTo>
                  <a:cubicBezTo>
                    <a:pt x="20403" y="12117"/>
                    <a:pt x="18987" y="6578"/>
                    <a:pt x="15707" y="3549"/>
                  </a:cubicBezTo>
                  <a:cubicBezTo>
                    <a:pt x="12420" y="514"/>
                    <a:pt x="7952" y="-1002"/>
                    <a:pt x="4673" y="729"/>
                  </a:cubicBezTo>
                  <a:cubicBezTo>
                    <a:pt x="2083" y="2775"/>
                    <a:pt x="-1197" y="6953"/>
                    <a:pt x="439" y="11065"/>
                  </a:cubicBezTo>
                  <a:cubicBezTo>
                    <a:pt x="439" y="15210"/>
                    <a:pt x="4445" y="18151"/>
                    <a:pt x="6316" y="17656"/>
                  </a:cubicBezTo>
                  <a:cubicBezTo>
                    <a:pt x="7952" y="16821"/>
                    <a:pt x="13367" y="17505"/>
                    <a:pt x="15113" y="19362"/>
                  </a:cubicBezTo>
                  <a:close/>
                  <a:moveTo>
                    <a:pt x="15113" y="1936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8" name="AutoShape 407"/>
            <p:cNvSpPr>
              <a:spLocks/>
            </p:cNvSpPr>
            <p:nvPr/>
          </p:nvSpPr>
          <p:spPr bwMode="auto">
            <a:xfrm>
              <a:off x="10414000" y="4419600"/>
              <a:ext cx="3175" cy="14288"/>
            </a:xfrm>
            <a:custGeom>
              <a:avLst/>
              <a:gdLst/>
              <a:ahLst/>
              <a:cxnLst/>
              <a:rect l="0" t="0" r="r" b="b"/>
              <a:pathLst>
                <a:path w="21600" h="21017">
                  <a:moveTo>
                    <a:pt x="16196" y="21017"/>
                  </a:moveTo>
                  <a:cubicBezTo>
                    <a:pt x="19618" y="21017"/>
                    <a:pt x="21600" y="17981"/>
                    <a:pt x="21600" y="14019"/>
                  </a:cubicBezTo>
                  <a:cubicBezTo>
                    <a:pt x="20570" y="10102"/>
                    <a:pt x="18661" y="4978"/>
                    <a:pt x="16469" y="2660"/>
                  </a:cubicBezTo>
                  <a:cubicBezTo>
                    <a:pt x="14419" y="358"/>
                    <a:pt x="9843" y="-583"/>
                    <a:pt x="6015" y="367"/>
                  </a:cubicBezTo>
                  <a:cubicBezTo>
                    <a:pt x="3554" y="1589"/>
                    <a:pt x="0" y="3241"/>
                    <a:pt x="0" y="4387"/>
                  </a:cubicBezTo>
                  <a:cubicBezTo>
                    <a:pt x="0" y="5533"/>
                    <a:pt x="3144" y="9682"/>
                    <a:pt x="5122" y="13660"/>
                  </a:cubicBezTo>
                  <a:cubicBezTo>
                    <a:pt x="7173" y="17613"/>
                    <a:pt x="12919" y="20744"/>
                    <a:pt x="16196" y="21017"/>
                  </a:cubicBezTo>
                  <a:close/>
                  <a:moveTo>
                    <a:pt x="16196" y="210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09" name="AutoShape 408"/>
            <p:cNvSpPr>
              <a:spLocks/>
            </p:cNvSpPr>
            <p:nvPr/>
          </p:nvSpPr>
          <p:spPr bwMode="auto">
            <a:xfrm>
              <a:off x="10414000" y="4419600"/>
              <a:ext cx="3175" cy="17463"/>
            </a:xfrm>
            <a:custGeom>
              <a:avLst/>
              <a:gdLst/>
              <a:ahLst/>
              <a:cxnLst/>
              <a:rect l="0" t="0" r="r" b="b"/>
              <a:pathLst>
                <a:path w="20989" h="20201">
                  <a:moveTo>
                    <a:pt x="6830" y="13789"/>
                  </a:moveTo>
                  <a:cubicBezTo>
                    <a:pt x="5732" y="15570"/>
                    <a:pt x="7197" y="18213"/>
                    <a:pt x="9259" y="19598"/>
                  </a:cubicBezTo>
                  <a:cubicBezTo>
                    <a:pt x="9259" y="21024"/>
                    <a:pt x="14256" y="19820"/>
                    <a:pt x="17416" y="17059"/>
                  </a:cubicBezTo>
                  <a:cubicBezTo>
                    <a:pt x="20796" y="14262"/>
                    <a:pt x="21600" y="10548"/>
                    <a:pt x="20571" y="8830"/>
                  </a:cubicBezTo>
                  <a:cubicBezTo>
                    <a:pt x="19395" y="7111"/>
                    <a:pt x="14692" y="4078"/>
                    <a:pt x="9328" y="2158"/>
                  </a:cubicBezTo>
                  <a:cubicBezTo>
                    <a:pt x="3964" y="211"/>
                    <a:pt x="0" y="-576"/>
                    <a:pt x="0" y="454"/>
                  </a:cubicBezTo>
                  <a:cubicBezTo>
                    <a:pt x="0" y="1449"/>
                    <a:pt x="2714" y="4106"/>
                    <a:pt x="3821" y="6415"/>
                  </a:cubicBezTo>
                  <a:cubicBezTo>
                    <a:pt x="7123" y="8614"/>
                    <a:pt x="6830" y="12001"/>
                    <a:pt x="6830" y="13789"/>
                  </a:cubicBezTo>
                  <a:close/>
                  <a:moveTo>
                    <a:pt x="6830" y="137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0" name="AutoShape 409"/>
            <p:cNvSpPr>
              <a:spLocks/>
            </p:cNvSpPr>
            <p:nvPr/>
          </p:nvSpPr>
          <p:spPr bwMode="auto">
            <a:xfrm>
              <a:off x="10375900" y="4254500"/>
              <a:ext cx="66675" cy="234950"/>
            </a:xfrm>
            <a:custGeom>
              <a:avLst/>
              <a:gdLst/>
              <a:ahLst/>
              <a:cxnLst/>
              <a:rect l="0" t="0" r="r" b="b"/>
              <a:pathLst>
                <a:path w="21600" h="21549">
                  <a:moveTo>
                    <a:pt x="20059" y="20155"/>
                  </a:moveTo>
                  <a:cubicBezTo>
                    <a:pt x="20059" y="19989"/>
                    <a:pt x="20262" y="19681"/>
                    <a:pt x="20506" y="19475"/>
                  </a:cubicBezTo>
                  <a:cubicBezTo>
                    <a:pt x="20690" y="19265"/>
                    <a:pt x="20933" y="19134"/>
                    <a:pt x="21033" y="19176"/>
                  </a:cubicBezTo>
                  <a:cubicBezTo>
                    <a:pt x="21141" y="19215"/>
                    <a:pt x="21272" y="19080"/>
                    <a:pt x="21392" y="18866"/>
                  </a:cubicBezTo>
                  <a:cubicBezTo>
                    <a:pt x="21500" y="18666"/>
                    <a:pt x="21592" y="18287"/>
                    <a:pt x="21600" y="17994"/>
                  </a:cubicBezTo>
                  <a:cubicBezTo>
                    <a:pt x="21600" y="17832"/>
                    <a:pt x="21584" y="17695"/>
                    <a:pt x="21540" y="17669"/>
                  </a:cubicBezTo>
                  <a:cubicBezTo>
                    <a:pt x="21540" y="17635"/>
                    <a:pt x="21492" y="17547"/>
                    <a:pt x="21381" y="17482"/>
                  </a:cubicBezTo>
                  <a:cubicBezTo>
                    <a:pt x="21381" y="17410"/>
                    <a:pt x="21269" y="17278"/>
                    <a:pt x="21269" y="17185"/>
                  </a:cubicBezTo>
                  <a:cubicBezTo>
                    <a:pt x="21269" y="17092"/>
                    <a:pt x="21177" y="16967"/>
                    <a:pt x="21177" y="16907"/>
                  </a:cubicBezTo>
                  <a:cubicBezTo>
                    <a:pt x="21057" y="16857"/>
                    <a:pt x="21077" y="16685"/>
                    <a:pt x="20957" y="16554"/>
                  </a:cubicBezTo>
                  <a:cubicBezTo>
                    <a:pt x="20897" y="16419"/>
                    <a:pt x="20729" y="16119"/>
                    <a:pt x="20670" y="15887"/>
                  </a:cubicBezTo>
                  <a:cubicBezTo>
                    <a:pt x="20550" y="15655"/>
                    <a:pt x="20398" y="15175"/>
                    <a:pt x="20398" y="14823"/>
                  </a:cubicBezTo>
                  <a:cubicBezTo>
                    <a:pt x="20278" y="14472"/>
                    <a:pt x="20190" y="14075"/>
                    <a:pt x="20134" y="13941"/>
                  </a:cubicBezTo>
                  <a:cubicBezTo>
                    <a:pt x="20019" y="13810"/>
                    <a:pt x="20046" y="13550"/>
                    <a:pt x="19987" y="13370"/>
                  </a:cubicBezTo>
                  <a:cubicBezTo>
                    <a:pt x="19987" y="13185"/>
                    <a:pt x="19899" y="12836"/>
                    <a:pt x="19839" y="12590"/>
                  </a:cubicBezTo>
                  <a:cubicBezTo>
                    <a:pt x="19779" y="12344"/>
                    <a:pt x="19639" y="12042"/>
                    <a:pt x="19523" y="11919"/>
                  </a:cubicBezTo>
                  <a:cubicBezTo>
                    <a:pt x="19463" y="11794"/>
                    <a:pt x="19356" y="11623"/>
                    <a:pt x="19243" y="11544"/>
                  </a:cubicBezTo>
                  <a:cubicBezTo>
                    <a:pt x="19243" y="11459"/>
                    <a:pt x="18988" y="11405"/>
                    <a:pt x="18804" y="11414"/>
                  </a:cubicBezTo>
                  <a:cubicBezTo>
                    <a:pt x="18616" y="11423"/>
                    <a:pt x="18373" y="11368"/>
                    <a:pt x="18217" y="11293"/>
                  </a:cubicBezTo>
                  <a:cubicBezTo>
                    <a:pt x="18093" y="11215"/>
                    <a:pt x="17854" y="11200"/>
                    <a:pt x="17794" y="11266"/>
                  </a:cubicBezTo>
                  <a:cubicBezTo>
                    <a:pt x="17686" y="11326"/>
                    <a:pt x="17638" y="11451"/>
                    <a:pt x="17750" y="11531"/>
                  </a:cubicBezTo>
                  <a:cubicBezTo>
                    <a:pt x="17750" y="11617"/>
                    <a:pt x="17766" y="11744"/>
                    <a:pt x="17766" y="11824"/>
                  </a:cubicBezTo>
                  <a:cubicBezTo>
                    <a:pt x="17706" y="11903"/>
                    <a:pt x="17658" y="12045"/>
                    <a:pt x="17658" y="12140"/>
                  </a:cubicBezTo>
                  <a:cubicBezTo>
                    <a:pt x="17658" y="12236"/>
                    <a:pt x="17574" y="12422"/>
                    <a:pt x="17458" y="12553"/>
                  </a:cubicBezTo>
                  <a:cubicBezTo>
                    <a:pt x="17342" y="12686"/>
                    <a:pt x="17335" y="12831"/>
                    <a:pt x="17390" y="12877"/>
                  </a:cubicBezTo>
                  <a:cubicBezTo>
                    <a:pt x="17498" y="12915"/>
                    <a:pt x="17494" y="13071"/>
                    <a:pt x="17494" y="13212"/>
                  </a:cubicBezTo>
                  <a:cubicBezTo>
                    <a:pt x="17494" y="13352"/>
                    <a:pt x="17374" y="13469"/>
                    <a:pt x="17263" y="13469"/>
                  </a:cubicBezTo>
                  <a:cubicBezTo>
                    <a:pt x="17155" y="13469"/>
                    <a:pt x="16927" y="13326"/>
                    <a:pt x="16751" y="13144"/>
                  </a:cubicBezTo>
                  <a:cubicBezTo>
                    <a:pt x="16568" y="12961"/>
                    <a:pt x="16332" y="12698"/>
                    <a:pt x="16120" y="12568"/>
                  </a:cubicBezTo>
                  <a:cubicBezTo>
                    <a:pt x="15996" y="12428"/>
                    <a:pt x="15820" y="12245"/>
                    <a:pt x="15709" y="12160"/>
                  </a:cubicBezTo>
                  <a:cubicBezTo>
                    <a:pt x="15653" y="12070"/>
                    <a:pt x="15553" y="11928"/>
                    <a:pt x="15421" y="11844"/>
                  </a:cubicBezTo>
                  <a:cubicBezTo>
                    <a:pt x="15305" y="11762"/>
                    <a:pt x="15054" y="11503"/>
                    <a:pt x="14994" y="11264"/>
                  </a:cubicBezTo>
                  <a:cubicBezTo>
                    <a:pt x="14874" y="11028"/>
                    <a:pt x="14766" y="10749"/>
                    <a:pt x="14766" y="10643"/>
                  </a:cubicBezTo>
                  <a:cubicBezTo>
                    <a:pt x="14706" y="10539"/>
                    <a:pt x="14790" y="10396"/>
                    <a:pt x="14914" y="10343"/>
                  </a:cubicBezTo>
                  <a:cubicBezTo>
                    <a:pt x="15026" y="10288"/>
                    <a:pt x="15058" y="10141"/>
                    <a:pt x="15121" y="10027"/>
                  </a:cubicBezTo>
                  <a:cubicBezTo>
                    <a:pt x="15121" y="9912"/>
                    <a:pt x="15409" y="9733"/>
                    <a:pt x="15541" y="9611"/>
                  </a:cubicBezTo>
                  <a:cubicBezTo>
                    <a:pt x="15769" y="9500"/>
                    <a:pt x="15964" y="9457"/>
                    <a:pt x="16060" y="9519"/>
                  </a:cubicBezTo>
                  <a:cubicBezTo>
                    <a:pt x="16120" y="9586"/>
                    <a:pt x="16312" y="9649"/>
                    <a:pt x="16432" y="9666"/>
                  </a:cubicBezTo>
                  <a:cubicBezTo>
                    <a:pt x="16568" y="9676"/>
                    <a:pt x="16747" y="9630"/>
                    <a:pt x="16803" y="9542"/>
                  </a:cubicBezTo>
                  <a:cubicBezTo>
                    <a:pt x="16927" y="9462"/>
                    <a:pt x="16939" y="9294"/>
                    <a:pt x="16939" y="9181"/>
                  </a:cubicBezTo>
                  <a:cubicBezTo>
                    <a:pt x="16939" y="9065"/>
                    <a:pt x="17031" y="8928"/>
                    <a:pt x="17159" y="8872"/>
                  </a:cubicBezTo>
                  <a:cubicBezTo>
                    <a:pt x="17275" y="8815"/>
                    <a:pt x="17498" y="8536"/>
                    <a:pt x="17618" y="8248"/>
                  </a:cubicBezTo>
                  <a:cubicBezTo>
                    <a:pt x="17790" y="7962"/>
                    <a:pt x="17881" y="7550"/>
                    <a:pt x="17881" y="7336"/>
                  </a:cubicBezTo>
                  <a:cubicBezTo>
                    <a:pt x="17942" y="7122"/>
                    <a:pt x="17942" y="6794"/>
                    <a:pt x="18109" y="6618"/>
                  </a:cubicBezTo>
                  <a:cubicBezTo>
                    <a:pt x="18173" y="6435"/>
                    <a:pt x="18221" y="6252"/>
                    <a:pt x="18093" y="6217"/>
                  </a:cubicBezTo>
                  <a:cubicBezTo>
                    <a:pt x="17969" y="6181"/>
                    <a:pt x="17766" y="6010"/>
                    <a:pt x="17534" y="5853"/>
                  </a:cubicBezTo>
                  <a:cubicBezTo>
                    <a:pt x="17311" y="5694"/>
                    <a:pt x="17079" y="5581"/>
                    <a:pt x="16947" y="5600"/>
                  </a:cubicBezTo>
                  <a:cubicBezTo>
                    <a:pt x="16831" y="5626"/>
                    <a:pt x="16580" y="5611"/>
                    <a:pt x="16580" y="5561"/>
                  </a:cubicBezTo>
                  <a:cubicBezTo>
                    <a:pt x="16464" y="5520"/>
                    <a:pt x="16280" y="5481"/>
                    <a:pt x="16108" y="5494"/>
                  </a:cubicBezTo>
                  <a:cubicBezTo>
                    <a:pt x="15929" y="5500"/>
                    <a:pt x="15481" y="5511"/>
                    <a:pt x="15110" y="5521"/>
                  </a:cubicBezTo>
                  <a:cubicBezTo>
                    <a:pt x="14738" y="5521"/>
                    <a:pt x="14159" y="5501"/>
                    <a:pt x="13824" y="5462"/>
                  </a:cubicBezTo>
                  <a:cubicBezTo>
                    <a:pt x="13500" y="5416"/>
                    <a:pt x="12845" y="5414"/>
                    <a:pt x="12393" y="5425"/>
                  </a:cubicBezTo>
                  <a:cubicBezTo>
                    <a:pt x="11946" y="5440"/>
                    <a:pt x="11339" y="5446"/>
                    <a:pt x="11047" y="5446"/>
                  </a:cubicBezTo>
                  <a:cubicBezTo>
                    <a:pt x="10756" y="5436"/>
                    <a:pt x="10269" y="5373"/>
                    <a:pt x="10069" y="5278"/>
                  </a:cubicBezTo>
                  <a:cubicBezTo>
                    <a:pt x="9825" y="5192"/>
                    <a:pt x="9446" y="5125"/>
                    <a:pt x="9230" y="5135"/>
                  </a:cubicBezTo>
                  <a:cubicBezTo>
                    <a:pt x="9018" y="5145"/>
                    <a:pt x="8623" y="5104"/>
                    <a:pt x="8443" y="5028"/>
                  </a:cubicBezTo>
                  <a:cubicBezTo>
                    <a:pt x="8216" y="4962"/>
                    <a:pt x="8036" y="4799"/>
                    <a:pt x="8036" y="4672"/>
                  </a:cubicBezTo>
                  <a:cubicBezTo>
                    <a:pt x="8036" y="4543"/>
                    <a:pt x="7888" y="4282"/>
                    <a:pt x="7832" y="4085"/>
                  </a:cubicBezTo>
                  <a:cubicBezTo>
                    <a:pt x="7713" y="3892"/>
                    <a:pt x="7621" y="3643"/>
                    <a:pt x="7552" y="3534"/>
                  </a:cubicBezTo>
                  <a:cubicBezTo>
                    <a:pt x="7501" y="3480"/>
                    <a:pt x="7461" y="3385"/>
                    <a:pt x="7461" y="3277"/>
                  </a:cubicBezTo>
                  <a:cubicBezTo>
                    <a:pt x="7341" y="3177"/>
                    <a:pt x="7401" y="3053"/>
                    <a:pt x="7349" y="2948"/>
                  </a:cubicBezTo>
                  <a:cubicBezTo>
                    <a:pt x="7225" y="2738"/>
                    <a:pt x="7009" y="2385"/>
                    <a:pt x="6886" y="2159"/>
                  </a:cubicBezTo>
                  <a:cubicBezTo>
                    <a:pt x="6650" y="1941"/>
                    <a:pt x="6438" y="1761"/>
                    <a:pt x="6346" y="1787"/>
                  </a:cubicBezTo>
                  <a:cubicBezTo>
                    <a:pt x="6226" y="1804"/>
                    <a:pt x="6115" y="1869"/>
                    <a:pt x="6115" y="1932"/>
                  </a:cubicBezTo>
                  <a:cubicBezTo>
                    <a:pt x="6063" y="1994"/>
                    <a:pt x="5899" y="1998"/>
                    <a:pt x="5671" y="1934"/>
                  </a:cubicBezTo>
                  <a:cubicBezTo>
                    <a:pt x="5428" y="1873"/>
                    <a:pt x="5132" y="1745"/>
                    <a:pt x="5008" y="1651"/>
                  </a:cubicBezTo>
                  <a:cubicBezTo>
                    <a:pt x="4948" y="1554"/>
                    <a:pt x="4677" y="1383"/>
                    <a:pt x="4445" y="1277"/>
                  </a:cubicBezTo>
                  <a:cubicBezTo>
                    <a:pt x="4313" y="1158"/>
                    <a:pt x="4002" y="1075"/>
                    <a:pt x="3926" y="1054"/>
                  </a:cubicBezTo>
                  <a:cubicBezTo>
                    <a:pt x="3818" y="1046"/>
                    <a:pt x="3770" y="1125"/>
                    <a:pt x="3666" y="1223"/>
                  </a:cubicBezTo>
                  <a:cubicBezTo>
                    <a:pt x="3666" y="1326"/>
                    <a:pt x="3790" y="1467"/>
                    <a:pt x="3918" y="1555"/>
                  </a:cubicBezTo>
                  <a:cubicBezTo>
                    <a:pt x="4118" y="1634"/>
                    <a:pt x="4102" y="1731"/>
                    <a:pt x="4034" y="1780"/>
                  </a:cubicBezTo>
                  <a:cubicBezTo>
                    <a:pt x="3914" y="1822"/>
                    <a:pt x="3622" y="1829"/>
                    <a:pt x="3367" y="1801"/>
                  </a:cubicBezTo>
                  <a:cubicBezTo>
                    <a:pt x="3103" y="1779"/>
                    <a:pt x="2788" y="1605"/>
                    <a:pt x="2560" y="1444"/>
                  </a:cubicBezTo>
                  <a:cubicBezTo>
                    <a:pt x="2436" y="1273"/>
                    <a:pt x="2213" y="1064"/>
                    <a:pt x="2213" y="967"/>
                  </a:cubicBezTo>
                  <a:cubicBezTo>
                    <a:pt x="2149" y="872"/>
                    <a:pt x="2005" y="677"/>
                    <a:pt x="1881" y="527"/>
                  </a:cubicBezTo>
                  <a:cubicBezTo>
                    <a:pt x="1697" y="381"/>
                    <a:pt x="1469" y="174"/>
                    <a:pt x="1354" y="69"/>
                  </a:cubicBezTo>
                  <a:cubicBezTo>
                    <a:pt x="1238" y="-36"/>
                    <a:pt x="1054" y="-21"/>
                    <a:pt x="1054" y="108"/>
                  </a:cubicBezTo>
                  <a:cubicBezTo>
                    <a:pt x="994" y="235"/>
                    <a:pt x="862" y="333"/>
                    <a:pt x="767" y="347"/>
                  </a:cubicBezTo>
                  <a:cubicBezTo>
                    <a:pt x="667" y="354"/>
                    <a:pt x="619" y="455"/>
                    <a:pt x="619" y="578"/>
                  </a:cubicBezTo>
                  <a:cubicBezTo>
                    <a:pt x="619" y="702"/>
                    <a:pt x="795" y="865"/>
                    <a:pt x="902" y="949"/>
                  </a:cubicBezTo>
                  <a:cubicBezTo>
                    <a:pt x="1014" y="1030"/>
                    <a:pt x="1038" y="1282"/>
                    <a:pt x="978" y="1513"/>
                  </a:cubicBezTo>
                  <a:cubicBezTo>
                    <a:pt x="918" y="1744"/>
                    <a:pt x="607" y="2088"/>
                    <a:pt x="427" y="2288"/>
                  </a:cubicBezTo>
                  <a:cubicBezTo>
                    <a:pt x="311" y="2376"/>
                    <a:pt x="275" y="2502"/>
                    <a:pt x="159" y="2622"/>
                  </a:cubicBezTo>
                  <a:lnTo>
                    <a:pt x="164" y="2622"/>
                  </a:lnTo>
                  <a:cubicBezTo>
                    <a:pt x="164" y="2770"/>
                    <a:pt x="0" y="2915"/>
                    <a:pt x="0" y="3031"/>
                  </a:cubicBezTo>
                  <a:cubicBezTo>
                    <a:pt x="64" y="3243"/>
                    <a:pt x="447" y="3550"/>
                    <a:pt x="1038" y="3710"/>
                  </a:cubicBezTo>
                  <a:cubicBezTo>
                    <a:pt x="1593" y="3876"/>
                    <a:pt x="2264" y="3950"/>
                    <a:pt x="2476" y="3889"/>
                  </a:cubicBezTo>
                  <a:cubicBezTo>
                    <a:pt x="2692" y="3828"/>
                    <a:pt x="3119" y="3799"/>
                    <a:pt x="3427" y="3826"/>
                  </a:cubicBezTo>
                  <a:cubicBezTo>
                    <a:pt x="3738" y="3847"/>
                    <a:pt x="3974" y="3962"/>
                    <a:pt x="3918" y="4069"/>
                  </a:cubicBezTo>
                  <a:cubicBezTo>
                    <a:pt x="3854" y="4177"/>
                    <a:pt x="3946" y="4456"/>
                    <a:pt x="4002" y="4690"/>
                  </a:cubicBezTo>
                  <a:cubicBezTo>
                    <a:pt x="4066" y="4924"/>
                    <a:pt x="4058" y="5188"/>
                    <a:pt x="3898" y="5274"/>
                  </a:cubicBezTo>
                  <a:cubicBezTo>
                    <a:pt x="3778" y="5365"/>
                    <a:pt x="3531" y="5391"/>
                    <a:pt x="3351" y="5357"/>
                  </a:cubicBezTo>
                  <a:cubicBezTo>
                    <a:pt x="3179" y="5324"/>
                    <a:pt x="2935" y="5343"/>
                    <a:pt x="2780" y="5419"/>
                  </a:cubicBezTo>
                  <a:cubicBezTo>
                    <a:pt x="2652" y="5499"/>
                    <a:pt x="2440" y="5750"/>
                    <a:pt x="2320" y="5985"/>
                  </a:cubicBezTo>
                  <a:cubicBezTo>
                    <a:pt x="2209" y="6221"/>
                    <a:pt x="1937" y="6429"/>
                    <a:pt x="1757" y="6481"/>
                  </a:cubicBezTo>
                  <a:cubicBezTo>
                    <a:pt x="1534" y="6520"/>
                    <a:pt x="1254" y="6840"/>
                    <a:pt x="1378" y="7193"/>
                  </a:cubicBezTo>
                  <a:cubicBezTo>
                    <a:pt x="1378" y="7550"/>
                    <a:pt x="1681" y="8037"/>
                    <a:pt x="1921" y="8284"/>
                  </a:cubicBezTo>
                  <a:cubicBezTo>
                    <a:pt x="2276" y="8517"/>
                    <a:pt x="2704" y="8799"/>
                    <a:pt x="3011" y="8895"/>
                  </a:cubicBezTo>
                  <a:cubicBezTo>
                    <a:pt x="3307" y="8995"/>
                    <a:pt x="3790" y="9300"/>
                    <a:pt x="4145" y="9577"/>
                  </a:cubicBezTo>
                  <a:cubicBezTo>
                    <a:pt x="4381" y="9862"/>
                    <a:pt x="4785" y="10330"/>
                    <a:pt x="4725" y="10625"/>
                  </a:cubicBezTo>
                  <a:cubicBezTo>
                    <a:pt x="4785" y="10920"/>
                    <a:pt x="4785" y="11355"/>
                    <a:pt x="4964" y="11576"/>
                  </a:cubicBezTo>
                  <a:cubicBezTo>
                    <a:pt x="5088" y="11804"/>
                    <a:pt x="5172" y="12121"/>
                    <a:pt x="5113" y="12282"/>
                  </a:cubicBezTo>
                  <a:cubicBezTo>
                    <a:pt x="5113" y="12444"/>
                    <a:pt x="5048" y="12803"/>
                    <a:pt x="5164" y="13079"/>
                  </a:cubicBezTo>
                  <a:cubicBezTo>
                    <a:pt x="5224" y="13356"/>
                    <a:pt x="5559" y="13883"/>
                    <a:pt x="5919" y="14247"/>
                  </a:cubicBezTo>
                  <a:cubicBezTo>
                    <a:pt x="6274" y="14611"/>
                    <a:pt x="6550" y="15109"/>
                    <a:pt x="6550" y="15350"/>
                  </a:cubicBezTo>
                  <a:cubicBezTo>
                    <a:pt x="6550" y="15593"/>
                    <a:pt x="6594" y="15914"/>
                    <a:pt x="6710" y="16062"/>
                  </a:cubicBezTo>
                  <a:cubicBezTo>
                    <a:pt x="6822" y="16210"/>
                    <a:pt x="6918" y="16560"/>
                    <a:pt x="6918" y="16839"/>
                  </a:cubicBezTo>
                  <a:cubicBezTo>
                    <a:pt x="6918" y="17117"/>
                    <a:pt x="7061" y="17318"/>
                    <a:pt x="7185" y="17294"/>
                  </a:cubicBezTo>
                  <a:cubicBezTo>
                    <a:pt x="7297" y="17262"/>
                    <a:pt x="7437" y="17382"/>
                    <a:pt x="7556" y="17551"/>
                  </a:cubicBezTo>
                  <a:cubicBezTo>
                    <a:pt x="7669" y="17719"/>
                    <a:pt x="7736" y="17930"/>
                    <a:pt x="7804" y="18014"/>
                  </a:cubicBezTo>
                  <a:cubicBezTo>
                    <a:pt x="7864" y="18099"/>
                    <a:pt x="8004" y="18166"/>
                    <a:pt x="8136" y="18166"/>
                  </a:cubicBezTo>
                  <a:cubicBezTo>
                    <a:pt x="8271" y="18159"/>
                    <a:pt x="8419" y="18059"/>
                    <a:pt x="8479" y="17928"/>
                  </a:cubicBezTo>
                  <a:cubicBezTo>
                    <a:pt x="8543" y="17796"/>
                    <a:pt x="8651" y="17659"/>
                    <a:pt x="8759" y="17627"/>
                  </a:cubicBezTo>
                  <a:cubicBezTo>
                    <a:pt x="8867" y="17597"/>
                    <a:pt x="9090" y="17625"/>
                    <a:pt x="9218" y="17705"/>
                  </a:cubicBezTo>
                  <a:cubicBezTo>
                    <a:pt x="9334" y="17788"/>
                    <a:pt x="9470" y="17872"/>
                    <a:pt x="9522" y="17893"/>
                  </a:cubicBezTo>
                  <a:cubicBezTo>
                    <a:pt x="9594" y="17914"/>
                    <a:pt x="9642" y="17902"/>
                    <a:pt x="9758" y="17853"/>
                  </a:cubicBezTo>
                  <a:cubicBezTo>
                    <a:pt x="9865" y="17800"/>
                    <a:pt x="9937" y="17631"/>
                    <a:pt x="9997" y="17475"/>
                  </a:cubicBezTo>
                  <a:cubicBezTo>
                    <a:pt x="10057" y="17317"/>
                    <a:pt x="9869" y="17019"/>
                    <a:pt x="9813" y="16809"/>
                  </a:cubicBezTo>
                  <a:cubicBezTo>
                    <a:pt x="9690" y="16603"/>
                    <a:pt x="9642" y="16426"/>
                    <a:pt x="9710" y="16426"/>
                  </a:cubicBezTo>
                  <a:cubicBezTo>
                    <a:pt x="9773" y="16426"/>
                    <a:pt x="9865" y="16270"/>
                    <a:pt x="9865" y="16085"/>
                  </a:cubicBezTo>
                  <a:cubicBezTo>
                    <a:pt x="9925" y="15900"/>
                    <a:pt x="10013" y="15660"/>
                    <a:pt x="10069" y="15549"/>
                  </a:cubicBezTo>
                  <a:cubicBezTo>
                    <a:pt x="10181" y="15440"/>
                    <a:pt x="10189" y="15280"/>
                    <a:pt x="10133" y="15196"/>
                  </a:cubicBezTo>
                  <a:cubicBezTo>
                    <a:pt x="10069" y="15113"/>
                    <a:pt x="10133" y="15105"/>
                    <a:pt x="10189" y="15186"/>
                  </a:cubicBezTo>
                  <a:cubicBezTo>
                    <a:pt x="10300" y="15257"/>
                    <a:pt x="10336" y="15370"/>
                    <a:pt x="10336" y="15428"/>
                  </a:cubicBezTo>
                  <a:cubicBezTo>
                    <a:pt x="10336" y="15485"/>
                    <a:pt x="10249" y="15774"/>
                    <a:pt x="10129" y="16073"/>
                  </a:cubicBezTo>
                  <a:cubicBezTo>
                    <a:pt x="10013" y="16370"/>
                    <a:pt x="10029" y="16753"/>
                    <a:pt x="10197" y="16920"/>
                  </a:cubicBezTo>
                  <a:cubicBezTo>
                    <a:pt x="10321" y="17088"/>
                    <a:pt x="10608" y="17077"/>
                    <a:pt x="10728" y="16896"/>
                  </a:cubicBezTo>
                  <a:cubicBezTo>
                    <a:pt x="10908" y="16718"/>
                    <a:pt x="11147" y="16523"/>
                    <a:pt x="11279" y="16458"/>
                  </a:cubicBezTo>
                  <a:cubicBezTo>
                    <a:pt x="11479" y="16409"/>
                    <a:pt x="11587" y="16419"/>
                    <a:pt x="11479" y="16495"/>
                  </a:cubicBezTo>
                  <a:cubicBezTo>
                    <a:pt x="11479" y="16574"/>
                    <a:pt x="11319" y="16666"/>
                    <a:pt x="11215" y="16695"/>
                  </a:cubicBezTo>
                  <a:cubicBezTo>
                    <a:pt x="11151" y="16731"/>
                    <a:pt x="10976" y="16877"/>
                    <a:pt x="10848" y="17029"/>
                  </a:cubicBezTo>
                  <a:cubicBezTo>
                    <a:pt x="10728" y="17181"/>
                    <a:pt x="10788" y="17388"/>
                    <a:pt x="10972" y="17483"/>
                  </a:cubicBezTo>
                  <a:cubicBezTo>
                    <a:pt x="11167" y="17576"/>
                    <a:pt x="11451" y="17441"/>
                    <a:pt x="11627" y="17172"/>
                  </a:cubicBezTo>
                  <a:cubicBezTo>
                    <a:pt x="11811" y="16906"/>
                    <a:pt x="12178" y="16642"/>
                    <a:pt x="12354" y="16567"/>
                  </a:cubicBezTo>
                  <a:cubicBezTo>
                    <a:pt x="12581" y="16503"/>
                    <a:pt x="12785" y="16250"/>
                    <a:pt x="12785" y="16009"/>
                  </a:cubicBezTo>
                  <a:cubicBezTo>
                    <a:pt x="12785" y="15771"/>
                    <a:pt x="12721" y="15414"/>
                    <a:pt x="12545" y="15223"/>
                  </a:cubicBezTo>
                  <a:cubicBezTo>
                    <a:pt x="12426" y="15026"/>
                    <a:pt x="12138" y="14831"/>
                    <a:pt x="11998" y="14782"/>
                  </a:cubicBezTo>
                  <a:cubicBezTo>
                    <a:pt x="11878" y="14730"/>
                    <a:pt x="11918" y="14643"/>
                    <a:pt x="12150" y="14577"/>
                  </a:cubicBezTo>
                  <a:cubicBezTo>
                    <a:pt x="12386" y="14511"/>
                    <a:pt x="12629" y="14381"/>
                    <a:pt x="12629" y="14286"/>
                  </a:cubicBezTo>
                  <a:cubicBezTo>
                    <a:pt x="12629" y="14192"/>
                    <a:pt x="12621" y="13963"/>
                    <a:pt x="12397" y="13788"/>
                  </a:cubicBezTo>
                  <a:cubicBezTo>
                    <a:pt x="12282" y="13602"/>
                    <a:pt x="12138" y="13202"/>
                    <a:pt x="12022" y="12897"/>
                  </a:cubicBezTo>
                  <a:cubicBezTo>
                    <a:pt x="12022" y="12587"/>
                    <a:pt x="12054" y="12550"/>
                    <a:pt x="12110" y="12812"/>
                  </a:cubicBezTo>
                  <a:cubicBezTo>
                    <a:pt x="12174" y="13075"/>
                    <a:pt x="12445" y="13410"/>
                    <a:pt x="12673" y="13557"/>
                  </a:cubicBezTo>
                  <a:cubicBezTo>
                    <a:pt x="12861" y="13707"/>
                    <a:pt x="13153" y="13824"/>
                    <a:pt x="13276" y="13815"/>
                  </a:cubicBezTo>
                  <a:cubicBezTo>
                    <a:pt x="13400" y="13806"/>
                    <a:pt x="13476" y="13859"/>
                    <a:pt x="13584" y="13913"/>
                  </a:cubicBezTo>
                  <a:cubicBezTo>
                    <a:pt x="13584" y="13974"/>
                    <a:pt x="14015" y="14138"/>
                    <a:pt x="14383" y="14293"/>
                  </a:cubicBezTo>
                  <a:cubicBezTo>
                    <a:pt x="14814" y="14431"/>
                    <a:pt x="15250" y="14477"/>
                    <a:pt x="15473" y="14381"/>
                  </a:cubicBezTo>
                  <a:cubicBezTo>
                    <a:pt x="15593" y="14272"/>
                    <a:pt x="15897" y="14226"/>
                    <a:pt x="15980" y="14250"/>
                  </a:cubicBezTo>
                  <a:cubicBezTo>
                    <a:pt x="16076" y="14271"/>
                    <a:pt x="16152" y="14254"/>
                    <a:pt x="16100" y="14202"/>
                  </a:cubicBezTo>
                  <a:cubicBezTo>
                    <a:pt x="16100" y="14149"/>
                    <a:pt x="16160" y="14105"/>
                    <a:pt x="16248" y="14105"/>
                  </a:cubicBezTo>
                  <a:cubicBezTo>
                    <a:pt x="16340" y="14105"/>
                    <a:pt x="16735" y="14601"/>
                    <a:pt x="17039" y="15209"/>
                  </a:cubicBezTo>
                  <a:cubicBezTo>
                    <a:pt x="17335" y="15815"/>
                    <a:pt x="17730" y="16379"/>
                    <a:pt x="17906" y="16453"/>
                  </a:cubicBezTo>
                  <a:cubicBezTo>
                    <a:pt x="18017" y="16533"/>
                    <a:pt x="18141" y="16692"/>
                    <a:pt x="18141" y="16814"/>
                  </a:cubicBezTo>
                  <a:cubicBezTo>
                    <a:pt x="18141" y="16932"/>
                    <a:pt x="18097" y="17192"/>
                    <a:pt x="18041" y="17392"/>
                  </a:cubicBezTo>
                  <a:cubicBezTo>
                    <a:pt x="17978" y="17590"/>
                    <a:pt x="17969" y="17793"/>
                    <a:pt x="18081" y="17824"/>
                  </a:cubicBezTo>
                  <a:cubicBezTo>
                    <a:pt x="18133" y="17868"/>
                    <a:pt x="18102" y="18109"/>
                    <a:pt x="18102" y="18367"/>
                  </a:cubicBezTo>
                  <a:cubicBezTo>
                    <a:pt x="17985" y="18624"/>
                    <a:pt x="17969" y="18888"/>
                    <a:pt x="18066" y="18935"/>
                  </a:cubicBezTo>
                  <a:cubicBezTo>
                    <a:pt x="18066" y="18989"/>
                    <a:pt x="18257" y="18951"/>
                    <a:pt x="18377" y="18849"/>
                  </a:cubicBezTo>
                  <a:cubicBezTo>
                    <a:pt x="18489" y="18747"/>
                    <a:pt x="18616" y="18606"/>
                    <a:pt x="18673" y="18536"/>
                  </a:cubicBezTo>
                  <a:cubicBezTo>
                    <a:pt x="18673" y="18462"/>
                    <a:pt x="18716" y="18516"/>
                    <a:pt x="18716" y="18655"/>
                  </a:cubicBezTo>
                  <a:cubicBezTo>
                    <a:pt x="18657" y="18794"/>
                    <a:pt x="18589" y="18995"/>
                    <a:pt x="18589" y="19101"/>
                  </a:cubicBezTo>
                  <a:cubicBezTo>
                    <a:pt x="18477" y="19203"/>
                    <a:pt x="18580" y="19366"/>
                    <a:pt x="18641" y="19463"/>
                  </a:cubicBezTo>
                  <a:cubicBezTo>
                    <a:pt x="18768" y="19552"/>
                    <a:pt x="18964" y="19815"/>
                    <a:pt x="19144" y="20041"/>
                  </a:cubicBezTo>
                  <a:cubicBezTo>
                    <a:pt x="19315" y="20267"/>
                    <a:pt x="19619" y="20703"/>
                    <a:pt x="19739" y="21011"/>
                  </a:cubicBezTo>
                  <a:cubicBezTo>
                    <a:pt x="19923" y="21318"/>
                    <a:pt x="20055" y="21564"/>
                    <a:pt x="20055" y="21548"/>
                  </a:cubicBezTo>
                  <a:cubicBezTo>
                    <a:pt x="20055" y="21531"/>
                    <a:pt x="20166" y="21344"/>
                    <a:pt x="20043" y="21129"/>
                  </a:cubicBezTo>
                  <a:cubicBezTo>
                    <a:pt x="20043" y="20912"/>
                    <a:pt x="20003" y="20719"/>
                    <a:pt x="20003" y="20701"/>
                  </a:cubicBezTo>
                  <a:cubicBezTo>
                    <a:pt x="20043" y="20685"/>
                    <a:pt x="20014" y="20619"/>
                    <a:pt x="20014" y="20563"/>
                  </a:cubicBezTo>
                  <a:cubicBezTo>
                    <a:pt x="19955" y="20505"/>
                    <a:pt x="19942" y="20319"/>
                    <a:pt x="20059" y="20155"/>
                  </a:cubicBezTo>
                  <a:close/>
                  <a:moveTo>
                    <a:pt x="20059" y="201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1" name="AutoShape 410"/>
            <p:cNvSpPr>
              <a:spLocks/>
            </p:cNvSpPr>
            <p:nvPr/>
          </p:nvSpPr>
          <p:spPr bwMode="auto">
            <a:xfrm>
              <a:off x="10426700" y="4419600"/>
              <a:ext cx="0" cy="6350"/>
            </a:xfrm>
            <a:custGeom>
              <a:avLst/>
              <a:gdLst/>
              <a:ahLst/>
              <a:cxnLst/>
              <a:rect l="0" t="0" r="r" b="b"/>
              <a:pathLst>
                <a:path w="19498" h="20050">
                  <a:moveTo>
                    <a:pt x="10375" y="19746"/>
                  </a:moveTo>
                  <a:cubicBezTo>
                    <a:pt x="14664" y="18613"/>
                    <a:pt x="19413" y="14708"/>
                    <a:pt x="19413" y="11190"/>
                  </a:cubicBezTo>
                  <a:cubicBezTo>
                    <a:pt x="19413" y="7643"/>
                    <a:pt x="20323" y="3170"/>
                    <a:pt x="16196" y="1613"/>
                  </a:cubicBezTo>
                  <a:cubicBezTo>
                    <a:pt x="13899" y="-119"/>
                    <a:pt x="9159" y="-461"/>
                    <a:pt x="4860" y="611"/>
                  </a:cubicBezTo>
                  <a:cubicBezTo>
                    <a:pt x="418" y="1567"/>
                    <a:pt x="-1277" y="7059"/>
                    <a:pt x="1030" y="12359"/>
                  </a:cubicBezTo>
                  <a:cubicBezTo>
                    <a:pt x="3319" y="17591"/>
                    <a:pt x="8230" y="21139"/>
                    <a:pt x="10375" y="19746"/>
                  </a:cubicBezTo>
                  <a:close/>
                  <a:moveTo>
                    <a:pt x="10375" y="197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2" name="AutoShape 411"/>
            <p:cNvSpPr>
              <a:spLocks/>
            </p:cNvSpPr>
            <p:nvPr/>
          </p:nvSpPr>
          <p:spPr bwMode="auto">
            <a:xfrm>
              <a:off x="10134600" y="4000500"/>
              <a:ext cx="1588" cy="6350"/>
            </a:xfrm>
            <a:custGeom>
              <a:avLst/>
              <a:gdLst/>
              <a:ahLst/>
              <a:cxnLst/>
              <a:rect l="0" t="0" r="r" b="b"/>
              <a:pathLst>
                <a:path w="21600" h="21600">
                  <a:moveTo>
                    <a:pt x="0" y="21600"/>
                  </a:moveTo>
                  <a:cubicBezTo>
                    <a:pt x="2095" y="20869"/>
                    <a:pt x="2525" y="20021"/>
                    <a:pt x="4480" y="19272"/>
                  </a:cubicBezTo>
                  <a:cubicBezTo>
                    <a:pt x="9117" y="16502"/>
                    <a:pt x="17392" y="12523"/>
                    <a:pt x="21600" y="7834"/>
                  </a:cubicBezTo>
                  <a:cubicBezTo>
                    <a:pt x="18786" y="7494"/>
                    <a:pt x="16270" y="5064"/>
                    <a:pt x="12071" y="0"/>
                  </a:cubicBezTo>
                  <a:cubicBezTo>
                    <a:pt x="16270" y="5997"/>
                    <a:pt x="8687" y="15328"/>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3" name="AutoShape 412"/>
            <p:cNvSpPr>
              <a:spLocks/>
            </p:cNvSpPr>
            <p:nvPr/>
          </p:nvSpPr>
          <p:spPr bwMode="auto">
            <a:xfrm>
              <a:off x="10617200" y="4381500"/>
              <a:ext cx="0" cy="3175"/>
            </a:xfrm>
            <a:custGeom>
              <a:avLst/>
              <a:gdLst/>
              <a:ahLst/>
              <a:cxnLst/>
              <a:rect l="0" t="0" r="r" b="b"/>
              <a:pathLst>
                <a:path w="18942" h="20210">
                  <a:moveTo>
                    <a:pt x="9056" y="20210"/>
                  </a:moveTo>
                  <a:cubicBezTo>
                    <a:pt x="13170" y="20210"/>
                    <a:pt x="14713" y="18875"/>
                    <a:pt x="18827" y="16979"/>
                  </a:cubicBezTo>
                  <a:cubicBezTo>
                    <a:pt x="18827" y="14766"/>
                    <a:pt x="19856" y="9239"/>
                    <a:pt x="15742" y="4696"/>
                  </a:cubicBezTo>
                  <a:cubicBezTo>
                    <a:pt x="12142" y="124"/>
                    <a:pt x="4685" y="-1390"/>
                    <a:pt x="4685" y="1406"/>
                  </a:cubicBezTo>
                  <a:cubicBezTo>
                    <a:pt x="-1744" y="3970"/>
                    <a:pt x="313" y="9472"/>
                    <a:pt x="313" y="13080"/>
                  </a:cubicBezTo>
                  <a:cubicBezTo>
                    <a:pt x="313" y="16602"/>
                    <a:pt x="4942" y="19977"/>
                    <a:pt x="9056" y="20210"/>
                  </a:cubicBezTo>
                  <a:close/>
                  <a:moveTo>
                    <a:pt x="9056" y="2021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4" name="AutoShape 413"/>
            <p:cNvSpPr>
              <a:spLocks/>
            </p:cNvSpPr>
            <p:nvPr/>
          </p:nvSpPr>
          <p:spPr bwMode="auto">
            <a:xfrm>
              <a:off x="10617200" y="4152900"/>
              <a:ext cx="1588" cy="6350"/>
            </a:xfrm>
            <a:custGeom>
              <a:avLst/>
              <a:gdLst/>
              <a:ahLst/>
              <a:cxnLst/>
              <a:rect l="0" t="0" r="r" b="b"/>
              <a:pathLst>
                <a:path w="18836" h="20203">
                  <a:moveTo>
                    <a:pt x="10519" y="6025"/>
                  </a:moveTo>
                  <a:cubicBezTo>
                    <a:pt x="6772" y="3446"/>
                    <a:pt x="5423" y="1232"/>
                    <a:pt x="4350" y="1364"/>
                  </a:cubicBezTo>
                  <a:cubicBezTo>
                    <a:pt x="5565" y="1364"/>
                    <a:pt x="2472" y="884"/>
                    <a:pt x="863" y="121"/>
                  </a:cubicBezTo>
                  <a:cubicBezTo>
                    <a:pt x="-1417" y="-454"/>
                    <a:pt x="1542" y="1049"/>
                    <a:pt x="1542" y="3973"/>
                  </a:cubicBezTo>
                  <a:cubicBezTo>
                    <a:pt x="5305" y="6783"/>
                    <a:pt x="5959" y="10585"/>
                    <a:pt x="7702" y="12172"/>
                  </a:cubicBezTo>
                  <a:cubicBezTo>
                    <a:pt x="9588" y="13777"/>
                    <a:pt x="13075" y="16867"/>
                    <a:pt x="15078" y="19115"/>
                  </a:cubicBezTo>
                  <a:cubicBezTo>
                    <a:pt x="19236" y="21146"/>
                    <a:pt x="20183" y="20272"/>
                    <a:pt x="16705" y="17000"/>
                  </a:cubicBezTo>
                  <a:cubicBezTo>
                    <a:pt x="16705" y="13658"/>
                    <a:pt x="10519" y="8767"/>
                    <a:pt x="10519" y="6025"/>
                  </a:cubicBezTo>
                  <a:close/>
                  <a:moveTo>
                    <a:pt x="10519" y="60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5" name="AutoShape 414"/>
            <p:cNvSpPr>
              <a:spLocks/>
            </p:cNvSpPr>
            <p:nvPr/>
          </p:nvSpPr>
          <p:spPr bwMode="auto">
            <a:xfrm>
              <a:off x="9474200" y="3441700"/>
              <a:ext cx="431800" cy="388938"/>
            </a:xfrm>
            <a:custGeom>
              <a:avLst/>
              <a:gdLst/>
              <a:ahLst/>
              <a:cxnLst/>
              <a:rect l="0" t="0" r="r" b="b"/>
              <a:pathLst>
                <a:path w="21592" h="21534">
                  <a:moveTo>
                    <a:pt x="15639" y="20380"/>
                  </a:moveTo>
                  <a:cubicBezTo>
                    <a:pt x="15675" y="20365"/>
                    <a:pt x="15776" y="20385"/>
                    <a:pt x="15858" y="20437"/>
                  </a:cubicBezTo>
                  <a:cubicBezTo>
                    <a:pt x="15946" y="20481"/>
                    <a:pt x="16061" y="20600"/>
                    <a:pt x="16131" y="20679"/>
                  </a:cubicBezTo>
                  <a:cubicBezTo>
                    <a:pt x="16191" y="20767"/>
                    <a:pt x="16298" y="20838"/>
                    <a:pt x="16359" y="20849"/>
                  </a:cubicBezTo>
                  <a:cubicBezTo>
                    <a:pt x="16420" y="20854"/>
                    <a:pt x="16507" y="20808"/>
                    <a:pt x="16546" y="20736"/>
                  </a:cubicBezTo>
                  <a:cubicBezTo>
                    <a:pt x="16586" y="20666"/>
                    <a:pt x="16674" y="20617"/>
                    <a:pt x="16737" y="20626"/>
                  </a:cubicBezTo>
                  <a:cubicBezTo>
                    <a:pt x="16801" y="20636"/>
                    <a:pt x="16926" y="20737"/>
                    <a:pt x="17016" y="20852"/>
                  </a:cubicBezTo>
                  <a:cubicBezTo>
                    <a:pt x="17094" y="20976"/>
                    <a:pt x="17199" y="21137"/>
                    <a:pt x="17227" y="21230"/>
                  </a:cubicBezTo>
                  <a:cubicBezTo>
                    <a:pt x="17247" y="21325"/>
                    <a:pt x="17305" y="21443"/>
                    <a:pt x="17340" y="21496"/>
                  </a:cubicBezTo>
                  <a:cubicBezTo>
                    <a:pt x="17363" y="21559"/>
                    <a:pt x="17421" y="21536"/>
                    <a:pt x="17462" y="21481"/>
                  </a:cubicBezTo>
                  <a:cubicBezTo>
                    <a:pt x="17491" y="21417"/>
                    <a:pt x="17603" y="21355"/>
                    <a:pt x="17705" y="21345"/>
                  </a:cubicBezTo>
                  <a:cubicBezTo>
                    <a:pt x="17808" y="21334"/>
                    <a:pt x="17933" y="21248"/>
                    <a:pt x="17972" y="21148"/>
                  </a:cubicBezTo>
                  <a:cubicBezTo>
                    <a:pt x="18023" y="21058"/>
                    <a:pt x="18060" y="20910"/>
                    <a:pt x="18060" y="20831"/>
                  </a:cubicBezTo>
                  <a:cubicBezTo>
                    <a:pt x="18060" y="20751"/>
                    <a:pt x="18098" y="20632"/>
                    <a:pt x="18142" y="20569"/>
                  </a:cubicBezTo>
                  <a:cubicBezTo>
                    <a:pt x="18180" y="20502"/>
                    <a:pt x="18190" y="20382"/>
                    <a:pt x="18172" y="20292"/>
                  </a:cubicBezTo>
                  <a:cubicBezTo>
                    <a:pt x="18146" y="20205"/>
                    <a:pt x="18216" y="20068"/>
                    <a:pt x="18314" y="19975"/>
                  </a:cubicBezTo>
                  <a:cubicBezTo>
                    <a:pt x="18418" y="19893"/>
                    <a:pt x="18610" y="19792"/>
                    <a:pt x="18745" y="19767"/>
                  </a:cubicBezTo>
                  <a:cubicBezTo>
                    <a:pt x="18879" y="19743"/>
                    <a:pt x="18992" y="19667"/>
                    <a:pt x="19002" y="19607"/>
                  </a:cubicBezTo>
                  <a:cubicBezTo>
                    <a:pt x="19010" y="19547"/>
                    <a:pt x="19053" y="19440"/>
                    <a:pt x="19103" y="19375"/>
                  </a:cubicBezTo>
                  <a:cubicBezTo>
                    <a:pt x="19150" y="19307"/>
                    <a:pt x="19232" y="19244"/>
                    <a:pt x="19288" y="19229"/>
                  </a:cubicBezTo>
                  <a:cubicBezTo>
                    <a:pt x="19340" y="19209"/>
                    <a:pt x="19392" y="19073"/>
                    <a:pt x="19402" y="18912"/>
                  </a:cubicBezTo>
                  <a:cubicBezTo>
                    <a:pt x="19402" y="18859"/>
                    <a:pt x="19406" y="18789"/>
                    <a:pt x="19406" y="18723"/>
                  </a:cubicBezTo>
                  <a:cubicBezTo>
                    <a:pt x="19409" y="18681"/>
                    <a:pt x="19408" y="18638"/>
                    <a:pt x="19408" y="18596"/>
                  </a:cubicBezTo>
                  <a:cubicBezTo>
                    <a:pt x="19407" y="18579"/>
                    <a:pt x="19408" y="18563"/>
                    <a:pt x="19406" y="18547"/>
                  </a:cubicBezTo>
                  <a:cubicBezTo>
                    <a:pt x="19406" y="18471"/>
                    <a:pt x="19400" y="18398"/>
                    <a:pt x="19400" y="18338"/>
                  </a:cubicBezTo>
                  <a:cubicBezTo>
                    <a:pt x="19381" y="18185"/>
                    <a:pt x="19433" y="17943"/>
                    <a:pt x="19505" y="17807"/>
                  </a:cubicBezTo>
                  <a:cubicBezTo>
                    <a:pt x="19570" y="17669"/>
                    <a:pt x="19627" y="17452"/>
                    <a:pt x="19608" y="17325"/>
                  </a:cubicBezTo>
                  <a:cubicBezTo>
                    <a:pt x="19590" y="17198"/>
                    <a:pt x="19556" y="17054"/>
                    <a:pt x="19522" y="17002"/>
                  </a:cubicBezTo>
                  <a:cubicBezTo>
                    <a:pt x="19484" y="16954"/>
                    <a:pt x="19453" y="16850"/>
                    <a:pt x="19453" y="16773"/>
                  </a:cubicBezTo>
                  <a:cubicBezTo>
                    <a:pt x="19453" y="16697"/>
                    <a:pt x="19480" y="16620"/>
                    <a:pt x="19512" y="16597"/>
                  </a:cubicBezTo>
                  <a:cubicBezTo>
                    <a:pt x="19547" y="16582"/>
                    <a:pt x="19597" y="16522"/>
                    <a:pt x="19633" y="16483"/>
                  </a:cubicBezTo>
                  <a:cubicBezTo>
                    <a:pt x="19664" y="16438"/>
                    <a:pt x="19764" y="16385"/>
                    <a:pt x="19851" y="16358"/>
                  </a:cubicBezTo>
                  <a:cubicBezTo>
                    <a:pt x="19938" y="16334"/>
                    <a:pt x="20031" y="16318"/>
                    <a:pt x="20060" y="16322"/>
                  </a:cubicBezTo>
                  <a:cubicBezTo>
                    <a:pt x="20088" y="16329"/>
                    <a:pt x="20182" y="16235"/>
                    <a:pt x="20278" y="16123"/>
                  </a:cubicBezTo>
                  <a:cubicBezTo>
                    <a:pt x="20370" y="16007"/>
                    <a:pt x="20506" y="15886"/>
                    <a:pt x="20582" y="15859"/>
                  </a:cubicBezTo>
                  <a:cubicBezTo>
                    <a:pt x="20660" y="15833"/>
                    <a:pt x="20778" y="15885"/>
                    <a:pt x="20859" y="15965"/>
                  </a:cubicBezTo>
                  <a:cubicBezTo>
                    <a:pt x="20936" y="16050"/>
                    <a:pt x="21054" y="16110"/>
                    <a:pt x="21124" y="16091"/>
                  </a:cubicBezTo>
                  <a:cubicBezTo>
                    <a:pt x="21194" y="16069"/>
                    <a:pt x="21279" y="16096"/>
                    <a:pt x="21304" y="16146"/>
                  </a:cubicBezTo>
                  <a:cubicBezTo>
                    <a:pt x="21316" y="16168"/>
                    <a:pt x="21345" y="16181"/>
                    <a:pt x="21381" y="16188"/>
                  </a:cubicBezTo>
                  <a:cubicBezTo>
                    <a:pt x="21381" y="16187"/>
                    <a:pt x="21382" y="16187"/>
                    <a:pt x="21381" y="16186"/>
                  </a:cubicBezTo>
                  <a:cubicBezTo>
                    <a:pt x="21427" y="16197"/>
                    <a:pt x="21486" y="16192"/>
                    <a:pt x="21545" y="16174"/>
                  </a:cubicBezTo>
                  <a:cubicBezTo>
                    <a:pt x="21558" y="16166"/>
                    <a:pt x="21577" y="16171"/>
                    <a:pt x="21592" y="16167"/>
                  </a:cubicBezTo>
                  <a:cubicBezTo>
                    <a:pt x="21585" y="16167"/>
                    <a:pt x="21575" y="16166"/>
                    <a:pt x="21569" y="16166"/>
                  </a:cubicBezTo>
                  <a:cubicBezTo>
                    <a:pt x="21478" y="16197"/>
                    <a:pt x="21370" y="15992"/>
                    <a:pt x="21324" y="15718"/>
                  </a:cubicBezTo>
                  <a:cubicBezTo>
                    <a:pt x="21286" y="15441"/>
                    <a:pt x="21244" y="15088"/>
                    <a:pt x="21226" y="14933"/>
                  </a:cubicBezTo>
                  <a:cubicBezTo>
                    <a:pt x="21226" y="14777"/>
                    <a:pt x="21085" y="14508"/>
                    <a:pt x="20950" y="14321"/>
                  </a:cubicBezTo>
                  <a:cubicBezTo>
                    <a:pt x="20805" y="14144"/>
                    <a:pt x="20649" y="14000"/>
                    <a:pt x="20597" y="14005"/>
                  </a:cubicBezTo>
                  <a:cubicBezTo>
                    <a:pt x="20543" y="14010"/>
                    <a:pt x="20468" y="13944"/>
                    <a:pt x="20415" y="13862"/>
                  </a:cubicBezTo>
                  <a:cubicBezTo>
                    <a:pt x="20377" y="13772"/>
                    <a:pt x="20174" y="13641"/>
                    <a:pt x="19988" y="13548"/>
                  </a:cubicBezTo>
                  <a:cubicBezTo>
                    <a:pt x="19799" y="13463"/>
                    <a:pt x="19427" y="13129"/>
                    <a:pt x="19167" y="12801"/>
                  </a:cubicBezTo>
                  <a:cubicBezTo>
                    <a:pt x="18905" y="12474"/>
                    <a:pt x="18454" y="12007"/>
                    <a:pt x="18171" y="11754"/>
                  </a:cubicBezTo>
                  <a:cubicBezTo>
                    <a:pt x="18102" y="11697"/>
                    <a:pt x="18028" y="11617"/>
                    <a:pt x="17944" y="11540"/>
                  </a:cubicBezTo>
                  <a:cubicBezTo>
                    <a:pt x="17889" y="11494"/>
                    <a:pt x="17839" y="11431"/>
                    <a:pt x="17785" y="11376"/>
                  </a:cubicBezTo>
                  <a:cubicBezTo>
                    <a:pt x="17755" y="11351"/>
                    <a:pt x="17730" y="11320"/>
                    <a:pt x="17703" y="11290"/>
                  </a:cubicBezTo>
                  <a:cubicBezTo>
                    <a:pt x="17629" y="11203"/>
                    <a:pt x="17549" y="11120"/>
                    <a:pt x="17473" y="11037"/>
                  </a:cubicBezTo>
                  <a:cubicBezTo>
                    <a:pt x="17477" y="11037"/>
                    <a:pt x="17469" y="11028"/>
                    <a:pt x="17465" y="11028"/>
                  </a:cubicBezTo>
                  <a:cubicBezTo>
                    <a:pt x="17388" y="10943"/>
                    <a:pt x="17310" y="10862"/>
                    <a:pt x="17252" y="10776"/>
                  </a:cubicBezTo>
                  <a:cubicBezTo>
                    <a:pt x="17252" y="10775"/>
                    <a:pt x="17252" y="10775"/>
                    <a:pt x="17251" y="10775"/>
                  </a:cubicBezTo>
                  <a:cubicBezTo>
                    <a:pt x="17249" y="10772"/>
                    <a:pt x="17246" y="10769"/>
                    <a:pt x="17244" y="10766"/>
                  </a:cubicBezTo>
                  <a:cubicBezTo>
                    <a:pt x="17221" y="10734"/>
                    <a:pt x="17188" y="10702"/>
                    <a:pt x="17166" y="10672"/>
                  </a:cubicBezTo>
                  <a:cubicBezTo>
                    <a:pt x="16900" y="10326"/>
                    <a:pt x="16466" y="9795"/>
                    <a:pt x="16194" y="9500"/>
                  </a:cubicBezTo>
                  <a:cubicBezTo>
                    <a:pt x="15928" y="9199"/>
                    <a:pt x="15595" y="8855"/>
                    <a:pt x="15459" y="8732"/>
                  </a:cubicBezTo>
                  <a:cubicBezTo>
                    <a:pt x="15325" y="8609"/>
                    <a:pt x="15120" y="8289"/>
                    <a:pt x="15008" y="8016"/>
                  </a:cubicBezTo>
                  <a:cubicBezTo>
                    <a:pt x="14897" y="7744"/>
                    <a:pt x="14773" y="7386"/>
                    <a:pt x="14728" y="7224"/>
                  </a:cubicBezTo>
                  <a:cubicBezTo>
                    <a:pt x="14682" y="7061"/>
                    <a:pt x="14577" y="6845"/>
                    <a:pt x="14497" y="6740"/>
                  </a:cubicBezTo>
                  <a:cubicBezTo>
                    <a:pt x="14408" y="6641"/>
                    <a:pt x="14257" y="6247"/>
                    <a:pt x="14157" y="5873"/>
                  </a:cubicBezTo>
                  <a:cubicBezTo>
                    <a:pt x="14056" y="5498"/>
                    <a:pt x="13832" y="5010"/>
                    <a:pt x="13649" y="4802"/>
                  </a:cubicBezTo>
                  <a:cubicBezTo>
                    <a:pt x="13477" y="4580"/>
                    <a:pt x="13265" y="4376"/>
                    <a:pt x="13185" y="4350"/>
                  </a:cubicBezTo>
                  <a:cubicBezTo>
                    <a:pt x="13108" y="4317"/>
                    <a:pt x="13001" y="4332"/>
                    <a:pt x="12948" y="4381"/>
                  </a:cubicBezTo>
                  <a:cubicBezTo>
                    <a:pt x="12901" y="4438"/>
                    <a:pt x="12653" y="4283"/>
                    <a:pt x="12408" y="4055"/>
                  </a:cubicBezTo>
                  <a:cubicBezTo>
                    <a:pt x="12158" y="3831"/>
                    <a:pt x="11705" y="3390"/>
                    <a:pt x="11389" y="3087"/>
                  </a:cubicBezTo>
                  <a:cubicBezTo>
                    <a:pt x="11073" y="2783"/>
                    <a:pt x="10781" y="2412"/>
                    <a:pt x="10735" y="2266"/>
                  </a:cubicBezTo>
                  <a:cubicBezTo>
                    <a:pt x="10689" y="2119"/>
                    <a:pt x="10446" y="1796"/>
                    <a:pt x="10204" y="1532"/>
                  </a:cubicBezTo>
                  <a:cubicBezTo>
                    <a:pt x="9962" y="1269"/>
                    <a:pt x="9511" y="863"/>
                    <a:pt x="9226" y="600"/>
                  </a:cubicBezTo>
                  <a:cubicBezTo>
                    <a:pt x="8931" y="351"/>
                    <a:pt x="8546" y="83"/>
                    <a:pt x="8359" y="21"/>
                  </a:cubicBezTo>
                  <a:cubicBezTo>
                    <a:pt x="8172" y="-41"/>
                    <a:pt x="8094" y="39"/>
                    <a:pt x="8177" y="206"/>
                  </a:cubicBezTo>
                  <a:cubicBezTo>
                    <a:pt x="8265" y="368"/>
                    <a:pt x="8298" y="531"/>
                    <a:pt x="8258" y="570"/>
                  </a:cubicBezTo>
                  <a:cubicBezTo>
                    <a:pt x="8221" y="610"/>
                    <a:pt x="8090" y="561"/>
                    <a:pt x="7989" y="455"/>
                  </a:cubicBezTo>
                  <a:cubicBezTo>
                    <a:pt x="7880" y="359"/>
                    <a:pt x="7728" y="326"/>
                    <a:pt x="7643" y="388"/>
                  </a:cubicBezTo>
                  <a:cubicBezTo>
                    <a:pt x="7559" y="450"/>
                    <a:pt x="7453" y="616"/>
                    <a:pt x="7406" y="755"/>
                  </a:cubicBezTo>
                  <a:cubicBezTo>
                    <a:pt x="7361" y="896"/>
                    <a:pt x="7221" y="1011"/>
                    <a:pt x="7101" y="1000"/>
                  </a:cubicBezTo>
                  <a:cubicBezTo>
                    <a:pt x="6982" y="991"/>
                    <a:pt x="6824" y="1194"/>
                    <a:pt x="6777" y="1450"/>
                  </a:cubicBezTo>
                  <a:cubicBezTo>
                    <a:pt x="6720" y="1704"/>
                    <a:pt x="6710" y="2098"/>
                    <a:pt x="6766" y="2328"/>
                  </a:cubicBezTo>
                  <a:cubicBezTo>
                    <a:pt x="6822" y="2557"/>
                    <a:pt x="6928" y="2846"/>
                    <a:pt x="7012" y="2965"/>
                  </a:cubicBezTo>
                  <a:cubicBezTo>
                    <a:pt x="7101" y="3078"/>
                    <a:pt x="7140" y="3296"/>
                    <a:pt x="7113" y="3432"/>
                  </a:cubicBezTo>
                  <a:cubicBezTo>
                    <a:pt x="7095" y="3571"/>
                    <a:pt x="6922" y="3620"/>
                    <a:pt x="6747" y="3544"/>
                  </a:cubicBezTo>
                  <a:cubicBezTo>
                    <a:pt x="6571" y="3472"/>
                    <a:pt x="6170" y="3405"/>
                    <a:pt x="5984" y="3395"/>
                  </a:cubicBezTo>
                  <a:cubicBezTo>
                    <a:pt x="5927" y="3392"/>
                    <a:pt x="5865" y="3392"/>
                    <a:pt x="5802" y="3392"/>
                  </a:cubicBezTo>
                  <a:lnTo>
                    <a:pt x="5802" y="3393"/>
                  </a:lnTo>
                  <a:cubicBezTo>
                    <a:pt x="5797" y="3393"/>
                    <a:pt x="5789" y="3392"/>
                    <a:pt x="5781" y="3392"/>
                  </a:cubicBezTo>
                  <a:cubicBezTo>
                    <a:pt x="5717" y="3393"/>
                    <a:pt x="5651" y="3395"/>
                    <a:pt x="5587" y="3398"/>
                  </a:cubicBezTo>
                  <a:cubicBezTo>
                    <a:pt x="5582" y="3398"/>
                    <a:pt x="5578" y="3398"/>
                    <a:pt x="5575" y="3399"/>
                  </a:cubicBezTo>
                  <a:cubicBezTo>
                    <a:pt x="5520" y="3401"/>
                    <a:pt x="5469" y="3405"/>
                    <a:pt x="5421" y="3409"/>
                  </a:cubicBezTo>
                  <a:cubicBezTo>
                    <a:pt x="5405" y="3410"/>
                    <a:pt x="5389" y="3412"/>
                    <a:pt x="5373" y="3413"/>
                  </a:cubicBezTo>
                  <a:cubicBezTo>
                    <a:pt x="5324" y="3418"/>
                    <a:pt x="5277" y="3423"/>
                    <a:pt x="5242" y="3428"/>
                  </a:cubicBezTo>
                  <a:cubicBezTo>
                    <a:pt x="5078" y="3453"/>
                    <a:pt x="4679" y="3055"/>
                    <a:pt x="4365" y="2532"/>
                  </a:cubicBezTo>
                  <a:cubicBezTo>
                    <a:pt x="4037" y="2019"/>
                    <a:pt x="3511" y="1343"/>
                    <a:pt x="3190" y="1034"/>
                  </a:cubicBezTo>
                  <a:cubicBezTo>
                    <a:pt x="2861" y="730"/>
                    <a:pt x="2363" y="386"/>
                    <a:pt x="2080" y="274"/>
                  </a:cubicBezTo>
                  <a:cubicBezTo>
                    <a:pt x="1795" y="162"/>
                    <a:pt x="1398" y="134"/>
                    <a:pt x="1198" y="205"/>
                  </a:cubicBezTo>
                  <a:cubicBezTo>
                    <a:pt x="994" y="272"/>
                    <a:pt x="646" y="593"/>
                    <a:pt x="411" y="898"/>
                  </a:cubicBezTo>
                  <a:cubicBezTo>
                    <a:pt x="181" y="1208"/>
                    <a:pt x="-8" y="1501"/>
                    <a:pt x="1" y="1552"/>
                  </a:cubicBezTo>
                  <a:cubicBezTo>
                    <a:pt x="1" y="1604"/>
                    <a:pt x="73" y="1739"/>
                    <a:pt x="155" y="1844"/>
                  </a:cubicBezTo>
                  <a:cubicBezTo>
                    <a:pt x="237" y="1950"/>
                    <a:pt x="320" y="2126"/>
                    <a:pt x="365" y="2219"/>
                  </a:cubicBezTo>
                  <a:cubicBezTo>
                    <a:pt x="400" y="2318"/>
                    <a:pt x="499" y="2474"/>
                    <a:pt x="580" y="2563"/>
                  </a:cubicBezTo>
                  <a:cubicBezTo>
                    <a:pt x="654" y="2661"/>
                    <a:pt x="752" y="2827"/>
                    <a:pt x="789" y="2943"/>
                  </a:cubicBezTo>
                  <a:cubicBezTo>
                    <a:pt x="817" y="3062"/>
                    <a:pt x="951" y="3341"/>
                    <a:pt x="1063" y="3572"/>
                  </a:cubicBezTo>
                  <a:cubicBezTo>
                    <a:pt x="1175" y="3804"/>
                    <a:pt x="1271" y="4141"/>
                    <a:pt x="1271" y="4327"/>
                  </a:cubicBezTo>
                  <a:cubicBezTo>
                    <a:pt x="1262" y="4512"/>
                    <a:pt x="1234" y="4766"/>
                    <a:pt x="1196" y="4892"/>
                  </a:cubicBezTo>
                  <a:cubicBezTo>
                    <a:pt x="1143" y="5012"/>
                    <a:pt x="1166" y="5387"/>
                    <a:pt x="1211" y="5713"/>
                  </a:cubicBezTo>
                  <a:cubicBezTo>
                    <a:pt x="1266" y="6038"/>
                    <a:pt x="1352" y="6390"/>
                    <a:pt x="1408" y="6497"/>
                  </a:cubicBezTo>
                  <a:cubicBezTo>
                    <a:pt x="1462" y="6603"/>
                    <a:pt x="1535" y="6770"/>
                    <a:pt x="1570" y="6870"/>
                  </a:cubicBezTo>
                  <a:cubicBezTo>
                    <a:pt x="1597" y="6972"/>
                    <a:pt x="1765" y="7239"/>
                    <a:pt x="1933" y="7471"/>
                  </a:cubicBezTo>
                  <a:cubicBezTo>
                    <a:pt x="2094" y="7708"/>
                    <a:pt x="2236" y="7816"/>
                    <a:pt x="2209" y="7736"/>
                  </a:cubicBezTo>
                  <a:cubicBezTo>
                    <a:pt x="2191" y="7651"/>
                    <a:pt x="2136" y="7509"/>
                    <a:pt x="2080" y="7426"/>
                  </a:cubicBezTo>
                  <a:cubicBezTo>
                    <a:pt x="2030" y="7338"/>
                    <a:pt x="2002" y="7241"/>
                    <a:pt x="2022" y="7203"/>
                  </a:cubicBezTo>
                  <a:cubicBezTo>
                    <a:pt x="2046" y="7167"/>
                    <a:pt x="2167" y="7175"/>
                    <a:pt x="2296" y="7226"/>
                  </a:cubicBezTo>
                  <a:cubicBezTo>
                    <a:pt x="2426" y="7278"/>
                    <a:pt x="2576" y="7276"/>
                    <a:pt x="2630" y="7226"/>
                  </a:cubicBezTo>
                  <a:cubicBezTo>
                    <a:pt x="2676" y="7168"/>
                    <a:pt x="2759" y="7175"/>
                    <a:pt x="2796" y="7227"/>
                  </a:cubicBezTo>
                  <a:cubicBezTo>
                    <a:pt x="2837" y="7277"/>
                    <a:pt x="2859" y="7424"/>
                    <a:pt x="2849" y="7549"/>
                  </a:cubicBezTo>
                  <a:cubicBezTo>
                    <a:pt x="2832" y="7674"/>
                    <a:pt x="2859" y="7891"/>
                    <a:pt x="2897" y="8028"/>
                  </a:cubicBezTo>
                  <a:cubicBezTo>
                    <a:pt x="2925" y="8168"/>
                    <a:pt x="3003" y="8258"/>
                    <a:pt x="3054" y="8234"/>
                  </a:cubicBezTo>
                  <a:cubicBezTo>
                    <a:pt x="3105" y="8212"/>
                    <a:pt x="3189" y="8293"/>
                    <a:pt x="3263" y="8406"/>
                  </a:cubicBezTo>
                  <a:cubicBezTo>
                    <a:pt x="3328" y="8525"/>
                    <a:pt x="3371" y="8665"/>
                    <a:pt x="3344" y="8708"/>
                  </a:cubicBezTo>
                  <a:cubicBezTo>
                    <a:pt x="3334" y="8759"/>
                    <a:pt x="3247" y="8761"/>
                    <a:pt x="3175" y="8716"/>
                  </a:cubicBezTo>
                  <a:cubicBezTo>
                    <a:pt x="3100" y="8674"/>
                    <a:pt x="3001" y="8648"/>
                    <a:pt x="2953" y="8658"/>
                  </a:cubicBezTo>
                  <a:cubicBezTo>
                    <a:pt x="2906" y="8671"/>
                    <a:pt x="2828" y="8636"/>
                    <a:pt x="2789" y="8577"/>
                  </a:cubicBezTo>
                  <a:cubicBezTo>
                    <a:pt x="2750" y="8518"/>
                    <a:pt x="2650" y="8540"/>
                    <a:pt x="2583" y="8630"/>
                  </a:cubicBezTo>
                  <a:cubicBezTo>
                    <a:pt x="2511" y="8714"/>
                    <a:pt x="2464" y="8881"/>
                    <a:pt x="2482" y="8997"/>
                  </a:cubicBezTo>
                  <a:cubicBezTo>
                    <a:pt x="2509" y="9112"/>
                    <a:pt x="2557" y="9303"/>
                    <a:pt x="2613" y="9416"/>
                  </a:cubicBezTo>
                  <a:cubicBezTo>
                    <a:pt x="2667" y="9530"/>
                    <a:pt x="2692" y="9500"/>
                    <a:pt x="2675" y="9350"/>
                  </a:cubicBezTo>
                  <a:cubicBezTo>
                    <a:pt x="2648" y="9201"/>
                    <a:pt x="2673" y="9063"/>
                    <a:pt x="2721" y="9057"/>
                  </a:cubicBezTo>
                  <a:cubicBezTo>
                    <a:pt x="2770" y="9047"/>
                    <a:pt x="2845" y="9073"/>
                    <a:pt x="2884" y="9121"/>
                  </a:cubicBezTo>
                  <a:cubicBezTo>
                    <a:pt x="2922" y="9170"/>
                    <a:pt x="3012" y="9224"/>
                    <a:pt x="3077" y="9250"/>
                  </a:cubicBezTo>
                  <a:cubicBezTo>
                    <a:pt x="3143" y="9273"/>
                    <a:pt x="3243" y="9397"/>
                    <a:pt x="3300" y="9523"/>
                  </a:cubicBezTo>
                  <a:cubicBezTo>
                    <a:pt x="3357" y="9650"/>
                    <a:pt x="3502" y="9842"/>
                    <a:pt x="3625" y="9943"/>
                  </a:cubicBezTo>
                  <a:cubicBezTo>
                    <a:pt x="3740" y="10055"/>
                    <a:pt x="3871" y="10244"/>
                    <a:pt x="3915" y="10376"/>
                  </a:cubicBezTo>
                  <a:cubicBezTo>
                    <a:pt x="3944" y="10514"/>
                    <a:pt x="3990" y="10771"/>
                    <a:pt x="4008" y="10956"/>
                  </a:cubicBezTo>
                  <a:cubicBezTo>
                    <a:pt x="4027" y="11140"/>
                    <a:pt x="4051" y="11377"/>
                    <a:pt x="4070" y="11480"/>
                  </a:cubicBezTo>
                  <a:cubicBezTo>
                    <a:pt x="4089" y="11585"/>
                    <a:pt x="4128" y="11938"/>
                    <a:pt x="4146" y="12267"/>
                  </a:cubicBezTo>
                  <a:cubicBezTo>
                    <a:pt x="4165" y="12596"/>
                    <a:pt x="4233" y="13056"/>
                    <a:pt x="4289" y="13290"/>
                  </a:cubicBezTo>
                  <a:cubicBezTo>
                    <a:pt x="4361" y="13518"/>
                    <a:pt x="4488" y="13981"/>
                    <a:pt x="4582" y="14316"/>
                  </a:cubicBezTo>
                  <a:cubicBezTo>
                    <a:pt x="4692" y="14644"/>
                    <a:pt x="4840" y="14867"/>
                    <a:pt x="4918" y="14797"/>
                  </a:cubicBezTo>
                  <a:cubicBezTo>
                    <a:pt x="4998" y="14730"/>
                    <a:pt x="5234" y="14684"/>
                    <a:pt x="5440" y="14695"/>
                  </a:cubicBezTo>
                  <a:cubicBezTo>
                    <a:pt x="5645" y="14705"/>
                    <a:pt x="5834" y="14574"/>
                    <a:pt x="5852" y="14407"/>
                  </a:cubicBezTo>
                  <a:cubicBezTo>
                    <a:pt x="5871" y="14240"/>
                    <a:pt x="5940" y="14027"/>
                    <a:pt x="5976" y="13924"/>
                  </a:cubicBezTo>
                  <a:cubicBezTo>
                    <a:pt x="6023" y="13826"/>
                    <a:pt x="6115" y="13739"/>
                    <a:pt x="6184" y="13744"/>
                  </a:cubicBezTo>
                  <a:cubicBezTo>
                    <a:pt x="6252" y="13744"/>
                    <a:pt x="6440" y="13583"/>
                    <a:pt x="6589" y="13377"/>
                  </a:cubicBezTo>
                  <a:cubicBezTo>
                    <a:pt x="6747" y="13177"/>
                    <a:pt x="7011" y="12989"/>
                    <a:pt x="7181" y="12963"/>
                  </a:cubicBezTo>
                  <a:cubicBezTo>
                    <a:pt x="7352" y="12942"/>
                    <a:pt x="7621" y="12973"/>
                    <a:pt x="7778" y="13049"/>
                  </a:cubicBezTo>
                  <a:cubicBezTo>
                    <a:pt x="7937" y="13117"/>
                    <a:pt x="8074" y="13061"/>
                    <a:pt x="8093" y="12914"/>
                  </a:cubicBezTo>
                  <a:cubicBezTo>
                    <a:pt x="8112" y="12767"/>
                    <a:pt x="8188" y="12629"/>
                    <a:pt x="8267" y="12610"/>
                  </a:cubicBezTo>
                  <a:cubicBezTo>
                    <a:pt x="8346" y="12590"/>
                    <a:pt x="8479" y="12624"/>
                    <a:pt x="8561" y="12686"/>
                  </a:cubicBezTo>
                  <a:cubicBezTo>
                    <a:pt x="8644" y="12751"/>
                    <a:pt x="8786" y="12810"/>
                    <a:pt x="8876" y="12815"/>
                  </a:cubicBezTo>
                  <a:cubicBezTo>
                    <a:pt x="8965" y="12820"/>
                    <a:pt x="9165" y="13003"/>
                    <a:pt x="9330" y="13203"/>
                  </a:cubicBezTo>
                  <a:cubicBezTo>
                    <a:pt x="9488" y="13408"/>
                    <a:pt x="9726" y="13631"/>
                    <a:pt x="9853" y="13707"/>
                  </a:cubicBezTo>
                  <a:cubicBezTo>
                    <a:pt x="9980" y="13782"/>
                    <a:pt x="10291" y="14058"/>
                    <a:pt x="10542" y="14325"/>
                  </a:cubicBezTo>
                  <a:cubicBezTo>
                    <a:pt x="10790" y="14594"/>
                    <a:pt x="11047" y="14819"/>
                    <a:pt x="11108" y="14819"/>
                  </a:cubicBezTo>
                  <a:cubicBezTo>
                    <a:pt x="11170" y="14825"/>
                    <a:pt x="11266" y="14778"/>
                    <a:pt x="11324" y="14720"/>
                  </a:cubicBezTo>
                  <a:cubicBezTo>
                    <a:pt x="11384" y="14664"/>
                    <a:pt x="11563" y="14717"/>
                    <a:pt x="11728" y="14845"/>
                  </a:cubicBezTo>
                  <a:cubicBezTo>
                    <a:pt x="11897" y="14968"/>
                    <a:pt x="12101" y="15097"/>
                    <a:pt x="12179" y="15140"/>
                  </a:cubicBezTo>
                  <a:cubicBezTo>
                    <a:pt x="12262" y="15176"/>
                    <a:pt x="12361" y="15359"/>
                    <a:pt x="12400" y="15548"/>
                  </a:cubicBezTo>
                  <a:cubicBezTo>
                    <a:pt x="12435" y="15738"/>
                    <a:pt x="12494" y="15942"/>
                    <a:pt x="12540" y="15985"/>
                  </a:cubicBezTo>
                  <a:cubicBezTo>
                    <a:pt x="12576" y="16040"/>
                    <a:pt x="12676" y="16061"/>
                    <a:pt x="12754" y="16041"/>
                  </a:cubicBezTo>
                  <a:cubicBezTo>
                    <a:pt x="12831" y="16020"/>
                    <a:pt x="13021" y="16058"/>
                    <a:pt x="13164" y="16143"/>
                  </a:cubicBezTo>
                  <a:cubicBezTo>
                    <a:pt x="13310" y="16224"/>
                    <a:pt x="13579" y="16590"/>
                    <a:pt x="13764" y="16964"/>
                  </a:cubicBezTo>
                  <a:cubicBezTo>
                    <a:pt x="13947" y="17339"/>
                    <a:pt x="14233" y="17681"/>
                    <a:pt x="14400" y="17732"/>
                  </a:cubicBezTo>
                  <a:cubicBezTo>
                    <a:pt x="14568" y="17779"/>
                    <a:pt x="14786" y="17885"/>
                    <a:pt x="14886" y="17966"/>
                  </a:cubicBezTo>
                  <a:cubicBezTo>
                    <a:pt x="14989" y="18044"/>
                    <a:pt x="15135" y="18262"/>
                    <a:pt x="15200" y="18450"/>
                  </a:cubicBezTo>
                  <a:cubicBezTo>
                    <a:pt x="15280" y="18632"/>
                    <a:pt x="15307" y="18858"/>
                    <a:pt x="15298" y="18951"/>
                  </a:cubicBezTo>
                  <a:cubicBezTo>
                    <a:pt x="15265" y="19037"/>
                    <a:pt x="15305" y="19244"/>
                    <a:pt x="15342" y="19404"/>
                  </a:cubicBezTo>
                  <a:cubicBezTo>
                    <a:pt x="15389" y="19563"/>
                    <a:pt x="15412" y="19772"/>
                    <a:pt x="15430" y="19864"/>
                  </a:cubicBezTo>
                  <a:cubicBezTo>
                    <a:pt x="15439" y="19959"/>
                    <a:pt x="15478" y="20117"/>
                    <a:pt x="15507" y="20224"/>
                  </a:cubicBezTo>
                  <a:cubicBezTo>
                    <a:pt x="15544" y="20327"/>
                    <a:pt x="15606" y="20399"/>
                    <a:pt x="15639" y="20380"/>
                  </a:cubicBezTo>
                  <a:close/>
                  <a:moveTo>
                    <a:pt x="15639" y="203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6" name="AutoShape 415"/>
            <p:cNvSpPr>
              <a:spLocks/>
            </p:cNvSpPr>
            <p:nvPr/>
          </p:nvSpPr>
          <p:spPr bwMode="auto">
            <a:xfrm>
              <a:off x="10629900" y="4305300"/>
              <a:ext cx="0" cy="6350"/>
            </a:xfrm>
            <a:custGeom>
              <a:avLst/>
              <a:gdLst/>
              <a:ahLst/>
              <a:cxnLst/>
              <a:rect l="0" t="0" r="r" b="b"/>
              <a:pathLst>
                <a:path w="18683" h="20430">
                  <a:moveTo>
                    <a:pt x="15358" y="20348"/>
                  </a:moveTo>
                  <a:cubicBezTo>
                    <a:pt x="19962" y="19624"/>
                    <a:pt x="18443" y="15991"/>
                    <a:pt x="18443" y="12456"/>
                  </a:cubicBezTo>
                  <a:cubicBezTo>
                    <a:pt x="12658" y="8957"/>
                    <a:pt x="17286" y="4370"/>
                    <a:pt x="11476" y="2420"/>
                  </a:cubicBezTo>
                  <a:cubicBezTo>
                    <a:pt x="5305" y="529"/>
                    <a:pt x="3039" y="-563"/>
                    <a:pt x="3039" y="298"/>
                  </a:cubicBezTo>
                  <a:cubicBezTo>
                    <a:pt x="-1638" y="1007"/>
                    <a:pt x="-842" y="6338"/>
                    <a:pt x="4919" y="11787"/>
                  </a:cubicBezTo>
                  <a:cubicBezTo>
                    <a:pt x="4919" y="17311"/>
                    <a:pt x="10343" y="21037"/>
                    <a:pt x="15358" y="20348"/>
                  </a:cubicBezTo>
                  <a:close/>
                  <a:moveTo>
                    <a:pt x="15358" y="203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7" name="AutoShape 416"/>
            <p:cNvSpPr>
              <a:spLocks/>
            </p:cNvSpPr>
            <p:nvPr/>
          </p:nvSpPr>
          <p:spPr bwMode="auto">
            <a:xfrm>
              <a:off x="10629900" y="4318000"/>
              <a:ext cx="3175" cy="119063"/>
            </a:xfrm>
            <a:custGeom>
              <a:avLst/>
              <a:gdLst/>
              <a:ahLst/>
              <a:cxnLst/>
              <a:rect l="0" t="0" r="r" b="b"/>
              <a:pathLst>
                <a:path w="21600" h="21513">
                  <a:moveTo>
                    <a:pt x="1143" y="11573"/>
                  </a:moveTo>
                  <a:cubicBezTo>
                    <a:pt x="1143" y="12125"/>
                    <a:pt x="2117" y="13045"/>
                    <a:pt x="2117" y="13621"/>
                  </a:cubicBezTo>
                  <a:cubicBezTo>
                    <a:pt x="2117" y="14193"/>
                    <a:pt x="2633" y="14740"/>
                    <a:pt x="3378" y="14833"/>
                  </a:cubicBezTo>
                  <a:cubicBezTo>
                    <a:pt x="3378" y="14925"/>
                    <a:pt x="4463" y="15136"/>
                    <a:pt x="4463" y="15301"/>
                  </a:cubicBezTo>
                  <a:cubicBezTo>
                    <a:pt x="4463" y="15465"/>
                    <a:pt x="4410" y="15613"/>
                    <a:pt x="4410" y="15634"/>
                  </a:cubicBezTo>
                  <a:cubicBezTo>
                    <a:pt x="3947" y="15643"/>
                    <a:pt x="4123" y="15813"/>
                    <a:pt x="4123" y="15988"/>
                  </a:cubicBezTo>
                  <a:cubicBezTo>
                    <a:pt x="4123" y="16160"/>
                    <a:pt x="5040" y="16493"/>
                    <a:pt x="5040" y="16733"/>
                  </a:cubicBezTo>
                  <a:cubicBezTo>
                    <a:pt x="5040" y="16970"/>
                    <a:pt x="6699" y="17192"/>
                    <a:pt x="6699" y="17237"/>
                  </a:cubicBezTo>
                  <a:cubicBezTo>
                    <a:pt x="6699" y="17285"/>
                    <a:pt x="7734" y="17464"/>
                    <a:pt x="7734" y="17650"/>
                  </a:cubicBezTo>
                  <a:cubicBezTo>
                    <a:pt x="7734" y="17835"/>
                    <a:pt x="8418" y="18104"/>
                    <a:pt x="10026" y="18230"/>
                  </a:cubicBezTo>
                  <a:cubicBezTo>
                    <a:pt x="11001" y="18364"/>
                    <a:pt x="13121" y="18723"/>
                    <a:pt x="13121" y="19031"/>
                  </a:cubicBezTo>
                  <a:cubicBezTo>
                    <a:pt x="13121" y="19340"/>
                    <a:pt x="14096" y="19855"/>
                    <a:pt x="14096" y="20181"/>
                  </a:cubicBezTo>
                  <a:cubicBezTo>
                    <a:pt x="14096" y="20507"/>
                    <a:pt x="14153" y="20964"/>
                    <a:pt x="14153" y="21200"/>
                  </a:cubicBezTo>
                  <a:cubicBezTo>
                    <a:pt x="14153" y="21435"/>
                    <a:pt x="14554" y="21566"/>
                    <a:pt x="15299" y="21494"/>
                  </a:cubicBezTo>
                  <a:cubicBezTo>
                    <a:pt x="16101" y="21429"/>
                    <a:pt x="16503" y="21427"/>
                    <a:pt x="17187" y="21496"/>
                  </a:cubicBezTo>
                  <a:cubicBezTo>
                    <a:pt x="18107" y="21565"/>
                    <a:pt x="17875" y="21393"/>
                    <a:pt x="17875" y="21111"/>
                  </a:cubicBezTo>
                  <a:cubicBezTo>
                    <a:pt x="17875" y="20825"/>
                    <a:pt x="17019" y="20317"/>
                    <a:pt x="17875" y="19985"/>
                  </a:cubicBezTo>
                  <a:cubicBezTo>
                    <a:pt x="17875" y="19646"/>
                    <a:pt x="17362" y="19031"/>
                    <a:pt x="17362" y="18615"/>
                  </a:cubicBezTo>
                  <a:cubicBezTo>
                    <a:pt x="16503" y="18198"/>
                    <a:pt x="17592" y="17598"/>
                    <a:pt x="17592" y="17285"/>
                  </a:cubicBezTo>
                  <a:cubicBezTo>
                    <a:pt x="17592" y="16972"/>
                    <a:pt x="18337" y="16275"/>
                    <a:pt x="20056" y="15743"/>
                  </a:cubicBezTo>
                  <a:cubicBezTo>
                    <a:pt x="20056" y="15207"/>
                    <a:pt x="21313" y="14492"/>
                    <a:pt x="21313" y="14148"/>
                  </a:cubicBezTo>
                  <a:cubicBezTo>
                    <a:pt x="21313" y="13801"/>
                    <a:pt x="20801" y="13435"/>
                    <a:pt x="21600" y="13339"/>
                  </a:cubicBezTo>
                  <a:cubicBezTo>
                    <a:pt x="20855" y="13243"/>
                    <a:pt x="21371" y="13116"/>
                    <a:pt x="21371" y="13062"/>
                  </a:cubicBezTo>
                  <a:cubicBezTo>
                    <a:pt x="20744" y="13013"/>
                    <a:pt x="20744" y="12527"/>
                    <a:pt x="20744" y="11992"/>
                  </a:cubicBezTo>
                  <a:cubicBezTo>
                    <a:pt x="20744" y="11456"/>
                    <a:pt x="20626" y="10713"/>
                    <a:pt x="20626" y="10337"/>
                  </a:cubicBezTo>
                  <a:cubicBezTo>
                    <a:pt x="19770" y="9964"/>
                    <a:pt x="19827" y="9324"/>
                    <a:pt x="19827" y="8919"/>
                  </a:cubicBezTo>
                  <a:cubicBezTo>
                    <a:pt x="18967" y="8515"/>
                    <a:pt x="19651" y="7943"/>
                    <a:pt x="19651" y="7652"/>
                  </a:cubicBezTo>
                  <a:cubicBezTo>
                    <a:pt x="19651" y="7361"/>
                    <a:pt x="20457" y="6529"/>
                    <a:pt x="19594" y="5804"/>
                  </a:cubicBezTo>
                  <a:cubicBezTo>
                    <a:pt x="19594" y="5077"/>
                    <a:pt x="19082" y="4179"/>
                    <a:pt x="19082" y="3808"/>
                  </a:cubicBezTo>
                  <a:cubicBezTo>
                    <a:pt x="19082" y="3436"/>
                    <a:pt x="19483" y="3119"/>
                    <a:pt x="19483" y="3100"/>
                  </a:cubicBezTo>
                  <a:cubicBezTo>
                    <a:pt x="19483" y="3079"/>
                    <a:pt x="19365" y="2867"/>
                    <a:pt x="19365" y="2622"/>
                  </a:cubicBezTo>
                  <a:cubicBezTo>
                    <a:pt x="19365" y="2379"/>
                    <a:pt x="17473" y="2026"/>
                    <a:pt x="17473" y="1837"/>
                  </a:cubicBezTo>
                  <a:cubicBezTo>
                    <a:pt x="15926" y="1655"/>
                    <a:pt x="15926" y="1487"/>
                    <a:pt x="15697" y="1487"/>
                  </a:cubicBezTo>
                  <a:cubicBezTo>
                    <a:pt x="15414" y="1487"/>
                    <a:pt x="14096" y="1223"/>
                    <a:pt x="14096" y="905"/>
                  </a:cubicBezTo>
                  <a:cubicBezTo>
                    <a:pt x="13232" y="588"/>
                    <a:pt x="12208" y="227"/>
                    <a:pt x="11341" y="106"/>
                  </a:cubicBezTo>
                  <a:cubicBezTo>
                    <a:pt x="10427" y="-16"/>
                    <a:pt x="9625" y="-34"/>
                    <a:pt x="8937" y="61"/>
                  </a:cubicBezTo>
                  <a:cubicBezTo>
                    <a:pt x="8192" y="152"/>
                    <a:pt x="8647" y="392"/>
                    <a:pt x="8647" y="586"/>
                  </a:cubicBezTo>
                  <a:cubicBezTo>
                    <a:pt x="8647" y="780"/>
                    <a:pt x="9335" y="1023"/>
                    <a:pt x="7963" y="1091"/>
                  </a:cubicBezTo>
                  <a:cubicBezTo>
                    <a:pt x="7963" y="1178"/>
                    <a:pt x="5842" y="1517"/>
                    <a:pt x="5842" y="1856"/>
                  </a:cubicBezTo>
                  <a:cubicBezTo>
                    <a:pt x="4979" y="2193"/>
                    <a:pt x="4811" y="2865"/>
                    <a:pt x="3947" y="3344"/>
                  </a:cubicBezTo>
                  <a:cubicBezTo>
                    <a:pt x="3947" y="3827"/>
                    <a:pt x="3664" y="4332"/>
                    <a:pt x="3664" y="4464"/>
                  </a:cubicBezTo>
                  <a:cubicBezTo>
                    <a:pt x="3664" y="4599"/>
                    <a:pt x="4066" y="4867"/>
                    <a:pt x="4066" y="5060"/>
                  </a:cubicBezTo>
                  <a:cubicBezTo>
                    <a:pt x="4066" y="5252"/>
                    <a:pt x="3550" y="5499"/>
                    <a:pt x="3550" y="5607"/>
                  </a:cubicBezTo>
                  <a:cubicBezTo>
                    <a:pt x="3550" y="5718"/>
                    <a:pt x="2919" y="6244"/>
                    <a:pt x="2056" y="6780"/>
                  </a:cubicBezTo>
                  <a:cubicBezTo>
                    <a:pt x="2056" y="7314"/>
                    <a:pt x="741" y="8210"/>
                    <a:pt x="741" y="8768"/>
                  </a:cubicBezTo>
                  <a:cubicBezTo>
                    <a:pt x="741" y="9327"/>
                    <a:pt x="0" y="9852"/>
                    <a:pt x="0" y="9932"/>
                  </a:cubicBezTo>
                  <a:cubicBezTo>
                    <a:pt x="0" y="10010"/>
                    <a:pt x="107" y="10188"/>
                    <a:pt x="107" y="10323"/>
                  </a:cubicBezTo>
                  <a:cubicBezTo>
                    <a:pt x="107" y="10457"/>
                    <a:pt x="279" y="11021"/>
                    <a:pt x="1143" y="11573"/>
                  </a:cubicBezTo>
                  <a:close/>
                  <a:moveTo>
                    <a:pt x="1143" y="115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8" name="AutoShape 417"/>
            <p:cNvSpPr>
              <a:spLocks/>
            </p:cNvSpPr>
            <p:nvPr/>
          </p:nvSpPr>
          <p:spPr bwMode="auto">
            <a:xfrm>
              <a:off x="10579100" y="4495800"/>
              <a:ext cx="12700" cy="63500"/>
            </a:xfrm>
            <a:custGeom>
              <a:avLst/>
              <a:gdLst/>
              <a:ahLst/>
              <a:cxnLst/>
              <a:rect l="0" t="0" r="r" b="b"/>
              <a:pathLst>
                <a:path w="21336" h="21418">
                  <a:moveTo>
                    <a:pt x="296" y="12838"/>
                  </a:moveTo>
                  <a:cubicBezTo>
                    <a:pt x="296" y="13911"/>
                    <a:pt x="296" y="15228"/>
                    <a:pt x="566" y="15778"/>
                  </a:cubicBezTo>
                  <a:cubicBezTo>
                    <a:pt x="566" y="16327"/>
                    <a:pt x="857" y="17039"/>
                    <a:pt x="857" y="17365"/>
                  </a:cubicBezTo>
                  <a:cubicBezTo>
                    <a:pt x="857" y="17697"/>
                    <a:pt x="894" y="18331"/>
                    <a:pt x="1474" y="18761"/>
                  </a:cubicBezTo>
                  <a:cubicBezTo>
                    <a:pt x="1765" y="19209"/>
                    <a:pt x="2673" y="19532"/>
                    <a:pt x="3212" y="19532"/>
                  </a:cubicBezTo>
                  <a:cubicBezTo>
                    <a:pt x="3695" y="19481"/>
                    <a:pt x="4449" y="19746"/>
                    <a:pt x="4758" y="20043"/>
                  </a:cubicBezTo>
                  <a:cubicBezTo>
                    <a:pt x="5049" y="20341"/>
                    <a:pt x="5629" y="20562"/>
                    <a:pt x="5995" y="20524"/>
                  </a:cubicBezTo>
                  <a:cubicBezTo>
                    <a:pt x="6382" y="20503"/>
                    <a:pt x="7405" y="20721"/>
                    <a:pt x="7405" y="21066"/>
                  </a:cubicBezTo>
                  <a:cubicBezTo>
                    <a:pt x="7928" y="21398"/>
                    <a:pt x="8449" y="21520"/>
                    <a:pt x="8759" y="21325"/>
                  </a:cubicBezTo>
                  <a:cubicBezTo>
                    <a:pt x="9047" y="21126"/>
                    <a:pt x="9395" y="20551"/>
                    <a:pt x="9686" y="20037"/>
                  </a:cubicBezTo>
                  <a:cubicBezTo>
                    <a:pt x="9686" y="19518"/>
                    <a:pt x="10284" y="19012"/>
                    <a:pt x="10768" y="18935"/>
                  </a:cubicBezTo>
                  <a:cubicBezTo>
                    <a:pt x="11114" y="18827"/>
                    <a:pt x="11694" y="18885"/>
                    <a:pt x="12217" y="18968"/>
                  </a:cubicBezTo>
                  <a:cubicBezTo>
                    <a:pt x="12699" y="19047"/>
                    <a:pt x="13259" y="18792"/>
                    <a:pt x="13569" y="18327"/>
                  </a:cubicBezTo>
                  <a:cubicBezTo>
                    <a:pt x="14110" y="17879"/>
                    <a:pt x="14341" y="17232"/>
                    <a:pt x="14341" y="16904"/>
                  </a:cubicBezTo>
                  <a:cubicBezTo>
                    <a:pt x="14632" y="16593"/>
                    <a:pt x="14998" y="16242"/>
                    <a:pt x="15326" y="16108"/>
                  </a:cubicBezTo>
                  <a:cubicBezTo>
                    <a:pt x="15617" y="15973"/>
                    <a:pt x="16603" y="15545"/>
                    <a:pt x="16873" y="15103"/>
                  </a:cubicBezTo>
                  <a:cubicBezTo>
                    <a:pt x="17433" y="14682"/>
                    <a:pt x="17530" y="13915"/>
                    <a:pt x="17530" y="13437"/>
                  </a:cubicBezTo>
                  <a:cubicBezTo>
                    <a:pt x="17530" y="12954"/>
                    <a:pt x="17782" y="11838"/>
                    <a:pt x="18071" y="10957"/>
                  </a:cubicBezTo>
                  <a:cubicBezTo>
                    <a:pt x="18341" y="10079"/>
                    <a:pt x="18845" y="9171"/>
                    <a:pt x="19134" y="8953"/>
                  </a:cubicBezTo>
                  <a:cubicBezTo>
                    <a:pt x="19385" y="8722"/>
                    <a:pt x="19559" y="8195"/>
                    <a:pt x="19847" y="7791"/>
                  </a:cubicBezTo>
                  <a:cubicBezTo>
                    <a:pt x="20138" y="7384"/>
                    <a:pt x="20293" y="6476"/>
                    <a:pt x="20852" y="5785"/>
                  </a:cubicBezTo>
                  <a:cubicBezTo>
                    <a:pt x="21394" y="5094"/>
                    <a:pt x="21335" y="3924"/>
                    <a:pt x="21335" y="3206"/>
                  </a:cubicBezTo>
                  <a:cubicBezTo>
                    <a:pt x="21335" y="2476"/>
                    <a:pt x="20755" y="1574"/>
                    <a:pt x="20215" y="1198"/>
                  </a:cubicBezTo>
                  <a:cubicBezTo>
                    <a:pt x="19906" y="812"/>
                    <a:pt x="18456" y="362"/>
                    <a:pt x="18456" y="129"/>
                  </a:cubicBezTo>
                  <a:cubicBezTo>
                    <a:pt x="17897" y="-80"/>
                    <a:pt x="17144" y="-34"/>
                    <a:pt x="16873" y="260"/>
                  </a:cubicBezTo>
                  <a:cubicBezTo>
                    <a:pt x="16563" y="559"/>
                    <a:pt x="16060" y="592"/>
                    <a:pt x="15772" y="364"/>
                  </a:cubicBezTo>
                  <a:cubicBezTo>
                    <a:pt x="15463" y="136"/>
                    <a:pt x="14747" y="26"/>
                    <a:pt x="14400" y="173"/>
                  </a:cubicBezTo>
                  <a:cubicBezTo>
                    <a:pt x="13761" y="277"/>
                    <a:pt x="13028" y="364"/>
                    <a:pt x="13028" y="267"/>
                  </a:cubicBezTo>
                  <a:cubicBezTo>
                    <a:pt x="12719" y="202"/>
                    <a:pt x="12428" y="362"/>
                    <a:pt x="11908" y="615"/>
                  </a:cubicBezTo>
                  <a:cubicBezTo>
                    <a:pt x="11908" y="901"/>
                    <a:pt x="10807" y="1084"/>
                    <a:pt x="10401" y="1127"/>
                  </a:cubicBezTo>
                  <a:cubicBezTo>
                    <a:pt x="9937" y="1127"/>
                    <a:pt x="9164" y="1381"/>
                    <a:pt x="8623" y="1669"/>
                  </a:cubicBezTo>
                  <a:cubicBezTo>
                    <a:pt x="8044" y="1949"/>
                    <a:pt x="7348" y="2272"/>
                    <a:pt x="6845" y="2356"/>
                  </a:cubicBezTo>
                  <a:cubicBezTo>
                    <a:pt x="6480" y="2467"/>
                    <a:pt x="5706" y="2953"/>
                    <a:pt x="5706" y="3494"/>
                  </a:cubicBezTo>
                  <a:cubicBezTo>
                    <a:pt x="5706" y="4021"/>
                    <a:pt x="4798" y="4893"/>
                    <a:pt x="3947" y="5418"/>
                  </a:cubicBezTo>
                  <a:cubicBezTo>
                    <a:pt x="3078" y="5947"/>
                    <a:pt x="1668" y="7027"/>
                    <a:pt x="1088" y="7824"/>
                  </a:cubicBezTo>
                  <a:cubicBezTo>
                    <a:pt x="200" y="8617"/>
                    <a:pt x="-206" y="9637"/>
                    <a:pt x="103" y="10089"/>
                  </a:cubicBezTo>
                  <a:cubicBezTo>
                    <a:pt x="392" y="10531"/>
                    <a:pt x="586" y="11772"/>
                    <a:pt x="296" y="12838"/>
                  </a:cubicBezTo>
                  <a:close/>
                  <a:moveTo>
                    <a:pt x="296" y="128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19" name="AutoShape 418"/>
            <p:cNvSpPr>
              <a:spLocks/>
            </p:cNvSpPr>
            <p:nvPr/>
          </p:nvSpPr>
          <p:spPr bwMode="auto">
            <a:xfrm>
              <a:off x="10045700" y="3784600"/>
              <a:ext cx="26988" cy="7938"/>
            </a:xfrm>
            <a:custGeom>
              <a:avLst/>
              <a:gdLst/>
              <a:ahLst/>
              <a:cxnLst/>
              <a:rect l="0" t="0" r="r" b="b"/>
              <a:pathLst>
                <a:path w="21600" h="21600">
                  <a:moveTo>
                    <a:pt x="12540" y="9960"/>
                  </a:moveTo>
                  <a:cubicBezTo>
                    <a:pt x="15662" y="8127"/>
                    <a:pt x="19767" y="3756"/>
                    <a:pt x="21600" y="0"/>
                  </a:cubicBezTo>
                  <a:cubicBezTo>
                    <a:pt x="19767" y="3756"/>
                    <a:pt x="14608" y="8293"/>
                    <a:pt x="10230" y="11326"/>
                  </a:cubicBezTo>
                  <a:cubicBezTo>
                    <a:pt x="5802" y="13957"/>
                    <a:pt x="1160" y="12993"/>
                    <a:pt x="0" y="8954"/>
                  </a:cubicBezTo>
                  <a:cubicBezTo>
                    <a:pt x="1160" y="12993"/>
                    <a:pt x="3218" y="15593"/>
                    <a:pt x="4496" y="14722"/>
                  </a:cubicBezTo>
                  <a:cubicBezTo>
                    <a:pt x="5763" y="13849"/>
                    <a:pt x="7187" y="17048"/>
                    <a:pt x="7636" y="21600"/>
                  </a:cubicBezTo>
                  <a:cubicBezTo>
                    <a:pt x="7187" y="17048"/>
                    <a:pt x="9410" y="11926"/>
                    <a:pt x="12540" y="9960"/>
                  </a:cubicBezTo>
                  <a:close/>
                  <a:moveTo>
                    <a:pt x="12540" y="99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0" name="AutoShape 419"/>
            <p:cNvSpPr>
              <a:spLocks/>
            </p:cNvSpPr>
            <p:nvPr/>
          </p:nvSpPr>
          <p:spPr bwMode="auto">
            <a:xfrm>
              <a:off x="10617200" y="4089400"/>
              <a:ext cx="1588" cy="7938"/>
            </a:xfrm>
            <a:custGeom>
              <a:avLst/>
              <a:gdLst/>
              <a:ahLst/>
              <a:cxnLst/>
              <a:rect l="0" t="0" r="r" b="b"/>
              <a:pathLst>
                <a:path w="20183" h="20048">
                  <a:moveTo>
                    <a:pt x="14395" y="7608"/>
                  </a:moveTo>
                  <a:cubicBezTo>
                    <a:pt x="13002" y="7608"/>
                    <a:pt x="11841" y="6392"/>
                    <a:pt x="9868" y="5162"/>
                  </a:cubicBezTo>
                  <a:cubicBezTo>
                    <a:pt x="8134" y="3949"/>
                    <a:pt x="6857" y="1705"/>
                    <a:pt x="3606" y="662"/>
                  </a:cubicBezTo>
                  <a:cubicBezTo>
                    <a:pt x="464" y="-397"/>
                    <a:pt x="1749" y="-177"/>
                    <a:pt x="0" y="1256"/>
                  </a:cubicBezTo>
                  <a:cubicBezTo>
                    <a:pt x="1509" y="2735"/>
                    <a:pt x="704" y="6284"/>
                    <a:pt x="3838" y="8822"/>
                  </a:cubicBezTo>
                  <a:cubicBezTo>
                    <a:pt x="5696" y="11438"/>
                    <a:pt x="10448" y="13695"/>
                    <a:pt x="10448" y="14321"/>
                  </a:cubicBezTo>
                  <a:cubicBezTo>
                    <a:pt x="12197" y="14786"/>
                    <a:pt x="14635" y="17012"/>
                    <a:pt x="18117" y="19130"/>
                  </a:cubicBezTo>
                  <a:cubicBezTo>
                    <a:pt x="21600" y="21203"/>
                    <a:pt x="19626" y="19675"/>
                    <a:pt x="19626" y="15456"/>
                  </a:cubicBezTo>
                  <a:cubicBezTo>
                    <a:pt x="15904" y="11314"/>
                    <a:pt x="15803" y="7608"/>
                    <a:pt x="14395" y="7608"/>
                  </a:cubicBezTo>
                  <a:close/>
                  <a:moveTo>
                    <a:pt x="14395" y="76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1" name="AutoShape 420"/>
            <p:cNvSpPr>
              <a:spLocks/>
            </p:cNvSpPr>
            <p:nvPr/>
          </p:nvSpPr>
          <p:spPr bwMode="auto">
            <a:xfrm>
              <a:off x="9906000" y="3175000"/>
              <a:ext cx="725488" cy="1317625"/>
            </a:xfrm>
            <a:custGeom>
              <a:avLst/>
              <a:gdLst/>
              <a:ahLst/>
              <a:cxnLst/>
              <a:rect l="0" t="0" r="r" b="b"/>
              <a:pathLst>
                <a:path w="21585" h="21592">
                  <a:moveTo>
                    <a:pt x="20069" y="9628"/>
                  </a:moveTo>
                  <a:cubicBezTo>
                    <a:pt x="20069" y="9607"/>
                    <a:pt x="20060" y="9565"/>
                    <a:pt x="20054" y="9536"/>
                  </a:cubicBezTo>
                  <a:cubicBezTo>
                    <a:pt x="20049" y="9506"/>
                    <a:pt x="20035" y="9465"/>
                    <a:pt x="20029" y="9444"/>
                  </a:cubicBezTo>
                  <a:cubicBezTo>
                    <a:pt x="20024" y="9422"/>
                    <a:pt x="20018" y="9392"/>
                    <a:pt x="20018" y="9377"/>
                  </a:cubicBezTo>
                  <a:cubicBezTo>
                    <a:pt x="20018" y="9361"/>
                    <a:pt x="20008" y="9318"/>
                    <a:pt x="20002" y="9281"/>
                  </a:cubicBezTo>
                  <a:cubicBezTo>
                    <a:pt x="19991" y="9245"/>
                    <a:pt x="19994" y="9209"/>
                    <a:pt x="19990" y="9203"/>
                  </a:cubicBezTo>
                  <a:cubicBezTo>
                    <a:pt x="19994" y="9197"/>
                    <a:pt x="19981" y="9145"/>
                    <a:pt x="19964" y="9089"/>
                  </a:cubicBezTo>
                  <a:cubicBezTo>
                    <a:pt x="19948" y="9033"/>
                    <a:pt x="19933" y="8971"/>
                    <a:pt x="19927" y="8952"/>
                  </a:cubicBezTo>
                  <a:cubicBezTo>
                    <a:pt x="19922" y="8933"/>
                    <a:pt x="19910" y="8908"/>
                    <a:pt x="19910" y="8895"/>
                  </a:cubicBezTo>
                  <a:cubicBezTo>
                    <a:pt x="19900" y="8883"/>
                    <a:pt x="19889" y="8840"/>
                    <a:pt x="19878" y="8799"/>
                  </a:cubicBezTo>
                  <a:cubicBezTo>
                    <a:pt x="19866" y="8759"/>
                    <a:pt x="19855" y="8707"/>
                    <a:pt x="19845" y="8684"/>
                  </a:cubicBezTo>
                  <a:cubicBezTo>
                    <a:pt x="19845" y="8660"/>
                    <a:pt x="19855" y="8673"/>
                    <a:pt x="19867" y="8713"/>
                  </a:cubicBezTo>
                  <a:cubicBezTo>
                    <a:pt x="19888" y="8751"/>
                    <a:pt x="19911" y="8795"/>
                    <a:pt x="19911" y="8809"/>
                  </a:cubicBezTo>
                  <a:cubicBezTo>
                    <a:pt x="19922" y="8822"/>
                    <a:pt x="19930" y="8850"/>
                    <a:pt x="19941" y="8869"/>
                  </a:cubicBezTo>
                  <a:cubicBezTo>
                    <a:pt x="19947" y="8888"/>
                    <a:pt x="19955" y="8899"/>
                    <a:pt x="19959" y="8895"/>
                  </a:cubicBezTo>
                  <a:cubicBezTo>
                    <a:pt x="19959" y="8890"/>
                    <a:pt x="19967" y="8899"/>
                    <a:pt x="19978" y="8914"/>
                  </a:cubicBezTo>
                  <a:cubicBezTo>
                    <a:pt x="19988" y="8929"/>
                    <a:pt x="20002" y="8944"/>
                    <a:pt x="20008" y="8949"/>
                  </a:cubicBezTo>
                  <a:cubicBezTo>
                    <a:pt x="20014" y="8954"/>
                    <a:pt x="20030" y="8965"/>
                    <a:pt x="20036" y="8976"/>
                  </a:cubicBezTo>
                  <a:cubicBezTo>
                    <a:pt x="20047" y="8986"/>
                    <a:pt x="20046" y="8971"/>
                    <a:pt x="20035" y="8942"/>
                  </a:cubicBezTo>
                  <a:cubicBezTo>
                    <a:pt x="20024" y="8912"/>
                    <a:pt x="20019" y="8872"/>
                    <a:pt x="20009" y="8855"/>
                  </a:cubicBezTo>
                  <a:cubicBezTo>
                    <a:pt x="20009" y="8837"/>
                    <a:pt x="19983" y="8798"/>
                    <a:pt x="19972" y="8767"/>
                  </a:cubicBezTo>
                  <a:cubicBezTo>
                    <a:pt x="19956" y="8737"/>
                    <a:pt x="19936" y="8692"/>
                    <a:pt x="19925" y="8668"/>
                  </a:cubicBezTo>
                  <a:cubicBezTo>
                    <a:pt x="19914" y="8644"/>
                    <a:pt x="19904" y="8618"/>
                    <a:pt x="19904" y="8610"/>
                  </a:cubicBezTo>
                  <a:cubicBezTo>
                    <a:pt x="19904" y="8601"/>
                    <a:pt x="19906" y="8597"/>
                    <a:pt x="19911" y="8598"/>
                  </a:cubicBezTo>
                  <a:cubicBezTo>
                    <a:pt x="19911" y="8601"/>
                    <a:pt x="19910" y="8578"/>
                    <a:pt x="19910" y="8549"/>
                  </a:cubicBezTo>
                  <a:cubicBezTo>
                    <a:pt x="19899" y="8521"/>
                    <a:pt x="19890" y="8477"/>
                    <a:pt x="19885" y="8451"/>
                  </a:cubicBezTo>
                  <a:cubicBezTo>
                    <a:pt x="19874" y="8425"/>
                    <a:pt x="19863" y="8386"/>
                    <a:pt x="19858" y="8364"/>
                  </a:cubicBezTo>
                  <a:cubicBezTo>
                    <a:pt x="19852" y="8342"/>
                    <a:pt x="19849" y="8326"/>
                    <a:pt x="19853" y="8327"/>
                  </a:cubicBezTo>
                  <a:cubicBezTo>
                    <a:pt x="19853" y="8329"/>
                    <a:pt x="19852" y="8312"/>
                    <a:pt x="19847" y="8292"/>
                  </a:cubicBezTo>
                  <a:cubicBezTo>
                    <a:pt x="19841" y="8271"/>
                    <a:pt x="19827" y="8239"/>
                    <a:pt x="19821" y="8221"/>
                  </a:cubicBezTo>
                  <a:cubicBezTo>
                    <a:pt x="19815" y="8202"/>
                    <a:pt x="19803" y="8167"/>
                    <a:pt x="19791" y="8144"/>
                  </a:cubicBezTo>
                  <a:cubicBezTo>
                    <a:pt x="19781" y="8121"/>
                    <a:pt x="19769" y="8080"/>
                    <a:pt x="19758" y="8055"/>
                  </a:cubicBezTo>
                  <a:cubicBezTo>
                    <a:pt x="19748" y="8029"/>
                    <a:pt x="19742" y="8005"/>
                    <a:pt x="19742" y="8002"/>
                  </a:cubicBezTo>
                  <a:cubicBezTo>
                    <a:pt x="19742" y="7998"/>
                    <a:pt x="19750" y="8012"/>
                    <a:pt x="19761" y="8033"/>
                  </a:cubicBezTo>
                  <a:cubicBezTo>
                    <a:pt x="19772" y="8054"/>
                    <a:pt x="19784" y="8091"/>
                    <a:pt x="19795" y="8115"/>
                  </a:cubicBezTo>
                  <a:cubicBezTo>
                    <a:pt x="19800" y="8139"/>
                    <a:pt x="19817" y="8170"/>
                    <a:pt x="19822" y="8184"/>
                  </a:cubicBezTo>
                  <a:cubicBezTo>
                    <a:pt x="19828" y="8198"/>
                    <a:pt x="19836" y="8223"/>
                    <a:pt x="19851" y="8238"/>
                  </a:cubicBezTo>
                  <a:cubicBezTo>
                    <a:pt x="19856" y="8250"/>
                    <a:pt x="19873" y="8276"/>
                    <a:pt x="19884" y="8306"/>
                  </a:cubicBezTo>
                  <a:cubicBezTo>
                    <a:pt x="19884" y="8305"/>
                    <a:pt x="19885" y="8302"/>
                    <a:pt x="19883" y="8302"/>
                  </a:cubicBezTo>
                  <a:cubicBezTo>
                    <a:pt x="19883" y="8290"/>
                    <a:pt x="19878" y="8269"/>
                    <a:pt x="19868" y="8257"/>
                  </a:cubicBezTo>
                  <a:cubicBezTo>
                    <a:pt x="19868" y="8243"/>
                    <a:pt x="19857" y="8226"/>
                    <a:pt x="19852" y="8219"/>
                  </a:cubicBezTo>
                  <a:cubicBezTo>
                    <a:pt x="19847" y="8211"/>
                    <a:pt x="19841" y="8187"/>
                    <a:pt x="19830" y="8167"/>
                  </a:cubicBezTo>
                  <a:cubicBezTo>
                    <a:pt x="19825" y="8145"/>
                    <a:pt x="19814" y="8121"/>
                    <a:pt x="19810" y="8112"/>
                  </a:cubicBezTo>
                  <a:cubicBezTo>
                    <a:pt x="19805" y="8104"/>
                    <a:pt x="19803" y="8092"/>
                    <a:pt x="19803" y="8087"/>
                  </a:cubicBezTo>
                  <a:cubicBezTo>
                    <a:pt x="19803" y="8082"/>
                    <a:pt x="19803" y="8085"/>
                    <a:pt x="19813" y="8093"/>
                  </a:cubicBezTo>
                  <a:cubicBezTo>
                    <a:pt x="19813" y="8102"/>
                    <a:pt x="19825" y="8108"/>
                    <a:pt x="19824" y="8108"/>
                  </a:cubicBezTo>
                  <a:cubicBezTo>
                    <a:pt x="19824" y="8109"/>
                    <a:pt x="19823" y="8090"/>
                    <a:pt x="19812" y="8071"/>
                  </a:cubicBezTo>
                  <a:cubicBezTo>
                    <a:pt x="19800" y="8051"/>
                    <a:pt x="19789" y="8024"/>
                    <a:pt x="19789" y="8011"/>
                  </a:cubicBezTo>
                  <a:cubicBezTo>
                    <a:pt x="19779" y="7999"/>
                    <a:pt x="19780" y="7975"/>
                    <a:pt x="19769" y="7960"/>
                  </a:cubicBezTo>
                  <a:cubicBezTo>
                    <a:pt x="19764" y="7945"/>
                    <a:pt x="19753" y="7924"/>
                    <a:pt x="19753" y="7914"/>
                  </a:cubicBezTo>
                  <a:cubicBezTo>
                    <a:pt x="19747" y="7905"/>
                    <a:pt x="19744" y="7879"/>
                    <a:pt x="19733" y="7858"/>
                  </a:cubicBezTo>
                  <a:cubicBezTo>
                    <a:pt x="19722" y="7837"/>
                    <a:pt x="19713" y="7802"/>
                    <a:pt x="19702" y="7781"/>
                  </a:cubicBezTo>
                  <a:cubicBezTo>
                    <a:pt x="19692" y="7760"/>
                    <a:pt x="19677" y="7733"/>
                    <a:pt x="19677" y="7720"/>
                  </a:cubicBezTo>
                  <a:cubicBezTo>
                    <a:pt x="19665" y="7707"/>
                    <a:pt x="19653" y="7663"/>
                    <a:pt x="19637" y="7623"/>
                  </a:cubicBezTo>
                  <a:cubicBezTo>
                    <a:pt x="19620" y="7583"/>
                    <a:pt x="19605" y="7534"/>
                    <a:pt x="19594" y="7514"/>
                  </a:cubicBezTo>
                  <a:cubicBezTo>
                    <a:pt x="19584" y="7495"/>
                    <a:pt x="19569" y="7455"/>
                    <a:pt x="19558" y="7426"/>
                  </a:cubicBezTo>
                  <a:cubicBezTo>
                    <a:pt x="19548" y="7397"/>
                    <a:pt x="19533" y="7356"/>
                    <a:pt x="19522" y="7336"/>
                  </a:cubicBezTo>
                  <a:cubicBezTo>
                    <a:pt x="19517" y="7315"/>
                    <a:pt x="19499" y="7279"/>
                    <a:pt x="19488" y="7256"/>
                  </a:cubicBezTo>
                  <a:cubicBezTo>
                    <a:pt x="19477" y="7233"/>
                    <a:pt x="19467" y="7201"/>
                    <a:pt x="19456" y="7185"/>
                  </a:cubicBezTo>
                  <a:cubicBezTo>
                    <a:pt x="19446" y="7170"/>
                    <a:pt x="19434" y="7142"/>
                    <a:pt x="19429" y="7123"/>
                  </a:cubicBezTo>
                  <a:cubicBezTo>
                    <a:pt x="19418" y="7105"/>
                    <a:pt x="19396" y="7050"/>
                    <a:pt x="19374" y="7001"/>
                  </a:cubicBezTo>
                  <a:cubicBezTo>
                    <a:pt x="19351" y="6953"/>
                    <a:pt x="19327" y="6896"/>
                    <a:pt x="19316" y="6875"/>
                  </a:cubicBezTo>
                  <a:cubicBezTo>
                    <a:pt x="19305" y="6853"/>
                    <a:pt x="19302" y="6827"/>
                    <a:pt x="19292" y="6819"/>
                  </a:cubicBezTo>
                  <a:cubicBezTo>
                    <a:pt x="19292" y="6810"/>
                    <a:pt x="19284" y="6797"/>
                    <a:pt x="19284" y="6791"/>
                  </a:cubicBezTo>
                  <a:cubicBezTo>
                    <a:pt x="19284" y="6785"/>
                    <a:pt x="19289" y="6784"/>
                    <a:pt x="19286" y="6784"/>
                  </a:cubicBezTo>
                  <a:cubicBezTo>
                    <a:pt x="19286" y="6786"/>
                    <a:pt x="19287" y="6777"/>
                    <a:pt x="19282" y="6765"/>
                  </a:cubicBezTo>
                  <a:cubicBezTo>
                    <a:pt x="19282" y="6753"/>
                    <a:pt x="19270" y="6731"/>
                    <a:pt x="19264" y="6717"/>
                  </a:cubicBezTo>
                  <a:cubicBezTo>
                    <a:pt x="19264" y="6702"/>
                    <a:pt x="19242" y="6668"/>
                    <a:pt x="19236" y="6640"/>
                  </a:cubicBezTo>
                  <a:cubicBezTo>
                    <a:pt x="19225" y="6612"/>
                    <a:pt x="19219" y="6589"/>
                    <a:pt x="19219" y="6589"/>
                  </a:cubicBezTo>
                  <a:cubicBezTo>
                    <a:pt x="19220" y="6589"/>
                    <a:pt x="19225" y="6596"/>
                    <a:pt x="19230" y="6605"/>
                  </a:cubicBezTo>
                  <a:cubicBezTo>
                    <a:pt x="19236" y="6614"/>
                    <a:pt x="19249" y="6629"/>
                    <a:pt x="19249" y="6638"/>
                  </a:cubicBezTo>
                  <a:cubicBezTo>
                    <a:pt x="19258" y="6646"/>
                    <a:pt x="19274" y="6679"/>
                    <a:pt x="19291" y="6709"/>
                  </a:cubicBezTo>
                  <a:cubicBezTo>
                    <a:pt x="19308" y="6739"/>
                    <a:pt x="19330" y="6768"/>
                    <a:pt x="19330" y="6775"/>
                  </a:cubicBezTo>
                  <a:cubicBezTo>
                    <a:pt x="19337" y="6778"/>
                    <a:pt x="19336" y="6786"/>
                    <a:pt x="19338" y="6789"/>
                  </a:cubicBezTo>
                  <a:cubicBezTo>
                    <a:pt x="19338" y="6787"/>
                    <a:pt x="19337" y="6784"/>
                    <a:pt x="19337" y="6780"/>
                  </a:cubicBezTo>
                  <a:cubicBezTo>
                    <a:pt x="19328" y="6773"/>
                    <a:pt x="19328" y="6749"/>
                    <a:pt x="19318" y="6732"/>
                  </a:cubicBezTo>
                  <a:cubicBezTo>
                    <a:pt x="19306" y="6715"/>
                    <a:pt x="19297" y="6688"/>
                    <a:pt x="19292" y="6674"/>
                  </a:cubicBezTo>
                  <a:cubicBezTo>
                    <a:pt x="19286" y="6659"/>
                    <a:pt x="19275" y="6637"/>
                    <a:pt x="19270" y="6625"/>
                  </a:cubicBezTo>
                  <a:cubicBezTo>
                    <a:pt x="19264" y="6613"/>
                    <a:pt x="19260" y="6596"/>
                    <a:pt x="19255" y="6589"/>
                  </a:cubicBezTo>
                  <a:cubicBezTo>
                    <a:pt x="19255" y="6581"/>
                    <a:pt x="19249" y="6563"/>
                    <a:pt x="19239" y="6551"/>
                  </a:cubicBezTo>
                  <a:cubicBezTo>
                    <a:pt x="19233" y="6538"/>
                    <a:pt x="19223" y="6517"/>
                    <a:pt x="19218" y="6503"/>
                  </a:cubicBezTo>
                  <a:cubicBezTo>
                    <a:pt x="19208" y="6491"/>
                    <a:pt x="19198" y="6462"/>
                    <a:pt x="19192" y="6442"/>
                  </a:cubicBezTo>
                  <a:cubicBezTo>
                    <a:pt x="19181" y="6422"/>
                    <a:pt x="19178" y="6399"/>
                    <a:pt x="19173" y="6393"/>
                  </a:cubicBezTo>
                  <a:cubicBezTo>
                    <a:pt x="19168" y="6387"/>
                    <a:pt x="19165" y="6366"/>
                    <a:pt x="19153" y="6348"/>
                  </a:cubicBezTo>
                  <a:cubicBezTo>
                    <a:pt x="19143" y="6330"/>
                    <a:pt x="19133" y="6304"/>
                    <a:pt x="19127" y="6290"/>
                  </a:cubicBezTo>
                  <a:cubicBezTo>
                    <a:pt x="19122" y="6277"/>
                    <a:pt x="19117" y="6262"/>
                    <a:pt x="19112" y="6256"/>
                  </a:cubicBezTo>
                  <a:cubicBezTo>
                    <a:pt x="19106" y="6251"/>
                    <a:pt x="19110" y="6242"/>
                    <a:pt x="19106" y="6238"/>
                  </a:cubicBezTo>
                  <a:cubicBezTo>
                    <a:pt x="19106" y="6234"/>
                    <a:pt x="19105" y="6220"/>
                    <a:pt x="19095" y="6209"/>
                  </a:cubicBezTo>
                  <a:cubicBezTo>
                    <a:pt x="19095" y="6197"/>
                    <a:pt x="19084" y="6176"/>
                    <a:pt x="19074" y="6164"/>
                  </a:cubicBezTo>
                  <a:cubicBezTo>
                    <a:pt x="19069" y="6151"/>
                    <a:pt x="19052" y="6130"/>
                    <a:pt x="19052" y="6116"/>
                  </a:cubicBezTo>
                  <a:cubicBezTo>
                    <a:pt x="19042" y="6103"/>
                    <a:pt x="19035" y="6080"/>
                    <a:pt x="19029" y="6066"/>
                  </a:cubicBezTo>
                  <a:cubicBezTo>
                    <a:pt x="19024" y="6052"/>
                    <a:pt x="19020" y="6036"/>
                    <a:pt x="19015" y="6031"/>
                  </a:cubicBezTo>
                  <a:cubicBezTo>
                    <a:pt x="19015" y="6025"/>
                    <a:pt x="19005" y="6014"/>
                    <a:pt x="19005" y="6004"/>
                  </a:cubicBezTo>
                  <a:cubicBezTo>
                    <a:pt x="18996" y="5997"/>
                    <a:pt x="18992" y="5977"/>
                    <a:pt x="18986" y="5964"/>
                  </a:cubicBezTo>
                  <a:cubicBezTo>
                    <a:pt x="18976" y="5951"/>
                    <a:pt x="18964" y="5919"/>
                    <a:pt x="18952" y="5893"/>
                  </a:cubicBezTo>
                  <a:cubicBezTo>
                    <a:pt x="18942" y="5868"/>
                    <a:pt x="18920" y="5825"/>
                    <a:pt x="18909" y="5798"/>
                  </a:cubicBezTo>
                  <a:cubicBezTo>
                    <a:pt x="18898" y="5771"/>
                    <a:pt x="18886" y="5749"/>
                    <a:pt x="18886" y="5747"/>
                  </a:cubicBezTo>
                  <a:cubicBezTo>
                    <a:pt x="18888" y="5747"/>
                    <a:pt x="18884" y="5743"/>
                    <a:pt x="18884" y="5739"/>
                  </a:cubicBezTo>
                  <a:cubicBezTo>
                    <a:pt x="18884" y="5735"/>
                    <a:pt x="18874" y="5725"/>
                    <a:pt x="18874" y="5716"/>
                  </a:cubicBezTo>
                  <a:cubicBezTo>
                    <a:pt x="18863" y="5709"/>
                    <a:pt x="18864" y="5693"/>
                    <a:pt x="18858" y="5684"/>
                  </a:cubicBezTo>
                  <a:cubicBezTo>
                    <a:pt x="18858" y="5675"/>
                    <a:pt x="18845" y="5658"/>
                    <a:pt x="18840" y="5646"/>
                  </a:cubicBezTo>
                  <a:cubicBezTo>
                    <a:pt x="18830" y="5634"/>
                    <a:pt x="18831" y="5614"/>
                    <a:pt x="18821" y="5606"/>
                  </a:cubicBezTo>
                  <a:cubicBezTo>
                    <a:pt x="18821" y="5596"/>
                    <a:pt x="18811" y="5578"/>
                    <a:pt x="18801" y="5567"/>
                  </a:cubicBezTo>
                  <a:cubicBezTo>
                    <a:pt x="18801" y="5555"/>
                    <a:pt x="18784" y="5534"/>
                    <a:pt x="18779" y="5519"/>
                  </a:cubicBezTo>
                  <a:cubicBezTo>
                    <a:pt x="18773" y="5504"/>
                    <a:pt x="18757" y="5478"/>
                    <a:pt x="18752" y="5459"/>
                  </a:cubicBezTo>
                  <a:cubicBezTo>
                    <a:pt x="18741" y="5441"/>
                    <a:pt x="18735" y="5420"/>
                    <a:pt x="18730" y="5413"/>
                  </a:cubicBezTo>
                  <a:cubicBezTo>
                    <a:pt x="18725" y="5406"/>
                    <a:pt x="18714" y="5387"/>
                    <a:pt x="18709" y="5371"/>
                  </a:cubicBezTo>
                  <a:cubicBezTo>
                    <a:pt x="18697" y="5355"/>
                    <a:pt x="18696" y="5331"/>
                    <a:pt x="18685" y="5323"/>
                  </a:cubicBezTo>
                  <a:cubicBezTo>
                    <a:pt x="18685" y="5312"/>
                    <a:pt x="18676" y="5292"/>
                    <a:pt x="18666" y="5278"/>
                  </a:cubicBezTo>
                  <a:cubicBezTo>
                    <a:pt x="18660" y="5263"/>
                    <a:pt x="18657" y="5252"/>
                    <a:pt x="18657" y="5253"/>
                  </a:cubicBezTo>
                  <a:cubicBezTo>
                    <a:pt x="18657" y="5255"/>
                    <a:pt x="18654" y="5249"/>
                    <a:pt x="18654" y="5242"/>
                  </a:cubicBezTo>
                  <a:cubicBezTo>
                    <a:pt x="18654" y="5234"/>
                    <a:pt x="18637" y="5212"/>
                    <a:pt x="18631" y="5193"/>
                  </a:cubicBezTo>
                  <a:cubicBezTo>
                    <a:pt x="18620" y="5174"/>
                    <a:pt x="18607" y="5140"/>
                    <a:pt x="18596" y="5118"/>
                  </a:cubicBezTo>
                  <a:cubicBezTo>
                    <a:pt x="18585" y="5096"/>
                    <a:pt x="18576" y="5068"/>
                    <a:pt x="18566" y="5057"/>
                  </a:cubicBezTo>
                  <a:cubicBezTo>
                    <a:pt x="18566" y="5045"/>
                    <a:pt x="18541" y="5025"/>
                    <a:pt x="18541" y="5010"/>
                  </a:cubicBezTo>
                  <a:cubicBezTo>
                    <a:pt x="18526" y="4998"/>
                    <a:pt x="18519" y="4971"/>
                    <a:pt x="18513" y="4954"/>
                  </a:cubicBezTo>
                  <a:cubicBezTo>
                    <a:pt x="18507" y="4937"/>
                    <a:pt x="18486" y="4904"/>
                    <a:pt x="18474" y="4879"/>
                  </a:cubicBezTo>
                  <a:cubicBezTo>
                    <a:pt x="18463" y="4853"/>
                    <a:pt x="18439" y="4823"/>
                    <a:pt x="18439" y="4811"/>
                  </a:cubicBezTo>
                  <a:cubicBezTo>
                    <a:pt x="18427" y="4800"/>
                    <a:pt x="18427" y="4782"/>
                    <a:pt x="18422" y="4775"/>
                  </a:cubicBezTo>
                  <a:cubicBezTo>
                    <a:pt x="18422" y="4767"/>
                    <a:pt x="18405" y="4743"/>
                    <a:pt x="18395" y="4719"/>
                  </a:cubicBezTo>
                  <a:cubicBezTo>
                    <a:pt x="18384" y="4696"/>
                    <a:pt x="18371" y="4666"/>
                    <a:pt x="18360" y="4652"/>
                  </a:cubicBezTo>
                  <a:cubicBezTo>
                    <a:pt x="18360" y="4638"/>
                    <a:pt x="18345" y="4623"/>
                    <a:pt x="18340" y="4617"/>
                  </a:cubicBezTo>
                  <a:cubicBezTo>
                    <a:pt x="18335" y="4611"/>
                    <a:pt x="18326" y="4596"/>
                    <a:pt x="18320" y="4583"/>
                  </a:cubicBezTo>
                  <a:cubicBezTo>
                    <a:pt x="18311" y="4571"/>
                    <a:pt x="18299" y="4548"/>
                    <a:pt x="18293" y="4534"/>
                  </a:cubicBezTo>
                  <a:cubicBezTo>
                    <a:pt x="18288" y="4520"/>
                    <a:pt x="18279" y="4517"/>
                    <a:pt x="18285" y="4524"/>
                  </a:cubicBezTo>
                  <a:cubicBezTo>
                    <a:pt x="18285" y="4533"/>
                    <a:pt x="18291" y="4536"/>
                    <a:pt x="18287" y="4535"/>
                  </a:cubicBezTo>
                  <a:cubicBezTo>
                    <a:pt x="18287" y="4532"/>
                    <a:pt x="18283" y="4537"/>
                    <a:pt x="18288" y="4544"/>
                  </a:cubicBezTo>
                  <a:cubicBezTo>
                    <a:pt x="18293" y="4551"/>
                    <a:pt x="18296" y="4571"/>
                    <a:pt x="18307" y="4587"/>
                  </a:cubicBezTo>
                  <a:cubicBezTo>
                    <a:pt x="18312" y="4603"/>
                    <a:pt x="18321" y="4617"/>
                    <a:pt x="18320" y="4617"/>
                  </a:cubicBezTo>
                  <a:cubicBezTo>
                    <a:pt x="18320" y="4618"/>
                    <a:pt x="18319" y="4617"/>
                    <a:pt x="18318" y="4617"/>
                  </a:cubicBezTo>
                  <a:cubicBezTo>
                    <a:pt x="18316" y="4617"/>
                    <a:pt x="18323" y="4633"/>
                    <a:pt x="18333" y="4654"/>
                  </a:cubicBezTo>
                  <a:cubicBezTo>
                    <a:pt x="18344" y="4675"/>
                    <a:pt x="18351" y="4686"/>
                    <a:pt x="18343" y="4682"/>
                  </a:cubicBezTo>
                  <a:cubicBezTo>
                    <a:pt x="18338" y="4676"/>
                    <a:pt x="18334" y="4669"/>
                    <a:pt x="18331" y="4667"/>
                  </a:cubicBezTo>
                  <a:cubicBezTo>
                    <a:pt x="18329" y="4666"/>
                    <a:pt x="18334" y="4676"/>
                    <a:pt x="18340" y="4690"/>
                  </a:cubicBezTo>
                  <a:cubicBezTo>
                    <a:pt x="18350" y="4704"/>
                    <a:pt x="18356" y="4731"/>
                    <a:pt x="18367" y="4749"/>
                  </a:cubicBezTo>
                  <a:cubicBezTo>
                    <a:pt x="18379" y="4766"/>
                    <a:pt x="18384" y="4785"/>
                    <a:pt x="18384" y="4788"/>
                  </a:cubicBezTo>
                  <a:cubicBezTo>
                    <a:pt x="18384" y="4792"/>
                    <a:pt x="18390" y="4812"/>
                    <a:pt x="18402" y="4831"/>
                  </a:cubicBezTo>
                  <a:cubicBezTo>
                    <a:pt x="18407" y="4851"/>
                    <a:pt x="18423" y="4876"/>
                    <a:pt x="18429" y="4889"/>
                  </a:cubicBezTo>
                  <a:cubicBezTo>
                    <a:pt x="18435" y="4902"/>
                    <a:pt x="18441" y="4914"/>
                    <a:pt x="18441" y="4916"/>
                  </a:cubicBezTo>
                  <a:cubicBezTo>
                    <a:pt x="18441" y="4919"/>
                    <a:pt x="18447" y="4928"/>
                    <a:pt x="18447" y="4937"/>
                  </a:cubicBezTo>
                  <a:cubicBezTo>
                    <a:pt x="18447" y="4947"/>
                    <a:pt x="18450" y="4952"/>
                    <a:pt x="18445" y="4949"/>
                  </a:cubicBezTo>
                  <a:cubicBezTo>
                    <a:pt x="18441" y="4947"/>
                    <a:pt x="18437" y="4946"/>
                    <a:pt x="18437" y="4947"/>
                  </a:cubicBezTo>
                  <a:cubicBezTo>
                    <a:pt x="18437" y="4948"/>
                    <a:pt x="18431" y="4942"/>
                    <a:pt x="18427" y="4934"/>
                  </a:cubicBezTo>
                  <a:cubicBezTo>
                    <a:pt x="18420" y="4926"/>
                    <a:pt x="18416" y="4925"/>
                    <a:pt x="18421" y="4932"/>
                  </a:cubicBezTo>
                  <a:cubicBezTo>
                    <a:pt x="18428" y="4938"/>
                    <a:pt x="18424" y="4946"/>
                    <a:pt x="18424" y="4947"/>
                  </a:cubicBezTo>
                  <a:cubicBezTo>
                    <a:pt x="18424" y="4949"/>
                    <a:pt x="18414" y="4937"/>
                    <a:pt x="18408" y="4920"/>
                  </a:cubicBezTo>
                  <a:cubicBezTo>
                    <a:pt x="18396" y="4904"/>
                    <a:pt x="18387" y="4875"/>
                    <a:pt x="18376" y="4858"/>
                  </a:cubicBezTo>
                  <a:cubicBezTo>
                    <a:pt x="18370" y="4840"/>
                    <a:pt x="18357" y="4822"/>
                    <a:pt x="18352" y="4818"/>
                  </a:cubicBezTo>
                  <a:cubicBezTo>
                    <a:pt x="18352" y="4813"/>
                    <a:pt x="18349" y="4815"/>
                    <a:pt x="18349" y="4822"/>
                  </a:cubicBezTo>
                  <a:cubicBezTo>
                    <a:pt x="18354" y="4829"/>
                    <a:pt x="18350" y="4836"/>
                    <a:pt x="18349" y="4836"/>
                  </a:cubicBezTo>
                  <a:cubicBezTo>
                    <a:pt x="18350" y="4836"/>
                    <a:pt x="18338" y="4826"/>
                    <a:pt x="18333" y="4813"/>
                  </a:cubicBezTo>
                  <a:cubicBezTo>
                    <a:pt x="18327" y="4799"/>
                    <a:pt x="18314" y="4765"/>
                    <a:pt x="18293" y="4738"/>
                  </a:cubicBezTo>
                  <a:cubicBezTo>
                    <a:pt x="18282" y="4709"/>
                    <a:pt x="18262" y="4680"/>
                    <a:pt x="18256" y="4671"/>
                  </a:cubicBezTo>
                  <a:cubicBezTo>
                    <a:pt x="18250" y="4662"/>
                    <a:pt x="18235" y="4627"/>
                    <a:pt x="18213" y="4595"/>
                  </a:cubicBezTo>
                  <a:cubicBezTo>
                    <a:pt x="18191" y="4563"/>
                    <a:pt x="18171" y="4522"/>
                    <a:pt x="18165" y="4505"/>
                  </a:cubicBezTo>
                  <a:cubicBezTo>
                    <a:pt x="18155" y="4489"/>
                    <a:pt x="18152" y="4470"/>
                    <a:pt x="18147" y="4465"/>
                  </a:cubicBezTo>
                  <a:cubicBezTo>
                    <a:pt x="18147" y="4460"/>
                    <a:pt x="18138" y="4439"/>
                    <a:pt x="18126" y="4419"/>
                  </a:cubicBezTo>
                  <a:cubicBezTo>
                    <a:pt x="18115" y="4399"/>
                    <a:pt x="18101" y="4365"/>
                    <a:pt x="18090" y="4345"/>
                  </a:cubicBezTo>
                  <a:cubicBezTo>
                    <a:pt x="18078" y="4324"/>
                    <a:pt x="18061" y="4290"/>
                    <a:pt x="18050" y="4269"/>
                  </a:cubicBezTo>
                  <a:cubicBezTo>
                    <a:pt x="18040" y="4247"/>
                    <a:pt x="18029" y="4226"/>
                    <a:pt x="18023" y="4223"/>
                  </a:cubicBezTo>
                  <a:cubicBezTo>
                    <a:pt x="18018" y="4219"/>
                    <a:pt x="18013" y="4204"/>
                    <a:pt x="18003" y="4190"/>
                  </a:cubicBezTo>
                  <a:cubicBezTo>
                    <a:pt x="18003" y="4176"/>
                    <a:pt x="17981" y="4153"/>
                    <a:pt x="17976" y="4137"/>
                  </a:cubicBezTo>
                  <a:cubicBezTo>
                    <a:pt x="17964" y="4121"/>
                    <a:pt x="17958" y="4098"/>
                    <a:pt x="17953" y="4087"/>
                  </a:cubicBezTo>
                  <a:cubicBezTo>
                    <a:pt x="17948" y="4076"/>
                    <a:pt x="17943" y="4054"/>
                    <a:pt x="17932" y="4041"/>
                  </a:cubicBezTo>
                  <a:cubicBezTo>
                    <a:pt x="17932" y="4027"/>
                    <a:pt x="17917" y="4010"/>
                    <a:pt x="17912" y="4004"/>
                  </a:cubicBezTo>
                  <a:cubicBezTo>
                    <a:pt x="17908" y="3997"/>
                    <a:pt x="17904" y="3992"/>
                    <a:pt x="17902" y="3991"/>
                  </a:cubicBezTo>
                  <a:cubicBezTo>
                    <a:pt x="17902" y="3990"/>
                    <a:pt x="17903" y="3995"/>
                    <a:pt x="17903" y="4001"/>
                  </a:cubicBezTo>
                  <a:cubicBezTo>
                    <a:pt x="17901" y="4003"/>
                    <a:pt x="17901" y="4005"/>
                    <a:pt x="17901" y="4006"/>
                  </a:cubicBezTo>
                  <a:cubicBezTo>
                    <a:pt x="17901" y="4007"/>
                    <a:pt x="17901" y="4007"/>
                    <a:pt x="17901" y="4007"/>
                  </a:cubicBezTo>
                  <a:cubicBezTo>
                    <a:pt x="17901" y="4008"/>
                    <a:pt x="17900" y="4008"/>
                    <a:pt x="17901" y="4006"/>
                  </a:cubicBezTo>
                  <a:cubicBezTo>
                    <a:pt x="17900" y="4004"/>
                    <a:pt x="17895" y="4003"/>
                    <a:pt x="17894" y="4003"/>
                  </a:cubicBezTo>
                  <a:cubicBezTo>
                    <a:pt x="17895" y="4003"/>
                    <a:pt x="17891" y="3997"/>
                    <a:pt x="17882" y="3991"/>
                  </a:cubicBezTo>
                  <a:cubicBezTo>
                    <a:pt x="17882" y="3983"/>
                    <a:pt x="17869" y="3967"/>
                    <a:pt x="17859" y="3955"/>
                  </a:cubicBezTo>
                  <a:cubicBezTo>
                    <a:pt x="17848" y="3944"/>
                    <a:pt x="17839" y="3930"/>
                    <a:pt x="17839" y="3925"/>
                  </a:cubicBezTo>
                  <a:cubicBezTo>
                    <a:pt x="17839" y="3921"/>
                    <a:pt x="17833" y="3911"/>
                    <a:pt x="17825" y="3905"/>
                  </a:cubicBezTo>
                  <a:cubicBezTo>
                    <a:pt x="17825" y="3898"/>
                    <a:pt x="17807" y="3878"/>
                    <a:pt x="17795" y="3860"/>
                  </a:cubicBezTo>
                  <a:cubicBezTo>
                    <a:pt x="17784" y="3841"/>
                    <a:pt x="17767" y="3817"/>
                    <a:pt x="17762" y="3805"/>
                  </a:cubicBezTo>
                  <a:cubicBezTo>
                    <a:pt x="17756" y="3793"/>
                    <a:pt x="17745" y="3772"/>
                    <a:pt x="17735" y="3759"/>
                  </a:cubicBezTo>
                  <a:cubicBezTo>
                    <a:pt x="17735" y="3744"/>
                    <a:pt x="17721" y="3732"/>
                    <a:pt x="17718" y="3732"/>
                  </a:cubicBezTo>
                  <a:cubicBezTo>
                    <a:pt x="17718" y="3730"/>
                    <a:pt x="17711" y="3718"/>
                    <a:pt x="17701" y="3705"/>
                  </a:cubicBezTo>
                  <a:cubicBezTo>
                    <a:pt x="17690" y="3693"/>
                    <a:pt x="17674" y="3672"/>
                    <a:pt x="17674" y="3659"/>
                  </a:cubicBezTo>
                  <a:cubicBezTo>
                    <a:pt x="17668" y="3647"/>
                    <a:pt x="17660" y="3633"/>
                    <a:pt x="17654" y="3628"/>
                  </a:cubicBezTo>
                  <a:cubicBezTo>
                    <a:pt x="17654" y="3622"/>
                    <a:pt x="17638" y="3605"/>
                    <a:pt x="17628" y="3588"/>
                  </a:cubicBezTo>
                  <a:cubicBezTo>
                    <a:pt x="17616" y="3571"/>
                    <a:pt x="17601" y="3546"/>
                    <a:pt x="17596" y="3531"/>
                  </a:cubicBezTo>
                  <a:cubicBezTo>
                    <a:pt x="17586" y="3518"/>
                    <a:pt x="17580" y="3496"/>
                    <a:pt x="17569" y="3486"/>
                  </a:cubicBezTo>
                  <a:cubicBezTo>
                    <a:pt x="17565" y="3475"/>
                    <a:pt x="17553" y="3466"/>
                    <a:pt x="17553" y="3464"/>
                  </a:cubicBezTo>
                  <a:cubicBezTo>
                    <a:pt x="17553" y="3462"/>
                    <a:pt x="17559" y="3471"/>
                    <a:pt x="17559" y="3483"/>
                  </a:cubicBezTo>
                  <a:cubicBezTo>
                    <a:pt x="17566" y="3496"/>
                    <a:pt x="17561" y="3501"/>
                    <a:pt x="17561" y="3494"/>
                  </a:cubicBezTo>
                  <a:cubicBezTo>
                    <a:pt x="17551" y="3489"/>
                    <a:pt x="17550" y="3483"/>
                    <a:pt x="17550" y="3484"/>
                  </a:cubicBezTo>
                  <a:cubicBezTo>
                    <a:pt x="17550" y="3485"/>
                    <a:pt x="17549" y="3493"/>
                    <a:pt x="17555" y="3501"/>
                  </a:cubicBezTo>
                  <a:cubicBezTo>
                    <a:pt x="17555" y="3510"/>
                    <a:pt x="17552" y="3506"/>
                    <a:pt x="17546" y="3492"/>
                  </a:cubicBezTo>
                  <a:cubicBezTo>
                    <a:pt x="17540" y="3479"/>
                    <a:pt x="17524" y="3460"/>
                    <a:pt x="17518" y="3448"/>
                  </a:cubicBezTo>
                  <a:cubicBezTo>
                    <a:pt x="17509" y="3438"/>
                    <a:pt x="17499" y="3421"/>
                    <a:pt x="17495" y="3411"/>
                  </a:cubicBezTo>
                  <a:cubicBezTo>
                    <a:pt x="17485" y="3403"/>
                    <a:pt x="17473" y="3388"/>
                    <a:pt x="17468" y="3377"/>
                  </a:cubicBezTo>
                  <a:cubicBezTo>
                    <a:pt x="17461" y="3367"/>
                    <a:pt x="17442" y="3353"/>
                    <a:pt x="17442" y="3344"/>
                  </a:cubicBezTo>
                  <a:cubicBezTo>
                    <a:pt x="17431" y="3337"/>
                    <a:pt x="17428" y="3322"/>
                    <a:pt x="17428" y="3315"/>
                  </a:cubicBezTo>
                  <a:cubicBezTo>
                    <a:pt x="17428" y="3307"/>
                    <a:pt x="17417" y="3297"/>
                    <a:pt x="17417" y="3291"/>
                  </a:cubicBezTo>
                  <a:cubicBezTo>
                    <a:pt x="17410" y="3287"/>
                    <a:pt x="17412" y="3275"/>
                    <a:pt x="17404" y="3272"/>
                  </a:cubicBezTo>
                  <a:cubicBezTo>
                    <a:pt x="17404" y="3267"/>
                    <a:pt x="17398" y="3269"/>
                    <a:pt x="17398" y="3276"/>
                  </a:cubicBezTo>
                  <a:cubicBezTo>
                    <a:pt x="17398" y="3282"/>
                    <a:pt x="17390" y="3280"/>
                    <a:pt x="17385" y="3269"/>
                  </a:cubicBezTo>
                  <a:cubicBezTo>
                    <a:pt x="17375" y="3259"/>
                    <a:pt x="17369" y="3253"/>
                    <a:pt x="17369" y="3255"/>
                  </a:cubicBezTo>
                  <a:cubicBezTo>
                    <a:pt x="17365" y="3257"/>
                    <a:pt x="17366" y="3251"/>
                    <a:pt x="17356" y="3241"/>
                  </a:cubicBezTo>
                  <a:cubicBezTo>
                    <a:pt x="17350" y="3231"/>
                    <a:pt x="17343" y="3225"/>
                    <a:pt x="17341" y="3225"/>
                  </a:cubicBezTo>
                  <a:cubicBezTo>
                    <a:pt x="17339" y="3225"/>
                    <a:pt x="17333" y="3221"/>
                    <a:pt x="17328" y="3214"/>
                  </a:cubicBezTo>
                  <a:cubicBezTo>
                    <a:pt x="17322" y="3208"/>
                    <a:pt x="17309" y="3188"/>
                    <a:pt x="17298" y="3171"/>
                  </a:cubicBezTo>
                  <a:cubicBezTo>
                    <a:pt x="17287" y="3153"/>
                    <a:pt x="17275" y="3128"/>
                    <a:pt x="17263" y="3117"/>
                  </a:cubicBezTo>
                  <a:cubicBezTo>
                    <a:pt x="17256" y="3105"/>
                    <a:pt x="17228" y="3067"/>
                    <a:pt x="17207" y="3034"/>
                  </a:cubicBezTo>
                  <a:cubicBezTo>
                    <a:pt x="17186" y="3000"/>
                    <a:pt x="17155" y="2950"/>
                    <a:pt x="17139" y="2924"/>
                  </a:cubicBezTo>
                  <a:cubicBezTo>
                    <a:pt x="17128" y="2898"/>
                    <a:pt x="17108" y="2864"/>
                    <a:pt x="17097" y="2850"/>
                  </a:cubicBezTo>
                  <a:cubicBezTo>
                    <a:pt x="17092" y="2835"/>
                    <a:pt x="17073" y="2805"/>
                    <a:pt x="17061" y="2784"/>
                  </a:cubicBezTo>
                  <a:cubicBezTo>
                    <a:pt x="17050" y="2762"/>
                    <a:pt x="17036" y="2740"/>
                    <a:pt x="17030" y="2734"/>
                  </a:cubicBezTo>
                  <a:cubicBezTo>
                    <a:pt x="17025" y="2728"/>
                    <a:pt x="17017" y="2713"/>
                    <a:pt x="17006" y="2702"/>
                  </a:cubicBezTo>
                  <a:cubicBezTo>
                    <a:pt x="17006" y="2690"/>
                    <a:pt x="16978" y="2662"/>
                    <a:pt x="16967" y="2638"/>
                  </a:cubicBezTo>
                  <a:cubicBezTo>
                    <a:pt x="16952" y="2615"/>
                    <a:pt x="16937" y="2588"/>
                    <a:pt x="16932" y="2577"/>
                  </a:cubicBezTo>
                  <a:cubicBezTo>
                    <a:pt x="16926" y="2567"/>
                    <a:pt x="16907" y="2540"/>
                    <a:pt x="16895" y="2515"/>
                  </a:cubicBezTo>
                  <a:cubicBezTo>
                    <a:pt x="16884" y="2490"/>
                    <a:pt x="16857" y="2452"/>
                    <a:pt x="16845" y="2428"/>
                  </a:cubicBezTo>
                  <a:cubicBezTo>
                    <a:pt x="16829" y="2404"/>
                    <a:pt x="16801" y="2352"/>
                    <a:pt x="16769" y="2314"/>
                  </a:cubicBezTo>
                  <a:cubicBezTo>
                    <a:pt x="16742" y="2275"/>
                    <a:pt x="16697" y="2214"/>
                    <a:pt x="16676" y="2178"/>
                  </a:cubicBezTo>
                  <a:cubicBezTo>
                    <a:pt x="16653" y="2142"/>
                    <a:pt x="16628" y="2100"/>
                    <a:pt x="16617" y="2086"/>
                  </a:cubicBezTo>
                  <a:cubicBezTo>
                    <a:pt x="16607" y="2071"/>
                    <a:pt x="16593" y="2041"/>
                    <a:pt x="16577" y="2020"/>
                  </a:cubicBezTo>
                  <a:cubicBezTo>
                    <a:pt x="16566" y="1998"/>
                    <a:pt x="16551" y="1983"/>
                    <a:pt x="16551" y="1985"/>
                  </a:cubicBezTo>
                  <a:cubicBezTo>
                    <a:pt x="16551" y="1987"/>
                    <a:pt x="16548" y="1984"/>
                    <a:pt x="16542" y="1979"/>
                  </a:cubicBezTo>
                  <a:cubicBezTo>
                    <a:pt x="16542" y="1972"/>
                    <a:pt x="16523" y="1959"/>
                    <a:pt x="16523" y="1946"/>
                  </a:cubicBezTo>
                  <a:cubicBezTo>
                    <a:pt x="16513" y="1935"/>
                    <a:pt x="16508" y="1917"/>
                    <a:pt x="16503" y="1907"/>
                  </a:cubicBezTo>
                  <a:cubicBezTo>
                    <a:pt x="16498" y="1898"/>
                    <a:pt x="16489" y="1876"/>
                    <a:pt x="16473" y="1862"/>
                  </a:cubicBezTo>
                  <a:cubicBezTo>
                    <a:pt x="16463" y="1847"/>
                    <a:pt x="16441" y="1818"/>
                    <a:pt x="16430" y="1796"/>
                  </a:cubicBezTo>
                  <a:cubicBezTo>
                    <a:pt x="16410" y="1776"/>
                    <a:pt x="16398" y="1750"/>
                    <a:pt x="16393" y="1740"/>
                  </a:cubicBezTo>
                  <a:cubicBezTo>
                    <a:pt x="16387" y="1731"/>
                    <a:pt x="16366" y="1709"/>
                    <a:pt x="16360" y="1691"/>
                  </a:cubicBezTo>
                  <a:cubicBezTo>
                    <a:pt x="16349" y="1673"/>
                    <a:pt x="16325" y="1641"/>
                    <a:pt x="16313" y="1618"/>
                  </a:cubicBezTo>
                  <a:cubicBezTo>
                    <a:pt x="16297" y="1596"/>
                    <a:pt x="16278" y="1559"/>
                    <a:pt x="16261" y="1538"/>
                  </a:cubicBezTo>
                  <a:cubicBezTo>
                    <a:pt x="16250" y="1515"/>
                    <a:pt x="16219" y="1479"/>
                    <a:pt x="16202" y="1455"/>
                  </a:cubicBezTo>
                  <a:cubicBezTo>
                    <a:pt x="16186" y="1431"/>
                    <a:pt x="16165" y="1400"/>
                    <a:pt x="16155" y="1388"/>
                  </a:cubicBezTo>
                  <a:cubicBezTo>
                    <a:pt x="16143" y="1375"/>
                    <a:pt x="16135" y="1353"/>
                    <a:pt x="16129" y="1340"/>
                  </a:cubicBezTo>
                  <a:cubicBezTo>
                    <a:pt x="16123" y="1326"/>
                    <a:pt x="16113" y="1304"/>
                    <a:pt x="16102" y="1291"/>
                  </a:cubicBezTo>
                  <a:cubicBezTo>
                    <a:pt x="16097" y="1276"/>
                    <a:pt x="16082" y="1255"/>
                    <a:pt x="16066" y="1246"/>
                  </a:cubicBezTo>
                  <a:cubicBezTo>
                    <a:pt x="16060" y="1234"/>
                    <a:pt x="16034" y="1219"/>
                    <a:pt x="16034" y="1210"/>
                  </a:cubicBezTo>
                  <a:cubicBezTo>
                    <a:pt x="16029" y="1201"/>
                    <a:pt x="16017" y="1185"/>
                    <a:pt x="16011" y="1174"/>
                  </a:cubicBezTo>
                  <a:cubicBezTo>
                    <a:pt x="16005" y="1162"/>
                    <a:pt x="15987" y="1141"/>
                    <a:pt x="15982" y="1125"/>
                  </a:cubicBezTo>
                  <a:cubicBezTo>
                    <a:pt x="15971" y="1110"/>
                    <a:pt x="15957" y="1084"/>
                    <a:pt x="15946" y="1068"/>
                  </a:cubicBezTo>
                  <a:cubicBezTo>
                    <a:pt x="15936" y="1052"/>
                    <a:pt x="15920" y="1026"/>
                    <a:pt x="15910" y="1010"/>
                  </a:cubicBezTo>
                  <a:cubicBezTo>
                    <a:pt x="15896" y="996"/>
                    <a:pt x="15882" y="975"/>
                    <a:pt x="15877" y="964"/>
                  </a:cubicBezTo>
                  <a:cubicBezTo>
                    <a:pt x="15871" y="954"/>
                    <a:pt x="15858" y="938"/>
                    <a:pt x="15851" y="927"/>
                  </a:cubicBezTo>
                  <a:cubicBezTo>
                    <a:pt x="15845" y="916"/>
                    <a:pt x="15836" y="899"/>
                    <a:pt x="15827" y="889"/>
                  </a:cubicBezTo>
                  <a:cubicBezTo>
                    <a:pt x="15827" y="879"/>
                    <a:pt x="15812" y="869"/>
                    <a:pt x="15807" y="868"/>
                  </a:cubicBezTo>
                  <a:cubicBezTo>
                    <a:pt x="15804" y="866"/>
                    <a:pt x="15794" y="855"/>
                    <a:pt x="15783" y="843"/>
                  </a:cubicBezTo>
                  <a:cubicBezTo>
                    <a:pt x="15773" y="832"/>
                    <a:pt x="15760" y="813"/>
                    <a:pt x="15750" y="802"/>
                  </a:cubicBezTo>
                  <a:cubicBezTo>
                    <a:pt x="15740" y="791"/>
                    <a:pt x="15728" y="773"/>
                    <a:pt x="15728" y="764"/>
                  </a:cubicBezTo>
                  <a:cubicBezTo>
                    <a:pt x="15718" y="757"/>
                    <a:pt x="15717" y="737"/>
                    <a:pt x="15707" y="726"/>
                  </a:cubicBezTo>
                  <a:cubicBezTo>
                    <a:pt x="15701" y="714"/>
                    <a:pt x="15684" y="698"/>
                    <a:pt x="15679" y="690"/>
                  </a:cubicBezTo>
                  <a:cubicBezTo>
                    <a:pt x="15669" y="683"/>
                    <a:pt x="15666" y="680"/>
                    <a:pt x="15666" y="685"/>
                  </a:cubicBezTo>
                  <a:cubicBezTo>
                    <a:pt x="15666" y="691"/>
                    <a:pt x="15664" y="686"/>
                    <a:pt x="15655" y="676"/>
                  </a:cubicBezTo>
                  <a:cubicBezTo>
                    <a:pt x="15655" y="665"/>
                    <a:pt x="15642" y="651"/>
                    <a:pt x="15633" y="649"/>
                  </a:cubicBezTo>
                  <a:cubicBezTo>
                    <a:pt x="15628" y="644"/>
                    <a:pt x="15618" y="630"/>
                    <a:pt x="15608" y="618"/>
                  </a:cubicBezTo>
                  <a:cubicBezTo>
                    <a:pt x="15597" y="605"/>
                    <a:pt x="15583" y="586"/>
                    <a:pt x="15583" y="574"/>
                  </a:cubicBezTo>
                  <a:cubicBezTo>
                    <a:pt x="15573" y="564"/>
                    <a:pt x="15567" y="544"/>
                    <a:pt x="15556" y="532"/>
                  </a:cubicBezTo>
                  <a:cubicBezTo>
                    <a:pt x="15550" y="518"/>
                    <a:pt x="15534" y="500"/>
                    <a:pt x="15523" y="490"/>
                  </a:cubicBezTo>
                  <a:cubicBezTo>
                    <a:pt x="15517" y="478"/>
                    <a:pt x="15505" y="467"/>
                    <a:pt x="15499" y="466"/>
                  </a:cubicBezTo>
                  <a:cubicBezTo>
                    <a:pt x="15499" y="463"/>
                    <a:pt x="15481" y="448"/>
                    <a:pt x="15470" y="431"/>
                  </a:cubicBezTo>
                  <a:cubicBezTo>
                    <a:pt x="15460" y="414"/>
                    <a:pt x="15448" y="402"/>
                    <a:pt x="15446" y="403"/>
                  </a:cubicBezTo>
                  <a:cubicBezTo>
                    <a:pt x="15446" y="404"/>
                    <a:pt x="15432" y="402"/>
                    <a:pt x="15432" y="395"/>
                  </a:cubicBezTo>
                  <a:cubicBezTo>
                    <a:pt x="15424" y="391"/>
                    <a:pt x="15418" y="379"/>
                    <a:pt x="15409" y="372"/>
                  </a:cubicBezTo>
                  <a:cubicBezTo>
                    <a:pt x="15404" y="365"/>
                    <a:pt x="15396" y="362"/>
                    <a:pt x="15396" y="365"/>
                  </a:cubicBezTo>
                  <a:cubicBezTo>
                    <a:pt x="15396" y="368"/>
                    <a:pt x="15406" y="382"/>
                    <a:pt x="15412" y="397"/>
                  </a:cubicBezTo>
                  <a:cubicBezTo>
                    <a:pt x="15421" y="411"/>
                    <a:pt x="15427" y="424"/>
                    <a:pt x="15426" y="425"/>
                  </a:cubicBezTo>
                  <a:cubicBezTo>
                    <a:pt x="15426" y="427"/>
                    <a:pt x="15409" y="414"/>
                    <a:pt x="15398" y="397"/>
                  </a:cubicBezTo>
                  <a:cubicBezTo>
                    <a:pt x="15382" y="381"/>
                    <a:pt x="15367" y="358"/>
                    <a:pt x="15358" y="349"/>
                  </a:cubicBezTo>
                  <a:cubicBezTo>
                    <a:pt x="15347" y="340"/>
                    <a:pt x="15339" y="333"/>
                    <a:pt x="15339" y="331"/>
                  </a:cubicBezTo>
                  <a:cubicBezTo>
                    <a:pt x="15335" y="331"/>
                    <a:pt x="15323" y="325"/>
                    <a:pt x="15313" y="316"/>
                  </a:cubicBezTo>
                  <a:cubicBezTo>
                    <a:pt x="15302" y="307"/>
                    <a:pt x="15285" y="291"/>
                    <a:pt x="15279" y="280"/>
                  </a:cubicBezTo>
                  <a:cubicBezTo>
                    <a:pt x="15274" y="268"/>
                    <a:pt x="15251" y="246"/>
                    <a:pt x="15240" y="228"/>
                  </a:cubicBezTo>
                  <a:cubicBezTo>
                    <a:pt x="15223" y="212"/>
                    <a:pt x="15204" y="184"/>
                    <a:pt x="15184" y="169"/>
                  </a:cubicBezTo>
                  <a:cubicBezTo>
                    <a:pt x="15166" y="154"/>
                    <a:pt x="15144" y="127"/>
                    <a:pt x="15128" y="111"/>
                  </a:cubicBezTo>
                  <a:cubicBezTo>
                    <a:pt x="15117" y="94"/>
                    <a:pt x="15095" y="75"/>
                    <a:pt x="15087" y="67"/>
                  </a:cubicBezTo>
                  <a:cubicBezTo>
                    <a:pt x="15077" y="60"/>
                    <a:pt x="15063" y="47"/>
                    <a:pt x="15057" y="39"/>
                  </a:cubicBezTo>
                  <a:cubicBezTo>
                    <a:pt x="15050" y="31"/>
                    <a:pt x="15044" y="28"/>
                    <a:pt x="15042" y="28"/>
                  </a:cubicBezTo>
                  <a:cubicBezTo>
                    <a:pt x="15042" y="29"/>
                    <a:pt x="15034" y="23"/>
                    <a:pt x="15019" y="18"/>
                  </a:cubicBezTo>
                  <a:cubicBezTo>
                    <a:pt x="15009" y="11"/>
                    <a:pt x="15000" y="19"/>
                    <a:pt x="15011" y="34"/>
                  </a:cubicBezTo>
                  <a:cubicBezTo>
                    <a:pt x="15016" y="49"/>
                    <a:pt x="15017" y="60"/>
                    <a:pt x="15017" y="56"/>
                  </a:cubicBezTo>
                  <a:cubicBezTo>
                    <a:pt x="15013" y="53"/>
                    <a:pt x="15011" y="55"/>
                    <a:pt x="15011" y="61"/>
                  </a:cubicBezTo>
                  <a:cubicBezTo>
                    <a:pt x="15011" y="67"/>
                    <a:pt x="15005" y="64"/>
                    <a:pt x="14993" y="56"/>
                  </a:cubicBezTo>
                  <a:cubicBezTo>
                    <a:pt x="14982" y="47"/>
                    <a:pt x="14964" y="40"/>
                    <a:pt x="14964" y="37"/>
                  </a:cubicBezTo>
                  <a:cubicBezTo>
                    <a:pt x="14958" y="36"/>
                    <a:pt x="14946" y="22"/>
                    <a:pt x="14930" y="10"/>
                  </a:cubicBezTo>
                  <a:cubicBezTo>
                    <a:pt x="14915" y="-2"/>
                    <a:pt x="14905" y="-3"/>
                    <a:pt x="14910" y="7"/>
                  </a:cubicBezTo>
                  <a:cubicBezTo>
                    <a:pt x="14916" y="18"/>
                    <a:pt x="14909" y="21"/>
                    <a:pt x="14899" y="15"/>
                  </a:cubicBezTo>
                  <a:cubicBezTo>
                    <a:pt x="14892" y="8"/>
                    <a:pt x="14882" y="16"/>
                    <a:pt x="14893" y="30"/>
                  </a:cubicBezTo>
                  <a:cubicBezTo>
                    <a:pt x="14893" y="45"/>
                    <a:pt x="14903" y="60"/>
                    <a:pt x="14898" y="60"/>
                  </a:cubicBezTo>
                  <a:cubicBezTo>
                    <a:pt x="14898" y="63"/>
                    <a:pt x="14885" y="57"/>
                    <a:pt x="14875" y="50"/>
                  </a:cubicBezTo>
                  <a:cubicBezTo>
                    <a:pt x="14866" y="44"/>
                    <a:pt x="14861" y="39"/>
                    <a:pt x="14861" y="42"/>
                  </a:cubicBezTo>
                  <a:cubicBezTo>
                    <a:pt x="14861" y="45"/>
                    <a:pt x="14858" y="43"/>
                    <a:pt x="14850" y="40"/>
                  </a:cubicBezTo>
                  <a:cubicBezTo>
                    <a:pt x="14843" y="37"/>
                    <a:pt x="14835" y="34"/>
                    <a:pt x="14831" y="34"/>
                  </a:cubicBezTo>
                  <a:cubicBezTo>
                    <a:pt x="14828" y="34"/>
                    <a:pt x="14813" y="30"/>
                    <a:pt x="14802" y="23"/>
                  </a:cubicBezTo>
                  <a:cubicBezTo>
                    <a:pt x="14788" y="18"/>
                    <a:pt x="14781" y="17"/>
                    <a:pt x="14781" y="24"/>
                  </a:cubicBezTo>
                  <a:cubicBezTo>
                    <a:pt x="14781" y="31"/>
                    <a:pt x="14786" y="49"/>
                    <a:pt x="14797" y="63"/>
                  </a:cubicBezTo>
                  <a:cubicBezTo>
                    <a:pt x="14797" y="78"/>
                    <a:pt x="14812" y="101"/>
                    <a:pt x="14819" y="116"/>
                  </a:cubicBezTo>
                  <a:cubicBezTo>
                    <a:pt x="14819" y="131"/>
                    <a:pt x="14833" y="159"/>
                    <a:pt x="14843" y="179"/>
                  </a:cubicBezTo>
                  <a:cubicBezTo>
                    <a:pt x="14855" y="199"/>
                    <a:pt x="14865" y="223"/>
                    <a:pt x="14865" y="232"/>
                  </a:cubicBezTo>
                  <a:cubicBezTo>
                    <a:pt x="14865" y="241"/>
                    <a:pt x="14871" y="259"/>
                    <a:pt x="14882" y="270"/>
                  </a:cubicBezTo>
                  <a:cubicBezTo>
                    <a:pt x="14882" y="282"/>
                    <a:pt x="14898" y="298"/>
                    <a:pt x="14898" y="305"/>
                  </a:cubicBezTo>
                  <a:cubicBezTo>
                    <a:pt x="14898" y="313"/>
                    <a:pt x="14911" y="344"/>
                    <a:pt x="14932" y="372"/>
                  </a:cubicBezTo>
                  <a:cubicBezTo>
                    <a:pt x="14943" y="402"/>
                    <a:pt x="14978" y="434"/>
                    <a:pt x="14978" y="447"/>
                  </a:cubicBezTo>
                  <a:cubicBezTo>
                    <a:pt x="14989" y="458"/>
                    <a:pt x="14997" y="474"/>
                    <a:pt x="15006" y="478"/>
                  </a:cubicBezTo>
                  <a:cubicBezTo>
                    <a:pt x="15006" y="484"/>
                    <a:pt x="15024" y="482"/>
                    <a:pt x="15024" y="473"/>
                  </a:cubicBezTo>
                  <a:cubicBezTo>
                    <a:pt x="15030" y="466"/>
                    <a:pt x="15036" y="458"/>
                    <a:pt x="15036" y="456"/>
                  </a:cubicBezTo>
                  <a:cubicBezTo>
                    <a:pt x="15036" y="453"/>
                    <a:pt x="15052" y="458"/>
                    <a:pt x="15058" y="467"/>
                  </a:cubicBezTo>
                  <a:cubicBezTo>
                    <a:pt x="15069" y="474"/>
                    <a:pt x="15090" y="509"/>
                    <a:pt x="15117" y="542"/>
                  </a:cubicBezTo>
                  <a:cubicBezTo>
                    <a:pt x="15139" y="576"/>
                    <a:pt x="15173" y="623"/>
                    <a:pt x="15190" y="648"/>
                  </a:cubicBezTo>
                  <a:cubicBezTo>
                    <a:pt x="15207" y="673"/>
                    <a:pt x="15236" y="708"/>
                    <a:pt x="15248" y="727"/>
                  </a:cubicBezTo>
                  <a:cubicBezTo>
                    <a:pt x="15260" y="745"/>
                    <a:pt x="15278" y="775"/>
                    <a:pt x="15293" y="792"/>
                  </a:cubicBezTo>
                  <a:cubicBezTo>
                    <a:pt x="15298" y="810"/>
                    <a:pt x="15318" y="838"/>
                    <a:pt x="15330" y="853"/>
                  </a:cubicBezTo>
                  <a:cubicBezTo>
                    <a:pt x="15340" y="870"/>
                    <a:pt x="15364" y="905"/>
                    <a:pt x="15376" y="933"/>
                  </a:cubicBezTo>
                  <a:cubicBezTo>
                    <a:pt x="15392" y="960"/>
                    <a:pt x="15402" y="989"/>
                    <a:pt x="15402" y="995"/>
                  </a:cubicBezTo>
                  <a:cubicBezTo>
                    <a:pt x="15397" y="1001"/>
                    <a:pt x="15412" y="1022"/>
                    <a:pt x="15412" y="1041"/>
                  </a:cubicBezTo>
                  <a:cubicBezTo>
                    <a:pt x="15423" y="1059"/>
                    <a:pt x="15429" y="1096"/>
                    <a:pt x="15446" y="1122"/>
                  </a:cubicBezTo>
                  <a:cubicBezTo>
                    <a:pt x="15462" y="1147"/>
                    <a:pt x="15468" y="1175"/>
                    <a:pt x="15468" y="1183"/>
                  </a:cubicBezTo>
                  <a:cubicBezTo>
                    <a:pt x="15468" y="1191"/>
                    <a:pt x="15481" y="1213"/>
                    <a:pt x="15481" y="1233"/>
                  </a:cubicBezTo>
                  <a:cubicBezTo>
                    <a:pt x="15491" y="1253"/>
                    <a:pt x="15506" y="1285"/>
                    <a:pt x="15511" y="1305"/>
                  </a:cubicBezTo>
                  <a:cubicBezTo>
                    <a:pt x="15522" y="1324"/>
                    <a:pt x="15537" y="1360"/>
                    <a:pt x="15559" y="1382"/>
                  </a:cubicBezTo>
                  <a:cubicBezTo>
                    <a:pt x="15570" y="1407"/>
                    <a:pt x="15591" y="1435"/>
                    <a:pt x="15597" y="1446"/>
                  </a:cubicBezTo>
                  <a:cubicBezTo>
                    <a:pt x="15608" y="1457"/>
                    <a:pt x="15618" y="1490"/>
                    <a:pt x="15635" y="1517"/>
                  </a:cubicBezTo>
                  <a:cubicBezTo>
                    <a:pt x="15652" y="1544"/>
                    <a:pt x="15673" y="1582"/>
                    <a:pt x="15688" y="1601"/>
                  </a:cubicBezTo>
                  <a:cubicBezTo>
                    <a:pt x="15704" y="1620"/>
                    <a:pt x="15728" y="1653"/>
                    <a:pt x="15733" y="1675"/>
                  </a:cubicBezTo>
                  <a:cubicBezTo>
                    <a:pt x="15750" y="1696"/>
                    <a:pt x="15753" y="1718"/>
                    <a:pt x="15749" y="1722"/>
                  </a:cubicBezTo>
                  <a:cubicBezTo>
                    <a:pt x="15743" y="1723"/>
                    <a:pt x="15749" y="1739"/>
                    <a:pt x="15755" y="1751"/>
                  </a:cubicBezTo>
                  <a:cubicBezTo>
                    <a:pt x="15764" y="1763"/>
                    <a:pt x="15772" y="1795"/>
                    <a:pt x="15792" y="1818"/>
                  </a:cubicBezTo>
                  <a:cubicBezTo>
                    <a:pt x="15803" y="1843"/>
                    <a:pt x="15836" y="1890"/>
                    <a:pt x="15852" y="1925"/>
                  </a:cubicBezTo>
                  <a:cubicBezTo>
                    <a:pt x="15874" y="1960"/>
                    <a:pt x="15884" y="1996"/>
                    <a:pt x="15890" y="2004"/>
                  </a:cubicBezTo>
                  <a:cubicBezTo>
                    <a:pt x="15896" y="2012"/>
                    <a:pt x="15911" y="2047"/>
                    <a:pt x="15927" y="2081"/>
                  </a:cubicBezTo>
                  <a:cubicBezTo>
                    <a:pt x="15945" y="2116"/>
                    <a:pt x="15962" y="2150"/>
                    <a:pt x="15973" y="2154"/>
                  </a:cubicBezTo>
                  <a:cubicBezTo>
                    <a:pt x="15979" y="2160"/>
                    <a:pt x="15986" y="2174"/>
                    <a:pt x="15998" y="2182"/>
                  </a:cubicBezTo>
                  <a:cubicBezTo>
                    <a:pt x="16003" y="2191"/>
                    <a:pt x="16012" y="2195"/>
                    <a:pt x="16012" y="2191"/>
                  </a:cubicBezTo>
                  <a:cubicBezTo>
                    <a:pt x="16012" y="2187"/>
                    <a:pt x="16020" y="2189"/>
                    <a:pt x="16026" y="2198"/>
                  </a:cubicBezTo>
                  <a:cubicBezTo>
                    <a:pt x="16031" y="2207"/>
                    <a:pt x="16054" y="2234"/>
                    <a:pt x="16065" y="2261"/>
                  </a:cubicBezTo>
                  <a:cubicBezTo>
                    <a:pt x="16081" y="2287"/>
                    <a:pt x="16097" y="2327"/>
                    <a:pt x="16108" y="2348"/>
                  </a:cubicBezTo>
                  <a:cubicBezTo>
                    <a:pt x="16113" y="2369"/>
                    <a:pt x="16126" y="2397"/>
                    <a:pt x="16126" y="2410"/>
                  </a:cubicBezTo>
                  <a:cubicBezTo>
                    <a:pt x="16131" y="2423"/>
                    <a:pt x="16117" y="2429"/>
                    <a:pt x="16100" y="2426"/>
                  </a:cubicBezTo>
                  <a:cubicBezTo>
                    <a:pt x="16086" y="2421"/>
                    <a:pt x="16074" y="2428"/>
                    <a:pt x="16068" y="2439"/>
                  </a:cubicBezTo>
                  <a:cubicBezTo>
                    <a:pt x="16062" y="2451"/>
                    <a:pt x="16062" y="2493"/>
                    <a:pt x="16067" y="2532"/>
                  </a:cubicBezTo>
                  <a:cubicBezTo>
                    <a:pt x="16067" y="2572"/>
                    <a:pt x="16066" y="2602"/>
                    <a:pt x="16060" y="2602"/>
                  </a:cubicBezTo>
                  <a:cubicBezTo>
                    <a:pt x="16055" y="2600"/>
                    <a:pt x="16038" y="2582"/>
                    <a:pt x="16023" y="2562"/>
                  </a:cubicBezTo>
                  <a:cubicBezTo>
                    <a:pt x="16006" y="2543"/>
                    <a:pt x="15977" y="2515"/>
                    <a:pt x="15961" y="2500"/>
                  </a:cubicBezTo>
                  <a:cubicBezTo>
                    <a:pt x="15943" y="2485"/>
                    <a:pt x="15920" y="2471"/>
                    <a:pt x="15911" y="2469"/>
                  </a:cubicBezTo>
                  <a:cubicBezTo>
                    <a:pt x="15911" y="2464"/>
                    <a:pt x="15890" y="2458"/>
                    <a:pt x="15886" y="2448"/>
                  </a:cubicBezTo>
                  <a:cubicBezTo>
                    <a:pt x="15879" y="2439"/>
                    <a:pt x="15863" y="2426"/>
                    <a:pt x="15858" y="2417"/>
                  </a:cubicBezTo>
                  <a:cubicBezTo>
                    <a:pt x="15847" y="2413"/>
                    <a:pt x="15836" y="2408"/>
                    <a:pt x="15822" y="2408"/>
                  </a:cubicBezTo>
                  <a:cubicBezTo>
                    <a:pt x="15855" y="2463"/>
                    <a:pt x="15919" y="2600"/>
                    <a:pt x="15980" y="2752"/>
                  </a:cubicBezTo>
                  <a:cubicBezTo>
                    <a:pt x="16062" y="2938"/>
                    <a:pt x="16143" y="3126"/>
                    <a:pt x="16165" y="3169"/>
                  </a:cubicBezTo>
                  <a:cubicBezTo>
                    <a:pt x="16191" y="3211"/>
                    <a:pt x="16215" y="3275"/>
                    <a:pt x="16226" y="3308"/>
                  </a:cubicBezTo>
                  <a:cubicBezTo>
                    <a:pt x="16237" y="3341"/>
                    <a:pt x="16256" y="3391"/>
                    <a:pt x="16272" y="3417"/>
                  </a:cubicBezTo>
                  <a:cubicBezTo>
                    <a:pt x="16288" y="3442"/>
                    <a:pt x="16317" y="3505"/>
                    <a:pt x="16328" y="3556"/>
                  </a:cubicBezTo>
                  <a:cubicBezTo>
                    <a:pt x="16350" y="3606"/>
                    <a:pt x="16381" y="3685"/>
                    <a:pt x="16409" y="3730"/>
                  </a:cubicBezTo>
                  <a:cubicBezTo>
                    <a:pt x="16432" y="3776"/>
                    <a:pt x="16489" y="3848"/>
                    <a:pt x="16531" y="3892"/>
                  </a:cubicBezTo>
                  <a:cubicBezTo>
                    <a:pt x="16571" y="3936"/>
                    <a:pt x="16605" y="3954"/>
                    <a:pt x="16610" y="3933"/>
                  </a:cubicBezTo>
                  <a:cubicBezTo>
                    <a:pt x="16610" y="3912"/>
                    <a:pt x="16635" y="3906"/>
                    <a:pt x="16657" y="3918"/>
                  </a:cubicBezTo>
                  <a:cubicBezTo>
                    <a:pt x="16678" y="3931"/>
                    <a:pt x="16720" y="3959"/>
                    <a:pt x="16747" y="3982"/>
                  </a:cubicBezTo>
                  <a:cubicBezTo>
                    <a:pt x="16773" y="4005"/>
                    <a:pt x="16814" y="4048"/>
                    <a:pt x="16837" y="4080"/>
                  </a:cubicBezTo>
                  <a:cubicBezTo>
                    <a:pt x="16859" y="4111"/>
                    <a:pt x="16873" y="4105"/>
                    <a:pt x="16861" y="4066"/>
                  </a:cubicBezTo>
                  <a:cubicBezTo>
                    <a:pt x="16856" y="4026"/>
                    <a:pt x="16842" y="3970"/>
                    <a:pt x="16821" y="3944"/>
                  </a:cubicBezTo>
                  <a:cubicBezTo>
                    <a:pt x="16810" y="3915"/>
                    <a:pt x="16789" y="3874"/>
                    <a:pt x="16778" y="3851"/>
                  </a:cubicBezTo>
                  <a:cubicBezTo>
                    <a:pt x="16778" y="3828"/>
                    <a:pt x="16768" y="3808"/>
                    <a:pt x="16778" y="3806"/>
                  </a:cubicBezTo>
                  <a:cubicBezTo>
                    <a:pt x="16786" y="3803"/>
                    <a:pt x="16794" y="3796"/>
                    <a:pt x="16794" y="3788"/>
                  </a:cubicBezTo>
                  <a:cubicBezTo>
                    <a:pt x="16794" y="3781"/>
                    <a:pt x="16821" y="3797"/>
                    <a:pt x="16849" y="3826"/>
                  </a:cubicBezTo>
                  <a:cubicBezTo>
                    <a:pt x="16877" y="3854"/>
                    <a:pt x="16930" y="3916"/>
                    <a:pt x="16958" y="3963"/>
                  </a:cubicBezTo>
                  <a:cubicBezTo>
                    <a:pt x="16987" y="4011"/>
                    <a:pt x="17043" y="4092"/>
                    <a:pt x="17080" y="4144"/>
                  </a:cubicBezTo>
                  <a:cubicBezTo>
                    <a:pt x="17114" y="4197"/>
                    <a:pt x="17175" y="4283"/>
                    <a:pt x="17208" y="4336"/>
                  </a:cubicBezTo>
                  <a:cubicBezTo>
                    <a:pt x="17245" y="4389"/>
                    <a:pt x="17301" y="4469"/>
                    <a:pt x="17328" y="4514"/>
                  </a:cubicBezTo>
                  <a:cubicBezTo>
                    <a:pt x="17360" y="4558"/>
                    <a:pt x="17393" y="4612"/>
                    <a:pt x="17404" y="4633"/>
                  </a:cubicBezTo>
                  <a:cubicBezTo>
                    <a:pt x="17415" y="4655"/>
                    <a:pt x="17431" y="4688"/>
                    <a:pt x="17442" y="4707"/>
                  </a:cubicBezTo>
                  <a:cubicBezTo>
                    <a:pt x="17452" y="4727"/>
                    <a:pt x="17466" y="4760"/>
                    <a:pt x="17477" y="4781"/>
                  </a:cubicBezTo>
                  <a:cubicBezTo>
                    <a:pt x="17483" y="4802"/>
                    <a:pt x="17494" y="4829"/>
                    <a:pt x="17499" y="4841"/>
                  </a:cubicBezTo>
                  <a:cubicBezTo>
                    <a:pt x="17499" y="4854"/>
                    <a:pt x="17512" y="4877"/>
                    <a:pt x="17517" y="4894"/>
                  </a:cubicBezTo>
                  <a:cubicBezTo>
                    <a:pt x="17527" y="4910"/>
                    <a:pt x="17535" y="4935"/>
                    <a:pt x="17535" y="4948"/>
                  </a:cubicBezTo>
                  <a:cubicBezTo>
                    <a:pt x="17535" y="4961"/>
                    <a:pt x="17534" y="4964"/>
                    <a:pt x="17523" y="4955"/>
                  </a:cubicBezTo>
                  <a:cubicBezTo>
                    <a:pt x="17514" y="4946"/>
                    <a:pt x="17501" y="4927"/>
                    <a:pt x="17490" y="4913"/>
                  </a:cubicBezTo>
                  <a:cubicBezTo>
                    <a:pt x="17480" y="4899"/>
                    <a:pt x="17465" y="4885"/>
                    <a:pt x="17457" y="4882"/>
                  </a:cubicBezTo>
                  <a:cubicBezTo>
                    <a:pt x="17457" y="4877"/>
                    <a:pt x="17440" y="4882"/>
                    <a:pt x="17440" y="4889"/>
                  </a:cubicBezTo>
                  <a:cubicBezTo>
                    <a:pt x="17434" y="4895"/>
                    <a:pt x="17418" y="4882"/>
                    <a:pt x="17401" y="4858"/>
                  </a:cubicBezTo>
                  <a:cubicBezTo>
                    <a:pt x="17374" y="4836"/>
                    <a:pt x="17358" y="4814"/>
                    <a:pt x="17352" y="4814"/>
                  </a:cubicBezTo>
                  <a:cubicBezTo>
                    <a:pt x="17345" y="4814"/>
                    <a:pt x="17348" y="4834"/>
                    <a:pt x="17348" y="4860"/>
                  </a:cubicBezTo>
                  <a:cubicBezTo>
                    <a:pt x="17348" y="4886"/>
                    <a:pt x="17358" y="4924"/>
                    <a:pt x="17353" y="4943"/>
                  </a:cubicBezTo>
                  <a:cubicBezTo>
                    <a:pt x="17353" y="4962"/>
                    <a:pt x="17348" y="4984"/>
                    <a:pt x="17344" y="4992"/>
                  </a:cubicBezTo>
                  <a:cubicBezTo>
                    <a:pt x="17349" y="5000"/>
                    <a:pt x="17331" y="4988"/>
                    <a:pt x="17310" y="4967"/>
                  </a:cubicBezTo>
                  <a:cubicBezTo>
                    <a:pt x="17298" y="4945"/>
                    <a:pt x="17275" y="4927"/>
                    <a:pt x="17275" y="4929"/>
                  </a:cubicBezTo>
                  <a:cubicBezTo>
                    <a:pt x="17273" y="4929"/>
                    <a:pt x="17276" y="4949"/>
                    <a:pt x="17287" y="4972"/>
                  </a:cubicBezTo>
                  <a:cubicBezTo>
                    <a:pt x="17299" y="4995"/>
                    <a:pt x="17309" y="5024"/>
                    <a:pt x="17309" y="5036"/>
                  </a:cubicBezTo>
                  <a:cubicBezTo>
                    <a:pt x="17309" y="5047"/>
                    <a:pt x="17308" y="5054"/>
                    <a:pt x="17302" y="5054"/>
                  </a:cubicBezTo>
                  <a:cubicBezTo>
                    <a:pt x="17302" y="5051"/>
                    <a:pt x="17287" y="5046"/>
                    <a:pt x="17279" y="5041"/>
                  </a:cubicBezTo>
                  <a:cubicBezTo>
                    <a:pt x="17273" y="5035"/>
                    <a:pt x="17271" y="5041"/>
                    <a:pt x="17271" y="5055"/>
                  </a:cubicBezTo>
                  <a:cubicBezTo>
                    <a:pt x="17277" y="5068"/>
                    <a:pt x="17278" y="5102"/>
                    <a:pt x="17284" y="5131"/>
                  </a:cubicBezTo>
                  <a:cubicBezTo>
                    <a:pt x="17289" y="5160"/>
                    <a:pt x="17307" y="5213"/>
                    <a:pt x="17318" y="5251"/>
                  </a:cubicBezTo>
                  <a:cubicBezTo>
                    <a:pt x="17335" y="5288"/>
                    <a:pt x="17353" y="5341"/>
                    <a:pt x="17364" y="5368"/>
                  </a:cubicBezTo>
                  <a:cubicBezTo>
                    <a:pt x="17374" y="5395"/>
                    <a:pt x="17387" y="5428"/>
                    <a:pt x="17387" y="5441"/>
                  </a:cubicBezTo>
                  <a:cubicBezTo>
                    <a:pt x="17387" y="5455"/>
                    <a:pt x="17382" y="5467"/>
                    <a:pt x="17373" y="5467"/>
                  </a:cubicBezTo>
                  <a:cubicBezTo>
                    <a:pt x="17382" y="5467"/>
                    <a:pt x="17354" y="5489"/>
                    <a:pt x="17343" y="5515"/>
                  </a:cubicBezTo>
                  <a:cubicBezTo>
                    <a:pt x="17337" y="5541"/>
                    <a:pt x="17315" y="5558"/>
                    <a:pt x="17304" y="5550"/>
                  </a:cubicBezTo>
                  <a:cubicBezTo>
                    <a:pt x="17288" y="5546"/>
                    <a:pt x="17268" y="5527"/>
                    <a:pt x="17251" y="5514"/>
                  </a:cubicBezTo>
                  <a:cubicBezTo>
                    <a:pt x="17235" y="5500"/>
                    <a:pt x="17219" y="5496"/>
                    <a:pt x="17219" y="5504"/>
                  </a:cubicBezTo>
                  <a:cubicBezTo>
                    <a:pt x="17219" y="5512"/>
                    <a:pt x="17222" y="5556"/>
                    <a:pt x="17233" y="5601"/>
                  </a:cubicBezTo>
                  <a:cubicBezTo>
                    <a:pt x="17245" y="5647"/>
                    <a:pt x="17245" y="5695"/>
                    <a:pt x="17245" y="5708"/>
                  </a:cubicBezTo>
                  <a:cubicBezTo>
                    <a:pt x="17240" y="5720"/>
                    <a:pt x="17235" y="5743"/>
                    <a:pt x="17230" y="5758"/>
                  </a:cubicBezTo>
                  <a:cubicBezTo>
                    <a:pt x="17225" y="5773"/>
                    <a:pt x="17221" y="5798"/>
                    <a:pt x="17221" y="5813"/>
                  </a:cubicBezTo>
                  <a:cubicBezTo>
                    <a:pt x="17221" y="5828"/>
                    <a:pt x="17224" y="5856"/>
                    <a:pt x="17229" y="5875"/>
                  </a:cubicBezTo>
                  <a:cubicBezTo>
                    <a:pt x="17240" y="5893"/>
                    <a:pt x="17234" y="5909"/>
                    <a:pt x="17229" y="5909"/>
                  </a:cubicBezTo>
                  <a:cubicBezTo>
                    <a:pt x="17224" y="5910"/>
                    <a:pt x="17209" y="5893"/>
                    <a:pt x="17189" y="5875"/>
                  </a:cubicBezTo>
                  <a:cubicBezTo>
                    <a:pt x="17173" y="5856"/>
                    <a:pt x="17141" y="5831"/>
                    <a:pt x="17128" y="5816"/>
                  </a:cubicBezTo>
                  <a:cubicBezTo>
                    <a:pt x="17108" y="5804"/>
                    <a:pt x="17078" y="5773"/>
                    <a:pt x="17055" y="5751"/>
                  </a:cubicBezTo>
                  <a:cubicBezTo>
                    <a:pt x="17033" y="5728"/>
                    <a:pt x="16992" y="5686"/>
                    <a:pt x="16970" y="5656"/>
                  </a:cubicBezTo>
                  <a:cubicBezTo>
                    <a:pt x="16947" y="5627"/>
                    <a:pt x="16914" y="5597"/>
                    <a:pt x="16900" y="5589"/>
                  </a:cubicBezTo>
                  <a:cubicBezTo>
                    <a:pt x="16884" y="5581"/>
                    <a:pt x="16856" y="5575"/>
                    <a:pt x="16837" y="5574"/>
                  </a:cubicBezTo>
                  <a:cubicBezTo>
                    <a:pt x="16817" y="5574"/>
                    <a:pt x="16796" y="5586"/>
                    <a:pt x="16790" y="5602"/>
                  </a:cubicBezTo>
                  <a:cubicBezTo>
                    <a:pt x="16785" y="5619"/>
                    <a:pt x="16783" y="5651"/>
                    <a:pt x="16783" y="5675"/>
                  </a:cubicBezTo>
                  <a:cubicBezTo>
                    <a:pt x="16783" y="5698"/>
                    <a:pt x="16803" y="5765"/>
                    <a:pt x="16825" y="5822"/>
                  </a:cubicBezTo>
                  <a:cubicBezTo>
                    <a:pt x="16841" y="5881"/>
                    <a:pt x="16869" y="5952"/>
                    <a:pt x="16885" y="5980"/>
                  </a:cubicBezTo>
                  <a:cubicBezTo>
                    <a:pt x="16896" y="6010"/>
                    <a:pt x="16918" y="6048"/>
                    <a:pt x="16918" y="6066"/>
                  </a:cubicBezTo>
                  <a:cubicBezTo>
                    <a:pt x="16928" y="6083"/>
                    <a:pt x="16961" y="6140"/>
                    <a:pt x="17005" y="6191"/>
                  </a:cubicBezTo>
                  <a:cubicBezTo>
                    <a:pt x="17048" y="6242"/>
                    <a:pt x="17107" y="6322"/>
                    <a:pt x="17149" y="6365"/>
                  </a:cubicBezTo>
                  <a:cubicBezTo>
                    <a:pt x="17183" y="6410"/>
                    <a:pt x="17221" y="6459"/>
                    <a:pt x="17227" y="6475"/>
                  </a:cubicBezTo>
                  <a:cubicBezTo>
                    <a:pt x="17227" y="6492"/>
                    <a:pt x="17237" y="6523"/>
                    <a:pt x="17242" y="6545"/>
                  </a:cubicBezTo>
                  <a:cubicBezTo>
                    <a:pt x="17242" y="6567"/>
                    <a:pt x="17245" y="6604"/>
                    <a:pt x="17251" y="6626"/>
                  </a:cubicBezTo>
                  <a:cubicBezTo>
                    <a:pt x="17251" y="6648"/>
                    <a:pt x="17246" y="6710"/>
                    <a:pt x="17246" y="6764"/>
                  </a:cubicBezTo>
                  <a:cubicBezTo>
                    <a:pt x="17241" y="6818"/>
                    <a:pt x="17235" y="6904"/>
                    <a:pt x="17246" y="6954"/>
                  </a:cubicBezTo>
                  <a:cubicBezTo>
                    <a:pt x="17246" y="7004"/>
                    <a:pt x="17254" y="7079"/>
                    <a:pt x="17265" y="7119"/>
                  </a:cubicBezTo>
                  <a:cubicBezTo>
                    <a:pt x="17265" y="7160"/>
                    <a:pt x="17268" y="7190"/>
                    <a:pt x="17257" y="7186"/>
                  </a:cubicBezTo>
                  <a:cubicBezTo>
                    <a:pt x="17245" y="7183"/>
                    <a:pt x="17225" y="7182"/>
                    <a:pt x="17210" y="7188"/>
                  </a:cubicBezTo>
                  <a:cubicBezTo>
                    <a:pt x="17196" y="7195"/>
                    <a:pt x="17172" y="7194"/>
                    <a:pt x="17156" y="7192"/>
                  </a:cubicBezTo>
                  <a:cubicBezTo>
                    <a:pt x="17143" y="7186"/>
                    <a:pt x="17119" y="7198"/>
                    <a:pt x="17113" y="7216"/>
                  </a:cubicBezTo>
                  <a:cubicBezTo>
                    <a:pt x="17103" y="7233"/>
                    <a:pt x="17086" y="7265"/>
                    <a:pt x="17081" y="7285"/>
                  </a:cubicBezTo>
                  <a:cubicBezTo>
                    <a:pt x="17075" y="7306"/>
                    <a:pt x="17050" y="7319"/>
                    <a:pt x="17033" y="7314"/>
                  </a:cubicBezTo>
                  <a:cubicBezTo>
                    <a:pt x="17015" y="7309"/>
                    <a:pt x="16979" y="7301"/>
                    <a:pt x="16954" y="7297"/>
                  </a:cubicBezTo>
                  <a:cubicBezTo>
                    <a:pt x="16930" y="7290"/>
                    <a:pt x="16895" y="7294"/>
                    <a:pt x="16880" y="7299"/>
                  </a:cubicBezTo>
                  <a:cubicBezTo>
                    <a:pt x="16865" y="7304"/>
                    <a:pt x="16839" y="7314"/>
                    <a:pt x="16821" y="7319"/>
                  </a:cubicBezTo>
                  <a:cubicBezTo>
                    <a:pt x="16802" y="7322"/>
                    <a:pt x="16758" y="7342"/>
                    <a:pt x="16719" y="7358"/>
                  </a:cubicBezTo>
                  <a:cubicBezTo>
                    <a:pt x="16682" y="7377"/>
                    <a:pt x="16625" y="7402"/>
                    <a:pt x="16591" y="7411"/>
                  </a:cubicBezTo>
                  <a:cubicBezTo>
                    <a:pt x="16559" y="7423"/>
                    <a:pt x="16526" y="7463"/>
                    <a:pt x="16521" y="7500"/>
                  </a:cubicBezTo>
                  <a:cubicBezTo>
                    <a:pt x="16515" y="7538"/>
                    <a:pt x="16501" y="7600"/>
                    <a:pt x="16479" y="7637"/>
                  </a:cubicBezTo>
                  <a:cubicBezTo>
                    <a:pt x="16469" y="7675"/>
                    <a:pt x="16446" y="7719"/>
                    <a:pt x="16436" y="7736"/>
                  </a:cubicBezTo>
                  <a:cubicBezTo>
                    <a:pt x="16436" y="7753"/>
                    <a:pt x="16410" y="7763"/>
                    <a:pt x="16392" y="7758"/>
                  </a:cubicBezTo>
                  <a:cubicBezTo>
                    <a:pt x="16375" y="7753"/>
                    <a:pt x="16340" y="7734"/>
                    <a:pt x="16313" y="7714"/>
                  </a:cubicBezTo>
                  <a:cubicBezTo>
                    <a:pt x="16286" y="7696"/>
                    <a:pt x="16257" y="7667"/>
                    <a:pt x="16257" y="7652"/>
                  </a:cubicBezTo>
                  <a:cubicBezTo>
                    <a:pt x="16245" y="7638"/>
                    <a:pt x="16236" y="7607"/>
                    <a:pt x="16231" y="7584"/>
                  </a:cubicBezTo>
                  <a:cubicBezTo>
                    <a:pt x="16226" y="7562"/>
                    <a:pt x="16191" y="7549"/>
                    <a:pt x="16165" y="7557"/>
                  </a:cubicBezTo>
                  <a:cubicBezTo>
                    <a:pt x="16137" y="7563"/>
                    <a:pt x="16095" y="7567"/>
                    <a:pt x="16070" y="7567"/>
                  </a:cubicBezTo>
                  <a:cubicBezTo>
                    <a:pt x="16045" y="7565"/>
                    <a:pt x="15992" y="7537"/>
                    <a:pt x="15958" y="7501"/>
                  </a:cubicBezTo>
                  <a:cubicBezTo>
                    <a:pt x="15915" y="7468"/>
                    <a:pt x="15871" y="7428"/>
                    <a:pt x="15847" y="7417"/>
                  </a:cubicBezTo>
                  <a:cubicBezTo>
                    <a:pt x="15822" y="7407"/>
                    <a:pt x="15757" y="7354"/>
                    <a:pt x="15691" y="7307"/>
                  </a:cubicBezTo>
                  <a:cubicBezTo>
                    <a:pt x="15633" y="7256"/>
                    <a:pt x="15525" y="7170"/>
                    <a:pt x="15459" y="7114"/>
                  </a:cubicBezTo>
                  <a:cubicBezTo>
                    <a:pt x="15398" y="7057"/>
                    <a:pt x="15308" y="6967"/>
                    <a:pt x="15263" y="6913"/>
                  </a:cubicBezTo>
                  <a:cubicBezTo>
                    <a:pt x="15220" y="6858"/>
                    <a:pt x="15165" y="6808"/>
                    <a:pt x="15143" y="6799"/>
                  </a:cubicBezTo>
                  <a:cubicBezTo>
                    <a:pt x="15119" y="6793"/>
                    <a:pt x="15048" y="6760"/>
                    <a:pt x="14981" y="6731"/>
                  </a:cubicBezTo>
                  <a:cubicBezTo>
                    <a:pt x="14913" y="6702"/>
                    <a:pt x="14817" y="6666"/>
                    <a:pt x="14764" y="6653"/>
                  </a:cubicBezTo>
                  <a:cubicBezTo>
                    <a:pt x="14711" y="6640"/>
                    <a:pt x="14655" y="6621"/>
                    <a:pt x="14639" y="6612"/>
                  </a:cubicBezTo>
                  <a:cubicBezTo>
                    <a:pt x="14624" y="6603"/>
                    <a:pt x="14608" y="6603"/>
                    <a:pt x="14598" y="6608"/>
                  </a:cubicBezTo>
                  <a:cubicBezTo>
                    <a:pt x="14592" y="6616"/>
                    <a:pt x="14585" y="6633"/>
                    <a:pt x="14585" y="6648"/>
                  </a:cubicBezTo>
                  <a:cubicBezTo>
                    <a:pt x="14585" y="6663"/>
                    <a:pt x="14567" y="6684"/>
                    <a:pt x="14540" y="6692"/>
                  </a:cubicBezTo>
                  <a:cubicBezTo>
                    <a:pt x="14515" y="6700"/>
                    <a:pt x="14462" y="6702"/>
                    <a:pt x="14420" y="6699"/>
                  </a:cubicBezTo>
                  <a:cubicBezTo>
                    <a:pt x="14378" y="6694"/>
                    <a:pt x="14277" y="6665"/>
                    <a:pt x="14197" y="6632"/>
                  </a:cubicBezTo>
                  <a:cubicBezTo>
                    <a:pt x="14116" y="6600"/>
                    <a:pt x="14001" y="6569"/>
                    <a:pt x="13945" y="6557"/>
                  </a:cubicBezTo>
                  <a:cubicBezTo>
                    <a:pt x="13887" y="6548"/>
                    <a:pt x="13803" y="6525"/>
                    <a:pt x="13757" y="6509"/>
                  </a:cubicBezTo>
                  <a:cubicBezTo>
                    <a:pt x="13710" y="6493"/>
                    <a:pt x="13641" y="6478"/>
                    <a:pt x="13604" y="6473"/>
                  </a:cubicBezTo>
                  <a:cubicBezTo>
                    <a:pt x="13567" y="6469"/>
                    <a:pt x="13520" y="6464"/>
                    <a:pt x="13501" y="6463"/>
                  </a:cubicBezTo>
                  <a:cubicBezTo>
                    <a:pt x="13481" y="6461"/>
                    <a:pt x="13451" y="6448"/>
                    <a:pt x="13429" y="6436"/>
                  </a:cubicBezTo>
                  <a:cubicBezTo>
                    <a:pt x="13411" y="6422"/>
                    <a:pt x="13358" y="6355"/>
                    <a:pt x="13314" y="6286"/>
                  </a:cubicBezTo>
                  <a:cubicBezTo>
                    <a:pt x="13270" y="6217"/>
                    <a:pt x="13223" y="6132"/>
                    <a:pt x="13201" y="6098"/>
                  </a:cubicBezTo>
                  <a:cubicBezTo>
                    <a:pt x="13185" y="6063"/>
                    <a:pt x="13134" y="5995"/>
                    <a:pt x="13101" y="5943"/>
                  </a:cubicBezTo>
                  <a:cubicBezTo>
                    <a:pt x="13061" y="5892"/>
                    <a:pt x="13011" y="5821"/>
                    <a:pt x="12984" y="5786"/>
                  </a:cubicBezTo>
                  <a:cubicBezTo>
                    <a:pt x="12956" y="5750"/>
                    <a:pt x="12908" y="5685"/>
                    <a:pt x="12886" y="5639"/>
                  </a:cubicBezTo>
                  <a:cubicBezTo>
                    <a:pt x="12854" y="5595"/>
                    <a:pt x="12834" y="5540"/>
                    <a:pt x="12824" y="5522"/>
                  </a:cubicBezTo>
                  <a:cubicBezTo>
                    <a:pt x="12818" y="5503"/>
                    <a:pt x="12790" y="5466"/>
                    <a:pt x="12768" y="5439"/>
                  </a:cubicBezTo>
                  <a:cubicBezTo>
                    <a:pt x="12745" y="5412"/>
                    <a:pt x="12715" y="5379"/>
                    <a:pt x="12693" y="5368"/>
                  </a:cubicBezTo>
                  <a:cubicBezTo>
                    <a:pt x="12673" y="5357"/>
                    <a:pt x="12651" y="5342"/>
                    <a:pt x="12639" y="5337"/>
                  </a:cubicBezTo>
                  <a:cubicBezTo>
                    <a:pt x="12629" y="5332"/>
                    <a:pt x="12612" y="5314"/>
                    <a:pt x="12601" y="5296"/>
                  </a:cubicBezTo>
                  <a:cubicBezTo>
                    <a:pt x="12591" y="5279"/>
                    <a:pt x="12572" y="5243"/>
                    <a:pt x="12561" y="5216"/>
                  </a:cubicBezTo>
                  <a:cubicBezTo>
                    <a:pt x="12551" y="5189"/>
                    <a:pt x="12535" y="5162"/>
                    <a:pt x="12525" y="5156"/>
                  </a:cubicBezTo>
                  <a:cubicBezTo>
                    <a:pt x="12518" y="5149"/>
                    <a:pt x="12502" y="5146"/>
                    <a:pt x="12494" y="5147"/>
                  </a:cubicBezTo>
                  <a:cubicBezTo>
                    <a:pt x="12494" y="5152"/>
                    <a:pt x="12454" y="5142"/>
                    <a:pt x="12424" y="5134"/>
                  </a:cubicBezTo>
                  <a:cubicBezTo>
                    <a:pt x="12393" y="5127"/>
                    <a:pt x="12338" y="5099"/>
                    <a:pt x="12310" y="5070"/>
                  </a:cubicBezTo>
                  <a:cubicBezTo>
                    <a:pt x="12274" y="5045"/>
                    <a:pt x="12210" y="4980"/>
                    <a:pt x="12154" y="4932"/>
                  </a:cubicBezTo>
                  <a:cubicBezTo>
                    <a:pt x="12107" y="4881"/>
                    <a:pt x="12042" y="4837"/>
                    <a:pt x="12029" y="4828"/>
                  </a:cubicBezTo>
                  <a:cubicBezTo>
                    <a:pt x="12013" y="4821"/>
                    <a:pt x="11993" y="4813"/>
                    <a:pt x="11984" y="4811"/>
                  </a:cubicBezTo>
                  <a:cubicBezTo>
                    <a:pt x="11974" y="4809"/>
                    <a:pt x="11949" y="4798"/>
                    <a:pt x="11927" y="4789"/>
                  </a:cubicBezTo>
                  <a:cubicBezTo>
                    <a:pt x="11909" y="4778"/>
                    <a:pt x="11878" y="4755"/>
                    <a:pt x="11862" y="4736"/>
                  </a:cubicBezTo>
                  <a:cubicBezTo>
                    <a:pt x="11846" y="4717"/>
                    <a:pt x="11798" y="4670"/>
                    <a:pt x="11753" y="4631"/>
                  </a:cubicBezTo>
                  <a:cubicBezTo>
                    <a:pt x="11707" y="4594"/>
                    <a:pt x="11605" y="4526"/>
                    <a:pt x="11518" y="4485"/>
                  </a:cubicBezTo>
                  <a:cubicBezTo>
                    <a:pt x="11434" y="4442"/>
                    <a:pt x="11358" y="4409"/>
                    <a:pt x="11351" y="4409"/>
                  </a:cubicBezTo>
                  <a:cubicBezTo>
                    <a:pt x="11345" y="4407"/>
                    <a:pt x="11333" y="4417"/>
                    <a:pt x="11328" y="4425"/>
                  </a:cubicBezTo>
                  <a:cubicBezTo>
                    <a:pt x="11323" y="4434"/>
                    <a:pt x="11292" y="4438"/>
                    <a:pt x="11263" y="4434"/>
                  </a:cubicBezTo>
                  <a:cubicBezTo>
                    <a:pt x="11233" y="4431"/>
                    <a:pt x="11169" y="4418"/>
                    <a:pt x="11118" y="4408"/>
                  </a:cubicBezTo>
                  <a:cubicBezTo>
                    <a:pt x="11068" y="4398"/>
                    <a:pt x="10929" y="4336"/>
                    <a:pt x="10798" y="4279"/>
                  </a:cubicBezTo>
                  <a:cubicBezTo>
                    <a:pt x="10672" y="4218"/>
                    <a:pt x="10538" y="4150"/>
                    <a:pt x="10506" y="4124"/>
                  </a:cubicBezTo>
                  <a:cubicBezTo>
                    <a:pt x="10474" y="4099"/>
                    <a:pt x="10409" y="4032"/>
                    <a:pt x="10364" y="3974"/>
                  </a:cubicBezTo>
                  <a:cubicBezTo>
                    <a:pt x="10321" y="3917"/>
                    <a:pt x="10270" y="3850"/>
                    <a:pt x="10259" y="3825"/>
                  </a:cubicBezTo>
                  <a:cubicBezTo>
                    <a:pt x="10248" y="3799"/>
                    <a:pt x="10227" y="3761"/>
                    <a:pt x="10222" y="3739"/>
                  </a:cubicBezTo>
                  <a:cubicBezTo>
                    <a:pt x="10211" y="3717"/>
                    <a:pt x="10211" y="3688"/>
                    <a:pt x="10211" y="3674"/>
                  </a:cubicBezTo>
                  <a:cubicBezTo>
                    <a:pt x="10222" y="3661"/>
                    <a:pt x="10229" y="3639"/>
                    <a:pt x="10236" y="3626"/>
                  </a:cubicBezTo>
                  <a:cubicBezTo>
                    <a:pt x="10246" y="3613"/>
                    <a:pt x="10256" y="3582"/>
                    <a:pt x="10251" y="3557"/>
                  </a:cubicBezTo>
                  <a:cubicBezTo>
                    <a:pt x="10251" y="3532"/>
                    <a:pt x="10231" y="3492"/>
                    <a:pt x="10209" y="3470"/>
                  </a:cubicBezTo>
                  <a:cubicBezTo>
                    <a:pt x="10192" y="3445"/>
                    <a:pt x="10158" y="3397"/>
                    <a:pt x="10137" y="3361"/>
                  </a:cubicBezTo>
                  <a:cubicBezTo>
                    <a:pt x="10120" y="3324"/>
                    <a:pt x="10100" y="3280"/>
                    <a:pt x="10100" y="3263"/>
                  </a:cubicBezTo>
                  <a:cubicBezTo>
                    <a:pt x="10100" y="3245"/>
                    <a:pt x="10094" y="3203"/>
                    <a:pt x="10072" y="3170"/>
                  </a:cubicBezTo>
                  <a:cubicBezTo>
                    <a:pt x="10061" y="3136"/>
                    <a:pt x="10037" y="3090"/>
                    <a:pt x="10016" y="3071"/>
                  </a:cubicBezTo>
                  <a:cubicBezTo>
                    <a:pt x="10003" y="3049"/>
                    <a:pt x="9964" y="3005"/>
                    <a:pt x="9937" y="2971"/>
                  </a:cubicBezTo>
                  <a:cubicBezTo>
                    <a:pt x="9910" y="2936"/>
                    <a:pt x="9870" y="2896"/>
                    <a:pt x="9849" y="2880"/>
                  </a:cubicBezTo>
                  <a:cubicBezTo>
                    <a:pt x="9825" y="2866"/>
                    <a:pt x="9783" y="2834"/>
                    <a:pt x="9759" y="2808"/>
                  </a:cubicBezTo>
                  <a:cubicBezTo>
                    <a:pt x="9732" y="2785"/>
                    <a:pt x="9695" y="2742"/>
                    <a:pt x="9678" y="2714"/>
                  </a:cubicBezTo>
                  <a:cubicBezTo>
                    <a:pt x="9661" y="2686"/>
                    <a:pt x="9629" y="2643"/>
                    <a:pt x="9607" y="2618"/>
                  </a:cubicBezTo>
                  <a:cubicBezTo>
                    <a:pt x="9585" y="2593"/>
                    <a:pt x="9553" y="2549"/>
                    <a:pt x="9537" y="2520"/>
                  </a:cubicBezTo>
                  <a:cubicBezTo>
                    <a:pt x="9515" y="2492"/>
                    <a:pt x="9495" y="2449"/>
                    <a:pt x="9483" y="2425"/>
                  </a:cubicBezTo>
                  <a:cubicBezTo>
                    <a:pt x="9473" y="2401"/>
                    <a:pt x="9442" y="2359"/>
                    <a:pt x="9420" y="2331"/>
                  </a:cubicBezTo>
                  <a:cubicBezTo>
                    <a:pt x="9398" y="2303"/>
                    <a:pt x="9356" y="2261"/>
                    <a:pt x="9328" y="2238"/>
                  </a:cubicBezTo>
                  <a:cubicBezTo>
                    <a:pt x="9301" y="2214"/>
                    <a:pt x="9261" y="2185"/>
                    <a:pt x="9240" y="2174"/>
                  </a:cubicBezTo>
                  <a:cubicBezTo>
                    <a:pt x="9220" y="2161"/>
                    <a:pt x="9188" y="2136"/>
                    <a:pt x="9171" y="2116"/>
                  </a:cubicBezTo>
                  <a:cubicBezTo>
                    <a:pt x="9154" y="2096"/>
                    <a:pt x="9124" y="2066"/>
                    <a:pt x="9097" y="2052"/>
                  </a:cubicBezTo>
                  <a:cubicBezTo>
                    <a:pt x="9071" y="2038"/>
                    <a:pt x="9036" y="2023"/>
                    <a:pt x="9019" y="2020"/>
                  </a:cubicBezTo>
                  <a:cubicBezTo>
                    <a:pt x="9001" y="2015"/>
                    <a:pt x="8972" y="2023"/>
                    <a:pt x="8972" y="2035"/>
                  </a:cubicBezTo>
                  <a:cubicBezTo>
                    <a:pt x="8962" y="2045"/>
                    <a:pt x="8947" y="2055"/>
                    <a:pt x="8939" y="2061"/>
                  </a:cubicBezTo>
                  <a:cubicBezTo>
                    <a:pt x="8931" y="2066"/>
                    <a:pt x="8910" y="2057"/>
                    <a:pt x="8891" y="2051"/>
                  </a:cubicBezTo>
                  <a:cubicBezTo>
                    <a:pt x="8879" y="2040"/>
                    <a:pt x="8839" y="2008"/>
                    <a:pt x="8807" y="1977"/>
                  </a:cubicBezTo>
                  <a:cubicBezTo>
                    <a:pt x="8785" y="1943"/>
                    <a:pt x="8741" y="1907"/>
                    <a:pt x="8730" y="1892"/>
                  </a:cubicBezTo>
                  <a:cubicBezTo>
                    <a:pt x="8719" y="1877"/>
                    <a:pt x="8690" y="1859"/>
                    <a:pt x="8665" y="1855"/>
                  </a:cubicBezTo>
                  <a:cubicBezTo>
                    <a:pt x="8642" y="1848"/>
                    <a:pt x="8606" y="1852"/>
                    <a:pt x="8584" y="1859"/>
                  </a:cubicBezTo>
                  <a:cubicBezTo>
                    <a:pt x="8563" y="1864"/>
                    <a:pt x="8544" y="1881"/>
                    <a:pt x="8539" y="1891"/>
                  </a:cubicBezTo>
                  <a:cubicBezTo>
                    <a:pt x="8534" y="1902"/>
                    <a:pt x="8534" y="1924"/>
                    <a:pt x="8534" y="1940"/>
                  </a:cubicBezTo>
                  <a:cubicBezTo>
                    <a:pt x="8534" y="1956"/>
                    <a:pt x="8528" y="1967"/>
                    <a:pt x="8516" y="1965"/>
                  </a:cubicBezTo>
                  <a:cubicBezTo>
                    <a:pt x="8503" y="1962"/>
                    <a:pt x="8468" y="1939"/>
                    <a:pt x="8433" y="1914"/>
                  </a:cubicBezTo>
                  <a:cubicBezTo>
                    <a:pt x="8400" y="1889"/>
                    <a:pt x="8357" y="1850"/>
                    <a:pt x="8345" y="1825"/>
                  </a:cubicBezTo>
                  <a:cubicBezTo>
                    <a:pt x="8328" y="1802"/>
                    <a:pt x="8309" y="1774"/>
                    <a:pt x="8309" y="1763"/>
                  </a:cubicBezTo>
                  <a:cubicBezTo>
                    <a:pt x="8300" y="1754"/>
                    <a:pt x="8277" y="1720"/>
                    <a:pt x="8249" y="1689"/>
                  </a:cubicBezTo>
                  <a:cubicBezTo>
                    <a:pt x="8220" y="1659"/>
                    <a:pt x="8171" y="1612"/>
                    <a:pt x="8135" y="1588"/>
                  </a:cubicBezTo>
                  <a:cubicBezTo>
                    <a:pt x="8107" y="1560"/>
                    <a:pt x="8051" y="1516"/>
                    <a:pt x="8018" y="1487"/>
                  </a:cubicBezTo>
                  <a:cubicBezTo>
                    <a:pt x="7987" y="1457"/>
                    <a:pt x="7948" y="1423"/>
                    <a:pt x="7931" y="1412"/>
                  </a:cubicBezTo>
                  <a:cubicBezTo>
                    <a:pt x="7913" y="1401"/>
                    <a:pt x="7880" y="1378"/>
                    <a:pt x="7862" y="1360"/>
                  </a:cubicBezTo>
                  <a:cubicBezTo>
                    <a:pt x="7844" y="1342"/>
                    <a:pt x="7811" y="1311"/>
                    <a:pt x="7801" y="1290"/>
                  </a:cubicBezTo>
                  <a:cubicBezTo>
                    <a:pt x="7790" y="1269"/>
                    <a:pt x="7770" y="1237"/>
                    <a:pt x="7759" y="1217"/>
                  </a:cubicBezTo>
                  <a:cubicBezTo>
                    <a:pt x="7753" y="1197"/>
                    <a:pt x="7734" y="1166"/>
                    <a:pt x="7718" y="1150"/>
                  </a:cubicBezTo>
                  <a:cubicBezTo>
                    <a:pt x="7702" y="1133"/>
                    <a:pt x="7687" y="1118"/>
                    <a:pt x="7687" y="1120"/>
                  </a:cubicBezTo>
                  <a:cubicBezTo>
                    <a:pt x="7691" y="1120"/>
                    <a:pt x="7684" y="1130"/>
                    <a:pt x="7684" y="1138"/>
                  </a:cubicBezTo>
                  <a:cubicBezTo>
                    <a:pt x="7684" y="1146"/>
                    <a:pt x="7681" y="1154"/>
                    <a:pt x="7673" y="1154"/>
                  </a:cubicBezTo>
                  <a:cubicBezTo>
                    <a:pt x="7666" y="1154"/>
                    <a:pt x="7647" y="1136"/>
                    <a:pt x="7626" y="1115"/>
                  </a:cubicBezTo>
                  <a:cubicBezTo>
                    <a:pt x="7609" y="1093"/>
                    <a:pt x="7585" y="1066"/>
                    <a:pt x="7573" y="1056"/>
                  </a:cubicBezTo>
                  <a:cubicBezTo>
                    <a:pt x="7566" y="1045"/>
                    <a:pt x="7541" y="1010"/>
                    <a:pt x="7530" y="976"/>
                  </a:cubicBezTo>
                  <a:cubicBezTo>
                    <a:pt x="7519" y="943"/>
                    <a:pt x="7504" y="900"/>
                    <a:pt x="7488" y="883"/>
                  </a:cubicBezTo>
                  <a:cubicBezTo>
                    <a:pt x="7488" y="879"/>
                    <a:pt x="7486" y="872"/>
                    <a:pt x="7482" y="865"/>
                  </a:cubicBezTo>
                  <a:cubicBezTo>
                    <a:pt x="7482" y="865"/>
                    <a:pt x="7478" y="864"/>
                    <a:pt x="7478" y="864"/>
                  </a:cubicBezTo>
                  <a:cubicBezTo>
                    <a:pt x="7474" y="863"/>
                    <a:pt x="7466" y="860"/>
                    <a:pt x="7461" y="858"/>
                  </a:cubicBezTo>
                  <a:cubicBezTo>
                    <a:pt x="7459" y="857"/>
                    <a:pt x="7459" y="859"/>
                    <a:pt x="7456" y="858"/>
                  </a:cubicBezTo>
                  <a:cubicBezTo>
                    <a:pt x="7444" y="855"/>
                    <a:pt x="7409" y="838"/>
                    <a:pt x="7376" y="820"/>
                  </a:cubicBezTo>
                  <a:cubicBezTo>
                    <a:pt x="7344" y="804"/>
                    <a:pt x="7290" y="781"/>
                    <a:pt x="7251" y="771"/>
                  </a:cubicBezTo>
                  <a:cubicBezTo>
                    <a:pt x="7257" y="789"/>
                    <a:pt x="7264" y="813"/>
                    <a:pt x="7252" y="833"/>
                  </a:cubicBezTo>
                  <a:cubicBezTo>
                    <a:pt x="7242" y="857"/>
                    <a:pt x="7214" y="880"/>
                    <a:pt x="7199" y="889"/>
                  </a:cubicBezTo>
                  <a:cubicBezTo>
                    <a:pt x="7184" y="897"/>
                    <a:pt x="7149" y="929"/>
                    <a:pt x="7132" y="963"/>
                  </a:cubicBezTo>
                  <a:cubicBezTo>
                    <a:pt x="7111" y="996"/>
                    <a:pt x="7100" y="1043"/>
                    <a:pt x="7111" y="1066"/>
                  </a:cubicBezTo>
                  <a:cubicBezTo>
                    <a:pt x="7117" y="1090"/>
                    <a:pt x="7142" y="1123"/>
                    <a:pt x="7153" y="1142"/>
                  </a:cubicBezTo>
                  <a:cubicBezTo>
                    <a:pt x="7166" y="1160"/>
                    <a:pt x="7178" y="1198"/>
                    <a:pt x="7172" y="1226"/>
                  </a:cubicBezTo>
                  <a:cubicBezTo>
                    <a:pt x="7167" y="1255"/>
                    <a:pt x="7137" y="1284"/>
                    <a:pt x="7102" y="1290"/>
                  </a:cubicBezTo>
                  <a:cubicBezTo>
                    <a:pt x="7067" y="1297"/>
                    <a:pt x="7028" y="1316"/>
                    <a:pt x="7006" y="1327"/>
                  </a:cubicBezTo>
                  <a:cubicBezTo>
                    <a:pt x="6994" y="1343"/>
                    <a:pt x="6974" y="1381"/>
                    <a:pt x="6989" y="1414"/>
                  </a:cubicBezTo>
                  <a:cubicBezTo>
                    <a:pt x="6995" y="1447"/>
                    <a:pt x="7027" y="1528"/>
                    <a:pt x="7054" y="1593"/>
                  </a:cubicBezTo>
                  <a:cubicBezTo>
                    <a:pt x="7075" y="1658"/>
                    <a:pt x="7149" y="1764"/>
                    <a:pt x="7194" y="1832"/>
                  </a:cubicBezTo>
                  <a:cubicBezTo>
                    <a:pt x="7250" y="1896"/>
                    <a:pt x="7315" y="1989"/>
                    <a:pt x="7358" y="2032"/>
                  </a:cubicBezTo>
                  <a:cubicBezTo>
                    <a:pt x="7393" y="2078"/>
                    <a:pt x="7433" y="2129"/>
                    <a:pt x="7439" y="2149"/>
                  </a:cubicBezTo>
                  <a:cubicBezTo>
                    <a:pt x="7439" y="2169"/>
                    <a:pt x="7422" y="2213"/>
                    <a:pt x="7410" y="2249"/>
                  </a:cubicBezTo>
                  <a:cubicBezTo>
                    <a:pt x="7389" y="2284"/>
                    <a:pt x="7354" y="2317"/>
                    <a:pt x="7328" y="2323"/>
                  </a:cubicBezTo>
                  <a:cubicBezTo>
                    <a:pt x="7303" y="2330"/>
                    <a:pt x="7277" y="2355"/>
                    <a:pt x="7257" y="2379"/>
                  </a:cubicBezTo>
                  <a:cubicBezTo>
                    <a:pt x="7246" y="2405"/>
                    <a:pt x="7219" y="2429"/>
                    <a:pt x="7201" y="2432"/>
                  </a:cubicBezTo>
                  <a:cubicBezTo>
                    <a:pt x="7183" y="2435"/>
                    <a:pt x="7157" y="2431"/>
                    <a:pt x="7141" y="2422"/>
                  </a:cubicBezTo>
                  <a:cubicBezTo>
                    <a:pt x="7125" y="2415"/>
                    <a:pt x="7100" y="2392"/>
                    <a:pt x="7089" y="2372"/>
                  </a:cubicBezTo>
                  <a:cubicBezTo>
                    <a:pt x="7069" y="2354"/>
                    <a:pt x="7043" y="2334"/>
                    <a:pt x="7019" y="2327"/>
                  </a:cubicBezTo>
                  <a:cubicBezTo>
                    <a:pt x="6993" y="2323"/>
                    <a:pt x="6932" y="2317"/>
                    <a:pt x="6881" y="2320"/>
                  </a:cubicBezTo>
                  <a:cubicBezTo>
                    <a:pt x="6830" y="2322"/>
                    <a:pt x="6755" y="2314"/>
                    <a:pt x="6715" y="2302"/>
                  </a:cubicBezTo>
                  <a:cubicBezTo>
                    <a:pt x="6677" y="2288"/>
                    <a:pt x="6586" y="2255"/>
                    <a:pt x="6525" y="2220"/>
                  </a:cubicBezTo>
                  <a:cubicBezTo>
                    <a:pt x="6460" y="2187"/>
                    <a:pt x="6377" y="2151"/>
                    <a:pt x="6343" y="2139"/>
                  </a:cubicBezTo>
                  <a:cubicBezTo>
                    <a:pt x="6306" y="2129"/>
                    <a:pt x="6265" y="2118"/>
                    <a:pt x="6249" y="2115"/>
                  </a:cubicBezTo>
                  <a:cubicBezTo>
                    <a:pt x="6233" y="2115"/>
                    <a:pt x="6231" y="2168"/>
                    <a:pt x="6242" y="2236"/>
                  </a:cubicBezTo>
                  <a:cubicBezTo>
                    <a:pt x="6253" y="2304"/>
                    <a:pt x="6265" y="2394"/>
                    <a:pt x="6270" y="2436"/>
                  </a:cubicBezTo>
                  <a:cubicBezTo>
                    <a:pt x="6270" y="2478"/>
                    <a:pt x="6283" y="2541"/>
                    <a:pt x="6294" y="2575"/>
                  </a:cubicBezTo>
                  <a:cubicBezTo>
                    <a:pt x="6300" y="2610"/>
                    <a:pt x="6322" y="2710"/>
                    <a:pt x="6344" y="2797"/>
                  </a:cubicBezTo>
                  <a:cubicBezTo>
                    <a:pt x="6355" y="2884"/>
                    <a:pt x="6391" y="3013"/>
                    <a:pt x="6419" y="3083"/>
                  </a:cubicBezTo>
                  <a:cubicBezTo>
                    <a:pt x="6441" y="3153"/>
                    <a:pt x="6463" y="3229"/>
                    <a:pt x="6463" y="3251"/>
                  </a:cubicBezTo>
                  <a:cubicBezTo>
                    <a:pt x="6463" y="3274"/>
                    <a:pt x="6481" y="3306"/>
                    <a:pt x="6503" y="3323"/>
                  </a:cubicBezTo>
                  <a:cubicBezTo>
                    <a:pt x="6520" y="3341"/>
                    <a:pt x="6572" y="3374"/>
                    <a:pt x="6615" y="3394"/>
                  </a:cubicBezTo>
                  <a:cubicBezTo>
                    <a:pt x="6655" y="3417"/>
                    <a:pt x="6680" y="3459"/>
                    <a:pt x="6680" y="3488"/>
                  </a:cubicBezTo>
                  <a:cubicBezTo>
                    <a:pt x="6670" y="3516"/>
                    <a:pt x="6677" y="3561"/>
                    <a:pt x="6683" y="3585"/>
                  </a:cubicBezTo>
                  <a:cubicBezTo>
                    <a:pt x="6683" y="3609"/>
                    <a:pt x="6676" y="3628"/>
                    <a:pt x="6657" y="3623"/>
                  </a:cubicBezTo>
                  <a:cubicBezTo>
                    <a:pt x="6638" y="3620"/>
                    <a:pt x="6609" y="3621"/>
                    <a:pt x="6598" y="3631"/>
                  </a:cubicBezTo>
                  <a:cubicBezTo>
                    <a:pt x="6587" y="3640"/>
                    <a:pt x="6555" y="3640"/>
                    <a:pt x="6530" y="3637"/>
                  </a:cubicBezTo>
                  <a:cubicBezTo>
                    <a:pt x="6507" y="3632"/>
                    <a:pt x="6468" y="3614"/>
                    <a:pt x="6446" y="3594"/>
                  </a:cubicBezTo>
                  <a:cubicBezTo>
                    <a:pt x="6424" y="3575"/>
                    <a:pt x="6393" y="3565"/>
                    <a:pt x="6375" y="3569"/>
                  </a:cubicBezTo>
                  <a:cubicBezTo>
                    <a:pt x="6358" y="3574"/>
                    <a:pt x="6318" y="3581"/>
                    <a:pt x="6285" y="3583"/>
                  </a:cubicBezTo>
                  <a:cubicBezTo>
                    <a:pt x="6252" y="3585"/>
                    <a:pt x="6174" y="3588"/>
                    <a:pt x="6112" y="3591"/>
                  </a:cubicBezTo>
                  <a:cubicBezTo>
                    <a:pt x="6049" y="3592"/>
                    <a:pt x="5965" y="3604"/>
                    <a:pt x="5922" y="3613"/>
                  </a:cubicBezTo>
                  <a:cubicBezTo>
                    <a:pt x="5881" y="3624"/>
                    <a:pt x="5829" y="3626"/>
                    <a:pt x="5806" y="3623"/>
                  </a:cubicBezTo>
                  <a:cubicBezTo>
                    <a:pt x="5784" y="3618"/>
                    <a:pt x="5747" y="3604"/>
                    <a:pt x="5726" y="3590"/>
                  </a:cubicBezTo>
                  <a:cubicBezTo>
                    <a:pt x="5702" y="3578"/>
                    <a:pt x="5667" y="3572"/>
                    <a:pt x="5645" y="3578"/>
                  </a:cubicBezTo>
                  <a:cubicBezTo>
                    <a:pt x="5622" y="3584"/>
                    <a:pt x="5585" y="3607"/>
                    <a:pt x="5569" y="3629"/>
                  </a:cubicBezTo>
                  <a:cubicBezTo>
                    <a:pt x="5551" y="3652"/>
                    <a:pt x="5535" y="3688"/>
                    <a:pt x="5544" y="3709"/>
                  </a:cubicBezTo>
                  <a:cubicBezTo>
                    <a:pt x="5544" y="3732"/>
                    <a:pt x="5584" y="3771"/>
                    <a:pt x="5617" y="3797"/>
                  </a:cubicBezTo>
                  <a:cubicBezTo>
                    <a:pt x="5650" y="3823"/>
                    <a:pt x="5713" y="3847"/>
                    <a:pt x="5755" y="3853"/>
                  </a:cubicBezTo>
                  <a:cubicBezTo>
                    <a:pt x="5797" y="3859"/>
                    <a:pt x="5860" y="3873"/>
                    <a:pt x="5900" y="3882"/>
                  </a:cubicBezTo>
                  <a:cubicBezTo>
                    <a:pt x="5936" y="3894"/>
                    <a:pt x="5966" y="3916"/>
                    <a:pt x="5977" y="3930"/>
                  </a:cubicBezTo>
                  <a:cubicBezTo>
                    <a:pt x="5977" y="3945"/>
                    <a:pt x="5971" y="3972"/>
                    <a:pt x="5960" y="3991"/>
                  </a:cubicBezTo>
                  <a:cubicBezTo>
                    <a:pt x="5945" y="4010"/>
                    <a:pt x="5954" y="4067"/>
                    <a:pt x="5987" y="4116"/>
                  </a:cubicBezTo>
                  <a:cubicBezTo>
                    <a:pt x="6013" y="4167"/>
                    <a:pt x="6043" y="4228"/>
                    <a:pt x="6057" y="4252"/>
                  </a:cubicBezTo>
                  <a:cubicBezTo>
                    <a:pt x="6068" y="4277"/>
                    <a:pt x="6095" y="4315"/>
                    <a:pt x="6112" y="4339"/>
                  </a:cubicBezTo>
                  <a:cubicBezTo>
                    <a:pt x="6129" y="4363"/>
                    <a:pt x="6164" y="4409"/>
                    <a:pt x="6176" y="4444"/>
                  </a:cubicBezTo>
                  <a:cubicBezTo>
                    <a:pt x="6193" y="4478"/>
                    <a:pt x="6249" y="4549"/>
                    <a:pt x="6284" y="4604"/>
                  </a:cubicBezTo>
                  <a:cubicBezTo>
                    <a:pt x="6328" y="4658"/>
                    <a:pt x="6376" y="4724"/>
                    <a:pt x="6387" y="4752"/>
                  </a:cubicBezTo>
                  <a:cubicBezTo>
                    <a:pt x="6398" y="4780"/>
                    <a:pt x="6447" y="4827"/>
                    <a:pt x="6486" y="4859"/>
                  </a:cubicBezTo>
                  <a:cubicBezTo>
                    <a:pt x="6526" y="4891"/>
                    <a:pt x="6585" y="4972"/>
                    <a:pt x="6618" y="5040"/>
                  </a:cubicBezTo>
                  <a:cubicBezTo>
                    <a:pt x="6650" y="5108"/>
                    <a:pt x="6662" y="5175"/>
                    <a:pt x="6650" y="5190"/>
                  </a:cubicBezTo>
                  <a:cubicBezTo>
                    <a:pt x="6629" y="5201"/>
                    <a:pt x="6623" y="5238"/>
                    <a:pt x="6623" y="5266"/>
                  </a:cubicBezTo>
                  <a:cubicBezTo>
                    <a:pt x="6623" y="5293"/>
                    <a:pt x="6651" y="5344"/>
                    <a:pt x="6683" y="5381"/>
                  </a:cubicBezTo>
                  <a:cubicBezTo>
                    <a:pt x="6726" y="5414"/>
                    <a:pt x="6736" y="5450"/>
                    <a:pt x="6726" y="5456"/>
                  </a:cubicBezTo>
                  <a:cubicBezTo>
                    <a:pt x="6715" y="5462"/>
                    <a:pt x="6701" y="5480"/>
                    <a:pt x="6707" y="5498"/>
                  </a:cubicBezTo>
                  <a:cubicBezTo>
                    <a:pt x="6712" y="5516"/>
                    <a:pt x="6689" y="5544"/>
                    <a:pt x="6667" y="5561"/>
                  </a:cubicBezTo>
                  <a:cubicBezTo>
                    <a:pt x="6648" y="5578"/>
                    <a:pt x="6638" y="5625"/>
                    <a:pt x="6649" y="5668"/>
                  </a:cubicBezTo>
                  <a:cubicBezTo>
                    <a:pt x="6655" y="5711"/>
                    <a:pt x="6653" y="5756"/>
                    <a:pt x="6630" y="5769"/>
                  </a:cubicBezTo>
                  <a:cubicBezTo>
                    <a:pt x="6606" y="5782"/>
                    <a:pt x="6524" y="5768"/>
                    <a:pt x="6451" y="5738"/>
                  </a:cubicBezTo>
                  <a:cubicBezTo>
                    <a:pt x="6377" y="5708"/>
                    <a:pt x="6238" y="5611"/>
                    <a:pt x="6154" y="5519"/>
                  </a:cubicBezTo>
                  <a:cubicBezTo>
                    <a:pt x="6063" y="5429"/>
                    <a:pt x="5971" y="5357"/>
                    <a:pt x="5945" y="5358"/>
                  </a:cubicBezTo>
                  <a:cubicBezTo>
                    <a:pt x="5918" y="5360"/>
                    <a:pt x="5835" y="5332"/>
                    <a:pt x="5762" y="5294"/>
                  </a:cubicBezTo>
                  <a:cubicBezTo>
                    <a:pt x="5688" y="5257"/>
                    <a:pt x="5546" y="5209"/>
                    <a:pt x="5446" y="5186"/>
                  </a:cubicBezTo>
                  <a:cubicBezTo>
                    <a:pt x="5346" y="5164"/>
                    <a:pt x="5228" y="5156"/>
                    <a:pt x="5184" y="5165"/>
                  </a:cubicBezTo>
                  <a:cubicBezTo>
                    <a:pt x="5139" y="5173"/>
                    <a:pt x="5030" y="5154"/>
                    <a:pt x="4940" y="5119"/>
                  </a:cubicBezTo>
                  <a:cubicBezTo>
                    <a:pt x="4848" y="5084"/>
                    <a:pt x="4715" y="5058"/>
                    <a:pt x="4642" y="5066"/>
                  </a:cubicBezTo>
                  <a:cubicBezTo>
                    <a:pt x="4568" y="5072"/>
                    <a:pt x="4476" y="5078"/>
                    <a:pt x="4437" y="5078"/>
                  </a:cubicBezTo>
                  <a:cubicBezTo>
                    <a:pt x="4397" y="5078"/>
                    <a:pt x="4330" y="5064"/>
                    <a:pt x="4288" y="5045"/>
                  </a:cubicBezTo>
                  <a:cubicBezTo>
                    <a:pt x="4246" y="5028"/>
                    <a:pt x="4196" y="5032"/>
                    <a:pt x="4170" y="5052"/>
                  </a:cubicBezTo>
                  <a:cubicBezTo>
                    <a:pt x="4147" y="5074"/>
                    <a:pt x="4104" y="5098"/>
                    <a:pt x="4077" y="5107"/>
                  </a:cubicBezTo>
                  <a:cubicBezTo>
                    <a:pt x="4048" y="5115"/>
                    <a:pt x="3946" y="5102"/>
                    <a:pt x="3850" y="5075"/>
                  </a:cubicBezTo>
                  <a:cubicBezTo>
                    <a:pt x="3752" y="5050"/>
                    <a:pt x="3613" y="5005"/>
                    <a:pt x="3537" y="4977"/>
                  </a:cubicBezTo>
                  <a:cubicBezTo>
                    <a:pt x="3461" y="4950"/>
                    <a:pt x="3369" y="4903"/>
                    <a:pt x="3325" y="4879"/>
                  </a:cubicBezTo>
                  <a:cubicBezTo>
                    <a:pt x="3285" y="4852"/>
                    <a:pt x="3203" y="4826"/>
                    <a:pt x="3148" y="4819"/>
                  </a:cubicBezTo>
                  <a:cubicBezTo>
                    <a:pt x="3092" y="4815"/>
                    <a:pt x="3031" y="4810"/>
                    <a:pt x="3017" y="4817"/>
                  </a:cubicBezTo>
                  <a:cubicBezTo>
                    <a:pt x="3001" y="4823"/>
                    <a:pt x="2952" y="4820"/>
                    <a:pt x="2909" y="4812"/>
                  </a:cubicBezTo>
                  <a:cubicBezTo>
                    <a:pt x="2866" y="4804"/>
                    <a:pt x="2803" y="4788"/>
                    <a:pt x="2768" y="4777"/>
                  </a:cubicBezTo>
                  <a:cubicBezTo>
                    <a:pt x="2732" y="4767"/>
                    <a:pt x="2687" y="4762"/>
                    <a:pt x="2672" y="4772"/>
                  </a:cubicBezTo>
                  <a:cubicBezTo>
                    <a:pt x="2657" y="4780"/>
                    <a:pt x="2655" y="4816"/>
                    <a:pt x="2666" y="4853"/>
                  </a:cubicBezTo>
                  <a:cubicBezTo>
                    <a:pt x="2677" y="4890"/>
                    <a:pt x="2707" y="4952"/>
                    <a:pt x="2729" y="4991"/>
                  </a:cubicBezTo>
                  <a:cubicBezTo>
                    <a:pt x="2746" y="5031"/>
                    <a:pt x="2773" y="5100"/>
                    <a:pt x="2790" y="5144"/>
                  </a:cubicBezTo>
                  <a:cubicBezTo>
                    <a:pt x="2801" y="5189"/>
                    <a:pt x="2771" y="5228"/>
                    <a:pt x="2718" y="5228"/>
                  </a:cubicBezTo>
                  <a:cubicBezTo>
                    <a:pt x="2664" y="5229"/>
                    <a:pt x="2530" y="5219"/>
                    <a:pt x="2419" y="5205"/>
                  </a:cubicBezTo>
                  <a:cubicBezTo>
                    <a:pt x="2308" y="5192"/>
                    <a:pt x="2104" y="5157"/>
                    <a:pt x="1966" y="5127"/>
                  </a:cubicBezTo>
                  <a:cubicBezTo>
                    <a:pt x="1828" y="5095"/>
                    <a:pt x="1685" y="5053"/>
                    <a:pt x="1647" y="5032"/>
                  </a:cubicBezTo>
                  <a:cubicBezTo>
                    <a:pt x="1608" y="5012"/>
                    <a:pt x="1529" y="4979"/>
                    <a:pt x="1465" y="4965"/>
                  </a:cubicBezTo>
                  <a:cubicBezTo>
                    <a:pt x="1402" y="4949"/>
                    <a:pt x="1328" y="4961"/>
                    <a:pt x="1302" y="4990"/>
                  </a:cubicBezTo>
                  <a:cubicBezTo>
                    <a:pt x="1281" y="5022"/>
                    <a:pt x="1267" y="5063"/>
                    <a:pt x="1289" y="5084"/>
                  </a:cubicBezTo>
                  <a:cubicBezTo>
                    <a:pt x="1306" y="5106"/>
                    <a:pt x="1294" y="5138"/>
                    <a:pt x="1259" y="5157"/>
                  </a:cubicBezTo>
                  <a:cubicBezTo>
                    <a:pt x="1226" y="5177"/>
                    <a:pt x="1192" y="5203"/>
                    <a:pt x="1192" y="5218"/>
                  </a:cubicBezTo>
                  <a:cubicBezTo>
                    <a:pt x="1192" y="5233"/>
                    <a:pt x="1177" y="5244"/>
                    <a:pt x="1167" y="5240"/>
                  </a:cubicBezTo>
                  <a:cubicBezTo>
                    <a:pt x="1155" y="5236"/>
                    <a:pt x="1128" y="5268"/>
                    <a:pt x="1096" y="5306"/>
                  </a:cubicBezTo>
                  <a:cubicBezTo>
                    <a:pt x="1128" y="5268"/>
                    <a:pt x="1172" y="5240"/>
                    <a:pt x="1203" y="5248"/>
                  </a:cubicBezTo>
                  <a:cubicBezTo>
                    <a:pt x="1235" y="5256"/>
                    <a:pt x="1267" y="5293"/>
                    <a:pt x="1283" y="5328"/>
                  </a:cubicBezTo>
                  <a:cubicBezTo>
                    <a:pt x="1294" y="5364"/>
                    <a:pt x="1273" y="5457"/>
                    <a:pt x="1235" y="5533"/>
                  </a:cubicBezTo>
                  <a:cubicBezTo>
                    <a:pt x="1201" y="5610"/>
                    <a:pt x="1154" y="5706"/>
                    <a:pt x="1132" y="5745"/>
                  </a:cubicBezTo>
                  <a:cubicBezTo>
                    <a:pt x="1110" y="5785"/>
                    <a:pt x="1134" y="5837"/>
                    <a:pt x="1173" y="5862"/>
                  </a:cubicBezTo>
                  <a:cubicBezTo>
                    <a:pt x="1209" y="5888"/>
                    <a:pt x="1321" y="5932"/>
                    <a:pt x="1409" y="5966"/>
                  </a:cubicBezTo>
                  <a:cubicBezTo>
                    <a:pt x="1500" y="5997"/>
                    <a:pt x="1606" y="6052"/>
                    <a:pt x="1646" y="6087"/>
                  </a:cubicBezTo>
                  <a:cubicBezTo>
                    <a:pt x="1686" y="6121"/>
                    <a:pt x="1748" y="6163"/>
                    <a:pt x="1786" y="6176"/>
                  </a:cubicBezTo>
                  <a:cubicBezTo>
                    <a:pt x="1820" y="6193"/>
                    <a:pt x="1869" y="6180"/>
                    <a:pt x="1896" y="6153"/>
                  </a:cubicBezTo>
                  <a:cubicBezTo>
                    <a:pt x="1919" y="6124"/>
                    <a:pt x="1933" y="6063"/>
                    <a:pt x="1928" y="6015"/>
                  </a:cubicBezTo>
                  <a:cubicBezTo>
                    <a:pt x="1917" y="5968"/>
                    <a:pt x="1937" y="5935"/>
                    <a:pt x="1962" y="5943"/>
                  </a:cubicBezTo>
                  <a:cubicBezTo>
                    <a:pt x="1988" y="5950"/>
                    <a:pt x="2091" y="6022"/>
                    <a:pt x="2201" y="6097"/>
                  </a:cubicBezTo>
                  <a:cubicBezTo>
                    <a:pt x="2307" y="6174"/>
                    <a:pt x="2414" y="6265"/>
                    <a:pt x="2425" y="6302"/>
                  </a:cubicBezTo>
                  <a:cubicBezTo>
                    <a:pt x="2440" y="6338"/>
                    <a:pt x="2422" y="6405"/>
                    <a:pt x="2388" y="6454"/>
                  </a:cubicBezTo>
                  <a:cubicBezTo>
                    <a:pt x="2344" y="6501"/>
                    <a:pt x="2265" y="6533"/>
                    <a:pt x="2200" y="6521"/>
                  </a:cubicBezTo>
                  <a:cubicBezTo>
                    <a:pt x="2137" y="6508"/>
                    <a:pt x="2012" y="6503"/>
                    <a:pt x="1924" y="6505"/>
                  </a:cubicBezTo>
                  <a:cubicBezTo>
                    <a:pt x="1836" y="6507"/>
                    <a:pt x="1748" y="6487"/>
                    <a:pt x="1726" y="6461"/>
                  </a:cubicBezTo>
                  <a:cubicBezTo>
                    <a:pt x="1704" y="6435"/>
                    <a:pt x="1643" y="6378"/>
                    <a:pt x="1598" y="6333"/>
                  </a:cubicBezTo>
                  <a:cubicBezTo>
                    <a:pt x="1548" y="6290"/>
                    <a:pt x="1468" y="6294"/>
                    <a:pt x="1424" y="6343"/>
                  </a:cubicBezTo>
                  <a:cubicBezTo>
                    <a:pt x="1380" y="6393"/>
                    <a:pt x="1307" y="6427"/>
                    <a:pt x="1268" y="6419"/>
                  </a:cubicBezTo>
                  <a:cubicBezTo>
                    <a:pt x="1230" y="6412"/>
                    <a:pt x="1155" y="6426"/>
                    <a:pt x="1120" y="6457"/>
                  </a:cubicBezTo>
                  <a:cubicBezTo>
                    <a:pt x="1076" y="6484"/>
                    <a:pt x="1007" y="6519"/>
                    <a:pt x="961" y="6527"/>
                  </a:cubicBezTo>
                  <a:cubicBezTo>
                    <a:pt x="916" y="6538"/>
                    <a:pt x="892" y="6580"/>
                    <a:pt x="892" y="6621"/>
                  </a:cubicBezTo>
                  <a:cubicBezTo>
                    <a:pt x="897" y="6663"/>
                    <a:pt x="958" y="6723"/>
                    <a:pt x="1023" y="6757"/>
                  </a:cubicBezTo>
                  <a:cubicBezTo>
                    <a:pt x="1089" y="6790"/>
                    <a:pt x="1143" y="6846"/>
                    <a:pt x="1154" y="6881"/>
                  </a:cubicBezTo>
                  <a:cubicBezTo>
                    <a:pt x="1154" y="6916"/>
                    <a:pt x="1116" y="6958"/>
                    <a:pt x="1059" y="6977"/>
                  </a:cubicBezTo>
                  <a:cubicBezTo>
                    <a:pt x="998" y="6994"/>
                    <a:pt x="885" y="7015"/>
                    <a:pt x="806" y="7024"/>
                  </a:cubicBezTo>
                  <a:cubicBezTo>
                    <a:pt x="726" y="7033"/>
                    <a:pt x="677" y="7052"/>
                    <a:pt x="697" y="7068"/>
                  </a:cubicBezTo>
                  <a:cubicBezTo>
                    <a:pt x="718" y="7084"/>
                    <a:pt x="749" y="7121"/>
                    <a:pt x="767" y="7150"/>
                  </a:cubicBezTo>
                  <a:cubicBezTo>
                    <a:pt x="789" y="7179"/>
                    <a:pt x="742" y="7215"/>
                    <a:pt x="673" y="7232"/>
                  </a:cubicBezTo>
                  <a:cubicBezTo>
                    <a:pt x="602" y="7248"/>
                    <a:pt x="545" y="7294"/>
                    <a:pt x="550" y="7334"/>
                  </a:cubicBezTo>
                  <a:cubicBezTo>
                    <a:pt x="550" y="7374"/>
                    <a:pt x="529" y="7411"/>
                    <a:pt x="496" y="7416"/>
                  </a:cubicBezTo>
                  <a:cubicBezTo>
                    <a:pt x="463" y="7422"/>
                    <a:pt x="362" y="7407"/>
                    <a:pt x="271" y="7388"/>
                  </a:cubicBezTo>
                  <a:cubicBezTo>
                    <a:pt x="181" y="7366"/>
                    <a:pt x="82" y="7371"/>
                    <a:pt x="44" y="7393"/>
                  </a:cubicBezTo>
                  <a:cubicBezTo>
                    <a:pt x="10" y="7417"/>
                    <a:pt x="-11" y="7482"/>
                    <a:pt x="6" y="7537"/>
                  </a:cubicBezTo>
                  <a:cubicBezTo>
                    <a:pt x="17" y="7592"/>
                    <a:pt x="87" y="7695"/>
                    <a:pt x="148" y="7767"/>
                  </a:cubicBezTo>
                  <a:cubicBezTo>
                    <a:pt x="217" y="7838"/>
                    <a:pt x="289" y="7886"/>
                    <a:pt x="322" y="7874"/>
                  </a:cubicBezTo>
                  <a:cubicBezTo>
                    <a:pt x="354" y="7862"/>
                    <a:pt x="422" y="7855"/>
                    <a:pt x="478" y="7858"/>
                  </a:cubicBezTo>
                  <a:cubicBezTo>
                    <a:pt x="532" y="7863"/>
                    <a:pt x="588" y="7900"/>
                    <a:pt x="610" y="7940"/>
                  </a:cubicBezTo>
                  <a:cubicBezTo>
                    <a:pt x="632" y="7979"/>
                    <a:pt x="633" y="8041"/>
                    <a:pt x="622" y="8075"/>
                  </a:cubicBezTo>
                  <a:cubicBezTo>
                    <a:pt x="612" y="8109"/>
                    <a:pt x="631" y="8179"/>
                    <a:pt x="659" y="8231"/>
                  </a:cubicBezTo>
                  <a:cubicBezTo>
                    <a:pt x="686" y="8284"/>
                    <a:pt x="750" y="8342"/>
                    <a:pt x="792" y="8361"/>
                  </a:cubicBezTo>
                  <a:cubicBezTo>
                    <a:pt x="835" y="8380"/>
                    <a:pt x="881" y="8436"/>
                    <a:pt x="897" y="8485"/>
                  </a:cubicBezTo>
                  <a:cubicBezTo>
                    <a:pt x="908" y="8535"/>
                    <a:pt x="915" y="8590"/>
                    <a:pt x="899" y="8608"/>
                  </a:cubicBezTo>
                  <a:cubicBezTo>
                    <a:pt x="883" y="8627"/>
                    <a:pt x="855" y="8710"/>
                    <a:pt x="829" y="8793"/>
                  </a:cubicBezTo>
                  <a:cubicBezTo>
                    <a:pt x="807" y="8877"/>
                    <a:pt x="791" y="9036"/>
                    <a:pt x="796" y="9147"/>
                  </a:cubicBezTo>
                  <a:cubicBezTo>
                    <a:pt x="807" y="9259"/>
                    <a:pt x="792" y="9332"/>
                    <a:pt x="771" y="9311"/>
                  </a:cubicBezTo>
                  <a:cubicBezTo>
                    <a:pt x="754" y="9288"/>
                    <a:pt x="704" y="9268"/>
                    <a:pt x="671" y="9261"/>
                  </a:cubicBezTo>
                  <a:cubicBezTo>
                    <a:pt x="704" y="9268"/>
                    <a:pt x="773" y="9317"/>
                    <a:pt x="827" y="9370"/>
                  </a:cubicBezTo>
                  <a:cubicBezTo>
                    <a:pt x="872" y="9426"/>
                    <a:pt x="943" y="9482"/>
                    <a:pt x="978" y="9494"/>
                  </a:cubicBezTo>
                  <a:cubicBezTo>
                    <a:pt x="1007" y="9510"/>
                    <a:pt x="1088" y="9517"/>
                    <a:pt x="1149" y="9508"/>
                  </a:cubicBezTo>
                  <a:cubicBezTo>
                    <a:pt x="1211" y="9500"/>
                    <a:pt x="1293" y="9480"/>
                    <a:pt x="1331" y="9462"/>
                  </a:cubicBezTo>
                  <a:cubicBezTo>
                    <a:pt x="1368" y="9444"/>
                    <a:pt x="1417" y="9408"/>
                    <a:pt x="1428" y="9382"/>
                  </a:cubicBezTo>
                  <a:cubicBezTo>
                    <a:pt x="1445" y="9355"/>
                    <a:pt x="1474" y="9332"/>
                    <a:pt x="1496" y="9330"/>
                  </a:cubicBezTo>
                  <a:cubicBezTo>
                    <a:pt x="1516" y="9327"/>
                    <a:pt x="1547" y="9312"/>
                    <a:pt x="1568" y="9296"/>
                  </a:cubicBezTo>
                  <a:cubicBezTo>
                    <a:pt x="1580" y="9277"/>
                    <a:pt x="1617" y="9278"/>
                    <a:pt x="1641" y="9292"/>
                  </a:cubicBezTo>
                  <a:cubicBezTo>
                    <a:pt x="1658" y="9308"/>
                    <a:pt x="1699" y="9341"/>
                    <a:pt x="1727" y="9368"/>
                  </a:cubicBezTo>
                  <a:cubicBezTo>
                    <a:pt x="1754" y="9395"/>
                    <a:pt x="1827" y="9428"/>
                    <a:pt x="1894" y="9439"/>
                  </a:cubicBezTo>
                  <a:cubicBezTo>
                    <a:pt x="1960" y="9450"/>
                    <a:pt x="2004" y="9436"/>
                    <a:pt x="2004" y="9408"/>
                  </a:cubicBezTo>
                  <a:cubicBezTo>
                    <a:pt x="1998" y="9380"/>
                    <a:pt x="1976" y="9341"/>
                    <a:pt x="1953" y="9324"/>
                  </a:cubicBezTo>
                  <a:cubicBezTo>
                    <a:pt x="1932" y="9306"/>
                    <a:pt x="1912" y="9271"/>
                    <a:pt x="1912" y="9247"/>
                  </a:cubicBezTo>
                  <a:cubicBezTo>
                    <a:pt x="1912" y="9223"/>
                    <a:pt x="1942" y="9199"/>
                    <a:pt x="1980" y="9192"/>
                  </a:cubicBezTo>
                  <a:cubicBezTo>
                    <a:pt x="2020" y="9187"/>
                    <a:pt x="2056" y="9165"/>
                    <a:pt x="2072" y="9148"/>
                  </a:cubicBezTo>
                  <a:cubicBezTo>
                    <a:pt x="2078" y="9130"/>
                    <a:pt x="2107" y="9118"/>
                    <a:pt x="2127" y="9120"/>
                  </a:cubicBezTo>
                  <a:cubicBezTo>
                    <a:pt x="2144" y="9124"/>
                    <a:pt x="2172" y="9139"/>
                    <a:pt x="2178" y="9159"/>
                  </a:cubicBezTo>
                  <a:cubicBezTo>
                    <a:pt x="2188" y="9178"/>
                    <a:pt x="2227" y="9196"/>
                    <a:pt x="2267" y="9195"/>
                  </a:cubicBezTo>
                  <a:cubicBezTo>
                    <a:pt x="2307" y="9195"/>
                    <a:pt x="2356" y="9166"/>
                    <a:pt x="2372" y="9130"/>
                  </a:cubicBezTo>
                  <a:cubicBezTo>
                    <a:pt x="2388" y="9094"/>
                    <a:pt x="2388" y="9026"/>
                    <a:pt x="2372" y="8976"/>
                  </a:cubicBezTo>
                  <a:cubicBezTo>
                    <a:pt x="2350" y="8928"/>
                    <a:pt x="2348" y="8869"/>
                    <a:pt x="2358" y="8846"/>
                  </a:cubicBezTo>
                  <a:cubicBezTo>
                    <a:pt x="2369" y="8824"/>
                    <a:pt x="2391" y="8791"/>
                    <a:pt x="2414" y="8775"/>
                  </a:cubicBezTo>
                  <a:cubicBezTo>
                    <a:pt x="2432" y="8758"/>
                    <a:pt x="2448" y="8704"/>
                    <a:pt x="2442" y="8655"/>
                  </a:cubicBezTo>
                  <a:cubicBezTo>
                    <a:pt x="2442" y="8605"/>
                    <a:pt x="2448" y="8540"/>
                    <a:pt x="2459" y="8510"/>
                  </a:cubicBezTo>
                  <a:cubicBezTo>
                    <a:pt x="2479" y="8482"/>
                    <a:pt x="2517" y="8460"/>
                    <a:pt x="2561" y="8465"/>
                  </a:cubicBezTo>
                  <a:cubicBezTo>
                    <a:pt x="2605" y="8469"/>
                    <a:pt x="2672" y="8493"/>
                    <a:pt x="2706" y="8518"/>
                  </a:cubicBezTo>
                  <a:cubicBezTo>
                    <a:pt x="2744" y="8542"/>
                    <a:pt x="2801" y="8580"/>
                    <a:pt x="2838" y="8599"/>
                  </a:cubicBezTo>
                  <a:cubicBezTo>
                    <a:pt x="2874" y="8619"/>
                    <a:pt x="2903" y="8659"/>
                    <a:pt x="2914" y="8686"/>
                  </a:cubicBezTo>
                  <a:cubicBezTo>
                    <a:pt x="2914" y="8714"/>
                    <a:pt x="2930" y="8769"/>
                    <a:pt x="2924" y="8808"/>
                  </a:cubicBezTo>
                  <a:cubicBezTo>
                    <a:pt x="2930" y="8847"/>
                    <a:pt x="2937" y="8907"/>
                    <a:pt x="2955" y="8941"/>
                  </a:cubicBezTo>
                  <a:cubicBezTo>
                    <a:pt x="2972" y="8975"/>
                    <a:pt x="3011" y="9004"/>
                    <a:pt x="3040" y="9006"/>
                  </a:cubicBezTo>
                  <a:cubicBezTo>
                    <a:pt x="3071" y="9006"/>
                    <a:pt x="3108" y="9038"/>
                    <a:pt x="3131" y="9071"/>
                  </a:cubicBezTo>
                  <a:cubicBezTo>
                    <a:pt x="3148" y="9106"/>
                    <a:pt x="3171" y="9169"/>
                    <a:pt x="3177" y="9213"/>
                  </a:cubicBezTo>
                  <a:cubicBezTo>
                    <a:pt x="3177" y="9257"/>
                    <a:pt x="3198" y="9322"/>
                    <a:pt x="3209" y="9358"/>
                  </a:cubicBezTo>
                  <a:cubicBezTo>
                    <a:pt x="3225" y="9393"/>
                    <a:pt x="3248" y="9479"/>
                    <a:pt x="3259" y="9548"/>
                  </a:cubicBezTo>
                  <a:cubicBezTo>
                    <a:pt x="3280" y="9616"/>
                    <a:pt x="3315" y="9703"/>
                    <a:pt x="3347" y="9741"/>
                  </a:cubicBezTo>
                  <a:cubicBezTo>
                    <a:pt x="3382" y="9779"/>
                    <a:pt x="3417" y="9830"/>
                    <a:pt x="3417" y="9854"/>
                  </a:cubicBezTo>
                  <a:cubicBezTo>
                    <a:pt x="3428" y="9877"/>
                    <a:pt x="3455" y="9910"/>
                    <a:pt x="3489" y="9927"/>
                  </a:cubicBezTo>
                  <a:cubicBezTo>
                    <a:pt x="3527" y="9940"/>
                    <a:pt x="3589" y="9959"/>
                    <a:pt x="3634" y="9963"/>
                  </a:cubicBezTo>
                  <a:cubicBezTo>
                    <a:pt x="3680" y="9968"/>
                    <a:pt x="3739" y="9955"/>
                    <a:pt x="3766" y="9935"/>
                  </a:cubicBezTo>
                  <a:cubicBezTo>
                    <a:pt x="3790" y="9915"/>
                    <a:pt x="3815" y="9885"/>
                    <a:pt x="3820" y="9869"/>
                  </a:cubicBezTo>
                  <a:cubicBezTo>
                    <a:pt x="3820" y="9851"/>
                    <a:pt x="3873" y="9820"/>
                    <a:pt x="3929" y="9799"/>
                  </a:cubicBezTo>
                  <a:cubicBezTo>
                    <a:pt x="3983" y="9775"/>
                    <a:pt x="4049" y="9740"/>
                    <a:pt x="4074" y="9719"/>
                  </a:cubicBezTo>
                  <a:cubicBezTo>
                    <a:pt x="4097" y="9696"/>
                    <a:pt x="4115" y="9653"/>
                    <a:pt x="4121" y="9622"/>
                  </a:cubicBezTo>
                  <a:cubicBezTo>
                    <a:pt x="4121" y="9590"/>
                    <a:pt x="4147" y="9552"/>
                    <a:pt x="4160" y="9532"/>
                  </a:cubicBezTo>
                  <a:cubicBezTo>
                    <a:pt x="4181" y="9514"/>
                    <a:pt x="4258" y="9467"/>
                    <a:pt x="4323" y="9423"/>
                  </a:cubicBezTo>
                  <a:cubicBezTo>
                    <a:pt x="4397" y="9384"/>
                    <a:pt x="4489" y="9343"/>
                    <a:pt x="4536" y="9337"/>
                  </a:cubicBezTo>
                  <a:cubicBezTo>
                    <a:pt x="4584" y="9331"/>
                    <a:pt x="4640" y="9356"/>
                    <a:pt x="4652" y="9394"/>
                  </a:cubicBezTo>
                  <a:cubicBezTo>
                    <a:pt x="4674" y="9430"/>
                    <a:pt x="4732" y="9460"/>
                    <a:pt x="4795" y="9460"/>
                  </a:cubicBezTo>
                  <a:cubicBezTo>
                    <a:pt x="4858" y="9459"/>
                    <a:pt x="4923" y="9439"/>
                    <a:pt x="4940" y="9414"/>
                  </a:cubicBezTo>
                  <a:cubicBezTo>
                    <a:pt x="4956" y="9389"/>
                    <a:pt x="5029" y="9376"/>
                    <a:pt x="5102" y="9383"/>
                  </a:cubicBezTo>
                  <a:cubicBezTo>
                    <a:pt x="5173" y="9393"/>
                    <a:pt x="5242" y="9422"/>
                    <a:pt x="5258" y="9451"/>
                  </a:cubicBezTo>
                  <a:cubicBezTo>
                    <a:pt x="5274" y="9480"/>
                    <a:pt x="5253" y="9539"/>
                    <a:pt x="5205" y="9576"/>
                  </a:cubicBezTo>
                  <a:cubicBezTo>
                    <a:pt x="5161" y="9615"/>
                    <a:pt x="5149" y="9656"/>
                    <a:pt x="5178" y="9666"/>
                  </a:cubicBezTo>
                  <a:cubicBezTo>
                    <a:pt x="5209" y="9675"/>
                    <a:pt x="5215" y="9731"/>
                    <a:pt x="5188" y="9787"/>
                  </a:cubicBezTo>
                  <a:cubicBezTo>
                    <a:pt x="5215" y="9731"/>
                    <a:pt x="5229" y="9684"/>
                    <a:pt x="5227" y="9684"/>
                  </a:cubicBezTo>
                  <a:cubicBezTo>
                    <a:pt x="5229" y="9684"/>
                    <a:pt x="5233" y="9674"/>
                    <a:pt x="5249" y="9668"/>
                  </a:cubicBezTo>
                  <a:cubicBezTo>
                    <a:pt x="5265" y="9661"/>
                    <a:pt x="5293" y="9651"/>
                    <a:pt x="5314" y="9646"/>
                  </a:cubicBezTo>
                  <a:cubicBezTo>
                    <a:pt x="5335" y="9642"/>
                    <a:pt x="5383" y="9666"/>
                    <a:pt x="5421" y="9698"/>
                  </a:cubicBezTo>
                  <a:cubicBezTo>
                    <a:pt x="5459" y="9729"/>
                    <a:pt x="5504" y="9748"/>
                    <a:pt x="5515" y="9736"/>
                  </a:cubicBezTo>
                  <a:cubicBezTo>
                    <a:pt x="5530" y="9726"/>
                    <a:pt x="5564" y="9721"/>
                    <a:pt x="5592" y="9727"/>
                  </a:cubicBezTo>
                  <a:cubicBezTo>
                    <a:pt x="5620" y="9732"/>
                    <a:pt x="5661" y="9729"/>
                    <a:pt x="5673" y="9716"/>
                  </a:cubicBezTo>
                  <a:cubicBezTo>
                    <a:pt x="5693" y="9706"/>
                    <a:pt x="5707" y="9681"/>
                    <a:pt x="5726" y="9667"/>
                  </a:cubicBezTo>
                  <a:cubicBezTo>
                    <a:pt x="5737" y="9651"/>
                    <a:pt x="5766" y="9640"/>
                    <a:pt x="5785" y="9645"/>
                  </a:cubicBezTo>
                  <a:cubicBezTo>
                    <a:pt x="5806" y="9649"/>
                    <a:pt x="5845" y="9675"/>
                    <a:pt x="5876" y="9701"/>
                  </a:cubicBezTo>
                  <a:cubicBezTo>
                    <a:pt x="5909" y="9728"/>
                    <a:pt x="5959" y="9796"/>
                    <a:pt x="5982" y="9853"/>
                  </a:cubicBezTo>
                  <a:cubicBezTo>
                    <a:pt x="6015" y="9908"/>
                    <a:pt x="6109" y="10053"/>
                    <a:pt x="6207" y="10171"/>
                  </a:cubicBezTo>
                  <a:cubicBezTo>
                    <a:pt x="6295" y="10291"/>
                    <a:pt x="6422" y="10414"/>
                    <a:pt x="6467" y="10451"/>
                  </a:cubicBezTo>
                  <a:cubicBezTo>
                    <a:pt x="6513" y="10488"/>
                    <a:pt x="6562" y="10553"/>
                    <a:pt x="6573" y="10599"/>
                  </a:cubicBezTo>
                  <a:cubicBezTo>
                    <a:pt x="6578" y="10644"/>
                    <a:pt x="6613" y="10702"/>
                    <a:pt x="6647" y="10725"/>
                  </a:cubicBezTo>
                  <a:cubicBezTo>
                    <a:pt x="6680" y="10748"/>
                    <a:pt x="6721" y="10789"/>
                    <a:pt x="6741" y="10814"/>
                  </a:cubicBezTo>
                  <a:cubicBezTo>
                    <a:pt x="6762" y="10839"/>
                    <a:pt x="6833" y="10872"/>
                    <a:pt x="6898" y="10887"/>
                  </a:cubicBezTo>
                  <a:cubicBezTo>
                    <a:pt x="6964" y="10902"/>
                    <a:pt x="7069" y="10919"/>
                    <a:pt x="7131" y="10924"/>
                  </a:cubicBezTo>
                  <a:cubicBezTo>
                    <a:pt x="7195" y="10927"/>
                    <a:pt x="7272" y="10942"/>
                    <a:pt x="7301" y="10955"/>
                  </a:cubicBezTo>
                  <a:cubicBezTo>
                    <a:pt x="7330" y="10968"/>
                    <a:pt x="7367" y="11009"/>
                    <a:pt x="7382" y="11049"/>
                  </a:cubicBezTo>
                  <a:cubicBezTo>
                    <a:pt x="7399" y="11088"/>
                    <a:pt x="7460" y="11145"/>
                    <a:pt x="7524" y="11173"/>
                  </a:cubicBezTo>
                  <a:cubicBezTo>
                    <a:pt x="7589" y="11201"/>
                    <a:pt x="7687" y="11252"/>
                    <a:pt x="7742" y="11287"/>
                  </a:cubicBezTo>
                  <a:cubicBezTo>
                    <a:pt x="7794" y="11322"/>
                    <a:pt x="7872" y="11420"/>
                    <a:pt x="7915" y="11505"/>
                  </a:cubicBezTo>
                  <a:cubicBezTo>
                    <a:pt x="7959" y="11591"/>
                    <a:pt x="8031" y="11706"/>
                    <a:pt x="8076" y="11762"/>
                  </a:cubicBezTo>
                  <a:cubicBezTo>
                    <a:pt x="8125" y="11816"/>
                    <a:pt x="8209" y="11889"/>
                    <a:pt x="8264" y="11922"/>
                  </a:cubicBezTo>
                  <a:cubicBezTo>
                    <a:pt x="8319" y="11956"/>
                    <a:pt x="8385" y="12020"/>
                    <a:pt x="8417" y="12064"/>
                  </a:cubicBezTo>
                  <a:cubicBezTo>
                    <a:pt x="8440" y="12110"/>
                    <a:pt x="8475" y="12211"/>
                    <a:pt x="8486" y="12291"/>
                  </a:cubicBezTo>
                  <a:cubicBezTo>
                    <a:pt x="8491" y="12371"/>
                    <a:pt x="8537" y="12500"/>
                    <a:pt x="8576" y="12579"/>
                  </a:cubicBezTo>
                  <a:cubicBezTo>
                    <a:pt x="8615" y="12658"/>
                    <a:pt x="8682" y="12734"/>
                    <a:pt x="8723" y="12748"/>
                  </a:cubicBezTo>
                  <a:cubicBezTo>
                    <a:pt x="8761" y="12763"/>
                    <a:pt x="8824" y="12836"/>
                    <a:pt x="8846" y="12912"/>
                  </a:cubicBezTo>
                  <a:cubicBezTo>
                    <a:pt x="8879" y="12988"/>
                    <a:pt x="8918" y="13101"/>
                    <a:pt x="8929" y="13163"/>
                  </a:cubicBezTo>
                  <a:cubicBezTo>
                    <a:pt x="8951" y="13224"/>
                    <a:pt x="8947" y="13302"/>
                    <a:pt x="8936" y="13337"/>
                  </a:cubicBezTo>
                  <a:cubicBezTo>
                    <a:pt x="8914" y="13369"/>
                    <a:pt x="8905" y="13378"/>
                    <a:pt x="8894" y="13355"/>
                  </a:cubicBezTo>
                  <a:cubicBezTo>
                    <a:pt x="8889" y="13331"/>
                    <a:pt x="8859" y="13301"/>
                    <a:pt x="8832" y="13290"/>
                  </a:cubicBezTo>
                  <a:cubicBezTo>
                    <a:pt x="8806" y="13278"/>
                    <a:pt x="8755" y="13309"/>
                    <a:pt x="8717" y="13358"/>
                  </a:cubicBezTo>
                  <a:cubicBezTo>
                    <a:pt x="8683" y="13408"/>
                    <a:pt x="8592" y="13409"/>
                    <a:pt x="8528" y="13359"/>
                  </a:cubicBezTo>
                  <a:cubicBezTo>
                    <a:pt x="8592" y="13409"/>
                    <a:pt x="8652" y="13445"/>
                    <a:pt x="8650" y="13445"/>
                  </a:cubicBezTo>
                  <a:cubicBezTo>
                    <a:pt x="8650" y="13444"/>
                    <a:pt x="8659" y="13462"/>
                    <a:pt x="8675" y="13484"/>
                  </a:cubicBezTo>
                  <a:cubicBezTo>
                    <a:pt x="8687" y="13508"/>
                    <a:pt x="8698" y="13549"/>
                    <a:pt x="8709" y="13577"/>
                  </a:cubicBezTo>
                  <a:cubicBezTo>
                    <a:pt x="8719" y="13605"/>
                    <a:pt x="8755" y="13651"/>
                    <a:pt x="8797" y="13677"/>
                  </a:cubicBezTo>
                  <a:cubicBezTo>
                    <a:pt x="8842" y="13703"/>
                    <a:pt x="8879" y="13779"/>
                    <a:pt x="8879" y="13845"/>
                  </a:cubicBezTo>
                  <a:cubicBezTo>
                    <a:pt x="8879" y="13910"/>
                    <a:pt x="8896" y="13992"/>
                    <a:pt x="8918" y="14024"/>
                  </a:cubicBezTo>
                  <a:cubicBezTo>
                    <a:pt x="8930" y="14058"/>
                    <a:pt x="8953" y="14102"/>
                    <a:pt x="8942" y="14121"/>
                  </a:cubicBezTo>
                  <a:cubicBezTo>
                    <a:pt x="8936" y="14141"/>
                    <a:pt x="8945" y="14168"/>
                    <a:pt x="8960" y="14182"/>
                  </a:cubicBezTo>
                  <a:cubicBezTo>
                    <a:pt x="8979" y="14195"/>
                    <a:pt x="9015" y="14231"/>
                    <a:pt x="9032" y="14262"/>
                  </a:cubicBezTo>
                  <a:cubicBezTo>
                    <a:pt x="9059" y="14292"/>
                    <a:pt x="9077" y="14339"/>
                    <a:pt x="9077" y="14365"/>
                  </a:cubicBezTo>
                  <a:cubicBezTo>
                    <a:pt x="9077" y="14391"/>
                    <a:pt x="9095" y="14416"/>
                    <a:pt x="9108" y="14423"/>
                  </a:cubicBezTo>
                  <a:cubicBezTo>
                    <a:pt x="9125" y="14427"/>
                    <a:pt x="9148" y="14464"/>
                    <a:pt x="9160" y="14502"/>
                  </a:cubicBezTo>
                  <a:cubicBezTo>
                    <a:pt x="9175" y="14539"/>
                    <a:pt x="9213" y="14587"/>
                    <a:pt x="9248" y="14607"/>
                  </a:cubicBezTo>
                  <a:cubicBezTo>
                    <a:pt x="9281" y="14629"/>
                    <a:pt x="9324" y="14620"/>
                    <a:pt x="9336" y="14589"/>
                  </a:cubicBezTo>
                  <a:cubicBezTo>
                    <a:pt x="9347" y="14558"/>
                    <a:pt x="9387" y="14536"/>
                    <a:pt x="9420" y="14540"/>
                  </a:cubicBezTo>
                  <a:cubicBezTo>
                    <a:pt x="9452" y="14545"/>
                    <a:pt x="9491" y="14563"/>
                    <a:pt x="9507" y="14582"/>
                  </a:cubicBezTo>
                  <a:cubicBezTo>
                    <a:pt x="9525" y="14601"/>
                    <a:pt x="9564" y="14623"/>
                    <a:pt x="9598" y="14633"/>
                  </a:cubicBezTo>
                  <a:cubicBezTo>
                    <a:pt x="9632" y="14641"/>
                    <a:pt x="9690" y="14678"/>
                    <a:pt x="9717" y="14716"/>
                  </a:cubicBezTo>
                  <a:cubicBezTo>
                    <a:pt x="9751" y="14753"/>
                    <a:pt x="9795" y="14792"/>
                    <a:pt x="9816" y="14802"/>
                  </a:cubicBezTo>
                  <a:cubicBezTo>
                    <a:pt x="9841" y="14811"/>
                    <a:pt x="9879" y="14854"/>
                    <a:pt x="9895" y="14895"/>
                  </a:cubicBezTo>
                  <a:cubicBezTo>
                    <a:pt x="9918" y="14936"/>
                    <a:pt x="9953" y="14978"/>
                    <a:pt x="9979" y="14983"/>
                  </a:cubicBezTo>
                  <a:cubicBezTo>
                    <a:pt x="10004" y="14988"/>
                    <a:pt x="10038" y="15018"/>
                    <a:pt x="10048" y="15047"/>
                  </a:cubicBezTo>
                  <a:cubicBezTo>
                    <a:pt x="10065" y="15075"/>
                    <a:pt x="10071" y="15095"/>
                    <a:pt x="10076" y="15093"/>
                  </a:cubicBezTo>
                  <a:cubicBezTo>
                    <a:pt x="10079" y="15090"/>
                    <a:pt x="10086" y="15134"/>
                    <a:pt x="10097" y="15193"/>
                  </a:cubicBezTo>
                  <a:cubicBezTo>
                    <a:pt x="10086" y="15134"/>
                    <a:pt x="10088" y="15079"/>
                    <a:pt x="10088" y="15069"/>
                  </a:cubicBezTo>
                  <a:cubicBezTo>
                    <a:pt x="10098" y="15061"/>
                    <a:pt x="10134" y="15075"/>
                    <a:pt x="10178" y="15104"/>
                  </a:cubicBezTo>
                  <a:cubicBezTo>
                    <a:pt x="10220" y="15133"/>
                    <a:pt x="10268" y="15171"/>
                    <a:pt x="10280" y="15190"/>
                  </a:cubicBezTo>
                  <a:cubicBezTo>
                    <a:pt x="10296" y="15208"/>
                    <a:pt x="10324" y="15225"/>
                    <a:pt x="10352" y="15225"/>
                  </a:cubicBezTo>
                  <a:cubicBezTo>
                    <a:pt x="10380" y="15225"/>
                    <a:pt x="10415" y="15235"/>
                    <a:pt x="10432" y="15244"/>
                  </a:cubicBezTo>
                  <a:cubicBezTo>
                    <a:pt x="10445" y="15255"/>
                    <a:pt x="10470" y="15237"/>
                    <a:pt x="10486" y="15208"/>
                  </a:cubicBezTo>
                  <a:cubicBezTo>
                    <a:pt x="10497" y="15179"/>
                    <a:pt x="10539" y="15155"/>
                    <a:pt x="10572" y="15153"/>
                  </a:cubicBezTo>
                  <a:cubicBezTo>
                    <a:pt x="10605" y="15150"/>
                    <a:pt x="10676" y="15173"/>
                    <a:pt x="10729" y="15199"/>
                  </a:cubicBezTo>
                  <a:cubicBezTo>
                    <a:pt x="10779" y="15227"/>
                    <a:pt x="10836" y="15262"/>
                    <a:pt x="10852" y="15279"/>
                  </a:cubicBezTo>
                  <a:cubicBezTo>
                    <a:pt x="10863" y="15298"/>
                    <a:pt x="10907" y="15315"/>
                    <a:pt x="10940" y="15320"/>
                  </a:cubicBezTo>
                  <a:cubicBezTo>
                    <a:pt x="10972" y="15324"/>
                    <a:pt x="11013" y="15346"/>
                    <a:pt x="11039" y="15364"/>
                  </a:cubicBezTo>
                  <a:cubicBezTo>
                    <a:pt x="11062" y="15383"/>
                    <a:pt x="11121" y="15443"/>
                    <a:pt x="11160" y="15498"/>
                  </a:cubicBezTo>
                  <a:cubicBezTo>
                    <a:pt x="11208" y="15552"/>
                    <a:pt x="11267" y="15599"/>
                    <a:pt x="11298" y="15603"/>
                  </a:cubicBezTo>
                  <a:cubicBezTo>
                    <a:pt x="11328" y="15607"/>
                    <a:pt x="11375" y="15627"/>
                    <a:pt x="11408" y="15645"/>
                  </a:cubicBezTo>
                  <a:cubicBezTo>
                    <a:pt x="11437" y="15666"/>
                    <a:pt x="11475" y="15699"/>
                    <a:pt x="11486" y="15721"/>
                  </a:cubicBezTo>
                  <a:cubicBezTo>
                    <a:pt x="11496" y="15744"/>
                    <a:pt x="11525" y="15793"/>
                    <a:pt x="11557" y="15828"/>
                  </a:cubicBezTo>
                  <a:cubicBezTo>
                    <a:pt x="11580" y="15865"/>
                    <a:pt x="11617" y="15924"/>
                    <a:pt x="11632" y="15960"/>
                  </a:cubicBezTo>
                  <a:cubicBezTo>
                    <a:pt x="11643" y="15997"/>
                    <a:pt x="11666" y="16019"/>
                    <a:pt x="11681" y="16015"/>
                  </a:cubicBezTo>
                  <a:cubicBezTo>
                    <a:pt x="11696" y="16010"/>
                    <a:pt x="11707" y="15964"/>
                    <a:pt x="11701" y="15915"/>
                  </a:cubicBezTo>
                  <a:cubicBezTo>
                    <a:pt x="11701" y="15866"/>
                    <a:pt x="11705" y="15811"/>
                    <a:pt x="11722" y="15796"/>
                  </a:cubicBezTo>
                  <a:cubicBezTo>
                    <a:pt x="11733" y="15778"/>
                    <a:pt x="11755" y="15777"/>
                    <a:pt x="11765" y="15792"/>
                  </a:cubicBezTo>
                  <a:cubicBezTo>
                    <a:pt x="11775" y="15807"/>
                    <a:pt x="11807" y="15821"/>
                    <a:pt x="11834" y="15822"/>
                  </a:cubicBezTo>
                  <a:cubicBezTo>
                    <a:pt x="11861" y="15824"/>
                    <a:pt x="11904" y="15846"/>
                    <a:pt x="11935" y="15868"/>
                  </a:cubicBezTo>
                  <a:cubicBezTo>
                    <a:pt x="11958" y="15893"/>
                    <a:pt x="11996" y="15947"/>
                    <a:pt x="12002" y="15993"/>
                  </a:cubicBezTo>
                  <a:cubicBezTo>
                    <a:pt x="12007" y="16038"/>
                    <a:pt x="12045" y="16106"/>
                    <a:pt x="12078" y="16144"/>
                  </a:cubicBezTo>
                  <a:cubicBezTo>
                    <a:pt x="12111" y="16182"/>
                    <a:pt x="12173" y="16203"/>
                    <a:pt x="12212" y="16191"/>
                  </a:cubicBezTo>
                  <a:cubicBezTo>
                    <a:pt x="12248" y="16177"/>
                    <a:pt x="12307" y="16177"/>
                    <a:pt x="12340" y="16184"/>
                  </a:cubicBezTo>
                  <a:cubicBezTo>
                    <a:pt x="12371" y="16193"/>
                    <a:pt x="12396" y="16253"/>
                    <a:pt x="12396" y="16320"/>
                  </a:cubicBezTo>
                  <a:cubicBezTo>
                    <a:pt x="12396" y="16387"/>
                    <a:pt x="12403" y="16475"/>
                    <a:pt x="12425" y="16513"/>
                  </a:cubicBezTo>
                  <a:cubicBezTo>
                    <a:pt x="12441" y="16552"/>
                    <a:pt x="12473" y="16579"/>
                    <a:pt x="12493" y="16575"/>
                  </a:cubicBezTo>
                  <a:cubicBezTo>
                    <a:pt x="12511" y="16568"/>
                    <a:pt x="12560" y="16586"/>
                    <a:pt x="12597" y="16611"/>
                  </a:cubicBezTo>
                  <a:cubicBezTo>
                    <a:pt x="12631" y="16636"/>
                    <a:pt x="12670" y="16640"/>
                    <a:pt x="12687" y="16625"/>
                  </a:cubicBezTo>
                  <a:cubicBezTo>
                    <a:pt x="12699" y="16607"/>
                    <a:pt x="12732" y="16586"/>
                    <a:pt x="12758" y="16578"/>
                  </a:cubicBezTo>
                  <a:cubicBezTo>
                    <a:pt x="12783" y="16568"/>
                    <a:pt x="12823" y="16536"/>
                    <a:pt x="12840" y="16504"/>
                  </a:cubicBezTo>
                  <a:cubicBezTo>
                    <a:pt x="12862" y="16473"/>
                    <a:pt x="12911" y="16456"/>
                    <a:pt x="12958" y="16464"/>
                  </a:cubicBezTo>
                  <a:cubicBezTo>
                    <a:pt x="13004" y="16474"/>
                    <a:pt x="13064" y="16501"/>
                    <a:pt x="13097" y="16522"/>
                  </a:cubicBezTo>
                  <a:cubicBezTo>
                    <a:pt x="13131" y="16542"/>
                    <a:pt x="13160" y="16593"/>
                    <a:pt x="13171" y="16632"/>
                  </a:cubicBezTo>
                  <a:cubicBezTo>
                    <a:pt x="13182" y="16672"/>
                    <a:pt x="13221" y="16719"/>
                    <a:pt x="13256" y="16741"/>
                  </a:cubicBezTo>
                  <a:cubicBezTo>
                    <a:pt x="13290" y="16763"/>
                    <a:pt x="13338" y="16818"/>
                    <a:pt x="13371" y="16863"/>
                  </a:cubicBezTo>
                  <a:cubicBezTo>
                    <a:pt x="13399" y="16908"/>
                    <a:pt x="13436" y="16953"/>
                    <a:pt x="13457" y="16961"/>
                  </a:cubicBezTo>
                  <a:cubicBezTo>
                    <a:pt x="13479" y="16968"/>
                    <a:pt x="13515" y="16961"/>
                    <a:pt x="13546" y="16947"/>
                  </a:cubicBezTo>
                  <a:cubicBezTo>
                    <a:pt x="13571" y="16930"/>
                    <a:pt x="13607" y="16924"/>
                    <a:pt x="13619" y="16932"/>
                  </a:cubicBezTo>
                  <a:cubicBezTo>
                    <a:pt x="13631" y="16940"/>
                    <a:pt x="13665" y="16935"/>
                    <a:pt x="13697" y="16924"/>
                  </a:cubicBezTo>
                  <a:cubicBezTo>
                    <a:pt x="13726" y="16911"/>
                    <a:pt x="13769" y="16905"/>
                    <a:pt x="13790" y="16908"/>
                  </a:cubicBezTo>
                  <a:cubicBezTo>
                    <a:pt x="13811" y="16911"/>
                    <a:pt x="13836" y="16943"/>
                    <a:pt x="13846" y="16978"/>
                  </a:cubicBezTo>
                  <a:cubicBezTo>
                    <a:pt x="13836" y="16943"/>
                    <a:pt x="13836" y="16915"/>
                    <a:pt x="13833" y="16915"/>
                  </a:cubicBezTo>
                  <a:cubicBezTo>
                    <a:pt x="13836" y="16915"/>
                    <a:pt x="13860" y="16897"/>
                    <a:pt x="13872" y="16872"/>
                  </a:cubicBezTo>
                  <a:cubicBezTo>
                    <a:pt x="13894" y="16848"/>
                    <a:pt x="13926" y="16825"/>
                    <a:pt x="13952" y="16822"/>
                  </a:cubicBezTo>
                  <a:cubicBezTo>
                    <a:pt x="13978" y="16818"/>
                    <a:pt x="14015" y="16844"/>
                    <a:pt x="14027" y="16879"/>
                  </a:cubicBezTo>
                  <a:cubicBezTo>
                    <a:pt x="14048" y="16912"/>
                    <a:pt x="14058" y="16975"/>
                    <a:pt x="14064" y="17015"/>
                  </a:cubicBezTo>
                  <a:cubicBezTo>
                    <a:pt x="14069" y="17056"/>
                    <a:pt x="14092" y="17109"/>
                    <a:pt x="14114" y="17133"/>
                  </a:cubicBezTo>
                  <a:cubicBezTo>
                    <a:pt x="14137" y="17158"/>
                    <a:pt x="14157" y="17177"/>
                    <a:pt x="14159" y="17176"/>
                  </a:cubicBezTo>
                  <a:cubicBezTo>
                    <a:pt x="14161" y="17176"/>
                    <a:pt x="14155" y="17205"/>
                    <a:pt x="14161" y="17241"/>
                  </a:cubicBezTo>
                  <a:cubicBezTo>
                    <a:pt x="14155" y="17205"/>
                    <a:pt x="14175" y="17161"/>
                    <a:pt x="14199" y="17149"/>
                  </a:cubicBezTo>
                  <a:cubicBezTo>
                    <a:pt x="14218" y="17135"/>
                    <a:pt x="14250" y="17067"/>
                    <a:pt x="14272" y="16999"/>
                  </a:cubicBezTo>
                  <a:cubicBezTo>
                    <a:pt x="14289" y="16930"/>
                    <a:pt x="14347" y="16839"/>
                    <a:pt x="14397" y="16796"/>
                  </a:cubicBezTo>
                  <a:cubicBezTo>
                    <a:pt x="14447" y="16754"/>
                    <a:pt x="14514" y="16714"/>
                    <a:pt x="14548" y="16710"/>
                  </a:cubicBezTo>
                  <a:cubicBezTo>
                    <a:pt x="14581" y="16706"/>
                    <a:pt x="14621" y="16724"/>
                    <a:pt x="14632" y="16752"/>
                  </a:cubicBezTo>
                  <a:cubicBezTo>
                    <a:pt x="14643" y="16779"/>
                    <a:pt x="14697" y="16811"/>
                    <a:pt x="14750" y="16821"/>
                  </a:cubicBezTo>
                  <a:cubicBezTo>
                    <a:pt x="14801" y="16833"/>
                    <a:pt x="14864" y="16853"/>
                    <a:pt x="14881" y="16869"/>
                  </a:cubicBezTo>
                  <a:cubicBezTo>
                    <a:pt x="14899" y="16885"/>
                    <a:pt x="14937" y="16883"/>
                    <a:pt x="14965" y="16871"/>
                  </a:cubicBezTo>
                  <a:cubicBezTo>
                    <a:pt x="14988" y="16855"/>
                    <a:pt x="15034" y="16846"/>
                    <a:pt x="15060" y="16850"/>
                  </a:cubicBezTo>
                  <a:cubicBezTo>
                    <a:pt x="15086" y="16853"/>
                    <a:pt x="15127" y="16884"/>
                    <a:pt x="15143" y="16920"/>
                  </a:cubicBezTo>
                  <a:cubicBezTo>
                    <a:pt x="15165" y="16955"/>
                    <a:pt x="15182" y="16983"/>
                    <a:pt x="15187" y="16983"/>
                  </a:cubicBezTo>
                  <a:cubicBezTo>
                    <a:pt x="15191" y="16983"/>
                    <a:pt x="15188" y="17014"/>
                    <a:pt x="15188" y="17051"/>
                  </a:cubicBezTo>
                  <a:cubicBezTo>
                    <a:pt x="15188" y="17014"/>
                    <a:pt x="15206" y="16981"/>
                    <a:pt x="15219" y="16981"/>
                  </a:cubicBezTo>
                  <a:cubicBezTo>
                    <a:pt x="15233" y="16980"/>
                    <a:pt x="15276" y="16973"/>
                    <a:pt x="15310" y="16960"/>
                  </a:cubicBezTo>
                  <a:cubicBezTo>
                    <a:pt x="15347" y="16950"/>
                    <a:pt x="15389" y="16939"/>
                    <a:pt x="15405" y="16938"/>
                  </a:cubicBezTo>
                  <a:cubicBezTo>
                    <a:pt x="15421" y="16936"/>
                    <a:pt x="15436" y="16905"/>
                    <a:pt x="15447" y="16868"/>
                  </a:cubicBezTo>
                  <a:cubicBezTo>
                    <a:pt x="15452" y="16831"/>
                    <a:pt x="15473" y="16788"/>
                    <a:pt x="15483" y="16771"/>
                  </a:cubicBezTo>
                  <a:cubicBezTo>
                    <a:pt x="15499" y="16755"/>
                    <a:pt x="15521" y="16748"/>
                    <a:pt x="15536" y="16757"/>
                  </a:cubicBezTo>
                  <a:cubicBezTo>
                    <a:pt x="15553" y="16766"/>
                    <a:pt x="15563" y="16757"/>
                    <a:pt x="15563" y="16736"/>
                  </a:cubicBezTo>
                  <a:cubicBezTo>
                    <a:pt x="15563" y="16716"/>
                    <a:pt x="15578" y="16694"/>
                    <a:pt x="15597" y="16686"/>
                  </a:cubicBezTo>
                  <a:cubicBezTo>
                    <a:pt x="15618" y="16680"/>
                    <a:pt x="15629" y="16646"/>
                    <a:pt x="15640" y="16615"/>
                  </a:cubicBezTo>
                  <a:cubicBezTo>
                    <a:pt x="15640" y="16583"/>
                    <a:pt x="15649" y="16531"/>
                    <a:pt x="15671" y="16501"/>
                  </a:cubicBezTo>
                  <a:cubicBezTo>
                    <a:pt x="15677" y="16470"/>
                    <a:pt x="15712" y="16443"/>
                    <a:pt x="15732" y="16439"/>
                  </a:cubicBezTo>
                  <a:cubicBezTo>
                    <a:pt x="15753" y="16436"/>
                    <a:pt x="15799" y="16426"/>
                    <a:pt x="15832" y="16414"/>
                  </a:cubicBezTo>
                  <a:cubicBezTo>
                    <a:pt x="15865" y="16403"/>
                    <a:pt x="15903" y="16360"/>
                    <a:pt x="15925" y="16318"/>
                  </a:cubicBezTo>
                  <a:cubicBezTo>
                    <a:pt x="15946" y="16277"/>
                    <a:pt x="15958" y="16215"/>
                    <a:pt x="15947" y="16181"/>
                  </a:cubicBezTo>
                  <a:cubicBezTo>
                    <a:pt x="15942" y="16148"/>
                    <a:pt x="15949" y="16117"/>
                    <a:pt x="15963" y="16115"/>
                  </a:cubicBezTo>
                  <a:cubicBezTo>
                    <a:pt x="15976" y="16111"/>
                    <a:pt x="15999" y="16089"/>
                    <a:pt x="16020" y="16068"/>
                  </a:cubicBezTo>
                  <a:cubicBezTo>
                    <a:pt x="16038" y="16045"/>
                    <a:pt x="16065" y="16061"/>
                    <a:pt x="16092" y="16102"/>
                  </a:cubicBezTo>
                  <a:cubicBezTo>
                    <a:pt x="16109" y="16144"/>
                    <a:pt x="16147" y="16170"/>
                    <a:pt x="16171" y="16161"/>
                  </a:cubicBezTo>
                  <a:cubicBezTo>
                    <a:pt x="16192" y="16151"/>
                    <a:pt x="16241" y="16164"/>
                    <a:pt x="16280" y="16185"/>
                  </a:cubicBezTo>
                  <a:cubicBezTo>
                    <a:pt x="16315" y="16208"/>
                    <a:pt x="16351" y="16213"/>
                    <a:pt x="16362" y="16199"/>
                  </a:cubicBezTo>
                  <a:cubicBezTo>
                    <a:pt x="16372" y="16184"/>
                    <a:pt x="16367" y="16150"/>
                    <a:pt x="16367" y="16122"/>
                  </a:cubicBezTo>
                  <a:cubicBezTo>
                    <a:pt x="16355" y="16094"/>
                    <a:pt x="16379" y="16040"/>
                    <a:pt x="16421" y="16007"/>
                  </a:cubicBezTo>
                  <a:cubicBezTo>
                    <a:pt x="16455" y="15972"/>
                    <a:pt x="16497" y="15951"/>
                    <a:pt x="16511" y="15960"/>
                  </a:cubicBezTo>
                  <a:cubicBezTo>
                    <a:pt x="16523" y="15971"/>
                    <a:pt x="16539" y="15998"/>
                    <a:pt x="16560" y="16019"/>
                  </a:cubicBezTo>
                  <a:cubicBezTo>
                    <a:pt x="16571" y="16042"/>
                    <a:pt x="16595" y="16059"/>
                    <a:pt x="16602" y="16053"/>
                  </a:cubicBezTo>
                  <a:cubicBezTo>
                    <a:pt x="16613" y="16048"/>
                    <a:pt x="16627" y="16057"/>
                    <a:pt x="16633" y="16071"/>
                  </a:cubicBezTo>
                  <a:cubicBezTo>
                    <a:pt x="16638" y="16086"/>
                    <a:pt x="16632" y="16131"/>
                    <a:pt x="16627" y="16172"/>
                  </a:cubicBezTo>
                  <a:cubicBezTo>
                    <a:pt x="16616" y="16212"/>
                    <a:pt x="16617" y="16266"/>
                    <a:pt x="16628" y="16291"/>
                  </a:cubicBezTo>
                  <a:cubicBezTo>
                    <a:pt x="16634" y="16316"/>
                    <a:pt x="16653" y="16331"/>
                    <a:pt x="16664" y="16328"/>
                  </a:cubicBezTo>
                  <a:cubicBezTo>
                    <a:pt x="16675" y="16323"/>
                    <a:pt x="16692" y="16316"/>
                    <a:pt x="16702" y="16311"/>
                  </a:cubicBezTo>
                  <a:cubicBezTo>
                    <a:pt x="16712" y="16306"/>
                    <a:pt x="16733" y="16322"/>
                    <a:pt x="16733" y="16346"/>
                  </a:cubicBezTo>
                  <a:cubicBezTo>
                    <a:pt x="16744" y="16369"/>
                    <a:pt x="16760" y="16413"/>
                    <a:pt x="16772" y="16444"/>
                  </a:cubicBezTo>
                  <a:cubicBezTo>
                    <a:pt x="16793" y="16474"/>
                    <a:pt x="16803" y="16517"/>
                    <a:pt x="16803" y="16538"/>
                  </a:cubicBezTo>
                  <a:cubicBezTo>
                    <a:pt x="16813" y="16558"/>
                    <a:pt x="16797" y="16597"/>
                    <a:pt x="16786" y="16622"/>
                  </a:cubicBezTo>
                  <a:cubicBezTo>
                    <a:pt x="16774" y="16647"/>
                    <a:pt x="16772" y="16689"/>
                    <a:pt x="16777" y="16714"/>
                  </a:cubicBezTo>
                  <a:cubicBezTo>
                    <a:pt x="16782" y="16740"/>
                    <a:pt x="16803" y="16768"/>
                    <a:pt x="16824" y="16774"/>
                  </a:cubicBezTo>
                  <a:cubicBezTo>
                    <a:pt x="16838" y="16784"/>
                    <a:pt x="16867" y="16781"/>
                    <a:pt x="16877" y="16774"/>
                  </a:cubicBezTo>
                  <a:cubicBezTo>
                    <a:pt x="16888" y="16768"/>
                    <a:pt x="16908" y="16773"/>
                    <a:pt x="16926" y="16786"/>
                  </a:cubicBezTo>
                  <a:cubicBezTo>
                    <a:pt x="16942" y="16800"/>
                    <a:pt x="16977" y="16837"/>
                    <a:pt x="16993" y="16871"/>
                  </a:cubicBezTo>
                  <a:cubicBezTo>
                    <a:pt x="17019" y="16903"/>
                    <a:pt x="17031" y="16950"/>
                    <a:pt x="17036" y="16973"/>
                  </a:cubicBezTo>
                  <a:cubicBezTo>
                    <a:pt x="17031" y="16950"/>
                    <a:pt x="17027" y="16925"/>
                    <a:pt x="17021" y="16918"/>
                  </a:cubicBezTo>
                  <a:cubicBezTo>
                    <a:pt x="17021" y="16909"/>
                    <a:pt x="17025" y="16895"/>
                    <a:pt x="17037" y="16883"/>
                  </a:cubicBezTo>
                  <a:cubicBezTo>
                    <a:pt x="17049" y="16872"/>
                    <a:pt x="17082" y="16875"/>
                    <a:pt x="17099" y="16894"/>
                  </a:cubicBezTo>
                  <a:cubicBezTo>
                    <a:pt x="17120" y="16910"/>
                    <a:pt x="17143" y="16914"/>
                    <a:pt x="17157" y="16903"/>
                  </a:cubicBezTo>
                  <a:cubicBezTo>
                    <a:pt x="17168" y="16890"/>
                    <a:pt x="17194" y="16883"/>
                    <a:pt x="17213" y="16886"/>
                  </a:cubicBezTo>
                  <a:cubicBezTo>
                    <a:pt x="17232" y="16890"/>
                    <a:pt x="17258" y="16925"/>
                    <a:pt x="17274" y="16966"/>
                  </a:cubicBezTo>
                  <a:cubicBezTo>
                    <a:pt x="17290" y="17007"/>
                    <a:pt x="17310" y="17060"/>
                    <a:pt x="17332" y="17082"/>
                  </a:cubicBezTo>
                  <a:cubicBezTo>
                    <a:pt x="17344" y="17106"/>
                    <a:pt x="17373" y="17163"/>
                    <a:pt x="17379" y="17210"/>
                  </a:cubicBezTo>
                  <a:cubicBezTo>
                    <a:pt x="17390" y="17257"/>
                    <a:pt x="17405" y="17295"/>
                    <a:pt x="17420" y="17295"/>
                  </a:cubicBezTo>
                  <a:cubicBezTo>
                    <a:pt x="17433" y="17294"/>
                    <a:pt x="17465" y="17321"/>
                    <a:pt x="17476" y="17353"/>
                  </a:cubicBezTo>
                  <a:cubicBezTo>
                    <a:pt x="17497" y="17383"/>
                    <a:pt x="17506" y="17447"/>
                    <a:pt x="17512" y="17493"/>
                  </a:cubicBezTo>
                  <a:cubicBezTo>
                    <a:pt x="17512" y="17538"/>
                    <a:pt x="17532" y="17618"/>
                    <a:pt x="17549" y="17670"/>
                  </a:cubicBezTo>
                  <a:cubicBezTo>
                    <a:pt x="17565" y="17722"/>
                    <a:pt x="17588" y="17802"/>
                    <a:pt x="17588" y="17847"/>
                  </a:cubicBezTo>
                  <a:cubicBezTo>
                    <a:pt x="17599" y="17892"/>
                    <a:pt x="17595" y="17982"/>
                    <a:pt x="17595" y="18046"/>
                  </a:cubicBezTo>
                  <a:cubicBezTo>
                    <a:pt x="17595" y="18110"/>
                    <a:pt x="17596" y="18186"/>
                    <a:pt x="17596" y="18217"/>
                  </a:cubicBezTo>
                  <a:cubicBezTo>
                    <a:pt x="17596" y="18247"/>
                    <a:pt x="17595" y="18287"/>
                    <a:pt x="17595" y="18305"/>
                  </a:cubicBezTo>
                  <a:cubicBezTo>
                    <a:pt x="17595" y="18324"/>
                    <a:pt x="17576" y="18348"/>
                    <a:pt x="17564" y="18361"/>
                  </a:cubicBezTo>
                  <a:cubicBezTo>
                    <a:pt x="17550" y="18373"/>
                    <a:pt x="17537" y="18406"/>
                    <a:pt x="17537" y="18434"/>
                  </a:cubicBezTo>
                  <a:cubicBezTo>
                    <a:pt x="17537" y="18462"/>
                    <a:pt x="17533" y="18490"/>
                    <a:pt x="17524" y="18492"/>
                  </a:cubicBezTo>
                  <a:cubicBezTo>
                    <a:pt x="17516" y="18496"/>
                    <a:pt x="17505" y="18516"/>
                    <a:pt x="17505" y="18537"/>
                  </a:cubicBezTo>
                  <a:cubicBezTo>
                    <a:pt x="17505" y="18557"/>
                    <a:pt x="17504" y="18599"/>
                    <a:pt x="17515" y="18628"/>
                  </a:cubicBezTo>
                  <a:cubicBezTo>
                    <a:pt x="17520" y="18658"/>
                    <a:pt x="17525" y="18696"/>
                    <a:pt x="17519" y="18713"/>
                  </a:cubicBezTo>
                  <a:cubicBezTo>
                    <a:pt x="17514" y="18730"/>
                    <a:pt x="17499" y="18738"/>
                    <a:pt x="17489" y="18730"/>
                  </a:cubicBezTo>
                  <a:cubicBezTo>
                    <a:pt x="17475" y="18723"/>
                    <a:pt x="17462" y="18732"/>
                    <a:pt x="17451" y="18754"/>
                  </a:cubicBezTo>
                  <a:cubicBezTo>
                    <a:pt x="17440" y="18775"/>
                    <a:pt x="17428" y="18814"/>
                    <a:pt x="17422" y="18840"/>
                  </a:cubicBezTo>
                  <a:cubicBezTo>
                    <a:pt x="17422" y="18866"/>
                    <a:pt x="17416" y="18903"/>
                    <a:pt x="17427" y="18923"/>
                  </a:cubicBezTo>
                  <a:cubicBezTo>
                    <a:pt x="17427" y="18943"/>
                    <a:pt x="17440" y="18978"/>
                    <a:pt x="17429" y="19000"/>
                  </a:cubicBezTo>
                  <a:cubicBezTo>
                    <a:pt x="17424" y="19023"/>
                    <a:pt x="17418" y="19061"/>
                    <a:pt x="17418" y="19087"/>
                  </a:cubicBezTo>
                  <a:cubicBezTo>
                    <a:pt x="17418" y="19112"/>
                    <a:pt x="17432" y="19141"/>
                    <a:pt x="17446" y="19153"/>
                  </a:cubicBezTo>
                  <a:cubicBezTo>
                    <a:pt x="17457" y="19165"/>
                    <a:pt x="17484" y="19189"/>
                    <a:pt x="17484" y="19210"/>
                  </a:cubicBezTo>
                  <a:cubicBezTo>
                    <a:pt x="17494" y="19229"/>
                    <a:pt x="17512" y="19261"/>
                    <a:pt x="17517" y="19282"/>
                  </a:cubicBezTo>
                  <a:cubicBezTo>
                    <a:pt x="17533" y="19302"/>
                    <a:pt x="17542" y="19348"/>
                    <a:pt x="17537" y="19384"/>
                  </a:cubicBezTo>
                  <a:cubicBezTo>
                    <a:pt x="17537" y="19420"/>
                    <a:pt x="17539" y="19478"/>
                    <a:pt x="17550" y="19513"/>
                  </a:cubicBezTo>
                  <a:cubicBezTo>
                    <a:pt x="17561" y="19548"/>
                    <a:pt x="17578" y="19555"/>
                    <a:pt x="17599" y="19530"/>
                  </a:cubicBezTo>
                  <a:cubicBezTo>
                    <a:pt x="17616" y="19504"/>
                    <a:pt x="17662" y="19473"/>
                    <a:pt x="17697" y="19460"/>
                  </a:cubicBezTo>
                  <a:cubicBezTo>
                    <a:pt x="17733" y="19447"/>
                    <a:pt x="17764" y="19456"/>
                    <a:pt x="17769" y="19480"/>
                  </a:cubicBezTo>
                  <a:cubicBezTo>
                    <a:pt x="17775" y="19503"/>
                    <a:pt x="17774" y="19538"/>
                    <a:pt x="17769" y="19556"/>
                  </a:cubicBezTo>
                  <a:cubicBezTo>
                    <a:pt x="17769" y="19575"/>
                    <a:pt x="17773" y="19601"/>
                    <a:pt x="17779" y="19618"/>
                  </a:cubicBezTo>
                  <a:cubicBezTo>
                    <a:pt x="17789" y="19633"/>
                    <a:pt x="17812" y="19637"/>
                    <a:pt x="17833" y="19629"/>
                  </a:cubicBezTo>
                  <a:cubicBezTo>
                    <a:pt x="17854" y="19620"/>
                    <a:pt x="17878" y="19633"/>
                    <a:pt x="17878" y="19660"/>
                  </a:cubicBezTo>
                  <a:cubicBezTo>
                    <a:pt x="17883" y="19685"/>
                    <a:pt x="17878" y="19728"/>
                    <a:pt x="17878" y="19754"/>
                  </a:cubicBezTo>
                  <a:cubicBezTo>
                    <a:pt x="17872" y="19779"/>
                    <a:pt x="17876" y="19820"/>
                    <a:pt x="17886" y="19844"/>
                  </a:cubicBezTo>
                  <a:cubicBezTo>
                    <a:pt x="17898" y="19868"/>
                    <a:pt x="17920" y="19895"/>
                    <a:pt x="17940" y="19904"/>
                  </a:cubicBezTo>
                  <a:cubicBezTo>
                    <a:pt x="17960" y="19913"/>
                    <a:pt x="17976" y="19932"/>
                    <a:pt x="17970" y="19946"/>
                  </a:cubicBezTo>
                  <a:cubicBezTo>
                    <a:pt x="17970" y="19960"/>
                    <a:pt x="17970" y="19987"/>
                    <a:pt x="17975" y="20007"/>
                  </a:cubicBezTo>
                  <a:cubicBezTo>
                    <a:pt x="17981" y="20026"/>
                    <a:pt x="17986" y="20032"/>
                    <a:pt x="17992" y="20021"/>
                  </a:cubicBezTo>
                  <a:cubicBezTo>
                    <a:pt x="17986" y="20009"/>
                    <a:pt x="18014" y="19996"/>
                    <a:pt x="18035" y="19990"/>
                  </a:cubicBezTo>
                  <a:cubicBezTo>
                    <a:pt x="18057" y="19986"/>
                    <a:pt x="18085" y="19997"/>
                    <a:pt x="18102" y="20017"/>
                  </a:cubicBezTo>
                  <a:cubicBezTo>
                    <a:pt x="18118" y="20036"/>
                    <a:pt x="18131" y="20071"/>
                    <a:pt x="18131" y="20093"/>
                  </a:cubicBezTo>
                  <a:cubicBezTo>
                    <a:pt x="18125" y="20116"/>
                    <a:pt x="18126" y="20155"/>
                    <a:pt x="18120" y="20181"/>
                  </a:cubicBezTo>
                  <a:cubicBezTo>
                    <a:pt x="18114" y="20207"/>
                    <a:pt x="18110" y="20246"/>
                    <a:pt x="18110" y="20267"/>
                  </a:cubicBezTo>
                  <a:cubicBezTo>
                    <a:pt x="18110" y="20289"/>
                    <a:pt x="18102" y="20346"/>
                    <a:pt x="18081" y="20394"/>
                  </a:cubicBezTo>
                  <a:cubicBezTo>
                    <a:pt x="18064" y="20442"/>
                    <a:pt x="18035" y="20504"/>
                    <a:pt x="18023" y="20533"/>
                  </a:cubicBezTo>
                  <a:cubicBezTo>
                    <a:pt x="18007" y="20560"/>
                    <a:pt x="17992" y="20601"/>
                    <a:pt x="18003" y="20621"/>
                  </a:cubicBezTo>
                  <a:cubicBezTo>
                    <a:pt x="18003" y="20641"/>
                    <a:pt x="18019" y="20650"/>
                    <a:pt x="18029" y="20639"/>
                  </a:cubicBezTo>
                  <a:cubicBezTo>
                    <a:pt x="18043" y="20629"/>
                    <a:pt x="18069" y="20624"/>
                    <a:pt x="18093" y="20629"/>
                  </a:cubicBezTo>
                  <a:cubicBezTo>
                    <a:pt x="18116" y="20635"/>
                    <a:pt x="18134" y="20647"/>
                    <a:pt x="18144" y="20654"/>
                  </a:cubicBezTo>
                  <a:cubicBezTo>
                    <a:pt x="18144" y="20663"/>
                    <a:pt x="18160" y="20653"/>
                    <a:pt x="18171" y="20633"/>
                  </a:cubicBezTo>
                  <a:cubicBezTo>
                    <a:pt x="18182" y="20612"/>
                    <a:pt x="18205" y="20617"/>
                    <a:pt x="18210" y="20644"/>
                  </a:cubicBezTo>
                  <a:cubicBezTo>
                    <a:pt x="18221" y="20671"/>
                    <a:pt x="18226" y="20726"/>
                    <a:pt x="18221" y="20765"/>
                  </a:cubicBezTo>
                  <a:cubicBezTo>
                    <a:pt x="18221" y="20805"/>
                    <a:pt x="18216" y="20861"/>
                    <a:pt x="18221" y="20889"/>
                  </a:cubicBezTo>
                  <a:cubicBezTo>
                    <a:pt x="18227" y="20916"/>
                    <a:pt x="18240" y="20954"/>
                    <a:pt x="18261" y="20970"/>
                  </a:cubicBezTo>
                  <a:cubicBezTo>
                    <a:pt x="18276" y="20987"/>
                    <a:pt x="18299" y="20985"/>
                    <a:pt x="18310" y="20966"/>
                  </a:cubicBezTo>
                  <a:cubicBezTo>
                    <a:pt x="18315" y="20946"/>
                    <a:pt x="18342" y="20931"/>
                    <a:pt x="18358" y="20931"/>
                  </a:cubicBezTo>
                  <a:cubicBezTo>
                    <a:pt x="18374" y="20931"/>
                    <a:pt x="18414" y="20907"/>
                    <a:pt x="18447" y="20877"/>
                  </a:cubicBezTo>
                  <a:cubicBezTo>
                    <a:pt x="18480" y="20849"/>
                    <a:pt x="18517" y="20833"/>
                    <a:pt x="18531" y="20842"/>
                  </a:cubicBezTo>
                  <a:cubicBezTo>
                    <a:pt x="18544" y="20853"/>
                    <a:pt x="18553" y="20882"/>
                    <a:pt x="18553" y="20910"/>
                  </a:cubicBezTo>
                  <a:cubicBezTo>
                    <a:pt x="18547" y="20938"/>
                    <a:pt x="18534" y="20990"/>
                    <a:pt x="18513" y="21026"/>
                  </a:cubicBezTo>
                  <a:cubicBezTo>
                    <a:pt x="18504" y="21041"/>
                    <a:pt x="18494" y="21054"/>
                    <a:pt x="18483" y="21067"/>
                  </a:cubicBezTo>
                  <a:cubicBezTo>
                    <a:pt x="18489" y="21060"/>
                    <a:pt x="18496" y="21053"/>
                    <a:pt x="18502" y="21046"/>
                  </a:cubicBezTo>
                  <a:cubicBezTo>
                    <a:pt x="18513" y="21020"/>
                    <a:pt x="18539" y="21010"/>
                    <a:pt x="18544" y="21024"/>
                  </a:cubicBezTo>
                  <a:cubicBezTo>
                    <a:pt x="18556" y="21037"/>
                    <a:pt x="18571" y="21069"/>
                    <a:pt x="18571" y="21093"/>
                  </a:cubicBezTo>
                  <a:cubicBezTo>
                    <a:pt x="18576" y="21118"/>
                    <a:pt x="18598" y="21128"/>
                    <a:pt x="18615" y="21116"/>
                  </a:cubicBezTo>
                  <a:cubicBezTo>
                    <a:pt x="18634" y="21105"/>
                    <a:pt x="18656" y="21101"/>
                    <a:pt x="18670" y="21106"/>
                  </a:cubicBezTo>
                  <a:cubicBezTo>
                    <a:pt x="18682" y="21111"/>
                    <a:pt x="18685" y="21087"/>
                    <a:pt x="18685" y="21050"/>
                  </a:cubicBezTo>
                  <a:cubicBezTo>
                    <a:pt x="18685" y="21013"/>
                    <a:pt x="18677" y="20954"/>
                    <a:pt x="18677" y="20919"/>
                  </a:cubicBezTo>
                  <a:cubicBezTo>
                    <a:pt x="18677" y="20884"/>
                    <a:pt x="18671" y="20830"/>
                    <a:pt x="18666" y="20800"/>
                  </a:cubicBezTo>
                  <a:cubicBezTo>
                    <a:pt x="18666" y="20769"/>
                    <a:pt x="18655" y="20703"/>
                    <a:pt x="18655" y="20653"/>
                  </a:cubicBezTo>
                  <a:cubicBezTo>
                    <a:pt x="18650" y="20603"/>
                    <a:pt x="18660" y="20551"/>
                    <a:pt x="18670" y="20537"/>
                  </a:cubicBezTo>
                  <a:cubicBezTo>
                    <a:pt x="18676" y="20523"/>
                    <a:pt x="18687" y="20495"/>
                    <a:pt x="18687" y="20474"/>
                  </a:cubicBezTo>
                  <a:cubicBezTo>
                    <a:pt x="18687" y="20453"/>
                    <a:pt x="18708" y="20433"/>
                    <a:pt x="18734" y="20432"/>
                  </a:cubicBezTo>
                  <a:cubicBezTo>
                    <a:pt x="18760" y="20430"/>
                    <a:pt x="18778" y="20447"/>
                    <a:pt x="18790" y="20467"/>
                  </a:cubicBezTo>
                  <a:cubicBezTo>
                    <a:pt x="18791" y="20467"/>
                    <a:pt x="18791" y="20469"/>
                    <a:pt x="18790" y="20469"/>
                  </a:cubicBezTo>
                  <a:cubicBezTo>
                    <a:pt x="18785" y="20450"/>
                    <a:pt x="18791" y="20430"/>
                    <a:pt x="18791" y="20421"/>
                  </a:cubicBezTo>
                  <a:cubicBezTo>
                    <a:pt x="18796" y="20413"/>
                    <a:pt x="18810" y="20406"/>
                    <a:pt x="18810" y="20402"/>
                  </a:cubicBezTo>
                  <a:cubicBezTo>
                    <a:pt x="18816" y="20401"/>
                    <a:pt x="18820" y="20386"/>
                    <a:pt x="18826" y="20371"/>
                  </a:cubicBezTo>
                  <a:cubicBezTo>
                    <a:pt x="18826" y="20357"/>
                    <a:pt x="18833" y="20333"/>
                    <a:pt x="18845" y="20320"/>
                  </a:cubicBezTo>
                  <a:cubicBezTo>
                    <a:pt x="18845" y="20305"/>
                    <a:pt x="18867" y="20283"/>
                    <a:pt x="18884" y="20272"/>
                  </a:cubicBezTo>
                  <a:cubicBezTo>
                    <a:pt x="18899" y="20260"/>
                    <a:pt x="18916" y="20252"/>
                    <a:pt x="18925" y="20254"/>
                  </a:cubicBezTo>
                  <a:cubicBezTo>
                    <a:pt x="18932" y="20258"/>
                    <a:pt x="18940" y="20277"/>
                    <a:pt x="18940" y="20300"/>
                  </a:cubicBezTo>
                  <a:cubicBezTo>
                    <a:pt x="18940" y="20322"/>
                    <a:pt x="18950" y="20348"/>
                    <a:pt x="18950" y="20360"/>
                  </a:cubicBezTo>
                  <a:cubicBezTo>
                    <a:pt x="18955" y="20370"/>
                    <a:pt x="18968" y="20378"/>
                    <a:pt x="18977" y="20378"/>
                  </a:cubicBezTo>
                  <a:cubicBezTo>
                    <a:pt x="18986" y="20378"/>
                    <a:pt x="18992" y="20355"/>
                    <a:pt x="18997" y="20327"/>
                  </a:cubicBezTo>
                  <a:cubicBezTo>
                    <a:pt x="18997" y="20299"/>
                    <a:pt x="19013" y="20264"/>
                    <a:pt x="19018" y="20247"/>
                  </a:cubicBezTo>
                  <a:cubicBezTo>
                    <a:pt x="19030" y="20232"/>
                    <a:pt x="19043" y="20243"/>
                    <a:pt x="19060" y="20271"/>
                  </a:cubicBezTo>
                  <a:cubicBezTo>
                    <a:pt x="19076" y="20300"/>
                    <a:pt x="19091" y="20307"/>
                    <a:pt x="19096" y="20287"/>
                  </a:cubicBezTo>
                  <a:cubicBezTo>
                    <a:pt x="19102" y="20266"/>
                    <a:pt x="19114" y="20251"/>
                    <a:pt x="19122" y="20252"/>
                  </a:cubicBezTo>
                  <a:cubicBezTo>
                    <a:pt x="19129" y="20252"/>
                    <a:pt x="19130" y="20272"/>
                    <a:pt x="19141" y="20292"/>
                  </a:cubicBezTo>
                  <a:cubicBezTo>
                    <a:pt x="19141" y="20313"/>
                    <a:pt x="19156" y="20317"/>
                    <a:pt x="19172" y="20302"/>
                  </a:cubicBezTo>
                  <a:cubicBezTo>
                    <a:pt x="19184" y="20286"/>
                    <a:pt x="19202" y="20256"/>
                    <a:pt x="19202" y="20235"/>
                  </a:cubicBezTo>
                  <a:cubicBezTo>
                    <a:pt x="19202" y="20213"/>
                    <a:pt x="19221" y="20189"/>
                    <a:pt x="19233" y="20177"/>
                  </a:cubicBezTo>
                  <a:cubicBezTo>
                    <a:pt x="19249" y="20167"/>
                    <a:pt x="19272" y="20172"/>
                    <a:pt x="19283" y="20189"/>
                  </a:cubicBezTo>
                  <a:cubicBezTo>
                    <a:pt x="19294" y="20205"/>
                    <a:pt x="19323" y="20206"/>
                    <a:pt x="19343" y="20190"/>
                  </a:cubicBezTo>
                  <a:cubicBezTo>
                    <a:pt x="19360" y="20173"/>
                    <a:pt x="19378" y="20125"/>
                    <a:pt x="19378" y="20080"/>
                  </a:cubicBezTo>
                  <a:cubicBezTo>
                    <a:pt x="19378" y="20036"/>
                    <a:pt x="19386" y="19985"/>
                    <a:pt x="19398" y="19967"/>
                  </a:cubicBezTo>
                  <a:cubicBezTo>
                    <a:pt x="19418" y="19952"/>
                    <a:pt x="19433" y="19937"/>
                    <a:pt x="19448" y="19937"/>
                  </a:cubicBezTo>
                  <a:cubicBezTo>
                    <a:pt x="19463" y="19937"/>
                    <a:pt x="19484" y="19921"/>
                    <a:pt x="19489" y="19902"/>
                  </a:cubicBezTo>
                  <a:cubicBezTo>
                    <a:pt x="19500" y="19883"/>
                    <a:pt x="19516" y="19887"/>
                    <a:pt x="19527" y="19912"/>
                  </a:cubicBezTo>
                  <a:cubicBezTo>
                    <a:pt x="19539" y="19938"/>
                    <a:pt x="19552" y="19973"/>
                    <a:pt x="19552" y="19992"/>
                  </a:cubicBezTo>
                  <a:cubicBezTo>
                    <a:pt x="19552" y="20010"/>
                    <a:pt x="19562" y="20032"/>
                    <a:pt x="19577" y="20037"/>
                  </a:cubicBezTo>
                  <a:cubicBezTo>
                    <a:pt x="19591" y="20044"/>
                    <a:pt x="19600" y="20065"/>
                    <a:pt x="19611" y="20083"/>
                  </a:cubicBezTo>
                  <a:cubicBezTo>
                    <a:pt x="19611" y="20102"/>
                    <a:pt x="19642" y="20116"/>
                    <a:pt x="19668" y="20116"/>
                  </a:cubicBezTo>
                  <a:cubicBezTo>
                    <a:pt x="19694" y="20115"/>
                    <a:pt x="19724" y="20126"/>
                    <a:pt x="19724" y="20141"/>
                  </a:cubicBezTo>
                  <a:cubicBezTo>
                    <a:pt x="19729" y="20156"/>
                    <a:pt x="19748" y="20156"/>
                    <a:pt x="19760" y="20140"/>
                  </a:cubicBezTo>
                  <a:cubicBezTo>
                    <a:pt x="19776" y="20126"/>
                    <a:pt x="19793" y="20129"/>
                    <a:pt x="19804" y="20148"/>
                  </a:cubicBezTo>
                  <a:cubicBezTo>
                    <a:pt x="19814" y="20168"/>
                    <a:pt x="19819" y="20207"/>
                    <a:pt x="19819" y="20234"/>
                  </a:cubicBezTo>
                  <a:cubicBezTo>
                    <a:pt x="19819" y="20262"/>
                    <a:pt x="19810" y="20287"/>
                    <a:pt x="19802" y="20290"/>
                  </a:cubicBezTo>
                  <a:cubicBezTo>
                    <a:pt x="19793" y="20292"/>
                    <a:pt x="19777" y="20338"/>
                    <a:pt x="19777" y="20390"/>
                  </a:cubicBezTo>
                  <a:cubicBezTo>
                    <a:pt x="19772" y="20442"/>
                    <a:pt x="19774" y="20490"/>
                    <a:pt x="19779" y="20496"/>
                  </a:cubicBezTo>
                  <a:cubicBezTo>
                    <a:pt x="19787" y="20502"/>
                    <a:pt x="19798" y="20532"/>
                    <a:pt x="19798" y="20562"/>
                  </a:cubicBezTo>
                  <a:cubicBezTo>
                    <a:pt x="19798" y="20591"/>
                    <a:pt x="19818" y="20634"/>
                    <a:pt x="19844" y="20653"/>
                  </a:cubicBezTo>
                  <a:cubicBezTo>
                    <a:pt x="19862" y="20675"/>
                    <a:pt x="19891" y="20707"/>
                    <a:pt x="19891" y="20727"/>
                  </a:cubicBezTo>
                  <a:cubicBezTo>
                    <a:pt x="19896" y="20747"/>
                    <a:pt x="19904" y="20774"/>
                    <a:pt x="19916" y="20787"/>
                  </a:cubicBezTo>
                  <a:cubicBezTo>
                    <a:pt x="19922" y="20800"/>
                    <a:pt x="19943" y="20820"/>
                    <a:pt x="19955" y="20834"/>
                  </a:cubicBezTo>
                  <a:cubicBezTo>
                    <a:pt x="19965" y="20849"/>
                    <a:pt x="19984" y="20853"/>
                    <a:pt x="19994" y="20844"/>
                  </a:cubicBezTo>
                  <a:cubicBezTo>
                    <a:pt x="20005" y="20835"/>
                    <a:pt x="20013" y="20838"/>
                    <a:pt x="20023" y="20846"/>
                  </a:cubicBezTo>
                  <a:cubicBezTo>
                    <a:pt x="20023" y="20856"/>
                    <a:pt x="20043" y="20860"/>
                    <a:pt x="20043" y="20854"/>
                  </a:cubicBezTo>
                  <a:cubicBezTo>
                    <a:pt x="20052" y="20850"/>
                    <a:pt x="20061" y="20856"/>
                    <a:pt x="20071" y="20869"/>
                  </a:cubicBezTo>
                  <a:cubicBezTo>
                    <a:pt x="20077" y="20883"/>
                    <a:pt x="20087" y="20892"/>
                    <a:pt x="20087" y="20892"/>
                  </a:cubicBezTo>
                  <a:cubicBezTo>
                    <a:pt x="20088" y="20892"/>
                    <a:pt x="20092" y="20891"/>
                    <a:pt x="20092" y="20894"/>
                  </a:cubicBezTo>
                  <a:cubicBezTo>
                    <a:pt x="20097" y="20895"/>
                    <a:pt x="20105" y="20894"/>
                    <a:pt x="20105" y="20888"/>
                  </a:cubicBezTo>
                  <a:cubicBezTo>
                    <a:pt x="20105" y="20881"/>
                    <a:pt x="20118" y="20883"/>
                    <a:pt x="20124" y="20890"/>
                  </a:cubicBezTo>
                  <a:cubicBezTo>
                    <a:pt x="20129" y="20898"/>
                    <a:pt x="20150" y="20897"/>
                    <a:pt x="20150" y="20886"/>
                  </a:cubicBezTo>
                  <a:cubicBezTo>
                    <a:pt x="20161" y="20877"/>
                    <a:pt x="20165" y="20856"/>
                    <a:pt x="20165" y="20842"/>
                  </a:cubicBezTo>
                  <a:cubicBezTo>
                    <a:pt x="20165" y="20827"/>
                    <a:pt x="20163" y="20792"/>
                    <a:pt x="20168" y="20765"/>
                  </a:cubicBezTo>
                  <a:cubicBezTo>
                    <a:pt x="20168" y="20737"/>
                    <a:pt x="20177" y="20735"/>
                    <a:pt x="20182" y="20761"/>
                  </a:cubicBezTo>
                  <a:cubicBezTo>
                    <a:pt x="20182" y="20787"/>
                    <a:pt x="20197" y="20829"/>
                    <a:pt x="20208" y="20855"/>
                  </a:cubicBezTo>
                  <a:cubicBezTo>
                    <a:pt x="20213" y="20882"/>
                    <a:pt x="20229" y="20899"/>
                    <a:pt x="20234" y="20894"/>
                  </a:cubicBezTo>
                  <a:cubicBezTo>
                    <a:pt x="20239" y="20890"/>
                    <a:pt x="20254" y="20909"/>
                    <a:pt x="20265" y="20937"/>
                  </a:cubicBezTo>
                  <a:cubicBezTo>
                    <a:pt x="20275" y="20965"/>
                    <a:pt x="20292" y="20985"/>
                    <a:pt x="20296" y="20980"/>
                  </a:cubicBezTo>
                  <a:cubicBezTo>
                    <a:pt x="20302" y="20975"/>
                    <a:pt x="20311" y="20972"/>
                    <a:pt x="20318" y="20974"/>
                  </a:cubicBezTo>
                  <a:cubicBezTo>
                    <a:pt x="20323" y="20977"/>
                    <a:pt x="20329" y="20956"/>
                    <a:pt x="20339" y="20933"/>
                  </a:cubicBezTo>
                  <a:cubicBezTo>
                    <a:pt x="20339" y="20908"/>
                    <a:pt x="20350" y="20904"/>
                    <a:pt x="20361" y="20922"/>
                  </a:cubicBezTo>
                  <a:cubicBezTo>
                    <a:pt x="20367" y="20940"/>
                    <a:pt x="20379" y="20950"/>
                    <a:pt x="20386" y="20944"/>
                  </a:cubicBezTo>
                  <a:cubicBezTo>
                    <a:pt x="20395" y="20938"/>
                    <a:pt x="20408" y="20936"/>
                    <a:pt x="20408" y="20943"/>
                  </a:cubicBezTo>
                  <a:cubicBezTo>
                    <a:pt x="20417" y="20948"/>
                    <a:pt x="20418" y="20963"/>
                    <a:pt x="20418" y="20972"/>
                  </a:cubicBezTo>
                  <a:cubicBezTo>
                    <a:pt x="20418" y="20981"/>
                    <a:pt x="20414" y="20992"/>
                    <a:pt x="20406" y="20994"/>
                  </a:cubicBezTo>
                  <a:cubicBezTo>
                    <a:pt x="20400" y="20997"/>
                    <a:pt x="20390" y="21019"/>
                    <a:pt x="20390" y="21043"/>
                  </a:cubicBezTo>
                  <a:cubicBezTo>
                    <a:pt x="20390" y="21067"/>
                    <a:pt x="20379" y="21107"/>
                    <a:pt x="20374" y="21132"/>
                  </a:cubicBezTo>
                  <a:cubicBezTo>
                    <a:pt x="20363" y="21156"/>
                    <a:pt x="20360" y="21190"/>
                    <a:pt x="20360" y="21206"/>
                  </a:cubicBezTo>
                  <a:cubicBezTo>
                    <a:pt x="20360" y="21222"/>
                    <a:pt x="20369" y="21273"/>
                    <a:pt x="20379" y="21319"/>
                  </a:cubicBezTo>
                  <a:cubicBezTo>
                    <a:pt x="20396" y="21365"/>
                    <a:pt x="20406" y="21412"/>
                    <a:pt x="20411" y="21424"/>
                  </a:cubicBezTo>
                  <a:cubicBezTo>
                    <a:pt x="20417" y="21436"/>
                    <a:pt x="20422" y="21456"/>
                    <a:pt x="20422" y="21470"/>
                  </a:cubicBezTo>
                  <a:cubicBezTo>
                    <a:pt x="20422" y="21483"/>
                    <a:pt x="20422" y="21518"/>
                    <a:pt x="20422" y="21547"/>
                  </a:cubicBezTo>
                  <a:cubicBezTo>
                    <a:pt x="20422" y="21577"/>
                    <a:pt x="20428" y="21597"/>
                    <a:pt x="20428" y="21591"/>
                  </a:cubicBezTo>
                  <a:cubicBezTo>
                    <a:pt x="20434" y="21586"/>
                    <a:pt x="20433" y="21565"/>
                    <a:pt x="20439" y="21546"/>
                  </a:cubicBezTo>
                  <a:cubicBezTo>
                    <a:pt x="20444" y="21527"/>
                    <a:pt x="20453" y="21517"/>
                    <a:pt x="20465" y="21522"/>
                  </a:cubicBezTo>
                  <a:cubicBezTo>
                    <a:pt x="20475" y="21527"/>
                    <a:pt x="20484" y="21537"/>
                    <a:pt x="20484" y="21545"/>
                  </a:cubicBezTo>
                  <a:cubicBezTo>
                    <a:pt x="20484" y="21553"/>
                    <a:pt x="20488" y="21559"/>
                    <a:pt x="20494" y="21559"/>
                  </a:cubicBezTo>
                  <a:cubicBezTo>
                    <a:pt x="20499" y="21559"/>
                    <a:pt x="20508" y="21534"/>
                    <a:pt x="20519" y="21503"/>
                  </a:cubicBezTo>
                  <a:cubicBezTo>
                    <a:pt x="20529" y="21473"/>
                    <a:pt x="20531" y="21438"/>
                    <a:pt x="20531" y="21425"/>
                  </a:cubicBezTo>
                  <a:cubicBezTo>
                    <a:pt x="20531" y="21413"/>
                    <a:pt x="20525" y="21400"/>
                    <a:pt x="20521" y="21399"/>
                  </a:cubicBezTo>
                  <a:cubicBezTo>
                    <a:pt x="20516" y="21398"/>
                    <a:pt x="20514" y="21389"/>
                    <a:pt x="20514" y="21382"/>
                  </a:cubicBezTo>
                  <a:cubicBezTo>
                    <a:pt x="20519" y="21374"/>
                    <a:pt x="20512" y="21345"/>
                    <a:pt x="20506" y="21317"/>
                  </a:cubicBezTo>
                  <a:cubicBezTo>
                    <a:pt x="20501" y="21289"/>
                    <a:pt x="20494" y="21267"/>
                    <a:pt x="20488" y="21267"/>
                  </a:cubicBezTo>
                  <a:cubicBezTo>
                    <a:pt x="20494" y="21267"/>
                    <a:pt x="20483" y="21246"/>
                    <a:pt x="20472" y="21221"/>
                  </a:cubicBezTo>
                  <a:cubicBezTo>
                    <a:pt x="20472" y="21195"/>
                    <a:pt x="20465" y="21165"/>
                    <a:pt x="20470" y="21155"/>
                  </a:cubicBezTo>
                  <a:cubicBezTo>
                    <a:pt x="20475" y="21144"/>
                    <a:pt x="20477" y="21121"/>
                    <a:pt x="20487" y="21106"/>
                  </a:cubicBezTo>
                  <a:cubicBezTo>
                    <a:pt x="20487" y="21090"/>
                    <a:pt x="20502" y="21062"/>
                    <a:pt x="20502" y="21044"/>
                  </a:cubicBezTo>
                  <a:cubicBezTo>
                    <a:pt x="20502" y="21026"/>
                    <a:pt x="20508" y="20998"/>
                    <a:pt x="20503" y="20984"/>
                  </a:cubicBezTo>
                  <a:cubicBezTo>
                    <a:pt x="20503" y="20969"/>
                    <a:pt x="20508" y="20956"/>
                    <a:pt x="20505" y="20956"/>
                  </a:cubicBezTo>
                  <a:cubicBezTo>
                    <a:pt x="20508" y="20956"/>
                    <a:pt x="20509" y="20945"/>
                    <a:pt x="20515" y="20935"/>
                  </a:cubicBezTo>
                  <a:cubicBezTo>
                    <a:pt x="20520" y="20926"/>
                    <a:pt x="20522" y="20924"/>
                    <a:pt x="20522" y="20931"/>
                  </a:cubicBezTo>
                  <a:cubicBezTo>
                    <a:pt x="20522" y="20938"/>
                    <a:pt x="20527" y="20953"/>
                    <a:pt x="20527" y="20963"/>
                  </a:cubicBezTo>
                  <a:cubicBezTo>
                    <a:pt x="20527" y="20973"/>
                    <a:pt x="20533" y="20982"/>
                    <a:pt x="20535" y="20982"/>
                  </a:cubicBezTo>
                  <a:cubicBezTo>
                    <a:pt x="20538" y="20982"/>
                    <a:pt x="20537" y="20985"/>
                    <a:pt x="20537" y="20990"/>
                  </a:cubicBezTo>
                  <a:cubicBezTo>
                    <a:pt x="20537" y="20994"/>
                    <a:pt x="20535" y="21002"/>
                    <a:pt x="20535" y="21008"/>
                  </a:cubicBezTo>
                  <a:cubicBezTo>
                    <a:pt x="20535" y="21015"/>
                    <a:pt x="20539" y="21022"/>
                    <a:pt x="20543" y="21023"/>
                  </a:cubicBezTo>
                  <a:cubicBezTo>
                    <a:pt x="20549" y="21025"/>
                    <a:pt x="20553" y="21034"/>
                    <a:pt x="20547" y="21041"/>
                  </a:cubicBezTo>
                  <a:cubicBezTo>
                    <a:pt x="20547" y="21048"/>
                    <a:pt x="20545" y="21055"/>
                    <a:pt x="20548" y="21056"/>
                  </a:cubicBezTo>
                  <a:cubicBezTo>
                    <a:pt x="20551" y="21056"/>
                    <a:pt x="20550" y="21044"/>
                    <a:pt x="20561" y="21030"/>
                  </a:cubicBezTo>
                  <a:cubicBezTo>
                    <a:pt x="20561" y="21014"/>
                    <a:pt x="20586" y="21001"/>
                    <a:pt x="20586" y="20995"/>
                  </a:cubicBezTo>
                  <a:cubicBezTo>
                    <a:pt x="20597" y="20992"/>
                    <a:pt x="20603" y="20970"/>
                    <a:pt x="20609" y="20950"/>
                  </a:cubicBezTo>
                  <a:cubicBezTo>
                    <a:pt x="20609" y="20929"/>
                    <a:pt x="20623" y="20919"/>
                    <a:pt x="20628" y="20928"/>
                  </a:cubicBezTo>
                  <a:cubicBezTo>
                    <a:pt x="20637" y="20936"/>
                    <a:pt x="20650" y="20936"/>
                    <a:pt x="20656" y="20927"/>
                  </a:cubicBezTo>
                  <a:cubicBezTo>
                    <a:pt x="20666" y="20918"/>
                    <a:pt x="20676" y="20897"/>
                    <a:pt x="20688" y="20881"/>
                  </a:cubicBezTo>
                  <a:cubicBezTo>
                    <a:pt x="20693" y="20864"/>
                    <a:pt x="20700" y="20837"/>
                    <a:pt x="20700" y="20819"/>
                  </a:cubicBezTo>
                  <a:cubicBezTo>
                    <a:pt x="20700" y="20801"/>
                    <a:pt x="20700" y="20787"/>
                    <a:pt x="20707" y="20787"/>
                  </a:cubicBezTo>
                  <a:cubicBezTo>
                    <a:pt x="20715" y="20787"/>
                    <a:pt x="20726" y="20781"/>
                    <a:pt x="20735" y="20774"/>
                  </a:cubicBezTo>
                  <a:cubicBezTo>
                    <a:pt x="20746" y="20767"/>
                    <a:pt x="20756" y="20768"/>
                    <a:pt x="20766" y="20776"/>
                  </a:cubicBezTo>
                  <a:cubicBezTo>
                    <a:pt x="20772" y="20786"/>
                    <a:pt x="20790" y="20790"/>
                    <a:pt x="20790" y="20785"/>
                  </a:cubicBezTo>
                  <a:cubicBezTo>
                    <a:pt x="20797" y="20781"/>
                    <a:pt x="20810" y="20765"/>
                    <a:pt x="20816" y="20749"/>
                  </a:cubicBezTo>
                  <a:cubicBezTo>
                    <a:pt x="20828" y="20735"/>
                    <a:pt x="20837" y="20701"/>
                    <a:pt x="20848" y="20675"/>
                  </a:cubicBezTo>
                  <a:cubicBezTo>
                    <a:pt x="20848" y="20649"/>
                    <a:pt x="20866" y="20609"/>
                    <a:pt x="20871" y="20585"/>
                  </a:cubicBezTo>
                  <a:cubicBezTo>
                    <a:pt x="20877" y="20562"/>
                    <a:pt x="20882" y="20534"/>
                    <a:pt x="20882" y="20523"/>
                  </a:cubicBezTo>
                  <a:cubicBezTo>
                    <a:pt x="20882" y="20512"/>
                    <a:pt x="20887" y="20509"/>
                    <a:pt x="20887" y="20516"/>
                  </a:cubicBezTo>
                  <a:cubicBezTo>
                    <a:pt x="20893" y="20522"/>
                    <a:pt x="20892" y="20536"/>
                    <a:pt x="20897" y="20545"/>
                  </a:cubicBezTo>
                  <a:cubicBezTo>
                    <a:pt x="20903" y="20554"/>
                    <a:pt x="20905" y="20553"/>
                    <a:pt x="20911" y="20544"/>
                  </a:cubicBezTo>
                  <a:cubicBezTo>
                    <a:pt x="20916" y="20534"/>
                    <a:pt x="20919" y="20509"/>
                    <a:pt x="20924" y="20489"/>
                  </a:cubicBezTo>
                  <a:cubicBezTo>
                    <a:pt x="20924" y="20468"/>
                    <a:pt x="20942" y="20443"/>
                    <a:pt x="20942" y="20431"/>
                  </a:cubicBezTo>
                  <a:cubicBezTo>
                    <a:pt x="20952" y="20421"/>
                    <a:pt x="20950" y="20384"/>
                    <a:pt x="20950" y="20352"/>
                  </a:cubicBezTo>
                  <a:cubicBezTo>
                    <a:pt x="20950" y="20319"/>
                    <a:pt x="20943" y="20272"/>
                    <a:pt x="20943" y="20248"/>
                  </a:cubicBezTo>
                  <a:cubicBezTo>
                    <a:pt x="20943" y="20224"/>
                    <a:pt x="20940" y="20188"/>
                    <a:pt x="20940" y="20169"/>
                  </a:cubicBezTo>
                  <a:cubicBezTo>
                    <a:pt x="20940" y="20150"/>
                    <a:pt x="20942" y="20121"/>
                    <a:pt x="20937" y="20107"/>
                  </a:cubicBezTo>
                  <a:cubicBezTo>
                    <a:pt x="20931" y="20092"/>
                    <a:pt x="20941" y="20089"/>
                    <a:pt x="20941" y="20101"/>
                  </a:cubicBezTo>
                  <a:cubicBezTo>
                    <a:pt x="20950" y="20112"/>
                    <a:pt x="20955" y="20137"/>
                    <a:pt x="20967" y="20154"/>
                  </a:cubicBezTo>
                  <a:cubicBezTo>
                    <a:pt x="20977" y="20171"/>
                    <a:pt x="20982" y="20199"/>
                    <a:pt x="20988" y="20217"/>
                  </a:cubicBezTo>
                  <a:cubicBezTo>
                    <a:pt x="20988" y="20234"/>
                    <a:pt x="20999" y="20270"/>
                    <a:pt x="21005" y="20298"/>
                  </a:cubicBezTo>
                  <a:cubicBezTo>
                    <a:pt x="21010" y="20325"/>
                    <a:pt x="21025" y="20343"/>
                    <a:pt x="21029" y="20339"/>
                  </a:cubicBezTo>
                  <a:cubicBezTo>
                    <a:pt x="21034" y="20334"/>
                    <a:pt x="21037" y="20347"/>
                    <a:pt x="21032" y="20366"/>
                  </a:cubicBezTo>
                  <a:cubicBezTo>
                    <a:pt x="21032" y="20385"/>
                    <a:pt x="21016" y="20407"/>
                    <a:pt x="21016" y="20416"/>
                  </a:cubicBezTo>
                  <a:cubicBezTo>
                    <a:pt x="21008" y="20423"/>
                    <a:pt x="21009" y="20440"/>
                    <a:pt x="21009" y="20451"/>
                  </a:cubicBezTo>
                  <a:cubicBezTo>
                    <a:pt x="21009" y="20462"/>
                    <a:pt x="21019" y="20452"/>
                    <a:pt x="21035" y="20429"/>
                  </a:cubicBezTo>
                  <a:cubicBezTo>
                    <a:pt x="21047" y="20405"/>
                    <a:pt x="21061" y="20365"/>
                    <a:pt x="21061" y="20338"/>
                  </a:cubicBezTo>
                  <a:cubicBezTo>
                    <a:pt x="21061" y="20312"/>
                    <a:pt x="21074" y="20285"/>
                    <a:pt x="21074" y="20276"/>
                  </a:cubicBezTo>
                  <a:cubicBezTo>
                    <a:pt x="21085" y="20269"/>
                    <a:pt x="21093" y="20252"/>
                    <a:pt x="21093" y="20241"/>
                  </a:cubicBezTo>
                  <a:cubicBezTo>
                    <a:pt x="21098" y="20230"/>
                    <a:pt x="21110" y="20230"/>
                    <a:pt x="21110" y="20243"/>
                  </a:cubicBezTo>
                  <a:cubicBezTo>
                    <a:pt x="21119" y="20255"/>
                    <a:pt x="21126" y="20262"/>
                    <a:pt x="21131" y="20257"/>
                  </a:cubicBezTo>
                  <a:cubicBezTo>
                    <a:pt x="21137" y="20252"/>
                    <a:pt x="21137" y="20232"/>
                    <a:pt x="21143" y="20214"/>
                  </a:cubicBezTo>
                  <a:cubicBezTo>
                    <a:pt x="21143" y="20196"/>
                    <a:pt x="21145" y="20176"/>
                    <a:pt x="21154" y="20172"/>
                  </a:cubicBezTo>
                  <a:cubicBezTo>
                    <a:pt x="21154" y="20166"/>
                    <a:pt x="21167" y="20153"/>
                    <a:pt x="21167" y="20139"/>
                  </a:cubicBezTo>
                  <a:cubicBezTo>
                    <a:pt x="21167" y="20126"/>
                    <a:pt x="21175" y="20129"/>
                    <a:pt x="21175" y="20145"/>
                  </a:cubicBezTo>
                  <a:cubicBezTo>
                    <a:pt x="21180" y="20162"/>
                    <a:pt x="21190" y="20193"/>
                    <a:pt x="21190" y="20216"/>
                  </a:cubicBezTo>
                  <a:cubicBezTo>
                    <a:pt x="21202" y="20238"/>
                    <a:pt x="21207" y="20248"/>
                    <a:pt x="21207" y="20236"/>
                  </a:cubicBezTo>
                  <a:cubicBezTo>
                    <a:pt x="21207" y="20225"/>
                    <a:pt x="21214" y="20197"/>
                    <a:pt x="21214" y="20174"/>
                  </a:cubicBezTo>
                  <a:cubicBezTo>
                    <a:pt x="21221" y="20151"/>
                    <a:pt x="21219" y="20132"/>
                    <a:pt x="21223" y="20132"/>
                  </a:cubicBezTo>
                  <a:cubicBezTo>
                    <a:pt x="21227" y="20132"/>
                    <a:pt x="21231" y="20139"/>
                    <a:pt x="21231" y="20147"/>
                  </a:cubicBezTo>
                  <a:cubicBezTo>
                    <a:pt x="21231" y="20155"/>
                    <a:pt x="21237" y="20162"/>
                    <a:pt x="21242" y="20162"/>
                  </a:cubicBezTo>
                  <a:cubicBezTo>
                    <a:pt x="21248" y="20162"/>
                    <a:pt x="21254" y="20152"/>
                    <a:pt x="21254" y="20138"/>
                  </a:cubicBezTo>
                  <a:cubicBezTo>
                    <a:pt x="21259" y="20126"/>
                    <a:pt x="21261" y="20110"/>
                    <a:pt x="21270" y="20108"/>
                  </a:cubicBezTo>
                  <a:cubicBezTo>
                    <a:pt x="21270" y="20102"/>
                    <a:pt x="21291" y="20088"/>
                    <a:pt x="21291" y="20072"/>
                  </a:cubicBezTo>
                  <a:cubicBezTo>
                    <a:pt x="21301" y="20057"/>
                    <a:pt x="21303" y="20034"/>
                    <a:pt x="21303" y="20023"/>
                  </a:cubicBezTo>
                  <a:cubicBezTo>
                    <a:pt x="21303" y="20012"/>
                    <a:pt x="21310" y="20015"/>
                    <a:pt x="21310" y="20030"/>
                  </a:cubicBezTo>
                  <a:cubicBezTo>
                    <a:pt x="21310" y="20046"/>
                    <a:pt x="21310" y="20048"/>
                    <a:pt x="21316" y="20036"/>
                  </a:cubicBezTo>
                  <a:cubicBezTo>
                    <a:pt x="21316" y="20024"/>
                    <a:pt x="21320" y="20019"/>
                    <a:pt x="21326" y="20022"/>
                  </a:cubicBezTo>
                  <a:cubicBezTo>
                    <a:pt x="21331" y="20026"/>
                    <a:pt x="21338" y="20021"/>
                    <a:pt x="21342" y="20012"/>
                  </a:cubicBezTo>
                  <a:cubicBezTo>
                    <a:pt x="21347" y="20002"/>
                    <a:pt x="21347" y="19980"/>
                    <a:pt x="21347" y="19963"/>
                  </a:cubicBezTo>
                  <a:cubicBezTo>
                    <a:pt x="21347" y="19945"/>
                    <a:pt x="21341" y="19918"/>
                    <a:pt x="21346" y="19902"/>
                  </a:cubicBezTo>
                  <a:cubicBezTo>
                    <a:pt x="21352" y="19887"/>
                    <a:pt x="21348" y="19850"/>
                    <a:pt x="21354" y="19822"/>
                  </a:cubicBezTo>
                  <a:cubicBezTo>
                    <a:pt x="21354" y="19794"/>
                    <a:pt x="21355" y="19749"/>
                    <a:pt x="21350" y="19722"/>
                  </a:cubicBezTo>
                  <a:cubicBezTo>
                    <a:pt x="21350" y="19695"/>
                    <a:pt x="21349" y="19675"/>
                    <a:pt x="21349" y="19680"/>
                  </a:cubicBezTo>
                  <a:cubicBezTo>
                    <a:pt x="21349" y="19685"/>
                    <a:pt x="21353" y="19676"/>
                    <a:pt x="21359" y="19662"/>
                  </a:cubicBezTo>
                  <a:cubicBezTo>
                    <a:pt x="21359" y="19648"/>
                    <a:pt x="21370" y="19634"/>
                    <a:pt x="21376" y="19629"/>
                  </a:cubicBezTo>
                  <a:cubicBezTo>
                    <a:pt x="21385" y="19625"/>
                    <a:pt x="21393" y="19631"/>
                    <a:pt x="21393" y="19643"/>
                  </a:cubicBezTo>
                  <a:cubicBezTo>
                    <a:pt x="21393" y="19655"/>
                    <a:pt x="21399" y="19665"/>
                    <a:pt x="21406" y="19665"/>
                  </a:cubicBezTo>
                  <a:cubicBezTo>
                    <a:pt x="21412" y="19665"/>
                    <a:pt x="21412" y="19641"/>
                    <a:pt x="21418" y="19610"/>
                  </a:cubicBezTo>
                  <a:cubicBezTo>
                    <a:pt x="21418" y="19579"/>
                    <a:pt x="21421" y="19554"/>
                    <a:pt x="21425" y="19554"/>
                  </a:cubicBezTo>
                  <a:cubicBezTo>
                    <a:pt x="21425" y="19556"/>
                    <a:pt x="21430" y="19537"/>
                    <a:pt x="21430" y="19516"/>
                  </a:cubicBezTo>
                  <a:cubicBezTo>
                    <a:pt x="21430" y="19496"/>
                    <a:pt x="21433" y="19477"/>
                    <a:pt x="21436" y="19477"/>
                  </a:cubicBezTo>
                  <a:cubicBezTo>
                    <a:pt x="21433" y="19476"/>
                    <a:pt x="21443" y="19485"/>
                    <a:pt x="21443" y="19496"/>
                  </a:cubicBezTo>
                  <a:cubicBezTo>
                    <a:pt x="21448" y="19506"/>
                    <a:pt x="21447" y="19512"/>
                    <a:pt x="21447" y="19507"/>
                  </a:cubicBezTo>
                  <a:cubicBezTo>
                    <a:pt x="21447" y="19502"/>
                    <a:pt x="21451" y="19479"/>
                    <a:pt x="21456" y="19455"/>
                  </a:cubicBezTo>
                  <a:cubicBezTo>
                    <a:pt x="21461" y="19431"/>
                    <a:pt x="21468" y="19427"/>
                    <a:pt x="21468" y="19445"/>
                  </a:cubicBezTo>
                  <a:cubicBezTo>
                    <a:pt x="21468" y="19464"/>
                    <a:pt x="21482" y="19456"/>
                    <a:pt x="21476" y="19430"/>
                  </a:cubicBezTo>
                  <a:cubicBezTo>
                    <a:pt x="21482" y="19403"/>
                    <a:pt x="21478" y="19379"/>
                    <a:pt x="21482" y="19378"/>
                  </a:cubicBezTo>
                  <a:cubicBezTo>
                    <a:pt x="21482" y="19375"/>
                    <a:pt x="21491" y="19358"/>
                    <a:pt x="21491" y="19337"/>
                  </a:cubicBezTo>
                  <a:cubicBezTo>
                    <a:pt x="21491" y="19317"/>
                    <a:pt x="21490" y="19295"/>
                    <a:pt x="21484" y="19290"/>
                  </a:cubicBezTo>
                  <a:cubicBezTo>
                    <a:pt x="21479" y="19284"/>
                    <a:pt x="21472" y="19285"/>
                    <a:pt x="21467" y="19292"/>
                  </a:cubicBezTo>
                  <a:cubicBezTo>
                    <a:pt x="21461" y="19298"/>
                    <a:pt x="21449" y="19283"/>
                    <a:pt x="21443" y="19257"/>
                  </a:cubicBezTo>
                  <a:cubicBezTo>
                    <a:pt x="21432" y="19232"/>
                    <a:pt x="21436" y="19210"/>
                    <a:pt x="21446" y="19209"/>
                  </a:cubicBezTo>
                  <a:cubicBezTo>
                    <a:pt x="21456" y="19209"/>
                    <a:pt x="21471" y="19184"/>
                    <a:pt x="21471" y="19157"/>
                  </a:cubicBezTo>
                  <a:cubicBezTo>
                    <a:pt x="21482" y="19130"/>
                    <a:pt x="21482" y="19115"/>
                    <a:pt x="21482" y="19126"/>
                  </a:cubicBezTo>
                  <a:cubicBezTo>
                    <a:pt x="21487" y="19135"/>
                    <a:pt x="21486" y="19133"/>
                    <a:pt x="21492" y="19121"/>
                  </a:cubicBezTo>
                  <a:cubicBezTo>
                    <a:pt x="21492" y="19109"/>
                    <a:pt x="21502" y="19117"/>
                    <a:pt x="21513" y="19140"/>
                  </a:cubicBezTo>
                  <a:cubicBezTo>
                    <a:pt x="21523" y="19162"/>
                    <a:pt x="21531" y="19158"/>
                    <a:pt x="21531" y="19131"/>
                  </a:cubicBezTo>
                  <a:cubicBezTo>
                    <a:pt x="21531" y="19103"/>
                    <a:pt x="21529" y="19075"/>
                    <a:pt x="21524" y="19067"/>
                  </a:cubicBezTo>
                  <a:cubicBezTo>
                    <a:pt x="21518" y="19060"/>
                    <a:pt x="21519" y="19042"/>
                    <a:pt x="21509" y="19030"/>
                  </a:cubicBezTo>
                  <a:cubicBezTo>
                    <a:pt x="21509" y="19017"/>
                    <a:pt x="21505" y="18992"/>
                    <a:pt x="21505" y="18975"/>
                  </a:cubicBezTo>
                  <a:cubicBezTo>
                    <a:pt x="21505" y="18959"/>
                    <a:pt x="21512" y="18961"/>
                    <a:pt x="21518" y="18981"/>
                  </a:cubicBezTo>
                  <a:cubicBezTo>
                    <a:pt x="21528" y="19000"/>
                    <a:pt x="21529" y="19001"/>
                    <a:pt x="21535" y="18984"/>
                  </a:cubicBezTo>
                  <a:cubicBezTo>
                    <a:pt x="21535" y="18967"/>
                    <a:pt x="21537" y="18947"/>
                    <a:pt x="21537" y="18940"/>
                  </a:cubicBezTo>
                  <a:cubicBezTo>
                    <a:pt x="21533" y="18933"/>
                    <a:pt x="21532" y="18927"/>
                    <a:pt x="21528" y="18926"/>
                  </a:cubicBezTo>
                  <a:cubicBezTo>
                    <a:pt x="21532" y="18926"/>
                    <a:pt x="21517" y="18906"/>
                    <a:pt x="21517" y="18882"/>
                  </a:cubicBezTo>
                  <a:cubicBezTo>
                    <a:pt x="21517" y="18858"/>
                    <a:pt x="21512" y="18829"/>
                    <a:pt x="21507" y="18818"/>
                  </a:cubicBezTo>
                  <a:cubicBezTo>
                    <a:pt x="21507" y="18807"/>
                    <a:pt x="21507" y="18795"/>
                    <a:pt x="21507" y="18790"/>
                  </a:cubicBezTo>
                  <a:cubicBezTo>
                    <a:pt x="21512" y="18785"/>
                    <a:pt x="21520" y="18792"/>
                    <a:pt x="21520" y="18805"/>
                  </a:cubicBezTo>
                  <a:cubicBezTo>
                    <a:pt x="21525" y="18818"/>
                    <a:pt x="21527" y="18830"/>
                    <a:pt x="21530" y="18830"/>
                  </a:cubicBezTo>
                  <a:cubicBezTo>
                    <a:pt x="21533" y="18831"/>
                    <a:pt x="21535" y="18841"/>
                    <a:pt x="21540" y="18854"/>
                  </a:cubicBezTo>
                  <a:cubicBezTo>
                    <a:pt x="21545" y="18867"/>
                    <a:pt x="21543" y="18860"/>
                    <a:pt x="21543" y="18839"/>
                  </a:cubicBezTo>
                  <a:cubicBezTo>
                    <a:pt x="21543" y="18817"/>
                    <a:pt x="21542" y="18784"/>
                    <a:pt x="21531" y="18767"/>
                  </a:cubicBezTo>
                  <a:cubicBezTo>
                    <a:pt x="21531" y="18750"/>
                    <a:pt x="21519" y="18719"/>
                    <a:pt x="21519" y="18698"/>
                  </a:cubicBezTo>
                  <a:cubicBezTo>
                    <a:pt x="21519" y="18677"/>
                    <a:pt x="21520" y="18661"/>
                    <a:pt x="21523" y="18661"/>
                  </a:cubicBezTo>
                  <a:cubicBezTo>
                    <a:pt x="21526" y="18661"/>
                    <a:pt x="21525" y="18649"/>
                    <a:pt x="21531" y="18634"/>
                  </a:cubicBezTo>
                  <a:cubicBezTo>
                    <a:pt x="21526" y="18618"/>
                    <a:pt x="21537" y="18621"/>
                    <a:pt x="21543" y="18639"/>
                  </a:cubicBezTo>
                  <a:cubicBezTo>
                    <a:pt x="21549" y="18657"/>
                    <a:pt x="21554" y="18687"/>
                    <a:pt x="21554" y="18705"/>
                  </a:cubicBezTo>
                  <a:cubicBezTo>
                    <a:pt x="21560" y="18722"/>
                    <a:pt x="21561" y="18736"/>
                    <a:pt x="21561" y="18738"/>
                  </a:cubicBezTo>
                  <a:cubicBezTo>
                    <a:pt x="21564" y="18738"/>
                    <a:pt x="21569" y="18756"/>
                    <a:pt x="21574" y="18778"/>
                  </a:cubicBezTo>
                  <a:cubicBezTo>
                    <a:pt x="21574" y="18801"/>
                    <a:pt x="21585" y="18793"/>
                    <a:pt x="21579" y="18761"/>
                  </a:cubicBezTo>
                  <a:cubicBezTo>
                    <a:pt x="21574" y="18730"/>
                    <a:pt x="21577" y="18688"/>
                    <a:pt x="21571" y="18669"/>
                  </a:cubicBezTo>
                  <a:cubicBezTo>
                    <a:pt x="21571" y="18650"/>
                    <a:pt x="21564" y="18634"/>
                    <a:pt x="21561" y="18634"/>
                  </a:cubicBezTo>
                  <a:cubicBezTo>
                    <a:pt x="21564" y="18634"/>
                    <a:pt x="21552" y="18621"/>
                    <a:pt x="21552" y="18606"/>
                  </a:cubicBezTo>
                  <a:cubicBezTo>
                    <a:pt x="21547" y="18592"/>
                    <a:pt x="21550" y="18575"/>
                    <a:pt x="21555" y="18571"/>
                  </a:cubicBezTo>
                  <a:cubicBezTo>
                    <a:pt x="21555" y="18566"/>
                    <a:pt x="21561" y="18549"/>
                    <a:pt x="21561" y="18532"/>
                  </a:cubicBezTo>
                  <a:cubicBezTo>
                    <a:pt x="21561" y="18515"/>
                    <a:pt x="21557" y="18495"/>
                    <a:pt x="21551" y="18487"/>
                  </a:cubicBezTo>
                  <a:cubicBezTo>
                    <a:pt x="21544" y="18480"/>
                    <a:pt x="21540" y="18453"/>
                    <a:pt x="21551" y="18429"/>
                  </a:cubicBezTo>
                  <a:cubicBezTo>
                    <a:pt x="21551" y="18405"/>
                    <a:pt x="21553" y="18373"/>
                    <a:pt x="21553" y="18358"/>
                  </a:cubicBezTo>
                  <a:cubicBezTo>
                    <a:pt x="21542" y="18344"/>
                    <a:pt x="21541" y="18331"/>
                    <a:pt x="21537" y="18332"/>
                  </a:cubicBezTo>
                  <a:cubicBezTo>
                    <a:pt x="21541" y="18332"/>
                    <a:pt x="21526" y="18341"/>
                    <a:pt x="21526" y="18350"/>
                  </a:cubicBezTo>
                  <a:cubicBezTo>
                    <a:pt x="21521" y="18359"/>
                    <a:pt x="21523" y="18351"/>
                    <a:pt x="21523" y="18331"/>
                  </a:cubicBezTo>
                  <a:cubicBezTo>
                    <a:pt x="21523" y="18311"/>
                    <a:pt x="21531" y="18280"/>
                    <a:pt x="21531" y="18263"/>
                  </a:cubicBezTo>
                  <a:cubicBezTo>
                    <a:pt x="21537" y="18245"/>
                    <a:pt x="21543" y="18216"/>
                    <a:pt x="21554" y="18199"/>
                  </a:cubicBezTo>
                  <a:cubicBezTo>
                    <a:pt x="21554" y="18181"/>
                    <a:pt x="21567" y="18155"/>
                    <a:pt x="21561" y="18140"/>
                  </a:cubicBezTo>
                  <a:cubicBezTo>
                    <a:pt x="21556" y="18125"/>
                    <a:pt x="21559" y="18125"/>
                    <a:pt x="21550" y="18138"/>
                  </a:cubicBezTo>
                  <a:cubicBezTo>
                    <a:pt x="21550" y="18152"/>
                    <a:pt x="21540" y="18140"/>
                    <a:pt x="21530" y="18111"/>
                  </a:cubicBezTo>
                  <a:cubicBezTo>
                    <a:pt x="21518" y="18083"/>
                    <a:pt x="21518" y="18061"/>
                    <a:pt x="21524" y="18061"/>
                  </a:cubicBezTo>
                  <a:cubicBezTo>
                    <a:pt x="21524" y="18064"/>
                    <a:pt x="21536" y="18042"/>
                    <a:pt x="21525" y="18018"/>
                  </a:cubicBezTo>
                  <a:cubicBezTo>
                    <a:pt x="21525" y="17994"/>
                    <a:pt x="21507" y="17973"/>
                    <a:pt x="21507" y="17969"/>
                  </a:cubicBezTo>
                  <a:cubicBezTo>
                    <a:pt x="21502" y="17966"/>
                    <a:pt x="21497" y="17954"/>
                    <a:pt x="21502" y="17943"/>
                  </a:cubicBezTo>
                  <a:cubicBezTo>
                    <a:pt x="21502" y="17932"/>
                    <a:pt x="21500" y="17912"/>
                    <a:pt x="21500" y="17897"/>
                  </a:cubicBezTo>
                  <a:cubicBezTo>
                    <a:pt x="21500" y="17883"/>
                    <a:pt x="21496" y="17875"/>
                    <a:pt x="21501" y="17880"/>
                  </a:cubicBezTo>
                  <a:cubicBezTo>
                    <a:pt x="21501" y="17885"/>
                    <a:pt x="21501" y="17870"/>
                    <a:pt x="21507" y="17849"/>
                  </a:cubicBezTo>
                  <a:cubicBezTo>
                    <a:pt x="21507" y="17828"/>
                    <a:pt x="21509" y="17812"/>
                    <a:pt x="21509" y="17814"/>
                  </a:cubicBezTo>
                  <a:cubicBezTo>
                    <a:pt x="21513" y="17815"/>
                    <a:pt x="21518" y="17818"/>
                    <a:pt x="21518" y="17816"/>
                  </a:cubicBezTo>
                  <a:cubicBezTo>
                    <a:pt x="21521" y="17815"/>
                    <a:pt x="21520" y="17834"/>
                    <a:pt x="21526" y="17860"/>
                  </a:cubicBezTo>
                  <a:cubicBezTo>
                    <a:pt x="21526" y="17885"/>
                    <a:pt x="21531" y="17906"/>
                    <a:pt x="21535" y="17907"/>
                  </a:cubicBezTo>
                  <a:cubicBezTo>
                    <a:pt x="21538" y="17907"/>
                    <a:pt x="21544" y="17881"/>
                    <a:pt x="21549" y="17849"/>
                  </a:cubicBezTo>
                  <a:cubicBezTo>
                    <a:pt x="21555" y="17816"/>
                    <a:pt x="21561" y="17776"/>
                    <a:pt x="21555" y="17760"/>
                  </a:cubicBezTo>
                  <a:cubicBezTo>
                    <a:pt x="21555" y="17745"/>
                    <a:pt x="21559" y="17734"/>
                    <a:pt x="21565" y="17738"/>
                  </a:cubicBezTo>
                  <a:cubicBezTo>
                    <a:pt x="21571" y="17741"/>
                    <a:pt x="21572" y="17726"/>
                    <a:pt x="21567" y="17703"/>
                  </a:cubicBezTo>
                  <a:cubicBezTo>
                    <a:pt x="21567" y="17681"/>
                    <a:pt x="21555" y="17659"/>
                    <a:pt x="21549" y="17657"/>
                  </a:cubicBezTo>
                  <a:cubicBezTo>
                    <a:pt x="21549" y="17654"/>
                    <a:pt x="21535" y="17634"/>
                    <a:pt x="21540" y="17612"/>
                  </a:cubicBezTo>
                  <a:cubicBezTo>
                    <a:pt x="21540" y="17589"/>
                    <a:pt x="21543" y="17587"/>
                    <a:pt x="21548" y="17606"/>
                  </a:cubicBezTo>
                  <a:cubicBezTo>
                    <a:pt x="21554" y="17626"/>
                    <a:pt x="21559" y="17633"/>
                    <a:pt x="21565" y="17624"/>
                  </a:cubicBezTo>
                  <a:cubicBezTo>
                    <a:pt x="21570" y="17614"/>
                    <a:pt x="21567" y="17588"/>
                    <a:pt x="21567" y="17565"/>
                  </a:cubicBezTo>
                  <a:cubicBezTo>
                    <a:pt x="21567" y="17543"/>
                    <a:pt x="21565" y="17517"/>
                    <a:pt x="21565" y="17507"/>
                  </a:cubicBezTo>
                  <a:cubicBezTo>
                    <a:pt x="21565" y="17498"/>
                    <a:pt x="21560" y="17478"/>
                    <a:pt x="21560" y="17463"/>
                  </a:cubicBezTo>
                  <a:cubicBezTo>
                    <a:pt x="21560" y="17447"/>
                    <a:pt x="21552" y="17421"/>
                    <a:pt x="21552" y="17403"/>
                  </a:cubicBezTo>
                  <a:cubicBezTo>
                    <a:pt x="21552" y="17386"/>
                    <a:pt x="21548" y="17364"/>
                    <a:pt x="21554" y="17355"/>
                  </a:cubicBezTo>
                  <a:cubicBezTo>
                    <a:pt x="21554" y="17346"/>
                    <a:pt x="21551" y="17325"/>
                    <a:pt x="21551" y="17309"/>
                  </a:cubicBezTo>
                  <a:cubicBezTo>
                    <a:pt x="21540" y="17294"/>
                    <a:pt x="21542" y="17269"/>
                    <a:pt x="21542" y="17255"/>
                  </a:cubicBezTo>
                  <a:cubicBezTo>
                    <a:pt x="21537" y="17242"/>
                    <a:pt x="21539" y="17217"/>
                    <a:pt x="21528" y="17202"/>
                  </a:cubicBezTo>
                  <a:cubicBezTo>
                    <a:pt x="21522" y="17186"/>
                    <a:pt x="21522" y="17185"/>
                    <a:pt x="21532" y="17198"/>
                  </a:cubicBezTo>
                  <a:cubicBezTo>
                    <a:pt x="21542" y="17210"/>
                    <a:pt x="21551" y="17212"/>
                    <a:pt x="21551" y="17201"/>
                  </a:cubicBezTo>
                  <a:cubicBezTo>
                    <a:pt x="21551" y="17191"/>
                    <a:pt x="21553" y="17145"/>
                    <a:pt x="21553" y="17101"/>
                  </a:cubicBezTo>
                  <a:cubicBezTo>
                    <a:pt x="21553" y="17056"/>
                    <a:pt x="21559" y="17019"/>
                    <a:pt x="21559" y="17016"/>
                  </a:cubicBezTo>
                  <a:cubicBezTo>
                    <a:pt x="21562" y="17014"/>
                    <a:pt x="21571" y="17030"/>
                    <a:pt x="21571" y="17051"/>
                  </a:cubicBezTo>
                  <a:cubicBezTo>
                    <a:pt x="21571" y="17072"/>
                    <a:pt x="21581" y="17097"/>
                    <a:pt x="21581" y="17107"/>
                  </a:cubicBezTo>
                  <a:cubicBezTo>
                    <a:pt x="21581" y="17117"/>
                    <a:pt x="21582" y="17104"/>
                    <a:pt x="21582" y="17078"/>
                  </a:cubicBezTo>
                  <a:cubicBezTo>
                    <a:pt x="21577" y="17053"/>
                    <a:pt x="21578" y="17023"/>
                    <a:pt x="21583" y="17013"/>
                  </a:cubicBezTo>
                  <a:cubicBezTo>
                    <a:pt x="21583" y="17002"/>
                    <a:pt x="21589" y="16973"/>
                    <a:pt x="21578" y="16949"/>
                  </a:cubicBezTo>
                  <a:cubicBezTo>
                    <a:pt x="21578" y="16924"/>
                    <a:pt x="21565" y="16901"/>
                    <a:pt x="21559" y="16898"/>
                  </a:cubicBezTo>
                  <a:cubicBezTo>
                    <a:pt x="21554" y="16895"/>
                    <a:pt x="21550" y="16882"/>
                    <a:pt x="21544" y="16871"/>
                  </a:cubicBezTo>
                  <a:cubicBezTo>
                    <a:pt x="21538" y="16860"/>
                    <a:pt x="21540" y="16844"/>
                    <a:pt x="21540" y="16836"/>
                  </a:cubicBezTo>
                  <a:cubicBezTo>
                    <a:pt x="21540" y="16828"/>
                    <a:pt x="21541" y="16827"/>
                    <a:pt x="21550" y="16830"/>
                  </a:cubicBezTo>
                  <a:cubicBezTo>
                    <a:pt x="21550" y="16834"/>
                    <a:pt x="21559" y="16827"/>
                    <a:pt x="21559" y="16814"/>
                  </a:cubicBezTo>
                  <a:cubicBezTo>
                    <a:pt x="21559" y="16802"/>
                    <a:pt x="21555" y="16780"/>
                    <a:pt x="21555" y="16767"/>
                  </a:cubicBezTo>
                  <a:cubicBezTo>
                    <a:pt x="21555" y="16754"/>
                    <a:pt x="21541" y="16736"/>
                    <a:pt x="21541" y="16726"/>
                  </a:cubicBezTo>
                  <a:cubicBezTo>
                    <a:pt x="21536" y="16717"/>
                    <a:pt x="21537" y="16697"/>
                    <a:pt x="21537" y="16682"/>
                  </a:cubicBezTo>
                  <a:cubicBezTo>
                    <a:pt x="21541" y="16668"/>
                    <a:pt x="21543" y="16657"/>
                    <a:pt x="21543" y="16660"/>
                  </a:cubicBezTo>
                  <a:cubicBezTo>
                    <a:pt x="21543" y="16662"/>
                    <a:pt x="21546" y="16656"/>
                    <a:pt x="21546" y="16645"/>
                  </a:cubicBezTo>
                  <a:cubicBezTo>
                    <a:pt x="21546" y="16635"/>
                    <a:pt x="21543" y="16614"/>
                    <a:pt x="21537" y="16601"/>
                  </a:cubicBezTo>
                  <a:cubicBezTo>
                    <a:pt x="21532" y="16587"/>
                    <a:pt x="21523" y="16575"/>
                    <a:pt x="21515" y="16574"/>
                  </a:cubicBezTo>
                  <a:cubicBezTo>
                    <a:pt x="21507" y="16573"/>
                    <a:pt x="21498" y="16563"/>
                    <a:pt x="21498" y="16552"/>
                  </a:cubicBezTo>
                  <a:cubicBezTo>
                    <a:pt x="21498" y="16540"/>
                    <a:pt x="21502" y="16513"/>
                    <a:pt x="21502" y="16492"/>
                  </a:cubicBezTo>
                  <a:cubicBezTo>
                    <a:pt x="21507" y="16471"/>
                    <a:pt x="21512" y="16459"/>
                    <a:pt x="21517" y="16467"/>
                  </a:cubicBezTo>
                  <a:cubicBezTo>
                    <a:pt x="21523" y="16475"/>
                    <a:pt x="21529" y="16477"/>
                    <a:pt x="21529" y="16472"/>
                  </a:cubicBezTo>
                  <a:cubicBezTo>
                    <a:pt x="21529" y="16466"/>
                    <a:pt x="21534" y="16451"/>
                    <a:pt x="21529" y="16439"/>
                  </a:cubicBezTo>
                  <a:cubicBezTo>
                    <a:pt x="21534" y="16426"/>
                    <a:pt x="21529" y="16423"/>
                    <a:pt x="21534" y="16432"/>
                  </a:cubicBezTo>
                  <a:cubicBezTo>
                    <a:pt x="21534" y="16442"/>
                    <a:pt x="21544" y="16457"/>
                    <a:pt x="21544" y="16466"/>
                  </a:cubicBezTo>
                  <a:cubicBezTo>
                    <a:pt x="21550" y="16474"/>
                    <a:pt x="21550" y="16473"/>
                    <a:pt x="21550" y="16462"/>
                  </a:cubicBezTo>
                  <a:cubicBezTo>
                    <a:pt x="21550" y="16450"/>
                    <a:pt x="21551" y="16427"/>
                    <a:pt x="21546" y="16411"/>
                  </a:cubicBezTo>
                  <a:cubicBezTo>
                    <a:pt x="21546" y="16394"/>
                    <a:pt x="21541" y="16350"/>
                    <a:pt x="21531" y="16312"/>
                  </a:cubicBezTo>
                  <a:cubicBezTo>
                    <a:pt x="21525" y="16273"/>
                    <a:pt x="21524" y="16233"/>
                    <a:pt x="21514" y="16225"/>
                  </a:cubicBezTo>
                  <a:cubicBezTo>
                    <a:pt x="21514" y="16215"/>
                    <a:pt x="21506" y="16219"/>
                    <a:pt x="21506" y="16233"/>
                  </a:cubicBezTo>
                  <a:cubicBezTo>
                    <a:pt x="21506" y="16248"/>
                    <a:pt x="21507" y="16266"/>
                    <a:pt x="21507" y="16273"/>
                  </a:cubicBezTo>
                  <a:cubicBezTo>
                    <a:pt x="21512" y="16279"/>
                    <a:pt x="21512" y="16295"/>
                    <a:pt x="21512" y="16307"/>
                  </a:cubicBezTo>
                  <a:cubicBezTo>
                    <a:pt x="21512" y="16318"/>
                    <a:pt x="21510" y="16322"/>
                    <a:pt x="21504" y="16314"/>
                  </a:cubicBezTo>
                  <a:cubicBezTo>
                    <a:pt x="21497" y="16307"/>
                    <a:pt x="21487" y="16322"/>
                    <a:pt x="21487" y="16348"/>
                  </a:cubicBezTo>
                  <a:cubicBezTo>
                    <a:pt x="21482" y="16373"/>
                    <a:pt x="21478" y="16391"/>
                    <a:pt x="21474" y="16388"/>
                  </a:cubicBezTo>
                  <a:cubicBezTo>
                    <a:pt x="21469" y="16384"/>
                    <a:pt x="21467" y="16361"/>
                    <a:pt x="21461" y="16338"/>
                  </a:cubicBezTo>
                  <a:cubicBezTo>
                    <a:pt x="21461" y="16314"/>
                    <a:pt x="21468" y="16293"/>
                    <a:pt x="21468" y="16287"/>
                  </a:cubicBezTo>
                  <a:cubicBezTo>
                    <a:pt x="21476" y="16284"/>
                    <a:pt x="21483" y="16238"/>
                    <a:pt x="21488" y="16189"/>
                  </a:cubicBezTo>
                  <a:cubicBezTo>
                    <a:pt x="21494" y="16140"/>
                    <a:pt x="21493" y="16093"/>
                    <a:pt x="21493" y="16085"/>
                  </a:cubicBezTo>
                  <a:cubicBezTo>
                    <a:pt x="21488" y="16077"/>
                    <a:pt x="21481" y="16070"/>
                    <a:pt x="21481" y="16067"/>
                  </a:cubicBezTo>
                  <a:cubicBezTo>
                    <a:pt x="21476" y="16065"/>
                    <a:pt x="21471" y="16052"/>
                    <a:pt x="21465" y="16037"/>
                  </a:cubicBezTo>
                  <a:cubicBezTo>
                    <a:pt x="21460" y="16023"/>
                    <a:pt x="21458" y="16021"/>
                    <a:pt x="21458" y="16032"/>
                  </a:cubicBezTo>
                  <a:cubicBezTo>
                    <a:pt x="21458" y="16043"/>
                    <a:pt x="21442" y="16006"/>
                    <a:pt x="21431" y="15950"/>
                  </a:cubicBezTo>
                  <a:cubicBezTo>
                    <a:pt x="21420" y="15893"/>
                    <a:pt x="21399" y="15840"/>
                    <a:pt x="21390" y="15834"/>
                  </a:cubicBezTo>
                  <a:cubicBezTo>
                    <a:pt x="21384" y="15827"/>
                    <a:pt x="21376" y="15847"/>
                    <a:pt x="21370" y="15878"/>
                  </a:cubicBezTo>
                  <a:cubicBezTo>
                    <a:pt x="21370" y="15909"/>
                    <a:pt x="21359" y="15928"/>
                    <a:pt x="21353" y="15920"/>
                  </a:cubicBezTo>
                  <a:cubicBezTo>
                    <a:pt x="21347" y="15911"/>
                    <a:pt x="21335" y="15872"/>
                    <a:pt x="21324" y="15832"/>
                  </a:cubicBezTo>
                  <a:cubicBezTo>
                    <a:pt x="21314" y="15792"/>
                    <a:pt x="21296" y="15761"/>
                    <a:pt x="21296" y="15766"/>
                  </a:cubicBezTo>
                  <a:cubicBezTo>
                    <a:pt x="21290" y="15770"/>
                    <a:pt x="21281" y="15789"/>
                    <a:pt x="21281" y="15809"/>
                  </a:cubicBezTo>
                  <a:cubicBezTo>
                    <a:pt x="21275" y="15828"/>
                    <a:pt x="21277" y="15863"/>
                    <a:pt x="21277" y="15884"/>
                  </a:cubicBezTo>
                  <a:cubicBezTo>
                    <a:pt x="21283" y="15906"/>
                    <a:pt x="21273" y="15900"/>
                    <a:pt x="21273" y="15870"/>
                  </a:cubicBezTo>
                  <a:cubicBezTo>
                    <a:pt x="21268" y="15839"/>
                    <a:pt x="21268" y="15796"/>
                    <a:pt x="21273" y="15774"/>
                  </a:cubicBezTo>
                  <a:cubicBezTo>
                    <a:pt x="21279" y="15752"/>
                    <a:pt x="21286" y="15735"/>
                    <a:pt x="21286" y="15738"/>
                  </a:cubicBezTo>
                  <a:cubicBezTo>
                    <a:pt x="21290" y="15740"/>
                    <a:pt x="21292" y="15732"/>
                    <a:pt x="21297" y="15721"/>
                  </a:cubicBezTo>
                  <a:cubicBezTo>
                    <a:pt x="21297" y="15709"/>
                    <a:pt x="21311" y="15715"/>
                    <a:pt x="21317" y="15733"/>
                  </a:cubicBezTo>
                  <a:cubicBezTo>
                    <a:pt x="21323" y="15751"/>
                    <a:pt x="21333" y="15758"/>
                    <a:pt x="21339" y="15749"/>
                  </a:cubicBezTo>
                  <a:cubicBezTo>
                    <a:pt x="21345" y="15740"/>
                    <a:pt x="21341" y="15714"/>
                    <a:pt x="21341" y="15692"/>
                  </a:cubicBezTo>
                  <a:cubicBezTo>
                    <a:pt x="21335" y="15670"/>
                    <a:pt x="21338" y="15643"/>
                    <a:pt x="21338" y="15632"/>
                  </a:cubicBezTo>
                  <a:cubicBezTo>
                    <a:pt x="21338" y="15621"/>
                    <a:pt x="21341" y="15617"/>
                    <a:pt x="21346" y="15618"/>
                  </a:cubicBezTo>
                  <a:cubicBezTo>
                    <a:pt x="21346" y="15622"/>
                    <a:pt x="21355" y="15597"/>
                    <a:pt x="21355" y="15564"/>
                  </a:cubicBezTo>
                  <a:cubicBezTo>
                    <a:pt x="21355" y="15532"/>
                    <a:pt x="21363" y="15505"/>
                    <a:pt x="21370" y="15503"/>
                  </a:cubicBezTo>
                  <a:cubicBezTo>
                    <a:pt x="21376" y="15503"/>
                    <a:pt x="21377" y="15486"/>
                    <a:pt x="21377" y="15468"/>
                  </a:cubicBezTo>
                  <a:cubicBezTo>
                    <a:pt x="21371" y="15450"/>
                    <a:pt x="21370" y="15390"/>
                    <a:pt x="21348" y="15338"/>
                  </a:cubicBezTo>
                  <a:cubicBezTo>
                    <a:pt x="21337" y="15285"/>
                    <a:pt x="21309" y="15204"/>
                    <a:pt x="21286" y="15158"/>
                  </a:cubicBezTo>
                  <a:cubicBezTo>
                    <a:pt x="21264" y="15112"/>
                    <a:pt x="21237" y="15051"/>
                    <a:pt x="21226" y="15023"/>
                  </a:cubicBezTo>
                  <a:cubicBezTo>
                    <a:pt x="21210" y="14996"/>
                    <a:pt x="21189" y="14927"/>
                    <a:pt x="21167" y="14872"/>
                  </a:cubicBezTo>
                  <a:cubicBezTo>
                    <a:pt x="21145" y="14817"/>
                    <a:pt x="21126" y="14769"/>
                    <a:pt x="21120" y="14766"/>
                  </a:cubicBezTo>
                  <a:cubicBezTo>
                    <a:pt x="21116" y="14762"/>
                    <a:pt x="21105" y="14781"/>
                    <a:pt x="21100" y="14806"/>
                  </a:cubicBezTo>
                  <a:cubicBezTo>
                    <a:pt x="21100" y="14832"/>
                    <a:pt x="21086" y="14848"/>
                    <a:pt x="21081" y="14841"/>
                  </a:cubicBezTo>
                  <a:cubicBezTo>
                    <a:pt x="21081" y="14833"/>
                    <a:pt x="21058" y="14802"/>
                    <a:pt x="21047" y="14768"/>
                  </a:cubicBezTo>
                  <a:cubicBezTo>
                    <a:pt x="21036" y="14735"/>
                    <a:pt x="21019" y="14696"/>
                    <a:pt x="21019" y="14682"/>
                  </a:cubicBezTo>
                  <a:cubicBezTo>
                    <a:pt x="21019" y="14668"/>
                    <a:pt x="21012" y="14651"/>
                    <a:pt x="21007" y="14644"/>
                  </a:cubicBezTo>
                  <a:cubicBezTo>
                    <a:pt x="21007" y="14637"/>
                    <a:pt x="20990" y="14638"/>
                    <a:pt x="20990" y="14648"/>
                  </a:cubicBezTo>
                  <a:cubicBezTo>
                    <a:pt x="20985" y="14657"/>
                    <a:pt x="20970" y="14660"/>
                    <a:pt x="20964" y="14652"/>
                  </a:cubicBezTo>
                  <a:cubicBezTo>
                    <a:pt x="20953" y="14646"/>
                    <a:pt x="20947" y="14646"/>
                    <a:pt x="20938" y="14652"/>
                  </a:cubicBezTo>
                  <a:cubicBezTo>
                    <a:pt x="20938" y="14660"/>
                    <a:pt x="20924" y="14699"/>
                    <a:pt x="20924" y="14741"/>
                  </a:cubicBezTo>
                  <a:cubicBezTo>
                    <a:pt x="20924" y="14782"/>
                    <a:pt x="20922" y="14769"/>
                    <a:pt x="20917" y="14713"/>
                  </a:cubicBezTo>
                  <a:cubicBezTo>
                    <a:pt x="20917" y="14656"/>
                    <a:pt x="20915" y="14602"/>
                    <a:pt x="20921" y="14592"/>
                  </a:cubicBezTo>
                  <a:cubicBezTo>
                    <a:pt x="20927" y="14583"/>
                    <a:pt x="20931" y="14580"/>
                    <a:pt x="20937" y="14586"/>
                  </a:cubicBezTo>
                  <a:cubicBezTo>
                    <a:pt x="20943" y="14592"/>
                    <a:pt x="20949" y="14599"/>
                    <a:pt x="20953" y="14601"/>
                  </a:cubicBezTo>
                  <a:cubicBezTo>
                    <a:pt x="20957" y="14602"/>
                    <a:pt x="20961" y="14597"/>
                    <a:pt x="20961" y="14590"/>
                  </a:cubicBezTo>
                  <a:cubicBezTo>
                    <a:pt x="20961" y="14583"/>
                    <a:pt x="20963" y="14586"/>
                    <a:pt x="20973" y="14595"/>
                  </a:cubicBezTo>
                  <a:cubicBezTo>
                    <a:pt x="20973" y="14605"/>
                    <a:pt x="20995" y="14604"/>
                    <a:pt x="20995" y="14593"/>
                  </a:cubicBezTo>
                  <a:cubicBezTo>
                    <a:pt x="21001" y="14582"/>
                    <a:pt x="21014" y="14607"/>
                    <a:pt x="21025" y="14647"/>
                  </a:cubicBezTo>
                  <a:cubicBezTo>
                    <a:pt x="21030" y="14688"/>
                    <a:pt x="21049" y="14734"/>
                    <a:pt x="21054" y="14749"/>
                  </a:cubicBezTo>
                  <a:cubicBezTo>
                    <a:pt x="21060" y="14764"/>
                    <a:pt x="21071" y="14778"/>
                    <a:pt x="21076" y="14781"/>
                  </a:cubicBezTo>
                  <a:cubicBezTo>
                    <a:pt x="21083" y="14782"/>
                    <a:pt x="21088" y="14767"/>
                    <a:pt x="21088" y="14746"/>
                  </a:cubicBezTo>
                  <a:cubicBezTo>
                    <a:pt x="21082" y="14726"/>
                    <a:pt x="21100" y="14715"/>
                    <a:pt x="21107" y="14726"/>
                  </a:cubicBezTo>
                  <a:cubicBezTo>
                    <a:pt x="21117" y="14735"/>
                    <a:pt x="21132" y="14761"/>
                    <a:pt x="21143" y="14783"/>
                  </a:cubicBezTo>
                  <a:cubicBezTo>
                    <a:pt x="21154" y="14805"/>
                    <a:pt x="21168" y="14824"/>
                    <a:pt x="21168" y="14828"/>
                  </a:cubicBezTo>
                  <a:cubicBezTo>
                    <a:pt x="21173" y="14831"/>
                    <a:pt x="21183" y="14856"/>
                    <a:pt x="21194" y="14885"/>
                  </a:cubicBezTo>
                  <a:cubicBezTo>
                    <a:pt x="21204" y="14913"/>
                    <a:pt x="21220" y="14922"/>
                    <a:pt x="21220" y="14903"/>
                  </a:cubicBezTo>
                  <a:cubicBezTo>
                    <a:pt x="21225" y="14885"/>
                    <a:pt x="21243" y="14890"/>
                    <a:pt x="21254" y="14914"/>
                  </a:cubicBezTo>
                  <a:cubicBezTo>
                    <a:pt x="21270" y="14937"/>
                    <a:pt x="21274" y="14950"/>
                    <a:pt x="21283" y="14944"/>
                  </a:cubicBezTo>
                  <a:cubicBezTo>
                    <a:pt x="21283" y="14936"/>
                    <a:pt x="21273" y="14899"/>
                    <a:pt x="21268" y="14861"/>
                  </a:cubicBezTo>
                  <a:cubicBezTo>
                    <a:pt x="21256" y="14822"/>
                    <a:pt x="21247" y="14784"/>
                    <a:pt x="21242" y="14776"/>
                  </a:cubicBezTo>
                  <a:cubicBezTo>
                    <a:pt x="21242" y="14767"/>
                    <a:pt x="21222" y="14729"/>
                    <a:pt x="21211" y="14689"/>
                  </a:cubicBezTo>
                  <a:cubicBezTo>
                    <a:pt x="21194" y="14650"/>
                    <a:pt x="21190" y="14609"/>
                    <a:pt x="21185" y="14599"/>
                  </a:cubicBezTo>
                  <a:cubicBezTo>
                    <a:pt x="21185" y="14590"/>
                    <a:pt x="21179" y="14572"/>
                    <a:pt x="21174" y="14560"/>
                  </a:cubicBezTo>
                  <a:cubicBezTo>
                    <a:pt x="21168" y="14548"/>
                    <a:pt x="21161" y="14538"/>
                    <a:pt x="21156" y="14538"/>
                  </a:cubicBezTo>
                  <a:cubicBezTo>
                    <a:pt x="21150" y="14537"/>
                    <a:pt x="21144" y="14525"/>
                    <a:pt x="21132" y="14513"/>
                  </a:cubicBezTo>
                  <a:cubicBezTo>
                    <a:pt x="21127" y="14500"/>
                    <a:pt x="21101" y="14447"/>
                    <a:pt x="21090" y="14395"/>
                  </a:cubicBezTo>
                  <a:cubicBezTo>
                    <a:pt x="21074" y="14343"/>
                    <a:pt x="21054" y="14270"/>
                    <a:pt x="21048" y="14232"/>
                  </a:cubicBezTo>
                  <a:cubicBezTo>
                    <a:pt x="21037" y="14194"/>
                    <a:pt x="21021" y="14130"/>
                    <a:pt x="21005" y="14090"/>
                  </a:cubicBezTo>
                  <a:cubicBezTo>
                    <a:pt x="20982" y="14051"/>
                    <a:pt x="20970" y="13986"/>
                    <a:pt x="20959" y="13948"/>
                  </a:cubicBezTo>
                  <a:cubicBezTo>
                    <a:pt x="20954" y="13910"/>
                    <a:pt x="20942" y="13869"/>
                    <a:pt x="20931" y="13858"/>
                  </a:cubicBezTo>
                  <a:cubicBezTo>
                    <a:pt x="20921" y="13847"/>
                    <a:pt x="20918" y="13814"/>
                    <a:pt x="20913" y="13785"/>
                  </a:cubicBezTo>
                  <a:cubicBezTo>
                    <a:pt x="20907" y="13756"/>
                    <a:pt x="20903" y="13731"/>
                    <a:pt x="20903" y="13727"/>
                  </a:cubicBezTo>
                  <a:cubicBezTo>
                    <a:pt x="20903" y="13724"/>
                    <a:pt x="20876" y="13653"/>
                    <a:pt x="20854" y="13568"/>
                  </a:cubicBezTo>
                  <a:cubicBezTo>
                    <a:pt x="20832" y="13482"/>
                    <a:pt x="20786" y="13378"/>
                    <a:pt x="20763" y="13333"/>
                  </a:cubicBezTo>
                  <a:cubicBezTo>
                    <a:pt x="20742" y="13289"/>
                    <a:pt x="20719" y="13261"/>
                    <a:pt x="20713" y="13269"/>
                  </a:cubicBezTo>
                  <a:cubicBezTo>
                    <a:pt x="20713" y="13278"/>
                    <a:pt x="20702" y="13270"/>
                    <a:pt x="20702" y="13251"/>
                  </a:cubicBezTo>
                  <a:cubicBezTo>
                    <a:pt x="20691" y="13233"/>
                    <a:pt x="20675" y="13186"/>
                    <a:pt x="20653" y="13147"/>
                  </a:cubicBezTo>
                  <a:cubicBezTo>
                    <a:pt x="20631" y="13108"/>
                    <a:pt x="20608" y="13076"/>
                    <a:pt x="20606" y="13076"/>
                  </a:cubicBezTo>
                  <a:cubicBezTo>
                    <a:pt x="20608" y="13076"/>
                    <a:pt x="20592" y="13022"/>
                    <a:pt x="20576" y="12958"/>
                  </a:cubicBezTo>
                  <a:cubicBezTo>
                    <a:pt x="20565" y="12893"/>
                    <a:pt x="20544" y="12805"/>
                    <a:pt x="20539" y="12762"/>
                  </a:cubicBezTo>
                  <a:cubicBezTo>
                    <a:pt x="20528" y="12719"/>
                    <a:pt x="20522" y="12659"/>
                    <a:pt x="20511" y="12628"/>
                  </a:cubicBezTo>
                  <a:cubicBezTo>
                    <a:pt x="20500" y="12598"/>
                    <a:pt x="20488" y="12543"/>
                    <a:pt x="20482" y="12506"/>
                  </a:cubicBezTo>
                  <a:cubicBezTo>
                    <a:pt x="20477" y="12470"/>
                    <a:pt x="20467" y="12448"/>
                    <a:pt x="20477" y="12453"/>
                  </a:cubicBezTo>
                  <a:cubicBezTo>
                    <a:pt x="20477" y="12460"/>
                    <a:pt x="20485" y="12462"/>
                    <a:pt x="20490" y="12459"/>
                  </a:cubicBezTo>
                  <a:cubicBezTo>
                    <a:pt x="20490" y="12455"/>
                    <a:pt x="20492" y="12424"/>
                    <a:pt x="20492" y="12389"/>
                  </a:cubicBezTo>
                  <a:cubicBezTo>
                    <a:pt x="20492" y="12354"/>
                    <a:pt x="20491" y="12333"/>
                    <a:pt x="20497" y="12342"/>
                  </a:cubicBezTo>
                  <a:cubicBezTo>
                    <a:pt x="20501" y="12351"/>
                    <a:pt x="20505" y="12339"/>
                    <a:pt x="20505" y="12315"/>
                  </a:cubicBezTo>
                  <a:cubicBezTo>
                    <a:pt x="20505" y="12291"/>
                    <a:pt x="20498" y="12256"/>
                    <a:pt x="20487" y="12239"/>
                  </a:cubicBezTo>
                  <a:cubicBezTo>
                    <a:pt x="20477" y="12221"/>
                    <a:pt x="20469" y="12192"/>
                    <a:pt x="20458" y="12176"/>
                  </a:cubicBezTo>
                  <a:cubicBezTo>
                    <a:pt x="20458" y="12158"/>
                    <a:pt x="20446" y="12128"/>
                    <a:pt x="20446" y="12109"/>
                  </a:cubicBezTo>
                  <a:cubicBezTo>
                    <a:pt x="20446" y="12089"/>
                    <a:pt x="20455" y="12078"/>
                    <a:pt x="20465" y="12085"/>
                  </a:cubicBezTo>
                  <a:cubicBezTo>
                    <a:pt x="20477" y="12092"/>
                    <a:pt x="20473" y="12076"/>
                    <a:pt x="20473" y="12049"/>
                  </a:cubicBezTo>
                  <a:cubicBezTo>
                    <a:pt x="20462" y="12023"/>
                    <a:pt x="20467" y="11999"/>
                    <a:pt x="20474" y="11997"/>
                  </a:cubicBezTo>
                  <a:cubicBezTo>
                    <a:pt x="20481" y="11996"/>
                    <a:pt x="20481" y="11977"/>
                    <a:pt x="20476" y="11956"/>
                  </a:cubicBezTo>
                  <a:cubicBezTo>
                    <a:pt x="20464" y="11936"/>
                    <a:pt x="20461" y="11900"/>
                    <a:pt x="20444" y="11878"/>
                  </a:cubicBezTo>
                  <a:cubicBezTo>
                    <a:pt x="20429" y="11857"/>
                    <a:pt x="20429" y="11836"/>
                    <a:pt x="20435" y="11838"/>
                  </a:cubicBezTo>
                  <a:cubicBezTo>
                    <a:pt x="20441" y="11838"/>
                    <a:pt x="20452" y="11854"/>
                    <a:pt x="20463" y="11873"/>
                  </a:cubicBezTo>
                  <a:cubicBezTo>
                    <a:pt x="20474" y="11892"/>
                    <a:pt x="20476" y="11896"/>
                    <a:pt x="20476" y="11881"/>
                  </a:cubicBezTo>
                  <a:cubicBezTo>
                    <a:pt x="20476" y="11867"/>
                    <a:pt x="20475" y="11859"/>
                    <a:pt x="20482" y="11862"/>
                  </a:cubicBezTo>
                  <a:cubicBezTo>
                    <a:pt x="20487" y="11866"/>
                    <a:pt x="20490" y="11856"/>
                    <a:pt x="20495" y="11840"/>
                  </a:cubicBezTo>
                  <a:cubicBezTo>
                    <a:pt x="20495" y="11824"/>
                    <a:pt x="20499" y="11813"/>
                    <a:pt x="20504" y="11814"/>
                  </a:cubicBezTo>
                  <a:cubicBezTo>
                    <a:pt x="20504" y="11818"/>
                    <a:pt x="20512" y="11792"/>
                    <a:pt x="20507" y="11760"/>
                  </a:cubicBezTo>
                  <a:cubicBezTo>
                    <a:pt x="20507" y="11728"/>
                    <a:pt x="20508" y="11716"/>
                    <a:pt x="20513" y="11733"/>
                  </a:cubicBezTo>
                  <a:cubicBezTo>
                    <a:pt x="20519" y="11750"/>
                    <a:pt x="20523" y="11753"/>
                    <a:pt x="20523" y="11740"/>
                  </a:cubicBezTo>
                  <a:cubicBezTo>
                    <a:pt x="20523" y="11727"/>
                    <a:pt x="20529" y="11728"/>
                    <a:pt x="20529" y="11742"/>
                  </a:cubicBezTo>
                  <a:cubicBezTo>
                    <a:pt x="20535" y="11755"/>
                    <a:pt x="20543" y="11788"/>
                    <a:pt x="20558" y="11813"/>
                  </a:cubicBezTo>
                  <a:cubicBezTo>
                    <a:pt x="20570" y="11838"/>
                    <a:pt x="20582" y="11840"/>
                    <a:pt x="20582" y="11817"/>
                  </a:cubicBezTo>
                  <a:cubicBezTo>
                    <a:pt x="20582" y="11795"/>
                    <a:pt x="20583" y="11767"/>
                    <a:pt x="20578" y="11756"/>
                  </a:cubicBezTo>
                  <a:cubicBezTo>
                    <a:pt x="20573" y="11744"/>
                    <a:pt x="20563" y="11730"/>
                    <a:pt x="20563" y="11723"/>
                  </a:cubicBezTo>
                  <a:cubicBezTo>
                    <a:pt x="20554" y="11718"/>
                    <a:pt x="20545" y="11689"/>
                    <a:pt x="20539" y="11662"/>
                  </a:cubicBezTo>
                  <a:cubicBezTo>
                    <a:pt x="20529" y="11635"/>
                    <a:pt x="20534" y="11607"/>
                    <a:pt x="20529" y="11601"/>
                  </a:cubicBezTo>
                  <a:cubicBezTo>
                    <a:pt x="20537" y="11596"/>
                    <a:pt x="20533" y="11592"/>
                    <a:pt x="20537" y="11593"/>
                  </a:cubicBezTo>
                  <a:cubicBezTo>
                    <a:pt x="20537" y="11595"/>
                    <a:pt x="20532" y="11570"/>
                    <a:pt x="20521" y="11537"/>
                  </a:cubicBezTo>
                  <a:cubicBezTo>
                    <a:pt x="20509" y="11505"/>
                    <a:pt x="20497" y="11467"/>
                    <a:pt x="20493" y="11453"/>
                  </a:cubicBezTo>
                  <a:cubicBezTo>
                    <a:pt x="20493" y="11438"/>
                    <a:pt x="20494" y="11424"/>
                    <a:pt x="20494" y="11419"/>
                  </a:cubicBezTo>
                  <a:cubicBezTo>
                    <a:pt x="20499" y="11415"/>
                    <a:pt x="20500" y="11402"/>
                    <a:pt x="20491" y="11392"/>
                  </a:cubicBezTo>
                  <a:cubicBezTo>
                    <a:pt x="20491" y="11382"/>
                    <a:pt x="20471" y="11374"/>
                    <a:pt x="20471" y="11377"/>
                  </a:cubicBezTo>
                  <a:cubicBezTo>
                    <a:pt x="20466" y="11378"/>
                    <a:pt x="20456" y="11375"/>
                    <a:pt x="20447" y="11372"/>
                  </a:cubicBezTo>
                  <a:cubicBezTo>
                    <a:pt x="20441" y="11367"/>
                    <a:pt x="20428" y="11357"/>
                    <a:pt x="20428" y="11346"/>
                  </a:cubicBezTo>
                  <a:cubicBezTo>
                    <a:pt x="20422" y="11336"/>
                    <a:pt x="20418" y="11326"/>
                    <a:pt x="20412" y="11322"/>
                  </a:cubicBezTo>
                  <a:cubicBezTo>
                    <a:pt x="20412" y="11318"/>
                    <a:pt x="20401" y="11325"/>
                    <a:pt x="20401" y="11335"/>
                  </a:cubicBezTo>
                  <a:cubicBezTo>
                    <a:pt x="20401" y="11345"/>
                    <a:pt x="20388" y="11345"/>
                    <a:pt x="20368" y="11338"/>
                  </a:cubicBezTo>
                  <a:cubicBezTo>
                    <a:pt x="20347" y="11330"/>
                    <a:pt x="20324" y="11308"/>
                    <a:pt x="20318" y="11292"/>
                  </a:cubicBezTo>
                  <a:cubicBezTo>
                    <a:pt x="20308" y="11275"/>
                    <a:pt x="20294" y="11254"/>
                    <a:pt x="20294" y="11245"/>
                  </a:cubicBezTo>
                  <a:cubicBezTo>
                    <a:pt x="20284" y="11237"/>
                    <a:pt x="20277" y="11209"/>
                    <a:pt x="20266" y="11185"/>
                  </a:cubicBezTo>
                  <a:cubicBezTo>
                    <a:pt x="20255" y="11161"/>
                    <a:pt x="20240" y="11135"/>
                    <a:pt x="20240" y="11126"/>
                  </a:cubicBezTo>
                  <a:cubicBezTo>
                    <a:pt x="20234" y="11119"/>
                    <a:pt x="20227" y="11102"/>
                    <a:pt x="20221" y="11091"/>
                  </a:cubicBezTo>
                  <a:cubicBezTo>
                    <a:pt x="20221" y="11079"/>
                    <a:pt x="20198" y="11084"/>
                    <a:pt x="20198" y="11103"/>
                  </a:cubicBezTo>
                  <a:cubicBezTo>
                    <a:pt x="20187" y="11122"/>
                    <a:pt x="20177" y="11134"/>
                    <a:pt x="20168" y="11131"/>
                  </a:cubicBezTo>
                  <a:cubicBezTo>
                    <a:pt x="20161" y="11127"/>
                    <a:pt x="20163" y="11133"/>
                    <a:pt x="20163" y="11143"/>
                  </a:cubicBezTo>
                  <a:cubicBezTo>
                    <a:pt x="20173" y="11152"/>
                    <a:pt x="20172" y="11181"/>
                    <a:pt x="20183" y="11204"/>
                  </a:cubicBezTo>
                  <a:cubicBezTo>
                    <a:pt x="20189" y="11227"/>
                    <a:pt x="20198" y="11257"/>
                    <a:pt x="20192" y="11268"/>
                  </a:cubicBezTo>
                  <a:cubicBezTo>
                    <a:pt x="20192" y="11281"/>
                    <a:pt x="20186" y="11298"/>
                    <a:pt x="20180" y="11306"/>
                  </a:cubicBezTo>
                  <a:cubicBezTo>
                    <a:pt x="20174" y="11315"/>
                    <a:pt x="20173" y="11326"/>
                    <a:pt x="20173" y="11331"/>
                  </a:cubicBezTo>
                  <a:cubicBezTo>
                    <a:pt x="20178" y="11335"/>
                    <a:pt x="20180" y="11354"/>
                    <a:pt x="20191" y="11371"/>
                  </a:cubicBezTo>
                  <a:cubicBezTo>
                    <a:pt x="20191" y="11388"/>
                    <a:pt x="20198" y="11421"/>
                    <a:pt x="20208" y="11442"/>
                  </a:cubicBezTo>
                  <a:cubicBezTo>
                    <a:pt x="20208" y="11465"/>
                    <a:pt x="20212" y="11491"/>
                    <a:pt x="20212" y="11500"/>
                  </a:cubicBezTo>
                  <a:cubicBezTo>
                    <a:pt x="20212" y="11509"/>
                    <a:pt x="20204" y="11505"/>
                    <a:pt x="20193" y="11492"/>
                  </a:cubicBezTo>
                  <a:cubicBezTo>
                    <a:pt x="20183" y="11479"/>
                    <a:pt x="20171" y="11477"/>
                    <a:pt x="20171" y="11489"/>
                  </a:cubicBezTo>
                  <a:cubicBezTo>
                    <a:pt x="20165" y="11500"/>
                    <a:pt x="20157" y="11505"/>
                    <a:pt x="20147" y="11499"/>
                  </a:cubicBezTo>
                  <a:cubicBezTo>
                    <a:pt x="20137" y="11494"/>
                    <a:pt x="20107" y="11429"/>
                    <a:pt x="20080" y="11356"/>
                  </a:cubicBezTo>
                  <a:cubicBezTo>
                    <a:pt x="20052" y="11282"/>
                    <a:pt x="20024" y="11193"/>
                    <a:pt x="20013" y="11158"/>
                  </a:cubicBezTo>
                  <a:cubicBezTo>
                    <a:pt x="20008" y="11123"/>
                    <a:pt x="19982" y="11074"/>
                    <a:pt x="19982" y="11048"/>
                  </a:cubicBezTo>
                  <a:cubicBezTo>
                    <a:pt x="19972" y="11023"/>
                    <a:pt x="19958" y="11000"/>
                    <a:pt x="19950" y="10995"/>
                  </a:cubicBezTo>
                  <a:cubicBezTo>
                    <a:pt x="19941" y="10990"/>
                    <a:pt x="19929" y="10993"/>
                    <a:pt x="19929" y="10998"/>
                  </a:cubicBezTo>
                  <a:cubicBezTo>
                    <a:pt x="19924" y="11004"/>
                    <a:pt x="19923" y="10998"/>
                    <a:pt x="19918" y="10985"/>
                  </a:cubicBezTo>
                  <a:cubicBezTo>
                    <a:pt x="19913" y="10973"/>
                    <a:pt x="19903" y="10961"/>
                    <a:pt x="19903" y="10958"/>
                  </a:cubicBezTo>
                  <a:cubicBezTo>
                    <a:pt x="19897" y="10957"/>
                    <a:pt x="19896" y="10966"/>
                    <a:pt x="19896" y="10980"/>
                  </a:cubicBezTo>
                  <a:cubicBezTo>
                    <a:pt x="19896" y="10994"/>
                    <a:pt x="19898" y="10992"/>
                    <a:pt x="19887" y="10978"/>
                  </a:cubicBezTo>
                  <a:cubicBezTo>
                    <a:pt x="19887" y="10963"/>
                    <a:pt x="19880" y="10960"/>
                    <a:pt x="19880" y="10972"/>
                  </a:cubicBezTo>
                  <a:cubicBezTo>
                    <a:pt x="19886" y="10984"/>
                    <a:pt x="19870" y="10964"/>
                    <a:pt x="19859" y="10928"/>
                  </a:cubicBezTo>
                  <a:cubicBezTo>
                    <a:pt x="19848" y="10891"/>
                    <a:pt x="19828" y="10848"/>
                    <a:pt x="19822" y="10832"/>
                  </a:cubicBezTo>
                  <a:cubicBezTo>
                    <a:pt x="19822" y="10815"/>
                    <a:pt x="19796" y="10772"/>
                    <a:pt x="19774" y="10737"/>
                  </a:cubicBezTo>
                  <a:cubicBezTo>
                    <a:pt x="19753" y="10701"/>
                    <a:pt x="19723" y="10656"/>
                    <a:pt x="19712" y="10636"/>
                  </a:cubicBezTo>
                  <a:cubicBezTo>
                    <a:pt x="19696" y="10617"/>
                    <a:pt x="19678" y="10576"/>
                    <a:pt x="19673" y="10547"/>
                  </a:cubicBezTo>
                  <a:cubicBezTo>
                    <a:pt x="19662" y="10518"/>
                    <a:pt x="19650" y="10467"/>
                    <a:pt x="19634" y="10435"/>
                  </a:cubicBezTo>
                  <a:cubicBezTo>
                    <a:pt x="19618" y="10403"/>
                    <a:pt x="19612" y="10369"/>
                    <a:pt x="19612" y="10360"/>
                  </a:cubicBezTo>
                  <a:cubicBezTo>
                    <a:pt x="19612" y="10350"/>
                    <a:pt x="19612" y="10332"/>
                    <a:pt x="19607" y="10320"/>
                  </a:cubicBezTo>
                  <a:cubicBezTo>
                    <a:pt x="19601" y="10307"/>
                    <a:pt x="19595" y="10285"/>
                    <a:pt x="19595" y="10272"/>
                  </a:cubicBezTo>
                  <a:cubicBezTo>
                    <a:pt x="19590" y="10259"/>
                    <a:pt x="19579" y="10227"/>
                    <a:pt x="19579" y="10201"/>
                  </a:cubicBezTo>
                  <a:cubicBezTo>
                    <a:pt x="19567" y="10175"/>
                    <a:pt x="19570" y="10146"/>
                    <a:pt x="19570" y="10137"/>
                  </a:cubicBezTo>
                  <a:cubicBezTo>
                    <a:pt x="19575" y="10128"/>
                    <a:pt x="19567" y="10108"/>
                    <a:pt x="19567" y="10094"/>
                  </a:cubicBezTo>
                  <a:cubicBezTo>
                    <a:pt x="19562" y="10080"/>
                    <a:pt x="19576" y="10089"/>
                    <a:pt x="19598" y="10114"/>
                  </a:cubicBezTo>
                  <a:cubicBezTo>
                    <a:pt x="19620" y="10138"/>
                    <a:pt x="19644" y="10164"/>
                    <a:pt x="19657" y="10170"/>
                  </a:cubicBezTo>
                  <a:cubicBezTo>
                    <a:pt x="19670" y="10175"/>
                    <a:pt x="19691" y="10182"/>
                    <a:pt x="19698" y="10188"/>
                  </a:cubicBezTo>
                  <a:cubicBezTo>
                    <a:pt x="19706" y="10192"/>
                    <a:pt x="19719" y="10174"/>
                    <a:pt x="19708" y="10149"/>
                  </a:cubicBezTo>
                  <a:cubicBezTo>
                    <a:pt x="19708" y="10124"/>
                    <a:pt x="19695" y="10092"/>
                    <a:pt x="19690" y="10078"/>
                  </a:cubicBezTo>
                  <a:cubicBezTo>
                    <a:pt x="19684" y="10064"/>
                    <a:pt x="19682" y="10056"/>
                    <a:pt x="19689" y="10058"/>
                  </a:cubicBezTo>
                  <a:cubicBezTo>
                    <a:pt x="19696" y="10060"/>
                    <a:pt x="19691" y="10037"/>
                    <a:pt x="19680" y="10006"/>
                  </a:cubicBezTo>
                  <a:cubicBezTo>
                    <a:pt x="19669" y="9974"/>
                    <a:pt x="19653" y="9942"/>
                    <a:pt x="19653" y="9933"/>
                  </a:cubicBezTo>
                  <a:cubicBezTo>
                    <a:pt x="19648" y="9925"/>
                    <a:pt x="19643" y="9908"/>
                    <a:pt x="19643" y="9895"/>
                  </a:cubicBezTo>
                  <a:cubicBezTo>
                    <a:pt x="19638" y="9882"/>
                    <a:pt x="19630" y="9820"/>
                    <a:pt x="19614" y="9757"/>
                  </a:cubicBezTo>
                  <a:cubicBezTo>
                    <a:pt x="19602" y="9694"/>
                    <a:pt x="19597" y="9629"/>
                    <a:pt x="19597" y="9612"/>
                  </a:cubicBezTo>
                  <a:cubicBezTo>
                    <a:pt x="19607" y="9595"/>
                    <a:pt x="19612" y="9584"/>
                    <a:pt x="19621" y="9586"/>
                  </a:cubicBezTo>
                  <a:cubicBezTo>
                    <a:pt x="19621" y="9591"/>
                    <a:pt x="19632" y="9567"/>
                    <a:pt x="19626" y="9536"/>
                  </a:cubicBezTo>
                  <a:cubicBezTo>
                    <a:pt x="19621" y="9505"/>
                    <a:pt x="19623" y="9479"/>
                    <a:pt x="19623" y="9478"/>
                  </a:cubicBezTo>
                  <a:cubicBezTo>
                    <a:pt x="19626" y="9478"/>
                    <a:pt x="19614" y="9437"/>
                    <a:pt x="19602" y="9387"/>
                  </a:cubicBezTo>
                  <a:cubicBezTo>
                    <a:pt x="19591" y="9337"/>
                    <a:pt x="19573" y="9277"/>
                    <a:pt x="19573" y="9253"/>
                  </a:cubicBezTo>
                  <a:cubicBezTo>
                    <a:pt x="19562" y="9230"/>
                    <a:pt x="19562" y="9186"/>
                    <a:pt x="19556" y="9158"/>
                  </a:cubicBezTo>
                  <a:cubicBezTo>
                    <a:pt x="19551" y="9130"/>
                    <a:pt x="19549" y="9104"/>
                    <a:pt x="19544" y="9101"/>
                  </a:cubicBezTo>
                  <a:cubicBezTo>
                    <a:pt x="19548" y="9098"/>
                    <a:pt x="19544" y="9073"/>
                    <a:pt x="19539" y="9049"/>
                  </a:cubicBezTo>
                  <a:cubicBezTo>
                    <a:pt x="19534" y="9024"/>
                    <a:pt x="19535" y="9008"/>
                    <a:pt x="19545" y="9011"/>
                  </a:cubicBezTo>
                  <a:cubicBezTo>
                    <a:pt x="19553" y="9015"/>
                    <a:pt x="19569" y="9026"/>
                    <a:pt x="19569" y="9036"/>
                  </a:cubicBezTo>
                  <a:cubicBezTo>
                    <a:pt x="19579" y="9045"/>
                    <a:pt x="19583" y="9057"/>
                    <a:pt x="19590" y="9061"/>
                  </a:cubicBezTo>
                  <a:cubicBezTo>
                    <a:pt x="19590" y="9065"/>
                    <a:pt x="19602" y="9048"/>
                    <a:pt x="19591" y="9025"/>
                  </a:cubicBezTo>
                  <a:cubicBezTo>
                    <a:pt x="19591" y="9002"/>
                    <a:pt x="19600" y="9027"/>
                    <a:pt x="19628" y="9080"/>
                  </a:cubicBezTo>
                  <a:cubicBezTo>
                    <a:pt x="19649" y="9134"/>
                    <a:pt x="19697" y="9212"/>
                    <a:pt x="19720" y="9255"/>
                  </a:cubicBezTo>
                  <a:cubicBezTo>
                    <a:pt x="19743" y="9299"/>
                    <a:pt x="19774" y="9350"/>
                    <a:pt x="19779" y="9372"/>
                  </a:cubicBezTo>
                  <a:cubicBezTo>
                    <a:pt x="19785" y="9393"/>
                    <a:pt x="19790" y="9415"/>
                    <a:pt x="19790" y="9421"/>
                  </a:cubicBezTo>
                  <a:cubicBezTo>
                    <a:pt x="19790" y="9427"/>
                    <a:pt x="19784" y="9446"/>
                    <a:pt x="19795" y="9461"/>
                  </a:cubicBezTo>
                  <a:cubicBezTo>
                    <a:pt x="19795" y="9477"/>
                    <a:pt x="19808" y="9515"/>
                    <a:pt x="19808" y="9545"/>
                  </a:cubicBezTo>
                  <a:cubicBezTo>
                    <a:pt x="19808" y="9574"/>
                    <a:pt x="19820" y="9624"/>
                    <a:pt x="19831" y="9655"/>
                  </a:cubicBezTo>
                  <a:cubicBezTo>
                    <a:pt x="19842" y="9685"/>
                    <a:pt x="19841" y="9708"/>
                    <a:pt x="19835" y="9705"/>
                  </a:cubicBezTo>
                  <a:cubicBezTo>
                    <a:pt x="19827" y="9704"/>
                    <a:pt x="19831" y="9708"/>
                    <a:pt x="19831" y="9718"/>
                  </a:cubicBezTo>
                  <a:cubicBezTo>
                    <a:pt x="19836" y="9728"/>
                    <a:pt x="19847" y="9762"/>
                    <a:pt x="19852" y="9794"/>
                  </a:cubicBezTo>
                  <a:cubicBezTo>
                    <a:pt x="19863" y="9825"/>
                    <a:pt x="19885" y="9876"/>
                    <a:pt x="19896" y="9909"/>
                  </a:cubicBezTo>
                  <a:cubicBezTo>
                    <a:pt x="19917" y="9940"/>
                    <a:pt x="19932" y="9981"/>
                    <a:pt x="19932" y="9998"/>
                  </a:cubicBezTo>
                  <a:cubicBezTo>
                    <a:pt x="19932" y="10015"/>
                    <a:pt x="19938" y="10031"/>
                    <a:pt x="19938" y="10034"/>
                  </a:cubicBezTo>
                  <a:cubicBezTo>
                    <a:pt x="19938" y="10038"/>
                    <a:pt x="19938" y="10053"/>
                    <a:pt x="19944" y="10068"/>
                  </a:cubicBezTo>
                  <a:cubicBezTo>
                    <a:pt x="19944" y="10083"/>
                    <a:pt x="19954" y="10109"/>
                    <a:pt x="19964" y="10123"/>
                  </a:cubicBezTo>
                  <a:cubicBezTo>
                    <a:pt x="19964" y="10139"/>
                    <a:pt x="19985" y="10147"/>
                    <a:pt x="19985" y="10142"/>
                  </a:cubicBezTo>
                  <a:cubicBezTo>
                    <a:pt x="19985" y="10136"/>
                    <a:pt x="19989" y="10117"/>
                    <a:pt x="19995" y="10099"/>
                  </a:cubicBezTo>
                  <a:cubicBezTo>
                    <a:pt x="19995" y="10081"/>
                    <a:pt x="19998" y="10084"/>
                    <a:pt x="20003" y="10105"/>
                  </a:cubicBezTo>
                  <a:cubicBezTo>
                    <a:pt x="20003" y="10126"/>
                    <a:pt x="20013" y="10153"/>
                    <a:pt x="20008" y="10165"/>
                  </a:cubicBezTo>
                  <a:cubicBezTo>
                    <a:pt x="20012" y="10178"/>
                    <a:pt x="20008" y="10199"/>
                    <a:pt x="20012" y="10211"/>
                  </a:cubicBezTo>
                  <a:cubicBezTo>
                    <a:pt x="20018" y="10224"/>
                    <a:pt x="20023" y="10239"/>
                    <a:pt x="20029" y="10244"/>
                  </a:cubicBezTo>
                  <a:cubicBezTo>
                    <a:pt x="20029" y="10250"/>
                    <a:pt x="20043" y="10265"/>
                    <a:pt x="20043" y="10279"/>
                  </a:cubicBezTo>
                  <a:cubicBezTo>
                    <a:pt x="20049" y="10292"/>
                    <a:pt x="20048" y="10309"/>
                    <a:pt x="20048" y="10314"/>
                  </a:cubicBezTo>
                  <a:cubicBezTo>
                    <a:pt x="20048" y="10320"/>
                    <a:pt x="20042" y="10317"/>
                    <a:pt x="20032" y="10310"/>
                  </a:cubicBezTo>
                  <a:cubicBezTo>
                    <a:pt x="20021" y="10302"/>
                    <a:pt x="20019" y="10307"/>
                    <a:pt x="20019" y="10323"/>
                  </a:cubicBezTo>
                  <a:cubicBezTo>
                    <a:pt x="20025" y="10338"/>
                    <a:pt x="20018" y="10349"/>
                    <a:pt x="20012" y="10348"/>
                  </a:cubicBezTo>
                  <a:cubicBezTo>
                    <a:pt x="20007" y="10346"/>
                    <a:pt x="20008" y="10358"/>
                    <a:pt x="20008" y="10376"/>
                  </a:cubicBezTo>
                  <a:cubicBezTo>
                    <a:pt x="20008" y="10394"/>
                    <a:pt x="20024" y="10421"/>
                    <a:pt x="20029" y="10438"/>
                  </a:cubicBezTo>
                  <a:cubicBezTo>
                    <a:pt x="20035" y="10455"/>
                    <a:pt x="20046" y="10486"/>
                    <a:pt x="20058" y="10506"/>
                  </a:cubicBezTo>
                  <a:cubicBezTo>
                    <a:pt x="20064" y="10527"/>
                    <a:pt x="20080" y="10543"/>
                    <a:pt x="20076" y="10543"/>
                  </a:cubicBezTo>
                  <a:cubicBezTo>
                    <a:pt x="20079" y="10543"/>
                    <a:pt x="20085" y="10529"/>
                    <a:pt x="20080" y="10512"/>
                  </a:cubicBezTo>
                  <a:cubicBezTo>
                    <a:pt x="20080" y="10494"/>
                    <a:pt x="20080" y="10483"/>
                    <a:pt x="20084" y="10485"/>
                  </a:cubicBezTo>
                  <a:cubicBezTo>
                    <a:pt x="20088" y="10488"/>
                    <a:pt x="20091" y="10467"/>
                    <a:pt x="20085" y="10440"/>
                  </a:cubicBezTo>
                  <a:cubicBezTo>
                    <a:pt x="20085" y="10412"/>
                    <a:pt x="20087" y="10382"/>
                    <a:pt x="20087" y="10372"/>
                  </a:cubicBezTo>
                  <a:cubicBezTo>
                    <a:pt x="20093" y="10362"/>
                    <a:pt x="20092" y="10346"/>
                    <a:pt x="20092" y="10337"/>
                  </a:cubicBezTo>
                  <a:cubicBezTo>
                    <a:pt x="20092" y="10328"/>
                    <a:pt x="20082" y="10298"/>
                    <a:pt x="20071" y="10272"/>
                  </a:cubicBezTo>
                  <a:cubicBezTo>
                    <a:pt x="20060" y="10246"/>
                    <a:pt x="20055" y="10208"/>
                    <a:pt x="20055" y="10190"/>
                  </a:cubicBezTo>
                  <a:cubicBezTo>
                    <a:pt x="20055" y="10171"/>
                    <a:pt x="20060" y="10129"/>
                    <a:pt x="20060" y="10096"/>
                  </a:cubicBezTo>
                  <a:cubicBezTo>
                    <a:pt x="20065" y="10063"/>
                    <a:pt x="20065" y="10040"/>
                    <a:pt x="20070" y="10045"/>
                  </a:cubicBezTo>
                  <a:cubicBezTo>
                    <a:pt x="20070" y="10050"/>
                    <a:pt x="20077" y="10032"/>
                    <a:pt x="20067" y="10008"/>
                  </a:cubicBezTo>
                  <a:cubicBezTo>
                    <a:pt x="20067" y="9983"/>
                    <a:pt x="20059" y="9968"/>
                    <a:pt x="20067" y="9971"/>
                  </a:cubicBezTo>
                  <a:cubicBezTo>
                    <a:pt x="20067" y="9977"/>
                    <a:pt x="20081" y="9965"/>
                    <a:pt x="20081" y="9947"/>
                  </a:cubicBezTo>
                  <a:cubicBezTo>
                    <a:pt x="20081" y="9929"/>
                    <a:pt x="20083" y="9926"/>
                    <a:pt x="20094" y="9939"/>
                  </a:cubicBezTo>
                  <a:cubicBezTo>
                    <a:pt x="20100" y="9952"/>
                    <a:pt x="20110" y="9961"/>
                    <a:pt x="20110" y="9959"/>
                  </a:cubicBezTo>
                  <a:cubicBezTo>
                    <a:pt x="20110" y="9956"/>
                    <a:pt x="20118" y="9956"/>
                    <a:pt x="20123" y="9959"/>
                  </a:cubicBezTo>
                  <a:cubicBezTo>
                    <a:pt x="20129" y="9962"/>
                    <a:pt x="20126" y="9935"/>
                    <a:pt x="20126" y="9900"/>
                  </a:cubicBezTo>
                  <a:cubicBezTo>
                    <a:pt x="20121" y="9865"/>
                    <a:pt x="20124" y="9856"/>
                    <a:pt x="20134" y="9880"/>
                  </a:cubicBezTo>
                  <a:cubicBezTo>
                    <a:pt x="20140" y="9898"/>
                    <a:pt x="20149" y="9910"/>
                    <a:pt x="20149" y="9918"/>
                  </a:cubicBezTo>
                  <a:cubicBezTo>
                    <a:pt x="20137" y="9891"/>
                    <a:pt x="20127" y="9845"/>
                    <a:pt x="20111" y="9795"/>
                  </a:cubicBezTo>
                  <a:cubicBezTo>
                    <a:pt x="20089" y="9724"/>
                    <a:pt x="20074" y="9649"/>
                    <a:pt x="20069" y="9628"/>
                  </a:cubicBezTo>
                  <a:close/>
                  <a:moveTo>
                    <a:pt x="20069" y="96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2" name="AutoShape 421"/>
            <p:cNvSpPr>
              <a:spLocks/>
            </p:cNvSpPr>
            <p:nvPr/>
          </p:nvSpPr>
          <p:spPr bwMode="auto">
            <a:xfrm>
              <a:off x="10502900" y="3416300"/>
              <a:ext cx="0" cy="0"/>
            </a:xfrm>
            <a:custGeom>
              <a:avLst/>
              <a:gdLst/>
              <a:ahLst/>
              <a:cxnLst/>
              <a:rect l="0" t="0" r="r" b="b"/>
              <a:pathLst>
                <a:path w="21600" h="21600">
                  <a:moveTo>
                    <a:pt x="21600" y="21600"/>
                  </a:moveTo>
                  <a:cubicBezTo>
                    <a:pt x="21600" y="21600"/>
                    <a:pt x="0" y="21600"/>
                    <a:pt x="0" y="6240"/>
                  </a:cubicBezTo>
                  <a:lnTo>
                    <a:pt x="0" y="0"/>
                  </a:lnTo>
                  <a:lnTo>
                    <a:pt x="0" y="6240"/>
                  </a:lnTo>
                  <a:cubicBezTo>
                    <a:pt x="0" y="21600"/>
                    <a:pt x="21600" y="13920"/>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3" name="AutoShape 422"/>
            <p:cNvSpPr>
              <a:spLocks/>
            </p:cNvSpPr>
            <p:nvPr/>
          </p:nvSpPr>
          <p:spPr bwMode="auto">
            <a:xfrm>
              <a:off x="10502900" y="3416300"/>
              <a:ext cx="0" cy="0"/>
            </a:xfrm>
            <a:custGeom>
              <a:avLst/>
              <a:gdLst/>
              <a:ahLst/>
              <a:cxnLst/>
              <a:rect l="0" t="0" r="r" b="b"/>
              <a:pathLst>
                <a:path w="14004" h="14884">
                  <a:moveTo>
                    <a:pt x="14004" y="2400"/>
                  </a:moveTo>
                  <a:cubicBezTo>
                    <a:pt x="14004" y="2400"/>
                    <a:pt x="2856" y="2400"/>
                    <a:pt x="2856" y="0"/>
                  </a:cubicBezTo>
                  <a:cubicBezTo>
                    <a:pt x="-7596" y="16950"/>
                    <a:pt x="14004" y="21600"/>
                    <a:pt x="14004" y="2400"/>
                  </a:cubicBezTo>
                  <a:close/>
                  <a:moveTo>
                    <a:pt x="14004" y="24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4" name="AutoShape 423"/>
            <p:cNvSpPr>
              <a:spLocks/>
            </p:cNvSpPr>
            <p:nvPr/>
          </p:nvSpPr>
          <p:spPr bwMode="auto">
            <a:xfrm>
              <a:off x="10147300" y="3225800"/>
              <a:ext cx="1588" cy="1588"/>
            </a:xfrm>
            <a:custGeom>
              <a:avLst/>
              <a:gdLst/>
              <a:ahLst/>
              <a:cxnLst/>
              <a:rect l="0" t="0" r="r" b="b"/>
              <a:pathLst>
                <a:path w="21600" h="21218">
                  <a:moveTo>
                    <a:pt x="21600" y="20796"/>
                  </a:moveTo>
                  <a:cubicBezTo>
                    <a:pt x="15339" y="15745"/>
                    <a:pt x="6822" y="8181"/>
                    <a:pt x="0" y="0"/>
                  </a:cubicBezTo>
                  <a:cubicBezTo>
                    <a:pt x="8231" y="9893"/>
                    <a:pt x="17204" y="19272"/>
                    <a:pt x="20203" y="21028"/>
                  </a:cubicBezTo>
                  <a:cubicBezTo>
                    <a:pt x="21138" y="21600"/>
                    <a:pt x="20951" y="20691"/>
                    <a:pt x="21600" y="20796"/>
                  </a:cubicBezTo>
                  <a:close/>
                  <a:moveTo>
                    <a:pt x="21600" y="207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5" name="AutoShape 424"/>
            <p:cNvSpPr>
              <a:spLocks/>
            </p:cNvSpPr>
            <p:nvPr/>
          </p:nvSpPr>
          <p:spPr bwMode="auto">
            <a:xfrm>
              <a:off x="10502900" y="3416300"/>
              <a:ext cx="0" cy="0"/>
            </a:xfrm>
            <a:custGeom>
              <a:avLst/>
              <a:gdLst/>
              <a:ahLst/>
              <a:cxnLst/>
              <a:rect l="0" t="0" r="r" b="b"/>
              <a:pathLst>
                <a:path w="21600" h="21600">
                  <a:moveTo>
                    <a:pt x="21600" y="0"/>
                  </a:moveTo>
                  <a:cubicBezTo>
                    <a:pt x="3058" y="9436"/>
                    <a:pt x="0" y="16513"/>
                    <a:pt x="0" y="21281"/>
                  </a:cubicBezTo>
                  <a:lnTo>
                    <a:pt x="0" y="21600"/>
                  </a:lnTo>
                  <a:cubicBezTo>
                    <a:pt x="0" y="16931"/>
                    <a:pt x="3058" y="9436"/>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6" name="AutoShape 425"/>
            <p:cNvSpPr>
              <a:spLocks/>
            </p:cNvSpPr>
            <p:nvPr/>
          </p:nvSpPr>
          <p:spPr bwMode="auto">
            <a:xfrm>
              <a:off x="10553700" y="3594100"/>
              <a:ext cx="0" cy="0"/>
            </a:xfrm>
            <a:custGeom>
              <a:avLst/>
              <a:gdLst/>
              <a:ahLst/>
              <a:cxnLst/>
              <a:rect l="0" t="0" r="r" b="b"/>
              <a:pathLst>
                <a:path w="21600" h="21600">
                  <a:moveTo>
                    <a:pt x="21600" y="21600"/>
                  </a:moveTo>
                  <a:cubicBezTo>
                    <a:pt x="21600" y="16294"/>
                    <a:pt x="0" y="9764"/>
                    <a:pt x="0" y="0"/>
                  </a:cubicBezTo>
                  <a:cubicBezTo>
                    <a:pt x="0" y="9764"/>
                    <a:pt x="21600" y="16294"/>
                    <a:pt x="21600" y="21600"/>
                  </a:cubicBezTo>
                  <a:cubicBezTo>
                    <a:pt x="21600" y="21600"/>
                    <a:pt x="21600" y="21600"/>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7" name="AutoShape 426"/>
            <p:cNvSpPr>
              <a:spLocks/>
            </p:cNvSpPr>
            <p:nvPr/>
          </p:nvSpPr>
          <p:spPr bwMode="auto">
            <a:xfrm>
              <a:off x="10553700" y="3594100"/>
              <a:ext cx="0" cy="0"/>
            </a:xfrm>
            <a:custGeom>
              <a:avLst/>
              <a:gdLst/>
              <a:ahLst/>
              <a:cxnLst/>
              <a:rect l="0" t="0" r="r" b="b"/>
              <a:pathLst>
                <a:path w="21600" h="16544">
                  <a:moveTo>
                    <a:pt x="21600" y="12406"/>
                  </a:moveTo>
                  <a:cubicBezTo>
                    <a:pt x="6750" y="11290"/>
                    <a:pt x="14400" y="3752"/>
                    <a:pt x="0" y="0"/>
                  </a:cubicBezTo>
                  <a:cubicBezTo>
                    <a:pt x="14400" y="14603"/>
                    <a:pt x="21600" y="21600"/>
                    <a:pt x="21600" y="12406"/>
                  </a:cubicBezTo>
                  <a:close/>
                  <a:moveTo>
                    <a:pt x="21600" y="124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8" name="AutoShape 427"/>
            <p:cNvSpPr>
              <a:spLocks/>
            </p:cNvSpPr>
            <p:nvPr/>
          </p:nvSpPr>
          <p:spPr bwMode="auto">
            <a:xfrm>
              <a:off x="10553700" y="3594100"/>
              <a:ext cx="0" cy="0"/>
            </a:xfrm>
            <a:custGeom>
              <a:avLst/>
              <a:gdLst/>
              <a:ahLst/>
              <a:cxnLst/>
              <a:rect l="0" t="0" r="r" b="b"/>
              <a:pathLst>
                <a:path w="21600" h="21600">
                  <a:moveTo>
                    <a:pt x="21600" y="21600"/>
                  </a:moveTo>
                  <a:cubicBezTo>
                    <a:pt x="6750" y="19658"/>
                    <a:pt x="14400" y="6533"/>
                    <a:pt x="0" y="0"/>
                  </a:cubicBezTo>
                  <a:cubicBezTo>
                    <a:pt x="14400" y="6533"/>
                    <a:pt x="6750" y="19658"/>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29" name="AutoShape 428"/>
            <p:cNvSpPr>
              <a:spLocks/>
            </p:cNvSpPr>
            <p:nvPr/>
          </p:nvSpPr>
          <p:spPr bwMode="auto">
            <a:xfrm>
              <a:off x="10375900" y="4203700"/>
              <a:ext cx="39688" cy="63500"/>
            </a:xfrm>
            <a:custGeom>
              <a:avLst/>
              <a:gdLst/>
              <a:ahLst/>
              <a:cxnLst/>
              <a:rect l="0" t="0" r="r" b="b"/>
              <a:pathLst>
                <a:path w="21519" h="21489">
                  <a:moveTo>
                    <a:pt x="640" y="16003"/>
                  </a:moveTo>
                  <a:cubicBezTo>
                    <a:pt x="1127" y="17033"/>
                    <a:pt x="2043" y="18088"/>
                    <a:pt x="2711" y="18385"/>
                  </a:cubicBezTo>
                  <a:cubicBezTo>
                    <a:pt x="3399" y="18660"/>
                    <a:pt x="4233" y="18685"/>
                    <a:pt x="4421" y="18399"/>
                  </a:cubicBezTo>
                  <a:cubicBezTo>
                    <a:pt x="4694" y="18142"/>
                    <a:pt x="5744" y="18697"/>
                    <a:pt x="6732" y="19677"/>
                  </a:cubicBezTo>
                  <a:cubicBezTo>
                    <a:pt x="7787" y="20627"/>
                    <a:pt x="8989" y="21457"/>
                    <a:pt x="9503" y="21488"/>
                  </a:cubicBezTo>
                  <a:cubicBezTo>
                    <a:pt x="10018" y="21521"/>
                    <a:pt x="10866" y="20929"/>
                    <a:pt x="11066" y="20139"/>
                  </a:cubicBezTo>
                  <a:cubicBezTo>
                    <a:pt x="11460" y="19375"/>
                    <a:pt x="12035" y="18678"/>
                    <a:pt x="12456" y="18614"/>
                  </a:cubicBezTo>
                  <a:cubicBezTo>
                    <a:pt x="12883" y="18560"/>
                    <a:pt x="13564" y="18761"/>
                    <a:pt x="13978" y="19084"/>
                  </a:cubicBezTo>
                  <a:cubicBezTo>
                    <a:pt x="14319" y="19435"/>
                    <a:pt x="15254" y="19427"/>
                    <a:pt x="15935" y="19156"/>
                  </a:cubicBezTo>
                  <a:cubicBezTo>
                    <a:pt x="16583" y="18871"/>
                    <a:pt x="17551" y="18691"/>
                    <a:pt x="18059" y="18786"/>
                  </a:cubicBezTo>
                  <a:cubicBezTo>
                    <a:pt x="18573" y="18850"/>
                    <a:pt x="19529" y="18581"/>
                    <a:pt x="20303" y="18252"/>
                  </a:cubicBezTo>
                  <a:cubicBezTo>
                    <a:pt x="21045" y="17907"/>
                    <a:pt x="21519" y="17164"/>
                    <a:pt x="21519" y="16653"/>
                  </a:cubicBezTo>
                  <a:cubicBezTo>
                    <a:pt x="21519" y="16146"/>
                    <a:pt x="21251" y="14992"/>
                    <a:pt x="21345" y="14092"/>
                  </a:cubicBezTo>
                  <a:cubicBezTo>
                    <a:pt x="21245" y="13194"/>
                    <a:pt x="20797" y="12039"/>
                    <a:pt x="20156" y="11582"/>
                  </a:cubicBezTo>
                  <a:cubicBezTo>
                    <a:pt x="19642" y="11071"/>
                    <a:pt x="18988" y="10181"/>
                    <a:pt x="18894" y="9529"/>
                  </a:cubicBezTo>
                  <a:cubicBezTo>
                    <a:pt x="18794" y="8880"/>
                    <a:pt x="18841" y="7719"/>
                    <a:pt x="18841" y="6954"/>
                  </a:cubicBezTo>
                  <a:cubicBezTo>
                    <a:pt x="18841" y="6188"/>
                    <a:pt x="18901" y="5571"/>
                    <a:pt x="18821" y="5571"/>
                  </a:cubicBezTo>
                  <a:cubicBezTo>
                    <a:pt x="18740" y="5559"/>
                    <a:pt x="18426" y="4990"/>
                    <a:pt x="18025" y="4279"/>
                  </a:cubicBezTo>
                  <a:cubicBezTo>
                    <a:pt x="17732" y="3550"/>
                    <a:pt x="16991" y="2925"/>
                    <a:pt x="16523" y="2867"/>
                  </a:cubicBezTo>
                  <a:cubicBezTo>
                    <a:pt x="16056" y="2782"/>
                    <a:pt x="15228" y="2965"/>
                    <a:pt x="14813" y="3283"/>
                  </a:cubicBezTo>
                  <a:cubicBezTo>
                    <a:pt x="14293" y="3527"/>
                    <a:pt x="13604" y="3579"/>
                    <a:pt x="13284" y="3252"/>
                  </a:cubicBezTo>
                  <a:cubicBezTo>
                    <a:pt x="12970" y="2923"/>
                    <a:pt x="11841" y="2507"/>
                    <a:pt x="10906" y="2274"/>
                  </a:cubicBezTo>
                  <a:cubicBezTo>
                    <a:pt x="9951" y="2069"/>
                    <a:pt x="8976" y="1407"/>
                    <a:pt x="8775" y="852"/>
                  </a:cubicBezTo>
                  <a:cubicBezTo>
                    <a:pt x="8575" y="293"/>
                    <a:pt x="7853" y="-79"/>
                    <a:pt x="7253" y="14"/>
                  </a:cubicBezTo>
                  <a:cubicBezTo>
                    <a:pt x="6631" y="91"/>
                    <a:pt x="5416" y="896"/>
                    <a:pt x="4514" y="1760"/>
                  </a:cubicBezTo>
                  <a:cubicBezTo>
                    <a:pt x="3619" y="2625"/>
                    <a:pt x="2557" y="4479"/>
                    <a:pt x="2250" y="5888"/>
                  </a:cubicBezTo>
                  <a:cubicBezTo>
                    <a:pt x="1856" y="7282"/>
                    <a:pt x="1282" y="8658"/>
                    <a:pt x="934" y="8950"/>
                  </a:cubicBezTo>
                  <a:cubicBezTo>
                    <a:pt x="493" y="9196"/>
                    <a:pt x="132" y="10082"/>
                    <a:pt x="240" y="10827"/>
                  </a:cubicBezTo>
                  <a:cubicBezTo>
                    <a:pt x="139" y="11567"/>
                    <a:pt x="206" y="12625"/>
                    <a:pt x="19" y="13148"/>
                  </a:cubicBezTo>
                  <a:cubicBezTo>
                    <a:pt x="-81" y="13682"/>
                    <a:pt x="240" y="14958"/>
                    <a:pt x="640" y="16003"/>
                  </a:cubicBezTo>
                  <a:close/>
                  <a:moveTo>
                    <a:pt x="640" y="160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0" name="AutoShape 429"/>
            <p:cNvSpPr>
              <a:spLocks/>
            </p:cNvSpPr>
            <p:nvPr/>
          </p:nvSpPr>
          <p:spPr bwMode="auto">
            <a:xfrm>
              <a:off x="10236200" y="4102100"/>
              <a:ext cx="131763" cy="169863"/>
            </a:xfrm>
            <a:custGeom>
              <a:avLst/>
              <a:gdLst/>
              <a:ahLst/>
              <a:cxnLst/>
              <a:rect l="0" t="0" r="r" b="b"/>
              <a:pathLst>
                <a:path w="21548" h="21478">
                  <a:moveTo>
                    <a:pt x="505" y="3027"/>
                  </a:moveTo>
                  <a:cubicBezTo>
                    <a:pt x="475" y="3712"/>
                    <a:pt x="390" y="4620"/>
                    <a:pt x="420" y="5054"/>
                  </a:cubicBezTo>
                  <a:cubicBezTo>
                    <a:pt x="451" y="5484"/>
                    <a:pt x="317" y="6188"/>
                    <a:pt x="196" y="6630"/>
                  </a:cubicBezTo>
                  <a:cubicBezTo>
                    <a:pt x="21" y="7060"/>
                    <a:pt x="-52" y="7698"/>
                    <a:pt x="41" y="8023"/>
                  </a:cubicBezTo>
                  <a:cubicBezTo>
                    <a:pt x="71" y="8356"/>
                    <a:pt x="299" y="8654"/>
                    <a:pt x="471" y="8698"/>
                  </a:cubicBezTo>
                  <a:cubicBezTo>
                    <a:pt x="634" y="8749"/>
                    <a:pt x="892" y="8935"/>
                    <a:pt x="1042" y="9132"/>
                  </a:cubicBezTo>
                  <a:cubicBezTo>
                    <a:pt x="1191" y="9328"/>
                    <a:pt x="1419" y="9506"/>
                    <a:pt x="1558" y="9528"/>
                  </a:cubicBezTo>
                  <a:cubicBezTo>
                    <a:pt x="1698" y="9554"/>
                    <a:pt x="1942" y="9696"/>
                    <a:pt x="2071" y="9871"/>
                  </a:cubicBezTo>
                  <a:cubicBezTo>
                    <a:pt x="2238" y="10024"/>
                    <a:pt x="2575" y="10280"/>
                    <a:pt x="2829" y="10453"/>
                  </a:cubicBezTo>
                  <a:cubicBezTo>
                    <a:pt x="3112" y="10596"/>
                    <a:pt x="3614" y="11082"/>
                    <a:pt x="4004" y="11487"/>
                  </a:cubicBezTo>
                  <a:cubicBezTo>
                    <a:pt x="4365" y="11907"/>
                    <a:pt x="4889" y="12650"/>
                    <a:pt x="5132" y="13153"/>
                  </a:cubicBezTo>
                  <a:cubicBezTo>
                    <a:pt x="5372" y="13656"/>
                    <a:pt x="5832" y="14166"/>
                    <a:pt x="6120" y="14301"/>
                  </a:cubicBezTo>
                  <a:cubicBezTo>
                    <a:pt x="6391" y="14458"/>
                    <a:pt x="6748" y="14701"/>
                    <a:pt x="6921" y="14870"/>
                  </a:cubicBezTo>
                  <a:cubicBezTo>
                    <a:pt x="7053" y="15058"/>
                    <a:pt x="7353" y="15204"/>
                    <a:pt x="7553" y="15224"/>
                  </a:cubicBezTo>
                  <a:cubicBezTo>
                    <a:pt x="7753" y="15236"/>
                    <a:pt x="8118" y="15492"/>
                    <a:pt x="8376" y="15783"/>
                  </a:cubicBezTo>
                  <a:cubicBezTo>
                    <a:pt x="8616" y="16084"/>
                    <a:pt x="9131" y="16282"/>
                    <a:pt x="9490" y="16259"/>
                  </a:cubicBezTo>
                  <a:cubicBezTo>
                    <a:pt x="9847" y="16235"/>
                    <a:pt x="10204" y="16394"/>
                    <a:pt x="10378" y="16585"/>
                  </a:cubicBezTo>
                  <a:cubicBezTo>
                    <a:pt x="10501" y="16799"/>
                    <a:pt x="10905" y="16830"/>
                    <a:pt x="11264" y="16679"/>
                  </a:cubicBezTo>
                  <a:cubicBezTo>
                    <a:pt x="11619" y="16519"/>
                    <a:pt x="12194" y="16520"/>
                    <a:pt x="12523" y="16698"/>
                  </a:cubicBezTo>
                  <a:cubicBezTo>
                    <a:pt x="12862" y="16862"/>
                    <a:pt x="13170" y="17276"/>
                    <a:pt x="13231" y="17607"/>
                  </a:cubicBezTo>
                  <a:cubicBezTo>
                    <a:pt x="13289" y="17939"/>
                    <a:pt x="13497" y="18455"/>
                    <a:pt x="13677" y="18766"/>
                  </a:cubicBezTo>
                  <a:cubicBezTo>
                    <a:pt x="13859" y="19071"/>
                    <a:pt x="14321" y="19487"/>
                    <a:pt x="14694" y="19690"/>
                  </a:cubicBezTo>
                  <a:cubicBezTo>
                    <a:pt x="15055" y="19900"/>
                    <a:pt x="15460" y="19966"/>
                    <a:pt x="15578" y="19844"/>
                  </a:cubicBezTo>
                  <a:cubicBezTo>
                    <a:pt x="15691" y="19722"/>
                    <a:pt x="15981" y="19620"/>
                    <a:pt x="16211" y="19620"/>
                  </a:cubicBezTo>
                  <a:cubicBezTo>
                    <a:pt x="16441" y="19620"/>
                    <a:pt x="17111" y="19969"/>
                    <a:pt x="17688" y="20404"/>
                  </a:cubicBezTo>
                  <a:cubicBezTo>
                    <a:pt x="18257" y="20845"/>
                    <a:pt x="18848" y="21081"/>
                    <a:pt x="18980" y="20943"/>
                  </a:cubicBezTo>
                  <a:cubicBezTo>
                    <a:pt x="19101" y="20801"/>
                    <a:pt x="19436" y="20909"/>
                    <a:pt x="19671" y="21184"/>
                  </a:cubicBezTo>
                  <a:cubicBezTo>
                    <a:pt x="19922" y="21449"/>
                    <a:pt x="20438" y="21555"/>
                    <a:pt x="20820" y="21418"/>
                  </a:cubicBezTo>
                  <a:cubicBezTo>
                    <a:pt x="21199" y="21283"/>
                    <a:pt x="21548" y="20704"/>
                    <a:pt x="21548" y="20133"/>
                  </a:cubicBezTo>
                  <a:cubicBezTo>
                    <a:pt x="21548" y="19563"/>
                    <a:pt x="21479" y="18694"/>
                    <a:pt x="21330" y="18206"/>
                  </a:cubicBezTo>
                  <a:cubicBezTo>
                    <a:pt x="21183" y="17716"/>
                    <a:pt x="21120" y="16833"/>
                    <a:pt x="21120" y="16245"/>
                  </a:cubicBezTo>
                  <a:cubicBezTo>
                    <a:pt x="21120" y="15660"/>
                    <a:pt x="21062" y="14964"/>
                    <a:pt x="21062" y="14691"/>
                  </a:cubicBezTo>
                  <a:cubicBezTo>
                    <a:pt x="21005" y="14422"/>
                    <a:pt x="20870" y="14177"/>
                    <a:pt x="20753" y="14155"/>
                  </a:cubicBezTo>
                  <a:cubicBezTo>
                    <a:pt x="20638" y="14132"/>
                    <a:pt x="20404" y="14179"/>
                    <a:pt x="20245" y="14278"/>
                  </a:cubicBezTo>
                  <a:cubicBezTo>
                    <a:pt x="20071" y="14364"/>
                    <a:pt x="19883" y="14401"/>
                    <a:pt x="19821" y="14340"/>
                  </a:cubicBezTo>
                  <a:cubicBezTo>
                    <a:pt x="19756" y="14278"/>
                    <a:pt x="19559" y="14320"/>
                    <a:pt x="19421" y="14452"/>
                  </a:cubicBezTo>
                  <a:cubicBezTo>
                    <a:pt x="19252" y="14561"/>
                    <a:pt x="19054" y="14617"/>
                    <a:pt x="18935" y="14560"/>
                  </a:cubicBezTo>
                  <a:cubicBezTo>
                    <a:pt x="18818" y="14504"/>
                    <a:pt x="18614" y="14158"/>
                    <a:pt x="18461" y="13806"/>
                  </a:cubicBezTo>
                  <a:cubicBezTo>
                    <a:pt x="18283" y="13461"/>
                    <a:pt x="18017" y="13042"/>
                    <a:pt x="17831" y="12874"/>
                  </a:cubicBezTo>
                  <a:cubicBezTo>
                    <a:pt x="17644" y="12704"/>
                    <a:pt x="17430" y="12336"/>
                    <a:pt x="17367" y="12035"/>
                  </a:cubicBezTo>
                  <a:cubicBezTo>
                    <a:pt x="17309" y="11736"/>
                    <a:pt x="17147" y="11341"/>
                    <a:pt x="16962" y="11186"/>
                  </a:cubicBezTo>
                  <a:cubicBezTo>
                    <a:pt x="16784" y="11024"/>
                    <a:pt x="16453" y="10816"/>
                    <a:pt x="16201" y="10743"/>
                  </a:cubicBezTo>
                  <a:cubicBezTo>
                    <a:pt x="15945" y="10677"/>
                    <a:pt x="15678" y="10809"/>
                    <a:pt x="15555" y="11047"/>
                  </a:cubicBezTo>
                  <a:cubicBezTo>
                    <a:pt x="15460" y="11291"/>
                    <a:pt x="15243" y="11537"/>
                    <a:pt x="15109" y="11615"/>
                  </a:cubicBezTo>
                  <a:cubicBezTo>
                    <a:pt x="14966" y="11681"/>
                    <a:pt x="14782" y="11843"/>
                    <a:pt x="14720" y="11975"/>
                  </a:cubicBezTo>
                  <a:cubicBezTo>
                    <a:pt x="14625" y="12097"/>
                    <a:pt x="14413" y="12064"/>
                    <a:pt x="14224" y="11869"/>
                  </a:cubicBezTo>
                  <a:cubicBezTo>
                    <a:pt x="14024" y="11681"/>
                    <a:pt x="13757" y="11540"/>
                    <a:pt x="13657" y="11591"/>
                  </a:cubicBezTo>
                  <a:cubicBezTo>
                    <a:pt x="13546" y="11624"/>
                    <a:pt x="13372" y="11415"/>
                    <a:pt x="13283" y="11115"/>
                  </a:cubicBezTo>
                  <a:cubicBezTo>
                    <a:pt x="13166" y="10823"/>
                    <a:pt x="13124" y="10152"/>
                    <a:pt x="13124" y="9635"/>
                  </a:cubicBezTo>
                  <a:cubicBezTo>
                    <a:pt x="13124" y="9121"/>
                    <a:pt x="12991" y="8654"/>
                    <a:pt x="12819" y="8588"/>
                  </a:cubicBezTo>
                  <a:cubicBezTo>
                    <a:pt x="12642" y="8531"/>
                    <a:pt x="12317" y="8537"/>
                    <a:pt x="12117" y="8640"/>
                  </a:cubicBezTo>
                  <a:cubicBezTo>
                    <a:pt x="11907" y="8733"/>
                    <a:pt x="11564" y="8572"/>
                    <a:pt x="11389" y="8278"/>
                  </a:cubicBezTo>
                  <a:cubicBezTo>
                    <a:pt x="11207" y="7986"/>
                    <a:pt x="10999" y="7467"/>
                    <a:pt x="10969" y="7117"/>
                  </a:cubicBezTo>
                  <a:cubicBezTo>
                    <a:pt x="10937" y="6767"/>
                    <a:pt x="10731" y="6350"/>
                    <a:pt x="10606" y="6157"/>
                  </a:cubicBezTo>
                  <a:cubicBezTo>
                    <a:pt x="10432" y="5989"/>
                    <a:pt x="10198" y="5822"/>
                    <a:pt x="10051" y="5807"/>
                  </a:cubicBezTo>
                  <a:cubicBezTo>
                    <a:pt x="9904" y="5799"/>
                    <a:pt x="9730" y="5690"/>
                    <a:pt x="9676" y="5574"/>
                  </a:cubicBezTo>
                  <a:cubicBezTo>
                    <a:pt x="9617" y="5461"/>
                    <a:pt x="9500" y="5469"/>
                    <a:pt x="9440" y="5602"/>
                  </a:cubicBezTo>
                  <a:cubicBezTo>
                    <a:pt x="9345" y="5724"/>
                    <a:pt x="9324" y="6146"/>
                    <a:pt x="9324" y="6519"/>
                  </a:cubicBezTo>
                  <a:cubicBezTo>
                    <a:pt x="9355" y="6895"/>
                    <a:pt x="9294" y="7249"/>
                    <a:pt x="9216" y="7289"/>
                  </a:cubicBezTo>
                  <a:cubicBezTo>
                    <a:pt x="9133" y="7321"/>
                    <a:pt x="9008" y="7152"/>
                    <a:pt x="8945" y="6866"/>
                  </a:cubicBezTo>
                  <a:cubicBezTo>
                    <a:pt x="8861" y="6587"/>
                    <a:pt x="8659" y="6135"/>
                    <a:pt x="8536" y="5849"/>
                  </a:cubicBezTo>
                  <a:cubicBezTo>
                    <a:pt x="8362" y="5579"/>
                    <a:pt x="8203" y="5204"/>
                    <a:pt x="8144" y="5032"/>
                  </a:cubicBezTo>
                  <a:cubicBezTo>
                    <a:pt x="8086" y="4861"/>
                    <a:pt x="7876" y="4604"/>
                    <a:pt x="7718" y="4446"/>
                  </a:cubicBezTo>
                  <a:cubicBezTo>
                    <a:pt x="7537" y="4304"/>
                    <a:pt x="7281" y="4153"/>
                    <a:pt x="7115" y="4121"/>
                  </a:cubicBezTo>
                  <a:cubicBezTo>
                    <a:pt x="6946" y="4088"/>
                    <a:pt x="6627" y="3726"/>
                    <a:pt x="6362" y="3317"/>
                  </a:cubicBezTo>
                  <a:cubicBezTo>
                    <a:pt x="6149" y="2889"/>
                    <a:pt x="5824" y="2431"/>
                    <a:pt x="5699" y="2284"/>
                  </a:cubicBezTo>
                  <a:cubicBezTo>
                    <a:pt x="5559" y="2144"/>
                    <a:pt x="5333" y="1977"/>
                    <a:pt x="5156" y="1948"/>
                  </a:cubicBezTo>
                  <a:cubicBezTo>
                    <a:pt x="4978" y="1906"/>
                    <a:pt x="4738" y="1777"/>
                    <a:pt x="4678" y="1634"/>
                  </a:cubicBezTo>
                  <a:cubicBezTo>
                    <a:pt x="4589" y="1498"/>
                    <a:pt x="4276" y="1229"/>
                    <a:pt x="4002" y="1016"/>
                  </a:cubicBezTo>
                  <a:cubicBezTo>
                    <a:pt x="3711" y="814"/>
                    <a:pt x="3324" y="636"/>
                    <a:pt x="3144" y="664"/>
                  </a:cubicBezTo>
                  <a:cubicBezTo>
                    <a:pt x="2963" y="676"/>
                    <a:pt x="2735" y="861"/>
                    <a:pt x="2672" y="1087"/>
                  </a:cubicBezTo>
                  <a:cubicBezTo>
                    <a:pt x="2587" y="1309"/>
                    <a:pt x="2448" y="1443"/>
                    <a:pt x="2377" y="1359"/>
                  </a:cubicBezTo>
                  <a:cubicBezTo>
                    <a:pt x="2287" y="1289"/>
                    <a:pt x="2095" y="1218"/>
                    <a:pt x="1942" y="1218"/>
                  </a:cubicBezTo>
                  <a:cubicBezTo>
                    <a:pt x="1788" y="1218"/>
                    <a:pt x="1633" y="1083"/>
                    <a:pt x="1544" y="945"/>
                  </a:cubicBezTo>
                  <a:cubicBezTo>
                    <a:pt x="1479" y="798"/>
                    <a:pt x="1215" y="507"/>
                    <a:pt x="985" y="284"/>
                  </a:cubicBezTo>
                  <a:cubicBezTo>
                    <a:pt x="747" y="64"/>
                    <a:pt x="547" y="-45"/>
                    <a:pt x="495" y="18"/>
                  </a:cubicBezTo>
                  <a:cubicBezTo>
                    <a:pt x="495" y="93"/>
                    <a:pt x="485" y="518"/>
                    <a:pt x="545" y="968"/>
                  </a:cubicBezTo>
                  <a:cubicBezTo>
                    <a:pt x="604" y="1419"/>
                    <a:pt x="624" y="2349"/>
                    <a:pt x="505" y="3027"/>
                  </a:cubicBezTo>
                  <a:close/>
                  <a:moveTo>
                    <a:pt x="505" y="30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1" name="AutoShape 430"/>
            <p:cNvSpPr>
              <a:spLocks/>
            </p:cNvSpPr>
            <p:nvPr/>
          </p:nvSpPr>
          <p:spPr bwMode="auto">
            <a:xfrm>
              <a:off x="10134600" y="4013200"/>
              <a:ext cx="0" cy="0"/>
            </a:xfrm>
            <a:custGeom>
              <a:avLst/>
              <a:gdLst/>
              <a:ahLst/>
              <a:cxnLst/>
              <a:rect l="0" t="0" r="r" b="b"/>
              <a:pathLst>
                <a:path w="21600" h="16926">
                  <a:moveTo>
                    <a:pt x="21600" y="0"/>
                  </a:moveTo>
                  <a:cubicBezTo>
                    <a:pt x="13800" y="13855"/>
                    <a:pt x="6000" y="21600"/>
                    <a:pt x="0" y="13855"/>
                  </a:cubicBezTo>
                  <a:cubicBezTo>
                    <a:pt x="5400" y="20782"/>
                    <a:pt x="13200" y="14673"/>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2" name="AutoShape 431"/>
            <p:cNvSpPr>
              <a:spLocks/>
            </p:cNvSpPr>
            <p:nvPr/>
          </p:nvSpPr>
          <p:spPr bwMode="auto">
            <a:xfrm>
              <a:off x="10566400" y="3670300"/>
              <a:ext cx="31750" cy="204788"/>
            </a:xfrm>
            <a:custGeom>
              <a:avLst/>
              <a:gdLst/>
              <a:ahLst/>
              <a:cxnLst/>
              <a:rect l="0" t="0" r="r" b="b"/>
              <a:pathLst>
                <a:path w="21600" h="21549">
                  <a:moveTo>
                    <a:pt x="3297" y="2063"/>
                  </a:moveTo>
                  <a:cubicBezTo>
                    <a:pt x="3297" y="2063"/>
                    <a:pt x="3297" y="2048"/>
                    <a:pt x="3304" y="2041"/>
                  </a:cubicBezTo>
                  <a:cubicBezTo>
                    <a:pt x="3256" y="2012"/>
                    <a:pt x="3215" y="1982"/>
                    <a:pt x="3165" y="1953"/>
                  </a:cubicBezTo>
                  <a:cubicBezTo>
                    <a:pt x="2927" y="1763"/>
                    <a:pt x="2542" y="1595"/>
                    <a:pt x="2427" y="1522"/>
                  </a:cubicBezTo>
                  <a:cubicBezTo>
                    <a:pt x="2099" y="1426"/>
                    <a:pt x="1910" y="1263"/>
                    <a:pt x="1788" y="1171"/>
                  </a:cubicBezTo>
                  <a:cubicBezTo>
                    <a:pt x="1673" y="1081"/>
                    <a:pt x="1304" y="886"/>
                    <a:pt x="1180" y="731"/>
                  </a:cubicBezTo>
                  <a:cubicBezTo>
                    <a:pt x="934" y="580"/>
                    <a:pt x="664" y="342"/>
                    <a:pt x="418" y="207"/>
                  </a:cubicBezTo>
                  <a:cubicBezTo>
                    <a:pt x="172" y="73"/>
                    <a:pt x="0" y="-20"/>
                    <a:pt x="0" y="3"/>
                  </a:cubicBezTo>
                  <a:cubicBezTo>
                    <a:pt x="0" y="26"/>
                    <a:pt x="131" y="181"/>
                    <a:pt x="369" y="343"/>
                  </a:cubicBezTo>
                  <a:cubicBezTo>
                    <a:pt x="615" y="506"/>
                    <a:pt x="861" y="766"/>
                    <a:pt x="1098" y="914"/>
                  </a:cubicBezTo>
                  <a:cubicBezTo>
                    <a:pt x="1353" y="1063"/>
                    <a:pt x="1623" y="1286"/>
                    <a:pt x="1755" y="1408"/>
                  </a:cubicBezTo>
                  <a:cubicBezTo>
                    <a:pt x="1886" y="1528"/>
                    <a:pt x="2206" y="1733"/>
                    <a:pt x="2337" y="1865"/>
                  </a:cubicBezTo>
                  <a:cubicBezTo>
                    <a:pt x="2460" y="1996"/>
                    <a:pt x="2468" y="2102"/>
                    <a:pt x="2468" y="2088"/>
                  </a:cubicBezTo>
                  <a:cubicBezTo>
                    <a:pt x="2387" y="2085"/>
                    <a:pt x="2460" y="2187"/>
                    <a:pt x="2574" y="2327"/>
                  </a:cubicBezTo>
                  <a:cubicBezTo>
                    <a:pt x="2698" y="2467"/>
                    <a:pt x="2944" y="2720"/>
                    <a:pt x="3182" y="2883"/>
                  </a:cubicBezTo>
                  <a:cubicBezTo>
                    <a:pt x="3304" y="3049"/>
                    <a:pt x="3493" y="3337"/>
                    <a:pt x="3739" y="3517"/>
                  </a:cubicBezTo>
                  <a:cubicBezTo>
                    <a:pt x="3739" y="3702"/>
                    <a:pt x="3756" y="3849"/>
                    <a:pt x="3756" y="3829"/>
                  </a:cubicBezTo>
                  <a:cubicBezTo>
                    <a:pt x="3657" y="3821"/>
                    <a:pt x="3608" y="3851"/>
                    <a:pt x="3608" y="3903"/>
                  </a:cubicBezTo>
                  <a:cubicBezTo>
                    <a:pt x="3608" y="3955"/>
                    <a:pt x="3821" y="4123"/>
                    <a:pt x="4083" y="4276"/>
                  </a:cubicBezTo>
                  <a:cubicBezTo>
                    <a:pt x="4329" y="4430"/>
                    <a:pt x="4764" y="4719"/>
                    <a:pt x="5117" y="4915"/>
                  </a:cubicBezTo>
                  <a:cubicBezTo>
                    <a:pt x="5371" y="5114"/>
                    <a:pt x="5937" y="5364"/>
                    <a:pt x="5937" y="5479"/>
                  </a:cubicBezTo>
                  <a:cubicBezTo>
                    <a:pt x="6167" y="5589"/>
                    <a:pt x="6273" y="5842"/>
                    <a:pt x="6519" y="6032"/>
                  </a:cubicBezTo>
                  <a:cubicBezTo>
                    <a:pt x="6765" y="6223"/>
                    <a:pt x="6782" y="6318"/>
                    <a:pt x="6544" y="6253"/>
                  </a:cubicBezTo>
                  <a:cubicBezTo>
                    <a:pt x="6413" y="6180"/>
                    <a:pt x="6052" y="6110"/>
                    <a:pt x="5921" y="6079"/>
                  </a:cubicBezTo>
                  <a:cubicBezTo>
                    <a:pt x="5789" y="6048"/>
                    <a:pt x="5486" y="5951"/>
                    <a:pt x="5248" y="5855"/>
                  </a:cubicBezTo>
                  <a:cubicBezTo>
                    <a:pt x="5010" y="5760"/>
                    <a:pt x="4839" y="5701"/>
                    <a:pt x="4839" y="5732"/>
                  </a:cubicBezTo>
                  <a:cubicBezTo>
                    <a:pt x="4732" y="5758"/>
                    <a:pt x="4559" y="5691"/>
                    <a:pt x="4428" y="5567"/>
                  </a:cubicBezTo>
                  <a:cubicBezTo>
                    <a:pt x="4190" y="5447"/>
                    <a:pt x="4002" y="5267"/>
                    <a:pt x="3756" y="5182"/>
                  </a:cubicBezTo>
                  <a:cubicBezTo>
                    <a:pt x="3756" y="5089"/>
                    <a:pt x="3256" y="4808"/>
                    <a:pt x="2779" y="4563"/>
                  </a:cubicBezTo>
                  <a:cubicBezTo>
                    <a:pt x="2518" y="4308"/>
                    <a:pt x="2288" y="4229"/>
                    <a:pt x="2288" y="4381"/>
                  </a:cubicBezTo>
                  <a:cubicBezTo>
                    <a:pt x="2518" y="4528"/>
                    <a:pt x="2772" y="4864"/>
                    <a:pt x="3018" y="5121"/>
                  </a:cubicBezTo>
                  <a:cubicBezTo>
                    <a:pt x="3264" y="5378"/>
                    <a:pt x="3510" y="5658"/>
                    <a:pt x="3739" y="5733"/>
                  </a:cubicBezTo>
                  <a:cubicBezTo>
                    <a:pt x="3739" y="5815"/>
                    <a:pt x="4002" y="5980"/>
                    <a:pt x="4117" y="6102"/>
                  </a:cubicBezTo>
                  <a:cubicBezTo>
                    <a:pt x="4247" y="6223"/>
                    <a:pt x="4584" y="6619"/>
                    <a:pt x="4945" y="6979"/>
                  </a:cubicBezTo>
                  <a:cubicBezTo>
                    <a:pt x="5314" y="7338"/>
                    <a:pt x="5609" y="7671"/>
                    <a:pt x="5510" y="7709"/>
                  </a:cubicBezTo>
                  <a:cubicBezTo>
                    <a:pt x="5609" y="7747"/>
                    <a:pt x="5551" y="7977"/>
                    <a:pt x="5797" y="8212"/>
                  </a:cubicBezTo>
                  <a:cubicBezTo>
                    <a:pt x="5921" y="8449"/>
                    <a:pt x="6134" y="8722"/>
                    <a:pt x="6134" y="8823"/>
                  </a:cubicBezTo>
                  <a:cubicBezTo>
                    <a:pt x="6134" y="8923"/>
                    <a:pt x="6273" y="9115"/>
                    <a:pt x="6396" y="9252"/>
                  </a:cubicBezTo>
                  <a:cubicBezTo>
                    <a:pt x="6527" y="9389"/>
                    <a:pt x="6831" y="9654"/>
                    <a:pt x="6945" y="9843"/>
                  </a:cubicBezTo>
                  <a:cubicBezTo>
                    <a:pt x="7069" y="10033"/>
                    <a:pt x="7274" y="10297"/>
                    <a:pt x="7274" y="10434"/>
                  </a:cubicBezTo>
                  <a:cubicBezTo>
                    <a:pt x="7389" y="10567"/>
                    <a:pt x="7716" y="11052"/>
                    <a:pt x="8200" y="11506"/>
                  </a:cubicBezTo>
                  <a:cubicBezTo>
                    <a:pt x="8578" y="11826"/>
                    <a:pt x="8799" y="12125"/>
                    <a:pt x="9053" y="12294"/>
                  </a:cubicBezTo>
                  <a:cubicBezTo>
                    <a:pt x="9053" y="12368"/>
                    <a:pt x="9217" y="12422"/>
                    <a:pt x="9217" y="12439"/>
                  </a:cubicBezTo>
                  <a:cubicBezTo>
                    <a:pt x="9217" y="12499"/>
                    <a:pt x="9365" y="12536"/>
                    <a:pt x="9365" y="12523"/>
                  </a:cubicBezTo>
                  <a:cubicBezTo>
                    <a:pt x="9430" y="12518"/>
                    <a:pt x="9759" y="12739"/>
                    <a:pt x="10020" y="13036"/>
                  </a:cubicBezTo>
                  <a:cubicBezTo>
                    <a:pt x="10390" y="13328"/>
                    <a:pt x="10660" y="13521"/>
                    <a:pt x="10660" y="13462"/>
                  </a:cubicBezTo>
                  <a:cubicBezTo>
                    <a:pt x="10660" y="13403"/>
                    <a:pt x="10579" y="13258"/>
                    <a:pt x="10472" y="13141"/>
                  </a:cubicBezTo>
                  <a:cubicBezTo>
                    <a:pt x="10340" y="13023"/>
                    <a:pt x="10440" y="13028"/>
                    <a:pt x="10677" y="13152"/>
                  </a:cubicBezTo>
                  <a:cubicBezTo>
                    <a:pt x="10939" y="13275"/>
                    <a:pt x="11276" y="13470"/>
                    <a:pt x="11382" y="13584"/>
                  </a:cubicBezTo>
                  <a:cubicBezTo>
                    <a:pt x="11636" y="13694"/>
                    <a:pt x="11800" y="13796"/>
                    <a:pt x="11956" y="13802"/>
                  </a:cubicBezTo>
                  <a:cubicBezTo>
                    <a:pt x="12095" y="13814"/>
                    <a:pt x="12137" y="13737"/>
                    <a:pt x="12137" y="13644"/>
                  </a:cubicBezTo>
                  <a:cubicBezTo>
                    <a:pt x="12137" y="13550"/>
                    <a:pt x="12153" y="13472"/>
                    <a:pt x="12153" y="13483"/>
                  </a:cubicBezTo>
                  <a:cubicBezTo>
                    <a:pt x="12219" y="13483"/>
                    <a:pt x="12226" y="13603"/>
                    <a:pt x="12472" y="13728"/>
                  </a:cubicBezTo>
                  <a:cubicBezTo>
                    <a:pt x="12472" y="13859"/>
                    <a:pt x="12546" y="14012"/>
                    <a:pt x="12670" y="14062"/>
                  </a:cubicBezTo>
                  <a:cubicBezTo>
                    <a:pt x="12563" y="14113"/>
                    <a:pt x="12735" y="14301"/>
                    <a:pt x="13071" y="14462"/>
                  </a:cubicBezTo>
                  <a:cubicBezTo>
                    <a:pt x="13317" y="14627"/>
                    <a:pt x="13564" y="14993"/>
                    <a:pt x="13809" y="15271"/>
                  </a:cubicBezTo>
                  <a:cubicBezTo>
                    <a:pt x="13809" y="15553"/>
                    <a:pt x="14465" y="16090"/>
                    <a:pt x="14826" y="16469"/>
                  </a:cubicBezTo>
                  <a:cubicBezTo>
                    <a:pt x="15310" y="16845"/>
                    <a:pt x="15573" y="17221"/>
                    <a:pt x="15704" y="17294"/>
                  </a:cubicBezTo>
                  <a:cubicBezTo>
                    <a:pt x="15704" y="17369"/>
                    <a:pt x="16065" y="17470"/>
                    <a:pt x="16286" y="17522"/>
                  </a:cubicBezTo>
                  <a:cubicBezTo>
                    <a:pt x="16409" y="17580"/>
                    <a:pt x="16614" y="17569"/>
                    <a:pt x="16729" y="17518"/>
                  </a:cubicBezTo>
                  <a:cubicBezTo>
                    <a:pt x="16729" y="17464"/>
                    <a:pt x="16851" y="17526"/>
                    <a:pt x="16851" y="17657"/>
                  </a:cubicBezTo>
                  <a:cubicBezTo>
                    <a:pt x="17089" y="17780"/>
                    <a:pt x="16819" y="17877"/>
                    <a:pt x="16688" y="17867"/>
                  </a:cubicBezTo>
                  <a:cubicBezTo>
                    <a:pt x="16540" y="17861"/>
                    <a:pt x="16581" y="18010"/>
                    <a:pt x="16704" y="18214"/>
                  </a:cubicBezTo>
                  <a:cubicBezTo>
                    <a:pt x="16819" y="18420"/>
                    <a:pt x="17262" y="18855"/>
                    <a:pt x="17508" y="19185"/>
                  </a:cubicBezTo>
                  <a:cubicBezTo>
                    <a:pt x="17877" y="19513"/>
                    <a:pt x="18132" y="19896"/>
                    <a:pt x="18254" y="20034"/>
                  </a:cubicBezTo>
                  <a:cubicBezTo>
                    <a:pt x="18369" y="20171"/>
                    <a:pt x="18402" y="20318"/>
                    <a:pt x="18565" y="20337"/>
                  </a:cubicBezTo>
                  <a:cubicBezTo>
                    <a:pt x="18565" y="20368"/>
                    <a:pt x="18623" y="20339"/>
                    <a:pt x="18738" y="20284"/>
                  </a:cubicBezTo>
                  <a:cubicBezTo>
                    <a:pt x="18738" y="20227"/>
                    <a:pt x="18968" y="20247"/>
                    <a:pt x="19099" y="20334"/>
                  </a:cubicBezTo>
                  <a:cubicBezTo>
                    <a:pt x="19320" y="20415"/>
                    <a:pt x="19369" y="20660"/>
                    <a:pt x="19615" y="20864"/>
                  </a:cubicBezTo>
                  <a:cubicBezTo>
                    <a:pt x="19615" y="21072"/>
                    <a:pt x="19820" y="21342"/>
                    <a:pt x="20083" y="21454"/>
                  </a:cubicBezTo>
                  <a:cubicBezTo>
                    <a:pt x="20083" y="21574"/>
                    <a:pt x="20329" y="21580"/>
                    <a:pt x="20329" y="21472"/>
                  </a:cubicBezTo>
                  <a:cubicBezTo>
                    <a:pt x="20214" y="21364"/>
                    <a:pt x="20304" y="21346"/>
                    <a:pt x="20534" y="21420"/>
                  </a:cubicBezTo>
                  <a:cubicBezTo>
                    <a:pt x="20534" y="21502"/>
                    <a:pt x="20747" y="21429"/>
                    <a:pt x="20632" y="21265"/>
                  </a:cubicBezTo>
                  <a:cubicBezTo>
                    <a:pt x="20632" y="21100"/>
                    <a:pt x="20534" y="20886"/>
                    <a:pt x="20304" y="20803"/>
                  </a:cubicBezTo>
                  <a:cubicBezTo>
                    <a:pt x="20304" y="20711"/>
                    <a:pt x="20231" y="20598"/>
                    <a:pt x="20116" y="20556"/>
                  </a:cubicBezTo>
                  <a:cubicBezTo>
                    <a:pt x="20116" y="20509"/>
                    <a:pt x="20419" y="20646"/>
                    <a:pt x="20665" y="20866"/>
                  </a:cubicBezTo>
                  <a:cubicBezTo>
                    <a:pt x="20902" y="21085"/>
                    <a:pt x="20960" y="21121"/>
                    <a:pt x="20960" y="20949"/>
                  </a:cubicBezTo>
                  <a:cubicBezTo>
                    <a:pt x="20730" y="20781"/>
                    <a:pt x="20599" y="20472"/>
                    <a:pt x="20599" y="20269"/>
                  </a:cubicBezTo>
                  <a:cubicBezTo>
                    <a:pt x="20599" y="20066"/>
                    <a:pt x="20558" y="19878"/>
                    <a:pt x="20665" y="19852"/>
                  </a:cubicBezTo>
                  <a:cubicBezTo>
                    <a:pt x="20665" y="19821"/>
                    <a:pt x="20747" y="19636"/>
                    <a:pt x="20747" y="19429"/>
                  </a:cubicBezTo>
                  <a:cubicBezTo>
                    <a:pt x="20747" y="19224"/>
                    <a:pt x="20854" y="19089"/>
                    <a:pt x="21141" y="19127"/>
                  </a:cubicBezTo>
                  <a:cubicBezTo>
                    <a:pt x="21272" y="19181"/>
                    <a:pt x="21600" y="19071"/>
                    <a:pt x="21600" y="18920"/>
                  </a:cubicBezTo>
                  <a:cubicBezTo>
                    <a:pt x="21477" y="18769"/>
                    <a:pt x="21394" y="18495"/>
                    <a:pt x="21157" y="18312"/>
                  </a:cubicBezTo>
                  <a:cubicBezTo>
                    <a:pt x="20919" y="18129"/>
                    <a:pt x="20288" y="17634"/>
                    <a:pt x="19566" y="17217"/>
                  </a:cubicBezTo>
                  <a:cubicBezTo>
                    <a:pt x="18951" y="16795"/>
                    <a:pt x="18278" y="16334"/>
                    <a:pt x="18025" y="16194"/>
                  </a:cubicBezTo>
                  <a:cubicBezTo>
                    <a:pt x="18025" y="16049"/>
                    <a:pt x="17548" y="15852"/>
                    <a:pt x="17278" y="15756"/>
                  </a:cubicBezTo>
                  <a:cubicBezTo>
                    <a:pt x="17032" y="15657"/>
                    <a:pt x="16671" y="15400"/>
                    <a:pt x="16417" y="15187"/>
                  </a:cubicBezTo>
                  <a:cubicBezTo>
                    <a:pt x="16171" y="14972"/>
                    <a:pt x="15908" y="14741"/>
                    <a:pt x="15908" y="14671"/>
                  </a:cubicBezTo>
                  <a:cubicBezTo>
                    <a:pt x="15908" y="14601"/>
                    <a:pt x="15679" y="14391"/>
                    <a:pt x="15441" y="14206"/>
                  </a:cubicBezTo>
                  <a:cubicBezTo>
                    <a:pt x="15203" y="14020"/>
                    <a:pt x="14908" y="13708"/>
                    <a:pt x="14662" y="13515"/>
                  </a:cubicBezTo>
                  <a:cubicBezTo>
                    <a:pt x="14416" y="13321"/>
                    <a:pt x="14408" y="13083"/>
                    <a:pt x="14277" y="12990"/>
                  </a:cubicBezTo>
                  <a:cubicBezTo>
                    <a:pt x="14277" y="12896"/>
                    <a:pt x="14121" y="12689"/>
                    <a:pt x="13998" y="12529"/>
                  </a:cubicBezTo>
                  <a:cubicBezTo>
                    <a:pt x="13892" y="12371"/>
                    <a:pt x="13728" y="12181"/>
                    <a:pt x="13728" y="12109"/>
                  </a:cubicBezTo>
                  <a:cubicBezTo>
                    <a:pt x="13613" y="12038"/>
                    <a:pt x="13776" y="12002"/>
                    <a:pt x="13883" y="12035"/>
                  </a:cubicBezTo>
                  <a:cubicBezTo>
                    <a:pt x="13990" y="12069"/>
                    <a:pt x="13948" y="12034"/>
                    <a:pt x="13948" y="11958"/>
                  </a:cubicBezTo>
                  <a:cubicBezTo>
                    <a:pt x="13818" y="11885"/>
                    <a:pt x="13859" y="11754"/>
                    <a:pt x="13752" y="11676"/>
                  </a:cubicBezTo>
                  <a:cubicBezTo>
                    <a:pt x="13875" y="11599"/>
                    <a:pt x="13621" y="11427"/>
                    <a:pt x="13391" y="11305"/>
                  </a:cubicBezTo>
                  <a:cubicBezTo>
                    <a:pt x="13268" y="11179"/>
                    <a:pt x="12964" y="10804"/>
                    <a:pt x="12711" y="10473"/>
                  </a:cubicBezTo>
                  <a:cubicBezTo>
                    <a:pt x="12465" y="10142"/>
                    <a:pt x="12260" y="9815"/>
                    <a:pt x="12145" y="9751"/>
                  </a:cubicBezTo>
                  <a:cubicBezTo>
                    <a:pt x="12030" y="9687"/>
                    <a:pt x="11841" y="9524"/>
                    <a:pt x="11841" y="9392"/>
                  </a:cubicBezTo>
                  <a:cubicBezTo>
                    <a:pt x="11727" y="9261"/>
                    <a:pt x="11628" y="9014"/>
                    <a:pt x="11399" y="8847"/>
                  </a:cubicBezTo>
                  <a:cubicBezTo>
                    <a:pt x="11399" y="8679"/>
                    <a:pt x="11021" y="8447"/>
                    <a:pt x="10775" y="8337"/>
                  </a:cubicBezTo>
                  <a:cubicBezTo>
                    <a:pt x="10652" y="8220"/>
                    <a:pt x="9972" y="7804"/>
                    <a:pt x="9595" y="7403"/>
                  </a:cubicBezTo>
                  <a:cubicBezTo>
                    <a:pt x="9094" y="7005"/>
                    <a:pt x="8561" y="6554"/>
                    <a:pt x="8315" y="6406"/>
                  </a:cubicBezTo>
                  <a:cubicBezTo>
                    <a:pt x="8062" y="6255"/>
                    <a:pt x="7635" y="5952"/>
                    <a:pt x="7389" y="5730"/>
                  </a:cubicBezTo>
                  <a:cubicBezTo>
                    <a:pt x="7151" y="5508"/>
                    <a:pt x="6560" y="5035"/>
                    <a:pt x="6183" y="4675"/>
                  </a:cubicBezTo>
                  <a:cubicBezTo>
                    <a:pt x="5814" y="4316"/>
                    <a:pt x="5297" y="3874"/>
                    <a:pt x="5043" y="3692"/>
                  </a:cubicBezTo>
                  <a:cubicBezTo>
                    <a:pt x="4813" y="3510"/>
                    <a:pt x="4674" y="3392"/>
                    <a:pt x="4780" y="3425"/>
                  </a:cubicBezTo>
                  <a:cubicBezTo>
                    <a:pt x="4879" y="3458"/>
                    <a:pt x="4813" y="3303"/>
                    <a:pt x="4567" y="3078"/>
                  </a:cubicBezTo>
                  <a:cubicBezTo>
                    <a:pt x="4329" y="2854"/>
                    <a:pt x="4297" y="2684"/>
                    <a:pt x="4240" y="2684"/>
                  </a:cubicBezTo>
                  <a:cubicBezTo>
                    <a:pt x="4240" y="2688"/>
                    <a:pt x="4174" y="2642"/>
                    <a:pt x="4067" y="2570"/>
                  </a:cubicBezTo>
                  <a:cubicBezTo>
                    <a:pt x="3953" y="2512"/>
                    <a:pt x="3796" y="2431"/>
                    <a:pt x="3707" y="2329"/>
                  </a:cubicBezTo>
                  <a:cubicBezTo>
                    <a:pt x="3469" y="2185"/>
                    <a:pt x="3304" y="2063"/>
                    <a:pt x="3297" y="2063"/>
                  </a:cubicBezTo>
                  <a:close/>
                  <a:moveTo>
                    <a:pt x="3297" y="20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3" name="AutoShape 432"/>
            <p:cNvSpPr>
              <a:spLocks/>
            </p:cNvSpPr>
            <p:nvPr/>
          </p:nvSpPr>
          <p:spPr bwMode="auto">
            <a:xfrm>
              <a:off x="10566400" y="3683000"/>
              <a:ext cx="0" cy="4763"/>
            </a:xfrm>
            <a:custGeom>
              <a:avLst/>
              <a:gdLst/>
              <a:ahLst/>
              <a:cxnLst/>
              <a:rect l="0" t="0" r="r" b="b"/>
              <a:pathLst>
                <a:path w="21600" h="21600">
                  <a:moveTo>
                    <a:pt x="215" y="0"/>
                  </a:moveTo>
                  <a:cubicBezTo>
                    <a:pt x="0" y="290"/>
                    <a:pt x="0" y="879"/>
                    <a:pt x="0" y="879"/>
                  </a:cubicBezTo>
                  <a:cubicBezTo>
                    <a:pt x="215" y="879"/>
                    <a:pt x="4826" y="5858"/>
                    <a:pt x="11489" y="11744"/>
                  </a:cubicBezTo>
                  <a:cubicBezTo>
                    <a:pt x="14003" y="15927"/>
                    <a:pt x="18383" y="19255"/>
                    <a:pt x="21600" y="21600"/>
                  </a:cubicBezTo>
                  <a:cubicBezTo>
                    <a:pt x="17909" y="18028"/>
                    <a:pt x="12868" y="12781"/>
                    <a:pt x="7109" y="6682"/>
                  </a:cubicBezTo>
                  <a:cubicBezTo>
                    <a:pt x="4826" y="4446"/>
                    <a:pt x="2528" y="2237"/>
                    <a:pt x="215" y="0"/>
                  </a:cubicBezTo>
                  <a:close/>
                  <a:moveTo>
                    <a:pt x="215"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4" name="AutoShape 433"/>
            <p:cNvSpPr>
              <a:spLocks/>
            </p:cNvSpPr>
            <p:nvPr/>
          </p:nvSpPr>
          <p:spPr bwMode="auto">
            <a:xfrm>
              <a:off x="10147300" y="3136900"/>
              <a:ext cx="338138" cy="512763"/>
            </a:xfrm>
            <a:custGeom>
              <a:avLst/>
              <a:gdLst/>
              <a:ahLst/>
              <a:cxnLst/>
              <a:rect l="0" t="0" r="r" b="b"/>
              <a:pathLst>
                <a:path w="21600" h="21584">
                  <a:moveTo>
                    <a:pt x="44" y="3922"/>
                  </a:moveTo>
                  <a:cubicBezTo>
                    <a:pt x="79" y="3965"/>
                    <a:pt x="110" y="4077"/>
                    <a:pt x="134" y="4162"/>
                  </a:cubicBezTo>
                  <a:cubicBezTo>
                    <a:pt x="158" y="4248"/>
                    <a:pt x="212" y="4338"/>
                    <a:pt x="226" y="4367"/>
                  </a:cubicBezTo>
                  <a:cubicBezTo>
                    <a:pt x="252" y="4393"/>
                    <a:pt x="304" y="4461"/>
                    <a:pt x="341" y="4519"/>
                  </a:cubicBezTo>
                  <a:cubicBezTo>
                    <a:pt x="385" y="4573"/>
                    <a:pt x="425" y="4618"/>
                    <a:pt x="441" y="4618"/>
                  </a:cubicBezTo>
                  <a:cubicBezTo>
                    <a:pt x="457" y="4618"/>
                    <a:pt x="464" y="4598"/>
                    <a:pt x="464" y="4577"/>
                  </a:cubicBezTo>
                  <a:cubicBezTo>
                    <a:pt x="464" y="4556"/>
                    <a:pt x="479" y="4532"/>
                    <a:pt x="470" y="4532"/>
                  </a:cubicBezTo>
                  <a:cubicBezTo>
                    <a:pt x="470" y="4526"/>
                    <a:pt x="503" y="4564"/>
                    <a:pt x="536" y="4607"/>
                  </a:cubicBezTo>
                  <a:cubicBezTo>
                    <a:pt x="571" y="4650"/>
                    <a:pt x="613" y="4729"/>
                    <a:pt x="625" y="4781"/>
                  </a:cubicBezTo>
                  <a:cubicBezTo>
                    <a:pt x="649" y="4831"/>
                    <a:pt x="691" y="4914"/>
                    <a:pt x="714" y="4968"/>
                  </a:cubicBezTo>
                  <a:cubicBezTo>
                    <a:pt x="737" y="5022"/>
                    <a:pt x="807" y="5100"/>
                    <a:pt x="846" y="5147"/>
                  </a:cubicBezTo>
                  <a:cubicBezTo>
                    <a:pt x="884" y="5195"/>
                    <a:pt x="956" y="5253"/>
                    <a:pt x="994" y="5282"/>
                  </a:cubicBezTo>
                  <a:cubicBezTo>
                    <a:pt x="1031" y="5311"/>
                    <a:pt x="1114" y="5398"/>
                    <a:pt x="1182" y="5473"/>
                  </a:cubicBezTo>
                  <a:cubicBezTo>
                    <a:pt x="1252" y="5549"/>
                    <a:pt x="1373" y="5662"/>
                    <a:pt x="1433" y="5733"/>
                  </a:cubicBezTo>
                  <a:cubicBezTo>
                    <a:pt x="1510" y="5795"/>
                    <a:pt x="1614" y="5915"/>
                    <a:pt x="1676" y="5993"/>
                  </a:cubicBezTo>
                  <a:cubicBezTo>
                    <a:pt x="1736" y="6072"/>
                    <a:pt x="1785" y="6159"/>
                    <a:pt x="1805" y="6183"/>
                  </a:cubicBezTo>
                  <a:cubicBezTo>
                    <a:pt x="1805" y="6211"/>
                    <a:pt x="1846" y="6282"/>
                    <a:pt x="1882" y="6342"/>
                  </a:cubicBezTo>
                  <a:cubicBezTo>
                    <a:pt x="1907" y="6405"/>
                    <a:pt x="2001" y="6506"/>
                    <a:pt x="2072" y="6571"/>
                  </a:cubicBezTo>
                  <a:cubicBezTo>
                    <a:pt x="2146" y="6634"/>
                    <a:pt x="2222" y="6695"/>
                    <a:pt x="2249" y="6700"/>
                  </a:cubicBezTo>
                  <a:cubicBezTo>
                    <a:pt x="2275" y="6706"/>
                    <a:pt x="2288" y="6678"/>
                    <a:pt x="2288" y="6636"/>
                  </a:cubicBezTo>
                  <a:cubicBezTo>
                    <a:pt x="2288" y="6596"/>
                    <a:pt x="2289" y="6539"/>
                    <a:pt x="2299" y="6513"/>
                  </a:cubicBezTo>
                  <a:cubicBezTo>
                    <a:pt x="2310" y="6486"/>
                    <a:pt x="2349" y="6443"/>
                    <a:pt x="2396" y="6428"/>
                  </a:cubicBezTo>
                  <a:cubicBezTo>
                    <a:pt x="2444" y="6413"/>
                    <a:pt x="2519" y="6402"/>
                    <a:pt x="2569" y="6419"/>
                  </a:cubicBezTo>
                  <a:cubicBezTo>
                    <a:pt x="2622" y="6430"/>
                    <a:pt x="2685" y="6475"/>
                    <a:pt x="2708" y="6515"/>
                  </a:cubicBezTo>
                  <a:cubicBezTo>
                    <a:pt x="2732" y="6554"/>
                    <a:pt x="2827" y="6645"/>
                    <a:pt x="2873" y="6731"/>
                  </a:cubicBezTo>
                  <a:cubicBezTo>
                    <a:pt x="2943" y="6811"/>
                    <a:pt x="3027" y="6894"/>
                    <a:pt x="3054" y="6921"/>
                  </a:cubicBezTo>
                  <a:cubicBezTo>
                    <a:pt x="3095" y="6938"/>
                    <a:pt x="3139" y="6961"/>
                    <a:pt x="3158" y="6948"/>
                  </a:cubicBezTo>
                  <a:cubicBezTo>
                    <a:pt x="3174" y="6933"/>
                    <a:pt x="3206" y="6907"/>
                    <a:pt x="3228" y="6881"/>
                  </a:cubicBezTo>
                  <a:cubicBezTo>
                    <a:pt x="3228" y="6851"/>
                    <a:pt x="3291" y="6831"/>
                    <a:pt x="3328" y="6843"/>
                  </a:cubicBezTo>
                  <a:cubicBezTo>
                    <a:pt x="3366" y="6852"/>
                    <a:pt x="3440" y="6889"/>
                    <a:pt x="3495" y="6925"/>
                  </a:cubicBezTo>
                  <a:cubicBezTo>
                    <a:pt x="3554" y="6960"/>
                    <a:pt x="3619" y="7038"/>
                    <a:pt x="3655" y="7089"/>
                  </a:cubicBezTo>
                  <a:cubicBezTo>
                    <a:pt x="3691" y="7141"/>
                    <a:pt x="3760" y="7206"/>
                    <a:pt x="3803" y="7237"/>
                  </a:cubicBezTo>
                  <a:cubicBezTo>
                    <a:pt x="3849" y="7267"/>
                    <a:pt x="3933" y="7341"/>
                    <a:pt x="3992" y="7403"/>
                  </a:cubicBezTo>
                  <a:cubicBezTo>
                    <a:pt x="4052" y="7463"/>
                    <a:pt x="4142" y="7570"/>
                    <a:pt x="4188" y="7642"/>
                  </a:cubicBezTo>
                  <a:cubicBezTo>
                    <a:pt x="4236" y="7714"/>
                    <a:pt x="4302" y="7821"/>
                    <a:pt x="4325" y="7883"/>
                  </a:cubicBezTo>
                  <a:cubicBezTo>
                    <a:pt x="4350" y="7944"/>
                    <a:pt x="4392" y="8056"/>
                    <a:pt x="4440" y="8127"/>
                  </a:cubicBezTo>
                  <a:cubicBezTo>
                    <a:pt x="4475" y="8200"/>
                    <a:pt x="4542" y="8314"/>
                    <a:pt x="4591" y="8378"/>
                  </a:cubicBezTo>
                  <a:cubicBezTo>
                    <a:pt x="4637" y="8443"/>
                    <a:pt x="4707" y="8554"/>
                    <a:pt x="4743" y="8625"/>
                  </a:cubicBezTo>
                  <a:cubicBezTo>
                    <a:pt x="4780" y="8697"/>
                    <a:pt x="4859" y="8807"/>
                    <a:pt x="4917" y="8868"/>
                  </a:cubicBezTo>
                  <a:cubicBezTo>
                    <a:pt x="4967" y="8934"/>
                    <a:pt x="5057" y="9016"/>
                    <a:pt x="5109" y="9053"/>
                  </a:cubicBezTo>
                  <a:cubicBezTo>
                    <a:pt x="5155" y="9092"/>
                    <a:pt x="5240" y="9197"/>
                    <a:pt x="5298" y="9285"/>
                  </a:cubicBezTo>
                  <a:cubicBezTo>
                    <a:pt x="5356" y="9373"/>
                    <a:pt x="5441" y="9486"/>
                    <a:pt x="5467" y="9542"/>
                  </a:cubicBezTo>
                  <a:cubicBezTo>
                    <a:pt x="5514" y="9592"/>
                    <a:pt x="5565" y="9709"/>
                    <a:pt x="5588" y="9796"/>
                  </a:cubicBezTo>
                  <a:cubicBezTo>
                    <a:pt x="5635" y="9880"/>
                    <a:pt x="5648" y="9990"/>
                    <a:pt x="5648" y="10035"/>
                  </a:cubicBezTo>
                  <a:cubicBezTo>
                    <a:pt x="5648" y="10080"/>
                    <a:pt x="5690" y="10192"/>
                    <a:pt x="5727" y="10287"/>
                  </a:cubicBezTo>
                  <a:cubicBezTo>
                    <a:pt x="5773" y="10379"/>
                    <a:pt x="5845" y="10504"/>
                    <a:pt x="5882" y="10566"/>
                  </a:cubicBezTo>
                  <a:cubicBezTo>
                    <a:pt x="5929" y="10624"/>
                    <a:pt x="5973" y="10727"/>
                    <a:pt x="5973" y="10792"/>
                  </a:cubicBezTo>
                  <a:cubicBezTo>
                    <a:pt x="5984" y="10856"/>
                    <a:pt x="5961" y="10935"/>
                    <a:pt x="5939" y="10968"/>
                  </a:cubicBezTo>
                  <a:cubicBezTo>
                    <a:pt x="5925" y="11002"/>
                    <a:pt x="5910" y="11058"/>
                    <a:pt x="5886" y="11090"/>
                  </a:cubicBezTo>
                  <a:cubicBezTo>
                    <a:pt x="5886" y="11126"/>
                    <a:pt x="5887" y="11201"/>
                    <a:pt x="5909" y="11258"/>
                  </a:cubicBezTo>
                  <a:cubicBezTo>
                    <a:pt x="5921" y="11316"/>
                    <a:pt x="5965" y="11413"/>
                    <a:pt x="5989" y="11478"/>
                  </a:cubicBezTo>
                  <a:cubicBezTo>
                    <a:pt x="6014" y="11542"/>
                    <a:pt x="6121" y="11714"/>
                    <a:pt x="6215" y="11862"/>
                  </a:cubicBezTo>
                  <a:cubicBezTo>
                    <a:pt x="6310" y="12010"/>
                    <a:pt x="6450" y="12183"/>
                    <a:pt x="6519" y="12248"/>
                  </a:cubicBezTo>
                  <a:cubicBezTo>
                    <a:pt x="6589" y="12313"/>
                    <a:pt x="6874" y="12489"/>
                    <a:pt x="7145" y="12645"/>
                  </a:cubicBezTo>
                  <a:cubicBezTo>
                    <a:pt x="7426" y="12791"/>
                    <a:pt x="7724" y="12950"/>
                    <a:pt x="7833" y="12975"/>
                  </a:cubicBezTo>
                  <a:cubicBezTo>
                    <a:pt x="7941" y="13003"/>
                    <a:pt x="8080" y="13035"/>
                    <a:pt x="8143" y="13044"/>
                  </a:cubicBezTo>
                  <a:cubicBezTo>
                    <a:pt x="8206" y="13054"/>
                    <a:pt x="8271" y="13043"/>
                    <a:pt x="8282" y="13021"/>
                  </a:cubicBezTo>
                  <a:cubicBezTo>
                    <a:pt x="8293" y="12999"/>
                    <a:pt x="8320" y="12975"/>
                    <a:pt x="8333" y="12979"/>
                  </a:cubicBezTo>
                  <a:cubicBezTo>
                    <a:pt x="8347" y="12979"/>
                    <a:pt x="8511" y="13063"/>
                    <a:pt x="8691" y="13174"/>
                  </a:cubicBezTo>
                  <a:cubicBezTo>
                    <a:pt x="8877" y="13280"/>
                    <a:pt x="9096" y="13453"/>
                    <a:pt x="9195" y="13550"/>
                  </a:cubicBezTo>
                  <a:cubicBezTo>
                    <a:pt x="9290" y="13648"/>
                    <a:pt x="9393" y="13770"/>
                    <a:pt x="9428" y="13819"/>
                  </a:cubicBezTo>
                  <a:cubicBezTo>
                    <a:pt x="9462" y="13868"/>
                    <a:pt x="9530" y="13926"/>
                    <a:pt x="9569" y="13956"/>
                  </a:cubicBezTo>
                  <a:cubicBezTo>
                    <a:pt x="9616" y="13979"/>
                    <a:pt x="9668" y="14006"/>
                    <a:pt x="9690" y="14011"/>
                  </a:cubicBezTo>
                  <a:cubicBezTo>
                    <a:pt x="9710" y="14017"/>
                    <a:pt x="9753" y="14037"/>
                    <a:pt x="9787" y="14056"/>
                  </a:cubicBezTo>
                  <a:cubicBezTo>
                    <a:pt x="9815" y="14079"/>
                    <a:pt x="9955" y="14191"/>
                    <a:pt x="10054" y="14323"/>
                  </a:cubicBezTo>
                  <a:cubicBezTo>
                    <a:pt x="10176" y="14446"/>
                    <a:pt x="10312" y="14612"/>
                    <a:pt x="10390" y="14677"/>
                  </a:cubicBezTo>
                  <a:cubicBezTo>
                    <a:pt x="10451" y="14750"/>
                    <a:pt x="10568" y="14823"/>
                    <a:pt x="10634" y="14841"/>
                  </a:cubicBezTo>
                  <a:cubicBezTo>
                    <a:pt x="10699" y="14863"/>
                    <a:pt x="10784" y="14886"/>
                    <a:pt x="10784" y="14875"/>
                  </a:cubicBezTo>
                  <a:cubicBezTo>
                    <a:pt x="10802" y="14871"/>
                    <a:pt x="10836" y="14880"/>
                    <a:pt x="10850" y="14898"/>
                  </a:cubicBezTo>
                  <a:cubicBezTo>
                    <a:pt x="10872" y="14912"/>
                    <a:pt x="10906" y="14983"/>
                    <a:pt x="10929" y="15052"/>
                  </a:cubicBezTo>
                  <a:cubicBezTo>
                    <a:pt x="10952" y="15120"/>
                    <a:pt x="10993" y="15213"/>
                    <a:pt x="11014" y="15258"/>
                  </a:cubicBezTo>
                  <a:cubicBezTo>
                    <a:pt x="11037" y="15303"/>
                    <a:pt x="11075" y="15349"/>
                    <a:pt x="11096" y="15363"/>
                  </a:cubicBezTo>
                  <a:cubicBezTo>
                    <a:pt x="11121" y="15375"/>
                    <a:pt x="11168" y="15413"/>
                    <a:pt x="11211" y="15442"/>
                  </a:cubicBezTo>
                  <a:cubicBezTo>
                    <a:pt x="11258" y="15469"/>
                    <a:pt x="11324" y="15555"/>
                    <a:pt x="11373" y="15624"/>
                  </a:cubicBezTo>
                  <a:cubicBezTo>
                    <a:pt x="11419" y="15693"/>
                    <a:pt x="11481" y="15788"/>
                    <a:pt x="11493" y="15837"/>
                  </a:cubicBezTo>
                  <a:cubicBezTo>
                    <a:pt x="11515" y="15885"/>
                    <a:pt x="11556" y="16024"/>
                    <a:pt x="11625" y="16138"/>
                  </a:cubicBezTo>
                  <a:cubicBezTo>
                    <a:pt x="11674" y="16256"/>
                    <a:pt x="11776" y="16424"/>
                    <a:pt x="11835" y="16515"/>
                  </a:cubicBezTo>
                  <a:cubicBezTo>
                    <a:pt x="11893" y="16606"/>
                    <a:pt x="12002" y="16789"/>
                    <a:pt x="12087" y="16919"/>
                  </a:cubicBezTo>
                  <a:cubicBezTo>
                    <a:pt x="12157" y="17052"/>
                    <a:pt x="12267" y="17228"/>
                    <a:pt x="12302" y="17316"/>
                  </a:cubicBezTo>
                  <a:cubicBezTo>
                    <a:pt x="12348" y="17403"/>
                    <a:pt x="12449" y="17622"/>
                    <a:pt x="12545" y="17800"/>
                  </a:cubicBezTo>
                  <a:cubicBezTo>
                    <a:pt x="12639" y="17978"/>
                    <a:pt x="12751" y="18149"/>
                    <a:pt x="12791" y="18184"/>
                  </a:cubicBezTo>
                  <a:cubicBezTo>
                    <a:pt x="12837" y="18215"/>
                    <a:pt x="12903" y="18251"/>
                    <a:pt x="12944" y="18254"/>
                  </a:cubicBezTo>
                  <a:cubicBezTo>
                    <a:pt x="12986" y="18258"/>
                    <a:pt x="13086" y="18270"/>
                    <a:pt x="13167" y="18281"/>
                  </a:cubicBezTo>
                  <a:cubicBezTo>
                    <a:pt x="13246" y="18294"/>
                    <a:pt x="13393" y="18332"/>
                    <a:pt x="13494" y="18373"/>
                  </a:cubicBezTo>
                  <a:cubicBezTo>
                    <a:pt x="13594" y="18414"/>
                    <a:pt x="13774" y="18473"/>
                    <a:pt x="13898" y="18496"/>
                  </a:cubicBezTo>
                  <a:cubicBezTo>
                    <a:pt x="14017" y="18526"/>
                    <a:pt x="14264" y="18607"/>
                    <a:pt x="14439" y="18689"/>
                  </a:cubicBezTo>
                  <a:cubicBezTo>
                    <a:pt x="14611" y="18773"/>
                    <a:pt x="14828" y="18848"/>
                    <a:pt x="14918" y="18860"/>
                  </a:cubicBezTo>
                  <a:cubicBezTo>
                    <a:pt x="15008" y="18869"/>
                    <a:pt x="15120" y="18863"/>
                    <a:pt x="15175" y="18842"/>
                  </a:cubicBezTo>
                  <a:cubicBezTo>
                    <a:pt x="15233" y="18823"/>
                    <a:pt x="15272" y="18767"/>
                    <a:pt x="15272" y="18730"/>
                  </a:cubicBezTo>
                  <a:cubicBezTo>
                    <a:pt x="15272" y="18692"/>
                    <a:pt x="15285" y="18646"/>
                    <a:pt x="15298" y="18628"/>
                  </a:cubicBezTo>
                  <a:cubicBezTo>
                    <a:pt x="15321" y="18614"/>
                    <a:pt x="15355" y="18613"/>
                    <a:pt x="15387" y="18638"/>
                  </a:cubicBezTo>
                  <a:cubicBezTo>
                    <a:pt x="15422" y="18661"/>
                    <a:pt x="15541" y="18709"/>
                    <a:pt x="15655" y="18743"/>
                  </a:cubicBezTo>
                  <a:cubicBezTo>
                    <a:pt x="15769" y="18777"/>
                    <a:pt x="15975" y="18869"/>
                    <a:pt x="16120" y="18943"/>
                  </a:cubicBezTo>
                  <a:cubicBezTo>
                    <a:pt x="16264" y="19018"/>
                    <a:pt x="16416" y="19101"/>
                    <a:pt x="16468" y="19119"/>
                  </a:cubicBezTo>
                  <a:cubicBezTo>
                    <a:pt x="16515" y="19141"/>
                    <a:pt x="16633" y="19269"/>
                    <a:pt x="16725" y="19409"/>
                  </a:cubicBezTo>
                  <a:cubicBezTo>
                    <a:pt x="16821" y="19548"/>
                    <a:pt x="17014" y="19780"/>
                    <a:pt x="17147" y="19927"/>
                  </a:cubicBezTo>
                  <a:cubicBezTo>
                    <a:pt x="17288" y="20071"/>
                    <a:pt x="17520" y="20291"/>
                    <a:pt x="17643" y="20422"/>
                  </a:cubicBezTo>
                  <a:cubicBezTo>
                    <a:pt x="17786" y="20543"/>
                    <a:pt x="17924" y="20678"/>
                    <a:pt x="17979" y="20704"/>
                  </a:cubicBezTo>
                  <a:cubicBezTo>
                    <a:pt x="18030" y="20733"/>
                    <a:pt x="18124" y="20835"/>
                    <a:pt x="18217" y="20919"/>
                  </a:cubicBezTo>
                  <a:cubicBezTo>
                    <a:pt x="18290" y="21012"/>
                    <a:pt x="18404" y="21084"/>
                    <a:pt x="18456" y="21090"/>
                  </a:cubicBezTo>
                  <a:cubicBezTo>
                    <a:pt x="18510" y="21090"/>
                    <a:pt x="18600" y="21079"/>
                    <a:pt x="18660" y="21064"/>
                  </a:cubicBezTo>
                  <a:cubicBezTo>
                    <a:pt x="18717" y="21044"/>
                    <a:pt x="18791" y="21077"/>
                    <a:pt x="18803" y="21134"/>
                  </a:cubicBezTo>
                  <a:cubicBezTo>
                    <a:pt x="18814" y="21192"/>
                    <a:pt x="18833" y="21272"/>
                    <a:pt x="18857" y="21309"/>
                  </a:cubicBezTo>
                  <a:cubicBezTo>
                    <a:pt x="18857" y="21348"/>
                    <a:pt x="18921" y="21420"/>
                    <a:pt x="18978" y="21469"/>
                  </a:cubicBezTo>
                  <a:cubicBezTo>
                    <a:pt x="19035" y="21518"/>
                    <a:pt x="19111" y="21568"/>
                    <a:pt x="19148" y="21581"/>
                  </a:cubicBezTo>
                  <a:cubicBezTo>
                    <a:pt x="19186" y="21593"/>
                    <a:pt x="19243" y="21568"/>
                    <a:pt x="19243" y="21524"/>
                  </a:cubicBezTo>
                  <a:cubicBezTo>
                    <a:pt x="19264" y="21482"/>
                    <a:pt x="19312" y="21368"/>
                    <a:pt x="19335" y="21269"/>
                  </a:cubicBezTo>
                  <a:cubicBezTo>
                    <a:pt x="19381" y="21174"/>
                    <a:pt x="19413" y="21015"/>
                    <a:pt x="19424" y="20919"/>
                  </a:cubicBezTo>
                  <a:cubicBezTo>
                    <a:pt x="19436" y="20824"/>
                    <a:pt x="19506" y="20721"/>
                    <a:pt x="19574" y="20690"/>
                  </a:cubicBezTo>
                  <a:cubicBezTo>
                    <a:pt x="19648" y="20665"/>
                    <a:pt x="19771" y="20601"/>
                    <a:pt x="19849" y="20554"/>
                  </a:cubicBezTo>
                  <a:cubicBezTo>
                    <a:pt x="19934" y="20512"/>
                    <a:pt x="20028" y="20462"/>
                    <a:pt x="20069" y="20452"/>
                  </a:cubicBezTo>
                  <a:cubicBezTo>
                    <a:pt x="20107" y="20440"/>
                    <a:pt x="20162" y="20414"/>
                    <a:pt x="20196" y="20403"/>
                  </a:cubicBezTo>
                  <a:cubicBezTo>
                    <a:pt x="20228" y="20388"/>
                    <a:pt x="20302" y="20379"/>
                    <a:pt x="20354" y="20396"/>
                  </a:cubicBezTo>
                  <a:cubicBezTo>
                    <a:pt x="20408" y="20406"/>
                    <a:pt x="20484" y="20427"/>
                    <a:pt x="20523" y="20440"/>
                  </a:cubicBezTo>
                  <a:cubicBezTo>
                    <a:pt x="20561" y="20452"/>
                    <a:pt x="20614" y="20421"/>
                    <a:pt x="20626" y="20367"/>
                  </a:cubicBezTo>
                  <a:cubicBezTo>
                    <a:pt x="20637" y="20313"/>
                    <a:pt x="20673" y="20233"/>
                    <a:pt x="20695" y="20189"/>
                  </a:cubicBezTo>
                  <a:cubicBezTo>
                    <a:pt x="20707" y="20142"/>
                    <a:pt x="20759" y="20112"/>
                    <a:pt x="20787" y="20126"/>
                  </a:cubicBezTo>
                  <a:cubicBezTo>
                    <a:pt x="20821" y="20131"/>
                    <a:pt x="20873" y="20135"/>
                    <a:pt x="20904" y="20118"/>
                  </a:cubicBezTo>
                  <a:cubicBezTo>
                    <a:pt x="20935" y="20102"/>
                    <a:pt x="20979" y="20103"/>
                    <a:pt x="21004" y="20111"/>
                  </a:cubicBezTo>
                  <a:cubicBezTo>
                    <a:pt x="21026" y="20122"/>
                    <a:pt x="21020" y="20045"/>
                    <a:pt x="21020" y="19940"/>
                  </a:cubicBezTo>
                  <a:cubicBezTo>
                    <a:pt x="20997" y="19836"/>
                    <a:pt x="20981" y="19644"/>
                    <a:pt x="20981" y="19515"/>
                  </a:cubicBezTo>
                  <a:cubicBezTo>
                    <a:pt x="20958" y="19386"/>
                    <a:pt x="20970" y="19166"/>
                    <a:pt x="20981" y="19028"/>
                  </a:cubicBezTo>
                  <a:cubicBezTo>
                    <a:pt x="20981" y="18890"/>
                    <a:pt x="20990" y="18730"/>
                    <a:pt x="20990" y="18673"/>
                  </a:cubicBezTo>
                  <a:cubicBezTo>
                    <a:pt x="20977" y="18616"/>
                    <a:pt x="20973" y="18522"/>
                    <a:pt x="20973" y="18464"/>
                  </a:cubicBezTo>
                  <a:cubicBezTo>
                    <a:pt x="20961" y="18408"/>
                    <a:pt x="20939" y="18328"/>
                    <a:pt x="20939" y="18285"/>
                  </a:cubicBezTo>
                  <a:cubicBezTo>
                    <a:pt x="20926" y="18244"/>
                    <a:pt x="20846" y="18118"/>
                    <a:pt x="20772" y="18003"/>
                  </a:cubicBezTo>
                  <a:cubicBezTo>
                    <a:pt x="20682" y="17892"/>
                    <a:pt x="20556" y="17687"/>
                    <a:pt x="20462" y="17557"/>
                  </a:cubicBezTo>
                  <a:cubicBezTo>
                    <a:pt x="20370" y="17426"/>
                    <a:pt x="20298" y="17278"/>
                    <a:pt x="20276" y="17234"/>
                  </a:cubicBezTo>
                  <a:cubicBezTo>
                    <a:pt x="20276" y="17188"/>
                    <a:pt x="20229" y="17091"/>
                    <a:pt x="20205" y="17015"/>
                  </a:cubicBezTo>
                  <a:cubicBezTo>
                    <a:pt x="20172" y="16941"/>
                    <a:pt x="20112" y="16759"/>
                    <a:pt x="20076" y="16609"/>
                  </a:cubicBezTo>
                  <a:cubicBezTo>
                    <a:pt x="20030" y="16461"/>
                    <a:pt x="19988" y="16290"/>
                    <a:pt x="19988" y="16230"/>
                  </a:cubicBezTo>
                  <a:cubicBezTo>
                    <a:pt x="19988" y="16169"/>
                    <a:pt x="19992" y="16086"/>
                    <a:pt x="20003" y="16043"/>
                  </a:cubicBezTo>
                  <a:cubicBezTo>
                    <a:pt x="20015" y="16002"/>
                    <a:pt x="20059" y="15970"/>
                    <a:pt x="20102" y="15970"/>
                  </a:cubicBezTo>
                  <a:cubicBezTo>
                    <a:pt x="20143" y="15973"/>
                    <a:pt x="20203" y="15990"/>
                    <a:pt x="20238" y="16009"/>
                  </a:cubicBezTo>
                  <a:cubicBezTo>
                    <a:pt x="20269" y="16030"/>
                    <a:pt x="20339" y="16107"/>
                    <a:pt x="20387" y="16183"/>
                  </a:cubicBezTo>
                  <a:cubicBezTo>
                    <a:pt x="20436" y="16259"/>
                    <a:pt x="20523" y="16367"/>
                    <a:pt x="20570" y="16426"/>
                  </a:cubicBezTo>
                  <a:cubicBezTo>
                    <a:pt x="20620" y="16483"/>
                    <a:pt x="20684" y="16562"/>
                    <a:pt x="20727" y="16593"/>
                  </a:cubicBezTo>
                  <a:cubicBezTo>
                    <a:pt x="20754" y="16631"/>
                    <a:pt x="20824" y="16695"/>
                    <a:pt x="20859" y="16744"/>
                  </a:cubicBezTo>
                  <a:cubicBezTo>
                    <a:pt x="20901" y="16791"/>
                    <a:pt x="20933" y="16834"/>
                    <a:pt x="20943" y="16832"/>
                  </a:cubicBezTo>
                  <a:cubicBezTo>
                    <a:pt x="20954" y="16832"/>
                    <a:pt x="20967" y="16790"/>
                    <a:pt x="20943" y="16743"/>
                  </a:cubicBezTo>
                  <a:cubicBezTo>
                    <a:pt x="20932" y="16694"/>
                    <a:pt x="20927" y="16623"/>
                    <a:pt x="20927" y="16585"/>
                  </a:cubicBezTo>
                  <a:cubicBezTo>
                    <a:pt x="20927" y="16546"/>
                    <a:pt x="20935" y="16482"/>
                    <a:pt x="20947" y="16444"/>
                  </a:cubicBezTo>
                  <a:cubicBezTo>
                    <a:pt x="20957" y="16405"/>
                    <a:pt x="20966" y="16346"/>
                    <a:pt x="20977" y="16314"/>
                  </a:cubicBezTo>
                  <a:cubicBezTo>
                    <a:pt x="20977" y="16282"/>
                    <a:pt x="20977" y="16159"/>
                    <a:pt x="20953" y="16041"/>
                  </a:cubicBezTo>
                  <a:cubicBezTo>
                    <a:pt x="20929" y="15924"/>
                    <a:pt x="20922" y="15811"/>
                    <a:pt x="20922" y="15791"/>
                  </a:cubicBezTo>
                  <a:cubicBezTo>
                    <a:pt x="20922" y="15770"/>
                    <a:pt x="20957" y="15782"/>
                    <a:pt x="20992" y="15817"/>
                  </a:cubicBezTo>
                  <a:cubicBezTo>
                    <a:pt x="21026" y="15851"/>
                    <a:pt x="21071" y="15899"/>
                    <a:pt x="21105" y="15911"/>
                  </a:cubicBezTo>
                  <a:cubicBezTo>
                    <a:pt x="21129" y="15930"/>
                    <a:pt x="21176" y="15887"/>
                    <a:pt x="21188" y="15820"/>
                  </a:cubicBezTo>
                  <a:cubicBezTo>
                    <a:pt x="21212" y="15753"/>
                    <a:pt x="21272" y="15696"/>
                    <a:pt x="21254" y="15696"/>
                  </a:cubicBezTo>
                  <a:cubicBezTo>
                    <a:pt x="21272" y="15696"/>
                    <a:pt x="21282" y="15665"/>
                    <a:pt x="21282" y="15630"/>
                  </a:cubicBezTo>
                  <a:cubicBezTo>
                    <a:pt x="21282" y="15596"/>
                    <a:pt x="21256" y="15511"/>
                    <a:pt x="21233" y="15442"/>
                  </a:cubicBezTo>
                  <a:cubicBezTo>
                    <a:pt x="21210" y="15372"/>
                    <a:pt x="21171" y="15236"/>
                    <a:pt x="21135" y="15142"/>
                  </a:cubicBezTo>
                  <a:cubicBezTo>
                    <a:pt x="21111" y="15045"/>
                    <a:pt x="21073" y="14907"/>
                    <a:pt x="21062" y="14833"/>
                  </a:cubicBezTo>
                  <a:cubicBezTo>
                    <a:pt x="21049" y="14759"/>
                    <a:pt x="21046" y="14670"/>
                    <a:pt x="21034" y="14637"/>
                  </a:cubicBezTo>
                  <a:cubicBezTo>
                    <a:pt x="21034" y="14603"/>
                    <a:pt x="21038" y="14587"/>
                    <a:pt x="21051" y="14603"/>
                  </a:cubicBezTo>
                  <a:cubicBezTo>
                    <a:pt x="21069" y="14615"/>
                    <a:pt x="21100" y="14627"/>
                    <a:pt x="21100" y="14636"/>
                  </a:cubicBezTo>
                  <a:cubicBezTo>
                    <a:pt x="21113" y="14636"/>
                    <a:pt x="21115" y="14618"/>
                    <a:pt x="21115" y="14588"/>
                  </a:cubicBezTo>
                  <a:cubicBezTo>
                    <a:pt x="21115" y="14558"/>
                    <a:pt x="21094" y="14485"/>
                    <a:pt x="21069" y="14425"/>
                  </a:cubicBezTo>
                  <a:cubicBezTo>
                    <a:pt x="21045" y="14365"/>
                    <a:pt x="21038" y="14315"/>
                    <a:pt x="21043" y="14314"/>
                  </a:cubicBezTo>
                  <a:cubicBezTo>
                    <a:pt x="21043" y="14310"/>
                    <a:pt x="21093" y="14355"/>
                    <a:pt x="21117" y="14413"/>
                  </a:cubicBezTo>
                  <a:cubicBezTo>
                    <a:pt x="21162" y="14465"/>
                    <a:pt x="21202" y="14496"/>
                    <a:pt x="21190" y="14476"/>
                  </a:cubicBezTo>
                  <a:cubicBezTo>
                    <a:pt x="21199" y="14456"/>
                    <a:pt x="21209" y="14399"/>
                    <a:pt x="21209" y="14349"/>
                  </a:cubicBezTo>
                  <a:cubicBezTo>
                    <a:pt x="21220" y="14301"/>
                    <a:pt x="21200" y="14205"/>
                    <a:pt x="21200" y="14138"/>
                  </a:cubicBezTo>
                  <a:cubicBezTo>
                    <a:pt x="21200" y="14070"/>
                    <a:pt x="21193" y="14018"/>
                    <a:pt x="21207" y="14018"/>
                  </a:cubicBezTo>
                  <a:cubicBezTo>
                    <a:pt x="21221" y="14018"/>
                    <a:pt x="21256" y="14076"/>
                    <a:pt x="21312" y="14131"/>
                  </a:cubicBezTo>
                  <a:cubicBezTo>
                    <a:pt x="21349" y="14193"/>
                    <a:pt x="21384" y="14226"/>
                    <a:pt x="21396" y="14211"/>
                  </a:cubicBezTo>
                  <a:cubicBezTo>
                    <a:pt x="21396" y="14195"/>
                    <a:pt x="21434" y="14180"/>
                    <a:pt x="21434" y="14193"/>
                  </a:cubicBezTo>
                  <a:cubicBezTo>
                    <a:pt x="21450" y="14202"/>
                    <a:pt x="21481" y="14236"/>
                    <a:pt x="21503" y="14273"/>
                  </a:cubicBezTo>
                  <a:cubicBezTo>
                    <a:pt x="21527" y="14308"/>
                    <a:pt x="21556" y="14359"/>
                    <a:pt x="21575" y="14382"/>
                  </a:cubicBezTo>
                  <a:cubicBezTo>
                    <a:pt x="21598" y="14404"/>
                    <a:pt x="21600" y="14396"/>
                    <a:pt x="21600" y="14363"/>
                  </a:cubicBezTo>
                  <a:cubicBezTo>
                    <a:pt x="21600" y="14330"/>
                    <a:pt x="21584" y="14266"/>
                    <a:pt x="21561" y="14225"/>
                  </a:cubicBezTo>
                  <a:cubicBezTo>
                    <a:pt x="21550" y="14181"/>
                    <a:pt x="21523" y="14121"/>
                    <a:pt x="21523" y="14089"/>
                  </a:cubicBezTo>
                  <a:cubicBezTo>
                    <a:pt x="21511" y="14059"/>
                    <a:pt x="21488" y="13989"/>
                    <a:pt x="21477" y="13934"/>
                  </a:cubicBezTo>
                  <a:cubicBezTo>
                    <a:pt x="21452" y="13880"/>
                    <a:pt x="21423" y="13795"/>
                    <a:pt x="21400" y="13745"/>
                  </a:cubicBezTo>
                  <a:cubicBezTo>
                    <a:pt x="21377" y="13696"/>
                    <a:pt x="21344" y="13610"/>
                    <a:pt x="21320" y="13556"/>
                  </a:cubicBezTo>
                  <a:cubicBezTo>
                    <a:pt x="21295" y="13500"/>
                    <a:pt x="21225" y="13362"/>
                    <a:pt x="21156" y="13248"/>
                  </a:cubicBezTo>
                  <a:cubicBezTo>
                    <a:pt x="21098" y="13132"/>
                    <a:pt x="20978" y="12928"/>
                    <a:pt x="20898" y="12792"/>
                  </a:cubicBezTo>
                  <a:cubicBezTo>
                    <a:pt x="20827" y="12655"/>
                    <a:pt x="20697" y="12435"/>
                    <a:pt x="20625" y="12299"/>
                  </a:cubicBezTo>
                  <a:cubicBezTo>
                    <a:pt x="20545" y="12165"/>
                    <a:pt x="20424" y="11957"/>
                    <a:pt x="20362" y="11835"/>
                  </a:cubicBezTo>
                  <a:cubicBezTo>
                    <a:pt x="20302" y="11712"/>
                    <a:pt x="20190" y="11554"/>
                    <a:pt x="20128" y="11482"/>
                  </a:cubicBezTo>
                  <a:cubicBezTo>
                    <a:pt x="20069" y="11407"/>
                    <a:pt x="20011" y="11365"/>
                    <a:pt x="20011" y="11384"/>
                  </a:cubicBezTo>
                  <a:cubicBezTo>
                    <a:pt x="20011" y="11403"/>
                    <a:pt x="19994" y="11423"/>
                    <a:pt x="19975" y="11430"/>
                  </a:cubicBezTo>
                  <a:cubicBezTo>
                    <a:pt x="19955" y="11436"/>
                    <a:pt x="19977" y="11486"/>
                    <a:pt x="19977" y="11546"/>
                  </a:cubicBezTo>
                  <a:cubicBezTo>
                    <a:pt x="20000" y="11605"/>
                    <a:pt x="20046" y="11711"/>
                    <a:pt x="20069" y="11783"/>
                  </a:cubicBezTo>
                  <a:cubicBezTo>
                    <a:pt x="20114" y="11851"/>
                    <a:pt x="20144" y="11996"/>
                    <a:pt x="20155" y="12097"/>
                  </a:cubicBezTo>
                  <a:cubicBezTo>
                    <a:pt x="20179" y="12197"/>
                    <a:pt x="20150" y="12214"/>
                    <a:pt x="20102" y="12134"/>
                  </a:cubicBezTo>
                  <a:cubicBezTo>
                    <a:pt x="20054" y="12052"/>
                    <a:pt x="19965" y="11940"/>
                    <a:pt x="19910" y="11881"/>
                  </a:cubicBezTo>
                  <a:cubicBezTo>
                    <a:pt x="19851" y="11824"/>
                    <a:pt x="19762" y="11751"/>
                    <a:pt x="19716" y="11718"/>
                  </a:cubicBezTo>
                  <a:cubicBezTo>
                    <a:pt x="19669" y="11686"/>
                    <a:pt x="19616" y="11703"/>
                    <a:pt x="19616" y="11757"/>
                  </a:cubicBezTo>
                  <a:cubicBezTo>
                    <a:pt x="19604" y="11811"/>
                    <a:pt x="19532" y="11763"/>
                    <a:pt x="19446" y="11650"/>
                  </a:cubicBezTo>
                  <a:cubicBezTo>
                    <a:pt x="19356" y="11539"/>
                    <a:pt x="19234" y="11352"/>
                    <a:pt x="19184" y="11234"/>
                  </a:cubicBezTo>
                  <a:cubicBezTo>
                    <a:pt x="19124" y="11119"/>
                    <a:pt x="19057" y="10916"/>
                    <a:pt x="19011" y="10788"/>
                  </a:cubicBezTo>
                  <a:cubicBezTo>
                    <a:pt x="18986" y="10657"/>
                    <a:pt x="18924" y="10496"/>
                    <a:pt x="18891" y="10430"/>
                  </a:cubicBezTo>
                  <a:cubicBezTo>
                    <a:pt x="18857" y="10363"/>
                    <a:pt x="18815" y="10237"/>
                    <a:pt x="18792" y="10151"/>
                  </a:cubicBezTo>
                  <a:cubicBezTo>
                    <a:pt x="18769" y="10065"/>
                    <a:pt x="18717" y="9902"/>
                    <a:pt x="18660" y="9794"/>
                  </a:cubicBezTo>
                  <a:cubicBezTo>
                    <a:pt x="18614" y="9684"/>
                    <a:pt x="18440" y="9200"/>
                    <a:pt x="18263" y="8722"/>
                  </a:cubicBezTo>
                  <a:cubicBezTo>
                    <a:pt x="18134" y="8332"/>
                    <a:pt x="17995" y="7982"/>
                    <a:pt x="17926" y="7840"/>
                  </a:cubicBezTo>
                  <a:cubicBezTo>
                    <a:pt x="17913" y="7806"/>
                    <a:pt x="17903" y="7779"/>
                    <a:pt x="17894" y="7773"/>
                  </a:cubicBezTo>
                  <a:cubicBezTo>
                    <a:pt x="17884" y="7752"/>
                    <a:pt x="17858" y="7722"/>
                    <a:pt x="17831" y="7690"/>
                  </a:cubicBezTo>
                  <a:cubicBezTo>
                    <a:pt x="17797" y="7650"/>
                    <a:pt x="17759" y="7606"/>
                    <a:pt x="17730" y="7563"/>
                  </a:cubicBezTo>
                  <a:cubicBezTo>
                    <a:pt x="17660" y="7498"/>
                    <a:pt x="17591" y="7427"/>
                    <a:pt x="17554" y="7419"/>
                  </a:cubicBezTo>
                  <a:cubicBezTo>
                    <a:pt x="17524" y="7403"/>
                    <a:pt x="17503" y="7425"/>
                    <a:pt x="17515" y="7457"/>
                  </a:cubicBezTo>
                  <a:cubicBezTo>
                    <a:pt x="17526" y="7489"/>
                    <a:pt x="17527" y="7532"/>
                    <a:pt x="17517" y="7554"/>
                  </a:cubicBezTo>
                  <a:cubicBezTo>
                    <a:pt x="17504" y="7576"/>
                    <a:pt x="17472" y="7587"/>
                    <a:pt x="17455" y="7570"/>
                  </a:cubicBezTo>
                  <a:cubicBezTo>
                    <a:pt x="17431" y="7558"/>
                    <a:pt x="17407" y="7514"/>
                    <a:pt x="17373" y="7484"/>
                  </a:cubicBezTo>
                  <a:cubicBezTo>
                    <a:pt x="17373" y="7446"/>
                    <a:pt x="17326" y="7437"/>
                    <a:pt x="17309" y="7451"/>
                  </a:cubicBezTo>
                  <a:cubicBezTo>
                    <a:pt x="17309" y="7469"/>
                    <a:pt x="17263" y="7455"/>
                    <a:pt x="17239" y="7423"/>
                  </a:cubicBezTo>
                  <a:cubicBezTo>
                    <a:pt x="17206" y="7394"/>
                    <a:pt x="17168" y="7309"/>
                    <a:pt x="17120" y="7247"/>
                  </a:cubicBezTo>
                  <a:cubicBezTo>
                    <a:pt x="17096" y="7178"/>
                    <a:pt x="17005" y="7071"/>
                    <a:pt x="16957" y="7000"/>
                  </a:cubicBezTo>
                  <a:cubicBezTo>
                    <a:pt x="16910" y="6930"/>
                    <a:pt x="16835" y="6858"/>
                    <a:pt x="16812" y="6832"/>
                  </a:cubicBezTo>
                  <a:cubicBezTo>
                    <a:pt x="16780" y="6811"/>
                    <a:pt x="16737" y="6789"/>
                    <a:pt x="16707" y="6789"/>
                  </a:cubicBezTo>
                  <a:cubicBezTo>
                    <a:pt x="16679" y="6784"/>
                    <a:pt x="16646" y="6766"/>
                    <a:pt x="16623" y="6744"/>
                  </a:cubicBezTo>
                  <a:cubicBezTo>
                    <a:pt x="16611" y="6719"/>
                    <a:pt x="16578" y="6684"/>
                    <a:pt x="16551" y="6672"/>
                  </a:cubicBezTo>
                  <a:cubicBezTo>
                    <a:pt x="16523" y="6660"/>
                    <a:pt x="16505" y="6671"/>
                    <a:pt x="16505" y="6705"/>
                  </a:cubicBezTo>
                  <a:cubicBezTo>
                    <a:pt x="16493" y="6737"/>
                    <a:pt x="16510" y="6815"/>
                    <a:pt x="16532" y="6876"/>
                  </a:cubicBezTo>
                  <a:cubicBezTo>
                    <a:pt x="16545" y="6937"/>
                    <a:pt x="16562" y="7016"/>
                    <a:pt x="16562" y="7052"/>
                  </a:cubicBezTo>
                  <a:cubicBezTo>
                    <a:pt x="16562" y="7088"/>
                    <a:pt x="16546" y="7127"/>
                    <a:pt x="16532" y="7140"/>
                  </a:cubicBezTo>
                  <a:cubicBezTo>
                    <a:pt x="16514" y="7152"/>
                    <a:pt x="16507" y="7207"/>
                    <a:pt x="16518" y="7262"/>
                  </a:cubicBezTo>
                  <a:cubicBezTo>
                    <a:pt x="16529" y="7317"/>
                    <a:pt x="16545" y="7385"/>
                    <a:pt x="16555" y="7414"/>
                  </a:cubicBezTo>
                  <a:cubicBezTo>
                    <a:pt x="16567" y="7442"/>
                    <a:pt x="16583" y="7513"/>
                    <a:pt x="16606" y="7570"/>
                  </a:cubicBezTo>
                  <a:cubicBezTo>
                    <a:pt x="16630" y="7626"/>
                    <a:pt x="16628" y="7709"/>
                    <a:pt x="16628" y="7752"/>
                  </a:cubicBezTo>
                  <a:cubicBezTo>
                    <a:pt x="16617" y="7793"/>
                    <a:pt x="16559" y="7799"/>
                    <a:pt x="16500" y="7752"/>
                  </a:cubicBezTo>
                  <a:cubicBezTo>
                    <a:pt x="16431" y="7711"/>
                    <a:pt x="16360" y="7669"/>
                    <a:pt x="16339" y="7662"/>
                  </a:cubicBezTo>
                  <a:cubicBezTo>
                    <a:pt x="16316" y="7658"/>
                    <a:pt x="16302" y="7689"/>
                    <a:pt x="16302" y="7736"/>
                  </a:cubicBezTo>
                  <a:cubicBezTo>
                    <a:pt x="16302" y="7784"/>
                    <a:pt x="16273" y="7808"/>
                    <a:pt x="16241" y="7783"/>
                  </a:cubicBezTo>
                  <a:cubicBezTo>
                    <a:pt x="16214" y="7756"/>
                    <a:pt x="16160" y="7776"/>
                    <a:pt x="16128" y="7814"/>
                  </a:cubicBezTo>
                  <a:cubicBezTo>
                    <a:pt x="16104" y="7854"/>
                    <a:pt x="16081" y="7941"/>
                    <a:pt x="16093" y="8009"/>
                  </a:cubicBezTo>
                  <a:cubicBezTo>
                    <a:pt x="16093" y="8076"/>
                    <a:pt x="16094" y="8127"/>
                    <a:pt x="16078" y="8122"/>
                  </a:cubicBezTo>
                  <a:cubicBezTo>
                    <a:pt x="16066" y="8115"/>
                    <a:pt x="16011" y="8074"/>
                    <a:pt x="15975" y="8023"/>
                  </a:cubicBezTo>
                  <a:cubicBezTo>
                    <a:pt x="15930" y="7975"/>
                    <a:pt x="15876" y="7914"/>
                    <a:pt x="15838" y="7899"/>
                  </a:cubicBezTo>
                  <a:cubicBezTo>
                    <a:pt x="15810" y="7876"/>
                    <a:pt x="15779" y="7880"/>
                    <a:pt x="15766" y="7896"/>
                  </a:cubicBezTo>
                  <a:cubicBezTo>
                    <a:pt x="15756" y="7913"/>
                    <a:pt x="15728" y="7922"/>
                    <a:pt x="15695" y="7911"/>
                  </a:cubicBezTo>
                  <a:cubicBezTo>
                    <a:pt x="15665" y="7896"/>
                    <a:pt x="15559" y="7852"/>
                    <a:pt x="15464" y="7806"/>
                  </a:cubicBezTo>
                  <a:cubicBezTo>
                    <a:pt x="15369" y="7759"/>
                    <a:pt x="15225" y="7660"/>
                    <a:pt x="15152" y="7585"/>
                  </a:cubicBezTo>
                  <a:cubicBezTo>
                    <a:pt x="15080" y="7510"/>
                    <a:pt x="14956" y="7431"/>
                    <a:pt x="14886" y="7408"/>
                  </a:cubicBezTo>
                  <a:cubicBezTo>
                    <a:pt x="14824" y="7378"/>
                    <a:pt x="14744" y="7348"/>
                    <a:pt x="14715" y="7336"/>
                  </a:cubicBezTo>
                  <a:cubicBezTo>
                    <a:pt x="14691" y="7320"/>
                    <a:pt x="14620" y="7245"/>
                    <a:pt x="14572" y="7166"/>
                  </a:cubicBezTo>
                  <a:cubicBezTo>
                    <a:pt x="14512" y="7091"/>
                    <a:pt x="14455" y="7007"/>
                    <a:pt x="14430" y="6986"/>
                  </a:cubicBezTo>
                  <a:cubicBezTo>
                    <a:pt x="14405" y="6966"/>
                    <a:pt x="14355" y="6921"/>
                    <a:pt x="14329" y="6885"/>
                  </a:cubicBezTo>
                  <a:cubicBezTo>
                    <a:pt x="14298" y="6850"/>
                    <a:pt x="14236" y="6768"/>
                    <a:pt x="14181" y="6705"/>
                  </a:cubicBezTo>
                  <a:cubicBezTo>
                    <a:pt x="14132" y="6641"/>
                    <a:pt x="14026" y="6497"/>
                    <a:pt x="13977" y="6379"/>
                  </a:cubicBezTo>
                  <a:cubicBezTo>
                    <a:pt x="13916" y="6263"/>
                    <a:pt x="13839" y="6136"/>
                    <a:pt x="13814" y="6095"/>
                  </a:cubicBezTo>
                  <a:cubicBezTo>
                    <a:pt x="13788" y="6053"/>
                    <a:pt x="13736" y="6018"/>
                    <a:pt x="13708" y="6018"/>
                  </a:cubicBezTo>
                  <a:cubicBezTo>
                    <a:pt x="13678" y="6018"/>
                    <a:pt x="13615" y="5998"/>
                    <a:pt x="13567" y="5974"/>
                  </a:cubicBezTo>
                  <a:cubicBezTo>
                    <a:pt x="13516" y="5953"/>
                    <a:pt x="13407" y="5872"/>
                    <a:pt x="13334" y="5792"/>
                  </a:cubicBezTo>
                  <a:cubicBezTo>
                    <a:pt x="13248" y="5717"/>
                    <a:pt x="13125" y="5558"/>
                    <a:pt x="13054" y="5442"/>
                  </a:cubicBezTo>
                  <a:cubicBezTo>
                    <a:pt x="12972" y="5329"/>
                    <a:pt x="12866" y="5205"/>
                    <a:pt x="12796" y="5174"/>
                  </a:cubicBezTo>
                  <a:cubicBezTo>
                    <a:pt x="12727" y="5142"/>
                    <a:pt x="12621" y="5088"/>
                    <a:pt x="12568" y="5049"/>
                  </a:cubicBezTo>
                  <a:cubicBezTo>
                    <a:pt x="12510" y="5014"/>
                    <a:pt x="12417" y="4933"/>
                    <a:pt x="12360" y="4870"/>
                  </a:cubicBezTo>
                  <a:cubicBezTo>
                    <a:pt x="12303" y="4806"/>
                    <a:pt x="12226" y="4757"/>
                    <a:pt x="12190" y="4759"/>
                  </a:cubicBezTo>
                  <a:cubicBezTo>
                    <a:pt x="12155" y="4759"/>
                    <a:pt x="12088" y="4747"/>
                    <a:pt x="12042" y="4728"/>
                  </a:cubicBezTo>
                  <a:cubicBezTo>
                    <a:pt x="11994" y="4709"/>
                    <a:pt x="11944" y="4714"/>
                    <a:pt x="11918" y="4735"/>
                  </a:cubicBezTo>
                  <a:cubicBezTo>
                    <a:pt x="11892" y="4757"/>
                    <a:pt x="11821" y="4758"/>
                    <a:pt x="11752" y="4732"/>
                  </a:cubicBezTo>
                  <a:cubicBezTo>
                    <a:pt x="11682" y="4704"/>
                    <a:pt x="11590" y="4690"/>
                    <a:pt x="11548" y="4694"/>
                  </a:cubicBezTo>
                  <a:cubicBezTo>
                    <a:pt x="11505" y="4698"/>
                    <a:pt x="11471" y="4745"/>
                    <a:pt x="11458" y="4793"/>
                  </a:cubicBezTo>
                  <a:cubicBezTo>
                    <a:pt x="11458" y="4842"/>
                    <a:pt x="11428" y="4882"/>
                    <a:pt x="11408" y="4886"/>
                  </a:cubicBezTo>
                  <a:cubicBezTo>
                    <a:pt x="11389" y="4886"/>
                    <a:pt x="11345" y="4871"/>
                    <a:pt x="11320" y="4843"/>
                  </a:cubicBezTo>
                  <a:cubicBezTo>
                    <a:pt x="11285" y="4820"/>
                    <a:pt x="11236" y="4787"/>
                    <a:pt x="11213" y="4767"/>
                  </a:cubicBezTo>
                  <a:cubicBezTo>
                    <a:pt x="11183" y="4751"/>
                    <a:pt x="11133" y="4753"/>
                    <a:pt x="11133" y="4775"/>
                  </a:cubicBezTo>
                  <a:cubicBezTo>
                    <a:pt x="11113" y="4793"/>
                    <a:pt x="11065" y="4780"/>
                    <a:pt x="10997" y="4754"/>
                  </a:cubicBezTo>
                  <a:cubicBezTo>
                    <a:pt x="10940" y="4720"/>
                    <a:pt x="10877" y="4710"/>
                    <a:pt x="10877" y="4727"/>
                  </a:cubicBezTo>
                  <a:cubicBezTo>
                    <a:pt x="10858" y="4739"/>
                    <a:pt x="10844" y="4747"/>
                    <a:pt x="10816" y="4731"/>
                  </a:cubicBezTo>
                  <a:cubicBezTo>
                    <a:pt x="10790" y="4714"/>
                    <a:pt x="10708" y="4631"/>
                    <a:pt x="10614" y="4554"/>
                  </a:cubicBezTo>
                  <a:cubicBezTo>
                    <a:pt x="10543" y="4467"/>
                    <a:pt x="10405" y="4359"/>
                    <a:pt x="10336" y="4303"/>
                  </a:cubicBezTo>
                  <a:cubicBezTo>
                    <a:pt x="10264" y="4247"/>
                    <a:pt x="10172" y="4168"/>
                    <a:pt x="10159" y="4123"/>
                  </a:cubicBezTo>
                  <a:cubicBezTo>
                    <a:pt x="10123" y="4084"/>
                    <a:pt x="10064" y="3978"/>
                    <a:pt x="9993" y="3900"/>
                  </a:cubicBezTo>
                  <a:cubicBezTo>
                    <a:pt x="9933" y="3817"/>
                    <a:pt x="9850" y="3744"/>
                    <a:pt x="9827" y="3728"/>
                  </a:cubicBezTo>
                  <a:cubicBezTo>
                    <a:pt x="9802" y="3713"/>
                    <a:pt x="9750" y="3665"/>
                    <a:pt x="9708" y="3620"/>
                  </a:cubicBezTo>
                  <a:cubicBezTo>
                    <a:pt x="9664" y="3576"/>
                    <a:pt x="9629" y="3483"/>
                    <a:pt x="9595" y="3424"/>
                  </a:cubicBezTo>
                  <a:cubicBezTo>
                    <a:pt x="9572" y="3363"/>
                    <a:pt x="9507" y="3242"/>
                    <a:pt x="9459" y="3155"/>
                  </a:cubicBezTo>
                  <a:cubicBezTo>
                    <a:pt x="9410" y="3067"/>
                    <a:pt x="9338" y="2960"/>
                    <a:pt x="9303" y="2915"/>
                  </a:cubicBezTo>
                  <a:cubicBezTo>
                    <a:pt x="9259" y="2872"/>
                    <a:pt x="9227" y="2790"/>
                    <a:pt x="9204" y="2740"/>
                  </a:cubicBezTo>
                  <a:cubicBezTo>
                    <a:pt x="9180" y="2691"/>
                    <a:pt x="9130" y="2605"/>
                    <a:pt x="9095" y="2547"/>
                  </a:cubicBezTo>
                  <a:cubicBezTo>
                    <a:pt x="9060" y="2489"/>
                    <a:pt x="9011" y="2407"/>
                    <a:pt x="8990" y="2363"/>
                  </a:cubicBezTo>
                  <a:cubicBezTo>
                    <a:pt x="8977" y="2318"/>
                    <a:pt x="8923" y="2232"/>
                    <a:pt x="8888" y="2170"/>
                  </a:cubicBezTo>
                  <a:cubicBezTo>
                    <a:pt x="8851" y="2109"/>
                    <a:pt x="8789" y="2028"/>
                    <a:pt x="8745" y="1992"/>
                  </a:cubicBezTo>
                  <a:cubicBezTo>
                    <a:pt x="8718" y="1948"/>
                    <a:pt x="8598" y="1895"/>
                    <a:pt x="8511" y="1861"/>
                  </a:cubicBezTo>
                  <a:cubicBezTo>
                    <a:pt x="8426" y="1826"/>
                    <a:pt x="8321" y="1776"/>
                    <a:pt x="8279" y="1752"/>
                  </a:cubicBezTo>
                  <a:cubicBezTo>
                    <a:pt x="8237" y="1727"/>
                    <a:pt x="8161" y="1678"/>
                    <a:pt x="8133" y="1637"/>
                  </a:cubicBezTo>
                  <a:cubicBezTo>
                    <a:pt x="8088" y="1603"/>
                    <a:pt x="8009" y="1547"/>
                    <a:pt x="7955" y="1511"/>
                  </a:cubicBezTo>
                  <a:cubicBezTo>
                    <a:pt x="7893" y="1480"/>
                    <a:pt x="7822" y="1419"/>
                    <a:pt x="7789" y="1379"/>
                  </a:cubicBezTo>
                  <a:cubicBezTo>
                    <a:pt x="7756" y="1338"/>
                    <a:pt x="7695" y="1269"/>
                    <a:pt x="7652" y="1226"/>
                  </a:cubicBezTo>
                  <a:cubicBezTo>
                    <a:pt x="7624" y="1176"/>
                    <a:pt x="7514" y="1117"/>
                    <a:pt x="7434" y="1091"/>
                  </a:cubicBezTo>
                  <a:cubicBezTo>
                    <a:pt x="7357" y="1061"/>
                    <a:pt x="7249" y="1009"/>
                    <a:pt x="7189" y="979"/>
                  </a:cubicBezTo>
                  <a:cubicBezTo>
                    <a:pt x="7131" y="948"/>
                    <a:pt x="7039" y="878"/>
                    <a:pt x="6971" y="833"/>
                  </a:cubicBezTo>
                  <a:cubicBezTo>
                    <a:pt x="6919" y="778"/>
                    <a:pt x="6836" y="722"/>
                    <a:pt x="6825" y="693"/>
                  </a:cubicBezTo>
                  <a:cubicBezTo>
                    <a:pt x="6810" y="665"/>
                    <a:pt x="6730" y="585"/>
                    <a:pt x="6651" y="517"/>
                  </a:cubicBezTo>
                  <a:cubicBezTo>
                    <a:pt x="6576" y="448"/>
                    <a:pt x="6453" y="352"/>
                    <a:pt x="6384" y="303"/>
                  </a:cubicBezTo>
                  <a:cubicBezTo>
                    <a:pt x="6312" y="256"/>
                    <a:pt x="6226" y="177"/>
                    <a:pt x="6180" y="134"/>
                  </a:cubicBezTo>
                  <a:cubicBezTo>
                    <a:pt x="6133" y="92"/>
                    <a:pt x="6064" y="35"/>
                    <a:pt x="6018" y="13"/>
                  </a:cubicBezTo>
                  <a:cubicBezTo>
                    <a:pt x="5969" y="-7"/>
                    <a:pt x="5932" y="-3"/>
                    <a:pt x="5911" y="21"/>
                  </a:cubicBezTo>
                  <a:cubicBezTo>
                    <a:pt x="5899" y="49"/>
                    <a:pt x="5905" y="112"/>
                    <a:pt x="5917" y="164"/>
                  </a:cubicBezTo>
                  <a:cubicBezTo>
                    <a:pt x="5928" y="216"/>
                    <a:pt x="5989" y="308"/>
                    <a:pt x="6014" y="375"/>
                  </a:cubicBezTo>
                  <a:cubicBezTo>
                    <a:pt x="6048" y="439"/>
                    <a:pt x="6095" y="533"/>
                    <a:pt x="6095" y="584"/>
                  </a:cubicBezTo>
                  <a:cubicBezTo>
                    <a:pt x="6118" y="633"/>
                    <a:pt x="6092" y="655"/>
                    <a:pt x="6057" y="637"/>
                  </a:cubicBezTo>
                  <a:cubicBezTo>
                    <a:pt x="6033" y="613"/>
                    <a:pt x="5982" y="605"/>
                    <a:pt x="5951" y="605"/>
                  </a:cubicBezTo>
                  <a:cubicBezTo>
                    <a:pt x="5924" y="614"/>
                    <a:pt x="5897" y="654"/>
                    <a:pt x="5897" y="702"/>
                  </a:cubicBezTo>
                  <a:cubicBezTo>
                    <a:pt x="5897" y="751"/>
                    <a:pt x="5926" y="833"/>
                    <a:pt x="5937" y="888"/>
                  </a:cubicBezTo>
                  <a:cubicBezTo>
                    <a:pt x="5961" y="940"/>
                    <a:pt x="5975" y="1037"/>
                    <a:pt x="5951" y="1098"/>
                  </a:cubicBezTo>
                  <a:cubicBezTo>
                    <a:pt x="5940" y="1160"/>
                    <a:pt x="5989" y="1351"/>
                    <a:pt x="6047" y="1525"/>
                  </a:cubicBezTo>
                  <a:cubicBezTo>
                    <a:pt x="6117" y="1697"/>
                    <a:pt x="6214" y="1914"/>
                    <a:pt x="6262" y="2009"/>
                  </a:cubicBezTo>
                  <a:cubicBezTo>
                    <a:pt x="6317" y="2101"/>
                    <a:pt x="6417" y="2225"/>
                    <a:pt x="6499" y="2279"/>
                  </a:cubicBezTo>
                  <a:cubicBezTo>
                    <a:pt x="6580" y="2333"/>
                    <a:pt x="6680" y="2423"/>
                    <a:pt x="6716" y="2480"/>
                  </a:cubicBezTo>
                  <a:cubicBezTo>
                    <a:pt x="6753" y="2536"/>
                    <a:pt x="6828" y="2616"/>
                    <a:pt x="6885" y="2653"/>
                  </a:cubicBezTo>
                  <a:cubicBezTo>
                    <a:pt x="6935" y="2694"/>
                    <a:pt x="6991" y="2768"/>
                    <a:pt x="7027" y="2815"/>
                  </a:cubicBezTo>
                  <a:cubicBezTo>
                    <a:pt x="7050" y="2865"/>
                    <a:pt x="7107" y="2994"/>
                    <a:pt x="7131" y="3105"/>
                  </a:cubicBezTo>
                  <a:cubicBezTo>
                    <a:pt x="7177" y="3212"/>
                    <a:pt x="7212" y="3393"/>
                    <a:pt x="7260" y="3499"/>
                  </a:cubicBezTo>
                  <a:cubicBezTo>
                    <a:pt x="7306" y="3605"/>
                    <a:pt x="7379" y="3750"/>
                    <a:pt x="7449" y="3815"/>
                  </a:cubicBezTo>
                  <a:cubicBezTo>
                    <a:pt x="7515" y="3881"/>
                    <a:pt x="7604" y="3979"/>
                    <a:pt x="7639" y="4033"/>
                  </a:cubicBezTo>
                  <a:cubicBezTo>
                    <a:pt x="7677" y="4087"/>
                    <a:pt x="7711" y="4205"/>
                    <a:pt x="7711" y="4296"/>
                  </a:cubicBezTo>
                  <a:cubicBezTo>
                    <a:pt x="7711" y="4388"/>
                    <a:pt x="7649" y="4452"/>
                    <a:pt x="7578" y="4437"/>
                  </a:cubicBezTo>
                  <a:cubicBezTo>
                    <a:pt x="7507" y="4421"/>
                    <a:pt x="7411" y="4385"/>
                    <a:pt x="7362" y="4357"/>
                  </a:cubicBezTo>
                  <a:cubicBezTo>
                    <a:pt x="7316" y="4326"/>
                    <a:pt x="7268" y="4314"/>
                    <a:pt x="7268" y="4329"/>
                  </a:cubicBezTo>
                  <a:cubicBezTo>
                    <a:pt x="7259" y="4342"/>
                    <a:pt x="7230" y="4348"/>
                    <a:pt x="7189" y="4339"/>
                  </a:cubicBezTo>
                  <a:cubicBezTo>
                    <a:pt x="7150" y="4330"/>
                    <a:pt x="7075" y="4289"/>
                    <a:pt x="7027" y="4245"/>
                  </a:cubicBezTo>
                  <a:cubicBezTo>
                    <a:pt x="6979" y="4201"/>
                    <a:pt x="6855" y="4133"/>
                    <a:pt x="6752" y="4092"/>
                  </a:cubicBezTo>
                  <a:cubicBezTo>
                    <a:pt x="6650" y="4051"/>
                    <a:pt x="6541" y="4022"/>
                    <a:pt x="6510" y="4026"/>
                  </a:cubicBezTo>
                  <a:cubicBezTo>
                    <a:pt x="6479" y="4031"/>
                    <a:pt x="6412" y="3991"/>
                    <a:pt x="6362" y="3938"/>
                  </a:cubicBezTo>
                  <a:cubicBezTo>
                    <a:pt x="6316" y="3884"/>
                    <a:pt x="6223" y="3817"/>
                    <a:pt x="6177" y="3779"/>
                  </a:cubicBezTo>
                  <a:cubicBezTo>
                    <a:pt x="6120" y="3749"/>
                    <a:pt x="6049" y="3714"/>
                    <a:pt x="6014" y="3702"/>
                  </a:cubicBezTo>
                  <a:cubicBezTo>
                    <a:pt x="5975" y="3696"/>
                    <a:pt x="5928" y="3724"/>
                    <a:pt x="5887" y="3758"/>
                  </a:cubicBezTo>
                  <a:cubicBezTo>
                    <a:pt x="5863" y="3798"/>
                    <a:pt x="5801" y="3842"/>
                    <a:pt x="5760" y="3842"/>
                  </a:cubicBezTo>
                  <a:cubicBezTo>
                    <a:pt x="5721" y="3852"/>
                    <a:pt x="5670" y="3870"/>
                    <a:pt x="5648" y="3884"/>
                  </a:cubicBezTo>
                  <a:cubicBezTo>
                    <a:pt x="5626" y="3899"/>
                    <a:pt x="5522" y="3834"/>
                    <a:pt x="5408" y="3744"/>
                  </a:cubicBezTo>
                  <a:cubicBezTo>
                    <a:pt x="5294" y="3653"/>
                    <a:pt x="5153" y="3516"/>
                    <a:pt x="5086" y="3446"/>
                  </a:cubicBezTo>
                  <a:cubicBezTo>
                    <a:pt x="5023" y="3372"/>
                    <a:pt x="4836" y="3195"/>
                    <a:pt x="4674" y="3049"/>
                  </a:cubicBezTo>
                  <a:cubicBezTo>
                    <a:pt x="4511" y="2904"/>
                    <a:pt x="4348" y="2743"/>
                    <a:pt x="4322" y="2689"/>
                  </a:cubicBezTo>
                  <a:cubicBezTo>
                    <a:pt x="4298" y="2635"/>
                    <a:pt x="4240" y="2541"/>
                    <a:pt x="4206" y="2478"/>
                  </a:cubicBezTo>
                  <a:cubicBezTo>
                    <a:pt x="4171" y="2415"/>
                    <a:pt x="4116" y="2311"/>
                    <a:pt x="4080" y="2247"/>
                  </a:cubicBezTo>
                  <a:cubicBezTo>
                    <a:pt x="4033" y="2186"/>
                    <a:pt x="3948" y="2112"/>
                    <a:pt x="3869" y="2094"/>
                  </a:cubicBezTo>
                  <a:cubicBezTo>
                    <a:pt x="3791" y="2075"/>
                    <a:pt x="3714" y="2078"/>
                    <a:pt x="3683" y="2098"/>
                  </a:cubicBezTo>
                  <a:cubicBezTo>
                    <a:pt x="3660" y="2121"/>
                    <a:pt x="3601" y="2120"/>
                    <a:pt x="3551" y="2100"/>
                  </a:cubicBezTo>
                  <a:cubicBezTo>
                    <a:pt x="3502" y="2080"/>
                    <a:pt x="3444" y="2063"/>
                    <a:pt x="3422" y="2068"/>
                  </a:cubicBezTo>
                  <a:cubicBezTo>
                    <a:pt x="3401" y="2074"/>
                    <a:pt x="3335" y="2065"/>
                    <a:pt x="3286" y="2049"/>
                  </a:cubicBezTo>
                  <a:cubicBezTo>
                    <a:pt x="3236" y="2032"/>
                    <a:pt x="3154" y="1979"/>
                    <a:pt x="3106" y="1923"/>
                  </a:cubicBezTo>
                  <a:cubicBezTo>
                    <a:pt x="3058" y="1869"/>
                    <a:pt x="3006" y="1786"/>
                    <a:pt x="2982" y="1743"/>
                  </a:cubicBezTo>
                  <a:cubicBezTo>
                    <a:pt x="2959" y="1699"/>
                    <a:pt x="2890" y="1607"/>
                    <a:pt x="2843" y="1533"/>
                  </a:cubicBezTo>
                  <a:cubicBezTo>
                    <a:pt x="2777" y="1465"/>
                    <a:pt x="2728" y="1399"/>
                    <a:pt x="2717" y="1389"/>
                  </a:cubicBezTo>
                  <a:cubicBezTo>
                    <a:pt x="2705" y="1380"/>
                    <a:pt x="2669" y="1392"/>
                    <a:pt x="2644" y="1413"/>
                  </a:cubicBezTo>
                  <a:cubicBezTo>
                    <a:pt x="2610" y="1428"/>
                    <a:pt x="2542" y="1431"/>
                    <a:pt x="2481" y="1402"/>
                  </a:cubicBezTo>
                  <a:cubicBezTo>
                    <a:pt x="2417" y="1377"/>
                    <a:pt x="2332" y="1343"/>
                    <a:pt x="2289" y="1332"/>
                  </a:cubicBezTo>
                  <a:cubicBezTo>
                    <a:pt x="2244" y="1324"/>
                    <a:pt x="2174" y="1310"/>
                    <a:pt x="2130" y="1310"/>
                  </a:cubicBezTo>
                  <a:cubicBezTo>
                    <a:pt x="2084" y="1310"/>
                    <a:pt x="1974" y="1300"/>
                    <a:pt x="1887" y="1282"/>
                  </a:cubicBezTo>
                  <a:cubicBezTo>
                    <a:pt x="1803" y="1259"/>
                    <a:pt x="1699" y="1261"/>
                    <a:pt x="1665" y="1269"/>
                  </a:cubicBezTo>
                  <a:cubicBezTo>
                    <a:pt x="1631" y="1281"/>
                    <a:pt x="1618" y="1357"/>
                    <a:pt x="1618" y="1444"/>
                  </a:cubicBezTo>
                  <a:cubicBezTo>
                    <a:pt x="1618" y="1530"/>
                    <a:pt x="1611" y="1613"/>
                    <a:pt x="1583" y="1627"/>
                  </a:cubicBezTo>
                  <a:cubicBezTo>
                    <a:pt x="1557" y="1641"/>
                    <a:pt x="1452" y="1598"/>
                    <a:pt x="1346" y="1536"/>
                  </a:cubicBezTo>
                  <a:cubicBezTo>
                    <a:pt x="1248" y="1467"/>
                    <a:pt x="1167" y="1443"/>
                    <a:pt x="1147" y="1466"/>
                  </a:cubicBezTo>
                  <a:cubicBezTo>
                    <a:pt x="1158" y="1491"/>
                    <a:pt x="1151" y="1558"/>
                    <a:pt x="1176" y="1611"/>
                  </a:cubicBezTo>
                  <a:cubicBezTo>
                    <a:pt x="1188" y="1667"/>
                    <a:pt x="1252" y="1740"/>
                    <a:pt x="1289" y="1781"/>
                  </a:cubicBezTo>
                  <a:cubicBezTo>
                    <a:pt x="1327" y="1821"/>
                    <a:pt x="1339" y="1868"/>
                    <a:pt x="1339" y="1891"/>
                  </a:cubicBezTo>
                  <a:cubicBezTo>
                    <a:pt x="1316" y="1909"/>
                    <a:pt x="1317" y="1981"/>
                    <a:pt x="1295" y="2039"/>
                  </a:cubicBezTo>
                  <a:cubicBezTo>
                    <a:pt x="1295" y="2100"/>
                    <a:pt x="1242" y="2147"/>
                    <a:pt x="1202" y="2151"/>
                  </a:cubicBezTo>
                  <a:cubicBezTo>
                    <a:pt x="1162" y="2146"/>
                    <a:pt x="1107" y="2189"/>
                    <a:pt x="1085" y="2234"/>
                  </a:cubicBezTo>
                  <a:cubicBezTo>
                    <a:pt x="1060" y="2278"/>
                    <a:pt x="1050" y="2357"/>
                    <a:pt x="1070" y="2407"/>
                  </a:cubicBezTo>
                  <a:cubicBezTo>
                    <a:pt x="1093" y="2456"/>
                    <a:pt x="1058" y="2521"/>
                    <a:pt x="999" y="2540"/>
                  </a:cubicBezTo>
                  <a:cubicBezTo>
                    <a:pt x="946" y="2566"/>
                    <a:pt x="910" y="2638"/>
                    <a:pt x="910" y="2707"/>
                  </a:cubicBezTo>
                  <a:cubicBezTo>
                    <a:pt x="910" y="2777"/>
                    <a:pt x="941" y="2894"/>
                    <a:pt x="964" y="2969"/>
                  </a:cubicBezTo>
                  <a:cubicBezTo>
                    <a:pt x="986" y="3044"/>
                    <a:pt x="945" y="3117"/>
                    <a:pt x="871" y="3133"/>
                  </a:cubicBezTo>
                  <a:cubicBezTo>
                    <a:pt x="797" y="3149"/>
                    <a:pt x="717" y="3207"/>
                    <a:pt x="693" y="3263"/>
                  </a:cubicBezTo>
                  <a:cubicBezTo>
                    <a:pt x="667" y="3318"/>
                    <a:pt x="650" y="3391"/>
                    <a:pt x="639" y="3423"/>
                  </a:cubicBezTo>
                  <a:cubicBezTo>
                    <a:pt x="627" y="3454"/>
                    <a:pt x="517" y="3445"/>
                    <a:pt x="385" y="3394"/>
                  </a:cubicBezTo>
                  <a:cubicBezTo>
                    <a:pt x="253" y="3343"/>
                    <a:pt x="110" y="3324"/>
                    <a:pt x="68" y="3343"/>
                  </a:cubicBezTo>
                  <a:cubicBezTo>
                    <a:pt x="30" y="3364"/>
                    <a:pt x="0" y="3482"/>
                    <a:pt x="0" y="3607"/>
                  </a:cubicBezTo>
                  <a:cubicBezTo>
                    <a:pt x="0" y="3705"/>
                    <a:pt x="18" y="3811"/>
                    <a:pt x="30" y="3876"/>
                  </a:cubicBezTo>
                  <a:cubicBezTo>
                    <a:pt x="40" y="3894"/>
                    <a:pt x="44" y="3911"/>
                    <a:pt x="44" y="3922"/>
                  </a:cubicBezTo>
                  <a:close/>
                  <a:moveTo>
                    <a:pt x="44" y="39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5" name="AutoShape 434"/>
            <p:cNvSpPr>
              <a:spLocks/>
            </p:cNvSpPr>
            <p:nvPr/>
          </p:nvSpPr>
          <p:spPr bwMode="auto">
            <a:xfrm>
              <a:off x="10426700" y="3314700"/>
              <a:ext cx="1588" cy="1588"/>
            </a:xfrm>
            <a:custGeom>
              <a:avLst/>
              <a:gdLst/>
              <a:ahLst/>
              <a:cxnLst/>
              <a:rect l="0" t="0" r="r" b="b"/>
              <a:pathLst>
                <a:path w="21600" h="21600">
                  <a:moveTo>
                    <a:pt x="0" y="0"/>
                  </a:moveTo>
                  <a:cubicBezTo>
                    <a:pt x="6254" y="7336"/>
                    <a:pt x="14365" y="14847"/>
                    <a:pt x="21600" y="21600"/>
                  </a:cubicBezTo>
                  <a:cubicBezTo>
                    <a:pt x="14017" y="14628"/>
                    <a:pt x="5906" y="7072"/>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6" name="AutoShape 435"/>
            <p:cNvSpPr>
              <a:spLocks/>
            </p:cNvSpPr>
            <p:nvPr/>
          </p:nvSpPr>
          <p:spPr bwMode="auto">
            <a:xfrm>
              <a:off x="9182100" y="2806700"/>
              <a:ext cx="963613" cy="750888"/>
            </a:xfrm>
            <a:custGeom>
              <a:avLst/>
              <a:gdLst/>
              <a:ahLst/>
              <a:cxnLst/>
              <a:rect l="0" t="0" r="r" b="b"/>
              <a:pathLst>
                <a:path w="21589" h="21576">
                  <a:moveTo>
                    <a:pt x="2732" y="11120"/>
                  </a:moveTo>
                  <a:cubicBezTo>
                    <a:pt x="2745" y="11120"/>
                    <a:pt x="2772" y="11148"/>
                    <a:pt x="2781" y="11186"/>
                  </a:cubicBezTo>
                  <a:cubicBezTo>
                    <a:pt x="2796" y="11220"/>
                    <a:pt x="2830" y="11257"/>
                    <a:pt x="2859" y="11262"/>
                  </a:cubicBezTo>
                  <a:cubicBezTo>
                    <a:pt x="2887" y="11271"/>
                    <a:pt x="2920" y="11251"/>
                    <a:pt x="2928" y="11219"/>
                  </a:cubicBezTo>
                  <a:cubicBezTo>
                    <a:pt x="2940" y="11189"/>
                    <a:pt x="2961" y="11168"/>
                    <a:pt x="2979" y="11174"/>
                  </a:cubicBezTo>
                  <a:cubicBezTo>
                    <a:pt x="2997" y="11182"/>
                    <a:pt x="3027" y="11207"/>
                    <a:pt x="3042" y="11235"/>
                  </a:cubicBezTo>
                  <a:cubicBezTo>
                    <a:pt x="3062" y="11260"/>
                    <a:pt x="3085" y="11269"/>
                    <a:pt x="3097" y="11247"/>
                  </a:cubicBezTo>
                  <a:cubicBezTo>
                    <a:pt x="3112" y="11228"/>
                    <a:pt x="3125" y="11179"/>
                    <a:pt x="3125" y="11143"/>
                  </a:cubicBezTo>
                  <a:cubicBezTo>
                    <a:pt x="3129" y="11108"/>
                    <a:pt x="3146" y="11084"/>
                    <a:pt x="3166" y="11094"/>
                  </a:cubicBezTo>
                  <a:cubicBezTo>
                    <a:pt x="3186" y="11102"/>
                    <a:pt x="3227" y="11080"/>
                    <a:pt x="3257" y="11042"/>
                  </a:cubicBezTo>
                  <a:cubicBezTo>
                    <a:pt x="3288" y="11006"/>
                    <a:pt x="3322" y="10943"/>
                    <a:pt x="3333" y="10906"/>
                  </a:cubicBezTo>
                  <a:cubicBezTo>
                    <a:pt x="3342" y="10867"/>
                    <a:pt x="3375" y="10844"/>
                    <a:pt x="3397" y="10854"/>
                  </a:cubicBezTo>
                  <a:cubicBezTo>
                    <a:pt x="3420" y="10862"/>
                    <a:pt x="3453" y="10832"/>
                    <a:pt x="3471" y="10785"/>
                  </a:cubicBezTo>
                  <a:cubicBezTo>
                    <a:pt x="3488" y="10739"/>
                    <a:pt x="3519" y="10705"/>
                    <a:pt x="3538" y="10710"/>
                  </a:cubicBezTo>
                  <a:cubicBezTo>
                    <a:pt x="3557" y="10715"/>
                    <a:pt x="3587" y="10735"/>
                    <a:pt x="3602" y="10759"/>
                  </a:cubicBezTo>
                  <a:cubicBezTo>
                    <a:pt x="3618" y="10782"/>
                    <a:pt x="3639" y="10793"/>
                    <a:pt x="3650" y="10786"/>
                  </a:cubicBezTo>
                  <a:cubicBezTo>
                    <a:pt x="3659" y="10778"/>
                    <a:pt x="3667" y="10734"/>
                    <a:pt x="3675" y="10691"/>
                  </a:cubicBezTo>
                  <a:cubicBezTo>
                    <a:pt x="3679" y="10647"/>
                    <a:pt x="3702" y="10579"/>
                    <a:pt x="3726" y="10541"/>
                  </a:cubicBezTo>
                  <a:cubicBezTo>
                    <a:pt x="3747" y="10500"/>
                    <a:pt x="3812" y="10479"/>
                    <a:pt x="3864" y="10490"/>
                  </a:cubicBezTo>
                  <a:cubicBezTo>
                    <a:pt x="3916" y="10504"/>
                    <a:pt x="3977" y="10529"/>
                    <a:pt x="3998" y="10555"/>
                  </a:cubicBezTo>
                  <a:cubicBezTo>
                    <a:pt x="4021" y="10578"/>
                    <a:pt x="4057" y="10603"/>
                    <a:pt x="4082" y="10611"/>
                  </a:cubicBezTo>
                  <a:cubicBezTo>
                    <a:pt x="4108" y="10616"/>
                    <a:pt x="4139" y="10608"/>
                    <a:pt x="4152" y="10591"/>
                  </a:cubicBezTo>
                  <a:cubicBezTo>
                    <a:pt x="4164" y="10572"/>
                    <a:pt x="4184" y="10574"/>
                    <a:pt x="4196" y="10592"/>
                  </a:cubicBezTo>
                  <a:cubicBezTo>
                    <a:pt x="4205" y="10613"/>
                    <a:pt x="4218" y="10664"/>
                    <a:pt x="4222" y="10713"/>
                  </a:cubicBezTo>
                  <a:cubicBezTo>
                    <a:pt x="4230" y="10760"/>
                    <a:pt x="4246" y="10834"/>
                    <a:pt x="4270" y="10875"/>
                  </a:cubicBezTo>
                  <a:cubicBezTo>
                    <a:pt x="4296" y="10913"/>
                    <a:pt x="4318" y="10933"/>
                    <a:pt x="4331" y="10917"/>
                  </a:cubicBezTo>
                  <a:cubicBezTo>
                    <a:pt x="4336" y="10895"/>
                    <a:pt x="4369" y="10888"/>
                    <a:pt x="4393" y="10890"/>
                  </a:cubicBezTo>
                  <a:cubicBezTo>
                    <a:pt x="4417" y="10893"/>
                    <a:pt x="4438" y="10920"/>
                    <a:pt x="4446" y="10945"/>
                  </a:cubicBezTo>
                  <a:cubicBezTo>
                    <a:pt x="4455" y="10972"/>
                    <a:pt x="4481" y="11016"/>
                    <a:pt x="4512" y="11038"/>
                  </a:cubicBezTo>
                  <a:cubicBezTo>
                    <a:pt x="4541" y="11063"/>
                    <a:pt x="4581" y="11071"/>
                    <a:pt x="4598" y="11058"/>
                  </a:cubicBezTo>
                  <a:cubicBezTo>
                    <a:pt x="4617" y="11046"/>
                    <a:pt x="4626" y="11010"/>
                    <a:pt x="4626" y="10979"/>
                  </a:cubicBezTo>
                  <a:cubicBezTo>
                    <a:pt x="4619" y="10949"/>
                    <a:pt x="4638" y="10911"/>
                    <a:pt x="4658" y="10899"/>
                  </a:cubicBezTo>
                  <a:cubicBezTo>
                    <a:pt x="4678" y="10886"/>
                    <a:pt x="4696" y="10857"/>
                    <a:pt x="4696" y="10836"/>
                  </a:cubicBezTo>
                  <a:cubicBezTo>
                    <a:pt x="4696" y="10815"/>
                    <a:pt x="4721" y="10795"/>
                    <a:pt x="4746" y="10788"/>
                  </a:cubicBezTo>
                  <a:cubicBezTo>
                    <a:pt x="4771" y="10785"/>
                    <a:pt x="4813" y="10790"/>
                    <a:pt x="4839" y="10804"/>
                  </a:cubicBezTo>
                  <a:cubicBezTo>
                    <a:pt x="4864" y="10820"/>
                    <a:pt x="4941" y="10849"/>
                    <a:pt x="5009" y="10868"/>
                  </a:cubicBezTo>
                  <a:cubicBezTo>
                    <a:pt x="5079" y="10887"/>
                    <a:pt x="5139" y="10933"/>
                    <a:pt x="5150" y="10960"/>
                  </a:cubicBezTo>
                  <a:cubicBezTo>
                    <a:pt x="5158" y="10989"/>
                    <a:pt x="5181" y="11051"/>
                    <a:pt x="5202" y="11096"/>
                  </a:cubicBezTo>
                  <a:cubicBezTo>
                    <a:pt x="5224" y="11141"/>
                    <a:pt x="5260" y="11190"/>
                    <a:pt x="5287" y="11207"/>
                  </a:cubicBezTo>
                  <a:cubicBezTo>
                    <a:pt x="5315" y="11222"/>
                    <a:pt x="5339" y="11251"/>
                    <a:pt x="5343" y="11270"/>
                  </a:cubicBezTo>
                  <a:cubicBezTo>
                    <a:pt x="5348" y="11288"/>
                    <a:pt x="5336" y="11332"/>
                    <a:pt x="5328" y="11369"/>
                  </a:cubicBezTo>
                  <a:cubicBezTo>
                    <a:pt x="5319" y="11407"/>
                    <a:pt x="5315" y="11468"/>
                    <a:pt x="5331" y="11504"/>
                  </a:cubicBezTo>
                  <a:cubicBezTo>
                    <a:pt x="5343" y="11543"/>
                    <a:pt x="5386" y="11616"/>
                    <a:pt x="5420" y="11675"/>
                  </a:cubicBezTo>
                  <a:cubicBezTo>
                    <a:pt x="5457" y="11731"/>
                    <a:pt x="5489" y="11816"/>
                    <a:pt x="5489" y="11863"/>
                  </a:cubicBezTo>
                  <a:cubicBezTo>
                    <a:pt x="5489" y="11909"/>
                    <a:pt x="5474" y="11994"/>
                    <a:pt x="5465" y="12057"/>
                  </a:cubicBezTo>
                  <a:cubicBezTo>
                    <a:pt x="5450" y="12117"/>
                    <a:pt x="5444" y="12194"/>
                    <a:pt x="5456" y="12224"/>
                  </a:cubicBezTo>
                  <a:cubicBezTo>
                    <a:pt x="5469" y="12253"/>
                    <a:pt x="5484" y="12309"/>
                    <a:pt x="5502" y="12337"/>
                  </a:cubicBezTo>
                  <a:cubicBezTo>
                    <a:pt x="5518" y="12368"/>
                    <a:pt x="5542" y="12412"/>
                    <a:pt x="5557" y="12434"/>
                  </a:cubicBezTo>
                  <a:cubicBezTo>
                    <a:pt x="5566" y="12460"/>
                    <a:pt x="5576" y="12499"/>
                    <a:pt x="5561" y="12523"/>
                  </a:cubicBezTo>
                  <a:cubicBezTo>
                    <a:pt x="5552" y="12551"/>
                    <a:pt x="5520" y="12580"/>
                    <a:pt x="5497" y="12594"/>
                  </a:cubicBezTo>
                  <a:cubicBezTo>
                    <a:pt x="5473" y="12604"/>
                    <a:pt x="5453" y="12675"/>
                    <a:pt x="5457" y="12745"/>
                  </a:cubicBezTo>
                  <a:cubicBezTo>
                    <a:pt x="5461" y="12815"/>
                    <a:pt x="5489" y="12946"/>
                    <a:pt x="5522" y="13037"/>
                  </a:cubicBezTo>
                  <a:cubicBezTo>
                    <a:pt x="5563" y="13123"/>
                    <a:pt x="5618" y="13217"/>
                    <a:pt x="5657" y="13242"/>
                  </a:cubicBezTo>
                  <a:cubicBezTo>
                    <a:pt x="5697" y="13262"/>
                    <a:pt x="5752" y="13302"/>
                    <a:pt x="5782" y="13324"/>
                  </a:cubicBezTo>
                  <a:cubicBezTo>
                    <a:pt x="5811" y="13348"/>
                    <a:pt x="5830" y="13387"/>
                    <a:pt x="5830" y="13415"/>
                  </a:cubicBezTo>
                  <a:cubicBezTo>
                    <a:pt x="5830" y="13443"/>
                    <a:pt x="5794" y="13486"/>
                    <a:pt x="5756" y="13510"/>
                  </a:cubicBezTo>
                  <a:cubicBezTo>
                    <a:pt x="5719" y="13533"/>
                    <a:pt x="5663" y="13547"/>
                    <a:pt x="5632" y="13542"/>
                  </a:cubicBezTo>
                  <a:cubicBezTo>
                    <a:pt x="5601" y="13533"/>
                    <a:pt x="5546" y="13475"/>
                    <a:pt x="5506" y="13413"/>
                  </a:cubicBezTo>
                  <a:cubicBezTo>
                    <a:pt x="5472" y="13345"/>
                    <a:pt x="5415" y="13292"/>
                    <a:pt x="5388" y="13286"/>
                  </a:cubicBezTo>
                  <a:cubicBezTo>
                    <a:pt x="5360" y="13281"/>
                    <a:pt x="5327" y="13287"/>
                    <a:pt x="5311" y="13300"/>
                  </a:cubicBezTo>
                  <a:cubicBezTo>
                    <a:pt x="5296" y="13316"/>
                    <a:pt x="5265" y="13303"/>
                    <a:pt x="5247" y="13271"/>
                  </a:cubicBezTo>
                  <a:cubicBezTo>
                    <a:pt x="5229" y="13240"/>
                    <a:pt x="5184" y="13217"/>
                    <a:pt x="5152" y="13220"/>
                  </a:cubicBezTo>
                  <a:cubicBezTo>
                    <a:pt x="5120" y="13220"/>
                    <a:pt x="5064" y="13230"/>
                    <a:pt x="5027" y="13238"/>
                  </a:cubicBezTo>
                  <a:cubicBezTo>
                    <a:pt x="4990" y="13248"/>
                    <a:pt x="4934" y="13227"/>
                    <a:pt x="4900" y="13198"/>
                  </a:cubicBezTo>
                  <a:cubicBezTo>
                    <a:pt x="4866" y="13168"/>
                    <a:pt x="4813" y="13150"/>
                    <a:pt x="4780" y="13163"/>
                  </a:cubicBezTo>
                  <a:cubicBezTo>
                    <a:pt x="4747" y="13177"/>
                    <a:pt x="4685" y="13193"/>
                    <a:pt x="4644" y="13207"/>
                  </a:cubicBezTo>
                  <a:cubicBezTo>
                    <a:pt x="4603" y="13219"/>
                    <a:pt x="4553" y="13258"/>
                    <a:pt x="4534" y="13294"/>
                  </a:cubicBezTo>
                  <a:cubicBezTo>
                    <a:pt x="4511" y="13327"/>
                    <a:pt x="4505" y="13384"/>
                    <a:pt x="4514" y="13414"/>
                  </a:cubicBezTo>
                  <a:cubicBezTo>
                    <a:pt x="4522" y="13445"/>
                    <a:pt x="4530" y="13512"/>
                    <a:pt x="4538" y="13563"/>
                  </a:cubicBezTo>
                  <a:cubicBezTo>
                    <a:pt x="4542" y="13615"/>
                    <a:pt x="4534" y="13674"/>
                    <a:pt x="4516" y="13686"/>
                  </a:cubicBezTo>
                  <a:cubicBezTo>
                    <a:pt x="4500" y="13704"/>
                    <a:pt x="4490" y="13742"/>
                    <a:pt x="4498" y="13776"/>
                  </a:cubicBezTo>
                  <a:cubicBezTo>
                    <a:pt x="4506" y="13810"/>
                    <a:pt x="4551" y="13902"/>
                    <a:pt x="4595" y="13987"/>
                  </a:cubicBezTo>
                  <a:cubicBezTo>
                    <a:pt x="4643" y="14068"/>
                    <a:pt x="4685" y="14174"/>
                    <a:pt x="4689" y="14222"/>
                  </a:cubicBezTo>
                  <a:cubicBezTo>
                    <a:pt x="4693" y="14269"/>
                    <a:pt x="4706" y="14323"/>
                    <a:pt x="4721" y="14335"/>
                  </a:cubicBezTo>
                  <a:cubicBezTo>
                    <a:pt x="4733" y="14350"/>
                    <a:pt x="4776" y="14368"/>
                    <a:pt x="4816" y="14370"/>
                  </a:cubicBezTo>
                  <a:cubicBezTo>
                    <a:pt x="4855" y="14376"/>
                    <a:pt x="4902" y="14404"/>
                    <a:pt x="4911" y="14440"/>
                  </a:cubicBezTo>
                  <a:cubicBezTo>
                    <a:pt x="4926" y="14474"/>
                    <a:pt x="4928" y="14515"/>
                    <a:pt x="4918" y="14527"/>
                  </a:cubicBezTo>
                  <a:cubicBezTo>
                    <a:pt x="4910" y="14542"/>
                    <a:pt x="4871" y="14531"/>
                    <a:pt x="4836" y="14501"/>
                  </a:cubicBezTo>
                  <a:cubicBezTo>
                    <a:pt x="4802" y="14470"/>
                    <a:pt x="4757" y="14456"/>
                    <a:pt x="4742" y="14469"/>
                  </a:cubicBezTo>
                  <a:cubicBezTo>
                    <a:pt x="4725" y="14479"/>
                    <a:pt x="4693" y="14504"/>
                    <a:pt x="4676" y="14531"/>
                  </a:cubicBezTo>
                  <a:cubicBezTo>
                    <a:pt x="4657" y="14555"/>
                    <a:pt x="4628" y="14557"/>
                    <a:pt x="4608" y="14541"/>
                  </a:cubicBezTo>
                  <a:cubicBezTo>
                    <a:pt x="4589" y="14526"/>
                    <a:pt x="4557" y="14504"/>
                    <a:pt x="4534" y="14504"/>
                  </a:cubicBezTo>
                  <a:cubicBezTo>
                    <a:pt x="4510" y="14502"/>
                    <a:pt x="4477" y="14483"/>
                    <a:pt x="4459" y="14467"/>
                  </a:cubicBezTo>
                  <a:cubicBezTo>
                    <a:pt x="4440" y="14449"/>
                    <a:pt x="4379" y="14429"/>
                    <a:pt x="4320" y="14426"/>
                  </a:cubicBezTo>
                  <a:cubicBezTo>
                    <a:pt x="4262" y="14424"/>
                    <a:pt x="4196" y="14405"/>
                    <a:pt x="4173" y="14390"/>
                  </a:cubicBezTo>
                  <a:cubicBezTo>
                    <a:pt x="4152" y="14373"/>
                    <a:pt x="4119" y="14385"/>
                    <a:pt x="4107" y="14416"/>
                  </a:cubicBezTo>
                  <a:cubicBezTo>
                    <a:pt x="4094" y="14447"/>
                    <a:pt x="4083" y="14496"/>
                    <a:pt x="4083" y="14526"/>
                  </a:cubicBezTo>
                  <a:cubicBezTo>
                    <a:pt x="4083" y="14555"/>
                    <a:pt x="4109" y="14622"/>
                    <a:pt x="4138" y="14678"/>
                  </a:cubicBezTo>
                  <a:cubicBezTo>
                    <a:pt x="4171" y="14729"/>
                    <a:pt x="4219" y="14781"/>
                    <a:pt x="4251" y="14792"/>
                  </a:cubicBezTo>
                  <a:cubicBezTo>
                    <a:pt x="4283" y="14797"/>
                    <a:pt x="4339" y="14832"/>
                    <a:pt x="4377" y="14860"/>
                  </a:cubicBezTo>
                  <a:cubicBezTo>
                    <a:pt x="4415" y="14887"/>
                    <a:pt x="4463" y="14954"/>
                    <a:pt x="4480" y="15009"/>
                  </a:cubicBezTo>
                  <a:cubicBezTo>
                    <a:pt x="4501" y="15063"/>
                    <a:pt x="4535" y="15131"/>
                    <a:pt x="4561" y="15157"/>
                  </a:cubicBezTo>
                  <a:cubicBezTo>
                    <a:pt x="4580" y="15190"/>
                    <a:pt x="4624" y="15265"/>
                    <a:pt x="4645" y="15338"/>
                  </a:cubicBezTo>
                  <a:cubicBezTo>
                    <a:pt x="4666" y="15411"/>
                    <a:pt x="4697" y="15482"/>
                    <a:pt x="4714" y="15493"/>
                  </a:cubicBezTo>
                  <a:cubicBezTo>
                    <a:pt x="4730" y="15508"/>
                    <a:pt x="4760" y="15550"/>
                    <a:pt x="4772" y="15594"/>
                  </a:cubicBezTo>
                  <a:cubicBezTo>
                    <a:pt x="4786" y="15637"/>
                    <a:pt x="4851" y="15770"/>
                    <a:pt x="4919" y="15885"/>
                  </a:cubicBezTo>
                  <a:cubicBezTo>
                    <a:pt x="4982" y="16006"/>
                    <a:pt x="5048" y="16152"/>
                    <a:pt x="5056" y="16217"/>
                  </a:cubicBezTo>
                  <a:cubicBezTo>
                    <a:pt x="5064" y="16283"/>
                    <a:pt x="5081" y="16401"/>
                    <a:pt x="5081" y="16481"/>
                  </a:cubicBezTo>
                  <a:cubicBezTo>
                    <a:pt x="5081" y="16561"/>
                    <a:pt x="5102" y="16632"/>
                    <a:pt x="5120" y="16635"/>
                  </a:cubicBezTo>
                  <a:cubicBezTo>
                    <a:pt x="5138" y="16638"/>
                    <a:pt x="5181" y="16639"/>
                    <a:pt x="5216" y="16630"/>
                  </a:cubicBezTo>
                  <a:cubicBezTo>
                    <a:pt x="5252" y="16625"/>
                    <a:pt x="5291" y="16609"/>
                    <a:pt x="5304" y="16601"/>
                  </a:cubicBezTo>
                  <a:cubicBezTo>
                    <a:pt x="5316" y="16590"/>
                    <a:pt x="5341" y="16605"/>
                    <a:pt x="5362" y="16621"/>
                  </a:cubicBezTo>
                  <a:cubicBezTo>
                    <a:pt x="5380" y="16643"/>
                    <a:pt x="5421" y="16701"/>
                    <a:pt x="5439" y="16761"/>
                  </a:cubicBezTo>
                  <a:cubicBezTo>
                    <a:pt x="5459" y="16818"/>
                    <a:pt x="5496" y="16885"/>
                    <a:pt x="5513" y="16915"/>
                  </a:cubicBezTo>
                  <a:cubicBezTo>
                    <a:pt x="5533" y="16941"/>
                    <a:pt x="5564" y="17015"/>
                    <a:pt x="5585" y="17074"/>
                  </a:cubicBezTo>
                  <a:cubicBezTo>
                    <a:pt x="5607" y="17133"/>
                    <a:pt x="5640" y="17189"/>
                    <a:pt x="5657" y="17207"/>
                  </a:cubicBezTo>
                  <a:cubicBezTo>
                    <a:pt x="5674" y="17223"/>
                    <a:pt x="5712" y="17219"/>
                    <a:pt x="5740" y="17203"/>
                  </a:cubicBezTo>
                  <a:cubicBezTo>
                    <a:pt x="5768" y="17191"/>
                    <a:pt x="5818" y="17195"/>
                    <a:pt x="5857" y="17214"/>
                  </a:cubicBezTo>
                  <a:cubicBezTo>
                    <a:pt x="5893" y="17235"/>
                    <a:pt x="5951" y="17275"/>
                    <a:pt x="5985" y="17305"/>
                  </a:cubicBezTo>
                  <a:cubicBezTo>
                    <a:pt x="6019" y="17332"/>
                    <a:pt x="6080" y="17360"/>
                    <a:pt x="6122" y="17365"/>
                  </a:cubicBezTo>
                  <a:cubicBezTo>
                    <a:pt x="6165" y="17368"/>
                    <a:pt x="6211" y="17390"/>
                    <a:pt x="6227" y="17407"/>
                  </a:cubicBezTo>
                  <a:cubicBezTo>
                    <a:pt x="6243" y="17425"/>
                    <a:pt x="6252" y="17458"/>
                    <a:pt x="6248" y="17479"/>
                  </a:cubicBezTo>
                  <a:cubicBezTo>
                    <a:pt x="6248" y="17501"/>
                    <a:pt x="6245" y="17545"/>
                    <a:pt x="6250" y="17579"/>
                  </a:cubicBezTo>
                  <a:cubicBezTo>
                    <a:pt x="6254" y="17613"/>
                    <a:pt x="6257" y="17715"/>
                    <a:pt x="6261" y="17806"/>
                  </a:cubicBezTo>
                  <a:cubicBezTo>
                    <a:pt x="6265" y="17897"/>
                    <a:pt x="6250" y="18042"/>
                    <a:pt x="6237" y="18128"/>
                  </a:cubicBezTo>
                  <a:cubicBezTo>
                    <a:pt x="6229" y="18216"/>
                    <a:pt x="6221" y="18352"/>
                    <a:pt x="6242" y="18430"/>
                  </a:cubicBezTo>
                  <a:cubicBezTo>
                    <a:pt x="6255" y="18511"/>
                    <a:pt x="6284" y="18645"/>
                    <a:pt x="6296" y="18732"/>
                  </a:cubicBezTo>
                  <a:cubicBezTo>
                    <a:pt x="6304" y="18819"/>
                    <a:pt x="6404" y="18759"/>
                    <a:pt x="6508" y="18598"/>
                  </a:cubicBezTo>
                  <a:cubicBezTo>
                    <a:pt x="6613" y="18440"/>
                    <a:pt x="6770" y="18273"/>
                    <a:pt x="6861" y="18238"/>
                  </a:cubicBezTo>
                  <a:cubicBezTo>
                    <a:pt x="6951" y="18202"/>
                    <a:pt x="7129" y="18216"/>
                    <a:pt x="7257" y="18274"/>
                  </a:cubicBezTo>
                  <a:cubicBezTo>
                    <a:pt x="7384" y="18332"/>
                    <a:pt x="7607" y="18511"/>
                    <a:pt x="7755" y="18669"/>
                  </a:cubicBezTo>
                  <a:cubicBezTo>
                    <a:pt x="7900" y="18830"/>
                    <a:pt x="8136" y="19180"/>
                    <a:pt x="8283" y="19447"/>
                  </a:cubicBezTo>
                  <a:cubicBezTo>
                    <a:pt x="8424" y="19719"/>
                    <a:pt x="8603" y="19926"/>
                    <a:pt x="8677" y="19913"/>
                  </a:cubicBezTo>
                  <a:cubicBezTo>
                    <a:pt x="8693" y="19910"/>
                    <a:pt x="8713" y="19907"/>
                    <a:pt x="8735" y="19905"/>
                  </a:cubicBezTo>
                  <a:cubicBezTo>
                    <a:pt x="8743" y="19904"/>
                    <a:pt x="8750" y="19903"/>
                    <a:pt x="8757" y="19903"/>
                  </a:cubicBezTo>
                  <a:cubicBezTo>
                    <a:pt x="8780" y="19900"/>
                    <a:pt x="8804" y="19899"/>
                    <a:pt x="8826" y="19897"/>
                  </a:cubicBezTo>
                  <a:cubicBezTo>
                    <a:pt x="8828" y="19897"/>
                    <a:pt x="8829" y="19897"/>
                    <a:pt x="8832" y="19897"/>
                  </a:cubicBezTo>
                  <a:cubicBezTo>
                    <a:pt x="8870" y="19895"/>
                    <a:pt x="8902" y="19894"/>
                    <a:pt x="8919" y="19894"/>
                  </a:cubicBezTo>
                  <a:cubicBezTo>
                    <a:pt x="8922" y="19894"/>
                    <a:pt x="8925" y="19894"/>
                    <a:pt x="8928" y="19894"/>
                  </a:cubicBezTo>
                  <a:cubicBezTo>
                    <a:pt x="8941" y="19894"/>
                    <a:pt x="8905" y="19723"/>
                    <a:pt x="8846" y="19450"/>
                  </a:cubicBezTo>
                  <a:cubicBezTo>
                    <a:pt x="8780" y="19175"/>
                    <a:pt x="8705" y="18796"/>
                    <a:pt x="8625" y="18379"/>
                  </a:cubicBezTo>
                  <a:cubicBezTo>
                    <a:pt x="8460" y="17478"/>
                    <a:pt x="8280" y="16583"/>
                    <a:pt x="8106" y="15689"/>
                  </a:cubicBezTo>
                  <a:cubicBezTo>
                    <a:pt x="7944" y="14869"/>
                    <a:pt x="8174" y="14171"/>
                    <a:pt x="8618" y="14131"/>
                  </a:cubicBezTo>
                  <a:cubicBezTo>
                    <a:pt x="8647" y="14128"/>
                    <a:pt x="8676" y="14126"/>
                    <a:pt x="8705" y="14123"/>
                  </a:cubicBezTo>
                  <a:cubicBezTo>
                    <a:pt x="8802" y="14116"/>
                    <a:pt x="8907" y="14128"/>
                    <a:pt x="9016" y="14151"/>
                  </a:cubicBezTo>
                  <a:cubicBezTo>
                    <a:pt x="8969" y="14123"/>
                    <a:pt x="9002" y="14098"/>
                    <a:pt x="9125" y="14089"/>
                  </a:cubicBezTo>
                  <a:cubicBezTo>
                    <a:pt x="9330" y="14073"/>
                    <a:pt x="9536" y="14114"/>
                    <a:pt x="9586" y="14179"/>
                  </a:cubicBezTo>
                  <a:cubicBezTo>
                    <a:pt x="9637" y="14244"/>
                    <a:pt x="9470" y="14262"/>
                    <a:pt x="9217" y="14208"/>
                  </a:cubicBezTo>
                  <a:cubicBezTo>
                    <a:pt x="9214" y="14208"/>
                    <a:pt x="9213" y="14207"/>
                    <a:pt x="9210" y="14207"/>
                  </a:cubicBezTo>
                  <a:cubicBezTo>
                    <a:pt x="9538" y="14324"/>
                    <a:pt x="9872" y="14551"/>
                    <a:pt x="10079" y="14827"/>
                  </a:cubicBezTo>
                  <a:cubicBezTo>
                    <a:pt x="10400" y="15244"/>
                    <a:pt x="10749" y="15676"/>
                    <a:pt x="10864" y="15774"/>
                  </a:cubicBezTo>
                  <a:cubicBezTo>
                    <a:pt x="10978" y="15875"/>
                    <a:pt x="11204" y="16115"/>
                    <a:pt x="11365" y="16308"/>
                  </a:cubicBezTo>
                  <a:cubicBezTo>
                    <a:pt x="11524" y="16504"/>
                    <a:pt x="11855" y="16671"/>
                    <a:pt x="12099" y="16690"/>
                  </a:cubicBezTo>
                  <a:cubicBezTo>
                    <a:pt x="12340" y="16706"/>
                    <a:pt x="12757" y="16773"/>
                    <a:pt x="13023" y="16849"/>
                  </a:cubicBezTo>
                  <a:cubicBezTo>
                    <a:pt x="13288" y="16920"/>
                    <a:pt x="13577" y="17097"/>
                    <a:pt x="13675" y="17232"/>
                  </a:cubicBezTo>
                  <a:cubicBezTo>
                    <a:pt x="13700" y="17265"/>
                    <a:pt x="13725" y="17309"/>
                    <a:pt x="13749" y="17358"/>
                  </a:cubicBezTo>
                  <a:cubicBezTo>
                    <a:pt x="13828" y="17504"/>
                    <a:pt x="13914" y="17694"/>
                    <a:pt x="13956" y="17844"/>
                  </a:cubicBezTo>
                  <a:cubicBezTo>
                    <a:pt x="14021" y="18037"/>
                    <a:pt x="14107" y="18185"/>
                    <a:pt x="14157" y="18168"/>
                  </a:cubicBezTo>
                  <a:cubicBezTo>
                    <a:pt x="14207" y="18150"/>
                    <a:pt x="14299" y="18489"/>
                    <a:pt x="14344" y="18926"/>
                  </a:cubicBezTo>
                  <a:cubicBezTo>
                    <a:pt x="14402" y="19361"/>
                    <a:pt x="14531" y="19764"/>
                    <a:pt x="14643" y="19825"/>
                  </a:cubicBezTo>
                  <a:cubicBezTo>
                    <a:pt x="14756" y="19881"/>
                    <a:pt x="14931" y="20233"/>
                    <a:pt x="15030" y="20607"/>
                  </a:cubicBezTo>
                  <a:cubicBezTo>
                    <a:pt x="15130" y="20979"/>
                    <a:pt x="15237" y="21298"/>
                    <a:pt x="15269" y="21309"/>
                  </a:cubicBezTo>
                  <a:cubicBezTo>
                    <a:pt x="15301" y="21323"/>
                    <a:pt x="15377" y="21287"/>
                    <a:pt x="15438" y="21231"/>
                  </a:cubicBezTo>
                  <a:cubicBezTo>
                    <a:pt x="15498" y="21174"/>
                    <a:pt x="15584" y="21125"/>
                    <a:pt x="15626" y="21117"/>
                  </a:cubicBezTo>
                  <a:cubicBezTo>
                    <a:pt x="15668" y="21106"/>
                    <a:pt x="15746" y="21127"/>
                    <a:pt x="15797" y="21155"/>
                  </a:cubicBezTo>
                  <a:cubicBezTo>
                    <a:pt x="15847" y="21187"/>
                    <a:pt x="15953" y="21274"/>
                    <a:pt x="16026" y="21363"/>
                  </a:cubicBezTo>
                  <a:cubicBezTo>
                    <a:pt x="16101" y="21448"/>
                    <a:pt x="16174" y="21542"/>
                    <a:pt x="16192" y="21569"/>
                  </a:cubicBezTo>
                  <a:cubicBezTo>
                    <a:pt x="16210" y="21595"/>
                    <a:pt x="16263" y="21538"/>
                    <a:pt x="16310" y="21439"/>
                  </a:cubicBezTo>
                  <a:cubicBezTo>
                    <a:pt x="16356" y="21339"/>
                    <a:pt x="16411" y="21174"/>
                    <a:pt x="16428" y="21067"/>
                  </a:cubicBezTo>
                  <a:cubicBezTo>
                    <a:pt x="16444" y="20961"/>
                    <a:pt x="16474" y="20847"/>
                    <a:pt x="16483" y="20808"/>
                  </a:cubicBezTo>
                  <a:cubicBezTo>
                    <a:pt x="16491" y="20770"/>
                    <a:pt x="16516" y="20678"/>
                    <a:pt x="16525" y="20601"/>
                  </a:cubicBezTo>
                  <a:cubicBezTo>
                    <a:pt x="16533" y="20523"/>
                    <a:pt x="16578" y="20357"/>
                    <a:pt x="16619" y="20232"/>
                  </a:cubicBezTo>
                  <a:cubicBezTo>
                    <a:pt x="16661" y="20107"/>
                    <a:pt x="16711" y="19992"/>
                    <a:pt x="16734" y="19978"/>
                  </a:cubicBezTo>
                  <a:cubicBezTo>
                    <a:pt x="16755" y="19962"/>
                    <a:pt x="16794" y="19896"/>
                    <a:pt x="16811" y="19826"/>
                  </a:cubicBezTo>
                  <a:cubicBezTo>
                    <a:pt x="16835" y="19759"/>
                    <a:pt x="16855" y="19703"/>
                    <a:pt x="16864" y="19709"/>
                  </a:cubicBezTo>
                  <a:cubicBezTo>
                    <a:pt x="16872" y="19716"/>
                    <a:pt x="16883" y="19697"/>
                    <a:pt x="16883" y="19671"/>
                  </a:cubicBezTo>
                  <a:cubicBezTo>
                    <a:pt x="16883" y="19645"/>
                    <a:pt x="16909" y="19599"/>
                    <a:pt x="16934" y="19564"/>
                  </a:cubicBezTo>
                  <a:cubicBezTo>
                    <a:pt x="16960" y="19531"/>
                    <a:pt x="16969" y="19475"/>
                    <a:pt x="16956" y="19436"/>
                  </a:cubicBezTo>
                  <a:cubicBezTo>
                    <a:pt x="16940" y="19400"/>
                    <a:pt x="16950" y="19327"/>
                    <a:pt x="16966" y="19272"/>
                  </a:cubicBezTo>
                  <a:cubicBezTo>
                    <a:pt x="16985" y="19220"/>
                    <a:pt x="17041" y="19200"/>
                    <a:pt x="17089" y="19227"/>
                  </a:cubicBezTo>
                  <a:cubicBezTo>
                    <a:pt x="17137" y="19253"/>
                    <a:pt x="17197" y="19310"/>
                    <a:pt x="17226" y="19345"/>
                  </a:cubicBezTo>
                  <a:cubicBezTo>
                    <a:pt x="17254" y="19382"/>
                    <a:pt x="17362" y="19455"/>
                    <a:pt x="17466" y="19511"/>
                  </a:cubicBezTo>
                  <a:cubicBezTo>
                    <a:pt x="17570" y="19564"/>
                    <a:pt x="17724" y="19625"/>
                    <a:pt x="17807" y="19649"/>
                  </a:cubicBezTo>
                  <a:cubicBezTo>
                    <a:pt x="17891" y="19673"/>
                    <a:pt x="17992" y="19690"/>
                    <a:pt x="18032" y="19688"/>
                  </a:cubicBezTo>
                  <a:cubicBezTo>
                    <a:pt x="18072" y="19688"/>
                    <a:pt x="18095" y="19621"/>
                    <a:pt x="18087" y="19542"/>
                  </a:cubicBezTo>
                  <a:cubicBezTo>
                    <a:pt x="18074" y="19463"/>
                    <a:pt x="18053" y="19343"/>
                    <a:pt x="18041" y="19274"/>
                  </a:cubicBezTo>
                  <a:cubicBezTo>
                    <a:pt x="18024" y="19206"/>
                    <a:pt x="18002" y="19097"/>
                    <a:pt x="17994" y="19032"/>
                  </a:cubicBezTo>
                  <a:cubicBezTo>
                    <a:pt x="17985" y="18967"/>
                    <a:pt x="17986" y="18905"/>
                    <a:pt x="17998" y="18889"/>
                  </a:cubicBezTo>
                  <a:cubicBezTo>
                    <a:pt x="18009" y="18872"/>
                    <a:pt x="18043" y="18881"/>
                    <a:pt x="18070" y="18899"/>
                  </a:cubicBezTo>
                  <a:cubicBezTo>
                    <a:pt x="18096" y="18918"/>
                    <a:pt x="18144" y="18945"/>
                    <a:pt x="18177" y="18960"/>
                  </a:cubicBezTo>
                  <a:cubicBezTo>
                    <a:pt x="18209" y="18975"/>
                    <a:pt x="18246" y="18980"/>
                    <a:pt x="18258" y="18969"/>
                  </a:cubicBezTo>
                  <a:cubicBezTo>
                    <a:pt x="18268" y="18956"/>
                    <a:pt x="18315" y="18965"/>
                    <a:pt x="18357" y="18973"/>
                  </a:cubicBezTo>
                  <a:cubicBezTo>
                    <a:pt x="18398" y="18984"/>
                    <a:pt x="18460" y="19030"/>
                    <a:pt x="18490" y="19077"/>
                  </a:cubicBezTo>
                  <a:cubicBezTo>
                    <a:pt x="18523" y="19120"/>
                    <a:pt x="18592" y="19201"/>
                    <a:pt x="18650" y="19249"/>
                  </a:cubicBezTo>
                  <a:cubicBezTo>
                    <a:pt x="18706" y="19298"/>
                    <a:pt x="18812" y="19377"/>
                    <a:pt x="18885" y="19421"/>
                  </a:cubicBezTo>
                  <a:cubicBezTo>
                    <a:pt x="18958" y="19468"/>
                    <a:pt x="19035" y="19490"/>
                    <a:pt x="19056" y="19477"/>
                  </a:cubicBezTo>
                  <a:cubicBezTo>
                    <a:pt x="19077" y="19461"/>
                    <a:pt x="19109" y="19419"/>
                    <a:pt x="19126" y="19381"/>
                  </a:cubicBezTo>
                  <a:cubicBezTo>
                    <a:pt x="19146" y="19345"/>
                    <a:pt x="19183" y="19338"/>
                    <a:pt x="19215" y="19369"/>
                  </a:cubicBezTo>
                  <a:cubicBezTo>
                    <a:pt x="19247" y="19401"/>
                    <a:pt x="19298" y="19426"/>
                    <a:pt x="19327" y="19426"/>
                  </a:cubicBezTo>
                  <a:cubicBezTo>
                    <a:pt x="19357" y="19426"/>
                    <a:pt x="19426" y="19416"/>
                    <a:pt x="19482" y="19405"/>
                  </a:cubicBezTo>
                  <a:cubicBezTo>
                    <a:pt x="19537" y="19391"/>
                    <a:pt x="19637" y="19436"/>
                    <a:pt x="19706" y="19497"/>
                  </a:cubicBezTo>
                  <a:cubicBezTo>
                    <a:pt x="19774" y="19559"/>
                    <a:pt x="19856" y="19593"/>
                    <a:pt x="19890" y="19578"/>
                  </a:cubicBezTo>
                  <a:cubicBezTo>
                    <a:pt x="19924" y="19562"/>
                    <a:pt x="20012" y="19577"/>
                    <a:pt x="20088" y="19615"/>
                  </a:cubicBezTo>
                  <a:cubicBezTo>
                    <a:pt x="20163" y="19655"/>
                    <a:pt x="20270" y="19739"/>
                    <a:pt x="20326" y="19804"/>
                  </a:cubicBezTo>
                  <a:cubicBezTo>
                    <a:pt x="20381" y="19871"/>
                    <a:pt x="20443" y="19919"/>
                    <a:pt x="20463" y="19916"/>
                  </a:cubicBezTo>
                  <a:cubicBezTo>
                    <a:pt x="20484" y="19914"/>
                    <a:pt x="20552" y="20040"/>
                    <a:pt x="20621" y="20197"/>
                  </a:cubicBezTo>
                  <a:cubicBezTo>
                    <a:pt x="20684" y="20358"/>
                    <a:pt x="20789" y="20529"/>
                    <a:pt x="20845" y="20580"/>
                  </a:cubicBezTo>
                  <a:cubicBezTo>
                    <a:pt x="20900" y="20635"/>
                    <a:pt x="20962" y="20657"/>
                    <a:pt x="20979" y="20635"/>
                  </a:cubicBezTo>
                  <a:cubicBezTo>
                    <a:pt x="20997" y="20612"/>
                    <a:pt x="20998" y="20534"/>
                    <a:pt x="20994" y="20458"/>
                  </a:cubicBezTo>
                  <a:cubicBezTo>
                    <a:pt x="20986" y="20384"/>
                    <a:pt x="20993" y="20302"/>
                    <a:pt x="21008" y="20271"/>
                  </a:cubicBezTo>
                  <a:cubicBezTo>
                    <a:pt x="21024" y="20242"/>
                    <a:pt x="21042" y="20192"/>
                    <a:pt x="21037" y="20161"/>
                  </a:cubicBezTo>
                  <a:cubicBezTo>
                    <a:pt x="21034" y="20130"/>
                    <a:pt x="21044" y="20097"/>
                    <a:pt x="21052" y="20087"/>
                  </a:cubicBezTo>
                  <a:cubicBezTo>
                    <a:pt x="21060" y="20077"/>
                    <a:pt x="21052" y="20015"/>
                    <a:pt x="21020" y="19956"/>
                  </a:cubicBezTo>
                  <a:cubicBezTo>
                    <a:pt x="20996" y="19892"/>
                    <a:pt x="20974" y="19802"/>
                    <a:pt x="20974" y="19754"/>
                  </a:cubicBezTo>
                  <a:cubicBezTo>
                    <a:pt x="20974" y="19706"/>
                    <a:pt x="20979" y="19641"/>
                    <a:pt x="20995" y="19622"/>
                  </a:cubicBezTo>
                  <a:cubicBezTo>
                    <a:pt x="21003" y="19596"/>
                    <a:pt x="20995" y="19478"/>
                    <a:pt x="20970" y="19359"/>
                  </a:cubicBezTo>
                  <a:cubicBezTo>
                    <a:pt x="20946" y="19240"/>
                    <a:pt x="20902" y="19098"/>
                    <a:pt x="20871" y="19043"/>
                  </a:cubicBezTo>
                  <a:cubicBezTo>
                    <a:pt x="20842" y="18987"/>
                    <a:pt x="20805" y="18904"/>
                    <a:pt x="20797" y="18855"/>
                  </a:cubicBezTo>
                  <a:cubicBezTo>
                    <a:pt x="20789" y="18806"/>
                    <a:pt x="20752" y="18690"/>
                    <a:pt x="20719" y="18597"/>
                  </a:cubicBezTo>
                  <a:cubicBezTo>
                    <a:pt x="20693" y="18499"/>
                    <a:pt x="20650" y="18376"/>
                    <a:pt x="20638" y="18315"/>
                  </a:cubicBezTo>
                  <a:cubicBezTo>
                    <a:pt x="20629" y="18254"/>
                    <a:pt x="20602" y="18173"/>
                    <a:pt x="20589" y="18132"/>
                  </a:cubicBezTo>
                  <a:cubicBezTo>
                    <a:pt x="20577" y="18090"/>
                    <a:pt x="20556" y="18023"/>
                    <a:pt x="20548" y="17979"/>
                  </a:cubicBezTo>
                  <a:cubicBezTo>
                    <a:pt x="20537" y="17938"/>
                    <a:pt x="20515" y="17830"/>
                    <a:pt x="20495" y="17742"/>
                  </a:cubicBezTo>
                  <a:cubicBezTo>
                    <a:pt x="20470" y="17655"/>
                    <a:pt x="20463" y="17556"/>
                    <a:pt x="20475" y="17523"/>
                  </a:cubicBezTo>
                  <a:cubicBezTo>
                    <a:pt x="20484" y="17489"/>
                    <a:pt x="20488" y="17443"/>
                    <a:pt x="20488" y="17416"/>
                  </a:cubicBezTo>
                  <a:cubicBezTo>
                    <a:pt x="20479" y="17391"/>
                    <a:pt x="20457" y="17353"/>
                    <a:pt x="20429" y="17332"/>
                  </a:cubicBezTo>
                  <a:cubicBezTo>
                    <a:pt x="20400" y="17316"/>
                    <a:pt x="20352" y="17291"/>
                    <a:pt x="20320" y="17281"/>
                  </a:cubicBezTo>
                  <a:cubicBezTo>
                    <a:pt x="20289" y="17271"/>
                    <a:pt x="20242" y="17229"/>
                    <a:pt x="20216" y="17183"/>
                  </a:cubicBezTo>
                  <a:cubicBezTo>
                    <a:pt x="20191" y="17137"/>
                    <a:pt x="20162" y="17068"/>
                    <a:pt x="20162" y="17030"/>
                  </a:cubicBezTo>
                  <a:cubicBezTo>
                    <a:pt x="20154" y="16992"/>
                    <a:pt x="20167" y="16929"/>
                    <a:pt x="20180" y="16890"/>
                  </a:cubicBezTo>
                  <a:cubicBezTo>
                    <a:pt x="20192" y="16850"/>
                    <a:pt x="20221" y="16810"/>
                    <a:pt x="20237" y="16800"/>
                  </a:cubicBezTo>
                  <a:cubicBezTo>
                    <a:pt x="20254" y="16789"/>
                    <a:pt x="20280" y="16800"/>
                    <a:pt x="20299" y="16822"/>
                  </a:cubicBezTo>
                  <a:cubicBezTo>
                    <a:pt x="20315" y="16845"/>
                    <a:pt x="20342" y="16870"/>
                    <a:pt x="20359" y="16878"/>
                  </a:cubicBezTo>
                  <a:cubicBezTo>
                    <a:pt x="20376" y="16884"/>
                    <a:pt x="20415" y="16880"/>
                    <a:pt x="20446" y="16860"/>
                  </a:cubicBezTo>
                  <a:cubicBezTo>
                    <a:pt x="20479" y="16844"/>
                    <a:pt x="20542" y="16824"/>
                    <a:pt x="20589" y="16822"/>
                  </a:cubicBezTo>
                  <a:cubicBezTo>
                    <a:pt x="20636" y="16817"/>
                    <a:pt x="20695" y="16811"/>
                    <a:pt x="20720" y="16808"/>
                  </a:cubicBezTo>
                  <a:cubicBezTo>
                    <a:pt x="20745" y="16806"/>
                    <a:pt x="20775" y="16792"/>
                    <a:pt x="20788" y="16784"/>
                  </a:cubicBezTo>
                  <a:cubicBezTo>
                    <a:pt x="20801" y="16777"/>
                    <a:pt x="20825" y="16794"/>
                    <a:pt x="20841" y="16828"/>
                  </a:cubicBezTo>
                  <a:cubicBezTo>
                    <a:pt x="20857" y="16862"/>
                    <a:pt x="20887" y="16895"/>
                    <a:pt x="20904" y="16903"/>
                  </a:cubicBezTo>
                  <a:cubicBezTo>
                    <a:pt x="20923" y="16908"/>
                    <a:pt x="20947" y="16908"/>
                    <a:pt x="20955" y="16892"/>
                  </a:cubicBezTo>
                  <a:cubicBezTo>
                    <a:pt x="20964" y="16876"/>
                    <a:pt x="20985" y="16873"/>
                    <a:pt x="21000" y="16878"/>
                  </a:cubicBezTo>
                  <a:cubicBezTo>
                    <a:pt x="21014" y="16887"/>
                    <a:pt x="21020" y="16855"/>
                    <a:pt x="21020" y="16812"/>
                  </a:cubicBezTo>
                  <a:cubicBezTo>
                    <a:pt x="21015" y="16769"/>
                    <a:pt x="21010" y="16692"/>
                    <a:pt x="21018" y="16642"/>
                  </a:cubicBezTo>
                  <a:cubicBezTo>
                    <a:pt x="21018" y="16591"/>
                    <a:pt x="20998" y="16517"/>
                    <a:pt x="20968" y="16478"/>
                  </a:cubicBezTo>
                  <a:cubicBezTo>
                    <a:pt x="20936" y="16442"/>
                    <a:pt x="20897" y="16385"/>
                    <a:pt x="20884" y="16353"/>
                  </a:cubicBezTo>
                  <a:cubicBezTo>
                    <a:pt x="20868" y="16323"/>
                    <a:pt x="20854" y="16267"/>
                    <a:pt x="20854" y="16227"/>
                  </a:cubicBezTo>
                  <a:cubicBezTo>
                    <a:pt x="20854" y="16188"/>
                    <a:pt x="20837" y="16056"/>
                    <a:pt x="20821" y="15933"/>
                  </a:cubicBezTo>
                  <a:cubicBezTo>
                    <a:pt x="20799" y="15811"/>
                    <a:pt x="20773" y="15585"/>
                    <a:pt x="20764" y="15432"/>
                  </a:cubicBezTo>
                  <a:cubicBezTo>
                    <a:pt x="20747" y="15279"/>
                    <a:pt x="20731" y="15105"/>
                    <a:pt x="20727" y="15044"/>
                  </a:cubicBezTo>
                  <a:cubicBezTo>
                    <a:pt x="20718" y="14985"/>
                    <a:pt x="20709" y="14874"/>
                    <a:pt x="20709" y="14800"/>
                  </a:cubicBezTo>
                  <a:cubicBezTo>
                    <a:pt x="20704" y="14727"/>
                    <a:pt x="20696" y="14569"/>
                    <a:pt x="20688" y="14450"/>
                  </a:cubicBezTo>
                  <a:cubicBezTo>
                    <a:pt x="20679" y="14331"/>
                    <a:pt x="20680" y="14239"/>
                    <a:pt x="20692" y="14239"/>
                  </a:cubicBezTo>
                  <a:cubicBezTo>
                    <a:pt x="20704" y="14244"/>
                    <a:pt x="20736" y="14262"/>
                    <a:pt x="20764" y="14280"/>
                  </a:cubicBezTo>
                  <a:cubicBezTo>
                    <a:pt x="20789" y="14302"/>
                    <a:pt x="20852" y="14365"/>
                    <a:pt x="20901" y="14422"/>
                  </a:cubicBezTo>
                  <a:cubicBezTo>
                    <a:pt x="20947" y="14484"/>
                    <a:pt x="21015" y="14541"/>
                    <a:pt x="21044" y="14565"/>
                  </a:cubicBezTo>
                  <a:cubicBezTo>
                    <a:pt x="21073" y="14586"/>
                    <a:pt x="21130" y="14600"/>
                    <a:pt x="21169" y="14597"/>
                  </a:cubicBezTo>
                  <a:cubicBezTo>
                    <a:pt x="21207" y="14593"/>
                    <a:pt x="21253" y="14603"/>
                    <a:pt x="21273" y="14610"/>
                  </a:cubicBezTo>
                  <a:cubicBezTo>
                    <a:pt x="21290" y="14622"/>
                    <a:pt x="21310" y="14658"/>
                    <a:pt x="21325" y="14689"/>
                  </a:cubicBezTo>
                  <a:cubicBezTo>
                    <a:pt x="21333" y="14723"/>
                    <a:pt x="21352" y="14763"/>
                    <a:pt x="21365" y="14777"/>
                  </a:cubicBezTo>
                  <a:cubicBezTo>
                    <a:pt x="21377" y="14792"/>
                    <a:pt x="21397" y="14799"/>
                    <a:pt x="21410" y="14793"/>
                  </a:cubicBezTo>
                  <a:cubicBezTo>
                    <a:pt x="21423" y="14789"/>
                    <a:pt x="21444" y="14746"/>
                    <a:pt x="21452" y="14701"/>
                  </a:cubicBezTo>
                  <a:cubicBezTo>
                    <a:pt x="21467" y="14659"/>
                    <a:pt x="21487" y="14614"/>
                    <a:pt x="21506" y="14602"/>
                  </a:cubicBezTo>
                  <a:cubicBezTo>
                    <a:pt x="21525" y="14593"/>
                    <a:pt x="21552" y="14534"/>
                    <a:pt x="21568" y="14473"/>
                  </a:cubicBezTo>
                  <a:cubicBezTo>
                    <a:pt x="21576" y="14410"/>
                    <a:pt x="21589" y="14333"/>
                    <a:pt x="21589" y="14298"/>
                  </a:cubicBezTo>
                  <a:cubicBezTo>
                    <a:pt x="21585" y="14264"/>
                    <a:pt x="21554" y="14174"/>
                    <a:pt x="21528" y="14094"/>
                  </a:cubicBezTo>
                  <a:cubicBezTo>
                    <a:pt x="21496" y="14018"/>
                    <a:pt x="21447" y="13856"/>
                    <a:pt x="21404" y="13742"/>
                  </a:cubicBezTo>
                  <a:cubicBezTo>
                    <a:pt x="21371" y="13624"/>
                    <a:pt x="21315" y="13439"/>
                    <a:pt x="21299" y="13324"/>
                  </a:cubicBezTo>
                  <a:cubicBezTo>
                    <a:pt x="21278" y="13211"/>
                    <a:pt x="21255" y="13069"/>
                    <a:pt x="21250" y="13011"/>
                  </a:cubicBezTo>
                  <a:cubicBezTo>
                    <a:pt x="21239" y="12953"/>
                    <a:pt x="21254" y="12886"/>
                    <a:pt x="21263" y="12860"/>
                  </a:cubicBezTo>
                  <a:cubicBezTo>
                    <a:pt x="21279" y="12839"/>
                    <a:pt x="21309" y="12807"/>
                    <a:pt x="21335" y="12795"/>
                  </a:cubicBezTo>
                  <a:cubicBezTo>
                    <a:pt x="21361" y="12783"/>
                    <a:pt x="21384" y="12733"/>
                    <a:pt x="21388" y="12683"/>
                  </a:cubicBezTo>
                  <a:cubicBezTo>
                    <a:pt x="21392" y="12633"/>
                    <a:pt x="21383" y="12567"/>
                    <a:pt x="21374" y="12535"/>
                  </a:cubicBezTo>
                  <a:cubicBezTo>
                    <a:pt x="21365" y="12502"/>
                    <a:pt x="21347" y="12444"/>
                    <a:pt x="21342" y="12402"/>
                  </a:cubicBezTo>
                  <a:cubicBezTo>
                    <a:pt x="21334" y="12362"/>
                    <a:pt x="21342" y="12279"/>
                    <a:pt x="21358" y="12221"/>
                  </a:cubicBezTo>
                  <a:cubicBezTo>
                    <a:pt x="21371" y="12162"/>
                    <a:pt x="21397" y="12106"/>
                    <a:pt x="21408" y="12092"/>
                  </a:cubicBezTo>
                  <a:cubicBezTo>
                    <a:pt x="21420" y="12077"/>
                    <a:pt x="21440" y="12035"/>
                    <a:pt x="21448" y="11994"/>
                  </a:cubicBezTo>
                  <a:cubicBezTo>
                    <a:pt x="21457" y="11959"/>
                    <a:pt x="21452" y="11916"/>
                    <a:pt x="21447" y="11886"/>
                  </a:cubicBezTo>
                  <a:cubicBezTo>
                    <a:pt x="21445" y="11884"/>
                    <a:pt x="21447" y="11875"/>
                    <a:pt x="21445" y="11873"/>
                  </a:cubicBezTo>
                  <a:cubicBezTo>
                    <a:pt x="21443" y="11867"/>
                    <a:pt x="21440" y="11859"/>
                    <a:pt x="21435" y="11851"/>
                  </a:cubicBezTo>
                  <a:cubicBezTo>
                    <a:pt x="21424" y="11831"/>
                    <a:pt x="21393" y="11786"/>
                    <a:pt x="21361" y="11745"/>
                  </a:cubicBezTo>
                  <a:cubicBezTo>
                    <a:pt x="21326" y="11700"/>
                    <a:pt x="21267" y="11615"/>
                    <a:pt x="21238" y="11549"/>
                  </a:cubicBezTo>
                  <a:cubicBezTo>
                    <a:pt x="21205" y="11487"/>
                    <a:pt x="21166" y="11418"/>
                    <a:pt x="21149" y="11401"/>
                  </a:cubicBezTo>
                  <a:cubicBezTo>
                    <a:pt x="21131" y="11384"/>
                    <a:pt x="21106" y="11330"/>
                    <a:pt x="21094" y="11283"/>
                  </a:cubicBezTo>
                  <a:cubicBezTo>
                    <a:pt x="21082" y="11236"/>
                    <a:pt x="21068" y="11150"/>
                    <a:pt x="21064" y="11092"/>
                  </a:cubicBezTo>
                  <a:cubicBezTo>
                    <a:pt x="21064" y="11033"/>
                    <a:pt x="21048" y="10970"/>
                    <a:pt x="21035" y="10950"/>
                  </a:cubicBezTo>
                  <a:cubicBezTo>
                    <a:pt x="21020" y="10931"/>
                    <a:pt x="20997" y="10926"/>
                    <a:pt x="20982" y="10944"/>
                  </a:cubicBezTo>
                  <a:cubicBezTo>
                    <a:pt x="20967" y="10961"/>
                    <a:pt x="20954" y="11006"/>
                    <a:pt x="20950" y="11045"/>
                  </a:cubicBezTo>
                  <a:cubicBezTo>
                    <a:pt x="20950" y="11084"/>
                    <a:pt x="20929" y="11121"/>
                    <a:pt x="20909" y="11124"/>
                  </a:cubicBezTo>
                  <a:cubicBezTo>
                    <a:pt x="20889" y="11130"/>
                    <a:pt x="20832" y="11113"/>
                    <a:pt x="20783" y="11095"/>
                  </a:cubicBezTo>
                  <a:cubicBezTo>
                    <a:pt x="20733" y="11076"/>
                    <a:pt x="20684" y="11072"/>
                    <a:pt x="20669" y="11083"/>
                  </a:cubicBezTo>
                  <a:cubicBezTo>
                    <a:pt x="20660" y="11101"/>
                    <a:pt x="20647" y="11124"/>
                    <a:pt x="20642" y="11144"/>
                  </a:cubicBezTo>
                  <a:cubicBezTo>
                    <a:pt x="20642" y="11165"/>
                    <a:pt x="20622" y="11160"/>
                    <a:pt x="20604" y="11131"/>
                  </a:cubicBezTo>
                  <a:cubicBezTo>
                    <a:pt x="20584" y="11103"/>
                    <a:pt x="20546" y="11053"/>
                    <a:pt x="20522" y="11019"/>
                  </a:cubicBezTo>
                  <a:cubicBezTo>
                    <a:pt x="20494" y="10989"/>
                    <a:pt x="20467" y="10954"/>
                    <a:pt x="20457" y="10950"/>
                  </a:cubicBezTo>
                  <a:cubicBezTo>
                    <a:pt x="20448" y="10944"/>
                    <a:pt x="20435" y="10928"/>
                    <a:pt x="20427" y="10913"/>
                  </a:cubicBezTo>
                  <a:cubicBezTo>
                    <a:pt x="20419" y="10898"/>
                    <a:pt x="20403" y="10858"/>
                    <a:pt x="20386" y="10828"/>
                  </a:cubicBezTo>
                  <a:cubicBezTo>
                    <a:pt x="20370" y="10799"/>
                    <a:pt x="20346" y="10743"/>
                    <a:pt x="20337" y="10703"/>
                  </a:cubicBezTo>
                  <a:cubicBezTo>
                    <a:pt x="20324" y="10665"/>
                    <a:pt x="20309" y="10599"/>
                    <a:pt x="20301" y="10557"/>
                  </a:cubicBezTo>
                  <a:cubicBezTo>
                    <a:pt x="20292" y="10515"/>
                    <a:pt x="20285" y="10461"/>
                    <a:pt x="20285" y="10438"/>
                  </a:cubicBezTo>
                  <a:cubicBezTo>
                    <a:pt x="20285" y="10415"/>
                    <a:pt x="20280" y="10369"/>
                    <a:pt x="20272" y="10339"/>
                  </a:cubicBezTo>
                  <a:cubicBezTo>
                    <a:pt x="20267" y="10308"/>
                    <a:pt x="20245" y="10259"/>
                    <a:pt x="20224" y="10234"/>
                  </a:cubicBezTo>
                  <a:cubicBezTo>
                    <a:pt x="20204" y="10208"/>
                    <a:pt x="20182" y="10182"/>
                    <a:pt x="20174" y="10177"/>
                  </a:cubicBezTo>
                  <a:cubicBezTo>
                    <a:pt x="20166" y="10173"/>
                    <a:pt x="20134" y="10124"/>
                    <a:pt x="20100" y="10073"/>
                  </a:cubicBezTo>
                  <a:cubicBezTo>
                    <a:pt x="20066" y="10020"/>
                    <a:pt x="20019" y="9953"/>
                    <a:pt x="19992" y="9925"/>
                  </a:cubicBezTo>
                  <a:cubicBezTo>
                    <a:pt x="19966" y="9897"/>
                    <a:pt x="19936" y="9868"/>
                    <a:pt x="19925" y="9860"/>
                  </a:cubicBezTo>
                  <a:cubicBezTo>
                    <a:pt x="19912" y="9854"/>
                    <a:pt x="19884" y="9792"/>
                    <a:pt x="19863" y="9724"/>
                  </a:cubicBezTo>
                  <a:cubicBezTo>
                    <a:pt x="19842" y="9656"/>
                    <a:pt x="19789" y="9536"/>
                    <a:pt x="19763" y="9446"/>
                  </a:cubicBezTo>
                  <a:cubicBezTo>
                    <a:pt x="19730" y="9361"/>
                    <a:pt x="19670" y="9228"/>
                    <a:pt x="19625" y="9154"/>
                  </a:cubicBezTo>
                  <a:cubicBezTo>
                    <a:pt x="19584" y="9077"/>
                    <a:pt x="19515" y="8983"/>
                    <a:pt x="19476" y="8946"/>
                  </a:cubicBezTo>
                  <a:cubicBezTo>
                    <a:pt x="19436" y="8908"/>
                    <a:pt x="19373" y="8855"/>
                    <a:pt x="19332" y="8834"/>
                  </a:cubicBezTo>
                  <a:cubicBezTo>
                    <a:pt x="19292" y="8811"/>
                    <a:pt x="19229" y="8787"/>
                    <a:pt x="19193" y="8779"/>
                  </a:cubicBezTo>
                  <a:cubicBezTo>
                    <a:pt x="19157" y="8771"/>
                    <a:pt x="19124" y="8785"/>
                    <a:pt x="19129" y="8810"/>
                  </a:cubicBezTo>
                  <a:cubicBezTo>
                    <a:pt x="19129" y="8836"/>
                    <a:pt x="19144" y="8880"/>
                    <a:pt x="19153" y="8914"/>
                  </a:cubicBezTo>
                  <a:cubicBezTo>
                    <a:pt x="19165" y="8945"/>
                    <a:pt x="19173" y="8988"/>
                    <a:pt x="19173" y="9009"/>
                  </a:cubicBezTo>
                  <a:cubicBezTo>
                    <a:pt x="19169" y="9029"/>
                    <a:pt x="19154" y="9050"/>
                    <a:pt x="19136" y="9062"/>
                  </a:cubicBezTo>
                  <a:cubicBezTo>
                    <a:pt x="19117" y="9070"/>
                    <a:pt x="19081" y="9064"/>
                    <a:pt x="19063" y="9040"/>
                  </a:cubicBezTo>
                  <a:cubicBezTo>
                    <a:pt x="19040" y="9023"/>
                    <a:pt x="19008" y="9016"/>
                    <a:pt x="18986" y="9027"/>
                  </a:cubicBezTo>
                  <a:cubicBezTo>
                    <a:pt x="18968" y="9045"/>
                    <a:pt x="18918" y="9006"/>
                    <a:pt x="18881" y="8953"/>
                  </a:cubicBezTo>
                  <a:cubicBezTo>
                    <a:pt x="18848" y="8897"/>
                    <a:pt x="18799" y="8855"/>
                    <a:pt x="18781" y="8852"/>
                  </a:cubicBezTo>
                  <a:cubicBezTo>
                    <a:pt x="18762" y="8849"/>
                    <a:pt x="18735" y="8858"/>
                    <a:pt x="18726" y="8876"/>
                  </a:cubicBezTo>
                  <a:cubicBezTo>
                    <a:pt x="18713" y="8891"/>
                    <a:pt x="18686" y="8894"/>
                    <a:pt x="18665" y="8883"/>
                  </a:cubicBezTo>
                  <a:cubicBezTo>
                    <a:pt x="18643" y="8872"/>
                    <a:pt x="18604" y="8824"/>
                    <a:pt x="18582" y="8774"/>
                  </a:cubicBezTo>
                  <a:cubicBezTo>
                    <a:pt x="18556" y="8727"/>
                    <a:pt x="18514" y="8659"/>
                    <a:pt x="18483" y="8631"/>
                  </a:cubicBezTo>
                  <a:cubicBezTo>
                    <a:pt x="18453" y="8599"/>
                    <a:pt x="18419" y="8545"/>
                    <a:pt x="18412" y="8507"/>
                  </a:cubicBezTo>
                  <a:cubicBezTo>
                    <a:pt x="18403" y="8469"/>
                    <a:pt x="18397" y="8410"/>
                    <a:pt x="18390" y="8376"/>
                  </a:cubicBezTo>
                  <a:cubicBezTo>
                    <a:pt x="18390" y="8341"/>
                    <a:pt x="18351" y="8267"/>
                    <a:pt x="18308" y="8214"/>
                  </a:cubicBezTo>
                  <a:cubicBezTo>
                    <a:pt x="18267" y="8159"/>
                    <a:pt x="18220" y="8123"/>
                    <a:pt x="18205" y="8134"/>
                  </a:cubicBezTo>
                  <a:cubicBezTo>
                    <a:pt x="18189" y="8144"/>
                    <a:pt x="18186" y="8202"/>
                    <a:pt x="18198" y="8261"/>
                  </a:cubicBezTo>
                  <a:cubicBezTo>
                    <a:pt x="18207" y="8321"/>
                    <a:pt x="18222" y="8385"/>
                    <a:pt x="18234" y="8395"/>
                  </a:cubicBezTo>
                  <a:cubicBezTo>
                    <a:pt x="18238" y="8412"/>
                    <a:pt x="18250" y="8446"/>
                    <a:pt x="18250" y="8475"/>
                  </a:cubicBezTo>
                  <a:cubicBezTo>
                    <a:pt x="18250" y="8504"/>
                    <a:pt x="18237" y="8541"/>
                    <a:pt x="18224" y="8560"/>
                  </a:cubicBezTo>
                  <a:cubicBezTo>
                    <a:pt x="18210" y="8580"/>
                    <a:pt x="18174" y="8592"/>
                    <a:pt x="18146" y="8586"/>
                  </a:cubicBezTo>
                  <a:cubicBezTo>
                    <a:pt x="18118" y="8583"/>
                    <a:pt x="17859" y="8062"/>
                    <a:pt x="17561" y="7434"/>
                  </a:cubicBezTo>
                  <a:cubicBezTo>
                    <a:pt x="17369" y="7017"/>
                    <a:pt x="17169" y="6604"/>
                    <a:pt x="16970" y="6189"/>
                  </a:cubicBezTo>
                  <a:cubicBezTo>
                    <a:pt x="16670" y="5557"/>
                    <a:pt x="16167" y="4657"/>
                    <a:pt x="15861" y="4183"/>
                  </a:cubicBezTo>
                  <a:cubicBezTo>
                    <a:pt x="15553" y="3709"/>
                    <a:pt x="15281" y="3285"/>
                    <a:pt x="15264" y="3240"/>
                  </a:cubicBezTo>
                  <a:cubicBezTo>
                    <a:pt x="15243" y="3197"/>
                    <a:pt x="15247" y="3160"/>
                    <a:pt x="15266" y="3160"/>
                  </a:cubicBezTo>
                  <a:cubicBezTo>
                    <a:pt x="15285" y="3160"/>
                    <a:pt x="15312" y="3130"/>
                    <a:pt x="15324" y="3093"/>
                  </a:cubicBezTo>
                  <a:cubicBezTo>
                    <a:pt x="15333" y="3054"/>
                    <a:pt x="15340" y="2988"/>
                    <a:pt x="15332" y="2942"/>
                  </a:cubicBezTo>
                  <a:cubicBezTo>
                    <a:pt x="15324" y="2896"/>
                    <a:pt x="15301" y="2838"/>
                    <a:pt x="15283" y="2812"/>
                  </a:cubicBezTo>
                  <a:cubicBezTo>
                    <a:pt x="15265" y="2786"/>
                    <a:pt x="15224" y="2770"/>
                    <a:pt x="15194" y="2772"/>
                  </a:cubicBezTo>
                  <a:cubicBezTo>
                    <a:pt x="15163" y="2775"/>
                    <a:pt x="15117" y="2780"/>
                    <a:pt x="15091" y="2780"/>
                  </a:cubicBezTo>
                  <a:cubicBezTo>
                    <a:pt x="15065" y="2780"/>
                    <a:pt x="15031" y="2805"/>
                    <a:pt x="15021" y="2838"/>
                  </a:cubicBezTo>
                  <a:cubicBezTo>
                    <a:pt x="15008" y="2869"/>
                    <a:pt x="14983" y="2900"/>
                    <a:pt x="14964" y="2903"/>
                  </a:cubicBezTo>
                  <a:cubicBezTo>
                    <a:pt x="14945" y="2906"/>
                    <a:pt x="14916" y="2947"/>
                    <a:pt x="14896" y="2989"/>
                  </a:cubicBezTo>
                  <a:cubicBezTo>
                    <a:pt x="14876" y="3031"/>
                    <a:pt x="14870" y="3096"/>
                    <a:pt x="14870" y="3134"/>
                  </a:cubicBezTo>
                  <a:cubicBezTo>
                    <a:pt x="14879" y="3172"/>
                    <a:pt x="14868" y="3221"/>
                    <a:pt x="14854" y="3244"/>
                  </a:cubicBezTo>
                  <a:cubicBezTo>
                    <a:pt x="14838" y="3265"/>
                    <a:pt x="14823" y="3318"/>
                    <a:pt x="14823" y="3359"/>
                  </a:cubicBezTo>
                  <a:cubicBezTo>
                    <a:pt x="14823" y="3399"/>
                    <a:pt x="14801" y="3448"/>
                    <a:pt x="14783" y="3471"/>
                  </a:cubicBezTo>
                  <a:cubicBezTo>
                    <a:pt x="14763" y="3491"/>
                    <a:pt x="14717" y="3502"/>
                    <a:pt x="14678" y="3494"/>
                  </a:cubicBezTo>
                  <a:cubicBezTo>
                    <a:pt x="14640" y="3486"/>
                    <a:pt x="14590" y="3483"/>
                    <a:pt x="14567" y="3489"/>
                  </a:cubicBezTo>
                  <a:cubicBezTo>
                    <a:pt x="14544" y="3494"/>
                    <a:pt x="14534" y="3555"/>
                    <a:pt x="14557" y="3615"/>
                  </a:cubicBezTo>
                  <a:cubicBezTo>
                    <a:pt x="14574" y="3678"/>
                    <a:pt x="14579" y="3744"/>
                    <a:pt x="14565" y="3758"/>
                  </a:cubicBezTo>
                  <a:cubicBezTo>
                    <a:pt x="14555" y="3776"/>
                    <a:pt x="14528" y="3766"/>
                    <a:pt x="14511" y="3743"/>
                  </a:cubicBezTo>
                  <a:cubicBezTo>
                    <a:pt x="14492" y="3721"/>
                    <a:pt x="14430" y="3657"/>
                    <a:pt x="14369" y="3604"/>
                  </a:cubicBezTo>
                  <a:cubicBezTo>
                    <a:pt x="14308" y="3551"/>
                    <a:pt x="14233" y="3512"/>
                    <a:pt x="14204" y="3512"/>
                  </a:cubicBezTo>
                  <a:cubicBezTo>
                    <a:pt x="14175" y="3514"/>
                    <a:pt x="14138" y="3538"/>
                    <a:pt x="14134" y="3570"/>
                  </a:cubicBezTo>
                  <a:cubicBezTo>
                    <a:pt x="14126" y="3601"/>
                    <a:pt x="14102" y="3619"/>
                    <a:pt x="14083" y="3614"/>
                  </a:cubicBezTo>
                  <a:cubicBezTo>
                    <a:pt x="14064" y="3608"/>
                    <a:pt x="14026" y="3557"/>
                    <a:pt x="13997" y="3501"/>
                  </a:cubicBezTo>
                  <a:cubicBezTo>
                    <a:pt x="13969" y="3444"/>
                    <a:pt x="13931" y="3343"/>
                    <a:pt x="13923" y="3272"/>
                  </a:cubicBezTo>
                  <a:cubicBezTo>
                    <a:pt x="13906" y="3204"/>
                    <a:pt x="13906" y="3124"/>
                    <a:pt x="13922" y="3107"/>
                  </a:cubicBezTo>
                  <a:cubicBezTo>
                    <a:pt x="13936" y="3089"/>
                    <a:pt x="13947" y="3031"/>
                    <a:pt x="13947" y="2984"/>
                  </a:cubicBezTo>
                  <a:cubicBezTo>
                    <a:pt x="13951" y="2937"/>
                    <a:pt x="13932" y="2883"/>
                    <a:pt x="13915" y="2856"/>
                  </a:cubicBezTo>
                  <a:cubicBezTo>
                    <a:pt x="13895" y="2833"/>
                    <a:pt x="13871" y="2835"/>
                    <a:pt x="13853" y="2854"/>
                  </a:cubicBezTo>
                  <a:cubicBezTo>
                    <a:pt x="13841" y="2880"/>
                    <a:pt x="13812" y="2887"/>
                    <a:pt x="13793" y="2881"/>
                  </a:cubicBezTo>
                  <a:cubicBezTo>
                    <a:pt x="13774" y="2872"/>
                    <a:pt x="13708" y="2804"/>
                    <a:pt x="13644" y="2732"/>
                  </a:cubicBezTo>
                  <a:cubicBezTo>
                    <a:pt x="13580" y="2659"/>
                    <a:pt x="13504" y="2596"/>
                    <a:pt x="13474" y="2596"/>
                  </a:cubicBezTo>
                  <a:cubicBezTo>
                    <a:pt x="13445" y="2596"/>
                    <a:pt x="13430" y="2621"/>
                    <a:pt x="13446" y="2654"/>
                  </a:cubicBezTo>
                  <a:cubicBezTo>
                    <a:pt x="13458" y="2688"/>
                    <a:pt x="13487" y="2730"/>
                    <a:pt x="13504" y="2753"/>
                  </a:cubicBezTo>
                  <a:cubicBezTo>
                    <a:pt x="13523" y="2774"/>
                    <a:pt x="13529" y="2817"/>
                    <a:pt x="13515" y="2849"/>
                  </a:cubicBezTo>
                  <a:cubicBezTo>
                    <a:pt x="13503" y="2882"/>
                    <a:pt x="13478" y="2905"/>
                    <a:pt x="13461" y="2899"/>
                  </a:cubicBezTo>
                  <a:cubicBezTo>
                    <a:pt x="13444" y="2894"/>
                    <a:pt x="13406" y="2828"/>
                    <a:pt x="13373" y="2753"/>
                  </a:cubicBezTo>
                  <a:cubicBezTo>
                    <a:pt x="13339" y="2678"/>
                    <a:pt x="13299" y="2542"/>
                    <a:pt x="13274" y="2454"/>
                  </a:cubicBezTo>
                  <a:cubicBezTo>
                    <a:pt x="13250" y="2366"/>
                    <a:pt x="13181" y="2220"/>
                    <a:pt x="13119" y="2130"/>
                  </a:cubicBezTo>
                  <a:cubicBezTo>
                    <a:pt x="13058" y="2037"/>
                    <a:pt x="13000" y="1975"/>
                    <a:pt x="12991" y="1980"/>
                  </a:cubicBezTo>
                  <a:cubicBezTo>
                    <a:pt x="12984" y="1987"/>
                    <a:pt x="12996" y="2042"/>
                    <a:pt x="13017" y="2101"/>
                  </a:cubicBezTo>
                  <a:cubicBezTo>
                    <a:pt x="13037" y="2162"/>
                    <a:pt x="13060" y="2242"/>
                    <a:pt x="13064" y="2282"/>
                  </a:cubicBezTo>
                  <a:cubicBezTo>
                    <a:pt x="13064" y="2322"/>
                    <a:pt x="13058" y="2347"/>
                    <a:pt x="13039" y="2340"/>
                  </a:cubicBezTo>
                  <a:cubicBezTo>
                    <a:pt x="13021" y="2333"/>
                    <a:pt x="12995" y="2273"/>
                    <a:pt x="12970" y="2219"/>
                  </a:cubicBezTo>
                  <a:cubicBezTo>
                    <a:pt x="12953" y="2158"/>
                    <a:pt x="12920" y="2116"/>
                    <a:pt x="12904" y="2123"/>
                  </a:cubicBezTo>
                  <a:cubicBezTo>
                    <a:pt x="12889" y="2128"/>
                    <a:pt x="12876" y="2175"/>
                    <a:pt x="12884" y="2224"/>
                  </a:cubicBezTo>
                  <a:cubicBezTo>
                    <a:pt x="12892" y="2272"/>
                    <a:pt x="12880" y="2316"/>
                    <a:pt x="12866" y="2319"/>
                  </a:cubicBezTo>
                  <a:cubicBezTo>
                    <a:pt x="12851" y="2324"/>
                    <a:pt x="12813" y="2291"/>
                    <a:pt x="12785" y="2245"/>
                  </a:cubicBezTo>
                  <a:cubicBezTo>
                    <a:pt x="12753" y="2204"/>
                    <a:pt x="12711" y="2184"/>
                    <a:pt x="12685" y="2204"/>
                  </a:cubicBezTo>
                  <a:cubicBezTo>
                    <a:pt x="12660" y="2227"/>
                    <a:pt x="12618" y="2219"/>
                    <a:pt x="12597" y="2186"/>
                  </a:cubicBezTo>
                  <a:cubicBezTo>
                    <a:pt x="12574" y="2155"/>
                    <a:pt x="12538" y="2083"/>
                    <a:pt x="12514" y="2026"/>
                  </a:cubicBezTo>
                  <a:cubicBezTo>
                    <a:pt x="12492" y="1969"/>
                    <a:pt x="12489" y="1921"/>
                    <a:pt x="12510" y="1921"/>
                  </a:cubicBezTo>
                  <a:cubicBezTo>
                    <a:pt x="12531" y="1921"/>
                    <a:pt x="12548" y="1902"/>
                    <a:pt x="12545" y="1883"/>
                  </a:cubicBezTo>
                  <a:cubicBezTo>
                    <a:pt x="12541" y="1863"/>
                    <a:pt x="12528" y="1803"/>
                    <a:pt x="12512" y="1750"/>
                  </a:cubicBezTo>
                  <a:cubicBezTo>
                    <a:pt x="12495" y="1697"/>
                    <a:pt x="12481" y="1618"/>
                    <a:pt x="12481" y="1575"/>
                  </a:cubicBezTo>
                  <a:cubicBezTo>
                    <a:pt x="12481" y="1532"/>
                    <a:pt x="12473" y="1469"/>
                    <a:pt x="12462" y="1439"/>
                  </a:cubicBezTo>
                  <a:cubicBezTo>
                    <a:pt x="12451" y="1409"/>
                    <a:pt x="12423" y="1362"/>
                    <a:pt x="12402" y="1331"/>
                  </a:cubicBezTo>
                  <a:cubicBezTo>
                    <a:pt x="12378" y="1302"/>
                    <a:pt x="12332" y="1235"/>
                    <a:pt x="12305" y="1178"/>
                  </a:cubicBezTo>
                  <a:cubicBezTo>
                    <a:pt x="12275" y="1123"/>
                    <a:pt x="12229" y="1030"/>
                    <a:pt x="12212" y="968"/>
                  </a:cubicBezTo>
                  <a:cubicBezTo>
                    <a:pt x="12189" y="909"/>
                    <a:pt x="12160" y="841"/>
                    <a:pt x="12145" y="819"/>
                  </a:cubicBezTo>
                  <a:cubicBezTo>
                    <a:pt x="12132" y="795"/>
                    <a:pt x="12100" y="719"/>
                    <a:pt x="12071" y="650"/>
                  </a:cubicBezTo>
                  <a:cubicBezTo>
                    <a:pt x="12050" y="577"/>
                    <a:pt x="11999" y="505"/>
                    <a:pt x="11967" y="487"/>
                  </a:cubicBezTo>
                  <a:cubicBezTo>
                    <a:pt x="11933" y="471"/>
                    <a:pt x="11885" y="460"/>
                    <a:pt x="11857" y="472"/>
                  </a:cubicBezTo>
                  <a:cubicBezTo>
                    <a:pt x="11829" y="485"/>
                    <a:pt x="11776" y="477"/>
                    <a:pt x="11739" y="463"/>
                  </a:cubicBezTo>
                  <a:cubicBezTo>
                    <a:pt x="11703" y="446"/>
                    <a:pt x="11637" y="387"/>
                    <a:pt x="11592" y="328"/>
                  </a:cubicBezTo>
                  <a:cubicBezTo>
                    <a:pt x="11548" y="267"/>
                    <a:pt x="11476" y="213"/>
                    <a:pt x="11435" y="201"/>
                  </a:cubicBezTo>
                  <a:cubicBezTo>
                    <a:pt x="11395" y="190"/>
                    <a:pt x="11323" y="150"/>
                    <a:pt x="11283" y="102"/>
                  </a:cubicBezTo>
                  <a:cubicBezTo>
                    <a:pt x="11239" y="60"/>
                    <a:pt x="11188" y="27"/>
                    <a:pt x="11167" y="29"/>
                  </a:cubicBezTo>
                  <a:cubicBezTo>
                    <a:pt x="11146" y="33"/>
                    <a:pt x="11111" y="27"/>
                    <a:pt x="11092" y="10"/>
                  </a:cubicBezTo>
                  <a:cubicBezTo>
                    <a:pt x="11072" y="-3"/>
                    <a:pt x="11036" y="-5"/>
                    <a:pt x="11014" y="12"/>
                  </a:cubicBezTo>
                  <a:cubicBezTo>
                    <a:pt x="10992" y="28"/>
                    <a:pt x="10971" y="79"/>
                    <a:pt x="10975" y="127"/>
                  </a:cubicBezTo>
                  <a:cubicBezTo>
                    <a:pt x="10975" y="176"/>
                    <a:pt x="10943" y="203"/>
                    <a:pt x="10902" y="190"/>
                  </a:cubicBezTo>
                  <a:cubicBezTo>
                    <a:pt x="10861" y="177"/>
                    <a:pt x="10817" y="174"/>
                    <a:pt x="10802" y="180"/>
                  </a:cubicBezTo>
                  <a:cubicBezTo>
                    <a:pt x="10788" y="189"/>
                    <a:pt x="10798" y="232"/>
                    <a:pt x="10818" y="280"/>
                  </a:cubicBezTo>
                  <a:cubicBezTo>
                    <a:pt x="10844" y="324"/>
                    <a:pt x="10871" y="397"/>
                    <a:pt x="10875" y="438"/>
                  </a:cubicBezTo>
                  <a:cubicBezTo>
                    <a:pt x="10884" y="477"/>
                    <a:pt x="10858" y="512"/>
                    <a:pt x="10819" y="506"/>
                  </a:cubicBezTo>
                  <a:cubicBezTo>
                    <a:pt x="10780" y="506"/>
                    <a:pt x="10729" y="488"/>
                    <a:pt x="10707" y="469"/>
                  </a:cubicBezTo>
                  <a:cubicBezTo>
                    <a:pt x="10684" y="454"/>
                    <a:pt x="10652" y="466"/>
                    <a:pt x="10644" y="508"/>
                  </a:cubicBezTo>
                  <a:cubicBezTo>
                    <a:pt x="10629" y="547"/>
                    <a:pt x="10592" y="576"/>
                    <a:pt x="10557" y="573"/>
                  </a:cubicBezTo>
                  <a:cubicBezTo>
                    <a:pt x="10522" y="565"/>
                    <a:pt x="10484" y="579"/>
                    <a:pt x="10471" y="587"/>
                  </a:cubicBezTo>
                  <a:cubicBezTo>
                    <a:pt x="10458" y="597"/>
                    <a:pt x="10438" y="602"/>
                    <a:pt x="10422" y="597"/>
                  </a:cubicBezTo>
                  <a:cubicBezTo>
                    <a:pt x="10408" y="588"/>
                    <a:pt x="10352" y="629"/>
                    <a:pt x="10298" y="678"/>
                  </a:cubicBezTo>
                  <a:cubicBezTo>
                    <a:pt x="10244" y="730"/>
                    <a:pt x="10173" y="775"/>
                    <a:pt x="10141" y="781"/>
                  </a:cubicBezTo>
                  <a:cubicBezTo>
                    <a:pt x="10109" y="788"/>
                    <a:pt x="10061" y="804"/>
                    <a:pt x="10037" y="822"/>
                  </a:cubicBezTo>
                  <a:cubicBezTo>
                    <a:pt x="10011" y="838"/>
                    <a:pt x="9971" y="839"/>
                    <a:pt x="9946" y="823"/>
                  </a:cubicBezTo>
                  <a:cubicBezTo>
                    <a:pt x="9920" y="806"/>
                    <a:pt x="9883" y="762"/>
                    <a:pt x="9859" y="728"/>
                  </a:cubicBezTo>
                  <a:cubicBezTo>
                    <a:pt x="9834" y="697"/>
                    <a:pt x="9803" y="681"/>
                    <a:pt x="9789" y="704"/>
                  </a:cubicBezTo>
                  <a:cubicBezTo>
                    <a:pt x="9771" y="721"/>
                    <a:pt x="9760" y="771"/>
                    <a:pt x="9764" y="804"/>
                  </a:cubicBezTo>
                  <a:cubicBezTo>
                    <a:pt x="9768" y="838"/>
                    <a:pt x="9738" y="853"/>
                    <a:pt x="9703" y="841"/>
                  </a:cubicBezTo>
                  <a:cubicBezTo>
                    <a:pt x="9667" y="826"/>
                    <a:pt x="9624" y="830"/>
                    <a:pt x="9612" y="852"/>
                  </a:cubicBezTo>
                  <a:cubicBezTo>
                    <a:pt x="9600" y="874"/>
                    <a:pt x="9604" y="935"/>
                    <a:pt x="9609" y="995"/>
                  </a:cubicBezTo>
                  <a:cubicBezTo>
                    <a:pt x="9625" y="1052"/>
                    <a:pt x="9620" y="1112"/>
                    <a:pt x="9613" y="1128"/>
                  </a:cubicBezTo>
                  <a:cubicBezTo>
                    <a:pt x="9604" y="1145"/>
                    <a:pt x="9572" y="1138"/>
                    <a:pt x="9549" y="1110"/>
                  </a:cubicBezTo>
                  <a:cubicBezTo>
                    <a:pt x="9522" y="1088"/>
                    <a:pt x="9483" y="1061"/>
                    <a:pt x="9460" y="1056"/>
                  </a:cubicBezTo>
                  <a:cubicBezTo>
                    <a:pt x="9438" y="1049"/>
                    <a:pt x="9400" y="1061"/>
                    <a:pt x="9380" y="1083"/>
                  </a:cubicBezTo>
                  <a:cubicBezTo>
                    <a:pt x="9358" y="1100"/>
                    <a:pt x="9309" y="1107"/>
                    <a:pt x="9268" y="1094"/>
                  </a:cubicBezTo>
                  <a:cubicBezTo>
                    <a:pt x="9228" y="1083"/>
                    <a:pt x="9163" y="1090"/>
                    <a:pt x="9128" y="1123"/>
                  </a:cubicBezTo>
                  <a:cubicBezTo>
                    <a:pt x="9092" y="1152"/>
                    <a:pt x="9061" y="1194"/>
                    <a:pt x="9054" y="1214"/>
                  </a:cubicBezTo>
                  <a:cubicBezTo>
                    <a:pt x="9049" y="1235"/>
                    <a:pt x="9011" y="1243"/>
                    <a:pt x="8967" y="1232"/>
                  </a:cubicBezTo>
                  <a:cubicBezTo>
                    <a:pt x="8923" y="1222"/>
                    <a:pt x="8858" y="1232"/>
                    <a:pt x="8820" y="1247"/>
                  </a:cubicBezTo>
                  <a:cubicBezTo>
                    <a:pt x="8783" y="1264"/>
                    <a:pt x="8722" y="1274"/>
                    <a:pt x="8684" y="1265"/>
                  </a:cubicBezTo>
                  <a:cubicBezTo>
                    <a:pt x="8646" y="1257"/>
                    <a:pt x="8571" y="1256"/>
                    <a:pt x="8517" y="1265"/>
                  </a:cubicBezTo>
                  <a:cubicBezTo>
                    <a:pt x="8463" y="1273"/>
                    <a:pt x="8421" y="1313"/>
                    <a:pt x="8425" y="1352"/>
                  </a:cubicBezTo>
                  <a:cubicBezTo>
                    <a:pt x="8425" y="1392"/>
                    <a:pt x="8422" y="1449"/>
                    <a:pt x="8413" y="1480"/>
                  </a:cubicBezTo>
                  <a:cubicBezTo>
                    <a:pt x="8399" y="1507"/>
                    <a:pt x="8369" y="1490"/>
                    <a:pt x="8343" y="1430"/>
                  </a:cubicBezTo>
                  <a:cubicBezTo>
                    <a:pt x="8317" y="1371"/>
                    <a:pt x="8265" y="1318"/>
                    <a:pt x="8234" y="1301"/>
                  </a:cubicBezTo>
                  <a:cubicBezTo>
                    <a:pt x="8204" y="1284"/>
                    <a:pt x="8157" y="1294"/>
                    <a:pt x="8132" y="1313"/>
                  </a:cubicBezTo>
                  <a:cubicBezTo>
                    <a:pt x="8106" y="1329"/>
                    <a:pt x="8089" y="1379"/>
                    <a:pt x="8098" y="1412"/>
                  </a:cubicBezTo>
                  <a:cubicBezTo>
                    <a:pt x="8103" y="1447"/>
                    <a:pt x="8103" y="1495"/>
                    <a:pt x="8093" y="1518"/>
                  </a:cubicBezTo>
                  <a:cubicBezTo>
                    <a:pt x="8084" y="1542"/>
                    <a:pt x="8045" y="1523"/>
                    <a:pt x="8009" y="1474"/>
                  </a:cubicBezTo>
                  <a:cubicBezTo>
                    <a:pt x="7971" y="1426"/>
                    <a:pt x="7908" y="1384"/>
                    <a:pt x="7870" y="1376"/>
                  </a:cubicBezTo>
                  <a:cubicBezTo>
                    <a:pt x="7830" y="1369"/>
                    <a:pt x="7790" y="1332"/>
                    <a:pt x="7769" y="1302"/>
                  </a:cubicBezTo>
                  <a:cubicBezTo>
                    <a:pt x="7751" y="1268"/>
                    <a:pt x="7718" y="1231"/>
                    <a:pt x="7692" y="1219"/>
                  </a:cubicBezTo>
                  <a:cubicBezTo>
                    <a:pt x="7666" y="1209"/>
                    <a:pt x="7632" y="1221"/>
                    <a:pt x="7624" y="1251"/>
                  </a:cubicBezTo>
                  <a:cubicBezTo>
                    <a:pt x="7607" y="1275"/>
                    <a:pt x="7572" y="1295"/>
                    <a:pt x="7534" y="1286"/>
                  </a:cubicBezTo>
                  <a:cubicBezTo>
                    <a:pt x="7498" y="1277"/>
                    <a:pt x="7460" y="1283"/>
                    <a:pt x="7449" y="1295"/>
                  </a:cubicBezTo>
                  <a:cubicBezTo>
                    <a:pt x="7440" y="1310"/>
                    <a:pt x="7462" y="1378"/>
                    <a:pt x="7487" y="1456"/>
                  </a:cubicBezTo>
                  <a:cubicBezTo>
                    <a:pt x="7521" y="1527"/>
                    <a:pt x="7536" y="1612"/>
                    <a:pt x="7521" y="1633"/>
                  </a:cubicBezTo>
                  <a:cubicBezTo>
                    <a:pt x="7509" y="1656"/>
                    <a:pt x="7528" y="1693"/>
                    <a:pt x="7562" y="1720"/>
                  </a:cubicBezTo>
                  <a:cubicBezTo>
                    <a:pt x="7597" y="1745"/>
                    <a:pt x="7659" y="1771"/>
                    <a:pt x="7701" y="1776"/>
                  </a:cubicBezTo>
                  <a:cubicBezTo>
                    <a:pt x="7744" y="1781"/>
                    <a:pt x="7798" y="1840"/>
                    <a:pt x="7823" y="1906"/>
                  </a:cubicBezTo>
                  <a:cubicBezTo>
                    <a:pt x="7847" y="1973"/>
                    <a:pt x="7829" y="2012"/>
                    <a:pt x="7782" y="2001"/>
                  </a:cubicBezTo>
                  <a:cubicBezTo>
                    <a:pt x="7735" y="1990"/>
                    <a:pt x="7688" y="1989"/>
                    <a:pt x="7677" y="2007"/>
                  </a:cubicBezTo>
                  <a:cubicBezTo>
                    <a:pt x="7664" y="2023"/>
                    <a:pt x="7662" y="2071"/>
                    <a:pt x="7674" y="2108"/>
                  </a:cubicBezTo>
                  <a:cubicBezTo>
                    <a:pt x="7686" y="2146"/>
                    <a:pt x="7729" y="2189"/>
                    <a:pt x="7774" y="2210"/>
                  </a:cubicBezTo>
                  <a:cubicBezTo>
                    <a:pt x="7819" y="2227"/>
                    <a:pt x="7885" y="2274"/>
                    <a:pt x="7926" y="2308"/>
                  </a:cubicBezTo>
                  <a:cubicBezTo>
                    <a:pt x="7966" y="2346"/>
                    <a:pt x="8009" y="2355"/>
                    <a:pt x="8029" y="2340"/>
                  </a:cubicBezTo>
                  <a:cubicBezTo>
                    <a:pt x="8046" y="2321"/>
                    <a:pt x="8082" y="2313"/>
                    <a:pt x="8109" y="2318"/>
                  </a:cubicBezTo>
                  <a:cubicBezTo>
                    <a:pt x="8137" y="2324"/>
                    <a:pt x="8189" y="2376"/>
                    <a:pt x="8222" y="2432"/>
                  </a:cubicBezTo>
                  <a:cubicBezTo>
                    <a:pt x="8257" y="2488"/>
                    <a:pt x="8317" y="2555"/>
                    <a:pt x="8353" y="2584"/>
                  </a:cubicBezTo>
                  <a:cubicBezTo>
                    <a:pt x="8390" y="2610"/>
                    <a:pt x="8426" y="2681"/>
                    <a:pt x="8434" y="2738"/>
                  </a:cubicBezTo>
                  <a:cubicBezTo>
                    <a:pt x="8442" y="2796"/>
                    <a:pt x="8435" y="2854"/>
                    <a:pt x="8419" y="2871"/>
                  </a:cubicBezTo>
                  <a:cubicBezTo>
                    <a:pt x="8407" y="2891"/>
                    <a:pt x="8366" y="2876"/>
                    <a:pt x="8332" y="2852"/>
                  </a:cubicBezTo>
                  <a:cubicBezTo>
                    <a:pt x="8302" y="2823"/>
                    <a:pt x="8218" y="2791"/>
                    <a:pt x="8146" y="2781"/>
                  </a:cubicBezTo>
                  <a:cubicBezTo>
                    <a:pt x="8076" y="2764"/>
                    <a:pt x="7993" y="2796"/>
                    <a:pt x="7962" y="2841"/>
                  </a:cubicBezTo>
                  <a:cubicBezTo>
                    <a:pt x="7930" y="2887"/>
                    <a:pt x="7887" y="2992"/>
                    <a:pt x="7862" y="3072"/>
                  </a:cubicBezTo>
                  <a:cubicBezTo>
                    <a:pt x="7837" y="3152"/>
                    <a:pt x="7831" y="3269"/>
                    <a:pt x="7840" y="3333"/>
                  </a:cubicBezTo>
                  <a:cubicBezTo>
                    <a:pt x="7856" y="3395"/>
                    <a:pt x="7885" y="3460"/>
                    <a:pt x="7912" y="3475"/>
                  </a:cubicBezTo>
                  <a:cubicBezTo>
                    <a:pt x="7940" y="3491"/>
                    <a:pt x="7977" y="3561"/>
                    <a:pt x="7998" y="3630"/>
                  </a:cubicBezTo>
                  <a:cubicBezTo>
                    <a:pt x="8018" y="3700"/>
                    <a:pt x="8017" y="3792"/>
                    <a:pt x="8001" y="3836"/>
                  </a:cubicBezTo>
                  <a:cubicBezTo>
                    <a:pt x="7984" y="3881"/>
                    <a:pt x="7968" y="3963"/>
                    <a:pt x="7972" y="4022"/>
                  </a:cubicBezTo>
                  <a:cubicBezTo>
                    <a:pt x="7981" y="4080"/>
                    <a:pt x="7953" y="4124"/>
                    <a:pt x="7922" y="4121"/>
                  </a:cubicBezTo>
                  <a:cubicBezTo>
                    <a:pt x="7891" y="4119"/>
                    <a:pt x="7865" y="4136"/>
                    <a:pt x="7865" y="4164"/>
                  </a:cubicBezTo>
                  <a:cubicBezTo>
                    <a:pt x="7865" y="4192"/>
                    <a:pt x="7880" y="4245"/>
                    <a:pt x="7894" y="4286"/>
                  </a:cubicBezTo>
                  <a:cubicBezTo>
                    <a:pt x="7912" y="4325"/>
                    <a:pt x="7929" y="4392"/>
                    <a:pt x="7941" y="4429"/>
                  </a:cubicBezTo>
                  <a:cubicBezTo>
                    <a:pt x="7952" y="4466"/>
                    <a:pt x="7990" y="4510"/>
                    <a:pt x="8032" y="4524"/>
                  </a:cubicBezTo>
                  <a:cubicBezTo>
                    <a:pt x="8075" y="4537"/>
                    <a:pt x="8132" y="4588"/>
                    <a:pt x="8164" y="4632"/>
                  </a:cubicBezTo>
                  <a:cubicBezTo>
                    <a:pt x="8190" y="4680"/>
                    <a:pt x="8254" y="4734"/>
                    <a:pt x="8294" y="4765"/>
                  </a:cubicBezTo>
                  <a:cubicBezTo>
                    <a:pt x="8335" y="4792"/>
                    <a:pt x="8381" y="4841"/>
                    <a:pt x="8389" y="4876"/>
                  </a:cubicBezTo>
                  <a:cubicBezTo>
                    <a:pt x="8399" y="4911"/>
                    <a:pt x="8445" y="4980"/>
                    <a:pt x="8482" y="5038"/>
                  </a:cubicBezTo>
                  <a:cubicBezTo>
                    <a:pt x="8520" y="5094"/>
                    <a:pt x="8597" y="5151"/>
                    <a:pt x="8648" y="5173"/>
                  </a:cubicBezTo>
                  <a:cubicBezTo>
                    <a:pt x="8700" y="5191"/>
                    <a:pt x="8757" y="5232"/>
                    <a:pt x="8778" y="5255"/>
                  </a:cubicBezTo>
                  <a:cubicBezTo>
                    <a:pt x="8795" y="5284"/>
                    <a:pt x="8852" y="5492"/>
                    <a:pt x="8893" y="5726"/>
                  </a:cubicBezTo>
                  <a:cubicBezTo>
                    <a:pt x="8938" y="5959"/>
                    <a:pt x="8971" y="6190"/>
                    <a:pt x="8955" y="6230"/>
                  </a:cubicBezTo>
                  <a:cubicBezTo>
                    <a:pt x="8948" y="6274"/>
                    <a:pt x="8894" y="6319"/>
                    <a:pt x="8841" y="6337"/>
                  </a:cubicBezTo>
                  <a:cubicBezTo>
                    <a:pt x="8786" y="6350"/>
                    <a:pt x="8701" y="6342"/>
                    <a:pt x="8650" y="6320"/>
                  </a:cubicBezTo>
                  <a:cubicBezTo>
                    <a:pt x="8598" y="6300"/>
                    <a:pt x="8504" y="6221"/>
                    <a:pt x="8444" y="6144"/>
                  </a:cubicBezTo>
                  <a:cubicBezTo>
                    <a:pt x="8378" y="6075"/>
                    <a:pt x="8320" y="6032"/>
                    <a:pt x="8304" y="6052"/>
                  </a:cubicBezTo>
                  <a:cubicBezTo>
                    <a:pt x="8289" y="6072"/>
                    <a:pt x="8281" y="6140"/>
                    <a:pt x="8290" y="6196"/>
                  </a:cubicBezTo>
                  <a:cubicBezTo>
                    <a:pt x="8290" y="6253"/>
                    <a:pt x="8293" y="6345"/>
                    <a:pt x="8284" y="6402"/>
                  </a:cubicBezTo>
                  <a:cubicBezTo>
                    <a:pt x="8272" y="6457"/>
                    <a:pt x="8237" y="6506"/>
                    <a:pt x="8199" y="6506"/>
                  </a:cubicBezTo>
                  <a:cubicBezTo>
                    <a:pt x="8161" y="6503"/>
                    <a:pt x="8072" y="6442"/>
                    <a:pt x="8000" y="6366"/>
                  </a:cubicBezTo>
                  <a:cubicBezTo>
                    <a:pt x="7928" y="6289"/>
                    <a:pt x="7826" y="6213"/>
                    <a:pt x="7772" y="6203"/>
                  </a:cubicBezTo>
                  <a:cubicBezTo>
                    <a:pt x="7719" y="6186"/>
                    <a:pt x="7649" y="6157"/>
                    <a:pt x="7623" y="6124"/>
                  </a:cubicBezTo>
                  <a:cubicBezTo>
                    <a:pt x="7595" y="6091"/>
                    <a:pt x="7559" y="6075"/>
                    <a:pt x="7547" y="6090"/>
                  </a:cubicBezTo>
                  <a:cubicBezTo>
                    <a:pt x="7533" y="6099"/>
                    <a:pt x="7496" y="6087"/>
                    <a:pt x="7460" y="6063"/>
                  </a:cubicBezTo>
                  <a:cubicBezTo>
                    <a:pt x="7425" y="6035"/>
                    <a:pt x="7355" y="5952"/>
                    <a:pt x="7313" y="5869"/>
                  </a:cubicBezTo>
                  <a:cubicBezTo>
                    <a:pt x="7268" y="5790"/>
                    <a:pt x="7251" y="5713"/>
                    <a:pt x="7275" y="5697"/>
                  </a:cubicBezTo>
                  <a:cubicBezTo>
                    <a:pt x="7299" y="5684"/>
                    <a:pt x="7325" y="5640"/>
                    <a:pt x="7329" y="5602"/>
                  </a:cubicBezTo>
                  <a:cubicBezTo>
                    <a:pt x="7334" y="5565"/>
                    <a:pt x="7317" y="5510"/>
                    <a:pt x="7287" y="5481"/>
                  </a:cubicBezTo>
                  <a:cubicBezTo>
                    <a:pt x="7258" y="5450"/>
                    <a:pt x="7193" y="5385"/>
                    <a:pt x="7144" y="5333"/>
                  </a:cubicBezTo>
                  <a:cubicBezTo>
                    <a:pt x="7095" y="5283"/>
                    <a:pt x="7046" y="5269"/>
                    <a:pt x="7030" y="5302"/>
                  </a:cubicBezTo>
                  <a:cubicBezTo>
                    <a:pt x="7019" y="5339"/>
                    <a:pt x="6971" y="5350"/>
                    <a:pt x="6929" y="5331"/>
                  </a:cubicBezTo>
                  <a:cubicBezTo>
                    <a:pt x="6887" y="5312"/>
                    <a:pt x="6831" y="5304"/>
                    <a:pt x="6804" y="5309"/>
                  </a:cubicBezTo>
                  <a:cubicBezTo>
                    <a:pt x="6776" y="5315"/>
                    <a:pt x="6769" y="5381"/>
                    <a:pt x="6786" y="5456"/>
                  </a:cubicBezTo>
                  <a:cubicBezTo>
                    <a:pt x="6802" y="5532"/>
                    <a:pt x="6776" y="5586"/>
                    <a:pt x="6725" y="5581"/>
                  </a:cubicBezTo>
                  <a:cubicBezTo>
                    <a:pt x="6675" y="5570"/>
                    <a:pt x="6618" y="5541"/>
                    <a:pt x="6605" y="5504"/>
                  </a:cubicBezTo>
                  <a:cubicBezTo>
                    <a:pt x="6587" y="5470"/>
                    <a:pt x="6521" y="5365"/>
                    <a:pt x="6459" y="5265"/>
                  </a:cubicBezTo>
                  <a:cubicBezTo>
                    <a:pt x="6394" y="5170"/>
                    <a:pt x="6307" y="5091"/>
                    <a:pt x="6266" y="5088"/>
                  </a:cubicBezTo>
                  <a:cubicBezTo>
                    <a:pt x="6225" y="5088"/>
                    <a:pt x="6183" y="5122"/>
                    <a:pt x="6174" y="5167"/>
                  </a:cubicBezTo>
                  <a:cubicBezTo>
                    <a:pt x="6166" y="5212"/>
                    <a:pt x="6133" y="5208"/>
                    <a:pt x="6107" y="5154"/>
                  </a:cubicBezTo>
                  <a:cubicBezTo>
                    <a:pt x="6082" y="5101"/>
                    <a:pt x="6034" y="5067"/>
                    <a:pt x="6006" y="5073"/>
                  </a:cubicBezTo>
                  <a:cubicBezTo>
                    <a:pt x="5978" y="5080"/>
                    <a:pt x="5961" y="5129"/>
                    <a:pt x="5965" y="5185"/>
                  </a:cubicBezTo>
                  <a:cubicBezTo>
                    <a:pt x="5970" y="5241"/>
                    <a:pt x="5943" y="5279"/>
                    <a:pt x="5905" y="5277"/>
                  </a:cubicBezTo>
                  <a:cubicBezTo>
                    <a:pt x="5866" y="5274"/>
                    <a:pt x="5844" y="5359"/>
                    <a:pt x="5857" y="5471"/>
                  </a:cubicBezTo>
                  <a:cubicBezTo>
                    <a:pt x="5869" y="5582"/>
                    <a:pt x="5848" y="5712"/>
                    <a:pt x="5808" y="5753"/>
                  </a:cubicBezTo>
                  <a:cubicBezTo>
                    <a:pt x="5772" y="5799"/>
                    <a:pt x="5713" y="5805"/>
                    <a:pt x="5678" y="5781"/>
                  </a:cubicBezTo>
                  <a:cubicBezTo>
                    <a:pt x="5647" y="5749"/>
                    <a:pt x="5595" y="5678"/>
                    <a:pt x="5565" y="5615"/>
                  </a:cubicBezTo>
                  <a:cubicBezTo>
                    <a:pt x="5538" y="5550"/>
                    <a:pt x="5450" y="5468"/>
                    <a:pt x="5374" y="5432"/>
                  </a:cubicBezTo>
                  <a:cubicBezTo>
                    <a:pt x="5298" y="5397"/>
                    <a:pt x="5208" y="5310"/>
                    <a:pt x="5174" y="5243"/>
                  </a:cubicBezTo>
                  <a:cubicBezTo>
                    <a:pt x="5140" y="5177"/>
                    <a:pt x="5087" y="5145"/>
                    <a:pt x="5052" y="5167"/>
                  </a:cubicBezTo>
                  <a:cubicBezTo>
                    <a:pt x="5022" y="5196"/>
                    <a:pt x="5004" y="5276"/>
                    <a:pt x="5021" y="5353"/>
                  </a:cubicBezTo>
                  <a:cubicBezTo>
                    <a:pt x="5038" y="5429"/>
                    <a:pt x="5032" y="5536"/>
                    <a:pt x="5016" y="5588"/>
                  </a:cubicBezTo>
                  <a:cubicBezTo>
                    <a:pt x="4999" y="5641"/>
                    <a:pt x="4963" y="5676"/>
                    <a:pt x="4942" y="5652"/>
                  </a:cubicBezTo>
                  <a:cubicBezTo>
                    <a:pt x="4918" y="5637"/>
                    <a:pt x="4889" y="5563"/>
                    <a:pt x="4877" y="5492"/>
                  </a:cubicBezTo>
                  <a:cubicBezTo>
                    <a:pt x="4864" y="5422"/>
                    <a:pt x="4840" y="5324"/>
                    <a:pt x="4816" y="5281"/>
                  </a:cubicBezTo>
                  <a:cubicBezTo>
                    <a:pt x="4799" y="5233"/>
                    <a:pt x="4753" y="5186"/>
                    <a:pt x="4721" y="5174"/>
                  </a:cubicBezTo>
                  <a:cubicBezTo>
                    <a:pt x="4690" y="5162"/>
                    <a:pt x="4611" y="5088"/>
                    <a:pt x="4549" y="5009"/>
                  </a:cubicBezTo>
                  <a:cubicBezTo>
                    <a:pt x="4486" y="4931"/>
                    <a:pt x="4398" y="4811"/>
                    <a:pt x="4362" y="4736"/>
                  </a:cubicBezTo>
                  <a:cubicBezTo>
                    <a:pt x="4321" y="4665"/>
                    <a:pt x="4256" y="4595"/>
                    <a:pt x="4213" y="4584"/>
                  </a:cubicBezTo>
                  <a:cubicBezTo>
                    <a:pt x="4171" y="4573"/>
                    <a:pt x="4094" y="4490"/>
                    <a:pt x="4045" y="4401"/>
                  </a:cubicBezTo>
                  <a:cubicBezTo>
                    <a:pt x="3995" y="4311"/>
                    <a:pt x="3933" y="4237"/>
                    <a:pt x="3912" y="4223"/>
                  </a:cubicBezTo>
                  <a:cubicBezTo>
                    <a:pt x="3889" y="4213"/>
                    <a:pt x="3848" y="4166"/>
                    <a:pt x="3822" y="4115"/>
                  </a:cubicBezTo>
                  <a:cubicBezTo>
                    <a:pt x="3798" y="4062"/>
                    <a:pt x="3747" y="4014"/>
                    <a:pt x="3715" y="4001"/>
                  </a:cubicBezTo>
                  <a:cubicBezTo>
                    <a:pt x="3682" y="3989"/>
                    <a:pt x="3601" y="3993"/>
                    <a:pt x="3534" y="4009"/>
                  </a:cubicBezTo>
                  <a:cubicBezTo>
                    <a:pt x="3468" y="4025"/>
                    <a:pt x="3372" y="3990"/>
                    <a:pt x="3321" y="3932"/>
                  </a:cubicBezTo>
                  <a:cubicBezTo>
                    <a:pt x="3270" y="3876"/>
                    <a:pt x="3203" y="3756"/>
                    <a:pt x="3170" y="3670"/>
                  </a:cubicBezTo>
                  <a:cubicBezTo>
                    <a:pt x="3140" y="3582"/>
                    <a:pt x="3082" y="3505"/>
                    <a:pt x="3046" y="3499"/>
                  </a:cubicBezTo>
                  <a:cubicBezTo>
                    <a:pt x="3010" y="3494"/>
                    <a:pt x="2952" y="3513"/>
                    <a:pt x="2915" y="3545"/>
                  </a:cubicBezTo>
                  <a:cubicBezTo>
                    <a:pt x="2882" y="3580"/>
                    <a:pt x="2820" y="3599"/>
                    <a:pt x="2781" y="3597"/>
                  </a:cubicBezTo>
                  <a:cubicBezTo>
                    <a:pt x="2743" y="3591"/>
                    <a:pt x="2711" y="3619"/>
                    <a:pt x="2711" y="3655"/>
                  </a:cubicBezTo>
                  <a:cubicBezTo>
                    <a:pt x="2711" y="3690"/>
                    <a:pt x="2692" y="3748"/>
                    <a:pt x="2673" y="3783"/>
                  </a:cubicBezTo>
                  <a:cubicBezTo>
                    <a:pt x="2652" y="3818"/>
                    <a:pt x="2624" y="3804"/>
                    <a:pt x="2620" y="3750"/>
                  </a:cubicBezTo>
                  <a:cubicBezTo>
                    <a:pt x="2612" y="3696"/>
                    <a:pt x="2582" y="3666"/>
                    <a:pt x="2560" y="3688"/>
                  </a:cubicBezTo>
                  <a:cubicBezTo>
                    <a:pt x="2537" y="3708"/>
                    <a:pt x="2513" y="3758"/>
                    <a:pt x="2509" y="3802"/>
                  </a:cubicBezTo>
                  <a:cubicBezTo>
                    <a:pt x="2505" y="3845"/>
                    <a:pt x="2475" y="3901"/>
                    <a:pt x="2441" y="3923"/>
                  </a:cubicBezTo>
                  <a:cubicBezTo>
                    <a:pt x="2408" y="3947"/>
                    <a:pt x="2359" y="3937"/>
                    <a:pt x="2335" y="3899"/>
                  </a:cubicBezTo>
                  <a:cubicBezTo>
                    <a:pt x="2311" y="3863"/>
                    <a:pt x="2312" y="3801"/>
                    <a:pt x="2329" y="3755"/>
                  </a:cubicBezTo>
                  <a:cubicBezTo>
                    <a:pt x="2350" y="3711"/>
                    <a:pt x="2367" y="3645"/>
                    <a:pt x="2367" y="3607"/>
                  </a:cubicBezTo>
                  <a:cubicBezTo>
                    <a:pt x="2371" y="3569"/>
                    <a:pt x="2324" y="3505"/>
                    <a:pt x="2273" y="3459"/>
                  </a:cubicBezTo>
                  <a:cubicBezTo>
                    <a:pt x="2220" y="3417"/>
                    <a:pt x="2122" y="3325"/>
                    <a:pt x="2056" y="3256"/>
                  </a:cubicBezTo>
                  <a:cubicBezTo>
                    <a:pt x="1987" y="3190"/>
                    <a:pt x="1933" y="3163"/>
                    <a:pt x="1925" y="3199"/>
                  </a:cubicBezTo>
                  <a:cubicBezTo>
                    <a:pt x="1920" y="3236"/>
                    <a:pt x="1931" y="3312"/>
                    <a:pt x="1948" y="3371"/>
                  </a:cubicBezTo>
                  <a:cubicBezTo>
                    <a:pt x="1968" y="3427"/>
                    <a:pt x="1983" y="3519"/>
                    <a:pt x="1983" y="3573"/>
                  </a:cubicBezTo>
                  <a:cubicBezTo>
                    <a:pt x="1987" y="3626"/>
                    <a:pt x="1950" y="3643"/>
                    <a:pt x="1903" y="3618"/>
                  </a:cubicBezTo>
                  <a:cubicBezTo>
                    <a:pt x="1859" y="3589"/>
                    <a:pt x="1801" y="3590"/>
                    <a:pt x="1773" y="3616"/>
                  </a:cubicBezTo>
                  <a:cubicBezTo>
                    <a:pt x="1747" y="3642"/>
                    <a:pt x="1727" y="3730"/>
                    <a:pt x="1711" y="3805"/>
                  </a:cubicBezTo>
                  <a:cubicBezTo>
                    <a:pt x="1702" y="3882"/>
                    <a:pt x="1672" y="3939"/>
                    <a:pt x="1644" y="3936"/>
                  </a:cubicBezTo>
                  <a:cubicBezTo>
                    <a:pt x="1616" y="3936"/>
                    <a:pt x="1550" y="3962"/>
                    <a:pt x="1497" y="4005"/>
                  </a:cubicBezTo>
                  <a:cubicBezTo>
                    <a:pt x="1443" y="4047"/>
                    <a:pt x="1396" y="4137"/>
                    <a:pt x="1392" y="4205"/>
                  </a:cubicBezTo>
                  <a:cubicBezTo>
                    <a:pt x="1388" y="4273"/>
                    <a:pt x="1414" y="4380"/>
                    <a:pt x="1451" y="4443"/>
                  </a:cubicBezTo>
                  <a:cubicBezTo>
                    <a:pt x="1488" y="4506"/>
                    <a:pt x="1527" y="4617"/>
                    <a:pt x="1536" y="4691"/>
                  </a:cubicBezTo>
                  <a:cubicBezTo>
                    <a:pt x="1544" y="4765"/>
                    <a:pt x="1498" y="4812"/>
                    <a:pt x="1430" y="4795"/>
                  </a:cubicBezTo>
                  <a:cubicBezTo>
                    <a:pt x="1364" y="4776"/>
                    <a:pt x="1257" y="4760"/>
                    <a:pt x="1193" y="4757"/>
                  </a:cubicBezTo>
                  <a:cubicBezTo>
                    <a:pt x="1130" y="4752"/>
                    <a:pt x="1139" y="4965"/>
                    <a:pt x="1223" y="5223"/>
                  </a:cubicBezTo>
                  <a:cubicBezTo>
                    <a:pt x="1301" y="5484"/>
                    <a:pt x="1349" y="5720"/>
                    <a:pt x="1327" y="5744"/>
                  </a:cubicBezTo>
                  <a:cubicBezTo>
                    <a:pt x="1306" y="5771"/>
                    <a:pt x="1309" y="5868"/>
                    <a:pt x="1322" y="5967"/>
                  </a:cubicBezTo>
                  <a:cubicBezTo>
                    <a:pt x="1339" y="6064"/>
                    <a:pt x="1305" y="6139"/>
                    <a:pt x="1241" y="6131"/>
                  </a:cubicBezTo>
                  <a:cubicBezTo>
                    <a:pt x="1177" y="6126"/>
                    <a:pt x="1068" y="6058"/>
                    <a:pt x="996" y="5986"/>
                  </a:cubicBezTo>
                  <a:cubicBezTo>
                    <a:pt x="923" y="5916"/>
                    <a:pt x="854" y="5802"/>
                    <a:pt x="830" y="5744"/>
                  </a:cubicBezTo>
                  <a:cubicBezTo>
                    <a:pt x="810" y="5684"/>
                    <a:pt x="688" y="5487"/>
                    <a:pt x="554" y="5313"/>
                  </a:cubicBezTo>
                  <a:cubicBezTo>
                    <a:pt x="426" y="5132"/>
                    <a:pt x="299" y="5034"/>
                    <a:pt x="273" y="5084"/>
                  </a:cubicBezTo>
                  <a:cubicBezTo>
                    <a:pt x="248" y="5135"/>
                    <a:pt x="239" y="5243"/>
                    <a:pt x="247" y="5322"/>
                  </a:cubicBezTo>
                  <a:cubicBezTo>
                    <a:pt x="260" y="5401"/>
                    <a:pt x="228" y="5540"/>
                    <a:pt x="184" y="5633"/>
                  </a:cubicBezTo>
                  <a:cubicBezTo>
                    <a:pt x="139" y="5723"/>
                    <a:pt x="72" y="5815"/>
                    <a:pt x="35" y="5836"/>
                  </a:cubicBezTo>
                  <a:cubicBezTo>
                    <a:pt x="-4" y="5856"/>
                    <a:pt x="-11" y="6001"/>
                    <a:pt x="18" y="6159"/>
                  </a:cubicBezTo>
                  <a:cubicBezTo>
                    <a:pt x="47" y="6317"/>
                    <a:pt x="100" y="6493"/>
                    <a:pt x="139" y="6547"/>
                  </a:cubicBezTo>
                  <a:cubicBezTo>
                    <a:pt x="175" y="6603"/>
                    <a:pt x="208" y="6805"/>
                    <a:pt x="216" y="6998"/>
                  </a:cubicBezTo>
                  <a:cubicBezTo>
                    <a:pt x="220" y="7191"/>
                    <a:pt x="206" y="7435"/>
                    <a:pt x="186" y="7538"/>
                  </a:cubicBezTo>
                  <a:cubicBezTo>
                    <a:pt x="170" y="7643"/>
                    <a:pt x="226" y="7785"/>
                    <a:pt x="320" y="7854"/>
                  </a:cubicBezTo>
                  <a:cubicBezTo>
                    <a:pt x="416" y="7920"/>
                    <a:pt x="531" y="8060"/>
                    <a:pt x="577" y="8159"/>
                  </a:cubicBezTo>
                  <a:cubicBezTo>
                    <a:pt x="624" y="8256"/>
                    <a:pt x="658" y="8375"/>
                    <a:pt x="646" y="8419"/>
                  </a:cubicBezTo>
                  <a:cubicBezTo>
                    <a:pt x="642" y="8466"/>
                    <a:pt x="693" y="8590"/>
                    <a:pt x="775" y="8690"/>
                  </a:cubicBezTo>
                  <a:cubicBezTo>
                    <a:pt x="851" y="8796"/>
                    <a:pt x="927" y="8839"/>
                    <a:pt x="939" y="8794"/>
                  </a:cubicBezTo>
                  <a:cubicBezTo>
                    <a:pt x="951" y="8750"/>
                    <a:pt x="1079" y="8782"/>
                    <a:pt x="1222" y="8871"/>
                  </a:cubicBezTo>
                  <a:cubicBezTo>
                    <a:pt x="1366" y="8958"/>
                    <a:pt x="1572" y="9165"/>
                    <a:pt x="1687" y="9320"/>
                  </a:cubicBezTo>
                  <a:cubicBezTo>
                    <a:pt x="1799" y="9480"/>
                    <a:pt x="1978" y="9805"/>
                    <a:pt x="2088" y="10040"/>
                  </a:cubicBezTo>
                  <a:cubicBezTo>
                    <a:pt x="2194" y="10278"/>
                    <a:pt x="2219" y="10455"/>
                    <a:pt x="2139" y="10439"/>
                  </a:cubicBezTo>
                  <a:cubicBezTo>
                    <a:pt x="2059" y="10421"/>
                    <a:pt x="1991" y="10451"/>
                    <a:pt x="1995" y="10503"/>
                  </a:cubicBezTo>
                  <a:cubicBezTo>
                    <a:pt x="1995" y="10556"/>
                    <a:pt x="2069" y="10675"/>
                    <a:pt x="2153" y="10772"/>
                  </a:cubicBezTo>
                  <a:cubicBezTo>
                    <a:pt x="2239" y="10867"/>
                    <a:pt x="2350" y="10932"/>
                    <a:pt x="2401" y="10916"/>
                  </a:cubicBezTo>
                  <a:cubicBezTo>
                    <a:pt x="2452" y="10898"/>
                    <a:pt x="2540" y="10937"/>
                    <a:pt x="2597" y="10998"/>
                  </a:cubicBezTo>
                  <a:cubicBezTo>
                    <a:pt x="2597" y="10998"/>
                    <a:pt x="2597" y="10999"/>
                    <a:pt x="2598" y="10999"/>
                  </a:cubicBezTo>
                  <a:cubicBezTo>
                    <a:pt x="2599" y="11000"/>
                    <a:pt x="2600" y="11001"/>
                    <a:pt x="2601" y="11002"/>
                  </a:cubicBezTo>
                  <a:cubicBezTo>
                    <a:pt x="2658" y="11067"/>
                    <a:pt x="2719" y="11114"/>
                    <a:pt x="2732" y="11120"/>
                  </a:cubicBezTo>
                  <a:close/>
                  <a:moveTo>
                    <a:pt x="2732" y="111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7" name="AutoShape 436"/>
            <p:cNvSpPr>
              <a:spLocks/>
            </p:cNvSpPr>
            <p:nvPr/>
          </p:nvSpPr>
          <p:spPr bwMode="auto">
            <a:xfrm>
              <a:off x="10134600" y="3225800"/>
              <a:ext cx="3175" cy="3175"/>
            </a:xfrm>
            <a:custGeom>
              <a:avLst/>
              <a:gdLst/>
              <a:ahLst/>
              <a:cxnLst/>
              <a:rect l="0" t="0" r="r" b="b"/>
              <a:pathLst>
                <a:path w="21600" h="21600">
                  <a:moveTo>
                    <a:pt x="0" y="0"/>
                  </a:moveTo>
                  <a:cubicBezTo>
                    <a:pt x="9422" y="8462"/>
                    <a:pt x="18515" y="17459"/>
                    <a:pt x="21600" y="21600"/>
                  </a:cubicBezTo>
                  <a:cubicBezTo>
                    <a:pt x="16810" y="15503"/>
                    <a:pt x="7875" y="7079"/>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8" name="AutoShape 437"/>
            <p:cNvSpPr>
              <a:spLocks/>
            </p:cNvSpPr>
            <p:nvPr/>
          </p:nvSpPr>
          <p:spPr bwMode="auto">
            <a:xfrm>
              <a:off x="9588500" y="3302000"/>
              <a:ext cx="25400" cy="4763"/>
            </a:xfrm>
            <a:custGeom>
              <a:avLst/>
              <a:gdLst/>
              <a:ahLst/>
              <a:cxnLst/>
              <a:rect l="0" t="0" r="r" b="b"/>
              <a:pathLst>
                <a:path w="19401" h="17614">
                  <a:moveTo>
                    <a:pt x="7159" y="14016"/>
                  </a:moveTo>
                  <a:cubicBezTo>
                    <a:pt x="15353" y="20169"/>
                    <a:pt x="20744" y="18026"/>
                    <a:pt x="19109" y="10654"/>
                  </a:cubicBezTo>
                  <a:cubicBezTo>
                    <a:pt x="17473" y="3267"/>
                    <a:pt x="10798" y="-1431"/>
                    <a:pt x="4185" y="393"/>
                  </a:cubicBezTo>
                  <a:cubicBezTo>
                    <a:pt x="204" y="1484"/>
                    <a:pt x="-856" y="4340"/>
                    <a:pt x="663" y="7521"/>
                  </a:cubicBezTo>
                  <a:cubicBezTo>
                    <a:pt x="2729" y="9116"/>
                    <a:pt x="4814" y="11201"/>
                    <a:pt x="6934" y="13856"/>
                  </a:cubicBezTo>
                  <a:cubicBezTo>
                    <a:pt x="7015" y="13912"/>
                    <a:pt x="7069" y="13976"/>
                    <a:pt x="7159" y="14016"/>
                  </a:cubicBezTo>
                  <a:close/>
                  <a:moveTo>
                    <a:pt x="7159" y="140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39" name="AutoShape 438"/>
            <p:cNvSpPr>
              <a:spLocks/>
            </p:cNvSpPr>
            <p:nvPr/>
          </p:nvSpPr>
          <p:spPr bwMode="auto">
            <a:xfrm>
              <a:off x="9296400" y="3187700"/>
              <a:ext cx="7938" cy="1588"/>
            </a:xfrm>
            <a:custGeom>
              <a:avLst/>
              <a:gdLst/>
              <a:ahLst/>
              <a:cxnLst/>
              <a:rect l="0" t="0" r="r" b="b"/>
              <a:pathLst>
                <a:path w="21600" h="18739">
                  <a:moveTo>
                    <a:pt x="0" y="926"/>
                  </a:moveTo>
                  <a:cubicBezTo>
                    <a:pt x="5512" y="-2784"/>
                    <a:pt x="14959" y="5932"/>
                    <a:pt x="21600" y="18739"/>
                  </a:cubicBezTo>
                  <a:cubicBezTo>
                    <a:pt x="21507" y="18622"/>
                    <a:pt x="21478" y="18513"/>
                    <a:pt x="21448" y="18436"/>
                  </a:cubicBezTo>
                  <a:cubicBezTo>
                    <a:pt x="15261" y="5358"/>
                    <a:pt x="5606" y="-2861"/>
                    <a:pt x="0" y="926"/>
                  </a:cubicBezTo>
                  <a:close/>
                  <a:moveTo>
                    <a:pt x="0" y="9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0" name="AutoShape 439"/>
            <p:cNvSpPr>
              <a:spLocks/>
            </p:cNvSpPr>
            <p:nvPr/>
          </p:nvSpPr>
          <p:spPr bwMode="auto">
            <a:xfrm>
              <a:off x="9575800" y="3505200"/>
              <a:ext cx="0" cy="0"/>
            </a:xfrm>
            <a:custGeom>
              <a:avLst/>
              <a:gdLst/>
              <a:ahLst/>
              <a:cxnLst/>
              <a:rect l="0" t="0" r="r" b="b"/>
              <a:pathLst>
                <a:path w="21600" h="21600">
                  <a:moveTo>
                    <a:pt x="0" y="21600"/>
                  </a:moveTo>
                  <a:cubicBezTo>
                    <a:pt x="6433" y="10473"/>
                    <a:pt x="12933" y="10473"/>
                    <a:pt x="21600" y="0"/>
                  </a:cubicBezTo>
                  <a:cubicBezTo>
                    <a:pt x="12933" y="10473"/>
                    <a:pt x="6433" y="21600"/>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1" name="AutoShape 440"/>
            <p:cNvSpPr>
              <a:spLocks/>
            </p:cNvSpPr>
            <p:nvPr/>
          </p:nvSpPr>
          <p:spPr bwMode="auto">
            <a:xfrm>
              <a:off x="9575800" y="3505200"/>
              <a:ext cx="0" cy="0"/>
            </a:xfrm>
            <a:custGeom>
              <a:avLst/>
              <a:gdLst/>
              <a:ahLst/>
              <a:cxnLst/>
              <a:rect l="0" t="0" r="r" b="b"/>
              <a:pathLst>
                <a:path w="21600" h="21600">
                  <a:moveTo>
                    <a:pt x="0" y="21600"/>
                  </a:moveTo>
                  <a:cubicBezTo>
                    <a:pt x="7294" y="14252"/>
                    <a:pt x="14587" y="7348"/>
                    <a:pt x="21600" y="0"/>
                  </a:cubicBezTo>
                  <a:cubicBezTo>
                    <a:pt x="14306" y="7348"/>
                    <a:pt x="7294" y="14252"/>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2" name="AutoShape 441"/>
            <p:cNvSpPr>
              <a:spLocks/>
            </p:cNvSpPr>
            <p:nvPr/>
          </p:nvSpPr>
          <p:spPr bwMode="auto">
            <a:xfrm>
              <a:off x="9588500" y="3505200"/>
              <a:ext cx="0" cy="0"/>
            </a:xfrm>
            <a:custGeom>
              <a:avLst/>
              <a:gdLst/>
              <a:ahLst/>
              <a:cxnLst/>
              <a:rect l="0" t="0" r="r" b="b"/>
              <a:pathLst>
                <a:path w="21600" h="21600">
                  <a:moveTo>
                    <a:pt x="21600" y="0"/>
                  </a:moveTo>
                  <a:cubicBezTo>
                    <a:pt x="14373" y="0"/>
                    <a:pt x="7799" y="0"/>
                    <a:pt x="0" y="0"/>
                  </a:cubicBezTo>
                  <a:cubicBezTo>
                    <a:pt x="7799" y="0"/>
                    <a:pt x="16945" y="10473"/>
                    <a:pt x="21600" y="21600"/>
                  </a:cubicBezTo>
                  <a:cubicBezTo>
                    <a:pt x="21600" y="21600"/>
                    <a:pt x="21600" y="0"/>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3" name="AutoShape 442"/>
            <p:cNvSpPr>
              <a:spLocks/>
            </p:cNvSpPr>
            <p:nvPr/>
          </p:nvSpPr>
          <p:spPr bwMode="auto">
            <a:xfrm>
              <a:off x="9550400" y="3302000"/>
              <a:ext cx="434975" cy="444500"/>
            </a:xfrm>
            <a:custGeom>
              <a:avLst/>
              <a:gdLst/>
              <a:ahLst/>
              <a:cxnLst/>
              <a:rect l="0" t="0" r="r" b="b"/>
              <a:pathLst>
                <a:path w="21342" h="21580">
                  <a:moveTo>
                    <a:pt x="18976" y="9910"/>
                  </a:moveTo>
                  <a:cubicBezTo>
                    <a:pt x="18927" y="9935"/>
                    <a:pt x="18817" y="10128"/>
                    <a:pt x="18726" y="10339"/>
                  </a:cubicBezTo>
                  <a:cubicBezTo>
                    <a:pt x="18635" y="10551"/>
                    <a:pt x="18538" y="10832"/>
                    <a:pt x="18520" y="10964"/>
                  </a:cubicBezTo>
                  <a:cubicBezTo>
                    <a:pt x="18501" y="11095"/>
                    <a:pt x="18446" y="11250"/>
                    <a:pt x="18427" y="11315"/>
                  </a:cubicBezTo>
                  <a:cubicBezTo>
                    <a:pt x="18409" y="11381"/>
                    <a:pt x="18344" y="11574"/>
                    <a:pt x="18308" y="11754"/>
                  </a:cubicBezTo>
                  <a:cubicBezTo>
                    <a:pt x="18272" y="11933"/>
                    <a:pt x="18150" y="12214"/>
                    <a:pt x="18050" y="12382"/>
                  </a:cubicBezTo>
                  <a:cubicBezTo>
                    <a:pt x="17948" y="12551"/>
                    <a:pt x="17832" y="12646"/>
                    <a:pt x="17791" y="12603"/>
                  </a:cubicBezTo>
                  <a:cubicBezTo>
                    <a:pt x="17754" y="12556"/>
                    <a:pt x="17593" y="12397"/>
                    <a:pt x="17429" y="12253"/>
                  </a:cubicBezTo>
                  <a:cubicBezTo>
                    <a:pt x="17269" y="12104"/>
                    <a:pt x="17039" y="11956"/>
                    <a:pt x="16929" y="11901"/>
                  </a:cubicBezTo>
                  <a:cubicBezTo>
                    <a:pt x="16816" y="11854"/>
                    <a:pt x="16646" y="11818"/>
                    <a:pt x="16555" y="11838"/>
                  </a:cubicBezTo>
                  <a:cubicBezTo>
                    <a:pt x="16463" y="11852"/>
                    <a:pt x="16275" y="11934"/>
                    <a:pt x="16144" y="12031"/>
                  </a:cubicBezTo>
                  <a:cubicBezTo>
                    <a:pt x="16010" y="12126"/>
                    <a:pt x="15844" y="12186"/>
                    <a:pt x="15774" y="12162"/>
                  </a:cubicBezTo>
                  <a:cubicBezTo>
                    <a:pt x="15703" y="12144"/>
                    <a:pt x="15470" y="11604"/>
                    <a:pt x="15252" y="10974"/>
                  </a:cubicBezTo>
                  <a:cubicBezTo>
                    <a:pt x="15035" y="10342"/>
                    <a:pt x="14652" y="9746"/>
                    <a:pt x="14406" y="9651"/>
                  </a:cubicBezTo>
                  <a:cubicBezTo>
                    <a:pt x="14161" y="9548"/>
                    <a:pt x="13879" y="8866"/>
                    <a:pt x="13753" y="8129"/>
                  </a:cubicBezTo>
                  <a:cubicBezTo>
                    <a:pt x="13653" y="7391"/>
                    <a:pt x="13453" y="6818"/>
                    <a:pt x="13342" y="6847"/>
                  </a:cubicBezTo>
                  <a:cubicBezTo>
                    <a:pt x="13233" y="6877"/>
                    <a:pt x="13047" y="6627"/>
                    <a:pt x="12903" y="6299"/>
                  </a:cubicBezTo>
                  <a:cubicBezTo>
                    <a:pt x="12812" y="6046"/>
                    <a:pt x="12624" y="5724"/>
                    <a:pt x="12452" y="5477"/>
                  </a:cubicBezTo>
                  <a:cubicBezTo>
                    <a:pt x="12399" y="5394"/>
                    <a:pt x="12345" y="5320"/>
                    <a:pt x="12289" y="5265"/>
                  </a:cubicBezTo>
                  <a:cubicBezTo>
                    <a:pt x="12076" y="5035"/>
                    <a:pt x="11444" y="4736"/>
                    <a:pt x="10865" y="4615"/>
                  </a:cubicBezTo>
                  <a:cubicBezTo>
                    <a:pt x="10283" y="4487"/>
                    <a:pt x="9371" y="4373"/>
                    <a:pt x="8843" y="4347"/>
                  </a:cubicBezTo>
                  <a:cubicBezTo>
                    <a:pt x="8311" y="4314"/>
                    <a:pt x="7586" y="4031"/>
                    <a:pt x="7240" y="3701"/>
                  </a:cubicBezTo>
                  <a:cubicBezTo>
                    <a:pt x="6887" y="3374"/>
                    <a:pt x="6393" y="2969"/>
                    <a:pt x="6145" y="2797"/>
                  </a:cubicBezTo>
                  <a:cubicBezTo>
                    <a:pt x="5891" y="2631"/>
                    <a:pt x="5130" y="1899"/>
                    <a:pt x="4427" y="1194"/>
                  </a:cubicBezTo>
                  <a:cubicBezTo>
                    <a:pt x="3975" y="728"/>
                    <a:pt x="3246" y="344"/>
                    <a:pt x="2528" y="145"/>
                  </a:cubicBezTo>
                  <a:cubicBezTo>
                    <a:pt x="2312" y="115"/>
                    <a:pt x="2171" y="82"/>
                    <a:pt x="2104" y="51"/>
                  </a:cubicBezTo>
                  <a:cubicBezTo>
                    <a:pt x="1866" y="11"/>
                    <a:pt x="1635" y="-9"/>
                    <a:pt x="1425" y="4"/>
                  </a:cubicBezTo>
                  <a:cubicBezTo>
                    <a:pt x="1360" y="9"/>
                    <a:pt x="1297" y="12"/>
                    <a:pt x="1233" y="16"/>
                  </a:cubicBezTo>
                  <a:cubicBezTo>
                    <a:pt x="264" y="85"/>
                    <a:pt x="-241" y="1265"/>
                    <a:pt x="114" y="2653"/>
                  </a:cubicBezTo>
                  <a:cubicBezTo>
                    <a:pt x="496" y="4166"/>
                    <a:pt x="887" y="5680"/>
                    <a:pt x="1250" y="7205"/>
                  </a:cubicBezTo>
                  <a:cubicBezTo>
                    <a:pt x="1423" y="7908"/>
                    <a:pt x="1603" y="8551"/>
                    <a:pt x="1732" y="9017"/>
                  </a:cubicBezTo>
                  <a:cubicBezTo>
                    <a:pt x="1875" y="9478"/>
                    <a:pt x="1998" y="9765"/>
                    <a:pt x="2090" y="9770"/>
                  </a:cubicBezTo>
                  <a:cubicBezTo>
                    <a:pt x="2330" y="9779"/>
                    <a:pt x="2666" y="9838"/>
                    <a:pt x="2839" y="9901"/>
                  </a:cubicBezTo>
                  <a:cubicBezTo>
                    <a:pt x="3011" y="9968"/>
                    <a:pt x="3180" y="9925"/>
                    <a:pt x="3198" y="9803"/>
                  </a:cubicBezTo>
                  <a:cubicBezTo>
                    <a:pt x="3225" y="9683"/>
                    <a:pt x="3186" y="9492"/>
                    <a:pt x="3099" y="9392"/>
                  </a:cubicBezTo>
                  <a:cubicBezTo>
                    <a:pt x="3017" y="9288"/>
                    <a:pt x="2912" y="9034"/>
                    <a:pt x="2858" y="8833"/>
                  </a:cubicBezTo>
                  <a:cubicBezTo>
                    <a:pt x="2803" y="8631"/>
                    <a:pt x="2812" y="8284"/>
                    <a:pt x="2868" y="8061"/>
                  </a:cubicBezTo>
                  <a:cubicBezTo>
                    <a:pt x="2915" y="7836"/>
                    <a:pt x="3070" y="7658"/>
                    <a:pt x="3187" y="7666"/>
                  </a:cubicBezTo>
                  <a:cubicBezTo>
                    <a:pt x="3305" y="7675"/>
                    <a:pt x="3441" y="7574"/>
                    <a:pt x="3486" y="7450"/>
                  </a:cubicBezTo>
                  <a:cubicBezTo>
                    <a:pt x="3532" y="7328"/>
                    <a:pt x="3636" y="7182"/>
                    <a:pt x="3718" y="7128"/>
                  </a:cubicBezTo>
                  <a:cubicBezTo>
                    <a:pt x="3801" y="7073"/>
                    <a:pt x="3951" y="7102"/>
                    <a:pt x="4058" y="7186"/>
                  </a:cubicBezTo>
                  <a:cubicBezTo>
                    <a:pt x="4157" y="7279"/>
                    <a:pt x="4286" y="7323"/>
                    <a:pt x="4322" y="7287"/>
                  </a:cubicBezTo>
                  <a:cubicBezTo>
                    <a:pt x="4361" y="7253"/>
                    <a:pt x="4329" y="7110"/>
                    <a:pt x="4242" y="6968"/>
                  </a:cubicBezTo>
                  <a:cubicBezTo>
                    <a:pt x="4161" y="6821"/>
                    <a:pt x="4238" y="6751"/>
                    <a:pt x="4421" y="6805"/>
                  </a:cubicBezTo>
                  <a:cubicBezTo>
                    <a:pt x="4605" y="6859"/>
                    <a:pt x="4983" y="7095"/>
                    <a:pt x="5272" y="7314"/>
                  </a:cubicBezTo>
                  <a:cubicBezTo>
                    <a:pt x="5552" y="7545"/>
                    <a:pt x="5995" y="7902"/>
                    <a:pt x="6232" y="8133"/>
                  </a:cubicBezTo>
                  <a:cubicBezTo>
                    <a:pt x="6470" y="8365"/>
                    <a:pt x="6708" y="8649"/>
                    <a:pt x="6753" y="8778"/>
                  </a:cubicBezTo>
                  <a:cubicBezTo>
                    <a:pt x="6798" y="8907"/>
                    <a:pt x="7085" y="9232"/>
                    <a:pt x="7396" y="9499"/>
                  </a:cubicBezTo>
                  <a:cubicBezTo>
                    <a:pt x="7705" y="9766"/>
                    <a:pt x="8150" y="10153"/>
                    <a:pt x="8395" y="10351"/>
                  </a:cubicBezTo>
                  <a:cubicBezTo>
                    <a:pt x="8636" y="10551"/>
                    <a:pt x="8879" y="10687"/>
                    <a:pt x="8925" y="10637"/>
                  </a:cubicBezTo>
                  <a:cubicBezTo>
                    <a:pt x="8977" y="10594"/>
                    <a:pt x="9083" y="10581"/>
                    <a:pt x="9158" y="10609"/>
                  </a:cubicBezTo>
                  <a:cubicBezTo>
                    <a:pt x="9237" y="10633"/>
                    <a:pt x="9444" y="10812"/>
                    <a:pt x="9613" y="11007"/>
                  </a:cubicBezTo>
                  <a:cubicBezTo>
                    <a:pt x="9793" y="11190"/>
                    <a:pt x="10013" y="11619"/>
                    <a:pt x="10112" y="11948"/>
                  </a:cubicBezTo>
                  <a:cubicBezTo>
                    <a:pt x="10211" y="12277"/>
                    <a:pt x="10358" y="12624"/>
                    <a:pt x="10446" y="12710"/>
                  </a:cubicBezTo>
                  <a:cubicBezTo>
                    <a:pt x="10525" y="12802"/>
                    <a:pt x="10627" y="12992"/>
                    <a:pt x="10672" y="13135"/>
                  </a:cubicBezTo>
                  <a:cubicBezTo>
                    <a:pt x="10717" y="13278"/>
                    <a:pt x="10839" y="13593"/>
                    <a:pt x="10948" y="13832"/>
                  </a:cubicBezTo>
                  <a:cubicBezTo>
                    <a:pt x="11057" y="14072"/>
                    <a:pt x="11258" y="14353"/>
                    <a:pt x="11391" y="14461"/>
                  </a:cubicBezTo>
                  <a:cubicBezTo>
                    <a:pt x="11524" y="14569"/>
                    <a:pt x="11850" y="14871"/>
                    <a:pt x="12112" y="15136"/>
                  </a:cubicBezTo>
                  <a:cubicBezTo>
                    <a:pt x="12379" y="15395"/>
                    <a:pt x="12804" y="15862"/>
                    <a:pt x="13066" y="16166"/>
                  </a:cubicBezTo>
                  <a:cubicBezTo>
                    <a:pt x="13085" y="16198"/>
                    <a:pt x="13119" y="16230"/>
                    <a:pt x="13149" y="16256"/>
                  </a:cubicBezTo>
                  <a:cubicBezTo>
                    <a:pt x="13419" y="16545"/>
                    <a:pt x="13799" y="16915"/>
                    <a:pt x="14052" y="17117"/>
                  </a:cubicBezTo>
                  <a:cubicBezTo>
                    <a:pt x="14330" y="17339"/>
                    <a:pt x="14773" y="17750"/>
                    <a:pt x="15030" y="18037"/>
                  </a:cubicBezTo>
                  <a:cubicBezTo>
                    <a:pt x="15285" y="18326"/>
                    <a:pt x="15650" y="18619"/>
                    <a:pt x="15836" y="18694"/>
                  </a:cubicBezTo>
                  <a:cubicBezTo>
                    <a:pt x="16018" y="18775"/>
                    <a:pt x="16218" y="18891"/>
                    <a:pt x="16255" y="18970"/>
                  </a:cubicBezTo>
                  <a:cubicBezTo>
                    <a:pt x="16307" y="19042"/>
                    <a:pt x="16381" y="19100"/>
                    <a:pt x="16434" y="19095"/>
                  </a:cubicBezTo>
                  <a:cubicBezTo>
                    <a:pt x="16485" y="19091"/>
                    <a:pt x="16637" y="19217"/>
                    <a:pt x="16780" y="19373"/>
                  </a:cubicBezTo>
                  <a:cubicBezTo>
                    <a:pt x="16913" y="19537"/>
                    <a:pt x="17051" y="19774"/>
                    <a:pt x="17051" y="19911"/>
                  </a:cubicBezTo>
                  <a:cubicBezTo>
                    <a:pt x="17068" y="20048"/>
                    <a:pt x="17110" y="20358"/>
                    <a:pt x="17147" y="20601"/>
                  </a:cubicBezTo>
                  <a:cubicBezTo>
                    <a:pt x="17192" y="20842"/>
                    <a:pt x="17298" y="21022"/>
                    <a:pt x="17388" y="20995"/>
                  </a:cubicBezTo>
                  <a:cubicBezTo>
                    <a:pt x="17394" y="20995"/>
                    <a:pt x="17403" y="20995"/>
                    <a:pt x="17410" y="20995"/>
                  </a:cubicBezTo>
                  <a:cubicBezTo>
                    <a:pt x="17444" y="20995"/>
                    <a:pt x="17479" y="20986"/>
                    <a:pt x="17513" y="20997"/>
                  </a:cubicBezTo>
                  <a:cubicBezTo>
                    <a:pt x="17532" y="20997"/>
                    <a:pt x="17549" y="21004"/>
                    <a:pt x="17567" y="21009"/>
                  </a:cubicBezTo>
                  <a:cubicBezTo>
                    <a:pt x="17614" y="21026"/>
                    <a:pt x="17664" y="21036"/>
                    <a:pt x="17690" y="21068"/>
                  </a:cubicBezTo>
                  <a:cubicBezTo>
                    <a:pt x="17764" y="21136"/>
                    <a:pt x="17866" y="21271"/>
                    <a:pt x="17920" y="21372"/>
                  </a:cubicBezTo>
                  <a:cubicBezTo>
                    <a:pt x="17966" y="21476"/>
                    <a:pt x="18049" y="21562"/>
                    <a:pt x="18092" y="21578"/>
                  </a:cubicBezTo>
                  <a:cubicBezTo>
                    <a:pt x="18136" y="21591"/>
                    <a:pt x="18221" y="21544"/>
                    <a:pt x="18257" y="21467"/>
                  </a:cubicBezTo>
                  <a:cubicBezTo>
                    <a:pt x="18295" y="21391"/>
                    <a:pt x="18387" y="21352"/>
                    <a:pt x="18444" y="21368"/>
                  </a:cubicBezTo>
                  <a:cubicBezTo>
                    <a:pt x="18500" y="21386"/>
                    <a:pt x="18582" y="21448"/>
                    <a:pt x="18609" y="21515"/>
                  </a:cubicBezTo>
                  <a:cubicBezTo>
                    <a:pt x="18645" y="21577"/>
                    <a:pt x="18670" y="21360"/>
                    <a:pt x="18651" y="21030"/>
                  </a:cubicBezTo>
                  <a:cubicBezTo>
                    <a:pt x="18642" y="20701"/>
                    <a:pt x="18668" y="20230"/>
                    <a:pt x="18704" y="19982"/>
                  </a:cubicBezTo>
                  <a:cubicBezTo>
                    <a:pt x="18749" y="19736"/>
                    <a:pt x="18794" y="19488"/>
                    <a:pt x="18820" y="19433"/>
                  </a:cubicBezTo>
                  <a:cubicBezTo>
                    <a:pt x="18847" y="19380"/>
                    <a:pt x="18835" y="19215"/>
                    <a:pt x="18817" y="19068"/>
                  </a:cubicBezTo>
                  <a:cubicBezTo>
                    <a:pt x="18790" y="18923"/>
                    <a:pt x="18715" y="18757"/>
                    <a:pt x="18644" y="18700"/>
                  </a:cubicBezTo>
                  <a:cubicBezTo>
                    <a:pt x="18574" y="18643"/>
                    <a:pt x="18469" y="18473"/>
                    <a:pt x="18425" y="18317"/>
                  </a:cubicBezTo>
                  <a:cubicBezTo>
                    <a:pt x="18379" y="18161"/>
                    <a:pt x="18347" y="17955"/>
                    <a:pt x="18365" y="17854"/>
                  </a:cubicBezTo>
                  <a:cubicBezTo>
                    <a:pt x="18383" y="17753"/>
                    <a:pt x="18380" y="17571"/>
                    <a:pt x="18343" y="17453"/>
                  </a:cubicBezTo>
                  <a:cubicBezTo>
                    <a:pt x="18308" y="17334"/>
                    <a:pt x="18217" y="17224"/>
                    <a:pt x="18126" y="17211"/>
                  </a:cubicBezTo>
                  <a:cubicBezTo>
                    <a:pt x="18035" y="17202"/>
                    <a:pt x="17923" y="17223"/>
                    <a:pt x="17870" y="17258"/>
                  </a:cubicBezTo>
                  <a:cubicBezTo>
                    <a:pt x="17816" y="17293"/>
                    <a:pt x="17697" y="17152"/>
                    <a:pt x="17583" y="16943"/>
                  </a:cubicBezTo>
                  <a:cubicBezTo>
                    <a:pt x="17483" y="16727"/>
                    <a:pt x="17367" y="16424"/>
                    <a:pt x="17349" y="16260"/>
                  </a:cubicBezTo>
                  <a:cubicBezTo>
                    <a:pt x="17322" y="16098"/>
                    <a:pt x="17355" y="15905"/>
                    <a:pt x="17412" y="15835"/>
                  </a:cubicBezTo>
                  <a:cubicBezTo>
                    <a:pt x="17474" y="15769"/>
                    <a:pt x="17638" y="15753"/>
                    <a:pt x="17786" y="15817"/>
                  </a:cubicBezTo>
                  <a:cubicBezTo>
                    <a:pt x="17937" y="15875"/>
                    <a:pt x="18102" y="15919"/>
                    <a:pt x="18156" y="15901"/>
                  </a:cubicBezTo>
                  <a:cubicBezTo>
                    <a:pt x="18211" y="15888"/>
                    <a:pt x="18246" y="15776"/>
                    <a:pt x="18246" y="15658"/>
                  </a:cubicBezTo>
                  <a:cubicBezTo>
                    <a:pt x="18237" y="15540"/>
                    <a:pt x="18331" y="15403"/>
                    <a:pt x="18448" y="15357"/>
                  </a:cubicBezTo>
                  <a:cubicBezTo>
                    <a:pt x="18562" y="15306"/>
                    <a:pt x="18639" y="15199"/>
                    <a:pt x="18603" y="15114"/>
                  </a:cubicBezTo>
                  <a:cubicBezTo>
                    <a:pt x="18574" y="15028"/>
                    <a:pt x="18521" y="14919"/>
                    <a:pt x="18487" y="14872"/>
                  </a:cubicBezTo>
                  <a:cubicBezTo>
                    <a:pt x="18455" y="14825"/>
                    <a:pt x="18536" y="14768"/>
                    <a:pt x="18667" y="14742"/>
                  </a:cubicBezTo>
                  <a:cubicBezTo>
                    <a:pt x="18798" y="14714"/>
                    <a:pt x="18983" y="14650"/>
                    <a:pt x="19083" y="14601"/>
                  </a:cubicBezTo>
                  <a:cubicBezTo>
                    <a:pt x="19178" y="14544"/>
                    <a:pt x="19240" y="14420"/>
                    <a:pt x="19240" y="14316"/>
                  </a:cubicBezTo>
                  <a:cubicBezTo>
                    <a:pt x="19223" y="14213"/>
                    <a:pt x="19133" y="14046"/>
                    <a:pt x="19025" y="13948"/>
                  </a:cubicBezTo>
                  <a:cubicBezTo>
                    <a:pt x="18917" y="13850"/>
                    <a:pt x="18818" y="13670"/>
                    <a:pt x="18809" y="13547"/>
                  </a:cubicBezTo>
                  <a:cubicBezTo>
                    <a:pt x="18809" y="13425"/>
                    <a:pt x="18849" y="13301"/>
                    <a:pt x="18923" y="13269"/>
                  </a:cubicBezTo>
                  <a:cubicBezTo>
                    <a:pt x="18998" y="13244"/>
                    <a:pt x="19111" y="13141"/>
                    <a:pt x="19184" y="13060"/>
                  </a:cubicBezTo>
                  <a:cubicBezTo>
                    <a:pt x="19242" y="12969"/>
                    <a:pt x="19365" y="12926"/>
                    <a:pt x="19428" y="12949"/>
                  </a:cubicBezTo>
                  <a:cubicBezTo>
                    <a:pt x="19492" y="12972"/>
                    <a:pt x="19613" y="12870"/>
                    <a:pt x="19684" y="12722"/>
                  </a:cubicBezTo>
                  <a:cubicBezTo>
                    <a:pt x="19758" y="12577"/>
                    <a:pt x="19889" y="12566"/>
                    <a:pt x="19972" y="12694"/>
                  </a:cubicBezTo>
                  <a:cubicBezTo>
                    <a:pt x="20046" y="12827"/>
                    <a:pt x="20146" y="12994"/>
                    <a:pt x="20183" y="13072"/>
                  </a:cubicBezTo>
                  <a:cubicBezTo>
                    <a:pt x="20218" y="13151"/>
                    <a:pt x="20363" y="13210"/>
                    <a:pt x="20508" y="13202"/>
                  </a:cubicBezTo>
                  <a:cubicBezTo>
                    <a:pt x="20653" y="13197"/>
                    <a:pt x="20859" y="13212"/>
                    <a:pt x="20964" y="13249"/>
                  </a:cubicBezTo>
                  <a:cubicBezTo>
                    <a:pt x="21069" y="13287"/>
                    <a:pt x="21200" y="13191"/>
                    <a:pt x="21272" y="13053"/>
                  </a:cubicBezTo>
                  <a:cubicBezTo>
                    <a:pt x="21329" y="12908"/>
                    <a:pt x="21359" y="12709"/>
                    <a:pt x="21333" y="12601"/>
                  </a:cubicBezTo>
                  <a:cubicBezTo>
                    <a:pt x="21315" y="12493"/>
                    <a:pt x="21139" y="12223"/>
                    <a:pt x="20964" y="11996"/>
                  </a:cubicBezTo>
                  <a:cubicBezTo>
                    <a:pt x="20784" y="11772"/>
                    <a:pt x="20613" y="11560"/>
                    <a:pt x="20571" y="11539"/>
                  </a:cubicBezTo>
                  <a:cubicBezTo>
                    <a:pt x="20530" y="11513"/>
                    <a:pt x="20497" y="11612"/>
                    <a:pt x="20515" y="11752"/>
                  </a:cubicBezTo>
                  <a:cubicBezTo>
                    <a:pt x="20524" y="11893"/>
                    <a:pt x="20500" y="12075"/>
                    <a:pt x="20462" y="12160"/>
                  </a:cubicBezTo>
                  <a:cubicBezTo>
                    <a:pt x="20417" y="12241"/>
                    <a:pt x="20337" y="12280"/>
                    <a:pt x="20281" y="12229"/>
                  </a:cubicBezTo>
                  <a:cubicBezTo>
                    <a:pt x="20218" y="12190"/>
                    <a:pt x="20116" y="12066"/>
                    <a:pt x="20050" y="11964"/>
                  </a:cubicBezTo>
                  <a:cubicBezTo>
                    <a:pt x="19985" y="11862"/>
                    <a:pt x="19811" y="11697"/>
                    <a:pt x="19661" y="11605"/>
                  </a:cubicBezTo>
                  <a:cubicBezTo>
                    <a:pt x="19515" y="11506"/>
                    <a:pt x="19330" y="11375"/>
                    <a:pt x="19272" y="11298"/>
                  </a:cubicBezTo>
                  <a:cubicBezTo>
                    <a:pt x="19207" y="11225"/>
                    <a:pt x="19168" y="11069"/>
                    <a:pt x="19204" y="10952"/>
                  </a:cubicBezTo>
                  <a:cubicBezTo>
                    <a:pt x="19240" y="10836"/>
                    <a:pt x="19318" y="10553"/>
                    <a:pt x="19374" y="10324"/>
                  </a:cubicBezTo>
                  <a:cubicBezTo>
                    <a:pt x="19436" y="10097"/>
                    <a:pt x="19471" y="9824"/>
                    <a:pt x="19452" y="9717"/>
                  </a:cubicBezTo>
                  <a:cubicBezTo>
                    <a:pt x="19426" y="9611"/>
                    <a:pt x="19374" y="9502"/>
                    <a:pt x="19321" y="9480"/>
                  </a:cubicBezTo>
                  <a:cubicBezTo>
                    <a:pt x="19270" y="9455"/>
                    <a:pt x="19198" y="9539"/>
                    <a:pt x="19144" y="9652"/>
                  </a:cubicBezTo>
                  <a:cubicBezTo>
                    <a:pt x="19107" y="9772"/>
                    <a:pt x="19022" y="9883"/>
                    <a:pt x="18976" y="9910"/>
                  </a:cubicBezTo>
                  <a:close/>
                  <a:moveTo>
                    <a:pt x="18976" y="991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4" name="AutoShape 443"/>
            <p:cNvSpPr>
              <a:spLocks/>
            </p:cNvSpPr>
            <p:nvPr/>
          </p:nvSpPr>
          <p:spPr bwMode="auto">
            <a:xfrm>
              <a:off x="9588500" y="3302000"/>
              <a:ext cx="7938" cy="1588"/>
            </a:xfrm>
            <a:custGeom>
              <a:avLst/>
              <a:gdLst/>
              <a:ahLst/>
              <a:cxnLst/>
              <a:rect l="0" t="0" r="r" b="b"/>
              <a:pathLst>
                <a:path w="21600" h="21600">
                  <a:moveTo>
                    <a:pt x="0" y="0"/>
                  </a:moveTo>
                  <a:cubicBezTo>
                    <a:pt x="3402" y="7165"/>
                    <a:pt x="10615" y="14698"/>
                    <a:pt x="21600" y="21600"/>
                  </a:cubicBezTo>
                  <a:cubicBezTo>
                    <a:pt x="14300" y="12549"/>
                    <a:pt x="7118" y="5440"/>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5" name="AutoShape 444"/>
            <p:cNvSpPr>
              <a:spLocks/>
            </p:cNvSpPr>
            <p:nvPr/>
          </p:nvSpPr>
          <p:spPr bwMode="auto">
            <a:xfrm>
              <a:off x="9588500" y="3505200"/>
              <a:ext cx="14288" cy="1588"/>
            </a:xfrm>
            <a:custGeom>
              <a:avLst/>
              <a:gdLst/>
              <a:ahLst/>
              <a:cxnLst/>
              <a:rect l="0" t="0" r="r" b="b"/>
              <a:pathLst>
                <a:path w="21600" h="21600">
                  <a:moveTo>
                    <a:pt x="0" y="0"/>
                  </a:moveTo>
                  <a:cubicBezTo>
                    <a:pt x="5269" y="1492"/>
                    <a:pt x="16630" y="11250"/>
                    <a:pt x="21600" y="21600"/>
                  </a:cubicBezTo>
                  <a:cubicBezTo>
                    <a:pt x="16630" y="11250"/>
                    <a:pt x="6932" y="1545"/>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6" name="AutoShape 445"/>
            <p:cNvSpPr>
              <a:spLocks/>
            </p:cNvSpPr>
            <p:nvPr/>
          </p:nvSpPr>
          <p:spPr bwMode="auto">
            <a:xfrm>
              <a:off x="9817100" y="3632200"/>
              <a:ext cx="1588" cy="1588"/>
            </a:xfrm>
            <a:custGeom>
              <a:avLst/>
              <a:gdLst/>
              <a:ahLst/>
              <a:cxnLst/>
              <a:rect l="0" t="0" r="r" b="b"/>
              <a:pathLst>
                <a:path w="21600" h="21600">
                  <a:moveTo>
                    <a:pt x="21600" y="21600"/>
                  </a:moveTo>
                  <a:cubicBezTo>
                    <a:pt x="13865" y="15260"/>
                    <a:pt x="4888" y="7623"/>
                    <a:pt x="0" y="0"/>
                  </a:cubicBezTo>
                  <a:cubicBezTo>
                    <a:pt x="5518" y="6327"/>
                    <a:pt x="13865" y="13095"/>
                    <a:pt x="19876" y="19863"/>
                  </a:cubicBezTo>
                  <a:cubicBezTo>
                    <a:pt x="20339" y="20380"/>
                    <a:pt x="20969" y="21011"/>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7" name="AutoShape 446"/>
            <p:cNvSpPr>
              <a:spLocks/>
            </p:cNvSpPr>
            <p:nvPr/>
          </p:nvSpPr>
          <p:spPr bwMode="auto">
            <a:xfrm>
              <a:off x="9575800" y="3454400"/>
              <a:ext cx="9525" cy="36513"/>
            </a:xfrm>
            <a:custGeom>
              <a:avLst/>
              <a:gdLst/>
              <a:ahLst/>
              <a:cxnLst/>
              <a:rect l="0" t="0" r="r" b="b"/>
              <a:pathLst>
                <a:path w="21600" h="21600">
                  <a:moveTo>
                    <a:pt x="21600" y="21600"/>
                  </a:moveTo>
                  <a:cubicBezTo>
                    <a:pt x="15812" y="16045"/>
                    <a:pt x="7744" y="8385"/>
                    <a:pt x="0" y="0"/>
                  </a:cubicBezTo>
                  <a:cubicBezTo>
                    <a:pt x="7771" y="8410"/>
                    <a:pt x="15133" y="16056"/>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8" name="AutoShape 447"/>
            <p:cNvSpPr>
              <a:spLocks/>
            </p:cNvSpPr>
            <p:nvPr/>
          </p:nvSpPr>
          <p:spPr bwMode="auto">
            <a:xfrm>
              <a:off x="10541000" y="4838700"/>
              <a:ext cx="1588" cy="14288"/>
            </a:xfrm>
            <a:custGeom>
              <a:avLst/>
              <a:gdLst/>
              <a:ahLst/>
              <a:cxnLst/>
              <a:rect l="0" t="0" r="r" b="b"/>
              <a:pathLst>
                <a:path w="20787" h="20704">
                  <a:moveTo>
                    <a:pt x="6592" y="20454"/>
                  </a:moveTo>
                  <a:cubicBezTo>
                    <a:pt x="8413" y="19614"/>
                    <a:pt x="15332" y="15877"/>
                    <a:pt x="17024" y="12032"/>
                  </a:cubicBezTo>
                  <a:cubicBezTo>
                    <a:pt x="18852" y="8241"/>
                    <a:pt x="20787" y="4950"/>
                    <a:pt x="20787" y="4646"/>
                  </a:cubicBezTo>
                  <a:cubicBezTo>
                    <a:pt x="18974" y="4504"/>
                    <a:pt x="18488" y="2841"/>
                    <a:pt x="18488" y="1232"/>
                  </a:cubicBezTo>
                  <a:cubicBezTo>
                    <a:pt x="18488" y="-413"/>
                    <a:pt x="14960" y="-396"/>
                    <a:pt x="9991" y="1195"/>
                  </a:cubicBezTo>
                  <a:cubicBezTo>
                    <a:pt x="4642" y="2769"/>
                    <a:pt x="2093" y="5452"/>
                    <a:pt x="3921" y="6972"/>
                  </a:cubicBezTo>
                  <a:cubicBezTo>
                    <a:pt x="5735" y="8527"/>
                    <a:pt x="3185" y="10887"/>
                    <a:pt x="3185" y="12264"/>
                  </a:cubicBezTo>
                  <a:cubicBezTo>
                    <a:pt x="-206" y="13553"/>
                    <a:pt x="-813" y="16378"/>
                    <a:pt x="1000" y="18326"/>
                  </a:cubicBezTo>
                  <a:cubicBezTo>
                    <a:pt x="-813" y="20258"/>
                    <a:pt x="3185" y="21187"/>
                    <a:pt x="6592" y="20454"/>
                  </a:cubicBezTo>
                  <a:close/>
                  <a:moveTo>
                    <a:pt x="6592" y="204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49" name="AutoShape 448"/>
            <p:cNvSpPr>
              <a:spLocks/>
            </p:cNvSpPr>
            <p:nvPr/>
          </p:nvSpPr>
          <p:spPr bwMode="auto">
            <a:xfrm>
              <a:off x="10528300" y="4394200"/>
              <a:ext cx="46038" cy="503238"/>
            </a:xfrm>
            <a:custGeom>
              <a:avLst/>
              <a:gdLst/>
              <a:ahLst/>
              <a:cxnLst/>
              <a:rect l="0" t="0" r="r" b="b"/>
              <a:pathLst>
                <a:path w="21469" h="21576">
                  <a:moveTo>
                    <a:pt x="19098" y="2517"/>
                  </a:moveTo>
                  <a:cubicBezTo>
                    <a:pt x="19098" y="2534"/>
                    <a:pt x="18795" y="2522"/>
                    <a:pt x="18795" y="2496"/>
                  </a:cubicBezTo>
                  <a:cubicBezTo>
                    <a:pt x="18644" y="2474"/>
                    <a:pt x="18526" y="2468"/>
                    <a:pt x="18357" y="2492"/>
                  </a:cubicBezTo>
                  <a:cubicBezTo>
                    <a:pt x="18200" y="2515"/>
                    <a:pt x="17914" y="2504"/>
                    <a:pt x="17757" y="2466"/>
                  </a:cubicBezTo>
                  <a:cubicBezTo>
                    <a:pt x="17583" y="2429"/>
                    <a:pt x="17257" y="2375"/>
                    <a:pt x="17162" y="2341"/>
                  </a:cubicBezTo>
                  <a:cubicBezTo>
                    <a:pt x="16993" y="2309"/>
                    <a:pt x="16870" y="2239"/>
                    <a:pt x="16785" y="2185"/>
                  </a:cubicBezTo>
                  <a:cubicBezTo>
                    <a:pt x="16785" y="2133"/>
                    <a:pt x="16353" y="2049"/>
                    <a:pt x="16078" y="1992"/>
                  </a:cubicBezTo>
                  <a:cubicBezTo>
                    <a:pt x="15675" y="1942"/>
                    <a:pt x="15366" y="1831"/>
                    <a:pt x="15366" y="1753"/>
                  </a:cubicBezTo>
                  <a:cubicBezTo>
                    <a:pt x="15366" y="1676"/>
                    <a:pt x="15202" y="1599"/>
                    <a:pt x="15090" y="1582"/>
                  </a:cubicBezTo>
                  <a:cubicBezTo>
                    <a:pt x="15007" y="1566"/>
                    <a:pt x="14973" y="1442"/>
                    <a:pt x="15056" y="1305"/>
                  </a:cubicBezTo>
                  <a:cubicBezTo>
                    <a:pt x="15056" y="1169"/>
                    <a:pt x="15293" y="1049"/>
                    <a:pt x="15427" y="1043"/>
                  </a:cubicBezTo>
                  <a:cubicBezTo>
                    <a:pt x="15556" y="1037"/>
                    <a:pt x="15697" y="970"/>
                    <a:pt x="15697" y="899"/>
                  </a:cubicBezTo>
                  <a:cubicBezTo>
                    <a:pt x="15697" y="827"/>
                    <a:pt x="15624" y="725"/>
                    <a:pt x="15466" y="674"/>
                  </a:cubicBezTo>
                  <a:cubicBezTo>
                    <a:pt x="15293" y="624"/>
                    <a:pt x="15046" y="615"/>
                    <a:pt x="14787" y="652"/>
                  </a:cubicBezTo>
                  <a:cubicBezTo>
                    <a:pt x="14607" y="694"/>
                    <a:pt x="14321" y="694"/>
                    <a:pt x="14243" y="656"/>
                  </a:cubicBezTo>
                  <a:cubicBezTo>
                    <a:pt x="14243" y="617"/>
                    <a:pt x="13788" y="586"/>
                    <a:pt x="13395" y="590"/>
                  </a:cubicBezTo>
                  <a:cubicBezTo>
                    <a:pt x="12991" y="590"/>
                    <a:pt x="12519" y="552"/>
                    <a:pt x="12519" y="503"/>
                  </a:cubicBezTo>
                  <a:cubicBezTo>
                    <a:pt x="12356" y="457"/>
                    <a:pt x="12216" y="401"/>
                    <a:pt x="12003" y="384"/>
                  </a:cubicBezTo>
                  <a:cubicBezTo>
                    <a:pt x="11784" y="370"/>
                    <a:pt x="11627" y="314"/>
                    <a:pt x="11627" y="265"/>
                  </a:cubicBezTo>
                  <a:cubicBezTo>
                    <a:pt x="11627" y="217"/>
                    <a:pt x="11431" y="124"/>
                    <a:pt x="11251" y="58"/>
                  </a:cubicBezTo>
                  <a:cubicBezTo>
                    <a:pt x="11077" y="-9"/>
                    <a:pt x="10836" y="-19"/>
                    <a:pt x="10667" y="31"/>
                  </a:cubicBezTo>
                  <a:cubicBezTo>
                    <a:pt x="10589" y="82"/>
                    <a:pt x="10268" y="122"/>
                    <a:pt x="10044" y="122"/>
                  </a:cubicBezTo>
                  <a:cubicBezTo>
                    <a:pt x="9820" y="122"/>
                    <a:pt x="9584" y="162"/>
                    <a:pt x="9281" y="201"/>
                  </a:cubicBezTo>
                  <a:cubicBezTo>
                    <a:pt x="9101" y="248"/>
                    <a:pt x="8972" y="380"/>
                    <a:pt x="8972" y="496"/>
                  </a:cubicBezTo>
                  <a:cubicBezTo>
                    <a:pt x="8972" y="613"/>
                    <a:pt x="8703" y="738"/>
                    <a:pt x="8444" y="783"/>
                  </a:cubicBezTo>
                  <a:cubicBezTo>
                    <a:pt x="8135" y="824"/>
                    <a:pt x="7703" y="823"/>
                    <a:pt x="7535" y="779"/>
                  </a:cubicBezTo>
                  <a:cubicBezTo>
                    <a:pt x="7372" y="735"/>
                    <a:pt x="7013" y="724"/>
                    <a:pt x="6777" y="750"/>
                  </a:cubicBezTo>
                  <a:cubicBezTo>
                    <a:pt x="6592" y="780"/>
                    <a:pt x="6294" y="844"/>
                    <a:pt x="6294" y="900"/>
                  </a:cubicBezTo>
                  <a:cubicBezTo>
                    <a:pt x="6294" y="956"/>
                    <a:pt x="6025" y="1033"/>
                    <a:pt x="5845" y="1076"/>
                  </a:cubicBezTo>
                  <a:cubicBezTo>
                    <a:pt x="5598" y="1114"/>
                    <a:pt x="5368" y="1105"/>
                    <a:pt x="5368" y="1050"/>
                  </a:cubicBezTo>
                  <a:cubicBezTo>
                    <a:pt x="5205" y="997"/>
                    <a:pt x="5188" y="944"/>
                    <a:pt x="5076" y="944"/>
                  </a:cubicBezTo>
                  <a:cubicBezTo>
                    <a:pt x="4964" y="942"/>
                    <a:pt x="4779" y="982"/>
                    <a:pt x="4689" y="1036"/>
                  </a:cubicBezTo>
                  <a:cubicBezTo>
                    <a:pt x="4605" y="1089"/>
                    <a:pt x="4386" y="1070"/>
                    <a:pt x="4133" y="994"/>
                  </a:cubicBezTo>
                  <a:cubicBezTo>
                    <a:pt x="3875" y="921"/>
                    <a:pt x="3684" y="893"/>
                    <a:pt x="3499" y="932"/>
                  </a:cubicBezTo>
                  <a:cubicBezTo>
                    <a:pt x="3420" y="976"/>
                    <a:pt x="3173" y="1067"/>
                    <a:pt x="3173" y="1140"/>
                  </a:cubicBezTo>
                  <a:cubicBezTo>
                    <a:pt x="3095" y="1213"/>
                    <a:pt x="3005" y="1274"/>
                    <a:pt x="2870" y="1274"/>
                  </a:cubicBezTo>
                  <a:cubicBezTo>
                    <a:pt x="2730" y="1274"/>
                    <a:pt x="2545" y="1252"/>
                    <a:pt x="2455" y="1226"/>
                  </a:cubicBezTo>
                  <a:cubicBezTo>
                    <a:pt x="2455" y="1197"/>
                    <a:pt x="2303" y="1129"/>
                    <a:pt x="2303" y="1070"/>
                  </a:cubicBezTo>
                  <a:cubicBezTo>
                    <a:pt x="2303" y="1011"/>
                    <a:pt x="2185" y="962"/>
                    <a:pt x="2078" y="951"/>
                  </a:cubicBezTo>
                  <a:cubicBezTo>
                    <a:pt x="1950" y="945"/>
                    <a:pt x="1680" y="966"/>
                    <a:pt x="1450" y="998"/>
                  </a:cubicBezTo>
                  <a:cubicBezTo>
                    <a:pt x="1198" y="1027"/>
                    <a:pt x="866" y="1084"/>
                    <a:pt x="866" y="1122"/>
                  </a:cubicBezTo>
                  <a:cubicBezTo>
                    <a:pt x="681" y="1155"/>
                    <a:pt x="568" y="1218"/>
                    <a:pt x="568" y="1257"/>
                  </a:cubicBezTo>
                  <a:cubicBezTo>
                    <a:pt x="490" y="1295"/>
                    <a:pt x="423" y="1334"/>
                    <a:pt x="327" y="1336"/>
                  </a:cubicBezTo>
                  <a:cubicBezTo>
                    <a:pt x="327" y="1346"/>
                    <a:pt x="120" y="1365"/>
                    <a:pt x="41" y="1387"/>
                  </a:cubicBezTo>
                  <a:cubicBezTo>
                    <a:pt x="41" y="1409"/>
                    <a:pt x="-43" y="1463"/>
                    <a:pt x="30" y="1511"/>
                  </a:cubicBezTo>
                  <a:cubicBezTo>
                    <a:pt x="114" y="1566"/>
                    <a:pt x="479" y="1652"/>
                    <a:pt x="810" y="1707"/>
                  </a:cubicBezTo>
                  <a:cubicBezTo>
                    <a:pt x="1169" y="1762"/>
                    <a:pt x="1680" y="1885"/>
                    <a:pt x="1764" y="1983"/>
                  </a:cubicBezTo>
                  <a:cubicBezTo>
                    <a:pt x="1938" y="2079"/>
                    <a:pt x="2230" y="2205"/>
                    <a:pt x="2399" y="2263"/>
                  </a:cubicBezTo>
                  <a:cubicBezTo>
                    <a:pt x="2556" y="2320"/>
                    <a:pt x="2786" y="2435"/>
                    <a:pt x="2786" y="2516"/>
                  </a:cubicBezTo>
                  <a:cubicBezTo>
                    <a:pt x="2786" y="2599"/>
                    <a:pt x="2702" y="2718"/>
                    <a:pt x="2702" y="2782"/>
                  </a:cubicBezTo>
                  <a:cubicBezTo>
                    <a:pt x="2702" y="2812"/>
                    <a:pt x="2691" y="2864"/>
                    <a:pt x="2775" y="2922"/>
                  </a:cubicBezTo>
                  <a:cubicBezTo>
                    <a:pt x="2859" y="2985"/>
                    <a:pt x="3005" y="3056"/>
                    <a:pt x="3173" y="3120"/>
                  </a:cubicBezTo>
                  <a:cubicBezTo>
                    <a:pt x="3511" y="3243"/>
                    <a:pt x="3976" y="3447"/>
                    <a:pt x="4145" y="3576"/>
                  </a:cubicBezTo>
                  <a:cubicBezTo>
                    <a:pt x="4319" y="3704"/>
                    <a:pt x="4841" y="3806"/>
                    <a:pt x="5245" y="3811"/>
                  </a:cubicBezTo>
                  <a:cubicBezTo>
                    <a:pt x="5649" y="3811"/>
                    <a:pt x="6182" y="3834"/>
                    <a:pt x="6407" y="3862"/>
                  </a:cubicBezTo>
                  <a:cubicBezTo>
                    <a:pt x="6642" y="3888"/>
                    <a:pt x="7053" y="3868"/>
                    <a:pt x="7221" y="3815"/>
                  </a:cubicBezTo>
                  <a:cubicBezTo>
                    <a:pt x="7467" y="3764"/>
                    <a:pt x="7832" y="3718"/>
                    <a:pt x="8096" y="3718"/>
                  </a:cubicBezTo>
                  <a:cubicBezTo>
                    <a:pt x="8360" y="3715"/>
                    <a:pt x="8646" y="3772"/>
                    <a:pt x="8815" y="3838"/>
                  </a:cubicBezTo>
                  <a:cubicBezTo>
                    <a:pt x="8972" y="3905"/>
                    <a:pt x="9202" y="3981"/>
                    <a:pt x="9477" y="3994"/>
                  </a:cubicBezTo>
                  <a:cubicBezTo>
                    <a:pt x="9668" y="4016"/>
                    <a:pt x="9876" y="4088"/>
                    <a:pt x="9954" y="4163"/>
                  </a:cubicBezTo>
                  <a:cubicBezTo>
                    <a:pt x="9954" y="4239"/>
                    <a:pt x="9977" y="4355"/>
                    <a:pt x="9977" y="4422"/>
                  </a:cubicBezTo>
                  <a:cubicBezTo>
                    <a:pt x="9977" y="4489"/>
                    <a:pt x="10213" y="4559"/>
                    <a:pt x="10420" y="4588"/>
                  </a:cubicBezTo>
                  <a:cubicBezTo>
                    <a:pt x="10706" y="4609"/>
                    <a:pt x="10869" y="4675"/>
                    <a:pt x="10869" y="4727"/>
                  </a:cubicBezTo>
                  <a:cubicBezTo>
                    <a:pt x="10869" y="4777"/>
                    <a:pt x="10696" y="4833"/>
                    <a:pt x="10611" y="4855"/>
                  </a:cubicBezTo>
                  <a:cubicBezTo>
                    <a:pt x="10454" y="4874"/>
                    <a:pt x="10302" y="5012"/>
                    <a:pt x="10140" y="5158"/>
                  </a:cubicBezTo>
                  <a:cubicBezTo>
                    <a:pt x="10055" y="5306"/>
                    <a:pt x="9859" y="5460"/>
                    <a:pt x="9702" y="5502"/>
                  </a:cubicBezTo>
                  <a:cubicBezTo>
                    <a:pt x="9702" y="5544"/>
                    <a:pt x="9342" y="5586"/>
                    <a:pt x="9185" y="5601"/>
                  </a:cubicBezTo>
                  <a:cubicBezTo>
                    <a:pt x="8983" y="5611"/>
                    <a:pt x="8658" y="5659"/>
                    <a:pt x="8354" y="5698"/>
                  </a:cubicBezTo>
                  <a:cubicBezTo>
                    <a:pt x="8096" y="5739"/>
                    <a:pt x="7692" y="5767"/>
                    <a:pt x="7591" y="5777"/>
                  </a:cubicBezTo>
                  <a:cubicBezTo>
                    <a:pt x="7439" y="5780"/>
                    <a:pt x="7355" y="5835"/>
                    <a:pt x="7355" y="5898"/>
                  </a:cubicBezTo>
                  <a:cubicBezTo>
                    <a:pt x="7355" y="5959"/>
                    <a:pt x="7535" y="6083"/>
                    <a:pt x="7703" y="6170"/>
                  </a:cubicBezTo>
                  <a:cubicBezTo>
                    <a:pt x="7877" y="6258"/>
                    <a:pt x="7922" y="6380"/>
                    <a:pt x="7754" y="6440"/>
                  </a:cubicBezTo>
                  <a:cubicBezTo>
                    <a:pt x="7507" y="6499"/>
                    <a:pt x="7535" y="6591"/>
                    <a:pt x="7535" y="6640"/>
                  </a:cubicBezTo>
                  <a:cubicBezTo>
                    <a:pt x="7535" y="6687"/>
                    <a:pt x="7709" y="6725"/>
                    <a:pt x="7861" y="6725"/>
                  </a:cubicBezTo>
                  <a:cubicBezTo>
                    <a:pt x="8006" y="6725"/>
                    <a:pt x="8158" y="6802"/>
                    <a:pt x="8332" y="6897"/>
                  </a:cubicBezTo>
                  <a:cubicBezTo>
                    <a:pt x="8332" y="6994"/>
                    <a:pt x="8764" y="7075"/>
                    <a:pt x="9045" y="7081"/>
                  </a:cubicBezTo>
                  <a:cubicBezTo>
                    <a:pt x="9320" y="7090"/>
                    <a:pt x="9842" y="7135"/>
                    <a:pt x="10022" y="7195"/>
                  </a:cubicBezTo>
                  <a:cubicBezTo>
                    <a:pt x="10341" y="7248"/>
                    <a:pt x="10628" y="7302"/>
                    <a:pt x="10808" y="7308"/>
                  </a:cubicBezTo>
                  <a:cubicBezTo>
                    <a:pt x="10976" y="7316"/>
                    <a:pt x="11234" y="7423"/>
                    <a:pt x="11476" y="7548"/>
                  </a:cubicBezTo>
                  <a:cubicBezTo>
                    <a:pt x="11644" y="7675"/>
                    <a:pt x="11986" y="7816"/>
                    <a:pt x="12250" y="7861"/>
                  </a:cubicBezTo>
                  <a:cubicBezTo>
                    <a:pt x="12419" y="7908"/>
                    <a:pt x="12778" y="8029"/>
                    <a:pt x="12941" y="8134"/>
                  </a:cubicBezTo>
                  <a:cubicBezTo>
                    <a:pt x="13109" y="8238"/>
                    <a:pt x="13221" y="8370"/>
                    <a:pt x="13137" y="8426"/>
                  </a:cubicBezTo>
                  <a:cubicBezTo>
                    <a:pt x="13137" y="8482"/>
                    <a:pt x="13238" y="8631"/>
                    <a:pt x="13485" y="8755"/>
                  </a:cubicBezTo>
                  <a:cubicBezTo>
                    <a:pt x="13653" y="8880"/>
                    <a:pt x="13872" y="9052"/>
                    <a:pt x="13962" y="9138"/>
                  </a:cubicBezTo>
                  <a:cubicBezTo>
                    <a:pt x="13962" y="9225"/>
                    <a:pt x="14058" y="9318"/>
                    <a:pt x="14215" y="9336"/>
                  </a:cubicBezTo>
                  <a:cubicBezTo>
                    <a:pt x="14299" y="9360"/>
                    <a:pt x="14574" y="9376"/>
                    <a:pt x="14770" y="9371"/>
                  </a:cubicBezTo>
                  <a:cubicBezTo>
                    <a:pt x="14983" y="9368"/>
                    <a:pt x="15270" y="9418"/>
                    <a:pt x="15270" y="9484"/>
                  </a:cubicBezTo>
                  <a:cubicBezTo>
                    <a:pt x="15343" y="9548"/>
                    <a:pt x="15298" y="9654"/>
                    <a:pt x="15382" y="9716"/>
                  </a:cubicBezTo>
                  <a:cubicBezTo>
                    <a:pt x="15298" y="9779"/>
                    <a:pt x="15354" y="9874"/>
                    <a:pt x="15528" y="9919"/>
                  </a:cubicBezTo>
                  <a:cubicBezTo>
                    <a:pt x="15612" y="9967"/>
                    <a:pt x="15825" y="10000"/>
                    <a:pt x="15825" y="9986"/>
                  </a:cubicBezTo>
                  <a:cubicBezTo>
                    <a:pt x="15938" y="9978"/>
                    <a:pt x="16028" y="9983"/>
                    <a:pt x="16174" y="10004"/>
                  </a:cubicBezTo>
                  <a:cubicBezTo>
                    <a:pt x="16331" y="10022"/>
                    <a:pt x="16280" y="10093"/>
                    <a:pt x="16280" y="10155"/>
                  </a:cubicBezTo>
                  <a:cubicBezTo>
                    <a:pt x="16280" y="10217"/>
                    <a:pt x="16264" y="10295"/>
                    <a:pt x="16264" y="10332"/>
                  </a:cubicBezTo>
                  <a:cubicBezTo>
                    <a:pt x="16337" y="10368"/>
                    <a:pt x="16493" y="10400"/>
                    <a:pt x="16679" y="10400"/>
                  </a:cubicBezTo>
                  <a:cubicBezTo>
                    <a:pt x="16847" y="10404"/>
                    <a:pt x="16971" y="10453"/>
                    <a:pt x="17134" y="10510"/>
                  </a:cubicBezTo>
                  <a:cubicBezTo>
                    <a:pt x="17134" y="10569"/>
                    <a:pt x="17313" y="10625"/>
                    <a:pt x="17398" y="10633"/>
                  </a:cubicBezTo>
                  <a:cubicBezTo>
                    <a:pt x="17481" y="10641"/>
                    <a:pt x="17672" y="10623"/>
                    <a:pt x="17847" y="10591"/>
                  </a:cubicBezTo>
                  <a:cubicBezTo>
                    <a:pt x="18015" y="10559"/>
                    <a:pt x="18200" y="10577"/>
                    <a:pt x="18200" y="10631"/>
                  </a:cubicBezTo>
                  <a:cubicBezTo>
                    <a:pt x="18279" y="10685"/>
                    <a:pt x="18149" y="10776"/>
                    <a:pt x="17987" y="10830"/>
                  </a:cubicBezTo>
                  <a:cubicBezTo>
                    <a:pt x="17813" y="10884"/>
                    <a:pt x="17689" y="11011"/>
                    <a:pt x="17605" y="11108"/>
                  </a:cubicBezTo>
                  <a:cubicBezTo>
                    <a:pt x="17605" y="11207"/>
                    <a:pt x="17549" y="11320"/>
                    <a:pt x="17549" y="11361"/>
                  </a:cubicBezTo>
                  <a:cubicBezTo>
                    <a:pt x="17549" y="11401"/>
                    <a:pt x="17745" y="11436"/>
                    <a:pt x="17835" y="11445"/>
                  </a:cubicBezTo>
                  <a:cubicBezTo>
                    <a:pt x="17948" y="11450"/>
                    <a:pt x="18048" y="11525"/>
                    <a:pt x="17964" y="11612"/>
                  </a:cubicBezTo>
                  <a:cubicBezTo>
                    <a:pt x="17875" y="11698"/>
                    <a:pt x="17656" y="11840"/>
                    <a:pt x="17398" y="11927"/>
                  </a:cubicBezTo>
                  <a:cubicBezTo>
                    <a:pt x="17145" y="12014"/>
                    <a:pt x="16954" y="12163"/>
                    <a:pt x="16875" y="12256"/>
                  </a:cubicBezTo>
                  <a:cubicBezTo>
                    <a:pt x="16960" y="12350"/>
                    <a:pt x="16892" y="12466"/>
                    <a:pt x="16892" y="12516"/>
                  </a:cubicBezTo>
                  <a:cubicBezTo>
                    <a:pt x="17044" y="12562"/>
                    <a:pt x="16870" y="12691"/>
                    <a:pt x="16870" y="12798"/>
                  </a:cubicBezTo>
                  <a:cubicBezTo>
                    <a:pt x="16870" y="12906"/>
                    <a:pt x="16651" y="13031"/>
                    <a:pt x="16477" y="13077"/>
                  </a:cubicBezTo>
                  <a:cubicBezTo>
                    <a:pt x="16314" y="13123"/>
                    <a:pt x="16140" y="13162"/>
                    <a:pt x="16106" y="13162"/>
                  </a:cubicBezTo>
                  <a:cubicBezTo>
                    <a:pt x="16078" y="13162"/>
                    <a:pt x="16106" y="13255"/>
                    <a:pt x="16106" y="13365"/>
                  </a:cubicBezTo>
                  <a:cubicBezTo>
                    <a:pt x="16196" y="13474"/>
                    <a:pt x="16207" y="13592"/>
                    <a:pt x="16382" y="13620"/>
                  </a:cubicBezTo>
                  <a:cubicBezTo>
                    <a:pt x="16471" y="13651"/>
                    <a:pt x="16511" y="13793"/>
                    <a:pt x="16673" y="13935"/>
                  </a:cubicBezTo>
                  <a:cubicBezTo>
                    <a:pt x="16673" y="14078"/>
                    <a:pt x="16707" y="14288"/>
                    <a:pt x="16544" y="14402"/>
                  </a:cubicBezTo>
                  <a:cubicBezTo>
                    <a:pt x="16382" y="14514"/>
                    <a:pt x="16353" y="14664"/>
                    <a:pt x="16353" y="14733"/>
                  </a:cubicBezTo>
                  <a:cubicBezTo>
                    <a:pt x="16353" y="14803"/>
                    <a:pt x="16314" y="14941"/>
                    <a:pt x="16146" y="15038"/>
                  </a:cubicBezTo>
                  <a:cubicBezTo>
                    <a:pt x="16067" y="15137"/>
                    <a:pt x="15870" y="15285"/>
                    <a:pt x="15870" y="15368"/>
                  </a:cubicBezTo>
                  <a:cubicBezTo>
                    <a:pt x="15787" y="15450"/>
                    <a:pt x="15781" y="15612"/>
                    <a:pt x="15450" y="15721"/>
                  </a:cubicBezTo>
                  <a:cubicBezTo>
                    <a:pt x="15366" y="15832"/>
                    <a:pt x="15001" y="15946"/>
                    <a:pt x="14832" y="15973"/>
                  </a:cubicBezTo>
                  <a:cubicBezTo>
                    <a:pt x="14675" y="15999"/>
                    <a:pt x="14591" y="16064"/>
                    <a:pt x="14439" y="16111"/>
                  </a:cubicBezTo>
                  <a:cubicBezTo>
                    <a:pt x="14439" y="16160"/>
                    <a:pt x="14052" y="16226"/>
                    <a:pt x="13867" y="16265"/>
                  </a:cubicBezTo>
                  <a:cubicBezTo>
                    <a:pt x="13570" y="16297"/>
                    <a:pt x="13244" y="16395"/>
                    <a:pt x="12896" y="16469"/>
                  </a:cubicBezTo>
                  <a:cubicBezTo>
                    <a:pt x="12637" y="16545"/>
                    <a:pt x="12273" y="16668"/>
                    <a:pt x="12109" y="16741"/>
                  </a:cubicBezTo>
                  <a:cubicBezTo>
                    <a:pt x="11941" y="16815"/>
                    <a:pt x="11599" y="16876"/>
                    <a:pt x="11301" y="16886"/>
                  </a:cubicBezTo>
                  <a:cubicBezTo>
                    <a:pt x="10998" y="16889"/>
                    <a:pt x="10544" y="16941"/>
                    <a:pt x="10364" y="17001"/>
                  </a:cubicBezTo>
                  <a:cubicBezTo>
                    <a:pt x="10117" y="17059"/>
                    <a:pt x="9842" y="17212"/>
                    <a:pt x="9842" y="17340"/>
                  </a:cubicBezTo>
                  <a:cubicBezTo>
                    <a:pt x="9758" y="17467"/>
                    <a:pt x="9842" y="17587"/>
                    <a:pt x="10022" y="17603"/>
                  </a:cubicBezTo>
                  <a:cubicBezTo>
                    <a:pt x="10195" y="17620"/>
                    <a:pt x="10409" y="17686"/>
                    <a:pt x="10493" y="17749"/>
                  </a:cubicBezTo>
                  <a:cubicBezTo>
                    <a:pt x="10662" y="17810"/>
                    <a:pt x="10617" y="17906"/>
                    <a:pt x="10527" y="17956"/>
                  </a:cubicBezTo>
                  <a:cubicBezTo>
                    <a:pt x="10448" y="18008"/>
                    <a:pt x="10414" y="18109"/>
                    <a:pt x="10414" y="18182"/>
                  </a:cubicBezTo>
                  <a:cubicBezTo>
                    <a:pt x="10414" y="18256"/>
                    <a:pt x="10207" y="18331"/>
                    <a:pt x="9937" y="18348"/>
                  </a:cubicBezTo>
                  <a:cubicBezTo>
                    <a:pt x="9657" y="18364"/>
                    <a:pt x="9438" y="18341"/>
                    <a:pt x="9438" y="18292"/>
                  </a:cubicBezTo>
                  <a:cubicBezTo>
                    <a:pt x="9438" y="18243"/>
                    <a:pt x="9365" y="18173"/>
                    <a:pt x="9213" y="18138"/>
                  </a:cubicBezTo>
                  <a:cubicBezTo>
                    <a:pt x="9056" y="18104"/>
                    <a:pt x="8652" y="18122"/>
                    <a:pt x="8175" y="18174"/>
                  </a:cubicBezTo>
                  <a:cubicBezTo>
                    <a:pt x="7709" y="18230"/>
                    <a:pt x="7366" y="18257"/>
                    <a:pt x="7237" y="18236"/>
                  </a:cubicBezTo>
                  <a:cubicBezTo>
                    <a:pt x="7237" y="18211"/>
                    <a:pt x="6968" y="18201"/>
                    <a:pt x="6783" y="18210"/>
                  </a:cubicBezTo>
                  <a:cubicBezTo>
                    <a:pt x="6592" y="18216"/>
                    <a:pt x="6182" y="18314"/>
                    <a:pt x="6098" y="18424"/>
                  </a:cubicBezTo>
                  <a:cubicBezTo>
                    <a:pt x="5851" y="18534"/>
                    <a:pt x="5576" y="18641"/>
                    <a:pt x="5368" y="18660"/>
                  </a:cubicBezTo>
                  <a:cubicBezTo>
                    <a:pt x="5177" y="18682"/>
                    <a:pt x="4874" y="18772"/>
                    <a:pt x="4548" y="18861"/>
                  </a:cubicBezTo>
                  <a:cubicBezTo>
                    <a:pt x="4301" y="18950"/>
                    <a:pt x="4094" y="19035"/>
                    <a:pt x="4161" y="19044"/>
                  </a:cubicBezTo>
                  <a:cubicBezTo>
                    <a:pt x="4161" y="19056"/>
                    <a:pt x="4122" y="19115"/>
                    <a:pt x="4122" y="19176"/>
                  </a:cubicBezTo>
                  <a:cubicBezTo>
                    <a:pt x="3959" y="19235"/>
                    <a:pt x="3954" y="19301"/>
                    <a:pt x="3954" y="19321"/>
                  </a:cubicBezTo>
                  <a:cubicBezTo>
                    <a:pt x="3954" y="19341"/>
                    <a:pt x="3993" y="19367"/>
                    <a:pt x="4156" y="19379"/>
                  </a:cubicBezTo>
                  <a:cubicBezTo>
                    <a:pt x="4307" y="19393"/>
                    <a:pt x="4520" y="19390"/>
                    <a:pt x="4616" y="19372"/>
                  </a:cubicBezTo>
                  <a:cubicBezTo>
                    <a:pt x="4689" y="19354"/>
                    <a:pt x="4908" y="19357"/>
                    <a:pt x="4908" y="19376"/>
                  </a:cubicBezTo>
                  <a:cubicBezTo>
                    <a:pt x="5043" y="19392"/>
                    <a:pt x="5143" y="19392"/>
                    <a:pt x="5301" y="19370"/>
                  </a:cubicBezTo>
                  <a:cubicBezTo>
                    <a:pt x="5458" y="19347"/>
                    <a:pt x="5716" y="19331"/>
                    <a:pt x="5896" y="19335"/>
                  </a:cubicBezTo>
                  <a:cubicBezTo>
                    <a:pt x="6070" y="19339"/>
                    <a:pt x="6311" y="19319"/>
                    <a:pt x="6480" y="19292"/>
                  </a:cubicBezTo>
                  <a:cubicBezTo>
                    <a:pt x="6648" y="19264"/>
                    <a:pt x="6547" y="19272"/>
                    <a:pt x="6547" y="19314"/>
                  </a:cubicBezTo>
                  <a:cubicBezTo>
                    <a:pt x="6385" y="19351"/>
                    <a:pt x="6093" y="19459"/>
                    <a:pt x="5761" y="19549"/>
                  </a:cubicBezTo>
                  <a:cubicBezTo>
                    <a:pt x="5430" y="19638"/>
                    <a:pt x="5020" y="19788"/>
                    <a:pt x="4779" y="19881"/>
                  </a:cubicBezTo>
                  <a:cubicBezTo>
                    <a:pt x="4532" y="19974"/>
                    <a:pt x="4206" y="20146"/>
                    <a:pt x="4206" y="20262"/>
                  </a:cubicBezTo>
                  <a:cubicBezTo>
                    <a:pt x="4038" y="20375"/>
                    <a:pt x="3959" y="20512"/>
                    <a:pt x="3875" y="20562"/>
                  </a:cubicBezTo>
                  <a:cubicBezTo>
                    <a:pt x="3785" y="20611"/>
                    <a:pt x="3875" y="20658"/>
                    <a:pt x="3813" y="20658"/>
                  </a:cubicBezTo>
                  <a:cubicBezTo>
                    <a:pt x="3870" y="20660"/>
                    <a:pt x="3836" y="20674"/>
                    <a:pt x="3836" y="20686"/>
                  </a:cubicBezTo>
                  <a:cubicBezTo>
                    <a:pt x="3836" y="20699"/>
                    <a:pt x="3695" y="20800"/>
                    <a:pt x="3527" y="20913"/>
                  </a:cubicBezTo>
                  <a:cubicBezTo>
                    <a:pt x="3364" y="21026"/>
                    <a:pt x="3454" y="21135"/>
                    <a:pt x="3454" y="21158"/>
                  </a:cubicBezTo>
                  <a:cubicBezTo>
                    <a:pt x="3600" y="21179"/>
                    <a:pt x="3824" y="21187"/>
                    <a:pt x="3824" y="21166"/>
                  </a:cubicBezTo>
                  <a:cubicBezTo>
                    <a:pt x="3965" y="21149"/>
                    <a:pt x="3937" y="21169"/>
                    <a:pt x="3779" y="21213"/>
                  </a:cubicBezTo>
                  <a:cubicBezTo>
                    <a:pt x="3695" y="21258"/>
                    <a:pt x="3364" y="21323"/>
                    <a:pt x="3196" y="21359"/>
                  </a:cubicBezTo>
                  <a:cubicBezTo>
                    <a:pt x="3022" y="21396"/>
                    <a:pt x="2702" y="21457"/>
                    <a:pt x="2528" y="21497"/>
                  </a:cubicBezTo>
                  <a:cubicBezTo>
                    <a:pt x="2359" y="21537"/>
                    <a:pt x="2387" y="21570"/>
                    <a:pt x="2578" y="21576"/>
                  </a:cubicBezTo>
                  <a:cubicBezTo>
                    <a:pt x="2780" y="21581"/>
                    <a:pt x="3325" y="21510"/>
                    <a:pt x="3797" y="21421"/>
                  </a:cubicBezTo>
                  <a:cubicBezTo>
                    <a:pt x="4161" y="21327"/>
                    <a:pt x="4656" y="21246"/>
                    <a:pt x="4656" y="21230"/>
                  </a:cubicBezTo>
                  <a:cubicBezTo>
                    <a:pt x="4723" y="21214"/>
                    <a:pt x="4706" y="21199"/>
                    <a:pt x="4751" y="21199"/>
                  </a:cubicBezTo>
                  <a:cubicBezTo>
                    <a:pt x="4790" y="21199"/>
                    <a:pt x="5015" y="21163"/>
                    <a:pt x="5098" y="21116"/>
                  </a:cubicBezTo>
                  <a:cubicBezTo>
                    <a:pt x="5340" y="21074"/>
                    <a:pt x="5475" y="20970"/>
                    <a:pt x="5559" y="20891"/>
                  </a:cubicBezTo>
                  <a:cubicBezTo>
                    <a:pt x="5643" y="20813"/>
                    <a:pt x="5890" y="20716"/>
                    <a:pt x="5890" y="20674"/>
                  </a:cubicBezTo>
                  <a:cubicBezTo>
                    <a:pt x="5980" y="20633"/>
                    <a:pt x="6126" y="20603"/>
                    <a:pt x="6227" y="20603"/>
                  </a:cubicBezTo>
                  <a:cubicBezTo>
                    <a:pt x="6339" y="20603"/>
                    <a:pt x="6519" y="20587"/>
                    <a:pt x="6598" y="20561"/>
                  </a:cubicBezTo>
                  <a:cubicBezTo>
                    <a:pt x="6671" y="20536"/>
                    <a:pt x="6923" y="20459"/>
                    <a:pt x="7181" y="20392"/>
                  </a:cubicBezTo>
                  <a:cubicBezTo>
                    <a:pt x="7349" y="20321"/>
                    <a:pt x="7653" y="20260"/>
                    <a:pt x="7748" y="20256"/>
                  </a:cubicBezTo>
                  <a:cubicBezTo>
                    <a:pt x="7832" y="20248"/>
                    <a:pt x="7967" y="20220"/>
                    <a:pt x="8045" y="20191"/>
                  </a:cubicBezTo>
                  <a:cubicBezTo>
                    <a:pt x="8124" y="20162"/>
                    <a:pt x="8248" y="20120"/>
                    <a:pt x="8332" y="20095"/>
                  </a:cubicBezTo>
                  <a:cubicBezTo>
                    <a:pt x="8332" y="20071"/>
                    <a:pt x="8467" y="20038"/>
                    <a:pt x="8467" y="20019"/>
                  </a:cubicBezTo>
                  <a:cubicBezTo>
                    <a:pt x="8388" y="20000"/>
                    <a:pt x="8484" y="19969"/>
                    <a:pt x="8484" y="19951"/>
                  </a:cubicBezTo>
                  <a:cubicBezTo>
                    <a:pt x="8562" y="19934"/>
                    <a:pt x="8540" y="19876"/>
                    <a:pt x="8540" y="19824"/>
                  </a:cubicBezTo>
                  <a:cubicBezTo>
                    <a:pt x="8624" y="19773"/>
                    <a:pt x="8742" y="19725"/>
                    <a:pt x="8742" y="19711"/>
                  </a:cubicBezTo>
                  <a:cubicBezTo>
                    <a:pt x="8865" y="19702"/>
                    <a:pt x="8972" y="19723"/>
                    <a:pt x="8972" y="19763"/>
                  </a:cubicBezTo>
                  <a:cubicBezTo>
                    <a:pt x="8972" y="19803"/>
                    <a:pt x="9056" y="19843"/>
                    <a:pt x="9129" y="19850"/>
                  </a:cubicBezTo>
                  <a:cubicBezTo>
                    <a:pt x="9208" y="19858"/>
                    <a:pt x="9432" y="19831"/>
                    <a:pt x="9432" y="19788"/>
                  </a:cubicBezTo>
                  <a:cubicBezTo>
                    <a:pt x="9606" y="19748"/>
                    <a:pt x="9724" y="19681"/>
                    <a:pt x="9724" y="19644"/>
                  </a:cubicBezTo>
                  <a:cubicBezTo>
                    <a:pt x="9724" y="19609"/>
                    <a:pt x="9825" y="19524"/>
                    <a:pt x="9668" y="19459"/>
                  </a:cubicBezTo>
                  <a:cubicBezTo>
                    <a:pt x="9668" y="19393"/>
                    <a:pt x="9578" y="19383"/>
                    <a:pt x="9741" y="19433"/>
                  </a:cubicBezTo>
                  <a:cubicBezTo>
                    <a:pt x="9831" y="19485"/>
                    <a:pt x="10077" y="19499"/>
                    <a:pt x="10229" y="19466"/>
                  </a:cubicBezTo>
                  <a:cubicBezTo>
                    <a:pt x="10404" y="19435"/>
                    <a:pt x="10487" y="19363"/>
                    <a:pt x="10487" y="19308"/>
                  </a:cubicBezTo>
                  <a:cubicBezTo>
                    <a:pt x="10487" y="19253"/>
                    <a:pt x="10622" y="19180"/>
                    <a:pt x="10622" y="19144"/>
                  </a:cubicBezTo>
                  <a:cubicBezTo>
                    <a:pt x="10706" y="19110"/>
                    <a:pt x="10611" y="19052"/>
                    <a:pt x="10437" y="19014"/>
                  </a:cubicBezTo>
                  <a:cubicBezTo>
                    <a:pt x="10274" y="18976"/>
                    <a:pt x="10336" y="18942"/>
                    <a:pt x="10336" y="18955"/>
                  </a:cubicBezTo>
                  <a:cubicBezTo>
                    <a:pt x="10465" y="18958"/>
                    <a:pt x="10577" y="18949"/>
                    <a:pt x="10667" y="18935"/>
                  </a:cubicBezTo>
                  <a:cubicBezTo>
                    <a:pt x="10740" y="18921"/>
                    <a:pt x="10729" y="18886"/>
                    <a:pt x="10818" y="18862"/>
                  </a:cubicBezTo>
                  <a:cubicBezTo>
                    <a:pt x="10818" y="18835"/>
                    <a:pt x="10836" y="18789"/>
                    <a:pt x="10751" y="18760"/>
                  </a:cubicBezTo>
                  <a:cubicBezTo>
                    <a:pt x="10672" y="18731"/>
                    <a:pt x="10712" y="18719"/>
                    <a:pt x="10863" y="18727"/>
                  </a:cubicBezTo>
                  <a:cubicBezTo>
                    <a:pt x="10964" y="18741"/>
                    <a:pt x="11161" y="18732"/>
                    <a:pt x="11161" y="18714"/>
                  </a:cubicBezTo>
                  <a:cubicBezTo>
                    <a:pt x="11234" y="18696"/>
                    <a:pt x="11296" y="18644"/>
                    <a:pt x="11380" y="18600"/>
                  </a:cubicBezTo>
                  <a:cubicBezTo>
                    <a:pt x="11464" y="18556"/>
                    <a:pt x="11537" y="18556"/>
                    <a:pt x="11453" y="18600"/>
                  </a:cubicBezTo>
                  <a:cubicBezTo>
                    <a:pt x="11453" y="18643"/>
                    <a:pt x="11352" y="18716"/>
                    <a:pt x="11273" y="18761"/>
                  </a:cubicBezTo>
                  <a:cubicBezTo>
                    <a:pt x="11195" y="18808"/>
                    <a:pt x="11195" y="18856"/>
                    <a:pt x="11195" y="18868"/>
                  </a:cubicBezTo>
                  <a:cubicBezTo>
                    <a:pt x="11195" y="18881"/>
                    <a:pt x="11374" y="18872"/>
                    <a:pt x="11537" y="18848"/>
                  </a:cubicBezTo>
                  <a:cubicBezTo>
                    <a:pt x="11632" y="18821"/>
                    <a:pt x="11891" y="18819"/>
                    <a:pt x="11975" y="18835"/>
                  </a:cubicBezTo>
                  <a:cubicBezTo>
                    <a:pt x="11975" y="18854"/>
                    <a:pt x="12328" y="18855"/>
                    <a:pt x="12503" y="18834"/>
                  </a:cubicBezTo>
                  <a:cubicBezTo>
                    <a:pt x="12755" y="18822"/>
                    <a:pt x="13182" y="18712"/>
                    <a:pt x="13676" y="18610"/>
                  </a:cubicBezTo>
                  <a:cubicBezTo>
                    <a:pt x="14102" y="18505"/>
                    <a:pt x="14529" y="18377"/>
                    <a:pt x="14686" y="18327"/>
                  </a:cubicBezTo>
                  <a:cubicBezTo>
                    <a:pt x="14855" y="18277"/>
                    <a:pt x="15051" y="18230"/>
                    <a:pt x="15186" y="18224"/>
                  </a:cubicBezTo>
                  <a:cubicBezTo>
                    <a:pt x="15326" y="18217"/>
                    <a:pt x="15483" y="18163"/>
                    <a:pt x="15568" y="18101"/>
                  </a:cubicBezTo>
                  <a:cubicBezTo>
                    <a:pt x="15657" y="18039"/>
                    <a:pt x="15888" y="17944"/>
                    <a:pt x="16061" y="17887"/>
                  </a:cubicBezTo>
                  <a:cubicBezTo>
                    <a:pt x="16297" y="17832"/>
                    <a:pt x="16578" y="17759"/>
                    <a:pt x="16662" y="17725"/>
                  </a:cubicBezTo>
                  <a:cubicBezTo>
                    <a:pt x="16819" y="17692"/>
                    <a:pt x="17106" y="17592"/>
                    <a:pt x="17353" y="17503"/>
                  </a:cubicBezTo>
                  <a:cubicBezTo>
                    <a:pt x="17599" y="17414"/>
                    <a:pt x="17807" y="17323"/>
                    <a:pt x="17959" y="17309"/>
                  </a:cubicBezTo>
                  <a:cubicBezTo>
                    <a:pt x="17959" y="17289"/>
                    <a:pt x="18127" y="17201"/>
                    <a:pt x="18296" y="17114"/>
                  </a:cubicBezTo>
                  <a:cubicBezTo>
                    <a:pt x="18296" y="17025"/>
                    <a:pt x="18565" y="16938"/>
                    <a:pt x="18644" y="16919"/>
                  </a:cubicBezTo>
                  <a:cubicBezTo>
                    <a:pt x="18739" y="16901"/>
                    <a:pt x="18890" y="16846"/>
                    <a:pt x="19053" y="16799"/>
                  </a:cubicBezTo>
                  <a:cubicBezTo>
                    <a:pt x="19138" y="16749"/>
                    <a:pt x="19261" y="16688"/>
                    <a:pt x="19261" y="16660"/>
                  </a:cubicBezTo>
                  <a:cubicBezTo>
                    <a:pt x="19166" y="16634"/>
                    <a:pt x="19329" y="16557"/>
                    <a:pt x="19407" y="16491"/>
                  </a:cubicBezTo>
                  <a:cubicBezTo>
                    <a:pt x="19491" y="16424"/>
                    <a:pt x="19531" y="16313"/>
                    <a:pt x="19531" y="16241"/>
                  </a:cubicBezTo>
                  <a:cubicBezTo>
                    <a:pt x="19531" y="16168"/>
                    <a:pt x="19564" y="16070"/>
                    <a:pt x="19727" y="16024"/>
                  </a:cubicBezTo>
                  <a:cubicBezTo>
                    <a:pt x="19907" y="15977"/>
                    <a:pt x="20064" y="15904"/>
                    <a:pt x="20064" y="15863"/>
                  </a:cubicBezTo>
                  <a:cubicBezTo>
                    <a:pt x="20215" y="15825"/>
                    <a:pt x="20227" y="15763"/>
                    <a:pt x="20305" y="15732"/>
                  </a:cubicBezTo>
                  <a:cubicBezTo>
                    <a:pt x="20473" y="15704"/>
                    <a:pt x="20546" y="15648"/>
                    <a:pt x="20546" y="15616"/>
                  </a:cubicBezTo>
                  <a:cubicBezTo>
                    <a:pt x="20625" y="15584"/>
                    <a:pt x="20619" y="15529"/>
                    <a:pt x="20546" y="15497"/>
                  </a:cubicBezTo>
                  <a:cubicBezTo>
                    <a:pt x="20451" y="15465"/>
                    <a:pt x="20530" y="15392"/>
                    <a:pt x="20530" y="15337"/>
                  </a:cubicBezTo>
                  <a:cubicBezTo>
                    <a:pt x="20693" y="15284"/>
                    <a:pt x="20721" y="15221"/>
                    <a:pt x="20721" y="15201"/>
                  </a:cubicBezTo>
                  <a:cubicBezTo>
                    <a:pt x="20721" y="15180"/>
                    <a:pt x="20900" y="15185"/>
                    <a:pt x="20900" y="15210"/>
                  </a:cubicBezTo>
                  <a:cubicBezTo>
                    <a:pt x="20978" y="15236"/>
                    <a:pt x="20917" y="15279"/>
                    <a:pt x="20917" y="15306"/>
                  </a:cubicBezTo>
                  <a:cubicBezTo>
                    <a:pt x="20917" y="15334"/>
                    <a:pt x="20911" y="15356"/>
                    <a:pt x="20946" y="15356"/>
                  </a:cubicBezTo>
                  <a:cubicBezTo>
                    <a:pt x="20973" y="15356"/>
                    <a:pt x="21102" y="15311"/>
                    <a:pt x="21102" y="15257"/>
                  </a:cubicBezTo>
                  <a:cubicBezTo>
                    <a:pt x="21102" y="15202"/>
                    <a:pt x="21248" y="15092"/>
                    <a:pt x="21164" y="15012"/>
                  </a:cubicBezTo>
                  <a:cubicBezTo>
                    <a:pt x="21085" y="14933"/>
                    <a:pt x="21041" y="14826"/>
                    <a:pt x="21130" y="14776"/>
                  </a:cubicBezTo>
                  <a:cubicBezTo>
                    <a:pt x="21130" y="14726"/>
                    <a:pt x="21102" y="14674"/>
                    <a:pt x="21029" y="14664"/>
                  </a:cubicBezTo>
                  <a:cubicBezTo>
                    <a:pt x="20962" y="14654"/>
                    <a:pt x="20877" y="14616"/>
                    <a:pt x="20962" y="14582"/>
                  </a:cubicBezTo>
                  <a:cubicBezTo>
                    <a:pt x="20962" y="14549"/>
                    <a:pt x="21018" y="14448"/>
                    <a:pt x="21018" y="14359"/>
                  </a:cubicBezTo>
                  <a:cubicBezTo>
                    <a:pt x="21018" y="14270"/>
                    <a:pt x="21046" y="14174"/>
                    <a:pt x="21130" y="14148"/>
                  </a:cubicBezTo>
                  <a:cubicBezTo>
                    <a:pt x="21130" y="14121"/>
                    <a:pt x="21209" y="14051"/>
                    <a:pt x="21209" y="13991"/>
                  </a:cubicBezTo>
                  <a:cubicBezTo>
                    <a:pt x="21209" y="13931"/>
                    <a:pt x="21203" y="13848"/>
                    <a:pt x="21293" y="13807"/>
                  </a:cubicBezTo>
                  <a:cubicBezTo>
                    <a:pt x="21372" y="13767"/>
                    <a:pt x="21450" y="13680"/>
                    <a:pt x="21450" y="13616"/>
                  </a:cubicBezTo>
                  <a:cubicBezTo>
                    <a:pt x="21450" y="13552"/>
                    <a:pt x="21456" y="13483"/>
                    <a:pt x="21456" y="13462"/>
                  </a:cubicBezTo>
                  <a:cubicBezTo>
                    <a:pt x="21372" y="13441"/>
                    <a:pt x="21428" y="13328"/>
                    <a:pt x="21428" y="13214"/>
                  </a:cubicBezTo>
                  <a:cubicBezTo>
                    <a:pt x="21512" y="13101"/>
                    <a:pt x="21456" y="12990"/>
                    <a:pt x="21372" y="12971"/>
                  </a:cubicBezTo>
                  <a:cubicBezTo>
                    <a:pt x="21372" y="12951"/>
                    <a:pt x="21383" y="12828"/>
                    <a:pt x="21383" y="12696"/>
                  </a:cubicBezTo>
                  <a:cubicBezTo>
                    <a:pt x="21557" y="12567"/>
                    <a:pt x="21389" y="12399"/>
                    <a:pt x="21304" y="12326"/>
                  </a:cubicBezTo>
                  <a:cubicBezTo>
                    <a:pt x="21220" y="12253"/>
                    <a:pt x="21153" y="12167"/>
                    <a:pt x="21243" y="12137"/>
                  </a:cubicBezTo>
                  <a:cubicBezTo>
                    <a:pt x="21243" y="12106"/>
                    <a:pt x="21293" y="12057"/>
                    <a:pt x="21293" y="12028"/>
                  </a:cubicBezTo>
                  <a:cubicBezTo>
                    <a:pt x="21293" y="11999"/>
                    <a:pt x="21287" y="11944"/>
                    <a:pt x="21287" y="11906"/>
                  </a:cubicBezTo>
                  <a:cubicBezTo>
                    <a:pt x="21287" y="11867"/>
                    <a:pt x="21186" y="11771"/>
                    <a:pt x="21102" y="11690"/>
                  </a:cubicBezTo>
                  <a:cubicBezTo>
                    <a:pt x="21018" y="11608"/>
                    <a:pt x="20934" y="11502"/>
                    <a:pt x="20934" y="11453"/>
                  </a:cubicBezTo>
                  <a:cubicBezTo>
                    <a:pt x="20934" y="11403"/>
                    <a:pt x="20956" y="11364"/>
                    <a:pt x="20911" y="11364"/>
                  </a:cubicBezTo>
                  <a:cubicBezTo>
                    <a:pt x="20911" y="11369"/>
                    <a:pt x="20838" y="11320"/>
                    <a:pt x="20838" y="11262"/>
                  </a:cubicBezTo>
                  <a:cubicBezTo>
                    <a:pt x="20838" y="11205"/>
                    <a:pt x="20816" y="11084"/>
                    <a:pt x="20737" y="10994"/>
                  </a:cubicBezTo>
                  <a:cubicBezTo>
                    <a:pt x="20737" y="10902"/>
                    <a:pt x="20361" y="10736"/>
                    <a:pt x="20108" y="10622"/>
                  </a:cubicBezTo>
                  <a:cubicBezTo>
                    <a:pt x="19862" y="10506"/>
                    <a:pt x="19576" y="10359"/>
                    <a:pt x="19491" y="10292"/>
                  </a:cubicBezTo>
                  <a:cubicBezTo>
                    <a:pt x="19413" y="10224"/>
                    <a:pt x="19149" y="10069"/>
                    <a:pt x="18812" y="9947"/>
                  </a:cubicBezTo>
                  <a:cubicBezTo>
                    <a:pt x="18470" y="9824"/>
                    <a:pt x="17920" y="9640"/>
                    <a:pt x="17515" y="9541"/>
                  </a:cubicBezTo>
                  <a:cubicBezTo>
                    <a:pt x="17167" y="9439"/>
                    <a:pt x="16864" y="9336"/>
                    <a:pt x="16780" y="9312"/>
                  </a:cubicBezTo>
                  <a:cubicBezTo>
                    <a:pt x="16780" y="9288"/>
                    <a:pt x="16645" y="9231"/>
                    <a:pt x="16477" y="9187"/>
                  </a:cubicBezTo>
                  <a:cubicBezTo>
                    <a:pt x="16320" y="9143"/>
                    <a:pt x="15927" y="9015"/>
                    <a:pt x="15669" y="8903"/>
                  </a:cubicBezTo>
                  <a:cubicBezTo>
                    <a:pt x="15410" y="8790"/>
                    <a:pt x="15113" y="8662"/>
                    <a:pt x="15113" y="8618"/>
                  </a:cubicBezTo>
                  <a:cubicBezTo>
                    <a:pt x="15034" y="8575"/>
                    <a:pt x="15012" y="8470"/>
                    <a:pt x="15012" y="8388"/>
                  </a:cubicBezTo>
                  <a:cubicBezTo>
                    <a:pt x="14928" y="8304"/>
                    <a:pt x="14860" y="8211"/>
                    <a:pt x="15007" y="8189"/>
                  </a:cubicBezTo>
                  <a:cubicBezTo>
                    <a:pt x="15007" y="8164"/>
                    <a:pt x="15107" y="8109"/>
                    <a:pt x="15107" y="8066"/>
                  </a:cubicBezTo>
                  <a:cubicBezTo>
                    <a:pt x="15107" y="8025"/>
                    <a:pt x="15062" y="7923"/>
                    <a:pt x="14978" y="7841"/>
                  </a:cubicBezTo>
                  <a:cubicBezTo>
                    <a:pt x="14810" y="7759"/>
                    <a:pt x="14759" y="7695"/>
                    <a:pt x="14675" y="7697"/>
                  </a:cubicBezTo>
                  <a:cubicBezTo>
                    <a:pt x="14675" y="7706"/>
                    <a:pt x="14333" y="7629"/>
                    <a:pt x="14159" y="7536"/>
                  </a:cubicBezTo>
                  <a:cubicBezTo>
                    <a:pt x="13917" y="7444"/>
                    <a:pt x="13541" y="7318"/>
                    <a:pt x="13367" y="7256"/>
                  </a:cubicBezTo>
                  <a:cubicBezTo>
                    <a:pt x="13053" y="7197"/>
                    <a:pt x="12750" y="7131"/>
                    <a:pt x="12660" y="7111"/>
                  </a:cubicBezTo>
                  <a:cubicBezTo>
                    <a:pt x="12486" y="7094"/>
                    <a:pt x="12570" y="7066"/>
                    <a:pt x="12671" y="7044"/>
                  </a:cubicBezTo>
                  <a:cubicBezTo>
                    <a:pt x="12761" y="7022"/>
                    <a:pt x="12996" y="6978"/>
                    <a:pt x="12996" y="6937"/>
                  </a:cubicBezTo>
                  <a:cubicBezTo>
                    <a:pt x="13081" y="6898"/>
                    <a:pt x="12907" y="6812"/>
                    <a:pt x="12744" y="6747"/>
                  </a:cubicBezTo>
                  <a:cubicBezTo>
                    <a:pt x="12581" y="6681"/>
                    <a:pt x="12559" y="6576"/>
                    <a:pt x="12643" y="6513"/>
                  </a:cubicBezTo>
                  <a:cubicBezTo>
                    <a:pt x="12806" y="6450"/>
                    <a:pt x="12980" y="6296"/>
                    <a:pt x="13058" y="6171"/>
                  </a:cubicBezTo>
                  <a:cubicBezTo>
                    <a:pt x="13221" y="6047"/>
                    <a:pt x="13232" y="5915"/>
                    <a:pt x="13159" y="5879"/>
                  </a:cubicBezTo>
                  <a:cubicBezTo>
                    <a:pt x="13064" y="5844"/>
                    <a:pt x="13008" y="5808"/>
                    <a:pt x="12935" y="5805"/>
                  </a:cubicBezTo>
                  <a:cubicBezTo>
                    <a:pt x="12851" y="5801"/>
                    <a:pt x="12851" y="5739"/>
                    <a:pt x="12851" y="5672"/>
                  </a:cubicBezTo>
                  <a:cubicBezTo>
                    <a:pt x="12851" y="5604"/>
                    <a:pt x="12941" y="5527"/>
                    <a:pt x="13025" y="5502"/>
                  </a:cubicBezTo>
                  <a:cubicBezTo>
                    <a:pt x="13114" y="5477"/>
                    <a:pt x="13278" y="5402"/>
                    <a:pt x="13278" y="5336"/>
                  </a:cubicBezTo>
                  <a:cubicBezTo>
                    <a:pt x="13434" y="5272"/>
                    <a:pt x="13451" y="5195"/>
                    <a:pt x="13536" y="5170"/>
                  </a:cubicBezTo>
                  <a:cubicBezTo>
                    <a:pt x="13692" y="5148"/>
                    <a:pt x="13710" y="5098"/>
                    <a:pt x="13710" y="5068"/>
                  </a:cubicBezTo>
                  <a:cubicBezTo>
                    <a:pt x="13710" y="5036"/>
                    <a:pt x="13720" y="5033"/>
                    <a:pt x="13805" y="5057"/>
                  </a:cubicBezTo>
                  <a:cubicBezTo>
                    <a:pt x="13805" y="5081"/>
                    <a:pt x="13962" y="5098"/>
                    <a:pt x="14074" y="5098"/>
                  </a:cubicBezTo>
                  <a:cubicBezTo>
                    <a:pt x="14187" y="5098"/>
                    <a:pt x="14366" y="5021"/>
                    <a:pt x="14529" y="4934"/>
                  </a:cubicBezTo>
                  <a:cubicBezTo>
                    <a:pt x="14692" y="4848"/>
                    <a:pt x="14905" y="4770"/>
                    <a:pt x="14905" y="4759"/>
                  </a:cubicBezTo>
                  <a:cubicBezTo>
                    <a:pt x="14967" y="4750"/>
                    <a:pt x="15029" y="4715"/>
                    <a:pt x="15113" y="4682"/>
                  </a:cubicBezTo>
                  <a:cubicBezTo>
                    <a:pt x="15197" y="4649"/>
                    <a:pt x="15214" y="4585"/>
                    <a:pt x="15129" y="4541"/>
                  </a:cubicBezTo>
                  <a:cubicBezTo>
                    <a:pt x="15129" y="4498"/>
                    <a:pt x="15096" y="4451"/>
                    <a:pt x="15096" y="4438"/>
                  </a:cubicBezTo>
                  <a:cubicBezTo>
                    <a:pt x="15096" y="4424"/>
                    <a:pt x="15141" y="4365"/>
                    <a:pt x="15141" y="4305"/>
                  </a:cubicBezTo>
                  <a:cubicBezTo>
                    <a:pt x="15141" y="4246"/>
                    <a:pt x="15197" y="4152"/>
                    <a:pt x="15197" y="4096"/>
                  </a:cubicBezTo>
                  <a:cubicBezTo>
                    <a:pt x="15197" y="4040"/>
                    <a:pt x="15169" y="3976"/>
                    <a:pt x="15169" y="3954"/>
                  </a:cubicBezTo>
                  <a:cubicBezTo>
                    <a:pt x="15102" y="3933"/>
                    <a:pt x="15214" y="3882"/>
                    <a:pt x="15214" y="3842"/>
                  </a:cubicBezTo>
                  <a:cubicBezTo>
                    <a:pt x="15298" y="3803"/>
                    <a:pt x="15371" y="3728"/>
                    <a:pt x="15371" y="3676"/>
                  </a:cubicBezTo>
                  <a:cubicBezTo>
                    <a:pt x="15371" y="3624"/>
                    <a:pt x="15433" y="3590"/>
                    <a:pt x="15506" y="3597"/>
                  </a:cubicBezTo>
                  <a:cubicBezTo>
                    <a:pt x="15568" y="3605"/>
                    <a:pt x="15702" y="3640"/>
                    <a:pt x="15702" y="3675"/>
                  </a:cubicBezTo>
                  <a:cubicBezTo>
                    <a:pt x="15702" y="3711"/>
                    <a:pt x="15815" y="3728"/>
                    <a:pt x="15899" y="3720"/>
                  </a:cubicBezTo>
                  <a:cubicBezTo>
                    <a:pt x="15983" y="3712"/>
                    <a:pt x="16011" y="3672"/>
                    <a:pt x="16157" y="3640"/>
                  </a:cubicBezTo>
                  <a:cubicBezTo>
                    <a:pt x="16235" y="3607"/>
                    <a:pt x="16382" y="3566"/>
                    <a:pt x="16533" y="3555"/>
                  </a:cubicBezTo>
                  <a:cubicBezTo>
                    <a:pt x="16623" y="3540"/>
                    <a:pt x="16819" y="3549"/>
                    <a:pt x="16909" y="3569"/>
                  </a:cubicBezTo>
                  <a:cubicBezTo>
                    <a:pt x="16982" y="3591"/>
                    <a:pt x="17106" y="3586"/>
                    <a:pt x="17106" y="3562"/>
                  </a:cubicBezTo>
                  <a:cubicBezTo>
                    <a:pt x="17106" y="3536"/>
                    <a:pt x="17167" y="3491"/>
                    <a:pt x="17319" y="3469"/>
                  </a:cubicBezTo>
                  <a:cubicBezTo>
                    <a:pt x="17319" y="3443"/>
                    <a:pt x="17414" y="3380"/>
                    <a:pt x="17414" y="3327"/>
                  </a:cubicBezTo>
                  <a:cubicBezTo>
                    <a:pt x="17414" y="3274"/>
                    <a:pt x="17442" y="3203"/>
                    <a:pt x="17442" y="3170"/>
                  </a:cubicBezTo>
                  <a:cubicBezTo>
                    <a:pt x="17589" y="3140"/>
                    <a:pt x="17684" y="3102"/>
                    <a:pt x="17796" y="3085"/>
                  </a:cubicBezTo>
                  <a:cubicBezTo>
                    <a:pt x="17886" y="3068"/>
                    <a:pt x="18183" y="3066"/>
                    <a:pt x="18324" y="3069"/>
                  </a:cubicBezTo>
                  <a:cubicBezTo>
                    <a:pt x="18470" y="3073"/>
                    <a:pt x="18655" y="3042"/>
                    <a:pt x="18840" y="3003"/>
                  </a:cubicBezTo>
                  <a:cubicBezTo>
                    <a:pt x="19008" y="2964"/>
                    <a:pt x="19289" y="2931"/>
                    <a:pt x="19222" y="2931"/>
                  </a:cubicBezTo>
                  <a:cubicBezTo>
                    <a:pt x="19289" y="2931"/>
                    <a:pt x="19491" y="2922"/>
                    <a:pt x="19491" y="2903"/>
                  </a:cubicBezTo>
                  <a:cubicBezTo>
                    <a:pt x="19620" y="2888"/>
                    <a:pt x="19749" y="2839"/>
                    <a:pt x="19749" y="2796"/>
                  </a:cubicBezTo>
                  <a:cubicBezTo>
                    <a:pt x="19828" y="2755"/>
                    <a:pt x="19800" y="2697"/>
                    <a:pt x="19800" y="2669"/>
                  </a:cubicBezTo>
                  <a:cubicBezTo>
                    <a:pt x="19800" y="2640"/>
                    <a:pt x="19783" y="2618"/>
                    <a:pt x="19766" y="2618"/>
                  </a:cubicBezTo>
                  <a:lnTo>
                    <a:pt x="19766" y="2617"/>
                  </a:lnTo>
                  <a:cubicBezTo>
                    <a:pt x="19777" y="2617"/>
                    <a:pt x="19626" y="2592"/>
                    <a:pt x="19536" y="2556"/>
                  </a:cubicBezTo>
                  <a:cubicBezTo>
                    <a:pt x="19373" y="2523"/>
                    <a:pt x="19239" y="2507"/>
                    <a:pt x="19098" y="2517"/>
                  </a:cubicBezTo>
                  <a:close/>
                  <a:moveTo>
                    <a:pt x="19098" y="25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0" name="AutoShape 449"/>
            <p:cNvSpPr>
              <a:spLocks/>
            </p:cNvSpPr>
            <p:nvPr/>
          </p:nvSpPr>
          <p:spPr bwMode="auto">
            <a:xfrm>
              <a:off x="10515600" y="4419600"/>
              <a:ext cx="55563" cy="293688"/>
            </a:xfrm>
            <a:custGeom>
              <a:avLst/>
              <a:gdLst/>
              <a:ahLst/>
              <a:cxnLst/>
              <a:rect l="0" t="0" r="r" b="b"/>
              <a:pathLst>
                <a:path w="21524" h="21571">
                  <a:moveTo>
                    <a:pt x="1455" y="3314"/>
                  </a:moveTo>
                  <a:cubicBezTo>
                    <a:pt x="1455" y="3433"/>
                    <a:pt x="1320" y="3609"/>
                    <a:pt x="1245" y="3717"/>
                  </a:cubicBezTo>
                  <a:cubicBezTo>
                    <a:pt x="1268" y="3717"/>
                    <a:pt x="1259" y="3731"/>
                    <a:pt x="1236" y="3731"/>
                  </a:cubicBezTo>
                  <a:cubicBezTo>
                    <a:pt x="1100" y="3836"/>
                    <a:pt x="1119" y="3992"/>
                    <a:pt x="1189" y="4078"/>
                  </a:cubicBezTo>
                  <a:cubicBezTo>
                    <a:pt x="1259" y="4163"/>
                    <a:pt x="1194" y="4324"/>
                    <a:pt x="988" y="4435"/>
                  </a:cubicBezTo>
                  <a:cubicBezTo>
                    <a:pt x="844" y="4547"/>
                    <a:pt x="563" y="4637"/>
                    <a:pt x="465" y="4637"/>
                  </a:cubicBezTo>
                  <a:cubicBezTo>
                    <a:pt x="367" y="4637"/>
                    <a:pt x="213" y="4780"/>
                    <a:pt x="68" y="4953"/>
                  </a:cubicBezTo>
                  <a:cubicBezTo>
                    <a:pt x="3" y="5124"/>
                    <a:pt x="-30" y="5384"/>
                    <a:pt x="35" y="5537"/>
                  </a:cubicBezTo>
                  <a:cubicBezTo>
                    <a:pt x="180" y="5690"/>
                    <a:pt x="442" y="5786"/>
                    <a:pt x="666" y="5735"/>
                  </a:cubicBezTo>
                  <a:cubicBezTo>
                    <a:pt x="904" y="5689"/>
                    <a:pt x="1283" y="5775"/>
                    <a:pt x="1423" y="5929"/>
                  </a:cubicBezTo>
                  <a:cubicBezTo>
                    <a:pt x="1628" y="6077"/>
                    <a:pt x="1773" y="6388"/>
                    <a:pt x="1773" y="6616"/>
                  </a:cubicBezTo>
                  <a:cubicBezTo>
                    <a:pt x="1839" y="6843"/>
                    <a:pt x="1698" y="7093"/>
                    <a:pt x="1549" y="7172"/>
                  </a:cubicBezTo>
                  <a:cubicBezTo>
                    <a:pt x="1413" y="7249"/>
                    <a:pt x="1413" y="7446"/>
                    <a:pt x="1483" y="7611"/>
                  </a:cubicBezTo>
                  <a:cubicBezTo>
                    <a:pt x="1628" y="7775"/>
                    <a:pt x="1876" y="7934"/>
                    <a:pt x="1950" y="7977"/>
                  </a:cubicBezTo>
                  <a:cubicBezTo>
                    <a:pt x="2090" y="8011"/>
                    <a:pt x="2366" y="7964"/>
                    <a:pt x="2502" y="7865"/>
                  </a:cubicBezTo>
                  <a:cubicBezTo>
                    <a:pt x="2763" y="7776"/>
                    <a:pt x="3076" y="7681"/>
                    <a:pt x="3399" y="7689"/>
                  </a:cubicBezTo>
                  <a:cubicBezTo>
                    <a:pt x="3725" y="7683"/>
                    <a:pt x="3982" y="7783"/>
                    <a:pt x="3982" y="7895"/>
                  </a:cubicBezTo>
                  <a:cubicBezTo>
                    <a:pt x="3913" y="8007"/>
                    <a:pt x="3899" y="8227"/>
                    <a:pt x="3758" y="8380"/>
                  </a:cubicBezTo>
                  <a:cubicBezTo>
                    <a:pt x="3614" y="8532"/>
                    <a:pt x="3567" y="8761"/>
                    <a:pt x="3702" y="8886"/>
                  </a:cubicBezTo>
                  <a:cubicBezTo>
                    <a:pt x="3702" y="9015"/>
                    <a:pt x="3828" y="9201"/>
                    <a:pt x="3828" y="9305"/>
                  </a:cubicBezTo>
                  <a:cubicBezTo>
                    <a:pt x="3828" y="9411"/>
                    <a:pt x="3721" y="9579"/>
                    <a:pt x="3585" y="9679"/>
                  </a:cubicBezTo>
                  <a:cubicBezTo>
                    <a:pt x="3520" y="9781"/>
                    <a:pt x="3408" y="9994"/>
                    <a:pt x="3478" y="10153"/>
                  </a:cubicBezTo>
                  <a:cubicBezTo>
                    <a:pt x="3548" y="10311"/>
                    <a:pt x="3590" y="10628"/>
                    <a:pt x="3520" y="10855"/>
                  </a:cubicBezTo>
                  <a:cubicBezTo>
                    <a:pt x="3520" y="11082"/>
                    <a:pt x="3460" y="11549"/>
                    <a:pt x="3389" y="11891"/>
                  </a:cubicBezTo>
                  <a:cubicBezTo>
                    <a:pt x="3389" y="12235"/>
                    <a:pt x="3501" y="12431"/>
                    <a:pt x="3791" y="12334"/>
                  </a:cubicBezTo>
                  <a:cubicBezTo>
                    <a:pt x="4062" y="12235"/>
                    <a:pt x="4436" y="12117"/>
                    <a:pt x="4656" y="12074"/>
                  </a:cubicBezTo>
                  <a:cubicBezTo>
                    <a:pt x="4889" y="12034"/>
                    <a:pt x="5066" y="11888"/>
                    <a:pt x="5136" y="11754"/>
                  </a:cubicBezTo>
                  <a:cubicBezTo>
                    <a:pt x="5136" y="11621"/>
                    <a:pt x="5412" y="11427"/>
                    <a:pt x="5744" y="11331"/>
                  </a:cubicBezTo>
                  <a:cubicBezTo>
                    <a:pt x="5963" y="11224"/>
                    <a:pt x="6458" y="11239"/>
                    <a:pt x="6748" y="11343"/>
                  </a:cubicBezTo>
                  <a:cubicBezTo>
                    <a:pt x="7033" y="11447"/>
                    <a:pt x="7369" y="11528"/>
                    <a:pt x="7537" y="11511"/>
                  </a:cubicBezTo>
                  <a:cubicBezTo>
                    <a:pt x="7715" y="11500"/>
                    <a:pt x="8000" y="11597"/>
                    <a:pt x="8075" y="11736"/>
                  </a:cubicBezTo>
                  <a:cubicBezTo>
                    <a:pt x="8205" y="11873"/>
                    <a:pt x="8593" y="11960"/>
                    <a:pt x="8930" y="11918"/>
                  </a:cubicBezTo>
                  <a:cubicBezTo>
                    <a:pt x="9294" y="11889"/>
                    <a:pt x="9686" y="11611"/>
                    <a:pt x="9967" y="11319"/>
                  </a:cubicBezTo>
                  <a:cubicBezTo>
                    <a:pt x="10177" y="11025"/>
                    <a:pt x="10588" y="10743"/>
                    <a:pt x="10858" y="10690"/>
                  </a:cubicBezTo>
                  <a:cubicBezTo>
                    <a:pt x="11130" y="10638"/>
                    <a:pt x="11681" y="10643"/>
                    <a:pt x="11980" y="10716"/>
                  </a:cubicBezTo>
                  <a:cubicBezTo>
                    <a:pt x="12344" y="10776"/>
                    <a:pt x="12681" y="10985"/>
                    <a:pt x="12755" y="11168"/>
                  </a:cubicBezTo>
                  <a:cubicBezTo>
                    <a:pt x="12826" y="11351"/>
                    <a:pt x="13176" y="11655"/>
                    <a:pt x="13456" y="11847"/>
                  </a:cubicBezTo>
                  <a:cubicBezTo>
                    <a:pt x="13731" y="12039"/>
                    <a:pt x="14166" y="12282"/>
                    <a:pt x="14301" y="12395"/>
                  </a:cubicBezTo>
                  <a:cubicBezTo>
                    <a:pt x="14446" y="12506"/>
                    <a:pt x="14699" y="12705"/>
                    <a:pt x="14699" y="12842"/>
                  </a:cubicBezTo>
                  <a:cubicBezTo>
                    <a:pt x="14769" y="12978"/>
                    <a:pt x="14843" y="13184"/>
                    <a:pt x="14703" y="13290"/>
                  </a:cubicBezTo>
                  <a:cubicBezTo>
                    <a:pt x="14703" y="13402"/>
                    <a:pt x="14563" y="13558"/>
                    <a:pt x="14493" y="13639"/>
                  </a:cubicBezTo>
                  <a:cubicBezTo>
                    <a:pt x="14427" y="13719"/>
                    <a:pt x="14460" y="13905"/>
                    <a:pt x="14460" y="14055"/>
                  </a:cubicBezTo>
                  <a:cubicBezTo>
                    <a:pt x="14605" y="14201"/>
                    <a:pt x="14535" y="14471"/>
                    <a:pt x="14465" y="14652"/>
                  </a:cubicBezTo>
                  <a:cubicBezTo>
                    <a:pt x="14465" y="14831"/>
                    <a:pt x="14343" y="15057"/>
                    <a:pt x="14273" y="15155"/>
                  </a:cubicBezTo>
                  <a:cubicBezTo>
                    <a:pt x="14208" y="15252"/>
                    <a:pt x="14236" y="15399"/>
                    <a:pt x="14381" y="15475"/>
                  </a:cubicBezTo>
                  <a:cubicBezTo>
                    <a:pt x="14512" y="15551"/>
                    <a:pt x="14680" y="15731"/>
                    <a:pt x="14820" y="15871"/>
                  </a:cubicBezTo>
                  <a:cubicBezTo>
                    <a:pt x="14890" y="16015"/>
                    <a:pt x="15152" y="16129"/>
                    <a:pt x="15287" y="16136"/>
                  </a:cubicBezTo>
                  <a:cubicBezTo>
                    <a:pt x="15422" y="16136"/>
                    <a:pt x="15623" y="16175"/>
                    <a:pt x="15745" y="16216"/>
                  </a:cubicBezTo>
                  <a:cubicBezTo>
                    <a:pt x="15880" y="16255"/>
                    <a:pt x="15978" y="16352"/>
                    <a:pt x="15843" y="16419"/>
                  </a:cubicBezTo>
                  <a:cubicBezTo>
                    <a:pt x="15843" y="16489"/>
                    <a:pt x="15876" y="16624"/>
                    <a:pt x="16016" y="16724"/>
                  </a:cubicBezTo>
                  <a:cubicBezTo>
                    <a:pt x="16221" y="16818"/>
                    <a:pt x="16258" y="16970"/>
                    <a:pt x="16319" y="17056"/>
                  </a:cubicBezTo>
                  <a:cubicBezTo>
                    <a:pt x="16319" y="17142"/>
                    <a:pt x="16324" y="17330"/>
                    <a:pt x="16189" y="17470"/>
                  </a:cubicBezTo>
                  <a:cubicBezTo>
                    <a:pt x="16189" y="17615"/>
                    <a:pt x="16086" y="17800"/>
                    <a:pt x="16016" y="17880"/>
                  </a:cubicBezTo>
                  <a:cubicBezTo>
                    <a:pt x="16086" y="17960"/>
                    <a:pt x="15848" y="18126"/>
                    <a:pt x="15848" y="18248"/>
                  </a:cubicBezTo>
                  <a:cubicBezTo>
                    <a:pt x="15717" y="18368"/>
                    <a:pt x="15670" y="18549"/>
                    <a:pt x="15740" y="18646"/>
                  </a:cubicBezTo>
                  <a:cubicBezTo>
                    <a:pt x="15740" y="18743"/>
                    <a:pt x="15651" y="19009"/>
                    <a:pt x="15651" y="19239"/>
                  </a:cubicBezTo>
                  <a:cubicBezTo>
                    <a:pt x="15516" y="19466"/>
                    <a:pt x="15367" y="19729"/>
                    <a:pt x="15296" y="19828"/>
                  </a:cubicBezTo>
                  <a:cubicBezTo>
                    <a:pt x="15208" y="19892"/>
                    <a:pt x="15086" y="19974"/>
                    <a:pt x="14941" y="20049"/>
                  </a:cubicBezTo>
                  <a:cubicBezTo>
                    <a:pt x="14937" y="20054"/>
                    <a:pt x="14913" y="20066"/>
                    <a:pt x="14913" y="20070"/>
                  </a:cubicBezTo>
                  <a:cubicBezTo>
                    <a:pt x="14782" y="20102"/>
                    <a:pt x="14806" y="20223"/>
                    <a:pt x="14998" y="20318"/>
                  </a:cubicBezTo>
                  <a:cubicBezTo>
                    <a:pt x="15072" y="20419"/>
                    <a:pt x="15315" y="20566"/>
                    <a:pt x="15315" y="20650"/>
                  </a:cubicBezTo>
                  <a:cubicBezTo>
                    <a:pt x="15385" y="20732"/>
                    <a:pt x="15567" y="20808"/>
                    <a:pt x="15754" y="20789"/>
                  </a:cubicBezTo>
                  <a:cubicBezTo>
                    <a:pt x="15964" y="20789"/>
                    <a:pt x="16189" y="20926"/>
                    <a:pt x="16263" y="21104"/>
                  </a:cubicBezTo>
                  <a:cubicBezTo>
                    <a:pt x="16329" y="21283"/>
                    <a:pt x="16595" y="21475"/>
                    <a:pt x="16740" y="21539"/>
                  </a:cubicBezTo>
                  <a:cubicBezTo>
                    <a:pt x="16983" y="21593"/>
                    <a:pt x="17160" y="21578"/>
                    <a:pt x="17160" y="21492"/>
                  </a:cubicBezTo>
                  <a:cubicBezTo>
                    <a:pt x="17235" y="21408"/>
                    <a:pt x="17216" y="21241"/>
                    <a:pt x="17216" y="21127"/>
                  </a:cubicBezTo>
                  <a:cubicBezTo>
                    <a:pt x="17142" y="21013"/>
                    <a:pt x="17310" y="20820"/>
                    <a:pt x="17310" y="20701"/>
                  </a:cubicBezTo>
                  <a:cubicBezTo>
                    <a:pt x="17310" y="20581"/>
                    <a:pt x="17291" y="20381"/>
                    <a:pt x="17221" y="20251"/>
                  </a:cubicBezTo>
                  <a:cubicBezTo>
                    <a:pt x="17151" y="20122"/>
                    <a:pt x="17095" y="19925"/>
                    <a:pt x="17305" y="19818"/>
                  </a:cubicBezTo>
                  <a:cubicBezTo>
                    <a:pt x="17436" y="19706"/>
                    <a:pt x="17786" y="19568"/>
                    <a:pt x="18039" y="19513"/>
                  </a:cubicBezTo>
                  <a:cubicBezTo>
                    <a:pt x="18295" y="19457"/>
                    <a:pt x="18417" y="19490"/>
                    <a:pt x="18557" y="19585"/>
                  </a:cubicBezTo>
                  <a:cubicBezTo>
                    <a:pt x="18557" y="19681"/>
                    <a:pt x="18702" y="19776"/>
                    <a:pt x="18781" y="19799"/>
                  </a:cubicBezTo>
                  <a:cubicBezTo>
                    <a:pt x="18912" y="19811"/>
                    <a:pt x="19019" y="19900"/>
                    <a:pt x="19155" y="19972"/>
                  </a:cubicBezTo>
                  <a:cubicBezTo>
                    <a:pt x="19290" y="20043"/>
                    <a:pt x="19486" y="20105"/>
                    <a:pt x="19584" y="20086"/>
                  </a:cubicBezTo>
                  <a:cubicBezTo>
                    <a:pt x="19692" y="20070"/>
                    <a:pt x="19935" y="20003"/>
                    <a:pt x="20071" y="19923"/>
                  </a:cubicBezTo>
                  <a:cubicBezTo>
                    <a:pt x="20215" y="19846"/>
                    <a:pt x="20398" y="19631"/>
                    <a:pt x="20398" y="19447"/>
                  </a:cubicBezTo>
                  <a:cubicBezTo>
                    <a:pt x="20398" y="19265"/>
                    <a:pt x="20542" y="19044"/>
                    <a:pt x="20416" y="18965"/>
                  </a:cubicBezTo>
                  <a:cubicBezTo>
                    <a:pt x="20416" y="18880"/>
                    <a:pt x="20472" y="18681"/>
                    <a:pt x="20402" y="18521"/>
                  </a:cubicBezTo>
                  <a:cubicBezTo>
                    <a:pt x="20467" y="18362"/>
                    <a:pt x="20626" y="18108"/>
                    <a:pt x="20837" y="17959"/>
                  </a:cubicBezTo>
                  <a:cubicBezTo>
                    <a:pt x="21051" y="17811"/>
                    <a:pt x="21234" y="17568"/>
                    <a:pt x="21308" y="17420"/>
                  </a:cubicBezTo>
                  <a:cubicBezTo>
                    <a:pt x="21378" y="17273"/>
                    <a:pt x="21294" y="17145"/>
                    <a:pt x="21201" y="17135"/>
                  </a:cubicBezTo>
                  <a:cubicBezTo>
                    <a:pt x="21126" y="17121"/>
                    <a:pt x="20962" y="17061"/>
                    <a:pt x="20962" y="16993"/>
                  </a:cubicBezTo>
                  <a:cubicBezTo>
                    <a:pt x="20962" y="16923"/>
                    <a:pt x="21009" y="16728"/>
                    <a:pt x="21009" y="16560"/>
                  </a:cubicBezTo>
                  <a:cubicBezTo>
                    <a:pt x="21079" y="16394"/>
                    <a:pt x="21182" y="16178"/>
                    <a:pt x="21327" y="16085"/>
                  </a:cubicBezTo>
                  <a:cubicBezTo>
                    <a:pt x="21462" y="15993"/>
                    <a:pt x="21570" y="15838"/>
                    <a:pt x="21504" y="15746"/>
                  </a:cubicBezTo>
                  <a:cubicBezTo>
                    <a:pt x="21504" y="15653"/>
                    <a:pt x="21350" y="15622"/>
                    <a:pt x="21210" y="15677"/>
                  </a:cubicBezTo>
                  <a:cubicBezTo>
                    <a:pt x="21065" y="15731"/>
                    <a:pt x="20906" y="15763"/>
                    <a:pt x="20837" y="15750"/>
                  </a:cubicBezTo>
                  <a:cubicBezTo>
                    <a:pt x="20766" y="15735"/>
                    <a:pt x="20617" y="15639"/>
                    <a:pt x="20617" y="15539"/>
                  </a:cubicBezTo>
                  <a:cubicBezTo>
                    <a:pt x="20481" y="15441"/>
                    <a:pt x="20379" y="15357"/>
                    <a:pt x="20239" y="15351"/>
                  </a:cubicBezTo>
                  <a:cubicBezTo>
                    <a:pt x="20084" y="15351"/>
                    <a:pt x="19954" y="15296"/>
                    <a:pt x="19893" y="15235"/>
                  </a:cubicBezTo>
                  <a:cubicBezTo>
                    <a:pt x="19893" y="15172"/>
                    <a:pt x="19907" y="15037"/>
                    <a:pt x="19907" y="14933"/>
                  </a:cubicBezTo>
                  <a:cubicBezTo>
                    <a:pt x="19907" y="14826"/>
                    <a:pt x="19949" y="14706"/>
                    <a:pt x="19818" y="14674"/>
                  </a:cubicBezTo>
                  <a:cubicBezTo>
                    <a:pt x="19697" y="14639"/>
                    <a:pt x="19622" y="14629"/>
                    <a:pt x="19528" y="14644"/>
                  </a:cubicBezTo>
                  <a:cubicBezTo>
                    <a:pt x="19528" y="14668"/>
                    <a:pt x="19351" y="14611"/>
                    <a:pt x="19281" y="14529"/>
                  </a:cubicBezTo>
                  <a:cubicBezTo>
                    <a:pt x="19136" y="14452"/>
                    <a:pt x="19089" y="14289"/>
                    <a:pt x="19160" y="14182"/>
                  </a:cubicBezTo>
                  <a:cubicBezTo>
                    <a:pt x="19089" y="14076"/>
                    <a:pt x="19127" y="13894"/>
                    <a:pt x="19066" y="13785"/>
                  </a:cubicBezTo>
                  <a:cubicBezTo>
                    <a:pt x="19066" y="13673"/>
                    <a:pt x="18828" y="13588"/>
                    <a:pt x="18650" y="13593"/>
                  </a:cubicBezTo>
                  <a:cubicBezTo>
                    <a:pt x="18487" y="13602"/>
                    <a:pt x="18258" y="13574"/>
                    <a:pt x="18188" y="13534"/>
                  </a:cubicBezTo>
                  <a:cubicBezTo>
                    <a:pt x="18057" y="13502"/>
                    <a:pt x="17978" y="13344"/>
                    <a:pt x="17978" y="13195"/>
                  </a:cubicBezTo>
                  <a:cubicBezTo>
                    <a:pt x="17903" y="13048"/>
                    <a:pt x="17721" y="12754"/>
                    <a:pt x="17581" y="12540"/>
                  </a:cubicBezTo>
                  <a:cubicBezTo>
                    <a:pt x="17375" y="12328"/>
                    <a:pt x="17291" y="12074"/>
                    <a:pt x="17291" y="11978"/>
                  </a:cubicBezTo>
                  <a:cubicBezTo>
                    <a:pt x="17361" y="11883"/>
                    <a:pt x="17268" y="11657"/>
                    <a:pt x="17128" y="11479"/>
                  </a:cubicBezTo>
                  <a:cubicBezTo>
                    <a:pt x="16992" y="11300"/>
                    <a:pt x="16693" y="11094"/>
                    <a:pt x="16553" y="11014"/>
                  </a:cubicBezTo>
                  <a:cubicBezTo>
                    <a:pt x="16333" y="10936"/>
                    <a:pt x="16049" y="10696"/>
                    <a:pt x="15908" y="10479"/>
                  </a:cubicBezTo>
                  <a:cubicBezTo>
                    <a:pt x="15708" y="10265"/>
                    <a:pt x="15493" y="10081"/>
                    <a:pt x="15353" y="10068"/>
                  </a:cubicBezTo>
                  <a:cubicBezTo>
                    <a:pt x="15203" y="10058"/>
                    <a:pt x="14965" y="9966"/>
                    <a:pt x="14699" y="9875"/>
                  </a:cubicBezTo>
                  <a:cubicBezTo>
                    <a:pt x="14549" y="9772"/>
                    <a:pt x="14115" y="9696"/>
                    <a:pt x="13885" y="9682"/>
                  </a:cubicBezTo>
                  <a:cubicBezTo>
                    <a:pt x="13652" y="9670"/>
                    <a:pt x="13292" y="9532"/>
                    <a:pt x="13292" y="9366"/>
                  </a:cubicBezTo>
                  <a:cubicBezTo>
                    <a:pt x="13147" y="9204"/>
                    <a:pt x="13022" y="9073"/>
                    <a:pt x="12900" y="9073"/>
                  </a:cubicBezTo>
                  <a:cubicBezTo>
                    <a:pt x="12774" y="9073"/>
                    <a:pt x="12629" y="9009"/>
                    <a:pt x="12629" y="8927"/>
                  </a:cubicBezTo>
                  <a:cubicBezTo>
                    <a:pt x="12629" y="8844"/>
                    <a:pt x="12606" y="8687"/>
                    <a:pt x="12811" y="8586"/>
                  </a:cubicBezTo>
                  <a:cubicBezTo>
                    <a:pt x="12951" y="8484"/>
                    <a:pt x="12914" y="8275"/>
                    <a:pt x="12769" y="8125"/>
                  </a:cubicBezTo>
                  <a:cubicBezTo>
                    <a:pt x="12629" y="7975"/>
                    <a:pt x="12480" y="7765"/>
                    <a:pt x="12480" y="7659"/>
                  </a:cubicBezTo>
                  <a:cubicBezTo>
                    <a:pt x="12480" y="7551"/>
                    <a:pt x="12549" y="7459"/>
                    <a:pt x="12676" y="7453"/>
                  </a:cubicBezTo>
                  <a:cubicBezTo>
                    <a:pt x="12760" y="7436"/>
                    <a:pt x="13096" y="7388"/>
                    <a:pt x="13311" y="7318"/>
                  </a:cubicBezTo>
                  <a:cubicBezTo>
                    <a:pt x="13563" y="7252"/>
                    <a:pt x="13834" y="7169"/>
                    <a:pt x="14003" y="7153"/>
                  </a:cubicBezTo>
                  <a:cubicBezTo>
                    <a:pt x="14133" y="7127"/>
                    <a:pt x="14432" y="7055"/>
                    <a:pt x="14432" y="6983"/>
                  </a:cubicBezTo>
                  <a:cubicBezTo>
                    <a:pt x="14563" y="6912"/>
                    <a:pt x="14726" y="6648"/>
                    <a:pt x="14797" y="6395"/>
                  </a:cubicBezTo>
                  <a:cubicBezTo>
                    <a:pt x="14932" y="6146"/>
                    <a:pt x="15058" y="5910"/>
                    <a:pt x="15189" y="5878"/>
                  </a:cubicBezTo>
                  <a:cubicBezTo>
                    <a:pt x="15259" y="5841"/>
                    <a:pt x="15404" y="5745"/>
                    <a:pt x="15404" y="5659"/>
                  </a:cubicBezTo>
                  <a:cubicBezTo>
                    <a:pt x="15404" y="5571"/>
                    <a:pt x="15268" y="5458"/>
                    <a:pt x="15030" y="5423"/>
                  </a:cubicBezTo>
                  <a:cubicBezTo>
                    <a:pt x="14857" y="5373"/>
                    <a:pt x="14661" y="5253"/>
                    <a:pt x="14661" y="5138"/>
                  </a:cubicBezTo>
                  <a:cubicBezTo>
                    <a:pt x="14661" y="5023"/>
                    <a:pt x="14642" y="4825"/>
                    <a:pt x="14642" y="4697"/>
                  </a:cubicBezTo>
                  <a:cubicBezTo>
                    <a:pt x="14577" y="4568"/>
                    <a:pt x="14404" y="4445"/>
                    <a:pt x="14245" y="4406"/>
                  </a:cubicBezTo>
                  <a:cubicBezTo>
                    <a:pt x="14017" y="4384"/>
                    <a:pt x="13825" y="4255"/>
                    <a:pt x="13694" y="4140"/>
                  </a:cubicBezTo>
                  <a:cubicBezTo>
                    <a:pt x="13554" y="4028"/>
                    <a:pt x="13316" y="3930"/>
                    <a:pt x="13096" y="3935"/>
                  </a:cubicBezTo>
                  <a:cubicBezTo>
                    <a:pt x="12877" y="3935"/>
                    <a:pt x="12573" y="4015"/>
                    <a:pt x="12368" y="4101"/>
                  </a:cubicBezTo>
                  <a:cubicBezTo>
                    <a:pt x="12228" y="4192"/>
                    <a:pt x="11886" y="4226"/>
                    <a:pt x="11690" y="4182"/>
                  </a:cubicBezTo>
                  <a:cubicBezTo>
                    <a:pt x="11503" y="4134"/>
                    <a:pt x="11059" y="4095"/>
                    <a:pt x="10723" y="4095"/>
                  </a:cubicBezTo>
                  <a:cubicBezTo>
                    <a:pt x="10387" y="4087"/>
                    <a:pt x="9953" y="3912"/>
                    <a:pt x="9808" y="3693"/>
                  </a:cubicBezTo>
                  <a:cubicBezTo>
                    <a:pt x="9668" y="3473"/>
                    <a:pt x="9280" y="3124"/>
                    <a:pt x="9000" y="2915"/>
                  </a:cubicBezTo>
                  <a:cubicBezTo>
                    <a:pt x="8859" y="2805"/>
                    <a:pt x="8738" y="2684"/>
                    <a:pt x="8668" y="2576"/>
                  </a:cubicBezTo>
                  <a:cubicBezTo>
                    <a:pt x="8598" y="2477"/>
                    <a:pt x="8607" y="2389"/>
                    <a:pt x="8607" y="2337"/>
                  </a:cubicBezTo>
                  <a:cubicBezTo>
                    <a:pt x="8607" y="2227"/>
                    <a:pt x="8677" y="2025"/>
                    <a:pt x="8677" y="1883"/>
                  </a:cubicBezTo>
                  <a:cubicBezTo>
                    <a:pt x="8677" y="1743"/>
                    <a:pt x="8485" y="1548"/>
                    <a:pt x="8355" y="1451"/>
                  </a:cubicBezTo>
                  <a:cubicBezTo>
                    <a:pt x="8215" y="1351"/>
                    <a:pt x="7972" y="1136"/>
                    <a:pt x="7827" y="972"/>
                  </a:cubicBezTo>
                  <a:cubicBezTo>
                    <a:pt x="7757" y="805"/>
                    <a:pt x="7332" y="595"/>
                    <a:pt x="7033" y="500"/>
                  </a:cubicBezTo>
                  <a:cubicBezTo>
                    <a:pt x="6748" y="404"/>
                    <a:pt x="6388" y="260"/>
                    <a:pt x="6388" y="177"/>
                  </a:cubicBezTo>
                  <a:cubicBezTo>
                    <a:pt x="6407" y="177"/>
                    <a:pt x="6407" y="165"/>
                    <a:pt x="6384" y="165"/>
                  </a:cubicBezTo>
                  <a:cubicBezTo>
                    <a:pt x="6393" y="165"/>
                    <a:pt x="6388" y="157"/>
                    <a:pt x="6379" y="157"/>
                  </a:cubicBezTo>
                  <a:cubicBezTo>
                    <a:pt x="6230" y="66"/>
                    <a:pt x="5996" y="-7"/>
                    <a:pt x="5673" y="1"/>
                  </a:cubicBezTo>
                  <a:cubicBezTo>
                    <a:pt x="5342" y="7"/>
                    <a:pt x="5080" y="94"/>
                    <a:pt x="5080" y="189"/>
                  </a:cubicBezTo>
                  <a:cubicBezTo>
                    <a:pt x="5080" y="284"/>
                    <a:pt x="4940" y="408"/>
                    <a:pt x="4866" y="472"/>
                  </a:cubicBezTo>
                  <a:cubicBezTo>
                    <a:pt x="4730" y="531"/>
                    <a:pt x="4604" y="766"/>
                    <a:pt x="4669" y="988"/>
                  </a:cubicBezTo>
                  <a:cubicBezTo>
                    <a:pt x="4669" y="1209"/>
                    <a:pt x="4809" y="1505"/>
                    <a:pt x="4809" y="1641"/>
                  </a:cubicBezTo>
                  <a:cubicBezTo>
                    <a:pt x="4879" y="1778"/>
                    <a:pt x="4945" y="2018"/>
                    <a:pt x="4945" y="2174"/>
                  </a:cubicBezTo>
                  <a:cubicBezTo>
                    <a:pt x="4945" y="2330"/>
                    <a:pt x="5048" y="2592"/>
                    <a:pt x="5048" y="2759"/>
                  </a:cubicBezTo>
                  <a:cubicBezTo>
                    <a:pt x="5048" y="2923"/>
                    <a:pt x="5015" y="3031"/>
                    <a:pt x="4856" y="3009"/>
                  </a:cubicBezTo>
                  <a:cubicBezTo>
                    <a:pt x="4683" y="2986"/>
                    <a:pt x="4408" y="3004"/>
                    <a:pt x="4160" y="3052"/>
                  </a:cubicBezTo>
                  <a:cubicBezTo>
                    <a:pt x="3945" y="3108"/>
                    <a:pt x="3674" y="3061"/>
                    <a:pt x="3604" y="2952"/>
                  </a:cubicBezTo>
                  <a:cubicBezTo>
                    <a:pt x="3604" y="2843"/>
                    <a:pt x="3413" y="2701"/>
                    <a:pt x="3268" y="2645"/>
                  </a:cubicBezTo>
                  <a:cubicBezTo>
                    <a:pt x="3198" y="2582"/>
                    <a:pt x="2876" y="2624"/>
                    <a:pt x="2735" y="2740"/>
                  </a:cubicBezTo>
                  <a:cubicBezTo>
                    <a:pt x="2656" y="2772"/>
                    <a:pt x="2572" y="2803"/>
                    <a:pt x="2488" y="2835"/>
                  </a:cubicBezTo>
                  <a:cubicBezTo>
                    <a:pt x="2282" y="2920"/>
                    <a:pt x="2072" y="2990"/>
                    <a:pt x="1946" y="3020"/>
                  </a:cubicBezTo>
                  <a:cubicBezTo>
                    <a:pt x="1670" y="3053"/>
                    <a:pt x="1455" y="3191"/>
                    <a:pt x="1455" y="3314"/>
                  </a:cubicBezTo>
                  <a:close/>
                  <a:moveTo>
                    <a:pt x="1455" y="331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1" name="AutoShape 450"/>
            <p:cNvSpPr>
              <a:spLocks/>
            </p:cNvSpPr>
            <p:nvPr/>
          </p:nvSpPr>
          <p:spPr bwMode="auto">
            <a:xfrm>
              <a:off x="10553700" y="4699000"/>
              <a:ext cx="0" cy="1588"/>
            </a:xfrm>
            <a:custGeom>
              <a:avLst/>
              <a:gdLst/>
              <a:ahLst/>
              <a:cxnLst/>
              <a:rect l="0" t="0" r="r" b="b"/>
              <a:pathLst>
                <a:path w="21600" h="21600">
                  <a:moveTo>
                    <a:pt x="0" y="21600"/>
                  </a:moveTo>
                  <a:cubicBezTo>
                    <a:pt x="8803" y="14294"/>
                    <a:pt x="16204" y="6244"/>
                    <a:pt x="21600" y="0"/>
                  </a:cubicBezTo>
                  <a:cubicBezTo>
                    <a:pt x="14483" y="8321"/>
                    <a:pt x="2858" y="16778"/>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2" name="AutoShape 451"/>
            <p:cNvSpPr>
              <a:spLocks/>
            </p:cNvSpPr>
            <p:nvPr/>
          </p:nvSpPr>
          <p:spPr bwMode="auto">
            <a:xfrm>
              <a:off x="10528300" y="4432300"/>
              <a:ext cx="1588" cy="3175"/>
            </a:xfrm>
            <a:custGeom>
              <a:avLst/>
              <a:gdLst/>
              <a:ahLst/>
              <a:cxnLst/>
              <a:rect l="0" t="0" r="r" b="b"/>
              <a:pathLst>
                <a:path w="21600" h="21600">
                  <a:moveTo>
                    <a:pt x="21600" y="21600"/>
                  </a:moveTo>
                  <a:cubicBezTo>
                    <a:pt x="12432" y="15553"/>
                    <a:pt x="2321" y="6053"/>
                    <a:pt x="0" y="0"/>
                  </a:cubicBezTo>
                  <a:cubicBezTo>
                    <a:pt x="777" y="0"/>
                    <a:pt x="777" y="760"/>
                    <a:pt x="155" y="760"/>
                  </a:cubicBezTo>
                  <a:cubicBezTo>
                    <a:pt x="155" y="6137"/>
                    <a:pt x="12121" y="15374"/>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3" name="AutoShape 452"/>
            <p:cNvSpPr>
              <a:spLocks/>
            </p:cNvSpPr>
            <p:nvPr/>
          </p:nvSpPr>
          <p:spPr bwMode="auto">
            <a:xfrm>
              <a:off x="10452100" y="4572000"/>
              <a:ext cx="1588" cy="7938"/>
            </a:xfrm>
            <a:custGeom>
              <a:avLst/>
              <a:gdLst/>
              <a:ahLst/>
              <a:cxnLst/>
              <a:rect l="0" t="0" r="r" b="b"/>
              <a:pathLst>
                <a:path w="19963" h="19621">
                  <a:moveTo>
                    <a:pt x="18990" y="16095"/>
                  </a:moveTo>
                  <a:cubicBezTo>
                    <a:pt x="21600" y="12569"/>
                    <a:pt x="18407" y="6965"/>
                    <a:pt x="15886" y="3683"/>
                  </a:cubicBezTo>
                  <a:cubicBezTo>
                    <a:pt x="13276" y="466"/>
                    <a:pt x="6643" y="-998"/>
                    <a:pt x="4285" y="739"/>
                  </a:cubicBezTo>
                  <a:cubicBezTo>
                    <a:pt x="756" y="2258"/>
                    <a:pt x="0" y="6003"/>
                    <a:pt x="0" y="8987"/>
                  </a:cubicBezTo>
                  <a:cubicBezTo>
                    <a:pt x="1350" y="11944"/>
                    <a:pt x="5551" y="16164"/>
                    <a:pt x="9248" y="18537"/>
                  </a:cubicBezTo>
                  <a:cubicBezTo>
                    <a:pt x="13870" y="20602"/>
                    <a:pt x="18990" y="19679"/>
                    <a:pt x="18990" y="16095"/>
                  </a:cubicBezTo>
                  <a:close/>
                  <a:moveTo>
                    <a:pt x="18990" y="160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4" name="AutoShape 453"/>
            <p:cNvSpPr>
              <a:spLocks/>
            </p:cNvSpPr>
            <p:nvPr/>
          </p:nvSpPr>
          <p:spPr bwMode="auto">
            <a:xfrm>
              <a:off x="10439400" y="4203700"/>
              <a:ext cx="90488" cy="660400"/>
            </a:xfrm>
            <a:custGeom>
              <a:avLst/>
              <a:gdLst/>
              <a:ahLst/>
              <a:cxnLst/>
              <a:rect l="0" t="0" r="r" b="b"/>
              <a:pathLst>
                <a:path w="21580" h="21568">
                  <a:moveTo>
                    <a:pt x="14689" y="20680"/>
                  </a:moveTo>
                  <a:cubicBezTo>
                    <a:pt x="14736" y="20605"/>
                    <a:pt x="14950" y="20504"/>
                    <a:pt x="15085" y="20451"/>
                  </a:cubicBezTo>
                  <a:cubicBezTo>
                    <a:pt x="15258" y="20400"/>
                    <a:pt x="15563" y="20201"/>
                    <a:pt x="15821" y="20010"/>
                  </a:cubicBezTo>
                  <a:cubicBezTo>
                    <a:pt x="16041" y="19819"/>
                    <a:pt x="16329" y="19644"/>
                    <a:pt x="16411" y="19620"/>
                  </a:cubicBezTo>
                  <a:cubicBezTo>
                    <a:pt x="16496" y="19597"/>
                    <a:pt x="16625" y="19498"/>
                    <a:pt x="16669" y="19400"/>
                  </a:cubicBezTo>
                  <a:cubicBezTo>
                    <a:pt x="16757" y="19304"/>
                    <a:pt x="16707" y="19173"/>
                    <a:pt x="16707" y="19110"/>
                  </a:cubicBezTo>
                  <a:cubicBezTo>
                    <a:pt x="16619" y="19049"/>
                    <a:pt x="16681" y="18928"/>
                    <a:pt x="16725" y="18843"/>
                  </a:cubicBezTo>
                  <a:cubicBezTo>
                    <a:pt x="16769" y="18758"/>
                    <a:pt x="16778" y="18648"/>
                    <a:pt x="16778" y="18597"/>
                  </a:cubicBezTo>
                  <a:cubicBezTo>
                    <a:pt x="16778" y="18545"/>
                    <a:pt x="16722" y="18433"/>
                    <a:pt x="16766" y="18348"/>
                  </a:cubicBezTo>
                  <a:cubicBezTo>
                    <a:pt x="16766" y="18263"/>
                    <a:pt x="16754" y="18166"/>
                    <a:pt x="16707" y="18132"/>
                  </a:cubicBezTo>
                  <a:cubicBezTo>
                    <a:pt x="16663" y="18097"/>
                    <a:pt x="16608" y="18017"/>
                    <a:pt x="16693" y="17954"/>
                  </a:cubicBezTo>
                  <a:cubicBezTo>
                    <a:pt x="16693" y="17890"/>
                    <a:pt x="16819" y="17791"/>
                    <a:pt x="16775" y="17735"/>
                  </a:cubicBezTo>
                  <a:cubicBezTo>
                    <a:pt x="16819" y="17679"/>
                    <a:pt x="16851" y="17592"/>
                    <a:pt x="16895" y="17542"/>
                  </a:cubicBezTo>
                  <a:cubicBezTo>
                    <a:pt x="16983" y="17492"/>
                    <a:pt x="16974" y="17350"/>
                    <a:pt x="16974" y="17228"/>
                  </a:cubicBezTo>
                  <a:cubicBezTo>
                    <a:pt x="16933" y="17106"/>
                    <a:pt x="16830" y="16945"/>
                    <a:pt x="16701" y="16871"/>
                  </a:cubicBezTo>
                  <a:cubicBezTo>
                    <a:pt x="16569" y="16797"/>
                    <a:pt x="16326" y="16684"/>
                    <a:pt x="16191" y="16618"/>
                  </a:cubicBezTo>
                  <a:cubicBezTo>
                    <a:pt x="16015" y="16555"/>
                    <a:pt x="15827" y="16425"/>
                    <a:pt x="15695" y="16334"/>
                  </a:cubicBezTo>
                  <a:cubicBezTo>
                    <a:pt x="15566" y="16242"/>
                    <a:pt x="15504" y="16123"/>
                    <a:pt x="15504" y="16069"/>
                  </a:cubicBezTo>
                  <a:cubicBezTo>
                    <a:pt x="15549" y="16016"/>
                    <a:pt x="15531" y="15891"/>
                    <a:pt x="15443" y="15791"/>
                  </a:cubicBezTo>
                  <a:cubicBezTo>
                    <a:pt x="15443" y="15690"/>
                    <a:pt x="15434" y="15573"/>
                    <a:pt x="15610" y="15536"/>
                  </a:cubicBezTo>
                  <a:cubicBezTo>
                    <a:pt x="15742" y="15496"/>
                    <a:pt x="15927" y="15428"/>
                    <a:pt x="15927" y="15382"/>
                  </a:cubicBezTo>
                  <a:cubicBezTo>
                    <a:pt x="15968" y="15337"/>
                    <a:pt x="15956" y="15177"/>
                    <a:pt x="15956" y="15027"/>
                  </a:cubicBezTo>
                  <a:cubicBezTo>
                    <a:pt x="15912" y="14877"/>
                    <a:pt x="15912" y="14716"/>
                    <a:pt x="16033" y="14674"/>
                  </a:cubicBezTo>
                  <a:cubicBezTo>
                    <a:pt x="16076" y="14630"/>
                    <a:pt x="16241" y="14568"/>
                    <a:pt x="16370" y="14536"/>
                  </a:cubicBezTo>
                  <a:cubicBezTo>
                    <a:pt x="16499" y="14503"/>
                    <a:pt x="16561" y="14428"/>
                    <a:pt x="16602" y="14369"/>
                  </a:cubicBezTo>
                  <a:cubicBezTo>
                    <a:pt x="16602" y="14309"/>
                    <a:pt x="16520" y="14238"/>
                    <a:pt x="16399" y="14211"/>
                  </a:cubicBezTo>
                  <a:cubicBezTo>
                    <a:pt x="16270" y="14184"/>
                    <a:pt x="16179" y="14109"/>
                    <a:pt x="16179" y="14045"/>
                  </a:cubicBezTo>
                  <a:cubicBezTo>
                    <a:pt x="16223" y="13981"/>
                    <a:pt x="16085" y="13867"/>
                    <a:pt x="16085" y="13791"/>
                  </a:cubicBezTo>
                  <a:cubicBezTo>
                    <a:pt x="16001" y="13716"/>
                    <a:pt x="15927" y="13640"/>
                    <a:pt x="15827" y="13626"/>
                  </a:cubicBezTo>
                  <a:cubicBezTo>
                    <a:pt x="15736" y="13610"/>
                    <a:pt x="15554" y="13473"/>
                    <a:pt x="15466" y="13322"/>
                  </a:cubicBezTo>
                  <a:cubicBezTo>
                    <a:pt x="15338" y="13170"/>
                    <a:pt x="15161" y="13002"/>
                    <a:pt x="14997" y="12951"/>
                  </a:cubicBezTo>
                  <a:cubicBezTo>
                    <a:pt x="14827" y="12901"/>
                    <a:pt x="14680" y="12822"/>
                    <a:pt x="14680" y="12777"/>
                  </a:cubicBezTo>
                  <a:cubicBezTo>
                    <a:pt x="14680" y="12733"/>
                    <a:pt x="14566" y="12664"/>
                    <a:pt x="14484" y="12624"/>
                  </a:cubicBezTo>
                  <a:cubicBezTo>
                    <a:pt x="14405" y="12584"/>
                    <a:pt x="14270" y="12482"/>
                    <a:pt x="14182" y="12398"/>
                  </a:cubicBezTo>
                  <a:cubicBezTo>
                    <a:pt x="14091" y="12312"/>
                    <a:pt x="13941" y="12234"/>
                    <a:pt x="13853" y="12222"/>
                  </a:cubicBezTo>
                  <a:cubicBezTo>
                    <a:pt x="13753" y="12211"/>
                    <a:pt x="13718" y="12161"/>
                    <a:pt x="13674" y="12114"/>
                  </a:cubicBezTo>
                  <a:cubicBezTo>
                    <a:pt x="13674" y="12066"/>
                    <a:pt x="13800" y="11999"/>
                    <a:pt x="13979" y="11965"/>
                  </a:cubicBezTo>
                  <a:cubicBezTo>
                    <a:pt x="14158" y="11931"/>
                    <a:pt x="14434" y="11869"/>
                    <a:pt x="14519" y="11825"/>
                  </a:cubicBezTo>
                  <a:cubicBezTo>
                    <a:pt x="14642" y="11782"/>
                    <a:pt x="14724" y="11707"/>
                    <a:pt x="14683" y="11658"/>
                  </a:cubicBezTo>
                  <a:cubicBezTo>
                    <a:pt x="14639" y="11609"/>
                    <a:pt x="14601" y="11497"/>
                    <a:pt x="14645" y="11409"/>
                  </a:cubicBezTo>
                  <a:cubicBezTo>
                    <a:pt x="14645" y="11320"/>
                    <a:pt x="14757" y="11213"/>
                    <a:pt x="14850" y="11171"/>
                  </a:cubicBezTo>
                  <a:cubicBezTo>
                    <a:pt x="14982" y="11131"/>
                    <a:pt x="15041" y="11010"/>
                    <a:pt x="14997" y="10907"/>
                  </a:cubicBezTo>
                  <a:cubicBezTo>
                    <a:pt x="14953" y="10804"/>
                    <a:pt x="15079" y="10666"/>
                    <a:pt x="15167" y="10600"/>
                  </a:cubicBezTo>
                  <a:cubicBezTo>
                    <a:pt x="15258" y="10534"/>
                    <a:pt x="15528" y="10518"/>
                    <a:pt x="15774" y="10561"/>
                  </a:cubicBezTo>
                  <a:cubicBezTo>
                    <a:pt x="16015" y="10602"/>
                    <a:pt x="16276" y="10590"/>
                    <a:pt x="16455" y="10535"/>
                  </a:cubicBezTo>
                  <a:cubicBezTo>
                    <a:pt x="16590" y="10477"/>
                    <a:pt x="16840" y="10430"/>
                    <a:pt x="16971" y="10430"/>
                  </a:cubicBezTo>
                  <a:cubicBezTo>
                    <a:pt x="17106" y="10430"/>
                    <a:pt x="17250" y="10404"/>
                    <a:pt x="17294" y="10373"/>
                  </a:cubicBezTo>
                  <a:cubicBezTo>
                    <a:pt x="17338" y="10341"/>
                    <a:pt x="17397" y="10255"/>
                    <a:pt x="17397" y="10180"/>
                  </a:cubicBezTo>
                  <a:cubicBezTo>
                    <a:pt x="17397" y="10106"/>
                    <a:pt x="17482" y="10016"/>
                    <a:pt x="17567" y="9982"/>
                  </a:cubicBezTo>
                  <a:cubicBezTo>
                    <a:pt x="17649" y="9947"/>
                    <a:pt x="17837" y="9925"/>
                    <a:pt x="17983" y="9936"/>
                  </a:cubicBezTo>
                  <a:cubicBezTo>
                    <a:pt x="18133" y="9946"/>
                    <a:pt x="18303" y="9927"/>
                    <a:pt x="18344" y="9894"/>
                  </a:cubicBezTo>
                  <a:cubicBezTo>
                    <a:pt x="18435" y="9863"/>
                    <a:pt x="18371" y="9800"/>
                    <a:pt x="18324" y="9756"/>
                  </a:cubicBezTo>
                  <a:cubicBezTo>
                    <a:pt x="18236" y="9713"/>
                    <a:pt x="18224" y="9649"/>
                    <a:pt x="18224" y="9616"/>
                  </a:cubicBezTo>
                  <a:cubicBezTo>
                    <a:pt x="18268" y="9584"/>
                    <a:pt x="18347" y="9535"/>
                    <a:pt x="18482" y="9511"/>
                  </a:cubicBezTo>
                  <a:cubicBezTo>
                    <a:pt x="18611" y="9486"/>
                    <a:pt x="18864" y="9461"/>
                    <a:pt x="19040" y="9457"/>
                  </a:cubicBezTo>
                  <a:cubicBezTo>
                    <a:pt x="19213" y="9451"/>
                    <a:pt x="19409" y="9380"/>
                    <a:pt x="19494" y="9299"/>
                  </a:cubicBezTo>
                  <a:cubicBezTo>
                    <a:pt x="19494" y="9296"/>
                    <a:pt x="19503" y="9294"/>
                    <a:pt x="19503" y="9291"/>
                  </a:cubicBezTo>
                  <a:cubicBezTo>
                    <a:pt x="19509" y="9291"/>
                    <a:pt x="19509" y="9289"/>
                    <a:pt x="19503" y="9289"/>
                  </a:cubicBezTo>
                  <a:cubicBezTo>
                    <a:pt x="19503" y="9212"/>
                    <a:pt x="19688" y="9150"/>
                    <a:pt x="19752" y="9150"/>
                  </a:cubicBezTo>
                  <a:cubicBezTo>
                    <a:pt x="19814" y="9150"/>
                    <a:pt x="19990" y="9110"/>
                    <a:pt x="20081" y="9060"/>
                  </a:cubicBezTo>
                  <a:cubicBezTo>
                    <a:pt x="20210" y="9010"/>
                    <a:pt x="20251" y="8939"/>
                    <a:pt x="20207" y="8901"/>
                  </a:cubicBezTo>
                  <a:cubicBezTo>
                    <a:pt x="20163" y="8862"/>
                    <a:pt x="20151" y="8793"/>
                    <a:pt x="20236" y="8746"/>
                  </a:cubicBezTo>
                  <a:cubicBezTo>
                    <a:pt x="20251" y="8746"/>
                    <a:pt x="20257" y="8739"/>
                    <a:pt x="20242" y="8739"/>
                  </a:cubicBezTo>
                  <a:cubicBezTo>
                    <a:pt x="20289" y="8691"/>
                    <a:pt x="20374" y="8613"/>
                    <a:pt x="20374" y="8560"/>
                  </a:cubicBezTo>
                  <a:cubicBezTo>
                    <a:pt x="20374" y="8505"/>
                    <a:pt x="20509" y="8443"/>
                    <a:pt x="20682" y="8428"/>
                  </a:cubicBezTo>
                  <a:cubicBezTo>
                    <a:pt x="20776" y="8413"/>
                    <a:pt x="20899" y="8380"/>
                    <a:pt x="21022" y="8346"/>
                  </a:cubicBezTo>
                  <a:cubicBezTo>
                    <a:pt x="21110" y="8321"/>
                    <a:pt x="21196" y="8293"/>
                    <a:pt x="21266" y="8264"/>
                  </a:cubicBezTo>
                  <a:cubicBezTo>
                    <a:pt x="21433" y="8192"/>
                    <a:pt x="21536" y="8088"/>
                    <a:pt x="21580" y="8033"/>
                  </a:cubicBezTo>
                  <a:cubicBezTo>
                    <a:pt x="21580" y="7978"/>
                    <a:pt x="21507" y="7919"/>
                    <a:pt x="21410" y="7898"/>
                  </a:cubicBezTo>
                  <a:cubicBezTo>
                    <a:pt x="21293" y="7879"/>
                    <a:pt x="21002" y="7911"/>
                    <a:pt x="20738" y="7968"/>
                  </a:cubicBezTo>
                  <a:cubicBezTo>
                    <a:pt x="20474" y="8026"/>
                    <a:pt x="20154" y="8074"/>
                    <a:pt x="20028" y="8074"/>
                  </a:cubicBezTo>
                  <a:cubicBezTo>
                    <a:pt x="19899" y="8074"/>
                    <a:pt x="19691" y="8104"/>
                    <a:pt x="19647" y="8144"/>
                  </a:cubicBezTo>
                  <a:cubicBezTo>
                    <a:pt x="19562" y="8182"/>
                    <a:pt x="19380" y="8186"/>
                    <a:pt x="19256" y="8152"/>
                  </a:cubicBezTo>
                  <a:cubicBezTo>
                    <a:pt x="19093" y="8121"/>
                    <a:pt x="18990" y="8045"/>
                    <a:pt x="18943" y="7990"/>
                  </a:cubicBezTo>
                  <a:cubicBezTo>
                    <a:pt x="18902" y="7934"/>
                    <a:pt x="18937" y="7824"/>
                    <a:pt x="18937" y="7745"/>
                  </a:cubicBezTo>
                  <a:cubicBezTo>
                    <a:pt x="18981" y="7666"/>
                    <a:pt x="18940" y="7558"/>
                    <a:pt x="18855" y="7504"/>
                  </a:cubicBezTo>
                  <a:cubicBezTo>
                    <a:pt x="18811" y="7449"/>
                    <a:pt x="18626" y="7440"/>
                    <a:pt x="18541" y="7481"/>
                  </a:cubicBezTo>
                  <a:cubicBezTo>
                    <a:pt x="18453" y="7521"/>
                    <a:pt x="18324" y="7541"/>
                    <a:pt x="18324" y="7523"/>
                  </a:cubicBezTo>
                  <a:cubicBezTo>
                    <a:pt x="18245" y="7510"/>
                    <a:pt x="18106" y="7485"/>
                    <a:pt x="17922" y="7473"/>
                  </a:cubicBezTo>
                  <a:cubicBezTo>
                    <a:pt x="17731" y="7463"/>
                    <a:pt x="17526" y="7473"/>
                    <a:pt x="17408" y="7492"/>
                  </a:cubicBezTo>
                  <a:cubicBezTo>
                    <a:pt x="17329" y="7514"/>
                    <a:pt x="17203" y="7497"/>
                    <a:pt x="17203" y="7457"/>
                  </a:cubicBezTo>
                  <a:cubicBezTo>
                    <a:pt x="17121" y="7417"/>
                    <a:pt x="17241" y="7337"/>
                    <a:pt x="17367" y="7281"/>
                  </a:cubicBezTo>
                  <a:cubicBezTo>
                    <a:pt x="17458" y="7225"/>
                    <a:pt x="17690" y="7101"/>
                    <a:pt x="17822" y="7005"/>
                  </a:cubicBezTo>
                  <a:cubicBezTo>
                    <a:pt x="17992" y="6910"/>
                    <a:pt x="18057" y="6795"/>
                    <a:pt x="18057" y="6753"/>
                  </a:cubicBezTo>
                  <a:cubicBezTo>
                    <a:pt x="18057" y="6709"/>
                    <a:pt x="18092" y="6633"/>
                    <a:pt x="18133" y="6582"/>
                  </a:cubicBezTo>
                  <a:cubicBezTo>
                    <a:pt x="18183" y="6530"/>
                    <a:pt x="18177" y="6451"/>
                    <a:pt x="18221" y="6407"/>
                  </a:cubicBezTo>
                  <a:cubicBezTo>
                    <a:pt x="18221" y="6361"/>
                    <a:pt x="18118" y="6293"/>
                    <a:pt x="17992" y="6254"/>
                  </a:cubicBezTo>
                  <a:cubicBezTo>
                    <a:pt x="17860" y="6215"/>
                    <a:pt x="17631" y="6192"/>
                    <a:pt x="17458" y="6201"/>
                  </a:cubicBezTo>
                  <a:cubicBezTo>
                    <a:pt x="17294" y="6212"/>
                    <a:pt x="17071" y="6238"/>
                    <a:pt x="17115" y="6262"/>
                  </a:cubicBezTo>
                  <a:cubicBezTo>
                    <a:pt x="17071" y="6285"/>
                    <a:pt x="17027" y="6273"/>
                    <a:pt x="16983" y="6234"/>
                  </a:cubicBezTo>
                  <a:cubicBezTo>
                    <a:pt x="16939" y="6195"/>
                    <a:pt x="16945" y="6141"/>
                    <a:pt x="16945" y="6113"/>
                  </a:cubicBezTo>
                  <a:cubicBezTo>
                    <a:pt x="16989" y="6085"/>
                    <a:pt x="16863" y="6048"/>
                    <a:pt x="16707" y="6030"/>
                  </a:cubicBezTo>
                  <a:cubicBezTo>
                    <a:pt x="16549" y="6012"/>
                    <a:pt x="16370" y="5957"/>
                    <a:pt x="16276" y="5910"/>
                  </a:cubicBezTo>
                  <a:cubicBezTo>
                    <a:pt x="16194" y="5863"/>
                    <a:pt x="16162" y="5781"/>
                    <a:pt x="16209" y="5730"/>
                  </a:cubicBezTo>
                  <a:cubicBezTo>
                    <a:pt x="16209" y="5678"/>
                    <a:pt x="16252" y="5594"/>
                    <a:pt x="16209" y="5542"/>
                  </a:cubicBezTo>
                  <a:cubicBezTo>
                    <a:pt x="16209" y="5490"/>
                    <a:pt x="16018" y="5464"/>
                    <a:pt x="15854" y="5481"/>
                  </a:cubicBezTo>
                  <a:cubicBezTo>
                    <a:pt x="15684" y="5498"/>
                    <a:pt x="15504" y="5489"/>
                    <a:pt x="15420" y="5459"/>
                  </a:cubicBezTo>
                  <a:cubicBezTo>
                    <a:pt x="15375" y="5426"/>
                    <a:pt x="15340" y="5374"/>
                    <a:pt x="15340" y="5337"/>
                  </a:cubicBezTo>
                  <a:cubicBezTo>
                    <a:pt x="15381" y="5300"/>
                    <a:pt x="15390" y="5232"/>
                    <a:pt x="15346" y="5184"/>
                  </a:cubicBezTo>
                  <a:cubicBezTo>
                    <a:pt x="15302" y="5137"/>
                    <a:pt x="15059" y="5119"/>
                    <a:pt x="14774" y="5145"/>
                  </a:cubicBezTo>
                  <a:cubicBezTo>
                    <a:pt x="14493" y="5171"/>
                    <a:pt x="14129" y="5233"/>
                    <a:pt x="13988" y="5285"/>
                  </a:cubicBezTo>
                  <a:cubicBezTo>
                    <a:pt x="13821" y="5334"/>
                    <a:pt x="13686" y="5319"/>
                    <a:pt x="13601" y="5251"/>
                  </a:cubicBezTo>
                  <a:cubicBezTo>
                    <a:pt x="13513" y="5181"/>
                    <a:pt x="13495" y="5065"/>
                    <a:pt x="13495" y="4993"/>
                  </a:cubicBezTo>
                  <a:cubicBezTo>
                    <a:pt x="13536" y="4922"/>
                    <a:pt x="13466" y="4829"/>
                    <a:pt x="13340" y="4791"/>
                  </a:cubicBezTo>
                  <a:cubicBezTo>
                    <a:pt x="13296" y="4750"/>
                    <a:pt x="13158" y="4685"/>
                    <a:pt x="13072" y="4647"/>
                  </a:cubicBezTo>
                  <a:cubicBezTo>
                    <a:pt x="13072" y="4606"/>
                    <a:pt x="12861" y="4558"/>
                    <a:pt x="12771" y="4533"/>
                  </a:cubicBezTo>
                  <a:cubicBezTo>
                    <a:pt x="12659" y="4510"/>
                    <a:pt x="12553" y="4451"/>
                    <a:pt x="12553" y="4401"/>
                  </a:cubicBezTo>
                  <a:cubicBezTo>
                    <a:pt x="12553" y="4350"/>
                    <a:pt x="12597" y="4274"/>
                    <a:pt x="12635" y="4228"/>
                  </a:cubicBezTo>
                  <a:cubicBezTo>
                    <a:pt x="12727" y="4185"/>
                    <a:pt x="12621" y="4116"/>
                    <a:pt x="12621" y="4075"/>
                  </a:cubicBezTo>
                  <a:cubicBezTo>
                    <a:pt x="12533" y="4036"/>
                    <a:pt x="12583" y="3961"/>
                    <a:pt x="12583" y="3909"/>
                  </a:cubicBezTo>
                  <a:cubicBezTo>
                    <a:pt x="12627" y="3858"/>
                    <a:pt x="12723" y="3780"/>
                    <a:pt x="12811" y="3738"/>
                  </a:cubicBezTo>
                  <a:cubicBezTo>
                    <a:pt x="12899" y="3696"/>
                    <a:pt x="13005" y="3678"/>
                    <a:pt x="13117" y="3691"/>
                  </a:cubicBezTo>
                  <a:cubicBezTo>
                    <a:pt x="13199" y="3707"/>
                    <a:pt x="13316" y="3692"/>
                    <a:pt x="13357" y="3658"/>
                  </a:cubicBezTo>
                  <a:cubicBezTo>
                    <a:pt x="13401" y="3623"/>
                    <a:pt x="13363" y="3548"/>
                    <a:pt x="13319" y="3488"/>
                  </a:cubicBezTo>
                  <a:cubicBezTo>
                    <a:pt x="13234" y="3430"/>
                    <a:pt x="13240" y="3347"/>
                    <a:pt x="13240" y="3307"/>
                  </a:cubicBezTo>
                  <a:cubicBezTo>
                    <a:pt x="13240" y="3266"/>
                    <a:pt x="13334" y="3226"/>
                    <a:pt x="13392" y="3218"/>
                  </a:cubicBezTo>
                  <a:cubicBezTo>
                    <a:pt x="13463" y="3213"/>
                    <a:pt x="13501" y="3158"/>
                    <a:pt x="13501" y="3102"/>
                  </a:cubicBezTo>
                  <a:cubicBezTo>
                    <a:pt x="13501" y="3046"/>
                    <a:pt x="13598" y="2980"/>
                    <a:pt x="13715" y="2956"/>
                  </a:cubicBezTo>
                  <a:cubicBezTo>
                    <a:pt x="13809" y="2930"/>
                    <a:pt x="13959" y="2882"/>
                    <a:pt x="13959" y="2845"/>
                  </a:cubicBezTo>
                  <a:cubicBezTo>
                    <a:pt x="13959" y="2809"/>
                    <a:pt x="13967" y="2730"/>
                    <a:pt x="13967" y="2669"/>
                  </a:cubicBezTo>
                  <a:cubicBezTo>
                    <a:pt x="13967" y="2609"/>
                    <a:pt x="13956" y="2455"/>
                    <a:pt x="13956" y="2329"/>
                  </a:cubicBezTo>
                  <a:cubicBezTo>
                    <a:pt x="13956" y="2202"/>
                    <a:pt x="13991" y="2023"/>
                    <a:pt x="13900" y="1933"/>
                  </a:cubicBezTo>
                  <a:cubicBezTo>
                    <a:pt x="13900" y="1842"/>
                    <a:pt x="13724" y="1683"/>
                    <a:pt x="13592" y="1579"/>
                  </a:cubicBezTo>
                  <a:cubicBezTo>
                    <a:pt x="13460" y="1476"/>
                    <a:pt x="13301" y="1318"/>
                    <a:pt x="13301" y="1227"/>
                  </a:cubicBezTo>
                  <a:cubicBezTo>
                    <a:pt x="13255" y="1136"/>
                    <a:pt x="13178" y="1009"/>
                    <a:pt x="13011" y="948"/>
                  </a:cubicBezTo>
                  <a:cubicBezTo>
                    <a:pt x="12923" y="884"/>
                    <a:pt x="12671" y="830"/>
                    <a:pt x="12565" y="834"/>
                  </a:cubicBezTo>
                  <a:cubicBezTo>
                    <a:pt x="12451" y="834"/>
                    <a:pt x="12328" y="757"/>
                    <a:pt x="12240" y="663"/>
                  </a:cubicBezTo>
                  <a:cubicBezTo>
                    <a:pt x="12196" y="569"/>
                    <a:pt x="11958" y="458"/>
                    <a:pt x="11864" y="409"/>
                  </a:cubicBezTo>
                  <a:cubicBezTo>
                    <a:pt x="11694" y="365"/>
                    <a:pt x="11530" y="259"/>
                    <a:pt x="11403" y="177"/>
                  </a:cubicBezTo>
                  <a:cubicBezTo>
                    <a:pt x="11277" y="95"/>
                    <a:pt x="11072" y="26"/>
                    <a:pt x="10922" y="18"/>
                  </a:cubicBezTo>
                  <a:cubicBezTo>
                    <a:pt x="10770" y="13"/>
                    <a:pt x="10564" y="27"/>
                    <a:pt x="10476" y="52"/>
                  </a:cubicBezTo>
                  <a:cubicBezTo>
                    <a:pt x="10359" y="73"/>
                    <a:pt x="10183" y="67"/>
                    <a:pt x="10010" y="34"/>
                  </a:cubicBezTo>
                  <a:cubicBezTo>
                    <a:pt x="9878" y="-3"/>
                    <a:pt x="9617" y="-10"/>
                    <a:pt x="9520" y="13"/>
                  </a:cubicBezTo>
                  <a:cubicBezTo>
                    <a:pt x="9423" y="37"/>
                    <a:pt x="9394" y="65"/>
                    <a:pt x="9394" y="81"/>
                  </a:cubicBezTo>
                  <a:cubicBezTo>
                    <a:pt x="9438" y="96"/>
                    <a:pt x="9470" y="147"/>
                    <a:pt x="9511" y="193"/>
                  </a:cubicBezTo>
                  <a:cubicBezTo>
                    <a:pt x="9511" y="239"/>
                    <a:pt x="9491" y="319"/>
                    <a:pt x="9359" y="370"/>
                  </a:cubicBezTo>
                  <a:cubicBezTo>
                    <a:pt x="9268" y="423"/>
                    <a:pt x="9197" y="531"/>
                    <a:pt x="9197" y="612"/>
                  </a:cubicBezTo>
                  <a:cubicBezTo>
                    <a:pt x="9242" y="692"/>
                    <a:pt x="9291" y="800"/>
                    <a:pt x="9335" y="851"/>
                  </a:cubicBezTo>
                  <a:cubicBezTo>
                    <a:pt x="9376" y="902"/>
                    <a:pt x="9324" y="918"/>
                    <a:pt x="9168" y="891"/>
                  </a:cubicBezTo>
                  <a:cubicBezTo>
                    <a:pt x="9039" y="861"/>
                    <a:pt x="8810" y="803"/>
                    <a:pt x="8684" y="760"/>
                  </a:cubicBezTo>
                  <a:cubicBezTo>
                    <a:pt x="8593" y="715"/>
                    <a:pt x="8323" y="729"/>
                    <a:pt x="8138" y="785"/>
                  </a:cubicBezTo>
                  <a:cubicBezTo>
                    <a:pt x="7968" y="844"/>
                    <a:pt x="7657" y="915"/>
                    <a:pt x="7426" y="939"/>
                  </a:cubicBezTo>
                  <a:cubicBezTo>
                    <a:pt x="7232" y="969"/>
                    <a:pt x="6936" y="1045"/>
                    <a:pt x="6936" y="1117"/>
                  </a:cubicBezTo>
                  <a:cubicBezTo>
                    <a:pt x="6853" y="1188"/>
                    <a:pt x="6754" y="1319"/>
                    <a:pt x="6587" y="1406"/>
                  </a:cubicBezTo>
                  <a:cubicBezTo>
                    <a:pt x="6413" y="1492"/>
                    <a:pt x="6211" y="1584"/>
                    <a:pt x="6047" y="1604"/>
                  </a:cubicBezTo>
                  <a:cubicBezTo>
                    <a:pt x="5903" y="1627"/>
                    <a:pt x="5627" y="1771"/>
                    <a:pt x="5410" y="1927"/>
                  </a:cubicBezTo>
                  <a:cubicBezTo>
                    <a:pt x="5234" y="2083"/>
                    <a:pt x="5011" y="2269"/>
                    <a:pt x="5011" y="2342"/>
                  </a:cubicBezTo>
                  <a:cubicBezTo>
                    <a:pt x="5011" y="2414"/>
                    <a:pt x="5076" y="2506"/>
                    <a:pt x="5123" y="2548"/>
                  </a:cubicBezTo>
                  <a:cubicBezTo>
                    <a:pt x="5211" y="2589"/>
                    <a:pt x="5228" y="2721"/>
                    <a:pt x="5140" y="2841"/>
                  </a:cubicBezTo>
                  <a:cubicBezTo>
                    <a:pt x="5055" y="2961"/>
                    <a:pt x="4861" y="3173"/>
                    <a:pt x="4683" y="3310"/>
                  </a:cubicBezTo>
                  <a:cubicBezTo>
                    <a:pt x="4512" y="3448"/>
                    <a:pt x="4348" y="3599"/>
                    <a:pt x="4392" y="3645"/>
                  </a:cubicBezTo>
                  <a:cubicBezTo>
                    <a:pt x="4433" y="3692"/>
                    <a:pt x="4580" y="3760"/>
                    <a:pt x="4750" y="3798"/>
                  </a:cubicBezTo>
                  <a:cubicBezTo>
                    <a:pt x="4958" y="3832"/>
                    <a:pt x="4973" y="3996"/>
                    <a:pt x="4838" y="4157"/>
                  </a:cubicBezTo>
                  <a:cubicBezTo>
                    <a:pt x="4797" y="4199"/>
                    <a:pt x="4776" y="4246"/>
                    <a:pt x="4730" y="4295"/>
                  </a:cubicBezTo>
                  <a:cubicBezTo>
                    <a:pt x="4645" y="4435"/>
                    <a:pt x="4586" y="4591"/>
                    <a:pt x="4498" y="4687"/>
                  </a:cubicBezTo>
                  <a:cubicBezTo>
                    <a:pt x="4498" y="4817"/>
                    <a:pt x="4304" y="5018"/>
                    <a:pt x="4216" y="5133"/>
                  </a:cubicBezTo>
                  <a:cubicBezTo>
                    <a:pt x="4087" y="5247"/>
                    <a:pt x="3864" y="5341"/>
                    <a:pt x="3668" y="5344"/>
                  </a:cubicBezTo>
                  <a:cubicBezTo>
                    <a:pt x="3474" y="5348"/>
                    <a:pt x="3204" y="5330"/>
                    <a:pt x="3072" y="5312"/>
                  </a:cubicBezTo>
                  <a:cubicBezTo>
                    <a:pt x="2928" y="5296"/>
                    <a:pt x="2705" y="5272"/>
                    <a:pt x="2547" y="5269"/>
                  </a:cubicBezTo>
                  <a:cubicBezTo>
                    <a:pt x="2395" y="5262"/>
                    <a:pt x="2324" y="5384"/>
                    <a:pt x="2453" y="5536"/>
                  </a:cubicBezTo>
                  <a:cubicBezTo>
                    <a:pt x="2588" y="5688"/>
                    <a:pt x="2603" y="5879"/>
                    <a:pt x="2647" y="5959"/>
                  </a:cubicBezTo>
                  <a:cubicBezTo>
                    <a:pt x="2647" y="6040"/>
                    <a:pt x="2632" y="6197"/>
                    <a:pt x="2632" y="6309"/>
                  </a:cubicBezTo>
                  <a:cubicBezTo>
                    <a:pt x="2632" y="6421"/>
                    <a:pt x="2477" y="6505"/>
                    <a:pt x="2324" y="6495"/>
                  </a:cubicBezTo>
                  <a:cubicBezTo>
                    <a:pt x="2169" y="6484"/>
                    <a:pt x="2092" y="6545"/>
                    <a:pt x="2092" y="6628"/>
                  </a:cubicBezTo>
                  <a:cubicBezTo>
                    <a:pt x="2136" y="6711"/>
                    <a:pt x="2145" y="6842"/>
                    <a:pt x="2104" y="6917"/>
                  </a:cubicBezTo>
                  <a:cubicBezTo>
                    <a:pt x="2060" y="6993"/>
                    <a:pt x="2040" y="7108"/>
                    <a:pt x="2128" y="7169"/>
                  </a:cubicBezTo>
                  <a:cubicBezTo>
                    <a:pt x="2128" y="7232"/>
                    <a:pt x="2128" y="7367"/>
                    <a:pt x="2042" y="7471"/>
                  </a:cubicBezTo>
                  <a:cubicBezTo>
                    <a:pt x="1954" y="7573"/>
                    <a:pt x="1781" y="7670"/>
                    <a:pt x="1740" y="7690"/>
                  </a:cubicBezTo>
                  <a:cubicBezTo>
                    <a:pt x="1644" y="7707"/>
                    <a:pt x="1556" y="7708"/>
                    <a:pt x="1459" y="7699"/>
                  </a:cubicBezTo>
                  <a:cubicBezTo>
                    <a:pt x="1406" y="7684"/>
                    <a:pt x="1312" y="7722"/>
                    <a:pt x="1268" y="7781"/>
                  </a:cubicBezTo>
                  <a:cubicBezTo>
                    <a:pt x="1268" y="7839"/>
                    <a:pt x="1203" y="7974"/>
                    <a:pt x="1203" y="8082"/>
                  </a:cubicBezTo>
                  <a:cubicBezTo>
                    <a:pt x="1203" y="8089"/>
                    <a:pt x="1201" y="8097"/>
                    <a:pt x="1197" y="8104"/>
                  </a:cubicBezTo>
                  <a:cubicBezTo>
                    <a:pt x="1201" y="8117"/>
                    <a:pt x="1201" y="8130"/>
                    <a:pt x="1201" y="8143"/>
                  </a:cubicBezTo>
                  <a:cubicBezTo>
                    <a:pt x="1201" y="8217"/>
                    <a:pt x="1130" y="8340"/>
                    <a:pt x="1045" y="8416"/>
                  </a:cubicBezTo>
                  <a:cubicBezTo>
                    <a:pt x="957" y="8493"/>
                    <a:pt x="860" y="8541"/>
                    <a:pt x="781" y="8527"/>
                  </a:cubicBezTo>
                  <a:cubicBezTo>
                    <a:pt x="708" y="8512"/>
                    <a:pt x="529" y="8559"/>
                    <a:pt x="394" y="8634"/>
                  </a:cubicBezTo>
                  <a:cubicBezTo>
                    <a:pt x="215" y="8707"/>
                    <a:pt x="65" y="8817"/>
                    <a:pt x="65" y="8877"/>
                  </a:cubicBezTo>
                  <a:cubicBezTo>
                    <a:pt x="-20" y="8935"/>
                    <a:pt x="-11" y="9002"/>
                    <a:pt x="33" y="9023"/>
                  </a:cubicBezTo>
                  <a:cubicBezTo>
                    <a:pt x="33" y="9043"/>
                    <a:pt x="68" y="9057"/>
                    <a:pt x="56" y="9057"/>
                  </a:cubicBezTo>
                  <a:cubicBezTo>
                    <a:pt x="68" y="9057"/>
                    <a:pt x="147" y="9107"/>
                    <a:pt x="194" y="9173"/>
                  </a:cubicBezTo>
                  <a:cubicBezTo>
                    <a:pt x="279" y="9238"/>
                    <a:pt x="335" y="9359"/>
                    <a:pt x="423" y="9441"/>
                  </a:cubicBezTo>
                  <a:cubicBezTo>
                    <a:pt x="423" y="9524"/>
                    <a:pt x="807" y="9689"/>
                    <a:pt x="1118" y="9811"/>
                  </a:cubicBezTo>
                  <a:cubicBezTo>
                    <a:pt x="1462" y="9932"/>
                    <a:pt x="1629" y="9988"/>
                    <a:pt x="1585" y="9935"/>
                  </a:cubicBezTo>
                  <a:cubicBezTo>
                    <a:pt x="1541" y="9881"/>
                    <a:pt x="1418" y="9813"/>
                    <a:pt x="1462" y="9786"/>
                  </a:cubicBezTo>
                  <a:cubicBezTo>
                    <a:pt x="1462" y="9758"/>
                    <a:pt x="1550" y="9767"/>
                    <a:pt x="1682" y="9806"/>
                  </a:cubicBezTo>
                  <a:cubicBezTo>
                    <a:pt x="1808" y="9845"/>
                    <a:pt x="2007" y="9872"/>
                    <a:pt x="2151" y="9867"/>
                  </a:cubicBezTo>
                  <a:cubicBezTo>
                    <a:pt x="2298" y="9862"/>
                    <a:pt x="2333" y="9903"/>
                    <a:pt x="2195" y="9957"/>
                  </a:cubicBezTo>
                  <a:cubicBezTo>
                    <a:pt x="2107" y="10012"/>
                    <a:pt x="1993" y="10077"/>
                    <a:pt x="1993" y="10102"/>
                  </a:cubicBezTo>
                  <a:cubicBezTo>
                    <a:pt x="1993" y="10128"/>
                    <a:pt x="2139" y="10148"/>
                    <a:pt x="2259" y="10135"/>
                  </a:cubicBezTo>
                  <a:cubicBezTo>
                    <a:pt x="2397" y="10128"/>
                    <a:pt x="2547" y="10088"/>
                    <a:pt x="2547" y="10049"/>
                  </a:cubicBezTo>
                  <a:cubicBezTo>
                    <a:pt x="2547" y="10008"/>
                    <a:pt x="2553" y="10010"/>
                    <a:pt x="2638" y="10048"/>
                  </a:cubicBezTo>
                  <a:cubicBezTo>
                    <a:pt x="2638" y="10087"/>
                    <a:pt x="2799" y="10127"/>
                    <a:pt x="2928" y="10136"/>
                  </a:cubicBezTo>
                  <a:cubicBezTo>
                    <a:pt x="3063" y="10142"/>
                    <a:pt x="3181" y="10184"/>
                    <a:pt x="3266" y="10223"/>
                  </a:cubicBezTo>
                  <a:cubicBezTo>
                    <a:pt x="3354" y="10261"/>
                    <a:pt x="3565" y="10307"/>
                    <a:pt x="3785" y="10325"/>
                  </a:cubicBezTo>
                  <a:cubicBezTo>
                    <a:pt x="4008" y="10343"/>
                    <a:pt x="4304" y="10428"/>
                    <a:pt x="4439" y="10516"/>
                  </a:cubicBezTo>
                  <a:cubicBezTo>
                    <a:pt x="4571" y="10604"/>
                    <a:pt x="4677" y="10717"/>
                    <a:pt x="4677" y="10769"/>
                  </a:cubicBezTo>
                  <a:cubicBezTo>
                    <a:pt x="4677" y="10820"/>
                    <a:pt x="4589" y="10872"/>
                    <a:pt x="4507" y="10889"/>
                  </a:cubicBezTo>
                  <a:cubicBezTo>
                    <a:pt x="4401" y="10901"/>
                    <a:pt x="4284" y="10887"/>
                    <a:pt x="4201" y="10852"/>
                  </a:cubicBezTo>
                  <a:cubicBezTo>
                    <a:pt x="4110" y="10818"/>
                    <a:pt x="3937" y="10812"/>
                    <a:pt x="3849" y="10842"/>
                  </a:cubicBezTo>
                  <a:cubicBezTo>
                    <a:pt x="3718" y="10870"/>
                    <a:pt x="3688" y="10930"/>
                    <a:pt x="3820" y="10970"/>
                  </a:cubicBezTo>
                  <a:cubicBezTo>
                    <a:pt x="3908" y="11012"/>
                    <a:pt x="4037" y="11052"/>
                    <a:pt x="4078" y="11061"/>
                  </a:cubicBezTo>
                  <a:cubicBezTo>
                    <a:pt x="4078" y="11072"/>
                    <a:pt x="4070" y="11095"/>
                    <a:pt x="4070" y="11117"/>
                  </a:cubicBezTo>
                  <a:cubicBezTo>
                    <a:pt x="3985" y="11135"/>
                    <a:pt x="3873" y="11139"/>
                    <a:pt x="3788" y="11115"/>
                  </a:cubicBezTo>
                  <a:cubicBezTo>
                    <a:pt x="3662" y="11095"/>
                    <a:pt x="3556" y="11036"/>
                    <a:pt x="3512" y="10990"/>
                  </a:cubicBezTo>
                  <a:cubicBezTo>
                    <a:pt x="3474" y="10943"/>
                    <a:pt x="3327" y="10898"/>
                    <a:pt x="3189" y="10898"/>
                  </a:cubicBezTo>
                  <a:cubicBezTo>
                    <a:pt x="3057" y="10895"/>
                    <a:pt x="2925" y="10919"/>
                    <a:pt x="2967" y="10952"/>
                  </a:cubicBezTo>
                  <a:cubicBezTo>
                    <a:pt x="2922" y="10984"/>
                    <a:pt x="3101" y="11052"/>
                    <a:pt x="3231" y="11102"/>
                  </a:cubicBezTo>
                  <a:cubicBezTo>
                    <a:pt x="3362" y="11153"/>
                    <a:pt x="3483" y="11222"/>
                    <a:pt x="3483" y="11257"/>
                  </a:cubicBezTo>
                  <a:cubicBezTo>
                    <a:pt x="3483" y="11292"/>
                    <a:pt x="3577" y="11374"/>
                    <a:pt x="3709" y="11437"/>
                  </a:cubicBezTo>
                  <a:cubicBezTo>
                    <a:pt x="3797" y="11502"/>
                    <a:pt x="4131" y="11580"/>
                    <a:pt x="4404" y="11608"/>
                  </a:cubicBezTo>
                  <a:cubicBezTo>
                    <a:pt x="4671" y="11638"/>
                    <a:pt x="4903" y="11576"/>
                    <a:pt x="4861" y="11469"/>
                  </a:cubicBezTo>
                  <a:cubicBezTo>
                    <a:pt x="4861" y="11362"/>
                    <a:pt x="4779" y="11234"/>
                    <a:pt x="4736" y="11183"/>
                  </a:cubicBezTo>
                  <a:cubicBezTo>
                    <a:pt x="4691" y="11132"/>
                    <a:pt x="4768" y="11128"/>
                    <a:pt x="4947" y="11171"/>
                  </a:cubicBezTo>
                  <a:cubicBezTo>
                    <a:pt x="5123" y="11216"/>
                    <a:pt x="5284" y="11298"/>
                    <a:pt x="5237" y="11351"/>
                  </a:cubicBezTo>
                  <a:cubicBezTo>
                    <a:pt x="5237" y="11405"/>
                    <a:pt x="5220" y="11489"/>
                    <a:pt x="5308" y="11536"/>
                  </a:cubicBezTo>
                  <a:cubicBezTo>
                    <a:pt x="5351" y="11585"/>
                    <a:pt x="5442" y="11661"/>
                    <a:pt x="5522" y="11706"/>
                  </a:cubicBezTo>
                  <a:cubicBezTo>
                    <a:pt x="5569" y="11753"/>
                    <a:pt x="5724" y="11861"/>
                    <a:pt x="5724" y="11949"/>
                  </a:cubicBezTo>
                  <a:cubicBezTo>
                    <a:pt x="5812" y="12036"/>
                    <a:pt x="5876" y="12135"/>
                    <a:pt x="5968" y="12170"/>
                  </a:cubicBezTo>
                  <a:cubicBezTo>
                    <a:pt x="6085" y="12202"/>
                    <a:pt x="6059" y="12239"/>
                    <a:pt x="6059" y="12253"/>
                  </a:cubicBezTo>
                  <a:cubicBezTo>
                    <a:pt x="6020" y="12265"/>
                    <a:pt x="5997" y="12300"/>
                    <a:pt x="6044" y="12332"/>
                  </a:cubicBezTo>
                  <a:cubicBezTo>
                    <a:pt x="6088" y="12365"/>
                    <a:pt x="6149" y="12403"/>
                    <a:pt x="6232" y="12414"/>
                  </a:cubicBezTo>
                  <a:cubicBezTo>
                    <a:pt x="6308" y="12427"/>
                    <a:pt x="6334" y="12536"/>
                    <a:pt x="6334" y="12657"/>
                  </a:cubicBezTo>
                  <a:cubicBezTo>
                    <a:pt x="6334" y="12777"/>
                    <a:pt x="6358" y="12984"/>
                    <a:pt x="6490" y="13115"/>
                  </a:cubicBezTo>
                  <a:cubicBezTo>
                    <a:pt x="6531" y="13248"/>
                    <a:pt x="6719" y="13377"/>
                    <a:pt x="6760" y="13403"/>
                  </a:cubicBezTo>
                  <a:cubicBezTo>
                    <a:pt x="6803" y="13430"/>
                    <a:pt x="6719" y="13490"/>
                    <a:pt x="6554" y="13536"/>
                  </a:cubicBezTo>
                  <a:cubicBezTo>
                    <a:pt x="6375" y="13582"/>
                    <a:pt x="6097" y="13871"/>
                    <a:pt x="5876" y="14176"/>
                  </a:cubicBezTo>
                  <a:cubicBezTo>
                    <a:pt x="5657" y="14481"/>
                    <a:pt x="5539" y="14784"/>
                    <a:pt x="5539" y="14848"/>
                  </a:cubicBezTo>
                  <a:cubicBezTo>
                    <a:pt x="5539" y="14912"/>
                    <a:pt x="5569" y="14984"/>
                    <a:pt x="5530" y="15006"/>
                  </a:cubicBezTo>
                  <a:cubicBezTo>
                    <a:pt x="5530" y="15031"/>
                    <a:pt x="5489" y="15072"/>
                    <a:pt x="5489" y="15099"/>
                  </a:cubicBezTo>
                  <a:cubicBezTo>
                    <a:pt x="5489" y="15127"/>
                    <a:pt x="5615" y="15087"/>
                    <a:pt x="5742" y="15011"/>
                  </a:cubicBezTo>
                  <a:cubicBezTo>
                    <a:pt x="5879" y="14936"/>
                    <a:pt x="6117" y="14825"/>
                    <a:pt x="6284" y="14767"/>
                  </a:cubicBezTo>
                  <a:cubicBezTo>
                    <a:pt x="6460" y="14710"/>
                    <a:pt x="6707" y="14587"/>
                    <a:pt x="6792" y="14495"/>
                  </a:cubicBezTo>
                  <a:cubicBezTo>
                    <a:pt x="6921" y="14404"/>
                    <a:pt x="6924" y="14410"/>
                    <a:pt x="6924" y="14510"/>
                  </a:cubicBezTo>
                  <a:cubicBezTo>
                    <a:pt x="6839" y="14608"/>
                    <a:pt x="6689" y="14755"/>
                    <a:pt x="6466" y="14835"/>
                  </a:cubicBezTo>
                  <a:cubicBezTo>
                    <a:pt x="6287" y="14916"/>
                    <a:pt x="6073" y="15048"/>
                    <a:pt x="6032" y="15131"/>
                  </a:cubicBezTo>
                  <a:cubicBezTo>
                    <a:pt x="6032" y="15214"/>
                    <a:pt x="6052" y="15280"/>
                    <a:pt x="6129" y="15275"/>
                  </a:cubicBezTo>
                  <a:cubicBezTo>
                    <a:pt x="6214" y="15275"/>
                    <a:pt x="6296" y="15233"/>
                    <a:pt x="6340" y="15191"/>
                  </a:cubicBezTo>
                  <a:cubicBezTo>
                    <a:pt x="6384" y="15149"/>
                    <a:pt x="6601" y="15078"/>
                    <a:pt x="6780" y="15029"/>
                  </a:cubicBezTo>
                  <a:cubicBezTo>
                    <a:pt x="6968" y="14980"/>
                    <a:pt x="7182" y="14978"/>
                    <a:pt x="7270" y="15019"/>
                  </a:cubicBezTo>
                  <a:cubicBezTo>
                    <a:pt x="7352" y="15060"/>
                    <a:pt x="7431" y="15086"/>
                    <a:pt x="7516" y="15080"/>
                  </a:cubicBezTo>
                  <a:cubicBezTo>
                    <a:pt x="7516" y="15067"/>
                    <a:pt x="7649" y="15040"/>
                    <a:pt x="7690" y="15010"/>
                  </a:cubicBezTo>
                  <a:cubicBezTo>
                    <a:pt x="7740" y="14981"/>
                    <a:pt x="7692" y="14969"/>
                    <a:pt x="7737" y="14984"/>
                  </a:cubicBezTo>
                  <a:cubicBezTo>
                    <a:pt x="7692" y="14999"/>
                    <a:pt x="7795" y="15013"/>
                    <a:pt x="7868" y="15011"/>
                  </a:cubicBezTo>
                  <a:cubicBezTo>
                    <a:pt x="7945" y="15011"/>
                    <a:pt x="8047" y="14997"/>
                    <a:pt x="8047" y="14982"/>
                  </a:cubicBezTo>
                  <a:cubicBezTo>
                    <a:pt x="8047" y="14967"/>
                    <a:pt x="8206" y="14958"/>
                    <a:pt x="8335" y="14964"/>
                  </a:cubicBezTo>
                  <a:cubicBezTo>
                    <a:pt x="8467" y="14970"/>
                    <a:pt x="8816" y="14899"/>
                    <a:pt x="9121" y="14812"/>
                  </a:cubicBezTo>
                  <a:cubicBezTo>
                    <a:pt x="9388" y="14723"/>
                    <a:pt x="9758" y="14609"/>
                    <a:pt x="9758" y="14556"/>
                  </a:cubicBezTo>
                  <a:cubicBezTo>
                    <a:pt x="9849" y="14504"/>
                    <a:pt x="9881" y="14477"/>
                    <a:pt x="9960" y="14494"/>
                  </a:cubicBezTo>
                  <a:cubicBezTo>
                    <a:pt x="10010" y="14514"/>
                    <a:pt x="10151" y="14529"/>
                    <a:pt x="10245" y="14526"/>
                  </a:cubicBezTo>
                  <a:cubicBezTo>
                    <a:pt x="10339" y="14522"/>
                    <a:pt x="10538" y="14487"/>
                    <a:pt x="10708" y="14447"/>
                  </a:cubicBezTo>
                  <a:cubicBezTo>
                    <a:pt x="10840" y="14404"/>
                    <a:pt x="10881" y="14365"/>
                    <a:pt x="10808" y="14350"/>
                  </a:cubicBezTo>
                  <a:cubicBezTo>
                    <a:pt x="10702" y="14338"/>
                    <a:pt x="10652" y="14311"/>
                    <a:pt x="10652" y="14291"/>
                  </a:cubicBezTo>
                  <a:cubicBezTo>
                    <a:pt x="10652" y="14270"/>
                    <a:pt x="10664" y="14215"/>
                    <a:pt x="10617" y="14168"/>
                  </a:cubicBezTo>
                  <a:cubicBezTo>
                    <a:pt x="10570" y="14121"/>
                    <a:pt x="10591" y="14084"/>
                    <a:pt x="10632" y="14081"/>
                  </a:cubicBezTo>
                  <a:cubicBezTo>
                    <a:pt x="10679" y="14081"/>
                    <a:pt x="10787" y="14114"/>
                    <a:pt x="10828" y="14156"/>
                  </a:cubicBezTo>
                  <a:cubicBezTo>
                    <a:pt x="10872" y="14198"/>
                    <a:pt x="11031" y="14238"/>
                    <a:pt x="11136" y="14245"/>
                  </a:cubicBezTo>
                  <a:cubicBezTo>
                    <a:pt x="11245" y="14252"/>
                    <a:pt x="11495" y="14204"/>
                    <a:pt x="11673" y="14136"/>
                  </a:cubicBezTo>
                  <a:cubicBezTo>
                    <a:pt x="11858" y="14069"/>
                    <a:pt x="11987" y="13985"/>
                    <a:pt x="11987" y="13949"/>
                  </a:cubicBezTo>
                  <a:cubicBezTo>
                    <a:pt x="11946" y="13913"/>
                    <a:pt x="11993" y="13857"/>
                    <a:pt x="12084" y="13828"/>
                  </a:cubicBezTo>
                  <a:cubicBezTo>
                    <a:pt x="12137" y="13797"/>
                    <a:pt x="12222" y="13722"/>
                    <a:pt x="12263" y="13660"/>
                  </a:cubicBezTo>
                  <a:cubicBezTo>
                    <a:pt x="12307" y="13599"/>
                    <a:pt x="12251" y="13529"/>
                    <a:pt x="12198" y="13505"/>
                  </a:cubicBezTo>
                  <a:cubicBezTo>
                    <a:pt x="12154" y="13480"/>
                    <a:pt x="12113" y="13433"/>
                    <a:pt x="12113" y="13399"/>
                  </a:cubicBezTo>
                  <a:cubicBezTo>
                    <a:pt x="12113" y="13365"/>
                    <a:pt x="12201" y="13320"/>
                    <a:pt x="12201" y="13299"/>
                  </a:cubicBezTo>
                  <a:cubicBezTo>
                    <a:pt x="12201" y="13278"/>
                    <a:pt x="12225" y="13229"/>
                    <a:pt x="12137" y="13192"/>
                  </a:cubicBezTo>
                  <a:cubicBezTo>
                    <a:pt x="12093" y="13155"/>
                    <a:pt x="12128" y="13148"/>
                    <a:pt x="12219" y="13179"/>
                  </a:cubicBezTo>
                  <a:cubicBezTo>
                    <a:pt x="12319" y="13210"/>
                    <a:pt x="12448" y="13262"/>
                    <a:pt x="12404" y="13295"/>
                  </a:cubicBezTo>
                  <a:cubicBezTo>
                    <a:pt x="12404" y="13330"/>
                    <a:pt x="12442" y="13360"/>
                    <a:pt x="12504" y="13360"/>
                  </a:cubicBezTo>
                  <a:cubicBezTo>
                    <a:pt x="12559" y="13364"/>
                    <a:pt x="12650" y="13388"/>
                    <a:pt x="12650" y="13419"/>
                  </a:cubicBezTo>
                  <a:cubicBezTo>
                    <a:pt x="12694" y="13450"/>
                    <a:pt x="12768" y="13569"/>
                    <a:pt x="12853" y="13683"/>
                  </a:cubicBezTo>
                  <a:cubicBezTo>
                    <a:pt x="12982" y="13796"/>
                    <a:pt x="13061" y="13914"/>
                    <a:pt x="13105" y="13945"/>
                  </a:cubicBezTo>
                  <a:cubicBezTo>
                    <a:pt x="13149" y="13976"/>
                    <a:pt x="13163" y="14060"/>
                    <a:pt x="13208" y="14131"/>
                  </a:cubicBezTo>
                  <a:cubicBezTo>
                    <a:pt x="13208" y="14203"/>
                    <a:pt x="13322" y="14259"/>
                    <a:pt x="13433" y="14259"/>
                  </a:cubicBezTo>
                  <a:cubicBezTo>
                    <a:pt x="13542" y="14255"/>
                    <a:pt x="13712" y="14241"/>
                    <a:pt x="13800" y="14222"/>
                  </a:cubicBezTo>
                  <a:cubicBezTo>
                    <a:pt x="13897" y="14206"/>
                    <a:pt x="13979" y="14159"/>
                    <a:pt x="14064" y="14124"/>
                  </a:cubicBezTo>
                  <a:cubicBezTo>
                    <a:pt x="14108" y="14087"/>
                    <a:pt x="14135" y="14084"/>
                    <a:pt x="14135" y="14118"/>
                  </a:cubicBezTo>
                  <a:cubicBezTo>
                    <a:pt x="14091" y="14152"/>
                    <a:pt x="14032" y="14202"/>
                    <a:pt x="14032" y="14231"/>
                  </a:cubicBezTo>
                  <a:cubicBezTo>
                    <a:pt x="13950" y="14257"/>
                    <a:pt x="13964" y="14338"/>
                    <a:pt x="14055" y="14406"/>
                  </a:cubicBezTo>
                  <a:cubicBezTo>
                    <a:pt x="14099" y="14475"/>
                    <a:pt x="14135" y="14560"/>
                    <a:pt x="14135" y="14596"/>
                  </a:cubicBezTo>
                  <a:cubicBezTo>
                    <a:pt x="14135" y="14632"/>
                    <a:pt x="14094" y="14673"/>
                    <a:pt x="14023" y="14680"/>
                  </a:cubicBezTo>
                  <a:cubicBezTo>
                    <a:pt x="13970" y="14690"/>
                    <a:pt x="13938" y="14744"/>
                    <a:pt x="13938" y="14800"/>
                  </a:cubicBezTo>
                  <a:cubicBezTo>
                    <a:pt x="13897" y="14856"/>
                    <a:pt x="13985" y="14922"/>
                    <a:pt x="14073" y="14944"/>
                  </a:cubicBezTo>
                  <a:cubicBezTo>
                    <a:pt x="14123" y="14968"/>
                    <a:pt x="14243" y="15166"/>
                    <a:pt x="14152" y="15386"/>
                  </a:cubicBezTo>
                  <a:cubicBezTo>
                    <a:pt x="14152" y="15605"/>
                    <a:pt x="14137" y="15786"/>
                    <a:pt x="14179" y="15787"/>
                  </a:cubicBezTo>
                  <a:cubicBezTo>
                    <a:pt x="14217" y="15790"/>
                    <a:pt x="14278" y="15874"/>
                    <a:pt x="14193" y="15977"/>
                  </a:cubicBezTo>
                  <a:cubicBezTo>
                    <a:pt x="14149" y="16080"/>
                    <a:pt x="14249" y="16196"/>
                    <a:pt x="14381" y="16236"/>
                  </a:cubicBezTo>
                  <a:cubicBezTo>
                    <a:pt x="14545" y="16272"/>
                    <a:pt x="14613" y="16326"/>
                    <a:pt x="14531" y="16349"/>
                  </a:cubicBezTo>
                  <a:cubicBezTo>
                    <a:pt x="14531" y="16374"/>
                    <a:pt x="14401" y="16442"/>
                    <a:pt x="14401" y="16502"/>
                  </a:cubicBezTo>
                  <a:cubicBezTo>
                    <a:pt x="14401" y="16562"/>
                    <a:pt x="14407" y="16652"/>
                    <a:pt x="14495" y="16701"/>
                  </a:cubicBezTo>
                  <a:cubicBezTo>
                    <a:pt x="14589" y="16750"/>
                    <a:pt x="14545" y="16897"/>
                    <a:pt x="14501" y="17028"/>
                  </a:cubicBezTo>
                  <a:cubicBezTo>
                    <a:pt x="14416" y="17157"/>
                    <a:pt x="14396" y="17307"/>
                    <a:pt x="14440" y="17359"/>
                  </a:cubicBezTo>
                  <a:cubicBezTo>
                    <a:pt x="14484" y="17411"/>
                    <a:pt x="14449" y="17496"/>
                    <a:pt x="14449" y="17547"/>
                  </a:cubicBezTo>
                  <a:cubicBezTo>
                    <a:pt x="14449" y="17599"/>
                    <a:pt x="14475" y="17631"/>
                    <a:pt x="14475" y="17615"/>
                  </a:cubicBezTo>
                  <a:cubicBezTo>
                    <a:pt x="14525" y="17601"/>
                    <a:pt x="14627" y="17511"/>
                    <a:pt x="14671" y="17416"/>
                  </a:cubicBezTo>
                  <a:cubicBezTo>
                    <a:pt x="14715" y="17321"/>
                    <a:pt x="14850" y="17300"/>
                    <a:pt x="14894" y="17370"/>
                  </a:cubicBezTo>
                  <a:cubicBezTo>
                    <a:pt x="14938" y="17439"/>
                    <a:pt x="14994" y="17546"/>
                    <a:pt x="14994" y="17607"/>
                  </a:cubicBezTo>
                  <a:cubicBezTo>
                    <a:pt x="14994" y="17669"/>
                    <a:pt x="15064" y="17746"/>
                    <a:pt x="15109" y="17780"/>
                  </a:cubicBezTo>
                  <a:cubicBezTo>
                    <a:pt x="15202" y="17811"/>
                    <a:pt x="15191" y="17986"/>
                    <a:pt x="15147" y="18166"/>
                  </a:cubicBezTo>
                  <a:cubicBezTo>
                    <a:pt x="15059" y="18344"/>
                    <a:pt x="15106" y="18507"/>
                    <a:pt x="15150" y="18528"/>
                  </a:cubicBezTo>
                  <a:cubicBezTo>
                    <a:pt x="15191" y="18550"/>
                    <a:pt x="15255" y="18608"/>
                    <a:pt x="15255" y="18660"/>
                  </a:cubicBezTo>
                  <a:cubicBezTo>
                    <a:pt x="15255" y="18712"/>
                    <a:pt x="15252" y="18781"/>
                    <a:pt x="15170" y="18810"/>
                  </a:cubicBezTo>
                  <a:cubicBezTo>
                    <a:pt x="15085" y="18839"/>
                    <a:pt x="15091" y="18928"/>
                    <a:pt x="15006" y="19002"/>
                  </a:cubicBezTo>
                  <a:cubicBezTo>
                    <a:pt x="15006" y="19078"/>
                    <a:pt x="14962" y="19173"/>
                    <a:pt x="15006" y="19212"/>
                  </a:cubicBezTo>
                  <a:cubicBezTo>
                    <a:pt x="15053" y="19253"/>
                    <a:pt x="15097" y="19322"/>
                    <a:pt x="15188" y="19365"/>
                  </a:cubicBezTo>
                  <a:cubicBezTo>
                    <a:pt x="15276" y="19409"/>
                    <a:pt x="15214" y="19472"/>
                    <a:pt x="15123" y="19507"/>
                  </a:cubicBezTo>
                  <a:cubicBezTo>
                    <a:pt x="15032" y="19542"/>
                    <a:pt x="14962" y="19633"/>
                    <a:pt x="14962" y="19711"/>
                  </a:cubicBezTo>
                  <a:cubicBezTo>
                    <a:pt x="14962" y="19789"/>
                    <a:pt x="14935" y="19882"/>
                    <a:pt x="14888" y="19918"/>
                  </a:cubicBezTo>
                  <a:cubicBezTo>
                    <a:pt x="14803" y="19952"/>
                    <a:pt x="14783" y="19993"/>
                    <a:pt x="14715" y="20002"/>
                  </a:cubicBezTo>
                  <a:cubicBezTo>
                    <a:pt x="14715" y="20014"/>
                    <a:pt x="14563" y="20085"/>
                    <a:pt x="14519" y="20163"/>
                  </a:cubicBezTo>
                  <a:cubicBezTo>
                    <a:pt x="14431" y="20241"/>
                    <a:pt x="14449" y="20316"/>
                    <a:pt x="14449" y="20333"/>
                  </a:cubicBezTo>
                  <a:cubicBezTo>
                    <a:pt x="14499" y="20347"/>
                    <a:pt x="14446" y="20399"/>
                    <a:pt x="14446" y="20447"/>
                  </a:cubicBezTo>
                  <a:cubicBezTo>
                    <a:pt x="14358" y="20493"/>
                    <a:pt x="14366" y="20586"/>
                    <a:pt x="14196" y="20645"/>
                  </a:cubicBezTo>
                  <a:cubicBezTo>
                    <a:pt x="14111" y="20707"/>
                    <a:pt x="13897" y="20773"/>
                    <a:pt x="13897" y="20795"/>
                  </a:cubicBezTo>
                  <a:cubicBezTo>
                    <a:pt x="13812" y="20815"/>
                    <a:pt x="13765" y="20828"/>
                    <a:pt x="13718" y="20822"/>
                  </a:cubicBezTo>
                  <a:cubicBezTo>
                    <a:pt x="13656" y="20818"/>
                    <a:pt x="13621" y="20832"/>
                    <a:pt x="13621" y="20861"/>
                  </a:cubicBezTo>
                  <a:cubicBezTo>
                    <a:pt x="13621" y="20889"/>
                    <a:pt x="13633" y="20941"/>
                    <a:pt x="13633" y="20974"/>
                  </a:cubicBezTo>
                  <a:cubicBezTo>
                    <a:pt x="13633" y="21008"/>
                    <a:pt x="13624" y="21104"/>
                    <a:pt x="13580" y="21188"/>
                  </a:cubicBezTo>
                  <a:cubicBezTo>
                    <a:pt x="13536" y="21272"/>
                    <a:pt x="13495" y="21412"/>
                    <a:pt x="13495" y="21501"/>
                  </a:cubicBezTo>
                  <a:cubicBezTo>
                    <a:pt x="13495" y="21590"/>
                    <a:pt x="13536" y="21590"/>
                    <a:pt x="13624" y="21503"/>
                  </a:cubicBezTo>
                  <a:cubicBezTo>
                    <a:pt x="13668" y="21417"/>
                    <a:pt x="13832" y="21295"/>
                    <a:pt x="13918" y="21233"/>
                  </a:cubicBezTo>
                  <a:cubicBezTo>
                    <a:pt x="13999" y="21171"/>
                    <a:pt x="14070" y="21128"/>
                    <a:pt x="14070" y="21139"/>
                  </a:cubicBezTo>
                  <a:cubicBezTo>
                    <a:pt x="14032" y="21147"/>
                    <a:pt x="14117" y="21120"/>
                    <a:pt x="14161" y="21075"/>
                  </a:cubicBezTo>
                  <a:cubicBezTo>
                    <a:pt x="14202" y="21029"/>
                    <a:pt x="14378" y="20953"/>
                    <a:pt x="14422" y="20904"/>
                  </a:cubicBezTo>
                  <a:cubicBezTo>
                    <a:pt x="14513" y="20855"/>
                    <a:pt x="14601" y="20754"/>
                    <a:pt x="14689" y="20680"/>
                  </a:cubicBezTo>
                  <a:close/>
                  <a:moveTo>
                    <a:pt x="14689" y="206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5" name="AutoShape 454"/>
            <p:cNvSpPr>
              <a:spLocks/>
            </p:cNvSpPr>
            <p:nvPr/>
          </p:nvSpPr>
          <p:spPr bwMode="auto">
            <a:xfrm>
              <a:off x="10439400" y="4457700"/>
              <a:ext cx="0" cy="9525"/>
            </a:xfrm>
            <a:custGeom>
              <a:avLst/>
              <a:gdLst/>
              <a:ahLst/>
              <a:cxnLst/>
              <a:rect l="0" t="0" r="r" b="b"/>
              <a:pathLst>
                <a:path w="21600" h="21600">
                  <a:moveTo>
                    <a:pt x="21600" y="2691"/>
                  </a:moveTo>
                  <a:cubicBezTo>
                    <a:pt x="21600" y="1767"/>
                    <a:pt x="21600" y="882"/>
                    <a:pt x="21167" y="0"/>
                  </a:cubicBezTo>
                  <a:cubicBezTo>
                    <a:pt x="20379" y="7250"/>
                    <a:pt x="11016" y="16648"/>
                    <a:pt x="0" y="21600"/>
                  </a:cubicBezTo>
                  <a:cubicBezTo>
                    <a:pt x="11830" y="16311"/>
                    <a:pt x="21600" y="7825"/>
                    <a:pt x="21600" y="2691"/>
                  </a:cubicBezTo>
                  <a:close/>
                  <a:moveTo>
                    <a:pt x="21600" y="26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6" name="AutoShape 455"/>
            <p:cNvSpPr>
              <a:spLocks/>
            </p:cNvSpPr>
            <p:nvPr/>
          </p:nvSpPr>
          <p:spPr bwMode="auto">
            <a:xfrm>
              <a:off x="10515600" y="4457700"/>
              <a:ext cx="0" cy="1588"/>
            </a:xfrm>
            <a:custGeom>
              <a:avLst/>
              <a:gdLst/>
              <a:ahLst/>
              <a:cxnLst/>
              <a:rect l="0" t="0" r="r" b="b"/>
              <a:pathLst>
                <a:path w="21600" h="21600">
                  <a:moveTo>
                    <a:pt x="21600" y="0"/>
                  </a:moveTo>
                  <a:cubicBezTo>
                    <a:pt x="13779" y="9023"/>
                    <a:pt x="5970" y="17566"/>
                    <a:pt x="0" y="21600"/>
                  </a:cubicBezTo>
                  <a:cubicBezTo>
                    <a:pt x="5028" y="18153"/>
                    <a:pt x="13419" y="9979"/>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7" name="AutoShape 456"/>
            <p:cNvSpPr>
              <a:spLocks/>
            </p:cNvSpPr>
            <p:nvPr/>
          </p:nvSpPr>
          <p:spPr bwMode="auto">
            <a:xfrm>
              <a:off x="10515600" y="4483100"/>
              <a:ext cx="0" cy="3175"/>
            </a:xfrm>
            <a:custGeom>
              <a:avLst/>
              <a:gdLst/>
              <a:ahLst/>
              <a:cxnLst/>
              <a:rect l="0" t="0" r="r" b="b"/>
              <a:pathLst>
                <a:path w="21600" h="21600">
                  <a:moveTo>
                    <a:pt x="0" y="21199"/>
                  </a:moveTo>
                  <a:cubicBezTo>
                    <a:pt x="477" y="21199"/>
                    <a:pt x="477" y="21600"/>
                    <a:pt x="0" y="21600"/>
                  </a:cubicBezTo>
                  <a:cubicBezTo>
                    <a:pt x="7852" y="9730"/>
                    <a:pt x="16260" y="0"/>
                    <a:pt x="21600" y="0"/>
                  </a:cubicBezTo>
                  <a:cubicBezTo>
                    <a:pt x="16005" y="0"/>
                    <a:pt x="0" y="9451"/>
                    <a:pt x="0" y="21199"/>
                  </a:cubicBezTo>
                  <a:close/>
                  <a:moveTo>
                    <a:pt x="0" y="211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8" name="AutoShape 457"/>
            <p:cNvSpPr>
              <a:spLocks/>
            </p:cNvSpPr>
            <p:nvPr/>
          </p:nvSpPr>
          <p:spPr bwMode="auto">
            <a:xfrm>
              <a:off x="10388600" y="4457700"/>
              <a:ext cx="0" cy="3175"/>
            </a:xfrm>
            <a:custGeom>
              <a:avLst/>
              <a:gdLst/>
              <a:ahLst/>
              <a:cxnLst/>
              <a:rect l="0" t="0" r="r" b="b"/>
              <a:pathLst>
                <a:path w="16352" h="17451">
                  <a:moveTo>
                    <a:pt x="12000" y="16469"/>
                  </a:moveTo>
                  <a:cubicBezTo>
                    <a:pt x="21600" y="13636"/>
                    <a:pt x="12321" y="7122"/>
                    <a:pt x="12321" y="2266"/>
                  </a:cubicBezTo>
                  <a:cubicBezTo>
                    <a:pt x="2379" y="-2247"/>
                    <a:pt x="0" y="153"/>
                    <a:pt x="0" y="7923"/>
                  </a:cubicBezTo>
                  <a:cubicBezTo>
                    <a:pt x="0" y="15696"/>
                    <a:pt x="2036" y="19353"/>
                    <a:pt x="12000" y="16469"/>
                  </a:cubicBezTo>
                  <a:close/>
                  <a:moveTo>
                    <a:pt x="12000" y="164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59" name="AutoShape 458"/>
            <p:cNvSpPr>
              <a:spLocks/>
            </p:cNvSpPr>
            <p:nvPr/>
          </p:nvSpPr>
          <p:spPr bwMode="auto">
            <a:xfrm>
              <a:off x="10388600" y="4457700"/>
              <a:ext cx="0" cy="6350"/>
            </a:xfrm>
            <a:custGeom>
              <a:avLst/>
              <a:gdLst/>
              <a:ahLst/>
              <a:cxnLst/>
              <a:rect l="0" t="0" r="r" b="b"/>
              <a:pathLst>
                <a:path w="18770" h="19608">
                  <a:moveTo>
                    <a:pt x="17412" y="15208"/>
                  </a:moveTo>
                  <a:cubicBezTo>
                    <a:pt x="19915" y="11702"/>
                    <a:pt x="18194" y="6309"/>
                    <a:pt x="18194" y="3242"/>
                  </a:cubicBezTo>
                  <a:cubicBezTo>
                    <a:pt x="18194" y="178"/>
                    <a:pt x="11936" y="-979"/>
                    <a:pt x="7399" y="931"/>
                  </a:cubicBezTo>
                  <a:cubicBezTo>
                    <a:pt x="2549" y="2877"/>
                    <a:pt x="-1685" y="7022"/>
                    <a:pt x="672" y="10327"/>
                  </a:cubicBezTo>
                  <a:cubicBezTo>
                    <a:pt x="3009" y="13668"/>
                    <a:pt x="5522" y="17760"/>
                    <a:pt x="9736" y="19027"/>
                  </a:cubicBezTo>
                  <a:cubicBezTo>
                    <a:pt x="12092" y="20621"/>
                    <a:pt x="15221" y="18805"/>
                    <a:pt x="17412" y="15208"/>
                  </a:cubicBezTo>
                  <a:close/>
                  <a:moveTo>
                    <a:pt x="17412" y="152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0" name="AutoShape 459"/>
            <p:cNvSpPr>
              <a:spLocks/>
            </p:cNvSpPr>
            <p:nvPr/>
          </p:nvSpPr>
          <p:spPr bwMode="auto">
            <a:xfrm>
              <a:off x="10375900" y="4457700"/>
              <a:ext cx="1588" cy="11113"/>
            </a:xfrm>
            <a:custGeom>
              <a:avLst/>
              <a:gdLst/>
              <a:ahLst/>
              <a:cxnLst/>
              <a:rect l="0" t="0" r="r" b="b"/>
              <a:pathLst>
                <a:path w="20260" h="20067">
                  <a:moveTo>
                    <a:pt x="5595" y="19893"/>
                  </a:moveTo>
                  <a:cubicBezTo>
                    <a:pt x="8458" y="19269"/>
                    <a:pt x="13655" y="15372"/>
                    <a:pt x="17558" y="11244"/>
                  </a:cubicBezTo>
                  <a:cubicBezTo>
                    <a:pt x="21600" y="7116"/>
                    <a:pt x="19908" y="2365"/>
                    <a:pt x="19908" y="537"/>
                  </a:cubicBezTo>
                  <a:cubicBezTo>
                    <a:pt x="16265" y="-1149"/>
                    <a:pt x="11320" y="1259"/>
                    <a:pt x="7417" y="6022"/>
                  </a:cubicBezTo>
                  <a:cubicBezTo>
                    <a:pt x="3513" y="10807"/>
                    <a:pt x="0" y="16116"/>
                    <a:pt x="0" y="17868"/>
                  </a:cubicBezTo>
                  <a:cubicBezTo>
                    <a:pt x="0" y="19641"/>
                    <a:pt x="2212" y="20451"/>
                    <a:pt x="5595" y="19893"/>
                  </a:cubicBezTo>
                  <a:close/>
                  <a:moveTo>
                    <a:pt x="5595" y="1989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1" name="AutoShape 460"/>
            <p:cNvSpPr>
              <a:spLocks/>
            </p:cNvSpPr>
            <p:nvPr/>
          </p:nvSpPr>
          <p:spPr bwMode="auto">
            <a:xfrm>
              <a:off x="10388600" y="4457700"/>
              <a:ext cx="0" cy="6350"/>
            </a:xfrm>
            <a:custGeom>
              <a:avLst/>
              <a:gdLst/>
              <a:ahLst/>
              <a:cxnLst/>
              <a:rect l="0" t="0" r="r" b="b"/>
              <a:pathLst>
                <a:path w="18310" h="18969">
                  <a:moveTo>
                    <a:pt x="11035" y="18226"/>
                  </a:moveTo>
                  <a:cubicBezTo>
                    <a:pt x="15719" y="20205"/>
                    <a:pt x="19941" y="18094"/>
                    <a:pt x="17684" y="13527"/>
                  </a:cubicBezTo>
                  <a:cubicBezTo>
                    <a:pt x="17684" y="8960"/>
                    <a:pt x="12083" y="3270"/>
                    <a:pt x="7408" y="970"/>
                  </a:cubicBezTo>
                  <a:cubicBezTo>
                    <a:pt x="2874" y="-1395"/>
                    <a:pt x="-1659" y="715"/>
                    <a:pt x="598" y="5652"/>
                  </a:cubicBezTo>
                  <a:cubicBezTo>
                    <a:pt x="2874" y="10557"/>
                    <a:pt x="6803" y="16194"/>
                    <a:pt x="11035" y="18226"/>
                  </a:cubicBezTo>
                  <a:close/>
                  <a:moveTo>
                    <a:pt x="11035" y="182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2" name="AutoShape 461"/>
            <p:cNvSpPr>
              <a:spLocks/>
            </p:cNvSpPr>
            <p:nvPr/>
          </p:nvSpPr>
          <p:spPr bwMode="auto">
            <a:xfrm>
              <a:off x="10020300" y="3962400"/>
              <a:ext cx="450850" cy="1044575"/>
            </a:xfrm>
            <a:custGeom>
              <a:avLst/>
              <a:gdLst/>
              <a:ahLst/>
              <a:cxnLst/>
              <a:rect l="0" t="0" r="r" b="b"/>
              <a:pathLst>
                <a:path w="21600" h="21593">
                  <a:moveTo>
                    <a:pt x="17682" y="9616"/>
                  </a:moveTo>
                  <a:cubicBezTo>
                    <a:pt x="17682" y="9561"/>
                    <a:pt x="17641" y="9449"/>
                    <a:pt x="17588" y="9366"/>
                  </a:cubicBezTo>
                  <a:cubicBezTo>
                    <a:pt x="17535" y="9284"/>
                    <a:pt x="17485" y="9165"/>
                    <a:pt x="17476" y="9102"/>
                  </a:cubicBezTo>
                  <a:cubicBezTo>
                    <a:pt x="17459" y="9040"/>
                    <a:pt x="17469" y="8959"/>
                    <a:pt x="17469" y="8922"/>
                  </a:cubicBezTo>
                  <a:cubicBezTo>
                    <a:pt x="17477" y="8886"/>
                    <a:pt x="17465" y="8814"/>
                    <a:pt x="17447" y="8763"/>
                  </a:cubicBezTo>
                  <a:cubicBezTo>
                    <a:pt x="17420" y="8712"/>
                    <a:pt x="17420" y="8614"/>
                    <a:pt x="17411" y="8547"/>
                  </a:cubicBezTo>
                  <a:cubicBezTo>
                    <a:pt x="17420" y="8481"/>
                    <a:pt x="17360" y="8375"/>
                    <a:pt x="17325" y="8311"/>
                  </a:cubicBezTo>
                  <a:cubicBezTo>
                    <a:pt x="17272" y="8248"/>
                    <a:pt x="17200" y="8179"/>
                    <a:pt x="17156" y="8156"/>
                  </a:cubicBezTo>
                  <a:cubicBezTo>
                    <a:pt x="17111" y="8135"/>
                    <a:pt x="17047" y="8071"/>
                    <a:pt x="16994" y="8018"/>
                  </a:cubicBezTo>
                  <a:cubicBezTo>
                    <a:pt x="16959" y="7962"/>
                    <a:pt x="16914" y="7852"/>
                    <a:pt x="16914" y="7772"/>
                  </a:cubicBezTo>
                  <a:cubicBezTo>
                    <a:pt x="16895" y="7692"/>
                    <a:pt x="16937" y="7619"/>
                    <a:pt x="16970" y="7611"/>
                  </a:cubicBezTo>
                  <a:cubicBezTo>
                    <a:pt x="16997" y="7599"/>
                    <a:pt x="17037" y="7552"/>
                    <a:pt x="17054" y="7498"/>
                  </a:cubicBezTo>
                  <a:cubicBezTo>
                    <a:pt x="17072" y="7445"/>
                    <a:pt x="17103" y="7389"/>
                    <a:pt x="17122" y="7371"/>
                  </a:cubicBezTo>
                  <a:cubicBezTo>
                    <a:pt x="17145" y="7353"/>
                    <a:pt x="17181" y="7349"/>
                    <a:pt x="17207" y="7357"/>
                  </a:cubicBezTo>
                  <a:cubicBezTo>
                    <a:pt x="17234" y="7364"/>
                    <a:pt x="17270" y="7358"/>
                    <a:pt x="17288" y="7338"/>
                  </a:cubicBezTo>
                  <a:cubicBezTo>
                    <a:pt x="17312" y="7318"/>
                    <a:pt x="17313" y="7259"/>
                    <a:pt x="17304" y="7206"/>
                  </a:cubicBezTo>
                  <a:cubicBezTo>
                    <a:pt x="17295" y="7153"/>
                    <a:pt x="17282" y="7090"/>
                    <a:pt x="17291" y="7065"/>
                  </a:cubicBezTo>
                  <a:cubicBezTo>
                    <a:pt x="17299" y="7041"/>
                    <a:pt x="17264" y="7015"/>
                    <a:pt x="17218" y="7010"/>
                  </a:cubicBezTo>
                  <a:cubicBezTo>
                    <a:pt x="17172" y="7004"/>
                    <a:pt x="17109" y="7011"/>
                    <a:pt x="17077" y="7025"/>
                  </a:cubicBezTo>
                  <a:cubicBezTo>
                    <a:pt x="17045" y="7038"/>
                    <a:pt x="16946" y="7022"/>
                    <a:pt x="16863" y="6984"/>
                  </a:cubicBezTo>
                  <a:cubicBezTo>
                    <a:pt x="16775" y="6948"/>
                    <a:pt x="16719" y="6879"/>
                    <a:pt x="16709" y="6831"/>
                  </a:cubicBezTo>
                  <a:cubicBezTo>
                    <a:pt x="16709" y="6805"/>
                    <a:pt x="16724" y="6771"/>
                    <a:pt x="16733" y="6738"/>
                  </a:cubicBezTo>
                  <a:cubicBezTo>
                    <a:pt x="16750" y="6711"/>
                    <a:pt x="16755" y="6683"/>
                    <a:pt x="16773" y="6663"/>
                  </a:cubicBezTo>
                  <a:cubicBezTo>
                    <a:pt x="16799" y="6618"/>
                    <a:pt x="16845" y="6540"/>
                    <a:pt x="16854" y="6488"/>
                  </a:cubicBezTo>
                  <a:cubicBezTo>
                    <a:pt x="16863" y="6435"/>
                    <a:pt x="16860" y="6378"/>
                    <a:pt x="16843" y="6360"/>
                  </a:cubicBezTo>
                  <a:cubicBezTo>
                    <a:pt x="16827" y="6341"/>
                    <a:pt x="16801" y="6304"/>
                    <a:pt x="16801" y="6276"/>
                  </a:cubicBezTo>
                  <a:cubicBezTo>
                    <a:pt x="16801" y="6248"/>
                    <a:pt x="16808" y="6226"/>
                    <a:pt x="16823" y="6224"/>
                  </a:cubicBezTo>
                  <a:cubicBezTo>
                    <a:pt x="16837" y="6221"/>
                    <a:pt x="16857" y="6199"/>
                    <a:pt x="16866" y="6170"/>
                  </a:cubicBezTo>
                  <a:cubicBezTo>
                    <a:pt x="16866" y="6141"/>
                    <a:pt x="16893" y="6137"/>
                    <a:pt x="16910" y="6161"/>
                  </a:cubicBezTo>
                  <a:cubicBezTo>
                    <a:pt x="16927" y="6185"/>
                    <a:pt x="16961" y="6232"/>
                    <a:pt x="16988" y="6265"/>
                  </a:cubicBezTo>
                  <a:cubicBezTo>
                    <a:pt x="17007" y="6299"/>
                    <a:pt x="17028" y="6343"/>
                    <a:pt x="17038" y="6364"/>
                  </a:cubicBezTo>
                  <a:cubicBezTo>
                    <a:pt x="17038" y="6386"/>
                    <a:pt x="17071" y="6433"/>
                    <a:pt x="17089" y="6472"/>
                  </a:cubicBezTo>
                  <a:cubicBezTo>
                    <a:pt x="17123" y="6508"/>
                    <a:pt x="17170" y="6548"/>
                    <a:pt x="17209" y="6553"/>
                  </a:cubicBezTo>
                  <a:cubicBezTo>
                    <a:pt x="17247" y="6559"/>
                    <a:pt x="17291" y="6557"/>
                    <a:pt x="17308" y="6548"/>
                  </a:cubicBezTo>
                  <a:cubicBezTo>
                    <a:pt x="17318" y="6537"/>
                    <a:pt x="17321" y="6515"/>
                    <a:pt x="17291" y="6497"/>
                  </a:cubicBezTo>
                  <a:cubicBezTo>
                    <a:pt x="17272" y="6477"/>
                    <a:pt x="17254" y="6445"/>
                    <a:pt x="17254" y="6422"/>
                  </a:cubicBezTo>
                  <a:cubicBezTo>
                    <a:pt x="17269" y="6400"/>
                    <a:pt x="17276" y="6382"/>
                    <a:pt x="17292" y="6384"/>
                  </a:cubicBezTo>
                  <a:cubicBezTo>
                    <a:pt x="17304" y="6389"/>
                    <a:pt x="17350" y="6407"/>
                    <a:pt x="17369" y="6434"/>
                  </a:cubicBezTo>
                  <a:cubicBezTo>
                    <a:pt x="17404" y="6458"/>
                    <a:pt x="17444" y="6497"/>
                    <a:pt x="17453" y="6519"/>
                  </a:cubicBezTo>
                  <a:cubicBezTo>
                    <a:pt x="17472" y="6540"/>
                    <a:pt x="17515" y="6569"/>
                    <a:pt x="17552" y="6583"/>
                  </a:cubicBezTo>
                  <a:cubicBezTo>
                    <a:pt x="17585" y="6597"/>
                    <a:pt x="17610" y="6596"/>
                    <a:pt x="17618" y="6582"/>
                  </a:cubicBezTo>
                  <a:cubicBezTo>
                    <a:pt x="17618" y="6568"/>
                    <a:pt x="17634" y="6553"/>
                    <a:pt x="17652" y="6549"/>
                  </a:cubicBezTo>
                  <a:cubicBezTo>
                    <a:pt x="17666" y="6543"/>
                    <a:pt x="17697" y="6584"/>
                    <a:pt x="17732" y="6634"/>
                  </a:cubicBezTo>
                  <a:cubicBezTo>
                    <a:pt x="17750" y="6685"/>
                    <a:pt x="17783" y="6765"/>
                    <a:pt x="17801" y="6812"/>
                  </a:cubicBezTo>
                  <a:cubicBezTo>
                    <a:pt x="17809" y="6836"/>
                    <a:pt x="17800" y="6864"/>
                    <a:pt x="17818" y="6886"/>
                  </a:cubicBezTo>
                  <a:cubicBezTo>
                    <a:pt x="17818" y="6911"/>
                    <a:pt x="17823" y="6932"/>
                    <a:pt x="17831" y="6944"/>
                  </a:cubicBezTo>
                  <a:cubicBezTo>
                    <a:pt x="17841" y="6969"/>
                    <a:pt x="17855" y="7025"/>
                    <a:pt x="17873" y="7069"/>
                  </a:cubicBezTo>
                  <a:cubicBezTo>
                    <a:pt x="17881" y="7114"/>
                    <a:pt x="17903" y="7173"/>
                    <a:pt x="17903" y="7202"/>
                  </a:cubicBezTo>
                  <a:cubicBezTo>
                    <a:pt x="17903" y="7231"/>
                    <a:pt x="17930" y="7267"/>
                    <a:pt x="17963" y="7282"/>
                  </a:cubicBezTo>
                  <a:cubicBezTo>
                    <a:pt x="17990" y="7299"/>
                    <a:pt x="18049" y="7309"/>
                    <a:pt x="18080" y="7306"/>
                  </a:cubicBezTo>
                  <a:cubicBezTo>
                    <a:pt x="18112" y="7304"/>
                    <a:pt x="18169" y="7319"/>
                    <a:pt x="18205" y="7339"/>
                  </a:cubicBezTo>
                  <a:cubicBezTo>
                    <a:pt x="18235" y="7360"/>
                    <a:pt x="18307" y="7375"/>
                    <a:pt x="18350" y="7377"/>
                  </a:cubicBezTo>
                  <a:cubicBezTo>
                    <a:pt x="18394" y="7377"/>
                    <a:pt x="18484" y="7375"/>
                    <a:pt x="18550" y="7372"/>
                  </a:cubicBezTo>
                  <a:cubicBezTo>
                    <a:pt x="18617" y="7370"/>
                    <a:pt x="18715" y="7370"/>
                    <a:pt x="18763" y="7380"/>
                  </a:cubicBezTo>
                  <a:cubicBezTo>
                    <a:pt x="18813" y="7389"/>
                    <a:pt x="18899" y="7394"/>
                    <a:pt x="18954" y="7394"/>
                  </a:cubicBezTo>
                  <a:cubicBezTo>
                    <a:pt x="19009" y="7391"/>
                    <a:pt x="19076" y="7389"/>
                    <a:pt x="19102" y="7387"/>
                  </a:cubicBezTo>
                  <a:cubicBezTo>
                    <a:pt x="19128" y="7385"/>
                    <a:pt x="19155" y="7393"/>
                    <a:pt x="19172" y="7403"/>
                  </a:cubicBezTo>
                  <a:cubicBezTo>
                    <a:pt x="19172" y="7414"/>
                    <a:pt x="19210" y="7417"/>
                    <a:pt x="19227" y="7412"/>
                  </a:cubicBezTo>
                  <a:cubicBezTo>
                    <a:pt x="19247" y="7407"/>
                    <a:pt x="19281" y="7433"/>
                    <a:pt x="19314" y="7469"/>
                  </a:cubicBezTo>
                  <a:cubicBezTo>
                    <a:pt x="19349" y="7504"/>
                    <a:pt x="19379" y="7543"/>
                    <a:pt x="19397" y="7551"/>
                  </a:cubicBezTo>
                  <a:cubicBezTo>
                    <a:pt x="19416" y="7559"/>
                    <a:pt x="19409" y="7600"/>
                    <a:pt x="19400" y="7642"/>
                  </a:cubicBezTo>
                  <a:cubicBezTo>
                    <a:pt x="19375" y="7681"/>
                    <a:pt x="19375" y="7755"/>
                    <a:pt x="19366" y="7804"/>
                  </a:cubicBezTo>
                  <a:cubicBezTo>
                    <a:pt x="19366" y="7852"/>
                    <a:pt x="19352" y="7945"/>
                    <a:pt x="19327" y="8010"/>
                  </a:cubicBezTo>
                  <a:cubicBezTo>
                    <a:pt x="19309" y="8075"/>
                    <a:pt x="19276" y="8138"/>
                    <a:pt x="19258" y="8151"/>
                  </a:cubicBezTo>
                  <a:cubicBezTo>
                    <a:pt x="19239" y="8164"/>
                    <a:pt x="19226" y="8195"/>
                    <a:pt x="19226" y="8221"/>
                  </a:cubicBezTo>
                  <a:cubicBezTo>
                    <a:pt x="19226" y="8247"/>
                    <a:pt x="19224" y="8285"/>
                    <a:pt x="19206" y="8303"/>
                  </a:cubicBezTo>
                  <a:cubicBezTo>
                    <a:pt x="19197" y="8323"/>
                    <a:pt x="19171" y="8333"/>
                    <a:pt x="19150" y="8331"/>
                  </a:cubicBezTo>
                  <a:cubicBezTo>
                    <a:pt x="19133" y="8327"/>
                    <a:pt x="19104" y="8313"/>
                    <a:pt x="19095" y="8298"/>
                  </a:cubicBezTo>
                  <a:cubicBezTo>
                    <a:pt x="19081" y="8283"/>
                    <a:pt x="19052" y="8293"/>
                    <a:pt x="19018" y="8318"/>
                  </a:cubicBezTo>
                  <a:cubicBezTo>
                    <a:pt x="18998" y="8346"/>
                    <a:pt x="18956" y="8386"/>
                    <a:pt x="18956" y="8412"/>
                  </a:cubicBezTo>
                  <a:cubicBezTo>
                    <a:pt x="18946" y="8438"/>
                    <a:pt x="18941" y="8471"/>
                    <a:pt x="18925" y="8484"/>
                  </a:cubicBezTo>
                  <a:cubicBezTo>
                    <a:pt x="18906" y="8496"/>
                    <a:pt x="18894" y="8528"/>
                    <a:pt x="18903" y="8552"/>
                  </a:cubicBezTo>
                  <a:cubicBezTo>
                    <a:pt x="18903" y="8576"/>
                    <a:pt x="18919" y="8639"/>
                    <a:pt x="18937" y="8692"/>
                  </a:cubicBezTo>
                  <a:cubicBezTo>
                    <a:pt x="18946" y="8746"/>
                    <a:pt x="18983" y="8805"/>
                    <a:pt x="19000" y="8823"/>
                  </a:cubicBezTo>
                  <a:cubicBezTo>
                    <a:pt x="19020" y="8842"/>
                    <a:pt x="19035" y="8874"/>
                    <a:pt x="19043" y="8895"/>
                  </a:cubicBezTo>
                  <a:cubicBezTo>
                    <a:pt x="19060" y="8914"/>
                    <a:pt x="19086" y="8955"/>
                    <a:pt x="19104" y="8987"/>
                  </a:cubicBezTo>
                  <a:cubicBezTo>
                    <a:pt x="19135" y="9016"/>
                    <a:pt x="19171" y="9076"/>
                    <a:pt x="19198" y="9117"/>
                  </a:cubicBezTo>
                  <a:cubicBezTo>
                    <a:pt x="19224" y="9158"/>
                    <a:pt x="19258" y="9191"/>
                    <a:pt x="19274" y="9191"/>
                  </a:cubicBezTo>
                  <a:cubicBezTo>
                    <a:pt x="19290" y="9191"/>
                    <a:pt x="19308" y="9164"/>
                    <a:pt x="19308" y="9132"/>
                  </a:cubicBezTo>
                  <a:cubicBezTo>
                    <a:pt x="19308" y="9101"/>
                    <a:pt x="19309" y="9065"/>
                    <a:pt x="19293" y="9057"/>
                  </a:cubicBezTo>
                  <a:cubicBezTo>
                    <a:pt x="19285" y="9046"/>
                    <a:pt x="19286" y="9013"/>
                    <a:pt x="19303" y="8983"/>
                  </a:cubicBezTo>
                  <a:cubicBezTo>
                    <a:pt x="19320" y="8954"/>
                    <a:pt x="19333" y="8912"/>
                    <a:pt x="19333" y="8890"/>
                  </a:cubicBezTo>
                  <a:cubicBezTo>
                    <a:pt x="19333" y="8869"/>
                    <a:pt x="19340" y="8837"/>
                    <a:pt x="19349" y="8819"/>
                  </a:cubicBezTo>
                  <a:cubicBezTo>
                    <a:pt x="19349" y="8801"/>
                    <a:pt x="19346" y="8772"/>
                    <a:pt x="19346" y="8752"/>
                  </a:cubicBezTo>
                  <a:cubicBezTo>
                    <a:pt x="19330" y="8734"/>
                    <a:pt x="19337" y="8706"/>
                    <a:pt x="19353" y="8692"/>
                  </a:cubicBezTo>
                  <a:cubicBezTo>
                    <a:pt x="19362" y="8678"/>
                    <a:pt x="19397" y="8681"/>
                    <a:pt x="19416" y="8699"/>
                  </a:cubicBezTo>
                  <a:cubicBezTo>
                    <a:pt x="19439" y="8715"/>
                    <a:pt x="19475" y="8728"/>
                    <a:pt x="19503" y="8726"/>
                  </a:cubicBezTo>
                  <a:cubicBezTo>
                    <a:pt x="19530" y="8724"/>
                    <a:pt x="19568" y="8736"/>
                    <a:pt x="19568" y="8755"/>
                  </a:cubicBezTo>
                  <a:cubicBezTo>
                    <a:pt x="19585" y="8773"/>
                    <a:pt x="19601" y="8812"/>
                    <a:pt x="19610" y="8840"/>
                  </a:cubicBezTo>
                  <a:cubicBezTo>
                    <a:pt x="19627" y="8868"/>
                    <a:pt x="19648" y="8936"/>
                    <a:pt x="19657" y="8992"/>
                  </a:cubicBezTo>
                  <a:cubicBezTo>
                    <a:pt x="19665" y="9047"/>
                    <a:pt x="19679" y="9126"/>
                    <a:pt x="19679" y="9168"/>
                  </a:cubicBezTo>
                  <a:cubicBezTo>
                    <a:pt x="19687" y="9209"/>
                    <a:pt x="19683" y="9268"/>
                    <a:pt x="19700" y="9297"/>
                  </a:cubicBezTo>
                  <a:cubicBezTo>
                    <a:pt x="19709" y="9327"/>
                    <a:pt x="19722" y="9417"/>
                    <a:pt x="19740" y="9497"/>
                  </a:cubicBezTo>
                  <a:cubicBezTo>
                    <a:pt x="19740" y="9576"/>
                    <a:pt x="19762" y="9685"/>
                    <a:pt x="19780" y="9737"/>
                  </a:cubicBezTo>
                  <a:cubicBezTo>
                    <a:pt x="19789" y="9790"/>
                    <a:pt x="19814" y="9858"/>
                    <a:pt x="19823" y="9888"/>
                  </a:cubicBezTo>
                  <a:cubicBezTo>
                    <a:pt x="19841" y="9918"/>
                    <a:pt x="19838" y="9956"/>
                    <a:pt x="19855" y="9968"/>
                  </a:cubicBezTo>
                  <a:cubicBezTo>
                    <a:pt x="19855" y="9981"/>
                    <a:pt x="19869" y="10010"/>
                    <a:pt x="19869" y="10031"/>
                  </a:cubicBezTo>
                  <a:cubicBezTo>
                    <a:pt x="19869" y="10052"/>
                    <a:pt x="19886" y="10082"/>
                    <a:pt x="19886" y="10098"/>
                  </a:cubicBezTo>
                  <a:cubicBezTo>
                    <a:pt x="19902" y="10112"/>
                    <a:pt x="19909" y="10132"/>
                    <a:pt x="19909" y="10140"/>
                  </a:cubicBezTo>
                  <a:cubicBezTo>
                    <a:pt x="19918" y="10147"/>
                    <a:pt x="19920" y="10136"/>
                    <a:pt x="19920" y="10115"/>
                  </a:cubicBezTo>
                  <a:cubicBezTo>
                    <a:pt x="19920" y="10093"/>
                    <a:pt x="19932" y="10045"/>
                    <a:pt x="19932" y="10009"/>
                  </a:cubicBezTo>
                  <a:cubicBezTo>
                    <a:pt x="19941" y="9972"/>
                    <a:pt x="19960" y="9948"/>
                    <a:pt x="19971" y="9957"/>
                  </a:cubicBezTo>
                  <a:cubicBezTo>
                    <a:pt x="19991" y="9963"/>
                    <a:pt x="20008" y="9962"/>
                    <a:pt x="20028" y="9952"/>
                  </a:cubicBezTo>
                  <a:cubicBezTo>
                    <a:pt x="20036" y="9939"/>
                    <a:pt x="20071" y="9877"/>
                    <a:pt x="20089" y="9812"/>
                  </a:cubicBezTo>
                  <a:cubicBezTo>
                    <a:pt x="20106" y="9747"/>
                    <a:pt x="20106" y="9662"/>
                    <a:pt x="20106" y="9622"/>
                  </a:cubicBezTo>
                  <a:cubicBezTo>
                    <a:pt x="20089" y="9583"/>
                    <a:pt x="20093" y="9510"/>
                    <a:pt x="20102" y="9462"/>
                  </a:cubicBezTo>
                  <a:cubicBezTo>
                    <a:pt x="20110" y="9415"/>
                    <a:pt x="20108" y="9332"/>
                    <a:pt x="20099" y="9280"/>
                  </a:cubicBezTo>
                  <a:cubicBezTo>
                    <a:pt x="20099" y="9227"/>
                    <a:pt x="20115" y="9188"/>
                    <a:pt x="20146" y="9195"/>
                  </a:cubicBezTo>
                  <a:cubicBezTo>
                    <a:pt x="20177" y="9202"/>
                    <a:pt x="20208" y="9148"/>
                    <a:pt x="20208" y="9078"/>
                  </a:cubicBezTo>
                  <a:cubicBezTo>
                    <a:pt x="20208" y="9007"/>
                    <a:pt x="20211" y="8907"/>
                    <a:pt x="20211" y="8856"/>
                  </a:cubicBezTo>
                  <a:cubicBezTo>
                    <a:pt x="20202" y="8806"/>
                    <a:pt x="20200" y="8685"/>
                    <a:pt x="20172" y="8589"/>
                  </a:cubicBezTo>
                  <a:cubicBezTo>
                    <a:pt x="20146" y="8492"/>
                    <a:pt x="20160" y="8415"/>
                    <a:pt x="20191" y="8420"/>
                  </a:cubicBezTo>
                  <a:cubicBezTo>
                    <a:pt x="20223" y="8421"/>
                    <a:pt x="20268" y="8437"/>
                    <a:pt x="20297" y="8447"/>
                  </a:cubicBezTo>
                  <a:cubicBezTo>
                    <a:pt x="20324" y="8459"/>
                    <a:pt x="20379" y="8470"/>
                    <a:pt x="20418" y="8467"/>
                  </a:cubicBezTo>
                  <a:cubicBezTo>
                    <a:pt x="20458" y="8465"/>
                    <a:pt x="20503" y="8406"/>
                    <a:pt x="20529" y="8334"/>
                  </a:cubicBezTo>
                  <a:cubicBezTo>
                    <a:pt x="20547" y="8261"/>
                    <a:pt x="20586" y="8134"/>
                    <a:pt x="20586" y="8051"/>
                  </a:cubicBezTo>
                  <a:cubicBezTo>
                    <a:pt x="20604" y="7991"/>
                    <a:pt x="20616" y="7892"/>
                    <a:pt x="20633" y="7804"/>
                  </a:cubicBezTo>
                  <a:cubicBezTo>
                    <a:pt x="20642" y="7773"/>
                    <a:pt x="20646" y="7743"/>
                    <a:pt x="20655" y="7716"/>
                  </a:cubicBezTo>
                  <a:cubicBezTo>
                    <a:pt x="20682" y="7615"/>
                    <a:pt x="20679" y="7511"/>
                    <a:pt x="20637" y="7489"/>
                  </a:cubicBezTo>
                  <a:cubicBezTo>
                    <a:pt x="20602" y="7465"/>
                    <a:pt x="20573" y="7422"/>
                    <a:pt x="20564" y="7393"/>
                  </a:cubicBezTo>
                  <a:cubicBezTo>
                    <a:pt x="20556" y="7363"/>
                    <a:pt x="20589" y="7268"/>
                    <a:pt x="20623" y="7181"/>
                  </a:cubicBezTo>
                  <a:cubicBezTo>
                    <a:pt x="20659" y="7094"/>
                    <a:pt x="20699" y="6960"/>
                    <a:pt x="20716" y="6884"/>
                  </a:cubicBezTo>
                  <a:cubicBezTo>
                    <a:pt x="20734" y="6808"/>
                    <a:pt x="20730" y="6724"/>
                    <a:pt x="20712" y="6698"/>
                  </a:cubicBezTo>
                  <a:cubicBezTo>
                    <a:pt x="20703" y="6672"/>
                    <a:pt x="20690" y="6614"/>
                    <a:pt x="20690" y="6568"/>
                  </a:cubicBezTo>
                  <a:cubicBezTo>
                    <a:pt x="20690" y="6522"/>
                    <a:pt x="20735" y="6404"/>
                    <a:pt x="20770" y="6305"/>
                  </a:cubicBezTo>
                  <a:cubicBezTo>
                    <a:pt x="20814" y="6207"/>
                    <a:pt x="20870" y="6116"/>
                    <a:pt x="20899" y="6101"/>
                  </a:cubicBezTo>
                  <a:cubicBezTo>
                    <a:pt x="20932" y="6089"/>
                    <a:pt x="20973" y="6031"/>
                    <a:pt x="21008" y="5976"/>
                  </a:cubicBezTo>
                  <a:cubicBezTo>
                    <a:pt x="21042" y="5921"/>
                    <a:pt x="21062" y="5838"/>
                    <a:pt x="21079" y="5793"/>
                  </a:cubicBezTo>
                  <a:cubicBezTo>
                    <a:pt x="21079" y="5748"/>
                    <a:pt x="21139" y="5699"/>
                    <a:pt x="21178" y="5680"/>
                  </a:cubicBezTo>
                  <a:cubicBezTo>
                    <a:pt x="21225" y="5665"/>
                    <a:pt x="21288" y="5620"/>
                    <a:pt x="21322" y="5583"/>
                  </a:cubicBezTo>
                  <a:cubicBezTo>
                    <a:pt x="21360" y="5547"/>
                    <a:pt x="21414" y="5539"/>
                    <a:pt x="21433" y="5567"/>
                  </a:cubicBezTo>
                  <a:cubicBezTo>
                    <a:pt x="21458" y="5595"/>
                    <a:pt x="21504" y="5631"/>
                    <a:pt x="21531" y="5650"/>
                  </a:cubicBezTo>
                  <a:cubicBezTo>
                    <a:pt x="21562" y="5667"/>
                    <a:pt x="21573" y="5657"/>
                    <a:pt x="21564" y="5625"/>
                  </a:cubicBezTo>
                  <a:cubicBezTo>
                    <a:pt x="21555" y="5593"/>
                    <a:pt x="21545" y="5524"/>
                    <a:pt x="21537" y="5473"/>
                  </a:cubicBezTo>
                  <a:cubicBezTo>
                    <a:pt x="21537" y="5422"/>
                    <a:pt x="21551" y="5354"/>
                    <a:pt x="21569" y="5321"/>
                  </a:cubicBezTo>
                  <a:cubicBezTo>
                    <a:pt x="21596" y="5288"/>
                    <a:pt x="21600" y="5237"/>
                    <a:pt x="21600" y="5208"/>
                  </a:cubicBezTo>
                  <a:cubicBezTo>
                    <a:pt x="21592" y="5179"/>
                    <a:pt x="21573" y="5119"/>
                    <a:pt x="21531" y="5079"/>
                  </a:cubicBezTo>
                  <a:cubicBezTo>
                    <a:pt x="21504" y="5037"/>
                    <a:pt x="21449" y="4990"/>
                    <a:pt x="21423" y="4972"/>
                  </a:cubicBezTo>
                  <a:cubicBezTo>
                    <a:pt x="21394" y="4956"/>
                    <a:pt x="21362" y="4950"/>
                    <a:pt x="21344" y="4957"/>
                  </a:cubicBezTo>
                  <a:cubicBezTo>
                    <a:pt x="21328" y="4966"/>
                    <a:pt x="21282" y="4969"/>
                    <a:pt x="21259" y="4957"/>
                  </a:cubicBezTo>
                  <a:cubicBezTo>
                    <a:pt x="21226" y="4950"/>
                    <a:pt x="21192" y="4914"/>
                    <a:pt x="21183" y="4882"/>
                  </a:cubicBezTo>
                  <a:cubicBezTo>
                    <a:pt x="21175" y="4849"/>
                    <a:pt x="21179" y="4797"/>
                    <a:pt x="21198" y="4765"/>
                  </a:cubicBezTo>
                  <a:cubicBezTo>
                    <a:pt x="21215" y="4734"/>
                    <a:pt x="21242" y="4685"/>
                    <a:pt x="21225" y="4660"/>
                  </a:cubicBezTo>
                  <a:cubicBezTo>
                    <a:pt x="21225" y="4634"/>
                    <a:pt x="21209" y="4579"/>
                    <a:pt x="21175" y="4542"/>
                  </a:cubicBezTo>
                  <a:cubicBezTo>
                    <a:pt x="21156" y="4502"/>
                    <a:pt x="21130" y="4446"/>
                    <a:pt x="21112" y="4418"/>
                  </a:cubicBezTo>
                  <a:cubicBezTo>
                    <a:pt x="21112" y="4388"/>
                    <a:pt x="21078" y="4368"/>
                    <a:pt x="21063" y="4374"/>
                  </a:cubicBezTo>
                  <a:cubicBezTo>
                    <a:pt x="21046" y="4380"/>
                    <a:pt x="21018" y="4389"/>
                    <a:pt x="21001" y="4395"/>
                  </a:cubicBezTo>
                  <a:cubicBezTo>
                    <a:pt x="20983" y="4399"/>
                    <a:pt x="20953" y="4380"/>
                    <a:pt x="20944" y="4348"/>
                  </a:cubicBezTo>
                  <a:cubicBezTo>
                    <a:pt x="20926" y="4317"/>
                    <a:pt x="20924" y="4249"/>
                    <a:pt x="20942" y="4198"/>
                  </a:cubicBezTo>
                  <a:cubicBezTo>
                    <a:pt x="20950" y="4147"/>
                    <a:pt x="20960" y="4090"/>
                    <a:pt x="20951" y="4072"/>
                  </a:cubicBezTo>
                  <a:cubicBezTo>
                    <a:pt x="20942" y="4053"/>
                    <a:pt x="20920" y="4042"/>
                    <a:pt x="20902" y="4048"/>
                  </a:cubicBezTo>
                  <a:cubicBezTo>
                    <a:pt x="20890" y="4056"/>
                    <a:pt x="20852" y="4035"/>
                    <a:pt x="20834" y="4005"/>
                  </a:cubicBezTo>
                  <a:cubicBezTo>
                    <a:pt x="20801" y="3979"/>
                    <a:pt x="20775" y="3945"/>
                    <a:pt x="20756" y="3932"/>
                  </a:cubicBezTo>
                  <a:cubicBezTo>
                    <a:pt x="20732" y="3920"/>
                    <a:pt x="20665" y="3947"/>
                    <a:pt x="20610" y="3991"/>
                  </a:cubicBezTo>
                  <a:cubicBezTo>
                    <a:pt x="20543" y="4032"/>
                    <a:pt x="20505" y="4100"/>
                    <a:pt x="20523" y="4135"/>
                  </a:cubicBezTo>
                  <a:cubicBezTo>
                    <a:pt x="20523" y="4170"/>
                    <a:pt x="20531" y="4214"/>
                    <a:pt x="20515" y="4232"/>
                  </a:cubicBezTo>
                  <a:cubicBezTo>
                    <a:pt x="20498" y="4250"/>
                    <a:pt x="20440" y="4244"/>
                    <a:pt x="20383" y="4215"/>
                  </a:cubicBezTo>
                  <a:cubicBezTo>
                    <a:pt x="20321" y="4188"/>
                    <a:pt x="20242" y="4172"/>
                    <a:pt x="20208" y="4185"/>
                  </a:cubicBezTo>
                  <a:cubicBezTo>
                    <a:pt x="20170" y="4195"/>
                    <a:pt x="20108" y="4163"/>
                    <a:pt x="20080" y="4110"/>
                  </a:cubicBezTo>
                  <a:cubicBezTo>
                    <a:pt x="20038" y="4059"/>
                    <a:pt x="19994" y="4038"/>
                    <a:pt x="19965" y="4067"/>
                  </a:cubicBezTo>
                  <a:cubicBezTo>
                    <a:pt x="19931" y="4094"/>
                    <a:pt x="19893" y="4122"/>
                    <a:pt x="19873" y="4126"/>
                  </a:cubicBezTo>
                  <a:cubicBezTo>
                    <a:pt x="19851" y="4129"/>
                    <a:pt x="19839" y="4168"/>
                    <a:pt x="19848" y="4210"/>
                  </a:cubicBezTo>
                  <a:cubicBezTo>
                    <a:pt x="19864" y="4252"/>
                    <a:pt x="19846" y="4331"/>
                    <a:pt x="19811" y="4383"/>
                  </a:cubicBezTo>
                  <a:cubicBezTo>
                    <a:pt x="19777" y="4435"/>
                    <a:pt x="19716" y="4489"/>
                    <a:pt x="19662" y="4503"/>
                  </a:cubicBezTo>
                  <a:cubicBezTo>
                    <a:pt x="19609" y="4518"/>
                    <a:pt x="19535" y="4531"/>
                    <a:pt x="19502" y="4535"/>
                  </a:cubicBezTo>
                  <a:cubicBezTo>
                    <a:pt x="19469" y="4540"/>
                    <a:pt x="19412" y="4574"/>
                    <a:pt x="19403" y="4613"/>
                  </a:cubicBezTo>
                  <a:cubicBezTo>
                    <a:pt x="19368" y="4650"/>
                    <a:pt x="19353" y="4716"/>
                    <a:pt x="19353" y="4756"/>
                  </a:cubicBezTo>
                  <a:cubicBezTo>
                    <a:pt x="19336" y="4795"/>
                    <a:pt x="19318" y="4838"/>
                    <a:pt x="19283" y="4846"/>
                  </a:cubicBezTo>
                  <a:cubicBezTo>
                    <a:pt x="19254" y="4856"/>
                    <a:pt x="19229" y="4884"/>
                    <a:pt x="19229" y="4910"/>
                  </a:cubicBezTo>
                  <a:cubicBezTo>
                    <a:pt x="19229" y="4935"/>
                    <a:pt x="19213" y="4947"/>
                    <a:pt x="19187" y="4935"/>
                  </a:cubicBezTo>
                  <a:cubicBezTo>
                    <a:pt x="19161" y="4924"/>
                    <a:pt x="19127" y="4933"/>
                    <a:pt x="19100" y="4953"/>
                  </a:cubicBezTo>
                  <a:cubicBezTo>
                    <a:pt x="19084" y="4974"/>
                    <a:pt x="19051" y="5029"/>
                    <a:pt x="19042" y="5075"/>
                  </a:cubicBezTo>
                  <a:cubicBezTo>
                    <a:pt x="19025" y="5122"/>
                    <a:pt x="19000" y="5162"/>
                    <a:pt x="18975" y="5163"/>
                  </a:cubicBezTo>
                  <a:cubicBezTo>
                    <a:pt x="18949" y="5165"/>
                    <a:pt x="18882" y="5179"/>
                    <a:pt x="18822" y="5191"/>
                  </a:cubicBezTo>
                  <a:cubicBezTo>
                    <a:pt x="18767" y="5207"/>
                    <a:pt x="18698" y="5217"/>
                    <a:pt x="18676" y="5218"/>
                  </a:cubicBezTo>
                  <a:cubicBezTo>
                    <a:pt x="18654" y="5218"/>
                    <a:pt x="18625" y="5259"/>
                    <a:pt x="18625" y="5306"/>
                  </a:cubicBezTo>
                  <a:cubicBezTo>
                    <a:pt x="18625" y="5354"/>
                    <a:pt x="18621" y="5425"/>
                    <a:pt x="18630" y="5466"/>
                  </a:cubicBezTo>
                  <a:cubicBezTo>
                    <a:pt x="18638" y="5506"/>
                    <a:pt x="18696" y="5561"/>
                    <a:pt x="18742" y="5593"/>
                  </a:cubicBezTo>
                  <a:cubicBezTo>
                    <a:pt x="18799" y="5621"/>
                    <a:pt x="18839" y="5692"/>
                    <a:pt x="18848" y="5748"/>
                  </a:cubicBezTo>
                  <a:cubicBezTo>
                    <a:pt x="18839" y="5803"/>
                    <a:pt x="18863" y="5875"/>
                    <a:pt x="18863" y="5906"/>
                  </a:cubicBezTo>
                  <a:cubicBezTo>
                    <a:pt x="18863" y="5938"/>
                    <a:pt x="18821" y="5984"/>
                    <a:pt x="18755" y="6005"/>
                  </a:cubicBezTo>
                  <a:cubicBezTo>
                    <a:pt x="18686" y="6026"/>
                    <a:pt x="18601" y="6042"/>
                    <a:pt x="18556" y="6038"/>
                  </a:cubicBezTo>
                  <a:cubicBezTo>
                    <a:pt x="18511" y="6032"/>
                    <a:pt x="18425" y="6044"/>
                    <a:pt x="18367" y="6061"/>
                  </a:cubicBezTo>
                  <a:cubicBezTo>
                    <a:pt x="18307" y="6078"/>
                    <a:pt x="18223" y="6078"/>
                    <a:pt x="18193" y="6057"/>
                  </a:cubicBezTo>
                  <a:cubicBezTo>
                    <a:pt x="18156" y="6037"/>
                    <a:pt x="18096" y="6024"/>
                    <a:pt x="18058" y="6028"/>
                  </a:cubicBezTo>
                  <a:cubicBezTo>
                    <a:pt x="18020" y="6032"/>
                    <a:pt x="17969" y="6075"/>
                    <a:pt x="17934" y="6122"/>
                  </a:cubicBezTo>
                  <a:cubicBezTo>
                    <a:pt x="17917" y="6171"/>
                    <a:pt x="17841" y="6207"/>
                    <a:pt x="17796" y="6205"/>
                  </a:cubicBezTo>
                  <a:cubicBezTo>
                    <a:pt x="17750" y="6204"/>
                    <a:pt x="17643" y="6152"/>
                    <a:pt x="17549" y="6093"/>
                  </a:cubicBezTo>
                  <a:cubicBezTo>
                    <a:pt x="17462" y="6033"/>
                    <a:pt x="17368" y="5998"/>
                    <a:pt x="17344" y="6014"/>
                  </a:cubicBezTo>
                  <a:cubicBezTo>
                    <a:pt x="17327" y="6032"/>
                    <a:pt x="17253" y="6030"/>
                    <a:pt x="17192" y="6013"/>
                  </a:cubicBezTo>
                  <a:cubicBezTo>
                    <a:pt x="17133" y="5995"/>
                    <a:pt x="17051" y="5930"/>
                    <a:pt x="17008" y="5866"/>
                  </a:cubicBezTo>
                  <a:cubicBezTo>
                    <a:pt x="16972" y="5801"/>
                    <a:pt x="16944" y="5722"/>
                    <a:pt x="16953" y="5689"/>
                  </a:cubicBezTo>
                  <a:cubicBezTo>
                    <a:pt x="16970" y="5657"/>
                    <a:pt x="16964" y="5592"/>
                    <a:pt x="16972" y="5546"/>
                  </a:cubicBezTo>
                  <a:cubicBezTo>
                    <a:pt x="16963" y="5500"/>
                    <a:pt x="16973" y="5464"/>
                    <a:pt x="16970" y="5464"/>
                  </a:cubicBezTo>
                  <a:cubicBezTo>
                    <a:pt x="16967" y="5464"/>
                    <a:pt x="16934" y="5441"/>
                    <a:pt x="16898" y="5410"/>
                  </a:cubicBezTo>
                  <a:cubicBezTo>
                    <a:pt x="16861" y="5379"/>
                    <a:pt x="16825" y="5312"/>
                    <a:pt x="16816" y="5261"/>
                  </a:cubicBezTo>
                  <a:cubicBezTo>
                    <a:pt x="16806" y="5210"/>
                    <a:pt x="16790" y="5131"/>
                    <a:pt x="16757" y="5089"/>
                  </a:cubicBezTo>
                  <a:cubicBezTo>
                    <a:pt x="16738" y="5045"/>
                    <a:pt x="16678" y="5013"/>
                    <a:pt x="16637" y="5017"/>
                  </a:cubicBezTo>
                  <a:cubicBezTo>
                    <a:pt x="16595" y="5021"/>
                    <a:pt x="16542" y="5051"/>
                    <a:pt x="16508" y="5080"/>
                  </a:cubicBezTo>
                  <a:cubicBezTo>
                    <a:pt x="16488" y="5112"/>
                    <a:pt x="16450" y="5135"/>
                    <a:pt x="16445" y="5135"/>
                  </a:cubicBezTo>
                  <a:cubicBezTo>
                    <a:pt x="16450" y="5135"/>
                    <a:pt x="16449" y="5170"/>
                    <a:pt x="16466" y="5214"/>
                  </a:cubicBezTo>
                  <a:cubicBezTo>
                    <a:pt x="16466" y="5259"/>
                    <a:pt x="16483" y="5373"/>
                    <a:pt x="16483" y="5469"/>
                  </a:cubicBezTo>
                  <a:cubicBezTo>
                    <a:pt x="16483" y="5565"/>
                    <a:pt x="16501" y="5710"/>
                    <a:pt x="16545" y="5790"/>
                  </a:cubicBezTo>
                  <a:cubicBezTo>
                    <a:pt x="16589" y="5870"/>
                    <a:pt x="16609" y="6012"/>
                    <a:pt x="16609" y="6106"/>
                  </a:cubicBezTo>
                  <a:cubicBezTo>
                    <a:pt x="16609" y="6199"/>
                    <a:pt x="16506" y="6294"/>
                    <a:pt x="16394" y="6316"/>
                  </a:cubicBezTo>
                  <a:cubicBezTo>
                    <a:pt x="16282" y="6339"/>
                    <a:pt x="16130" y="6321"/>
                    <a:pt x="16057" y="6278"/>
                  </a:cubicBezTo>
                  <a:cubicBezTo>
                    <a:pt x="15987" y="6233"/>
                    <a:pt x="15889" y="6215"/>
                    <a:pt x="15853" y="6239"/>
                  </a:cubicBezTo>
                  <a:cubicBezTo>
                    <a:pt x="15815" y="6261"/>
                    <a:pt x="15641" y="6222"/>
                    <a:pt x="15474" y="6150"/>
                  </a:cubicBezTo>
                  <a:cubicBezTo>
                    <a:pt x="15304" y="6079"/>
                    <a:pt x="15107" y="6022"/>
                    <a:pt x="15039" y="6022"/>
                  </a:cubicBezTo>
                  <a:cubicBezTo>
                    <a:pt x="14971" y="6022"/>
                    <a:pt x="14886" y="6038"/>
                    <a:pt x="14853" y="6058"/>
                  </a:cubicBezTo>
                  <a:cubicBezTo>
                    <a:pt x="14818" y="6078"/>
                    <a:pt x="14699" y="6068"/>
                    <a:pt x="14593" y="6033"/>
                  </a:cubicBezTo>
                  <a:cubicBezTo>
                    <a:pt x="14483" y="6000"/>
                    <a:pt x="14347" y="5932"/>
                    <a:pt x="14294" y="5882"/>
                  </a:cubicBezTo>
                  <a:cubicBezTo>
                    <a:pt x="14241" y="5831"/>
                    <a:pt x="14180" y="5746"/>
                    <a:pt x="14163" y="5692"/>
                  </a:cubicBezTo>
                  <a:cubicBezTo>
                    <a:pt x="14145" y="5638"/>
                    <a:pt x="14054" y="5570"/>
                    <a:pt x="13954" y="5543"/>
                  </a:cubicBezTo>
                  <a:cubicBezTo>
                    <a:pt x="13858" y="5514"/>
                    <a:pt x="13688" y="5513"/>
                    <a:pt x="13584" y="5540"/>
                  </a:cubicBezTo>
                  <a:cubicBezTo>
                    <a:pt x="13478" y="5565"/>
                    <a:pt x="13360" y="5559"/>
                    <a:pt x="13324" y="5524"/>
                  </a:cubicBezTo>
                  <a:cubicBezTo>
                    <a:pt x="13272" y="5493"/>
                    <a:pt x="13167" y="5467"/>
                    <a:pt x="13062" y="5471"/>
                  </a:cubicBezTo>
                  <a:cubicBezTo>
                    <a:pt x="12957" y="5475"/>
                    <a:pt x="12805" y="5442"/>
                    <a:pt x="12735" y="5393"/>
                  </a:cubicBezTo>
                  <a:cubicBezTo>
                    <a:pt x="12659" y="5345"/>
                    <a:pt x="12551" y="5303"/>
                    <a:pt x="12493" y="5301"/>
                  </a:cubicBezTo>
                  <a:cubicBezTo>
                    <a:pt x="12434" y="5298"/>
                    <a:pt x="12346" y="5274"/>
                    <a:pt x="12307" y="5243"/>
                  </a:cubicBezTo>
                  <a:cubicBezTo>
                    <a:pt x="12256" y="5216"/>
                    <a:pt x="12151" y="5176"/>
                    <a:pt x="12071" y="5150"/>
                  </a:cubicBezTo>
                  <a:cubicBezTo>
                    <a:pt x="11987" y="5128"/>
                    <a:pt x="11851" y="5044"/>
                    <a:pt x="11781" y="4962"/>
                  </a:cubicBezTo>
                  <a:cubicBezTo>
                    <a:pt x="11709" y="4879"/>
                    <a:pt x="11555" y="4758"/>
                    <a:pt x="11449" y="4689"/>
                  </a:cubicBezTo>
                  <a:cubicBezTo>
                    <a:pt x="11334" y="4622"/>
                    <a:pt x="11187" y="4543"/>
                    <a:pt x="11104" y="4519"/>
                  </a:cubicBezTo>
                  <a:cubicBezTo>
                    <a:pt x="11029" y="4491"/>
                    <a:pt x="10930" y="4449"/>
                    <a:pt x="10880" y="4424"/>
                  </a:cubicBezTo>
                  <a:cubicBezTo>
                    <a:pt x="10842" y="4395"/>
                    <a:pt x="10771" y="4372"/>
                    <a:pt x="10730" y="4368"/>
                  </a:cubicBezTo>
                  <a:cubicBezTo>
                    <a:pt x="10689" y="4364"/>
                    <a:pt x="10622" y="4335"/>
                    <a:pt x="10578" y="4303"/>
                  </a:cubicBezTo>
                  <a:cubicBezTo>
                    <a:pt x="10534" y="4270"/>
                    <a:pt x="10458" y="4240"/>
                    <a:pt x="10410" y="4232"/>
                  </a:cubicBezTo>
                  <a:cubicBezTo>
                    <a:pt x="10359" y="4224"/>
                    <a:pt x="10292" y="4176"/>
                    <a:pt x="10283" y="4121"/>
                  </a:cubicBezTo>
                  <a:cubicBezTo>
                    <a:pt x="10256" y="4068"/>
                    <a:pt x="10277" y="3963"/>
                    <a:pt x="10329" y="3893"/>
                  </a:cubicBezTo>
                  <a:cubicBezTo>
                    <a:pt x="10365" y="3820"/>
                    <a:pt x="10404" y="3705"/>
                    <a:pt x="10395" y="3634"/>
                  </a:cubicBezTo>
                  <a:cubicBezTo>
                    <a:pt x="10386" y="3563"/>
                    <a:pt x="10411" y="3414"/>
                    <a:pt x="10420" y="3302"/>
                  </a:cubicBezTo>
                  <a:cubicBezTo>
                    <a:pt x="10455" y="3191"/>
                    <a:pt x="10449" y="3039"/>
                    <a:pt x="10432" y="2965"/>
                  </a:cubicBezTo>
                  <a:cubicBezTo>
                    <a:pt x="10414" y="2891"/>
                    <a:pt x="10403" y="2835"/>
                    <a:pt x="10397" y="2838"/>
                  </a:cubicBezTo>
                  <a:cubicBezTo>
                    <a:pt x="10390" y="2842"/>
                    <a:pt x="10380" y="2816"/>
                    <a:pt x="10353" y="2781"/>
                  </a:cubicBezTo>
                  <a:cubicBezTo>
                    <a:pt x="10336" y="2744"/>
                    <a:pt x="10282" y="2707"/>
                    <a:pt x="10241" y="2700"/>
                  </a:cubicBezTo>
                  <a:cubicBezTo>
                    <a:pt x="10199" y="2694"/>
                    <a:pt x="10143" y="2642"/>
                    <a:pt x="10107" y="2590"/>
                  </a:cubicBezTo>
                  <a:cubicBezTo>
                    <a:pt x="10080" y="2537"/>
                    <a:pt x="10019" y="2484"/>
                    <a:pt x="9980" y="2472"/>
                  </a:cubicBezTo>
                  <a:cubicBezTo>
                    <a:pt x="9945" y="2459"/>
                    <a:pt x="9875" y="2411"/>
                    <a:pt x="9821" y="2364"/>
                  </a:cubicBezTo>
                  <a:cubicBezTo>
                    <a:pt x="9776" y="2316"/>
                    <a:pt x="9683" y="2269"/>
                    <a:pt x="9628" y="2259"/>
                  </a:cubicBezTo>
                  <a:cubicBezTo>
                    <a:pt x="9574" y="2247"/>
                    <a:pt x="9510" y="2219"/>
                    <a:pt x="9482" y="2195"/>
                  </a:cubicBezTo>
                  <a:cubicBezTo>
                    <a:pt x="9457" y="2171"/>
                    <a:pt x="9393" y="2148"/>
                    <a:pt x="9341" y="2143"/>
                  </a:cubicBezTo>
                  <a:cubicBezTo>
                    <a:pt x="9289" y="2137"/>
                    <a:pt x="9224" y="2165"/>
                    <a:pt x="9206" y="2204"/>
                  </a:cubicBezTo>
                  <a:cubicBezTo>
                    <a:pt x="9187" y="2243"/>
                    <a:pt x="9119" y="2254"/>
                    <a:pt x="9065" y="2227"/>
                  </a:cubicBezTo>
                  <a:cubicBezTo>
                    <a:pt x="9009" y="2201"/>
                    <a:pt x="8948" y="2141"/>
                    <a:pt x="8923" y="2094"/>
                  </a:cubicBezTo>
                  <a:cubicBezTo>
                    <a:pt x="8905" y="2046"/>
                    <a:pt x="8866" y="2000"/>
                    <a:pt x="8840" y="1995"/>
                  </a:cubicBezTo>
                  <a:cubicBezTo>
                    <a:pt x="8819" y="1986"/>
                    <a:pt x="8789" y="1955"/>
                    <a:pt x="8789" y="1922"/>
                  </a:cubicBezTo>
                  <a:cubicBezTo>
                    <a:pt x="8789" y="1889"/>
                    <a:pt x="8760" y="1830"/>
                    <a:pt x="8717" y="1793"/>
                  </a:cubicBezTo>
                  <a:cubicBezTo>
                    <a:pt x="8689" y="1753"/>
                    <a:pt x="8631" y="1708"/>
                    <a:pt x="8602" y="1691"/>
                  </a:cubicBezTo>
                  <a:cubicBezTo>
                    <a:pt x="8577" y="1674"/>
                    <a:pt x="8563" y="1640"/>
                    <a:pt x="8572" y="1615"/>
                  </a:cubicBezTo>
                  <a:cubicBezTo>
                    <a:pt x="8591" y="1590"/>
                    <a:pt x="8554" y="1536"/>
                    <a:pt x="8535" y="1492"/>
                  </a:cubicBezTo>
                  <a:cubicBezTo>
                    <a:pt x="8498" y="1451"/>
                    <a:pt x="8471" y="1349"/>
                    <a:pt x="8471" y="1266"/>
                  </a:cubicBezTo>
                  <a:cubicBezTo>
                    <a:pt x="8471" y="1183"/>
                    <a:pt x="8411" y="1087"/>
                    <a:pt x="8340" y="1055"/>
                  </a:cubicBezTo>
                  <a:cubicBezTo>
                    <a:pt x="8271" y="1022"/>
                    <a:pt x="8214" y="965"/>
                    <a:pt x="8198" y="929"/>
                  </a:cubicBezTo>
                  <a:cubicBezTo>
                    <a:pt x="8180" y="894"/>
                    <a:pt x="8161" y="841"/>
                    <a:pt x="8143" y="812"/>
                  </a:cubicBezTo>
                  <a:cubicBezTo>
                    <a:pt x="8117" y="784"/>
                    <a:pt x="8103" y="761"/>
                    <a:pt x="8103" y="763"/>
                  </a:cubicBezTo>
                  <a:cubicBezTo>
                    <a:pt x="8106" y="763"/>
                    <a:pt x="8009" y="717"/>
                    <a:pt x="7907" y="655"/>
                  </a:cubicBezTo>
                  <a:cubicBezTo>
                    <a:pt x="7793" y="597"/>
                    <a:pt x="7660" y="545"/>
                    <a:pt x="7599" y="543"/>
                  </a:cubicBezTo>
                  <a:cubicBezTo>
                    <a:pt x="7538" y="543"/>
                    <a:pt x="7450" y="493"/>
                    <a:pt x="7424" y="431"/>
                  </a:cubicBezTo>
                  <a:cubicBezTo>
                    <a:pt x="7396" y="370"/>
                    <a:pt x="7303" y="298"/>
                    <a:pt x="7230" y="271"/>
                  </a:cubicBezTo>
                  <a:cubicBezTo>
                    <a:pt x="7157" y="243"/>
                    <a:pt x="7049" y="246"/>
                    <a:pt x="6979" y="274"/>
                  </a:cubicBezTo>
                  <a:cubicBezTo>
                    <a:pt x="6920" y="306"/>
                    <a:pt x="6736" y="256"/>
                    <a:pt x="6584" y="167"/>
                  </a:cubicBezTo>
                  <a:cubicBezTo>
                    <a:pt x="6430" y="79"/>
                    <a:pt x="6264" y="4"/>
                    <a:pt x="6210" y="0"/>
                  </a:cubicBezTo>
                  <a:cubicBezTo>
                    <a:pt x="6157" y="-4"/>
                    <a:pt x="6097" y="34"/>
                    <a:pt x="6070" y="83"/>
                  </a:cubicBezTo>
                  <a:cubicBezTo>
                    <a:pt x="6052" y="133"/>
                    <a:pt x="5974" y="174"/>
                    <a:pt x="5911" y="172"/>
                  </a:cubicBezTo>
                  <a:cubicBezTo>
                    <a:pt x="5846" y="172"/>
                    <a:pt x="5741" y="213"/>
                    <a:pt x="5674" y="266"/>
                  </a:cubicBezTo>
                  <a:cubicBezTo>
                    <a:pt x="5617" y="322"/>
                    <a:pt x="5506" y="447"/>
                    <a:pt x="5446" y="549"/>
                  </a:cubicBezTo>
                  <a:cubicBezTo>
                    <a:pt x="5392" y="652"/>
                    <a:pt x="5324" y="745"/>
                    <a:pt x="5315" y="759"/>
                  </a:cubicBezTo>
                  <a:cubicBezTo>
                    <a:pt x="5315" y="762"/>
                    <a:pt x="5308" y="756"/>
                    <a:pt x="5305" y="756"/>
                  </a:cubicBezTo>
                  <a:cubicBezTo>
                    <a:pt x="5287" y="791"/>
                    <a:pt x="5252" y="821"/>
                    <a:pt x="5233" y="842"/>
                  </a:cubicBezTo>
                  <a:cubicBezTo>
                    <a:pt x="5224" y="848"/>
                    <a:pt x="5223" y="854"/>
                    <a:pt x="5214" y="860"/>
                  </a:cubicBezTo>
                  <a:cubicBezTo>
                    <a:pt x="5214" y="862"/>
                    <a:pt x="5210" y="865"/>
                    <a:pt x="5210" y="867"/>
                  </a:cubicBezTo>
                  <a:cubicBezTo>
                    <a:pt x="5210" y="873"/>
                    <a:pt x="5189" y="875"/>
                    <a:pt x="5189" y="881"/>
                  </a:cubicBezTo>
                  <a:cubicBezTo>
                    <a:pt x="5189" y="884"/>
                    <a:pt x="5182" y="885"/>
                    <a:pt x="5182" y="887"/>
                  </a:cubicBezTo>
                  <a:cubicBezTo>
                    <a:pt x="5157" y="905"/>
                    <a:pt x="5137" y="917"/>
                    <a:pt x="5117" y="926"/>
                  </a:cubicBezTo>
                  <a:cubicBezTo>
                    <a:pt x="5108" y="930"/>
                    <a:pt x="5099" y="933"/>
                    <a:pt x="5090" y="936"/>
                  </a:cubicBezTo>
                  <a:cubicBezTo>
                    <a:pt x="5082" y="938"/>
                    <a:pt x="5074" y="939"/>
                    <a:pt x="5069" y="938"/>
                  </a:cubicBezTo>
                  <a:cubicBezTo>
                    <a:pt x="5036" y="931"/>
                    <a:pt x="4972" y="946"/>
                    <a:pt x="4926" y="970"/>
                  </a:cubicBezTo>
                  <a:cubicBezTo>
                    <a:pt x="4921" y="971"/>
                    <a:pt x="4919" y="975"/>
                    <a:pt x="4913" y="975"/>
                  </a:cubicBezTo>
                  <a:cubicBezTo>
                    <a:pt x="4874" y="1000"/>
                    <a:pt x="4801" y="1023"/>
                    <a:pt x="4758" y="1034"/>
                  </a:cubicBezTo>
                  <a:cubicBezTo>
                    <a:pt x="4711" y="1046"/>
                    <a:pt x="4616" y="1107"/>
                    <a:pt x="4537" y="1167"/>
                  </a:cubicBezTo>
                  <a:cubicBezTo>
                    <a:pt x="4464" y="1230"/>
                    <a:pt x="4416" y="1297"/>
                    <a:pt x="4435" y="1317"/>
                  </a:cubicBezTo>
                  <a:cubicBezTo>
                    <a:pt x="4451" y="1336"/>
                    <a:pt x="4503" y="1420"/>
                    <a:pt x="4538" y="1502"/>
                  </a:cubicBezTo>
                  <a:cubicBezTo>
                    <a:pt x="4582" y="1584"/>
                    <a:pt x="4614" y="1741"/>
                    <a:pt x="4614" y="1850"/>
                  </a:cubicBezTo>
                  <a:cubicBezTo>
                    <a:pt x="4614" y="1959"/>
                    <a:pt x="4616" y="2091"/>
                    <a:pt x="4616" y="2143"/>
                  </a:cubicBezTo>
                  <a:cubicBezTo>
                    <a:pt x="4616" y="2195"/>
                    <a:pt x="4589" y="2260"/>
                    <a:pt x="4544" y="2283"/>
                  </a:cubicBezTo>
                  <a:cubicBezTo>
                    <a:pt x="4508" y="2309"/>
                    <a:pt x="4419" y="2383"/>
                    <a:pt x="4349" y="2450"/>
                  </a:cubicBezTo>
                  <a:cubicBezTo>
                    <a:pt x="4277" y="2516"/>
                    <a:pt x="4258" y="2590"/>
                    <a:pt x="4293" y="2615"/>
                  </a:cubicBezTo>
                  <a:cubicBezTo>
                    <a:pt x="4328" y="2639"/>
                    <a:pt x="4366" y="2692"/>
                    <a:pt x="4375" y="2734"/>
                  </a:cubicBezTo>
                  <a:cubicBezTo>
                    <a:pt x="4375" y="2775"/>
                    <a:pt x="4365" y="2852"/>
                    <a:pt x="4347" y="2906"/>
                  </a:cubicBezTo>
                  <a:cubicBezTo>
                    <a:pt x="4330" y="2959"/>
                    <a:pt x="4241" y="3030"/>
                    <a:pt x="4153" y="3060"/>
                  </a:cubicBezTo>
                  <a:cubicBezTo>
                    <a:pt x="4071" y="3091"/>
                    <a:pt x="3960" y="3173"/>
                    <a:pt x="3906" y="3241"/>
                  </a:cubicBezTo>
                  <a:cubicBezTo>
                    <a:pt x="3852" y="3308"/>
                    <a:pt x="3803" y="3423"/>
                    <a:pt x="3803" y="3495"/>
                  </a:cubicBezTo>
                  <a:cubicBezTo>
                    <a:pt x="3794" y="3567"/>
                    <a:pt x="3765" y="3663"/>
                    <a:pt x="3747" y="3711"/>
                  </a:cubicBezTo>
                  <a:cubicBezTo>
                    <a:pt x="3714" y="3757"/>
                    <a:pt x="3606" y="3854"/>
                    <a:pt x="3483" y="3920"/>
                  </a:cubicBezTo>
                  <a:cubicBezTo>
                    <a:pt x="3362" y="3987"/>
                    <a:pt x="3234" y="4151"/>
                    <a:pt x="3189" y="4281"/>
                  </a:cubicBezTo>
                  <a:cubicBezTo>
                    <a:pt x="3154" y="4412"/>
                    <a:pt x="3046" y="4581"/>
                    <a:pt x="2966" y="4658"/>
                  </a:cubicBezTo>
                  <a:cubicBezTo>
                    <a:pt x="2885" y="4735"/>
                    <a:pt x="2696" y="4801"/>
                    <a:pt x="2548" y="4801"/>
                  </a:cubicBezTo>
                  <a:cubicBezTo>
                    <a:pt x="2400" y="4803"/>
                    <a:pt x="2197" y="4839"/>
                    <a:pt x="2091" y="4879"/>
                  </a:cubicBezTo>
                  <a:cubicBezTo>
                    <a:pt x="1997" y="4924"/>
                    <a:pt x="1868" y="4948"/>
                    <a:pt x="1827" y="4939"/>
                  </a:cubicBezTo>
                  <a:cubicBezTo>
                    <a:pt x="1783" y="4933"/>
                    <a:pt x="1738" y="4889"/>
                    <a:pt x="1722" y="4845"/>
                  </a:cubicBezTo>
                  <a:cubicBezTo>
                    <a:pt x="1704" y="4800"/>
                    <a:pt x="1634" y="4747"/>
                    <a:pt x="1576" y="4722"/>
                  </a:cubicBezTo>
                  <a:cubicBezTo>
                    <a:pt x="1516" y="4696"/>
                    <a:pt x="1434" y="4699"/>
                    <a:pt x="1393" y="4716"/>
                  </a:cubicBezTo>
                  <a:cubicBezTo>
                    <a:pt x="1357" y="4736"/>
                    <a:pt x="1286" y="4770"/>
                    <a:pt x="1233" y="4789"/>
                  </a:cubicBezTo>
                  <a:cubicBezTo>
                    <a:pt x="1179" y="4808"/>
                    <a:pt x="1129" y="4857"/>
                    <a:pt x="1120" y="4896"/>
                  </a:cubicBezTo>
                  <a:cubicBezTo>
                    <a:pt x="1103" y="4934"/>
                    <a:pt x="1037" y="5035"/>
                    <a:pt x="974" y="5121"/>
                  </a:cubicBezTo>
                  <a:cubicBezTo>
                    <a:pt x="895" y="5204"/>
                    <a:pt x="809" y="5284"/>
                    <a:pt x="765" y="5294"/>
                  </a:cubicBezTo>
                  <a:cubicBezTo>
                    <a:pt x="722" y="5305"/>
                    <a:pt x="649" y="5387"/>
                    <a:pt x="614" y="5478"/>
                  </a:cubicBezTo>
                  <a:cubicBezTo>
                    <a:pt x="570" y="5569"/>
                    <a:pt x="539" y="5690"/>
                    <a:pt x="548" y="5748"/>
                  </a:cubicBezTo>
                  <a:cubicBezTo>
                    <a:pt x="548" y="5806"/>
                    <a:pt x="595" y="5854"/>
                    <a:pt x="644" y="5852"/>
                  </a:cubicBezTo>
                  <a:cubicBezTo>
                    <a:pt x="691" y="5848"/>
                    <a:pt x="793" y="5865"/>
                    <a:pt x="861" y="5886"/>
                  </a:cubicBezTo>
                  <a:cubicBezTo>
                    <a:pt x="933" y="5906"/>
                    <a:pt x="1017" y="5912"/>
                    <a:pt x="1046" y="5899"/>
                  </a:cubicBezTo>
                  <a:cubicBezTo>
                    <a:pt x="1076" y="5887"/>
                    <a:pt x="1148" y="5876"/>
                    <a:pt x="1202" y="5882"/>
                  </a:cubicBezTo>
                  <a:cubicBezTo>
                    <a:pt x="1256" y="5886"/>
                    <a:pt x="1341" y="5946"/>
                    <a:pt x="1386" y="6017"/>
                  </a:cubicBezTo>
                  <a:cubicBezTo>
                    <a:pt x="1430" y="6089"/>
                    <a:pt x="1477" y="6193"/>
                    <a:pt x="1468" y="6248"/>
                  </a:cubicBezTo>
                  <a:cubicBezTo>
                    <a:pt x="1477" y="6303"/>
                    <a:pt x="1472" y="6418"/>
                    <a:pt x="1499" y="6501"/>
                  </a:cubicBezTo>
                  <a:cubicBezTo>
                    <a:pt x="1508" y="6585"/>
                    <a:pt x="1611" y="6693"/>
                    <a:pt x="1704" y="6743"/>
                  </a:cubicBezTo>
                  <a:cubicBezTo>
                    <a:pt x="1801" y="6792"/>
                    <a:pt x="1924" y="6830"/>
                    <a:pt x="1981" y="6828"/>
                  </a:cubicBezTo>
                  <a:cubicBezTo>
                    <a:pt x="2037" y="6826"/>
                    <a:pt x="2120" y="6845"/>
                    <a:pt x="2155" y="6873"/>
                  </a:cubicBezTo>
                  <a:cubicBezTo>
                    <a:pt x="2192" y="6901"/>
                    <a:pt x="2222" y="6947"/>
                    <a:pt x="2206" y="6978"/>
                  </a:cubicBezTo>
                  <a:cubicBezTo>
                    <a:pt x="2196" y="7009"/>
                    <a:pt x="2227" y="7083"/>
                    <a:pt x="2288" y="7142"/>
                  </a:cubicBezTo>
                  <a:cubicBezTo>
                    <a:pt x="2342" y="7202"/>
                    <a:pt x="2451" y="7369"/>
                    <a:pt x="2521" y="7513"/>
                  </a:cubicBezTo>
                  <a:cubicBezTo>
                    <a:pt x="2591" y="7657"/>
                    <a:pt x="2641" y="7802"/>
                    <a:pt x="2632" y="7835"/>
                  </a:cubicBezTo>
                  <a:cubicBezTo>
                    <a:pt x="2624" y="7867"/>
                    <a:pt x="2643" y="7911"/>
                    <a:pt x="2662" y="7933"/>
                  </a:cubicBezTo>
                  <a:cubicBezTo>
                    <a:pt x="2680" y="7955"/>
                    <a:pt x="2660" y="7982"/>
                    <a:pt x="2609" y="7998"/>
                  </a:cubicBezTo>
                  <a:cubicBezTo>
                    <a:pt x="2557" y="8012"/>
                    <a:pt x="2464" y="8049"/>
                    <a:pt x="2399" y="8078"/>
                  </a:cubicBezTo>
                  <a:cubicBezTo>
                    <a:pt x="2330" y="8106"/>
                    <a:pt x="2267" y="8110"/>
                    <a:pt x="2234" y="8085"/>
                  </a:cubicBezTo>
                  <a:cubicBezTo>
                    <a:pt x="2201" y="8060"/>
                    <a:pt x="2196" y="8010"/>
                    <a:pt x="2224" y="7979"/>
                  </a:cubicBezTo>
                  <a:cubicBezTo>
                    <a:pt x="2241" y="7946"/>
                    <a:pt x="2209" y="7932"/>
                    <a:pt x="2144" y="7948"/>
                  </a:cubicBezTo>
                  <a:cubicBezTo>
                    <a:pt x="2078" y="7964"/>
                    <a:pt x="2003" y="7991"/>
                    <a:pt x="1985" y="8011"/>
                  </a:cubicBezTo>
                  <a:cubicBezTo>
                    <a:pt x="1968" y="8032"/>
                    <a:pt x="1851" y="8072"/>
                    <a:pt x="1738" y="8104"/>
                  </a:cubicBezTo>
                  <a:cubicBezTo>
                    <a:pt x="1624" y="8135"/>
                    <a:pt x="1368" y="8155"/>
                    <a:pt x="1168" y="8143"/>
                  </a:cubicBezTo>
                  <a:cubicBezTo>
                    <a:pt x="967" y="8133"/>
                    <a:pt x="760" y="8139"/>
                    <a:pt x="715" y="8160"/>
                  </a:cubicBezTo>
                  <a:cubicBezTo>
                    <a:pt x="664" y="8178"/>
                    <a:pt x="590" y="8187"/>
                    <a:pt x="545" y="8179"/>
                  </a:cubicBezTo>
                  <a:cubicBezTo>
                    <a:pt x="500" y="8171"/>
                    <a:pt x="438" y="8210"/>
                    <a:pt x="420" y="8268"/>
                  </a:cubicBezTo>
                  <a:cubicBezTo>
                    <a:pt x="401" y="8326"/>
                    <a:pt x="341" y="8379"/>
                    <a:pt x="301" y="8387"/>
                  </a:cubicBezTo>
                  <a:cubicBezTo>
                    <a:pt x="263" y="8397"/>
                    <a:pt x="170" y="8424"/>
                    <a:pt x="116" y="8458"/>
                  </a:cubicBezTo>
                  <a:cubicBezTo>
                    <a:pt x="53" y="8488"/>
                    <a:pt x="0" y="8562"/>
                    <a:pt x="0" y="8622"/>
                  </a:cubicBezTo>
                  <a:cubicBezTo>
                    <a:pt x="9" y="8681"/>
                    <a:pt x="61" y="8696"/>
                    <a:pt x="147" y="8657"/>
                  </a:cubicBezTo>
                  <a:cubicBezTo>
                    <a:pt x="231" y="8617"/>
                    <a:pt x="363" y="8573"/>
                    <a:pt x="447" y="8566"/>
                  </a:cubicBezTo>
                  <a:cubicBezTo>
                    <a:pt x="530" y="8558"/>
                    <a:pt x="547" y="8571"/>
                    <a:pt x="480" y="8597"/>
                  </a:cubicBezTo>
                  <a:cubicBezTo>
                    <a:pt x="416" y="8625"/>
                    <a:pt x="320" y="8696"/>
                    <a:pt x="259" y="8754"/>
                  </a:cubicBezTo>
                  <a:cubicBezTo>
                    <a:pt x="198" y="8812"/>
                    <a:pt x="155" y="8899"/>
                    <a:pt x="147" y="8946"/>
                  </a:cubicBezTo>
                  <a:cubicBezTo>
                    <a:pt x="138" y="8992"/>
                    <a:pt x="174" y="9041"/>
                    <a:pt x="210" y="9057"/>
                  </a:cubicBezTo>
                  <a:cubicBezTo>
                    <a:pt x="246" y="9072"/>
                    <a:pt x="360" y="9143"/>
                    <a:pt x="450" y="9218"/>
                  </a:cubicBezTo>
                  <a:cubicBezTo>
                    <a:pt x="552" y="9291"/>
                    <a:pt x="771" y="9400"/>
                    <a:pt x="967" y="9450"/>
                  </a:cubicBezTo>
                  <a:cubicBezTo>
                    <a:pt x="1159" y="9502"/>
                    <a:pt x="1357" y="9531"/>
                    <a:pt x="1414" y="9518"/>
                  </a:cubicBezTo>
                  <a:cubicBezTo>
                    <a:pt x="1465" y="9501"/>
                    <a:pt x="1571" y="9492"/>
                    <a:pt x="1641" y="9492"/>
                  </a:cubicBezTo>
                  <a:cubicBezTo>
                    <a:pt x="1711" y="9492"/>
                    <a:pt x="1864" y="9459"/>
                    <a:pt x="1985" y="9419"/>
                  </a:cubicBezTo>
                  <a:cubicBezTo>
                    <a:pt x="2103" y="9379"/>
                    <a:pt x="2202" y="9331"/>
                    <a:pt x="2211" y="9311"/>
                  </a:cubicBezTo>
                  <a:cubicBezTo>
                    <a:pt x="2211" y="9291"/>
                    <a:pt x="2203" y="9264"/>
                    <a:pt x="2203" y="9249"/>
                  </a:cubicBezTo>
                  <a:cubicBezTo>
                    <a:pt x="2194" y="9234"/>
                    <a:pt x="2203" y="9228"/>
                    <a:pt x="2218" y="9237"/>
                  </a:cubicBezTo>
                  <a:cubicBezTo>
                    <a:pt x="2229" y="9246"/>
                    <a:pt x="2298" y="9253"/>
                    <a:pt x="2355" y="9257"/>
                  </a:cubicBezTo>
                  <a:cubicBezTo>
                    <a:pt x="2413" y="9261"/>
                    <a:pt x="2448" y="9300"/>
                    <a:pt x="2421" y="9343"/>
                  </a:cubicBezTo>
                  <a:cubicBezTo>
                    <a:pt x="2395" y="9386"/>
                    <a:pt x="2368" y="9419"/>
                    <a:pt x="2349" y="9417"/>
                  </a:cubicBezTo>
                  <a:cubicBezTo>
                    <a:pt x="2333" y="9414"/>
                    <a:pt x="2272" y="9467"/>
                    <a:pt x="2219" y="9534"/>
                  </a:cubicBezTo>
                  <a:cubicBezTo>
                    <a:pt x="2175" y="9602"/>
                    <a:pt x="2091" y="9656"/>
                    <a:pt x="2055" y="9656"/>
                  </a:cubicBezTo>
                  <a:cubicBezTo>
                    <a:pt x="2019" y="9656"/>
                    <a:pt x="1898" y="9720"/>
                    <a:pt x="1775" y="9792"/>
                  </a:cubicBezTo>
                  <a:cubicBezTo>
                    <a:pt x="1660" y="9867"/>
                    <a:pt x="1555" y="9940"/>
                    <a:pt x="1547" y="9957"/>
                  </a:cubicBezTo>
                  <a:cubicBezTo>
                    <a:pt x="1538" y="9975"/>
                    <a:pt x="1505" y="9977"/>
                    <a:pt x="1477" y="9961"/>
                  </a:cubicBezTo>
                  <a:cubicBezTo>
                    <a:pt x="1448" y="9944"/>
                    <a:pt x="1405" y="9935"/>
                    <a:pt x="1385" y="9935"/>
                  </a:cubicBezTo>
                  <a:cubicBezTo>
                    <a:pt x="1368" y="9939"/>
                    <a:pt x="1327" y="9957"/>
                    <a:pt x="1293" y="9978"/>
                  </a:cubicBezTo>
                  <a:cubicBezTo>
                    <a:pt x="1259" y="9999"/>
                    <a:pt x="1196" y="10011"/>
                    <a:pt x="1147" y="10009"/>
                  </a:cubicBezTo>
                  <a:cubicBezTo>
                    <a:pt x="1098" y="10006"/>
                    <a:pt x="1061" y="9960"/>
                    <a:pt x="1061" y="9909"/>
                  </a:cubicBezTo>
                  <a:cubicBezTo>
                    <a:pt x="1061" y="9859"/>
                    <a:pt x="1033" y="9823"/>
                    <a:pt x="999" y="9832"/>
                  </a:cubicBezTo>
                  <a:cubicBezTo>
                    <a:pt x="961" y="9840"/>
                    <a:pt x="913" y="9837"/>
                    <a:pt x="913" y="9823"/>
                  </a:cubicBezTo>
                  <a:cubicBezTo>
                    <a:pt x="899" y="9810"/>
                    <a:pt x="863" y="9799"/>
                    <a:pt x="829" y="9802"/>
                  </a:cubicBezTo>
                  <a:cubicBezTo>
                    <a:pt x="793" y="9804"/>
                    <a:pt x="753" y="9828"/>
                    <a:pt x="744" y="9853"/>
                  </a:cubicBezTo>
                  <a:cubicBezTo>
                    <a:pt x="744" y="9878"/>
                    <a:pt x="744" y="9923"/>
                    <a:pt x="744" y="9955"/>
                  </a:cubicBezTo>
                  <a:cubicBezTo>
                    <a:pt x="763" y="9985"/>
                    <a:pt x="875" y="10093"/>
                    <a:pt x="999" y="10194"/>
                  </a:cubicBezTo>
                  <a:cubicBezTo>
                    <a:pt x="1132" y="10294"/>
                    <a:pt x="1259" y="10393"/>
                    <a:pt x="1304" y="10406"/>
                  </a:cubicBezTo>
                  <a:cubicBezTo>
                    <a:pt x="1333" y="10426"/>
                    <a:pt x="1395" y="10433"/>
                    <a:pt x="1424" y="10433"/>
                  </a:cubicBezTo>
                  <a:cubicBezTo>
                    <a:pt x="1450" y="10430"/>
                    <a:pt x="1475" y="10443"/>
                    <a:pt x="1475" y="10459"/>
                  </a:cubicBezTo>
                  <a:cubicBezTo>
                    <a:pt x="1475" y="10475"/>
                    <a:pt x="1552" y="10566"/>
                    <a:pt x="1642" y="10660"/>
                  </a:cubicBezTo>
                  <a:cubicBezTo>
                    <a:pt x="1729" y="10755"/>
                    <a:pt x="1989" y="10944"/>
                    <a:pt x="2203" y="11084"/>
                  </a:cubicBezTo>
                  <a:cubicBezTo>
                    <a:pt x="2420" y="11223"/>
                    <a:pt x="2679" y="11351"/>
                    <a:pt x="2781" y="11367"/>
                  </a:cubicBezTo>
                  <a:cubicBezTo>
                    <a:pt x="2884" y="11382"/>
                    <a:pt x="3021" y="11381"/>
                    <a:pt x="3091" y="11363"/>
                  </a:cubicBezTo>
                  <a:cubicBezTo>
                    <a:pt x="3162" y="11345"/>
                    <a:pt x="3336" y="11269"/>
                    <a:pt x="3479" y="11194"/>
                  </a:cubicBezTo>
                  <a:cubicBezTo>
                    <a:pt x="3622" y="11121"/>
                    <a:pt x="3820" y="11029"/>
                    <a:pt x="3913" y="10989"/>
                  </a:cubicBezTo>
                  <a:cubicBezTo>
                    <a:pt x="4006" y="10949"/>
                    <a:pt x="4098" y="10897"/>
                    <a:pt x="4089" y="10873"/>
                  </a:cubicBezTo>
                  <a:cubicBezTo>
                    <a:pt x="4089" y="10848"/>
                    <a:pt x="4119" y="10796"/>
                    <a:pt x="4171" y="10763"/>
                  </a:cubicBezTo>
                  <a:cubicBezTo>
                    <a:pt x="4207" y="10726"/>
                    <a:pt x="4258" y="10633"/>
                    <a:pt x="4267" y="10553"/>
                  </a:cubicBezTo>
                  <a:cubicBezTo>
                    <a:pt x="4276" y="10474"/>
                    <a:pt x="4257" y="10374"/>
                    <a:pt x="4213" y="10334"/>
                  </a:cubicBezTo>
                  <a:cubicBezTo>
                    <a:pt x="4168" y="10293"/>
                    <a:pt x="4177" y="10188"/>
                    <a:pt x="4212" y="10101"/>
                  </a:cubicBezTo>
                  <a:cubicBezTo>
                    <a:pt x="4257" y="10015"/>
                    <a:pt x="4289" y="9908"/>
                    <a:pt x="4289" y="9863"/>
                  </a:cubicBezTo>
                  <a:cubicBezTo>
                    <a:pt x="4289" y="9818"/>
                    <a:pt x="4299" y="9758"/>
                    <a:pt x="4308" y="9730"/>
                  </a:cubicBezTo>
                  <a:cubicBezTo>
                    <a:pt x="4317" y="9703"/>
                    <a:pt x="4326" y="9711"/>
                    <a:pt x="4359" y="9746"/>
                  </a:cubicBezTo>
                  <a:cubicBezTo>
                    <a:pt x="4376" y="9783"/>
                    <a:pt x="4449" y="9806"/>
                    <a:pt x="4515" y="9800"/>
                  </a:cubicBezTo>
                  <a:cubicBezTo>
                    <a:pt x="4581" y="9794"/>
                    <a:pt x="4658" y="9800"/>
                    <a:pt x="4693" y="9811"/>
                  </a:cubicBezTo>
                  <a:cubicBezTo>
                    <a:pt x="4728" y="9822"/>
                    <a:pt x="4789" y="9813"/>
                    <a:pt x="4839" y="9790"/>
                  </a:cubicBezTo>
                  <a:cubicBezTo>
                    <a:pt x="4890" y="9766"/>
                    <a:pt x="4905" y="9768"/>
                    <a:pt x="4887" y="9797"/>
                  </a:cubicBezTo>
                  <a:cubicBezTo>
                    <a:pt x="4870" y="9826"/>
                    <a:pt x="4811" y="9879"/>
                    <a:pt x="4768" y="9917"/>
                  </a:cubicBezTo>
                  <a:cubicBezTo>
                    <a:pt x="4731" y="9956"/>
                    <a:pt x="4657" y="9978"/>
                    <a:pt x="4621" y="9972"/>
                  </a:cubicBezTo>
                  <a:cubicBezTo>
                    <a:pt x="4585" y="9966"/>
                    <a:pt x="4548" y="9969"/>
                    <a:pt x="4530" y="9977"/>
                  </a:cubicBezTo>
                  <a:cubicBezTo>
                    <a:pt x="4520" y="9987"/>
                    <a:pt x="4487" y="10029"/>
                    <a:pt x="4487" y="10074"/>
                  </a:cubicBezTo>
                  <a:cubicBezTo>
                    <a:pt x="4469" y="10117"/>
                    <a:pt x="4490" y="10184"/>
                    <a:pt x="4517" y="10221"/>
                  </a:cubicBezTo>
                  <a:cubicBezTo>
                    <a:pt x="4543" y="10257"/>
                    <a:pt x="4559" y="10322"/>
                    <a:pt x="4550" y="10365"/>
                  </a:cubicBezTo>
                  <a:cubicBezTo>
                    <a:pt x="4542" y="10407"/>
                    <a:pt x="4568" y="10440"/>
                    <a:pt x="4600" y="10445"/>
                  </a:cubicBezTo>
                  <a:cubicBezTo>
                    <a:pt x="4633" y="10443"/>
                    <a:pt x="4714" y="10443"/>
                    <a:pt x="4776" y="10434"/>
                  </a:cubicBezTo>
                  <a:cubicBezTo>
                    <a:pt x="4839" y="10425"/>
                    <a:pt x="4931" y="10424"/>
                    <a:pt x="4975" y="10434"/>
                  </a:cubicBezTo>
                  <a:cubicBezTo>
                    <a:pt x="5023" y="10441"/>
                    <a:pt x="5024" y="10450"/>
                    <a:pt x="4981" y="10450"/>
                  </a:cubicBezTo>
                  <a:cubicBezTo>
                    <a:pt x="4937" y="10450"/>
                    <a:pt x="4889" y="10471"/>
                    <a:pt x="4865" y="10496"/>
                  </a:cubicBezTo>
                  <a:cubicBezTo>
                    <a:pt x="4846" y="10522"/>
                    <a:pt x="4778" y="10566"/>
                    <a:pt x="4721" y="10596"/>
                  </a:cubicBezTo>
                  <a:cubicBezTo>
                    <a:pt x="4660" y="10625"/>
                    <a:pt x="4636" y="10737"/>
                    <a:pt x="4654" y="10842"/>
                  </a:cubicBezTo>
                  <a:cubicBezTo>
                    <a:pt x="4672" y="10947"/>
                    <a:pt x="4721" y="11046"/>
                    <a:pt x="4749" y="11064"/>
                  </a:cubicBezTo>
                  <a:cubicBezTo>
                    <a:pt x="4781" y="11079"/>
                    <a:pt x="4829" y="11146"/>
                    <a:pt x="4846" y="11211"/>
                  </a:cubicBezTo>
                  <a:cubicBezTo>
                    <a:pt x="4881" y="11275"/>
                    <a:pt x="4880" y="11382"/>
                    <a:pt x="4898" y="11445"/>
                  </a:cubicBezTo>
                  <a:cubicBezTo>
                    <a:pt x="4898" y="11509"/>
                    <a:pt x="4884" y="11604"/>
                    <a:pt x="4850" y="11654"/>
                  </a:cubicBezTo>
                  <a:cubicBezTo>
                    <a:pt x="4832" y="11706"/>
                    <a:pt x="4806" y="11779"/>
                    <a:pt x="4797" y="11818"/>
                  </a:cubicBezTo>
                  <a:cubicBezTo>
                    <a:pt x="4797" y="11856"/>
                    <a:pt x="4838" y="11902"/>
                    <a:pt x="4875" y="11924"/>
                  </a:cubicBezTo>
                  <a:cubicBezTo>
                    <a:pt x="4919" y="11943"/>
                    <a:pt x="4912" y="11977"/>
                    <a:pt x="4861" y="11998"/>
                  </a:cubicBezTo>
                  <a:cubicBezTo>
                    <a:pt x="4815" y="12020"/>
                    <a:pt x="4779" y="12098"/>
                    <a:pt x="4788" y="12173"/>
                  </a:cubicBezTo>
                  <a:cubicBezTo>
                    <a:pt x="4805" y="12249"/>
                    <a:pt x="4863" y="12410"/>
                    <a:pt x="4943" y="12530"/>
                  </a:cubicBezTo>
                  <a:cubicBezTo>
                    <a:pt x="5022" y="12649"/>
                    <a:pt x="5083" y="12781"/>
                    <a:pt x="5083" y="12822"/>
                  </a:cubicBezTo>
                  <a:cubicBezTo>
                    <a:pt x="5092" y="12862"/>
                    <a:pt x="5100" y="12922"/>
                    <a:pt x="5135" y="12952"/>
                  </a:cubicBezTo>
                  <a:cubicBezTo>
                    <a:pt x="5153" y="12985"/>
                    <a:pt x="5156" y="13018"/>
                    <a:pt x="5116" y="13023"/>
                  </a:cubicBezTo>
                  <a:cubicBezTo>
                    <a:pt x="5078" y="13029"/>
                    <a:pt x="5041" y="13076"/>
                    <a:pt x="5041" y="13123"/>
                  </a:cubicBezTo>
                  <a:cubicBezTo>
                    <a:pt x="5041" y="13170"/>
                    <a:pt x="5096" y="13276"/>
                    <a:pt x="5167" y="13359"/>
                  </a:cubicBezTo>
                  <a:cubicBezTo>
                    <a:pt x="5238" y="13441"/>
                    <a:pt x="5252" y="13513"/>
                    <a:pt x="5193" y="13516"/>
                  </a:cubicBezTo>
                  <a:cubicBezTo>
                    <a:pt x="5135" y="13522"/>
                    <a:pt x="5119" y="13577"/>
                    <a:pt x="5171" y="13639"/>
                  </a:cubicBezTo>
                  <a:cubicBezTo>
                    <a:pt x="5208" y="13703"/>
                    <a:pt x="5247" y="13803"/>
                    <a:pt x="5247" y="13863"/>
                  </a:cubicBezTo>
                  <a:cubicBezTo>
                    <a:pt x="5247" y="13923"/>
                    <a:pt x="5329" y="14119"/>
                    <a:pt x="5419" y="14300"/>
                  </a:cubicBezTo>
                  <a:cubicBezTo>
                    <a:pt x="5516" y="14480"/>
                    <a:pt x="5588" y="14727"/>
                    <a:pt x="5580" y="14851"/>
                  </a:cubicBezTo>
                  <a:cubicBezTo>
                    <a:pt x="5562" y="14975"/>
                    <a:pt x="5587" y="15154"/>
                    <a:pt x="5622" y="15247"/>
                  </a:cubicBezTo>
                  <a:cubicBezTo>
                    <a:pt x="5649" y="15341"/>
                    <a:pt x="5715" y="15436"/>
                    <a:pt x="5757" y="15457"/>
                  </a:cubicBezTo>
                  <a:cubicBezTo>
                    <a:pt x="5795" y="15480"/>
                    <a:pt x="5838" y="15550"/>
                    <a:pt x="5855" y="15614"/>
                  </a:cubicBezTo>
                  <a:cubicBezTo>
                    <a:pt x="5855" y="15678"/>
                    <a:pt x="5910" y="15742"/>
                    <a:pt x="5937" y="15759"/>
                  </a:cubicBezTo>
                  <a:cubicBezTo>
                    <a:pt x="5971" y="15773"/>
                    <a:pt x="5993" y="15810"/>
                    <a:pt x="5993" y="15838"/>
                  </a:cubicBezTo>
                  <a:cubicBezTo>
                    <a:pt x="5993" y="15866"/>
                    <a:pt x="6039" y="15963"/>
                    <a:pt x="6083" y="16054"/>
                  </a:cubicBezTo>
                  <a:cubicBezTo>
                    <a:pt x="6135" y="16145"/>
                    <a:pt x="6188" y="16222"/>
                    <a:pt x="6206" y="16224"/>
                  </a:cubicBezTo>
                  <a:cubicBezTo>
                    <a:pt x="6224" y="16225"/>
                    <a:pt x="6232" y="16248"/>
                    <a:pt x="6232" y="16274"/>
                  </a:cubicBezTo>
                  <a:cubicBezTo>
                    <a:pt x="6223" y="16298"/>
                    <a:pt x="6274" y="16370"/>
                    <a:pt x="6334" y="16432"/>
                  </a:cubicBezTo>
                  <a:cubicBezTo>
                    <a:pt x="6386" y="16494"/>
                    <a:pt x="6452" y="16545"/>
                    <a:pt x="6467" y="16549"/>
                  </a:cubicBezTo>
                  <a:cubicBezTo>
                    <a:pt x="6483" y="16550"/>
                    <a:pt x="6488" y="16618"/>
                    <a:pt x="6488" y="16697"/>
                  </a:cubicBezTo>
                  <a:cubicBezTo>
                    <a:pt x="6488" y="16777"/>
                    <a:pt x="6496" y="16869"/>
                    <a:pt x="6522" y="16902"/>
                  </a:cubicBezTo>
                  <a:cubicBezTo>
                    <a:pt x="6541" y="16936"/>
                    <a:pt x="6583" y="17001"/>
                    <a:pt x="6601" y="17047"/>
                  </a:cubicBezTo>
                  <a:cubicBezTo>
                    <a:pt x="6628" y="17094"/>
                    <a:pt x="6646" y="17187"/>
                    <a:pt x="6646" y="17254"/>
                  </a:cubicBezTo>
                  <a:cubicBezTo>
                    <a:pt x="6646" y="17321"/>
                    <a:pt x="6684" y="17455"/>
                    <a:pt x="6710" y="17552"/>
                  </a:cubicBezTo>
                  <a:cubicBezTo>
                    <a:pt x="6745" y="17648"/>
                    <a:pt x="6781" y="17757"/>
                    <a:pt x="6808" y="17793"/>
                  </a:cubicBezTo>
                  <a:cubicBezTo>
                    <a:pt x="6827" y="17830"/>
                    <a:pt x="6840" y="17933"/>
                    <a:pt x="6840" y="18023"/>
                  </a:cubicBezTo>
                  <a:cubicBezTo>
                    <a:pt x="6831" y="18113"/>
                    <a:pt x="6842" y="18201"/>
                    <a:pt x="6866" y="18217"/>
                  </a:cubicBezTo>
                  <a:cubicBezTo>
                    <a:pt x="6884" y="18234"/>
                    <a:pt x="6916" y="18292"/>
                    <a:pt x="6942" y="18346"/>
                  </a:cubicBezTo>
                  <a:cubicBezTo>
                    <a:pt x="6960" y="18400"/>
                    <a:pt x="7034" y="18491"/>
                    <a:pt x="7088" y="18550"/>
                  </a:cubicBezTo>
                  <a:cubicBezTo>
                    <a:pt x="7142" y="18609"/>
                    <a:pt x="7208" y="18656"/>
                    <a:pt x="7227" y="18656"/>
                  </a:cubicBezTo>
                  <a:cubicBezTo>
                    <a:pt x="7245" y="18658"/>
                    <a:pt x="7287" y="18705"/>
                    <a:pt x="7322" y="18763"/>
                  </a:cubicBezTo>
                  <a:cubicBezTo>
                    <a:pt x="7356" y="18820"/>
                    <a:pt x="7438" y="18923"/>
                    <a:pt x="7492" y="18993"/>
                  </a:cubicBezTo>
                  <a:cubicBezTo>
                    <a:pt x="7554" y="19061"/>
                    <a:pt x="7620" y="19176"/>
                    <a:pt x="7620" y="19248"/>
                  </a:cubicBezTo>
                  <a:cubicBezTo>
                    <a:pt x="7646" y="19319"/>
                    <a:pt x="7644" y="19426"/>
                    <a:pt x="7662" y="19484"/>
                  </a:cubicBezTo>
                  <a:cubicBezTo>
                    <a:pt x="7679" y="19543"/>
                    <a:pt x="7703" y="19591"/>
                    <a:pt x="7722" y="19591"/>
                  </a:cubicBezTo>
                  <a:cubicBezTo>
                    <a:pt x="7742" y="19591"/>
                    <a:pt x="7754" y="19624"/>
                    <a:pt x="7745" y="19665"/>
                  </a:cubicBezTo>
                  <a:cubicBezTo>
                    <a:pt x="7737" y="19706"/>
                    <a:pt x="7760" y="19809"/>
                    <a:pt x="7803" y="19894"/>
                  </a:cubicBezTo>
                  <a:cubicBezTo>
                    <a:pt x="7838" y="19979"/>
                    <a:pt x="7873" y="20113"/>
                    <a:pt x="7891" y="20192"/>
                  </a:cubicBezTo>
                  <a:cubicBezTo>
                    <a:pt x="7909" y="20270"/>
                    <a:pt x="7898" y="20408"/>
                    <a:pt x="7889" y="20495"/>
                  </a:cubicBezTo>
                  <a:cubicBezTo>
                    <a:pt x="7871" y="20584"/>
                    <a:pt x="7912" y="20780"/>
                    <a:pt x="7965" y="20931"/>
                  </a:cubicBezTo>
                  <a:cubicBezTo>
                    <a:pt x="8018" y="21082"/>
                    <a:pt x="8107" y="21260"/>
                    <a:pt x="8160" y="21328"/>
                  </a:cubicBezTo>
                  <a:cubicBezTo>
                    <a:pt x="8220" y="21395"/>
                    <a:pt x="8303" y="21485"/>
                    <a:pt x="8371" y="21522"/>
                  </a:cubicBezTo>
                  <a:cubicBezTo>
                    <a:pt x="8434" y="21561"/>
                    <a:pt x="8546" y="21596"/>
                    <a:pt x="8621" y="21592"/>
                  </a:cubicBezTo>
                  <a:cubicBezTo>
                    <a:pt x="8695" y="21592"/>
                    <a:pt x="8839" y="21543"/>
                    <a:pt x="8943" y="21485"/>
                  </a:cubicBezTo>
                  <a:cubicBezTo>
                    <a:pt x="9046" y="21426"/>
                    <a:pt x="9155" y="21331"/>
                    <a:pt x="9190" y="21274"/>
                  </a:cubicBezTo>
                  <a:cubicBezTo>
                    <a:pt x="9216" y="21216"/>
                    <a:pt x="9253" y="21156"/>
                    <a:pt x="9237" y="21142"/>
                  </a:cubicBezTo>
                  <a:cubicBezTo>
                    <a:pt x="9237" y="21126"/>
                    <a:pt x="9231" y="21106"/>
                    <a:pt x="9246" y="21096"/>
                  </a:cubicBezTo>
                  <a:cubicBezTo>
                    <a:pt x="9262" y="21086"/>
                    <a:pt x="9276" y="21058"/>
                    <a:pt x="9284" y="21036"/>
                  </a:cubicBezTo>
                  <a:cubicBezTo>
                    <a:pt x="9301" y="21014"/>
                    <a:pt x="9333" y="20962"/>
                    <a:pt x="9361" y="20921"/>
                  </a:cubicBezTo>
                  <a:cubicBezTo>
                    <a:pt x="9387" y="20880"/>
                    <a:pt x="9493" y="20816"/>
                    <a:pt x="9580" y="20779"/>
                  </a:cubicBezTo>
                  <a:cubicBezTo>
                    <a:pt x="9663" y="20739"/>
                    <a:pt x="9750" y="20709"/>
                    <a:pt x="9765" y="20709"/>
                  </a:cubicBezTo>
                  <a:cubicBezTo>
                    <a:pt x="9780" y="20709"/>
                    <a:pt x="9883" y="20681"/>
                    <a:pt x="9981" y="20639"/>
                  </a:cubicBezTo>
                  <a:cubicBezTo>
                    <a:pt x="10082" y="20599"/>
                    <a:pt x="10198" y="20573"/>
                    <a:pt x="10226" y="20585"/>
                  </a:cubicBezTo>
                  <a:cubicBezTo>
                    <a:pt x="10260" y="20594"/>
                    <a:pt x="10296" y="20617"/>
                    <a:pt x="10296" y="20635"/>
                  </a:cubicBezTo>
                  <a:cubicBezTo>
                    <a:pt x="10304" y="20652"/>
                    <a:pt x="10311" y="20655"/>
                    <a:pt x="10311" y="20640"/>
                  </a:cubicBezTo>
                  <a:cubicBezTo>
                    <a:pt x="10311" y="20625"/>
                    <a:pt x="10303" y="20604"/>
                    <a:pt x="10303" y="20593"/>
                  </a:cubicBezTo>
                  <a:cubicBezTo>
                    <a:pt x="10303" y="20581"/>
                    <a:pt x="10242" y="20547"/>
                    <a:pt x="10172" y="20520"/>
                  </a:cubicBezTo>
                  <a:cubicBezTo>
                    <a:pt x="10104" y="20492"/>
                    <a:pt x="10055" y="20446"/>
                    <a:pt x="10047" y="20420"/>
                  </a:cubicBezTo>
                  <a:cubicBezTo>
                    <a:pt x="10047" y="20393"/>
                    <a:pt x="10073" y="20353"/>
                    <a:pt x="10091" y="20325"/>
                  </a:cubicBezTo>
                  <a:cubicBezTo>
                    <a:pt x="10123" y="20302"/>
                    <a:pt x="10190" y="20216"/>
                    <a:pt x="10269" y="20141"/>
                  </a:cubicBezTo>
                  <a:cubicBezTo>
                    <a:pt x="10342" y="20065"/>
                    <a:pt x="10384" y="19990"/>
                    <a:pt x="10384" y="19973"/>
                  </a:cubicBezTo>
                  <a:cubicBezTo>
                    <a:pt x="10375" y="19956"/>
                    <a:pt x="10403" y="19908"/>
                    <a:pt x="10431" y="19863"/>
                  </a:cubicBezTo>
                  <a:cubicBezTo>
                    <a:pt x="10459" y="19818"/>
                    <a:pt x="10543" y="19774"/>
                    <a:pt x="10602" y="19760"/>
                  </a:cubicBezTo>
                  <a:cubicBezTo>
                    <a:pt x="10663" y="19747"/>
                    <a:pt x="10729" y="19742"/>
                    <a:pt x="10749" y="19751"/>
                  </a:cubicBezTo>
                  <a:cubicBezTo>
                    <a:pt x="10772" y="19758"/>
                    <a:pt x="10819" y="19748"/>
                    <a:pt x="10870" y="19733"/>
                  </a:cubicBezTo>
                  <a:cubicBezTo>
                    <a:pt x="10913" y="19715"/>
                    <a:pt x="10968" y="19661"/>
                    <a:pt x="10968" y="19614"/>
                  </a:cubicBezTo>
                  <a:cubicBezTo>
                    <a:pt x="10985" y="19567"/>
                    <a:pt x="11002" y="19386"/>
                    <a:pt x="11011" y="19213"/>
                  </a:cubicBezTo>
                  <a:cubicBezTo>
                    <a:pt x="11029" y="19040"/>
                    <a:pt x="11032" y="18871"/>
                    <a:pt x="11006" y="18843"/>
                  </a:cubicBezTo>
                  <a:cubicBezTo>
                    <a:pt x="10989" y="18813"/>
                    <a:pt x="10984" y="18721"/>
                    <a:pt x="11001" y="18641"/>
                  </a:cubicBezTo>
                  <a:cubicBezTo>
                    <a:pt x="11019" y="18560"/>
                    <a:pt x="11079" y="18410"/>
                    <a:pt x="11158" y="18310"/>
                  </a:cubicBezTo>
                  <a:cubicBezTo>
                    <a:pt x="11228" y="18209"/>
                    <a:pt x="11341" y="18011"/>
                    <a:pt x="11419" y="17870"/>
                  </a:cubicBezTo>
                  <a:cubicBezTo>
                    <a:pt x="11490" y="17729"/>
                    <a:pt x="11550" y="17529"/>
                    <a:pt x="11559" y="17427"/>
                  </a:cubicBezTo>
                  <a:cubicBezTo>
                    <a:pt x="11568" y="17323"/>
                    <a:pt x="11531" y="17225"/>
                    <a:pt x="11477" y="17213"/>
                  </a:cubicBezTo>
                  <a:cubicBezTo>
                    <a:pt x="11423" y="17200"/>
                    <a:pt x="11403" y="17054"/>
                    <a:pt x="11422" y="16892"/>
                  </a:cubicBezTo>
                  <a:cubicBezTo>
                    <a:pt x="11439" y="16729"/>
                    <a:pt x="11453" y="16549"/>
                    <a:pt x="11462" y="16492"/>
                  </a:cubicBezTo>
                  <a:cubicBezTo>
                    <a:pt x="11462" y="16435"/>
                    <a:pt x="11499" y="16356"/>
                    <a:pt x="11534" y="16315"/>
                  </a:cubicBezTo>
                  <a:cubicBezTo>
                    <a:pt x="11571" y="16274"/>
                    <a:pt x="11581" y="16159"/>
                    <a:pt x="11563" y="16057"/>
                  </a:cubicBezTo>
                  <a:cubicBezTo>
                    <a:pt x="11546" y="15954"/>
                    <a:pt x="11512" y="15810"/>
                    <a:pt x="11531" y="15735"/>
                  </a:cubicBezTo>
                  <a:cubicBezTo>
                    <a:pt x="11531" y="15659"/>
                    <a:pt x="11563" y="15566"/>
                    <a:pt x="11590" y="15527"/>
                  </a:cubicBezTo>
                  <a:cubicBezTo>
                    <a:pt x="11617" y="15488"/>
                    <a:pt x="11703" y="15395"/>
                    <a:pt x="11782" y="15321"/>
                  </a:cubicBezTo>
                  <a:cubicBezTo>
                    <a:pt x="11868" y="15249"/>
                    <a:pt x="11943" y="15188"/>
                    <a:pt x="11961" y="15186"/>
                  </a:cubicBezTo>
                  <a:cubicBezTo>
                    <a:pt x="11979" y="15186"/>
                    <a:pt x="12005" y="15211"/>
                    <a:pt x="12030" y="15241"/>
                  </a:cubicBezTo>
                  <a:cubicBezTo>
                    <a:pt x="12039" y="15273"/>
                    <a:pt x="12092" y="15300"/>
                    <a:pt x="12124" y="15300"/>
                  </a:cubicBezTo>
                  <a:cubicBezTo>
                    <a:pt x="12156" y="15302"/>
                    <a:pt x="12234" y="15241"/>
                    <a:pt x="12303" y="15166"/>
                  </a:cubicBezTo>
                  <a:cubicBezTo>
                    <a:pt x="12357" y="15088"/>
                    <a:pt x="12422" y="14992"/>
                    <a:pt x="12432" y="14948"/>
                  </a:cubicBezTo>
                  <a:cubicBezTo>
                    <a:pt x="12432" y="14903"/>
                    <a:pt x="12477" y="14837"/>
                    <a:pt x="12522" y="14800"/>
                  </a:cubicBezTo>
                  <a:cubicBezTo>
                    <a:pt x="12571" y="14764"/>
                    <a:pt x="12681" y="14742"/>
                    <a:pt x="12773" y="14752"/>
                  </a:cubicBezTo>
                  <a:cubicBezTo>
                    <a:pt x="12868" y="14761"/>
                    <a:pt x="12986" y="14743"/>
                    <a:pt x="13038" y="14710"/>
                  </a:cubicBezTo>
                  <a:cubicBezTo>
                    <a:pt x="13090" y="14676"/>
                    <a:pt x="13159" y="14605"/>
                    <a:pt x="13204" y="14555"/>
                  </a:cubicBezTo>
                  <a:cubicBezTo>
                    <a:pt x="13239" y="14502"/>
                    <a:pt x="13259" y="14419"/>
                    <a:pt x="13269" y="14371"/>
                  </a:cubicBezTo>
                  <a:cubicBezTo>
                    <a:pt x="13261" y="14322"/>
                    <a:pt x="13262" y="14246"/>
                    <a:pt x="13281" y="14201"/>
                  </a:cubicBezTo>
                  <a:cubicBezTo>
                    <a:pt x="13290" y="14157"/>
                    <a:pt x="13344" y="14077"/>
                    <a:pt x="13412" y="14028"/>
                  </a:cubicBezTo>
                  <a:cubicBezTo>
                    <a:pt x="13473" y="13976"/>
                    <a:pt x="13586" y="13908"/>
                    <a:pt x="13670" y="13881"/>
                  </a:cubicBezTo>
                  <a:cubicBezTo>
                    <a:pt x="13748" y="13851"/>
                    <a:pt x="13852" y="13791"/>
                    <a:pt x="13896" y="13747"/>
                  </a:cubicBezTo>
                  <a:cubicBezTo>
                    <a:pt x="13945" y="13705"/>
                    <a:pt x="14008" y="13623"/>
                    <a:pt x="14034" y="13568"/>
                  </a:cubicBezTo>
                  <a:cubicBezTo>
                    <a:pt x="14070" y="13514"/>
                    <a:pt x="14250" y="13343"/>
                    <a:pt x="14437" y="13188"/>
                  </a:cubicBezTo>
                  <a:cubicBezTo>
                    <a:pt x="14631" y="13036"/>
                    <a:pt x="14813" y="12827"/>
                    <a:pt x="14849" y="12727"/>
                  </a:cubicBezTo>
                  <a:cubicBezTo>
                    <a:pt x="14884" y="12627"/>
                    <a:pt x="15031" y="12440"/>
                    <a:pt x="15174" y="12313"/>
                  </a:cubicBezTo>
                  <a:cubicBezTo>
                    <a:pt x="15316" y="12186"/>
                    <a:pt x="15411" y="12073"/>
                    <a:pt x="15393" y="12066"/>
                  </a:cubicBezTo>
                  <a:cubicBezTo>
                    <a:pt x="15383" y="12055"/>
                    <a:pt x="15360" y="12062"/>
                    <a:pt x="15342" y="12075"/>
                  </a:cubicBezTo>
                  <a:cubicBezTo>
                    <a:pt x="15342" y="12090"/>
                    <a:pt x="15295" y="12112"/>
                    <a:pt x="15265" y="12127"/>
                  </a:cubicBezTo>
                  <a:cubicBezTo>
                    <a:pt x="15233" y="12141"/>
                    <a:pt x="15218" y="12107"/>
                    <a:pt x="15227" y="12052"/>
                  </a:cubicBezTo>
                  <a:cubicBezTo>
                    <a:pt x="15244" y="11998"/>
                    <a:pt x="15263" y="11949"/>
                    <a:pt x="15284" y="11946"/>
                  </a:cubicBezTo>
                  <a:cubicBezTo>
                    <a:pt x="15304" y="11942"/>
                    <a:pt x="15354" y="11918"/>
                    <a:pt x="15383" y="11888"/>
                  </a:cubicBezTo>
                  <a:cubicBezTo>
                    <a:pt x="15424" y="11861"/>
                    <a:pt x="15457" y="11836"/>
                    <a:pt x="15472" y="11836"/>
                  </a:cubicBezTo>
                  <a:cubicBezTo>
                    <a:pt x="15486" y="11836"/>
                    <a:pt x="15502" y="11844"/>
                    <a:pt x="15511" y="11854"/>
                  </a:cubicBezTo>
                  <a:cubicBezTo>
                    <a:pt x="15524" y="11862"/>
                    <a:pt x="15525" y="11888"/>
                    <a:pt x="15525" y="11909"/>
                  </a:cubicBezTo>
                  <a:cubicBezTo>
                    <a:pt x="15516" y="11930"/>
                    <a:pt x="15535" y="11960"/>
                    <a:pt x="15544" y="11975"/>
                  </a:cubicBezTo>
                  <a:cubicBezTo>
                    <a:pt x="15553" y="11991"/>
                    <a:pt x="15649" y="11954"/>
                    <a:pt x="15757" y="11895"/>
                  </a:cubicBezTo>
                  <a:cubicBezTo>
                    <a:pt x="15861" y="11836"/>
                    <a:pt x="15956" y="11766"/>
                    <a:pt x="15956" y="11739"/>
                  </a:cubicBezTo>
                  <a:cubicBezTo>
                    <a:pt x="15964" y="11713"/>
                    <a:pt x="16022" y="11647"/>
                    <a:pt x="16092" y="11593"/>
                  </a:cubicBezTo>
                  <a:cubicBezTo>
                    <a:pt x="16165" y="11538"/>
                    <a:pt x="16216" y="11472"/>
                    <a:pt x="16207" y="11447"/>
                  </a:cubicBezTo>
                  <a:cubicBezTo>
                    <a:pt x="16207" y="11422"/>
                    <a:pt x="16211" y="11399"/>
                    <a:pt x="16230" y="11397"/>
                  </a:cubicBezTo>
                  <a:cubicBezTo>
                    <a:pt x="16249" y="11393"/>
                    <a:pt x="16286" y="11362"/>
                    <a:pt x="16286" y="11324"/>
                  </a:cubicBezTo>
                  <a:cubicBezTo>
                    <a:pt x="16303" y="11288"/>
                    <a:pt x="16347" y="11224"/>
                    <a:pt x="16383" y="11183"/>
                  </a:cubicBezTo>
                  <a:cubicBezTo>
                    <a:pt x="16435" y="11144"/>
                    <a:pt x="16456" y="11102"/>
                    <a:pt x="16440" y="11098"/>
                  </a:cubicBezTo>
                  <a:cubicBezTo>
                    <a:pt x="16430" y="11092"/>
                    <a:pt x="16424" y="11077"/>
                    <a:pt x="16424" y="11063"/>
                  </a:cubicBezTo>
                  <a:cubicBezTo>
                    <a:pt x="16424" y="11050"/>
                    <a:pt x="16412" y="11004"/>
                    <a:pt x="16393" y="10961"/>
                  </a:cubicBezTo>
                  <a:cubicBezTo>
                    <a:pt x="16375" y="10918"/>
                    <a:pt x="16349" y="10863"/>
                    <a:pt x="16349" y="10838"/>
                  </a:cubicBezTo>
                  <a:cubicBezTo>
                    <a:pt x="16340" y="10814"/>
                    <a:pt x="16355" y="10760"/>
                    <a:pt x="16374" y="10721"/>
                  </a:cubicBezTo>
                  <a:cubicBezTo>
                    <a:pt x="16400" y="10681"/>
                    <a:pt x="16413" y="10622"/>
                    <a:pt x="16422" y="10591"/>
                  </a:cubicBezTo>
                  <a:cubicBezTo>
                    <a:pt x="16438" y="10561"/>
                    <a:pt x="16456" y="10521"/>
                    <a:pt x="16473" y="10503"/>
                  </a:cubicBezTo>
                  <a:cubicBezTo>
                    <a:pt x="16496" y="10486"/>
                    <a:pt x="16599" y="10429"/>
                    <a:pt x="16717" y="10384"/>
                  </a:cubicBezTo>
                  <a:cubicBezTo>
                    <a:pt x="16824" y="10334"/>
                    <a:pt x="16945" y="10271"/>
                    <a:pt x="16971" y="10237"/>
                  </a:cubicBezTo>
                  <a:cubicBezTo>
                    <a:pt x="16998" y="10203"/>
                    <a:pt x="17025" y="10151"/>
                    <a:pt x="17025" y="10122"/>
                  </a:cubicBezTo>
                  <a:cubicBezTo>
                    <a:pt x="17025" y="10093"/>
                    <a:pt x="17032" y="10045"/>
                    <a:pt x="17050" y="10017"/>
                  </a:cubicBezTo>
                  <a:cubicBezTo>
                    <a:pt x="17050" y="9989"/>
                    <a:pt x="17089" y="9957"/>
                    <a:pt x="17089" y="9945"/>
                  </a:cubicBezTo>
                  <a:cubicBezTo>
                    <a:pt x="17099" y="9933"/>
                    <a:pt x="17092" y="9909"/>
                    <a:pt x="17083" y="9889"/>
                  </a:cubicBezTo>
                  <a:cubicBezTo>
                    <a:pt x="17073" y="9869"/>
                    <a:pt x="17037" y="9851"/>
                    <a:pt x="17019" y="9843"/>
                  </a:cubicBezTo>
                  <a:cubicBezTo>
                    <a:pt x="16999" y="9836"/>
                    <a:pt x="16993" y="9820"/>
                    <a:pt x="16975" y="9811"/>
                  </a:cubicBezTo>
                  <a:cubicBezTo>
                    <a:pt x="16975" y="9800"/>
                    <a:pt x="16996" y="9790"/>
                    <a:pt x="17028" y="9790"/>
                  </a:cubicBezTo>
                  <a:cubicBezTo>
                    <a:pt x="17059" y="9790"/>
                    <a:pt x="17099" y="9815"/>
                    <a:pt x="17133" y="9841"/>
                  </a:cubicBezTo>
                  <a:cubicBezTo>
                    <a:pt x="17161" y="9868"/>
                    <a:pt x="17169" y="9915"/>
                    <a:pt x="17169" y="9946"/>
                  </a:cubicBezTo>
                  <a:cubicBezTo>
                    <a:pt x="17151" y="9976"/>
                    <a:pt x="17164" y="10043"/>
                    <a:pt x="17172" y="10094"/>
                  </a:cubicBezTo>
                  <a:cubicBezTo>
                    <a:pt x="17181" y="10144"/>
                    <a:pt x="17216" y="10193"/>
                    <a:pt x="17243" y="10206"/>
                  </a:cubicBezTo>
                  <a:cubicBezTo>
                    <a:pt x="17271" y="10218"/>
                    <a:pt x="17302" y="10221"/>
                    <a:pt x="17302" y="10215"/>
                  </a:cubicBezTo>
                  <a:cubicBezTo>
                    <a:pt x="17313" y="10210"/>
                    <a:pt x="17330" y="10203"/>
                    <a:pt x="17359" y="10203"/>
                  </a:cubicBezTo>
                  <a:cubicBezTo>
                    <a:pt x="17386" y="10203"/>
                    <a:pt x="17412" y="10192"/>
                    <a:pt x="17421" y="10178"/>
                  </a:cubicBezTo>
                  <a:cubicBezTo>
                    <a:pt x="17421" y="10164"/>
                    <a:pt x="17441" y="10161"/>
                    <a:pt x="17441" y="10171"/>
                  </a:cubicBezTo>
                  <a:cubicBezTo>
                    <a:pt x="17441" y="10182"/>
                    <a:pt x="17448" y="10170"/>
                    <a:pt x="17457" y="10147"/>
                  </a:cubicBezTo>
                  <a:cubicBezTo>
                    <a:pt x="17466" y="10124"/>
                    <a:pt x="17465" y="10090"/>
                    <a:pt x="17474" y="10073"/>
                  </a:cubicBezTo>
                  <a:cubicBezTo>
                    <a:pt x="17482" y="10055"/>
                    <a:pt x="17486" y="10060"/>
                    <a:pt x="17495" y="10083"/>
                  </a:cubicBezTo>
                  <a:cubicBezTo>
                    <a:pt x="17503" y="10106"/>
                    <a:pt x="17521" y="10163"/>
                    <a:pt x="17530" y="10209"/>
                  </a:cubicBezTo>
                  <a:cubicBezTo>
                    <a:pt x="17548" y="10254"/>
                    <a:pt x="17565" y="10304"/>
                    <a:pt x="17587" y="10315"/>
                  </a:cubicBezTo>
                  <a:cubicBezTo>
                    <a:pt x="17605" y="10327"/>
                    <a:pt x="17613" y="10318"/>
                    <a:pt x="17622" y="10297"/>
                  </a:cubicBezTo>
                  <a:cubicBezTo>
                    <a:pt x="17622" y="10275"/>
                    <a:pt x="17636" y="10285"/>
                    <a:pt x="17671" y="10317"/>
                  </a:cubicBezTo>
                  <a:cubicBezTo>
                    <a:pt x="17688" y="10351"/>
                    <a:pt x="17734" y="10348"/>
                    <a:pt x="17752" y="10311"/>
                  </a:cubicBezTo>
                  <a:cubicBezTo>
                    <a:pt x="17769" y="10274"/>
                    <a:pt x="17778" y="10207"/>
                    <a:pt x="17751" y="10162"/>
                  </a:cubicBezTo>
                  <a:cubicBezTo>
                    <a:pt x="17733" y="10116"/>
                    <a:pt x="17721" y="10075"/>
                    <a:pt x="17731" y="10073"/>
                  </a:cubicBezTo>
                  <a:cubicBezTo>
                    <a:pt x="17740" y="10071"/>
                    <a:pt x="17737" y="10015"/>
                    <a:pt x="17737" y="9952"/>
                  </a:cubicBezTo>
                  <a:cubicBezTo>
                    <a:pt x="17737" y="9889"/>
                    <a:pt x="17723" y="9810"/>
                    <a:pt x="17706" y="9777"/>
                  </a:cubicBezTo>
                  <a:cubicBezTo>
                    <a:pt x="17689" y="9743"/>
                    <a:pt x="17682" y="9671"/>
                    <a:pt x="17682" y="9616"/>
                  </a:cubicBezTo>
                  <a:close/>
                  <a:moveTo>
                    <a:pt x="17682" y="96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3" name="AutoShape 462"/>
            <p:cNvSpPr>
              <a:spLocks/>
            </p:cNvSpPr>
            <p:nvPr/>
          </p:nvSpPr>
          <p:spPr bwMode="auto">
            <a:xfrm>
              <a:off x="10134600" y="4000500"/>
              <a:ext cx="0" cy="0"/>
            </a:xfrm>
            <a:custGeom>
              <a:avLst/>
              <a:gdLst/>
              <a:ahLst/>
              <a:cxnLst/>
              <a:rect l="0" t="0" r="r" b="b"/>
              <a:pathLst>
                <a:path w="21600" h="21600">
                  <a:moveTo>
                    <a:pt x="17885" y="7058"/>
                  </a:moveTo>
                  <a:cubicBezTo>
                    <a:pt x="17885" y="5008"/>
                    <a:pt x="21600" y="2187"/>
                    <a:pt x="21600" y="0"/>
                  </a:cubicBezTo>
                  <a:cubicBezTo>
                    <a:pt x="21600" y="8087"/>
                    <a:pt x="0" y="14148"/>
                    <a:pt x="0" y="21600"/>
                  </a:cubicBezTo>
                  <a:cubicBezTo>
                    <a:pt x="0" y="15547"/>
                    <a:pt x="17885" y="13618"/>
                    <a:pt x="17885" y="7058"/>
                  </a:cubicBezTo>
                  <a:close/>
                  <a:moveTo>
                    <a:pt x="17885" y="70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4" name="AutoShape 463"/>
            <p:cNvSpPr>
              <a:spLocks/>
            </p:cNvSpPr>
            <p:nvPr/>
          </p:nvSpPr>
          <p:spPr bwMode="auto">
            <a:xfrm>
              <a:off x="10045700" y="3771900"/>
              <a:ext cx="155575" cy="230188"/>
            </a:xfrm>
            <a:custGeom>
              <a:avLst/>
              <a:gdLst/>
              <a:ahLst/>
              <a:cxnLst/>
              <a:rect l="0" t="0" r="r" b="b"/>
              <a:pathLst>
                <a:path w="21497" h="21577">
                  <a:moveTo>
                    <a:pt x="3405" y="1645"/>
                  </a:moveTo>
                  <a:cubicBezTo>
                    <a:pt x="3086" y="1789"/>
                    <a:pt x="2371" y="1957"/>
                    <a:pt x="1827" y="2028"/>
                  </a:cubicBezTo>
                  <a:cubicBezTo>
                    <a:pt x="1282" y="2103"/>
                    <a:pt x="895" y="2300"/>
                    <a:pt x="973" y="2475"/>
                  </a:cubicBezTo>
                  <a:cubicBezTo>
                    <a:pt x="1049" y="2649"/>
                    <a:pt x="822" y="3011"/>
                    <a:pt x="489" y="3290"/>
                  </a:cubicBezTo>
                  <a:cubicBezTo>
                    <a:pt x="134" y="3557"/>
                    <a:pt x="-77" y="4118"/>
                    <a:pt x="27" y="4513"/>
                  </a:cubicBezTo>
                  <a:cubicBezTo>
                    <a:pt x="129" y="4909"/>
                    <a:pt x="280" y="5370"/>
                    <a:pt x="439" y="5508"/>
                  </a:cubicBezTo>
                  <a:cubicBezTo>
                    <a:pt x="564" y="5661"/>
                    <a:pt x="769" y="5739"/>
                    <a:pt x="883" y="5701"/>
                  </a:cubicBezTo>
                  <a:cubicBezTo>
                    <a:pt x="995" y="5663"/>
                    <a:pt x="1209" y="5585"/>
                    <a:pt x="1355" y="5525"/>
                  </a:cubicBezTo>
                  <a:cubicBezTo>
                    <a:pt x="1510" y="5473"/>
                    <a:pt x="1790" y="5652"/>
                    <a:pt x="1992" y="5917"/>
                  </a:cubicBezTo>
                  <a:cubicBezTo>
                    <a:pt x="2199" y="6184"/>
                    <a:pt x="2553" y="6614"/>
                    <a:pt x="2801" y="6867"/>
                  </a:cubicBezTo>
                  <a:cubicBezTo>
                    <a:pt x="3050" y="7121"/>
                    <a:pt x="3446" y="7475"/>
                    <a:pt x="3677" y="7658"/>
                  </a:cubicBezTo>
                  <a:cubicBezTo>
                    <a:pt x="3907" y="7840"/>
                    <a:pt x="4178" y="8152"/>
                    <a:pt x="4229" y="8360"/>
                  </a:cubicBezTo>
                  <a:cubicBezTo>
                    <a:pt x="4277" y="8568"/>
                    <a:pt x="4557" y="8814"/>
                    <a:pt x="4792" y="8920"/>
                  </a:cubicBezTo>
                  <a:cubicBezTo>
                    <a:pt x="5026" y="9027"/>
                    <a:pt x="5238" y="9308"/>
                    <a:pt x="5290" y="9550"/>
                  </a:cubicBezTo>
                  <a:cubicBezTo>
                    <a:pt x="5290" y="9795"/>
                    <a:pt x="5199" y="10120"/>
                    <a:pt x="5001" y="10272"/>
                  </a:cubicBezTo>
                  <a:cubicBezTo>
                    <a:pt x="4800" y="10425"/>
                    <a:pt x="4646" y="10719"/>
                    <a:pt x="4646" y="10924"/>
                  </a:cubicBezTo>
                  <a:cubicBezTo>
                    <a:pt x="4646" y="11129"/>
                    <a:pt x="4542" y="11333"/>
                    <a:pt x="4430" y="11399"/>
                  </a:cubicBezTo>
                  <a:cubicBezTo>
                    <a:pt x="4313" y="11463"/>
                    <a:pt x="4262" y="11755"/>
                    <a:pt x="4287" y="12065"/>
                  </a:cubicBezTo>
                  <a:cubicBezTo>
                    <a:pt x="4311" y="12374"/>
                    <a:pt x="4494" y="12884"/>
                    <a:pt x="4691" y="13187"/>
                  </a:cubicBezTo>
                  <a:cubicBezTo>
                    <a:pt x="4841" y="13501"/>
                    <a:pt x="5208" y="14304"/>
                    <a:pt x="5386" y="14994"/>
                  </a:cubicBezTo>
                  <a:cubicBezTo>
                    <a:pt x="5616" y="15676"/>
                    <a:pt x="5836" y="16482"/>
                    <a:pt x="5887" y="16782"/>
                  </a:cubicBezTo>
                  <a:cubicBezTo>
                    <a:pt x="5986" y="17076"/>
                    <a:pt x="6288" y="17609"/>
                    <a:pt x="6594" y="17964"/>
                  </a:cubicBezTo>
                  <a:cubicBezTo>
                    <a:pt x="6920" y="18313"/>
                    <a:pt x="7418" y="18698"/>
                    <a:pt x="7719" y="18817"/>
                  </a:cubicBezTo>
                  <a:cubicBezTo>
                    <a:pt x="8014" y="18936"/>
                    <a:pt x="8495" y="19169"/>
                    <a:pt x="8779" y="19335"/>
                  </a:cubicBezTo>
                  <a:cubicBezTo>
                    <a:pt x="9054" y="19512"/>
                    <a:pt x="9414" y="19854"/>
                    <a:pt x="9514" y="20121"/>
                  </a:cubicBezTo>
                  <a:cubicBezTo>
                    <a:pt x="9638" y="20383"/>
                    <a:pt x="9932" y="20666"/>
                    <a:pt x="10168" y="20755"/>
                  </a:cubicBezTo>
                  <a:cubicBezTo>
                    <a:pt x="10408" y="20837"/>
                    <a:pt x="10732" y="20842"/>
                    <a:pt x="10912" y="20773"/>
                  </a:cubicBezTo>
                  <a:cubicBezTo>
                    <a:pt x="11077" y="20689"/>
                    <a:pt x="11385" y="20701"/>
                    <a:pt x="11583" y="20777"/>
                  </a:cubicBezTo>
                  <a:cubicBezTo>
                    <a:pt x="11777" y="20859"/>
                    <a:pt x="11989" y="21095"/>
                    <a:pt x="12015" y="21311"/>
                  </a:cubicBezTo>
                  <a:cubicBezTo>
                    <a:pt x="12066" y="21483"/>
                    <a:pt x="12096" y="21565"/>
                    <a:pt x="12130" y="21577"/>
                  </a:cubicBezTo>
                  <a:cubicBezTo>
                    <a:pt x="12278" y="21293"/>
                    <a:pt x="12431" y="20943"/>
                    <a:pt x="12533" y="20642"/>
                  </a:cubicBezTo>
                  <a:cubicBezTo>
                    <a:pt x="12706" y="20181"/>
                    <a:pt x="13024" y="19617"/>
                    <a:pt x="13185" y="19368"/>
                  </a:cubicBezTo>
                  <a:cubicBezTo>
                    <a:pt x="13379" y="19130"/>
                    <a:pt x="13680" y="18940"/>
                    <a:pt x="13865" y="18940"/>
                  </a:cubicBezTo>
                  <a:cubicBezTo>
                    <a:pt x="14045" y="18950"/>
                    <a:pt x="14269" y="18767"/>
                    <a:pt x="14320" y="18542"/>
                  </a:cubicBezTo>
                  <a:cubicBezTo>
                    <a:pt x="14398" y="18321"/>
                    <a:pt x="14570" y="18148"/>
                    <a:pt x="14721" y="18166"/>
                  </a:cubicBezTo>
                  <a:cubicBezTo>
                    <a:pt x="14874" y="18184"/>
                    <a:pt x="15351" y="18524"/>
                    <a:pt x="15791" y="18919"/>
                  </a:cubicBezTo>
                  <a:cubicBezTo>
                    <a:pt x="16226" y="19320"/>
                    <a:pt x="16753" y="19547"/>
                    <a:pt x="16923" y="19403"/>
                  </a:cubicBezTo>
                  <a:cubicBezTo>
                    <a:pt x="17121" y="19276"/>
                    <a:pt x="17432" y="19265"/>
                    <a:pt x="17640" y="19389"/>
                  </a:cubicBezTo>
                  <a:cubicBezTo>
                    <a:pt x="17849" y="19512"/>
                    <a:pt x="18115" y="19836"/>
                    <a:pt x="18195" y="20113"/>
                  </a:cubicBezTo>
                  <a:cubicBezTo>
                    <a:pt x="18271" y="20390"/>
                    <a:pt x="18521" y="20617"/>
                    <a:pt x="18698" y="20617"/>
                  </a:cubicBezTo>
                  <a:cubicBezTo>
                    <a:pt x="18873" y="20625"/>
                    <a:pt x="19252" y="20858"/>
                    <a:pt x="19578" y="21121"/>
                  </a:cubicBezTo>
                  <a:cubicBezTo>
                    <a:pt x="19870" y="21401"/>
                    <a:pt x="20291" y="21394"/>
                    <a:pt x="20448" y="21111"/>
                  </a:cubicBezTo>
                  <a:cubicBezTo>
                    <a:pt x="20624" y="20835"/>
                    <a:pt x="20859" y="20659"/>
                    <a:pt x="20976" y="20728"/>
                  </a:cubicBezTo>
                  <a:cubicBezTo>
                    <a:pt x="21102" y="20788"/>
                    <a:pt x="21237" y="20960"/>
                    <a:pt x="21263" y="21095"/>
                  </a:cubicBezTo>
                  <a:cubicBezTo>
                    <a:pt x="21312" y="21229"/>
                    <a:pt x="21357" y="21176"/>
                    <a:pt x="21457" y="20991"/>
                  </a:cubicBezTo>
                  <a:cubicBezTo>
                    <a:pt x="21508" y="20796"/>
                    <a:pt x="21523" y="20352"/>
                    <a:pt x="21426" y="20003"/>
                  </a:cubicBezTo>
                  <a:cubicBezTo>
                    <a:pt x="21375" y="19649"/>
                    <a:pt x="21195" y="19007"/>
                    <a:pt x="21042" y="18579"/>
                  </a:cubicBezTo>
                  <a:cubicBezTo>
                    <a:pt x="20940" y="18145"/>
                    <a:pt x="20652" y="17732"/>
                    <a:pt x="20473" y="17645"/>
                  </a:cubicBezTo>
                  <a:cubicBezTo>
                    <a:pt x="20285" y="17565"/>
                    <a:pt x="19977" y="17133"/>
                    <a:pt x="19797" y="16686"/>
                  </a:cubicBezTo>
                  <a:cubicBezTo>
                    <a:pt x="19617" y="16238"/>
                    <a:pt x="19406" y="15502"/>
                    <a:pt x="19381" y="15047"/>
                  </a:cubicBezTo>
                  <a:cubicBezTo>
                    <a:pt x="19332" y="14592"/>
                    <a:pt x="19172" y="14016"/>
                    <a:pt x="19067" y="13756"/>
                  </a:cubicBezTo>
                  <a:cubicBezTo>
                    <a:pt x="18915" y="13506"/>
                    <a:pt x="18615" y="13141"/>
                    <a:pt x="18362" y="12952"/>
                  </a:cubicBezTo>
                  <a:cubicBezTo>
                    <a:pt x="18107" y="12761"/>
                    <a:pt x="17721" y="12350"/>
                    <a:pt x="17492" y="12039"/>
                  </a:cubicBezTo>
                  <a:cubicBezTo>
                    <a:pt x="17285" y="11721"/>
                    <a:pt x="16953" y="11066"/>
                    <a:pt x="16753" y="10581"/>
                  </a:cubicBezTo>
                  <a:cubicBezTo>
                    <a:pt x="16554" y="10096"/>
                    <a:pt x="16196" y="9542"/>
                    <a:pt x="15953" y="9340"/>
                  </a:cubicBezTo>
                  <a:cubicBezTo>
                    <a:pt x="15699" y="9142"/>
                    <a:pt x="15249" y="8850"/>
                    <a:pt x="14952" y="8691"/>
                  </a:cubicBezTo>
                  <a:cubicBezTo>
                    <a:pt x="14656" y="8531"/>
                    <a:pt x="14375" y="8211"/>
                    <a:pt x="14298" y="7987"/>
                  </a:cubicBezTo>
                  <a:cubicBezTo>
                    <a:pt x="14225" y="7762"/>
                    <a:pt x="14059" y="7528"/>
                    <a:pt x="13924" y="7454"/>
                  </a:cubicBezTo>
                  <a:cubicBezTo>
                    <a:pt x="13790" y="7381"/>
                    <a:pt x="13433" y="7295"/>
                    <a:pt x="13141" y="7279"/>
                  </a:cubicBezTo>
                  <a:cubicBezTo>
                    <a:pt x="12854" y="7249"/>
                    <a:pt x="12372" y="7153"/>
                    <a:pt x="12067" y="7067"/>
                  </a:cubicBezTo>
                  <a:cubicBezTo>
                    <a:pt x="11765" y="6981"/>
                    <a:pt x="11441" y="6792"/>
                    <a:pt x="11342" y="6650"/>
                  </a:cubicBezTo>
                  <a:cubicBezTo>
                    <a:pt x="11249" y="6508"/>
                    <a:pt x="11064" y="6277"/>
                    <a:pt x="10909" y="6146"/>
                  </a:cubicBezTo>
                  <a:cubicBezTo>
                    <a:pt x="10754" y="6015"/>
                    <a:pt x="10593" y="5688"/>
                    <a:pt x="10567" y="5428"/>
                  </a:cubicBezTo>
                  <a:cubicBezTo>
                    <a:pt x="10516" y="5168"/>
                    <a:pt x="10292" y="4798"/>
                    <a:pt x="10080" y="4591"/>
                  </a:cubicBezTo>
                  <a:cubicBezTo>
                    <a:pt x="9873" y="4380"/>
                    <a:pt x="9287" y="3682"/>
                    <a:pt x="8881" y="2999"/>
                  </a:cubicBezTo>
                  <a:cubicBezTo>
                    <a:pt x="8429" y="2326"/>
                    <a:pt x="7996" y="1504"/>
                    <a:pt x="7846" y="1190"/>
                  </a:cubicBezTo>
                  <a:cubicBezTo>
                    <a:pt x="7739" y="866"/>
                    <a:pt x="7508" y="477"/>
                    <a:pt x="7359" y="326"/>
                  </a:cubicBezTo>
                  <a:cubicBezTo>
                    <a:pt x="7212" y="176"/>
                    <a:pt x="7032" y="31"/>
                    <a:pt x="6937" y="7"/>
                  </a:cubicBezTo>
                  <a:cubicBezTo>
                    <a:pt x="6849" y="-23"/>
                    <a:pt x="6716" y="42"/>
                    <a:pt x="6664" y="132"/>
                  </a:cubicBezTo>
                  <a:cubicBezTo>
                    <a:pt x="6580" y="210"/>
                    <a:pt x="6514" y="356"/>
                    <a:pt x="6422" y="412"/>
                  </a:cubicBezTo>
                  <a:cubicBezTo>
                    <a:pt x="6368" y="486"/>
                    <a:pt x="6180" y="501"/>
                    <a:pt x="6049" y="474"/>
                  </a:cubicBezTo>
                  <a:cubicBezTo>
                    <a:pt x="5921" y="440"/>
                    <a:pt x="5763" y="468"/>
                    <a:pt x="5692" y="526"/>
                  </a:cubicBezTo>
                  <a:cubicBezTo>
                    <a:pt x="5641" y="593"/>
                    <a:pt x="5435" y="485"/>
                    <a:pt x="5260" y="306"/>
                  </a:cubicBezTo>
                  <a:cubicBezTo>
                    <a:pt x="5084" y="126"/>
                    <a:pt x="4863" y="-10"/>
                    <a:pt x="4766" y="14"/>
                  </a:cubicBezTo>
                  <a:cubicBezTo>
                    <a:pt x="4669" y="39"/>
                    <a:pt x="4540" y="98"/>
                    <a:pt x="4467" y="138"/>
                  </a:cubicBezTo>
                  <a:cubicBezTo>
                    <a:pt x="4392" y="173"/>
                    <a:pt x="4376" y="229"/>
                    <a:pt x="4367" y="229"/>
                  </a:cubicBezTo>
                  <a:cubicBezTo>
                    <a:pt x="4376" y="229"/>
                    <a:pt x="4311" y="497"/>
                    <a:pt x="4189" y="813"/>
                  </a:cubicBezTo>
                  <a:cubicBezTo>
                    <a:pt x="4087" y="1133"/>
                    <a:pt x="3738" y="1515"/>
                    <a:pt x="3405" y="1645"/>
                  </a:cubicBezTo>
                  <a:close/>
                  <a:moveTo>
                    <a:pt x="3405" y="16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5" name="AutoShape 464"/>
            <p:cNvSpPr>
              <a:spLocks/>
            </p:cNvSpPr>
            <p:nvPr/>
          </p:nvSpPr>
          <p:spPr bwMode="auto">
            <a:xfrm>
              <a:off x="10134600" y="3987800"/>
              <a:ext cx="1588" cy="9525"/>
            </a:xfrm>
            <a:custGeom>
              <a:avLst/>
              <a:gdLst/>
              <a:ahLst/>
              <a:cxnLst/>
              <a:rect l="0" t="0" r="r" b="b"/>
              <a:pathLst>
                <a:path w="21600" h="21400">
                  <a:moveTo>
                    <a:pt x="1459" y="21329"/>
                  </a:moveTo>
                  <a:cubicBezTo>
                    <a:pt x="2912" y="19914"/>
                    <a:pt x="13304" y="10431"/>
                    <a:pt x="21600" y="0"/>
                  </a:cubicBezTo>
                  <a:cubicBezTo>
                    <a:pt x="16130" y="6773"/>
                    <a:pt x="7926" y="14621"/>
                    <a:pt x="0" y="21005"/>
                  </a:cubicBezTo>
                  <a:cubicBezTo>
                    <a:pt x="462" y="21005"/>
                    <a:pt x="1459" y="21600"/>
                    <a:pt x="1459" y="21329"/>
                  </a:cubicBezTo>
                  <a:close/>
                  <a:moveTo>
                    <a:pt x="1459" y="2132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6" name="AutoShape 465"/>
            <p:cNvSpPr>
              <a:spLocks/>
            </p:cNvSpPr>
            <p:nvPr/>
          </p:nvSpPr>
          <p:spPr bwMode="auto">
            <a:xfrm>
              <a:off x="9817100" y="3784600"/>
              <a:ext cx="312738" cy="600075"/>
            </a:xfrm>
            <a:custGeom>
              <a:avLst/>
              <a:gdLst/>
              <a:ahLst/>
              <a:cxnLst/>
              <a:rect l="0" t="0" r="r" b="b"/>
              <a:pathLst>
                <a:path w="21582" h="21571">
                  <a:moveTo>
                    <a:pt x="14417" y="20874"/>
                  </a:moveTo>
                  <a:cubicBezTo>
                    <a:pt x="14474" y="20860"/>
                    <a:pt x="14561" y="20768"/>
                    <a:pt x="14588" y="20667"/>
                  </a:cubicBezTo>
                  <a:cubicBezTo>
                    <a:pt x="14614" y="20566"/>
                    <a:pt x="14703" y="20498"/>
                    <a:pt x="14768" y="20512"/>
                  </a:cubicBezTo>
                  <a:cubicBezTo>
                    <a:pt x="14834" y="20526"/>
                    <a:pt x="14940" y="20510"/>
                    <a:pt x="15014" y="20479"/>
                  </a:cubicBezTo>
                  <a:cubicBezTo>
                    <a:pt x="15078" y="20442"/>
                    <a:pt x="15377" y="20433"/>
                    <a:pt x="15668" y="20449"/>
                  </a:cubicBezTo>
                  <a:cubicBezTo>
                    <a:pt x="15956" y="20470"/>
                    <a:pt x="16324" y="20435"/>
                    <a:pt x="16489" y="20382"/>
                  </a:cubicBezTo>
                  <a:cubicBezTo>
                    <a:pt x="16652" y="20326"/>
                    <a:pt x="16820" y="20256"/>
                    <a:pt x="16845" y="20220"/>
                  </a:cubicBezTo>
                  <a:cubicBezTo>
                    <a:pt x="16871" y="20186"/>
                    <a:pt x="16979" y="20137"/>
                    <a:pt x="17074" y="20110"/>
                  </a:cubicBezTo>
                  <a:cubicBezTo>
                    <a:pt x="17168" y="20082"/>
                    <a:pt x="17215" y="20106"/>
                    <a:pt x="17189" y="20163"/>
                  </a:cubicBezTo>
                  <a:cubicBezTo>
                    <a:pt x="17150" y="20218"/>
                    <a:pt x="17156" y="20305"/>
                    <a:pt x="17204" y="20349"/>
                  </a:cubicBezTo>
                  <a:cubicBezTo>
                    <a:pt x="17252" y="20393"/>
                    <a:pt x="17343" y="20385"/>
                    <a:pt x="17441" y="20337"/>
                  </a:cubicBezTo>
                  <a:cubicBezTo>
                    <a:pt x="17536" y="20285"/>
                    <a:pt x="17670" y="20222"/>
                    <a:pt x="17744" y="20196"/>
                  </a:cubicBezTo>
                  <a:cubicBezTo>
                    <a:pt x="17818" y="20170"/>
                    <a:pt x="17848" y="20123"/>
                    <a:pt x="17821" y="20084"/>
                  </a:cubicBezTo>
                  <a:cubicBezTo>
                    <a:pt x="17794" y="20045"/>
                    <a:pt x="17766" y="19970"/>
                    <a:pt x="17778" y="19913"/>
                  </a:cubicBezTo>
                  <a:cubicBezTo>
                    <a:pt x="17791" y="19856"/>
                    <a:pt x="17719" y="19604"/>
                    <a:pt x="17618" y="19354"/>
                  </a:cubicBezTo>
                  <a:cubicBezTo>
                    <a:pt x="17517" y="19103"/>
                    <a:pt x="17360" y="18813"/>
                    <a:pt x="17282" y="18709"/>
                  </a:cubicBezTo>
                  <a:cubicBezTo>
                    <a:pt x="17193" y="18606"/>
                    <a:pt x="17150" y="18476"/>
                    <a:pt x="17163" y="18423"/>
                  </a:cubicBezTo>
                  <a:cubicBezTo>
                    <a:pt x="17187" y="18370"/>
                    <a:pt x="17144" y="18289"/>
                    <a:pt x="17091" y="18240"/>
                  </a:cubicBezTo>
                  <a:cubicBezTo>
                    <a:pt x="17040" y="18191"/>
                    <a:pt x="16919" y="18158"/>
                    <a:pt x="16839" y="18162"/>
                  </a:cubicBezTo>
                  <a:cubicBezTo>
                    <a:pt x="16758" y="18165"/>
                    <a:pt x="16580" y="18100"/>
                    <a:pt x="16440" y="18014"/>
                  </a:cubicBezTo>
                  <a:cubicBezTo>
                    <a:pt x="16306" y="17927"/>
                    <a:pt x="16157" y="17739"/>
                    <a:pt x="16144" y="17594"/>
                  </a:cubicBezTo>
                  <a:cubicBezTo>
                    <a:pt x="16106" y="17449"/>
                    <a:pt x="16113" y="17249"/>
                    <a:pt x="16100" y="17153"/>
                  </a:cubicBezTo>
                  <a:cubicBezTo>
                    <a:pt x="16113" y="17056"/>
                    <a:pt x="16044" y="16876"/>
                    <a:pt x="15981" y="16751"/>
                  </a:cubicBezTo>
                  <a:cubicBezTo>
                    <a:pt x="15917" y="16627"/>
                    <a:pt x="15793" y="16523"/>
                    <a:pt x="15715" y="16516"/>
                  </a:cubicBezTo>
                  <a:cubicBezTo>
                    <a:pt x="15638" y="16506"/>
                    <a:pt x="15534" y="16524"/>
                    <a:pt x="15491" y="16546"/>
                  </a:cubicBezTo>
                  <a:cubicBezTo>
                    <a:pt x="15449" y="16569"/>
                    <a:pt x="15328" y="16557"/>
                    <a:pt x="15224" y="16524"/>
                  </a:cubicBezTo>
                  <a:cubicBezTo>
                    <a:pt x="15126" y="16487"/>
                    <a:pt x="14980" y="16457"/>
                    <a:pt x="14911" y="16463"/>
                  </a:cubicBezTo>
                  <a:cubicBezTo>
                    <a:pt x="14840" y="16467"/>
                    <a:pt x="14773" y="16383"/>
                    <a:pt x="14773" y="16283"/>
                  </a:cubicBezTo>
                  <a:cubicBezTo>
                    <a:pt x="14760" y="16183"/>
                    <a:pt x="14804" y="15971"/>
                    <a:pt x="14867" y="15813"/>
                  </a:cubicBezTo>
                  <a:cubicBezTo>
                    <a:pt x="14919" y="15655"/>
                    <a:pt x="15024" y="15512"/>
                    <a:pt x="15086" y="15493"/>
                  </a:cubicBezTo>
                  <a:cubicBezTo>
                    <a:pt x="15150" y="15476"/>
                    <a:pt x="15273" y="15337"/>
                    <a:pt x="15387" y="15192"/>
                  </a:cubicBezTo>
                  <a:cubicBezTo>
                    <a:pt x="15478" y="15042"/>
                    <a:pt x="15573" y="14867"/>
                    <a:pt x="15598" y="14800"/>
                  </a:cubicBezTo>
                  <a:cubicBezTo>
                    <a:pt x="15611" y="14733"/>
                    <a:pt x="15683" y="14649"/>
                    <a:pt x="15760" y="14615"/>
                  </a:cubicBezTo>
                  <a:cubicBezTo>
                    <a:pt x="15837" y="14582"/>
                    <a:pt x="15939" y="14523"/>
                    <a:pt x="15992" y="14489"/>
                  </a:cubicBezTo>
                  <a:cubicBezTo>
                    <a:pt x="16051" y="14458"/>
                    <a:pt x="16169" y="14454"/>
                    <a:pt x="16255" y="14498"/>
                  </a:cubicBezTo>
                  <a:cubicBezTo>
                    <a:pt x="16339" y="14543"/>
                    <a:pt x="16439" y="14635"/>
                    <a:pt x="16465" y="14712"/>
                  </a:cubicBezTo>
                  <a:cubicBezTo>
                    <a:pt x="16489" y="14788"/>
                    <a:pt x="16554" y="14865"/>
                    <a:pt x="16617" y="14876"/>
                  </a:cubicBezTo>
                  <a:cubicBezTo>
                    <a:pt x="16676" y="14891"/>
                    <a:pt x="16862" y="14849"/>
                    <a:pt x="16998" y="14771"/>
                  </a:cubicBezTo>
                  <a:cubicBezTo>
                    <a:pt x="17150" y="14702"/>
                    <a:pt x="17443" y="14639"/>
                    <a:pt x="17657" y="14636"/>
                  </a:cubicBezTo>
                  <a:cubicBezTo>
                    <a:pt x="17870" y="14636"/>
                    <a:pt x="18143" y="14521"/>
                    <a:pt x="18259" y="14387"/>
                  </a:cubicBezTo>
                  <a:cubicBezTo>
                    <a:pt x="18375" y="14253"/>
                    <a:pt x="18531" y="13959"/>
                    <a:pt x="18581" y="13731"/>
                  </a:cubicBezTo>
                  <a:cubicBezTo>
                    <a:pt x="18646" y="13504"/>
                    <a:pt x="18830" y="13220"/>
                    <a:pt x="19005" y="13103"/>
                  </a:cubicBezTo>
                  <a:cubicBezTo>
                    <a:pt x="19183" y="12988"/>
                    <a:pt x="19338" y="12820"/>
                    <a:pt x="19386" y="12739"/>
                  </a:cubicBezTo>
                  <a:cubicBezTo>
                    <a:pt x="19412" y="12656"/>
                    <a:pt x="19454" y="12488"/>
                    <a:pt x="19467" y="12364"/>
                  </a:cubicBezTo>
                  <a:cubicBezTo>
                    <a:pt x="19467" y="12239"/>
                    <a:pt x="19537" y="12039"/>
                    <a:pt x="19615" y="11922"/>
                  </a:cubicBezTo>
                  <a:cubicBezTo>
                    <a:pt x="19693" y="11803"/>
                    <a:pt x="19853" y="11661"/>
                    <a:pt x="19972" y="11606"/>
                  </a:cubicBezTo>
                  <a:cubicBezTo>
                    <a:pt x="20098" y="11554"/>
                    <a:pt x="20226" y="11432"/>
                    <a:pt x="20251" y="11339"/>
                  </a:cubicBezTo>
                  <a:cubicBezTo>
                    <a:pt x="20276" y="11246"/>
                    <a:pt x="20291" y="11112"/>
                    <a:pt x="20291" y="11040"/>
                  </a:cubicBezTo>
                  <a:cubicBezTo>
                    <a:pt x="20278" y="10968"/>
                    <a:pt x="20224" y="10875"/>
                    <a:pt x="20174" y="10832"/>
                  </a:cubicBezTo>
                  <a:cubicBezTo>
                    <a:pt x="20123" y="10789"/>
                    <a:pt x="20150" y="10661"/>
                    <a:pt x="20254" y="10546"/>
                  </a:cubicBezTo>
                  <a:cubicBezTo>
                    <a:pt x="20355" y="10430"/>
                    <a:pt x="20482" y="10301"/>
                    <a:pt x="20535" y="10256"/>
                  </a:cubicBezTo>
                  <a:cubicBezTo>
                    <a:pt x="20600" y="10216"/>
                    <a:pt x="20638" y="10103"/>
                    <a:pt x="20638" y="10012"/>
                  </a:cubicBezTo>
                  <a:cubicBezTo>
                    <a:pt x="20638" y="9922"/>
                    <a:pt x="20636" y="9692"/>
                    <a:pt x="20636" y="9503"/>
                  </a:cubicBezTo>
                  <a:cubicBezTo>
                    <a:pt x="20636" y="9313"/>
                    <a:pt x="20590" y="9040"/>
                    <a:pt x="20527" y="8898"/>
                  </a:cubicBezTo>
                  <a:cubicBezTo>
                    <a:pt x="20476" y="8754"/>
                    <a:pt x="20401" y="8609"/>
                    <a:pt x="20377" y="8574"/>
                  </a:cubicBezTo>
                  <a:cubicBezTo>
                    <a:pt x="20351" y="8540"/>
                    <a:pt x="20420" y="8424"/>
                    <a:pt x="20524" y="8315"/>
                  </a:cubicBezTo>
                  <a:cubicBezTo>
                    <a:pt x="20638" y="8209"/>
                    <a:pt x="20776" y="8104"/>
                    <a:pt x="20844" y="8083"/>
                  </a:cubicBezTo>
                  <a:cubicBezTo>
                    <a:pt x="20905" y="8064"/>
                    <a:pt x="21011" y="8024"/>
                    <a:pt x="21067" y="7981"/>
                  </a:cubicBezTo>
                  <a:cubicBezTo>
                    <a:pt x="21075" y="7979"/>
                    <a:pt x="21078" y="7972"/>
                    <a:pt x="21086" y="7971"/>
                  </a:cubicBezTo>
                  <a:cubicBezTo>
                    <a:pt x="21152" y="7929"/>
                    <a:pt x="21244" y="7903"/>
                    <a:pt x="21292" y="7916"/>
                  </a:cubicBezTo>
                  <a:cubicBezTo>
                    <a:pt x="21301" y="7918"/>
                    <a:pt x="21312" y="7916"/>
                    <a:pt x="21323" y="7912"/>
                  </a:cubicBezTo>
                  <a:cubicBezTo>
                    <a:pt x="21335" y="7908"/>
                    <a:pt x="21348" y="7902"/>
                    <a:pt x="21361" y="7895"/>
                  </a:cubicBezTo>
                  <a:cubicBezTo>
                    <a:pt x="21390" y="7880"/>
                    <a:pt x="21419" y="7858"/>
                    <a:pt x="21454" y="7827"/>
                  </a:cubicBezTo>
                  <a:cubicBezTo>
                    <a:pt x="21454" y="7823"/>
                    <a:pt x="21466" y="7821"/>
                    <a:pt x="21466" y="7817"/>
                  </a:cubicBezTo>
                  <a:cubicBezTo>
                    <a:pt x="21466" y="7804"/>
                    <a:pt x="21501" y="7793"/>
                    <a:pt x="21501" y="7779"/>
                  </a:cubicBezTo>
                  <a:cubicBezTo>
                    <a:pt x="21554" y="7697"/>
                    <a:pt x="21600" y="7575"/>
                    <a:pt x="21574" y="7496"/>
                  </a:cubicBezTo>
                  <a:cubicBezTo>
                    <a:pt x="21561" y="7413"/>
                    <a:pt x="21454" y="7322"/>
                    <a:pt x="21357" y="7291"/>
                  </a:cubicBezTo>
                  <a:cubicBezTo>
                    <a:pt x="21257" y="7261"/>
                    <a:pt x="21102" y="7257"/>
                    <a:pt x="21019" y="7289"/>
                  </a:cubicBezTo>
                  <a:cubicBezTo>
                    <a:pt x="20928" y="7316"/>
                    <a:pt x="20765" y="7314"/>
                    <a:pt x="20644" y="7282"/>
                  </a:cubicBezTo>
                  <a:cubicBezTo>
                    <a:pt x="20525" y="7248"/>
                    <a:pt x="20377" y="7139"/>
                    <a:pt x="20315" y="7038"/>
                  </a:cubicBezTo>
                  <a:cubicBezTo>
                    <a:pt x="20264" y="6935"/>
                    <a:pt x="20083" y="6803"/>
                    <a:pt x="19944" y="6735"/>
                  </a:cubicBezTo>
                  <a:cubicBezTo>
                    <a:pt x="19801" y="6670"/>
                    <a:pt x="19559" y="6581"/>
                    <a:pt x="19410" y="6535"/>
                  </a:cubicBezTo>
                  <a:cubicBezTo>
                    <a:pt x="19259" y="6489"/>
                    <a:pt x="19008" y="6340"/>
                    <a:pt x="18844" y="6206"/>
                  </a:cubicBezTo>
                  <a:cubicBezTo>
                    <a:pt x="18690" y="6069"/>
                    <a:pt x="18537" y="5863"/>
                    <a:pt x="18488" y="5750"/>
                  </a:cubicBezTo>
                  <a:cubicBezTo>
                    <a:pt x="18462" y="5635"/>
                    <a:pt x="18351" y="5324"/>
                    <a:pt x="18235" y="5060"/>
                  </a:cubicBezTo>
                  <a:cubicBezTo>
                    <a:pt x="18146" y="4795"/>
                    <a:pt x="17961" y="4485"/>
                    <a:pt x="17885" y="4364"/>
                  </a:cubicBezTo>
                  <a:cubicBezTo>
                    <a:pt x="17786" y="4247"/>
                    <a:pt x="17694" y="4050"/>
                    <a:pt x="17682" y="3931"/>
                  </a:cubicBezTo>
                  <a:cubicBezTo>
                    <a:pt x="17669" y="3812"/>
                    <a:pt x="17695" y="3699"/>
                    <a:pt x="17754" y="3675"/>
                  </a:cubicBezTo>
                  <a:cubicBezTo>
                    <a:pt x="17810" y="3649"/>
                    <a:pt x="17862" y="3570"/>
                    <a:pt x="17862" y="3491"/>
                  </a:cubicBezTo>
                  <a:cubicBezTo>
                    <a:pt x="17862" y="3412"/>
                    <a:pt x="17940" y="3299"/>
                    <a:pt x="18041" y="3240"/>
                  </a:cubicBezTo>
                  <a:cubicBezTo>
                    <a:pt x="18141" y="3181"/>
                    <a:pt x="18187" y="3056"/>
                    <a:pt x="18187" y="2961"/>
                  </a:cubicBezTo>
                  <a:cubicBezTo>
                    <a:pt x="18161" y="2868"/>
                    <a:pt x="18054" y="2760"/>
                    <a:pt x="17936" y="2719"/>
                  </a:cubicBezTo>
                  <a:cubicBezTo>
                    <a:pt x="17818" y="2678"/>
                    <a:pt x="17677" y="2582"/>
                    <a:pt x="17653" y="2502"/>
                  </a:cubicBezTo>
                  <a:cubicBezTo>
                    <a:pt x="17627" y="2422"/>
                    <a:pt x="17490" y="2302"/>
                    <a:pt x="17375" y="2232"/>
                  </a:cubicBezTo>
                  <a:cubicBezTo>
                    <a:pt x="17258" y="2161"/>
                    <a:pt x="17059" y="2025"/>
                    <a:pt x="16933" y="1927"/>
                  </a:cubicBezTo>
                  <a:cubicBezTo>
                    <a:pt x="16808" y="1829"/>
                    <a:pt x="16630" y="1663"/>
                    <a:pt x="16526" y="1561"/>
                  </a:cubicBezTo>
                  <a:cubicBezTo>
                    <a:pt x="16424" y="1458"/>
                    <a:pt x="16283" y="1389"/>
                    <a:pt x="16205" y="1409"/>
                  </a:cubicBezTo>
                  <a:cubicBezTo>
                    <a:pt x="16131" y="1432"/>
                    <a:pt x="16024" y="1462"/>
                    <a:pt x="15967" y="1477"/>
                  </a:cubicBezTo>
                  <a:cubicBezTo>
                    <a:pt x="15910" y="1492"/>
                    <a:pt x="15806" y="1462"/>
                    <a:pt x="15744" y="1403"/>
                  </a:cubicBezTo>
                  <a:cubicBezTo>
                    <a:pt x="15663" y="1349"/>
                    <a:pt x="15587" y="1172"/>
                    <a:pt x="15536" y="1019"/>
                  </a:cubicBezTo>
                  <a:cubicBezTo>
                    <a:pt x="15484" y="867"/>
                    <a:pt x="15590" y="650"/>
                    <a:pt x="15769" y="547"/>
                  </a:cubicBezTo>
                  <a:cubicBezTo>
                    <a:pt x="15936" y="440"/>
                    <a:pt x="16051" y="300"/>
                    <a:pt x="16012" y="233"/>
                  </a:cubicBezTo>
                  <a:cubicBezTo>
                    <a:pt x="15973" y="166"/>
                    <a:pt x="15848" y="118"/>
                    <a:pt x="15737" y="131"/>
                  </a:cubicBezTo>
                  <a:cubicBezTo>
                    <a:pt x="15625" y="144"/>
                    <a:pt x="15444" y="106"/>
                    <a:pt x="15342" y="46"/>
                  </a:cubicBezTo>
                  <a:cubicBezTo>
                    <a:pt x="15241" y="-14"/>
                    <a:pt x="15057" y="-14"/>
                    <a:pt x="14928" y="36"/>
                  </a:cubicBezTo>
                  <a:cubicBezTo>
                    <a:pt x="14802" y="89"/>
                    <a:pt x="14615" y="190"/>
                    <a:pt x="14547" y="268"/>
                  </a:cubicBezTo>
                  <a:cubicBezTo>
                    <a:pt x="14463" y="343"/>
                    <a:pt x="14298" y="393"/>
                    <a:pt x="14182" y="384"/>
                  </a:cubicBezTo>
                  <a:cubicBezTo>
                    <a:pt x="14068" y="371"/>
                    <a:pt x="13923" y="436"/>
                    <a:pt x="13884" y="526"/>
                  </a:cubicBezTo>
                  <a:cubicBezTo>
                    <a:pt x="13847" y="616"/>
                    <a:pt x="13749" y="743"/>
                    <a:pt x="13676" y="806"/>
                  </a:cubicBezTo>
                  <a:cubicBezTo>
                    <a:pt x="13622" y="874"/>
                    <a:pt x="13741" y="1139"/>
                    <a:pt x="13968" y="1400"/>
                  </a:cubicBezTo>
                  <a:cubicBezTo>
                    <a:pt x="14198" y="1659"/>
                    <a:pt x="14399" y="2011"/>
                    <a:pt x="14450" y="2178"/>
                  </a:cubicBezTo>
                  <a:cubicBezTo>
                    <a:pt x="14489" y="2347"/>
                    <a:pt x="14389" y="2666"/>
                    <a:pt x="14235" y="2892"/>
                  </a:cubicBezTo>
                  <a:cubicBezTo>
                    <a:pt x="14082" y="3118"/>
                    <a:pt x="14043" y="3379"/>
                    <a:pt x="14156" y="3478"/>
                  </a:cubicBezTo>
                  <a:cubicBezTo>
                    <a:pt x="14274" y="3576"/>
                    <a:pt x="14389" y="3742"/>
                    <a:pt x="14402" y="3849"/>
                  </a:cubicBezTo>
                  <a:cubicBezTo>
                    <a:pt x="14415" y="3956"/>
                    <a:pt x="14354" y="4159"/>
                    <a:pt x="14276" y="4303"/>
                  </a:cubicBezTo>
                  <a:cubicBezTo>
                    <a:pt x="14176" y="4439"/>
                    <a:pt x="14003" y="4545"/>
                    <a:pt x="13848" y="4542"/>
                  </a:cubicBezTo>
                  <a:cubicBezTo>
                    <a:pt x="13842" y="4542"/>
                    <a:pt x="13836" y="4544"/>
                    <a:pt x="13830" y="4544"/>
                  </a:cubicBezTo>
                  <a:cubicBezTo>
                    <a:pt x="13671" y="4533"/>
                    <a:pt x="13410" y="4466"/>
                    <a:pt x="13245" y="4400"/>
                  </a:cubicBezTo>
                  <a:cubicBezTo>
                    <a:pt x="13084" y="4331"/>
                    <a:pt x="12868" y="4321"/>
                    <a:pt x="12774" y="4376"/>
                  </a:cubicBezTo>
                  <a:cubicBezTo>
                    <a:pt x="12684" y="4433"/>
                    <a:pt x="12662" y="4559"/>
                    <a:pt x="12714" y="4666"/>
                  </a:cubicBezTo>
                  <a:cubicBezTo>
                    <a:pt x="12778" y="4770"/>
                    <a:pt x="12905" y="4899"/>
                    <a:pt x="13003" y="4949"/>
                  </a:cubicBezTo>
                  <a:cubicBezTo>
                    <a:pt x="13085" y="5007"/>
                    <a:pt x="13236" y="5133"/>
                    <a:pt x="13301" y="5244"/>
                  </a:cubicBezTo>
                  <a:cubicBezTo>
                    <a:pt x="13375" y="5354"/>
                    <a:pt x="13435" y="5501"/>
                    <a:pt x="13408" y="5566"/>
                  </a:cubicBezTo>
                  <a:cubicBezTo>
                    <a:pt x="13408" y="5633"/>
                    <a:pt x="13313" y="5722"/>
                    <a:pt x="13219" y="5767"/>
                  </a:cubicBezTo>
                  <a:cubicBezTo>
                    <a:pt x="13121" y="5809"/>
                    <a:pt x="12969" y="5849"/>
                    <a:pt x="12875" y="5852"/>
                  </a:cubicBezTo>
                  <a:cubicBezTo>
                    <a:pt x="12780" y="5857"/>
                    <a:pt x="12679" y="5900"/>
                    <a:pt x="12653" y="5954"/>
                  </a:cubicBezTo>
                  <a:cubicBezTo>
                    <a:pt x="12628" y="6009"/>
                    <a:pt x="12603" y="6166"/>
                    <a:pt x="12616" y="6304"/>
                  </a:cubicBezTo>
                  <a:cubicBezTo>
                    <a:pt x="12616" y="6442"/>
                    <a:pt x="12618" y="6628"/>
                    <a:pt x="12593" y="6717"/>
                  </a:cubicBezTo>
                  <a:cubicBezTo>
                    <a:pt x="12580" y="6806"/>
                    <a:pt x="12564" y="6923"/>
                    <a:pt x="12564" y="6977"/>
                  </a:cubicBezTo>
                  <a:cubicBezTo>
                    <a:pt x="12577" y="7029"/>
                    <a:pt x="12548" y="7100"/>
                    <a:pt x="12523" y="7133"/>
                  </a:cubicBezTo>
                  <a:cubicBezTo>
                    <a:pt x="12497" y="7165"/>
                    <a:pt x="12498" y="7339"/>
                    <a:pt x="12574" y="7514"/>
                  </a:cubicBezTo>
                  <a:cubicBezTo>
                    <a:pt x="12626" y="7691"/>
                    <a:pt x="12608" y="7934"/>
                    <a:pt x="12531" y="8054"/>
                  </a:cubicBezTo>
                  <a:cubicBezTo>
                    <a:pt x="12451" y="8175"/>
                    <a:pt x="12302" y="8192"/>
                    <a:pt x="12214" y="8090"/>
                  </a:cubicBezTo>
                  <a:cubicBezTo>
                    <a:pt x="12122" y="7988"/>
                    <a:pt x="11999" y="7904"/>
                    <a:pt x="11950" y="7901"/>
                  </a:cubicBezTo>
                  <a:cubicBezTo>
                    <a:pt x="11898" y="7901"/>
                    <a:pt x="11846" y="7940"/>
                    <a:pt x="11859" y="7994"/>
                  </a:cubicBezTo>
                  <a:cubicBezTo>
                    <a:pt x="11859" y="8048"/>
                    <a:pt x="11770" y="8080"/>
                    <a:pt x="11661" y="8070"/>
                  </a:cubicBezTo>
                  <a:cubicBezTo>
                    <a:pt x="11553" y="8056"/>
                    <a:pt x="11407" y="8025"/>
                    <a:pt x="11363" y="7987"/>
                  </a:cubicBezTo>
                  <a:cubicBezTo>
                    <a:pt x="11303" y="7955"/>
                    <a:pt x="11178" y="7925"/>
                    <a:pt x="11073" y="7929"/>
                  </a:cubicBezTo>
                  <a:cubicBezTo>
                    <a:pt x="10970" y="7932"/>
                    <a:pt x="10855" y="7974"/>
                    <a:pt x="10842" y="8024"/>
                  </a:cubicBezTo>
                  <a:cubicBezTo>
                    <a:pt x="10806" y="8072"/>
                    <a:pt x="10669" y="8199"/>
                    <a:pt x="10521" y="8308"/>
                  </a:cubicBezTo>
                  <a:cubicBezTo>
                    <a:pt x="10368" y="8414"/>
                    <a:pt x="10306" y="8518"/>
                    <a:pt x="10380" y="8544"/>
                  </a:cubicBezTo>
                  <a:cubicBezTo>
                    <a:pt x="10453" y="8570"/>
                    <a:pt x="10476" y="8631"/>
                    <a:pt x="10438" y="8688"/>
                  </a:cubicBezTo>
                  <a:cubicBezTo>
                    <a:pt x="10386" y="8741"/>
                    <a:pt x="10230" y="8837"/>
                    <a:pt x="10069" y="8892"/>
                  </a:cubicBezTo>
                  <a:cubicBezTo>
                    <a:pt x="9909" y="8949"/>
                    <a:pt x="9732" y="8969"/>
                    <a:pt x="9679" y="8934"/>
                  </a:cubicBezTo>
                  <a:cubicBezTo>
                    <a:pt x="9628" y="8898"/>
                    <a:pt x="9486" y="8881"/>
                    <a:pt x="9379" y="8898"/>
                  </a:cubicBezTo>
                  <a:cubicBezTo>
                    <a:pt x="9270" y="8912"/>
                    <a:pt x="9169" y="8975"/>
                    <a:pt x="9133" y="9032"/>
                  </a:cubicBezTo>
                  <a:cubicBezTo>
                    <a:pt x="9107" y="9091"/>
                    <a:pt x="9087" y="9192"/>
                    <a:pt x="9062" y="9253"/>
                  </a:cubicBezTo>
                  <a:cubicBezTo>
                    <a:pt x="9037" y="9315"/>
                    <a:pt x="8971" y="9386"/>
                    <a:pt x="8888" y="9407"/>
                  </a:cubicBezTo>
                  <a:cubicBezTo>
                    <a:pt x="8802" y="9426"/>
                    <a:pt x="8700" y="9501"/>
                    <a:pt x="8641" y="9563"/>
                  </a:cubicBezTo>
                  <a:cubicBezTo>
                    <a:pt x="8588" y="9626"/>
                    <a:pt x="8565" y="9769"/>
                    <a:pt x="8578" y="9879"/>
                  </a:cubicBezTo>
                  <a:cubicBezTo>
                    <a:pt x="8604" y="9990"/>
                    <a:pt x="8642" y="10189"/>
                    <a:pt x="8694" y="10321"/>
                  </a:cubicBezTo>
                  <a:cubicBezTo>
                    <a:pt x="8745" y="10453"/>
                    <a:pt x="8794" y="10630"/>
                    <a:pt x="8781" y="10713"/>
                  </a:cubicBezTo>
                  <a:cubicBezTo>
                    <a:pt x="8781" y="10797"/>
                    <a:pt x="8825" y="10930"/>
                    <a:pt x="8864" y="11011"/>
                  </a:cubicBezTo>
                  <a:cubicBezTo>
                    <a:pt x="8914" y="11090"/>
                    <a:pt x="8932" y="11217"/>
                    <a:pt x="8918" y="11292"/>
                  </a:cubicBezTo>
                  <a:cubicBezTo>
                    <a:pt x="8892" y="11366"/>
                    <a:pt x="8749" y="11474"/>
                    <a:pt x="8576" y="11536"/>
                  </a:cubicBezTo>
                  <a:cubicBezTo>
                    <a:pt x="8401" y="11598"/>
                    <a:pt x="8121" y="11638"/>
                    <a:pt x="7960" y="11627"/>
                  </a:cubicBezTo>
                  <a:cubicBezTo>
                    <a:pt x="7800" y="11613"/>
                    <a:pt x="7548" y="11622"/>
                    <a:pt x="7401" y="11632"/>
                  </a:cubicBezTo>
                  <a:cubicBezTo>
                    <a:pt x="7254" y="11642"/>
                    <a:pt x="6928" y="11656"/>
                    <a:pt x="6679" y="11656"/>
                  </a:cubicBezTo>
                  <a:cubicBezTo>
                    <a:pt x="6428" y="11656"/>
                    <a:pt x="6086" y="11685"/>
                    <a:pt x="5922" y="11716"/>
                  </a:cubicBezTo>
                  <a:cubicBezTo>
                    <a:pt x="5756" y="11744"/>
                    <a:pt x="5574" y="11805"/>
                    <a:pt x="5522" y="11845"/>
                  </a:cubicBezTo>
                  <a:cubicBezTo>
                    <a:pt x="5457" y="11879"/>
                    <a:pt x="5298" y="11905"/>
                    <a:pt x="5144" y="11895"/>
                  </a:cubicBezTo>
                  <a:cubicBezTo>
                    <a:pt x="4991" y="11884"/>
                    <a:pt x="4735" y="11897"/>
                    <a:pt x="4577" y="11928"/>
                  </a:cubicBezTo>
                  <a:cubicBezTo>
                    <a:pt x="4420" y="11962"/>
                    <a:pt x="3827" y="11977"/>
                    <a:pt x="3264" y="11967"/>
                  </a:cubicBezTo>
                  <a:cubicBezTo>
                    <a:pt x="2695" y="11957"/>
                    <a:pt x="1654" y="11805"/>
                    <a:pt x="957" y="11616"/>
                  </a:cubicBezTo>
                  <a:cubicBezTo>
                    <a:pt x="577" y="11518"/>
                    <a:pt x="237" y="11429"/>
                    <a:pt x="0" y="11368"/>
                  </a:cubicBezTo>
                  <a:cubicBezTo>
                    <a:pt x="12" y="11546"/>
                    <a:pt x="72" y="11708"/>
                    <a:pt x="189" y="11824"/>
                  </a:cubicBezTo>
                  <a:cubicBezTo>
                    <a:pt x="471" y="12122"/>
                    <a:pt x="767" y="12441"/>
                    <a:pt x="829" y="12539"/>
                  </a:cubicBezTo>
                  <a:cubicBezTo>
                    <a:pt x="882" y="12639"/>
                    <a:pt x="1070" y="12810"/>
                    <a:pt x="1202" y="12930"/>
                  </a:cubicBezTo>
                  <a:cubicBezTo>
                    <a:pt x="1343" y="13047"/>
                    <a:pt x="1564" y="13192"/>
                    <a:pt x="1692" y="13254"/>
                  </a:cubicBezTo>
                  <a:cubicBezTo>
                    <a:pt x="1818" y="13317"/>
                    <a:pt x="1985" y="13395"/>
                    <a:pt x="2013" y="13443"/>
                  </a:cubicBezTo>
                  <a:cubicBezTo>
                    <a:pt x="2060" y="13485"/>
                    <a:pt x="2231" y="13539"/>
                    <a:pt x="2398" y="13552"/>
                  </a:cubicBezTo>
                  <a:cubicBezTo>
                    <a:pt x="2564" y="13569"/>
                    <a:pt x="2778" y="13608"/>
                    <a:pt x="2870" y="13642"/>
                  </a:cubicBezTo>
                  <a:cubicBezTo>
                    <a:pt x="2964" y="13676"/>
                    <a:pt x="3062" y="13738"/>
                    <a:pt x="3075" y="13783"/>
                  </a:cubicBezTo>
                  <a:cubicBezTo>
                    <a:pt x="3088" y="13828"/>
                    <a:pt x="3216" y="13881"/>
                    <a:pt x="3353" y="13894"/>
                  </a:cubicBezTo>
                  <a:cubicBezTo>
                    <a:pt x="3489" y="13908"/>
                    <a:pt x="3609" y="14037"/>
                    <a:pt x="3622" y="14177"/>
                  </a:cubicBezTo>
                  <a:cubicBezTo>
                    <a:pt x="3622" y="14316"/>
                    <a:pt x="3671" y="14510"/>
                    <a:pt x="3720" y="14604"/>
                  </a:cubicBezTo>
                  <a:cubicBezTo>
                    <a:pt x="3758" y="14701"/>
                    <a:pt x="3796" y="14872"/>
                    <a:pt x="3821" y="14985"/>
                  </a:cubicBezTo>
                  <a:cubicBezTo>
                    <a:pt x="3846" y="15098"/>
                    <a:pt x="3874" y="15251"/>
                    <a:pt x="3898" y="15327"/>
                  </a:cubicBezTo>
                  <a:cubicBezTo>
                    <a:pt x="3924" y="15402"/>
                    <a:pt x="4050" y="15458"/>
                    <a:pt x="4170" y="15458"/>
                  </a:cubicBezTo>
                  <a:cubicBezTo>
                    <a:pt x="4289" y="15454"/>
                    <a:pt x="4493" y="15513"/>
                    <a:pt x="4622" y="15587"/>
                  </a:cubicBezTo>
                  <a:cubicBezTo>
                    <a:pt x="4752" y="15661"/>
                    <a:pt x="4874" y="15853"/>
                    <a:pt x="4900" y="16014"/>
                  </a:cubicBezTo>
                  <a:cubicBezTo>
                    <a:pt x="4912" y="16174"/>
                    <a:pt x="4891" y="16352"/>
                    <a:pt x="4819" y="16405"/>
                  </a:cubicBezTo>
                  <a:cubicBezTo>
                    <a:pt x="4756" y="16461"/>
                    <a:pt x="4594" y="16467"/>
                    <a:pt x="4465" y="16424"/>
                  </a:cubicBezTo>
                  <a:cubicBezTo>
                    <a:pt x="4337" y="16377"/>
                    <a:pt x="4040" y="16387"/>
                    <a:pt x="3806" y="16441"/>
                  </a:cubicBezTo>
                  <a:cubicBezTo>
                    <a:pt x="3570" y="16492"/>
                    <a:pt x="3348" y="16577"/>
                    <a:pt x="3294" y="16619"/>
                  </a:cubicBezTo>
                  <a:cubicBezTo>
                    <a:pt x="3243" y="16662"/>
                    <a:pt x="3086" y="16737"/>
                    <a:pt x="2940" y="16785"/>
                  </a:cubicBezTo>
                  <a:cubicBezTo>
                    <a:pt x="2787" y="16828"/>
                    <a:pt x="2624" y="16936"/>
                    <a:pt x="2586" y="17016"/>
                  </a:cubicBezTo>
                  <a:cubicBezTo>
                    <a:pt x="2535" y="17095"/>
                    <a:pt x="2515" y="17221"/>
                    <a:pt x="2553" y="17292"/>
                  </a:cubicBezTo>
                  <a:cubicBezTo>
                    <a:pt x="2581" y="17365"/>
                    <a:pt x="2563" y="17497"/>
                    <a:pt x="2475" y="17579"/>
                  </a:cubicBezTo>
                  <a:cubicBezTo>
                    <a:pt x="2410" y="17666"/>
                    <a:pt x="2375" y="17819"/>
                    <a:pt x="2437" y="17920"/>
                  </a:cubicBezTo>
                  <a:cubicBezTo>
                    <a:pt x="2487" y="18023"/>
                    <a:pt x="2525" y="18226"/>
                    <a:pt x="2499" y="18372"/>
                  </a:cubicBezTo>
                  <a:cubicBezTo>
                    <a:pt x="2486" y="18519"/>
                    <a:pt x="2478" y="18692"/>
                    <a:pt x="2478" y="18761"/>
                  </a:cubicBezTo>
                  <a:cubicBezTo>
                    <a:pt x="2478" y="18827"/>
                    <a:pt x="2533" y="18884"/>
                    <a:pt x="2592" y="18884"/>
                  </a:cubicBezTo>
                  <a:cubicBezTo>
                    <a:pt x="2649" y="18888"/>
                    <a:pt x="2681" y="18935"/>
                    <a:pt x="2694" y="18993"/>
                  </a:cubicBezTo>
                  <a:cubicBezTo>
                    <a:pt x="2707" y="19053"/>
                    <a:pt x="2726" y="19116"/>
                    <a:pt x="2774" y="19132"/>
                  </a:cubicBezTo>
                  <a:cubicBezTo>
                    <a:pt x="2808" y="19154"/>
                    <a:pt x="2971" y="19104"/>
                    <a:pt x="3111" y="19034"/>
                  </a:cubicBezTo>
                  <a:cubicBezTo>
                    <a:pt x="3255" y="18966"/>
                    <a:pt x="3456" y="18902"/>
                    <a:pt x="3568" y="18898"/>
                  </a:cubicBezTo>
                  <a:cubicBezTo>
                    <a:pt x="3679" y="18895"/>
                    <a:pt x="3773" y="18921"/>
                    <a:pt x="3786" y="18958"/>
                  </a:cubicBezTo>
                  <a:cubicBezTo>
                    <a:pt x="3798" y="18996"/>
                    <a:pt x="3833" y="19015"/>
                    <a:pt x="3876" y="19004"/>
                  </a:cubicBezTo>
                  <a:cubicBezTo>
                    <a:pt x="3912" y="18990"/>
                    <a:pt x="4002" y="18942"/>
                    <a:pt x="4074" y="18894"/>
                  </a:cubicBezTo>
                  <a:cubicBezTo>
                    <a:pt x="4151" y="18848"/>
                    <a:pt x="4287" y="18812"/>
                    <a:pt x="4395" y="18820"/>
                  </a:cubicBezTo>
                  <a:cubicBezTo>
                    <a:pt x="4502" y="18827"/>
                    <a:pt x="4628" y="18845"/>
                    <a:pt x="4676" y="18857"/>
                  </a:cubicBezTo>
                  <a:cubicBezTo>
                    <a:pt x="4727" y="18867"/>
                    <a:pt x="4827" y="18864"/>
                    <a:pt x="4910" y="18849"/>
                  </a:cubicBezTo>
                  <a:cubicBezTo>
                    <a:pt x="4991" y="18834"/>
                    <a:pt x="5102" y="18829"/>
                    <a:pt x="5161" y="18831"/>
                  </a:cubicBezTo>
                  <a:cubicBezTo>
                    <a:pt x="5221" y="18837"/>
                    <a:pt x="5314" y="18845"/>
                    <a:pt x="5368" y="18845"/>
                  </a:cubicBezTo>
                  <a:cubicBezTo>
                    <a:pt x="5422" y="18845"/>
                    <a:pt x="5470" y="18811"/>
                    <a:pt x="5485" y="18768"/>
                  </a:cubicBezTo>
                  <a:cubicBezTo>
                    <a:pt x="5485" y="18724"/>
                    <a:pt x="5525" y="18651"/>
                    <a:pt x="5573" y="18611"/>
                  </a:cubicBezTo>
                  <a:cubicBezTo>
                    <a:pt x="5600" y="18566"/>
                    <a:pt x="5724" y="18576"/>
                    <a:pt x="5817" y="18632"/>
                  </a:cubicBezTo>
                  <a:cubicBezTo>
                    <a:pt x="5914" y="18686"/>
                    <a:pt x="6044" y="18727"/>
                    <a:pt x="6110" y="18732"/>
                  </a:cubicBezTo>
                  <a:cubicBezTo>
                    <a:pt x="6175" y="18732"/>
                    <a:pt x="6233" y="18706"/>
                    <a:pt x="6246" y="18673"/>
                  </a:cubicBezTo>
                  <a:cubicBezTo>
                    <a:pt x="6259" y="18639"/>
                    <a:pt x="6305" y="18619"/>
                    <a:pt x="6356" y="18629"/>
                  </a:cubicBezTo>
                  <a:cubicBezTo>
                    <a:pt x="6401" y="18645"/>
                    <a:pt x="6478" y="18685"/>
                    <a:pt x="6503" y="18733"/>
                  </a:cubicBezTo>
                  <a:cubicBezTo>
                    <a:pt x="6541" y="18778"/>
                    <a:pt x="6620" y="18820"/>
                    <a:pt x="6695" y="18820"/>
                  </a:cubicBezTo>
                  <a:cubicBezTo>
                    <a:pt x="6771" y="18820"/>
                    <a:pt x="6880" y="18859"/>
                    <a:pt x="6952" y="18897"/>
                  </a:cubicBezTo>
                  <a:cubicBezTo>
                    <a:pt x="7007" y="18943"/>
                    <a:pt x="7134" y="18974"/>
                    <a:pt x="7208" y="18974"/>
                  </a:cubicBezTo>
                  <a:cubicBezTo>
                    <a:pt x="7284" y="18974"/>
                    <a:pt x="7420" y="18901"/>
                    <a:pt x="7533" y="18816"/>
                  </a:cubicBezTo>
                  <a:cubicBezTo>
                    <a:pt x="7634" y="18728"/>
                    <a:pt x="7824" y="18656"/>
                    <a:pt x="7947" y="18661"/>
                  </a:cubicBezTo>
                  <a:cubicBezTo>
                    <a:pt x="8071" y="18661"/>
                    <a:pt x="8235" y="18677"/>
                    <a:pt x="8307" y="18699"/>
                  </a:cubicBezTo>
                  <a:cubicBezTo>
                    <a:pt x="8386" y="18714"/>
                    <a:pt x="8494" y="18701"/>
                    <a:pt x="8569" y="18665"/>
                  </a:cubicBezTo>
                  <a:cubicBezTo>
                    <a:pt x="8640" y="18628"/>
                    <a:pt x="8754" y="18597"/>
                    <a:pt x="8826" y="18597"/>
                  </a:cubicBezTo>
                  <a:cubicBezTo>
                    <a:pt x="8899" y="18601"/>
                    <a:pt x="8959" y="18572"/>
                    <a:pt x="8983" y="18543"/>
                  </a:cubicBezTo>
                  <a:cubicBezTo>
                    <a:pt x="8983" y="18512"/>
                    <a:pt x="9044" y="18505"/>
                    <a:pt x="9072" y="18534"/>
                  </a:cubicBezTo>
                  <a:cubicBezTo>
                    <a:pt x="9108" y="18559"/>
                    <a:pt x="9246" y="18594"/>
                    <a:pt x="9377" y="18612"/>
                  </a:cubicBezTo>
                  <a:cubicBezTo>
                    <a:pt x="9509" y="18632"/>
                    <a:pt x="9710" y="18616"/>
                    <a:pt x="9818" y="18580"/>
                  </a:cubicBezTo>
                  <a:cubicBezTo>
                    <a:pt x="9927" y="18546"/>
                    <a:pt x="10125" y="18518"/>
                    <a:pt x="10260" y="18515"/>
                  </a:cubicBezTo>
                  <a:cubicBezTo>
                    <a:pt x="10392" y="18518"/>
                    <a:pt x="10581" y="18571"/>
                    <a:pt x="10681" y="18639"/>
                  </a:cubicBezTo>
                  <a:cubicBezTo>
                    <a:pt x="10771" y="18711"/>
                    <a:pt x="10897" y="18838"/>
                    <a:pt x="10936" y="18928"/>
                  </a:cubicBezTo>
                  <a:cubicBezTo>
                    <a:pt x="10975" y="19019"/>
                    <a:pt x="11002" y="19147"/>
                    <a:pt x="10990" y="19214"/>
                  </a:cubicBezTo>
                  <a:cubicBezTo>
                    <a:pt x="10990" y="19281"/>
                    <a:pt x="10983" y="19346"/>
                    <a:pt x="10995" y="19361"/>
                  </a:cubicBezTo>
                  <a:cubicBezTo>
                    <a:pt x="10995" y="19377"/>
                    <a:pt x="11005" y="19393"/>
                    <a:pt x="10980" y="19399"/>
                  </a:cubicBezTo>
                  <a:cubicBezTo>
                    <a:pt x="10954" y="19403"/>
                    <a:pt x="10942" y="19436"/>
                    <a:pt x="10942" y="19465"/>
                  </a:cubicBezTo>
                  <a:cubicBezTo>
                    <a:pt x="10942" y="19493"/>
                    <a:pt x="11008" y="19522"/>
                    <a:pt x="11084" y="19522"/>
                  </a:cubicBezTo>
                  <a:cubicBezTo>
                    <a:pt x="11158" y="19522"/>
                    <a:pt x="11324" y="19485"/>
                    <a:pt x="11456" y="19434"/>
                  </a:cubicBezTo>
                  <a:cubicBezTo>
                    <a:pt x="11586" y="19383"/>
                    <a:pt x="11692" y="19408"/>
                    <a:pt x="11692" y="19490"/>
                  </a:cubicBezTo>
                  <a:cubicBezTo>
                    <a:pt x="11692" y="19572"/>
                    <a:pt x="11773" y="19724"/>
                    <a:pt x="11879" y="19827"/>
                  </a:cubicBezTo>
                  <a:cubicBezTo>
                    <a:pt x="11980" y="19929"/>
                    <a:pt x="12087" y="20131"/>
                    <a:pt x="12113" y="20274"/>
                  </a:cubicBezTo>
                  <a:cubicBezTo>
                    <a:pt x="12139" y="20416"/>
                    <a:pt x="12195" y="20544"/>
                    <a:pt x="12195" y="20561"/>
                  </a:cubicBezTo>
                  <a:cubicBezTo>
                    <a:pt x="12216" y="20575"/>
                    <a:pt x="12223" y="20634"/>
                    <a:pt x="12223" y="20689"/>
                  </a:cubicBezTo>
                  <a:cubicBezTo>
                    <a:pt x="12223" y="20743"/>
                    <a:pt x="12187" y="20804"/>
                    <a:pt x="12158" y="20827"/>
                  </a:cubicBezTo>
                  <a:cubicBezTo>
                    <a:pt x="12133" y="20850"/>
                    <a:pt x="12122" y="20871"/>
                    <a:pt x="12147" y="20881"/>
                  </a:cubicBezTo>
                  <a:cubicBezTo>
                    <a:pt x="12174" y="20891"/>
                    <a:pt x="12227" y="20898"/>
                    <a:pt x="12264" y="20898"/>
                  </a:cubicBezTo>
                  <a:cubicBezTo>
                    <a:pt x="12299" y="20903"/>
                    <a:pt x="12361" y="20969"/>
                    <a:pt x="12388" y="21055"/>
                  </a:cubicBezTo>
                  <a:cubicBezTo>
                    <a:pt x="12426" y="21139"/>
                    <a:pt x="12512" y="21208"/>
                    <a:pt x="12591" y="21201"/>
                  </a:cubicBezTo>
                  <a:cubicBezTo>
                    <a:pt x="12671" y="21197"/>
                    <a:pt x="12840" y="21191"/>
                    <a:pt x="12965" y="21187"/>
                  </a:cubicBezTo>
                  <a:cubicBezTo>
                    <a:pt x="13092" y="21184"/>
                    <a:pt x="13319" y="21243"/>
                    <a:pt x="13479" y="21312"/>
                  </a:cubicBezTo>
                  <a:cubicBezTo>
                    <a:pt x="13634" y="21383"/>
                    <a:pt x="13757" y="21482"/>
                    <a:pt x="13743" y="21530"/>
                  </a:cubicBezTo>
                  <a:cubicBezTo>
                    <a:pt x="13730" y="21578"/>
                    <a:pt x="13786" y="21586"/>
                    <a:pt x="13853" y="21544"/>
                  </a:cubicBezTo>
                  <a:cubicBezTo>
                    <a:pt x="13919" y="21503"/>
                    <a:pt x="13995" y="21386"/>
                    <a:pt x="13983" y="21283"/>
                  </a:cubicBezTo>
                  <a:cubicBezTo>
                    <a:pt x="13983" y="21179"/>
                    <a:pt x="14060" y="21050"/>
                    <a:pt x="14150" y="20997"/>
                  </a:cubicBezTo>
                  <a:cubicBezTo>
                    <a:pt x="14228" y="20939"/>
                    <a:pt x="14363" y="20892"/>
                    <a:pt x="14417" y="20874"/>
                  </a:cubicBezTo>
                  <a:close/>
                  <a:moveTo>
                    <a:pt x="14417" y="208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7" name="AutoShape 466"/>
            <p:cNvSpPr>
              <a:spLocks/>
            </p:cNvSpPr>
            <p:nvPr/>
          </p:nvSpPr>
          <p:spPr bwMode="auto">
            <a:xfrm>
              <a:off x="10134600" y="4000500"/>
              <a:ext cx="0" cy="0"/>
            </a:xfrm>
            <a:custGeom>
              <a:avLst/>
              <a:gdLst/>
              <a:ahLst/>
              <a:cxnLst/>
              <a:rect l="0" t="0" r="r" b="b"/>
              <a:pathLst>
                <a:path w="21600" h="21600">
                  <a:moveTo>
                    <a:pt x="21600" y="0"/>
                  </a:moveTo>
                  <a:cubicBezTo>
                    <a:pt x="13920" y="9038"/>
                    <a:pt x="6690" y="16634"/>
                    <a:pt x="0" y="21600"/>
                  </a:cubicBezTo>
                  <a:cubicBezTo>
                    <a:pt x="7200" y="16342"/>
                    <a:pt x="14370" y="8143"/>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8" name="AutoShape 467"/>
            <p:cNvSpPr>
              <a:spLocks/>
            </p:cNvSpPr>
            <p:nvPr/>
          </p:nvSpPr>
          <p:spPr bwMode="auto">
            <a:xfrm>
              <a:off x="9779000" y="3695700"/>
              <a:ext cx="301625" cy="423863"/>
            </a:xfrm>
            <a:custGeom>
              <a:avLst/>
              <a:gdLst/>
              <a:ahLst/>
              <a:cxnLst/>
              <a:rect l="0" t="0" r="r" b="b"/>
              <a:pathLst>
                <a:path w="21544" h="21578">
                  <a:moveTo>
                    <a:pt x="10053" y="2687"/>
                  </a:moveTo>
                  <a:cubicBezTo>
                    <a:pt x="9991" y="2670"/>
                    <a:pt x="9870" y="2581"/>
                    <a:pt x="9803" y="2472"/>
                  </a:cubicBezTo>
                  <a:cubicBezTo>
                    <a:pt x="9725" y="2366"/>
                    <a:pt x="9576" y="2225"/>
                    <a:pt x="9470" y="2154"/>
                  </a:cubicBezTo>
                  <a:cubicBezTo>
                    <a:pt x="9422" y="2126"/>
                    <a:pt x="9356" y="2110"/>
                    <a:pt x="9292" y="2093"/>
                  </a:cubicBezTo>
                  <a:cubicBezTo>
                    <a:pt x="9265" y="2088"/>
                    <a:pt x="9241" y="2080"/>
                    <a:pt x="9212" y="2080"/>
                  </a:cubicBezTo>
                  <a:cubicBezTo>
                    <a:pt x="9162" y="2068"/>
                    <a:pt x="9109" y="2073"/>
                    <a:pt x="9063" y="2078"/>
                  </a:cubicBezTo>
                  <a:cubicBezTo>
                    <a:pt x="9041" y="2083"/>
                    <a:pt x="9015" y="2078"/>
                    <a:pt x="8996" y="2085"/>
                  </a:cubicBezTo>
                  <a:cubicBezTo>
                    <a:pt x="8914" y="2104"/>
                    <a:pt x="8830" y="2106"/>
                    <a:pt x="8763" y="2098"/>
                  </a:cubicBezTo>
                  <a:cubicBezTo>
                    <a:pt x="8774" y="2116"/>
                    <a:pt x="8763" y="2132"/>
                    <a:pt x="8759" y="2132"/>
                  </a:cubicBezTo>
                  <a:cubicBezTo>
                    <a:pt x="8743" y="2138"/>
                    <a:pt x="8691" y="2105"/>
                    <a:pt x="8653" y="2060"/>
                  </a:cubicBezTo>
                  <a:cubicBezTo>
                    <a:pt x="8617" y="2013"/>
                    <a:pt x="8496" y="1988"/>
                    <a:pt x="8396" y="2009"/>
                  </a:cubicBezTo>
                  <a:cubicBezTo>
                    <a:pt x="8296" y="2026"/>
                    <a:pt x="8128" y="1971"/>
                    <a:pt x="8019" y="1893"/>
                  </a:cubicBezTo>
                  <a:cubicBezTo>
                    <a:pt x="7903" y="1820"/>
                    <a:pt x="7735" y="1771"/>
                    <a:pt x="7625" y="1796"/>
                  </a:cubicBezTo>
                  <a:cubicBezTo>
                    <a:pt x="7516" y="1820"/>
                    <a:pt x="7322" y="1931"/>
                    <a:pt x="7191" y="2038"/>
                  </a:cubicBezTo>
                  <a:cubicBezTo>
                    <a:pt x="7054" y="2141"/>
                    <a:pt x="6921" y="2228"/>
                    <a:pt x="6881" y="2221"/>
                  </a:cubicBezTo>
                  <a:cubicBezTo>
                    <a:pt x="6839" y="2217"/>
                    <a:pt x="6706" y="2232"/>
                    <a:pt x="6583" y="2254"/>
                  </a:cubicBezTo>
                  <a:cubicBezTo>
                    <a:pt x="6459" y="2278"/>
                    <a:pt x="6316" y="2327"/>
                    <a:pt x="6272" y="2369"/>
                  </a:cubicBezTo>
                  <a:cubicBezTo>
                    <a:pt x="6221" y="2405"/>
                    <a:pt x="6150" y="2460"/>
                    <a:pt x="6100" y="2473"/>
                  </a:cubicBezTo>
                  <a:cubicBezTo>
                    <a:pt x="6054" y="2495"/>
                    <a:pt x="6016" y="2565"/>
                    <a:pt x="6016" y="2635"/>
                  </a:cubicBezTo>
                  <a:cubicBezTo>
                    <a:pt x="6016" y="2706"/>
                    <a:pt x="6059" y="2802"/>
                    <a:pt x="6114" y="2845"/>
                  </a:cubicBezTo>
                  <a:cubicBezTo>
                    <a:pt x="6162" y="2893"/>
                    <a:pt x="6211" y="3025"/>
                    <a:pt x="6237" y="3143"/>
                  </a:cubicBezTo>
                  <a:cubicBezTo>
                    <a:pt x="6263" y="3259"/>
                    <a:pt x="6183" y="3458"/>
                    <a:pt x="6090" y="3585"/>
                  </a:cubicBezTo>
                  <a:cubicBezTo>
                    <a:pt x="5987" y="3710"/>
                    <a:pt x="5913" y="3932"/>
                    <a:pt x="5939" y="4073"/>
                  </a:cubicBezTo>
                  <a:cubicBezTo>
                    <a:pt x="5948" y="4139"/>
                    <a:pt x="5953" y="4223"/>
                    <a:pt x="5952" y="4310"/>
                  </a:cubicBezTo>
                  <a:cubicBezTo>
                    <a:pt x="5961" y="4414"/>
                    <a:pt x="5965" y="4520"/>
                    <a:pt x="5943" y="4600"/>
                  </a:cubicBezTo>
                  <a:cubicBezTo>
                    <a:pt x="5929" y="4748"/>
                    <a:pt x="5854" y="4873"/>
                    <a:pt x="5780" y="4891"/>
                  </a:cubicBezTo>
                  <a:cubicBezTo>
                    <a:pt x="5701" y="4905"/>
                    <a:pt x="5583" y="4963"/>
                    <a:pt x="5516" y="5025"/>
                  </a:cubicBezTo>
                  <a:cubicBezTo>
                    <a:pt x="5446" y="5085"/>
                    <a:pt x="5384" y="5183"/>
                    <a:pt x="5373" y="5239"/>
                  </a:cubicBezTo>
                  <a:cubicBezTo>
                    <a:pt x="5359" y="5294"/>
                    <a:pt x="5197" y="5363"/>
                    <a:pt x="5007" y="5386"/>
                  </a:cubicBezTo>
                  <a:cubicBezTo>
                    <a:pt x="4815" y="5409"/>
                    <a:pt x="4541" y="5501"/>
                    <a:pt x="4392" y="5576"/>
                  </a:cubicBezTo>
                  <a:cubicBezTo>
                    <a:pt x="4252" y="5662"/>
                    <a:pt x="4153" y="5788"/>
                    <a:pt x="4190" y="5868"/>
                  </a:cubicBezTo>
                  <a:cubicBezTo>
                    <a:pt x="4216" y="5950"/>
                    <a:pt x="4201" y="6060"/>
                    <a:pt x="4147" y="6122"/>
                  </a:cubicBezTo>
                  <a:cubicBezTo>
                    <a:pt x="4085" y="6180"/>
                    <a:pt x="4030" y="6289"/>
                    <a:pt x="4030" y="6363"/>
                  </a:cubicBezTo>
                  <a:cubicBezTo>
                    <a:pt x="4030" y="6435"/>
                    <a:pt x="3978" y="6571"/>
                    <a:pt x="3905" y="6654"/>
                  </a:cubicBezTo>
                  <a:cubicBezTo>
                    <a:pt x="3850" y="6746"/>
                    <a:pt x="3672" y="6824"/>
                    <a:pt x="3525" y="6835"/>
                  </a:cubicBezTo>
                  <a:cubicBezTo>
                    <a:pt x="3380" y="6844"/>
                    <a:pt x="3220" y="6901"/>
                    <a:pt x="3179" y="6960"/>
                  </a:cubicBezTo>
                  <a:cubicBezTo>
                    <a:pt x="3120" y="7011"/>
                    <a:pt x="3038" y="7031"/>
                    <a:pt x="3005" y="6974"/>
                  </a:cubicBezTo>
                  <a:cubicBezTo>
                    <a:pt x="2955" y="6925"/>
                    <a:pt x="2872" y="6816"/>
                    <a:pt x="2845" y="6729"/>
                  </a:cubicBezTo>
                  <a:cubicBezTo>
                    <a:pt x="2804" y="6644"/>
                    <a:pt x="2654" y="6496"/>
                    <a:pt x="2543" y="6382"/>
                  </a:cubicBezTo>
                  <a:cubicBezTo>
                    <a:pt x="2414" y="6276"/>
                    <a:pt x="2236" y="6183"/>
                    <a:pt x="2146" y="6174"/>
                  </a:cubicBezTo>
                  <a:cubicBezTo>
                    <a:pt x="2056" y="6166"/>
                    <a:pt x="1930" y="6211"/>
                    <a:pt x="1874" y="6276"/>
                  </a:cubicBezTo>
                  <a:cubicBezTo>
                    <a:pt x="1818" y="6342"/>
                    <a:pt x="1694" y="6383"/>
                    <a:pt x="1607" y="6379"/>
                  </a:cubicBezTo>
                  <a:cubicBezTo>
                    <a:pt x="1521" y="6369"/>
                    <a:pt x="1368" y="6304"/>
                    <a:pt x="1282" y="6223"/>
                  </a:cubicBezTo>
                  <a:cubicBezTo>
                    <a:pt x="1182" y="6151"/>
                    <a:pt x="1018" y="6041"/>
                    <a:pt x="894" y="6001"/>
                  </a:cubicBezTo>
                  <a:cubicBezTo>
                    <a:pt x="776" y="5954"/>
                    <a:pt x="633" y="5935"/>
                    <a:pt x="582" y="5948"/>
                  </a:cubicBezTo>
                  <a:cubicBezTo>
                    <a:pt x="534" y="5966"/>
                    <a:pt x="505" y="5987"/>
                    <a:pt x="505" y="6002"/>
                  </a:cubicBezTo>
                  <a:cubicBezTo>
                    <a:pt x="520" y="6013"/>
                    <a:pt x="539" y="6159"/>
                    <a:pt x="539" y="6321"/>
                  </a:cubicBezTo>
                  <a:cubicBezTo>
                    <a:pt x="539" y="6483"/>
                    <a:pt x="570" y="6681"/>
                    <a:pt x="596" y="6760"/>
                  </a:cubicBezTo>
                  <a:cubicBezTo>
                    <a:pt x="620" y="6840"/>
                    <a:pt x="606" y="6975"/>
                    <a:pt x="582" y="7059"/>
                  </a:cubicBezTo>
                  <a:cubicBezTo>
                    <a:pt x="555" y="7143"/>
                    <a:pt x="595" y="7299"/>
                    <a:pt x="675" y="7404"/>
                  </a:cubicBezTo>
                  <a:cubicBezTo>
                    <a:pt x="756" y="7510"/>
                    <a:pt x="802" y="7619"/>
                    <a:pt x="777" y="7645"/>
                  </a:cubicBezTo>
                  <a:cubicBezTo>
                    <a:pt x="752" y="7672"/>
                    <a:pt x="736" y="7758"/>
                    <a:pt x="762" y="7832"/>
                  </a:cubicBezTo>
                  <a:cubicBezTo>
                    <a:pt x="775" y="7908"/>
                    <a:pt x="679" y="8037"/>
                    <a:pt x="561" y="8131"/>
                  </a:cubicBezTo>
                  <a:cubicBezTo>
                    <a:pt x="428" y="8216"/>
                    <a:pt x="237" y="8311"/>
                    <a:pt x="126" y="8336"/>
                  </a:cubicBezTo>
                  <a:cubicBezTo>
                    <a:pt x="13" y="8358"/>
                    <a:pt x="-30" y="8447"/>
                    <a:pt x="22" y="8531"/>
                  </a:cubicBezTo>
                  <a:cubicBezTo>
                    <a:pt x="61" y="8619"/>
                    <a:pt x="200" y="8750"/>
                    <a:pt x="296" y="8833"/>
                  </a:cubicBezTo>
                  <a:cubicBezTo>
                    <a:pt x="391" y="8916"/>
                    <a:pt x="400" y="9102"/>
                    <a:pt x="317" y="9249"/>
                  </a:cubicBezTo>
                  <a:cubicBezTo>
                    <a:pt x="240" y="9397"/>
                    <a:pt x="188" y="9539"/>
                    <a:pt x="218" y="9566"/>
                  </a:cubicBezTo>
                  <a:cubicBezTo>
                    <a:pt x="249" y="9593"/>
                    <a:pt x="309" y="9791"/>
                    <a:pt x="374" y="10001"/>
                  </a:cubicBezTo>
                  <a:cubicBezTo>
                    <a:pt x="426" y="10214"/>
                    <a:pt x="494" y="10480"/>
                    <a:pt x="494" y="10593"/>
                  </a:cubicBezTo>
                  <a:cubicBezTo>
                    <a:pt x="507" y="10707"/>
                    <a:pt x="669" y="10844"/>
                    <a:pt x="851" y="10908"/>
                  </a:cubicBezTo>
                  <a:cubicBezTo>
                    <a:pt x="1038" y="10962"/>
                    <a:pt x="1223" y="11023"/>
                    <a:pt x="1270" y="11023"/>
                  </a:cubicBezTo>
                  <a:cubicBezTo>
                    <a:pt x="1314" y="11031"/>
                    <a:pt x="1228" y="11198"/>
                    <a:pt x="1093" y="11410"/>
                  </a:cubicBezTo>
                  <a:cubicBezTo>
                    <a:pt x="946" y="11620"/>
                    <a:pt x="834" y="11916"/>
                    <a:pt x="807" y="12064"/>
                  </a:cubicBezTo>
                  <a:cubicBezTo>
                    <a:pt x="807" y="12213"/>
                    <a:pt x="932" y="12589"/>
                    <a:pt x="1092" y="12904"/>
                  </a:cubicBezTo>
                  <a:cubicBezTo>
                    <a:pt x="1250" y="13219"/>
                    <a:pt x="1488" y="13699"/>
                    <a:pt x="1580" y="13978"/>
                  </a:cubicBezTo>
                  <a:cubicBezTo>
                    <a:pt x="1696" y="14253"/>
                    <a:pt x="1743" y="14549"/>
                    <a:pt x="1705" y="14626"/>
                  </a:cubicBezTo>
                  <a:cubicBezTo>
                    <a:pt x="1678" y="14704"/>
                    <a:pt x="1707" y="14852"/>
                    <a:pt x="1760" y="14964"/>
                  </a:cubicBezTo>
                  <a:cubicBezTo>
                    <a:pt x="1814" y="15075"/>
                    <a:pt x="1893" y="15339"/>
                    <a:pt x="1932" y="15554"/>
                  </a:cubicBezTo>
                  <a:cubicBezTo>
                    <a:pt x="1959" y="15770"/>
                    <a:pt x="2368" y="15974"/>
                    <a:pt x="2827" y="16013"/>
                  </a:cubicBezTo>
                  <a:cubicBezTo>
                    <a:pt x="3284" y="16049"/>
                    <a:pt x="3730" y="16251"/>
                    <a:pt x="3834" y="16456"/>
                  </a:cubicBezTo>
                  <a:cubicBezTo>
                    <a:pt x="3926" y="16664"/>
                    <a:pt x="4014" y="16961"/>
                    <a:pt x="4014" y="17120"/>
                  </a:cubicBezTo>
                  <a:cubicBezTo>
                    <a:pt x="4014" y="17278"/>
                    <a:pt x="4064" y="17601"/>
                    <a:pt x="4141" y="17834"/>
                  </a:cubicBezTo>
                  <a:cubicBezTo>
                    <a:pt x="4208" y="18068"/>
                    <a:pt x="4226" y="18313"/>
                    <a:pt x="4201" y="18384"/>
                  </a:cubicBezTo>
                  <a:cubicBezTo>
                    <a:pt x="4161" y="18452"/>
                    <a:pt x="3862" y="18981"/>
                    <a:pt x="3504" y="19553"/>
                  </a:cubicBezTo>
                  <a:cubicBezTo>
                    <a:pt x="3136" y="20124"/>
                    <a:pt x="3460" y="20819"/>
                    <a:pt x="4187" y="21078"/>
                  </a:cubicBezTo>
                  <a:cubicBezTo>
                    <a:pt x="4905" y="21344"/>
                    <a:pt x="5978" y="21559"/>
                    <a:pt x="6564" y="21574"/>
                  </a:cubicBezTo>
                  <a:cubicBezTo>
                    <a:pt x="7144" y="21588"/>
                    <a:pt x="7755" y="21567"/>
                    <a:pt x="7917" y="21519"/>
                  </a:cubicBezTo>
                  <a:cubicBezTo>
                    <a:pt x="8080" y="21475"/>
                    <a:pt x="8343" y="21457"/>
                    <a:pt x="8501" y="21472"/>
                  </a:cubicBezTo>
                  <a:cubicBezTo>
                    <a:pt x="8659" y="21486"/>
                    <a:pt x="8823" y="21450"/>
                    <a:pt x="8890" y="21402"/>
                  </a:cubicBezTo>
                  <a:cubicBezTo>
                    <a:pt x="8944" y="21344"/>
                    <a:pt x="9131" y="21259"/>
                    <a:pt x="9302" y="21220"/>
                  </a:cubicBezTo>
                  <a:cubicBezTo>
                    <a:pt x="9472" y="21175"/>
                    <a:pt x="9823" y="21134"/>
                    <a:pt x="10082" y="21134"/>
                  </a:cubicBezTo>
                  <a:cubicBezTo>
                    <a:pt x="10339" y="21134"/>
                    <a:pt x="10674" y="21115"/>
                    <a:pt x="10826" y="21100"/>
                  </a:cubicBezTo>
                  <a:cubicBezTo>
                    <a:pt x="10977" y="21086"/>
                    <a:pt x="11237" y="21074"/>
                    <a:pt x="11402" y="21094"/>
                  </a:cubicBezTo>
                  <a:cubicBezTo>
                    <a:pt x="11568" y="21108"/>
                    <a:pt x="11856" y="21053"/>
                    <a:pt x="12036" y="20964"/>
                  </a:cubicBezTo>
                  <a:cubicBezTo>
                    <a:pt x="12215" y="20878"/>
                    <a:pt x="12362" y="20725"/>
                    <a:pt x="12388" y="20620"/>
                  </a:cubicBezTo>
                  <a:cubicBezTo>
                    <a:pt x="12403" y="20515"/>
                    <a:pt x="12384" y="20334"/>
                    <a:pt x="12333" y="20223"/>
                  </a:cubicBezTo>
                  <a:cubicBezTo>
                    <a:pt x="12292" y="20109"/>
                    <a:pt x="12247" y="19921"/>
                    <a:pt x="12247" y="19802"/>
                  </a:cubicBezTo>
                  <a:cubicBezTo>
                    <a:pt x="12261" y="19685"/>
                    <a:pt x="12210" y="19435"/>
                    <a:pt x="12157" y="19248"/>
                  </a:cubicBezTo>
                  <a:cubicBezTo>
                    <a:pt x="12105" y="19062"/>
                    <a:pt x="12065" y="18781"/>
                    <a:pt x="12038" y="18625"/>
                  </a:cubicBezTo>
                  <a:cubicBezTo>
                    <a:pt x="12025" y="18468"/>
                    <a:pt x="12049" y="18267"/>
                    <a:pt x="12103" y="18177"/>
                  </a:cubicBezTo>
                  <a:cubicBezTo>
                    <a:pt x="12164" y="18090"/>
                    <a:pt x="12269" y="17985"/>
                    <a:pt x="12358" y="17958"/>
                  </a:cubicBezTo>
                  <a:cubicBezTo>
                    <a:pt x="12443" y="17927"/>
                    <a:pt x="12511" y="17827"/>
                    <a:pt x="12537" y="17740"/>
                  </a:cubicBezTo>
                  <a:cubicBezTo>
                    <a:pt x="12563" y="17653"/>
                    <a:pt x="12583" y="17511"/>
                    <a:pt x="12610" y="17428"/>
                  </a:cubicBezTo>
                  <a:cubicBezTo>
                    <a:pt x="12648" y="17347"/>
                    <a:pt x="12751" y="17259"/>
                    <a:pt x="12864" y="17239"/>
                  </a:cubicBezTo>
                  <a:cubicBezTo>
                    <a:pt x="12974" y="17214"/>
                    <a:pt x="13120" y="17238"/>
                    <a:pt x="13173" y="17290"/>
                  </a:cubicBezTo>
                  <a:cubicBezTo>
                    <a:pt x="13228" y="17339"/>
                    <a:pt x="13409" y="17311"/>
                    <a:pt x="13574" y="17229"/>
                  </a:cubicBezTo>
                  <a:cubicBezTo>
                    <a:pt x="13740" y="17152"/>
                    <a:pt x="13901" y="17016"/>
                    <a:pt x="13954" y="16942"/>
                  </a:cubicBezTo>
                  <a:cubicBezTo>
                    <a:pt x="13994" y="16862"/>
                    <a:pt x="13970" y="16776"/>
                    <a:pt x="13895" y="16738"/>
                  </a:cubicBezTo>
                  <a:cubicBezTo>
                    <a:pt x="13818" y="16702"/>
                    <a:pt x="13883" y="16555"/>
                    <a:pt x="14040" y="16405"/>
                  </a:cubicBezTo>
                  <a:cubicBezTo>
                    <a:pt x="14193" y="16252"/>
                    <a:pt x="14333" y="16072"/>
                    <a:pt x="14371" y="16005"/>
                  </a:cubicBezTo>
                  <a:cubicBezTo>
                    <a:pt x="14384" y="15933"/>
                    <a:pt x="14502" y="15874"/>
                    <a:pt x="14609" y="15869"/>
                  </a:cubicBezTo>
                  <a:cubicBezTo>
                    <a:pt x="14716" y="15865"/>
                    <a:pt x="14845" y="15906"/>
                    <a:pt x="14908" y="15951"/>
                  </a:cubicBezTo>
                  <a:cubicBezTo>
                    <a:pt x="14953" y="16005"/>
                    <a:pt x="15103" y="16050"/>
                    <a:pt x="15214" y="16069"/>
                  </a:cubicBezTo>
                  <a:cubicBezTo>
                    <a:pt x="15326" y="16083"/>
                    <a:pt x="15418" y="16038"/>
                    <a:pt x="15418" y="15962"/>
                  </a:cubicBezTo>
                  <a:cubicBezTo>
                    <a:pt x="15405" y="15885"/>
                    <a:pt x="15459" y="15830"/>
                    <a:pt x="15512" y="15830"/>
                  </a:cubicBezTo>
                  <a:cubicBezTo>
                    <a:pt x="15563" y="15834"/>
                    <a:pt x="15690" y="15953"/>
                    <a:pt x="15784" y="16097"/>
                  </a:cubicBezTo>
                  <a:cubicBezTo>
                    <a:pt x="15875" y="16241"/>
                    <a:pt x="16028" y="16217"/>
                    <a:pt x="16110" y="16047"/>
                  </a:cubicBezTo>
                  <a:cubicBezTo>
                    <a:pt x="16189" y="15877"/>
                    <a:pt x="16208" y="15534"/>
                    <a:pt x="16155" y="15284"/>
                  </a:cubicBezTo>
                  <a:cubicBezTo>
                    <a:pt x="16077" y="15036"/>
                    <a:pt x="16076" y="14791"/>
                    <a:pt x="16102" y="14745"/>
                  </a:cubicBezTo>
                  <a:cubicBezTo>
                    <a:pt x="16128" y="14699"/>
                    <a:pt x="16158" y="14599"/>
                    <a:pt x="16144" y="14525"/>
                  </a:cubicBezTo>
                  <a:cubicBezTo>
                    <a:pt x="16144" y="14449"/>
                    <a:pt x="16161" y="14284"/>
                    <a:pt x="16174" y="14158"/>
                  </a:cubicBezTo>
                  <a:cubicBezTo>
                    <a:pt x="16200" y="14033"/>
                    <a:pt x="16198" y="13770"/>
                    <a:pt x="16198" y="13574"/>
                  </a:cubicBezTo>
                  <a:cubicBezTo>
                    <a:pt x="16185" y="13379"/>
                    <a:pt x="16211" y="13157"/>
                    <a:pt x="16236" y="13081"/>
                  </a:cubicBezTo>
                  <a:cubicBezTo>
                    <a:pt x="16263" y="13003"/>
                    <a:pt x="16367" y="12943"/>
                    <a:pt x="16465" y="12936"/>
                  </a:cubicBezTo>
                  <a:cubicBezTo>
                    <a:pt x="16561" y="12931"/>
                    <a:pt x="16718" y="12875"/>
                    <a:pt x="16820" y="12816"/>
                  </a:cubicBezTo>
                  <a:cubicBezTo>
                    <a:pt x="16916" y="12753"/>
                    <a:pt x="17014" y="12626"/>
                    <a:pt x="17014" y="12533"/>
                  </a:cubicBezTo>
                  <a:cubicBezTo>
                    <a:pt x="17042" y="12441"/>
                    <a:pt x="16980" y="12232"/>
                    <a:pt x="16903" y="12078"/>
                  </a:cubicBezTo>
                  <a:cubicBezTo>
                    <a:pt x="16836" y="11921"/>
                    <a:pt x="16681" y="11742"/>
                    <a:pt x="16597" y="11661"/>
                  </a:cubicBezTo>
                  <a:cubicBezTo>
                    <a:pt x="16496" y="11589"/>
                    <a:pt x="16365" y="11408"/>
                    <a:pt x="16299" y="11261"/>
                  </a:cubicBezTo>
                  <a:cubicBezTo>
                    <a:pt x="16246" y="11110"/>
                    <a:pt x="16268" y="10932"/>
                    <a:pt x="16360" y="10852"/>
                  </a:cubicBezTo>
                  <a:cubicBezTo>
                    <a:pt x="16457" y="10773"/>
                    <a:pt x="16680" y="10787"/>
                    <a:pt x="16846" y="10885"/>
                  </a:cubicBezTo>
                  <a:cubicBezTo>
                    <a:pt x="17016" y="10979"/>
                    <a:pt x="17285" y="11073"/>
                    <a:pt x="17449" y="11088"/>
                  </a:cubicBezTo>
                  <a:cubicBezTo>
                    <a:pt x="17455" y="11088"/>
                    <a:pt x="17461" y="11085"/>
                    <a:pt x="17467" y="11085"/>
                  </a:cubicBezTo>
                  <a:cubicBezTo>
                    <a:pt x="17627" y="11090"/>
                    <a:pt x="17805" y="10940"/>
                    <a:pt x="17908" y="10749"/>
                  </a:cubicBezTo>
                  <a:cubicBezTo>
                    <a:pt x="17988" y="10544"/>
                    <a:pt x="18051" y="10258"/>
                    <a:pt x="18038" y="10107"/>
                  </a:cubicBezTo>
                  <a:cubicBezTo>
                    <a:pt x="18025" y="9956"/>
                    <a:pt x="17906" y="9721"/>
                    <a:pt x="17785" y="9583"/>
                  </a:cubicBezTo>
                  <a:cubicBezTo>
                    <a:pt x="17668" y="9443"/>
                    <a:pt x="17708" y="9074"/>
                    <a:pt x="17866" y="8755"/>
                  </a:cubicBezTo>
                  <a:cubicBezTo>
                    <a:pt x="18025" y="8436"/>
                    <a:pt x="18128" y="7985"/>
                    <a:pt x="18087" y="7747"/>
                  </a:cubicBezTo>
                  <a:cubicBezTo>
                    <a:pt x="18035" y="7511"/>
                    <a:pt x="17828" y="7013"/>
                    <a:pt x="17591" y="6647"/>
                  </a:cubicBezTo>
                  <a:cubicBezTo>
                    <a:pt x="17356" y="6279"/>
                    <a:pt x="17234" y="5905"/>
                    <a:pt x="17290" y="5809"/>
                  </a:cubicBezTo>
                  <a:cubicBezTo>
                    <a:pt x="17365" y="5720"/>
                    <a:pt x="17466" y="5540"/>
                    <a:pt x="17505" y="5414"/>
                  </a:cubicBezTo>
                  <a:cubicBezTo>
                    <a:pt x="17544" y="5286"/>
                    <a:pt x="17694" y="5194"/>
                    <a:pt x="17811" y="5213"/>
                  </a:cubicBezTo>
                  <a:cubicBezTo>
                    <a:pt x="17930" y="5225"/>
                    <a:pt x="18101" y="5154"/>
                    <a:pt x="18187" y="5049"/>
                  </a:cubicBezTo>
                  <a:cubicBezTo>
                    <a:pt x="18257" y="4939"/>
                    <a:pt x="18450" y="4796"/>
                    <a:pt x="18580" y="4721"/>
                  </a:cubicBezTo>
                  <a:cubicBezTo>
                    <a:pt x="18713" y="4651"/>
                    <a:pt x="18902" y="4650"/>
                    <a:pt x="19007" y="4735"/>
                  </a:cubicBezTo>
                  <a:cubicBezTo>
                    <a:pt x="19112" y="4819"/>
                    <a:pt x="19531" y="4839"/>
                    <a:pt x="19931" y="4784"/>
                  </a:cubicBezTo>
                  <a:cubicBezTo>
                    <a:pt x="20327" y="4721"/>
                    <a:pt x="20793" y="4626"/>
                    <a:pt x="20959" y="4547"/>
                  </a:cubicBezTo>
                  <a:cubicBezTo>
                    <a:pt x="21132" y="4477"/>
                    <a:pt x="21313" y="4269"/>
                    <a:pt x="21365" y="4094"/>
                  </a:cubicBezTo>
                  <a:cubicBezTo>
                    <a:pt x="21429" y="3922"/>
                    <a:pt x="21414" y="3747"/>
                    <a:pt x="21341" y="3721"/>
                  </a:cubicBezTo>
                  <a:cubicBezTo>
                    <a:pt x="21271" y="3691"/>
                    <a:pt x="21300" y="3562"/>
                    <a:pt x="21404" y="3442"/>
                  </a:cubicBezTo>
                  <a:cubicBezTo>
                    <a:pt x="21520" y="3327"/>
                    <a:pt x="21570" y="3146"/>
                    <a:pt x="21532" y="3056"/>
                  </a:cubicBezTo>
                  <a:cubicBezTo>
                    <a:pt x="21494" y="2964"/>
                    <a:pt x="21329" y="2874"/>
                    <a:pt x="21159" y="2844"/>
                  </a:cubicBezTo>
                  <a:cubicBezTo>
                    <a:pt x="20986" y="2822"/>
                    <a:pt x="20809" y="2862"/>
                    <a:pt x="20771" y="2939"/>
                  </a:cubicBezTo>
                  <a:cubicBezTo>
                    <a:pt x="20731" y="3016"/>
                    <a:pt x="20577" y="3079"/>
                    <a:pt x="20426" y="3083"/>
                  </a:cubicBezTo>
                  <a:cubicBezTo>
                    <a:pt x="20275" y="3083"/>
                    <a:pt x="20135" y="2990"/>
                    <a:pt x="20083" y="2878"/>
                  </a:cubicBezTo>
                  <a:cubicBezTo>
                    <a:pt x="20056" y="2762"/>
                    <a:pt x="19921" y="2685"/>
                    <a:pt x="19806" y="2703"/>
                  </a:cubicBezTo>
                  <a:cubicBezTo>
                    <a:pt x="19692" y="2721"/>
                    <a:pt x="19473" y="2848"/>
                    <a:pt x="19296" y="2969"/>
                  </a:cubicBezTo>
                  <a:cubicBezTo>
                    <a:pt x="19141" y="3105"/>
                    <a:pt x="18957" y="3251"/>
                    <a:pt x="18906" y="3305"/>
                  </a:cubicBezTo>
                  <a:cubicBezTo>
                    <a:pt x="18875" y="3366"/>
                    <a:pt x="18813" y="3485"/>
                    <a:pt x="18813" y="3583"/>
                  </a:cubicBezTo>
                  <a:cubicBezTo>
                    <a:pt x="18799" y="3679"/>
                    <a:pt x="18755" y="3813"/>
                    <a:pt x="18702" y="3884"/>
                  </a:cubicBezTo>
                  <a:cubicBezTo>
                    <a:pt x="18641" y="3951"/>
                    <a:pt x="18484" y="4059"/>
                    <a:pt x="18354" y="4131"/>
                  </a:cubicBezTo>
                  <a:cubicBezTo>
                    <a:pt x="18220" y="4198"/>
                    <a:pt x="18094" y="4295"/>
                    <a:pt x="18094" y="4348"/>
                  </a:cubicBezTo>
                  <a:cubicBezTo>
                    <a:pt x="18081" y="4399"/>
                    <a:pt x="18023" y="4491"/>
                    <a:pt x="17964" y="4554"/>
                  </a:cubicBezTo>
                  <a:cubicBezTo>
                    <a:pt x="17899" y="4614"/>
                    <a:pt x="17758" y="4654"/>
                    <a:pt x="17650" y="4640"/>
                  </a:cubicBezTo>
                  <a:cubicBezTo>
                    <a:pt x="17542" y="4627"/>
                    <a:pt x="17393" y="4569"/>
                    <a:pt x="17302" y="4527"/>
                  </a:cubicBezTo>
                  <a:cubicBezTo>
                    <a:pt x="17222" y="4475"/>
                    <a:pt x="17156" y="4375"/>
                    <a:pt x="17131" y="4303"/>
                  </a:cubicBezTo>
                  <a:cubicBezTo>
                    <a:pt x="17131" y="4228"/>
                    <a:pt x="17046" y="4071"/>
                    <a:pt x="16964" y="3954"/>
                  </a:cubicBezTo>
                  <a:cubicBezTo>
                    <a:pt x="16888" y="3834"/>
                    <a:pt x="16803" y="3564"/>
                    <a:pt x="16752" y="3354"/>
                  </a:cubicBezTo>
                  <a:cubicBezTo>
                    <a:pt x="16725" y="3142"/>
                    <a:pt x="16672" y="2876"/>
                    <a:pt x="16633" y="2767"/>
                  </a:cubicBezTo>
                  <a:cubicBezTo>
                    <a:pt x="16606" y="2656"/>
                    <a:pt x="16556" y="2455"/>
                    <a:pt x="16556" y="2318"/>
                  </a:cubicBezTo>
                  <a:cubicBezTo>
                    <a:pt x="16543" y="2183"/>
                    <a:pt x="16486" y="1987"/>
                    <a:pt x="16446" y="1880"/>
                  </a:cubicBezTo>
                  <a:cubicBezTo>
                    <a:pt x="16392" y="1776"/>
                    <a:pt x="16303" y="1677"/>
                    <a:pt x="16230" y="1677"/>
                  </a:cubicBezTo>
                  <a:cubicBezTo>
                    <a:pt x="16159" y="1671"/>
                    <a:pt x="16066" y="1582"/>
                    <a:pt x="16025" y="1477"/>
                  </a:cubicBezTo>
                  <a:cubicBezTo>
                    <a:pt x="15984" y="1372"/>
                    <a:pt x="15965" y="1186"/>
                    <a:pt x="15952" y="1064"/>
                  </a:cubicBezTo>
                  <a:cubicBezTo>
                    <a:pt x="15965" y="942"/>
                    <a:pt x="15928" y="772"/>
                    <a:pt x="15928" y="686"/>
                  </a:cubicBezTo>
                  <a:cubicBezTo>
                    <a:pt x="15902" y="602"/>
                    <a:pt x="15833" y="481"/>
                    <a:pt x="15747" y="419"/>
                  </a:cubicBezTo>
                  <a:cubicBezTo>
                    <a:pt x="15657" y="359"/>
                    <a:pt x="15521" y="242"/>
                    <a:pt x="15431" y="168"/>
                  </a:cubicBezTo>
                  <a:cubicBezTo>
                    <a:pt x="15349" y="89"/>
                    <a:pt x="15189" y="16"/>
                    <a:pt x="15084" y="2"/>
                  </a:cubicBezTo>
                  <a:cubicBezTo>
                    <a:pt x="14978" y="-12"/>
                    <a:pt x="14887" y="55"/>
                    <a:pt x="14839" y="143"/>
                  </a:cubicBezTo>
                  <a:cubicBezTo>
                    <a:pt x="14813" y="235"/>
                    <a:pt x="14800" y="434"/>
                    <a:pt x="14800" y="589"/>
                  </a:cubicBezTo>
                  <a:cubicBezTo>
                    <a:pt x="14813" y="743"/>
                    <a:pt x="14776" y="911"/>
                    <a:pt x="14732" y="963"/>
                  </a:cubicBezTo>
                  <a:cubicBezTo>
                    <a:pt x="14678" y="1011"/>
                    <a:pt x="14624" y="1113"/>
                    <a:pt x="14599" y="1183"/>
                  </a:cubicBezTo>
                  <a:cubicBezTo>
                    <a:pt x="14575" y="1253"/>
                    <a:pt x="14579" y="1434"/>
                    <a:pt x="14631" y="1586"/>
                  </a:cubicBezTo>
                  <a:cubicBezTo>
                    <a:pt x="14671" y="1738"/>
                    <a:pt x="14671" y="1950"/>
                    <a:pt x="14633" y="2061"/>
                  </a:cubicBezTo>
                  <a:cubicBezTo>
                    <a:pt x="14594" y="2173"/>
                    <a:pt x="14476" y="2261"/>
                    <a:pt x="14381" y="2261"/>
                  </a:cubicBezTo>
                  <a:cubicBezTo>
                    <a:pt x="14284" y="2265"/>
                    <a:pt x="14193" y="2210"/>
                    <a:pt x="14167" y="2150"/>
                  </a:cubicBezTo>
                  <a:cubicBezTo>
                    <a:pt x="14153" y="2088"/>
                    <a:pt x="14088" y="2044"/>
                    <a:pt x="14046" y="2029"/>
                  </a:cubicBezTo>
                  <a:cubicBezTo>
                    <a:pt x="13999" y="2025"/>
                    <a:pt x="13929" y="2061"/>
                    <a:pt x="13915" y="2118"/>
                  </a:cubicBezTo>
                  <a:cubicBezTo>
                    <a:pt x="13875" y="2169"/>
                    <a:pt x="13791" y="2239"/>
                    <a:pt x="13695" y="2252"/>
                  </a:cubicBezTo>
                  <a:cubicBezTo>
                    <a:pt x="13603" y="2274"/>
                    <a:pt x="13533" y="2348"/>
                    <a:pt x="13533" y="2422"/>
                  </a:cubicBezTo>
                  <a:cubicBezTo>
                    <a:pt x="13533" y="2496"/>
                    <a:pt x="13580" y="2605"/>
                    <a:pt x="13631" y="2660"/>
                  </a:cubicBezTo>
                  <a:cubicBezTo>
                    <a:pt x="13686" y="2714"/>
                    <a:pt x="13738" y="2834"/>
                    <a:pt x="13751" y="2922"/>
                  </a:cubicBezTo>
                  <a:cubicBezTo>
                    <a:pt x="13751" y="3010"/>
                    <a:pt x="13648" y="3053"/>
                    <a:pt x="13489" y="3017"/>
                  </a:cubicBezTo>
                  <a:cubicBezTo>
                    <a:pt x="13330" y="2984"/>
                    <a:pt x="13154" y="2882"/>
                    <a:pt x="13089" y="2799"/>
                  </a:cubicBezTo>
                  <a:cubicBezTo>
                    <a:pt x="13024" y="2715"/>
                    <a:pt x="12924" y="2613"/>
                    <a:pt x="12885" y="2562"/>
                  </a:cubicBezTo>
                  <a:cubicBezTo>
                    <a:pt x="12827" y="2520"/>
                    <a:pt x="12739" y="2517"/>
                    <a:pt x="12710" y="2575"/>
                  </a:cubicBezTo>
                  <a:cubicBezTo>
                    <a:pt x="12659" y="2625"/>
                    <a:pt x="12585" y="2670"/>
                    <a:pt x="12537" y="2682"/>
                  </a:cubicBezTo>
                  <a:cubicBezTo>
                    <a:pt x="12485" y="2688"/>
                    <a:pt x="12415" y="2759"/>
                    <a:pt x="12375" y="2840"/>
                  </a:cubicBezTo>
                  <a:cubicBezTo>
                    <a:pt x="12348" y="2923"/>
                    <a:pt x="12231" y="3032"/>
                    <a:pt x="12143" y="3089"/>
                  </a:cubicBezTo>
                  <a:cubicBezTo>
                    <a:pt x="12052" y="3145"/>
                    <a:pt x="11856" y="3206"/>
                    <a:pt x="11709" y="3230"/>
                  </a:cubicBezTo>
                  <a:cubicBezTo>
                    <a:pt x="11562" y="3259"/>
                    <a:pt x="11368" y="3239"/>
                    <a:pt x="11299" y="3189"/>
                  </a:cubicBezTo>
                  <a:cubicBezTo>
                    <a:pt x="11216" y="3151"/>
                    <a:pt x="11046" y="2977"/>
                    <a:pt x="10938" y="2805"/>
                  </a:cubicBezTo>
                  <a:cubicBezTo>
                    <a:pt x="10810" y="2639"/>
                    <a:pt x="10645" y="2487"/>
                    <a:pt x="10565" y="2467"/>
                  </a:cubicBezTo>
                  <a:cubicBezTo>
                    <a:pt x="10482" y="2451"/>
                    <a:pt x="10348" y="2492"/>
                    <a:pt x="10292" y="2572"/>
                  </a:cubicBezTo>
                  <a:cubicBezTo>
                    <a:pt x="10240" y="2652"/>
                    <a:pt x="10117" y="2701"/>
                    <a:pt x="10053" y="2687"/>
                  </a:cubicBezTo>
                  <a:close/>
                  <a:moveTo>
                    <a:pt x="10053" y="26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69" name="AutoShape 468"/>
            <p:cNvSpPr>
              <a:spLocks/>
            </p:cNvSpPr>
            <p:nvPr/>
          </p:nvSpPr>
          <p:spPr bwMode="auto">
            <a:xfrm>
              <a:off x="9855200" y="3784600"/>
              <a:ext cx="0" cy="4763"/>
            </a:xfrm>
            <a:custGeom>
              <a:avLst/>
              <a:gdLst/>
              <a:ahLst/>
              <a:cxnLst/>
              <a:rect l="0" t="0" r="r" b="b"/>
              <a:pathLst>
                <a:path w="16088" h="21600">
                  <a:moveTo>
                    <a:pt x="0" y="21600"/>
                  </a:moveTo>
                  <a:cubicBezTo>
                    <a:pt x="21600" y="15620"/>
                    <a:pt x="18189" y="7738"/>
                    <a:pt x="8662" y="0"/>
                  </a:cubicBezTo>
                  <a:cubicBezTo>
                    <a:pt x="8662" y="2882"/>
                    <a:pt x="9474" y="5793"/>
                    <a:pt x="5197" y="8675"/>
                  </a:cubicBezTo>
                  <a:cubicBezTo>
                    <a:pt x="5197" y="13227"/>
                    <a:pt x="0" y="17987"/>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0" name="AutoShape 469"/>
            <p:cNvSpPr>
              <a:spLocks/>
            </p:cNvSpPr>
            <p:nvPr/>
          </p:nvSpPr>
          <p:spPr bwMode="auto">
            <a:xfrm>
              <a:off x="9893300" y="3733800"/>
              <a:ext cx="1588" cy="0"/>
            </a:xfrm>
            <a:custGeom>
              <a:avLst/>
              <a:gdLst/>
              <a:ahLst/>
              <a:cxnLst/>
              <a:rect l="0" t="0" r="r" b="b"/>
              <a:pathLst>
                <a:path w="20452" h="20145">
                  <a:moveTo>
                    <a:pt x="18937" y="19953"/>
                  </a:moveTo>
                  <a:cubicBezTo>
                    <a:pt x="19573" y="19953"/>
                    <a:pt x="21600" y="15462"/>
                    <a:pt x="19573" y="10544"/>
                  </a:cubicBezTo>
                  <a:cubicBezTo>
                    <a:pt x="10330" y="8811"/>
                    <a:pt x="2967" y="5453"/>
                    <a:pt x="0" y="0"/>
                  </a:cubicBezTo>
                  <a:cubicBezTo>
                    <a:pt x="6874" y="12438"/>
                    <a:pt x="15970" y="21600"/>
                    <a:pt x="18937" y="19953"/>
                  </a:cubicBezTo>
                  <a:close/>
                  <a:moveTo>
                    <a:pt x="18937" y="199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1" name="AutoShape 470"/>
            <p:cNvSpPr>
              <a:spLocks/>
            </p:cNvSpPr>
            <p:nvPr/>
          </p:nvSpPr>
          <p:spPr bwMode="auto">
            <a:xfrm>
              <a:off x="9906000" y="3733800"/>
              <a:ext cx="1588" cy="0"/>
            </a:xfrm>
            <a:custGeom>
              <a:avLst/>
              <a:gdLst/>
              <a:ahLst/>
              <a:cxnLst/>
              <a:rect l="0" t="0" r="r" b="b"/>
              <a:pathLst>
                <a:path w="21600" h="21600">
                  <a:moveTo>
                    <a:pt x="0" y="0"/>
                  </a:moveTo>
                  <a:cubicBezTo>
                    <a:pt x="7811" y="5993"/>
                    <a:pt x="15829" y="11701"/>
                    <a:pt x="21600" y="21600"/>
                  </a:cubicBezTo>
                  <a:cubicBezTo>
                    <a:pt x="16999" y="9780"/>
                    <a:pt x="8125" y="6223"/>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2" name="AutoShape 471"/>
            <p:cNvSpPr>
              <a:spLocks/>
            </p:cNvSpPr>
            <p:nvPr/>
          </p:nvSpPr>
          <p:spPr bwMode="auto">
            <a:xfrm>
              <a:off x="9906000" y="3733800"/>
              <a:ext cx="1588" cy="0"/>
            </a:xfrm>
            <a:custGeom>
              <a:avLst/>
              <a:gdLst/>
              <a:ahLst/>
              <a:cxnLst/>
              <a:rect l="0" t="0" r="r" b="b"/>
              <a:pathLst>
                <a:path w="21600" h="13382">
                  <a:moveTo>
                    <a:pt x="0" y="10083"/>
                  </a:moveTo>
                  <a:cubicBezTo>
                    <a:pt x="6644" y="637"/>
                    <a:pt x="14317" y="-8218"/>
                    <a:pt x="21600" y="13382"/>
                  </a:cubicBezTo>
                  <a:cubicBezTo>
                    <a:pt x="14445" y="-7072"/>
                    <a:pt x="7027" y="10083"/>
                    <a:pt x="0" y="10083"/>
                  </a:cubicBezTo>
                  <a:close/>
                  <a:moveTo>
                    <a:pt x="0" y="100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3" name="AutoShape 472"/>
            <p:cNvSpPr>
              <a:spLocks/>
            </p:cNvSpPr>
            <p:nvPr/>
          </p:nvSpPr>
          <p:spPr bwMode="auto">
            <a:xfrm>
              <a:off x="7835900" y="2578100"/>
              <a:ext cx="3175" cy="6350"/>
            </a:xfrm>
            <a:custGeom>
              <a:avLst/>
              <a:gdLst/>
              <a:ahLst/>
              <a:cxnLst/>
              <a:rect l="0" t="0" r="r" b="b"/>
              <a:pathLst>
                <a:path w="17113" h="18206">
                  <a:moveTo>
                    <a:pt x="9417" y="17981"/>
                  </a:moveTo>
                  <a:cubicBezTo>
                    <a:pt x="17021" y="19306"/>
                    <a:pt x="19133" y="14686"/>
                    <a:pt x="15117" y="6767"/>
                  </a:cubicBezTo>
                  <a:cubicBezTo>
                    <a:pt x="10417" y="-917"/>
                    <a:pt x="4612" y="-2294"/>
                    <a:pt x="1444" y="3858"/>
                  </a:cubicBezTo>
                  <a:cubicBezTo>
                    <a:pt x="-2467" y="9842"/>
                    <a:pt x="2028" y="16146"/>
                    <a:pt x="9417" y="17981"/>
                  </a:cubicBezTo>
                  <a:close/>
                  <a:moveTo>
                    <a:pt x="9417" y="1798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4" name="AutoShape 473"/>
            <p:cNvSpPr>
              <a:spLocks/>
            </p:cNvSpPr>
            <p:nvPr/>
          </p:nvSpPr>
          <p:spPr bwMode="auto">
            <a:xfrm>
              <a:off x="7924800" y="2590800"/>
              <a:ext cx="17463" cy="19050"/>
            </a:xfrm>
            <a:custGeom>
              <a:avLst/>
              <a:gdLst/>
              <a:ahLst/>
              <a:cxnLst/>
              <a:rect l="0" t="0" r="r" b="b"/>
              <a:pathLst>
                <a:path w="20997" h="20291">
                  <a:moveTo>
                    <a:pt x="11546" y="19349"/>
                  </a:moveTo>
                  <a:cubicBezTo>
                    <a:pt x="16397" y="20774"/>
                    <a:pt x="20708" y="20604"/>
                    <a:pt x="20941" y="18687"/>
                  </a:cubicBezTo>
                  <a:cubicBezTo>
                    <a:pt x="21367" y="16795"/>
                    <a:pt x="19291" y="12443"/>
                    <a:pt x="16382" y="9164"/>
                  </a:cubicBezTo>
                  <a:cubicBezTo>
                    <a:pt x="13518" y="5841"/>
                    <a:pt x="8914" y="1968"/>
                    <a:pt x="6124" y="569"/>
                  </a:cubicBezTo>
                  <a:cubicBezTo>
                    <a:pt x="3333" y="-826"/>
                    <a:pt x="658" y="429"/>
                    <a:pt x="205" y="3394"/>
                  </a:cubicBezTo>
                  <a:cubicBezTo>
                    <a:pt x="-233" y="6345"/>
                    <a:pt x="15" y="10564"/>
                    <a:pt x="1082" y="12671"/>
                  </a:cubicBezTo>
                  <a:cubicBezTo>
                    <a:pt x="1987" y="14833"/>
                    <a:pt x="6722" y="17836"/>
                    <a:pt x="11546" y="19349"/>
                  </a:cubicBezTo>
                  <a:close/>
                  <a:moveTo>
                    <a:pt x="11546" y="193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5" name="AutoShape 474"/>
            <p:cNvSpPr>
              <a:spLocks/>
            </p:cNvSpPr>
            <p:nvPr/>
          </p:nvSpPr>
          <p:spPr bwMode="auto">
            <a:xfrm>
              <a:off x="7874000" y="2628900"/>
              <a:ext cx="22225" cy="22225"/>
            </a:xfrm>
            <a:custGeom>
              <a:avLst/>
              <a:gdLst/>
              <a:ahLst/>
              <a:cxnLst/>
              <a:rect l="0" t="0" r="r" b="b"/>
              <a:pathLst>
                <a:path w="21343" h="20982">
                  <a:moveTo>
                    <a:pt x="6515" y="20609"/>
                  </a:moveTo>
                  <a:cubicBezTo>
                    <a:pt x="8924" y="21478"/>
                    <a:pt x="12093" y="20783"/>
                    <a:pt x="13458" y="18975"/>
                  </a:cubicBezTo>
                  <a:cubicBezTo>
                    <a:pt x="14812" y="17179"/>
                    <a:pt x="17131" y="16148"/>
                    <a:pt x="18576" y="16606"/>
                  </a:cubicBezTo>
                  <a:cubicBezTo>
                    <a:pt x="19977" y="17138"/>
                    <a:pt x="21160" y="16686"/>
                    <a:pt x="21343" y="15748"/>
                  </a:cubicBezTo>
                  <a:cubicBezTo>
                    <a:pt x="21343" y="14797"/>
                    <a:pt x="20621" y="12643"/>
                    <a:pt x="19460" y="10985"/>
                  </a:cubicBezTo>
                  <a:cubicBezTo>
                    <a:pt x="18267" y="9346"/>
                    <a:pt x="17716" y="6530"/>
                    <a:pt x="18061" y="4792"/>
                  </a:cubicBezTo>
                  <a:cubicBezTo>
                    <a:pt x="18381" y="3053"/>
                    <a:pt x="17315" y="1327"/>
                    <a:pt x="15559" y="881"/>
                  </a:cubicBezTo>
                  <a:cubicBezTo>
                    <a:pt x="13815" y="441"/>
                    <a:pt x="11724" y="336"/>
                    <a:pt x="10978" y="718"/>
                  </a:cubicBezTo>
                  <a:cubicBezTo>
                    <a:pt x="10279" y="1158"/>
                    <a:pt x="8902" y="939"/>
                    <a:pt x="8134" y="457"/>
                  </a:cubicBezTo>
                  <a:cubicBezTo>
                    <a:pt x="7352" y="-24"/>
                    <a:pt x="5241" y="-122"/>
                    <a:pt x="3495" y="145"/>
                  </a:cubicBezTo>
                  <a:cubicBezTo>
                    <a:pt x="1752" y="463"/>
                    <a:pt x="535" y="1761"/>
                    <a:pt x="719" y="3076"/>
                  </a:cubicBezTo>
                  <a:cubicBezTo>
                    <a:pt x="1051" y="4374"/>
                    <a:pt x="2635" y="5678"/>
                    <a:pt x="4471" y="5962"/>
                  </a:cubicBezTo>
                  <a:cubicBezTo>
                    <a:pt x="6284" y="6211"/>
                    <a:pt x="7444" y="6929"/>
                    <a:pt x="6928" y="7370"/>
                  </a:cubicBezTo>
                  <a:cubicBezTo>
                    <a:pt x="6595" y="7961"/>
                    <a:pt x="4942" y="8812"/>
                    <a:pt x="3565" y="9507"/>
                  </a:cubicBezTo>
                  <a:cubicBezTo>
                    <a:pt x="2175" y="10209"/>
                    <a:pt x="443" y="11901"/>
                    <a:pt x="271" y="13448"/>
                  </a:cubicBezTo>
                  <a:cubicBezTo>
                    <a:pt x="-257" y="14914"/>
                    <a:pt x="30" y="16831"/>
                    <a:pt x="764" y="17567"/>
                  </a:cubicBezTo>
                  <a:cubicBezTo>
                    <a:pt x="1523" y="18338"/>
                    <a:pt x="4093" y="19734"/>
                    <a:pt x="6515" y="20609"/>
                  </a:cubicBezTo>
                  <a:close/>
                  <a:moveTo>
                    <a:pt x="6515" y="206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6" name="AutoShape 475"/>
            <p:cNvSpPr>
              <a:spLocks/>
            </p:cNvSpPr>
            <p:nvPr/>
          </p:nvSpPr>
          <p:spPr bwMode="auto">
            <a:xfrm>
              <a:off x="7759700" y="2616200"/>
              <a:ext cx="6350" cy="3175"/>
            </a:xfrm>
            <a:custGeom>
              <a:avLst/>
              <a:gdLst/>
              <a:ahLst/>
              <a:cxnLst/>
              <a:rect l="0" t="0" r="r" b="b"/>
              <a:pathLst>
                <a:path w="17526" h="17274">
                  <a:moveTo>
                    <a:pt x="7265" y="2488"/>
                  </a:moveTo>
                  <a:cubicBezTo>
                    <a:pt x="-332" y="-2431"/>
                    <a:pt x="-2368" y="251"/>
                    <a:pt x="3057" y="7825"/>
                  </a:cubicBezTo>
                  <a:cubicBezTo>
                    <a:pt x="8547" y="15078"/>
                    <a:pt x="14432" y="19169"/>
                    <a:pt x="16865" y="16405"/>
                  </a:cubicBezTo>
                  <a:cubicBezTo>
                    <a:pt x="19232" y="13380"/>
                    <a:pt x="15059" y="6416"/>
                    <a:pt x="7265" y="2488"/>
                  </a:cubicBezTo>
                  <a:close/>
                  <a:moveTo>
                    <a:pt x="7265" y="24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7" name="AutoShape 476"/>
            <p:cNvSpPr>
              <a:spLocks/>
            </p:cNvSpPr>
            <p:nvPr/>
          </p:nvSpPr>
          <p:spPr bwMode="auto">
            <a:xfrm>
              <a:off x="7759700" y="2476500"/>
              <a:ext cx="9525" cy="3175"/>
            </a:xfrm>
            <a:custGeom>
              <a:avLst/>
              <a:gdLst/>
              <a:ahLst/>
              <a:cxnLst/>
              <a:rect l="0" t="0" r="r" b="b"/>
              <a:pathLst>
                <a:path w="19091" h="20179">
                  <a:moveTo>
                    <a:pt x="3590" y="20027"/>
                  </a:moveTo>
                  <a:cubicBezTo>
                    <a:pt x="7102" y="21068"/>
                    <a:pt x="13252" y="16598"/>
                    <a:pt x="16883" y="11041"/>
                  </a:cubicBezTo>
                  <a:cubicBezTo>
                    <a:pt x="20680" y="6094"/>
                    <a:pt x="19446" y="958"/>
                    <a:pt x="14200" y="54"/>
                  </a:cubicBezTo>
                  <a:cubicBezTo>
                    <a:pt x="8955" y="-532"/>
                    <a:pt x="3138" y="3679"/>
                    <a:pt x="909" y="8988"/>
                  </a:cubicBezTo>
                  <a:cubicBezTo>
                    <a:pt x="-920" y="15253"/>
                    <a:pt x="28" y="20476"/>
                    <a:pt x="3590" y="20027"/>
                  </a:cubicBezTo>
                  <a:close/>
                  <a:moveTo>
                    <a:pt x="3590" y="200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8" name="AutoShape 477"/>
            <p:cNvSpPr>
              <a:spLocks/>
            </p:cNvSpPr>
            <p:nvPr/>
          </p:nvSpPr>
          <p:spPr bwMode="auto">
            <a:xfrm>
              <a:off x="7772400" y="2603500"/>
              <a:ext cx="7938" cy="17463"/>
            </a:xfrm>
            <a:custGeom>
              <a:avLst/>
              <a:gdLst/>
              <a:ahLst/>
              <a:cxnLst/>
              <a:rect l="0" t="0" r="r" b="b"/>
              <a:pathLst>
                <a:path w="19776" h="20053">
                  <a:moveTo>
                    <a:pt x="614" y="19380"/>
                  </a:moveTo>
                  <a:cubicBezTo>
                    <a:pt x="1868" y="20556"/>
                    <a:pt x="5283" y="20194"/>
                    <a:pt x="7821" y="18259"/>
                  </a:cubicBezTo>
                  <a:cubicBezTo>
                    <a:pt x="10635" y="16420"/>
                    <a:pt x="15251" y="12614"/>
                    <a:pt x="18117" y="9780"/>
                  </a:cubicBezTo>
                  <a:cubicBezTo>
                    <a:pt x="21011" y="6969"/>
                    <a:pt x="19944" y="3070"/>
                    <a:pt x="16260" y="969"/>
                  </a:cubicBezTo>
                  <a:cubicBezTo>
                    <a:pt x="12301" y="-1044"/>
                    <a:pt x="8640" y="182"/>
                    <a:pt x="7466" y="3690"/>
                  </a:cubicBezTo>
                  <a:cubicBezTo>
                    <a:pt x="6647" y="7206"/>
                    <a:pt x="4080" y="11666"/>
                    <a:pt x="2090" y="13609"/>
                  </a:cubicBezTo>
                  <a:cubicBezTo>
                    <a:pt x="12" y="15517"/>
                    <a:pt x="-589" y="18154"/>
                    <a:pt x="614" y="19380"/>
                  </a:cubicBezTo>
                  <a:close/>
                  <a:moveTo>
                    <a:pt x="614" y="193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79" name="AutoShape 478"/>
            <p:cNvSpPr>
              <a:spLocks/>
            </p:cNvSpPr>
            <p:nvPr/>
          </p:nvSpPr>
          <p:spPr bwMode="auto">
            <a:xfrm>
              <a:off x="7721600" y="2578100"/>
              <a:ext cx="39688" cy="31750"/>
            </a:xfrm>
            <a:custGeom>
              <a:avLst/>
              <a:gdLst/>
              <a:ahLst/>
              <a:cxnLst/>
              <a:rect l="0" t="0" r="r" b="b"/>
              <a:pathLst>
                <a:path w="21210" h="21257">
                  <a:moveTo>
                    <a:pt x="18479" y="6543"/>
                  </a:moveTo>
                  <a:cubicBezTo>
                    <a:pt x="17588" y="4350"/>
                    <a:pt x="15920" y="2737"/>
                    <a:pt x="15004" y="2851"/>
                  </a:cubicBezTo>
                  <a:cubicBezTo>
                    <a:pt x="14068" y="2964"/>
                    <a:pt x="12096" y="2214"/>
                    <a:pt x="10587" y="1291"/>
                  </a:cubicBezTo>
                  <a:cubicBezTo>
                    <a:pt x="9084" y="301"/>
                    <a:pt x="6149" y="-205"/>
                    <a:pt x="4112" y="79"/>
                  </a:cubicBezTo>
                  <a:cubicBezTo>
                    <a:pt x="2087" y="285"/>
                    <a:pt x="136" y="2016"/>
                    <a:pt x="44" y="3807"/>
                  </a:cubicBezTo>
                  <a:cubicBezTo>
                    <a:pt x="-154" y="5586"/>
                    <a:pt x="340" y="8354"/>
                    <a:pt x="1086" y="10024"/>
                  </a:cubicBezTo>
                  <a:cubicBezTo>
                    <a:pt x="1850" y="11669"/>
                    <a:pt x="3571" y="14271"/>
                    <a:pt x="4929" y="15766"/>
                  </a:cubicBezTo>
                  <a:cubicBezTo>
                    <a:pt x="6221" y="17355"/>
                    <a:pt x="8325" y="18728"/>
                    <a:pt x="9459" y="18960"/>
                  </a:cubicBezTo>
                  <a:cubicBezTo>
                    <a:pt x="10587" y="19247"/>
                    <a:pt x="12202" y="19774"/>
                    <a:pt x="12914" y="20459"/>
                  </a:cubicBezTo>
                  <a:cubicBezTo>
                    <a:pt x="13686" y="21051"/>
                    <a:pt x="15373" y="21395"/>
                    <a:pt x="16705" y="21205"/>
                  </a:cubicBezTo>
                  <a:cubicBezTo>
                    <a:pt x="18010" y="21022"/>
                    <a:pt x="19639" y="19483"/>
                    <a:pt x="20411" y="17813"/>
                  </a:cubicBezTo>
                  <a:cubicBezTo>
                    <a:pt x="21110" y="16098"/>
                    <a:pt x="21446" y="13748"/>
                    <a:pt x="21024" y="12565"/>
                  </a:cubicBezTo>
                  <a:cubicBezTo>
                    <a:pt x="20615" y="11373"/>
                    <a:pt x="19534" y="8609"/>
                    <a:pt x="18479" y="6543"/>
                  </a:cubicBezTo>
                  <a:close/>
                  <a:moveTo>
                    <a:pt x="18479" y="65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0" name="AutoShape 479"/>
            <p:cNvSpPr>
              <a:spLocks/>
            </p:cNvSpPr>
            <p:nvPr/>
          </p:nvSpPr>
          <p:spPr bwMode="auto">
            <a:xfrm>
              <a:off x="7670800" y="2489200"/>
              <a:ext cx="12700" cy="12700"/>
            </a:xfrm>
            <a:custGeom>
              <a:avLst/>
              <a:gdLst/>
              <a:ahLst/>
              <a:cxnLst/>
              <a:rect l="0" t="0" r="r" b="b"/>
              <a:pathLst>
                <a:path w="20642" h="20907">
                  <a:moveTo>
                    <a:pt x="15441" y="0"/>
                  </a:moveTo>
                  <a:cubicBezTo>
                    <a:pt x="12189" y="141"/>
                    <a:pt x="6970" y="1716"/>
                    <a:pt x="4258" y="4279"/>
                  </a:cubicBezTo>
                  <a:cubicBezTo>
                    <a:pt x="1448" y="6722"/>
                    <a:pt x="-478" y="11607"/>
                    <a:pt x="104" y="15311"/>
                  </a:cubicBezTo>
                  <a:cubicBezTo>
                    <a:pt x="706" y="19016"/>
                    <a:pt x="2935" y="21600"/>
                    <a:pt x="4922" y="20742"/>
                  </a:cubicBezTo>
                  <a:cubicBezTo>
                    <a:pt x="6950" y="20016"/>
                    <a:pt x="11185" y="16947"/>
                    <a:pt x="14178" y="13858"/>
                  </a:cubicBezTo>
                  <a:cubicBezTo>
                    <a:pt x="17248" y="10791"/>
                    <a:pt x="19998" y="6390"/>
                    <a:pt x="20560" y="4138"/>
                  </a:cubicBezTo>
                  <a:cubicBezTo>
                    <a:pt x="21122" y="1877"/>
                    <a:pt x="18752" y="0"/>
                    <a:pt x="15441" y="0"/>
                  </a:cubicBezTo>
                  <a:close/>
                  <a:moveTo>
                    <a:pt x="15441"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1" name="AutoShape 480"/>
            <p:cNvSpPr>
              <a:spLocks/>
            </p:cNvSpPr>
            <p:nvPr/>
          </p:nvSpPr>
          <p:spPr bwMode="auto">
            <a:xfrm>
              <a:off x="7658100" y="2451100"/>
              <a:ext cx="87313" cy="60325"/>
            </a:xfrm>
            <a:custGeom>
              <a:avLst/>
              <a:gdLst/>
              <a:ahLst/>
              <a:cxnLst/>
              <a:rect l="0" t="0" r="r" b="b"/>
              <a:pathLst>
                <a:path w="21393" h="21125">
                  <a:moveTo>
                    <a:pt x="1184" y="18997"/>
                  </a:moveTo>
                  <a:cubicBezTo>
                    <a:pt x="1448" y="18823"/>
                    <a:pt x="2224" y="19466"/>
                    <a:pt x="2904" y="20427"/>
                  </a:cubicBezTo>
                  <a:cubicBezTo>
                    <a:pt x="3592" y="21384"/>
                    <a:pt x="4003" y="21354"/>
                    <a:pt x="3826" y="20352"/>
                  </a:cubicBezTo>
                  <a:cubicBezTo>
                    <a:pt x="3649" y="19350"/>
                    <a:pt x="3616" y="18120"/>
                    <a:pt x="3706" y="17594"/>
                  </a:cubicBezTo>
                  <a:cubicBezTo>
                    <a:pt x="3796" y="17073"/>
                    <a:pt x="4725" y="16097"/>
                    <a:pt x="5701" y="15363"/>
                  </a:cubicBezTo>
                  <a:cubicBezTo>
                    <a:pt x="6678" y="14641"/>
                    <a:pt x="7606" y="14184"/>
                    <a:pt x="7744" y="14333"/>
                  </a:cubicBezTo>
                  <a:cubicBezTo>
                    <a:pt x="7870" y="14501"/>
                    <a:pt x="8412" y="14507"/>
                    <a:pt x="8918" y="14475"/>
                  </a:cubicBezTo>
                  <a:cubicBezTo>
                    <a:pt x="9412" y="14346"/>
                    <a:pt x="10380" y="14527"/>
                    <a:pt x="11057" y="14753"/>
                  </a:cubicBezTo>
                  <a:cubicBezTo>
                    <a:pt x="11737" y="14953"/>
                    <a:pt x="12645" y="15072"/>
                    <a:pt x="13073" y="14869"/>
                  </a:cubicBezTo>
                  <a:cubicBezTo>
                    <a:pt x="13504" y="14742"/>
                    <a:pt x="14340" y="14628"/>
                    <a:pt x="14945" y="14677"/>
                  </a:cubicBezTo>
                  <a:cubicBezTo>
                    <a:pt x="15541" y="14742"/>
                    <a:pt x="16455" y="15035"/>
                    <a:pt x="16976" y="15348"/>
                  </a:cubicBezTo>
                  <a:cubicBezTo>
                    <a:pt x="17482" y="15697"/>
                    <a:pt x="18189" y="15807"/>
                    <a:pt x="18510" y="15627"/>
                  </a:cubicBezTo>
                  <a:cubicBezTo>
                    <a:pt x="18833" y="15461"/>
                    <a:pt x="19564" y="14348"/>
                    <a:pt x="20067" y="13083"/>
                  </a:cubicBezTo>
                  <a:cubicBezTo>
                    <a:pt x="20639" y="11892"/>
                    <a:pt x="20864" y="10205"/>
                    <a:pt x="20726" y="9392"/>
                  </a:cubicBezTo>
                  <a:cubicBezTo>
                    <a:pt x="20544" y="8593"/>
                    <a:pt x="20495" y="7678"/>
                    <a:pt x="20582" y="7361"/>
                  </a:cubicBezTo>
                  <a:cubicBezTo>
                    <a:pt x="20663" y="7038"/>
                    <a:pt x="20615" y="6150"/>
                    <a:pt x="20442" y="5384"/>
                  </a:cubicBezTo>
                  <a:cubicBezTo>
                    <a:pt x="20268" y="4618"/>
                    <a:pt x="20448" y="3205"/>
                    <a:pt x="20852" y="2283"/>
                  </a:cubicBezTo>
                  <a:cubicBezTo>
                    <a:pt x="21250" y="1361"/>
                    <a:pt x="21466" y="364"/>
                    <a:pt x="21370" y="77"/>
                  </a:cubicBezTo>
                  <a:cubicBezTo>
                    <a:pt x="21292" y="-216"/>
                    <a:pt x="20585" y="362"/>
                    <a:pt x="19804" y="1256"/>
                  </a:cubicBezTo>
                  <a:cubicBezTo>
                    <a:pt x="19040" y="2186"/>
                    <a:pt x="17806" y="3244"/>
                    <a:pt x="17051" y="3610"/>
                  </a:cubicBezTo>
                  <a:cubicBezTo>
                    <a:pt x="16302" y="3991"/>
                    <a:pt x="15239" y="4280"/>
                    <a:pt x="14688" y="4340"/>
                  </a:cubicBezTo>
                  <a:cubicBezTo>
                    <a:pt x="14145" y="4405"/>
                    <a:pt x="13417" y="4952"/>
                    <a:pt x="13079" y="5629"/>
                  </a:cubicBezTo>
                  <a:cubicBezTo>
                    <a:pt x="12720" y="6292"/>
                    <a:pt x="12225" y="7546"/>
                    <a:pt x="11968" y="8398"/>
                  </a:cubicBezTo>
                  <a:cubicBezTo>
                    <a:pt x="11665" y="9220"/>
                    <a:pt x="11009" y="10311"/>
                    <a:pt x="10431" y="10789"/>
                  </a:cubicBezTo>
                  <a:cubicBezTo>
                    <a:pt x="9865" y="11273"/>
                    <a:pt x="8846" y="11625"/>
                    <a:pt x="8181" y="11545"/>
                  </a:cubicBezTo>
                  <a:cubicBezTo>
                    <a:pt x="7514" y="11498"/>
                    <a:pt x="6360" y="12015"/>
                    <a:pt x="5623" y="12725"/>
                  </a:cubicBezTo>
                  <a:cubicBezTo>
                    <a:pt x="4877" y="13430"/>
                    <a:pt x="4099" y="13805"/>
                    <a:pt x="3850" y="13628"/>
                  </a:cubicBezTo>
                  <a:cubicBezTo>
                    <a:pt x="3613" y="13430"/>
                    <a:pt x="3068" y="13232"/>
                    <a:pt x="2634" y="13232"/>
                  </a:cubicBezTo>
                  <a:cubicBezTo>
                    <a:pt x="2188" y="13249"/>
                    <a:pt x="1663" y="13870"/>
                    <a:pt x="1526" y="14692"/>
                  </a:cubicBezTo>
                  <a:cubicBezTo>
                    <a:pt x="1361" y="15500"/>
                    <a:pt x="863" y="16603"/>
                    <a:pt x="420" y="17144"/>
                  </a:cubicBezTo>
                  <a:cubicBezTo>
                    <a:pt x="-17" y="17696"/>
                    <a:pt x="-134" y="18394"/>
                    <a:pt x="169" y="18721"/>
                  </a:cubicBezTo>
                  <a:cubicBezTo>
                    <a:pt x="468" y="19046"/>
                    <a:pt x="914" y="19135"/>
                    <a:pt x="1184" y="18997"/>
                  </a:cubicBezTo>
                  <a:close/>
                  <a:moveTo>
                    <a:pt x="1184" y="189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2" name="AutoShape 481"/>
            <p:cNvSpPr>
              <a:spLocks/>
            </p:cNvSpPr>
            <p:nvPr/>
          </p:nvSpPr>
          <p:spPr bwMode="auto">
            <a:xfrm>
              <a:off x="7759700" y="2552700"/>
              <a:ext cx="4763" cy="12700"/>
            </a:xfrm>
            <a:custGeom>
              <a:avLst/>
              <a:gdLst/>
              <a:ahLst/>
              <a:cxnLst/>
              <a:rect l="0" t="0" r="r" b="b"/>
              <a:pathLst>
                <a:path w="19665" h="20032">
                  <a:moveTo>
                    <a:pt x="6888" y="19957"/>
                  </a:moveTo>
                  <a:cubicBezTo>
                    <a:pt x="13505" y="19624"/>
                    <a:pt x="19080" y="17444"/>
                    <a:pt x="19665" y="15179"/>
                  </a:cubicBezTo>
                  <a:cubicBezTo>
                    <a:pt x="19665" y="12898"/>
                    <a:pt x="17751" y="7420"/>
                    <a:pt x="13586" y="3178"/>
                  </a:cubicBezTo>
                  <a:cubicBezTo>
                    <a:pt x="9840" y="-1172"/>
                    <a:pt x="7010" y="-1034"/>
                    <a:pt x="7596" y="3456"/>
                  </a:cubicBezTo>
                  <a:cubicBezTo>
                    <a:pt x="8886" y="7927"/>
                    <a:pt x="5515" y="13619"/>
                    <a:pt x="1811" y="16112"/>
                  </a:cubicBezTo>
                  <a:cubicBezTo>
                    <a:pt x="-1935" y="18627"/>
                    <a:pt x="312" y="20428"/>
                    <a:pt x="6888" y="19957"/>
                  </a:cubicBezTo>
                  <a:close/>
                  <a:moveTo>
                    <a:pt x="6888" y="199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3" name="AutoShape 482"/>
            <p:cNvSpPr>
              <a:spLocks/>
            </p:cNvSpPr>
            <p:nvPr/>
          </p:nvSpPr>
          <p:spPr bwMode="auto">
            <a:xfrm>
              <a:off x="7785100" y="2552700"/>
              <a:ext cx="52388" cy="57150"/>
            </a:xfrm>
            <a:custGeom>
              <a:avLst/>
              <a:gdLst/>
              <a:ahLst/>
              <a:cxnLst/>
              <a:rect l="0" t="0" r="r" b="b"/>
              <a:pathLst>
                <a:path w="21384" h="21570">
                  <a:moveTo>
                    <a:pt x="2004" y="11878"/>
                  </a:moveTo>
                  <a:cubicBezTo>
                    <a:pt x="2004" y="12727"/>
                    <a:pt x="2560" y="13912"/>
                    <a:pt x="3176" y="14548"/>
                  </a:cubicBezTo>
                  <a:cubicBezTo>
                    <a:pt x="3817" y="15164"/>
                    <a:pt x="4879" y="15703"/>
                    <a:pt x="5520" y="15734"/>
                  </a:cubicBezTo>
                  <a:cubicBezTo>
                    <a:pt x="6172" y="15801"/>
                    <a:pt x="7695" y="16055"/>
                    <a:pt x="8907" y="16383"/>
                  </a:cubicBezTo>
                  <a:cubicBezTo>
                    <a:pt x="10104" y="16724"/>
                    <a:pt x="11271" y="17288"/>
                    <a:pt x="11482" y="17674"/>
                  </a:cubicBezTo>
                  <a:cubicBezTo>
                    <a:pt x="11707" y="18055"/>
                    <a:pt x="11562" y="18733"/>
                    <a:pt x="11131" y="19124"/>
                  </a:cubicBezTo>
                  <a:cubicBezTo>
                    <a:pt x="10740" y="19555"/>
                    <a:pt x="10700" y="20260"/>
                    <a:pt x="11146" y="20705"/>
                  </a:cubicBezTo>
                  <a:cubicBezTo>
                    <a:pt x="11597" y="21151"/>
                    <a:pt x="12559" y="21600"/>
                    <a:pt x="13335" y="21568"/>
                  </a:cubicBezTo>
                  <a:cubicBezTo>
                    <a:pt x="14102" y="21568"/>
                    <a:pt x="15018" y="21234"/>
                    <a:pt x="15384" y="20828"/>
                  </a:cubicBezTo>
                  <a:cubicBezTo>
                    <a:pt x="15779" y="20432"/>
                    <a:pt x="15970" y="19596"/>
                    <a:pt x="15895" y="19028"/>
                  </a:cubicBezTo>
                  <a:cubicBezTo>
                    <a:pt x="15824" y="18453"/>
                    <a:pt x="16612" y="17750"/>
                    <a:pt x="17643" y="17448"/>
                  </a:cubicBezTo>
                  <a:cubicBezTo>
                    <a:pt x="18680" y="17141"/>
                    <a:pt x="19897" y="16568"/>
                    <a:pt x="20428" y="16255"/>
                  </a:cubicBezTo>
                  <a:cubicBezTo>
                    <a:pt x="20889" y="15870"/>
                    <a:pt x="21205" y="15148"/>
                    <a:pt x="20899" y="14665"/>
                  </a:cubicBezTo>
                  <a:cubicBezTo>
                    <a:pt x="20684" y="14138"/>
                    <a:pt x="19717" y="13248"/>
                    <a:pt x="18750" y="12704"/>
                  </a:cubicBezTo>
                  <a:cubicBezTo>
                    <a:pt x="17768" y="12153"/>
                    <a:pt x="16957" y="11440"/>
                    <a:pt x="16957" y="11142"/>
                  </a:cubicBezTo>
                  <a:cubicBezTo>
                    <a:pt x="16957" y="10843"/>
                    <a:pt x="17768" y="10327"/>
                    <a:pt x="18795" y="9959"/>
                  </a:cubicBezTo>
                  <a:cubicBezTo>
                    <a:pt x="19832" y="9617"/>
                    <a:pt x="20914" y="8539"/>
                    <a:pt x="21140" y="7574"/>
                  </a:cubicBezTo>
                  <a:cubicBezTo>
                    <a:pt x="21370" y="6610"/>
                    <a:pt x="21485" y="5092"/>
                    <a:pt x="21270" y="4207"/>
                  </a:cubicBezTo>
                  <a:cubicBezTo>
                    <a:pt x="21055" y="3312"/>
                    <a:pt x="20664" y="2000"/>
                    <a:pt x="20298" y="1315"/>
                  </a:cubicBezTo>
                  <a:cubicBezTo>
                    <a:pt x="19932" y="614"/>
                    <a:pt x="18695" y="16"/>
                    <a:pt x="17518" y="0"/>
                  </a:cubicBezTo>
                  <a:cubicBezTo>
                    <a:pt x="16331" y="0"/>
                    <a:pt x="14292" y="96"/>
                    <a:pt x="12959" y="298"/>
                  </a:cubicBezTo>
                  <a:cubicBezTo>
                    <a:pt x="11642" y="474"/>
                    <a:pt x="10179" y="1191"/>
                    <a:pt x="9794" y="1908"/>
                  </a:cubicBezTo>
                  <a:cubicBezTo>
                    <a:pt x="9372" y="2614"/>
                    <a:pt x="9333" y="3486"/>
                    <a:pt x="9709" y="3866"/>
                  </a:cubicBezTo>
                  <a:cubicBezTo>
                    <a:pt x="10069" y="4246"/>
                    <a:pt x="11076" y="4931"/>
                    <a:pt x="11907" y="5412"/>
                  </a:cubicBezTo>
                  <a:cubicBezTo>
                    <a:pt x="12744" y="5884"/>
                    <a:pt x="13415" y="6638"/>
                    <a:pt x="13340" y="7064"/>
                  </a:cubicBezTo>
                  <a:cubicBezTo>
                    <a:pt x="13340" y="7494"/>
                    <a:pt x="12799" y="7767"/>
                    <a:pt x="12273" y="7595"/>
                  </a:cubicBezTo>
                  <a:cubicBezTo>
                    <a:pt x="11722" y="7469"/>
                    <a:pt x="11091" y="7487"/>
                    <a:pt x="10916" y="7700"/>
                  </a:cubicBezTo>
                  <a:cubicBezTo>
                    <a:pt x="10745" y="7920"/>
                    <a:pt x="9763" y="7588"/>
                    <a:pt x="8791" y="7043"/>
                  </a:cubicBezTo>
                  <a:cubicBezTo>
                    <a:pt x="7809" y="6505"/>
                    <a:pt x="6983" y="5708"/>
                    <a:pt x="6908" y="5318"/>
                  </a:cubicBezTo>
                  <a:cubicBezTo>
                    <a:pt x="6833" y="4929"/>
                    <a:pt x="6367" y="4178"/>
                    <a:pt x="5841" y="3667"/>
                  </a:cubicBezTo>
                  <a:cubicBezTo>
                    <a:pt x="5320" y="3149"/>
                    <a:pt x="4514" y="2916"/>
                    <a:pt x="4047" y="3168"/>
                  </a:cubicBezTo>
                  <a:cubicBezTo>
                    <a:pt x="3602" y="3419"/>
                    <a:pt x="2935" y="4104"/>
                    <a:pt x="2570" y="4695"/>
                  </a:cubicBezTo>
                  <a:cubicBezTo>
                    <a:pt x="2224" y="5298"/>
                    <a:pt x="1423" y="5893"/>
                    <a:pt x="817" y="5996"/>
                  </a:cubicBezTo>
                  <a:cubicBezTo>
                    <a:pt x="220" y="6134"/>
                    <a:pt x="-115" y="6695"/>
                    <a:pt x="35" y="7299"/>
                  </a:cubicBezTo>
                  <a:cubicBezTo>
                    <a:pt x="261" y="7895"/>
                    <a:pt x="782" y="8804"/>
                    <a:pt x="1172" y="9367"/>
                  </a:cubicBezTo>
                  <a:cubicBezTo>
                    <a:pt x="1629" y="9890"/>
                    <a:pt x="2004" y="11028"/>
                    <a:pt x="2004" y="11878"/>
                  </a:cubicBezTo>
                  <a:close/>
                  <a:moveTo>
                    <a:pt x="2004" y="118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4" name="AutoShape 483"/>
            <p:cNvSpPr>
              <a:spLocks/>
            </p:cNvSpPr>
            <p:nvPr/>
          </p:nvSpPr>
          <p:spPr bwMode="auto">
            <a:xfrm>
              <a:off x="7658100" y="2489200"/>
              <a:ext cx="115888" cy="115888"/>
            </a:xfrm>
            <a:custGeom>
              <a:avLst/>
              <a:gdLst/>
              <a:ahLst/>
              <a:cxnLst/>
              <a:rect l="0" t="0" r="r" b="b"/>
              <a:pathLst>
                <a:path w="21416" h="21560">
                  <a:moveTo>
                    <a:pt x="10380" y="21409"/>
                  </a:moveTo>
                  <a:cubicBezTo>
                    <a:pt x="10640" y="21538"/>
                    <a:pt x="11196" y="21585"/>
                    <a:pt x="11604" y="21547"/>
                  </a:cubicBezTo>
                  <a:cubicBezTo>
                    <a:pt x="12018" y="21515"/>
                    <a:pt x="12342" y="21442"/>
                    <a:pt x="12308" y="21426"/>
                  </a:cubicBezTo>
                  <a:cubicBezTo>
                    <a:pt x="12283" y="21399"/>
                    <a:pt x="12363" y="21184"/>
                    <a:pt x="12461" y="20935"/>
                  </a:cubicBezTo>
                  <a:cubicBezTo>
                    <a:pt x="12572" y="20689"/>
                    <a:pt x="12399" y="20217"/>
                    <a:pt x="12037" y="19938"/>
                  </a:cubicBezTo>
                  <a:cubicBezTo>
                    <a:pt x="11711" y="19627"/>
                    <a:pt x="11280" y="19373"/>
                    <a:pt x="11098" y="19373"/>
                  </a:cubicBezTo>
                  <a:cubicBezTo>
                    <a:pt x="10925" y="19338"/>
                    <a:pt x="10776" y="19125"/>
                    <a:pt x="10776" y="18841"/>
                  </a:cubicBezTo>
                  <a:cubicBezTo>
                    <a:pt x="10811" y="18561"/>
                    <a:pt x="10986" y="18175"/>
                    <a:pt x="11241" y="17984"/>
                  </a:cubicBezTo>
                  <a:cubicBezTo>
                    <a:pt x="11490" y="17787"/>
                    <a:pt x="11731" y="17383"/>
                    <a:pt x="11731" y="17069"/>
                  </a:cubicBezTo>
                  <a:cubicBezTo>
                    <a:pt x="11731" y="16759"/>
                    <a:pt x="11565" y="16426"/>
                    <a:pt x="11335" y="16310"/>
                  </a:cubicBezTo>
                  <a:cubicBezTo>
                    <a:pt x="11093" y="16206"/>
                    <a:pt x="10868" y="15884"/>
                    <a:pt x="10904" y="15606"/>
                  </a:cubicBezTo>
                  <a:cubicBezTo>
                    <a:pt x="10904" y="15325"/>
                    <a:pt x="11615" y="14789"/>
                    <a:pt x="12502" y="14447"/>
                  </a:cubicBezTo>
                  <a:cubicBezTo>
                    <a:pt x="13386" y="14097"/>
                    <a:pt x="13942" y="13671"/>
                    <a:pt x="13739" y="13526"/>
                  </a:cubicBezTo>
                  <a:cubicBezTo>
                    <a:pt x="13530" y="13377"/>
                    <a:pt x="13630" y="13002"/>
                    <a:pt x="13940" y="12691"/>
                  </a:cubicBezTo>
                  <a:cubicBezTo>
                    <a:pt x="14252" y="12376"/>
                    <a:pt x="14676" y="12235"/>
                    <a:pt x="14886" y="12350"/>
                  </a:cubicBezTo>
                  <a:cubicBezTo>
                    <a:pt x="15080" y="12485"/>
                    <a:pt x="15638" y="12465"/>
                    <a:pt x="16105" y="12331"/>
                  </a:cubicBezTo>
                  <a:cubicBezTo>
                    <a:pt x="16577" y="12214"/>
                    <a:pt x="16894" y="11643"/>
                    <a:pt x="16860" y="11084"/>
                  </a:cubicBezTo>
                  <a:cubicBezTo>
                    <a:pt x="16793" y="10523"/>
                    <a:pt x="16570" y="9745"/>
                    <a:pt x="16329" y="9364"/>
                  </a:cubicBezTo>
                  <a:cubicBezTo>
                    <a:pt x="16094" y="8977"/>
                    <a:pt x="16105" y="8468"/>
                    <a:pt x="16379" y="8247"/>
                  </a:cubicBezTo>
                  <a:cubicBezTo>
                    <a:pt x="16654" y="8030"/>
                    <a:pt x="17192" y="7820"/>
                    <a:pt x="17598" y="7786"/>
                  </a:cubicBezTo>
                  <a:cubicBezTo>
                    <a:pt x="17999" y="7740"/>
                    <a:pt x="18564" y="8006"/>
                    <a:pt x="18886" y="8282"/>
                  </a:cubicBezTo>
                  <a:cubicBezTo>
                    <a:pt x="19164" y="8597"/>
                    <a:pt x="19558" y="8733"/>
                    <a:pt x="19713" y="8641"/>
                  </a:cubicBezTo>
                  <a:cubicBezTo>
                    <a:pt x="19857" y="8541"/>
                    <a:pt x="20123" y="8545"/>
                    <a:pt x="20310" y="8591"/>
                  </a:cubicBezTo>
                  <a:cubicBezTo>
                    <a:pt x="20488" y="8672"/>
                    <a:pt x="20778" y="8580"/>
                    <a:pt x="20905" y="8377"/>
                  </a:cubicBezTo>
                  <a:cubicBezTo>
                    <a:pt x="21037" y="8178"/>
                    <a:pt x="21254" y="7756"/>
                    <a:pt x="21384" y="7430"/>
                  </a:cubicBezTo>
                  <a:cubicBezTo>
                    <a:pt x="21516" y="7103"/>
                    <a:pt x="21229" y="6503"/>
                    <a:pt x="20809" y="6082"/>
                  </a:cubicBezTo>
                  <a:cubicBezTo>
                    <a:pt x="20390" y="5654"/>
                    <a:pt x="19834" y="5442"/>
                    <a:pt x="19627" y="5592"/>
                  </a:cubicBezTo>
                  <a:cubicBezTo>
                    <a:pt x="19401" y="5720"/>
                    <a:pt x="18779" y="5810"/>
                    <a:pt x="18229" y="5758"/>
                  </a:cubicBezTo>
                  <a:cubicBezTo>
                    <a:pt x="17685" y="5697"/>
                    <a:pt x="17012" y="5442"/>
                    <a:pt x="16716" y="5193"/>
                  </a:cubicBezTo>
                  <a:cubicBezTo>
                    <a:pt x="16436" y="4930"/>
                    <a:pt x="15989" y="4440"/>
                    <a:pt x="15713" y="4106"/>
                  </a:cubicBezTo>
                  <a:cubicBezTo>
                    <a:pt x="15458" y="3757"/>
                    <a:pt x="15027" y="3449"/>
                    <a:pt x="14799" y="3382"/>
                  </a:cubicBezTo>
                  <a:cubicBezTo>
                    <a:pt x="14569" y="3324"/>
                    <a:pt x="14533" y="3112"/>
                    <a:pt x="14706" y="2903"/>
                  </a:cubicBezTo>
                  <a:cubicBezTo>
                    <a:pt x="14881" y="2693"/>
                    <a:pt x="15048" y="2190"/>
                    <a:pt x="14979" y="1783"/>
                  </a:cubicBezTo>
                  <a:cubicBezTo>
                    <a:pt x="14979" y="1369"/>
                    <a:pt x="14560" y="794"/>
                    <a:pt x="14097" y="511"/>
                  </a:cubicBezTo>
                  <a:cubicBezTo>
                    <a:pt x="13630" y="228"/>
                    <a:pt x="12695" y="-15"/>
                    <a:pt x="12012" y="1"/>
                  </a:cubicBezTo>
                  <a:cubicBezTo>
                    <a:pt x="11330" y="10"/>
                    <a:pt x="10498" y="118"/>
                    <a:pt x="10172" y="228"/>
                  </a:cubicBezTo>
                  <a:cubicBezTo>
                    <a:pt x="9842" y="343"/>
                    <a:pt x="9267" y="372"/>
                    <a:pt x="8891" y="320"/>
                  </a:cubicBezTo>
                  <a:cubicBezTo>
                    <a:pt x="8525" y="228"/>
                    <a:pt x="8078" y="308"/>
                    <a:pt x="7907" y="428"/>
                  </a:cubicBezTo>
                  <a:cubicBezTo>
                    <a:pt x="7727" y="546"/>
                    <a:pt x="7941" y="1056"/>
                    <a:pt x="8358" y="1536"/>
                  </a:cubicBezTo>
                  <a:cubicBezTo>
                    <a:pt x="8803" y="1998"/>
                    <a:pt x="9046" y="2535"/>
                    <a:pt x="8951" y="2681"/>
                  </a:cubicBezTo>
                  <a:cubicBezTo>
                    <a:pt x="8876" y="2839"/>
                    <a:pt x="9110" y="3284"/>
                    <a:pt x="9505" y="3714"/>
                  </a:cubicBezTo>
                  <a:cubicBezTo>
                    <a:pt x="9915" y="4126"/>
                    <a:pt x="10200" y="4581"/>
                    <a:pt x="10170" y="4701"/>
                  </a:cubicBezTo>
                  <a:cubicBezTo>
                    <a:pt x="10170" y="4825"/>
                    <a:pt x="9824" y="4802"/>
                    <a:pt x="9459" y="4660"/>
                  </a:cubicBezTo>
                  <a:cubicBezTo>
                    <a:pt x="9112" y="4495"/>
                    <a:pt x="8488" y="4446"/>
                    <a:pt x="8105" y="4502"/>
                  </a:cubicBezTo>
                  <a:cubicBezTo>
                    <a:pt x="7718" y="4565"/>
                    <a:pt x="7319" y="4451"/>
                    <a:pt x="7255" y="4257"/>
                  </a:cubicBezTo>
                  <a:cubicBezTo>
                    <a:pt x="7155" y="4077"/>
                    <a:pt x="7280" y="3730"/>
                    <a:pt x="7524" y="3522"/>
                  </a:cubicBezTo>
                  <a:cubicBezTo>
                    <a:pt x="7729" y="3275"/>
                    <a:pt x="7720" y="2806"/>
                    <a:pt x="7453" y="2403"/>
                  </a:cubicBezTo>
                  <a:cubicBezTo>
                    <a:pt x="7180" y="2006"/>
                    <a:pt x="6856" y="1676"/>
                    <a:pt x="6731" y="1668"/>
                  </a:cubicBezTo>
                  <a:cubicBezTo>
                    <a:pt x="6608" y="1659"/>
                    <a:pt x="6218" y="1997"/>
                    <a:pt x="5876" y="2426"/>
                  </a:cubicBezTo>
                  <a:cubicBezTo>
                    <a:pt x="5541" y="2856"/>
                    <a:pt x="5443" y="3426"/>
                    <a:pt x="5673" y="3698"/>
                  </a:cubicBezTo>
                  <a:cubicBezTo>
                    <a:pt x="5892" y="3974"/>
                    <a:pt x="5746" y="4417"/>
                    <a:pt x="5308" y="4654"/>
                  </a:cubicBezTo>
                  <a:cubicBezTo>
                    <a:pt x="4878" y="4895"/>
                    <a:pt x="4292" y="4901"/>
                    <a:pt x="4023" y="4614"/>
                  </a:cubicBezTo>
                  <a:cubicBezTo>
                    <a:pt x="3720" y="4353"/>
                    <a:pt x="3184" y="4098"/>
                    <a:pt x="2792" y="4073"/>
                  </a:cubicBezTo>
                  <a:cubicBezTo>
                    <a:pt x="2402" y="4056"/>
                    <a:pt x="1855" y="3930"/>
                    <a:pt x="1584" y="3786"/>
                  </a:cubicBezTo>
                  <a:cubicBezTo>
                    <a:pt x="1313" y="3633"/>
                    <a:pt x="816" y="3742"/>
                    <a:pt x="531" y="4036"/>
                  </a:cubicBezTo>
                  <a:cubicBezTo>
                    <a:pt x="226" y="4309"/>
                    <a:pt x="411" y="4817"/>
                    <a:pt x="926" y="5177"/>
                  </a:cubicBezTo>
                  <a:cubicBezTo>
                    <a:pt x="1438" y="5536"/>
                    <a:pt x="1876" y="6131"/>
                    <a:pt x="1910" y="6516"/>
                  </a:cubicBezTo>
                  <a:cubicBezTo>
                    <a:pt x="1942" y="6903"/>
                    <a:pt x="1691" y="7041"/>
                    <a:pt x="1375" y="6826"/>
                  </a:cubicBezTo>
                  <a:cubicBezTo>
                    <a:pt x="1072" y="6598"/>
                    <a:pt x="645" y="6457"/>
                    <a:pt x="452" y="6497"/>
                  </a:cubicBezTo>
                  <a:cubicBezTo>
                    <a:pt x="265" y="6551"/>
                    <a:pt x="190" y="6988"/>
                    <a:pt x="319" y="7499"/>
                  </a:cubicBezTo>
                  <a:cubicBezTo>
                    <a:pt x="461" y="8011"/>
                    <a:pt x="819" y="8565"/>
                    <a:pt x="1138" y="8754"/>
                  </a:cubicBezTo>
                  <a:cubicBezTo>
                    <a:pt x="1459" y="8940"/>
                    <a:pt x="1753" y="9447"/>
                    <a:pt x="1787" y="9913"/>
                  </a:cubicBezTo>
                  <a:cubicBezTo>
                    <a:pt x="1787" y="10379"/>
                    <a:pt x="2070" y="10962"/>
                    <a:pt x="2348" y="11213"/>
                  </a:cubicBezTo>
                  <a:cubicBezTo>
                    <a:pt x="2631" y="11468"/>
                    <a:pt x="2348" y="11849"/>
                    <a:pt x="1723" y="12085"/>
                  </a:cubicBezTo>
                  <a:cubicBezTo>
                    <a:pt x="1096" y="12315"/>
                    <a:pt x="397" y="12985"/>
                    <a:pt x="155" y="13561"/>
                  </a:cubicBezTo>
                  <a:cubicBezTo>
                    <a:pt x="-84" y="14143"/>
                    <a:pt x="-39" y="14781"/>
                    <a:pt x="235" y="14987"/>
                  </a:cubicBezTo>
                  <a:cubicBezTo>
                    <a:pt x="520" y="15183"/>
                    <a:pt x="1067" y="15236"/>
                    <a:pt x="1441" y="15048"/>
                  </a:cubicBezTo>
                  <a:cubicBezTo>
                    <a:pt x="1835" y="14899"/>
                    <a:pt x="2603" y="15109"/>
                    <a:pt x="3159" y="15563"/>
                  </a:cubicBezTo>
                  <a:cubicBezTo>
                    <a:pt x="3709" y="16028"/>
                    <a:pt x="4335" y="16895"/>
                    <a:pt x="4438" y="17538"/>
                  </a:cubicBezTo>
                  <a:cubicBezTo>
                    <a:pt x="4611" y="18167"/>
                    <a:pt x="4549" y="18778"/>
                    <a:pt x="4358" y="18874"/>
                  </a:cubicBezTo>
                  <a:cubicBezTo>
                    <a:pt x="4164" y="18973"/>
                    <a:pt x="4117" y="19320"/>
                    <a:pt x="4219" y="19646"/>
                  </a:cubicBezTo>
                  <a:cubicBezTo>
                    <a:pt x="4319" y="19980"/>
                    <a:pt x="4944" y="20231"/>
                    <a:pt x="5571" y="20248"/>
                  </a:cubicBezTo>
                  <a:cubicBezTo>
                    <a:pt x="6188" y="20248"/>
                    <a:pt x="7424" y="20461"/>
                    <a:pt x="8301" y="20725"/>
                  </a:cubicBezTo>
                  <a:cubicBezTo>
                    <a:pt x="9176" y="20995"/>
                    <a:pt x="10120" y="21279"/>
                    <a:pt x="10380" y="21409"/>
                  </a:cubicBezTo>
                  <a:close/>
                  <a:moveTo>
                    <a:pt x="10380" y="214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5" name="AutoShape 484"/>
            <p:cNvSpPr>
              <a:spLocks/>
            </p:cNvSpPr>
            <p:nvPr/>
          </p:nvSpPr>
          <p:spPr bwMode="auto">
            <a:xfrm>
              <a:off x="7785100" y="2603500"/>
              <a:ext cx="39688" cy="22225"/>
            </a:xfrm>
            <a:custGeom>
              <a:avLst/>
              <a:gdLst/>
              <a:ahLst/>
              <a:cxnLst/>
              <a:rect l="0" t="0" r="r" b="b"/>
              <a:pathLst>
                <a:path w="21309" h="21216">
                  <a:moveTo>
                    <a:pt x="4939" y="17023"/>
                  </a:moveTo>
                  <a:cubicBezTo>
                    <a:pt x="6896" y="18181"/>
                    <a:pt x="10012" y="19269"/>
                    <a:pt x="11891" y="19187"/>
                  </a:cubicBezTo>
                  <a:cubicBezTo>
                    <a:pt x="13765" y="19187"/>
                    <a:pt x="15800" y="18051"/>
                    <a:pt x="16399" y="16791"/>
                  </a:cubicBezTo>
                  <a:cubicBezTo>
                    <a:pt x="17017" y="15562"/>
                    <a:pt x="17824" y="15864"/>
                    <a:pt x="18213" y="17548"/>
                  </a:cubicBezTo>
                  <a:cubicBezTo>
                    <a:pt x="18669" y="19204"/>
                    <a:pt x="19215" y="20889"/>
                    <a:pt x="19534" y="21185"/>
                  </a:cubicBezTo>
                  <a:cubicBezTo>
                    <a:pt x="19879" y="21416"/>
                    <a:pt x="20055" y="20327"/>
                    <a:pt x="19957" y="18594"/>
                  </a:cubicBezTo>
                  <a:cubicBezTo>
                    <a:pt x="19957" y="16875"/>
                    <a:pt x="20158" y="13906"/>
                    <a:pt x="20750" y="12191"/>
                  </a:cubicBezTo>
                  <a:cubicBezTo>
                    <a:pt x="21232" y="10347"/>
                    <a:pt x="21433" y="7680"/>
                    <a:pt x="21232" y="6107"/>
                  </a:cubicBezTo>
                  <a:cubicBezTo>
                    <a:pt x="20946" y="4564"/>
                    <a:pt x="20562" y="3588"/>
                    <a:pt x="20308" y="3812"/>
                  </a:cubicBezTo>
                  <a:cubicBezTo>
                    <a:pt x="20061" y="4044"/>
                    <a:pt x="18994" y="4257"/>
                    <a:pt x="17908" y="3960"/>
                  </a:cubicBezTo>
                  <a:cubicBezTo>
                    <a:pt x="16835" y="3783"/>
                    <a:pt x="15651" y="4913"/>
                    <a:pt x="15267" y="6485"/>
                  </a:cubicBezTo>
                  <a:cubicBezTo>
                    <a:pt x="14897" y="8082"/>
                    <a:pt x="14031" y="9418"/>
                    <a:pt x="13356" y="9241"/>
                  </a:cubicBezTo>
                  <a:cubicBezTo>
                    <a:pt x="12686" y="9157"/>
                    <a:pt x="11443" y="9348"/>
                    <a:pt x="10623" y="9713"/>
                  </a:cubicBezTo>
                  <a:cubicBezTo>
                    <a:pt x="9784" y="9974"/>
                    <a:pt x="8034" y="7887"/>
                    <a:pt x="6682" y="4966"/>
                  </a:cubicBezTo>
                  <a:cubicBezTo>
                    <a:pt x="5303" y="2104"/>
                    <a:pt x="3723" y="-184"/>
                    <a:pt x="3079" y="11"/>
                  </a:cubicBezTo>
                  <a:cubicBezTo>
                    <a:pt x="2415" y="93"/>
                    <a:pt x="1518" y="1465"/>
                    <a:pt x="1042" y="2760"/>
                  </a:cubicBezTo>
                  <a:cubicBezTo>
                    <a:pt x="568" y="4061"/>
                    <a:pt x="568" y="5941"/>
                    <a:pt x="1049" y="6917"/>
                  </a:cubicBezTo>
                  <a:cubicBezTo>
                    <a:pt x="1524" y="7934"/>
                    <a:pt x="1368" y="9069"/>
                    <a:pt x="626" y="9412"/>
                  </a:cubicBezTo>
                  <a:cubicBezTo>
                    <a:pt x="-134" y="9750"/>
                    <a:pt x="-167" y="11050"/>
                    <a:pt x="341" y="12422"/>
                  </a:cubicBezTo>
                  <a:cubicBezTo>
                    <a:pt x="925" y="13670"/>
                    <a:pt x="2981" y="15774"/>
                    <a:pt x="4939" y="17023"/>
                  </a:cubicBezTo>
                  <a:close/>
                  <a:moveTo>
                    <a:pt x="4939" y="170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6" name="AutoShape 485"/>
            <p:cNvSpPr>
              <a:spLocks/>
            </p:cNvSpPr>
            <p:nvPr/>
          </p:nvSpPr>
          <p:spPr bwMode="auto">
            <a:xfrm>
              <a:off x="7823200" y="2603500"/>
              <a:ext cx="9525" cy="7938"/>
            </a:xfrm>
            <a:custGeom>
              <a:avLst/>
              <a:gdLst/>
              <a:ahLst/>
              <a:cxnLst/>
              <a:rect l="0" t="0" r="r" b="b"/>
              <a:pathLst>
                <a:path w="20550" h="19639">
                  <a:moveTo>
                    <a:pt x="12155" y="654"/>
                  </a:moveTo>
                  <a:cubicBezTo>
                    <a:pt x="8522" y="1919"/>
                    <a:pt x="3959" y="5655"/>
                    <a:pt x="2081" y="8909"/>
                  </a:cubicBezTo>
                  <a:cubicBezTo>
                    <a:pt x="225" y="12135"/>
                    <a:pt x="-449" y="16309"/>
                    <a:pt x="300" y="18488"/>
                  </a:cubicBezTo>
                  <a:cubicBezTo>
                    <a:pt x="1028" y="20655"/>
                    <a:pt x="3910" y="19679"/>
                    <a:pt x="5863" y="16264"/>
                  </a:cubicBezTo>
                  <a:cubicBezTo>
                    <a:pt x="8146" y="13198"/>
                    <a:pt x="12431" y="9781"/>
                    <a:pt x="15890" y="9564"/>
                  </a:cubicBezTo>
                  <a:cubicBezTo>
                    <a:pt x="19273" y="9084"/>
                    <a:pt x="21151" y="6483"/>
                    <a:pt x="20376" y="3503"/>
                  </a:cubicBezTo>
                  <a:cubicBezTo>
                    <a:pt x="19572" y="538"/>
                    <a:pt x="15713" y="-945"/>
                    <a:pt x="12155" y="654"/>
                  </a:cubicBezTo>
                  <a:close/>
                  <a:moveTo>
                    <a:pt x="12155" y="6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7" name="AutoShape 486"/>
            <p:cNvSpPr>
              <a:spLocks/>
            </p:cNvSpPr>
            <p:nvPr/>
          </p:nvSpPr>
          <p:spPr bwMode="auto">
            <a:xfrm>
              <a:off x="7505700" y="2171700"/>
              <a:ext cx="4763" cy="3175"/>
            </a:xfrm>
            <a:custGeom>
              <a:avLst/>
              <a:gdLst/>
              <a:ahLst/>
              <a:cxnLst/>
              <a:rect l="0" t="0" r="r" b="b"/>
              <a:pathLst>
                <a:path w="17575" h="19391">
                  <a:moveTo>
                    <a:pt x="2647" y="5384"/>
                  </a:moveTo>
                  <a:cubicBezTo>
                    <a:pt x="-2277" y="13074"/>
                    <a:pt x="-167" y="19594"/>
                    <a:pt x="7611" y="19386"/>
                  </a:cubicBezTo>
                  <a:cubicBezTo>
                    <a:pt x="15348" y="19147"/>
                    <a:pt x="19323" y="13522"/>
                    <a:pt x="16838" y="5776"/>
                  </a:cubicBezTo>
                  <a:cubicBezTo>
                    <a:pt x="13776" y="-1706"/>
                    <a:pt x="7736" y="-2006"/>
                    <a:pt x="2647" y="5384"/>
                  </a:cubicBezTo>
                  <a:close/>
                  <a:moveTo>
                    <a:pt x="2647" y="53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8" name="AutoShape 487"/>
            <p:cNvSpPr>
              <a:spLocks/>
            </p:cNvSpPr>
            <p:nvPr/>
          </p:nvSpPr>
          <p:spPr bwMode="auto">
            <a:xfrm>
              <a:off x="7607300" y="2120900"/>
              <a:ext cx="6350" cy="6350"/>
            </a:xfrm>
            <a:custGeom>
              <a:avLst/>
              <a:gdLst/>
              <a:ahLst/>
              <a:cxnLst/>
              <a:rect l="0" t="0" r="r" b="b"/>
              <a:pathLst>
                <a:path w="19175" h="19365">
                  <a:moveTo>
                    <a:pt x="4790" y="2855"/>
                  </a:moveTo>
                  <a:cubicBezTo>
                    <a:pt x="-747" y="7223"/>
                    <a:pt x="-1589" y="13928"/>
                    <a:pt x="2817" y="16552"/>
                  </a:cubicBezTo>
                  <a:cubicBezTo>
                    <a:pt x="6929" y="19721"/>
                    <a:pt x="13146" y="20153"/>
                    <a:pt x="16253" y="18151"/>
                  </a:cubicBezTo>
                  <a:cubicBezTo>
                    <a:pt x="19363" y="16185"/>
                    <a:pt x="20011" y="10025"/>
                    <a:pt x="18101" y="4474"/>
                  </a:cubicBezTo>
                  <a:cubicBezTo>
                    <a:pt x="15769" y="-870"/>
                    <a:pt x="10329" y="-1447"/>
                    <a:pt x="4790" y="2855"/>
                  </a:cubicBezTo>
                  <a:close/>
                  <a:moveTo>
                    <a:pt x="4790" y="28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89" name="AutoShape 488"/>
            <p:cNvSpPr>
              <a:spLocks/>
            </p:cNvSpPr>
            <p:nvPr/>
          </p:nvSpPr>
          <p:spPr bwMode="auto">
            <a:xfrm>
              <a:off x="7607300" y="2095500"/>
              <a:ext cx="12700" cy="6350"/>
            </a:xfrm>
            <a:custGeom>
              <a:avLst/>
              <a:gdLst/>
              <a:ahLst/>
              <a:cxnLst/>
              <a:rect l="0" t="0" r="r" b="b"/>
              <a:pathLst>
                <a:path w="19094" h="19410">
                  <a:moveTo>
                    <a:pt x="15949" y="13757"/>
                  </a:moveTo>
                  <a:cubicBezTo>
                    <a:pt x="19302" y="10520"/>
                    <a:pt x="20125" y="4797"/>
                    <a:pt x="17686" y="1510"/>
                  </a:cubicBezTo>
                  <a:cubicBezTo>
                    <a:pt x="15297" y="-1946"/>
                    <a:pt x="9333" y="784"/>
                    <a:pt x="4316" y="7099"/>
                  </a:cubicBezTo>
                  <a:cubicBezTo>
                    <a:pt x="-650" y="13807"/>
                    <a:pt x="-1475" y="19512"/>
                    <a:pt x="2597" y="19392"/>
                  </a:cubicBezTo>
                  <a:cubicBezTo>
                    <a:pt x="6602" y="19654"/>
                    <a:pt x="12599" y="17005"/>
                    <a:pt x="15949" y="13757"/>
                  </a:cubicBezTo>
                  <a:close/>
                  <a:moveTo>
                    <a:pt x="15949" y="137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0" name="AutoShape 489"/>
            <p:cNvSpPr>
              <a:spLocks/>
            </p:cNvSpPr>
            <p:nvPr/>
          </p:nvSpPr>
          <p:spPr bwMode="auto">
            <a:xfrm>
              <a:off x="7594600" y="2108200"/>
              <a:ext cx="7938" cy="6350"/>
            </a:xfrm>
            <a:custGeom>
              <a:avLst/>
              <a:gdLst/>
              <a:ahLst/>
              <a:cxnLst/>
              <a:rect l="0" t="0" r="r" b="b"/>
              <a:pathLst>
                <a:path w="19633" h="19962">
                  <a:moveTo>
                    <a:pt x="4408" y="8"/>
                  </a:moveTo>
                  <a:cubicBezTo>
                    <a:pt x="-1409" y="-249"/>
                    <a:pt x="-1435" y="5239"/>
                    <a:pt x="4130" y="11746"/>
                  </a:cubicBezTo>
                  <a:cubicBezTo>
                    <a:pt x="10001" y="17962"/>
                    <a:pt x="16016" y="21351"/>
                    <a:pt x="18162" y="19421"/>
                  </a:cubicBezTo>
                  <a:cubicBezTo>
                    <a:pt x="19997" y="17032"/>
                    <a:pt x="20165" y="12018"/>
                    <a:pt x="18386" y="7699"/>
                  </a:cubicBezTo>
                  <a:cubicBezTo>
                    <a:pt x="16579" y="3343"/>
                    <a:pt x="10199" y="-122"/>
                    <a:pt x="4408" y="8"/>
                  </a:cubicBezTo>
                  <a:close/>
                  <a:moveTo>
                    <a:pt x="4408" y="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1" name="AutoShape 490"/>
            <p:cNvSpPr>
              <a:spLocks/>
            </p:cNvSpPr>
            <p:nvPr/>
          </p:nvSpPr>
          <p:spPr bwMode="auto">
            <a:xfrm>
              <a:off x="7518400" y="2159000"/>
              <a:ext cx="7938" cy="6350"/>
            </a:xfrm>
            <a:custGeom>
              <a:avLst/>
              <a:gdLst/>
              <a:ahLst/>
              <a:cxnLst/>
              <a:rect l="0" t="0" r="r" b="b"/>
              <a:pathLst>
                <a:path w="19294" h="18825">
                  <a:moveTo>
                    <a:pt x="6909" y="258"/>
                  </a:moveTo>
                  <a:cubicBezTo>
                    <a:pt x="2693" y="-1186"/>
                    <a:pt x="-871" y="3590"/>
                    <a:pt x="188" y="10412"/>
                  </a:cubicBezTo>
                  <a:cubicBezTo>
                    <a:pt x="838" y="17296"/>
                    <a:pt x="5995" y="20414"/>
                    <a:pt x="11889" y="18032"/>
                  </a:cubicBezTo>
                  <a:cubicBezTo>
                    <a:pt x="17780" y="15528"/>
                    <a:pt x="20729" y="10783"/>
                    <a:pt x="18607" y="7895"/>
                  </a:cubicBezTo>
                  <a:cubicBezTo>
                    <a:pt x="16631" y="4912"/>
                    <a:pt x="11329" y="1335"/>
                    <a:pt x="6909" y="258"/>
                  </a:cubicBezTo>
                  <a:close/>
                  <a:moveTo>
                    <a:pt x="6909" y="2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2" name="AutoShape 491"/>
            <p:cNvSpPr>
              <a:spLocks/>
            </p:cNvSpPr>
            <p:nvPr/>
          </p:nvSpPr>
          <p:spPr bwMode="auto">
            <a:xfrm>
              <a:off x="7721600" y="1981200"/>
              <a:ext cx="6350" cy="6350"/>
            </a:xfrm>
            <a:custGeom>
              <a:avLst/>
              <a:gdLst/>
              <a:ahLst/>
              <a:cxnLst/>
              <a:rect l="0" t="0" r="r" b="b"/>
              <a:pathLst>
                <a:path w="19918" h="19729">
                  <a:moveTo>
                    <a:pt x="13198" y="669"/>
                  </a:moveTo>
                  <a:cubicBezTo>
                    <a:pt x="10436" y="-1097"/>
                    <a:pt x="5381" y="792"/>
                    <a:pt x="2253" y="4474"/>
                  </a:cubicBezTo>
                  <a:cubicBezTo>
                    <a:pt x="-804" y="8197"/>
                    <a:pt x="-838" y="13928"/>
                    <a:pt x="2690" y="16852"/>
                  </a:cubicBezTo>
                  <a:cubicBezTo>
                    <a:pt x="5888" y="20080"/>
                    <a:pt x="11381" y="20503"/>
                    <a:pt x="14764" y="18564"/>
                  </a:cubicBezTo>
                  <a:cubicBezTo>
                    <a:pt x="18073" y="16553"/>
                    <a:pt x="20762" y="12075"/>
                    <a:pt x="19671" y="9147"/>
                  </a:cubicBezTo>
                  <a:cubicBezTo>
                    <a:pt x="19053" y="6082"/>
                    <a:pt x="16143" y="2359"/>
                    <a:pt x="13198" y="669"/>
                  </a:cubicBezTo>
                  <a:close/>
                  <a:moveTo>
                    <a:pt x="13198" y="6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3" name="AutoShape 492"/>
            <p:cNvSpPr>
              <a:spLocks/>
            </p:cNvSpPr>
            <p:nvPr/>
          </p:nvSpPr>
          <p:spPr bwMode="auto">
            <a:xfrm>
              <a:off x="7607300" y="2095500"/>
              <a:ext cx="23813" cy="9525"/>
            </a:xfrm>
            <a:custGeom>
              <a:avLst/>
              <a:gdLst/>
              <a:ahLst/>
              <a:cxnLst/>
              <a:rect l="0" t="0" r="r" b="b"/>
              <a:pathLst>
                <a:path w="20659" h="21250">
                  <a:moveTo>
                    <a:pt x="15039" y="4"/>
                  </a:moveTo>
                  <a:cubicBezTo>
                    <a:pt x="13434" y="4"/>
                    <a:pt x="11683" y="1314"/>
                    <a:pt x="11193" y="3207"/>
                  </a:cubicBezTo>
                  <a:cubicBezTo>
                    <a:pt x="10817" y="5233"/>
                    <a:pt x="8565" y="6349"/>
                    <a:pt x="6512" y="6167"/>
                  </a:cubicBezTo>
                  <a:cubicBezTo>
                    <a:pt x="4469" y="5986"/>
                    <a:pt x="1831" y="9008"/>
                    <a:pt x="768" y="13159"/>
                  </a:cubicBezTo>
                  <a:cubicBezTo>
                    <a:pt x="-473" y="17053"/>
                    <a:pt x="-129" y="20438"/>
                    <a:pt x="1226" y="21154"/>
                  </a:cubicBezTo>
                  <a:cubicBezTo>
                    <a:pt x="2622" y="21507"/>
                    <a:pt x="4864" y="20876"/>
                    <a:pt x="6167" y="19554"/>
                  </a:cubicBezTo>
                  <a:cubicBezTo>
                    <a:pt x="7512" y="18472"/>
                    <a:pt x="10473" y="17819"/>
                    <a:pt x="12787" y="18448"/>
                  </a:cubicBezTo>
                  <a:cubicBezTo>
                    <a:pt x="15102" y="19129"/>
                    <a:pt x="18134" y="17078"/>
                    <a:pt x="19490" y="13934"/>
                  </a:cubicBezTo>
                  <a:cubicBezTo>
                    <a:pt x="20741" y="10562"/>
                    <a:pt x="21127" y="6374"/>
                    <a:pt x="19959" y="4251"/>
                  </a:cubicBezTo>
                  <a:cubicBezTo>
                    <a:pt x="18937" y="1786"/>
                    <a:pt x="16644" y="-93"/>
                    <a:pt x="15039" y="4"/>
                  </a:cubicBezTo>
                  <a:close/>
                  <a:moveTo>
                    <a:pt x="15039" y="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4" name="AutoShape 493"/>
            <p:cNvSpPr>
              <a:spLocks/>
            </p:cNvSpPr>
            <p:nvPr/>
          </p:nvSpPr>
          <p:spPr bwMode="auto">
            <a:xfrm>
              <a:off x="7721600" y="1879600"/>
              <a:ext cx="4763" cy="3175"/>
            </a:xfrm>
            <a:custGeom>
              <a:avLst/>
              <a:gdLst/>
              <a:ahLst/>
              <a:cxnLst/>
              <a:rect l="0" t="0" r="r" b="b"/>
              <a:pathLst>
                <a:path w="19021" h="19370">
                  <a:moveTo>
                    <a:pt x="18195" y="16348"/>
                  </a:moveTo>
                  <a:cubicBezTo>
                    <a:pt x="20178" y="12914"/>
                    <a:pt x="18486" y="6868"/>
                    <a:pt x="14272" y="2855"/>
                  </a:cubicBezTo>
                  <a:cubicBezTo>
                    <a:pt x="10397" y="-1369"/>
                    <a:pt x="4003" y="-844"/>
                    <a:pt x="1384" y="4018"/>
                  </a:cubicBezTo>
                  <a:cubicBezTo>
                    <a:pt x="-1422" y="8798"/>
                    <a:pt x="131" y="14736"/>
                    <a:pt x="5214" y="17510"/>
                  </a:cubicBezTo>
                  <a:cubicBezTo>
                    <a:pt x="10254" y="20231"/>
                    <a:pt x="16497" y="20068"/>
                    <a:pt x="18195" y="16348"/>
                  </a:cubicBezTo>
                  <a:close/>
                  <a:moveTo>
                    <a:pt x="18195" y="163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5" name="AutoShape 494"/>
            <p:cNvSpPr>
              <a:spLocks/>
            </p:cNvSpPr>
            <p:nvPr/>
          </p:nvSpPr>
          <p:spPr bwMode="auto">
            <a:xfrm>
              <a:off x="7721600" y="2019300"/>
              <a:ext cx="9525" cy="4763"/>
            </a:xfrm>
            <a:custGeom>
              <a:avLst/>
              <a:gdLst/>
              <a:ahLst/>
              <a:cxnLst/>
              <a:rect l="0" t="0" r="r" b="b"/>
              <a:pathLst>
                <a:path w="19005" h="19380">
                  <a:moveTo>
                    <a:pt x="723" y="8297"/>
                  </a:moveTo>
                  <a:cubicBezTo>
                    <a:pt x="-916" y="12055"/>
                    <a:pt x="343" y="17330"/>
                    <a:pt x="3358" y="18811"/>
                  </a:cubicBezTo>
                  <a:cubicBezTo>
                    <a:pt x="6181" y="20918"/>
                    <a:pt x="12116" y="16949"/>
                    <a:pt x="16459" y="10575"/>
                  </a:cubicBezTo>
                  <a:cubicBezTo>
                    <a:pt x="20684" y="4103"/>
                    <a:pt x="19543" y="-682"/>
                    <a:pt x="13825" y="80"/>
                  </a:cubicBezTo>
                  <a:cubicBezTo>
                    <a:pt x="8103" y="1083"/>
                    <a:pt x="2312" y="4406"/>
                    <a:pt x="723" y="8297"/>
                  </a:cubicBezTo>
                  <a:close/>
                  <a:moveTo>
                    <a:pt x="723" y="82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6" name="AutoShape 495"/>
            <p:cNvSpPr>
              <a:spLocks/>
            </p:cNvSpPr>
            <p:nvPr/>
          </p:nvSpPr>
          <p:spPr bwMode="auto">
            <a:xfrm>
              <a:off x="7734300" y="1854200"/>
              <a:ext cx="7938" cy="9525"/>
            </a:xfrm>
            <a:custGeom>
              <a:avLst/>
              <a:gdLst/>
              <a:ahLst/>
              <a:cxnLst/>
              <a:rect l="0" t="0" r="r" b="b"/>
              <a:pathLst>
                <a:path w="19643" h="19586">
                  <a:moveTo>
                    <a:pt x="18931" y="3357"/>
                  </a:moveTo>
                  <a:cubicBezTo>
                    <a:pt x="16710" y="-1178"/>
                    <a:pt x="11691" y="-1072"/>
                    <a:pt x="7189" y="3391"/>
                  </a:cubicBezTo>
                  <a:cubicBezTo>
                    <a:pt x="3080" y="8162"/>
                    <a:pt x="-418" y="14249"/>
                    <a:pt x="40" y="17325"/>
                  </a:cubicBezTo>
                  <a:cubicBezTo>
                    <a:pt x="496" y="20422"/>
                    <a:pt x="5698" y="20267"/>
                    <a:pt x="11875" y="17289"/>
                  </a:cubicBezTo>
                  <a:cubicBezTo>
                    <a:pt x="17897" y="14143"/>
                    <a:pt x="21182" y="7889"/>
                    <a:pt x="18931" y="3357"/>
                  </a:cubicBezTo>
                  <a:close/>
                  <a:moveTo>
                    <a:pt x="18931" y="33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7" name="AutoShape 496"/>
            <p:cNvSpPr>
              <a:spLocks/>
            </p:cNvSpPr>
            <p:nvPr/>
          </p:nvSpPr>
          <p:spPr bwMode="auto">
            <a:xfrm>
              <a:off x="7696200" y="2032000"/>
              <a:ext cx="19050" cy="9525"/>
            </a:xfrm>
            <a:custGeom>
              <a:avLst/>
              <a:gdLst/>
              <a:ahLst/>
              <a:cxnLst/>
              <a:rect l="0" t="0" r="r" b="b"/>
              <a:pathLst>
                <a:path w="20211" h="20072">
                  <a:moveTo>
                    <a:pt x="19251" y="149"/>
                  </a:moveTo>
                  <a:cubicBezTo>
                    <a:pt x="17551" y="1031"/>
                    <a:pt x="13407" y="2121"/>
                    <a:pt x="10082" y="1937"/>
                  </a:cubicBezTo>
                  <a:cubicBezTo>
                    <a:pt x="6794" y="2237"/>
                    <a:pt x="2613" y="4339"/>
                    <a:pt x="1050" y="7413"/>
                  </a:cubicBezTo>
                  <a:cubicBezTo>
                    <a:pt x="-637" y="10319"/>
                    <a:pt x="-253" y="12628"/>
                    <a:pt x="1931" y="12809"/>
                  </a:cubicBezTo>
                  <a:cubicBezTo>
                    <a:pt x="4089" y="13096"/>
                    <a:pt x="6560" y="15067"/>
                    <a:pt x="7551" y="17440"/>
                  </a:cubicBezTo>
                  <a:cubicBezTo>
                    <a:pt x="8457" y="19996"/>
                    <a:pt x="10220" y="20854"/>
                    <a:pt x="11347" y="19283"/>
                  </a:cubicBezTo>
                  <a:cubicBezTo>
                    <a:pt x="12477" y="17934"/>
                    <a:pt x="15405" y="12511"/>
                    <a:pt x="17910" y="7570"/>
                  </a:cubicBezTo>
                  <a:cubicBezTo>
                    <a:pt x="20305" y="2458"/>
                    <a:pt x="20963" y="-746"/>
                    <a:pt x="19251" y="149"/>
                  </a:cubicBezTo>
                  <a:close/>
                  <a:moveTo>
                    <a:pt x="19251" y="1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8" name="AutoShape 497"/>
            <p:cNvSpPr>
              <a:spLocks/>
            </p:cNvSpPr>
            <p:nvPr/>
          </p:nvSpPr>
          <p:spPr bwMode="auto">
            <a:xfrm>
              <a:off x="8064500" y="1714500"/>
              <a:ext cx="26988" cy="14288"/>
            </a:xfrm>
            <a:custGeom>
              <a:avLst/>
              <a:gdLst/>
              <a:ahLst/>
              <a:cxnLst/>
              <a:rect l="0" t="0" r="r" b="b"/>
              <a:pathLst>
                <a:path w="21117" h="20937">
                  <a:moveTo>
                    <a:pt x="3526" y="11428"/>
                  </a:moveTo>
                  <a:cubicBezTo>
                    <a:pt x="5428" y="12285"/>
                    <a:pt x="8667" y="14640"/>
                    <a:pt x="10606" y="17002"/>
                  </a:cubicBezTo>
                  <a:cubicBezTo>
                    <a:pt x="12633" y="19094"/>
                    <a:pt x="15572" y="21064"/>
                    <a:pt x="17222" y="20931"/>
                  </a:cubicBezTo>
                  <a:cubicBezTo>
                    <a:pt x="18871" y="20809"/>
                    <a:pt x="20733" y="19191"/>
                    <a:pt x="21033" y="16959"/>
                  </a:cubicBezTo>
                  <a:cubicBezTo>
                    <a:pt x="21470" y="14796"/>
                    <a:pt x="20161" y="12627"/>
                    <a:pt x="18124" y="11996"/>
                  </a:cubicBezTo>
                  <a:cubicBezTo>
                    <a:pt x="16106" y="11410"/>
                    <a:pt x="15155" y="9765"/>
                    <a:pt x="16067" y="8399"/>
                  </a:cubicBezTo>
                  <a:cubicBezTo>
                    <a:pt x="16960" y="6981"/>
                    <a:pt x="16562" y="5126"/>
                    <a:pt x="15175" y="4434"/>
                  </a:cubicBezTo>
                  <a:cubicBezTo>
                    <a:pt x="13808" y="3621"/>
                    <a:pt x="11742" y="2099"/>
                    <a:pt x="10684" y="803"/>
                  </a:cubicBezTo>
                  <a:cubicBezTo>
                    <a:pt x="9627" y="-536"/>
                    <a:pt x="8725" y="-125"/>
                    <a:pt x="8725" y="1486"/>
                  </a:cubicBezTo>
                  <a:cubicBezTo>
                    <a:pt x="8579" y="3061"/>
                    <a:pt x="8221" y="5029"/>
                    <a:pt x="7513" y="5660"/>
                  </a:cubicBezTo>
                  <a:cubicBezTo>
                    <a:pt x="6785" y="6211"/>
                    <a:pt x="5369" y="6168"/>
                    <a:pt x="4254" y="5345"/>
                  </a:cubicBezTo>
                  <a:cubicBezTo>
                    <a:pt x="3139" y="4531"/>
                    <a:pt x="1693" y="4216"/>
                    <a:pt x="1121" y="5004"/>
                  </a:cubicBezTo>
                  <a:cubicBezTo>
                    <a:pt x="452" y="5608"/>
                    <a:pt x="-130" y="7069"/>
                    <a:pt x="25" y="8040"/>
                  </a:cubicBezTo>
                  <a:cubicBezTo>
                    <a:pt x="190" y="9003"/>
                    <a:pt x="1655" y="10378"/>
                    <a:pt x="3526" y="11428"/>
                  </a:cubicBezTo>
                  <a:close/>
                  <a:moveTo>
                    <a:pt x="3526" y="114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499" name="AutoShape 498"/>
            <p:cNvSpPr>
              <a:spLocks/>
            </p:cNvSpPr>
            <p:nvPr/>
          </p:nvSpPr>
          <p:spPr bwMode="auto">
            <a:xfrm>
              <a:off x="7975600" y="1727200"/>
              <a:ext cx="36513" cy="12700"/>
            </a:xfrm>
            <a:custGeom>
              <a:avLst/>
              <a:gdLst/>
              <a:ahLst/>
              <a:cxnLst/>
              <a:rect l="0" t="0" r="r" b="b"/>
              <a:pathLst>
                <a:path w="20900" h="20547">
                  <a:moveTo>
                    <a:pt x="4842" y="6256"/>
                  </a:moveTo>
                  <a:cubicBezTo>
                    <a:pt x="3889" y="7207"/>
                    <a:pt x="2235" y="7629"/>
                    <a:pt x="1145" y="6769"/>
                  </a:cubicBezTo>
                  <a:cubicBezTo>
                    <a:pt x="47" y="5910"/>
                    <a:pt x="-316" y="7325"/>
                    <a:pt x="294" y="9830"/>
                  </a:cubicBezTo>
                  <a:cubicBezTo>
                    <a:pt x="980" y="12253"/>
                    <a:pt x="3107" y="15753"/>
                    <a:pt x="5069" y="17481"/>
                  </a:cubicBezTo>
                  <a:cubicBezTo>
                    <a:pt x="7064" y="19091"/>
                    <a:pt x="9335" y="20836"/>
                    <a:pt x="10110" y="20507"/>
                  </a:cubicBezTo>
                  <a:cubicBezTo>
                    <a:pt x="10906" y="20737"/>
                    <a:pt x="13780" y="16530"/>
                    <a:pt x="16530" y="11915"/>
                  </a:cubicBezTo>
                  <a:cubicBezTo>
                    <a:pt x="19233" y="7207"/>
                    <a:pt x="21284" y="1997"/>
                    <a:pt x="20838" y="681"/>
                  </a:cubicBezTo>
                  <a:cubicBezTo>
                    <a:pt x="20447" y="-764"/>
                    <a:pt x="18870" y="196"/>
                    <a:pt x="17155" y="2555"/>
                  </a:cubicBezTo>
                  <a:cubicBezTo>
                    <a:pt x="15474" y="5133"/>
                    <a:pt x="13423" y="6303"/>
                    <a:pt x="12607" y="5270"/>
                  </a:cubicBezTo>
                  <a:cubicBezTo>
                    <a:pt x="11784" y="4173"/>
                    <a:pt x="10789" y="5060"/>
                    <a:pt x="10268" y="6942"/>
                  </a:cubicBezTo>
                  <a:cubicBezTo>
                    <a:pt x="9863" y="8989"/>
                    <a:pt x="8732" y="9282"/>
                    <a:pt x="7976" y="7417"/>
                  </a:cubicBezTo>
                  <a:cubicBezTo>
                    <a:pt x="7188" y="5682"/>
                    <a:pt x="5782" y="5260"/>
                    <a:pt x="4842" y="6256"/>
                  </a:cubicBezTo>
                  <a:close/>
                  <a:moveTo>
                    <a:pt x="4842" y="62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0" name="AutoShape 499"/>
            <p:cNvSpPr>
              <a:spLocks/>
            </p:cNvSpPr>
            <p:nvPr/>
          </p:nvSpPr>
          <p:spPr bwMode="auto">
            <a:xfrm>
              <a:off x="7518400" y="2311400"/>
              <a:ext cx="6350" cy="6350"/>
            </a:xfrm>
            <a:custGeom>
              <a:avLst/>
              <a:gdLst/>
              <a:ahLst/>
              <a:cxnLst/>
              <a:rect l="0" t="0" r="r" b="b"/>
              <a:pathLst>
                <a:path w="18732" h="19195">
                  <a:moveTo>
                    <a:pt x="2049" y="144"/>
                  </a:moveTo>
                  <a:cubicBezTo>
                    <a:pt x="-1515" y="846"/>
                    <a:pt x="-296" y="6634"/>
                    <a:pt x="4671" y="12818"/>
                  </a:cubicBezTo>
                  <a:cubicBezTo>
                    <a:pt x="9633" y="19083"/>
                    <a:pt x="15546" y="21045"/>
                    <a:pt x="17554" y="17297"/>
                  </a:cubicBezTo>
                  <a:cubicBezTo>
                    <a:pt x="20085" y="13856"/>
                    <a:pt x="18225" y="8005"/>
                    <a:pt x="14936" y="4561"/>
                  </a:cubicBezTo>
                  <a:cubicBezTo>
                    <a:pt x="11402" y="1342"/>
                    <a:pt x="5612" y="-555"/>
                    <a:pt x="2049" y="144"/>
                  </a:cubicBezTo>
                  <a:close/>
                  <a:moveTo>
                    <a:pt x="2049" y="1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1" name="AutoShape 500"/>
            <p:cNvSpPr>
              <a:spLocks/>
            </p:cNvSpPr>
            <p:nvPr/>
          </p:nvSpPr>
          <p:spPr bwMode="auto">
            <a:xfrm>
              <a:off x="7518400" y="2286000"/>
              <a:ext cx="3175" cy="7938"/>
            </a:xfrm>
            <a:custGeom>
              <a:avLst/>
              <a:gdLst/>
              <a:ahLst/>
              <a:cxnLst/>
              <a:rect l="0" t="0" r="r" b="b"/>
              <a:pathLst>
                <a:path w="17298" h="17136">
                  <a:moveTo>
                    <a:pt x="16453" y="15674"/>
                  </a:moveTo>
                  <a:cubicBezTo>
                    <a:pt x="19060" y="12068"/>
                    <a:pt x="15520" y="5607"/>
                    <a:pt x="7470" y="1861"/>
                  </a:cubicBezTo>
                  <a:cubicBezTo>
                    <a:pt x="302" y="-2323"/>
                    <a:pt x="-2540" y="841"/>
                    <a:pt x="2676" y="8419"/>
                  </a:cubicBezTo>
                  <a:cubicBezTo>
                    <a:pt x="7843" y="15982"/>
                    <a:pt x="13614" y="19277"/>
                    <a:pt x="16453" y="15674"/>
                  </a:cubicBezTo>
                  <a:close/>
                  <a:moveTo>
                    <a:pt x="16453" y="156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2" name="AutoShape 501"/>
            <p:cNvSpPr>
              <a:spLocks/>
            </p:cNvSpPr>
            <p:nvPr/>
          </p:nvSpPr>
          <p:spPr bwMode="auto">
            <a:xfrm>
              <a:off x="7518400" y="2298700"/>
              <a:ext cx="1588" cy="3175"/>
            </a:xfrm>
            <a:custGeom>
              <a:avLst/>
              <a:gdLst/>
              <a:ahLst/>
              <a:cxnLst/>
              <a:rect l="0" t="0" r="r" b="b"/>
              <a:pathLst>
                <a:path w="19099" h="18527">
                  <a:moveTo>
                    <a:pt x="5551" y="18408"/>
                  </a:moveTo>
                  <a:cubicBezTo>
                    <a:pt x="12816" y="17734"/>
                    <a:pt x="18294" y="11490"/>
                    <a:pt x="19048" y="4679"/>
                  </a:cubicBezTo>
                  <a:cubicBezTo>
                    <a:pt x="19703" y="-2158"/>
                    <a:pt x="13954" y="-1304"/>
                    <a:pt x="5551" y="5947"/>
                  </a:cubicBezTo>
                  <a:cubicBezTo>
                    <a:pt x="-1803" y="13665"/>
                    <a:pt x="-1897" y="19442"/>
                    <a:pt x="5551" y="18408"/>
                  </a:cubicBezTo>
                  <a:close/>
                  <a:moveTo>
                    <a:pt x="5551" y="184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3" name="AutoShape 502"/>
            <p:cNvSpPr>
              <a:spLocks/>
            </p:cNvSpPr>
            <p:nvPr/>
          </p:nvSpPr>
          <p:spPr bwMode="auto">
            <a:xfrm>
              <a:off x="7531100" y="2362200"/>
              <a:ext cx="4763" cy="3175"/>
            </a:xfrm>
            <a:custGeom>
              <a:avLst/>
              <a:gdLst/>
              <a:ahLst/>
              <a:cxnLst/>
              <a:rect l="0" t="0" r="r" b="b"/>
              <a:pathLst>
                <a:path w="18827" h="17886">
                  <a:moveTo>
                    <a:pt x="12577" y="17537"/>
                  </a:moveTo>
                  <a:cubicBezTo>
                    <a:pt x="20254" y="15691"/>
                    <a:pt x="20935" y="9361"/>
                    <a:pt x="14193" y="3620"/>
                  </a:cubicBezTo>
                  <a:cubicBezTo>
                    <a:pt x="7497" y="-2388"/>
                    <a:pt x="850" y="-688"/>
                    <a:pt x="65" y="7020"/>
                  </a:cubicBezTo>
                  <a:cubicBezTo>
                    <a:pt x="-665" y="14728"/>
                    <a:pt x="4809" y="19212"/>
                    <a:pt x="12577" y="17537"/>
                  </a:cubicBezTo>
                  <a:close/>
                  <a:moveTo>
                    <a:pt x="12577" y="175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4" name="AutoShape 503"/>
            <p:cNvSpPr>
              <a:spLocks/>
            </p:cNvSpPr>
            <p:nvPr/>
          </p:nvSpPr>
          <p:spPr bwMode="auto">
            <a:xfrm>
              <a:off x="7988300" y="1739900"/>
              <a:ext cx="15875" cy="7938"/>
            </a:xfrm>
            <a:custGeom>
              <a:avLst/>
              <a:gdLst/>
              <a:ahLst/>
              <a:cxnLst/>
              <a:rect l="0" t="0" r="r" b="b"/>
              <a:pathLst>
                <a:path w="20237" h="20065">
                  <a:moveTo>
                    <a:pt x="9659" y="568"/>
                  </a:moveTo>
                  <a:cubicBezTo>
                    <a:pt x="6669" y="-424"/>
                    <a:pt x="2738" y="-114"/>
                    <a:pt x="896" y="1480"/>
                  </a:cubicBezTo>
                  <a:cubicBezTo>
                    <a:pt x="-976" y="2796"/>
                    <a:pt x="189" y="6879"/>
                    <a:pt x="3430" y="9449"/>
                  </a:cubicBezTo>
                  <a:cubicBezTo>
                    <a:pt x="6623" y="12466"/>
                    <a:pt x="11578" y="16781"/>
                    <a:pt x="14552" y="18761"/>
                  </a:cubicBezTo>
                  <a:cubicBezTo>
                    <a:pt x="17383" y="21176"/>
                    <a:pt x="19695" y="20077"/>
                    <a:pt x="20136" y="16781"/>
                  </a:cubicBezTo>
                  <a:cubicBezTo>
                    <a:pt x="20624" y="13534"/>
                    <a:pt x="19255" y="8936"/>
                    <a:pt x="17792" y="6553"/>
                  </a:cubicBezTo>
                  <a:cubicBezTo>
                    <a:pt x="16218" y="4605"/>
                    <a:pt x="12647" y="1464"/>
                    <a:pt x="9659" y="568"/>
                  </a:cubicBezTo>
                  <a:close/>
                  <a:moveTo>
                    <a:pt x="9659" y="5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5" name="AutoShape 504"/>
            <p:cNvSpPr>
              <a:spLocks/>
            </p:cNvSpPr>
            <p:nvPr/>
          </p:nvSpPr>
          <p:spPr bwMode="auto">
            <a:xfrm>
              <a:off x="8013700" y="1739900"/>
              <a:ext cx="11113" cy="11113"/>
            </a:xfrm>
            <a:custGeom>
              <a:avLst/>
              <a:gdLst/>
              <a:ahLst/>
              <a:cxnLst/>
              <a:rect l="0" t="0" r="r" b="b"/>
              <a:pathLst>
                <a:path w="19232" h="19624">
                  <a:moveTo>
                    <a:pt x="3215" y="15218"/>
                  </a:moveTo>
                  <a:cubicBezTo>
                    <a:pt x="8200" y="19065"/>
                    <a:pt x="11844" y="20815"/>
                    <a:pt x="12181" y="18745"/>
                  </a:cubicBezTo>
                  <a:cubicBezTo>
                    <a:pt x="12181" y="16656"/>
                    <a:pt x="14464" y="13324"/>
                    <a:pt x="16873" y="11246"/>
                  </a:cubicBezTo>
                  <a:cubicBezTo>
                    <a:pt x="19220" y="9094"/>
                    <a:pt x="19953" y="5153"/>
                    <a:pt x="18446" y="2153"/>
                  </a:cubicBezTo>
                  <a:cubicBezTo>
                    <a:pt x="16746" y="-785"/>
                    <a:pt x="10758" y="-702"/>
                    <a:pt x="4952" y="2319"/>
                  </a:cubicBezTo>
                  <a:cubicBezTo>
                    <a:pt x="-935" y="5153"/>
                    <a:pt x="-1647" y="11246"/>
                    <a:pt x="3215" y="15218"/>
                  </a:cubicBezTo>
                  <a:close/>
                  <a:moveTo>
                    <a:pt x="3215" y="152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6" name="AutoShape 505"/>
            <p:cNvSpPr>
              <a:spLocks/>
            </p:cNvSpPr>
            <p:nvPr/>
          </p:nvSpPr>
          <p:spPr bwMode="auto">
            <a:xfrm>
              <a:off x="8026400" y="1714500"/>
              <a:ext cx="7938" cy="4763"/>
            </a:xfrm>
            <a:custGeom>
              <a:avLst/>
              <a:gdLst/>
              <a:ahLst/>
              <a:cxnLst/>
              <a:rect l="0" t="0" r="r" b="b"/>
              <a:pathLst>
                <a:path w="19764" h="21289">
                  <a:moveTo>
                    <a:pt x="13625" y="21272"/>
                  </a:moveTo>
                  <a:cubicBezTo>
                    <a:pt x="15702" y="21098"/>
                    <a:pt x="18442" y="19041"/>
                    <a:pt x="19422" y="16611"/>
                  </a:cubicBezTo>
                  <a:cubicBezTo>
                    <a:pt x="20430" y="14289"/>
                    <a:pt x="19163" y="9520"/>
                    <a:pt x="16277" y="6060"/>
                  </a:cubicBezTo>
                  <a:cubicBezTo>
                    <a:pt x="13279" y="2649"/>
                    <a:pt x="7569" y="0"/>
                    <a:pt x="3356" y="0"/>
                  </a:cubicBezTo>
                  <a:cubicBezTo>
                    <a:pt x="-826" y="0"/>
                    <a:pt x="-1170" y="5338"/>
                    <a:pt x="2722" y="11116"/>
                  </a:cubicBezTo>
                  <a:cubicBezTo>
                    <a:pt x="6648" y="16916"/>
                    <a:pt x="11491" y="21600"/>
                    <a:pt x="13625" y="21272"/>
                  </a:cubicBezTo>
                  <a:close/>
                  <a:moveTo>
                    <a:pt x="13625" y="212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7" name="AutoShape 506"/>
            <p:cNvSpPr>
              <a:spLocks/>
            </p:cNvSpPr>
            <p:nvPr/>
          </p:nvSpPr>
          <p:spPr bwMode="auto">
            <a:xfrm>
              <a:off x="8026400" y="1727200"/>
              <a:ext cx="15875" cy="9525"/>
            </a:xfrm>
            <a:custGeom>
              <a:avLst/>
              <a:gdLst/>
              <a:ahLst/>
              <a:cxnLst/>
              <a:rect l="0" t="0" r="r" b="b"/>
              <a:pathLst>
                <a:path w="20034" h="20276">
                  <a:moveTo>
                    <a:pt x="6105" y="16107"/>
                  </a:moveTo>
                  <a:cubicBezTo>
                    <a:pt x="6522" y="18980"/>
                    <a:pt x="9753" y="21051"/>
                    <a:pt x="12982" y="19997"/>
                  </a:cubicBezTo>
                  <a:cubicBezTo>
                    <a:pt x="16213" y="19328"/>
                    <a:pt x="19097" y="16612"/>
                    <a:pt x="19919" y="14504"/>
                  </a:cubicBezTo>
                  <a:cubicBezTo>
                    <a:pt x="20582" y="12230"/>
                    <a:pt x="18304" y="7779"/>
                    <a:pt x="15103" y="4595"/>
                  </a:cubicBezTo>
                  <a:cubicBezTo>
                    <a:pt x="11887" y="1473"/>
                    <a:pt x="6552" y="-549"/>
                    <a:pt x="3264" y="132"/>
                  </a:cubicBezTo>
                  <a:cubicBezTo>
                    <a:pt x="-67" y="826"/>
                    <a:pt x="-1018" y="3662"/>
                    <a:pt x="1203" y="6176"/>
                  </a:cubicBezTo>
                  <a:cubicBezTo>
                    <a:pt x="3337" y="8916"/>
                    <a:pt x="5342" y="13463"/>
                    <a:pt x="6105" y="16107"/>
                  </a:cubicBezTo>
                  <a:close/>
                  <a:moveTo>
                    <a:pt x="6105" y="161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8" name="AutoShape 507"/>
            <p:cNvSpPr>
              <a:spLocks/>
            </p:cNvSpPr>
            <p:nvPr/>
          </p:nvSpPr>
          <p:spPr bwMode="auto">
            <a:xfrm>
              <a:off x="8051800" y="1714500"/>
              <a:ext cx="4763" cy="3175"/>
            </a:xfrm>
            <a:custGeom>
              <a:avLst/>
              <a:gdLst/>
              <a:ahLst/>
              <a:cxnLst/>
              <a:rect l="0" t="0" r="r" b="b"/>
              <a:pathLst>
                <a:path w="18945" h="19989">
                  <a:moveTo>
                    <a:pt x="6186" y="19846"/>
                  </a:moveTo>
                  <a:cubicBezTo>
                    <a:pt x="10963" y="20672"/>
                    <a:pt x="16424" y="17863"/>
                    <a:pt x="18190" y="12283"/>
                  </a:cubicBezTo>
                  <a:cubicBezTo>
                    <a:pt x="20441" y="7248"/>
                    <a:pt x="17390" y="1704"/>
                    <a:pt x="12572" y="192"/>
                  </a:cubicBezTo>
                  <a:cubicBezTo>
                    <a:pt x="7634" y="-928"/>
                    <a:pt x="2655" y="2994"/>
                    <a:pt x="525" y="7786"/>
                  </a:cubicBezTo>
                  <a:cubicBezTo>
                    <a:pt x="-1159" y="13079"/>
                    <a:pt x="1333" y="19051"/>
                    <a:pt x="6186" y="19846"/>
                  </a:cubicBezTo>
                  <a:close/>
                  <a:moveTo>
                    <a:pt x="6186" y="198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09" name="AutoShape 508"/>
            <p:cNvSpPr>
              <a:spLocks/>
            </p:cNvSpPr>
            <p:nvPr/>
          </p:nvSpPr>
          <p:spPr bwMode="auto">
            <a:xfrm>
              <a:off x="7734300" y="1955800"/>
              <a:ext cx="6350" cy="9525"/>
            </a:xfrm>
            <a:custGeom>
              <a:avLst/>
              <a:gdLst/>
              <a:ahLst/>
              <a:cxnLst/>
              <a:rect l="0" t="0" r="r" b="b"/>
              <a:pathLst>
                <a:path w="19280" h="19413">
                  <a:moveTo>
                    <a:pt x="5870" y="2088"/>
                  </a:moveTo>
                  <a:cubicBezTo>
                    <a:pt x="426" y="5053"/>
                    <a:pt x="-1364" y="11320"/>
                    <a:pt x="1058" y="15860"/>
                  </a:cubicBezTo>
                  <a:cubicBezTo>
                    <a:pt x="3978" y="20250"/>
                    <a:pt x="9750" y="20723"/>
                    <a:pt x="13969" y="16429"/>
                  </a:cubicBezTo>
                  <a:cubicBezTo>
                    <a:pt x="18479" y="12300"/>
                    <a:pt x="20236" y="6134"/>
                    <a:pt x="18778" y="2647"/>
                  </a:cubicBezTo>
                  <a:cubicBezTo>
                    <a:pt x="16721" y="-679"/>
                    <a:pt x="11310" y="-877"/>
                    <a:pt x="5870" y="2088"/>
                  </a:cubicBezTo>
                  <a:close/>
                  <a:moveTo>
                    <a:pt x="5870" y="20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0" name="AutoShape 509"/>
            <p:cNvSpPr>
              <a:spLocks/>
            </p:cNvSpPr>
            <p:nvPr/>
          </p:nvSpPr>
          <p:spPr bwMode="auto">
            <a:xfrm>
              <a:off x="7493000" y="2184400"/>
              <a:ext cx="4763" cy="4763"/>
            </a:xfrm>
            <a:custGeom>
              <a:avLst/>
              <a:gdLst/>
              <a:ahLst/>
              <a:cxnLst/>
              <a:rect l="0" t="0" r="r" b="b"/>
              <a:pathLst>
                <a:path w="17316" h="17298">
                  <a:moveTo>
                    <a:pt x="15993" y="15837"/>
                  </a:moveTo>
                  <a:cubicBezTo>
                    <a:pt x="19408" y="12188"/>
                    <a:pt x="15993" y="5968"/>
                    <a:pt x="8252" y="1781"/>
                  </a:cubicBezTo>
                  <a:cubicBezTo>
                    <a:pt x="508" y="-2137"/>
                    <a:pt x="-2192" y="564"/>
                    <a:pt x="1898" y="8345"/>
                  </a:cubicBezTo>
                  <a:cubicBezTo>
                    <a:pt x="6026" y="16106"/>
                    <a:pt x="12424" y="19463"/>
                    <a:pt x="15993" y="15837"/>
                  </a:cubicBezTo>
                  <a:close/>
                  <a:moveTo>
                    <a:pt x="15993" y="158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1" name="AutoShape 510"/>
            <p:cNvSpPr>
              <a:spLocks/>
            </p:cNvSpPr>
            <p:nvPr/>
          </p:nvSpPr>
          <p:spPr bwMode="auto">
            <a:xfrm>
              <a:off x="7493000" y="2197100"/>
              <a:ext cx="6350" cy="3175"/>
            </a:xfrm>
            <a:custGeom>
              <a:avLst/>
              <a:gdLst/>
              <a:ahLst/>
              <a:cxnLst/>
              <a:rect l="0" t="0" r="r" b="b"/>
              <a:pathLst>
                <a:path w="18259" h="18760">
                  <a:moveTo>
                    <a:pt x="14426" y="18634"/>
                  </a:moveTo>
                  <a:cubicBezTo>
                    <a:pt x="20513" y="17041"/>
                    <a:pt x="19235" y="10520"/>
                    <a:pt x="11413" y="4200"/>
                  </a:cubicBezTo>
                  <a:cubicBezTo>
                    <a:pt x="3528" y="-1955"/>
                    <a:pt x="-1087" y="-1519"/>
                    <a:pt x="220" y="6665"/>
                  </a:cubicBezTo>
                  <a:cubicBezTo>
                    <a:pt x="1989" y="14508"/>
                    <a:pt x="8240" y="19645"/>
                    <a:pt x="14426" y="18634"/>
                  </a:cubicBezTo>
                  <a:close/>
                  <a:moveTo>
                    <a:pt x="14426" y="186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2" name="AutoShape 511"/>
            <p:cNvSpPr>
              <a:spLocks/>
            </p:cNvSpPr>
            <p:nvPr/>
          </p:nvSpPr>
          <p:spPr bwMode="auto">
            <a:xfrm>
              <a:off x="7899400" y="1752600"/>
              <a:ext cx="19050" cy="12700"/>
            </a:xfrm>
            <a:custGeom>
              <a:avLst/>
              <a:gdLst/>
              <a:ahLst/>
              <a:cxnLst/>
              <a:rect l="0" t="0" r="r" b="b"/>
              <a:pathLst>
                <a:path w="20397" h="20524">
                  <a:moveTo>
                    <a:pt x="2509" y="2543"/>
                  </a:moveTo>
                  <a:cubicBezTo>
                    <a:pt x="-839" y="5005"/>
                    <a:pt x="-839" y="9911"/>
                    <a:pt x="2522" y="13455"/>
                  </a:cubicBezTo>
                  <a:cubicBezTo>
                    <a:pt x="5844" y="17091"/>
                    <a:pt x="9954" y="20270"/>
                    <a:pt x="11570" y="20410"/>
                  </a:cubicBezTo>
                  <a:cubicBezTo>
                    <a:pt x="13158" y="20768"/>
                    <a:pt x="15088" y="20260"/>
                    <a:pt x="15534" y="19236"/>
                  </a:cubicBezTo>
                  <a:cubicBezTo>
                    <a:pt x="16047" y="18239"/>
                    <a:pt x="16086" y="15917"/>
                    <a:pt x="15705" y="13784"/>
                  </a:cubicBezTo>
                  <a:cubicBezTo>
                    <a:pt x="15088" y="11782"/>
                    <a:pt x="16218" y="9243"/>
                    <a:pt x="17925" y="8098"/>
                  </a:cubicBezTo>
                  <a:cubicBezTo>
                    <a:pt x="19645" y="7006"/>
                    <a:pt x="20761" y="5484"/>
                    <a:pt x="20287" y="4854"/>
                  </a:cubicBezTo>
                  <a:cubicBezTo>
                    <a:pt x="19999" y="4007"/>
                    <a:pt x="17846" y="3595"/>
                    <a:pt x="15850" y="3528"/>
                  </a:cubicBezTo>
                  <a:cubicBezTo>
                    <a:pt x="13853" y="3237"/>
                    <a:pt x="11412" y="2259"/>
                    <a:pt x="10361" y="822"/>
                  </a:cubicBezTo>
                  <a:cubicBezTo>
                    <a:pt x="9508" y="-832"/>
                    <a:pt x="5858" y="146"/>
                    <a:pt x="2509" y="2543"/>
                  </a:cubicBezTo>
                  <a:close/>
                  <a:moveTo>
                    <a:pt x="2509" y="25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3" name="AutoShape 512"/>
            <p:cNvSpPr>
              <a:spLocks/>
            </p:cNvSpPr>
            <p:nvPr/>
          </p:nvSpPr>
          <p:spPr bwMode="auto">
            <a:xfrm>
              <a:off x="7493000" y="2247900"/>
              <a:ext cx="6350" cy="4763"/>
            </a:xfrm>
            <a:custGeom>
              <a:avLst/>
              <a:gdLst/>
              <a:ahLst/>
              <a:cxnLst/>
              <a:rect l="0" t="0" r="r" b="b"/>
              <a:pathLst>
                <a:path w="18935" h="19198">
                  <a:moveTo>
                    <a:pt x="14779" y="15904"/>
                  </a:moveTo>
                  <a:cubicBezTo>
                    <a:pt x="18174" y="12147"/>
                    <a:pt x="19902" y="6105"/>
                    <a:pt x="18377" y="2392"/>
                  </a:cubicBezTo>
                  <a:cubicBezTo>
                    <a:pt x="16995" y="-1389"/>
                    <a:pt x="11143" y="-605"/>
                    <a:pt x="5573" y="4151"/>
                  </a:cubicBezTo>
                  <a:cubicBezTo>
                    <a:pt x="-138" y="8575"/>
                    <a:pt x="-1698" y="14905"/>
                    <a:pt x="2008" y="17619"/>
                  </a:cubicBezTo>
                  <a:cubicBezTo>
                    <a:pt x="5746" y="20211"/>
                    <a:pt x="11457" y="19592"/>
                    <a:pt x="14779" y="15904"/>
                  </a:cubicBezTo>
                  <a:close/>
                  <a:moveTo>
                    <a:pt x="14779" y="159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4" name="AutoShape 513"/>
            <p:cNvSpPr>
              <a:spLocks/>
            </p:cNvSpPr>
            <p:nvPr/>
          </p:nvSpPr>
          <p:spPr bwMode="auto">
            <a:xfrm>
              <a:off x="7937500" y="1752600"/>
              <a:ext cx="14288" cy="15875"/>
            </a:xfrm>
            <a:custGeom>
              <a:avLst/>
              <a:gdLst/>
              <a:ahLst/>
              <a:cxnLst/>
              <a:rect l="0" t="0" r="r" b="b"/>
              <a:pathLst>
                <a:path w="20508" h="20615">
                  <a:moveTo>
                    <a:pt x="16256" y="8052"/>
                  </a:moveTo>
                  <a:cubicBezTo>
                    <a:pt x="17035" y="6307"/>
                    <a:pt x="15079" y="3640"/>
                    <a:pt x="11669" y="1785"/>
                  </a:cubicBezTo>
                  <a:cubicBezTo>
                    <a:pt x="8105" y="152"/>
                    <a:pt x="3933" y="-476"/>
                    <a:pt x="2048" y="388"/>
                  </a:cubicBezTo>
                  <a:cubicBezTo>
                    <a:pt x="248" y="1438"/>
                    <a:pt x="-584" y="4704"/>
                    <a:pt x="454" y="7778"/>
                  </a:cubicBezTo>
                  <a:cubicBezTo>
                    <a:pt x="1476" y="10851"/>
                    <a:pt x="4107" y="14014"/>
                    <a:pt x="6565" y="14747"/>
                  </a:cubicBezTo>
                  <a:cubicBezTo>
                    <a:pt x="8953" y="15463"/>
                    <a:pt x="12743" y="17318"/>
                    <a:pt x="14612" y="19202"/>
                  </a:cubicBezTo>
                  <a:cubicBezTo>
                    <a:pt x="16760" y="20858"/>
                    <a:pt x="19181" y="21124"/>
                    <a:pt x="20203" y="19653"/>
                  </a:cubicBezTo>
                  <a:cubicBezTo>
                    <a:pt x="21016" y="18108"/>
                    <a:pt x="20151" y="15855"/>
                    <a:pt x="18264" y="14060"/>
                  </a:cubicBezTo>
                  <a:cubicBezTo>
                    <a:pt x="16274" y="12366"/>
                    <a:pt x="15236" y="9729"/>
                    <a:pt x="16256" y="8052"/>
                  </a:cubicBezTo>
                  <a:close/>
                  <a:moveTo>
                    <a:pt x="16256" y="805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5" name="AutoShape 514"/>
            <p:cNvSpPr>
              <a:spLocks/>
            </p:cNvSpPr>
            <p:nvPr/>
          </p:nvSpPr>
          <p:spPr bwMode="auto">
            <a:xfrm>
              <a:off x="7874000" y="1765300"/>
              <a:ext cx="25400" cy="12700"/>
            </a:xfrm>
            <a:custGeom>
              <a:avLst/>
              <a:gdLst/>
              <a:ahLst/>
              <a:cxnLst/>
              <a:rect l="0" t="0" r="r" b="b"/>
              <a:pathLst>
                <a:path w="20488" h="20405">
                  <a:moveTo>
                    <a:pt x="15261" y="896"/>
                  </a:moveTo>
                  <a:cubicBezTo>
                    <a:pt x="14365" y="2588"/>
                    <a:pt x="11936" y="3555"/>
                    <a:pt x="9822" y="3330"/>
                  </a:cubicBezTo>
                  <a:cubicBezTo>
                    <a:pt x="7707" y="3036"/>
                    <a:pt x="6025" y="4171"/>
                    <a:pt x="6152" y="6027"/>
                  </a:cubicBezTo>
                  <a:cubicBezTo>
                    <a:pt x="6004" y="7864"/>
                    <a:pt x="4352" y="9233"/>
                    <a:pt x="2002" y="8793"/>
                  </a:cubicBezTo>
                  <a:cubicBezTo>
                    <a:pt x="-370" y="8451"/>
                    <a:pt x="-723" y="11315"/>
                    <a:pt x="1422" y="14726"/>
                  </a:cubicBezTo>
                  <a:cubicBezTo>
                    <a:pt x="3418" y="18469"/>
                    <a:pt x="6476" y="20845"/>
                    <a:pt x="8090" y="20337"/>
                  </a:cubicBezTo>
                  <a:cubicBezTo>
                    <a:pt x="9684" y="19936"/>
                    <a:pt x="12722" y="19946"/>
                    <a:pt x="14867" y="20092"/>
                  </a:cubicBezTo>
                  <a:cubicBezTo>
                    <a:pt x="16972" y="20463"/>
                    <a:pt x="18487" y="19320"/>
                    <a:pt x="18329" y="17492"/>
                  </a:cubicBezTo>
                  <a:cubicBezTo>
                    <a:pt x="18064" y="15733"/>
                    <a:pt x="18713" y="12478"/>
                    <a:pt x="19844" y="10847"/>
                  </a:cubicBezTo>
                  <a:cubicBezTo>
                    <a:pt x="20877" y="8931"/>
                    <a:pt x="20650" y="5236"/>
                    <a:pt x="19293" y="2606"/>
                  </a:cubicBezTo>
                  <a:cubicBezTo>
                    <a:pt x="17975" y="-90"/>
                    <a:pt x="16165" y="-755"/>
                    <a:pt x="15261" y="896"/>
                  </a:cubicBezTo>
                  <a:close/>
                  <a:moveTo>
                    <a:pt x="15261" y="8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6" name="AutoShape 515"/>
            <p:cNvSpPr>
              <a:spLocks/>
            </p:cNvSpPr>
            <p:nvPr/>
          </p:nvSpPr>
          <p:spPr bwMode="auto">
            <a:xfrm>
              <a:off x="7912100" y="1765300"/>
              <a:ext cx="3175" cy="3175"/>
            </a:xfrm>
            <a:custGeom>
              <a:avLst/>
              <a:gdLst/>
              <a:ahLst/>
              <a:cxnLst/>
              <a:rect l="0" t="0" r="r" b="b"/>
              <a:pathLst>
                <a:path w="18804" h="18173">
                  <a:moveTo>
                    <a:pt x="139" y="6816"/>
                  </a:moveTo>
                  <a:cubicBezTo>
                    <a:pt x="-881" y="14683"/>
                    <a:pt x="3792" y="19254"/>
                    <a:pt x="12050" y="17954"/>
                  </a:cubicBezTo>
                  <a:cubicBezTo>
                    <a:pt x="20249" y="16126"/>
                    <a:pt x="20719" y="10402"/>
                    <a:pt x="14895" y="3811"/>
                  </a:cubicBezTo>
                  <a:cubicBezTo>
                    <a:pt x="8397" y="-2346"/>
                    <a:pt x="2230" y="-828"/>
                    <a:pt x="139" y="6816"/>
                  </a:cubicBezTo>
                  <a:close/>
                  <a:moveTo>
                    <a:pt x="139" y="68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7" name="AutoShape 516"/>
            <p:cNvSpPr>
              <a:spLocks/>
            </p:cNvSpPr>
            <p:nvPr/>
          </p:nvSpPr>
          <p:spPr bwMode="auto">
            <a:xfrm>
              <a:off x="7493000" y="2286000"/>
              <a:ext cx="4763" cy="4763"/>
            </a:xfrm>
            <a:custGeom>
              <a:avLst/>
              <a:gdLst/>
              <a:ahLst/>
              <a:cxnLst/>
              <a:rect l="0" t="0" r="r" b="b"/>
              <a:pathLst>
                <a:path w="17982" h="18021">
                  <a:moveTo>
                    <a:pt x="7181" y="325"/>
                  </a:moveTo>
                  <a:cubicBezTo>
                    <a:pt x="-652" y="2037"/>
                    <a:pt x="-2396" y="8399"/>
                    <a:pt x="3535" y="14279"/>
                  </a:cubicBezTo>
                  <a:cubicBezTo>
                    <a:pt x="9256" y="20294"/>
                    <a:pt x="16097" y="18925"/>
                    <a:pt x="17673" y="11132"/>
                  </a:cubicBezTo>
                  <a:cubicBezTo>
                    <a:pt x="19204" y="3340"/>
                    <a:pt x="14939" y="-1306"/>
                    <a:pt x="7181" y="325"/>
                  </a:cubicBezTo>
                  <a:close/>
                  <a:moveTo>
                    <a:pt x="7181" y="3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8" name="AutoShape 517"/>
            <p:cNvSpPr>
              <a:spLocks/>
            </p:cNvSpPr>
            <p:nvPr/>
          </p:nvSpPr>
          <p:spPr bwMode="auto">
            <a:xfrm>
              <a:off x="7899400" y="1739900"/>
              <a:ext cx="3175" cy="1588"/>
            </a:xfrm>
            <a:custGeom>
              <a:avLst/>
              <a:gdLst/>
              <a:ahLst/>
              <a:cxnLst/>
              <a:rect l="0" t="0" r="r" b="b"/>
              <a:pathLst>
                <a:path w="17420" h="18539">
                  <a:moveTo>
                    <a:pt x="15099" y="12041"/>
                  </a:moveTo>
                  <a:cubicBezTo>
                    <a:pt x="19687" y="4022"/>
                    <a:pt x="17290" y="-914"/>
                    <a:pt x="9516" y="142"/>
                  </a:cubicBezTo>
                  <a:cubicBezTo>
                    <a:pt x="1690" y="974"/>
                    <a:pt x="-1913" y="7545"/>
                    <a:pt x="1009" y="14405"/>
                  </a:cubicBezTo>
                  <a:cubicBezTo>
                    <a:pt x="4296" y="20686"/>
                    <a:pt x="10348" y="19742"/>
                    <a:pt x="15099" y="12041"/>
                  </a:cubicBezTo>
                  <a:close/>
                  <a:moveTo>
                    <a:pt x="15099" y="120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19" name="AutoShape 518"/>
            <p:cNvSpPr>
              <a:spLocks/>
            </p:cNvSpPr>
            <p:nvPr/>
          </p:nvSpPr>
          <p:spPr bwMode="auto">
            <a:xfrm>
              <a:off x="7886700" y="1752600"/>
              <a:ext cx="9525" cy="4763"/>
            </a:xfrm>
            <a:custGeom>
              <a:avLst/>
              <a:gdLst/>
              <a:ahLst/>
              <a:cxnLst/>
              <a:rect l="0" t="0" r="r" b="b"/>
              <a:pathLst>
                <a:path w="21223" h="18941">
                  <a:moveTo>
                    <a:pt x="10756" y="17339"/>
                  </a:moveTo>
                  <a:cubicBezTo>
                    <a:pt x="16174" y="13532"/>
                    <a:pt x="20823" y="8598"/>
                    <a:pt x="21223" y="5147"/>
                  </a:cubicBezTo>
                  <a:cubicBezTo>
                    <a:pt x="21223" y="1674"/>
                    <a:pt x="16496" y="-793"/>
                    <a:pt x="10464" y="235"/>
                  </a:cubicBezTo>
                  <a:cubicBezTo>
                    <a:pt x="4460" y="817"/>
                    <a:pt x="-377" y="6487"/>
                    <a:pt x="23" y="12422"/>
                  </a:cubicBezTo>
                  <a:cubicBezTo>
                    <a:pt x="420" y="18405"/>
                    <a:pt x="5175" y="20807"/>
                    <a:pt x="10756" y="17339"/>
                  </a:cubicBezTo>
                  <a:close/>
                  <a:moveTo>
                    <a:pt x="10756" y="173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0" name="AutoShape 519"/>
            <p:cNvSpPr>
              <a:spLocks/>
            </p:cNvSpPr>
            <p:nvPr/>
          </p:nvSpPr>
          <p:spPr bwMode="auto">
            <a:xfrm>
              <a:off x="7505700" y="2298700"/>
              <a:ext cx="4763" cy="3175"/>
            </a:xfrm>
            <a:custGeom>
              <a:avLst/>
              <a:gdLst/>
              <a:ahLst/>
              <a:cxnLst/>
              <a:rect l="0" t="0" r="r" b="b"/>
              <a:pathLst>
                <a:path w="18611" h="18064">
                  <a:moveTo>
                    <a:pt x="4606" y="17773"/>
                  </a:moveTo>
                  <a:cubicBezTo>
                    <a:pt x="11362" y="19317"/>
                    <a:pt x="17817" y="14584"/>
                    <a:pt x="18505" y="6828"/>
                  </a:cubicBezTo>
                  <a:cubicBezTo>
                    <a:pt x="19452" y="-877"/>
                    <a:pt x="13944" y="-2283"/>
                    <a:pt x="6284" y="3745"/>
                  </a:cubicBezTo>
                  <a:cubicBezTo>
                    <a:pt x="-1379" y="9774"/>
                    <a:pt x="-2148" y="16611"/>
                    <a:pt x="4606" y="17773"/>
                  </a:cubicBezTo>
                  <a:close/>
                  <a:moveTo>
                    <a:pt x="4606" y="177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1" name="AutoShape 520"/>
            <p:cNvSpPr>
              <a:spLocks/>
            </p:cNvSpPr>
            <p:nvPr/>
          </p:nvSpPr>
          <p:spPr bwMode="auto">
            <a:xfrm>
              <a:off x="7493000" y="2273300"/>
              <a:ext cx="3175" cy="1588"/>
            </a:xfrm>
            <a:custGeom>
              <a:avLst/>
              <a:gdLst/>
              <a:ahLst/>
              <a:cxnLst/>
              <a:rect l="0" t="0" r="r" b="b"/>
              <a:pathLst>
                <a:path w="17322" h="18150">
                  <a:moveTo>
                    <a:pt x="1748" y="11815"/>
                  </a:moveTo>
                  <a:cubicBezTo>
                    <a:pt x="5886" y="19225"/>
                    <a:pt x="12100" y="20354"/>
                    <a:pt x="15869" y="14036"/>
                  </a:cubicBezTo>
                  <a:cubicBezTo>
                    <a:pt x="19476" y="7525"/>
                    <a:pt x="16135" y="2289"/>
                    <a:pt x="8437" y="261"/>
                  </a:cubicBezTo>
                  <a:cubicBezTo>
                    <a:pt x="580" y="-1246"/>
                    <a:pt x="-2124" y="3941"/>
                    <a:pt x="1748" y="11815"/>
                  </a:cubicBezTo>
                  <a:close/>
                  <a:moveTo>
                    <a:pt x="1748" y="1181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2" name="AutoShape 521"/>
            <p:cNvSpPr>
              <a:spLocks/>
            </p:cNvSpPr>
            <p:nvPr/>
          </p:nvSpPr>
          <p:spPr bwMode="auto">
            <a:xfrm>
              <a:off x="7835900" y="1778000"/>
              <a:ext cx="33338" cy="30163"/>
            </a:xfrm>
            <a:custGeom>
              <a:avLst/>
              <a:gdLst/>
              <a:ahLst/>
              <a:cxnLst/>
              <a:rect l="0" t="0" r="r" b="b"/>
              <a:pathLst>
                <a:path w="20887" h="21218">
                  <a:moveTo>
                    <a:pt x="20298" y="11033"/>
                  </a:moveTo>
                  <a:cubicBezTo>
                    <a:pt x="20511" y="10477"/>
                    <a:pt x="20070" y="8977"/>
                    <a:pt x="19606" y="7666"/>
                  </a:cubicBezTo>
                  <a:cubicBezTo>
                    <a:pt x="19028" y="6415"/>
                    <a:pt x="17796" y="5092"/>
                    <a:pt x="16822" y="4721"/>
                  </a:cubicBezTo>
                  <a:cubicBezTo>
                    <a:pt x="15849" y="4379"/>
                    <a:pt x="14860" y="3313"/>
                    <a:pt x="14419" y="2491"/>
                  </a:cubicBezTo>
                  <a:cubicBezTo>
                    <a:pt x="14061" y="1603"/>
                    <a:pt x="12000" y="663"/>
                    <a:pt x="9916" y="119"/>
                  </a:cubicBezTo>
                  <a:cubicBezTo>
                    <a:pt x="7778" y="-277"/>
                    <a:pt x="6387" y="343"/>
                    <a:pt x="6927" y="1505"/>
                  </a:cubicBezTo>
                  <a:cubicBezTo>
                    <a:pt x="7414" y="2681"/>
                    <a:pt x="6881" y="2997"/>
                    <a:pt x="5733" y="2302"/>
                  </a:cubicBezTo>
                  <a:cubicBezTo>
                    <a:pt x="4577" y="1598"/>
                    <a:pt x="3078" y="1805"/>
                    <a:pt x="2402" y="2888"/>
                  </a:cubicBezTo>
                  <a:cubicBezTo>
                    <a:pt x="1732" y="3975"/>
                    <a:pt x="2569" y="5462"/>
                    <a:pt x="4272" y="6343"/>
                  </a:cubicBezTo>
                  <a:cubicBezTo>
                    <a:pt x="5992" y="7140"/>
                    <a:pt x="5938" y="7746"/>
                    <a:pt x="4174" y="7657"/>
                  </a:cubicBezTo>
                  <a:cubicBezTo>
                    <a:pt x="2402" y="7502"/>
                    <a:pt x="515" y="8387"/>
                    <a:pt x="151" y="9609"/>
                  </a:cubicBezTo>
                  <a:cubicBezTo>
                    <a:pt x="-374" y="10746"/>
                    <a:pt x="531" y="11884"/>
                    <a:pt x="1900" y="12268"/>
                  </a:cubicBezTo>
                  <a:cubicBezTo>
                    <a:pt x="3306" y="12491"/>
                    <a:pt x="3694" y="13662"/>
                    <a:pt x="2668" y="14640"/>
                  </a:cubicBezTo>
                  <a:cubicBezTo>
                    <a:pt x="1694" y="15681"/>
                    <a:pt x="1846" y="16747"/>
                    <a:pt x="3033" y="16974"/>
                  </a:cubicBezTo>
                  <a:cubicBezTo>
                    <a:pt x="4181" y="17294"/>
                    <a:pt x="5261" y="18268"/>
                    <a:pt x="5497" y="19271"/>
                  </a:cubicBezTo>
                  <a:cubicBezTo>
                    <a:pt x="5611" y="20291"/>
                    <a:pt x="6350" y="21180"/>
                    <a:pt x="6988" y="21209"/>
                  </a:cubicBezTo>
                  <a:cubicBezTo>
                    <a:pt x="7588" y="21323"/>
                    <a:pt x="8311" y="20248"/>
                    <a:pt x="8433" y="18942"/>
                  </a:cubicBezTo>
                  <a:cubicBezTo>
                    <a:pt x="8653" y="17653"/>
                    <a:pt x="10083" y="16815"/>
                    <a:pt x="11704" y="17135"/>
                  </a:cubicBezTo>
                  <a:cubicBezTo>
                    <a:pt x="13331" y="17433"/>
                    <a:pt x="15019" y="17240"/>
                    <a:pt x="15484" y="16696"/>
                  </a:cubicBezTo>
                  <a:cubicBezTo>
                    <a:pt x="15902" y="16140"/>
                    <a:pt x="17469" y="15656"/>
                    <a:pt x="18913" y="15562"/>
                  </a:cubicBezTo>
                  <a:cubicBezTo>
                    <a:pt x="20351" y="15533"/>
                    <a:pt x="21226" y="14636"/>
                    <a:pt x="20762" y="13747"/>
                  </a:cubicBezTo>
                  <a:cubicBezTo>
                    <a:pt x="20397" y="12798"/>
                    <a:pt x="20184" y="11627"/>
                    <a:pt x="20298" y="11033"/>
                  </a:cubicBezTo>
                  <a:close/>
                  <a:moveTo>
                    <a:pt x="20298" y="1103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3" name="AutoShape 522"/>
            <p:cNvSpPr>
              <a:spLocks/>
            </p:cNvSpPr>
            <p:nvPr/>
          </p:nvSpPr>
          <p:spPr bwMode="auto">
            <a:xfrm>
              <a:off x="7493000" y="2260600"/>
              <a:ext cx="4763" cy="4763"/>
            </a:xfrm>
            <a:custGeom>
              <a:avLst/>
              <a:gdLst/>
              <a:ahLst/>
              <a:cxnLst/>
              <a:rect l="0" t="0" r="r" b="b"/>
              <a:pathLst>
                <a:path w="19103" h="17161">
                  <a:moveTo>
                    <a:pt x="6411" y="15445"/>
                  </a:moveTo>
                  <a:cubicBezTo>
                    <a:pt x="13854" y="19525"/>
                    <a:pt x="19478" y="16005"/>
                    <a:pt x="19084" y="8345"/>
                  </a:cubicBezTo>
                  <a:cubicBezTo>
                    <a:pt x="17506" y="805"/>
                    <a:pt x="11980" y="-2075"/>
                    <a:pt x="4784" y="1572"/>
                  </a:cubicBezTo>
                  <a:cubicBezTo>
                    <a:pt x="-2122" y="5568"/>
                    <a:pt x="-1527" y="11823"/>
                    <a:pt x="6411" y="15445"/>
                  </a:cubicBezTo>
                  <a:close/>
                  <a:moveTo>
                    <a:pt x="6411" y="154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4" name="AutoShape 523"/>
            <p:cNvSpPr>
              <a:spLocks/>
            </p:cNvSpPr>
            <p:nvPr/>
          </p:nvSpPr>
          <p:spPr bwMode="auto">
            <a:xfrm>
              <a:off x="7912100" y="1739900"/>
              <a:ext cx="15875" cy="15875"/>
            </a:xfrm>
            <a:custGeom>
              <a:avLst/>
              <a:gdLst/>
              <a:ahLst/>
              <a:cxnLst/>
              <a:rect l="0" t="0" r="r" b="b"/>
              <a:pathLst>
                <a:path w="20760" h="20807">
                  <a:moveTo>
                    <a:pt x="4684" y="13853"/>
                  </a:moveTo>
                  <a:cubicBezTo>
                    <a:pt x="5161" y="15592"/>
                    <a:pt x="8226" y="18176"/>
                    <a:pt x="11642" y="19331"/>
                  </a:cubicBezTo>
                  <a:cubicBezTo>
                    <a:pt x="14961" y="20577"/>
                    <a:pt x="18628" y="21092"/>
                    <a:pt x="19851" y="20652"/>
                  </a:cubicBezTo>
                  <a:cubicBezTo>
                    <a:pt x="20821" y="19822"/>
                    <a:pt x="21138" y="18683"/>
                    <a:pt x="20185" y="17415"/>
                  </a:cubicBezTo>
                  <a:cubicBezTo>
                    <a:pt x="19265" y="16137"/>
                    <a:pt x="16088" y="13600"/>
                    <a:pt x="13069" y="12030"/>
                  </a:cubicBezTo>
                  <a:cubicBezTo>
                    <a:pt x="10275" y="10176"/>
                    <a:pt x="6970" y="6668"/>
                    <a:pt x="5796" y="4007"/>
                  </a:cubicBezTo>
                  <a:cubicBezTo>
                    <a:pt x="4652" y="1376"/>
                    <a:pt x="2603" y="-508"/>
                    <a:pt x="1174" y="122"/>
                  </a:cubicBezTo>
                  <a:cubicBezTo>
                    <a:pt x="-319" y="661"/>
                    <a:pt x="-462" y="3330"/>
                    <a:pt x="1174" y="5899"/>
                  </a:cubicBezTo>
                  <a:cubicBezTo>
                    <a:pt x="2588" y="8554"/>
                    <a:pt x="4414" y="12076"/>
                    <a:pt x="4684" y="13853"/>
                  </a:cubicBezTo>
                  <a:close/>
                  <a:moveTo>
                    <a:pt x="4684" y="138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5" name="AutoShape 524"/>
            <p:cNvSpPr>
              <a:spLocks/>
            </p:cNvSpPr>
            <p:nvPr/>
          </p:nvSpPr>
          <p:spPr bwMode="auto">
            <a:xfrm>
              <a:off x="7772400" y="1841500"/>
              <a:ext cx="17463" cy="7938"/>
            </a:xfrm>
            <a:custGeom>
              <a:avLst/>
              <a:gdLst/>
              <a:ahLst/>
              <a:cxnLst/>
              <a:rect l="0" t="0" r="r" b="b"/>
              <a:pathLst>
                <a:path w="21035" h="18450">
                  <a:moveTo>
                    <a:pt x="10283" y="1825"/>
                  </a:moveTo>
                  <a:cubicBezTo>
                    <a:pt x="4761" y="5780"/>
                    <a:pt x="12" y="11774"/>
                    <a:pt x="12" y="15278"/>
                  </a:cubicBezTo>
                  <a:cubicBezTo>
                    <a:pt x="-194" y="18743"/>
                    <a:pt x="2380" y="19441"/>
                    <a:pt x="5629" y="17016"/>
                  </a:cubicBezTo>
                  <a:cubicBezTo>
                    <a:pt x="8822" y="14375"/>
                    <a:pt x="13820" y="14224"/>
                    <a:pt x="16588" y="16688"/>
                  </a:cubicBezTo>
                  <a:cubicBezTo>
                    <a:pt x="19382" y="19029"/>
                    <a:pt x="21406" y="15020"/>
                    <a:pt x="20978" y="7832"/>
                  </a:cubicBezTo>
                  <a:cubicBezTo>
                    <a:pt x="20786" y="619"/>
                    <a:pt x="15761" y="-2159"/>
                    <a:pt x="10283" y="1825"/>
                  </a:cubicBezTo>
                  <a:close/>
                  <a:moveTo>
                    <a:pt x="10283" y="18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6" name="AutoShape 525"/>
            <p:cNvSpPr>
              <a:spLocks/>
            </p:cNvSpPr>
            <p:nvPr/>
          </p:nvSpPr>
          <p:spPr bwMode="auto">
            <a:xfrm>
              <a:off x="7785100" y="1828800"/>
              <a:ext cx="6350" cy="3175"/>
            </a:xfrm>
            <a:custGeom>
              <a:avLst/>
              <a:gdLst/>
              <a:ahLst/>
              <a:cxnLst/>
              <a:rect l="0" t="0" r="r" b="b"/>
              <a:pathLst>
                <a:path w="17630" h="19112">
                  <a:moveTo>
                    <a:pt x="10164" y="19083"/>
                  </a:moveTo>
                  <a:cubicBezTo>
                    <a:pt x="17937" y="18836"/>
                    <a:pt x="19895" y="13503"/>
                    <a:pt x="14832" y="5370"/>
                  </a:cubicBezTo>
                  <a:cubicBezTo>
                    <a:pt x="9440" y="-1550"/>
                    <a:pt x="3416" y="-2002"/>
                    <a:pt x="673" y="5299"/>
                  </a:cubicBezTo>
                  <a:cubicBezTo>
                    <a:pt x="-1705" y="13158"/>
                    <a:pt x="2392" y="19598"/>
                    <a:pt x="10164" y="19083"/>
                  </a:cubicBezTo>
                  <a:close/>
                  <a:moveTo>
                    <a:pt x="10164" y="190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7" name="AutoShape 526"/>
            <p:cNvSpPr>
              <a:spLocks/>
            </p:cNvSpPr>
            <p:nvPr/>
          </p:nvSpPr>
          <p:spPr bwMode="auto">
            <a:xfrm>
              <a:off x="7785100" y="1905000"/>
              <a:ext cx="4763" cy="3175"/>
            </a:xfrm>
            <a:custGeom>
              <a:avLst/>
              <a:gdLst/>
              <a:ahLst/>
              <a:cxnLst/>
              <a:rect l="0" t="0" r="r" b="b"/>
              <a:pathLst>
                <a:path w="19000" h="18954">
                  <a:moveTo>
                    <a:pt x="1005" y="4069"/>
                  </a:moveTo>
                  <a:cubicBezTo>
                    <a:pt x="-1311" y="7347"/>
                    <a:pt x="557" y="12855"/>
                    <a:pt x="4744" y="16882"/>
                  </a:cubicBezTo>
                  <a:cubicBezTo>
                    <a:pt x="9287" y="20755"/>
                    <a:pt x="15125" y="19006"/>
                    <a:pt x="17839" y="13228"/>
                  </a:cubicBezTo>
                  <a:cubicBezTo>
                    <a:pt x="20289" y="7320"/>
                    <a:pt x="18775" y="2027"/>
                    <a:pt x="14100" y="415"/>
                  </a:cubicBezTo>
                  <a:cubicBezTo>
                    <a:pt x="9334" y="-845"/>
                    <a:pt x="3500" y="872"/>
                    <a:pt x="1005" y="4069"/>
                  </a:cubicBezTo>
                  <a:close/>
                  <a:moveTo>
                    <a:pt x="1005" y="40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8" name="AutoShape 527"/>
            <p:cNvSpPr>
              <a:spLocks/>
            </p:cNvSpPr>
            <p:nvPr/>
          </p:nvSpPr>
          <p:spPr bwMode="auto">
            <a:xfrm>
              <a:off x="7747000" y="1841500"/>
              <a:ext cx="12700" cy="7938"/>
            </a:xfrm>
            <a:custGeom>
              <a:avLst/>
              <a:gdLst/>
              <a:ahLst/>
              <a:cxnLst/>
              <a:rect l="0" t="0" r="r" b="b"/>
              <a:pathLst>
                <a:path w="21057" h="19087">
                  <a:moveTo>
                    <a:pt x="11033" y="265"/>
                  </a:moveTo>
                  <a:cubicBezTo>
                    <a:pt x="5400" y="857"/>
                    <a:pt x="299" y="6815"/>
                    <a:pt x="13" y="13068"/>
                  </a:cubicBezTo>
                  <a:cubicBezTo>
                    <a:pt x="-270" y="19338"/>
                    <a:pt x="3997" y="20870"/>
                    <a:pt x="10008" y="16903"/>
                  </a:cubicBezTo>
                  <a:cubicBezTo>
                    <a:pt x="15906" y="12611"/>
                    <a:pt x="20761" y="6989"/>
                    <a:pt x="21044" y="4099"/>
                  </a:cubicBezTo>
                  <a:cubicBezTo>
                    <a:pt x="21330" y="1193"/>
                    <a:pt x="16664" y="-730"/>
                    <a:pt x="11033" y="265"/>
                  </a:cubicBezTo>
                  <a:close/>
                  <a:moveTo>
                    <a:pt x="11033" y="26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29" name="AutoShape 528"/>
            <p:cNvSpPr>
              <a:spLocks/>
            </p:cNvSpPr>
            <p:nvPr/>
          </p:nvSpPr>
          <p:spPr bwMode="auto">
            <a:xfrm>
              <a:off x="7747000" y="1854200"/>
              <a:ext cx="4763" cy="3175"/>
            </a:xfrm>
            <a:custGeom>
              <a:avLst/>
              <a:gdLst/>
              <a:ahLst/>
              <a:cxnLst/>
              <a:rect l="0" t="0" r="r" b="b"/>
              <a:pathLst>
                <a:path w="19100" h="19145">
                  <a:moveTo>
                    <a:pt x="17090" y="14485"/>
                  </a:moveTo>
                  <a:cubicBezTo>
                    <a:pt x="20203" y="9065"/>
                    <a:pt x="19714" y="3386"/>
                    <a:pt x="15530" y="1215"/>
                  </a:cubicBezTo>
                  <a:cubicBezTo>
                    <a:pt x="11344" y="-779"/>
                    <a:pt x="5024" y="-423"/>
                    <a:pt x="2199" y="3060"/>
                  </a:cubicBezTo>
                  <a:cubicBezTo>
                    <a:pt x="-1397" y="5654"/>
                    <a:pt x="-376" y="12269"/>
                    <a:pt x="3759" y="16382"/>
                  </a:cubicBezTo>
                  <a:cubicBezTo>
                    <a:pt x="7650" y="20821"/>
                    <a:pt x="13776" y="19710"/>
                    <a:pt x="17090" y="14485"/>
                  </a:cubicBezTo>
                  <a:close/>
                  <a:moveTo>
                    <a:pt x="17090" y="144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0" name="AutoShape 529"/>
            <p:cNvSpPr>
              <a:spLocks/>
            </p:cNvSpPr>
            <p:nvPr/>
          </p:nvSpPr>
          <p:spPr bwMode="auto">
            <a:xfrm>
              <a:off x="7848600" y="1816100"/>
              <a:ext cx="3175" cy="3175"/>
            </a:xfrm>
            <a:custGeom>
              <a:avLst/>
              <a:gdLst/>
              <a:ahLst/>
              <a:cxnLst/>
              <a:rect l="0" t="0" r="r" b="b"/>
              <a:pathLst>
                <a:path w="17602" h="17826">
                  <a:moveTo>
                    <a:pt x="482" y="6799"/>
                  </a:moveTo>
                  <a:cubicBezTo>
                    <a:pt x="-1624" y="14206"/>
                    <a:pt x="3420" y="19192"/>
                    <a:pt x="10870" y="17493"/>
                  </a:cubicBezTo>
                  <a:cubicBezTo>
                    <a:pt x="18164" y="15440"/>
                    <a:pt x="19976" y="9591"/>
                    <a:pt x="14096" y="3837"/>
                  </a:cubicBezTo>
                  <a:cubicBezTo>
                    <a:pt x="8813" y="-2408"/>
                    <a:pt x="1905" y="-755"/>
                    <a:pt x="482" y="6799"/>
                  </a:cubicBezTo>
                  <a:close/>
                  <a:moveTo>
                    <a:pt x="482" y="67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1" name="AutoShape 530"/>
            <p:cNvSpPr>
              <a:spLocks/>
            </p:cNvSpPr>
            <p:nvPr/>
          </p:nvSpPr>
          <p:spPr bwMode="auto">
            <a:xfrm>
              <a:off x="7747000" y="1968500"/>
              <a:ext cx="7938" cy="4763"/>
            </a:xfrm>
            <a:custGeom>
              <a:avLst/>
              <a:gdLst/>
              <a:ahLst/>
              <a:cxnLst/>
              <a:rect l="0" t="0" r="r" b="b"/>
              <a:pathLst>
                <a:path w="19117" h="19179">
                  <a:moveTo>
                    <a:pt x="2479" y="3248"/>
                  </a:moveTo>
                  <a:cubicBezTo>
                    <a:pt x="199" y="6249"/>
                    <a:pt x="-740" y="12279"/>
                    <a:pt x="655" y="16462"/>
                  </a:cubicBezTo>
                  <a:cubicBezTo>
                    <a:pt x="2051" y="20691"/>
                    <a:pt x="8093" y="20101"/>
                    <a:pt x="13963" y="13862"/>
                  </a:cubicBezTo>
                  <a:cubicBezTo>
                    <a:pt x="20060" y="8238"/>
                    <a:pt x="20860" y="1714"/>
                    <a:pt x="15759" y="674"/>
                  </a:cubicBezTo>
                  <a:cubicBezTo>
                    <a:pt x="10713" y="-909"/>
                    <a:pt x="4757" y="437"/>
                    <a:pt x="2479" y="3248"/>
                  </a:cubicBezTo>
                  <a:close/>
                  <a:moveTo>
                    <a:pt x="2479" y="32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2" name="AutoShape 531"/>
            <p:cNvSpPr>
              <a:spLocks/>
            </p:cNvSpPr>
            <p:nvPr/>
          </p:nvSpPr>
          <p:spPr bwMode="auto">
            <a:xfrm>
              <a:off x="7772400" y="1803400"/>
              <a:ext cx="23813" cy="17463"/>
            </a:xfrm>
            <a:custGeom>
              <a:avLst/>
              <a:gdLst/>
              <a:ahLst/>
              <a:cxnLst/>
              <a:rect l="0" t="0" r="r" b="b"/>
              <a:pathLst>
                <a:path w="21057" h="21311">
                  <a:moveTo>
                    <a:pt x="14627" y="0"/>
                  </a:moveTo>
                  <a:cubicBezTo>
                    <a:pt x="13327" y="128"/>
                    <a:pt x="12584" y="856"/>
                    <a:pt x="13086" y="1727"/>
                  </a:cubicBezTo>
                  <a:cubicBezTo>
                    <a:pt x="13567" y="2611"/>
                    <a:pt x="12606" y="4677"/>
                    <a:pt x="11086" y="6368"/>
                  </a:cubicBezTo>
                  <a:cubicBezTo>
                    <a:pt x="9512" y="7995"/>
                    <a:pt x="6638" y="8908"/>
                    <a:pt x="4713" y="8228"/>
                  </a:cubicBezTo>
                  <a:cubicBezTo>
                    <a:pt x="2757" y="7720"/>
                    <a:pt x="888" y="8618"/>
                    <a:pt x="209" y="10323"/>
                  </a:cubicBezTo>
                  <a:cubicBezTo>
                    <a:pt x="-271" y="12134"/>
                    <a:pt x="122" y="14483"/>
                    <a:pt x="920" y="15926"/>
                  </a:cubicBezTo>
                  <a:cubicBezTo>
                    <a:pt x="1904" y="17149"/>
                    <a:pt x="4604" y="17149"/>
                    <a:pt x="6900" y="15445"/>
                  </a:cubicBezTo>
                  <a:cubicBezTo>
                    <a:pt x="9216" y="13733"/>
                    <a:pt x="12342" y="12792"/>
                    <a:pt x="13742" y="13046"/>
                  </a:cubicBezTo>
                  <a:cubicBezTo>
                    <a:pt x="15152" y="13330"/>
                    <a:pt x="14354" y="14483"/>
                    <a:pt x="12070" y="15848"/>
                  </a:cubicBezTo>
                  <a:cubicBezTo>
                    <a:pt x="9730" y="17058"/>
                    <a:pt x="8790" y="19088"/>
                    <a:pt x="10003" y="20042"/>
                  </a:cubicBezTo>
                  <a:cubicBezTo>
                    <a:pt x="11185" y="21076"/>
                    <a:pt x="14343" y="21600"/>
                    <a:pt x="16978" y="21147"/>
                  </a:cubicBezTo>
                  <a:cubicBezTo>
                    <a:pt x="19579" y="20807"/>
                    <a:pt x="21329" y="17885"/>
                    <a:pt x="21022" y="14787"/>
                  </a:cubicBezTo>
                  <a:cubicBezTo>
                    <a:pt x="20552" y="11723"/>
                    <a:pt x="19634" y="7040"/>
                    <a:pt x="18639" y="4557"/>
                  </a:cubicBezTo>
                  <a:cubicBezTo>
                    <a:pt x="17677" y="2024"/>
                    <a:pt x="15907" y="0"/>
                    <a:pt x="14627" y="0"/>
                  </a:cubicBezTo>
                  <a:close/>
                  <a:moveTo>
                    <a:pt x="14627"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3" name="AutoShape 532"/>
            <p:cNvSpPr>
              <a:spLocks/>
            </p:cNvSpPr>
            <p:nvPr/>
          </p:nvSpPr>
          <p:spPr bwMode="auto">
            <a:xfrm>
              <a:off x="7823200" y="1803400"/>
              <a:ext cx="12700" cy="4763"/>
            </a:xfrm>
            <a:custGeom>
              <a:avLst/>
              <a:gdLst/>
              <a:ahLst/>
              <a:cxnLst/>
              <a:rect l="0" t="0" r="r" b="b"/>
              <a:pathLst>
                <a:path w="20955" h="19367">
                  <a:moveTo>
                    <a:pt x="13787" y="4634"/>
                  </a:moveTo>
                  <a:cubicBezTo>
                    <a:pt x="10014" y="1613"/>
                    <a:pt x="5091" y="-988"/>
                    <a:pt x="2714" y="370"/>
                  </a:cubicBezTo>
                  <a:cubicBezTo>
                    <a:pt x="317" y="1458"/>
                    <a:pt x="-645" y="3491"/>
                    <a:pt x="450" y="5468"/>
                  </a:cubicBezTo>
                  <a:cubicBezTo>
                    <a:pt x="1733" y="6906"/>
                    <a:pt x="6807" y="11984"/>
                    <a:pt x="12014" y="16054"/>
                  </a:cubicBezTo>
                  <a:cubicBezTo>
                    <a:pt x="17219" y="19873"/>
                    <a:pt x="20955" y="20612"/>
                    <a:pt x="20955" y="17102"/>
                  </a:cubicBezTo>
                  <a:cubicBezTo>
                    <a:pt x="20428" y="13747"/>
                    <a:pt x="17464" y="8144"/>
                    <a:pt x="13787" y="4634"/>
                  </a:cubicBezTo>
                  <a:close/>
                  <a:moveTo>
                    <a:pt x="13787" y="46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4" name="AutoShape 533"/>
            <p:cNvSpPr>
              <a:spLocks/>
            </p:cNvSpPr>
            <p:nvPr/>
          </p:nvSpPr>
          <p:spPr bwMode="auto">
            <a:xfrm>
              <a:off x="7797800" y="1816100"/>
              <a:ext cx="39688" cy="30163"/>
            </a:xfrm>
            <a:custGeom>
              <a:avLst/>
              <a:gdLst/>
              <a:ahLst/>
              <a:cxnLst/>
              <a:rect l="0" t="0" r="r" b="b"/>
              <a:pathLst>
                <a:path w="21013" h="20681">
                  <a:moveTo>
                    <a:pt x="15189" y="2133"/>
                  </a:moveTo>
                  <a:cubicBezTo>
                    <a:pt x="14341" y="1426"/>
                    <a:pt x="13752" y="1569"/>
                    <a:pt x="13855" y="2373"/>
                  </a:cubicBezTo>
                  <a:cubicBezTo>
                    <a:pt x="14043" y="3151"/>
                    <a:pt x="14814" y="4632"/>
                    <a:pt x="15610" y="5730"/>
                  </a:cubicBezTo>
                  <a:cubicBezTo>
                    <a:pt x="16523" y="6686"/>
                    <a:pt x="15591" y="7557"/>
                    <a:pt x="13700" y="7334"/>
                  </a:cubicBezTo>
                  <a:cubicBezTo>
                    <a:pt x="11816" y="7178"/>
                    <a:pt x="9783" y="8142"/>
                    <a:pt x="9045" y="9379"/>
                  </a:cubicBezTo>
                  <a:cubicBezTo>
                    <a:pt x="8364" y="10663"/>
                    <a:pt x="7451" y="10868"/>
                    <a:pt x="7063" y="9771"/>
                  </a:cubicBezTo>
                  <a:cubicBezTo>
                    <a:pt x="6584" y="8743"/>
                    <a:pt x="6707" y="5524"/>
                    <a:pt x="7089" y="2709"/>
                  </a:cubicBezTo>
                  <a:cubicBezTo>
                    <a:pt x="7594" y="-68"/>
                    <a:pt x="6927" y="-817"/>
                    <a:pt x="5671" y="963"/>
                  </a:cubicBezTo>
                  <a:cubicBezTo>
                    <a:pt x="4473" y="2815"/>
                    <a:pt x="3567" y="5158"/>
                    <a:pt x="3677" y="6193"/>
                  </a:cubicBezTo>
                  <a:cubicBezTo>
                    <a:pt x="3774" y="7233"/>
                    <a:pt x="3288" y="8748"/>
                    <a:pt x="2551" y="9560"/>
                  </a:cubicBezTo>
                  <a:cubicBezTo>
                    <a:pt x="1825" y="10381"/>
                    <a:pt x="1450" y="11879"/>
                    <a:pt x="1734" y="12902"/>
                  </a:cubicBezTo>
                  <a:cubicBezTo>
                    <a:pt x="2026" y="13919"/>
                    <a:pt x="1780" y="14980"/>
                    <a:pt x="1191" y="15204"/>
                  </a:cubicBezTo>
                  <a:cubicBezTo>
                    <a:pt x="594" y="15363"/>
                    <a:pt x="109" y="16748"/>
                    <a:pt x="12" y="18090"/>
                  </a:cubicBezTo>
                  <a:cubicBezTo>
                    <a:pt x="-85" y="19428"/>
                    <a:pt x="401" y="20615"/>
                    <a:pt x="1055" y="20674"/>
                  </a:cubicBezTo>
                  <a:cubicBezTo>
                    <a:pt x="1709" y="20783"/>
                    <a:pt x="3307" y="19618"/>
                    <a:pt x="4499" y="17998"/>
                  </a:cubicBezTo>
                  <a:cubicBezTo>
                    <a:pt x="5749" y="16436"/>
                    <a:pt x="6740" y="16053"/>
                    <a:pt x="6740" y="17122"/>
                  </a:cubicBezTo>
                  <a:cubicBezTo>
                    <a:pt x="6740" y="18195"/>
                    <a:pt x="7477" y="19433"/>
                    <a:pt x="8416" y="19799"/>
                  </a:cubicBezTo>
                  <a:cubicBezTo>
                    <a:pt x="9355" y="20194"/>
                    <a:pt x="10457" y="19870"/>
                    <a:pt x="10832" y="19053"/>
                  </a:cubicBezTo>
                  <a:cubicBezTo>
                    <a:pt x="11201" y="18237"/>
                    <a:pt x="12574" y="17101"/>
                    <a:pt x="13882" y="16588"/>
                  </a:cubicBezTo>
                  <a:cubicBezTo>
                    <a:pt x="15176" y="16049"/>
                    <a:pt x="17701" y="14080"/>
                    <a:pt x="19553" y="12283"/>
                  </a:cubicBezTo>
                  <a:cubicBezTo>
                    <a:pt x="21392" y="10515"/>
                    <a:pt x="21515" y="7650"/>
                    <a:pt x="19799" y="6164"/>
                  </a:cubicBezTo>
                  <a:cubicBezTo>
                    <a:pt x="18136" y="4599"/>
                    <a:pt x="16044" y="2810"/>
                    <a:pt x="15189" y="2133"/>
                  </a:cubicBezTo>
                  <a:close/>
                  <a:moveTo>
                    <a:pt x="15189" y="213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5" name="AutoShape 534"/>
            <p:cNvSpPr>
              <a:spLocks/>
            </p:cNvSpPr>
            <p:nvPr/>
          </p:nvSpPr>
          <p:spPr bwMode="auto">
            <a:xfrm>
              <a:off x="7797800" y="1790700"/>
              <a:ext cx="20638" cy="20638"/>
            </a:xfrm>
            <a:custGeom>
              <a:avLst/>
              <a:gdLst/>
              <a:ahLst/>
              <a:cxnLst/>
              <a:rect l="0" t="0" r="r" b="b"/>
              <a:pathLst>
                <a:path w="21095" h="20684">
                  <a:moveTo>
                    <a:pt x="9516" y="3578"/>
                  </a:moveTo>
                  <a:cubicBezTo>
                    <a:pt x="9699" y="4965"/>
                    <a:pt x="7533" y="7289"/>
                    <a:pt x="4747" y="8623"/>
                  </a:cubicBezTo>
                  <a:cubicBezTo>
                    <a:pt x="2009" y="10063"/>
                    <a:pt x="0" y="12976"/>
                    <a:pt x="0" y="15216"/>
                  </a:cubicBezTo>
                  <a:cubicBezTo>
                    <a:pt x="365" y="17420"/>
                    <a:pt x="1279" y="19809"/>
                    <a:pt x="2495" y="20494"/>
                  </a:cubicBezTo>
                  <a:cubicBezTo>
                    <a:pt x="3687" y="21209"/>
                    <a:pt x="6779" y="19809"/>
                    <a:pt x="9529" y="17732"/>
                  </a:cubicBezTo>
                  <a:cubicBezTo>
                    <a:pt x="12133" y="15522"/>
                    <a:pt x="14177" y="12502"/>
                    <a:pt x="14360" y="10964"/>
                  </a:cubicBezTo>
                  <a:cubicBezTo>
                    <a:pt x="14360" y="9421"/>
                    <a:pt x="16173" y="7385"/>
                    <a:pt x="18339" y="6448"/>
                  </a:cubicBezTo>
                  <a:cubicBezTo>
                    <a:pt x="20445" y="5409"/>
                    <a:pt x="21600" y="3536"/>
                    <a:pt x="20882" y="1999"/>
                  </a:cubicBezTo>
                  <a:cubicBezTo>
                    <a:pt x="20019" y="533"/>
                    <a:pt x="17171" y="-391"/>
                    <a:pt x="14372" y="161"/>
                  </a:cubicBezTo>
                  <a:cubicBezTo>
                    <a:pt x="11610" y="672"/>
                    <a:pt x="9334" y="2190"/>
                    <a:pt x="9516" y="3578"/>
                  </a:cubicBezTo>
                  <a:close/>
                  <a:moveTo>
                    <a:pt x="9516" y="35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6" name="AutoShape 535"/>
            <p:cNvSpPr>
              <a:spLocks/>
            </p:cNvSpPr>
            <p:nvPr/>
          </p:nvSpPr>
          <p:spPr bwMode="auto">
            <a:xfrm>
              <a:off x="7493000" y="1727200"/>
              <a:ext cx="777875" cy="706438"/>
            </a:xfrm>
            <a:custGeom>
              <a:avLst/>
              <a:gdLst/>
              <a:ahLst/>
              <a:cxnLst/>
              <a:rect l="0" t="0" r="r" b="b"/>
              <a:pathLst>
                <a:path w="21591" h="21572">
                  <a:moveTo>
                    <a:pt x="7745" y="20088"/>
                  </a:moveTo>
                  <a:cubicBezTo>
                    <a:pt x="7788" y="20156"/>
                    <a:pt x="7854" y="20161"/>
                    <a:pt x="7886" y="20099"/>
                  </a:cubicBezTo>
                  <a:cubicBezTo>
                    <a:pt x="7917" y="20036"/>
                    <a:pt x="7922" y="19822"/>
                    <a:pt x="7891" y="19623"/>
                  </a:cubicBezTo>
                  <a:cubicBezTo>
                    <a:pt x="7865" y="19424"/>
                    <a:pt x="7790" y="19189"/>
                    <a:pt x="7730" y="19101"/>
                  </a:cubicBezTo>
                  <a:cubicBezTo>
                    <a:pt x="7676" y="19010"/>
                    <a:pt x="7646" y="18898"/>
                    <a:pt x="7667" y="18844"/>
                  </a:cubicBezTo>
                  <a:cubicBezTo>
                    <a:pt x="7688" y="18791"/>
                    <a:pt x="7747" y="18736"/>
                    <a:pt x="7792" y="18714"/>
                  </a:cubicBezTo>
                  <a:cubicBezTo>
                    <a:pt x="7837" y="18694"/>
                    <a:pt x="7842" y="18624"/>
                    <a:pt x="7802" y="18558"/>
                  </a:cubicBezTo>
                  <a:cubicBezTo>
                    <a:pt x="7766" y="18489"/>
                    <a:pt x="7746" y="18410"/>
                    <a:pt x="7766" y="18375"/>
                  </a:cubicBezTo>
                  <a:cubicBezTo>
                    <a:pt x="7787" y="18341"/>
                    <a:pt x="7888" y="18311"/>
                    <a:pt x="7994" y="18311"/>
                  </a:cubicBezTo>
                  <a:cubicBezTo>
                    <a:pt x="8100" y="18311"/>
                    <a:pt x="8205" y="18270"/>
                    <a:pt x="8233" y="18227"/>
                  </a:cubicBezTo>
                  <a:cubicBezTo>
                    <a:pt x="8258" y="18181"/>
                    <a:pt x="8267" y="18092"/>
                    <a:pt x="8262" y="18025"/>
                  </a:cubicBezTo>
                  <a:cubicBezTo>
                    <a:pt x="8251" y="17959"/>
                    <a:pt x="8279" y="17830"/>
                    <a:pt x="8319" y="17736"/>
                  </a:cubicBezTo>
                  <a:cubicBezTo>
                    <a:pt x="8365" y="17646"/>
                    <a:pt x="8350" y="17514"/>
                    <a:pt x="8296" y="17447"/>
                  </a:cubicBezTo>
                  <a:cubicBezTo>
                    <a:pt x="8240" y="17382"/>
                    <a:pt x="8169" y="17209"/>
                    <a:pt x="8132" y="17066"/>
                  </a:cubicBezTo>
                  <a:cubicBezTo>
                    <a:pt x="8097" y="16923"/>
                    <a:pt x="8005" y="16711"/>
                    <a:pt x="7934" y="16592"/>
                  </a:cubicBezTo>
                  <a:cubicBezTo>
                    <a:pt x="7861" y="16473"/>
                    <a:pt x="7803" y="16335"/>
                    <a:pt x="7803" y="16286"/>
                  </a:cubicBezTo>
                  <a:cubicBezTo>
                    <a:pt x="7803" y="16235"/>
                    <a:pt x="7927" y="16168"/>
                    <a:pt x="8078" y="16132"/>
                  </a:cubicBezTo>
                  <a:cubicBezTo>
                    <a:pt x="8229" y="16098"/>
                    <a:pt x="8346" y="15990"/>
                    <a:pt x="8341" y="15891"/>
                  </a:cubicBezTo>
                  <a:cubicBezTo>
                    <a:pt x="8336" y="15793"/>
                    <a:pt x="8353" y="15659"/>
                    <a:pt x="8379" y="15593"/>
                  </a:cubicBezTo>
                  <a:cubicBezTo>
                    <a:pt x="8406" y="15529"/>
                    <a:pt x="8323" y="15370"/>
                    <a:pt x="8195" y="15247"/>
                  </a:cubicBezTo>
                  <a:cubicBezTo>
                    <a:pt x="8068" y="15120"/>
                    <a:pt x="7880" y="14978"/>
                    <a:pt x="7779" y="14926"/>
                  </a:cubicBezTo>
                  <a:cubicBezTo>
                    <a:pt x="7677" y="14875"/>
                    <a:pt x="7583" y="14739"/>
                    <a:pt x="7568" y="14626"/>
                  </a:cubicBezTo>
                  <a:cubicBezTo>
                    <a:pt x="7558" y="14513"/>
                    <a:pt x="7549" y="14332"/>
                    <a:pt x="7564" y="14225"/>
                  </a:cubicBezTo>
                  <a:cubicBezTo>
                    <a:pt x="7574" y="14116"/>
                    <a:pt x="7564" y="13930"/>
                    <a:pt x="7538" y="13807"/>
                  </a:cubicBezTo>
                  <a:cubicBezTo>
                    <a:pt x="7512" y="13686"/>
                    <a:pt x="7452" y="13519"/>
                    <a:pt x="7409" y="13434"/>
                  </a:cubicBezTo>
                  <a:cubicBezTo>
                    <a:pt x="7369" y="13349"/>
                    <a:pt x="7348" y="13209"/>
                    <a:pt x="7369" y="13120"/>
                  </a:cubicBezTo>
                  <a:cubicBezTo>
                    <a:pt x="7394" y="13033"/>
                    <a:pt x="7383" y="12830"/>
                    <a:pt x="7347" y="12675"/>
                  </a:cubicBezTo>
                  <a:cubicBezTo>
                    <a:pt x="7316" y="12519"/>
                    <a:pt x="7248" y="12270"/>
                    <a:pt x="7206" y="12118"/>
                  </a:cubicBezTo>
                  <a:cubicBezTo>
                    <a:pt x="7159" y="11968"/>
                    <a:pt x="7133" y="11739"/>
                    <a:pt x="7149" y="11612"/>
                  </a:cubicBezTo>
                  <a:cubicBezTo>
                    <a:pt x="7159" y="11486"/>
                    <a:pt x="7222" y="11293"/>
                    <a:pt x="7287" y="11187"/>
                  </a:cubicBezTo>
                  <a:cubicBezTo>
                    <a:pt x="7351" y="11079"/>
                    <a:pt x="7460" y="10964"/>
                    <a:pt x="7530" y="10937"/>
                  </a:cubicBezTo>
                  <a:cubicBezTo>
                    <a:pt x="7599" y="10906"/>
                    <a:pt x="7730" y="10903"/>
                    <a:pt x="7820" y="10925"/>
                  </a:cubicBezTo>
                  <a:cubicBezTo>
                    <a:pt x="7911" y="10948"/>
                    <a:pt x="8078" y="10980"/>
                    <a:pt x="8191" y="10999"/>
                  </a:cubicBezTo>
                  <a:cubicBezTo>
                    <a:pt x="8305" y="11015"/>
                    <a:pt x="8441" y="10979"/>
                    <a:pt x="8490" y="10915"/>
                  </a:cubicBezTo>
                  <a:cubicBezTo>
                    <a:pt x="8542" y="10854"/>
                    <a:pt x="8567" y="10714"/>
                    <a:pt x="8546" y="10607"/>
                  </a:cubicBezTo>
                  <a:cubicBezTo>
                    <a:pt x="8526" y="10500"/>
                    <a:pt x="8476" y="10379"/>
                    <a:pt x="8445" y="10330"/>
                  </a:cubicBezTo>
                  <a:cubicBezTo>
                    <a:pt x="8410" y="10284"/>
                    <a:pt x="8377" y="10191"/>
                    <a:pt x="8377" y="10122"/>
                  </a:cubicBezTo>
                  <a:cubicBezTo>
                    <a:pt x="8373" y="10054"/>
                    <a:pt x="8452" y="9820"/>
                    <a:pt x="8535" y="9596"/>
                  </a:cubicBezTo>
                  <a:cubicBezTo>
                    <a:pt x="8622" y="9375"/>
                    <a:pt x="8688" y="9089"/>
                    <a:pt x="8678" y="8958"/>
                  </a:cubicBezTo>
                  <a:cubicBezTo>
                    <a:pt x="8668" y="8828"/>
                    <a:pt x="8678" y="8622"/>
                    <a:pt x="8699" y="8500"/>
                  </a:cubicBezTo>
                  <a:cubicBezTo>
                    <a:pt x="8720" y="8379"/>
                    <a:pt x="8757" y="8227"/>
                    <a:pt x="8782" y="8161"/>
                  </a:cubicBezTo>
                  <a:cubicBezTo>
                    <a:pt x="8809" y="8096"/>
                    <a:pt x="8814" y="7979"/>
                    <a:pt x="8809" y="7900"/>
                  </a:cubicBezTo>
                  <a:cubicBezTo>
                    <a:pt x="8794" y="7822"/>
                    <a:pt x="8747" y="7722"/>
                    <a:pt x="8696" y="7678"/>
                  </a:cubicBezTo>
                  <a:cubicBezTo>
                    <a:pt x="8644" y="7636"/>
                    <a:pt x="8597" y="7555"/>
                    <a:pt x="8597" y="7501"/>
                  </a:cubicBezTo>
                  <a:cubicBezTo>
                    <a:pt x="8592" y="7447"/>
                    <a:pt x="8669" y="7368"/>
                    <a:pt x="8768" y="7329"/>
                  </a:cubicBezTo>
                  <a:cubicBezTo>
                    <a:pt x="8866" y="7291"/>
                    <a:pt x="9034" y="7250"/>
                    <a:pt x="9143" y="7242"/>
                  </a:cubicBezTo>
                  <a:cubicBezTo>
                    <a:pt x="9251" y="7234"/>
                    <a:pt x="9378" y="7202"/>
                    <a:pt x="9425" y="7170"/>
                  </a:cubicBezTo>
                  <a:cubicBezTo>
                    <a:pt x="9472" y="7137"/>
                    <a:pt x="9514" y="7069"/>
                    <a:pt x="9509" y="7016"/>
                  </a:cubicBezTo>
                  <a:cubicBezTo>
                    <a:pt x="9504" y="6963"/>
                    <a:pt x="9566" y="6822"/>
                    <a:pt x="9640" y="6703"/>
                  </a:cubicBezTo>
                  <a:cubicBezTo>
                    <a:pt x="9712" y="6584"/>
                    <a:pt x="9839" y="6412"/>
                    <a:pt x="9917" y="6320"/>
                  </a:cubicBezTo>
                  <a:cubicBezTo>
                    <a:pt x="9997" y="6229"/>
                    <a:pt x="10081" y="6105"/>
                    <a:pt x="10101" y="6047"/>
                  </a:cubicBezTo>
                  <a:cubicBezTo>
                    <a:pt x="10127" y="5992"/>
                    <a:pt x="10107" y="5877"/>
                    <a:pt x="10062" y="5797"/>
                  </a:cubicBezTo>
                  <a:cubicBezTo>
                    <a:pt x="10021" y="5714"/>
                    <a:pt x="9948" y="5618"/>
                    <a:pt x="9907" y="5581"/>
                  </a:cubicBezTo>
                  <a:cubicBezTo>
                    <a:pt x="9865" y="5544"/>
                    <a:pt x="9815" y="5416"/>
                    <a:pt x="9801" y="5296"/>
                  </a:cubicBezTo>
                  <a:cubicBezTo>
                    <a:pt x="9785" y="5176"/>
                    <a:pt x="9803" y="5069"/>
                    <a:pt x="9843" y="5057"/>
                  </a:cubicBezTo>
                  <a:cubicBezTo>
                    <a:pt x="9883" y="5047"/>
                    <a:pt x="9941" y="5002"/>
                    <a:pt x="9976" y="4965"/>
                  </a:cubicBezTo>
                  <a:cubicBezTo>
                    <a:pt x="10007" y="4924"/>
                    <a:pt x="10046" y="4846"/>
                    <a:pt x="10056" y="4785"/>
                  </a:cubicBezTo>
                  <a:cubicBezTo>
                    <a:pt x="10066" y="4724"/>
                    <a:pt x="10109" y="4665"/>
                    <a:pt x="10151" y="4651"/>
                  </a:cubicBezTo>
                  <a:cubicBezTo>
                    <a:pt x="10192" y="4635"/>
                    <a:pt x="10257" y="4562"/>
                    <a:pt x="10294" y="4483"/>
                  </a:cubicBezTo>
                  <a:cubicBezTo>
                    <a:pt x="10330" y="4404"/>
                    <a:pt x="10413" y="4314"/>
                    <a:pt x="10473" y="4281"/>
                  </a:cubicBezTo>
                  <a:cubicBezTo>
                    <a:pt x="10534" y="4247"/>
                    <a:pt x="10645" y="4252"/>
                    <a:pt x="10720" y="4283"/>
                  </a:cubicBezTo>
                  <a:cubicBezTo>
                    <a:pt x="10793" y="4321"/>
                    <a:pt x="10882" y="4369"/>
                    <a:pt x="10916" y="4400"/>
                  </a:cubicBezTo>
                  <a:cubicBezTo>
                    <a:pt x="10951" y="4428"/>
                    <a:pt x="11010" y="4458"/>
                    <a:pt x="11050" y="4455"/>
                  </a:cubicBezTo>
                  <a:cubicBezTo>
                    <a:pt x="11090" y="4454"/>
                    <a:pt x="11158" y="4428"/>
                    <a:pt x="11203" y="4401"/>
                  </a:cubicBezTo>
                  <a:cubicBezTo>
                    <a:pt x="11244" y="4370"/>
                    <a:pt x="11241" y="4304"/>
                    <a:pt x="11198" y="4244"/>
                  </a:cubicBezTo>
                  <a:cubicBezTo>
                    <a:pt x="11151" y="4188"/>
                    <a:pt x="11142" y="4122"/>
                    <a:pt x="11174" y="4098"/>
                  </a:cubicBezTo>
                  <a:cubicBezTo>
                    <a:pt x="11207" y="4076"/>
                    <a:pt x="11227" y="4035"/>
                    <a:pt x="11227" y="4008"/>
                  </a:cubicBezTo>
                  <a:cubicBezTo>
                    <a:pt x="11222" y="3981"/>
                    <a:pt x="11231" y="3938"/>
                    <a:pt x="11242" y="3913"/>
                  </a:cubicBezTo>
                  <a:cubicBezTo>
                    <a:pt x="11257" y="3889"/>
                    <a:pt x="11217" y="3810"/>
                    <a:pt x="11158" y="3741"/>
                  </a:cubicBezTo>
                  <a:cubicBezTo>
                    <a:pt x="11098" y="3674"/>
                    <a:pt x="11075" y="3605"/>
                    <a:pt x="11105" y="3594"/>
                  </a:cubicBezTo>
                  <a:cubicBezTo>
                    <a:pt x="11135" y="3581"/>
                    <a:pt x="11233" y="3582"/>
                    <a:pt x="11325" y="3594"/>
                  </a:cubicBezTo>
                  <a:cubicBezTo>
                    <a:pt x="11416" y="3607"/>
                    <a:pt x="11542" y="3601"/>
                    <a:pt x="11607" y="3580"/>
                  </a:cubicBezTo>
                  <a:cubicBezTo>
                    <a:pt x="11670" y="3558"/>
                    <a:pt x="11812" y="3569"/>
                    <a:pt x="11919" y="3606"/>
                  </a:cubicBezTo>
                  <a:cubicBezTo>
                    <a:pt x="12026" y="3640"/>
                    <a:pt x="12169" y="3703"/>
                    <a:pt x="12237" y="3745"/>
                  </a:cubicBezTo>
                  <a:cubicBezTo>
                    <a:pt x="12306" y="3786"/>
                    <a:pt x="12421" y="3835"/>
                    <a:pt x="12495" y="3848"/>
                  </a:cubicBezTo>
                  <a:cubicBezTo>
                    <a:pt x="12568" y="3866"/>
                    <a:pt x="12663" y="3902"/>
                    <a:pt x="12709" y="3932"/>
                  </a:cubicBezTo>
                  <a:cubicBezTo>
                    <a:pt x="12754" y="3964"/>
                    <a:pt x="12815" y="3990"/>
                    <a:pt x="12845" y="3982"/>
                  </a:cubicBezTo>
                  <a:cubicBezTo>
                    <a:pt x="12876" y="3979"/>
                    <a:pt x="12925" y="3989"/>
                    <a:pt x="12957" y="4006"/>
                  </a:cubicBezTo>
                  <a:cubicBezTo>
                    <a:pt x="12990" y="4020"/>
                    <a:pt x="13009" y="3989"/>
                    <a:pt x="12998" y="3928"/>
                  </a:cubicBezTo>
                  <a:cubicBezTo>
                    <a:pt x="12993" y="3866"/>
                    <a:pt x="12950" y="3781"/>
                    <a:pt x="12910" y="3738"/>
                  </a:cubicBezTo>
                  <a:cubicBezTo>
                    <a:pt x="12871" y="3693"/>
                    <a:pt x="12838" y="3596"/>
                    <a:pt x="12833" y="3520"/>
                  </a:cubicBezTo>
                  <a:cubicBezTo>
                    <a:pt x="12828" y="3445"/>
                    <a:pt x="12867" y="3375"/>
                    <a:pt x="12913" y="3356"/>
                  </a:cubicBezTo>
                  <a:cubicBezTo>
                    <a:pt x="12960" y="3344"/>
                    <a:pt x="12975" y="3287"/>
                    <a:pt x="12954" y="3232"/>
                  </a:cubicBezTo>
                  <a:cubicBezTo>
                    <a:pt x="12929" y="3180"/>
                    <a:pt x="12867" y="3116"/>
                    <a:pt x="12816" y="3085"/>
                  </a:cubicBezTo>
                  <a:cubicBezTo>
                    <a:pt x="12764" y="3057"/>
                    <a:pt x="12713" y="2993"/>
                    <a:pt x="12699" y="2944"/>
                  </a:cubicBezTo>
                  <a:cubicBezTo>
                    <a:pt x="12684" y="2895"/>
                    <a:pt x="12737" y="2877"/>
                    <a:pt x="12813" y="2902"/>
                  </a:cubicBezTo>
                  <a:cubicBezTo>
                    <a:pt x="12887" y="2932"/>
                    <a:pt x="13004" y="2947"/>
                    <a:pt x="13071" y="2949"/>
                  </a:cubicBezTo>
                  <a:cubicBezTo>
                    <a:pt x="13140" y="2947"/>
                    <a:pt x="13212" y="2937"/>
                    <a:pt x="13235" y="2935"/>
                  </a:cubicBezTo>
                  <a:cubicBezTo>
                    <a:pt x="13255" y="2925"/>
                    <a:pt x="13275" y="2924"/>
                    <a:pt x="13274" y="2924"/>
                  </a:cubicBezTo>
                  <a:cubicBezTo>
                    <a:pt x="13274" y="2924"/>
                    <a:pt x="13282" y="2913"/>
                    <a:pt x="13292" y="2900"/>
                  </a:cubicBezTo>
                  <a:cubicBezTo>
                    <a:pt x="13305" y="2889"/>
                    <a:pt x="13335" y="2885"/>
                    <a:pt x="13362" y="2901"/>
                  </a:cubicBezTo>
                  <a:cubicBezTo>
                    <a:pt x="13389" y="2915"/>
                    <a:pt x="13427" y="2914"/>
                    <a:pt x="13447" y="2911"/>
                  </a:cubicBezTo>
                  <a:cubicBezTo>
                    <a:pt x="13464" y="2898"/>
                    <a:pt x="13460" y="2867"/>
                    <a:pt x="13440" y="2825"/>
                  </a:cubicBezTo>
                  <a:cubicBezTo>
                    <a:pt x="13419" y="2785"/>
                    <a:pt x="13405" y="2721"/>
                    <a:pt x="13405" y="2681"/>
                  </a:cubicBezTo>
                  <a:cubicBezTo>
                    <a:pt x="13411" y="2640"/>
                    <a:pt x="13444" y="2587"/>
                    <a:pt x="13483" y="2567"/>
                  </a:cubicBezTo>
                  <a:cubicBezTo>
                    <a:pt x="13518" y="2539"/>
                    <a:pt x="13601" y="2535"/>
                    <a:pt x="13659" y="2554"/>
                  </a:cubicBezTo>
                  <a:cubicBezTo>
                    <a:pt x="13718" y="2567"/>
                    <a:pt x="13810" y="2631"/>
                    <a:pt x="13867" y="2690"/>
                  </a:cubicBezTo>
                  <a:cubicBezTo>
                    <a:pt x="13920" y="2753"/>
                    <a:pt x="14090" y="2878"/>
                    <a:pt x="14231" y="2986"/>
                  </a:cubicBezTo>
                  <a:cubicBezTo>
                    <a:pt x="14376" y="3088"/>
                    <a:pt x="14522" y="3217"/>
                    <a:pt x="14554" y="3272"/>
                  </a:cubicBezTo>
                  <a:cubicBezTo>
                    <a:pt x="14589" y="3325"/>
                    <a:pt x="14659" y="3422"/>
                    <a:pt x="14718" y="3480"/>
                  </a:cubicBezTo>
                  <a:cubicBezTo>
                    <a:pt x="14772" y="3544"/>
                    <a:pt x="14898" y="3621"/>
                    <a:pt x="14989" y="3663"/>
                  </a:cubicBezTo>
                  <a:cubicBezTo>
                    <a:pt x="15080" y="3704"/>
                    <a:pt x="15273" y="3756"/>
                    <a:pt x="15419" y="3781"/>
                  </a:cubicBezTo>
                  <a:cubicBezTo>
                    <a:pt x="15564" y="3803"/>
                    <a:pt x="15735" y="3785"/>
                    <a:pt x="15801" y="3739"/>
                  </a:cubicBezTo>
                  <a:cubicBezTo>
                    <a:pt x="15862" y="3684"/>
                    <a:pt x="15951" y="3630"/>
                    <a:pt x="15986" y="3599"/>
                  </a:cubicBezTo>
                  <a:cubicBezTo>
                    <a:pt x="16021" y="3569"/>
                    <a:pt x="16104" y="3555"/>
                    <a:pt x="16168" y="3567"/>
                  </a:cubicBezTo>
                  <a:cubicBezTo>
                    <a:pt x="16232" y="3579"/>
                    <a:pt x="16376" y="3648"/>
                    <a:pt x="16487" y="3717"/>
                  </a:cubicBezTo>
                  <a:cubicBezTo>
                    <a:pt x="16598" y="3790"/>
                    <a:pt x="16747" y="3862"/>
                    <a:pt x="16816" y="3883"/>
                  </a:cubicBezTo>
                  <a:cubicBezTo>
                    <a:pt x="16886" y="3899"/>
                    <a:pt x="16968" y="3881"/>
                    <a:pt x="16990" y="3831"/>
                  </a:cubicBezTo>
                  <a:cubicBezTo>
                    <a:pt x="17015" y="3782"/>
                    <a:pt x="17068" y="3734"/>
                    <a:pt x="17105" y="3724"/>
                  </a:cubicBezTo>
                  <a:cubicBezTo>
                    <a:pt x="17140" y="3710"/>
                    <a:pt x="17204" y="3677"/>
                    <a:pt x="17246" y="3649"/>
                  </a:cubicBezTo>
                  <a:cubicBezTo>
                    <a:pt x="17287" y="3617"/>
                    <a:pt x="17366" y="3602"/>
                    <a:pt x="17419" y="3617"/>
                  </a:cubicBezTo>
                  <a:cubicBezTo>
                    <a:pt x="17472" y="3628"/>
                    <a:pt x="17555" y="3623"/>
                    <a:pt x="17602" y="3602"/>
                  </a:cubicBezTo>
                  <a:cubicBezTo>
                    <a:pt x="17649" y="3583"/>
                    <a:pt x="17704" y="3545"/>
                    <a:pt x="17717" y="3515"/>
                  </a:cubicBezTo>
                  <a:cubicBezTo>
                    <a:pt x="17738" y="3491"/>
                    <a:pt x="17724" y="3426"/>
                    <a:pt x="17694" y="3382"/>
                  </a:cubicBezTo>
                  <a:cubicBezTo>
                    <a:pt x="17666" y="3335"/>
                    <a:pt x="17610" y="3234"/>
                    <a:pt x="17565" y="3159"/>
                  </a:cubicBezTo>
                  <a:cubicBezTo>
                    <a:pt x="17523" y="3081"/>
                    <a:pt x="17482" y="2920"/>
                    <a:pt x="17476" y="2799"/>
                  </a:cubicBezTo>
                  <a:cubicBezTo>
                    <a:pt x="17471" y="2680"/>
                    <a:pt x="17476" y="2554"/>
                    <a:pt x="17487" y="2519"/>
                  </a:cubicBezTo>
                  <a:cubicBezTo>
                    <a:pt x="17502" y="2486"/>
                    <a:pt x="17484" y="2420"/>
                    <a:pt x="17446" y="2383"/>
                  </a:cubicBezTo>
                  <a:cubicBezTo>
                    <a:pt x="17411" y="2342"/>
                    <a:pt x="17410" y="2303"/>
                    <a:pt x="17440" y="2288"/>
                  </a:cubicBezTo>
                  <a:cubicBezTo>
                    <a:pt x="17471" y="2274"/>
                    <a:pt x="17527" y="2230"/>
                    <a:pt x="17567" y="2189"/>
                  </a:cubicBezTo>
                  <a:cubicBezTo>
                    <a:pt x="17603" y="2143"/>
                    <a:pt x="17629" y="2086"/>
                    <a:pt x="17619" y="2059"/>
                  </a:cubicBezTo>
                  <a:cubicBezTo>
                    <a:pt x="17606" y="2033"/>
                    <a:pt x="17650" y="1999"/>
                    <a:pt x="17708" y="1987"/>
                  </a:cubicBezTo>
                  <a:cubicBezTo>
                    <a:pt x="17767" y="1979"/>
                    <a:pt x="17880" y="1984"/>
                    <a:pt x="17960" y="2010"/>
                  </a:cubicBezTo>
                  <a:cubicBezTo>
                    <a:pt x="18039" y="2035"/>
                    <a:pt x="18141" y="2053"/>
                    <a:pt x="18185" y="2053"/>
                  </a:cubicBezTo>
                  <a:cubicBezTo>
                    <a:pt x="18228" y="2050"/>
                    <a:pt x="18259" y="2034"/>
                    <a:pt x="18249" y="2013"/>
                  </a:cubicBezTo>
                  <a:cubicBezTo>
                    <a:pt x="18236" y="1995"/>
                    <a:pt x="18269" y="1949"/>
                    <a:pt x="18310" y="1914"/>
                  </a:cubicBezTo>
                  <a:cubicBezTo>
                    <a:pt x="18349" y="1877"/>
                    <a:pt x="18488" y="1869"/>
                    <a:pt x="18614" y="1887"/>
                  </a:cubicBezTo>
                  <a:cubicBezTo>
                    <a:pt x="18740" y="1905"/>
                    <a:pt x="18895" y="1954"/>
                    <a:pt x="18955" y="1996"/>
                  </a:cubicBezTo>
                  <a:cubicBezTo>
                    <a:pt x="19017" y="2035"/>
                    <a:pt x="19139" y="2136"/>
                    <a:pt x="19224" y="2222"/>
                  </a:cubicBezTo>
                  <a:cubicBezTo>
                    <a:pt x="19307" y="2310"/>
                    <a:pt x="19421" y="2409"/>
                    <a:pt x="19469" y="2450"/>
                  </a:cubicBezTo>
                  <a:cubicBezTo>
                    <a:pt x="19516" y="2495"/>
                    <a:pt x="19615" y="2545"/>
                    <a:pt x="19681" y="2579"/>
                  </a:cubicBezTo>
                  <a:cubicBezTo>
                    <a:pt x="19750" y="2610"/>
                    <a:pt x="19887" y="2653"/>
                    <a:pt x="19987" y="2681"/>
                  </a:cubicBezTo>
                  <a:cubicBezTo>
                    <a:pt x="20088" y="2704"/>
                    <a:pt x="20193" y="2759"/>
                    <a:pt x="20214" y="2803"/>
                  </a:cubicBezTo>
                  <a:cubicBezTo>
                    <a:pt x="20240" y="2843"/>
                    <a:pt x="20314" y="2930"/>
                    <a:pt x="20384" y="2987"/>
                  </a:cubicBezTo>
                  <a:cubicBezTo>
                    <a:pt x="20453" y="3046"/>
                    <a:pt x="20504" y="3136"/>
                    <a:pt x="20510" y="3182"/>
                  </a:cubicBezTo>
                  <a:cubicBezTo>
                    <a:pt x="20510" y="3230"/>
                    <a:pt x="20478" y="3316"/>
                    <a:pt x="20438" y="3373"/>
                  </a:cubicBezTo>
                  <a:cubicBezTo>
                    <a:pt x="20398" y="3428"/>
                    <a:pt x="20396" y="3556"/>
                    <a:pt x="20421" y="3659"/>
                  </a:cubicBezTo>
                  <a:cubicBezTo>
                    <a:pt x="20447" y="3759"/>
                    <a:pt x="20503" y="3839"/>
                    <a:pt x="20538" y="3842"/>
                  </a:cubicBezTo>
                  <a:cubicBezTo>
                    <a:pt x="20573" y="3845"/>
                    <a:pt x="20590" y="3775"/>
                    <a:pt x="20575" y="3692"/>
                  </a:cubicBezTo>
                  <a:cubicBezTo>
                    <a:pt x="20559" y="3608"/>
                    <a:pt x="20604" y="3502"/>
                    <a:pt x="20669" y="3453"/>
                  </a:cubicBezTo>
                  <a:cubicBezTo>
                    <a:pt x="20734" y="3401"/>
                    <a:pt x="20847" y="3372"/>
                    <a:pt x="20917" y="3376"/>
                  </a:cubicBezTo>
                  <a:cubicBezTo>
                    <a:pt x="20986" y="3380"/>
                    <a:pt x="21071" y="3350"/>
                    <a:pt x="21107" y="3309"/>
                  </a:cubicBezTo>
                  <a:cubicBezTo>
                    <a:pt x="21145" y="3270"/>
                    <a:pt x="21154" y="3177"/>
                    <a:pt x="21134" y="3108"/>
                  </a:cubicBezTo>
                  <a:cubicBezTo>
                    <a:pt x="21114" y="3040"/>
                    <a:pt x="21137" y="2987"/>
                    <a:pt x="21185" y="2993"/>
                  </a:cubicBezTo>
                  <a:cubicBezTo>
                    <a:pt x="21233" y="2998"/>
                    <a:pt x="21324" y="3031"/>
                    <a:pt x="21390" y="3059"/>
                  </a:cubicBezTo>
                  <a:cubicBezTo>
                    <a:pt x="21454" y="3091"/>
                    <a:pt x="21531" y="3091"/>
                    <a:pt x="21559" y="3060"/>
                  </a:cubicBezTo>
                  <a:cubicBezTo>
                    <a:pt x="21590" y="3033"/>
                    <a:pt x="21597" y="2967"/>
                    <a:pt x="21586" y="2917"/>
                  </a:cubicBezTo>
                  <a:cubicBezTo>
                    <a:pt x="21576" y="2867"/>
                    <a:pt x="21548" y="2828"/>
                    <a:pt x="21532" y="2819"/>
                  </a:cubicBezTo>
                  <a:cubicBezTo>
                    <a:pt x="21515" y="2813"/>
                    <a:pt x="21462" y="2781"/>
                    <a:pt x="21413" y="2748"/>
                  </a:cubicBezTo>
                  <a:cubicBezTo>
                    <a:pt x="21365" y="2713"/>
                    <a:pt x="21306" y="2683"/>
                    <a:pt x="21284" y="2678"/>
                  </a:cubicBezTo>
                  <a:cubicBezTo>
                    <a:pt x="21262" y="2673"/>
                    <a:pt x="21229" y="2675"/>
                    <a:pt x="21211" y="2682"/>
                  </a:cubicBezTo>
                  <a:cubicBezTo>
                    <a:pt x="21194" y="2689"/>
                    <a:pt x="21180" y="2715"/>
                    <a:pt x="21185" y="2742"/>
                  </a:cubicBezTo>
                  <a:cubicBezTo>
                    <a:pt x="21190" y="2769"/>
                    <a:pt x="21168" y="2774"/>
                    <a:pt x="21142" y="2750"/>
                  </a:cubicBezTo>
                  <a:cubicBezTo>
                    <a:pt x="21115" y="2727"/>
                    <a:pt x="21078" y="2683"/>
                    <a:pt x="21057" y="2655"/>
                  </a:cubicBezTo>
                  <a:cubicBezTo>
                    <a:pt x="21039" y="2625"/>
                    <a:pt x="20994" y="2596"/>
                    <a:pt x="20962" y="2590"/>
                  </a:cubicBezTo>
                  <a:cubicBezTo>
                    <a:pt x="20929" y="2585"/>
                    <a:pt x="20911" y="2601"/>
                    <a:pt x="20925" y="2626"/>
                  </a:cubicBezTo>
                  <a:cubicBezTo>
                    <a:pt x="20936" y="2654"/>
                    <a:pt x="20946" y="2715"/>
                    <a:pt x="20952" y="2763"/>
                  </a:cubicBezTo>
                  <a:cubicBezTo>
                    <a:pt x="20957" y="2811"/>
                    <a:pt x="20936" y="2839"/>
                    <a:pt x="20913" y="2824"/>
                  </a:cubicBezTo>
                  <a:cubicBezTo>
                    <a:pt x="20891" y="2809"/>
                    <a:pt x="20844" y="2768"/>
                    <a:pt x="20813" y="2730"/>
                  </a:cubicBezTo>
                  <a:cubicBezTo>
                    <a:pt x="20781" y="2692"/>
                    <a:pt x="20723" y="2676"/>
                    <a:pt x="20684" y="2688"/>
                  </a:cubicBezTo>
                  <a:cubicBezTo>
                    <a:pt x="20644" y="2702"/>
                    <a:pt x="20611" y="2738"/>
                    <a:pt x="20596" y="2756"/>
                  </a:cubicBezTo>
                  <a:cubicBezTo>
                    <a:pt x="20586" y="2779"/>
                    <a:pt x="20558" y="2767"/>
                    <a:pt x="20538" y="2726"/>
                  </a:cubicBezTo>
                  <a:cubicBezTo>
                    <a:pt x="20516" y="2687"/>
                    <a:pt x="20482" y="2607"/>
                    <a:pt x="20454" y="2557"/>
                  </a:cubicBezTo>
                  <a:cubicBezTo>
                    <a:pt x="20429" y="2504"/>
                    <a:pt x="20390" y="2457"/>
                    <a:pt x="20367" y="2449"/>
                  </a:cubicBezTo>
                  <a:cubicBezTo>
                    <a:pt x="20344" y="2443"/>
                    <a:pt x="20295" y="2393"/>
                    <a:pt x="20265" y="2336"/>
                  </a:cubicBezTo>
                  <a:cubicBezTo>
                    <a:pt x="20229" y="2283"/>
                    <a:pt x="20183" y="2220"/>
                    <a:pt x="20157" y="2209"/>
                  </a:cubicBezTo>
                  <a:cubicBezTo>
                    <a:pt x="20132" y="2193"/>
                    <a:pt x="20072" y="2179"/>
                    <a:pt x="20024" y="2176"/>
                  </a:cubicBezTo>
                  <a:cubicBezTo>
                    <a:pt x="19976" y="2171"/>
                    <a:pt x="19898" y="2155"/>
                    <a:pt x="19854" y="2131"/>
                  </a:cubicBezTo>
                  <a:cubicBezTo>
                    <a:pt x="19810" y="2108"/>
                    <a:pt x="19714" y="2077"/>
                    <a:pt x="19644" y="2058"/>
                  </a:cubicBezTo>
                  <a:cubicBezTo>
                    <a:pt x="19574" y="2041"/>
                    <a:pt x="19483" y="1990"/>
                    <a:pt x="19440" y="1949"/>
                  </a:cubicBezTo>
                  <a:cubicBezTo>
                    <a:pt x="19395" y="1911"/>
                    <a:pt x="19372" y="1865"/>
                    <a:pt x="19383" y="1860"/>
                  </a:cubicBezTo>
                  <a:cubicBezTo>
                    <a:pt x="19394" y="1855"/>
                    <a:pt x="19476" y="1877"/>
                    <a:pt x="19568" y="1909"/>
                  </a:cubicBezTo>
                  <a:cubicBezTo>
                    <a:pt x="19657" y="1948"/>
                    <a:pt x="19789" y="1976"/>
                    <a:pt x="19859" y="1981"/>
                  </a:cubicBezTo>
                  <a:cubicBezTo>
                    <a:pt x="19929" y="1988"/>
                    <a:pt x="20037" y="2006"/>
                    <a:pt x="20100" y="2026"/>
                  </a:cubicBezTo>
                  <a:cubicBezTo>
                    <a:pt x="20163" y="2047"/>
                    <a:pt x="20311" y="2088"/>
                    <a:pt x="20429" y="2122"/>
                  </a:cubicBezTo>
                  <a:cubicBezTo>
                    <a:pt x="20547" y="2152"/>
                    <a:pt x="20704" y="2176"/>
                    <a:pt x="20779" y="2168"/>
                  </a:cubicBezTo>
                  <a:cubicBezTo>
                    <a:pt x="20854" y="2160"/>
                    <a:pt x="20937" y="2092"/>
                    <a:pt x="20978" y="2024"/>
                  </a:cubicBezTo>
                  <a:cubicBezTo>
                    <a:pt x="21010" y="1950"/>
                    <a:pt x="21127" y="1891"/>
                    <a:pt x="21232" y="1888"/>
                  </a:cubicBezTo>
                  <a:cubicBezTo>
                    <a:pt x="21337" y="1885"/>
                    <a:pt x="21455" y="1864"/>
                    <a:pt x="21497" y="1844"/>
                  </a:cubicBezTo>
                  <a:cubicBezTo>
                    <a:pt x="21536" y="1822"/>
                    <a:pt x="21569" y="1792"/>
                    <a:pt x="21565" y="1780"/>
                  </a:cubicBezTo>
                  <a:cubicBezTo>
                    <a:pt x="21565" y="1767"/>
                    <a:pt x="21529" y="1744"/>
                    <a:pt x="21492" y="1727"/>
                  </a:cubicBezTo>
                  <a:cubicBezTo>
                    <a:pt x="21454" y="1714"/>
                    <a:pt x="21409" y="1684"/>
                    <a:pt x="21398" y="1661"/>
                  </a:cubicBezTo>
                  <a:cubicBezTo>
                    <a:pt x="21386" y="1638"/>
                    <a:pt x="21335" y="1610"/>
                    <a:pt x="21293" y="1592"/>
                  </a:cubicBezTo>
                  <a:cubicBezTo>
                    <a:pt x="21249" y="1574"/>
                    <a:pt x="21174" y="1560"/>
                    <a:pt x="21126" y="1555"/>
                  </a:cubicBezTo>
                  <a:cubicBezTo>
                    <a:pt x="21077" y="1552"/>
                    <a:pt x="20968" y="1503"/>
                    <a:pt x="20889" y="1441"/>
                  </a:cubicBezTo>
                  <a:cubicBezTo>
                    <a:pt x="20808" y="1380"/>
                    <a:pt x="20709" y="1325"/>
                    <a:pt x="20670" y="1319"/>
                  </a:cubicBezTo>
                  <a:cubicBezTo>
                    <a:pt x="20633" y="1310"/>
                    <a:pt x="20568" y="1329"/>
                    <a:pt x="20532" y="1365"/>
                  </a:cubicBezTo>
                  <a:cubicBezTo>
                    <a:pt x="20495" y="1398"/>
                    <a:pt x="20439" y="1420"/>
                    <a:pt x="20410" y="1413"/>
                  </a:cubicBezTo>
                  <a:cubicBezTo>
                    <a:pt x="20380" y="1408"/>
                    <a:pt x="20345" y="1389"/>
                    <a:pt x="20334" y="1372"/>
                  </a:cubicBezTo>
                  <a:cubicBezTo>
                    <a:pt x="20323" y="1354"/>
                    <a:pt x="20344" y="1327"/>
                    <a:pt x="20386" y="1314"/>
                  </a:cubicBezTo>
                  <a:cubicBezTo>
                    <a:pt x="20428" y="1301"/>
                    <a:pt x="20463" y="1263"/>
                    <a:pt x="20463" y="1233"/>
                  </a:cubicBezTo>
                  <a:cubicBezTo>
                    <a:pt x="20463" y="1204"/>
                    <a:pt x="20416" y="1159"/>
                    <a:pt x="20357" y="1130"/>
                  </a:cubicBezTo>
                  <a:cubicBezTo>
                    <a:pt x="20297" y="1103"/>
                    <a:pt x="20230" y="1074"/>
                    <a:pt x="20223" y="1055"/>
                  </a:cubicBezTo>
                  <a:cubicBezTo>
                    <a:pt x="20209" y="1042"/>
                    <a:pt x="20166" y="1025"/>
                    <a:pt x="20125" y="1019"/>
                  </a:cubicBezTo>
                  <a:cubicBezTo>
                    <a:pt x="20085" y="1015"/>
                    <a:pt x="20029" y="1043"/>
                    <a:pt x="20003" y="1088"/>
                  </a:cubicBezTo>
                  <a:cubicBezTo>
                    <a:pt x="19972" y="1129"/>
                    <a:pt x="19937" y="1164"/>
                    <a:pt x="19916" y="1161"/>
                  </a:cubicBezTo>
                  <a:cubicBezTo>
                    <a:pt x="19895" y="1158"/>
                    <a:pt x="19873" y="1125"/>
                    <a:pt x="19873" y="1090"/>
                  </a:cubicBezTo>
                  <a:cubicBezTo>
                    <a:pt x="19873" y="1055"/>
                    <a:pt x="19846" y="1027"/>
                    <a:pt x="19822" y="1024"/>
                  </a:cubicBezTo>
                  <a:cubicBezTo>
                    <a:pt x="19797" y="1026"/>
                    <a:pt x="19765" y="1042"/>
                    <a:pt x="19745" y="1063"/>
                  </a:cubicBezTo>
                  <a:cubicBezTo>
                    <a:pt x="19729" y="1087"/>
                    <a:pt x="19691" y="1099"/>
                    <a:pt x="19666" y="1092"/>
                  </a:cubicBezTo>
                  <a:cubicBezTo>
                    <a:pt x="19641" y="1083"/>
                    <a:pt x="19607" y="1060"/>
                    <a:pt x="19592" y="1035"/>
                  </a:cubicBezTo>
                  <a:cubicBezTo>
                    <a:pt x="19580" y="1008"/>
                    <a:pt x="19592" y="980"/>
                    <a:pt x="19625" y="964"/>
                  </a:cubicBezTo>
                  <a:cubicBezTo>
                    <a:pt x="19659" y="951"/>
                    <a:pt x="19680" y="918"/>
                    <a:pt x="19676" y="891"/>
                  </a:cubicBezTo>
                  <a:cubicBezTo>
                    <a:pt x="19670" y="865"/>
                    <a:pt x="19616" y="812"/>
                    <a:pt x="19555" y="777"/>
                  </a:cubicBezTo>
                  <a:cubicBezTo>
                    <a:pt x="19495" y="738"/>
                    <a:pt x="19399" y="703"/>
                    <a:pt x="19344" y="691"/>
                  </a:cubicBezTo>
                  <a:cubicBezTo>
                    <a:pt x="19288" y="681"/>
                    <a:pt x="19218" y="683"/>
                    <a:pt x="19186" y="690"/>
                  </a:cubicBezTo>
                  <a:cubicBezTo>
                    <a:pt x="19155" y="700"/>
                    <a:pt x="19137" y="759"/>
                    <a:pt x="19137" y="820"/>
                  </a:cubicBezTo>
                  <a:cubicBezTo>
                    <a:pt x="19143" y="880"/>
                    <a:pt x="19115" y="936"/>
                    <a:pt x="19079" y="941"/>
                  </a:cubicBezTo>
                  <a:cubicBezTo>
                    <a:pt x="19043" y="948"/>
                    <a:pt x="19014" y="970"/>
                    <a:pt x="19014" y="991"/>
                  </a:cubicBezTo>
                  <a:cubicBezTo>
                    <a:pt x="19014" y="1011"/>
                    <a:pt x="19051" y="1085"/>
                    <a:pt x="19098" y="1156"/>
                  </a:cubicBezTo>
                  <a:cubicBezTo>
                    <a:pt x="19141" y="1230"/>
                    <a:pt x="19191" y="1308"/>
                    <a:pt x="19185" y="1335"/>
                  </a:cubicBezTo>
                  <a:cubicBezTo>
                    <a:pt x="19185" y="1363"/>
                    <a:pt x="19166" y="1399"/>
                    <a:pt x="19141" y="1416"/>
                  </a:cubicBezTo>
                  <a:cubicBezTo>
                    <a:pt x="19115" y="1433"/>
                    <a:pt x="19071" y="1406"/>
                    <a:pt x="19035" y="1365"/>
                  </a:cubicBezTo>
                  <a:cubicBezTo>
                    <a:pt x="19004" y="1320"/>
                    <a:pt x="18946" y="1276"/>
                    <a:pt x="18910" y="1269"/>
                  </a:cubicBezTo>
                  <a:cubicBezTo>
                    <a:pt x="18874" y="1261"/>
                    <a:pt x="18834" y="1263"/>
                    <a:pt x="18834" y="1277"/>
                  </a:cubicBezTo>
                  <a:cubicBezTo>
                    <a:pt x="18824" y="1288"/>
                    <a:pt x="18783" y="1286"/>
                    <a:pt x="18733" y="1274"/>
                  </a:cubicBezTo>
                  <a:cubicBezTo>
                    <a:pt x="18683" y="1259"/>
                    <a:pt x="18589" y="1258"/>
                    <a:pt x="18522" y="1269"/>
                  </a:cubicBezTo>
                  <a:cubicBezTo>
                    <a:pt x="18455" y="1278"/>
                    <a:pt x="18439" y="1254"/>
                    <a:pt x="18480" y="1200"/>
                  </a:cubicBezTo>
                  <a:cubicBezTo>
                    <a:pt x="18525" y="1149"/>
                    <a:pt x="18594" y="1104"/>
                    <a:pt x="18636" y="1105"/>
                  </a:cubicBezTo>
                  <a:cubicBezTo>
                    <a:pt x="18678" y="1101"/>
                    <a:pt x="18722" y="1068"/>
                    <a:pt x="18747" y="1033"/>
                  </a:cubicBezTo>
                  <a:cubicBezTo>
                    <a:pt x="18767" y="995"/>
                    <a:pt x="18773" y="944"/>
                    <a:pt x="18759" y="922"/>
                  </a:cubicBezTo>
                  <a:cubicBezTo>
                    <a:pt x="18747" y="900"/>
                    <a:pt x="18721" y="880"/>
                    <a:pt x="18700" y="879"/>
                  </a:cubicBezTo>
                  <a:cubicBezTo>
                    <a:pt x="18679" y="877"/>
                    <a:pt x="18621" y="899"/>
                    <a:pt x="18568" y="919"/>
                  </a:cubicBezTo>
                  <a:cubicBezTo>
                    <a:pt x="18519" y="947"/>
                    <a:pt x="18446" y="954"/>
                    <a:pt x="18412" y="938"/>
                  </a:cubicBezTo>
                  <a:cubicBezTo>
                    <a:pt x="18378" y="924"/>
                    <a:pt x="18350" y="898"/>
                    <a:pt x="18355" y="880"/>
                  </a:cubicBezTo>
                  <a:cubicBezTo>
                    <a:pt x="18361" y="862"/>
                    <a:pt x="18390" y="832"/>
                    <a:pt x="18423" y="814"/>
                  </a:cubicBezTo>
                  <a:cubicBezTo>
                    <a:pt x="18455" y="795"/>
                    <a:pt x="18487" y="766"/>
                    <a:pt x="18482" y="749"/>
                  </a:cubicBezTo>
                  <a:cubicBezTo>
                    <a:pt x="18482" y="731"/>
                    <a:pt x="18438" y="699"/>
                    <a:pt x="18384" y="683"/>
                  </a:cubicBezTo>
                  <a:cubicBezTo>
                    <a:pt x="18331" y="665"/>
                    <a:pt x="18275" y="635"/>
                    <a:pt x="18263" y="616"/>
                  </a:cubicBezTo>
                  <a:cubicBezTo>
                    <a:pt x="18248" y="597"/>
                    <a:pt x="18271" y="576"/>
                    <a:pt x="18312" y="576"/>
                  </a:cubicBezTo>
                  <a:cubicBezTo>
                    <a:pt x="18352" y="572"/>
                    <a:pt x="18403" y="582"/>
                    <a:pt x="18423" y="599"/>
                  </a:cubicBezTo>
                  <a:cubicBezTo>
                    <a:pt x="18442" y="616"/>
                    <a:pt x="18510" y="636"/>
                    <a:pt x="18573" y="648"/>
                  </a:cubicBezTo>
                  <a:cubicBezTo>
                    <a:pt x="18635" y="658"/>
                    <a:pt x="18703" y="615"/>
                    <a:pt x="18724" y="551"/>
                  </a:cubicBezTo>
                  <a:cubicBezTo>
                    <a:pt x="18749" y="489"/>
                    <a:pt x="18748" y="412"/>
                    <a:pt x="18733" y="380"/>
                  </a:cubicBezTo>
                  <a:cubicBezTo>
                    <a:pt x="18716" y="350"/>
                    <a:pt x="18659" y="325"/>
                    <a:pt x="18605" y="326"/>
                  </a:cubicBezTo>
                  <a:cubicBezTo>
                    <a:pt x="18548" y="326"/>
                    <a:pt x="18478" y="314"/>
                    <a:pt x="18450" y="295"/>
                  </a:cubicBezTo>
                  <a:cubicBezTo>
                    <a:pt x="18421" y="275"/>
                    <a:pt x="18404" y="237"/>
                    <a:pt x="18404" y="206"/>
                  </a:cubicBezTo>
                  <a:cubicBezTo>
                    <a:pt x="18409" y="176"/>
                    <a:pt x="18393" y="126"/>
                    <a:pt x="18372" y="93"/>
                  </a:cubicBezTo>
                  <a:cubicBezTo>
                    <a:pt x="18351" y="61"/>
                    <a:pt x="18308" y="50"/>
                    <a:pt x="18274" y="68"/>
                  </a:cubicBezTo>
                  <a:cubicBezTo>
                    <a:pt x="18244" y="91"/>
                    <a:pt x="18189" y="97"/>
                    <a:pt x="18158" y="88"/>
                  </a:cubicBezTo>
                  <a:cubicBezTo>
                    <a:pt x="18126" y="78"/>
                    <a:pt x="18070" y="50"/>
                    <a:pt x="18031" y="24"/>
                  </a:cubicBezTo>
                  <a:cubicBezTo>
                    <a:pt x="17995" y="-6"/>
                    <a:pt x="17933" y="-7"/>
                    <a:pt x="17897" y="16"/>
                  </a:cubicBezTo>
                  <a:cubicBezTo>
                    <a:pt x="17862" y="41"/>
                    <a:pt x="17838" y="75"/>
                    <a:pt x="17843" y="97"/>
                  </a:cubicBezTo>
                  <a:cubicBezTo>
                    <a:pt x="17849" y="119"/>
                    <a:pt x="17887" y="170"/>
                    <a:pt x="17930" y="207"/>
                  </a:cubicBezTo>
                  <a:cubicBezTo>
                    <a:pt x="17974" y="242"/>
                    <a:pt x="17992" y="297"/>
                    <a:pt x="17972" y="316"/>
                  </a:cubicBezTo>
                  <a:cubicBezTo>
                    <a:pt x="17951" y="333"/>
                    <a:pt x="17917" y="351"/>
                    <a:pt x="17891" y="346"/>
                  </a:cubicBezTo>
                  <a:cubicBezTo>
                    <a:pt x="17865" y="343"/>
                    <a:pt x="17802" y="297"/>
                    <a:pt x="17753" y="243"/>
                  </a:cubicBezTo>
                  <a:cubicBezTo>
                    <a:pt x="17703" y="190"/>
                    <a:pt x="17640" y="161"/>
                    <a:pt x="17614" y="177"/>
                  </a:cubicBezTo>
                  <a:cubicBezTo>
                    <a:pt x="17589" y="194"/>
                    <a:pt x="17563" y="237"/>
                    <a:pt x="17553" y="272"/>
                  </a:cubicBezTo>
                  <a:cubicBezTo>
                    <a:pt x="17548" y="308"/>
                    <a:pt x="17550" y="354"/>
                    <a:pt x="17568" y="371"/>
                  </a:cubicBezTo>
                  <a:cubicBezTo>
                    <a:pt x="17587" y="387"/>
                    <a:pt x="17635" y="412"/>
                    <a:pt x="17680" y="419"/>
                  </a:cubicBezTo>
                  <a:cubicBezTo>
                    <a:pt x="17726" y="425"/>
                    <a:pt x="17783" y="449"/>
                    <a:pt x="17807" y="469"/>
                  </a:cubicBezTo>
                  <a:cubicBezTo>
                    <a:pt x="17834" y="482"/>
                    <a:pt x="17849" y="518"/>
                    <a:pt x="17849" y="536"/>
                  </a:cubicBezTo>
                  <a:cubicBezTo>
                    <a:pt x="17843" y="553"/>
                    <a:pt x="17821" y="574"/>
                    <a:pt x="17787" y="580"/>
                  </a:cubicBezTo>
                  <a:cubicBezTo>
                    <a:pt x="17754" y="584"/>
                    <a:pt x="17733" y="617"/>
                    <a:pt x="17738" y="649"/>
                  </a:cubicBezTo>
                  <a:cubicBezTo>
                    <a:pt x="17748" y="679"/>
                    <a:pt x="17723" y="715"/>
                    <a:pt x="17691" y="721"/>
                  </a:cubicBezTo>
                  <a:cubicBezTo>
                    <a:pt x="17661" y="735"/>
                    <a:pt x="17639" y="760"/>
                    <a:pt x="17643" y="791"/>
                  </a:cubicBezTo>
                  <a:cubicBezTo>
                    <a:pt x="17649" y="821"/>
                    <a:pt x="17667" y="856"/>
                    <a:pt x="17678" y="874"/>
                  </a:cubicBezTo>
                  <a:cubicBezTo>
                    <a:pt x="17688" y="891"/>
                    <a:pt x="17677" y="911"/>
                    <a:pt x="17647" y="922"/>
                  </a:cubicBezTo>
                  <a:cubicBezTo>
                    <a:pt x="17619" y="933"/>
                    <a:pt x="17619" y="980"/>
                    <a:pt x="17644" y="1029"/>
                  </a:cubicBezTo>
                  <a:cubicBezTo>
                    <a:pt x="17678" y="1074"/>
                    <a:pt x="17685" y="1128"/>
                    <a:pt x="17671" y="1139"/>
                  </a:cubicBezTo>
                  <a:cubicBezTo>
                    <a:pt x="17658" y="1153"/>
                    <a:pt x="17608" y="1143"/>
                    <a:pt x="17568" y="1111"/>
                  </a:cubicBezTo>
                  <a:cubicBezTo>
                    <a:pt x="17524" y="1087"/>
                    <a:pt x="17465" y="1072"/>
                    <a:pt x="17435" y="1090"/>
                  </a:cubicBezTo>
                  <a:cubicBezTo>
                    <a:pt x="17404" y="1103"/>
                    <a:pt x="17375" y="1131"/>
                    <a:pt x="17371" y="1147"/>
                  </a:cubicBezTo>
                  <a:cubicBezTo>
                    <a:pt x="17366" y="1163"/>
                    <a:pt x="17335" y="1190"/>
                    <a:pt x="17300" y="1203"/>
                  </a:cubicBezTo>
                  <a:cubicBezTo>
                    <a:pt x="17266" y="1219"/>
                    <a:pt x="17225" y="1194"/>
                    <a:pt x="17216" y="1149"/>
                  </a:cubicBezTo>
                  <a:cubicBezTo>
                    <a:pt x="17211" y="1104"/>
                    <a:pt x="17224" y="1010"/>
                    <a:pt x="17255" y="936"/>
                  </a:cubicBezTo>
                  <a:cubicBezTo>
                    <a:pt x="17286" y="863"/>
                    <a:pt x="17273" y="790"/>
                    <a:pt x="17224" y="767"/>
                  </a:cubicBezTo>
                  <a:cubicBezTo>
                    <a:pt x="17173" y="749"/>
                    <a:pt x="17134" y="713"/>
                    <a:pt x="17134" y="693"/>
                  </a:cubicBezTo>
                  <a:cubicBezTo>
                    <a:pt x="17139" y="674"/>
                    <a:pt x="17159" y="641"/>
                    <a:pt x="17187" y="620"/>
                  </a:cubicBezTo>
                  <a:cubicBezTo>
                    <a:pt x="17214" y="596"/>
                    <a:pt x="17233" y="526"/>
                    <a:pt x="17218" y="458"/>
                  </a:cubicBezTo>
                  <a:cubicBezTo>
                    <a:pt x="17201" y="391"/>
                    <a:pt x="17174" y="316"/>
                    <a:pt x="17154" y="288"/>
                  </a:cubicBezTo>
                  <a:cubicBezTo>
                    <a:pt x="17136" y="260"/>
                    <a:pt x="17091" y="240"/>
                    <a:pt x="17063" y="236"/>
                  </a:cubicBezTo>
                  <a:cubicBezTo>
                    <a:pt x="17035" y="231"/>
                    <a:pt x="16971" y="299"/>
                    <a:pt x="16911" y="377"/>
                  </a:cubicBezTo>
                  <a:cubicBezTo>
                    <a:pt x="16855" y="459"/>
                    <a:pt x="16808" y="569"/>
                    <a:pt x="16822" y="620"/>
                  </a:cubicBezTo>
                  <a:cubicBezTo>
                    <a:pt x="16828" y="673"/>
                    <a:pt x="16789" y="772"/>
                    <a:pt x="16727" y="837"/>
                  </a:cubicBezTo>
                  <a:cubicBezTo>
                    <a:pt x="16669" y="908"/>
                    <a:pt x="16608" y="1004"/>
                    <a:pt x="16603" y="1058"/>
                  </a:cubicBezTo>
                  <a:cubicBezTo>
                    <a:pt x="16598" y="1113"/>
                    <a:pt x="16608" y="1176"/>
                    <a:pt x="16627" y="1206"/>
                  </a:cubicBezTo>
                  <a:cubicBezTo>
                    <a:pt x="16648" y="1232"/>
                    <a:pt x="16665" y="1292"/>
                    <a:pt x="16665" y="1337"/>
                  </a:cubicBezTo>
                  <a:cubicBezTo>
                    <a:pt x="16665" y="1382"/>
                    <a:pt x="16614" y="1463"/>
                    <a:pt x="16548" y="1517"/>
                  </a:cubicBezTo>
                  <a:cubicBezTo>
                    <a:pt x="16482" y="1569"/>
                    <a:pt x="16398" y="1618"/>
                    <a:pt x="16362" y="1630"/>
                  </a:cubicBezTo>
                  <a:cubicBezTo>
                    <a:pt x="16325" y="1639"/>
                    <a:pt x="16286" y="1611"/>
                    <a:pt x="16280" y="1570"/>
                  </a:cubicBezTo>
                  <a:cubicBezTo>
                    <a:pt x="16270" y="1530"/>
                    <a:pt x="16245" y="1472"/>
                    <a:pt x="16224" y="1439"/>
                  </a:cubicBezTo>
                  <a:cubicBezTo>
                    <a:pt x="16203" y="1405"/>
                    <a:pt x="16214" y="1337"/>
                    <a:pt x="16252" y="1283"/>
                  </a:cubicBezTo>
                  <a:cubicBezTo>
                    <a:pt x="16290" y="1228"/>
                    <a:pt x="16311" y="1150"/>
                    <a:pt x="16291" y="1109"/>
                  </a:cubicBezTo>
                  <a:cubicBezTo>
                    <a:pt x="16279" y="1065"/>
                    <a:pt x="16270" y="1010"/>
                    <a:pt x="16285" y="984"/>
                  </a:cubicBezTo>
                  <a:cubicBezTo>
                    <a:pt x="16301" y="957"/>
                    <a:pt x="16291" y="895"/>
                    <a:pt x="16255" y="855"/>
                  </a:cubicBezTo>
                  <a:cubicBezTo>
                    <a:pt x="16229" y="808"/>
                    <a:pt x="16261" y="729"/>
                    <a:pt x="16332" y="666"/>
                  </a:cubicBezTo>
                  <a:cubicBezTo>
                    <a:pt x="16404" y="605"/>
                    <a:pt x="16471" y="524"/>
                    <a:pt x="16476" y="482"/>
                  </a:cubicBezTo>
                  <a:cubicBezTo>
                    <a:pt x="16486" y="441"/>
                    <a:pt x="16498" y="403"/>
                    <a:pt x="16510" y="397"/>
                  </a:cubicBezTo>
                  <a:cubicBezTo>
                    <a:pt x="16522" y="391"/>
                    <a:pt x="16528" y="362"/>
                    <a:pt x="16513" y="340"/>
                  </a:cubicBezTo>
                  <a:cubicBezTo>
                    <a:pt x="16503" y="313"/>
                    <a:pt x="16456" y="280"/>
                    <a:pt x="16409" y="273"/>
                  </a:cubicBezTo>
                  <a:cubicBezTo>
                    <a:pt x="16362" y="262"/>
                    <a:pt x="16281" y="215"/>
                    <a:pt x="16225" y="173"/>
                  </a:cubicBezTo>
                  <a:cubicBezTo>
                    <a:pt x="16171" y="127"/>
                    <a:pt x="16107" y="92"/>
                    <a:pt x="16085" y="97"/>
                  </a:cubicBezTo>
                  <a:cubicBezTo>
                    <a:pt x="16063" y="98"/>
                    <a:pt x="16056" y="134"/>
                    <a:pt x="16072" y="176"/>
                  </a:cubicBezTo>
                  <a:cubicBezTo>
                    <a:pt x="16087" y="218"/>
                    <a:pt x="16078" y="272"/>
                    <a:pt x="16048" y="295"/>
                  </a:cubicBezTo>
                  <a:cubicBezTo>
                    <a:pt x="16023" y="322"/>
                    <a:pt x="15984" y="306"/>
                    <a:pt x="15979" y="266"/>
                  </a:cubicBezTo>
                  <a:cubicBezTo>
                    <a:pt x="15968" y="227"/>
                    <a:pt x="15926" y="163"/>
                    <a:pt x="15879" y="129"/>
                  </a:cubicBezTo>
                  <a:cubicBezTo>
                    <a:pt x="15836" y="92"/>
                    <a:pt x="15756" y="57"/>
                    <a:pt x="15707" y="37"/>
                  </a:cubicBezTo>
                  <a:cubicBezTo>
                    <a:pt x="15657" y="23"/>
                    <a:pt x="15588" y="19"/>
                    <a:pt x="15555" y="26"/>
                  </a:cubicBezTo>
                  <a:cubicBezTo>
                    <a:pt x="15521" y="35"/>
                    <a:pt x="15506" y="89"/>
                    <a:pt x="15526" y="144"/>
                  </a:cubicBezTo>
                  <a:cubicBezTo>
                    <a:pt x="15546" y="199"/>
                    <a:pt x="15542" y="262"/>
                    <a:pt x="15536" y="289"/>
                  </a:cubicBezTo>
                  <a:cubicBezTo>
                    <a:pt x="15525" y="315"/>
                    <a:pt x="15486" y="312"/>
                    <a:pt x="15458" y="283"/>
                  </a:cubicBezTo>
                  <a:cubicBezTo>
                    <a:pt x="15429" y="258"/>
                    <a:pt x="15376" y="219"/>
                    <a:pt x="15341" y="199"/>
                  </a:cubicBezTo>
                  <a:cubicBezTo>
                    <a:pt x="15305" y="180"/>
                    <a:pt x="15257" y="173"/>
                    <a:pt x="15237" y="190"/>
                  </a:cubicBezTo>
                  <a:cubicBezTo>
                    <a:pt x="15214" y="203"/>
                    <a:pt x="15207" y="232"/>
                    <a:pt x="15218" y="251"/>
                  </a:cubicBezTo>
                  <a:cubicBezTo>
                    <a:pt x="15227" y="271"/>
                    <a:pt x="15299" y="322"/>
                    <a:pt x="15373" y="366"/>
                  </a:cubicBezTo>
                  <a:cubicBezTo>
                    <a:pt x="15448" y="410"/>
                    <a:pt x="15525" y="484"/>
                    <a:pt x="15550" y="523"/>
                  </a:cubicBezTo>
                  <a:cubicBezTo>
                    <a:pt x="15571" y="566"/>
                    <a:pt x="15578" y="604"/>
                    <a:pt x="15567" y="620"/>
                  </a:cubicBezTo>
                  <a:cubicBezTo>
                    <a:pt x="15554" y="630"/>
                    <a:pt x="15516" y="617"/>
                    <a:pt x="15483" y="589"/>
                  </a:cubicBezTo>
                  <a:cubicBezTo>
                    <a:pt x="15449" y="560"/>
                    <a:pt x="15395" y="556"/>
                    <a:pt x="15363" y="575"/>
                  </a:cubicBezTo>
                  <a:cubicBezTo>
                    <a:pt x="15330" y="590"/>
                    <a:pt x="15302" y="630"/>
                    <a:pt x="15307" y="653"/>
                  </a:cubicBezTo>
                  <a:cubicBezTo>
                    <a:pt x="15307" y="677"/>
                    <a:pt x="15326" y="712"/>
                    <a:pt x="15346" y="733"/>
                  </a:cubicBezTo>
                  <a:cubicBezTo>
                    <a:pt x="15363" y="756"/>
                    <a:pt x="15369" y="779"/>
                    <a:pt x="15354" y="791"/>
                  </a:cubicBezTo>
                  <a:cubicBezTo>
                    <a:pt x="15342" y="808"/>
                    <a:pt x="15276" y="788"/>
                    <a:pt x="15219" y="749"/>
                  </a:cubicBezTo>
                  <a:cubicBezTo>
                    <a:pt x="15159" y="718"/>
                    <a:pt x="15090" y="684"/>
                    <a:pt x="15062" y="681"/>
                  </a:cubicBezTo>
                  <a:cubicBezTo>
                    <a:pt x="15034" y="677"/>
                    <a:pt x="14995" y="714"/>
                    <a:pt x="14969" y="755"/>
                  </a:cubicBezTo>
                  <a:cubicBezTo>
                    <a:pt x="14949" y="799"/>
                    <a:pt x="14899" y="843"/>
                    <a:pt x="14861" y="847"/>
                  </a:cubicBezTo>
                  <a:cubicBezTo>
                    <a:pt x="14823" y="853"/>
                    <a:pt x="14793" y="875"/>
                    <a:pt x="14798" y="892"/>
                  </a:cubicBezTo>
                  <a:cubicBezTo>
                    <a:pt x="14798" y="910"/>
                    <a:pt x="14825" y="938"/>
                    <a:pt x="14851" y="954"/>
                  </a:cubicBezTo>
                  <a:cubicBezTo>
                    <a:pt x="14877" y="971"/>
                    <a:pt x="14857" y="1001"/>
                    <a:pt x="14806" y="1020"/>
                  </a:cubicBezTo>
                  <a:cubicBezTo>
                    <a:pt x="14755" y="1042"/>
                    <a:pt x="14711" y="1084"/>
                    <a:pt x="14701" y="1116"/>
                  </a:cubicBezTo>
                  <a:cubicBezTo>
                    <a:pt x="14690" y="1147"/>
                    <a:pt x="14731" y="1211"/>
                    <a:pt x="14784" y="1254"/>
                  </a:cubicBezTo>
                  <a:cubicBezTo>
                    <a:pt x="14837" y="1296"/>
                    <a:pt x="14855" y="1354"/>
                    <a:pt x="14825" y="1373"/>
                  </a:cubicBezTo>
                  <a:cubicBezTo>
                    <a:pt x="14800" y="1402"/>
                    <a:pt x="14809" y="1434"/>
                    <a:pt x="14859" y="1455"/>
                  </a:cubicBezTo>
                  <a:cubicBezTo>
                    <a:pt x="14908" y="1479"/>
                    <a:pt x="14965" y="1518"/>
                    <a:pt x="14991" y="1534"/>
                  </a:cubicBezTo>
                  <a:cubicBezTo>
                    <a:pt x="15014" y="1554"/>
                    <a:pt x="15014" y="1581"/>
                    <a:pt x="14995" y="1601"/>
                  </a:cubicBezTo>
                  <a:cubicBezTo>
                    <a:pt x="14973" y="1617"/>
                    <a:pt x="14893" y="1618"/>
                    <a:pt x="14817" y="1601"/>
                  </a:cubicBezTo>
                  <a:cubicBezTo>
                    <a:pt x="14742" y="1582"/>
                    <a:pt x="14652" y="1521"/>
                    <a:pt x="14625" y="1455"/>
                  </a:cubicBezTo>
                  <a:cubicBezTo>
                    <a:pt x="14594" y="1392"/>
                    <a:pt x="14540" y="1328"/>
                    <a:pt x="14503" y="1315"/>
                  </a:cubicBezTo>
                  <a:cubicBezTo>
                    <a:pt x="14465" y="1304"/>
                    <a:pt x="14458" y="1270"/>
                    <a:pt x="14487" y="1249"/>
                  </a:cubicBezTo>
                  <a:cubicBezTo>
                    <a:pt x="14515" y="1224"/>
                    <a:pt x="14498" y="1186"/>
                    <a:pt x="14448" y="1159"/>
                  </a:cubicBezTo>
                  <a:cubicBezTo>
                    <a:pt x="14398" y="1131"/>
                    <a:pt x="14314" y="1113"/>
                    <a:pt x="14264" y="1105"/>
                  </a:cubicBezTo>
                  <a:cubicBezTo>
                    <a:pt x="14212" y="1104"/>
                    <a:pt x="14115" y="1092"/>
                    <a:pt x="14048" y="1076"/>
                  </a:cubicBezTo>
                  <a:cubicBezTo>
                    <a:pt x="13980" y="1064"/>
                    <a:pt x="13841" y="996"/>
                    <a:pt x="13739" y="926"/>
                  </a:cubicBezTo>
                  <a:cubicBezTo>
                    <a:pt x="13635" y="856"/>
                    <a:pt x="13528" y="797"/>
                    <a:pt x="13500" y="791"/>
                  </a:cubicBezTo>
                  <a:cubicBezTo>
                    <a:pt x="13472" y="791"/>
                    <a:pt x="13427" y="801"/>
                    <a:pt x="13402" y="827"/>
                  </a:cubicBezTo>
                  <a:cubicBezTo>
                    <a:pt x="13376" y="852"/>
                    <a:pt x="13336" y="841"/>
                    <a:pt x="13307" y="811"/>
                  </a:cubicBezTo>
                  <a:cubicBezTo>
                    <a:pt x="13281" y="778"/>
                    <a:pt x="13227" y="773"/>
                    <a:pt x="13184" y="797"/>
                  </a:cubicBezTo>
                  <a:cubicBezTo>
                    <a:pt x="13143" y="825"/>
                    <a:pt x="13063" y="845"/>
                    <a:pt x="13009" y="848"/>
                  </a:cubicBezTo>
                  <a:cubicBezTo>
                    <a:pt x="12955" y="852"/>
                    <a:pt x="12912" y="867"/>
                    <a:pt x="12912" y="887"/>
                  </a:cubicBezTo>
                  <a:cubicBezTo>
                    <a:pt x="12918" y="905"/>
                    <a:pt x="12976" y="977"/>
                    <a:pt x="13052" y="1047"/>
                  </a:cubicBezTo>
                  <a:cubicBezTo>
                    <a:pt x="13126" y="1118"/>
                    <a:pt x="13229" y="1180"/>
                    <a:pt x="13276" y="1183"/>
                  </a:cubicBezTo>
                  <a:cubicBezTo>
                    <a:pt x="13323" y="1190"/>
                    <a:pt x="13388" y="1216"/>
                    <a:pt x="13418" y="1244"/>
                  </a:cubicBezTo>
                  <a:cubicBezTo>
                    <a:pt x="13448" y="1270"/>
                    <a:pt x="13531" y="1303"/>
                    <a:pt x="13601" y="1318"/>
                  </a:cubicBezTo>
                  <a:cubicBezTo>
                    <a:pt x="13670" y="1329"/>
                    <a:pt x="13707" y="1373"/>
                    <a:pt x="13686" y="1413"/>
                  </a:cubicBezTo>
                  <a:cubicBezTo>
                    <a:pt x="13660" y="1450"/>
                    <a:pt x="13656" y="1519"/>
                    <a:pt x="13661" y="1561"/>
                  </a:cubicBezTo>
                  <a:cubicBezTo>
                    <a:pt x="13667" y="1602"/>
                    <a:pt x="13722" y="1682"/>
                    <a:pt x="13778" y="1737"/>
                  </a:cubicBezTo>
                  <a:cubicBezTo>
                    <a:pt x="13834" y="1793"/>
                    <a:pt x="13876" y="1864"/>
                    <a:pt x="13876" y="1896"/>
                  </a:cubicBezTo>
                  <a:cubicBezTo>
                    <a:pt x="13871" y="1927"/>
                    <a:pt x="13836" y="1931"/>
                    <a:pt x="13793" y="1900"/>
                  </a:cubicBezTo>
                  <a:cubicBezTo>
                    <a:pt x="13750" y="1869"/>
                    <a:pt x="13670" y="1800"/>
                    <a:pt x="13623" y="1741"/>
                  </a:cubicBezTo>
                  <a:cubicBezTo>
                    <a:pt x="13573" y="1683"/>
                    <a:pt x="13488" y="1613"/>
                    <a:pt x="13431" y="1591"/>
                  </a:cubicBezTo>
                  <a:cubicBezTo>
                    <a:pt x="13375" y="1567"/>
                    <a:pt x="13301" y="1517"/>
                    <a:pt x="13263" y="1485"/>
                  </a:cubicBezTo>
                  <a:cubicBezTo>
                    <a:pt x="13231" y="1447"/>
                    <a:pt x="13191" y="1455"/>
                    <a:pt x="13179" y="1493"/>
                  </a:cubicBezTo>
                  <a:cubicBezTo>
                    <a:pt x="13170" y="1530"/>
                    <a:pt x="13130" y="1584"/>
                    <a:pt x="13088" y="1604"/>
                  </a:cubicBezTo>
                  <a:cubicBezTo>
                    <a:pt x="13049" y="1631"/>
                    <a:pt x="12994" y="1601"/>
                    <a:pt x="12979" y="1542"/>
                  </a:cubicBezTo>
                  <a:cubicBezTo>
                    <a:pt x="12963" y="1483"/>
                    <a:pt x="12909" y="1453"/>
                    <a:pt x="12869" y="1479"/>
                  </a:cubicBezTo>
                  <a:cubicBezTo>
                    <a:pt x="12827" y="1499"/>
                    <a:pt x="12796" y="1542"/>
                    <a:pt x="12800" y="1565"/>
                  </a:cubicBezTo>
                  <a:cubicBezTo>
                    <a:pt x="12806" y="1589"/>
                    <a:pt x="12765" y="1631"/>
                    <a:pt x="12718" y="1661"/>
                  </a:cubicBezTo>
                  <a:cubicBezTo>
                    <a:pt x="12669" y="1689"/>
                    <a:pt x="12648" y="1744"/>
                    <a:pt x="12648" y="1783"/>
                  </a:cubicBezTo>
                  <a:cubicBezTo>
                    <a:pt x="12659" y="1821"/>
                    <a:pt x="12722" y="1875"/>
                    <a:pt x="12788" y="1910"/>
                  </a:cubicBezTo>
                  <a:cubicBezTo>
                    <a:pt x="12857" y="1938"/>
                    <a:pt x="12941" y="2004"/>
                    <a:pt x="12973" y="2053"/>
                  </a:cubicBezTo>
                  <a:cubicBezTo>
                    <a:pt x="13004" y="2102"/>
                    <a:pt x="12993" y="2132"/>
                    <a:pt x="12943" y="2117"/>
                  </a:cubicBezTo>
                  <a:cubicBezTo>
                    <a:pt x="12893" y="2102"/>
                    <a:pt x="12827" y="2074"/>
                    <a:pt x="12797" y="2049"/>
                  </a:cubicBezTo>
                  <a:cubicBezTo>
                    <a:pt x="12768" y="2023"/>
                    <a:pt x="12713" y="2038"/>
                    <a:pt x="12679" y="2082"/>
                  </a:cubicBezTo>
                  <a:cubicBezTo>
                    <a:pt x="12647" y="2126"/>
                    <a:pt x="12607" y="2188"/>
                    <a:pt x="12601" y="2224"/>
                  </a:cubicBezTo>
                  <a:cubicBezTo>
                    <a:pt x="12592" y="2259"/>
                    <a:pt x="12534" y="2311"/>
                    <a:pt x="12474" y="2348"/>
                  </a:cubicBezTo>
                  <a:cubicBezTo>
                    <a:pt x="12412" y="2382"/>
                    <a:pt x="12358" y="2387"/>
                    <a:pt x="12352" y="2362"/>
                  </a:cubicBezTo>
                  <a:cubicBezTo>
                    <a:pt x="12348" y="2336"/>
                    <a:pt x="12376" y="2297"/>
                    <a:pt x="12419" y="2279"/>
                  </a:cubicBezTo>
                  <a:cubicBezTo>
                    <a:pt x="12464" y="2265"/>
                    <a:pt x="12479" y="2215"/>
                    <a:pt x="12459" y="2179"/>
                  </a:cubicBezTo>
                  <a:cubicBezTo>
                    <a:pt x="12436" y="2146"/>
                    <a:pt x="12450" y="2065"/>
                    <a:pt x="12482" y="2003"/>
                  </a:cubicBezTo>
                  <a:cubicBezTo>
                    <a:pt x="12509" y="1938"/>
                    <a:pt x="12494" y="1779"/>
                    <a:pt x="12442" y="1640"/>
                  </a:cubicBezTo>
                  <a:cubicBezTo>
                    <a:pt x="12390" y="1500"/>
                    <a:pt x="12309" y="1401"/>
                    <a:pt x="12268" y="1417"/>
                  </a:cubicBezTo>
                  <a:cubicBezTo>
                    <a:pt x="12228" y="1433"/>
                    <a:pt x="12150" y="1512"/>
                    <a:pt x="12090" y="1586"/>
                  </a:cubicBezTo>
                  <a:cubicBezTo>
                    <a:pt x="12034" y="1664"/>
                    <a:pt x="11996" y="1773"/>
                    <a:pt x="12001" y="1831"/>
                  </a:cubicBezTo>
                  <a:cubicBezTo>
                    <a:pt x="12011" y="1888"/>
                    <a:pt x="12030" y="1953"/>
                    <a:pt x="12040" y="1981"/>
                  </a:cubicBezTo>
                  <a:cubicBezTo>
                    <a:pt x="12056" y="2005"/>
                    <a:pt x="12032" y="2060"/>
                    <a:pt x="11991" y="2101"/>
                  </a:cubicBezTo>
                  <a:cubicBezTo>
                    <a:pt x="11951" y="2143"/>
                    <a:pt x="11909" y="2137"/>
                    <a:pt x="11894" y="2092"/>
                  </a:cubicBezTo>
                  <a:cubicBezTo>
                    <a:pt x="11880" y="2046"/>
                    <a:pt x="11886" y="1969"/>
                    <a:pt x="11910" y="1924"/>
                  </a:cubicBezTo>
                  <a:cubicBezTo>
                    <a:pt x="11936" y="1880"/>
                    <a:pt x="11922" y="1786"/>
                    <a:pt x="11891" y="1717"/>
                  </a:cubicBezTo>
                  <a:cubicBezTo>
                    <a:pt x="11855" y="1652"/>
                    <a:pt x="11806" y="1586"/>
                    <a:pt x="11774" y="1577"/>
                  </a:cubicBezTo>
                  <a:cubicBezTo>
                    <a:pt x="11742" y="1568"/>
                    <a:pt x="11670" y="1578"/>
                    <a:pt x="11614" y="1600"/>
                  </a:cubicBezTo>
                  <a:cubicBezTo>
                    <a:pt x="11560" y="1623"/>
                    <a:pt x="11484" y="1683"/>
                    <a:pt x="11455" y="1739"/>
                  </a:cubicBezTo>
                  <a:cubicBezTo>
                    <a:pt x="11420" y="1791"/>
                    <a:pt x="11424" y="1879"/>
                    <a:pt x="11459" y="1929"/>
                  </a:cubicBezTo>
                  <a:cubicBezTo>
                    <a:pt x="11497" y="1974"/>
                    <a:pt x="11525" y="2053"/>
                    <a:pt x="11525" y="2094"/>
                  </a:cubicBezTo>
                  <a:cubicBezTo>
                    <a:pt x="11525" y="2136"/>
                    <a:pt x="11605" y="2216"/>
                    <a:pt x="11696" y="2275"/>
                  </a:cubicBezTo>
                  <a:cubicBezTo>
                    <a:pt x="11789" y="2331"/>
                    <a:pt x="11884" y="2411"/>
                    <a:pt x="11915" y="2446"/>
                  </a:cubicBezTo>
                  <a:cubicBezTo>
                    <a:pt x="11944" y="2482"/>
                    <a:pt x="11945" y="2550"/>
                    <a:pt x="11919" y="2597"/>
                  </a:cubicBezTo>
                  <a:cubicBezTo>
                    <a:pt x="11893" y="2645"/>
                    <a:pt x="11838" y="2628"/>
                    <a:pt x="11803" y="2558"/>
                  </a:cubicBezTo>
                  <a:cubicBezTo>
                    <a:pt x="11764" y="2491"/>
                    <a:pt x="11682" y="2411"/>
                    <a:pt x="11616" y="2379"/>
                  </a:cubicBezTo>
                  <a:cubicBezTo>
                    <a:pt x="11550" y="2352"/>
                    <a:pt x="11453" y="2251"/>
                    <a:pt x="11400" y="2161"/>
                  </a:cubicBezTo>
                  <a:cubicBezTo>
                    <a:pt x="11346" y="2072"/>
                    <a:pt x="11285" y="1991"/>
                    <a:pt x="11266" y="1978"/>
                  </a:cubicBezTo>
                  <a:cubicBezTo>
                    <a:pt x="11245" y="1967"/>
                    <a:pt x="11165" y="1965"/>
                    <a:pt x="11089" y="1977"/>
                  </a:cubicBezTo>
                  <a:cubicBezTo>
                    <a:pt x="11012" y="1989"/>
                    <a:pt x="10947" y="2022"/>
                    <a:pt x="10937" y="2049"/>
                  </a:cubicBezTo>
                  <a:cubicBezTo>
                    <a:pt x="10933" y="2078"/>
                    <a:pt x="10996" y="2150"/>
                    <a:pt x="11084" y="2207"/>
                  </a:cubicBezTo>
                  <a:cubicBezTo>
                    <a:pt x="11172" y="2265"/>
                    <a:pt x="11274" y="2321"/>
                    <a:pt x="11312" y="2328"/>
                  </a:cubicBezTo>
                  <a:cubicBezTo>
                    <a:pt x="11351" y="2333"/>
                    <a:pt x="11401" y="2360"/>
                    <a:pt x="11424" y="2381"/>
                  </a:cubicBezTo>
                  <a:cubicBezTo>
                    <a:pt x="11447" y="2401"/>
                    <a:pt x="11421" y="2408"/>
                    <a:pt x="11366" y="2396"/>
                  </a:cubicBezTo>
                  <a:cubicBezTo>
                    <a:pt x="11312" y="2383"/>
                    <a:pt x="11227" y="2382"/>
                    <a:pt x="11175" y="2385"/>
                  </a:cubicBezTo>
                  <a:cubicBezTo>
                    <a:pt x="11124" y="2392"/>
                    <a:pt x="11114" y="2442"/>
                    <a:pt x="11159" y="2490"/>
                  </a:cubicBezTo>
                  <a:cubicBezTo>
                    <a:pt x="11203" y="2537"/>
                    <a:pt x="11182" y="2548"/>
                    <a:pt x="11117" y="2507"/>
                  </a:cubicBezTo>
                  <a:cubicBezTo>
                    <a:pt x="11051" y="2469"/>
                    <a:pt x="10986" y="2388"/>
                    <a:pt x="10971" y="2331"/>
                  </a:cubicBezTo>
                  <a:cubicBezTo>
                    <a:pt x="10956" y="2274"/>
                    <a:pt x="10923" y="2217"/>
                    <a:pt x="10898" y="2203"/>
                  </a:cubicBezTo>
                  <a:cubicBezTo>
                    <a:pt x="10872" y="2189"/>
                    <a:pt x="10835" y="2147"/>
                    <a:pt x="10819" y="2106"/>
                  </a:cubicBezTo>
                  <a:cubicBezTo>
                    <a:pt x="10803" y="2066"/>
                    <a:pt x="10758" y="2050"/>
                    <a:pt x="10727" y="2066"/>
                  </a:cubicBezTo>
                  <a:cubicBezTo>
                    <a:pt x="10694" y="2081"/>
                    <a:pt x="10662" y="2144"/>
                    <a:pt x="10657" y="2203"/>
                  </a:cubicBezTo>
                  <a:cubicBezTo>
                    <a:pt x="10652" y="2262"/>
                    <a:pt x="10671" y="2338"/>
                    <a:pt x="10705" y="2366"/>
                  </a:cubicBezTo>
                  <a:cubicBezTo>
                    <a:pt x="10736" y="2398"/>
                    <a:pt x="10763" y="2466"/>
                    <a:pt x="10758" y="2519"/>
                  </a:cubicBezTo>
                  <a:cubicBezTo>
                    <a:pt x="10753" y="2571"/>
                    <a:pt x="10710" y="2596"/>
                    <a:pt x="10658" y="2567"/>
                  </a:cubicBezTo>
                  <a:cubicBezTo>
                    <a:pt x="10603" y="2545"/>
                    <a:pt x="10527" y="2525"/>
                    <a:pt x="10485" y="2530"/>
                  </a:cubicBezTo>
                  <a:cubicBezTo>
                    <a:pt x="10442" y="2534"/>
                    <a:pt x="10364" y="2579"/>
                    <a:pt x="10313" y="2629"/>
                  </a:cubicBezTo>
                  <a:cubicBezTo>
                    <a:pt x="10259" y="2675"/>
                    <a:pt x="10230" y="2725"/>
                    <a:pt x="10246" y="2731"/>
                  </a:cubicBezTo>
                  <a:cubicBezTo>
                    <a:pt x="10259" y="2741"/>
                    <a:pt x="10305" y="2741"/>
                    <a:pt x="10346" y="2744"/>
                  </a:cubicBezTo>
                  <a:cubicBezTo>
                    <a:pt x="10386" y="2747"/>
                    <a:pt x="10456" y="2776"/>
                    <a:pt x="10499" y="2820"/>
                  </a:cubicBezTo>
                  <a:cubicBezTo>
                    <a:pt x="10545" y="2859"/>
                    <a:pt x="10538" y="2894"/>
                    <a:pt x="10488" y="2892"/>
                  </a:cubicBezTo>
                  <a:cubicBezTo>
                    <a:pt x="10437" y="2886"/>
                    <a:pt x="10368" y="2901"/>
                    <a:pt x="10333" y="2915"/>
                  </a:cubicBezTo>
                  <a:cubicBezTo>
                    <a:pt x="10299" y="2931"/>
                    <a:pt x="10301" y="2962"/>
                    <a:pt x="10338" y="2983"/>
                  </a:cubicBezTo>
                  <a:cubicBezTo>
                    <a:pt x="10374" y="3008"/>
                    <a:pt x="10388" y="3040"/>
                    <a:pt x="10367" y="3060"/>
                  </a:cubicBezTo>
                  <a:cubicBezTo>
                    <a:pt x="10346" y="3080"/>
                    <a:pt x="10292" y="3094"/>
                    <a:pt x="10248" y="3090"/>
                  </a:cubicBezTo>
                  <a:cubicBezTo>
                    <a:pt x="10202" y="3088"/>
                    <a:pt x="10164" y="3105"/>
                    <a:pt x="10170" y="3130"/>
                  </a:cubicBezTo>
                  <a:cubicBezTo>
                    <a:pt x="10170" y="3154"/>
                    <a:pt x="10190" y="3183"/>
                    <a:pt x="10207" y="3199"/>
                  </a:cubicBezTo>
                  <a:cubicBezTo>
                    <a:pt x="10226" y="3209"/>
                    <a:pt x="10211" y="3227"/>
                    <a:pt x="10174" y="3227"/>
                  </a:cubicBezTo>
                  <a:cubicBezTo>
                    <a:pt x="10138" y="3231"/>
                    <a:pt x="10081" y="3211"/>
                    <a:pt x="10055" y="3180"/>
                  </a:cubicBezTo>
                  <a:cubicBezTo>
                    <a:pt x="10025" y="3152"/>
                    <a:pt x="9965" y="3132"/>
                    <a:pt x="9921" y="3136"/>
                  </a:cubicBezTo>
                  <a:cubicBezTo>
                    <a:pt x="9877" y="3145"/>
                    <a:pt x="9814" y="3175"/>
                    <a:pt x="9778" y="3210"/>
                  </a:cubicBezTo>
                  <a:cubicBezTo>
                    <a:pt x="9744" y="3247"/>
                    <a:pt x="9730" y="3299"/>
                    <a:pt x="9750" y="3323"/>
                  </a:cubicBezTo>
                  <a:cubicBezTo>
                    <a:pt x="9769" y="3348"/>
                    <a:pt x="9768" y="3377"/>
                    <a:pt x="9753" y="3392"/>
                  </a:cubicBezTo>
                  <a:cubicBezTo>
                    <a:pt x="9735" y="3404"/>
                    <a:pt x="9671" y="3415"/>
                    <a:pt x="9608" y="3410"/>
                  </a:cubicBezTo>
                  <a:cubicBezTo>
                    <a:pt x="9547" y="3408"/>
                    <a:pt x="9472" y="3437"/>
                    <a:pt x="9450" y="3482"/>
                  </a:cubicBezTo>
                  <a:cubicBezTo>
                    <a:pt x="9425" y="3524"/>
                    <a:pt x="9447" y="3578"/>
                    <a:pt x="9502" y="3594"/>
                  </a:cubicBezTo>
                  <a:cubicBezTo>
                    <a:pt x="9553" y="3617"/>
                    <a:pt x="9708" y="3615"/>
                    <a:pt x="9842" y="3599"/>
                  </a:cubicBezTo>
                  <a:cubicBezTo>
                    <a:pt x="9975" y="3582"/>
                    <a:pt x="10113" y="3588"/>
                    <a:pt x="10148" y="3609"/>
                  </a:cubicBezTo>
                  <a:cubicBezTo>
                    <a:pt x="10183" y="3629"/>
                    <a:pt x="10254" y="3630"/>
                    <a:pt x="10309" y="3617"/>
                  </a:cubicBezTo>
                  <a:cubicBezTo>
                    <a:pt x="10365" y="3602"/>
                    <a:pt x="10437" y="3591"/>
                    <a:pt x="10471" y="3592"/>
                  </a:cubicBezTo>
                  <a:cubicBezTo>
                    <a:pt x="10506" y="3592"/>
                    <a:pt x="10538" y="3622"/>
                    <a:pt x="10543" y="3654"/>
                  </a:cubicBezTo>
                  <a:cubicBezTo>
                    <a:pt x="10543" y="3687"/>
                    <a:pt x="10527" y="3741"/>
                    <a:pt x="10491" y="3770"/>
                  </a:cubicBezTo>
                  <a:cubicBezTo>
                    <a:pt x="10456" y="3802"/>
                    <a:pt x="10422" y="3881"/>
                    <a:pt x="10422" y="3946"/>
                  </a:cubicBezTo>
                  <a:cubicBezTo>
                    <a:pt x="10417" y="4012"/>
                    <a:pt x="10408" y="4080"/>
                    <a:pt x="10393" y="4090"/>
                  </a:cubicBezTo>
                  <a:cubicBezTo>
                    <a:pt x="10380" y="4102"/>
                    <a:pt x="10347" y="4092"/>
                    <a:pt x="10318" y="4064"/>
                  </a:cubicBezTo>
                  <a:cubicBezTo>
                    <a:pt x="10290" y="4039"/>
                    <a:pt x="10260" y="3986"/>
                    <a:pt x="10246" y="3952"/>
                  </a:cubicBezTo>
                  <a:cubicBezTo>
                    <a:pt x="10235" y="3917"/>
                    <a:pt x="10185" y="3893"/>
                    <a:pt x="10134" y="3899"/>
                  </a:cubicBezTo>
                  <a:cubicBezTo>
                    <a:pt x="10084" y="3902"/>
                    <a:pt x="10022" y="3890"/>
                    <a:pt x="9997" y="3865"/>
                  </a:cubicBezTo>
                  <a:cubicBezTo>
                    <a:pt x="9972" y="3840"/>
                    <a:pt x="9898" y="3815"/>
                    <a:pt x="9834" y="3805"/>
                  </a:cubicBezTo>
                  <a:cubicBezTo>
                    <a:pt x="9770" y="3800"/>
                    <a:pt x="9738" y="3806"/>
                    <a:pt x="9760" y="3828"/>
                  </a:cubicBezTo>
                  <a:cubicBezTo>
                    <a:pt x="9783" y="3847"/>
                    <a:pt x="9783" y="3883"/>
                    <a:pt x="9773" y="3912"/>
                  </a:cubicBezTo>
                  <a:cubicBezTo>
                    <a:pt x="9754" y="3936"/>
                    <a:pt x="9702" y="3942"/>
                    <a:pt x="9654" y="3911"/>
                  </a:cubicBezTo>
                  <a:cubicBezTo>
                    <a:pt x="9605" y="3882"/>
                    <a:pt x="9535" y="3864"/>
                    <a:pt x="9501" y="3860"/>
                  </a:cubicBezTo>
                  <a:cubicBezTo>
                    <a:pt x="9467" y="3862"/>
                    <a:pt x="9478" y="3888"/>
                    <a:pt x="9530" y="3918"/>
                  </a:cubicBezTo>
                  <a:cubicBezTo>
                    <a:pt x="9580" y="3951"/>
                    <a:pt x="9641" y="4011"/>
                    <a:pt x="9665" y="4052"/>
                  </a:cubicBezTo>
                  <a:cubicBezTo>
                    <a:pt x="9691" y="4092"/>
                    <a:pt x="9686" y="4123"/>
                    <a:pt x="9658" y="4123"/>
                  </a:cubicBezTo>
                  <a:cubicBezTo>
                    <a:pt x="9629" y="4118"/>
                    <a:pt x="9592" y="4140"/>
                    <a:pt x="9576" y="4167"/>
                  </a:cubicBezTo>
                  <a:cubicBezTo>
                    <a:pt x="9556" y="4190"/>
                    <a:pt x="9557" y="4247"/>
                    <a:pt x="9573" y="4283"/>
                  </a:cubicBezTo>
                  <a:cubicBezTo>
                    <a:pt x="9584" y="4322"/>
                    <a:pt x="9588" y="4370"/>
                    <a:pt x="9583" y="4396"/>
                  </a:cubicBezTo>
                  <a:cubicBezTo>
                    <a:pt x="9570" y="4418"/>
                    <a:pt x="9540" y="4411"/>
                    <a:pt x="9512" y="4371"/>
                  </a:cubicBezTo>
                  <a:cubicBezTo>
                    <a:pt x="9483" y="4330"/>
                    <a:pt x="9451" y="4265"/>
                    <a:pt x="9447" y="4220"/>
                  </a:cubicBezTo>
                  <a:cubicBezTo>
                    <a:pt x="9442" y="4175"/>
                    <a:pt x="9397" y="4100"/>
                    <a:pt x="9350" y="4048"/>
                  </a:cubicBezTo>
                  <a:cubicBezTo>
                    <a:pt x="9302" y="3997"/>
                    <a:pt x="9230" y="3985"/>
                    <a:pt x="9191" y="4017"/>
                  </a:cubicBezTo>
                  <a:cubicBezTo>
                    <a:pt x="9151" y="4050"/>
                    <a:pt x="9083" y="4077"/>
                    <a:pt x="9039" y="4084"/>
                  </a:cubicBezTo>
                  <a:cubicBezTo>
                    <a:pt x="8995" y="4089"/>
                    <a:pt x="8938" y="4066"/>
                    <a:pt x="8913" y="4035"/>
                  </a:cubicBezTo>
                  <a:cubicBezTo>
                    <a:pt x="8889" y="4004"/>
                    <a:pt x="8879" y="3962"/>
                    <a:pt x="8893" y="3944"/>
                  </a:cubicBezTo>
                  <a:cubicBezTo>
                    <a:pt x="8909" y="3925"/>
                    <a:pt x="8890" y="3899"/>
                    <a:pt x="8853" y="3895"/>
                  </a:cubicBezTo>
                  <a:cubicBezTo>
                    <a:pt x="8816" y="3888"/>
                    <a:pt x="8750" y="3914"/>
                    <a:pt x="8704" y="3951"/>
                  </a:cubicBezTo>
                  <a:cubicBezTo>
                    <a:pt x="8658" y="3990"/>
                    <a:pt x="8663" y="4050"/>
                    <a:pt x="8708" y="4095"/>
                  </a:cubicBezTo>
                  <a:cubicBezTo>
                    <a:pt x="8758" y="4134"/>
                    <a:pt x="8850" y="4174"/>
                    <a:pt x="8918" y="4179"/>
                  </a:cubicBezTo>
                  <a:cubicBezTo>
                    <a:pt x="8986" y="4185"/>
                    <a:pt x="9090" y="4214"/>
                    <a:pt x="9148" y="4249"/>
                  </a:cubicBezTo>
                  <a:cubicBezTo>
                    <a:pt x="9208" y="4279"/>
                    <a:pt x="9231" y="4336"/>
                    <a:pt x="9207" y="4373"/>
                  </a:cubicBezTo>
                  <a:cubicBezTo>
                    <a:pt x="9180" y="4408"/>
                    <a:pt x="9064" y="4437"/>
                    <a:pt x="8949" y="4439"/>
                  </a:cubicBezTo>
                  <a:cubicBezTo>
                    <a:pt x="8835" y="4441"/>
                    <a:pt x="8720" y="4424"/>
                    <a:pt x="8693" y="4405"/>
                  </a:cubicBezTo>
                  <a:cubicBezTo>
                    <a:pt x="8667" y="4383"/>
                    <a:pt x="8607" y="4362"/>
                    <a:pt x="8562" y="4363"/>
                  </a:cubicBezTo>
                  <a:cubicBezTo>
                    <a:pt x="8515" y="4360"/>
                    <a:pt x="8464" y="4394"/>
                    <a:pt x="8444" y="4438"/>
                  </a:cubicBezTo>
                  <a:cubicBezTo>
                    <a:pt x="8428" y="4483"/>
                    <a:pt x="8444" y="4544"/>
                    <a:pt x="8486" y="4577"/>
                  </a:cubicBezTo>
                  <a:cubicBezTo>
                    <a:pt x="8527" y="4612"/>
                    <a:pt x="8533" y="4667"/>
                    <a:pt x="8502" y="4707"/>
                  </a:cubicBezTo>
                  <a:cubicBezTo>
                    <a:pt x="8470" y="4748"/>
                    <a:pt x="8477" y="4775"/>
                    <a:pt x="8523" y="4772"/>
                  </a:cubicBezTo>
                  <a:cubicBezTo>
                    <a:pt x="8568" y="4771"/>
                    <a:pt x="8650" y="4729"/>
                    <a:pt x="8700" y="4679"/>
                  </a:cubicBezTo>
                  <a:cubicBezTo>
                    <a:pt x="8753" y="4634"/>
                    <a:pt x="8836" y="4597"/>
                    <a:pt x="8888" y="4605"/>
                  </a:cubicBezTo>
                  <a:cubicBezTo>
                    <a:pt x="8939" y="4611"/>
                    <a:pt x="9006" y="4649"/>
                    <a:pt x="9041" y="4684"/>
                  </a:cubicBezTo>
                  <a:cubicBezTo>
                    <a:pt x="9072" y="4721"/>
                    <a:pt x="9032" y="4749"/>
                    <a:pt x="8948" y="4747"/>
                  </a:cubicBezTo>
                  <a:cubicBezTo>
                    <a:pt x="8864" y="4747"/>
                    <a:pt x="8788" y="4785"/>
                    <a:pt x="8783" y="4834"/>
                  </a:cubicBezTo>
                  <a:cubicBezTo>
                    <a:pt x="8778" y="4884"/>
                    <a:pt x="8806" y="4953"/>
                    <a:pt x="8838" y="4997"/>
                  </a:cubicBezTo>
                  <a:cubicBezTo>
                    <a:pt x="8878" y="5032"/>
                    <a:pt x="8964" y="5101"/>
                    <a:pt x="9034" y="5144"/>
                  </a:cubicBezTo>
                  <a:cubicBezTo>
                    <a:pt x="9106" y="5185"/>
                    <a:pt x="9170" y="5249"/>
                    <a:pt x="9170" y="5288"/>
                  </a:cubicBezTo>
                  <a:cubicBezTo>
                    <a:pt x="9179" y="5326"/>
                    <a:pt x="9132" y="5332"/>
                    <a:pt x="9084" y="5297"/>
                  </a:cubicBezTo>
                  <a:cubicBezTo>
                    <a:pt x="9031" y="5266"/>
                    <a:pt x="8961" y="5238"/>
                    <a:pt x="8922" y="5234"/>
                  </a:cubicBezTo>
                  <a:cubicBezTo>
                    <a:pt x="8884" y="5235"/>
                    <a:pt x="8806" y="5189"/>
                    <a:pt x="8753" y="5132"/>
                  </a:cubicBezTo>
                  <a:cubicBezTo>
                    <a:pt x="8698" y="5077"/>
                    <a:pt x="8630" y="5031"/>
                    <a:pt x="8601" y="5032"/>
                  </a:cubicBezTo>
                  <a:cubicBezTo>
                    <a:pt x="8572" y="5031"/>
                    <a:pt x="8520" y="5059"/>
                    <a:pt x="8485" y="5087"/>
                  </a:cubicBezTo>
                  <a:cubicBezTo>
                    <a:pt x="8453" y="5120"/>
                    <a:pt x="8460" y="5165"/>
                    <a:pt x="8507" y="5198"/>
                  </a:cubicBezTo>
                  <a:cubicBezTo>
                    <a:pt x="8554" y="5231"/>
                    <a:pt x="8544" y="5255"/>
                    <a:pt x="8486" y="5252"/>
                  </a:cubicBezTo>
                  <a:cubicBezTo>
                    <a:pt x="8428" y="5248"/>
                    <a:pt x="8337" y="5270"/>
                    <a:pt x="8286" y="5299"/>
                  </a:cubicBezTo>
                  <a:cubicBezTo>
                    <a:pt x="8234" y="5329"/>
                    <a:pt x="8190" y="5375"/>
                    <a:pt x="8196" y="5406"/>
                  </a:cubicBezTo>
                  <a:cubicBezTo>
                    <a:pt x="8196" y="5438"/>
                    <a:pt x="8254" y="5487"/>
                    <a:pt x="8319" y="5514"/>
                  </a:cubicBezTo>
                  <a:cubicBezTo>
                    <a:pt x="8383" y="5540"/>
                    <a:pt x="8473" y="5546"/>
                    <a:pt x="8522" y="5524"/>
                  </a:cubicBezTo>
                  <a:cubicBezTo>
                    <a:pt x="8571" y="5505"/>
                    <a:pt x="8638" y="5512"/>
                    <a:pt x="8677" y="5540"/>
                  </a:cubicBezTo>
                  <a:cubicBezTo>
                    <a:pt x="8714" y="5572"/>
                    <a:pt x="8787" y="5588"/>
                    <a:pt x="8840" y="5582"/>
                  </a:cubicBezTo>
                  <a:cubicBezTo>
                    <a:pt x="8893" y="5575"/>
                    <a:pt x="8953" y="5602"/>
                    <a:pt x="8975" y="5645"/>
                  </a:cubicBezTo>
                  <a:cubicBezTo>
                    <a:pt x="8996" y="5689"/>
                    <a:pt x="9048" y="5743"/>
                    <a:pt x="9090" y="5763"/>
                  </a:cubicBezTo>
                  <a:cubicBezTo>
                    <a:pt x="9132" y="5783"/>
                    <a:pt x="9166" y="5827"/>
                    <a:pt x="9171" y="5857"/>
                  </a:cubicBezTo>
                  <a:cubicBezTo>
                    <a:pt x="9171" y="5887"/>
                    <a:pt x="9103" y="5872"/>
                    <a:pt x="9017" y="5816"/>
                  </a:cubicBezTo>
                  <a:cubicBezTo>
                    <a:pt x="8929" y="5765"/>
                    <a:pt x="8802" y="5717"/>
                    <a:pt x="8737" y="5709"/>
                  </a:cubicBezTo>
                  <a:cubicBezTo>
                    <a:pt x="8671" y="5703"/>
                    <a:pt x="8591" y="5705"/>
                    <a:pt x="8562" y="5719"/>
                  </a:cubicBezTo>
                  <a:cubicBezTo>
                    <a:pt x="8534" y="5735"/>
                    <a:pt x="8435" y="5743"/>
                    <a:pt x="8345" y="5747"/>
                  </a:cubicBezTo>
                  <a:cubicBezTo>
                    <a:pt x="8255" y="5747"/>
                    <a:pt x="8185" y="5785"/>
                    <a:pt x="8191" y="5824"/>
                  </a:cubicBezTo>
                  <a:cubicBezTo>
                    <a:pt x="8191" y="5865"/>
                    <a:pt x="8159" y="5912"/>
                    <a:pt x="8109" y="5927"/>
                  </a:cubicBezTo>
                  <a:cubicBezTo>
                    <a:pt x="8059" y="5942"/>
                    <a:pt x="7997" y="5947"/>
                    <a:pt x="7976" y="5925"/>
                  </a:cubicBezTo>
                  <a:cubicBezTo>
                    <a:pt x="7953" y="5906"/>
                    <a:pt x="7870" y="5912"/>
                    <a:pt x="7796" y="5939"/>
                  </a:cubicBezTo>
                  <a:cubicBezTo>
                    <a:pt x="7722" y="5967"/>
                    <a:pt x="7624" y="5983"/>
                    <a:pt x="7580" y="5983"/>
                  </a:cubicBezTo>
                  <a:cubicBezTo>
                    <a:pt x="7536" y="5981"/>
                    <a:pt x="7496" y="5999"/>
                    <a:pt x="7490" y="6022"/>
                  </a:cubicBezTo>
                  <a:cubicBezTo>
                    <a:pt x="7485" y="6047"/>
                    <a:pt x="7522" y="6085"/>
                    <a:pt x="7573" y="6106"/>
                  </a:cubicBezTo>
                  <a:cubicBezTo>
                    <a:pt x="7624" y="6128"/>
                    <a:pt x="7698" y="6180"/>
                    <a:pt x="7740" y="6218"/>
                  </a:cubicBezTo>
                  <a:cubicBezTo>
                    <a:pt x="7782" y="6257"/>
                    <a:pt x="7780" y="6302"/>
                    <a:pt x="7738" y="6308"/>
                  </a:cubicBezTo>
                  <a:cubicBezTo>
                    <a:pt x="7696" y="6321"/>
                    <a:pt x="7641" y="6312"/>
                    <a:pt x="7614" y="6302"/>
                  </a:cubicBezTo>
                  <a:cubicBezTo>
                    <a:pt x="7589" y="6288"/>
                    <a:pt x="7556" y="6292"/>
                    <a:pt x="7539" y="6299"/>
                  </a:cubicBezTo>
                  <a:cubicBezTo>
                    <a:pt x="7522" y="6309"/>
                    <a:pt x="7545" y="6344"/>
                    <a:pt x="7586" y="6379"/>
                  </a:cubicBezTo>
                  <a:cubicBezTo>
                    <a:pt x="7628" y="6415"/>
                    <a:pt x="7652" y="6454"/>
                    <a:pt x="7643" y="6474"/>
                  </a:cubicBezTo>
                  <a:cubicBezTo>
                    <a:pt x="7628" y="6492"/>
                    <a:pt x="7569" y="6499"/>
                    <a:pt x="7509" y="6483"/>
                  </a:cubicBezTo>
                  <a:cubicBezTo>
                    <a:pt x="7449" y="6472"/>
                    <a:pt x="7393" y="6446"/>
                    <a:pt x="7383" y="6432"/>
                  </a:cubicBezTo>
                  <a:cubicBezTo>
                    <a:pt x="7374" y="6417"/>
                    <a:pt x="7352" y="6415"/>
                    <a:pt x="7335" y="6431"/>
                  </a:cubicBezTo>
                  <a:cubicBezTo>
                    <a:pt x="7315" y="6442"/>
                    <a:pt x="7340" y="6480"/>
                    <a:pt x="7383" y="6515"/>
                  </a:cubicBezTo>
                  <a:cubicBezTo>
                    <a:pt x="7430" y="6543"/>
                    <a:pt x="7446" y="6588"/>
                    <a:pt x="7419" y="6601"/>
                  </a:cubicBezTo>
                  <a:cubicBezTo>
                    <a:pt x="7393" y="6615"/>
                    <a:pt x="7382" y="6655"/>
                    <a:pt x="7392" y="6686"/>
                  </a:cubicBezTo>
                  <a:cubicBezTo>
                    <a:pt x="7405" y="6715"/>
                    <a:pt x="7440" y="6743"/>
                    <a:pt x="7475" y="6748"/>
                  </a:cubicBezTo>
                  <a:cubicBezTo>
                    <a:pt x="7510" y="6747"/>
                    <a:pt x="7512" y="6767"/>
                    <a:pt x="7478" y="6781"/>
                  </a:cubicBezTo>
                  <a:cubicBezTo>
                    <a:pt x="7446" y="6799"/>
                    <a:pt x="7386" y="6807"/>
                    <a:pt x="7348" y="6813"/>
                  </a:cubicBezTo>
                  <a:cubicBezTo>
                    <a:pt x="7309" y="6814"/>
                    <a:pt x="7256" y="6801"/>
                    <a:pt x="7233" y="6780"/>
                  </a:cubicBezTo>
                  <a:cubicBezTo>
                    <a:pt x="7209" y="6761"/>
                    <a:pt x="7190" y="6768"/>
                    <a:pt x="7195" y="6799"/>
                  </a:cubicBezTo>
                  <a:cubicBezTo>
                    <a:pt x="7195" y="6829"/>
                    <a:pt x="7189" y="6877"/>
                    <a:pt x="7170" y="6902"/>
                  </a:cubicBezTo>
                  <a:cubicBezTo>
                    <a:pt x="7154" y="6930"/>
                    <a:pt x="7170" y="6958"/>
                    <a:pt x="7204" y="6978"/>
                  </a:cubicBezTo>
                  <a:cubicBezTo>
                    <a:pt x="7241" y="6993"/>
                    <a:pt x="7343" y="7034"/>
                    <a:pt x="7432" y="7065"/>
                  </a:cubicBezTo>
                  <a:cubicBezTo>
                    <a:pt x="7520" y="7099"/>
                    <a:pt x="7608" y="7151"/>
                    <a:pt x="7624" y="7185"/>
                  </a:cubicBezTo>
                  <a:cubicBezTo>
                    <a:pt x="7635" y="7221"/>
                    <a:pt x="7680" y="7260"/>
                    <a:pt x="7716" y="7267"/>
                  </a:cubicBezTo>
                  <a:cubicBezTo>
                    <a:pt x="7753" y="7276"/>
                    <a:pt x="7821" y="7279"/>
                    <a:pt x="7868" y="7263"/>
                  </a:cubicBezTo>
                  <a:cubicBezTo>
                    <a:pt x="7916" y="7254"/>
                    <a:pt x="7925" y="7261"/>
                    <a:pt x="7888" y="7287"/>
                  </a:cubicBezTo>
                  <a:cubicBezTo>
                    <a:pt x="7853" y="7316"/>
                    <a:pt x="7821" y="7356"/>
                    <a:pt x="7827" y="7380"/>
                  </a:cubicBezTo>
                  <a:cubicBezTo>
                    <a:pt x="7827" y="7404"/>
                    <a:pt x="7787" y="7421"/>
                    <a:pt x="7732" y="7415"/>
                  </a:cubicBezTo>
                  <a:cubicBezTo>
                    <a:pt x="7677" y="7411"/>
                    <a:pt x="7610" y="7388"/>
                    <a:pt x="7583" y="7364"/>
                  </a:cubicBezTo>
                  <a:cubicBezTo>
                    <a:pt x="7555" y="7345"/>
                    <a:pt x="7462" y="7316"/>
                    <a:pt x="7373" y="7312"/>
                  </a:cubicBezTo>
                  <a:cubicBezTo>
                    <a:pt x="7284" y="7309"/>
                    <a:pt x="7165" y="7337"/>
                    <a:pt x="7106" y="7375"/>
                  </a:cubicBezTo>
                  <a:cubicBezTo>
                    <a:pt x="7049" y="7418"/>
                    <a:pt x="7022" y="7462"/>
                    <a:pt x="7040" y="7483"/>
                  </a:cubicBezTo>
                  <a:cubicBezTo>
                    <a:pt x="7062" y="7502"/>
                    <a:pt x="7133" y="7521"/>
                    <a:pt x="7199" y="7531"/>
                  </a:cubicBezTo>
                  <a:cubicBezTo>
                    <a:pt x="7263" y="7539"/>
                    <a:pt x="7326" y="7573"/>
                    <a:pt x="7332" y="7610"/>
                  </a:cubicBezTo>
                  <a:cubicBezTo>
                    <a:pt x="7341" y="7644"/>
                    <a:pt x="7377" y="7695"/>
                    <a:pt x="7411" y="7724"/>
                  </a:cubicBezTo>
                  <a:cubicBezTo>
                    <a:pt x="7444" y="7753"/>
                    <a:pt x="7477" y="7807"/>
                    <a:pt x="7477" y="7848"/>
                  </a:cubicBezTo>
                  <a:cubicBezTo>
                    <a:pt x="7482" y="7889"/>
                    <a:pt x="7447" y="7893"/>
                    <a:pt x="7405" y="7857"/>
                  </a:cubicBezTo>
                  <a:cubicBezTo>
                    <a:pt x="7362" y="7824"/>
                    <a:pt x="7307" y="7787"/>
                    <a:pt x="7277" y="7785"/>
                  </a:cubicBezTo>
                  <a:cubicBezTo>
                    <a:pt x="7248" y="7781"/>
                    <a:pt x="7200" y="7802"/>
                    <a:pt x="7174" y="7832"/>
                  </a:cubicBezTo>
                  <a:cubicBezTo>
                    <a:pt x="7146" y="7858"/>
                    <a:pt x="7127" y="7913"/>
                    <a:pt x="7137" y="7947"/>
                  </a:cubicBezTo>
                  <a:cubicBezTo>
                    <a:pt x="7137" y="7983"/>
                    <a:pt x="7135" y="8019"/>
                    <a:pt x="7117" y="8023"/>
                  </a:cubicBezTo>
                  <a:cubicBezTo>
                    <a:pt x="7100" y="8030"/>
                    <a:pt x="7112" y="8063"/>
                    <a:pt x="7146" y="8093"/>
                  </a:cubicBezTo>
                  <a:cubicBezTo>
                    <a:pt x="7179" y="8123"/>
                    <a:pt x="7215" y="8179"/>
                    <a:pt x="7226" y="8216"/>
                  </a:cubicBezTo>
                  <a:cubicBezTo>
                    <a:pt x="7241" y="8250"/>
                    <a:pt x="7224" y="8279"/>
                    <a:pt x="7196" y="8276"/>
                  </a:cubicBezTo>
                  <a:cubicBezTo>
                    <a:pt x="7168" y="8273"/>
                    <a:pt x="7112" y="8251"/>
                    <a:pt x="7078" y="8217"/>
                  </a:cubicBezTo>
                  <a:cubicBezTo>
                    <a:pt x="7037" y="8192"/>
                    <a:pt x="6993" y="8175"/>
                    <a:pt x="6971" y="8185"/>
                  </a:cubicBezTo>
                  <a:cubicBezTo>
                    <a:pt x="6952" y="8200"/>
                    <a:pt x="6936" y="8245"/>
                    <a:pt x="6946" y="8287"/>
                  </a:cubicBezTo>
                  <a:cubicBezTo>
                    <a:pt x="6946" y="8332"/>
                    <a:pt x="7004" y="8380"/>
                    <a:pt x="7060" y="8398"/>
                  </a:cubicBezTo>
                  <a:cubicBezTo>
                    <a:pt x="7116" y="8414"/>
                    <a:pt x="7174" y="8448"/>
                    <a:pt x="7185" y="8473"/>
                  </a:cubicBezTo>
                  <a:cubicBezTo>
                    <a:pt x="7197" y="8497"/>
                    <a:pt x="7203" y="8540"/>
                    <a:pt x="7203" y="8568"/>
                  </a:cubicBezTo>
                  <a:cubicBezTo>
                    <a:pt x="7203" y="8597"/>
                    <a:pt x="7137" y="8583"/>
                    <a:pt x="7060" y="8537"/>
                  </a:cubicBezTo>
                  <a:cubicBezTo>
                    <a:pt x="6983" y="8492"/>
                    <a:pt x="6897" y="8464"/>
                    <a:pt x="6869" y="8475"/>
                  </a:cubicBezTo>
                  <a:cubicBezTo>
                    <a:pt x="6840" y="8486"/>
                    <a:pt x="6820" y="8532"/>
                    <a:pt x="6820" y="8576"/>
                  </a:cubicBezTo>
                  <a:cubicBezTo>
                    <a:pt x="6825" y="8619"/>
                    <a:pt x="6839" y="8662"/>
                    <a:pt x="6860" y="8666"/>
                  </a:cubicBezTo>
                  <a:cubicBezTo>
                    <a:pt x="6880" y="8670"/>
                    <a:pt x="6896" y="8716"/>
                    <a:pt x="6901" y="8764"/>
                  </a:cubicBezTo>
                  <a:cubicBezTo>
                    <a:pt x="6906" y="8811"/>
                    <a:pt x="6927" y="8891"/>
                    <a:pt x="6959" y="8938"/>
                  </a:cubicBezTo>
                  <a:cubicBezTo>
                    <a:pt x="6987" y="8987"/>
                    <a:pt x="7043" y="9028"/>
                    <a:pt x="7080" y="9028"/>
                  </a:cubicBezTo>
                  <a:cubicBezTo>
                    <a:pt x="7118" y="9030"/>
                    <a:pt x="7166" y="8998"/>
                    <a:pt x="7191" y="8959"/>
                  </a:cubicBezTo>
                  <a:cubicBezTo>
                    <a:pt x="7212" y="8917"/>
                    <a:pt x="7258" y="8891"/>
                    <a:pt x="7288" y="8892"/>
                  </a:cubicBezTo>
                  <a:cubicBezTo>
                    <a:pt x="7319" y="8895"/>
                    <a:pt x="7324" y="8946"/>
                    <a:pt x="7304" y="9007"/>
                  </a:cubicBezTo>
                  <a:cubicBezTo>
                    <a:pt x="7283" y="9068"/>
                    <a:pt x="7233" y="9118"/>
                    <a:pt x="7193" y="9122"/>
                  </a:cubicBezTo>
                  <a:cubicBezTo>
                    <a:pt x="7154" y="9125"/>
                    <a:pt x="7079" y="9163"/>
                    <a:pt x="7030" y="9209"/>
                  </a:cubicBezTo>
                  <a:cubicBezTo>
                    <a:pt x="6977" y="9252"/>
                    <a:pt x="6899" y="9288"/>
                    <a:pt x="6851" y="9285"/>
                  </a:cubicBezTo>
                  <a:cubicBezTo>
                    <a:pt x="6803" y="9278"/>
                    <a:pt x="6733" y="9288"/>
                    <a:pt x="6694" y="9298"/>
                  </a:cubicBezTo>
                  <a:cubicBezTo>
                    <a:pt x="6655" y="9313"/>
                    <a:pt x="6618" y="9340"/>
                    <a:pt x="6623" y="9364"/>
                  </a:cubicBezTo>
                  <a:cubicBezTo>
                    <a:pt x="6618" y="9389"/>
                    <a:pt x="6581" y="9424"/>
                    <a:pt x="6529" y="9436"/>
                  </a:cubicBezTo>
                  <a:cubicBezTo>
                    <a:pt x="6478" y="9451"/>
                    <a:pt x="6404" y="9486"/>
                    <a:pt x="6364" y="9514"/>
                  </a:cubicBezTo>
                  <a:cubicBezTo>
                    <a:pt x="6326" y="9545"/>
                    <a:pt x="6328" y="9587"/>
                    <a:pt x="6377" y="9606"/>
                  </a:cubicBezTo>
                  <a:cubicBezTo>
                    <a:pt x="6422" y="9633"/>
                    <a:pt x="6455" y="9669"/>
                    <a:pt x="6438" y="9688"/>
                  </a:cubicBezTo>
                  <a:cubicBezTo>
                    <a:pt x="6423" y="9708"/>
                    <a:pt x="6348" y="9726"/>
                    <a:pt x="6265" y="9727"/>
                  </a:cubicBezTo>
                  <a:cubicBezTo>
                    <a:pt x="6182" y="9726"/>
                    <a:pt x="6088" y="9762"/>
                    <a:pt x="6053" y="9802"/>
                  </a:cubicBezTo>
                  <a:cubicBezTo>
                    <a:pt x="6018" y="9843"/>
                    <a:pt x="5999" y="9894"/>
                    <a:pt x="6004" y="9917"/>
                  </a:cubicBezTo>
                  <a:cubicBezTo>
                    <a:pt x="6009" y="9939"/>
                    <a:pt x="6072" y="9972"/>
                    <a:pt x="6139" y="9997"/>
                  </a:cubicBezTo>
                  <a:cubicBezTo>
                    <a:pt x="6206" y="10019"/>
                    <a:pt x="6219" y="10048"/>
                    <a:pt x="6173" y="10069"/>
                  </a:cubicBezTo>
                  <a:cubicBezTo>
                    <a:pt x="6123" y="10084"/>
                    <a:pt x="6066" y="10137"/>
                    <a:pt x="6045" y="10182"/>
                  </a:cubicBezTo>
                  <a:cubicBezTo>
                    <a:pt x="6021" y="10225"/>
                    <a:pt x="5965" y="10259"/>
                    <a:pt x="5914" y="10260"/>
                  </a:cubicBezTo>
                  <a:cubicBezTo>
                    <a:pt x="5865" y="10260"/>
                    <a:pt x="5809" y="10222"/>
                    <a:pt x="5798" y="10177"/>
                  </a:cubicBezTo>
                  <a:cubicBezTo>
                    <a:pt x="5784" y="10134"/>
                    <a:pt x="5744" y="10084"/>
                    <a:pt x="5711" y="10063"/>
                  </a:cubicBezTo>
                  <a:cubicBezTo>
                    <a:pt x="5679" y="10039"/>
                    <a:pt x="5634" y="10047"/>
                    <a:pt x="5615" y="10070"/>
                  </a:cubicBezTo>
                  <a:cubicBezTo>
                    <a:pt x="5595" y="10092"/>
                    <a:pt x="5546" y="10110"/>
                    <a:pt x="5504" y="10108"/>
                  </a:cubicBezTo>
                  <a:cubicBezTo>
                    <a:pt x="5460" y="10106"/>
                    <a:pt x="5443" y="10127"/>
                    <a:pt x="5458" y="10162"/>
                  </a:cubicBezTo>
                  <a:cubicBezTo>
                    <a:pt x="5478" y="10194"/>
                    <a:pt x="5469" y="10242"/>
                    <a:pt x="5439" y="10261"/>
                  </a:cubicBezTo>
                  <a:cubicBezTo>
                    <a:pt x="5409" y="10280"/>
                    <a:pt x="5383" y="10326"/>
                    <a:pt x="5378" y="10357"/>
                  </a:cubicBezTo>
                  <a:cubicBezTo>
                    <a:pt x="5369" y="10388"/>
                    <a:pt x="5385" y="10439"/>
                    <a:pt x="5406" y="10468"/>
                  </a:cubicBezTo>
                  <a:cubicBezTo>
                    <a:pt x="5425" y="10498"/>
                    <a:pt x="5380" y="10518"/>
                    <a:pt x="5304" y="10511"/>
                  </a:cubicBezTo>
                  <a:cubicBezTo>
                    <a:pt x="5228" y="10505"/>
                    <a:pt x="5140" y="10514"/>
                    <a:pt x="5107" y="10523"/>
                  </a:cubicBezTo>
                  <a:cubicBezTo>
                    <a:pt x="5076" y="10536"/>
                    <a:pt x="5052" y="10595"/>
                    <a:pt x="5067" y="10652"/>
                  </a:cubicBezTo>
                  <a:cubicBezTo>
                    <a:pt x="5073" y="10712"/>
                    <a:pt x="5040" y="10783"/>
                    <a:pt x="4983" y="10810"/>
                  </a:cubicBezTo>
                  <a:cubicBezTo>
                    <a:pt x="4929" y="10842"/>
                    <a:pt x="4884" y="10881"/>
                    <a:pt x="4898" y="10897"/>
                  </a:cubicBezTo>
                  <a:cubicBezTo>
                    <a:pt x="4904" y="10920"/>
                    <a:pt x="4910" y="10981"/>
                    <a:pt x="4905" y="11039"/>
                  </a:cubicBezTo>
                  <a:cubicBezTo>
                    <a:pt x="4900" y="11097"/>
                    <a:pt x="4861" y="11165"/>
                    <a:pt x="4821" y="11194"/>
                  </a:cubicBezTo>
                  <a:cubicBezTo>
                    <a:pt x="4778" y="11217"/>
                    <a:pt x="4702" y="11280"/>
                    <a:pt x="4646" y="11323"/>
                  </a:cubicBezTo>
                  <a:cubicBezTo>
                    <a:pt x="4593" y="11369"/>
                    <a:pt x="4565" y="11418"/>
                    <a:pt x="4581" y="11444"/>
                  </a:cubicBezTo>
                  <a:cubicBezTo>
                    <a:pt x="4600" y="11468"/>
                    <a:pt x="4671" y="11463"/>
                    <a:pt x="4733" y="11428"/>
                  </a:cubicBezTo>
                  <a:cubicBezTo>
                    <a:pt x="4796" y="11394"/>
                    <a:pt x="4878" y="11371"/>
                    <a:pt x="4914" y="11378"/>
                  </a:cubicBezTo>
                  <a:cubicBezTo>
                    <a:pt x="4950" y="11384"/>
                    <a:pt x="4979" y="11413"/>
                    <a:pt x="4975" y="11445"/>
                  </a:cubicBezTo>
                  <a:cubicBezTo>
                    <a:pt x="4975" y="11478"/>
                    <a:pt x="4935" y="11512"/>
                    <a:pt x="4894" y="11526"/>
                  </a:cubicBezTo>
                  <a:cubicBezTo>
                    <a:pt x="4850" y="11534"/>
                    <a:pt x="4815" y="11595"/>
                    <a:pt x="4815" y="11651"/>
                  </a:cubicBezTo>
                  <a:cubicBezTo>
                    <a:pt x="4815" y="11708"/>
                    <a:pt x="4849" y="11792"/>
                    <a:pt x="4890" y="11839"/>
                  </a:cubicBezTo>
                  <a:cubicBezTo>
                    <a:pt x="4933" y="11886"/>
                    <a:pt x="5022" y="11898"/>
                    <a:pt x="5092" y="11870"/>
                  </a:cubicBezTo>
                  <a:cubicBezTo>
                    <a:pt x="5160" y="11838"/>
                    <a:pt x="5280" y="11812"/>
                    <a:pt x="5356" y="11811"/>
                  </a:cubicBezTo>
                  <a:cubicBezTo>
                    <a:pt x="5431" y="11811"/>
                    <a:pt x="5573" y="11743"/>
                    <a:pt x="5666" y="11665"/>
                  </a:cubicBezTo>
                  <a:cubicBezTo>
                    <a:pt x="5759" y="11583"/>
                    <a:pt x="5839" y="11492"/>
                    <a:pt x="5834" y="11453"/>
                  </a:cubicBezTo>
                  <a:cubicBezTo>
                    <a:pt x="5834" y="11413"/>
                    <a:pt x="5785" y="11389"/>
                    <a:pt x="5732" y="11397"/>
                  </a:cubicBezTo>
                  <a:cubicBezTo>
                    <a:pt x="5680" y="11406"/>
                    <a:pt x="5672" y="11374"/>
                    <a:pt x="5712" y="11325"/>
                  </a:cubicBezTo>
                  <a:cubicBezTo>
                    <a:pt x="5751" y="11274"/>
                    <a:pt x="5791" y="11187"/>
                    <a:pt x="5802" y="11128"/>
                  </a:cubicBezTo>
                  <a:cubicBezTo>
                    <a:pt x="5812" y="11069"/>
                    <a:pt x="5834" y="11018"/>
                    <a:pt x="5857" y="11015"/>
                  </a:cubicBezTo>
                  <a:cubicBezTo>
                    <a:pt x="5879" y="11010"/>
                    <a:pt x="5920" y="10992"/>
                    <a:pt x="5949" y="10971"/>
                  </a:cubicBezTo>
                  <a:cubicBezTo>
                    <a:pt x="5977" y="10949"/>
                    <a:pt x="6049" y="10943"/>
                    <a:pt x="6108" y="10957"/>
                  </a:cubicBezTo>
                  <a:cubicBezTo>
                    <a:pt x="6168" y="10970"/>
                    <a:pt x="6245" y="10982"/>
                    <a:pt x="6280" y="10982"/>
                  </a:cubicBezTo>
                  <a:cubicBezTo>
                    <a:pt x="6316" y="10982"/>
                    <a:pt x="6271" y="11019"/>
                    <a:pt x="6182" y="11064"/>
                  </a:cubicBezTo>
                  <a:cubicBezTo>
                    <a:pt x="6092" y="11109"/>
                    <a:pt x="6020" y="11175"/>
                    <a:pt x="6020" y="11211"/>
                  </a:cubicBezTo>
                  <a:cubicBezTo>
                    <a:pt x="6026" y="11248"/>
                    <a:pt x="6098" y="11304"/>
                    <a:pt x="6192" y="11336"/>
                  </a:cubicBezTo>
                  <a:cubicBezTo>
                    <a:pt x="6285" y="11366"/>
                    <a:pt x="6339" y="11419"/>
                    <a:pt x="6312" y="11452"/>
                  </a:cubicBezTo>
                  <a:cubicBezTo>
                    <a:pt x="6282" y="11481"/>
                    <a:pt x="6223" y="11511"/>
                    <a:pt x="6175" y="11511"/>
                  </a:cubicBezTo>
                  <a:cubicBezTo>
                    <a:pt x="6126" y="11513"/>
                    <a:pt x="6015" y="11575"/>
                    <a:pt x="5929" y="11654"/>
                  </a:cubicBezTo>
                  <a:cubicBezTo>
                    <a:pt x="5841" y="11732"/>
                    <a:pt x="5819" y="11822"/>
                    <a:pt x="5881" y="11852"/>
                  </a:cubicBezTo>
                  <a:cubicBezTo>
                    <a:pt x="5941" y="11885"/>
                    <a:pt x="5964" y="11934"/>
                    <a:pt x="5937" y="11971"/>
                  </a:cubicBezTo>
                  <a:cubicBezTo>
                    <a:pt x="5910" y="12008"/>
                    <a:pt x="5890" y="12077"/>
                    <a:pt x="5894" y="12131"/>
                  </a:cubicBezTo>
                  <a:cubicBezTo>
                    <a:pt x="5904" y="12184"/>
                    <a:pt x="5858" y="12221"/>
                    <a:pt x="5799" y="12211"/>
                  </a:cubicBezTo>
                  <a:cubicBezTo>
                    <a:pt x="5740" y="12204"/>
                    <a:pt x="5648" y="12158"/>
                    <a:pt x="5597" y="12112"/>
                  </a:cubicBezTo>
                  <a:cubicBezTo>
                    <a:pt x="5546" y="12065"/>
                    <a:pt x="5446" y="12024"/>
                    <a:pt x="5377" y="12023"/>
                  </a:cubicBezTo>
                  <a:cubicBezTo>
                    <a:pt x="5308" y="12022"/>
                    <a:pt x="5219" y="12036"/>
                    <a:pt x="5182" y="12064"/>
                  </a:cubicBezTo>
                  <a:cubicBezTo>
                    <a:pt x="5145" y="12092"/>
                    <a:pt x="5118" y="12150"/>
                    <a:pt x="5113" y="12198"/>
                  </a:cubicBezTo>
                  <a:cubicBezTo>
                    <a:pt x="5118" y="12247"/>
                    <a:pt x="5072" y="12300"/>
                    <a:pt x="5021" y="12327"/>
                  </a:cubicBezTo>
                  <a:cubicBezTo>
                    <a:pt x="4969" y="12349"/>
                    <a:pt x="4888" y="12391"/>
                    <a:pt x="4838" y="12406"/>
                  </a:cubicBezTo>
                  <a:cubicBezTo>
                    <a:pt x="4787" y="12425"/>
                    <a:pt x="4775" y="12412"/>
                    <a:pt x="4812" y="12380"/>
                  </a:cubicBezTo>
                  <a:cubicBezTo>
                    <a:pt x="4846" y="12343"/>
                    <a:pt x="4899" y="12304"/>
                    <a:pt x="4926" y="12288"/>
                  </a:cubicBezTo>
                  <a:cubicBezTo>
                    <a:pt x="4949" y="12267"/>
                    <a:pt x="4937" y="12220"/>
                    <a:pt x="4894" y="12170"/>
                  </a:cubicBezTo>
                  <a:cubicBezTo>
                    <a:pt x="4847" y="12123"/>
                    <a:pt x="4805" y="12037"/>
                    <a:pt x="4805" y="11984"/>
                  </a:cubicBezTo>
                  <a:cubicBezTo>
                    <a:pt x="4800" y="11931"/>
                    <a:pt x="4756" y="11839"/>
                    <a:pt x="4705" y="11778"/>
                  </a:cubicBezTo>
                  <a:cubicBezTo>
                    <a:pt x="4653" y="11719"/>
                    <a:pt x="4575" y="11670"/>
                    <a:pt x="4530" y="11662"/>
                  </a:cubicBezTo>
                  <a:cubicBezTo>
                    <a:pt x="4483" y="11662"/>
                    <a:pt x="4429" y="11688"/>
                    <a:pt x="4404" y="11724"/>
                  </a:cubicBezTo>
                  <a:cubicBezTo>
                    <a:pt x="4382" y="11763"/>
                    <a:pt x="4311" y="11792"/>
                    <a:pt x="4247" y="11796"/>
                  </a:cubicBezTo>
                  <a:cubicBezTo>
                    <a:pt x="4183" y="11798"/>
                    <a:pt x="4135" y="11822"/>
                    <a:pt x="4135" y="11848"/>
                  </a:cubicBezTo>
                  <a:cubicBezTo>
                    <a:pt x="4135" y="11875"/>
                    <a:pt x="4206" y="11903"/>
                    <a:pt x="4287" y="11907"/>
                  </a:cubicBezTo>
                  <a:cubicBezTo>
                    <a:pt x="4370" y="11914"/>
                    <a:pt x="4372" y="11966"/>
                    <a:pt x="4292" y="12026"/>
                  </a:cubicBezTo>
                  <a:cubicBezTo>
                    <a:pt x="4212" y="12086"/>
                    <a:pt x="4099" y="12116"/>
                    <a:pt x="4041" y="12089"/>
                  </a:cubicBezTo>
                  <a:cubicBezTo>
                    <a:pt x="3982" y="12063"/>
                    <a:pt x="3896" y="12045"/>
                    <a:pt x="3847" y="12047"/>
                  </a:cubicBezTo>
                  <a:cubicBezTo>
                    <a:pt x="3800" y="12054"/>
                    <a:pt x="3711" y="12092"/>
                    <a:pt x="3649" y="12137"/>
                  </a:cubicBezTo>
                  <a:cubicBezTo>
                    <a:pt x="3587" y="12182"/>
                    <a:pt x="3569" y="12228"/>
                    <a:pt x="3605" y="12238"/>
                  </a:cubicBezTo>
                  <a:cubicBezTo>
                    <a:pt x="3641" y="12249"/>
                    <a:pt x="3698" y="12243"/>
                    <a:pt x="3731" y="12235"/>
                  </a:cubicBezTo>
                  <a:cubicBezTo>
                    <a:pt x="3761" y="12218"/>
                    <a:pt x="3806" y="12228"/>
                    <a:pt x="3824" y="12246"/>
                  </a:cubicBezTo>
                  <a:cubicBezTo>
                    <a:pt x="3845" y="12261"/>
                    <a:pt x="3804" y="12302"/>
                    <a:pt x="3738" y="12336"/>
                  </a:cubicBezTo>
                  <a:cubicBezTo>
                    <a:pt x="3671" y="12368"/>
                    <a:pt x="3591" y="12419"/>
                    <a:pt x="3565" y="12452"/>
                  </a:cubicBezTo>
                  <a:cubicBezTo>
                    <a:pt x="3538" y="12486"/>
                    <a:pt x="3486" y="12486"/>
                    <a:pt x="3453" y="12457"/>
                  </a:cubicBezTo>
                  <a:cubicBezTo>
                    <a:pt x="3419" y="12429"/>
                    <a:pt x="3355" y="12402"/>
                    <a:pt x="3309" y="12399"/>
                  </a:cubicBezTo>
                  <a:cubicBezTo>
                    <a:pt x="3262" y="12397"/>
                    <a:pt x="3219" y="12415"/>
                    <a:pt x="3213" y="12441"/>
                  </a:cubicBezTo>
                  <a:cubicBezTo>
                    <a:pt x="3204" y="12466"/>
                    <a:pt x="3265" y="12525"/>
                    <a:pt x="3344" y="12566"/>
                  </a:cubicBezTo>
                  <a:cubicBezTo>
                    <a:pt x="3422" y="12607"/>
                    <a:pt x="3556" y="12649"/>
                    <a:pt x="3644" y="12655"/>
                  </a:cubicBezTo>
                  <a:cubicBezTo>
                    <a:pt x="3733" y="12661"/>
                    <a:pt x="3788" y="12696"/>
                    <a:pt x="3777" y="12737"/>
                  </a:cubicBezTo>
                  <a:cubicBezTo>
                    <a:pt x="3757" y="12773"/>
                    <a:pt x="3782" y="12819"/>
                    <a:pt x="3821" y="12837"/>
                  </a:cubicBezTo>
                  <a:cubicBezTo>
                    <a:pt x="3860" y="12857"/>
                    <a:pt x="3893" y="12895"/>
                    <a:pt x="3893" y="12931"/>
                  </a:cubicBezTo>
                  <a:cubicBezTo>
                    <a:pt x="3888" y="12966"/>
                    <a:pt x="3830" y="12972"/>
                    <a:pt x="3749" y="12949"/>
                  </a:cubicBezTo>
                  <a:cubicBezTo>
                    <a:pt x="3670" y="12926"/>
                    <a:pt x="3594" y="12869"/>
                    <a:pt x="3578" y="12828"/>
                  </a:cubicBezTo>
                  <a:cubicBezTo>
                    <a:pt x="3562" y="12787"/>
                    <a:pt x="3500" y="12748"/>
                    <a:pt x="3441" y="12746"/>
                  </a:cubicBezTo>
                  <a:cubicBezTo>
                    <a:pt x="3382" y="12740"/>
                    <a:pt x="3279" y="12702"/>
                    <a:pt x="3219" y="12650"/>
                  </a:cubicBezTo>
                  <a:cubicBezTo>
                    <a:pt x="3157" y="12601"/>
                    <a:pt x="3095" y="12531"/>
                    <a:pt x="3077" y="12496"/>
                  </a:cubicBezTo>
                  <a:cubicBezTo>
                    <a:pt x="3062" y="12459"/>
                    <a:pt x="3030" y="12431"/>
                    <a:pt x="3006" y="12431"/>
                  </a:cubicBezTo>
                  <a:cubicBezTo>
                    <a:pt x="2984" y="12434"/>
                    <a:pt x="2962" y="12469"/>
                    <a:pt x="2952" y="12512"/>
                  </a:cubicBezTo>
                  <a:cubicBezTo>
                    <a:pt x="2947" y="12557"/>
                    <a:pt x="2990" y="12653"/>
                    <a:pt x="3055" y="12725"/>
                  </a:cubicBezTo>
                  <a:cubicBezTo>
                    <a:pt x="3119" y="12798"/>
                    <a:pt x="3223" y="12899"/>
                    <a:pt x="3290" y="12939"/>
                  </a:cubicBezTo>
                  <a:cubicBezTo>
                    <a:pt x="3354" y="12985"/>
                    <a:pt x="3454" y="13026"/>
                    <a:pt x="3508" y="13038"/>
                  </a:cubicBezTo>
                  <a:cubicBezTo>
                    <a:pt x="3564" y="13047"/>
                    <a:pt x="3633" y="13080"/>
                    <a:pt x="3663" y="13109"/>
                  </a:cubicBezTo>
                  <a:cubicBezTo>
                    <a:pt x="3695" y="13136"/>
                    <a:pt x="3672" y="13157"/>
                    <a:pt x="3615" y="13159"/>
                  </a:cubicBezTo>
                  <a:cubicBezTo>
                    <a:pt x="3558" y="13156"/>
                    <a:pt x="3435" y="13120"/>
                    <a:pt x="3339" y="13087"/>
                  </a:cubicBezTo>
                  <a:cubicBezTo>
                    <a:pt x="3243" y="13049"/>
                    <a:pt x="3087" y="12946"/>
                    <a:pt x="2994" y="12854"/>
                  </a:cubicBezTo>
                  <a:cubicBezTo>
                    <a:pt x="2899" y="12765"/>
                    <a:pt x="2791" y="12709"/>
                    <a:pt x="2751" y="12725"/>
                  </a:cubicBezTo>
                  <a:cubicBezTo>
                    <a:pt x="2713" y="12749"/>
                    <a:pt x="2633" y="12728"/>
                    <a:pt x="2576" y="12690"/>
                  </a:cubicBezTo>
                  <a:cubicBezTo>
                    <a:pt x="2519" y="12649"/>
                    <a:pt x="2417" y="12615"/>
                    <a:pt x="2350" y="12611"/>
                  </a:cubicBezTo>
                  <a:cubicBezTo>
                    <a:pt x="2281" y="12608"/>
                    <a:pt x="2201" y="12575"/>
                    <a:pt x="2162" y="12555"/>
                  </a:cubicBezTo>
                  <a:cubicBezTo>
                    <a:pt x="2129" y="12526"/>
                    <a:pt x="2079" y="12528"/>
                    <a:pt x="2054" y="12552"/>
                  </a:cubicBezTo>
                  <a:cubicBezTo>
                    <a:pt x="2029" y="12577"/>
                    <a:pt x="2023" y="12634"/>
                    <a:pt x="2034" y="12680"/>
                  </a:cubicBezTo>
                  <a:cubicBezTo>
                    <a:pt x="2044" y="12727"/>
                    <a:pt x="2029" y="12782"/>
                    <a:pt x="1995" y="12812"/>
                  </a:cubicBezTo>
                  <a:cubicBezTo>
                    <a:pt x="1962" y="12841"/>
                    <a:pt x="1977" y="12903"/>
                    <a:pt x="2033" y="12952"/>
                  </a:cubicBezTo>
                  <a:cubicBezTo>
                    <a:pt x="2088" y="13002"/>
                    <a:pt x="2222" y="13024"/>
                    <a:pt x="2333" y="13003"/>
                  </a:cubicBezTo>
                  <a:cubicBezTo>
                    <a:pt x="2442" y="12977"/>
                    <a:pt x="2550" y="12978"/>
                    <a:pt x="2567" y="13002"/>
                  </a:cubicBezTo>
                  <a:cubicBezTo>
                    <a:pt x="2589" y="13020"/>
                    <a:pt x="2565" y="13065"/>
                    <a:pt x="2517" y="13087"/>
                  </a:cubicBezTo>
                  <a:cubicBezTo>
                    <a:pt x="2470" y="13116"/>
                    <a:pt x="2454" y="13144"/>
                    <a:pt x="2479" y="13162"/>
                  </a:cubicBezTo>
                  <a:cubicBezTo>
                    <a:pt x="2507" y="13176"/>
                    <a:pt x="2597" y="13166"/>
                    <a:pt x="2679" y="13134"/>
                  </a:cubicBezTo>
                  <a:cubicBezTo>
                    <a:pt x="2764" y="13108"/>
                    <a:pt x="2862" y="13085"/>
                    <a:pt x="2902" y="13083"/>
                  </a:cubicBezTo>
                  <a:cubicBezTo>
                    <a:pt x="2940" y="13090"/>
                    <a:pt x="2957" y="13113"/>
                    <a:pt x="2938" y="13143"/>
                  </a:cubicBezTo>
                  <a:cubicBezTo>
                    <a:pt x="2916" y="13169"/>
                    <a:pt x="2827" y="13226"/>
                    <a:pt x="2729" y="13252"/>
                  </a:cubicBezTo>
                  <a:cubicBezTo>
                    <a:pt x="2633" y="13281"/>
                    <a:pt x="2528" y="13347"/>
                    <a:pt x="2490" y="13391"/>
                  </a:cubicBezTo>
                  <a:cubicBezTo>
                    <a:pt x="2453" y="13438"/>
                    <a:pt x="2369" y="13459"/>
                    <a:pt x="2300" y="13441"/>
                  </a:cubicBezTo>
                  <a:cubicBezTo>
                    <a:pt x="2232" y="13418"/>
                    <a:pt x="2126" y="13347"/>
                    <a:pt x="2063" y="13280"/>
                  </a:cubicBezTo>
                  <a:cubicBezTo>
                    <a:pt x="2003" y="13209"/>
                    <a:pt x="1928" y="13153"/>
                    <a:pt x="1899" y="13151"/>
                  </a:cubicBezTo>
                  <a:cubicBezTo>
                    <a:pt x="1871" y="13147"/>
                    <a:pt x="1821" y="13167"/>
                    <a:pt x="1788" y="13190"/>
                  </a:cubicBezTo>
                  <a:cubicBezTo>
                    <a:pt x="1756" y="13212"/>
                    <a:pt x="1687" y="13198"/>
                    <a:pt x="1635" y="13156"/>
                  </a:cubicBezTo>
                  <a:cubicBezTo>
                    <a:pt x="1584" y="13114"/>
                    <a:pt x="1506" y="13094"/>
                    <a:pt x="1468" y="13118"/>
                  </a:cubicBezTo>
                  <a:cubicBezTo>
                    <a:pt x="1428" y="13137"/>
                    <a:pt x="1370" y="13141"/>
                    <a:pt x="1341" y="13122"/>
                  </a:cubicBezTo>
                  <a:cubicBezTo>
                    <a:pt x="1311" y="13105"/>
                    <a:pt x="1245" y="13110"/>
                    <a:pt x="1196" y="13134"/>
                  </a:cubicBezTo>
                  <a:cubicBezTo>
                    <a:pt x="1146" y="13159"/>
                    <a:pt x="1121" y="13194"/>
                    <a:pt x="1134" y="13221"/>
                  </a:cubicBezTo>
                  <a:cubicBezTo>
                    <a:pt x="1156" y="13240"/>
                    <a:pt x="1254" y="13277"/>
                    <a:pt x="1361" y="13299"/>
                  </a:cubicBezTo>
                  <a:cubicBezTo>
                    <a:pt x="1469" y="13320"/>
                    <a:pt x="1614" y="13370"/>
                    <a:pt x="1684" y="13412"/>
                  </a:cubicBezTo>
                  <a:cubicBezTo>
                    <a:pt x="1753" y="13458"/>
                    <a:pt x="1882" y="13525"/>
                    <a:pt x="1968" y="13568"/>
                  </a:cubicBezTo>
                  <a:cubicBezTo>
                    <a:pt x="2052" y="13614"/>
                    <a:pt x="2108" y="13686"/>
                    <a:pt x="2087" y="13731"/>
                  </a:cubicBezTo>
                  <a:cubicBezTo>
                    <a:pt x="2070" y="13779"/>
                    <a:pt x="2075" y="13848"/>
                    <a:pt x="2106" y="13888"/>
                  </a:cubicBezTo>
                  <a:cubicBezTo>
                    <a:pt x="2138" y="13929"/>
                    <a:pt x="2124" y="13979"/>
                    <a:pt x="2076" y="13998"/>
                  </a:cubicBezTo>
                  <a:cubicBezTo>
                    <a:pt x="2028" y="14018"/>
                    <a:pt x="1970" y="14013"/>
                    <a:pt x="1948" y="13990"/>
                  </a:cubicBezTo>
                  <a:cubicBezTo>
                    <a:pt x="1927" y="13965"/>
                    <a:pt x="1901" y="13883"/>
                    <a:pt x="1893" y="13806"/>
                  </a:cubicBezTo>
                  <a:cubicBezTo>
                    <a:pt x="1883" y="13729"/>
                    <a:pt x="1830" y="13652"/>
                    <a:pt x="1773" y="13626"/>
                  </a:cubicBezTo>
                  <a:cubicBezTo>
                    <a:pt x="1715" y="13606"/>
                    <a:pt x="1616" y="13590"/>
                    <a:pt x="1554" y="13597"/>
                  </a:cubicBezTo>
                  <a:cubicBezTo>
                    <a:pt x="1492" y="13600"/>
                    <a:pt x="1462" y="13640"/>
                    <a:pt x="1488" y="13680"/>
                  </a:cubicBezTo>
                  <a:cubicBezTo>
                    <a:pt x="1513" y="13720"/>
                    <a:pt x="1527" y="13775"/>
                    <a:pt x="1519" y="13804"/>
                  </a:cubicBezTo>
                  <a:cubicBezTo>
                    <a:pt x="1511" y="13833"/>
                    <a:pt x="1442" y="13816"/>
                    <a:pt x="1362" y="13775"/>
                  </a:cubicBezTo>
                  <a:cubicBezTo>
                    <a:pt x="1283" y="13730"/>
                    <a:pt x="1170" y="13740"/>
                    <a:pt x="1107" y="13793"/>
                  </a:cubicBezTo>
                  <a:cubicBezTo>
                    <a:pt x="1044" y="13848"/>
                    <a:pt x="1049" y="13930"/>
                    <a:pt x="1117" y="13971"/>
                  </a:cubicBezTo>
                  <a:cubicBezTo>
                    <a:pt x="1184" y="14015"/>
                    <a:pt x="1197" y="14048"/>
                    <a:pt x="1146" y="14051"/>
                  </a:cubicBezTo>
                  <a:cubicBezTo>
                    <a:pt x="1093" y="14051"/>
                    <a:pt x="1021" y="14062"/>
                    <a:pt x="986" y="14076"/>
                  </a:cubicBezTo>
                  <a:cubicBezTo>
                    <a:pt x="950" y="14087"/>
                    <a:pt x="905" y="14048"/>
                    <a:pt x="881" y="13991"/>
                  </a:cubicBezTo>
                  <a:cubicBezTo>
                    <a:pt x="864" y="13931"/>
                    <a:pt x="760" y="13880"/>
                    <a:pt x="661" y="13872"/>
                  </a:cubicBezTo>
                  <a:cubicBezTo>
                    <a:pt x="562" y="13862"/>
                    <a:pt x="506" y="13908"/>
                    <a:pt x="543" y="13964"/>
                  </a:cubicBezTo>
                  <a:cubicBezTo>
                    <a:pt x="575" y="14024"/>
                    <a:pt x="572" y="14088"/>
                    <a:pt x="532" y="14113"/>
                  </a:cubicBezTo>
                  <a:cubicBezTo>
                    <a:pt x="490" y="14133"/>
                    <a:pt x="441" y="14109"/>
                    <a:pt x="420" y="14053"/>
                  </a:cubicBezTo>
                  <a:cubicBezTo>
                    <a:pt x="402" y="13996"/>
                    <a:pt x="332" y="13911"/>
                    <a:pt x="272" y="13863"/>
                  </a:cubicBezTo>
                  <a:cubicBezTo>
                    <a:pt x="212" y="13814"/>
                    <a:pt x="137" y="13781"/>
                    <a:pt x="105" y="13788"/>
                  </a:cubicBezTo>
                  <a:cubicBezTo>
                    <a:pt x="74" y="13793"/>
                    <a:pt x="55" y="13829"/>
                    <a:pt x="66" y="13861"/>
                  </a:cubicBezTo>
                  <a:cubicBezTo>
                    <a:pt x="77" y="13893"/>
                    <a:pt x="142" y="13963"/>
                    <a:pt x="208" y="14021"/>
                  </a:cubicBezTo>
                  <a:cubicBezTo>
                    <a:pt x="278" y="14075"/>
                    <a:pt x="310" y="14149"/>
                    <a:pt x="284" y="14182"/>
                  </a:cubicBezTo>
                  <a:cubicBezTo>
                    <a:pt x="258" y="14216"/>
                    <a:pt x="260" y="14263"/>
                    <a:pt x="290" y="14290"/>
                  </a:cubicBezTo>
                  <a:cubicBezTo>
                    <a:pt x="321" y="14316"/>
                    <a:pt x="405" y="14324"/>
                    <a:pt x="481" y="14309"/>
                  </a:cubicBezTo>
                  <a:cubicBezTo>
                    <a:pt x="557" y="14296"/>
                    <a:pt x="703" y="14296"/>
                    <a:pt x="805" y="14322"/>
                  </a:cubicBezTo>
                  <a:cubicBezTo>
                    <a:pt x="909" y="14343"/>
                    <a:pt x="1046" y="14402"/>
                    <a:pt x="1116" y="14439"/>
                  </a:cubicBezTo>
                  <a:cubicBezTo>
                    <a:pt x="1185" y="14478"/>
                    <a:pt x="1321" y="14517"/>
                    <a:pt x="1420" y="14522"/>
                  </a:cubicBezTo>
                  <a:cubicBezTo>
                    <a:pt x="1520" y="14528"/>
                    <a:pt x="1625" y="14515"/>
                    <a:pt x="1656" y="14498"/>
                  </a:cubicBezTo>
                  <a:cubicBezTo>
                    <a:pt x="1687" y="14481"/>
                    <a:pt x="1752" y="14465"/>
                    <a:pt x="1801" y="14469"/>
                  </a:cubicBezTo>
                  <a:cubicBezTo>
                    <a:pt x="1851" y="14471"/>
                    <a:pt x="1839" y="14516"/>
                    <a:pt x="1779" y="14572"/>
                  </a:cubicBezTo>
                  <a:cubicBezTo>
                    <a:pt x="1717" y="14625"/>
                    <a:pt x="1593" y="14657"/>
                    <a:pt x="1504" y="14639"/>
                  </a:cubicBezTo>
                  <a:cubicBezTo>
                    <a:pt x="1413" y="14624"/>
                    <a:pt x="1312" y="14620"/>
                    <a:pt x="1280" y="14635"/>
                  </a:cubicBezTo>
                  <a:cubicBezTo>
                    <a:pt x="1247" y="14648"/>
                    <a:pt x="1131" y="14612"/>
                    <a:pt x="1019" y="14562"/>
                  </a:cubicBezTo>
                  <a:cubicBezTo>
                    <a:pt x="909" y="14507"/>
                    <a:pt x="763" y="14474"/>
                    <a:pt x="696" y="14486"/>
                  </a:cubicBezTo>
                  <a:cubicBezTo>
                    <a:pt x="628" y="14498"/>
                    <a:pt x="546" y="14499"/>
                    <a:pt x="515" y="14485"/>
                  </a:cubicBezTo>
                  <a:cubicBezTo>
                    <a:pt x="482" y="14473"/>
                    <a:pt x="415" y="14492"/>
                    <a:pt x="364" y="14527"/>
                  </a:cubicBezTo>
                  <a:cubicBezTo>
                    <a:pt x="316" y="14565"/>
                    <a:pt x="213" y="14600"/>
                    <a:pt x="140" y="14603"/>
                  </a:cubicBezTo>
                  <a:cubicBezTo>
                    <a:pt x="68" y="14607"/>
                    <a:pt x="6" y="14634"/>
                    <a:pt x="0" y="14658"/>
                  </a:cubicBezTo>
                  <a:cubicBezTo>
                    <a:pt x="-3" y="14683"/>
                    <a:pt x="88" y="14743"/>
                    <a:pt x="203" y="14794"/>
                  </a:cubicBezTo>
                  <a:cubicBezTo>
                    <a:pt x="320" y="14838"/>
                    <a:pt x="381" y="14917"/>
                    <a:pt x="341" y="14956"/>
                  </a:cubicBezTo>
                  <a:cubicBezTo>
                    <a:pt x="300" y="14995"/>
                    <a:pt x="313" y="15038"/>
                    <a:pt x="369" y="15049"/>
                  </a:cubicBezTo>
                  <a:cubicBezTo>
                    <a:pt x="424" y="15062"/>
                    <a:pt x="500" y="15056"/>
                    <a:pt x="536" y="15037"/>
                  </a:cubicBezTo>
                  <a:cubicBezTo>
                    <a:pt x="571" y="15018"/>
                    <a:pt x="676" y="15010"/>
                    <a:pt x="768" y="15012"/>
                  </a:cubicBezTo>
                  <a:cubicBezTo>
                    <a:pt x="860" y="15019"/>
                    <a:pt x="882" y="15053"/>
                    <a:pt x="815" y="15089"/>
                  </a:cubicBezTo>
                  <a:cubicBezTo>
                    <a:pt x="749" y="15129"/>
                    <a:pt x="615" y="15156"/>
                    <a:pt x="518" y="15149"/>
                  </a:cubicBezTo>
                  <a:cubicBezTo>
                    <a:pt x="420" y="15148"/>
                    <a:pt x="320" y="15149"/>
                    <a:pt x="294" y="15158"/>
                  </a:cubicBezTo>
                  <a:cubicBezTo>
                    <a:pt x="267" y="15168"/>
                    <a:pt x="222" y="15173"/>
                    <a:pt x="193" y="15162"/>
                  </a:cubicBezTo>
                  <a:cubicBezTo>
                    <a:pt x="164" y="15154"/>
                    <a:pt x="139" y="15162"/>
                    <a:pt x="137" y="15180"/>
                  </a:cubicBezTo>
                  <a:cubicBezTo>
                    <a:pt x="135" y="15198"/>
                    <a:pt x="176" y="15229"/>
                    <a:pt x="227" y="15252"/>
                  </a:cubicBezTo>
                  <a:cubicBezTo>
                    <a:pt x="278" y="15274"/>
                    <a:pt x="350" y="15292"/>
                    <a:pt x="387" y="15294"/>
                  </a:cubicBezTo>
                  <a:cubicBezTo>
                    <a:pt x="424" y="15295"/>
                    <a:pt x="407" y="15318"/>
                    <a:pt x="352" y="15346"/>
                  </a:cubicBezTo>
                  <a:cubicBezTo>
                    <a:pt x="296" y="15376"/>
                    <a:pt x="226" y="15399"/>
                    <a:pt x="198" y="15406"/>
                  </a:cubicBezTo>
                  <a:cubicBezTo>
                    <a:pt x="170" y="15412"/>
                    <a:pt x="153" y="15439"/>
                    <a:pt x="164" y="15467"/>
                  </a:cubicBezTo>
                  <a:cubicBezTo>
                    <a:pt x="174" y="15495"/>
                    <a:pt x="210" y="15533"/>
                    <a:pt x="240" y="15557"/>
                  </a:cubicBezTo>
                  <a:cubicBezTo>
                    <a:pt x="273" y="15576"/>
                    <a:pt x="320" y="15626"/>
                    <a:pt x="345" y="15661"/>
                  </a:cubicBezTo>
                  <a:cubicBezTo>
                    <a:pt x="366" y="15700"/>
                    <a:pt x="456" y="15727"/>
                    <a:pt x="535" y="15728"/>
                  </a:cubicBezTo>
                  <a:cubicBezTo>
                    <a:pt x="614" y="15725"/>
                    <a:pt x="714" y="15712"/>
                    <a:pt x="753" y="15685"/>
                  </a:cubicBezTo>
                  <a:cubicBezTo>
                    <a:pt x="792" y="15659"/>
                    <a:pt x="911" y="15631"/>
                    <a:pt x="1016" y="15627"/>
                  </a:cubicBezTo>
                  <a:cubicBezTo>
                    <a:pt x="1121" y="15617"/>
                    <a:pt x="1265" y="15630"/>
                    <a:pt x="1337" y="15651"/>
                  </a:cubicBezTo>
                  <a:cubicBezTo>
                    <a:pt x="1409" y="15670"/>
                    <a:pt x="1489" y="15702"/>
                    <a:pt x="1517" y="15720"/>
                  </a:cubicBezTo>
                  <a:cubicBezTo>
                    <a:pt x="1544" y="15738"/>
                    <a:pt x="1604" y="15732"/>
                    <a:pt x="1649" y="15706"/>
                  </a:cubicBezTo>
                  <a:cubicBezTo>
                    <a:pt x="1693" y="15678"/>
                    <a:pt x="1732" y="15628"/>
                    <a:pt x="1730" y="15589"/>
                  </a:cubicBezTo>
                  <a:cubicBezTo>
                    <a:pt x="1730" y="15550"/>
                    <a:pt x="1766" y="15510"/>
                    <a:pt x="1813" y="15501"/>
                  </a:cubicBezTo>
                  <a:cubicBezTo>
                    <a:pt x="1859" y="15491"/>
                    <a:pt x="1910" y="15516"/>
                    <a:pt x="1932" y="15548"/>
                  </a:cubicBezTo>
                  <a:cubicBezTo>
                    <a:pt x="1951" y="15583"/>
                    <a:pt x="2008" y="15613"/>
                    <a:pt x="2059" y="15616"/>
                  </a:cubicBezTo>
                  <a:cubicBezTo>
                    <a:pt x="2110" y="15618"/>
                    <a:pt x="2209" y="15583"/>
                    <a:pt x="2282" y="15541"/>
                  </a:cubicBezTo>
                  <a:cubicBezTo>
                    <a:pt x="2355" y="15500"/>
                    <a:pt x="2440" y="15470"/>
                    <a:pt x="2475" y="15479"/>
                  </a:cubicBezTo>
                  <a:cubicBezTo>
                    <a:pt x="2510" y="15489"/>
                    <a:pt x="2530" y="15520"/>
                    <a:pt x="2515" y="15542"/>
                  </a:cubicBezTo>
                  <a:cubicBezTo>
                    <a:pt x="2503" y="15568"/>
                    <a:pt x="2465" y="15608"/>
                    <a:pt x="2428" y="15627"/>
                  </a:cubicBezTo>
                  <a:cubicBezTo>
                    <a:pt x="2393" y="15651"/>
                    <a:pt x="2419" y="15683"/>
                    <a:pt x="2487" y="15702"/>
                  </a:cubicBezTo>
                  <a:cubicBezTo>
                    <a:pt x="2554" y="15722"/>
                    <a:pt x="2633" y="15714"/>
                    <a:pt x="2664" y="15690"/>
                  </a:cubicBezTo>
                  <a:cubicBezTo>
                    <a:pt x="2692" y="15662"/>
                    <a:pt x="2708" y="15613"/>
                    <a:pt x="2691" y="15581"/>
                  </a:cubicBezTo>
                  <a:cubicBezTo>
                    <a:pt x="2675" y="15546"/>
                    <a:pt x="2698" y="15466"/>
                    <a:pt x="2745" y="15406"/>
                  </a:cubicBezTo>
                  <a:cubicBezTo>
                    <a:pt x="2792" y="15346"/>
                    <a:pt x="2820" y="15334"/>
                    <a:pt x="2810" y="15383"/>
                  </a:cubicBezTo>
                  <a:cubicBezTo>
                    <a:pt x="2800" y="15431"/>
                    <a:pt x="2836" y="15522"/>
                    <a:pt x="2896" y="15578"/>
                  </a:cubicBezTo>
                  <a:cubicBezTo>
                    <a:pt x="2952" y="15637"/>
                    <a:pt x="2967" y="15719"/>
                    <a:pt x="2931" y="15765"/>
                  </a:cubicBezTo>
                  <a:cubicBezTo>
                    <a:pt x="2895" y="15810"/>
                    <a:pt x="2789" y="15858"/>
                    <a:pt x="2698" y="15870"/>
                  </a:cubicBezTo>
                  <a:cubicBezTo>
                    <a:pt x="2608" y="15888"/>
                    <a:pt x="2498" y="15916"/>
                    <a:pt x="2456" y="15946"/>
                  </a:cubicBezTo>
                  <a:cubicBezTo>
                    <a:pt x="2414" y="15975"/>
                    <a:pt x="2400" y="16013"/>
                    <a:pt x="2426" y="16033"/>
                  </a:cubicBezTo>
                  <a:cubicBezTo>
                    <a:pt x="2451" y="16055"/>
                    <a:pt x="2452" y="16108"/>
                    <a:pt x="2422" y="16151"/>
                  </a:cubicBezTo>
                  <a:cubicBezTo>
                    <a:pt x="2394" y="16196"/>
                    <a:pt x="2305" y="16227"/>
                    <a:pt x="2227" y="16228"/>
                  </a:cubicBezTo>
                  <a:cubicBezTo>
                    <a:pt x="2148" y="16227"/>
                    <a:pt x="2081" y="16201"/>
                    <a:pt x="2076" y="16173"/>
                  </a:cubicBezTo>
                  <a:cubicBezTo>
                    <a:pt x="2066" y="16147"/>
                    <a:pt x="2100" y="16103"/>
                    <a:pt x="2137" y="16075"/>
                  </a:cubicBezTo>
                  <a:cubicBezTo>
                    <a:pt x="2176" y="16052"/>
                    <a:pt x="2198" y="15981"/>
                    <a:pt x="2183" y="15926"/>
                  </a:cubicBezTo>
                  <a:cubicBezTo>
                    <a:pt x="2173" y="15869"/>
                    <a:pt x="2106" y="15815"/>
                    <a:pt x="2042" y="15802"/>
                  </a:cubicBezTo>
                  <a:cubicBezTo>
                    <a:pt x="1977" y="15791"/>
                    <a:pt x="1871" y="15830"/>
                    <a:pt x="1802" y="15885"/>
                  </a:cubicBezTo>
                  <a:cubicBezTo>
                    <a:pt x="1734" y="15942"/>
                    <a:pt x="1672" y="16016"/>
                    <a:pt x="1664" y="16048"/>
                  </a:cubicBezTo>
                  <a:cubicBezTo>
                    <a:pt x="1657" y="16081"/>
                    <a:pt x="1605" y="16060"/>
                    <a:pt x="1554" y="16000"/>
                  </a:cubicBezTo>
                  <a:cubicBezTo>
                    <a:pt x="1500" y="15943"/>
                    <a:pt x="1411" y="15882"/>
                    <a:pt x="1350" y="15867"/>
                  </a:cubicBezTo>
                  <a:cubicBezTo>
                    <a:pt x="1291" y="15851"/>
                    <a:pt x="1181" y="15846"/>
                    <a:pt x="1108" y="15853"/>
                  </a:cubicBezTo>
                  <a:cubicBezTo>
                    <a:pt x="1034" y="15861"/>
                    <a:pt x="936" y="15856"/>
                    <a:pt x="892" y="15842"/>
                  </a:cubicBezTo>
                  <a:cubicBezTo>
                    <a:pt x="848" y="15831"/>
                    <a:pt x="745" y="15847"/>
                    <a:pt x="660" y="15876"/>
                  </a:cubicBezTo>
                  <a:cubicBezTo>
                    <a:pt x="577" y="15909"/>
                    <a:pt x="474" y="15932"/>
                    <a:pt x="432" y="15932"/>
                  </a:cubicBezTo>
                  <a:cubicBezTo>
                    <a:pt x="390" y="15927"/>
                    <a:pt x="312" y="15904"/>
                    <a:pt x="261" y="15870"/>
                  </a:cubicBezTo>
                  <a:cubicBezTo>
                    <a:pt x="208" y="15842"/>
                    <a:pt x="153" y="15818"/>
                    <a:pt x="134" y="15821"/>
                  </a:cubicBezTo>
                  <a:cubicBezTo>
                    <a:pt x="117" y="15827"/>
                    <a:pt x="125" y="15879"/>
                    <a:pt x="158" y="15937"/>
                  </a:cubicBezTo>
                  <a:cubicBezTo>
                    <a:pt x="188" y="15995"/>
                    <a:pt x="203" y="16070"/>
                    <a:pt x="185" y="16097"/>
                  </a:cubicBezTo>
                  <a:cubicBezTo>
                    <a:pt x="169" y="16126"/>
                    <a:pt x="182" y="16174"/>
                    <a:pt x="216" y="16198"/>
                  </a:cubicBezTo>
                  <a:cubicBezTo>
                    <a:pt x="249" y="16224"/>
                    <a:pt x="317" y="16240"/>
                    <a:pt x="366" y="16231"/>
                  </a:cubicBezTo>
                  <a:cubicBezTo>
                    <a:pt x="416" y="16224"/>
                    <a:pt x="478" y="16194"/>
                    <a:pt x="504" y="16166"/>
                  </a:cubicBezTo>
                  <a:cubicBezTo>
                    <a:pt x="530" y="16138"/>
                    <a:pt x="584" y="16120"/>
                    <a:pt x="623" y="16121"/>
                  </a:cubicBezTo>
                  <a:cubicBezTo>
                    <a:pt x="663" y="16125"/>
                    <a:pt x="661" y="16161"/>
                    <a:pt x="618" y="16201"/>
                  </a:cubicBezTo>
                  <a:cubicBezTo>
                    <a:pt x="576" y="16243"/>
                    <a:pt x="550" y="16317"/>
                    <a:pt x="555" y="16368"/>
                  </a:cubicBezTo>
                  <a:cubicBezTo>
                    <a:pt x="563" y="16419"/>
                    <a:pt x="548" y="16477"/>
                    <a:pt x="522" y="16496"/>
                  </a:cubicBezTo>
                  <a:cubicBezTo>
                    <a:pt x="495" y="16516"/>
                    <a:pt x="432" y="16507"/>
                    <a:pt x="382" y="16482"/>
                  </a:cubicBezTo>
                  <a:cubicBezTo>
                    <a:pt x="333" y="16452"/>
                    <a:pt x="311" y="16489"/>
                    <a:pt x="338" y="16559"/>
                  </a:cubicBezTo>
                  <a:cubicBezTo>
                    <a:pt x="363" y="16629"/>
                    <a:pt x="419" y="16711"/>
                    <a:pt x="460" y="16744"/>
                  </a:cubicBezTo>
                  <a:cubicBezTo>
                    <a:pt x="500" y="16779"/>
                    <a:pt x="611" y="16729"/>
                    <a:pt x="703" y="16637"/>
                  </a:cubicBezTo>
                  <a:cubicBezTo>
                    <a:pt x="794" y="16544"/>
                    <a:pt x="928" y="16499"/>
                    <a:pt x="999" y="16525"/>
                  </a:cubicBezTo>
                  <a:cubicBezTo>
                    <a:pt x="1069" y="16553"/>
                    <a:pt x="1104" y="16598"/>
                    <a:pt x="1076" y="16622"/>
                  </a:cubicBezTo>
                  <a:cubicBezTo>
                    <a:pt x="1048" y="16646"/>
                    <a:pt x="1035" y="16707"/>
                    <a:pt x="1045" y="16757"/>
                  </a:cubicBezTo>
                  <a:cubicBezTo>
                    <a:pt x="1056" y="16807"/>
                    <a:pt x="1000" y="16880"/>
                    <a:pt x="920" y="16914"/>
                  </a:cubicBezTo>
                  <a:cubicBezTo>
                    <a:pt x="840" y="16950"/>
                    <a:pt x="787" y="16996"/>
                    <a:pt x="800" y="17019"/>
                  </a:cubicBezTo>
                  <a:cubicBezTo>
                    <a:pt x="815" y="17040"/>
                    <a:pt x="868" y="17065"/>
                    <a:pt x="919" y="17076"/>
                  </a:cubicBezTo>
                  <a:cubicBezTo>
                    <a:pt x="969" y="17086"/>
                    <a:pt x="992" y="17125"/>
                    <a:pt x="966" y="17160"/>
                  </a:cubicBezTo>
                  <a:cubicBezTo>
                    <a:pt x="941" y="17197"/>
                    <a:pt x="954" y="17269"/>
                    <a:pt x="993" y="17321"/>
                  </a:cubicBezTo>
                  <a:cubicBezTo>
                    <a:pt x="1033" y="17374"/>
                    <a:pt x="1046" y="17462"/>
                    <a:pt x="1028" y="17521"/>
                  </a:cubicBezTo>
                  <a:cubicBezTo>
                    <a:pt x="1007" y="17579"/>
                    <a:pt x="1009" y="17628"/>
                    <a:pt x="1029" y="17634"/>
                  </a:cubicBezTo>
                  <a:cubicBezTo>
                    <a:pt x="1050" y="17640"/>
                    <a:pt x="1109" y="17582"/>
                    <a:pt x="1157" y="17511"/>
                  </a:cubicBezTo>
                  <a:cubicBezTo>
                    <a:pt x="1206" y="17440"/>
                    <a:pt x="1284" y="17365"/>
                    <a:pt x="1332" y="17343"/>
                  </a:cubicBezTo>
                  <a:cubicBezTo>
                    <a:pt x="1378" y="17322"/>
                    <a:pt x="1421" y="17255"/>
                    <a:pt x="1429" y="17194"/>
                  </a:cubicBezTo>
                  <a:cubicBezTo>
                    <a:pt x="1434" y="17132"/>
                    <a:pt x="1544" y="17052"/>
                    <a:pt x="1668" y="17009"/>
                  </a:cubicBezTo>
                  <a:cubicBezTo>
                    <a:pt x="1793" y="16968"/>
                    <a:pt x="1946" y="16944"/>
                    <a:pt x="2010" y="16951"/>
                  </a:cubicBezTo>
                  <a:cubicBezTo>
                    <a:pt x="2074" y="16958"/>
                    <a:pt x="2169" y="16960"/>
                    <a:pt x="2219" y="16946"/>
                  </a:cubicBezTo>
                  <a:cubicBezTo>
                    <a:pt x="2272" y="16940"/>
                    <a:pt x="2284" y="16940"/>
                    <a:pt x="2249" y="16960"/>
                  </a:cubicBezTo>
                  <a:cubicBezTo>
                    <a:pt x="2212" y="16975"/>
                    <a:pt x="2134" y="17031"/>
                    <a:pt x="2069" y="17070"/>
                  </a:cubicBezTo>
                  <a:cubicBezTo>
                    <a:pt x="2004" y="17109"/>
                    <a:pt x="1956" y="17205"/>
                    <a:pt x="1961" y="17278"/>
                  </a:cubicBezTo>
                  <a:cubicBezTo>
                    <a:pt x="1964" y="17352"/>
                    <a:pt x="1985" y="17452"/>
                    <a:pt x="2011" y="17497"/>
                  </a:cubicBezTo>
                  <a:cubicBezTo>
                    <a:pt x="2036" y="17543"/>
                    <a:pt x="2013" y="17546"/>
                    <a:pt x="1960" y="17507"/>
                  </a:cubicBezTo>
                  <a:cubicBezTo>
                    <a:pt x="1907" y="17466"/>
                    <a:pt x="1849" y="17379"/>
                    <a:pt x="1838" y="17311"/>
                  </a:cubicBezTo>
                  <a:cubicBezTo>
                    <a:pt x="1825" y="17243"/>
                    <a:pt x="1782" y="17186"/>
                    <a:pt x="1745" y="17181"/>
                  </a:cubicBezTo>
                  <a:cubicBezTo>
                    <a:pt x="1708" y="17174"/>
                    <a:pt x="1643" y="17230"/>
                    <a:pt x="1602" y="17302"/>
                  </a:cubicBezTo>
                  <a:cubicBezTo>
                    <a:pt x="1560" y="17372"/>
                    <a:pt x="1498" y="17437"/>
                    <a:pt x="1462" y="17449"/>
                  </a:cubicBezTo>
                  <a:cubicBezTo>
                    <a:pt x="1425" y="17461"/>
                    <a:pt x="1449" y="17488"/>
                    <a:pt x="1514" y="17512"/>
                  </a:cubicBezTo>
                  <a:cubicBezTo>
                    <a:pt x="1579" y="17536"/>
                    <a:pt x="1589" y="17610"/>
                    <a:pt x="1537" y="17673"/>
                  </a:cubicBezTo>
                  <a:cubicBezTo>
                    <a:pt x="1486" y="17739"/>
                    <a:pt x="1405" y="17784"/>
                    <a:pt x="1360" y="17785"/>
                  </a:cubicBezTo>
                  <a:cubicBezTo>
                    <a:pt x="1315" y="17781"/>
                    <a:pt x="1264" y="17816"/>
                    <a:pt x="1243" y="17857"/>
                  </a:cubicBezTo>
                  <a:cubicBezTo>
                    <a:pt x="1226" y="17899"/>
                    <a:pt x="1239" y="17944"/>
                    <a:pt x="1273" y="17963"/>
                  </a:cubicBezTo>
                  <a:cubicBezTo>
                    <a:pt x="1309" y="17976"/>
                    <a:pt x="1415" y="17996"/>
                    <a:pt x="1511" y="18001"/>
                  </a:cubicBezTo>
                  <a:cubicBezTo>
                    <a:pt x="1606" y="18005"/>
                    <a:pt x="1707" y="18040"/>
                    <a:pt x="1732" y="18078"/>
                  </a:cubicBezTo>
                  <a:cubicBezTo>
                    <a:pt x="1755" y="18117"/>
                    <a:pt x="1723" y="18148"/>
                    <a:pt x="1654" y="18148"/>
                  </a:cubicBezTo>
                  <a:cubicBezTo>
                    <a:pt x="1585" y="18150"/>
                    <a:pt x="1510" y="18178"/>
                    <a:pt x="1489" y="18213"/>
                  </a:cubicBezTo>
                  <a:cubicBezTo>
                    <a:pt x="1469" y="18249"/>
                    <a:pt x="1446" y="18311"/>
                    <a:pt x="1443" y="18354"/>
                  </a:cubicBezTo>
                  <a:cubicBezTo>
                    <a:pt x="1441" y="18397"/>
                    <a:pt x="1373" y="18395"/>
                    <a:pt x="1297" y="18342"/>
                  </a:cubicBezTo>
                  <a:cubicBezTo>
                    <a:pt x="1221" y="18294"/>
                    <a:pt x="1130" y="18262"/>
                    <a:pt x="1097" y="18275"/>
                  </a:cubicBezTo>
                  <a:cubicBezTo>
                    <a:pt x="1063" y="18289"/>
                    <a:pt x="1028" y="18342"/>
                    <a:pt x="1016" y="18393"/>
                  </a:cubicBezTo>
                  <a:cubicBezTo>
                    <a:pt x="1005" y="18446"/>
                    <a:pt x="987" y="18433"/>
                    <a:pt x="961" y="18373"/>
                  </a:cubicBezTo>
                  <a:cubicBezTo>
                    <a:pt x="946" y="18308"/>
                    <a:pt x="892" y="18280"/>
                    <a:pt x="847" y="18302"/>
                  </a:cubicBezTo>
                  <a:cubicBezTo>
                    <a:pt x="803" y="18326"/>
                    <a:pt x="719" y="18402"/>
                    <a:pt x="662" y="18475"/>
                  </a:cubicBezTo>
                  <a:cubicBezTo>
                    <a:pt x="606" y="18548"/>
                    <a:pt x="580" y="18654"/>
                    <a:pt x="607" y="18714"/>
                  </a:cubicBezTo>
                  <a:cubicBezTo>
                    <a:pt x="632" y="18773"/>
                    <a:pt x="734" y="18901"/>
                    <a:pt x="833" y="18992"/>
                  </a:cubicBezTo>
                  <a:cubicBezTo>
                    <a:pt x="931" y="19087"/>
                    <a:pt x="1023" y="19123"/>
                    <a:pt x="1041" y="19073"/>
                  </a:cubicBezTo>
                  <a:cubicBezTo>
                    <a:pt x="1056" y="19023"/>
                    <a:pt x="1091" y="18999"/>
                    <a:pt x="1116" y="19020"/>
                  </a:cubicBezTo>
                  <a:cubicBezTo>
                    <a:pt x="1139" y="19042"/>
                    <a:pt x="1203" y="19043"/>
                    <a:pt x="1252" y="19022"/>
                  </a:cubicBezTo>
                  <a:cubicBezTo>
                    <a:pt x="1302" y="19005"/>
                    <a:pt x="1329" y="18965"/>
                    <a:pt x="1315" y="18938"/>
                  </a:cubicBezTo>
                  <a:cubicBezTo>
                    <a:pt x="1298" y="18912"/>
                    <a:pt x="1311" y="18840"/>
                    <a:pt x="1336" y="18781"/>
                  </a:cubicBezTo>
                  <a:cubicBezTo>
                    <a:pt x="1359" y="18721"/>
                    <a:pt x="1447" y="18717"/>
                    <a:pt x="1523" y="18773"/>
                  </a:cubicBezTo>
                  <a:cubicBezTo>
                    <a:pt x="1602" y="18827"/>
                    <a:pt x="1635" y="18884"/>
                    <a:pt x="1603" y="18904"/>
                  </a:cubicBezTo>
                  <a:cubicBezTo>
                    <a:pt x="1570" y="18924"/>
                    <a:pt x="1579" y="18972"/>
                    <a:pt x="1623" y="19015"/>
                  </a:cubicBezTo>
                  <a:cubicBezTo>
                    <a:pt x="1666" y="19060"/>
                    <a:pt x="1691" y="19136"/>
                    <a:pt x="1681" y="19190"/>
                  </a:cubicBezTo>
                  <a:cubicBezTo>
                    <a:pt x="1663" y="19241"/>
                    <a:pt x="1620" y="19306"/>
                    <a:pt x="1577" y="19334"/>
                  </a:cubicBezTo>
                  <a:cubicBezTo>
                    <a:pt x="1533" y="19361"/>
                    <a:pt x="1532" y="19459"/>
                    <a:pt x="1579" y="19550"/>
                  </a:cubicBezTo>
                  <a:cubicBezTo>
                    <a:pt x="1622" y="19643"/>
                    <a:pt x="1685" y="19692"/>
                    <a:pt x="1715" y="19659"/>
                  </a:cubicBezTo>
                  <a:cubicBezTo>
                    <a:pt x="1744" y="19626"/>
                    <a:pt x="1839" y="19585"/>
                    <a:pt x="1923" y="19569"/>
                  </a:cubicBezTo>
                  <a:cubicBezTo>
                    <a:pt x="2007" y="19551"/>
                    <a:pt x="2107" y="19574"/>
                    <a:pt x="2143" y="19620"/>
                  </a:cubicBezTo>
                  <a:cubicBezTo>
                    <a:pt x="2180" y="19665"/>
                    <a:pt x="2152" y="19706"/>
                    <a:pt x="2080" y="19705"/>
                  </a:cubicBezTo>
                  <a:cubicBezTo>
                    <a:pt x="2009" y="19708"/>
                    <a:pt x="1920" y="19722"/>
                    <a:pt x="1889" y="19748"/>
                  </a:cubicBezTo>
                  <a:cubicBezTo>
                    <a:pt x="1856" y="19770"/>
                    <a:pt x="1864" y="19832"/>
                    <a:pt x="1901" y="19890"/>
                  </a:cubicBezTo>
                  <a:cubicBezTo>
                    <a:pt x="1943" y="19945"/>
                    <a:pt x="1970" y="20009"/>
                    <a:pt x="1962" y="20031"/>
                  </a:cubicBezTo>
                  <a:cubicBezTo>
                    <a:pt x="1954" y="20052"/>
                    <a:pt x="1845" y="19994"/>
                    <a:pt x="1713" y="19907"/>
                  </a:cubicBezTo>
                  <a:cubicBezTo>
                    <a:pt x="1585" y="19814"/>
                    <a:pt x="1441" y="19750"/>
                    <a:pt x="1401" y="19767"/>
                  </a:cubicBezTo>
                  <a:cubicBezTo>
                    <a:pt x="1358" y="19775"/>
                    <a:pt x="1289" y="19766"/>
                    <a:pt x="1249" y="19733"/>
                  </a:cubicBezTo>
                  <a:cubicBezTo>
                    <a:pt x="1205" y="19704"/>
                    <a:pt x="1129" y="19678"/>
                    <a:pt x="1076" y="19675"/>
                  </a:cubicBezTo>
                  <a:cubicBezTo>
                    <a:pt x="1023" y="19678"/>
                    <a:pt x="981" y="19715"/>
                    <a:pt x="983" y="19763"/>
                  </a:cubicBezTo>
                  <a:cubicBezTo>
                    <a:pt x="986" y="19812"/>
                    <a:pt x="959" y="19881"/>
                    <a:pt x="923" y="19916"/>
                  </a:cubicBezTo>
                  <a:cubicBezTo>
                    <a:pt x="889" y="19952"/>
                    <a:pt x="936" y="20095"/>
                    <a:pt x="1030" y="20236"/>
                  </a:cubicBezTo>
                  <a:cubicBezTo>
                    <a:pt x="1123" y="20382"/>
                    <a:pt x="1264" y="20509"/>
                    <a:pt x="1337" y="20524"/>
                  </a:cubicBezTo>
                  <a:cubicBezTo>
                    <a:pt x="1410" y="20539"/>
                    <a:pt x="1551" y="20620"/>
                    <a:pt x="1652" y="20701"/>
                  </a:cubicBezTo>
                  <a:cubicBezTo>
                    <a:pt x="1753" y="20781"/>
                    <a:pt x="1947" y="20893"/>
                    <a:pt x="2083" y="20947"/>
                  </a:cubicBezTo>
                  <a:cubicBezTo>
                    <a:pt x="2218" y="21003"/>
                    <a:pt x="2344" y="21079"/>
                    <a:pt x="2364" y="21119"/>
                  </a:cubicBezTo>
                  <a:cubicBezTo>
                    <a:pt x="2380" y="21161"/>
                    <a:pt x="2371" y="21204"/>
                    <a:pt x="2340" y="21217"/>
                  </a:cubicBezTo>
                  <a:cubicBezTo>
                    <a:pt x="2309" y="21232"/>
                    <a:pt x="2328" y="21277"/>
                    <a:pt x="2380" y="21327"/>
                  </a:cubicBezTo>
                  <a:cubicBezTo>
                    <a:pt x="2433" y="21375"/>
                    <a:pt x="2516" y="21401"/>
                    <a:pt x="2560" y="21380"/>
                  </a:cubicBezTo>
                  <a:cubicBezTo>
                    <a:pt x="2606" y="21363"/>
                    <a:pt x="2623" y="21293"/>
                    <a:pt x="2598" y="21229"/>
                  </a:cubicBezTo>
                  <a:cubicBezTo>
                    <a:pt x="2573" y="21166"/>
                    <a:pt x="2588" y="21113"/>
                    <a:pt x="2631" y="21114"/>
                  </a:cubicBezTo>
                  <a:cubicBezTo>
                    <a:pt x="2673" y="21119"/>
                    <a:pt x="2744" y="21149"/>
                    <a:pt x="2792" y="21182"/>
                  </a:cubicBezTo>
                  <a:cubicBezTo>
                    <a:pt x="2838" y="21217"/>
                    <a:pt x="2868" y="21261"/>
                    <a:pt x="2863" y="21280"/>
                  </a:cubicBezTo>
                  <a:cubicBezTo>
                    <a:pt x="2851" y="21295"/>
                    <a:pt x="2912" y="21382"/>
                    <a:pt x="2986" y="21468"/>
                  </a:cubicBezTo>
                  <a:cubicBezTo>
                    <a:pt x="3060" y="21555"/>
                    <a:pt x="3146" y="21593"/>
                    <a:pt x="3178" y="21559"/>
                  </a:cubicBezTo>
                  <a:cubicBezTo>
                    <a:pt x="3206" y="21523"/>
                    <a:pt x="3257" y="21505"/>
                    <a:pt x="3285" y="21522"/>
                  </a:cubicBezTo>
                  <a:cubicBezTo>
                    <a:pt x="3315" y="21532"/>
                    <a:pt x="3384" y="21533"/>
                    <a:pt x="3444" y="21509"/>
                  </a:cubicBezTo>
                  <a:cubicBezTo>
                    <a:pt x="3502" y="21487"/>
                    <a:pt x="3607" y="21419"/>
                    <a:pt x="3675" y="21357"/>
                  </a:cubicBezTo>
                  <a:cubicBezTo>
                    <a:pt x="3747" y="21298"/>
                    <a:pt x="3828" y="21239"/>
                    <a:pt x="3860" y="21238"/>
                  </a:cubicBezTo>
                  <a:cubicBezTo>
                    <a:pt x="3892" y="21236"/>
                    <a:pt x="3940" y="21207"/>
                    <a:pt x="3968" y="21177"/>
                  </a:cubicBezTo>
                  <a:cubicBezTo>
                    <a:pt x="3997" y="21151"/>
                    <a:pt x="4030" y="21127"/>
                    <a:pt x="4046" y="21132"/>
                  </a:cubicBezTo>
                  <a:cubicBezTo>
                    <a:pt x="4062" y="21140"/>
                    <a:pt x="4092" y="21180"/>
                    <a:pt x="4112" y="21228"/>
                  </a:cubicBezTo>
                  <a:cubicBezTo>
                    <a:pt x="4136" y="21274"/>
                    <a:pt x="4184" y="21319"/>
                    <a:pt x="4227" y="21327"/>
                  </a:cubicBezTo>
                  <a:cubicBezTo>
                    <a:pt x="4269" y="21335"/>
                    <a:pt x="4400" y="21253"/>
                    <a:pt x="4512" y="21145"/>
                  </a:cubicBezTo>
                  <a:cubicBezTo>
                    <a:pt x="4625" y="21039"/>
                    <a:pt x="4715" y="20919"/>
                    <a:pt x="4705" y="20881"/>
                  </a:cubicBezTo>
                  <a:cubicBezTo>
                    <a:pt x="4700" y="20840"/>
                    <a:pt x="4648" y="20752"/>
                    <a:pt x="4588" y="20691"/>
                  </a:cubicBezTo>
                  <a:cubicBezTo>
                    <a:pt x="4529" y="20629"/>
                    <a:pt x="4564" y="20621"/>
                    <a:pt x="4659" y="20682"/>
                  </a:cubicBezTo>
                  <a:cubicBezTo>
                    <a:pt x="4755" y="20743"/>
                    <a:pt x="4889" y="20736"/>
                    <a:pt x="4960" y="20674"/>
                  </a:cubicBezTo>
                  <a:cubicBezTo>
                    <a:pt x="5031" y="20611"/>
                    <a:pt x="5071" y="20538"/>
                    <a:pt x="5048" y="20514"/>
                  </a:cubicBezTo>
                  <a:cubicBezTo>
                    <a:pt x="5032" y="20485"/>
                    <a:pt x="5044" y="20447"/>
                    <a:pt x="5086" y="20424"/>
                  </a:cubicBezTo>
                  <a:cubicBezTo>
                    <a:pt x="5127" y="20396"/>
                    <a:pt x="5153" y="20341"/>
                    <a:pt x="5143" y="20297"/>
                  </a:cubicBezTo>
                  <a:cubicBezTo>
                    <a:pt x="5133" y="20252"/>
                    <a:pt x="5167" y="20193"/>
                    <a:pt x="5218" y="20163"/>
                  </a:cubicBezTo>
                  <a:cubicBezTo>
                    <a:pt x="5270" y="20134"/>
                    <a:pt x="5359" y="20102"/>
                    <a:pt x="5416" y="20098"/>
                  </a:cubicBezTo>
                  <a:cubicBezTo>
                    <a:pt x="5474" y="20094"/>
                    <a:pt x="5532" y="20057"/>
                    <a:pt x="5543" y="20019"/>
                  </a:cubicBezTo>
                  <a:cubicBezTo>
                    <a:pt x="5554" y="19980"/>
                    <a:pt x="5515" y="19896"/>
                    <a:pt x="5457" y="19826"/>
                  </a:cubicBezTo>
                  <a:cubicBezTo>
                    <a:pt x="5395" y="19760"/>
                    <a:pt x="5360" y="19668"/>
                    <a:pt x="5379" y="19628"/>
                  </a:cubicBezTo>
                  <a:cubicBezTo>
                    <a:pt x="5396" y="19587"/>
                    <a:pt x="5366" y="19503"/>
                    <a:pt x="5314" y="19438"/>
                  </a:cubicBezTo>
                  <a:cubicBezTo>
                    <a:pt x="5260" y="19376"/>
                    <a:pt x="5168" y="19289"/>
                    <a:pt x="5106" y="19243"/>
                  </a:cubicBezTo>
                  <a:cubicBezTo>
                    <a:pt x="5045" y="19198"/>
                    <a:pt x="4992" y="19121"/>
                    <a:pt x="4992" y="19068"/>
                  </a:cubicBezTo>
                  <a:cubicBezTo>
                    <a:pt x="4992" y="19015"/>
                    <a:pt x="5023" y="18985"/>
                    <a:pt x="5055" y="19011"/>
                  </a:cubicBezTo>
                  <a:cubicBezTo>
                    <a:pt x="5089" y="19036"/>
                    <a:pt x="5176" y="19110"/>
                    <a:pt x="5248" y="19181"/>
                  </a:cubicBezTo>
                  <a:cubicBezTo>
                    <a:pt x="5318" y="19253"/>
                    <a:pt x="5402" y="19384"/>
                    <a:pt x="5434" y="19474"/>
                  </a:cubicBezTo>
                  <a:cubicBezTo>
                    <a:pt x="5469" y="19563"/>
                    <a:pt x="5514" y="19657"/>
                    <a:pt x="5538" y="19685"/>
                  </a:cubicBezTo>
                  <a:cubicBezTo>
                    <a:pt x="5562" y="19712"/>
                    <a:pt x="5618" y="19741"/>
                    <a:pt x="5661" y="19748"/>
                  </a:cubicBezTo>
                  <a:cubicBezTo>
                    <a:pt x="5704" y="19753"/>
                    <a:pt x="5731" y="19792"/>
                    <a:pt x="5726" y="19827"/>
                  </a:cubicBezTo>
                  <a:cubicBezTo>
                    <a:pt x="5720" y="19862"/>
                    <a:pt x="5744" y="19920"/>
                    <a:pt x="5775" y="19962"/>
                  </a:cubicBezTo>
                  <a:cubicBezTo>
                    <a:pt x="5809" y="20001"/>
                    <a:pt x="5892" y="20017"/>
                    <a:pt x="5955" y="19992"/>
                  </a:cubicBezTo>
                  <a:cubicBezTo>
                    <a:pt x="6020" y="19966"/>
                    <a:pt x="6060" y="19919"/>
                    <a:pt x="6039" y="19885"/>
                  </a:cubicBezTo>
                  <a:cubicBezTo>
                    <a:pt x="6023" y="19848"/>
                    <a:pt x="5979" y="19801"/>
                    <a:pt x="5946" y="19778"/>
                  </a:cubicBezTo>
                  <a:cubicBezTo>
                    <a:pt x="5912" y="19757"/>
                    <a:pt x="5908" y="19705"/>
                    <a:pt x="5927" y="19665"/>
                  </a:cubicBezTo>
                  <a:cubicBezTo>
                    <a:pt x="5947" y="19627"/>
                    <a:pt x="6017" y="19632"/>
                    <a:pt x="6073" y="19686"/>
                  </a:cubicBezTo>
                  <a:cubicBezTo>
                    <a:pt x="6133" y="19735"/>
                    <a:pt x="6184" y="19796"/>
                    <a:pt x="6189" y="19819"/>
                  </a:cubicBezTo>
                  <a:cubicBezTo>
                    <a:pt x="6194" y="19842"/>
                    <a:pt x="6267" y="19809"/>
                    <a:pt x="6345" y="19735"/>
                  </a:cubicBezTo>
                  <a:cubicBezTo>
                    <a:pt x="6428" y="19668"/>
                    <a:pt x="6505" y="19554"/>
                    <a:pt x="6524" y="19488"/>
                  </a:cubicBezTo>
                  <a:cubicBezTo>
                    <a:pt x="6540" y="19420"/>
                    <a:pt x="6540" y="19312"/>
                    <a:pt x="6511" y="19252"/>
                  </a:cubicBezTo>
                  <a:cubicBezTo>
                    <a:pt x="6484" y="19189"/>
                    <a:pt x="6427" y="19119"/>
                    <a:pt x="6379" y="19099"/>
                  </a:cubicBezTo>
                  <a:cubicBezTo>
                    <a:pt x="6332" y="19080"/>
                    <a:pt x="6272" y="19031"/>
                    <a:pt x="6246" y="18994"/>
                  </a:cubicBezTo>
                  <a:cubicBezTo>
                    <a:pt x="6219" y="18960"/>
                    <a:pt x="6224" y="18915"/>
                    <a:pt x="6254" y="18897"/>
                  </a:cubicBezTo>
                  <a:cubicBezTo>
                    <a:pt x="6284" y="18881"/>
                    <a:pt x="6315" y="18845"/>
                    <a:pt x="6315" y="18817"/>
                  </a:cubicBezTo>
                  <a:cubicBezTo>
                    <a:pt x="6319" y="18790"/>
                    <a:pt x="6348" y="18769"/>
                    <a:pt x="6381" y="18766"/>
                  </a:cubicBezTo>
                  <a:cubicBezTo>
                    <a:pt x="6416" y="18766"/>
                    <a:pt x="6462" y="18742"/>
                    <a:pt x="6487" y="18717"/>
                  </a:cubicBezTo>
                  <a:cubicBezTo>
                    <a:pt x="6511" y="18692"/>
                    <a:pt x="6502" y="18634"/>
                    <a:pt x="6461" y="18596"/>
                  </a:cubicBezTo>
                  <a:cubicBezTo>
                    <a:pt x="6426" y="18553"/>
                    <a:pt x="6395" y="18474"/>
                    <a:pt x="6390" y="18417"/>
                  </a:cubicBezTo>
                  <a:cubicBezTo>
                    <a:pt x="6390" y="18359"/>
                    <a:pt x="6427" y="18283"/>
                    <a:pt x="6477" y="18253"/>
                  </a:cubicBezTo>
                  <a:cubicBezTo>
                    <a:pt x="6527" y="18220"/>
                    <a:pt x="6610" y="18233"/>
                    <a:pt x="6662" y="18281"/>
                  </a:cubicBezTo>
                  <a:cubicBezTo>
                    <a:pt x="6715" y="18325"/>
                    <a:pt x="6727" y="18413"/>
                    <a:pt x="6692" y="18467"/>
                  </a:cubicBezTo>
                  <a:cubicBezTo>
                    <a:pt x="6656" y="18521"/>
                    <a:pt x="6640" y="18629"/>
                    <a:pt x="6661" y="18703"/>
                  </a:cubicBezTo>
                  <a:cubicBezTo>
                    <a:pt x="6681" y="18779"/>
                    <a:pt x="6682" y="18882"/>
                    <a:pt x="6676" y="18934"/>
                  </a:cubicBezTo>
                  <a:cubicBezTo>
                    <a:pt x="6662" y="18984"/>
                    <a:pt x="6690" y="19076"/>
                    <a:pt x="6735" y="19135"/>
                  </a:cubicBezTo>
                  <a:cubicBezTo>
                    <a:pt x="6777" y="19197"/>
                    <a:pt x="6826" y="19279"/>
                    <a:pt x="6838" y="19323"/>
                  </a:cubicBezTo>
                  <a:cubicBezTo>
                    <a:pt x="6852" y="19366"/>
                    <a:pt x="6925" y="19462"/>
                    <a:pt x="7002" y="19535"/>
                  </a:cubicBezTo>
                  <a:cubicBezTo>
                    <a:pt x="7077" y="19611"/>
                    <a:pt x="7209" y="19669"/>
                    <a:pt x="7290" y="19667"/>
                  </a:cubicBezTo>
                  <a:cubicBezTo>
                    <a:pt x="7372" y="19663"/>
                    <a:pt x="7468" y="19690"/>
                    <a:pt x="7505" y="19718"/>
                  </a:cubicBezTo>
                  <a:cubicBezTo>
                    <a:pt x="7541" y="19746"/>
                    <a:pt x="7554" y="19789"/>
                    <a:pt x="7536" y="19813"/>
                  </a:cubicBezTo>
                  <a:cubicBezTo>
                    <a:pt x="7517" y="19835"/>
                    <a:pt x="7539" y="19879"/>
                    <a:pt x="7582" y="19910"/>
                  </a:cubicBezTo>
                  <a:cubicBezTo>
                    <a:pt x="7626" y="19943"/>
                    <a:pt x="7701" y="20020"/>
                    <a:pt x="7745" y="20088"/>
                  </a:cubicBezTo>
                  <a:close/>
                  <a:moveTo>
                    <a:pt x="7745" y="200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7" name="AutoShape 536"/>
            <p:cNvSpPr>
              <a:spLocks/>
            </p:cNvSpPr>
            <p:nvPr/>
          </p:nvSpPr>
          <p:spPr bwMode="auto">
            <a:xfrm>
              <a:off x="8039100" y="2463800"/>
              <a:ext cx="31750" cy="53975"/>
            </a:xfrm>
            <a:custGeom>
              <a:avLst/>
              <a:gdLst/>
              <a:ahLst/>
              <a:cxnLst/>
              <a:rect l="0" t="0" r="r" b="b"/>
              <a:pathLst>
                <a:path w="21133" h="21366">
                  <a:moveTo>
                    <a:pt x="548" y="10925"/>
                  </a:moveTo>
                  <a:cubicBezTo>
                    <a:pt x="20" y="11103"/>
                    <a:pt x="917" y="12349"/>
                    <a:pt x="2775" y="13610"/>
                  </a:cubicBezTo>
                  <a:cubicBezTo>
                    <a:pt x="4561" y="14914"/>
                    <a:pt x="6492" y="15904"/>
                    <a:pt x="7108" y="15829"/>
                  </a:cubicBezTo>
                  <a:cubicBezTo>
                    <a:pt x="7692" y="15724"/>
                    <a:pt x="7990" y="16231"/>
                    <a:pt x="7749" y="16917"/>
                  </a:cubicBezTo>
                  <a:cubicBezTo>
                    <a:pt x="7397" y="17589"/>
                    <a:pt x="6563" y="18606"/>
                    <a:pt x="5810" y="19199"/>
                  </a:cubicBezTo>
                  <a:cubicBezTo>
                    <a:pt x="5002" y="19770"/>
                    <a:pt x="4497" y="20542"/>
                    <a:pt x="4706" y="20920"/>
                  </a:cubicBezTo>
                  <a:cubicBezTo>
                    <a:pt x="4954" y="21289"/>
                    <a:pt x="6531" y="21486"/>
                    <a:pt x="8318" y="21286"/>
                  </a:cubicBezTo>
                  <a:cubicBezTo>
                    <a:pt x="10104" y="21140"/>
                    <a:pt x="11673" y="20528"/>
                    <a:pt x="12058" y="20064"/>
                  </a:cubicBezTo>
                  <a:cubicBezTo>
                    <a:pt x="12290" y="19564"/>
                    <a:pt x="12097" y="18984"/>
                    <a:pt x="11529" y="18728"/>
                  </a:cubicBezTo>
                  <a:cubicBezTo>
                    <a:pt x="10969" y="18487"/>
                    <a:pt x="10729" y="17879"/>
                    <a:pt x="10848" y="17365"/>
                  </a:cubicBezTo>
                  <a:cubicBezTo>
                    <a:pt x="10969" y="16848"/>
                    <a:pt x="12570" y="15880"/>
                    <a:pt x="14300" y="15232"/>
                  </a:cubicBezTo>
                  <a:cubicBezTo>
                    <a:pt x="15974" y="14556"/>
                    <a:pt x="17488" y="13581"/>
                    <a:pt x="17592" y="13042"/>
                  </a:cubicBezTo>
                  <a:cubicBezTo>
                    <a:pt x="17728" y="12498"/>
                    <a:pt x="18625" y="11489"/>
                    <a:pt x="19690" y="10840"/>
                  </a:cubicBezTo>
                  <a:cubicBezTo>
                    <a:pt x="20763" y="10208"/>
                    <a:pt x="21308" y="9311"/>
                    <a:pt x="21083" y="8916"/>
                  </a:cubicBezTo>
                  <a:cubicBezTo>
                    <a:pt x="20835" y="8528"/>
                    <a:pt x="19666" y="7731"/>
                    <a:pt x="18496" y="7123"/>
                  </a:cubicBezTo>
                  <a:cubicBezTo>
                    <a:pt x="17367" y="6475"/>
                    <a:pt x="16743" y="5492"/>
                    <a:pt x="17216" y="4807"/>
                  </a:cubicBezTo>
                  <a:cubicBezTo>
                    <a:pt x="17784" y="4148"/>
                    <a:pt x="18193" y="3198"/>
                    <a:pt x="18305" y="2734"/>
                  </a:cubicBezTo>
                  <a:cubicBezTo>
                    <a:pt x="18417" y="2278"/>
                    <a:pt x="18961" y="1686"/>
                    <a:pt x="19538" y="1388"/>
                  </a:cubicBezTo>
                  <a:cubicBezTo>
                    <a:pt x="20098" y="1091"/>
                    <a:pt x="19810" y="645"/>
                    <a:pt x="18905" y="313"/>
                  </a:cubicBezTo>
                  <a:cubicBezTo>
                    <a:pt x="17952" y="3"/>
                    <a:pt x="16495" y="-114"/>
                    <a:pt x="15742" y="135"/>
                  </a:cubicBezTo>
                  <a:cubicBezTo>
                    <a:pt x="14989" y="366"/>
                    <a:pt x="12954" y="422"/>
                    <a:pt x="11297" y="325"/>
                  </a:cubicBezTo>
                  <a:cubicBezTo>
                    <a:pt x="9615" y="215"/>
                    <a:pt x="7509" y="671"/>
                    <a:pt x="6571" y="1317"/>
                  </a:cubicBezTo>
                  <a:cubicBezTo>
                    <a:pt x="5635" y="1971"/>
                    <a:pt x="4337" y="3068"/>
                    <a:pt x="3760" y="3790"/>
                  </a:cubicBezTo>
                  <a:cubicBezTo>
                    <a:pt x="3088" y="4470"/>
                    <a:pt x="1806" y="5470"/>
                    <a:pt x="925" y="6051"/>
                  </a:cubicBezTo>
                  <a:cubicBezTo>
                    <a:pt x="-35" y="6594"/>
                    <a:pt x="-292" y="7828"/>
                    <a:pt x="365" y="8818"/>
                  </a:cubicBezTo>
                  <a:cubicBezTo>
                    <a:pt x="829" y="9843"/>
                    <a:pt x="1110" y="10774"/>
                    <a:pt x="548" y="10925"/>
                  </a:cubicBezTo>
                  <a:close/>
                  <a:moveTo>
                    <a:pt x="548" y="109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8" name="AutoShape 537"/>
            <p:cNvSpPr>
              <a:spLocks/>
            </p:cNvSpPr>
            <p:nvPr/>
          </p:nvSpPr>
          <p:spPr bwMode="auto">
            <a:xfrm>
              <a:off x="7988300" y="2501900"/>
              <a:ext cx="14288" cy="57150"/>
            </a:xfrm>
            <a:custGeom>
              <a:avLst/>
              <a:gdLst/>
              <a:ahLst/>
              <a:cxnLst/>
              <a:rect l="0" t="0" r="r" b="b"/>
              <a:pathLst>
                <a:path w="21140" h="21189">
                  <a:moveTo>
                    <a:pt x="2433" y="19587"/>
                  </a:moveTo>
                  <a:cubicBezTo>
                    <a:pt x="2704" y="20128"/>
                    <a:pt x="3842" y="20785"/>
                    <a:pt x="4978" y="21086"/>
                  </a:cubicBezTo>
                  <a:cubicBezTo>
                    <a:pt x="6117" y="21375"/>
                    <a:pt x="7661" y="21029"/>
                    <a:pt x="8919" y="20397"/>
                  </a:cubicBezTo>
                  <a:cubicBezTo>
                    <a:pt x="9750" y="19724"/>
                    <a:pt x="11940" y="18209"/>
                    <a:pt x="13231" y="16982"/>
                  </a:cubicBezTo>
                  <a:cubicBezTo>
                    <a:pt x="14539" y="15757"/>
                    <a:pt x="15778" y="13706"/>
                    <a:pt x="16034" y="12414"/>
                  </a:cubicBezTo>
                  <a:cubicBezTo>
                    <a:pt x="16288" y="11121"/>
                    <a:pt x="17257" y="8999"/>
                    <a:pt x="18529" y="7702"/>
                  </a:cubicBezTo>
                  <a:cubicBezTo>
                    <a:pt x="19804" y="6412"/>
                    <a:pt x="20874" y="4415"/>
                    <a:pt x="21111" y="3271"/>
                  </a:cubicBezTo>
                  <a:cubicBezTo>
                    <a:pt x="21365" y="2129"/>
                    <a:pt x="19855" y="778"/>
                    <a:pt x="17852" y="297"/>
                  </a:cubicBezTo>
                  <a:cubicBezTo>
                    <a:pt x="15949" y="-225"/>
                    <a:pt x="12774" y="-28"/>
                    <a:pt x="10922" y="652"/>
                  </a:cubicBezTo>
                  <a:cubicBezTo>
                    <a:pt x="9158" y="1343"/>
                    <a:pt x="8291" y="2185"/>
                    <a:pt x="8800" y="2544"/>
                  </a:cubicBezTo>
                  <a:cubicBezTo>
                    <a:pt x="9275" y="2902"/>
                    <a:pt x="9428" y="4110"/>
                    <a:pt x="8680" y="5236"/>
                  </a:cubicBezTo>
                  <a:cubicBezTo>
                    <a:pt x="8189" y="6382"/>
                    <a:pt x="5947" y="7462"/>
                    <a:pt x="4300" y="7749"/>
                  </a:cubicBezTo>
                  <a:cubicBezTo>
                    <a:pt x="2602" y="8023"/>
                    <a:pt x="1040" y="9919"/>
                    <a:pt x="292" y="12023"/>
                  </a:cubicBezTo>
                  <a:cubicBezTo>
                    <a:pt x="-235" y="14128"/>
                    <a:pt x="-31" y="16479"/>
                    <a:pt x="751" y="17233"/>
                  </a:cubicBezTo>
                  <a:cubicBezTo>
                    <a:pt x="1276" y="17996"/>
                    <a:pt x="2194" y="19049"/>
                    <a:pt x="2433" y="19587"/>
                  </a:cubicBezTo>
                  <a:close/>
                  <a:moveTo>
                    <a:pt x="2433" y="195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39" name="AutoShape 538"/>
            <p:cNvSpPr>
              <a:spLocks/>
            </p:cNvSpPr>
            <p:nvPr/>
          </p:nvSpPr>
          <p:spPr bwMode="auto">
            <a:xfrm>
              <a:off x="7747000" y="1816100"/>
              <a:ext cx="388938" cy="769938"/>
            </a:xfrm>
            <a:custGeom>
              <a:avLst/>
              <a:gdLst/>
              <a:ahLst/>
              <a:cxnLst/>
              <a:rect l="0" t="0" r="r" b="b"/>
              <a:pathLst>
                <a:path w="21575" h="21583">
                  <a:moveTo>
                    <a:pt x="21001" y="5061"/>
                  </a:moveTo>
                  <a:cubicBezTo>
                    <a:pt x="20866" y="4964"/>
                    <a:pt x="20649" y="4869"/>
                    <a:pt x="20529" y="4843"/>
                  </a:cubicBezTo>
                  <a:cubicBezTo>
                    <a:pt x="20406" y="4821"/>
                    <a:pt x="20243" y="4737"/>
                    <a:pt x="20151" y="4665"/>
                  </a:cubicBezTo>
                  <a:cubicBezTo>
                    <a:pt x="20061" y="4592"/>
                    <a:pt x="20024" y="4505"/>
                    <a:pt x="20046" y="4472"/>
                  </a:cubicBezTo>
                  <a:cubicBezTo>
                    <a:pt x="20078" y="4440"/>
                    <a:pt x="20071" y="4336"/>
                    <a:pt x="20040" y="4242"/>
                  </a:cubicBezTo>
                  <a:cubicBezTo>
                    <a:pt x="20010" y="4148"/>
                    <a:pt x="19951" y="4041"/>
                    <a:pt x="19913" y="4003"/>
                  </a:cubicBezTo>
                  <a:cubicBezTo>
                    <a:pt x="19873" y="3965"/>
                    <a:pt x="19848" y="3901"/>
                    <a:pt x="19875" y="3865"/>
                  </a:cubicBezTo>
                  <a:cubicBezTo>
                    <a:pt x="19886" y="3827"/>
                    <a:pt x="19858" y="3723"/>
                    <a:pt x="19779" y="3637"/>
                  </a:cubicBezTo>
                  <a:cubicBezTo>
                    <a:pt x="19701" y="3550"/>
                    <a:pt x="19572" y="3447"/>
                    <a:pt x="19501" y="3398"/>
                  </a:cubicBezTo>
                  <a:cubicBezTo>
                    <a:pt x="19420" y="3354"/>
                    <a:pt x="19318" y="3265"/>
                    <a:pt x="19274" y="3199"/>
                  </a:cubicBezTo>
                  <a:cubicBezTo>
                    <a:pt x="19245" y="3131"/>
                    <a:pt x="19230" y="3051"/>
                    <a:pt x="19281" y="3022"/>
                  </a:cubicBezTo>
                  <a:cubicBezTo>
                    <a:pt x="19331" y="2993"/>
                    <a:pt x="19304" y="2922"/>
                    <a:pt x="19261" y="2862"/>
                  </a:cubicBezTo>
                  <a:cubicBezTo>
                    <a:pt x="19208" y="2804"/>
                    <a:pt x="19023" y="2745"/>
                    <a:pt x="18857" y="2731"/>
                  </a:cubicBezTo>
                  <a:cubicBezTo>
                    <a:pt x="18693" y="2719"/>
                    <a:pt x="18546" y="2663"/>
                    <a:pt x="18506" y="2618"/>
                  </a:cubicBezTo>
                  <a:cubicBezTo>
                    <a:pt x="18475" y="2571"/>
                    <a:pt x="18477" y="2490"/>
                    <a:pt x="18519" y="2442"/>
                  </a:cubicBezTo>
                  <a:cubicBezTo>
                    <a:pt x="18549" y="2391"/>
                    <a:pt x="18545" y="2294"/>
                    <a:pt x="18485" y="2226"/>
                  </a:cubicBezTo>
                  <a:cubicBezTo>
                    <a:pt x="18432" y="2156"/>
                    <a:pt x="18398" y="2066"/>
                    <a:pt x="18436" y="2029"/>
                  </a:cubicBezTo>
                  <a:cubicBezTo>
                    <a:pt x="18467" y="1991"/>
                    <a:pt x="18434" y="1929"/>
                    <a:pt x="18365" y="1891"/>
                  </a:cubicBezTo>
                  <a:cubicBezTo>
                    <a:pt x="18292" y="1856"/>
                    <a:pt x="18169" y="1817"/>
                    <a:pt x="18083" y="1808"/>
                  </a:cubicBezTo>
                  <a:cubicBezTo>
                    <a:pt x="17996" y="1801"/>
                    <a:pt x="17822" y="1743"/>
                    <a:pt x="17698" y="1679"/>
                  </a:cubicBezTo>
                  <a:cubicBezTo>
                    <a:pt x="17569" y="1619"/>
                    <a:pt x="17435" y="1571"/>
                    <a:pt x="17392" y="1571"/>
                  </a:cubicBezTo>
                  <a:cubicBezTo>
                    <a:pt x="17350" y="1574"/>
                    <a:pt x="17272" y="1566"/>
                    <a:pt x="17215" y="1562"/>
                  </a:cubicBezTo>
                  <a:cubicBezTo>
                    <a:pt x="17162" y="1552"/>
                    <a:pt x="17070" y="1512"/>
                    <a:pt x="17008" y="1467"/>
                  </a:cubicBezTo>
                  <a:cubicBezTo>
                    <a:pt x="16946" y="1421"/>
                    <a:pt x="16793" y="1332"/>
                    <a:pt x="16648" y="1276"/>
                  </a:cubicBezTo>
                  <a:cubicBezTo>
                    <a:pt x="16514" y="1215"/>
                    <a:pt x="16326" y="1159"/>
                    <a:pt x="16240" y="1144"/>
                  </a:cubicBezTo>
                  <a:cubicBezTo>
                    <a:pt x="16152" y="1131"/>
                    <a:pt x="16000" y="1094"/>
                    <a:pt x="15896" y="1069"/>
                  </a:cubicBezTo>
                  <a:cubicBezTo>
                    <a:pt x="15797" y="1042"/>
                    <a:pt x="15515" y="1001"/>
                    <a:pt x="15273" y="980"/>
                  </a:cubicBezTo>
                  <a:cubicBezTo>
                    <a:pt x="15029" y="961"/>
                    <a:pt x="14686" y="896"/>
                    <a:pt x="14511" y="841"/>
                  </a:cubicBezTo>
                  <a:cubicBezTo>
                    <a:pt x="14337" y="784"/>
                    <a:pt x="13985" y="655"/>
                    <a:pt x="13735" y="548"/>
                  </a:cubicBezTo>
                  <a:cubicBezTo>
                    <a:pt x="13490" y="439"/>
                    <a:pt x="13144" y="320"/>
                    <a:pt x="12969" y="284"/>
                  </a:cubicBezTo>
                  <a:cubicBezTo>
                    <a:pt x="12801" y="243"/>
                    <a:pt x="12565" y="172"/>
                    <a:pt x="12449" y="122"/>
                  </a:cubicBezTo>
                  <a:cubicBezTo>
                    <a:pt x="12449" y="121"/>
                    <a:pt x="12449" y="121"/>
                    <a:pt x="12448" y="121"/>
                  </a:cubicBezTo>
                  <a:cubicBezTo>
                    <a:pt x="12448" y="121"/>
                    <a:pt x="12448" y="121"/>
                    <a:pt x="12447" y="121"/>
                  </a:cubicBezTo>
                  <a:cubicBezTo>
                    <a:pt x="12333" y="71"/>
                    <a:pt x="12201" y="31"/>
                    <a:pt x="12160" y="41"/>
                  </a:cubicBezTo>
                  <a:cubicBezTo>
                    <a:pt x="12115" y="42"/>
                    <a:pt x="11970" y="51"/>
                    <a:pt x="11833" y="53"/>
                  </a:cubicBezTo>
                  <a:cubicBezTo>
                    <a:pt x="11699" y="51"/>
                    <a:pt x="11465" y="37"/>
                    <a:pt x="11318" y="10"/>
                  </a:cubicBezTo>
                  <a:cubicBezTo>
                    <a:pt x="11166" y="-13"/>
                    <a:pt x="11061" y="3"/>
                    <a:pt x="11090" y="48"/>
                  </a:cubicBezTo>
                  <a:cubicBezTo>
                    <a:pt x="11118" y="93"/>
                    <a:pt x="11219" y="152"/>
                    <a:pt x="11324" y="178"/>
                  </a:cubicBezTo>
                  <a:cubicBezTo>
                    <a:pt x="11426" y="207"/>
                    <a:pt x="11550" y="265"/>
                    <a:pt x="11599" y="313"/>
                  </a:cubicBezTo>
                  <a:cubicBezTo>
                    <a:pt x="11642" y="363"/>
                    <a:pt x="11612" y="415"/>
                    <a:pt x="11518" y="427"/>
                  </a:cubicBezTo>
                  <a:cubicBezTo>
                    <a:pt x="11426" y="444"/>
                    <a:pt x="11348" y="509"/>
                    <a:pt x="11358" y="578"/>
                  </a:cubicBezTo>
                  <a:cubicBezTo>
                    <a:pt x="11368" y="647"/>
                    <a:pt x="11433" y="736"/>
                    <a:pt x="11511" y="777"/>
                  </a:cubicBezTo>
                  <a:cubicBezTo>
                    <a:pt x="11590" y="817"/>
                    <a:pt x="11677" y="895"/>
                    <a:pt x="11688" y="952"/>
                  </a:cubicBezTo>
                  <a:cubicBezTo>
                    <a:pt x="11708" y="1008"/>
                    <a:pt x="11671" y="1036"/>
                    <a:pt x="11605" y="1023"/>
                  </a:cubicBezTo>
                  <a:cubicBezTo>
                    <a:pt x="11541" y="1008"/>
                    <a:pt x="11443" y="999"/>
                    <a:pt x="11381" y="1001"/>
                  </a:cubicBezTo>
                  <a:cubicBezTo>
                    <a:pt x="11321" y="1009"/>
                    <a:pt x="11199" y="985"/>
                    <a:pt x="11109" y="956"/>
                  </a:cubicBezTo>
                  <a:cubicBezTo>
                    <a:pt x="11019" y="928"/>
                    <a:pt x="10828" y="895"/>
                    <a:pt x="10684" y="878"/>
                  </a:cubicBezTo>
                  <a:cubicBezTo>
                    <a:pt x="10535" y="866"/>
                    <a:pt x="10305" y="822"/>
                    <a:pt x="10168" y="784"/>
                  </a:cubicBezTo>
                  <a:cubicBezTo>
                    <a:pt x="10032" y="745"/>
                    <a:pt x="9745" y="688"/>
                    <a:pt x="9532" y="656"/>
                  </a:cubicBezTo>
                  <a:cubicBezTo>
                    <a:pt x="9318" y="623"/>
                    <a:pt x="9036" y="612"/>
                    <a:pt x="8909" y="633"/>
                  </a:cubicBezTo>
                  <a:cubicBezTo>
                    <a:pt x="8780" y="651"/>
                    <a:pt x="8527" y="658"/>
                    <a:pt x="8346" y="645"/>
                  </a:cubicBezTo>
                  <a:cubicBezTo>
                    <a:pt x="8163" y="634"/>
                    <a:pt x="7967" y="633"/>
                    <a:pt x="7907" y="645"/>
                  </a:cubicBezTo>
                  <a:cubicBezTo>
                    <a:pt x="7847" y="655"/>
                    <a:pt x="7893" y="718"/>
                    <a:pt x="8014" y="780"/>
                  </a:cubicBezTo>
                  <a:cubicBezTo>
                    <a:pt x="8131" y="844"/>
                    <a:pt x="8212" y="916"/>
                    <a:pt x="8181" y="938"/>
                  </a:cubicBezTo>
                  <a:cubicBezTo>
                    <a:pt x="8159" y="962"/>
                    <a:pt x="8141" y="1000"/>
                    <a:pt x="8151" y="1025"/>
                  </a:cubicBezTo>
                  <a:cubicBezTo>
                    <a:pt x="8151" y="1050"/>
                    <a:pt x="8111" y="1088"/>
                    <a:pt x="8046" y="1108"/>
                  </a:cubicBezTo>
                  <a:cubicBezTo>
                    <a:pt x="7981" y="1130"/>
                    <a:pt x="8000" y="1190"/>
                    <a:pt x="8093" y="1242"/>
                  </a:cubicBezTo>
                  <a:cubicBezTo>
                    <a:pt x="8179" y="1297"/>
                    <a:pt x="8185" y="1358"/>
                    <a:pt x="8103" y="1386"/>
                  </a:cubicBezTo>
                  <a:cubicBezTo>
                    <a:pt x="8014" y="1411"/>
                    <a:pt x="7878" y="1435"/>
                    <a:pt x="7798" y="1436"/>
                  </a:cubicBezTo>
                  <a:cubicBezTo>
                    <a:pt x="7717" y="1439"/>
                    <a:pt x="7601" y="1411"/>
                    <a:pt x="7529" y="1386"/>
                  </a:cubicBezTo>
                  <a:cubicBezTo>
                    <a:pt x="7463" y="1357"/>
                    <a:pt x="7284" y="1313"/>
                    <a:pt x="7139" y="1278"/>
                  </a:cubicBezTo>
                  <a:cubicBezTo>
                    <a:pt x="6988" y="1250"/>
                    <a:pt x="6767" y="1245"/>
                    <a:pt x="6646" y="1276"/>
                  </a:cubicBezTo>
                  <a:cubicBezTo>
                    <a:pt x="6525" y="1306"/>
                    <a:pt x="6360" y="1389"/>
                    <a:pt x="6288" y="1461"/>
                  </a:cubicBezTo>
                  <a:cubicBezTo>
                    <a:pt x="6214" y="1534"/>
                    <a:pt x="6084" y="1601"/>
                    <a:pt x="6003" y="1615"/>
                  </a:cubicBezTo>
                  <a:cubicBezTo>
                    <a:pt x="5919" y="1629"/>
                    <a:pt x="5834" y="1683"/>
                    <a:pt x="5814" y="1739"/>
                  </a:cubicBezTo>
                  <a:cubicBezTo>
                    <a:pt x="5793" y="1795"/>
                    <a:pt x="5716" y="1867"/>
                    <a:pt x="5654" y="1904"/>
                  </a:cubicBezTo>
                  <a:cubicBezTo>
                    <a:pt x="5584" y="1938"/>
                    <a:pt x="5467" y="1980"/>
                    <a:pt x="5388" y="1988"/>
                  </a:cubicBezTo>
                  <a:cubicBezTo>
                    <a:pt x="5307" y="2000"/>
                    <a:pt x="5271" y="2098"/>
                    <a:pt x="5303" y="2208"/>
                  </a:cubicBezTo>
                  <a:cubicBezTo>
                    <a:pt x="5333" y="2318"/>
                    <a:pt x="5432" y="2436"/>
                    <a:pt x="5515" y="2470"/>
                  </a:cubicBezTo>
                  <a:cubicBezTo>
                    <a:pt x="5598" y="2504"/>
                    <a:pt x="5743" y="2592"/>
                    <a:pt x="5825" y="2668"/>
                  </a:cubicBezTo>
                  <a:cubicBezTo>
                    <a:pt x="5915" y="2742"/>
                    <a:pt x="5954" y="2847"/>
                    <a:pt x="5902" y="2898"/>
                  </a:cubicBezTo>
                  <a:cubicBezTo>
                    <a:pt x="5862" y="2951"/>
                    <a:pt x="5696" y="3065"/>
                    <a:pt x="5535" y="3148"/>
                  </a:cubicBezTo>
                  <a:cubicBezTo>
                    <a:pt x="5380" y="3233"/>
                    <a:pt x="5127" y="3390"/>
                    <a:pt x="4983" y="3500"/>
                  </a:cubicBezTo>
                  <a:cubicBezTo>
                    <a:pt x="4835" y="3609"/>
                    <a:pt x="4711" y="3739"/>
                    <a:pt x="4721" y="3787"/>
                  </a:cubicBezTo>
                  <a:cubicBezTo>
                    <a:pt x="4731" y="3836"/>
                    <a:pt x="4647" y="3898"/>
                    <a:pt x="4553" y="3929"/>
                  </a:cubicBezTo>
                  <a:cubicBezTo>
                    <a:pt x="4459" y="3958"/>
                    <a:pt x="4206" y="3988"/>
                    <a:pt x="3990" y="3995"/>
                  </a:cubicBezTo>
                  <a:cubicBezTo>
                    <a:pt x="3773" y="4002"/>
                    <a:pt x="3438" y="4039"/>
                    <a:pt x="3241" y="4075"/>
                  </a:cubicBezTo>
                  <a:cubicBezTo>
                    <a:pt x="3045" y="4110"/>
                    <a:pt x="2890" y="4183"/>
                    <a:pt x="2899" y="4232"/>
                  </a:cubicBezTo>
                  <a:cubicBezTo>
                    <a:pt x="2899" y="4282"/>
                    <a:pt x="2993" y="4357"/>
                    <a:pt x="3098" y="4395"/>
                  </a:cubicBezTo>
                  <a:cubicBezTo>
                    <a:pt x="3199" y="4436"/>
                    <a:pt x="3294" y="4527"/>
                    <a:pt x="3324" y="4599"/>
                  </a:cubicBezTo>
                  <a:cubicBezTo>
                    <a:pt x="3334" y="4671"/>
                    <a:pt x="3324" y="4779"/>
                    <a:pt x="3270" y="4838"/>
                  </a:cubicBezTo>
                  <a:cubicBezTo>
                    <a:pt x="3220" y="4899"/>
                    <a:pt x="3145" y="5039"/>
                    <a:pt x="3105" y="5150"/>
                  </a:cubicBezTo>
                  <a:cubicBezTo>
                    <a:pt x="3063" y="5261"/>
                    <a:pt x="3042" y="5451"/>
                    <a:pt x="3063" y="5570"/>
                  </a:cubicBezTo>
                  <a:cubicBezTo>
                    <a:pt x="3083" y="5690"/>
                    <a:pt x="2949" y="5953"/>
                    <a:pt x="2776" y="6156"/>
                  </a:cubicBezTo>
                  <a:cubicBezTo>
                    <a:pt x="2611" y="6362"/>
                    <a:pt x="2452" y="6577"/>
                    <a:pt x="2462" y="6639"/>
                  </a:cubicBezTo>
                  <a:cubicBezTo>
                    <a:pt x="2462" y="6702"/>
                    <a:pt x="2527" y="6788"/>
                    <a:pt x="2597" y="6830"/>
                  </a:cubicBezTo>
                  <a:cubicBezTo>
                    <a:pt x="2660" y="6875"/>
                    <a:pt x="2758" y="6986"/>
                    <a:pt x="2798" y="7084"/>
                  </a:cubicBezTo>
                  <a:cubicBezTo>
                    <a:pt x="2840" y="7182"/>
                    <a:pt x="2790" y="7311"/>
                    <a:pt x="2687" y="7367"/>
                  </a:cubicBezTo>
                  <a:cubicBezTo>
                    <a:pt x="2590" y="7426"/>
                    <a:pt x="2318" y="7459"/>
                    <a:pt x="2090" y="7444"/>
                  </a:cubicBezTo>
                  <a:cubicBezTo>
                    <a:pt x="1864" y="7427"/>
                    <a:pt x="1530" y="7397"/>
                    <a:pt x="1349" y="7376"/>
                  </a:cubicBezTo>
                  <a:cubicBezTo>
                    <a:pt x="1168" y="7356"/>
                    <a:pt x="908" y="7358"/>
                    <a:pt x="771" y="7387"/>
                  </a:cubicBezTo>
                  <a:cubicBezTo>
                    <a:pt x="631" y="7412"/>
                    <a:pt x="413" y="7518"/>
                    <a:pt x="286" y="7617"/>
                  </a:cubicBezTo>
                  <a:cubicBezTo>
                    <a:pt x="155" y="7714"/>
                    <a:pt x="30" y="7891"/>
                    <a:pt x="9" y="8007"/>
                  </a:cubicBezTo>
                  <a:cubicBezTo>
                    <a:pt x="-22" y="8124"/>
                    <a:pt x="30" y="8333"/>
                    <a:pt x="124" y="8471"/>
                  </a:cubicBezTo>
                  <a:cubicBezTo>
                    <a:pt x="206" y="8611"/>
                    <a:pt x="344" y="8840"/>
                    <a:pt x="405" y="8983"/>
                  </a:cubicBezTo>
                  <a:cubicBezTo>
                    <a:pt x="476" y="9125"/>
                    <a:pt x="499" y="9311"/>
                    <a:pt x="449" y="9392"/>
                  </a:cubicBezTo>
                  <a:cubicBezTo>
                    <a:pt x="407" y="9473"/>
                    <a:pt x="448" y="9601"/>
                    <a:pt x="529" y="9680"/>
                  </a:cubicBezTo>
                  <a:cubicBezTo>
                    <a:pt x="615" y="9758"/>
                    <a:pt x="734" y="9911"/>
                    <a:pt x="786" y="10023"/>
                  </a:cubicBezTo>
                  <a:cubicBezTo>
                    <a:pt x="838" y="10135"/>
                    <a:pt x="859" y="10306"/>
                    <a:pt x="838" y="10406"/>
                  </a:cubicBezTo>
                  <a:cubicBezTo>
                    <a:pt x="807" y="10505"/>
                    <a:pt x="825" y="10670"/>
                    <a:pt x="846" y="10775"/>
                  </a:cubicBezTo>
                  <a:cubicBezTo>
                    <a:pt x="876" y="10878"/>
                    <a:pt x="1063" y="11003"/>
                    <a:pt x="1267" y="11050"/>
                  </a:cubicBezTo>
                  <a:cubicBezTo>
                    <a:pt x="1469" y="11098"/>
                    <a:pt x="1845" y="11228"/>
                    <a:pt x="2097" y="11344"/>
                  </a:cubicBezTo>
                  <a:cubicBezTo>
                    <a:pt x="2354" y="11458"/>
                    <a:pt x="2518" y="11603"/>
                    <a:pt x="2465" y="11663"/>
                  </a:cubicBezTo>
                  <a:cubicBezTo>
                    <a:pt x="2414" y="11722"/>
                    <a:pt x="2379" y="11846"/>
                    <a:pt x="2390" y="11936"/>
                  </a:cubicBezTo>
                  <a:cubicBezTo>
                    <a:pt x="2400" y="12027"/>
                    <a:pt x="2166" y="12126"/>
                    <a:pt x="1864" y="12157"/>
                  </a:cubicBezTo>
                  <a:cubicBezTo>
                    <a:pt x="1563" y="12190"/>
                    <a:pt x="1315" y="12252"/>
                    <a:pt x="1315" y="12298"/>
                  </a:cubicBezTo>
                  <a:cubicBezTo>
                    <a:pt x="1315" y="12344"/>
                    <a:pt x="1431" y="12470"/>
                    <a:pt x="1576" y="12580"/>
                  </a:cubicBezTo>
                  <a:cubicBezTo>
                    <a:pt x="1719" y="12689"/>
                    <a:pt x="1901" y="12884"/>
                    <a:pt x="1973" y="13015"/>
                  </a:cubicBezTo>
                  <a:cubicBezTo>
                    <a:pt x="2045" y="13146"/>
                    <a:pt x="2188" y="13305"/>
                    <a:pt x="2299" y="13364"/>
                  </a:cubicBezTo>
                  <a:cubicBezTo>
                    <a:pt x="2407" y="13426"/>
                    <a:pt x="2436" y="13547"/>
                    <a:pt x="2346" y="13630"/>
                  </a:cubicBezTo>
                  <a:cubicBezTo>
                    <a:pt x="2265" y="13716"/>
                    <a:pt x="2210" y="13835"/>
                    <a:pt x="2232" y="13895"/>
                  </a:cubicBezTo>
                  <a:cubicBezTo>
                    <a:pt x="2242" y="13956"/>
                    <a:pt x="2223" y="14038"/>
                    <a:pt x="2174" y="14081"/>
                  </a:cubicBezTo>
                  <a:cubicBezTo>
                    <a:pt x="2118" y="14120"/>
                    <a:pt x="1907" y="14157"/>
                    <a:pt x="1696" y="14157"/>
                  </a:cubicBezTo>
                  <a:cubicBezTo>
                    <a:pt x="1485" y="14157"/>
                    <a:pt x="1282" y="14185"/>
                    <a:pt x="1241" y="14216"/>
                  </a:cubicBezTo>
                  <a:cubicBezTo>
                    <a:pt x="1202" y="14248"/>
                    <a:pt x="1240" y="14322"/>
                    <a:pt x="1313" y="14385"/>
                  </a:cubicBezTo>
                  <a:cubicBezTo>
                    <a:pt x="1394" y="14445"/>
                    <a:pt x="1383" y="14509"/>
                    <a:pt x="1293" y="14527"/>
                  </a:cubicBezTo>
                  <a:cubicBezTo>
                    <a:pt x="1203" y="14548"/>
                    <a:pt x="1085" y="14598"/>
                    <a:pt x="1043" y="14647"/>
                  </a:cubicBezTo>
                  <a:cubicBezTo>
                    <a:pt x="1001" y="14697"/>
                    <a:pt x="1061" y="14799"/>
                    <a:pt x="1168" y="14883"/>
                  </a:cubicBezTo>
                  <a:cubicBezTo>
                    <a:pt x="1289" y="14963"/>
                    <a:pt x="1440" y="15179"/>
                    <a:pt x="1491" y="15362"/>
                  </a:cubicBezTo>
                  <a:cubicBezTo>
                    <a:pt x="1552" y="15545"/>
                    <a:pt x="1543" y="15741"/>
                    <a:pt x="1480" y="15799"/>
                  </a:cubicBezTo>
                  <a:cubicBezTo>
                    <a:pt x="1417" y="15856"/>
                    <a:pt x="1286" y="15852"/>
                    <a:pt x="1199" y="15790"/>
                  </a:cubicBezTo>
                  <a:cubicBezTo>
                    <a:pt x="1111" y="15727"/>
                    <a:pt x="962" y="15656"/>
                    <a:pt x="874" y="15625"/>
                  </a:cubicBezTo>
                  <a:cubicBezTo>
                    <a:pt x="787" y="15597"/>
                    <a:pt x="705" y="15579"/>
                    <a:pt x="696" y="15586"/>
                  </a:cubicBezTo>
                  <a:cubicBezTo>
                    <a:pt x="687" y="15592"/>
                    <a:pt x="591" y="15613"/>
                    <a:pt x="490" y="15638"/>
                  </a:cubicBezTo>
                  <a:cubicBezTo>
                    <a:pt x="385" y="15660"/>
                    <a:pt x="335" y="15785"/>
                    <a:pt x="387" y="15912"/>
                  </a:cubicBezTo>
                  <a:cubicBezTo>
                    <a:pt x="428" y="16041"/>
                    <a:pt x="518" y="16176"/>
                    <a:pt x="579" y="16211"/>
                  </a:cubicBezTo>
                  <a:cubicBezTo>
                    <a:pt x="638" y="16248"/>
                    <a:pt x="718" y="16356"/>
                    <a:pt x="738" y="16454"/>
                  </a:cubicBezTo>
                  <a:cubicBezTo>
                    <a:pt x="769" y="16550"/>
                    <a:pt x="876" y="16648"/>
                    <a:pt x="977" y="16677"/>
                  </a:cubicBezTo>
                  <a:cubicBezTo>
                    <a:pt x="1081" y="16702"/>
                    <a:pt x="1196" y="16744"/>
                    <a:pt x="1237" y="16767"/>
                  </a:cubicBezTo>
                  <a:cubicBezTo>
                    <a:pt x="1281" y="16789"/>
                    <a:pt x="1290" y="16861"/>
                    <a:pt x="1290" y="16924"/>
                  </a:cubicBezTo>
                  <a:cubicBezTo>
                    <a:pt x="1280" y="16986"/>
                    <a:pt x="1388" y="17016"/>
                    <a:pt x="1538" y="16995"/>
                  </a:cubicBezTo>
                  <a:cubicBezTo>
                    <a:pt x="1687" y="16973"/>
                    <a:pt x="1725" y="16915"/>
                    <a:pt x="1624" y="16869"/>
                  </a:cubicBezTo>
                  <a:cubicBezTo>
                    <a:pt x="1528" y="16821"/>
                    <a:pt x="1440" y="16748"/>
                    <a:pt x="1460" y="16703"/>
                  </a:cubicBezTo>
                  <a:cubicBezTo>
                    <a:pt x="1470" y="16658"/>
                    <a:pt x="1534" y="16621"/>
                    <a:pt x="1600" y="16627"/>
                  </a:cubicBezTo>
                  <a:cubicBezTo>
                    <a:pt x="1666" y="16628"/>
                    <a:pt x="1691" y="16655"/>
                    <a:pt x="1671" y="16684"/>
                  </a:cubicBezTo>
                  <a:cubicBezTo>
                    <a:pt x="1644" y="16713"/>
                    <a:pt x="1719" y="16763"/>
                    <a:pt x="1839" y="16796"/>
                  </a:cubicBezTo>
                  <a:cubicBezTo>
                    <a:pt x="1964" y="16824"/>
                    <a:pt x="2092" y="16882"/>
                    <a:pt x="2132" y="16916"/>
                  </a:cubicBezTo>
                  <a:cubicBezTo>
                    <a:pt x="2175" y="16948"/>
                    <a:pt x="2100" y="17012"/>
                    <a:pt x="1970" y="17057"/>
                  </a:cubicBezTo>
                  <a:cubicBezTo>
                    <a:pt x="1838" y="17102"/>
                    <a:pt x="1713" y="17176"/>
                    <a:pt x="1701" y="17223"/>
                  </a:cubicBezTo>
                  <a:cubicBezTo>
                    <a:pt x="1681" y="17270"/>
                    <a:pt x="1704" y="17349"/>
                    <a:pt x="1760" y="17395"/>
                  </a:cubicBezTo>
                  <a:cubicBezTo>
                    <a:pt x="1812" y="17442"/>
                    <a:pt x="1835" y="17535"/>
                    <a:pt x="1835" y="17600"/>
                  </a:cubicBezTo>
                  <a:cubicBezTo>
                    <a:pt x="1824" y="17666"/>
                    <a:pt x="1774" y="17743"/>
                    <a:pt x="1713" y="17767"/>
                  </a:cubicBezTo>
                  <a:cubicBezTo>
                    <a:pt x="1653" y="17792"/>
                    <a:pt x="1677" y="17857"/>
                    <a:pt x="1762" y="17909"/>
                  </a:cubicBezTo>
                  <a:cubicBezTo>
                    <a:pt x="1844" y="17963"/>
                    <a:pt x="2015" y="18017"/>
                    <a:pt x="2132" y="18033"/>
                  </a:cubicBezTo>
                  <a:cubicBezTo>
                    <a:pt x="2252" y="18045"/>
                    <a:pt x="2414" y="18128"/>
                    <a:pt x="2494" y="18209"/>
                  </a:cubicBezTo>
                  <a:cubicBezTo>
                    <a:pt x="2576" y="18289"/>
                    <a:pt x="2694" y="18378"/>
                    <a:pt x="2763" y="18402"/>
                  </a:cubicBezTo>
                  <a:cubicBezTo>
                    <a:pt x="2824" y="18429"/>
                    <a:pt x="2997" y="18544"/>
                    <a:pt x="3144" y="18659"/>
                  </a:cubicBezTo>
                  <a:cubicBezTo>
                    <a:pt x="3284" y="18778"/>
                    <a:pt x="3426" y="18943"/>
                    <a:pt x="3457" y="19029"/>
                  </a:cubicBezTo>
                  <a:cubicBezTo>
                    <a:pt x="3489" y="19115"/>
                    <a:pt x="3630" y="19211"/>
                    <a:pt x="3776" y="19240"/>
                  </a:cubicBezTo>
                  <a:cubicBezTo>
                    <a:pt x="3925" y="19268"/>
                    <a:pt x="4083" y="19343"/>
                    <a:pt x="4126" y="19403"/>
                  </a:cubicBezTo>
                  <a:cubicBezTo>
                    <a:pt x="4175" y="19461"/>
                    <a:pt x="4325" y="19561"/>
                    <a:pt x="4465" y="19624"/>
                  </a:cubicBezTo>
                  <a:cubicBezTo>
                    <a:pt x="4608" y="19686"/>
                    <a:pt x="4838" y="19711"/>
                    <a:pt x="4979" y="19680"/>
                  </a:cubicBezTo>
                  <a:cubicBezTo>
                    <a:pt x="5121" y="19648"/>
                    <a:pt x="5277" y="19685"/>
                    <a:pt x="5337" y="19759"/>
                  </a:cubicBezTo>
                  <a:cubicBezTo>
                    <a:pt x="5395" y="19834"/>
                    <a:pt x="5365" y="19964"/>
                    <a:pt x="5274" y="20044"/>
                  </a:cubicBezTo>
                  <a:cubicBezTo>
                    <a:pt x="5191" y="20125"/>
                    <a:pt x="4974" y="20191"/>
                    <a:pt x="4801" y="20196"/>
                  </a:cubicBezTo>
                  <a:cubicBezTo>
                    <a:pt x="4627" y="20197"/>
                    <a:pt x="4469" y="20228"/>
                    <a:pt x="4449" y="20261"/>
                  </a:cubicBezTo>
                  <a:cubicBezTo>
                    <a:pt x="4428" y="20293"/>
                    <a:pt x="4488" y="20343"/>
                    <a:pt x="4588" y="20371"/>
                  </a:cubicBezTo>
                  <a:cubicBezTo>
                    <a:pt x="4691" y="20397"/>
                    <a:pt x="4803" y="20469"/>
                    <a:pt x="4822" y="20528"/>
                  </a:cubicBezTo>
                  <a:cubicBezTo>
                    <a:pt x="4854" y="20584"/>
                    <a:pt x="4996" y="20653"/>
                    <a:pt x="5142" y="20674"/>
                  </a:cubicBezTo>
                  <a:cubicBezTo>
                    <a:pt x="5286" y="20699"/>
                    <a:pt x="5469" y="20839"/>
                    <a:pt x="5562" y="20986"/>
                  </a:cubicBezTo>
                  <a:cubicBezTo>
                    <a:pt x="5643" y="21135"/>
                    <a:pt x="5662" y="21301"/>
                    <a:pt x="5589" y="21354"/>
                  </a:cubicBezTo>
                  <a:cubicBezTo>
                    <a:pt x="5511" y="21406"/>
                    <a:pt x="5524" y="21478"/>
                    <a:pt x="5601" y="21513"/>
                  </a:cubicBezTo>
                  <a:cubicBezTo>
                    <a:pt x="5674" y="21550"/>
                    <a:pt x="5857" y="21574"/>
                    <a:pt x="5995" y="21582"/>
                  </a:cubicBezTo>
                  <a:cubicBezTo>
                    <a:pt x="6132" y="21587"/>
                    <a:pt x="6529" y="21563"/>
                    <a:pt x="6879" y="21535"/>
                  </a:cubicBezTo>
                  <a:cubicBezTo>
                    <a:pt x="7227" y="21506"/>
                    <a:pt x="7656" y="21508"/>
                    <a:pt x="7835" y="21543"/>
                  </a:cubicBezTo>
                  <a:cubicBezTo>
                    <a:pt x="8013" y="21577"/>
                    <a:pt x="8265" y="21564"/>
                    <a:pt x="8391" y="21511"/>
                  </a:cubicBezTo>
                  <a:cubicBezTo>
                    <a:pt x="8520" y="21460"/>
                    <a:pt x="8611" y="21376"/>
                    <a:pt x="8591" y="21326"/>
                  </a:cubicBezTo>
                  <a:cubicBezTo>
                    <a:pt x="8580" y="21276"/>
                    <a:pt x="8492" y="21207"/>
                    <a:pt x="8405" y="21175"/>
                  </a:cubicBezTo>
                  <a:cubicBezTo>
                    <a:pt x="8324" y="21140"/>
                    <a:pt x="8324" y="21036"/>
                    <a:pt x="8396" y="20937"/>
                  </a:cubicBezTo>
                  <a:cubicBezTo>
                    <a:pt x="8477" y="20839"/>
                    <a:pt x="8711" y="20755"/>
                    <a:pt x="8927" y="20752"/>
                  </a:cubicBezTo>
                  <a:cubicBezTo>
                    <a:pt x="9139" y="20747"/>
                    <a:pt x="9340" y="20667"/>
                    <a:pt x="9370" y="20571"/>
                  </a:cubicBezTo>
                  <a:cubicBezTo>
                    <a:pt x="9392" y="20474"/>
                    <a:pt x="9463" y="20432"/>
                    <a:pt x="9505" y="20478"/>
                  </a:cubicBezTo>
                  <a:cubicBezTo>
                    <a:pt x="9547" y="20525"/>
                    <a:pt x="9794" y="20581"/>
                    <a:pt x="10048" y="20613"/>
                  </a:cubicBezTo>
                  <a:cubicBezTo>
                    <a:pt x="10302" y="20641"/>
                    <a:pt x="10627" y="20636"/>
                    <a:pt x="10774" y="20606"/>
                  </a:cubicBezTo>
                  <a:cubicBezTo>
                    <a:pt x="10920" y="20576"/>
                    <a:pt x="11143" y="20575"/>
                    <a:pt x="11274" y="20605"/>
                  </a:cubicBezTo>
                  <a:cubicBezTo>
                    <a:pt x="11405" y="20632"/>
                    <a:pt x="11571" y="20699"/>
                    <a:pt x="11654" y="20742"/>
                  </a:cubicBezTo>
                  <a:cubicBezTo>
                    <a:pt x="11738" y="20786"/>
                    <a:pt x="11906" y="20759"/>
                    <a:pt x="12050" y="20686"/>
                  </a:cubicBezTo>
                  <a:cubicBezTo>
                    <a:pt x="12186" y="20610"/>
                    <a:pt x="12324" y="20451"/>
                    <a:pt x="12345" y="20332"/>
                  </a:cubicBezTo>
                  <a:cubicBezTo>
                    <a:pt x="12366" y="20213"/>
                    <a:pt x="12474" y="20079"/>
                    <a:pt x="12575" y="20031"/>
                  </a:cubicBezTo>
                  <a:cubicBezTo>
                    <a:pt x="12670" y="19983"/>
                    <a:pt x="12752" y="19825"/>
                    <a:pt x="12752" y="19676"/>
                  </a:cubicBezTo>
                  <a:cubicBezTo>
                    <a:pt x="12752" y="19527"/>
                    <a:pt x="12794" y="19368"/>
                    <a:pt x="12844" y="19323"/>
                  </a:cubicBezTo>
                  <a:cubicBezTo>
                    <a:pt x="12898" y="19277"/>
                    <a:pt x="12836" y="19198"/>
                    <a:pt x="12712" y="19147"/>
                  </a:cubicBezTo>
                  <a:cubicBezTo>
                    <a:pt x="12588" y="19093"/>
                    <a:pt x="12476" y="19004"/>
                    <a:pt x="12486" y="18943"/>
                  </a:cubicBezTo>
                  <a:cubicBezTo>
                    <a:pt x="12486" y="18882"/>
                    <a:pt x="12574" y="18788"/>
                    <a:pt x="12681" y="18737"/>
                  </a:cubicBezTo>
                  <a:cubicBezTo>
                    <a:pt x="12782" y="18684"/>
                    <a:pt x="12774" y="18586"/>
                    <a:pt x="12650" y="18522"/>
                  </a:cubicBezTo>
                  <a:cubicBezTo>
                    <a:pt x="12536" y="18454"/>
                    <a:pt x="12523" y="18368"/>
                    <a:pt x="12632" y="18325"/>
                  </a:cubicBezTo>
                  <a:cubicBezTo>
                    <a:pt x="12738" y="18280"/>
                    <a:pt x="12702" y="18208"/>
                    <a:pt x="12545" y="18161"/>
                  </a:cubicBezTo>
                  <a:cubicBezTo>
                    <a:pt x="12388" y="18114"/>
                    <a:pt x="12308" y="18035"/>
                    <a:pt x="12364" y="17985"/>
                  </a:cubicBezTo>
                  <a:cubicBezTo>
                    <a:pt x="12420" y="17936"/>
                    <a:pt x="12392" y="17847"/>
                    <a:pt x="12296" y="17787"/>
                  </a:cubicBezTo>
                  <a:cubicBezTo>
                    <a:pt x="12213" y="17724"/>
                    <a:pt x="12249" y="17709"/>
                    <a:pt x="12409" y="17735"/>
                  </a:cubicBezTo>
                  <a:cubicBezTo>
                    <a:pt x="12562" y="17768"/>
                    <a:pt x="12816" y="17785"/>
                    <a:pt x="12973" y="17779"/>
                  </a:cubicBezTo>
                  <a:cubicBezTo>
                    <a:pt x="13127" y="17768"/>
                    <a:pt x="13134" y="17712"/>
                    <a:pt x="12976" y="17649"/>
                  </a:cubicBezTo>
                  <a:cubicBezTo>
                    <a:pt x="12819" y="17585"/>
                    <a:pt x="12737" y="17478"/>
                    <a:pt x="12801" y="17415"/>
                  </a:cubicBezTo>
                  <a:cubicBezTo>
                    <a:pt x="12854" y="17349"/>
                    <a:pt x="12886" y="17269"/>
                    <a:pt x="12875" y="17232"/>
                  </a:cubicBezTo>
                  <a:cubicBezTo>
                    <a:pt x="12855" y="17196"/>
                    <a:pt x="12678" y="17129"/>
                    <a:pt x="12469" y="17093"/>
                  </a:cubicBezTo>
                  <a:cubicBezTo>
                    <a:pt x="12264" y="17053"/>
                    <a:pt x="12300" y="17025"/>
                    <a:pt x="12550" y="17032"/>
                  </a:cubicBezTo>
                  <a:cubicBezTo>
                    <a:pt x="12800" y="17039"/>
                    <a:pt x="12884" y="16990"/>
                    <a:pt x="12740" y="16924"/>
                  </a:cubicBezTo>
                  <a:cubicBezTo>
                    <a:pt x="12596" y="16856"/>
                    <a:pt x="12383" y="16794"/>
                    <a:pt x="12270" y="16782"/>
                  </a:cubicBezTo>
                  <a:cubicBezTo>
                    <a:pt x="12155" y="16770"/>
                    <a:pt x="12114" y="16729"/>
                    <a:pt x="12188" y="16694"/>
                  </a:cubicBezTo>
                  <a:cubicBezTo>
                    <a:pt x="12256" y="16657"/>
                    <a:pt x="12371" y="16629"/>
                    <a:pt x="12443" y="16633"/>
                  </a:cubicBezTo>
                  <a:cubicBezTo>
                    <a:pt x="12515" y="16635"/>
                    <a:pt x="12592" y="16651"/>
                    <a:pt x="12614" y="16665"/>
                  </a:cubicBezTo>
                  <a:cubicBezTo>
                    <a:pt x="12643" y="16677"/>
                    <a:pt x="12713" y="16666"/>
                    <a:pt x="12786" y="16640"/>
                  </a:cubicBezTo>
                  <a:cubicBezTo>
                    <a:pt x="12858" y="16614"/>
                    <a:pt x="12901" y="16558"/>
                    <a:pt x="12891" y="16520"/>
                  </a:cubicBezTo>
                  <a:cubicBezTo>
                    <a:pt x="12873" y="16483"/>
                    <a:pt x="12967" y="16486"/>
                    <a:pt x="13087" y="16529"/>
                  </a:cubicBezTo>
                  <a:cubicBezTo>
                    <a:pt x="13207" y="16572"/>
                    <a:pt x="13310" y="16558"/>
                    <a:pt x="13310" y="16499"/>
                  </a:cubicBezTo>
                  <a:cubicBezTo>
                    <a:pt x="13310" y="16440"/>
                    <a:pt x="13388" y="16360"/>
                    <a:pt x="13467" y="16318"/>
                  </a:cubicBezTo>
                  <a:cubicBezTo>
                    <a:pt x="13554" y="16280"/>
                    <a:pt x="13691" y="16246"/>
                    <a:pt x="13783" y="16244"/>
                  </a:cubicBezTo>
                  <a:cubicBezTo>
                    <a:pt x="13874" y="16248"/>
                    <a:pt x="13926" y="16212"/>
                    <a:pt x="13897" y="16174"/>
                  </a:cubicBezTo>
                  <a:cubicBezTo>
                    <a:pt x="13877" y="16134"/>
                    <a:pt x="13882" y="16081"/>
                    <a:pt x="13927" y="16052"/>
                  </a:cubicBezTo>
                  <a:cubicBezTo>
                    <a:pt x="13970" y="16022"/>
                    <a:pt x="14053" y="16022"/>
                    <a:pt x="14100" y="16052"/>
                  </a:cubicBezTo>
                  <a:cubicBezTo>
                    <a:pt x="14152" y="16080"/>
                    <a:pt x="14178" y="16146"/>
                    <a:pt x="14168" y="16198"/>
                  </a:cubicBezTo>
                  <a:cubicBezTo>
                    <a:pt x="14158" y="16250"/>
                    <a:pt x="14207" y="16295"/>
                    <a:pt x="14281" y="16303"/>
                  </a:cubicBezTo>
                  <a:cubicBezTo>
                    <a:pt x="14358" y="16309"/>
                    <a:pt x="14503" y="16254"/>
                    <a:pt x="14605" y="16182"/>
                  </a:cubicBezTo>
                  <a:cubicBezTo>
                    <a:pt x="14715" y="16114"/>
                    <a:pt x="14863" y="16057"/>
                    <a:pt x="14954" y="16059"/>
                  </a:cubicBezTo>
                  <a:cubicBezTo>
                    <a:pt x="15045" y="16064"/>
                    <a:pt x="15193" y="16047"/>
                    <a:pt x="15273" y="16015"/>
                  </a:cubicBezTo>
                  <a:cubicBezTo>
                    <a:pt x="15354" y="15984"/>
                    <a:pt x="15406" y="15916"/>
                    <a:pt x="15378" y="15861"/>
                  </a:cubicBezTo>
                  <a:cubicBezTo>
                    <a:pt x="15356" y="15805"/>
                    <a:pt x="15260" y="15729"/>
                    <a:pt x="15168" y="15697"/>
                  </a:cubicBezTo>
                  <a:cubicBezTo>
                    <a:pt x="15082" y="15663"/>
                    <a:pt x="14873" y="15611"/>
                    <a:pt x="14706" y="15585"/>
                  </a:cubicBezTo>
                  <a:cubicBezTo>
                    <a:pt x="14540" y="15558"/>
                    <a:pt x="14312" y="15553"/>
                    <a:pt x="14202" y="15577"/>
                  </a:cubicBezTo>
                  <a:cubicBezTo>
                    <a:pt x="14091" y="15598"/>
                    <a:pt x="13944" y="15607"/>
                    <a:pt x="13877" y="15590"/>
                  </a:cubicBezTo>
                  <a:cubicBezTo>
                    <a:pt x="13805" y="15577"/>
                    <a:pt x="13668" y="15577"/>
                    <a:pt x="13566" y="15599"/>
                  </a:cubicBezTo>
                  <a:cubicBezTo>
                    <a:pt x="13465" y="15621"/>
                    <a:pt x="13302" y="15594"/>
                    <a:pt x="13206" y="15539"/>
                  </a:cubicBezTo>
                  <a:cubicBezTo>
                    <a:pt x="13105" y="15487"/>
                    <a:pt x="12910" y="15428"/>
                    <a:pt x="12766" y="15409"/>
                  </a:cubicBezTo>
                  <a:cubicBezTo>
                    <a:pt x="12621" y="15391"/>
                    <a:pt x="12427" y="15355"/>
                    <a:pt x="12335" y="15326"/>
                  </a:cubicBezTo>
                  <a:cubicBezTo>
                    <a:pt x="12242" y="15300"/>
                    <a:pt x="12023" y="15272"/>
                    <a:pt x="11844" y="15265"/>
                  </a:cubicBezTo>
                  <a:cubicBezTo>
                    <a:pt x="11668" y="15264"/>
                    <a:pt x="11514" y="15277"/>
                    <a:pt x="11504" y="15305"/>
                  </a:cubicBezTo>
                  <a:cubicBezTo>
                    <a:pt x="11495" y="15333"/>
                    <a:pt x="11441" y="15341"/>
                    <a:pt x="11388" y="15320"/>
                  </a:cubicBezTo>
                  <a:cubicBezTo>
                    <a:pt x="11332" y="15301"/>
                    <a:pt x="11119" y="15269"/>
                    <a:pt x="10912" y="15252"/>
                  </a:cubicBezTo>
                  <a:cubicBezTo>
                    <a:pt x="10706" y="15238"/>
                    <a:pt x="10532" y="15201"/>
                    <a:pt x="10522" y="15179"/>
                  </a:cubicBezTo>
                  <a:cubicBezTo>
                    <a:pt x="10513" y="15157"/>
                    <a:pt x="10583" y="15131"/>
                    <a:pt x="10674" y="15115"/>
                  </a:cubicBezTo>
                  <a:cubicBezTo>
                    <a:pt x="10767" y="15101"/>
                    <a:pt x="10940" y="15114"/>
                    <a:pt x="11057" y="15144"/>
                  </a:cubicBezTo>
                  <a:cubicBezTo>
                    <a:pt x="11179" y="15169"/>
                    <a:pt x="11346" y="15157"/>
                    <a:pt x="11428" y="15104"/>
                  </a:cubicBezTo>
                  <a:cubicBezTo>
                    <a:pt x="11510" y="15053"/>
                    <a:pt x="11638" y="15031"/>
                    <a:pt x="11694" y="15061"/>
                  </a:cubicBezTo>
                  <a:cubicBezTo>
                    <a:pt x="11756" y="15086"/>
                    <a:pt x="11886" y="15101"/>
                    <a:pt x="11985" y="15094"/>
                  </a:cubicBezTo>
                  <a:cubicBezTo>
                    <a:pt x="12083" y="15084"/>
                    <a:pt x="12195" y="15049"/>
                    <a:pt x="12235" y="15014"/>
                  </a:cubicBezTo>
                  <a:cubicBezTo>
                    <a:pt x="12267" y="14978"/>
                    <a:pt x="12401" y="14965"/>
                    <a:pt x="12521" y="14980"/>
                  </a:cubicBezTo>
                  <a:cubicBezTo>
                    <a:pt x="12639" y="14999"/>
                    <a:pt x="12796" y="15030"/>
                    <a:pt x="12851" y="15062"/>
                  </a:cubicBezTo>
                  <a:cubicBezTo>
                    <a:pt x="12915" y="15089"/>
                    <a:pt x="13029" y="15114"/>
                    <a:pt x="13109" y="15117"/>
                  </a:cubicBezTo>
                  <a:cubicBezTo>
                    <a:pt x="13189" y="15118"/>
                    <a:pt x="13251" y="15091"/>
                    <a:pt x="13251" y="15056"/>
                  </a:cubicBezTo>
                  <a:cubicBezTo>
                    <a:pt x="13251" y="15022"/>
                    <a:pt x="13312" y="15016"/>
                    <a:pt x="13378" y="15050"/>
                  </a:cubicBezTo>
                  <a:cubicBezTo>
                    <a:pt x="13450" y="15081"/>
                    <a:pt x="13636" y="15135"/>
                    <a:pt x="13796" y="15164"/>
                  </a:cubicBezTo>
                  <a:cubicBezTo>
                    <a:pt x="13956" y="15191"/>
                    <a:pt x="14079" y="15250"/>
                    <a:pt x="14068" y="15287"/>
                  </a:cubicBezTo>
                  <a:cubicBezTo>
                    <a:pt x="14057" y="15323"/>
                    <a:pt x="14151" y="15378"/>
                    <a:pt x="14268" y="15410"/>
                  </a:cubicBezTo>
                  <a:cubicBezTo>
                    <a:pt x="14386" y="15441"/>
                    <a:pt x="14626" y="15458"/>
                    <a:pt x="14806" y="15447"/>
                  </a:cubicBezTo>
                  <a:cubicBezTo>
                    <a:pt x="14983" y="15435"/>
                    <a:pt x="15148" y="15379"/>
                    <a:pt x="15189" y="15324"/>
                  </a:cubicBezTo>
                  <a:cubicBezTo>
                    <a:pt x="15228" y="15268"/>
                    <a:pt x="15367" y="15161"/>
                    <a:pt x="15519" y="15092"/>
                  </a:cubicBezTo>
                  <a:cubicBezTo>
                    <a:pt x="15673" y="15023"/>
                    <a:pt x="15847" y="14897"/>
                    <a:pt x="15911" y="14814"/>
                  </a:cubicBezTo>
                  <a:cubicBezTo>
                    <a:pt x="15981" y="14732"/>
                    <a:pt x="15919" y="14613"/>
                    <a:pt x="15772" y="14554"/>
                  </a:cubicBezTo>
                  <a:cubicBezTo>
                    <a:pt x="15634" y="14492"/>
                    <a:pt x="15506" y="14409"/>
                    <a:pt x="15495" y="14366"/>
                  </a:cubicBezTo>
                  <a:cubicBezTo>
                    <a:pt x="15495" y="14323"/>
                    <a:pt x="15308" y="14239"/>
                    <a:pt x="15100" y="14180"/>
                  </a:cubicBezTo>
                  <a:cubicBezTo>
                    <a:pt x="14892" y="14122"/>
                    <a:pt x="14744" y="14048"/>
                    <a:pt x="14773" y="14017"/>
                  </a:cubicBezTo>
                  <a:cubicBezTo>
                    <a:pt x="14803" y="13987"/>
                    <a:pt x="14618" y="13889"/>
                    <a:pt x="14362" y="13801"/>
                  </a:cubicBezTo>
                  <a:cubicBezTo>
                    <a:pt x="14104" y="13716"/>
                    <a:pt x="13873" y="13597"/>
                    <a:pt x="13824" y="13548"/>
                  </a:cubicBezTo>
                  <a:cubicBezTo>
                    <a:pt x="13780" y="13498"/>
                    <a:pt x="13667" y="13429"/>
                    <a:pt x="13572" y="13390"/>
                  </a:cubicBezTo>
                  <a:cubicBezTo>
                    <a:pt x="13477" y="13351"/>
                    <a:pt x="13313" y="13370"/>
                    <a:pt x="13209" y="13422"/>
                  </a:cubicBezTo>
                  <a:cubicBezTo>
                    <a:pt x="13103" y="13476"/>
                    <a:pt x="12954" y="13476"/>
                    <a:pt x="12872" y="13422"/>
                  </a:cubicBezTo>
                  <a:cubicBezTo>
                    <a:pt x="12790" y="13367"/>
                    <a:pt x="12672" y="13334"/>
                    <a:pt x="12611" y="13348"/>
                  </a:cubicBezTo>
                  <a:cubicBezTo>
                    <a:pt x="12557" y="13368"/>
                    <a:pt x="12487" y="13330"/>
                    <a:pt x="12478" y="13276"/>
                  </a:cubicBezTo>
                  <a:cubicBezTo>
                    <a:pt x="12467" y="13223"/>
                    <a:pt x="12382" y="13168"/>
                    <a:pt x="12287" y="13157"/>
                  </a:cubicBezTo>
                  <a:cubicBezTo>
                    <a:pt x="12193" y="13146"/>
                    <a:pt x="12047" y="13099"/>
                    <a:pt x="11982" y="13050"/>
                  </a:cubicBezTo>
                  <a:cubicBezTo>
                    <a:pt x="11913" y="13003"/>
                    <a:pt x="11776" y="12938"/>
                    <a:pt x="11695" y="12899"/>
                  </a:cubicBezTo>
                  <a:cubicBezTo>
                    <a:pt x="11607" y="12864"/>
                    <a:pt x="11601" y="12791"/>
                    <a:pt x="11689" y="12750"/>
                  </a:cubicBezTo>
                  <a:cubicBezTo>
                    <a:pt x="11766" y="12704"/>
                    <a:pt x="11765" y="12616"/>
                    <a:pt x="11682" y="12551"/>
                  </a:cubicBezTo>
                  <a:cubicBezTo>
                    <a:pt x="11600" y="12486"/>
                    <a:pt x="11574" y="12423"/>
                    <a:pt x="11633" y="12413"/>
                  </a:cubicBezTo>
                  <a:cubicBezTo>
                    <a:pt x="11689" y="12399"/>
                    <a:pt x="11734" y="12363"/>
                    <a:pt x="11723" y="12330"/>
                  </a:cubicBezTo>
                  <a:cubicBezTo>
                    <a:pt x="11713" y="12296"/>
                    <a:pt x="11624" y="12250"/>
                    <a:pt x="11520" y="12229"/>
                  </a:cubicBezTo>
                  <a:cubicBezTo>
                    <a:pt x="11418" y="12205"/>
                    <a:pt x="11403" y="12150"/>
                    <a:pt x="11492" y="12103"/>
                  </a:cubicBezTo>
                  <a:cubicBezTo>
                    <a:pt x="11583" y="12056"/>
                    <a:pt x="11607" y="11947"/>
                    <a:pt x="11546" y="11864"/>
                  </a:cubicBezTo>
                  <a:cubicBezTo>
                    <a:pt x="11487" y="11780"/>
                    <a:pt x="11465" y="11700"/>
                    <a:pt x="11488" y="11684"/>
                  </a:cubicBezTo>
                  <a:cubicBezTo>
                    <a:pt x="11513" y="11668"/>
                    <a:pt x="11612" y="11686"/>
                    <a:pt x="11704" y="11721"/>
                  </a:cubicBezTo>
                  <a:cubicBezTo>
                    <a:pt x="11792" y="11759"/>
                    <a:pt x="11879" y="11741"/>
                    <a:pt x="11879" y="11688"/>
                  </a:cubicBezTo>
                  <a:cubicBezTo>
                    <a:pt x="11888" y="11634"/>
                    <a:pt x="11794" y="11549"/>
                    <a:pt x="11682" y="11502"/>
                  </a:cubicBezTo>
                  <a:cubicBezTo>
                    <a:pt x="11570" y="11454"/>
                    <a:pt x="11492" y="11349"/>
                    <a:pt x="11513" y="11269"/>
                  </a:cubicBezTo>
                  <a:cubicBezTo>
                    <a:pt x="11523" y="11190"/>
                    <a:pt x="11511" y="11073"/>
                    <a:pt x="11471" y="11010"/>
                  </a:cubicBezTo>
                  <a:cubicBezTo>
                    <a:pt x="11430" y="10947"/>
                    <a:pt x="11423" y="10880"/>
                    <a:pt x="11455" y="10861"/>
                  </a:cubicBezTo>
                  <a:cubicBezTo>
                    <a:pt x="11476" y="10839"/>
                    <a:pt x="11490" y="10769"/>
                    <a:pt x="11447" y="10701"/>
                  </a:cubicBezTo>
                  <a:cubicBezTo>
                    <a:pt x="11417" y="10632"/>
                    <a:pt x="11250" y="10505"/>
                    <a:pt x="11076" y="10420"/>
                  </a:cubicBezTo>
                  <a:cubicBezTo>
                    <a:pt x="10899" y="10337"/>
                    <a:pt x="10857" y="10278"/>
                    <a:pt x="10963" y="10300"/>
                  </a:cubicBezTo>
                  <a:cubicBezTo>
                    <a:pt x="11074" y="10317"/>
                    <a:pt x="11315" y="10335"/>
                    <a:pt x="11502" y="10330"/>
                  </a:cubicBezTo>
                  <a:cubicBezTo>
                    <a:pt x="11691" y="10325"/>
                    <a:pt x="11922" y="10275"/>
                    <a:pt x="12013" y="10214"/>
                  </a:cubicBezTo>
                  <a:cubicBezTo>
                    <a:pt x="12096" y="10152"/>
                    <a:pt x="12125" y="10065"/>
                    <a:pt x="12061" y="10016"/>
                  </a:cubicBezTo>
                  <a:cubicBezTo>
                    <a:pt x="11996" y="9967"/>
                    <a:pt x="11970" y="9906"/>
                    <a:pt x="11993" y="9878"/>
                  </a:cubicBezTo>
                  <a:cubicBezTo>
                    <a:pt x="12022" y="9851"/>
                    <a:pt x="12141" y="9844"/>
                    <a:pt x="12257" y="9862"/>
                  </a:cubicBezTo>
                  <a:cubicBezTo>
                    <a:pt x="12375" y="9880"/>
                    <a:pt x="12608" y="9853"/>
                    <a:pt x="12768" y="9797"/>
                  </a:cubicBezTo>
                  <a:cubicBezTo>
                    <a:pt x="12930" y="9742"/>
                    <a:pt x="13069" y="9675"/>
                    <a:pt x="13069" y="9645"/>
                  </a:cubicBezTo>
                  <a:cubicBezTo>
                    <a:pt x="13079" y="9615"/>
                    <a:pt x="12998" y="9582"/>
                    <a:pt x="12908" y="9568"/>
                  </a:cubicBezTo>
                  <a:cubicBezTo>
                    <a:pt x="12815" y="9559"/>
                    <a:pt x="12774" y="9511"/>
                    <a:pt x="12794" y="9468"/>
                  </a:cubicBezTo>
                  <a:cubicBezTo>
                    <a:pt x="12823" y="9425"/>
                    <a:pt x="12912" y="9365"/>
                    <a:pt x="12992" y="9333"/>
                  </a:cubicBezTo>
                  <a:cubicBezTo>
                    <a:pt x="13070" y="9300"/>
                    <a:pt x="13191" y="9299"/>
                    <a:pt x="13248" y="9332"/>
                  </a:cubicBezTo>
                  <a:cubicBezTo>
                    <a:pt x="13314" y="9362"/>
                    <a:pt x="13410" y="9385"/>
                    <a:pt x="13465" y="9383"/>
                  </a:cubicBezTo>
                  <a:cubicBezTo>
                    <a:pt x="13522" y="9377"/>
                    <a:pt x="13588" y="9333"/>
                    <a:pt x="13608" y="9278"/>
                  </a:cubicBezTo>
                  <a:cubicBezTo>
                    <a:pt x="13630" y="9224"/>
                    <a:pt x="13689" y="9184"/>
                    <a:pt x="13744" y="9184"/>
                  </a:cubicBezTo>
                  <a:cubicBezTo>
                    <a:pt x="13798" y="9186"/>
                    <a:pt x="13895" y="9219"/>
                    <a:pt x="13957" y="9257"/>
                  </a:cubicBezTo>
                  <a:cubicBezTo>
                    <a:pt x="14019" y="9294"/>
                    <a:pt x="14138" y="9302"/>
                    <a:pt x="14220" y="9274"/>
                  </a:cubicBezTo>
                  <a:cubicBezTo>
                    <a:pt x="14299" y="9247"/>
                    <a:pt x="14358" y="9174"/>
                    <a:pt x="14336" y="9115"/>
                  </a:cubicBezTo>
                  <a:cubicBezTo>
                    <a:pt x="14325" y="9055"/>
                    <a:pt x="14338" y="8962"/>
                    <a:pt x="14391" y="8913"/>
                  </a:cubicBezTo>
                  <a:cubicBezTo>
                    <a:pt x="14430" y="8862"/>
                    <a:pt x="14553" y="8822"/>
                    <a:pt x="14650" y="8831"/>
                  </a:cubicBezTo>
                  <a:cubicBezTo>
                    <a:pt x="14749" y="8836"/>
                    <a:pt x="14854" y="8871"/>
                    <a:pt x="14874" y="8911"/>
                  </a:cubicBezTo>
                  <a:cubicBezTo>
                    <a:pt x="14904" y="8949"/>
                    <a:pt x="14983" y="8987"/>
                    <a:pt x="15062" y="8993"/>
                  </a:cubicBezTo>
                  <a:cubicBezTo>
                    <a:pt x="15139" y="9002"/>
                    <a:pt x="15246" y="8962"/>
                    <a:pt x="15297" y="8912"/>
                  </a:cubicBezTo>
                  <a:cubicBezTo>
                    <a:pt x="15345" y="8862"/>
                    <a:pt x="15510" y="8801"/>
                    <a:pt x="15656" y="8771"/>
                  </a:cubicBezTo>
                  <a:cubicBezTo>
                    <a:pt x="15803" y="8747"/>
                    <a:pt x="15872" y="8681"/>
                    <a:pt x="15809" y="8630"/>
                  </a:cubicBezTo>
                  <a:cubicBezTo>
                    <a:pt x="15749" y="8579"/>
                    <a:pt x="15698" y="8502"/>
                    <a:pt x="15709" y="8458"/>
                  </a:cubicBezTo>
                  <a:cubicBezTo>
                    <a:pt x="15709" y="8414"/>
                    <a:pt x="15790" y="8408"/>
                    <a:pt x="15866" y="8449"/>
                  </a:cubicBezTo>
                  <a:cubicBezTo>
                    <a:pt x="15948" y="8487"/>
                    <a:pt x="16099" y="8482"/>
                    <a:pt x="16221" y="8440"/>
                  </a:cubicBezTo>
                  <a:cubicBezTo>
                    <a:pt x="16337" y="8395"/>
                    <a:pt x="16506" y="8362"/>
                    <a:pt x="16587" y="8373"/>
                  </a:cubicBezTo>
                  <a:cubicBezTo>
                    <a:pt x="16671" y="8378"/>
                    <a:pt x="16824" y="8320"/>
                    <a:pt x="16926" y="8241"/>
                  </a:cubicBezTo>
                  <a:cubicBezTo>
                    <a:pt x="17034" y="8163"/>
                    <a:pt x="17075" y="8027"/>
                    <a:pt x="17034" y="7941"/>
                  </a:cubicBezTo>
                  <a:cubicBezTo>
                    <a:pt x="16992" y="7856"/>
                    <a:pt x="17023" y="7756"/>
                    <a:pt x="17098" y="7714"/>
                  </a:cubicBezTo>
                  <a:cubicBezTo>
                    <a:pt x="17185" y="7679"/>
                    <a:pt x="17310" y="7646"/>
                    <a:pt x="17392" y="7648"/>
                  </a:cubicBezTo>
                  <a:cubicBezTo>
                    <a:pt x="17473" y="7649"/>
                    <a:pt x="17625" y="7605"/>
                    <a:pt x="17735" y="7550"/>
                  </a:cubicBezTo>
                  <a:cubicBezTo>
                    <a:pt x="17851" y="7497"/>
                    <a:pt x="17856" y="7441"/>
                    <a:pt x="17764" y="7437"/>
                  </a:cubicBezTo>
                  <a:cubicBezTo>
                    <a:pt x="17672" y="7429"/>
                    <a:pt x="17520" y="7394"/>
                    <a:pt x="17443" y="7345"/>
                  </a:cubicBezTo>
                  <a:cubicBezTo>
                    <a:pt x="17356" y="7302"/>
                    <a:pt x="17350" y="7255"/>
                    <a:pt x="17425" y="7251"/>
                  </a:cubicBezTo>
                  <a:cubicBezTo>
                    <a:pt x="17497" y="7243"/>
                    <a:pt x="17512" y="7211"/>
                    <a:pt x="17472" y="7174"/>
                  </a:cubicBezTo>
                  <a:cubicBezTo>
                    <a:pt x="17420" y="7140"/>
                    <a:pt x="17299" y="7098"/>
                    <a:pt x="17194" y="7086"/>
                  </a:cubicBezTo>
                  <a:cubicBezTo>
                    <a:pt x="17091" y="7073"/>
                    <a:pt x="16886" y="7029"/>
                    <a:pt x="16758" y="6977"/>
                  </a:cubicBezTo>
                  <a:cubicBezTo>
                    <a:pt x="16615" y="6937"/>
                    <a:pt x="16633" y="6893"/>
                    <a:pt x="16783" y="6889"/>
                  </a:cubicBezTo>
                  <a:cubicBezTo>
                    <a:pt x="16935" y="6888"/>
                    <a:pt x="17032" y="6852"/>
                    <a:pt x="16986" y="6816"/>
                  </a:cubicBezTo>
                  <a:cubicBezTo>
                    <a:pt x="16946" y="6778"/>
                    <a:pt x="16956" y="6678"/>
                    <a:pt x="17007" y="6594"/>
                  </a:cubicBezTo>
                  <a:cubicBezTo>
                    <a:pt x="17068" y="6512"/>
                    <a:pt x="17133" y="6423"/>
                    <a:pt x="17154" y="6395"/>
                  </a:cubicBezTo>
                  <a:cubicBezTo>
                    <a:pt x="17176" y="6366"/>
                    <a:pt x="17157" y="6316"/>
                    <a:pt x="17082" y="6285"/>
                  </a:cubicBezTo>
                  <a:cubicBezTo>
                    <a:pt x="17010" y="6252"/>
                    <a:pt x="16891" y="6219"/>
                    <a:pt x="16815" y="6213"/>
                  </a:cubicBezTo>
                  <a:cubicBezTo>
                    <a:pt x="16738" y="6208"/>
                    <a:pt x="16611" y="6174"/>
                    <a:pt x="16556" y="6131"/>
                  </a:cubicBezTo>
                  <a:cubicBezTo>
                    <a:pt x="16492" y="6091"/>
                    <a:pt x="16460" y="6045"/>
                    <a:pt x="16501" y="6032"/>
                  </a:cubicBezTo>
                  <a:cubicBezTo>
                    <a:pt x="16525" y="6012"/>
                    <a:pt x="16628" y="6023"/>
                    <a:pt x="16712" y="6039"/>
                  </a:cubicBezTo>
                  <a:cubicBezTo>
                    <a:pt x="16791" y="6061"/>
                    <a:pt x="16879" y="6093"/>
                    <a:pt x="16917" y="6109"/>
                  </a:cubicBezTo>
                  <a:cubicBezTo>
                    <a:pt x="16948" y="6127"/>
                    <a:pt x="17012" y="6145"/>
                    <a:pt x="17058" y="6138"/>
                  </a:cubicBezTo>
                  <a:cubicBezTo>
                    <a:pt x="17104" y="6138"/>
                    <a:pt x="17130" y="6108"/>
                    <a:pt x="17140" y="6080"/>
                  </a:cubicBezTo>
                  <a:cubicBezTo>
                    <a:pt x="17129" y="6052"/>
                    <a:pt x="17036" y="6004"/>
                    <a:pt x="16911" y="5977"/>
                  </a:cubicBezTo>
                  <a:cubicBezTo>
                    <a:pt x="16786" y="5952"/>
                    <a:pt x="16760" y="5914"/>
                    <a:pt x="16849" y="5899"/>
                  </a:cubicBezTo>
                  <a:cubicBezTo>
                    <a:pt x="16942" y="5888"/>
                    <a:pt x="17101" y="5877"/>
                    <a:pt x="17209" y="5889"/>
                  </a:cubicBezTo>
                  <a:cubicBezTo>
                    <a:pt x="17319" y="5897"/>
                    <a:pt x="17486" y="5882"/>
                    <a:pt x="17577" y="5849"/>
                  </a:cubicBezTo>
                  <a:cubicBezTo>
                    <a:pt x="17665" y="5813"/>
                    <a:pt x="17675" y="5769"/>
                    <a:pt x="17583" y="5742"/>
                  </a:cubicBezTo>
                  <a:cubicBezTo>
                    <a:pt x="17491" y="5715"/>
                    <a:pt x="17339" y="5638"/>
                    <a:pt x="17241" y="5574"/>
                  </a:cubicBezTo>
                  <a:cubicBezTo>
                    <a:pt x="17141" y="5510"/>
                    <a:pt x="17134" y="5473"/>
                    <a:pt x="17225" y="5486"/>
                  </a:cubicBezTo>
                  <a:cubicBezTo>
                    <a:pt x="17308" y="5506"/>
                    <a:pt x="17435" y="5541"/>
                    <a:pt x="17500" y="5571"/>
                  </a:cubicBezTo>
                  <a:cubicBezTo>
                    <a:pt x="17569" y="5600"/>
                    <a:pt x="17694" y="5627"/>
                    <a:pt x="17784" y="5622"/>
                  </a:cubicBezTo>
                  <a:cubicBezTo>
                    <a:pt x="17875" y="5620"/>
                    <a:pt x="17973" y="5587"/>
                    <a:pt x="18004" y="5550"/>
                  </a:cubicBezTo>
                  <a:cubicBezTo>
                    <a:pt x="18044" y="5516"/>
                    <a:pt x="18068" y="5446"/>
                    <a:pt x="18058" y="5399"/>
                  </a:cubicBezTo>
                  <a:cubicBezTo>
                    <a:pt x="18069" y="5353"/>
                    <a:pt x="18105" y="5300"/>
                    <a:pt x="18167" y="5286"/>
                  </a:cubicBezTo>
                  <a:cubicBezTo>
                    <a:pt x="18229" y="5270"/>
                    <a:pt x="18349" y="5306"/>
                    <a:pt x="18447" y="5363"/>
                  </a:cubicBezTo>
                  <a:cubicBezTo>
                    <a:pt x="18542" y="5421"/>
                    <a:pt x="18684" y="5435"/>
                    <a:pt x="18770" y="5393"/>
                  </a:cubicBezTo>
                  <a:cubicBezTo>
                    <a:pt x="18852" y="5349"/>
                    <a:pt x="18973" y="5352"/>
                    <a:pt x="19034" y="5396"/>
                  </a:cubicBezTo>
                  <a:cubicBezTo>
                    <a:pt x="19102" y="5437"/>
                    <a:pt x="19234" y="5495"/>
                    <a:pt x="19345" y="5519"/>
                  </a:cubicBezTo>
                  <a:cubicBezTo>
                    <a:pt x="19454" y="5543"/>
                    <a:pt x="19575" y="5531"/>
                    <a:pt x="19615" y="5493"/>
                  </a:cubicBezTo>
                  <a:cubicBezTo>
                    <a:pt x="19655" y="5455"/>
                    <a:pt x="19775" y="5446"/>
                    <a:pt x="19880" y="5477"/>
                  </a:cubicBezTo>
                  <a:cubicBezTo>
                    <a:pt x="19988" y="5505"/>
                    <a:pt x="20186" y="5507"/>
                    <a:pt x="20320" y="5478"/>
                  </a:cubicBezTo>
                  <a:cubicBezTo>
                    <a:pt x="20451" y="5445"/>
                    <a:pt x="20633" y="5459"/>
                    <a:pt x="20714" y="5497"/>
                  </a:cubicBezTo>
                  <a:cubicBezTo>
                    <a:pt x="20794" y="5536"/>
                    <a:pt x="20959" y="5578"/>
                    <a:pt x="21080" y="5587"/>
                  </a:cubicBezTo>
                  <a:cubicBezTo>
                    <a:pt x="21200" y="5598"/>
                    <a:pt x="21355" y="5591"/>
                    <a:pt x="21430" y="5577"/>
                  </a:cubicBezTo>
                  <a:cubicBezTo>
                    <a:pt x="21502" y="5559"/>
                    <a:pt x="21573" y="5547"/>
                    <a:pt x="21573" y="5550"/>
                  </a:cubicBezTo>
                  <a:cubicBezTo>
                    <a:pt x="21578" y="5552"/>
                    <a:pt x="21571" y="5512"/>
                    <a:pt x="21561" y="5458"/>
                  </a:cubicBezTo>
                  <a:cubicBezTo>
                    <a:pt x="21542" y="5406"/>
                    <a:pt x="21479" y="5332"/>
                    <a:pt x="21397" y="5300"/>
                  </a:cubicBezTo>
                  <a:cubicBezTo>
                    <a:pt x="21318" y="5266"/>
                    <a:pt x="21145" y="5156"/>
                    <a:pt x="21001" y="5061"/>
                  </a:cubicBezTo>
                  <a:close/>
                  <a:moveTo>
                    <a:pt x="21001" y="50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0" name="AutoShape 539"/>
            <p:cNvSpPr>
              <a:spLocks/>
            </p:cNvSpPr>
            <p:nvPr/>
          </p:nvSpPr>
          <p:spPr bwMode="auto">
            <a:xfrm>
              <a:off x="8064500" y="2425700"/>
              <a:ext cx="4763" cy="4763"/>
            </a:xfrm>
            <a:custGeom>
              <a:avLst/>
              <a:gdLst/>
              <a:ahLst/>
              <a:cxnLst/>
              <a:rect l="0" t="0" r="r" b="b"/>
              <a:pathLst>
                <a:path w="19008" h="18848">
                  <a:moveTo>
                    <a:pt x="1833" y="573"/>
                  </a:moveTo>
                  <a:cubicBezTo>
                    <a:pt x="-1207" y="1879"/>
                    <a:pt x="-287" y="7526"/>
                    <a:pt x="3271" y="13400"/>
                  </a:cubicBezTo>
                  <a:cubicBezTo>
                    <a:pt x="7433" y="18949"/>
                    <a:pt x="13233" y="20600"/>
                    <a:pt x="16793" y="16758"/>
                  </a:cubicBezTo>
                  <a:cubicBezTo>
                    <a:pt x="20393" y="12862"/>
                    <a:pt x="19393" y="7466"/>
                    <a:pt x="15313" y="3915"/>
                  </a:cubicBezTo>
                  <a:cubicBezTo>
                    <a:pt x="10913" y="844"/>
                    <a:pt x="4790" y="-1000"/>
                    <a:pt x="1833" y="573"/>
                  </a:cubicBezTo>
                  <a:close/>
                  <a:moveTo>
                    <a:pt x="1833" y="5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1" name="AutoShape 540"/>
            <p:cNvSpPr>
              <a:spLocks/>
            </p:cNvSpPr>
            <p:nvPr/>
          </p:nvSpPr>
          <p:spPr bwMode="auto">
            <a:xfrm>
              <a:off x="7772400" y="2425700"/>
              <a:ext cx="4763" cy="4763"/>
            </a:xfrm>
            <a:custGeom>
              <a:avLst/>
              <a:gdLst/>
              <a:ahLst/>
              <a:cxnLst/>
              <a:rect l="0" t="0" r="r" b="b"/>
              <a:pathLst>
                <a:path w="19892" h="20669">
                  <a:moveTo>
                    <a:pt x="8423" y="20665"/>
                  </a:moveTo>
                  <a:cubicBezTo>
                    <a:pt x="13267" y="20836"/>
                    <a:pt x="18255" y="15840"/>
                    <a:pt x="19594" y="9717"/>
                  </a:cubicBezTo>
                  <a:cubicBezTo>
                    <a:pt x="21025" y="3676"/>
                    <a:pt x="17150" y="-764"/>
                    <a:pt x="11193" y="110"/>
                  </a:cubicBezTo>
                  <a:cubicBezTo>
                    <a:pt x="5192" y="731"/>
                    <a:pt x="65" y="5726"/>
                    <a:pt x="65" y="10954"/>
                  </a:cubicBezTo>
                  <a:cubicBezTo>
                    <a:pt x="-575" y="16181"/>
                    <a:pt x="3574" y="20259"/>
                    <a:pt x="8423" y="20665"/>
                  </a:cubicBezTo>
                  <a:close/>
                  <a:moveTo>
                    <a:pt x="8423" y="2066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2" name="AutoShape 541"/>
            <p:cNvSpPr>
              <a:spLocks/>
            </p:cNvSpPr>
            <p:nvPr/>
          </p:nvSpPr>
          <p:spPr bwMode="auto">
            <a:xfrm>
              <a:off x="8026400" y="2362200"/>
              <a:ext cx="14288" cy="19050"/>
            </a:xfrm>
            <a:custGeom>
              <a:avLst/>
              <a:gdLst/>
              <a:ahLst/>
              <a:cxnLst/>
              <a:rect l="0" t="0" r="r" b="b"/>
              <a:pathLst>
                <a:path w="20580" h="20757">
                  <a:moveTo>
                    <a:pt x="9333" y="20543"/>
                  </a:moveTo>
                  <a:cubicBezTo>
                    <a:pt x="10692" y="21339"/>
                    <a:pt x="11483" y="19842"/>
                    <a:pt x="11258" y="17249"/>
                  </a:cubicBezTo>
                  <a:cubicBezTo>
                    <a:pt x="10790" y="14679"/>
                    <a:pt x="12875" y="11112"/>
                    <a:pt x="15821" y="9636"/>
                  </a:cubicBezTo>
                  <a:cubicBezTo>
                    <a:pt x="18652" y="8071"/>
                    <a:pt x="20803" y="5319"/>
                    <a:pt x="20561" y="3639"/>
                  </a:cubicBezTo>
                  <a:cubicBezTo>
                    <a:pt x="20318" y="1942"/>
                    <a:pt x="17163" y="300"/>
                    <a:pt x="13394" y="29"/>
                  </a:cubicBezTo>
                  <a:cubicBezTo>
                    <a:pt x="9656" y="-261"/>
                    <a:pt x="4349" y="1688"/>
                    <a:pt x="1905" y="4504"/>
                  </a:cubicBezTo>
                  <a:cubicBezTo>
                    <a:pt x="-505" y="7357"/>
                    <a:pt x="-797" y="11751"/>
                    <a:pt x="2003" y="14307"/>
                  </a:cubicBezTo>
                  <a:cubicBezTo>
                    <a:pt x="4656" y="16989"/>
                    <a:pt x="7990" y="19761"/>
                    <a:pt x="9333" y="20543"/>
                  </a:cubicBezTo>
                  <a:close/>
                  <a:moveTo>
                    <a:pt x="9333" y="205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3" name="AutoShape 542"/>
            <p:cNvSpPr>
              <a:spLocks/>
            </p:cNvSpPr>
            <p:nvPr/>
          </p:nvSpPr>
          <p:spPr bwMode="auto">
            <a:xfrm>
              <a:off x="8077200" y="2463800"/>
              <a:ext cx="12700" cy="6350"/>
            </a:xfrm>
            <a:custGeom>
              <a:avLst/>
              <a:gdLst/>
              <a:ahLst/>
              <a:cxnLst/>
              <a:rect l="0" t="0" r="r" b="b"/>
              <a:pathLst>
                <a:path w="20228" h="20276">
                  <a:moveTo>
                    <a:pt x="11460" y="50"/>
                  </a:moveTo>
                  <a:cubicBezTo>
                    <a:pt x="7703" y="-370"/>
                    <a:pt x="3158" y="1915"/>
                    <a:pt x="1542" y="5594"/>
                  </a:cubicBezTo>
                  <a:cubicBezTo>
                    <a:pt x="-130" y="9231"/>
                    <a:pt x="-618" y="14922"/>
                    <a:pt x="960" y="17757"/>
                  </a:cubicBezTo>
                  <a:cubicBezTo>
                    <a:pt x="2481" y="20810"/>
                    <a:pt x="5110" y="21230"/>
                    <a:pt x="6857" y="18233"/>
                  </a:cubicBezTo>
                  <a:cubicBezTo>
                    <a:pt x="8755" y="15468"/>
                    <a:pt x="12717" y="11940"/>
                    <a:pt x="15874" y="11096"/>
                  </a:cubicBezTo>
                  <a:cubicBezTo>
                    <a:pt x="19030" y="9965"/>
                    <a:pt x="20982" y="7167"/>
                    <a:pt x="19950" y="5118"/>
                  </a:cubicBezTo>
                  <a:cubicBezTo>
                    <a:pt x="18897" y="3069"/>
                    <a:pt x="15235" y="435"/>
                    <a:pt x="11460" y="50"/>
                  </a:cubicBezTo>
                  <a:close/>
                  <a:moveTo>
                    <a:pt x="11460" y="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4" name="AutoShape 543"/>
            <p:cNvSpPr>
              <a:spLocks/>
            </p:cNvSpPr>
            <p:nvPr/>
          </p:nvSpPr>
          <p:spPr bwMode="auto">
            <a:xfrm>
              <a:off x="8178800" y="2336800"/>
              <a:ext cx="1588" cy="3175"/>
            </a:xfrm>
            <a:custGeom>
              <a:avLst/>
              <a:gdLst/>
              <a:ahLst/>
              <a:cxnLst/>
              <a:rect l="0" t="0" r="r" b="b"/>
              <a:pathLst>
                <a:path w="19525" h="19186">
                  <a:moveTo>
                    <a:pt x="13748" y="19178"/>
                  </a:moveTo>
                  <a:cubicBezTo>
                    <a:pt x="21600" y="19448"/>
                    <a:pt x="21048" y="12796"/>
                    <a:pt x="14505" y="5310"/>
                  </a:cubicBezTo>
                  <a:cubicBezTo>
                    <a:pt x="7750" y="-2152"/>
                    <a:pt x="1643" y="-1582"/>
                    <a:pt x="0" y="5966"/>
                  </a:cubicBezTo>
                  <a:cubicBezTo>
                    <a:pt x="0" y="13637"/>
                    <a:pt x="5896" y="19178"/>
                    <a:pt x="13748" y="19178"/>
                  </a:cubicBezTo>
                  <a:close/>
                  <a:moveTo>
                    <a:pt x="13748" y="191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5" name="AutoShape 544"/>
            <p:cNvSpPr>
              <a:spLocks/>
            </p:cNvSpPr>
            <p:nvPr/>
          </p:nvSpPr>
          <p:spPr bwMode="auto">
            <a:xfrm>
              <a:off x="8153400" y="2324100"/>
              <a:ext cx="12700" cy="6350"/>
            </a:xfrm>
            <a:custGeom>
              <a:avLst/>
              <a:gdLst/>
              <a:ahLst/>
              <a:cxnLst/>
              <a:rect l="0" t="0" r="r" b="b"/>
              <a:pathLst>
                <a:path w="21045" h="19894">
                  <a:moveTo>
                    <a:pt x="4360" y="18277"/>
                  </a:moveTo>
                  <a:cubicBezTo>
                    <a:pt x="7200" y="20948"/>
                    <a:pt x="11870" y="20156"/>
                    <a:pt x="15089" y="17028"/>
                  </a:cubicBezTo>
                  <a:cubicBezTo>
                    <a:pt x="18210" y="13637"/>
                    <a:pt x="20772" y="8120"/>
                    <a:pt x="21030" y="4920"/>
                  </a:cubicBezTo>
                  <a:cubicBezTo>
                    <a:pt x="21349" y="1756"/>
                    <a:pt x="16698" y="-652"/>
                    <a:pt x="11076" y="158"/>
                  </a:cubicBezTo>
                  <a:cubicBezTo>
                    <a:pt x="5432" y="932"/>
                    <a:pt x="345" y="3920"/>
                    <a:pt x="28" y="7238"/>
                  </a:cubicBezTo>
                  <a:cubicBezTo>
                    <a:pt x="-251" y="10578"/>
                    <a:pt x="1578" y="15412"/>
                    <a:pt x="4360" y="18277"/>
                  </a:cubicBezTo>
                  <a:close/>
                  <a:moveTo>
                    <a:pt x="4360" y="182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6" name="AutoShape 545"/>
            <p:cNvSpPr>
              <a:spLocks/>
            </p:cNvSpPr>
            <p:nvPr/>
          </p:nvSpPr>
          <p:spPr bwMode="auto">
            <a:xfrm>
              <a:off x="8178800" y="2349500"/>
              <a:ext cx="6350" cy="4763"/>
            </a:xfrm>
            <a:custGeom>
              <a:avLst/>
              <a:gdLst/>
              <a:ahLst/>
              <a:cxnLst/>
              <a:rect l="0" t="0" r="r" b="b"/>
              <a:pathLst>
                <a:path w="19588" h="19493">
                  <a:moveTo>
                    <a:pt x="14730" y="18338"/>
                  </a:moveTo>
                  <a:cubicBezTo>
                    <a:pt x="18857" y="15966"/>
                    <a:pt x="20833" y="10057"/>
                    <a:pt x="18750" y="5038"/>
                  </a:cubicBezTo>
                  <a:cubicBezTo>
                    <a:pt x="16265" y="178"/>
                    <a:pt x="14180" y="-1150"/>
                    <a:pt x="11548" y="987"/>
                  </a:cubicBezTo>
                  <a:cubicBezTo>
                    <a:pt x="9541" y="3852"/>
                    <a:pt x="5411" y="7212"/>
                    <a:pt x="2451" y="8673"/>
                  </a:cubicBezTo>
                  <a:cubicBezTo>
                    <a:pt x="-767" y="9543"/>
                    <a:pt x="-728" y="13635"/>
                    <a:pt x="2049" y="16816"/>
                  </a:cubicBezTo>
                  <a:cubicBezTo>
                    <a:pt x="5229" y="19503"/>
                    <a:pt x="10566" y="20450"/>
                    <a:pt x="14730" y="18338"/>
                  </a:cubicBezTo>
                  <a:close/>
                  <a:moveTo>
                    <a:pt x="14730" y="183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7" name="AutoShape 546"/>
            <p:cNvSpPr>
              <a:spLocks/>
            </p:cNvSpPr>
            <p:nvPr/>
          </p:nvSpPr>
          <p:spPr bwMode="auto">
            <a:xfrm>
              <a:off x="8140700" y="2311400"/>
              <a:ext cx="6350" cy="6350"/>
            </a:xfrm>
            <a:custGeom>
              <a:avLst/>
              <a:gdLst/>
              <a:ahLst/>
              <a:cxnLst/>
              <a:rect l="0" t="0" r="r" b="b"/>
              <a:pathLst>
                <a:path w="19160" h="19148">
                  <a:moveTo>
                    <a:pt x="17589" y="18391"/>
                  </a:moveTo>
                  <a:cubicBezTo>
                    <a:pt x="21152" y="16625"/>
                    <a:pt x="18454" y="10404"/>
                    <a:pt x="11488" y="4917"/>
                  </a:cubicBezTo>
                  <a:cubicBezTo>
                    <a:pt x="4523" y="-636"/>
                    <a:pt x="-448" y="-1700"/>
                    <a:pt x="31" y="2825"/>
                  </a:cubicBezTo>
                  <a:cubicBezTo>
                    <a:pt x="511" y="7367"/>
                    <a:pt x="3177" y="13609"/>
                    <a:pt x="6226" y="16298"/>
                  </a:cubicBezTo>
                  <a:cubicBezTo>
                    <a:pt x="9115" y="19128"/>
                    <a:pt x="14026" y="19900"/>
                    <a:pt x="17589" y="18391"/>
                  </a:cubicBezTo>
                  <a:close/>
                  <a:moveTo>
                    <a:pt x="17589" y="183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8" name="AutoShape 547"/>
            <p:cNvSpPr>
              <a:spLocks/>
            </p:cNvSpPr>
            <p:nvPr/>
          </p:nvSpPr>
          <p:spPr bwMode="auto">
            <a:xfrm>
              <a:off x="7975600" y="1778000"/>
              <a:ext cx="463550" cy="573088"/>
            </a:xfrm>
            <a:custGeom>
              <a:avLst/>
              <a:gdLst/>
              <a:ahLst/>
              <a:cxnLst/>
              <a:rect l="0" t="0" r="r" b="b"/>
              <a:pathLst>
                <a:path w="21557" h="21575">
                  <a:moveTo>
                    <a:pt x="18900" y="19963"/>
                  </a:moveTo>
                  <a:cubicBezTo>
                    <a:pt x="19106" y="19825"/>
                    <a:pt x="19374" y="19695"/>
                    <a:pt x="19490" y="19666"/>
                  </a:cubicBezTo>
                  <a:cubicBezTo>
                    <a:pt x="19604" y="19636"/>
                    <a:pt x="19790" y="19488"/>
                    <a:pt x="19886" y="19327"/>
                  </a:cubicBezTo>
                  <a:cubicBezTo>
                    <a:pt x="19987" y="19168"/>
                    <a:pt x="20163" y="18928"/>
                    <a:pt x="20280" y="18794"/>
                  </a:cubicBezTo>
                  <a:cubicBezTo>
                    <a:pt x="20393" y="18659"/>
                    <a:pt x="20545" y="18412"/>
                    <a:pt x="20614" y="18246"/>
                  </a:cubicBezTo>
                  <a:cubicBezTo>
                    <a:pt x="20676" y="18077"/>
                    <a:pt x="20865" y="17762"/>
                    <a:pt x="21022" y="17542"/>
                  </a:cubicBezTo>
                  <a:cubicBezTo>
                    <a:pt x="21166" y="17319"/>
                    <a:pt x="21380" y="16952"/>
                    <a:pt x="21466" y="16716"/>
                  </a:cubicBezTo>
                  <a:cubicBezTo>
                    <a:pt x="21553" y="16481"/>
                    <a:pt x="21586" y="16200"/>
                    <a:pt x="21527" y="16090"/>
                  </a:cubicBezTo>
                  <a:cubicBezTo>
                    <a:pt x="21466" y="15981"/>
                    <a:pt x="21218" y="15718"/>
                    <a:pt x="20952" y="15522"/>
                  </a:cubicBezTo>
                  <a:cubicBezTo>
                    <a:pt x="20693" y="15320"/>
                    <a:pt x="20365" y="15120"/>
                    <a:pt x="20228" y="15071"/>
                  </a:cubicBezTo>
                  <a:cubicBezTo>
                    <a:pt x="20089" y="15025"/>
                    <a:pt x="19743" y="14776"/>
                    <a:pt x="19455" y="14523"/>
                  </a:cubicBezTo>
                  <a:cubicBezTo>
                    <a:pt x="19168" y="14269"/>
                    <a:pt x="18950" y="13982"/>
                    <a:pt x="18966" y="13885"/>
                  </a:cubicBezTo>
                  <a:cubicBezTo>
                    <a:pt x="18983" y="13788"/>
                    <a:pt x="19059" y="13646"/>
                    <a:pt x="19134" y="13569"/>
                  </a:cubicBezTo>
                  <a:cubicBezTo>
                    <a:pt x="19207" y="13490"/>
                    <a:pt x="19249" y="13343"/>
                    <a:pt x="19208" y="13243"/>
                  </a:cubicBezTo>
                  <a:cubicBezTo>
                    <a:pt x="19174" y="13140"/>
                    <a:pt x="19004" y="12986"/>
                    <a:pt x="18836" y="12892"/>
                  </a:cubicBezTo>
                  <a:cubicBezTo>
                    <a:pt x="18661" y="12806"/>
                    <a:pt x="18462" y="12661"/>
                    <a:pt x="18393" y="12573"/>
                  </a:cubicBezTo>
                  <a:cubicBezTo>
                    <a:pt x="18323" y="12486"/>
                    <a:pt x="18236" y="12314"/>
                    <a:pt x="18193" y="12189"/>
                  </a:cubicBezTo>
                  <a:cubicBezTo>
                    <a:pt x="18151" y="12066"/>
                    <a:pt x="18153" y="11939"/>
                    <a:pt x="18187" y="11915"/>
                  </a:cubicBezTo>
                  <a:cubicBezTo>
                    <a:pt x="18216" y="11886"/>
                    <a:pt x="18199" y="11810"/>
                    <a:pt x="18140" y="11742"/>
                  </a:cubicBezTo>
                  <a:cubicBezTo>
                    <a:pt x="18083" y="11673"/>
                    <a:pt x="17931" y="11591"/>
                    <a:pt x="17801" y="11563"/>
                  </a:cubicBezTo>
                  <a:cubicBezTo>
                    <a:pt x="17673" y="11534"/>
                    <a:pt x="17507" y="11454"/>
                    <a:pt x="17427" y="11392"/>
                  </a:cubicBezTo>
                  <a:cubicBezTo>
                    <a:pt x="17346" y="11328"/>
                    <a:pt x="17261" y="11185"/>
                    <a:pt x="17235" y="11074"/>
                  </a:cubicBezTo>
                  <a:cubicBezTo>
                    <a:pt x="17209" y="10964"/>
                    <a:pt x="17242" y="10838"/>
                    <a:pt x="17288" y="10780"/>
                  </a:cubicBezTo>
                  <a:cubicBezTo>
                    <a:pt x="17346" y="10731"/>
                    <a:pt x="17304" y="10663"/>
                    <a:pt x="17200" y="10634"/>
                  </a:cubicBezTo>
                  <a:cubicBezTo>
                    <a:pt x="17097" y="10605"/>
                    <a:pt x="17001" y="10533"/>
                    <a:pt x="16983" y="10475"/>
                  </a:cubicBezTo>
                  <a:cubicBezTo>
                    <a:pt x="16973" y="10416"/>
                    <a:pt x="16926" y="10198"/>
                    <a:pt x="16899" y="9986"/>
                  </a:cubicBezTo>
                  <a:cubicBezTo>
                    <a:pt x="16874" y="9775"/>
                    <a:pt x="16916" y="9601"/>
                    <a:pt x="17005" y="9599"/>
                  </a:cubicBezTo>
                  <a:cubicBezTo>
                    <a:pt x="17092" y="9596"/>
                    <a:pt x="16913" y="9292"/>
                    <a:pt x="16603" y="8927"/>
                  </a:cubicBezTo>
                  <a:cubicBezTo>
                    <a:pt x="16294" y="8562"/>
                    <a:pt x="15824" y="8044"/>
                    <a:pt x="15557" y="7774"/>
                  </a:cubicBezTo>
                  <a:cubicBezTo>
                    <a:pt x="15291" y="7505"/>
                    <a:pt x="15021" y="7207"/>
                    <a:pt x="14952" y="7114"/>
                  </a:cubicBezTo>
                  <a:cubicBezTo>
                    <a:pt x="14897" y="7014"/>
                    <a:pt x="14716" y="6862"/>
                    <a:pt x="14577" y="6764"/>
                  </a:cubicBezTo>
                  <a:cubicBezTo>
                    <a:pt x="14437" y="6667"/>
                    <a:pt x="14365" y="6475"/>
                    <a:pt x="14407" y="6335"/>
                  </a:cubicBezTo>
                  <a:cubicBezTo>
                    <a:pt x="14441" y="6194"/>
                    <a:pt x="14544" y="6006"/>
                    <a:pt x="14627" y="5921"/>
                  </a:cubicBezTo>
                  <a:cubicBezTo>
                    <a:pt x="14698" y="5831"/>
                    <a:pt x="14778" y="5690"/>
                    <a:pt x="14804" y="5605"/>
                  </a:cubicBezTo>
                  <a:cubicBezTo>
                    <a:pt x="14831" y="5520"/>
                    <a:pt x="14792" y="5411"/>
                    <a:pt x="14720" y="5370"/>
                  </a:cubicBezTo>
                  <a:cubicBezTo>
                    <a:pt x="14650" y="5325"/>
                    <a:pt x="14388" y="5192"/>
                    <a:pt x="14136" y="5075"/>
                  </a:cubicBezTo>
                  <a:cubicBezTo>
                    <a:pt x="13887" y="4954"/>
                    <a:pt x="13635" y="4809"/>
                    <a:pt x="13582" y="4746"/>
                  </a:cubicBezTo>
                  <a:cubicBezTo>
                    <a:pt x="13525" y="4685"/>
                    <a:pt x="13406" y="4566"/>
                    <a:pt x="13311" y="4486"/>
                  </a:cubicBezTo>
                  <a:cubicBezTo>
                    <a:pt x="13215" y="4407"/>
                    <a:pt x="13016" y="4289"/>
                    <a:pt x="12868" y="4223"/>
                  </a:cubicBezTo>
                  <a:cubicBezTo>
                    <a:pt x="12718" y="4163"/>
                    <a:pt x="12540" y="4094"/>
                    <a:pt x="12470" y="4080"/>
                  </a:cubicBezTo>
                  <a:cubicBezTo>
                    <a:pt x="12402" y="4059"/>
                    <a:pt x="12243" y="3929"/>
                    <a:pt x="12119" y="3781"/>
                  </a:cubicBezTo>
                  <a:cubicBezTo>
                    <a:pt x="11992" y="3635"/>
                    <a:pt x="11830" y="3462"/>
                    <a:pt x="11749" y="3403"/>
                  </a:cubicBezTo>
                  <a:cubicBezTo>
                    <a:pt x="11671" y="3342"/>
                    <a:pt x="11599" y="3216"/>
                    <a:pt x="11618" y="3119"/>
                  </a:cubicBezTo>
                  <a:cubicBezTo>
                    <a:pt x="11626" y="3021"/>
                    <a:pt x="11637" y="2879"/>
                    <a:pt x="11637" y="2802"/>
                  </a:cubicBezTo>
                  <a:cubicBezTo>
                    <a:pt x="11637" y="2724"/>
                    <a:pt x="11572" y="2636"/>
                    <a:pt x="11486" y="2614"/>
                  </a:cubicBezTo>
                  <a:cubicBezTo>
                    <a:pt x="11403" y="2584"/>
                    <a:pt x="11391" y="2545"/>
                    <a:pt x="11463" y="2524"/>
                  </a:cubicBezTo>
                  <a:cubicBezTo>
                    <a:pt x="11532" y="2494"/>
                    <a:pt x="11696" y="2470"/>
                    <a:pt x="11820" y="2455"/>
                  </a:cubicBezTo>
                  <a:cubicBezTo>
                    <a:pt x="11944" y="2445"/>
                    <a:pt x="11995" y="2328"/>
                    <a:pt x="11952" y="2201"/>
                  </a:cubicBezTo>
                  <a:cubicBezTo>
                    <a:pt x="11951" y="2200"/>
                    <a:pt x="11951" y="2198"/>
                    <a:pt x="11950" y="2197"/>
                  </a:cubicBezTo>
                  <a:cubicBezTo>
                    <a:pt x="11950" y="2196"/>
                    <a:pt x="11950" y="2196"/>
                    <a:pt x="11950" y="2196"/>
                  </a:cubicBezTo>
                  <a:cubicBezTo>
                    <a:pt x="11905" y="2072"/>
                    <a:pt x="11910" y="1913"/>
                    <a:pt x="11979" y="1844"/>
                  </a:cubicBezTo>
                  <a:cubicBezTo>
                    <a:pt x="12045" y="1774"/>
                    <a:pt x="12098" y="1668"/>
                    <a:pt x="12098" y="1609"/>
                  </a:cubicBezTo>
                  <a:cubicBezTo>
                    <a:pt x="12089" y="1552"/>
                    <a:pt x="12004" y="1441"/>
                    <a:pt x="11887" y="1368"/>
                  </a:cubicBezTo>
                  <a:cubicBezTo>
                    <a:pt x="11771" y="1298"/>
                    <a:pt x="11647" y="1191"/>
                    <a:pt x="11602" y="1141"/>
                  </a:cubicBezTo>
                  <a:cubicBezTo>
                    <a:pt x="11568" y="1087"/>
                    <a:pt x="11391" y="1019"/>
                    <a:pt x="11222" y="990"/>
                  </a:cubicBezTo>
                  <a:cubicBezTo>
                    <a:pt x="11055" y="957"/>
                    <a:pt x="10825" y="903"/>
                    <a:pt x="10710" y="866"/>
                  </a:cubicBezTo>
                  <a:cubicBezTo>
                    <a:pt x="10599" y="823"/>
                    <a:pt x="10432" y="761"/>
                    <a:pt x="10354" y="706"/>
                  </a:cubicBezTo>
                  <a:cubicBezTo>
                    <a:pt x="10274" y="655"/>
                    <a:pt x="10082" y="533"/>
                    <a:pt x="9943" y="424"/>
                  </a:cubicBezTo>
                  <a:cubicBezTo>
                    <a:pt x="9801" y="318"/>
                    <a:pt x="9596" y="195"/>
                    <a:pt x="9492" y="145"/>
                  </a:cubicBezTo>
                  <a:cubicBezTo>
                    <a:pt x="9392" y="94"/>
                    <a:pt x="9133" y="34"/>
                    <a:pt x="8921" y="12"/>
                  </a:cubicBezTo>
                  <a:cubicBezTo>
                    <a:pt x="8710" y="-11"/>
                    <a:pt x="8477" y="-1"/>
                    <a:pt x="8411" y="44"/>
                  </a:cubicBezTo>
                  <a:cubicBezTo>
                    <a:pt x="8343" y="87"/>
                    <a:pt x="8289" y="145"/>
                    <a:pt x="8309" y="167"/>
                  </a:cubicBezTo>
                  <a:cubicBezTo>
                    <a:pt x="8326" y="192"/>
                    <a:pt x="8275" y="213"/>
                    <a:pt x="8202" y="216"/>
                  </a:cubicBezTo>
                  <a:cubicBezTo>
                    <a:pt x="8129" y="216"/>
                    <a:pt x="7958" y="194"/>
                    <a:pt x="7826" y="163"/>
                  </a:cubicBezTo>
                  <a:cubicBezTo>
                    <a:pt x="7692" y="131"/>
                    <a:pt x="7502" y="125"/>
                    <a:pt x="7404" y="135"/>
                  </a:cubicBezTo>
                  <a:cubicBezTo>
                    <a:pt x="7306" y="149"/>
                    <a:pt x="7232" y="191"/>
                    <a:pt x="7253" y="223"/>
                  </a:cubicBezTo>
                  <a:cubicBezTo>
                    <a:pt x="7270" y="257"/>
                    <a:pt x="7227" y="327"/>
                    <a:pt x="7167" y="383"/>
                  </a:cubicBezTo>
                  <a:cubicBezTo>
                    <a:pt x="7100" y="434"/>
                    <a:pt x="7006" y="489"/>
                    <a:pt x="6954" y="506"/>
                  </a:cubicBezTo>
                  <a:cubicBezTo>
                    <a:pt x="6904" y="525"/>
                    <a:pt x="6906" y="572"/>
                    <a:pt x="6964" y="623"/>
                  </a:cubicBezTo>
                  <a:cubicBezTo>
                    <a:pt x="7027" y="669"/>
                    <a:pt x="7058" y="750"/>
                    <a:pt x="7032" y="791"/>
                  </a:cubicBezTo>
                  <a:cubicBezTo>
                    <a:pt x="7015" y="835"/>
                    <a:pt x="7006" y="989"/>
                    <a:pt x="7015" y="1137"/>
                  </a:cubicBezTo>
                  <a:cubicBezTo>
                    <a:pt x="7024" y="1285"/>
                    <a:pt x="7093" y="1485"/>
                    <a:pt x="7163" y="1580"/>
                  </a:cubicBezTo>
                  <a:cubicBezTo>
                    <a:pt x="7238" y="1673"/>
                    <a:pt x="7333" y="1798"/>
                    <a:pt x="7379" y="1855"/>
                  </a:cubicBezTo>
                  <a:cubicBezTo>
                    <a:pt x="7430" y="1910"/>
                    <a:pt x="7453" y="1990"/>
                    <a:pt x="7419" y="2019"/>
                  </a:cubicBezTo>
                  <a:cubicBezTo>
                    <a:pt x="7395" y="2056"/>
                    <a:pt x="7304" y="2103"/>
                    <a:pt x="7225" y="2127"/>
                  </a:cubicBezTo>
                  <a:cubicBezTo>
                    <a:pt x="7146" y="2153"/>
                    <a:pt x="7007" y="2158"/>
                    <a:pt x="6918" y="2145"/>
                  </a:cubicBezTo>
                  <a:cubicBezTo>
                    <a:pt x="6830" y="2127"/>
                    <a:pt x="6697" y="2146"/>
                    <a:pt x="6629" y="2185"/>
                  </a:cubicBezTo>
                  <a:cubicBezTo>
                    <a:pt x="6558" y="2219"/>
                    <a:pt x="6451" y="2260"/>
                    <a:pt x="6392" y="2277"/>
                  </a:cubicBezTo>
                  <a:cubicBezTo>
                    <a:pt x="6330" y="2290"/>
                    <a:pt x="6241" y="2349"/>
                    <a:pt x="6200" y="2409"/>
                  </a:cubicBezTo>
                  <a:cubicBezTo>
                    <a:pt x="6163" y="2471"/>
                    <a:pt x="6026" y="2494"/>
                    <a:pt x="5909" y="2473"/>
                  </a:cubicBezTo>
                  <a:cubicBezTo>
                    <a:pt x="5793" y="2448"/>
                    <a:pt x="5544" y="2358"/>
                    <a:pt x="5357" y="2269"/>
                  </a:cubicBezTo>
                  <a:cubicBezTo>
                    <a:pt x="5170" y="2183"/>
                    <a:pt x="4930" y="2099"/>
                    <a:pt x="4823" y="2084"/>
                  </a:cubicBezTo>
                  <a:cubicBezTo>
                    <a:pt x="4716" y="2069"/>
                    <a:pt x="4576" y="2086"/>
                    <a:pt x="4517" y="2124"/>
                  </a:cubicBezTo>
                  <a:cubicBezTo>
                    <a:pt x="4458" y="2161"/>
                    <a:pt x="4309" y="2228"/>
                    <a:pt x="4208" y="2295"/>
                  </a:cubicBezTo>
                  <a:cubicBezTo>
                    <a:pt x="4097" y="2352"/>
                    <a:pt x="3809" y="2375"/>
                    <a:pt x="3567" y="2347"/>
                  </a:cubicBezTo>
                  <a:cubicBezTo>
                    <a:pt x="3322" y="2317"/>
                    <a:pt x="2998" y="2253"/>
                    <a:pt x="2846" y="2202"/>
                  </a:cubicBezTo>
                  <a:cubicBezTo>
                    <a:pt x="2693" y="2150"/>
                    <a:pt x="2483" y="2056"/>
                    <a:pt x="2391" y="1977"/>
                  </a:cubicBezTo>
                  <a:cubicBezTo>
                    <a:pt x="2293" y="1905"/>
                    <a:pt x="2176" y="1785"/>
                    <a:pt x="2116" y="1720"/>
                  </a:cubicBezTo>
                  <a:cubicBezTo>
                    <a:pt x="2063" y="1652"/>
                    <a:pt x="1819" y="1492"/>
                    <a:pt x="1576" y="1367"/>
                  </a:cubicBezTo>
                  <a:cubicBezTo>
                    <a:pt x="1339" y="1234"/>
                    <a:pt x="1054" y="1080"/>
                    <a:pt x="966" y="1002"/>
                  </a:cubicBezTo>
                  <a:cubicBezTo>
                    <a:pt x="871" y="930"/>
                    <a:pt x="716" y="850"/>
                    <a:pt x="617" y="834"/>
                  </a:cubicBezTo>
                  <a:cubicBezTo>
                    <a:pt x="521" y="810"/>
                    <a:pt x="380" y="816"/>
                    <a:pt x="322" y="850"/>
                  </a:cubicBezTo>
                  <a:cubicBezTo>
                    <a:pt x="257" y="874"/>
                    <a:pt x="201" y="941"/>
                    <a:pt x="192" y="990"/>
                  </a:cubicBezTo>
                  <a:cubicBezTo>
                    <a:pt x="192" y="1041"/>
                    <a:pt x="215" y="1119"/>
                    <a:pt x="250" y="1169"/>
                  </a:cubicBezTo>
                  <a:cubicBezTo>
                    <a:pt x="283" y="1220"/>
                    <a:pt x="290" y="1259"/>
                    <a:pt x="263" y="1275"/>
                  </a:cubicBezTo>
                  <a:cubicBezTo>
                    <a:pt x="228" y="1279"/>
                    <a:pt x="165" y="1279"/>
                    <a:pt x="119" y="1262"/>
                  </a:cubicBezTo>
                  <a:cubicBezTo>
                    <a:pt x="74" y="1242"/>
                    <a:pt x="24" y="1248"/>
                    <a:pt x="2" y="1261"/>
                  </a:cubicBezTo>
                  <a:cubicBezTo>
                    <a:pt x="-14" y="1277"/>
                    <a:pt x="52" y="1344"/>
                    <a:pt x="148" y="1413"/>
                  </a:cubicBezTo>
                  <a:cubicBezTo>
                    <a:pt x="149" y="1413"/>
                    <a:pt x="149" y="1413"/>
                    <a:pt x="149" y="1413"/>
                  </a:cubicBezTo>
                  <a:cubicBezTo>
                    <a:pt x="249" y="1481"/>
                    <a:pt x="446" y="1577"/>
                    <a:pt x="586" y="1631"/>
                  </a:cubicBezTo>
                  <a:cubicBezTo>
                    <a:pt x="733" y="1680"/>
                    <a:pt x="1023" y="1840"/>
                    <a:pt x="1229" y="1987"/>
                  </a:cubicBezTo>
                  <a:cubicBezTo>
                    <a:pt x="1439" y="2130"/>
                    <a:pt x="1734" y="2303"/>
                    <a:pt x="1880" y="2380"/>
                  </a:cubicBezTo>
                  <a:cubicBezTo>
                    <a:pt x="2027" y="2453"/>
                    <a:pt x="2315" y="2541"/>
                    <a:pt x="2519" y="2566"/>
                  </a:cubicBezTo>
                  <a:cubicBezTo>
                    <a:pt x="2723" y="2596"/>
                    <a:pt x="2960" y="2649"/>
                    <a:pt x="3043" y="2687"/>
                  </a:cubicBezTo>
                  <a:cubicBezTo>
                    <a:pt x="3130" y="2720"/>
                    <a:pt x="3258" y="2769"/>
                    <a:pt x="3331" y="2787"/>
                  </a:cubicBezTo>
                  <a:cubicBezTo>
                    <a:pt x="3403" y="2807"/>
                    <a:pt x="3561" y="2882"/>
                    <a:pt x="3674" y="2964"/>
                  </a:cubicBezTo>
                  <a:cubicBezTo>
                    <a:pt x="3795" y="3039"/>
                    <a:pt x="3925" y="3159"/>
                    <a:pt x="3976" y="3220"/>
                  </a:cubicBezTo>
                  <a:cubicBezTo>
                    <a:pt x="4028" y="3281"/>
                    <a:pt x="4106" y="3335"/>
                    <a:pt x="4150" y="3349"/>
                  </a:cubicBezTo>
                  <a:cubicBezTo>
                    <a:pt x="4198" y="3354"/>
                    <a:pt x="4264" y="3364"/>
                    <a:pt x="4299" y="3360"/>
                  </a:cubicBezTo>
                  <a:cubicBezTo>
                    <a:pt x="4335" y="3360"/>
                    <a:pt x="4448" y="3425"/>
                    <a:pt x="4555" y="3506"/>
                  </a:cubicBezTo>
                  <a:cubicBezTo>
                    <a:pt x="4659" y="3591"/>
                    <a:pt x="4806" y="3669"/>
                    <a:pt x="4878" y="3679"/>
                  </a:cubicBezTo>
                  <a:cubicBezTo>
                    <a:pt x="4951" y="3691"/>
                    <a:pt x="5054" y="3744"/>
                    <a:pt x="5115" y="3791"/>
                  </a:cubicBezTo>
                  <a:cubicBezTo>
                    <a:pt x="5173" y="3842"/>
                    <a:pt x="5201" y="3924"/>
                    <a:pt x="5175" y="3976"/>
                  </a:cubicBezTo>
                  <a:cubicBezTo>
                    <a:pt x="5143" y="4026"/>
                    <a:pt x="5172" y="4146"/>
                    <a:pt x="5216" y="4240"/>
                  </a:cubicBezTo>
                  <a:cubicBezTo>
                    <a:pt x="5267" y="4332"/>
                    <a:pt x="5270" y="4462"/>
                    <a:pt x="5245" y="4530"/>
                  </a:cubicBezTo>
                  <a:cubicBezTo>
                    <a:pt x="5209" y="4595"/>
                    <a:pt x="5208" y="4703"/>
                    <a:pt x="5234" y="4767"/>
                  </a:cubicBezTo>
                  <a:cubicBezTo>
                    <a:pt x="5267" y="4828"/>
                    <a:pt x="5391" y="4903"/>
                    <a:pt x="5529" y="4919"/>
                  </a:cubicBezTo>
                  <a:cubicBezTo>
                    <a:pt x="5668" y="4938"/>
                    <a:pt x="5823" y="5017"/>
                    <a:pt x="5868" y="5095"/>
                  </a:cubicBezTo>
                  <a:cubicBezTo>
                    <a:pt x="5903" y="5176"/>
                    <a:pt x="5926" y="5271"/>
                    <a:pt x="5884" y="5310"/>
                  </a:cubicBezTo>
                  <a:cubicBezTo>
                    <a:pt x="5841" y="5349"/>
                    <a:pt x="5854" y="5456"/>
                    <a:pt x="5879" y="5548"/>
                  </a:cubicBezTo>
                  <a:cubicBezTo>
                    <a:pt x="5915" y="5636"/>
                    <a:pt x="6001" y="5756"/>
                    <a:pt x="6069" y="5815"/>
                  </a:cubicBezTo>
                  <a:cubicBezTo>
                    <a:pt x="6128" y="5880"/>
                    <a:pt x="6237" y="6019"/>
                    <a:pt x="6302" y="6136"/>
                  </a:cubicBezTo>
                  <a:cubicBezTo>
                    <a:pt x="6369" y="6252"/>
                    <a:pt x="6392" y="6392"/>
                    <a:pt x="6382" y="6443"/>
                  </a:cubicBezTo>
                  <a:cubicBezTo>
                    <a:pt x="6361" y="6491"/>
                    <a:pt x="6381" y="6577"/>
                    <a:pt x="6415" y="6628"/>
                  </a:cubicBezTo>
                  <a:cubicBezTo>
                    <a:pt x="6447" y="6678"/>
                    <a:pt x="6496" y="6823"/>
                    <a:pt x="6521" y="6949"/>
                  </a:cubicBezTo>
                  <a:cubicBezTo>
                    <a:pt x="6547" y="7075"/>
                    <a:pt x="6553" y="7215"/>
                    <a:pt x="6527" y="7258"/>
                  </a:cubicBezTo>
                  <a:cubicBezTo>
                    <a:pt x="6508" y="7303"/>
                    <a:pt x="6539" y="7419"/>
                    <a:pt x="6614" y="7517"/>
                  </a:cubicBezTo>
                  <a:cubicBezTo>
                    <a:pt x="6691" y="7614"/>
                    <a:pt x="6829" y="7726"/>
                    <a:pt x="6932" y="7756"/>
                  </a:cubicBezTo>
                  <a:cubicBezTo>
                    <a:pt x="7032" y="7791"/>
                    <a:pt x="7214" y="7918"/>
                    <a:pt x="7328" y="8049"/>
                  </a:cubicBezTo>
                  <a:cubicBezTo>
                    <a:pt x="7449" y="8176"/>
                    <a:pt x="7594" y="8324"/>
                    <a:pt x="7661" y="8370"/>
                  </a:cubicBezTo>
                  <a:cubicBezTo>
                    <a:pt x="7729" y="8413"/>
                    <a:pt x="7782" y="8513"/>
                    <a:pt x="7798" y="8583"/>
                  </a:cubicBezTo>
                  <a:cubicBezTo>
                    <a:pt x="7807" y="8655"/>
                    <a:pt x="7849" y="8736"/>
                    <a:pt x="7890" y="8764"/>
                  </a:cubicBezTo>
                  <a:cubicBezTo>
                    <a:pt x="7932" y="8791"/>
                    <a:pt x="8046" y="8827"/>
                    <a:pt x="8146" y="8840"/>
                  </a:cubicBezTo>
                  <a:cubicBezTo>
                    <a:pt x="8244" y="8857"/>
                    <a:pt x="8414" y="8924"/>
                    <a:pt x="8523" y="8996"/>
                  </a:cubicBezTo>
                  <a:cubicBezTo>
                    <a:pt x="8633" y="9067"/>
                    <a:pt x="8881" y="9147"/>
                    <a:pt x="9079" y="9167"/>
                  </a:cubicBezTo>
                  <a:cubicBezTo>
                    <a:pt x="9276" y="9188"/>
                    <a:pt x="9559" y="9289"/>
                    <a:pt x="9714" y="9384"/>
                  </a:cubicBezTo>
                  <a:cubicBezTo>
                    <a:pt x="9865" y="9480"/>
                    <a:pt x="9932" y="9576"/>
                    <a:pt x="9861" y="9587"/>
                  </a:cubicBezTo>
                  <a:cubicBezTo>
                    <a:pt x="9791" y="9602"/>
                    <a:pt x="9780" y="9661"/>
                    <a:pt x="9845" y="9707"/>
                  </a:cubicBezTo>
                  <a:cubicBezTo>
                    <a:pt x="9906" y="9757"/>
                    <a:pt x="9968" y="9886"/>
                    <a:pt x="10009" y="9985"/>
                  </a:cubicBezTo>
                  <a:cubicBezTo>
                    <a:pt x="10036" y="10088"/>
                    <a:pt x="10038" y="10188"/>
                    <a:pt x="10004" y="10202"/>
                  </a:cubicBezTo>
                  <a:cubicBezTo>
                    <a:pt x="9972" y="10216"/>
                    <a:pt x="10089" y="10325"/>
                    <a:pt x="10270" y="10434"/>
                  </a:cubicBezTo>
                  <a:cubicBezTo>
                    <a:pt x="10443" y="10552"/>
                    <a:pt x="10498" y="10614"/>
                    <a:pt x="10380" y="10586"/>
                  </a:cubicBezTo>
                  <a:cubicBezTo>
                    <a:pt x="10260" y="10563"/>
                    <a:pt x="10132" y="10544"/>
                    <a:pt x="10090" y="10546"/>
                  </a:cubicBezTo>
                  <a:cubicBezTo>
                    <a:pt x="10048" y="10549"/>
                    <a:pt x="10136" y="10627"/>
                    <a:pt x="10287" y="10712"/>
                  </a:cubicBezTo>
                  <a:cubicBezTo>
                    <a:pt x="10440" y="10795"/>
                    <a:pt x="10572" y="10903"/>
                    <a:pt x="10582" y="10944"/>
                  </a:cubicBezTo>
                  <a:cubicBezTo>
                    <a:pt x="10591" y="10986"/>
                    <a:pt x="10465" y="10960"/>
                    <a:pt x="10295" y="10886"/>
                  </a:cubicBezTo>
                  <a:cubicBezTo>
                    <a:pt x="10123" y="10816"/>
                    <a:pt x="9881" y="10738"/>
                    <a:pt x="9748" y="10731"/>
                  </a:cubicBezTo>
                  <a:cubicBezTo>
                    <a:pt x="9618" y="10718"/>
                    <a:pt x="9407" y="10748"/>
                    <a:pt x="9281" y="10791"/>
                  </a:cubicBezTo>
                  <a:cubicBezTo>
                    <a:pt x="9155" y="10837"/>
                    <a:pt x="9067" y="10915"/>
                    <a:pt x="9076" y="10970"/>
                  </a:cubicBezTo>
                  <a:cubicBezTo>
                    <a:pt x="9084" y="11026"/>
                    <a:pt x="9033" y="11112"/>
                    <a:pt x="8952" y="11168"/>
                  </a:cubicBezTo>
                  <a:cubicBezTo>
                    <a:pt x="8871" y="11225"/>
                    <a:pt x="8802" y="11307"/>
                    <a:pt x="8818" y="11352"/>
                  </a:cubicBezTo>
                  <a:cubicBezTo>
                    <a:pt x="8818" y="11399"/>
                    <a:pt x="8799" y="11446"/>
                    <a:pt x="8762" y="11466"/>
                  </a:cubicBezTo>
                  <a:cubicBezTo>
                    <a:pt x="8722" y="11481"/>
                    <a:pt x="8575" y="11574"/>
                    <a:pt x="8430" y="11668"/>
                  </a:cubicBezTo>
                  <a:cubicBezTo>
                    <a:pt x="8286" y="11761"/>
                    <a:pt x="8167" y="11931"/>
                    <a:pt x="8167" y="12040"/>
                  </a:cubicBezTo>
                  <a:cubicBezTo>
                    <a:pt x="8158" y="12150"/>
                    <a:pt x="8132" y="12244"/>
                    <a:pt x="8093" y="12247"/>
                  </a:cubicBezTo>
                  <a:cubicBezTo>
                    <a:pt x="8053" y="12249"/>
                    <a:pt x="7986" y="12229"/>
                    <a:pt x="7959" y="12187"/>
                  </a:cubicBezTo>
                  <a:cubicBezTo>
                    <a:pt x="7921" y="12153"/>
                    <a:pt x="7858" y="12121"/>
                    <a:pt x="7811" y="12121"/>
                  </a:cubicBezTo>
                  <a:cubicBezTo>
                    <a:pt x="7764" y="12119"/>
                    <a:pt x="7769" y="12179"/>
                    <a:pt x="7813" y="12252"/>
                  </a:cubicBezTo>
                  <a:cubicBezTo>
                    <a:pt x="7864" y="12323"/>
                    <a:pt x="7896" y="12426"/>
                    <a:pt x="7877" y="12478"/>
                  </a:cubicBezTo>
                  <a:cubicBezTo>
                    <a:pt x="7861" y="12531"/>
                    <a:pt x="7766" y="12571"/>
                    <a:pt x="7658" y="12569"/>
                  </a:cubicBezTo>
                  <a:cubicBezTo>
                    <a:pt x="7551" y="12567"/>
                    <a:pt x="7427" y="12613"/>
                    <a:pt x="7364" y="12657"/>
                  </a:cubicBezTo>
                  <a:cubicBezTo>
                    <a:pt x="7311" y="12709"/>
                    <a:pt x="7306" y="12824"/>
                    <a:pt x="7348" y="12915"/>
                  </a:cubicBezTo>
                  <a:cubicBezTo>
                    <a:pt x="7392" y="13005"/>
                    <a:pt x="7496" y="13108"/>
                    <a:pt x="7573" y="13155"/>
                  </a:cubicBezTo>
                  <a:cubicBezTo>
                    <a:pt x="7650" y="13200"/>
                    <a:pt x="7604" y="13202"/>
                    <a:pt x="7472" y="13159"/>
                  </a:cubicBezTo>
                  <a:cubicBezTo>
                    <a:pt x="7338" y="13121"/>
                    <a:pt x="7199" y="13053"/>
                    <a:pt x="7152" y="13024"/>
                  </a:cubicBezTo>
                  <a:cubicBezTo>
                    <a:pt x="7110" y="12988"/>
                    <a:pt x="7017" y="12966"/>
                    <a:pt x="6949" y="12980"/>
                  </a:cubicBezTo>
                  <a:cubicBezTo>
                    <a:pt x="6878" y="12991"/>
                    <a:pt x="6806" y="13060"/>
                    <a:pt x="6772" y="13129"/>
                  </a:cubicBezTo>
                  <a:cubicBezTo>
                    <a:pt x="6745" y="13199"/>
                    <a:pt x="6738" y="13288"/>
                    <a:pt x="6764" y="13323"/>
                  </a:cubicBezTo>
                  <a:cubicBezTo>
                    <a:pt x="6779" y="13361"/>
                    <a:pt x="6743" y="13365"/>
                    <a:pt x="6666" y="13337"/>
                  </a:cubicBezTo>
                  <a:cubicBezTo>
                    <a:pt x="6590" y="13305"/>
                    <a:pt x="6509" y="13308"/>
                    <a:pt x="6483" y="13329"/>
                  </a:cubicBezTo>
                  <a:cubicBezTo>
                    <a:pt x="6465" y="13356"/>
                    <a:pt x="6513" y="13411"/>
                    <a:pt x="6587" y="13472"/>
                  </a:cubicBezTo>
                  <a:cubicBezTo>
                    <a:pt x="6673" y="13522"/>
                    <a:pt x="6741" y="13598"/>
                    <a:pt x="6750" y="13632"/>
                  </a:cubicBezTo>
                  <a:cubicBezTo>
                    <a:pt x="6750" y="13666"/>
                    <a:pt x="6717" y="13725"/>
                    <a:pt x="6662" y="13764"/>
                  </a:cubicBezTo>
                  <a:cubicBezTo>
                    <a:pt x="6602" y="13800"/>
                    <a:pt x="6540" y="13866"/>
                    <a:pt x="6516" y="13903"/>
                  </a:cubicBezTo>
                  <a:cubicBezTo>
                    <a:pt x="6498" y="13942"/>
                    <a:pt x="6400" y="13995"/>
                    <a:pt x="6313" y="14027"/>
                  </a:cubicBezTo>
                  <a:cubicBezTo>
                    <a:pt x="6224" y="14059"/>
                    <a:pt x="6110" y="14055"/>
                    <a:pt x="6050" y="14031"/>
                  </a:cubicBezTo>
                  <a:cubicBezTo>
                    <a:pt x="5998" y="13999"/>
                    <a:pt x="5940" y="13955"/>
                    <a:pt x="5920" y="13930"/>
                  </a:cubicBezTo>
                  <a:cubicBezTo>
                    <a:pt x="5903" y="13904"/>
                    <a:pt x="5831" y="13860"/>
                    <a:pt x="5756" y="13843"/>
                  </a:cubicBezTo>
                  <a:cubicBezTo>
                    <a:pt x="5682" y="13823"/>
                    <a:pt x="5564" y="13811"/>
                    <a:pt x="5494" y="13824"/>
                  </a:cubicBezTo>
                  <a:cubicBezTo>
                    <a:pt x="5426" y="13841"/>
                    <a:pt x="5391" y="13900"/>
                    <a:pt x="5434" y="13964"/>
                  </a:cubicBezTo>
                  <a:cubicBezTo>
                    <a:pt x="5476" y="14029"/>
                    <a:pt x="5455" y="14106"/>
                    <a:pt x="5401" y="14136"/>
                  </a:cubicBezTo>
                  <a:cubicBezTo>
                    <a:pt x="5347" y="14164"/>
                    <a:pt x="5350" y="14244"/>
                    <a:pt x="5401" y="14317"/>
                  </a:cubicBezTo>
                  <a:cubicBezTo>
                    <a:pt x="5452" y="14389"/>
                    <a:pt x="5477" y="14498"/>
                    <a:pt x="5445" y="14560"/>
                  </a:cubicBezTo>
                  <a:cubicBezTo>
                    <a:pt x="5411" y="14620"/>
                    <a:pt x="5352" y="14676"/>
                    <a:pt x="5302" y="14679"/>
                  </a:cubicBezTo>
                  <a:cubicBezTo>
                    <a:pt x="5251" y="14682"/>
                    <a:pt x="5178" y="14732"/>
                    <a:pt x="5134" y="14786"/>
                  </a:cubicBezTo>
                  <a:cubicBezTo>
                    <a:pt x="5088" y="14839"/>
                    <a:pt x="5092" y="14950"/>
                    <a:pt x="5151" y="15023"/>
                  </a:cubicBezTo>
                  <a:cubicBezTo>
                    <a:pt x="5204" y="15098"/>
                    <a:pt x="5271" y="15176"/>
                    <a:pt x="5303" y="15192"/>
                  </a:cubicBezTo>
                  <a:cubicBezTo>
                    <a:pt x="5335" y="15208"/>
                    <a:pt x="5348" y="15280"/>
                    <a:pt x="5322" y="15347"/>
                  </a:cubicBezTo>
                  <a:cubicBezTo>
                    <a:pt x="5314" y="15417"/>
                    <a:pt x="5308" y="15511"/>
                    <a:pt x="5335" y="15561"/>
                  </a:cubicBezTo>
                  <a:cubicBezTo>
                    <a:pt x="5354" y="15613"/>
                    <a:pt x="5442" y="15641"/>
                    <a:pt x="5508" y="15623"/>
                  </a:cubicBezTo>
                  <a:cubicBezTo>
                    <a:pt x="5574" y="15607"/>
                    <a:pt x="5684" y="15628"/>
                    <a:pt x="5744" y="15678"/>
                  </a:cubicBezTo>
                  <a:cubicBezTo>
                    <a:pt x="5808" y="15726"/>
                    <a:pt x="5853" y="15824"/>
                    <a:pt x="5853" y="15901"/>
                  </a:cubicBezTo>
                  <a:cubicBezTo>
                    <a:pt x="5845" y="15977"/>
                    <a:pt x="5827" y="16070"/>
                    <a:pt x="5803" y="16105"/>
                  </a:cubicBezTo>
                  <a:cubicBezTo>
                    <a:pt x="5783" y="16142"/>
                    <a:pt x="5794" y="16233"/>
                    <a:pt x="5850" y="16301"/>
                  </a:cubicBezTo>
                  <a:cubicBezTo>
                    <a:pt x="5898" y="16373"/>
                    <a:pt x="5929" y="16459"/>
                    <a:pt x="5905" y="16486"/>
                  </a:cubicBezTo>
                  <a:cubicBezTo>
                    <a:pt x="5887" y="16516"/>
                    <a:pt x="5982" y="16641"/>
                    <a:pt x="6102" y="16771"/>
                  </a:cubicBezTo>
                  <a:cubicBezTo>
                    <a:pt x="6219" y="16904"/>
                    <a:pt x="6378" y="17033"/>
                    <a:pt x="6438" y="17068"/>
                  </a:cubicBezTo>
                  <a:cubicBezTo>
                    <a:pt x="6499" y="17100"/>
                    <a:pt x="6524" y="17168"/>
                    <a:pt x="6490" y="17207"/>
                  </a:cubicBezTo>
                  <a:cubicBezTo>
                    <a:pt x="6453" y="17244"/>
                    <a:pt x="6514" y="17360"/>
                    <a:pt x="6614" y="17453"/>
                  </a:cubicBezTo>
                  <a:cubicBezTo>
                    <a:pt x="6708" y="17547"/>
                    <a:pt x="6726" y="17632"/>
                    <a:pt x="6653" y="17651"/>
                  </a:cubicBezTo>
                  <a:cubicBezTo>
                    <a:pt x="6578" y="17668"/>
                    <a:pt x="6545" y="17774"/>
                    <a:pt x="6580" y="17890"/>
                  </a:cubicBezTo>
                  <a:cubicBezTo>
                    <a:pt x="6614" y="18007"/>
                    <a:pt x="6621" y="18137"/>
                    <a:pt x="6590" y="18178"/>
                  </a:cubicBezTo>
                  <a:cubicBezTo>
                    <a:pt x="6548" y="18212"/>
                    <a:pt x="6555" y="18377"/>
                    <a:pt x="6572" y="18529"/>
                  </a:cubicBezTo>
                  <a:cubicBezTo>
                    <a:pt x="6599" y="18681"/>
                    <a:pt x="6671" y="18851"/>
                    <a:pt x="6737" y="18913"/>
                  </a:cubicBezTo>
                  <a:cubicBezTo>
                    <a:pt x="6807" y="18974"/>
                    <a:pt x="6826" y="19084"/>
                    <a:pt x="6784" y="19162"/>
                  </a:cubicBezTo>
                  <a:cubicBezTo>
                    <a:pt x="6741" y="19239"/>
                    <a:pt x="6710" y="19349"/>
                    <a:pt x="6719" y="19406"/>
                  </a:cubicBezTo>
                  <a:cubicBezTo>
                    <a:pt x="6727" y="19463"/>
                    <a:pt x="6777" y="19543"/>
                    <a:pt x="6822" y="19588"/>
                  </a:cubicBezTo>
                  <a:cubicBezTo>
                    <a:pt x="6873" y="19629"/>
                    <a:pt x="7022" y="19641"/>
                    <a:pt x="7160" y="19608"/>
                  </a:cubicBezTo>
                  <a:cubicBezTo>
                    <a:pt x="7297" y="19576"/>
                    <a:pt x="7459" y="19575"/>
                    <a:pt x="7516" y="19609"/>
                  </a:cubicBezTo>
                  <a:cubicBezTo>
                    <a:pt x="7575" y="19641"/>
                    <a:pt x="7630" y="19632"/>
                    <a:pt x="7653" y="19591"/>
                  </a:cubicBezTo>
                  <a:cubicBezTo>
                    <a:pt x="7675" y="19548"/>
                    <a:pt x="7802" y="19593"/>
                    <a:pt x="7940" y="19698"/>
                  </a:cubicBezTo>
                  <a:cubicBezTo>
                    <a:pt x="8076" y="19801"/>
                    <a:pt x="8251" y="19887"/>
                    <a:pt x="8325" y="19880"/>
                  </a:cubicBezTo>
                  <a:cubicBezTo>
                    <a:pt x="8397" y="19876"/>
                    <a:pt x="8523" y="19920"/>
                    <a:pt x="8605" y="19972"/>
                  </a:cubicBezTo>
                  <a:cubicBezTo>
                    <a:pt x="8687" y="20025"/>
                    <a:pt x="8881" y="20067"/>
                    <a:pt x="9036" y="20072"/>
                  </a:cubicBezTo>
                  <a:cubicBezTo>
                    <a:pt x="9191" y="20076"/>
                    <a:pt x="9359" y="20089"/>
                    <a:pt x="9404" y="20111"/>
                  </a:cubicBezTo>
                  <a:cubicBezTo>
                    <a:pt x="9453" y="20128"/>
                    <a:pt x="9467" y="20187"/>
                    <a:pt x="9432" y="20236"/>
                  </a:cubicBezTo>
                  <a:cubicBezTo>
                    <a:pt x="9397" y="20285"/>
                    <a:pt x="9420" y="20334"/>
                    <a:pt x="9479" y="20338"/>
                  </a:cubicBezTo>
                  <a:cubicBezTo>
                    <a:pt x="9536" y="20345"/>
                    <a:pt x="9687" y="20311"/>
                    <a:pt x="9804" y="20255"/>
                  </a:cubicBezTo>
                  <a:cubicBezTo>
                    <a:pt x="9925" y="20204"/>
                    <a:pt x="10031" y="20205"/>
                    <a:pt x="10040" y="20256"/>
                  </a:cubicBezTo>
                  <a:cubicBezTo>
                    <a:pt x="10049" y="20307"/>
                    <a:pt x="10013" y="20398"/>
                    <a:pt x="9955" y="20453"/>
                  </a:cubicBezTo>
                  <a:cubicBezTo>
                    <a:pt x="9898" y="20509"/>
                    <a:pt x="9980" y="20679"/>
                    <a:pt x="10142" y="20824"/>
                  </a:cubicBezTo>
                  <a:cubicBezTo>
                    <a:pt x="10304" y="20968"/>
                    <a:pt x="10459" y="21132"/>
                    <a:pt x="10494" y="21181"/>
                  </a:cubicBezTo>
                  <a:cubicBezTo>
                    <a:pt x="10530" y="21230"/>
                    <a:pt x="10541" y="21331"/>
                    <a:pt x="10516" y="21405"/>
                  </a:cubicBezTo>
                  <a:cubicBezTo>
                    <a:pt x="10483" y="21477"/>
                    <a:pt x="10503" y="21556"/>
                    <a:pt x="10543" y="21573"/>
                  </a:cubicBezTo>
                  <a:cubicBezTo>
                    <a:pt x="10583" y="21589"/>
                    <a:pt x="10652" y="21519"/>
                    <a:pt x="10687" y="21410"/>
                  </a:cubicBezTo>
                  <a:cubicBezTo>
                    <a:pt x="10722" y="21302"/>
                    <a:pt x="10808" y="21199"/>
                    <a:pt x="10870" y="21185"/>
                  </a:cubicBezTo>
                  <a:cubicBezTo>
                    <a:pt x="10930" y="21165"/>
                    <a:pt x="11004" y="21194"/>
                    <a:pt x="11021" y="21245"/>
                  </a:cubicBezTo>
                  <a:cubicBezTo>
                    <a:pt x="11046" y="21294"/>
                    <a:pt x="11132" y="21320"/>
                    <a:pt x="11221" y="21300"/>
                  </a:cubicBezTo>
                  <a:cubicBezTo>
                    <a:pt x="11309" y="21277"/>
                    <a:pt x="11447" y="21275"/>
                    <a:pt x="11523" y="21272"/>
                  </a:cubicBezTo>
                  <a:cubicBezTo>
                    <a:pt x="11602" y="21277"/>
                    <a:pt x="11798" y="21222"/>
                    <a:pt x="11958" y="21149"/>
                  </a:cubicBezTo>
                  <a:cubicBezTo>
                    <a:pt x="12119" y="21077"/>
                    <a:pt x="12332" y="21025"/>
                    <a:pt x="12430" y="21035"/>
                  </a:cubicBezTo>
                  <a:cubicBezTo>
                    <a:pt x="12527" y="21044"/>
                    <a:pt x="12769" y="20993"/>
                    <a:pt x="12963" y="20912"/>
                  </a:cubicBezTo>
                  <a:cubicBezTo>
                    <a:pt x="13158" y="20837"/>
                    <a:pt x="13320" y="20742"/>
                    <a:pt x="13327" y="20704"/>
                  </a:cubicBezTo>
                  <a:cubicBezTo>
                    <a:pt x="13327" y="20665"/>
                    <a:pt x="13454" y="20669"/>
                    <a:pt x="13596" y="20710"/>
                  </a:cubicBezTo>
                  <a:cubicBezTo>
                    <a:pt x="13738" y="20756"/>
                    <a:pt x="13931" y="20784"/>
                    <a:pt x="14023" y="20784"/>
                  </a:cubicBezTo>
                  <a:cubicBezTo>
                    <a:pt x="14114" y="20782"/>
                    <a:pt x="14245" y="20712"/>
                    <a:pt x="14313" y="20630"/>
                  </a:cubicBezTo>
                  <a:cubicBezTo>
                    <a:pt x="14381" y="20546"/>
                    <a:pt x="14466" y="20505"/>
                    <a:pt x="14485" y="20541"/>
                  </a:cubicBezTo>
                  <a:cubicBezTo>
                    <a:pt x="14514" y="20573"/>
                    <a:pt x="14499" y="20646"/>
                    <a:pt x="14472" y="20707"/>
                  </a:cubicBezTo>
                  <a:cubicBezTo>
                    <a:pt x="14439" y="20765"/>
                    <a:pt x="14461" y="20828"/>
                    <a:pt x="14520" y="20854"/>
                  </a:cubicBezTo>
                  <a:cubicBezTo>
                    <a:pt x="14581" y="20873"/>
                    <a:pt x="14667" y="20827"/>
                    <a:pt x="14701" y="20740"/>
                  </a:cubicBezTo>
                  <a:cubicBezTo>
                    <a:pt x="14743" y="20655"/>
                    <a:pt x="14815" y="20596"/>
                    <a:pt x="14866" y="20610"/>
                  </a:cubicBezTo>
                  <a:cubicBezTo>
                    <a:pt x="14916" y="20620"/>
                    <a:pt x="14909" y="20568"/>
                    <a:pt x="14851" y="20487"/>
                  </a:cubicBezTo>
                  <a:cubicBezTo>
                    <a:pt x="14798" y="20404"/>
                    <a:pt x="14776" y="20317"/>
                    <a:pt x="14815" y="20291"/>
                  </a:cubicBezTo>
                  <a:cubicBezTo>
                    <a:pt x="14851" y="20262"/>
                    <a:pt x="14937" y="20309"/>
                    <a:pt x="15005" y="20387"/>
                  </a:cubicBezTo>
                  <a:cubicBezTo>
                    <a:pt x="15073" y="20464"/>
                    <a:pt x="15176" y="20541"/>
                    <a:pt x="15237" y="20557"/>
                  </a:cubicBezTo>
                  <a:cubicBezTo>
                    <a:pt x="15299" y="20576"/>
                    <a:pt x="15360" y="20541"/>
                    <a:pt x="15376" y="20490"/>
                  </a:cubicBezTo>
                  <a:cubicBezTo>
                    <a:pt x="15394" y="20440"/>
                    <a:pt x="15456" y="20470"/>
                    <a:pt x="15525" y="20557"/>
                  </a:cubicBezTo>
                  <a:cubicBezTo>
                    <a:pt x="15592" y="20644"/>
                    <a:pt x="15700" y="20706"/>
                    <a:pt x="15766" y="20698"/>
                  </a:cubicBezTo>
                  <a:cubicBezTo>
                    <a:pt x="15831" y="20688"/>
                    <a:pt x="15883" y="20639"/>
                    <a:pt x="15883" y="20589"/>
                  </a:cubicBezTo>
                  <a:cubicBezTo>
                    <a:pt x="15883" y="20539"/>
                    <a:pt x="15932" y="20509"/>
                    <a:pt x="15994" y="20530"/>
                  </a:cubicBezTo>
                  <a:cubicBezTo>
                    <a:pt x="16057" y="20546"/>
                    <a:pt x="16122" y="20602"/>
                    <a:pt x="16163" y="20639"/>
                  </a:cubicBezTo>
                  <a:cubicBezTo>
                    <a:pt x="16189" y="20684"/>
                    <a:pt x="16268" y="20681"/>
                    <a:pt x="16329" y="20646"/>
                  </a:cubicBezTo>
                  <a:cubicBezTo>
                    <a:pt x="16389" y="20607"/>
                    <a:pt x="16547" y="20569"/>
                    <a:pt x="16679" y="20567"/>
                  </a:cubicBezTo>
                  <a:cubicBezTo>
                    <a:pt x="16811" y="20560"/>
                    <a:pt x="16994" y="20599"/>
                    <a:pt x="17074" y="20660"/>
                  </a:cubicBezTo>
                  <a:cubicBezTo>
                    <a:pt x="17158" y="20717"/>
                    <a:pt x="17360" y="20760"/>
                    <a:pt x="17521" y="20763"/>
                  </a:cubicBezTo>
                  <a:cubicBezTo>
                    <a:pt x="17681" y="20763"/>
                    <a:pt x="17811" y="20732"/>
                    <a:pt x="17820" y="20694"/>
                  </a:cubicBezTo>
                  <a:cubicBezTo>
                    <a:pt x="17828" y="20657"/>
                    <a:pt x="17791" y="20594"/>
                    <a:pt x="17739" y="20560"/>
                  </a:cubicBezTo>
                  <a:cubicBezTo>
                    <a:pt x="17691" y="20522"/>
                    <a:pt x="17684" y="20483"/>
                    <a:pt x="17728" y="20469"/>
                  </a:cubicBezTo>
                  <a:cubicBezTo>
                    <a:pt x="17770" y="20452"/>
                    <a:pt x="17868" y="20465"/>
                    <a:pt x="17944" y="20488"/>
                  </a:cubicBezTo>
                  <a:cubicBezTo>
                    <a:pt x="18022" y="20505"/>
                    <a:pt x="18107" y="20569"/>
                    <a:pt x="18125" y="20617"/>
                  </a:cubicBezTo>
                  <a:cubicBezTo>
                    <a:pt x="18160" y="20659"/>
                    <a:pt x="18257" y="20726"/>
                    <a:pt x="18364" y="20759"/>
                  </a:cubicBezTo>
                  <a:cubicBezTo>
                    <a:pt x="18472" y="20788"/>
                    <a:pt x="18587" y="20769"/>
                    <a:pt x="18613" y="20710"/>
                  </a:cubicBezTo>
                  <a:cubicBezTo>
                    <a:pt x="18639" y="20652"/>
                    <a:pt x="18626" y="20517"/>
                    <a:pt x="18591" y="20407"/>
                  </a:cubicBezTo>
                  <a:cubicBezTo>
                    <a:pt x="18590" y="20404"/>
                    <a:pt x="18589" y="20402"/>
                    <a:pt x="18588" y="20399"/>
                  </a:cubicBezTo>
                  <a:cubicBezTo>
                    <a:pt x="18553" y="20294"/>
                    <a:pt x="18686" y="20094"/>
                    <a:pt x="18900" y="19963"/>
                  </a:cubicBezTo>
                  <a:close/>
                  <a:moveTo>
                    <a:pt x="18900" y="199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49" name="AutoShape 548"/>
            <p:cNvSpPr>
              <a:spLocks/>
            </p:cNvSpPr>
            <p:nvPr/>
          </p:nvSpPr>
          <p:spPr bwMode="auto">
            <a:xfrm>
              <a:off x="8115300" y="2311400"/>
              <a:ext cx="4763" cy="1588"/>
            </a:xfrm>
            <a:custGeom>
              <a:avLst/>
              <a:gdLst/>
              <a:ahLst/>
              <a:cxnLst/>
              <a:rect l="0" t="0" r="r" b="b"/>
              <a:pathLst>
                <a:path w="17256" h="17100">
                  <a:moveTo>
                    <a:pt x="15266" y="15762"/>
                  </a:moveTo>
                  <a:cubicBezTo>
                    <a:pt x="19503" y="12482"/>
                    <a:pt x="16748" y="7688"/>
                    <a:pt x="9168" y="2168"/>
                  </a:cubicBezTo>
                  <a:cubicBezTo>
                    <a:pt x="1418" y="-2118"/>
                    <a:pt x="-2097" y="78"/>
                    <a:pt x="1288" y="7642"/>
                  </a:cubicBezTo>
                  <a:cubicBezTo>
                    <a:pt x="4763" y="15023"/>
                    <a:pt x="11028" y="19482"/>
                    <a:pt x="15266" y="15762"/>
                  </a:cubicBezTo>
                  <a:close/>
                  <a:moveTo>
                    <a:pt x="15266" y="1576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0" name="AutoShape 549"/>
            <p:cNvSpPr>
              <a:spLocks/>
            </p:cNvSpPr>
            <p:nvPr/>
          </p:nvSpPr>
          <p:spPr bwMode="auto">
            <a:xfrm>
              <a:off x="8077200" y="2133600"/>
              <a:ext cx="3175" cy="3175"/>
            </a:xfrm>
            <a:custGeom>
              <a:avLst/>
              <a:gdLst/>
              <a:ahLst/>
              <a:cxnLst/>
              <a:rect l="0" t="0" r="r" b="b"/>
              <a:pathLst>
                <a:path w="19908" h="19348">
                  <a:moveTo>
                    <a:pt x="18377" y="17176"/>
                  </a:moveTo>
                  <a:cubicBezTo>
                    <a:pt x="21600" y="13997"/>
                    <a:pt x="19740" y="7677"/>
                    <a:pt x="12740" y="3331"/>
                  </a:cubicBezTo>
                  <a:cubicBezTo>
                    <a:pt x="6016" y="-1343"/>
                    <a:pt x="817" y="-1076"/>
                    <a:pt x="0" y="3993"/>
                  </a:cubicBezTo>
                  <a:cubicBezTo>
                    <a:pt x="0" y="9139"/>
                    <a:pt x="2239" y="15187"/>
                    <a:pt x="5685" y="17893"/>
                  </a:cubicBezTo>
                  <a:cubicBezTo>
                    <a:pt x="9298" y="20257"/>
                    <a:pt x="14439" y="19540"/>
                    <a:pt x="18377" y="17176"/>
                  </a:cubicBezTo>
                  <a:close/>
                  <a:moveTo>
                    <a:pt x="18377" y="171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1" name="AutoShape 550"/>
            <p:cNvSpPr>
              <a:spLocks/>
            </p:cNvSpPr>
            <p:nvPr/>
          </p:nvSpPr>
          <p:spPr bwMode="auto">
            <a:xfrm>
              <a:off x="8064500" y="2311400"/>
              <a:ext cx="30163" cy="30163"/>
            </a:xfrm>
            <a:custGeom>
              <a:avLst/>
              <a:gdLst/>
              <a:ahLst/>
              <a:cxnLst/>
              <a:rect l="0" t="0" r="r" b="b"/>
              <a:pathLst>
                <a:path w="20973" h="21299">
                  <a:moveTo>
                    <a:pt x="1219" y="9957"/>
                  </a:moveTo>
                  <a:cubicBezTo>
                    <a:pt x="2256" y="10687"/>
                    <a:pt x="4007" y="12071"/>
                    <a:pt x="4962" y="13180"/>
                  </a:cubicBezTo>
                  <a:cubicBezTo>
                    <a:pt x="5917" y="14263"/>
                    <a:pt x="8117" y="15595"/>
                    <a:pt x="9753" y="16237"/>
                  </a:cubicBezTo>
                  <a:cubicBezTo>
                    <a:pt x="11404" y="16839"/>
                    <a:pt x="13919" y="18407"/>
                    <a:pt x="15331" y="19661"/>
                  </a:cubicBezTo>
                  <a:cubicBezTo>
                    <a:pt x="16717" y="20953"/>
                    <a:pt x="18767" y="21600"/>
                    <a:pt x="19789" y="21163"/>
                  </a:cubicBezTo>
                  <a:cubicBezTo>
                    <a:pt x="20802" y="20731"/>
                    <a:pt x="21275" y="19342"/>
                    <a:pt x="20769" y="18075"/>
                  </a:cubicBezTo>
                  <a:cubicBezTo>
                    <a:pt x="20196" y="16844"/>
                    <a:pt x="18934" y="15709"/>
                    <a:pt x="17772" y="15709"/>
                  </a:cubicBezTo>
                  <a:cubicBezTo>
                    <a:pt x="16593" y="15639"/>
                    <a:pt x="14850" y="14600"/>
                    <a:pt x="13862" y="13294"/>
                  </a:cubicBezTo>
                  <a:cubicBezTo>
                    <a:pt x="12957" y="11935"/>
                    <a:pt x="12467" y="10499"/>
                    <a:pt x="12990" y="10057"/>
                  </a:cubicBezTo>
                  <a:cubicBezTo>
                    <a:pt x="13489" y="9595"/>
                    <a:pt x="14799" y="9416"/>
                    <a:pt x="15937" y="9682"/>
                  </a:cubicBezTo>
                  <a:cubicBezTo>
                    <a:pt x="17050" y="10049"/>
                    <a:pt x="17689" y="9289"/>
                    <a:pt x="17365" y="8176"/>
                  </a:cubicBezTo>
                  <a:cubicBezTo>
                    <a:pt x="16966" y="7088"/>
                    <a:pt x="14633" y="4826"/>
                    <a:pt x="12135" y="3101"/>
                  </a:cubicBezTo>
                  <a:cubicBezTo>
                    <a:pt x="9603" y="1398"/>
                    <a:pt x="6855" y="105"/>
                    <a:pt x="6033" y="0"/>
                  </a:cubicBezTo>
                  <a:cubicBezTo>
                    <a:pt x="5211" y="27"/>
                    <a:pt x="4605" y="851"/>
                    <a:pt x="4713" y="1927"/>
                  </a:cubicBezTo>
                  <a:cubicBezTo>
                    <a:pt x="4838" y="2992"/>
                    <a:pt x="5926" y="4573"/>
                    <a:pt x="7212" y="5372"/>
                  </a:cubicBezTo>
                  <a:cubicBezTo>
                    <a:pt x="8532" y="6158"/>
                    <a:pt x="9238" y="7359"/>
                    <a:pt x="8864" y="7953"/>
                  </a:cubicBezTo>
                  <a:cubicBezTo>
                    <a:pt x="8498" y="8556"/>
                    <a:pt x="6606" y="8368"/>
                    <a:pt x="4689" y="7642"/>
                  </a:cubicBezTo>
                  <a:cubicBezTo>
                    <a:pt x="2779" y="6870"/>
                    <a:pt x="770" y="6774"/>
                    <a:pt x="247" y="7446"/>
                  </a:cubicBezTo>
                  <a:cubicBezTo>
                    <a:pt x="-325" y="8057"/>
                    <a:pt x="139" y="9294"/>
                    <a:pt x="1219" y="9957"/>
                  </a:cubicBezTo>
                  <a:close/>
                  <a:moveTo>
                    <a:pt x="1219" y="99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2" name="AutoShape 551"/>
            <p:cNvSpPr>
              <a:spLocks/>
            </p:cNvSpPr>
            <p:nvPr/>
          </p:nvSpPr>
          <p:spPr bwMode="auto">
            <a:xfrm>
              <a:off x="8077200" y="2146300"/>
              <a:ext cx="11113" cy="7938"/>
            </a:xfrm>
            <a:custGeom>
              <a:avLst/>
              <a:gdLst/>
              <a:ahLst/>
              <a:cxnLst/>
              <a:rect l="0" t="0" r="r" b="b"/>
              <a:pathLst>
                <a:path w="21116" h="19625">
                  <a:moveTo>
                    <a:pt x="14802" y="18898"/>
                  </a:moveTo>
                  <a:cubicBezTo>
                    <a:pt x="18300" y="17170"/>
                    <a:pt x="21116" y="12855"/>
                    <a:pt x="21116" y="9253"/>
                  </a:cubicBezTo>
                  <a:cubicBezTo>
                    <a:pt x="21116" y="5620"/>
                    <a:pt x="19028" y="3412"/>
                    <a:pt x="16505" y="4430"/>
                  </a:cubicBezTo>
                  <a:cubicBezTo>
                    <a:pt x="14030" y="5534"/>
                    <a:pt x="9920" y="3483"/>
                    <a:pt x="6851" y="1609"/>
                  </a:cubicBezTo>
                  <a:cubicBezTo>
                    <a:pt x="4195" y="-1134"/>
                    <a:pt x="832" y="-251"/>
                    <a:pt x="175" y="3353"/>
                  </a:cubicBezTo>
                  <a:cubicBezTo>
                    <a:pt x="-484" y="6926"/>
                    <a:pt x="741" y="12376"/>
                    <a:pt x="3444" y="15834"/>
                  </a:cubicBezTo>
                  <a:cubicBezTo>
                    <a:pt x="5965" y="19523"/>
                    <a:pt x="11212" y="20466"/>
                    <a:pt x="14802" y="18898"/>
                  </a:cubicBezTo>
                  <a:close/>
                  <a:moveTo>
                    <a:pt x="14802" y="188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3" name="AutoShape 552"/>
            <p:cNvSpPr>
              <a:spLocks/>
            </p:cNvSpPr>
            <p:nvPr/>
          </p:nvSpPr>
          <p:spPr bwMode="auto">
            <a:xfrm>
              <a:off x="8166100" y="2057400"/>
              <a:ext cx="17463" cy="9525"/>
            </a:xfrm>
            <a:custGeom>
              <a:avLst/>
              <a:gdLst/>
              <a:ahLst/>
              <a:cxnLst/>
              <a:rect l="0" t="0" r="r" b="b"/>
              <a:pathLst>
                <a:path w="20839" h="20689">
                  <a:moveTo>
                    <a:pt x="9804" y="20404"/>
                  </a:moveTo>
                  <a:cubicBezTo>
                    <a:pt x="12178" y="21052"/>
                    <a:pt x="14758" y="20580"/>
                    <a:pt x="15657" y="19160"/>
                  </a:cubicBezTo>
                  <a:cubicBezTo>
                    <a:pt x="16513" y="17704"/>
                    <a:pt x="16026" y="14654"/>
                    <a:pt x="14670" y="12449"/>
                  </a:cubicBezTo>
                  <a:cubicBezTo>
                    <a:pt x="13374" y="10034"/>
                    <a:pt x="14021" y="8777"/>
                    <a:pt x="16394" y="9137"/>
                  </a:cubicBezTo>
                  <a:cubicBezTo>
                    <a:pt x="18724" y="9498"/>
                    <a:pt x="20833" y="8626"/>
                    <a:pt x="20833" y="7132"/>
                  </a:cubicBezTo>
                  <a:cubicBezTo>
                    <a:pt x="21010" y="5664"/>
                    <a:pt x="17560" y="3037"/>
                    <a:pt x="13432" y="1206"/>
                  </a:cubicBezTo>
                  <a:cubicBezTo>
                    <a:pt x="9288" y="-548"/>
                    <a:pt x="4069" y="-301"/>
                    <a:pt x="1754" y="1380"/>
                  </a:cubicBezTo>
                  <a:cubicBezTo>
                    <a:pt x="-516" y="3210"/>
                    <a:pt x="-590" y="7831"/>
                    <a:pt x="1578" y="11839"/>
                  </a:cubicBezTo>
                  <a:cubicBezTo>
                    <a:pt x="3686" y="15899"/>
                    <a:pt x="7475" y="19596"/>
                    <a:pt x="9804" y="20404"/>
                  </a:cubicBezTo>
                  <a:close/>
                  <a:moveTo>
                    <a:pt x="9804" y="204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4" name="AutoShape 553"/>
            <p:cNvSpPr>
              <a:spLocks/>
            </p:cNvSpPr>
            <p:nvPr/>
          </p:nvSpPr>
          <p:spPr bwMode="auto">
            <a:xfrm>
              <a:off x="8369300" y="2311400"/>
              <a:ext cx="6350" cy="11113"/>
            </a:xfrm>
            <a:custGeom>
              <a:avLst/>
              <a:gdLst/>
              <a:ahLst/>
              <a:cxnLst/>
              <a:rect l="0" t="0" r="r" b="b"/>
              <a:pathLst>
                <a:path w="19759" h="21600">
                  <a:moveTo>
                    <a:pt x="19759" y="0"/>
                  </a:moveTo>
                  <a:cubicBezTo>
                    <a:pt x="6459" y="6372"/>
                    <a:pt x="-1841" y="16078"/>
                    <a:pt x="349" y="21191"/>
                  </a:cubicBezTo>
                  <a:cubicBezTo>
                    <a:pt x="387" y="21338"/>
                    <a:pt x="459" y="21452"/>
                    <a:pt x="529" y="21600"/>
                  </a:cubicBezTo>
                  <a:cubicBezTo>
                    <a:pt x="-1695" y="16271"/>
                    <a:pt x="6459" y="6372"/>
                    <a:pt x="19759" y="0"/>
                  </a:cubicBezTo>
                  <a:close/>
                  <a:moveTo>
                    <a:pt x="19759"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5" name="AutoShape 554"/>
            <p:cNvSpPr>
              <a:spLocks/>
            </p:cNvSpPr>
            <p:nvPr/>
          </p:nvSpPr>
          <p:spPr bwMode="auto">
            <a:xfrm>
              <a:off x="8229600" y="1828800"/>
              <a:ext cx="0" cy="7938"/>
            </a:xfrm>
            <a:custGeom>
              <a:avLst/>
              <a:gdLst/>
              <a:ahLst/>
              <a:cxnLst/>
              <a:rect l="0" t="0" r="r" b="b"/>
              <a:pathLst>
                <a:path w="17027" h="21600">
                  <a:moveTo>
                    <a:pt x="17027" y="0"/>
                  </a:moveTo>
                  <a:cubicBezTo>
                    <a:pt x="-3212" y="4242"/>
                    <a:pt x="-4573" y="13943"/>
                    <a:pt x="8530" y="21571"/>
                  </a:cubicBezTo>
                  <a:cubicBezTo>
                    <a:pt x="8530" y="21571"/>
                    <a:pt x="8530" y="21585"/>
                    <a:pt x="8700" y="21600"/>
                  </a:cubicBezTo>
                  <a:cubicBezTo>
                    <a:pt x="-3892" y="13841"/>
                    <a:pt x="-3042" y="4201"/>
                    <a:pt x="17027" y="0"/>
                  </a:cubicBezTo>
                  <a:close/>
                  <a:moveTo>
                    <a:pt x="17027"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6" name="AutoShape 555"/>
            <p:cNvSpPr>
              <a:spLocks/>
            </p:cNvSpPr>
            <p:nvPr/>
          </p:nvSpPr>
          <p:spPr bwMode="auto">
            <a:xfrm>
              <a:off x="7975600" y="1816100"/>
              <a:ext cx="0" cy="0"/>
            </a:xfrm>
            <a:custGeom>
              <a:avLst/>
              <a:gdLst/>
              <a:ahLst/>
              <a:cxnLst/>
              <a:rect l="0" t="0" r="r" b="b"/>
              <a:pathLst>
                <a:path w="21600" h="21600">
                  <a:moveTo>
                    <a:pt x="21600" y="21600"/>
                  </a:moveTo>
                  <a:lnTo>
                    <a:pt x="21600" y="21600"/>
                  </a:lnTo>
                  <a:cubicBezTo>
                    <a:pt x="21600" y="13852"/>
                    <a:pt x="11127" y="0"/>
                    <a:pt x="0" y="0"/>
                  </a:cubicBezTo>
                  <a:cubicBezTo>
                    <a:pt x="11127" y="0"/>
                    <a:pt x="11127" y="0"/>
                    <a:pt x="11127" y="0"/>
                  </a:cubicBezTo>
                  <a:cubicBezTo>
                    <a:pt x="21600" y="7748"/>
                    <a:pt x="21600" y="13852"/>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7" name="AutoShape 556"/>
            <p:cNvSpPr>
              <a:spLocks/>
            </p:cNvSpPr>
            <p:nvPr/>
          </p:nvSpPr>
          <p:spPr bwMode="auto">
            <a:xfrm>
              <a:off x="8216900" y="2413000"/>
              <a:ext cx="6350" cy="3175"/>
            </a:xfrm>
            <a:custGeom>
              <a:avLst/>
              <a:gdLst/>
              <a:ahLst/>
              <a:cxnLst/>
              <a:rect l="0" t="0" r="r" b="b"/>
              <a:pathLst>
                <a:path w="19204" h="21172">
                  <a:moveTo>
                    <a:pt x="12334" y="21172"/>
                  </a:moveTo>
                  <a:cubicBezTo>
                    <a:pt x="17448" y="20959"/>
                    <a:pt x="20485" y="16010"/>
                    <a:pt x="18680" y="10723"/>
                  </a:cubicBezTo>
                  <a:cubicBezTo>
                    <a:pt x="16905" y="5316"/>
                    <a:pt x="11613" y="241"/>
                    <a:pt x="6736" y="29"/>
                  </a:cubicBezTo>
                  <a:cubicBezTo>
                    <a:pt x="1892" y="-428"/>
                    <a:pt x="-1115" y="4490"/>
                    <a:pt x="389" y="10510"/>
                  </a:cubicBezTo>
                  <a:cubicBezTo>
                    <a:pt x="1262" y="17018"/>
                    <a:pt x="7157" y="20653"/>
                    <a:pt x="12334" y="21172"/>
                  </a:cubicBezTo>
                  <a:close/>
                  <a:moveTo>
                    <a:pt x="12334" y="211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8" name="AutoShape 557"/>
            <p:cNvSpPr>
              <a:spLocks/>
            </p:cNvSpPr>
            <p:nvPr/>
          </p:nvSpPr>
          <p:spPr bwMode="auto">
            <a:xfrm>
              <a:off x="8216900" y="2425700"/>
              <a:ext cx="12700" cy="9525"/>
            </a:xfrm>
            <a:custGeom>
              <a:avLst/>
              <a:gdLst/>
              <a:ahLst/>
              <a:cxnLst/>
              <a:rect l="0" t="0" r="r" b="b"/>
              <a:pathLst>
                <a:path w="20760" h="20312">
                  <a:moveTo>
                    <a:pt x="14" y="2960"/>
                  </a:moveTo>
                  <a:cubicBezTo>
                    <a:pt x="310" y="5284"/>
                    <a:pt x="4284" y="10622"/>
                    <a:pt x="8736" y="14551"/>
                  </a:cubicBezTo>
                  <a:cubicBezTo>
                    <a:pt x="13079" y="18693"/>
                    <a:pt x="18047" y="21122"/>
                    <a:pt x="19685" y="20065"/>
                  </a:cubicBezTo>
                  <a:cubicBezTo>
                    <a:pt x="21358" y="19080"/>
                    <a:pt x="21010" y="14469"/>
                    <a:pt x="19114" y="9894"/>
                  </a:cubicBezTo>
                  <a:cubicBezTo>
                    <a:pt x="17385" y="5202"/>
                    <a:pt x="11883" y="1271"/>
                    <a:pt x="7393" y="193"/>
                  </a:cubicBezTo>
                  <a:cubicBezTo>
                    <a:pt x="2905" y="-478"/>
                    <a:pt x="-242" y="637"/>
                    <a:pt x="14" y="2960"/>
                  </a:cubicBezTo>
                  <a:close/>
                  <a:moveTo>
                    <a:pt x="14" y="29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59" name="AutoShape 558"/>
            <p:cNvSpPr>
              <a:spLocks/>
            </p:cNvSpPr>
            <p:nvPr/>
          </p:nvSpPr>
          <p:spPr bwMode="auto">
            <a:xfrm>
              <a:off x="8178800" y="2425700"/>
              <a:ext cx="49213" cy="41275"/>
            </a:xfrm>
            <a:custGeom>
              <a:avLst/>
              <a:gdLst/>
              <a:ahLst/>
              <a:cxnLst/>
              <a:rect l="0" t="0" r="r" b="b"/>
              <a:pathLst>
                <a:path w="21296" h="21259">
                  <a:moveTo>
                    <a:pt x="684" y="3763"/>
                  </a:moveTo>
                  <a:cubicBezTo>
                    <a:pt x="1400" y="4018"/>
                    <a:pt x="2062" y="4743"/>
                    <a:pt x="2062" y="5257"/>
                  </a:cubicBezTo>
                  <a:cubicBezTo>
                    <a:pt x="2212" y="5746"/>
                    <a:pt x="1768" y="6450"/>
                    <a:pt x="1293" y="6771"/>
                  </a:cubicBezTo>
                  <a:cubicBezTo>
                    <a:pt x="791" y="7044"/>
                    <a:pt x="465" y="7844"/>
                    <a:pt x="534" y="8458"/>
                  </a:cubicBezTo>
                  <a:cubicBezTo>
                    <a:pt x="620" y="9059"/>
                    <a:pt x="1293" y="9837"/>
                    <a:pt x="2105" y="10121"/>
                  </a:cubicBezTo>
                  <a:cubicBezTo>
                    <a:pt x="2890" y="10441"/>
                    <a:pt x="4284" y="11375"/>
                    <a:pt x="5139" y="12269"/>
                  </a:cubicBezTo>
                  <a:cubicBezTo>
                    <a:pt x="6057" y="13095"/>
                    <a:pt x="6554" y="14496"/>
                    <a:pt x="6389" y="15268"/>
                  </a:cubicBezTo>
                  <a:cubicBezTo>
                    <a:pt x="6164" y="16027"/>
                    <a:pt x="5673" y="16541"/>
                    <a:pt x="5245" y="16463"/>
                  </a:cubicBezTo>
                  <a:cubicBezTo>
                    <a:pt x="4829" y="16295"/>
                    <a:pt x="4236" y="17298"/>
                    <a:pt x="3996" y="18584"/>
                  </a:cubicBezTo>
                  <a:cubicBezTo>
                    <a:pt x="3670" y="19845"/>
                    <a:pt x="3884" y="21059"/>
                    <a:pt x="4327" y="21212"/>
                  </a:cubicBezTo>
                  <a:cubicBezTo>
                    <a:pt x="4749" y="21405"/>
                    <a:pt x="5662" y="20972"/>
                    <a:pt x="6404" y="20431"/>
                  </a:cubicBezTo>
                  <a:cubicBezTo>
                    <a:pt x="7094" y="19804"/>
                    <a:pt x="7633" y="18905"/>
                    <a:pt x="7553" y="18369"/>
                  </a:cubicBezTo>
                  <a:cubicBezTo>
                    <a:pt x="7473" y="17830"/>
                    <a:pt x="7878" y="16283"/>
                    <a:pt x="8429" y="14937"/>
                  </a:cubicBezTo>
                  <a:cubicBezTo>
                    <a:pt x="8910" y="13552"/>
                    <a:pt x="10565" y="12356"/>
                    <a:pt x="11943" y="12291"/>
                  </a:cubicBezTo>
                  <a:cubicBezTo>
                    <a:pt x="13316" y="12204"/>
                    <a:pt x="14865" y="11519"/>
                    <a:pt x="15420" y="10849"/>
                  </a:cubicBezTo>
                  <a:cubicBezTo>
                    <a:pt x="16013" y="10217"/>
                    <a:pt x="16900" y="8997"/>
                    <a:pt x="17317" y="8128"/>
                  </a:cubicBezTo>
                  <a:cubicBezTo>
                    <a:pt x="17749" y="7272"/>
                    <a:pt x="18764" y="6829"/>
                    <a:pt x="19474" y="7035"/>
                  </a:cubicBezTo>
                  <a:cubicBezTo>
                    <a:pt x="20174" y="7241"/>
                    <a:pt x="20901" y="7337"/>
                    <a:pt x="21130" y="7250"/>
                  </a:cubicBezTo>
                  <a:cubicBezTo>
                    <a:pt x="21344" y="7122"/>
                    <a:pt x="21376" y="6723"/>
                    <a:pt x="21082" y="6431"/>
                  </a:cubicBezTo>
                  <a:cubicBezTo>
                    <a:pt x="20837" y="6082"/>
                    <a:pt x="20169" y="5534"/>
                    <a:pt x="19651" y="5129"/>
                  </a:cubicBezTo>
                  <a:cubicBezTo>
                    <a:pt x="19122" y="4775"/>
                    <a:pt x="18016" y="3872"/>
                    <a:pt x="17177" y="3180"/>
                  </a:cubicBezTo>
                  <a:cubicBezTo>
                    <a:pt x="16361" y="2445"/>
                    <a:pt x="14363" y="1642"/>
                    <a:pt x="12803" y="1300"/>
                  </a:cubicBezTo>
                  <a:cubicBezTo>
                    <a:pt x="11222" y="994"/>
                    <a:pt x="9529" y="515"/>
                    <a:pt x="9112" y="154"/>
                  </a:cubicBezTo>
                  <a:cubicBezTo>
                    <a:pt x="8691" y="-195"/>
                    <a:pt x="7964" y="85"/>
                    <a:pt x="7515" y="633"/>
                  </a:cubicBezTo>
                  <a:cubicBezTo>
                    <a:pt x="7040" y="1163"/>
                    <a:pt x="6453" y="1623"/>
                    <a:pt x="6175" y="1782"/>
                  </a:cubicBezTo>
                  <a:cubicBezTo>
                    <a:pt x="5870" y="1826"/>
                    <a:pt x="5320" y="2427"/>
                    <a:pt x="4834" y="2944"/>
                  </a:cubicBezTo>
                  <a:cubicBezTo>
                    <a:pt x="4412" y="3520"/>
                    <a:pt x="3819" y="3507"/>
                    <a:pt x="3494" y="2984"/>
                  </a:cubicBezTo>
                  <a:cubicBezTo>
                    <a:pt x="3162" y="2451"/>
                    <a:pt x="2468" y="1795"/>
                    <a:pt x="1912" y="1558"/>
                  </a:cubicBezTo>
                  <a:cubicBezTo>
                    <a:pt x="1346" y="1350"/>
                    <a:pt x="1090" y="1477"/>
                    <a:pt x="1020" y="1891"/>
                  </a:cubicBezTo>
                  <a:cubicBezTo>
                    <a:pt x="1101" y="2305"/>
                    <a:pt x="748" y="2788"/>
                    <a:pt x="267" y="2925"/>
                  </a:cubicBezTo>
                  <a:cubicBezTo>
                    <a:pt x="-224" y="2997"/>
                    <a:pt x="-11" y="3411"/>
                    <a:pt x="684" y="3763"/>
                  </a:cubicBezTo>
                  <a:close/>
                  <a:moveTo>
                    <a:pt x="684" y="37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0" name="AutoShape 559"/>
            <p:cNvSpPr>
              <a:spLocks/>
            </p:cNvSpPr>
            <p:nvPr/>
          </p:nvSpPr>
          <p:spPr bwMode="auto">
            <a:xfrm>
              <a:off x="8229600" y="2374900"/>
              <a:ext cx="176213" cy="139700"/>
            </a:xfrm>
            <a:custGeom>
              <a:avLst/>
              <a:gdLst/>
              <a:ahLst/>
              <a:cxnLst/>
              <a:rect l="0" t="0" r="r" b="b"/>
              <a:pathLst>
                <a:path w="21523" h="21416">
                  <a:moveTo>
                    <a:pt x="8265" y="14768"/>
                  </a:moveTo>
                  <a:cubicBezTo>
                    <a:pt x="8591" y="14735"/>
                    <a:pt x="9180" y="14973"/>
                    <a:pt x="9565" y="15330"/>
                  </a:cubicBezTo>
                  <a:cubicBezTo>
                    <a:pt x="9966" y="15664"/>
                    <a:pt x="10420" y="15979"/>
                    <a:pt x="10602" y="15979"/>
                  </a:cubicBezTo>
                  <a:cubicBezTo>
                    <a:pt x="10780" y="15995"/>
                    <a:pt x="10944" y="15765"/>
                    <a:pt x="10989" y="15501"/>
                  </a:cubicBezTo>
                  <a:cubicBezTo>
                    <a:pt x="11037" y="15236"/>
                    <a:pt x="11218" y="15195"/>
                    <a:pt x="11451" y="15382"/>
                  </a:cubicBezTo>
                  <a:cubicBezTo>
                    <a:pt x="11669" y="15588"/>
                    <a:pt x="11943" y="15961"/>
                    <a:pt x="12080" y="16197"/>
                  </a:cubicBezTo>
                  <a:cubicBezTo>
                    <a:pt x="12223" y="16429"/>
                    <a:pt x="12461" y="16679"/>
                    <a:pt x="12648" y="16716"/>
                  </a:cubicBezTo>
                  <a:cubicBezTo>
                    <a:pt x="12827" y="16773"/>
                    <a:pt x="13366" y="17094"/>
                    <a:pt x="13835" y="17472"/>
                  </a:cubicBezTo>
                  <a:cubicBezTo>
                    <a:pt x="14308" y="17840"/>
                    <a:pt x="14836" y="18476"/>
                    <a:pt x="15015" y="18870"/>
                  </a:cubicBezTo>
                  <a:cubicBezTo>
                    <a:pt x="15193" y="19263"/>
                    <a:pt x="15572" y="19738"/>
                    <a:pt x="15851" y="19927"/>
                  </a:cubicBezTo>
                  <a:cubicBezTo>
                    <a:pt x="16126" y="20128"/>
                    <a:pt x="16564" y="20585"/>
                    <a:pt x="16811" y="20966"/>
                  </a:cubicBezTo>
                  <a:cubicBezTo>
                    <a:pt x="17065" y="21339"/>
                    <a:pt x="17646" y="21500"/>
                    <a:pt x="18122" y="21372"/>
                  </a:cubicBezTo>
                  <a:cubicBezTo>
                    <a:pt x="18594" y="21231"/>
                    <a:pt x="19321" y="21213"/>
                    <a:pt x="19749" y="21333"/>
                  </a:cubicBezTo>
                  <a:cubicBezTo>
                    <a:pt x="20173" y="21452"/>
                    <a:pt x="20658" y="21311"/>
                    <a:pt x="20822" y="20985"/>
                  </a:cubicBezTo>
                  <a:cubicBezTo>
                    <a:pt x="21006" y="20671"/>
                    <a:pt x="21046" y="20153"/>
                    <a:pt x="20998" y="19836"/>
                  </a:cubicBezTo>
                  <a:cubicBezTo>
                    <a:pt x="20908" y="19538"/>
                    <a:pt x="21039" y="19148"/>
                    <a:pt x="21222" y="18947"/>
                  </a:cubicBezTo>
                  <a:cubicBezTo>
                    <a:pt x="21418" y="18763"/>
                    <a:pt x="21558" y="18348"/>
                    <a:pt x="21514" y="18029"/>
                  </a:cubicBezTo>
                  <a:cubicBezTo>
                    <a:pt x="21492" y="17705"/>
                    <a:pt x="20821" y="16256"/>
                    <a:pt x="20015" y="14846"/>
                  </a:cubicBezTo>
                  <a:cubicBezTo>
                    <a:pt x="19210" y="13435"/>
                    <a:pt x="18563" y="11304"/>
                    <a:pt x="18519" y="10145"/>
                  </a:cubicBezTo>
                  <a:cubicBezTo>
                    <a:pt x="18497" y="8985"/>
                    <a:pt x="18572" y="7943"/>
                    <a:pt x="18725" y="7861"/>
                  </a:cubicBezTo>
                  <a:cubicBezTo>
                    <a:pt x="18877" y="7771"/>
                    <a:pt x="19005" y="7324"/>
                    <a:pt x="19073" y="6901"/>
                  </a:cubicBezTo>
                  <a:cubicBezTo>
                    <a:pt x="19118" y="6474"/>
                    <a:pt x="19285" y="5883"/>
                    <a:pt x="19481" y="5624"/>
                  </a:cubicBezTo>
                  <a:cubicBezTo>
                    <a:pt x="19651" y="5342"/>
                    <a:pt x="19832" y="5054"/>
                    <a:pt x="19854" y="4960"/>
                  </a:cubicBezTo>
                  <a:cubicBezTo>
                    <a:pt x="19878" y="4867"/>
                    <a:pt x="19856" y="4757"/>
                    <a:pt x="19856" y="4696"/>
                  </a:cubicBezTo>
                  <a:cubicBezTo>
                    <a:pt x="19835" y="4644"/>
                    <a:pt x="19683" y="4405"/>
                    <a:pt x="19546" y="4138"/>
                  </a:cubicBezTo>
                  <a:cubicBezTo>
                    <a:pt x="19538" y="4128"/>
                    <a:pt x="19531" y="4116"/>
                    <a:pt x="19523" y="4106"/>
                  </a:cubicBezTo>
                  <a:cubicBezTo>
                    <a:pt x="19347" y="3849"/>
                    <a:pt x="19221" y="3724"/>
                    <a:pt x="19198" y="3860"/>
                  </a:cubicBezTo>
                  <a:cubicBezTo>
                    <a:pt x="19175" y="3994"/>
                    <a:pt x="18253" y="3928"/>
                    <a:pt x="17140" y="3712"/>
                  </a:cubicBezTo>
                  <a:cubicBezTo>
                    <a:pt x="16027" y="3488"/>
                    <a:pt x="14680" y="2960"/>
                    <a:pt x="14141" y="2535"/>
                  </a:cubicBezTo>
                  <a:cubicBezTo>
                    <a:pt x="13602" y="2111"/>
                    <a:pt x="12749" y="1684"/>
                    <a:pt x="12232" y="1624"/>
                  </a:cubicBezTo>
                  <a:cubicBezTo>
                    <a:pt x="11715" y="1566"/>
                    <a:pt x="11051" y="1349"/>
                    <a:pt x="10765" y="1142"/>
                  </a:cubicBezTo>
                  <a:cubicBezTo>
                    <a:pt x="10467" y="961"/>
                    <a:pt x="10047" y="796"/>
                    <a:pt x="9824" y="851"/>
                  </a:cubicBezTo>
                  <a:cubicBezTo>
                    <a:pt x="9598" y="886"/>
                    <a:pt x="9151" y="650"/>
                    <a:pt x="8838" y="321"/>
                  </a:cubicBezTo>
                  <a:cubicBezTo>
                    <a:pt x="8516" y="4"/>
                    <a:pt x="8289" y="-100"/>
                    <a:pt x="8266" y="107"/>
                  </a:cubicBezTo>
                  <a:cubicBezTo>
                    <a:pt x="8266" y="313"/>
                    <a:pt x="8119" y="433"/>
                    <a:pt x="7932" y="368"/>
                  </a:cubicBezTo>
                  <a:cubicBezTo>
                    <a:pt x="7753" y="304"/>
                    <a:pt x="7604" y="361"/>
                    <a:pt x="7627" y="488"/>
                  </a:cubicBezTo>
                  <a:cubicBezTo>
                    <a:pt x="7627" y="618"/>
                    <a:pt x="7797" y="864"/>
                    <a:pt x="7971" y="1043"/>
                  </a:cubicBezTo>
                  <a:cubicBezTo>
                    <a:pt x="8135" y="1241"/>
                    <a:pt x="8102" y="1486"/>
                    <a:pt x="7869" y="1633"/>
                  </a:cubicBezTo>
                  <a:cubicBezTo>
                    <a:pt x="7631" y="1769"/>
                    <a:pt x="7329" y="1811"/>
                    <a:pt x="7192" y="1696"/>
                  </a:cubicBezTo>
                  <a:cubicBezTo>
                    <a:pt x="7053" y="1585"/>
                    <a:pt x="6532" y="1402"/>
                    <a:pt x="6027" y="1312"/>
                  </a:cubicBezTo>
                  <a:cubicBezTo>
                    <a:pt x="5522" y="1215"/>
                    <a:pt x="5018" y="1007"/>
                    <a:pt x="4910" y="849"/>
                  </a:cubicBezTo>
                  <a:cubicBezTo>
                    <a:pt x="4789" y="705"/>
                    <a:pt x="4677" y="807"/>
                    <a:pt x="4630" y="1100"/>
                  </a:cubicBezTo>
                  <a:cubicBezTo>
                    <a:pt x="4585" y="1394"/>
                    <a:pt x="4341" y="1581"/>
                    <a:pt x="4082" y="1500"/>
                  </a:cubicBezTo>
                  <a:cubicBezTo>
                    <a:pt x="3823" y="1426"/>
                    <a:pt x="3390" y="1412"/>
                    <a:pt x="3122" y="1464"/>
                  </a:cubicBezTo>
                  <a:cubicBezTo>
                    <a:pt x="2854" y="1527"/>
                    <a:pt x="2609" y="1767"/>
                    <a:pt x="2609" y="2021"/>
                  </a:cubicBezTo>
                  <a:cubicBezTo>
                    <a:pt x="2586" y="2273"/>
                    <a:pt x="2426" y="2421"/>
                    <a:pt x="2240" y="2347"/>
                  </a:cubicBezTo>
                  <a:cubicBezTo>
                    <a:pt x="2052" y="2281"/>
                    <a:pt x="1549" y="2338"/>
                    <a:pt x="1121" y="2480"/>
                  </a:cubicBezTo>
                  <a:cubicBezTo>
                    <a:pt x="691" y="2630"/>
                    <a:pt x="214" y="2959"/>
                    <a:pt x="101" y="3243"/>
                  </a:cubicBezTo>
                  <a:cubicBezTo>
                    <a:pt x="-12" y="3528"/>
                    <a:pt x="-42" y="4557"/>
                    <a:pt x="69" y="5556"/>
                  </a:cubicBezTo>
                  <a:cubicBezTo>
                    <a:pt x="182" y="6560"/>
                    <a:pt x="431" y="7422"/>
                    <a:pt x="617" y="7494"/>
                  </a:cubicBezTo>
                  <a:cubicBezTo>
                    <a:pt x="801" y="7558"/>
                    <a:pt x="1030" y="7548"/>
                    <a:pt x="1118" y="7479"/>
                  </a:cubicBezTo>
                  <a:cubicBezTo>
                    <a:pt x="1215" y="7437"/>
                    <a:pt x="1492" y="7405"/>
                    <a:pt x="1752" y="7464"/>
                  </a:cubicBezTo>
                  <a:cubicBezTo>
                    <a:pt x="2013" y="7519"/>
                    <a:pt x="2125" y="7734"/>
                    <a:pt x="2034" y="7951"/>
                  </a:cubicBezTo>
                  <a:cubicBezTo>
                    <a:pt x="1928" y="8161"/>
                    <a:pt x="1675" y="8348"/>
                    <a:pt x="1472" y="8323"/>
                  </a:cubicBezTo>
                  <a:cubicBezTo>
                    <a:pt x="1270" y="8329"/>
                    <a:pt x="1158" y="8649"/>
                    <a:pt x="1222" y="9061"/>
                  </a:cubicBezTo>
                  <a:cubicBezTo>
                    <a:pt x="1310" y="9463"/>
                    <a:pt x="1567" y="10164"/>
                    <a:pt x="1842" y="10610"/>
                  </a:cubicBezTo>
                  <a:cubicBezTo>
                    <a:pt x="2109" y="11063"/>
                    <a:pt x="2706" y="11797"/>
                    <a:pt x="3149" y="12262"/>
                  </a:cubicBezTo>
                  <a:cubicBezTo>
                    <a:pt x="3594" y="12723"/>
                    <a:pt x="4065" y="13106"/>
                    <a:pt x="4199" y="13082"/>
                  </a:cubicBezTo>
                  <a:cubicBezTo>
                    <a:pt x="4333" y="13068"/>
                    <a:pt x="4437" y="12837"/>
                    <a:pt x="4437" y="12575"/>
                  </a:cubicBezTo>
                  <a:cubicBezTo>
                    <a:pt x="4437" y="12312"/>
                    <a:pt x="4628" y="11916"/>
                    <a:pt x="4887" y="11713"/>
                  </a:cubicBezTo>
                  <a:cubicBezTo>
                    <a:pt x="5149" y="11514"/>
                    <a:pt x="5455" y="11526"/>
                    <a:pt x="5587" y="11770"/>
                  </a:cubicBezTo>
                  <a:cubicBezTo>
                    <a:pt x="5723" y="12012"/>
                    <a:pt x="5775" y="12876"/>
                    <a:pt x="5706" y="13685"/>
                  </a:cubicBezTo>
                  <a:cubicBezTo>
                    <a:pt x="5638" y="14499"/>
                    <a:pt x="5599" y="15311"/>
                    <a:pt x="5620" y="15492"/>
                  </a:cubicBezTo>
                  <a:cubicBezTo>
                    <a:pt x="5641" y="15671"/>
                    <a:pt x="5771" y="15784"/>
                    <a:pt x="5915" y="15746"/>
                  </a:cubicBezTo>
                  <a:cubicBezTo>
                    <a:pt x="6057" y="15702"/>
                    <a:pt x="6511" y="15485"/>
                    <a:pt x="6922" y="15261"/>
                  </a:cubicBezTo>
                  <a:cubicBezTo>
                    <a:pt x="7333" y="15033"/>
                    <a:pt x="7937" y="14810"/>
                    <a:pt x="8265" y="14768"/>
                  </a:cubicBezTo>
                  <a:close/>
                  <a:moveTo>
                    <a:pt x="8265" y="147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1" name="AutoShape 560"/>
            <p:cNvSpPr>
              <a:spLocks/>
            </p:cNvSpPr>
            <p:nvPr/>
          </p:nvSpPr>
          <p:spPr bwMode="auto">
            <a:xfrm>
              <a:off x="8178800" y="2400300"/>
              <a:ext cx="34925" cy="17463"/>
            </a:xfrm>
            <a:custGeom>
              <a:avLst/>
              <a:gdLst/>
              <a:ahLst/>
              <a:cxnLst/>
              <a:rect l="0" t="0" r="r" b="b"/>
              <a:pathLst>
                <a:path w="20895" h="20678">
                  <a:moveTo>
                    <a:pt x="132" y="13631"/>
                  </a:moveTo>
                  <a:cubicBezTo>
                    <a:pt x="705" y="14424"/>
                    <a:pt x="2118" y="14575"/>
                    <a:pt x="3244" y="13812"/>
                  </a:cubicBezTo>
                  <a:cubicBezTo>
                    <a:pt x="4393" y="13247"/>
                    <a:pt x="6277" y="12570"/>
                    <a:pt x="7447" y="12730"/>
                  </a:cubicBezTo>
                  <a:cubicBezTo>
                    <a:pt x="8639" y="12781"/>
                    <a:pt x="10471" y="14989"/>
                    <a:pt x="11458" y="17685"/>
                  </a:cubicBezTo>
                  <a:cubicBezTo>
                    <a:pt x="12510" y="20279"/>
                    <a:pt x="13592" y="21456"/>
                    <a:pt x="13930" y="20127"/>
                  </a:cubicBezTo>
                  <a:cubicBezTo>
                    <a:pt x="14159" y="18717"/>
                    <a:pt x="15424" y="16770"/>
                    <a:pt x="16543" y="15717"/>
                  </a:cubicBezTo>
                  <a:cubicBezTo>
                    <a:pt x="17654" y="14677"/>
                    <a:pt x="19244" y="14285"/>
                    <a:pt x="20112" y="14931"/>
                  </a:cubicBezTo>
                  <a:cubicBezTo>
                    <a:pt x="21003" y="15505"/>
                    <a:pt x="21179" y="14016"/>
                    <a:pt x="20407" y="11611"/>
                  </a:cubicBezTo>
                  <a:cubicBezTo>
                    <a:pt x="19752" y="9046"/>
                    <a:pt x="18096" y="6750"/>
                    <a:pt x="16844" y="6344"/>
                  </a:cubicBezTo>
                  <a:cubicBezTo>
                    <a:pt x="15623" y="5792"/>
                    <a:pt x="13982" y="4512"/>
                    <a:pt x="13201" y="3198"/>
                  </a:cubicBezTo>
                  <a:cubicBezTo>
                    <a:pt x="12407" y="1963"/>
                    <a:pt x="11207" y="415"/>
                    <a:pt x="10427" y="81"/>
                  </a:cubicBezTo>
                  <a:cubicBezTo>
                    <a:pt x="9632" y="-144"/>
                    <a:pt x="8992" y="88"/>
                    <a:pt x="8904" y="945"/>
                  </a:cubicBezTo>
                  <a:cubicBezTo>
                    <a:pt x="8698" y="1709"/>
                    <a:pt x="8315" y="3604"/>
                    <a:pt x="7741" y="4935"/>
                  </a:cubicBezTo>
                  <a:cubicBezTo>
                    <a:pt x="7071" y="6089"/>
                    <a:pt x="5010" y="8494"/>
                    <a:pt x="2905" y="9802"/>
                  </a:cubicBezTo>
                  <a:cubicBezTo>
                    <a:pt x="816" y="11168"/>
                    <a:pt x="-421" y="12817"/>
                    <a:pt x="132" y="13631"/>
                  </a:cubicBezTo>
                  <a:close/>
                  <a:moveTo>
                    <a:pt x="132" y="136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2" name="AutoShape 561"/>
            <p:cNvSpPr>
              <a:spLocks/>
            </p:cNvSpPr>
            <p:nvPr/>
          </p:nvSpPr>
          <p:spPr bwMode="auto">
            <a:xfrm>
              <a:off x="8382000" y="2400300"/>
              <a:ext cx="1588" cy="3175"/>
            </a:xfrm>
            <a:custGeom>
              <a:avLst/>
              <a:gdLst/>
              <a:ahLst/>
              <a:cxnLst/>
              <a:rect l="0" t="0" r="r" b="b"/>
              <a:pathLst>
                <a:path w="21600" h="21600">
                  <a:moveTo>
                    <a:pt x="0" y="0"/>
                  </a:moveTo>
                  <a:cubicBezTo>
                    <a:pt x="9538" y="10310"/>
                    <a:pt x="20138" y="19556"/>
                    <a:pt x="21600" y="21600"/>
                  </a:cubicBezTo>
                  <a:cubicBezTo>
                    <a:pt x="20236" y="19632"/>
                    <a:pt x="11642" y="9539"/>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3" name="AutoShape 562"/>
            <p:cNvSpPr>
              <a:spLocks/>
            </p:cNvSpPr>
            <p:nvPr/>
          </p:nvSpPr>
          <p:spPr bwMode="auto">
            <a:xfrm>
              <a:off x="8166100" y="2476500"/>
              <a:ext cx="271463" cy="141288"/>
            </a:xfrm>
            <a:custGeom>
              <a:avLst/>
              <a:gdLst/>
              <a:ahLst/>
              <a:cxnLst/>
              <a:rect l="0" t="0" r="r" b="b"/>
              <a:pathLst>
                <a:path w="21531" h="21569">
                  <a:moveTo>
                    <a:pt x="1548" y="14748"/>
                  </a:moveTo>
                  <a:cubicBezTo>
                    <a:pt x="1609" y="14429"/>
                    <a:pt x="1848" y="13864"/>
                    <a:pt x="2088" y="13485"/>
                  </a:cubicBezTo>
                  <a:cubicBezTo>
                    <a:pt x="2339" y="13125"/>
                    <a:pt x="2875" y="12719"/>
                    <a:pt x="3296" y="12633"/>
                  </a:cubicBezTo>
                  <a:cubicBezTo>
                    <a:pt x="3713" y="12561"/>
                    <a:pt x="4326" y="12553"/>
                    <a:pt x="4660" y="12678"/>
                  </a:cubicBezTo>
                  <a:cubicBezTo>
                    <a:pt x="4994" y="12809"/>
                    <a:pt x="5450" y="12915"/>
                    <a:pt x="5673" y="12937"/>
                  </a:cubicBezTo>
                  <a:cubicBezTo>
                    <a:pt x="5897" y="12965"/>
                    <a:pt x="6184" y="13152"/>
                    <a:pt x="6323" y="13342"/>
                  </a:cubicBezTo>
                  <a:cubicBezTo>
                    <a:pt x="6456" y="13541"/>
                    <a:pt x="6708" y="13557"/>
                    <a:pt x="6869" y="13326"/>
                  </a:cubicBezTo>
                  <a:cubicBezTo>
                    <a:pt x="7035" y="13108"/>
                    <a:pt x="7328" y="12941"/>
                    <a:pt x="7515" y="12928"/>
                  </a:cubicBezTo>
                  <a:cubicBezTo>
                    <a:pt x="7703" y="12933"/>
                    <a:pt x="7891" y="13091"/>
                    <a:pt x="7953" y="13292"/>
                  </a:cubicBezTo>
                  <a:cubicBezTo>
                    <a:pt x="8008" y="13496"/>
                    <a:pt x="8182" y="13701"/>
                    <a:pt x="8344" y="13752"/>
                  </a:cubicBezTo>
                  <a:cubicBezTo>
                    <a:pt x="8506" y="13808"/>
                    <a:pt x="8780" y="14124"/>
                    <a:pt x="8960" y="14455"/>
                  </a:cubicBezTo>
                  <a:cubicBezTo>
                    <a:pt x="9132" y="14798"/>
                    <a:pt x="9514" y="15118"/>
                    <a:pt x="9804" y="15160"/>
                  </a:cubicBezTo>
                  <a:cubicBezTo>
                    <a:pt x="10094" y="15194"/>
                    <a:pt x="10402" y="15338"/>
                    <a:pt x="10498" y="15409"/>
                  </a:cubicBezTo>
                  <a:cubicBezTo>
                    <a:pt x="10591" y="15492"/>
                    <a:pt x="10892" y="15332"/>
                    <a:pt x="11178" y="15065"/>
                  </a:cubicBezTo>
                  <a:cubicBezTo>
                    <a:pt x="11458" y="14783"/>
                    <a:pt x="11972" y="14834"/>
                    <a:pt x="12318" y="15179"/>
                  </a:cubicBezTo>
                  <a:cubicBezTo>
                    <a:pt x="12662" y="15530"/>
                    <a:pt x="13186" y="15926"/>
                    <a:pt x="13480" y="16067"/>
                  </a:cubicBezTo>
                  <a:cubicBezTo>
                    <a:pt x="13776" y="16207"/>
                    <a:pt x="14239" y="16764"/>
                    <a:pt x="14508" y="17306"/>
                  </a:cubicBezTo>
                  <a:cubicBezTo>
                    <a:pt x="14776" y="17849"/>
                    <a:pt x="15172" y="18354"/>
                    <a:pt x="15372" y="18472"/>
                  </a:cubicBezTo>
                  <a:cubicBezTo>
                    <a:pt x="15579" y="18558"/>
                    <a:pt x="15946" y="19113"/>
                    <a:pt x="16193" y="19673"/>
                  </a:cubicBezTo>
                  <a:cubicBezTo>
                    <a:pt x="16444" y="20223"/>
                    <a:pt x="16859" y="20768"/>
                    <a:pt x="17126" y="20836"/>
                  </a:cubicBezTo>
                  <a:cubicBezTo>
                    <a:pt x="17397" y="20907"/>
                    <a:pt x="17687" y="21138"/>
                    <a:pt x="17793" y="21279"/>
                  </a:cubicBezTo>
                  <a:cubicBezTo>
                    <a:pt x="17891" y="21450"/>
                    <a:pt x="17978" y="21569"/>
                    <a:pt x="17977" y="21569"/>
                  </a:cubicBezTo>
                  <a:cubicBezTo>
                    <a:pt x="17977" y="21569"/>
                    <a:pt x="18204" y="21424"/>
                    <a:pt x="18481" y="21256"/>
                  </a:cubicBezTo>
                  <a:cubicBezTo>
                    <a:pt x="18757" y="21080"/>
                    <a:pt x="19293" y="20942"/>
                    <a:pt x="19670" y="20928"/>
                  </a:cubicBezTo>
                  <a:cubicBezTo>
                    <a:pt x="20050" y="20943"/>
                    <a:pt x="20350" y="20571"/>
                    <a:pt x="20380" y="20156"/>
                  </a:cubicBezTo>
                  <a:cubicBezTo>
                    <a:pt x="20395" y="19741"/>
                    <a:pt x="20521" y="19312"/>
                    <a:pt x="20669" y="19209"/>
                  </a:cubicBezTo>
                  <a:cubicBezTo>
                    <a:pt x="20820" y="19118"/>
                    <a:pt x="20973" y="18760"/>
                    <a:pt x="21017" y="18446"/>
                  </a:cubicBezTo>
                  <a:cubicBezTo>
                    <a:pt x="21059" y="18129"/>
                    <a:pt x="21217" y="17852"/>
                    <a:pt x="21363" y="17821"/>
                  </a:cubicBezTo>
                  <a:cubicBezTo>
                    <a:pt x="21510" y="17794"/>
                    <a:pt x="21560" y="17397"/>
                    <a:pt x="21517" y="16922"/>
                  </a:cubicBezTo>
                  <a:cubicBezTo>
                    <a:pt x="21457" y="16451"/>
                    <a:pt x="21275" y="15805"/>
                    <a:pt x="21136" y="15464"/>
                  </a:cubicBezTo>
                  <a:cubicBezTo>
                    <a:pt x="20999" y="15120"/>
                    <a:pt x="20765" y="14455"/>
                    <a:pt x="20631" y="13965"/>
                  </a:cubicBezTo>
                  <a:cubicBezTo>
                    <a:pt x="20500" y="13475"/>
                    <a:pt x="20330" y="12947"/>
                    <a:pt x="20267" y="12774"/>
                  </a:cubicBezTo>
                  <a:cubicBezTo>
                    <a:pt x="20206" y="12598"/>
                    <a:pt x="20008" y="12139"/>
                    <a:pt x="19874" y="11702"/>
                  </a:cubicBezTo>
                  <a:cubicBezTo>
                    <a:pt x="19727" y="11281"/>
                    <a:pt x="19615" y="10767"/>
                    <a:pt x="19630" y="10566"/>
                  </a:cubicBezTo>
                  <a:cubicBezTo>
                    <a:pt x="19630" y="10362"/>
                    <a:pt x="19592" y="9969"/>
                    <a:pt x="19521" y="9692"/>
                  </a:cubicBezTo>
                  <a:cubicBezTo>
                    <a:pt x="19461" y="9404"/>
                    <a:pt x="19325" y="9056"/>
                    <a:pt x="19235" y="8919"/>
                  </a:cubicBezTo>
                  <a:cubicBezTo>
                    <a:pt x="19150" y="8759"/>
                    <a:pt x="19092" y="8533"/>
                    <a:pt x="19123" y="8394"/>
                  </a:cubicBezTo>
                  <a:cubicBezTo>
                    <a:pt x="19165" y="8267"/>
                    <a:pt x="19124" y="7915"/>
                    <a:pt x="19092" y="7623"/>
                  </a:cubicBezTo>
                  <a:cubicBezTo>
                    <a:pt x="19048" y="7341"/>
                    <a:pt x="18632" y="6931"/>
                    <a:pt x="18173" y="6704"/>
                  </a:cubicBezTo>
                  <a:cubicBezTo>
                    <a:pt x="17712" y="6475"/>
                    <a:pt x="17083" y="6438"/>
                    <a:pt x="16774" y="6579"/>
                  </a:cubicBezTo>
                  <a:cubicBezTo>
                    <a:pt x="16464" y="6706"/>
                    <a:pt x="16084" y="6547"/>
                    <a:pt x="15918" y="6175"/>
                  </a:cubicBezTo>
                  <a:cubicBezTo>
                    <a:pt x="15757" y="5796"/>
                    <a:pt x="15471" y="5340"/>
                    <a:pt x="15291" y="5140"/>
                  </a:cubicBezTo>
                  <a:cubicBezTo>
                    <a:pt x="15109" y="4952"/>
                    <a:pt x="14862" y="4478"/>
                    <a:pt x="14746" y="4088"/>
                  </a:cubicBezTo>
                  <a:cubicBezTo>
                    <a:pt x="14629" y="3695"/>
                    <a:pt x="14284" y="3062"/>
                    <a:pt x="13975" y="2695"/>
                  </a:cubicBezTo>
                  <a:cubicBezTo>
                    <a:pt x="13669" y="2319"/>
                    <a:pt x="13317" y="1999"/>
                    <a:pt x="13200" y="1942"/>
                  </a:cubicBezTo>
                  <a:cubicBezTo>
                    <a:pt x="13078" y="1905"/>
                    <a:pt x="12923" y="1656"/>
                    <a:pt x="12830" y="1426"/>
                  </a:cubicBezTo>
                  <a:cubicBezTo>
                    <a:pt x="12740" y="1190"/>
                    <a:pt x="12561" y="819"/>
                    <a:pt x="12419" y="613"/>
                  </a:cubicBezTo>
                  <a:cubicBezTo>
                    <a:pt x="12266" y="428"/>
                    <a:pt x="12149" y="469"/>
                    <a:pt x="12117" y="732"/>
                  </a:cubicBezTo>
                  <a:cubicBezTo>
                    <a:pt x="12088" y="996"/>
                    <a:pt x="11981" y="1224"/>
                    <a:pt x="11864" y="1208"/>
                  </a:cubicBezTo>
                  <a:cubicBezTo>
                    <a:pt x="11746" y="1208"/>
                    <a:pt x="11449" y="895"/>
                    <a:pt x="11187" y="562"/>
                  </a:cubicBezTo>
                  <a:cubicBezTo>
                    <a:pt x="10936" y="206"/>
                    <a:pt x="10552" y="-31"/>
                    <a:pt x="10338" y="3"/>
                  </a:cubicBezTo>
                  <a:cubicBezTo>
                    <a:pt x="10124" y="44"/>
                    <a:pt x="9730" y="266"/>
                    <a:pt x="9462" y="493"/>
                  </a:cubicBezTo>
                  <a:cubicBezTo>
                    <a:pt x="9193" y="716"/>
                    <a:pt x="8897" y="933"/>
                    <a:pt x="8804" y="977"/>
                  </a:cubicBezTo>
                  <a:cubicBezTo>
                    <a:pt x="8710" y="1014"/>
                    <a:pt x="8651" y="1377"/>
                    <a:pt x="8681" y="1777"/>
                  </a:cubicBezTo>
                  <a:cubicBezTo>
                    <a:pt x="8711" y="2178"/>
                    <a:pt x="8838" y="3097"/>
                    <a:pt x="8967" y="3821"/>
                  </a:cubicBezTo>
                  <a:cubicBezTo>
                    <a:pt x="9085" y="4549"/>
                    <a:pt x="9148" y="5578"/>
                    <a:pt x="9076" y="6116"/>
                  </a:cubicBezTo>
                  <a:cubicBezTo>
                    <a:pt x="9019" y="6659"/>
                    <a:pt x="8737" y="7496"/>
                    <a:pt x="8474" y="7984"/>
                  </a:cubicBezTo>
                  <a:cubicBezTo>
                    <a:pt x="8218" y="8484"/>
                    <a:pt x="7817" y="8842"/>
                    <a:pt x="7600" y="8793"/>
                  </a:cubicBezTo>
                  <a:cubicBezTo>
                    <a:pt x="7378" y="8750"/>
                    <a:pt x="6999" y="8370"/>
                    <a:pt x="6753" y="7955"/>
                  </a:cubicBezTo>
                  <a:cubicBezTo>
                    <a:pt x="6515" y="7540"/>
                    <a:pt x="6261" y="6976"/>
                    <a:pt x="6231" y="6682"/>
                  </a:cubicBezTo>
                  <a:cubicBezTo>
                    <a:pt x="6171" y="6404"/>
                    <a:pt x="5746" y="5421"/>
                    <a:pt x="5252" y="4525"/>
                  </a:cubicBezTo>
                  <a:cubicBezTo>
                    <a:pt x="4757" y="3640"/>
                    <a:pt x="4339" y="2500"/>
                    <a:pt x="4282" y="2030"/>
                  </a:cubicBezTo>
                  <a:cubicBezTo>
                    <a:pt x="4225" y="1555"/>
                    <a:pt x="4137" y="1156"/>
                    <a:pt x="4059" y="1156"/>
                  </a:cubicBezTo>
                  <a:cubicBezTo>
                    <a:pt x="3981" y="1171"/>
                    <a:pt x="3804" y="1365"/>
                    <a:pt x="3653" y="1596"/>
                  </a:cubicBezTo>
                  <a:cubicBezTo>
                    <a:pt x="3503" y="1833"/>
                    <a:pt x="3176" y="2097"/>
                    <a:pt x="2918" y="2145"/>
                  </a:cubicBezTo>
                  <a:cubicBezTo>
                    <a:pt x="2661" y="2200"/>
                    <a:pt x="2381" y="2356"/>
                    <a:pt x="2298" y="2482"/>
                  </a:cubicBezTo>
                  <a:cubicBezTo>
                    <a:pt x="2216" y="2613"/>
                    <a:pt x="1988" y="2703"/>
                    <a:pt x="1798" y="2689"/>
                  </a:cubicBezTo>
                  <a:cubicBezTo>
                    <a:pt x="1606" y="2675"/>
                    <a:pt x="1350" y="2942"/>
                    <a:pt x="1227" y="3277"/>
                  </a:cubicBezTo>
                  <a:cubicBezTo>
                    <a:pt x="1101" y="3611"/>
                    <a:pt x="1053" y="4165"/>
                    <a:pt x="1081" y="4506"/>
                  </a:cubicBezTo>
                  <a:cubicBezTo>
                    <a:pt x="1135" y="4833"/>
                    <a:pt x="1088" y="5068"/>
                    <a:pt x="1008" y="4998"/>
                  </a:cubicBezTo>
                  <a:cubicBezTo>
                    <a:pt x="922" y="4950"/>
                    <a:pt x="888" y="5345"/>
                    <a:pt x="932" y="5911"/>
                  </a:cubicBezTo>
                  <a:cubicBezTo>
                    <a:pt x="975" y="6477"/>
                    <a:pt x="810" y="7296"/>
                    <a:pt x="601" y="7776"/>
                  </a:cubicBezTo>
                  <a:cubicBezTo>
                    <a:pt x="380" y="8239"/>
                    <a:pt x="206" y="8872"/>
                    <a:pt x="192" y="9189"/>
                  </a:cubicBezTo>
                  <a:cubicBezTo>
                    <a:pt x="192" y="9507"/>
                    <a:pt x="202" y="10027"/>
                    <a:pt x="244" y="10336"/>
                  </a:cubicBezTo>
                  <a:cubicBezTo>
                    <a:pt x="298" y="10642"/>
                    <a:pt x="203" y="11078"/>
                    <a:pt x="74" y="11269"/>
                  </a:cubicBezTo>
                  <a:cubicBezTo>
                    <a:pt x="-40" y="11487"/>
                    <a:pt x="-20" y="12282"/>
                    <a:pt x="126" y="13094"/>
                  </a:cubicBezTo>
                  <a:cubicBezTo>
                    <a:pt x="273" y="13903"/>
                    <a:pt x="499" y="14734"/>
                    <a:pt x="619" y="14941"/>
                  </a:cubicBezTo>
                  <a:cubicBezTo>
                    <a:pt x="737" y="15154"/>
                    <a:pt x="846" y="15366"/>
                    <a:pt x="846" y="15425"/>
                  </a:cubicBezTo>
                  <a:cubicBezTo>
                    <a:pt x="858" y="15479"/>
                    <a:pt x="991" y="15489"/>
                    <a:pt x="1153" y="15431"/>
                  </a:cubicBezTo>
                  <a:cubicBezTo>
                    <a:pt x="1315" y="15374"/>
                    <a:pt x="1494" y="15067"/>
                    <a:pt x="1548" y="14748"/>
                  </a:cubicBezTo>
                  <a:close/>
                  <a:moveTo>
                    <a:pt x="1548" y="147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4" name="AutoShape 563"/>
            <p:cNvSpPr>
              <a:spLocks/>
            </p:cNvSpPr>
            <p:nvPr/>
          </p:nvSpPr>
          <p:spPr bwMode="auto">
            <a:xfrm>
              <a:off x="8178800" y="2552700"/>
              <a:ext cx="214313" cy="146050"/>
            </a:xfrm>
            <a:custGeom>
              <a:avLst/>
              <a:gdLst/>
              <a:ahLst/>
              <a:cxnLst/>
              <a:rect l="0" t="0" r="r" b="b"/>
              <a:pathLst>
                <a:path w="21514" h="21484">
                  <a:moveTo>
                    <a:pt x="10676" y="17941"/>
                  </a:moveTo>
                  <a:cubicBezTo>
                    <a:pt x="10841" y="18564"/>
                    <a:pt x="11011" y="19381"/>
                    <a:pt x="11011" y="19767"/>
                  </a:cubicBezTo>
                  <a:cubicBezTo>
                    <a:pt x="10996" y="20104"/>
                    <a:pt x="11173" y="20698"/>
                    <a:pt x="11384" y="21166"/>
                  </a:cubicBezTo>
                  <a:cubicBezTo>
                    <a:pt x="11562" y="21488"/>
                    <a:pt x="11884" y="21573"/>
                    <a:pt x="12126" y="21386"/>
                  </a:cubicBezTo>
                  <a:cubicBezTo>
                    <a:pt x="12363" y="21160"/>
                    <a:pt x="12917" y="20907"/>
                    <a:pt x="13332" y="20776"/>
                  </a:cubicBezTo>
                  <a:cubicBezTo>
                    <a:pt x="13749" y="20656"/>
                    <a:pt x="14361" y="20755"/>
                    <a:pt x="14686" y="21019"/>
                  </a:cubicBezTo>
                  <a:cubicBezTo>
                    <a:pt x="15011" y="21282"/>
                    <a:pt x="15516" y="21351"/>
                    <a:pt x="15812" y="21189"/>
                  </a:cubicBezTo>
                  <a:cubicBezTo>
                    <a:pt x="16107" y="21029"/>
                    <a:pt x="16513" y="20892"/>
                    <a:pt x="16717" y="20904"/>
                  </a:cubicBezTo>
                  <a:cubicBezTo>
                    <a:pt x="16920" y="20918"/>
                    <a:pt x="16974" y="20510"/>
                    <a:pt x="16803" y="20031"/>
                  </a:cubicBezTo>
                  <a:cubicBezTo>
                    <a:pt x="16640" y="19542"/>
                    <a:pt x="16798" y="19167"/>
                    <a:pt x="17140" y="19194"/>
                  </a:cubicBezTo>
                  <a:cubicBezTo>
                    <a:pt x="17481" y="19222"/>
                    <a:pt x="17825" y="18916"/>
                    <a:pt x="17915" y="18516"/>
                  </a:cubicBezTo>
                  <a:cubicBezTo>
                    <a:pt x="18007" y="18115"/>
                    <a:pt x="18234" y="17726"/>
                    <a:pt x="18435" y="17673"/>
                  </a:cubicBezTo>
                  <a:cubicBezTo>
                    <a:pt x="18632" y="17621"/>
                    <a:pt x="18868" y="17732"/>
                    <a:pt x="18975" y="17926"/>
                  </a:cubicBezTo>
                  <a:cubicBezTo>
                    <a:pt x="19065" y="18136"/>
                    <a:pt x="19365" y="18337"/>
                    <a:pt x="19623" y="18365"/>
                  </a:cubicBezTo>
                  <a:cubicBezTo>
                    <a:pt x="19877" y="18422"/>
                    <a:pt x="20073" y="18151"/>
                    <a:pt x="20037" y="17802"/>
                  </a:cubicBezTo>
                  <a:cubicBezTo>
                    <a:pt x="20000" y="17454"/>
                    <a:pt x="19723" y="16946"/>
                    <a:pt x="19396" y="16695"/>
                  </a:cubicBezTo>
                  <a:cubicBezTo>
                    <a:pt x="19074" y="16433"/>
                    <a:pt x="18843" y="15835"/>
                    <a:pt x="18862" y="15356"/>
                  </a:cubicBezTo>
                  <a:cubicBezTo>
                    <a:pt x="18882" y="14877"/>
                    <a:pt x="19048" y="14465"/>
                    <a:pt x="19214" y="14454"/>
                  </a:cubicBezTo>
                  <a:cubicBezTo>
                    <a:pt x="19381" y="14427"/>
                    <a:pt x="19666" y="14013"/>
                    <a:pt x="19837" y="13515"/>
                  </a:cubicBezTo>
                  <a:cubicBezTo>
                    <a:pt x="20005" y="13011"/>
                    <a:pt x="20474" y="12456"/>
                    <a:pt x="20861" y="12273"/>
                  </a:cubicBezTo>
                  <a:cubicBezTo>
                    <a:pt x="21248" y="12099"/>
                    <a:pt x="21548" y="11668"/>
                    <a:pt x="21511" y="11348"/>
                  </a:cubicBezTo>
                  <a:cubicBezTo>
                    <a:pt x="21493" y="11023"/>
                    <a:pt x="21303" y="10640"/>
                    <a:pt x="21105" y="10495"/>
                  </a:cubicBezTo>
                  <a:cubicBezTo>
                    <a:pt x="20909" y="10353"/>
                    <a:pt x="20927" y="9862"/>
                    <a:pt x="21166" y="9434"/>
                  </a:cubicBezTo>
                  <a:cubicBezTo>
                    <a:pt x="21167" y="9431"/>
                    <a:pt x="21170" y="9429"/>
                    <a:pt x="21171" y="9426"/>
                  </a:cubicBezTo>
                  <a:cubicBezTo>
                    <a:pt x="21404" y="9004"/>
                    <a:pt x="21472" y="8528"/>
                    <a:pt x="21350" y="8365"/>
                  </a:cubicBezTo>
                  <a:cubicBezTo>
                    <a:pt x="21216" y="8229"/>
                    <a:pt x="20849" y="8007"/>
                    <a:pt x="20505" y="7939"/>
                  </a:cubicBezTo>
                  <a:cubicBezTo>
                    <a:pt x="20167" y="7873"/>
                    <a:pt x="19642" y="7349"/>
                    <a:pt x="19325" y="6820"/>
                  </a:cubicBezTo>
                  <a:cubicBezTo>
                    <a:pt x="19011" y="6282"/>
                    <a:pt x="18547" y="5748"/>
                    <a:pt x="18285" y="5665"/>
                  </a:cubicBezTo>
                  <a:cubicBezTo>
                    <a:pt x="18032" y="5552"/>
                    <a:pt x="17531" y="5066"/>
                    <a:pt x="17191" y="4544"/>
                  </a:cubicBezTo>
                  <a:cubicBezTo>
                    <a:pt x="16851" y="4023"/>
                    <a:pt x="16265" y="3487"/>
                    <a:pt x="15890" y="3352"/>
                  </a:cubicBezTo>
                  <a:cubicBezTo>
                    <a:pt x="15518" y="3216"/>
                    <a:pt x="14854" y="2836"/>
                    <a:pt x="14418" y="2499"/>
                  </a:cubicBezTo>
                  <a:cubicBezTo>
                    <a:pt x="13981" y="2167"/>
                    <a:pt x="13330" y="2118"/>
                    <a:pt x="12975" y="2389"/>
                  </a:cubicBezTo>
                  <a:cubicBezTo>
                    <a:pt x="12613" y="2645"/>
                    <a:pt x="12233" y="2799"/>
                    <a:pt x="12114" y="2720"/>
                  </a:cubicBezTo>
                  <a:cubicBezTo>
                    <a:pt x="11994" y="2651"/>
                    <a:pt x="11603" y="2513"/>
                    <a:pt x="11236" y="2480"/>
                  </a:cubicBezTo>
                  <a:cubicBezTo>
                    <a:pt x="10869" y="2440"/>
                    <a:pt x="10385" y="2132"/>
                    <a:pt x="10168" y="1802"/>
                  </a:cubicBezTo>
                  <a:cubicBezTo>
                    <a:pt x="9940" y="1483"/>
                    <a:pt x="9593" y="1180"/>
                    <a:pt x="9389" y="1126"/>
                  </a:cubicBezTo>
                  <a:cubicBezTo>
                    <a:pt x="9184" y="1077"/>
                    <a:pt x="8963" y="880"/>
                    <a:pt x="8894" y="683"/>
                  </a:cubicBezTo>
                  <a:cubicBezTo>
                    <a:pt x="8815" y="491"/>
                    <a:pt x="8577" y="339"/>
                    <a:pt x="8339" y="333"/>
                  </a:cubicBezTo>
                  <a:cubicBezTo>
                    <a:pt x="8102" y="346"/>
                    <a:pt x="7732" y="507"/>
                    <a:pt x="7522" y="716"/>
                  </a:cubicBezTo>
                  <a:cubicBezTo>
                    <a:pt x="7318" y="939"/>
                    <a:pt x="6998" y="923"/>
                    <a:pt x="6830" y="731"/>
                  </a:cubicBezTo>
                  <a:cubicBezTo>
                    <a:pt x="6654" y="549"/>
                    <a:pt x="6290" y="369"/>
                    <a:pt x="6008" y="342"/>
                  </a:cubicBezTo>
                  <a:cubicBezTo>
                    <a:pt x="5725" y="321"/>
                    <a:pt x="5148" y="219"/>
                    <a:pt x="4725" y="93"/>
                  </a:cubicBezTo>
                  <a:cubicBezTo>
                    <a:pt x="4302" y="-27"/>
                    <a:pt x="3526" y="-19"/>
                    <a:pt x="2998" y="50"/>
                  </a:cubicBezTo>
                  <a:cubicBezTo>
                    <a:pt x="2465" y="132"/>
                    <a:pt x="1787" y="523"/>
                    <a:pt x="1469" y="869"/>
                  </a:cubicBezTo>
                  <a:cubicBezTo>
                    <a:pt x="1165" y="1234"/>
                    <a:pt x="862" y="1777"/>
                    <a:pt x="785" y="2084"/>
                  </a:cubicBezTo>
                  <a:cubicBezTo>
                    <a:pt x="717" y="2391"/>
                    <a:pt x="490" y="2686"/>
                    <a:pt x="285" y="2740"/>
                  </a:cubicBezTo>
                  <a:cubicBezTo>
                    <a:pt x="80" y="2797"/>
                    <a:pt x="-52" y="3231"/>
                    <a:pt x="19" y="3706"/>
                  </a:cubicBezTo>
                  <a:cubicBezTo>
                    <a:pt x="77" y="4188"/>
                    <a:pt x="202" y="4927"/>
                    <a:pt x="327" y="5329"/>
                  </a:cubicBezTo>
                  <a:cubicBezTo>
                    <a:pt x="439" y="5740"/>
                    <a:pt x="451" y="6245"/>
                    <a:pt x="377" y="6473"/>
                  </a:cubicBezTo>
                  <a:cubicBezTo>
                    <a:pt x="301" y="6694"/>
                    <a:pt x="286" y="6894"/>
                    <a:pt x="345" y="6965"/>
                  </a:cubicBezTo>
                  <a:cubicBezTo>
                    <a:pt x="416" y="7004"/>
                    <a:pt x="794" y="7022"/>
                    <a:pt x="1199" y="6954"/>
                  </a:cubicBezTo>
                  <a:cubicBezTo>
                    <a:pt x="1602" y="6884"/>
                    <a:pt x="2238" y="7382"/>
                    <a:pt x="2616" y="8026"/>
                  </a:cubicBezTo>
                  <a:cubicBezTo>
                    <a:pt x="3002" y="8665"/>
                    <a:pt x="3569" y="9419"/>
                    <a:pt x="3896" y="9671"/>
                  </a:cubicBezTo>
                  <a:cubicBezTo>
                    <a:pt x="4224" y="9922"/>
                    <a:pt x="4851" y="10089"/>
                    <a:pt x="5282" y="9993"/>
                  </a:cubicBezTo>
                  <a:cubicBezTo>
                    <a:pt x="5713" y="9899"/>
                    <a:pt x="6209" y="9970"/>
                    <a:pt x="6383" y="10112"/>
                  </a:cubicBezTo>
                  <a:cubicBezTo>
                    <a:pt x="6554" y="10263"/>
                    <a:pt x="6780" y="10616"/>
                    <a:pt x="6820" y="10947"/>
                  </a:cubicBezTo>
                  <a:cubicBezTo>
                    <a:pt x="6896" y="11263"/>
                    <a:pt x="7066" y="11584"/>
                    <a:pt x="7217" y="11653"/>
                  </a:cubicBezTo>
                  <a:cubicBezTo>
                    <a:pt x="7371" y="11702"/>
                    <a:pt x="7601" y="11931"/>
                    <a:pt x="7734" y="12126"/>
                  </a:cubicBezTo>
                  <a:cubicBezTo>
                    <a:pt x="7882" y="12300"/>
                    <a:pt x="7865" y="12654"/>
                    <a:pt x="7763" y="12906"/>
                  </a:cubicBezTo>
                  <a:cubicBezTo>
                    <a:pt x="7652" y="13150"/>
                    <a:pt x="7617" y="13804"/>
                    <a:pt x="7693" y="14379"/>
                  </a:cubicBezTo>
                  <a:cubicBezTo>
                    <a:pt x="7765" y="14958"/>
                    <a:pt x="8034" y="15421"/>
                    <a:pt x="8269" y="15433"/>
                  </a:cubicBezTo>
                  <a:cubicBezTo>
                    <a:pt x="8506" y="15420"/>
                    <a:pt x="8932" y="15721"/>
                    <a:pt x="9227" y="16042"/>
                  </a:cubicBezTo>
                  <a:cubicBezTo>
                    <a:pt x="9513" y="16375"/>
                    <a:pt x="9895" y="16657"/>
                    <a:pt x="10056" y="16730"/>
                  </a:cubicBezTo>
                  <a:cubicBezTo>
                    <a:pt x="10225" y="16757"/>
                    <a:pt x="10506" y="17319"/>
                    <a:pt x="10676" y="17941"/>
                  </a:cubicBezTo>
                  <a:close/>
                  <a:moveTo>
                    <a:pt x="10676" y="179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5" name="AutoShape 564"/>
            <p:cNvSpPr>
              <a:spLocks/>
            </p:cNvSpPr>
            <p:nvPr/>
          </p:nvSpPr>
          <p:spPr bwMode="auto">
            <a:xfrm>
              <a:off x="8293100" y="2590800"/>
              <a:ext cx="350838" cy="269875"/>
            </a:xfrm>
            <a:custGeom>
              <a:avLst/>
              <a:gdLst/>
              <a:ahLst/>
              <a:cxnLst/>
              <a:rect l="0" t="0" r="r" b="b"/>
              <a:pathLst>
                <a:path w="21532" h="21573">
                  <a:moveTo>
                    <a:pt x="8340" y="345"/>
                  </a:moveTo>
                  <a:cubicBezTo>
                    <a:pt x="8306" y="510"/>
                    <a:pt x="8187" y="698"/>
                    <a:pt x="8070" y="746"/>
                  </a:cubicBezTo>
                  <a:cubicBezTo>
                    <a:pt x="7956" y="801"/>
                    <a:pt x="7858" y="1026"/>
                    <a:pt x="7847" y="1244"/>
                  </a:cubicBezTo>
                  <a:cubicBezTo>
                    <a:pt x="7824" y="1462"/>
                    <a:pt x="7591" y="1658"/>
                    <a:pt x="7298" y="1650"/>
                  </a:cubicBezTo>
                  <a:cubicBezTo>
                    <a:pt x="7006" y="1657"/>
                    <a:pt x="6592" y="1730"/>
                    <a:pt x="6378" y="1822"/>
                  </a:cubicBezTo>
                  <a:cubicBezTo>
                    <a:pt x="6166" y="1910"/>
                    <a:pt x="5887" y="2184"/>
                    <a:pt x="5737" y="2414"/>
                  </a:cubicBezTo>
                  <a:cubicBezTo>
                    <a:pt x="5736" y="2417"/>
                    <a:pt x="5735" y="2418"/>
                    <a:pt x="5734" y="2421"/>
                  </a:cubicBezTo>
                  <a:cubicBezTo>
                    <a:pt x="5589" y="2653"/>
                    <a:pt x="5577" y="2921"/>
                    <a:pt x="5697" y="2999"/>
                  </a:cubicBezTo>
                  <a:cubicBezTo>
                    <a:pt x="5818" y="3078"/>
                    <a:pt x="5934" y="3287"/>
                    <a:pt x="5945" y="3465"/>
                  </a:cubicBezTo>
                  <a:cubicBezTo>
                    <a:pt x="5967" y="3640"/>
                    <a:pt x="5784" y="3875"/>
                    <a:pt x="5548" y="3970"/>
                  </a:cubicBezTo>
                  <a:cubicBezTo>
                    <a:pt x="5311" y="4071"/>
                    <a:pt x="5025" y="4374"/>
                    <a:pt x="4922" y="4649"/>
                  </a:cubicBezTo>
                  <a:cubicBezTo>
                    <a:pt x="4817" y="4921"/>
                    <a:pt x="4643" y="5147"/>
                    <a:pt x="4542" y="5162"/>
                  </a:cubicBezTo>
                  <a:cubicBezTo>
                    <a:pt x="4440" y="5169"/>
                    <a:pt x="4339" y="5394"/>
                    <a:pt x="4326" y="5655"/>
                  </a:cubicBezTo>
                  <a:cubicBezTo>
                    <a:pt x="4315" y="5917"/>
                    <a:pt x="4456" y="6244"/>
                    <a:pt x="4653" y="6387"/>
                  </a:cubicBezTo>
                  <a:cubicBezTo>
                    <a:pt x="4852" y="6524"/>
                    <a:pt x="5022" y="6802"/>
                    <a:pt x="5044" y="6992"/>
                  </a:cubicBezTo>
                  <a:cubicBezTo>
                    <a:pt x="5066" y="7183"/>
                    <a:pt x="4947" y="7331"/>
                    <a:pt x="4792" y="7300"/>
                  </a:cubicBezTo>
                  <a:cubicBezTo>
                    <a:pt x="4633" y="7284"/>
                    <a:pt x="4450" y="7175"/>
                    <a:pt x="4396" y="7060"/>
                  </a:cubicBezTo>
                  <a:cubicBezTo>
                    <a:pt x="4330" y="6954"/>
                    <a:pt x="4186" y="6893"/>
                    <a:pt x="4066" y="6921"/>
                  </a:cubicBezTo>
                  <a:cubicBezTo>
                    <a:pt x="3943" y="6951"/>
                    <a:pt x="3804" y="7163"/>
                    <a:pt x="3748" y="7382"/>
                  </a:cubicBezTo>
                  <a:cubicBezTo>
                    <a:pt x="3693" y="7601"/>
                    <a:pt x="3483" y="7768"/>
                    <a:pt x="3275" y="7753"/>
                  </a:cubicBezTo>
                  <a:cubicBezTo>
                    <a:pt x="3066" y="7738"/>
                    <a:pt x="2969" y="7943"/>
                    <a:pt x="3069" y="8210"/>
                  </a:cubicBezTo>
                  <a:cubicBezTo>
                    <a:pt x="3173" y="8472"/>
                    <a:pt x="3140" y="8695"/>
                    <a:pt x="3016" y="8688"/>
                  </a:cubicBezTo>
                  <a:cubicBezTo>
                    <a:pt x="2892" y="8681"/>
                    <a:pt x="2643" y="8756"/>
                    <a:pt x="2463" y="8844"/>
                  </a:cubicBezTo>
                  <a:cubicBezTo>
                    <a:pt x="2282" y="8932"/>
                    <a:pt x="1973" y="8894"/>
                    <a:pt x="1775" y="8751"/>
                  </a:cubicBezTo>
                  <a:cubicBezTo>
                    <a:pt x="1577" y="8606"/>
                    <a:pt x="1203" y="8552"/>
                    <a:pt x="948" y="8618"/>
                  </a:cubicBezTo>
                  <a:cubicBezTo>
                    <a:pt x="694" y="8689"/>
                    <a:pt x="356" y="8828"/>
                    <a:pt x="211" y="8951"/>
                  </a:cubicBezTo>
                  <a:cubicBezTo>
                    <a:pt x="56" y="9059"/>
                    <a:pt x="-27" y="9217"/>
                    <a:pt x="9" y="9294"/>
                  </a:cubicBezTo>
                  <a:cubicBezTo>
                    <a:pt x="51" y="9363"/>
                    <a:pt x="201" y="9775"/>
                    <a:pt x="345" y="10206"/>
                  </a:cubicBezTo>
                  <a:cubicBezTo>
                    <a:pt x="494" y="10632"/>
                    <a:pt x="703" y="11150"/>
                    <a:pt x="819" y="11353"/>
                  </a:cubicBezTo>
                  <a:cubicBezTo>
                    <a:pt x="934" y="11556"/>
                    <a:pt x="1052" y="11912"/>
                    <a:pt x="1119" y="12129"/>
                  </a:cubicBezTo>
                  <a:cubicBezTo>
                    <a:pt x="1165" y="12356"/>
                    <a:pt x="1285" y="12623"/>
                    <a:pt x="1374" y="12725"/>
                  </a:cubicBezTo>
                  <a:cubicBezTo>
                    <a:pt x="1469" y="12825"/>
                    <a:pt x="1589" y="13377"/>
                    <a:pt x="1634" y="13947"/>
                  </a:cubicBezTo>
                  <a:cubicBezTo>
                    <a:pt x="1669" y="14521"/>
                    <a:pt x="1609" y="15022"/>
                    <a:pt x="1466" y="15072"/>
                  </a:cubicBezTo>
                  <a:cubicBezTo>
                    <a:pt x="1321" y="15115"/>
                    <a:pt x="1124" y="15325"/>
                    <a:pt x="1033" y="15538"/>
                  </a:cubicBezTo>
                  <a:cubicBezTo>
                    <a:pt x="932" y="15742"/>
                    <a:pt x="926" y="16150"/>
                    <a:pt x="1007" y="16427"/>
                  </a:cubicBezTo>
                  <a:cubicBezTo>
                    <a:pt x="1086" y="16705"/>
                    <a:pt x="1296" y="17188"/>
                    <a:pt x="1463" y="17508"/>
                  </a:cubicBezTo>
                  <a:cubicBezTo>
                    <a:pt x="1644" y="17817"/>
                    <a:pt x="1776" y="18158"/>
                    <a:pt x="1776" y="18248"/>
                  </a:cubicBezTo>
                  <a:cubicBezTo>
                    <a:pt x="1789" y="18338"/>
                    <a:pt x="1876" y="18421"/>
                    <a:pt x="1990" y="18406"/>
                  </a:cubicBezTo>
                  <a:cubicBezTo>
                    <a:pt x="2106" y="18406"/>
                    <a:pt x="2407" y="18547"/>
                    <a:pt x="2657" y="18731"/>
                  </a:cubicBezTo>
                  <a:cubicBezTo>
                    <a:pt x="2909" y="18910"/>
                    <a:pt x="3211" y="19006"/>
                    <a:pt x="3331" y="18935"/>
                  </a:cubicBezTo>
                  <a:cubicBezTo>
                    <a:pt x="3453" y="18870"/>
                    <a:pt x="3965" y="18793"/>
                    <a:pt x="4469" y="18757"/>
                  </a:cubicBezTo>
                  <a:cubicBezTo>
                    <a:pt x="4972" y="18727"/>
                    <a:pt x="5574" y="18725"/>
                    <a:pt x="5804" y="18740"/>
                  </a:cubicBezTo>
                  <a:cubicBezTo>
                    <a:pt x="6031" y="18762"/>
                    <a:pt x="6334" y="18655"/>
                    <a:pt x="6474" y="18519"/>
                  </a:cubicBezTo>
                  <a:cubicBezTo>
                    <a:pt x="6617" y="18390"/>
                    <a:pt x="6800" y="18279"/>
                    <a:pt x="6889" y="18301"/>
                  </a:cubicBezTo>
                  <a:cubicBezTo>
                    <a:pt x="6979" y="18322"/>
                    <a:pt x="7210" y="18449"/>
                    <a:pt x="7394" y="18606"/>
                  </a:cubicBezTo>
                  <a:cubicBezTo>
                    <a:pt x="7573" y="18770"/>
                    <a:pt x="8084" y="18983"/>
                    <a:pt x="8505" y="19124"/>
                  </a:cubicBezTo>
                  <a:cubicBezTo>
                    <a:pt x="8927" y="19264"/>
                    <a:pt x="9426" y="19484"/>
                    <a:pt x="9611" y="19619"/>
                  </a:cubicBezTo>
                  <a:cubicBezTo>
                    <a:pt x="9802" y="19744"/>
                    <a:pt x="9978" y="19961"/>
                    <a:pt x="10022" y="20068"/>
                  </a:cubicBezTo>
                  <a:cubicBezTo>
                    <a:pt x="10065" y="20177"/>
                    <a:pt x="10291" y="20198"/>
                    <a:pt x="10528" y="20103"/>
                  </a:cubicBezTo>
                  <a:cubicBezTo>
                    <a:pt x="10763" y="19996"/>
                    <a:pt x="11073" y="20056"/>
                    <a:pt x="11199" y="20219"/>
                  </a:cubicBezTo>
                  <a:cubicBezTo>
                    <a:pt x="11326" y="20378"/>
                    <a:pt x="11514" y="20515"/>
                    <a:pt x="11612" y="20515"/>
                  </a:cubicBezTo>
                  <a:cubicBezTo>
                    <a:pt x="11710" y="20515"/>
                    <a:pt x="11843" y="20480"/>
                    <a:pt x="11889" y="20399"/>
                  </a:cubicBezTo>
                  <a:cubicBezTo>
                    <a:pt x="11940" y="20323"/>
                    <a:pt x="12167" y="20335"/>
                    <a:pt x="12388" y="20399"/>
                  </a:cubicBezTo>
                  <a:cubicBezTo>
                    <a:pt x="12609" y="20464"/>
                    <a:pt x="12869" y="20592"/>
                    <a:pt x="12973" y="20660"/>
                  </a:cubicBezTo>
                  <a:cubicBezTo>
                    <a:pt x="13074" y="20742"/>
                    <a:pt x="13334" y="20683"/>
                    <a:pt x="13539" y="20534"/>
                  </a:cubicBezTo>
                  <a:cubicBezTo>
                    <a:pt x="13744" y="20393"/>
                    <a:pt x="14074" y="20321"/>
                    <a:pt x="14271" y="20385"/>
                  </a:cubicBezTo>
                  <a:cubicBezTo>
                    <a:pt x="14469" y="20449"/>
                    <a:pt x="14664" y="20645"/>
                    <a:pt x="14708" y="20823"/>
                  </a:cubicBezTo>
                  <a:cubicBezTo>
                    <a:pt x="14761" y="20998"/>
                    <a:pt x="14887" y="21205"/>
                    <a:pt x="15009" y="21270"/>
                  </a:cubicBezTo>
                  <a:cubicBezTo>
                    <a:pt x="15128" y="21348"/>
                    <a:pt x="15323" y="21237"/>
                    <a:pt x="15435" y="21047"/>
                  </a:cubicBezTo>
                  <a:cubicBezTo>
                    <a:pt x="15541" y="20855"/>
                    <a:pt x="15759" y="20720"/>
                    <a:pt x="15905" y="20728"/>
                  </a:cubicBezTo>
                  <a:cubicBezTo>
                    <a:pt x="16051" y="20743"/>
                    <a:pt x="16282" y="20838"/>
                    <a:pt x="16404" y="20968"/>
                  </a:cubicBezTo>
                  <a:cubicBezTo>
                    <a:pt x="16539" y="21076"/>
                    <a:pt x="16798" y="21154"/>
                    <a:pt x="16993" y="21098"/>
                  </a:cubicBezTo>
                  <a:cubicBezTo>
                    <a:pt x="17187" y="21050"/>
                    <a:pt x="17457" y="21137"/>
                    <a:pt x="17590" y="21294"/>
                  </a:cubicBezTo>
                  <a:cubicBezTo>
                    <a:pt x="17719" y="21456"/>
                    <a:pt x="17954" y="21581"/>
                    <a:pt x="18103" y="21573"/>
                  </a:cubicBezTo>
                  <a:cubicBezTo>
                    <a:pt x="18252" y="21573"/>
                    <a:pt x="18363" y="21318"/>
                    <a:pt x="18350" y="21013"/>
                  </a:cubicBezTo>
                  <a:cubicBezTo>
                    <a:pt x="18340" y="20707"/>
                    <a:pt x="18372" y="20183"/>
                    <a:pt x="18454" y="19857"/>
                  </a:cubicBezTo>
                  <a:cubicBezTo>
                    <a:pt x="18510" y="19524"/>
                    <a:pt x="18743" y="19261"/>
                    <a:pt x="18945" y="19269"/>
                  </a:cubicBezTo>
                  <a:cubicBezTo>
                    <a:pt x="19148" y="19277"/>
                    <a:pt x="19547" y="19236"/>
                    <a:pt x="19834" y="19189"/>
                  </a:cubicBezTo>
                  <a:cubicBezTo>
                    <a:pt x="20118" y="19145"/>
                    <a:pt x="20367" y="19114"/>
                    <a:pt x="20385" y="19114"/>
                  </a:cubicBezTo>
                  <a:cubicBezTo>
                    <a:pt x="20400" y="19132"/>
                    <a:pt x="20403" y="18943"/>
                    <a:pt x="20380" y="18714"/>
                  </a:cubicBezTo>
                  <a:cubicBezTo>
                    <a:pt x="20358" y="18486"/>
                    <a:pt x="20198" y="18083"/>
                    <a:pt x="20010" y="17830"/>
                  </a:cubicBezTo>
                  <a:cubicBezTo>
                    <a:pt x="19827" y="17571"/>
                    <a:pt x="19684" y="17162"/>
                    <a:pt x="19673" y="16920"/>
                  </a:cubicBezTo>
                  <a:cubicBezTo>
                    <a:pt x="19673" y="16677"/>
                    <a:pt x="19531" y="16226"/>
                    <a:pt x="19361" y="15923"/>
                  </a:cubicBezTo>
                  <a:cubicBezTo>
                    <a:pt x="19190" y="15620"/>
                    <a:pt x="19044" y="15183"/>
                    <a:pt x="18999" y="14966"/>
                  </a:cubicBezTo>
                  <a:cubicBezTo>
                    <a:pt x="18976" y="14745"/>
                    <a:pt x="18982" y="14461"/>
                    <a:pt x="19025" y="14328"/>
                  </a:cubicBezTo>
                  <a:cubicBezTo>
                    <a:pt x="19072" y="14198"/>
                    <a:pt x="19253" y="14246"/>
                    <a:pt x="19413" y="14461"/>
                  </a:cubicBezTo>
                  <a:cubicBezTo>
                    <a:pt x="19579" y="14669"/>
                    <a:pt x="20004" y="14831"/>
                    <a:pt x="20356" y="14824"/>
                  </a:cubicBezTo>
                  <a:cubicBezTo>
                    <a:pt x="20705" y="14831"/>
                    <a:pt x="21084" y="14599"/>
                    <a:pt x="21191" y="14327"/>
                  </a:cubicBezTo>
                  <a:cubicBezTo>
                    <a:pt x="21303" y="14059"/>
                    <a:pt x="21445" y="13775"/>
                    <a:pt x="21514" y="13699"/>
                  </a:cubicBezTo>
                  <a:cubicBezTo>
                    <a:pt x="21573" y="13608"/>
                    <a:pt x="21486" y="13407"/>
                    <a:pt x="21290" y="13227"/>
                  </a:cubicBezTo>
                  <a:cubicBezTo>
                    <a:pt x="21095" y="13047"/>
                    <a:pt x="20896" y="12760"/>
                    <a:pt x="20872" y="12588"/>
                  </a:cubicBezTo>
                  <a:cubicBezTo>
                    <a:pt x="20824" y="12425"/>
                    <a:pt x="20570" y="12008"/>
                    <a:pt x="20283" y="11672"/>
                  </a:cubicBezTo>
                  <a:cubicBezTo>
                    <a:pt x="19998" y="11336"/>
                    <a:pt x="19567" y="10975"/>
                    <a:pt x="19333" y="10853"/>
                  </a:cubicBezTo>
                  <a:cubicBezTo>
                    <a:pt x="19098" y="10736"/>
                    <a:pt x="18832" y="10397"/>
                    <a:pt x="18742" y="10096"/>
                  </a:cubicBezTo>
                  <a:cubicBezTo>
                    <a:pt x="18662" y="9789"/>
                    <a:pt x="18455" y="9426"/>
                    <a:pt x="18303" y="9276"/>
                  </a:cubicBezTo>
                  <a:cubicBezTo>
                    <a:pt x="18144" y="9136"/>
                    <a:pt x="17853" y="8719"/>
                    <a:pt x="17640" y="8376"/>
                  </a:cubicBezTo>
                  <a:cubicBezTo>
                    <a:pt x="17424" y="8035"/>
                    <a:pt x="17168" y="7544"/>
                    <a:pt x="17065" y="7290"/>
                  </a:cubicBezTo>
                  <a:cubicBezTo>
                    <a:pt x="16972" y="7033"/>
                    <a:pt x="16732" y="6632"/>
                    <a:pt x="16545" y="6396"/>
                  </a:cubicBezTo>
                  <a:cubicBezTo>
                    <a:pt x="16365" y="6154"/>
                    <a:pt x="16189" y="5746"/>
                    <a:pt x="16166" y="5483"/>
                  </a:cubicBezTo>
                  <a:cubicBezTo>
                    <a:pt x="16143" y="5220"/>
                    <a:pt x="16000" y="4851"/>
                    <a:pt x="15865" y="4653"/>
                  </a:cubicBezTo>
                  <a:cubicBezTo>
                    <a:pt x="15735" y="4448"/>
                    <a:pt x="15626" y="4120"/>
                    <a:pt x="15661" y="3908"/>
                  </a:cubicBezTo>
                  <a:cubicBezTo>
                    <a:pt x="15684" y="3693"/>
                    <a:pt x="15655" y="3351"/>
                    <a:pt x="15598" y="3144"/>
                  </a:cubicBezTo>
                  <a:cubicBezTo>
                    <a:pt x="15541" y="2938"/>
                    <a:pt x="15232" y="2613"/>
                    <a:pt x="14917" y="2430"/>
                  </a:cubicBezTo>
                  <a:cubicBezTo>
                    <a:pt x="14601" y="2253"/>
                    <a:pt x="14265" y="2072"/>
                    <a:pt x="14165" y="2059"/>
                  </a:cubicBezTo>
                  <a:cubicBezTo>
                    <a:pt x="14065" y="2037"/>
                    <a:pt x="13897" y="1926"/>
                    <a:pt x="13812" y="1777"/>
                  </a:cubicBezTo>
                  <a:cubicBezTo>
                    <a:pt x="13720" y="1641"/>
                    <a:pt x="13487" y="1562"/>
                    <a:pt x="13293" y="1601"/>
                  </a:cubicBezTo>
                  <a:cubicBezTo>
                    <a:pt x="13100" y="1645"/>
                    <a:pt x="12808" y="1788"/>
                    <a:pt x="12648" y="1934"/>
                  </a:cubicBezTo>
                  <a:cubicBezTo>
                    <a:pt x="12488" y="2083"/>
                    <a:pt x="12212" y="1951"/>
                    <a:pt x="12060" y="1638"/>
                  </a:cubicBezTo>
                  <a:cubicBezTo>
                    <a:pt x="11902" y="1328"/>
                    <a:pt x="11643" y="1037"/>
                    <a:pt x="11488" y="990"/>
                  </a:cubicBezTo>
                  <a:cubicBezTo>
                    <a:pt x="11335" y="936"/>
                    <a:pt x="11073" y="947"/>
                    <a:pt x="10915" y="1027"/>
                  </a:cubicBezTo>
                  <a:cubicBezTo>
                    <a:pt x="10753" y="1094"/>
                    <a:pt x="10482" y="914"/>
                    <a:pt x="10312" y="619"/>
                  </a:cubicBezTo>
                  <a:cubicBezTo>
                    <a:pt x="10132" y="334"/>
                    <a:pt x="9888" y="148"/>
                    <a:pt x="9748" y="239"/>
                  </a:cubicBezTo>
                  <a:cubicBezTo>
                    <a:pt x="9609" y="330"/>
                    <a:pt x="9386" y="295"/>
                    <a:pt x="9253" y="182"/>
                  </a:cubicBezTo>
                  <a:cubicBezTo>
                    <a:pt x="9120" y="67"/>
                    <a:pt x="8874" y="-19"/>
                    <a:pt x="8707" y="4"/>
                  </a:cubicBezTo>
                  <a:cubicBezTo>
                    <a:pt x="8539" y="20"/>
                    <a:pt x="8372" y="178"/>
                    <a:pt x="8340" y="345"/>
                  </a:cubicBezTo>
                  <a:close/>
                  <a:moveTo>
                    <a:pt x="8340" y="3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6" name="AutoShape 565"/>
            <p:cNvSpPr>
              <a:spLocks/>
            </p:cNvSpPr>
            <p:nvPr/>
          </p:nvSpPr>
          <p:spPr bwMode="auto">
            <a:xfrm>
              <a:off x="8382000" y="2616200"/>
              <a:ext cx="1588" cy="6350"/>
            </a:xfrm>
            <a:custGeom>
              <a:avLst/>
              <a:gdLst/>
              <a:ahLst/>
              <a:cxnLst/>
              <a:rect l="0" t="0" r="r" b="b"/>
              <a:pathLst>
                <a:path w="16467" h="21600">
                  <a:moveTo>
                    <a:pt x="16057" y="239"/>
                  </a:moveTo>
                  <a:cubicBezTo>
                    <a:pt x="16160" y="146"/>
                    <a:pt x="16358" y="75"/>
                    <a:pt x="16467" y="0"/>
                  </a:cubicBezTo>
                  <a:cubicBezTo>
                    <a:pt x="16358" y="56"/>
                    <a:pt x="16160" y="93"/>
                    <a:pt x="16057" y="146"/>
                  </a:cubicBezTo>
                  <a:cubicBezTo>
                    <a:pt x="-3603" y="8798"/>
                    <a:pt x="-5133" y="18728"/>
                    <a:pt x="11046" y="21600"/>
                  </a:cubicBezTo>
                  <a:cubicBezTo>
                    <a:pt x="-5133" y="18728"/>
                    <a:pt x="-3501" y="8836"/>
                    <a:pt x="16057" y="239"/>
                  </a:cubicBezTo>
                  <a:close/>
                  <a:moveTo>
                    <a:pt x="16057" y="2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7" name="AutoShape 566"/>
            <p:cNvSpPr>
              <a:spLocks/>
            </p:cNvSpPr>
            <p:nvPr/>
          </p:nvSpPr>
          <p:spPr bwMode="auto">
            <a:xfrm>
              <a:off x="8293100" y="2819400"/>
              <a:ext cx="674688" cy="446088"/>
            </a:xfrm>
            <a:custGeom>
              <a:avLst/>
              <a:gdLst/>
              <a:ahLst/>
              <a:cxnLst/>
              <a:rect l="0" t="0" r="r" b="b"/>
              <a:pathLst>
                <a:path w="21575" h="21558">
                  <a:moveTo>
                    <a:pt x="20459" y="14438"/>
                  </a:moveTo>
                  <a:cubicBezTo>
                    <a:pt x="20457" y="14194"/>
                    <a:pt x="20492" y="13978"/>
                    <a:pt x="20532" y="13960"/>
                  </a:cubicBezTo>
                  <a:cubicBezTo>
                    <a:pt x="20574" y="13938"/>
                    <a:pt x="20653" y="13769"/>
                    <a:pt x="20712" y="13590"/>
                  </a:cubicBezTo>
                  <a:cubicBezTo>
                    <a:pt x="20765" y="13408"/>
                    <a:pt x="20948" y="13282"/>
                    <a:pt x="21109" y="13295"/>
                  </a:cubicBezTo>
                  <a:cubicBezTo>
                    <a:pt x="21269" y="13321"/>
                    <a:pt x="21446" y="13274"/>
                    <a:pt x="21500" y="13209"/>
                  </a:cubicBezTo>
                  <a:cubicBezTo>
                    <a:pt x="21554" y="13145"/>
                    <a:pt x="21580" y="12975"/>
                    <a:pt x="21555" y="12833"/>
                  </a:cubicBezTo>
                  <a:cubicBezTo>
                    <a:pt x="21536" y="12688"/>
                    <a:pt x="21532" y="12413"/>
                    <a:pt x="21556" y="12217"/>
                  </a:cubicBezTo>
                  <a:cubicBezTo>
                    <a:pt x="21586" y="12024"/>
                    <a:pt x="21578" y="11728"/>
                    <a:pt x="21548" y="11566"/>
                  </a:cubicBezTo>
                  <a:cubicBezTo>
                    <a:pt x="21519" y="11404"/>
                    <a:pt x="21412" y="11161"/>
                    <a:pt x="21306" y="11031"/>
                  </a:cubicBezTo>
                  <a:cubicBezTo>
                    <a:pt x="21201" y="10898"/>
                    <a:pt x="21105" y="10598"/>
                    <a:pt x="21117" y="10366"/>
                  </a:cubicBezTo>
                  <a:cubicBezTo>
                    <a:pt x="21122" y="10132"/>
                    <a:pt x="21174" y="9929"/>
                    <a:pt x="21241" y="9925"/>
                  </a:cubicBezTo>
                  <a:cubicBezTo>
                    <a:pt x="21309" y="9916"/>
                    <a:pt x="21402" y="9819"/>
                    <a:pt x="21445" y="9707"/>
                  </a:cubicBezTo>
                  <a:cubicBezTo>
                    <a:pt x="21482" y="9590"/>
                    <a:pt x="21511" y="9386"/>
                    <a:pt x="21498" y="9240"/>
                  </a:cubicBezTo>
                  <a:cubicBezTo>
                    <a:pt x="21487" y="9092"/>
                    <a:pt x="21431" y="8928"/>
                    <a:pt x="21381" y="8876"/>
                  </a:cubicBezTo>
                  <a:cubicBezTo>
                    <a:pt x="21333" y="8821"/>
                    <a:pt x="21255" y="8673"/>
                    <a:pt x="21219" y="8538"/>
                  </a:cubicBezTo>
                  <a:cubicBezTo>
                    <a:pt x="21183" y="8403"/>
                    <a:pt x="21109" y="8354"/>
                    <a:pt x="21069" y="8428"/>
                  </a:cubicBezTo>
                  <a:cubicBezTo>
                    <a:pt x="21023" y="8496"/>
                    <a:pt x="20907" y="8507"/>
                    <a:pt x="20802" y="8461"/>
                  </a:cubicBezTo>
                  <a:cubicBezTo>
                    <a:pt x="20697" y="8410"/>
                    <a:pt x="20535" y="8278"/>
                    <a:pt x="20441" y="8171"/>
                  </a:cubicBezTo>
                  <a:cubicBezTo>
                    <a:pt x="20344" y="8071"/>
                    <a:pt x="20211" y="7977"/>
                    <a:pt x="20140" y="7986"/>
                  </a:cubicBezTo>
                  <a:cubicBezTo>
                    <a:pt x="20070" y="7991"/>
                    <a:pt x="19955" y="7933"/>
                    <a:pt x="19887" y="7855"/>
                  </a:cubicBezTo>
                  <a:cubicBezTo>
                    <a:pt x="19822" y="7773"/>
                    <a:pt x="19688" y="7702"/>
                    <a:pt x="19599" y="7673"/>
                  </a:cubicBezTo>
                  <a:cubicBezTo>
                    <a:pt x="19509" y="7650"/>
                    <a:pt x="19332" y="7574"/>
                    <a:pt x="19206" y="7505"/>
                  </a:cubicBezTo>
                  <a:cubicBezTo>
                    <a:pt x="19080" y="7436"/>
                    <a:pt x="18945" y="7433"/>
                    <a:pt x="18905" y="7498"/>
                  </a:cubicBezTo>
                  <a:cubicBezTo>
                    <a:pt x="18868" y="7567"/>
                    <a:pt x="18799" y="7523"/>
                    <a:pt x="18757" y="7410"/>
                  </a:cubicBezTo>
                  <a:cubicBezTo>
                    <a:pt x="18717" y="7296"/>
                    <a:pt x="18586" y="7103"/>
                    <a:pt x="18474" y="6969"/>
                  </a:cubicBezTo>
                  <a:cubicBezTo>
                    <a:pt x="18358" y="6846"/>
                    <a:pt x="18189" y="6499"/>
                    <a:pt x="18085" y="6219"/>
                  </a:cubicBezTo>
                  <a:cubicBezTo>
                    <a:pt x="17985" y="5935"/>
                    <a:pt x="17860" y="5693"/>
                    <a:pt x="17807" y="5703"/>
                  </a:cubicBezTo>
                  <a:cubicBezTo>
                    <a:pt x="17754" y="5703"/>
                    <a:pt x="17626" y="5800"/>
                    <a:pt x="17522" y="5918"/>
                  </a:cubicBezTo>
                  <a:cubicBezTo>
                    <a:pt x="17417" y="6032"/>
                    <a:pt x="17271" y="6100"/>
                    <a:pt x="17195" y="6062"/>
                  </a:cubicBezTo>
                  <a:cubicBezTo>
                    <a:pt x="17117" y="6025"/>
                    <a:pt x="16993" y="6005"/>
                    <a:pt x="16916" y="6025"/>
                  </a:cubicBezTo>
                  <a:cubicBezTo>
                    <a:pt x="16839" y="6043"/>
                    <a:pt x="16691" y="5978"/>
                    <a:pt x="16588" y="5874"/>
                  </a:cubicBezTo>
                  <a:cubicBezTo>
                    <a:pt x="16483" y="5772"/>
                    <a:pt x="16356" y="5769"/>
                    <a:pt x="16302" y="5865"/>
                  </a:cubicBezTo>
                  <a:cubicBezTo>
                    <a:pt x="16251" y="5967"/>
                    <a:pt x="16056" y="5825"/>
                    <a:pt x="15881" y="5547"/>
                  </a:cubicBezTo>
                  <a:cubicBezTo>
                    <a:pt x="15700" y="5278"/>
                    <a:pt x="15516" y="4897"/>
                    <a:pt x="15461" y="4714"/>
                  </a:cubicBezTo>
                  <a:cubicBezTo>
                    <a:pt x="15415" y="4525"/>
                    <a:pt x="15354" y="4255"/>
                    <a:pt x="15343" y="4105"/>
                  </a:cubicBezTo>
                  <a:cubicBezTo>
                    <a:pt x="15330" y="3955"/>
                    <a:pt x="15265" y="3808"/>
                    <a:pt x="15197" y="3780"/>
                  </a:cubicBezTo>
                  <a:cubicBezTo>
                    <a:pt x="15131" y="3752"/>
                    <a:pt x="15058" y="3634"/>
                    <a:pt x="15040" y="3517"/>
                  </a:cubicBezTo>
                  <a:cubicBezTo>
                    <a:pt x="15022" y="3399"/>
                    <a:pt x="14940" y="3217"/>
                    <a:pt x="14862" y="3108"/>
                  </a:cubicBezTo>
                  <a:cubicBezTo>
                    <a:pt x="14779" y="3006"/>
                    <a:pt x="14562" y="2914"/>
                    <a:pt x="14372" y="2918"/>
                  </a:cubicBezTo>
                  <a:cubicBezTo>
                    <a:pt x="14181" y="2923"/>
                    <a:pt x="13934" y="2747"/>
                    <a:pt x="13819" y="2533"/>
                  </a:cubicBezTo>
                  <a:cubicBezTo>
                    <a:pt x="13704" y="2320"/>
                    <a:pt x="13644" y="2052"/>
                    <a:pt x="13668" y="1936"/>
                  </a:cubicBezTo>
                  <a:cubicBezTo>
                    <a:pt x="13697" y="1822"/>
                    <a:pt x="13654" y="1644"/>
                    <a:pt x="13575" y="1533"/>
                  </a:cubicBezTo>
                  <a:cubicBezTo>
                    <a:pt x="13490" y="1428"/>
                    <a:pt x="13365" y="1121"/>
                    <a:pt x="13289" y="861"/>
                  </a:cubicBezTo>
                  <a:cubicBezTo>
                    <a:pt x="13213" y="601"/>
                    <a:pt x="13086" y="371"/>
                    <a:pt x="13004" y="345"/>
                  </a:cubicBezTo>
                  <a:cubicBezTo>
                    <a:pt x="12922" y="322"/>
                    <a:pt x="12786" y="341"/>
                    <a:pt x="12705" y="403"/>
                  </a:cubicBezTo>
                  <a:cubicBezTo>
                    <a:pt x="12622" y="461"/>
                    <a:pt x="12405" y="475"/>
                    <a:pt x="12224" y="440"/>
                  </a:cubicBezTo>
                  <a:cubicBezTo>
                    <a:pt x="12041" y="406"/>
                    <a:pt x="11742" y="272"/>
                    <a:pt x="11557" y="149"/>
                  </a:cubicBezTo>
                  <a:cubicBezTo>
                    <a:pt x="11374" y="16"/>
                    <a:pt x="11180" y="-24"/>
                    <a:pt x="11132" y="40"/>
                  </a:cubicBezTo>
                  <a:cubicBezTo>
                    <a:pt x="11085" y="106"/>
                    <a:pt x="11058" y="250"/>
                    <a:pt x="11076" y="365"/>
                  </a:cubicBezTo>
                  <a:cubicBezTo>
                    <a:pt x="11093" y="480"/>
                    <a:pt x="11041" y="587"/>
                    <a:pt x="10961" y="596"/>
                  </a:cubicBezTo>
                  <a:cubicBezTo>
                    <a:pt x="10881" y="613"/>
                    <a:pt x="10764" y="599"/>
                    <a:pt x="10706" y="561"/>
                  </a:cubicBezTo>
                  <a:cubicBezTo>
                    <a:pt x="10705" y="560"/>
                    <a:pt x="10704" y="558"/>
                    <a:pt x="10702" y="557"/>
                  </a:cubicBezTo>
                  <a:cubicBezTo>
                    <a:pt x="10698" y="555"/>
                    <a:pt x="10692" y="553"/>
                    <a:pt x="10688" y="551"/>
                  </a:cubicBezTo>
                  <a:cubicBezTo>
                    <a:pt x="10618" y="520"/>
                    <a:pt x="10440" y="513"/>
                    <a:pt x="10292" y="540"/>
                  </a:cubicBezTo>
                  <a:cubicBezTo>
                    <a:pt x="10143" y="568"/>
                    <a:pt x="9934" y="593"/>
                    <a:pt x="9828" y="588"/>
                  </a:cubicBezTo>
                  <a:cubicBezTo>
                    <a:pt x="9723" y="584"/>
                    <a:pt x="9602" y="743"/>
                    <a:pt x="9573" y="944"/>
                  </a:cubicBezTo>
                  <a:cubicBezTo>
                    <a:pt x="9530" y="1142"/>
                    <a:pt x="9513" y="1459"/>
                    <a:pt x="9519" y="1645"/>
                  </a:cubicBezTo>
                  <a:cubicBezTo>
                    <a:pt x="9525" y="1829"/>
                    <a:pt x="9468" y="1984"/>
                    <a:pt x="9390" y="1984"/>
                  </a:cubicBezTo>
                  <a:cubicBezTo>
                    <a:pt x="9312" y="1989"/>
                    <a:pt x="9189" y="1913"/>
                    <a:pt x="9122" y="1815"/>
                  </a:cubicBezTo>
                  <a:cubicBezTo>
                    <a:pt x="9053" y="1720"/>
                    <a:pt x="8912" y="1667"/>
                    <a:pt x="8811" y="1696"/>
                  </a:cubicBezTo>
                  <a:cubicBezTo>
                    <a:pt x="8709" y="1730"/>
                    <a:pt x="8574" y="1683"/>
                    <a:pt x="8504" y="1618"/>
                  </a:cubicBezTo>
                  <a:cubicBezTo>
                    <a:pt x="8440" y="1539"/>
                    <a:pt x="8320" y="1481"/>
                    <a:pt x="8244" y="1472"/>
                  </a:cubicBezTo>
                  <a:cubicBezTo>
                    <a:pt x="8168" y="1467"/>
                    <a:pt x="8055" y="1549"/>
                    <a:pt x="7999" y="1666"/>
                  </a:cubicBezTo>
                  <a:cubicBezTo>
                    <a:pt x="7941" y="1780"/>
                    <a:pt x="7839" y="1848"/>
                    <a:pt x="7777" y="1800"/>
                  </a:cubicBezTo>
                  <a:cubicBezTo>
                    <a:pt x="7713" y="1761"/>
                    <a:pt x="7648" y="1636"/>
                    <a:pt x="7620" y="1530"/>
                  </a:cubicBezTo>
                  <a:cubicBezTo>
                    <a:pt x="7597" y="1422"/>
                    <a:pt x="7496" y="1303"/>
                    <a:pt x="7392" y="1265"/>
                  </a:cubicBezTo>
                  <a:cubicBezTo>
                    <a:pt x="7290" y="1226"/>
                    <a:pt x="7118" y="1269"/>
                    <a:pt x="7011" y="1355"/>
                  </a:cubicBezTo>
                  <a:cubicBezTo>
                    <a:pt x="6904" y="1445"/>
                    <a:pt x="6768" y="1481"/>
                    <a:pt x="6716" y="1431"/>
                  </a:cubicBezTo>
                  <a:cubicBezTo>
                    <a:pt x="6662" y="1390"/>
                    <a:pt x="6526" y="1312"/>
                    <a:pt x="6411" y="1273"/>
                  </a:cubicBezTo>
                  <a:cubicBezTo>
                    <a:pt x="6296" y="1234"/>
                    <a:pt x="6178" y="1227"/>
                    <a:pt x="6151" y="1273"/>
                  </a:cubicBezTo>
                  <a:cubicBezTo>
                    <a:pt x="6127" y="1322"/>
                    <a:pt x="6057" y="1343"/>
                    <a:pt x="6006" y="1343"/>
                  </a:cubicBezTo>
                  <a:cubicBezTo>
                    <a:pt x="5955" y="1343"/>
                    <a:pt x="5857" y="1260"/>
                    <a:pt x="5791" y="1164"/>
                  </a:cubicBezTo>
                  <a:cubicBezTo>
                    <a:pt x="5726" y="1065"/>
                    <a:pt x="5564" y="1029"/>
                    <a:pt x="5441" y="1093"/>
                  </a:cubicBezTo>
                  <a:cubicBezTo>
                    <a:pt x="5318" y="1151"/>
                    <a:pt x="5200" y="1139"/>
                    <a:pt x="5178" y="1072"/>
                  </a:cubicBezTo>
                  <a:cubicBezTo>
                    <a:pt x="5155" y="1008"/>
                    <a:pt x="5063" y="876"/>
                    <a:pt x="4963" y="801"/>
                  </a:cubicBezTo>
                  <a:cubicBezTo>
                    <a:pt x="4867" y="718"/>
                    <a:pt x="4607" y="585"/>
                    <a:pt x="4387" y="500"/>
                  </a:cubicBezTo>
                  <a:cubicBezTo>
                    <a:pt x="4167" y="415"/>
                    <a:pt x="3901" y="286"/>
                    <a:pt x="3808" y="187"/>
                  </a:cubicBezTo>
                  <a:cubicBezTo>
                    <a:pt x="3712" y="92"/>
                    <a:pt x="3591" y="15"/>
                    <a:pt x="3545" y="2"/>
                  </a:cubicBezTo>
                  <a:cubicBezTo>
                    <a:pt x="3498" y="-11"/>
                    <a:pt x="3403" y="56"/>
                    <a:pt x="3328" y="134"/>
                  </a:cubicBezTo>
                  <a:cubicBezTo>
                    <a:pt x="3255" y="217"/>
                    <a:pt x="3097" y="281"/>
                    <a:pt x="2979" y="268"/>
                  </a:cubicBezTo>
                  <a:cubicBezTo>
                    <a:pt x="2859" y="259"/>
                    <a:pt x="2546" y="260"/>
                    <a:pt x="2283" y="278"/>
                  </a:cubicBezTo>
                  <a:cubicBezTo>
                    <a:pt x="2020" y="300"/>
                    <a:pt x="1754" y="347"/>
                    <a:pt x="1690" y="386"/>
                  </a:cubicBezTo>
                  <a:cubicBezTo>
                    <a:pt x="1627" y="429"/>
                    <a:pt x="1470" y="371"/>
                    <a:pt x="1338" y="262"/>
                  </a:cubicBezTo>
                  <a:cubicBezTo>
                    <a:pt x="1209" y="151"/>
                    <a:pt x="1051" y="66"/>
                    <a:pt x="991" y="66"/>
                  </a:cubicBezTo>
                  <a:cubicBezTo>
                    <a:pt x="936" y="74"/>
                    <a:pt x="891" y="137"/>
                    <a:pt x="885" y="221"/>
                  </a:cubicBezTo>
                  <a:cubicBezTo>
                    <a:pt x="887" y="280"/>
                    <a:pt x="890" y="348"/>
                    <a:pt x="896" y="428"/>
                  </a:cubicBezTo>
                  <a:cubicBezTo>
                    <a:pt x="904" y="555"/>
                    <a:pt x="915" y="718"/>
                    <a:pt x="923" y="876"/>
                  </a:cubicBezTo>
                  <a:cubicBezTo>
                    <a:pt x="947" y="1133"/>
                    <a:pt x="1007" y="1406"/>
                    <a:pt x="1058" y="1491"/>
                  </a:cubicBezTo>
                  <a:cubicBezTo>
                    <a:pt x="1113" y="1567"/>
                    <a:pt x="1207" y="1772"/>
                    <a:pt x="1255" y="1948"/>
                  </a:cubicBezTo>
                  <a:cubicBezTo>
                    <a:pt x="1309" y="2119"/>
                    <a:pt x="1437" y="2337"/>
                    <a:pt x="1534" y="2438"/>
                  </a:cubicBezTo>
                  <a:cubicBezTo>
                    <a:pt x="1633" y="2535"/>
                    <a:pt x="1684" y="2660"/>
                    <a:pt x="1659" y="2724"/>
                  </a:cubicBezTo>
                  <a:cubicBezTo>
                    <a:pt x="1636" y="2788"/>
                    <a:pt x="1620" y="2904"/>
                    <a:pt x="1637" y="2993"/>
                  </a:cubicBezTo>
                  <a:cubicBezTo>
                    <a:pt x="1649" y="3084"/>
                    <a:pt x="1697" y="3212"/>
                    <a:pt x="1726" y="3290"/>
                  </a:cubicBezTo>
                  <a:cubicBezTo>
                    <a:pt x="1759" y="3362"/>
                    <a:pt x="1776" y="3559"/>
                    <a:pt x="1764" y="3725"/>
                  </a:cubicBezTo>
                  <a:cubicBezTo>
                    <a:pt x="1753" y="3890"/>
                    <a:pt x="1693" y="4018"/>
                    <a:pt x="1629" y="4018"/>
                  </a:cubicBezTo>
                  <a:cubicBezTo>
                    <a:pt x="1566" y="4018"/>
                    <a:pt x="1471" y="4077"/>
                    <a:pt x="1417" y="4158"/>
                  </a:cubicBezTo>
                  <a:cubicBezTo>
                    <a:pt x="1365" y="4241"/>
                    <a:pt x="1297" y="4443"/>
                    <a:pt x="1279" y="4613"/>
                  </a:cubicBezTo>
                  <a:cubicBezTo>
                    <a:pt x="1255" y="4781"/>
                    <a:pt x="1066" y="5216"/>
                    <a:pt x="848" y="5573"/>
                  </a:cubicBezTo>
                  <a:cubicBezTo>
                    <a:pt x="633" y="5934"/>
                    <a:pt x="469" y="6365"/>
                    <a:pt x="505" y="6521"/>
                  </a:cubicBezTo>
                  <a:cubicBezTo>
                    <a:pt x="528" y="6682"/>
                    <a:pt x="559" y="6955"/>
                    <a:pt x="559" y="7129"/>
                  </a:cubicBezTo>
                  <a:cubicBezTo>
                    <a:pt x="559" y="7303"/>
                    <a:pt x="506" y="7434"/>
                    <a:pt x="431" y="7415"/>
                  </a:cubicBezTo>
                  <a:cubicBezTo>
                    <a:pt x="356" y="7401"/>
                    <a:pt x="240" y="7582"/>
                    <a:pt x="175" y="7827"/>
                  </a:cubicBezTo>
                  <a:cubicBezTo>
                    <a:pt x="110" y="8073"/>
                    <a:pt x="55" y="8431"/>
                    <a:pt x="43" y="8625"/>
                  </a:cubicBezTo>
                  <a:cubicBezTo>
                    <a:pt x="31" y="8820"/>
                    <a:pt x="20" y="8999"/>
                    <a:pt x="2" y="9006"/>
                  </a:cubicBezTo>
                  <a:cubicBezTo>
                    <a:pt x="-14" y="9018"/>
                    <a:pt x="57" y="9146"/>
                    <a:pt x="155" y="9290"/>
                  </a:cubicBezTo>
                  <a:cubicBezTo>
                    <a:pt x="259" y="9426"/>
                    <a:pt x="423" y="9637"/>
                    <a:pt x="527" y="9746"/>
                  </a:cubicBezTo>
                  <a:cubicBezTo>
                    <a:pt x="630" y="9859"/>
                    <a:pt x="741" y="10035"/>
                    <a:pt x="776" y="10142"/>
                  </a:cubicBezTo>
                  <a:cubicBezTo>
                    <a:pt x="811" y="10249"/>
                    <a:pt x="898" y="10349"/>
                    <a:pt x="975" y="10349"/>
                  </a:cubicBezTo>
                  <a:cubicBezTo>
                    <a:pt x="1052" y="10349"/>
                    <a:pt x="1151" y="10301"/>
                    <a:pt x="1201" y="10240"/>
                  </a:cubicBezTo>
                  <a:cubicBezTo>
                    <a:pt x="1247" y="10175"/>
                    <a:pt x="1347" y="10129"/>
                    <a:pt x="1423" y="10138"/>
                  </a:cubicBezTo>
                  <a:cubicBezTo>
                    <a:pt x="1500" y="10147"/>
                    <a:pt x="1681" y="10271"/>
                    <a:pt x="1829" y="10410"/>
                  </a:cubicBezTo>
                  <a:cubicBezTo>
                    <a:pt x="1975" y="10552"/>
                    <a:pt x="2185" y="10688"/>
                    <a:pt x="2295" y="10696"/>
                  </a:cubicBezTo>
                  <a:cubicBezTo>
                    <a:pt x="2403" y="10722"/>
                    <a:pt x="2580" y="10806"/>
                    <a:pt x="2689" y="10884"/>
                  </a:cubicBezTo>
                  <a:cubicBezTo>
                    <a:pt x="2796" y="10969"/>
                    <a:pt x="2917" y="11118"/>
                    <a:pt x="2959" y="11214"/>
                  </a:cubicBezTo>
                  <a:cubicBezTo>
                    <a:pt x="3004" y="11308"/>
                    <a:pt x="3105" y="11446"/>
                    <a:pt x="3187" y="11518"/>
                  </a:cubicBezTo>
                  <a:cubicBezTo>
                    <a:pt x="3271" y="11585"/>
                    <a:pt x="3438" y="11610"/>
                    <a:pt x="3557" y="11565"/>
                  </a:cubicBezTo>
                  <a:cubicBezTo>
                    <a:pt x="3675" y="11521"/>
                    <a:pt x="3839" y="11482"/>
                    <a:pt x="3918" y="11491"/>
                  </a:cubicBezTo>
                  <a:cubicBezTo>
                    <a:pt x="3998" y="11491"/>
                    <a:pt x="4114" y="11412"/>
                    <a:pt x="4168" y="11304"/>
                  </a:cubicBezTo>
                  <a:cubicBezTo>
                    <a:pt x="4219" y="11193"/>
                    <a:pt x="4478" y="11090"/>
                    <a:pt x="4731" y="11054"/>
                  </a:cubicBezTo>
                  <a:cubicBezTo>
                    <a:pt x="4984" y="11023"/>
                    <a:pt x="5256" y="10934"/>
                    <a:pt x="5340" y="10866"/>
                  </a:cubicBezTo>
                  <a:cubicBezTo>
                    <a:pt x="5424" y="10793"/>
                    <a:pt x="5562" y="10724"/>
                    <a:pt x="5649" y="10715"/>
                  </a:cubicBezTo>
                  <a:cubicBezTo>
                    <a:pt x="5735" y="10706"/>
                    <a:pt x="5782" y="10578"/>
                    <a:pt x="5764" y="10431"/>
                  </a:cubicBezTo>
                  <a:cubicBezTo>
                    <a:pt x="5747" y="10284"/>
                    <a:pt x="5734" y="10115"/>
                    <a:pt x="5741" y="10050"/>
                  </a:cubicBezTo>
                  <a:cubicBezTo>
                    <a:pt x="5747" y="9984"/>
                    <a:pt x="5744" y="9800"/>
                    <a:pt x="5711" y="9648"/>
                  </a:cubicBezTo>
                  <a:cubicBezTo>
                    <a:pt x="5686" y="9491"/>
                    <a:pt x="5714" y="9401"/>
                    <a:pt x="5777" y="9448"/>
                  </a:cubicBezTo>
                  <a:cubicBezTo>
                    <a:pt x="5840" y="9491"/>
                    <a:pt x="5901" y="9501"/>
                    <a:pt x="5915" y="9468"/>
                  </a:cubicBezTo>
                  <a:cubicBezTo>
                    <a:pt x="5933" y="9436"/>
                    <a:pt x="6004" y="9467"/>
                    <a:pt x="6083" y="9543"/>
                  </a:cubicBezTo>
                  <a:cubicBezTo>
                    <a:pt x="6161" y="9620"/>
                    <a:pt x="6239" y="9637"/>
                    <a:pt x="6262" y="9585"/>
                  </a:cubicBezTo>
                  <a:cubicBezTo>
                    <a:pt x="6287" y="9535"/>
                    <a:pt x="6366" y="9493"/>
                    <a:pt x="6448" y="9507"/>
                  </a:cubicBezTo>
                  <a:cubicBezTo>
                    <a:pt x="6530" y="9517"/>
                    <a:pt x="6618" y="9493"/>
                    <a:pt x="6647" y="9454"/>
                  </a:cubicBezTo>
                  <a:cubicBezTo>
                    <a:pt x="6672" y="9411"/>
                    <a:pt x="6745" y="9495"/>
                    <a:pt x="6809" y="9635"/>
                  </a:cubicBezTo>
                  <a:cubicBezTo>
                    <a:pt x="6872" y="9774"/>
                    <a:pt x="7003" y="9898"/>
                    <a:pt x="7101" y="9916"/>
                  </a:cubicBezTo>
                  <a:cubicBezTo>
                    <a:pt x="7198" y="9929"/>
                    <a:pt x="7379" y="10091"/>
                    <a:pt x="7508" y="10268"/>
                  </a:cubicBezTo>
                  <a:cubicBezTo>
                    <a:pt x="7632" y="10451"/>
                    <a:pt x="7839" y="10622"/>
                    <a:pt x="7961" y="10664"/>
                  </a:cubicBezTo>
                  <a:cubicBezTo>
                    <a:pt x="8084" y="10702"/>
                    <a:pt x="8199" y="10684"/>
                    <a:pt x="8211" y="10619"/>
                  </a:cubicBezTo>
                  <a:cubicBezTo>
                    <a:pt x="8227" y="10557"/>
                    <a:pt x="8265" y="10509"/>
                    <a:pt x="8301" y="10513"/>
                  </a:cubicBezTo>
                  <a:cubicBezTo>
                    <a:pt x="8335" y="10517"/>
                    <a:pt x="8470" y="10680"/>
                    <a:pt x="8595" y="10878"/>
                  </a:cubicBezTo>
                  <a:cubicBezTo>
                    <a:pt x="8725" y="11071"/>
                    <a:pt x="8909" y="11301"/>
                    <a:pt x="9006" y="11397"/>
                  </a:cubicBezTo>
                  <a:cubicBezTo>
                    <a:pt x="9106" y="11481"/>
                    <a:pt x="9212" y="11728"/>
                    <a:pt x="9252" y="11935"/>
                  </a:cubicBezTo>
                  <a:cubicBezTo>
                    <a:pt x="9294" y="12140"/>
                    <a:pt x="9321" y="12424"/>
                    <a:pt x="9321" y="12560"/>
                  </a:cubicBezTo>
                  <a:cubicBezTo>
                    <a:pt x="9321" y="12697"/>
                    <a:pt x="9394" y="12873"/>
                    <a:pt x="9482" y="12952"/>
                  </a:cubicBezTo>
                  <a:cubicBezTo>
                    <a:pt x="9571" y="13027"/>
                    <a:pt x="9659" y="13147"/>
                    <a:pt x="9672" y="13214"/>
                  </a:cubicBezTo>
                  <a:cubicBezTo>
                    <a:pt x="9691" y="13277"/>
                    <a:pt x="9783" y="13450"/>
                    <a:pt x="9883" y="13591"/>
                  </a:cubicBezTo>
                  <a:cubicBezTo>
                    <a:pt x="9979" y="13737"/>
                    <a:pt x="10154" y="13950"/>
                    <a:pt x="10269" y="14063"/>
                  </a:cubicBezTo>
                  <a:cubicBezTo>
                    <a:pt x="10380" y="14181"/>
                    <a:pt x="10492" y="14361"/>
                    <a:pt x="10509" y="14468"/>
                  </a:cubicBezTo>
                  <a:cubicBezTo>
                    <a:pt x="10528" y="14576"/>
                    <a:pt x="10539" y="14740"/>
                    <a:pt x="10527" y="14833"/>
                  </a:cubicBezTo>
                  <a:cubicBezTo>
                    <a:pt x="10516" y="14927"/>
                    <a:pt x="10551" y="15094"/>
                    <a:pt x="10603" y="15200"/>
                  </a:cubicBezTo>
                  <a:cubicBezTo>
                    <a:pt x="10658" y="15305"/>
                    <a:pt x="10681" y="15444"/>
                    <a:pt x="10681" y="15506"/>
                  </a:cubicBezTo>
                  <a:cubicBezTo>
                    <a:pt x="10674" y="15568"/>
                    <a:pt x="10574" y="15605"/>
                    <a:pt x="10466" y="15596"/>
                  </a:cubicBezTo>
                  <a:cubicBezTo>
                    <a:pt x="10355" y="15587"/>
                    <a:pt x="10213" y="15508"/>
                    <a:pt x="10151" y="15421"/>
                  </a:cubicBezTo>
                  <a:cubicBezTo>
                    <a:pt x="10090" y="15334"/>
                    <a:pt x="9958" y="15291"/>
                    <a:pt x="9865" y="15334"/>
                  </a:cubicBezTo>
                  <a:cubicBezTo>
                    <a:pt x="9773" y="15370"/>
                    <a:pt x="9637" y="15389"/>
                    <a:pt x="9565" y="15389"/>
                  </a:cubicBezTo>
                  <a:cubicBezTo>
                    <a:pt x="9492" y="15381"/>
                    <a:pt x="9431" y="15549"/>
                    <a:pt x="9437" y="15758"/>
                  </a:cubicBezTo>
                  <a:cubicBezTo>
                    <a:pt x="9437" y="15968"/>
                    <a:pt x="9449" y="16257"/>
                    <a:pt x="9460" y="16402"/>
                  </a:cubicBezTo>
                  <a:cubicBezTo>
                    <a:pt x="9466" y="16547"/>
                    <a:pt x="9451" y="16653"/>
                    <a:pt x="9412" y="16638"/>
                  </a:cubicBezTo>
                  <a:cubicBezTo>
                    <a:pt x="9374" y="16620"/>
                    <a:pt x="9294" y="16771"/>
                    <a:pt x="9237" y="16966"/>
                  </a:cubicBezTo>
                  <a:cubicBezTo>
                    <a:pt x="9183" y="17163"/>
                    <a:pt x="9125" y="17406"/>
                    <a:pt x="9137" y="17511"/>
                  </a:cubicBezTo>
                  <a:cubicBezTo>
                    <a:pt x="9137" y="17617"/>
                    <a:pt x="9090" y="17672"/>
                    <a:pt x="9027" y="17634"/>
                  </a:cubicBezTo>
                  <a:cubicBezTo>
                    <a:pt x="8964" y="17591"/>
                    <a:pt x="8872" y="17616"/>
                    <a:pt x="8818" y="17665"/>
                  </a:cubicBezTo>
                  <a:cubicBezTo>
                    <a:pt x="8772" y="17723"/>
                    <a:pt x="8783" y="17900"/>
                    <a:pt x="8849" y="18068"/>
                  </a:cubicBezTo>
                  <a:cubicBezTo>
                    <a:pt x="8926" y="18251"/>
                    <a:pt x="9067" y="18438"/>
                    <a:pt x="9170" y="18483"/>
                  </a:cubicBezTo>
                  <a:cubicBezTo>
                    <a:pt x="9277" y="18524"/>
                    <a:pt x="9474" y="18586"/>
                    <a:pt x="9612" y="18613"/>
                  </a:cubicBezTo>
                  <a:cubicBezTo>
                    <a:pt x="9750" y="18640"/>
                    <a:pt x="9909" y="18603"/>
                    <a:pt x="9966" y="18542"/>
                  </a:cubicBezTo>
                  <a:cubicBezTo>
                    <a:pt x="10021" y="18475"/>
                    <a:pt x="10163" y="18428"/>
                    <a:pt x="10277" y="18428"/>
                  </a:cubicBezTo>
                  <a:cubicBezTo>
                    <a:pt x="10392" y="18428"/>
                    <a:pt x="10540" y="18501"/>
                    <a:pt x="10609" y="18591"/>
                  </a:cubicBezTo>
                  <a:cubicBezTo>
                    <a:pt x="10677" y="18681"/>
                    <a:pt x="10733" y="18754"/>
                    <a:pt x="10733" y="18754"/>
                  </a:cubicBezTo>
                  <a:cubicBezTo>
                    <a:pt x="10734" y="18754"/>
                    <a:pt x="10748" y="18669"/>
                    <a:pt x="10748" y="18568"/>
                  </a:cubicBezTo>
                  <a:cubicBezTo>
                    <a:pt x="10760" y="18468"/>
                    <a:pt x="10736" y="18315"/>
                    <a:pt x="10690" y="18245"/>
                  </a:cubicBezTo>
                  <a:cubicBezTo>
                    <a:pt x="10649" y="18170"/>
                    <a:pt x="10617" y="18048"/>
                    <a:pt x="10624" y="17980"/>
                  </a:cubicBezTo>
                  <a:cubicBezTo>
                    <a:pt x="10629" y="17909"/>
                    <a:pt x="10633" y="17782"/>
                    <a:pt x="10626" y="17699"/>
                  </a:cubicBezTo>
                  <a:cubicBezTo>
                    <a:pt x="10621" y="17615"/>
                    <a:pt x="10651" y="17613"/>
                    <a:pt x="10687" y="17692"/>
                  </a:cubicBezTo>
                  <a:cubicBezTo>
                    <a:pt x="10718" y="17775"/>
                    <a:pt x="10791" y="17840"/>
                    <a:pt x="10838" y="17849"/>
                  </a:cubicBezTo>
                  <a:cubicBezTo>
                    <a:pt x="10885" y="17853"/>
                    <a:pt x="11021" y="17653"/>
                    <a:pt x="11150" y="17414"/>
                  </a:cubicBezTo>
                  <a:cubicBezTo>
                    <a:pt x="11266" y="17160"/>
                    <a:pt x="11355" y="16901"/>
                    <a:pt x="11325" y="16824"/>
                  </a:cubicBezTo>
                  <a:cubicBezTo>
                    <a:pt x="11300" y="16744"/>
                    <a:pt x="11308" y="16688"/>
                    <a:pt x="11348" y="16692"/>
                  </a:cubicBezTo>
                  <a:cubicBezTo>
                    <a:pt x="11386" y="16707"/>
                    <a:pt x="11471" y="16584"/>
                    <a:pt x="11538" y="16442"/>
                  </a:cubicBezTo>
                  <a:cubicBezTo>
                    <a:pt x="11607" y="16303"/>
                    <a:pt x="11646" y="16063"/>
                    <a:pt x="11640" y="15917"/>
                  </a:cubicBezTo>
                  <a:cubicBezTo>
                    <a:pt x="11629" y="15773"/>
                    <a:pt x="11665" y="15608"/>
                    <a:pt x="11711" y="15547"/>
                  </a:cubicBezTo>
                  <a:cubicBezTo>
                    <a:pt x="11758" y="15485"/>
                    <a:pt x="11870" y="15441"/>
                    <a:pt x="11954" y="15450"/>
                  </a:cubicBezTo>
                  <a:cubicBezTo>
                    <a:pt x="12040" y="15455"/>
                    <a:pt x="12158" y="15345"/>
                    <a:pt x="12224" y="15215"/>
                  </a:cubicBezTo>
                  <a:cubicBezTo>
                    <a:pt x="12289" y="15085"/>
                    <a:pt x="12377" y="15023"/>
                    <a:pt x="12419" y="15096"/>
                  </a:cubicBezTo>
                  <a:cubicBezTo>
                    <a:pt x="12464" y="15164"/>
                    <a:pt x="12500" y="15243"/>
                    <a:pt x="12500" y="15274"/>
                  </a:cubicBezTo>
                  <a:cubicBezTo>
                    <a:pt x="12500" y="15304"/>
                    <a:pt x="12553" y="15339"/>
                    <a:pt x="12619" y="15348"/>
                  </a:cubicBezTo>
                  <a:cubicBezTo>
                    <a:pt x="12685" y="15361"/>
                    <a:pt x="12763" y="15319"/>
                    <a:pt x="12787" y="15256"/>
                  </a:cubicBezTo>
                  <a:cubicBezTo>
                    <a:pt x="12810" y="15194"/>
                    <a:pt x="12853" y="15084"/>
                    <a:pt x="12879" y="15011"/>
                  </a:cubicBezTo>
                  <a:cubicBezTo>
                    <a:pt x="12903" y="14936"/>
                    <a:pt x="12946" y="14935"/>
                    <a:pt x="12977" y="15002"/>
                  </a:cubicBezTo>
                  <a:cubicBezTo>
                    <a:pt x="13007" y="15071"/>
                    <a:pt x="13067" y="15182"/>
                    <a:pt x="13116" y="15237"/>
                  </a:cubicBezTo>
                  <a:cubicBezTo>
                    <a:pt x="13162" y="15297"/>
                    <a:pt x="13249" y="15378"/>
                    <a:pt x="13306" y="15416"/>
                  </a:cubicBezTo>
                  <a:cubicBezTo>
                    <a:pt x="13363" y="15456"/>
                    <a:pt x="13497" y="15472"/>
                    <a:pt x="13603" y="15441"/>
                  </a:cubicBezTo>
                  <a:cubicBezTo>
                    <a:pt x="13710" y="15418"/>
                    <a:pt x="13736" y="15439"/>
                    <a:pt x="13666" y="15506"/>
                  </a:cubicBezTo>
                  <a:cubicBezTo>
                    <a:pt x="13595" y="15568"/>
                    <a:pt x="13502" y="15651"/>
                    <a:pt x="13457" y="15676"/>
                  </a:cubicBezTo>
                  <a:cubicBezTo>
                    <a:pt x="13414" y="15709"/>
                    <a:pt x="13323" y="15695"/>
                    <a:pt x="13254" y="15656"/>
                  </a:cubicBezTo>
                  <a:cubicBezTo>
                    <a:pt x="13185" y="15617"/>
                    <a:pt x="13029" y="15585"/>
                    <a:pt x="12905" y="15590"/>
                  </a:cubicBezTo>
                  <a:cubicBezTo>
                    <a:pt x="12781" y="15594"/>
                    <a:pt x="12611" y="15595"/>
                    <a:pt x="12531" y="15578"/>
                  </a:cubicBezTo>
                  <a:cubicBezTo>
                    <a:pt x="12451" y="15569"/>
                    <a:pt x="12415" y="15617"/>
                    <a:pt x="12450" y="15696"/>
                  </a:cubicBezTo>
                  <a:cubicBezTo>
                    <a:pt x="12480" y="15778"/>
                    <a:pt x="12624" y="15850"/>
                    <a:pt x="12756" y="15873"/>
                  </a:cubicBezTo>
                  <a:cubicBezTo>
                    <a:pt x="12887" y="15895"/>
                    <a:pt x="13087" y="15966"/>
                    <a:pt x="13196" y="16044"/>
                  </a:cubicBezTo>
                  <a:cubicBezTo>
                    <a:pt x="13307" y="16119"/>
                    <a:pt x="13392" y="16216"/>
                    <a:pt x="13375" y="16254"/>
                  </a:cubicBezTo>
                  <a:cubicBezTo>
                    <a:pt x="13364" y="16296"/>
                    <a:pt x="13321" y="16356"/>
                    <a:pt x="13285" y="16389"/>
                  </a:cubicBezTo>
                  <a:cubicBezTo>
                    <a:pt x="13247" y="16422"/>
                    <a:pt x="13262" y="16521"/>
                    <a:pt x="13323" y="16600"/>
                  </a:cubicBezTo>
                  <a:cubicBezTo>
                    <a:pt x="13380" y="16683"/>
                    <a:pt x="13470" y="16762"/>
                    <a:pt x="13521" y="16777"/>
                  </a:cubicBezTo>
                  <a:cubicBezTo>
                    <a:pt x="13571" y="16795"/>
                    <a:pt x="13671" y="16862"/>
                    <a:pt x="13740" y="16933"/>
                  </a:cubicBezTo>
                  <a:cubicBezTo>
                    <a:pt x="13810" y="17004"/>
                    <a:pt x="13925" y="17020"/>
                    <a:pt x="13998" y="16970"/>
                  </a:cubicBezTo>
                  <a:cubicBezTo>
                    <a:pt x="14070" y="16920"/>
                    <a:pt x="14198" y="16871"/>
                    <a:pt x="14284" y="16858"/>
                  </a:cubicBezTo>
                  <a:cubicBezTo>
                    <a:pt x="14369" y="16848"/>
                    <a:pt x="14507" y="16900"/>
                    <a:pt x="14593" y="16966"/>
                  </a:cubicBezTo>
                  <a:cubicBezTo>
                    <a:pt x="14677" y="17038"/>
                    <a:pt x="14796" y="17145"/>
                    <a:pt x="14857" y="17205"/>
                  </a:cubicBezTo>
                  <a:cubicBezTo>
                    <a:pt x="14915" y="17271"/>
                    <a:pt x="14982" y="17252"/>
                    <a:pt x="15005" y="17174"/>
                  </a:cubicBezTo>
                  <a:cubicBezTo>
                    <a:pt x="15030" y="17097"/>
                    <a:pt x="15072" y="17059"/>
                    <a:pt x="15108" y="17086"/>
                  </a:cubicBezTo>
                  <a:cubicBezTo>
                    <a:pt x="15144" y="17114"/>
                    <a:pt x="15188" y="17264"/>
                    <a:pt x="15218" y="17409"/>
                  </a:cubicBezTo>
                  <a:cubicBezTo>
                    <a:pt x="15242" y="17557"/>
                    <a:pt x="15307" y="17743"/>
                    <a:pt x="15348" y="17833"/>
                  </a:cubicBezTo>
                  <a:cubicBezTo>
                    <a:pt x="15392" y="17919"/>
                    <a:pt x="15407" y="18006"/>
                    <a:pt x="15381" y="18036"/>
                  </a:cubicBezTo>
                  <a:cubicBezTo>
                    <a:pt x="15352" y="18061"/>
                    <a:pt x="15245" y="18091"/>
                    <a:pt x="15142" y="18108"/>
                  </a:cubicBezTo>
                  <a:cubicBezTo>
                    <a:pt x="15038" y="18122"/>
                    <a:pt x="14857" y="18221"/>
                    <a:pt x="14736" y="18321"/>
                  </a:cubicBezTo>
                  <a:cubicBezTo>
                    <a:pt x="14615" y="18422"/>
                    <a:pt x="14465" y="18646"/>
                    <a:pt x="14405" y="18818"/>
                  </a:cubicBezTo>
                  <a:cubicBezTo>
                    <a:pt x="14341" y="18986"/>
                    <a:pt x="14345" y="19171"/>
                    <a:pt x="14410" y="19225"/>
                  </a:cubicBezTo>
                  <a:cubicBezTo>
                    <a:pt x="14477" y="19275"/>
                    <a:pt x="14565" y="19272"/>
                    <a:pt x="14611" y="19215"/>
                  </a:cubicBezTo>
                  <a:cubicBezTo>
                    <a:pt x="14653" y="19151"/>
                    <a:pt x="14761" y="19167"/>
                    <a:pt x="14843" y="19243"/>
                  </a:cubicBezTo>
                  <a:cubicBezTo>
                    <a:pt x="14927" y="19315"/>
                    <a:pt x="15026" y="19377"/>
                    <a:pt x="15067" y="19373"/>
                  </a:cubicBezTo>
                  <a:cubicBezTo>
                    <a:pt x="15107" y="19373"/>
                    <a:pt x="15242" y="19501"/>
                    <a:pt x="15363" y="19666"/>
                  </a:cubicBezTo>
                  <a:cubicBezTo>
                    <a:pt x="15487" y="19827"/>
                    <a:pt x="15595" y="20033"/>
                    <a:pt x="15606" y="20117"/>
                  </a:cubicBezTo>
                  <a:cubicBezTo>
                    <a:pt x="15618" y="20202"/>
                    <a:pt x="15600" y="20440"/>
                    <a:pt x="15570" y="20646"/>
                  </a:cubicBezTo>
                  <a:cubicBezTo>
                    <a:pt x="15536" y="20850"/>
                    <a:pt x="15499" y="21052"/>
                    <a:pt x="15486" y="21096"/>
                  </a:cubicBezTo>
                  <a:cubicBezTo>
                    <a:pt x="15469" y="21136"/>
                    <a:pt x="15509" y="21251"/>
                    <a:pt x="15579" y="21334"/>
                  </a:cubicBezTo>
                  <a:cubicBezTo>
                    <a:pt x="15650" y="21419"/>
                    <a:pt x="15809" y="21518"/>
                    <a:pt x="15939" y="21549"/>
                  </a:cubicBezTo>
                  <a:cubicBezTo>
                    <a:pt x="16069" y="21576"/>
                    <a:pt x="16272" y="21541"/>
                    <a:pt x="16390" y="21466"/>
                  </a:cubicBezTo>
                  <a:cubicBezTo>
                    <a:pt x="16508" y="21394"/>
                    <a:pt x="16728" y="21186"/>
                    <a:pt x="16879" y="21009"/>
                  </a:cubicBezTo>
                  <a:cubicBezTo>
                    <a:pt x="17030" y="20834"/>
                    <a:pt x="17244" y="20705"/>
                    <a:pt x="17357" y="20728"/>
                  </a:cubicBezTo>
                  <a:cubicBezTo>
                    <a:pt x="17469" y="20755"/>
                    <a:pt x="17601" y="20660"/>
                    <a:pt x="17655" y="20530"/>
                  </a:cubicBezTo>
                  <a:cubicBezTo>
                    <a:pt x="17705" y="20398"/>
                    <a:pt x="17813" y="20244"/>
                    <a:pt x="17889" y="20182"/>
                  </a:cubicBezTo>
                  <a:cubicBezTo>
                    <a:pt x="17967" y="20119"/>
                    <a:pt x="18144" y="20126"/>
                    <a:pt x="18285" y="20183"/>
                  </a:cubicBezTo>
                  <a:cubicBezTo>
                    <a:pt x="18425" y="20245"/>
                    <a:pt x="18635" y="20297"/>
                    <a:pt x="18752" y="20301"/>
                  </a:cubicBezTo>
                  <a:cubicBezTo>
                    <a:pt x="18870" y="20306"/>
                    <a:pt x="18991" y="20239"/>
                    <a:pt x="19032" y="20168"/>
                  </a:cubicBezTo>
                  <a:cubicBezTo>
                    <a:pt x="19068" y="20091"/>
                    <a:pt x="19064" y="19940"/>
                    <a:pt x="19028" y="19828"/>
                  </a:cubicBezTo>
                  <a:cubicBezTo>
                    <a:pt x="18992" y="19716"/>
                    <a:pt x="18982" y="19591"/>
                    <a:pt x="19013" y="19551"/>
                  </a:cubicBezTo>
                  <a:cubicBezTo>
                    <a:pt x="19048" y="19516"/>
                    <a:pt x="19090" y="19420"/>
                    <a:pt x="19108" y="19348"/>
                  </a:cubicBezTo>
                  <a:cubicBezTo>
                    <a:pt x="19132" y="19280"/>
                    <a:pt x="19072" y="19199"/>
                    <a:pt x="18979" y="19177"/>
                  </a:cubicBezTo>
                  <a:cubicBezTo>
                    <a:pt x="18887" y="19147"/>
                    <a:pt x="18722" y="19133"/>
                    <a:pt x="18613" y="19138"/>
                  </a:cubicBezTo>
                  <a:cubicBezTo>
                    <a:pt x="18504" y="19138"/>
                    <a:pt x="18394" y="19234"/>
                    <a:pt x="18381" y="19350"/>
                  </a:cubicBezTo>
                  <a:cubicBezTo>
                    <a:pt x="18359" y="19461"/>
                    <a:pt x="18292" y="19486"/>
                    <a:pt x="18219" y="19408"/>
                  </a:cubicBezTo>
                  <a:cubicBezTo>
                    <a:pt x="18151" y="19323"/>
                    <a:pt x="18059" y="19257"/>
                    <a:pt x="18019" y="19257"/>
                  </a:cubicBezTo>
                  <a:cubicBezTo>
                    <a:pt x="17980" y="19257"/>
                    <a:pt x="17903" y="19324"/>
                    <a:pt x="17854" y="19418"/>
                  </a:cubicBezTo>
                  <a:cubicBezTo>
                    <a:pt x="17803" y="19510"/>
                    <a:pt x="17726" y="19556"/>
                    <a:pt x="17684" y="19524"/>
                  </a:cubicBezTo>
                  <a:cubicBezTo>
                    <a:pt x="17640" y="19500"/>
                    <a:pt x="17456" y="19187"/>
                    <a:pt x="17263" y="18855"/>
                  </a:cubicBezTo>
                  <a:cubicBezTo>
                    <a:pt x="17071" y="18521"/>
                    <a:pt x="16885" y="18118"/>
                    <a:pt x="16848" y="17960"/>
                  </a:cubicBezTo>
                  <a:cubicBezTo>
                    <a:pt x="16812" y="17802"/>
                    <a:pt x="16733" y="17563"/>
                    <a:pt x="16669" y="17435"/>
                  </a:cubicBezTo>
                  <a:cubicBezTo>
                    <a:pt x="16607" y="17304"/>
                    <a:pt x="16536" y="17222"/>
                    <a:pt x="16507" y="17243"/>
                  </a:cubicBezTo>
                  <a:cubicBezTo>
                    <a:pt x="16481" y="17273"/>
                    <a:pt x="16492" y="17417"/>
                    <a:pt x="16538" y="17571"/>
                  </a:cubicBezTo>
                  <a:cubicBezTo>
                    <a:pt x="16585" y="17724"/>
                    <a:pt x="16737" y="18065"/>
                    <a:pt x="16873" y="18334"/>
                  </a:cubicBezTo>
                  <a:cubicBezTo>
                    <a:pt x="17005" y="18607"/>
                    <a:pt x="17233" y="18980"/>
                    <a:pt x="17360" y="19186"/>
                  </a:cubicBezTo>
                  <a:cubicBezTo>
                    <a:pt x="17491" y="19389"/>
                    <a:pt x="17570" y="19581"/>
                    <a:pt x="17536" y="19602"/>
                  </a:cubicBezTo>
                  <a:cubicBezTo>
                    <a:pt x="17504" y="19626"/>
                    <a:pt x="17410" y="19605"/>
                    <a:pt x="17328" y="19552"/>
                  </a:cubicBezTo>
                  <a:cubicBezTo>
                    <a:pt x="17245" y="19501"/>
                    <a:pt x="17140" y="19396"/>
                    <a:pt x="17096" y="19316"/>
                  </a:cubicBezTo>
                  <a:cubicBezTo>
                    <a:pt x="17054" y="19238"/>
                    <a:pt x="16994" y="19068"/>
                    <a:pt x="16970" y="18933"/>
                  </a:cubicBezTo>
                  <a:cubicBezTo>
                    <a:pt x="16942" y="18800"/>
                    <a:pt x="16894" y="18651"/>
                    <a:pt x="16853" y="18606"/>
                  </a:cubicBezTo>
                  <a:cubicBezTo>
                    <a:pt x="16812" y="18562"/>
                    <a:pt x="16747" y="18569"/>
                    <a:pt x="16710" y="18630"/>
                  </a:cubicBezTo>
                  <a:cubicBezTo>
                    <a:pt x="16670" y="18686"/>
                    <a:pt x="16643" y="18662"/>
                    <a:pt x="16649" y="18572"/>
                  </a:cubicBezTo>
                  <a:cubicBezTo>
                    <a:pt x="16649" y="18482"/>
                    <a:pt x="16631" y="18405"/>
                    <a:pt x="16599" y="18399"/>
                  </a:cubicBezTo>
                  <a:cubicBezTo>
                    <a:pt x="16568" y="18394"/>
                    <a:pt x="16516" y="18412"/>
                    <a:pt x="16487" y="18443"/>
                  </a:cubicBezTo>
                  <a:cubicBezTo>
                    <a:pt x="16460" y="18478"/>
                    <a:pt x="16427" y="18454"/>
                    <a:pt x="16420" y="18401"/>
                  </a:cubicBezTo>
                  <a:cubicBezTo>
                    <a:pt x="16420" y="18347"/>
                    <a:pt x="16431" y="18248"/>
                    <a:pt x="16465" y="18188"/>
                  </a:cubicBezTo>
                  <a:cubicBezTo>
                    <a:pt x="16497" y="18126"/>
                    <a:pt x="16496" y="18022"/>
                    <a:pt x="16469" y="17960"/>
                  </a:cubicBezTo>
                  <a:cubicBezTo>
                    <a:pt x="16437" y="17904"/>
                    <a:pt x="16386" y="17869"/>
                    <a:pt x="16349" y="17901"/>
                  </a:cubicBezTo>
                  <a:cubicBezTo>
                    <a:pt x="16313" y="17933"/>
                    <a:pt x="16244" y="17902"/>
                    <a:pt x="16197" y="17844"/>
                  </a:cubicBezTo>
                  <a:cubicBezTo>
                    <a:pt x="16147" y="17790"/>
                    <a:pt x="16070" y="17664"/>
                    <a:pt x="16024" y="17572"/>
                  </a:cubicBezTo>
                  <a:cubicBezTo>
                    <a:pt x="15972" y="17485"/>
                    <a:pt x="15844" y="17403"/>
                    <a:pt x="15731" y="17398"/>
                  </a:cubicBezTo>
                  <a:cubicBezTo>
                    <a:pt x="15619" y="17393"/>
                    <a:pt x="15487" y="17343"/>
                    <a:pt x="15438" y="17287"/>
                  </a:cubicBezTo>
                  <a:cubicBezTo>
                    <a:pt x="15387" y="17236"/>
                    <a:pt x="15356" y="17148"/>
                    <a:pt x="15362" y="17101"/>
                  </a:cubicBezTo>
                  <a:cubicBezTo>
                    <a:pt x="15369" y="17054"/>
                    <a:pt x="15440" y="17049"/>
                    <a:pt x="15522" y="17080"/>
                  </a:cubicBezTo>
                  <a:cubicBezTo>
                    <a:pt x="15600" y="17121"/>
                    <a:pt x="15697" y="17093"/>
                    <a:pt x="15737" y="17038"/>
                  </a:cubicBezTo>
                  <a:cubicBezTo>
                    <a:pt x="15775" y="16979"/>
                    <a:pt x="15850" y="16990"/>
                    <a:pt x="15907" y="17058"/>
                  </a:cubicBezTo>
                  <a:cubicBezTo>
                    <a:pt x="15963" y="17125"/>
                    <a:pt x="16068" y="17197"/>
                    <a:pt x="16144" y="17207"/>
                  </a:cubicBezTo>
                  <a:cubicBezTo>
                    <a:pt x="16218" y="17220"/>
                    <a:pt x="16285" y="17174"/>
                    <a:pt x="16291" y="17106"/>
                  </a:cubicBezTo>
                  <a:cubicBezTo>
                    <a:pt x="16291" y="17037"/>
                    <a:pt x="16354" y="16974"/>
                    <a:pt x="16417" y="16970"/>
                  </a:cubicBezTo>
                  <a:cubicBezTo>
                    <a:pt x="16480" y="16970"/>
                    <a:pt x="16603" y="16816"/>
                    <a:pt x="16702" y="16658"/>
                  </a:cubicBezTo>
                  <a:cubicBezTo>
                    <a:pt x="16798" y="16495"/>
                    <a:pt x="16882" y="16308"/>
                    <a:pt x="16888" y="16245"/>
                  </a:cubicBezTo>
                  <a:cubicBezTo>
                    <a:pt x="16894" y="16182"/>
                    <a:pt x="16936" y="16170"/>
                    <a:pt x="16977" y="16214"/>
                  </a:cubicBezTo>
                  <a:cubicBezTo>
                    <a:pt x="17017" y="16259"/>
                    <a:pt x="17062" y="16335"/>
                    <a:pt x="17075" y="16386"/>
                  </a:cubicBezTo>
                  <a:cubicBezTo>
                    <a:pt x="17088" y="16436"/>
                    <a:pt x="17054" y="16580"/>
                    <a:pt x="16992" y="16699"/>
                  </a:cubicBezTo>
                  <a:cubicBezTo>
                    <a:pt x="16928" y="16818"/>
                    <a:pt x="16864" y="16943"/>
                    <a:pt x="16838" y="16963"/>
                  </a:cubicBezTo>
                  <a:cubicBezTo>
                    <a:pt x="16813" y="16985"/>
                    <a:pt x="16804" y="17050"/>
                    <a:pt x="16828" y="17102"/>
                  </a:cubicBezTo>
                  <a:cubicBezTo>
                    <a:pt x="16850" y="17156"/>
                    <a:pt x="16896" y="17174"/>
                    <a:pt x="16936" y="17144"/>
                  </a:cubicBezTo>
                  <a:cubicBezTo>
                    <a:pt x="16976" y="17114"/>
                    <a:pt x="17057" y="16950"/>
                    <a:pt x="17123" y="16792"/>
                  </a:cubicBezTo>
                  <a:cubicBezTo>
                    <a:pt x="17182" y="16629"/>
                    <a:pt x="17239" y="16439"/>
                    <a:pt x="17255" y="16371"/>
                  </a:cubicBezTo>
                  <a:cubicBezTo>
                    <a:pt x="17266" y="16300"/>
                    <a:pt x="17230" y="16176"/>
                    <a:pt x="17192" y="16080"/>
                  </a:cubicBezTo>
                  <a:cubicBezTo>
                    <a:pt x="17145" y="15991"/>
                    <a:pt x="17086" y="15859"/>
                    <a:pt x="17062" y="15784"/>
                  </a:cubicBezTo>
                  <a:cubicBezTo>
                    <a:pt x="17037" y="15710"/>
                    <a:pt x="17039" y="15654"/>
                    <a:pt x="17071" y="15654"/>
                  </a:cubicBezTo>
                  <a:cubicBezTo>
                    <a:pt x="17102" y="15654"/>
                    <a:pt x="17170" y="15767"/>
                    <a:pt x="17226" y="15898"/>
                  </a:cubicBezTo>
                  <a:cubicBezTo>
                    <a:pt x="17281" y="16031"/>
                    <a:pt x="17363" y="16157"/>
                    <a:pt x="17409" y="16179"/>
                  </a:cubicBezTo>
                  <a:cubicBezTo>
                    <a:pt x="17454" y="16200"/>
                    <a:pt x="17547" y="16168"/>
                    <a:pt x="17612" y="16106"/>
                  </a:cubicBezTo>
                  <a:cubicBezTo>
                    <a:pt x="17679" y="16050"/>
                    <a:pt x="17812" y="16028"/>
                    <a:pt x="17904" y="16088"/>
                  </a:cubicBezTo>
                  <a:cubicBezTo>
                    <a:pt x="17999" y="16137"/>
                    <a:pt x="18118" y="16129"/>
                    <a:pt x="18172" y="16066"/>
                  </a:cubicBezTo>
                  <a:cubicBezTo>
                    <a:pt x="18223" y="16000"/>
                    <a:pt x="18324" y="15950"/>
                    <a:pt x="18394" y="15950"/>
                  </a:cubicBezTo>
                  <a:cubicBezTo>
                    <a:pt x="18463" y="15945"/>
                    <a:pt x="18542" y="15966"/>
                    <a:pt x="18569" y="15982"/>
                  </a:cubicBezTo>
                  <a:cubicBezTo>
                    <a:pt x="18597" y="16002"/>
                    <a:pt x="18672" y="15921"/>
                    <a:pt x="18735" y="15803"/>
                  </a:cubicBezTo>
                  <a:cubicBezTo>
                    <a:pt x="18801" y="15691"/>
                    <a:pt x="18875" y="15528"/>
                    <a:pt x="18906" y="15448"/>
                  </a:cubicBezTo>
                  <a:cubicBezTo>
                    <a:pt x="18930" y="15365"/>
                    <a:pt x="19021" y="15310"/>
                    <a:pt x="19096" y="15314"/>
                  </a:cubicBezTo>
                  <a:cubicBezTo>
                    <a:pt x="19172" y="15323"/>
                    <a:pt x="19247" y="15246"/>
                    <a:pt x="19271" y="15155"/>
                  </a:cubicBezTo>
                  <a:cubicBezTo>
                    <a:pt x="19289" y="15060"/>
                    <a:pt x="19341" y="14944"/>
                    <a:pt x="19382" y="14899"/>
                  </a:cubicBezTo>
                  <a:cubicBezTo>
                    <a:pt x="19421" y="14853"/>
                    <a:pt x="19524" y="14839"/>
                    <a:pt x="19612" y="14866"/>
                  </a:cubicBezTo>
                  <a:cubicBezTo>
                    <a:pt x="19697" y="14896"/>
                    <a:pt x="19833" y="14881"/>
                    <a:pt x="19914" y="14839"/>
                  </a:cubicBezTo>
                  <a:cubicBezTo>
                    <a:pt x="19995" y="14798"/>
                    <a:pt x="20091" y="14769"/>
                    <a:pt x="20127" y="14788"/>
                  </a:cubicBezTo>
                  <a:cubicBezTo>
                    <a:pt x="20165" y="14800"/>
                    <a:pt x="20205" y="14867"/>
                    <a:pt x="20216" y="14928"/>
                  </a:cubicBezTo>
                  <a:cubicBezTo>
                    <a:pt x="20228" y="14989"/>
                    <a:pt x="20288" y="15016"/>
                    <a:pt x="20349" y="14993"/>
                  </a:cubicBezTo>
                  <a:cubicBezTo>
                    <a:pt x="20409" y="14965"/>
                    <a:pt x="20458" y="14734"/>
                    <a:pt x="20458" y="14474"/>
                  </a:cubicBezTo>
                  <a:cubicBezTo>
                    <a:pt x="20458" y="14471"/>
                    <a:pt x="20459" y="14468"/>
                    <a:pt x="20458" y="14465"/>
                  </a:cubicBezTo>
                  <a:cubicBezTo>
                    <a:pt x="20458" y="14463"/>
                    <a:pt x="20458" y="14460"/>
                    <a:pt x="20458" y="14457"/>
                  </a:cubicBezTo>
                  <a:cubicBezTo>
                    <a:pt x="20458" y="14451"/>
                    <a:pt x="20459" y="14445"/>
                    <a:pt x="20459" y="14438"/>
                  </a:cubicBezTo>
                  <a:close/>
                  <a:moveTo>
                    <a:pt x="20459" y="144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8" name="AutoShape 567"/>
            <p:cNvSpPr>
              <a:spLocks/>
            </p:cNvSpPr>
            <p:nvPr/>
          </p:nvSpPr>
          <p:spPr bwMode="auto">
            <a:xfrm>
              <a:off x="8636000" y="2832100"/>
              <a:ext cx="7938" cy="0"/>
            </a:xfrm>
            <a:custGeom>
              <a:avLst/>
              <a:gdLst/>
              <a:ahLst/>
              <a:cxnLst/>
              <a:rect l="0" t="0" r="r" b="b"/>
              <a:pathLst>
                <a:path w="21600" h="17759">
                  <a:moveTo>
                    <a:pt x="21600" y="14941"/>
                  </a:moveTo>
                  <a:cubicBezTo>
                    <a:pt x="15315" y="21151"/>
                    <a:pt x="5987" y="12306"/>
                    <a:pt x="0" y="0"/>
                  </a:cubicBezTo>
                  <a:cubicBezTo>
                    <a:pt x="97" y="237"/>
                    <a:pt x="198" y="1156"/>
                    <a:pt x="331" y="1389"/>
                  </a:cubicBezTo>
                  <a:cubicBezTo>
                    <a:pt x="5127" y="16212"/>
                    <a:pt x="14916" y="21600"/>
                    <a:pt x="21600" y="14941"/>
                  </a:cubicBezTo>
                  <a:close/>
                  <a:moveTo>
                    <a:pt x="21600" y="149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69" name="AutoShape 568"/>
            <p:cNvSpPr>
              <a:spLocks/>
            </p:cNvSpPr>
            <p:nvPr/>
          </p:nvSpPr>
          <p:spPr bwMode="auto">
            <a:xfrm>
              <a:off x="8940800" y="3111500"/>
              <a:ext cx="0" cy="0"/>
            </a:xfrm>
            <a:custGeom>
              <a:avLst/>
              <a:gdLst/>
              <a:ahLst/>
              <a:cxnLst/>
              <a:rect l="0" t="0" r="r" b="b"/>
              <a:pathLst>
                <a:path w="21600" h="21600">
                  <a:moveTo>
                    <a:pt x="0" y="15106"/>
                  </a:moveTo>
                  <a:cubicBezTo>
                    <a:pt x="0" y="17268"/>
                    <a:pt x="0" y="19438"/>
                    <a:pt x="0" y="21600"/>
                  </a:cubicBezTo>
                  <a:cubicBezTo>
                    <a:pt x="0" y="13927"/>
                    <a:pt x="21600" y="7185"/>
                    <a:pt x="21600" y="0"/>
                  </a:cubicBezTo>
                  <a:cubicBezTo>
                    <a:pt x="21600" y="5015"/>
                    <a:pt x="0" y="9843"/>
                    <a:pt x="0" y="15106"/>
                  </a:cubicBezTo>
                  <a:close/>
                  <a:moveTo>
                    <a:pt x="0" y="151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0" name="AutoShape 569"/>
            <p:cNvSpPr>
              <a:spLocks/>
            </p:cNvSpPr>
            <p:nvPr/>
          </p:nvSpPr>
          <p:spPr bwMode="auto">
            <a:xfrm>
              <a:off x="8470900" y="3009900"/>
              <a:ext cx="155575" cy="171450"/>
            </a:xfrm>
            <a:custGeom>
              <a:avLst/>
              <a:gdLst/>
              <a:ahLst/>
              <a:cxnLst/>
              <a:rect l="0" t="0" r="r" b="b"/>
              <a:pathLst>
                <a:path w="21531" h="21495">
                  <a:moveTo>
                    <a:pt x="1608" y="3171"/>
                  </a:moveTo>
                  <a:cubicBezTo>
                    <a:pt x="2146" y="3141"/>
                    <a:pt x="2749" y="3511"/>
                    <a:pt x="3071" y="4042"/>
                  </a:cubicBezTo>
                  <a:cubicBezTo>
                    <a:pt x="3140" y="4134"/>
                    <a:pt x="3196" y="4229"/>
                    <a:pt x="3232" y="4332"/>
                  </a:cubicBezTo>
                  <a:cubicBezTo>
                    <a:pt x="3493" y="5017"/>
                    <a:pt x="4277" y="6080"/>
                    <a:pt x="5004" y="6669"/>
                  </a:cubicBezTo>
                  <a:cubicBezTo>
                    <a:pt x="5730" y="7258"/>
                    <a:pt x="6390" y="8011"/>
                    <a:pt x="6486" y="8321"/>
                  </a:cubicBezTo>
                  <a:cubicBezTo>
                    <a:pt x="6633" y="8617"/>
                    <a:pt x="7426" y="9474"/>
                    <a:pt x="8370" y="10167"/>
                  </a:cubicBezTo>
                  <a:cubicBezTo>
                    <a:pt x="9318" y="10856"/>
                    <a:pt x="10198" y="11796"/>
                    <a:pt x="10354" y="12221"/>
                  </a:cubicBezTo>
                  <a:cubicBezTo>
                    <a:pt x="10534" y="12639"/>
                    <a:pt x="10889" y="13383"/>
                    <a:pt x="11233" y="13830"/>
                  </a:cubicBezTo>
                  <a:cubicBezTo>
                    <a:pt x="11569" y="14287"/>
                    <a:pt x="11901" y="15827"/>
                    <a:pt x="11952" y="17249"/>
                  </a:cubicBezTo>
                  <a:cubicBezTo>
                    <a:pt x="12004" y="18671"/>
                    <a:pt x="12276" y="20195"/>
                    <a:pt x="12530" y="20631"/>
                  </a:cubicBezTo>
                  <a:cubicBezTo>
                    <a:pt x="12665" y="20858"/>
                    <a:pt x="12854" y="21173"/>
                    <a:pt x="13051" y="21491"/>
                  </a:cubicBezTo>
                  <a:cubicBezTo>
                    <a:pt x="13102" y="21510"/>
                    <a:pt x="13279" y="21447"/>
                    <a:pt x="13477" y="21301"/>
                  </a:cubicBezTo>
                  <a:cubicBezTo>
                    <a:pt x="13709" y="21173"/>
                    <a:pt x="14108" y="21109"/>
                    <a:pt x="14380" y="21220"/>
                  </a:cubicBezTo>
                  <a:cubicBezTo>
                    <a:pt x="14654" y="21319"/>
                    <a:pt x="14855" y="21176"/>
                    <a:pt x="14855" y="20900"/>
                  </a:cubicBezTo>
                  <a:cubicBezTo>
                    <a:pt x="14803" y="20631"/>
                    <a:pt x="15055" y="20002"/>
                    <a:pt x="15286" y="19490"/>
                  </a:cubicBezTo>
                  <a:cubicBezTo>
                    <a:pt x="15533" y="18987"/>
                    <a:pt x="15883" y="18595"/>
                    <a:pt x="16044" y="18643"/>
                  </a:cubicBezTo>
                  <a:cubicBezTo>
                    <a:pt x="16212" y="18681"/>
                    <a:pt x="16280" y="18407"/>
                    <a:pt x="16254" y="18030"/>
                  </a:cubicBezTo>
                  <a:cubicBezTo>
                    <a:pt x="16205" y="17657"/>
                    <a:pt x="16152" y="16907"/>
                    <a:pt x="16152" y="16365"/>
                  </a:cubicBezTo>
                  <a:cubicBezTo>
                    <a:pt x="16126" y="15824"/>
                    <a:pt x="16391" y="15388"/>
                    <a:pt x="16705" y="15410"/>
                  </a:cubicBezTo>
                  <a:cubicBezTo>
                    <a:pt x="17018" y="15410"/>
                    <a:pt x="17604" y="15359"/>
                    <a:pt x="18005" y="15267"/>
                  </a:cubicBezTo>
                  <a:cubicBezTo>
                    <a:pt x="18406" y="15155"/>
                    <a:pt x="18975" y="15266"/>
                    <a:pt x="19239" y="15492"/>
                  </a:cubicBezTo>
                  <a:cubicBezTo>
                    <a:pt x="19510" y="15716"/>
                    <a:pt x="20124" y="15920"/>
                    <a:pt x="20601" y="15944"/>
                  </a:cubicBezTo>
                  <a:cubicBezTo>
                    <a:pt x="21070" y="15968"/>
                    <a:pt x="21502" y="15873"/>
                    <a:pt x="21531" y="15713"/>
                  </a:cubicBezTo>
                  <a:cubicBezTo>
                    <a:pt x="21531" y="15551"/>
                    <a:pt x="21432" y="15192"/>
                    <a:pt x="21197" y="14920"/>
                  </a:cubicBezTo>
                  <a:cubicBezTo>
                    <a:pt x="20969" y="14645"/>
                    <a:pt x="20818" y="14213"/>
                    <a:pt x="20868" y="13970"/>
                  </a:cubicBezTo>
                  <a:cubicBezTo>
                    <a:pt x="20919" y="13729"/>
                    <a:pt x="20871" y="13305"/>
                    <a:pt x="20791" y="13026"/>
                  </a:cubicBezTo>
                  <a:cubicBezTo>
                    <a:pt x="20716" y="12749"/>
                    <a:pt x="20232" y="12282"/>
                    <a:pt x="19749" y="11978"/>
                  </a:cubicBezTo>
                  <a:cubicBezTo>
                    <a:pt x="19252" y="11686"/>
                    <a:pt x="18497" y="11134"/>
                    <a:pt x="18081" y="10757"/>
                  </a:cubicBezTo>
                  <a:cubicBezTo>
                    <a:pt x="17649" y="10390"/>
                    <a:pt x="17251" y="9941"/>
                    <a:pt x="17167" y="9779"/>
                  </a:cubicBezTo>
                  <a:cubicBezTo>
                    <a:pt x="17113" y="9606"/>
                    <a:pt x="16731" y="9296"/>
                    <a:pt x="16349" y="9102"/>
                  </a:cubicBezTo>
                  <a:cubicBezTo>
                    <a:pt x="15968" y="8896"/>
                    <a:pt x="15651" y="8441"/>
                    <a:pt x="15651" y="8086"/>
                  </a:cubicBezTo>
                  <a:cubicBezTo>
                    <a:pt x="15651" y="7734"/>
                    <a:pt x="15537" y="7001"/>
                    <a:pt x="15353" y="6468"/>
                  </a:cubicBezTo>
                  <a:cubicBezTo>
                    <a:pt x="15178" y="5935"/>
                    <a:pt x="14721" y="5294"/>
                    <a:pt x="14288" y="5076"/>
                  </a:cubicBezTo>
                  <a:cubicBezTo>
                    <a:pt x="13871" y="4829"/>
                    <a:pt x="13075" y="4232"/>
                    <a:pt x="12513" y="3735"/>
                  </a:cubicBezTo>
                  <a:cubicBezTo>
                    <a:pt x="11971" y="3220"/>
                    <a:pt x="11387" y="2799"/>
                    <a:pt x="11238" y="2789"/>
                  </a:cubicBezTo>
                  <a:cubicBezTo>
                    <a:pt x="11086" y="2778"/>
                    <a:pt x="10921" y="2903"/>
                    <a:pt x="10851" y="3064"/>
                  </a:cubicBezTo>
                  <a:cubicBezTo>
                    <a:pt x="10801" y="3232"/>
                    <a:pt x="10303" y="3278"/>
                    <a:pt x="9770" y="3179"/>
                  </a:cubicBezTo>
                  <a:cubicBezTo>
                    <a:pt x="9240" y="3071"/>
                    <a:pt x="8348" y="2629"/>
                    <a:pt x="7812" y="2155"/>
                  </a:cubicBezTo>
                  <a:cubicBezTo>
                    <a:pt x="7255" y="1697"/>
                    <a:pt x="6470" y="1278"/>
                    <a:pt x="6051" y="1245"/>
                  </a:cubicBezTo>
                  <a:cubicBezTo>
                    <a:pt x="5629" y="1197"/>
                    <a:pt x="5062" y="877"/>
                    <a:pt x="4788" y="516"/>
                  </a:cubicBezTo>
                  <a:cubicBezTo>
                    <a:pt x="4512" y="153"/>
                    <a:pt x="4195" y="-63"/>
                    <a:pt x="4086" y="47"/>
                  </a:cubicBezTo>
                  <a:cubicBezTo>
                    <a:pt x="3960" y="149"/>
                    <a:pt x="3583" y="211"/>
                    <a:pt x="3229" y="186"/>
                  </a:cubicBezTo>
                  <a:cubicBezTo>
                    <a:pt x="2874" y="149"/>
                    <a:pt x="2532" y="257"/>
                    <a:pt x="2422" y="387"/>
                  </a:cubicBezTo>
                  <a:cubicBezTo>
                    <a:pt x="2323" y="522"/>
                    <a:pt x="1985" y="478"/>
                    <a:pt x="1649" y="279"/>
                  </a:cubicBezTo>
                  <a:cubicBezTo>
                    <a:pt x="1307" y="81"/>
                    <a:pt x="1000" y="1"/>
                    <a:pt x="923" y="83"/>
                  </a:cubicBezTo>
                  <a:cubicBezTo>
                    <a:pt x="861" y="169"/>
                    <a:pt x="599" y="144"/>
                    <a:pt x="323" y="32"/>
                  </a:cubicBezTo>
                  <a:cubicBezTo>
                    <a:pt x="54" y="-90"/>
                    <a:pt x="-69" y="144"/>
                    <a:pt x="39" y="549"/>
                  </a:cubicBezTo>
                  <a:cubicBezTo>
                    <a:pt x="184" y="944"/>
                    <a:pt x="193" y="1419"/>
                    <a:pt x="167" y="1590"/>
                  </a:cubicBezTo>
                  <a:cubicBezTo>
                    <a:pt x="140" y="1759"/>
                    <a:pt x="193" y="2197"/>
                    <a:pt x="269" y="2576"/>
                  </a:cubicBezTo>
                  <a:cubicBezTo>
                    <a:pt x="395" y="2946"/>
                    <a:pt x="971" y="3219"/>
                    <a:pt x="1608" y="3171"/>
                  </a:cubicBezTo>
                  <a:close/>
                  <a:moveTo>
                    <a:pt x="1608" y="31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1" name="AutoShape 570"/>
            <p:cNvSpPr>
              <a:spLocks/>
            </p:cNvSpPr>
            <p:nvPr/>
          </p:nvSpPr>
          <p:spPr bwMode="auto">
            <a:xfrm>
              <a:off x="8242300" y="3022600"/>
              <a:ext cx="388938" cy="257175"/>
            </a:xfrm>
            <a:custGeom>
              <a:avLst/>
              <a:gdLst/>
              <a:ahLst/>
              <a:cxnLst/>
              <a:rect l="0" t="0" r="r" b="b"/>
              <a:pathLst>
                <a:path w="21557" h="21558">
                  <a:moveTo>
                    <a:pt x="20167" y="14516"/>
                  </a:moveTo>
                  <a:cubicBezTo>
                    <a:pt x="20067" y="14622"/>
                    <a:pt x="19793" y="14686"/>
                    <a:pt x="19553" y="14639"/>
                  </a:cubicBezTo>
                  <a:cubicBezTo>
                    <a:pt x="19315" y="14593"/>
                    <a:pt x="18972" y="14484"/>
                    <a:pt x="18788" y="14415"/>
                  </a:cubicBezTo>
                  <a:cubicBezTo>
                    <a:pt x="18604" y="14335"/>
                    <a:pt x="18354" y="14023"/>
                    <a:pt x="18238" y="13721"/>
                  </a:cubicBezTo>
                  <a:cubicBezTo>
                    <a:pt x="18235" y="13713"/>
                    <a:pt x="18233" y="13706"/>
                    <a:pt x="18231" y="13698"/>
                  </a:cubicBezTo>
                  <a:cubicBezTo>
                    <a:pt x="18227" y="13690"/>
                    <a:pt x="18222" y="13683"/>
                    <a:pt x="18219" y="13675"/>
                  </a:cubicBezTo>
                  <a:cubicBezTo>
                    <a:pt x="18155" y="13522"/>
                    <a:pt x="18079" y="13325"/>
                    <a:pt x="18006" y="13129"/>
                  </a:cubicBezTo>
                  <a:cubicBezTo>
                    <a:pt x="18005" y="13129"/>
                    <a:pt x="18001" y="13132"/>
                    <a:pt x="18001" y="13132"/>
                  </a:cubicBezTo>
                  <a:cubicBezTo>
                    <a:pt x="17988" y="13108"/>
                    <a:pt x="17902" y="12846"/>
                    <a:pt x="17797" y="12555"/>
                  </a:cubicBezTo>
                  <a:cubicBezTo>
                    <a:pt x="17696" y="12264"/>
                    <a:pt x="17586" y="11247"/>
                    <a:pt x="17566" y="10298"/>
                  </a:cubicBezTo>
                  <a:cubicBezTo>
                    <a:pt x="17545" y="9350"/>
                    <a:pt x="17412" y="8322"/>
                    <a:pt x="17277" y="8017"/>
                  </a:cubicBezTo>
                  <a:cubicBezTo>
                    <a:pt x="17139" y="7719"/>
                    <a:pt x="16997" y="7222"/>
                    <a:pt x="16925" y="6944"/>
                  </a:cubicBezTo>
                  <a:cubicBezTo>
                    <a:pt x="16862" y="6660"/>
                    <a:pt x="16509" y="6032"/>
                    <a:pt x="16130" y="5573"/>
                  </a:cubicBezTo>
                  <a:cubicBezTo>
                    <a:pt x="15751" y="5110"/>
                    <a:pt x="15433" y="4539"/>
                    <a:pt x="15374" y="4341"/>
                  </a:cubicBezTo>
                  <a:cubicBezTo>
                    <a:pt x="15336" y="4134"/>
                    <a:pt x="15071" y="3632"/>
                    <a:pt x="14780" y="3239"/>
                  </a:cubicBezTo>
                  <a:cubicBezTo>
                    <a:pt x="14489" y="2845"/>
                    <a:pt x="14174" y="2137"/>
                    <a:pt x="14070" y="1679"/>
                  </a:cubicBezTo>
                  <a:cubicBezTo>
                    <a:pt x="14055" y="1609"/>
                    <a:pt x="14029" y="1549"/>
                    <a:pt x="14005" y="1486"/>
                  </a:cubicBezTo>
                  <a:cubicBezTo>
                    <a:pt x="13849" y="1131"/>
                    <a:pt x="13491" y="900"/>
                    <a:pt x="13145" y="941"/>
                  </a:cubicBezTo>
                  <a:cubicBezTo>
                    <a:pt x="12739" y="986"/>
                    <a:pt x="12292" y="1134"/>
                    <a:pt x="12146" y="1258"/>
                  </a:cubicBezTo>
                  <a:cubicBezTo>
                    <a:pt x="12000" y="1376"/>
                    <a:pt x="11528" y="1531"/>
                    <a:pt x="11090" y="1584"/>
                  </a:cubicBezTo>
                  <a:cubicBezTo>
                    <a:pt x="10653" y="1646"/>
                    <a:pt x="10202" y="1823"/>
                    <a:pt x="10114" y="2016"/>
                  </a:cubicBezTo>
                  <a:cubicBezTo>
                    <a:pt x="10021" y="2203"/>
                    <a:pt x="9820" y="2339"/>
                    <a:pt x="9681" y="2339"/>
                  </a:cubicBezTo>
                  <a:cubicBezTo>
                    <a:pt x="9545" y="2323"/>
                    <a:pt x="9260" y="2390"/>
                    <a:pt x="9055" y="2467"/>
                  </a:cubicBezTo>
                  <a:cubicBezTo>
                    <a:pt x="8850" y="2544"/>
                    <a:pt x="8559" y="2501"/>
                    <a:pt x="8414" y="2384"/>
                  </a:cubicBezTo>
                  <a:cubicBezTo>
                    <a:pt x="8271" y="2260"/>
                    <a:pt x="8096" y="2022"/>
                    <a:pt x="8019" y="1861"/>
                  </a:cubicBezTo>
                  <a:cubicBezTo>
                    <a:pt x="7945" y="1695"/>
                    <a:pt x="7735" y="1436"/>
                    <a:pt x="7550" y="1289"/>
                  </a:cubicBezTo>
                  <a:cubicBezTo>
                    <a:pt x="7361" y="1155"/>
                    <a:pt x="7055" y="1011"/>
                    <a:pt x="6867" y="966"/>
                  </a:cubicBezTo>
                  <a:cubicBezTo>
                    <a:pt x="6676" y="951"/>
                    <a:pt x="6313" y="717"/>
                    <a:pt x="6058" y="471"/>
                  </a:cubicBezTo>
                  <a:cubicBezTo>
                    <a:pt x="5802" y="232"/>
                    <a:pt x="5489" y="17"/>
                    <a:pt x="5355" y="3"/>
                  </a:cubicBezTo>
                  <a:cubicBezTo>
                    <a:pt x="5224" y="-14"/>
                    <a:pt x="5050" y="65"/>
                    <a:pt x="4970" y="178"/>
                  </a:cubicBezTo>
                  <a:cubicBezTo>
                    <a:pt x="4884" y="284"/>
                    <a:pt x="4713" y="367"/>
                    <a:pt x="4578" y="367"/>
                  </a:cubicBezTo>
                  <a:cubicBezTo>
                    <a:pt x="4445" y="367"/>
                    <a:pt x="4354" y="406"/>
                    <a:pt x="4374" y="473"/>
                  </a:cubicBezTo>
                  <a:cubicBezTo>
                    <a:pt x="4393" y="540"/>
                    <a:pt x="4361" y="772"/>
                    <a:pt x="4308" y="991"/>
                  </a:cubicBezTo>
                  <a:cubicBezTo>
                    <a:pt x="4246" y="1205"/>
                    <a:pt x="4075" y="1410"/>
                    <a:pt x="3915" y="1432"/>
                  </a:cubicBezTo>
                  <a:cubicBezTo>
                    <a:pt x="3755" y="1448"/>
                    <a:pt x="3525" y="1784"/>
                    <a:pt x="3404" y="2163"/>
                  </a:cubicBezTo>
                  <a:cubicBezTo>
                    <a:pt x="3288" y="2545"/>
                    <a:pt x="3093" y="3350"/>
                    <a:pt x="2981" y="3957"/>
                  </a:cubicBezTo>
                  <a:cubicBezTo>
                    <a:pt x="2878" y="4570"/>
                    <a:pt x="2599" y="5481"/>
                    <a:pt x="2390" y="5996"/>
                  </a:cubicBezTo>
                  <a:cubicBezTo>
                    <a:pt x="2170" y="6507"/>
                    <a:pt x="2013" y="7093"/>
                    <a:pt x="2024" y="7296"/>
                  </a:cubicBezTo>
                  <a:cubicBezTo>
                    <a:pt x="2035" y="7497"/>
                    <a:pt x="1954" y="7795"/>
                    <a:pt x="1839" y="7961"/>
                  </a:cubicBezTo>
                  <a:cubicBezTo>
                    <a:pt x="1722" y="8120"/>
                    <a:pt x="1478" y="8229"/>
                    <a:pt x="1294" y="8182"/>
                  </a:cubicBezTo>
                  <a:cubicBezTo>
                    <a:pt x="1110" y="8136"/>
                    <a:pt x="916" y="8251"/>
                    <a:pt x="855" y="8419"/>
                  </a:cubicBezTo>
                  <a:cubicBezTo>
                    <a:pt x="794" y="8587"/>
                    <a:pt x="658" y="8767"/>
                    <a:pt x="540" y="8804"/>
                  </a:cubicBezTo>
                  <a:cubicBezTo>
                    <a:pt x="423" y="8841"/>
                    <a:pt x="228" y="9045"/>
                    <a:pt x="96" y="9236"/>
                  </a:cubicBezTo>
                  <a:cubicBezTo>
                    <a:pt x="-34" y="9430"/>
                    <a:pt x="-31" y="9655"/>
                    <a:pt x="100" y="9738"/>
                  </a:cubicBezTo>
                  <a:cubicBezTo>
                    <a:pt x="229" y="9820"/>
                    <a:pt x="382" y="9987"/>
                    <a:pt x="423" y="10128"/>
                  </a:cubicBezTo>
                  <a:cubicBezTo>
                    <a:pt x="465" y="10268"/>
                    <a:pt x="711" y="10711"/>
                    <a:pt x="950" y="11133"/>
                  </a:cubicBezTo>
                  <a:cubicBezTo>
                    <a:pt x="1191" y="11551"/>
                    <a:pt x="1426" y="12050"/>
                    <a:pt x="1483" y="12238"/>
                  </a:cubicBezTo>
                  <a:cubicBezTo>
                    <a:pt x="1542" y="12422"/>
                    <a:pt x="1735" y="12704"/>
                    <a:pt x="1919" y="12874"/>
                  </a:cubicBezTo>
                  <a:cubicBezTo>
                    <a:pt x="2103" y="13044"/>
                    <a:pt x="2415" y="13350"/>
                    <a:pt x="2604" y="13580"/>
                  </a:cubicBezTo>
                  <a:cubicBezTo>
                    <a:pt x="2794" y="13810"/>
                    <a:pt x="2893" y="14195"/>
                    <a:pt x="2829" y="14449"/>
                  </a:cubicBezTo>
                  <a:cubicBezTo>
                    <a:pt x="2775" y="14709"/>
                    <a:pt x="2724" y="15006"/>
                    <a:pt x="2764" y="15113"/>
                  </a:cubicBezTo>
                  <a:cubicBezTo>
                    <a:pt x="2810" y="15215"/>
                    <a:pt x="3011" y="15437"/>
                    <a:pt x="3246" y="15568"/>
                  </a:cubicBezTo>
                  <a:cubicBezTo>
                    <a:pt x="3481" y="15698"/>
                    <a:pt x="3733" y="15961"/>
                    <a:pt x="3801" y="16146"/>
                  </a:cubicBezTo>
                  <a:cubicBezTo>
                    <a:pt x="3880" y="16317"/>
                    <a:pt x="4048" y="16415"/>
                    <a:pt x="4187" y="16335"/>
                  </a:cubicBezTo>
                  <a:cubicBezTo>
                    <a:pt x="4323" y="16248"/>
                    <a:pt x="4529" y="16340"/>
                    <a:pt x="4650" y="16493"/>
                  </a:cubicBezTo>
                  <a:cubicBezTo>
                    <a:pt x="4765" y="16658"/>
                    <a:pt x="4944" y="16604"/>
                    <a:pt x="5049" y="16384"/>
                  </a:cubicBezTo>
                  <a:cubicBezTo>
                    <a:pt x="5145" y="16157"/>
                    <a:pt x="5431" y="16064"/>
                    <a:pt x="5672" y="16163"/>
                  </a:cubicBezTo>
                  <a:cubicBezTo>
                    <a:pt x="5910" y="16272"/>
                    <a:pt x="6025" y="16498"/>
                    <a:pt x="5920" y="16681"/>
                  </a:cubicBezTo>
                  <a:cubicBezTo>
                    <a:pt x="5817" y="16866"/>
                    <a:pt x="5758" y="17144"/>
                    <a:pt x="5778" y="17307"/>
                  </a:cubicBezTo>
                  <a:cubicBezTo>
                    <a:pt x="5801" y="17430"/>
                    <a:pt x="5849" y="17645"/>
                    <a:pt x="5889" y="17844"/>
                  </a:cubicBezTo>
                  <a:cubicBezTo>
                    <a:pt x="5902" y="17905"/>
                    <a:pt x="5915" y="17967"/>
                    <a:pt x="5929" y="18033"/>
                  </a:cubicBezTo>
                  <a:cubicBezTo>
                    <a:pt x="5981" y="18256"/>
                    <a:pt x="6174" y="18463"/>
                    <a:pt x="6356" y="18508"/>
                  </a:cubicBezTo>
                  <a:cubicBezTo>
                    <a:pt x="6541" y="18555"/>
                    <a:pt x="6769" y="18695"/>
                    <a:pt x="6863" y="18814"/>
                  </a:cubicBezTo>
                  <a:cubicBezTo>
                    <a:pt x="6955" y="18938"/>
                    <a:pt x="7020" y="19166"/>
                    <a:pt x="7030" y="19323"/>
                  </a:cubicBezTo>
                  <a:cubicBezTo>
                    <a:pt x="7020" y="19480"/>
                    <a:pt x="6996" y="19706"/>
                    <a:pt x="6944" y="19807"/>
                  </a:cubicBezTo>
                  <a:cubicBezTo>
                    <a:pt x="6896" y="19910"/>
                    <a:pt x="6930" y="20165"/>
                    <a:pt x="7013" y="20361"/>
                  </a:cubicBezTo>
                  <a:cubicBezTo>
                    <a:pt x="7093" y="20562"/>
                    <a:pt x="7302" y="20613"/>
                    <a:pt x="7454" y="20449"/>
                  </a:cubicBezTo>
                  <a:cubicBezTo>
                    <a:pt x="7615" y="20303"/>
                    <a:pt x="7892" y="20209"/>
                    <a:pt x="8076" y="20241"/>
                  </a:cubicBezTo>
                  <a:cubicBezTo>
                    <a:pt x="8258" y="20272"/>
                    <a:pt x="8476" y="20402"/>
                    <a:pt x="8550" y="20537"/>
                  </a:cubicBezTo>
                  <a:cubicBezTo>
                    <a:pt x="8630" y="20665"/>
                    <a:pt x="8748" y="20752"/>
                    <a:pt x="8816" y="20730"/>
                  </a:cubicBezTo>
                  <a:cubicBezTo>
                    <a:pt x="8883" y="20705"/>
                    <a:pt x="9135" y="20818"/>
                    <a:pt x="9375" y="20983"/>
                  </a:cubicBezTo>
                  <a:cubicBezTo>
                    <a:pt x="9616" y="21148"/>
                    <a:pt x="9971" y="21185"/>
                    <a:pt x="10157" y="21053"/>
                  </a:cubicBezTo>
                  <a:cubicBezTo>
                    <a:pt x="10341" y="20922"/>
                    <a:pt x="10603" y="20910"/>
                    <a:pt x="10743" y="20966"/>
                  </a:cubicBezTo>
                  <a:cubicBezTo>
                    <a:pt x="10872" y="21055"/>
                    <a:pt x="11076" y="21059"/>
                    <a:pt x="11182" y="20987"/>
                  </a:cubicBezTo>
                  <a:cubicBezTo>
                    <a:pt x="11287" y="20916"/>
                    <a:pt x="11493" y="20941"/>
                    <a:pt x="11631" y="21038"/>
                  </a:cubicBezTo>
                  <a:cubicBezTo>
                    <a:pt x="11774" y="21123"/>
                    <a:pt x="11982" y="21211"/>
                    <a:pt x="12097" y="21226"/>
                  </a:cubicBezTo>
                  <a:cubicBezTo>
                    <a:pt x="12213" y="21233"/>
                    <a:pt x="12515" y="21311"/>
                    <a:pt x="12769" y="21383"/>
                  </a:cubicBezTo>
                  <a:cubicBezTo>
                    <a:pt x="13024" y="21447"/>
                    <a:pt x="13292" y="21451"/>
                    <a:pt x="13370" y="21370"/>
                  </a:cubicBezTo>
                  <a:cubicBezTo>
                    <a:pt x="13444" y="21283"/>
                    <a:pt x="13643" y="21162"/>
                    <a:pt x="13808" y="21107"/>
                  </a:cubicBezTo>
                  <a:cubicBezTo>
                    <a:pt x="13974" y="21048"/>
                    <a:pt x="14154" y="20880"/>
                    <a:pt x="14198" y="20733"/>
                  </a:cubicBezTo>
                  <a:cubicBezTo>
                    <a:pt x="14239" y="20582"/>
                    <a:pt x="14600" y="20276"/>
                    <a:pt x="14978" y="20038"/>
                  </a:cubicBezTo>
                  <a:cubicBezTo>
                    <a:pt x="15357" y="19806"/>
                    <a:pt x="15803" y="19584"/>
                    <a:pt x="15971" y="19562"/>
                  </a:cubicBezTo>
                  <a:cubicBezTo>
                    <a:pt x="16141" y="19546"/>
                    <a:pt x="16448" y="19565"/>
                    <a:pt x="16654" y="19620"/>
                  </a:cubicBezTo>
                  <a:cubicBezTo>
                    <a:pt x="16860" y="19674"/>
                    <a:pt x="17206" y="19866"/>
                    <a:pt x="17432" y="20022"/>
                  </a:cubicBezTo>
                  <a:cubicBezTo>
                    <a:pt x="17655" y="20182"/>
                    <a:pt x="17900" y="20422"/>
                    <a:pt x="17970" y="20551"/>
                  </a:cubicBezTo>
                  <a:cubicBezTo>
                    <a:pt x="18047" y="20674"/>
                    <a:pt x="18207" y="20736"/>
                    <a:pt x="18328" y="20670"/>
                  </a:cubicBezTo>
                  <a:cubicBezTo>
                    <a:pt x="18448" y="20604"/>
                    <a:pt x="18690" y="20691"/>
                    <a:pt x="18869" y="20834"/>
                  </a:cubicBezTo>
                  <a:cubicBezTo>
                    <a:pt x="19047" y="20975"/>
                    <a:pt x="19212" y="21196"/>
                    <a:pt x="19251" y="21300"/>
                  </a:cubicBezTo>
                  <a:cubicBezTo>
                    <a:pt x="19288" y="21406"/>
                    <a:pt x="19442" y="21516"/>
                    <a:pt x="19597" y="21555"/>
                  </a:cubicBezTo>
                  <a:cubicBezTo>
                    <a:pt x="19751" y="21586"/>
                    <a:pt x="19841" y="21398"/>
                    <a:pt x="19773" y="21148"/>
                  </a:cubicBezTo>
                  <a:cubicBezTo>
                    <a:pt x="19712" y="20895"/>
                    <a:pt x="19713" y="20539"/>
                    <a:pt x="19773" y="20359"/>
                  </a:cubicBezTo>
                  <a:cubicBezTo>
                    <a:pt x="19834" y="20183"/>
                    <a:pt x="19867" y="19788"/>
                    <a:pt x="19867" y="19484"/>
                  </a:cubicBezTo>
                  <a:cubicBezTo>
                    <a:pt x="19867" y="19181"/>
                    <a:pt x="19802" y="18809"/>
                    <a:pt x="19742" y="18653"/>
                  </a:cubicBezTo>
                  <a:cubicBezTo>
                    <a:pt x="19681" y="18498"/>
                    <a:pt x="19688" y="18258"/>
                    <a:pt x="19769" y="18136"/>
                  </a:cubicBezTo>
                  <a:cubicBezTo>
                    <a:pt x="19852" y="18019"/>
                    <a:pt x="19925" y="17727"/>
                    <a:pt x="19946" y="17513"/>
                  </a:cubicBezTo>
                  <a:cubicBezTo>
                    <a:pt x="19967" y="17300"/>
                    <a:pt x="20170" y="17139"/>
                    <a:pt x="20395" y="17139"/>
                  </a:cubicBezTo>
                  <a:cubicBezTo>
                    <a:pt x="20619" y="17147"/>
                    <a:pt x="20912" y="17123"/>
                    <a:pt x="21046" y="17100"/>
                  </a:cubicBezTo>
                  <a:cubicBezTo>
                    <a:pt x="21179" y="17067"/>
                    <a:pt x="21361" y="16849"/>
                    <a:pt x="21431" y="16594"/>
                  </a:cubicBezTo>
                  <a:cubicBezTo>
                    <a:pt x="21521" y="16354"/>
                    <a:pt x="21566" y="16012"/>
                    <a:pt x="21556" y="15858"/>
                  </a:cubicBezTo>
                  <a:cubicBezTo>
                    <a:pt x="21546" y="15704"/>
                    <a:pt x="21486" y="15488"/>
                    <a:pt x="21407" y="15405"/>
                  </a:cubicBezTo>
                  <a:cubicBezTo>
                    <a:pt x="21335" y="15311"/>
                    <a:pt x="21325" y="15158"/>
                    <a:pt x="21383" y="15061"/>
                  </a:cubicBezTo>
                  <a:cubicBezTo>
                    <a:pt x="21442" y="14959"/>
                    <a:pt x="21399" y="14757"/>
                    <a:pt x="21281" y="14601"/>
                  </a:cubicBezTo>
                  <a:cubicBezTo>
                    <a:pt x="21162" y="14445"/>
                    <a:pt x="20905" y="14319"/>
                    <a:pt x="20707" y="14319"/>
                  </a:cubicBezTo>
                  <a:cubicBezTo>
                    <a:pt x="20508" y="14319"/>
                    <a:pt x="20262" y="14401"/>
                    <a:pt x="20167" y="14516"/>
                  </a:cubicBezTo>
                  <a:close/>
                  <a:moveTo>
                    <a:pt x="20167" y="145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2" name="AutoShape 571"/>
            <p:cNvSpPr>
              <a:spLocks/>
            </p:cNvSpPr>
            <p:nvPr/>
          </p:nvSpPr>
          <p:spPr bwMode="auto">
            <a:xfrm>
              <a:off x="8572500" y="3187700"/>
              <a:ext cx="9525" cy="7938"/>
            </a:xfrm>
            <a:custGeom>
              <a:avLst/>
              <a:gdLst/>
              <a:ahLst/>
              <a:cxnLst/>
              <a:rect l="0" t="0" r="r" b="b"/>
              <a:pathLst>
                <a:path w="21600" h="21600">
                  <a:moveTo>
                    <a:pt x="21600" y="21600"/>
                  </a:moveTo>
                  <a:cubicBezTo>
                    <a:pt x="14650" y="19244"/>
                    <a:pt x="5195" y="9492"/>
                    <a:pt x="0" y="0"/>
                  </a:cubicBezTo>
                  <a:cubicBezTo>
                    <a:pt x="108" y="249"/>
                    <a:pt x="161" y="466"/>
                    <a:pt x="268" y="686"/>
                  </a:cubicBezTo>
                  <a:cubicBezTo>
                    <a:pt x="4794" y="9785"/>
                    <a:pt x="14462" y="19184"/>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3" name="AutoShape 572"/>
            <p:cNvSpPr>
              <a:spLocks/>
            </p:cNvSpPr>
            <p:nvPr/>
          </p:nvSpPr>
          <p:spPr bwMode="auto">
            <a:xfrm>
              <a:off x="8559800" y="3175000"/>
              <a:ext cx="3175" cy="6350"/>
            </a:xfrm>
            <a:custGeom>
              <a:avLst/>
              <a:gdLst/>
              <a:ahLst/>
              <a:cxnLst/>
              <a:rect l="0" t="0" r="r" b="b"/>
              <a:pathLst>
                <a:path w="21600" h="21600">
                  <a:moveTo>
                    <a:pt x="21103" y="21600"/>
                  </a:moveTo>
                  <a:cubicBezTo>
                    <a:pt x="21103" y="21600"/>
                    <a:pt x="21525" y="21524"/>
                    <a:pt x="21600" y="21524"/>
                  </a:cubicBezTo>
                  <a:cubicBezTo>
                    <a:pt x="13431" y="13566"/>
                    <a:pt x="5616" y="5668"/>
                    <a:pt x="0" y="0"/>
                  </a:cubicBezTo>
                  <a:cubicBezTo>
                    <a:pt x="10802" y="10887"/>
                    <a:pt x="19749" y="20710"/>
                    <a:pt x="21103" y="21600"/>
                  </a:cubicBezTo>
                  <a:close/>
                  <a:moveTo>
                    <a:pt x="21103"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4" name="AutoShape 573"/>
            <p:cNvSpPr>
              <a:spLocks/>
            </p:cNvSpPr>
            <p:nvPr/>
          </p:nvSpPr>
          <p:spPr bwMode="auto">
            <a:xfrm>
              <a:off x="8496300" y="3048000"/>
              <a:ext cx="0" cy="1588"/>
            </a:xfrm>
            <a:custGeom>
              <a:avLst/>
              <a:gdLst/>
              <a:ahLst/>
              <a:cxnLst/>
              <a:rect l="0" t="0" r="r" b="b"/>
              <a:pathLst>
                <a:path w="21600" h="21600">
                  <a:moveTo>
                    <a:pt x="21600" y="21600"/>
                  </a:moveTo>
                  <a:cubicBezTo>
                    <a:pt x="16774" y="13970"/>
                    <a:pt x="9206" y="6871"/>
                    <a:pt x="0" y="0"/>
                  </a:cubicBezTo>
                  <a:cubicBezTo>
                    <a:pt x="7813" y="7097"/>
                    <a:pt x="16774" y="13804"/>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5" name="AutoShape 574"/>
            <p:cNvSpPr>
              <a:spLocks/>
            </p:cNvSpPr>
            <p:nvPr/>
          </p:nvSpPr>
          <p:spPr bwMode="auto">
            <a:xfrm>
              <a:off x="8064500" y="2997200"/>
              <a:ext cx="255588" cy="157163"/>
            </a:xfrm>
            <a:custGeom>
              <a:avLst/>
              <a:gdLst/>
              <a:ahLst/>
              <a:cxnLst/>
              <a:rect l="0" t="0" r="r" b="b"/>
              <a:pathLst>
                <a:path w="21526" h="21497">
                  <a:moveTo>
                    <a:pt x="18861" y="711"/>
                  </a:moveTo>
                  <a:cubicBezTo>
                    <a:pt x="18637" y="906"/>
                    <a:pt x="18200" y="942"/>
                    <a:pt x="17871" y="802"/>
                  </a:cubicBezTo>
                  <a:cubicBezTo>
                    <a:pt x="17544" y="644"/>
                    <a:pt x="16937" y="500"/>
                    <a:pt x="16524" y="500"/>
                  </a:cubicBezTo>
                  <a:cubicBezTo>
                    <a:pt x="16106" y="488"/>
                    <a:pt x="15567" y="377"/>
                    <a:pt x="15322" y="241"/>
                  </a:cubicBezTo>
                  <a:cubicBezTo>
                    <a:pt x="15075" y="115"/>
                    <a:pt x="14598" y="0"/>
                    <a:pt x="14253" y="0"/>
                  </a:cubicBezTo>
                  <a:cubicBezTo>
                    <a:pt x="13912" y="0"/>
                    <a:pt x="13512" y="366"/>
                    <a:pt x="13342" y="770"/>
                  </a:cubicBezTo>
                  <a:cubicBezTo>
                    <a:pt x="13175" y="1180"/>
                    <a:pt x="12912" y="1719"/>
                    <a:pt x="12732" y="1926"/>
                  </a:cubicBezTo>
                  <a:cubicBezTo>
                    <a:pt x="12550" y="2135"/>
                    <a:pt x="12411" y="2572"/>
                    <a:pt x="12395" y="2881"/>
                  </a:cubicBezTo>
                  <a:cubicBezTo>
                    <a:pt x="12379" y="3188"/>
                    <a:pt x="12123" y="3006"/>
                    <a:pt x="11803" y="2485"/>
                  </a:cubicBezTo>
                  <a:cubicBezTo>
                    <a:pt x="11484" y="1966"/>
                    <a:pt x="10966" y="1870"/>
                    <a:pt x="10647" y="2285"/>
                  </a:cubicBezTo>
                  <a:cubicBezTo>
                    <a:pt x="10320" y="2686"/>
                    <a:pt x="9831" y="3149"/>
                    <a:pt x="9541" y="3260"/>
                  </a:cubicBezTo>
                  <a:cubicBezTo>
                    <a:pt x="9252" y="3372"/>
                    <a:pt x="9003" y="3735"/>
                    <a:pt x="8987" y="4044"/>
                  </a:cubicBezTo>
                  <a:cubicBezTo>
                    <a:pt x="8971" y="4352"/>
                    <a:pt x="8500" y="4619"/>
                    <a:pt x="7940" y="4644"/>
                  </a:cubicBezTo>
                  <a:cubicBezTo>
                    <a:pt x="7382" y="4657"/>
                    <a:pt x="6640" y="4818"/>
                    <a:pt x="6287" y="4961"/>
                  </a:cubicBezTo>
                  <a:cubicBezTo>
                    <a:pt x="5937" y="5122"/>
                    <a:pt x="5340" y="5120"/>
                    <a:pt x="4960" y="4972"/>
                  </a:cubicBezTo>
                  <a:cubicBezTo>
                    <a:pt x="4581" y="4824"/>
                    <a:pt x="3668" y="4111"/>
                    <a:pt x="2931" y="3387"/>
                  </a:cubicBezTo>
                  <a:cubicBezTo>
                    <a:pt x="2197" y="2665"/>
                    <a:pt x="1617" y="2269"/>
                    <a:pt x="1644" y="2486"/>
                  </a:cubicBezTo>
                  <a:cubicBezTo>
                    <a:pt x="1644" y="2493"/>
                    <a:pt x="1646" y="2502"/>
                    <a:pt x="1646" y="2509"/>
                  </a:cubicBezTo>
                  <a:cubicBezTo>
                    <a:pt x="1692" y="2734"/>
                    <a:pt x="1733" y="3188"/>
                    <a:pt x="1779" y="3517"/>
                  </a:cubicBezTo>
                  <a:cubicBezTo>
                    <a:pt x="1810" y="3864"/>
                    <a:pt x="1830" y="4411"/>
                    <a:pt x="1814" y="4747"/>
                  </a:cubicBezTo>
                  <a:cubicBezTo>
                    <a:pt x="1798" y="5083"/>
                    <a:pt x="1390" y="5320"/>
                    <a:pt x="927" y="5247"/>
                  </a:cubicBezTo>
                  <a:cubicBezTo>
                    <a:pt x="464" y="5198"/>
                    <a:pt x="56" y="5257"/>
                    <a:pt x="12" y="5397"/>
                  </a:cubicBezTo>
                  <a:cubicBezTo>
                    <a:pt x="-43" y="5520"/>
                    <a:pt x="102" y="5966"/>
                    <a:pt x="315" y="6325"/>
                  </a:cubicBezTo>
                  <a:cubicBezTo>
                    <a:pt x="516" y="6705"/>
                    <a:pt x="615" y="7304"/>
                    <a:pt x="551" y="7688"/>
                  </a:cubicBezTo>
                  <a:cubicBezTo>
                    <a:pt x="476" y="8070"/>
                    <a:pt x="403" y="8637"/>
                    <a:pt x="387" y="8949"/>
                  </a:cubicBezTo>
                  <a:cubicBezTo>
                    <a:pt x="371" y="9263"/>
                    <a:pt x="472" y="9790"/>
                    <a:pt x="601" y="10119"/>
                  </a:cubicBezTo>
                  <a:cubicBezTo>
                    <a:pt x="727" y="10451"/>
                    <a:pt x="703" y="10966"/>
                    <a:pt x="554" y="11288"/>
                  </a:cubicBezTo>
                  <a:cubicBezTo>
                    <a:pt x="404" y="11608"/>
                    <a:pt x="238" y="11887"/>
                    <a:pt x="188" y="11898"/>
                  </a:cubicBezTo>
                  <a:cubicBezTo>
                    <a:pt x="140" y="11911"/>
                    <a:pt x="335" y="12363"/>
                    <a:pt x="625" y="12872"/>
                  </a:cubicBezTo>
                  <a:cubicBezTo>
                    <a:pt x="919" y="13377"/>
                    <a:pt x="1197" y="14273"/>
                    <a:pt x="1259" y="14835"/>
                  </a:cubicBezTo>
                  <a:cubicBezTo>
                    <a:pt x="1307" y="15402"/>
                    <a:pt x="1533" y="15922"/>
                    <a:pt x="1725" y="16006"/>
                  </a:cubicBezTo>
                  <a:cubicBezTo>
                    <a:pt x="1917" y="16098"/>
                    <a:pt x="2458" y="16731"/>
                    <a:pt x="2924" y="17438"/>
                  </a:cubicBezTo>
                  <a:cubicBezTo>
                    <a:pt x="3386" y="18153"/>
                    <a:pt x="3958" y="18851"/>
                    <a:pt x="4185" y="19010"/>
                  </a:cubicBezTo>
                  <a:cubicBezTo>
                    <a:pt x="4415" y="19159"/>
                    <a:pt x="4741" y="19488"/>
                    <a:pt x="4925" y="19705"/>
                  </a:cubicBezTo>
                  <a:cubicBezTo>
                    <a:pt x="5099" y="19936"/>
                    <a:pt x="5704" y="20276"/>
                    <a:pt x="6263" y="20484"/>
                  </a:cubicBezTo>
                  <a:cubicBezTo>
                    <a:pt x="6820" y="20698"/>
                    <a:pt x="7602" y="21077"/>
                    <a:pt x="8006" y="21330"/>
                  </a:cubicBezTo>
                  <a:cubicBezTo>
                    <a:pt x="8401" y="21600"/>
                    <a:pt x="8853" y="21531"/>
                    <a:pt x="9012" y="21210"/>
                  </a:cubicBezTo>
                  <a:cubicBezTo>
                    <a:pt x="9153" y="20864"/>
                    <a:pt x="9390" y="20713"/>
                    <a:pt x="9511" y="20824"/>
                  </a:cubicBezTo>
                  <a:cubicBezTo>
                    <a:pt x="9619" y="20962"/>
                    <a:pt x="9847" y="20844"/>
                    <a:pt x="9975" y="20584"/>
                  </a:cubicBezTo>
                  <a:cubicBezTo>
                    <a:pt x="10107" y="20329"/>
                    <a:pt x="10413" y="19982"/>
                    <a:pt x="10649" y="19815"/>
                  </a:cubicBezTo>
                  <a:cubicBezTo>
                    <a:pt x="10881" y="19639"/>
                    <a:pt x="11221" y="19541"/>
                    <a:pt x="11401" y="19607"/>
                  </a:cubicBezTo>
                  <a:cubicBezTo>
                    <a:pt x="11576" y="19678"/>
                    <a:pt x="11774" y="19591"/>
                    <a:pt x="11827" y="19434"/>
                  </a:cubicBezTo>
                  <a:cubicBezTo>
                    <a:pt x="11877" y="19276"/>
                    <a:pt x="12119" y="18889"/>
                    <a:pt x="12361" y="18587"/>
                  </a:cubicBezTo>
                  <a:cubicBezTo>
                    <a:pt x="12600" y="18276"/>
                    <a:pt x="12922" y="18120"/>
                    <a:pt x="13089" y="18207"/>
                  </a:cubicBezTo>
                  <a:cubicBezTo>
                    <a:pt x="13254" y="18303"/>
                    <a:pt x="13569" y="18483"/>
                    <a:pt x="13792" y="18586"/>
                  </a:cubicBezTo>
                  <a:cubicBezTo>
                    <a:pt x="14009" y="18712"/>
                    <a:pt x="14321" y="18856"/>
                    <a:pt x="14474" y="18955"/>
                  </a:cubicBezTo>
                  <a:cubicBezTo>
                    <a:pt x="14624" y="19064"/>
                    <a:pt x="14908" y="18866"/>
                    <a:pt x="15104" y="18548"/>
                  </a:cubicBezTo>
                  <a:cubicBezTo>
                    <a:pt x="15304" y="18236"/>
                    <a:pt x="15599" y="17902"/>
                    <a:pt x="15776" y="17842"/>
                  </a:cubicBezTo>
                  <a:cubicBezTo>
                    <a:pt x="15954" y="17782"/>
                    <a:pt x="16161" y="17488"/>
                    <a:pt x="16252" y="17214"/>
                  </a:cubicBezTo>
                  <a:cubicBezTo>
                    <a:pt x="16345" y="16939"/>
                    <a:pt x="16638" y="16751"/>
                    <a:pt x="16917" y="16827"/>
                  </a:cubicBezTo>
                  <a:cubicBezTo>
                    <a:pt x="17195" y="16902"/>
                    <a:pt x="17565" y="16725"/>
                    <a:pt x="17741" y="16465"/>
                  </a:cubicBezTo>
                  <a:cubicBezTo>
                    <a:pt x="17916" y="16193"/>
                    <a:pt x="18038" y="15706"/>
                    <a:pt x="18021" y="15377"/>
                  </a:cubicBezTo>
                  <a:cubicBezTo>
                    <a:pt x="18005" y="15046"/>
                    <a:pt x="18242" y="14088"/>
                    <a:pt x="18575" y="13253"/>
                  </a:cubicBezTo>
                  <a:cubicBezTo>
                    <a:pt x="18892" y="12412"/>
                    <a:pt x="19314" y="10922"/>
                    <a:pt x="19469" y="9920"/>
                  </a:cubicBezTo>
                  <a:cubicBezTo>
                    <a:pt x="19639" y="8928"/>
                    <a:pt x="19934" y="7613"/>
                    <a:pt x="20110" y="6988"/>
                  </a:cubicBezTo>
                  <a:cubicBezTo>
                    <a:pt x="20292" y="6369"/>
                    <a:pt x="20641" y="5820"/>
                    <a:pt x="20882" y="5794"/>
                  </a:cubicBezTo>
                  <a:cubicBezTo>
                    <a:pt x="21124" y="5757"/>
                    <a:pt x="21383" y="5422"/>
                    <a:pt x="21476" y="5073"/>
                  </a:cubicBezTo>
                  <a:cubicBezTo>
                    <a:pt x="21557" y="4715"/>
                    <a:pt x="21541" y="4081"/>
                    <a:pt x="21418" y="3667"/>
                  </a:cubicBezTo>
                  <a:cubicBezTo>
                    <a:pt x="21287" y="3264"/>
                    <a:pt x="20981" y="2669"/>
                    <a:pt x="20710" y="2350"/>
                  </a:cubicBezTo>
                  <a:cubicBezTo>
                    <a:pt x="20437" y="2042"/>
                    <a:pt x="20008" y="1445"/>
                    <a:pt x="19734" y="1062"/>
                  </a:cubicBezTo>
                  <a:cubicBezTo>
                    <a:pt x="19478" y="657"/>
                    <a:pt x="19085" y="517"/>
                    <a:pt x="18861" y="711"/>
                  </a:cubicBezTo>
                  <a:close/>
                  <a:moveTo>
                    <a:pt x="18861" y="7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6" name="AutoShape 575"/>
            <p:cNvSpPr>
              <a:spLocks/>
            </p:cNvSpPr>
            <p:nvPr/>
          </p:nvSpPr>
          <p:spPr bwMode="auto">
            <a:xfrm>
              <a:off x="8077200" y="2959100"/>
              <a:ext cx="223838" cy="85725"/>
            </a:xfrm>
            <a:custGeom>
              <a:avLst/>
              <a:gdLst/>
              <a:ahLst/>
              <a:cxnLst/>
              <a:rect l="0" t="0" r="r" b="b"/>
              <a:pathLst>
                <a:path w="21571" h="21499">
                  <a:moveTo>
                    <a:pt x="20580" y="2658"/>
                  </a:moveTo>
                  <a:cubicBezTo>
                    <a:pt x="20067" y="1806"/>
                    <a:pt x="19279" y="1028"/>
                    <a:pt x="18835" y="883"/>
                  </a:cubicBezTo>
                  <a:cubicBezTo>
                    <a:pt x="18389" y="765"/>
                    <a:pt x="17911" y="785"/>
                    <a:pt x="17763" y="891"/>
                  </a:cubicBezTo>
                  <a:cubicBezTo>
                    <a:pt x="17620" y="1031"/>
                    <a:pt x="17344" y="950"/>
                    <a:pt x="17154" y="679"/>
                  </a:cubicBezTo>
                  <a:cubicBezTo>
                    <a:pt x="16966" y="409"/>
                    <a:pt x="16650" y="214"/>
                    <a:pt x="16463" y="262"/>
                  </a:cubicBezTo>
                  <a:cubicBezTo>
                    <a:pt x="16272" y="311"/>
                    <a:pt x="16006" y="616"/>
                    <a:pt x="15866" y="962"/>
                  </a:cubicBezTo>
                  <a:cubicBezTo>
                    <a:pt x="15727" y="1321"/>
                    <a:pt x="15469" y="1349"/>
                    <a:pt x="15294" y="1018"/>
                  </a:cubicBezTo>
                  <a:cubicBezTo>
                    <a:pt x="15112" y="712"/>
                    <a:pt x="14742" y="361"/>
                    <a:pt x="14456" y="316"/>
                  </a:cubicBezTo>
                  <a:cubicBezTo>
                    <a:pt x="14173" y="269"/>
                    <a:pt x="13790" y="111"/>
                    <a:pt x="13601" y="44"/>
                  </a:cubicBezTo>
                  <a:cubicBezTo>
                    <a:pt x="13416" y="-29"/>
                    <a:pt x="13112" y="-13"/>
                    <a:pt x="12928" y="108"/>
                  </a:cubicBezTo>
                  <a:cubicBezTo>
                    <a:pt x="12746" y="249"/>
                    <a:pt x="12489" y="754"/>
                    <a:pt x="12363" y="1272"/>
                  </a:cubicBezTo>
                  <a:cubicBezTo>
                    <a:pt x="12226" y="1761"/>
                    <a:pt x="11953" y="2145"/>
                    <a:pt x="11729" y="2170"/>
                  </a:cubicBezTo>
                  <a:cubicBezTo>
                    <a:pt x="11506" y="2122"/>
                    <a:pt x="11263" y="2050"/>
                    <a:pt x="11200" y="1941"/>
                  </a:cubicBezTo>
                  <a:cubicBezTo>
                    <a:pt x="11129" y="1850"/>
                    <a:pt x="11088" y="1784"/>
                    <a:pt x="11082" y="1811"/>
                  </a:cubicBezTo>
                  <a:cubicBezTo>
                    <a:pt x="11094" y="1826"/>
                    <a:pt x="10633" y="1671"/>
                    <a:pt x="10077" y="1438"/>
                  </a:cubicBezTo>
                  <a:cubicBezTo>
                    <a:pt x="9519" y="1209"/>
                    <a:pt x="8860" y="1430"/>
                    <a:pt x="8620" y="1982"/>
                  </a:cubicBezTo>
                  <a:cubicBezTo>
                    <a:pt x="8388" y="2541"/>
                    <a:pt x="7936" y="2950"/>
                    <a:pt x="7632" y="2973"/>
                  </a:cubicBezTo>
                  <a:cubicBezTo>
                    <a:pt x="7330" y="2995"/>
                    <a:pt x="6830" y="3640"/>
                    <a:pt x="6511" y="4421"/>
                  </a:cubicBezTo>
                  <a:cubicBezTo>
                    <a:pt x="6194" y="5205"/>
                    <a:pt x="5578" y="5918"/>
                    <a:pt x="5135" y="5988"/>
                  </a:cubicBezTo>
                  <a:cubicBezTo>
                    <a:pt x="4697" y="6059"/>
                    <a:pt x="3965" y="6386"/>
                    <a:pt x="3514" y="6725"/>
                  </a:cubicBezTo>
                  <a:cubicBezTo>
                    <a:pt x="3060" y="7056"/>
                    <a:pt x="2596" y="7110"/>
                    <a:pt x="2472" y="6857"/>
                  </a:cubicBezTo>
                  <a:cubicBezTo>
                    <a:pt x="2348" y="6613"/>
                    <a:pt x="2026" y="6331"/>
                    <a:pt x="1746" y="6331"/>
                  </a:cubicBezTo>
                  <a:cubicBezTo>
                    <a:pt x="1462" y="6331"/>
                    <a:pt x="1008" y="6633"/>
                    <a:pt x="732" y="7066"/>
                  </a:cubicBezTo>
                  <a:cubicBezTo>
                    <a:pt x="451" y="7478"/>
                    <a:pt x="176" y="7823"/>
                    <a:pt x="117" y="7772"/>
                  </a:cubicBezTo>
                  <a:cubicBezTo>
                    <a:pt x="54" y="7730"/>
                    <a:pt x="0" y="8484"/>
                    <a:pt x="0" y="9456"/>
                  </a:cubicBezTo>
                  <a:cubicBezTo>
                    <a:pt x="0" y="10309"/>
                    <a:pt x="89" y="12106"/>
                    <a:pt x="207" y="13699"/>
                  </a:cubicBezTo>
                  <a:cubicBezTo>
                    <a:pt x="328" y="15023"/>
                    <a:pt x="1101" y="17083"/>
                    <a:pt x="1926" y="18384"/>
                  </a:cubicBezTo>
                  <a:cubicBezTo>
                    <a:pt x="2771" y="19714"/>
                    <a:pt x="3819" y="21024"/>
                    <a:pt x="4254" y="21296"/>
                  </a:cubicBezTo>
                  <a:cubicBezTo>
                    <a:pt x="4689" y="21568"/>
                    <a:pt x="5374" y="21571"/>
                    <a:pt x="5776" y="21276"/>
                  </a:cubicBezTo>
                  <a:cubicBezTo>
                    <a:pt x="6180" y="21013"/>
                    <a:pt x="7031" y="20718"/>
                    <a:pt x="7671" y="20693"/>
                  </a:cubicBezTo>
                  <a:cubicBezTo>
                    <a:pt x="8314" y="20648"/>
                    <a:pt x="8855" y="20157"/>
                    <a:pt x="8873" y="19591"/>
                  </a:cubicBezTo>
                  <a:cubicBezTo>
                    <a:pt x="8891" y="19022"/>
                    <a:pt x="9177" y="18356"/>
                    <a:pt x="9508" y="18151"/>
                  </a:cubicBezTo>
                  <a:cubicBezTo>
                    <a:pt x="9841" y="17946"/>
                    <a:pt x="10402" y="17095"/>
                    <a:pt x="10777" y="16359"/>
                  </a:cubicBezTo>
                  <a:cubicBezTo>
                    <a:pt x="11143" y="15596"/>
                    <a:pt x="11737" y="15773"/>
                    <a:pt x="12103" y="16726"/>
                  </a:cubicBezTo>
                  <a:cubicBezTo>
                    <a:pt x="12470" y="17683"/>
                    <a:pt x="12763" y="18019"/>
                    <a:pt x="12782" y="17453"/>
                  </a:cubicBezTo>
                  <a:cubicBezTo>
                    <a:pt x="12800" y="16886"/>
                    <a:pt x="12960" y="16084"/>
                    <a:pt x="13168" y="15699"/>
                  </a:cubicBezTo>
                  <a:cubicBezTo>
                    <a:pt x="13374" y="15318"/>
                    <a:pt x="13676" y="14328"/>
                    <a:pt x="13868" y="13576"/>
                  </a:cubicBezTo>
                  <a:cubicBezTo>
                    <a:pt x="14063" y="12833"/>
                    <a:pt x="14522" y="12160"/>
                    <a:pt x="14913" y="12160"/>
                  </a:cubicBezTo>
                  <a:cubicBezTo>
                    <a:pt x="15309" y="12160"/>
                    <a:pt x="15856" y="12372"/>
                    <a:pt x="16140" y="12603"/>
                  </a:cubicBezTo>
                  <a:cubicBezTo>
                    <a:pt x="16420" y="12853"/>
                    <a:pt x="17039" y="13057"/>
                    <a:pt x="17518" y="13078"/>
                  </a:cubicBezTo>
                  <a:cubicBezTo>
                    <a:pt x="17992" y="13078"/>
                    <a:pt x="18688" y="13344"/>
                    <a:pt x="19064" y="13634"/>
                  </a:cubicBezTo>
                  <a:cubicBezTo>
                    <a:pt x="19440" y="13891"/>
                    <a:pt x="19984" y="13772"/>
                    <a:pt x="20285" y="13333"/>
                  </a:cubicBezTo>
                  <a:cubicBezTo>
                    <a:pt x="20583" y="12872"/>
                    <a:pt x="20829" y="11672"/>
                    <a:pt x="20865" y="10664"/>
                  </a:cubicBezTo>
                  <a:cubicBezTo>
                    <a:pt x="20899" y="9657"/>
                    <a:pt x="21067" y="7798"/>
                    <a:pt x="21261" y="6526"/>
                  </a:cubicBezTo>
                  <a:cubicBezTo>
                    <a:pt x="21456" y="5256"/>
                    <a:pt x="21600" y="4206"/>
                    <a:pt x="21567" y="4206"/>
                  </a:cubicBezTo>
                  <a:cubicBezTo>
                    <a:pt x="21538" y="4187"/>
                    <a:pt x="21093" y="3489"/>
                    <a:pt x="20580" y="2658"/>
                  </a:cubicBezTo>
                  <a:close/>
                  <a:moveTo>
                    <a:pt x="20580" y="26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7" name="AutoShape 576"/>
            <p:cNvSpPr>
              <a:spLocks/>
            </p:cNvSpPr>
            <p:nvPr/>
          </p:nvSpPr>
          <p:spPr bwMode="auto">
            <a:xfrm>
              <a:off x="8343900" y="3251200"/>
              <a:ext cx="252413" cy="173038"/>
            </a:xfrm>
            <a:custGeom>
              <a:avLst/>
              <a:gdLst/>
              <a:ahLst/>
              <a:cxnLst/>
              <a:rect l="0" t="0" r="r" b="b"/>
              <a:pathLst>
                <a:path w="21564" h="21497">
                  <a:moveTo>
                    <a:pt x="20545" y="4145"/>
                  </a:moveTo>
                  <a:cubicBezTo>
                    <a:pt x="20484" y="3991"/>
                    <a:pt x="20229" y="3665"/>
                    <a:pt x="19955" y="3455"/>
                  </a:cubicBezTo>
                  <a:cubicBezTo>
                    <a:pt x="19680" y="3244"/>
                    <a:pt x="19307" y="3115"/>
                    <a:pt x="19121" y="3212"/>
                  </a:cubicBezTo>
                  <a:cubicBezTo>
                    <a:pt x="18935" y="3311"/>
                    <a:pt x="18688" y="3218"/>
                    <a:pt x="18571" y="3037"/>
                  </a:cubicBezTo>
                  <a:cubicBezTo>
                    <a:pt x="18462" y="2846"/>
                    <a:pt x="18085" y="2491"/>
                    <a:pt x="17741" y="2255"/>
                  </a:cubicBezTo>
                  <a:cubicBezTo>
                    <a:pt x="17393" y="2024"/>
                    <a:pt x="16859" y="1739"/>
                    <a:pt x="16542" y="1659"/>
                  </a:cubicBezTo>
                  <a:cubicBezTo>
                    <a:pt x="16225" y="1578"/>
                    <a:pt x="15752" y="1550"/>
                    <a:pt x="15490" y="1573"/>
                  </a:cubicBezTo>
                  <a:cubicBezTo>
                    <a:pt x="15231" y="1606"/>
                    <a:pt x="14544" y="1936"/>
                    <a:pt x="13960" y="2278"/>
                  </a:cubicBezTo>
                  <a:cubicBezTo>
                    <a:pt x="13378" y="2631"/>
                    <a:pt x="12822" y="3082"/>
                    <a:pt x="12757" y="3306"/>
                  </a:cubicBezTo>
                  <a:cubicBezTo>
                    <a:pt x="12691" y="3523"/>
                    <a:pt x="12412" y="3773"/>
                    <a:pt x="12157" y="3859"/>
                  </a:cubicBezTo>
                  <a:cubicBezTo>
                    <a:pt x="11902" y="3940"/>
                    <a:pt x="11596" y="4120"/>
                    <a:pt x="11482" y="4249"/>
                  </a:cubicBezTo>
                  <a:cubicBezTo>
                    <a:pt x="11361" y="4369"/>
                    <a:pt x="10949" y="4362"/>
                    <a:pt x="10556" y="4267"/>
                  </a:cubicBezTo>
                  <a:cubicBezTo>
                    <a:pt x="10164" y="4161"/>
                    <a:pt x="9700" y="4046"/>
                    <a:pt x="9521" y="4035"/>
                  </a:cubicBezTo>
                  <a:cubicBezTo>
                    <a:pt x="9343" y="4014"/>
                    <a:pt x="9022" y="3884"/>
                    <a:pt x="8802" y="3757"/>
                  </a:cubicBezTo>
                  <a:cubicBezTo>
                    <a:pt x="8591" y="3614"/>
                    <a:pt x="8273" y="3577"/>
                    <a:pt x="8111" y="3682"/>
                  </a:cubicBezTo>
                  <a:cubicBezTo>
                    <a:pt x="7948" y="3789"/>
                    <a:pt x="7633" y="3783"/>
                    <a:pt x="7434" y="3651"/>
                  </a:cubicBezTo>
                  <a:cubicBezTo>
                    <a:pt x="7219" y="3568"/>
                    <a:pt x="6815" y="3585"/>
                    <a:pt x="6531" y="3780"/>
                  </a:cubicBezTo>
                  <a:cubicBezTo>
                    <a:pt x="6244" y="3975"/>
                    <a:pt x="5697" y="3920"/>
                    <a:pt x="5327" y="3676"/>
                  </a:cubicBezTo>
                  <a:cubicBezTo>
                    <a:pt x="4957" y="3431"/>
                    <a:pt x="4569" y="3264"/>
                    <a:pt x="4465" y="3302"/>
                  </a:cubicBezTo>
                  <a:cubicBezTo>
                    <a:pt x="4360" y="3334"/>
                    <a:pt x="4178" y="3206"/>
                    <a:pt x="4056" y="3016"/>
                  </a:cubicBezTo>
                  <a:cubicBezTo>
                    <a:pt x="3941" y="2816"/>
                    <a:pt x="3605" y="2624"/>
                    <a:pt x="3324" y="2579"/>
                  </a:cubicBezTo>
                  <a:cubicBezTo>
                    <a:pt x="3042" y="2530"/>
                    <a:pt x="2614" y="2670"/>
                    <a:pt x="2366" y="2885"/>
                  </a:cubicBezTo>
                  <a:cubicBezTo>
                    <a:pt x="2132" y="3129"/>
                    <a:pt x="1810" y="3053"/>
                    <a:pt x="1687" y="2755"/>
                  </a:cubicBezTo>
                  <a:cubicBezTo>
                    <a:pt x="1559" y="2466"/>
                    <a:pt x="1506" y="2089"/>
                    <a:pt x="1581" y="1937"/>
                  </a:cubicBezTo>
                  <a:cubicBezTo>
                    <a:pt x="1661" y="1787"/>
                    <a:pt x="1698" y="1453"/>
                    <a:pt x="1713" y="1220"/>
                  </a:cubicBezTo>
                  <a:cubicBezTo>
                    <a:pt x="1698" y="989"/>
                    <a:pt x="1598" y="650"/>
                    <a:pt x="1456" y="468"/>
                  </a:cubicBezTo>
                  <a:cubicBezTo>
                    <a:pt x="1310" y="291"/>
                    <a:pt x="960" y="84"/>
                    <a:pt x="674" y="15"/>
                  </a:cubicBezTo>
                  <a:cubicBezTo>
                    <a:pt x="386" y="-55"/>
                    <a:pt x="218" y="135"/>
                    <a:pt x="280" y="440"/>
                  </a:cubicBezTo>
                  <a:cubicBezTo>
                    <a:pt x="357" y="736"/>
                    <a:pt x="284" y="1178"/>
                    <a:pt x="126" y="1405"/>
                  </a:cubicBezTo>
                  <a:cubicBezTo>
                    <a:pt x="-35" y="1628"/>
                    <a:pt x="-36" y="2342"/>
                    <a:pt x="91" y="2983"/>
                  </a:cubicBezTo>
                  <a:cubicBezTo>
                    <a:pt x="247" y="3612"/>
                    <a:pt x="598" y="4552"/>
                    <a:pt x="926" y="5038"/>
                  </a:cubicBezTo>
                  <a:cubicBezTo>
                    <a:pt x="1244" y="5543"/>
                    <a:pt x="1654" y="6275"/>
                    <a:pt x="1814" y="6693"/>
                  </a:cubicBezTo>
                  <a:cubicBezTo>
                    <a:pt x="1972" y="7114"/>
                    <a:pt x="2044" y="7702"/>
                    <a:pt x="2013" y="8017"/>
                  </a:cubicBezTo>
                  <a:cubicBezTo>
                    <a:pt x="1934" y="8314"/>
                    <a:pt x="1633" y="8976"/>
                    <a:pt x="1276" y="9437"/>
                  </a:cubicBezTo>
                  <a:cubicBezTo>
                    <a:pt x="922" y="9904"/>
                    <a:pt x="656" y="10518"/>
                    <a:pt x="701" y="10776"/>
                  </a:cubicBezTo>
                  <a:cubicBezTo>
                    <a:pt x="732" y="11039"/>
                    <a:pt x="882" y="11527"/>
                    <a:pt x="1037" y="11853"/>
                  </a:cubicBezTo>
                  <a:cubicBezTo>
                    <a:pt x="1178" y="12192"/>
                    <a:pt x="1255" y="12677"/>
                    <a:pt x="1207" y="12957"/>
                  </a:cubicBezTo>
                  <a:cubicBezTo>
                    <a:pt x="1145" y="13233"/>
                    <a:pt x="1094" y="13461"/>
                    <a:pt x="1080" y="13461"/>
                  </a:cubicBezTo>
                  <a:cubicBezTo>
                    <a:pt x="1062" y="13461"/>
                    <a:pt x="1421" y="13893"/>
                    <a:pt x="1865" y="14438"/>
                  </a:cubicBezTo>
                  <a:cubicBezTo>
                    <a:pt x="2322" y="14963"/>
                    <a:pt x="2946" y="16037"/>
                    <a:pt x="3249" y="16809"/>
                  </a:cubicBezTo>
                  <a:cubicBezTo>
                    <a:pt x="3553" y="17581"/>
                    <a:pt x="3866" y="18510"/>
                    <a:pt x="3915" y="18892"/>
                  </a:cubicBezTo>
                  <a:cubicBezTo>
                    <a:pt x="3964" y="19273"/>
                    <a:pt x="4071" y="19840"/>
                    <a:pt x="4104" y="20166"/>
                  </a:cubicBezTo>
                  <a:cubicBezTo>
                    <a:pt x="4156" y="20487"/>
                    <a:pt x="4212" y="20747"/>
                    <a:pt x="4212" y="20732"/>
                  </a:cubicBezTo>
                  <a:cubicBezTo>
                    <a:pt x="4221" y="20732"/>
                    <a:pt x="4318" y="20781"/>
                    <a:pt x="4424" y="20880"/>
                  </a:cubicBezTo>
                  <a:cubicBezTo>
                    <a:pt x="4536" y="20962"/>
                    <a:pt x="4912" y="21065"/>
                    <a:pt x="5260" y="21120"/>
                  </a:cubicBezTo>
                  <a:cubicBezTo>
                    <a:pt x="5607" y="21165"/>
                    <a:pt x="6107" y="21134"/>
                    <a:pt x="6368" y="21056"/>
                  </a:cubicBezTo>
                  <a:cubicBezTo>
                    <a:pt x="6628" y="20967"/>
                    <a:pt x="6976" y="20702"/>
                    <a:pt x="7152" y="20468"/>
                  </a:cubicBezTo>
                  <a:cubicBezTo>
                    <a:pt x="7329" y="20233"/>
                    <a:pt x="7673" y="20106"/>
                    <a:pt x="7932" y="20188"/>
                  </a:cubicBezTo>
                  <a:cubicBezTo>
                    <a:pt x="8194" y="20270"/>
                    <a:pt x="8627" y="20370"/>
                    <a:pt x="8898" y="20381"/>
                  </a:cubicBezTo>
                  <a:cubicBezTo>
                    <a:pt x="9166" y="20393"/>
                    <a:pt x="9431" y="20622"/>
                    <a:pt x="9463" y="20890"/>
                  </a:cubicBezTo>
                  <a:cubicBezTo>
                    <a:pt x="9508" y="21153"/>
                    <a:pt x="9698" y="21409"/>
                    <a:pt x="9893" y="21444"/>
                  </a:cubicBezTo>
                  <a:cubicBezTo>
                    <a:pt x="10088" y="21491"/>
                    <a:pt x="10360" y="21392"/>
                    <a:pt x="10496" y="21233"/>
                  </a:cubicBezTo>
                  <a:cubicBezTo>
                    <a:pt x="10631" y="21074"/>
                    <a:pt x="10906" y="20962"/>
                    <a:pt x="11111" y="20982"/>
                  </a:cubicBezTo>
                  <a:cubicBezTo>
                    <a:pt x="11313" y="20995"/>
                    <a:pt x="11624" y="21177"/>
                    <a:pt x="11816" y="21338"/>
                  </a:cubicBezTo>
                  <a:cubicBezTo>
                    <a:pt x="12002" y="21517"/>
                    <a:pt x="12311" y="21545"/>
                    <a:pt x="12509" y="21426"/>
                  </a:cubicBezTo>
                  <a:cubicBezTo>
                    <a:pt x="12700" y="21287"/>
                    <a:pt x="13224" y="21272"/>
                    <a:pt x="13664" y="21354"/>
                  </a:cubicBezTo>
                  <a:cubicBezTo>
                    <a:pt x="14107" y="21437"/>
                    <a:pt x="14563" y="21373"/>
                    <a:pt x="14695" y="21230"/>
                  </a:cubicBezTo>
                  <a:cubicBezTo>
                    <a:pt x="14820" y="21073"/>
                    <a:pt x="14850" y="20715"/>
                    <a:pt x="14752" y="20437"/>
                  </a:cubicBezTo>
                  <a:cubicBezTo>
                    <a:pt x="14671" y="20151"/>
                    <a:pt x="14563" y="19632"/>
                    <a:pt x="14579" y="19272"/>
                  </a:cubicBezTo>
                  <a:cubicBezTo>
                    <a:pt x="14595" y="18914"/>
                    <a:pt x="14771" y="18417"/>
                    <a:pt x="14997" y="18149"/>
                  </a:cubicBezTo>
                  <a:cubicBezTo>
                    <a:pt x="15233" y="17899"/>
                    <a:pt x="15520" y="17693"/>
                    <a:pt x="15644" y="17704"/>
                  </a:cubicBezTo>
                  <a:cubicBezTo>
                    <a:pt x="15766" y="17714"/>
                    <a:pt x="15871" y="17714"/>
                    <a:pt x="15871" y="17696"/>
                  </a:cubicBezTo>
                  <a:cubicBezTo>
                    <a:pt x="15871" y="17677"/>
                    <a:pt x="15997" y="17459"/>
                    <a:pt x="16143" y="17201"/>
                  </a:cubicBezTo>
                  <a:cubicBezTo>
                    <a:pt x="16294" y="16947"/>
                    <a:pt x="16546" y="16732"/>
                    <a:pt x="16710" y="16732"/>
                  </a:cubicBezTo>
                  <a:cubicBezTo>
                    <a:pt x="16871" y="16732"/>
                    <a:pt x="17102" y="16576"/>
                    <a:pt x="17200" y="16376"/>
                  </a:cubicBezTo>
                  <a:cubicBezTo>
                    <a:pt x="17297" y="16175"/>
                    <a:pt x="17637" y="16051"/>
                    <a:pt x="17931" y="16087"/>
                  </a:cubicBezTo>
                  <a:cubicBezTo>
                    <a:pt x="18225" y="16123"/>
                    <a:pt x="18704" y="16450"/>
                    <a:pt x="19003" y="16812"/>
                  </a:cubicBezTo>
                  <a:cubicBezTo>
                    <a:pt x="19302" y="17170"/>
                    <a:pt x="19648" y="17339"/>
                    <a:pt x="19789" y="17181"/>
                  </a:cubicBezTo>
                  <a:cubicBezTo>
                    <a:pt x="19927" y="17015"/>
                    <a:pt x="20222" y="16988"/>
                    <a:pt x="20457" y="17084"/>
                  </a:cubicBezTo>
                  <a:cubicBezTo>
                    <a:pt x="20686" y="17197"/>
                    <a:pt x="20871" y="17269"/>
                    <a:pt x="20871" y="17248"/>
                  </a:cubicBezTo>
                  <a:cubicBezTo>
                    <a:pt x="20871" y="17223"/>
                    <a:pt x="20726" y="16885"/>
                    <a:pt x="20555" y="16492"/>
                  </a:cubicBezTo>
                  <a:cubicBezTo>
                    <a:pt x="20384" y="16098"/>
                    <a:pt x="20062" y="15392"/>
                    <a:pt x="19840" y="14923"/>
                  </a:cubicBezTo>
                  <a:cubicBezTo>
                    <a:pt x="19594" y="14477"/>
                    <a:pt x="19295" y="14035"/>
                    <a:pt x="19126" y="13974"/>
                  </a:cubicBezTo>
                  <a:cubicBezTo>
                    <a:pt x="18955" y="13912"/>
                    <a:pt x="18766" y="13742"/>
                    <a:pt x="18731" y="13569"/>
                  </a:cubicBezTo>
                  <a:cubicBezTo>
                    <a:pt x="18697" y="13394"/>
                    <a:pt x="18860" y="13011"/>
                    <a:pt x="19133" y="12721"/>
                  </a:cubicBezTo>
                  <a:cubicBezTo>
                    <a:pt x="19400" y="12426"/>
                    <a:pt x="19653" y="11937"/>
                    <a:pt x="19715" y="11643"/>
                  </a:cubicBezTo>
                  <a:cubicBezTo>
                    <a:pt x="19780" y="11351"/>
                    <a:pt x="19757" y="10543"/>
                    <a:pt x="19665" y="9862"/>
                  </a:cubicBezTo>
                  <a:cubicBezTo>
                    <a:pt x="19586" y="9179"/>
                    <a:pt x="19729" y="8345"/>
                    <a:pt x="19982" y="8001"/>
                  </a:cubicBezTo>
                  <a:cubicBezTo>
                    <a:pt x="20231" y="7651"/>
                    <a:pt x="20600" y="7412"/>
                    <a:pt x="20782" y="7483"/>
                  </a:cubicBezTo>
                  <a:cubicBezTo>
                    <a:pt x="20967" y="7539"/>
                    <a:pt x="21216" y="7446"/>
                    <a:pt x="21334" y="7275"/>
                  </a:cubicBezTo>
                  <a:cubicBezTo>
                    <a:pt x="21456" y="7110"/>
                    <a:pt x="21564" y="6494"/>
                    <a:pt x="21564" y="5918"/>
                  </a:cubicBezTo>
                  <a:cubicBezTo>
                    <a:pt x="21564" y="5344"/>
                    <a:pt x="21544" y="4815"/>
                    <a:pt x="21544" y="4740"/>
                  </a:cubicBezTo>
                  <a:cubicBezTo>
                    <a:pt x="21521" y="4671"/>
                    <a:pt x="21315" y="4568"/>
                    <a:pt x="21077" y="4522"/>
                  </a:cubicBezTo>
                  <a:cubicBezTo>
                    <a:pt x="20838" y="4465"/>
                    <a:pt x="20602" y="4302"/>
                    <a:pt x="20545" y="4145"/>
                  </a:cubicBezTo>
                  <a:close/>
                  <a:moveTo>
                    <a:pt x="20545" y="41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8" name="AutoShape 577"/>
            <p:cNvSpPr>
              <a:spLocks/>
            </p:cNvSpPr>
            <p:nvPr/>
          </p:nvSpPr>
          <p:spPr bwMode="auto">
            <a:xfrm>
              <a:off x="8280400" y="3352800"/>
              <a:ext cx="111125" cy="90488"/>
            </a:xfrm>
            <a:custGeom>
              <a:avLst/>
              <a:gdLst/>
              <a:ahLst/>
              <a:cxnLst/>
              <a:rect l="0" t="0" r="r" b="b"/>
              <a:pathLst>
                <a:path w="21477" h="21531">
                  <a:moveTo>
                    <a:pt x="12127" y="208"/>
                  </a:moveTo>
                  <a:cubicBezTo>
                    <a:pt x="11469" y="356"/>
                    <a:pt x="10554" y="367"/>
                    <a:pt x="10102" y="251"/>
                  </a:cubicBezTo>
                  <a:cubicBezTo>
                    <a:pt x="9658" y="114"/>
                    <a:pt x="8534" y="219"/>
                    <a:pt x="7612" y="415"/>
                  </a:cubicBezTo>
                  <a:cubicBezTo>
                    <a:pt x="6694" y="609"/>
                    <a:pt x="5636" y="1091"/>
                    <a:pt x="5251" y="1421"/>
                  </a:cubicBezTo>
                  <a:cubicBezTo>
                    <a:pt x="4878" y="1765"/>
                    <a:pt x="4156" y="2160"/>
                    <a:pt x="3661" y="2290"/>
                  </a:cubicBezTo>
                  <a:cubicBezTo>
                    <a:pt x="3164" y="2399"/>
                    <a:pt x="2316" y="2827"/>
                    <a:pt x="1774" y="3180"/>
                  </a:cubicBezTo>
                  <a:cubicBezTo>
                    <a:pt x="1230" y="3535"/>
                    <a:pt x="835" y="4218"/>
                    <a:pt x="871" y="4702"/>
                  </a:cubicBezTo>
                  <a:cubicBezTo>
                    <a:pt x="871" y="5188"/>
                    <a:pt x="819" y="5780"/>
                    <a:pt x="631" y="6010"/>
                  </a:cubicBezTo>
                  <a:cubicBezTo>
                    <a:pt x="453" y="6249"/>
                    <a:pt x="291" y="6338"/>
                    <a:pt x="224" y="6258"/>
                  </a:cubicBezTo>
                  <a:cubicBezTo>
                    <a:pt x="172" y="6162"/>
                    <a:pt x="94" y="6918"/>
                    <a:pt x="20" y="7950"/>
                  </a:cubicBezTo>
                  <a:cubicBezTo>
                    <a:pt x="-51" y="8984"/>
                    <a:pt x="72" y="10767"/>
                    <a:pt x="315" y="11909"/>
                  </a:cubicBezTo>
                  <a:cubicBezTo>
                    <a:pt x="562" y="13052"/>
                    <a:pt x="1109" y="14683"/>
                    <a:pt x="1511" y="15575"/>
                  </a:cubicBezTo>
                  <a:cubicBezTo>
                    <a:pt x="1926" y="16453"/>
                    <a:pt x="2473" y="17786"/>
                    <a:pt x="2789" y="18499"/>
                  </a:cubicBezTo>
                  <a:cubicBezTo>
                    <a:pt x="3041" y="19244"/>
                    <a:pt x="3744" y="20234"/>
                    <a:pt x="4275" y="20733"/>
                  </a:cubicBezTo>
                  <a:cubicBezTo>
                    <a:pt x="4802" y="21230"/>
                    <a:pt x="5244" y="21586"/>
                    <a:pt x="5244" y="21523"/>
                  </a:cubicBezTo>
                  <a:cubicBezTo>
                    <a:pt x="5244" y="21462"/>
                    <a:pt x="6024" y="20887"/>
                    <a:pt x="6936" y="20171"/>
                  </a:cubicBezTo>
                  <a:cubicBezTo>
                    <a:pt x="7847" y="19477"/>
                    <a:pt x="9140" y="18700"/>
                    <a:pt x="9808" y="18464"/>
                  </a:cubicBezTo>
                  <a:cubicBezTo>
                    <a:pt x="10461" y="18188"/>
                    <a:pt x="10987" y="17768"/>
                    <a:pt x="11048" y="17519"/>
                  </a:cubicBezTo>
                  <a:cubicBezTo>
                    <a:pt x="11084" y="17265"/>
                    <a:pt x="11495" y="16813"/>
                    <a:pt x="11971" y="16477"/>
                  </a:cubicBezTo>
                  <a:cubicBezTo>
                    <a:pt x="12458" y="16179"/>
                    <a:pt x="13827" y="16012"/>
                    <a:pt x="15010" y="16184"/>
                  </a:cubicBezTo>
                  <a:cubicBezTo>
                    <a:pt x="16199" y="16361"/>
                    <a:pt x="17601" y="16126"/>
                    <a:pt x="18131" y="15737"/>
                  </a:cubicBezTo>
                  <a:cubicBezTo>
                    <a:pt x="18661" y="15347"/>
                    <a:pt x="19441" y="15063"/>
                    <a:pt x="19868" y="15041"/>
                  </a:cubicBezTo>
                  <a:cubicBezTo>
                    <a:pt x="20294" y="15041"/>
                    <a:pt x="20862" y="14776"/>
                    <a:pt x="21161" y="14471"/>
                  </a:cubicBezTo>
                  <a:cubicBezTo>
                    <a:pt x="21430" y="14158"/>
                    <a:pt x="21549" y="13423"/>
                    <a:pt x="21432" y="12825"/>
                  </a:cubicBezTo>
                  <a:cubicBezTo>
                    <a:pt x="21359" y="12203"/>
                    <a:pt x="21116" y="11123"/>
                    <a:pt x="21007" y="10398"/>
                  </a:cubicBezTo>
                  <a:cubicBezTo>
                    <a:pt x="20898" y="9670"/>
                    <a:pt x="20194" y="7900"/>
                    <a:pt x="19512" y="6430"/>
                  </a:cubicBezTo>
                  <a:cubicBezTo>
                    <a:pt x="18832" y="4959"/>
                    <a:pt x="17430" y="2914"/>
                    <a:pt x="16403" y="1914"/>
                  </a:cubicBezTo>
                  <a:cubicBezTo>
                    <a:pt x="15417" y="883"/>
                    <a:pt x="14316" y="57"/>
                    <a:pt x="13962" y="2"/>
                  </a:cubicBezTo>
                  <a:cubicBezTo>
                    <a:pt x="13570" y="-14"/>
                    <a:pt x="12764" y="63"/>
                    <a:pt x="12127" y="208"/>
                  </a:cubicBezTo>
                  <a:close/>
                  <a:moveTo>
                    <a:pt x="12127" y="2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79" name="AutoShape 578"/>
            <p:cNvSpPr>
              <a:spLocks/>
            </p:cNvSpPr>
            <p:nvPr/>
          </p:nvSpPr>
          <p:spPr bwMode="auto">
            <a:xfrm>
              <a:off x="8229600" y="3340100"/>
              <a:ext cx="87313" cy="169863"/>
            </a:xfrm>
            <a:custGeom>
              <a:avLst/>
              <a:gdLst/>
              <a:ahLst/>
              <a:cxnLst/>
              <a:rect l="0" t="0" r="r" b="b"/>
              <a:pathLst>
                <a:path w="21574" h="21521">
                  <a:moveTo>
                    <a:pt x="14711" y="20425"/>
                  </a:moveTo>
                  <a:cubicBezTo>
                    <a:pt x="15066" y="19945"/>
                    <a:pt x="15371" y="19247"/>
                    <a:pt x="15416" y="18869"/>
                  </a:cubicBezTo>
                  <a:cubicBezTo>
                    <a:pt x="15462" y="18491"/>
                    <a:pt x="16427" y="18043"/>
                    <a:pt x="17626" y="17853"/>
                  </a:cubicBezTo>
                  <a:cubicBezTo>
                    <a:pt x="18840" y="17672"/>
                    <a:pt x="20170" y="17145"/>
                    <a:pt x="20626" y="16689"/>
                  </a:cubicBezTo>
                  <a:cubicBezTo>
                    <a:pt x="21031" y="16234"/>
                    <a:pt x="21466" y="15519"/>
                    <a:pt x="21573" y="15059"/>
                  </a:cubicBezTo>
                  <a:cubicBezTo>
                    <a:pt x="21600" y="14635"/>
                    <a:pt x="21150" y="14088"/>
                    <a:pt x="20486" y="13826"/>
                  </a:cubicBezTo>
                  <a:cubicBezTo>
                    <a:pt x="19808" y="13558"/>
                    <a:pt x="18907" y="13026"/>
                    <a:pt x="18584" y="12626"/>
                  </a:cubicBezTo>
                  <a:cubicBezTo>
                    <a:pt x="18180" y="12242"/>
                    <a:pt x="17480" y="11526"/>
                    <a:pt x="16947" y="11054"/>
                  </a:cubicBezTo>
                  <a:cubicBezTo>
                    <a:pt x="16433" y="10575"/>
                    <a:pt x="15733" y="9698"/>
                    <a:pt x="15416" y="9084"/>
                  </a:cubicBezTo>
                  <a:cubicBezTo>
                    <a:pt x="15106" y="8470"/>
                    <a:pt x="14948" y="7512"/>
                    <a:pt x="15039" y="6956"/>
                  </a:cubicBezTo>
                  <a:cubicBezTo>
                    <a:pt x="15133" y="6402"/>
                    <a:pt x="15091" y="5818"/>
                    <a:pt x="14917" y="5673"/>
                  </a:cubicBezTo>
                  <a:cubicBezTo>
                    <a:pt x="14744" y="5526"/>
                    <a:pt x="14595" y="4991"/>
                    <a:pt x="14552" y="4492"/>
                  </a:cubicBezTo>
                  <a:cubicBezTo>
                    <a:pt x="14506" y="3993"/>
                    <a:pt x="14266" y="3390"/>
                    <a:pt x="14084" y="3138"/>
                  </a:cubicBezTo>
                  <a:cubicBezTo>
                    <a:pt x="13886" y="2887"/>
                    <a:pt x="13158" y="2495"/>
                    <a:pt x="12492" y="2263"/>
                  </a:cubicBezTo>
                  <a:cubicBezTo>
                    <a:pt x="11817" y="2030"/>
                    <a:pt x="11043" y="1808"/>
                    <a:pt x="10773" y="1753"/>
                  </a:cubicBezTo>
                  <a:cubicBezTo>
                    <a:pt x="10493" y="1705"/>
                    <a:pt x="9899" y="1362"/>
                    <a:pt x="9434" y="989"/>
                  </a:cubicBezTo>
                  <a:cubicBezTo>
                    <a:pt x="9011" y="601"/>
                    <a:pt x="8423" y="216"/>
                    <a:pt x="8162" y="137"/>
                  </a:cubicBezTo>
                  <a:cubicBezTo>
                    <a:pt x="7918" y="43"/>
                    <a:pt x="7675" y="-11"/>
                    <a:pt x="7699" y="2"/>
                  </a:cubicBezTo>
                  <a:cubicBezTo>
                    <a:pt x="7699" y="20"/>
                    <a:pt x="7282" y="309"/>
                    <a:pt x="6789" y="644"/>
                  </a:cubicBezTo>
                  <a:cubicBezTo>
                    <a:pt x="6266" y="969"/>
                    <a:pt x="5572" y="995"/>
                    <a:pt x="5134" y="700"/>
                  </a:cubicBezTo>
                  <a:cubicBezTo>
                    <a:pt x="4732" y="390"/>
                    <a:pt x="4199" y="125"/>
                    <a:pt x="3971" y="96"/>
                  </a:cubicBezTo>
                  <a:cubicBezTo>
                    <a:pt x="3737" y="71"/>
                    <a:pt x="3058" y="357"/>
                    <a:pt x="2459" y="749"/>
                  </a:cubicBezTo>
                  <a:cubicBezTo>
                    <a:pt x="1850" y="1136"/>
                    <a:pt x="995" y="1821"/>
                    <a:pt x="669" y="2286"/>
                  </a:cubicBezTo>
                  <a:cubicBezTo>
                    <a:pt x="304" y="2747"/>
                    <a:pt x="45" y="3605"/>
                    <a:pt x="0" y="4202"/>
                  </a:cubicBezTo>
                  <a:cubicBezTo>
                    <a:pt x="0" y="4799"/>
                    <a:pt x="785" y="5501"/>
                    <a:pt x="1722" y="5766"/>
                  </a:cubicBezTo>
                  <a:cubicBezTo>
                    <a:pt x="2663" y="6020"/>
                    <a:pt x="3335" y="6446"/>
                    <a:pt x="3289" y="6691"/>
                  </a:cubicBezTo>
                  <a:cubicBezTo>
                    <a:pt x="3247" y="6937"/>
                    <a:pt x="2921" y="7168"/>
                    <a:pt x="2672" y="7258"/>
                  </a:cubicBezTo>
                  <a:cubicBezTo>
                    <a:pt x="2386" y="7311"/>
                    <a:pt x="1966" y="7957"/>
                    <a:pt x="1786" y="8670"/>
                  </a:cubicBezTo>
                  <a:cubicBezTo>
                    <a:pt x="1607" y="9383"/>
                    <a:pt x="1750" y="10400"/>
                    <a:pt x="2191" y="10932"/>
                  </a:cubicBezTo>
                  <a:cubicBezTo>
                    <a:pt x="2653" y="11456"/>
                    <a:pt x="2751" y="12174"/>
                    <a:pt x="2520" y="12519"/>
                  </a:cubicBezTo>
                  <a:cubicBezTo>
                    <a:pt x="2249" y="12855"/>
                    <a:pt x="2088" y="13465"/>
                    <a:pt x="2133" y="13863"/>
                  </a:cubicBezTo>
                  <a:cubicBezTo>
                    <a:pt x="2133" y="14261"/>
                    <a:pt x="2526" y="14832"/>
                    <a:pt x="2860" y="15149"/>
                  </a:cubicBezTo>
                  <a:cubicBezTo>
                    <a:pt x="3226" y="15457"/>
                    <a:pt x="3375" y="16014"/>
                    <a:pt x="3146" y="16379"/>
                  </a:cubicBezTo>
                  <a:cubicBezTo>
                    <a:pt x="2921" y="16743"/>
                    <a:pt x="3049" y="17227"/>
                    <a:pt x="3414" y="17428"/>
                  </a:cubicBezTo>
                  <a:cubicBezTo>
                    <a:pt x="3758" y="17643"/>
                    <a:pt x="4991" y="17846"/>
                    <a:pt x="6129" y="17906"/>
                  </a:cubicBezTo>
                  <a:cubicBezTo>
                    <a:pt x="7273" y="17953"/>
                    <a:pt x="8718" y="18651"/>
                    <a:pt x="9361" y="19443"/>
                  </a:cubicBezTo>
                  <a:cubicBezTo>
                    <a:pt x="10039" y="20223"/>
                    <a:pt x="10989" y="21053"/>
                    <a:pt x="11552" y="21271"/>
                  </a:cubicBezTo>
                  <a:cubicBezTo>
                    <a:pt x="12133" y="21478"/>
                    <a:pt x="12915" y="21589"/>
                    <a:pt x="13301" y="21477"/>
                  </a:cubicBezTo>
                  <a:cubicBezTo>
                    <a:pt x="13715" y="21395"/>
                    <a:pt x="14391" y="20912"/>
                    <a:pt x="14711" y="20425"/>
                  </a:cubicBezTo>
                  <a:close/>
                  <a:moveTo>
                    <a:pt x="14711" y="204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0" name="AutoShape 579"/>
            <p:cNvSpPr>
              <a:spLocks/>
            </p:cNvSpPr>
            <p:nvPr/>
          </p:nvSpPr>
          <p:spPr bwMode="auto">
            <a:xfrm>
              <a:off x="8178800" y="3135313"/>
              <a:ext cx="192088" cy="249237"/>
            </a:xfrm>
            <a:custGeom>
              <a:avLst/>
              <a:gdLst/>
              <a:ahLst/>
              <a:cxnLst/>
              <a:rect l="0" t="0" r="r" b="b"/>
              <a:pathLst>
                <a:path w="21541" h="21518">
                  <a:moveTo>
                    <a:pt x="6768" y="638"/>
                  </a:moveTo>
                  <a:cubicBezTo>
                    <a:pt x="6303" y="490"/>
                    <a:pt x="5668" y="336"/>
                    <a:pt x="5378" y="256"/>
                  </a:cubicBezTo>
                  <a:cubicBezTo>
                    <a:pt x="5081" y="190"/>
                    <a:pt x="4659" y="76"/>
                    <a:pt x="4440" y="15"/>
                  </a:cubicBezTo>
                  <a:cubicBezTo>
                    <a:pt x="4217" y="-40"/>
                    <a:pt x="3786" y="59"/>
                    <a:pt x="3467" y="257"/>
                  </a:cubicBezTo>
                  <a:cubicBezTo>
                    <a:pt x="3144" y="448"/>
                    <a:pt x="2821" y="694"/>
                    <a:pt x="2754" y="794"/>
                  </a:cubicBezTo>
                  <a:cubicBezTo>
                    <a:pt x="2683" y="894"/>
                    <a:pt x="2420" y="949"/>
                    <a:pt x="2185" y="904"/>
                  </a:cubicBezTo>
                  <a:cubicBezTo>
                    <a:pt x="1945" y="862"/>
                    <a:pt x="1491" y="924"/>
                    <a:pt x="1181" y="1036"/>
                  </a:cubicBezTo>
                  <a:cubicBezTo>
                    <a:pt x="866" y="1142"/>
                    <a:pt x="458" y="1362"/>
                    <a:pt x="281" y="1524"/>
                  </a:cubicBezTo>
                  <a:cubicBezTo>
                    <a:pt x="111" y="1689"/>
                    <a:pt x="-28" y="1827"/>
                    <a:pt x="5" y="1834"/>
                  </a:cubicBezTo>
                  <a:cubicBezTo>
                    <a:pt x="33" y="1850"/>
                    <a:pt x="205" y="2138"/>
                    <a:pt x="427" y="2458"/>
                  </a:cubicBezTo>
                  <a:cubicBezTo>
                    <a:pt x="632" y="2784"/>
                    <a:pt x="877" y="3289"/>
                    <a:pt x="982" y="3575"/>
                  </a:cubicBezTo>
                  <a:cubicBezTo>
                    <a:pt x="1085" y="3860"/>
                    <a:pt x="1289" y="4179"/>
                    <a:pt x="1447" y="4278"/>
                  </a:cubicBezTo>
                  <a:cubicBezTo>
                    <a:pt x="1601" y="4374"/>
                    <a:pt x="1939" y="4510"/>
                    <a:pt x="2205" y="4569"/>
                  </a:cubicBezTo>
                  <a:cubicBezTo>
                    <a:pt x="2477" y="4626"/>
                    <a:pt x="2687" y="4750"/>
                    <a:pt x="2708" y="4835"/>
                  </a:cubicBezTo>
                  <a:cubicBezTo>
                    <a:pt x="2729" y="4920"/>
                    <a:pt x="2611" y="4986"/>
                    <a:pt x="2481" y="4979"/>
                  </a:cubicBezTo>
                  <a:cubicBezTo>
                    <a:pt x="2350" y="4972"/>
                    <a:pt x="2019" y="5014"/>
                    <a:pt x="1752" y="5087"/>
                  </a:cubicBezTo>
                  <a:cubicBezTo>
                    <a:pt x="1487" y="5163"/>
                    <a:pt x="1308" y="5349"/>
                    <a:pt x="1353" y="5528"/>
                  </a:cubicBezTo>
                  <a:cubicBezTo>
                    <a:pt x="1407" y="5681"/>
                    <a:pt x="1486" y="5861"/>
                    <a:pt x="1562" y="5955"/>
                  </a:cubicBezTo>
                  <a:cubicBezTo>
                    <a:pt x="1638" y="6014"/>
                    <a:pt x="1734" y="6050"/>
                    <a:pt x="1823" y="6051"/>
                  </a:cubicBezTo>
                  <a:cubicBezTo>
                    <a:pt x="1870" y="6048"/>
                    <a:pt x="1919" y="6047"/>
                    <a:pt x="1958" y="6021"/>
                  </a:cubicBezTo>
                  <a:cubicBezTo>
                    <a:pt x="2077" y="5956"/>
                    <a:pt x="2314" y="5909"/>
                    <a:pt x="2485" y="5931"/>
                  </a:cubicBezTo>
                  <a:cubicBezTo>
                    <a:pt x="2658" y="5954"/>
                    <a:pt x="2789" y="6192"/>
                    <a:pt x="2768" y="6472"/>
                  </a:cubicBezTo>
                  <a:cubicBezTo>
                    <a:pt x="2747" y="6752"/>
                    <a:pt x="2533" y="7247"/>
                    <a:pt x="2266" y="7559"/>
                  </a:cubicBezTo>
                  <a:cubicBezTo>
                    <a:pt x="1998" y="7871"/>
                    <a:pt x="1812" y="8259"/>
                    <a:pt x="1831" y="8409"/>
                  </a:cubicBezTo>
                  <a:cubicBezTo>
                    <a:pt x="1831" y="8560"/>
                    <a:pt x="2220" y="8907"/>
                    <a:pt x="2653" y="9178"/>
                  </a:cubicBezTo>
                  <a:cubicBezTo>
                    <a:pt x="3084" y="9448"/>
                    <a:pt x="3609" y="9683"/>
                    <a:pt x="3825" y="9705"/>
                  </a:cubicBezTo>
                  <a:cubicBezTo>
                    <a:pt x="4035" y="9730"/>
                    <a:pt x="4369" y="9845"/>
                    <a:pt x="4530" y="9996"/>
                  </a:cubicBezTo>
                  <a:cubicBezTo>
                    <a:pt x="4701" y="10136"/>
                    <a:pt x="4772" y="10355"/>
                    <a:pt x="4676" y="10475"/>
                  </a:cubicBezTo>
                  <a:cubicBezTo>
                    <a:pt x="4574" y="10593"/>
                    <a:pt x="4301" y="10603"/>
                    <a:pt x="4049" y="10489"/>
                  </a:cubicBezTo>
                  <a:cubicBezTo>
                    <a:pt x="3791" y="10382"/>
                    <a:pt x="3490" y="10340"/>
                    <a:pt x="3359" y="10399"/>
                  </a:cubicBezTo>
                  <a:cubicBezTo>
                    <a:pt x="3227" y="10457"/>
                    <a:pt x="3162" y="10711"/>
                    <a:pt x="3162" y="10949"/>
                  </a:cubicBezTo>
                  <a:cubicBezTo>
                    <a:pt x="3202" y="11187"/>
                    <a:pt x="3469" y="11631"/>
                    <a:pt x="3813" y="11927"/>
                  </a:cubicBezTo>
                  <a:cubicBezTo>
                    <a:pt x="4148" y="12228"/>
                    <a:pt x="4361" y="12539"/>
                    <a:pt x="4260" y="12601"/>
                  </a:cubicBezTo>
                  <a:cubicBezTo>
                    <a:pt x="4190" y="12683"/>
                    <a:pt x="4359" y="12924"/>
                    <a:pt x="4675" y="13168"/>
                  </a:cubicBezTo>
                  <a:cubicBezTo>
                    <a:pt x="4989" y="13411"/>
                    <a:pt x="5274" y="13748"/>
                    <a:pt x="5274" y="13924"/>
                  </a:cubicBezTo>
                  <a:cubicBezTo>
                    <a:pt x="5295" y="14098"/>
                    <a:pt x="5400" y="14356"/>
                    <a:pt x="5558" y="14471"/>
                  </a:cubicBezTo>
                  <a:cubicBezTo>
                    <a:pt x="5710" y="14588"/>
                    <a:pt x="6074" y="14709"/>
                    <a:pt x="6388" y="14725"/>
                  </a:cubicBezTo>
                  <a:cubicBezTo>
                    <a:pt x="6706" y="14740"/>
                    <a:pt x="7158" y="14895"/>
                    <a:pt x="7397" y="15073"/>
                  </a:cubicBezTo>
                  <a:cubicBezTo>
                    <a:pt x="7626" y="15258"/>
                    <a:pt x="8117" y="15458"/>
                    <a:pt x="8482" y="15513"/>
                  </a:cubicBezTo>
                  <a:cubicBezTo>
                    <a:pt x="8840" y="15575"/>
                    <a:pt x="9142" y="15836"/>
                    <a:pt x="9205" y="16081"/>
                  </a:cubicBezTo>
                  <a:cubicBezTo>
                    <a:pt x="9246" y="16328"/>
                    <a:pt x="9109" y="16643"/>
                    <a:pt x="8908" y="16776"/>
                  </a:cubicBezTo>
                  <a:cubicBezTo>
                    <a:pt x="8705" y="16896"/>
                    <a:pt x="8523" y="17093"/>
                    <a:pt x="8490" y="17216"/>
                  </a:cubicBezTo>
                  <a:cubicBezTo>
                    <a:pt x="8471" y="17322"/>
                    <a:pt x="8529" y="17453"/>
                    <a:pt x="8637" y="17516"/>
                  </a:cubicBezTo>
                  <a:cubicBezTo>
                    <a:pt x="8757" y="17570"/>
                    <a:pt x="9024" y="17834"/>
                    <a:pt x="9217" y="18099"/>
                  </a:cubicBezTo>
                  <a:cubicBezTo>
                    <a:pt x="9429" y="18355"/>
                    <a:pt x="9700" y="18590"/>
                    <a:pt x="9828" y="18622"/>
                  </a:cubicBezTo>
                  <a:cubicBezTo>
                    <a:pt x="9951" y="18660"/>
                    <a:pt x="10304" y="18812"/>
                    <a:pt x="10612" y="18972"/>
                  </a:cubicBezTo>
                  <a:cubicBezTo>
                    <a:pt x="10916" y="19131"/>
                    <a:pt x="11247" y="19399"/>
                    <a:pt x="11337" y="19571"/>
                  </a:cubicBezTo>
                  <a:cubicBezTo>
                    <a:pt x="11421" y="19744"/>
                    <a:pt x="11530" y="20157"/>
                    <a:pt x="11551" y="20498"/>
                  </a:cubicBezTo>
                  <a:cubicBezTo>
                    <a:pt x="11571" y="20840"/>
                    <a:pt x="11670" y="21234"/>
                    <a:pt x="11762" y="21375"/>
                  </a:cubicBezTo>
                  <a:cubicBezTo>
                    <a:pt x="11854" y="21518"/>
                    <a:pt x="12026" y="21560"/>
                    <a:pt x="12130" y="21472"/>
                  </a:cubicBezTo>
                  <a:cubicBezTo>
                    <a:pt x="12239" y="21387"/>
                    <a:pt x="12270" y="21169"/>
                    <a:pt x="12270" y="20991"/>
                  </a:cubicBezTo>
                  <a:cubicBezTo>
                    <a:pt x="12249" y="20812"/>
                    <a:pt x="12479" y="20561"/>
                    <a:pt x="12797" y="20430"/>
                  </a:cubicBezTo>
                  <a:cubicBezTo>
                    <a:pt x="13114" y="20300"/>
                    <a:pt x="13609" y="20143"/>
                    <a:pt x="13899" y="20103"/>
                  </a:cubicBezTo>
                  <a:cubicBezTo>
                    <a:pt x="14188" y="20055"/>
                    <a:pt x="14609" y="19909"/>
                    <a:pt x="14827" y="19783"/>
                  </a:cubicBezTo>
                  <a:cubicBezTo>
                    <a:pt x="15052" y="19661"/>
                    <a:pt x="15669" y="19484"/>
                    <a:pt x="16205" y="19412"/>
                  </a:cubicBezTo>
                  <a:cubicBezTo>
                    <a:pt x="16743" y="19340"/>
                    <a:pt x="17400" y="19302"/>
                    <a:pt x="17659" y="19352"/>
                  </a:cubicBezTo>
                  <a:cubicBezTo>
                    <a:pt x="17923" y="19395"/>
                    <a:pt x="18457" y="19391"/>
                    <a:pt x="18841" y="19336"/>
                  </a:cubicBezTo>
                  <a:cubicBezTo>
                    <a:pt x="19226" y="19281"/>
                    <a:pt x="19706" y="19251"/>
                    <a:pt x="19906" y="19258"/>
                  </a:cubicBezTo>
                  <a:cubicBezTo>
                    <a:pt x="19908" y="19258"/>
                    <a:pt x="19913" y="19260"/>
                    <a:pt x="19913" y="19260"/>
                  </a:cubicBezTo>
                  <a:cubicBezTo>
                    <a:pt x="19921" y="19261"/>
                    <a:pt x="19933" y="19260"/>
                    <a:pt x="19942" y="19260"/>
                  </a:cubicBezTo>
                  <a:cubicBezTo>
                    <a:pt x="20162" y="19277"/>
                    <a:pt x="20394" y="19119"/>
                    <a:pt x="20476" y="18925"/>
                  </a:cubicBezTo>
                  <a:cubicBezTo>
                    <a:pt x="20538" y="18729"/>
                    <a:pt x="20437" y="18389"/>
                    <a:pt x="20252" y="18151"/>
                  </a:cubicBezTo>
                  <a:cubicBezTo>
                    <a:pt x="20049" y="17923"/>
                    <a:pt x="19853" y="17580"/>
                    <a:pt x="19811" y="17396"/>
                  </a:cubicBezTo>
                  <a:cubicBezTo>
                    <a:pt x="19753" y="17215"/>
                    <a:pt x="20101" y="16785"/>
                    <a:pt x="20566" y="16457"/>
                  </a:cubicBezTo>
                  <a:cubicBezTo>
                    <a:pt x="21034" y="16134"/>
                    <a:pt x="21428" y="15670"/>
                    <a:pt x="21532" y="15462"/>
                  </a:cubicBezTo>
                  <a:cubicBezTo>
                    <a:pt x="21572" y="15241"/>
                    <a:pt x="21478" y="14829"/>
                    <a:pt x="21271" y="14533"/>
                  </a:cubicBezTo>
                  <a:cubicBezTo>
                    <a:pt x="21061" y="14240"/>
                    <a:pt x="20523" y="13727"/>
                    <a:pt x="20107" y="13373"/>
                  </a:cubicBezTo>
                  <a:cubicBezTo>
                    <a:pt x="19677" y="13032"/>
                    <a:pt x="19216" y="12373"/>
                    <a:pt x="19012" y="11932"/>
                  </a:cubicBezTo>
                  <a:cubicBezTo>
                    <a:pt x="18846" y="11482"/>
                    <a:pt x="18847" y="10982"/>
                    <a:pt x="19058" y="10826"/>
                  </a:cubicBezTo>
                  <a:cubicBezTo>
                    <a:pt x="19265" y="10666"/>
                    <a:pt x="19255" y="10168"/>
                    <a:pt x="19067" y="9719"/>
                  </a:cubicBezTo>
                  <a:cubicBezTo>
                    <a:pt x="19016" y="9599"/>
                    <a:pt x="18966" y="9477"/>
                    <a:pt x="18915" y="9357"/>
                  </a:cubicBezTo>
                  <a:cubicBezTo>
                    <a:pt x="18912" y="9350"/>
                    <a:pt x="18904" y="9343"/>
                    <a:pt x="18900" y="9335"/>
                  </a:cubicBezTo>
                  <a:cubicBezTo>
                    <a:pt x="18880" y="9281"/>
                    <a:pt x="18858" y="9222"/>
                    <a:pt x="18833" y="9161"/>
                  </a:cubicBezTo>
                  <a:cubicBezTo>
                    <a:pt x="18732" y="8915"/>
                    <a:pt x="18644" y="8700"/>
                    <a:pt x="18610" y="8604"/>
                  </a:cubicBezTo>
                  <a:cubicBezTo>
                    <a:pt x="18568" y="8435"/>
                    <a:pt x="18687" y="8147"/>
                    <a:pt x="18895" y="7955"/>
                  </a:cubicBezTo>
                  <a:cubicBezTo>
                    <a:pt x="19108" y="7766"/>
                    <a:pt x="18876" y="7531"/>
                    <a:pt x="18395" y="7417"/>
                  </a:cubicBezTo>
                  <a:cubicBezTo>
                    <a:pt x="17909" y="7315"/>
                    <a:pt x="17330" y="7412"/>
                    <a:pt x="17136" y="7647"/>
                  </a:cubicBezTo>
                  <a:cubicBezTo>
                    <a:pt x="16925" y="7875"/>
                    <a:pt x="16563" y="7931"/>
                    <a:pt x="16331" y="7760"/>
                  </a:cubicBezTo>
                  <a:cubicBezTo>
                    <a:pt x="16086" y="7602"/>
                    <a:pt x="15669" y="7506"/>
                    <a:pt x="15395" y="7596"/>
                  </a:cubicBezTo>
                  <a:cubicBezTo>
                    <a:pt x="15114" y="7679"/>
                    <a:pt x="14776" y="7578"/>
                    <a:pt x="14616" y="7400"/>
                  </a:cubicBezTo>
                  <a:cubicBezTo>
                    <a:pt x="14478" y="7208"/>
                    <a:pt x="13970" y="6936"/>
                    <a:pt x="13495" y="6801"/>
                  </a:cubicBezTo>
                  <a:cubicBezTo>
                    <a:pt x="13021" y="6665"/>
                    <a:pt x="12613" y="6435"/>
                    <a:pt x="12521" y="6329"/>
                  </a:cubicBezTo>
                  <a:cubicBezTo>
                    <a:pt x="12439" y="6218"/>
                    <a:pt x="12543" y="5910"/>
                    <a:pt x="12651" y="5640"/>
                  </a:cubicBezTo>
                  <a:cubicBezTo>
                    <a:pt x="12780" y="5376"/>
                    <a:pt x="12582" y="4977"/>
                    <a:pt x="12198" y="4738"/>
                  </a:cubicBezTo>
                  <a:cubicBezTo>
                    <a:pt x="11815" y="4500"/>
                    <a:pt x="11185" y="4182"/>
                    <a:pt x="10813" y="4006"/>
                  </a:cubicBezTo>
                  <a:cubicBezTo>
                    <a:pt x="10441" y="3830"/>
                    <a:pt x="10053" y="3538"/>
                    <a:pt x="9933" y="3346"/>
                  </a:cubicBezTo>
                  <a:cubicBezTo>
                    <a:pt x="9818" y="3151"/>
                    <a:pt x="9342" y="2633"/>
                    <a:pt x="8855" y="2200"/>
                  </a:cubicBezTo>
                  <a:cubicBezTo>
                    <a:pt x="8374" y="1762"/>
                    <a:pt x="7876" y="1303"/>
                    <a:pt x="7792" y="1157"/>
                  </a:cubicBezTo>
                  <a:cubicBezTo>
                    <a:pt x="7709" y="1012"/>
                    <a:pt x="7229" y="791"/>
                    <a:pt x="6768" y="638"/>
                  </a:cubicBezTo>
                  <a:close/>
                  <a:moveTo>
                    <a:pt x="6768" y="6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1" name="AutoShape 580"/>
            <p:cNvSpPr>
              <a:spLocks/>
            </p:cNvSpPr>
            <p:nvPr/>
          </p:nvSpPr>
          <p:spPr bwMode="auto">
            <a:xfrm>
              <a:off x="8343900" y="3238500"/>
              <a:ext cx="0" cy="1588"/>
            </a:xfrm>
            <a:custGeom>
              <a:avLst/>
              <a:gdLst/>
              <a:ahLst/>
              <a:cxnLst/>
              <a:rect l="0" t="0" r="r" b="b"/>
              <a:pathLst>
                <a:path w="21600" h="21600">
                  <a:moveTo>
                    <a:pt x="21600" y="21600"/>
                  </a:moveTo>
                  <a:cubicBezTo>
                    <a:pt x="14278" y="14086"/>
                    <a:pt x="7299" y="7043"/>
                    <a:pt x="0" y="0"/>
                  </a:cubicBezTo>
                  <a:cubicBezTo>
                    <a:pt x="6590" y="6630"/>
                    <a:pt x="12447" y="13200"/>
                    <a:pt x="17573" y="19175"/>
                  </a:cubicBezTo>
                  <a:cubicBezTo>
                    <a:pt x="18671" y="20061"/>
                    <a:pt x="20868" y="20775"/>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2" name="AutoShape 581"/>
            <p:cNvSpPr>
              <a:spLocks/>
            </p:cNvSpPr>
            <p:nvPr/>
          </p:nvSpPr>
          <p:spPr bwMode="auto">
            <a:xfrm>
              <a:off x="8343900" y="3352800"/>
              <a:ext cx="9525" cy="0"/>
            </a:xfrm>
            <a:custGeom>
              <a:avLst/>
              <a:gdLst/>
              <a:ahLst/>
              <a:cxnLst/>
              <a:rect l="0" t="0" r="r" b="b"/>
              <a:pathLst>
                <a:path w="21600" h="19971">
                  <a:moveTo>
                    <a:pt x="21460" y="288"/>
                  </a:moveTo>
                  <a:cubicBezTo>
                    <a:pt x="17431" y="-1629"/>
                    <a:pt x="7750" y="6125"/>
                    <a:pt x="0" y="19971"/>
                  </a:cubicBezTo>
                  <a:cubicBezTo>
                    <a:pt x="7498" y="6516"/>
                    <a:pt x="16982" y="-662"/>
                    <a:pt x="21600" y="814"/>
                  </a:cubicBezTo>
                  <a:cubicBezTo>
                    <a:pt x="21600" y="814"/>
                    <a:pt x="21514" y="288"/>
                    <a:pt x="21460" y="288"/>
                  </a:cubicBezTo>
                  <a:close/>
                  <a:moveTo>
                    <a:pt x="21460" y="2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3" name="AutoShape 582"/>
            <p:cNvSpPr>
              <a:spLocks/>
            </p:cNvSpPr>
            <p:nvPr/>
          </p:nvSpPr>
          <p:spPr bwMode="auto">
            <a:xfrm>
              <a:off x="8178800" y="3276600"/>
              <a:ext cx="79375" cy="100013"/>
            </a:xfrm>
            <a:custGeom>
              <a:avLst/>
              <a:gdLst/>
              <a:ahLst/>
              <a:cxnLst/>
              <a:rect l="0" t="0" r="r" b="b"/>
              <a:pathLst>
                <a:path w="21410" h="21272">
                  <a:moveTo>
                    <a:pt x="13902" y="14258"/>
                  </a:moveTo>
                  <a:cubicBezTo>
                    <a:pt x="14548" y="13605"/>
                    <a:pt x="15280" y="13131"/>
                    <a:pt x="15533" y="13171"/>
                  </a:cubicBezTo>
                  <a:cubicBezTo>
                    <a:pt x="15778" y="13220"/>
                    <a:pt x="16353" y="13661"/>
                    <a:pt x="16786" y="14175"/>
                  </a:cubicBezTo>
                  <a:cubicBezTo>
                    <a:pt x="17259" y="14665"/>
                    <a:pt x="18006" y="14622"/>
                    <a:pt x="18571" y="14083"/>
                  </a:cubicBezTo>
                  <a:cubicBezTo>
                    <a:pt x="19102" y="13526"/>
                    <a:pt x="19631" y="12843"/>
                    <a:pt x="19683" y="12556"/>
                  </a:cubicBezTo>
                  <a:cubicBezTo>
                    <a:pt x="19686" y="12543"/>
                    <a:pt x="19696" y="12526"/>
                    <a:pt x="19703" y="12513"/>
                  </a:cubicBezTo>
                  <a:cubicBezTo>
                    <a:pt x="19703" y="12506"/>
                    <a:pt x="19699" y="12501"/>
                    <a:pt x="19699" y="12497"/>
                  </a:cubicBezTo>
                  <a:cubicBezTo>
                    <a:pt x="19752" y="12242"/>
                    <a:pt x="20192" y="11749"/>
                    <a:pt x="20690" y="11445"/>
                  </a:cubicBezTo>
                  <a:cubicBezTo>
                    <a:pt x="21166" y="11123"/>
                    <a:pt x="21491" y="10359"/>
                    <a:pt x="21393" y="9759"/>
                  </a:cubicBezTo>
                  <a:cubicBezTo>
                    <a:pt x="21245" y="9165"/>
                    <a:pt x="20530" y="8532"/>
                    <a:pt x="19683" y="8382"/>
                  </a:cubicBezTo>
                  <a:cubicBezTo>
                    <a:pt x="18820" y="8249"/>
                    <a:pt x="17659" y="7762"/>
                    <a:pt x="17118" y="7314"/>
                  </a:cubicBezTo>
                  <a:cubicBezTo>
                    <a:pt x="16553" y="6883"/>
                    <a:pt x="15483" y="6506"/>
                    <a:pt x="14732" y="6469"/>
                  </a:cubicBezTo>
                  <a:cubicBezTo>
                    <a:pt x="13990" y="6432"/>
                    <a:pt x="13127" y="6137"/>
                    <a:pt x="12770" y="5853"/>
                  </a:cubicBezTo>
                  <a:cubicBezTo>
                    <a:pt x="12396" y="5575"/>
                    <a:pt x="12146" y="4950"/>
                    <a:pt x="12097" y="4526"/>
                  </a:cubicBezTo>
                  <a:cubicBezTo>
                    <a:pt x="12097" y="4101"/>
                    <a:pt x="11424" y="3283"/>
                    <a:pt x="10680" y="2692"/>
                  </a:cubicBezTo>
                  <a:cubicBezTo>
                    <a:pt x="9935" y="2101"/>
                    <a:pt x="9279" y="1685"/>
                    <a:pt x="9206" y="1714"/>
                  </a:cubicBezTo>
                  <a:cubicBezTo>
                    <a:pt x="9151" y="1759"/>
                    <a:pt x="8662" y="1670"/>
                    <a:pt x="8110" y="1509"/>
                  </a:cubicBezTo>
                  <a:cubicBezTo>
                    <a:pt x="7569" y="1353"/>
                    <a:pt x="6506" y="900"/>
                    <a:pt x="5797" y="457"/>
                  </a:cubicBezTo>
                  <a:cubicBezTo>
                    <a:pt x="5049" y="61"/>
                    <a:pt x="4160" y="-117"/>
                    <a:pt x="3750" y="81"/>
                  </a:cubicBezTo>
                  <a:cubicBezTo>
                    <a:pt x="3356" y="296"/>
                    <a:pt x="3087" y="802"/>
                    <a:pt x="3133" y="1210"/>
                  </a:cubicBezTo>
                  <a:cubicBezTo>
                    <a:pt x="3133" y="1615"/>
                    <a:pt x="3766" y="2200"/>
                    <a:pt x="4366" y="2559"/>
                  </a:cubicBezTo>
                  <a:cubicBezTo>
                    <a:pt x="5020" y="2873"/>
                    <a:pt x="5682" y="3506"/>
                    <a:pt x="5958" y="3889"/>
                  </a:cubicBezTo>
                  <a:cubicBezTo>
                    <a:pt x="6246" y="4270"/>
                    <a:pt x="6010" y="4778"/>
                    <a:pt x="5515" y="4956"/>
                  </a:cubicBezTo>
                  <a:cubicBezTo>
                    <a:pt x="5006" y="5122"/>
                    <a:pt x="4222" y="5329"/>
                    <a:pt x="3736" y="5329"/>
                  </a:cubicBezTo>
                  <a:cubicBezTo>
                    <a:pt x="3261" y="5351"/>
                    <a:pt x="2680" y="5797"/>
                    <a:pt x="2444" y="6326"/>
                  </a:cubicBezTo>
                  <a:cubicBezTo>
                    <a:pt x="2201" y="6848"/>
                    <a:pt x="2083" y="7874"/>
                    <a:pt x="2083" y="8592"/>
                  </a:cubicBezTo>
                  <a:cubicBezTo>
                    <a:pt x="2178" y="9305"/>
                    <a:pt x="1797" y="10343"/>
                    <a:pt x="1492" y="10927"/>
                  </a:cubicBezTo>
                  <a:cubicBezTo>
                    <a:pt x="1197" y="11513"/>
                    <a:pt x="613" y="12080"/>
                    <a:pt x="288" y="12177"/>
                  </a:cubicBezTo>
                  <a:cubicBezTo>
                    <a:pt x="-24" y="12300"/>
                    <a:pt x="-109" y="12631"/>
                    <a:pt x="166" y="12865"/>
                  </a:cubicBezTo>
                  <a:cubicBezTo>
                    <a:pt x="416" y="13123"/>
                    <a:pt x="1151" y="13570"/>
                    <a:pt x="1850" y="13791"/>
                  </a:cubicBezTo>
                  <a:cubicBezTo>
                    <a:pt x="2529" y="14043"/>
                    <a:pt x="4202" y="15325"/>
                    <a:pt x="5538" y="16660"/>
                  </a:cubicBezTo>
                  <a:cubicBezTo>
                    <a:pt x="6876" y="17997"/>
                    <a:pt x="8084" y="19416"/>
                    <a:pt x="8225" y="19826"/>
                  </a:cubicBezTo>
                  <a:cubicBezTo>
                    <a:pt x="8320" y="20247"/>
                    <a:pt x="9092" y="20862"/>
                    <a:pt x="9866" y="21187"/>
                  </a:cubicBezTo>
                  <a:cubicBezTo>
                    <a:pt x="10660" y="21483"/>
                    <a:pt x="11251" y="20986"/>
                    <a:pt x="11251" y="19993"/>
                  </a:cubicBezTo>
                  <a:cubicBezTo>
                    <a:pt x="11300" y="19003"/>
                    <a:pt x="11578" y="17577"/>
                    <a:pt x="11972" y="16811"/>
                  </a:cubicBezTo>
                  <a:cubicBezTo>
                    <a:pt x="12324" y="16039"/>
                    <a:pt x="13245" y="14899"/>
                    <a:pt x="13902" y="14258"/>
                  </a:cubicBezTo>
                  <a:close/>
                  <a:moveTo>
                    <a:pt x="13902" y="142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4" name="AutoShape 583"/>
            <p:cNvSpPr>
              <a:spLocks/>
            </p:cNvSpPr>
            <p:nvPr/>
          </p:nvSpPr>
          <p:spPr bwMode="auto">
            <a:xfrm>
              <a:off x="8255000" y="3327400"/>
              <a:ext cx="3175" cy="4763"/>
            </a:xfrm>
            <a:custGeom>
              <a:avLst/>
              <a:gdLst/>
              <a:ahLst/>
              <a:cxnLst/>
              <a:rect l="0" t="0" r="r" b="b"/>
              <a:pathLst>
                <a:path w="21600" h="21600">
                  <a:moveTo>
                    <a:pt x="21600" y="0"/>
                  </a:moveTo>
                  <a:cubicBezTo>
                    <a:pt x="10733" y="6161"/>
                    <a:pt x="1144" y="16119"/>
                    <a:pt x="0" y="21282"/>
                  </a:cubicBezTo>
                  <a:cubicBezTo>
                    <a:pt x="0" y="21363"/>
                    <a:pt x="76" y="21465"/>
                    <a:pt x="76" y="21600"/>
                  </a:cubicBezTo>
                  <a:cubicBezTo>
                    <a:pt x="1788" y="15591"/>
                    <a:pt x="11162" y="5902"/>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5" name="AutoShape 584"/>
            <p:cNvSpPr>
              <a:spLocks/>
            </p:cNvSpPr>
            <p:nvPr/>
          </p:nvSpPr>
          <p:spPr bwMode="auto">
            <a:xfrm>
              <a:off x="8102600" y="3302000"/>
              <a:ext cx="14288" cy="3175"/>
            </a:xfrm>
            <a:custGeom>
              <a:avLst/>
              <a:gdLst/>
              <a:ahLst/>
              <a:cxnLst/>
              <a:rect l="0" t="0" r="r" b="b"/>
              <a:pathLst>
                <a:path w="17313" h="17474">
                  <a:moveTo>
                    <a:pt x="7902" y="505"/>
                  </a:moveTo>
                  <a:cubicBezTo>
                    <a:pt x="232" y="-1665"/>
                    <a:pt x="-2329" y="3443"/>
                    <a:pt x="2333" y="10456"/>
                  </a:cubicBezTo>
                  <a:cubicBezTo>
                    <a:pt x="6996" y="17760"/>
                    <a:pt x="13270" y="19935"/>
                    <a:pt x="16278" y="14238"/>
                  </a:cubicBezTo>
                  <a:cubicBezTo>
                    <a:pt x="19271" y="8545"/>
                    <a:pt x="15559" y="2680"/>
                    <a:pt x="7902" y="505"/>
                  </a:cubicBezTo>
                  <a:close/>
                  <a:moveTo>
                    <a:pt x="7902" y="5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6" name="AutoShape 585"/>
            <p:cNvSpPr>
              <a:spLocks/>
            </p:cNvSpPr>
            <p:nvPr/>
          </p:nvSpPr>
          <p:spPr bwMode="auto">
            <a:xfrm>
              <a:off x="8089900" y="3289300"/>
              <a:ext cx="19050" cy="6350"/>
            </a:xfrm>
            <a:custGeom>
              <a:avLst/>
              <a:gdLst/>
              <a:ahLst/>
              <a:cxnLst/>
              <a:rect l="0" t="0" r="r" b="b"/>
              <a:pathLst>
                <a:path w="19777" h="19955">
                  <a:moveTo>
                    <a:pt x="16905" y="16180"/>
                  </a:moveTo>
                  <a:cubicBezTo>
                    <a:pt x="19385" y="12585"/>
                    <a:pt x="20464" y="8656"/>
                    <a:pt x="19321" y="5996"/>
                  </a:cubicBezTo>
                  <a:cubicBezTo>
                    <a:pt x="18113" y="3638"/>
                    <a:pt x="12844" y="682"/>
                    <a:pt x="7512" y="119"/>
                  </a:cubicBezTo>
                  <a:cubicBezTo>
                    <a:pt x="2219" y="-724"/>
                    <a:pt x="-1136" y="3002"/>
                    <a:pt x="355" y="7605"/>
                  </a:cubicBezTo>
                  <a:cubicBezTo>
                    <a:pt x="1819" y="12175"/>
                    <a:pt x="4890" y="17994"/>
                    <a:pt x="7565" y="19286"/>
                  </a:cubicBezTo>
                  <a:cubicBezTo>
                    <a:pt x="10172" y="20876"/>
                    <a:pt x="14400" y="19546"/>
                    <a:pt x="16905" y="16180"/>
                  </a:cubicBezTo>
                  <a:close/>
                  <a:moveTo>
                    <a:pt x="16905" y="161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7" name="AutoShape 586"/>
            <p:cNvSpPr>
              <a:spLocks/>
            </p:cNvSpPr>
            <p:nvPr/>
          </p:nvSpPr>
          <p:spPr bwMode="auto">
            <a:xfrm>
              <a:off x="8102600" y="3302000"/>
              <a:ext cx="15875" cy="4763"/>
            </a:xfrm>
            <a:custGeom>
              <a:avLst/>
              <a:gdLst/>
              <a:ahLst/>
              <a:cxnLst/>
              <a:rect l="0" t="0" r="r" b="b"/>
              <a:pathLst>
                <a:path w="18932" h="19890">
                  <a:moveTo>
                    <a:pt x="5551" y="22"/>
                  </a:moveTo>
                  <a:cubicBezTo>
                    <a:pt x="542" y="-311"/>
                    <a:pt x="-1456" y="3238"/>
                    <a:pt x="1138" y="7693"/>
                  </a:cubicBezTo>
                  <a:cubicBezTo>
                    <a:pt x="3761" y="11886"/>
                    <a:pt x="9407" y="17495"/>
                    <a:pt x="13749" y="19386"/>
                  </a:cubicBezTo>
                  <a:cubicBezTo>
                    <a:pt x="18133" y="21289"/>
                    <a:pt x="20144" y="17609"/>
                    <a:pt x="18176" y="11709"/>
                  </a:cubicBezTo>
                  <a:cubicBezTo>
                    <a:pt x="16205" y="5744"/>
                    <a:pt x="10517" y="22"/>
                    <a:pt x="5551" y="22"/>
                  </a:cubicBezTo>
                  <a:close/>
                  <a:moveTo>
                    <a:pt x="5551" y="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8" name="AutoShape 587"/>
            <p:cNvSpPr>
              <a:spLocks/>
            </p:cNvSpPr>
            <p:nvPr/>
          </p:nvSpPr>
          <p:spPr bwMode="auto">
            <a:xfrm>
              <a:off x="8026400" y="3225800"/>
              <a:ext cx="7938" cy="9525"/>
            </a:xfrm>
            <a:custGeom>
              <a:avLst/>
              <a:gdLst/>
              <a:ahLst/>
              <a:cxnLst/>
              <a:rect l="0" t="0" r="r" b="b"/>
              <a:pathLst>
                <a:path w="18908" h="19982">
                  <a:moveTo>
                    <a:pt x="1705" y="94"/>
                  </a:moveTo>
                  <a:cubicBezTo>
                    <a:pt x="-1531" y="-719"/>
                    <a:pt x="-45" y="3871"/>
                    <a:pt x="5181" y="10206"/>
                  </a:cubicBezTo>
                  <a:cubicBezTo>
                    <a:pt x="10170" y="16744"/>
                    <a:pt x="16060" y="20881"/>
                    <a:pt x="18079" y="19816"/>
                  </a:cubicBezTo>
                  <a:cubicBezTo>
                    <a:pt x="20069" y="18742"/>
                    <a:pt x="18316" y="14223"/>
                    <a:pt x="14550" y="9716"/>
                  </a:cubicBezTo>
                  <a:cubicBezTo>
                    <a:pt x="10543" y="5366"/>
                    <a:pt x="4944" y="823"/>
                    <a:pt x="1705" y="94"/>
                  </a:cubicBezTo>
                  <a:close/>
                  <a:moveTo>
                    <a:pt x="1705" y="9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89" name="AutoShape 588"/>
            <p:cNvSpPr>
              <a:spLocks/>
            </p:cNvSpPr>
            <p:nvPr/>
          </p:nvSpPr>
          <p:spPr bwMode="auto">
            <a:xfrm>
              <a:off x="8013700" y="3213100"/>
              <a:ext cx="6350" cy="4763"/>
            </a:xfrm>
            <a:custGeom>
              <a:avLst/>
              <a:gdLst/>
              <a:ahLst/>
              <a:cxnLst/>
              <a:rect l="0" t="0" r="r" b="b"/>
              <a:pathLst>
                <a:path w="19569" h="17570">
                  <a:moveTo>
                    <a:pt x="0" y="3002"/>
                  </a:moveTo>
                  <a:cubicBezTo>
                    <a:pt x="0" y="8310"/>
                    <a:pt x="6352" y="14373"/>
                    <a:pt x="13838" y="16958"/>
                  </a:cubicBezTo>
                  <a:cubicBezTo>
                    <a:pt x="21369" y="19279"/>
                    <a:pt x="21600" y="14774"/>
                    <a:pt x="13803" y="7282"/>
                  </a:cubicBezTo>
                  <a:cubicBezTo>
                    <a:pt x="6162" y="-363"/>
                    <a:pt x="0" y="-2321"/>
                    <a:pt x="0" y="3002"/>
                  </a:cubicBezTo>
                  <a:close/>
                  <a:moveTo>
                    <a:pt x="0" y="300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0" name="AutoShape 589"/>
            <p:cNvSpPr>
              <a:spLocks/>
            </p:cNvSpPr>
            <p:nvPr/>
          </p:nvSpPr>
          <p:spPr bwMode="auto">
            <a:xfrm>
              <a:off x="7988300" y="3175000"/>
              <a:ext cx="15875" cy="19050"/>
            </a:xfrm>
            <a:custGeom>
              <a:avLst/>
              <a:gdLst/>
              <a:ahLst/>
              <a:cxnLst/>
              <a:rect l="0" t="0" r="r" b="b"/>
              <a:pathLst>
                <a:path w="19733" h="20577">
                  <a:moveTo>
                    <a:pt x="2011" y="111"/>
                  </a:moveTo>
                  <a:cubicBezTo>
                    <a:pt x="542" y="1049"/>
                    <a:pt x="-467" y="4588"/>
                    <a:pt x="220" y="8177"/>
                  </a:cubicBezTo>
                  <a:cubicBezTo>
                    <a:pt x="894" y="11749"/>
                    <a:pt x="3219" y="15127"/>
                    <a:pt x="5559" y="15699"/>
                  </a:cubicBezTo>
                  <a:cubicBezTo>
                    <a:pt x="7931" y="16277"/>
                    <a:pt x="11112" y="17692"/>
                    <a:pt x="12322" y="19140"/>
                  </a:cubicBezTo>
                  <a:cubicBezTo>
                    <a:pt x="13744" y="20381"/>
                    <a:pt x="16528" y="20872"/>
                    <a:pt x="18869" y="20400"/>
                  </a:cubicBezTo>
                  <a:cubicBezTo>
                    <a:pt x="21133" y="19754"/>
                    <a:pt x="18761" y="14681"/>
                    <a:pt x="13927" y="8899"/>
                  </a:cubicBezTo>
                  <a:cubicBezTo>
                    <a:pt x="8833" y="3266"/>
                    <a:pt x="3616" y="-728"/>
                    <a:pt x="2011" y="111"/>
                  </a:cubicBezTo>
                  <a:close/>
                  <a:moveTo>
                    <a:pt x="2011" y="1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1" name="AutoShape 590"/>
            <p:cNvSpPr>
              <a:spLocks/>
            </p:cNvSpPr>
            <p:nvPr/>
          </p:nvSpPr>
          <p:spPr bwMode="auto">
            <a:xfrm>
              <a:off x="7988300" y="3200400"/>
              <a:ext cx="12700" cy="17463"/>
            </a:xfrm>
            <a:custGeom>
              <a:avLst/>
              <a:gdLst/>
              <a:ahLst/>
              <a:cxnLst/>
              <a:rect l="0" t="0" r="r" b="b"/>
              <a:pathLst>
                <a:path w="19604" h="20697">
                  <a:moveTo>
                    <a:pt x="5445" y="1853"/>
                  </a:moveTo>
                  <a:cubicBezTo>
                    <a:pt x="360" y="-790"/>
                    <a:pt x="-1440" y="-611"/>
                    <a:pt x="1229" y="2425"/>
                  </a:cubicBezTo>
                  <a:cubicBezTo>
                    <a:pt x="3974" y="5441"/>
                    <a:pt x="5571" y="8720"/>
                    <a:pt x="4664" y="9410"/>
                  </a:cubicBezTo>
                  <a:cubicBezTo>
                    <a:pt x="4119" y="10279"/>
                    <a:pt x="6135" y="13143"/>
                    <a:pt x="9623" y="15904"/>
                  </a:cubicBezTo>
                  <a:cubicBezTo>
                    <a:pt x="13039" y="18720"/>
                    <a:pt x="17198" y="20810"/>
                    <a:pt x="18689" y="20693"/>
                  </a:cubicBezTo>
                  <a:cubicBezTo>
                    <a:pt x="20160" y="20590"/>
                    <a:pt x="19816" y="17367"/>
                    <a:pt x="17961" y="13626"/>
                  </a:cubicBezTo>
                  <a:cubicBezTo>
                    <a:pt x="16035" y="9893"/>
                    <a:pt x="10367" y="4648"/>
                    <a:pt x="5445" y="1853"/>
                  </a:cubicBezTo>
                  <a:close/>
                  <a:moveTo>
                    <a:pt x="5445" y="18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2" name="AutoShape 591"/>
            <p:cNvSpPr>
              <a:spLocks/>
            </p:cNvSpPr>
            <p:nvPr/>
          </p:nvSpPr>
          <p:spPr bwMode="auto">
            <a:xfrm>
              <a:off x="7950200" y="3124200"/>
              <a:ext cx="254000" cy="196850"/>
            </a:xfrm>
            <a:custGeom>
              <a:avLst/>
              <a:gdLst/>
              <a:ahLst/>
              <a:cxnLst/>
              <a:rect l="0" t="0" r="r" b="b"/>
              <a:pathLst>
                <a:path w="21586" h="21583">
                  <a:moveTo>
                    <a:pt x="15046" y="18621"/>
                  </a:moveTo>
                  <a:cubicBezTo>
                    <a:pt x="14245" y="17465"/>
                    <a:pt x="12829" y="15667"/>
                    <a:pt x="11905" y="14625"/>
                  </a:cubicBezTo>
                  <a:cubicBezTo>
                    <a:pt x="10987" y="13573"/>
                    <a:pt x="10203" y="12590"/>
                    <a:pt x="10158" y="12432"/>
                  </a:cubicBezTo>
                  <a:cubicBezTo>
                    <a:pt x="10125" y="12267"/>
                    <a:pt x="10155" y="12072"/>
                    <a:pt x="10207" y="11962"/>
                  </a:cubicBezTo>
                  <a:cubicBezTo>
                    <a:pt x="10278" y="11871"/>
                    <a:pt x="10208" y="11590"/>
                    <a:pt x="10054" y="11351"/>
                  </a:cubicBezTo>
                  <a:cubicBezTo>
                    <a:pt x="9910" y="11105"/>
                    <a:pt x="9720" y="10730"/>
                    <a:pt x="9689" y="10494"/>
                  </a:cubicBezTo>
                  <a:cubicBezTo>
                    <a:pt x="9642" y="10260"/>
                    <a:pt x="9413" y="9790"/>
                    <a:pt x="9174" y="9461"/>
                  </a:cubicBezTo>
                  <a:cubicBezTo>
                    <a:pt x="8948" y="9118"/>
                    <a:pt x="8632" y="8842"/>
                    <a:pt x="8492" y="8852"/>
                  </a:cubicBezTo>
                  <a:cubicBezTo>
                    <a:pt x="8349" y="8852"/>
                    <a:pt x="8205" y="8690"/>
                    <a:pt x="8205" y="8488"/>
                  </a:cubicBezTo>
                  <a:cubicBezTo>
                    <a:pt x="8172" y="8291"/>
                    <a:pt x="8239" y="8036"/>
                    <a:pt x="8325" y="7936"/>
                  </a:cubicBezTo>
                  <a:cubicBezTo>
                    <a:pt x="8404" y="7834"/>
                    <a:pt x="8459" y="7455"/>
                    <a:pt x="8443" y="7095"/>
                  </a:cubicBezTo>
                  <a:cubicBezTo>
                    <a:pt x="8428" y="6737"/>
                    <a:pt x="8483" y="6344"/>
                    <a:pt x="8564" y="6220"/>
                  </a:cubicBezTo>
                  <a:cubicBezTo>
                    <a:pt x="8652" y="6107"/>
                    <a:pt x="8934" y="6216"/>
                    <a:pt x="9203" y="6482"/>
                  </a:cubicBezTo>
                  <a:cubicBezTo>
                    <a:pt x="9470" y="6756"/>
                    <a:pt x="9774" y="7125"/>
                    <a:pt x="9866" y="7322"/>
                  </a:cubicBezTo>
                  <a:cubicBezTo>
                    <a:pt x="9957" y="7519"/>
                    <a:pt x="10151" y="7644"/>
                    <a:pt x="10292" y="7623"/>
                  </a:cubicBezTo>
                  <a:cubicBezTo>
                    <a:pt x="10434" y="7593"/>
                    <a:pt x="10545" y="7415"/>
                    <a:pt x="10545" y="7226"/>
                  </a:cubicBezTo>
                  <a:cubicBezTo>
                    <a:pt x="10531" y="7038"/>
                    <a:pt x="10703" y="6869"/>
                    <a:pt x="10899" y="6837"/>
                  </a:cubicBezTo>
                  <a:cubicBezTo>
                    <a:pt x="11095" y="6827"/>
                    <a:pt x="11361" y="6811"/>
                    <a:pt x="11494" y="6828"/>
                  </a:cubicBezTo>
                  <a:cubicBezTo>
                    <a:pt x="11628" y="6866"/>
                    <a:pt x="11816" y="6740"/>
                    <a:pt x="11926" y="6608"/>
                  </a:cubicBezTo>
                  <a:cubicBezTo>
                    <a:pt x="12037" y="6476"/>
                    <a:pt x="12260" y="6463"/>
                    <a:pt x="12437" y="6608"/>
                  </a:cubicBezTo>
                  <a:cubicBezTo>
                    <a:pt x="12617" y="6746"/>
                    <a:pt x="12831" y="6781"/>
                    <a:pt x="12924" y="6682"/>
                  </a:cubicBezTo>
                  <a:cubicBezTo>
                    <a:pt x="13009" y="6573"/>
                    <a:pt x="13227" y="6537"/>
                    <a:pt x="13399" y="6609"/>
                  </a:cubicBezTo>
                  <a:cubicBezTo>
                    <a:pt x="13572" y="6679"/>
                    <a:pt x="13807" y="6910"/>
                    <a:pt x="13902" y="7148"/>
                  </a:cubicBezTo>
                  <a:cubicBezTo>
                    <a:pt x="13998" y="7392"/>
                    <a:pt x="14205" y="7480"/>
                    <a:pt x="14339" y="7362"/>
                  </a:cubicBezTo>
                  <a:cubicBezTo>
                    <a:pt x="14474" y="7245"/>
                    <a:pt x="14787" y="7250"/>
                    <a:pt x="15033" y="7379"/>
                  </a:cubicBezTo>
                  <a:cubicBezTo>
                    <a:pt x="15280" y="7501"/>
                    <a:pt x="15617" y="7551"/>
                    <a:pt x="15786" y="7472"/>
                  </a:cubicBezTo>
                  <a:cubicBezTo>
                    <a:pt x="15953" y="7396"/>
                    <a:pt x="16135" y="7413"/>
                    <a:pt x="16197" y="7504"/>
                  </a:cubicBezTo>
                  <a:cubicBezTo>
                    <a:pt x="16263" y="7588"/>
                    <a:pt x="16519" y="7659"/>
                    <a:pt x="16779" y="7638"/>
                  </a:cubicBezTo>
                  <a:cubicBezTo>
                    <a:pt x="17041" y="7617"/>
                    <a:pt x="17446" y="7707"/>
                    <a:pt x="17676" y="7836"/>
                  </a:cubicBezTo>
                  <a:cubicBezTo>
                    <a:pt x="17905" y="7963"/>
                    <a:pt x="18207" y="8050"/>
                    <a:pt x="18345" y="8030"/>
                  </a:cubicBezTo>
                  <a:cubicBezTo>
                    <a:pt x="18481" y="8001"/>
                    <a:pt x="18781" y="8197"/>
                    <a:pt x="19010" y="8442"/>
                  </a:cubicBezTo>
                  <a:cubicBezTo>
                    <a:pt x="19237" y="8687"/>
                    <a:pt x="19673" y="8901"/>
                    <a:pt x="19973" y="8950"/>
                  </a:cubicBezTo>
                  <a:cubicBezTo>
                    <a:pt x="20274" y="8989"/>
                    <a:pt x="20542" y="9052"/>
                    <a:pt x="20573" y="9093"/>
                  </a:cubicBezTo>
                  <a:cubicBezTo>
                    <a:pt x="20607" y="9135"/>
                    <a:pt x="20606" y="8990"/>
                    <a:pt x="20559" y="8770"/>
                  </a:cubicBezTo>
                  <a:cubicBezTo>
                    <a:pt x="20525" y="8545"/>
                    <a:pt x="20660" y="8310"/>
                    <a:pt x="20861" y="8213"/>
                  </a:cubicBezTo>
                  <a:cubicBezTo>
                    <a:pt x="21063" y="8122"/>
                    <a:pt x="21313" y="8069"/>
                    <a:pt x="21412" y="8078"/>
                  </a:cubicBezTo>
                  <a:cubicBezTo>
                    <a:pt x="21511" y="8087"/>
                    <a:pt x="21600" y="8003"/>
                    <a:pt x="21584" y="7896"/>
                  </a:cubicBezTo>
                  <a:cubicBezTo>
                    <a:pt x="21569" y="7789"/>
                    <a:pt x="21409" y="7631"/>
                    <a:pt x="21203" y="7560"/>
                  </a:cubicBezTo>
                  <a:cubicBezTo>
                    <a:pt x="21003" y="7485"/>
                    <a:pt x="20747" y="7314"/>
                    <a:pt x="20630" y="7192"/>
                  </a:cubicBezTo>
                  <a:cubicBezTo>
                    <a:pt x="20510" y="7068"/>
                    <a:pt x="20356" y="6665"/>
                    <a:pt x="20278" y="6305"/>
                  </a:cubicBezTo>
                  <a:cubicBezTo>
                    <a:pt x="20199" y="5945"/>
                    <a:pt x="20014" y="5307"/>
                    <a:pt x="19858" y="4895"/>
                  </a:cubicBezTo>
                  <a:cubicBezTo>
                    <a:pt x="19690" y="4492"/>
                    <a:pt x="19460" y="4061"/>
                    <a:pt x="19321" y="3941"/>
                  </a:cubicBezTo>
                  <a:cubicBezTo>
                    <a:pt x="19178" y="3829"/>
                    <a:pt x="18918" y="3941"/>
                    <a:pt x="18775" y="4219"/>
                  </a:cubicBezTo>
                  <a:cubicBezTo>
                    <a:pt x="18614" y="4476"/>
                    <a:pt x="18158" y="4531"/>
                    <a:pt x="17759" y="4315"/>
                  </a:cubicBezTo>
                  <a:cubicBezTo>
                    <a:pt x="17351" y="4112"/>
                    <a:pt x="16561" y="3809"/>
                    <a:pt x="15998" y="3637"/>
                  </a:cubicBezTo>
                  <a:cubicBezTo>
                    <a:pt x="15434" y="3470"/>
                    <a:pt x="14822" y="3198"/>
                    <a:pt x="14646" y="3013"/>
                  </a:cubicBezTo>
                  <a:cubicBezTo>
                    <a:pt x="14461" y="2839"/>
                    <a:pt x="14131" y="2576"/>
                    <a:pt x="13899" y="2456"/>
                  </a:cubicBezTo>
                  <a:cubicBezTo>
                    <a:pt x="13669" y="2328"/>
                    <a:pt x="13092" y="1769"/>
                    <a:pt x="12624" y="1197"/>
                  </a:cubicBezTo>
                  <a:cubicBezTo>
                    <a:pt x="12154" y="631"/>
                    <a:pt x="11607" y="123"/>
                    <a:pt x="11413" y="50"/>
                  </a:cubicBezTo>
                  <a:cubicBezTo>
                    <a:pt x="11220" y="-17"/>
                    <a:pt x="11075" y="-17"/>
                    <a:pt x="11075" y="49"/>
                  </a:cubicBezTo>
                  <a:cubicBezTo>
                    <a:pt x="11089" y="110"/>
                    <a:pt x="10705" y="138"/>
                    <a:pt x="10237" y="99"/>
                  </a:cubicBezTo>
                  <a:cubicBezTo>
                    <a:pt x="9767" y="58"/>
                    <a:pt x="8861" y="357"/>
                    <a:pt x="8214" y="734"/>
                  </a:cubicBezTo>
                  <a:cubicBezTo>
                    <a:pt x="7572" y="1118"/>
                    <a:pt x="7022" y="1727"/>
                    <a:pt x="6992" y="2079"/>
                  </a:cubicBezTo>
                  <a:cubicBezTo>
                    <a:pt x="6960" y="2433"/>
                    <a:pt x="6662" y="2892"/>
                    <a:pt x="6319" y="3074"/>
                  </a:cubicBezTo>
                  <a:cubicBezTo>
                    <a:pt x="5982" y="3270"/>
                    <a:pt x="5673" y="3814"/>
                    <a:pt x="5627" y="4286"/>
                  </a:cubicBezTo>
                  <a:cubicBezTo>
                    <a:pt x="5595" y="4760"/>
                    <a:pt x="5369" y="5155"/>
                    <a:pt x="5146" y="5155"/>
                  </a:cubicBezTo>
                  <a:cubicBezTo>
                    <a:pt x="4926" y="5166"/>
                    <a:pt x="4401" y="4943"/>
                    <a:pt x="3977" y="4678"/>
                  </a:cubicBezTo>
                  <a:cubicBezTo>
                    <a:pt x="3555" y="4416"/>
                    <a:pt x="3030" y="4250"/>
                    <a:pt x="2809" y="4311"/>
                  </a:cubicBezTo>
                  <a:cubicBezTo>
                    <a:pt x="2589" y="4368"/>
                    <a:pt x="2192" y="4637"/>
                    <a:pt x="1912" y="4867"/>
                  </a:cubicBezTo>
                  <a:cubicBezTo>
                    <a:pt x="1630" y="5100"/>
                    <a:pt x="1093" y="5311"/>
                    <a:pt x="703" y="5311"/>
                  </a:cubicBezTo>
                  <a:cubicBezTo>
                    <a:pt x="317" y="5321"/>
                    <a:pt x="0" y="5341"/>
                    <a:pt x="0" y="5370"/>
                  </a:cubicBezTo>
                  <a:cubicBezTo>
                    <a:pt x="0" y="5403"/>
                    <a:pt x="67" y="5878"/>
                    <a:pt x="161" y="6426"/>
                  </a:cubicBezTo>
                  <a:cubicBezTo>
                    <a:pt x="255" y="6974"/>
                    <a:pt x="535" y="7681"/>
                    <a:pt x="799" y="7991"/>
                  </a:cubicBezTo>
                  <a:cubicBezTo>
                    <a:pt x="1058" y="8303"/>
                    <a:pt x="1267" y="8642"/>
                    <a:pt x="1238" y="8740"/>
                  </a:cubicBezTo>
                  <a:cubicBezTo>
                    <a:pt x="1208" y="8841"/>
                    <a:pt x="1287" y="9019"/>
                    <a:pt x="1390" y="9133"/>
                  </a:cubicBezTo>
                  <a:cubicBezTo>
                    <a:pt x="1496" y="9240"/>
                    <a:pt x="1792" y="8908"/>
                    <a:pt x="2027" y="8373"/>
                  </a:cubicBezTo>
                  <a:cubicBezTo>
                    <a:pt x="2280" y="7850"/>
                    <a:pt x="2498" y="7172"/>
                    <a:pt x="2531" y="6880"/>
                  </a:cubicBezTo>
                  <a:cubicBezTo>
                    <a:pt x="2561" y="6590"/>
                    <a:pt x="2707" y="6160"/>
                    <a:pt x="2867" y="5934"/>
                  </a:cubicBezTo>
                  <a:cubicBezTo>
                    <a:pt x="3026" y="5707"/>
                    <a:pt x="3370" y="5542"/>
                    <a:pt x="3636" y="5531"/>
                  </a:cubicBezTo>
                  <a:cubicBezTo>
                    <a:pt x="3902" y="5531"/>
                    <a:pt x="4182" y="5769"/>
                    <a:pt x="4246" y="6048"/>
                  </a:cubicBezTo>
                  <a:cubicBezTo>
                    <a:pt x="4309" y="6324"/>
                    <a:pt x="4550" y="6752"/>
                    <a:pt x="4782" y="6972"/>
                  </a:cubicBezTo>
                  <a:cubicBezTo>
                    <a:pt x="5007" y="7210"/>
                    <a:pt x="5254" y="7740"/>
                    <a:pt x="5345" y="8152"/>
                  </a:cubicBezTo>
                  <a:cubicBezTo>
                    <a:pt x="5423" y="8566"/>
                    <a:pt x="5644" y="9224"/>
                    <a:pt x="5812" y="9629"/>
                  </a:cubicBezTo>
                  <a:cubicBezTo>
                    <a:pt x="5983" y="10028"/>
                    <a:pt x="6414" y="10687"/>
                    <a:pt x="6759" y="11103"/>
                  </a:cubicBezTo>
                  <a:cubicBezTo>
                    <a:pt x="7101" y="11523"/>
                    <a:pt x="7460" y="11878"/>
                    <a:pt x="7545" y="11900"/>
                  </a:cubicBezTo>
                  <a:cubicBezTo>
                    <a:pt x="7630" y="11927"/>
                    <a:pt x="7866" y="12170"/>
                    <a:pt x="8065" y="12450"/>
                  </a:cubicBezTo>
                  <a:cubicBezTo>
                    <a:pt x="8265" y="12727"/>
                    <a:pt x="8297" y="12873"/>
                    <a:pt x="8124" y="12799"/>
                  </a:cubicBezTo>
                  <a:cubicBezTo>
                    <a:pt x="7956" y="12710"/>
                    <a:pt x="7661" y="12667"/>
                    <a:pt x="7472" y="12678"/>
                  </a:cubicBezTo>
                  <a:cubicBezTo>
                    <a:pt x="7283" y="12709"/>
                    <a:pt x="7058" y="12893"/>
                    <a:pt x="6992" y="13124"/>
                  </a:cubicBezTo>
                  <a:cubicBezTo>
                    <a:pt x="6904" y="13343"/>
                    <a:pt x="6944" y="13742"/>
                    <a:pt x="7055" y="13989"/>
                  </a:cubicBezTo>
                  <a:cubicBezTo>
                    <a:pt x="7168" y="14237"/>
                    <a:pt x="7452" y="14452"/>
                    <a:pt x="7694" y="14471"/>
                  </a:cubicBezTo>
                  <a:cubicBezTo>
                    <a:pt x="7935" y="14492"/>
                    <a:pt x="8337" y="14758"/>
                    <a:pt x="8592" y="15067"/>
                  </a:cubicBezTo>
                  <a:cubicBezTo>
                    <a:pt x="8844" y="15382"/>
                    <a:pt x="9250" y="15737"/>
                    <a:pt x="9498" y="15857"/>
                  </a:cubicBezTo>
                  <a:cubicBezTo>
                    <a:pt x="9739" y="15992"/>
                    <a:pt x="10014" y="16285"/>
                    <a:pt x="10108" y="16531"/>
                  </a:cubicBezTo>
                  <a:cubicBezTo>
                    <a:pt x="10205" y="16778"/>
                    <a:pt x="10374" y="17133"/>
                    <a:pt x="10500" y="17306"/>
                  </a:cubicBezTo>
                  <a:cubicBezTo>
                    <a:pt x="10618" y="17492"/>
                    <a:pt x="10927" y="17583"/>
                    <a:pt x="11172" y="17543"/>
                  </a:cubicBezTo>
                  <a:cubicBezTo>
                    <a:pt x="11417" y="17493"/>
                    <a:pt x="12015" y="17518"/>
                    <a:pt x="12496" y="17608"/>
                  </a:cubicBezTo>
                  <a:cubicBezTo>
                    <a:pt x="12979" y="17686"/>
                    <a:pt x="13594" y="17915"/>
                    <a:pt x="13866" y="18101"/>
                  </a:cubicBezTo>
                  <a:cubicBezTo>
                    <a:pt x="14139" y="18277"/>
                    <a:pt x="14802" y="19059"/>
                    <a:pt x="15370" y="19782"/>
                  </a:cubicBezTo>
                  <a:cubicBezTo>
                    <a:pt x="15929" y="20513"/>
                    <a:pt x="16261" y="21132"/>
                    <a:pt x="16113" y="21143"/>
                  </a:cubicBezTo>
                  <a:cubicBezTo>
                    <a:pt x="15966" y="21153"/>
                    <a:pt x="15641" y="20999"/>
                    <a:pt x="15384" y="20824"/>
                  </a:cubicBezTo>
                  <a:cubicBezTo>
                    <a:pt x="15125" y="20646"/>
                    <a:pt x="15031" y="20671"/>
                    <a:pt x="15175" y="20885"/>
                  </a:cubicBezTo>
                  <a:cubicBezTo>
                    <a:pt x="15324" y="21098"/>
                    <a:pt x="15621" y="21349"/>
                    <a:pt x="15848" y="21438"/>
                  </a:cubicBezTo>
                  <a:cubicBezTo>
                    <a:pt x="16075" y="21532"/>
                    <a:pt x="16266" y="21583"/>
                    <a:pt x="16264" y="21583"/>
                  </a:cubicBezTo>
                  <a:cubicBezTo>
                    <a:pt x="16266" y="21583"/>
                    <a:pt x="16309" y="21381"/>
                    <a:pt x="16389" y="21148"/>
                  </a:cubicBezTo>
                  <a:cubicBezTo>
                    <a:pt x="16466" y="20917"/>
                    <a:pt x="15860" y="19763"/>
                    <a:pt x="15046" y="18621"/>
                  </a:cubicBezTo>
                  <a:close/>
                  <a:moveTo>
                    <a:pt x="15046" y="186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3" name="AutoShape 592"/>
            <p:cNvSpPr>
              <a:spLocks/>
            </p:cNvSpPr>
            <p:nvPr/>
          </p:nvSpPr>
          <p:spPr bwMode="auto">
            <a:xfrm>
              <a:off x="8026400" y="3238500"/>
              <a:ext cx="7938" cy="9525"/>
            </a:xfrm>
            <a:custGeom>
              <a:avLst/>
              <a:gdLst/>
              <a:ahLst/>
              <a:cxnLst/>
              <a:rect l="0" t="0" r="r" b="b"/>
              <a:pathLst>
                <a:path w="18028" h="17191">
                  <a:moveTo>
                    <a:pt x="3733" y="1651"/>
                  </a:moveTo>
                  <a:cubicBezTo>
                    <a:pt x="-2164" y="-2241"/>
                    <a:pt x="-1017" y="1019"/>
                    <a:pt x="6764" y="8585"/>
                  </a:cubicBezTo>
                  <a:cubicBezTo>
                    <a:pt x="14219" y="16392"/>
                    <a:pt x="19436" y="19359"/>
                    <a:pt x="17688" y="15519"/>
                  </a:cubicBezTo>
                  <a:cubicBezTo>
                    <a:pt x="16050" y="11690"/>
                    <a:pt x="9523" y="5639"/>
                    <a:pt x="3733" y="1651"/>
                  </a:cubicBezTo>
                  <a:close/>
                  <a:moveTo>
                    <a:pt x="3733" y="16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4" name="AutoShape 593"/>
            <p:cNvSpPr>
              <a:spLocks/>
            </p:cNvSpPr>
            <p:nvPr/>
          </p:nvSpPr>
          <p:spPr bwMode="auto">
            <a:xfrm>
              <a:off x="8001000" y="3225800"/>
              <a:ext cx="4763" cy="6350"/>
            </a:xfrm>
            <a:custGeom>
              <a:avLst/>
              <a:gdLst/>
              <a:ahLst/>
              <a:cxnLst/>
              <a:rect l="0" t="0" r="r" b="b"/>
              <a:pathLst>
                <a:path w="18176" h="17509">
                  <a:moveTo>
                    <a:pt x="4122" y="783"/>
                  </a:moveTo>
                  <a:cubicBezTo>
                    <a:pt x="-2000" y="-1899"/>
                    <a:pt x="-1337" y="2577"/>
                    <a:pt x="6342" y="10088"/>
                  </a:cubicBezTo>
                  <a:cubicBezTo>
                    <a:pt x="13514" y="17942"/>
                    <a:pt x="19600" y="19701"/>
                    <a:pt x="17882" y="14697"/>
                  </a:cubicBezTo>
                  <a:cubicBezTo>
                    <a:pt x="16713" y="9609"/>
                    <a:pt x="10513" y="3311"/>
                    <a:pt x="4122" y="783"/>
                  </a:cubicBezTo>
                  <a:close/>
                  <a:moveTo>
                    <a:pt x="4122" y="7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5" name="AutoShape 594"/>
            <p:cNvSpPr>
              <a:spLocks/>
            </p:cNvSpPr>
            <p:nvPr/>
          </p:nvSpPr>
          <p:spPr bwMode="auto">
            <a:xfrm>
              <a:off x="8051800" y="3175000"/>
              <a:ext cx="174625" cy="157163"/>
            </a:xfrm>
            <a:custGeom>
              <a:avLst/>
              <a:gdLst/>
              <a:ahLst/>
              <a:cxnLst/>
              <a:rect l="0" t="0" r="r" b="b"/>
              <a:pathLst>
                <a:path w="21508" h="21445">
                  <a:moveTo>
                    <a:pt x="17219" y="20622"/>
                  </a:moveTo>
                  <a:cubicBezTo>
                    <a:pt x="17359" y="20243"/>
                    <a:pt x="17535" y="19569"/>
                    <a:pt x="17491" y="19106"/>
                  </a:cubicBezTo>
                  <a:cubicBezTo>
                    <a:pt x="17491" y="18640"/>
                    <a:pt x="17546" y="17973"/>
                    <a:pt x="17658" y="17634"/>
                  </a:cubicBezTo>
                  <a:cubicBezTo>
                    <a:pt x="17767" y="17291"/>
                    <a:pt x="18035" y="17001"/>
                    <a:pt x="18254" y="16986"/>
                  </a:cubicBezTo>
                  <a:cubicBezTo>
                    <a:pt x="18479" y="16986"/>
                    <a:pt x="18841" y="16852"/>
                    <a:pt x="19075" y="16745"/>
                  </a:cubicBezTo>
                  <a:cubicBezTo>
                    <a:pt x="19304" y="16629"/>
                    <a:pt x="19413" y="16299"/>
                    <a:pt x="19280" y="16051"/>
                  </a:cubicBezTo>
                  <a:cubicBezTo>
                    <a:pt x="19152" y="15803"/>
                    <a:pt x="18847" y="15392"/>
                    <a:pt x="18545" y="15188"/>
                  </a:cubicBezTo>
                  <a:cubicBezTo>
                    <a:pt x="18268" y="14954"/>
                    <a:pt x="17976" y="14575"/>
                    <a:pt x="17976" y="14312"/>
                  </a:cubicBezTo>
                  <a:cubicBezTo>
                    <a:pt x="17955" y="14047"/>
                    <a:pt x="18079" y="13718"/>
                    <a:pt x="18261" y="13578"/>
                  </a:cubicBezTo>
                  <a:cubicBezTo>
                    <a:pt x="18450" y="13450"/>
                    <a:pt x="18860" y="13566"/>
                    <a:pt x="19205" y="13823"/>
                  </a:cubicBezTo>
                  <a:cubicBezTo>
                    <a:pt x="19533" y="14111"/>
                    <a:pt x="20023" y="14405"/>
                    <a:pt x="20273" y="14506"/>
                  </a:cubicBezTo>
                  <a:cubicBezTo>
                    <a:pt x="20528" y="14610"/>
                    <a:pt x="20846" y="14592"/>
                    <a:pt x="20961" y="14438"/>
                  </a:cubicBezTo>
                  <a:cubicBezTo>
                    <a:pt x="21074" y="14286"/>
                    <a:pt x="20885" y="13793"/>
                    <a:pt x="20519" y="13321"/>
                  </a:cubicBezTo>
                  <a:cubicBezTo>
                    <a:pt x="20143" y="12853"/>
                    <a:pt x="19852" y="12154"/>
                    <a:pt x="19808" y="11779"/>
                  </a:cubicBezTo>
                  <a:cubicBezTo>
                    <a:pt x="19808" y="11404"/>
                    <a:pt x="19879" y="11004"/>
                    <a:pt x="20023" y="10912"/>
                  </a:cubicBezTo>
                  <a:cubicBezTo>
                    <a:pt x="20166" y="10820"/>
                    <a:pt x="20494" y="10885"/>
                    <a:pt x="20776" y="11054"/>
                  </a:cubicBezTo>
                  <a:cubicBezTo>
                    <a:pt x="21052" y="11234"/>
                    <a:pt x="21350" y="11219"/>
                    <a:pt x="21460" y="11033"/>
                  </a:cubicBezTo>
                  <a:cubicBezTo>
                    <a:pt x="21565" y="10844"/>
                    <a:pt x="21488" y="10499"/>
                    <a:pt x="21301" y="10278"/>
                  </a:cubicBezTo>
                  <a:cubicBezTo>
                    <a:pt x="21126" y="10040"/>
                    <a:pt x="20761" y="9859"/>
                    <a:pt x="20532" y="9820"/>
                  </a:cubicBezTo>
                  <a:cubicBezTo>
                    <a:pt x="20296" y="9784"/>
                    <a:pt x="19723" y="9414"/>
                    <a:pt x="19253" y="8989"/>
                  </a:cubicBezTo>
                  <a:cubicBezTo>
                    <a:pt x="18780" y="8562"/>
                    <a:pt x="18356" y="8016"/>
                    <a:pt x="18356" y="7777"/>
                  </a:cubicBezTo>
                  <a:cubicBezTo>
                    <a:pt x="18335" y="7541"/>
                    <a:pt x="18538" y="6929"/>
                    <a:pt x="18830" y="6438"/>
                  </a:cubicBezTo>
                  <a:cubicBezTo>
                    <a:pt x="19122" y="5948"/>
                    <a:pt x="19355" y="5168"/>
                    <a:pt x="19378" y="4726"/>
                  </a:cubicBezTo>
                  <a:cubicBezTo>
                    <a:pt x="19401" y="4285"/>
                    <a:pt x="19259" y="3910"/>
                    <a:pt x="19069" y="3874"/>
                  </a:cubicBezTo>
                  <a:cubicBezTo>
                    <a:pt x="18883" y="3839"/>
                    <a:pt x="18624" y="3913"/>
                    <a:pt x="18494" y="4015"/>
                  </a:cubicBezTo>
                  <a:cubicBezTo>
                    <a:pt x="18455" y="4054"/>
                    <a:pt x="18403" y="4064"/>
                    <a:pt x="18347" y="4063"/>
                  </a:cubicBezTo>
                  <a:cubicBezTo>
                    <a:pt x="18254" y="4073"/>
                    <a:pt x="18157" y="4050"/>
                    <a:pt x="18097" y="3973"/>
                  </a:cubicBezTo>
                  <a:cubicBezTo>
                    <a:pt x="18085" y="3959"/>
                    <a:pt x="18074" y="3932"/>
                    <a:pt x="18062" y="3911"/>
                  </a:cubicBezTo>
                  <a:cubicBezTo>
                    <a:pt x="18050" y="3897"/>
                    <a:pt x="18035" y="3887"/>
                    <a:pt x="18023" y="3870"/>
                  </a:cubicBezTo>
                  <a:cubicBezTo>
                    <a:pt x="17891" y="3686"/>
                    <a:pt x="17423" y="3512"/>
                    <a:pt x="16988" y="3463"/>
                  </a:cubicBezTo>
                  <a:cubicBezTo>
                    <a:pt x="16555" y="3402"/>
                    <a:pt x="15927" y="3135"/>
                    <a:pt x="15600" y="2830"/>
                  </a:cubicBezTo>
                  <a:cubicBezTo>
                    <a:pt x="15270" y="2524"/>
                    <a:pt x="14836" y="2278"/>
                    <a:pt x="14640" y="2315"/>
                  </a:cubicBezTo>
                  <a:cubicBezTo>
                    <a:pt x="14441" y="2340"/>
                    <a:pt x="14005" y="2231"/>
                    <a:pt x="13675" y="2073"/>
                  </a:cubicBezTo>
                  <a:cubicBezTo>
                    <a:pt x="13343" y="1912"/>
                    <a:pt x="12759" y="1800"/>
                    <a:pt x="12382" y="1826"/>
                  </a:cubicBezTo>
                  <a:cubicBezTo>
                    <a:pt x="12006" y="1852"/>
                    <a:pt x="11637" y="1763"/>
                    <a:pt x="11541" y="1659"/>
                  </a:cubicBezTo>
                  <a:cubicBezTo>
                    <a:pt x="11452" y="1544"/>
                    <a:pt x="11190" y="1524"/>
                    <a:pt x="10949" y="1619"/>
                  </a:cubicBezTo>
                  <a:cubicBezTo>
                    <a:pt x="10705" y="1717"/>
                    <a:pt x="10219" y="1655"/>
                    <a:pt x="9862" y="1502"/>
                  </a:cubicBezTo>
                  <a:cubicBezTo>
                    <a:pt x="9507" y="1341"/>
                    <a:pt x="9056" y="1336"/>
                    <a:pt x="8861" y="1481"/>
                  </a:cubicBezTo>
                  <a:cubicBezTo>
                    <a:pt x="8668" y="1629"/>
                    <a:pt x="8368" y="1519"/>
                    <a:pt x="8231" y="1215"/>
                  </a:cubicBezTo>
                  <a:cubicBezTo>
                    <a:pt x="8093" y="917"/>
                    <a:pt x="7755" y="629"/>
                    <a:pt x="7505" y="541"/>
                  </a:cubicBezTo>
                  <a:cubicBezTo>
                    <a:pt x="7257" y="452"/>
                    <a:pt x="6942" y="496"/>
                    <a:pt x="6819" y="632"/>
                  </a:cubicBezTo>
                  <a:cubicBezTo>
                    <a:pt x="6686" y="756"/>
                    <a:pt x="6377" y="712"/>
                    <a:pt x="6117" y="540"/>
                  </a:cubicBezTo>
                  <a:cubicBezTo>
                    <a:pt x="5862" y="359"/>
                    <a:pt x="5539" y="375"/>
                    <a:pt x="5381" y="540"/>
                  </a:cubicBezTo>
                  <a:cubicBezTo>
                    <a:pt x="5222" y="705"/>
                    <a:pt x="4950" y="862"/>
                    <a:pt x="4756" y="815"/>
                  </a:cubicBezTo>
                  <a:cubicBezTo>
                    <a:pt x="4564" y="793"/>
                    <a:pt x="4181" y="814"/>
                    <a:pt x="3898" y="826"/>
                  </a:cubicBezTo>
                  <a:cubicBezTo>
                    <a:pt x="3616" y="865"/>
                    <a:pt x="3368" y="1077"/>
                    <a:pt x="3387" y="1312"/>
                  </a:cubicBezTo>
                  <a:cubicBezTo>
                    <a:pt x="3387" y="1548"/>
                    <a:pt x="3227" y="1769"/>
                    <a:pt x="3023" y="1807"/>
                  </a:cubicBezTo>
                  <a:cubicBezTo>
                    <a:pt x="2820" y="1833"/>
                    <a:pt x="2539" y="1677"/>
                    <a:pt x="2408" y="1431"/>
                  </a:cubicBezTo>
                  <a:cubicBezTo>
                    <a:pt x="2276" y="1186"/>
                    <a:pt x="1837" y="724"/>
                    <a:pt x="1452" y="382"/>
                  </a:cubicBezTo>
                  <a:cubicBezTo>
                    <a:pt x="1063" y="50"/>
                    <a:pt x="657" y="-86"/>
                    <a:pt x="530" y="56"/>
                  </a:cubicBezTo>
                  <a:cubicBezTo>
                    <a:pt x="413" y="211"/>
                    <a:pt x="333" y="701"/>
                    <a:pt x="356" y="1148"/>
                  </a:cubicBezTo>
                  <a:cubicBezTo>
                    <a:pt x="378" y="1597"/>
                    <a:pt x="300" y="2070"/>
                    <a:pt x="185" y="2198"/>
                  </a:cubicBezTo>
                  <a:cubicBezTo>
                    <a:pt x="60" y="2322"/>
                    <a:pt x="-35" y="2640"/>
                    <a:pt x="12" y="2887"/>
                  </a:cubicBezTo>
                  <a:cubicBezTo>
                    <a:pt x="12" y="3139"/>
                    <a:pt x="219" y="3341"/>
                    <a:pt x="425" y="3341"/>
                  </a:cubicBezTo>
                  <a:cubicBezTo>
                    <a:pt x="628" y="3329"/>
                    <a:pt x="1084" y="3673"/>
                    <a:pt x="1410" y="4101"/>
                  </a:cubicBezTo>
                  <a:cubicBezTo>
                    <a:pt x="1755" y="4512"/>
                    <a:pt x="2085" y="5099"/>
                    <a:pt x="2153" y="5390"/>
                  </a:cubicBezTo>
                  <a:cubicBezTo>
                    <a:pt x="2197" y="5685"/>
                    <a:pt x="2471" y="6153"/>
                    <a:pt x="2679" y="6461"/>
                  </a:cubicBezTo>
                  <a:cubicBezTo>
                    <a:pt x="2901" y="6759"/>
                    <a:pt x="3003" y="7109"/>
                    <a:pt x="2900" y="7224"/>
                  </a:cubicBezTo>
                  <a:cubicBezTo>
                    <a:pt x="2826" y="7361"/>
                    <a:pt x="2782" y="7603"/>
                    <a:pt x="2829" y="7810"/>
                  </a:cubicBezTo>
                  <a:cubicBezTo>
                    <a:pt x="2894" y="8007"/>
                    <a:pt x="4025" y="9234"/>
                    <a:pt x="5350" y="10548"/>
                  </a:cubicBezTo>
                  <a:cubicBezTo>
                    <a:pt x="6683" y="11848"/>
                    <a:pt x="8726" y="14092"/>
                    <a:pt x="9881" y="15535"/>
                  </a:cubicBezTo>
                  <a:cubicBezTo>
                    <a:pt x="11055" y="16960"/>
                    <a:pt x="11929" y="18401"/>
                    <a:pt x="11818" y="18689"/>
                  </a:cubicBezTo>
                  <a:cubicBezTo>
                    <a:pt x="11703" y="18980"/>
                    <a:pt x="11641" y="19232"/>
                    <a:pt x="11638" y="19232"/>
                  </a:cubicBezTo>
                  <a:cubicBezTo>
                    <a:pt x="11641" y="19232"/>
                    <a:pt x="11799" y="19299"/>
                    <a:pt x="12001" y="19349"/>
                  </a:cubicBezTo>
                  <a:cubicBezTo>
                    <a:pt x="12201" y="19412"/>
                    <a:pt x="12850" y="19580"/>
                    <a:pt x="13443" y="19719"/>
                  </a:cubicBezTo>
                  <a:cubicBezTo>
                    <a:pt x="14032" y="19878"/>
                    <a:pt x="14653" y="19915"/>
                    <a:pt x="14814" y="19827"/>
                  </a:cubicBezTo>
                  <a:cubicBezTo>
                    <a:pt x="14977" y="19748"/>
                    <a:pt x="15406" y="20098"/>
                    <a:pt x="15753" y="20628"/>
                  </a:cubicBezTo>
                  <a:cubicBezTo>
                    <a:pt x="16110" y="21153"/>
                    <a:pt x="16519" y="21514"/>
                    <a:pt x="16663" y="21434"/>
                  </a:cubicBezTo>
                  <a:cubicBezTo>
                    <a:pt x="16813" y="21371"/>
                    <a:pt x="17082" y="21002"/>
                    <a:pt x="17219" y="20622"/>
                  </a:cubicBezTo>
                  <a:close/>
                  <a:moveTo>
                    <a:pt x="17219" y="206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6" name="AutoShape 595"/>
            <p:cNvSpPr>
              <a:spLocks/>
            </p:cNvSpPr>
            <p:nvPr/>
          </p:nvSpPr>
          <p:spPr bwMode="auto">
            <a:xfrm>
              <a:off x="8191500" y="3200400"/>
              <a:ext cx="1588" cy="0"/>
            </a:xfrm>
            <a:custGeom>
              <a:avLst/>
              <a:gdLst/>
              <a:ahLst/>
              <a:cxnLst/>
              <a:rect l="0" t="0" r="r" b="b"/>
              <a:pathLst>
                <a:path w="21600" h="20542">
                  <a:moveTo>
                    <a:pt x="2650" y="8267"/>
                  </a:moveTo>
                  <a:cubicBezTo>
                    <a:pt x="7238" y="18544"/>
                    <a:pt x="14591" y="21600"/>
                    <a:pt x="21600" y="20236"/>
                  </a:cubicBezTo>
                  <a:cubicBezTo>
                    <a:pt x="14247" y="20003"/>
                    <a:pt x="6319" y="12432"/>
                    <a:pt x="0" y="0"/>
                  </a:cubicBezTo>
                  <a:cubicBezTo>
                    <a:pt x="919" y="2710"/>
                    <a:pt x="1731" y="6345"/>
                    <a:pt x="2650" y="8267"/>
                  </a:cubicBezTo>
                  <a:close/>
                  <a:moveTo>
                    <a:pt x="2650" y="826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7" name="AutoShape 596"/>
            <p:cNvSpPr>
              <a:spLocks/>
            </p:cNvSpPr>
            <p:nvPr/>
          </p:nvSpPr>
          <p:spPr bwMode="auto">
            <a:xfrm>
              <a:off x="7950200" y="3086100"/>
              <a:ext cx="133350" cy="76200"/>
            </a:xfrm>
            <a:custGeom>
              <a:avLst/>
              <a:gdLst/>
              <a:ahLst/>
              <a:cxnLst/>
              <a:rect l="0" t="0" r="r" b="b"/>
              <a:pathLst>
                <a:path w="21395" h="21411">
                  <a:moveTo>
                    <a:pt x="6026" y="18854"/>
                  </a:moveTo>
                  <a:cubicBezTo>
                    <a:pt x="6441" y="18698"/>
                    <a:pt x="7429" y="19123"/>
                    <a:pt x="8224" y="19793"/>
                  </a:cubicBezTo>
                  <a:cubicBezTo>
                    <a:pt x="9022" y="20468"/>
                    <a:pt x="10011" y="21039"/>
                    <a:pt x="10426" y="21012"/>
                  </a:cubicBezTo>
                  <a:cubicBezTo>
                    <a:pt x="10845" y="21012"/>
                    <a:pt x="11271" y="20002"/>
                    <a:pt x="11331" y="18788"/>
                  </a:cubicBezTo>
                  <a:cubicBezTo>
                    <a:pt x="11418" y="17584"/>
                    <a:pt x="11999" y="16193"/>
                    <a:pt x="12633" y="15691"/>
                  </a:cubicBezTo>
                  <a:cubicBezTo>
                    <a:pt x="13279" y="15227"/>
                    <a:pt x="13841" y="14054"/>
                    <a:pt x="13900" y="13150"/>
                  </a:cubicBezTo>
                  <a:cubicBezTo>
                    <a:pt x="13957" y="12249"/>
                    <a:pt x="14993" y="10693"/>
                    <a:pt x="16203" y="9711"/>
                  </a:cubicBezTo>
                  <a:cubicBezTo>
                    <a:pt x="17420" y="8749"/>
                    <a:pt x="19126" y="7985"/>
                    <a:pt x="20011" y="8089"/>
                  </a:cubicBezTo>
                  <a:cubicBezTo>
                    <a:pt x="20892" y="8188"/>
                    <a:pt x="21519" y="7173"/>
                    <a:pt x="21375" y="5861"/>
                  </a:cubicBezTo>
                  <a:cubicBezTo>
                    <a:pt x="21227" y="4548"/>
                    <a:pt x="20693" y="2582"/>
                    <a:pt x="20134" y="1548"/>
                  </a:cubicBezTo>
                  <a:cubicBezTo>
                    <a:pt x="19592" y="523"/>
                    <a:pt x="18774" y="-166"/>
                    <a:pt x="18284" y="35"/>
                  </a:cubicBezTo>
                  <a:cubicBezTo>
                    <a:pt x="17671" y="341"/>
                    <a:pt x="16602" y="1120"/>
                    <a:pt x="15790" y="1832"/>
                  </a:cubicBezTo>
                  <a:cubicBezTo>
                    <a:pt x="14918" y="2595"/>
                    <a:pt x="14030" y="3195"/>
                    <a:pt x="13817" y="3115"/>
                  </a:cubicBezTo>
                  <a:cubicBezTo>
                    <a:pt x="13600" y="3061"/>
                    <a:pt x="13185" y="3066"/>
                    <a:pt x="12888" y="3066"/>
                  </a:cubicBezTo>
                  <a:cubicBezTo>
                    <a:pt x="12594" y="3093"/>
                    <a:pt x="11985" y="3409"/>
                    <a:pt x="11524" y="3711"/>
                  </a:cubicBezTo>
                  <a:cubicBezTo>
                    <a:pt x="11066" y="4031"/>
                    <a:pt x="10331" y="4266"/>
                    <a:pt x="9884" y="4214"/>
                  </a:cubicBezTo>
                  <a:cubicBezTo>
                    <a:pt x="9437" y="4164"/>
                    <a:pt x="8682" y="4386"/>
                    <a:pt x="8200" y="4651"/>
                  </a:cubicBezTo>
                  <a:cubicBezTo>
                    <a:pt x="7724" y="4945"/>
                    <a:pt x="7081" y="4709"/>
                    <a:pt x="6809" y="4128"/>
                  </a:cubicBezTo>
                  <a:cubicBezTo>
                    <a:pt x="6518" y="3567"/>
                    <a:pt x="5530" y="3034"/>
                    <a:pt x="4603" y="2956"/>
                  </a:cubicBezTo>
                  <a:cubicBezTo>
                    <a:pt x="3678" y="2878"/>
                    <a:pt x="2650" y="2736"/>
                    <a:pt x="2320" y="2656"/>
                  </a:cubicBezTo>
                  <a:cubicBezTo>
                    <a:pt x="1994" y="2578"/>
                    <a:pt x="1393" y="3432"/>
                    <a:pt x="923" y="4514"/>
                  </a:cubicBezTo>
                  <a:cubicBezTo>
                    <a:pt x="891" y="4592"/>
                    <a:pt x="870" y="4676"/>
                    <a:pt x="840" y="4758"/>
                  </a:cubicBezTo>
                  <a:cubicBezTo>
                    <a:pt x="457" y="5825"/>
                    <a:pt x="259" y="7057"/>
                    <a:pt x="423" y="7580"/>
                  </a:cubicBezTo>
                  <a:cubicBezTo>
                    <a:pt x="573" y="8160"/>
                    <a:pt x="514" y="9175"/>
                    <a:pt x="271" y="9864"/>
                  </a:cubicBezTo>
                  <a:cubicBezTo>
                    <a:pt x="28" y="10556"/>
                    <a:pt x="-81" y="12109"/>
                    <a:pt x="69" y="13311"/>
                  </a:cubicBezTo>
                  <a:cubicBezTo>
                    <a:pt x="213" y="14516"/>
                    <a:pt x="342" y="15542"/>
                    <a:pt x="377" y="15542"/>
                  </a:cubicBezTo>
                  <a:cubicBezTo>
                    <a:pt x="419" y="15542"/>
                    <a:pt x="789" y="15858"/>
                    <a:pt x="1204" y="16223"/>
                  </a:cubicBezTo>
                  <a:cubicBezTo>
                    <a:pt x="1629" y="16566"/>
                    <a:pt x="1933" y="17267"/>
                    <a:pt x="1965" y="17741"/>
                  </a:cubicBezTo>
                  <a:cubicBezTo>
                    <a:pt x="1935" y="18216"/>
                    <a:pt x="1686" y="18749"/>
                    <a:pt x="1340" y="18849"/>
                  </a:cubicBezTo>
                  <a:cubicBezTo>
                    <a:pt x="998" y="18974"/>
                    <a:pt x="733" y="19614"/>
                    <a:pt x="733" y="20253"/>
                  </a:cubicBezTo>
                  <a:cubicBezTo>
                    <a:pt x="733" y="20895"/>
                    <a:pt x="1334" y="21434"/>
                    <a:pt x="2061" y="21410"/>
                  </a:cubicBezTo>
                  <a:cubicBezTo>
                    <a:pt x="2795" y="21410"/>
                    <a:pt x="3807" y="20869"/>
                    <a:pt x="4336" y="20276"/>
                  </a:cubicBezTo>
                  <a:cubicBezTo>
                    <a:pt x="4864" y="19687"/>
                    <a:pt x="5611" y="19000"/>
                    <a:pt x="6026" y="18854"/>
                  </a:cubicBezTo>
                  <a:close/>
                  <a:moveTo>
                    <a:pt x="6026" y="188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8" name="AutoShape 597"/>
            <p:cNvSpPr>
              <a:spLocks/>
            </p:cNvSpPr>
            <p:nvPr/>
          </p:nvSpPr>
          <p:spPr bwMode="auto">
            <a:xfrm>
              <a:off x="7759700" y="2959100"/>
              <a:ext cx="325438" cy="146050"/>
            </a:xfrm>
            <a:custGeom>
              <a:avLst/>
              <a:gdLst/>
              <a:ahLst/>
              <a:cxnLst/>
              <a:rect l="0" t="0" r="r" b="b"/>
              <a:pathLst>
                <a:path w="21563" h="21420">
                  <a:moveTo>
                    <a:pt x="20566" y="18053"/>
                  </a:moveTo>
                  <a:cubicBezTo>
                    <a:pt x="20683" y="17710"/>
                    <a:pt x="20702" y="17162"/>
                    <a:pt x="20603" y="16808"/>
                  </a:cubicBezTo>
                  <a:cubicBezTo>
                    <a:pt x="20501" y="16458"/>
                    <a:pt x="20421" y="15897"/>
                    <a:pt x="20434" y="15562"/>
                  </a:cubicBezTo>
                  <a:cubicBezTo>
                    <a:pt x="20446" y="15230"/>
                    <a:pt x="20503" y="14626"/>
                    <a:pt x="20563" y="14220"/>
                  </a:cubicBezTo>
                  <a:cubicBezTo>
                    <a:pt x="20613" y="13810"/>
                    <a:pt x="20535" y="13173"/>
                    <a:pt x="20377" y="12768"/>
                  </a:cubicBezTo>
                  <a:cubicBezTo>
                    <a:pt x="20209" y="12385"/>
                    <a:pt x="20095" y="11911"/>
                    <a:pt x="20138" y="11780"/>
                  </a:cubicBezTo>
                  <a:cubicBezTo>
                    <a:pt x="20173" y="11631"/>
                    <a:pt x="20494" y="11567"/>
                    <a:pt x="20859" y="11620"/>
                  </a:cubicBezTo>
                  <a:cubicBezTo>
                    <a:pt x="21224" y="11697"/>
                    <a:pt x="21546" y="11445"/>
                    <a:pt x="21559" y="11088"/>
                  </a:cubicBezTo>
                  <a:cubicBezTo>
                    <a:pt x="21571" y="10730"/>
                    <a:pt x="21555" y="10147"/>
                    <a:pt x="21531" y="9778"/>
                  </a:cubicBezTo>
                  <a:cubicBezTo>
                    <a:pt x="21511" y="9589"/>
                    <a:pt x="21472" y="9185"/>
                    <a:pt x="21426" y="8704"/>
                  </a:cubicBezTo>
                  <a:cubicBezTo>
                    <a:pt x="21425" y="8698"/>
                    <a:pt x="21424" y="8687"/>
                    <a:pt x="21424" y="8682"/>
                  </a:cubicBezTo>
                  <a:lnTo>
                    <a:pt x="21424" y="8680"/>
                  </a:lnTo>
                  <a:cubicBezTo>
                    <a:pt x="21383" y="8252"/>
                    <a:pt x="21337" y="7767"/>
                    <a:pt x="21291" y="7303"/>
                  </a:cubicBezTo>
                  <a:cubicBezTo>
                    <a:pt x="21279" y="7182"/>
                    <a:pt x="21269" y="7050"/>
                    <a:pt x="21258" y="6924"/>
                  </a:cubicBezTo>
                  <a:cubicBezTo>
                    <a:pt x="21256" y="6905"/>
                    <a:pt x="21251" y="6883"/>
                    <a:pt x="21249" y="6864"/>
                  </a:cubicBezTo>
                  <a:cubicBezTo>
                    <a:pt x="21177" y="6108"/>
                    <a:pt x="21115" y="5028"/>
                    <a:pt x="21115" y="4465"/>
                  </a:cubicBezTo>
                  <a:cubicBezTo>
                    <a:pt x="21115" y="3901"/>
                    <a:pt x="20845" y="3282"/>
                    <a:pt x="20515" y="3067"/>
                  </a:cubicBezTo>
                  <a:cubicBezTo>
                    <a:pt x="20183" y="2865"/>
                    <a:pt x="19789" y="2477"/>
                    <a:pt x="19633" y="2241"/>
                  </a:cubicBezTo>
                  <a:cubicBezTo>
                    <a:pt x="19476" y="2006"/>
                    <a:pt x="19175" y="1858"/>
                    <a:pt x="18954" y="1914"/>
                  </a:cubicBezTo>
                  <a:cubicBezTo>
                    <a:pt x="18732" y="1978"/>
                    <a:pt x="18356" y="2006"/>
                    <a:pt x="18119" y="1937"/>
                  </a:cubicBezTo>
                  <a:cubicBezTo>
                    <a:pt x="17880" y="1885"/>
                    <a:pt x="17510" y="1552"/>
                    <a:pt x="17293" y="1221"/>
                  </a:cubicBezTo>
                  <a:cubicBezTo>
                    <a:pt x="17079" y="888"/>
                    <a:pt x="16646" y="547"/>
                    <a:pt x="16333" y="492"/>
                  </a:cubicBezTo>
                  <a:cubicBezTo>
                    <a:pt x="16022" y="424"/>
                    <a:pt x="15626" y="227"/>
                    <a:pt x="15448" y="71"/>
                  </a:cubicBezTo>
                  <a:cubicBezTo>
                    <a:pt x="15274" y="-93"/>
                    <a:pt x="15077" y="35"/>
                    <a:pt x="15024" y="361"/>
                  </a:cubicBezTo>
                  <a:cubicBezTo>
                    <a:pt x="14964" y="681"/>
                    <a:pt x="14857" y="1084"/>
                    <a:pt x="14773" y="1230"/>
                  </a:cubicBezTo>
                  <a:cubicBezTo>
                    <a:pt x="14688" y="1376"/>
                    <a:pt x="14631" y="1730"/>
                    <a:pt x="14619" y="1996"/>
                  </a:cubicBezTo>
                  <a:cubicBezTo>
                    <a:pt x="14619" y="2263"/>
                    <a:pt x="14419" y="2485"/>
                    <a:pt x="14188" y="2471"/>
                  </a:cubicBezTo>
                  <a:cubicBezTo>
                    <a:pt x="13956" y="2459"/>
                    <a:pt x="13704" y="2614"/>
                    <a:pt x="13628" y="2796"/>
                  </a:cubicBezTo>
                  <a:cubicBezTo>
                    <a:pt x="13553" y="2975"/>
                    <a:pt x="13131" y="2666"/>
                    <a:pt x="12687" y="2097"/>
                  </a:cubicBezTo>
                  <a:cubicBezTo>
                    <a:pt x="12238" y="1550"/>
                    <a:pt x="11781" y="1027"/>
                    <a:pt x="11660" y="990"/>
                  </a:cubicBezTo>
                  <a:cubicBezTo>
                    <a:pt x="11537" y="961"/>
                    <a:pt x="11437" y="1182"/>
                    <a:pt x="11401" y="1493"/>
                  </a:cubicBezTo>
                  <a:cubicBezTo>
                    <a:pt x="11388" y="1814"/>
                    <a:pt x="11372" y="2364"/>
                    <a:pt x="11397" y="2717"/>
                  </a:cubicBezTo>
                  <a:cubicBezTo>
                    <a:pt x="11410" y="3072"/>
                    <a:pt x="11320" y="3345"/>
                    <a:pt x="11183" y="3331"/>
                  </a:cubicBezTo>
                  <a:cubicBezTo>
                    <a:pt x="11048" y="3318"/>
                    <a:pt x="10862" y="3582"/>
                    <a:pt x="10775" y="3922"/>
                  </a:cubicBezTo>
                  <a:cubicBezTo>
                    <a:pt x="10685" y="4264"/>
                    <a:pt x="10453" y="4688"/>
                    <a:pt x="10261" y="4873"/>
                  </a:cubicBezTo>
                  <a:cubicBezTo>
                    <a:pt x="10067" y="5047"/>
                    <a:pt x="9742" y="5686"/>
                    <a:pt x="9521" y="6252"/>
                  </a:cubicBezTo>
                  <a:cubicBezTo>
                    <a:pt x="9313" y="6842"/>
                    <a:pt x="9144" y="7497"/>
                    <a:pt x="9144" y="7732"/>
                  </a:cubicBezTo>
                  <a:cubicBezTo>
                    <a:pt x="9144" y="7964"/>
                    <a:pt x="9334" y="8348"/>
                    <a:pt x="9548" y="8597"/>
                  </a:cubicBezTo>
                  <a:cubicBezTo>
                    <a:pt x="9767" y="8824"/>
                    <a:pt x="9963" y="9321"/>
                    <a:pt x="10002" y="9659"/>
                  </a:cubicBezTo>
                  <a:cubicBezTo>
                    <a:pt x="10027" y="10003"/>
                    <a:pt x="9994" y="10375"/>
                    <a:pt x="9909" y="10495"/>
                  </a:cubicBezTo>
                  <a:cubicBezTo>
                    <a:pt x="9828" y="10622"/>
                    <a:pt x="9598" y="10494"/>
                    <a:pt x="9398" y="10247"/>
                  </a:cubicBezTo>
                  <a:cubicBezTo>
                    <a:pt x="9203" y="9979"/>
                    <a:pt x="8881" y="9859"/>
                    <a:pt x="8691" y="9956"/>
                  </a:cubicBezTo>
                  <a:cubicBezTo>
                    <a:pt x="8504" y="10047"/>
                    <a:pt x="8183" y="10020"/>
                    <a:pt x="7981" y="9877"/>
                  </a:cubicBezTo>
                  <a:cubicBezTo>
                    <a:pt x="7779" y="9733"/>
                    <a:pt x="7502" y="9623"/>
                    <a:pt x="7365" y="9668"/>
                  </a:cubicBezTo>
                  <a:cubicBezTo>
                    <a:pt x="7229" y="9695"/>
                    <a:pt x="6900" y="9997"/>
                    <a:pt x="6637" y="10344"/>
                  </a:cubicBezTo>
                  <a:cubicBezTo>
                    <a:pt x="6375" y="10699"/>
                    <a:pt x="6032" y="11011"/>
                    <a:pt x="5884" y="11065"/>
                  </a:cubicBezTo>
                  <a:cubicBezTo>
                    <a:pt x="5737" y="11119"/>
                    <a:pt x="5503" y="11061"/>
                    <a:pt x="5360" y="10961"/>
                  </a:cubicBezTo>
                  <a:cubicBezTo>
                    <a:pt x="5223" y="10839"/>
                    <a:pt x="4986" y="10838"/>
                    <a:pt x="4837" y="10882"/>
                  </a:cubicBezTo>
                  <a:cubicBezTo>
                    <a:pt x="4690" y="10944"/>
                    <a:pt x="4465" y="10839"/>
                    <a:pt x="4333" y="10667"/>
                  </a:cubicBezTo>
                  <a:cubicBezTo>
                    <a:pt x="4203" y="10483"/>
                    <a:pt x="3904" y="10229"/>
                    <a:pt x="3663" y="10150"/>
                  </a:cubicBezTo>
                  <a:cubicBezTo>
                    <a:pt x="3422" y="10052"/>
                    <a:pt x="3038" y="9985"/>
                    <a:pt x="2807" y="10038"/>
                  </a:cubicBezTo>
                  <a:cubicBezTo>
                    <a:pt x="2576" y="10079"/>
                    <a:pt x="2408" y="10320"/>
                    <a:pt x="2432" y="10570"/>
                  </a:cubicBezTo>
                  <a:cubicBezTo>
                    <a:pt x="2467" y="10812"/>
                    <a:pt x="2430" y="11132"/>
                    <a:pt x="2379" y="11274"/>
                  </a:cubicBezTo>
                  <a:cubicBezTo>
                    <a:pt x="2320" y="11403"/>
                    <a:pt x="2099" y="11419"/>
                    <a:pt x="1877" y="11270"/>
                  </a:cubicBezTo>
                  <a:cubicBezTo>
                    <a:pt x="1654" y="11147"/>
                    <a:pt x="1367" y="10791"/>
                    <a:pt x="1247" y="10499"/>
                  </a:cubicBezTo>
                  <a:cubicBezTo>
                    <a:pt x="1133" y="10193"/>
                    <a:pt x="891" y="10062"/>
                    <a:pt x="739" y="10173"/>
                  </a:cubicBezTo>
                  <a:cubicBezTo>
                    <a:pt x="583" y="10265"/>
                    <a:pt x="380" y="10455"/>
                    <a:pt x="280" y="10538"/>
                  </a:cubicBezTo>
                  <a:cubicBezTo>
                    <a:pt x="181" y="10634"/>
                    <a:pt x="61" y="10706"/>
                    <a:pt x="17" y="10706"/>
                  </a:cubicBezTo>
                  <a:cubicBezTo>
                    <a:pt x="-29" y="10706"/>
                    <a:pt x="23" y="10841"/>
                    <a:pt x="136" y="10995"/>
                  </a:cubicBezTo>
                  <a:cubicBezTo>
                    <a:pt x="247" y="11156"/>
                    <a:pt x="340" y="11500"/>
                    <a:pt x="328" y="11754"/>
                  </a:cubicBezTo>
                  <a:cubicBezTo>
                    <a:pt x="328" y="12009"/>
                    <a:pt x="404" y="12348"/>
                    <a:pt x="504" y="12527"/>
                  </a:cubicBezTo>
                  <a:cubicBezTo>
                    <a:pt x="606" y="12702"/>
                    <a:pt x="705" y="13113"/>
                    <a:pt x="693" y="13450"/>
                  </a:cubicBezTo>
                  <a:cubicBezTo>
                    <a:pt x="704" y="13772"/>
                    <a:pt x="799" y="14058"/>
                    <a:pt x="930" y="14106"/>
                  </a:cubicBezTo>
                  <a:cubicBezTo>
                    <a:pt x="1116" y="14122"/>
                    <a:pt x="1304" y="14090"/>
                    <a:pt x="1387" y="14023"/>
                  </a:cubicBezTo>
                  <a:cubicBezTo>
                    <a:pt x="1494" y="13943"/>
                    <a:pt x="1737" y="14188"/>
                    <a:pt x="1924" y="14572"/>
                  </a:cubicBezTo>
                  <a:cubicBezTo>
                    <a:pt x="2119" y="14945"/>
                    <a:pt x="2388" y="15043"/>
                    <a:pt x="2534" y="14775"/>
                  </a:cubicBezTo>
                  <a:cubicBezTo>
                    <a:pt x="2675" y="14494"/>
                    <a:pt x="2910" y="14289"/>
                    <a:pt x="3047" y="14302"/>
                  </a:cubicBezTo>
                  <a:cubicBezTo>
                    <a:pt x="3187" y="14318"/>
                    <a:pt x="3364" y="14578"/>
                    <a:pt x="3438" y="14888"/>
                  </a:cubicBezTo>
                  <a:cubicBezTo>
                    <a:pt x="3509" y="15205"/>
                    <a:pt x="3585" y="15442"/>
                    <a:pt x="3585" y="15428"/>
                  </a:cubicBezTo>
                  <a:cubicBezTo>
                    <a:pt x="3591" y="15428"/>
                    <a:pt x="3833" y="15651"/>
                    <a:pt x="4130" y="15938"/>
                  </a:cubicBezTo>
                  <a:cubicBezTo>
                    <a:pt x="4426" y="16223"/>
                    <a:pt x="5024" y="16046"/>
                    <a:pt x="5464" y="15549"/>
                  </a:cubicBezTo>
                  <a:cubicBezTo>
                    <a:pt x="5904" y="15050"/>
                    <a:pt x="6417" y="14731"/>
                    <a:pt x="6607" y="14861"/>
                  </a:cubicBezTo>
                  <a:cubicBezTo>
                    <a:pt x="6801" y="14955"/>
                    <a:pt x="7197" y="15064"/>
                    <a:pt x="7496" y="15051"/>
                  </a:cubicBezTo>
                  <a:cubicBezTo>
                    <a:pt x="7794" y="15039"/>
                    <a:pt x="8020" y="15310"/>
                    <a:pt x="8008" y="15675"/>
                  </a:cubicBezTo>
                  <a:cubicBezTo>
                    <a:pt x="7996" y="16039"/>
                    <a:pt x="8338" y="16799"/>
                    <a:pt x="8772" y="17372"/>
                  </a:cubicBezTo>
                  <a:cubicBezTo>
                    <a:pt x="9207" y="17945"/>
                    <a:pt x="9998" y="18633"/>
                    <a:pt x="10527" y="18897"/>
                  </a:cubicBezTo>
                  <a:cubicBezTo>
                    <a:pt x="11053" y="19180"/>
                    <a:pt x="11718" y="19362"/>
                    <a:pt x="12004" y="19348"/>
                  </a:cubicBezTo>
                  <a:cubicBezTo>
                    <a:pt x="12288" y="19322"/>
                    <a:pt x="12621" y="19530"/>
                    <a:pt x="12754" y="19769"/>
                  </a:cubicBezTo>
                  <a:cubicBezTo>
                    <a:pt x="12885" y="20016"/>
                    <a:pt x="12992" y="20226"/>
                    <a:pt x="12992" y="20226"/>
                  </a:cubicBezTo>
                  <a:cubicBezTo>
                    <a:pt x="12992" y="20226"/>
                    <a:pt x="13102" y="20276"/>
                    <a:pt x="13237" y="20316"/>
                  </a:cubicBezTo>
                  <a:cubicBezTo>
                    <a:pt x="13374" y="20358"/>
                    <a:pt x="13800" y="20432"/>
                    <a:pt x="14184" y="20472"/>
                  </a:cubicBezTo>
                  <a:cubicBezTo>
                    <a:pt x="14568" y="20513"/>
                    <a:pt x="14978" y="20790"/>
                    <a:pt x="15098" y="21082"/>
                  </a:cubicBezTo>
                  <a:cubicBezTo>
                    <a:pt x="15211" y="21385"/>
                    <a:pt x="15477" y="21507"/>
                    <a:pt x="15675" y="21354"/>
                  </a:cubicBezTo>
                  <a:cubicBezTo>
                    <a:pt x="15875" y="21216"/>
                    <a:pt x="16188" y="21101"/>
                    <a:pt x="16373" y="21127"/>
                  </a:cubicBezTo>
                  <a:cubicBezTo>
                    <a:pt x="16558" y="21154"/>
                    <a:pt x="16863" y="21031"/>
                    <a:pt x="17053" y="20865"/>
                  </a:cubicBezTo>
                  <a:cubicBezTo>
                    <a:pt x="17244" y="20708"/>
                    <a:pt x="17496" y="20543"/>
                    <a:pt x="17618" y="20530"/>
                  </a:cubicBezTo>
                  <a:cubicBezTo>
                    <a:pt x="17741" y="20530"/>
                    <a:pt x="17913" y="20527"/>
                    <a:pt x="18003" y="20555"/>
                  </a:cubicBezTo>
                  <a:cubicBezTo>
                    <a:pt x="18092" y="20597"/>
                    <a:pt x="18459" y="20285"/>
                    <a:pt x="18821" y="19888"/>
                  </a:cubicBezTo>
                  <a:cubicBezTo>
                    <a:pt x="19180" y="19493"/>
                    <a:pt x="19638" y="19065"/>
                    <a:pt x="19842" y="18954"/>
                  </a:cubicBezTo>
                  <a:cubicBezTo>
                    <a:pt x="19845" y="18951"/>
                    <a:pt x="19851" y="18955"/>
                    <a:pt x="19855" y="18953"/>
                  </a:cubicBezTo>
                  <a:cubicBezTo>
                    <a:pt x="19871" y="18942"/>
                    <a:pt x="19895" y="18924"/>
                    <a:pt x="19910" y="18915"/>
                  </a:cubicBezTo>
                  <a:cubicBezTo>
                    <a:pt x="20150" y="18783"/>
                    <a:pt x="20447" y="18394"/>
                    <a:pt x="20566" y="18053"/>
                  </a:cubicBezTo>
                  <a:close/>
                  <a:moveTo>
                    <a:pt x="20566" y="180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599" name="AutoShape 598"/>
            <p:cNvSpPr>
              <a:spLocks/>
            </p:cNvSpPr>
            <p:nvPr/>
          </p:nvSpPr>
          <p:spPr bwMode="auto">
            <a:xfrm>
              <a:off x="8089900" y="3022600"/>
              <a:ext cx="0" cy="0"/>
            </a:xfrm>
            <a:custGeom>
              <a:avLst/>
              <a:gdLst/>
              <a:ahLst/>
              <a:cxnLst/>
              <a:rect l="0" t="0" r="r" b="b"/>
              <a:pathLst>
                <a:path w="21600" h="21600">
                  <a:moveTo>
                    <a:pt x="21600" y="21600"/>
                  </a:moveTo>
                  <a:cubicBezTo>
                    <a:pt x="21600" y="15232"/>
                    <a:pt x="7353" y="6393"/>
                    <a:pt x="7353" y="0"/>
                  </a:cubicBezTo>
                  <a:lnTo>
                    <a:pt x="0" y="1648"/>
                  </a:lnTo>
                  <a:cubicBezTo>
                    <a:pt x="7353" y="6393"/>
                    <a:pt x="15166" y="16031"/>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0" name="AutoShape 599"/>
            <p:cNvSpPr>
              <a:spLocks/>
            </p:cNvSpPr>
            <p:nvPr/>
          </p:nvSpPr>
          <p:spPr bwMode="auto">
            <a:xfrm>
              <a:off x="8077200" y="2997200"/>
              <a:ext cx="1588" cy="15875"/>
            </a:xfrm>
            <a:custGeom>
              <a:avLst/>
              <a:gdLst/>
              <a:ahLst/>
              <a:cxnLst/>
              <a:rect l="0" t="0" r="r" b="b"/>
              <a:pathLst>
                <a:path w="21600" h="21600">
                  <a:moveTo>
                    <a:pt x="21600" y="21600"/>
                  </a:moveTo>
                  <a:cubicBezTo>
                    <a:pt x="9314" y="13490"/>
                    <a:pt x="0" y="4343"/>
                    <a:pt x="0" y="0"/>
                  </a:cubicBezTo>
                  <a:cubicBezTo>
                    <a:pt x="0" y="4944"/>
                    <a:pt x="9314" y="14431"/>
                    <a:pt x="20242" y="21077"/>
                  </a:cubicBezTo>
                  <a:cubicBezTo>
                    <a:pt x="20482" y="21244"/>
                    <a:pt x="21235" y="21433"/>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1" name="AutoShape 600"/>
            <p:cNvSpPr>
              <a:spLocks/>
            </p:cNvSpPr>
            <p:nvPr/>
          </p:nvSpPr>
          <p:spPr bwMode="auto">
            <a:xfrm>
              <a:off x="8039100" y="3086100"/>
              <a:ext cx="14288" cy="6350"/>
            </a:xfrm>
            <a:custGeom>
              <a:avLst/>
              <a:gdLst/>
              <a:ahLst/>
              <a:cxnLst/>
              <a:rect l="0" t="0" r="r" b="b"/>
              <a:pathLst>
                <a:path w="21600" h="21563">
                  <a:moveTo>
                    <a:pt x="0" y="21563"/>
                  </a:moveTo>
                  <a:cubicBezTo>
                    <a:pt x="7033" y="13026"/>
                    <a:pt x="16295" y="3681"/>
                    <a:pt x="21600" y="1"/>
                  </a:cubicBezTo>
                  <a:cubicBezTo>
                    <a:pt x="21514" y="43"/>
                    <a:pt x="21395" y="-37"/>
                    <a:pt x="21326" y="23"/>
                  </a:cubicBezTo>
                  <a:cubicBezTo>
                    <a:pt x="17064" y="2600"/>
                    <a:pt x="7497" y="12465"/>
                    <a:pt x="0" y="21563"/>
                  </a:cubicBezTo>
                  <a:close/>
                  <a:moveTo>
                    <a:pt x="0" y="215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2" name="AutoShape 601"/>
            <p:cNvSpPr>
              <a:spLocks/>
            </p:cNvSpPr>
            <p:nvPr/>
          </p:nvSpPr>
          <p:spPr bwMode="auto">
            <a:xfrm>
              <a:off x="7924800" y="2628900"/>
              <a:ext cx="423863" cy="342900"/>
            </a:xfrm>
            <a:custGeom>
              <a:avLst/>
              <a:gdLst/>
              <a:ahLst/>
              <a:cxnLst/>
              <a:rect l="0" t="0" r="r" b="b"/>
              <a:pathLst>
                <a:path w="21587" h="21548">
                  <a:moveTo>
                    <a:pt x="308" y="6171"/>
                  </a:moveTo>
                  <a:cubicBezTo>
                    <a:pt x="134" y="6261"/>
                    <a:pt x="0" y="6415"/>
                    <a:pt x="0" y="6515"/>
                  </a:cubicBezTo>
                  <a:cubicBezTo>
                    <a:pt x="9" y="6615"/>
                    <a:pt x="182" y="6912"/>
                    <a:pt x="400" y="7165"/>
                  </a:cubicBezTo>
                  <a:cubicBezTo>
                    <a:pt x="617" y="7421"/>
                    <a:pt x="773" y="7753"/>
                    <a:pt x="763" y="7900"/>
                  </a:cubicBezTo>
                  <a:cubicBezTo>
                    <a:pt x="745" y="8044"/>
                    <a:pt x="816" y="8286"/>
                    <a:pt x="921" y="8428"/>
                  </a:cubicBezTo>
                  <a:cubicBezTo>
                    <a:pt x="1023" y="8572"/>
                    <a:pt x="1108" y="8782"/>
                    <a:pt x="1117" y="8893"/>
                  </a:cubicBezTo>
                  <a:cubicBezTo>
                    <a:pt x="1126" y="9003"/>
                    <a:pt x="1181" y="9225"/>
                    <a:pt x="1247" y="9383"/>
                  </a:cubicBezTo>
                  <a:cubicBezTo>
                    <a:pt x="1312" y="9542"/>
                    <a:pt x="1324" y="9769"/>
                    <a:pt x="1284" y="9894"/>
                  </a:cubicBezTo>
                  <a:cubicBezTo>
                    <a:pt x="1245" y="10020"/>
                    <a:pt x="1309" y="10377"/>
                    <a:pt x="1448" y="10686"/>
                  </a:cubicBezTo>
                  <a:cubicBezTo>
                    <a:pt x="1578" y="11002"/>
                    <a:pt x="1768" y="11301"/>
                    <a:pt x="1854" y="11367"/>
                  </a:cubicBezTo>
                  <a:cubicBezTo>
                    <a:pt x="1940" y="11432"/>
                    <a:pt x="2084" y="11578"/>
                    <a:pt x="2167" y="11699"/>
                  </a:cubicBezTo>
                  <a:cubicBezTo>
                    <a:pt x="2253" y="11817"/>
                    <a:pt x="2347" y="12242"/>
                    <a:pt x="2376" y="12638"/>
                  </a:cubicBezTo>
                  <a:cubicBezTo>
                    <a:pt x="2403" y="13035"/>
                    <a:pt x="2405" y="13407"/>
                    <a:pt x="2376" y="13472"/>
                  </a:cubicBezTo>
                  <a:cubicBezTo>
                    <a:pt x="2343" y="13533"/>
                    <a:pt x="2364" y="13686"/>
                    <a:pt x="2418" y="13807"/>
                  </a:cubicBezTo>
                  <a:cubicBezTo>
                    <a:pt x="2478" y="13925"/>
                    <a:pt x="2558" y="13971"/>
                    <a:pt x="2611" y="13900"/>
                  </a:cubicBezTo>
                  <a:cubicBezTo>
                    <a:pt x="2666" y="13833"/>
                    <a:pt x="2798" y="13797"/>
                    <a:pt x="2911" y="13831"/>
                  </a:cubicBezTo>
                  <a:cubicBezTo>
                    <a:pt x="3023" y="13866"/>
                    <a:pt x="3168" y="13870"/>
                    <a:pt x="3229" y="13832"/>
                  </a:cubicBezTo>
                  <a:cubicBezTo>
                    <a:pt x="3291" y="13804"/>
                    <a:pt x="3558" y="13820"/>
                    <a:pt x="3823" y="13896"/>
                  </a:cubicBezTo>
                  <a:cubicBezTo>
                    <a:pt x="4088" y="13966"/>
                    <a:pt x="4300" y="14089"/>
                    <a:pt x="4300" y="14174"/>
                  </a:cubicBezTo>
                  <a:cubicBezTo>
                    <a:pt x="4300" y="14260"/>
                    <a:pt x="4393" y="14439"/>
                    <a:pt x="4509" y="14588"/>
                  </a:cubicBezTo>
                  <a:cubicBezTo>
                    <a:pt x="4626" y="14732"/>
                    <a:pt x="4812" y="14844"/>
                    <a:pt x="4915" y="14832"/>
                  </a:cubicBezTo>
                  <a:cubicBezTo>
                    <a:pt x="5018" y="14820"/>
                    <a:pt x="5186" y="14903"/>
                    <a:pt x="5287" y="15005"/>
                  </a:cubicBezTo>
                  <a:cubicBezTo>
                    <a:pt x="5384" y="15112"/>
                    <a:pt x="5421" y="15319"/>
                    <a:pt x="5374" y="15482"/>
                  </a:cubicBezTo>
                  <a:cubicBezTo>
                    <a:pt x="5316" y="15639"/>
                    <a:pt x="5323" y="15850"/>
                    <a:pt x="5379" y="15943"/>
                  </a:cubicBezTo>
                  <a:cubicBezTo>
                    <a:pt x="5437" y="16036"/>
                    <a:pt x="5520" y="16145"/>
                    <a:pt x="5570" y="16175"/>
                  </a:cubicBezTo>
                  <a:cubicBezTo>
                    <a:pt x="5621" y="16201"/>
                    <a:pt x="5673" y="16353"/>
                    <a:pt x="5663" y="16496"/>
                  </a:cubicBezTo>
                  <a:cubicBezTo>
                    <a:pt x="5663" y="16640"/>
                    <a:pt x="5743" y="16794"/>
                    <a:pt x="5831" y="16849"/>
                  </a:cubicBezTo>
                  <a:cubicBezTo>
                    <a:pt x="5925" y="16889"/>
                    <a:pt x="6039" y="16877"/>
                    <a:pt x="6099" y="16813"/>
                  </a:cubicBezTo>
                  <a:cubicBezTo>
                    <a:pt x="6156" y="16743"/>
                    <a:pt x="6269" y="16685"/>
                    <a:pt x="6352" y="16696"/>
                  </a:cubicBezTo>
                  <a:cubicBezTo>
                    <a:pt x="6435" y="16703"/>
                    <a:pt x="6376" y="16508"/>
                    <a:pt x="6210" y="16273"/>
                  </a:cubicBezTo>
                  <a:cubicBezTo>
                    <a:pt x="6045" y="16035"/>
                    <a:pt x="5959" y="15796"/>
                    <a:pt x="6020" y="15759"/>
                  </a:cubicBezTo>
                  <a:cubicBezTo>
                    <a:pt x="6079" y="15718"/>
                    <a:pt x="6381" y="15857"/>
                    <a:pt x="6694" y="16080"/>
                  </a:cubicBezTo>
                  <a:cubicBezTo>
                    <a:pt x="7008" y="16297"/>
                    <a:pt x="7416" y="16474"/>
                    <a:pt x="7605" y="16461"/>
                  </a:cubicBezTo>
                  <a:cubicBezTo>
                    <a:pt x="7791" y="16449"/>
                    <a:pt x="7920" y="16544"/>
                    <a:pt x="7900" y="16673"/>
                  </a:cubicBezTo>
                  <a:cubicBezTo>
                    <a:pt x="7873" y="16798"/>
                    <a:pt x="7977" y="17018"/>
                    <a:pt x="8123" y="17161"/>
                  </a:cubicBezTo>
                  <a:cubicBezTo>
                    <a:pt x="8267" y="17305"/>
                    <a:pt x="8581" y="17388"/>
                    <a:pt x="8817" y="17340"/>
                  </a:cubicBezTo>
                  <a:cubicBezTo>
                    <a:pt x="9051" y="17285"/>
                    <a:pt x="9403" y="17335"/>
                    <a:pt x="9596" y="17418"/>
                  </a:cubicBezTo>
                  <a:cubicBezTo>
                    <a:pt x="9789" y="17508"/>
                    <a:pt x="10281" y="17875"/>
                    <a:pt x="10686" y="18242"/>
                  </a:cubicBezTo>
                  <a:cubicBezTo>
                    <a:pt x="11088" y="18614"/>
                    <a:pt x="11536" y="19115"/>
                    <a:pt x="11670" y="19370"/>
                  </a:cubicBezTo>
                  <a:cubicBezTo>
                    <a:pt x="11800" y="19628"/>
                    <a:pt x="12006" y="19840"/>
                    <a:pt x="12115" y="19863"/>
                  </a:cubicBezTo>
                  <a:cubicBezTo>
                    <a:pt x="12225" y="19873"/>
                    <a:pt x="12369" y="19843"/>
                    <a:pt x="12407" y="19761"/>
                  </a:cubicBezTo>
                  <a:cubicBezTo>
                    <a:pt x="12455" y="19689"/>
                    <a:pt x="12638" y="19646"/>
                    <a:pt x="12807" y="19671"/>
                  </a:cubicBezTo>
                  <a:cubicBezTo>
                    <a:pt x="12976" y="19694"/>
                    <a:pt x="13195" y="19821"/>
                    <a:pt x="13303" y="19944"/>
                  </a:cubicBezTo>
                  <a:cubicBezTo>
                    <a:pt x="13401" y="20077"/>
                    <a:pt x="13539" y="20334"/>
                    <a:pt x="13577" y="20534"/>
                  </a:cubicBezTo>
                  <a:cubicBezTo>
                    <a:pt x="13577" y="20536"/>
                    <a:pt x="13578" y="20537"/>
                    <a:pt x="13579" y="20539"/>
                  </a:cubicBezTo>
                  <a:cubicBezTo>
                    <a:pt x="13579" y="20542"/>
                    <a:pt x="13580" y="20545"/>
                    <a:pt x="13581" y="20548"/>
                  </a:cubicBezTo>
                  <a:cubicBezTo>
                    <a:pt x="13581" y="20548"/>
                    <a:pt x="13581" y="20549"/>
                    <a:pt x="13581" y="20549"/>
                  </a:cubicBezTo>
                  <a:cubicBezTo>
                    <a:pt x="13627" y="20741"/>
                    <a:pt x="13692" y="20916"/>
                    <a:pt x="13729" y="20939"/>
                  </a:cubicBezTo>
                  <a:cubicBezTo>
                    <a:pt x="13761" y="20966"/>
                    <a:pt x="13890" y="20984"/>
                    <a:pt x="14008" y="20996"/>
                  </a:cubicBezTo>
                  <a:cubicBezTo>
                    <a:pt x="14127" y="20990"/>
                    <a:pt x="14271" y="20893"/>
                    <a:pt x="14343" y="20771"/>
                  </a:cubicBezTo>
                  <a:cubicBezTo>
                    <a:pt x="14410" y="20641"/>
                    <a:pt x="14547" y="20514"/>
                    <a:pt x="14642" y="20479"/>
                  </a:cubicBezTo>
                  <a:cubicBezTo>
                    <a:pt x="14740" y="20449"/>
                    <a:pt x="14901" y="20445"/>
                    <a:pt x="14999" y="20463"/>
                  </a:cubicBezTo>
                  <a:cubicBezTo>
                    <a:pt x="15099" y="20480"/>
                    <a:pt x="15301" y="20519"/>
                    <a:pt x="15451" y="20531"/>
                  </a:cubicBezTo>
                  <a:cubicBezTo>
                    <a:pt x="15602" y="20542"/>
                    <a:pt x="15798" y="20631"/>
                    <a:pt x="15894" y="20707"/>
                  </a:cubicBezTo>
                  <a:cubicBezTo>
                    <a:pt x="15987" y="20790"/>
                    <a:pt x="16124" y="20783"/>
                    <a:pt x="16197" y="20693"/>
                  </a:cubicBezTo>
                  <a:cubicBezTo>
                    <a:pt x="16271" y="20606"/>
                    <a:pt x="16412" y="20530"/>
                    <a:pt x="16513" y="20518"/>
                  </a:cubicBezTo>
                  <a:cubicBezTo>
                    <a:pt x="16612" y="20506"/>
                    <a:pt x="16779" y="20555"/>
                    <a:pt x="16879" y="20622"/>
                  </a:cubicBezTo>
                  <a:cubicBezTo>
                    <a:pt x="16979" y="20690"/>
                    <a:pt x="17125" y="20710"/>
                    <a:pt x="17201" y="20675"/>
                  </a:cubicBezTo>
                  <a:cubicBezTo>
                    <a:pt x="17279" y="20649"/>
                    <a:pt x="17532" y="20644"/>
                    <a:pt x="17768" y="20673"/>
                  </a:cubicBezTo>
                  <a:cubicBezTo>
                    <a:pt x="18003" y="20710"/>
                    <a:pt x="18420" y="20905"/>
                    <a:pt x="18691" y="21118"/>
                  </a:cubicBezTo>
                  <a:cubicBezTo>
                    <a:pt x="18963" y="21326"/>
                    <a:pt x="19295" y="21522"/>
                    <a:pt x="19431" y="21546"/>
                  </a:cubicBezTo>
                  <a:cubicBezTo>
                    <a:pt x="19566" y="21564"/>
                    <a:pt x="19663" y="21406"/>
                    <a:pt x="19663" y="21180"/>
                  </a:cubicBezTo>
                  <a:cubicBezTo>
                    <a:pt x="19663" y="20953"/>
                    <a:pt x="19614" y="20599"/>
                    <a:pt x="19576" y="20389"/>
                  </a:cubicBezTo>
                  <a:cubicBezTo>
                    <a:pt x="19520" y="20187"/>
                    <a:pt x="19781" y="19626"/>
                    <a:pt x="20123" y="19157"/>
                  </a:cubicBezTo>
                  <a:cubicBezTo>
                    <a:pt x="20470" y="18693"/>
                    <a:pt x="20770" y="18127"/>
                    <a:pt x="20809" y="17910"/>
                  </a:cubicBezTo>
                  <a:cubicBezTo>
                    <a:pt x="20838" y="17689"/>
                    <a:pt x="20946" y="17426"/>
                    <a:pt x="21029" y="17318"/>
                  </a:cubicBezTo>
                  <a:cubicBezTo>
                    <a:pt x="21114" y="17212"/>
                    <a:pt x="21266" y="17136"/>
                    <a:pt x="21367" y="17136"/>
                  </a:cubicBezTo>
                  <a:cubicBezTo>
                    <a:pt x="21468" y="17136"/>
                    <a:pt x="21563" y="16970"/>
                    <a:pt x="21582" y="16755"/>
                  </a:cubicBezTo>
                  <a:cubicBezTo>
                    <a:pt x="21600" y="16539"/>
                    <a:pt x="21574" y="16284"/>
                    <a:pt x="21520" y="16189"/>
                  </a:cubicBezTo>
                  <a:cubicBezTo>
                    <a:pt x="21475" y="16089"/>
                    <a:pt x="21398" y="15923"/>
                    <a:pt x="21379" y="15804"/>
                  </a:cubicBezTo>
                  <a:cubicBezTo>
                    <a:pt x="21352" y="15688"/>
                    <a:pt x="21377" y="15537"/>
                    <a:pt x="21415" y="15454"/>
                  </a:cubicBezTo>
                  <a:cubicBezTo>
                    <a:pt x="21453" y="15371"/>
                    <a:pt x="21372" y="15208"/>
                    <a:pt x="21215" y="15083"/>
                  </a:cubicBezTo>
                  <a:cubicBezTo>
                    <a:pt x="21060" y="14951"/>
                    <a:pt x="20857" y="14667"/>
                    <a:pt x="20770" y="14445"/>
                  </a:cubicBezTo>
                  <a:cubicBezTo>
                    <a:pt x="20694" y="14216"/>
                    <a:pt x="20546" y="13950"/>
                    <a:pt x="20457" y="13851"/>
                  </a:cubicBezTo>
                  <a:cubicBezTo>
                    <a:pt x="20377" y="13740"/>
                    <a:pt x="20280" y="13387"/>
                    <a:pt x="20242" y="13052"/>
                  </a:cubicBezTo>
                  <a:cubicBezTo>
                    <a:pt x="20231" y="12866"/>
                    <a:pt x="20213" y="12656"/>
                    <a:pt x="20199" y="12469"/>
                  </a:cubicBezTo>
                  <a:cubicBezTo>
                    <a:pt x="20190" y="12362"/>
                    <a:pt x="20182" y="12270"/>
                    <a:pt x="20178" y="12223"/>
                  </a:cubicBezTo>
                  <a:cubicBezTo>
                    <a:pt x="20178" y="12215"/>
                    <a:pt x="20181" y="12208"/>
                    <a:pt x="20182" y="12200"/>
                  </a:cubicBezTo>
                  <a:cubicBezTo>
                    <a:pt x="20180" y="12163"/>
                    <a:pt x="20177" y="12122"/>
                    <a:pt x="20177" y="12094"/>
                  </a:cubicBezTo>
                  <a:cubicBezTo>
                    <a:pt x="20177" y="11902"/>
                    <a:pt x="20064" y="11535"/>
                    <a:pt x="19914" y="11291"/>
                  </a:cubicBezTo>
                  <a:cubicBezTo>
                    <a:pt x="19775" y="11039"/>
                    <a:pt x="19600" y="10659"/>
                    <a:pt x="19535" y="10440"/>
                  </a:cubicBezTo>
                  <a:cubicBezTo>
                    <a:pt x="19468" y="10222"/>
                    <a:pt x="19473" y="9901"/>
                    <a:pt x="19557" y="9741"/>
                  </a:cubicBezTo>
                  <a:cubicBezTo>
                    <a:pt x="19632" y="9573"/>
                    <a:pt x="19796" y="9408"/>
                    <a:pt x="19916" y="9374"/>
                  </a:cubicBezTo>
                  <a:cubicBezTo>
                    <a:pt x="20035" y="9334"/>
                    <a:pt x="20084" y="8939"/>
                    <a:pt x="20056" y="8488"/>
                  </a:cubicBezTo>
                  <a:cubicBezTo>
                    <a:pt x="20018" y="8039"/>
                    <a:pt x="19918" y="7604"/>
                    <a:pt x="19840" y="7526"/>
                  </a:cubicBezTo>
                  <a:cubicBezTo>
                    <a:pt x="19766" y="7445"/>
                    <a:pt x="19666" y="7235"/>
                    <a:pt x="19628" y="7057"/>
                  </a:cubicBezTo>
                  <a:cubicBezTo>
                    <a:pt x="19573" y="6886"/>
                    <a:pt x="19475" y="6605"/>
                    <a:pt x="19379" y="6445"/>
                  </a:cubicBezTo>
                  <a:cubicBezTo>
                    <a:pt x="19283" y="6285"/>
                    <a:pt x="19109" y="5878"/>
                    <a:pt x="18985" y="5542"/>
                  </a:cubicBezTo>
                  <a:cubicBezTo>
                    <a:pt x="18866" y="5203"/>
                    <a:pt x="18670" y="4750"/>
                    <a:pt x="18543" y="4543"/>
                  </a:cubicBezTo>
                  <a:cubicBezTo>
                    <a:pt x="18528" y="4518"/>
                    <a:pt x="18514" y="4487"/>
                    <a:pt x="18499" y="4459"/>
                  </a:cubicBezTo>
                  <a:cubicBezTo>
                    <a:pt x="18494" y="4451"/>
                    <a:pt x="18487" y="4447"/>
                    <a:pt x="18482" y="4439"/>
                  </a:cubicBezTo>
                  <a:cubicBezTo>
                    <a:pt x="18390" y="4290"/>
                    <a:pt x="18301" y="4023"/>
                    <a:pt x="18309" y="3857"/>
                  </a:cubicBezTo>
                  <a:cubicBezTo>
                    <a:pt x="18309" y="3691"/>
                    <a:pt x="18223" y="3340"/>
                    <a:pt x="18140" y="3071"/>
                  </a:cubicBezTo>
                  <a:cubicBezTo>
                    <a:pt x="18053" y="2804"/>
                    <a:pt x="17911" y="2562"/>
                    <a:pt x="17825" y="2550"/>
                  </a:cubicBezTo>
                  <a:cubicBezTo>
                    <a:pt x="17744" y="2519"/>
                    <a:pt x="17550" y="2398"/>
                    <a:pt x="17405" y="2254"/>
                  </a:cubicBezTo>
                  <a:cubicBezTo>
                    <a:pt x="17256" y="2116"/>
                    <a:pt x="16486" y="1981"/>
                    <a:pt x="15685" y="1981"/>
                  </a:cubicBezTo>
                  <a:cubicBezTo>
                    <a:pt x="14883" y="1975"/>
                    <a:pt x="13582" y="1856"/>
                    <a:pt x="12793" y="1717"/>
                  </a:cubicBezTo>
                  <a:cubicBezTo>
                    <a:pt x="12000" y="1584"/>
                    <a:pt x="11297" y="1491"/>
                    <a:pt x="11226" y="1507"/>
                  </a:cubicBezTo>
                  <a:cubicBezTo>
                    <a:pt x="11158" y="1531"/>
                    <a:pt x="10944" y="1709"/>
                    <a:pt x="10746" y="1895"/>
                  </a:cubicBezTo>
                  <a:cubicBezTo>
                    <a:pt x="10552" y="2088"/>
                    <a:pt x="10246" y="2263"/>
                    <a:pt x="10070" y="2294"/>
                  </a:cubicBezTo>
                  <a:cubicBezTo>
                    <a:pt x="9893" y="2317"/>
                    <a:pt x="9710" y="2302"/>
                    <a:pt x="9657" y="2250"/>
                  </a:cubicBezTo>
                  <a:cubicBezTo>
                    <a:pt x="9603" y="2199"/>
                    <a:pt x="9705" y="2078"/>
                    <a:pt x="9877" y="1983"/>
                  </a:cubicBezTo>
                  <a:cubicBezTo>
                    <a:pt x="10048" y="1895"/>
                    <a:pt x="10311" y="1672"/>
                    <a:pt x="10461" y="1499"/>
                  </a:cubicBezTo>
                  <a:cubicBezTo>
                    <a:pt x="10610" y="1326"/>
                    <a:pt x="10686" y="1181"/>
                    <a:pt x="10630" y="1181"/>
                  </a:cubicBezTo>
                  <a:cubicBezTo>
                    <a:pt x="10574" y="1181"/>
                    <a:pt x="10427" y="1285"/>
                    <a:pt x="10309" y="1424"/>
                  </a:cubicBezTo>
                  <a:cubicBezTo>
                    <a:pt x="10187" y="1558"/>
                    <a:pt x="9910" y="1752"/>
                    <a:pt x="9687" y="1848"/>
                  </a:cubicBezTo>
                  <a:cubicBezTo>
                    <a:pt x="9467" y="1954"/>
                    <a:pt x="9057" y="1929"/>
                    <a:pt x="8780" y="1820"/>
                  </a:cubicBezTo>
                  <a:cubicBezTo>
                    <a:pt x="8501" y="1711"/>
                    <a:pt x="8208" y="1480"/>
                    <a:pt x="8150" y="1302"/>
                  </a:cubicBezTo>
                  <a:cubicBezTo>
                    <a:pt x="8068" y="1139"/>
                    <a:pt x="8050" y="897"/>
                    <a:pt x="8086" y="785"/>
                  </a:cubicBezTo>
                  <a:cubicBezTo>
                    <a:pt x="8124" y="675"/>
                    <a:pt x="8262" y="624"/>
                    <a:pt x="8407" y="647"/>
                  </a:cubicBezTo>
                  <a:cubicBezTo>
                    <a:pt x="8551" y="686"/>
                    <a:pt x="8724" y="761"/>
                    <a:pt x="8797" y="812"/>
                  </a:cubicBezTo>
                  <a:cubicBezTo>
                    <a:pt x="8867" y="866"/>
                    <a:pt x="8925" y="873"/>
                    <a:pt x="8925" y="826"/>
                  </a:cubicBezTo>
                  <a:cubicBezTo>
                    <a:pt x="8925" y="778"/>
                    <a:pt x="8781" y="640"/>
                    <a:pt x="8595" y="532"/>
                  </a:cubicBezTo>
                  <a:cubicBezTo>
                    <a:pt x="8414" y="419"/>
                    <a:pt x="8000" y="223"/>
                    <a:pt x="7674" y="100"/>
                  </a:cubicBezTo>
                  <a:cubicBezTo>
                    <a:pt x="7350" y="-27"/>
                    <a:pt x="6888" y="-36"/>
                    <a:pt x="6654" y="91"/>
                  </a:cubicBezTo>
                  <a:cubicBezTo>
                    <a:pt x="6415" y="205"/>
                    <a:pt x="6073" y="284"/>
                    <a:pt x="5892" y="245"/>
                  </a:cubicBezTo>
                  <a:cubicBezTo>
                    <a:pt x="5708" y="215"/>
                    <a:pt x="5412" y="235"/>
                    <a:pt x="5231" y="294"/>
                  </a:cubicBezTo>
                  <a:cubicBezTo>
                    <a:pt x="5052" y="362"/>
                    <a:pt x="4823" y="546"/>
                    <a:pt x="4716" y="707"/>
                  </a:cubicBezTo>
                  <a:cubicBezTo>
                    <a:pt x="4612" y="871"/>
                    <a:pt x="4381" y="992"/>
                    <a:pt x="4199" y="986"/>
                  </a:cubicBezTo>
                  <a:cubicBezTo>
                    <a:pt x="4016" y="975"/>
                    <a:pt x="3779" y="1070"/>
                    <a:pt x="3677" y="1208"/>
                  </a:cubicBezTo>
                  <a:cubicBezTo>
                    <a:pt x="3570" y="1340"/>
                    <a:pt x="3490" y="1544"/>
                    <a:pt x="3499" y="1656"/>
                  </a:cubicBezTo>
                  <a:cubicBezTo>
                    <a:pt x="3510" y="1769"/>
                    <a:pt x="3352" y="1850"/>
                    <a:pt x="3154" y="1838"/>
                  </a:cubicBezTo>
                  <a:cubicBezTo>
                    <a:pt x="2956" y="1832"/>
                    <a:pt x="2558" y="1935"/>
                    <a:pt x="2274" y="2098"/>
                  </a:cubicBezTo>
                  <a:cubicBezTo>
                    <a:pt x="1985" y="2254"/>
                    <a:pt x="1584" y="2380"/>
                    <a:pt x="1382" y="2380"/>
                  </a:cubicBezTo>
                  <a:cubicBezTo>
                    <a:pt x="1181" y="2386"/>
                    <a:pt x="969" y="2516"/>
                    <a:pt x="902" y="2680"/>
                  </a:cubicBezTo>
                  <a:cubicBezTo>
                    <a:pt x="848" y="2851"/>
                    <a:pt x="759" y="3122"/>
                    <a:pt x="721" y="3293"/>
                  </a:cubicBezTo>
                  <a:cubicBezTo>
                    <a:pt x="685" y="3463"/>
                    <a:pt x="617" y="3619"/>
                    <a:pt x="576" y="3644"/>
                  </a:cubicBezTo>
                  <a:cubicBezTo>
                    <a:pt x="535" y="3669"/>
                    <a:pt x="508" y="3745"/>
                    <a:pt x="525" y="3816"/>
                  </a:cubicBezTo>
                  <a:cubicBezTo>
                    <a:pt x="535" y="3888"/>
                    <a:pt x="499" y="3943"/>
                    <a:pt x="435" y="3943"/>
                  </a:cubicBezTo>
                  <a:cubicBezTo>
                    <a:pt x="371" y="3932"/>
                    <a:pt x="386" y="4213"/>
                    <a:pt x="480" y="4540"/>
                  </a:cubicBezTo>
                  <a:cubicBezTo>
                    <a:pt x="565" y="4871"/>
                    <a:pt x="634" y="5335"/>
                    <a:pt x="634" y="5574"/>
                  </a:cubicBezTo>
                  <a:cubicBezTo>
                    <a:pt x="634" y="5811"/>
                    <a:pt x="486" y="6090"/>
                    <a:pt x="308" y="6171"/>
                  </a:cubicBezTo>
                  <a:close/>
                  <a:moveTo>
                    <a:pt x="308" y="61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3" name="AutoShape 602"/>
            <p:cNvSpPr>
              <a:spLocks/>
            </p:cNvSpPr>
            <p:nvPr/>
          </p:nvSpPr>
          <p:spPr bwMode="auto">
            <a:xfrm>
              <a:off x="8280400" y="2692400"/>
              <a:ext cx="3175" cy="9525"/>
            </a:xfrm>
            <a:custGeom>
              <a:avLst/>
              <a:gdLst/>
              <a:ahLst/>
              <a:cxnLst/>
              <a:rect l="0" t="0" r="r" b="b"/>
              <a:pathLst>
                <a:path w="20711" h="21600">
                  <a:moveTo>
                    <a:pt x="18921" y="20887"/>
                  </a:moveTo>
                  <a:cubicBezTo>
                    <a:pt x="19472" y="21168"/>
                    <a:pt x="20160" y="21319"/>
                    <a:pt x="20710" y="21600"/>
                  </a:cubicBezTo>
                  <a:cubicBezTo>
                    <a:pt x="9013" y="14378"/>
                    <a:pt x="-757" y="5213"/>
                    <a:pt x="65" y="0"/>
                  </a:cubicBezTo>
                  <a:cubicBezTo>
                    <a:pt x="-890" y="5952"/>
                    <a:pt x="8803" y="15523"/>
                    <a:pt x="18921" y="20887"/>
                  </a:cubicBezTo>
                  <a:close/>
                  <a:moveTo>
                    <a:pt x="18921" y="208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4" name="AutoShape 603"/>
            <p:cNvSpPr>
              <a:spLocks/>
            </p:cNvSpPr>
            <p:nvPr/>
          </p:nvSpPr>
          <p:spPr bwMode="auto">
            <a:xfrm>
              <a:off x="8318500" y="2819400"/>
              <a:ext cx="0" cy="3175"/>
            </a:xfrm>
            <a:custGeom>
              <a:avLst/>
              <a:gdLst/>
              <a:ahLst/>
              <a:cxnLst/>
              <a:rect l="0" t="0" r="r" b="b"/>
              <a:pathLst>
                <a:path w="21600" h="21600">
                  <a:moveTo>
                    <a:pt x="21600" y="21600"/>
                  </a:moveTo>
                  <a:cubicBezTo>
                    <a:pt x="13091" y="13335"/>
                    <a:pt x="7159" y="6200"/>
                    <a:pt x="3886" y="0"/>
                  </a:cubicBezTo>
                  <a:cubicBezTo>
                    <a:pt x="3273" y="621"/>
                    <a:pt x="0" y="1186"/>
                    <a:pt x="0" y="1846"/>
                  </a:cubicBezTo>
                  <a:cubicBezTo>
                    <a:pt x="3886" y="5635"/>
                    <a:pt x="12395" y="13021"/>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5" name="AutoShape 604"/>
            <p:cNvSpPr>
              <a:spLocks/>
            </p:cNvSpPr>
            <p:nvPr/>
          </p:nvSpPr>
          <p:spPr bwMode="auto">
            <a:xfrm>
              <a:off x="7848600" y="2844800"/>
              <a:ext cx="342900" cy="138113"/>
            </a:xfrm>
            <a:custGeom>
              <a:avLst/>
              <a:gdLst/>
              <a:ahLst/>
              <a:cxnLst/>
              <a:rect l="0" t="0" r="r" b="b"/>
              <a:pathLst>
                <a:path w="21542" h="21425">
                  <a:moveTo>
                    <a:pt x="5405" y="19006"/>
                  </a:moveTo>
                  <a:cubicBezTo>
                    <a:pt x="5520" y="19045"/>
                    <a:pt x="5954" y="19599"/>
                    <a:pt x="6381" y="20180"/>
                  </a:cubicBezTo>
                  <a:cubicBezTo>
                    <a:pt x="6803" y="20783"/>
                    <a:pt x="7205" y="21110"/>
                    <a:pt x="7276" y="20921"/>
                  </a:cubicBezTo>
                  <a:cubicBezTo>
                    <a:pt x="7349" y="20728"/>
                    <a:pt x="7588" y="20563"/>
                    <a:pt x="7808" y="20576"/>
                  </a:cubicBezTo>
                  <a:cubicBezTo>
                    <a:pt x="8028" y="20590"/>
                    <a:pt x="8218" y="20355"/>
                    <a:pt x="8218" y="20073"/>
                  </a:cubicBezTo>
                  <a:cubicBezTo>
                    <a:pt x="8230" y="19790"/>
                    <a:pt x="8284" y="19415"/>
                    <a:pt x="8365" y="19260"/>
                  </a:cubicBezTo>
                  <a:cubicBezTo>
                    <a:pt x="8445" y="19105"/>
                    <a:pt x="8547" y="18677"/>
                    <a:pt x="8604" y="18338"/>
                  </a:cubicBezTo>
                  <a:cubicBezTo>
                    <a:pt x="8654" y="17992"/>
                    <a:pt x="8841" y="17856"/>
                    <a:pt x="9007" y="18030"/>
                  </a:cubicBezTo>
                  <a:cubicBezTo>
                    <a:pt x="9176" y="18196"/>
                    <a:pt x="9553" y="18405"/>
                    <a:pt x="9849" y="18477"/>
                  </a:cubicBezTo>
                  <a:cubicBezTo>
                    <a:pt x="10145" y="18536"/>
                    <a:pt x="10557" y="18897"/>
                    <a:pt x="10761" y="19250"/>
                  </a:cubicBezTo>
                  <a:cubicBezTo>
                    <a:pt x="10967" y="19601"/>
                    <a:pt x="11319" y="19954"/>
                    <a:pt x="11546" y="20010"/>
                  </a:cubicBezTo>
                  <a:cubicBezTo>
                    <a:pt x="11772" y="20082"/>
                    <a:pt x="12130" y="20054"/>
                    <a:pt x="12341" y="19986"/>
                  </a:cubicBezTo>
                  <a:cubicBezTo>
                    <a:pt x="12550" y="19926"/>
                    <a:pt x="12837" y="20083"/>
                    <a:pt x="12986" y="20332"/>
                  </a:cubicBezTo>
                  <a:cubicBezTo>
                    <a:pt x="13134" y="20583"/>
                    <a:pt x="13541" y="21018"/>
                    <a:pt x="13898" y="21258"/>
                  </a:cubicBezTo>
                  <a:cubicBezTo>
                    <a:pt x="14255" y="21498"/>
                    <a:pt x="14690" y="21475"/>
                    <a:pt x="14874" y="21222"/>
                  </a:cubicBezTo>
                  <a:cubicBezTo>
                    <a:pt x="15055" y="20955"/>
                    <a:pt x="15352" y="20770"/>
                    <a:pt x="15537" y="20770"/>
                  </a:cubicBezTo>
                  <a:cubicBezTo>
                    <a:pt x="15720" y="20770"/>
                    <a:pt x="15930" y="20943"/>
                    <a:pt x="16011" y="21093"/>
                  </a:cubicBezTo>
                  <a:cubicBezTo>
                    <a:pt x="16092" y="21249"/>
                    <a:pt x="16396" y="21215"/>
                    <a:pt x="16692" y="21012"/>
                  </a:cubicBezTo>
                  <a:cubicBezTo>
                    <a:pt x="16987" y="20803"/>
                    <a:pt x="17466" y="20603"/>
                    <a:pt x="17752" y="20559"/>
                  </a:cubicBezTo>
                  <a:cubicBezTo>
                    <a:pt x="18042" y="20516"/>
                    <a:pt x="18444" y="20077"/>
                    <a:pt x="18652" y="19596"/>
                  </a:cubicBezTo>
                  <a:cubicBezTo>
                    <a:pt x="18859" y="19115"/>
                    <a:pt x="19187" y="18719"/>
                    <a:pt x="19384" y="18706"/>
                  </a:cubicBezTo>
                  <a:cubicBezTo>
                    <a:pt x="19582" y="18691"/>
                    <a:pt x="19878" y="18440"/>
                    <a:pt x="20030" y="18096"/>
                  </a:cubicBezTo>
                  <a:cubicBezTo>
                    <a:pt x="20186" y="17757"/>
                    <a:pt x="20617" y="17621"/>
                    <a:pt x="20982" y="17762"/>
                  </a:cubicBezTo>
                  <a:cubicBezTo>
                    <a:pt x="21345" y="17905"/>
                    <a:pt x="21590" y="17619"/>
                    <a:pt x="21534" y="17116"/>
                  </a:cubicBezTo>
                  <a:cubicBezTo>
                    <a:pt x="21532" y="17108"/>
                    <a:pt x="21532" y="17099"/>
                    <a:pt x="21531" y="17090"/>
                  </a:cubicBezTo>
                  <a:cubicBezTo>
                    <a:pt x="21469" y="16591"/>
                    <a:pt x="21310" y="15952"/>
                    <a:pt x="21190" y="15631"/>
                  </a:cubicBezTo>
                  <a:cubicBezTo>
                    <a:pt x="21057" y="15331"/>
                    <a:pt x="20787" y="15019"/>
                    <a:pt x="20577" y="14962"/>
                  </a:cubicBezTo>
                  <a:cubicBezTo>
                    <a:pt x="20368" y="14902"/>
                    <a:pt x="20143" y="15006"/>
                    <a:pt x="20084" y="15183"/>
                  </a:cubicBezTo>
                  <a:cubicBezTo>
                    <a:pt x="20037" y="15383"/>
                    <a:pt x="19858" y="15458"/>
                    <a:pt x="19723" y="15432"/>
                  </a:cubicBezTo>
                  <a:cubicBezTo>
                    <a:pt x="19588" y="15377"/>
                    <a:pt x="19334" y="14857"/>
                    <a:pt x="19173" y="14224"/>
                  </a:cubicBezTo>
                  <a:cubicBezTo>
                    <a:pt x="19008" y="13599"/>
                    <a:pt x="18454" y="12369"/>
                    <a:pt x="17957" y="11456"/>
                  </a:cubicBezTo>
                  <a:cubicBezTo>
                    <a:pt x="17457" y="10556"/>
                    <a:pt x="16850" y="9655"/>
                    <a:pt x="16611" y="9436"/>
                  </a:cubicBezTo>
                  <a:cubicBezTo>
                    <a:pt x="16372" y="9231"/>
                    <a:pt x="15938" y="9110"/>
                    <a:pt x="15648" y="9243"/>
                  </a:cubicBezTo>
                  <a:cubicBezTo>
                    <a:pt x="15357" y="9363"/>
                    <a:pt x="14970" y="9158"/>
                    <a:pt x="14791" y="8806"/>
                  </a:cubicBezTo>
                  <a:cubicBezTo>
                    <a:pt x="14611" y="8453"/>
                    <a:pt x="14482" y="7916"/>
                    <a:pt x="14516" y="7607"/>
                  </a:cubicBezTo>
                  <a:cubicBezTo>
                    <a:pt x="14541" y="7292"/>
                    <a:pt x="14382" y="7059"/>
                    <a:pt x="14151" y="7088"/>
                  </a:cubicBezTo>
                  <a:cubicBezTo>
                    <a:pt x="13918" y="7119"/>
                    <a:pt x="13414" y="6686"/>
                    <a:pt x="13026" y="6153"/>
                  </a:cubicBezTo>
                  <a:cubicBezTo>
                    <a:pt x="12639" y="5607"/>
                    <a:pt x="12266" y="5266"/>
                    <a:pt x="12193" y="5366"/>
                  </a:cubicBezTo>
                  <a:cubicBezTo>
                    <a:pt x="12119" y="5458"/>
                    <a:pt x="12225" y="6042"/>
                    <a:pt x="12428" y="6626"/>
                  </a:cubicBezTo>
                  <a:cubicBezTo>
                    <a:pt x="12634" y="7202"/>
                    <a:pt x="12707" y="7681"/>
                    <a:pt x="12603" y="7664"/>
                  </a:cubicBezTo>
                  <a:cubicBezTo>
                    <a:pt x="12501" y="7637"/>
                    <a:pt x="12362" y="7780"/>
                    <a:pt x="12292" y="7951"/>
                  </a:cubicBezTo>
                  <a:cubicBezTo>
                    <a:pt x="12217" y="8110"/>
                    <a:pt x="12076" y="8138"/>
                    <a:pt x="11961" y="8040"/>
                  </a:cubicBezTo>
                  <a:cubicBezTo>
                    <a:pt x="11851" y="7905"/>
                    <a:pt x="11752" y="7526"/>
                    <a:pt x="11752" y="7173"/>
                  </a:cubicBezTo>
                  <a:cubicBezTo>
                    <a:pt x="11765" y="6824"/>
                    <a:pt x="11700" y="6451"/>
                    <a:pt x="11638" y="6387"/>
                  </a:cubicBezTo>
                  <a:cubicBezTo>
                    <a:pt x="11576" y="6312"/>
                    <a:pt x="11473" y="6046"/>
                    <a:pt x="11402" y="5818"/>
                  </a:cubicBezTo>
                  <a:cubicBezTo>
                    <a:pt x="11333" y="5589"/>
                    <a:pt x="11323" y="5072"/>
                    <a:pt x="11396" y="4687"/>
                  </a:cubicBezTo>
                  <a:cubicBezTo>
                    <a:pt x="11454" y="4286"/>
                    <a:pt x="11408" y="3780"/>
                    <a:pt x="11288" y="3517"/>
                  </a:cubicBezTo>
                  <a:cubicBezTo>
                    <a:pt x="11164" y="3265"/>
                    <a:pt x="10956" y="3062"/>
                    <a:pt x="10829" y="3091"/>
                  </a:cubicBezTo>
                  <a:cubicBezTo>
                    <a:pt x="10701" y="3122"/>
                    <a:pt x="10471" y="2846"/>
                    <a:pt x="10327" y="2492"/>
                  </a:cubicBezTo>
                  <a:cubicBezTo>
                    <a:pt x="10184" y="2129"/>
                    <a:pt x="10068" y="1688"/>
                    <a:pt x="10068" y="1479"/>
                  </a:cubicBezTo>
                  <a:cubicBezTo>
                    <a:pt x="10068" y="1269"/>
                    <a:pt x="9807" y="969"/>
                    <a:pt x="9480" y="797"/>
                  </a:cubicBezTo>
                  <a:cubicBezTo>
                    <a:pt x="9152" y="611"/>
                    <a:pt x="8822" y="569"/>
                    <a:pt x="8745" y="640"/>
                  </a:cubicBezTo>
                  <a:cubicBezTo>
                    <a:pt x="8670" y="732"/>
                    <a:pt x="8491" y="722"/>
                    <a:pt x="8353" y="637"/>
                  </a:cubicBezTo>
                  <a:cubicBezTo>
                    <a:pt x="8213" y="552"/>
                    <a:pt x="8050" y="642"/>
                    <a:pt x="7983" y="806"/>
                  </a:cubicBezTo>
                  <a:cubicBezTo>
                    <a:pt x="7917" y="981"/>
                    <a:pt x="7818" y="868"/>
                    <a:pt x="7744" y="579"/>
                  </a:cubicBezTo>
                  <a:cubicBezTo>
                    <a:pt x="7677" y="281"/>
                    <a:pt x="7602" y="129"/>
                    <a:pt x="7572" y="227"/>
                  </a:cubicBezTo>
                  <a:cubicBezTo>
                    <a:pt x="7550" y="338"/>
                    <a:pt x="7420" y="316"/>
                    <a:pt x="7305" y="147"/>
                  </a:cubicBezTo>
                  <a:cubicBezTo>
                    <a:pt x="7187" y="-12"/>
                    <a:pt x="7005" y="-13"/>
                    <a:pt x="6907" y="132"/>
                  </a:cubicBezTo>
                  <a:cubicBezTo>
                    <a:pt x="6807" y="269"/>
                    <a:pt x="6519" y="257"/>
                    <a:pt x="6267" y="81"/>
                  </a:cubicBezTo>
                  <a:cubicBezTo>
                    <a:pt x="6016" y="-102"/>
                    <a:pt x="5825" y="39"/>
                    <a:pt x="5825" y="372"/>
                  </a:cubicBezTo>
                  <a:cubicBezTo>
                    <a:pt x="5837" y="702"/>
                    <a:pt x="5735" y="1103"/>
                    <a:pt x="5608" y="1272"/>
                  </a:cubicBezTo>
                  <a:cubicBezTo>
                    <a:pt x="5480" y="1443"/>
                    <a:pt x="5276" y="1507"/>
                    <a:pt x="5159" y="1420"/>
                  </a:cubicBezTo>
                  <a:cubicBezTo>
                    <a:pt x="5044" y="1322"/>
                    <a:pt x="4727" y="1232"/>
                    <a:pt x="4459" y="1218"/>
                  </a:cubicBezTo>
                  <a:cubicBezTo>
                    <a:pt x="4194" y="1204"/>
                    <a:pt x="3901" y="1396"/>
                    <a:pt x="3831" y="1700"/>
                  </a:cubicBezTo>
                  <a:cubicBezTo>
                    <a:pt x="3747" y="1989"/>
                    <a:pt x="3542" y="2198"/>
                    <a:pt x="3367" y="2212"/>
                  </a:cubicBezTo>
                  <a:cubicBezTo>
                    <a:pt x="3194" y="2197"/>
                    <a:pt x="2935" y="2515"/>
                    <a:pt x="2784" y="2899"/>
                  </a:cubicBezTo>
                  <a:cubicBezTo>
                    <a:pt x="2636" y="3287"/>
                    <a:pt x="2402" y="3619"/>
                    <a:pt x="2263" y="3619"/>
                  </a:cubicBezTo>
                  <a:cubicBezTo>
                    <a:pt x="2124" y="3619"/>
                    <a:pt x="1783" y="4077"/>
                    <a:pt x="1514" y="4650"/>
                  </a:cubicBezTo>
                  <a:cubicBezTo>
                    <a:pt x="1244" y="5211"/>
                    <a:pt x="909" y="5526"/>
                    <a:pt x="770" y="5371"/>
                  </a:cubicBezTo>
                  <a:cubicBezTo>
                    <a:pt x="628" y="5211"/>
                    <a:pt x="450" y="4937"/>
                    <a:pt x="369" y="4781"/>
                  </a:cubicBezTo>
                  <a:cubicBezTo>
                    <a:pt x="288" y="4618"/>
                    <a:pt x="165" y="4582"/>
                    <a:pt x="96" y="4694"/>
                  </a:cubicBezTo>
                  <a:cubicBezTo>
                    <a:pt x="28" y="4804"/>
                    <a:pt x="-10" y="5122"/>
                    <a:pt x="2" y="5401"/>
                  </a:cubicBezTo>
                  <a:cubicBezTo>
                    <a:pt x="26" y="5673"/>
                    <a:pt x="211" y="6164"/>
                    <a:pt x="433" y="6493"/>
                  </a:cubicBezTo>
                  <a:cubicBezTo>
                    <a:pt x="657" y="6810"/>
                    <a:pt x="990" y="7594"/>
                    <a:pt x="1173" y="8224"/>
                  </a:cubicBezTo>
                  <a:cubicBezTo>
                    <a:pt x="1358" y="8851"/>
                    <a:pt x="1506" y="9735"/>
                    <a:pt x="1506" y="10185"/>
                  </a:cubicBezTo>
                  <a:cubicBezTo>
                    <a:pt x="1506" y="10635"/>
                    <a:pt x="1548" y="11233"/>
                    <a:pt x="1597" y="11517"/>
                  </a:cubicBezTo>
                  <a:cubicBezTo>
                    <a:pt x="1645" y="11803"/>
                    <a:pt x="1821" y="12226"/>
                    <a:pt x="1985" y="12442"/>
                  </a:cubicBezTo>
                  <a:cubicBezTo>
                    <a:pt x="2152" y="12662"/>
                    <a:pt x="2523" y="13235"/>
                    <a:pt x="2812" y="13718"/>
                  </a:cubicBezTo>
                  <a:cubicBezTo>
                    <a:pt x="3103" y="14190"/>
                    <a:pt x="3475" y="14796"/>
                    <a:pt x="3639" y="15069"/>
                  </a:cubicBezTo>
                  <a:cubicBezTo>
                    <a:pt x="3804" y="15329"/>
                    <a:pt x="4219" y="16305"/>
                    <a:pt x="4567" y="17215"/>
                  </a:cubicBezTo>
                  <a:cubicBezTo>
                    <a:pt x="4917" y="18118"/>
                    <a:pt x="5195" y="18887"/>
                    <a:pt x="5195" y="18901"/>
                  </a:cubicBezTo>
                  <a:cubicBezTo>
                    <a:pt x="5195" y="18916"/>
                    <a:pt x="5288" y="18974"/>
                    <a:pt x="5405" y="19006"/>
                  </a:cubicBezTo>
                  <a:close/>
                  <a:moveTo>
                    <a:pt x="5405" y="190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6" name="AutoShape 605"/>
            <p:cNvSpPr>
              <a:spLocks/>
            </p:cNvSpPr>
            <p:nvPr/>
          </p:nvSpPr>
          <p:spPr bwMode="auto">
            <a:xfrm>
              <a:off x="8191500" y="2959100"/>
              <a:ext cx="0" cy="0"/>
            </a:xfrm>
            <a:custGeom>
              <a:avLst/>
              <a:gdLst/>
              <a:ahLst/>
              <a:cxnLst/>
              <a:rect l="0" t="0" r="r" b="b"/>
              <a:pathLst>
                <a:path w="21600" h="21600">
                  <a:moveTo>
                    <a:pt x="21600" y="19287"/>
                  </a:moveTo>
                  <a:cubicBezTo>
                    <a:pt x="16114" y="13679"/>
                    <a:pt x="0" y="6437"/>
                    <a:pt x="0" y="0"/>
                  </a:cubicBezTo>
                  <a:cubicBezTo>
                    <a:pt x="4800" y="7267"/>
                    <a:pt x="10629" y="14509"/>
                    <a:pt x="21600" y="21600"/>
                  </a:cubicBezTo>
                  <a:cubicBezTo>
                    <a:pt x="21600" y="20946"/>
                    <a:pt x="21600" y="20116"/>
                    <a:pt x="21600" y="19287"/>
                  </a:cubicBezTo>
                  <a:close/>
                  <a:moveTo>
                    <a:pt x="21600" y="192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7" name="AutoShape 606"/>
            <p:cNvSpPr>
              <a:spLocks/>
            </p:cNvSpPr>
            <p:nvPr/>
          </p:nvSpPr>
          <p:spPr bwMode="auto">
            <a:xfrm>
              <a:off x="7581900" y="2603500"/>
              <a:ext cx="392113" cy="434975"/>
            </a:xfrm>
            <a:custGeom>
              <a:avLst/>
              <a:gdLst/>
              <a:ahLst/>
              <a:cxnLst/>
              <a:rect l="0" t="0" r="r" b="b"/>
              <a:pathLst>
                <a:path w="21557" h="21581">
                  <a:moveTo>
                    <a:pt x="3017" y="5454"/>
                  </a:moveTo>
                  <a:cubicBezTo>
                    <a:pt x="3017" y="5519"/>
                    <a:pt x="2964" y="5653"/>
                    <a:pt x="2911" y="5750"/>
                  </a:cubicBezTo>
                  <a:cubicBezTo>
                    <a:pt x="2862" y="5848"/>
                    <a:pt x="2814" y="6022"/>
                    <a:pt x="2824" y="6135"/>
                  </a:cubicBezTo>
                  <a:cubicBezTo>
                    <a:pt x="2834" y="6248"/>
                    <a:pt x="2758" y="6390"/>
                    <a:pt x="2668" y="6448"/>
                  </a:cubicBezTo>
                  <a:cubicBezTo>
                    <a:pt x="2576" y="6504"/>
                    <a:pt x="2380" y="6507"/>
                    <a:pt x="2227" y="6447"/>
                  </a:cubicBezTo>
                  <a:cubicBezTo>
                    <a:pt x="2077" y="6383"/>
                    <a:pt x="1908" y="6430"/>
                    <a:pt x="1848" y="6539"/>
                  </a:cubicBezTo>
                  <a:cubicBezTo>
                    <a:pt x="1789" y="6649"/>
                    <a:pt x="1768" y="6801"/>
                    <a:pt x="1789" y="6879"/>
                  </a:cubicBezTo>
                  <a:cubicBezTo>
                    <a:pt x="1809" y="6957"/>
                    <a:pt x="1978" y="7023"/>
                    <a:pt x="2153" y="7023"/>
                  </a:cubicBezTo>
                  <a:cubicBezTo>
                    <a:pt x="2329" y="7023"/>
                    <a:pt x="2531" y="7078"/>
                    <a:pt x="2610" y="7132"/>
                  </a:cubicBezTo>
                  <a:cubicBezTo>
                    <a:pt x="2685" y="7190"/>
                    <a:pt x="2720" y="7295"/>
                    <a:pt x="2679" y="7363"/>
                  </a:cubicBezTo>
                  <a:cubicBezTo>
                    <a:pt x="2645" y="7435"/>
                    <a:pt x="2594" y="7592"/>
                    <a:pt x="2584" y="7718"/>
                  </a:cubicBezTo>
                  <a:cubicBezTo>
                    <a:pt x="2573" y="7845"/>
                    <a:pt x="2488" y="7994"/>
                    <a:pt x="2395" y="8040"/>
                  </a:cubicBezTo>
                  <a:cubicBezTo>
                    <a:pt x="2304" y="8092"/>
                    <a:pt x="2299" y="8226"/>
                    <a:pt x="2382" y="8339"/>
                  </a:cubicBezTo>
                  <a:cubicBezTo>
                    <a:pt x="2468" y="8451"/>
                    <a:pt x="2450" y="8577"/>
                    <a:pt x="2349" y="8622"/>
                  </a:cubicBezTo>
                  <a:cubicBezTo>
                    <a:pt x="2247" y="8664"/>
                    <a:pt x="2013" y="8670"/>
                    <a:pt x="1831" y="8626"/>
                  </a:cubicBezTo>
                  <a:cubicBezTo>
                    <a:pt x="1647" y="8590"/>
                    <a:pt x="1341" y="8581"/>
                    <a:pt x="1152" y="8609"/>
                  </a:cubicBezTo>
                  <a:cubicBezTo>
                    <a:pt x="962" y="8645"/>
                    <a:pt x="734" y="8759"/>
                    <a:pt x="652" y="8876"/>
                  </a:cubicBezTo>
                  <a:cubicBezTo>
                    <a:pt x="571" y="8992"/>
                    <a:pt x="433" y="9163"/>
                    <a:pt x="340" y="9251"/>
                  </a:cubicBezTo>
                  <a:cubicBezTo>
                    <a:pt x="257" y="9345"/>
                    <a:pt x="219" y="9557"/>
                    <a:pt x="270" y="9729"/>
                  </a:cubicBezTo>
                  <a:cubicBezTo>
                    <a:pt x="321" y="9902"/>
                    <a:pt x="334" y="10205"/>
                    <a:pt x="293" y="10400"/>
                  </a:cubicBezTo>
                  <a:cubicBezTo>
                    <a:pt x="253" y="10596"/>
                    <a:pt x="184" y="10862"/>
                    <a:pt x="124" y="10989"/>
                  </a:cubicBezTo>
                  <a:cubicBezTo>
                    <a:pt x="74" y="11119"/>
                    <a:pt x="39" y="11229"/>
                    <a:pt x="58" y="11233"/>
                  </a:cubicBezTo>
                  <a:cubicBezTo>
                    <a:pt x="75" y="11240"/>
                    <a:pt x="62" y="11314"/>
                    <a:pt x="13" y="11395"/>
                  </a:cubicBezTo>
                  <a:cubicBezTo>
                    <a:pt x="-28" y="11482"/>
                    <a:pt x="30" y="11704"/>
                    <a:pt x="149" y="11892"/>
                  </a:cubicBezTo>
                  <a:cubicBezTo>
                    <a:pt x="270" y="12080"/>
                    <a:pt x="371" y="12296"/>
                    <a:pt x="360" y="12369"/>
                  </a:cubicBezTo>
                  <a:cubicBezTo>
                    <a:pt x="349" y="12441"/>
                    <a:pt x="428" y="12601"/>
                    <a:pt x="530" y="12712"/>
                  </a:cubicBezTo>
                  <a:cubicBezTo>
                    <a:pt x="622" y="12828"/>
                    <a:pt x="633" y="13052"/>
                    <a:pt x="561" y="13215"/>
                  </a:cubicBezTo>
                  <a:cubicBezTo>
                    <a:pt x="480" y="13375"/>
                    <a:pt x="460" y="13512"/>
                    <a:pt x="506" y="13512"/>
                  </a:cubicBezTo>
                  <a:cubicBezTo>
                    <a:pt x="554" y="13518"/>
                    <a:pt x="749" y="13660"/>
                    <a:pt x="923" y="13849"/>
                  </a:cubicBezTo>
                  <a:cubicBezTo>
                    <a:pt x="1104" y="14032"/>
                    <a:pt x="1289" y="14289"/>
                    <a:pt x="1320" y="14422"/>
                  </a:cubicBezTo>
                  <a:cubicBezTo>
                    <a:pt x="1350" y="14555"/>
                    <a:pt x="1458" y="14705"/>
                    <a:pt x="1534" y="14769"/>
                  </a:cubicBezTo>
                  <a:cubicBezTo>
                    <a:pt x="1615" y="14829"/>
                    <a:pt x="1673" y="15034"/>
                    <a:pt x="1673" y="15226"/>
                  </a:cubicBezTo>
                  <a:cubicBezTo>
                    <a:pt x="1673" y="15419"/>
                    <a:pt x="1674" y="15575"/>
                    <a:pt x="1670" y="15575"/>
                  </a:cubicBezTo>
                  <a:cubicBezTo>
                    <a:pt x="1672" y="15575"/>
                    <a:pt x="1790" y="15651"/>
                    <a:pt x="1931" y="15742"/>
                  </a:cubicBezTo>
                  <a:cubicBezTo>
                    <a:pt x="2067" y="15836"/>
                    <a:pt x="2192" y="15970"/>
                    <a:pt x="2192" y="16044"/>
                  </a:cubicBezTo>
                  <a:cubicBezTo>
                    <a:pt x="2202" y="16118"/>
                    <a:pt x="2304" y="16256"/>
                    <a:pt x="2433" y="16346"/>
                  </a:cubicBezTo>
                  <a:cubicBezTo>
                    <a:pt x="2563" y="16439"/>
                    <a:pt x="2766" y="16484"/>
                    <a:pt x="2887" y="16457"/>
                  </a:cubicBezTo>
                  <a:cubicBezTo>
                    <a:pt x="3006" y="16430"/>
                    <a:pt x="3207" y="16404"/>
                    <a:pt x="3332" y="16408"/>
                  </a:cubicBezTo>
                  <a:cubicBezTo>
                    <a:pt x="3456" y="16413"/>
                    <a:pt x="3640" y="16441"/>
                    <a:pt x="3734" y="16479"/>
                  </a:cubicBezTo>
                  <a:cubicBezTo>
                    <a:pt x="3831" y="16513"/>
                    <a:pt x="4014" y="16512"/>
                    <a:pt x="4145" y="16485"/>
                  </a:cubicBezTo>
                  <a:cubicBezTo>
                    <a:pt x="4274" y="16458"/>
                    <a:pt x="4522" y="16489"/>
                    <a:pt x="4701" y="16560"/>
                  </a:cubicBezTo>
                  <a:cubicBezTo>
                    <a:pt x="4877" y="16631"/>
                    <a:pt x="5131" y="16696"/>
                    <a:pt x="5268" y="16700"/>
                  </a:cubicBezTo>
                  <a:cubicBezTo>
                    <a:pt x="5403" y="16705"/>
                    <a:pt x="5634" y="16775"/>
                    <a:pt x="5777" y="16863"/>
                  </a:cubicBezTo>
                  <a:cubicBezTo>
                    <a:pt x="5920" y="16950"/>
                    <a:pt x="5915" y="17127"/>
                    <a:pt x="5759" y="17260"/>
                  </a:cubicBezTo>
                  <a:cubicBezTo>
                    <a:pt x="5608" y="17397"/>
                    <a:pt x="5413" y="17651"/>
                    <a:pt x="5350" y="17836"/>
                  </a:cubicBezTo>
                  <a:cubicBezTo>
                    <a:pt x="5278" y="18017"/>
                    <a:pt x="5220" y="18243"/>
                    <a:pt x="5231" y="18335"/>
                  </a:cubicBezTo>
                  <a:cubicBezTo>
                    <a:pt x="5231" y="18428"/>
                    <a:pt x="5156" y="18563"/>
                    <a:pt x="5064" y="18641"/>
                  </a:cubicBezTo>
                  <a:cubicBezTo>
                    <a:pt x="4972" y="18720"/>
                    <a:pt x="4841" y="18952"/>
                    <a:pt x="4772" y="19161"/>
                  </a:cubicBezTo>
                  <a:cubicBezTo>
                    <a:pt x="4711" y="19372"/>
                    <a:pt x="4668" y="19689"/>
                    <a:pt x="4689" y="19867"/>
                  </a:cubicBezTo>
                  <a:cubicBezTo>
                    <a:pt x="4709" y="20044"/>
                    <a:pt x="4830" y="20247"/>
                    <a:pt x="4960" y="20320"/>
                  </a:cubicBezTo>
                  <a:cubicBezTo>
                    <a:pt x="5090" y="20388"/>
                    <a:pt x="5250" y="20552"/>
                    <a:pt x="5328" y="20671"/>
                  </a:cubicBezTo>
                  <a:cubicBezTo>
                    <a:pt x="5399" y="20795"/>
                    <a:pt x="5458" y="20897"/>
                    <a:pt x="5454" y="20897"/>
                  </a:cubicBezTo>
                  <a:cubicBezTo>
                    <a:pt x="5457" y="20897"/>
                    <a:pt x="5545" y="20926"/>
                    <a:pt x="5668" y="20960"/>
                  </a:cubicBezTo>
                  <a:cubicBezTo>
                    <a:pt x="5791" y="20992"/>
                    <a:pt x="5991" y="20972"/>
                    <a:pt x="6122" y="20918"/>
                  </a:cubicBezTo>
                  <a:cubicBezTo>
                    <a:pt x="6251" y="20860"/>
                    <a:pt x="6504" y="20858"/>
                    <a:pt x="6684" y="20921"/>
                  </a:cubicBezTo>
                  <a:cubicBezTo>
                    <a:pt x="6866" y="20981"/>
                    <a:pt x="7045" y="20965"/>
                    <a:pt x="7102" y="20896"/>
                  </a:cubicBezTo>
                  <a:cubicBezTo>
                    <a:pt x="7155" y="20824"/>
                    <a:pt x="7177" y="20699"/>
                    <a:pt x="7156" y="20623"/>
                  </a:cubicBezTo>
                  <a:cubicBezTo>
                    <a:pt x="7137" y="20547"/>
                    <a:pt x="7240" y="20455"/>
                    <a:pt x="7383" y="20414"/>
                  </a:cubicBezTo>
                  <a:cubicBezTo>
                    <a:pt x="7528" y="20372"/>
                    <a:pt x="7701" y="20441"/>
                    <a:pt x="7751" y="20564"/>
                  </a:cubicBezTo>
                  <a:cubicBezTo>
                    <a:pt x="7811" y="20685"/>
                    <a:pt x="7930" y="20809"/>
                    <a:pt x="8020" y="20832"/>
                  </a:cubicBezTo>
                  <a:cubicBezTo>
                    <a:pt x="8111" y="20860"/>
                    <a:pt x="8239" y="20831"/>
                    <a:pt x="8313" y="20779"/>
                  </a:cubicBezTo>
                  <a:cubicBezTo>
                    <a:pt x="8390" y="20731"/>
                    <a:pt x="8524" y="20684"/>
                    <a:pt x="8624" y="20693"/>
                  </a:cubicBezTo>
                  <a:cubicBezTo>
                    <a:pt x="8722" y="20708"/>
                    <a:pt x="8976" y="20811"/>
                    <a:pt x="9178" y="20948"/>
                  </a:cubicBezTo>
                  <a:cubicBezTo>
                    <a:pt x="9336" y="21052"/>
                    <a:pt x="9557" y="21185"/>
                    <a:pt x="9725" y="21289"/>
                  </a:cubicBezTo>
                  <a:cubicBezTo>
                    <a:pt x="9791" y="21322"/>
                    <a:pt x="9857" y="21353"/>
                    <a:pt x="9889" y="21353"/>
                  </a:cubicBezTo>
                  <a:cubicBezTo>
                    <a:pt x="9926" y="21353"/>
                    <a:pt x="10025" y="21328"/>
                    <a:pt x="10107" y="21296"/>
                  </a:cubicBezTo>
                  <a:cubicBezTo>
                    <a:pt x="10190" y="21267"/>
                    <a:pt x="10359" y="21202"/>
                    <a:pt x="10488" y="21171"/>
                  </a:cubicBezTo>
                  <a:cubicBezTo>
                    <a:pt x="10614" y="21133"/>
                    <a:pt x="10815" y="21178"/>
                    <a:pt x="10909" y="21282"/>
                  </a:cubicBezTo>
                  <a:cubicBezTo>
                    <a:pt x="11009" y="21382"/>
                    <a:pt x="11247" y="21503"/>
                    <a:pt x="11432" y="21545"/>
                  </a:cubicBezTo>
                  <a:cubicBezTo>
                    <a:pt x="11616" y="21596"/>
                    <a:pt x="11800" y="21590"/>
                    <a:pt x="11848" y="21547"/>
                  </a:cubicBezTo>
                  <a:cubicBezTo>
                    <a:pt x="11891" y="21498"/>
                    <a:pt x="11922" y="21389"/>
                    <a:pt x="11893" y="21306"/>
                  </a:cubicBezTo>
                  <a:cubicBezTo>
                    <a:pt x="11873" y="21221"/>
                    <a:pt x="12012" y="21139"/>
                    <a:pt x="12204" y="21125"/>
                  </a:cubicBezTo>
                  <a:cubicBezTo>
                    <a:pt x="12396" y="21107"/>
                    <a:pt x="12714" y="21130"/>
                    <a:pt x="12913" y="21163"/>
                  </a:cubicBezTo>
                  <a:cubicBezTo>
                    <a:pt x="13114" y="21190"/>
                    <a:pt x="13362" y="21277"/>
                    <a:pt x="13469" y="21340"/>
                  </a:cubicBezTo>
                  <a:cubicBezTo>
                    <a:pt x="13579" y="21398"/>
                    <a:pt x="13766" y="21434"/>
                    <a:pt x="13888" y="21413"/>
                  </a:cubicBezTo>
                  <a:cubicBezTo>
                    <a:pt x="14011" y="21398"/>
                    <a:pt x="14208" y="21398"/>
                    <a:pt x="14321" y="21440"/>
                  </a:cubicBezTo>
                  <a:cubicBezTo>
                    <a:pt x="14440" y="21474"/>
                    <a:pt x="14634" y="21494"/>
                    <a:pt x="14756" y="21475"/>
                  </a:cubicBezTo>
                  <a:cubicBezTo>
                    <a:pt x="14879" y="21457"/>
                    <a:pt x="15164" y="21350"/>
                    <a:pt x="15380" y="21229"/>
                  </a:cubicBezTo>
                  <a:cubicBezTo>
                    <a:pt x="15599" y="21111"/>
                    <a:pt x="15872" y="21008"/>
                    <a:pt x="15984" y="20999"/>
                  </a:cubicBezTo>
                  <a:cubicBezTo>
                    <a:pt x="16098" y="20983"/>
                    <a:pt x="16328" y="21021"/>
                    <a:pt x="16495" y="21070"/>
                  </a:cubicBezTo>
                  <a:cubicBezTo>
                    <a:pt x="16663" y="21119"/>
                    <a:pt x="16929" y="21128"/>
                    <a:pt x="17085" y="21097"/>
                  </a:cubicBezTo>
                  <a:cubicBezTo>
                    <a:pt x="17242" y="21064"/>
                    <a:pt x="17509" y="21105"/>
                    <a:pt x="17671" y="21196"/>
                  </a:cubicBezTo>
                  <a:cubicBezTo>
                    <a:pt x="17837" y="21281"/>
                    <a:pt x="18027" y="21324"/>
                    <a:pt x="18095" y="21281"/>
                  </a:cubicBezTo>
                  <a:cubicBezTo>
                    <a:pt x="18165" y="21240"/>
                    <a:pt x="18193" y="21113"/>
                    <a:pt x="18172" y="20996"/>
                  </a:cubicBezTo>
                  <a:cubicBezTo>
                    <a:pt x="18139" y="20881"/>
                    <a:pt x="17977" y="20711"/>
                    <a:pt x="17795" y="20634"/>
                  </a:cubicBezTo>
                  <a:cubicBezTo>
                    <a:pt x="17618" y="20548"/>
                    <a:pt x="17460" y="20418"/>
                    <a:pt x="17460" y="20338"/>
                  </a:cubicBezTo>
                  <a:cubicBezTo>
                    <a:pt x="17460" y="20258"/>
                    <a:pt x="17601" y="20035"/>
                    <a:pt x="17773" y="19834"/>
                  </a:cubicBezTo>
                  <a:cubicBezTo>
                    <a:pt x="17956" y="19641"/>
                    <a:pt x="18226" y="19423"/>
                    <a:pt x="18387" y="19363"/>
                  </a:cubicBezTo>
                  <a:cubicBezTo>
                    <a:pt x="18546" y="19300"/>
                    <a:pt x="18738" y="19156"/>
                    <a:pt x="18814" y="19039"/>
                  </a:cubicBezTo>
                  <a:cubicBezTo>
                    <a:pt x="18886" y="18923"/>
                    <a:pt x="19040" y="18833"/>
                    <a:pt x="19152" y="18838"/>
                  </a:cubicBezTo>
                  <a:cubicBezTo>
                    <a:pt x="19265" y="18842"/>
                    <a:pt x="19340" y="18749"/>
                    <a:pt x="19329" y="18628"/>
                  </a:cubicBezTo>
                  <a:cubicBezTo>
                    <a:pt x="19308" y="18508"/>
                    <a:pt x="19312" y="18315"/>
                    <a:pt x="19333" y="18203"/>
                  </a:cubicBezTo>
                  <a:cubicBezTo>
                    <a:pt x="19353" y="18090"/>
                    <a:pt x="19122" y="17754"/>
                    <a:pt x="18816" y="17464"/>
                  </a:cubicBezTo>
                  <a:cubicBezTo>
                    <a:pt x="18513" y="17171"/>
                    <a:pt x="18151" y="16857"/>
                    <a:pt x="18007" y="16773"/>
                  </a:cubicBezTo>
                  <a:cubicBezTo>
                    <a:pt x="17864" y="16685"/>
                    <a:pt x="17539" y="16491"/>
                    <a:pt x="17286" y="16339"/>
                  </a:cubicBezTo>
                  <a:cubicBezTo>
                    <a:pt x="17033" y="16184"/>
                    <a:pt x="16710" y="15999"/>
                    <a:pt x="16564" y="15929"/>
                  </a:cubicBezTo>
                  <a:cubicBezTo>
                    <a:pt x="16421" y="15859"/>
                    <a:pt x="16268" y="15723"/>
                    <a:pt x="16226" y="15631"/>
                  </a:cubicBezTo>
                  <a:cubicBezTo>
                    <a:pt x="16183" y="15540"/>
                    <a:pt x="16146" y="15347"/>
                    <a:pt x="16146" y="15203"/>
                  </a:cubicBezTo>
                  <a:cubicBezTo>
                    <a:pt x="16146" y="15058"/>
                    <a:pt x="16017" y="14774"/>
                    <a:pt x="15855" y="14572"/>
                  </a:cubicBezTo>
                  <a:cubicBezTo>
                    <a:pt x="15696" y="14370"/>
                    <a:pt x="15405" y="14118"/>
                    <a:pt x="15210" y="14016"/>
                  </a:cubicBezTo>
                  <a:cubicBezTo>
                    <a:pt x="15017" y="13910"/>
                    <a:pt x="14855" y="13752"/>
                    <a:pt x="14835" y="13665"/>
                  </a:cubicBezTo>
                  <a:cubicBezTo>
                    <a:pt x="14824" y="13575"/>
                    <a:pt x="14857" y="13473"/>
                    <a:pt x="14916" y="13437"/>
                  </a:cubicBezTo>
                  <a:cubicBezTo>
                    <a:pt x="14976" y="13401"/>
                    <a:pt x="15084" y="13413"/>
                    <a:pt x="15154" y="13465"/>
                  </a:cubicBezTo>
                  <a:cubicBezTo>
                    <a:pt x="15225" y="13515"/>
                    <a:pt x="15380" y="13604"/>
                    <a:pt x="15504" y="13655"/>
                  </a:cubicBezTo>
                  <a:cubicBezTo>
                    <a:pt x="15625" y="13705"/>
                    <a:pt x="15918" y="13604"/>
                    <a:pt x="16153" y="13423"/>
                  </a:cubicBezTo>
                  <a:cubicBezTo>
                    <a:pt x="16387" y="13239"/>
                    <a:pt x="16685" y="13092"/>
                    <a:pt x="16806" y="13092"/>
                  </a:cubicBezTo>
                  <a:cubicBezTo>
                    <a:pt x="16928" y="13092"/>
                    <a:pt x="17132" y="12985"/>
                    <a:pt x="17261" y="12860"/>
                  </a:cubicBezTo>
                  <a:cubicBezTo>
                    <a:pt x="17393" y="12736"/>
                    <a:pt x="17619" y="12634"/>
                    <a:pt x="17770" y="12639"/>
                  </a:cubicBezTo>
                  <a:cubicBezTo>
                    <a:pt x="17923" y="12635"/>
                    <a:pt x="18101" y="12567"/>
                    <a:pt x="18174" y="12474"/>
                  </a:cubicBezTo>
                  <a:cubicBezTo>
                    <a:pt x="18236" y="12377"/>
                    <a:pt x="18491" y="12315"/>
                    <a:pt x="18722" y="12320"/>
                  </a:cubicBezTo>
                  <a:cubicBezTo>
                    <a:pt x="18956" y="12324"/>
                    <a:pt x="19233" y="12353"/>
                    <a:pt x="19333" y="12384"/>
                  </a:cubicBezTo>
                  <a:cubicBezTo>
                    <a:pt x="19435" y="12412"/>
                    <a:pt x="19613" y="12392"/>
                    <a:pt x="19724" y="12337"/>
                  </a:cubicBezTo>
                  <a:cubicBezTo>
                    <a:pt x="19835" y="12282"/>
                    <a:pt x="19924" y="12154"/>
                    <a:pt x="19914" y="12047"/>
                  </a:cubicBezTo>
                  <a:cubicBezTo>
                    <a:pt x="19914" y="11941"/>
                    <a:pt x="20080" y="11895"/>
                    <a:pt x="20300" y="11954"/>
                  </a:cubicBezTo>
                  <a:cubicBezTo>
                    <a:pt x="20519" y="12011"/>
                    <a:pt x="20771" y="12014"/>
                    <a:pt x="20858" y="11970"/>
                  </a:cubicBezTo>
                  <a:cubicBezTo>
                    <a:pt x="20943" y="11924"/>
                    <a:pt x="21102" y="11924"/>
                    <a:pt x="21205" y="11975"/>
                  </a:cubicBezTo>
                  <a:cubicBezTo>
                    <a:pt x="21306" y="12030"/>
                    <a:pt x="21441" y="11993"/>
                    <a:pt x="21501" y="11912"/>
                  </a:cubicBezTo>
                  <a:cubicBezTo>
                    <a:pt x="21556" y="11827"/>
                    <a:pt x="21572" y="11505"/>
                    <a:pt x="21542" y="11192"/>
                  </a:cubicBezTo>
                  <a:cubicBezTo>
                    <a:pt x="21512" y="10880"/>
                    <a:pt x="21410" y="10544"/>
                    <a:pt x="21318" y="10451"/>
                  </a:cubicBezTo>
                  <a:cubicBezTo>
                    <a:pt x="21227" y="10355"/>
                    <a:pt x="21073" y="10240"/>
                    <a:pt x="20980" y="10189"/>
                  </a:cubicBezTo>
                  <a:cubicBezTo>
                    <a:pt x="20887" y="10137"/>
                    <a:pt x="20683" y="9901"/>
                    <a:pt x="20542" y="9652"/>
                  </a:cubicBezTo>
                  <a:cubicBezTo>
                    <a:pt x="20392" y="9408"/>
                    <a:pt x="20324" y="9127"/>
                    <a:pt x="20366" y="9027"/>
                  </a:cubicBezTo>
                  <a:cubicBezTo>
                    <a:pt x="20409" y="8929"/>
                    <a:pt x="20396" y="8749"/>
                    <a:pt x="20326" y="8624"/>
                  </a:cubicBezTo>
                  <a:cubicBezTo>
                    <a:pt x="20255" y="8500"/>
                    <a:pt x="20195" y="8325"/>
                    <a:pt x="20186" y="8238"/>
                  </a:cubicBezTo>
                  <a:cubicBezTo>
                    <a:pt x="20176" y="8151"/>
                    <a:pt x="20085" y="7984"/>
                    <a:pt x="19974" y="7871"/>
                  </a:cubicBezTo>
                  <a:cubicBezTo>
                    <a:pt x="19861" y="7759"/>
                    <a:pt x="19785" y="7568"/>
                    <a:pt x="19804" y="7454"/>
                  </a:cubicBezTo>
                  <a:cubicBezTo>
                    <a:pt x="19815" y="7338"/>
                    <a:pt x="19647" y="7076"/>
                    <a:pt x="19413" y="6875"/>
                  </a:cubicBezTo>
                  <a:cubicBezTo>
                    <a:pt x="19178" y="6676"/>
                    <a:pt x="18992" y="6441"/>
                    <a:pt x="18982" y="6362"/>
                  </a:cubicBezTo>
                  <a:cubicBezTo>
                    <a:pt x="18982" y="6283"/>
                    <a:pt x="19126" y="6162"/>
                    <a:pt x="19314" y="6090"/>
                  </a:cubicBezTo>
                  <a:cubicBezTo>
                    <a:pt x="19506" y="6027"/>
                    <a:pt x="19665" y="5807"/>
                    <a:pt x="19665" y="5620"/>
                  </a:cubicBezTo>
                  <a:cubicBezTo>
                    <a:pt x="19665" y="5431"/>
                    <a:pt x="19591" y="5065"/>
                    <a:pt x="19499" y="4804"/>
                  </a:cubicBezTo>
                  <a:cubicBezTo>
                    <a:pt x="19398" y="4546"/>
                    <a:pt x="19224" y="4328"/>
                    <a:pt x="19099" y="4328"/>
                  </a:cubicBezTo>
                  <a:cubicBezTo>
                    <a:pt x="18974" y="4328"/>
                    <a:pt x="18797" y="4273"/>
                    <a:pt x="18710" y="4204"/>
                  </a:cubicBezTo>
                  <a:cubicBezTo>
                    <a:pt x="18620" y="4141"/>
                    <a:pt x="18455" y="4092"/>
                    <a:pt x="18341" y="4097"/>
                  </a:cubicBezTo>
                  <a:cubicBezTo>
                    <a:pt x="18226" y="4111"/>
                    <a:pt x="18024" y="4034"/>
                    <a:pt x="17891" y="3945"/>
                  </a:cubicBezTo>
                  <a:cubicBezTo>
                    <a:pt x="17760" y="3854"/>
                    <a:pt x="17660" y="3697"/>
                    <a:pt x="17681" y="3591"/>
                  </a:cubicBezTo>
                  <a:cubicBezTo>
                    <a:pt x="17699" y="3486"/>
                    <a:pt x="17649" y="3310"/>
                    <a:pt x="17556" y="3212"/>
                  </a:cubicBezTo>
                  <a:cubicBezTo>
                    <a:pt x="17464" y="3111"/>
                    <a:pt x="17281" y="3034"/>
                    <a:pt x="17141" y="3047"/>
                  </a:cubicBezTo>
                  <a:cubicBezTo>
                    <a:pt x="17002" y="3061"/>
                    <a:pt x="16737" y="2946"/>
                    <a:pt x="16551" y="2796"/>
                  </a:cubicBezTo>
                  <a:cubicBezTo>
                    <a:pt x="16366" y="2644"/>
                    <a:pt x="16115" y="2496"/>
                    <a:pt x="15993" y="2477"/>
                  </a:cubicBezTo>
                  <a:cubicBezTo>
                    <a:pt x="15870" y="2454"/>
                    <a:pt x="15728" y="2382"/>
                    <a:pt x="15675" y="2320"/>
                  </a:cubicBezTo>
                  <a:cubicBezTo>
                    <a:pt x="15621" y="2257"/>
                    <a:pt x="15530" y="2227"/>
                    <a:pt x="15468" y="2246"/>
                  </a:cubicBezTo>
                  <a:cubicBezTo>
                    <a:pt x="15407" y="2269"/>
                    <a:pt x="15232" y="2284"/>
                    <a:pt x="15081" y="2293"/>
                  </a:cubicBezTo>
                  <a:cubicBezTo>
                    <a:pt x="14928" y="2297"/>
                    <a:pt x="14694" y="2362"/>
                    <a:pt x="14557" y="2433"/>
                  </a:cubicBezTo>
                  <a:cubicBezTo>
                    <a:pt x="14421" y="2508"/>
                    <a:pt x="14260" y="2532"/>
                    <a:pt x="14205" y="2483"/>
                  </a:cubicBezTo>
                  <a:cubicBezTo>
                    <a:pt x="14150" y="2437"/>
                    <a:pt x="14158" y="2354"/>
                    <a:pt x="14228" y="2300"/>
                  </a:cubicBezTo>
                  <a:cubicBezTo>
                    <a:pt x="14299" y="2249"/>
                    <a:pt x="14367" y="2217"/>
                    <a:pt x="14395" y="2230"/>
                  </a:cubicBezTo>
                  <a:cubicBezTo>
                    <a:pt x="14417" y="2249"/>
                    <a:pt x="14479" y="2224"/>
                    <a:pt x="14530" y="2182"/>
                  </a:cubicBezTo>
                  <a:cubicBezTo>
                    <a:pt x="14580" y="2142"/>
                    <a:pt x="14733" y="2069"/>
                    <a:pt x="14875" y="2037"/>
                  </a:cubicBezTo>
                  <a:cubicBezTo>
                    <a:pt x="15017" y="2001"/>
                    <a:pt x="14984" y="1940"/>
                    <a:pt x="14800" y="1922"/>
                  </a:cubicBezTo>
                  <a:cubicBezTo>
                    <a:pt x="14619" y="1890"/>
                    <a:pt x="14422" y="1897"/>
                    <a:pt x="14361" y="1915"/>
                  </a:cubicBezTo>
                  <a:cubicBezTo>
                    <a:pt x="14302" y="1938"/>
                    <a:pt x="14245" y="2002"/>
                    <a:pt x="14234" y="2058"/>
                  </a:cubicBezTo>
                  <a:cubicBezTo>
                    <a:pt x="14214" y="2112"/>
                    <a:pt x="14103" y="2199"/>
                    <a:pt x="13967" y="2251"/>
                  </a:cubicBezTo>
                  <a:cubicBezTo>
                    <a:pt x="13834" y="2302"/>
                    <a:pt x="13726" y="2383"/>
                    <a:pt x="13715" y="2433"/>
                  </a:cubicBezTo>
                  <a:cubicBezTo>
                    <a:pt x="13705" y="2483"/>
                    <a:pt x="13501" y="2544"/>
                    <a:pt x="13248" y="2558"/>
                  </a:cubicBezTo>
                  <a:cubicBezTo>
                    <a:pt x="12993" y="2577"/>
                    <a:pt x="12710" y="2674"/>
                    <a:pt x="12622" y="2780"/>
                  </a:cubicBezTo>
                  <a:cubicBezTo>
                    <a:pt x="12527" y="2880"/>
                    <a:pt x="12446" y="3033"/>
                    <a:pt x="12426" y="3114"/>
                  </a:cubicBezTo>
                  <a:cubicBezTo>
                    <a:pt x="12406" y="3193"/>
                    <a:pt x="12275" y="3265"/>
                    <a:pt x="12130" y="3265"/>
                  </a:cubicBezTo>
                  <a:cubicBezTo>
                    <a:pt x="11986" y="3265"/>
                    <a:pt x="11827" y="3217"/>
                    <a:pt x="11776" y="3153"/>
                  </a:cubicBezTo>
                  <a:cubicBezTo>
                    <a:pt x="11733" y="3084"/>
                    <a:pt x="11583" y="3013"/>
                    <a:pt x="11454" y="3004"/>
                  </a:cubicBezTo>
                  <a:cubicBezTo>
                    <a:pt x="11326" y="2989"/>
                    <a:pt x="11171" y="2990"/>
                    <a:pt x="11108" y="3009"/>
                  </a:cubicBezTo>
                  <a:cubicBezTo>
                    <a:pt x="11047" y="3032"/>
                    <a:pt x="10848" y="3002"/>
                    <a:pt x="10667" y="2951"/>
                  </a:cubicBezTo>
                  <a:cubicBezTo>
                    <a:pt x="10487" y="2894"/>
                    <a:pt x="10436" y="2808"/>
                    <a:pt x="10555" y="2744"/>
                  </a:cubicBezTo>
                  <a:cubicBezTo>
                    <a:pt x="10680" y="2688"/>
                    <a:pt x="10843" y="2650"/>
                    <a:pt x="10929" y="2660"/>
                  </a:cubicBezTo>
                  <a:cubicBezTo>
                    <a:pt x="11015" y="2674"/>
                    <a:pt x="11157" y="2618"/>
                    <a:pt x="11242" y="2532"/>
                  </a:cubicBezTo>
                  <a:cubicBezTo>
                    <a:pt x="11327" y="2446"/>
                    <a:pt x="11392" y="2299"/>
                    <a:pt x="11382" y="2203"/>
                  </a:cubicBezTo>
                  <a:cubicBezTo>
                    <a:pt x="11382" y="2107"/>
                    <a:pt x="11318" y="2003"/>
                    <a:pt x="11261" y="1977"/>
                  </a:cubicBezTo>
                  <a:cubicBezTo>
                    <a:pt x="11202" y="1950"/>
                    <a:pt x="11065" y="1972"/>
                    <a:pt x="10962" y="2042"/>
                  </a:cubicBezTo>
                  <a:cubicBezTo>
                    <a:pt x="10856" y="2107"/>
                    <a:pt x="10738" y="2189"/>
                    <a:pt x="10705" y="2229"/>
                  </a:cubicBezTo>
                  <a:cubicBezTo>
                    <a:pt x="10676" y="2270"/>
                    <a:pt x="10493" y="2208"/>
                    <a:pt x="10307" y="2096"/>
                  </a:cubicBezTo>
                  <a:cubicBezTo>
                    <a:pt x="10123" y="1985"/>
                    <a:pt x="9927" y="1842"/>
                    <a:pt x="9868" y="1781"/>
                  </a:cubicBezTo>
                  <a:cubicBezTo>
                    <a:pt x="9805" y="1723"/>
                    <a:pt x="9713" y="1694"/>
                    <a:pt x="9647" y="1719"/>
                  </a:cubicBezTo>
                  <a:cubicBezTo>
                    <a:pt x="9579" y="1741"/>
                    <a:pt x="9499" y="1817"/>
                    <a:pt x="9469" y="1877"/>
                  </a:cubicBezTo>
                  <a:cubicBezTo>
                    <a:pt x="9437" y="1935"/>
                    <a:pt x="9322" y="2029"/>
                    <a:pt x="9219" y="2088"/>
                  </a:cubicBezTo>
                  <a:cubicBezTo>
                    <a:pt x="9117" y="2148"/>
                    <a:pt x="8994" y="2113"/>
                    <a:pt x="8941" y="2019"/>
                  </a:cubicBezTo>
                  <a:cubicBezTo>
                    <a:pt x="8892" y="1922"/>
                    <a:pt x="8760" y="1815"/>
                    <a:pt x="8646" y="1787"/>
                  </a:cubicBezTo>
                  <a:cubicBezTo>
                    <a:pt x="8531" y="1753"/>
                    <a:pt x="8403" y="1677"/>
                    <a:pt x="8364" y="1610"/>
                  </a:cubicBezTo>
                  <a:cubicBezTo>
                    <a:pt x="8324" y="1543"/>
                    <a:pt x="8345" y="1451"/>
                    <a:pt x="8406" y="1396"/>
                  </a:cubicBezTo>
                  <a:cubicBezTo>
                    <a:pt x="8468" y="1340"/>
                    <a:pt x="8581" y="1201"/>
                    <a:pt x="8645" y="1076"/>
                  </a:cubicBezTo>
                  <a:cubicBezTo>
                    <a:pt x="8705" y="949"/>
                    <a:pt x="8650" y="833"/>
                    <a:pt x="8510" y="815"/>
                  </a:cubicBezTo>
                  <a:cubicBezTo>
                    <a:pt x="8372" y="791"/>
                    <a:pt x="8143" y="674"/>
                    <a:pt x="7996" y="554"/>
                  </a:cubicBezTo>
                  <a:cubicBezTo>
                    <a:pt x="7852" y="429"/>
                    <a:pt x="7632" y="341"/>
                    <a:pt x="7509" y="350"/>
                  </a:cubicBezTo>
                  <a:cubicBezTo>
                    <a:pt x="7387" y="360"/>
                    <a:pt x="7221" y="347"/>
                    <a:pt x="7144" y="312"/>
                  </a:cubicBezTo>
                  <a:cubicBezTo>
                    <a:pt x="7066" y="277"/>
                    <a:pt x="6785" y="201"/>
                    <a:pt x="6524" y="129"/>
                  </a:cubicBezTo>
                  <a:cubicBezTo>
                    <a:pt x="6262" y="58"/>
                    <a:pt x="5894" y="1"/>
                    <a:pt x="5710" y="1"/>
                  </a:cubicBezTo>
                  <a:cubicBezTo>
                    <a:pt x="5523" y="-4"/>
                    <a:pt x="5377" y="18"/>
                    <a:pt x="5388" y="43"/>
                  </a:cubicBezTo>
                  <a:cubicBezTo>
                    <a:pt x="5409" y="62"/>
                    <a:pt x="5407" y="164"/>
                    <a:pt x="5398" y="257"/>
                  </a:cubicBezTo>
                  <a:cubicBezTo>
                    <a:pt x="5398" y="351"/>
                    <a:pt x="5468" y="476"/>
                    <a:pt x="5572" y="527"/>
                  </a:cubicBezTo>
                  <a:cubicBezTo>
                    <a:pt x="5669" y="585"/>
                    <a:pt x="5814" y="628"/>
                    <a:pt x="5888" y="642"/>
                  </a:cubicBezTo>
                  <a:cubicBezTo>
                    <a:pt x="5963" y="656"/>
                    <a:pt x="6024" y="722"/>
                    <a:pt x="6015" y="802"/>
                  </a:cubicBezTo>
                  <a:cubicBezTo>
                    <a:pt x="6015" y="883"/>
                    <a:pt x="6141" y="1045"/>
                    <a:pt x="6300" y="1171"/>
                  </a:cubicBezTo>
                  <a:cubicBezTo>
                    <a:pt x="6462" y="1294"/>
                    <a:pt x="6496" y="1428"/>
                    <a:pt x="6368" y="1452"/>
                  </a:cubicBezTo>
                  <a:cubicBezTo>
                    <a:pt x="6241" y="1488"/>
                    <a:pt x="6043" y="1506"/>
                    <a:pt x="5924" y="1502"/>
                  </a:cubicBezTo>
                  <a:cubicBezTo>
                    <a:pt x="5806" y="1493"/>
                    <a:pt x="5720" y="1573"/>
                    <a:pt x="5730" y="1672"/>
                  </a:cubicBezTo>
                  <a:cubicBezTo>
                    <a:pt x="5741" y="1770"/>
                    <a:pt x="5851" y="1824"/>
                    <a:pt x="5971" y="1783"/>
                  </a:cubicBezTo>
                  <a:cubicBezTo>
                    <a:pt x="6092" y="1747"/>
                    <a:pt x="6196" y="1825"/>
                    <a:pt x="6205" y="1957"/>
                  </a:cubicBezTo>
                  <a:cubicBezTo>
                    <a:pt x="6216" y="2090"/>
                    <a:pt x="6334" y="2250"/>
                    <a:pt x="6462" y="2327"/>
                  </a:cubicBezTo>
                  <a:cubicBezTo>
                    <a:pt x="6595" y="2395"/>
                    <a:pt x="6618" y="2510"/>
                    <a:pt x="6506" y="2570"/>
                  </a:cubicBezTo>
                  <a:cubicBezTo>
                    <a:pt x="6398" y="2633"/>
                    <a:pt x="6320" y="2753"/>
                    <a:pt x="6320" y="2834"/>
                  </a:cubicBezTo>
                  <a:cubicBezTo>
                    <a:pt x="6330" y="2916"/>
                    <a:pt x="6412" y="3024"/>
                    <a:pt x="6510" y="3078"/>
                  </a:cubicBezTo>
                  <a:cubicBezTo>
                    <a:pt x="6613" y="3124"/>
                    <a:pt x="6832" y="3185"/>
                    <a:pt x="7004" y="3203"/>
                  </a:cubicBezTo>
                  <a:cubicBezTo>
                    <a:pt x="7175" y="3217"/>
                    <a:pt x="7510" y="3391"/>
                    <a:pt x="7742" y="3591"/>
                  </a:cubicBezTo>
                  <a:cubicBezTo>
                    <a:pt x="7981" y="3785"/>
                    <a:pt x="8410" y="4045"/>
                    <a:pt x="8711" y="4154"/>
                  </a:cubicBezTo>
                  <a:cubicBezTo>
                    <a:pt x="9008" y="4270"/>
                    <a:pt x="9000" y="4305"/>
                    <a:pt x="8688" y="4244"/>
                  </a:cubicBezTo>
                  <a:cubicBezTo>
                    <a:pt x="8379" y="4186"/>
                    <a:pt x="7935" y="3956"/>
                    <a:pt x="7696" y="3750"/>
                  </a:cubicBezTo>
                  <a:cubicBezTo>
                    <a:pt x="7471" y="3533"/>
                    <a:pt x="7148" y="3409"/>
                    <a:pt x="7000" y="3445"/>
                  </a:cubicBezTo>
                  <a:cubicBezTo>
                    <a:pt x="6853" y="3487"/>
                    <a:pt x="6639" y="3471"/>
                    <a:pt x="6522" y="3423"/>
                  </a:cubicBezTo>
                  <a:cubicBezTo>
                    <a:pt x="6405" y="3370"/>
                    <a:pt x="6221" y="3340"/>
                    <a:pt x="6107" y="3349"/>
                  </a:cubicBezTo>
                  <a:cubicBezTo>
                    <a:pt x="5995" y="3359"/>
                    <a:pt x="5836" y="3458"/>
                    <a:pt x="5761" y="3569"/>
                  </a:cubicBezTo>
                  <a:cubicBezTo>
                    <a:pt x="5682" y="3678"/>
                    <a:pt x="5646" y="3844"/>
                    <a:pt x="5675" y="3942"/>
                  </a:cubicBezTo>
                  <a:cubicBezTo>
                    <a:pt x="5715" y="4037"/>
                    <a:pt x="5753" y="4252"/>
                    <a:pt x="5763" y="4417"/>
                  </a:cubicBezTo>
                  <a:cubicBezTo>
                    <a:pt x="5783" y="4582"/>
                    <a:pt x="5859" y="4805"/>
                    <a:pt x="5921" y="4921"/>
                  </a:cubicBezTo>
                  <a:cubicBezTo>
                    <a:pt x="5990" y="5034"/>
                    <a:pt x="5916" y="5001"/>
                    <a:pt x="5751" y="4851"/>
                  </a:cubicBezTo>
                  <a:cubicBezTo>
                    <a:pt x="5581" y="4706"/>
                    <a:pt x="5457" y="4471"/>
                    <a:pt x="5457" y="4341"/>
                  </a:cubicBezTo>
                  <a:cubicBezTo>
                    <a:pt x="5457" y="4211"/>
                    <a:pt x="5373" y="4043"/>
                    <a:pt x="5269" y="3963"/>
                  </a:cubicBezTo>
                  <a:cubicBezTo>
                    <a:pt x="5162" y="3884"/>
                    <a:pt x="5022" y="3836"/>
                    <a:pt x="4959" y="3855"/>
                  </a:cubicBezTo>
                  <a:cubicBezTo>
                    <a:pt x="4895" y="3871"/>
                    <a:pt x="4842" y="3957"/>
                    <a:pt x="4852" y="4039"/>
                  </a:cubicBezTo>
                  <a:cubicBezTo>
                    <a:pt x="4852" y="4122"/>
                    <a:pt x="4924" y="4271"/>
                    <a:pt x="4989" y="4375"/>
                  </a:cubicBezTo>
                  <a:cubicBezTo>
                    <a:pt x="5061" y="4477"/>
                    <a:pt x="5062" y="4609"/>
                    <a:pt x="4997" y="4668"/>
                  </a:cubicBezTo>
                  <a:cubicBezTo>
                    <a:pt x="4932" y="4726"/>
                    <a:pt x="4779" y="4672"/>
                    <a:pt x="4648" y="4558"/>
                  </a:cubicBezTo>
                  <a:cubicBezTo>
                    <a:pt x="4523" y="4440"/>
                    <a:pt x="4418" y="4237"/>
                    <a:pt x="4408" y="4107"/>
                  </a:cubicBezTo>
                  <a:cubicBezTo>
                    <a:pt x="4408" y="3976"/>
                    <a:pt x="4262" y="3790"/>
                    <a:pt x="4098" y="3693"/>
                  </a:cubicBezTo>
                  <a:cubicBezTo>
                    <a:pt x="3938" y="3593"/>
                    <a:pt x="3732" y="3543"/>
                    <a:pt x="3640" y="3572"/>
                  </a:cubicBezTo>
                  <a:cubicBezTo>
                    <a:pt x="3556" y="3610"/>
                    <a:pt x="3222" y="3679"/>
                    <a:pt x="2905" y="3730"/>
                  </a:cubicBezTo>
                  <a:cubicBezTo>
                    <a:pt x="2590" y="3785"/>
                    <a:pt x="2317" y="3924"/>
                    <a:pt x="2296" y="4035"/>
                  </a:cubicBezTo>
                  <a:cubicBezTo>
                    <a:pt x="2276" y="4148"/>
                    <a:pt x="2314" y="4324"/>
                    <a:pt x="2386" y="4426"/>
                  </a:cubicBezTo>
                  <a:cubicBezTo>
                    <a:pt x="2460" y="4527"/>
                    <a:pt x="2643" y="4632"/>
                    <a:pt x="2800" y="4664"/>
                  </a:cubicBezTo>
                  <a:cubicBezTo>
                    <a:pt x="2960" y="4687"/>
                    <a:pt x="3120" y="4805"/>
                    <a:pt x="3159" y="4915"/>
                  </a:cubicBezTo>
                  <a:cubicBezTo>
                    <a:pt x="3190" y="5028"/>
                    <a:pt x="3218" y="5114"/>
                    <a:pt x="3206" y="5109"/>
                  </a:cubicBezTo>
                  <a:cubicBezTo>
                    <a:pt x="3190" y="5109"/>
                    <a:pt x="3175" y="5121"/>
                    <a:pt x="3175" y="5146"/>
                  </a:cubicBezTo>
                  <a:cubicBezTo>
                    <a:pt x="3175" y="5169"/>
                    <a:pt x="3133" y="5219"/>
                    <a:pt x="3101" y="5263"/>
                  </a:cubicBezTo>
                  <a:cubicBezTo>
                    <a:pt x="3057" y="5299"/>
                    <a:pt x="3027" y="5389"/>
                    <a:pt x="3017" y="5454"/>
                  </a:cubicBezTo>
                  <a:close/>
                  <a:moveTo>
                    <a:pt x="3017" y="54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8" name="AutoShape 607"/>
            <p:cNvSpPr>
              <a:spLocks/>
            </p:cNvSpPr>
            <p:nvPr/>
          </p:nvSpPr>
          <p:spPr bwMode="auto">
            <a:xfrm>
              <a:off x="7759700" y="3048000"/>
              <a:ext cx="6350" cy="11113"/>
            </a:xfrm>
            <a:custGeom>
              <a:avLst/>
              <a:gdLst/>
              <a:ahLst/>
              <a:cxnLst/>
              <a:rect l="0" t="0" r="r" b="b"/>
              <a:pathLst>
                <a:path w="20137" h="21195">
                  <a:moveTo>
                    <a:pt x="1355" y="6294"/>
                  </a:moveTo>
                  <a:cubicBezTo>
                    <a:pt x="-1010" y="8990"/>
                    <a:pt x="-45" y="13660"/>
                    <a:pt x="2457" y="16313"/>
                  </a:cubicBezTo>
                  <a:cubicBezTo>
                    <a:pt x="4157" y="18186"/>
                    <a:pt x="9423" y="20047"/>
                    <a:pt x="15559" y="21195"/>
                  </a:cubicBezTo>
                  <a:cubicBezTo>
                    <a:pt x="18323" y="20314"/>
                    <a:pt x="20490" y="17773"/>
                    <a:pt x="20090" y="14384"/>
                  </a:cubicBezTo>
                  <a:cubicBezTo>
                    <a:pt x="20590" y="10216"/>
                    <a:pt x="16555" y="5135"/>
                    <a:pt x="12390" y="2962"/>
                  </a:cubicBezTo>
                  <a:cubicBezTo>
                    <a:pt x="8321" y="754"/>
                    <a:pt x="4823" y="-405"/>
                    <a:pt x="4823" y="129"/>
                  </a:cubicBezTo>
                  <a:cubicBezTo>
                    <a:pt x="4823" y="654"/>
                    <a:pt x="2890" y="3373"/>
                    <a:pt x="1355" y="6294"/>
                  </a:cubicBezTo>
                  <a:close/>
                  <a:moveTo>
                    <a:pt x="1355" y="629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09" name="AutoShape 608"/>
            <p:cNvSpPr>
              <a:spLocks/>
            </p:cNvSpPr>
            <p:nvPr/>
          </p:nvSpPr>
          <p:spPr bwMode="auto">
            <a:xfrm>
              <a:off x="7594600" y="3009900"/>
              <a:ext cx="212725" cy="111125"/>
            </a:xfrm>
            <a:custGeom>
              <a:avLst/>
              <a:gdLst/>
              <a:ahLst/>
              <a:cxnLst/>
              <a:rect l="0" t="0" r="r" b="b"/>
              <a:pathLst>
                <a:path w="21494" h="21338">
                  <a:moveTo>
                    <a:pt x="21213" y="10951"/>
                  </a:moveTo>
                  <a:cubicBezTo>
                    <a:pt x="21458" y="10393"/>
                    <a:pt x="21559" y="9626"/>
                    <a:pt x="21451" y="9207"/>
                  </a:cubicBezTo>
                  <a:cubicBezTo>
                    <a:pt x="21337" y="8797"/>
                    <a:pt x="21070" y="8454"/>
                    <a:pt x="20857" y="8433"/>
                  </a:cubicBezTo>
                  <a:cubicBezTo>
                    <a:pt x="20647" y="8416"/>
                    <a:pt x="20290" y="8686"/>
                    <a:pt x="20076" y="9057"/>
                  </a:cubicBezTo>
                  <a:cubicBezTo>
                    <a:pt x="19854" y="9412"/>
                    <a:pt x="19446" y="9282"/>
                    <a:pt x="19150" y="8790"/>
                  </a:cubicBezTo>
                  <a:cubicBezTo>
                    <a:pt x="18866" y="8282"/>
                    <a:pt x="18496" y="7959"/>
                    <a:pt x="18333" y="8064"/>
                  </a:cubicBezTo>
                  <a:cubicBezTo>
                    <a:pt x="18175" y="8177"/>
                    <a:pt x="17871" y="8244"/>
                    <a:pt x="17664" y="8190"/>
                  </a:cubicBezTo>
                  <a:cubicBezTo>
                    <a:pt x="17654" y="8189"/>
                    <a:pt x="17647" y="8177"/>
                    <a:pt x="17638" y="8174"/>
                  </a:cubicBezTo>
                  <a:cubicBezTo>
                    <a:pt x="17563" y="8168"/>
                    <a:pt x="17489" y="8162"/>
                    <a:pt x="17417" y="8146"/>
                  </a:cubicBezTo>
                  <a:cubicBezTo>
                    <a:pt x="17313" y="8130"/>
                    <a:pt x="17208" y="8087"/>
                    <a:pt x="17109" y="8034"/>
                  </a:cubicBezTo>
                  <a:cubicBezTo>
                    <a:pt x="17085" y="8056"/>
                    <a:pt x="17060" y="8077"/>
                    <a:pt x="17034" y="8077"/>
                  </a:cubicBezTo>
                  <a:cubicBezTo>
                    <a:pt x="16900" y="8059"/>
                    <a:pt x="16711" y="7800"/>
                    <a:pt x="16619" y="7513"/>
                  </a:cubicBezTo>
                  <a:cubicBezTo>
                    <a:pt x="16526" y="7230"/>
                    <a:pt x="16490" y="6732"/>
                    <a:pt x="16578" y="6444"/>
                  </a:cubicBezTo>
                  <a:cubicBezTo>
                    <a:pt x="16636" y="6133"/>
                    <a:pt x="16704" y="5567"/>
                    <a:pt x="16723" y="5173"/>
                  </a:cubicBezTo>
                  <a:cubicBezTo>
                    <a:pt x="16723" y="4779"/>
                    <a:pt x="16486" y="4146"/>
                    <a:pt x="16185" y="3752"/>
                  </a:cubicBezTo>
                  <a:cubicBezTo>
                    <a:pt x="16119" y="3661"/>
                    <a:pt x="16037" y="3553"/>
                    <a:pt x="15949" y="3438"/>
                  </a:cubicBezTo>
                  <a:cubicBezTo>
                    <a:pt x="15926" y="3413"/>
                    <a:pt x="15901" y="3390"/>
                    <a:pt x="15877" y="3365"/>
                  </a:cubicBezTo>
                  <a:cubicBezTo>
                    <a:pt x="15739" y="3195"/>
                    <a:pt x="15319" y="2635"/>
                    <a:pt x="14947" y="2119"/>
                  </a:cubicBezTo>
                  <a:cubicBezTo>
                    <a:pt x="14577" y="1588"/>
                    <a:pt x="14112" y="1187"/>
                    <a:pt x="13932" y="1130"/>
                  </a:cubicBezTo>
                  <a:cubicBezTo>
                    <a:pt x="13749" y="1096"/>
                    <a:pt x="13504" y="1277"/>
                    <a:pt x="13363" y="1462"/>
                  </a:cubicBezTo>
                  <a:cubicBezTo>
                    <a:pt x="13228" y="1665"/>
                    <a:pt x="12993" y="1775"/>
                    <a:pt x="12827" y="1668"/>
                  </a:cubicBezTo>
                  <a:cubicBezTo>
                    <a:pt x="12661" y="1580"/>
                    <a:pt x="12443" y="1099"/>
                    <a:pt x="12333" y="631"/>
                  </a:cubicBezTo>
                  <a:cubicBezTo>
                    <a:pt x="12241" y="152"/>
                    <a:pt x="11924" y="-115"/>
                    <a:pt x="11659" y="48"/>
                  </a:cubicBezTo>
                  <a:cubicBezTo>
                    <a:pt x="11396" y="208"/>
                    <a:pt x="11208" y="563"/>
                    <a:pt x="11243" y="860"/>
                  </a:cubicBezTo>
                  <a:cubicBezTo>
                    <a:pt x="11281" y="1153"/>
                    <a:pt x="11242" y="1638"/>
                    <a:pt x="11144" y="1916"/>
                  </a:cubicBezTo>
                  <a:cubicBezTo>
                    <a:pt x="11040" y="2183"/>
                    <a:pt x="10711" y="2245"/>
                    <a:pt x="10377" y="2014"/>
                  </a:cubicBezTo>
                  <a:cubicBezTo>
                    <a:pt x="10049" y="1770"/>
                    <a:pt x="9584" y="1775"/>
                    <a:pt x="9348" y="2001"/>
                  </a:cubicBezTo>
                  <a:cubicBezTo>
                    <a:pt x="9108" y="2211"/>
                    <a:pt x="8741" y="2287"/>
                    <a:pt x="8516" y="2162"/>
                  </a:cubicBezTo>
                  <a:cubicBezTo>
                    <a:pt x="8292" y="2030"/>
                    <a:pt x="7765" y="2073"/>
                    <a:pt x="7347" y="2299"/>
                  </a:cubicBezTo>
                  <a:cubicBezTo>
                    <a:pt x="7309" y="2318"/>
                    <a:pt x="7266" y="2333"/>
                    <a:pt x="7227" y="2351"/>
                  </a:cubicBezTo>
                  <a:cubicBezTo>
                    <a:pt x="6822" y="2535"/>
                    <a:pt x="6354" y="2644"/>
                    <a:pt x="6143" y="2550"/>
                  </a:cubicBezTo>
                  <a:cubicBezTo>
                    <a:pt x="5897" y="2496"/>
                    <a:pt x="5637" y="2160"/>
                    <a:pt x="5546" y="1850"/>
                  </a:cubicBezTo>
                  <a:cubicBezTo>
                    <a:pt x="5471" y="1530"/>
                    <a:pt x="5144" y="1300"/>
                    <a:pt x="4831" y="1300"/>
                  </a:cubicBezTo>
                  <a:cubicBezTo>
                    <a:pt x="4524" y="1317"/>
                    <a:pt x="4139" y="1633"/>
                    <a:pt x="3970" y="1994"/>
                  </a:cubicBezTo>
                  <a:cubicBezTo>
                    <a:pt x="3790" y="2336"/>
                    <a:pt x="3899" y="2894"/>
                    <a:pt x="4185" y="3167"/>
                  </a:cubicBezTo>
                  <a:cubicBezTo>
                    <a:pt x="4476" y="3429"/>
                    <a:pt x="4749" y="4045"/>
                    <a:pt x="4808" y="4498"/>
                  </a:cubicBezTo>
                  <a:cubicBezTo>
                    <a:pt x="4884" y="4944"/>
                    <a:pt x="4723" y="5483"/>
                    <a:pt x="4483" y="5642"/>
                  </a:cubicBezTo>
                  <a:cubicBezTo>
                    <a:pt x="4246" y="5829"/>
                    <a:pt x="3839" y="6431"/>
                    <a:pt x="3592" y="7028"/>
                  </a:cubicBezTo>
                  <a:cubicBezTo>
                    <a:pt x="3338" y="7617"/>
                    <a:pt x="2978" y="8234"/>
                    <a:pt x="2773" y="8331"/>
                  </a:cubicBezTo>
                  <a:cubicBezTo>
                    <a:pt x="2573" y="8446"/>
                    <a:pt x="2139" y="9356"/>
                    <a:pt x="1807" y="10325"/>
                  </a:cubicBezTo>
                  <a:cubicBezTo>
                    <a:pt x="1474" y="11295"/>
                    <a:pt x="1161" y="12687"/>
                    <a:pt x="1121" y="13421"/>
                  </a:cubicBezTo>
                  <a:cubicBezTo>
                    <a:pt x="1085" y="14151"/>
                    <a:pt x="1063" y="15136"/>
                    <a:pt x="1063" y="15607"/>
                  </a:cubicBezTo>
                  <a:cubicBezTo>
                    <a:pt x="1082" y="16080"/>
                    <a:pt x="954" y="16476"/>
                    <a:pt x="793" y="16419"/>
                  </a:cubicBezTo>
                  <a:cubicBezTo>
                    <a:pt x="635" y="16386"/>
                    <a:pt x="380" y="16494"/>
                    <a:pt x="223" y="16611"/>
                  </a:cubicBezTo>
                  <a:cubicBezTo>
                    <a:pt x="72" y="16737"/>
                    <a:pt x="-41" y="17172"/>
                    <a:pt x="14" y="17553"/>
                  </a:cubicBezTo>
                  <a:cubicBezTo>
                    <a:pt x="50" y="17941"/>
                    <a:pt x="319" y="18297"/>
                    <a:pt x="609" y="18384"/>
                  </a:cubicBezTo>
                  <a:cubicBezTo>
                    <a:pt x="903" y="18454"/>
                    <a:pt x="1411" y="18328"/>
                    <a:pt x="1736" y="18104"/>
                  </a:cubicBezTo>
                  <a:cubicBezTo>
                    <a:pt x="2061" y="17867"/>
                    <a:pt x="2208" y="17209"/>
                    <a:pt x="2079" y="16595"/>
                  </a:cubicBezTo>
                  <a:cubicBezTo>
                    <a:pt x="1944" y="15989"/>
                    <a:pt x="1969" y="15245"/>
                    <a:pt x="2157" y="14977"/>
                  </a:cubicBezTo>
                  <a:cubicBezTo>
                    <a:pt x="2344" y="14708"/>
                    <a:pt x="2809" y="14515"/>
                    <a:pt x="3206" y="14566"/>
                  </a:cubicBezTo>
                  <a:cubicBezTo>
                    <a:pt x="3606" y="14619"/>
                    <a:pt x="4043" y="15065"/>
                    <a:pt x="4196" y="15521"/>
                  </a:cubicBezTo>
                  <a:cubicBezTo>
                    <a:pt x="4344" y="15982"/>
                    <a:pt x="4544" y="16858"/>
                    <a:pt x="4656" y="17459"/>
                  </a:cubicBezTo>
                  <a:cubicBezTo>
                    <a:pt x="4763" y="18064"/>
                    <a:pt x="4980" y="18762"/>
                    <a:pt x="5141" y="18986"/>
                  </a:cubicBezTo>
                  <a:cubicBezTo>
                    <a:pt x="5304" y="19212"/>
                    <a:pt x="5485" y="19750"/>
                    <a:pt x="5522" y="20167"/>
                  </a:cubicBezTo>
                  <a:cubicBezTo>
                    <a:pt x="5577" y="20564"/>
                    <a:pt x="5841" y="21059"/>
                    <a:pt x="6124" y="21280"/>
                  </a:cubicBezTo>
                  <a:cubicBezTo>
                    <a:pt x="6448" y="21485"/>
                    <a:pt x="7104" y="21129"/>
                    <a:pt x="7613" y="20481"/>
                  </a:cubicBezTo>
                  <a:cubicBezTo>
                    <a:pt x="8124" y="19820"/>
                    <a:pt x="8830" y="19519"/>
                    <a:pt x="9186" y="19823"/>
                  </a:cubicBezTo>
                  <a:cubicBezTo>
                    <a:pt x="9538" y="20142"/>
                    <a:pt x="10194" y="19162"/>
                    <a:pt x="10656" y="17697"/>
                  </a:cubicBezTo>
                  <a:cubicBezTo>
                    <a:pt x="11100" y="16211"/>
                    <a:pt x="11737" y="15323"/>
                    <a:pt x="12056" y="15699"/>
                  </a:cubicBezTo>
                  <a:cubicBezTo>
                    <a:pt x="12381" y="16044"/>
                    <a:pt x="12600" y="16828"/>
                    <a:pt x="12581" y="17390"/>
                  </a:cubicBezTo>
                  <a:cubicBezTo>
                    <a:pt x="12545" y="17946"/>
                    <a:pt x="12881" y="18760"/>
                    <a:pt x="13320" y="19161"/>
                  </a:cubicBezTo>
                  <a:cubicBezTo>
                    <a:pt x="13749" y="19590"/>
                    <a:pt x="14226" y="20328"/>
                    <a:pt x="14372" y="20832"/>
                  </a:cubicBezTo>
                  <a:cubicBezTo>
                    <a:pt x="14517" y="21335"/>
                    <a:pt x="14835" y="21035"/>
                    <a:pt x="15095" y="20185"/>
                  </a:cubicBezTo>
                  <a:cubicBezTo>
                    <a:pt x="15332" y="19315"/>
                    <a:pt x="15541" y="18086"/>
                    <a:pt x="15522" y="17420"/>
                  </a:cubicBezTo>
                  <a:cubicBezTo>
                    <a:pt x="15504" y="16756"/>
                    <a:pt x="15976" y="16481"/>
                    <a:pt x="16558" y="16805"/>
                  </a:cubicBezTo>
                  <a:cubicBezTo>
                    <a:pt x="17141" y="17128"/>
                    <a:pt x="17809" y="17363"/>
                    <a:pt x="18036" y="17363"/>
                  </a:cubicBezTo>
                  <a:cubicBezTo>
                    <a:pt x="18266" y="17345"/>
                    <a:pt x="18648" y="17641"/>
                    <a:pt x="18891" y="17999"/>
                  </a:cubicBezTo>
                  <a:cubicBezTo>
                    <a:pt x="19121" y="18383"/>
                    <a:pt x="19354" y="17931"/>
                    <a:pt x="19391" y="17026"/>
                  </a:cubicBezTo>
                  <a:cubicBezTo>
                    <a:pt x="19410" y="16121"/>
                    <a:pt x="19874" y="15247"/>
                    <a:pt x="20391" y="15082"/>
                  </a:cubicBezTo>
                  <a:cubicBezTo>
                    <a:pt x="20899" y="14910"/>
                    <a:pt x="21212" y="14132"/>
                    <a:pt x="21043" y="13370"/>
                  </a:cubicBezTo>
                  <a:cubicBezTo>
                    <a:pt x="20892" y="12591"/>
                    <a:pt x="20963" y="11500"/>
                    <a:pt x="21213" y="10951"/>
                  </a:cubicBezTo>
                  <a:close/>
                  <a:moveTo>
                    <a:pt x="21213" y="109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0" name="AutoShape 609"/>
            <p:cNvSpPr>
              <a:spLocks/>
            </p:cNvSpPr>
            <p:nvPr/>
          </p:nvSpPr>
          <p:spPr bwMode="auto">
            <a:xfrm>
              <a:off x="7772400" y="3060700"/>
              <a:ext cx="6350" cy="0"/>
            </a:xfrm>
            <a:custGeom>
              <a:avLst/>
              <a:gdLst/>
              <a:ahLst/>
              <a:cxnLst/>
              <a:rect l="0" t="0" r="r" b="b"/>
              <a:pathLst>
                <a:path w="21600" h="17434">
                  <a:moveTo>
                    <a:pt x="21600" y="0"/>
                  </a:moveTo>
                  <a:cubicBezTo>
                    <a:pt x="17690" y="10728"/>
                    <a:pt x="8787" y="15742"/>
                    <a:pt x="0" y="13161"/>
                  </a:cubicBezTo>
                  <a:cubicBezTo>
                    <a:pt x="269" y="13600"/>
                    <a:pt x="503" y="15035"/>
                    <a:pt x="813" y="15183"/>
                  </a:cubicBezTo>
                  <a:cubicBezTo>
                    <a:pt x="7239" y="21600"/>
                    <a:pt x="16684" y="13600"/>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1" name="AutoShape 610"/>
            <p:cNvSpPr>
              <a:spLocks/>
            </p:cNvSpPr>
            <p:nvPr/>
          </p:nvSpPr>
          <p:spPr bwMode="auto">
            <a:xfrm>
              <a:off x="7747000" y="3022600"/>
              <a:ext cx="9525" cy="6350"/>
            </a:xfrm>
            <a:custGeom>
              <a:avLst/>
              <a:gdLst/>
              <a:ahLst/>
              <a:cxnLst/>
              <a:rect l="0" t="0" r="r" b="b"/>
              <a:pathLst>
                <a:path w="21600" h="21600">
                  <a:moveTo>
                    <a:pt x="21600" y="21600"/>
                  </a:moveTo>
                  <a:cubicBezTo>
                    <a:pt x="14975" y="15014"/>
                    <a:pt x="6253" y="6582"/>
                    <a:pt x="0" y="0"/>
                  </a:cubicBezTo>
                  <a:cubicBezTo>
                    <a:pt x="8022" y="8453"/>
                    <a:pt x="17064" y="17627"/>
                    <a:pt x="20042" y="20411"/>
                  </a:cubicBezTo>
                  <a:cubicBezTo>
                    <a:pt x="20554" y="20822"/>
                    <a:pt x="21089" y="21189"/>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2" name="AutoShape 611"/>
            <p:cNvSpPr>
              <a:spLocks/>
            </p:cNvSpPr>
            <p:nvPr/>
          </p:nvSpPr>
          <p:spPr bwMode="auto">
            <a:xfrm>
              <a:off x="7759700" y="3060700"/>
              <a:ext cx="4763" cy="1588"/>
            </a:xfrm>
            <a:custGeom>
              <a:avLst/>
              <a:gdLst/>
              <a:ahLst/>
              <a:cxnLst/>
              <a:rect l="0" t="0" r="r" b="b"/>
              <a:pathLst>
                <a:path w="21600" h="21600">
                  <a:moveTo>
                    <a:pt x="18299" y="21600"/>
                  </a:moveTo>
                  <a:cubicBezTo>
                    <a:pt x="19453" y="21600"/>
                    <a:pt x="20552" y="20778"/>
                    <a:pt x="21600" y="19958"/>
                  </a:cubicBezTo>
                  <a:cubicBezTo>
                    <a:pt x="11485" y="15264"/>
                    <a:pt x="2803" y="7660"/>
                    <a:pt x="0" y="0"/>
                  </a:cubicBezTo>
                  <a:cubicBezTo>
                    <a:pt x="4063" y="10982"/>
                    <a:pt x="12364" y="20909"/>
                    <a:pt x="18299" y="21600"/>
                  </a:cubicBezTo>
                  <a:close/>
                  <a:moveTo>
                    <a:pt x="18299"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3" name="AutoShape 612"/>
            <p:cNvSpPr>
              <a:spLocks/>
            </p:cNvSpPr>
            <p:nvPr/>
          </p:nvSpPr>
          <p:spPr bwMode="auto">
            <a:xfrm>
              <a:off x="7493000" y="2794000"/>
              <a:ext cx="7938" cy="3175"/>
            </a:xfrm>
            <a:custGeom>
              <a:avLst/>
              <a:gdLst/>
              <a:ahLst/>
              <a:cxnLst/>
              <a:rect l="0" t="0" r="r" b="b"/>
              <a:pathLst>
                <a:path w="19308" h="19132">
                  <a:moveTo>
                    <a:pt x="4717" y="2024"/>
                  </a:moveTo>
                  <a:cubicBezTo>
                    <a:pt x="-172" y="5806"/>
                    <a:pt x="-1522" y="9501"/>
                    <a:pt x="1907" y="9958"/>
                  </a:cubicBezTo>
                  <a:cubicBezTo>
                    <a:pt x="5255" y="11173"/>
                    <a:pt x="9008" y="13116"/>
                    <a:pt x="9901" y="16082"/>
                  </a:cubicBezTo>
                  <a:cubicBezTo>
                    <a:pt x="11114" y="18598"/>
                    <a:pt x="14055" y="19726"/>
                    <a:pt x="16892" y="18823"/>
                  </a:cubicBezTo>
                  <a:cubicBezTo>
                    <a:pt x="19754" y="17609"/>
                    <a:pt x="20078" y="11879"/>
                    <a:pt x="17837" y="5887"/>
                  </a:cubicBezTo>
                  <a:cubicBezTo>
                    <a:pt x="15459" y="98"/>
                    <a:pt x="9629" y="-1874"/>
                    <a:pt x="4717" y="2024"/>
                  </a:cubicBezTo>
                  <a:close/>
                  <a:moveTo>
                    <a:pt x="4717" y="20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4" name="AutoShape 613"/>
            <p:cNvSpPr>
              <a:spLocks/>
            </p:cNvSpPr>
            <p:nvPr/>
          </p:nvSpPr>
          <p:spPr bwMode="auto">
            <a:xfrm>
              <a:off x="7493000" y="2781300"/>
              <a:ext cx="12700" cy="4763"/>
            </a:xfrm>
            <a:custGeom>
              <a:avLst/>
              <a:gdLst/>
              <a:ahLst/>
              <a:cxnLst/>
              <a:rect l="0" t="0" r="r" b="b"/>
              <a:pathLst>
                <a:path w="20473" h="20566">
                  <a:moveTo>
                    <a:pt x="181" y="6555"/>
                  </a:moveTo>
                  <a:cubicBezTo>
                    <a:pt x="967" y="10378"/>
                    <a:pt x="3287" y="12143"/>
                    <a:pt x="5570" y="10734"/>
                  </a:cubicBezTo>
                  <a:cubicBezTo>
                    <a:pt x="7834" y="8974"/>
                    <a:pt x="10295" y="9839"/>
                    <a:pt x="10830" y="12681"/>
                  </a:cubicBezTo>
                  <a:cubicBezTo>
                    <a:pt x="11384" y="15571"/>
                    <a:pt x="13561" y="18577"/>
                    <a:pt x="15505" y="19937"/>
                  </a:cubicBezTo>
                  <a:cubicBezTo>
                    <a:pt x="17431" y="21298"/>
                    <a:pt x="19660" y="20336"/>
                    <a:pt x="20356" y="18153"/>
                  </a:cubicBezTo>
                  <a:cubicBezTo>
                    <a:pt x="21033" y="16037"/>
                    <a:pt x="18697" y="11013"/>
                    <a:pt x="15112" y="7517"/>
                  </a:cubicBezTo>
                  <a:cubicBezTo>
                    <a:pt x="11562" y="3550"/>
                    <a:pt x="6390" y="25"/>
                    <a:pt x="3714" y="25"/>
                  </a:cubicBezTo>
                  <a:cubicBezTo>
                    <a:pt x="1074" y="-302"/>
                    <a:pt x="-567" y="2607"/>
                    <a:pt x="181" y="6555"/>
                  </a:cubicBezTo>
                  <a:close/>
                  <a:moveTo>
                    <a:pt x="181" y="65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5" name="AutoShape 614"/>
            <p:cNvSpPr>
              <a:spLocks/>
            </p:cNvSpPr>
            <p:nvPr/>
          </p:nvSpPr>
          <p:spPr bwMode="auto">
            <a:xfrm>
              <a:off x="7467600" y="2692400"/>
              <a:ext cx="165100" cy="136525"/>
            </a:xfrm>
            <a:custGeom>
              <a:avLst/>
              <a:gdLst/>
              <a:ahLst/>
              <a:cxnLst/>
              <a:rect l="0" t="0" r="r" b="b"/>
              <a:pathLst>
                <a:path w="21588" h="21500">
                  <a:moveTo>
                    <a:pt x="1005" y="18402"/>
                  </a:moveTo>
                  <a:cubicBezTo>
                    <a:pt x="1181" y="18672"/>
                    <a:pt x="1527" y="18911"/>
                    <a:pt x="1790" y="18924"/>
                  </a:cubicBezTo>
                  <a:cubicBezTo>
                    <a:pt x="2053" y="18938"/>
                    <a:pt x="2404" y="19124"/>
                    <a:pt x="2595" y="19325"/>
                  </a:cubicBezTo>
                  <a:cubicBezTo>
                    <a:pt x="2789" y="19514"/>
                    <a:pt x="3075" y="19548"/>
                    <a:pt x="3252" y="19349"/>
                  </a:cubicBezTo>
                  <a:cubicBezTo>
                    <a:pt x="3439" y="19158"/>
                    <a:pt x="3847" y="18949"/>
                    <a:pt x="4164" y="18892"/>
                  </a:cubicBezTo>
                  <a:cubicBezTo>
                    <a:pt x="4485" y="18830"/>
                    <a:pt x="4817" y="18700"/>
                    <a:pt x="4882" y="18576"/>
                  </a:cubicBezTo>
                  <a:cubicBezTo>
                    <a:pt x="4944" y="18456"/>
                    <a:pt x="5210" y="18342"/>
                    <a:pt x="5459" y="18328"/>
                  </a:cubicBezTo>
                  <a:cubicBezTo>
                    <a:pt x="5709" y="18314"/>
                    <a:pt x="5992" y="18084"/>
                    <a:pt x="6074" y="17816"/>
                  </a:cubicBezTo>
                  <a:cubicBezTo>
                    <a:pt x="6182" y="17557"/>
                    <a:pt x="6721" y="17342"/>
                    <a:pt x="7304" y="17401"/>
                  </a:cubicBezTo>
                  <a:cubicBezTo>
                    <a:pt x="7891" y="17444"/>
                    <a:pt x="8527" y="17660"/>
                    <a:pt x="8742" y="17874"/>
                  </a:cubicBezTo>
                  <a:cubicBezTo>
                    <a:pt x="8942" y="18102"/>
                    <a:pt x="9358" y="18306"/>
                    <a:pt x="9654" y="18306"/>
                  </a:cubicBezTo>
                  <a:cubicBezTo>
                    <a:pt x="9951" y="18321"/>
                    <a:pt x="10342" y="18538"/>
                    <a:pt x="10508" y="18809"/>
                  </a:cubicBezTo>
                  <a:cubicBezTo>
                    <a:pt x="10678" y="19071"/>
                    <a:pt x="11189" y="19274"/>
                    <a:pt x="11648" y="19274"/>
                  </a:cubicBezTo>
                  <a:cubicBezTo>
                    <a:pt x="12106" y="19274"/>
                    <a:pt x="12615" y="19523"/>
                    <a:pt x="12783" y="19839"/>
                  </a:cubicBezTo>
                  <a:cubicBezTo>
                    <a:pt x="12949" y="20153"/>
                    <a:pt x="13086" y="20612"/>
                    <a:pt x="13061" y="20847"/>
                  </a:cubicBezTo>
                  <a:cubicBezTo>
                    <a:pt x="13041" y="21068"/>
                    <a:pt x="13289" y="21342"/>
                    <a:pt x="13600" y="21484"/>
                  </a:cubicBezTo>
                  <a:cubicBezTo>
                    <a:pt x="13898" y="21563"/>
                    <a:pt x="14237" y="21349"/>
                    <a:pt x="14351" y="20947"/>
                  </a:cubicBezTo>
                  <a:cubicBezTo>
                    <a:pt x="14494" y="20548"/>
                    <a:pt x="14657" y="19706"/>
                    <a:pt x="14754" y="19089"/>
                  </a:cubicBezTo>
                  <a:cubicBezTo>
                    <a:pt x="14849" y="18473"/>
                    <a:pt x="14818" y="17519"/>
                    <a:pt x="14699" y="16971"/>
                  </a:cubicBezTo>
                  <a:cubicBezTo>
                    <a:pt x="14577" y="16427"/>
                    <a:pt x="14668" y="15759"/>
                    <a:pt x="14865" y="15461"/>
                  </a:cubicBezTo>
                  <a:cubicBezTo>
                    <a:pt x="15084" y="15184"/>
                    <a:pt x="15412" y="14645"/>
                    <a:pt x="15605" y="14279"/>
                  </a:cubicBezTo>
                  <a:cubicBezTo>
                    <a:pt x="15800" y="13911"/>
                    <a:pt x="16340" y="13552"/>
                    <a:pt x="16790" y="13437"/>
                  </a:cubicBezTo>
                  <a:cubicBezTo>
                    <a:pt x="17239" y="13347"/>
                    <a:pt x="17965" y="13375"/>
                    <a:pt x="18400" y="13492"/>
                  </a:cubicBezTo>
                  <a:cubicBezTo>
                    <a:pt x="18833" y="13630"/>
                    <a:pt x="19388" y="13610"/>
                    <a:pt x="19630" y="13478"/>
                  </a:cubicBezTo>
                  <a:cubicBezTo>
                    <a:pt x="19868" y="13335"/>
                    <a:pt x="19912" y="12938"/>
                    <a:pt x="19707" y="12584"/>
                  </a:cubicBezTo>
                  <a:cubicBezTo>
                    <a:pt x="19510" y="12228"/>
                    <a:pt x="19523" y="11804"/>
                    <a:pt x="19738" y="11642"/>
                  </a:cubicBezTo>
                  <a:cubicBezTo>
                    <a:pt x="19958" y="11496"/>
                    <a:pt x="20162" y="11025"/>
                    <a:pt x="20186" y="10626"/>
                  </a:cubicBezTo>
                  <a:cubicBezTo>
                    <a:pt x="20210" y="10228"/>
                    <a:pt x="20332" y="9730"/>
                    <a:pt x="20413" y="9505"/>
                  </a:cubicBezTo>
                  <a:cubicBezTo>
                    <a:pt x="20508" y="9289"/>
                    <a:pt x="20426" y="8958"/>
                    <a:pt x="20248" y="8775"/>
                  </a:cubicBezTo>
                  <a:cubicBezTo>
                    <a:pt x="20060" y="8604"/>
                    <a:pt x="19581" y="8430"/>
                    <a:pt x="19164" y="8430"/>
                  </a:cubicBezTo>
                  <a:cubicBezTo>
                    <a:pt x="18749" y="8430"/>
                    <a:pt x="18348" y="8223"/>
                    <a:pt x="18300" y="7976"/>
                  </a:cubicBezTo>
                  <a:cubicBezTo>
                    <a:pt x="18250" y="7732"/>
                    <a:pt x="18302" y="7249"/>
                    <a:pt x="18440" y="6903"/>
                  </a:cubicBezTo>
                  <a:cubicBezTo>
                    <a:pt x="18584" y="6559"/>
                    <a:pt x="18983" y="6413"/>
                    <a:pt x="19340" y="6612"/>
                  </a:cubicBezTo>
                  <a:cubicBezTo>
                    <a:pt x="19702" y="6801"/>
                    <a:pt x="20168" y="6794"/>
                    <a:pt x="20385" y="6617"/>
                  </a:cubicBezTo>
                  <a:cubicBezTo>
                    <a:pt x="20598" y="6433"/>
                    <a:pt x="20780" y="5986"/>
                    <a:pt x="20756" y="5627"/>
                  </a:cubicBezTo>
                  <a:cubicBezTo>
                    <a:pt x="20732" y="5272"/>
                    <a:pt x="20845" y="4722"/>
                    <a:pt x="20961" y="4413"/>
                  </a:cubicBezTo>
                  <a:cubicBezTo>
                    <a:pt x="21088" y="4106"/>
                    <a:pt x="21214" y="3684"/>
                    <a:pt x="21214" y="3478"/>
                  </a:cubicBezTo>
                  <a:cubicBezTo>
                    <a:pt x="21237" y="3274"/>
                    <a:pt x="21307" y="2991"/>
                    <a:pt x="21412" y="2876"/>
                  </a:cubicBezTo>
                  <a:cubicBezTo>
                    <a:pt x="21490" y="2738"/>
                    <a:pt x="21588" y="2581"/>
                    <a:pt x="21588" y="2506"/>
                  </a:cubicBezTo>
                  <a:cubicBezTo>
                    <a:pt x="21588" y="2429"/>
                    <a:pt x="21322" y="2271"/>
                    <a:pt x="20993" y="2130"/>
                  </a:cubicBezTo>
                  <a:cubicBezTo>
                    <a:pt x="20666" y="1989"/>
                    <a:pt x="20174" y="1672"/>
                    <a:pt x="19904" y="1419"/>
                  </a:cubicBezTo>
                  <a:cubicBezTo>
                    <a:pt x="19644" y="1150"/>
                    <a:pt x="19025" y="704"/>
                    <a:pt x="18535" y="423"/>
                  </a:cubicBezTo>
                  <a:cubicBezTo>
                    <a:pt x="18042" y="154"/>
                    <a:pt x="17244" y="-37"/>
                    <a:pt x="16746" y="6"/>
                  </a:cubicBezTo>
                  <a:cubicBezTo>
                    <a:pt x="16250" y="48"/>
                    <a:pt x="15594" y="302"/>
                    <a:pt x="15324" y="581"/>
                  </a:cubicBezTo>
                  <a:cubicBezTo>
                    <a:pt x="15047" y="855"/>
                    <a:pt x="14577" y="923"/>
                    <a:pt x="14280" y="804"/>
                  </a:cubicBezTo>
                  <a:cubicBezTo>
                    <a:pt x="13988" y="673"/>
                    <a:pt x="13616" y="655"/>
                    <a:pt x="13435" y="764"/>
                  </a:cubicBezTo>
                  <a:cubicBezTo>
                    <a:pt x="13252" y="860"/>
                    <a:pt x="12778" y="948"/>
                    <a:pt x="12370" y="962"/>
                  </a:cubicBezTo>
                  <a:cubicBezTo>
                    <a:pt x="11957" y="962"/>
                    <a:pt x="11316" y="1311"/>
                    <a:pt x="10942" y="1747"/>
                  </a:cubicBezTo>
                  <a:cubicBezTo>
                    <a:pt x="10563" y="2174"/>
                    <a:pt x="9770" y="2811"/>
                    <a:pt x="9162" y="3148"/>
                  </a:cubicBezTo>
                  <a:cubicBezTo>
                    <a:pt x="8555" y="3477"/>
                    <a:pt x="7950" y="3666"/>
                    <a:pt x="7817" y="3563"/>
                  </a:cubicBezTo>
                  <a:cubicBezTo>
                    <a:pt x="7681" y="3460"/>
                    <a:pt x="7282" y="3497"/>
                    <a:pt x="6924" y="3625"/>
                  </a:cubicBezTo>
                  <a:cubicBezTo>
                    <a:pt x="6566" y="3749"/>
                    <a:pt x="6274" y="4236"/>
                    <a:pt x="6274" y="4680"/>
                  </a:cubicBezTo>
                  <a:cubicBezTo>
                    <a:pt x="6274" y="5124"/>
                    <a:pt x="6005" y="5693"/>
                    <a:pt x="5683" y="5967"/>
                  </a:cubicBezTo>
                  <a:cubicBezTo>
                    <a:pt x="5354" y="6229"/>
                    <a:pt x="5165" y="6809"/>
                    <a:pt x="5301" y="7239"/>
                  </a:cubicBezTo>
                  <a:cubicBezTo>
                    <a:pt x="5430" y="7672"/>
                    <a:pt x="5459" y="8351"/>
                    <a:pt x="5400" y="8739"/>
                  </a:cubicBezTo>
                  <a:cubicBezTo>
                    <a:pt x="5325" y="9125"/>
                    <a:pt x="5164" y="9698"/>
                    <a:pt x="5036" y="10019"/>
                  </a:cubicBezTo>
                  <a:cubicBezTo>
                    <a:pt x="4911" y="10340"/>
                    <a:pt x="4698" y="10769"/>
                    <a:pt x="4593" y="10994"/>
                  </a:cubicBezTo>
                  <a:cubicBezTo>
                    <a:pt x="4479" y="11209"/>
                    <a:pt x="4168" y="11532"/>
                    <a:pt x="3932" y="11756"/>
                  </a:cubicBezTo>
                  <a:cubicBezTo>
                    <a:pt x="3676" y="11952"/>
                    <a:pt x="3495" y="12350"/>
                    <a:pt x="3507" y="12632"/>
                  </a:cubicBezTo>
                  <a:cubicBezTo>
                    <a:pt x="3542" y="12911"/>
                    <a:pt x="3884" y="13461"/>
                    <a:pt x="4282" y="13865"/>
                  </a:cubicBezTo>
                  <a:cubicBezTo>
                    <a:pt x="4677" y="14268"/>
                    <a:pt x="5305" y="14682"/>
                    <a:pt x="5662" y="14814"/>
                  </a:cubicBezTo>
                  <a:cubicBezTo>
                    <a:pt x="6015" y="14942"/>
                    <a:pt x="5987" y="15045"/>
                    <a:pt x="5599" y="15015"/>
                  </a:cubicBezTo>
                  <a:cubicBezTo>
                    <a:pt x="5204" y="15015"/>
                    <a:pt x="4738" y="15117"/>
                    <a:pt x="4562" y="15283"/>
                  </a:cubicBezTo>
                  <a:cubicBezTo>
                    <a:pt x="4382" y="15442"/>
                    <a:pt x="4145" y="15664"/>
                    <a:pt x="4031" y="15774"/>
                  </a:cubicBezTo>
                  <a:cubicBezTo>
                    <a:pt x="3929" y="15898"/>
                    <a:pt x="3961" y="16148"/>
                    <a:pt x="4119" y="16369"/>
                  </a:cubicBezTo>
                  <a:cubicBezTo>
                    <a:pt x="4280" y="16590"/>
                    <a:pt x="4579" y="16789"/>
                    <a:pt x="4774" y="16831"/>
                  </a:cubicBezTo>
                  <a:cubicBezTo>
                    <a:pt x="4969" y="16859"/>
                    <a:pt x="5144" y="17046"/>
                    <a:pt x="5167" y="17232"/>
                  </a:cubicBezTo>
                  <a:cubicBezTo>
                    <a:pt x="5199" y="17413"/>
                    <a:pt x="4944" y="17569"/>
                    <a:pt x="4632" y="17569"/>
                  </a:cubicBezTo>
                  <a:cubicBezTo>
                    <a:pt x="4319" y="17583"/>
                    <a:pt x="3823" y="17295"/>
                    <a:pt x="3521" y="16961"/>
                  </a:cubicBezTo>
                  <a:cubicBezTo>
                    <a:pt x="3208" y="16643"/>
                    <a:pt x="2736" y="16195"/>
                    <a:pt x="2425" y="16045"/>
                  </a:cubicBezTo>
                  <a:cubicBezTo>
                    <a:pt x="2124" y="15878"/>
                    <a:pt x="1642" y="15838"/>
                    <a:pt x="1357" y="15954"/>
                  </a:cubicBezTo>
                  <a:cubicBezTo>
                    <a:pt x="1070" y="16068"/>
                    <a:pt x="916" y="16321"/>
                    <a:pt x="1041" y="16481"/>
                  </a:cubicBezTo>
                  <a:cubicBezTo>
                    <a:pt x="1149" y="16657"/>
                    <a:pt x="1463" y="16838"/>
                    <a:pt x="1739" y="16867"/>
                  </a:cubicBezTo>
                  <a:cubicBezTo>
                    <a:pt x="2017" y="16912"/>
                    <a:pt x="2456" y="17146"/>
                    <a:pt x="2707" y="17419"/>
                  </a:cubicBezTo>
                  <a:cubicBezTo>
                    <a:pt x="2973" y="17665"/>
                    <a:pt x="3246" y="17876"/>
                    <a:pt x="3336" y="17831"/>
                  </a:cubicBezTo>
                  <a:cubicBezTo>
                    <a:pt x="3426" y="17790"/>
                    <a:pt x="3773" y="17962"/>
                    <a:pt x="4105" y="18220"/>
                  </a:cubicBezTo>
                  <a:cubicBezTo>
                    <a:pt x="4442" y="18472"/>
                    <a:pt x="4454" y="18557"/>
                    <a:pt x="4135" y="18424"/>
                  </a:cubicBezTo>
                  <a:cubicBezTo>
                    <a:pt x="3815" y="18296"/>
                    <a:pt x="3397" y="18171"/>
                    <a:pt x="3202" y="18185"/>
                  </a:cubicBezTo>
                  <a:cubicBezTo>
                    <a:pt x="3007" y="18199"/>
                    <a:pt x="2453" y="18058"/>
                    <a:pt x="1982" y="17854"/>
                  </a:cubicBezTo>
                  <a:cubicBezTo>
                    <a:pt x="1503" y="17682"/>
                    <a:pt x="870" y="17508"/>
                    <a:pt x="568" y="17492"/>
                  </a:cubicBezTo>
                  <a:cubicBezTo>
                    <a:pt x="270" y="17478"/>
                    <a:pt x="16" y="17491"/>
                    <a:pt x="1" y="17491"/>
                  </a:cubicBezTo>
                  <a:cubicBezTo>
                    <a:pt x="-12" y="17484"/>
                    <a:pt x="143" y="17594"/>
                    <a:pt x="339" y="17705"/>
                  </a:cubicBezTo>
                  <a:cubicBezTo>
                    <a:pt x="539" y="17803"/>
                    <a:pt x="844" y="18122"/>
                    <a:pt x="1005" y="18402"/>
                  </a:cubicBezTo>
                  <a:close/>
                  <a:moveTo>
                    <a:pt x="1005" y="1840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6" name="AutoShape 615"/>
            <p:cNvSpPr>
              <a:spLocks/>
            </p:cNvSpPr>
            <p:nvPr/>
          </p:nvSpPr>
          <p:spPr bwMode="auto">
            <a:xfrm>
              <a:off x="7454900" y="2806700"/>
              <a:ext cx="133350" cy="106363"/>
            </a:xfrm>
            <a:custGeom>
              <a:avLst/>
              <a:gdLst/>
              <a:ahLst/>
              <a:cxnLst/>
              <a:rect l="0" t="0" r="r" b="b"/>
              <a:pathLst>
                <a:path w="21449" h="21457">
                  <a:moveTo>
                    <a:pt x="1950" y="7912"/>
                  </a:moveTo>
                  <a:cubicBezTo>
                    <a:pt x="2452" y="8146"/>
                    <a:pt x="2926" y="8664"/>
                    <a:pt x="3024" y="9067"/>
                  </a:cubicBezTo>
                  <a:cubicBezTo>
                    <a:pt x="3111" y="9474"/>
                    <a:pt x="3695" y="10271"/>
                    <a:pt x="4306" y="10873"/>
                  </a:cubicBezTo>
                  <a:cubicBezTo>
                    <a:pt x="4925" y="11452"/>
                    <a:pt x="5640" y="11958"/>
                    <a:pt x="5903" y="11923"/>
                  </a:cubicBezTo>
                  <a:cubicBezTo>
                    <a:pt x="6164" y="11904"/>
                    <a:pt x="6598" y="12114"/>
                    <a:pt x="6865" y="12375"/>
                  </a:cubicBezTo>
                  <a:cubicBezTo>
                    <a:pt x="7134" y="12641"/>
                    <a:pt x="7595" y="12989"/>
                    <a:pt x="7898" y="13153"/>
                  </a:cubicBezTo>
                  <a:cubicBezTo>
                    <a:pt x="8199" y="13321"/>
                    <a:pt x="8482" y="14009"/>
                    <a:pt x="8528" y="14682"/>
                  </a:cubicBezTo>
                  <a:cubicBezTo>
                    <a:pt x="8571" y="15355"/>
                    <a:pt x="8988" y="16150"/>
                    <a:pt x="9447" y="16419"/>
                  </a:cubicBezTo>
                  <a:cubicBezTo>
                    <a:pt x="9904" y="16696"/>
                    <a:pt x="10451" y="16772"/>
                    <a:pt x="10688" y="16632"/>
                  </a:cubicBezTo>
                  <a:cubicBezTo>
                    <a:pt x="10905" y="16439"/>
                    <a:pt x="11315" y="16328"/>
                    <a:pt x="11576" y="16346"/>
                  </a:cubicBezTo>
                  <a:cubicBezTo>
                    <a:pt x="11843" y="16365"/>
                    <a:pt x="12208" y="16581"/>
                    <a:pt x="12403" y="16828"/>
                  </a:cubicBezTo>
                  <a:cubicBezTo>
                    <a:pt x="12596" y="17088"/>
                    <a:pt x="12984" y="17368"/>
                    <a:pt x="13263" y="17443"/>
                  </a:cubicBezTo>
                  <a:cubicBezTo>
                    <a:pt x="13542" y="17516"/>
                    <a:pt x="14181" y="18199"/>
                    <a:pt x="14709" y="18919"/>
                  </a:cubicBezTo>
                  <a:cubicBezTo>
                    <a:pt x="15228" y="19643"/>
                    <a:pt x="15999" y="20283"/>
                    <a:pt x="16429" y="20342"/>
                  </a:cubicBezTo>
                  <a:cubicBezTo>
                    <a:pt x="16861" y="20396"/>
                    <a:pt x="17540" y="20709"/>
                    <a:pt x="17937" y="21051"/>
                  </a:cubicBezTo>
                  <a:cubicBezTo>
                    <a:pt x="18339" y="21376"/>
                    <a:pt x="18795" y="21537"/>
                    <a:pt x="18982" y="21420"/>
                  </a:cubicBezTo>
                  <a:cubicBezTo>
                    <a:pt x="19177" y="21315"/>
                    <a:pt x="19564" y="21181"/>
                    <a:pt x="19874" y="21201"/>
                  </a:cubicBezTo>
                  <a:cubicBezTo>
                    <a:pt x="20177" y="21220"/>
                    <a:pt x="20414" y="21008"/>
                    <a:pt x="20414" y="20740"/>
                  </a:cubicBezTo>
                  <a:cubicBezTo>
                    <a:pt x="20414" y="20473"/>
                    <a:pt x="20253" y="20110"/>
                    <a:pt x="20085" y="19922"/>
                  </a:cubicBezTo>
                  <a:cubicBezTo>
                    <a:pt x="19910" y="19738"/>
                    <a:pt x="19747" y="19311"/>
                    <a:pt x="19747" y="18975"/>
                  </a:cubicBezTo>
                  <a:cubicBezTo>
                    <a:pt x="19747" y="18639"/>
                    <a:pt x="19611" y="18185"/>
                    <a:pt x="19464" y="17966"/>
                  </a:cubicBezTo>
                  <a:cubicBezTo>
                    <a:pt x="19346" y="17724"/>
                    <a:pt x="19384" y="17293"/>
                    <a:pt x="19601" y="16943"/>
                  </a:cubicBezTo>
                  <a:cubicBezTo>
                    <a:pt x="19811" y="16590"/>
                    <a:pt x="20081" y="15976"/>
                    <a:pt x="20201" y="15564"/>
                  </a:cubicBezTo>
                  <a:cubicBezTo>
                    <a:pt x="20296" y="15140"/>
                    <a:pt x="20513" y="14772"/>
                    <a:pt x="20651" y="14816"/>
                  </a:cubicBezTo>
                  <a:cubicBezTo>
                    <a:pt x="20790" y="14816"/>
                    <a:pt x="21073" y="14281"/>
                    <a:pt x="21310" y="13631"/>
                  </a:cubicBezTo>
                  <a:cubicBezTo>
                    <a:pt x="21521" y="12966"/>
                    <a:pt x="21491" y="12056"/>
                    <a:pt x="21220" y="11584"/>
                  </a:cubicBezTo>
                  <a:cubicBezTo>
                    <a:pt x="20922" y="11135"/>
                    <a:pt x="20691" y="10484"/>
                    <a:pt x="20722" y="10189"/>
                  </a:cubicBezTo>
                  <a:cubicBezTo>
                    <a:pt x="20754" y="9895"/>
                    <a:pt x="20460" y="9015"/>
                    <a:pt x="20103" y="8253"/>
                  </a:cubicBezTo>
                  <a:cubicBezTo>
                    <a:pt x="19755" y="7489"/>
                    <a:pt x="19585" y="6583"/>
                    <a:pt x="19705" y="6233"/>
                  </a:cubicBezTo>
                  <a:cubicBezTo>
                    <a:pt x="19850" y="5903"/>
                    <a:pt x="19592" y="5486"/>
                    <a:pt x="19171" y="5309"/>
                  </a:cubicBezTo>
                  <a:cubicBezTo>
                    <a:pt x="19147" y="5300"/>
                    <a:pt x="19125" y="5282"/>
                    <a:pt x="19102" y="5271"/>
                  </a:cubicBezTo>
                  <a:cubicBezTo>
                    <a:pt x="19092" y="5269"/>
                    <a:pt x="19082" y="5272"/>
                    <a:pt x="19072" y="5269"/>
                  </a:cubicBezTo>
                  <a:cubicBezTo>
                    <a:pt x="18709" y="5116"/>
                    <a:pt x="18409" y="4753"/>
                    <a:pt x="18436" y="4452"/>
                  </a:cubicBezTo>
                  <a:cubicBezTo>
                    <a:pt x="18466" y="4149"/>
                    <a:pt x="18297" y="3558"/>
                    <a:pt x="18092" y="3153"/>
                  </a:cubicBezTo>
                  <a:cubicBezTo>
                    <a:pt x="17885" y="2747"/>
                    <a:pt x="17256" y="2426"/>
                    <a:pt x="16690" y="2426"/>
                  </a:cubicBezTo>
                  <a:cubicBezTo>
                    <a:pt x="16123" y="2426"/>
                    <a:pt x="15491" y="2163"/>
                    <a:pt x="15282" y="1826"/>
                  </a:cubicBezTo>
                  <a:cubicBezTo>
                    <a:pt x="15077" y="1478"/>
                    <a:pt x="14593" y="1198"/>
                    <a:pt x="14227" y="1178"/>
                  </a:cubicBezTo>
                  <a:cubicBezTo>
                    <a:pt x="13860" y="1178"/>
                    <a:pt x="13347" y="916"/>
                    <a:pt x="13100" y="623"/>
                  </a:cubicBezTo>
                  <a:cubicBezTo>
                    <a:pt x="12835" y="347"/>
                    <a:pt x="12048" y="68"/>
                    <a:pt x="11323" y="13"/>
                  </a:cubicBezTo>
                  <a:cubicBezTo>
                    <a:pt x="10603" y="-63"/>
                    <a:pt x="9937" y="214"/>
                    <a:pt x="9804" y="548"/>
                  </a:cubicBezTo>
                  <a:cubicBezTo>
                    <a:pt x="9702" y="892"/>
                    <a:pt x="9352" y="1188"/>
                    <a:pt x="9043" y="1207"/>
                  </a:cubicBezTo>
                  <a:cubicBezTo>
                    <a:pt x="8737" y="1226"/>
                    <a:pt x="8408" y="1372"/>
                    <a:pt x="8330" y="1527"/>
                  </a:cubicBezTo>
                  <a:cubicBezTo>
                    <a:pt x="8251" y="1686"/>
                    <a:pt x="7841" y="1854"/>
                    <a:pt x="7444" y="1934"/>
                  </a:cubicBezTo>
                  <a:cubicBezTo>
                    <a:pt x="7052" y="2007"/>
                    <a:pt x="6548" y="2276"/>
                    <a:pt x="6317" y="2522"/>
                  </a:cubicBezTo>
                  <a:cubicBezTo>
                    <a:pt x="6098" y="2779"/>
                    <a:pt x="5746" y="2734"/>
                    <a:pt x="5505" y="2491"/>
                  </a:cubicBezTo>
                  <a:cubicBezTo>
                    <a:pt x="5270" y="2232"/>
                    <a:pt x="4835" y="1992"/>
                    <a:pt x="4511" y="1975"/>
                  </a:cubicBezTo>
                  <a:cubicBezTo>
                    <a:pt x="4186" y="1957"/>
                    <a:pt x="3758" y="1650"/>
                    <a:pt x="3541" y="1302"/>
                  </a:cubicBezTo>
                  <a:cubicBezTo>
                    <a:pt x="3342" y="941"/>
                    <a:pt x="2966" y="530"/>
                    <a:pt x="2719" y="404"/>
                  </a:cubicBezTo>
                  <a:cubicBezTo>
                    <a:pt x="2476" y="262"/>
                    <a:pt x="1934" y="477"/>
                    <a:pt x="1494" y="827"/>
                  </a:cubicBezTo>
                  <a:cubicBezTo>
                    <a:pt x="1054" y="1176"/>
                    <a:pt x="508" y="1996"/>
                    <a:pt x="213" y="2578"/>
                  </a:cubicBezTo>
                  <a:cubicBezTo>
                    <a:pt x="-47" y="3177"/>
                    <a:pt x="-79" y="3826"/>
                    <a:pt x="174" y="4037"/>
                  </a:cubicBezTo>
                  <a:cubicBezTo>
                    <a:pt x="409" y="4276"/>
                    <a:pt x="715" y="5119"/>
                    <a:pt x="833" y="5960"/>
                  </a:cubicBezTo>
                  <a:cubicBezTo>
                    <a:pt x="934" y="6807"/>
                    <a:pt x="1452" y="7673"/>
                    <a:pt x="1950" y="7912"/>
                  </a:cubicBezTo>
                  <a:close/>
                  <a:moveTo>
                    <a:pt x="1950" y="79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7" name="AutoShape 616"/>
            <p:cNvSpPr>
              <a:spLocks/>
            </p:cNvSpPr>
            <p:nvPr/>
          </p:nvSpPr>
          <p:spPr bwMode="auto">
            <a:xfrm>
              <a:off x="7569200" y="2819400"/>
              <a:ext cx="3175" cy="3175"/>
            </a:xfrm>
            <a:custGeom>
              <a:avLst/>
              <a:gdLst/>
              <a:ahLst/>
              <a:cxnLst/>
              <a:rect l="0" t="0" r="r" b="b"/>
              <a:pathLst>
                <a:path w="20790" h="21573">
                  <a:moveTo>
                    <a:pt x="55" y="0"/>
                  </a:moveTo>
                  <a:cubicBezTo>
                    <a:pt x="-810" y="7925"/>
                    <a:pt x="8560" y="17492"/>
                    <a:pt x="19863" y="21505"/>
                  </a:cubicBezTo>
                  <a:cubicBezTo>
                    <a:pt x="20177" y="21600"/>
                    <a:pt x="20480" y="21505"/>
                    <a:pt x="20790" y="21573"/>
                  </a:cubicBezTo>
                  <a:cubicBezTo>
                    <a:pt x="8809" y="16772"/>
                    <a:pt x="-744" y="7467"/>
                    <a:pt x="55" y="0"/>
                  </a:cubicBezTo>
                  <a:close/>
                  <a:moveTo>
                    <a:pt x="55"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8" name="AutoShape 617"/>
            <p:cNvSpPr>
              <a:spLocks/>
            </p:cNvSpPr>
            <p:nvPr/>
          </p:nvSpPr>
          <p:spPr bwMode="auto">
            <a:xfrm>
              <a:off x="7581900" y="2870200"/>
              <a:ext cx="31750" cy="41275"/>
            </a:xfrm>
            <a:custGeom>
              <a:avLst/>
              <a:gdLst/>
              <a:ahLst/>
              <a:cxnLst/>
              <a:rect l="0" t="0" r="r" b="b"/>
              <a:pathLst>
                <a:path w="21384" h="21430">
                  <a:moveTo>
                    <a:pt x="21384" y="17454"/>
                  </a:moveTo>
                  <a:cubicBezTo>
                    <a:pt x="21384" y="15502"/>
                    <a:pt x="20685" y="13412"/>
                    <a:pt x="19704" y="12804"/>
                  </a:cubicBezTo>
                  <a:cubicBezTo>
                    <a:pt x="18774" y="12151"/>
                    <a:pt x="17464" y="10624"/>
                    <a:pt x="17101" y="9279"/>
                  </a:cubicBezTo>
                  <a:cubicBezTo>
                    <a:pt x="16731" y="7923"/>
                    <a:pt x="14483" y="5307"/>
                    <a:pt x="12292" y="3454"/>
                  </a:cubicBezTo>
                  <a:cubicBezTo>
                    <a:pt x="10184" y="1527"/>
                    <a:pt x="7360" y="97"/>
                    <a:pt x="6208" y="1"/>
                  </a:cubicBezTo>
                  <a:cubicBezTo>
                    <a:pt x="5071" y="-40"/>
                    <a:pt x="3712" y="784"/>
                    <a:pt x="3317" y="1843"/>
                  </a:cubicBezTo>
                  <a:cubicBezTo>
                    <a:pt x="2823" y="2874"/>
                    <a:pt x="1703" y="4410"/>
                    <a:pt x="838" y="5294"/>
                  </a:cubicBezTo>
                  <a:cubicBezTo>
                    <a:pt x="-59" y="6168"/>
                    <a:pt x="-216" y="7246"/>
                    <a:pt x="271" y="7851"/>
                  </a:cubicBezTo>
                  <a:cubicBezTo>
                    <a:pt x="879" y="8398"/>
                    <a:pt x="1439" y="9534"/>
                    <a:pt x="1439" y="10374"/>
                  </a:cubicBezTo>
                  <a:cubicBezTo>
                    <a:pt x="1439" y="11214"/>
                    <a:pt x="2115" y="12282"/>
                    <a:pt x="2839" y="12744"/>
                  </a:cubicBezTo>
                  <a:cubicBezTo>
                    <a:pt x="3531" y="13213"/>
                    <a:pt x="4198" y="14122"/>
                    <a:pt x="4198" y="14790"/>
                  </a:cubicBezTo>
                  <a:cubicBezTo>
                    <a:pt x="4198" y="15458"/>
                    <a:pt x="4363" y="16008"/>
                    <a:pt x="4503" y="16008"/>
                  </a:cubicBezTo>
                  <a:cubicBezTo>
                    <a:pt x="4634" y="16054"/>
                    <a:pt x="5573" y="17010"/>
                    <a:pt x="6709" y="18159"/>
                  </a:cubicBezTo>
                  <a:cubicBezTo>
                    <a:pt x="7813" y="19324"/>
                    <a:pt x="10490" y="20635"/>
                    <a:pt x="12721" y="20985"/>
                  </a:cubicBezTo>
                  <a:cubicBezTo>
                    <a:pt x="14960" y="21363"/>
                    <a:pt x="17810" y="21560"/>
                    <a:pt x="19078" y="21332"/>
                  </a:cubicBezTo>
                  <a:cubicBezTo>
                    <a:pt x="20272" y="21129"/>
                    <a:pt x="21384" y="19396"/>
                    <a:pt x="21384" y="17454"/>
                  </a:cubicBezTo>
                  <a:close/>
                  <a:moveTo>
                    <a:pt x="21384" y="174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19" name="AutoShape 618"/>
            <p:cNvSpPr>
              <a:spLocks/>
            </p:cNvSpPr>
            <p:nvPr/>
          </p:nvSpPr>
          <p:spPr bwMode="auto">
            <a:xfrm>
              <a:off x="7048500" y="2184400"/>
              <a:ext cx="4763" cy="4763"/>
            </a:xfrm>
            <a:custGeom>
              <a:avLst/>
              <a:gdLst/>
              <a:ahLst/>
              <a:cxnLst/>
              <a:rect l="0" t="0" r="r" b="b"/>
              <a:pathLst>
                <a:path w="19164" h="19142">
                  <a:moveTo>
                    <a:pt x="19044" y="16478"/>
                  </a:moveTo>
                  <a:cubicBezTo>
                    <a:pt x="19717" y="12199"/>
                    <a:pt x="17478" y="6132"/>
                    <a:pt x="14572" y="3023"/>
                  </a:cubicBezTo>
                  <a:cubicBezTo>
                    <a:pt x="11492" y="48"/>
                    <a:pt x="6168" y="-861"/>
                    <a:pt x="2049" y="880"/>
                  </a:cubicBezTo>
                  <a:cubicBezTo>
                    <a:pt x="-1883" y="2962"/>
                    <a:pt x="-16" y="8868"/>
                    <a:pt x="6453" y="14339"/>
                  </a:cubicBezTo>
                  <a:cubicBezTo>
                    <a:pt x="12966" y="19789"/>
                    <a:pt x="18697" y="20739"/>
                    <a:pt x="19044" y="16478"/>
                  </a:cubicBezTo>
                  <a:close/>
                  <a:moveTo>
                    <a:pt x="19044" y="164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0" name="AutoShape 619"/>
            <p:cNvSpPr>
              <a:spLocks/>
            </p:cNvSpPr>
            <p:nvPr/>
          </p:nvSpPr>
          <p:spPr bwMode="auto">
            <a:xfrm>
              <a:off x="7035800" y="2159000"/>
              <a:ext cx="19050" cy="17463"/>
            </a:xfrm>
            <a:custGeom>
              <a:avLst/>
              <a:gdLst/>
              <a:ahLst/>
              <a:cxnLst/>
              <a:rect l="0" t="0" r="r" b="b"/>
              <a:pathLst>
                <a:path w="20619" h="20837">
                  <a:moveTo>
                    <a:pt x="8936" y="15398"/>
                  </a:moveTo>
                  <a:cubicBezTo>
                    <a:pt x="12412" y="18259"/>
                    <a:pt x="16991" y="20634"/>
                    <a:pt x="19145" y="20832"/>
                  </a:cubicBezTo>
                  <a:cubicBezTo>
                    <a:pt x="21327" y="20928"/>
                    <a:pt x="21052" y="19664"/>
                    <a:pt x="18552" y="18027"/>
                  </a:cubicBezTo>
                  <a:cubicBezTo>
                    <a:pt x="16002" y="16455"/>
                    <a:pt x="11238" y="11411"/>
                    <a:pt x="8049" y="6816"/>
                  </a:cubicBezTo>
                  <a:cubicBezTo>
                    <a:pt x="4791" y="2249"/>
                    <a:pt x="1462" y="-672"/>
                    <a:pt x="570" y="133"/>
                  </a:cubicBezTo>
                  <a:cubicBezTo>
                    <a:pt x="-273" y="986"/>
                    <a:pt x="-182" y="3615"/>
                    <a:pt x="851" y="5929"/>
                  </a:cubicBezTo>
                  <a:cubicBezTo>
                    <a:pt x="1922" y="8209"/>
                    <a:pt x="5486" y="12517"/>
                    <a:pt x="8936" y="15398"/>
                  </a:cubicBezTo>
                  <a:close/>
                  <a:moveTo>
                    <a:pt x="8936" y="153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1" name="AutoShape 620"/>
            <p:cNvSpPr>
              <a:spLocks/>
            </p:cNvSpPr>
            <p:nvPr/>
          </p:nvSpPr>
          <p:spPr bwMode="auto">
            <a:xfrm>
              <a:off x="7061200" y="2146300"/>
              <a:ext cx="3175" cy="3175"/>
            </a:xfrm>
            <a:custGeom>
              <a:avLst/>
              <a:gdLst/>
              <a:ahLst/>
              <a:cxnLst/>
              <a:rect l="0" t="0" r="r" b="b"/>
              <a:pathLst>
                <a:path w="17475" h="18966">
                  <a:moveTo>
                    <a:pt x="16789" y="13728"/>
                  </a:moveTo>
                  <a:cubicBezTo>
                    <a:pt x="13957" y="6793"/>
                    <a:pt x="8067" y="1061"/>
                    <a:pt x="2945" y="63"/>
                  </a:cubicBezTo>
                  <a:cubicBezTo>
                    <a:pt x="-2333" y="-690"/>
                    <a:pt x="-301" y="5387"/>
                    <a:pt x="7322" y="13011"/>
                  </a:cubicBezTo>
                  <a:cubicBezTo>
                    <a:pt x="14793" y="20740"/>
                    <a:pt x="19267" y="20910"/>
                    <a:pt x="16789" y="13728"/>
                  </a:cubicBezTo>
                  <a:close/>
                  <a:moveTo>
                    <a:pt x="16789" y="137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2" name="AutoShape 621"/>
            <p:cNvSpPr>
              <a:spLocks/>
            </p:cNvSpPr>
            <p:nvPr/>
          </p:nvSpPr>
          <p:spPr bwMode="auto">
            <a:xfrm>
              <a:off x="7035800" y="2159000"/>
              <a:ext cx="4763" cy="4763"/>
            </a:xfrm>
            <a:custGeom>
              <a:avLst/>
              <a:gdLst/>
              <a:ahLst/>
              <a:cxnLst/>
              <a:rect l="0" t="0" r="r" b="b"/>
              <a:pathLst>
                <a:path w="18488" h="17952">
                  <a:moveTo>
                    <a:pt x="14046" y="17606"/>
                  </a:moveTo>
                  <a:cubicBezTo>
                    <a:pt x="20599" y="19364"/>
                    <a:pt x="19860" y="14212"/>
                    <a:pt x="12103" y="6732"/>
                  </a:cubicBezTo>
                  <a:cubicBezTo>
                    <a:pt x="4456" y="-942"/>
                    <a:pt x="-1001" y="-2236"/>
                    <a:pt x="154" y="3785"/>
                  </a:cubicBezTo>
                  <a:cubicBezTo>
                    <a:pt x="1480" y="9763"/>
                    <a:pt x="7495" y="16078"/>
                    <a:pt x="14046" y="17606"/>
                  </a:cubicBezTo>
                  <a:close/>
                  <a:moveTo>
                    <a:pt x="14046" y="176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3" name="AutoShape 622"/>
            <p:cNvSpPr>
              <a:spLocks/>
            </p:cNvSpPr>
            <p:nvPr/>
          </p:nvSpPr>
          <p:spPr bwMode="auto">
            <a:xfrm>
              <a:off x="7048500" y="2146300"/>
              <a:ext cx="11113" cy="9525"/>
            </a:xfrm>
            <a:custGeom>
              <a:avLst/>
              <a:gdLst/>
              <a:ahLst/>
              <a:cxnLst/>
              <a:rect l="0" t="0" r="r" b="b"/>
              <a:pathLst>
                <a:path w="20189" h="20721">
                  <a:moveTo>
                    <a:pt x="15135" y="20468"/>
                  </a:moveTo>
                  <a:cubicBezTo>
                    <a:pt x="18293" y="21413"/>
                    <a:pt x="20607" y="19653"/>
                    <a:pt x="20125" y="16212"/>
                  </a:cubicBezTo>
                  <a:cubicBezTo>
                    <a:pt x="19842" y="12754"/>
                    <a:pt x="16191" y="7795"/>
                    <a:pt x="12237" y="5106"/>
                  </a:cubicBezTo>
                  <a:cubicBezTo>
                    <a:pt x="8252" y="2581"/>
                    <a:pt x="3293" y="489"/>
                    <a:pt x="1160" y="6"/>
                  </a:cubicBezTo>
                  <a:cubicBezTo>
                    <a:pt x="-993" y="-187"/>
                    <a:pt x="-89" y="4009"/>
                    <a:pt x="3374" y="9044"/>
                  </a:cubicBezTo>
                  <a:cubicBezTo>
                    <a:pt x="6531" y="14400"/>
                    <a:pt x="12035" y="19384"/>
                    <a:pt x="15135" y="20468"/>
                  </a:cubicBezTo>
                  <a:close/>
                  <a:moveTo>
                    <a:pt x="15135" y="204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4" name="AutoShape 623"/>
            <p:cNvSpPr>
              <a:spLocks/>
            </p:cNvSpPr>
            <p:nvPr/>
          </p:nvSpPr>
          <p:spPr bwMode="auto">
            <a:xfrm>
              <a:off x="7048500" y="2197100"/>
              <a:ext cx="3175" cy="9525"/>
            </a:xfrm>
            <a:custGeom>
              <a:avLst/>
              <a:gdLst/>
              <a:ahLst/>
              <a:cxnLst/>
              <a:rect l="0" t="0" r="r" b="b"/>
              <a:pathLst>
                <a:path w="18263" h="18281">
                  <a:moveTo>
                    <a:pt x="5915" y="10565"/>
                  </a:moveTo>
                  <a:cubicBezTo>
                    <a:pt x="13759" y="17657"/>
                    <a:pt x="19523" y="20344"/>
                    <a:pt x="18024" y="16578"/>
                  </a:cubicBezTo>
                  <a:cubicBezTo>
                    <a:pt x="17010" y="12815"/>
                    <a:pt x="16886" y="8177"/>
                    <a:pt x="17928" y="6294"/>
                  </a:cubicBezTo>
                  <a:cubicBezTo>
                    <a:pt x="19499" y="4505"/>
                    <a:pt x="13617" y="1647"/>
                    <a:pt x="5818" y="293"/>
                  </a:cubicBezTo>
                  <a:cubicBezTo>
                    <a:pt x="-1835" y="-1256"/>
                    <a:pt x="-2077" y="3518"/>
                    <a:pt x="5915" y="10565"/>
                  </a:cubicBezTo>
                  <a:close/>
                  <a:moveTo>
                    <a:pt x="5915" y="1056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5" name="AutoShape 624"/>
            <p:cNvSpPr>
              <a:spLocks/>
            </p:cNvSpPr>
            <p:nvPr/>
          </p:nvSpPr>
          <p:spPr bwMode="auto">
            <a:xfrm>
              <a:off x="6883400" y="2565400"/>
              <a:ext cx="193675" cy="222250"/>
            </a:xfrm>
            <a:custGeom>
              <a:avLst/>
              <a:gdLst/>
              <a:ahLst/>
              <a:cxnLst/>
              <a:rect l="0" t="0" r="r" b="b"/>
              <a:pathLst>
                <a:path w="21527" h="21538">
                  <a:moveTo>
                    <a:pt x="11707" y="1295"/>
                  </a:moveTo>
                  <a:cubicBezTo>
                    <a:pt x="11717" y="1438"/>
                    <a:pt x="11592" y="1573"/>
                    <a:pt x="11464" y="1564"/>
                  </a:cubicBezTo>
                  <a:cubicBezTo>
                    <a:pt x="11338" y="1572"/>
                    <a:pt x="11152" y="1717"/>
                    <a:pt x="11060" y="1896"/>
                  </a:cubicBezTo>
                  <a:cubicBezTo>
                    <a:pt x="10960" y="2071"/>
                    <a:pt x="11049" y="2278"/>
                    <a:pt x="11251" y="2333"/>
                  </a:cubicBezTo>
                  <a:cubicBezTo>
                    <a:pt x="11449" y="2397"/>
                    <a:pt x="11568" y="2517"/>
                    <a:pt x="11512" y="2600"/>
                  </a:cubicBezTo>
                  <a:cubicBezTo>
                    <a:pt x="11449" y="2682"/>
                    <a:pt x="11243" y="2756"/>
                    <a:pt x="11036" y="2765"/>
                  </a:cubicBezTo>
                  <a:cubicBezTo>
                    <a:pt x="10831" y="2765"/>
                    <a:pt x="10695" y="2842"/>
                    <a:pt x="10706" y="2927"/>
                  </a:cubicBezTo>
                  <a:cubicBezTo>
                    <a:pt x="10725" y="3013"/>
                    <a:pt x="10509" y="3129"/>
                    <a:pt x="10220" y="3185"/>
                  </a:cubicBezTo>
                  <a:cubicBezTo>
                    <a:pt x="9933" y="3246"/>
                    <a:pt x="9756" y="3430"/>
                    <a:pt x="9836" y="3603"/>
                  </a:cubicBezTo>
                  <a:cubicBezTo>
                    <a:pt x="9914" y="3776"/>
                    <a:pt x="10233" y="3916"/>
                    <a:pt x="10550" y="3916"/>
                  </a:cubicBezTo>
                  <a:cubicBezTo>
                    <a:pt x="10865" y="3916"/>
                    <a:pt x="11095" y="3974"/>
                    <a:pt x="11032" y="4028"/>
                  </a:cubicBezTo>
                  <a:cubicBezTo>
                    <a:pt x="10976" y="4088"/>
                    <a:pt x="11155" y="4100"/>
                    <a:pt x="11408" y="4027"/>
                  </a:cubicBezTo>
                  <a:cubicBezTo>
                    <a:pt x="11661" y="3962"/>
                    <a:pt x="12011" y="3915"/>
                    <a:pt x="12183" y="3915"/>
                  </a:cubicBezTo>
                  <a:cubicBezTo>
                    <a:pt x="12354" y="3907"/>
                    <a:pt x="12233" y="4147"/>
                    <a:pt x="11889" y="4402"/>
                  </a:cubicBezTo>
                  <a:cubicBezTo>
                    <a:pt x="11555" y="4667"/>
                    <a:pt x="10941" y="4982"/>
                    <a:pt x="10525" y="5105"/>
                  </a:cubicBezTo>
                  <a:cubicBezTo>
                    <a:pt x="10107" y="5224"/>
                    <a:pt x="9880" y="5415"/>
                    <a:pt x="10030" y="5510"/>
                  </a:cubicBezTo>
                  <a:cubicBezTo>
                    <a:pt x="10170" y="5617"/>
                    <a:pt x="9954" y="5739"/>
                    <a:pt x="9542" y="5801"/>
                  </a:cubicBezTo>
                  <a:cubicBezTo>
                    <a:pt x="9131" y="5862"/>
                    <a:pt x="8621" y="5840"/>
                    <a:pt x="8403" y="5776"/>
                  </a:cubicBezTo>
                  <a:cubicBezTo>
                    <a:pt x="8193" y="5694"/>
                    <a:pt x="7863" y="5782"/>
                    <a:pt x="7675" y="5938"/>
                  </a:cubicBezTo>
                  <a:cubicBezTo>
                    <a:pt x="7482" y="6089"/>
                    <a:pt x="7272" y="6059"/>
                    <a:pt x="7182" y="5856"/>
                  </a:cubicBezTo>
                  <a:cubicBezTo>
                    <a:pt x="7082" y="5656"/>
                    <a:pt x="6474" y="5425"/>
                    <a:pt x="5802" y="5354"/>
                  </a:cubicBezTo>
                  <a:cubicBezTo>
                    <a:pt x="5132" y="5282"/>
                    <a:pt x="4582" y="5299"/>
                    <a:pt x="4582" y="5389"/>
                  </a:cubicBezTo>
                  <a:cubicBezTo>
                    <a:pt x="4582" y="5479"/>
                    <a:pt x="4280" y="5481"/>
                    <a:pt x="3906" y="5418"/>
                  </a:cubicBezTo>
                  <a:cubicBezTo>
                    <a:pt x="3531" y="5355"/>
                    <a:pt x="3165" y="5535"/>
                    <a:pt x="3104" y="5844"/>
                  </a:cubicBezTo>
                  <a:cubicBezTo>
                    <a:pt x="3037" y="6152"/>
                    <a:pt x="3132" y="6293"/>
                    <a:pt x="3311" y="6145"/>
                  </a:cubicBezTo>
                  <a:cubicBezTo>
                    <a:pt x="3501" y="6006"/>
                    <a:pt x="3675" y="6038"/>
                    <a:pt x="3716" y="6226"/>
                  </a:cubicBezTo>
                  <a:cubicBezTo>
                    <a:pt x="3746" y="6416"/>
                    <a:pt x="3855" y="6590"/>
                    <a:pt x="3933" y="6629"/>
                  </a:cubicBezTo>
                  <a:cubicBezTo>
                    <a:pt x="4020" y="6657"/>
                    <a:pt x="4157" y="6839"/>
                    <a:pt x="4243" y="7022"/>
                  </a:cubicBezTo>
                  <a:cubicBezTo>
                    <a:pt x="4336" y="7203"/>
                    <a:pt x="4264" y="7366"/>
                    <a:pt x="4096" y="7366"/>
                  </a:cubicBezTo>
                  <a:cubicBezTo>
                    <a:pt x="3931" y="7375"/>
                    <a:pt x="3768" y="7291"/>
                    <a:pt x="3746" y="7182"/>
                  </a:cubicBezTo>
                  <a:cubicBezTo>
                    <a:pt x="3723" y="7076"/>
                    <a:pt x="3402" y="6993"/>
                    <a:pt x="3040" y="7010"/>
                  </a:cubicBezTo>
                  <a:cubicBezTo>
                    <a:pt x="2679" y="7019"/>
                    <a:pt x="2720" y="7217"/>
                    <a:pt x="3137" y="7438"/>
                  </a:cubicBezTo>
                  <a:cubicBezTo>
                    <a:pt x="3557" y="7653"/>
                    <a:pt x="4127" y="7793"/>
                    <a:pt x="4420" y="7738"/>
                  </a:cubicBezTo>
                  <a:cubicBezTo>
                    <a:pt x="4708" y="7675"/>
                    <a:pt x="5023" y="7774"/>
                    <a:pt x="5114" y="7950"/>
                  </a:cubicBezTo>
                  <a:cubicBezTo>
                    <a:pt x="5209" y="8124"/>
                    <a:pt x="4984" y="8322"/>
                    <a:pt x="4615" y="8376"/>
                  </a:cubicBezTo>
                  <a:cubicBezTo>
                    <a:pt x="4248" y="8438"/>
                    <a:pt x="3911" y="8587"/>
                    <a:pt x="3855" y="8710"/>
                  </a:cubicBezTo>
                  <a:cubicBezTo>
                    <a:pt x="3807" y="8836"/>
                    <a:pt x="3858" y="9022"/>
                    <a:pt x="3951" y="9140"/>
                  </a:cubicBezTo>
                  <a:cubicBezTo>
                    <a:pt x="4058" y="9250"/>
                    <a:pt x="3806" y="9357"/>
                    <a:pt x="3393" y="9357"/>
                  </a:cubicBezTo>
                  <a:cubicBezTo>
                    <a:pt x="2980" y="9365"/>
                    <a:pt x="2727" y="9523"/>
                    <a:pt x="2811" y="9716"/>
                  </a:cubicBezTo>
                  <a:cubicBezTo>
                    <a:pt x="2909" y="9903"/>
                    <a:pt x="2861" y="10097"/>
                    <a:pt x="2716" y="10139"/>
                  </a:cubicBezTo>
                  <a:cubicBezTo>
                    <a:pt x="2570" y="10181"/>
                    <a:pt x="2632" y="10297"/>
                    <a:pt x="2845" y="10404"/>
                  </a:cubicBezTo>
                  <a:cubicBezTo>
                    <a:pt x="3055" y="10514"/>
                    <a:pt x="3387" y="10555"/>
                    <a:pt x="3562" y="10501"/>
                  </a:cubicBezTo>
                  <a:cubicBezTo>
                    <a:pt x="3743" y="10454"/>
                    <a:pt x="3795" y="10494"/>
                    <a:pt x="3694" y="10602"/>
                  </a:cubicBezTo>
                  <a:cubicBezTo>
                    <a:pt x="3576" y="10696"/>
                    <a:pt x="3773" y="10752"/>
                    <a:pt x="4108" y="10691"/>
                  </a:cubicBezTo>
                  <a:cubicBezTo>
                    <a:pt x="4441" y="10626"/>
                    <a:pt x="4784" y="10818"/>
                    <a:pt x="4875" y="11093"/>
                  </a:cubicBezTo>
                  <a:cubicBezTo>
                    <a:pt x="4966" y="11368"/>
                    <a:pt x="5687" y="11593"/>
                    <a:pt x="6483" y="11576"/>
                  </a:cubicBezTo>
                  <a:cubicBezTo>
                    <a:pt x="7282" y="11567"/>
                    <a:pt x="7716" y="11715"/>
                    <a:pt x="7466" y="11925"/>
                  </a:cubicBezTo>
                  <a:cubicBezTo>
                    <a:pt x="7205" y="12124"/>
                    <a:pt x="6851" y="12213"/>
                    <a:pt x="6664" y="12136"/>
                  </a:cubicBezTo>
                  <a:cubicBezTo>
                    <a:pt x="6481" y="12047"/>
                    <a:pt x="6089" y="12299"/>
                    <a:pt x="5775" y="12679"/>
                  </a:cubicBezTo>
                  <a:cubicBezTo>
                    <a:pt x="5469" y="13063"/>
                    <a:pt x="5333" y="13371"/>
                    <a:pt x="5466" y="13353"/>
                  </a:cubicBezTo>
                  <a:cubicBezTo>
                    <a:pt x="5599" y="13337"/>
                    <a:pt x="5515" y="13548"/>
                    <a:pt x="5259" y="13807"/>
                  </a:cubicBezTo>
                  <a:cubicBezTo>
                    <a:pt x="5008" y="14070"/>
                    <a:pt x="4391" y="14519"/>
                    <a:pt x="3870" y="14787"/>
                  </a:cubicBezTo>
                  <a:cubicBezTo>
                    <a:pt x="3347" y="15055"/>
                    <a:pt x="3098" y="15276"/>
                    <a:pt x="3305" y="15285"/>
                  </a:cubicBezTo>
                  <a:cubicBezTo>
                    <a:pt x="3512" y="15277"/>
                    <a:pt x="3915" y="15170"/>
                    <a:pt x="4193" y="15022"/>
                  </a:cubicBezTo>
                  <a:cubicBezTo>
                    <a:pt x="4480" y="14892"/>
                    <a:pt x="4845" y="14826"/>
                    <a:pt x="5016" y="14905"/>
                  </a:cubicBezTo>
                  <a:cubicBezTo>
                    <a:pt x="5189" y="14981"/>
                    <a:pt x="5616" y="15038"/>
                    <a:pt x="5962" y="15055"/>
                  </a:cubicBezTo>
                  <a:cubicBezTo>
                    <a:pt x="6309" y="15064"/>
                    <a:pt x="6781" y="14912"/>
                    <a:pt x="7024" y="14738"/>
                  </a:cubicBezTo>
                  <a:cubicBezTo>
                    <a:pt x="7256" y="14553"/>
                    <a:pt x="7473" y="14476"/>
                    <a:pt x="7492" y="14558"/>
                  </a:cubicBezTo>
                  <a:cubicBezTo>
                    <a:pt x="7512" y="14643"/>
                    <a:pt x="7770" y="14719"/>
                    <a:pt x="8060" y="14746"/>
                  </a:cubicBezTo>
                  <a:cubicBezTo>
                    <a:pt x="8352" y="14746"/>
                    <a:pt x="8053" y="14902"/>
                    <a:pt x="7397" y="15037"/>
                  </a:cubicBezTo>
                  <a:cubicBezTo>
                    <a:pt x="6739" y="15171"/>
                    <a:pt x="5806" y="15305"/>
                    <a:pt x="5320" y="15323"/>
                  </a:cubicBezTo>
                  <a:cubicBezTo>
                    <a:pt x="4833" y="15350"/>
                    <a:pt x="4336" y="15473"/>
                    <a:pt x="4217" y="15620"/>
                  </a:cubicBezTo>
                  <a:cubicBezTo>
                    <a:pt x="4101" y="15766"/>
                    <a:pt x="3743" y="15961"/>
                    <a:pt x="3420" y="16032"/>
                  </a:cubicBezTo>
                  <a:cubicBezTo>
                    <a:pt x="3100" y="16111"/>
                    <a:pt x="2929" y="16279"/>
                    <a:pt x="3042" y="16395"/>
                  </a:cubicBezTo>
                  <a:cubicBezTo>
                    <a:pt x="3150" y="16513"/>
                    <a:pt x="3182" y="16699"/>
                    <a:pt x="3108" y="16809"/>
                  </a:cubicBezTo>
                  <a:cubicBezTo>
                    <a:pt x="3022" y="16913"/>
                    <a:pt x="3087" y="17036"/>
                    <a:pt x="3227" y="17064"/>
                  </a:cubicBezTo>
                  <a:cubicBezTo>
                    <a:pt x="3365" y="17102"/>
                    <a:pt x="3293" y="17167"/>
                    <a:pt x="3055" y="17185"/>
                  </a:cubicBezTo>
                  <a:cubicBezTo>
                    <a:pt x="2818" y="17221"/>
                    <a:pt x="2458" y="17149"/>
                    <a:pt x="2261" y="17017"/>
                  </a:cubicBezTo>
                  <a:cubicBezTo>
                    <a:pt x="2065" y="16882"/>
                    <a:pt x="1838" y="16858"/>
                    <a:pt x="1752" y="16942"/>
                  </a:cubicBezTo>
                  <a:cubicBezTo>
                    <a:pt x="1676" y="17033"/>
                    <a:pt x="1548" y="17057"/>
                    <a:pt x="1488" y="16993"/>
                  </a:cubicBezTo>
                  <a:cubicBezTo>
                    <a:pt x="1414" y="16938"/>
                    <a:pt x="1044" y="17015"/>
                    <a:pt x="649" y="17178"/>
                  </a:cubicBezTo>
                  <a:cubicBezTo>
                    <a:pt x="261" y="17348"/>
                    <a:pt x="-35" y="17541"/>
                    <a:pt x="3" y="17624"/>
                  </a:cubicBezTo>
                  <a:cubicBezTo>
                    <a:pt x="44" y="17706"/>
                    <a:pt x="816" y="17730"/>
                    <a:pt x="1725" y="17686"/>
                  </a:cubicBezTo>
                  <a:cubicBezTo>
                    <a:pt x="2633" y="17640"/>
                    <a:pt x="3135" y="17771"/>
                    <a:pt x="2823" y="17963"/>
                  </a:cubicBezTo>
                  <a:cubicBezTo>
                    <a:pt x="2515" y="18161"/>
                    <a:pt x="1954" y="18379"/>
                    <a:pt x="1575" y="18457"/>
                  </a:cubicBezTo>
                  <a:cubicBezTo>
                    <a:pt x="1193" y="18536"/>
                    <a:pt x="778" y="18785"/>
                    <a:pt x="639" y="19028"/>
                  </a:cubicBezTo>
                  <a:cubicBezTo>
                    <a:pt x="505" y="19271"/>
                    <a:pt x="597" y="19467"/>
                    <a:pt x="839" y="19467"/>
                  </a:cubicBezTo>
                  <a:cubicBezTo>
                    <a:pt x="1080" y="19467"/>
                    <a:pt x="1325" y="19573"/>
                    <a:pt x="1379" y="19711"/>
                  </a:cubicBezTo>
                  <a:cubicBezTo>
                    <a:pt x="1440" y="19845"/>
                    <a:pt x="2044" y="19810"/>
                    <a:pt x="2737" y="19632"/>
                  </a:cubicBezTo>
                  <a:cubicBezTo>
                    <a:pt x="3425" y="19446"/>
                    <a:pt x="3560" y="19520"/>
                    <a:pt x="3041" y="19791"/>
                  </a:cubicBezTo>
                  <a:cubicBezTo>
                    <a:pt x="2514" y="20057"/>
                    <a:pt x="1899" y="20385"/>
                    <a:pt x="1686" y="20536"/>
                  </a:cubicBezTo>
                  <a:cubicBezTo>
                    <a:pt x="1472" y="20688"/>
                    <a:pt x="1589" y="20793"/>
                    <a:pt x="1960" y="20793"/>
                  </a:cubicBezTo>
                  <a:cubicBezTo>
                    <a:pt x="2330" y="20784"/>
                    <a:pt x="3028" y="20619"/>
                    <a:pt x="3506" y="20407"/>
                  </a:cubicBezTo>
                  <a:cubicBezTo>
                    <a:pt x="3984" y="20198"/>
                    <a:pt x="4352" y="20149"/>
                    <a:pt x="4332" y="20295"/>
                  </a:cubicBezTo>
                  <a:cubicBezTo>
                    <a:pt x="4313" y="20442"/>
                    <a:pt x="3954" y="20691"/>
                    <a:pt x="3542" y="20835"/>
                  </a:cubicBezTo>
                  <a:cubicBezTo>
                    <a:pt x="3137" y="20998"/>
                    <a:pt x="2976" y="21103"/>
                    <a:pt x="3202" y="21103"/>
                  </a:cubicBezTo>
                  <a:cubicBezTo>
                    <a:pt x="3427" y="21112"/>
                    <a:pt x="3543" y="21185"/>
                    <a:pt x="3486" y="21303"/>
                  </a:cubicBezTo>
                  <a:cubicBezTo>
                    <a:pt x="3417" y="21413"/>
                    <a:pt x="3661" y="21441"/>
                    <a:pt x="4026" y="21370"/>
                  </a:cubicBezTo>
                  <a:cubicBezTo>
                    <a:pt x="4393" y="21297"/>
                    <a:pt x="4842" y="21324"/>
                    <a:pt x="5035" y="21421"/>
                  </a:cubicBezTo>
                  <a:cubicBezTo>
                    <a:pt x="5223" y="21525"/>
                    <a:pt x="5783" y="21563"/>
                    <a:pt x="6281" y="21520"/>
                  </a:cubicBezTo>
                  <a:cubicBezTo>
                    <a:pt x="6777" y="21467"/>
                    <a:pt x="7571" y="21345"/>
                    <a:pt x="8046" y="21232"/>
                  </a:cubicBezTo>
                  <a:cubicBezTo>
                    <a:pt x="8523" y="21134"/>
                    <a:pt x="9209" y="20866"/>
                    <a:pt x="9586" y="20673"/>
                  </a:cubicBezTo>
                  <a:cubicBezTo>
                    <a:pt x="9954" y="20468"/>
                    <a:pt x="10153" y="20137"/>
                    <a:pt x="10039" y="19911"/>
                  </a:cubicBezTo>
                  <a:cubicBezTo>
                    <a:pt x="9922" y="19688"/>
                    <a:pt x="10047" y="19512"/>
                    <a:pt x="10328" y="19538"/>
                  </a:cubicBezTo>
                  <a:cubicBezTo>
                    <a:pt x="10611" y="19547"/>
                    <a:pt x="10767" y="19673"/>
                    <a:pt x="10695" y="19809"/>
                  </a:cubicBezTo>
                  <a:cubicBezTo>
                    <a:pt x="10613" y="19942"/>
                    <a:pt x="10791" y="20051"/>
                    <a:pt x="11084" y="20051"/>
                  </a:cubicBezTo>
                  <a:cubicBezTo>
                    <a:pt x="11376" y="20042"/>
                    <a:pt x="11842" y="19868"/>
                    <a:pt x="12110" y="19643"/>
                  </a:cubicBezTo>
                  <a:cubicBezTo>
                    <a:pt x="12382" y="19423"/>
                    <a:pt x="12768" y="19235"/>
                    <a:pt x="12970" y="19252"/>
                  </a:cubicBezTo>
                  <a:cubicBezTo>
                    <a:pt x="13173" y="19269"/>
                    <a:pt x="13400" y="19093"/>
                    <a:pt x="13462" y="18879"/>
                  </a:cubicBezTo>
                  <a:cubicBezTo>
                    <a:pt x="13515" y="18664"/>
                    <a:pt x="14265" y="18440"/>
                    <a:pt x="15099" y="18359"/>
                  </a:cubicBezTo>
                  <a:cubicBezTo>
                    <a:pt x="15934" y="18296"/>
                    <a:pt x="16666" y="18110"/>
                    <a:pt x="16737" y="17969"/>
                  </a:cubicBezTo>
                  <a:cubicBezTo>
                    <a:pt x="16803" y="17826"/>
                    <a:pt x="16962" y="17848"/>
                    <a:pt x="17084" y="18017"/>
                  </a:cubicBezTo>
                  <a:cubicBezTo>
                    <a:pt x="17199" y="18190"/>
                    <a:pt x="17459" y="18216"/>
                    <a:pt x="17636" y="18080"/>
                  </a:cubicBezTo>
                  <a:cubicBezTo>
                    <a:pt x="17814" y="17943"/>
                    <a:pt x="18104" y="17874"/>
                    <a:pt x="18272" y="17934"/>
                  </a:cubicBezTo>
                  <a:cubicBezTo>
                    <a:pt x="18445" y="17978"/>
                    <a:pt x="18927" y="18030"/>
                    <a:pt x="19355" y="18030"/>
                  </a:cubicBezTo>
                  <a:cubicBezTo>
                    <a:pt x="19782" y="18039"/>
                    <a:pt x="19886" y="17795"/>
                    <a:pt x="19598" y="17499"/>
                  </a:cubicBezTo>
                  <a:cubicBezTo>
                    <a:pt x="19300" y="17212"/>
                    <a:pt x="19239" y="16913"/>
                    <a:pt x="19452" y="16842"/>
                  </a:cubicBezTo>
                  <a:cubicBezTo>
                    <a:pt x="19667" y="16771"/>
                    <a:pt x="20014" y="16533"/>
                    <a:pt x="20249" y="16328"/>
                  </a:cubicBezTo>
                  <a:cubicBezTo>
                    <a:pt x="20481" y="16125"/>
                    <a:pt x="20614" y="15795"/>
                    <a:pt x="20572" y="15610"/>
                  </a:cubicBezTo>
                  <a:cubicBezTo>
                    <a:pt x="20527" y="15426"/>
                    <a:pt x="20678" y="15107"/>
                    <a:pt x="20914" y="14909"/>
                  </a:cubicBezTo>
                  <a:cubicBezTo>
                    <a:pt x="21137" y="14697"/>
                    <a:pt x="21406" y="14357"/>
                    <a:pt x="21482" y="14128"/>
                  </a:cubicBezTo>
                  <a:cubicBezTo>
                    <a:pt x="21565" y="13903"/>
                    <a:pt x="21527" y="13300"/>
                    <a:pt x="21413" y="12794"/>
                  </a:cubicBezTo>
                  <a:cubicBezTo>
                    <a:pt x="21287" y="12290"/>
                    <a:pt x="21059" y="11801"/>
                    <a:pt x="20878" y="11716"/>
                  </a:cubicBezTo>
                  <a:cubicBezTo>
                    <a:pt x="20701" y="11625"/>
                    <a:pt x="20725" y="11474"/>
                    <a:pt x="20936" y="11368"/>
                  </a:cubicBezTo>
                  <a:cubicBezTo>
                    <a:pt x="21151" y="11266"/>
                    <a:pt x="21319" y="10995"/>
                    <a:pt x="21319" y="10771"/>
                  </a:cubicBezTo>
                  <a:cubicBezTo>
                    <a:pt x="21319" y="10546"/>
                    <a:pt x="21170" y="10171"/>
                    <a:pt x="20971" y="9951"/>
                  </a:cubicBezTo>
                  <a:cubicBezTo>
                    <a:pt x="20778" y="9728"/>
                    <a:pt x="20673" y="9359"/>
                    <a:pt x="20721" y="9133"/>
                  </a:cubicBezTo>
                  <a:cubicBezTo>
                    <a:pt x="20785" y="8910"/>
                    <a:pt x="20636" y="8628"/>
                    <a:pt x="20416" y="8505"/>
                  </a:cubicBezTo>
                  <a:cubicBezTo>
                    <a:pt x="20185" y="8395"/>
                    <a:pt x="20095" y="8177"/>
                    <a:pt x="20210" y="8052"/>
                  </a:cubicBezTo>
                  <a:cubicBezTo>
                    <a:pt x="20323" y="7925"/>
                    <a:pt x="20555" y="7833"/>
                    <a:pt x="20732" y="7852"/>
                  </a:cubicBezTo>
                  <a:cubicBezTo>
                    <a:pt x="20907" y="7870"/>
                    <a:pt x="20798" y="7744"/>
                    <a:pt x="20473" y="7593"/>
                  </a:cubicBezTo>
                  <a:cubicBezTo>
                    <a:pt x="20162" y="7427"/>
                    <a:pt x="19724" y="7269"/>
                    <a:pt x="19511" y="7242"/>
                  </a:cubicBezTo>
                  <a:cubicBezTo>
                    <a:pt x="19298" y="7216"/>
                    <a:pt x="18893" y="6842"/>
                    <a:pt x="18621" y="6421"/>
                  </a:cubicBezTo>
                  <a:cubicBezTo>
                    <a:pt x="18357" y="5996"/>
                    <a:pt x="17767" y="5540"/>
                    <a:pt x="17346" y="5370"/>
                  </a:cubicBezTo>
                  <a:cubicBezTo>
                    <a:pt x="16921" y="5212"/>
                    <a:pt x="16436" y="5154"/>
                    <a:pt x="16269" y="5251"/>
                  </a:cubicBezTo>
                  <a:cubicBezTo>
                    <a:pt x="16102" y="5351"/>
                    <a:pt x="15880" y="5672"/>
                    <a:pt x="15808" y="5980"/>
                  </a:cubicBezTo>
                  <a:cubicBezTo>
                    <a:pt x="15726" y="6285"/>
                    <a:pt x="15481" y="6558"/>
                    <a:pt x="15269" y="6593"/>
                  </a:cubicBezTo>
                  <a:cubicBezTo>
                    <a:pt x="15055" y="6621"/>
                    <a:pt x="14381" y="6294"/>
                    <a:pt x="13765" y="5864"/>
                  </a:cubicBezTo>
                  <a:cubicBezTo>
                    <a:pt x="13149" y="5433"/>
                    <a:pt x="12901" y="4667"/>
                    <a:pt x="13228" y="4176"/>
                  </a:cubicBezTo>
                  <a:cubicBezTo>
                    <a:pt x="13552" y="3685"/>
                    <a:pt x="14048" y="3254"/>
                    <a:pt x="14344" y="3219"/>
                  </a:cubicBezTo>
                  <a:cubicBezTo>
                    <a:pt x="14642" y="3201"/>
                    <a:pt x="14959" y="3009"/>
                    <a:pt x="15036" y="2815"/>
                  </a:cubicBezTo>
                  <a:cubicBezTo>
                    <a:pt x="15120" y="2623"/>
                    <a:pt x="15346" y="2396"/>
                    <a:pt x="15542" y="2324"/>
                  </a:cubicBezTo>
                  <a:cubicBezTo>
                    <a:pt x="15732" y="2236"/>
                    <a:pt x="16013" y="2091"/>
                    <a:pt x="16152" y="1977"/>
                  </a:cubicBezTo>
                  <a:cubicBezTo>
                    <a:pt x="16287" y="1860"/>
                    <a:pt x="16299" y="1793"/>
                    <a:pt x="16164" y="1811"/>
                  </a:cubicBezTo>
                  <a:cubicBezTo>
                    <a:pt x="16029" y="1820"/>
                    <a:pt x="16164" y="1711"/>
                    <a:pt x="16453" y="1531"/>
                  </a:cubicBezTo>
                  <a:cubicBezTo>
                    <a:pt x="16747" y="1360"/>
                    <a:pt x="17193" y="1119"/>
                    <a:pt x="17458" y="1016"/>
                  </a:cubicBezTo>
                  <a:cubicBezTo>
                    <a:pt x="17716" y="907"/>
                    <a:pt x="17673" y="718"/>
                    <a:pt x="17366" y="588"/>
                  </a:cubicBezTo>
                  <a:cubicBezTo>
                    <a:pt x="17056" y="466"/>
                    <a:pt x="16622" y="248"/>
                    <a:pt x="16412" y="101"/>
                  </a:cubicBezTo>
                  <a:cubicBezTo>
                    <a:pt x="16191" y="-37"/>
                    <a:pt x="16106" y="-36"/>
                    <a:pt x="16201" y="117"/>
                  </a:cubicBezTo>
                  <a:cubicBezTo>
                    <a:pt x="16294" y="271"/>
                    <a:pt x="16136" y="392"/>
                    <a:pt x="15839" y="392"/>
                  </a:cubicBezTo>
                  <a:cubicBezTo>
                    <a:pt x="15541" y="392"/>
                    <a:pt x="15320" y="599"/>
                    <a:pt x="15387" y="846"/>
                  </a:cubicBezTo>
                  <a:cubicBezTo>
                    <a:pt x="15441" y="1093"/>
                    <a:pt x="15310" y="1486"/>
                    <a:pt x="15093" y="1711"/>
                  </a:cubicBezTo>
                  <a:cubicBezTo>
                    <a:pt x="14884" y="1940"/>
                    <a:pt x="14742" y="2003"/>
                    <a:pt x="14762" y="1850"/>
                  </a:cubicBezTo>
                  <a:cubicBezTo>
                    <a:pt x="14783" y="1698"/>
                    <a:pt x="14906" y="1485"/>
                    <a:pt x="15025" y="1382"/>
                  </a:cubicBezTo>
                  <a:cubicBezTo>
                    <a:pt x="15138" y="1274"/>
                    <a:pt x="15118" y="1035"/>
                    <a:pt x="14975" y="845"/>
                  </a:cubicBezTo>
                  <a:cubicBezTo>
                    <a:pt x="14817" y="664"/>
                    <a:pt x="14554" y="535"/>
                    <a:pt x="14359" y="558"/>
                  </a:cubicBezTo>
                  <a:cubicBezTo>
                    <a:pt x="14168" y="586"/>
                    <a:pt x="14106" y="712"/>
                    <a:pt x="14220" y="833"/>
                  </a:cubicBezTo>
                  <a:cubicBezTo>
                    <a:pt x="14326" y="962"/>
                    <a:pt x="14246" y="1054"/>
                    <a:pt x="14020" y="1071"/>
                  </a:cubicBezTo>
                  <a:cubicBezTo>
                    <a:pt x="13792" y="1093"/>
                    <a:pt x="13509" y="1010"/>
                    <a:pt x="13383" y="920"/>
                  </a:cubicBezTo>
                  <a:cubicBezTo>
                    <a:pt x="13276" y="817"/>
                    <a:pt x="12842" y="826"/>
                    <a:pt x="12440" y="894"/>
                  </a:cubicBezTo>
                  <a:cubicBezTo>
                    <a:pt x="12041" y="970"/>
                    <a:pt x="11707" y="1151"/>
                    <a:pt x="11707" y="1295"/>
                  </a:cubicBezTo>
                  <a:close/>
                  <a:moveTo>
                    <a:pt x="11707" y="12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6" name="AutoShape 625"/>
            <p:cNvSpPr>
              <a:spLocks/>
            </p:cNvSpPr>
            <p:nvPr/>
          </p:nvSpPr>
          <p:spPr bwMode="auto">
            <a:xfrm>
              <a:off x="6997700" y="2565400"/>
              <a:ext cx="100013" cy="71438"/>
            </a:xfrm>
            <a:custGeom>
              <a:avLst/>
              <a:gdLst/>
              <a:ahLst/>
              <a:cxnLst/>
              <a:rect l="0" t="0" r="r" b="b"/>
              <a:pathLst>
                <a:path w="21164" h="21514">
                  <a:moveTo>
                    <a:pt x="3698" y="5946"/>
                  </a:moveTo>
                  <a:cubicBezTo>
                    <a:pt x="3552" y="6539"/>
                    <a:pt x="2951" y="7128"/>
                    <a:pt x="2388" y="7183"/>
                  </a:cubicBezTo>
                  <a:cubicBezTo>
                    <a:pt x="1826" y="7289"/>
                    <a:pt x="886" y="8607"/>
                    <a:pt x="275" y="10112"/>
                  </a:cubicBezTo>
                  <a:cubicBezTo>
                    <a:pt x="-345" y="11615"/>
                    <a:pt x="124" y="13960"/>
                    <a:pt x="1291" y="15278"/>
                  </a:cubicBezTo>
                  <a:cubicBezTo>
                    <a:pt x="2456" y="16597"/>
                    <a:pt x="3733" y="17596"/>
                    <a:pt x="4139" y="17512"/>
                  </a:cubicBezTo>
                  <a:cubicBezTo>
                    <a:pt x="4541" y="17404"/>
                    <a:pt x="5003" y="16569"/>
                    <a:pt x="5159" y="15634"/>
                  </a:cubicBezTo>
                  <a:cubicBezTo>
                    <a:pt x="5296" y="14693"/>
                    <a:pt x="5716" y="13708"/>
                    <a:pt x="6032" y="13404"/>
                  </a:cubicBezTo>
                  <a:cubicBezTo>
                    <a:pt x="6349" y="13105"/>
                    <a:pt x="7267" y="13283"/>
                    <a:pt x="8072" y="13766"/>
                  </a:cubicBezTo>
                  <a:cubicBezTo>
                    <a:pt x="8869" y="14288"/>
                    <a:pt x="9986" y="15685"/>
                    <a:pt x="10487" y="16986"/>
                  </a:cubicBezTo>
                  <a:cubicBezTo>
                    <a:pt x="11001" y="18274"/>
                    <a:pt x="11768" y="19417"/>
                    <a:pt x="12172" y="19500"/>
                  </a:cubicBezTo>
                  <a:cubicBezTo>
                    <a:pt x="12575" y="19581"/>
                    <a:pt x="13405" y="20064"/>
                    <a:pt x="13993" y="20574"/>
                  </a:cubicBezTo>
                  <a:cubicBezTo>
                    <a:pt x="14609" y="21034"/>
                    <a:pt x="15178" y="21512"/>
                    <a:pt x="15290" y="21512"/>
                  </a:cubicBezTo>
                  <a:cubicBezTo>
                    <a:pt x="15396" y="21541"/>
                    <a:pt x="15445" y="21136"/>
                    <a:pt x="15409" y="20637"/>
                  </a:cubicBezTo>
                  <a:cubicBezTo>
                    <a:pt x="15370" y="20137"/>
                    <a:pt x="15539" y="19793"/>
                    <a:pt x="15791" y="19875"/>
                  </a:cubicBezTo>
                  <a:cubicBezTo>
                    <a:pt x="16043" y="19956"/>
                    <a:pt x="16601" y="19681"/>
                    <a:pt x="17017" y="19253"/>
                  </a:cubicBezTo>
                  <a:cubicBezTo>
                    <a:pt x="17457" y="18874"/>
                    <a:pt x="17835" y="18107"/>
                    <a:pt x="17855" y="17631"/>
                  </a:cubicBezTo>
                  <a:cubicBezTo>
                    <a:pt x="17894" y="17157"/>
                    <a:pt x="18463" y="16854"/>
                    <a:pt x="19116" y="16966"/>
                  </a:cubicBezTo>
                  <a:cubicBezTo>
                    <a:pt x="19772" y="17047"/>
                    <a:pt x="20381" y="16699"/>
                    <a:pt x="20469" y="16139"/>
                  </a:cubicBezTo>
                  <a:cubicBezTo>
                    <a:pt x="20584" y="15584"/>
                    <a:pt x="20301" y="15008"/>
                    <a:pt x="19889" y="14923"/>
                  </a:cubicBezTo>
                  <a:cubicBezTo>
                    <a:pt x="19477" y="14837"/>
                    <a:pt x="19274" y="14312"/>
                    <a:pt x="19422" y="13788"/>
                  </a:cubicBezTo>
                  <a:cubicBezTo>
                    <a:pt x="19560" y="13256"/>
                    <a:pt x="19552" y="12540"/>
                    <a:pt x="19414" y="12128"/>
                  </a:cubicBezTo>
                  <a:cubicBezTo>
                    <a:pt x="19264" y="11730"/>
                    <a:pt x="19373" y="11373"/>
                    <a:pt x="19682" y="11323"/>
                  </a:cubicBezTo>
                  <a:cubicBezTo>
                    <a:pt x="19985" y="11266"/>
                    <a:pt x="20490" y="12183"/>
                    <a:pt x="20814" y="13341"/>
                  </a:cubicBezTo>
                  <a:cubicBezTo>
                    <a:pt x="21146" y="14500"/>
                    <a:pt x="21255" y="14237"/>
                    <a:pt x="21084" y="12754"/>
                  </a:cubicBezTo>
                  <a:cubicBezTo>
                    <a:pt x="20892" y="11271"/>
                    <a:pt x="20151" y="10008"/>
                    <a:pt x="19404" y="9953"/>
                  </a:cubicBezTo>
                  <a:cubicBezTo>
                    <a:pt x="18657" y="9900"/>
                    <a:pt x="18386" y="9565"/>
                    <a:pt x="18792" y="9193"/>
                  </a:cubicBezTo>
                  <a:cubicBezTo>
                    <a:pt x="19202" y="8844"/>
                    <a:pt x="18849" y="7412"/>
                    <a:pt x="18053" y="5988"/>
                  </a:cubicBezTo>
                  <a:cubicBezTo>
                    <a:pt x="17239" y="4591"/>
                    <a:pt x="16535" y="2932"/>
                    <a:pt x="16476" y="2315"/>
                  </a:cubicBezTo>
                  <a:cubicBezTo>
                    <a:pt x="16433" y="1691"/>
                    <a:pt x="16040" y="951"/>
                    <a:pt x="15629" y="692"/>
                  </a:cubicBezTo>
                  <a:cubicBezTo>
                    <a:pt x="15226" y="406"/>
                    <a:pt x="14201" y="107"/>
                    <a:pt x="13363" y="11"/>
                  </a:cubicBezTo>
                  <a:cubicBezTo>
                    <a:pt x="12526" y="-59"/>
                    <a:pt x="11430" y="208"/>
                    <a:pt x="10891" y="575"/>
                  </a:cubicBezTo>
                  <a:cubicBezTo>
                    <a:pt x="10380" y="1012"/>
                    <a:pt x="9683" y="1343"/>
                    <a:pt x="9369" y="1396"/>
                  </a:cubicBezTo>
                  <a:cubicBezTo>
                    <a:pt x="9056" y="1422"/>
                    <a:pt x="8678" y="1684"/>
                    <a:pt x="8492" y="1889"/>
                  </a:cubicBezTo>
                  <a:cubicBezTo>
                    <a:pt x="8317" y="2108"/>
                    <a:pt x="7765" y="2422"/>
                    <a:pt x="7245" y="2539"/>
                  </a:cubicBezTo>
                  <a:cubicBezTo>
                    <a:pt x="6722" y="2649"/>
                    <a:pt x="6066" y="3020"/>
                    <a:pt x="5811" y="3379"/>
                  </a:cubicBezTo>
                  <a:cubicBezTo>
                    <a:pt x="5548" y="3727"/>
                    <a:pt x="5016" y="4174"/>
                    <a:pt x="4655" y="4441"/>
                  </a:cubicBezTo>
                  <a:cubicBezTo>
                    <a:pt x="4284" y="4662"/>
                    <a:pt x="3856" y="5358"/>
                    <a:pt x="3698" y="5946"/>
                  </a:cubicBezTo>
                  <a:close/>
                  <a:moveTo>
                    <a:pt x="3698" y="59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7" name="AutoShape 626"/>
            <p:cNvSpPr>
              <a:spLocks/>
            </p:cNvSpPr>
            <p:nvPr/>
          </p:nvSpPr>
          <p:spPr bwMode="auto">
            <a:xfrm>
              <a:off x="7277100" y="2247900"/>
              <a:ext cx="3175" cy="4763"/>
            </a:xfrm>
            <a:custGeom>
              <a:avLst/>
              <a:gdLst/>
              <a:ahLst/>
              <a:cxnLst/>
              <a:rect l="0" t="0" r="r" b="b"/>
              <a:pathLst>
                <a:path w="17127" h="17158">
                  <a:moveTo>
                    <a:pt x="15064" y="8033"/>
                  </a:moveTo>
                  <a:cubicBezTo>
                    <a:pt x="19535" y="499"/>
                    <a:pt x="16403" y="-2318"/>
                    <a:pt x="8913" y="2105"/>
                  </a:cubicBezTo>
                  <a:cubicBezTo>
                    <a:pt x="1306" y="6363"/>
                    <a:pt x="-2065" y="12645"/>
                    <a:pt x="1306" y="15923"/>
                  </a:cubicBezTo>
                  <a:cubicBezTo>
                    <a:pt x="4558" y="19282"/>
                    <a:pt x="10310" y="15504"/>
                    <a:pt x="15064" y="8033"/>
                  </a:cubicBezTo>
                  <a:close/>
                  <a:moveTo>
                    <a:pt x="15064" y="803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8" name="AutoShape 627"/>
            <p:cNvSpPr>
              <a:spLocks/>
            </p:cNvSpPr>
            <p:nvPr/>
          </p:nvSpPr>
          <p:spPr bwMode="auto">
            <a:xfrm>
              <a:off x="7175500" y="2349500"/>
              <a:ext cx="19050" cy="11113"/>
            </a:xfrm>
            <a:custGeom>
              <a:avLst/>
              <a:gdLst/>
              <a:ahLst/>
              <a:cxnLst/>
              <a:rect l="0" t="0" r="r" b="b"/>
              <a:pathLst>
                <a:path w="21508" h="20740">
                  <a:moveTo>
                    <a:pt x="4574" y="13658"/>
                  </a:moveTo>
                  <a:cubicBezTo>
                    <a:pt x="5113" y="11400"/>
                    <a:pt x="5641" y="11827"/>
                    <a:pt x="5958" y="14480"/>
                  </a:cubicBezTo>
                  <a:cubicBezTo>
                    <a:pt x="6152" y="17164"/>
                    <a:pt x="8506" y="19159"/>
                    <a:pt x="11178" y="18677"/>
                  </a:cubicBezTo>
                  <a:cubicBezTo>
                    <a:pt x="13864" y="18338"/>
                    <a:pt x="17271" y="18984"/>
                    <a:pt x="18753" y="20255"/>
                  </a:cubicBezTo>
                  <a:cubicBezTo>
                    <a:pt x="20247" y="21516"/>
                    <a:pt x="21508" y="20232"/>
                    <a:pt x="21508" y="17407"/>
                  </a:cubicBezTo>
                  <a:cubicBezTo>
                    <a:pt x="21508" y="14579"/>
                    <a:pt x="18988" y="12267"/>
                    <a:pt x="15886" y="12826"/>
                  </a:cubicBezTo>
                  <a:cubicBezTo>
                    <a:pt x="12771" y="13142"/>
                    <a:pt x="11068" y="12112"/>
                    <a:pt x="12079" y="10512"/>
                  </a:cubicBezTo>
                  <a:cubicBezTo>
                    <a:pt x="13131" y="8990"/>
                    <a:pt x="12466" y="5998"/>
                    <a:pt x="10818" y="3684"/>
                  </a:cubicBezTo>
                  <a:cubicBezTo>
                    <a:pt x="9088" y="1460"/>
                    <a:pt x="5930" y="-84"/>
                    <a:pt x="3799" y="3"/>
                  </a:cubicBezTo>
                  <a:cubicBezTo>
                    <a:pt x="1692" y="419"/>
                    <a:pt x="-92" y="3105"/>
                    <a:pt x="4" y="6490"/>
                  </a:cubicBezTo>
                  <a:cubicBezTo>
                    <a:pt x="4" y="9910"/>
                    <a:pt x="821" y="13822"/>
                    <a:pt x="1790" y="15191"/>
                  </a:cubicBezTo>
                  <a:cubicBezTo>
                    <a:pt x="2676" y="16673"/>
                    <a:pt x="4033" y="15948"/>
                    <a:pt x="4574" y="13658"/>
                  </a:cubicBezTo>
                  <a:close/>
                  <a:moveTo>
                    <a:pt x="4574" y="136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29" name="AutoShape 628"/>
            <p:cNvSpPr>
              <a:spLocks/>
            </p:cNvSpPr>
            <p:nvPr/>
          </p:nvSpPr>
          <p:spPr bwMode="auto">
            <a:xfrm>
              <a:off x="7264400" y="2286000"/>
              <a:ext cx="3175" cy="3175"/>
            </a:xfrm>
            <a:custGeom>
              <a:avLst/>
              <a:gdLst/>
              <a:ahLst/>
              <a:cxnLst/>
              <a:rect l="0" t="0" r="r" b="b"/>
              <a:pathLst>
                <a:path w="17467" h="17436">
                  <a:moveTo>
                    <a:pt x="2144" y="9759"/>
                  </a:moveTo>
                  <a:cubicBezTo>
                    <a:pt x="-2221" y="17593"/>
                    <a:pt x="233" y="19722"/>
                    <a:pt x="8102" y="14797"/>
                  </a:cubicBezTo>
                  <a:cubicBezTo>
                    <a:pt x="15975" y="9930"/>
                    <a:pt x="19379" y="3826"/>
                    <a:pt x="16397" y="800"/>
                  </a:cubicBezTo>
                  <a:cubicBezTo>
                    <a:pt x="13049" y="-1878"/>
                    <a:pt x="7254" y="2439"/>
                    <a:pt x="2144" y="9759"/>
                  </a:cubicBezTo>
                  <a:close/>
                  <a:moveTo>
                    <a:pt x="2144" y="97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0" name="AutoShape 629"/>
            <p:cNvSpPr>
              <a:spLocks/>
            </p:cNvSpPr>
            <p:nvPr/>
          </p:nvSpPr>
          <p:spPr bwMode="auto">
            <a:xfrm>
              <a:off x="7188200" y="2349500"/>
              <a:ext cx="1588" cy="1588"/>
            </a:xfrm>
            <a:custGeom>
              <a:avLst/>
              <a:gdLst/>
              <a:ahLst/>
              <a:cxnLst/>
              <a:rect l="0" t="0" r="r" b="b"/>
              <a:pathLst>
                <a:path w="18522" h="18738">
                  <a:moveTo>
                    <a:pt x="18379" y="12317"/>
                  </a:moveTo>
                  <a:cubicBezTo>
                    <a:pt x="19478" y="4471"/>
                    <a:pt x="14138" y="-926"/>
                    <a:pt x="6364" y="133"/>
                  </a:cubicBezTo>
                  <a:cubicBezTo>
                    <a:pt x="-1332" y="1285"/>
                    <a:pt x="-2122" y="7477"/>
                    <a:pt x="4401" y="14351"/>
                  </a:cubicBezTo>
                  <a:cubicBezTo>
                    <a:pt x="11311" y="20674"/>
                    <a:pt x="17829" y="20305"/>
                    <a:pt x="18379" y="12317"/>
                  </a:cubicBezTo>
                  <a:close/>
                  <a:moveTo>
                    <a:pt x="18379" y="123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1" name="AutoShape 630"/>
            <p:cNvSpPr>
              <a:spLocks/>
            </p:cNvSpPr>
            <p:nvPr/>
          </p:nvSpPr>
          <p:spPr bwMode="auto">
            <a:xfrm>
              <a:off x="7124700" y="2616200"/>
              <a:ext cx="15875" cy="19050"/>
            </a:xfrm>
            <a:custGeom>
              <a:avLst/>
              <a:gdLst/>
              <a:ahLst/>
              <a:cxnLst/>
              <a:rect l="0" t="0" r="r" b="b"/>
              <a:pathLst>
                <a:path w="20283" h="20318">
                  <a:moveTo>
                    <a:pt x="11725" y="3437"/>
                  </a:moveTo>
                  <a:cubicBezTo>
                    <a:pt x="6698" y="6832"/>
                    <a:pt x="1553" y="12089"/>
                    <a:pt x="473" y="15203"/>
                  </a:cubicBezTo>
                  <a:cubicBezTo>
                    <a:pt x="-741" y="18306"/>
                    <a:pt x="473" y="20584"/>
                    <a:pt x="3103" y="20293"/>
                  </a:cubicBezTo>
                  <a:cubicBezTo>
                    <a:pt x="5719" y="20000"/>
                    <a:pt x="10921" y="17430"/>
                    <a:pt x="14560" y="14490"/>
                  </a:cubicBezTo>
                  <a:cubicBezTo>
                    <a:pt x="18302" y="11673"/>
                    <a:pt x="20859" y="8246"/>
                    <a:pt x="20172" y="7026"/>
                  </a:cubicBezTo>
                  <a:cubicBezTo>
                    <a:pt x="19617" y="5740"/>
                    <a:pt x="19310" y="3041"/>
                    <a:pt x="19997" y="1035"/>
                  </a:cubicBezTo>
                  <a:cubicBezTo>
                    <a:pt x="20421" y="-1016"/>
                    <a:pt x="16796" y="81"/>
                    <a:pt x="11725" y="3437"/>
                  </a:cubicBezTo>
                  <a:close/>
                  <a:moveTo>
                    <a:pt x="11725" y="34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2" name="AutoShape 631"/>
            <p:cNvSpPr>
              <a:spLocks/>
            </p:cNvSpPr>
            <p:nvPr/>
          </p:nvSpPr>
          <p:spPr bwMode="auto">
            <a:xfrm>
              <a:off x="7061200" y="2527300"/>
              <a:ext cx="15875" cy="14288"/>
            </a:xfrm>
            <a:custGeom>
              <a:avLst/>
              <a:gdLst/>
              <a:ahLst/>
              <a:cxnLst/>
              <a:rect l="0" t="0" r="r" b="b"/>
              <a:pathLst>
                <a:path w="20673" h="19575">
                  <a:moveTo>
                    <a:pt x="5803" y="14577"/>
                  </a:moveTo>
                  <a:cubicBezTo>
                    <a:pt x="8950" y="12885"/>
                    <a:pt x="11126" y="13781"/>
                    <a:pt x="10763" y="16708"/>
                  </a:cubicBezTo>
                  <a:cubicBezTo>
                    <a:pt x="10304" y="19616"/>
                    <a:pt x="12900" y="20412"/>
                    <a:pt x="16432" y="18636"/>
                  </a:cubicBezTo>
                  <a:cubicBezTo>
                    <a:pt x="19883" y="16665"/>
                    <a:pt x="21600" y="11225"/>
                    <a:pt x="20166" y="6288"/>
                  </a:cubicBezTo>
                  <a:cubicBezTo>
                    <a:pt x="18860" y="1334"/>
                    <a:pt x="13562" y="-1188"/>
                    <a:pt x="8690" y="547"/>
                  </a:cubicBezTo>
                  <a:cubicBezTo>
                    <a:pt x="3837" y="2374"/>
                    <a:pt x="0" y="6875"/>
                    <a:pt x="0" y="10739"/>
                  </a:cubicBezTo>
                  <a:cubicBezTo>
                    <a:pt x="0" y="14603"/>
                    <a:pt x="2691" y="16321"/>
                    <a:pt x="5803" y="14577"/>
                  </a:cubicBezTo>
                  <a:close/>
                  <a:moveTo>
                    <a:pt x="5803" y="145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3" name="AutoShape 632"/>
            <p:cNvSpPr>
              <a:spLocks/>
            </p:cNvSpPr>
            <p:nvPr/>
          </p:nvSpPr>
          <p:spPr bwMode="auto">
            <a:xfrm>
              <a:off x="7048500" y="2425700"/>
              <a:ext cx="38100" cy="34925"/>
            </a:xfrm>
            <a:custGeom>
              <a:avLst/>
              <a:gdLst/>
              <a:ahLst/>
              <a:cxnLst/>
              <a:rect l="0" t="0" r="r" b="b"/>
              <a:pathLst>
                <a:path w="21008" h="21276">
                  <a:moveTo>
                    <a:pt x="11119" y="1615"/>
                  </a:moveTo>
                  <a:cubicBezTo>
                    <a:pt x="10365" y="504"/>
                    <a:pt x="9245" y="-266"/>
                    <a:pt x="8574" y="87"/>
                  </a:cubicBezTo>
                  <a:cubicBezTo>
                    <a:pt x="7884" y="368"/>
                    <a:pt x="7382" y="1851"/>
                    <a:pt x="7626" y="3315"/>
                  </a:cubicBezTo>
                  <a:cubicBezTo>
                    <a:pt x="7778" y="4791"/>
                    <a:pt x="6741" y="5170"/>
                    <a:pt x="5241" y="4227"/>
                  </a:cubicBezTo>
                  <a:cubicBezTo>
                    <a:pt x="3768" y="3251"/>
                    <a:pt x="2601" y="3413"/>
                    <a:pt x="2700" y="4554"/>
                  </a:cubicBezTo>
                  <a:cubicBezTo>
                    <a:pt x="2800" y="5695"/>
                    <a:pt x="2482" y="6367"/>
                    <a:pt x="1990" y="6085"/>
                  </a:cubicBezTo>
                  <a:cubicBezTo>
                    <a:pt x="1541" y="5718"/>
                    <a:pt x="711" y="5958"/>
                    <a:pt x="173" y="6408"/>
                  </a:cubicBezTo>
                  <a:cubicBezTo>
                    <a:pt x="-316" y="6930"/>
                    <a:pt x="262" y="7985"/>
                    <a:pt x="1518" y="8898"/>
                  </a:cubicBezTo>
                  <a:cubicBezTo>
                    <a:pt x="2816" y="9746"/>
                    <a:pt x="3833" y="10118"/>
                    <a:pt x="3922" y="9644"/>
                  </a:cubicBezTo>
                  <a:cubicBezTo>
                    <a:pt x="4012" y="9164"/>
                    <a:pt x="4445" y="9040"/>
                    <a:pt x="4933" y="9412"/>
                  </a:cubicBezTo>
                  <a:cubicBezTo>
                    <a:pt x="5452" y="9735"/>
                    <a:pt x="5700" y="10391"/>
                    <a:pt x="5519" y="10800"/>
                  </a:cubicBezTo>
                  <a:cubicBezTo>
                    <a:pt x="5386" y="11232"/>
                    <a:pt x="5961" y="12828"/>
                    <a:pt x="6873" y="14419"/>
                  </a:cubicBezTo>
                  <a:cubicBezTo>
                    <a:pt x="7828" y="15981"/>
                    <a:pt x="9883" y="17205"/>
                    <a:pt x="11495" y="17032"/>
                  </a:cubicBezTo>
                  <a:cubicBezTo>
                    <a:pt x="13105" y="16871"/>
                    <a:pt x="14521" y="17802"/>
                    <a:pt x="14621" y="19090"/>
                  </a:cubicBezTo>
                  <a:cubicBezTo>
                    <a:pt x="14673" y="20366"/>
                    <a:pt x="15284" y="21334"/>
                    <a:pt x="15840" y="21274"/>
                  </a:cubicBezTo>
                  <a:cubicBezTo>
                    <a:pt x="16381" y="21162"/>
                    <a:pt x="17184" y="20205"/>
                    <a:pt x="17561" y="19045"/>
                  </a:cubicBezTo>
                  <a:cubicBezTo>
                    <a:pt x="17915" y="17884"/>
                    <a:pt x="19025" y="16526"/>
                    <a:pt x="19989" y="16034"/>
                  </a:cubicBezTo>
                  <a:cubicBezTo>
                    <a:pt x="20921" y="15504"/>
                    <a:pt x="21284" y="14818"/>
                    <a:pt x="20782" y="14453"/>
                  </a:cubicBezTo>
                  <a:cubicBezTo>
                    <a:pt x="20280" y="14108"/>
                    <a:pt x="19223" y="13928"/>
                    <a:pt x="18430" y="14070"/>
                  </a:cubicBezTo>
                  <a:cubicBezTo>
                    <a:pt x="17644" y="14236"/>
                    <a:pt x="15872" y="13699"/>
                    <a:pt x="14449" y="13035"/>
                  </a:cubicBezTo>
                  <a:cubicBezTo>
                    <a:pt x="13057" y="12302"/>
                    <a:pt x="12013" y="9919"/>
                    <a:pt x="12163" y="7707"/>
                  </a:cubicBezTo>
                  <a:cubicBezTo>
                    <a:pt x="12357" y="5508"/>
                    <a:pt x="11859" y="2737"/>
                    <a:pt x="11119" y="1615"/>
                  </a:cubicBezTo>
                  <a:close/>
                  <a:moveTo>
                    <a:pt x="11119" y="161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4" name="AutoShape 633"/>
            <p:cNvSpPr>
              <a:spLocks/>
            </p:cNvSpPr>
            <p:nvPr/>
          </p:nvSpPr>
          <p:spPr bwMode="auto">
            <a:xfrm>
              <a:off x="7112000" y="2540000"/>
              <a:ext cx="3175" cy="6350"/>
            </a:xfrm>
            <a:custGeom>
              <a:avLst/>
              <a:gdLst/>
              <a:ahLst/>
              <a:cxnLst/>
              <a:rect l="0" t="0" r="r" b="b"/>
              <a:pathLst>
                <a:path w="20113" h="19001">
                  <a:moveTo>
                    <a:pt x="20024" y="14596"/>
                  </a:moveTo>
                  <a:cubicBezTo>
                    <a:pt x="19283" y="10021"/>
                    <a:pt x="14726" y="4159"/>
                    <a:pt x="10123" y="1375"/>
                  </a:cubicBezTo>
                  <a:cubicBezTo>
                    <a:pt x="5304" y="-1246"/>
                    <a:pt x="906" y="-31"/>
                    <a:pt x="115" y="4263"/>
                  </a:cubicBezTo>
                  <a:cubicBezTo>
                    <a:pt x="-785" y="8543"/>
                    <a:pt x="3716" y="14387"/>
                    <a:pt x="9960" y="17416"/>
                  </a:cubicBezTo>
                  <a:cubicBezTo>
                    <a:pt x="16261" y="20354"/>
                    <a:pt x="20815" y="19089"/>
                    <a:pt x="20024" y="14596"/>
                  </a:cubicBezTo>
                  <a:close/>
                  <a:moveTo>
                    <a:pt x="20024" y="145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5" name="AutoShape 634"/>
            <p:cNvSpPr>
              <a:spLocks/>
            </p:cNvSpPr>
            <p:nvPr/>
          </p:nvSpPr>
          <p:spPr bwMode="auto">
            <a:xfrm>
              <a:off x="7073900" y="2527300"/>
              <a:ext cx="11113" cy="12700"/>
            </a:xfrm>
            <a:custGeom>
              <a:avLst/>
              <a:gdLst/>
              <a:ahLst/>
              <a:cxnLst/>
              <a:rect l="0" t="0" r="r" b="b"/>
              <a:pathLst>
                <a:path w="18486" h="19518">
                  <a:moveTo>
                    <a:pt x="7312" y="17810"/>
                  </a:moveTo>
                  <a:cubicBezTo>
                    <a:pt x="9737" y="15331"/>
                    <a:pt x="14178" y="9076"/>
                    <a:pt x="17303" y="3985"/>
                  </a:cubicBezTo>
                  <a:cubicBezTo>
                    <a:pt x="20394" y="-1099"/>
                    <a:pt x="17209" y="-1355"/>
                    <a:pt x="10294" y="3432"/>
                  </a:cubicBezTo>
                  <a:cubicBezTo>
                    <a:pt x="3387" y="8269"/>
                    <a:pt x="-1206" y="14499"/>
                    <a:pt x="279" y="17257"/>
                  </a:cubicBezTo>
                  <a:cubicBezTo>
                    <a:pt x="1577" y="20092"/>
                    <a:pt x="4778" y="20245"/>
                    <a:pt x="7312" y="17810"/>
                  </a:cubicBezTo>
                  <a:close/>
                  <a:moveTo>
                    <a:pt x="7312" y="1781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6" name="AutoShape 635"/>
            <p:cNvSpPr>
              <a:spLocks/>
            </p:cNvSpPr>
            <p:nvPr/>
          </p:nvSpPr>
          <p:spPr bwMode="auto">
            <a:xfrm>
              <a:off x="7175500" y="2362200"/>
              <a:ext cx="4763" cy="4763"/>
            </a:xfrm>
            <a:custGeom>
              <a:avLst/>
              <a:gdLst/>
              <a:ahLst/>
              <a:cxnLst/>
              <a:rect l="0" t="0" r="r" b="b"/>
              <a:pathLst>
                <a:path w="19083" h="19062">
                  <a:moveTo>
                    <a:pt x="2614" y="186"/>
                  </a:moveTo>
                  <a:cubicBezTo>
                    <a:pt x="-1533" y="749"/>
                    <a:pt x="-713" y="6432"/>
                    <a:pt x="4844" y="12359"/>
                  </a:cubicBezTo>
                  <a:cubicBezTo>
                    <a:pt x="10224" y="18406"/>
                    <a:pt x="16327" y="20875"/>
                    <a:pt x="18059" y="17620"/>
                  </a:cubicBezTo>
                  <a:cubicBezTo>
                    <a:pt x="20067" y="14484"/>
                    <a:pt x="19016" y="8901"/>
                    <a:pt x="15829" y="5463"/>
                  </a:cubicBezTo>
                  <a:cubicBezTo>
                    <a:pt x="12867" y="1822"/>
                    <a:pt x="6670" y="-725"/>
                    <a:pt x="2614" y="186"/>
                  </a:cubicBezTo>
                  <a:close/>
                  <a:moveTo>
                    <a:pt x="2614" y="1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7" name="AutoShape 636"/>
            <p:cNvSpPr>
              <a:spLocks/>
            </p:cNvSpPr>
            <p:nvPr/>
          </p:nvSpPr>
          <p:spPr bwMode="auto">
            <a:xfrm>
              <a:off x="7061200" y="2463800"/>
              <a:ext cx="4763" cy="4763"/>
            </a:xfrm>
            <a:custGeom>
              <a:avLst/>
              <a:gdLst/>
              <a:ahLst/>
              <a:cxnLst/>
              <a:rect l="0" t="0" r="r" b="b"/>
              <a:pathLst>
                <a:path w="19305" h="19456">
                  <a:moveTo>
                    <a:pt x="16246" y="18646"/>
                  </a:moveTo>
                  <a:cubicBezTo>
                    <a:pt x="19675" y="16282"/>
                    <a:pt x="20326" y="10955"/>
                    <a:pt x="17662" y="6719"/>
                  </a:cubicBezTo>
                  <a:cubicBezTo>
                    <a:pt x="15163" y="2395"/>
                    <a:pt x="8779" y="-567"/>
                    <a:pt x="3982" y="92"/>
                  </a:cubicBezTo>
                  <a:cubicBezTo>
                    <a:pt x="-866" y="410"/>
                    <a:pt x="-1274" y="5951"/>
                    <a:pt x="2683" y="12002"/>
                  </a:cubicBezTo>
                  <a:cubicBezTo>
                    <a:pt x="6763" y="17944"/>
                    <a:pt x="12865" y="21033"/>
                    <a:pt x="16246" y="18646"/>
                  </a:cubicBezTo>
                  <a:close/>
                  <a:moveTo>
                    <a:pt x="16246" y="186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8" name="AutoShape 637"/>
            <p:cNvSpPr>
              <a:spLocks/>
            </p:cNvSpPr>
            <p:nvPr/>
          </p:nvSpPr>
          <p:spPr bwMode="auto">
            <a:xfrm>
              <a:off x="7137400" y="2679700"/>
              <a:ext cx="20638" cy="11113"/>
            </a:xfrm>
            <a:custGeom>
              <a:avLst/>
              <a:gdLst/>
              <a:ahLst/>
              <a:cxnLst/>
              <a:rect l="0" t="0" r="r" b="b"/>
              <a:pathLst>
                <a:path w="20172" h="20044">
                  <a:moveTo>
                    <a:pt x="99" y="7071"/>
                  </a:moveTo>
                  <a:cubicBezTo>
                    <a:pt x="-527" y="10385"/>
                    <a:pt x="1897" y="15376"/>
                    <a:pt x="5446" y="18283"/>
                  </a:cubicBezTo>
                  <a:cubicBezTo>
                    <a:pt x="8981" y="21191"/>
                    <a:pt x="14363" y="20376"/>
                    <a:pt x="17404" y="16728"/>
                  </a:cubicBezTo>
                  <a:cubicBezTo>
                    <a:pt x="20409" y="12994"/>
                    <a:pt x="21073" y="10042"/>
                    <a:pt x="18877" y="10653"/>
                  </a:cubicBezTo>
                  <a:cubicBezTo>
                    <a:pt x="16680" y="11148"/>
                    <a:pt x="14026" y="8551"/>
                    <a:pt x="12952" y="5203"/>
                  </a:cubicBezTo>
                  <a:cubicBezTo>
                    <a:pt x="11985" y="1780"/>
                    <a:pt x="8837" y="-409"/>
                    <a:pt x="6133" y="63"/>
                  </a:cubicBezTo>
                  <a:cubicBezTo>
                    <a:pt x="3430" y="558"/>
                    <a:pt x="775" y="3766"/>
                    <a:pt x="99" y="7071"/>
                  </a:cubicBezTo>
                  <a:close/>
                  <a:moveTo>
                    <a:pt x="99" y="70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39" name="AutoShape 638"/>
            <p:cNvSpPr>
              <a:spLocks/>
            </p:cNvSpPr>
            <p:nvPr/>
          </p:nvSpPr>
          <p:spPr bwMode="auto">
            <a:xfrm>
              <a:off x="7023100" y="2463800"/>
              <a:ext cx="4763" cy="4763"/>
            </a:xfrm>
            <a:custGeom>
              <a:avLst/>
              <a:gdLst/>
              <a:ahLst/>
              <a:cxnLst/>
              <a:rect l="0" t="0" r="r" b="b"/>
              <a:pathLst>
                <a:path w="19722" h="19133">
                  <a:moveTo>
                    <a:pt x="11225" y="17288"/>
                  </a:moveTo>
                  <a:cubicBezTo>
                    <a:pt x="17855" y="14549"/>
                    <a:pt x="21288" y="8244"/>
                    <a:pt x="19028" y="3833"/>
                  </a:cubicBezTo>
                  <a:cubicBezTo>
                    <a:pt x="16527" y="-557"/>
                    <a:pt x="11809" y="-1314"/>
                    <a:pt x="7839" y="2282"/>
                  </a:cubicBezTo>
                  <a:cubicBezTo>
                    <a:pt x="4032" y="6078"/>
                    <a:pt x="713" y="12019"/>
                    <a:pt x="15" y="15733"/>
                  </a:cubicBezTo>
                  <a:cubicBezTo>
                    <a:pt x="-312" y="19533"/>
                    <a:pt x="4779" y="20286"/>
                    <a:pt x="11225" y="17288"/>
                  </a:cubicBezTo>
                  <a:close/>
                  <a:moveTo>
                    <a:pt x="11225" y="172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0" name="AutoShape 639"/>
            <p:cNvSpPr>
              <a:spLocks/>
            </p:cNvSpPr>
            <p:nvPr/>
          </p:nvSpPr>
          <p:spPr bwMode="auto">
            <a:xfrm>
              <a:off x="7061200" y="2489200"/>
              <a:ext cx="4763" cy="4763"/>
            </a:xfrm>
            <a:custGeom>
              <a:avLst/>
              <a:gdLst/>
              <a:ahLst/>
              <a:cxnLst/>
              <a:rect l="0" t="0" r="r" b="b"/>
              <a:pathLst>
                <a:path w="17848" h="17773">
                  <a:moveTo>
                    <a:pt x="6890" y="7130"/>
                  </a:moveTo>
                  <a:cubicBezTo>
                    <a:pt x="-797" y="14774"/>
                    <a:pt x="-2267" y="19321"/>
                    <a:pt x="3570" y="17288"/>
                  </a:cubicBezTo>
                  <a:cubicBezTo>
                    <a:pt x="9300" y="15063"/>
                    <a:pt x="15949" y="8959"/>
                    <a:pt x="17434" y="3268"/>
                  </a:cubicBezTo>
                  <a:cubicBezTo>
                    <a:pt x="19333" y="-2279"/>
                    <a:pt x="14500" y="-615"/>
                    <a:pt x="6890" y="7130"/>
                  </a:cubicBezTo>
                  <a:close/>
                  <a:moveTo>
                    <a:pt x="6890" y="71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1" name="AutoShape 640"/>
            <p:cNvSpPr>
              <a:spLocks/>
            </p:cNvSpPr>
            <p:nvPr/>
          </p:nvSpPr>
          <p:spPr bwMode="auto">
            <a:xfrm>
              <a:off x="7023100" y="2438400"/>
              <a:ext cx="6350" cy="3175"/>
            </a:xfrm>
            <a:custGeom>
              <a:avLst/>
              <a:gdLst/>
              <a:ahLst/>
              <a:cxnLst/>
              <a:rect l="0" t="0" r="r" b="b"/>
              <a:pathLst>
                <a:path w="20329" h="19072">
                  <a:moveTo>
                    <a:pt x="11702" y="207"/>
                  </a:moveTo>
                  <a:cubicBezTo>
                    <a:pt x="5231" y="1621"/>
                    <a:pt x="0" y="5215"/>
                    <a:pt x="0" y="8305"/>
                  </a:cubicBezTo>
                  <a:cubicBezTo>
                    <a:pt x="238" y="11331"/>
                    <a:pt x="3738" y="15720"/>
                    <a:pt x="8219" y="18409"/>
                  </a:cubicBezTo>
                  <a:cubicBezTo>
                    <a:pt x="12815" y="20589"/>
                    <a:pt x="18050" y="17273"/>
                    <a:pt x="19903" y="10282"/>
                  </a:cubicBezTo>
                  <a:cubicBezTo>
                    <a:pt x="21600" y="3261"/>
                    <a:pt x="18100" y="-1011"/>
                    <a:pt x="11702" y="207"/>
                  </a:cubicBezTo>
                  <a:close/>
                  <a:moveTo>
                    <a:pt x="11702" y="2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2" name="AutoShape 641"/>
            <p:cNvSpPr>
              <a:spLocks/>
            </p:cNvSpPr>
            <p:nvPr/>
          </p:nvSpPr>
          <p:spPr bwMode="auto">
            <a:xfrm>
              <a:off x="7073900" y="2489200"/>
              <a:ext cx="20638" cy="17463"/>
            </a:xfrm>
            <a:custGeom>
              <a:avLst/>
              <a:gdLst/>
              <a:ahLst/>
              <a:cxnLst/>
              <a:rect l="0" t="0" r="r" b="b"/>
              <a:pathLst>
                <a:path w="19798" h="20513">
                  <a:moveTo>
                    <a:pt x="13252" y="19489"/>
                  </a:moveTo>
                  <a:cubicBezTo>
                    <a:pt x="13430" y="20229"/>
                    <a:pt x="15263" y="19496"/>
                    <a:pt x="17308" y="17808"/>
                  </a:cubicBezTo>
                  <a:cubicBezTo>
                    <a:pt x="19336" y="16136"/>
                    <a:pt x="20383" y="13062"/>
                    <a:pt x="19457" y="11026"/>
                  </a:cubicBezTo>
                  <a:cubicBezTo>
                    <a:pt x="18555" y="8999"/>
                    <a:pt x="16684" y="7098"/>
                    <a:pt x="15202" y="6834"/>
                  </a:cubicBezTo>
                  <a:cubicBezTo>
                    <a:pt x="13698" y="6735"/>
                    <a:pt x="10945" y="4521"/>
                    <a:pt x="9074" y="2173"/>
                  </a:cubicBezTo>
                  <a:cubicBezTo>
                    <a:pt x="7195" y="-155"/>
                    <a:pt x="3914" y="-674"/>
                    <a:pt x="1775" y="913"/>
                  </a:cubicBezTo>
                  <a:cubicBezTo>
                    <a:pt x="-342" y="2578"/>
                    <a:pt x="383" y="5170"/>
                    <a:pt x="3424" y="6799"/>
                  </a:cubicBezTo>
                  <a:cubicBezTo>
                    <a:pt x="6438" y="8508"/>
                    <a:pt x="7581" y="10557"/>
                    <a:pt x="5881" y="11539"/>
                  </a:cubicBezTo>
                  <a:cubicBezTo>
                    <a:pt x="4210" y="12556"/>
                    <a:pt x="3163" y="13951"/>
                    <a:pt x="3624" y="14741"/>
                  </a:cubicBezTo>
                  <a:cubicBezTo>
                    <a:pt x="4132" y="15489"/>
                    <a:pt x="2800" y="17440"/>
                    <a:pt x="816" y="19033"/>
                  </a:cubicBezTo>
                  <a:cubicBezTo>
                    <a:pt x="-1217" y="20578"/>
                    <a:pt x="677" y="20926"/>
                    <a:pt x="5040" y="20015"/>
                  </a:cubicBezTo>
                  <a:cubicBezTo>
                    <a:pt x="9379" y="19040"/>
                    <a:pt x="13063" y="18763"/>
                    <a:pt x="13252" y="19489"/>
                  </a:cubicBezTo>
                  <a:close/>
                  <a:moveTo>
                    <a:pt x="13252" y="194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3" name="AutoShape 642"/>
            <p:cNvSpPr>
              <a:spLocks/>
            </p:cNvSpPr>
            <p:nvPr/>
          </p:nvSpPr>
          <p:spPr bwMode="auto">
            <a:xfrm>
              <a:off x="7251700" y="2260600"/>
              <a:ext cx="23813" cy="19050"/>
            </a:xfrm>
            <a:custGeom>
              <a:avLst/>
              <a:gdLst/>
              <a:ahLst/>
              <a:cxnLst/>
              <a:rect l="0" t="0" r="r" b="b"/>
              <a:pathLst>
                <a:path w="20803" h="21091">
                  <a:moveTo>
                    <a:pt x="6473" y="13340"/>
                  </a:moveTo>
                  <a:cubicBezTo>
                    <a:pt x="8975" y="13593"/>
                    <a:pt x="11710" y="15092"/>
                    <a:pt x="12615" y="16855"/>
                  </a:cubicBezTo>
                  <a:cubicBezTo>
                    <a:pt x="13480" y="18661"/>
                    <a:pt x="15137" y="20451"/>
                    <a:pt x="16276" y="20984"/>
                  </a:cubicBezTo>
                  <a:cubicBezTo>
                    <a:pt x="17436" y="21437"/>
                    <a:pt x="17924" y="20412"/>
                    <a:pt x="17466" y="18607"/>
                  </a:cubicBezTo>
                  <a:cubicBezTo>
                    <a:pt x="16988" y="16829"/>
                    <a:pt x="17283" y="14446"/>
                    <a:pt x="18249" y="13467"/>
                  </a:cubicBezTo>
                  <a:cubicBezTo>
                    <a:pt x="19205" y="12475"/>
                    <a:pt x="19713" y="10544"/>
                    <a:pt x="19399" y="9346"/>
                  </a:cubicBezTo>
                  <a:cubicBezTo>
                    <a:pt x="19083" y="8147"/>
                    <a:pt x="19581" y="6429"/>
                    <a:pt x="20396" y="5463"/>
                  </a:cubicBezTo>
                  <a:cubicBezTo>
                    <a:pt x="21219" y="4491"/>
                    <a:pt x="20761" y="3359"/>
                    <a:pt x="19318" y="2747"/>
                  </a:cubicBezTo>
                  <a:cubicBezTo>
                    <a:pt x="17873" y="2135"/>
                    <a:pt x="15748" y="1022"/>
                    <a:pt x="14517" y="502"/>
                  </a:cubicBezTo>
                  <a:cubicBezTo>
                    <a:pt x="13317" y="-136"/>
                    <a:pt x="11903" y="-163"/>
                    <a:pt x="11273" y="403"/>
                  </a:cubicBezTo>
                  <a:cubicBezTo>
                    <a:pt x="10684" y="1008"/>
                    <a:pt x="10560" y="2227"/>
                    <a:pt x="11120" y="2920"/>
                  </a:cubicBezTo>
                  <a:cubicBezTo>
                    <a:pt x="11730" y="3572"/>
                    <a:pt x="11985" y="5223"/>
                    <a:pt x="11680" y="6209"/>
                  </a:cubicBezTo>
                  <a:cubicBezTo>
                    <a:pt x="11446" y="7228"/>
                    <a:pt x="9575" y="7826"/>
                    <a:pt x="7449" y="7535"/>
                  </a:cubicBezTo>
                  <a:cubicBezTo>
                    <a:pt x="5334" y="7147"/>
                    <a:pt x="2526" y="7374"/>
                    <a:pt x="1267" y="7940"/>
                  </a:cubicBezTo>
                  <a:cubicBezTo>
                    <a:pt x="-16" y="8466"/>
                    <a:pt x="-381" y="9831"/>
                    <a:pt x="432" y="10983"/>
                  </a:cubicBezTo>
                  <a:cubicBezTo>
                    <a:pt x="1235" y="12136"/>
                    <a:pt x="3960" y="13087"/>
                    <a:pt x="6473" y="13340"/>
                  </a:cubicBezTo>
                  <a:close/>
                  <a:moveTo>
                    <a:pt x="6473" y="1334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4" name="AutoShape 643"/>
            <p:cNvSpPr>
              <a:spLocks/>
            </p:cNvSpPr>
            <p:nvPr/>
          </p:nvSpPr>
          <p:spPr bwMode="auto">
            <a:xfrm>
              <a:off x="7251700" y="2260600"/>
              <a:ext cx="6350" cy="6350"/>
            </a:xfrm>
            <a:custGeom>
              <a:avLst/>
              <a:gdLst/>
              <a:ahLst/>
              <a:cxnLst/>
              <a:rect l="0" t="0" r="r" b="b"/>
              <a:pathLst>
                <a:path w="20059" h="19323">
                  <a:moveTo>
                    <a:pt x="8390" y="18641"/>
                  </a:moveTo>
                  <a:cubicBezTo>
                    <a:pt x="14237" y="20837"/>
                    <a:pt x="19152" y="17594"/>
                    <a:pt x="20009" y="10852"/>
                  </a:cubicBezTo>
                  <a:cubicBezTo>
                    <a:pt x="20528" y="4128"/>
                    <a:pt x="16955" y="-763"/>
                    <a:pt x="11890" y="98"/>
                  </a:cubicBezTo>
                  <a:cubicBezTo>
                    <a:pt x="6860" y="1194"/>
                    <a:pt x="1609" y="4419"/>
                    <a:pt x="271" y="7866"/>
                  </a:cubicBezTo>
                  <a:cubicBezTo>
                    <a:pt x="-1072" y="11298"/>
                    <a:pt x="2727" y="16034"/>
                    <a:pt x="8390" y="18641"/>
                  </a:cubicBezTo>
                  <a:close/>
                  <a:moveTo>
                    <a:pt x="8390" y="186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5" name="AutoShape 644"/>
            <p:cNvSpPr>
              <a:spLocks/>
            </p:cNvSpPr>
            <p:nvPr/>
          </p:nvSpPr>
          <p:spPr bwMode="auto">
            <a:xfrm>
              <a:off x="7264400" y="2247900"/>
              <a:ext cx="6350" cy="11113"/>
            </a:xfrm>
            <a:custGeom>
              <a:avLst/>
              <a:gdLst/>
              <a:ahLst/>
              <a:cxnLst/>
              <a:rect l="0" t="0" r="r" b="b"/>
              <a:pathLst>
                <a:path w="20017" h="20312">
                  <a:moveTo>
                    <a:pt x="16043" y="19621"/>
                  </a:moveTo>
                  <a:cubicBezTo>
                    <a:pt x="18526" y="18317"/>
                    <a:pt x="20287" y="13898"/>
                    <a:pt x="19984" y="9777"/>
                  </a:cubicBezTo>
                  <a:cubicBezTo>
                    <a:pt x="19984" y="5635"/>
                    <a:pt x="17114" y="1282"/>
                    <a:pt x="14094" y="391"/>
                  </a:cubicBezTo>
                  <a:cubicBezTo>
                    <a:pt x="11186" y="-622"/>
                    <a:pt x="8550" y="402"/>
                    <a:pt x="7977" y="2707"/>
                  </a:cubicBezTo>
                  <a:cubicBezTo>
                    <a:pt x="7709" y="5045"/>
                    <a:pt x="4687" y="8630"/>
                    <a:pt x="1710" y="10723"/>
                  </a:cubicBezTo>
                  <a:cubicBezTo>
                    <a:pt x="-1313" y="12816"/>
                    <a:pt x="-166" y="16080"/>
                    <a:pt x="3886" y="18240"/>
                  </a:cubicBezTo>
                  <a:cubicBezTo>
                    <a:pt x="8168" y="20244"/>
                    <a:pt x="13673" y="20978"/>
                    <a:pt x="16043" y="19621"/>
                  </a:cubicBezTo>
                  <a:close/>
                  <a:moveTo>
                    <a:pt x="16043" y="196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6" name="AutoShape 645"/>
            <p:cNvSpPr>
              <a:spLocks/>
            </p:cNvSpPr>
            <p:nvPr/>
          </p:nvSpPr>
          <p:spPr bwMode="auto">
            <a:xfrm>
              <a:off x="7073900" y="2514600"/>
              <a:ext cx="1588" cy="3175"/>
            </a:xfrm>
            <a:custGeom>
              <a:avLst/>
              <a:gdLst/>
              <a:ahLst/>
              <a:cxnLst/>
              <a:rect l="0" t="0" r="r" b="b"/>
              <a:pathLst>
                <a:path w="17600" h="17242">
                  <a:moveTo>
                    <a:pt x="16930" y="1811"/>
                  </a:moveTo>
                  <a:cubicBezTo>
                    <a:pt x="14507" y="-2244"/>
                    <a:pt x="8447" y="753"/>
                    <a:pt x="2967" y="8373"/>
                  </a:cubicBezTo>
                  <a:cubicBezTo>
                    <a:pt x="-2251" y="16086"/>
                    <a:pt x="-454" y="19356"/>
                    <a:pt x="7319" y="15818"/>
                  </a:cubicBezTo>
                  <a:cubicBezTo>
                    <a:pt x="15003" y="12165"/>
                    <a:pt x="19349" y="5940"/>
                    <a:pt x="16930" y="1811"/>
                  </a:cubicBezTo>
                  <a:close/>
                  <a:moveTo>
                    <a:pt x="16930" y="18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7" name="AutoShape 646"/>
            <p:cNvSpPr>
              <a:spLocks/>
            </p:cNvSpPr>
            <p:nvPr/>
          </p:nvSpPr>
          <p:spPr bwMode="auto">
            <a:xfrm>
              <a:off x="7073900" y="2476500"/>
              <a:ext cx="1588" cy="1588"/>
            </a:xfrm>
            <a:custGeom>
              <a:avLst/>
              <a:gdLst/>
              <a:ahLst/>
              <a:cxnLst/>
              <a:rect l="0" t="0" r="r" b="b"/>
              <a:pathLst>
                <a:path w="18613" h="19243">
                  <a:moveTo>
                    <a:pt x="13826" y="13743"/>
                  </a:moveTo>
                  <a:cubicBezTo>
                    <a:pt x="20511" y="5966"/>
                    <a:pt x="20248" y="-350"/>
                    <a:pt x="12694" y="15"/>
                  </a:cubicBezTo>
                  <a:cubicBezTo>
                    <a:pt x="5150" y="-304"/>
                    <a:pt x="-1089" y="6283"/>
                    <a:pt x="160" y="13790"/>
                  </a:cubicBezTo>
                  <a:cubicBezTo>
                    <a:pt x="756" y="21250"/>
                    <a:pt x="6610" y="20884"/>
                    <a:pt x="13826" y="13743"/>
                  </a:cubicBezTo>
                  <a:close/>
                  <a:moveTo>
                    <a:pt x="13826" y="137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8" name="AutoShape 647"/>
            <p:cNvSpPr>
              <a:spLocks/>
            </p:cNvSpPr>
            <p:nvPr/>
          </p:nvSpPr>
          <p:spPr bwMode="auto">
            <a:xfrm>
              <a:off x="7073900" y="2374900"/>
              <a:ext cx="339725" cy="504825"/>
            </a:xfrm>
            <a:custGeom>
              <a:avLst/>
              <a:gdLst/>
              <a:ahLst/>
              <a:cxnLst/>
              <a:rect l="0" t="0" r="r" b="b"/>
              <a:pathLst>
                <a:path w="21563" h="21572">
                  <a:moveTo>
                    <a:pt x="1035" y="2938"/>
                  </a:moveTo>
                  <a:cubicBezTo>
                    <a:pt x="1035" y="2972"/>
                    <a:pt x="1199" y="2985"/>
                    <a:pt x="1406" y="2968"/>
                  </a:cubicBezTo>
                  <a:cubicBezTo>
                    <a:pt x="1614" y="2951"/>
                    <a:pt x="1673" y="2969"/>
                    <a:pt x="1537" y="3005"/>
                  </a:cubicBezTo>
                  <a:cubicBezTo>
                    <a:pt x="1402" y="3040"/>
                    <a:pt x="1275" y="3089"/>
                    <a:pt x="1266" y="3111"/>
                  </a:cubicBezTo>
                  <a:cubicBezTo>
                    <a:pt x="1251" y="3132"/>
                    <a:pt x="1273" y="3166"/>
                    <a:pt x="1319" y="3177"/>
                  </a:cubicBezTo>
                  <a:cubicBezTo>
                    <a:pt x="1363" y="3194"/>
                    <a:pt x="1504" y="3179"/>
                    <a:pt x="1637" y="3157"/>
                  </a:cubicBezTo>
                  <a:cubicBezTo>
                    <a:pt x="1767" y="3128"/>
                    <a:pt x="1853" y="3126"/>
                    <a:pt x="1819" y="3143"/>
                  </a:cubicBezTo>
                  <a:cubicBezTo>
                    <a:pt x="1788" y="3162"/>
                    <a:pt x="1809" y="3207"/>
                    <a:pt x="1861" y="3246"/>
                  </a:cubicBezTo>
                  <a:cubicBezTo>
                    <a:pt x="1918" y="3281"/>
                    <a:pt x="1879" y="3297"/>
                    <a:pt x="1781" y="3274"/>
                  </a:cubicBezTo>
                  <a:cubicBezTo>
                    <a:pt x="1685" y="3249"/>
                    <a:pt x="1574" y="3245"/>
                    <a:pt x="1534" y="3258"/>
                  </a:cubicBezTo>
                  <a:cubicBezTo>
                    <a:pt x="1491" y="3267"/>
                    <a:pt x="1447" y="3326"/>
                    <a:pt x="1414" y="3375"/>
                  </a:cubicBezTo>
                  <a:cubicBezTo>
                    <a:pt x="1382" y="3425"/>
                    <a:pt x="1411" y="3479"/>
                    <a:pt x="1460" y="3506"/>
                  </a:cubicBezTo>
                  <a:cubicBezTo>
                    <a:pt x="1516" y="3524"/>
                    <a:pt x="1493" y="3550"/>
                    <a:pt x="1416" y="3558"/>
                  </a:cubicBezTo>
                  <a:cubicBezTo>
                    <a:pt x="1336" y="3562"/>
                    <a:pt x="1232" y="3606"/>
                    <a:pt x="1182" y="3648"/>
                  </a:cubicBezTo>
                  <a:cubicBezTo>
                    <a:pt x="1127" y="3689"/>
                    <a:pt x="1167" y="3741"/>
                    <a:pt x="1258" y="3760"/>
                  </a:cubicBezTo>
                  <a:cubicBezTo>
                    <a:pt x="1346" y="3783"/>
                    <a:pt x="1435" y="3827"/>
                    <a:pt x="1460" y="3865"/>
                  </a:cubicBezTo>
                  <a:cubicBezTo>
                    <a:pt x="1485" y="3904"/>
                    <a:pt x="1378" y="3908"/>
                    <a:pt x="1229" y="3877"/>
                  </a:cubicBezTo>
                  <a:cubicBezTo>
                    <a:pt x="1079" y="3844"/>
                    <a:pt x="939" y="3864"/>
                    <a:pt x="907" y="3919"/>
                  </a:cubicBezTo>
                  <a:cubicBezTo>
                    <a:pt x="874" y="3973"/>
                    <a:pt x="907" y="4038"/>
                    <a:pt x="966" y="4064"/>
                  </a:cubicBezTo>
                  <a:cubicBezTo>
                    <a:pt x="1023" y="4089"/>
                    <a:pt x="1046" y="4137"/>
                    <a:pt x="1012" y="4173"/>
                  </a:cubicBezTo>
                  <a:cubicBezTo>
                    <a:pt x="983" y="4211"/>
                    <a:pt x="892" y="4262"/>
                    <a:pt x="824" y="4293"/>
                  </a:cubicBezTo>
                  <a:cubicBezTo>
                    <a:pt x="750" y="4319"/>
                    <a:pt x="576" y="4352"/>
                    <a:pt x="430" y="4348"/>
                  </a:cubicBezTo>
                  <a:cubicBezTo>
                    <a:pt x="284" y="4348"/>
                    <a:pt x="114" y="4380"/>
                    <a:pt x="52" y="4418"/>
                  </a:cubicBezTo>
                  <a:cubicBezTo>
                    <a:pt x="-14" y="4452"/>
                    <a:pt x="-16" y="4501"/>
                    <a:pt x="39" y="4521"/>
                  </a:cubicBezTo>
                  <a:cubicBezTo>
                    <a:pt x="94" y="4540"/>
                    <a:pt x="240" y="4557"/>
                    <a:pt x="364" y="4549"/>
                  </a:cubicBezTo>
                  <a:cubicBezTo>
                    <a:pt x="488" y="4547"/>
                    <a:pt x="656" y="4555"/>
                    <a:pt x="739" y="4568"/>
                  </a:cubicBezTo>
                  <a:cubicBezTo>
                    <a:pt x="826" y="4576"/>
                    <a:pt x="874" y="4611"/>
                    <a:pt x="857" y="4633"/>
                  </a:cubicBezTo>
                  <a:cubicBezTo>
                    <a:pt x="834" y="4651"/>
                    <a:pt x="745" y="4668"/>
                    <a:pt x="650" y="4670"/>
                  </a:cubicBezTo>
                  <a:cubicBezTo>
                    <a:pt x="555" y="4672"/>
                    <a:pt x="584" y="4725"/>
                    <a:pt x="711" y="4796"/>
                  </a:cubicBezTo>
                  <a:cubicBezTo>
                    <a:pt x="846" y="4861"/>
                    <a:pt x="979" y="4909"/>
                    <a:pt x="1022" y="4905"/>
                  </a:cubicBezTo>
                  <a:cubicBezTo>
                    <a:pt x="1064" y="4897"/>
                    <a:pt x="1155" y="4919"/>
                    <a:pt x="1217" y="4962"/>
                  </a:cubicBezTo>
                  <a:cubicBezTo>
                    <a:pt x="1289" y="4998"/>
                    <a:pt x="1610" y="4875"/>
                    <a:pt x="1947" y="4686"/>
                  </a:cubicBezTo>
                  <a:cubicBezTo>
                    <a:pt x="2283" y="4494"/>
                    <a:pt x="2516" y="4386"/>
                    <a:pt x="2460" y="4442"/>
                  </a:cubicBezTo>
                  <a:cubicBezTo>
                    <a:pt x="2408" y="4500"/>
                    <a:pt x="2405" y="4564"/>
                    <a:pt x="2456" y="4581"/>
                  </a:cubicBezTo>
                  <a:cubicBezTo>
                    <a:pt x="2507" y="4600"/>
                    <a:pt x="2468" y="4633"/>
                    <a:pt x="2365" y="4650"/>
                  </a:cubicBezTo>
                  <a:cubicBezTo>
                    <a:pt x="2266" y="4670"/>
                    <a:pt x="2125" y="4779"/>
                    <a:pt x="2037" y="4888"/>
                  </a:cubicBezTo>
                  <a:cubicBezTo>
                    <a:pt x="1952" y="4997"/>
                    <a:pt x="1889" y="5114"/>
                    <a:pt x="1908" y="5139"/>
                  </a:cubicBezTo>
                  <a:cubicBezTo>
                    <a:pt x="1920" y="5165"/>
                    <a:pt x="1841" y="5281"/>
                    <a:pt x="1740" y="5394"/>
                  </a:cubicBezTo>
                  <a:cubicBezTo>
                    <a:pt x="1629" y="5504"/>
                    <a:pt x="1585" y="5617"/>
                    <a:pt x="1633" y="5627"/>
                  </a:cubicBezTo>
                  <a:cubicBezTo>
                    <a:pt x="1676" y="5644"/>
                    <a:pt x="1644" y="5765"/>
                    <a:pt x="1555" y="5900"/>
                  </a:cubicBezTo>
                  <a:cubicBezTo>
                    <a:pt x="1474" y="6037"/>
                    <a:pt x="1415" y="6219"/>
                    <a:pt x="1438" y="6307"/>
                  </a:cubicBezTo>
                  <a:cubicBezTo>
                    <a:pt x="1462" y="6396"/>
                    <a:pt x="1430" y="6510"/>
                    <a:pt x="1367" y="6562"/>
                  </a:cubicBezTo>
                  <a:cubicBezTo>
                    <a:pt x="1301" y="6611"/>
                    <a:pt x="1296" y="6689"/>
                    <a:pt x="1340" y="6735"/>
                  </a:cubicBezTo>
                  <a:cubicBezTo>
                    <a:pt x="1382" y="6782"/>
                    <a:pt x="1478" y="6806"/>
                    <a:pt x="1536" y="6786"/>
                  </a:cubicBezTo>
                  <a:cubicBezTo>
                    <a:pt x="1598" y="6772"/>
                    <a:pt x="1559" y="6837"/>
                    <a:pt x="1452" y="6934"/>
                  </a:cubicBezTo>
                  <a:cubicBezTo>
                    <a:pt x="1348" y="7032"/>
                    <a:pt x="1244" y="7223"/>
                    <a:pt x="1227" y="7360"/>
                  </a:cubicBezTo>
                  <a:cubicBezTo>
                    <a:pt x="1203" y="7497"/>
                    <a:pt x="1129" y="7645"/>
                    <a:pt x="1051" y="7691"/>
                  </a:cubicBezTo>
                  <a:cubicBezTo>
                    <a:pt x="970" y="7733"/>
                    <a:pt x="914" y="7799"/>
                    <a:pt x="920" y="7833"/>
                  </a:cubicBezTo>
                  <a:cubicBezTo>
                    <a:pt x="931" y="7865"/>
                    <a:pt x="1075" y="7896"/>
                    <a:pt x="1254" y="7894"/>
                  </a:cubicBezTo>
                  <a:cubicBezTo>
                    <a:pt x="1433" y="7896"/>
                    <a:pt x="1554" y="7837"/>
                    <a:pt x="1530" y="7766"/>
                  </a:cubicBezTo>
                  <a:cubicBezTo>
                    <a:pt x="1512" y="7694"/>
                    <a:pt x="1540" y="7552"/>
                    <a:pt x="1620" y="7452"/>
                  </a:cubicBezTo>
                  <a:cubicBezTo>
                    <a:pt x="1693" y="7350"/>
                    <a:pt x="1753" y="7216"/>
                    <a:pt x="1742" y="7152"/>
                  </a:cubicBezTo>
                  <a:cubicBezTo>
                    <a:pt x="1730" y="7090"/>
                    <a:pt x="1803" y="6985"/>
                    <a:pt x="1895" y="6922"/>
                  </a:cubicBezTo>
                  <a:cubicBezTo>
                    <a:pt x="1984" y="6855"/>
                    <a:pt x="2002" y="6665"/>
                    <a:pt x="1931" y="6496"/>
                  </a:cubicBezTo>
                  <a:cubicBezTo>
                    <a:pt x="1865" y="6325"/>
                    <a:pt x="1854" y="6186"/>
                    <a:pt x="1921" y="6188"/>
                  </a:cubicBezTo>
                  <a:cubicBezTo>
                    <a:pt x="1987" y="6190"/>
                    <a:pt x="2213" y="6072"/>
                    <a:pt x="2418" y="5929"/>
                  </a:cubicBezTo>
                  <a:cubicBezTo>
                    <a:pt x="2627" y="5787"/>
                    <a:pt x="2668" y="5782"/>
                    <a:pt x="2509" y="5916"/>
                  </a:cubicBezTo>
                  <a:cubicBezTo>
                    <a:pt x="2351" y="6050"/>
                    <a:pt x="2216" y="6243"/>
                    <a:pt x="2194" y="6342"/>
                  </a:cubicBezTo>
                  <a:cubicBezTo>
                    <a:pt x="2176" y="6441"/>
                    <a:pt x="2214" y="6541"/>
                    <a:pt x="2270" y="6570"/>
                  </a:cubicBezTo>
                  <a:cubicBezTo>
                    <a:pt x="2335" y="6591"/>
                    <a:pt x="2397" y="6569"/>
                    <a:pt x="2402" y="6510"/>
                  </a:cubicBezTo>
                  <a:cubicBezTo>
                    <a:pt x="2413" y="6451"/>
                    <a:pt x="2507" y="6361"/>
                    <a:pt x="2613" y="6313"/>
                  </a:cubicBezTo>
                  <a:cubicBezTo>
                    <a:pt x="2719" y="6266"/>
                    <a:pt x="2841" y="6299"/>
                    <a:pt x="2889" y="6391"/>
                  </a:cubicBezTo>
                  <a:cubicBezTo>
                    <a:pt x="2931" y="6485"/>
                    <a:pt x="3042" y="6467"/>
                    <a:pt x="3130" y="6359"/>
                  </a:cubicBezTo>
                  <a:cubicBezTo>
                    <a:pt x="3211" y="6247"/>
                    <a:pt x="3269" y="6095"/>
                    <a:pt x="3246" y="6018"/>
                  </a:cubicBezTo>
                  <a:cubicBezTo>
                    <a:pt x="3221" y="5942"/>
                    <a:pt x="3264" y="5857"/>
                    <a:pt x="3336" y="5841"/>
                  </a:cubicBezTo>
                  <a:cubicBezTo>
                    <a:pt x="3405" y="5821"/>
                    <a:pt x="3442" y="5887"/>
                    <a:pt x="3413" y="5985"/>
                  </a:cubicBezTo>
                  <a:cubicBezTo>
                    <a:pt x="3383" y="6084"/>
                    <a:pt x="3508" y="6231"/>
                    <a:pt x="3687" y="6307"/>
                  </a:cubicBezTo>
                  <a:cubicBezTo>
                    <a:pt x="3863" y="6389"/>
                    <a:pt x="3888" y="6430"/>
                    <a:pt x="3735" y="6404"/>
                  </a:cubicBezTo>
                  <a:cubicBezTo>
                    <a:pt x="3583" y="6378"/>
                    <a:pt x="3419" y="6464"/>
                    <a:pt x="3365" y="6591"/>
                  </a:cubicBezTo>
                  <a:cubicBezTo>
                    <a:pt x="3311" y="6717"/>
                    <a:pt x="3302" y="6898"/>
                    <a:pt x="3336" y="6993"/>
                  </a:cubicBezTo>
                  <a:cubicBezTo>
                    <a:pt x="3371" y="7087"/>
                    <a:pt x="3476" y="7179"/>
                    <a:pt x="3569" y="7188"/>
                  </a:cubicBezTo>
                  <a:cubicBezTo>
                    <a:pt x="3660" y="7205"/>
                    <a:pt x="3784" y="7281"/>
                    <a:pt x="3837" y="7365"/>
                  </a:cubicBezTo>
                  <a:cubicBezTo>
                    <a:pt x="3892" y="7448"/>
                    <a:pt x="3830" y="7583"/>
                    <a:pt x="3692" y="7660"/>
                  </a:cubicBezTo>
                  <a:cubicBezTo>
                    <a:pt x="3562" y="7743"/>
                    <a:pt x="3338" y="7976"/>
                    <a:pt x="3201" y="8183"/>
                  </a:cubicBezTo>
                  <a:cubicBezTo>
                    <a:pt x="3062" y="8389"/>
                    <a:pt x="2981" y="8638"/>
                    <a:pt x="3016" y="8732"/>
                  </a:cubicBezTo>
                  <a:cubicBezTo>
                    <a:pt x="3051" y="8826"/>
                    <a:pt x="2976" y="8867"/>
                    <a:pt x="2855" y="8821"/>
                  </a:cubicBezTo>
                  <a:cubicBezTo>
                    <a:pt x="2732" y="8776"/>
                    <a:pt x="2636" y="8821"/>
                    <a:pt x="2648" y="8922"/>
                  </a:cubicBezTo>
                  <a:cubicBezTo>
                    <a:pt x="2666" y="9023"/>
                    <a:pt x="2796" y="9219"/>
                    <a:pt x="2966" y="9353"/>
                  </a:cubicBezTo>
                  <a:cubicBezTo>
                    <a:pt x="3131" y="9492"/>
                    <a:pt x="3229" y="9499"/>
                    <a:pt x="3177" y="9375"/>
                  </a:cubicBezTo>
                  <a:cubicBezTo>
                    <a:pt x="3118" y="9251"/>
                    <a:pt x="3173" y="9134"/>
                    <a:pt x="3288" y="9115"/>
                  </a:cubicBezTo>
                  <a:cubicBezTo>
                    <a:pt x="3402" y="9096"/>
                    <a:pt x="3735" y="9188"/>
                    <a:pt x="4034" y="9309"/>
                  </a:cubicBezTo>
                  <a:cubicBezTo>
                    <a:pt x="4333" y="9431"/>
                    <a:pt x="4569" y="9456"/>
                    <a:pt x="4580" y="9359"/>
                  </a:cubicBezTo>
                  <a:cubicBezTo>
                    <a:pt x="4592" y="9262"/>
                    <a:pt x="4490" y="9134"/>
                    <a:pt x="4366" y="9079"/>
                  </a:cubicBezTo>
                  <a:cubicBezTo>
                    <a:pt x="4244" y="9020"/>
                    <a:pt x="4206" y="8963"/>
                    <a:pt x="4283" y="8955"/>
                  </a:cubicBezTo>
                  <a:cubicBezTo>
                    <a:pt x="4358" y="8940"/>
                    <a:pt x="4615" y="9008"/>
                    <a:pt x="4853" y="9094"/>
                  </a:cubicBezTo>
                  <a:cubicBezTo>
                    <a:pt x="5092" y="9182"/>
                    <a:pt x="5421" y="9236"/>
                    <a:pt x="5588" y="9227"/>
                  </a:cubicBezTo>
                  <a:cubicBezTo>
                    <a:pt x="5752" y="9211"/>
                    <a:pt x="5887" y="9168"/>
                    <a:pt x="5887" y="9127"/>
                  </a:cubicBezTo>
                  <a:cubicBezTo>
                    <a:pt x="5892" y="9085"/>
                    <a:pt x="6012" y="9048"/>
                    <a:pt x="6163" y="9060"/>
                  </a:cubicBezTo>
                  <a:cubicBezTo>
                    <a:pt x="6316" y="9068"/>
                    <a:pt x="6476" y="9001"/>
                    <a:pt x="6519" y="8919"/>
                  </a:cubicBezTo>
                  <a:cubicBezTo>
                    <a:pt x="6559" y="8835"/>
                    <a:pt x="6937" y="8779"/>
                    <a:pt x="7350" y="8794"/>
                  </a:cubicBezTo>
                  <a:cubicBezTo>
                    <a:pt x="7763" y="8814"/>
                    <a:pt x="7881" y="8851"/>
                    <a:pt x="7608" y="8891"/>
                  </a:cubicBezTo>
                  <a:cubicBezTo>
                    <a:pt x="7335" y="8931"/>
                    <a:pt x="6980" y="9187"/>
                    <a:pt x="6821" y="9460"/>
                  </a:cubicBezTo>
                  <a:cubicBezTo>
                    <a:pt x="6660" y="9734"/>
                    <a:pt x="6697" y="10137"/>
                    <a:pt x="6909" y="10353"/>
                  </a:cubicBezTo>
                  <a:cubicBezTo>
                    <a:pt x="7119" y="10569"/>
                    <a:pt x="7373" y="10721"/>
                    <a:pt x="7474" y="10687"/>
                  </a:cubicBezTo>
                  <a:cubicBezTo>
                    <a:pt x="7575" y="10655"/>
                    <a:pt x="7663" y="10719"/>
                    <a:pt x="7663" y="10833"/>
                  </a:cubicBezTo>
                  <a:cubicBezTo>
                    <a:pt x="7669" y="10947"/>
                    <a:pt x="7781" y="10967"/>
                    <a:pt x="7908" y="10869"/>
                  </a:cubicBezTo>
                  <a:cubicBezTo>
                    <a:pt x="8038" y="10774"/>
                    <a:pt x="8285" y="10713"/>
                    <a:pt x="8451" y="10728"/>
                  </a:cubicBezTo>
                  <a:cubicBezTo>
                    <a:pt x="8618" y="10745"/>
                    <a:pt x="8704" y="10852"/>
                    <a:pt x="8656" y="10971"/>
                  </a:cubicBezTo>
                  <a:cubicBezTo>
                    <a:pt x="8596" y="11087"/>
                    <a:pt x="8599" y="11200"/>
                    <a:pt x="8650" y="11220"/>
                  </a:cubicBezTo>
                  <a:cubicBezTo>
                    <a:pt x="8703" y="11237"/>
                    <a:pt x="8610" y="11316"/>
                    <a:pt x="8446" y="11391"/>
                  </a:cubicBezTo>
                  <a:cubicBezTo>
                    <a:pt x="8285" y="11468"/>
                    <a:pt x="8193" y="11635"/>
                    <a:pt x="8246" y="11769"/>
                  </a:cubicBezTo>
                  <a:cubicBezTo>
                    <a:pt x="8308" y="11902"/>
                    <a:pt x="8271" y="12094"/>
                    <a:pt x="8187" y="12195"/>
                  </a:cubicBezTo>
                  <a:cubicBezTo>
                    <a:pt x="8104" y="12298"/>
                    <a:pt x="8115" y="12441"/>
                    <a:pt x="8217" y="12522"/>
                  </a:cubicBezTo>
                  <a:cubicBezTo>
                    <a:pt x="8316" y="12604"/>
                    <a:pt x="8506" y="12719"/>
                    <a:pt x="8631" y="12782"/>
                  </a:cubicBezTo>
                  <a:cubicBezTo>
                    <a:pt x="8751" y="12847"/>
                    <a:pt x="8935" y="12902"/>
                    <a:pt x="9034" y="12910"/>
                  </a:cubicBezTo>
                  <a:cubicBezTo>
                    <a:pt x="9134" y="12918"/>
                    <a:pt x="9159" y="12943"/>
                    <a:pt x="9094" y="12974"/>
                  </a:cubicBezTo>
                  <a:cubicBezTo>
                    <a:pt x="9026" y="13000"/>
                    <a:pt x="8881" y="13026"/>
                    <a:pt x="8771" y="13030"/>
                  </a:cubicBezTo>
                  <a:cubicBezTo>
                    <a:pt x="8659" y="13034"/>
                    <a:pt x="8489" y="12968"/>
                    <a:pt x="8388" y="12888"/>
                  </a:cubicBezTo>
                  <a:cubicBezTo>
                    <a:pt x="8284" y="12811"/>
                    <a:pt x="8135" y="12757"/>
                    <a:pt x="8044" y="12778"/>
                  </a:cubicBezTo>
                  <a:cubicBezTo>
                    <a:pt x="7948" y="12793"/>
                    <a:pt x="7941" y="12879"/>
                    <a:pt x="8017" y="12959"/>
                  </a:cubicBezTo>
                  <a:cubicBezTo>
                    <a:pt x="8098" y="13037"/>
                    <a:pt x="8231" y="13127"/>
                    <a:pt x="8313" y="13160"/>
                  </a:cubicBezTo>
                  <a:cubicBezTo>
                    <a:pt x="8399" y="13189"/>
                    <a:pt x="8357" y="13206"/>
                    <a:pt x="8227" y="13183"/>
                  </a:cubicBezTo>
                  <a:cubicBezTo>
                    <a:pt x="8095" y="13164"/>
                    <a:pt x="7902" y="13097"/>
                    <a:pt x="7793" y="13034"/>
                  </a:cubicBezTo>
                  <a:cubicBezTo>
                    <a:pt x="7686" y="12970"/>
                    <a:pt x="7379" y="12957"/>
                    <a:pt x="7111" y="13005"/>
                  </a:cubicBezTo>
                  <a:cubicBezTo>
                    <a:pt x="6844" y="13057"/>
                    <a:pt x="6523" y="13087"/>
                    <a:pt x="6401" y="13072"/>
                  </a:cubicBezTo>
                  <a:cubicBezTo>
                    <a:pt x="6279" y="13060"/>
                    <a:pt x="5953" y="13116"/>
                    <a:pt x="5675" y="13193"/>
                  </a:cubicBezTo>
                  <a:cubicBezTo>
                    <a:pt x="5399" y="13274"/>
                    <a:pt x="5053" y="13435"/>
                    <a:pt x="4912" y="13554"/>
                  </a:cubicBezTo>
                  <a:cubicBezTo>
                    <a:pt x="4771" y="13673"/>
                    <a:pt x="4486" y="13828"/>
                    <a:pt x="4288" y="13905"/>
                  </a:cubicBezTo>
                  <a:cubicBezTo>
                    <a:pt x="4089" y="13982"/>
                    <a:pt x="3852" y="14101"/>
                    <a:pt x="3766" y="14174"/>
                  </a:cubicBezTo>
                  <a:cubicBezTo>
                    <a:pt x="3681" y="14247"/>
                    <a:pt x="3715" y="14295"/>
                    <a:pt x="3843" y="14283"/>
                  </a:cubicBezTo>
                  <a:cubicBezTo>
                    <a:pt x="3971" y="14272"/>
                    <a:pt x="4129" y="14269"/>
                    <a:pt x="4194" y="14284"/>
                  </a:cubicBezTo>
                  <a:cubicBezTo>
                    <a:pt x="4259" y="14296"/>
                    <a:pt x="4319" y="14271"/>
                    <a:pt x="4344" y="14228"/>
                  </a:cubicBezTo>
                  <a:cubicBezTo>
                    <a:pt x="4361" y="14184"/>
                    <a:pt x="4612" y="14113"/>
                    <a:pt x="4897" y="14069"/>
                  </a:cubicBezTo>
                  <a:cubicBezTo>
                    <a:pt x="5182" y="14022"/>
                    <a:pt x="5389" y="14063"/>
                    <a:pt x="5370" y="14152"/>
                  </a:cubicBezTo>
                  <a:cubicBezTo>
                    <a:pt x="5348" y="14241"/>
                    <a:pt x="5405" y="14368"/>
                    <a:pt x="5511" y="14426"/>
                  </a:cubicBezTo>
                  <a:cubicBezTo>
                    <a:pt x="5610" y="14490"/>
                    <a:pt x="5610" y="14581"/>
                    <a:pt x="5502" y="14624"/>
                  </a:cubicBezTo>
                  <a:cubicBezTo>
                    <a:pt x="5395" y="14668"/>
                    <a:pt x="5363" y="14763"/>
                    <a:pt x="5424" y="14831"/>
                  </a:cubicBezTo>
                  <a:cubicBezTo>
                    <a:pt x="5479" y="14902"/>
                    <a:pt x="5591" y="14965"/>
                    <a:pt x="5660" y="14974"/>
                  </a:cubicBezTo>
                  <a:cubicBezTo>
                    <a:pt x="5728" y="14982"/>
                    <a:pt x="5636" y="15166"/>
                    <a:pt x="5449" y="15375"/>
                  </a:cubicBezTo>
                  <a:cubicBezTo>
                    <a:pt x="5268" y="15587"/>
                    <a:pt x="5004" y="15776"/>
                    <a:pt x="4871" y="15808"/>
                  </a:cubicBezTo>
                  <a:cubicBezTo>
                    <a:pt x="4735" y="15832"/>
                    <a:pt x="4517" y="15907"/>
                    <a:pt x="4382" y="15966"/>
                  </a:cubicBezTo>
                  <a:cubicBezTo>
                    <a:pt x="4248" y="16027"/>
                    <a:pt x="4083" y="16079"/>
                    <a:pt x="4015" y="16079"/>
                  </a:cubicBezTo>
                  <a:cubicBezTo>
                    <a:pt x="3947" y="16079"/>
                    <a:pt x="3748" y="16131"/>
                    <a:pt x="3577" y="16198"/>
                  </a:cubicBezTo>
                  <a:cubicBezTo>
                    <a:pt x="3404" y="16262"/>
                    <a:pt x="3158" y="16314"/>
                    <a:pt x="3033" y="16314"/>
                  </a:cubicBezTo>
                  <a:cubicBezTo>
                    <a:pt x="2907" y="16310"/>
                    <a:pt x="2637" y="16375"/>
                    <a:pt x="2437" y="16455"/>
                  </a:cubicBezTo>
                  <a:cubicBezTo>
                    <a:pt x="2237" y="16536"/>
                    <a:pt x="2201" y="16606"/>
                    <a:pt x="2361" y="16622"/>
                  </a:cubicBezTo>
                  <a:cubicBezTo>
                    <a:pt x="2523" y="16634"/>
                    <a:pt x="2662" y="16706"/>
                    <a:pt x="2674" y="16776"/>
                  </a:cubicBezTo>
                  <a:cubicBezTo>
                    <a:pt x="2685" y="16847"/>
                    <a:pt x="2597" y="16929"/>
                    <a:pt x="2483" y="16965"/>
                  </a:cubicBezTo>
                  <a:cubicBezTo>
                    <a:pt x="2368" y="16999"/>
                    <a:pt x="2441" y="17046"/>
                    <a:pt x="2648" y="17065"/>
                  </a:cubicBezTo>
                  <a:cubicBezTo>
                    <a:pt x="2855" y="17088"/>
                    <a:pt x="2987" y="17134"/>
                    <a:pt x="2931" y="17159"/>
                  </a:cubicBezTo>
                  <a:cubicBezTo>
                    <a:pt x="2878" y="17186"/>
                    <a:pt x="2905" y="17234"/>
                    <a:pt x="2985" y="17263"/>
                  </a:cubicBezTo>
                  <a:cubicBezTo>
                    <a:pt x="3069" y="17288"/>
                    <a:pt x="3228" y="17298"/>
                    <a:pt x="3344" y="17278"/>
                  </a:cubicBezTo>
                  <a:cubicBezTo>
                    <a:pt x="3459" y="17257"/>
                    <a:pt x="3664" y="17200"/>
                    <a:pt x="3801" y="17154"/>
                  </a:cubicBezTo>
                  <a:cubicBezTo>
                    <a:pt x="3935" y="17105"/>
                    <a:pt x="4225" y="17031"/>
                    <a:pt x="4443" y="16988"/>
                  </a:cubicBezTo>
                  <a:cubicBezTo>
                    <a:pt x="4660" y="16941"/>
                    <a:pt x="4855" y="16961"/>
                    <a:pt x="4879" y="17022"/>
                  </a:cubicBezTo>
                  <a:cubicBezTo>
                    <a:pt x="4897" y="17083"/>
                    <a:pt x="5060" y="17153"/>
                    <a:pt x="5233" y="17179"/>
                  </a:cubicBezTo>
                  <a:cubicBezTo>
                    <a:pt x="5407" y="17207"/>
                    <a:pt x="5436" y="17246"/>
                    <a:pt x="5293" y="17269"/>
                  </a:cubicBezTo>
                  <a:cubicBezTo>
                    <a:pt x="5152" y="17293"/>
                    <a:pt x="5019" y="17351"/>
                    <a:pt x="5008" y="17401"/>
                  </a:cubicBezTo>
                  <a:cubicBezTo>
                    <a:pt x="4995" y="17450"/>
                    <a:pt x="5175" y="17492"/>
                    <a:pt x="5414" y="17499"/>
                  </a:cubicBezTo>
                  <a:cubicBezTo>
                    <a:pt x="5654" y="17503"/>
                    <a:pt x="5854" y="17485"/>
                    <a:pt x="5848" y="17458"/>
                  </a:cubicBezTo>
                  <a:cubicBezTo>
                    <a:pt x="5848" y="17430"/>
                    <a:pt x="5945" y="17392"/>
                    <a:pt x="6064" y="17373"/>
                  </a:cubicBezTo>
                  <a:cubicBezTo>
                    <a:pt x="6183" y="17352"/>
                    <a:pt x="6385" y="17406"/>
                    <a:pt x="6507" y="17493"/>
                  </a:cubicBezTo>
                  <a:cubicBezTo>
                    <a:pt x="6633" y="17577"/>
                    <a:pt x="6823" y="17713"/>
                    <a:pt x="6936" y="17792"/>
                  </a:cubicBezTo>
                  <a:cubicBezTo>
                    <a:pt x="7043" y="17873"/>
                    <a:pt x="7363" y="17936"/>
                    <a:pt x="7637" y="17936"/>
                  </a:cubicBezTo>
                  <a:cubicBezTo>
                    <a:pt x="7912" y="17940"/>
                    <a:pt x="8185" y="17881"/>
                    <a:pt x="8251" y="17817"/>
                  </a:cubicBezTo>
                  <a:cubicBezTo>
                    <a:pt x="8316" y="17753"/>
                    <a:pt x="8472" y="17674"/>
                    <a:pt x="8600" y="17640"/>
                  </a:cubicBezTo>
                  <a:cubicBezTo>
                    <a:pt x="8728" y="17610"/>
                    <a:pt x="8978" y="17551"/>
                    <a:pt x="9154" y="17511"/>
                  </a:cubicBezTo>
                  <a:cubicBezTo>
                    <a:pt x="9331" y="17472"/>
                    <a:pt x="9532" y="17395"/>
                    <a:pt x="9596" y="17335"/>
                  </a:cubicBezTo>
                  <a:cubicBezTo>
                    <a:pt x="9661" y="17276"/>
                    <a:pt x="9838" y="17197"/>
                    <a:pt x="9985" y="17156"/>
                  </a:cubicBezTo>
                  <a:cubicBezTo>
                    <a:pt x="10131" y="17117"/>
                    <a:pt x="10083" y="17196"/>
                    <a:pt x="9890" y="17338"/>
                  </a:cubicBezTo>
                  <a:cubicBezTo>
                    <a:pt x="9685" y="17476"/>
                    <a:pt x="9363" y="17689"/>
                    <a:pt x="9160" y="17802"/>
                  </a:cubicBezTo>
                  <a:cubicBezTo>
                    <a:pt x="8965" y="17921"/>
                    <a:pt x="8789" y="18124"/>
                    <a:pt x="8783" y="18262"/>
                  </a:cubicBezTo>
                  <a:cubicBezTo>
                    <a:pt x="8771" y="18400"/>
                    <a:pt x="8657" y="18512"/>
                    <a:pt x="8518" y="18505"/>
                  </a:cubicBezTo>
                  <a:cubicBezTo>
                    <a:pt x="8379" y="18505"/>
                    <a:pt x="8175" y="18515"/>
                    <a:pt x="8066" y="18538"/>
                  </a:cubicBezTo>
                  <a:cubicBezTo>
                    <a:pt x="7959" y="18566"/>
                    <a:pt x="7760" y="18550"/>
                    <a:pt x="7635" y="18503"/>
                  </a:cubicBezTo>
                  <a:cubicBezTo>
                    <a:pt x="7508" y="18462"/>
                    <a:pt x="7114" y="18404"/>
                    <a:pt x="6757" y="18380"/>
                  </a:cubicBezTo>
                  <a:cubicBezTo>
                    <a:pt x="6400" y="18360"/>
                    <a:pt x="5905" y="18368"/>
                    <a:pt x="5652" y="18404"/>
                  </a:cubicBezTo>
                  <a:cubicBezTo>
                    <a:pt x="5400" y="18442"/>
                    <a:pt x="5203" y="18537"/>
                    <a:pt x="5203" y="18614"/>
                  </a:cubicBezTo>
                  <a:cubicBezTo>
                    <a:pt x="5203" y="18692"/>
                    <a:pt x="5128" y="18807"/>
                    <a:pt x="5018" y="18865"/>
                  </a:cubicBezTo>
                  <a:cubicBezTo>
                    <a:pt x="4909" y="18924"/>
                    <a:pt x="4711" y="18980"/>
                    <a:pt x="4572" y="18976"/>
                  </a:cubicBezTo>
                  <a:cubicBezTo>
                    <a:pt x="4432" y="18976"/>
                    <a:pt x="4306" y="19120"/>
                    <a:pt x="4281" y="19296"/>
                  </a:cubicBezTo>
                  <a:cubicBezTo>
                    <a:pt x="4264" y="19474"/>
                    <a:pt x="4119" y="19681"/>
                    <a:pt x="3976" y="19766"/>
                  </a:cubicBezTo>
                  <a:cubicBezTo>
                    <a:pt x="3829" y="19848"/>
                    <a:pt x="3672" y="19950"/>
                    <a:pt x="3637" y="19998"/>
                  </a:cubicBezTo>
                  <a:cubicBezTo>
                    <a:pt x="3602" y="20044"/>
                    <a:pt x="3431" y="20092"/>
                    <a:pt x="3266" y="20112"/>
                  </a:cubicBezTo>
                  <a:cubicBezTo>
                    <a:pt x="3101" y="20127"/>
                    <a:pt x="2931" y="20227"/>
                    <a:pt x="2891" y="20329"/>
                  </a:cubicBezTo>
                  <a:cubicBezTo>
                    <a:pt x="2849" y="20431"/>
                    <a:pt x="2758" y="20510"/>
                    <a:pt x="2686" y="20514"/>
                  </a:cubicBezTo>
                  <a:cubicBezTo>
                    <a:pt x="2615" y="20514"/>
                    <a:pt x="2519" y="20557"/>
                    <a:pt x="2486" y="20612"/>
                  </a:cubicBezTo>
                  <a:cubicBezTo>
                    <a:pt x="2451" y="20667"/>
                    <a:pt x="2253" y="20782"/>
                    <a:pt x="2052" y="20870"/>
                  </a:cubicBezTo>
                  <a:cubicBezTo>
                    <a:pt x="1851" y="20957"/>
                    <a:pt x="1611" y="21014"/>
                    <a:pt x="1520" y="20993"/>
                  </a:cubicBezTo>
                  <a:cubicBezTo>
                    <a:pt x="1428" y="20974"/>
                    <a:pt x="1243" y="21008"/>
                    <a:pt x="1101" y="21066"/>
                  </a:cubicBezTo>
                  <a:cubicBezTo>
                    <a:pt x="965" y="21129"/>
                    <a:pt x="842" y="21239"/>
                    <a:pt x="848" y="21318"/>
                  </a:cubicBezTo>
                  <a:cubicBezTo>
                    <a:pt x="848" y="21396"/>
                    <a:pt x="975" y="21463"/>
                    <a:pt x="1128" y="21471"/>
                  </a:cubicBezTo>
                  <a:cubicBezTo>
                    <a:pt x="1281" y="21479"/>
                    <a:pt x="1411" y="21425"/>
                    <a:pt x="1417" y="21354"/>
                  </a:cubicBezTo>
                  <a:cubicBezTo>
                    <a:pt x="1429" y="21284"/>
                    <a:pt x="1580" y="21252"/>
                    <a:pt x="1766" y="21282"/>
                  </a:cubicBezTo>
                  <a:cubicBezTo>
                    <a:pt x="1952" y="21310"/>
                    <a:pt x="2164" y="21406"/>
                    <a:pt x="2242" y="21487"/>
                  </a:cubicBezTo>
                  <a:cubicBezTo>
                    <a:pt x="2324" y="21569"/>
                    <a:pt x="2461" y="21598"/>
                    <a:pt x="2549" y="21543"/>
                  </a:cubicBezTo>
                  <a:cubicBezTo>
                    <a:pt x="2638" y="21491"/>
                    <a:pt x="2676" y="21417"/>
                    <a:pt x="2641" y="21375"/>
                  </a:cubicBezTo>
                  <a:cubicBezTo>
                    <a:pt x="2604" y="21334"/>
                    <a:pt x="2634" y="21244"/>
                    <a:pt x="2722" y="21177"/>
                  </a:cubicBezTo>
                  <a:cubicBezTo>
                    <a:pt x="2810" y="21111"/>
                    <a:pt x="2911" y="21078"/>
                    <a:pt x="2949" y="21112"/>
                  </a:cubicBezTo>
                  <a:cubicBezTo>
                    <a:pt x="2992" y="21144"/>
                    <a:pt x="3110" y="21123"/>
                    <a:pt x="3213" y="21061"/>
                  </a:cubicBezTo>
                  <a:cubicBezTo>
                    <a:pt x="3312" y="20999"/>
                    <a:pt x="3456" y="20957"/>
                    <a:pt x="3524" y="20953"/>
                  </a:cubicBezTo>
                  <a:cubicBezTo>
                    <a:pt x="3592" y="20957"/>
                    <a:pt x="3688" y="20890"/>
                    <a:pt x="3741" y="20815"/>
                  </a:cubicBezTo>
                  <a:cubicBezTo>
                    <a:pt x="3798" y="20741"/>
                    <a:pt x="3963" y="20700"/>
                    <a:pt x="4123" y="20725"/>
                  </a:cubicBezTo>
                  <a:cubicBezTo>
                    <a:pt x="4281" y="20756"/>
                    <a:pt x="4513" y="20744"/>
                    <a:pt x="4637" y="20712"/>
                  </a:cubicBezTo>
                  <a:cubicBezTo>
                    <a:pt x="4761" y="20679"/>
                    <a:pt x="4943" y="20662"/>
                    <a:pt x="5044" y="20670"/>
                  </a:cubicBezTo>
                  <a:cubicBezTo>
                    <a:pt x="5146" y="20674"/>
                    <a:pt x="5287" y="20671"/>
                    <a:pt x="5357" y="20645"/>
                  </a:cubicBezTo>
                  <a:cubicBezTo>
                    <a:pt x="5426" y="20618"/>
                    <a:pt x="5541" y="20652"/>
                    <a:pt x="5618" y="20707"/>
                  </a:cubicBezTo>
                  <a:cubicBezTo>
                    <a:pt x="5682" y="20770"/>
                    <a:pt x="5819" y="20811"/>
                    <a:pt x="5903" y="20807"/>
                  </a:cubicBezTo>
                  <a:cubicBezTo>
                    <a:pt x="5987" y="20807"/>
                    <a:pt x="6157" y="20847"/>
                    <a:pt x="6271" y="20911"/>
                  </a:cubicBezTo>
                  <a:cubicBezTo>
                    <a:pt x="6389" y="20970"/>
                    <a:pt x="6596" y="21018"/>
                    <a:pt x="6734" y="21014"/>
                  </a:cubicBezTo>
                  <a:cubicBezTo>
                    <a:pt x="6870" y="21006"/>
                    <a:pt x="6957" y="20965"/>
                    <a:pt x="6932" y="20910"/>
                  </a:cubicBezTo>
                  <a:cubicBezTo>
                    <a:pt x="6907" y="20855"/>
                    <a:pt x="6968" y="20784"/>
                    <a:pt x="7077" y="20758"/>
                  </a:cubicBezTo>
                  <a:cubicBezTo>
                    <a:pt x="7185" y="20731"/>
                    <a:pt x="7287" y="20661"/>
                    <a:pt x="7322" y="20614"/>
                  </a:cubicBezTo>
                  <a:cubicBezTo>
                    <a:pt x="7354" y="20565"/>
                    <a:pt x="7353" y="20448"/>
                    <a:pt x="7317" y="20359"/>
                  </a:cubicBezTo>
                  <a:cubicBezTo>
                    <a:pt x="7281" y="20270"/>
                    <a:pt x="7336" y="20149"/>
                    <a:pt x="7430" y="20095"/>
                  </a:cubicBezTo>
                  <a:cubicBezTo>
                    <a:pt x="7524" y="20040"/>
                    <a:pt x="7665" y="19992"/>
                    <a:pt x="7741" y="19984"/>
                  </a:cubicBezTo>
                  <a:cubicBezTo>
                    <a:pt x="7819" y="19980"/>
                    <a:pt x="7900" y="19940"/>
                    <a:pt x="7941" y="19909"/>
                  </a:cubicBezTo>
                  <a:cubicBezTo>
                    <a:pt x="7968" y="19872"/>
                    <a:pt x="8246" y="19812"/>
                    <a:pt x="8550" y="19771"/>
                  </a:cubicBezTo>
                  <a:cubicBezTo>
                    <a:pt x="8853" y="19731"/>
                    <a:pt x="9232" y="19707"/>
                    <a:pt x="9391" y="19715"/>
                  </a:cubicBezTo>
                  <a:cubicBezTo>
                    <a:pt x="9550" y="19719"/>
                    <a:pt x="9828" y="19801"/>
                    <a:pt x="10017" y="19875"/>
                  </a:cubicBezTo>
                  <a:cubicBezTo>
                    <a:pt x="10204" y="19953"/>
                    <a:pt x="10411" y="20003"/>
                    <a:pt x="10481" y="19990"/>
                  </a:cubicBezTo>
                  <a:cubicBezTo>
                    <a:pt x="10549" y="19977"/>
                    <a:pt x="10767" y="19968"/>
                    <a:pt x="10969" y="19976"/>
                  </a:cubicBezTo>
                  <a:cubicBezTo>
                    <a:pt x="11169" y="19984"/>
                    <a:pt x="11419" y="20011"/>
                    <a:pt x="11528" y="20034"/>
                  </a:cubicBezTo>
                  <a:cubicBezTo>
                    <a:pt x="11637" y="20057"/>
                    <a:pt x="11759" y="20014"/>
                    <a:pt x="11815" y="19939"/>
                  </a:cubicBezTo>
                  <a:cubicBezTo>
                    <a:pt x="11864" y="19861"/>
                    <a:pt x="12052" y="19750"/>
                    <a:pt x="12238" y="19699"/>
                  </a:cubicBezTo>
                  <a:cubicBezTo>
                    <a:pt x="12421" y="19646"/>
                    <a:pt x="12675" y="19619"/>
                    <a:pt x="12800" y="19643"/>
                  </a:cubicBezTo>
                  <a:cubicBezTo>
                    <a:pt x="12928" y="19664"/>
                    <a:pt x="13177" y="19631"/>
                    <a:pt x="13350" y="19558"/>
                  </a:cubicBezTo>
                  <a:cubicBezTo>
                    <a:pt x="13526" y="19488"/>
                    <a:pt x="13775" y="19441"/>
                    <a:pt x="13900" y="19465"/>
                  </a:cubicBezTo>
                  <a:cubicBezTo>
                    <a:pt x="14026" y="19485"/>
                    <a:pt x="14183" y="19498"/>
                    <a:pt x="14246" y="19490"/>
                  </a:cubicBezTo>
                  <a:cubicBezTo>
                    <a:pt x="14311" y="19486"/>
                    <a:pt x="14433" y="19448"/>
                    <a:pt x="14520" y="19410"/>
                  </a:cubicBezTo>
                  <a:cubicBezTo>
                    <a:pt x="14607" y="19373"/>
                    <a:pt x="14702" y="19371"/>
                    <a:pt x="14725" y="19412"/>
                  </a:cubicBezTo>
                  <a:cubicBezTo>
                    <a:pt x="14749" y="19453"/>
                    <a:pt x="14865" y="19514"/>
                    <a:pt x="14970" y="19555"/>
                  </a:cubicBezTo>
                  <a:cubicBezTo>
                    <a:pt x="15076" y="19597"/>
                    <a:pt x="15264" y="19584"/>
                    <a:pt x="15386" y="19538"/>
                  </a:cubicBezTo>
                  <a:cubicBezTo>
                    <a:pt x="15507" y="19490"/>
                    <a:pt x="15833" y="19448"/>
                    <a:pt x="16110" y="19452"/>
                  </a:cubicBezTo>
                  <a:cubicBezTo>
                    <a:pt x="16388" y="19456"/>
                    <a:pt x="16757" y="19437"/>
                    <a:pt x="16931" y="19418"/>
                  </a:cubicBezTo>
                  <a:cubicBezTo>
                    <a:pt x="17103" y="19399"/>
                    <a:pt x="17383" y="19411"/>
                    <a:pt x="17552" y="19448"/>
                  </a:cubicBezTo>
                  <a:cubicBezTo>
                    <a:pt x="17721" y="19483"/>
                    <a:pt x="17926" y="19525"/>
                    <a:pt x="18012" y="19532"/>
                  </a:cubicBezTo>
                  <a:cubicBezTo>
                    <a:pt x="18096" y="19544"/>
                    <a:pt x="18267" y="19504"/>
                    <a:pt x="18390" y="19443"/>
                  </a:cubicBezTo>
                  <a:cubicBezTo>
                    <a:pt x="18513" y="19384"/>
                    <a:pt x="18724" y="19316"/>
                    <a:pt x="18864" y="19309"/>
                  </a:cubicBezTo>
                  <a:cubicBezTo>
                    <a:pt x="19003" y="19298"/>
                    <a:pt x="19211" y="19226"/>
                    <a:pt x="19333" y="19160"/>
                  </a:cubicBezTo>
                  <a:cubicBezTo>
                    <a:pt x="19454" y="19094"/>
                    <a:pt x="19618" y="19036"/>
                    <a:pt x="19701" y="19032"/>
                  </a:cubicBezTo>
                  <a:cubicBezTo>
                    <a:pt x="19784" y="19028"/>
                    <a:pt x="19924" y="19039"/>
                    <a:pt x="20011" y="19051"/>
                  </a:cubicBezTo>
                  <a:cubicBezTo>
                    <a:pt x="20098" y="19066"/>
                    <a:pt x="20155" y="19026"/>
                    <a:pt x="20129" y="18970"/>
                  </a:cubicBezTo>
                  <a:cubicBezTo>
                    <a:pt x="20106" y="18912"/>
                    <a:pt x="20246" y="18799"/>
                    <a:pt x="20441" y="18723"/>
                  </a:cubicBezTo>
                  <a:cubicBezTo>
                    <a:pt x="20636" y="18646"/>
                    <a:pt x="20892" y="18567"/>
                    <a:pt x="21014" y="18555"/>
                  </a:cubicBezTo>
                  <a:cubicBezTo>
                    <a:pt x="21135" y="18543"/>
                    <a:pt x="21239" y="18468"/>
                    <a:pt x="21245" y="18393"/>
                  </a:cubicBezTo>
                  <a:cubicBezTo>
                    <a:pt x="21257" y="18319"/>
                    <a:pt x="21219" y="18216"/>
                    <a:pt x="21189" y="18160"/>
                  </a:cubicBezTo>
                  <a:cubicBezTo>
                    <a:pt x="21147" y="18108"/>
                    <a:pt x="21145" y="18013"/>
                    <a:pt x="21184" y="17953"/>
                  </a:cubicBezTo>
                  <a:cubicBezTo>
                    <a:pt x="21228" y="17894"/>
                    <a:pt x="21069" y="17844"/>
                    <a:pt x="20848" y="17844"/>
                  </a:cubicBezTo>
                  <a:cubicBezTo>
                    <a:pt x="20628" y="17848"/>
                    <a:pt x="20316" y="17869"/>
                    <a:pt x="20163" y="17906"/>
                  </a:cubicBezTo>
                  <a:cubicBezTo>
                    <a:pt x="20004" y="17933"/>
                    <a:pt x="19804" y="17973"/>
                    <a:pt x="19715" y="17981"/>
                  </a:cubicBezTo>
                  <a:cubicBezTo>
                    <a:pt x="19625" y="17985"/>
                    <a:pt x="19427" y="17971"/>
                    <a:pt x="19282" y="17934"/>
                  </a:cubicBezTo>
                  <a:cubicBezTo>
                    <a:pt x="19134" y="17898"/>
                    <a:pt x="18968" y="17857"/>
                    <a:pt x="18913" y="17854"/>
                  </a:cubicBezTo>
                  <a:cubicBezTo>
                    <a:pt x="18857" y="17845"/>
                    <a:pt x="18853" y="17813"/>
                    <a:pt x="18903" y="17787"/>
                  </a:cubicBezTo>
                  <a:cubicBezTo>
                    <a:pt x="18958" y="17764"/>
                    <a:pt x="19029" y="17730"/>
                    <a:pt x="19074" y="17730"/>
                  </a:cubicBezTo>
                  <a:cubicBezTo>
                    <a:pt x="19119" y="17726"/>
                    <a:pt x="19169" y="17710"/>
                    <a:pt x="19180" y="17692"/>
                  </a:cubicBezTo>
                  <a:cubicBezTo>
                    <a:pt x="19190" y="17674"/>
                    <a:pt x="19094" y="17644"/>
                    <a:pt x="18962" y="17620"/>
                  </a:cubicBezTo>
                  <a:cubicBezTo>
                    <a:pt x="18827" y="17596"/>
                    <a:pt x="18622" y="17595"/>
                    <a:pt x="18509" y="17623"/>
                  </a:cubicBezTo>
                  <a:cubicBezTo>
                    <a:pt x="18397" y="17652"/>
                    <a:pt x="18429" y="17609"/>
                    <a:pt x="18591" y="17547"/>
                  </a:cubicBezTo>
                  <a:cubicBezTo>
                    <a:pt x="18747" y="17483"/>
                    <a:pt x="18966" y="17436"/>
                    <a:pt x="19073" y="17443"/>
                  </a:cubicBezTo>
                  <a:cubicBezTo>
                    <a:pt x="19180" y="17451"/>
                    <a:pt x="19374" y="17429"/>
                    <a:pt x="19503" y="17394"/>
                  </a:cubicBezTo>
                  <a:cubicBezTo>
                    <a:pt x="19628" y="17352"/>
                    <a:pt x="19709" y="17273"/>
                    <a:pt x="19662" y="17206"/>
                  </a:cubicBezTo>
                  <a:cubicBezTo>
                    <a:pt x="19617" y="17141"/>
                    <a:pt x="19483" y="17081"/>
                    <a:pt x="19354" y="17081"/>
                  </a:cubicBezTo>
                  <a:cubicBezTo>
                    <a:pt x="19228" y="17081"/>
                    <a:pt x="19200" y="17038"/>
                    <a:pt x="19293" y="16988"/>
                  </a:cubicBezTo>
                  <a:cubicBezTo>
                    <a:pt x="19387" y="16939"/>
                    <a:pt x="19522" y="16866"/>
                    <a:pt x="19588" y="16825"/>
                  </a:cubicBezTo>
                  <a:cubicBezTo>
                    <a:pt x="19654" y="16781"/>
                    <a:pt x="19782" y="16782"/>
                    <a:pt x="19858" y="16825"/>
                  </a:cubicBezTo>
                  <a:cubicBezTo>
                    <a:pt x="19938" y="16863"/>
                    <a:pt x="20097" y="16859"/>
                    <a:pt x="20212" y="16809"/>
                  </a:cubicBezTo>
                  <a:cubicBezTo>
                    <a:pt x="20326" y="16759"/>
                    <a:pt x="20459" y="16684"/>
                    <a:pt x="20508" y="16639"/>
                  </a:cubicBezTo>
                  <a:cubicBezTo>
                    <a:pt x="20548" y="16593"/>
                    <a:pt x="20541" y="16556"/>
                    <a:pt x="20484" y="16544"/>
                  </a:cubicBezTo>
                  <a:cubicBezTo>
                    <a:pt x="20426" y="16540"/>
                    <a:pt x="20404" y="16498"/>
                    <a:pt x="20446" y="16465"/>
                  </a:cubicBezTo>
                  <a:cubicBezTo>
                    <a:pt x="20484" y="16431"/>
                    <a:pt x="20399" y="16393"/>
                    <a:pt x="20263" y="16381"/>
                  </a:cubicBezTo>
                  <a:cubicBezTo>
                    <a:pt x="20124" y="16373"/>
                    <a:pt x="20051" y="16314"/>
                    <a:pt x="20105" y="16262"/>
                  </a:cubicBezTo>
                  <a:cubicBezTo>
                    <a:pt x="20157" y="16207"/>
                    <a:pt x="20270" y="16179"/>
                    <a:pt x="20358" y="16191"/>
                  </a:cubicBezTo>
                  <a:cubicBezTo>
                    <a:pt x="20445" y="16206"/>
                    <a:pt x="20541" y="16249"/>
                    <a:pt x="20565" y="16290"/>
                  </a:cubicBezTo>
                  <a:cubicBezTo>
                    <a:pt x="20589" y="16330"/>
                    <a:pt x="20692" y="16297"/>
                    <a:pt x="20792" y="16222"/>
                  </a:cubicBezTo>
                  <a:cubicBezTo>
                    <a:pt x="20884" y="16145"/>
                    <a:pt x="21043" y="16066"/>
                    <a:pt x="21137" y="16043"/>
                  </a:cubicBezTo>
                  <a:cubicBezTo>
                    <a:pt x="21228" y="16017"/>
                    <a:pt x="21319" y="15884"/>
                    <a:pt x="21325" y="15738"/>
                  </a:cubicBezTo>
                  <a:cubicBezTo>
                    <a:pt x="21331" y="15592"/>
                    <a:pt x="21416" y="15365"/>
                    <a:pt x="21494" y="15228"/>
                  </a:cubicBezTo>
                  <a:cubicBezTo>
                    <a:pt x="21580" y="15094"/>
                    <a:pt x="21584" y="14939"/>
                    <a:pt x="21513" y="14883"/>
                  </a:cubicBezTo>
                  <a:cubicBezTo>
                    <a:pt x="21442" y="14826"/>
                    <a:pt x="21350" y="14679"/>
                    <a:pt x="21300" y="14555"/>
                  </a:cubicBezTo>
                  <a:cubicBezTo>
                    <a:pt x="21264" y="14430"/>
                    <a:pt x="20988" y="14215"/>
                    <a:pt x="20698" y="14083"/>
                  </a:cubicBezTo>
                  <a:cubicBezTo>
                    <a:pt x="20412" y="13948"/>
                    <a:pt x="19858" y="13824"/>
                    <a:pt x="19467" y="13805"/>
                  </a:cubicBezTo>
                  <a:cubicBezTo>
                    <a:pt x="19076" y="13785"/>
                    <a:pt x="18559" y="13774"/>
                    <a:pt x="18315" y="13774"/>
                  </a:cubicBezTo>
                  <a:cubicBezTo>
                    <a:pt x="18073" y="13774"/>
                    <a:pt x="17859" y="13863"/>
                    <a:pt x="17846" y="13971"/>
                  </a:cubicBezTo>
                  <a:cubicBezTo>
                    <a:pt x="17829" y="14079"/>
                    <a:pt x="17771" y="14217"/>
                    <a:pt x="17708" y="14278"/>
                  </a:cubicBezTo>
                  <a:cubicBezTo>
                    <a:pt x="17647" y="14339"/>
                    <a:pt x="17493" y="14314"/>
                    <a:pt x="17357" y="14230"/>
                  </a:cubicBezTo>
                  <a:cubicBezTo>
                    <a:pt x="17224" y="14145"/>
                    <a:pt x="16989" y="14059"/>
                    <a:pt x="16837" y="14027"/>
                  </a:cubicBezTo>
                  <a:cubicBezTo>
                    <a:pt x="16681" y="14007"/>
                    <a:pt x="16748" y="13866"/>
                    <a:pt x="16988" y="13728"/>
                  </a:cubicBezTo>
                  <a:cubicBezTo>
                    <a:pt x="17223" y="13586"/>
                    <a:pt x="17420" y="13402"/>
                    <a:pt x="17414" y="13314"/>
                  </a:cubicBezTo>
                  <a:cubicBezTo>
                    <a:pt x="17408" y="13225"/>
                    <a:pt x="17253" y="12996"/>
                    <a:pt x="17045" y="12813"/>
                  </a:cubicBezTo>
                  <a:cubicBezTo>
                    <a:pt x="16849" y="12625"/>
                    <a:pt x="16621" y="12466"/>
                    <a:pt x="16545" y="12459"/>
                  </a:cubicBezTo>
                  <a:cubicBezTo>
                    <a:pt x="16467" y="12450"/>
                    <a:pt x="16264" y="12394"/>
                    <a:pt x="16094" y="12332"/>
                  </a:cubicBezTo>
                  <a:cubicBezTo>
                    <a:pt x="15925" y="12271"/>
                    <a:pt x="15721" y="12166"/>
                    <a:pt x="15653" y="12093"/>
                  </a:cubicBezTo>
                  <a:cubicBezTo>
                    <a:pt x="15586" y="12019"/>
                    <a:pt x="15448" y="11964"/>
                    <a:pt x="15365" y="11979"/>
                  </a:cubicBezTo>
                  <a:cubicBezTo>
                    <a:pt x="15278" y="11983"/>
                    <a:pt x="15159" y="12001"/>
                    <a:pt x="15100" y="12013"/>
                  </a:cubicBezTo>
                  <a:cubicBezTo>
                    <a:pt x="15040" y="12026"/>
                    <a:pt x="14905" y="12017"/>
                    <a:pt x="14805" y="11993"/>
                  </a:cubicBezTo>
                  <a:cubicBezTo>
                    <a:pt x="14699" y="11973"/>
                    <a:pt x="14568" y="11955"/>
                    <a:pt x="14508" y="11951"/>
                  </a:cubicBezTo>
                  <a:cubicBezTo>
                    <a:pt x="14447" y="11951"/>
                    <a:pt x="14492" y="11938"/>
                    <a:pt x="14604" y="11921"/>
                  </a:cubicBezTo>
                  <a:cubicBezTo>
                    <a:pt x="14718" y="11905"/>
                    <a:pt x="14875" y="11899"/>
                    <a:pt x="14946" y="11915"/>
                  </a:cubicBezTo>
                  <a:cubicBezTo>
                    <a:pt x="15019" y="11930"/>
                    <a:pt x="15182" y="11925"/>
                    <a:pt x="15305" y="11913"/>
                  </a:cubicBezTo>
                  <a:cubicBezTo>
                    <a:pt x="15429" y="11905"/>
                    <a:pt x="15594" y="11904"/>
                    <a:pt x="15670" y="11927"/>
                  </a:cubicBezTo>
                  <a:cubicBezTo>
                    <a:pt x="15748" y="11946"/>
                    <a:pt x="15867" y="11999"/>
                    <a:pt x="15935" y="12041"/>
                  </a:cubicBezTo>
                  <a:cubicBezTo>
                    <a:pt x="16002" y="12083"/>
                    <a:pt x="16128" y="12111"/>
                    <a:pt x="16214" y="12100"/>
                  </a:cubicBezTo>
                  <a:cubicBezTo>
                    <a:pt x="16299" y="12088"/>
                    <a:pt x="16439" y="12093"/>
                    <a:pt x="16521" y="12108"/>
                  </a:cubicBezTo>
                  <a:cubicBezTo>
                    <a:pt x="16604" y="12122"/>
                    <a:pt x="16479" y="11995"/>
                    <a:pt x="16250" y="11824"/>
                  </a:cubicBezTo>
                  <a:cubicBezTo>
                    <a:pt x="16014" y="11658"/>
                    <a:pt x="15746" y="11448"/>
                    <a:pt x="15632" y="11371"/>
                  </a:cubicBezTo>
                  <a:cubicBezTo>
                    <a:pt x="15522" y="11290"/>
                    <a:pt x="15485" y="11172"/>
                    <a:pt x="15552" y="11112"/>
                  </a:cubicBezTo>
                  <a:cubicBezTo>
                    <a:pt x="15608" y="11046"/>
                    <a:pt x="15719" y="10991"/>
                    <a:pt x="15778" y="10977"/>
                  </a:cubicBezTo>
                  <a:cubicBezTo>
                    <a:pt x="15836" y="10964"/>
                    <a:pt x="15793" y="10926"/>
                    <a:pt x="15681" y="10886"/>
                  </a:cubicBezTo>
                  <a:cubicBezTo>
                    <a:pt x="15571" y="10847"/>
                    <a:pt x="15433" y="10780"/>
                    <a:pt x="15387" y="10728"/>
                  </a:cubicBezTo>
                  <a:cubicBezTo>
                    <a:pt x="15343" y="10676"/>
                    <a:pt x="15257" y="10635"/>
                    <a:pt x="15211" y="10630"/>
                  </a:cubicBezTo>
                  <a:cubicBezTo>
                    <a:pt x="15164" y="10622"/>
                    <a:pt x="15010" y="10505"/>
                    <a:pt x="14874" y="10361"/>
                  </a:cubicBezTo>
                  <a:cubicBezTo>
                    <a:pt x="14732" y="10219"/>
                    <a:pt x="14462" y="10045"/>
                    <a:pt x="14261" y="9985"/>
                  </a:cubicBezTo>
                  <a:cubicBezTo>
                    <a:pt x="14060" y="9926"/>
                    <a:pt x="13668" y="9836"/>
                    <a:pt x="13387" y="9797"/>
                  </a:cubicBezTo>
                  <a:cubicBezTo>
                    <a:pt x="13105" y="9755"/>
                    <a:pt x="12853" y="9671"/>
                    <a:pt x="12848" y="9607"/>
                  </a:cubicBezTo>
                  <a:cubicBezTo>
                    <a:pt x="12830" y="9543"/>
                    <a:pt x="12771" y="9467"/>
                    <a:pt x="12704" y="9448"/>
                  </a:cubicBezTo>
                  <a:cubicBezTo>
                    <a:pt x="12640" y="9425"/>
                    <a:pt x="12509" y="9260"/>
                    <a:pt x="12415" y="9083"/>
                  </a:cubicBezTo>
                  <a:cubicBezTo>
                    <a:pt x="12326" y="8904"/>
                    <a:pt x="12153" y="8682"/>
                    <a:pt x="12052" y="8582"/>
                  </a:cubicBezTo>
                  <a:cubicBezTo>
                    <a:pt x="11951" y="8482"/>
                    <a:pt x="11790" y="8221"/>
                    <a:pt x="11719" y="7995"/>
                  </a:cubicBezTo>
                  <a:cubicBezTo>
                    <a:pt x="11649" y="7769"/>
                    <a:pt x="11514" y="7525"/>
                    <a:pt x="11427" y="7451"/>
                  </a:cubicBezTo>
                  <a:cubicBezTo>
                    <a:pt x="11341" y="7376"/>
                    <a:pt x="11209" y="7313"/>
                    <a:pt x="11134" y="7313"/>
                  </a:cubicBezTo>
                  <a:cubicBezTo>
                    <a:pt x="11058" y="7313"/>
                    <a:pt x="10800" y="7146"/>
                    <a:pt x="10559" y="6945"/>
                  </a:cubicBezTo>
                  <a:cubicBezTo>
                    <a:pt x="10316" y="6744"/>
                    <a:pt x="10007" y="6560"/>
                    <a:pt x="9867" y="6542"/>
                  </a:cubicBezTo>
                  <a:cubicBezTo>
                    <a:pt x="9728" y="6523"/>
                    <a:pt x="9526" y="6461"/>
                    <a:pt x="9413" y="6410"/>
                  </a:cubicBezTo>
                  <a:cubicBezTo>
                    <a:pt x="9306" y="6357"/>
                    <a:pt x="9071" y="6277"/>
                    <a:pt x="8892" y="6238"/>
                  </a:cubicBezTo>
                  <a:cubicBezTo>
                    <a:pt x="8712" y="6200"/>
                    <a:pt x="8507" y="6189"/>
                    <a:pt x="8443" y="6228"/>
                  </a:cubicBezTo>
                  <a:cubicBezTo>
                    <a:pt x="8376" y="6268"/>
                    <a:pt x="8205" y="6337"/>
                    <a:pt x="8066" y="6386"/>
                  </a:cubicBezTo>
                  <a:cubicBezTo>
                    <a:pt x="7928" y="6436"/>
                    <a:pt x="7654" y="6445"/>
                    <a:pt x="7456" y="6408"/>
                  </a:cubicBezTo>
                  <a:cubicBezTo>
                    <a:pt x="7258" y="6370"/>
                    <a:pt x="7021" y="6343"/>
                    <a:pt x="6928" y="6351"/>
                  </a:cubicBezTo>
                  <a:cubicBezTo>
                    <a:pt x="6834" y="6353"/>
                    <a:pt x="6626" y="6339"/>
                    <a:pt x="6470" y="6307"/>
                  </a:cubicBezTo>
                  <a:cubicBezTo>
                    <a:pt x="6314" y="6274"/>
                    <a:pt x="6138" y="6213"/>
                    <a:pt x="6093" y="6162"/>
                  </a:cubicBezTo>
                  <a:cubicBezTo>
                    <a:pt x="6049" y="6111"/>
                    <a:pt x="6083" y="6094"/>
                    <a:pt x="6179" y="6122"/>
                  </a:cubicBezTo>
                  <a:cubicBezTo>
                    <a:pt x="6276" y="6146"/>
                    <a:pt x="6507" y="6182"/>
                    <a:pt x="6697" y="6193"/>
                  </a:cubicBezTo>
                  <a:cubicBezTo>
                    <a:pt x="6888" y="6199"/>
                    <a:pt x="7171" y="6186"/>
                    <a:pt x="7328" y="6160"/>
                  </a:cubicBezTo>
                  <a:cubicBezTo>
                    <a:pt x="7485" y="6130"/>
                    <a:pt x="7660" y="6053"/>
                    <a:pt x="7697" y="5979"/>
                  </a:cubicBezTo>
                  <a:cubicBezTo>
                    <a:pt x="7741" y="5907"/>
                    <a:pt x="7911" y="5854"/>
                    <a:pt x="8072" y="5858"/>
                  </a:cubicBezTo>
                  <a:cubicBezTo>
                    <a:pt x="8232" y="5861"/>
                    <a:pt x="8485" y="5820"/>
                    <a:pt x="8626" y="5756"/>
                  </a:cubicBezTo>
                  <a:cubicBezTo>
                    <a:pt x="8771" y="5697"/>
                    <a:pt x="8767" y="5607"/>
                    <a:pt x="8615" y="5570"/>
                  </a:cubicBezTo>
                  <a:cubicBezTo>
                    <a:pt x="8466" y="5528"/>
                    <a:pt x="8335" y="5454"/>
                    <a:pt x="8325" y="5404"/>
                  </a:cubicBezTo>
                  <a:cubicBezTo>
                    <a:pt x="8307" y="5356"/>
                    <a:pt x="8256" y="5291"/>
                    <a:pt x="8194" y="5264"/>
                  </a:cubicBezTo>
                  <a:cubicBezTo>
                    <a:pt x="8130" y="5241"/>
                    <a:pt x="7918" y="5261"/>
                    <a:pt x="7715" y="5323"/>
                  </a:cubicBezTo>
                  <a:cubicBezTo>
                    <a:pt x="7510" y="5383"/>
                    <a:pt x="7318" y="5413"/>
                    <a:pt x="7282" y="5390"/>
                  </a:cubicBezTo>
                  <a:cubicBezTo>
                    <a:pt x="7247" y="5365"/>
                    <a:pt x="7353" y="5302"/>
                    <a:pt x="7500" y="5229"/>
                  </a:cubicBezTo>
                  <a:cubicBezTo>
                    <a:pt x="7657" y="5166"/>
                    <a:pt x="7938" y="5119"/>
                    <a:pt x="8128" y="5127"/>
                  </a:cubicBezTo>
                  <a:cubicBezTo>
                    <a:pt x="8317" y="5135"/>
                    <a:pt x="8563" y="5101"/>
                    <a:pt x="8669" y="5046"/>
                  </a:cubicBezTo>
                  <a:cubicBezTo>
                    <a:pt x="8780" y="4995"/>
                    <a:pt x="8881" y="4909"/>
                    <a:pt x="8899" y="4859"/>
                  </a:cubicBezTo>
                  <a:cubicBezTo>
                    <a:pt x="8916" y="4810"/>
                    <a:pt x="8996" y="4753"/>
                    <a:pt x="9067" y="4721"/>
                  </a:cubicBezTo>
                  <a:cubicBezTo>
                    <a:pt x="9144" y="4699"/>
                    <a:pt x="9293" y="4576"/>
                    <a:pt x="9396" y="4454"/>
                  </a:cubicBezTo>
                  <a:cubicBezTo>
                    <a:pt x="9503" y="4334"/>
                    <a:pt x="9642" y="4188"/>
                    <a:pt x="9712" y="4134"/>
                  </a:cubicBezTo>
                  <a:cubicBezTo>
                    <a:pt x="9776" y="4077"/>
                    <a:pt x="9831" y="4000"/>
                    <a:pt x="9816" y="3961"/>
                  </a:cubicBezTo>
                  <a:cubicBezTo>
                    <a:pt x="9803" y="3921"/>
                    <a:pt x="9859" y="3823"/>
                    <a:pt x="9934" y="3742"/>
                  </a:cubicBezTo>
                  <a:cubicBezTo>
                    <a:pt x="10008" y="3661"/>
                    <a:pt x="10046" y="3572"/>
                    <a:pt x="10019" y="3543"/>
                  </a:cubicBezTo>
                  <a:cubicBezTo>
                    <a:pt x="9986" y="3515"/>
                    <a:pt x="10026" y="3401"/>
                    <a:pt x="10086" y="3289"/>
                  </a:cubicBezTo>
                  <a:cubicBezTo>
                    <a:pt x="10149" y="3177"/>
                    <a:pt x="10312" y="3038"/>
                    <a:pt x="10440" y="2975"/>
                  </a:cubicBezTo>
                  <a:cubicBezTo>
                    <a:pt x="10574" y="2918"/>
                    <a:pt x="10671" y="2805"/>
                    <a:pt x="10671" y="2733"/>
                  </a:cubicBezTo>
                  <a:cubicBezTo>
                    <a:pt x="10665" y="2661"/>
                    <a:pt x="10509" y="2515"/>
                    <a:pt x="10308" y="2417"/>
                  </a:cubicBezTo>
                  <a:cubicBezTo>
                    <a:pt x="10108" y="2317"/>
                    <a:pt x="9918" y="2250"/>
                    <a:pt x="9876" y="2264"/>
                  </a:cubicBezTo>
                  <a:cubicBezTo>
                    <a:pt x="9835" y="2279"/>
                    <a:pt x="9532" y="2296"/>
                    <a:pt x="9202" y="2300"/>
                  </a:cubicBezTo>
                  <a:cubicBezTo>
                    <a:pt x="8869" y="2300"/>
                    <a:pt x="8430" y="2289"/>
                    <a:pt x="8227" y="2261"/>
                  </a:cubicBezTo>
                  <a:cubicBezTo>
                    <a:pt x="8022" y="2242"/>
                    <a:pt x="7805" y="2236"/>
                    <a:pt x="7749" y="2261"/>
                  </a:cubicBezTo>
                  <a:cubicBezTo>
                    <a:pt x="7691" y="2284"/>
                    <a:pt x="7560" y="2303"/>
                    <a:pt x="7460" y="2301"/>
                  </a:cubicBezTo>
                  <a:cubicBezTo>
                    <a:pt x="7360" y="2297"/>
                    <a:pt x="7175" y="2278"/>
                    <a:pt x="7050" y="2253"/>
                  </a:cubicBezTo>
                  <a:cubicBezTo>
                    <a:pt x="6921" y="2231"/>
                    <a:pt x="6748" y="2210"/>
                    <a:pt x="6661" y="2208"/>
                  </a:cubicBezTo>
                  <a:cubicBezTo>
                    <a:pt x="6573" y="2210"/>
                    <a:pt x="6494" y="2231"/>
                    <a:pt x="6479" y="2255"/>
                  </a:cubicBezTo>
                  <a:cubicBezTo>
                    <a:pt x="6474" y="2281"/>
                    <a:pt x="6357" y="2319"/>
                    <a:pt x="6232" y="2338"/>
                  </a:cubicBezTo>
                  <a:cubicBezTo>
                    <a:pt x="6107" y="2361"/>
                    <a:pt x="5892" y="2405"/>
                    <a:pt x="5762" y="2449"/>
                  </a:cubicBezTo>
                  <a:cubicBezTo>
                    <a:pt x="5626" y="2487"/>
                    <a:pt x="5474" y="2519"/>
                    <a:pt x="5421" y="2519"/>
                  </a:cubicBezTo>
                  <a:cubicBezTo>
                    <a:pt x="5368" y="2515"/>
                    <a:pt x="5249" y="2547"/>
                    <a:pt x="5159" y="2589"/>
                  </a:cubicBezTo>
                  <a:cubicBezTo>
                    <a:pt x="5071" y="2631"/>
                    <a:pt x="4974" y="2648"/>
                    <a:pt x="4944" y="2633"/>
                  </a:cubicBezTo>
                  <a:cubicBezTo>
                    <a:pt x="4919" y="2614"/>
                    <a:pt x="4992" y="2540"/>
                    <a:pt x="5112" y="2461"/>
                  </a:cubicBezTo>
                  <a:cubicBezTo>
                    <a:pt x="5234" y="2385"/>
                    <a:pt x="5435" y="2226"/>
                    <a:pt x="5560" y="2110"/>
                  </a:cubicBezTo>
                  <a:cubicBezTo>
                    <a:pt x="5688" y="1996"/>
                    <a:pt x="5712" y="1924"/>
                    <a:pt x="5619" y="1951"/>
                  </a:cubicBezTo>
                  <a:cubicBezTo>
                    <a:pt x="5526" y="1981"/>
                    <a:pt x="5354" y="1983"/>
                    <a:pt x="5238" y="1955"/>
                  </a:cubicBezTo>
                  <a:cubicBezTo>
                    <a:pt x="5120" y="1933"/>
                    <a:pt x="5082" y="1889"/>
                    <a:pt x="5150" y="1864"/>
                  </a:cubicBezTo>
                  <a:cubicBezTo>
                    <a:pt x="5219" y="1839"/>
                    <a:pt x="5295" y="1776"/>
                    <a:pt x="5319" y="1723"/>
                  </a:cubicBezTo>
                  <a:cubicBezTo>
                    <a:pt x="5336" y="1668"/>
                    <a:pt x="5623" y="1517"/>
                    <a:pt x="5942" y="1384"/>
                  </a:cubicBezTo>
                  <a:cubicBezTo>
                    <a:pt x="6258" y="1249"/>
                    <a:pt x="6596" y="1072"/>
                    <a:pt x="6686" y="983"/>
                  </a:cubicBezTo>
                  <a:cubicBezTo>
                    <a:pt x="6778" y="895"/>
                    <a:pt x="6943" y="807"/>
                    <a:pt x="7051" y="787"/>
                  </a:cubicBezTo>
                  <a:cubicBezTo>
                    <a:pt x="7158" y="761"/>
                    <a:pt x="7287" y="683"/>
                    <a:pt x="7341" y="606"/>
                  </a:cubicBezTo>
                  <a:cubicBezTo>
                    <a:pt x="7394" y="527"/>
                    <a:pt x="7384" y="436"/>
                    <a:pt x="7330" y="398"/>
                  </a:cubicBezTo>
                  <a:cubicBezTo>
                    <a:pt x="7272" y="363"/>
                    <a:pt x="7277" y="288"/>
                    <a:pt x="7337" y="232"/>
                  </a:cubicBezTo>
                  <a:cubicBezTo>
                    <a:pt x="7399" y="176"/>
                    <a:pt x="7435" y="102"/>
                    <a:pt x="7435" y="66"/>
                  </a:cubicBezTo>
                  <a:cubicBezTo>
                    <a:pt x="7424" y="31"/>
                    <a:pt x="7290" y="0"/>
                    <a:pt x="7128" y="0"/>
                  </a:cubicBezTo>
                  <a:cubicBezTo>
                    <a:pt x="6965" y="-2"/>
                    <a:pt x="6777" y="26"/>
                    <a:pt x="6716" y="67"/>
                  </a:cubicBezTo>
                  <a:cubicBezTo>
                    <a:pt x="6652" y="106"/>
                    <a:pt x="6514" y="123"/>
                    <a:pt x="6410" y="103"/>
                  </a:cubicBezTo>
                  <a:cubicBezTo>
                    <a:pt x="6305" y="88"/>
                    <a:pt x="6097" y="102"/>
                    <a:pt x="5941" y="138"/>
                  </a:cubicBezTo>
                  <a:cubicBezTo>
                    <a:pt x="5787" y="177"/>
                    <a:pt x="5542" y="197"/>
                    <a:pt x="5398" y="189"/>
                  </a:cubicBezTo>
                  <a:cubicBezTo>
                    <a:pt x="5255" y="183"/>
                    <a:pt x="5036" y="191"/>
                    <a:pt x="4918" y="221"/>
                  </a:cubicBezTo>
                  <a:cubicBezTo>
                    <a:pt x="4797" y="250"/>
                    <a:pt x="4640" y="266"/>
                    <a:pt x="4572" y="271"/>
                  </a:cubicBezTo>
                  <a:cubicBezTo>
                    <a:pt x="4504" y="267"/>
                    <a:pt x="4394" y="304"/>
                    <a:pt x="4318" y="337"/>
                  </a:cubicBezTo>
                  <a:cubicBezTo>
                    <a:pt x="4248" y="374"/>
                    <a:pt x="4211" y="372"/>
                    <a:pt x="4217" y="330"/>
                  </a:cubicBezTo>
                  <a:cubicBezTo>
                    <a:pt x="4228" y="289"/>
                    <a:pt x="4187" y="246"/>
                    <a:pt x="4123" y="227"/>
                  </a:cubicBezTo>
                  <a:cubicBezTo>
                    <a:pt x="4059" y="209"/>
                    <a:pt x="3896" y="251"/>
                    <a:pt x="3762" y="315"/>
                  </a:cubicBezTo>
                  <a:cubicBezTo>
                    <a:pt x="3626" y="376"/>
                    <a:pt x="3553" y="385"/>
                    <a:pt x="3593" y="327"/>
                  </a:cubicBezTo>
                  <a:cubicBezTo>
                    <a:pt x="3633" y="270"/>
                    <a:pt x="3510" y="186"/>
                    <a:pt x="3328" y="134"/>
                  </a:cubicBezTo>
                  <a:cubicBezTo>
                    <a:pt x="3143" y="88"/>
                    <a:pt x="2966" y="97"/>
                    <a:pt x="2937" y="161"/>
                  </a:cubicBezTo>
                  <a:cubicBezTo>
                    <a:pt x="2904" y="224"/>
                    <a:pt x="2833" y="300"/>
                    <a:pt x="2770" y="323"/>
                  </a:cubicBezTo>
                  <a:cubicBezTo>
                    <a:pt x="2703" y="344"/>
                    <a:pt x="2675" y="419"/>
                    <a:pt x="2693" y="477"/>
                  </a:cubicBezTo>
                  <a:cubicBezTo>
                    <a:pt x="2715" y="535"/>
                    <a:pt x="2697" y="587"/>
                    <a:pt x="2660" y="587"/>
                  </a:cubicBezTo>
                  <a:cubicBezTo>
                    <a:pt x="2624" y="587"/>
                    <a:pt x="2595" y="649"/>
                    <a:pt x="2606" y="721"/>
                  </a:cubicBezTo>
                  <a:cubicBezTo>
                    <a:pt x="2612" y="793"/>
                    <a:pt x="2508" y="863"/>
                    <a:pt x="2375" y="880"/>
                  </a:cubicBezTo>
                  <a:cubicBezTo>
                    <a:pt x="2242" y="896"/>
                    <a:pt x="2187" y="958"/>
                    <a:pt x="2253" y="1021"/>
                  </a:cubicBezTo>
                  <a:cubicBezTo>
                    <a:pt x="2323" y="1082"/>
                    <a:pt x="2324" y="1184"/>
                    <a:pt x="2273" y="1247"/>
                  </a:cubicBezTo>
                  <a:cubicBezTo>
                    <a:pt x="2213" y="1308"/>
                    <a:pt x="2117" y="1360"/>
                    <a:pt x="2051" y="1363"/>
                  </a:cubicBezTo>
                  <a:cubicBezTo>
                    <a:pt x="1986" y="1363"/>
                    <a:pt x="2060" y="1435"/>
                    <a:pt x="2224" y="1512"/>
                  </a:cubicBezTo>
                  <a:cubicBezTo>
                    <a:pt x="2384" y="1594"/>
                    <a:pt x="2569" y="1703"/>
                    <a:pt x="2621" y="1762"/>
                  </a:cubicBezTo>
                  <a:cubicBezTo>
                    <a:pt x="2676" y="1821"/>
                    <a:pt x="2590" y="1832"/>
                    <a:pt x="2428" y="1781"/>
                  </a:cubicBezTo>
                  <a:cubicBezTo>
                    <a:pt x="2265" y="1733"/>
                    <a:pt x="2083" y="1720"/>
                    <a:pt x="2023" y="1748"/>
                  </a:cubicBezTo>
                  <a:cubicBezTo>
                    <a:pt x="1969" y="1780"/>
                    <a:pt x="1816" y="1765"/>
                    <a:pt x="1699" y="1718"/>
                  </a:cubicBezTo>
                  <a:cubicBezTo>
                    <a:pt x="1578" y="1675"/>
                    <a:pt x="1476" y="1662"/>
                    <a:pt x="1470" y="1694"/>
                  </a:cubicBezTo>
                  <a:cubicBezTo>
                    <a:pt x="1458" y="1725"/>
                    <a:pt x="1482" y="1789"/>
                    <a:pt x="1518" y="1830"/>
                  </a:cubicBezTo>
                  <a:cubicBezTo>
                    <a:pt x="1552" y="1872"/>
                    <a:pt x="1545" y="1934"/>
                    <a:pt x="1508" y="1967"/>
                  </a:cubicBezTo>
                  <a:cubicBezTo>
                    <a:pt x="1467" y="1996"/>
                    <a:pt x="1387" y="1968"/>
                    <a:pt x="1325" y="1897"/>
                  </a:cubicBezTo>
                  <a:cubicBezTo>
                    <a:pt x="1260" y="1829"/>
                    <a:pt x="1170" y="1833"/>
                    <a:pt x="1109" y="1904"/>
                  </a:cubicBezTo>
                  <a:cubicBezTo>
                    <a:pt x="1057" y="1979"/>
                    <a:pt x="1061" y="2069"/>
                    <a:pt x="1123" y="2109"/>
                  </a:cubicBezTo>
                  <a:cubicBezTo>
                    <a:pt x="1187" y="2146"/>
                    <a:pt x="1199" y="2213"/>
                    <a:pt x="1147" y="2248"/>
                  </a:cubicBezTo>
                  <a:cubicBezTo>
                    <a:pt x="1094" y="2284"/>
                    <a:pt x="1135" y="2368"/>
                    <a:pt x="1233" y="2430"/>
                  </a:cubicBezTo>
                  <a:cubicBezTo>
                    <a:pt x="1332" y="2493"/>
                    <a:pt x="1489" y="2546"/>
                    <a:pt x="1584" y="2548"/>
                  </a:cubicBezTo>
                  <a:cubicBezTo>
                    <a:pt x="1677" y="2546"/>
                    <a:pt x="1665" y="2570"/>
                    <a:pt x="1555" y="2594"/>
                  </a:cubicBezTo>
                  <a:cubicBezTo>
                    <a:pt x="1445" y="2616"/>
                    <a:pt x="1261" y="2608"/>
                    <a:pt x="1149" y="2570"/>
                  </a:cubicBezTo>
                  <a:cubicBezTo>
                    <a:pt x="1035" y="2536"/>
                    <a:pt x="968" y="2587"/>
                    <a:pt x="991" y="2690"/>
                  </a:cubicBezTo>
                  <a:cubicBezTo>
                    <a:pt x="1014" y="2793"/>
                    <a:pt x="1035" y="2904"/>
                    <a:pt x="1035" y="2938"/>
                  </a:cubicBezTo>
                  <a:close/>
                  <a:moveTo>
                    <a:pt x="1035" y="29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49" name="AutoShape 648"/>
            <p:cNvSpPr>
              <a:spLocks/>
            </p:cNvSpPr>
            <p:nvPr/>
          </p:nvSpPr>
          <p:spPr bwMode="auto">
            <a:xfrm>
              <a:off x="7035800" y="2387600"/>
              <a:ext cx="31750" cy="25400"/>
            </a:xfrm>
            <a:custGeom>
              <a:avLst/>
              <a:gdLst/>
              <a:ahLst/>
              <a:cxnLst/>
              <a:rect l="0" t="0" r="r" b="b"/>
              <a:pathLst>
                <a:path w="21173" h="20553">
                  <a:moveTo>
                    <a:pt x="7926" y="9249"/>
                  </a:moveTo>
                  <a:cubicBezTo>
                    <a:pt x="8334" y="10490"/>
                    <a:pt x="7247" y="10877"/>
                    <a:pt x="5524" y="10051"/>
                  </a:cubicBezTo>
                  <a:cubicBezTo>
                    <a:pt x="3758" y="9349"/>
                    <a:pt x="1544" y="9468"/>
                    <a:pt x="701" y="10695"/>
                  </a:cubicBezTo>
                  <a:cubicBezTo>
                    <a:pt x="-231" y="11818"/>
                    <a:pt x="-223" y="13550"/>
                    <a:pt x="658" y="14471"/>
                  </a:cubicBezTo>
                  <a:cubicBezTo>
                    <a:pt x="1488" y="15470"/>
                    <a:pt x="1670" y="16625"/>
                    <a:pt x="948" y="17207"/>
                  </a:cubicBezTo>
                  <a:cubicBezTo>
                    <a:pt x="174" y="17709"/>
                    <a:pt x="265" y="18764"/>
                    <a:pt x="1011" y="19423"/>
                  </a:cubicBezTo>
                  <a:cubicBezTo>
                    <a:pt x="1765" y="20067"/>
                    <a:pt x="3560" y="20430"/>
                    <a:pt x="4976" y="20182"/>
                  </a:cubicBezTo>
                  <a:cubicBezTo>
                    <a:pt x="6393" y="19886"/>
                    <a:pt x="8743" y="20172"/>
                    <a:pt x="10200" y="20468"/>
                  </a:cubicBezTo>
                  <a:cubicBezTo>
                    <a:pt x="11664" y="20836"/>
                    <a:pt x="13708" y="19972"/>
                    <a:pt x="14737" y="18492"/>
                  </a:cubicBezTo>
                  <a:cubicBezTo>
                    <a:pt x="15757" y="16993"/>
                    <a:pt x="16221" y="15470"/>
                    <a:pt x="15693" y="15121"/>
                  </a:cubicBezTo>
                  <a:cubicBezTo>
                    <a:pt x="15209" y="14701"/>
                    <a:pt x="15129" y="13403"/>
                    <a:pt x="15626" y="12214"/>
                  </a:cubicBezTo>
                  <a:cubicBezTo>
                    <a:pt x="16046" y="10977"/>
                    <a:pt x="17634" y="8948"/>
                    <a:pt x="19047" y="7635"/>
                  </a:cubicBezTo>
                  <a:cubicBezTo>
                    <a:pt x="20479" y="6360"/>
                    <a:pt x="21369" y="3524"/>
                    <a:pt x="21135" y="1380"/>
                  </a:cubicBezTo>
                  <a:cubicBezTo>
                    <a:pt x="20901" y="-764"/>
                    <a:pt x="17631" y="-358"/>
                    <a:pt x="13923" y="2240"/>
                  </a:cubicBezTo>
                  <a:cubicBezTo>
                    <a:pt x="10192" y="4804"/>
                    <a:pt x="7508" y="8002"/>
                    <a:pt x="7926" y="9249"/>
                  </a:cubicBezTo>
                  <a:close/>
                  <a:moveTo>
                    <a:pt x="7926" y="92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0" name="AutoShape 649"/>
            <p:cNvSpPr>
              <a:spLocks/>
            </p:cNvSpPr>
            <p:nvPr/>
          </p:nvSpPr>
          <p:spPr bwMode="auto">
            <a:xfrm>
              <a:off x="7035800" y="2501900"/>
              <a:ext cx="4763" cy="3175"/>
            </a:xfrm>
            <a:custGeom>
              <a:avLst/>
              <a:gdLst/>
              <a:ahLst/>
              <a:cxnLst/>
              <a:rect l="0" t="0" r="r" b="b"/>
              <a:pathLst>
                <a:path w="19096" h="19053">
                  <a:moveTo>
                    <a:pt x="14" y="13075"/>
                  </a:moveTo>
                  <a:cubicBezTo>
                    <a:pt x="-306" y="20779"/>
                    <a:pt x="5048" y="20934"/>
                    <a:pt x="12960" y="14137"/>
                  </a:cubicBezTo>
                  <a:cubicBezTo>
                    <a:pt x="20532" y="6552"/>
                    <a:pt x="21294" y="943"/>
                    <a:pt x="14142" y="60"/>
                  </a:cubicBezTo>
                  <a:cubicBezTo>
                    <a:pt x="7037" y="-666"/>
                    <a:pt x="649" y="5279"/>
                    <a:pt x="14" y="13075"/>
                  </a:cubicBezTo>
                  <a:close/>
                  <a:moveTo>
                    <a:pt x="14" y="1307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1" name="AutoShape 650"/>
            <p:cNvSpPr>
              <a:spLocks/>
            </p:cNvSpPr>
            <p:nvPr/>
          </p:nvSpPr>
          <p:spPr bwMode="auto">
            <a:xfrm>
              <a:off x="7023100" y="2425700"/>
              <a:ext cx="12700" cy="4763"/>
            </a:xfrm>
            <a:custGeom>
              <a:avLst/>
              <a:gdLst/>
              <a:ahLst/>
              <a:cxnLst/>
              <a:rect l="0" t="0" r="r" b="b"/>
              <a:pathLst>
                <a:path w="20532" h="20090">
                  <a:moveTo>
                    <a:pt x="13894" y="19805"/>
                  </a:moveTo>
                  <a:cubicBezTo>
                    <a:pt x="17319" y="18241"/>
                    <a:pt x="20260" y="13670"/>
                    <a:pt x="20519" y="9655"/>
                  </a:cubicBezTo>
                  <a:cubicBezTo>
                    <a:pt x="20781" y="5662"/>
                    <a:pt x="16964" y="1356"/>
                    <a:pt x="12135" y="555"/>
                  </a:cubicBezTo>
                  <a:cubicBezTo>
                    <a:pt x="7341" y="-639"/>
                    <a:pt x="2196" y="268"/>
                    <a:pt x="669" y="1647"/>
                  </a:cubicBezTo>
                  <a:cubicBezTo>
                    <a:pt x="-819" y="3148"/>
                    <a:pt x="298" y="8133"/>
                    <a:pt x="2809" y="13526"/>
                  </a:cubicBezTo>
                  <a:cubicBezTo>
                    <a:pt x="5491" y="18553"/>
                    <a:pt x="10441" y="20961"/>
                    <a:pt x="13894" y="19805"/>
                  </a:cubicBezTo>
                  <a:close/>
                  <a:moveTo>
                    <a:pt x="13894" y="198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2" name="AutoShape 651"/>
            <p:cNvSpPr>
              <a:spLocks/>
            </p:cNvSpPr>
            <p:nvPr/>
          </p:nvSpPr>
          <p:spPr bwMode="auto">
            <a:xfrm>
              <a:off x="7378700" y="2794000"/>
              <a:ext cx="7938" cy="3175"/>
            </a:xfrm>
            <a:custGeom>
              <a:avLst/>
              <a:gdLst/>
              <a:ahLst/>
              <a:cxnLst/>
              <a:rect l="0" t="0" r="r" b="b"/>
              <a:pathLst>
                <a:path w="19464" h="20662">
                  <a:moveTo>
                    <a:pt x="1000" y="3772"/>
                  </a:moveTo>
                  <a:cubicBezTo>
                    <a:pt x="-1114" y="5991"/>
                    <a:pt x="266" y="11162"/>
                    <a:pt x="3815" y="15574"/>
                  </a:cubicBezTo>
                  <a:cubicBezTo>
                    <a:pt x="7420" y="20080"/>
                    <a:pt x="12996" y="21600"/>
                    <a:pt x="16149" y="20107"/>
                  </a:cubicBezTo>
                  <a:cubicBezTo>
                    <a:pt x="19275" y="18654"/>
                    <a:pt x="20486" y="13083"/>
                    <a:pt x="18488" y="8876"/>
                  </a:cubicBezTo>
                  <a:cubicBezTo>
                    <a:pt x="16488" y="4702"/>
                    <a:pt x="12827" y="529"/>
                    <a:pt x="9954" y="0"/>
                  </a:cubicBezTo>
                  <a:cubicBezTo>
                    <a:pt x="7136" y="0"/>
                    <a:pt x="3081" y="1356"/>
                    <a:pt x="1000" y="3772"/>
                  </a:cubicBezTo>
                  <a:close/>
                  <a:moveTo>
                    <a:pt x="1000" y="37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3" name="AutoShape 652"/>
            <p:cNvSpPr>
              <a:spLocks/>
            </p:cNvSpPr>
            <p:nvPr/>
          </p:nvSpPr>
          <p:spPr bwMode="auto">
            <a:xfrm>
              <a:off x="7035800" y="2413000"/>
              <a:ext cx="11113" cy="7938"/>
            </a:xfrm>
            <a:custGeom>
              <a:avLst/>
              <a:gdLst/>
              <a:ahLst/>
              <a:cxnLst/>
              <a:rect l="0" t="0" r="r" b="b"/>
              <a:pathLst>
                <a:path w="19514" h="19875">
                  <a:moveTo>
                    <a:pt x="17700" y="1548"/>
                  </a:moveTo>
                  <a:cubicBezTo>
                    <a:pt x="14562" y="-173"/>
                    <a:pt x="10714" y="-327"/>
                    <a:pt x="8966" y="441"/>
                  </a:cubicBezTo>
                  <a:cubicBezTo>
                    <a:pt x="7308" y="1655"/>
                    <a:pt x="5368" y="4311"/>
                    <a:pt x="4526" y="6447"/>
                  </a:cubicBezTo>
                  <a:cubicBezTo>
                    <a:pt x="3690" y="8568"/>
                    <a:pt x="2040" y="11270"/>
                    <a:pt x="618" y="12271"/>
                  </a:cubicBezTo>
                  <a:cubicBezTo>
                    <a:pt x="-724" y="13360"/>
                    <a:pt x="178" y="16343"/>
                    <a:pt x="2739" y="18863"/>
                  </a:cubicBezTo>
                  <a:cubicBezTo>
                    <a:pt x="5349" y="21273"/>
                    <a:pt x="10917" y="19247"/>
                    <a:pt x="15368" y="14175"/>
                  </a:cubicBezTo>
                  <a:cubicBezTo>
                    <a:pt x="19744" y="8876"/>
                    <a:pt x="20876" y="3207"/>
                    <a:pt x="17700" y="1548"/>
                  </a:cubicBezTo>
                  <a:close/>
                  <a:moveTo>
                    <a:pt x="17700" y="15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4" name="AutoShape 653"/>
            <p:cNvSpPr>
              <a:spLocks/>
            </p:cNvSpPr>
            <p:nvPr/>
          </p:nvSpPr>
          <p:spPr bwMode="auto">
            <a:xfrm>
              <a:off x="7099300" y="2540000"/>
              <a:ext cx="11113" cy="15875"/>
            </a:xfrm>
            <a:custGeom>
              <a:avLst/>
              <a:gdLst/>
              <a:ahLst/>
              <a:cxnLst/>
              <a:rect l="0" t="0" r="r" b="b"/>
              <a:pathLst>
                <a:path w="19997" h="19897">
                  <a:moveTo>
                    <a:pt x="4609" y="497"/>
                  </a:moveTo>
                  <a:cubicBezTo>
                    <a:pt x="1264" y="2162"/>
                    <a:pt x="-868" y="6475"/>
                    <a:pt x="342" y="10398"/>
                  </a:cubicBezTo>
                  <a:cubicBezTo>
                    <a:pt x="1428" y="14343"/>
                    <a:pt x="5818" y="18386"/>
                    <a:pt x="9942" y="19510"/>
                  </a:cubicBezTo>
                  <a:cubicBezTo>
                    <a:pt x="14044" y="20613"/>
                    <a:pt x="18537" y="19270"/>
                    <a:pt x="19665" y="16570"/>
                  </a:cubicBezTo>
                  <a:cubicBezTo>
                    <a:pt x="20732" y="13870"/>
                    <a:pt x="19110" y="8666"/>
                    <a:pt x="16385" y="4719"/>
                  </a:cubicBezTo>
                  <a:cubicBezTo>
                    <a:pt x="13122" y="978"/>
                    <a:pt x="8074" y="-987"/>
                    <a:pt x="4609" y="497"/>
                  </a:cubicBezTo>
                  <a:close/>
                  <a:moveTo>
                    <a:pt x="4609" y="4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5" name="AutoShape 654"/>
            <p:cNvSpPr>
              <a:spLocks/>
            </p:cNvSpPr>
            <p:nvPr/>
          </p:nvSpPr>
          <p:spPr bwMode="auto">
            <a:xfrm>
              <a:off x="7277100" y="2844800"/>
              <a:ext cx="17463" cy="9525"/>
            </a:xfrm>
            <a:custGeom>
              <a:avLst/>
              <a:gdLst/>
              <a:ahLst/>
              <a:cxnLst/>
              <a:rect l="0" t="0" r="r" b="b"/>
              <a:pathLst>
                <a:path w="20093" h="20195">
                  <a:moveTo>
                    <a:pt x="13571" y="881"/>
                  </a:moveTo>
                  <a:cubicBezTo>
                    <a:pt x="12171" y="-957"/>
                    <a:pt x="7943" y="160"/>
                    <a:pt x="4224" y="3505"/>
                  </a:cubicBezTo>
                  <a:cubicBezTo>
                    <a:pt x="531" y="6923"/>
                    <a:pt x="-1078" y="10154"/>
                    <a:pt x="768" y="10713"/>
                  </a:cubicBezTo>
                  <a:cubicBezTo>
                    <a:pt x="2600" y="11620"/>
                    <a:pt x="5795" y="13857"/>
                    <a:pt x="7679" y="16491"/>
                  </a:cubicBezTo>
                  <a:cubicBezTo>
                    <a:pt x="9618" y="19052"/>
                    <a:pt x="12799" y="20643"/>
                    <a:pt x="14671" y="20083"/>
                  </a:cubicBezTo>
                  <a:cubicBezTo>
                    <a:pt x="16530" y="19526"/>
                    <a:pt x="18022" y="17784"/>
                    <a:pt x="18022" y="16120"/>
                  </a:cubicBezTo>
                  <a:cubicBezTo>
                    <a:pt x="18022" y="14455"/>
                    <a:pt x="18728" y="10861"/>
                    <a:pt x="19620" y="8166"/>
                  </a:cubicBezTo>
                  <a:cubicBezTo>
                    <a:pt x="20522" y="5518"/>
                    <a:pt x="20091" y="3541"/>
                    <a:pt x="18689" y="3717"/>
                  </a:cubicBezTo>
                  <a:cubicBezTo>
                    <a:pt x="17288" y="4075"/>
                    <a:pt x="14997" y="2683"/>
                    <a:pt x="13571" y="881"/>
                  </a:cubicBezTo>
                  <a:close/>
                  <a:moveTo>
                    <a:pt x="13571" y="88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6" name="AutoShape 655"/>
            <p:cNvSpPr>
              <a:spLocks/>
            </p:cNvSpPr>
            <p:nvPr/>
          </p:nvSpPr>
          <p:spPr bwMode="auto">
            <a:xfrm>
              <a:off x="7023100" y="2451100"/>
              <a:ext cx="6350" cy="14288"/>
            </a:xfrm>
            <a:custGeom>
              <a:avLst/>
              <a:gdLst/>
              <a:ahLst/>
              <a:cxnLst/>
              <a:rect l="0" t="0" r="r" b="b"/>
              <a:pathLst>
                <a:path w="20647" h="20980">
                  <a:moveTo>
                    <a:pt x="20567" y="3887"/>
                  </a:moveTo>
                  <a:cubicBezTo>
                    <a:pt x="20007" y="2052"/>
                    <a:pt x="15924" y="286"/>
                    <a:pt x="11928" y="33"/>
                  </a:cubicBezTo>
                  <a:cubicBezTo>
                    <a:pt x="7935" y="-218"/>
                    <a:pt x="4427" y="974"/>
                    <a:pt x="5228" y="2722"/>
                  </a:cubicBezTo>
                  <a:cubicBezTo>
                    <a:pt x="5523" y="4496"/>
                    <a:pt x="4074" y="7498"/>
                    <a:pt x="1994" y="9394"/>
                  </a:cubicBezTo>
                  <a:cubicBezTo>
                    <a:pt x="-49" y="11300"/>
                    <a:pt x="-736" y="14509"/>
                    <a:pt x="952" y="16493"/>
                  </a:cubicBezTo>
                  <a:cubicBezTo>
                    <a:pt x="2328" y="18546"/>
                    <a:pt x="7436" y="20520"/>
                    <a:pt x="12005" y="20903"/>
                  </a:cubicBezTo>
                  <a:cubicBezTo>
                    <a:pt x="16629" y="21382"/>
                    <a:pt x="19339" y="19554"/>
                    <a:pt x="17688" y="17016"/>
                  </a:cubicBezTo>
                  <a:cubicBezTo>
                    <a:pt x="16349" y="14448"/>
                    <a:pt x="16407" y="11177"/>
                    <a:pt x="18468" y="9804"/>
                  </a:cubicBezTo>
                  <a:cubicBezTo>
                    <a:pt x="20381" y="8385"/>
                    <a:pt x="20864" y="5740"/>
                    <a:pt x="20567" y="3887"/>
                  </a:cubicBezTo>
                  <a:close/>
                  <a:moveTo>
                    <a:pt x="20567" y="38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7" name="AutoShape 656"/>
            <p:cNvSpPr>
              <a:spLocks/>
            </p:cNvSpPr>
            <p:nvPr/>
          </p:nvSpPr>
          <p:spPr bwMode="auto">
            <a:xfrm>
              <a:off x="7734300" y="3289300"/>
              <a:ext cx="47625" cy="96838"/>
            </a:xfrm>
            <a:custGeom>
              <a:avLst/>
              <a:gdLst/>
              <a:ahLst/>
              <a:cxnLst/>
              <a:rect l="0" t="0" r="r" b="b"/>
              <a:pathLst>
                <a:path w="21220" h="21456">
                  <a:moveTo>
                    <a:pt x="2115" y="12386"/>
                  </a:moveTo>
                  <a:cubicBezTo>
                    <a:pt x="2961" y="12641"/>
                    <a:pt x="3726" y="12988"/>
                    <a:pt x="3726" y="13207"/>
                  </a:cubicBezTo>
                  <a:cubicBezTo>
                    <a:pt x="3726" y="13426"/>
                    <a:pt x="3421" y="13735"/>
                    <a:pt x="2950" y="13834"/>
                  </a:cubicBezTo>
                  <a:cubicBezTo>
                    <a:pt x="2508" y="13967"/>
                    <a:pt x="2447" y="14301"/>
                    <a:pt x="2836" y="14592"/>
                  </a:cubicBezTo>
                  <a:cubicBezTo>
                    <a:pt x="3164" y="14901"/>
                    <a:pt x="4190" y="15318"/>
                    <a:pt x="5021" y="15547"/>
                  </a:cubicBezTo>
                  <a:cubicBezTo>
                    <a:pt x="5824" y="15790"/>
                    <a:pt x="6551" y="16293"/>
                    <a:pt x="6474" y="16688"/>
                  </a:cubicBezTo>
                  <a:cubicBezTo>
                    <a:pt x="6562" y="17082"/>
                    <a:pt x="6775" y="17417"/>
                    <a:pt x="7169" y="17417"/>
                  </a:cubicBezTo>
                  <a:cubicBezTo>
                    <a:pt x="7573" y="17417"/>
                    <a:pt x="8185" y="17648"/>
                    <a:pt x="8518" y="17920"/>
                  </a:cubicBezTo>
                  <a:cubicBezTo>
                    <a:pt x="8846" y="18187"/>
                    <a:pt x="8737" y="18384"/>
                    <a:pt x="8299" y="18318"/>
                  </a:cubicBezTo>
                  <a:cubicBezTo>
                    <a:pt x="7841" y="18279"/>
                    <a:pt x="7108" y="18458"/>
                    <a:pt x="6775" y="18775"/>
                  </a:cubicBezTo>
                  <a:cubicBezTo>
                    <a:pt x="6360" y="19064"/>
                    <a:pt x="6349" y="19547"/>
                    <a:pt x="6677" y="19814"/>
                  </a:cubicBezTo>
                  <a:cubicBezTo>
                    <a:pt x="6988" y="20092"/>
                    <a:pt x="8786" y="20623"/>
                    <a:pt x="10600" y="21038"/>
                  </a:cubicBezTo>
                  <a:cubicBezTo>
                    <a:pt x="12414" y="21452"/>
                    <a:pt x="14818" y="21580"/>
                    <a:pt x="15916" y="21325"/>
                  </a:cubicBezTo>
                  <a:cubicBezTo>
                    <a:pt x="17031" y="21084"/>
                    <a:pt x="18392" y="20125"/>
                    <a:pt x="18960" y="19209"/>
                  </a:cubicBezTo>
                  <a:cubicBezTo>
                    <a:pt x="19468" y="18288"/>
                    <a:pt x="19895" y="16934"/>
                    <a:pt x="19818" y="16186"/>
                  </a:cubicBezTo>
                  <a:cubicBezTo>
                    <a:pt x="19648" y="15442"/>
                    <a:pt x="20206" y="13743"/>
                    <a:pt x="20774" y="12410"/>
                  </a:cubicBezTo>
                  <a:cubicBezTo>
                    <a:pt x="21430" y="11090"/>
                    <a:pt x="21348" y="9044"/>
                    <a:pt x="20622" y="7870"/>
                  </a:cubicBezTo>
                  <a:cubicBezTo>
                    <a:pt x="19873" y="6704"/>
                    <a:pt x="19408" y="5138"/>
                    <a:pt x="19490" y="4395"/>
                  </a:cubicBezTo>
                  <a:cubicBezTo>
                    <a:pt x="19648" y="3662"/>
                    <a:pt x="19288" y="2374"/>
                    <a:pt x="18960" y="1537"/>
                  </a:cubicBezTo>
                  <a:cubicBezTo>
                    <a:pt x="18551" y="706"/>
                    <a:pt x="17796" y="1"/>
                    <a:pt x="17228" y="1"/>
                  </a:cubicBezTo>
                  <a:cubicBezTo>
                    <a:pt x="16633" y="-20"/>
                    <a:pt x="15987" y="389"/>
                    <a:pt x="15823" y="885"/>
                  </a:cubicBezTo>
                  <a:cubicBezTo>
                    <a:pt x="15583" y="1376"/>
                    <a:pt x="15780" y="2104"/>
                    <a:pt x="16173" y="2477"/>
                  </a:cubicBezTo>
                  <a:cubicBezTo>
                    <a:pt x="16567" y="2852"/>
                    <a:pt x="16709" y="3587"/>
                    <a:pt x="16627" y="4111"/>
                  </a:cubicBezTo>
                  <a:cubicBezTo>
                    <a:pt x="16463" y="4630"/>
                    <a:pt x="16010" y="5042"/>
                    <a:pt x="15556" y="5042"/>
                  </a:cubicBezTo>
                  <a:cubicBezTo>
                    <a:pt x="15102" y="5024"/>
                    <a:pt x="14119" y="4718"/>
                    <a:pt x="13392" y="4329"/>
                  </a:cubicBezTo>
                  <a:cubicBezTo>
                    <a:pt x="12660" y="3941"/>
                    <a:pt x="11458" y="3906"/>
                    <a:pt x="10780" y="4246"/>
                  </a:cubicBezTo>
                  <a:cubicBezTo>
                    <a:pt x="10076" y="4579"/>
                    <a:pt x="8076" y="5080"/>
                    <a:pt x="6300" y="5363"/>
                  </a:cubicBezTo>
                  <a:cubicBezTo>
                    <a:pt x="4524" y="5639"/>
                    <a:pt x="2469" y="6429"/>
                    <a:pt x="1688" y="7114"/>
                  </a:cubicBezTo>
                  <a:cubicBezTo>
                    <a:pt x="956" y="7810"/>
                    <a:pt x="852" y="8642"/>
                    <a:pt x="1568" y="8944"/>
                  </a:cubicBezTo>
                  <a:cubicBezTo>
                    <a:pt x="2283" y="9243"/>
                    <a:pt x="2694" y="9744"/>
                    <a:pt x="2447" y="9994"/>
                  </a:cubicBezTo>
                  <a:cubicBezTo>
                    <a:pt x="2278" y="10262"/>
                    <a:pt x="1519" y="10448"/>
                    <a:pt x="852" y="10448"/>
                  </a:cubicBezTo>
                  <a:cubicBezTo>
                    <a:pt x="180" y="10428"/>
                    <a:pt x="-170" y="10775"/>
                    <a:pt x="82" y="11194"/>
                  </a:cubicBezTo>
                  <a:cubicBezTo>
                    <a:pt x="317" y="11617"/>
                    <a:pt x="1256" y="12151"/>
                    <a:pt x="2115" y="12386"/>
                  </a:cubicBezTo>
                  <a:close/>
                  <a:moveTo>
                    <a:pt x="2115" y="123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8" name="AutoShape 657"/>
            <p:cNvSpPr>
              <a:spLocks/>
            </p:cNvSpPr>
            <p:nvPr/>
          </p:nvSpPr>
          <p:spPr bwMode="auto">
            <a:xfrm>
              <a:off x="7137400" y="2819400"/>
              <a:ext cx="552450" cy="500063"/>
            </a:xfrm>
            <a:custGeom>
              <a:avLst/>
              <a:gdLst/>
              <a:ahLst/>
              <a:cxnLst/>
              <a:rect l="0" t="0" r="r" b="b"/>
              <a:pathLst>
                <a:path w="21552" h="21572">
                  <a:moveTo>
                    <a:pt x="21414" y="17483"/>
                  </a:moveTo>
                  <a:cubicBezTo>
                    <a:pt x="21487" y="17321"/>
                    <a:pt x="21399" y="17174"/>
                    <a:pt x="21241" y="17170"/>
                  </a:cubicBezTo>
                  <a:cubicBezTo>
                    <a:pt x="21083" y="17161"/>
                    <a:pt x="20812" y="17056"/>
                    <a:pt x="20641" y="16930"/>
                  </a:cubicBezTo>
                  <a:cubicBezTo>
                    <a:pt x="20474" y="16800"/>
                    <a:pt x="20303" y="16463"/>
                    <a:pt x="20275" y="16173"/>
                  </a:cubicBezTo>
                  <a:cubicBezTo>
                    <a:pt x="20246" y="15885"/>
                    <a:pt x="20106" y="15530"/>
                    <a:pt x="19977" y="15378"/>
                  </a:cubicBezTo>
                  <a:cubicBezTo>
                    <a:pt x="19840" y="15234"/>
                    <a:pt x="19797" y="15040"/>
                    <a:pt x="19868" y="14954"/>
                  </a:cubicBezTo>
                  <a:cubicBezTo>
                    <a:pt x="19943" y="14871"/>
                    <a:pt x="20099" y="14782"/>
                    <a:pt x="20220" y="14778"/>
                  </a:cubicBezTo>
                  <a:cubicBezTo>
                    <a:pt x="20340" y="14762"/>
                    <a:pt x="20461" y="14608"/>
                    <a:pt x="20482" y="14426"/>
                  </a:cubicBezTo>
                  <a:cubicBezTo>
                    <a:pt x="20504" y="14244"/>
                    <a:pt x="20439" y="14019"/>
                    <a:pt x="20342" y="13916"/>
                  </a:cubicBezTo>
                  <a:cubicBezTo>
                    <a:pt x="20240" y="13819"/>
                    <a:pt x="20146" y="13625"/>
                    <a:pt x="20124" y="13490"/>
                  </a:cubicBezTo>
                  <a:cubicBezTo>
                    <a:pt x="20110" y="13353"/>
                    <a:pt x="20120" y="13195"/>
                    <a:pt x="20169" y="13146"/>
                  </a:cubicBezTo>
                  <a:cubicBezTo>
                    <a:pt x="20211" y="13091"/>
                    <a:pt x="20262" y="13045"/>
                    <a:pt x="20262" y="13055"/>
                  </a:cubicBezTo>
                  <a:cubicBezTo>
                    <a:pt x="20270" y="13051"/>
                    <a:pt x="20263" y="12985"/>
                    <a:pt x="20241" y="12893"/>
                  </a:cubicBezTo>
                  <a:cubicBezTo>
                    <a:pt x="20227" y="12799"/>
                    <a:pt x="20157" y="12678"/>
                    <a:pt x="20093" y="12627"/>
                  </a:cubicBezTo>
                  <a:cubicBezTo>
                    <a:pt x="20031" y="12577"/>
                    <a:pt x="19947" y="12420"/>
                    <a:pt x="19905" y="12284"/>
                  </a:cubicBezTo>
                  <a:cubicBezTo>
                    <a:pt x="19862" y="12149"/>
                    <a:pt x="19785" y="11952"/>
                    <a:pt x="19727" y="11848"/>
                  </a:cubicBezTo>
                  <a:cubicBezTo>
                    <a:pt x="19668" y="11745"/>
                    <a:pt x="19499" y="11645"/>
                    <a:pt x="19344" y="11633"/>
                  </a:cubicBezTo>
                  <a:cubicBezTo>
                    <a:pt x="19190" y="11622"/>
                    <a:pt x="19009" y="11665"/>
                    <a:pt x="18937" y="11726"/>
                  </a:cubicBezTo>
                  <a:cubicBezTo>
                    <a:pt x="18864" y="11786"/>
                    <a:pt x="18854" y="11953"/>
                    <a:pt x="18907" y="12090"/>
                  </a:cubicBezTo>
                  <a:cubicBezTo>
                    <a:pt x="18957" y="12228"/>
                    <a:pt x="18900" y="12376"/>
                    <a:pt x="18774" y="12429"/>
                  </a:cubicBezTo>
                  <a:cubicBezTo>
                    <a:pt x="18648" y="12479"/>
                    <a:pt x="18451" y="12508"/>
                    <a:pt x="18337" y="12492"/>
                  </a:cubicBezTo>
                  <a:cubicBezTo>
                    <a:pt x="18225" y="12472"/>
                    <a:pt x="18121" y="12392"/>
                    <a:pt x="18107" y="12305"/>
                  </a:cubicBezTo>
                  <a:cubicBezTo>
                    <a:pt x="18085" y="12219"/>
                    <a:pt x="18129" y="12121"/>
                    <a:pt x="18188" y="12093"/>
                  </a:cubicBezTo>
                  <a:cubicBezTo>
                    <a:pt x="18248" y="12067"/>
                    <a:pt x="18347" y="12043"/>
                    <a:pt x="18409" y="12050"/>
                  </a:cubicBezTo>
                  <a:cubicBezTo>
                    <a:pt x="18471" y="12063"/>
                    <a:pt x="18521" y="11974"/>
                    <a:pt x="18513" y="11867"/>
                  </a:cubicBezTo>
                  <a:cubicBezTo>
                    <a:pt x="18513" y="11762"/>
                    <a:pt x="18522" y="11540"/>
                    <a:pt x="18536" y="11376"/>
                  </a:cubicBezTo>
                  <a:cubicBezTo>
                    <a:pt x="18551" y="11211"/>
                    <a:pt x="18673" y="10898"/>
                    <a:pt x="18801" y="10680"/>
                  </a:cubicBezTo>
                  <a:cubicBezTo>
                    <a:pt x="18930" y="10462"/>
                    <a:pt x="19098" y="10257"/>
                    <a:pt x="19176" y="10231"/>
                  </a:cubicBezTo>
                  <a:cubicBezTo>
                    <a:pt x="19255" y="10209"/>
                    <a:pt x="19395" y="10071"/>
                    <a:pt x="19493" y="9938"/>
                  </a:cubicBezTo>
                  <a:cubicBezTo>
                    <a:pt x="19589" y="9804"/>
                    <a:pt x="19747" y="9669"/>
                    <a:pt x="19838" y="9626"/>
                  </a:cubicBezTo>
                  <a:cubicBezTo>
                    <a:pt x="19931" y="9591"/>
                    <a:pt x="19994" y="9470"/>
                    <a:pt x="19964" y="9369"/>
                  </a:cubicBezTo>
                  <a:cubicBezTo>
                    <a:pt x="19941" y="9267"/>
                    <a:pt x="19836" y="9129"/>
                    <a:pt x="19723" y="9070"/>
                  </a:cubicBezTo>
                  <a:cubicBezTo>
                    <a:pt x="19612" y="9009"/>
                    <a:pt x="19570" y="8883"/>
                    <a:pt x="19639" y="8806"/>
                  </a:cubicBezTo>
                  <a:cubicBezTo>
                    <a:pt x="19705" y="8725"/>
                    <a:pt x="19854" y="8654"/>
                    <a:pt x="19973" y="8650"/>
                  </a:cubicBezTo>
                  <a:cubicBezTo>
                    <a:pt x="20094" y="8650"/>
                    <a:pt x="20221" y="8702"/>
                    <a:pt x="20250" y="8774"/>
                  </a:cubicBezTo>
                  <a:cubicBezTo>
                    <a:pt x="20285" y="8844"/>
                    <a:pt x="20386" y="8919"/>
                    <a:pt x="20481" y="8931"/>
                  </a:cubicBezTo>
                  <a:cubicBezTo>
                    <a:pt x="20564" y="8953"/>
                    <a:pt x="20746" y="8927"/>
                    <a:pt x="20902" y="8886"/>
                  </a:cubicBezTo>
                  <a:cubicBezTo>
                    <a:pt x="20918" y="8882"/>
                    <a:pt x="20936" y="8878"/>
                    <a:pt x="20953" y="8874"/>
                  </a:cubicBezTo>
                  <a:cubicBezTo>
                    <a:pt x="21119" y="8825"/>
                    <a:pt x="21210" y="8701"/>
                    <a:pt x="21160" y="8593"/>
                  </a:cubicBezTo>
                  <a:cubicBezTo>
                    <a:pt x="21104" y="8489"/>
                    <a:pt x="20991" y="8346"/>
                    <a:pt x="20898" y="8287"/>
                  </a:cubicBezTo>
                  <a:cubicBezTo>
                    <a:pt x="20807" y="8224"/>
                    <a:pt x="20720" y="8047"/>
                    <a:pt x="20706" y="7892"/>
                  </a:cubicBezTo>
                  <a:cubicBezTo>
                    <a:pt x="20691" y="7738"/>
                    <a:pt x="20722" y="7462"/>
                    <a:pt x="20765" y="7278"/>
                  </a:cubicBezTo>
                  <a:cubicBezTo>
                    <a:pt x="20814" y="7096"/>
                    <a:pt x="20907" y="6894"/>
                    <a:pt x="20973" y="6825"/>
                  </a:cubicBezTo>
                  <a:cubicBezTo>
                    <a:pt x="21038" y="6757"/>
                    <a:pt x="21091" y="6640"/>
                    <a:pt x="21091" y="6559"/>
                  </a:cubicBezTo>
                  <a:cubicBezTo>
                    <a:pt x="21084" y="6478"/>
                    <a:pt x="21124" y="6282"/>
                    <a:pt x="21175" y="6124"/>
                  </a:cubicBezTo>
                  <a:cubicBezTo>
                    <a:pt x="21220" y="5963"/>
                    <a:pt x="21359" y="5742"/>
                    <a:pt x="21466" y="5622"/>
                  </a:cubicBezTo>
                  <a:cubicBezTo>
                    <a:pt x="21577" y="5507"/>
                    <a:pt x="21580" y="5353"/>
                    <a:pt x="21479" y="5277"/>
                  </a:cubicBezTo>
                  <a:cubicBezTo>
                    <a:pt x="21377" y="5201"/>
                    <a:pt x="21213" y="5139"/>
                    <a:pt x="21117" y="5135"/>
                  </a:cubicBezTo>
                  <a:cubicBezTo>
                    <a:pt x="21020" y="5131"/>
                    <a:pt x="20839" y="5075"/>
                    <a:pt x="20714" y="5014"/>
                  </a:cubicBezTo>
                  <a:cubicBezTo>
                    <a:pt x="20588" y="4952"/>
                    <a:pt x="20412" y="4924"/>
                    <a:pt x="20320" y="4948"/>
                  </a:cubicBezTo>
                  <a:cubicBezTo>
                    <a:pt x="20227" y="4972"/>
                    <a:pt x="20097" y="4972"/>
                    <a:pt x="20028" y="4942"/>
                  </a:cubicBezTo>
                  <a:cubicBezTo>
                    <a:pt x="19962" y="4910"/>
                    <a:pt x="19831" y="4885"/>
                    <a:pt x="19743" y="4881"/>
                  </a:cubicBezTo>
                  <a:cubicBezTo>
                    <a:pt x="19654" y="4877"/>
                    <a:pt x="19512" y="4900"/>
                    <a:pt x="19427" y="4923"/>
                  </a:cubicBezTo>
                  <a:cubicBezTo>
                    <a:pt x="19341" y="4947"/>
                    <a:pt x="19197" y="4908"/>
                    <a:pt x="19105" y="4827"/>
                  </a:cubicBezTo>
                  <a:cubicBezTo>
                    <a:pt x="19013" y="4749"/>
                    <a:pt x="18941" y="4628"/>
                    <a:pt x="18933" y="4564"/>
                  </a:cubicBezTo>
                  <a:cubicBezTo>
                    <a:pt x="18933" y="4499"/>
                    <a:pt x="18845" y="4383"/>
                    <a:pt x="18748" y="4301"/>
                  </a:cubicBezTo>
                  <a:cubicBezTo>
                    <a:pt x="18648" y="4221"/>
                    <a:pt x="18506" y="4167"/>
                    <a:pt x="18432" y="4184"/>
                  </a:cubicBezTo>
                  <a:cubicBezTo>
                    <a:pt x="18431" y="4184"/>
                    <a:pt x="18430" y="4184"/>
                    <a:pt x="18430" y="4184"/>
                  </a:cubicBezTo>
                  <a:cubicBezTo>
                    <a:pt x="18429" y="4184"/>
                    <a:pt x="18429" y="4185"/>
                    <a:pt x="18428" y="4185"/>
                  </a:cubicBezTo>
                  <a:cubicBezTo>
                    <a:pt x="18357" y="4205"/>
                    <a:pt x="18190" y="4187"/>
                    <a:pt x="18057" y="4155"/>
                  </a:cubicBezTo>
                  <a:cubicBezTo>
                    <a:pt x="17927" y="4125"/>
                    <a:pt x="17770" y="4012"/>
                    <a:pt x="17705" y="3912"/>
                  </a:cubicBezTo>
                  <a:cubicBezTo>
                    <a:pt x="17639" y="3814"/>
                    <a:pt x="17523" y="3727"/>
                    <a:pt x="17441" y="3723"/>
                  </a:cubicBezTo>
                  <a:cubicBezTo>
                    <a:pt x="17358" y="3719"/>
                    <a:pt x="17258" y="3747"/>
                    <a:pt x="17211" y="3769"/>
                  </a:cubicBezTo>
                  <a:cubicBezTo>
                    <a:pt x="17166" y="3795"/>
                    <a:pt x="17055" y="3760"/>
                    <a:pt x="16958" y="3691"/>
                  </a:cubicBezTo>
                  <a:cubicBezTo>
                    <a:pt x="16862" y="3617"/>
                    <a:pt x="16697" y="3550"/>
                    <a:pt x="16593" y="3539"/>
                  </a:cubicBezTo>
                  <a:cubicBezTo>
                    <a:pt x="16488" y="3526"/>
                    <a:pt x="16302" y="3389"/>
                    <a:pt x="16176" y="3234"/>
                  </a:cubicBezTo>
                  <a:cubicBezTo>
                    <a:pt x="16048" y="3080"/>
                    <a:pt x="15893" y="2933"/>
                    <a:pt x="15825" y="2918"/>
                  </a:cubicBezTo>
                  <a:cubicBezTo>
                    <a:pt x="15758" y="2902"/>
                    <a:pt x="15664" y="2842"/>
                    <a:pt x="15617" y="2786"/>
                  </a:cubicBezTo>
                  <a:cubicBezTo>
                    <a:pt x="15570" y="2733"/>
                    <a:pt x="15481" y="2687"/>
                    <a:pt x="15417" y="2683"/>
                  </a:cubicBezTo>
                  <a:cubicBezTo>
                    <a:pt x="15354" y="2679"/>
                    <a:pt x="15254" y="2703"/>
                    <a:pt x="15201" y="2744"/>
                  </a:cubicBezTo>
                  <a:cubicBezTo>
                    <a:pt x="15144" y="2774"/>
                    <a:pt x="15011" y="2758"/>
                    <a:pt x="14901" y="2698"/>
                  </a:cubicBezTo>
                  <a:cubicBezTo>
                    <a:pt x="14789" y="2641"/>
                    <a:pt x="14689" y="2470"/>
                    <a:pt x="14678" y="2326"/>
                  </a:cubicBezTo>
                  <a:cubicBezTo>
                    <a:pt x="14667" y="2182"/>
                    <a:pt x="14598" y="2035"/>
                    <a:pt x="14526" y="1999"/>
                  </a:cubicBezTo>
                  <a:cubicBezTo>
                    <a:pt x="14452" y="1964"/>
                    <a:pt x="14340" y="1889"/>
                    <a:pt x="14275" y="1832"/>
                  </a:cubicBezTo>
                  <a:cubicBezTo>
                    <a:pt x="14210" y="1776"/>
                    <a:pt x="14105" y="1731"/>
                    <a:pt x="14042" y="1735"/>
                  </a:cubicBezTo>
                  <a:cubicBezTo>
                    <a:pt x="13978" y="1743"/>
                    <a:pt x="13805" y="1634"/>
                    <a:pt x="13655" y="1510"/>
                  </a:cubicBezTo>
                  <a:cubicBezTo>
                    <a:pt x="13507" y="1381"/>
                    <a:pt x="13366" y="1211"/>
                    <a:pt x="13344" y="1123"/>
                  </a:cubicBezTo>
                  <a:cubicBezTo>
                    <a:pt x="13321" y="1037"/>
                    <a:pt x="13206" y="926"/>
                    <a:pt x="13084" y="876"/>
                  </a:cubicBezTo>
                  <a:cubicBezTo>
                    <a:pt x="12964" y="825"/>
                    <a:pt x="12838" y="639"/>
                    <a:pt x="12814" y="458"/>
                  </a:cubicBezTo>
                  <a:cubicBezTo>
                    <a:pt x="12785" y="278"/>
                    <a:pt x="12711" y="97"/>
                    <a:pt x="12654" y="46"/>
                  </a:cubicBezTo>
                  <a:cubicBezTo>
                    <a:pt x="12593" y="1"/>
                    <a:pt x="12531" y="-14"/>
                    <a:pt x="12515" y="14"/>
                  </a:cubicBezTo>
                  <a:cubicBezTo>
                    <a:pt x="12501" y="41"/>
                    <a:pt x="12341" y="120"/>
                    <a:pt x="12155" y="168"/>
                  </a:cubicBezTo>
                  <a:cubicBezTo>
                    <a:pt x="11973" y="228"/>
                    <a:pt x="11789" y="240"/>
                    <a:pt x="11743" y="206"/>
                  </a:cubicBezTo>
                  <a:cubicBezTo>
                    <a:pt x="11700" y="167"/>
                    <a:pt x="11544" y="208"/>
                    <a:pt x="11396" y="288"/>
                  </a:cubicBezTo>
                  <a:cubicBezTo>
                    <a:pt x="11251" y="374"/>
                    <a:pt x="11101" y="520"/>
                    <a:pt x="11068" y="621"/>
                  </a:cubicBezTo>
                  <a:cubicBezTo>
                    <a:pt x="11034" y="722"/>
                    <a:pt x="11035" y="905"/>
                    <a:pt x="11056" y="1030"/>
                  </a:cubicBezTo>
                  <a:cubicBezTo>
                    <a:pt x="11089" y="1151"/>
                    <a:pt x="11086" y="1412"/>
                    <a:pt x="11057" y="1605"/>
                  </a:cubicBezTo>
                  <a:cubicBezTo>
                    <a:pt x="11029" y="1798"/>
                    <a:pt x="10889" y="2072"/>
                    <a:pt x="10743" y="2217"/>
                  </a:cubicBezTo>
                  <a:cubicBezTo>
                    <a:pt x="10595" y="2357"/>
                    <a:pt x="10479" y="2528"/>
                    <a:pt x="10479" y="2593"/>
                  </a:cubicBezTo>
                  <a:cubicBezTo>
                    <a:pt x="10483" y="2656"/>
                    <a:pt x="10347" y="2745"/>
                    <a:pt x="10182" y="2787"/>
                  </a:cubicBezTo>
                  <a:cubicBezTo>
                    <a:pt x="10017" y="2832"/>
                    <a:pt x="9811" y="2866"/>
                    <a:pt x="9724" y="2870"/>
                  </a:cubicBezTo>
                  <a:cubicBezTo>
                    <a:pt x="9637" y="2870"/>
                    <a:pt x="9486" y="2847"/>
                    <a:pt x="9391" y="2811"/>
                  </a:cubicBezTo>
                  <a:cubicBezTo>
                    <a:pt x="9298" y="2772"/>
                    <a:pt x="9057" y="2831"/>
                    <a:pt x="8861" y="2935"/>
                  </a:cubicBezTo>
                  <a:cubicBezTo>
                    <a:pt x="8668" y="3043"/>
                    <a:pt x="8468" y="3198"/>
                    <a:pt x="8422" y="3289"/>
                  </a:cubicBezTo>
                  <a:cubicBezTo>
                    <a:pt x="8374" y="3378"/>
                    <a:pt x="8371" y="3506"/>
                    <a:pt x="8407" y="3572"/>
                  </a:cubicBezTo>
                  <a:cubicBezTo>
                    <a:pt x="8443" y="3638"/>
                    <a:pt x="8550" y="3715"/>
                    <a:pt x="8642" y="3752"/>
                  </a:cubicBezTo>
                  <a:cubicBezTo>
                    <a:pt x="8732" y="3788"/>
                    <a:pt x="8708" y="3883"/>
                    <a:pt x="8588" y="3969"/>
                  </a:cubicBezTo>
                  <a:cubicBezTo>
                    <a:pt x="8468" y="4058"/>
                    <a:pt x="8244" y="4145"/>
                    <a:pt x="8093" y="4178"/>
                  </a:cubicBezTo>
                  <a:cubicBezTo>
                    <a:pt x="7943" y="4206"/>
                    <a:pt x="7651" y="4203"/>
                    <a:pt x="7444" y="4171"/>
                  </a:cubicBezTo>
                  <a:cubicBezTo>
                    <a:pt x="7236" y="4139"/>
                    <a:pt x="6990" y="4073"/>
                    <a:pt x="6899" y="4020"/>
                  </a:cubicBezTo>
                  <a:cubicBezTo>
                    <a:pt x="6808" y="3968"/>
                    <a:pt x="6670" y="3965"/>
                    <a:pt x="6595" y="4007"/>
                  </a:cubicBezTo>
                  <a:cubicBezTo>
                    <a:pt x="6518" y="4048"/>
                    <a:pt x="6430" y="4025"/>
                    <a:pt x="6398" y="3952"/>
                  </a:cubicBezTo>
                  <a:cubicBezTo>
                    <a:pt x="6362" y="3881"/>
                    <a:pt x="6281" y="3778"/>
                    <a:pt x="6213" y="3722"/>
                  </a:cubicBezTo>
                  <a:cubicBezTo>
                    <a:pt x="6144" y="3671"/>
                    <a:pt x="6111" y="3556"/>
                    <a:pt x="6144" y="3474"/>
                  </a:cubicBezTo>
                  <a:cubicBezTo>
                    <a:pt x="6176" y="3391"/>
                    <a:pt x="6130" y="3289"/>
                    <a:pt x="6046" y="3246"/>
                  </a:cubicBezTo>
                  <a:cubicBezTo>
                    <a:pt x="5962" y="3205"/>
                    <a:pt x="5822" y="3193"/>
                    <a:pt x="5735" y="3225"/>
                  </a:cubicBezTo>
                  <a:cubicBezTo>
                    <a:pt x="5648" y="3257"/>
                    <a:pt x="5475" y="3282"/>
                    <a:pt x="5353" y="3270"/>
                  </a:cubicBezTo>
                  <a:cubicBezTo>
                    <a:pt x="5229" y="3262"/>
                    <a:pt x="5081" y="3241"/>
                    <a:pt x="5026" y="3213"/>
                  </a:cubicBezTo>
                  <a:cubicBezTo>
                    <a:pt x="4969" y="3192"/>
                    <a:pt x="4958" y="3265"/>
                    <a:pt x="4993" y="3387"/>
                  </a:cubicBezTo>
                  <a:cubicBezTo>
                    <a:pt x="5034" y="3507"/>
                    <a:pt x="5043" y="3649"/>
                    <a:pt x="5026" y="3701"/>
                  </a:cubicBezTo>
                  <a:cubicBezTo>
                    <a:pt x="5009" y="3754"/>
                    <a:pt x="5138" y="3932"/>
                    <a:pt x="5315" y="4101"/>
                  </a:cubicBezTo>
                  <a:cubicBezTo>
                    <a:pt x="5494" y="4267"/>
                    <a:pt x="5612" y="4448"/>
                    <a:pt x="5581" y="4501"/>
                  </a:cubicBezTo>
                  <a:cubicBezTo>
                    <a:pt x="5548" y="4550"/>
                    <a:pt x="5550" y="4660"/>
                    <a:pt x="5571" y="4742"/>
                  </a:cubicBezTo>
                  <a:cubicBezTo>
                    <a:pt x="5591" y="4825"/>
                    <a:pt x="5600" y="4955"/>
                    <a:pt x="5583" y="5036"/>
                  </a:cubicBezTo>
                  <a:cubicBezTo>
                    <a:pt x="5562" y="5116"/>
                    <a:pt x="5593" y="5246"/>
                    <a:pt x="5653" y="5316"/>
                  </a:cubicBezTo>
                  <a:cubicBezTo>
                    <a:pt x="5709" y="5391"/>
                    <a:pt x="5766" y="5527"/>
                    <a:pt x="5780" y="5621"/>
                  </a:cubicBezTo>
                  <a:cubicBezTo>
                    <a:pt x="5795" y="5713"/>
                    <a:pt x="5654" y="5768"/>
                    <a:pt x="5471" y="5740"/>
                  </a:cubicBezTo>
                  <a:cubicBezTo>
                    <a:pt x="5286" y="5720"/>
                    <a:pt x="5072" y="5716"/>
                    <a:pt x="4992" y="5739"/>
                  </a:cubicBezTo>
                  <a:cubicBezTo>
                    <a:pt x="4912" y="5766"/>
                    <a:pt x="4784" y="5769"/>
                    <a:pt x="4708" y="5749"/>
                  </a:cubicBezTo>
                  <a:cubicBezTo>
                    <a:pt x="4632" y="5727"/>
                    <a:pt x="4495" y="5730"/>
                    <a:pt x="4402" y="5752"/>
                  </a:cubicBezTo>
                  <a:cubicBezTo>
                    <a:pt x="4311" y="5772"/>
                    <a:pt x="4205" y="5765"/>
                    <a:pt x="4170" y="5726"/>
                  </a:cubicBezTo>
                  <a:cubicBezTo>
                    <a:pt x="4133" y="5689"/>
                    <a:pt x="4010" y="5738"/>
                    <a:pt x="3895" y="5833"/>
                  </a:cubicBezTo>
                  <a:cubicBezTo>
                    <a:pt x="3781" y="5928"/>
                    <a:pt x="3563" y="5843"/>
                    <a:pt x="3413" y="5642"/>
                  </a:cubicBezTo>
                  <a:cubicBezTo>
                    <a:pt x="3258" y="5446"/>
                    <a:pt x="3071" y="5252"/>
                    <a:pt x="2986" y="5224"/>
                  </a:cubicBezTo>
                  <a:cubicBezTo>
                    <a:pt x="2902" y="5195"/>
                    <a:pt x="2732" y="5195"/>
                    <a:pt x="2609" y="5219"/>
                  </a:cubicBezTo>
                  <a:cubicBezTo>
                    <a:pt x="2485" y="5248"/>
                    <a:pt x="2302" y="5343"/>
                    <a:pt x="2204" y="5435"/>
                  </a:cubicBezTo>
                  <a:cubicBezTo>
                    <a:pt x="2103" y="5524"/>
                    <a:pt x="1983" y="5574"/>
                    <a:pt x="1929" y="5550"/>
                  </a:cubicBezTo>
                  <a:cubicBezTo>
                    <a:pt x="1875" y="5522"/>
                    <a:pt x="1787" y="5547"/>
                    <a:pt x="1725" y="5599"/>
                  </a:cubicBezTo>
                  <a:cubicBezTo>
                    <a:pt x="1665" y="5654"/>
                    <a:pt x="1575" y="5669"/>
                    <a:pt x="1522" y="5634"/>
                  </a:cubicBezTo>
                  <a:cubicBezTo>
                    <a:pt x="1468" y="5600"/>
                    <a:pt x="1338" y="5575"/>
                    <a:pt x="1230" y="5587"/>
                  </a:cubicBezTo>
                  <a:cubicBezTo>
                    <a:pt x="1122" y="5599"/>
                    <a:pt x="978" y="5663"/>
                    <a:pt x="911" y="5731"/>
                  </a:cubicBezTo>
                  <a:cubicBezTo>
                    <a:pt x="844" y="5800"/>
                    <a:pt x="656" y="5863"/>
                    <a:pt x="497" y="5875"/>
                  </a:cubicBezTo>
                  <a:cubicBezTo>
                    <a:pt x="337" y="5887"/>
                    <a:pt x="144" y="5961"/>
                    <a:pt x="75" y="6048"/>
                  </a:cubicBezTo>
                  <a:cubicBezTo>
                    <a:pt x="3" y="6132"/>
                    <a:pt x="-20" y="6258"/>
                    <a:pt x="19" y="6329"/>
                  </a:cubicBezTo>
                  <a:cubicBezTo>
                    <a:pt x="61" y="6398"/>
                    <a:pt x="170" y="6434"/>
                    <a:pt x="261" y="6397"/>
                  </a:cubicBezTo>
                  <a:cubicBezTo>
                    <a:pt x="351" y="6362"/>
                    <a:pt x="503" y="6364"/>
                    <a:pt x="596" y="6393"/>
                  </a:cubicBezTo>
                  <a:cubicBezTo>
                    <a:pt x="688" y="6423"/>
                    <a:pt x="779" y="6481"/>
                    <a:pt x="808" y="6514"/>
                  </a:cubicBezTo>
                  <a:cubicBezTo>
                    <a:pt x="828" y="6553"/>
                    <a:pt x="770" y="6561"/>
                    <a:pt x="670" y="6542"/>
                  </a:cubicBezTo>
                  <a:cubicBezTo>
                    <a:pt x="570" y="6519"/>
                    <a:pt x="438" y="6509"/>
                    <a:pt x="378" y="6517"/>
                  </a:cubicBezTo>
                  <a:cubicBezTo>
                    <a:pt x="317" y="6521"/>
                    <a:pt x="300" y="6614"/>
                    <a:pt x="335" y="6717"/>
                  </a:cubicBezTo>
                  <a:cubicBezTo>
                    <a:pt x="371" y="6820"/>
                    <a:pt x="427" y="6839"/>
                    <a:pt x="460" y="6762"/>
                  </a:cubicBezTo>
                  <a:cubicBezTo>
                    <a:pt x="493" y="6686"/>
                    <a:pt x="569" y="6643"/>
                    <a:pt x="635" y="6668"/>
                  </a:cubicBezTo>
                  <a:cubicBezTo>
                    <a:pt x="699" y="6689"/>
                    <a:pt x="766" y="6769"/>
                    <a:pt x="781" y="6839"/>
                  </a:cubicBezTo>
                  <a:cubicBezTo>
                    <a:pt x="795" y="6910"/>
                    <a:pt x="763" y="6989"/>
                    <a:pt x="702" y="7009"/>
                  </a:cubicBezTo>
                  <a:cubicBezTo>
                    <a:pt x="643" y="7036"/>
                    <a:pt x="515" y="7082"/>
                    <a:pt x="418" y="7117"/>
                  </a:cubicBezTo>
                  <a:cubicBezTo>
                    <a:pt x="322" y="7151"/>
                    <a:pt x="244" y="7207"/>
                    <a:pt x="252" y="7235"/>
                  </a:cubicBezTo>
                  <a:cubicBezTo>
                    <a:pt x="259" y="7263"/>
                    <a:pt x="335" y="7293"/>
                    <a:pt x="427" y="7289"/>
                  </a:cubicBezTo>
                  <a:cubicBezTo>
                    <a:pt x="519" y="7293"/>
                    <a:pt x="626" y="7385"/>
                    <a:pt x="670" y="7499"/>
                  </a:cubicBezTo>
                  <a:cubicBezTo>
                    <a:pt x="712" y="7613"/>
                    <a:pt x="735" y="7761"/>
                    <a:pt x="724" y="7827"/>
                  </a:cubicBezTo>
                  <a:cubicBezTo>
                    <a:pt x="709" y="7891"/>
                    <a:pt x="789" y="7882"/>
                    <a:pt x="899" y="7814"/>
                  </a:cubicBezTo>
                  <a:cubicBezTo>
                    <a:pt x="1009" y="7746"/>
                    <a:pt x="1157" y="7699"/>
                    <a:pt x="1234" y="7720"/>
                  </a:cubicBezTo>
                  <a:cubicBezTo>
                    <a:pt x="1311" y="7740"/>
                    <a:pt x="1426" y="7754"/>
                    <a:pt x="1490" y="7738"/>
                  </a:cubicBezTo>
                  <a:cubicBezTo>
                    <a:pt x="1553" y="7725"/>
                    <a:pt x="1745" y="7773"/>
                    <a:pt x="1914" y="7846"/>
                  </a:cubicBezTo>
                  <a:cubicBezTo>
                    <a:pt x="2082" y="7919"/>
                    <a:pt x="2253" y="8025"/>
                    <a:pt x="2289" y="8088"/>
                  </a:cubicBezTo>
                  <a:cubicBezTo>
                    <a:pt x="2322" y="8153"/>
                    <a:pt x="2412" y="8202"/>
                    <a:pt x="2479" y="8202"/>
                  </a:cubicBezTo>
                  <a:cubicBezTo>
                    <a:pt x="2548" y="8206"/>
                    <a:pt x="2700" y="8269"/>
                    <a:pt x="2818" y="8348"/>
                  </a:cubicBezTo>
                  <a:cubicBezTo>
                    <a:pt x="2934" y="8429"/>
                    <a:pt x="3100" y="8432"/>
                    <a:pt x="3182" y="8353"/>
                  </a:cubicBezTo>
                  <a:cubicBezTo>
                    <a:pt x="3264" y="8274"/>
                    <a:pt x="3377" y="8221"/>
                    <a:pt x="3429" y="8237"/>
                  </a:cubicBezTo>
                  <a:cubicBezTo>
                    <a:pt x="3482" y="8248"/>
                    <a:pt x="3507" y="8310"/>
                    <a:pt x="3489" y="8371"/>
                  </a:cubicBezTo>
                  <a:cubicBezTo>
                    <a:pt x="3468" y="8433"/>
                    <a:pt x="3480" y="8511"/>
                    <a:pt x="3506" y="8551"/>
                  </a:cubicBezTo>
                  <a:cubicBezTo>
                    <a:pt x="3537" y="8586"/>
                    <a:pt x="3629" y="8575"/>
                    <a:pt x="3717" y="8524"/>
                  </a:cubicBezTo>
                  <a:cubicBezTo>
                    <a:pt x="3804" y="8470"/>
                    <a:pt x="3919" y="8475"/>
                    <a:pt x="3973" y="8528"/>
                  </a:cubicBezTo>
                  <a:cubicBezTo>
                    <a:pt x="4024" y="8584"/>
                    <a:pt x="4042" y="8715"/>
                    <a:pt x="3998" y="8819"/>
                  </a:cubicBezTo>
                  <a:cubicBezTo>
                    <a:pt x="3959" y="8925"/>
                    <a:pt x="3967" y="9077"/>
                    <a:pt x="4017" y="9155"/>
                  </a:cubicBezTo>
                  <a:cubicBezTo>
                    <a:pt x="4068" y="9232"/>
                    <a:pt x="4159" y="9300"/>
                    <a:pt x="4224" y="9308"/>
                  </a:cubicBezTo>
                  <a:cubicBezTo>
                    <a:pt x="4287" y="9312"/>
                    <a:pt x="4421" y="9262"/>
                    <a:pt x="4521" y="9200"/>
                  </a:cubicBezTo>
                  <a:cubicBezTo>
                    <a:pt x="4623" y="9140"/>
                    <a:pt x="4792" y="9089"/>
                    <a:pt x="4900" y="9109"/>
                  </a:cubicBezTo>
                  <a:cubicBezTo>
                    <a:pt x="5009" y="9124"/>
                    <a:pt x="5151" y="9216"/>
                    <a:pt x="5224" y="9308"/>
                  </a:cubicBezTo>
                  <a:cubicBezTo>
                    <a:pt x="5294" y="9403"/>
                    <a:pt x="5280" y="9442"/>
                    <a:pt x="5195" y="9390"/>
                  </a:cubicBezTo>
                  <a:cubicBezTo>
                    <a:pt x="5109" y="9342"/>
                    <a:pt x="4962" y="9298"/>
                    <a:pt x="4866" y="9302"/>
                  </a:cubicBezTo>
                  <a:cubicBezTo>
                    <a:pt x="4770" y="9310"/>
                    <a:pt x="4645" y="9379"/>
                    <a:pt x="4583" y="9462"/>
                  </a:cubicBezTo>
                  <a:cubicBezTo>
                    <a:pt x="4522" y="9547"/>
                    <a:pt x="4523" y="9637"/>
                    <a:pt x="4579" y="9665"/>
                  </a:cubicBezTo>
                  <a:cubicBezTo>
                    <a:pt x="4636" y="9687"/>
                    <a:pt x="4702" y="9799"/>
                    <a:pt x="4720" y="9908"/>
                  </a:cubicBezTo>
                  <a:cubicBezTo>
                    <a:pt x="4746" y="10014"/>
                    <a:pt x="4720" y="10176"/>
                    <a:pt x="4674" y="10268"/>
                  </a:cubicBezTo>
                  <a:cubicBezTo>
                    <a:pt x="4626" y="10357"/>
                    <a:pt x="4605" y="10489"/>
                    <a:pt x="4626" y="10560"/>
                  </a:cubicBezTo>
                  <a:cubicBezTo>
                    <a:pt x="4649" y="10631"/>
                    <a:pt x="4737" y="10698"/>
                    <a:pt x="4826" y="10714"/>
                  </a:cubicBezTo>
                  <a:cubicBezTo>
                    <a:pt x="4915" y="10730"/>
                    <a:pt x="5100" y="10876"/>
                    <a:pt x="5233" y="11051"/>
                  </a:cubicBezTo>
                  <a:cubicBezTo>
                    <a:pt x="5369" y="11222"/>
                    <a:pt x="5584" y="11382"/>
                    <a:pt x="5714" y="11405"/>
                  </a:cubicBezTo>
                  <a:cubicBezTo>
                    <a:pt x="5843" y="11429"/>
                    <a:pt x="6051" y="11511"/>
                    <a:pt x="6177" y="11587"/>
                  </a:cubicBezTo>
                  <a:cubicBezTo>
                    <a:pt x="6304" y="11659"/>
                    <a:pt x="6405" y="11805"/>
                    <a:pt x="6401" y="11900"/>
                  </a:cubicBezTo>
                  <a:cubicBezTo>
                    <a:pt x="6394" y="11995"/>
                    <a:pt x="6436" y="12140"/>
                    <a:pt x="6486" y="12219"/>
                  </a:cubicBezTo>
                  <a:cubicBezTo>
                    <a:pt x="6532" y="12302"/>
                    <a:pt x="6545" y="12454"/>
                    <a:pt x="6506" y="12561"/>
                  </a:cubicBezTo>
                  <a:cubicBezTo>
                    <a:pt x="6463" y="12667"/>
                    <a:pt x="6414" y="12766"/>
                    <a:pt x="6391" y="12779"/>
                  </a:cubicBezTo>
                  <a:cubicBezTo>
                    <a:pt x="6368" y="12794"/>
                    <a:pt x="6335" y="12882"/>
                    <a:pt x="6306" y="12976"/>
                  </a:cubicBezTo>
                  <a:cubicBezTo>
                    <a:pt x="6288" y="13072"/>
                    <a:pt x="6337" y="13166"/>
                    <a:pt x="6427" y="13190"/>
                  </a:cubicBezTo>
                  <a:cubicBezTo>
                    <a:pt x="6515" y="13214"/>
                    <a:pt x="6724" y="13337"/>
                    <a:pt x="6885" y="13471"/>
                  </a:cubicBezTo>
                  <a:cubicBezTo>
                    <a:pt x="7048" y="13604"/>
                    <a:pt x="7291" y="13970"/>
                    <a:pt x="7418" y="14288"/>
                  </a:cubicBezTo>
                  <a:cubicBezTo>
                    <a:pt x="7549" y="14606"/>
                    <a:pt x="7541" y="14749"/>
                    <a:pt x="7401" y="14609"/>
                  </a:cubicBezTo>
                  <a:cubicBezTo>
                    <a:pt x="7260" y="14469"/>
                    <a:pt x="7113" y="14243"/>
                    <a:pt x="7078" y="14107"/>
                  </a:cubicBezTo>
                  <a:cubicBezTo>
                    <a:pt x="7042" y="13972"/>
                    <a:pt x="6918" y="13813"/>
                    <a:pt x="6809" y="13752"/>
                  </a:cubicBezTo>
                  <a:cubicBezTo>
                    <a:pt x="6699" y="13693"/>
                    <a:pt x="6569" y="13677"/>
                    <a:pt x="6515" y="13709"/>
                  </a:cubicBezTo>
                  <a:cubicBezTo>
                    <a:pt x="6462" y="13744"/>
                    <a:pt x="6384" y="14002"/>
                    <a:pt x="6332" y="14278"/>
                  </a:cubicBezTo>
                  <a:cubicBezTo>
                    <a:pt x="6281" y="14554"/>
                    <a:pt x="6245" y="14947"/>
                    <a:pt x="6256" y="15149"/>
                  </a:cubicBezTo>
                  <a:cubicBezTo>
                    <a:pt x="6263" y="15351"/>
                    <a:pt x="6339" y="15565"/>
                    <a:pt x="6424" y="15627"/>
                  </a:cubicBezTo>
                  <a:cubicBezTo>
                    <a:pt x="6510" y="15687"/>
                    <a:pt x="6525" y="15782"/>
                    <a:pt x="6456" y="15835"/>
                  </a:cubicBezTo>
                  <a:cubicBezTo>
                    <a:pt x="6390" y="15892"/>
                    <a:pt x="6312" y="16243"/>
                    <a:pt x="6290" y="16624"/>
                  </a:cubicBezTo>
                  <a:cubicBezTo>
                    <a:pt x="6268" y="17005"/>
                    <a:pt x="6172" y="17587"/>
                    <a:pt x="6078" y="17918"/>
                  </a:cubicBezTo>
                  <a:cubicBezTo>
                    <a:pt x="5983" y="18248"/>
                    <a:pt x="5807" y="18580"/>
                    <a:pt x="5684" y="18658"/>
                  </a:cubicBezTo>
                  <a:cubicBezTo>
                    <a:pt x="5563" y="18737"/>
                    <a:pt x="5538" y="18839"/>
                    <a:pt x="5630" y="18896"/>
                  </a:cubicBezTo>
                  <a:cubicBezTo>
                    <a:pt x="5723" y="18950"/>
                    <a:pt x="5808" y="19019"/>
                    <a:pt x="5821" y="19047"/>
                  </a:cubicBezTo>
                  <a:cubicBezTo>
                    <a:pt x="5836" y="19074"/>
                    <a:pt x="5898" y="19107"/>
                    <a:pt x="5962" y="19124"/>
                  </a:cubicBezTo>
                  <a:cubicBezTo>
                    <a:pt x="6028" y="19140"/>
                    <a:pt x="6098" y="19245"/>
                    <a:pt x="6120" y="19363"/>
                  </a:cubicBezTo>
                  <a:cubicBezTo>
                    <a:pt x="6142" y="19481"/>
                    <a:pt x="6143" y="19651"/>
                    <a:pt x="6132" y="19741"/>
                  </a:cubicBezTo>
                  <a:cubicBezTo>
                    <a:pt x="6117" y="19830"/>
                    <a:pt x="6235" y="19886"/>
                    <a:pt x="6394" y="19871"/>
                  </a:cubicBezTo>
                  <a:cubicBezTo>
                    <a:pt x="6552" y="19851"/>
                    <a:pt x="6857" y="19916"/>
                    <a:pt x="7072" y="20007"/>
                  </a:cubicBezTo>
                  <a:cubicBezTo>
                    <a:pt x="7286" y="20097"/>
                    <a:pt x="7546" y="20269"/>
                    <a:pt x="7646" y="20388"/>
                  </a:cubicBezTo>
                  <a:cubicBezTo>
                    <a:pt x="7748" y="20504"/>
                    <a:pt x="7918" y="20551"/>
                    <a:pt x="8028" y="20505"/>
                  </a:cubicBezTo>
                  <a:cubicBezTo>
                    <a:pt x="8136" y="20454"/>
                    <a:pt x="8324" y="20519"/>
                    <a:pt x="8445" y="20653"/>
                  </a:cubicBezTo>
                  <a:cubicBezTo>
                    <a:pt x="8565" y="20787"/>
                    <a:pt x="8787" y="20896"/>
                    <a:pt x="8933" y="20892"/>
                  </a:cubicBezTo>
                  <a:cubicBezTo>
                    <a:pt x="9080" y="20884"/>
                    <a:pt x="9261" y="20923"/>
                    <a:pt x="9335" y="20966"/>
                  </a:cubicBezTo>
                  <a:cubicBezTo>
                    <a:pt x="9407" y="21012"/>
                    <a:pt x="9546" y="20962"/>
                    <a:pt x="9635" y="20859"/>
                  </a:cubicBezTo>
                  <a:cubicBezTo>
                    <a:pt x="9726" y="20759"/>
                    <a:pt x="10000" y="20670"/>
                    <a:pt x="10243" y="20670"/>
                  </a:cubicBezTo>
                  <a:cubicBezTo>
                    <a:pt x="10487" y="20670"/>
                    <a:pt x="10760" y="20711"/>
                    <a:pt x="10856" y="20764"/>
                  </a:cubicBezTo>
                  <a:cubicBezTo>
                    <a:pt x="10947" y="20821"/>
                    <a:pt x="11144" y="20852"/>
                    <a:pt x="11290" y="20840"/>
                  </a:cubicBezTo>
                  <a:cubicBezTo>
                    <a:pt x="11438" y="20827"/>
                    <a:pt x="11684" y="20892"/>
                    <a:pt x="11840" y="20984"/>
                  </a:cubicBezTo>
                  <a:cubicBezTo>
                    <a:pt x="11995" y="21079"/>
                    <a:pt x="12327" y="21140"/>
                    <a:pt x="12577" y="21120"/>
                  </a:cubicBezTo>
                  <a:cubicBezTo>
                    <a:pt x="12828" y="21104"/>
                    <a:pt x="13175" y="21188"/>
                    <a:pt x="13358" y="21300"/>
                  </a:cubicBezTo>
                  <a:cubicBezTo>
                    <a:pt x="13535" y="21423"/>
                    <a:pt x="13737" y="21543"/>
                    <a:pt x="13807" y="21562"/>
                  </a:cubicBezTo>
                  <a:cubicBezTo>
                    <a:pt x="13875" y="21586"/>
                    <a:pt x="13924" y="21563"/>
                    <a:pt x="13917" y="21509"/>
                  </a:cubicBezTo>
                  <a:cubicBezTo>
                    <a:pt x="13909" y="21454"/>
                    <a:pt x="13869" y="21274"/>
                    <a:pt x="13825" y="21111"/>
                  </a:cubicBezTo>
                  <a:cubicBezTo>
                    <a:pt x="13782" y="20946"/>
                    <a:pt x="13773" y="20655"/>
                    <a:pt x="13812" y="20464"/>
                  </a:cubicBezTo>
                  <a:cubicBezTo>
                    <a:pt x="13852" y="20273"/>
                    <a:pt x="13882" y="20039"/>
                    <a:pt x="13896" y="19945"/>
                  </a:cubicBezTo>
                  <a:cubicBezTo>
                    <a:pt x="13907" y="19851"/>
                    <a:pt x="14014" y="19684"/>
                    <a:pt x="14130" y="19570"/>
                  </a:cubicBezTo>
                  <a:cubicBezTo>
                    <a:pt x="14243" y="19453"/>
                    <a:pt x="14495" y="19202"/>
                    <a:pt x="14674" y="18995"/>
                  </a:cubicBezTo>
                  <a:cubicBezTo>
                    <a:pt x="14858" y="18796"/>
                    <a:pt x="15051" y="18628"/>
                    <a:pt x="15111" y="18620"/>
                  </a:cubicBezTo>
                  <a:cubicBezTo>
                    <a:pt x="15171" y="18620"/>
                    <a:pt x="15267" y="18660"/>
                    <a:pt x="15331" y="18704"/>
                  </a:cubicBezTo>
                  <a:cubicBezTo>
                    <a:pt x="15394" y="18752"/>
                    <a:pt x="15543" y="18807"/>
                    <a:pt x="15663" y="18828"/>
                  </a:cubicBezTo>
                  <a:cubicBezTo>
                    <a:pt x="15783" y="18848"/>
                    <a:pt x="15990" y="18933"/>
                    <a:pt x="16118" y="19018"/>
                  </a:cubicBezTo>
                  <a:cubicBezTo>
                    <a:pt x="16249" y="19103"/>
                    <a:pt x="16428" y="19173"/>
                    <a:pt x="16515" y="19177"/>
                  </a:cubicBezTo>
                  <a:cubicBezTo>
                    <a:pt x="16604" y="19177"/>
                    <a:pt x="16740" y="19126"/>
                    <a:pt x="16819" y="19061"/>
                  </a:cubicBezTo>
                  <a:cubicBezTo>
                    <a:pt x="16900" y="19000"/>
                    <a:pt x="17024" y="18934"/>
                    <a:pt x="17101" y="18930"/>
                  </a:cubicBezTo>
                  <a:cubicBezTo>
                    <a:pt x="17176" y="18926"/>
                    <a:pt x="17506" y="19100"/>
                    <a:pt x="17830" y="19323"/>
                  </a:cubicBezTo>
                  <a:cubicBezTo>
                    <a:pt x="18152" y="19550"/>
                    <a:pt x="18493" y="19797"/>
                    <a:pt x="18585" y="19879"/>
                  </a:cubicBezTo>
                  <a:cubicBezTo>
                    <a:pt x="18676" y="19961"/>
                    <a:pt x="18942" y="20043"/>
                    <a:pt x="19179" y="20068"/>
                  </a:cubicBezTo>
                  <a:cubicBezTo>
                    <a:pt x="19414" y="20088"/>
                    <a:pt x="19684" y="20030"/>
                    <a:pt x="19784" y="19948"/>
                  </a:cubicBezTo>
                  <a:cubicBezTo>
                    <a:pt x="19884" y="19865"/>
                    <a:pt x="19942" y="19745"/>
                    <a:pt x="19922" y="19689"/>
                  </a:cubicBezTo>
                  <a:cubicBezTo>
                    <a:pt x="19902" y="19633"/>
                    <a:pt x="19956" y="19490"/>
                    <a:pt x="20043" y="19370"/>
                  </a:cubicBezTo>
                  <a:cubicBezTo>
                    <a:pt x="20129" y="19247"/>
                    <a:pt x="20467" y="18944"/>
                    <a:pt x="20791" y="18693"/>
                  </a:cubicBezTo>
                  <a:cubicBezTo>
                    <a:pt x="21112" y="18442"/>
                    <a:pt x="21390" y="18232"/>
                    <a:pt x="21408" y="18232"/>
                  </a:cubicBezTo>
                  <a:cubicBezTo>
                    <a:pt x="21427" y="18232"/>
                    <a:pt x="21405" y="18129"/>
                    <a:pt x="21371" y="18006"/>
                  </a:cubicBezTo>
                  <a:cubicBezTo>
                    <a:pt x="21335" y="17884"/>
                    <a:pt x="21356" y="17651"/>
                    <a:pt x="21414" y="17483"/>
                  </a:cubicBezTo>
                  <a:close/>
                  <a:moveTo>
                    <a:pt x="21414" y="174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59" name="AutoShape 658"/>
            <p:cNvSpPr>
              <a:spLocks/>
            </p:cNvSpPr>
            <p:nvPr/>
          </p:nvSpPr>
          <p:spPr bwMode="auto">
            <a:xfrm>
              <a:off x="7658100" y="3022600"/>
              <a:ext cx="9525" cy="0"/>
            </a:xfrm>
            <a:custGeom>
              <a:avLst/>
              <a:gdLst/>
              <a:ahLst/>
              <a:cxnLst/>
              <a:rect l="0" t="0" r="r" b="b"/>
              <a:pathLst>
                <a:path w="21600" h="17144">
                  <a:moveTo>
                    <a:pt x="21600" y="0"/>
                  </a:moveTo>
                  <a:cubicBezTo>
                    <a:pt x="13614" y="13145"/>
                    <a:pt x="4264" y="21600"/>
                    <a:pt x="0" y="14625"/>
                  </a:cubicBezTo>
                  <a:cubicBezTo>
                    <a:pt x="4216" y="21510"/>
                    <a:pt x="13541" y="13504"/>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0" name="AutoShape 659"/>
            <p:cNvSpPr>
              <a:spLocks/>
            </p:cNvSpPr>
            <p:nvPr/>
          </p:nvSpPr>
          <p:spPr bwMode="auto">
            <a:xfrm>
              <a:off x="7594600" y="2921000"/>
              <a:ext cx="9525" cy="0"/>
            </a:xfrm>
            <a:custGeom>
              <a:avLst/>
              <a:gdLst/>
              <a:ahLst/>
              <a:cxnLst/>
              <a:rect l="0" t="0" r="r" b="b"/>
              <a:pathLst>
                <a:path w="21600" h="16676">
                  <a:moveTo>
                    <a:pt x="0" y="0"/>
                  </a:moveTo>
                  <a:cubicBezTo>
                    <a:pt x="7667" y="14024"/>
                    <a:pt x="17378" y="21600"/>
                    <a:pt x="21518" y="13105"/>
                  </a:cubicBezTo>
                  <a:cubicBezTo>
                    <a:pt x="21546" y="12987"/>
                    <a:pt x="21546" y="12753"/>
                    <a:pt x="21600" y="12753"/>
                  </a:cubicBezTo>
                  <a:cubicBezTo>
                    <a:pt x="17291" y="21151"/>
                    <a:pt x="7609" y="13906"/>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1" name="AutoShape 660"/>
            <p:cNvSpPr>
              <a:spLocks/>
            </p:cNvSpPr>
            <p:nvPr/>
          </p:nvSpPr>
          <p:spPr bwMode="auto">
            <a:xfrm>
              <a:off x="8026400" y="3721100"/>
              <a:ext cx="14288" cy="11113"/>
            </a:xfrm>
            <a:custGeom>
              <a:avLst/>
              <a:gdLst/>
              <a:ahLst/>
              <a:cxnLst/>
              <a:rect l="0" t="0" r="r" b="b"/>
              <a:pathLst>
                <a:path w="21600" h="19742">
                  <a:moveTo>
                    <a:pt x="10746" y="324"/>
                  </a:moveTo>
                  <a:cubicBezTo>
                    <a:pt x="4860" y="-686"/>
                    <a:pt x="269" y="723"/>
                    <a:pt x="0" y="3740"/>
                  </a:cubicBezTo>
                  <a:cubicBezTo>
                    <a:pt x="269" y="6766"/>
                    <a:pt x="3185" y="12298"/>
                    <a:pt x="7164" y="16024"/>
                  </a:cubicBezTo>
                  <a:cubicBezTo>
                    <a:pt x="11160" y="19759"/>
                    <a:pt x="16272" y="20914"/>
                    <a:pt x="18180" y="18410"/>
                  </a:cubicBezTo>
                  <a:cubicBezTo>
                    <a:pt x="20159" y="15964"/>
                    <a:pt x="21600" y="11404"/>
                    <a:pt x="21600" y="8193"/>
                  </a:cubicBezTo>
                  <a:cubicBezTo>
                    <a:pt x="21330" y="5011"/>
                    <a:pt x="16559" y="1383"/>
                    <a:pt x="10746" y="324"/>
                  </a:cubicBezTo>
                  <a:close/>
                  <a:moveTo>
                    <a:pt x="10746" y="3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2" name="AutoShape 661"/>
            <p:cNvSpPr>
              <a:spLocks/>
            </p:cNvSpPr>
            <p:nvPr/>
          </p:nvSpPr>
          <p:spPr bwMode="auto">
            <a:xfrm>
              <a:off x="7721600" y="3390900"/>
              <a:ext cx="6350" cy="11113"/>
            </a:xfrm>
            <a:custGeom>
              <a:avLst/>
              <a:gdLst/>
              <a:ahLst/>
              <a:cxnLst/>
              <a:rect l="0" t="0" r="r" b="b"/>
              <a:pathLst>
                <a:path w="20156" h="20572">
                  <a:moveTo>
                    <a:pt x="5497" y="20532"/>
                  </a:moveTo>
                  <a:cubicBezTo>
                    <a:pt x="8047" y="20370"/>
                    <a:pt x="10487" y="18428"/>
                    <a:pt x="11023" y="16234"/>
                  </a:cubicBezTo>
                  <a:cubicBezTo>
                    <a:pt x="11597" y="14040"/>
                    <a:pt x="14469" y="10325"/>
                    <a:pt x="17806" y="8200"/>
                  </a:cubicBezTo>
                  <a:cubicBezTo>
                    <a:pt x="20677" y="5824"/>
                    <a:pt x="21179" y="2590"/>
                    <a:pt x="17842" y="978"/>
                  </a:cubicBezTo>
                  <a:cubicBezTo>
                    <a:pt x="14682" y="-668"/>
                    <a:pt x="11135" y="-209"/>
                    <a:pt x="9984" y="2143"/>
                  </a:cubicBezTo>
                  <a:cubicBezTo>
                    <a:pt x="8944" y="4486"/>
                    <a:pt x="6002" y="7105"/>
                    <a:pt x="3631" y="7859"/>
                  </a:cubicBezTo>
                  <a:cubicBezTo>
                    <a:pt x="1445" y="8886"/>
                    <a:pt x="-421" y="11891"/>
                    <a:pt x="84" y="15081"/>
                  </a:cubicBezTo>
                  <a:cubicBezTo>
                    <a:pt x="655" y="18256"/>
                    <a:pt x="2988" y="20932"/>
                    <a:pt x="5497" y="20532"/>
                  </a:cubicBezTo>
                  <a:close/>
                  <a:moveTo>
                    <a:pt x="5497" y="205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3" name="AutoShape 662"/>
            <p:cNvSpPr>
              <a:spLocks/>
            </p:cNvSpPr>
            <p:nvPr/>
          </p:nvSpPr>
          <p:spPr bwMode="auto">
            <a:xfrm>
              <a:off x="7645400" y="3060700"/>
              <a:ext cx="554038" cy="544513"/>
            </a:xfrm>
            <a:custGeom>
              <a:avLst/>
              <a:gdLst/>
              <a:ahLst/>
              <a:cxnLst/>
              <a:rect l="0" t="0" r="r" b="b"/>
              <a:pathLst>
                <a:path w="21557" h="21562">
                  <a:moveTo>
                    <a:pt x="11830" y="2514"/>
                  </a:moveTo>
                  <a:cubicBezTo>
                    <a:pt x="11889" y="2417"/>
                    <a:pt x="11904" y="2273"/>
                    <a:pt x="11867" y="2191"/>
                  </a:cubicBezTo>
                  <a:cubicBezTo>
                    <a:pt x="11827" y="2117"/>
                    <a:pt x="11874" y="1941"/>
                    <a:pt x="11969" y="1791"/>
                  </a:cubicBezTo>
                  <a:cubicBezTo>
                    <a:pt x="11976" y="1779"/>
                    <a:pt x="11981" y="1767"/>
                    <a:pt x="11989" y="1756"/>
                  </a:cubicBezTo>
                  <a:cubicBezTo>
                    <a:pt x="12095" y="1596"/>
                    <a:pt x="12122" y="1412"/>
                    <a:pt x="12045" y="1344"/>
                  </a:cubicBezTo>
                  <a:cubicBezTo>
                    <a:pt x="11967" y="1279"/>
                    <a:pt x="11771" y="1222"/>
                    <a:pt x="11604" y="1230"/>
                  </a:cubicBezTo>
                  <a:cubicBezTo>
                    <a:pt x="11436" y="1233"/>
                    <a:pt x="11045" y="1184"/>
                    <a:pt x="10736" y="1107"/>
                  </a:cubicBezTo>
                  <a:cubicBezTo>
                    <a:pt x="10425" y="1035"/>
                    <a:pt x="9960" y="847"/>
                    <a:pt x="9704" y="691"/>
                  </a:cubicBezTo>
                  <a:cubicBezTo>
                    <a:pt x="9449" y="535"/>
                    <a:pt x="9248" y="328"/>
                    <a:pt x="9255" y="229"/>
                  </a:cubicBezTo>
                  <a:cubicBezTo>
                    <a:pt x="9262" y="130"/>
                    <a:pt x="9129" y="56"/>
                    <a:pt x="8954" y="59"/>
                  </a:cubicBezTo>
                  <a:cubicBezTo>
                    <a:pt x="8778" y="63"/>
                    <a:pt x="8545" y="33"/>
                    <a:pt x="8431" y="8"/>
                  </a:cubicBezTo>
                  <a:cubicBezTo>
                    <a:pt x="8319" y="-28"/>
                    <a:pt x="8018" y="59"/>
                    <a:pt x="7759" y="195"/>
                  </a:cubicBezTo>
                  <a:cubicBezTo>
                    <a:pt x="7501" y="330"/>
                    <a:pt x="7149" y="378"/>
                    <a:pt x="6975" y="301"/>
                  </a:cubicBezTo>
                  <a:cubicBezTo>
                    <a:pt x="6800" y="223"/>
                    <a:pt x="6578" y="252"/>
                    <a:pt x="6480" y="369"/>
                  </a:cubicBezTo>
                  <a:cubicBezTo>
                    <a:pt x="6385" y="488"/>
                    <a:pt x="6352" y="713"/>
                    <a:pt x="6411" y="873"/>
                  </a:cubicBezTo>
                  <a:cubicBezTo>
                    <a:pt x="6476" y="1031"/>
                    <a:pt x="6355" y="1191"/>
                    <a:pt x="6158" y="1227"/>
                  </a:cubicBezTo>
                  <a:cubicBezTo>
                    <a:pt x="5958" y="1260"/>
                    <a:pt x="5779" y="1441"/>
                    <a:pt x="5771" y="1627"/>
                  </a:cubicBezTo>
                  <a:cubicBezTo>
                    <a:pt x="5757" y="1814"/>
                    <a:pt x="5667" y="1907"/>
                    <a:pt x="5578" y="1828"/>
                  </a:cubicBezTo>
                  <a:cubicBezTo>
                    <a:pt x="5484" y="1754"/>
                    <a:pt x="5336" y="1693"/>
                    <a:pt x="5247" y="1697"/>
                  </a:cubicBezTo>
                  <a:cubicBezTo>
                    <a:pt x="5159" y="1697"/>
                    <a:pt x="4901" y="1649"/>
                    <a:pt x="4676" y="1582"/>
                  </a:cubicBezTo>
                  <a:cubicBezTo>
                    <a:pt x="4450" y="1515"/>
                    <a:pt x="4268" y="1572"/>
                    <a:pt x="4275" y="1709"/>
                  </a:cubicBezTo>
                  <a:cubicBezTo>
                    <a:pt x="4282" y="1846"/>
                    <a:pt x="4201" y="2100"/>
                    <a:pt x="4110" y="2279"/>
                  </a:cubicBezTo>
                  <a:cubicBezTo>
                    <a:pt x="4009" y="2454"/>
                    <a:pt x="3886" y="2516"/>
                    <a:pt x="3830" y="2412"/>
                  </a:cubicBezTo>
                  <a:cubicBezTo>
                    <a:pt x="3773" y="2308"/>
                    <a:pt x="3589" y="2156"/>
                    <a:pt x="3423" y="2068"/>
                  </a:cubicBezTo>
                  <a:cubicBezTo>
                    <a:pt x="3253" y="1985"/>
                    <a:pt x="3123" y="1817"/>
                    <a:pt x="3137" y="1702"/>
                  </a:cubicBezTo>
                  <a:cubicBezTo>
                    <a:pt x="3144" y="1587"/>
                    <a:pt x="3060" y="1425"/>
                    <a:pt x="2934" y="1354"/>
                  </a:cubicBezTo>
                  <a:cubicBezTo>
                    <a:pt x="2811" y="1276"/>
                    <a:pt x="2564" y="1459"/>
                    <a:pt x="2393" y="1766"/>
                  </a:cubicBezTo>
                  <a:cubicBezTo>
                    <a:pt x="2214" y="2068"/>
                    <a:pt x="1960" y="2270"/>
                    <a:pt x="1824" y="2204"/>
                  </a:cubicBezTo>
                  <a:cubicBezTo>
                    <a:pt x="1686" y="2142"/>
                    <a:pt x="1413" y="2204"/>
                    <a:pt x="1215" y="2340"/>
                  </a:cubicBezTo>
                  <a:cubicBezTo>
                    <a:pt x="1016" y="2475"/>
                    <a:pt x="764" y="2550"/>
                    <a:pt x="649" y="2510"/>
                  </a:cubicBezTo>
                  <a:cubicBezTo>
                    <a:pt x="646" y="2508"/>
                    <a:pt x="643" y="2506"/>
                    <a:pt x="639" y="2505"/>
                  </a:cubicBezTo>
                  <a:cubicBezTo>
                    <a:pt x="638" y="2504"/>
                    <a:pt x="635" y="2505"/>
                    <a:pt x="634" y="2504"/>
                  </a:cubicBezTo>
                  <a:cubicBezTo>
                    <a:pt x="513" y="2454"/>
                    <a:pt x="377" y="2457"/>
                    <a:pt x="334" y="2507"/>
                  </a:cubicBezTo>
                  <a:cubicBezTo>
                    <a:pt x="286" y="2553"/>
                    <a:pt x="276" y="2697"/>
                    <a:pt x="290" y="2823"/>
                  </a:cubicBezTo>
                  <a:cubicBezTo>
                    <a:pt x="312" y="2946"/>
                    <a:pt x="406" y="3125"/>
                    <a:pt x="508" y="3213"/>
                  </a:cubicBezTo>
                  <a:cubicBezTo>
                    <a:pt x="605" y="3308"/>
                    <a:pt x="669" y="3514"/>
                    <a:pt x="647" y="3681"/>
                  </a:cubicBezTo>
                  <a:cubicBezTo>
                    <a:pt x="626" y="3848"/>
                    <a:pt x="506" y="3989"/>
                    <a:pt x="386" y="4004"/>
                  </a:cubicBezTo>
                  <a:cubicBezTo>
                    <a:pt x="265" y="4008"/>
                    <a:pt x="109" y="4089"/>
                    <a:pt x="34" y="4165"/>
                  </a:cubicBezTo>
                  <a:cubicBezTo>
                    <a:pt x="-37" y="4245"/>
                    <a:pt x="6" y="4423"/>
                    <a:pt x="143" y="4555"/>
                  </a:cubicBezTo>
                  <a:cubicBezTo>
                    <a:pt x="272" y="4693"/>
                    <a:pt x="411" y="5019"/>
                    <a:pt x="440" y="5284"/>
                  </a:cubicBezTo>
                  <a:cubicBezTo>
                    <a:pt x="469" y="5550"/>
                    <a:pt x="639" y="5859"/>
                    <a:pt x="806" y="5977"/>
                  </a:cubicBezTo>
                  <a:cubicBezTo>
                    <a:pt x="977" y="6093"/>
                    <a:pt x="1247" y="6190"/>
                    <a:pt x="1405" y="6198"/>
                  </a:cubicBezTo>
                  <a:cubicBezTo>
                    <a:pt x="1563" y="6201"/>
                    <a:pt x="1650" y="6336"/>
                    <a:pt x="1578" y="6485"/>
                  </a:cubicBezTo>
                  <a:cubicBezTo>
                    <a:pt x="1520" y="6639"/>
                    <a:pt x="1499" y="6853"/>
                    <a:pt x="1535" y="6965"/>
                  </a:cubicBezTo>
                  <a:cubicBezTo>
                    <a:pt x="1569" y="7078"/>
                    <a:pt x="1810" y="7139"/>
                    <a:pt x="2059" y="7103"/>
                  </a:cubicBezTo>
                  <a:cubicBezTo>
                    <a:pt x="2307" y="7063"/>
                    <a:pt x="2583" y="6951"/>
                    <a:pt x="2669" y="6841"/>
                  </a:cubicBezTo>
                  <a:cubicBezTo>
                    <a:pt x="2755" y="6732"/>
                    <a:pt x="2822" y="6574"/>
                    <a:pt x="2829" y="6488"/>
                  </a:cubicBezTo>
                  <a:cubicBezTo>
                    <a:pt x="2836" y="6404"/>
                    <a:pt x="3044" y="6217"/>
                    <a:pt x="3310" y="6086"/>
                  </a:cubicBezTo>
                  <a:cubicBezTo>
                    <a:pt x="3572" y="5949"/>
                    <a:pt x="4072" y="5922"/>
                    <a:pt x="4421" y="6022"/>
                  </a:cubicBezTo>
                  <a:cubicBezTo>
                    <a:pt x="4771" y="6122"/>
                    <a:pt x="5144" y="6258"/>
                    <a:pt x="5246" y="6332"/>
                  </a:cubicBezTo>
                  <a:cubicBezTo>
                    <a:pt x="5349" y="6404"/>
                    <a:pt x="5562" y="6497"/>
                    <a:pt x="5715" y="6549"/>
                  </a:cubicBezTo>
                  <a:cubicBezTo>
                    <a:pt x="5868" y="6602"/>
                    <a:pt x="6035" y="6706"/>
                    <a:pt x="6078" y="6790"/>
                  </a:cubicBezTo>
                  <a:cubicBezTo>
                    <a:pt x="6131" y="6870"/>
                    <a:pt x="6191" y="6986"/>
                    <a:pt x="6221" y="7042"/>
                  </a:cubicBezTo>
                  <a:cubicBezTo>
                    <a:pt x="6251" y="7100"/>
                    <a:pt x="6311" y="7212"/>
                    <a:pt x="6361" y="7290"/>
                  </a:cubicBezTo>
                  <a:cubicBezTo>
                    <a:pt x="6404" y="7371"/>
                    <a:pt x="6522" y="7562"/>
                    <a:pt x="6624" y="7717"/>
                  </a:cubicBezTo>
                  <a:cubicBezTo>
                    <a:pt x="6717" y="7875"/>
                    <a:pt x="6803" y="8072"/>
                    <a:pt x="6817" y="8160"/>
                  </a:cubicBezTo>
                  <a:cubicBezTo>
                    <a:pt x="6817" y="8250"/>
                    <a:pt x="6901" y="8365"/>
                    <a:pt x="6984" y="8419"/>
                  </a:cubicBezTo>
                  <a:cubicBezTo>
                    <a:pt x="7069" y="8473"/>
                    <a:pt x="7139" y="8634"/>
                    <a:pt x="7139" y="8778"/>
                  </a:cubicBezTo>
                  <a:cubicBezTo>
                    <a:pt x="7146" y="8921"/>
                    <a:pt x="7245" y="9087"/>
                    <a:pt x="7366" y="9153"/>
                  </a:cubicBezTo>
                  <a:cubicBezTo>
                    <a:pt x="7490" y="9219"/>
                    <a:pt x="7662" y="9348"/>
                    <a:pt x="7741" y="9450"/>
                  </a:cubicBezTo>
                  <a:cubicBezTo>
                    <a:pt x="7822" y="9551"/>
                    <a:pt x="8012" y="9744"/>
                    <a:pt x="8156" y="9883"/>
                  </a:cubicBezTo>
                  <a:cubicBezTo>
                    <a:pt x="8300" y="10022"/>
                    <a:pt x="8441" y="10209"/>
                    <a:pt x="8456" y="10304"/>
                  </a:cubicBezTo>
                  <a:cubicBezTo>
                    <a:pt x="8477" y="10399"/>
                    <a:pt x="8614" y="10480"/>
                    <a:pt x="8762" y="10494"/>
                  </a:cubicBezTo>
                  <a:cubicBezTo>
                    <a:pt x="8910" y="10505"/>
                    <a:pt x="9112" y="10618"/>
                    <a:pt x="9212" y="10745"/>
                  </a:cubicBezTo>
                  <a:cubicBezTo>
                    <a:pt x="9309" y="10875"/>
                    <a:pt x="9403" y="11048"/>
                    <a:pt x="9432" y="11129"/>
                  </a:cubicBezTo>
                  <a:cubicBezTo>
                    <a:pt x="9454" y="11213"/>
                    <a:pt x="9531" y="11295"/>
                    <a:pt x="9594" y="11327"/>
                  </a:cubicBezTo>
                  <a:cubicBezTo>
                    <a:pt x="9664" y="11349"/>
                    <a:pt x="9898" y="11603"/>
                    <a:pt x="10119" y="11880"/>
                  </a:cubicBezTo>
                  <a:cubicBezTo>
                    <a:pt x="10339" y="12159"/>
                    <a:pt x="10693" y="12516"/>
                    <a:pt x="10900" y="12679"/>
                  </a:cubicBezTo>
                  <a:cubicBezTo>
                    <a:pt x="11109" y="12841"/>
                    <a:pt x="11360" y="12990"/>
                    <a:pt x="11458" y="13008"/>
                  </a:cubicBezTo>
                  <a:cubicBezTo>
                    <a:pt x="11557" y="13026"/>
                    <a:pt x="11710" y="13092"/>
                    <a:pt x="11795" y="13157"/>
                  </a:cubicBezTo>
                  <a:cubicBezTo>
                    <a:pt x="11883" y="13219"/>
                    <a:pt x="11974" y="13341"/>
                    <a:pt x="11996" y="13428"/>
                  </a:cubicBezTo>
                  <a:cubicBezTo>
                    <a:pt x="12017" y="13516"/>
                    <a:pt x="12115" y="13590"/>
                    <a:pt x="12207" y="13594"/>
                  </a:cubicBezTo>
                  <a:cubicBezTo>
                    <a:pt x="12300" y="13597"/>
                    <a:pt x="12428" y="13550"/>
                    <a:pt x="12492" y="13492"/>
                  </a:cubicBezTo>
                  <a:cubicBezTo>
                    <a:pt x="12558" y="13432"/>
                    <a:pt x="12695" y="13419"/>
                    <a:pt x="12800" y="13468"/>
                  </a:cubicBezTo>
                  <a:cubicBezTo>
                    <a:pt x="12909" y="13510"/>
                    <a:pt x="13076" y="13563"/>
                    <a:pt x="13179" y="13577"/>
                  </a:cubicBezTo>
                  <a:cubicBezTo>
                    <a:pt x="13280" y="13588"/>
                    <a:pt x="13457" y="13769"/>
                    <a:pt x="13574" y="13978"/>
                  </a:cubicBezTo>
                  <a:cubicBezTo>
                    <a:pt x="13690" y="14188"/>
                    <a:pt x="13841" y="14395"/>
                    <a:pt x="13910" y="14442"/>
                  </a:cubicBezTo>
                  <a:cubicBezTo>
                    <a:pt x="13978" y="14484"/>
                    <a:pt x="14076" y="14501"/>
                    <a:pt x="14135" y="14486"/>
                  </a:cubicBezTo>
                  <a:cubicBezTo>
                    <a:pt x="14192" y="14464"/>
                    <a:pt x="14309" y="14477"/>
                    <a:pt x="14394" y="14511"/>
                  </a:cubicBezTo>
                  <a:cubicBezTo>
                    <a:pt x="14481" y="14548"/>
                    <a:pt x="14543" y="14633"/>
                    <a:pt x="14543" y="14704"/>
                  </a:cubicBezTo>
                  <a:cubicBezTo>
                    <a:pt x="14536" y="14773"/>
                    <a:pt x="14607" y="14835"/>
                    <a:pt x="14696" y="14831"/>
                  </a:cubicBezTo>
                  <a:cubicBezTo>
                    <a:pt x="14784" y="14828"/>
                    <a:pt x="14933" y="14838"/>
                    <a:pt x="15026" y="14852"/>
                  </a:cubicBezTo>
                  <a:cubicBezTo>
                    <a:pt x="15119" y="14860"/>
                    <a:pt x="15250" y="14947"/>
                    <a:pt x="15320" y="15036"/>
                  </a:cubicBezTo>
                  <a:cubicBezTo>
                    <a:pt x="15392" y="15124"/>
                    <a:pt x="15440" y="15282"/>
                    <a:pt x="15432" y="15383"/>
                  </a:cubicBezTo>
                  <a:cubicBezTo>
                    <a:pt x="15418" y="15485"/>
                    <a:pt x="15403" y="15604"/>
                    <a:pt x="15380" y="15645"/>
                  </a:cubicBezTo>
                  <a:cubicBezTo>
                    <a:pt x="15358" y="15688"/>
                    <a:pt x="15386" y="15765"/>
                    <a:pt x="15436" y="15820"/>
                  </a:cubicBezTo>
                  <a:cubicBezTo>
                    <a:pt x="15484" y="15876"/>
                    <a:pt x="15616" y="15928"/>
                    <a:pt x="15720" y="15939"/>
                  </a:cubicBezTo>
                  <a:cubicBezTo>
                    <a:pt x="15824" y="15949"/>
                    <a:pt x="15949" y="16033"/>
                    <a:pt x="15993" y="16122"/>
                  </a:cubicBezTo>
                  <a:cubicBezTo>
                    <a:pt x="16043" y="16209"/>
                    <a:pt x="16185" y="16312"/>
                    <a:pt x="16317" y="16351"/>
                  </a:cubicBezTo>
                  <a:cubicBezTo>
                    <a:pt x="16448" y="16388"/>
                    <a:pt x="16602" y="16391"/>
                    <a:pt x="16658" y="16358"/>
                  </a:cubicBezTo>
                  <a:cubicBezTo>
                    <a:pt x="16716" y="16329"/>
                    <a:pt x="16820" y="16341"/>
                    <a:pt x="16897" y="16390"/>
                  </a:cubicBezTo>
                  <a:cubicBezTo>
                    <a:pt x="16971" y="16439"/>
                    <a:pt x="17064" y="16622"/>
                    <a:pt x="17128" y="16786"/>
                  </a:cubicBezTo>
                  <a:cubicBezTo>
                    <a:pt x="17172" y="16956"/>
                    <a:pt x="17242" y="17222"/>
                    <a:pt x="17278" y="17380"/>
                  </a:cubicBezTo>
                  <a:cubicBezTo>
                    <a:pt x="17308" y="17539"/>
                    <a:pt x="17376" y="17730"/>
                    <a:pt x="17434" y="17803"/>
                  </a:cubicBezTo>
                  <a:cubicBezTo>
                    <a:pt x="17493" y="17875"/>
                    <a:pt x="17583" y="18089"/>
                    <a:pt x="17627" y="18278"/>
                  </a:cubicBezTo>
                  <a:cubicBezTo>
                    <a:pt x="17671" y="18468"/>
                    <a:pt x="17770" y="18691"/>
                    <a:pt x="17827" y="18783"/>
                  </a:cubicBezTo>
                  <a:cubicBezTo>
                    <a:pt x="17885" y="18874"/>
                    <a:pt x="17938" y="19023"/>
                    <a:pt x="17938" y="19118"/>
                  </a:cubicBezTo>
                  <a:cubicBezTo>
                    <a:pt x="17945" y="19213"/>
                    <a:pt x="17890" y="19340"/>
                    <a:pt x="17845" y="19409"/>
                  </a:cubicBezTo>
                  <a:cubicBezTo>
                    <a:pt x="17794" y="19476"/>
                    <a:pt x="17719" y="19529"/>
                    <a:pt x="17679" y="19529"/>
                  </a:cubicBezTo>
                  <a:cubicBezTo>
                    <a:pt x="17640" y="19526"/>
                    <a:pt x="17582" y="19542"/>
                    <a:pt x="17555" y="19560"/>
                  </a:cubicBezTo>
                  <a:cubicBezTo>
                    <a:pt x="17529" y="19580"/>
                    <a:pt x="17521" y="19675"/>
                    <a:pt x="17535" y="19780"/>
                  </a:cubicBezTo>
                  <a:cubicBezTo>
                    <a:pt x="17556" y="19883"/>
                    <a:pt x="17556" y="20051"/>
                    <a:pt x="17549" y="20149"/>
                  </a:cubicBezTo>
                  <a:cubicBezTo>
                    <a:pt x="17542" y="20248"/>
                    <a:pt x="17489" y="20391"/>
                    <a:pt x="17426" y="20455"/>
                  </a:cubicBezTo>
                  <a:cubicBezTo>
                    <a:pt x="17368" y="20523"/>
                    <a:pt x="17273" y="20611"/>
                    <a:pt x="17213" y="20642"/>
                  </a:cubicBezTo>
                  <a:cubicBezTo>
                    <a:pt x="17150" y="20671"/>
                    <a:pt x="17083" y="20734"/>
                    <a:pt x="17061" y="20773"/>
                  </a:cubicBezTo>
                  <a:cubicBezTo>
                    <a:pt x="17035" y="20811"/>
                    <a:pt x="17024" y="20910"/>
                    <a:pt x="17031" y="20991"/>
                  </a:cubicBezTo>
                  <a:cubicBezTo>
                    <a:pt x="17038" y="21070"/>
                    <a:pt x="17134" y="21238"/>
                    <a:pt x="17255" y="21354"/>
                  </a:cubicBezTo>
                  <a:cubicBezTo>
                    <a:pt x="17366" y="21478"/>
                    <a:pt x="17584" y="21572"/>
                    <a:pt x="17729" y="21561"/>
                  </a:cubicBezTo>
                  <a:cubicBezTo>
                    <a:pt x="17876" y="21554"/>
                    <a:pt x="18046" y="21463"/>
                    <a:pt x="18121" y="21365"/>
                  </a:cubicBezTo>
                  <a:cubicBezTo>
                    <a:pt x="18193" y="21266"/>
                    <a:pt x="18267" y="21092"/>
                    <a:pt x="18274" y="20980"/>
                  </a:cubicBezTo>
                  <a:cubicBezTo>
                    <a:pt x="18282" y="20869"/>
                    <a:pt x="18417" y="20697"/>
                    <a:pt x="18543" y="20579"/>
                  </a:cubicBezTo>
                  <a:cubicBezTo>
                    <a:pt x="18681" y="20474"/>
                    <a:pt x="18784" y="20181"/>
                    <a:pt x="18791" y="19939"/>
                  </a:cubicBezTo>
                  <a:cubicBezTo>
                    <a:pt x="18791" y="19697"/>
                    <a:pt x="18864" y="19430"/>
                    <a:pt x="18941" y="19340"/>
                  </a:cubicBezTo>
                  <a:cubicBezTo>
                    <a:pt x="19016" y="19248"/>
                    <a:pt x="19158" y="19167"/>
                    <a:pt x="19245" y="19143"/>
                  </a:cubicBezTo>
                  <a:cubicBezTo>
                    <a:pt x="19332" y="19132"/>
                    <a:pt x="19424" y="19045"/>
                    <a:pt x="19460" y="18974"/>
                  </a:cubicBezTo>
                  <a:cubicBezTo>
                    <a:pt x="19500" y="18905"/>
                    <a:pt x="19493" y="18799"/>
                    <a:pt x="19464" y="18751"/>
                  </a:cubicBezTo>
                  <a:cubicBezTo>
                    <a:pt x="19436" y="18702"/>
                    <a:pt x="19424" y="18554"/>
                    <a:pt x="19431" y="18420"/>
                  </a:cubicBezTo>
                  <a:cubicBezTo>
                    <a:pt x="19438" y="18286"/>
                    <a:pt x="19419" y="18131"/>
                    <a:pt x="19396" y="18066"/>
                  </a:cubicBezTo>
                  <a:cubicBezTo>
                    <a:pt x="19368" y="18005"/>
                    <a:pt x="19221" y="17839"/>
                    <a:pt x="19075" y="17694"/>
                  </a:cubicBezTo>
                  <a:cubicBezTo>
                    <a:pt x="18923" y="17555"/>
                    <a:pt x="18741" y="17422"/>
                    <a:pt x="18661" y="17404"/>
                  </a:cubicBezTo>
                  <a:cubicBezTo>
                    <a:pt x="18581" y="17385"/>
                    <a:pt x="18488" y="17330"/>
                    <a:pt x="18449" y="17277"/>
                  </a:cubicBezTo>
                  <a:cubicBezTo>
                    <a:pt x="18409" y="17226"/>
                    <a:pt x="18376" y="17116"/>
                    <a:pt x="18376" y="17038"/>
                  </a:cubicBezTo>
                  <a:cubicBezTo>
                    <a:pt x="18369" y="16960"/>
                    <a:pt x="18426" y="16856"/>
                    <a:pt x="18498" y="16810"/>
                  </a:cubicBezTo>
                  <a:cubicBezTo>
                    <a:pt x="18564" y="16757"/>
                    <a:pt x="18643" y="16660"/>
                    <a:pt x="18649" y="16581"/>
                  </a:cubicBezTo>
                  <a:cubicBezTo>
                    <a:pt x="18657" y="16503"/>
                    <a:pt x="18660" y="16386"/>
                    <a:pt x="18660" y="16318"/>
                  </a:cubicBezTo>
                  <a:cubicBezTo>
                    <a:pt x="18653" y="16250"/>
                    <a:pt x="18691" y="16148"/>
                    <a:pt x="18743" y="16087"/>
                  </a:cubicBezTo>
                  <a:cubicBezTo>
                    <a:pt x="18796" y="16025"/>
                    <a:pt x="18867" y="15876"/>
                    <a:pt x="18895" y="15751"/>
                  </a:cubicBezTo>
                  <a:cubicBezTo>
                    <a:pt x="18930" y="15629"/>
                    <a:pt x="18980" y="15497"/>
                    <a:pt x="19029" y="15475"/>
                  </a:cubicBezTo>
                  <a:cubicBezTo>
                    <a:pt x="19071" y="15446"/>
                    <a:pt x="19165" y="15422"/>
                    <a:pt x="19233" y="15414"/>
                  </a:cubicBezTo>
                  <a:cubicBezTo>
                    <a:pt x="19300" y="15410"/>
                    <a:pt x="19441" y="15447"/>
                    <a:pt x="19545" y="15504"/>
                  </a:cubicBezTo>
                  <a:cubicBezTo>
                    <a:pt x="19649" y="15561"/>
                    <a:pt x="19766" y="15642"/>
                    <a:pt x="19795" y="15694"/>
                  </a:cubicBezTo>
                  <a:cubicBezTo>
                    <a:pt x="19825" y="15743"/>
                    <a:pt x="19982" y="15792"/>
                    <a:pt x="20136" y="15799"/>
                  </a:cubicBezTo>
                  <a:cubicBezTo>
                    <a:pt x="20290" y="15806"/>
                    <a:pt x="20462" y="15847"/>
                    <a:pt x="20518" y="15882"/>
                  </a:cubicBezTo>
                  <a:cubicBezTo>
                    <a:pt x="20572" y="15921"/>
                    <a:pt x="20611" y="16011"/>
                    <a:pt x="20604" y="16089"/>
                  </a:cubicBezTo>
                  <a:cubicBezTo>
                    <a:pt x="20597" y="16166"/>
                    <a:pt x="20630" y="16308"/>
                    <a:pt x="20673" y="16406"/>
                  </a:cubicBezTo>
                  <a:cubicBezTo>
                    <a:pt x="20717" y="16504"/>
                    <a:pt x="20822" y="16655"/>
                    <a:pt x="20891" y="16753"/>
                  </a:cubicBezTo>
                  <a:cubicBezTo>
                    <a:pt x="20964" y="16846"/>
                    <a:pt x="21097" y="16959"/>
                    <a:pt x="21187" y="17001"/>
                  </a:cubicBezTo>
                  <a:cubicBezTo>
                    <a:pt x="21277" y="17044"/>
                    <a:pt x="21357" y="17054"/>
                    <a:pt x="21357" y="17025"/>
                  </a:cubicBezTo>
                  <a:cubicBezTo>
                    <a:pt x="21357" y="16994"/>
                    <a:pt x="21382" y="16953"/>
                    <a:pt x="21408" y="16931"/>
                  </a:cubicBezTo>
                  <a:cubicBezTo>
                    <a:pt x="21433" y="16909"/>
                    <a:pt x="21442" y="16823"/>
                    <a:pt x="21427" y="16738"/>
                  </a:cubicBezTo>
                  <a:cubicBezTo>
                    <a:pt x="21413" y="16653"/>
                    <a:pt x="21429" y="16533"/>
                    <a:pt x="21469" y="16473"/>
                  </a:cubicBezTo>
                  <a:cubicBezTo>
                    <a:pt x="21504" y="16409"/>
                    <a:pt x="21549" y="16252"/>
                    <a:pt x="21556" y="16120"/>
                  </a:cubicBezTo>
                  <a:cubicBezTo>
                    <a:pt x="21563" y="15987"/>
                    <a:pt x="21536" y="15823"/>
                    <a:pt x="21498" y="15749"/>
                  </a:cubicBezTo>
                  <a:cubicBezTo>
                    <a:pt x="21454" y="15679"/>
                    <a:pt x="21351" y="15569"/>
                    <a:pt x="21268" y="15504"/>
                  </a:cubicBezTo>
                  <a:cubicBezTo>
                    <a:pt x="21182" y="15439"/>
                    <a:pt x="20977" y="15347"/>
                    <a:pt x="20813" y="15296"/>
                  </a:cubicBezTo>
                  <a:cubicBezTo>
                    <a:pt x="20648" y="15246"/>
                    <a:pt x="20430" y="15109"/>
                    <a:pt x="20323" y="14997"/>
                  </a:cubicBezTo>
                  <a:cubicBezTo>
                    <a:pt x="20217" y="14886"/>
                    <a:pt x="20003" y="14687"/>
                    <a:pt x="19843" y="14563"/>
                  </a:cubicBezTo>
                  <a:cubicBezTo>
                    <a:pt x="19686" y="14435"/>
                    <a:pt x="19223" y="14141"/>
                    <a:pt x="18818" y="13902"/>
                  </a:cubicBezTo>
                  <a:cubicBezTo>
                    <a:pt x="18414" y="13660"/>
                    <a:pt x="17922" y="13426"/>
                    <a:pt x="17730" y="13368"/>
                  </a:cubicBezTo>
                  <a:cubicBezTo>
                    <a:pt x="17537" y="13316"/>
                    <a:pt x="17295" y="13262"/>
                    <a:pt x="17190" y="13258"/>
                  </a:cubicBezTo>
                  <a:cubicBezTo>
                    <a:pt x="17088" y="13251"/>
                    <a:pt x="16965" y="13176"/>
                    <a:pt x="16908" y="13096"/>
                  </a:cubicBezTo>
                  <a:cubicBezTo>
                    <a:pt x="16851" y="13013"/>
                    <a:pt x="16820" y="12904"/>
                    <a:pt x="16813" y="12859"/>
                  </a:cubicBezTo>
                  <a:cubicBezTo>
                    <a:pt x="16813" y="12812"/>
                    <a:pt x="16914" y="12703"/>
                    <a:pt x="17039" y="12621"/>
                  </a:cubicBezTo>
                  <a:cubicBezTo>
                    <a:pt x="17163" y="12543"/>
                    <a:pt x="17280" y="12415"/>
                    <a:pt x="17288" y="12344"/>
                  </a:cubicBezTo>
                  <a:cubicBezTo>
                    <a:pt x="17295" y="12274"/>
                    <a:pt x="17243" y="12179"/>
                    <a:pt x="17154" y="12126"/>
                  </a:cubicBezTo>
                  <a:cubicBezTo>
                    <a:pt x="17061" y="12079"/>
                    <a:pt x="16890" y="12043"/>
                    <a:pt x="16769" y="12058"/>
                  </a:cubicBezTo>
                  <a:cubicBezTo>
                    <a:pt x="16649" y="12074"/>
                    <a:pt x="16484" y="12057"/>
                    <a:pt x="16400" y="12034"/>
                  </a:cubicBezTo>
                  <a:cubicBezTo>
                    <a:pt x="16321" y="12001"/>
                    <a:pt x="16096" y="11977"/>
                    <a:pt x="15905" y="11970"/>
                  </a:cubicBezTo>
                  <a:cubicBezTo>
                    <a:pt x="15714" y="11962"/>
                    <a:pt x="15503" y="11918"/>
                    <a:pt x="15436" y="11877"/>
                  </a:cubicBezTo>
                  <a:cubicBezTo>
                    <a:pt x="15369" y="11832"/>
                    <a:pt x="15235" y="11780"/>
                    <a:pt x="15140" y="11757"/>
                  </a:cubicBezTo>
                  <a:cubicBezTo>
                    <a:pt x="15045" y="11731"/>
                    <a:pt x="14905" y="11652"/>
                    <a:pt x="14830" y="11573"/>
                  </a:cubicBezTo>
                  <a:cubicBezTo>
                    <a:pt x="14753" y="11498"/>
                    <a:pt x="14571" y="11327"/>
                    <a:pt x="14414" y="11207"/>
                  </a:cubicBezTo>
                  <a:cubicBezTo>
                    <a:pt x="14257" y="11086"/>
                    <a:pt x="14070" y="10886"/>
                    <a:pt x="13991" y="10769"/>
                  </a:cubicBezTo>
                  <a:cubicBezTo>
                    <a:pt x="13912" y="10652"/>
                    <a:pt x="13769" y="10475"/>
                    <a:pt x="13673" y="10374"/>
                  </a:cubicBezTo>
                  <a:cubicBezTo>
                    <a:pt x="13576" y="10276"/>
                    <a:pt x="13437" y="10109"/>
                    <a:pt x="13364" y="10005"/>
                  </a:cubicBezTo>
                  <a:cubicBezTo>
                    <a:pt x="13286" y="9904"/>
                    <a:pt x="13227" y="9730"/>
                    <a:pt x="13213" y="9626"/>
                  </a:cubicBezTo>
                  <a:cubicBezTo>
                    <a:pt x="13213" y="9521"/>
                    <a:pt x="13165" y="9409"/>
                    <a:pt x="13119" y="9390"/>
                  </a:cubicBezTo>
                  <a:cubicBezTo>
                    <a:pt x="13077" y="9361"/>
                    <a:pt x="13034" y="9270"/>
                    <a:pt x="13019" y="9182"/>
                  </a:cubicBezTo>
                  <a:cubicBezTo>
                    <a:pt x="13011" y="9092"/>
                    <a:pt x="12712" y="8734"/>
                    <a:pt x="12366" y="8381"/>
                  </a:cubicBezTo>
                  <a:cubicBezTo>
                    <a:pt x="12022" y="8027"/>
                    <a:pt x="11681" y="7673"/>
                    <a:pt x="11616" y="7586"/>
                  </a:cubicBezTo>
                  <a:cubicBezTo>
                    <a:pt x="11551" y="7497"/>
                    <a:pt x="11391" y="7372"/>
                    <a:pt x="11267" y="7298"/>
                  </a:cubicBezTo>
                  <a:cubicBezTo>
                    <a:pt x="11140" y="7229"/>
                    <a:pt x="10848" y="7062"/>
                    <a:pt x="10618" y="6933"/>
                  </a:cubicBezTo>
                  <a:cubicBezTo>
                    <a:pt x="10388" y="6805"/>
                    <a:pt x="10149" y="6637"/>
                    <a:pt x="10095" y="6554"/>
                  </a:cubicBezTo>
                  <a:cubicBezTo>
                    <a:pt x="10040" y="6473"/>
                    <a:pt x="9973" y="6291"/>
                    <a:pt x="9951" y="6145"/>
                  </a:cubicBezTo>
                  <a:cubicBezTo>
                    <a:pt x="9937" y="5997"/>
                    <a:pt x="9860" y="5773"/>
                    <a:pt x="9795" y="5644"/>
                  </a:cubicBezTo>
                  <a:cubicBezTo>
                    <a:pt x="9730" y="5516"/>
                    <a:pt x="9716" y="5381"/>
                    <a:pt x="9760" y="5344"/>
                  </a:cubicBezTo>
                  <a:cubicBezTo>
                    <a:pt x="9806" y="5311"/>
                    <a:pt x="9900" y="5188"/>
                    <a:pt x="9973" y="5077"/>
                  </a:cubicBezTo>
                  <a:cubicBezTo>
                    <a:pt x="10047" y="4968"/>
                    <a:pt x="10040" y="4805"/>
                    <a:pt x="9970" y="4710"/>
                  </a:cubicBezTo>
                  <a:cubicBezTo>
                    <a:pt x="9896" y="4620"/>
                    <a:pt x="9789" y="4457"/>
                    <a:pt x="9729" y="4347"/>
                  </a:cubicBezTo>
                  <a:cubicBezTo>
                    <a:pt x="9670" y="4237"/>
                    <a:pt x="9650" y="4088"/>
                    <a:pt x="9685" y="4014"/>
                  </a:cubicBezTo>
                  <a:cubicBezTo>
                    <a:pt x="9725" y="3942"/>
                    <a:pt x="9840" y="3868"/>
                    <a:pt x="9951" y="3861"/>
                  </a:cubicBezTo>
                  <a:cubicBezTo>
                    <a:pt x="10063" y="3854"/>
                    <a:pt x="10233" y="3771"/>
                    <a:pt x="10334" y="3687"/>
                  </a:cubicBezTo>
                  <a:cubicBezTo>
                    <a:pt x="10434" y="3600"/>
                    <a:pt x="10607" y="3534"/>
                    <a:pt x="10719" y="3541"/>
                  </a:cubicBezTo>
                  <a:cubicBezTo>
                    <a:pt x="10831" y="3545"/>
                    <a:pt x="10978" y="3494"/>
                    <a:pt x="11048" y="3426"/>
                  </a:cubicBezTo>
                  <a:cubicBezTo>
                    <a:pt x="11118" y="3359"/>
                    <a:pt x="11230" y="3278"/>
                    <a:pt x="11298" y="3247"/>
                  </a:cubicBezTo>
                  <a:cubicBezTo>
                    <a:pt x="11367" y="3220"/>
                    <a:pt x="11513" y="3223"/>
                    <a:pt x="11630" y="3252"/>
                  </a:cubicBezTo>
                  <a:cubicBezTo>
                    <a:pt x="11746" y="3288"/>
                    <a:pt x="11816" y="3173"/>
                    <a:pt x="11781" y="3003"/>
                  </a:cubicBezTo>
                  <a:cubicBezTo>
                    <a:pt x="11744" y="2832"/>
                    <a:pt x="11771" y="2612"/>
                    <a:pt x="11830" y="2514"/>
                  </a:cubicBezTo>
                  <a:close/>
                  <a:moveTo>
                    <a:pt x="11830" y="251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4" name="AutoShape 663"/>
            <p:cNvSpPr>
              <a:spLocks/>
            </p:cNvSpPr>
            <p:nvPr/>
          </p:nvSpPr>
          <p:spPr bwMode="auto">
            <a:xfrm>
              <a:off x="7937500" y="3581400"/>
              <a:ext cx="136525" cy="90488"/>
            </a:xfrm>
            <a:custGeom>
              <a:avLst/>
              <a:gdLst/>
              <a:ahLst/>
              <a:cxnLst/>
              <a:rect l="0" t="0" r="r" b="b"/>
              <a:pathLst>
                <a:path w="21502" h="21344">
                  <a:moveTo>
                    <a:pt x="2376" y="8364"/>
                  </a:moveTo>
                  <a:cubicBezTo>
                    <a:pt x="2814" y="8256"/>
                    <a:pt x="3829" y="8882"/>
                    <a:pt x="4635" y="9715"/>
                  </a:cubicBezTo>
                  <a:cubicBezTo>
                    <a:pt x="5422" y="10586"/>
                    <a:pt x="6449" y="11391"/>
                    <a:pt x="6873" y="11581"/>
                  </a:cubicBezTo>
                  <a:cubicBezTo>
                    <a:pt x="7305" y="11741"/>
                    <a:pt x="7988" y="12454"/>
                    <a:pt x="8391" y="13117"/>
                  </a:cubicBezTo>
                  <a:cubicBezTo>
                    <a:pt x="8801" y="13770"/>
                    <a:pt x="9892" y="14791"/>
                    <a:pt x="10832" y="15343"/>
                  </a:cubicBezTo>
                  <a:cubicBezTo>
                    <a:pt x="11762" y="15926"/>
                    <a:pt x="12685" y="16216"/>
                    <a:pt x="12869" y="16041"/>
                  </a:cubicBezTo>
                  <a:cubicBezTo>
                    <a:pt x="13045" y="15844"/>
                    <a:pt x="13549" y="16088"/>
                    <a:pt x="13960" y="16568"/>
                  </a:cubicBezTo>
                  <a:cubicBezTo>
                    <a:pt x="14386" y="17011"/>
                    <a:pt x="14791" y="17830"/>
                    <a:pt x="14878" y="18331"/>
                  </a:cubicBezTo>
                  <a:cubicBezTo>
                    <a:pt x="14965" y="18830"/>
                    <a:pt x="15820" y="19765"/>
                    <a:pt x="16793" y="20360"/>
                  </a:cubicBezTo>
                  <a:cubicBezTo>
                    <a:pt x="17760" y="20970"/>
                    <a:pt x="18862" y="21400"/>
                    <a:pt x="19252" y="21338"/>
                  </a:cubicBezTo>
                  <a:cubicBezTo>
                    <a:pt x="19645" y="21276"/>
                    <a:pt x="19930" y="20562"/>
                    <a:pt x="19870" y="19780"/>
                  </a:cubicBezTo>
                  <a:cubicBezTo>
                    <a:pt x="19841" y="18993"/>
                    <a:pt x="19944" y="18060"/>
                    <a:pt x="20131" y="17688"/>
                  </a:cubicBezTo>
                  <a:cubicBezTo>
                    <a:pt x="20349" y="17345"/>
                    <a:pt x="20436" y="16454"/>
                    <a:pt x="20375" y="15769"/>
                  </a:cubicBezTo>
                  <a:cubicBezTo>
                    <a:pt x="20292" y="15084"/>
                    <a:pt x="19955" y="13845"/>
                    <a:pt x="19548" y="13067"/>
                  </a:cubicBezTo>
                  <a:cubicBezTo>
                    <a:pt x="19167" y="12258"/>
                    <a:pt x="19132" y="10405"/>
                    <a:pt x="19453" y="8903"/>
                  </a:cubicBezTo>
                  <a:cubicBezTo>
                    <a:pt x="19800" y="7421"/>
                    <a:pt x="20362" y="5792"/>
                    <a:pt x="20724" y="5298"/>
                  </a:cubicBezTo>
                  <a:cubicBezTo>
                    <a:pt x="21071" y="4780"/>
                    <a:pt x="21424" y="3724"/>
                    <a:pt x="21484" y="2906"/>
                  </a:cubicBezTo>
                  <a:cubicBezTo>
                    <a:pt x="21573" y="2094"/>
                    <a:pt x="21319" y="952"/>
                    <a:pt x="21000" y="367"/>
                  </a:cubicBezTo>
                  <a:cubicBezTo>
                    <a:pt x="20660" y="-200"/>
                    <a:pt x="20003" y="-108"/>
                    <a:pt x="19511" y="623"/>
                  </a:cubicBezTo>
                  <a:cubicBezTo>
                    <a:pt x="19021" y="1355"/>
                    <a:pt x="18434" y="1876"/>
                    <a:pt x="18213" y="1829"/>
                  </a:cubicBezTo>
                  <a:cubicBezTo>
                    <a:pt x="17992" y="1783"/>
                    <a:pt x="17444" y="1391"/>
                    <a:pt x="16975" y="998"/>
                  </a:cubicBezTo>
                  <a:cubicBezTo>
                    <a:pt x="16510" y="609"/>
                    <a:pt x="15801" y="835"/>
                    <a:pt x="15378" y="1510"/>
                  </a:cubicBezTo>
                  <a:cubicBezTo>
                    <a:pt x="14967" y="2208"/>
                    <a:pt x="13847" y="2618"/>
                    <a:pt x="12911" y="2491"/>
                  </a:cubicBezTo>
                  <a:cubicBezTo>
                    <a:pt x="11966" y="2384"/>
                    <a:pt x="10578" y="2491"/>
                    <a:pt x="9819" y="2805"/>
                  </a:cubicBezTo>
                  <a:cubicBezTo>
                    <a:pt x="9057" y="3121"/>
                    <a:pt x="7982" y="3225"/>
                    <a:pt x="7429" y="3030"/>
                  </a:cubicBezTo>
                  <a:cubicBezTo>
                    <a:pt x="6873" y="2857"/>
                    <a:pt x="6102" y="2325"/>
                    <a:pt x="5697" y="1915"/>
                  </a:cubicBezTo>
                  <a:cubicBezTo>
                    <a:pt x="5288" y="1510"/>
                    <a:pt x="4596" y="1179"/>
                    <a:pt x="4145" y="1241"/>
                  </a:cubicBezTo>
                  <a:cubicBezTo>
                    <a:pt x="3684" y="1310"/>
                    <a:pt x="3097" y="1543"/>
                    <a:pt x="2868" y="1863"/>
                  </a:cubicBezTo>
                  <a:cubicBezTo>
                    <a:pt x="2630" y="2175"/>
                    <a:pt x="2292" y="2165"/>
                    <a:pt x="2151" y="1872"/>
                  </a:cubicBezTo>
                  <a:cubicBezTo>
                    <a:pt x="2011" y="1577"/>
                    <a:pt x="1469" y="1598"/>
                    <a:pt x="979" y="1941"/>
                  </a:cubicBezTo>
                  <a:cubicBezTo>
                    <a:pt x="488" y="2285"/>
                    <a:pt x="31" y="3373"/>
                    <a:pt x="2" y="4388"/>
                  </a:cubicBezTo>
                  <a:cubicBezTo>
                    <a:pt x="-27" y="5401"/>
                    <a:pt x="297" y="6748"/>
                    <a:pt x="752" y="7384"/>
                  </a:cubicBezTo>
                  <a:cubicBezTo>
                    <a:pt x="1205" y="8033"/>
                    <a:pt x="1934" y="8474"/>
                    <a:pt x="2376" y="8364"/>
                  </a:cubicBezTo>
                  <a:close/>
                  <a:moveTo>
                    <a:pt x="2376" y="83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5" name="AutoShape 664"/>
            <p:cNvSpPr>
              <a:spLocks/>
            </p:cNvSpPr>
            <p:nvPr/>
          </p:nvSpPr>
          <p:spPr bwMode="auto">
            <a:xfrm>
              <a:off x="7810500" y="3302000"/>
              <a:ext cx="20638" cy="11113"/>
            </a:xfrm>
            <a:custGeom>
              <a:avLst/>
              <a:gdLst/>
              <a:ahLst/>
              <a:cxnLst/>
              <a:rect l="0" t="0" r="r" b="b"/>
              <a:pathLst>
                <a:path w="20720" h="20463">
                  <a:moveTo>
                    <a:pt x="1332" y="19761"/>
                  </a:moveTo>
                  <a:cubicBezTo>
                    <a:pt x="2776" y="20903"/>
                    <a:pt x="6151" y="20655"/>
                    <a:pt x="8841" y="18992"/>
                  </a:cubicBezTo>
                  <a:cubicBezTo>
                    <a:pt x="11508" y="17352"/>
                    <a:pt x="15422" y="16289"/>
                    <a:pt x="17502" y="16775"/>
                  </a:cubicBezTo>
                  <a:cubicBezTo>
                    <a:pt x="19605" y="17127"/>
                    <a:pt x="21158" y="15135"/>
                    <a:pt x="20608" y="12637"/>
                  </a:cubicBezTo>
                  <a:cubicBezTo>
                    <a:pt x="20241" y="10036"/>
                    <a:pt x="18822" y="5772"/>
                    <a:pt x="17562" y="2935"/>
                  </a:cubicBezTo>
                  <a:cubicBezTo>
                    <a:pt x="16438" y="-6"/>
                    <a:pt x="14847" y="-697"/>
                    <a:pt x="14174" y="683"/>
                  </a:cubicBezTo>
                  <a:cubicBezTo>
                    <a:pt x="13465" y="1995"/>
                    <a:pt x="10762" y="4980"/>
                    <a:pt x="7912" y="6780"/>
                  </a:cubicBezTo>
                  <a:cubicBezTo>
                    <a:pt x="5086" y="8746"/>
                    <a:pt x="1857" y="11958"/>
                    <a:pt x="708" y="13916"/>
                  </a:cubicBezTo>
                  <a:cubicBezTo>
                    <a:pt x="-442" y="15882"/>
                    <a:pt x="-160" y="18721"/>
                    <a:pt x="1332" y="19761"/>
                  </a:cubicBezTo>
                  <a:close/>
                  <a:moveTo>
                    <a:pt x="1332" y="197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6" name="AutoShape 665"/>
            <p:cNvSpPr>
              <a:spLocks/>
            </p:cNvSpPr>
            <p:nvPr/>
          </p:nvSpPr>
          <p:spPr bwMode="auto">
            <a:xfrm>
              <a:off x="7848600" y="3327400"/>
              <a:ext cx="3175" cy="1588"/>
            </a:xfrm>
            <a:custGeom>
              <a:avLst/>
              <a:gdLst/>
              <a:ahLst/>
              <a:cxnLst/>
              <a:rect l="0" t="0" r="r" b="b"/>
              <a:pathLst>
                <a:path w="17364" h="17109">
                  <a:moveTo>
                    <a:pt x="7750" y="14561"/>
                  </a:moveTo>
                  <a:cubicBezTo>
                    <a:pt x="15353" y="19328"/>
                    <a:pt x="19213" y="17232"/>
                    <a:pt x="16495" y="9716"/>
                  </a:cubicBezTo>
                  <a:cubicBezTo>
                    <a:pt x="13781" y="2278"/>
                    <a:pt x="7203" y="-2272"/>
                    <a:pt x="2683" y="1167"/>
                  </a:cubicBezTo>
                  <a:cubicBezTo>
                    <a:pt x="-2387" y="3301"/>
                    <a:pt x="-35" y="10169"/>
                    <a:pt x="7750" y="14561"/>
                  </a:cubicBezTo>
                  <a:close/>
                  <a:moveTo>
                    <a:pt x="7750" y="145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7" name="AutoShape 666"/>
            <p:cNvSpPr>
              <a:spLocks/>
            </p:cNvSpPr>
            <p:nvPr/>
          </p:nvSpPr>
          <p:spPr bwMode="auto">
            <a:xfrm>
              <a:off x="7721600" y="3403600"/>
              <a:ext cx="73025" cy="138113"/>
            </a:xfrm>
            <a:custGeom>
              <a:avLst/>
              <a:gdLst/>
              <a:ahLst/>
              <a:cxnLst/>
              <a:rect l="0" t="0" r="r" b="b"/>
              <a:pathLst>
                <a:path w="21414" h="21550">
                  <a:moveTo>
                    <a:pt x="2406" y="6624"/>
                  </a:moveTo>
                  <a:cubicBezTo>
                    <a:pt x="2557" y="6940"/>
                    <a:pt x="3126" y="7396"/>
                    <a:pt x="3652" y="7636"/>
                  </a:cubicBezTo>
                  <a:cubicBezTo>
                    <a:pt x="4163" y="7881"/>
                    <a:pt x="4584" y="8472"/>
                    <a:pt x="4639" y="8954"/>
                  </a:cubicBezTo>
                  <a:cubicBezTo>
                    <a:pt x="4639" y="9438"/>
                    <a:pt x="4224" y="10075"/>
                    <a:pt x="3695" y="10386"/>
                  </a:cubicBezTo>
                  <a:cubicBezTo>
                    <a:pt x="3151" y="10692"/>
                    <a:pt x="2888" y="11153"/>
                    <a:pt x="3158" y="11401"/>
                  </a:cubicBezTo>
                  <a:cubicBezTo>
                    <a:pt x="3432" y="11647"/>
                    <a:pt x="4242" y="11914"/>
                    <a:pt x="5024" y="11941"/>
                  </a:cubicBezTo>
                  <a:cubicBezTo>
                    <a:pt x="5798" y="11986"/>
                    <a:pt x="6450" y="12161"/>
                    <a:pt x="6450" y="12334"/>
                  </a:cubicBezTo>
                  <a:cubicBezTo>
                    <a:pt x="6450" y="12504"/>
                    <a:pt x="6061" y="12871"/>
                    <a:pt x="5632" y="13173"/>
                  </a:cubicBezTo>
                  <a:cubicBezTo>
                    <a:pt x="5186" y="13468"/>
                    <a:pt x="4534" y="14288"/>
                    <a:pt x="4213" y="15001"/>
                  </a:cubicBezTo>
                  <a:cubicBezTo>
                    <a:pt x="3893" y="15716"/>
                    <a:pt x="3904" y="16528"/>
                    <a:pt x="4242" y="16799"/>
                  </a:cubicBezTo>
                  <a:cubicBezTo>
                    <a:pt x="4559" y="17081"/>
                    <a:pt x="5208" y="17993"/>
                    <a:pt x="5650" y="18847"/>
                  </a:cubicBezTo>
                  <a:cubicBezTo>
                    <a:pt x="6086" y="19703"/>
                    <a:pt x="6922" y="20691"/>
                    <a:pt x="7559" y="21017"/>
                  </a:cubicBezTo>
                  <a:cubicBezTo>
                    <a:pt x="8131" y="21370"/>
                    <a:pt x="8899" y="21551"/>
                    <a:pt x="9205" y="21469"/>
                  </a:cubicBezTo>
                  <a:cubicBezTo>
                    <a:pt x="9504" y="21389"/>
                    <a:pt x="10058" y="21384"/>
                    <a:pt x="10444" y="21487"/>
                  </a:cubicBezTo>
                  <a:cubicBezTo>
                    <a:pt x="10850" y="21564"/>
                    <a:pt x="11628" y="21587"/>
                    <a:pt x="12183" y="21454"/>
                  </a:cubicBezTo>
                  <a:cubicBezTo>
                    <a:pt x="12730" y="21334"/>
                    <a:pt x="13199" y="20856"/>
                    <a:pt x="13253" y="20384"/>
                  </a:cubicBezTo>
                  <a:cubicBezTo>
                    <a:pt x="13253" y="19912"/>
                    <a:pt x="13458" y="19290"/>
                    <a:pt x="13724" y="19022"/>
                  </a:cubicBezTo>
                  <a:cubicBezTo>
                    <a:pt x="13933" y="18739"/>
                    <a:pt x="14740" y="18560"/>
                    <a:pt x="15478" y="18590"/>
                  </a:cubicBezTo>
                  <a:cubicBezTo>
                    <a:pt x="16230" y="18618"/>
                    <a:pt x="17228" y="18886"/>
                    <a:pt x="17729" y="19137"/>
                  </a:cubicBezTo>
                  <a:cubicBezTo>
                    <a:pt x="18211" y="19395"/>
                    <a:pt x="18975" y="19619"/>
                    <a:pt x="19425" y="19619"/>
                  </a:cubicBezTo>
                  <a:cubicBezTo>
                    <a:pt x="19871" y="19634"/>
                    <a:pt x="20426" y="19382"/>
                    <a:pt x="20746" y="19096"/>
                  </a:cubicBezTo>
                  <a:cubicBezTo>
                    <a:pt x="21024" y="18801"/>
                    <a:pt x="21229" y="17934"/>
                    <a:pt x="21178" y="17164"/>
                  </a:cubicBezTo>
                  <a:cubicBezTo>
                    <a:pt x="21125" y="16398"/>
                    <a:pt x="21193" y="15588"/>
                    <a:pt x="21355" y="15376"/>
                  </a:cubicBezTo>
                  <a:cubicBezTo>
                    <a:pt x="21470" y="15158"/>
                    <a:pt x="21413" y="14302"/>
                    <a:pt x="21197" y="13468"/>
                  </a:cubicBezTo>
                  <a:cubicBezTo>
                    <a:pt x="20984" y="12637"/>
                    <a:pt x="20974" y="11347"/>
                    <a:pt x="21244" y="10603"/>
                  </a:cubicBezTo>
                  <a:cubicBezTo>
                    <a:pt x="21510" y="9864"/>
                    <a:pt x="20829" y="8868"/>
                    <a:pt x="19817" y="8372"/>
                  </a:cubicBezTo>
                  <a:cubicBezTo>
                    <a:pt x="18748" y="7915"/>
                    <a:pt x="18640" y="7277"/>
                    <a:pt x="19472" y="6980"/>
                  </a:cubicBezTo>
                  <a:cubicBezTo>
                    <a:pt x="20329" y="6709"/>
                    <a:pt x="21074" y="6216"/>
                    <a:pt x="21178" y="5907"/>
                  </a:cubicBezTo>
                  <a:cubicBezTo>
                    <a:pt x="21283" y="5598"/>
                    <a:pt x="21146" y="4953"/>
                    <a:pt x="20930" y="4464"/>
                  </a:cubicBezTo>
                  <a:cubicBezTo>
                    <a:pt x="20718" y="3976"/>
                    <a:pt x="20055" y="3344"/>
                    <a:pt x="19555" y="3033"/>
                  </a:cubicBezTo>
                  <a:cubicBezTo>
                    <a:pt x="19022" y="2735"/>
                    <a:pt x="18111" y="2029"/>
                    <a:pt x="17517" y="1478"/>
                  </a:cubicBezTo>
                  <a:cubicBezTo>
                    <a:pt x="16929" y="923"/>
                    <a:pt x="16187" y="587"/>
                    <a:pt x="15914" y="745"/>
                  </a:cubicBezTo>
                  <a:cubicBezTo>
                    <a:pt x="15612" y="882"/>
                    <a:pt x="14844" y="770"/>
                    <a:pt x="14135" y="493"/>
                  </a:cubicBezTo>
                  <a:cubicBezTo>
                    <a:pt x="13440" y="198"/>
                    <a:pt x="12377" y="-13"/>
                    <a:pt x="11787" y="0"/>
                  </a:cubicBezTo>
                  <a:cubicBezTo>
                    <a:pt x="11200" y="15"/>
                    <a:pt x="9601" y="744"/>
                    <a:pt x="8233" y="1605"/>
                  </a:cubicBezTo>
                  <a:cubicBezTo>
                    <a:pt x="6842" y="2461"/>
                    <a:pt x="5215" y="3167"/>
                    <a:pt x="4595" y="3182"/>
                  </a:cubicBezTo>
                  <a:cubicBezTo>
                    <a:pt x="3972" y="3196"/>
                    <a:pt x="2723" y="2947"/>
                    <a:pt x="1812" y="2658"/>
                  </a:cubicBezTo>
                  <a:cubicBezTo>
                    <a:pt x="897" y="2372"/>
                    <a:pt x="158" y="2494"/>
                    <a:pt x="213" y="2945"/>
                  </a:cubicBezTo>
                  <a:cubicBezTo>
                    <a:pt x="213" y="3395"/>
                    <a:pt x="173" y="4008"/>
                    <a:pt x="18" y="4297"/>
                  </a:cubicBezTo>
                  <a:cubicBezTo>
                    <a:pt x="-90" y="4592"/>
                    <a:pt x="285" y="5110"/>
                    <a:pt x="933" y="5443"/>
                  </a:cubicBezTo>
                  <a:cubicBezTo>
                    <a:pt x="1588" y="5777"/>
                    <a:pt x="2244" y="6309"/>
                    <a:pt x="2406" y="6624"/>
                  </a:cubicBezTo>
                  <a:close/>
                  <a:moveTo>
                    <a:pt x="2406" y="66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8" name="AutoShape 667"/>
            <p:cNvSpPr>
              <a:spLocks/>
            </p:cNvSpPr>
            <p:nvPr/>
          </p:nvSpPr>
          <p:spPr bwMode="auto">
            <a:xfrm>
              <a:off x="7950200" y="3111500"/>
              <a:ext cx="1588" cy="9525"/>
            </a:xfrm>
            <a:custGeom>
              <a:avLst/>
              <a:gdLst/>
              <a:ahLst/>
              <a:cxnLst/>
              <a:rect l="0" t="0" r="r" b="b"/>
              <a:pathLst>
                <a:path w="17687" h="21600">
                  <a:moveTo>
                    <a:pt x="2190" y="21600"/>
                  </a:moveTo>
                  <a:cubicBezTo>
                    <a:pt x="-3913" y="17597"/>
                    <a:pt x="3439" y="8164"/>
                    <a:pt x="17687" y="0"/>
                  </a:cubicBezTo>
                  <a:cubicBezTo>
                    <a:pt x="3218" y="8123"/>
                    <a:pt x="-3913" y="17597"/>
                    <a:pt x="2190" y="21600"/>
                  </a:cubicBezTo>
                  <a:close/>
                  <a:moveTo>
                    <a:pt x="219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69" name="AutoShape 668"/>
            <p:cNvSpPr>
              <a:spLocks/>
            </p:cNvSpPr>
            <p:nvPr/>
          </p:nvSpPr>
          <p:spPr bwMode="auto">
            <a:xfrm>
              <a:off x="7658100" y="3124200"/>
              <a:ext cx="14288" cy="3175"/>
            </a:xfrm>
            <a:custGeom>
              <a:avLst/>
              <a:gdLst/>
              <a:ahLst/>
              <a:cxnLst/>
              <a:rect l="0" t="0" r="r" b="b"/>
              <a:pathLst>
                <a:path w="21600" h="18565">
                  <a:moveTo>
                    <a:pt x="0" y="16938"/>
                  </a:moveTo>
                  <a:cubicBezTo>
                    <a:pt x="129" y="17063"/>
                    <a:pt x="236" y="17315"/>
                    <a:pt x="361" y="17439"/>
                  </a:cubicBezTo>
                  <a:cubicBezTo>
                    <a:pt x="4697" y="21600"/>
                    <a:pt x="14123" y="13887"/>
                    <a:pt x="21600" y="0"/>
                  </a:cubicBezTo>
                  <a:cubicBezTo>
                    <a:pt x="14214" y="13738"/>
                    <a:pt x="4697" y="21275"/>
                    <a:pt x="0" y="16938"/>
                  </a:cubicBezTo>
                  <a:close/>
                  <a:moveTo>
                    <a:pt x="0" y="169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0" name="AutoShape 669"/>
            <p:cNvSpPr>
              <a:spLocks/>
            </p:cNvSpPr>
            <p:nvPr/>
          </p:nvSpPr>
          <p:spPr bwMode="auto">
            <a:xfrm>
              <a:off x="6921500" y="3238500"/>
              <a:ext cx="568325" cy="454025"/>
            </a:xfrm>
            <a:custGeom>
              <a:avLst/>
              <a:gdLst/>
              <a:ahLst/>
              <a:cxnLst/>
              <a:rect l="0" t="0" r="r" b="b"/>
              <a:pathLst>
                <a:path w="21576" h="21560">
                  <a:moveTo>
                    <a:pt x="20245" y="3631"/>
                  </a:moveTo>
                  <a:cubicBezTo>
                    <a:pt x="20002" y="3652"/>
                    <a:pt x="19679" y="3586"/>
                    <a:pt x="19527" y="3482"/>
                  </a:cubicBezTo>
                  <a:cubicBezTo>
                    <a:pt x="19376" y="3380"/>
                    <a:pt x="19136" y="3309"/>
                    <a:pt x="18992" y="3322"/>
                  </a:cubicBezTo>
                  <a:cubicBezTo>
                    <a:pt x="18849" y="3336"/>
                    <a:pt x="18658" y="3302"/>
                    <a:pt x="18569" y="3240"/>
                  </a:cubicBezTo>
                  <a:cubicBezTo>
                    <a:pt x="18476" y="3181"/>
                    <a:pt x="18210" y="3136"/>
                    <a:pt x="17973" y="3136"/>
                  </a:cubicBezTo>
                  <a:cubicBezTo>
                    <a:pt x="17736" y="3136"/>
                    <a:pt x="17469" y="3233"/>
                    <a:pt x="17380" y="3344"/>
                  </a:cubicBezTo>
                  <a:cubicBezTo>
                    <a:pt x="17294" y="3457"/>
                    <a:pt x="17159" y="3512"/>
                    <a:pt x="17088" y="3461"/>
                  </a:cubicBezTo>
                  <a:cubicBezTo>
                    <a:pt x="17016" y="3414"/>
                    <a:pt x="16840" y="3371"/>
                    <a:pt x="16697" y="3380"/>
                  </a:cubicBezTo>
                  <a:cubicBezTo>
                    <a:pt x="16555" y="3384"/>
                    <a:pt x="16339" y="3264"/>
                    <a:pt x="16222" y="3117"/>
                  </a:cubicBezTo>
                  <a:cubicBezTo>
                    <a:pt x="16104" y="2970"/>
                    <a:pt x="15920" y="2898"/>
                    <a:pt x="15816" y="2954"/>
                  </a:cubicBezTo>
                  <a:cubicBezTo>
                    <a:pt x="15709" y="3005"/>
                    <a:pt x="15543" y="2954"/>
                    <a:pt x="15444" y="2825"/>
                  </a:cubicBezTo>
                  <a:cubicBezTo>
                    <a:pt x="15346" y="2695"/>
                    <a:pt x="15094" y="2506"/>
                    <a:pt x="14885" y="2406"/>
                  </a:cubicBezTo>
                  <a:cubicBezTo>
                    <a:pt x="14676" y="2306"/>
                    <a:pt x="14379" y="2235"/>
                    <a:pt x="14225" y="2256"/>
                  </a:cubicBezTo>
                  <a:cubicBezTo>
                    <a:pt x="14071" y="2273"/>
                    <a:pt x="13955" y="2212"/>
                    <a:pt x="13969" y="2113"/>
                  </a:cubicBezTo>
                  <a:cubicBezTo>
                    <a:pt x="13981" y="2015"/>
                    <a:pt x="13979" y="1827"/>
                    <a:pt x="13958" y="1698"/>
                  </a:cubicBezTo>
                  <a:cubicBezTo>
                    <a:pt x="13937" y="1568"/>
                    <a:pt x="13869" y="1452"/>
                    <a:pt x="13805" y="1435"/>
                  </a:cubicBezTo>
                  <a:cubicBezTo>
                    <a:pt x="13742" y="1416"/>
                    <a:pt x="13682" y="1380"/>
                    <a:pt x="13666" y="1350"/>
                  </a:cubicBezTo>
                  <a:cubicBezTo>
                    <a:pt x="13654" y="1319"/>
                    <a:pt x="13572" y="1243"/>
                    <a:pt x="13481" y="1184"/>
                  </a:cubicBezTo>
                  <a:cubicBezTo>
                    <a:pt x="13391" y="1121"/>
                    <a:pt x="13278" y="1097"/>
                    <a:pt x="13234" y="1131"/>
                  </a:cubicBezTo>
                  <a:cubicBezTo>
                    <a:pt x="13188" y="1160"/>
                    <a:pt x="13091" y="1199"/>
                    <a:pt x="13015" y="1203"/>
                  </a:cubicBezTo>
                  <a:cubicBezTo>
                    <a:pt x="12941" y="1212"/>
                    <a:pt x="12839" y="1292"/>
                    <a:pt x="12787" y="1379"/>
                  </a:cubicBezTo>
                  <a:cubicBezTo>
                    <a:pt x="12736" y="1468"/>
                    <a:pt x="12465" y="1382"/>
                    <a:pt x="12188" y="1182"/>
                  </a:cubicBezTo>
                  <a:cubicBezTo>
                    <a:pt x="11908" y="989"/>
                    <a:pt x="11606" y="824"/>
                    <a:pt x="11515" y="824"/>
                  </a:cubicBezTo>
                  <a:cubicBezTo>
                    <a:pt x="11424" y="824"/>
                    <a:pt x="11270" y="910"/>
                    <a:pt x="11179" y="1025"/>
                  </a:cubicBezTo>
                  <a:cubicBezTo>
                    <a:pt x="11083" y="1136"/>
                    <a:pt x="10854" y="1195"/>
                    <a:pt x="10668" y="1147"/>
                  </a:cubicBezTo>
                  <a:cubicBezTo>
                    <a:pt x="10481" y="1106"/>
                    <a:pt x="10296" y="987"/>
                    <a:pt x="10263" y="886"/>
                  </a:cubicBezTo>
                  <a:cubicBezTo>
                    <a:pt x="10228" y="786"/>
                    <a:pt x="10040" y="686"/>
                    <a:pt x="9850" y="669"/>
                  </a:cubicBezTo>
                  <a:cubicBezTo>
                    <a:pt x="9660" y="651"/>
                    <a:pt x="9298" y="734"/>
                    <a:pt x="9044" y="857"/>
                  </a:cubicBezTo>
                  <a:cubicBezTo>
                    <a:pt x="8793" y="986"/>
                    <a:pt x="8444" y="1046"/>
                    <a:pt x="8273" y="997"/>
                  </a:cubicBezTo>
                  <a:cubicBezTo>
                    <a:pt x="8101" y="952"/>
                    <a:pt x="7657" y="850"/>
                    <a:pt x="7284" y="776"/>
                  </a:cubicBezTo>
                  <a:cubicBezTo>
                    <a:pt x="6911" y="698"/>
                    <a:pt x="6494" y="572"/>
                    <a:pt x="6359" y="481"/>
                  </a:cubicBezTo>
                  <a:cubicBezTo>
                    <a:pt x="6223" y="394"/>
                    <a:pt x="6083" y="273"/>
                    <a:pt x="6049" y="215"/>
                  </a:cubicBezTo>
                  <a:cubicBezTo>
                    <a:pt x="6014" y="159"/>
                    <a:pt x="5848" y="160"/>
                    <a:pt x="5681" y="214"/>
                  </a:cubicBezTo>
                  <a:cubicBezTo>
                    <a:pt x="5515" y="273"/>
                    <a:pt x="5268" y="369"/>
                    <a:pt x="5133" y="434"/>
                  </a:cubicBezTo>
                  <a:cubicBezTo>
                    <a:pt x="4997" y="495"/>
                    <a:pt x="4786" y="506"/>
                    <a:pt x="4664" y="441"/>
                  </a:cubicBezTo>
                  <a:cubicBezTo>
                    <a:pt x="4540" y="381"/>
                    <a:pt x="4352" y="334"/>
                    <a:pt x="4245" y="330"/>
                  </a:cubicBezTo>
                  <a:cubicBezTo>
                    <a:pt x="4138" y="330"/>
                    <a:pt x="3974" y="408"/>
                    <a:pt x="3877" y="500"/>
                  </a:cubicBezTo>
                  <a:cubicBezTo>
                    <a:pt x="3785" y="598"/>
                    <a:pt x="3612" y="537"/>
                    <a:pt x="3502" y="371"/>
                  </a:cubicBezTo>
                  <a:cubicBezTo>
                    <a:pt x="3389" y="208"/>
                    <a:pt x="3193" y="45"/>
                    <a:pt x="3062" y="13"/>
                  </a:cubicBezTo>
                  <a:cubicBezTo>
                    <a:pt x="2931" y="-18"/>
                    <a:pt x="2759" y="8"/>
                    <a:pt x="2679" y="73"/>
                  </a:cubicBezTo>
                  <a:cubicBezTo>
                    <a:pt x="2597" y="133"/>
                    <a:pt x="2513" y="157"/>
                    <a:pt x="2484" y="116"/>
                  </a:cubicBezTo>
                  <a:cubicBezTo>
                    <a:pt x="2458" y="74"/>
                    <a:pt x="2276" y="139"/>
                    <a:pt x="2088" y="271"/>
                  </a:cubicBezTo>
                  <a:cubicBezTo>
                    <a:pt x="1895" y="394"/>
                    <a:pt x="1751" y="571"/>
                    <a:pt x="1762" y="656"/>
                  </a:cubicBezTo>
                  <a:cubicBezTo>
                    <a:pt x="1777" y="739"/>
                    <a:pt x="1836" y="850"/>
                    <a:pt x="1899" y="903"/>
                  </a:cubicBezTo>
                  <a:cubicBezTo>
                    <a:pt x="1963" y="954"/>
                    <a:pt x="1950" y="1055"/>
                    <a:pt x="1870" y="1125"/>
                  </a:cubicBezTo>
                  <a:cubicBezTo>
                    <a:pt x="1790" y="1196"/>
                    <a:pt x="1589" y="1275"/>
                    <a:pt x="1421" y="1298"/>
                  </a:cubicBezTo>
                  <a:cubicBezTo>
                    <a:pt x="1255" y="1325"/>
                    <a:pt x="1062" y="1313"/>
                    <a:pt x="996" y="1274"/>
                  </a:cubicBezTo>
                  <a:cubicBezTo>
                    <a:pt x="928" y="1236"/>
                    <a:pt x="712" y="1281"/>
                    <a:pt x="512" y="1362"/>
                  </a:cubicBezTo>
                  <a:cubicBezTo>
                    <a:pt x="312" y="1446"/>
                    <a:pt x="105" y="1629"/>
                    <a:pt x="48" y="1766"/>
                  </a:cubicBezTo>
                  <a:cubicBezTo>
                    <a:pt x="-8" y="1903"/>
                    <a:pt x="-17" y="2124"/>
                    <a:pt x="32" y="2256"/>
                  </a:cubicBezTo>
                  <a:cubicBezTo>
                    <a:pt x="81" y="2387"/>
                    <a:pt x="172" y="2466"/>
                    <a:pt x="241" y="2444"/>
                  </a:cubicBezTo>
                  <a:cubicBezTo>
                    <a:pt x="309" y="2417"/>
                    <a:pt x="363" y="2450"/>
                    <a:pt x="356" y="2520"/>
                  </a:cubicBezTo>
                  <a:cubicBezTo>
                    <a:pt x="350" y="2591"/>
                    <a:pt x="386" y="2665"/>
                    <a:pt x="429" y="2692"/>
                  </a:cubicBezTo>
                  <a:cubicBezTo>
                    <a:pt x="471" y="2716"/>
                    <a:pt x="480" y="2876"/>
                    <a:pt x="456" y="3053"/>
                  </a:cubicBezTo>
                  <a:cubicBezTo>
                    <a:pt x="429" y="3228"/>
                    <a:pt x="436" y="3389"/>
                    <a:pt x="476" y="3406"/>
                  </a:cubicBezTo>
                  <a:cubicBezTo>
                    <a:pt x="516" y="3423"/>
                    <a:pt x="620" y="3365"/>
                    <a:pt x="702" y="3267"/>
                  </a:cubicBezTo>
                  <a:cubicBezTo>
                    <a:pt x="783" y="3170"/>
                    <a:pt x="832" y="3202"/>
                    <a:pt x="810" y="3335"/>
                  </a:cubicBezTo>
                  <a:cubicBezTo>
                    <a:pt x="791" y="3470"/>
                    <a:pt x="799" y="3615"/>
                    <a:pt x="837" y="3663"/>
                  </a:cubicBezTo>
                  <a:cubicBezTo>
                    <a:pt x="878" y="3710"/>
                    <a:pt x="862" y="3813"/>
                    <a:pt x="801" y="3888"/>
                  </a:cubicBezTo>
                  <a:cubicBezTo>
                    <a:pt x="739" y="3962"/>
                    <a:pt x="763" y="4047"/>
                    <a:pt x="851" y="4060"/>
                  </a:cubicBezTo>
                  <a:cubicBezTo>
                    <a:pt x="939" y="4077"/>
                    <a:pt x="909" y="4199"/>
                    <a:pt x="785" y="4328"/>
                  </a:cubicBezTo>
                  <a:cubicBezTo>
                    <a:pt x="663" y="4459"/>
                    <a:pt x="565" y="4591"/>
                    <a:pt x="565" y="4626"/>
                  </a:cubicBezTo>
                  <a:cubicBezTo>
                    <a:pt x="565" y="4662"/>
                    <a:pt x="760" y="4650"/>
                    <a:pt x="994" y="4609"/>
                  </a:cubicBezTo>
                  <a:cubicBezTo>
                    <a:pt x="1228" y="4565"/>
                    <a:pt x="1492" y="4549"/>
                    <a:pt x="1580" y="4580"/>
                  </a:cubicBezTo>
                  <a:cubicBezTo>
                    <a:pt x="1669" y="4611"/>
                    <a:pt x="1727" y="4744"/>
                    <a:pt x="1714" y="4880"/>
                  </a:cubicBezTo>
                  <a:cubicBezTo>
                    <a:pt x="1700" y="5016"/>
                    <a:pt x="1720" y="5205"/>
                    <a:pt x="1769" y="5293"/>
                  </a:cubicBezTo>
                  <a:cubicBezTo>
                    <a:pt x="1817" y="5382"/>
                    <a:pt x="1992" y="5363"/>
                    <a:pt x="2170" y="5259"/>
                  </a:cubicBezTo>
                  <a:cubicBezTo>
                    <a:pt x="2347" y="5154"/>
                    <a:pt x="2725" y="5117"/>
                    <a:pt x="3014" y="5192"/>
                  </a:cubicBezTo>
                  <a:cubicBezTo>
                    <a:pt x="3302" y="5267"/>
                    <a:pt x="3620" y="5225"/>
                    <a:pt x="3719" y="5109"/>
                  </a:cubicBezTo>
                  <a:cubicBezTo>
                    <a:pt x="3818" y="4991"/>
                    <a:pt x="4104" y="4925"/>
                    <a:pt x="4356" y="4960"/>
                  </a:cubicBezTo>
                  <a:cubicBezTo>
                    <a:pt x="4607" y="4991"/>
                    <a:pt x="4827" y="5153"/>
                    <a:pt x="4841" y="5309"/>
                  </a:cubicBezTo>
                  <a:cubicBezTo>
                    <a:pt x="4854" y="5463"/>
                    <a:pt x="4954" y="5741"/>
                    <a:pt x="5063" y="5922"/>
                  </a:cubicBezTo>
                  <a:cubicBezTo>
                    <a:pt x="5172" y="6102"/>
                    <a:pt x="5231" y="6357"/>
                    <a:pt x="5202" y="6485"/>
                  </a:cubicBezTo>
                  <a:cubicBezTo>
                    <a:pt x="5175" y="6614"/>
                    <a:pt x="5085" y="6717"/>
                    <a:pt x="5008" y="6717"/>
                  </a:cubicBezTo>
                  <a:cubicBezTo>
                    <a:pt x="4932" y="6717"/>
                    <a:pt x="4709" y="6904"/>
                    <a:pt x="4510" y="7131"/>
                  </a:cubicBezTo>
                  <a:cubicBezTo>
                    <a:pt x="4311" y="7359"/>
                    <a:pt x="4171" y="7681"/>
                    <a:pt x="4192" y="7847"/>
                  </a:cubicBezTo>
                  <a:cubicBezTo>
                    <a:pt x="4214" y="8012"/>
                    <a:pt x="4220" y="8477"/>
                    <a:pt x="4206" y="8881"/>
                  </a:cubicBezTo>
                  <a:cubicBezTo>
                    <a:pt x="4192" y="9285"/>
                    <a:pt x="4083" y="9726"/>
                    <a:pt x="3971" y="9867"/>
                  </a:cubicBezTo>
                  <a:cubicBezTo>
                    <a:pt x="3857" y="10005"/>
                    <a:pt x="3837" y="10208"/>
                    <a:pt x="3929" y="10319"/>
                  </a:cubicBezTo>
                  <a:cubicBezTo>
                    <a:pt x="4021" y="10430"/>
                    <a:pt x="3984" y="10710"/>
                    <a:pt x="3847" y="10940"/>
                  </a:cubicBezTo>
                  <a:cubicBezTo>
                    <a:pt x="3710" y="11171"/>
                    <a:pt x="3521" y="11343"/>
                    <a:pt x="3430" y="11325"/>
                  </a:cubicBezTo>
                  <a:cubicBezTo>
                    <a:pt x="3337" y="11307"/>
                    <a:pt x="3156" y="11324"/>
                    <a:pt x="3025" y="11360"/>
                  </a:cubicBezTo>
                  <a:cubicBezTo>
                    <a:pt x="2896" y="11395"/>
                    <a:pt x="2903" y="11683"/>
                    <a:pt x="3039" y="11998"/>
                  </a:cubicBezTo>
                  <a:cubicBezTo>
                    <a:pt x="3178" y="12312"/>
                    <a:pt x="3389" y="12649"/>
                    <a:pt x="3513" y="12739"/>
                  </a:cubicBezTo>
                  <a:cubicBezTo>
                    <a:pt x="3636" y="12832"/>
                    <a:pt x="3743" y="13120"/>
                    <a:pt x="3750" y="13380"/>
                  </a:cubicBezTo>
                  <a:cubicBezTo>
                    <a:pt x="3757" y="13641"/>
                    <a:pt x="3624" y="14020"/>
                    <a:pt x="3457" y="14225"/>
                  </a:cubicBezTo>
                  <a:cubicBezTo>
                    <a:pt x="3289" y="14431"/>
                    <a:pt x="3213" y="14751"/>
                    <a:pt x="3290" y="14936"/>
                  </a:cubicBezTo>
                  <a:cubicBezTo>
                    <a:pt x="3365" y="15124"/>
                    <a:pt x="3523" y="15284"/>
                    <a:pt x="3639" y="15293"/>
                  </a:cubicBezTo>
                  <a:cubicBezTo>
                    <a:pt x="3754" y="15301"/>
                    <a:pt x="3832" y="15408"/>
                    <a:pt x="3821" y="15529"/>
                  </a:cubicBezTo>
                  <a:cubicBezTo>
                    <a:pt x="3805" y="15651"/>
                    <a:pt x="3685" y="15856"/>
                    <a:pt x="3555" y="15988"/>
                  </a:cubicBezTo>
                  <a:cubicBezTo>
                    <a:pt x="3425" y="16120"/>
                    <a:pt x="3219" y="16457"/>
                    <a:pt x="3094" y="16737"/>
                  </a:cubicBezTo>
                  <a:cubicBezTo>
                    <a:pt x="2967" y="17015"/>
                    <a:pt x="2935" y="17369"/>
                    <a:pt x="3010" y="17520"/>
                  </a:cubicBezTo>
                  <a:cubicBezTo>
                    <a:pt x="3088" y="17670"/>
                    <a:pt x="3152" y="17917"/>
                    <a:pt x="3159" y="18069"/>
                  </a:cubicBezTo>
                  <a:cubicBezTo>
                    <a:pt x="3166" y="18222"/>
                    <a:pt x="3237" y="18373"/>
                    <a:pt x="3325" y="18398"/>
                  </a:cubicBezTo>
                  <a:cubicBezTo>
                    <a:pt x="3411" y="18429"/>
                    <a:pt x="3611" y="18466"/>
                    <a:pt x="3768" y="18492"/>
                  </a:cubicBezTo>
                  <a:cubicBezTo>
                    <a:pt x="3924" y="18518"/>
                    <a:pt x="4232" y="18740"/>
                    <a:pt x="4447" y="18997"/>
                  </a:cubicBezTo>
                  <a:cubicBezTo>
                    <a:pt x="4664" y="19254"/>
                    <a:pt x="4823" y="19494"/>
                    <a:pt x="4803" y="19537"/>
                  </a:cubicBezTo>
                  <a:cubicBezTo>
                    <a:pt x="4782" y="19581"/>
                    <a:pt x="4842" y="19862"/>
                    <a:pt x="4949" y="20160"/>
                  </a:cubicBezTo>
                  <a:cubicBezTo>
                    <a:pt x="5055" y="20459"/>
                    <a:pt x="5283" y="20880"/>
                    <a:pt x="5459" y="21097"/>
                  </a:cubicBezTo>
                  <a:cubicBezTo>
                    <a:pt x="5639" y="21309"/>
                    <a:pt x="5924" y="21516"/>
                    <a:pt x="6097" y="21551"/>
                  </a:cubicBezTo>
                  <a:cubicBezTo>
                    <a:pt x="6270" y="21582"/>
                    <a:pt x="6541" y="21532"/>
                    <a:pt x="6697" y="21428"/>
                  </a:cubicBezTo>
                  <a:cubicBezTo>
                    <a:pt x="6855" y="21329"/>
                    <a:pt x="6981" y="21153"/>
                    <a:pt x="6988" y="21048"/>
                  </a:cubicBezTo>
                  <a:cubicBezTo>
                    <a:pt x="6995" y="20941"/>
                    <a:pt x="7056" y="20788"/>
                    <a:pt x="7130" y="20707"/>
                  </a:cubicBezTo>
                  <a:cubicBezTo>
                    <a:pt x="7203" y="20624"/>
                    <a:pt x="7426" y="20534"/>
                    <a:pt x="7623" y="20507"/>
                  </a:cubicBezTo>
                  <a:cubicBezTo>
                    <a:pt x="7820" y="20476"/>
                    <a:pt x="8118" y="20288"/>
                    <a:pt x="8284" y="20085"/>
                  </a:cubicBezTo>
                  <a:cubicBezTo>
                    <a:pt x="8447" y="19879"/>
                    <a:pt x="8742" y="19690"/>
                    <a:pt x="8933" y="19664"/>
                  </a:cubicBezTo>
                  <a:cubicBezTo>
                    <a:pt x="9123" y="19634"/>
                    <a:pt x="9352" y="19565"/>
                    <a:pt x="9440" y="19506"/>
                  </a:cubicBezTo>
                  <a:cubicBezTo>
                    <a:pt x="9527" y="19445"/>
                    <a:pt x="9779" y="19460"/>
                    <a:pt x="9997" y="19537"/>
                  </a:cubicBezTo>
                  <a:cubicBezTo>
                    <a:pt x="10213" y="19617"/>
                    <a:pt x="10512" y="19694"/>
                    <a:pt x="10657" y="19711"/>
                  </a:cubicBezTo>
                  <a:cubicBezTo>
                    <a:pt x="10802" y="19729"/>
                    <a:pt x="10950" y="19705"/>
                    <a:pt x="10986" y="19652"/>
                  </a:cubicBezTo>
                  <a:cubicBezTo>
                    <a:pt x="11024" y="19599"/>
                    <a:pt x="11127" y="19554"/>
                    <a:pt x="11220" y="19564"/>
                  </a:cubicBezTo>
                  <a:cubicBezTo>
                    <a:pt x="11312" y="19572"/>
                    <a:pt x="11461" y="19643"/>
                    <a:pt x="11549" y="19728"/>
                  </a:cubicBezTo>
                  <a:cubicBezTo>
                    <a:pt x="11638" y="19813"/>
                    <a:pt x="11779" y="19807"/>
                    <a:pt x="11864" y="19722"/>
                  </a:cubicBezTo>
                  <a:cubicBezTo>
                    <a:pt x="11949" y="19635"/>
                    <a:pt x="12055" y="19466"/>
                    <a:pt x="12111" y="19356"/>
                  </a:cubicBezTo>
                  <a:cubicBezTo>
                    <a:pt x="12164" y="19245"/>
                    <a:pt x="12291" y="19236"/>
                    <a:pt x="12388" y="19350"/>
                  </a:cubicBezTo>
                  <a:cubicBezTo>
                    <a:pt x="12491" y="19456"/>
                    <a:pt x="12667" y="19595"/>
                    <a:pt x="12777" y="19667"/>
                  </a:cubicBezTo>
                  <a:cubicBezTo>
                    <a:pt x="12891" y="19730"/>
                    <a:pt x="13084" y="19585"/>
                    <a:pt x="13207" y="19340"/>
                  </a:cubicBezTo>
                  <a:cubicBezTo>
                    <a:pt x="13331" y="19095"/>
                    <a:pt x="13428" y="18786"/>
                    <a:pt x="13428" y="18653"/>
                  </a:cubicBezTo>
                  <a:cubicBezTo>
                    <a:pt x="13425" y="18521"/>
                    <a:pt x="13689" y="18261"/>
                    <a:pt x="14008" y="18079"/>
                  </a:cubicBezTo>
                  <a:cubicBezTo>
                    <a:pt x="14329" y="17900"/>
                    <a:pt x="14736" y="17736"/>
                    <a:pt x="14916" y="17732"/>
                  </a:cubicBezTo>
                  <a:cubicBezTo>
                    <a:pt x="15096" y="17728"/>
                    <a:pt x="15281" y="17652"/>
                    <a:pt x="15323" y="17568"/>
                  </a:cubicBezTo>
                  <a:cubicBezTo>
                    <a:pt x="15366" y="17484"/>
                    <a:pt x="15367" y="17372"/>
                    <a:pt x="15321" y="17319"/>
                  </a:cubicBezTo>
                  <a:cubicBezTo>
                    <a:pt x="15277" y="17263"/>
                    <a:pt x="15256" y="17064"/>
                    <a:pt x="15274" y="16873"/>
                  </a:cubicBezTo>
                  <a:cubicBezTo>
                    <a:pt x="15294" y="16683"/>
                    <a:pt x="15443" y="16293"/>
                    <a:pt x="15608" y="16006"/>
                  </a:cubicBezTo>
                  <a:cubicBezTo>
                    <a:pt x="15772" y="15720"/>
                    <a:pt x="15906" y="15362"/>
                    <a:pt x="15899" y="15211"/>
                  </a:cubicBezTo>
                  <a:cubicBezTo>
                    <a:pt x="15892" y="15060"/>
                    <a:pt x="16032" y="14888"/>
                    <a:pt x="16208" y="14844"/>
                  </a:cubicBezTo>
                  <a:cubicBezTo>
                    <a:pt x="16383" y="14793"/>
                    <a:pt x="16618" y="14639"/>
                    <a:pt x="16734" y="14506"/>
                  </a:cubicBezTo>
                  <a:cubicBezTo>
                    <a:pt x="16851" y="14374"/>
                    <a:pt x="16834" y="14080"/>
                    <a:pt x="16698" y="13860"/>
                  </a:cubicBezTo>
                  <a:cubicBezTo>
                    <a:pt x="16565" y="13640"/>
                    <a:pt x="16393" y="13408"/>
                    <a:pt x="16309" y="13361"/>
                  </a:cubicBezTo>
                  <a:cubicBezTo>
                    <a:pt x="16228" y="13307"/>
                    <a:pt x="16138" y="13158"/>
                    <a:pt x="16118" y="13031"/>
                  </a:cubicBezTo>
                  <a:cubicBezTo>
                    <a:pt x="16089" y="12905"/>
                    <a:pt x="15998" y="12649"/>
                    <a:pt x="15909" y="12464"/>
                  </a:cubicBezTo>
                  <a:cubicBezTo>
                    <a:pt x="15817" y="12281"/>
                    <a:pt x="15792" y="12050"/>
                    <a:pt x="15852" y="11960"/>
                  </a:cubicBezTo>
                  <a:cubicBezTo>
                    <a:pt x="15911" y="11869"/>
                    <a:pt x="16121" y="11460"/>
                    <a:pt x="16322" y="11054"/>
                  </a:cubicBezTo>
                  <a:cubicBezTo>
                    <a:pt x="16524" y="10650"/>
                    <a:pt x="16771" y="10268"/>
                    <a:pt x="16876" y="10204"/>
                  </a:cubicBezTo>
                  <a:cubicBezTo>
                    <a:pt x="16983" y="10144"/>
                    <a:pt x="17191" y="9839"/>
                    <a:pt x="17339" y="9530"/>
                  </a:cubicBezTo>
                  <a:cubicBezTo>
                    <a:pt x="17485" y="9220"/>
                    <a:pt x="17651" y="8989"/>
                    <a:pt x="17707" y="9013"/>
                  </a:cubicBezTo>
                  <a:cubicBezTo>
                    <a:pt x="17763" y="9039"/>
                    <a:pt x="17797" y="9080"/>
                    <a:pt x="17775" y="9094"/>
                  </a:cubicBezTo>
                  <a:cubicBezTo>
                    <a:pt x="17757" y="9112"/>
                    <a:pt x="17752" y="9141"/>
                    <a:pt x="17764" y="9156"/>
                  </a:cubicBezTo>
                  <a:cubicBezTo>
                    <a:pt x="17778" y="9170"/>
                    <a:pt x="17847" y="9141"/>
                    <a:pt x="17919" y="9085"/>
                  </a:cubicBezTo>
                  <a:cubicBezTo>
                    <a:pt x="17990" y="9030"/>
                    <a:pt x="18069" y="8867"/>
                    <a:pt x="18093" y="8719"/>
                  </a:cubicBezTo>
                  <a:cubicBezTo>
                    <a:pt x="18118" y="8571"/>
                    <a:pt x="18092" y="8401"/>
                    <a:pt x="18035" y="8344"/>
                  </a:cubicBezTo>
                  <a:cubicBezTo>
                    <a:pt x="17978" y="8286"/>
                    <a:pt x="18030" y="8178"/>
                    <a:pt x="18147" y="8103"/>
                  </a:cubicBezTo>
                  <a:cubicBezTo>
                    <a:pt x="18264" y="8032"/>
                    <a:pt x="18466" y="7881"/>
                    <a:pt x="18594" y="7770"/>
                  </a:cubicBezTo>
                  <a:cubicBezTo>
                    <a:pt x="18721" y="7657"/>
                    <a:pt x="18992" y="7587"/>
                    <a:pt x="19194" y="7600"/>
                  </a:cubicBezTo>
                  <a:cubicBezTo>
                    <a:pt x="19397" y="7613"/>
                    <a:pt x="19696" y="7568"/>
                    <a:pt x="19859" y="7488"/>
                  </a:cubicBezTo>
                  <a:cubicBezTo>
                    <a:pt x="20022" y="7408"/>
                    <a:pt x="20260" y="7229"/>
                    <a:pt x="20332" y="7098"/>
                  </a:cubicBezTo>
                  <a:cubicBezTo>
                    <a:pt x="20410" y="6969"/>
                    <a:pt x="20630" y="6746"/>
                    <a:pt x="20827" y="6612"/>
                  </a:cubicBezTo>
                  <a:cubicBezTo>
                    <a:pt x="21023" y="6477"/>
                    <a:pt x="21222" y="6267"/>
                    <a:pt x="21273" y="6149"/>
                  </a:cubicBezTo>
                  <a:cubicBezTo>
                    <a:pt x="21325" y="6032"/>
                    <a:pt x="21371" y="5809"/>
                    <a:pt x="21385" y="5655"/>
                  </a:cubicBezTo>
                  <a:cubicBezTo>
                    <a:pt x="21395" y="5500"/>
                    <a:pt x="21376" y="5210"/>
                    <a:pt x="21348" y="5011"/>
                  </a:cubicBezTo>
                  <a:cubicBezTo>
                    <a:pt x="21315" y="4811"/>
                    <a:pt x="21359" y="4596"/>
                    <a:pt x="21441" y="4531"/>
                  </a:cubicBezTo>
                  <a:cubicBezTo>
                    <a:pt x="21523" y="4468"/>
                    <a:pt x="21583" y="4359"/>
                    <a:pt x="21575" y="4292"/>
                  </a:cubicBezTo>
                  <a:cubicBezTo>
                    <a:pt x="21565" y="4224"/>
                    <a:pt x="21509" y="4144"/>
                    <a:pt x="21443" y="4117"/>
                  </a:cubicBezTo>
                  <a:cubicBezTo>
                    <a:pt x="21374" y="4096"/>
                    <a:pt x="21177" y="3964"/>
                    <a:pt x="21006" y="3829"/>
                  </a:cubicBezTo>
                  <a:cubicBezTo>
                    <a:pt x="20827" y="3706"/>
                    <a:pt x="20489" y="3613"/>
                    <a:pt x="20245" y="3631"/>
                  </a:cubicBezTo>
                  <a:close/>
                  <a:moveTo>
                    <a:pt x="20245" y="36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1" name="AutoShape 670"/>
            <p:cNvSpPr>
              <a:spLocks/>
            </p:cNvSpPr>
            <p:nvPr/>
          </p:nvSpPr>
          <p:spPr bwMode="auto">
            <a:xfrm>
              <a:off x="7518400" y="3467100"/>
              <a:ext cx="23813" cy="12700"/>
            </a:xfrm>
            <a:custGeom>
              <a:avLst/>
              <a:gdLst/>
              <a:ahLst/>
              <a:cxnLst/>
              <a:rect l="0" t="0" r="r" b="b"/>
              <a:pathLst>
                <a:path w="20740" h="20207">
                  <a:moveTo>
                    <a:pt x="6049" y="14075"/>
                  </a:moveTo>
                  <a:cubicBezTo>
                    <a:pt x="9806" y="14653"/>
                    <a:pt x="14428" y="16827"/>
                    <a:pt x="16234" y="18894"/>
                  </a:cubicBezTo>
                  <a:cubicBezTo>
                    <a:pt x="18091" y="20775"/>
                    <a:pt x="20084" y="20629"/>
                    <a:pt x="20616" y="18502"/>
                  </a:cubicBezTo>
                  <a:cubicBezTo>
                    <a:pt x="21201" y="16406"/>
                    <a:pt x="19668" y="11019"/>
                    <a:pt x="17309" y="6443"/>
                  </a:cubicBezTo>
                  <a:cubicBezTo>
                    <a:pt x="14878" y="2026"/>
                    <a:pt x="10265" y="-825"/>
                    <a:pt x="6946" y="215"/>
                  </a:cubicBezTo>
                  <a:cubicBezTo>
                    <a:pt x="3587" y="1095"/>
                    <a:pt x="435" y="4553"/>
                    <a:pt x="50" y="7463"/>
                  </a:cubicBezTo>
                  <a:cubicBezTo>
                    <a:pt x="-399" y="10362"/>
                    <a:pt x="2261" y="13341"/>
                    <a:pt x="6049" y="14075"/>
                  </a:cubicBezTo>
                  <a:close/>
                  <a:moveTo>
                    <a:pt x="6049" y="1407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2" name="AutoShape 671"/>
            <p:cNvSpPr>
              <a:spLocks/>
            </p:cNvSpPr>
            <p:nvPr/>
          </p:nvSpPr>
          <p:spPr bwMode="auto">
            <a:xfrm>
              <a:off x="7467600" y="3479800"/>
              <a:ext cx="28575" cy="20638"/>
            </a:xfrm>
            <a:custGeom>
              <a:avLst/>
              <a:gdLst/>
              <a:ahLst/>
              <a:cxnLst/>
              <a:rect l="0" t="0" r="r" b="b"/>
              <a:pathLst>
                <a:path w="20660" h="20262">
                  <a:moveTo>
                    <a:pt x="2935" y="14454"/>
                  </a:moveTo>
                  <a:cubicBezTo>
                    <a:pt x="4940" y="15203"/>
                    <a:pt x="7810" y="17505"/>
                    <a:pt x="9361" y="19384"/>
                  </a:cubicBezTo>
                  <a:cubicBezTo>
                    <a:pt x="10948" y="21229"/>
                    <a:pt x="12832" y="20064"/>
                    <a:pt x="13678" y="16839"/>
                  </a:cubicBezTo>
                  <a:cubicBezTo>
                    <a:pt x="14507" y="13613"/>
                    <a:pt x="16826" y="8845"/>
                    <a:pt x="18979" y="6421"/>
                  </a:cubicBezTo>
                  <a:cubicBezTo>
                    <a:pt x="21046" y="3840"/>
                    <a:pt x="21264" y="1677"/>
                    <a:pt x="19310" y="1497"/>
                  </a:cubicBezTo>
                  <a:cubicBezTo>
                    <a:pt x="17357" y="1248"/>
                    <a:pt x="13912" y="663"/>
                    <a:pt x="11655" y="146"/>
                  </a:cubicBezTo>
                  <a:cubicBezTo>
                    <a:pt x="9405" y="-371"/>
                    <a:pt x="6048" y="528"/>
                    <a:pt x="4164" y="2129"/>
                  </a:cubicBezTo>
                  <a:cubicBezTo>
                    <a:pt x="2281" y="3689"/>
                    <a:pt x="406" y="6769"/>
                    <a:pt x="74" y="8956"/>
                  </a:cubicBezTo>
                  <a:cubicBezTo>
                    <a:pt x="-336" y="11113"/>
                    <a:pt x="999" y="13475"/>
                    <a:pt x="2935" y="14454"/>
                  </a:cubicBezTo>
                  <a:close/>
                  <a:moveTo>
                    <a:pt x="2935" y="144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3" name="AutoShape 672"/>
            <p:cNvSpPr>
              <a:spLocks/>
            </p:cNvSpPr>
            <p:nvPr/>
          </p:nvSpPr>
          <p:spPr bwMode="auto">
            <a:xfrm>
              <a:off x="7429500" y="3517900"/>
              <a:ext cx="15875" cy="14288"/>
            </a:xfrm>
            <a:custGeom>
              <a:avLst/>
              <a:gdLst/>
              <a:ahLst/>
              <a:cxnLst/>
              <a:rect l="0" t="0" r="r" b="b"/>
              <a:pathLst>
                <a:path w="20741" h="20205">
                  <a:moveTo>
                    <a:pt x="12137" y="17995"/>
                  </a:moveTo>
                  <a:cubicBezTo>
                    <a:pt x="14089" y="15314"/>
                    <a:pt x="17165" y="11551"/>
                    <a:pt x="19071" y="9741"/>
                  </a:cubicBezTo>
                  <a:cubicBezTo>
                    <a:pt x="20930" y="7882"/>
                    <a:pt x="21289" y="4571"/>
                    <a:pt x="19883" y="2301"/>
                  </a:cubicBezTo>
                  <a:cubicBezTo>
                    <a:pt x="18462" y="48"/>
                    <a:pt x="13620" y="-601"/>
                    <a:pt x="9091" y="578"/>
                  </a:cubicBezTo>
                  <a:cubicBezTo>
                    <a:pt x="4609" y="1859"/>
                    <a:pt x="502" y="5463"/>
                    <a:pt x="47" y="8547"/>
                  </a:cubicBezTo>
                  <a:cubicBezTo>
                    <a:pt x="-311" y="11669"/>
                    <a:pt x="1407" y="16057"/>
                    <a:pt x="3875" y="18556"/>
                  </a:cubicBezTo>
                  <a:cubicBezTo>
                    <a:pt x="6405" y="20999"/>
                    <a:pt x="10091" y="20659"/>
                    <a:pt x="12137" y="17995"/>
                  </a:cubicBezTo>
                  <a:close/>
                  <a:moveTo>
                    <a:pt x="12137" y="179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4" name="AutoShape 673"/>
            <p:cNvSpPr>
              <a:spLocks/>
            </p:cNvSpPr>
            <p:nvPr/>
          </p:nvSpPr>
          <p:spPr bwMode="auto">
            <a:xfrm>
              <a:off x="6908800" y="3327400"/>
              <a:ext cx="155575" cy="301625"/>
            </a:xfrm>
            <a:custGeom>
              <a:avLst/>
              <a:gdLst/>
              <a:ahLst/>
              <a:cxnLst/>
              <a:rect l="0" t="0" r="r" b="b"/>
              <a:pathLst>
                <a:path w="21497" h="21525">
                  <a:moveTo>
                    <a:pt x="13836" y="18283"/>
                  </a:moveTo>
                  <a:cubicBezTo>
                    <a:pt x="14286" y="17863"/>
                    <a:pt x="15034" y="17358"/>
                    <a:pt x="15505" y="17160"/>
                  </a:cubicBezTo>
                  <a:cubicBezTo>
                    <a:pt x="15975" y="16960"/>
                    <a:pt x="16412" y="16653"/>
                    <a:pt x="16467" y="16470"/>
                  </a:cubicBezTo>
                  <a:cubicBezTo>
                    <a:pt x="16506" y="16288"/>
                    <a:pt x="16225" y="16128"/>
                    <a:pt x="15809" y="16115"/>
                  </a:cubicBezTo>
                  <a:cubicBezTo>
                    <a:pt x="15390" y="16102"/>
                    <a:pt x="14817" y="15861"/>
                    <a:pt x="14544" y="15579"/>
                  </a:cubicBezTo>
                  <a:cubicBezTo>
                    <a:pt x="14265" y="15301"/>
                    <a:pt x="14542" y="14820"/>
                    <a:pt x="15151" y="14511"/>
                  </a:cubicBezTo>
                  <a:cubicBezTo>
                    <a:pt x="15756" y="14203"/>
                    <a:pt x="16235" y="13634"/>
                    <a:pt x="16209" y="13242"/>
                  </a:cubicBezTo>
                  <a:cubicBezTo>
                    <a:pt x="16184" y="12852"/>
                    <a:pt x="15798" y="12419"/>
                    <a:pt x="15351" y="12280"/>
                  </a:cubicBezTo>
                  <a:cubicBezTo>
                    <a:pt x="14902" y="12144"/>
                    <a:pt x="14140" y="11638"/>
                    <a:pt x="13637" y="11166"/>
                  </a:cubicBezTo>
                  <a:cubicBezTo>
                    <a:pt x="13144" y="10693"/>
                    <a:pt x="13116" y="10260"/>
                    <a:pt x="13586" y="10207"/>
                  </a:cubicBezTo>
                  <a:cubicBezTo>
                    <a:pt x="14060" y="10154"/>
                    <a:pt x="14715" y="10128"/>
                    <a:pt x="15051" y="10155"/>
                  </a:cubicBezTo>
                  <a:cubicBezTo>
                    <a:pt x="15382" y="10182"/>
                    <a:pt x="16066" y="9924"/>
                    <a:pt x="16563" y="9576"/>
                  </a:cubicBezTo>
                  <a:cubicBezTo>
                    <a:pt x="17060" y="9231"/>
                    <a:pt x="17194" y="8811"/>
                    <a:pt x="16860" y="8644"/>
                  </a:cubicBezTo>
                  <a:cubicBezTo>
                    <a:pt x="16527" y="8478"/>
                    <a:pt x="16599" y="8173"/>
                    <a:pt x="17011" y="7965"/>
                  </a:cubicBezTo>
                  <a:cubicBezTo>
                    <a:pt x="17417" y="7754"/>
                    <a:pt x="17813" y="7092"/>
                    <a:pt x="17862" y="6485"/>
                  </a:cubicBezTo>
                  <a:cubicBezTo>
                    <a:pt x="17913" y="5877"/>
                    <a:pt x="17891" y="5179"/>
                    <a:pt x="17813" y="4931"/>
                  </a:cubicBezTo>
                  <a:cubicBezTo>
                    <a:pt x="17737" y="4682"/>
                    <a:pt x="18244" y="4198"/>
                    <a:pt x="18964" y="3856"/>
                  </a:cubicBezTo>
                  <a:cubicBezTo>
                    <a:pt x="19684" y="3515"/>
                    <a:pt x="20491" y="3234"/>
                    <a:pt x="20769" y="3234"/>
                  </a:cubicBezTo>
                  <a:cubicBezTo>
                    <a:pt x="21045" y="3234"/>
                    <a:pt x="21371" y="3079"/>
                    <a:pt x="21470" y="2885"/>
                  </a:cubicBezTo>
                  <a:cubicBezTo>
                    <a:pt x="21576" y="2694"/>
                    <a:pt x="21360" y="2310"/>
                    <a:pt x="20966" y="2039"/>
                  </a:cubicBezTo>
                  <a:cubicBezTo>
                    <a:pt x="20571" y="1768"/>
                    <a:pt x="20210" y="1351"/>
                    <a:pt x="20161" y="1119"/>
                  </a:cubicBezTo>
                  <a:cubicBezTo>
                    <a:pt x="20110" y="885"/>
                    <a:pt x="19315" y="641"/>
                    <a:pt x="18405" y="595"/>
                  </a:cubicBezTo>
                  <a:cubicBezTo>
                    <a:pt x="17494" y="543"/>
                    <a:pt x="16456" y="641"/>
                    <a:pt x="16100" y="820"/>
                  </a:cubicBezTo>
                  <a:cubicBezTo>
                    <a:pt x="15739" y="993"/>
                    <a:pt x="14589" y="1056"/>
                    <a:pt x="13546" y="943"/>
                  </a:cubicBezTo>
                  <a:cubicBezTo>
                    <a:pt x="12498" y="831"/>
                    <a:pt x="11129" y="886"/>
                    <a:pt x="10487" y="1044"/>
                  </a:cubicBezTo>
                  <a:cubicBezTo>
                    <a:pt x="9844" y="1201"/>
                    <a:pt x="9208" y="1229"/>
                    <a:pt x="9034" y="1095"/>
                  </a:cubicBezTo>
                  <a:cubicBezTo>
                    <a:pt x="8856" y="963"/>
                    <a:pt x="8786" y="679"/>
                    <a:pt x="8837" y="475"/>
                  </a:cubicBezTo>
                  <a:cubicBezTo>
                    <a:pt x="8885" y="270"/>
                    <a:pt x="8672" y="71"/>
                    <a:pt x="8353" y="24"/>
                  </a:cubicBezTo>
                  <a:cubicBezTo>
                    <a:pt x="8034" y="-22"/>
                    <a:pt x="7077" y="2"/>
                    <a:pt x="6230" y="69"/>
                  </a:cubicBezTo>
                  <a:cubicBezTo>
                    <a:pt x="5382" y="129"/>
                    <a:pt x="4723" y="351"/>
                    <a:pt x="4749" y="549"/>
                  </a:cubicBezTo>
                  <a:cubicBezTo>
                    <a:pt x="4774" y="746"/>
                    <a:pt x="5030" y="1173"/>
                    <a:pt x="5331" y="1491"/>
                  </a:cubicBezTo>
                  <a:cubicBezTo>
                    <a:pt x="5626" y="1812"/>
                    <a:pt x="5738" y="2564"/>
                    <a:pt x="5610" y="3161"/>
                  </a:cubicBezTo>
                  <a:cubicBezTo>
                    <a:pt x="5481" y="3758"/>
                    <a:pt x="5427" y="4322"/>
                    <a:pt x="5499" y="4417"/>
                  </a:cubicBezTo>
                  <a:cubicBezTo>
                    <a:pt x="5571" y="4510"/>
                    <a:pt x="5510" y="4805"/>
                    <a:pt x="5363" y="5072"/>
                  </a:cubicBezTo>
                  <a:cubicBezTo>
                    <a:pt x="5224" y="5341"/>
                    <a:pt x="5317" y="5689"/>
                    <a:pt x="5595" y="5846"/>
                  </a:cubicBezTo>
                  <a:cubicBezTo>
                    <a:pt x="5866" y="6007"/>
                    <a:pt x="5928" y="6246"/>
                    <a:pt x="5725" y="6384"/>
                  </a:cubicBezTo>
                  <a:cubicBezTo>
                    <a:pt x="5527" y="6522"/>
                    <a:pt x="5156" y="6832"/>
                    <a:pt x="4929" y="7081"/>
                  </a:cubicBezTo>
                  <a:cubicBezTo>
                    <a:pt x="4698" y="7329"/>
                    <a:pt x="4476" y="7785"/>
                    <a:pt x="4451" y="8096"/>
                  </a:cubicBezTo>
                  <a:cubicBezTo>
                    <a:pt x="4424" y="8409"/>
                    <a:pt x="4057" y="8927"/>
                    <a:pt x="3599" y="9233"/>
                  </a:cubicBezTo>
                  <a:cubicBezTo>
                    <a:pt x="3167" y="9548"/>
                    <a:pt x="2801" y="9950"/>
                    <a:pt x="2801" y="10131"/>
                  </a:cubicBezTo>
                  <a:cubicBezTo>
                    <a:pt x="2790" y="10313"/>
                    <a:pt x="2373" y="10758"/>
                    <a:pt x="1871" y="11126"/>
                  </a:cubicBezTo>
                  <a:cubicBezTo>
                    <a:pt x="1359" y="11490"/>
                    <a:pt x="711" y="12248"/>
                    <a:pt x="458" y="12812"/>
                  </a:cubicBezTo>
                  <a:cubicBezTo>
                    <a:pt x="181" y="13375"/>
                    <a:pt x="-24" y="13951"/>
                    <a:pt x="2" y="14089"/>
                  </a:cubicBezTo>
                  <a:cubicBezTo>
                    <a:pt x="28" y="14228"/>
                    <a:pt x="349" y="14347"/>
                    <a:pt x="739" y="14341"/>
                  </a:cubicBezTo>
                  <a:cubicBezTo>
                    <a:pt x="1131" y="14341"/>
                    <a:pt x="1608" y="14225"/>
                    <a:pt x="1797" y="14086"/>
                  </a:cubicBezTo>
                  <a:cubicBezTo>
                    <a:pt x="1997" y="13951"/>
                    <a:pt x="2463" y="13728"/>
                    <a:pt x="2859" y="13605"/>
                  </a:cubicBezTo>
                  <a:cubicBezTo>
                    <a:pt x="3247" y="13475"/>
                    <a:pt x="3521" y="13478"/>
                    <a:pt x="3467" y="13604"/>
                  </a:cubicBezTo>
                  <a:cubicBezTo>
                    <a:pt x="3419" y="13730"/>
                    <a:pt x="3440" y="13916"/>
                    <a:pt x="3542" y="14016"/>
                  </a:cubicBezTo>
                  <a:cubicBezTo>
                    <a:pt x="3648" y="14119"/>
                    <a:pt x="3264" y="14320"/>
                    <a:pt x="2697" y="14457"/>
                  </a:cubicBezTo>
                  <a:cubicBezTo>
                    <a:pt x="2129" y="14602"/>
                    <a:pt x="1632" y="14880"/>
                    <a:pt x="1606" y="15085"/>
                  </a:cubicBezTo>
                  <a:cubicBezTo>
                    <a:pt x="1567" y="15289"/>
                    <a:pt x="1696" y="15535"/>
                    <a:pt x="1868" y="15631"/>
                  </a:cubicBezTo>
                  <a:cubicBezTo>
                    <a:pt x="2041" y="15726"/>
                    <a:pt x="2430" y="15692"/>
                    <a:pt x="2716" y="15549"/>
                  </a:cubicBezTo>
                  <a:cubicBezTo>
                    <a:pt x="3021" y="15417"/>
                    <a:pt x="3651" y="15302"/>
                    <a:pt x="4145" y="15308"/>
                  </a:cubicBezTo>
                  <a:cubicBezTo>
                    <a:pt x="4639" y="15328"/>
                    <a:pt x="4883" y="15431"/>
                    <a:pt x="4673" y="15560"/>
                  </a:cubicBezTo>
                  <a:cubicBezTo>
                    <a:pt x="4476" y="15695"/>
                    <a:pt x="4407" y="16011"/>
                    <a:pt x="4536" y="16268"/>
                  </a:cubicBezTo>
                  <a:cubicBezTo>
                    <a:pt x="4667" y="16525"/>
                    <a:pt x="4622" y="16922"/>
                    <a:pt x="4428" y="17150"/>
                  </a:cubicBezTo>
                  <a:cubicBezTo>
                    <a:pt x="4229" y="17377"/>
                    <a:pt x="4116" y="17985"/>
                    <a:pt x="4129" y="18501"/>
                  </a:cubicBezTo>
                  <a:cubicBezTo>
                    <a:pt x="4153" y="19017"/>
                    <a:pt x="4043" y="19745"/>
                    <a:pt x="3827" y="20111"/>
                  </a:cubicBezTo>
                  <a:cubicBezTo>
                    <a:pt x="3635" y="20480"/>
                    <a:pt x="3353" y="20871"/>
                    <a:pt x="3212" y="20984"/>
                  </a:cubicBezTo>
                  <a:cubicBezTo>
                    <a:pt x="3064" y="21093"/>
                    <a:pt x="3070" y="21233"/>
                    <a:pt x="3211" y="21294"/>
                  </a:cubicBezTo>
                  <a:cubicBezTo>
                    <a:pt x="3358" y="21352"/>
                    <a:pt x="3943" y="21235"/>
                    <a:pt x="4513" y="21036"/>
                  </a:cubicBezTo>
                  <a:cubicBezTo>
                    <a:pt x="5082" y="20832"/>
                    <a:pt x="6211" y="20802"/>
                    <a:pt x="7012" y="20967"/>
                  </a:cubicBezTo>
                  <a:cubicBezTo>
                    <a:pt x="7811" y="21131"/>
                    <a:pt x="8766" y="21355"/>
                    <a:pt x="9132" y="21463"/>
                  </a:cubicBezTo>
                  <a:cubicBezTo>
                    <a:pt x="9490" y="21578"/>
                    <a:pt x="10259" y="21528"/>
                    <a:pt x="10831" y="21366"/>
                  </a:cubicBezTo>
                  <a:cubicBezTo>
                    <a:pt x="11399" y="21202"/>
                    <a:pt x="12287" y="21056"/>
                    <a:pt x="12798" y="21030"/>
                  </a:cubicBezTo>
                  <a:cubicBezTo>
                    <a:pt x="13309" y="21009"/>
                    <a:pt x="13786" y="20919"/>
                    <a:pt x="13886" y="20842"/>
                  </a:cubicBezTo>
                  <a:cubicBezTo>
                    <a:pt x="13971" y="20760"/>
                    <a:pt x="14055" y="20698"/>
                    <a:pt x="14071" y="20698"/>
                  </a:cubicBezTo>
                  <a:cubicBezTo>
                    <a:pt x="14086" y="20698"/>
                    <a:pt x="14094" y="20514"/>
                    <a:pt x="14069" y="20285"/>
                  </a:cubicBezTo>
                  <a:cubicBezTo>
                    <a:pt x="14043" y="20056"/>
                    <a:pt x="13813" y="19685"/>
                    <a:pt x="13532" y="19460"/>
                  </a:cubicBezTo>
                  <a:cubicBezTo>
                    <a:pt x="13257" y="19233"/>
                    <a:pt x="13376" y="18702"/>
                    <a:pt x="13836" y="18283"/>
                  </a:cubicBezTo>
                  <a:close/>
                  <a:moveTo>
                    <a:pt x="13836" y="182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5" name="AutoShape 674"/>
            <p:cNvSpPr>
              <a:spLocks/>
            </p:cNvSpPr>
            <p:nvPr/>
          </p:nvSpPr>
          <p:spPr bwMode="auto">
            <a:xfrm>
              <a:off x="8458200" y="3454400"/>
              <a:ext cx="11113" cy="9525"/>
            </a:xfrm>
            <a:custGeom>
              <a:avLst/>
              <a:gdLst/>
              <a:ahLst/>
              <a:cxnLst/>
              <a:rect l="0" t="0" r="r" b="b"/>
              <a:pathLst>
                <a:path w="20283" h="20781">
                  <a:moveTo>
                    <a:pt x="2820" y="18454"/>
                  </a:moveTo>
                  <a:cubicBezTo>
                    <a:pt x="5202" y="18657"/>
                    <a:pt x="8062" y="19550"/>
                    <a:pt x="9362" y="20328"/>
                  </a:cubicBezTo>
                  <a:cubicBezTo>
                    <a:pt x="10509" y="21234"/>
                    <a:pt x="13587" y="20696"/>
                    <a:pt x="16295" y="19448"/>
                  </a:cubicBezTo>
                  <a:cubicBezTo>
                    <a:pt x="18808" y="17803"/>
                    <a:pt x="20996" y="14385"/>
                    <a:pt x="20064" y="11633"/>
                  </a:cubicBezTo>
                  <a:cubicBezTo>
                    <a:pt x="19393" y="8815"/>
                    <a:pt x="16663" y="4632"/>
                    <a:pt x="13673" y="2655"/>
                  </a:cubicBezTo>
                  <a:cubicBezTo>
                    <a:pt x="10617" y="655"/>
                    <a:pt x="6804" y="-366"/>
                    <a:pt x="5136" y="119"/>
                  </a:cubicBezTo>
                  <a:cubicBezTo>
                    <a:pt x="3534" y="845"/>
                    <a:pt x="1303" y="5130"/>
                    <a:pt x="348" y="9834"/>
                  </a:cubicBezTo>
                  <a:cubicBezTo>
                    <a:pt x="-604" y="14513"/>
                    <a:pt x="458" y="18223"/>
                    <a:pt x="2820" y="18454"/>
                  </a:cubicBezTo>
                  <a:close/>
                  <a:moveTo>
                    <a:pt x="2820" y="184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6" name="AutoShape 675"/>
            <p:cNvSpPr>
              <a:spLocks/>
            </p:cNvSpPr>
            <p:nvPr/>
          </p:nvSpPr>
          <p:spPr bwMode="auto">
            <a:xfrm>
              <a:off x="8432800" y="3543300"/>
              <a:ext cx="6350" cy="9525"/>
            </a:xfrm>
            <a:custGeom>
              <a:avLst/>
              <a:gdLst/>
              <a:ahLst/>
              <a:cxnLst/>
              <a:rect l="0" t="0" r="r" b="b"/>
              <a:pathLst>
                <a:path w="19807" h="20039">
                  <a:moveTo>
                    <a:pt x="19152" y="19577"/>
                  </a:moveTo>
                  <a:cubicBezTo>
                    <a:pt x="20233" y="17815"/>
                    <a:pt x="19946" y="13313"/>
                    <a:pt x="18519" y="9892"/>
                  </a:cubicBezTo>
                  <a:cubicBezTo>
                    <a:pt x="17634" y="6328"/>
                    <a:pt x="13484" y="2645"/>
                    <a:pt x="10161" y="1466"/>
                  </a:cubicBezTo>
                  <a:cubicBezTo>
                    <a:pt x="6898" y="144"/>
                    <a:pt x="2467" y="-246"/>
                    <a:pt x="505" y="144"/>
                  </a:cubicBezTo>
                  <a:cubicBezTo>
                    <a:pt x="-1367" y="662"/>
                    <a:pt x="2213" y="5497"/>
                    <a:pt x="7216" y="11878"/>
                  </a:cubicBezTo>
                  <a:cubicBezTo>
                    <a:pt x="13043" y="17841"/>
                    <a:pt x="18173" y="21354"/>
                    <a:pt x="19152" y="19577"/>
                  </a:cubicBezTo>
                  <a:close/>
                  <a:moveTo>
                    <a:pt x="19152" y="195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7" name="AutoShape 676"/>
            <p:cNvSpPr>
              <a:spLocks/>
            </p:cNvSpPr>
            <p:nvPr/>
          </p:nvSpPr>
          <p:spPr bwMode="auto">
            <a:xfrm>
              <a:off x="8420100" y="3543300"/>
              <a:ext cx="3175" cy="3175"/>
            </a:xfrm>
            <a:custGeom>
              <a:avLst/>
              <a:gdLst/>
              <a:ahLst/>
              <a:cxnLst/>
              <a:rect l="0" t="0" r="r" b="b"/>
              <a:pathLst>
                <a:path w="19376" h="19456">
                  <a:moveTo>
                    <a:pt x="17041" y="15416"/>
                  </a:moveTo>
                  <a:cubicBezTo>
                    <a:pt x="20069" y="10367"/>
                    <a:pt x="20259" y="3728"/>
                    <a:pt x="16979" y="1681"/>
                  </a:cubicBezTo>
                  <a:cubicBezTo>
                    <a:pt x="14133" y="-700"/>
                    <a:pt x="8316" y="-548"/>
                    <a:pt x="3613" y="2117"/>
                  </a:cubicBezTo>
                  <a:cubicBezTo>
                    <a:pt x="-1086" y="4500"/>
                    <a:pt x="-1341" y="11417"/>
                    <a:pt x="3671" y="15924"/>
                  </a:cubicBezTo>
                  <a:cubicBezTo>
                    <a:pt x="8007" y="20900"/>
                    <a:pt x="14195" y="20517"/>
                    <a:pt x="17041" y="15416"/>
                  </a:cubicBezTo>
                  <a:close/>
                  <a:moveTo>
                    <a:pt x="17041" y="154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8" name="AutoShape 677"/>
            <p:cNvSpPr>
              <a:spLocks/>
            </p:cNvSpPr>
            <p:nvPr/>
          </p:nvSpPr>
          <p:spPr bwMode="auto">
            <a:xfrm>
              <a:off x="8470900" y="3556000"/>
              <a:ext cx="11113" cy="14288"/>
            </a:xfrm>
            <a:custGeom>
              <a:avLst/>
              <a:gdLst/>
              <a:ahLst/>
              <a:cxnLst/>
              <a:rect l="0" t="0" r="r" b="b"/>
              <a:pathLst>
                <a:path w="20401" h="20925">
                  <a:moveTo>
                    <a:pt x="2496" y="6663"/>
                  </a:moveTo>
                  <a:cubicBezTo>
                    <a:pt x="5053" y="9836"/>
                    <a:pt x="7879" y="12791"/>
                    <a:pt x="9079" y="13106"/>
                  </a:cubicBezTo>
                  <a:cubicBezTo>
                    <a:pt x="10208" y="13438"/>
                    <a:pt x="12315" y="15443"/>
                    <a:pt x="13602" y="17630"/>
                  </a:cubicBezTo>
                  <a:cubicBezTo>
                    <a:pt x="14914" y="19790"/>
                    <a:pt x="17312" y="21357"/>
                    <a:pt x="18669" y="20819"/>
                  </a:cubicBezTo>
                  <a:cubicBezTo>
                    <a:pt x="20071" y="20408"/>
                    <a:pt x="20816" y="17469"/>
                    <a:pt x="20160" y="14342"/>
                  </a:cubicBezTo>
                  <a:cubicBezTo>
                    <a:pt x="19459" y="11206"/>
                    <a:pt x="17042" y="8089"/>
                    <a:pt x="14845" y="7201"/>
                  </a:cubicBezTo>
                  <a:cubicBezTo>
                    <a:pt x="12494" y="6511"/>
                    <a:pt x="8785" y="4459"/>
                    <a:pt x="7066" y="2533"/>
                  </a:cubicBezTo>
                  <a:cubicBezTo>
                    <a:pt x="5121" y="733"/>
                    <a:pt x="2271" y="-243"/>
                    <a:pt x="754" y="53"/>
                  </a:cubicBezTo>
                  <a:cubicBezTo>
                    <a:pt x="-784" y="419"/>
                    <a:pt x="146" y="3341"/>
                    <a:pt x="2496" y="6663"/>
                  </a:cubicBezTo>
                  <a:close/>
                  <a:moveTo>
                    <a:pt x="2496" y="66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79" name="AutoShape 678"/>
            <p:cNvSpPr>
              <a:spLocks/>
            </p:cNvSpPr>
            <p:nvPr/>
          </p:nvSpPr>
          <p:spPr bwMode="auto">
            <a:xfrm>
              <a:off x="8470900" y="3657600"/>
              <a:ext cx="3175" cy="6350"/>
            </a:xfrm>
            <a:custGeom>
              <a:avLst/>
              <a:gdLst/>
              <a:ahLst/>
              <a:cxnLst/>
              <a:rect l="0" t="0" r="r" b="b"/>
              <a:pathLst>
                <a:path w="20786" h="18938">
                  <a:moveTo>
                    <a:pt x="9721" y="301"/>
                  </a:moveTo>
                  <a:cubicBezTo>
                    <a:pt x="4245" y="-1270"/>
                    <a:pt x="0" y="3505"/>
                    <a:pt x="0" y="9992"/>
                  </a:cubicBezTo>
                  <a:cubicBezTo>
                    <a:pt x="918" y="16480"/>
                    <a:pt x="5489" y="20330"/>
                    <a:pt x="10965" y="18469"/>
                  </a:cubicBezTo>
                  <a:cubicBezTo>
                    <a:pt x="16058" y="16442"/>
                    <a:pt x="21600" y="12257"/>
                    <a:pt x="20687" y="8792"/>
                  </a:cubicBezTo>
                  <a:cubicBezTo>
                    <a:pt x="20687" y="5256"/>
                    <a:pt x="15663" y="1422"/>
                    <a:pt x="9721" y="301"/>
                  </a:cubicBezTo>
                  <a:close/>
                  <a:moveTo>
                    <a:pt x="9721" y="3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0" name="AutoShape 679"/>
            <p:cNvSpPr>
              <a:spLocks/>
            </p:cNvSpPr>
            <p:nvPr/>
          </p:nvSpPr>
          <p:spPr bwMode="auto">
            <a:xfrm>
              <a:off x="8483600" y="3670300"/>
              <a:ext cx="1588" cy="3175"/>
            </a:xfrm>
            <a:custGeom>
              <a:avLst/>
              <a:gdLst/>
              <a:ahLst/>
              <a:cxnLst/>
              <a:rect l="0" t="0" r="r" b="b"/>
              <a:pathLst>
                <a:path w="19544" h="17559">
                  <a:moveTo>
                    <a:pt x="19544" y="8951"/>
                  </a:moveTo>
                  <a:cubicBezTo>
                    <a:pt x="19544" y="945"/>
                    <a:pt x="13040" y="-1864"/>
                    <a:pt x="4801" y="1228"/>
                  </a:cubicBezTo>
                  <a:cubicBezTo>
                    <a:pt x="-2056" y="5391"/>
                    <a:pt x="-1444" y="10887"/>
                    <a:pt x="5841" y="15751"/>
                  </a:cubicBezTo>
                  <a:cubicBezTo>
                    <a:pt x="14248" y="19736"/>
                    <a:pt x="19544" y="16987"/>
                    <a:pt x="19544" y="8951"/>
                  </a:cubicBezTo>
                  <a:close/>
                  <a:moveTo>
                    <a:pt x="19544" y="89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1" name="AutoShape 680"/>
            <p:cNvSpPr>
              <a:spLocks/>
            </p:cNvSpPr>
            <p:nvPr/>
          </p:nvSpPr>
          <p:spPr bwMode="auto">
            <a:xfrm>
              <a:off x="8483600" y="3695700"/>
              <a:ext cx="7938" cy="6350"/>
            </a:xfrm>
            <a:custGeom>
              <a:avLst/>
              <a:gdLst/>
              <a:ahLst/>
              <a:cxnLst/>
              <a:rect l="0" t="0" r="r" b="b"/>
              <a:pathLst>
                <a:path w="20358" h="20914">
                  <a:moveTo>
                    <a:pt x="2151" y="9379"/>
                  </a:moveTo>
                  <a:cubicBezTo>
                    <a:pt x="-835" y="14779"/>
                    <a:pt x="-586" y="19984"/>
                    <a:pt x="2120" y="20671"/>
                  </a:cubicBezTo>
                  <a:cubicBezTo>
                    <a:pt x="4796" y="21339"/>
                    <a:pt x="9683" y="20571"/>
                    <a:pt x="12984" y="19078"/>
                  </a:cubicBezTo>
                  <a:cubicBezTo>
                    <a:pt x="16252" y="17607"/>
                    <a:pt x="19394" y="12854"/>
                    <a:pt x="20300" y="8574"/>
                  </a:cubicBezTo>
                  <a:cubicBezTo>
                    <a:pt x="20765" y="4215"/>
                    <a:pt x="18400" y="306"/>
                    <a:pt x="14416" y="13"/>
                  </a:cubicBezTo>
                  <a:cubicBezTo>
                    <a:pt x="10307" y="-261"/>
                    <a:pt x="4921" y="3861"/>
                    <a:pt x="2151" y="9379"/>
                  </a:cubicBezTo>
                  <a:close/>
                  <a:moveTo>
                    <a:pt x="2151" y="937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2" name="AutoShape 681"/>
            <p:cNvSpPr>
              <a:spLocks/>
            </p:cNvSpPr>
            <p:nvPr/>
          </p:nvSpPr>
          <p:spPr bwMode="auto">
            <a:xfrm>
              <a:off x="8559800" y="3632200"/>
              <a:ext cx="22225" cy="11113"/>
            </a:xfrm>
            <a:custGeom>
              <a:avLst/>
              <a:gdLst/>
              <a:ahLst/>
              <a:cxnLst/>
              <a:rect l="0" t="0" r="r" b="b"/>
              <a:pathLst>
                <a:path w="21040" h="21050">
                  <a:moveTo>
                    <a:pt x="1431" y="13953"/>
                  </a:moveTo>
                  <a:cubicBezTo>
                    <a:pt x="2570" y="13506"/>
                    <a:pt x="4486" y="13142"/>
                    <a:pt x="5694" y="12954"/>
                  </a:cubicBezTo>
                  <a:cubicBezTo>
                    <a:pt x="6879" y="12799"/>
                    <a:pt x="8748" y="14513"/>
                    <a:pt x="9649" y="16791"/>
                  </a:cubicBezTo>
                  <a:cubicBezTo>
                    <a:pt x="10664" y="18817"/>
                    <a:pt x="12283" y="21031"/>
                    <a:pt x="13365" y="21031"/>
                  </a:cubicBezTo>
                  <a:cubicBezTo>
                    <a:pt x="14471" y="21176"/>
                    <a:pt x="15828" y="20480"/>
                    <a:pt x="16225" y="19181"/>
                  </a:cubicBezTo>
                  <a:cubicBezTo>
                    <a:pt x="16853" y="18183"/>
                    <a:pt x="18083" y="16020"/>
                    <a:pt x="19291" y="15064"/>
                  </a:cubicBezTo>
                  <a:cubicBezTo>
                    <a:pt x="20454" y="13838"/>
                    <a:pt x="21298" y="11728"/>
                    <a:pt x="20967" y="10095"/>
                  </a:cubicBezTo>
                  <a:cubicBezTo>
                    <a:pt x="20671" y="8432"/>
                    <a:pt x="19942" y="6842"/>
                    <a:pt x="19337" y="6478"/>
                  </a:cubicBezTo>
                  <a:cubicBezTo>
                    <a:pt x="18768" y="6208"/>
                    <a:pt x="17980" y="6603"/>
                    <a:pt x="17616" y="7423"/>
                  </a:cubicBezTo>
                  <a:cubicBezTo>
                    <a:pt x="17411" y="8370"/>
                    <a:pt x="15975" y="6925"/>
                    <a:pt x="14493" y="4834"/>
                  </a:cubicBezTo>
                  <a:cubicBezTo>
                    <a:pt x="13125" y="2601"/>
                    <a:pt x="10961" y="406"/>
                    <a:pt x="9671" y="74"/>
                  </a:cubicBezTo>
                  <a:cubicBezTo>
                    <a:pt x="8406" y="-424"/>
                    <a:pt x="5899" y="1634"/>
                    <a:pt x="4144" y="4357"/>
                  </a:cubicBezTo>
                  <a:cubicBezTo>
                    <a:pt x="2458" y="7268"/>
                    <a:pt x="599" y="10604"/>
                    <a:pt x="155" y="12102"/>
                  </a:cubicBezTo>
                  <a:cubicBezTo>
                    <a:pt x="-302" y="13610"/>
                    <a:pt x="291" y="14472"/>
                    <a:pt x="1431" y="13953"/>
                  </a:cubicBezTo>
                  <a:close/>
                  <a:moveTo>
                    <a:pt x="1431" y="139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3" name="AutoShape 682"/>
            <p:cNvSpPr>
              <a:spLocks/>
            </p:cNvSpPr>
            <p:nvPr/>
          </p:nvSpPr>
          <p:spPr bwMode="auto">
            <a:xfrm>
              <a:off x="8483600" y="3492500"/>
              <a:ext cx="19050" cy="14288"/>
            </a:xfrm>
            <a:custGeom>
              <a:avLst/>
              <a:gdLst/>
              <a:ahLst/>
              <a:cxnLst/>
              <a:rect l="0" t="0" r="r" b="b"/>
              <a:pathLst>
                <a:path w="20939" h="20345">
                  <a:moveTo>
                    <a:pt x="4359" y="16421"/>
                  </a:moveTo>
                  <a:cubicBezTo>
                    <a:pt x="5612" y="17781"/>
                    <a:pt x="7506" y="18730"/>
                    <a:pt x="8583" y="18607"/>
                  </a:cubicBezTo>
                  <a:cubicBezTo>
                    <a:pt x="9619" y="18398"/>
                    <a:pt x="11840" y="19013"/>
                    <a:pt x="13379" y="20057"/>
                  </a:cubicBezTo>
                  <a:cubicBezTo>
                    <a:pt x="14933" y="21110"/>
                    <a:pt x="16391" y="19166"/>
                    <a:pt x="16596" y="15977"/>
                  </a:cubicBezTo>
                  <a:cubicBezTo>
                    <a:pt x="16800" y="12793"/>
                    <a:pt x="18013" y="8256"/>
                    <a:pt x="19676" y="6281"/>
                  </a:cubicBezTo>
                  <a:cubicBezTo>
                    <a:pt x="21242" y="4174"/>
                    <a:pt x="21379" y="1533"/>
                    <a:pt x="19935" y="570"/>
                  </a:cubicBezTo>
                  <a:cubicBezTo>
                    <a:pt x="18557" y="-490"/>
                    <a:pt x="16404" y="4"/>
                    <a:pt x="15097" y="1421"/>
                  </a:cubicBezTo>
                  <a:cubicBezTo>
                    <a:pt x="13788" y="2871"/>
                    <a:pt x="12126" y="3000"/>
                    <a:pt x="11008" y="2230"/>
                  </a:cubicBezTo>
                  <a:cubicBezTo>
                    <a:pt x="9932" y="1373"/>
                    <a:pt x="7534" y="295"/>
                    <a:pt x="5381" y="165"/>
                  </a:cubicBezTo>
                  <a:cubicBezTo>
                    <a:pt x="3268" y="35"/>
                    <a:pt x="1020" y="991"/>
                    <a:pt x="393" y="2230"/>
                  </a:cubicBezTo>
                  <a:cubicBezTo>
                    <a:pt x="-221" y="3446"/>
                    <a:pt x="-112" y="6605"/>
                    <a:pt x="693" y="9197"/>
                  </a:cubicBezTo>
                  <a:cubicBezTo>
                    <a:pt x="1469" y="11771"/>
                    <a:pt x="3268" y="14858"/>
                    <a:pt x="4359" y="16421"/>
                  </a:cubicBezTo>
                  <a:close/>
                  <a:moveTo>
                    <a:pt x="4359" y="164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4" name="AutoShape 683"/>
            <p:cNvSpPr>
              <a:spLocks/>
            </p:cNvSpPr>
            <p:nvPr/>
          </p:nvSpPr>
          <p:spPr bwMode="auto">
            <a:xfrm>
              <a:off x="8509000" y="3644900"/>
              <a:ext cx="6350" cy="6350"/>
            </a:xfrm>
            <a:custGeom>
              <a:avLst/>
              <a:gdLst/>
              <a:ahLst/>
              <a:cxnLst/>
              <a:rect l="0" t="0" r="r" b="b"/>
              <a:pathLst>
                <a:path w="20028" h="19517">
                  <a:moveTo>
                    <a:pt x="19833" y="15790"/>
                  </a:moveTo>
                  <a:cubicBezTo>
                    <a:pt x="18864" y="12571"/>
                    <a:pt x="16458" y="7042"/>
                    <a:pt x="13313" y="4187"/>
                  </a:cubicBezTo>
                  <a:cubicBezTo>
                    <a:pt x="10539" y="833"/>
                    <a:pt x="5287" y="-736"/>
                    <a:pt x="2246" y="331"/>
                  </a:cubicBezTo>
                  <a:cubicBezTo>
                    <a:pt x="-699" y="1569"/>
                    <a:pt x="-730" y="4823"/>
                    <a:pt x="2046" y="8430"/>
                  </a:cubicBezTo>
                  <a:cubicBezTo>
                    <a:pt x="5089" y="11733"/>
                    <a:pt x="10303" y="16376"/>
                    <a:pt x="14149" y="18277"/>
                  </a:cubicBezTo>
                  <a:cubicBezTo>
                    <a:pt x="17593" y="20864"/>
                    <a:pt x="20870" y="19097"/>
                    <a:pt x="19833" y="15790"/>
                  </a:cubicBezTo>
                  <a:close/>
                  <a:moveTo>
                    <a:pt x="19833" y="1579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5" name="AutoShape 684"/>
            <p:cNvSpPr>
              <a:spLocks/>
            </p:cNvSpPr>
            <p:nvPr/>
          </p:nvSpPr>
          <p:spPr bwMode="auto">
            <a:xfrm>
              <a:off x="8509000" y="3670300"/>
              <a:ext cx="6350" cy="9525"/>
            </a:xfrm>
            <a:custGeom>
              <a:avLst/>
              <a:gdLst/>
              <a:ahLst/>
              <a:cxnLst/>
              <a:rect l="0" t="0" r="r" b="b"/>
              <a:pathLst>
                <a:path w="19369" h="20329">
                  <a:moveTo>
                    <a:pt x="15878" y="16858"/>
                  </a:moveTo>
                  <a:cubicBezTo>
                    <a:pt x="19150" y="13384"/>
                    <a:pt x="20425" y="8053"/>
                    <a:pt x="18387" y="5374"/>
                  </a:cubicBezTo>
                  <a:cubicBezTo>
                    <a:pt x="16389" y="2645"/>
                    <a:pt x="12389" y="212"/>
                    <a:pt x="8935" y="6"/>
                  </a:cubicBezTo>
                  <a:cubicBezTo>
                    <a:pt x="5408" y="-173"/>
                    <a:pt x="2136" y="3368"/>
                    <a:pt x="534" y="7552"/>
                  </a:cubicBezTo>
                  <a:cubicBezTo>
                    <a:pt x="-1175" y="11759"/>
                    <a:pt x="1518" y="16858"/>
                    <a:pt x="4388" y="19315"/>
                  </a:cubicBezTo>
                  <a:cubicBezTo>
                    <a:pt x="7626" y="21427"/>
                    <a:pt x="12137" y="20064"/>
                    <a:pt x="15878" y="16858"/>
                  </a:cubicBezTo>
                  <a:close/>
                  <a:moveTo>
                    <a:pt x="15878" y="168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6" name="AutoShape 685"/>
            <p:cNvSpPr>
              <a:spLocks/>
            </p:cNvSpPr>
            <p:nvPr/>
          </p:nvSpPr>
          <p:spPr bwMode="auto">
            <a:xfrm>
              <a:off x="8597900" y="3746500"/>
              <a:ext cx="7938" cy="19050"/>
            </a:xfrm>
            <a:custGeom>
              <a:avLst/>
              <a:gdLst/>
              <a:ahLst/>
              <a:cxnLst/>
              <a:rect l="0" t="0" r="r" b="b"/>
              <a:pathLst>
                <a:path w="20049" h="20836">
                  <a:moveTo>
                    <a:pt x="6691" y="16276"/>
                  </a:moveTo>
                  <a:cubicBezTo>
                    <a:pt x="7544" y="19151"/>
                    <a:pt x="10347" y="21114"/>
                    <a:pt x="12235" y="20804"/>
                  </a:cubicBezTo>
                  <a:cubicBezTo>
                    <a:pt x="13852" y="20341"/>
                    <a:pt x="16986" y="18027"/>
                    <a:pt x="18814" y="15443"/>
                  </a:cubicBezTo>
                  <a:cubicBezTo>
                    <a:pt x="20979" y="12885"/>
                    <a:pt x="20278" y="9079"/>
                    <a:pt x="16864" y="7499"/>
                  </a:cubicBezTo>
                  <a:cubicBezTo>
                    <a:pt x="13941" y="5701"/>
                    <a:pt x="10712" y="2879"/>
                    <a:pt x="9798" y="1187"/>
                  </a:cubicBezTo>
                  <a:cubicBezTo>
                    <a:pt x="8854" y="-486"/>
                    <a:pt x="5714" y="-374"/>
                    <a:pt x="2698" y="1418"/>
                  </a:cubicBezTo>
                  <a:cubicBezTo>
                    <a:pt x="-255" y="3229"/>
                    <a:pt x="-621" y="6038"/>
                    <a:pt x="811" y="7882"/>
                  </a:cubicBezTo>
                  <a:cubicBezTo>
                    <a:pt x="2850" y="9640"/>
                    <a:pt x="5777" y="13387"/>
                    <a:pt x="6691" y="16276"/>
                  </a:cubicBezTo>
                  <a:close/>
                  <a:moveTo>
                    <a:pt x="6691" y="162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7" name="AutoShape 686"/>
            <p:cNvSpPr>
              <a:spLocks/>
            </p:cNvSpPr>
            <p:nvPr/>
          </p:nvSpPr>
          <p:spPr bwMode="auto">
            <a:xfrm>
              <a:off x="8509000" y="3467100"/>
              <a:ext cx="11113" cy="6350"/>
            </a:xfrm>
            <a:custGeom>
              <a:avLst/>
              <a:gdLst/>
              <a:ahLst/>
              <a:cxnLst/>
              <a:rect l="0" t="0" r="r" b="b"/>
              <a:pathLst>
                <a:path w="21038" h="20507">
                  <a:moveTo>
                    <a:pt x="6180" y="16237"/>
                  </a:moveTo>
                  <a:cubicBezTo>
                    <a:pt x="10144" y="19723"/>
                    <a:pt x="15251" y="21347"/>
                    <a:pt x="17434" y="20079"/>
                  </a:cubicBezTo>
                  <a:cubicBezTo>
                    <a:pt x="19618" y="18696"/>
                    <a:pt x="21038" y="14873"/>
                    <a:pt x="21038" y="11332"/>
                  </a:cubicBezTo>
                  <a:cubicBezTo>
                    <a:pt x="20743" y="7860"/>
                    <a:pt x="18559" y="3926"/>
                    <a:pt x="15975" y="2153"/>
                  </a:cubicBezTo>
                  <a:cubicBezTo>
                    <a:pt x="13324" y="1000"/>
                    <a:pt x="9084" y="-253"/>
                    <a:pt x="6287" y="44"/>
                  </a:cubicBezTo>
                  <a:cubicBezTo>
                    <a:pt x="3530" y="44"/>
                    <a:pt x="434" y="2695"/>
                    <a:pt x="96" y="5381"/>
                  </a:cubicBezTo>
                  <a:cubicBezTo>
                    <a:pt x="-562" y="7974"/>
                    <a:pt x="2216" y="12749"/>
                    <a:pt x="6180" y="16237"/>
                  </a:cubicBezTo>
                  <a:close/>
                  <a:moveTo>
                    <a:pt x="6180" y="162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8" name="AutoShape 687"/>
            <p:cNvSpPr>
              <a:spLocks/>
            </p:cNvSpPr>
            <p:nvPr/>
          </p:nvSpPr>
          <p:spPr bwMode="auto">
            <a:xfrm>
              <a:off x="8521700" y="3657600"/>
              <a:ext cx="1588" cy="1588"/>
            </a:xfrm>
            <a:custGeom>
              <a:avLst/>
              <a:gdLst/>
              <a:ahLst/>
              <a:cxnLst/>
              <a:rect l="0" t="0" r="r" b="b"/>
              <a:pathLst>
                <a:path w="19547" h="17287">
                  <a:moveTo>
                    <a:pt x="13829" y="1022"/>
                  </a:moveTo>
                  <a:cubicBezTo>
                    <a:pt x="6159" y="-2057"/>
                    <a:pt x="0" y="2109"/>
                    <a:pt x="0" y="9677"/>
                  </a:cubicBezTo>
                  <a:cubicBezTo>
                    <a:pt x="0" y="17234"/>
                    <a:pt x="6332" y="19543"/>
                    <a:pt x="14013" y="14879"/>
                  </a:cubicBezTo>
                  <a:cubicBezTo>
                    <a:pt x="21243" y="9714"/>
                    <a:pt x="21600" y="4195"/>
                    <a:pt x="13829" y="1022"/>
                  </a:cubicBezTo>
                  <a:close/>
                  <a:moveTo>
                    <a:pt x="13829" y="10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89" name="AutoShape 688"/>
            <p:cNvSpPr>
              <a:spLocks/>
            </p:cNvSpPr>
            <p:nvPr/>
          </p:nvSpPr>
          <p:spPr bwMode="auto">
            <a:xfrm>
              <a:off x="8521700" y="3670300"/>
              <a:ext cx="7938" cy="9525"/>
            </a:xfrm>
            <a:custGeom>
              <a:avLst/>
              <a:gdLst/>
              <a:ahLst/>
              <a:cxnLst/>
              <a:rect l="0" t="0" r="r" b="b"/>
              <a:pathLst>
                <a:path w="19861" h="21075">
                  <a:moveTo>
                    <a:pt x="8778" y="21067"/>
                  </a:moveTo>
                  <a:cubicBezTo>
                    <a:pt x="11137" y="21226"/>
                    <a:pt x="14592" y="18886"/>
                    <a:pt x="17032" y="16244"/>
                  </a:cubicBezTo>
                  <a:cubicBezTo>
                    <a:pt x="19004" y="13282"/>
                    <a:pt x="20409" y="8776"/>
                    <a:pt x="19653" y="6083"/>
                  </a:cubicBezTo>
                  <a:cubicBezTo>
                    <a:pt x="18874" y="3366"/>
                    <a:pt x="16487" y="502"/>
                    <a:pt x="14151" y="62"/>
                  </a:cubicBezTo>
                  <a:cubicBezTo>
                    <a:pt x="11840" y="-374"/>
                    <a:pt x="7193" y="1515"/>
                    <a:pt x="3687" y="4427"/>
                  </a:cubicBezTo>
                  <a:cubicBezTo>
                    <a:pt x="597" y="7703"/>
                    <a:pt x="-1191" y="12466"/>
                    <a:pt x="912" y="15293"/>
                  </a:cubicBezTo>
                  <a:cubicBezTo>
                    <a:pt x="3037" y="18132"/>
                    <a:pt x="6336" y="21067"/>
                    <a:pt x="8778" y="21067"/>
                  </a:cubicBezTo>
                  <a:close/>
                  <a:moveTo>
                    <a:pt x="8778" y="2106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0" name="AutoShape 689"/>
            <p:cNvSpPr>
              <a:spLocks/>
            </p:cNvSpPr>
            <p:nvPr/>
          </p:nvSpPr>
          <p:spPr bwMode="auto">
            <a:xfrm>
              <a:off x="8534400" y="3581400"/>
              <a:ext cx="14288" cy="23813"/>
            </a:xfrm>
            <a:custGeom>
              <a:avLst/>
              <a:gdLst/>
              <a:ahLst/>
              <a:cxnLst/>
              <a:rect l="0" t="0" r="r" b="b"/>
              <a:pathLst>
                <a:path w="21459" h="21094">
                  <a:moveTo>
                    <a:pt x="4280" y="16834"/>
                  </a:moveTo>
                  <a:cubicBezTo>
                    <a:pt x="4280" y="17696"/>
                    <a:pt x="6138" y="19222"/>
                    <a:pt x="8194" y="20146"/>
                  </a:cubicBezTo>
                  <a:cubicBezTo>
                    <a:pt x="10308" y="21044"/>
                    <a:pt x="13841" y="21420"/>
                    <a:pt x="16154" y="20760"/>
                  </a:cubicBezTo>
                  <a:cubicBezTo>
                    <a:pt x="18504" y="20104"/>
                    <a:pt x="21034" y="18206"/>
                    <a:pt x="21344" y="16468"/>
                  </a:cubicBezTo>
                  <a:cubicBezTo>
                    <a:pt x="21600" y="14714"/>
                    <a:pt x="21490" y="11087"/>
                    <a:pt x="20380" y="8431"/>
                  </a:cubicBezTo>
                  <a:cubicBezTo>
                    <a:pt x="19050" y="5794"/>
                    <a:pt x="17683" y="3173"/>
                    <a:pt x="16900" y="2585"/>
                  </a:cubicBezTo>
                  <a:cubicBezTo>
                    <a:pt x="15971" y="2053"/>
                    <a:pt x="13441" y="1130"/>
                    <a:pt x="11201" y="496"/>
                  </a:cubicBezTo>
                  <a:cubicBezTo>
                    <a:pt x="8961" y="-134"/>
                    <a:pt x="5464" y="-180"/>
                    <a:pt x="3515" y="450"/>
                  </a:cubicBezTo>
                  <a:cubicBezTo>
                    <a:pt x="1712" y="1218"/>
                    <a:pt x="0" y="2100"/>
                    <a:pt x="0" y="2807"/>
                  </a:cubicBezTo>
                  <a:cubicBezTo>
                    <a:pt x="0" y="3513"/>
                    <a:pt x="2040" y="5056"/>
                    <a:pt x="4517" y="6144"/>
                  </a:cubicBezTo>
                  <a:cubicBezTo>
                    <a:pt x="6994" y="7239"/>
                    <a:pt x="9325" y="9503"/>
                    <a:pt x="9325" y="11117"/>
                  </a:cubicBezTo>
                  <a:cubicBezTo>
                    <a:pt x="9597" y="12712"/>
                    <a:pt x="8341" y="14224"/>
                    <a:pt x="6830" y="14646"/>
                  </a:cubicBezTo>
                  <a:cubicBezTo>
                    <a:pt x="5354" y="15065"/>
                    <a:pt x="4280" y="15967"/>
                    <a:pt x="4280" y="16834"/>
                  </a:cubicBezTo>
                  <a:close/>
                  <a:moveTo>
                    <a:pt x="4280" y="168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1" name="AutoShape 690"/>
            <p:cNvSpPr>
              <a:spLocks/>
            </p:cNvSpPr>
            <p:nvPr/>
          </p:nvSpPr>
          <p:spPr bwMode="auto">
            <a:xfrm>
              <a:off x="8521700" y="3543300"/>
              <a:ext cx="28575" cy="23813"/>
            </a:xfrm>
            <a:custGeom>
              <a:avLst/>
              <a:gdLst/>
              <a:ahLst/>
              <a:cxnLst/>
              <a:rect l="0" t="0" r="r" b="b"/>
              <a:pathLst>
                <a:path w="21122" h="21419">
                  <a:moveTo>
                    <a:pt x="295" y="8815"/>
                  </a:moveTo>
                  <a:cubicBezTo>
                    <a:pt x="-356" y="10497"/>
                    <a:pt x="84" y="13135"/>
                    <a:pt x="1466" y="14530"/>
                  </a:cubicBezTo>
                  <a:cubicBezTo>
                    <a:pt x="2830" y="15980"/>
                    <a:pt x="4344" y="17256"/>
                    <a:pt x="4855" y="17467"/>
                  </a:cubicBezTo>
                  <a:cubicBezTo>
                    <a:pt x="5383" y="17625"/>
                    <a:pt x="6466" y="17522"/>
                    <a:pt x="7267" y="17343"/>
                  </a:cubicBezTo>
                  <a:cubicBezTo>
                    <a:pt x="8050" y="17098"/>
                    <a:pt x="8930" y="15925"/>
                    <a:pt x="8930" y="14573"/>
                  </a:cubicBezTo>
                  <a:cubicBezTo>
                    <a:pt x="9186" y="13260"/>
                    <a:pt x="9423" y="11072"/>
                    <a:pt x="9802" y="9818"/>
                  </a:cubicBezTo>
                  <a:cubicBezTo>
                    <a:pt x="10189" y="8564"/>
                    <a:pt x="11421" y="7419"/>
                    <a:pt x="12679" y="7576"/>
                  </a:cubicBezTo>
                  <a:cubicBezTo>
                    <a:pt x="13912" y="7728"/>
                    <a:pt x="14942" y="8826"/>
                    <a:pt x="14801" y="10193"/>
                  </a:cubicBezTo>
                  <a:cubicBezTo>
                    <a:pt x="14537" y="11534"/>
                    <a:pt x="14062" y="13206"/>
                    <a:pt x="13481" y="14015"/>
                  </a:cubicBezTo>
                  <a:cubicBezTo>
                    <a:pt x="12723" y="14633"/>
                    <a:pt x="11861" y="16040"/>
                    <a:pt x="11474" y="16919"/>
                  </a:cubicBezTo>
                  <a:cubicBezTo>
                    <a:pt x="11052" y="17782"/>
                    <a:pt x="11721" y="19117"/>
                    <a:pt x="12900" y="20002"/>
                  </a:cubicBezTo>
                  <a:cubicBezTo>
                    <a:pt x="14088" y="20822"/>
                    <a:pt x="16482" y="21490"/>
                    <a:pt x="18190" y="21414"/>
                  </a:cubicBezTo>
                  <a:cubicBezTo>
                    <a:pt x="19862" y="21495"/>
                    <a:pt x="21244" y="19394"/>
                    <a:pt x="21113" y="17038"/>
                  </a:cubicBezTo>
                  <a:cubicBezTo>
                    <a:pt x="20972" y="14677"/>
                    <a:pt x="20603" y="11387"/>
                    <a:pt x="20329" y="9715"/>
                  </a:cubicBezTo>
                  <a:cubicBezTo>
                    <a:pt x="20065" y="8039"/>
                    <a:pt x="19361" y="6621"/>
                    <a:pt x="18947" y="6497"/>
                  </a:cubicBezTo>
                  <a:cubicBezTo>
                    <a:pt x="18542" y="6372"/>
                    <a:pt x="18349" y="5254"/>
                    <a:pt x="18718" y="4048"/>
                  </a:cubicBezTo>
                  <a:cubicBezTo>
                    <a:pt x="18974" y="2800"/>
                    <a:pt x="18920" y="1334"/>
                    <a:pt x="18674" y="720"/>
                  </a:cubicBezTo>
                  <a:cubicBezTo>
                    <a:pt x="18392" y="113"/>
                    <a:pt x="16676" y="-105"/>
                    <a:pt x="14898" y="47"/>
                  </a:cubicBezTo>
                  <a:cubicBezTo>
                    <a:pt x="13137" y="384"/>
                    <a:pt x="10946" y="1062"/>
                    <a:pt x="10049" y="1779"/>
                  </a:cubicBezTo>
                  <a:cubicBezTo>
                    <a:pt x="9115" y="2435"/>
                    <a:pt x="6879" y="3723"/>
                    <a:pt x="4986" y="4428"/>
                  </a:cubicBezTo>
                  <a:cubicBezTo>
                    <a:pt x="3086" y="5052"/>
                    <a:pt x="814" y="7061"/>
                    <a:pt x="295" y="8815"/>
                  </a:cubicBezTo>
                  <a:close/>
                  <a:moveTo>
                    <a:pt x="295" y="881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2" name="AutoShape 691"/>
            <p:cNvSpPr>
              <a:spLocks/>
            </p:cNvSpPr>
            <p:nvPr/>
          </p:nvSpPr>
          <p:spPr bwMode="auto">
            <a:xfrm>
              <a:off x="8547100" y="3644900"/>
              <a:ext cx="7938" cy="7938"/>
            </a:xfrm>
            <a:custGeom>
              <a:avLst/>
              <a:gdLst/>
              <a:ahLst/>
              <a:cxnLst/>
              <a:rect l="0" t="0" r="r" b="b"/>
              <a:pathLst>
                <a:path w="20886" h="19803">
                  <a:moveTo>
                    <a:pt x="11743" y="208"/>
                  </a:moveTo>
                  <a:cubicBezTo>
                    <a:pt x="6038" y="1091"/>
                    <a:pt x="529" y="4419"/>
                    <a:pt x="105" y="7667"/>
                  </a:cubicBezTo>
                  <a:cubicBezTo>
                    <a:pt x="-349" y="10895"/>
                    <a:pt x="701" y="15505"/>
                    <a:pt x="2490" y="18210"/>
                  </a:cubicBezTo>
                  <a:cubicBezTo>
                    <a:pt x="4024" y="20999"/>
                    <a:pt x="9160" y="20002"/>
                    <a:pt x="12764" y="16190"/>
                  </a:cubicBezTo>
                  <a:cubicBezTo>
                    <a:pt x="16058" y="12149"/>
                    <a:pt x="20430" y="7110"/>
                    <a:pt x="20857" y="4065"/>
                  </a:cubicBezTo>
                  <a:cubicBezTo>
                    <a:pt x="21251" y="1007"/>
                    <a:pt x="17476" y="-601"/>
                    <a:pt x="11743" y="208"/>
                  </a:cubicBezTo>
                  <a:close/>
                  <a:moveTo>
                    <a:pt x="11743" y="2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3" name="AutoShape 692"/>
            <p:cNvSpPr>
              <a:spLocks/>
            </p:cNvSpPr>
            <p:nvPr/>
          </p:nvSpPr>
          <p:spPr bwMode="auto">
            <a:xfrm>
              <a:off x="8483600" y="3619500"/>
              <a:ext cx="15875" cy="17463"/>
            </a:xfrm>
            <a:custGeom>
              <a:avLst/>
              <a:gdLst/>
              <a:ahLst/>
              <a:cxnLst/>
              <a:rect l="0" t="0" r="r" b="b"/>
              <a:pathLst>
                <a:path w="21124" h="21505">
                  <a:moveTo>
                    <a:pt x="8910" y="3425"/>
                  </a:moveTo>
                  <a:cubicBezTo>
                    <a:pt x="7562" y="1528"/>
                    <a:pt x="5402" y="-95"/>
                    <a:pt x="4102" y="5"/>
                  </a:cubicBezTo>
                  <a:cubicBezTo>
                    <a:pt x="2723" y="105"/>
                    <a:pt x="979" y="1097"/>
                    <a:pt x="321" y="2418"/>
                  </a:cubicBezTo>
                  <a:cubicBezTo>
                    <a:pt x="-476" y="3634"/>
                    <a:pt x="305" y="5681"/>
                    <a:pt x="1653" y="6955"/>
                  </a:cubicBezTo>
                  <a:cubicBezTo>
                    <a:pt x="2954" y="8283"/>
                    <a:pt x="7194" y="11776"/>
                    <a:pt x="10424" y="15239"/>
                  </a:cubicBezTo>
                  <a:cubicBezTo>
                    <a:pt x="13883" y="18501"/>
                    <a:pt x="17603" y="21390"/>
                    <a:pt x="18875" y="21505"/>
                  </a:cubicBezTo>
                  <a:cubicBezTo>
                    <a:pt x="20144" y="21505"/>
                    <a:pt x="21124" y="20385"/>
                    <a:pt x="21124" y="18746"/>
                  </a:cubicBezTo>
                  <a:cubicBezTo>
                    <a:pt x="20895" y="17115"/>
                    <a:pt x="18843" y="13766"/>
                    <a:pt x="16164" y="11344"/>
                  </a:cubicBezTo>
                  <a:cubicBezTo>
                    <a:pt x="13379" y="9031"/>
                    <a:pt x="10042" y="5445"/>
                    <a:pt x="8910" y="3425"/>
                  </a:cubicBezTo>
                  <a:close/>
                  <a:moveTo>
                    <a:pt x="8910" y="34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4" name="AutoShape 693"/>
            <p:cNvSpPr>
              <a:spLocks/>
            </p:cNvSpPr>
            <p:nvPr/>
          </p:nvSpPr>
          <p:spPr bwMode="auto">
            <a:xfrm>
              <a:off x="8407400" y="3556000"/>
              <a:ext cx="77788" cy="65088"/>
            </a:xfrm>
            <a:custGeom>
              <a:avLst/>
              <a:gdLst/>
              <a:ahLst/>
              <a:cxnLst/>
              <a:rect l="0" t="0" r="r" b="b"/>
              <a:pathLst>
                <a:path w="21315" h="21320">
                  <a:moveTo>
                    <a:pt x="16264" y="17473"/>
                  </a:moveTo>
                  <a:cubicBezTo>
                    <a:pt x="16214" y="17926"/>
                    <a:pt x="16347" y="18657"/>
                    <a:pt x="16541" y="19091"/>
                  </a:cubicBezTo>
                  <a:cubicBezTo>
                    <a:pt x="16741" y="19532"/>
                    <a:pt x="17305" y="20277"/>
                    <a:pt x="17829" y="20686"/>
                  </a:cubicBezTo>
                  <a:cubicBezTo>
                    <a:pt x="18353" y="21101"/>
                    <a:pt x="18987" y="21374"/>
                    <a:pt x="19237" y="21164"/>
                  </a:cubicBezTo>
                  <a:cubicBezTo>
                    <a:pt x="19504" y="20973"/>
                    <a:pt x="19972" y="21058"/>
                    <a:pt x="20309" y="21260"/>
                  </a:cubicBezTo>
                  <a:cubicBezTo>
                    <a:pt x="20619" y="21505"/>
                    <a:pt x="21003" y="20973"/>
                    <a:pt x="21257" y="20160"/>
                  </a:cubicBezTo>
                  <a:cubicBezTo>
                    <a:pt x="21450" y="19317"/>
                    <a:pt x="21150" y="18524"/>
                    <a:pt x="20549" y="18434"/>
                  </a:cubicBezTo>
                  <a:cubicBezTo>
                    <a:pt x="19962" y="18352"/>
                    <a:pt x="19327" y="18362"/>
                    <a:pt x="19151" y="18539"/>
                  </a:cubicBezTo>
                  <a:cubicBezTo>
                    <a:pt x="18967" y="18701"/>
                    <a:pt x="18393" y="18432"/>
                    <a:pt x="17969" y="17798"/>
                  </a:cubicBezTo>
                  <a:cubicBezTo>
                    <a:pt x="17485" y="17250"/>
                    <a:pt x="17138" y="16247"/>
                    <a:pt x="17191" y="15627"/>
                  </a:cubicBezTo>
                  <a:cubicBezTo>
                    <a:pt x="17292" y="15015"/>
                    <a:pt x="17175" y="14138"/>
                    <a:pt x="17038" y="13722"/>
                  </a:cubicBezTo>
                  <a:cubicBezTo>
                    <a:pt x="16938" y="13286"/>
                    <a:pt x="16784" y="12652"/>
                    <a:pt x="16784" y="12303"/>
                  </a:cubicBezTo>
                  <a:cubicBezTo>
                    <a:pt x="16784" y="11950"/>
                    <a:pt x="16487" y="11133"/>
                    <a:pt x="16190" y="10475"/>
                  </a:cubicBezTo>
                  <a:cubicBezTo>
                    <a:pt x="15937" y="9789"/>
                    <a:pt x="14942" y="8442"/>
                    <a:pt x="14121" y="7367"/>
                  </a:cubicBezTo>
                  <a:cubicBezTo>
                    <a:pt x="13267" y="6347"/>
                    <a:pt x="12559" y="5570"/>
                    <a:pt x="12489" y="5697"/>
                  </a:cubicBezTo>
                  <a:cubicBezTo>
                    <a:pt x="12412" y="5827"/>
                    <a:pt x="12012" y="5889"/>
                    <a:pt x="11578" y="5833"/>
                  </a:cubicBezTo>
                  <a:cubicBezTo>
                    <a:pt x="11144" y="5745"/>
                    <a:pt x="10747" y="5563"/>
                    <a:pt x="10647" y="5414"/>
                  </a:cubicBezTo>
                  <a:cubicBezTo>
                    <a:pt x="10557" y="5253"/>
                    <a:pt x="10036" y="4755"/>
                    <a:pt x="9445" y="4342"/>
                  </a:cubicBezTo>
                  <a:cubicBezTo>
                    <a:pt x="8861" y="3933"/>
                    <a:pt x="7910" y="3325"/>
                    <a:pt x="7316" y="3022"/>
                  </a:cubicBezTo>
                  <a:cubicBezTo>
                    <a:pt x="6719" y="2749"/>
                    <a:pt x="5811" y="1858"/>
                    <a:pt x="5277" y="1137"/>
                  </a:cubicBezTo>
                  <a:cubicBezTo>
                    <a:pt x="4743" y="408"/>
                    <a:pt x="3621" y="-95"/>
                    <a:pt x="2784" y="15"/>
                  </a:cubicBezTo>
                  <a:cubicBezTo>
                    <a:pt x="1939" y="104"/>
                    <a:pt x="865" y="581"/>
                    <a:pt x="434" y="1095"/>
                  </a:cubicBezTo>
                  <a:cubicBezTo>
                    <a:pt x="20" y="1621"/>
                    <a:pt x="-150" y="2086"/>
                    <a:pt x="157" y="2160"/>
                  </a:cubicBezTo>
                  <a:cubicBezTo>
                    <a:pt x="461" y="2233"/>
                    <a:pt x="1169" y="2371"/>
                    <a:pt x="1742" y="2343"/>
                  </a:cubicBezTo>
                  <a:cubicBezTo>
                    <a:pt x="2317" y="2343"/>
                    <a:pt x="3031" y="2682"/>
                    <a:pt x="3385" y="2998"/>
                  </a:cubicBezTo>
                  <a:cubicBezTo>
                    <a:pt x="3721" y="3343"/>
                    <a:pt x="4062" y="3899"/>
                    <a:pt x="4249" y="4151"/>
                  </a:cubicBezTo>
                  <a:cubicBezTo>
                    <a:pt x="4389" y="4434"/>
                    <a:pt x="4776" y="4793"/>
                    <a:pt x="5067" y="5000"/>
                  </a:cubicBezTo>
                  <a:cubicBezTo>
                    <a:pt x="5384" y="5163"/>
                    <a:pt x="5857" y="5727"/>
                    <a:pt x="6151" y="6195"/>
                  </a:cubicBezTo>
                  <a:cubicBezTo>
                    <a:pt x="6452" y="6648"/>
                    <a:pt x="6995" y="7216"/>
                    <a:pt x="7423" y="7328"/>
                  </a:cubicBezTo>
                  <a:cubicBezTo>
                    <a:pt x="7837" y="7465"/>
                    <a:pt x="8391" y="8049"/>
                    <a:pt x="8694" y="8563"/>
                  </a:cubicBezTo>
                  <a:cubicBezTo>
                    <a:pt x="8998" y="9076"/>
                    <a:pt x="9716" y="9887"/>
                    <a:pt x="10330" y="10345"/>
                  </a:cubicBezTo>
                  <a:cubicBezTo>
                    <a:pt x="10974" y="10760"/>
                    <a:pt x="11811" y="11159"/>
                    <a:pt x="12239" y="11131"/>
                  </a:cubicBezTo>
                  <a:cubicBezTo>
                    <a:pt x="12666" y="11103"/>
                    <a:pt x="13157" y="11398"/>
                    <a:pt x="13354" y="11751"/>
                  </a:cubicBezTo>
                  <a:cubicBezTo>
                    <a:pt x="13564" y="12093"/>
                    <a:pt x="14064" y="13082"/>
                    <a:pt x="14515" y="13915"/>
                  </a:cubicBezTo>
                  <a:cubicBezTo>
                    <a:pt x="14992" y="14718"/>
                    <a:pt x="15569" y="15697"/>
                    <a:pt x="15833" y="16042"/>
                  </a:cubicBezTo>
                  <a:cubicBezTo>
                    <a:pt x="16123" y="16359"/>
                    <a:pt x="16371" y="17036"/>
                    <a:pt x="16264" y="17473"/>
                  </a:cubicBezTo>
                  <a:close/>
                  <a:moveTo>
                    <a:pt x="16264" y="174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5" name="AutoShape 694"/>
            <p:cNvSpPr>
              <a:spLocks/>
            </p:cNvSpPr>
            <p:nvPr/>
          </p:nvSpPr>
          <p:spPr bwMode="auto">
            <a:xfrm>
              <a:off x="8610600" y="3733800"/>
              <a:ext cx="1588" cy="3175"/>
            </a:xfrm>
            <a:custGeom>
              <a:avLst/>
              <a:gdLst/>
              <a:ahLst/>
              <a:cxnLst/>
              <a:rect l="0" t="0" r="r" b="b"/>
              <a:pathLst>
                <a:path w="19163" h="19393">
                  <a:moveTo>
                    <a:pt x="14687" y="18224"/>
                  </a:moveTo>
                  <a:cubicBezTo>
                    <a:pt x="16785" y="16015"/>
                    <a:pt x="19163" y="10028"/>
                    <a:pt x="19163" y="4473"/>
                  </a:cubicBezTo>
                  <a:cubicBezTo>
                    <a:pt x="19163" y="-1055"/>
                    <a:pt x="12704" y="-1542"/>
                    <a:pt x="6779" y="3474"/>
                  </a:cubicBezTo>
                  <a:cubicBezTo>
                    <a:pt x="854" y="8570"/>
                    <a:pt x="-2437" y="14884"/>
                    <a:pt x="2171" y="17230"/>
                  </a:cubicBezTo>
                  <a:cubicBezTo>
                    <a:pt x="6261" y="19738"/>
                    <a:pt x="11124" y="20058"/>
                    <a:pt x="14687" y="18224"/>
                  </a:cubicBezTo>
                  <a:close/>
                  <a:moveTo>
                    <a:pt x="14687" y="182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6" name="AutoShape 695"/>
            <p:cNvSpPr>
              <a:spLocks/>
            </p:cNvSpPr>
            <p:nvPr/>
          </p:nvSpPr>
          <p:spPr bwMode="auto">
            <a:xfrm>
              <a:off x="8255000" y="3505200"/>
              <a:ext cx="23813" cy="23813"/>
            </a:xfrm>
            <a:custGeom>
              <a:avLst/>
              <a:gdLst/>
              <a:ahLst/>
              <a:cxnLst/>
              <a:rect l="0" t="0" r="r" b="b"/>
              <a:pathLst>
                <a:path w="21271" h="21158">
                  <a:moveTo>
                    <a:pt x="2596" y="6791"/>
                  </a:moveTo>
                  <a:cubicBezTo>
                    <a:pt x="3815" y="7304"/>
                    <a:pt x="4807" y="8375"/>
                    <a:pt x="5123" y="8991"/>
                  </a:cubicBezTo>
                  <a:cubicBezTo>
                    <a:pt x="5472" y="9595"/>
                    <a:pt x="7062" y="12144"/>
                    <a:pt x="9275" y="14237"/>
                  </a:cubicBezTo>
                  <a:cubicBezTo>
                    <a:pt x="11400" y="16410"/>
                    <a:pt x="14593" y="19017"/>
                    <a:pt x="16413" y="19992"/>
                  </a:cubicBezTo>
                  <a:cubicBezTo>
                    <a:pt x="18244" y="20976"/>
                    <a:pt x="20206" y="21405"/>
                    <a:pt x="20685" y="21014"/>
                  </a:cubicBezTo>
                  <a:cubicBezTo>
                    <a:pt x="21187" y="20612"/>
                    <a:pt x="21459" y="19648"/>
                    <a:pt x="21121" y="18894"/>
                  </a:cubicBezTo>
                  <a:cubicBezTo>
                    <a:pt x="20772" y="18134"/>
                    <a:pt x="19367" y="17064"/>
                    <a:pt x="17949" y="16367"/>
                  </a:cubicBezTo>
                  <a:cubicBezTo>
                    <a:pt x="16479" y="15719"/>
                    <a:pt x="13993" y="14151"/>
                    <a:pt x="12861" y="12546"/>
                  </a:cubicBezTo>
                  <a:cubicBezTo>
                    <a:pt x="11530" y="11078"/>
                    <a:pt x="10398" y="8033"/>
                    <a:pt x="10398" y="5838"/>
                  </a:cubicBezTo>
                  <a:cubicBezTo>
                    <a:pt x="10234" y="3643"/>
                    <a:pt x="9504" y="1239"/>
                    <a:pt x="8457" y="548"/>
                  </a:cubicBezTo>
                  <a:cubicBezTo>
                    <a:pt x="7423" y="-126"/>
                    <a:pt x="5015" y="-195"/>
                    <a:pt x="3096" y="431"/>
                  </a:cubicBezTo>
                  <a:cubicBezTo>
                    <a:pt x="1189" y="1009"/>
                    <a:pt x="-141" y="2540"/>
                    <a:pt x="12" y="3701"/>
                  </a:cubicBezTo>
                  <a:cubicBezTo>
                    <a:pt x="328" y="4847"/>
                    <a:pt x="1386" y="6288"/>
                    <a:pt x="2596" y="6791"/>
                  </a:cubicBezTo>
                  <a:close/>
                  <a:moveTo>
                    <a:pt x="2596" y="67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7" name="AutoShape 696"/>
            <p:cNvSpPr>
              <a:spLocks/>
            </p:cNvSpPr>
            <p:nvPr/>
          </p:nvSpPr>
          <p:spPr bwMode="auto">
            <a:xfrm>
              <a:off x="8470900" y="3644900"/>
              <a:ext cx="3175" cy="3175"/>
            </a:xfrm>
            <a:custGeom>
              <a:avLst/>
              <a:gdLst/>
              <a:ahLst/>
              <a:cxnLst/>
              <a:rect l="0" t="0" r="r" b="b"/>
              <a:pathLst>
                <a:path w="18924" h="19015">
                  <a:moveTo>
                    <a:pt x="2778" y="2104"/>
                  </a:moveTo>
                  <a:cubicBezTo>
                    <a:pt x="272" y="6308"/>
                    <a:pt x="-873" y="11858"/>
                    <a:pt x="763" y="15518"/>
                  </a:cubicBezTo>
                  <a:cubicBezTo>
                    <a:pt x="2454" y="19050"/>
                    <a:pt x="8396" y="19845"/>
                    <a:pt x="13960" y="18179"/>
                  </a:cubicBezTo>
                  <a:cubicBezTo>
                    <a:pt x="19472" y="16588"/>
                    <a:pt x="20727" y="9769"/>
                    <a:pt x="16033" y="4815"/>
                  </a:cubicBezTo>
                  <a:cubicBezTo>
                    <a:pt x="11178" y="14"/>
                    <a:pt x="5891" y="-1755"/>
                    <a:pt x="2778" y="2104"/>
                  </a:cubicBezTo>
                  <a:close/>
                  <a:moveTo>
                    <a:pt x="2778" y="21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8" name="AutoShape 697"/>
            <p:cNvSpPr>
              <a:spLocks/>
            </p:cNvSpPr>
            <p:nvPr/>
          </p:nvSpPr>
          <p:spPr bwMode="auto">
            <a:xfrm>
              <a:off x="8623300" y="3708400"/>
              <a:ext cx="23813" cy="26988"/>
            </a:xfrm>
            <a:custGeom>
              <a:avLst/>
              <a:gdLst/>
              <a:ahLst/>
              <a:cxnLst/>
              <a:rect l="0" t="0" r="r" b="b"/>
              <a:pathLst>
                <a:path w="21248" h="21200">
                  <a:moveTo>
                    <a:pt x="583" y="14446"/>
                  </a:moveTo>
                  <a:cubicBezTo>
                    <a:pt x="812" y="14904"/>
                    <a:pt x="910" y="16046"/>
                    <a:pt x="398" y="17068"/>
                  </a:cubicBezTo>
                  <a:cubicBezTo>
                    <a:pt x="-103" y="18099"/>
                    <a:pt x="192" y="19422"/>
                    <a:pt x="758" y="20147"/>
                  </a:cubicBezTo>
                  <a:cubicBezTo>
                    <a:pt x="1411" y="20846"/>
                    <a:pt x="2718" y="21318"/>
                    <a:pt x="3566" y="21174"/>
                  </a:cubicBezTo>
                  <a:cubicBezTo>
                    <a:pt x="4438" y="21095"/>
                    <a:pt x="5700" y="20032"/>
                    <a:pt x="6767" y="19130"/>
                  </a:cubicBezTo>
                  <a:cubicBezTo>
                    <a:pt x="7497" y="18039"/>
                    <a:pt x="9304" y="16532"/>
                    <a:pt x="10317" y="15519"/>
                  </a:cubicBezTo>
                  <a:cubicBezTo>
                    <a:pt x="11438" y="14576"/>
                    <a:pt x="13081" y="13766"/>
                    <a:pt x="14073" y="13766"/>
                  </a:cubicBezTo>
                  <a:cubicBezTo>
                    <a:pt x="15041" y="13835"/>
                    <a:pt x="15706" y="13258"/>
                    <a:pt x="15706" y="12615"/>
                  </a:cubicBezTo>
                  <a:cubicBezTo>
                    <a:pt x="15706" y="11986"/>
                    <a:pt x="16076" y="10816"/>
                    <a:pt x="16533" y="9970"/>
                  </a:cubicBezTo>
                  <a:cubicBezTo>
                    <a:pt x="17023" y="9142"/>
                    <a:pt x="17709" y="7639"/>
                    <a:pt x="18036" y="6594"/>
                  </a:cubicBezTo>
                  <a:cubicBezTo>
                    <a:pt x="18210" y="5531"/>
                    <a:pt x="19135" y="4254"/>
                    <a:pt x="19875" y="3810"/>
                  </a:cubicBezTo>
                  <a:cubicBezTo>
                    <a:pt x="20627" y="3372"/>
                    <a:pt x="21389" y="2095"/>
                    <a:pt x="21226" y="1133"/>
                  </a:cubicBezTo>
                  <a:cubicBezTo>
                    <a:pt x="21226" y="148"/>
                    <a:pt x="20245" y="-282"/>
                    <a:pt x="18961" y="194"/>
                  </a:cubicBezTo>
                  <a:cubicBezTo>
                    <a:pt x="17666" y="606"/>
                    <a:pt x="14770" y="1771"/>
                    <a:pt x="12396" y="2506"/>
                  </a:cubicBezTo>
                  <a:cubicBezTo>
                    <a:pt x="10022" y="3247"/>
                    <a:pt x="6289" y="5239"/>
                    <a:pt x="4219" y="6997"/>
                  </a:cubicBezTo>
                  <a:cubicBezTo>
                    <a:pt x="2064" y="8684"/>
                    <a:pt x="258" y="10858"/>
                    <a:pt x="105" y="11857"/>
                  </a:cubicBezTo>
                  <a:cubicBezTo>
                    <a:pt x="-211" y="12846"/>
                    <a:pt x="258" y="14021"/>
                    <a:pt x="583" y="14446"/>
                  </a:cubicBezTo>
                  <a:close/>
                  <a:moveTo>
                    <a:pt x="583" y="144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699" name="AutoShape 698"/>
            <p:cNvSpPr>
              <a:spLocks/>
            </p:cNvSpPr>
            <p:nvPr/>
          </p:nvSpPr>
          <p:spPr bwMode="auto">
            <a:xfrm>
              <a:off x="8559800" y="3695700"/>
              <a:ext cx="9525" cy="6350"/>
            </a:xfrm>
            <a:custGeom>
              <a:avLst/>
              <a:gdLst/>
              <a:ahLst/>
              <a:cxnLst/>
              <a:rect l="0" t="0" r="r" b="b"/>
              <a:pathLst>
                <a:path w="20301" h="20259">
                  <a:moveTo>
                    <a:pt x="8611" y="1532"/>
                  </a:moveTo>
                  <a:cubicBezTo>
                    <a:pt x="5041" y="2996"/>
                    <a:pt x="1357" y="6577"/>
                    <a:pt x="380" y="8985"/>
                  </a:cubicBezTo>
                  <a:cubicBezTo>
                    <a:pt x="-595" y="11393"/>
                    <a:pt x="380" y="15281"/>
                    <a:pt x="2475" y="17820"/>
                  </a:cubicBezTo>
                  <a:cubicBezTo>
                    <a:pt x="4472" y="20534"/>
                    <a:pt x="8849" y="21014"/>
                    <a:pt x="11680" y="19103"/>
                  </a:cubicBezTo>
                  <a:cubicBezTo>
                    <a:pt x="14581" y="17402"/>
                    <a:pt x="18246" y="13225"/>
                    <a:pt x="19411" y="9597"/>
                  </a:cubicBezTo>
                  <a:cubicBezTo>
                    <a:pt x="21005" y="6350"/>
                    <a:pt x="20315" y="2367"/>
                    <a:pt x="18483" y="907"/>
                  </a:cubicBezTo>
                  <a:cubicBezTo>
                    <a:pt x="16652" y="-586"/>
                    <a:pt x="12156" y="-136"/>
                    <a:pt x="8611" y="1532"/>
                  </a:cubicBezTo>
                  <a:close/>
                  <a:moveTo>
                    <a:pt x="8611" y="15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0" name="AutoShape 699"/>
            <p:cNvSpPr>
              <a:spLocks/>
            </p:cNvSpPr>
            <p:nvPr/>
          </p:nvSpPr>
          <p:spPr bwMode="auto">
            <a:xfrm>
              <a:off x="8280400" y="3390900"/>
              <a:ext cx="266700" cy="304800"/>
            </a:xfrm>
            <a:custGeom>
              <a:avLst/>
              <a:gdLst/>
              <a:ahLst/>
              <a:cxnLst/>
              <a:rect l="0" t="0" r="r" b="b"/>
              <a:pathLst>
                <a:path w="21565" h="21517">
                  <a:moveTo>
                    <a:pt x="20722" y="3518"/>
                  </a:moveTo>
                  <a:cubicBezTo>
                    <a:pt x="20810" y="3314"/>
                    <a:pt x="20867" y="2989"/>
                    <a:pt x="20795" y="2795"/>
                  </a:cubicBezTo>
                  <a:cubicBezTo>
                    <a:pt x="20737" y="2599"/>
                    <a:pt x="20888" y="2331"/>
                    <a:pt x="21132" y="2207"/>
                  </a:cubicBezTo>
                  <a:cubicBezTo>
                    <a:pt x="21374" y="2081"/>
                    <a:pt x="21550" y="1797"/>
                    <a:pt x="21564" y="1580"/>
                  </a:cubicBezTo>
                  <a:cubicBezTo>
                    <a:pt x="21579" y="1361"/>
                    <a:pt x="21394" y="1112"/>
                    <a:pt x="21194" y="1020"/>
                  </a:cubicBezTo>
                  <a:cubicBezTo>
                    <a:pt x="20992" y="931"/>
                    <a:pt x="20836" y="667"/>
                    <a:pt x="20867" y="435"/>
                  </a:cubicBezTo>
                  <a:cubicBezTo>
                    <a:pt x="20896" y="204"/>
                    <a:pt x="20811" y="6"/>
                    <a:pt x="20695" y="0"/>
                  </a:cubicBezTo>
                  <a:cubicBezTo>
                    <a:pt x="20578" y="-6"/>
                    <a:pt x="20307" y="111"/>
                    <a:pt x="20084" y="254"/>
                  </a:cubicBezTo>
                  <a:cubicBezTo>
                    <a:pt x="19871" y="406"/>
                    <a:pt x="19704" y="689"/>
                    <a:pt x="19689" y="893"/>
                  </a:cubicBezTo>
                  <a:cubicBezTo>
                    <a:pt x="19674" y="1099"/>
                    <a:pt x="19776" y="1394"/>
                    <a:pt x="19853" y="1557"/>
                  </a:cubicBezTo>
                  <a:cubicBezTo>
                    <a:pt x="19945" y="1716"/>
                    <a:pt x="19917" y="1919"/>
                    <a:pt x="19799" y="2009"/>
                  </a:cubicBezTo>
                  <a:cubicBezTo>
                    <a:pt x="19674" y="2090"/>
                    <a:pt x="19242" y="2127"/>
                    <a:pt x="18824" y="2080"/>
                  </a:cubicBezTo>
                  <a:cubicBezTo>
                    <a:pt x="18408" y="2033"/>
                    <a:pt x="17913" y="2042"/>
                    <a:pt x="17732" y="2120"/>
                  </a:cubicBezTo>
                  <a:cubicBezTo>
                    <a:pt x="17544" y="2189"/>
                    <a:pt x="17252" y="2172"/>
                    <a:pt x="17077" y="2071"/>
                  </a:cubicBezTo>
                  <a:cubicBezTo>
                    <a:pt x="16895" y="1979"/>
                    <a:pt x="16601" y="1875"/>
                    <a:pt x="16410" y="1868"/>
                  </a:cubicBezTo>
                  <a:cubicBezTo>
                    <a:pt x="16217" y="1856"/>
                    <a:pt x="15956" y="1920"/>
                    <a:pt x="15828" y="2011"/>
                  </a:cubicBezTo>
                  <a:cubicBezTo>
                    <a:pt x="15700" y="2101"/>
                    <a:pt x="15443" y="2158"/>
                    <a:pt x="15259" y="2131"/>
                  </a:cubicBezTo>
                  <a:cubicBezTo>
                    <a:pt x="15074" y="2111"/>
                    <a:pt x="14895" y="1965"/>
                    <a:pt x="14852" y="1815"/>
                  </a:cubicBezTo>
                  <a:cubicBezTo>
                    <a:pt x="14822" y="1662"/>
                    <a:pt x="14571" y="1532"/>
                    <a:pt x="14317" y="1526"/>
                  </a:cubicBezTo>
                  <a:cubicBezTo>
                    <a:pt x="14061" y="1519"/>
                    <a:pt x="13652" y="1462"/>
                    <a:pt x="13405" y="1415"/>
                  </a:cubicBezTo>
                  <a:cubicBezTo>
                    <a:pt x="13160" y="1368"/>
                    <a:pt x="12834" y="1441"/>
                    <a:pt x="12667" y="1575"/>
                  </a:cubicBezTo>
                  <a:cubicBezTo>
                    <a:pt x="12500" y="1708"/>
                    <a:pt x="12172" y="1859"/>
                    <a:pt x="11926" y="1910"/>
                  </a:cubicBezTo>
                  <a:cubicBezTo>
                    <a:pt x="11679" y="1954"/>
                    <a:pt x="11206" y="1972"/>
                    <a:pt x="10878" y="1946"/>
                  </a:cubicBezTo>
                  <a:cubicBezTo>
                    <a:pt x="10549" y="1915"/>
                    <a:pt x="10194" y="1856"/>
                    <a:pt x="10087" y="1810"/>
                  </a:cubicBezTo>
                  <a:cubicBezTo>
                    <a:pt x="9987" y="1753"/>
                    <a:pt x="9796" y="1794"/>
                    <a:pt x="9675" y="1893"/>
                  </a:cubicBezTo>
                  <a:cubicBezTo>
                    <a:pt x="9674" y="1894"/>
                    <a:pt x="9672" y="1895"/>
                    <a:pt x="9671" y="1895"/>
                  </a:cubicBezTo>
                  <a:cubicBezTo>
                    <a:pt x="9669" y="1897"/>
                    <a:pt x="9667" y="1901"/>
                    <a:pt x="9665" y="1903"/>
                  </a:cubicBezTo>
                  <a:cubicBezTo>
                    <a:pt x="9543" y="1989"/>
                    <a:pt x="9307" y="2066"/>
                    <a:pt x="9127" y="2066"/>
                  </a:cubicBezTo>
                  <a:cubicBezTo>
                    <a:pt x="8947" y="2073"/>
                    <a:pt x="8619" y="2158"/>
                    <a:pt x="8396" y="2274"/>
                  </a:cubicBezTo>
                  <a:cubicBezTo>
                    <a:pt x="8172" y="2391"/>
                    <a:pt x="7582" y="2461"/>
                    <a:pt x="7082" y="2408"/>
                  </a:cubicBezTo>
                  <a:cubicBezTo>
                    <a:pt x="6583" y="2356"/>
                    <a:pt x="6007" y="2406"/>
                    <a:pt x="5802" y="2496"/>
                  </a:cubicBezTo>
                  <a:cubicBezTo>
                    <a:pt x="5602" y="2596"/>
                    <a:pt x="5428" y="2731"/>
                    <a:pt x="5414" y="2807"/>
                  </a:cubicBezTo>
                  <a:cubicBezTo>
                    <a:pt x="5388" y="2882"/>
                    <a:pt x="5166" y="3007"/>
                    <a:pt x="4891" y="3090"/>
                  </a:cubicBezTo>
                  <a:cubicBezTo>
                    <a:pt x="4610" y="3160"/>
                    <a:pt x="4066" y="3393"/>
                    <a:pt x="3682" y="3600"/>
                  </a:cubicBezTo>
                  <a:cubicBezTo>
                    <a:pt x="3298" y="3815"/>
                    <a:pt x="2965" y="4181"/>
                    <a:pt x="2923" y="4433"/>
                  </a:cubicBezTo>
                  <a:cubicBezTo>
                    <a:pt x="2922" y="4439"/>
                    <a:pt x="2920" y="4448"/>
                    <a:pt x="2919" y="4454"/>
                  </a:cubicBezTo>
                  <a:cubicBezTo>
                    <a:pt x="2919" y="4458"/>
                    <a:pt x="2920" y="4463"/>
                    <a:pt x="2920" y="4468"/>
                  </a:cubicBezTo>
                  <a:cubicBezTo>
                    <a:pt x="2890" y="4703"/>
                    <a:pt x="2745" y="5102"/>
                    <a:pt x="2608" y="5361"/>
                  </a:cubicBezTo>
                  <a:cubicBezTo>
                    <a:pt x="2458" y="5615"/>
                    <a:pt x="2020" y="5909"/>
                    <a:pt x="1621" y="6010"/>
                  </a:cubicBezTo>
                  <a:cubicBezTo>
                    <a:pt x="1227" y="6115"/>
                    <a:pt x="910" y="6365"/>
                    <a:pt x="895" y="6575"/>
                  </a:cubicBezTo>
                  <a:cubicBezTo>
                    <a:pt x="880" y="6785"/>
                    <a:pt x="779" y="7173"/>
                    <a:pt x="662" y="7441"/>
                  </a:cubicBezTo>
                  <a:cubicBezTo>
                    <a:pt x="557" y="7712"/>
                    <a:pt x="335" y="7980"/>
                    <a:pt x="199" y="8026"/>
                  </a:cubicBezTo>
                  <a:cubicBezTo>
                    <a:pt x="72" y="8089"/>
                    <a:pt x="-21" y="8144"/>
                    <a:pt x="4" y="8155"/>
                  </a:cubicBezTo>
                  <a:cubicBezTo>
                    <a:pt x="27" y="8165"/>
                    <a:pt x="68" y="8399"/>
                    <a:pt x="98" y="8665"/>
                  </a:cubicBezTo>
                  <a:cubicBezTo>
                    <a:pt x="142" y="8930"/>
                    <a:pt x="468" y="9369"/>
                    <a:pt x="857" y="9635"/>
                  </a:cubicBezTo>
                  <a:cubicBezTo>
                    <a:pt x="1238" y="9908"/>
                    <a:pt x="1743" y="10351"/>
                    <a:pt x="1966" y="10636"/>
                  </a:cubicBezTo>
                  <a:cubicBezTo>
                    <a:pt x="2192" y="10919"/>
                    <a:pt x="2461" y="11171"/>
                    <a:pt x="2561" y="11196"/>
                  </a:cubicBezTo>
                  <a:cubicBezTo>
                    <a:pt x="2661" y="11221"/>
                    <a:pt x="2728" y="11309"/>
                    <a:pt x="2712" y="11392"/>
                  </a:cubicBezTo>
                  <a:cubicBezTo>
                    <a:pt x="2684" y="11473"/>
                    <a:pt x="2927" y="11849"/>
                    <a:pt x="3231" y="12227"/>
                  </a:cubicBezTo>
                  <a:cubicBezTo>
                    <a:pt x="3540" y="12600"/>
                    <a:pt x="3847" y="13120"/>
                    <a:pt x="3937" y="13374"/>
                  </a:cubicBezTo>
                  <a:cubicBezTo>
                    <a:pt x="4024" y="13626"/>
                    <a:pt x="4195" y="13883"/>
                    <a:pt x="4329" y="13935"/>
                  </a:cubicBezTo>
                  <a:cubicBezTo>
                    <a:pt x="4461" y="13993"/>
                    <a:pt x="4709" y="13890"/>
                    <a:pt x="4861" y="13703"/>
                  </a:cubicBezTo>
                  <a:cubicBezTo>
                    <a:pt x="5013" y="13518"/>
                    <a:pt x="5296" y="13514"/>
                    <a:pt x="5446" y="13703"/>
                  </a:cubicBezTo>
                  <a:cubicBezTo>
                    <a:pt x="5619" y="13879"/>
                    <a:pt x="5938" y="14071"/>
                    <a:pt x="6177" y="14103"/>
                  </a:cubicBezTo>
                  <a:cubicBezTo>
                    <a:pt x="6419" y="14136"/>
                    <a:pt x="6691" y="14062"/>
                    <a:pt x="6781" y="13925"/>
                  </a:cubicBezTo>
                  <a:cubicBezTo>
                    <a:pt x="6878" y="13792"/>
                    <a:pt x="7087" y="13695"/>
                    <a:pt x="7254" y="13717"/>
                  </a:cubicBezTo>
                  <a:cubicBezTo>
                    <a:pt x="7425" y="13737"/>
                    <a:pt x="7788" y="13884"/>
                    <a:pt x="8063" y="14044"/>
                  </a:cubicBezTo>
                  <a:cubicBezTo>
                    <a:pt x="8341" y="14199"/>
                    <a:pt x="8695" y="14286"/>
                    <a:pt x="8851" y="14218"/>
                  </a:cubicBezTo>
                  <a:cubicBezTo>
                    <a:pt x="9004" y="14151"/>
                    <a:pt x="9168" y="14207"/>
                    <a:pt x="9199" y="14334"/>
                  </a:cubicBezTo>
                  <a:cubicBezTo>
                    <a:pt x="9246" y="14458"/>
                    <a:pt x="9374" y="14570"/>
                    <a:pt x="9501" y="14563"/>
                  </a:cubicBezTo>
                  <a:cubicBezTo>
                    <a:pt x="9630" y="14556"/>
                    <a:pt x="9827" y="14625"/>
                    <a:pt x="9937" y="14708"/>
                  </a:cubicBezTo>
                  <a:cubicBezTo>
                    <a:pt x="10050" y="14791"/>
                    <a:pt x="10318" y="14884"/>
                    <a:pt x="10530" y="14936"/>
                  </a:cubicBezTo>
                  <a:cubicBezTo>
                    <a:pt x="10744" y="14983"/>
                    <a:pt x="10804" y="15086"/>
                    <a:pt x="10655" y="15158"/>
                  </a:cubicBezTo>
                  <a:cubicBezTo>
                    <a:pt x="10508" y="15234"/>
                    <a:pt x="10283" y="15398"/>
                    <a:pt x="10149" y="15515"/>
                  </a:cubicBezTo>
                  <a:cubicBezTo>
                    <a:pt x="10026" y="15642"/>
                    <a:pt x="9788" y="15649"/>
                    <a:pt x="9654" y="15532"/>
                  </a:cubicBezTo>
                  <a:cubicBezTo>
                    <a:pt x="9518" y="15414"/>
                    <a:pt x="9240" y="15290"/>
                    <a:pt x="9055" y="15240"/>
                  </a:cubicBezTo>
                  <a:cubicBezTo>
                    <a:pt x="8870" y="15193"/>
                    <a:pt x="8377" y="14948"/>
                    <a:pt x="7973" y="14687"/>
                  </a:cubicBezTo>
                  <a:cubicBezTo>
                    <a:pt x="7564" y="14429"/>
                    <a:pt x="7084" y="14256"/>
                    <a:pt x="6911" y="14310"/>
                  </a:cubicBezTo>
                  <a:cubicBezTo>
                    <a:pt x="6741" y="14362"/>
                    <a:pt x="6456" y="14456"/>
                    <a:pt x="6300" y="14551"/>
                  </a:cubicBezTo>
                  <a:cubicBezTo>
                    <a:pt x="6143" y="14647"/>
                    <a:pt x="5856" y="14631"/>
                    <a:pt x="5675" y="14552"/>
                  </a:cubicBezTo>
                  <a:cubicBezTo>
                    <a:pt x="5489" y="14477"/>
                    <a:pt x="5239" y="14535"/>
                    <a:pt x="5094" y="14693"/>
                  </a:cubicBezTo>
                  <a:cubicBezTo>
                    <a:pt x="4967" y="14860"/>
                    <a:pt x="4759" y="15007"/>
                    <a:pt x="4652" y="15031"/>
                  </a:cubicBezTo>
                  <a:cubicBezTo>
                    <a:pt x="4543" y="15055"/>
                    <a:pt x="4395" y="15200"/>
                    <a:pt x="4348" y="15362"/>
                  </a:cubicBezTo>
                  <a:cubicBezTo>
                    <a:pt x="4288" y="15521"/>
                    <a:pt x="4428" y="15838"/>
                    <a:pt x="4648" y="16075"/>
                  </a:cubicBezTo>
                  <a:cubicBezTo>
                    <a:pt x="4873" y="16310"/>
                    <a:pt x="5243" y="16593"/>
                    <a:pt x="5477" y="16695"/>
                  </a:cubicBezTo>
                  <a:cubicBezTo>
                    <a:pt x="5703" y="16807"/>
                    <a:pt x="6072" y="17047"/>
                    <a:pt x="6298" y="17238"/>
                  </a:cubicBezTo>
                  <a:cubicBezTo>
                    <a:pt x="6524" y="17429"/>
                    <a:pt x="6729" y="17695"/>
                    <a:pt x="6759" y="17830"/>
                  </a:cubicBezTo>
                  <a:cubicBezTo>
                    <a:pt x="6804" y="17962"/>
                    <a:pt x="6741" y="18142"/>
                    <a:pt x="6669" y="18235"/>
                  </a:cubicBezTo>
                  <a:cubicBezTo>
                    <a:pt x="6604" y="18333"/>
                    <a:pt x="6538" y="18541"/>
                    <a:pt x="6567" y="18716"/>
                  </a:cubicBezTo>
                  <a:cubicBezTo>
                    <a:pt x="6597" y="18892"/>
                    <a:pt x="6769" y="19225"/>
                    <a:pt x="6965" y="19448"/>
                  </a:cubicBezTo>
                  <a:cubicBezTo>
                    <a:pt x="7158" y="19674"/>
                    <a:pt x="7431" y="19964"/>
                    <a:pt x="7554" y="20099"/>
                  </a:cubicBezTo>
                  <a:cubicBezTo>
                    <a:pt x="7698" y="20218"/>
                    <a:pt x="7829" y="20242"/>
                    <a:pt x="7875" y="20123"/>
                  </a:cubicBezTo>
                  <a:cubicBezTo>
                    <a:pt x="7933" y="20009"/>
                    <a:pt x="7926" y="19831"/>
                    <a:pt x="7870" y="19739"/>
                  </a:cubicBezTo>
                  <a:cubicBezTo>
                    <a:pt x="7814" y="19649"/>
                    <a:pt x="7839" y="19441"/>
                    <a:pt x="7903" y="19280"/>
                  </a:cubicBezTo>
                  <a:cubicBezTo>
                    <a:pt x="7978" y="19123"/>
                    <a:pt x="8072" y="19167"/>
                    <a:pt x="8172" y="19367"/>
                  </a:cubicBezTo>
                  <a:cubicBezTo>
                    <a:pt x="8247" y="19576"/>
                    <a:pt x="8540" y="19842"/>
                    <a:pt x="8814" y="19955"/>
                  </a:cubicBezTo>
                  <a:cubicBezTo>
                    <a:pt x="9077" y="20083"/>
                    <a:pt x="9371" y="20275"/>
                    <a:pt x="9432" y="20415"/>
                  </a:cubicBezTo>
                  <a:cubicBezTo>
                    <a:pt x="9492" y="20552"/>
                    <a:pt x="9531" y="20787"/>
                    <a:pt x="9502" y="20941"/>
                  </a:cubicBezTo>
                  <a:cubicBezTo>
                    <a:pt x="9486" y="21096"/>
                    <a:pt x="9539" y="21331"/>
                    <a:pt x="9662" y="21459"/>
                  </a:cubicBezTo>
                  <a:cubicBezTo>
                    <a:pt x="9777" y="21594"/>
                    <a:pt x="9859" y="21484"/>
                    <a:pt x="9859" y="21223"/>
                  </a:cubicBezTo>
                  <a:cubicBezTo>
                    <a:pt x="9829" y="20964"/>
                    <a:pt x="9907" y="20578"/>
                    <a:pt x="9998" y="20371"/>
                  </a:cubicBezTo>
                  <a:cubicBezTo>
                    <a:pt x="10090" y="20166"/>
                    <a:pt x="10297" y="20000"/>
                    <a:pt x="10465" y="20008"/>
                  </a:cubicBezTo>
                  <a:cubicBezTo>
                    <a:pt x="10634" y="20015"/>
                    <a:pt x="10834" y="20162"/>
                    <a:pt x="10924" y="20333"/>
                  </a:cubicBezTo>
                  <a:cubicBezTo>
                    <a:pt x="11001" y="20507"/>
                    <a:pt x="11326" y="20805"/>
                    <a:pt x="11632" y="20999"/>
                  </a:cubicBezTo>
                  <a:cubicBezTo>
                    <a:pt x="11935" y="21196"/>
                    <a:pt x="12083" y="21191"/>
                    <a:pt x="11950" y="20999"/>
                  </a:cubicBezTo>
                  <a:cubicBezTo>
                    <a:pt x="11821" y="20805"/>
                    <a:pt x="11741" y="20544"/>
                    <a:pt x="11756" y="20417"/>
                  </a:cubicBezTo>
                  <a:cubicBezTo>
                    <a:pt x="11771" y="20291"/>
                    <a:pt x="11710" y="20034"/>
                    <a:pt x="11589" y="19849"/>
                  </a:cubicBezTo>
                  <a:cubicBezTo>
                    <a:pt x="11481" y="19656"/>
                    <a:pt x="11251" y="19259"/>
                    <a:pt x="11100" y="18948"/>
                  </a:cubicBezTo>
                  <a:cubicBezTo>
                    <a:pt x="10950" y="18641"/>
                    <a:pt x="10726" y="18238"/>
                    <a:pt x="10587" y="18063"/>
                  </a:cubicBezTo>
                  <a:cubicBezTo>
                    <a:pt x="10455" y="17884"/>
                    <a:pt x="10357" y="17677"/>
                    <a:pt x="10357" y="17608"/>
                  </a:cubicBezTo>
                  <a:cubicBezTo>
                    <a:pt x="10357" y="17538"/>
                    <a:pt x="10463" y="17470"/>
                    <a:pt x="10582" y="17464"/>
                  </a:cubicBezTo>
                  <a:cubicBezTo>
                    <a:pt x="10705" y="17458"/>
                    <a:pt x="10995" y="17533"/>
                    <a:pt x="11215" y="17656"/>
                  </a:cubicBezTo>
                  <a:cubicBezTo>
                    <a:pt x="11438" y="17773"/>
                    <a:pt x="11581" y="17930"/>
                    <a:pt x="11509" y="17998"/>
                  </a:cubicBezTo>
                  <a:cubicBezTo>
                    <a:pt x="11433" y="18064"/>
                    <a:pt x="11453" y="18194"/>
                    <a:pt x="11522" y="18267"/>
                  </a:cubicBezTo>
                  <a:cubicBezTo>
                    <a:pt x="11601" y="18334"/>
                    <a:pt x="11743" y="18313"/>
                    <a:pt x="11852" y="18206"/>
                  </a:cubicBezTo>
                  <a:cubicBezTo>
                    <a:pt x="11960" y="18098"/>
                    <a:pt x="12237" y="18073"/>
                    <a:pt x="12466" y="18154"/>
                  </a:cubicBezTo>
                  <a:cubicBezTo>
                    <a:pt x="12695" y="18235"/>
                    <a:pt x="12893" y="18242"/>
                    <a:pt x="12893" y="18173"/>
                  </a:cubicBezTo>
                  <a:cubicBezTo>
                    <a:pt x="12878" y="18103"/>
                    <a:pt x="12830" y="17981"/>
                    <a:pt x="12727" y="17925"/>
                  </a:cubicBezTo>
                  <a:cubicBezTo>
                    <a:pt x="12637" y="17854"/>
                    <a:pt x="12544" y="17736"/>
                    <a:pt x="12515" y="17660"/>
                  </a:cubicBezTo>
                  <a:cubicBezTo>
                    <a:pt x="12471" y="17588"/>
                    <a:pt x="12406" y="17500"/>
                    <a:pt x="12327" y="17473"/>
                  </a:cubicBezTo>
                  <a:cubicBezTo>
                    <a:pt x="12247" y="17445"/>
                    <a:pt x="12037" y="17346"/>
                    <a:pt x="11870" y="17239"/>
                  </a:cubicBezTo>
                  <a:cubicBezTo>
                    <a:pt x="11698" y="17131"/>
                    <a:pt x="11558" y="16974"/>
                    <a:pt x="11572" y="16884"/>
                  </a:cubicBezTo>
                  <a:cubicBezTo>
                    <a:pt x="11587" y="16794"/>
                    <a:pt x="11424" y="16597"/>
                    <a:pt x="11220" y="16450"/>
                  </a:cubicBezTo>
                  <a:cubicBezTo>
                    <a:pt x="11007" y="16309"/>
                    <a:pt x="10997" y="16123"/>
                    <a:pt x="11185" y="16055"/>
                  </a:cubicBezTo>
                  <a:cubicBezTo>
                    <a:pt x="11371" y="15987"/>
                    <a:pt x="11667" y="15939"/>
                    <a:pt x="11840" y="15958"/>
                  </a:cubicBezTo>
                  <a:cubicBezTo>
                    <a:pt x="12015" y="15977"/>
                    <a:pt x="12239" y="15917"/>
                    <a:pt x="12342" y="15840"/>
                  </a:cubicBezTo>
                  <a:cubicBezTo>
                    <a:pt x="12442" y="15759"/>
                    <a:pt x="12761" y="15843"/>
                    <a:pt x="13037" y="16036"/>
                  </a:cubicBezTo>
                  <a:cubicBezTo>
                    <a:pt x="13322" y="16221"/>
                    <a:pt x="13580" y="16438"/>
                    <a:pt x="13614" y="16518"/>
                  </a:cubicBezTo>
                  <a:cubicBezTo>
                    <a:pt x="13644" y="16596"/>
                    <a:pt x="13831" y="16678"/>
                    <a:pt x="14021" y="16712"/>
                  </a:cubicBezTo>
                  <a:cubicBezTo>
                    <a:pt x="14210" y="16747"/>
                    <a:pt x="14396" y="16679"/>
                    <a:pt x="14450" y="16579"/>
                  </a:cubicBezTo>
                  <a:cubicBezTo>
                    <a:pt x="14481" y="16471"/>
                    <a:pt x="14379" y="16211"/>
                    <a:pt x="14213" y="15973"/>
                  </a:cubicBezTo>
                  <a:cubicBezTo>
                    <a:pt x="14036" y="15742"/>
                    <a:pt x="13906" y="15384"/>
                    <a:pt x="13949" y="15178"/>
                  </a:cubicBezTo>
                  <a:cubicBezTo>
                    <a:pt x="13980" y="14971"/>
                    <a:pt x="13948" y="14703"/>
                    <a:pt x="13874" y="14581"/>
                  </a:cubicBezTo>
                  <a:cubicBezTo>
                    <a:pt x="13793" y="14463"/>
                    <a:pt x="13354" y="14122"/>
                    <a:pt x="12873" y="13840"/>
                  </a:cubicBezTo>
                  <a:cubicBezTo>
                    <a:pt x="12399" y="13557"/>
                    <a:pt x="11893" y="13283"/>
                    <a:pt x="11744" y="13247"/>
                  </a:cubicBezTo>
                  <a:cubicBezTo>
                    <a:pt x="11598" y="13203"/>
                    <a:pt x="11416" y="13084"/>
                    <a:pt x="11342" y="12975"/>
                  </a:cubicBezTo>
                  <a:cubicBezTo>
                    <a:pt x="11252" y="12879"/>
                    <a:pt x="11103" y="12776"/>
                    <a:pt x="10975" y="12782"/>
                  </a:cubicBezTo>
                  <a:cubicBezTo>
                    <a:pt x="10847" y="12788"/>
                    <a:pt x="10662" y="12707"/>
                    <a:pt x="10580" y="12600"/>
                  </a:cubicBezTo>
                  <a:cubicBezTo>
                    <a:pt x="10488" y="12500"/>
                    <a:pt x="10255" y="12399"/>
                    <a:pt x="10056" y="12362"/>
                  </a:cubicBezTo>
                  <a:cubicBezTo>
                    <a:pt x="9857" y="12331"/>
                    <a:pt x="9537" y="12159"/>
                    <a:pt x="9319" y="12001"/>
                  </a:cubicBezTo>
                  <a:cubicBezTo>
                    <a:pt x="9102" y="11842"/>
                    <a:pt x="9116" y="11673"/>
                    <a:pt x="9327" y="11660"/>
                  </a:cubicBezTo>
                  <a:cubicBezTo>
                    <a:pt x="9537" y="11647"/>
                    <a:pt x="9800" y="11519"/>
                    <a:pt x="9917" y="11398"/>
                  </a:cubicBezTo>
                  <a:cubicBezTo>
                    <a:pt x="10037" y="11275"/>
                    <a:pt x="10103" y="11088"/>
                    <a:pt x="10103" y="10990"/>
                  </a:cubicBezTo>
                  <a:cubicBezTo>
                    <a:pt x="10087" y="10892"/>
                    <a:pt x="9913" y="10761"/>
                    <a:pt x="9713" y="10708"/>
                  </a:cubicBezTo>
                  <a:cubicBezTo>
                    <a:pt x="9514" y="10648"/>
                    <a:pt x="9432" y="10505"/>
                    <a:pt x="9530" y="10385"/>
                  </a:cubicBezTo>
                  <a:cubicBezTo>
                    <a:pt x="9633" y="10268"/>
                    <a:pt x="9684" y="10082"/>
                    <a:pt x="9684" y="9977"/>
                  </a:cubicBezTo>
                  <a:cubicBezTo>
                    <a:pt x="9669" y="9873"/>
                    <a:pt x="9783" y="9839"/>
                    <a:pt x="9941" y="9896"/>
                  </a:cubicBezTo>
                  <a:cubicBezTo>
                    <a:pt x="10099" y="9951"/>
                    <a:pt x="10332" y="10085"/>
                    <a:pt x="10462" y="10186"/>
                  </a:cubicBezTo>
                  <a:cubicBezTo>
                    <a:pt x="10590" y="10285"/>
                    <a:pt x="10670" y="10447"/>
                    <a:pt x="10619" y="10543"/>
                  </a:cubicBezTo>
                  <a:cubicBezTo>
                    <a:pt x="10574" y="10641"/>
                    <a:pt x="10548" y="10803"/>
                    <a:pt x="10579" y="10899"/>
                  </a:cubicBezTo>
                  <a:cubicBezTo>
                    <a:pt x="10608" y="10995"/>
                    <a:pt x="10706" y="11062"/>
                    <a:pt x="10813" y="11042"/>
                  </a:cubicBezTo>
                  <a:cubicBezTo>
                    <a:pt x="10919" y="11018"/>
                    <a:pt x="11050" y="10834"/>
                    <a:pt x="11111" y="10624"/>
                  </a:cubicBezTo>
                  <a:cubicBezTo>
                    <a:pt x="11169" y="10413"/>
                    <a:pt x="11096" y="10116"/>
                    <a:pt x="10954" y="9965"/>
                  </a:cubicBezTo>
                  <a:cubicBezTo>
                    <a:pt x="10817" y="9812"/>
                    <a:pt x="10429" y="9401"/>
                    <a:pt x="10108" y="9045"/>
                  </a:cubicBezTo>
                  <a:cubicBezTo>
                    <a:pt x="9783" y="8692"/>
                    <a:pt x="9409" y="8321"/>
                    <a:pt x="9275" y="8225"/>
                  </a:cubicBezTo>
                  <a:cubicBezTo>
                    <a:pt x="9145" y="8124"/>
                    <a:pt x="8993" y="7948"/>
                    <a:pt x="8961" y="7822"/>
                  </a:cubicBezTo>
                  <a:cubicBezTo>
                    <a:pt x="8933" y="7694"/>
                    <a:pt x="8697" y="7431"/>
                    <a:pt x="8445" y="7245"/>
                  </a:cubicBezTo>
                  <a:cubicBezTo>
                    <a:pt x="8199" y="7051"/>
                    <a:pt x="8060" y="6824"/>
                    <a:pt x="8137" y="6729"/>
                  </a:cubicBezTo>
                  <a:cubicBezTo>
                    <a:pt x="8214" y="6636"/>
                    <a:pt x="8214" y="6269"/>
                    <a:pt x="8167" y="5906"/>
                  </a:cubicBezTo>
                  <a:cubicBezTo>
                    <a:pt x="8122" y="5544"/>
                    <a:pt x="8158" y="5106"/>
                    <a:pt x="8272" y="4925"/>
                  </a:cubicBezTo>
                  <a:cubicBezTo>
                    <a:pt x="8389" y="4747"/>
                    <a:pt x="8684" y="4576"/>
                    <a:pt x="8922" y="4534"/>
                  </a:cubicBezTo>
                  <a:cubicBezTo>
                    <a:pt x="9159" y="4502"/>
                    <a:pt x="9400" y="4615"/>
                    <a:pt x="9431" y="4797"/>
                  </a:cubicBezTo>
                  <a:cubicBezTo>
                    <a:pt x="9476" y="4976"/>
                    <a:pt x="9413" y="5126"/>
                    <a:pt x="9300" y="5114"/>
                  </a:cubicBezTo>
                  <a:cubicBezTo>
                    <a:pt x="9187" y="5105"/>
                    <a:pt x="9114" y="5184"/>
                    <a:pt x="9147" y="5281"/>
                  </a:cubicBezTo>
                  <a:cubicBezTo>
                    <a:pt x="9176" y="5378"/>
                    <a:pt x="9458" y="5577"/>
                    <a:pt x="9780" y="5724"/>
                  </a:cubicBezTo>
                  <a:cubicBezTo>
                    <a:pt x="10103" y="5865"/>
                    <a:pt x="10397" y="6173"/>
                    <a:pt x="10440" y="6395"/>
                  </a:cubicBezTo>
                  <a:cubicBezTo>
                    <a:pt x="10470" y="6618"/>
                    <a:pt x="10678" y="6935"/>
                    <a:pt x="10893" y="7079"/>
                  </a:cubicBezTo>
                  <a:cubicBezTo>
                    <a:pt x="11095" y="7234"/>
                    <a:pt x="11443" y="7367"/>
                    <a:pt x="11664" y="7367"/>
                  </a:cubicBezTo>
                  <a:cubicBezTo>
                    <a:pt x="11883" y="7367"/>
                    <a:pt x="11927" y="7291"/>
                    <a:pt x="11761" y="7185"/>
                  </a:cubicBezTo>
                  <a:cubicBezTo>
                    <a:pt x="11596" y="7081"/>
                    <a:pt x="11385" y="6881"/>
                    <a:pt x="11295" y="6737"/>
                  </a:cubicBezTo>
                  <a:cubicBezTo>
                    <a:pt x="11205" y="6594"/>
                    <a:pt x="11154" y="6380"/>
                    <a:pt x="11170" y="6256"/>
                  </a:cubicBezTo>
                  <a:cubicBezTo>
                    <a:pt x="11185" y="6134"/>
                    <a:pt x="11375" y="6105"/>
                    <a:pt x="11588" y="6167"/>
                  </a:cubicBezTo>
                  <a:cubicBezTo>
                    <a:pt x="11795" y="6238"/>
                    <a:pt x="12106" y="6467"/>
                    <a:pt x="12276" y="6675"/>
                  </a:cubicBezTo>
                  <a:cubicBezTo>
                    <a:pt x="12451" y="6879"/>
                    <a:pt x="12700" y="7093"/>
                    <a:pt x="12836" y="7152"/>
                  </a:cubicBezTo>
                  <a:cubicBezTo>
                    <a:pt x="12976" y="7207"/>
                    <a:pt x="13139" y="7158"/>
                    <a:pt x="13213" y="7048"/>
                  </a:cubicBezTo>
                  <a:cubicBezTo>
                    <a:pt x="13284" y="6936"/>
                    <a:pt x="13207" y="6751"/>
                    <a:pt x="13050" y="6639"/>
                  </a:cubicBezTo>
                  <a:cubicBezTo>
                    <a:pt x="12890" y="6532"/>
                    <a:pt x="12650" y="6396"/>
                    <a:pt x="12515" y="6337"/>
                  </a:cubicBezTo>
                  <a:cubicBezTo>
                    <a:pt x="12374" y="6283"/>
                    <a:pt x="12262" y="6154"/>
                    <a:pt x="12262" y="6052"/>
                  </a:cubicBezTo>
                  <a:cubicBezTo>
                    <a:pt x="12248" y="5949"/>
                    <a:pt x="12566" y="5891"/>
                    <a:pt x="12935" y="5925"/>
                  </a:cubicBezTo>
                  <a:cubicBezTo>
                    <a:pt x="13305" y="5952"/>
                    <a:pt x="13724" y="6091"/>
                    <a:pt x="13866" y="6221"/>
                  </a:cubicBezTo>
                  <a:cubicBezTo>
                    <a:pt x="14001" y="6359"/>
                    <a:pt x="14175" y="6414"/>
                    <a:pt x="14228" y="6353"/>
                  </a:cubicBezTo>
                  <a:cubicBezTo>
                    <a:pt x="14287" y="6296"/>
                    <a:pt x="14143" y="6096"/>
                    <a:pt x="13927" y="5901"/>
                  </a:cubicBezTo>
                  <a:cubicBezTo>
                    <a:pt x="13708" y="5710"/>
                    <a:pt x="13345" y="5523"/>
                    <a:pt x="13122" y="5487"/>
                  </a:cubicBezTo>
                  <a:cubicBezTo>
                    <a:pt x="12900" y="5452"/>
                    <a:pt x="12566" y="5251"/>
                    <a:pt x="12371" y="5048"/>
                  </a:cubicBezTo>
                  <a:cubicBezTo>
                    <a:pt x="12174" y="4850"/>
                    <a:pt x="12108" y="4602"/>
                    <a:pt x="12201" y="4494"/>
                  </a:cubicBezTo>
                  <a:cubicBezTo>
                    <a:pt x="12307" y="4395"/>
                    <a:pt x="12540" y="4361"/>
                    <a:pt x="12739" y="4423"/>
                  </a:cubicBezTo>
                  <a:cubicBezTo>
                    <a:pt x="12937" y="4491"/>
                    <a:pt x="13224" y="4480"/>
                    <a:pt x="13377" y="4407"/>
                  </a:cubicBezTo>
                  <a:cubicBezTo>
                    <a:pt x="13530" y="4334"/>
                    <a:pt x="13701" y="4081"/>
                    <a:pt x="13760" y="3845"/>
                  </a:cubicBezTo>
                  <a:cubicBezTo>
                    <a:pt x="13822" y="3611"/>
                    <a:pt x="13979" y="3383"/>
                    <a:pt x="14121" y="3346"/>
                  </a:cubicBezTo>
                  <a:cubicBezTo>
                    <a:pt x="14257" y="3302"/>
                    <a:pt x="14561" y="3400"/>
                    <a:pt x="14784" y="3568"/>
                  </a:cubicBezTo>
                  <a:cubicBezTo>
                    <a:pt x="15010" y="3732"/>
                    <a:pt x="15331" y="3878"/>
                    <a:pt x="15496" y="3904"/>
                  </a:cubicBezTo>
                  <a:cubicBezTo>
                    <a:pt x="15662" y="3926"/>
                    <a:pt x="15937" y="3815"/>
                    <a:pt x="16100" y="3653"/>
                  </a:cubicBezTo>
                  <a:cubicBezTo>
                    <a:pt x="16268" y="3494"/>
                    <a:pt x="16406" y="3290"/>
                    <a:pt x="16406" y="3201"/>
                  </a:cubicBezTo>
                  <a:cubicBezTo>
                    <a:pt x="16406" y="3113"/>
                    <a:pt x="16475" y="3042"/>
                    <a:pt x="16557" y="3049"/>
                  </a:cubicBezTo>
                  <a:cubicBezTo>
                    <a:pt x="16639" y="3057"/>
                    <a:pt x="16827" y="3178"/>
                    <a:pt x="16966" y="3333"/>
                  </a:cubicBezTo>
                  <a:cubicBezTo>
                    <a:pt x="17108" y="3484"/>
                    <a:pt x="17555" y="3628"/>
                    <a:pt x="17957" y="3648"/>
                  </a:cubicBezTo>
                  <a:cubicBezTo>
                    <a:pt x="18355" y="3673"/>
                    <a:pt x="18933" y="3760"/>
                    <a:pt x="19236" y="3852"/>
                  </a:cubicBezTo>
                  <a:cubicBezTo>
                    <a:pt x="19542" y="3935"/>
                    <a:pt x="19960" y="3983"/>
                    <a:pt x="20165" y="3949"/>
                  </a:cubicBezTo>
                  <a:cubicBezTo>
                    <a:pt x="20374" y="3914"/>
                    <a:pt x="20632" y="3720"/>
                    <a:pt x="20722" y="3518"/>
                  </a:cubicBezTo>
                  <a:close/>
                  <a:moveTo>
                    <a:pt x="20722" y="35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1" name="AutoShape 700"/>
            <p:cNvSpPr>
              <a:spLocks/>
            </p:cNvSpPr>
            <p:nvPr/>
          </p:nvSpPr>
          <p:spPr bwMode="auto">
            <a:xfrm>
              <a:off x="8420100" y="3708400"/>
              <a:ext cx="7938" cy="17463"/>
            </a:xfrm>
            <a:custGeom>
              <a:avLst/>
              <a:gdLst/>
              <a:ahLst/>
              <a:cxnLst/>
              <a:rect l="0" t="0" r="r" b="b"/>
              <a:pathLst>
                <a:path w="20152" h="20546">
                  <a:moveTo>
                    <a:pt x="4978" y="15947"/>
                  </a:moveTo>
                  <a:cubicBezTo>
                    <a:pt x="4978" y="17534"/>
                    <a:pt x="7360" y="19499"/>
                    <a:pt x="10334" y="20292"/>
                  </a:cubicBezTo>
                  <a:cubicBezTo>
                    <a:pt x="13311" y="21091"/>
                    <a:pt x="17089" y="19933"/>
                    <a:pt x="19261" y="17870"/>
                  </a:cubicBezTo>
                  <a:cubicBezTo>
                    <a:pt x="21076" y="15730"/>
                    <a:pt x="20035" y="12333"/>
                    <a:pt x="16909" y="10235"/>
                  </a:cubicBezTo>
                  <a:cubicBezTo>
                    <a:pt x="13668" y="8165"/>
                    <a:pt x="9947" y="4832"/>
                    <a:pt x="9026" y="2790"/>
                  </a:cubicBezTo>
                  <a:cubicBezTo>
                    <a:pt x="8074" y="747"/>
                    <a:pt x="5752" y="-509"/>
                    <a:pt x="5127" y="200"/>
                  </a:cubicBezTo>
                  <a:cubicBezTo>
                    <a:pt x="4266" y="831"/>
                    <a:pt x="2211" y="2741"/>
                    <a:pt x="874" y="4550"/>
                  </a:cubicBezTo>
                  <a:cubicBezTo>
                    <a:pt x="-524" y="6312"/>
                    <a:pt x="-228" y="8978"/>
                    <a:pt x="1648" y="10404"/>
                  </a:cubicBezTo>
                  <a:cubicBezTo>
                    <a:pt x="3522" y="11836"/>
                    <a:pt x="4534" y="14355"/>
                    <a:pt x="4978" y="15947"/>
                  </a:cubicBezTo>
                  <a:close/>
                  <a:moveTo>
                    <a:pt x="4978" y="159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2" name="AutoShape 701"/>
            <p:cNvSpPr>
              <a:spLocks/>
            </p:cNvSpPr>
            <p:nvPr/>
          </p:nvSpPr>
          <p:spPr bwMode="auto">
            <a:xfrm>
              <a:off x="8305800" y="3619500"/>
              <a:ext cx="15875" cy="12700"/>
            </a:xfrm>
            <a:custGeom>
              <a:avLst/>
              <a:gdLst/>
              <a:ahLst/>
              <a:cxnLst/>
              <a:rect l="0" t="0" r="r" b="b"/>
              <a:pathLst>
                <a:path w="20612" h="20878">
                  <a:moveTo>
                    <a:pt x="8700" y="1295"/>
                  </a:moveTo>
                  <a:cubicBezTo>
                    <a:pt x="6720" y="105"/>
                    <a:pt x="4144" y="-381"/>
                    <a:pt x="2942" y="334"/>
                  </a:cubicBezTo>
                  <a:cubicBezTo>
                    <a:pt x="1738" y="1066"/>
                    <a:pt x="306" y="3293"/>
                    <a:pt x="78" y="5429"/>
                  </a:cubicBezTo>
                  <a:cubicBezTo>
                    <a:pt x="-379" y="7509"/>
                    <a:pt x="1220" y="11514"/>
                    <a:pt x="3460" y="14346"/>
                  </a:cubicBezTo>
                  <a:cubicBezTo>
                    <a:pt x="5500" y="17360"/>
                    <a:pt x="8990" y="19881"/>
                    <a:pt x="10726" y="20613"/>
                  </a:cubicBezTo>
                  <a:cubicBezTo>
                    <a:pt x="12462" y="21219"/>
                    <a:pt x="14077" y="20752"/>
                    <a:pt x="14580" y="19551"/>
                  </a:cubicBezTo>
                  <a:cubicBezTo>
                    <a:pt x="14779" y="18267"/>
                    <a:pt x="16742" y="17691"/>
                    <a:pt x="18679" y="18120"/>
                  </a:cubicBezTo>
                  <a:cubicBezTo>
                    <a:pt x="20629" y="18359"/>
                    <a:pt x="21221" y="17434"/>
                    <a:pt x="19912" y="15730"/>
                  </a:cubicBezTo>
                  <a:cubicBezTo>
                    <a:pt x="18617" y="14035"/>
                    <a:pt x="16393" y="10532"/>
                    <a:pt x="14930" y="8049"/>
                  </a:cubicBezTo>
                  <a:cubicBezTo>
                    <a:pt x="13575" y="5465"/>
                    <a:pt x="10710" y="2368"/>
                    <a:pt x="8700" y="1295"/>
                  </a:cubicBezTo>
                  <a:close/>
                  <a:moveTo>
                    <a:pt x="8700" y="12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3" name="AutoShape 702"/>
            <p:cNvSpPr>
              <a:spLocks/>
            </p:cNvSpPr>
            <p:nvPr/>
          </p:nvSpPr>
          <p:spPr bwMode="auto">
            <a:xfrm>
              <a:off x="8293100" y="3581400"/>
              <a:ext cx="22225" cy="28575"/>
            </a:xfrm>
            <a:custGeom>
              <a:avLst/>
              <a:gdLst/>
              <a:ahLst/>
              <a:cxnLst/>
              <a:rect l="0" t="0" r="r" b="b"/>
              <a:pathLst>
                <a:path w="21172" h="20723">
                  <a:moveTo>
                    <a:pt x="5189" y="16976"/>
                  </a:moveTo>
                  <a:cubicBezTo>
                    <a:pt x="5821" y="16541"/>
                    <a:pt x="6193" y="15299"/>
                    <a:pt x="6193" y="14342"/>
                  </a:cubicBezTo>
                  <a:cubicBezTo>
                    <a:pt x="6193" y="13390"/>
                    <a:pt x="6679" y="12994"/>
                    <a:pt x="7188" y="13519"/>
                  </a:cubicBezTo>
                  <a:cubicBezTo>
                    <a:pt x="7785" y="13995"/>
                    <a:pt x="8339" y="15295"/>
                    <a:pt x="8339" y="16354"/>
                  </a:cubicBezTo>
                  <a:cubicBezTo>
                    <a:pt x="8339" y="17422"/>
                    <a:pt x="9739" y="18557"/>
                    <a:pt x="11331" y="18694"/>
                  </a:cubicBezTo>
                  <a:cubicBezTo>
                    <a:pt x="12945" y="18908"/>
                    <a:pt x="15407" y="19660"/>
                    <a:pt x="16795" y="20327"/>
                  </a:cubicBezTo>
                  <a:cubicBezTo>
                    <a:pt x="18230" y="20959"/>
                    <a:pt x="20014" y="20848"/>
                    <a:pt x="20579" y="19900"/>
                  </a:cubicBezTo>
                  <a:cubicBezTo>
                    <a:pt x="21121" y="18961"/>
                    <a:pt x="21448" y="17773"/>
                    <a:pt x="20861" y="17306"/>
                  </a:cubicBezTo>
                  <a:cubicBezTo>
                    <a:pt x="20353" y="16777"/>
                    <a:pt x="19664" y="15615"/>
                    <a:pt x="19325" y="14703"/>
                  </a:cubicBezTo>
                  <a:cubicBezTo>
                    <a:pt x="18975" y="13809"/>
                    <a:pt x="17721" y="12438"/>
                    <a:pt x="16807" y="11436"/>
                  </a:cubicBezTo>
                  <a:cubicBezTo>
                    <a:pt x="15769" y="10547"/>
                    <a:pt x="15203" y="9203"/>
                    <a:pt x="15386" y="8415"/>
                  </a:cubicBezTo>
                  <a:cubicBezTo>
                    <a:pt x="15769" y="7671"/>
                    <a:pt x="15091" y="5923"/>
                    <a:pt x="14391" y="4539"/>
                  </a:cubicBezTo>
                  <a:cubicBezTo>
                    <a:pt x="13713" y="3138"/>
                    <a:pt x="11794" y="1353"/>
                    <a:pt x="10529" y="361"/>
                  </a:cubicBezTo>
                  <a:cubicBezTo>
                    <a:pt x="9254" y="-641"/>
                    <a:pt x="8079" y="529"/>
                    <a:pt x="8249" y="2812"/>
                  </a:cubicBezTo>
                  <a:cubicBezTo>
                    <a:pt x="8408" y="5100"/>
                    <a:pt x="7583" y="6818"/>
                    <a:pt x="6601" y="6662"/>
                  </a:cubicBezTo>
                  <a:cubicBezTo>
                    <a:pt x="5562" y="6524"/>
                    <a:pt x="3653" y="6608"/>
                    <a:pt x="2276" y="6808"/>
                  </a:cubicBezTo>
                  <a:cubicBezTo>
                    <a:pt x="933" y="7107"/>
                    <a:pt x="-152" y="8909"/>
                    <a:pt x="18" y="10890"/>
                  </a:cubicBezTo>
                  <a:cubicBezTo>
                    <a:pt x="187" y="12878"/>
                    <a:pt x="1090" y="15295"/>
                    <a:pt x="2220" y="16184"/>
                  </a:cubicBezTo>
                  <a:cubicBezTo>
                    <a:pt x="3303" y="17106"/>
                    <a:pt x="4647" y="17475"/>
                    <a:pt x="5189" y="16976"/>
                  </a:cubicBezTo>
                  <a:close/>
                  <a:moveTo>
                    <a:pt x="5189" y="169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4" name="AutoShape 703"/>
            <p:cNvSpPr>
              <a:spLocks/>
            </p:cNvSpPr>
            <p:nvPr/>
          </p:nvSpPr>
          <p:spPr bwMode="auto">
            <a:xfrm>
              <a:off x="8445500" y="3746500"/>
              <a:ext cx="119063" cy="41275"/>
            </a:xfrm>
            <a:custGeom>
              <a:avLst/>
              <a:gdLst/>
              <a:ahLst/>
              <a:cxnLst/>
              <a:rect l="0" t="0" r="r" b="b"/>
              <a:pathLst>
                <a:path w="21507" h="21531">
                  <a:moveTo>
                    <a:pt x="721" y="13136"/>
                  </a:moveTo>
                  <a:cubicBezTo>
                    <a:pt x="1057" y="13616"/>
                    <a:pt x="1920" y="13825"/>
                    <a:pt x="2654" y="13639"/>
                  </a:cubicBezTo>
                  <a:cubicBezTo>
                    <a:pt x="3382" y="13446"/>
                    <a:pt x="4240" y="13446"/>
                    <a:pt x="4543" y="13786"/>
                  </a:cubicBezTo>
                  <a:cubicBezTo>
                    <a:pt x="4846" y="14078"/>
                    <a:pt x="5337" y="14110"/>
                    <a:pt x="5629" y="13783"/>
                  </a:cubicBezTo>
                  <a:cubicBezTo>
                    <a:pt x="5907" y="13430"/>
                    <a:pt x="6507" y="13716"/>
                    <a:pt x="6956" y="14088"/>
                  </a:cubicBezTo>
                  <a:cubicBezTo>
                    <a:pt x="7400" y="14501"/>
                    <a:pt x="8172" y="15607"/>
                    <a:pt x="8648" y="16591"/>
                  </a:cubicBezTo>
                  <a:cubicBezTo>
                    <a:pt x="9119" y="17572"/>
                    <a:pt x="9585" y="19008"/>
                    <a:pt x="9654" y="19906"/>
                  </a:cubicBezTo>
                  <a:cubicBezTo>
                    <a:pt x="9721" y="20813"/>
                    <a:pt x="10220" y="21531"/>
                    <a:pt x="10767" y="21531"/>
                  </a:cubicBezTo>
                  <a:cubicBezTo>
                    <a:pt x="11315" y="21489"/>
                    <a:pt x="12105" y="20794"/>
                    <a:pt x="12552" y="20005"/>
                  </a:cubicBezTo>
                  <a:cubicBezTo>
                    <a:pt x="12983" y="19139"/>
                    <a:pt x="13764" y="18640"/>
                    <a:pt x="14268" y="18883"/>
                  </a:cubicBezTo>
                  <a:cubicBezTo>
                    <a:pt x="14770" y="19107"/>
                    <a:pt x="15843" y="19319"/>
                    <a:pt x="16641" y="19319"/>
                  </a:cubicBezTo>
                  <a:cubicBezTo>
                    <a:pt x="17440" y="19367"/>
                    <a:pt x="18545" y="19441"/>
                    <a:pt x="19096" y="19582"/>
                  </a:cubicBezTo>
                  <a:cubicBezTo>
                    <a:pt x="19640" y="19720"/>
                    <a:pt x="20333" y="19303"/>
                    <a:pt x="20642" y="18761"/>
                  </a:cubicBezTo>
                  <a:cubicBezTo>
                    <a:pt x="20956" y="18213"/>
                    <a:pt x="21312" y="16960"/>
                    <a:pt x="21412" y="16001"/>
                  </a:cubicBezTo>
                  <a:cubicBezTo>
                    <a:pt x="21507" y="15036"/>
                    <a:pt x="21538" y="13524"/>
                    <a:pt x="21472" y="12562"/>
                  </a:cubicBezTo>
                  <a:cubicBezTo>
                    <a:pt x="21405" y="11603"/>
                    <a:pt x="21304" y="10356"/>
                    <a:pt x="21304" y="9770"/>
                  </a:cubicBezTo>
                  <a:cubicBezTo>
                    <a:pt x="21304" y="9177"/>
                    <a:pt x="21193" y="9119"/>
                    <a:pt x="21091" y="9651"/>
                  </a:cubicBezTo>
                  <a:cubicBezTo>
                    <a:pt x="20985" y="10170"/>
                    <a:pt x="20883" y="11171"/>
                    <a:pt x="20883" y="11859"/>
                  </a:cubicBezTo>
                  <a:cubicBezTo>
                    <a:pt x="20883" y="12549"/>
                    <a:pt x="20667" y="13642"/>
                    <a:pt x="20408" y="14296"/>
                  </a:cubicBezTo>
                  <a:cubicBezTo>
                    <a:pt x="20140" y="14902"/>
                    <a:pt x="19762" y="15097"/>
                    <a:pt x="19589" y="14498"/>
                  </a:cubicBezTo>
                  <a:cubicBezTo>
                    <a:pt x="19419" y="13905"/>
                    <a:pt x="19052" y="13718"/>
                    <a:pt x="18826" y="13950"/>
                  </a:cubicBezTo>
                  <a:cubicBezTo>
                    <a:pt x="18610" y="14212"/>
                    <a:pt x="18234" y="14296"/>
                    <a:pt x="18008" y="14158"/>
                  </a:cubicBezTo>
                  <a:cubicBezTo>
                    <a:pt x="17774" y="14059"/>
                    <a:pt x="17621" y="13401"/>
                    <a:pt x="17654" y="12770"/>
                  </a:cubicBezTo>
                  <a:cubicBezTo>
                    <a:pt x="17718" y="12151"/>
                    <a:pt x="17645" y="10853"/>
                    <a:pt x="17508" y="9968"/>
                  </a:cubicBezTo>
                  <a:cubicBezTo>
                    <a:pt x="17378" y="9070"/>
                    <a:pt x="17110" y="8375"/>
                    <a:pt x="16893" y="8321"/>
                  </a:cubicBezTo>
                  <a:cubicBezTo>
                    <a:pt x="16683" y="8279"/>
                    <a:pt x="16024" y="8080"/>
                    <a:pt x="15431" y="7727"/>
                  </a:cubicBezTo>
                  <a:cubicBezTo>
                    <a:pt x="14843" y="7394"/>
                    <a:pt x="13969" y="6548"/>
                    <a:pt x="13496" y="5859"/>
                  </a:cubicBezTo>
                  <a:cubicBezTo>
                    <a:pt x="13018" y="5166"/>
                    <a:pt x="12131" y="4519"/>
                    <a:pt x="11512" y="4564"/>
                  </a:cubicBezTo>
                  <a:cubicBezTo>
                    <a:pt x="10899" y="4564"/>
                    <a:pt x="9995" y="5355"/>
                    <a:pt x="9493" y="6276"/>
                  </a:cubicBezTo>
                  <a:cubicBezTo>
                    <a:pt x="8986" y="7208"/>
                    <a:pt x="8261" y="8208"/>
                    <a:pt x="7869" y="8491"/>
                  </a:cubicBezTo>
                  <a:cubicBezTo>
                    <a:pt x="7478" y="8798"/>
                    <a:pt x="6885" y="8459"/>
                    <a:pt x="6542" y="7914"/>
                  </a:cubicBezTo>
                  <a:cubicBezTo>
                    <a:pt x="6199" y="7320"/>
                    <a:pt x="5781" y="6394"/>
                    <a:pt x="5618" y="5827"/>
                  </a:cubicBezTo>
                  <a:cubicBezTo>
                    <a:pt x="5454" y="5250"/>
                    <a:pt x="5102" y="4916"/>
                    <a:pt x="4839" y="4958"/>
                  </a:cubicBezTo>
                  <a:cubicBezTo>
                    <a:pt x="4574" y="5006"/>
                    <a:pt x="4536" y="4788"/>
                    <a:pt x="4680" y="4221"/>
                  </a:cubicBezTo>
                  <a:cubicBezTo>
                    <a:pt x="4844" y="3692"/>
                    <a:pt x="4883" y="2592"/>
                    <a:pt x="4689" y="1794"/>
                  </a:cubicBezTo>
                  <a:cubicBezTo>
                    <a:pt x="4518" y="951"/>
                    <a:pt x="4102" y="281"/>
                    <a:pt x="3758" y="329"/>
                  </a:cubicBezTo>
                  <a:cubicBezTo>
                    <a:pt x="3419" y="377"/>
                    <a:pt x="3202" y="810"/>
                    <a:pt x="3269" y="1339"/>
                  </a:cubicBezTo>
                  <a:cubicBezTo>
                    <a:pt x="3331" y="1880"/>
                    <a:pt x="3483" y="2461"/>
                    <a:pt x="3603" y="2505"/>
                  </a:cubicBezTo>
                  <a:cubicBezTo>
                    <a:pt x="3722" y="2618"/>
                    <a:pt x="3698" y="2948"/>
                    <a:pt x="3589" y="3313"/>
                  </a:cubicBezTo>
                  <a:cubicBezTo>
                    <a:pt x="3463" y="3637"/>
                    <a:pt x="3096" y="3887"/>
                    <a:pt x="2771" y="3932"/>
                  </a:cubicBezTo>
                  <a:cubicBezTo>
                    <a:pt x="2450" y="3977"/>
                    <a:pt x="2077" y="3121"/>
                    <a:pt x="2008" y="2076"/>
                  </a:cubicBezTo>
                  <a:cubicBezTo>
                    <a:pt x="1937" y="1037"/>
                    <a:pt x="1756" y="92"/>
                    <a:pt x="1645" y="12"/>
                  </a:cubicBezTo>
                  <a:cubicBezTo>
                    <a:pt x="1533" y="-69"/>
                    <a:pt x="1426" y="271"/>
                    <a:pt x="1391" y="832"/>
                  </a:cubicBezTo>
                  <a:cubicBezTo>
                    <a:pt x="1322" y="1371"/>
                    <a:pt x="1389" y="2432"/>
                    <a:pt x="1453" y="3131"/>
                  </a:cubicBezTo>
                  <a:cubicBezTo>
                    <a:pt x="1517" y="3839"/>
                    <a:pt x="1444" y="4551"/>
                    <a:pt x="1285" y="4689"/>
                  </a:cubicBezTo>
                  <a:cubicBezTo>
                    <a:pt x="1123" y="4829"/>
                    <a:pt x="900" y="4192"/>
                    <a:pt x="708" y="3397"/>
                  </a:cubicBezTo>
                  <a:cubicBezTo>
                    <a:pt x="564" y="2518"/>
                    <a:pt x="411" y="2627"/>
                    <a:pt x="411" y="3605"/>
                  </a:cubicBezTo>
                  <a:cubicBezTo>
                    <a:pt x="411" y="4589"/>
                    <a:pt x="267" y="6054"/>
                    <a:pt x="166" y="6939"/>
                  </a:cubicBezTo>
                  <a:cubicBezTo>
                    <a:pt x="71" y="7811"/>
                    <a:pt x="-62" y="9349"/>
                    <a:pt x="33" y="10362"/>
                  </a:cubicBezTo>
                  <a:cubicBezTo>
                    <a:pt x="97" y="11401"/>
                    <a:pt x="393" y="12658"/>
                    <a:pt x="721" y="13136"/>
                  </a:cubicBezTo>
                  <a:close/>
                  <a:moveTo>
                    <a:pt x="721" y="1313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5" name="AutoShape 704"/>
            <p:cNvSpPr>
              <a:spLocks/>
            </p:cNvSpPr>
            <p:nvPr/>
          </p:nvSpPr>
          <p:spPr bwMode="auto">
            <a:xfrm>
              <a:off x="8305800" y="3556000"/>
              <a:ext cx="6350" cy="11113"/>
            </a:xfrm>
            <a:custGeom>
              <a:avLst/>
              <a:gdLst/>
              <a:ahLst/>
              <a:cxnLst/>
              <a:rect l="0" t="0" r="r" b="b"/>
              <a:pathLst>
                <a:path w="21133" h="21352">
                  <a:moveTo>
                    <a:pt x="4318" y="20750"/>
                  </a:moveTo>
                  <a:cubicBezTo>
                    <a:pt x="6186" y="21356"/>
                    <a:pt x="9467" y="21480"/>
                    <a:pt x="11714" y="21232"/>
                  </a:cubicBezTo>
                  <a:cubicBezTo>
                    <a:pt x="13789" y="20896"/>
                    <a:pt x="17312" y="19326"/>
                    <a:pt x="19250" y="17575"/>
                  </a:cubicBezTo>
                  <a:cubicBezTo>
                    <a:pt x="21257" y="15805"/>
                    <a:pt x="21600" y="11095"/>
                    <a:pt x="20561" y="7013"/>
                  </a:cubicBezTo>
                  <a:cubicBezTo>
                    <a:pt x="19561" y="2898"/>
                    <a:pt x="16276" y="-120"/>
                    <a:pt x="13824" y="4"/>
                  </a:cubicBezTo>
                  <a:cubicBezTo>
                    <a:pt x="11439" y="319"/>
                    <a:pt x="6463" y="3256"/>
                    <a:pt x="4251" y="7170"/>
                  </a:cubicBezTo>
                  <a:cubicBezTo>
                    <a:pt x="1039" y="10791"/>
                    <a:pt x="0" y="15221"/>
                    <a:pt x="0" y="16859"/>
                  </a:cubicBezTo>
                  <a:cubicBezTo>
                    <a:pt x="0" y="18517"/>
                    <a:pt x="2592" y="20010"/>
                    <a:pt x="4318" y="20750"/>
                  </a:cubicBezTo>
                  <a:close/>
                  <a:moveTo>
                    <a:pt x="4318" y="207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6" name="AutoShape 705"/>
            <p:cNvSpPr>
              <a:spLocks/>
            </p:cNvSpPr>
            <p:nvPr/>
          </p:nvSpPr>
          <p:spPr bwMode="auto">
            <a:xfrm>
              <a:off x="8420100" y="3695700"/>
              <a:ext cx="1588" cy="1588"/>
            </a:xfrm>
            <a:custGeom>
              <a:avLst/>
              <a:gdLst/>
              <a:ahLst/>
              <a:cxnLst/>
              <a:rect l="0" t="0" r="r" b="b"/>
              <a:pathLst>
                <a:path w="17746" h="19158">
                  <a:moveTo>
                    <a:pt x="11879" y="19110"/>
                  </a:moveTo>
                  <a:cubicBezTo>
                    <a:pt x="19285" y="19732"/>
                    <a:pt x="19182" y="14213"/>
                    <a:pt x="14341" y="5842"/>
                  </a:cubicBezTo>
                  <a:cubicBezTo>
                    <a:pt x="8581" y="-1783"/>
                    <a:pt x="3959" y="-1868"/>
                    <a:pt x="771" y="5138"/>
                  </a:cubicBezTo>
                  <a:cubicBezTo>
                    <a:pt x="-2315" y="12022"/>
                    <a:pt x="4371" y="19110"/>
                    <a:pt x="11879" y="19110"/>
                  </a:cubicBezTo>
                  <a:close/>
                  <a:moveTo>
                    <a:pt x="11879" y="1911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7" name="AutoShape 706"/>
            <p:cNvSpPr>
              <a:spLocks/>
            </p:cNvSpPr>
            <p:nvPr/>
          </p:nvSpPr>
          <p:spPr bwMode="auto">
            <a:xfrm>
              <a:off x="8394700" y="3416300"/>
              <a:ext cx="6350" cy="1588"/>
            </a:xfrm>
            <a:custGeom>
              <a:avLst/>
              <a:gdLst/>
              <a:ahLst/>
              <a:cxnLst/>
              <a:rect l="0" t="0" r="r" b="b"/>
              <a:pathLst>
                <a:path w="21600" h="21600">
                  <a:moveTo>
                    <a:pt x="21362" y="939"/>
                  </a:moveTo>
                  <a:cubicBezTo>
                    <a:pt x="21441" y="715"/>
                    <a:pt x="21518" y="218"/>
                    <a:pt x="21600" y="0"/>
                  </a:cubicBezTo>
                  <a:cubicBezTo>
                    <a:pt x="16595" y="11542"/>
                    <a:pt x="7107" y="21600"/>
                    <a:pt x="0" y="21600"/>
                  </a:cubicBezTo>
                  <a:cubicBezTo>
                    <a:pt x="7149" y="21600"/>
                    <a:pt x="16518" y="11870"/>
                    <a:pt x="21362" y="939"/>
                  </a:cubicBezTo>
                  <a:close/>
                  <a:moveTo>
                    <a:pt x="21362" y="9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8" name="AutoShape 707"/>
            <p:cNvSpPr>
              <a:spLocks/>
            </p:cNvSpPr>
            <p:nvPr/>
          </p:nvSpPr>
          <p:spPr bwMode="auto">
            <a:xfrm>
              <a:off x="8305800" y="3454400"/>
              <a:ext cx="3175" cy="12700"/>
            </a:xfrm>
            <a:custGeom>
              <a:avLst/>
              <a:gdLst/>
              <a:ahLst/>
              <a:cxnLst/>
              <a:rect l="0" t="0" r="r" b="b"/>
              <a:pathLst>
                <a:path w="21600" h="21600">
                  <a:moveTo>
                    <a:pt x="21600" y="324"/>
                  </a:moveTo>
                  <a:cubicBezTo>
                    <a:pt x="21600" y="219"/>
                    <a:pt x="21526" y="104"/>
                    <a:pt x="21526" y="0"/>
                  </a:cubicBezTo>
                  <a:cubicBezTo>
                    <a:pt x="19103" y="6106"/>
                    <a:pt x="9208" y="15577"/>
                    <a:pt x="0" y="21600"/>
                  </a:cubicBezTo>
                  <a:cubicBezTo>
                    <a:pt x="9485" y="15432"/>
                    <a:pt x="19523" y="5930"/>
                    <a:pt x="21600" y="324"/>
                  </a:cubicBezTo>
                  <a:close/>
                  <a:moveTo>
                    <a:pt x="21600" y="3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09" name="AutoShape 708"/>
            <p:cNvSpPr>
              <a:spLocks/>
            </p:cNvSpPr>
            <p:nvPr/>
          </p:nvSpPr>
          <p:spPr bwMode="auto">
            <a:xfrm>
              <a:off x="9232900" y="3441700"/>
              <a:ext cx="187325" cy="201613"/>
            </a:xfrm>
            <a:custGeom>
              <a:avLst/>
              <a:gdLst/>
              <a:ahLst/>
              <a:cxnLst/>
              <a:rect l="0" t="0" r="r" b="b"/>
              <a:pathLst>
                <a:path w="21554" h="21511">
                  <a:moveTo>
                    <a:pt x="628" y="3847"/>
                  </a:moveTo>
                  <a:cubicBezTo>
                    <a:pt x="681" y="3887"/>
                    <a:pt x="739" y="3924"/>
                    <a:pt x="797" y="3961"/>
                  </a:cubicBezTo>
                  <a:cubicBezTo>
                    <a:pt x="845" y="3993"/>
                    <a:pt x="890" y="4024"/>
                    <a:pt x="941" y="4054"/>
                  </a:cubicBezTo>
                  <a:cubicBezTo>
                    <a:pt x="1018" y="4097"/>
                    <a:pt x="1095" y="4134"/>
                    <a:pt x="1173" y="4170"/>
                  </a:cubicBezTo>
                  <a:cubicBezTo>
                    <a:pt x="1207" y="4186"/>
                    <a:pt x="1240" y="4205"/>
                    <a:pt x="1274" y="4219"/>
                  </a:cubicBezTo>
                  <a:cubicBezTo>
                    <a:pt x="1390" y="4267"/>
                    <a:pt x="1503" y="4304"/>
                    <a:pt x="1603" y="4326"/>
                  </a:cubicBezTo>
                  <a:cubicBezTo>
                    <a:pt x="2012" y="4425"/>
                    <a:pt x="2554" y="4730"/>
                    <a:pt x="2799" y="5015"/>
                  </a:cubicBezTo>
                  <a:cubicBezTo>
                    <a:pt x="3048" y="5298"/>
                    <a:pt x="3207" y="5758"/>
                    <a:pt x="3163" y="6044"/>
                  </a:cubicBezTo>
                  <a:cubicBezTo>
                    <a:pt x="3081" y="6321"/>
                    <a:pt x="3106" y="6771"/>
                    <a:pt x="3147" y="7031"/>
                  </a:cubicBezTo>
                  <a:cubicBezTo>
                    <a:pt x="3207" y="7287"/>
                    <a:pt x="3613" y="7897"/>
                    <a:pt x="4115" y="8355"/>
                  </a:cubicBezTo>
                  <a:cubicBezTo>
                    <a:pt x="4608" y="8823"/>
                    <a:pt x="5018" y="9425"/>
                    <a:pt x="5079" y="9680"/>
                  </a:cubicBezTo>
                  <a:cubicBezTo>
                    <a:pt x="5120" y="9939"/>
                    <a:pt x="5051" y="10289"/>
                    <a:pt x="4923" y="10457"/>
                  </a:cubicBezTo>
                  <a:cubicBezTo>
                    <a:pt x="4806" y="10631"/>
                    <a:pt x="4854" y="11088"/>
                    <a:pt x="5024" y="11494"/>
                  </a:cubicBezTo>
                  <a:cubicBezTo>
                    <a:pt x="5220" y="11890"/>
                    <a:pt x="5786" y="12516"/>
                    <a:pt x="6303" y="12887"/>
                  </a:cubicBezTo>
                  <a:cubicBezTo>
                    <a:pt x="6827" y="13247"/>
                    <a:pt x="7510" y="13592"/>
                    <a:pt x="7830" y="13641"/>
                  </a:cubicBezTo>
                  <a:cubicBezTo>
                    <a:pt x="8147" y="13691"/>
                    <a:pt x="8642" y="13974"/>
                    <a:pt x="8912" y="14284"/>
                  </a:cubicBezTo>
                  <a:cubicBezTo>
                    <a:pt x="9187" y="14588"/>
                    <a:pt x="9205" y="14885"/>
                    <a:pt x="8943" y="14916"/>
                  </a:cubicBezTo>
                  <a:cubicBezTo>
                    <a:pt x="8683" y="14967"/>
                    <a:pt x="8625" y="15283"/>
                    <a:pt x="8812" y="15632"/>
                  </a:cubicBezTo>
                  <a:cubicBezTo>
                    <a:pt x="9003" y="15977"/>
                    <a:pt x="9092" y="16344"/>
                    <a:pt x="9030" y="16449"/>
                  </a:cubicBezTo>
                  <a:cubicBezTo>
                    <a:pt x="8953" y="16546"/>
                    <a:pt x="8931" y="16863"/>
                    <a:pt x="8952" y="17139"/>
                  </a:cubicBezTo>
                  <a:cubicBezTo>
                    <a:pt x="8993" y="17413"/>
                    <a:pt x="8989" y="17644"/>
                    <a:pt x="8977" y="17644"/>
                  </a:cubicBezTo>
                  <a:cubicBezTo>
                    <a:pt x="8989" y="17644"/>
                    <a:pt x="9088" y="17706"/>
                    <a:pt x="9243" y="17788"/>
                  </a:cubicBezTo>
                  <a:cubicBezTo>
                    <a:pt x="9409" y="17857"/>
                    <a:pt x="9683" y="17858"/>
                    <a:pt x="9868" y="17782"/>
                  </a:cubicBezTo>
                  <a:cubicBezTo>
                    <a:pt x="10053" y="17705"/>
                    <a:pt x="10200" y="17514"/>
                    <a:pt x="10240" y="17374"/>
                  </a:cubicBezTo>
                  <a:cubicBezTo>
                    <a:pt x="10240" y="17229"/>
                    <a:pt x="10312" y="17004"/>
                    <a:pt x="10394" y="16900"/>
                  </a:cubicBezTo>
                  <a:cubicBezTo>
                    <a:pt x="10476" y="16794"/>
                    <a:pt x="10600" y="16691"/>
                    <a:pt x="10712" y="16699"/>
                  </a:cubicBezTo>
                  <a:cubicBezTo>
                    <a:pt x="10824" y="16709"/>
                    <a:pt x="11034" y="16473"/>
                    <a:pt x="11199" y="16193"/>
                  </a:cubicBezTo>
                  <a:cubicBezTo>
                    <a:pt x="11370" y="15916"/>
                    <a:pt x="11580" y="15631"/>
                    <a:pt x="11703" y="15585"/>
                  </a:cubicBezTo>
                  <a:cubicBezTo>
                    <a:pt x="11827" y="15536"/>
                    <a:pt x="12041" y="15334"/>
                    <a:pt x="12136" y="15124"/>
                  </a:cubicBezTo>
                  <a:cubicBezTo>
                    <a:pt x="12272" y="14935"/>
                    <a:pt x="12471" y="14740"/>
                    <a:pt x="12624" y="14723"/>
                  </a:cubicBezTo>
                  <a:cubicBezTo>
                    <a:pt x="12777" y="14714"/>
                    <a:pt x="13056" y="14562"/>
                    <a:pt x="13231" y="14398"/>
                  </a:cubicBezTo>
                  <a:cubicBezTo>
                    <a:pt x="13412" y="14239"/>
                    <a:pt x="13659" y="14123"/>
                    <a:pt x="13773" y="14143"/>
                  </a:cubicBezTo>
                  <a:cubicBezTo>
                    <a:pt x="13885" y="14143"/>
                    <a:pt x="13977" y="14246"/>
                    <a:pt x="14024" y="14310"/>
                  </a:cubicBezTo>
                  <a:cubicBezTo>
                    <a:pt x="14045" y="14387"/>
                    <a:pt x="14152" y="14484"/>
                    <a:pt x="14259" y="14517"/>
                  </a:cubicBezTo>
                  <a:cubicBezTo>
                    <a:pt x="14356" y="14562"/>
                    <a:pt x="14519" y="14755"/>
                    <a:pt x="14648" y="14943"/>
                  </a:cubicBezTo>
                  <a:cubicBezTo>
                    <a:pt x="14751" y="15147"/>
                    <a:pt x="14967" y="15464"/>
                    <a:pt x="15135" y="15639"/>
                  </a:cubicBezTo>
                  <a:cubicBezTo>
                    <a:pt x="15299" y="15820"/>
                    <a:pt x="15318" y="16061"/>
                    <a:pt x="15207" y="16184"/>
                  </a:cubicBezTo>
                  <a:cubicBezTo>
                    <a:pt x="15088" y="16295"/>
                    <a:pt x="15054" y="16500"/>
                    <a:pt x="15122" y="16635"/>
                  </a:cubicBezTo>
                  <a:cubicBezTo>
                    <a:pt x="15181" y="16774"/>
                    <a:pt x="15457" y="17059"/>
                    <a:pt x="15723" y="17260"/>
                  </a:cubicBezTo>
                  <a:cubicBezTo>
                    <a:pt x="15995" y="17464"/>
                    <a:pt x="15955" y="17853"/>
                    <a:pt x="15623" y="18085"/>
                  </a:cubicBezTo>
                  <a:cubicBezTo>
                    <a:pt x="15297" y="18322"/>
                    <a:pt x="15354" y="18949"/>
                    <a:pt x="15766" y="19439"/>
                  </a:cubicBezTo>
                  <a:cubicBezTo>
                    <a:pt x="16152" y="19948"/>
                    <a:pt x="16633" y="20457"/>
                    <a:pt x="16824" y="20566"/>
                  </a:cubicBezTo>
                  <a:cubicBezTo>
                    <a:pt x="17002" y="20691"/>
                    <a:pt x="17212" y="20913"/>
                    <a:pt x="17311" y="21060"/>
                  </a:cubicBezTo>
                  <a:cubicBezTo>
                    <a:pt x="17393" y="21213"/>
                    <a:pt x="17609" y="21384"/>
                    <a:pt x="17788" y="21456"/>
                  </a:cubicBezTo>
                  <a:cubicBezTo>
                    <a:pt x="17962" y="21527"/>
                    <a:pt x="18188" y="21530"/>
                    <a:pt x="18265" y="21459"/>
                  </a:cubicBezTo>
                  <a:cubicBezTo>
                    <a:pt x="18351" y="21399"/>
                    <a:pt x="18390" y="20954"/>
                    <a:pt x="18350" y="20475"/>
                  </a:cubicBezTo>
                  <a:cubicBezTo>
                    <a:pt x="18307" y="19998"/>
                    <a:pt x="18205" y="19519"/>
                    <a:pt x="18164" y="19395"/>
                  </a:cubicBezTo>
                  <a:cubicBezTo>
                    <a:pt x="18086" y="19287"/>
                    <a:pt x="18052" y="19024"/>
                    <a:pt x="18052" y="18825"/>
                  </a:cubicBezTo>
                  <a:cubicBezTo>
                    <a:pt x="18052" y="18628"/>
                    <a:pt x="17973" y="18190"/>
                    <a:pt x="17867" y="17854"/>
                  </a:cubicBezTo>
                  <a:cubicBezTo>
                    <a:pt x="17762" y="17517"/>
                    <a:pt x="17703" y="17082"/>
                    <a:pt x="17747" y="16890"/>
                  </a:cubicBezTo>
                  <a:cubicBezTo>
                    <a:pt x="17788" y="16696"/>
                    <a:pt x="17887" y="16472"/>
                    <a:pt x="17959" y="16389"/>
                  </a:cubicBezTo>
                  <a:cubicBezTo>
                    <a:pt x="18035" y="16308"/>
                    <a:pt x="18235" y="16394"/>
                    <a:pt x="18388" y="16597"/>
                  </a:cubicBezTo>
                  <a:cubicBezTo>
                    <a:pt x="18555" y="16792"/>
                    <a:pt x="18648" y="17174"/>
                    <a:pt x="18604" y="17440"/>
                  </a:cubicBezTo>
                  <a:cubicBezTo>
                    <a:pt x="18565" y="17707"/>
                    <a:pt x="18596" y="18049"/>
                    <a:pt x="18678" y="18201"/>
                  </a:cubicBezTo>
                  <a:cubicBezTo>
                    <a:pt x="18761" y="18355"/>
                    <a:pt x="18866" y="18351"/>
                    <a:pt x="18908" y="18194"/>
                  </a:cubicBezTo>
                  <a:cubicBezTo>
                    <a:pt x="18950" y="18036"/>
                    <a:pt x="18976" y="17549"/>
                    <a:pt x="18915" y="17115"/>
                  </a:cubicBezTo>
                  <a:cubicBezTo>
                    <a:pt x="18893" y="16674"/>
                    <a:pt x="18911" y="16239"/>
                    <a:pt x="18996" y="16141"/>
                  </a:cubicBezTo>
                  <a:cubicBezTo>
                    <a:pt x="19088" y="16046"/>
                    <a:pt x="19125" y="15814"/>
                    <a:pt x="19125" y="15633"/>
                  </a:cubicBezTo>
                  <a:cubicBezTo>
                    <a:pt x="19125" y="15449"/>
                    <a:pt x="19032" y="15183"/>
                    <a:pt x="18945" y="15041"/>
                  </a:cubicBezTo>
                  <a:cubicBezTo>
                    <a:pt x="18858" y="14899"/>
                    <a:pt x="18774" y="14596"/>
                    <a:pt x="18795" y="14373"/>
                  </a:cubicBezTo>
                  <a:cubicBezTo>
                    <a:pt x="18795" y="14148"/>
                    <a:pt x="18856" y="13844"/>
                    <a:pt x="18947" y="13705"/>
                  </a:cubicBezTo>
                  <a:cubicBezTo>
                    <a:pt x="19047" y="13574"/>
                    <a:pt x="19041" y="13228"/>
                    <a:pt x="18978" y="12961"/>
                  </a:cubicBezTo>
                  <a:cubicBezTo>
                    <a:pt x="18935" y="12689"/>
                    <a:pt x="18842" y="12201"/>
                    <a:pt x="18761" y="11879"/>
                  </a:cubicBezTo>
                  <a:cubicBezTo>
                    <a:pt x="18717" y="11550"/>
                    <a:pt x="18876" y="11042"/>
                    <a:pt x="19173" y="10775"/>
                  </a:cubicBezTo>
                  <a:cubicBezTo>
                    <a:pt x="19465" y="10504"/>
                    <a:pt x="19912" y="10275"/>
                    <a:pt x="20186" y="10296"/>
                  </a:cubicBezTo>
                  <a:cubicBezTo>
                    <a:pt x="20462" y="10306"/>
                    <a:pt x="20796" y="10240"/>
                    <a:pt x="20919" y="10125"/>
                  </a:cubicBezTo>
                  <a:cubicBezTo>
                    <a:pt x="21021" y="9993"/>
                    <a:pt x="21286" y="9958"/>
                    <a:pt x="21440" y="10010"/>
                  </a:cubicBezTo>
                  <a:cubicBezTo>
                    <a:pt x="21600" y="10056"/>
                    <a:pt x="21593" y="9862"/>
                    <a:pt x="21409" y="9586"/>
                  </a:cubicBezTo>
                  <a:cubicBezTo>
                    <a:pt x="21232" y="9310"/>
                    <a:pt x="20865" y="8932"/>
                    <a:pt x="20574" y="8778"/>
                  </a:cubicBezTo>
                  <a:cubicBezTo>
                    <a:pt x="20294" y="8607"/>
                    <a:pt x="19834" y="8439"/>
                    <a:pt x="19558" y="8429"/>
                  </a:cubicBezTo>
                  <a:cubicBezTo>
                    <a:pt x="19281" y="8407"/>
                    <a:pt x="18842" y="8199"/>
                    <a:pt x="18604" y="7960"/>
                  </a:cubicBezTo>
                  <a:cubicBezTo>
                    <a:pt x="18354" y="7726"/>
                    <a:pt x="18089" y="7371"/>
                    <a:pt x="18045" y="7166"/>
                  </a:cubicBezTo>
                  <a:cubicBezTo>
                    <a:pt x="18000" y="6960"/>
                    <a:pt x="17635" y="6505"/>
                    <a:pt x="17233" y="6180"/>
                  </a:cubicBezTo>
                  <a:cubicBezTo>
                    <a:pt x="16837" y="5850"/>
                    <a:pt x="16397" y="5258"/>
                    <a:pt x="16211" y="4895"/>
                  </a:cubicBezTo>
                  <a:cubicBezTo>
                    <a:pt x="16044" y="4524"/>
                    <a:pt x="15877" y="4026"/>
                    <a:pt x="15815" y="3784"/>
                  </a:cubicBezTo>
                  <a:cubicBezTo>
                    <a:pt x="15773" y="3540"/>
                    <a:pt x="15423" y="2897"/>
                    <a:pt x="15041" y="2353"/>
                  </a:cubicBezTo>
                  <a:cubicBezTo>
                    <a:pt x="14659" y="1810"/>
                    <a:pt x="14145" y="1188"/>
                    <a:pt x="13896" y="976"/>
                  </a:cubicBezTo>
                  <a:cubicBezTo>
                    <a:pt x="13651" y="758"/>
                    <a:pt x="13189" y="972"/>
                    <a:pt x="12887" y="1455"/>
                  </a:cubicBezTo>
                  <a:cubicBezTo>
                    <a:pt x="12880" y="1464"/>
                    <a:pt x="12876" y="1472"/>
                    <a:pt x="12870" y="1482"/>
                  </a:cubicBezTo>
                  <a:cubicBezTo>
                    <a:pt x="12856" y="1503"/>
                    <a:pt x="12838" y="1525"/>
                    <a:pt x="12824" y="1546"/>
                  </a:cubicBezTo>
                  <a:cubicBezTo>
                    <a:pt x="12521" y="2006"/>
                    <a:pt x="12072" y="2477"/>
                    <a:pt x="11801" y="2622"/>
                  </a:cubicBezTo>
                  <a:cubicBezTo>
                    <a:pt x="11519" y="2793"/>
                    <a:pt x="11220" y="3083"/>
                    <a:pt x="11152" y="3290"/>
                  </a:cubicBezTo>
                  <a:cubicBezTo>
                    <a:pt x="11090" y="3498"/>
                    <a:pt x="10619" y="3567"/>
                    <a:pt x="10114" y="3459"/>
                  </a:cubicBezTo>
                  <a:cubicBezTo>
                    <a:pt x="9609" y="3352"/>
                    <a:pt x="9049" y="2992"/>
                    <a:pt x="8883" y="2664"/>
                  </a:cubicBezTo>
                  <a:cubicBezTo>
                    <a:pt x="8713" y="2338"/>
                    <a:pt x="8111" y="1644"/>
                    <a:pt x="7561" y="1111"/>
                  </a:cubicBezTo>
                  <a:cubicBezTo>
                    <a:pt x="7009" y="577"/>
                    <a:pt x="6293" y="80"/>
                    <a:pt x="5972" y="14"/>
                  </a:cubicBezTo>
                  <a:cubicBezTo>
                    <a:pt x="5656" y="-70"/>
                    <a:pt x="5366" y="243"/>
                    <a:pt x="5283" y="680"/>
                  </a:cubicBezTo>
                  <a:cubicBezTo>
                    <a:pt x="5240" y="1123"/>
                    <a:pt x="5414" y="1681"/>
                    <a:pt x="5726" y="1905"/>
                  </a:cubicBezTo>
                  <a:cubicBezTo>
                    <a:pt x="6040" y="2129"/>
                    <a:pt x="6432" y="2552"/>
                    <a:pt x="6620" y="2824"/>
                  </a:cubicBezTo>
                  <a:cubicBezTo>
                    <a:pt x="6817" y="3089"/>
                    <a:pt x="6950" y="3685"/>
                    <a:pt x="6928" y="4133"/>
                  </a:cubicBezTo>
                  <a:cubicBezTo>
                    <a:pt x="6928" y="4581"/>
                    <a:pt x="6562" y="4711"/>
                    <a:pt x="6139" y="4436"/>
                  </a:cubicBezTo>
                  <a:cubicBezTo>
                    <a:pt x="5716" y="4161"/>
                    <a:pt x="5035" y="3866"/>
                    <a:pt x="4623" y="3805"/>
                  </a:cubicBezTo>
                  <a:cubicBezTo>
                    <a:pt x="4210" y="3731"/>
                    <a:pt x="3333" y="3291"/>
                    <a:pt x="2661" y="2832"/>
                  </a:cubicBezTo>
                  <a:cubicBezTo>
                    <a:pt x="1985" y="2370"/>
                    <a:pt x="1121" y="2088"/>
                    <a:pt x="723" y="2222"/>
                  </a:cubicBezTo>
                  <a:cubicBezTo>
                    <a:pt x="327" y="2366"/>
                    <a:pt x="0" y="2643"/>
                    <a:pt x="0" y="2852"/>
                  </a:cubicBezTo>
                  <a:cubicBezTo>
                    <a:pt x="0" y="3054"/>
                    <a:pt x="201" y="3392"/>
                    <a:pt x="409" y="3652"/>
                  </a:cubicBezTo>
                  <a:cubicBezTo>
                    <a:pt x="443" y="3686"/>
                    <a:pt x="475" y="3720"/>
                    <a:pt x="514" y="3753"/>
                  </a:cubicBezTo>
                  <a:cubicBezTo>
                    <a:pt x="551" y="3784"/>
                    <a:pt x="586" y="3815"/>
                    <a:pt x="628" y="3847"/>
                  </a:cubicBezTo>
                  <a:close/>
                  <a:moveTo>
                    <a:pt x="628" y="38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0" name="AutoShape 709"/>
            <p:cNvSpPr>
              <a:spLocks/>
            </p:cNvSpPr>
            <p:nvPr/>
          </p:nvSpPr>
          <p:spPr bwMode="auto">
            <a:xfrm>
              <a:off x="9232900" y="3556000"/>
              <a:ext cx="63500" cy="60325"/>
            </a:xfrm>
            <a:custGeom>
              <a:avLst/>
              <a:gdLst/>
              <a:ahLst/>
              <a:cxnLst/>
              <a:rect l="0" t="0" r="r" b="b"/>
              <a:pathLst>
                <a:path w="21354" h="21147">
                  <a:moveTo>
                    <a:pt x="14029" y="8114"/>
                  </a:moveTo>
                  <a:cubicBezTo>
                    <a:pt x="13244" y="7675"/>
                    <a:pt x="12040" y="6287"/>
                    <a:pt x="11408" y="4920"/>
                  </a:cubicBezTo>
                  <a:cubicBezTo>
                    <a:pt x="10842" y="3524"/>
                    <a:pt x="9812" y="2372"/>
                    <a:pt x="9259" y="2315"/>
                  </a:cubicBezTo>
                  <a:cubicBezTo>
                    <a:pt x="8700" y="2251"/>
                    <a:pt x="7936" y="2490"/>
                    <a:pt x="7621" y="2883"/>
                  </a:cubicBezTo>
                  <a:cubicBezTo>
                    <a:pt x="7278" y="3262"/>
                    <a:pt x="6266" y="2634"/>
                    <a:pt x="5302" y="1551"/>
                  </a:cubicBezTo>
                  <a:cubicBezTo>
                    <a:pt x="4430" y="397"/>
                    <a:pt x="3202" y="-229"/>
                    <a:pt x="2723" y="78"/>
                  </a:cubicBezTo>
                  <a:cubicBezTo>
                    <a:pt x="2256" y="410"/>
                    <a:pt x="1371" y="614"/>
                    <a:pt x="800" y="557"/>
                  </a:cubicBezTo>
                  <a:cubicBezTo>
                    <a:pt x="226" y="557"/>
                    <a:pt x="-134" y="742"/>
                    <a:pt x="48" y="1017"/>
                  </a:cubicBezTo>
                  <a:cubicBezTo>
                    <a:pt x="251" y="1276"/>
                    <a:pt x="449" y="1570"/>
                    <a:pt x="581" y="1591"/>
                  </a:cubicBezTo>
                  <a:cubicBezTo>
                    <a:pt x="718" y="1591"/>
                    <a:pt x="1280" y="2208"/>
                    <a:pt x="1768" y="2962"/>
                  </a:cubicBezTo>
                  <a:cubicBezTo>
                    <a:pt x="2256" y="3713"/>
                    <a:pt x="3045" y="4295"/>
                    <a:pt x="3450" y="4295"/>
                  </a:cubicBezTo>
                  <a:cubicBezTo>
                    <a:pt x="3855" y="4269"/>
                    <a:pt x="4414" y="4935"/>
                    <a:pt x="4724" y="5693"/>
                  </a:cubicBezTo>
                  <a:cubicBezTo>
                    <a:pt x="5017" y="6459"/>
                    <a:pt x="5265" y="7580"/>
                    <a:pt x="5265" y="8178"/>
                  </a:cubicBezTo>
                  <a:cubicBezTo>
                    <a:pt x="5203" y="8763"/>
                    <a:pt x="6505" y="10178"/>
                    <a:pt x="7997" y="11334"/>
                  </a:cubicBezTo>
                  <a:cubicBezTo>
                    <a:pt x="9507" y="12466"/>
                    <a:pt x="10916" y="14061"/>
                    <a:pt x="11036" y="14874"/>
                  </a:cubicBezTo>
                  <a:cubicBezTo>
                    <a:pt x="11222" y="15677"/>
                    <a:pt x="12073" y="16867"/>
                    <a:pt x="12963" y="17516"/>
                  </a:cubicBezTo>
                  <a:cubicBezTo>
                    <a:pt x="13843" y="18165"/>
                    <a:pt x="15265" y="18798"/>
                    <a:pt x="16104" y="18921"/>
                  </a:cubicBezTo>
                  <a:cubicBezTo>
                    <a:pt x="16952" y="19077"/>
                    <a:pt x="18448" y="19753"/>
                    <a:pt x="19391" y="20528"/>
                  </a:cubicBezTo>
                  <a:cubicBezTo>
                    <a:pt x="20366" y="21250"/>
                    <a:pt x="21222" y="21371"/>
                    <a:pt x="21346" y="20731"/>
                  </a:cubicBezTo>
                  <a:cubicBezTo>
                    <a:pt x="21466" y="20088"/>
                    <a:pt x="20209" y="17144"/>
                    <a:pt x="18543" y="14189"/>
                  </a:cubicBezTo>
                  <a:cubicBezTo>
                    <a:pt x="16877" y="11234"/>
                    <a:pt x="14831" y="8526"/>
                    <a:pt x="14029" y="8114"/>
                  </a:cubicBezTo>
                  <a:close/>
                  <a:moveTo>
                    <a:pt x="14029" y="811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1" name="AutoShape 710"/>
            <p:cNvSpPr>
              <a:spLocks/>
            </p:cNvSpPr>
            <p:nvPr/>
          </p:nvSpPr>
          <p:spPr bwMode="auto">
            <a:xfrm>
              <a:off x="9347200" y="3454400"/>
              <a:ext cx="0" cy="0"/>
            </a:xfrm>
            <a:custGeom>
              <a:avLst/>
              <a:gdLst/>
              <a:ahLst/>
              <a:cxnLst/>
              <a:rect l="0" t="0" r="r" b="b"/>
              <a:pathLst>
                <a:path w="21600" h="21600">
                  <a:moveTo>
                    <a:pt x="21600" y="0"/>
                  </a:moveTo>
                  <a:lnTo>
                    <a:pt x="21600" y="155"/>
                  </a:lnTo>
                  <a:cubicBezTo>
                    <a:pt x="15369" y="7281"/>
                    <a:pt x="6741" y="14445"/>
                    <a:pt x="0" y="21600"/>
                  </a:cubicBezTo>
                  <a:cubicBezTo>
                    <a:pt x="4823" y="16610"/>
                    <a:pt x="11055" y="11484"/>
                    <a:pt x="15878" y="6524"/>
                  </a:cubicBezTo>
                  <a:cubicBezTo>
                    <a:pt x="17765" y="4204"/>
                    <a:pt x="19203" y="2165"/>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2" name="AutoShape 711"/>
            <p:cNvSpPr>
              <a:spLocks/>
            </p:cNvSpPr>
            <p:nvPr/>
          </p:nvSpPr>
          <p:spPr bwMode="auto">
            <a:xfrm>
              <a:off x="9220200" y="3556000"/>
              <a:ext cx="666750" cy="757238"/>
            </a:xfrm>
            <a:custGeom>
              <a:avLst/>
              <a:gdLst/>
              <a:ahLst/>
              <a:cxnLst/>
              <a:rect l="0" t="0" r="r" b="b"/>
              <a:pathLst>
                <a:path w="21596" h="21589">
                  <a:moveTo>
                    <a:pt x="20438" y="20668"/>
                  </a:moveTo>
                  <a:cubicBezTo>
                    <a:pt x="20409" y="20588"/>
                    <a:pt x="20426" y="20466"/>
                    <a:pt x="20456" y="20397"/>
                  </a:cubicBezTo>
                  <a:cubicBezTo>
                    <a:pt x="20497" y="20332"/>
                    <a:pt x="20506" y="20227"/>
                    <a:pt x="20493" y="20169"/>
                  </a:cubicBezTo>
                  <a:cubicBezTo>
                    <a:pt x="20475" y="20113"/>
                    <a:pt x="20485" y="20013"/>
                    <a:pt x="20508" y="19950"/>
                  </a:cubicBezTo>
                  <a:cubicBezTo>
                    <a:pt x="20526" y="19886"/>
                    <a:pt x="20603" y="19801"/>
                    <a:pt x="20674" y="19767"/>
                  </a:cubicBezTo>
                  <a:cubicBezTo>
                    <a:pt x="20743" y="19728"/>
                    <a:pt x="20817" y="19669"/>
                    <a:pt x="20840" y="19635"/>
                  </a:cubicBezTo>
                  <a:cubicBezTo>
                    <a:pt x="20866" y="19602"/>
                    <a:pt x="20970" y="19534"/>
                    <a:pt x="21081" y="19493"/>
                  </a:cubicBezTo>
                  <a:cubicBezTo>
                    <a:pt x="21190" y="19450"/>
                    <a:pt x="21330" y="19443"/>
                    <a:pt x="21390" y="19480"/>
                  </a:cubicBezTo>
                  <a:cubicBezTo>
                    <a:pt x="21451" y="19514"/>
                    <a:pt x="21527" y="19509"/>
                    <a:pt x="21556" y="19465"/>
                  </a:cubicBezTo>
                  <a:cubicBezTo>
                    <a:pt x="21590" y="19423"/>
                    <a:pt x="21600" y="19282"/>
                    <a:pt x="21594" y="19154"/>
                  </a:cubicBezTo>
                  <a:cubicBezTo>
                    <a:pt x="21582" y="19027"/>
                    <a:pt x="21525" y="18874"/>
                    <a:pt x="21464" y="18816"/>
                  </a:cubicBezTo>
                  <a:cubicBezTo>
                    <a:pt x="21403" y="18757"/>
                    <a:pt x="21307" y="18710"/>
                    <a:pt x="21251" y="18713"/>
                  </a:cubicBezTo>
                  <a:cubicBezTo>
                    <a:pt x="21195" y="18713"/>
                    <a:pt x="21136" y="18669"/>
                    <a:pt x="21124" y="18609"/>
                  </a:cubicBezTo>
                  <a:cubicBezTo>
                    <a:pt x="21113" y="18549"/>
                    <a:pt x="21100" y="18427"/>
                    <a:pt x="21088" y="18338"/>
                  </a:cubicBezTo>
                  <a:cubicBezTo>
                    <a:pt x="21076" y="18248"/>
                    <a:pt x="21058" y="18112"/>
                    <a:pt x="21040" y="18036"/>
                  </a:cubicBezTo>
                  <a:cubicBezTo>
                    <a:pt x="21017" y="17961"/>
                    <a:pt x="20995" y="17807"/>
                    <a:pt x="20995" y="17696"/>
                  </a:cubicBezTo>
                  <a:cubicBezTo>
                    <a:pt x="20988" y="17585"/>
                    <a:pt x="20932" y="17483"/>
                    <a:pt x="20868" y="17472"/>
                  </a:cubicBezTo>
                  <a:cubicBezTo>
                    <a:pt x="20804" y="17461"/>
                    <a:pt x="20744" y="17420"/>
                    <a:pt x="20738" y="17384"/>
                  </a:cubicBezTo>
                  <a:cubicBezTo>
                    <a:pt x="20731" y="17348"/>
                    <a:pt x="20686" y="17299"/>
                    <a:pt x="20642" y="17272"/>
                  </a:cubicBezTo>
                  <a:cubicBezTo>
                    <a:pt x="20599" y="17245"/>
                    <a:pt x="20498" y="17214"/>
                    <a:pt x="20420" y="17201"/>
                  </a:cubicBezTo>
                  <a:cubicBezTo>
                    <a:pt x="20342" y="17190"/>
                    <a:pt x="20261" y="17148"/>
                    <a:pt x="20239" y="17114"/>
                  </a:cubicBezTo>
                  <a:cubicBezTo>
                    <a:pt x="20226" y="17076"/>
                    <a:pt x="20148" y="17014"/>
                    <a:pt x="20089" y="16964"/>
                  </a:cubicBezTo>
                  <a:cubicBezTo>
                    <a:pt x="20029" y="16914"/>
                    <a:pt x="19925" y="16800"/>
                    <a:pt x="19859" y="16707"/>
                  </a:cubicBezTo>
                  <a:cubicBezTo>
                    <a:pt x="19797" y="16612"/>
                    <a:pt x="19709" y="16476"/>
                    <a:pt x="19684" y="16396"/>
                  </a:cubicBezTo>
                  <a:cubicBezTo>
                    <a:pt x="19655" y="16319"/>
                    <a:pt x="19516" y="16065"/>
                    <a:pt x="19384" y="15829"/>
                  </a:cubicBezTo>
                  <a:cubicBezTo>
                    <a:pt x="19245" y="15595"/>
                    <a:pt x="19140" y="15399"/>
                    <a:pt x="19139" y="15399"/>
                  </a:cubicBezTo>
                  <a:cubicBezTo>
                    <a:pt x="19139" y="15399"/>
                    <a:pt x="19200" y="15425"/>
                    <a:pt x="19295" y="15467"/>
                  </a:cubicBezTo>
                  <a:cubicBezTo>
                    <a:pt x="19286" y="15251"/>
                    <a:pt x="19333" y="15005"/>
                    <a:pt x="19431" y="14809"/>
                  </a:cubicBezTo>
                  <a:cubicBezTo>
                    <a:pt x="19588" y="14484"/>
                    <a:pt x="19732" y="14188"/>
                    <a:pt x="19750" y="14150"/>
                  </a:cubicBezTo>
                  <a:cubicBezTo>
                    <a:pt x="19761" y="14110"/>
                    <a:pt x="19753" y="13973"/>
                    <a:pt x="19723" y="13841"/>
                  </a:cubicBezTo>
                  <a:cubicBezTo>
                    <a:pt x="19688" y="13710"/>
                    <a:pt x="19665" y="13528"/>
                    <a:pt x="19665" y="13439"/>
                  </a:cubicBezTo>
                  <a:cubicBezTo>
                    <a:pt x="19665" y="13350"/>
                    <a:pt x="19625" y="13184"/>
                    <a:pt x="19583" y="13067"/>
                  </a:cubicBezTo>
                  <a:cubicBezTo>
                    <a:pt x="19536" y="12951"/>
                    <a:pt x="19333" y="12838"/>
                    <a:pt x="19124" y="12818"/>
                  </a:cubicBezTo>
                  <a:cubicBezTo>
                    <a:pt x="18915" y="12796"/>
                    <a:pt x="18729" y="12681"/>
                    <a:pt x="18717" y="12560"/>
                  </a:cubicBezTo>
                  <a:cubicBezTo>
                    <a:pt x="18699" y="12439"/>
                    <a:pt x="18663" y="12291"/>
                    <a:pt x="18638" y="12228"/>
                  </a:cubicBezTo>
                  <a:cubicBezTo>
                    <a:pt x="18614" y="12165"/>
                    <a:pt x="18601" y="12082"/>
                    <a:pt x="18613" y="12038"/>
                  </a:cubicBezTo>
                  <a:cubicBezTo>
                    <a:pt x="18630" y="11995"/>
                    <a:pt x="18609" y="11829"/>
                    <a:pt x="18556" y="11674"/>
                  </a:cubicBezTo>
                  <a:cubicBezTo>
                    <a:pt x="18514" y="11517"/>
                    <a:pt x="18406" y="11248"/>
                    <a:pt x="18334" y="11070"/>
                  </a:cubicBezTo>
                  <a:cubicBezTo>
                    <a:pt x="18261" y="10893"/>
                    <a:pt x="18204" y="10682"/>
                    <a:pt x="18204" y="10598"/>
                  </a:cubicBezTo>
                  <a:cubicBezTo>
                    <a:pt x="18216" y="10515"/>
                    <a:pt x="18267" y="10349"/>
                    <a:pt x="18334" y="10231"/>
                  </a:cubicBezTo>
                  <a:cubicBezTo>
                    <a:pt x="18396" y="10112"/>
                    <a:pt x="18435" y="10018"/>
                    <a:pt x="18415" y="10014"/>
                  </a:cubicBezTo>
                  <a:cubicBezTo>
                    <a:pt x="18393" y="10014"/>
                    <a:pt x="18309" y="9979"/>
                    <a:pt x="18224" y="9949"/>
                  </a:cubicBezTo>
                  <a:cubicBezTo>
                    <a:pt x="18141" y="9913"/>
                    <a:pt x="18067" y="9836"/>
                    <a:pt x="18061" y="9772"/>
                  </a:cubicBezTo>
                  <a:cubicBezTo>
                    <a:pt x="18061" y="9708"/>
                    <a:pt x="18030" y="9559"/>
                    <a:pt x="18007" y="9439"/>
                  </a:cubicBezTo>
                  <a:cubicBezTo>
                    <a:pt x="17977" y="9321"/>
                    <a:pt x="17950" y="9210"/>
                    <a:pt x="17936" y="9195"/>
                  </a:cubicBezTo>
                  <a:cubicBezTo>
                    <a:pt x="17922" y="9180"/>
                    <a:pt x="17946" y="9100"/>
                    <a:pt x="17981" y="9016"/>
                  </a:cubicBezTo>
                  <a:cubicBezTo>
                    <a:pt x="18019" y="8934"/>
                    <a:pt x="18015" y="8829"/>
                    <a:pt x="17971" y="8783"/>
                  </a:cubicBezTo>
                  <a:cubicBezTo>
                    <a:pt x="17928" y="8736"/>
                    <a:pt x="17864" y="8663"/>
                    <a:pt x="17846" y="8613"/>
                  </a:cubicBezTo>
                  <a:cubicBezTo>
                    <a:pt x="17823" y="8566"/>
                    <a:pt x="17842" y="8516"/>
                    <a:pt x="17894" y="8504"/>
                  </a:cubicBezTo>
                  <a:cubicBezTo>
                    <a:pt x="17944" y="8490"/>
                    <a:pt x="18032" y="8436"/>
                    <a:pt x="18092" y="8389"/>
                  </a:cubicBezTo>
                  <a:cubicBezTo>
                    <a:pt x="18146" y="8335"/>
                    <a:pt x="18189" y="8263"/>
                    <a:pt x="18184" y="8220"/>
                  </a:cubicBezTo>
                  <a:cubicBezTo>
                    <a:pt x="18172" y="8179"/>
                    <a:pt x="18179" y="8131"/>
                    <a:pt x="18191" y="8115"/>
                  </a:cubicBezTo>
                  <a:cubicBezTo>
                    <a:pt x="18202" y="8101"/>
                    <a:pt x="18181" y="8039"/>
                    <a:pt x="18144" y="7980"/>
                  </a:cubicBezTo>
                  <a:cubicBezTo>
                    <a:pt x="18108" y="7921"/>
                    <a:pt x="18089" y="7833"/>
                    <a:pt x="18101" y="7786"/>
                  </a:cubicBezTo>
                  <a:cubicBezTo>
                    <a:pt x="18113" y="7738"/>
                    <a:pt x="18119" y="7663"/>
                    <a:pt x="18108" y="7618"/>
                  </a:cubicBezTo>
                  <a:cubicBezTo>
                    <a:pt x="18096" y="7574"/>
                    <a:pt x="18082" y="7462"/>
                    <a:pt x="18082" y="7371"/>
                  </a:cubicBezTo>
                  <a:cubicBezTo>
                    <a:pt x="18082" y="7280"/>
                    <a:pt x="18052" y="7156"/>
                    <a:pt x="18022" y="7096"/>
                  </a:cubicBezTo>
                  <a:cubicBezTo>
                    <a:pt x="17988" y="7037"/>
                    <a:pt x="17971" y="6944"/>
                    <a:pt x="17965" y="6896"/>
                  </a:cubicBezTo>
                  <a:cubicBezTo>
                    <a:pt x="17954" y="6848"/>
                    <a:pt x="17939" y="6740"/>
                    <a:pt x="17909" y="6658"/>
                  </a:cubicBezTo>
                  <a:cubicBezTo>
                    <a:pt x="17885" y="6575"/>
                    <a:pt x="17859" y="6469"/>
                    <a:pt x="17880" y="6424"/>
                  </a:cubicBezTo>
                  <a:cubicBezTo>
                    <a:pt x="17886" y="6376"/>
                    <a:pt x="17868" y="6260"/>
                    <a:pt x="17816" y="6166"/>
                  </a:cubicBezTo>
                  <a:cubicBezTo>
                    <a:pt x="17774" y="6068"/>
                    <a:pt x="17679" y="5956"/>
                    <a:pt x="17612" y="5916"/>
                  </a:cubicBezTo>
                  <a:cubicBezTo>
                    <a:pt x="17547" y="5874"/>
                    <a:pt x="17406" y="5819"/>
                    <a:pt x="17297" y="5795"/>
                  </a:cubicBezTo>
                  <a:cubicBezTo>
                    <a:pt x="17189" y="5769"/>
                    <a:pt x="17003" y="5592"/>
                    <a:pt x="16884" y="5399"/>
                  </a:cubicBezTo>
                  <a:cubicBezTo>
                    <a:pt x="16764" y="5206"/>
                    <a:pt x="16590" y="5016"/>
                    <a:pt x="16495" y="4975"/>
                  </a:cubicBezTo>
                  <a:cubicBezTo>
                    <a:pt x="16402" y="4931"/>
                    <a:pt x="16279" y="4911"/>
                    <a:pt x="16229" y="4922"/>
                  </a:cubicBezTo>
                  <a:cubicBezTo>
                    <a:pt x="16178" y="4932"/>
                    <a:pt x="16113" y="4922"/>
                    <a:pt x="16090" y="4893"/>
                  </a:cubicBezTo>
                  <a:cubicBezTo>
                    <a:pt x="16060" y="4871"/>
                    <a:pt x="16022" y="4766"/>
                    <a:pt x="15999" y="4668"/>
                  </a:cubicBezTo>
                  <a:cubicBezTo>
                    <a:pt x="15974" y="4570"/>
                    <a:pt x="15910" y="4476"/>
                    <a:pt x="15856" y="4457"/>
                  </a:cubicBezTo>
                  <a:cubicBezTo>
                    <a:pt x="15805" y="4435"/>
                    <a:pt x="15673" y="4368"/>
                    <a:pt x="15563" y="4305"/>
                  </a:cubicBezTo>
                  <a:cubicBezTo>
                    <a:pt x="15455" y="4239"/>
                    <a:pt x="15340" y="4211"/>
                    <a:pt x="15301" y="4240"/>
                  </a:cubicBezTo>
                  <a:cubicBezTo>
                    <a:pt x="15263" y="4270"/>
                    <a:pt x="15201" y="4294"/>
                    <a:pt x="15161" y="4291"/>
                  </a:cubicBezTo>
                  <a:cubicBezTo>
                    <a:pt x="15120" y="4291"/>
                    <a:pt x="14954" y="4175"/>
                    <a:pt x="14793" y="4036"/>
                  </a:cubicBezTo>
                  <a:cubicBezTo>
                    <a:pt x="14630" y="3898"/>
                    <a:pt x="14428" y="3756"/>
                    <a:pt x="14346" y="3717"/>
                  </a:cubicBezTo>
                  <a:cubicBezTo>
                    <a:pt x="14264" y="3678"/>
                    <a:pt x="14109" y="3563"/>
                    <a:pt x="14007" y="3457"/>
                  </a:cubicBezTo>
                  <a:cubicBezTo>
                    <a:pt x="13899" y="3354"/>
                    <a:pt x="13770" y="3260"/>
                    <a:pt x="13712" y="3257"/>
                  </a:cubicBezTo>
                  <a:cubicBezTo>
                    <a:pt x="13653" y="3254"/>
                    <a:pt x="13561" y="3224"/>
                    <a:pt x="13508" y="3190"/>
                  </a:cubicBezTo>
                  <a:cubicBezTo>
                    <a:pt x="13454" y="3159"/>
                    <a:pt x="13368" y="3141"/>
                    <a:pt x="13316" y="3151"/>
                  </a:cubicBezTo>
                  <a:cubicBezTo>
                    <a:pt x="13265" y="3161"/>
                    <a:pt x="13216" y="3232"/>
                    <a:pt x="13204" y="3308"/>
                  </a:cubicBezTo>
                  <a:cubicBezTo>
                    <a:pt x="13191" y="3384"/>
                    <a:pt x="13102" y="3413"/>
                    <a:pt x="12999" y="3378"/>
                  </a:cubicBezTo>
                  <a:cubicBezTo>
                    <a:pt x="12897" y="3339"/>
                    <a:pt x="12723" y="3323"/>
                    <a:pt x="12611" y="3333"/>
                  </a:cubicBezTo>
                  <a:cubicBezTo>
                    <a:pt x="12501" y="3347"/>
                    <a:pt x="12330" y="3444"/>
                    <a:pt x="12227" y="3547"/>
                  </a:cubicBezTo>
                  <a:cubicBezTo>
                    <a:pt x="12131" y="3654"/>
                    <a:pt x="12009" y="3736"/>
                    <a:pt x="11964" y="3736"/>
                  </a:cubicBezTo>
                  <a:cubicBezTo>
                    <a:pt x="11920" y="3734"/>
                    <a:pt x="11860" y="3779"/>
                    <a:pt x="11830" y="3829"/>
                  </a:cubicBezTo>
                  <a:cubicBezTo>
                    <a:pt x="11806" y="3883"/>
                    <a:pt x="11761" y="3993"/>
                    <a:pt x="11749" y="4079"/>
                  </a:cubicBezTo>
                  <a:cubicBezTo>
                    <a:pt x="11738" y="4165"/>
                    <a:pt x="11615" y="4233"/>
                    <a:pt x="11481" y="4227"/>
                  </a:cubicBezTo>
                  <a:cubicBezTo>
                    <a:pt x="11348" y="4222"/>
                    <a:pt x="11195" y="4245"/>
                    <a:pt x="11143" y="4280"/>
                  </a:cubicBezTo>
                  <a:cubicBezTo>
                    <a:pt x="11092" y="4316"/>
                    <a:pt x="11074" y="4416"/>
                    <a:pt x="11110" y="4506"/>
                  </a:cubicBezTo>
                  <a:cubicBezTo>
                    <a:pt x="11146" y="4595"/>
                    <a:pt x="11210" y="4736"/>
                    <a:pt x="11263" y="4812"/>
                  </a:cubicBezTo>
                  <a:cubicBezTo>
                    <a:pt x="11306" y="4894"/>
                    <a:pt x="11348" y="5026"/>
                    <a:pt x="11330" y="5110"/>
                  </a:cubicBezTo>
                  <a:cubicBezTo>
                    <a:pt x="11324" y="5195"/>
                    <a:pt x="11258" y="5246"/>
                    <a:pt x="11194" y="5227"/>
                  </a:cubicBezTo>
                  <a:cubicBezTo>
                    <a:pt x="11130" y="5207"/>
                    <a:pt x="10948" y="5165"/>
                    <a:pt x="10788" y="5130"/>
                  </a:cubicBezTo>
                  <a:cubicBezTo>
                    <a:pt x="10626" y="5098"/>
                    <a:pt x="10382" y="5077"/>
                    <a:pt x="10245" y="5085"/>
                  </a:cubicBezTo>
                  <a:cubicBezTo>
                    <a:pt x="10109" y="5096"/>
                    <a:pt x="9848" y="5138"/>
                    <a:pt x="9667" y="5183"/>
                  </a:cubicBezTo>
                  <a:cubicBezTo>
                    <a:pt x="9485" y="5226"/>
                    <a:pt x="9267" y="5259"/>
                    <a:pt x="9184" y="5252"/>
                  </a:cubicBezTo>
                  <a:cubicBezTo>
                    <a:pt x="9099" y="5246"/>
                    <a:pt x="8885" y="5175"/>
                    <a:pt x="8707" y="5101"/>
                  </a:cubicBezTo>
                  <a:cubicBezTo>
                    <a:pt x="8526" y="5030"/>
                    <a:pt x="8328" y="4954"/>
                    <a:pt x="8263" y="4941"/>
                  </a:cubicBezTo>
                  <a:cubicBezTo>
                    <a:pt x="8198" y="4927"/>
                    <a:pt x="8017" y="4855"/>
                    <a:pt x="7868" y="4768"/>
                  </a:cubicBezTo>
                  <a:cubicBezTo>
                    <a:pt x="7717" y="4682"/>
                    <a:pt x="7548" y="4563"/>
                    <a:pt x="7499" y="4495"/>
                  </a:cubicBezTo>
                  <a:cubicBezTo>
                    <a:pt x="7446" y="4429"/>
                    <a:pt x="7397" y="4307"/>
                    <a:pt x="7362" y="4235"/>
                  </a:cubicBezTo>
                  <a:cubicBezTo>
                    <a:pt x="7339" y="4159"/>
                    <a:pt x="7281" y="4093"/>
                    <a:pt x="7238" y="4086"/>
                  </a:cubicBezTo>
                  <a:cubicBezTo>
                    <a:pt x="7195" y="4079"/>
                    <a:pt x="7100" y="4029"/>
                    <a:pt x="7030" y="3970"/>
                  </a:cubicBezTo>
                  <a:cubicBezTo>
                    <a:pt x="6959" y="3910"/>
                    <a:pt x="6842" y="3882"/>
                    <a:pt x="6775" y="3906"/>
                  </a:cubicBezTo>
                  <a:cubicBezTo>
                    <a:pt x="6708" y="3930"/>
                    <a:pt x="6610" y="3929"/>
                    <a:pt x="6561" y="3904"/>
                  </a:cubicBezTo>
                  <a:cubicBezTo>
                    <a:pt x="6509" y="3881"/>
                    <a:pt x="6411" y="3853"/>
                    <a:pt x="6340" y="3848"/>
                  </a:cubicBezTo>
                  <a:cubicBezTo>
                    <a:pt x="6270" y="3843"/>
                    <a:pt x="6159" y="3774"/>
                    <a:pt x="6096" y="3696"/>
                  </a:cubicBezTo>
                  <a:cubicBezTo>
                    <a:pt x="6026" y="3622"/>
                    <a:pt x="5940" y="3548"/>
                    <a:pt x="5895" y="3536"/>
                  </a:cubicBezTo>
                  <a:cubicBezTo>
                    <a:pt x="5850" y="3523"/>
                    <a:pt x="5800" y="3483"/>
                    <a:pt x="5771" y="3453"/>
                  </a:cubicBezTo>
                  <a:cubicBezTo>
                    <a:pt x="5748" y="3420"/>
                    <a:pt x="5740" y="3328"/>
                    <a:pt x="5740" y="3251"/>
                  </a:cubicBezTo>
                  <a:cubicBezTo>
                    <a:pt x="5752" y="3174"/>
                    <a:pt x="5739" y="3042"/>
                    <a:pt x="5721" y="2961"/>
                  </a:cubicBezTo>
                  <a:cubicBezTo>
                    <a:pt x="5709" y="2879"/>
                    <a:pt x="5659" y="2747"/>
                    <a:pt x="5601" y="2675"/>
                  </a:cubicBezTo>
                  <a:cubicBezTo>
                    <a:pt x="5553" y="2599"/>
                    <a:pt x="5507" y="2521"/>
                    <a:pt x="5507" y="2500"/>
                  </a:cubicBezTo>
                  <a:cubicBezTo>
                    <a:pt x="5502" y="2480"/>
                    <a:pt x="5485" y="2477"/>
                    <a:pt x="5460" y="2493"/>
                  </a:cubicBezTo>
                  <a:cubicBezTo>
                    <a:pt x="5439" y="2512"/>
                    <a:pt x="5375" y="2511"/>
                    <a:pt x="5325" y="2492"/>
                  </a:cubicBezTo>
                  <a:cubicBezTo>
                    <a:pt x="5275" y="2473"/>
                    <a:pt x="5213" y="2427"/>
                    <a:pt x="5190" y="2386"/>
                  </a:cubicBezTo>
                  <a:cubicBezTo>
                    <a:pt x="5162" y="2346"/>
                    <a:pt x="5102" y="2287"/>
                    <a:pt x="5052" y="2253"/>
                  </a:cubicBezTo>
                  <a:cubicBezTo>
                    <a:pt x="4997" y="2224"/>
                    <a:pt x="4861" y="2087"/>
                    <a:pt x="4751" y="1951"/>
                  </a:cubicBezTo>
                  <a:cubicBezTo>
                    <a:pt x="4634" y="1819"/>
                    <a:pt x="4618" y="1651"/>
                    <a:pt x="4711" y="1588"/>
                  </a:cubicBezTo>
                  <a:cubicBezTo>
                    <a:pt x="4805" y="1525"/>
                    <a:pt x="4816" y="1421"/>
                    <a:pt x="4739" y="1366"/>
                  </a:cubicBezTo>
                  <a:cubicBezTo>
                    <a:pt x="4664" y="1312"/>
                    <a:pt x="4586" y="1236"/>
                    <a:pt x="4569" y="1199"/>
                  </a:cubicBezTo>
                  <a:cubicBezTo>
                    <a:pt x="4549" y="1162"/>
                    <a:pt x="4559" y="1108"/>
                    <a:pt x="4593" y="1078"/>
                  </a:cubicBezTo>
                  <a:cubicBezTo>
                    <a:pt x="4624" y="1045"/>
                    <a:pt x="4619" y="980"/>
                    <a:pt x="4572" y="931"/>
                  </a:cubicBezTo>
                  <a:cubicBezTo>
                    <a:pt x="4525" y="884"/>
                    <a:pt x="4463" y="799"/>
                    <a:pt x="4434" y="745"/>
                  </a:cubicBezTo>
                  <a:cubicBezTo>
                    <a:pt x="4398" y="694"/>
                    <a:pt x="4351" y="642"/>
                    <a:pt x="4324" y="630"/>
                  </a:cubicBezTo>
                  <a:cubicBezTo>
                    <a:pt x="4294" y="622"/>
                    <a:pt x="4263" y="596"/>
                    <a:pt x="4257" y="575"/>
                  </a:cubicBezTo>
                  <a:cubicBezTo>
                    <a:pt x="4244" y="558"/>
                    <a:pt x="4218" y="530"/>
                    <a:pt x="4186" y="530"/>
                  </a:cubicBezTo>
                  <a:cubicBezTo>
                    <a:pt x="4153" y="525"/>
                    <a:pt x="4084" y="556"/>
                    <a:pt x="4032" y="598"/>
                  </a:cubicBezTo>
                  <a:cubicBezTo>
                    <a:pt x="3982" y="642"/>
                    <a:pt x="3903" y="683"/>
                    <a:pt x="3860" y="686"/>
                  </a:cubicBezTo>
                  <a:cubicBezTo>
                    <a:pt x="3817" y="690"/>
                    <a:pt x="3760" y="743"/>
                    <a:pt x="3721" y="793"/>
                  </a:cubicBezTo>
                  <a:cubicBezTo>
                    <a:pt x="3695" y="850"/>
                    <a:pt x="3634" y="904"/>
                    <a:pt x="3599" y="917"/>
                  </a:cubicBezTo>
                  <a:cubicBezTo>
                    <a:pt x="3564" y="929"/>
                    <a:pt x="3504" y="1006"/>
                    <a:pt x="3456" y="1080"/>
                  </a:cubicBezTo>
                  <a:cubicBezTo>
                    <a:pt x="3409" y="1155"/>
                    <a:pt x="3349" y="1219"/>
                    <a:pt x="3317" y="1216"/>
                  </a:cubicBezTo>
                  <a:cubicBezTo>
                    <a:pt x="3286" y="1214"/>
                    <a:pt x="3250" y="1241"/>
                    <a:pt x="3227" y="1270"/>
                  </a:cubicBezTo>
                  <a:cubicBezTo>
                    <a:pt x="3204" y="1298"/>
                    <a:pt x="3183" y="1358"/>
                    <a:pt x="3183" y="1397"/>
                  </a:cubicBezTo>
                  <a:cubicBezTo>
                    <a:pt x="3172" y="1435"/>
                    <a:pt x="3130" y="1486"/>
                    <a:pt x="3078" y="1506"/>
                  </a:cubicBezTo>
                  <a:cubicBezTo>
                    <a:pt x="3026" y="1527"/>
                    <a:pt x="2948" y="1526"/>
                    <a:pt x="2901" y="1508"/>
                  </a:cubicBezTo>
                  <a:cubicBezTo>
                    <a:pt x="2858" y="1487"/>
                    <a:pt x="2771" y="1477"/>
                    <a:pt x="2704" y="1484"/>
                  </a:cubicBezTo>
                  <a:cubicBezTo>
                    <a:pt x="2702" y="1484"/>
                    <a:pt x="2699" y="1484"/>
                    <a:pt x="2697" y="1484"/>
                  </a:cubicBezTo>
                  <a:cubicBezTo>
                    <a:pt x="2630" y="1492"/>
                    <a:pt x="2575" y="1497"/>
                    <a:pt x="2575" y="1497"/>
                  </a:cubicBezTo>
                  <a:cubicBezTo>
                    <a:pt x="2575" y="1497"/>
                    <a:pt x="2564" y="1540"/>
                    <a:pt x="2552" y="1593"/>
                  </a:cubicBezTo>
                  <a:cubicBezTo>
                    <a:pt x="2540" y="1646"/>
                    <a:pt x="2457" y="1636"/>
                    <a:pt x="2362" y="1576"/>
                  </a:cubicBezTo>
                  <a:cubicBezTo>
                    <a:pt x="2271" y="1512"/>
                    <a:pt x="2125" y="1456"/>
                    <a:pt x="2043" y="1443"/>
                  </a:cubicBezTo>
                  <a:cubicBezTo>
                    <a:pt x="1961" y="1432"/>
                    <a:pt x="1823" y="1380"/>
                    <a:pt x="1738" y="1326"/>
                  </a:cubicBezTo>
                  <a:cubicBezTo>
                    <a:pt x="1652" y="1272"/>
                    <a:pt x="1569" y="1173"/>
                    <a:pt x="1551" y="1107"/>
                  </a:cubicBezTo>
                  <a:cubicBezTo>
                    <a:pt x="1539" y="1039"/>
                    <a:pt x="1402" y="907"/>
                    <a:pt x="1256" y="813"/>
                  </a:cubicBezTo>
                  <a:cubicBezTo>
                    <a:pt x="1111" y="717"/>
                    <a:pt x="984" y="599"/>
                    <a:pt x="990" y="551"/>
                  </a:cubicBezTo>
                  <a:cubicBezTo>
                    <a:pt x="990" y="501"/>
                    <a:pt x="966" y="408"/>
                    <a:pt x="938" y="344"/>
                  </a:cubicBezTo>
                  <a:cubicBezTo>
                    <a:pt x="907" y="281"/>
                    <a:pt x="853" y="226"/>
                    <a:pt x="814" y="228"/>
                  </a:cubicBezTo>
                  <a:cubicBezTo>
                    <a:pt x="775" y="228"/>
                    <a:pt x="698" y="180"/>
                    <a:pt x="651" y="118"/>
                  </a:cubicBezTo>
                  <a:cubicBezTo>
                    <a:pt x="603" y="55"/>
                    <a:pt x="548" y="4"/>
                    <a:pt x="535" y="4"/>
                  </a:cubicBezTo>
                  <a:cubicBezTo>
                    <a:pt x="522" y="2"/>
                    <a:pt x="513" y="0"/>
                    <a:pt x="512" y="0"/>
                  </a:cubicBezTo>
                  <a:cubicBezTo>
                    <a:pt x="512" y="0"/>
                    <a:pt x="486" y="23"/>
                    <a:pt x="455" y="53"/>
                  </a:cubicBezTo>
                  <a:cubicBezTo>
                    <a:pt x="423" y="81"/>
                    <a:pt x="381" y="179"/>
                    <a:pt x="357" y="267"/>
                  </a:cubicBezTo>
                  <a:cubicBezTo>
                    <a:pt x="333" y="356"/>
                    <a:pt x="241" y="428"/>
                    <a:pt x="152" y="428"/>
                  </a:cubicBezTo>
                  <a:cubicBezTo>
                    <a:pt x="63" y="428"/>
                    <a:pt x="0" y="455"/>
                    <a:pt x="0" y="490"/>
                  </a:cubicBezTo>
                  <a:cubicBezTo>
                    <a:pt x="6" y="525"/>
                    <a:pt x="44" y="611"/>
                    <a:pt x="85" y="682"/>
                  </a:cubicBezTo>
                  <a:cubicBezTo>
                    <a:pt x="122" y="754"/>
                    <a:pt x="196" y="918"/>
                    <a:pt x="237" y="1051"/>
                  </a:cubicBezTo>
                  <a:cubicBezTo>
                    <a:pt x="278" y="1183"/>
                    <a:pt x="308" y="1344"/>
                    <a:pt x="308" y="1408"/>
                  </a:cubicBezTo>
                  <a:cubicBezTo>
                    <a:pt x="301" y="1472"/>
                    <a:pt x="316" y="1602"/>
                    <a:pt x="322" y="1698"/>
                  </a:cubicBezTo>
                  <a:cubicBezTo>
                    <a:pt x="334" y="1793"/>
                    <a:pt x="403" y="1885"/>
                    <a:pt x="477" y="1901"/>
                  </a:cubicBezTo>
                  <a:cubicBezTo>
                    <a:pt x="553" y="1914"/>
                    <a:pt x="633" y="1967"/>
                    <a:pt x="657" y="2011"/>
                  </a:cubicBezTo>
                  <a:cubicBezTo>
                    <a:pt x="687" y="2053"/>
                    <a:pt x="674" y="2175"/>
                    <a:pt x="644" y="2276"/>
                  </a:cubicBezTo>
                  <a:cubicBezTo>
                    <a:pt x="608" y="2377"/>
                    <a:pt x="593" y="2544"/>
                    <a:pt x="611" y="2644"/>
                  </a:cubicBezTo>
                  <a:cubicBezTo>
                    <a:pt x="623" y="2745"/>
                    <a:pt x="634" y="2860"/>
                    <a:pt x="628" y="2899"/>
                  </a:cubicBezTo>
                  <a:cubicBezTo>
                    <a:pt x="622" y="2939"/>
                    <a:pt x="695" y="3004"/>
                    <a:pt x="782" y="3048"/>
                  </a:cubicBezTo>
                  <a:cubicBezTo>
                    <a:pt x="869" y="3092"/>
                    <a:pt x="1015" y="3238"/>
                    <a:pt x="1088" y="3382"/>
                  </a:cubicBezTo>
                  <a:cubicBezTo>
                    <a:pt x="1172" y="3521"/>
                    <a:pt x="1261" y="3708"/>
                    <a:pt x="1301" y="3789"/>
                  </a:cubicBezTo>
                  <a:cubicBezTo>
                    <a:pt x="1336" y="3872"/>
                    <a:pt x="1354" y="3987"/>
                    <a:pt x="1347" y="4047"/>
                  </a:cubicBezTo>
                  <a:cubicBezTo>
                    <a:pt x="1329" y="4104"/>
                    <a:pt x="1332" y="4148"/>
                    <a:pt x="1338" y="4150"/>
                  </a:cubicBezTo>
                  <a:cubicBezTo>
                    <a:pt x="1344" y="4146"/>
                    <a:pt x="1400" y="4157"/>
                    <a:pt x="1460" y="4165"/>
                  </a:cubicBezTo>
                  <a:cubicBezTo>
                    <a:pt x="1520" y="4175"/>
                    <a:pt x="1600" y="4257"/>
                    <a:pt x="1636" y="4347"/>
                  </a:cubicBezTo>
                  <a:cubicBezTo>
                    <a:pt x="1684" y="4433"/>
                    <a:pt x="1708" y="4562"/>
                    <a:pt x="1708" y="4625"/>
                  </a:cubicBezTo>
                  <a:cubicBezTo>
                    <a:pt x="1714" y="4688"/>
                    <a:pt x="1743" y="4796"/>
                    <a:pt x="1777" y="4867"/>
                  </a:cubicBezTo>
                  <a:cubicBezTo>
                    <a:pt x="1813" y="4936"/>
                    <a:pt x="1882" y="5006"/>
                    <a:pt x="1929" y="5024"/>
                  </a:cubicBezTo>
                  <a:cubicBezTo>
                    <a:pt x="1978" y="5039"/>
                    <a:pt x="2050" y="5102"/>
                    <a:pt x="2085" y="5163"/>
                  </a:cubicBezTo>
                  <a:cubicBezTo>
                    <a:pt x="2121" y="5224"/>
                    <a:pt x="2180" y="5341"/>
                    <a:pt x="2216" y="5424"/>
                  </a:cubicBezTo>
                  <a:cubicBezTo>
                    <a:pt x="2257" y="5505"/>
                    <a:pt x="2327" y="5609"/>
                    <a:pt x="2389" y="5646"/>
                  </a:cubicBezTo>
                  <a:cubicBezTo>
                    <a:pt x="2449" y="5686"/>
                    <a:pt x="2535" y="5726"/>
                    <a:pt x="2581" y="5738"/>
                  </a:cubicBezTo>
                  <a:cubicBezTo>
                    <a:pt x="2628" y="5748"/>
                    <a:pt x="2758" y="5819"/>
                    <a:pt x="2867" y="5897"/>
                  </a:cubicBezTo>
                  <a:cubicBezTo>
                    <a:pt x="2979" y="5972"/>
                    <a:pt x="3108" y="6051"/>
                    <a:pt x="3155" y="6065"/>
                  </a:cubicBezTo>
                  <a:cubicBezTo>
                    <a:pt x="3202" y="6080"/>
                    <a:pt x="3295" y="6092"/>
                    <a:pt x="3362" y="6089"/>
                  </a:cubicBezTo>
                  <a:cubicBezTo>
                    <a:pt x="3428" y="6084"/>
                    <a:pt x="3523" y="6104"/>
                    <a:pt x="3564" y="6135"/>
                  </a:cubicBezTo>
                  <a:cubicBezTo>
                    <a:pt x="3609" y="6160"/>
                    <a:pt x="3667" y="6202"/>
                    <a:pt x="3696" y="6224"/>
                  </a:cubicBezTo>
                  <a:cubicBezTo>
                    <a:pt x="3723" y="6248"/>
                    <a:pt x="3730" y="6273"/>
                    <a:pt x="3715" y="6290"/>
                  </a:cubicBezTo>
                  <a:cubicBezTo>
                    <a:pt x="3701" y="6306"/>
                    <a:pt x="3634" y="6327"/>
                    <a:pt x="3576" y="6347"/>
                  </a:cubicBezTo>
                  <a:cubicBezTo>
                    <a:pt x="3517" y="6365"/>
                    <a:pt x="3440" y="6386"/>
                    <a:pt x="3404" y="6391"/>
                  </a:cubicBezTo>
                  <a:cubicBezTo>
                    <a:pt x="3367" y="6397"/>
                    <a:pt x="3345" y="6476"/>
                    <a:pt x="3362" y="6566"/>
                  </a:cubicBezTo>
                  <a:cubicBezTo>
                    <a:pt x="3374" y="6657"/>
                    <a:pt x="3410" y="6746"/>
                    <a:pt x="3433" y="6767"/>
                  </a:cubicBezTo>
                  <a:cubicBezTo>
                    <a:pt x="3461" y="6784"/>
                    <a:pt x="3485" y="6903"/>
                    <a:pt x="3497" y="7027"/>
                  </a:cubicBezTo>
                  <a:cubicBezTo>
                    <a:pt x="3503" y="7150"/>
                    <a:pt x="3487" y="7274"/>
                    <a:pt x="3448" y="7296"/>
                  </a:cubicBezTo>
                  <a:cubicBezTo>
                    <a:pt x="3411" y="7320"/>
                    <a:pt x="3350" y="7329"/>
                    <a:pt x="3308" y="7319"/>
                  </a:cubicBezTo>
                  <a:cubicBezTo>
                    <a:pt x="3267" y="7306"/>
                    <a:pt x="3227" y="7383"/>
                    <a:pt x="3227" y="7490"/>
                  </a:cubicBezTo>
                  <a:cubicBezTo>
                    <a:pt x="3227" y="7598"/>
                    <a:pt x="3195" y="7712"/>
                    <a:pt x="3163" y="7742"/>
                  </a:cubicBezTo>
                  <a:cubicBezTo>
                    <a:pt x="3132" y="7773"/>
                    <a:pt x="3107" y="7903"/>
                    <a:pt x="3119" y="8032"/>
                  </a:cubicBezTo>
                  <a:cubicBezTo>
                    <a:pt x="3125" y="8161"/>
                    <a:pt x="3116" y="8304"/>
                    <a:pt x="3104" y="8352"/>
                  </a:cubicBezTo>
                  <a:cubicBezTo>
                    <a:pt x="3093" y="8400"/>
                    <a:pt x="3091" y="8469"/>
                    <a:pt x="3118" y="8504"/>
                  </a:cubicBezTo>
                  <a:cubicBezTo>
                    <a:pt x="3136" y="8542"/>
                    <a:pt x="3138" y="8600"/>
                    <a:pt x="3118" y="8637"/>
                  </a:cubicBezTo>
                  <a:cubicBezTo>
                    <a:pt x="3094" y="8672"/>
                    <a:pt x="3083" y="8742"/>
                    <a:pt x="3083" y="8791"/>
                  </a:cubicBezTo>
                  <a:cubicBezTo>
                    <a:pt x="3089" y="8839"/>
                    <a:pt x="3125" y="8884"/>
                    <a:pt x="3167" y="8892"/>
                  </a:cubicBezTo>
                  <a:cubicBezTo>
                    <a:pt x="3211" y="8898"/>
                    <a:pt x="3278" y="8947"/>
                    <a:pt x="3313" y="8998"/>
                  </a:cubicBezTo>
                  <a:cubicBezTo>
                    <a:pt x="3348" y="9050"/>
                    <a:pt x="3436" y="9106"/>
                    <a:pt x="3505" y="9126"/>
                  </a:cubicBezTo>
                  <a:cubicBezTo>
                    <a:pt x="3572" y="9145"/>
                    <a:pt x="3641" y="9203"/>
                    <a:pt x="3658" y="9254"/>
                  </a:cubicBezTo>
                  <a:cubicBezTo>
                    <a:pt x="3682" y="9304"/>
                    <a:pt x="3746" y="9408"/>
                    <a:pt x="3822" y="9476"/>
                  </a:cubicBezTo>
                  <a:cubicBezTo>
                    <a:pt x="3899" y="9543"/>
                    <a:pt x="3941" y="9663"/>
                    <a:pt x="3911" y="9734"/>
                  </a:cubicBezTo>
                  <a:cubicBezTo>
                    <a:pt x="3887" y="9806"/>
                    <a:pt x="3891" y="9882"/>
                    <a:pt x="3903" y="9912"/>
                  </a:cubicBezTo>
                  <a:cubicBezTo>
                    <a:pt x="3921" y="9939"/>
                    <a:pt x="3929" y="9995"/>
                    <a:pt x="3922" y="10037"/>
                  </a:cubicBezTo>
                  <a:cubicBezTo>
                    <a:pt x="3917" y="10081"/>
                    <a:pt x="3960" y="10166"/>
                    <a:pt x="4030" y="10223"/>
                  </a:cubicBezTo>
                  <a:cubicBezTo>
                    <a:pt x="4095" y="10286"/>
                    <a:pt x="4180" y="10314"/>
                    <a:pt x="4207" y="10289"/>
                  </a:cubicBezTo>
                  <a:cubicBezTo>
                    <a:pt x="4239" y="10268"/>
                    <a:pt x="4306" y="10243"/>
                    <a:pt x="4358" y="10243"/>
                  </a:cubicBezTo>
                  <a:cubicBezTo>
                    <a:pt x="4411" y="10240"/>
                    <a:pt x="4647" y="10394"/>
                    <a:pt x="4887" y="10578"/>
                  </a:cubicBezTo>
                  <a:cubicBezTo>
                    <a:pt x="5125" y="10763"/>
                    <a:pt x="5343" y="10903"/>
                    <a:pt x="5376" y="10891"/>
                  </a:cubicBezTo>
                  <a:cubicBezTo>
                    <a:pt x="5409" y="10881"/>
                    <a:pt x="5464" y="10895"/>
                    <a:pt x="5505" y="10926"/>
                  </a:cubicBezTo>
                  <a:cubicBezTo>
                    <a:pt x="5544" y="10959"/>
                    <a:pt x="5627" y="11090"/>
                    <a:pt x="5692" y="11216"/>
                  </a:cubicBezTo>
                  <a:cubicBezTo>
                    <a:pt x="5753" y="11345"/>
                    <a:pt x="5856" y="11479"/>
                    <a:pt x="5915" y="11518"/>
                  </a:cubicBezTo>
                  <a:cubicBezTo>
                    <a:pt x="5974" y="11556"/>
                    <a:pt x="6080" y="11719"/>
                    <a:pt x="6152" y="11879"/>
                  </a:cubicBezTo>
                  <a:cubicBezTo>
                    <a:pt x="6225" y="12039"/>
                    <a:pt x="6236" y="12223"/>
                    <a:pt x="6174" y="12283"/>
                  </a:cubicBezTo>
                  <a:cubicBezTo>
                    <a:pt x="6113" y="12344"/>
                    <a:pt x="6074" y="12481"/>
                    <a:pt x="6068" y="12584"/>
                  </a:cubicBezTo>
                  <a:cubicBezTo>
                    <a:pt x="6068" y="12688"/>
                    <a:pt x="6092" y="12850"/>
                    <a:pt x="6121" y="12945"/>
                  </a:cubicBezTo>
                  <a:cubicBezTo>
                    <a:pt x="6146" y="13041"/>
                    <a:pt x="6252" y="13124"/>
                    <a:pt x="6347" y="13126"/>
                  </a:cubicBezTo>
                  <a:cubicBezTo>
                    <a:pt x="6443" y="13131"/>
                    <a:pt x="6541" y="13314"/>
                    <a:pt x="6576" y="13532"/>
                  </a:cubicBezTo>
                  <a:cubicBezTo>
                    <a:pt x="6600" y="13751"/>
                    <a:pt x="6674" y="13968"/>
                    <a:pt x="6728" y="14012"/>
                  </a:cubicBezTo>
                  <a:cubicBezTo>
                    <a:pt x="6786" y="14053"/>
                    <a:pt x="6880" y="14122"/>
                    <a:pt x="6946" y="14156"/>
                  </a:cubicBezTo>
                  <a:cubicBezTo>
                    <a:pt x="7011" y="14190"/>
                    <a:pt x="7085" y="14235"/>
                    <a:pt x="7107" y="14257"/>
                  </a:cubicBezTo>
                  <a:cubicBezTo>
                    <a:pt x="7126" y="14282"/>
                    <a:pt x="7169" y="14285"/>
                    <a:pt x="7197" y="14275"/>
                  </a:cubicBezTo>
                  <a:cubicBezTo>
                    <a:pt x="7221" y="14262"/>
                    <a:pt x="7241" y="14271"/>
                    <a:pt x="7241" y="14291"/>
                  </a:cubicBezTo>
                  <a:cubicBezTo>
                    <a:pt x="7241" y="14312"/>
                    <a:pt x="7279" y="14388"/>
                    <a:pt x="7327" y="14459"/>
                  </a:cubicBezTo>
                  <a:cubicBezTo>
                    <a:pt x="7376" y="14529"/>
                    <a:pt x="7444" y="14589"/>
                    <a:pt x="7479" y="14586"/>
                  </a:cubicBezTo>
                  <a:cubicBezTo>
                    <a:pt x="7515" y="14584"/>
                    <a:pt x="7572" y="14559"/>
                    <a:pt x="7602" y="14525"/>
                  </a:cubicBezTo>
                  <a:cubicBezTo>
                    <a:pt x="7628" y="14488"/>
                    <a:pt x="7659" y="14411"/>
                    <a:pt x="7659" y="14345"/>
                  </a:cubicBezTo>
                  <a:cubicBezTo>
                    <a:pt x="7659" y="14279"/>
                    <a:pt x="7621" y="14187"/>
                    <a:pt x="7573" y="14144"/>
                  </a:cubicBezTo>
                  <a:cubicBezTo>
                    <a:pt x="7524" y="14101"/>
                    <a:pt x="7518" y="14066"/>
                    <a:pt x="7554" y="14076"/>
                  </a:cubicBezTo>
                  <a:cubicBezTo>
                    <a:pt x="7590" y="14080"/>
                    <a:pt x="7652" y="14090"/>
                    <a:pt x="7692" y="14087"/>
                  </a:cubicBezTo>
                  <a:cubicBezTo>
                    <a:pt x="7732" y="14084"/>
                    <a:pt x="7775" y="14068"/>
                    <a:pt x="7791" y="14049"/>
                  </a:cubicBezTo>
                  <a:cubicBezTo>
                    <a:pt x="7804" y="14028"/>
                    <a:pt x="7807" y="14044"/>
                    <a:pt x="7801" y="14083"/>
                  </a:cubicBezTo>
                  <a:cubicBezTo>
                    <a:pt x="7795" y="14123"/>
                    <a:pt x="7782" y="14187"/>
                    <a:pt x="7770" y="14226"/>
                  </a:cubicBezTo>
                  <a:cubicBezTo>
                    <a:pt x="7770" y="14265"/>
                    <a:pt x="7813" y="14332"/>
                    <a:pt x="7882" y="14370"/>
                  </a:cubicBezTo>
                  <a:cubicBezTo>
                    <a:pt x="7952" y="14409"/>
                    <a:pt x="8030" y="14435"/>
                    <a:pt x="8055" y="14421"/>
                  </a:cubicBezTo>
                  <a:cubicBezTo>
                    <a:pt x="8081" y="14410"/>
                    <a:pt x="8134" y="14450"/>
                    <a:pt x="8160" y="14517"/>
                  </a:cubicBezTo>
                  <a:cubicBezTo>
                    <a:pt x="8194" y="14581"/>
                    <a:pt x="8242" y="14635"/>
                    <a:pt x="8270" y="14643"/>
                  </a:cubicBezTo>
                  <a:cubicBezTo>
                    <a:pt x="8299" y="14648"/>
                    <a:pt x="8396" y="14582"/>
                    <a:pt x="8480" y="14495"/>
                  </a:cubicBezTo>
                  <a:cubicBezTo>
                    <a:pt x="8567" y="14410"/>
                    <a:pt x="8664" y="14354"/>
                    <a:pt x="8694" y="14376"/>
                  </a:cubicBezTo>
                  <a:cubicBezTo>
                    <a:pt x="8728" y="14393"/>
                    <a:pt x="8808" y="14494"/>
                    <a:pt x="8872" y="14595"/>
                  </a:cubicBezTo>
                  <a:cubicBezTo>
                    <a:pt x="8937" y="14696"/>
                    <a:pt x="9003" y="14831"/>
                    <a:pt x="9009" y="14898"/>
                  </a:cubicBezTo>
                  <a:cubicBezTo>
                    <a:pt x="9021" y="14963"/>
                    <a:pt x="9121" y="15145"/>
                    <a:pt x="9229" y="15304"/>
                  </a:cubicBezTo>
                  <a:cubicBezTo>
                    <a:pt x="9346" y="15458"/>
                    <a:pt x="9443" y="15678"/>
                    <a:pt x="9454" y="15787"/>
                  </a:cubicBezTo>
                  <a:cubicBezTo>
                    <a:pt x="9473" y="15895"/>
                    <a:pt x="9502" y="16007"/>
                    <a:pt x="9536" y="16029"/>
                  </a:cubicBezTo>
                  <a:cubicBezTo>
                    <a:pt x="9564" y="16057"/>
                    <a:pt x="9629" y="16071"/>
                    <a:pt x="9671" y="16063"/>
                  </a:cubicBezTo>
                  <a:cubicBezTo>
                    <a:pt x="9715" y="16058"/>
                    <a:pt x="9775" y="16106"/>
                    <a:pt x="9809" y="16169"/>
                  </a:cubicBezTo>
                  <a:cubicBezTo>
                    <a:pt x="9845" y="16232"/>
                    <a:pt x="9852" y="16285"/>
                    <a:pt x="9830" y="16285"/>
                  </a:cubicBezTo>
                  <a:cubicBezTo>
                    <a:pt x="9808" y="16282"/>
                    <a:pt x="9772" y="16271"/>
                    <a:pt x="9754" y="16253"/>
                  </a:cubicBezTo>
                  <a:cubicBezTo>
                    <a:pt x="9733" y="16237"/>
                    <a:pt x="9707" y="16238"/>
                    <a:pt x="9694" y="16255"/>
                  </a:cubicBezTo>
                  <a:cubicBezTo>
                    <a:pt x="9679" y="16271"/>
                    <a:pt x="9718" y="16331"/>
                    <a:pt x="9770" y="16388"/>
                  </a:cubicBezTo>
                  <a:cubicBezTo>
                    <a:pt x="9824" y="16442"/>
                    <a:pt x="9890" y="16478"/>
                    <a:pt x="9915" y="16469"/>
                  </a:cubicBezTo>
                  <a:cubicBezTo>
                    <a:pt x="9942" y="16462"/>
                    <a:pt x="9973" y="16498"/>
                    <a:pt x="9985" y="16554"/>
                  </a:cubicBezTo>
                  <a:cubicBezTo>
                    <a:pt x="9991" y="16610"/>
                    <a:pt x="10086" y="16849"/>
                    <a:pt x="10181" y="17086"/>
                  </a:cubicBezTo>
                  <a:cubicBezTo>
                    <a:pt x="10277" y="17322"/>
                    <a:pt x="10400" y="17554"/>
                    <a:pt x="10460" y="17597"/>
                  </a:cubicBezTo>
                  <a:cubicBezTo>
                    <a:pt x="10521" y="17640"/>
                    <a:pt x="10652" y="17671"/>
                    <a:pt x="10754" y="17660"/>
                  </a:cubicBezTo>
                  <a:cubicBezTo>
                    <a:pt x="10856" y="17650"/>
                    <a:pt x="10998" y="17672"/>
                    <a:pt x="11073" y="17700"/>
                  </a:cubicBezTo>
                  <a:cubicBezTo>
                    <a:pt x="11147" y="17730"/>
                    <a:pt x="11231" y="17790"/>
                    <a:pt x="11262" y="17830"/>
                  </a:cubicBezTo>
                  <a:cubicBezTo>
                    <a:pt x="11295" y="17869"/>
                    <a:pt x="11391" y="17911"/>
                    <a:pt x="11480" y="17919"/>
                  </a:cubicBezTo>
                  <a:cubicBezTo>
                    <a:pt x="11569" y="17927"/>
                    <a:pt x="11653" y="17953"/>
                    <a:pt x="11665" y="17978"/>
                  </a:cubicBezTo>
                  <a:cubicBezTo>
                    <a:pt x="11684" y="17999"/>
                    <a:pt x="11732" y="18028"/>
                    <a:pt x="11785" y="18034"/>
                  </a:cubicBezTo>
                  <a:cubicBezTo>
                    <a:pt x="11839" y="18039"/>
                    <a:pt x="11892" y="18073"/>
                    <a:pt x="11898" y="18105"/>
                  </a:cubicBezTo>
                  <a:cubicBezTo>
                    <a:pt x="11909" y="18136"/>
                    <a:pt x="11892" y="18193"/>
                    <a:pt x="11857" y="18226"/>
                  </a:cubicBezTo>
                  <a:cubicBezTo>
                    <a:pt x="11822" y="18260"/>
                    <a:pt x="11868" y="18380"/>
                    <a:pt x="11952" y="18490"/>
                  </a:cubicBezTo>
                  <a:cubicBezTo>
                    <a:pt x="12037" y="18600"/>
                    <a:pt x="12160" y="18706"/>
                    <a:pt x="12224" y="18726"/>
                  </a:cubicBezTo>
                  <a:cubicBezTo>
                    <a:pt x="12290" y="18746"/>
                    <a:pt x="12380" y="18794"/>
                    <a:pt x="12424" y="18832"/>
                  </a:cubicBezTo>
                  <a:cubicBezTo>
                    <a:pt x="12468" y="18871"/>
                    <a:pt x="12544" y="18906"/>
                    <a:pt x="12589" y="18918"/>
                  </a:cubicBezTo>
                  <a:cubicBezTo>
                    <a:pt x="12634" y="18929"/>
                    <a:pt x="12755" y="19023"/>
                    <a:pt x="12851" y="19134"/>
                  </a:cubicBezTo>
                  <a:cubicBezTo>
                    <a:pt x="12943" y="19247"/>
                    <a:pt x="13050" y="19318"/>
                    <a:pt x="13076" y="19301"/>
                  </a:cubicBezTo>
                  <a:cubicBezTo>
                    <a:pt x="13104" y="19286"/>
                    <a:pt x="13177" y="19260"/>
                    <a:pt x="13243" y="19249"/>
                  </a:cubicBezTo>
                  <a:cubicBezTo>
                    <a:pt x="13307" y="19239"/>
                    <a:pt x="13433" y="19258"/>
                    <a:pt x="13526" y="19286"/>
                  </a:cubicBezTo>
                  <a:cubicBezTo>
                    <a:pt x="13616" y="19318"/>
                    <a:pt x="13777" y="19420"/>
                    <a:pt x="13886" y="19513"/>
                  </a:cubicBezTo>
                  <a:cubicBezTo>
                    <a:pt x="13995" y="19605"/>
                    <a:pt x="14158" y="19607"/>
                    <a:pt x="14244" y="19510"/>
                  </a:cubicBezTo>
                  <a:cubicBezTo>
                    <a:pt x="14334" y="19415"/>
                    <a:pt x="14494" y="19265"/>
                    <a:pt x="14603" y="19184"/>
                  </a:cubicBezTo>
                  <a:cubicBezTo>
                    <a:pt x="14711" y="19100"/>
                    <a:pt x="14806" y="18999"/>
                    <a:pt x="14800" y="18961"/>
                  </a:cubicBezTo>
                  <a:cubicBezTo>
                    <a:pt x="14806" y="18923"/>
                    <a:pt x="14808" y="18917"/>
                    <a:pt x="14814" y="18948"/>
                  </a:cubicBezTo>
                  <a:cubicBezTo>
                    <a:pt x="14820" y="18979"/>
                    <a:pt x="14870" y="19006"/>
                    <a:pt x="14925" y="19003"/>
                  </a:cubicBezTo>
                  <a:cubicBezTo>
                    <a:pt x="14978" y="19001"/>
                    <a:pt x="15074" y="18946"/>
                    <a:pt x="15143" y="18884"/>
                  </a:cubicBezTo>
                  <a:cubicBezTo>
                    <a:pt x="15207" y="18817"/>
                    <a:pt x="15308" y="18752"/>
                    <a:pt x="15361" y="18734"/>
                  </a:cubicBezTo>
                  <a:cubicBezTo>
                    <a:pt x="15413" y="18713"/>
                    <a:pt x="15528" y="18718"/>
                    <a:pt x="15618" y="18733"/>
                  </a:cubicBezTo>
                  <a:cubicBezTo>
                    <a:pt x="15707" y="18749"/>
                    <a:pt x="15780" y="18786"/>
                    <a:pt x="15780" y="18809"/>
                  </a:cubicBezTo>
                  <a:cubicBezTo>
                    <a:pt x="15780" y="18832"/>
                    <a:pt x="15801" y="18850"/>
                    <a:pt x="15824" y="18847"/>
                  </a:cubicBezTo>
                  <a:cubicBezTo>
                    <a:pt x="15846" y="18842"/>
                    <a:pt x="15867" y="18875"/>
                    <a:pt x="15879" y="18910"/>
                  </a:cubicBezTo>
                  <a:cubicBezTo>
                    <a:pt x="15879" y="18947"/>
                    <a:pt x="15934" y="19047"/>
                    <a:pt x="15981" y="19136"/>
                  </a:cubicBezTo>
                  <a:cubicBezTo>
                    <a:pt x="16029" y="19225"/>
                    <a:pt x="16091" y="19399"/>
                    <a:pt x="16126" y="19521"/>
                  </a:cubicBezTo>
                  <a:cubicBezTo>
                    <a:pt x="16156" y="19645"/>
                    <a:pt x="16220" y="19853"/>
                    <a:pt x="16279" y="19981"/>
                  </a:cubicBezTo>
                  <a:cubicBezTo>
                    <a:pt x="16339" y="20107"/>
                    <a:pt x="16381" y="20289"/>
                    <a:pt x="16387" y="20378"/>
                  </a:cubicBezTo>
                  <a:cubicBezTo>
                    <a:pt x="16393" y="20468"/>
                    <a:pt x="16422" y="20562"/>
                    <a:pt x="16452" y="20589"/>
                  </a:cubicBezTo>
                  <a:cubicBezTo>
                    <a:pt x="16481" y="20615"/>
                    <a:pt x="16518" y="20665"/>
                    <a:pt x="16524" y="20702"/>
                  </a:cubicBezTo>
                  <a:cubicBezTo>
                    <a:pt x="16530" y="20739"/>
                    <a:pt x="16653" y="20769"/>
                    <a:pt x="16788" y="20769"/>
                  </a:cubicBezTo>
                  <a:cubicBezTo>
                    <a:pt x="16921" y="20766"/>
                    <a:pt x="17075" y="20771"/>
                    <a:pt x="17131" y="20768"/>
                  </a:cubicBezTo>
                  <a:cubicBezTo>
                    <a:pt x="17186" y="20762"/>
                    <a:pt x="17275" y="20803"/>
                    <a:pt x="17319" y="20856"/>
                  </a:cubicBezTo>
                  <a:cubicBezTo>
                    <a:pt x="17367" y="20906"/>
                    <a:pt x="17457" y="20895"/>
                    <a:pt x="17511" y="20828"/>
                  </a:cubicBezTo>
                  <a:cubicBezTo>
                    <a:pt x="17571" y="20766"/>
                    <a:pt x="17632" y="20715"/>
                    <a:pt x="17653" y="20717"/>
                  </a:cubicBezTo>
                  <a:cubicBezTo>
                    <a:pt x="17673" y="20721"/>
                    <a:pt x="17751" y="20790"/>
                    <a:pt x="17813" y="20878"/>
                  </a:cubicBezTo>
                  <a:cubicBezTo>
                    <a:pt x="17880" y="20963"/>
                    <a:pt x="18048" y="21026"/>
                    <a:pt x="18183" y="21015"/>
                  </a:cubicBezTo>
                  <a:cubicBezTo>
                    <a:pt x="18318" y="21005"/>
                    <a:pt x="18492" y="21037"/>
                    <a:pt x="18568" y="21085"/>
                  </a:cubicBezTo>
                  <a:cubicBezTo>
                    <a:pt x="18648" y="21128"/>
                    <a:pt x="18795" y="21180"/>
                    <a:pt x="18901" y="21185"/>
                  </a:cubicBezTo>
                  <a:cubicBezTo>
                    <a:pt x="19007" y="21193"/>
                    <a:pt x="19131" y="21214"/>
                    <a:pt x="19171" y="21236"/>
                  </a:cubicBezTo>
                  <a:cubicBezTo>
                    <a:pt x="19215" y="21255"/>
                    <a:pt x="19264" y="21264"/>
                    <a:pt x="19288" y="21258"/>
                  </a:cubicBezTo>
                  <a:cubicBezTo>
                    <a:pt x="19307" y="21245"/>
                    <a:pt x="19354" y="21275"/>
                    <a:pt x="19391" y="21315"/>
                  </a:cubicBezTo>
                  <a:cubicBezTo>
                    <a:pt x="19427" y="21355"/>
                    <a:pt x="19467" y="21389"/>
                    <a:pt x="19482" y="21386"/>
                  </a:cubicBezTo>
                  <a:cubicBezTo>
                    <a:pt x="19494" y="21380"/>
                    <a:pt x="19512" y="21334"/>
                    <a:pt x="19525" y="21277"/>
                  </a:cubicBezTo>
                  <a:cubicBezTo>
                    <a:pt x="19537" y="21220"/>
                    <a:pt x="19568" y="21169"/>
                    <a:pt x="19598" y="21161"/>
                  </a:cubicBezTo>
                  <a:cubicBezTo>
                    <a:pt x="19628" y="21154"/>
                    <a:pt x="19669" y="21198"/>
                    <a:pt x="19698" y="21255"/>
                  </a:cubicBezTo>
                  <a:cubicBezTo>
                    <a:pt x="19723" y="21312"/>
                    <a:pt x="19792" y="21386"/>
                    <a:pt x="19851" y="21417"/>
                  </a:cubicBezTo>
                  <a:cubicBezTo>
                    <a:pt x="19913" y="21447"/>
                    <a:pt x="20023" y="21512"/>
                    <a:pt x="20104" y="21550"/>
                  </a:cubicBezTo>
                  <a:cubicBezTo>
                    <a:pt x="20186" y="21588"/>
                    <a:pt x="20273" y="21600"/>
                    <a:pt x="20312" y="21578"/>
                  </a:cubicBezTo>
                  <a:cubicBezTo>
                    <a:pt x="20350" y="21554"/>
                    <a:pt x="20381" y="21506"/>
                    <a:pt x="20394" y="21480"/>
                  </a:cubicBezTo>
                  <a:cubicBezTo>
                    <a:pt x="20406" y="21453"/>
                    <a:pt x="20424" y="21428"/>
                    <a:pt x="20437" y="21431"/>
                  </a:cubicBezTo>
                  <a:cubicBezTo>
                    <a:pt x="20450" y="21431"/>
                    <a:pt x="20458" y="21388"/>
                    <a:pt x="20458" y="21335"/>
                  </a:cubicBezTo>
                  <a:cubicBezTo>
                    <a:pt x="20458" y="21281"/>
                    <a:pt x="20461" y="21143"/>
                    <a:pt x="20467" y="21026"/>
                  </a:cubicBezTo>
                  <a:cubicBezTo>
                    <a:pt x="20480" y="20910"/>
                    <a:pt x="20462" y="20749"/>
                    <a:pt x="20438" y="20668"/>
                  </a:cubicBezTo>
                  <a:close/>
                  <a:moveTo>
                    <a:pt x="20438" y="206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3" name="AutoShape 712"/>
            <p:cNvSpPr>
              <a:spLocks/>
            </p:cNvSpPr>
            <p:nvPr/>
          </p:nvSpPr>
          <p:spPr bwMode="auto">
            <a:xfrm>
              <a:off x="9817100" y="4102100"/>
              <a:ext cx="6350" cy="14288"/>
            </a:xfrm>
            <a:custGeom>
              <a:avLst/>
              <a:gdLst/>
              <a:ahLst/>
              <a:cxnLst/>
              <a:rect l="0" t="0" r="r" b="b"/>
              <a:pathLst>
                <a:path w="21600" h="21600">
                  <a:moveTo>
                    <a:pt x="21600" y="21600"/>
                  </a:moveTo>
                  <a:cubicBezTo>
                    <a:pt x="16747" y="16965"/>
                    <a:pt x="14270" y="10513"/>
                    <a:pt x="13774" y="3418"/>
                  </a:cubicBezTo>
                  <a:cubicBezTo>
                    <a:pt x="5380" y="1314"/>
                    <a:pt x="73" y="0"/>
                    <a:pt x="0" y="0"/>
                  </a:cubicBezTo>
                  <a:cubicBezTo>
                    <a:pt x="104" y="0"/>
                    <a:pt x="9346" y="9873"/>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4" name="AutoShape 713"/>
            <p:cNvSpPr>
              <a:spLocks/>
            </p:cNvSpPr>
            <p:nvPr/>
          </p:nvSpPr>
          <p:spPr bwMode="auto">
            <a:xfrm>
              <a:off x="9182100" y="3467100"/>
              <a:ext cx="130175" cy="141288"/>
            </a:xfrm>
            <a:custGeom>
              <a:avLst/>
              <a:gdLst/>
              <a:ahLst/>
              <a:cxnLst/>
              <a:rect l="0" t="0" r="r" b="b"/>
              <a:pathLst>
                <a:path w="21337" h="21553">
                  <a:moveTo>
                    <a:pt x="149" y="1425"/>
                  </a:moveTo>
                  <a:cubicBezTo>
                    <a:pt x="427" y="1774"/>
                    <a:pt x="689" y="2233"/>
                    <a:pt x="752" y="2456"/>
                  </a:cubicBezTo>
                  <a:cubicBezTo>
                    <a:pt x="812" y="2679"/>
                    <a:pt x="1080" y="2959"/>
                    <a:pt x="1383" y="3070"/>
                  </a:cubicBezTo>
                  <a:cubicBezTo>
                    <a:pt x="1683" y="3182"/>
                    <a:pt x="2128" y="3585"/>
                    <a:pt x="2315" y="3998"/>
                  </a:cubicBezTo>
                  <a:cubicBezTo>
                    <a:pt x="2553" y="4387"/>
                    <a:pt x="2614" y="5183"/>
                    <a:pt x="2614" y="5743"/>
                  </a:cubicBezTo>
                  <a:cubicBezTo>
                    <a:pt x="2523" y="6297"/>
                    <a:pt x="2561" y="7361"/>
                    <a:pt x="2684" y="8088"/>
                  </a:cubicBezTo>
                  <a:cubicBezTo>
                    <a:pt x="2745" y="8824"/>
                    <a:pt x="3249" y="9732"/>
                    <a:pt x="3758" y="10084"/>
                  </a:cubicBezTo>
                  <a:cubicBezTo>
                    <a:pt x="4250" y="10458"/>
                    <a:pt x="5070" y="10814"/>
                    <a:pt x="5572" y="10888"/>
                  </a:cubicBezTo>
                  <a:cubicBezTo>
                    <a:pt x="6074" y="10970"/>
                    <a:pt x="6737" y="11022"/>
                    <a:pt x="7047" y="11037"/>
                  </a:cubicBezTo>
                  <a:cubicBezTo>
                    <a:pt x="7359" y="11037"/>
                    <a:pt x="7851" y="11336"/>
                    <a:pt x="8169" y="11675"/>
                  </a:cubicBezTo>
                  <a:cubicBezTo>
                    <a:pt x="8413" y="11950"/>
                    <a:pt x="8744" y="12364"/>
                    <a:pt x="8967" y="12713"/>
                  </a:cubicBezTo>
                  <a:cubicBezTo>
                    <a:pt x="8971" y="12717"/>
                    <a:pt x="8975" y="12724"/>
                    <a:pt x="8977" y="12728"/>
                  </a:cubicBezTo>
                  <a:cubicBezTo>
                    <a:pt x="9123" y="12958"/>
                    <a:pt x="9455" y="13183"/>
                    <a:pt x="9735" y="13183"/>
                  </a:cubicBezTo>
                  <a:cubicBezTo>
                    <a:pt x="10013" y="13208"/>
                    <a:pt x="10444" y="13118"/>
                    <a:pt x="10672" y="12971"/>
                  </a:cubicBezTo>
                  <a:cubicBezTo>
                    <a:pt x="10906" y="12834"/>
                    <a:pt x="11504" y="13112"/>
                    <a:pt x="11930" y="13624"/>
                  </a:cubicBezTo>
                  <a:cubicBezTo>
                    <a:pt x="12399" y="14105"/>
                    <a:pt x="12893" y="14383"/>
                    <a:pt x="13060" y="14215"/>
                  </a:cubicBezTo>
                  <a:cubicBezTo>
                    <a:pt x="13213" y="14041"/>
                    <a:pt x="13586" y="13935"/>
                    <a:pt x="13858" y="13963"/>
                  </a:cubicBezTo>
                  <a:cubicBezTo>
                    <a:pt x="14128" y="13989"/>
                    <a:pt x="14630" y="14500"/>
                    <a:pt x="14906" y="15119"/>
                  </a:cubicBezTo>
                  <a:cubicBezTo>
                    <a:pt x="15214" y="15726"/>
                    <a:pt x="15801" y="16341"/>
                    <a:pt x="16183" y="16536"/>
                  </a:cubicBezTo>
                  <a:cubicBezTo>
                    <a:pt x="16574" y="16719"/>
                    <a:pt x="17600" y="17912"/>
                    <a:pt x="18392" y="19239"/>
                  </a:cubicBezTo>
                  <a:cubicBezTo>
                    <a:pt x="19206" y="20554"/>
                    <a:pt x="20155" y="21579"/>
                    <a:pt x="20512" y="21552"/>
                  </a:cubicBezTo>
                  <a:cubicBezTo>
                    <a:pt x="20865" y="21510"/>
                    <a:pt x="21143" y="21144"/>
                    <a:pt x="21084" y="20750"/>
                  </a:cubicBezTo>
                  <a:cubicBezTo>
                    <a:pt x="21054" y="20354"/>
                    <a:pt x="21086" y="19901"/>
                    <a:pt x="21195" y="19761"/>
                  </a:cubicBezTo>
                  <a:cubicBezTo>
                    <a:pt x="21284" y="19610"/>
                    <a:pt x="21157" y="19085"/>
                    <a:pt x="20885" y="18589"/>
                  </a:cubicBezTo>
                  <a:cubicBezTo>
                    <a:pt x="20619" y="18089"/>
                    <a:pt x="20701" y="17636"/>
                    <a:pt x="21072" y="17563"/>
                  </a:cubicBezTo>
                  <a:cubicBezTo>
                    <a:pt x="21445" y="17519"/>
                    <a:pt x="21419" y="17092"/>
                    <a:pt x="21028" y="16657"/>
                  </a:cubicBezTo>
                  <a:cubicBezTo>
                    <a:pt x="20643" y="16212"/>
                    <a:pt x="19938" y="15807"/>
                    <a:pt x="19486" y="15736"/>
                  </a:cubicBezTo>
                  <a:cubicBezTo>
                    <a:pt x="19031" y="15665"/>
                    <a:pt x="18058" y="15171"/>
                    <a:pt x="17312" y="14654"/>
                  </a:cubicBezTo>
                  <a:cubicBezTo>
                    <a:pt x="16576" y="14122"/>
                    <a:pt x="15770" y="13225"/>
                    <a:pt x="15490" y="12657"/>
                  </a:cubicBezTo>
                  <a:cubicBezTo>
                    <a:pt x="15248" y="12076"/>
                    <a:pt x="15180" y="11420"/>
                    <a:pt x="15347" y="11171"/>
                  </a:cubicBezTo>
                  <a:cubicBezTo>
                    <a:pt x="15529" y="10929"/>
                    <a:pt x="15627" y="10428"/>
                    <a:pt x="15569" y="10056"/>
                  </a:cubicBezTo>
                  <a:cubicBezTo>
                    <a:pt x="15482" y="9691"/>
                    <a:pt x="14898" y="8827"/>
                    <a:pt x="14197" y="8157"/>
                  </a:cubicBezTo>
                  <a:cubicBezTo>
                    <a:pt x="13481" y="7501"/>
                    <a:pt x="12903" y="6626"/>
                    <a:pt x="12818" y="6258"/>
                  </a:cubicBezTo>
                  <a:cubicBezTo>
                    <a:pt x="12760" y="5886"/>
                    <a:pt x="12724" y="5241"/>
                    <a:pt x="12840" y="4844"/>
                  </a:cubicBezTo>
                  <a:cubicBezTo>
                    <a:pt x="12903" y="4434"/>
                    <a:pt x="12677" y="3774"/>
                    <a:pt x="12323" y="3369"/>
                  </a:cubicBezTo>
                  <a:cubicBezTo>
                    <a:pt x="11974" y="2961"/>
                    <a:pt x="11202" y="2524"/>
                    <a:pt x="10620" y="2381"/>
                  </a:cubicBezTo>
                  <a:cubicBezTo>
                    <a:pt x="10471" y="2349"/>
                    <a:pt x="10310" y="2295"/>
                    <a:pt x="10150" y="2228"/>
                  </a:cubicBezTo>
                  <a:cubicBezTo>
                    <a:pt x="10104" y="2209"/>
                    <a:pt x="10055" y="2180"/>
                    <a:pt x="10007" y="2157"/>
                  </a:cubicBezTo>
                  <a:cubicBezTo>
                    <a:pt x="9896" y="2105"/>
                    <a:pt x="9784" y="2053"/>
                    <a:pt x="9677" y="1991"/>
                  </a:cubicBezTo>
                  <a:cubicBezTo>
                    <a:pt x="9604" y="1949"/>
                    <a:pt x="9540" y="1903"/>
                    <a:pt x="9471" y="1858"/>
                  </a:cubicBezTo>
                  <a:cubicBezTo>
                    <a:pt x="9387" y="1803"/>
                    <a:pt x="9304" y="1750"/>
                    <a:pt x="9231" y="1694"/>
                  </a:cubicBezTo>
                  <a:cubicBezTo>
                    <a:pt x="9173" y="1650"/>
                    <a:pt x="9123" y="1606"/>
                    <a:pt x="9068" y="1560"/>
                  </a:cubicBezTo>
                  <a:cubicBezTo>
                    <a:pt x="9034" y="1530"/>
                    <a:pt x="8989" y="1498"/>
                    <a:pt x="8959" y="1470"/>
                  </a:cubicBezTo>
                  <a:cubicBezTo>
                    <a:pt x="9310" y="1811"/>
                    <a:pt x="9177" y="1769"/>
                    <a:pt x="8778" y="1280"/>
                  </a:cubicBezTo>
                  <a:cubicBezTo>
                    <a:pt x="8355" y="810"/>
                    <a:pt x="7257" y="374"/>
                    <a:pt x="6364" y="306"/>
                  </a:cubicBezTo>
                  <a:cubicBezTo>
                    <a:pt x="5465" y="222"/>
                    <a:pt x="4546" y="123"/>
                    <a:pt x="4335" y="38"/>
                  </a:cubicBezTo>
                  <a:cubicBezTo>
                    <a:pt x="4117" y="-21"/>
                    <a:pt x="3371" y="-19"/>
                    <a:pt x="2668" y="95"/>
                  </a:cubicBezTo>
                  <a:cubicBezTo>
                    <a:pt x="1969" y="219"/>
                    <a:pt x="993" y="406"/>
                    <a:pt x="510" y="549"/>
                  </a:cubicBezTo>
                  <a:cubicBezTo>
                    <a:pt x="24" y="691"/>
                    <a:pt x="-155" y="1099"/>
                    <a:pt x="149" y="1425"/>
                  </a:cubicBezTo>
                  <a:close/>
                  <a:moveTo>
                    <a:pt x="149" y="14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5" name="AutoShape 714"/>
            <p:cNvSpPr>
              <a:spLocks/>
            </p:cNvSpPr>
            <p:nvPr/>
          </p:nvSpPr>
          <p:spPr bwMode="auto">
            <a:xfrm>
              <a:off x="9232900" y="3479800"/>
              <a:ext cx="1588" cy="1588"/>
            </a:xfrm>
            <a:custGeom>
              <a:avLst/>
              <a:gdLst/>
              <a:ahLst/>
              <a:cxnLst/>
              <a:rect l="0" t="0" r="r" b="b"/>
              <a:pathLst>
                <a:path w="15586" h="16764">
                  <a:moveTo>
                    <a:pt x="7364" y="7709"/>
                  </a:moveTo>
                  <a:cubicBezTo>
                    <a:pt x="6786" y="7016"/>
                    <a:pt x="6218" y="6177"/>
                    <a:pt x="5722" y="5484"/>
                  </a:cubicBezTo>
                  <a:cubicBezTo>
                    <a:pt x="3927" y="3647"/>
                    <a:pt x="1549" y="1839"/>
                    <a:pt x="0" y="0"/>
                  </a:cubicBezTo>
                  <a:cubicBezTo>
                    <a:pt x="16195" y="19871"/>
                    <a:pt x="21600" y="21600"/>
                    <a:pt x="7364" y="7709"/>
                  </a:cubicBezTo>
                  <a:close/>
                  <a:moveTo>
                    <a:pt x="7364" y="77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6" name="AutoShape 715"/>
            <p:cNvSpPr>
              <a:spLocks/>
            </p:cNvSpPr>
            <p:nvPr/>
          </p:nvSpPr>
          <p:spPr bwMode="auto">
            <a:xfrm>
              <a:off x="9232900" y="3479800"/>
              <a:ext cx="0" cy="0"/>
            </a:xfrm>
            <a:custGeom>
              <a:avLst/>
              <a:gdLst/>
              <a:ahLst/>
              <a:cxnLst/>
              <a:rect l="0" t="0" r="r" b="b"/>
              <a:pathLst>
                <a:path w="21600" h="21600">
                  <a:moveTo>
                    <a:pt x="21600" y="21600"/>
                  </a:moveTo>
                  <a:cubicBezTo>
                    <a:pt x="14165" y="14626"/>
                    <a:pt x="6708" y="7621"/>
                    <a:pt x="0" y="0"/>
                  </a:cubicBezTo>
                  <a:cubicBezTo>
                    <a:pt x="6538" y="7387"/>
                    <a:pt x="13984" y="14369"/>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7" name="AutoShape 716"/>
            <p:cNvSpPr>
              <a:spLocks/>
            </p:cNvSpPr>
            <p:nvPr/>
          </p:nvSpPr>
          <p:spPr bwMode="auto">
            <a:xfrm>
              <a:off x="9245600" y="3479800"/>
              <a:ext cx="1588" cy="0"/>
            </a:xfrm>
            <a:custGeom>
              <a:avLst/>
              <a:gdLst/>
              <a:ahLst/>
              <a:cxnLst/>
              <a:rect l="0" t="0" r="r" b="b"/>
              <a:pathLst>
                <a:path w="21600" h="21600">
                  <a:moveTo>
                    <a:pt x="21600" y="21600"/>
                  </a:moveTo>
                  <a:cubicBezTo>
                    <a:pt x="14359" y="14963"/>
                    <a:pt x="7118" y="8095"/>
                    <a:pt x="0" y="0"/>
                  </a:cubicBezTo>
                  <a:cubicBezTo>
                    <a:pt x="6986" y="8095"/>
                    <a:pt x="14359" y="14863"/>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8" name="AutoShape 717"/>
            <p:cNvSpPr>
              <a:spLocks/>
            </p:cNvSpPr>
            <p:nvPr/>
          </p:nvSpPr>
          <p:spPr bwMode="auto">
            <a:xfrm>
              <a:off x="9245600" y="3479800"/>
              <a:ext cx="1588" cy="0"/>
            </a:xfrm>
            <a:custGeom>
              <a:avLst/>
              <a:gdLst/>
              <a:ahLst/>
              <a:cxnLst/>
              <a:rect l="0" t="0" r="r" b="b"/>
              <a:pathLst>
                <a:path w="21600" h="21600">
                  <a:moveTo>
                    <a:pt x="21600" y="21600"/>
                  </a:moveTo>
                  <a:cubicBezTo>
                    <a:pt x="15020" y="17200"/>
                    <a:pt x="7605" y="9750"/>
                    <a:pt x="0" y="0"/>
                  </a:cubicBezTo>
                  <a:cubicBezTo>
                    <a:pt x="7333" y="9475"/>
                    <a:pt x="14742" y="17067"/>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19" name="AutoShape 718"/>
            <p:cNvSpPr>
              <a:spLocks/>
            </p:cNvSpPr>
            <p:nvPr/>
          </p:nvSpPr>
          <p:spPr bwMode="auto">
            <a:xfrm>
              <a:off x="9232900" y="3479800"/>
              <a:ext cx="0" cy="0"/>
            </a:xfrm>
            <a:custGeom>
              <a:avLst/>
              <a:gdLst/>
              <a:ahLst/>
              <a:cxnLst/>
              <a:rect l="0" t="0" r="r" b="b"/>
              <a:pathLst>
                <a:path w="21600" h="21600">
                  <a:moveTo>
                    <a:pt x="21600" y="21600"/>
                  </a:moveTo>
                  <a:cubicBezTo>
                    <a:pt x="13707" y="14590"/>
                    <a:pt x="7018" y="7299"/>
                    <a:pt x="0" y="0"/>
                  </a:cubicBezTo>
                  <a:cubicBezTo>
                    <a:pt x="1768" y="2532"/>
                    <a:pt x="3791" y="5599"/>
                    <a:pt x="5851" y="8132"/>
                  </a:cubicBezTo>
                  <a:cubicBezTo>
                    <a:pt x="10208" y="12347"/>
                    <a:pt x="16642" y="17114"/>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0" name="AutoShape 720"/>
            <p:cNvSpPr>
              <a:spLocks/>
            </p:cNvSpPr>
            <p:nvPr/>
          </p:nvSpPr>
          <p:spPr bwMode="auto">
            <a:xfrm>
              <a:off x="8509000" y="3479800"/>
              <a:ext cx="14288" cy="7938"/>
            </a:xfrm>
            <a:custGeom>
              <a:avLst/>
              <a:gdLst/>
              <a:ahLst/>
              <a:cxnLst/>
              <a:rect l="0" t="0" r="r" b="b"/>
              <a:pathLst>
                <a:path w="20815" h="20245">
                  <a:moveTo>
                    <a:pt x="91" y="9719"/>
                  </a:moveTo>
                  <a:cubicBezTo>
                    <a:pt x="-409" y="12141"/>
                    <a:pt x="1192" y="15876"/>
                    <a:pt x="3828" y="18015"/>
                  </a:cubicBezTo>
                  <a:cubicBezTo>
                    <a:pt x="6412" y="20137"/>
                    <a:pt x="11133" y="20915"/>
                    <a:pt x="14301" y="19599"/>
                  </a:cubicBezTo>
                  <a:cubicBezTo>
                    <a:pt x="17488" y="18582"/>
                    <a:pt x="20423" y="14562"/>
                    <a:pt x="20691" y="11244"/>
                  </a:cubicBezTo>
                  <a:cubicBezTo>
                    <a:pt x="21191" y="7984"/>
                    <a:pt x="20125" y="3380"/>
                    <a:pt x="18472" y="1466"/>
                  </a:cubicBezTo>
                  <a:cubicBezTo>
                    <a:pt x="16937" y="-685"/>
                    <a:pt x="14286" y="-385"/>
                    <a:pt x="12651" y="1812"/>
                  </a:cubicBezTo>
                  <a:cubicBezTo>
                    <a:pt x="11032" y="4084"/>
                    <a:pt x="7781" y="5863"/>
                    <a:pt x="5379" y="5639"/>
                  </a:cubicBezTo>
                  <a:cubicBezTo>
                    <a:pt x="3045" y="5219"/>
                    <a:pt x="791" y="7403"/>
                    <a:pt x="91" y="9719"/>
                  </a:cubicBezTo>
                  <a:close/>
                  <a:moveTo>
                    <a:pt x="91" y="97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1" name="AutoShape 721"/>
            <p:cNvSpPr>
              <a:spLocks/>
            </p:cNvSpPr>
            <p:nvPr/>
          </p:nvSpPr>
          <p:spPr bwMode="auto">
            <a:xfrm>
              <a:off x="8521700" y="3378200"/>
              <a:ext cx="117475" cy="106363"/>
            </a:xfrm>
            <a:custGeom>
              <a:avLst/>
              <a:gdLst/>
              <a:ahLst/>
              <a:cxnLst/>
              <a:rect l="0" t="0" r="r" b="b"/>
              <a:pathLst>
                <a:path w="21570" h="21325">
                  <a:moveTo>
                    <a:pt x="10898" y="1776"/>
                  </a:moveTo>
                  <a:cubicBezTo>
                    <a:pt x="10596" y="2031"/>
                    <a:pt x="9854" y="1758"/>
                    <a:pt x="9212" y="1181"/>
                  </a:cubicBezTo>
                  <a:cubicBezTo>
                    <a:pt x="8572" y="596"/>
                    <a:pt x="7544" y="68"/>
                    <a:pt x="6913" y="10"/>
                  </a:cubicBezTo>
                  <a:cubicBezTo>
                    <a:pt x="6284" y="-47"/>
                    <a:pt x="5553" y="153"/>
                    <a:pt x="5347" y="477"/>
                  </a:cubicBezTo>
                  <a:cubicBezTo>
                    <a:pt x="5136" y="799"/>
                    <a:pt x="4641" y="1052"/>
                    <a:pt x="4296" y="1052"/>
                  </a:cubicBezTo>
                  <a:cubicBezTo>
                    <a:pt x="3944" y="1052"/>
                    <a:pt x="3404" y="1399"/>
                    <a:pt x="3079" y="1809"/>
                  </a:cubicBezTo>
                  <a:cubicBezTo>
                    <a:pt x="2766" y="2225"/>
                    <a:pt x="2469" y="3115"/>
                    <a:pt x="2401" y="3802"/>
                  </a:cubicBezTo>
                  <a:cubicBezTo>
                    <a:pt x="2333" y="4487"/>
                    <a:pt x="2680" y="5258"/>
                    <a:pt x="3138" y="5509"/>
                  </a:cubicBezTo>
                  <a:cubicBezTo>
                    <a:pt x="3592" y="5772"/>
                    <a:pt x="4012" y="6475"/>
                    <a:pt x="3978" y="7095"/>
                  </a:cubicBezTo>
                  <a:cubicBezTo>
                    <a:pt x="3946" y="7711"/>
                    <a:pt x="3547" y="8516"/>
                    <a:pt x="2998" y="8872"/>
                  </a:cubicBezTo>
                  <a:cubicBezTo>
                    <a:pt x="2446" y="9225"/>
                    <a:pt x="2103" y="9984"/>
                    <a:pt x="2235" y="10538"/>
                  </a:cubicBezTo>
                  <a:cubicBezTo>
                    <a:pt x="2398" y="11087"/>
                    <a:pt x="2267" y="12010"/>
                    <a:pt x="2069" y="12587"/>
                  </a:cubicBezTo>
                  <a:cubicBezTo>
                    <a:pt x="1865" y="13160"/>
                    <a:pt x="1280" y="13707"/>
                    <a:pt x="805" y="13806"/>
                  </a:cubicBezTo>
                  <a:cubicBezTo>
                    <a:pt x="340" y="13904"/>
                    <a:pt x="-30" y="14013"/>
                    <a:pt x="2" y="14013"/>
                  </a:cubicBezTo>
                  <a:cubicBezTo>
                    <a:pt x="29" y="14013"/>
                    <a:pt x="218" y="14400"/>
                    <a:pt x="428" y="14858"/>
                  </a:cubicBezTo>
                  <a:cubicBezTo>
                    <a:pt x="630" y="15318"/>
                    <a:pt x="1100" y="15916"/>
                    <a:pt x="1472" y="16191"/>
                  </a:cubicBezTo>
                  <a:cubicBezTo>
                    <a:pt x="1833" y="16467"/>
                    <a:pt x="2335" y="16648"/>
                    <a:pt x="2578" y="16582"/>
                  </a:cubicBezTo>
                  <a:cubicBezTo>
                    <a:pt x="2830" y="16524"/>
                    <a:pt x="3256" y="16561"/>
                    <a:pt x="3524" y="16687"/>
                  </a:cubicBezTo>
                  <a:cubicBezTo>
                    <a:pt x="3799" y="16787"/>
                    <a:pt x="4352" y="16890"/>
                    <a:pt x="4770" y="16849"/>
                  </a:cubicBezTo>
                  <a:cubicBezTo>
                    <a:pt x="5183" y="16810"/>
                    <a:pt x="5190" y="17055"/>
                    <a:pt x="4768" y="17338"/>
                  </a:cubicBezTo>
                  <a:cubicBezTo>
                    <a:pt x="4352" y="17633"/>
                    <a:pt x="3810" y="17853"/>
                    <a:pt x="3563" y="17876"/>
                  </a:cubicBezTo>
                  <a:cubicBezTo>
                    <a:pt x="3315" y="17876"/>
                    <a:pt x="2964" y="18483"/>
                    <a:pt x="2794" y="19221"/>
                  </a:cubicBezTo>
                  <a:cubicBezTo>
                    <a:pt x="2598" y="19953"/>
                    <a:pt x="2471" y="20865"/>
                    <a:pt x="2573" y="21200"/>
                  </a:cubicBezTo>
                  <a:cubicBezTo>
                    <a:pt x="2607" y="21553"/>
                    <a:pt x="3367" y="21130"/>
                    <a:pt x="4241" y="20305"/>
                  </a:cubicBezTo>
                  <a:cubicBezTo>
                    <a:pt x="5111" y="19468"/>
                    <a:pt x="6722" y="18283"/>
                    <a:pt x="7827" y="17700"/>
                  </a:cubicBezTo>
                  <a:cubicBezTo>
                    <a:pt x="8937" y="17114"/>
                    <a:pt x="10013" y="16083"/>
                    <a:pt x="10181" y="15404"/>
                  </a:cubicBezTo>
                  <a:cubicBezTo>
                    <a:pt x="10353" y="14727"/>
                    <a:pt x="10873" y="14007"/>
                    <a:pt x="11314" y="13860"/>
                  </a:cubicBezTo>
                  <a:cubicBezTo>
                    <a:pt x="11751" y="13695"/>
                    <a:pt x="12709" y="13584"/>
                    <a:pt x="13451" y="13675"/>
                  </a:cubicBezTo>
                  <a:cubicBezTo>
                    <a:pt x="14193" y="13750"/>
                    <a:pt x="14970" y="13675"/>
                    <a:pt x="15131" y="13457"/>
                  </a:cubicBezTo>
                  <a:cubicBezTo>
                    <a:pt x="15340" y="13295"/>
                    <a:pt x="15871" y="13121"/>
                    <a:pt x="16366" y="13175"/>
                  </a:cubicBezTo>
                  <a:cubicBezTo>
                    <a:pt x="16858" y="13192"/>
                    <a:pt x="17512" y="13413"/>
                    <a:pt x="17818" y="13635"/>
                  </a:cubicBezTo>
                  <a:cubicBezTo>
                    <a:pt x="18120" y="13855"/>
                    <a:pt x="18819" y="14102"/>
                    <a:pt x="19364" y="14207"/>
                  </a:cubicBezTo>
                  <a:cubicBezTo>
                    <a:pt x="19902" y="14317"/>
                    <a:pt x="20610" y="14031"/>
                    <a:pt x="20977" y="13647"/>
                  </a:cubicBezTo>
                  <a:cubicBezTo>
                    <a:pt x="21340" y="13255"/>
                    <a:pt x="21570" y="12638"/>
                    <a:pt x="21570" y="12315"/>
                  </a:cubicBezTo>
                  <a:cubicBezTo>
                    <a:pt x="21504" y="11998"/>
                    <a:pt x="21150" y="11471"/>
                    <a:pt x="20700" y="11137"/>
                  </a:cubicBezTo>
                  <a:cubicBezTo>
                    <a:pt x="20242" y="10817"/>
                    <a:pt x="19443" y="10029"/>
                    <a:pt x="18905" y="9407"/>
                  </a:cubicBezTo>
                  <a:cubicBezTo>
                    <a:pt x="18367" y="8786"/>
                    <a:pt x="17562" y="8147"/>
                    <a:pt x="17078" y="8053"/>
                  </a:cubicBezTo>
                  <a:cubicBezTo>
                    <a:pt x="16597" y="7933"/>
                    <a:pt x="15644" y="7247"/>
                    <a:pt x="14938" y="6534"/>
                  </a:cubicBezTo>
                  <a:cubicBezTo>
                    <a:pt x="14210" y="5849"/>
                    <a:pt x="13549" y="4488"/>
                    <a:pt x="13445" y="3583"/>
                  </a:cubicBezTo>
                  <a:cubicBezTo>
                    <a:pt x="13343" y="2680"/>
                    <a:pt x="12821" y="1803"/>
                    <a:pt x="12330" y="1620"/>
                  </a:cubicBezTo>
                  <a:cubicBezTo>
                    <a:pt x="11827" y="1464"/>
                    <a:pt x="11193" y="1509"/>
                    <a:pt x="10898" y="1776"/>
                  </a:cubicBezTo>
                  <a:close/>
                  <a:moveTo>
                    <a:pt x="10898" y="17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2" name="AutoShape 722"/>
            <p:cNvSpPr>
              <a:spLocks/>
            </p:cNvSpPr>
            <p:nvPr/>
          </p:nvSpPr>
          <p:spPr bwMode="auto">
            <a:xfrm>
              <a:off x="8534400" y="3403600"/>
              <a:ext cx="728663" cy="344488"/>
            </a:xfrm>
            <a:custGeom>
              <a:avLst/>
              <a:gdLst/>
              <a:ahLst/>
              <a:cxnLst/>
              <a:rect l="0" t="0" r="r" b="b"/>
              <a:pathLst>
                <a:path w="21587" h="21578">
                  <a:moveTo>
                    <a:pt x="12846" y="21571"/>
                  </a:moveTo>
                  <a:cubicBezTo>
                    <a:pt x="12913" y="21549"/>
                    <a:pt x="13017" y="21497"/>
                    <a:pt x="13079" y="21448"/>
                  </a:cubicBezTo>
                  <a:cubicBezTo>
                    <a:pt x="13138" y="21392"/>
                    <a:pt x="13179" y="21215"/>
                    <a:pt x="13168" y="21037"/>
                  </a:cubicBezTo>
                  <a:cubicBezTo>
                    <a:pt x="13151" y="20860"/>
                    <a:pt x="13180" y="20671"/>
                    <a:pt x="13220" y="20611"/>
                  </a:cubicBezTo>
                  <a:cubicBezTo>
                    <a:pt x="13261" y="20557"/>
                    <a:pt x="13292" y="20264"/>
                    <a:pt x="13281" y="19969"/>
                  </a:cubicBezTo>
                  <a:cubicBezTo>
                    <a:pt x="13276" y="19672"/>
                    <a:pt x="13286" y="19332"/>
                    <a:pt x="13297" y="19208"/>
                  </a:cubicBezTo>
                  <a:cubicBezTo>
                    <a:pt x="13313" y="19086"/>
                    <a:pt x="13401" y="19038"/>
                    <a:pt x="13495" y="19114"/>
                  </a:cubicBezTo>
                  <a:cubicBezTo>
                    <a:pt x="13589" y="19189"/>
                    <a:pt x="13711" y="19284"/>
                    <a:pt x="13768" y="19320"/>
                  </a:cubicBezTo>
                  <a:cubicBezTo>
                    <a:pt x="13825" y="19358"/>
                    <a:pt x="13992" y="19289"/>
                    <a:pt x="14143" y="19172"/>
                  </a:cubicBezTo>
                  <a:cubicBezTo>
                    <a:pt x="14293" y="19053"/>
                    <a:pt x="14443" y="18937"/>
                    <a:pt x="14480" y="18937"/>
                  </a:cubicBezTo>
                  <a:cubicBezTo>
                    <a:pt x="14514" y="18924"/>
                    <a:pt x="14581" y="18878"/>
                    <a:pt x="14625" y="18816"/>
                  </a:cubicBezTo>
                  <a:cubicBezTo>
                    <a:pt x="14669" y="18758"/>
                    <a:pt x="14837" y="18699"/>
                    <a:pt x="14999" y="18681"/>
                  </a:cubicBezTo>
                  <a:cubicBezTo>
                    <a:pt x="15161" y="18670"/>
                    <a:pt x="15344" y="18691"/>
                    <a:pt x="15403" y="18746"/>
                  </a:cubicBezTo>
                  <a:cubicBezTo>
                    <a:pt x="15464" y="18792"/>
                    <a:pt x="15536" y="18908"/>
                    <a:pt x="15574" y="18977"/>
                  </a:cubicBezTo>
                  <a:cubicBezTo>
                    <a:pt x="15607" y="19057"/>
                    <a:pt x="15720" y="19173"/>
                    <a:pt x="15823" y="19242"/>
                  </a:cubicBezTo>
                  <a:cubicBezTo>
                    <a:pt x="15927" y="19308"/>
                    <a:pt x="16126" y="19393"/>
                    <a:pt x="16268" y="19426"/>
                  </a:cubicBezTo>
                  <a:cubicBezTo>
                    <a:pt x="16409" y="19455"/>
                    <a:pt x="16530" y="19432"/>
                    <a:pt x="16545" y="19370"/>
                  </a:cubicBezTo>
                  <a:cubicBezTo>
                    <a:pt x="16560" y="19308"/>
                    <a:pt x="16629" y="19206"/>
                    <a:pt x="16708" y="19162"/>
                  </a:cubicBezTo>
                  <a:cubicBezTo>
                    <a:pt x="16786" y="19115"/>
                    <a:pt x="16888" y="18980"/>
                    <a:pt x="16927" y="18854"/>
                  </a:cubicBezTo>
                  <a:cubicBezTo>
                    <a:pt x="16969" y="18732"/>
                    <a:pt x="17091" y="18576"/>
                    <a:pt x="17198" y="18514"/>
                  </a:cubicBezTo>
                  <a:cubicBezTo>
                    <a:pt x="17303" y="18452"/>
                    <a:pt x="17453" y="18402"/>
                    <a:pt x="17530" y="18419"/>
                  </a:cubicBezTo>
                  <a:cubicBezTo>
                    <a:pt x="17608" y="18431"/>
                    <a:pt x="17719" y="18435"/>
                    <a:pt x="17777" y="18411"/>
                  </a:cubicBezTo>
                  <a:cubicBezTo>
                    <a:pt x="17835" y="18394"/>
                    <a:pt x="18008" y="18423"/>
                    <a:pt x="18163" y="18469"/>
                  </a:cubicBezTo>
                  <a:cubicBezTo>
                    <a:pt x="18317" y="18516"/>
                    <a:pt x="18539" y="18496"/>
                    <a:pt x="18654" y="18404"/>
                  </a:cubicBezTo>
                  <a:cubicBezTo>
                    <a:pt x="18770" y="18317"/>
                    <a:pt x="18934" y="18262"/>
                    <a:pt x="19018" y="18268"/>
                  </a:cubicBezTo>
                  <a:cubicBezTo>
                    <a:pt x="19102" y="18274"/>
                    <a:pt x="19191" y="18334"/>
                    <a:pt x="19218" y="18385"/>
                  </a:cubicBezTo>
                  <a:cubicBezTo>
                    <a:pt x="19241" y="18445"/>
                    <a:pt x="19325" y="18354"/>
                    <a:pt x="19402" y="18198"/>
                  </a:cubicBezTo>
                  <a:cubicBezTo>
                    <a:pt x="19479" y="18042"/>
                    <a:pt x="19598" y="17924"/>
                    <a:pt x="19669" y="17935"/>
                  </a:cubicBezTo>
                  <a:cubicBezTo>
                    <a:pt x="19740" y="17953"/>
                    <a:pt x="19820" y="17913"/>
                    <a:pt x="19849" y="17859"/>
                  </a:cubicBezTo>
                  <a:cubicBezTo>
                    <a:pt x="19877" y="17805"/>
                    <a:pt x="19999" y="17776"/>
                    <a:pt x="20121" y="17800"/>
                  </a:cubicBezTo>
                  <a:cubicBezTo>
                    <a:pt x="20242" y="17822"/>
                    <a:pt x="20427" y="17910"/>
                    <a:pt x="20531" y="17997"/>
                  </a:cubicBezTo>
                  <a:cubicBezTo>
                    <a:pt x="20633" y="18092"/>
                    <a:pt x="20781" y="18122"/>
                    <a:pt x="20855" y="18078"/>
                  </a:cubicBezTo>
                  <a:cubicBezTo>
                    <a:pt x="20928" y="18031"/>
                    <a:pt x="21028" y="18057"/>
                    <a:pt x="21067" y="18138"/>
                  </a:cubicBezTo>
                  <a:cubicBezTo>
                    <a:pt x="21107" y="18217"/>
                    <a:pt x="21143" y="18395"/>
                    <a:pt x="21149" y="18543"/>
                  </a:cubicBezTo>
                  <a:cubicBezTo>
                    <a:pt x="21154" y="18691"/>
                    <a:pt x="21195" y="18873"/>
                    <a:pt x="21246" y="18940"/>
                  </a:cubicBezTo>
                  <a:cubicBezTo>
                    <a:pt x="21258" y="18958"/>
                    <a:pt x="21273" y="18974"/>
                    <a:pt x="21290" y="18986"/>
                  </a:cubicBezTo>
                  <a:cubicBezTo>
                    <a:pt x="21333" y="19017"/>
                    <a:pt x="21386" y="19022"/>
                    <a:pt x="21430" y="19006"/>
                  </a:cubicBezTo>
                  <a:cubicBezTo>
                    <a:pt x="21440" y="19002"/>
                    <a:pt x="21449" y="18999"/>
                    <a:pt x="21458" y="18993"/>
                  </a:cubicBezTo>
                  <a:cubicBezTo>
                    <a:pt x="21519" y="18955"/>
                    <a:pt x="21570" y="18818"/>
                    <a:pt x="21586" y="18696"/>
                  </a:cubicBezTo>
                  <a:cubicBezTo>
                    <a:pt x="21592" y="18566"/>
                    <a:pt x="21576" y="18313"/>
                    <a:pt x="21544" y="18131"/>
                  </a:cubicBezTo>
                  <a:cubicBezTo>
                    <a:pt x="21507" y="17953"/>
                    <a:pt x="21426" y="17546"/>
                    <a:pt x="21349" y="17240"/>
                  </a:cubicBezTo>
                  <a:cubicBezTo>
                    <a:pt x="21282" y="16925"/>
                    <a:pt x="21149" y="16604"/>
                    <a:pt x="21069" y="16508"/>
                  </a:cubicBezTo>
                  <a:cubicBezTo>
                    <a:pt x="20990" y="16413"/>
                    <a:pt x="20923" y="16269"/>
                    <a:pt x="20929" y="16182"/>
                  </a:cubicBezTo>
                  <a:cubicBezTo>
                    <a:pt x="20934" y="16096"/>
                    <a:pt x="20923" y="15845"/>
                    <a:pt x="20912" y="15624"/>
                  </a:cubicBezTo>
                  <a:cubicBezTo>
                    <a:pt x="20896" y="15404"/>
                    <a:pt x="20910" y="15038"/>
                    <a:pt x="20943" y="14818"/>
                  </a:cubicBezTo>
                  <a:cubicBezTo>
                    <a:pt x="20970" y="14595"/>
                    <a:pt x="20982" y="14328"/>
                    <a:pt x="20955" y="14237"/>
                  </a:cubicBezTo>
                  <a:cubicBezTo>
                    <a:pt x="20933" y="14139"/>
                    <a:pt x="20860" y="14023"/>
                    <a:pt x="20790" y="13995"/>
                  </a:cubicBezTo>
                  <a:cubicBezTo>
                    <a:pt x="20722" y="13960"/>
                    <a:pt x="20659" y="13759"/>
                    <a:pt x="20648" y="13550"/>
                  </a:cubicBezTo>
                  <a:cubicBezTo>
                    <a:pt x="20642" y="13341"/>
                    <a:pt x="20629" y="13055"/>
                    <a:pt x="20635" y="12915"/>
                  </a:cubicBezTo>
                  <a:cubicBezTo>
                    <a:pt x="20635" y="12775"/>
                    <a:pt x="20608" y="12422"/>
                    <a:pt x="20570" y="12132"/>
                  </a:cubicBezTo>
                  <a:cubicBezTo>
                    <a:pt x="20533" y="11842"/>
                    <a:pt x="20465" y="11483"/>
                    <a:pt x="20432" y="11324"/>
                  </a:cubicBezTo>
                  <a:cubicBezTo>
                    <a:pt x="20394" y="11170"/>
                    <a:pt x="20359" y="10980"/>
                    <a:pt x="20354" y="10904"/>
                  </a:cubicBezTo>
                  <a:cubicBezTo>
                    <a:pt x="20354" y="10827"/>
                    <a:pt x="20411" y="10768"/>
                    <a:pt x="20493" y="10768"/>
                  </a:cubicBezTo>
                  <a:cubicBezTo>
                    <a:pt x="20574" y="10768"/>
                    <a:pt x="20659" y="10611"/>
                    <a:pt x="20680" y="10416"/>
                  </a:cubicBezTo>
                  <a:cubicBezTo>
                    <a:pt x="20703" y="10222"/>
                    <a:pt x="20741" y="10009"/>
                    <a:pt x="20770" y="9947"/>
                  </a:cubicBezTo>
                  <a:cubicBezTo>
                    <a:pt x="20798" y="9882"/>
                    <a:pt x="20790" y="9709"/>
                    <a:pt x="20750" y="9561"/>
                  </a:cubicBezTo>
                  <a:cubicBezTo>
                    <a:pt x="20743" y="9530"/>
                    <a:pt x="20733" y="9494"/>
                    <a:pt x="20723" y="9458"/>
                  </a:cubicBezTo>
                  <a:cubicBezTo>
                    <a:pt x="20695" y="9363"/>
                    <a:pt x="20632" y="9171"/>
                    <a:pt x="20577" y="9032"/>
                  </a:cubicBezTo>
                  <a:cubicBezTo>
                    <a:pt x="20519" y="8893"/>
                    <a:pt x="20430" y="8770"/>
                    <a:pt x="20373" y="8770"/>
                  </a:cubicBezTo>
                  <a:cubicBezTo>
                    <a:pt x="20316" y="8764"/>
                    <a:pt x="20195" y="8743"/>
                    <a:pt x="20104" y="8709"/>
                  </a:cubicBezTo>
                  <a:cubicBezTo>
                    <a:pt x="20012" y="8679"/>
                    <a:pt x="19863" y="8533"/>
                    <a:pt x="19773" y="8380"/>
                  </a:cubicBezTo>
                  <a:cubicBezTo>
                    <a:pt x="19680" y="8235"/>
                    <a:pt x="19588" y="7863"/>
                    <a:pt x="19577" y="7561"/>
                  </a:cubicBezTo>
                  <a:cubicBezTo>
                    <a:pt x="19555" y="7263"/>
                    <a:pt x="19548" y="6827"/>
                    <a:pt x="19565" y="6600"/>
                  </a:cubicBezTo>
                  <a:cubicBezTo>
                    <a:pt x="19565" y="6370"/>
                    <a:pt x="19554" y="6044"/>
                    <a:pt x="19510" y="5884"/>
                  </a:cubicBezTo>
                  <a:cubicBezTo>
                    <a:pt x="19476" y="5715"/>
                    <a:pt x="19395" y="5550"/>
                    <a:pt x="19340" y="5504"/>
                  </a:cubicBezTo>
                  <a:cubicBezTo>
                    <a:pt x="19285" y="5458"/>
                    <a:pt x="19236" y="5344"/>
                    <a:pt x="19225" y="5252"/>
                  </a:cubicBezTo>
                  <a:cubicBezTo>
                    <a:pt x="19214" y="5161"/>
                    <a:pt x="19162" y="4959"/>
                    <a:pt x="19106" y="4805"/>
                  </a:cubicBezTo>
                  <a:cubicBezTo>
                    <a:pt x="19043" y="4662"/>
                    <a:pt x="18958" y="4485"/>
                    <a:pt x="18901" y="4444"/>
                  </a:cubicBezTo>
                  <a:cubicBezTo>
                    <a:pt x="18848" y="4394"/>
                    <a:pt x="18691" y="4121"/>
                    <a:pt x="18555" y="3827"/>
                  </a:cubicBezTo>
                  <a:cubicBezTo>
                    <a:pt x="18420" y="3526"/>
                    <a:pt x="18264" y="3257"/>
                    <a:pt x="18213" y="3210"/>
                  </a:cubicBezTo>
                  <a:cubicBezTo>
                    <a:pt x="18162" y="3168"/>
                    <a:pt x="18093" y="3205"/>
                    <a:pt x="18050" y="3279"/>
                  </a:cubicBezTo>
                  <a:cubicBezTo>
                    <a:pt x="18010" y="3358"/>
                    <a:pt x="17949" y="3435"/>
                    <a:pt x="17913" y="3441"/>
                  </a:cubicBezTo>
                  <a:cubicBezTo>
                    <a:pt x="17876" y="3447"/>
                    <a:pt x="17780" y="3380"/>
                    <a:pt x="17699" y="3284"/>
                  </a:cubicBezTo>
                  <a:cubicBezTo>
                    <a:pt x="17618" y="3188"/>
                    <a:pt x="17534" y="3187"/>
                    <a:pt x="17507" y="3268"/>
                  </a:cubicBezTo>
                  <a:cubicBezTo>
                    <a:pt x="17477" y="3346"/>
                    <a:pt x="17432" y="3398"/>
                    <a:pt x="17397" y="3361"/>
                  </a:cubicBezTo>
                  <a:cubicBezTo>
                    <a:pt x="17363" y="3320"/>
                    <a:pt x="17319" y="3182"/>
                    <a:pt x="17298" y="3044"/>
                  </a:cubicBezTo>
                  <a:cubicBezTo>
                    <a:pt x="17276" y="2906"/>
                    <a:pt x="17232" y="2772"/>
                    <a:pt x="17193" y="2757"/>
                  </a:cubicBezTo>
                  <a:cubicBezTo>
                    <a:pt x="17193" y="2756"/>
                    <a:pt x="17193" y="2756"/>
                    <a:pt x="17191" y="2755"/>
                  </a:cubicBezTo>
                  <a:cubicBezTo>
                    <a:pt x="17154" y="2734"/>
                    <a:pt x="17113" y="2758"/>
                    <a:pt x="17101" y="2803"/>
                  </a:cubicBezTo>
                  <a:cubicBezTo>
                    <a:pt x="17086" y="2844"/>
                    <a:pt x="17061" y="3041"/>
                    <a:pt x="17029" y="3224"/>
                  </a:cubicBezTo>
                  <a:cubicBezTo>
                    <a:pt x="16997" y="3407"/>
                    <a:pt x="16921" y="3645"/>
                    <a:pt x="16848" y="3738"/>
                  </a:cubicBezTo>
                  <a:cubicBezTo>
                    <a:pt x="16777" y="3836"/>
                    <a:pt x="16641" y="4001"/>
                    <a:pt x="16543" y="4103"/>
                  </a:cubicBezTo>
                  <a:cubicBezTo>
                    <a:pt x="16447" y="4205"/>
                    <a:pt x="16354" y="4382"/>
                    <a:pt x="16343" y="4494"/>
                  </a:cubicBezTo>
                  <a:cubicBezTo>
                    <a:pt x="16333" y="4605"/>
                    <a:pt x="16241" y="4689"/>
                    <a:pt x="16146" y="4689"/>
                  </a:cubicBezTo>
                  <a:cubicBezTo>
                    <a:pt x="16052" y="4689"/>
                    <a:pt x="15950" y="4746"/>
                    <a:pt x="15913" y="4805"/>
                  </a:cubicBezTo>
                  <a:cubicBezTo>
                    <a:pt x="15880" y="4874"/>
                    <a:pt x="15745" y="4842"/>
                    <a:pt x="15615" y="4751"/>
                  </a:cubicBezTo>
                  <a:cubicBezTo>
                    <a:pt x="15487" y="4655"/>
                    <a:pt x="15346" y="4525"/>
                    <a:pt x="15308" y="4456"/>
                  </a:cubicBezTo>
                  <a:cubicBezTo>
                    <a:pt x="15268" y="4393"/>
                    <a:pt x="15199" y="4330"/>
                    <a:pt x="15154" y="4320"/>
                  </a:cubicBezTo>
                  <a:cubicBezTo>
                    <a:pt x="15110" y="4308"/>
                    <a:pt x="15056" y="4277"/>
                    <a:pt x="15036" y="4243"/>
                  </a:cubicBezTo>
                  <a:cubicBezTo>
                    <a:pt x="15018" y="4204"/>
                    <a:pt x="14952" y="4214"/>
                    <a:pt x="14892" y="4243"/>
                  </a:cubicBezTo>
                  <a:cubicBezTo>
                    <a:pt x="14833" y="4279"/>
                    <a:pt x="14692" y="4292"/>
                    <a:pt x="14579" y="4292"/>
                  </a:cubicBezTo>
                  <a:cubicBezTo>
                    <a:pt x="14466" y="4286"/>
                    <a:pt x="14270" y="4368"/>
                    <a:pt x="14142" y="4472"/>
                  </a:cubicBezTo>
                  <a:cubicBezTo>
                    <a:pt x="14013" y="4578"/>
                    <a:pt x="13820" y="4599"/>
                    <a:pt x="13710" y="4529"/>
                  </a:cubicBezTo>
                  <a:cubicBezTo>
                    <a:pt x="13600" y="4450"/>
                    <a:pt x="13450" y="4275"/>
                    <a:pt x="13371" y="4147"/>
                  </a:cubicBezTo>
                  <a:cubicBezTo>
                    <a:pt x="13293" y="4012"/>
                    <a:pt x="13203" y="3949"/>
                    <a:pt x="13166" y="4000"/>
                  </a:cubicBezTo>
                  <a:cubicBezTo>
                    <a:pt x="13127" y="4047"/>
                    <a:pt x="12997" y="3960"/>
                    <a:pt x="12867" y="3793"/>
                  </a:cubicBezTo>
                  <a:cubicBezTo>
                    <a:pt x="12736" y="3628"/>
                    <a:pt x="12582" y="3445"/>
                    <a:pt x="12517" y="3419"/>
                  </a:cubicBezTo>
                  <a:cubicBezTo>
                    <a:pt x="12452" y="3385"/>
                    <a:pt x="12303" y="3187"/>
                    <a:pt x="12185" y="2985"/>
                  </a:cubicBezTo>
                  <a:cubicBezTo>
                    <a:pt x="12069" y="2775"/>
                    <a:pt x="11941" y="2610"/>
                    <a:pt x="11907" y="2604"/>
                  </a:cubicBezTo>
                  <a:cubicBezTo>
                    <a:pt x="11872" y="2598"/>
                    <a:pt x="11822" y="2665"/>
                    <a:pt x="11799" y="2761"/>
                  </a:cubicBezTo>
                  <a:cubicBezTo>
                    <a:pt x="11772" y="2852"/>
                    <a:pt x="11708" y="2896"/>
                    <a:pt x="11653" y="2858"/>
                  </a:cubicBezTo>
                  <a:cubicBezTo>
                    <a:pt x="11598" y="2817"/>
                    <a:pt x="11504" y="2626"/>
                    <a:pt x="11439" y="2437"/>
                  </a:cubicBezTo>
                  <a:cubicBezTo>
                    <a:pt x="11377" y="2242"/>
                    <a:pt x="11304" y="1934"/>
                    <a:pt x="11283" y="1745"/>
                  </a:cubicBezTo>
                  <a:cubicBezTo>
                    <a:pt x="11261" y="1555"/>
                    <a:pt x="11196" y="1311"/>
                    <a:pt x="11142" y="1191"/>
                  </a:cubicBezTo>
                  <a:cubicBezTo>
                    <a:pt x="11086" y="1078"/>
                    <a:pt x="11011" y="988"/>
                    <a:pt x="10975" y="1001"/>
                  </a:cubicBezTo>
                  <a:cubicBezTo>
                    <a:pt x="10939" y="1014"/>
                    <a:pt x="10851" y="1158"/>
                    <a:pt x="10781" y="1329"/>
                  </a:cubicBezTo>
                  <a:cubicBezTo>
                    <a:pt x="10713" y="1507"/>
                    <a:pt x="10627" y="1613"/>
                    <a:pt x="10599" y="1577"/>
                  </a:cubicBezTo>
                  <a:cubicBezTo>
                    <a:pt x="10571" y="1542"/>
                    <a:pt x="10523" y="1543"/>
                    <a:pt x="10498" y="1589"/>
                  </a:cubicBezTo>
                  <a:cubicBezTo>
                    <a:pt x="10469" y="1629"/>
                    <a:pt x="10340" y="1439"/>
                    <a:pt x="10213" y="1155"/>
                  </a:cubicBezTo>
                  <a:cubicBezTo>
                    <a:pt x="10084" y="875"/>
                    <a:pt x="9961" y="521"/>
                    <a:pt x="9950" y="366"/>
                  </a:cubicBezTo>
                  <a:cubicBezTo>
                    <a:pt x="9933" y="213"/>
                    <a:pt x="9902" y="81"/>
                    <a:pt x="9884" y="49"/>
                  </a:cubicBezTo>
                  <a:cubicBezTo>
                    <a:pt x="9865" y="23"/>
                    <a:pt x="9786" y="77"/>
                    <a:pt x="9710" y="151"/>
                  </a:cubicBezTo>
                  <a:cubicBezTo>
                    <a:pt x="9635" y="231"/>
                    <a:pt x="9486" y="279"/>
                    <a:pt x="9382" y="255"/>
                  </a:cubicBezTo>
                  <a:cubicBezTo>
                    <a:pt x="9277" y="238"/>
                    <a:pt x="9150" y="175"/>
                    <a:pt x="9098" y="127"/>
                  </a:cubicBezTo>
                  <a:cubicBezTo>
                    <a:pt x="9046" y="78"/>
                    <a:pt x="8953" y="61"/>
                    <a:pt x="8889" y="86"/>
                  </a:cubicBezTo>
                  <a:cubicBezTo>
                    <a:pt x="8826" y="114"/>
                    <a:pt x="8640" y="101"/>
                    <a:pt x="8476" y="49"/>
                  </a:cubicBezTo>
                  <a:cubicBezTo>
                    <a:pt x="8313" y="3"/>
                    <a:pt x="8114" y="-10"/>
                    <a:pt x="8034" y="8"/>
                  </a:cubicBezTo>
                  <a:cubicBezTo>
                    <a:pt x="7956" y="37"/>
                    <a:pt x="7770" y="163"/>
                    <a:pt x="7621" y="291"/>
                  </a:cubicBezTo>
                  <a:cubicBezTo>
                    <a:pt x="7473" y="425"/>
                    <a:pt x="7294" y="526"/>
                    <a:pt x="7223" y="538"/>
                  </a:cubicBezTo>
                  <a:cubicBezTo>
                    <a:pt x="7152" y="544"/>
                    <a:pt x="6995" y="577"/>
                    <a:pt x="6872" y="601"/>
                  </a:cubicBezTo>
                  <a:cubicBezTo>
                    <a:pt x="6748" y="631"/>
                    <a:pt x="6624" y="746"/>
                    <a:pt x="6590" y="849"/>
                  </a:cubicBezTo>
                  <a:cubicBezTo>
                    <a:pt x="6559" y="955"/>
                    <a:pt x="6486" y="1064"/>
                    <a:pt x="6427" y="1086"/>
                  </a:cubicBezTo>
                  <a:cubicBezTo>
                    <a:pt x="6369" y="1103"/>
                    <a:pt x="6276" y="1225"/>
                    <a:pt x="6229" y="1361"/>
                  </a:cubicBezTo>
                  <a:cubicBezTo>
                    <a:pt x="6178" y="1487"/>
                    <a:pt x="6114" y="1627"/>
                    <a:pt x="6082" y="1656"/>
                  </a:cubicBezTo>
                  <a:cubicBezTo>
                    <a:pt x="6053" y="1692"/>
                    <a:pt x="6003" y="1869"/>
                    <a:pt x="5981" y="2055"/>
                  </a:cubicBezTo>
                  <a:cubicBezTo>
                    <a:pt x="5948" y="2235"/>
                    <a:pt x="5908" y="2425"/>
                    <a:pt x="5878" y="2467"/>
                  </a:cubicBezTo>
                  <a:cubicBezTo>
                    <a:pt x="5854" y="2520"/>
                    <a:pt x="5829" y="2614"/>
                    <a:pt x="5840" y="2696"/>
                  </a:cubicBezTo>
                  <a:cubicBezTo>
                    <a:pt x="5850" y="2778"/>
                    <a:pt x="5756" y="2851"/>
                    <a:pt x="5636" y="2845"/>
                  </a:cubicBezTo>
                  <a:cubicBezTo>
                    <a:pt x="5514" y="2845"/>
                    <a:pt x="5264" y="2685"/>
                    <a:pt x="5076" y="2504"/>
                  </a:cubicBezTo>
                  <a:cubicBezTo>
                    <a:pt x="4890" y="2314"/>
                    <a:pt x="4689" y="2157"/>
                    <a:pt x="4632" y="2151"/>
                  </a:cubicBezTo>
                  <a:cubicBezTo>
                    <a:pt x="4574" y="2139"/>
                    <a:pt x="4497" y="2191"/>
                    <a:pt x="4457" y="2252"/>
                  </a:cubicBezTo>
                  <a:cubicBezTo>
                    <a:pt x="4416" y="2314"/>
                    <a:pt x="4322" y="2331"/>
                    <a:pt x="4245" y="2281"/>
                  </a:cubicBezTo>
                  <a:cubicBezTo>
                    <a:pt x="4167" y="2240"/>
                    <a:pt x="4021" y="2221"/>
                    <a:pt x="3919" y="2273"/>
                  </a:cubicBezTo>
                  <a:cubicBezTo>
                    <a:pt x="3815" y="2312"/>
                    <a:pt x="3689" y="2301"/>
                    <a:pt x="3634" y="2259"/>
                  </a:cubicBezTo>
                  <a:cubicBezTo>
                    <a:pt x="3582" y="2204"/>
                    <a:pt x="3467" y="2202"/>
                    <a:pt x="3381" y="2240"/>
                  </a:cubicBezTo>
                  <a:cubicBezTo>
                    <a:pt x="3296" y="2274"/>
                    <a:pt x="3222" y="2401"/>
                    <a:pt x="3205" y="2504"/>
                  </a:cubicBezTo>
                  <a:cubicBezTo>
                    <a:pt x="3188" y="2606"/>
                    <a:pt x="3240" y="2899"/>
                    <a:pt x="3311" y="3148"/>
                  </a:cubicBezTo>
                  <a:cubicBezTo>
                    <a:pt x="3384" y="3394"/>
                    <a:pt x="3520" y="3612"/>
                    <a:pt x="3618" y="3640"/>
                  </a:cubicBezTo>
                  <a:cubicBezTo>
                    <a:pt x="3714" y="3669"/>
                    <a:pt x="3862" y="3710"/>
                    <a:pt x="3944" y="3756"/>
                  </a:cubicBezTo>
                  <a:cubicBezTo>
                    <a:pt x="4026" y="3796"/>
                    <a:pt x="4080" y="3897"/>
                    <a:pt x="4074" y="3982"/>
                  </a:cubicBezTo>
                  <a:cubicBezTo>
                    <a:pt x="4074" y="4066"/>
                    <a:pt x="3940" y="4112"/>
                    <a:pt x="3799" y="4101"/>
                  </a:cubicBezTo>
                  <a:cubicBezTo>
                    <a:pt x="3657" y="4089"/>
                    <a:pt x="3443" y="4128"/>
                    <a:pt x="3321" y="4189"/>
                  </a:cubicBezTo>
                  <a:cubicBezTo>
                    <a:pt x="3199" y="4253"/>
                    <a:pt x="3069" y="4413"/>
                    <a:pt x="3027" y="4536"/>
                  </a:cubicBezTo>
                  <a:cubicBezTo>
                    <a:pt x="2985" y="4658"/>
                    <a:pt x="2974" y="4831"/>
                    <a:pt x="3000" y="4912"/>
                  </a:cubicBezTo>
                  <a:cubicBezTo>
                    <a:pt x="3031" y="4984"/>
                    <a:pt x="3101" y="5034"/>
                    <a:pt x="3165" y="4991"/>
                  </a:cubicBezTo>
                  <a:cubicBezTo>
                    <a:pt x="3229" y="4948"/>
                    <a:pt x="3304" y="5001"/>
                    <a:pt x="3335" y="5094"/>
                  </a:cubicBezTo>
                  <a:cubicBezTo>
                    <a:pt x="3364" y="5189"/>
                    <a:pt x="3346" y="5294"/>
                    <a:pt x="3296" y="5326"/>
                  </a:cubicBezTo>
                  <a:cubicBezTo>
                    <a:pt x="3244" y="5357"/>
                    <a:pt x="3070" y="5373"/>
                    <a:pt x="2909" y="5356"/>
                  </a:cubicBezTo>
                  <a:cubicBezTo>
                    <a:pt x="2747" y="5344"/>
                    <a:pt x="2558" y="5239"/>
                    <a:pt x="2485" y="5151"/>
                  </a:cubicBezTo>
                  <a:cubicBezTo>
                    <a:pt x="2413" y="5059"/>
                    <a:pt x="2288" y="5034"/>
                    <a:pt x="2210" y="5111"/>
                  </a:cubicBezTo>
                  <a:cubicBezTo>
                    <a:pt x="2129" y="5179"/>
                    <a:pt x="2028" y="5129"/>
                    <a:pt x="1985" y="4990"/>
                  </a:cubicBezTo>
                  <a:cubicBezTo>
                    <a:pt x="1944" y="4846"/>
                    <a:pt x="1867" y="4732"/>
                    <a:pt x="1823" y="4738"/>
                  </a:cubicBezTo>
                  <a:cubicBezTo>
                    <a:pt x="1777" y="4744"/>
                    <a:pt x="1695" y="4861"/>
                    <a:pt x="1637" y="5007"/>
                  </a:cubicBezTo>
                  <a:cubicBezTo>
                    <a:pt x="1581" y="5155"/>
                    <a:pt x="1486" y="5268"/>
                    <a:pt x="1427" y="5250"/>
                  </a:cubicBezTo>
                  <a:cubicBezTo>
                    <a:pt x="1368" y="5231"/>
                    <a:pt x="1242" y="5095"/>
                    <a:pt x="1154" y="4927"/>
                  </a:cubicBezTo>
                  <a:cubicBezTo>
                    <a:pt x="1067" y="4759"/>
                    <a:pt x="922" y="4619"/>
                    <a:pt x="840" y="4608"/>
                  </a:cubicBezTo>
                  <a:cubicBezTo>
                    <a:pt x="756" y="4597"/>
                    <a:pt x="563" y="4797"/>
                    <a:pt x="409" y="5051"/>
                  </a:cubicBezTo>
                  <a:cubicBezTo>
                    <a:pt x="258" y="5315"/>
                    <a:pt x="114" y="5635"/>
                    <a:pt x="92" y="5776"/>
                  </a:cubicBezTo>
                  <a:cubicBezTo>
                    <a:pt x="65" y="5914"/>
                    <a:pt x="42" y="6150"/>
                    <a:pt x="14" y="6283"/>
                  </a:cubicBezTo>
                  <a:cubicBezTo>
                    <a:pt x="-8" y="6419"/>
                    <a:pt x="-5" y="6619"/>
                    <a:pt x="27" y="6725"/>
                  </a:cubicBezTo>
                  <a:cubicBezTo>
                    <a:pt x="59" y="6827"/>
                    <a:pt x="84" y="7053"/>
                    <a:pt x="84" y="7216"/>
                  </a:cubicBezTo>
                  <a:cubicBezTo>
                    <a:pt x="90" y="7380"/>
                    <a:pt x="74" y="7575"/>
                    <a:pt x="47" y="7631"/>
                  </a:cubicBezTo>
                  <a:cubicBezTo>
                    <a:pt x="24" y="7693"/>
                    <a:pt x="28" y="7830"/>
                    <a:pt x="55" y="7929"/>
                  </a:cubicBezTo>
                  <a:cubicBezTo>
                    <a:pt x="83" y="8029"/>
                    <a:pt x="180" y="8060"/>
                    <a:pt x="273" y="8002"/>
                  </a:cubicBezTo>
                  <a:cubicBezTo>
                    <a:pt x="365" y="7940"/>
                    <a:pt x="463" y="7919"/>
                    <a:pt x="491" y="7943"/>
                  </a:cubicBezTo>
                  <a:cubicBezTo>
                    <a:pt x="520" y="7967"/>
                    <a:pt x="599" y="7975"/>
                    <a:pt x="667" y="7944"/>
                  </a:cubicBezTo>
                  <a:cubicBezTo>
                    <a:pt x="737" y="7927"/>
                    <a:pt x="864" y="7903"/>
                    <a:pt x="950" y="7927"/>
                  </a:cubicBezTo>
                  <a:cubicBezTo>
                    <a:pt x="1036" y="7945"/>
                    <a:pt x="1041" y="8091"/>
                    <a:pt x="964" y="8259"/>
                  </a:cubicBezTo>
                  <a:cubicBezTo>
                    <a:pt x="886" y="8424"/>
                    <a:pt x="837" y="8659"/>
                    <a:pt x="847" y="8783"/>
                  </a:cubicBezTo>
                  <a:cubicBezTo>
                    <a:pt x="858" y="8908"/>
                    <a:pt x="903" y="9118"/>
                    <a:pt x="943" y="9249"/>
                  </a:cubicBezTo>
                  <a:cubicBezTo>
                    <a:pt x="985" y="9376"/>
                    <a:pt x="1009" y="9570"/>
                    <a:pt x="1014" y="9666"/>
                  </a:cubicBezTo>
                  <a:cubicBezTo>
                    <a:pt x="1014" y="9764"/>
                    <a:pt x="1012" y="9900"/>
                    <a:pt x="1006" y="9968"/>
                  </a:cubicBezTo>
                  <a:cubicBezTo>
                    <a:pt x="1002" y="10037"/>
                    <a:pt x="1016" y="10127"/>
                    <a:pt x="1040" y="10165"/>
                  </a:cubicBezTo>
                  <a:cubicBezTo>
                    <a:pt x="1062" y="10210"/>
                    <a:pt x="1134" y="10168"/>
                    <a:pt x="1196" y="10080"/>
                  </a:cubicBezTo>
                  <a:cubicBezTo>
                    <a:pt x="1257" y="9992"/>
                    <a:pt x="1312" y="9994"/>
                    <a:pt x="1322" y="10075"/>
                  </a:cubicBezTo>
                  <a:cubicBezTo>
                    <a:pt x="1333" y="10156"/>
                    <a:pt x="1305" y="10306"/>
                    <a:pt x="1264" y="10399"/>
                  </a:cubicBezTo>
                  <a:cubicBezTo>
                    <a:pt x="1222" y="10491"/>
                    <a:pt x="1121" y="10665"/>
                    <a:pt x="1036" y="10778"/>
                  </a:cubicBezTo>
                  <a:cubicBezTo>
                    <a:pt x="949" y="10887"/>
                    <a:pt x="908" y="11023"/>
                    <a:pt x="938" y="11080"/>
                  </a:cubicBezTo>
                  <a:cubicBezTo>
                    <a:pt x="970" y="11135"/>
                    <a:pt x="1039" y="11197"/>
                    <a:pt x="1090" y="11210"/>
                  </a:cubicBezTo>
                  <a:cubicBezTo>
                    <a:pt x="1142" y="11226"/>
                    <a:pt x="1144" y="11301"/>
                    <a:pt x="1094" y="11370"/>
                  </a:cubicBezTo>
                  <a:cubicBezTo>
                    <a:pt x="1044" y="11435"/>
                    <a:pt x="983" y="11609"/>
                    <a:pt x="956" y="11745"/>
                  </a:cubicBezTo>
                  <a:cubicBezTo>
                    <a:pt x="932" y="11885"/>
                    <a:pt x="876" y="11992"/>
                    <a:pt x="838" y="11985"/>
                  </a:cubicBezTo>
                  <a:cubicBezTo>
                    <a:pt x="800" y="11985"/>
                    <a:pt x="733" y="11797"/>
                    <a:pt x="688" y="11579"/>
                  </a:cubicBezTo>
                  <a:cubicBezTo>
                    <a:pt x="643" y="11361"/>
                    <a:pt x="583" y="11156"/>
                    <a:pt x="556" y="11120"/>
                  </a:cubicBezTo>
                  <a:cubicBezTo>
                    <a:pt x="528" y="11086"/>
                    <a:pt x="495" y="11167"/>
                    <a:pt x="490" y="11300"/>
                  </a:cubicBezTo>
                  <a:cubicBezTo>
                    <a:pt x="484" y="11434"/>
                    <a:pt x="493" y="11672"/>
                    <a:pt x="525" y="11820"/>
                  </a:cubicBezTo>
                  <a:cubicBezTo>
                    <a:pt x="558" y="11968"/>
                    <a:pt x="554" y="12162"/>
                    <a:pt x="523" y="12234"/>
                  </a:cubicBezTo>
                  <a:cubicBezTo>
                    <a:pt x="499" y="12318"/>
                    <a:pt x="485" y="12467"/>
                    <a:pt x="496" y="12585"/>
                  </a:cubicBezTo>
                  <a:cubicBezTo>
                    <a:pt x="507" y="12704"/>
                    <a:pt x="575" y="12868"/>
                    <a:pt x="634" y="12967"/>
                  </a:cubicBezTo>
                  <a:cubicBezTo>
                    <a:pt x="695" y="13061"/>
                    <a:pt x="756" y="13084"/>
                    <a:pt x="767" y="13018"/>
                  </a:cubicBezTo>
                  <a:cubicBezTo>
                    <a:pt x="774" y="12948"/>
                    <a:pt x="846" y="13023"/>
                    <a:pt x="923" y="13159"/>
                  </a:cubicBezTo>
                  <a:cubicBezTo>
                    <a:pt x="999" y="13300"/>
                    <a:pt x="1101" y="13402"/>
                    <a:pt x="1154" y="13387"/>
                  </a:cubicBezTo>
                  <a:cubicBezTo>
                    <a:pt x="1208" y="13375"/>
                    <a:pt x="1319" y="13455"/>
                    <a:pt x="1403" y="13573"/>
                  </a:cubicBezTo>
                  <a:cubicBezTo>
                    <a:pt x="1489" y="13686"/>
                    <a:pt x="1581" y="13946"/>
                    <a:pt x="1604" y="14142"/>
                  </a:cubicBezTo>
                  <a:cubicBezTo>
                    <a:pt x="1626" y="14337"/>
                    <a:pt x="1606" y="14590"/>
                    <a:pt x="1553" y="14715"/>
                  </a:cubicBezTo>
                  <a:cubicBezTo>
                    <a:pt x="1499" y="14834"/>
                    <a:pt x="1494" y="15026"/>
                    <a:pt x="1544" y="15126"/>
                  </a:cubicBezTo>
                  <a:cubicBezTo>
                    <a:pt x="1591" y="15231"/>
                    <a:pt x="1641" y="15395"/>
                    <a:pt x="1641" y="15493"/>
                  </a:cubicBezTo>
                  <a:cubicBezTo>
                    <a:pt x="1647" y="15593"/>
                    <a:pt x="1689" y="15677"/>
                    <a:pt x="1735" y="15695"/>
                  </a:cubicBezTo>
                  <a:cubicBezTo>
                    <a:pt x="1780" y="15706"/>
                    <a:pt x="1892" y="15890"/>
                    <a:pt x="1988" y="16093"/>
                  </a:cubicBezTo>
                  <a:cubicBezTo>
                    <a:pt x="2083" y="16297"/>
                    <a:pt x="2128" y="16567"/>
                    <a:pt x="2105" y="16697"/>
                  </a:cubicBezTo>
                  <a:cubicBezTo>
                    <a:pt x="2076" y="16823"/>
                    <a:pt x="2005" y="16890"/>
                    <a:pt x="1947" y="16847"/>
                  </a:cubicBezTo>
                  <a:cubicBezTo>
                    <a:pt x="1889" y="16810"/>
                    <a:pt x="1828" y="16840"/>
                    <a:pt x="1822" y="16932"/>
                  </a:cubicBezTo>
                  <a:cubicBezTo>
                    <a:pt x="1817" y="17026"/>
                    <a:pt x="1841" y="17132"/>
                    <a:pt x="1887" y="17186"/>
                  </a:cubicBezTo>
                  <a:cubicBezTo>
                    <a:pt x="1935" y="17231"/>
                    <a:pt x="2059" y="17235"/>
                    <a:pt x="2165" y="17185"/>
                  </a:cubicBezTo>
                  <a:cubicBezTo>
                    <a:pt x="2271" y="17140"/>
                    <a:pt x="2480" y="17109"/>
                    <a:pt x="2630" y="17127"/>
                  </a:cubicBezTo>
                  <a:cubicBezTo>
                    <a:pt x="2779" y="17144"/>
                    <a:pt x="2891" y="17211"/>
                    <a:pt x="2885" y="17279"/>
                  </a:cubicBezTo>
                  <a:cubicBezTo>
                    <a:pt x="2879" y="17348"/>
                    <a:pt x="2843" y="17466"/>
                    <a:pt x="2810" y="17546"/>
                  </a:cubicBezTo>
                  <a:cubicBezTo>
                    <a:pt x="2775" y="17620"/>
                    <a:pt x="2689" y="17741"/>
                    <a:pt x="2615" y="17814"/>
                  </a:cubicBezTo>
                  <a:cubicBezTo>
                    <a:pt x="2541" y="17884"/>
                    <a:pt x="2385" y="17918"/>
                    <a:pt x="2270" y="17894"/>
                  </a:cubicBezTo>
                  <a:cubicBezTo>
                    <a:pt x="2154" y="17866"/>
                    <a:pt x="2041" y="17924"/>
                    <a:pt x="2015" y="18012"/>
                  </a:cubicBezTo>
                  <a:cubicBezTo>
                    <a:pt x="1990" y="18102"/>
                    <a:pt x="2004" y="18209"/>
                    <a:pt x="2048" y="18229"/>
                  </a:cubicBezTo>
                  <a:cubicBezTo>
                    <a:pt x="2092" y="18255"/>
                    <a:pt x="2174" y="18257"/>
                    <a:pt x="2231" y="18215"/>
                  </a:cubicBezTo>
                  <a:cubicBezTo>
                    <a:pt x="2289" y="18178"/>
                    <a:pt x="2402" y="18156"/>
                    <a:pt x="2480" y="18161"/>
                  </a:cubicBezTo>
                  <a:cubicBezTo>
                    <a:pt x="2558" y="18173"/>
                    <a:pt x="2653" y="18139"/>
                    <a:pt x="2690" y="18105"/>
                  </a:cubicBezTo>
                  <a:cubicBezTo>
                    <a:pt x="2727" y="18061"/>
                    <a:pt x="2758" y="18131"/>
                    <a:pt x="2763" y="18247"/>
                  </a:cubicBezTo>
                  <a:cubicBezTo>
                    <a:pt x="2769" y="18364"/>
                    <a:pt x="2791" y="18490"/>
                    <a:pt x="2810" y="18543"/>
                  </a:cubicBezTo>
                  <a:cubicBezTo>
                    <a:pt x="2833" y="18586"/>
                    <a:pt x="2884" y="18539"/>
                    <a:pt x="2918" y="18421"/>
                  </a:cubicBezTo>
                  <a:cubicBezTo>
                    <a:pt x="2953" y="18305"/>
                    <a:pt x="3023" y="18113"/>
                    <a:pt x="3067" y="17981"/>
                  </a:cubicBezTo>
                  <a:cubicBezTo>
                    <a:pt x="3110" y="17849"/>
                    <a:pt x="3189" y="17752"/>
                    <a:pt x="3239" y="17745"/>
                  </a:cubicBezTo>
                  <a:cubicBezTo>
                    <a:pt x="3290" y="17739"/>
                    <a:pt x="3360" y="17832"/>
                    <a:pt x="3399" y="17930"/>
                  </a:cubicBezTo>
                  <a:cubicBezTo>
                    <a:pt x="3437" y="18030"/>
                    <a:pt x="3503" y="18126"/>
                    <a:pt x="3548" y="18126"/>
                  </a:cubicBezTo>
                  <a:cubicBezTo>
                    <a:pt x="3593" y="18132"/>
                    <a:pt x="3685" y="18221"/>
                    <a:pt x="3755" y="18318"/>
                  </a:cubicBezTo>
                  <a:cubicBezTo>
                    <a:pt x="3822" y="18423"/>
                    <a:pt x="3902" y="18415"/>
                    <a:pt x="3933" y="18316"/>
                  </a:cubicBezTo>
                  <a:cubicBezTo>
                    <a:pt x="3957" y="18210"/>
                    <a:pt x="4030" y="18156"/>
                    <a:pt x="4082" y="18178"/>
                  </a:cubicBezTo>
                  <a:cubicBezTo>
                    <a:pt x="4134" y="18215"/>
                    <a:pt x="4175" y="18293"/>
                    <a:pt x="4169" y="18378"/>
                  </a:cubicBezTo>
                  <a:cubicBezTo>
                    <a:pt x="4158" y="18459"/>
                    <a:pt x="4139" y="18559"/>
                    <a:pt x="4111" y="18583"/>
                  </a:cubicBezTo>
                  <a:cubicBezTo>
                    <a:pt x="4087" y="18614"/>
                    <a:pt x="4092" y="18727"/>
                    <a:pt x="4128" y="18840"/>
                  </a:cubicBezTo>
                  <a:cubicBezTo>
                    <a:pt x="4162" y="18954"/>
                    <a:pt x="4198" y="19140"/>
                    <a:pt x="4209" y="19251"/>
                  </a:cubicBezTo>
                  <a:cubicBezTo>
                    <a:pt x="4220" y="19362"/>
                    <a:pt x="4291" y="19580"/>
                    <a:pt x="4369" y="19727"/>
                  </a:cubicBezTo>
                  <a:cubicBezTo>
                    <a:pt x="4447" y="19874"/>
                    <a:pt x="4530" y="19972"/>
                    <a:pt x="4557" y="19949"/>
                  </a:cubicBezTo>
                  <a:cubicBezTo>
                    <a:pt x="4582" y="19922"/>
                    <a:pt x="4669" y="19965"/>
                    <a:pt x="4750" y="20049"/>
                  </a:cubicBezTo>
                  <a:cubicBezTo>
                    <a:pt x="4832" y="20130"/>
                    <a:pt x="4965" y="20186"/>
                    <a:pt x="5049" y="20163"/>
                  </a:cubicBezTo>
                  <a:cubicBezTo>
                    <a:pt x="5131" y="20138"/>
                    <a:pt x="5233" y="20073"/>
                    <a:pt x="5268" y="19999"/>
                  </a:cubicBezTo>
                  <a:cubicBezTo>
                    <a:pt x="5303" y="19925"/>
                    <a:pt x="5392" y="19878"/>
                    <a:pt x="5460" y="19888"/>
                  </a:cubicBezTo>
                  <a:cubicBezTo>
                    <a:pt x="5528" y="19894"/>
                    <a:pt x="5618" y="19850"/>
                    <a:pt x="5652" y="19766"/>
                  </a:cubicBezTo>
                  <a:cubicBezTo>
                    <a:pt x="5686" y="19684"/>
                    <a:pt x="5769" y="19701"/>
                    <a:pt x="5832" y="19777"/>
                  </a:cubicBezTo>
                  <a:cubicBezTo>
                    <a:pt x="5893" y="19860"/>
                    <a:pt x="5976" y="19878"/>
                    <a:pt x="6018" y="19833"/>
                  </a:cubicBezTo>
                  <a:cubicBezTo>
                    <a:pt x="6059" y="19785"/>
                    <a:pt x="6079" y="19588"/>
                    <a:pt x="6068" y="19395"/>
                  </a:cubicBezTo>
                  <a:cubicBezTo>
                    <a:pt x="6052" y="19206"/>
                    <a:pt x="6059" y="18972"/>
                    <a:pt x="6064" y="18874"/>
                  </a:cubicBezTo>
                  <a:cubicBezTo>
                    <a:pt x="6070" y="18776"/>
                    <a:pt x="6063" y="18555"/>
                    <a:pt x="6052" y="18375"/>
                  </a:cubicBezTo>
                  <a:cubicBezTo>
                    <a:pt x="6041" y="18194"/>
                    <a:pt x="6139" y="18039"/>
                    <a:pt x="6283" y="18027"/>
                  </a:cubicBezTo>
                  <a:cubicBezTo>
                    <a:pt x="6428" y="18010"/>
                    <a:pt x="6648" y="18043"/>
                    <a:pt x="6773" y="18079"/>
                  </a:cubicBezTo>
                  <a:cubicBezTo>
                    <a:pt x="6898" y="18119"/>
                    <a:pt x="7139" y="18336"/>
                    <a:pt x="7310" y="18557"/>
                  </a:cubicBezTo>
                  <a:cubicBezTo>
                    <a:pt x="7482" y="18772"/>
                    <a:pt x="7667" y="18964"/>
                    <a:pt x="7726" y="18974"/>
                  </a:cubicBezTo>
                  <a:cubicBezTo>
                    <a:pt x="7784" y="18986"/>
                    <a:pt x="7934" y="19270"/>
                    <a:pt x="8045" y="19633"/>
                  </a:cubicBezTo>
                  <a:cubicBezTo>
                    <a:pt x="8160" y="19990"/>
                    <a:pt x="8334" y="20404"/>
                    <a:pt x="8430" y="20553"/>
                  </a:cubicBezTo>
                  <a:cubicBezTo>
                    <a:pt x="8522" y="20712"/>
                    <a:pt x="8852" y="20792"/>
                    <a:pt x="9154" y="20735"/>
                  </a:cubicBezTo>
                  <a:cubicBezTo>
                    <a:pt x="9456" y="20688"/>
                    <a:pt x="9775" y="20584"/>
                    <a:pt x="9862" y="20498"/>
                  </a:cubicBezTo>
                  <a:cubicBezTo>
                    <a:pt x="9950" y="20421"/>
                    <a:pt x="10047" y="20362"/>
                    <a:pt x="10077" y="20362"/>
                  </a:cubicBezTo>
                  <a:cubicBezTo>
                    <a:pt x="10107" y="20369"/>
                    <a:pt x="10146" y="20398"/>
                    <a:pt x="10161" y="20440"/>
                  </a:cubicBezTo>
                  <a:cubicBezTo>
                    <a:pt x="10178" y="20476"/>
                    <a:pt x="10221" y="20449"/>
                    <a:pt x="10264" y="20388"/>
                  </a:cubicBezTo>
                  <a:cubicBezTo>
                    <a:pt x="10303" y="20316"/>
                    <a:pt x="10342" y="20157"/>
                    <a:pt x="10358" y="20028"/>
                  </a:cubicBezTo>
                  <a:cubicBezTo>
                    <a:pt x="10369" y="19896"/>
                    <a:pt x="10484" y="19479"/>
                    <a:pt x="10620" y="19113"/>
                  </a:cubicBezTo>
                  <a:cubicBezTo>
                    <a:pt x="10753" y="18746"/>
                    <a:pt x="10886" y="18427"/>
                    <a:pt x="10921" y="18415"/>
                  </a:cubicBezTo>
                  <a:cubicBezTo>
                    <a:pt x="10955" y="18397"/>
                    <a:pt x="11096" y="18500"/>
                    <a:pt x="11233" y="18633"/>
                  </a:cubicBezTo>
                  <a:cubicBezTo>
                    <a:pt x="11371" y="18761"/>
                    <a:pt x="11550" y="18960"/>
                    <a:pt x="11635" y="19061"/>
                  </a:cubicBezTo>
                  <a:cubicBezTo>
                    <a:pt x="11720" y="19160"/>
                    <a:pt x="11870" y="19224"/>
                    <a:pt x="11970" y="19185"/>
                  </a:cubicBezTo>
                  <a:cubicBezTo>
                    <a:pt x="12069" y="19150"/>
                    <a:pt x="12155" y="19067"/>
                    <a:pt x="12160" y="18996"/>
                  </a:cubicBezTo>
                  <a:cubicBezTo>
                    <a:pt x="12166" y="18926"/>
                    <a:pt x="12226" y="18775"/>
                    <a:pt x="12293" y="18658"/>
                  </a:cubicBezTo>
                  <a:cubicBezTo>
                    <a:pt x="12359" y="18537"/>
                    <a:pt x="12460" y="18492"/>
                    <a:pt x="12516" y="18540"/>
                  </a:cubicBezTo>
                  <a:cubicBezTo>
                    <a:pt x="12568" y="18601"/>
                    <a:pt x="12625" y="18724"/>
                    <a:pt x="12636" y="18839"/>
                  </a:cubicBezTo>
                  <a:cubicBezTo>
                    <a:pt x="12647" y="18953"/>
                    <a:pt x="12623" y="19203"/>
                    <a:pt x="12575" y="19383"/>
                  </a:cubicBezTo>
                  <a:cubicBezTo>
                    <a:pt x="12533" y="19567"/>
                    <a:pt x="12448" y="19818"/>
                    <a:pt x="12386" y="19931"/>
                  </a:cubicBezTo>
                  <a:cubicBezTo>
                    <a:pt x="12324" y="20041"/>
                    <a:pt x="12280" y="20207"/>
                    <a:pt x="12285" y="20285"/>
                  </a:cubicBezTo>
                  <a:cubicBezTo>
                    <a:pt x="12285" y="20365"/>
                    <a:pt x="12343" y="20577"/>
                    <a:pt x="12410" y="20750"/>
                  </a:cubicBezTo>
                  <a:cubicBezTo>
                    <a:pt x="12475" y="20923"/>
                    <a:pt x="12522" y="21162"/>
                    <a:pt x="12506" y="21267"/>
                  </a:cubicBezTo>
                  <a:cubicBezTo>
                    <a:pt x="12496" y="21376"/>
                    <a:pt x="12542" y="21496"/>
                    <a:pt x="12607" y="21535"/>
                  </a:cubicBezTo>
                  <a:cubicBezTo>
                    <a:pt x="12671" y="21572"/>
                    <a:pt x="12779" y="21590"/>
                    <a:pt x="12846" y="21571"/>
                  </a:cubicBezTo>
                  <a:close/>
                  <a:moveTo>
                    <a:pt x="12846" y="215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3" name="AutoShape 723"/>
            <p:cNvSpPr>
              <a:spLocks/>
            </p:cNvSpPr>
            <p:nvPr/>
          </p:nvSpPr>
          <p:spPr bwMode="auto">
            <a:xfrm>
              <a:off x="8623300" y="3695700"/>
              <a:ext cx="4763" cy="3175"/>
            </a:xfrm>
            <a:custGeom>
              <a:avLst/>
              <a:gdLst/>
              <a:ahLst/>
              <a:cxnLst/>
              <a:rect l="0" t="0" r="r" b="b"/>
              <a:pathLst>
                <a:path w="20098" h="20422">
                  <a:moveTo>
                    <a:pt x="15699" y="19676"/>
                  </a:moveTo>
                  <a:cubicBezTo>
                    <a:pt x="19111" y="18214"/>
                    <a:pt x="20551" y="13826"/>
                    <a:pt x="19975" y="9121"/>
                  </a:cubicBezTo>
                  <a:cubicBezTo>
                    <a:pt x="18368" y="5001"/>
                    <a:pt x="15490" y="58"/>
                    <a:pt x="12158" y="58"/>
                  </a:cubicBezTo>
                  <a:cubicBezTo>
                    <a:pt x="8949" y="-494"/>
                    <a:pt x="4338" y="3014"/>
                    <a:pt x="1584" y="6960"/>
                  </a:cubicBezTo>
                  <a:cubicBezTo>
                    <a:pt x="-1049" y="11109"/>
                    <a:pt x="-350" y="16634"/>
                    <a:pt x="3312" y="18388"/>
                  </a:cubicBezTo>
                  <a:cubicBezTo>
                    <a:pt x="6807" y="20375"/>
                    <a:pt x="12366" y="21106"/>
                    <a:pt x="15699" y="19676"/>
                  </a:cubicBezTo>
                  <a:close/>
                  <a:moveTo>
                    <a:pt x="15699" y="196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4" name="AutoShape 724"/>
            <p:cNvSpPr>
              <a:spLocks/>
            </p:cNvSpPr>
            <p:nvPr/>
          </p:nvSpPr>
          <p:spPr bwMode="auto">
            <a:xfrm>
              <a:off x="9118600" y="3441700"/>
              <a:ext cx="3175" cy="3175"/>
            </a:xfrm>
            <a:custGeom>
              <a:avLst/>
              <a:gdLst/>
              <a:ahLst/>
              <a:cxnLst/>
              <a:rect l="0" t="0" r="r" b="b"/>
              <a:pathLst>
                <a:path w="21600" h="21583">
                  <a:moveTo>
                    <a:pt x="21600" y="21583"/>
                  </a:moveTo>
                  <a:cubicBezTo>
                    <a:pt x="17190" y="11290"/>
                    <a:pt x="8296" y="789"/>
                    <a:pt x="224" y="14"/>
                  </a:cubicBezTo>
                  <a:cubicBezTo>
                    <a:pt x="224" y="-17"/>
                    <a:pt x="75" y="14"/>
                    <a:pt x="0" y="14"/>
                  </a:cubicBezTo>
                  <a:cubicBezTo>
                    <a:pt x="224" y="37"/>
                    <a:pt x="224" y="37"/>
                    <a:pt x="374" y="95"/>
                  </a:cubicBezTo>
                  <a:cubicBezTo>
                    <a:pt x="8221" y="1257"/>
                    <a:pt x="17190" y="11290"/>
                    <a:pt x="21600" y="21583"/>
                  </a:cubicBezTo>
                  <a:close/>
                  <a:moveTo>
                    <a:pt x="21600" y="215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5" name="AutoShape 725"/>
            <p:cNvSpPr>
              <a:spLocks/>
            </p:cNvSpPr>
            <p:nvPr/>
          </p:nvSpPr>
          <p:spPr bwMode="auto">
            <a:xfrm>
              <a:off x="9232900" y="3543300"/>
              <a:ext cx="4763" cy="6350"/>
            </a:xfrm>
            <a:custGeom>
              <a:avLst/>
              <a:gdLst/>
              <a:ahLst/>
              <a:cxnLst/>
              <a:rect l="0" t="0" r="r" b="b"/>
              <a:pathLst>
                <a:path w="21600" h="21600">
                  <a:moveTo>
                    <a:pt x="21600" y="21600"/>
                  </a:moveTo>
                  <a:cubicBezTo>
                    <a:pt x="15545" y="14330"/>
                    <a:pt x="6600" y="5721"/>
                    <a:pt x="0" y="0"/>
                  </a:cubicBezTo>
                  <a:cubicBezTo>
                    <a:pt x="8127" y="7036"/>
                    <a:pt x="17455" y="16806"/>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6" name="AutoShape 726"/>
            <p:cNvSpPr>
              <a:spLocks/>
            </p:cNvSpPr>
            <p:nvPr/>
          </p:nvSpPr>
          <p:spPr bwMode="auto">
            <a:xfrm>
              <a:off x="9093200" y="3683000"/>
              <a:ext cx="355600" cy="430213"/>
            </a:xfrm>
            <a:custGeom>
              <a:avLst/>
              <a:gdLst/>
              <a:ahLst/>
              <a:cxnLst/>
              <a:rect l="0" t="0" r="r" b="b"/>
              <a:pathLst>
                <a:path w="21584" h="21588">
                  <a:moveTo>
                    <a:pt x="20852" y="18250"/>
                  </a:moveTo>
                  <a:cubicBezTo>
                    <a:pt x="20751" y="18172"/>
                    <a:pt x="20612" y="17792"/>
                    <a:pt x="20567" y="17406"/>
                  </a:cubicBezTo>
                  <a:cubicBezTo>
                    <a:pt x="20501" y="17023"/>
                    <a:pt x="20318" y="16701"/>
                    <a:pt x="20139" y="16692"/>
                  </a:cubicBezTo>
                  <a:cubicBezTo>
                    <a:pt x="19961" y="16688"/>
                    <a:pt x="19762" y="16542"/>
                    <a:pt x="19716" y="16374"/>
                  </a:cubicBezTo>
                  <a:cubicBezTo>
                    <a:pt x="19661" y="16207"/>
                    <a:pt x="19615" y="15921"/>
                    <a:pt x="19615" y="15739"/>
                  </a:cubicBezTo>
                  <a:cubicBezTo>
                    <a:pt x="19626" y="15558"/>
                    <a:pt x="19701" y="15318"/>
                    <a:pt x="19815" y="15209"/>
                  </a:cubicBezTo>
                  <a:cubicBezTo>
                    <a:pt x="19931" y="15104"/>
                    <a:pt x="19909" y="14780"/>
                    <a:pt x="19773" y="14499"/>
                  </a:cubicBezTo>
                  <a:cubicBezTo>
                    <a:pt x="19638" y="14218"/>
                    <a:pt x="19439" y="13932"/>
                    <a:pt x="19329" y="13864"/>
                  </a:cubicBezTo>
                  <a:cubicBezTo>
                    <a:pt x="19219" y="13795"/>
                    <a:pt x="19026" y="13559"/>
                    <a:pt x="18912" y="13333"/>
                  </a:cubicBezTo>
                  <a:cubicBezTo>
                    <a:pt x="18789" y="13111"/>
                    <a:pt x="18634" y="12881"/>
                    <a:pt x="18560" y="12823"/>
                  </a:cubicBezTo>
                  <a:cubicBezTo>
                    <a:pt x="18484" y="12770"/>
                    <a:pt x="18382" y="12744"/>
                    <a:pt x="18320" y="12762"/>
                  </a:cubicBezTo>
                  <a:cubicBezTo>
                    <a:pt x="18258" y="12783"/>
                    <a:pt x="17849" y="12537"/>
                    <a:pt x="17404" y="12211"/>
                  </a:cubicBezTo>
                  <a:cubicBezTo>
                    <a:pt x="16953" y="11888"/>
                    <a:pt x="16512" y="11618"/>
                    <a:pt x="16413" y="11622"/>
                  </a:cubicBezTo>
                  <a:cubicBezTo>
                    <a:pt x="16315" y="11622"/>
                    <a:pt x="16190" y="11667"/>
                    <a:pt x="16130" y="11704"/>
                  </a:cubicBezTo>
                  <a:cubicBezTo>
                    <a:pt x="16078" y="11747"/>
                    <a:pt x="15920" y="11697"/>
                    <a:pt x="15799" y="11587"/>
                  </a:cubicBezTo>
                  <a:cubicBezTo>
                    <a:pt x="15666" y="11487"/>
                    <a:pt x="15586" y="11337"/>
                    <a:pt x="15595" y="11261"/>
                  </a:cubicBezTo>
                  <a:cubicBezTo>
                    <a:pt x="15608" y="11186"/>
                    <a:pt x="15594" y="11088"/>
                    <a:pt x="15560" y="11041"/>
                  </a:cubicBezTo>
                  <a:cubicBezTo>
                    <a:pt x="15538" y="10988"/>
                    <a:pt x="15530" y="10853"/>
                    <a:pt x="15575" y="10727"/>
                  </a:cubicBezTo>
                  <a:cubicBezTo>
                    <a:pt x="15631" y="10603"/>
                    <a:pt x="15553" y="10392"/>
                    <a:pt x="15409" y="10273"/>
                  </a:cubicBezTo>
                  <a:cubicBezTo>
                    <a:pt x="15265" y="10154"/>
                    <a:pt x="15146" y="9971"/>
                    <a:pt x="15102" y="9884"/>
                  </a:cubicBezTo>
                  <a:cubicBezTo>
                    <a:pt x="15070" y="9794"/>
                    <a:pt x="14941" y="9691"/>
                    <a:pt x="14814" y="9657"/>
                  </a:cubicBezTo>
                  <a:cubicBezTo>
                    <a:pt x="14685" y="9624"/>
                    <a:pt x="14521" y="9524"/>
                    <a:pt x="14455" y="9434"/>
                  </a:cubicBezTo>
                  <a:cubicBezTo>
                    <a:pt x="14389" y="9344"/>
                    <a:pt x="14263" y="9257"/>
                    <a:pt x="14182" y="9247"/>
                  </a:cubicBezTo>
                  <a:cubicBezTo>
                    <a:pt x="14103" y="9233"/>
                    <a:pt x="14036" y="9153"/>
                    <a:pt x="14025" y="9068"/>
                  </a:cubicBezTo>
                  <a:cubicBezTo>
                    <a:pt x="14025" y="8984"/>
                    <a:pt x="14044" y="8860"/>
                    <a:pt x="14090" y="8798"/>
                  </a:cubicBezTo>
                  <a:cubicBezTo>
                    <a:pt x="14127" y="8732"/>
                    <a:pt x="14124" y="8632"/>
                    <a:pt x="14089" y="8564"/>
                  </a:cubicBezTo>
                  <a:cubicBezTo>
                    <a:pt x="14039" y="8503"/>
                    <a:pt x="14042" y="8381"/>
                    <a:pt x="14063" y="8297"/>
                  </a:cubicBezTo>
                  <a:cubicBezTo>
                    <a:pt x="14086" y="8213"/>
                    <a:pt x="14102" y="7961"/>
                    <a:pt x="14091" y="7734"/>
                  </a:cubicBezTo>
                  <a:cubicBezTo>
                    <a:pt x="14069" y="7508"/>
                    <a:pt x="14116" y="7278"/>
                    <a:pt x="14175" y="7225"/>
                  </a:cubicBezTo>
                  <a:cubicBezTo>
                    <a:pt x="14234" y="7171"/>
                    <a:pt x="14293" y="6972"/>
                    <a:pt x="14293" y="6782"/>
                  </a:cubicBezTo>
                  <a:cubicBezTo>
                    <a:pt x="14293" y="6592"/>
                    <a:pt x="14369" y="6457"/>
                    <a:pt x="14445" y="6480"/>
                  </a:cubicBezTo>
                  <a:cubicBezTo>
                    <a:pt x="14524" y="6499"/>
                    <a:pt x="14638" y="6482"/>
                    <a:pt x="14709" y="6440"/>
                  </a:cubicBezTo>
                  <a:cubicBezTo>
                    <a:pt x="14781" y="6402"/>
                    <a:pt x="14812" y="6184"/>
                    <a:pt x="14800" y="5967"/>
                  </a:cubicBezTo>
                  <a:cubicBezTo>
                    <a:pt x="14778" y="5749"/>
                    <a:pt x="14733" y="5540"/>
                    <a:pt x="14681" y="5510"/>
                  </a:cubicBezTo>
                  <a:cubicBezTo>
                    <a:pt x="14636" y="5473"/>
                    <a:pt x="14570" y="5317"/>
                    <a:pt x="14548" y="5157"/>
                  </a:cubicBezTo>
                  <a:cubicBezTo>
                    <a:pt x="14515" y="4998"/>
                    <a:pt x="14557" y="4860"/>
                    <a:pt x="14625" y="4848"/>
                  </a:cubicBezTo>
                  <a:cubicBezTo>
                    <a:pt x="14693" y="4840"/>
                    <a:pt x="14838" y="4803"/>
                    <a:pt x="14948" y="4771"/>
                  </a:cubicBezTo>
                  <a:cubicBezTo>
                    <a:pt x="15056" y="4737"/>
                    <a:pt x="15181" y="4699"/>
                    <a:pt x="15208" y="4670"/>
                  </a:cubicBezTo>
                  <a:cubicBezTo>
                    <a:pt x="15237" y="4642"/>
                    <a:pt x="15222" y="4597"/>
                    <a:pt x="15172" y="4555"/>
                  </a:cubicBezTo>
                  <a:cubicBezTo>
                    <a:pt x="15119" y="4517"/>
                    <a:pt x="15010" y="4442"/>
                    <a:pt x="14925" y="4398"/>
                  </a:cubicBezTo>
                  <a:cubicBezTo>
                    <a:pt x="14848" y="4344"/>
                    <a:pt x="14671" y="4309"/>
                    <a:pt x="14546" y="4318"/>
                  </a:cubicBezTo>
                  <a:cubicBezTo>
                    <a:pt x="14421" y="4324"/>
                    <a:pt x="14248" y="4302"/>
                    <a:pt x="14160" y="4275"/>
                  </a:cubicBezTo>
                  <a:cubicBezTo>
                    <a:pt x="14070" y="4250"/>
                    <a:pt x="13830" y="4112"/>
                    <a:pt x="13620" y="3979"/>
                  </a:cubicBezTo>
                  <a:cubicBezTo>
                    <a:pt x="13415" y="3843"/>
                    <a:pt x="13171" y="3717"/>
                    <a:pt x="13083" y="3701"/>
                  </a:cubicBezTo>
                  <a:cubicBezTo>
                    <a:pt x="12998" y="3679"/>
                    <a:pt x="12836" y="3609"/>
                    <a:pt x="12724" y="3539"/>
                  </a:cubicBezTo>
                  <a:cubicBezTo>
                    <a:pt x="12608" y="3474"/>
                    <a:pt x="12476" y="3290"/>
                    <a:pt x="12399" y="3149"/>
                  </a:cubicBezTo>
                  <a:cubicBezTo>
                    <a:pt x="12333" y="3003"/>
                    <a:pt x="12221" y="2796"/>
                    <a:pt x="12154" y="2690"/>
                  </a:cubicBezTo>
                  <a:cubicBezTo>
                    <a:pt x="12090" y="2583"/>
                    <a:pt x="11955" y="2470"/>
                    <a:pt x="11862" y="2445"/>
                  </a:cubicBezTo>
                  <a:cubicBezTo>
                    <a:pt x="11774" y="2413"/>
                    <a:pt x="11646" y="2291"/>
                    <a:pt x="11578" y="2169"/>
                  </a:cubicBezTo>
                  <a:cubicBezTo>
                    <a:pt x="11513" y="2045"/>
                    <a:pt x="11460" y="1854"/>
                    <a:pt x="11449" y="1744"/>
                  </a:cubicBezTo>
                  <a:cubicBezTo>
                    <a:pt x="11449" y="1633"/>
                    <a:pt x="11403" y="1406"/>
                    <a:pt x="11313" y="1254"/>
                  </a:cubicBezTo>
                  <a:cubicBezTo>
                    <a:pt x="11246" y="1095"/>
                    <a:pt x="11097" y="952"/>
                    <a:pt x="10985" y="934"/>
                  </a:cubicBezTo>
                  <a:cubicBezTo>
                    <a:pt x="10871" y="920"/>
                    <a:pt x="10664" y="933"/>
                    <a:pt x="10521" y="963"/>
                  </a:cubicBezTo>
                  <a:cubicBezTo>
                    <a:pt x="10518" y="964"/>
                    <a:pt x="10513" y="964"/>
                    <a:pt x="10509" y="965"/>
                  </a:cubicBezTo>
                  <a:cubicBezTo>
                    <a:pt x="10505" y="966"/>
                    <a:pt x="10502" y="968"/>
                    <a:pt x="10498" y="969"/>
                  </a:cubicBezTo>
                  <a:cubicBezTo>
                    <a:pt x="10484" y="972"/>
                    <a:pt x="10468" y="973"/>
                    <a:pt x="10454" y="975"/>
                  </a:cubicBezTo>
                  <a:cubicBezTo>
                    <a:pt x="10360" y="989"/>
                    <a:pt x="10251" y="984"/>
                    <a:pt x="10166" y="959"/>
                  </a:cubicBezTo>
                  <a:cubicBezTo>
                    <a:pt x="10131" y="949"/>
                    <a:pt x="10101" y="937"/>
                    <a:pt x="10076" y="922"/>
                  </a:cubicBezTo>
                  <a:cubicBezTo>
                    <a:pt x="9971" y="869"/>
                    <a:pt x="9888" y="722"/>
                    <a:pt x="9877" y="603"/>
                  </a:cubicBezTo>
                  <a:cubicBezTo>
                    <a:pt x="9866" y="484"/>
                    <a:pt x="9791" y="341"/>
                    <a:pt x="9709" y="279"/>
                  </a:cubicBezTo>
                  <a:cubicBezTo>
                    <a:pt x="9629" y="213"/>
                    <a:pt x="9425" y="192"/>
                    <a:pt x="9276" y="230"/>
                  </a:cubicBezTo>
                  <a:cubicBezTo>
                    <a:pt x="9125" y="266"/>
                    <a:pt x="8821" y="242"/>
                    <a:pt x="8612" y="165"/>
                  </a:cubicBezTo>
                  <a:cubicBezTo>
                    <a:pt x="8399" y="96"/>
                    <a:pt x="8020" y="25"/>
                    <a:pt x="7772" y="7"/>
                  </a:cubicBezTo>
                  <a:cubicBezTo>
                    <a:pt x="7523" y="-12"/>
                    <a:pt x="7273" y="11"/>
                    <a:pt x="7215" y="54"/>
                  </a:cubicBezTo>
                  <a:cubicBezTo>
                    <a:pt x="7157" y="98"/>
                    <a:pt x="6992" y="129"/>
                    <a:pt x="6848" y="115"/>
                  </a:cubicBezTo>
                  <a:cubicBezTo>
                    <a:pt x="6701" y="106"/>
                    <a:pt x="6457" y="202"/>
                    <a:pt x="6300" y="327"/>
                  </a:cubicBezTo>
                  <a:cubicBezTo>
                    <a:pt x="6144" y="452"/>
                    <a:pt x="6036" y="583"/>
                    <a:pt x="6070" y="600"/>
                  </a:cubicBezTo>
                  <a:cubicBezTo>
                    <a:pt x="6092" y="628"/>
                    <a:pt x="6061" y="747"/>
                    <a:pt x="5996" y="876"/>
                  </a:cubicBezTo>
                  <a:cubicBezTo>
                    <a:pt x="5920" y="1003"/>
                    <a:pt x="5824" y="1107"/>
                    <a:pt x="5768" y="1103"/>
                  </a:cubicBezTo>
                  <a:cubicBezTo>
                    <a:pt x="5710" y="1098"/>
                    <a:pt x="5568" y="1182"/>
                    <a:pt x="5446" y="1283"/>
                  </a:cubicBezTo>
                  <a:cubicBezTo>
                    <a:pt x="5327" y="1385"/>
                    <a:pt x="5036" y="1502"/>
                    <a:pt x="4798" y="1530"/>
                  </a:cubicBezTo>
                  <a:cubicBezTo>
                    <a:pt x="4563" y="1562"/>
                    <a:pt x="4284" y="1750"/>
                    <a:pt x="4196" y="1952"/>
                  </a:cubicBezTo>
                  <a:cubicBezTo>
                    <a:pt x="4107" y="2153"/>
                    <a:pt x="4025" y="2479"/>
                    <a:pt x="4025" y="2681"/>
                  </a:cubicBezTo>
                  <a:cubicBezTo>
                    <a:pt x="4025" y="2883"/>
                    <a:pt x="4151" y="3241"/>
                    <a:pt x="4275" y="3487"/>
                  </a:cubicBezTo>
                  <a:cubicBezTo>
                    <a:pt x="4409" y="3728"/>
                    <a:pt x="4531" y="4089"/>
                    <a:pt x="4554" y="4288"/>
                  </a:cubicBezTo>
                  <a:cubicBezTo>
                    <a:pt x="4566" y="4487"/>
                    <a:pt x="4524" y="4827"/>
                    <a:pt x="4423" y="5038"/>
                  </a:cubicBezTo>
                  <a:cubicBezTo>
                    <a:pt x="4332" y="5254"/>
                    <a:pt x="4281" y="5514"/>
                    <a:pt x="4326" y="5614"/>
                  </a:cubicBezTo>
                  <a:cubicBezTo>
                    <a:pt x="4361" y="5717"/>
                    <a:pt x="4399" y="5939"/>
                    <a:pt x="4410" y="6111"/>
                  </a:cubicBezTo>
                  <a:cubicBezTo>
                    <a:pt x="4421" y="6282"/>
                    <a:pt x="4353" y="6538"/>
                    <a:pt x="4263" y="6676"/>
                  </a:cubicBezTo>
                  <a:cubicBezTo>
                    <a:pt x="4175" y="6817"/>
                    <a:pt x="4070" y="7010"/>
                    <a:pt x="4008" y="7097"/>
                  </a:cubicBezTo>
                  <a:cubicBezTo>
                    <a:pt x="3947" y="7186"/>
                    <a:pt x="3037" y="7862"/>
                    <a:pt x="1975" y="8611"/>
                  </a:cubicBezTo>
                  <a:cubicBezTo>
                    <a:pt x="901" y="9363"/>
                    <a:pt x="-3" y="9978"/>
                    <a:pt x="1" y="9982"/>
                  </a:cubicBezTo>
                  <a:cubicBezTo>
                    <a:pt x="-2" y="9986"/>
                    <a:pt x="1" y="9991"/>
                    <a:pt x="0" y="9991"/>
                  </a:cubicBezTo>
                  <a:cubicBezTo>
                    <a:pt x="1" y="9991"/>
                    <a:pt x="301" y="10686"/>
                    <a:pt x="680" y="11533"/>
                  </a:cubicBezTo>
                  <a:cubicBezTo>
                    <a:pt x="721" y="11626"/>
                    <a:pt x="766" y="11731"/>
                    <a:pt x="813" y="11839"/>
                  </a:cubicBezTo>
                  <a:cubicBezTo>
                    <a:pt x="816" y="11846"/>
                    <a:pt x="819" y="11852"/>
                    <a:pt x="821" y="11860"/>
                  </a:cubicBezTo>
                  <a:cubicBezTo>
                    <a:pt x="1022" y="12328"/>
                    <a:pt x="1249" y="12887"/>
                    <a:pt x="1375" y="13178"/>
                  </a:cubicBezTo>
                  <a:cubicBezTo>
                    <a:pt x="1523" y="13188"/>
                    <a:pt x="1659" y="13196"/>
                    <a:pt x="1788" y="13203"/>
                  </a:cubicBezTo>
                  <a:cubicBezTo>
                    <a:pt x="1965" y="13199"/>
                    <a:pt x="2148" y="13209"/>
                    <a:pt x="2326" y="13240"/>
                  </a:cubicBezTo>
                  <a:cubicBezTo>
                    <a:pt x="2332" y="13240"/>
                    <a:pt x="2342" y="13244"/>
                    <a:pt x="2348" y="13245"/>
                  </a:cubicBezTo>
                  <a:cubicBezTo>
                    <a:pt x="2360" y="13247"/>
                    <a:pt x="2375" y="13248"/>
                    <a:pt x="2385" y="13249"/>
                  </a:cubicBezTo>
                  <a:cubicBezTo>
                    <a:pt x="2949" y="13347"/>
                    <a:pt x="4527" y="14223"/>
                    <a:pt x="5876" y="15204"/>
                  </a:cubicBezTo>
                  <a:cubicBezTo>
                    <a:pt x="7880" y="16661"/>
                    <a:pt x="9858" y="18110"/>
                    <a:pt x="11801" y="19560"/>
                  </a:cubicBezTo>
                  <a:cubicBezTo>
                    <a:pt x="13092" y="20518"/>
                    <a:pt x="15105" y="21353"/>
                    <a:pt x="16285" y="21418"/>
                  </a:cubicBezTo>
                  <a:cubicBezTo>
                    <a:pt x="16835" y="21448"/>
                    <a:pt x="17429" y="21511"/>
                    <a:pt x="17963" y="21588"/>
                  </a:cubicBezTo>
                  <a:cubicBezTo>
                    <a:pt x="18072" y="21578"/>
                    <a:pt x="18145" y="21548"/>
                    <a:pt x="18176" y="21485"/>
                  </a:cubicBezTo>
                  <a:cubicBezTo>
                    <a:pt x="18190" y="21455"/>
                    <a:pt x="18208" y="21414"/>
                    <a:pt x="18228" y="21368"/>
                  </a:cubicBezTo>
                  <a:cubicBezTo>
                    <a:pt x="18242" y="21283"/>
                    <a:pt x="18278" y="21171"/>
                    <a:pt x="18336" y="21048"/>
                  </a:cubicBezTo>
                  <a:cubicBezTo>
                    <a:pt x="18462" y="20794"/>
                    <a:pt x="18639" y="20335"/>
                    <a:pt x="18749" y="20036"/>
                  </a:cubicBezTo>
                  <a:cubicBezTo>
                    <a:pt x="18840" y="19732"/>
                    <a:pt x="19155" y="19401"/>
                    <a:pt x="19400" y="19281"/>
                  </a:cubicBezTo>
                  <a:cubicBezTo>
                    <a:pt x="19647" y="19165"/>
                    <a:pt x="20020" y="19135"/>
                    <a:pt x="20213" y="19235"/>
                  </a:cubicBezTo>
                  <a:cubicBezTo>
                    <a:pt x="20413" y="19322"/>
                    <a:pt x="20679" y="19364"/>
                    <a:pt x="20806" y="19325"/>
                  </a:cubicBezTo>
                  <a:cubicBezTo>
                    <a:pt x="20935" y="19285"/>
                    <a:pt x="21081" y="19281"/>
                    <a:pt x="21140" y="19305"/>
                  </a:cubicBezTo>
                  <a:cubicBezTo>
                    <a:pt x="21196" y="19333"/>
                    <a:pt x="21280" y="19239"/>
                    <a:pt x="21336" y="19099"/>
                  </a:cubicBezTo>
                  <a:cubicBezTo>
                    <a:pt x="21381" y="18956"/>
                    <a:pt x="21476" y="18821"/>
                    <a:pt x="21535" y="18797"/>
                  </a:cubicBezTo>
                  <a:cubicBezTo>
                    <a:pt x="21590" y="18768"/>
                    <a:pt x="21597" y="18724"/>
                    <a:pt x="21562" y="18681"/>
                  </a:cubicBezTo>
                  <a:cubicBezTo>
                    <a:pt x="21520" y="18642"/>
                    <a:pt x="21383" y="18562"/>
                    <a:pt x="21261" y="18503"/>
                  </a:cubicBezTo>
                  <a:cubicBezTo>
                    <a:pt x="21137" y="18443"/>
                    <a:pt x="20961" y="18322"/>
                    <a:pt x="20852" y="18250"/>
                  </a:cubicBezTo>
                  <a:close/>
                  <a:moveTo>
                    <a:pt x="20852" y="182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7" name="AutoShape 727"/>
            <p:cNvSpPr>
              <a:spLocks/>
            </p:cNvSpPr>
            <p:nvPr/>
          </p:nvSpPr>
          <p:spPr bwMode="auto">
            <a:xfrm>
              <a:off x="9258300" y="3708400"/>
              <a:ext cx="0" cy="0"/>
            </a:xfrm>
            <a:custGeom>
              <a:avLst/>
              <a:gdLst/>
              <a:ahLst/>
              <a:cxnLst/>
              <a:rect l="0" t="0" r="r" b="b"/>
              <a:pathLst>
                <a:path w="21600" h="21600">
                  <a:moveTo>
                    <a:pt x="17225" y="9426"/>
                  </a:moveTo>
                  <a:cubicBezTo>
                    <a:pt x="18665" y="7313"/>
                    <a:pt x="20124" y="1944"/>
                    <a:pt x="21600" y="0"/>
                  </a:cubicBezTo>
                  <a:cubicBezTo>
                    <a:pt x="14874" y="10103"/>
                    <a:pt x="7328" y="15513"/>
                    <a:pt x="0" y="21600"/>
                  </a:cubicBezTo>
                  <a:cubicBezTo>
                    <a:pt x="5559" y="17584"/>
                    <a:pt x="11976" y="15513"/>
                    <a:pt x="17225" y="9426"/>
                  </a:cubicBezTo>
                  <a:close/>
                  <a:moveTo>
                    <a:pt x="17225" y="94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8" name="AutoShape 728"/>
            <p:cNvSpPr>
              <a:spLocks/>
            </p:cNvSpPr>
            <p:nvPr/>
          </p:nvSpPr>
          <p:spPr bwMode="auto">
            <a:xfrm>
              <a:off x="9258300" y="3708400"/>
              <a:ext cx="0" cy="0"/>
            </a:xfrm>
            <a:custGeom>
              <a:avLst/>
              <a:gdLst/>
              <a:ahLst/>
              <a:cxnLst/>
              <a:rect l="0" t="0" r="r" b="b"/>
              <a:pathLst>
                <a:path w="21600" h="21600">
                  <a:moveTo>
                    <a:pt x="21600" y="21600"/>
                  </a:moveTo>
                  <a:cubicBezTo>
                    <a:pt x="13257" y="16031"/>
                    <a:pt x="5811" y="8629"/>
                    <a:pt x="0" y="0"/>
                  </a:cubicBezTo>
                  <a:cubicBezTo>
                    <a:pt x="5982" y="8989"/>
                    <a:pt x="13257" y="16031"/>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29" name="AutoShape 729"/>
            <p:cNvSpPr>
              <a:spLocks/>
            </p:cNvSpPr>
            <p:nvPr/>
          </p:nvSpPr>
          <p:spPr bwMode="auto">
            <a:xfrm>
              <a:off x="9385300" y="4076700"/>
              <a:ext cx="53975" cy="73025"/>
            </a:xfrm>
            <a:custGeom>
              <a:avLst/>
              <a:gdLst/>
              <a:ahLst/>
              <a:cxnLst/>
              <a:rect l="0" t="0" r="r" b="b"/>
              <a:pathLst>
                <a:path w="21233" h="20966">
                  <a:moveTo>
                    <a:pt x="16289" y="850"/>
                  </a:moveTo>
                  <a:cubicBezTo>
                    <a:pt x="15488" y="1076"/>
                    <a:pt x="13810" y="838"/>
                    <a:pt x="12548" y="340"/>
                  </a:cubicBezTo>
                  <a:cubicBezTo>
                    <a:pt x="11335" y="-224"/>
                    <a:pt x="8984" y="-53"/>
                    <a:pt x="7424" y="605"/>
                  </a:cubicBezTo>
                  <a:cubicBezTo>
                    <a:pt x="5883" y="1283"/>
                    <a:pt x="3891" y="3160"/>
                    <a:pt x="3322" y="4887"/>
                  </a:cubicBezTo>
                  <a:cubicBezTo>
                    <a:pt x="2712" y="6386"/>
                    <a:pt x="976" y="10505"/>
                    <a:pt x="37" y="12450"/>
                  </a:cubicBezTo>
                  <a:cubicBezTo>
                    <a:pt x="-53" y="12977"/>
                    <a:pt x="18" y="13323"/>
                    <a:pt x="274" y="13333"/>
                  </a:cubicBezTo>
                  <a:cubicBezTo>
                    <a:pt x="758" y="13333"/>
                    <a:pt x="3891" y="14272"/>
                    <a:pt x="7225" y="15380"/>
                  </a:cubicBezTo>
                  <a:cubicBezTo>
                    <a:pt x="10519" y="16500"/>
                    <a:pt x="13426" y="18440"/>
                    <a:pt x="13715" y="19737"/>
                  </a:cubicBezTo>
                  <a:cubicBezTo>
                    <a:pt x="13928" y="21044"/>
                    <a:pt x="15952" y="21376"/>
                    <a:pt x="18043" y="20404"/>
                  </a:cubicBezTo>
                  <a:cubicBezTo>
                    <a:pt x="20143" y="19465"/>
                    <a:pt x="21547" y="18329"/>
                    <a:pt x="21172" y="17851"/>
                  </a:cubicBezTo>
                  <a:cubicBezTo>
                    <a:pt x="20759" y="17391"/>
                    <a:pt x="20570" y="16936"/>
                    <a:pt x="20703" y="16860"/>
                  </a:cubicBezTo>
                  <a:cubicBezTo>
                    <a:pt x="20703" y="16738"/>
                    <a:pt x="21044" y="16704"/>
                    <a:pt x="21172" y="16728"/>
                  </a:cubicBezTo>
                  <a:cubicBezTo>
                    <a:pt x="21305" y="16728"/>
                    <a:pt x="21025" y="16380"/>
                    <a:pt x="20655" y="15889"/>
                  </a:cubicBezTo>
                  <a:cubicBezTo>
                    <a:pt x="20238" y="15424"/>
                    <a:pt x="19859" y="14564"/>
                    <a:pt x="19788" y="13983"/>
                  </a:cubicBezTo>
                  <a:cubicBezTo>
                    <a:pt x="19788" y="13395"/>
                    <a:pt x="19546" y="12453"/>
                    <a:pt x="19214" y="11940"/>
                  </a:cubicBezTo>
                  <a:cubicBezTo>
                    <a:pt x="18939" y="11402"/>
                    <a:pt x="18603" y="11209"/>
                    <a:pt x="18460" y="11524"/>
                  </a:cubicBezTo>
                  <a:cubicBezTo>
                    <a:pt x="18323" y="11839"/>
                    <a:pt x="17010" y="11336"/>
                    <a:pt x="15592" y="10363"/>
                  </a:cubicBezTo>
                  <a:cubicBezTo>
                    <a:pt x="14103" y="9456"/>
                    <a:pt x="14639" y="8383"/>
                    <a:pt x="16649" y="8034"/>
                  </a:cubicBezTo>
                  <a:cubicBezTo>
                    <a:pt x="18659" y="7699"/>
                    <a:pt x="20030" y="6139"/>
                    <a:pt x="19537" y="4578"/>
                  </a:cubicBezTo>
                  <a:cubicBezTo>
                    <a:pt x="19110" y="3003"/>
                    <a:pt x="18769" y="1538"/>
                    <a:pt x="18901" y="1369"/>
                  </a:cubicBezTo>
                  <a:cubicBezTo>
                    <a:pt x="18972" y="1182"/>
                    <a:pt x="18745" y="898"/>
                    <a:pt x="18389" y="737"/>
                  </a:cubicBezTo>
                  <a:cubicBezTo>
                    <a:pt x="18019" y="600"/>
                    <a:pt x="17099" y="624"/>
                    <a:pt x="16289" y="850"/>
                  </a:cubicBezTo>
                  <a:close/>
                  <a:moveTo>
                    <a:pt x="16289" y="8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0" name="AutoShape 730"/>
            <p:cNvSpPr>
              <a:spLocks/>
            </p:cNvSpPr>
            <p:nvPr/>
          </p:nvSpPr>
          <p:spPr bwMode="auto">
            <a:xfrm>
              <a:off x="9385300" y="4089400"/>
              <a:ext cx="7938" cy="25400"/>
            </a:xfrm>
            <a:custGeom>
              <a:avLst/>
              <a:gdLst/>
              <a:ahLst/>
              <a:cxnLst/>
              <a:rect l="0" t="0" r="r" b="b"/>
              <a:pathLst>
                <a:path w="21600" h="21600">
                  <a:moveTo>
                    <a:pt x="4489" y="16416"/>
                  </a:moveTo>
                  <a:cubicBezTo>
                    <a:pt x="2055" y="18400"/>
                    <a:pt x="561" y="20219"/>
                    <a:pt x="0" y="21600"/>
                  </a:cubicBezTo>
                  <a:cubicBezTo>
                    <a:pt x="6170" y="16048"/>
                    <a:pt x="17583" y="4283"/>
                    <a:pt x="21600" y="0"/>
                  </a:cubicBezTo>
                  <a:cubicBezTo>
                    <a:pt x="17051" y="4857"/>
                    <a:pt x="9694" y="12294"/>
                    <a:pt x="4489" y="16416"/>
                  </a:cubicBezTo>
                  <a:close/>
                  <a:moveTo>
                    <a:pt x="4489" y="164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1" name="AutoShape 731"/>
            <p:cNvSpPr>
              <a:spLocks/>
            </p:cNvSpPr>
            <p:nvPr/>
          </p:nvSpPr>
          <p:spPr bwMode="auto">
            <a:xfrm>
              <a:off x="8826500" y="3759200"/>
              <a:ext cx="87313" cy="55563"/>
            </a:xfrm>
            <a:custGeom>
              <a:avLst/>
              <a:gdLst/>
              <a:ahLst/>
              <a:cxnLst/>
              <a:rect l="0" t="0" r="r" b="b"/>
              <a:pathLst>
                <a:path w="21464" h="21445">
                  <a:moveTo>
                    <a:pt x="2678" y="19153"/>
                  </a:moveTo>
                  <a:cubicBezTo>
                    <a:pt x="3329" y="19907"/>
                    <a:pt x="4489" y="20483"/>
                    <a:pt x="5249" y="20483"/>
                  </a:cubicBezTo>
                  <a:cubicBezTo>
                    <a:pt x="6002" y="20483"/>
                    <a:pt x="6900" y="20761"/>
                    <a:pt x="7213" y="21170"/>
                  </a:cubicBezTo>
                  <a:cubicBezTo>
                    <a:pt x="7533" y="21564"/>
                    <a:pt x="8075" y="21536"/>
                    <a:pt x="8364" y="21079"/>
                  </a:cubicBezTo>
                  <a:cubicBezTo>
                    <a:pt x="8651" y="20627"/>
                    <a:pt x="9419" y="20138"/>
                    <a:pt x="10052" y="19926"/>
                  </a:cubicBezTo>
                  <a:cubicBezTo>
                    <a:pt x="10676" y="19714"/>
                    <a:pt x="11613" y="18794"/>
                    <a:pt x="12173" y="17910"/>
                  </a:cubicBezTo>
                  <a:cubicBezTo>
                    <a:pt x="12722" y="17011"/>
                    <a:pt x="13478" y="15960"/>
                    <a:pt x="13885" y="15675"/>
                  </a:cubicBezTo>
                  <a:cubicBezTo>
                    <a:pt x="14289" y="15359"/>
                    <a:pt x="15214" y="15254"/>
                    <a:pt x="15946" y="15471"/>
                  </a:cubicBezTo>
                  <a:cubicBezTo>
                    <a:pt x="16678" y="15687"/>
                    <a:pt x="17245" y="15092"/>
                    <a:pt x="17293" y="14172"/>
                  </a:cubicBezTo>
                  <a:cubicBezTo>
                    <a:pt x="17338" y="13250"/>
                    <a:pt x="17097" y="11761"/>
                    <a:pt x="16865" y="10846"/>
                  </a:cubicBezTo>
                  <a:cubicBezTo>
                    <a:pt x="16603" y="9952"/>
                    <a:pt x="16868" y="8176"/>
                    <a:pt x="17453" y="6973"/>
                  </a:cubicBezTo>
                  <a:cubicBezTo>
                    <a:pt x="18032" y="5779"/>
                    <a:pt x="18953" y="4198"/>
                    <a:pt x="19568" y="3576"/>
                  </a:cubicBezTo>
                  <a:cubicBezTo>
                    <a:pt x="20171" y="2919"/>
                    <a:pt x="20891" y="2097"/>
                    <a:pt x="21165" y="1735"/>
                  </a:cubicBezTo>
                  <a:cubicBezTo>
                    <a:pt x="21442" y="1372"/>
                    <a:pt x="21560" y="796"/>
                    <a:pt x="21373" y="540"/>
                  </a:cubicBezTo>
                  <a:cubicBezTo>
                    <a:pt x="21222" y="223"/>
                    <a:pt x="20819" y="-36"/>
                    <a:pt x="20508" y="4"/>
                  </a:cubicBezTo>
                  <a:cubicBezTo>
                    <a:pt x="20204" y="45"/>
                    <a:pt x="19297" y="753"/>
                    <a:pt x="18471" y="1607"/>
                  </a:cubicBezTo>
                  <a:cubicBezTo>
                    <a:pt x="17655" y="2465"/>
                    <a:pt x="16036" y="3842"/>
                    <a:pt x="14843" y="4541"/>
                  </a:cubicBezTo>
                  <a:cubicBezTo>
                    <a:pt x="13659" y="5294"/>
                    <a:pt x="12098" y="5896"/>
                    <a:pt x="11396" y="5896"/>
                  </a:cubicBezTo>
                  <a:cubicBezTo>
                    <a:pt x="10691" y="5896"/>
                    <a:pt x="9642" y="5456"/>
                    <a:pt x="9070" y="4898"/>
                  </a:cubicBezTo>
                  <a:cubicBezTo>
                    <a:pt x="8503" y="4348"/>
                    <a:pt x="7599" y="3851"/>
                    <a:pt x="7065" y="3811"/>
                  </a:cubicBezTo>
                  <a:cubicBezTo>
                    <a:pt x="6529" y="3735"/>
                    <a:pt x="6092" y="4246"/>
                    <a:pt x="6092" y="4885"/>
                  </a:cubicBezTo>
                  <a:cubicBezTo>
                    <a:pt x="6137" y="5525"/>
                    <a:pt x="5935" y="6550"/>
                    <a:pt x="5845" y="7194"/>
                  </a:cubicBezTo>
                  <a:cubicBezTo>
                    <a:pt x="5713" y="7822"/>
                    <a:pt x="5291" y="8492"/>
                    <a:pt x="4914" y="8663"/>
                  </a:cubicBezTo>
                  <a:cubicBezTo>
                    <a:pt x="4540" y="8847"/>
                    <a:pt x="3796" y="8623"/>
                    <a:pt x="3245" y="8186"/>
                  </a:cubicBezTo>
                  <a:cubicBezTo>
                    <a:pt x="2702" y="7720"/>
                    <a:pt x="1985" y="7943"/>
                    <a:pt x="1665" y="8628"/>
                  </a:cubicBezTo>
                  <a:cubicBezTo>
                    <a:pt x="1328" y="9291"/>
                    <a:pt x="837" y="9997"/>
                    <a:pt x="518" y="10083"/>
                  </a:cubicBezTo>
                  <a:cubicBezTo>
                    <a:pt x="204" y="10207"/>
                    <a:pt x="-40" y="11200"/>
                    <a:pt x="5" y="12306"/>
                  </a:cubicBezTo>
                  <a:cubicBezTo>
                    <a:pt x="50" y="13411"/>
                    <a:pt x="391" y="15109"/>
                    <a:pt x="771" y="16079"/>
                  </a:cubicBezTo>
                  <a:cubicBezTo>
                    <a:pt x="1171" y="17025"/>
                    <a:pt x="2024" y="18416"/>
                    <a:pt x="2678" y="19153"/>
                  </a:cubicBezTo>
                  <a:close/>
                  <a:moveTo>
                    <a:pt x="2678" y="191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2" name="AutoShape 732"/>
            <p:cNvSpPr>
              <a:spLocks/>
            </p:cNvSpPr>
            <p:nvPr/>
          </p:nvSpPr>
          <p:spPr bwMode="auto">
            <a:xfrm>
              <a:off x="8953500" y="3695700"/>
              <a:ext cx="233363" cy="242888"/>
            </a:xfrm>
            <a:custGeom>
              <a:avLst/>
              <a:gdLst/>
              <a:ahLst/>
              <a:cxnLst/>
              <a:rect l="0" t="0" r="r" b="b"/>
              <a:pathLst>
                <a:path w="21522" h="21493">
                  <a:moveTo>
                    <a:pt x="2758" y="11599"/>
                  </a:moveTo>
                  <a:cubicBezTo>
                    <a:pt x="2873" y="11846"/>
                    <a:pt x="3099" y="12142"/>
                    <a:pt x="3275" y="12250"/>
                  </a:cubicBezTo>
                  <a:cubicBezTo>
                    <a:pt x="3454" y="12359"/>
                    <a:pt x="3623" y="12699"/>
                    <a:pt x="3606" y="13008"/>
                  </a:cubicBezTo>
                  <a:cubicBezTo>
                    <a:pt x="3606" y="13316"/>
                    <a:pt x="3672" y="13712"/>
                    <a:pt x="3755" y="13888"/>
                  </a:cubicBezTo>
                  <a:cubicBezTo>
                    <a:pt x="3837" y="14063"/>
                    <a:pt x="3821" y="14260"/>
                    <a:pt x="3725" y="14329"/>
                  </a:cubicBezTo>
                  <a:cubicBezTo>
                    <a:pt x="3624" y="14394"/>
                    <a:pt x="3458" y="14451"/>
                    <a:pt x="3351" y="14443"/>
                  </a:cubicBezTo>
                  <a:cubicBezTo>
                    <a:pt x="3241" y="14443"/>
                    <a:pt x="2997" y="14514"/>
                    <a:pt x="2809" y="14621"/>
                  </a:cubicBezTo>
                  <a:cubicBezTo>
                    <a:pt x="2615" y="14721"/>
                    <a:pt x="2415" y="15061"/>
                    <a:pt x="2347" y="15366"/>
                  </a:cubicBezTo>
                  <a:cubicBezTo>
                    <a:pt x="2295" y="15675"/>
                    <a:pt x="2119" y="16132"/>
                    <a:pt x="1987" y="16387"/>
                  </a:cubicBezTo>
                  <a:cubicBezTo>
                    <a:pt x="1837" y="16633"/>
                    <a:pt x="1723" y="16850"/>
                    <a:pt x="1695" y="16850"/>
                  </a:cubicBezTo>
                  <a:cubicBezTo>
                    <a:pt x="1668" y="16850"/>
                    <a:pt x="1701" y="16915"/>
                    <a:pt x="1750" y="17004"/>
                  </a:cubicBezTo>
                  <a:cubicBezTo>
                    <a:pt x="1814" y="17080"/>
                    <a:pt x="1971" y="17296"/>
                    <a:pt x="2130" y="17457"/>
                  </a:cubicBezTo>
                  <a:cubicBezTo>
                    <a:pt x="2294" y="17614"/>
                    <a:pt x="2451" y="18090"/>
                    <a:pt x="2486" y="18497"/>
                  </a:cubicBezTo>
                  <a:cubicBezTo>
                    <a:pt x="2520" y="18904"/>
                    <a:pt x="2529" y="19384"/>
                    <a:pt x="2479" y="19563"/>
                  </a:cubicBezTo>
                  <a:cubicBezTo>
                    <a:pt x="2443" y="19747"/>
                    <a:pt x="2473" y="19914"/>
                    <a:pt x="2564" y="19914"/>
                  </a:cubicBezTo>
                  <a:cubicBezTo>
                    <a:pt x="2655" y="19924"/>
                    <a:pt x="3009" y="20081"/>
                    <a:pt x="3352" y="20262"/>
                  </a:cubicBezTo>
                  <a:cubicBezTo>
                    <a:pt x="3696" y="20435"/>
                    <a:pt x="4144" y="20744"/>
                    <a:pt x="4352" y="20935"/>
                  </a:cubicBezTo>
                  <a:cubicBezTo>
                    <a:pt x="4572" y="21114"/>
                    <a:pt x="4794" y="21279"/>
                    <a:pt x="4865" y="21287"/>
                  </a:cubicBezTo>
                  <a:cubicBezTo>
                    <a:pt x="4938" y="21287"/>
                    <a:pt x="5119" y="21373"/>
                    <a:pt x="5252" y="21485"/>
                  </a:cubicBezTo>
                  <a:cubicBezTo>
                    <a:pt x="5391" y="21592"/>
                    <a:pt x="7065" y="20599"/>
                    <a:pt x="8954" y="19297"/>
                  </a:cubicBezTo>
                  <a:cubicBezTo>
                    <a:pt x="9008" y="19258"/>
                    <a:pt x="9074" y="19217"/>
                    <a:pt x="9130" y="19178"/>
                  </a:cubicBezTo>
                  <a:cubicBezTo>
                    <a:pt x="10920" y="17943"/>
                    <a:pt x="12343" y="16940"/>
                    <a:pt x="12349" y="16934"/>
                  </a:cubicBezTo>
                  <a:cubicBezTo>
                    <a:pt x="12342" y="16926"/>
                    <a:pt x="13715" y="15841"/>
                    <a:pt x="15346" y="14514"/>
                  </a:cubicBezTo>
                  <a:cubicBezTo>
                    <a:pt x="16959" y="13194"/>
                    <a:pt x="18341" y="12001"/>
                    <a:pt x="18433" y="11845"/>
                  </a:cubicBezTo>
                  <a:cubicBezTo>
                    <a:pt x="18528" y="11691"/>
                    <a:pt x="18688" y="11350"/>
                    <a:pt x="18822" y="11103"/>
                  </a:cubicBezTo>
                  <a:cubicBezTo>
                    <a:pt x="18957" y="10858"/>
                    <a:pt x="19062" y="10407"/>
                    <a:pt x="19044" y="10105"/>
                  </a:cubicBezTo>
                  <a:cubicBezTo>
                    <a:pt x="19028" y="9802"/>
                    <a:pt x="18970" y="9410"/>
                    <a:pt x="18916" y="9229"/>
                  </a:cubicBezTo>
                  <a:cubicBezTo>
                    <a:pt x="18849" y="9053"/>
                    <a:pt x="18927" y="8594"/>
                    <a:pt x="19064" y="8213"/>
                  </a:cubicBezTo>
                  <a:cubicBezTo>
                    <a:pt x="19217" y="7840"/>
                    <a:pt x="19281" y="7240"/>
                    <a:pt x="19263" y="6889"/>
                  </a:cubicBezTo>
                  <a:cubicBezTo>
                    <a:pt x="19228" y="6538"/>
                    <a:pt x="19043" y="5902"/>
                    <a:pt x="18839" y="5477"/>
                  </a:cubicBezTo>
                  <a:cubicBezTo>
                    <a:pt x="18651" y="5043"/>
                    <a:pt x="18459" y="4411"/>
                    <a:pt x="18459" y="4055"/>
                  </a:cubicBezTo>
                  <a:cubicBezTo>
                    <a:pt x="18459" y="3698"/>
                    <a:pt x="18584" y="3124"/>
                    <a:pt x="18719" y="2769"/>
                  </a:cubicBezTo>
                  <a:cubicBezTo>
                    <a:pt x="18854" y="2413"/>
                    <a:pt x="19276" y="2082"/>
                    <a:pt x="19634" y="2024"/>
                  </a:cubicBezTo>
                  <a:cubicBezTo>
                    <a:pt x="19995" y="1975"/>
                    <a:pt x="20437" y="1769"/>
                    <a:pt x="20617" y="1588"/>
                  </a:cubicBezTo>
                  <a:cubicBezTo>
                    <a:pt x="20803" y="1411"/>
                    <a:pt x="21018" y="1263"/>
                    <a:pt x="21106" y="1272"/>
                  </a:cubicBezTo>
                  <a:cubicBezTo>
                    <a:pt x="21192" y="1278"/>
                    <a:pt x="21338" y="1095"/>
                    <a:pt x="21454" y="871"/>
                  </a:cubicBezTo>
                  <a:cubicBezTo>
                    <a:pt x="21552" y="643"/>
                    <a:pt x="21545" y="361"/>
                    <a:pt x="21422" y="241"/>
                  </a:cubicBezTo>
                  <a:cubicBezTo>
                    <a:pt x="21301" y="118"/>
                    <a:pt x="20984" y="8"/>
                    <a:pt x="20722" y="0"/>
                  </a:cubicBezTo>
                  <a:cubicBezTo>
                    <a:pt x="20460" y="-8"/>
                    <a:pt x="19949" y="69"/>
                    <a:pt x="19588" y="193"/>
                  </a:cubicBezTo>
                  <a:cubicBezTo>
                    <a:pt x="19232" y="324"/>
                    <a:pt x="18543" y="351"/>
                    <a:pt x="18062" y="285"/>
                  </a:cubicBezTo>
                  <a:cubicBezTo>
                    <a:pt x="17582" y="219"/>
                    <a:pt x="17044" y="179"/>
                    <a:pt x="16861" y="203"/>
                  </a:cubicBezTo>
                  <a:cubicBezTo>
                    <a:pt x="16681" y="238"/>
                    <a:pt x="16336" y="231"/>
                    <a:pt x="16095" y="215"/>
                  </a:cubicBezTo>
                  <a:cubicBezTo>
                    <a:pt x="15853" y="190"/>
                    <a:pt x="15389" y="262"/>
                    <a:pt x="15062" y="349"/>
                  </a:cubicBezTo>
                  <a:cubicBezTo>
                    <a:pt x="14729" y="437"/>
                    <a:pt x="14350" y="658"/>
                    <a:pt x="14220" y="830"/>
                  </a:cubicBezTo>
                  <a:cubicBezTo>
                    <a:pt x="14096" y="1008"/>
                    <a:pt x="13780" y="1200"/>
                    <a:pt x="13537" y="1267"/>
                  </a:cubicBezTo>
                  <a:cubicBezTo>
                    <a:pt x="13293" y="1329"/>
                    <a:pt x="13076" y="1473"/>
                    <a:pt x="13031" y="1561"/>
                  </a:cubicBezTo>
                  <a:cubicBezTo>
                    <a:pt x="12985" y="1648"/>
                    <a:pt x="12608" y="1682"/>
                    <a:pt x="12169" y="1640"/>
                  </a:cubicBezTo>
                  <a:cubicBezTo>
                    <a:pt x="11728" y="1593"/>
                    <a:pt x="11108" y="1472"/>
                    <a:pt x="10786" y="1380"/>
                  </a:cubicBezTo>
                  <a:cubicBezTo>
                    <a:pt x="10465" y="1282"/>
                    <a:pt x="10114" y="1118"/>
                    <a:pt x="10011" y="1004"/>
                  </a:cubicBezTo>
                  <a:cubicBezTo>
                    <a:pt x="9893" y="907"/>
                    <a:pt x="9668" y="743"/>
                    <a:pt x="9480" y="677"/>
                  </a:cubicBezTo>
                  <a:cubicBezTo>
                    <a:pt x="9297" y="599"/>
                    <a:pt x="8728" y="569"/>
                    <a:pt x="8224" y="585"/>
                  </a:cubicBezTo>
                  <a:cubicBezTo>
                    <a:pt x="7721" y="610"/>
                    <a:pt x="7197" y="694"/>
                    <a:pt x="7059" y="776"/>
                  </a:cubicBezTo>
                  <a:cubicBezTo>
                    <a:pt x="6924" y="864"/>
                    <a:pt x="6716" y="930"/>
                    <a:pt x="6609" y="947"/>
                  </a:cubicBezTo>
                  <a:cubicBezTo>
                    <a:pt x="6495" y="947"/>
                    <a:pt x="6026" y="1112"/>
                    <a:pt x="5560" y="1280"/>
                  </a:cubicBezTo>
                  <a:cubicBezTo>
                    <a:pt x="5091" y="1446"/>
                    <a:pt x="4572" y="1544"/>
                    <a:pt x="4395" y="1490"/>
                  </a:cubicBezTo>
                  <a:cubicBezTo>
                    <a:pt x="4218" y="1439"/>
                    <a:pt x="3837" y="1305"/>
                    <a:pt x="3546" y="1199"/>
                  </a:cubicBezTo>
                  <a:cubicBezTo>
                    <a:pt x="3255" y="1091"/>
                    <a:pt x="2981" y="1159"/>
                    <a:pt x="2930" y="1331"/>
                  </a:cubicBezTo>
                  <a:cubicBezTo>
                    <a:pt x="2895" y="1507"/>
                    <a:pt x="2864" y="1989"/>
                    <a:pt x="2881" y="2408"/>
                  </a:cubicBezTo>
                  <a:cubicBezTo>
                    <a:pt x="2914" y="2827"/>
                    <a:pt x="2817" y="3241"/>
                    <a:pt x="2690" y="3317"/>
                  </a:cubicBezTo>
                  <a:cubicBezTo>
                    <a:pt x="2567" y="3402"/>
                    <a:pt x="2477" y="3670"/>
                    <a:pt x="2528" y="3920"/>
                  </a:cubicBezTo>
                  <a:cubicBezTo>
                    <a:pt x="2563" y="4173"/>
                    <a:pt x="2437" y="4423"/>
                    <a:pt x="2252" y="4503"/>
                  </a:cubicBezTo>
                  <a:cubicBezTo>
                    <a:pt x="2060" y="4572"/>
                    <a:pt x="1735" y="4646"/>
                    <a:pt x="1527" y="4676"/>
                  </a:cubicBezTo>
                  <a:cubicBezTo>
                    <a:pt x="1320" y="4704"/>
                    <a:pt x="985" y="4678"/>
                    <a:pt x="784" y="4626"/>
                  </a:cubicBezTo>
                  <a:cubicBezTo>
                    <a:pt x="584" y="4570"/>
                    <a:pt x="410" y="4545"/>
                    <a:pt x="410" y="4567"/>
                  </a:cubicBezTo>
                  <a:cubicBezTo>
                    <a:pt x="410" y="4590"/>
                    <a:pt x="290" y="4647"/>
                    <a:pt x="158" y="4701"/>
                  </a:cubicBezTo>
                  <a:cubicBezTo>
                    <a:pt x="23" y="4749"/>
                    <a:pt x="-48" y="5079"/>
                    <a:pt x="37" y="5420"/>
                  </a:cubicBezTo>
                  <a:cubicBezTo>
                    <a:pt x="106" y="5763"/>
                    <a:pt x="329" y="6351"/>
                    <a:pt x="500" y="6745"/>
                  </a:cubicBezTo>
                  <a:cubicBezTo>
                    <a:pt x="686" y="7132"/>
                    <a:pt x="891" y="7697"/>
                    <a:pt x="994" y="7991"/>
                  </a:cubicBezTo>
                  <a:cubicBezTo>
                    <a:pt x="1061" y="8293"/>
                    <a:pt x="1120" y="8729"/>
                    <a:pt x="1084" y="8966"/>
                  </a:cubicBezTo>
                  <a:cubicBezTo>
                    <a:pt x="1049" y="9203"/>
                    <a:pt x="1019" y="9753"/>
                    <a:pt x="1019" y="10189"/>
                  </a:cubicBezTo>
                  <a:cubicBezTo>
                    <a:pt x="1019" y="10626"/>
                    <a:pt x="1363" y="11015"/>
                    <a:pt x="1790" y="11064"/>
                  </a:cubicBezTo>
                  <a:cubicBezTo>
                    <a:pt x="2215" y="11105"/>
                    <a:pt x="2641" y="11354"/>
                    <a:pt x="2758" y="11599"/>
                  </a:cubicBezTo>
                  <a:close/>
                  <a:moveTo>
                    <a:pt x="2758" y="115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3" name="AutoShape 733"/>
            <p:cNvSpPr>
              <a:spLocks/>
            </p:cNvSpPr>
            <p:nvPr/>
          </p:nvSpPr>
          <p:spPr bwMode="auto">
            <a:xfrm>
              <a:off x="8915400" y="3886200"/>
              <a:ext cx="53975" cy="201613"/>
            </a:xfrm>
            <a:custGeom>
              <a:avLst/>
              <a:gdLst/>
              <a:ahLst/>
              <a:cxnLst/>
              <a:rect l="0" t="0" r="r" b="b"/>
              <a:pathLst>
                <a:path w="21211" h="21461">
                  <a:moveTo>
                    <a:pt x="17858" y="19851"/>
                  </a:moveTo>
                  <a:cubicBezTo>
                    <a:pt x="18274" y="19718"/>
                    <a:pt x="18514" y="19348"/>
                    <a:pt x="18514" y="19034"/>
                  </a:cubicBezTo>
                  <a:cubicBezTo>
                    <a:pt x="18442" y="18722"/>
                    <a:pt x="18687" y="18187"/>
                    <a:pt x="18974" y="17846"/>
                  </a:cubicBezTo>
                  <a:cubicBezTo>
                    <a:pt x="19267" y="17506"/>
                    <a:pt x="19420" y="16897"/>
                    <a:pt x="19353" y="16494"/>
                  </a:cubicBezTo>
                  <a:cubicBezTo>
                    <a:pt x="19281" y="16091"/>
                    <a:pt x="19410" y="15709"/>
                    <a:pt x="19702" y="15669"/>
                  </a:cubicBezTo>
                  <a:cubicBezTo>
                    <a:pt x="19908" y="15599"/>
                    <a:pt x="20124" y="15330"/>
                    <a:pt x="20124" y="15032"/>
                  </a:cubicBezTo>
                  <a:cubicBezTo>
                    <a:pt x="20057" y="14734"/>
                    <a:pt x="20120" y="14234"/>
                    <a:pt x="20335" y="13928"/>
                  </a:cubicBezTo>
                  <a:cubicBezTo>
                    <a:pt x="20551" y="13620"/>
                    <a:pt x="20522" y="13195"/>
                    <a:pt x="20522" y="12987"/>
                  </a:cubicBezTo>
                  <a:cubicBezTo>
                    <a:pt x="20513" y="12953"/>
                    <a:pt x="20508" y="12888"/>
                    <a:pt x="20498" y="12810"/>
                  </a:cubicBezTo>
                  <a:cubicBezTo>
                    <a:pt x="20493" y="12770"/>
                    <a:pt x="20493" y="12729"/>
                    <a:pt x="20493" y="12681"/>
                  </a:cubicBezTo>
                  <a:cubicBezTo>
                    <a:pt x="20493" y="12602"/>
                    <a:pt x="20493" y="12509"/>
                    <a:pt x="20498" y="12408"/>
                  </a:cubicBezTo>
                  <a:cubicBezTo>
                    <a:pt x="20498" y="12403"/>
                    <a:pt x="20498" y="12398"/>
                    <a:pt x="20498" y="12393"/>
                  </a:cubicBezTo>
                  <a:cubicBezTo>
                    <a:pt x="20508" y="12142"/>
                    <a:pt x="20532" y="11832"/>
                    <a:pt x="20575" y="11493"/>
                  </a:cubicBezTo>
                  <a:cubicBezTo>
                    <a:pt x="20503" y="10916"/>
                    <a:pt x="20469" y="10476"/>
                    <a:pt x="20158" y="10501"/>
                  </a:cubicBezTo>
                  <a:cubicBezTo>
                    <a:pt x="19842" y="10527"/>
                    <a:pt x="19161" y="10551"/>
                    <a:pt x="18648" y="10543"/>
                  </a:cubicBezTo>
                  <a:cubicBezTo>
                    <a:pt x="18116" y="10533"/>
                    <a:pt x="17119" y="10619"/>
                    <a:pt x="16434" y="10731"/>
                  </a:cubicBezTo>
                  <a:cubicBezTo>
                    <a:pt x="15796" y="10863"/>
                    <a:pt x="14886" y="10809"/>
                    <a:pt x="14426" y="10691"/>
                  </a:cubicBezTo>
                  <a:cubicBezTo>
                    <a:pt x="13999" y="10557"/>
                    <a:pt x="13741" y="10101"/>
                    <a:pt x="13880" y="9679"/>
                  </a:cubicBezTo>
                  <a:cubicBezTo>
                    <a:pt x="14095" y="9258"/>
                    <a:pt x="14018" y="8384"/>
                    <a:pt x="13952" y="7743"/>
                  </a:cubicBezTo>
                  <a:cubicBezTo>
                    <a:pt x="13808" y="7102"/>
                    <a:pt x="13573" y="6459"/>
                    <a:pt x="13300" y="6320"/>
                  </a:cubicBezTo>
                  <a:cubicBezTo>
                    <a:pt x="13089" y="6171"/>
                    <a:pt x="12974" y="5759"/>
                    <a:pt x="13117" y="5386"/>
                  </a:cubicBezTo>
                  <a:cubicBezTo>
                    <a:pt x="13333" y="5016"/>
                    <a:pt x="14230" y="4715"/>
                    <a:pt x="15250" y="4734"/>
                  </a:cubicBezTo>
                  <a:cubicBezTo>
                    <a:pt x="16257" y="4745"/>
                    <a:pt x="17172" y="4938"/>
                    <a:pt x="17316" y="5156"/>
                  </a:cubicBezTo>
                  <a:cubicBezTo>
                    <a:pt x="17469" y="5372"/>
                    <a:pt x="17896" y="5569"/>
                    <a:pt x="18327" y="5598"/>
                  </a:cubicBezTo>
                  <a:cubicBezTo>
                    <a:pt x="18768" y="5624"/>
                    <a:pt x="19501" y="5526"/>
                    <a:pt x="20009" y="5388"/>
                  </a:cubicBezTo>
                  <a:cubicBezTo>
                    <a:pt x="20541" y="5260"/>
                    <a:pt x="20810" y="5002"/>
                    <a:pt x="20810" y="4843"/>
                  </a:cubicBezTo>
                  <a:cubicBezTo>
                    <a:pt x="20738" y="4687"/>
                    <a:pt x="20815" y="4565"/>
                    <a:pt x="20920" y="4565"/>
                  </a:cubicBezTo>
                  <a:cubicBezTo>
                    <a:pt x="21021" y="4578"/>
                    <a:pt x="20882" y="4479"/>
                    <a:pt x="20738" y="4346"/>
                  </a:cubicBezTo>
                  <a:cubicBezTo>
                    <a:pt x="20474" y="4230"/>
                    <a:pt x="20263" y="3921"/>
                    <a:pt x="19976" y="3686"/>
                  </a:cubicBezTo>
                  <a:cubicBezTo>
                    <a:pt x="19760" y="3448"/>
                    <a:pt x="19794" y="2924"/>
                    <a:pt x="19933" y="2523"/>
                  </a:cubicBezTo>
                  <a:cubicBezTo>
                    <a:pt x="20076" y="2120"/>
                    <a:pt x="20374" y="1513"/>
                    <a:pt x="20518" y="1173"/>
                  </a:cubicBezTo>
                  <a:cubicBezTo>
                    <a:pt x="20728" y="832"/>
                    <a:pt x="20944" y="422"/>
                    <a:pt x="21160" y="266"/>
                  </a:cubicBezTo>
                  <a:cubicBezTo>
                    <a:pt x="21289" y="121"/>
                    <a:pt x="21174" y="28"/>
                    <a:pt x="20858" y="0"/>
                  </a:cubicBezTo>
                  <a:cubicBezTo>
                    <a:pt x="20311" y="47"/>
                    <a:pt x="19640" y="241"/>
                    <a:pt x="19252" y="489"/>
                  </a:cubicBezTo>
                  <a:cubicBezTo>
                    <a:pt x="18893" y="773"/>
                    <a:pt x="17388" y="977"/>
                    <a:pt x="16051" y="977"/>
                  </a:cubicBezTo>
                  <a:cubicBezTo>
                    <a:pt x="14709" y="977"/>
                    <a:pt x="13161" y="933"/>
                    <a:pt x="12653" y="889"/>
                  </a:cubicBezTo>
                  <a:cubicBezTo>
                    <a:pt x="12130" y="853"/>
                    <a:pt x="11028" y="1078"/>
                    <a:pt x="10142" y="1388"/>
                  </a:cubicBezTo>
                  <a:cubicBezTo>
                    <a:pt x="9327" y="1713"/>
                    <a:pt x="8416" y="2772"/>
                    <a:pt x="8272" y="3763"/>
                  </a:cubicBezTo>
                  <a:cubicBezTo>
                    <a:pt x="8128" y="4754"/>
                    <a:pt x="6993" y="6193"/>
                    <a:pt x="5910" y="6973"/>
                  </a:cubicBezTo>
                  <a:cubicBezTo>
                    <a:pt x="4750" y="7745"/>
                    <a:pt x="2842" y="8841"/>
                    <a:pt x="1563" y="9395"/>
                  </a:cubicBezTo>
                  <a:cubicBezTo>
                    <a:pt x="317" y="9956"/>
                    <a:pt x="-311" y="10460"/>
                    <a:pt x="154" y="10545"/>
                  </a:cubicBezTo>
                  <a:cubicBezTo>
                    <a:pt x="638" y="10621"/>
                    <a:pt x="1745" y="11020"/>
                    <a:pt x="2680" y="11423"/>
                  </a:cubicBezTo>
                  <a:cubicBezTo>
                    <a:pt x="3557" y="11833"/>
                    <a:pt x="4783" y="12582"/>
                    <a:pt x="5229" y="13100"/>
                  </a:cubicBezTo>
                  <a:cubicBezTo>
                    <a:pt x="5804" y="13611"/>
                    <a:pt x="7213" y="14531"/>
                    <a:pt x="8512" y="15132"/>
                  </a:cubicBezTo>
                  <a:cubicBezTo>
                    <a:pt x="9844" y="15726"/>
                    <a:pt x="11579" y="16833"/>
                    <a:pt x="12715" y="17550"/>
                  </a:cubicBezTo>
                  <a:cubicBezTo>
                    <a:pt x="13654" y="18285"/>
                    <a:pt x="14306" y="19144"/>
                    <a:pt x="13952" y="19473"/>
                  </a:cubicBezTo>
                  <a:cubicBezTo>
                    <a:pt x="13673" y="19808"/>
                    <a:pt x="13808" y="20468"/>
                    <a:pt x="14450" y="20938"/>
                  </a:cubicBezTo>
                  <a:cubicBezTo>
                    <a:pt x="15030" y="21415"/>
                    <a:pt x="15964" y="21600"/>
                    <a:pt x="16410" y="21347"/>
                  </a:cubicBezTo>
                  <a:cubicBezTo>
                    <a:pt x="16851" y="21096"/>
                    <a:pt x="17373" y="20861"/>
                    <a:pt x="17311" y="20825"/>
                  </a:cubicBezTo>
                  <a:cubicBezTo>
                    <a:pt x="17311" y="20783"/>
                    <a:pt x="17326" y="20604"/>
                    <a:pt x="17254" y="20425"/>
                  </a:cubicBezTo>
                  <a:cubicBezTo>
                    <a:pt x="17254" y="20242"/>
                    <a:pt x="17441" y="19983"/>
                    <a:pt x="17858" y="19851"/>
                  </a:cubicBezTo>
                  <a:close/>
                  <a:moveTo>
                    <a:pt x="17858" y="198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4" name="AutoShape 734"/>
            <p:cNvSpPr>
              <a:spLocks/>
            </p:cNvSpPr>
            <p:nvPr/>
          </p:nvSpPr>
          <p:spPr bwMode="auto">
            <a:xfrm>
              <a:off x="8966200" y="3886200"/>
              <a:ext cx="12700" cy="42863"/>
            </a:xfrm>
            <a:custGeom>
              <a:avLst/>
              <a:gdLst/>
              <a:ahLst/>
              <a:cxnLst/>
              <a:rect l="0" t="0" r="r" b="b"/>
              <a:pathLst>
                <a:path w="21123" h="21600">
                  <a:moveTo>
                    <a:pt x="18979" y="17099"/>
                  </a:moveTo>
                  <a:cubicBezTo>
                    <a:pt x="19126" y="17099"/>
                    <a:pt x="19972" y="16288"/>
                    <a:pt x="20559" y="15258"/>
                  </a:cubicBezTo>
                  <a:cubicBezTo>
                    <a:pt x="21366" y="14249"/>
                    <a:pt x="21219" y="11550"/>
                    <a:pt x="20669" y="9258"/>
                  </a:cubicBezTo>
                  <a:cubicBezTo>
                    <a:pt x="20100" y="6966"/>
                    <a:pt x="17586" y="4288"/>
                    <a:pt x="14943" y="3406"/>
                  </a:cubicBezTo>
                  <a:cubicBezTo>
                    <a:pt x="12391" y="2502"/>
                    <a:pt x="9877" y="1287"/>
                    <a:pt x="8850" y="855"/>
                  </a:cubicBezTo>
                  <a:cubicBezTo>
                    <a:pt x="8061" y="358"/>
                    <a:pt x="7069" y="0"/>
                    <a:pt x="6923" y="0"/>
                  </a:cubicBezTo>
                  <a:cubicBezTo>
                    <a:pt x="7107" y="0"/>
                    <a:pt x="5694" y="571"/>
                    <a:pt x="5125" y="1339"/>
                  </a:cubicBezTo>
                  <a:cubicBezTo>
                    <a:pt x="4299" y="2077"/>
                    <a:pt x="3472" y="4004"/>
                    <a:pt x="2667" y="5606"/>
                  </a:cubicBezTo>
                  <a:cubicBezTo>
                    <a:pt x="2115" y="7207"/>
                    <a:pt x="977" y="10060"/>
                    <a:pt x="427" y="11957"/>
                  </a:cubicBezTo>
                  <a:cubicBezTo>
                    <a:pt x="-106" y="13842"/>
                    <a:pt x="-234" y="16310"/>
                    <a:pt x="592" y="17426"/>
                  </a:cubicBezTo>
                  <a:cubicBezTo>
                    <a:pt x="1693" y="18531"/>
                    <a:pt x="2500" y="19986"/>
                    <a:pt x="3510" y="20532"/>
                  </a:cubicBezTo>
                  <a:cubicBezTo>
                    <a:pt x="4004" y="21085"/>
                    <a:pt x="5308" y="21477"/>
                    <a:pt x="6206" y="21600"/>
                  </a:cubicBezTo>
                  <a:cubicBezTo>
                    <a:pt x="7454" y="21591"/>
                    <a:pt x="9014" y="21187"/>
                    <a:pt x="9968" y="20625"/>
                  </a:cubicBezTo>
                  <a:cubicBezTo>
                    <a:pt x="10813" y="19968"/>
                    <a:pt x="13181" y="18904"/>
                    <a:pt x="15181" y="18281"/>
                  </a:cubicBezTo>
                  <a:cubicBezTo>
                    <a:pt x="17108" y="17627"/>
                    <a:pt x="19182" y="17099"/>
                    <a:pt x="18979" y="17099"/>
                  </a:cubicBezTo>
                  <a:close/>
                  <a:moveTo>
                    <a:pt x="18979" y="170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5" name="AutoShape 735"/>
            <p:cNvSpPr>
              <a:spLocks/>
            </p:cNvSpPr>
            <p:nvPr/>
          </p:nvSpPr>
          <p:spPr bwMode="auto">
            <a:xfrm>
              <a:off x="8953500" y="3937000"/>
              <a:ext cx="20638" cy="57150"/>
            </a:xfrm>
            <a:custGeom>
              <a:avLst/>
              <a:gdLst/>
              <a:ahLst/>
              <a:cxnLst/>
              <a:rect l="0" t="0" r="r" b="b"/>
              <a:pathLst>
                <a:path w="21278" h="21342">
                  <a:moveTo>
                    <a:pt x="17984" y="2300"/>
                  </a:moveTo>
                  <a:cubicBezTo>
                    <a:pt x="16671" y="2784"/>
                    <a:pt x="14776" y="3127"/>
                    <a:pt x="13636" y="3035"/>
                  </a:cubicBezTo>
                  <a:cubicBezTo>
                    <a:pt x="12520" y="2934"/>
                    <a:pt x="11417" y="2243"/>
                    <a:pt x="11021" y="1482"/>
                  </a:cubicBezTo>
                  <a:cubicBezTo>
                    <a:pt x="10649" y="720"/>
                    <a:pt x="8282" y="40"/>
                    <a:pt x="5680" y="3"/>
                  </a:cubicBezTo>
                  <a:cubicBezTo>
                    <a:pt x="3040" y="-66"/>
                    <a:pt x="723" y="992"/>
                    <a:pt x="165" y="2291"/>
                  </a:cubicBezTo>
                  <a:cubicBezTo>
                    <a:pt x="-207" y="3602"/>
                    <a:pt x="91" y="5051"/>
                    <a:pt x="637" y="5572"/>
                  </a:cubicBezTo>
                  <a:cubicBezTo>
                    <a:pt x="1343" y="6061"/>
                    <a:pt x="1950" y="8321"/>
                    <a:pt x="2322" y="10573"/>
                  </a:cubicBezTo>
                  <a:cubicBezTo>
                    <a:pt x="2494" y="12826"/>
                    <a:pt x="2693" y="15898"/>
                    <a:pt x="2136" y="17375"/>
                  </a:cubicBezTo>
                  <a:cubicBezTo>
                    <a:pt x="1776" y="18859"/>
                    <a:pt x="2445" y="20460"/>
                    <a:pt x="3548" y="20930"/>
                  </a:cubicBezTo>
                  <a:cubicBezTo>
                    <a:pt x="4738" y="21345"/>
                    <a:pt x="7092" y="21534"/>
                    <a:pt x="8740" y="21073"/>
                  </a:cubicBezTo>
                  <a:cubicBezTo>
                    <a:pt x="10513" y="20679"/>
                    <a:pt x="13090" y="20377"/>
                    <a:pt x="14466" y="20409"/>
                  </a:cubicBezTo>
                  <a:cubicBezTo>
                    <a:pt x="15792" y="20440"/>
                    <a:pt x="17551" y="20357"/>
                    <a:pt x="18369" y="20264"/>
                  </a:cubicBezTo>
                  <a:cubicBezTo>
                    <a:pt x="19100" y="20184"/>
                    <a:pt x="19770" y="18953"/>
                    <a:pt x="20055" y="17446"/>
                  </a:cubicBezTo>
                  <a:cubicBezTo>
                    <a:pt x="20129" y="16131"/>
                    <a:pt x="20179" y="14946"/>
                    <a:pt x="20215" y="14029"/>
                  </a:cubicBezTo>
                  <a:cubicBezTo>
                    <a:pt x="20228" y="13259"/>
                    <a:pt x="20241" y="12607"/>
                    <a:pt x="20241" y="12262"/>
                  </a:cubicBezTo>
                  <a:cubicBezTo>
                    <a:pt x="20055" y="11531"/>
                    <a:pt x="19807" y="9884"/>
                    <a:pt x="20153" y="8612"/>
                  </a:cubicBezTo>
                  <a:cubicBezTo>
                    <a:pt x="20153" y="7335"/>
                    <a:pt x="20600" y="5923"/>
                    <a:pt x="20959" y="5485"/>
                  </a:cubicBezTo>
                  <a:cubicBezTo>
                    <a:pt x="21343" y="5054"/>
                    <a:pt x="21393" y="4187"/>
                    <a:pt x="21034" y="3607"/>
                  </a:cubicBezTo>
                  <a:cubicBezTo>
                    <a:pt x="20897" y="3402"/>
                    <a:pt x="20749" y="3107"/>
                    <a:pt x="20613" y="2789"/>
                  </a:cubicBezTo>
                  <a:cubicBezTo>
                    <a:pt x="20588" y="2729"/>
                    <a:pt x="20563" y="2678"/>
                    <a:pt x="20538" y="2618"/>
                  </a:cubicBezTo>
                  <a:cubicBezTo>
                    <a:pt x="20464" y="2402"/>
                    <a:pt x="20389" y="2183"/>
                    <a:pt x="20327" y="1952"/>
                  </a:cubicBezTo>
                  <a:cubicBezTo>
                    <a:pt x="20241" y="1697"/>
                    <a:pt x="19310" y="1867"/>
                    <a:pt x="17984" y="2300"/>
                  </a:cubicBezTo>
                  <a:close/>
                  <a:moveTo>
                    <a:pt x="17984" y="23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6" name="AutoShape 736"/>
            <p:cNvSpPr>
              <a:spLocks/>
            </p:cNvSpPr>
            <p:nvPr/>
          </p:nvSpPr>
          <p:spPr bwMode="auto">
            <a:xfrm>
              <a:off x="8940800" y="3822700"/>
              <a:ext cx="47625" cy="74613"/>
            </a:xfrm>
            <a:custGeom>
              <a:avLst/>
              <a:gdLst/>
              <a:ahLst/>
              <a:cxnLst/>
              <a:rect l="0" t="0" r="r" b="b"/>
              <a:pathLst>
                <a:path w="21368" h="21562">
                  <a:moveTo>
                    <a:pt x="8333" y="20237"/>
                  </a:moveTo>
                  <a:cubicBezTo>
                    <a:pt x="8822" y="19487"/>
                    <a:pt x="9576" y="18830"/>
                    <a:pt x="10043" y="18857"/>
                  </a:cubicBezTo>
                  <a:cubicBezTo>
                    <a:pt x="10102" y="18859"/>
                    <a:pt x="10108" y="18900"/>
                    <a:pt x="10151" y="18911"/>
                  </a:cubicBezTo>
                  <a:cubicBezTo>
                    <a:pt x="10222" y="18895"/>
                    <a:pt x="10303" y="18863"/>
                    <a:pt x="10373" y="18859"/>
                  </a:cubicBezTo>
                  <a:cubicBezTo>
                    <a:pt x="11019" y="18832"/>
                    <a:pt x="12007" y="18149"/>
                    <a:pt x="12718" y="17352"/>
                  </a:cubicBezTo>
                  <a:cubicBezTo>
                    <a:pt x="13347" y="16524"/>
                    <a:pt x="14183" y="15040"/>
                    <a:pt x="14426" y="14038"/>
                  </a:cubicBezTo>
                  <a:cubicBezTo>
                    <a:pt x="14752" y="13047"/>
                    <a:pt x="15702" y="11944"/>
                    <a:pt x="16624" y="11618"/>
                  </a:cubicBezTo>
                  <a:cubicBezTo>
                    <a:pt x="17514" y="11271"/>
                    <a:pt x="18675" y="11040"/>
                    <a:pt x="19196" y="11040"/>
                  </a:cubicBezTo>
                  <a:cubicBezTo>
                    <a:pt x="19706" y="11068"/>
                    <a:pt x="20492" y="10883"/>
                    <a:pt x="20975" y="10671"/>
                  </a:cubicBezTo>
                  <a:cubicBezTo>
                    <a:pt x="21431" y="10447"/>
                    <a:pt x="21507" y="9807"/>
                    <a:pt x="21116" y="9239"/>
                  </a:cubicBezTo>
                  <a:cubicBezTo>
                    <a:pt x="20720" y="8670"/>
                    <a:pt x="20406" y="7383"/>
                    <a:pt x="20406" y="6383"/>
                  </a:cubicBezTo>
                  <a:cubicBezTo>
                    <a:pt x="20487" y="5379"/>
                    <a:pt x="19684" y="4276"/>
                    <a:pt x="18838" y="3923"/>
                  </a:cubicBezTo>
                  <a:cubicBezTo>
                    <a:pt x="18002" y="3573"/>
                    <a:pt x="16928" y="2612"/>
                    <a:pt x="16380" y="1811"/>
                  </a:cubicBezTo>
                  <a:cubicBezTo>
                    <a:pt x="15827" y="1014"/>
                    <a:pt x="13803" y="206"/>
                    <a:pt x="11784" y="74"/>
                  </a:cubicBezTo>
                  <a:cubicBezTo>
                    <a:pt x="9744" y="-34"/>
                    <a:pt x="8078" y="-38"/>
                    <a:pt x="8078" y="158"/>
                  </a:cubicBezTo>
                  <a:cubicBezTo>
                    <a:pt x="8160" y="345"/>
                    <a:pt x="7552" y="606"/>
                    <a:pt x="6896" y="666"/>
                  </a:cubicBezTo>
                  <a:cubicBezTo>
                    <a:pt x="6250" y="747"/>
                    <a:pt x="5686" y="2960"/>
                    <a:pt x="5686" y="5573"/>
                  </a:cubicBezTo>
                  <a:cubicBezTo>
                    <a:pt x="5686" y="8187"/>
                    <a:pt x="4970" y="11056"/>
                    <a:pt x="4313" y="12002"/>
                  </a:cubicBezTo>
                  <a:cubicBezTo>
                    <a:pt x="3651" y="12953"/>
                    <a:pt x="2306" y="14432"/>
                    <a:pt x="1497" y="15355"/>
                  </a:cubicBezTo>
                  <a:cubicBezTo>
                    <a:pt x="694" y="16279"/>
                    <a:pt x="70" y="17856"/>
                    <a:pt x="151" y="18864"/>
                  </a:cubicBezTo>
                  <a:cubicBezTo>
                    <a:pt x="233" y="19874"/>
                    <a:pt x="179" y="20808"/>
                    <a:pt x="21" y="20909"/>
                  </a:cubicBezTo>
                  <a:cubicBezTo>
                    <a:pt x="-93" y="21027"/>
                    <a:pt x="271" y="21226"/>
                    <a:pt x="862" y="21322"/>
                  </a:cubicBezTo>
                  <a:cubicBezTo>
                    <a:pt x="1437" y="21441"/>
                    <a:pt x="3190" y="21562"/>
                    <a:pt x="4709" y="21562"/>
                  </a:cubicBezTo>
                  <a:cubicBezTo>
                    <a:pt x="6223" y="21562"/>
                    <a:pt x="7927" y="21007"/>
                    <a:pt x="8333" y="20237"/>
                  </a:cubicBezTo>
                  <a:close/>
                  <a:moveTo>
                    <a:pt x="8333" y="202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7" name="AutoShape 737"/>
            <p:cNvSpPr>
              <a:spLocks/>
            </p:cNvSpPr>
            <p:nvPr/>
          </p:nvSpPr>
          <p:spPr bwMode="auto">
            <a:xfrm>
              <a:off x="8966200" y="3886200"/>
              <a:ext cx="3175" cy="4763"/>
            </a:xfrm>
            <a:custGeom>
              <a:avLst/>
              <a:gdLst/>
              <a:ahLst/>
              <a:cxnLst/>
              <a:rect l="0" t="0" r="r" b="b"/>
              <a:pathLst>
                <a:path w="21600" h="21199">
                  <a:moveTo>
                    <a:pt x="0" y="21199"/>
                  </a:moveTo>
                  <a:cubicBezTo>
                    <a:pt x="5222" y="10864"/>
                    <a:pt x="14251" y="2774"/>
                    <a:pt x="21600" y="831"/>
                  </a:cubicBezTo>
                  <a:cubicBezTo>
                    <a:pt x="21084" y="669"/>
                    <a:pt x="21020" y="35"/>
                    <a:pt x="20311" y="12"/>
                  </a:cubicBezTo>
                  <a:cubicBezTo>
                    <a:pt x="14767" y="-401"/>
                    <a:pt x="5802" y="9688"/>
                    <a:pt x="0" y="21199"/>
                  </a:cubicBezTo>
                  <a:close/>
                  <a:moveTo>
                    <a:pt x="0" y="211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8" name="AutoShape 738"/>
            <p:cNvSpPr>
              <a:spLocks/>
            </p:cNvSpPr>
            <p:nvPr/>
          </p:nvSpPr>
          <p:spPr bwMode="auto">
            <a:xfrm>
              <a:off x="8953500" y="3886200"/>
              <a:ext cx="150813" cy="222250"/>
            </a:xfrm>
            <a:custGeom>
              <a:avLst/>
              <a:gdLst/>
              <a:ahLst/>
              <a:cxnLst/>
              <a:rect l="0" t="0" r="r" b="b"/>
              <a:pathLst>
                <a:path w="21480" h="21369">
                  <a:moveTo>
                    <a:pt x="9462" y="20382"/>
                  </a:moveTo>
                  <a:cubicBezTo>
                    <a:pt x="10539" y="19536"/>
                    <a:pt x="12357" y="18753"/>
                    <a:pt x="13508" y="18626"/>
                  </a:cubicBezTo>
                  <a:cubicBezTo>
                    <a:pt x="14662" y="18510"/>
                    <a:pt x="15627" y="18130"/>
                    <a:pt x="15655" y="17774"/>
                  </a:cubicBezTo>
                  <a:cubicBezTo>
                    <a:pt x="15681" y="17420"/>
                    <a:pt x="16199" y="16635"/>
                    <a:pt x="16797" y="16027"/>
                  </a:cubicBezTo>
                  <a:cubicBezTo>
                    <a:pt x="17400" y="15424"/>
                    <a:pt x="16421" y="13662"/>
                    <a:pt x="14658" y="12095"/>
                  </a:cubicBezTo>
                  <a:cubicBezTo>
                    <a:pt x="12848" y="10541"/>
                    <a:pt x="13223" y="8857"/>
                    <a:pt x="15434" y="8352"/>
                  </a:cubicBezTo>
                  <a:cubicBezTo>
                    <a:pt x="17628" y="7848"/>
                    <a:pt x="19856" y="7104"/>
                    <a:pt x="20356" y="6658"/>
                  </a:cubicBezTo>
                  <a:cubicBezTo>
                    <a:pt x="20854" y="6213"/>
                    <a:pt x="21407" y="6031"/>
                    <a:pt x="21458" y="6083"/>
                  </a:cubicBezTo>
                  <a:cubicBezTo>
                    <a:pt x="21600" y="6275"/>
                    <a:pt x="21046" y="4978"/>
                    <a:pt x="20314" y="3570"/>
                  </a:cubicBezTo>
                  <a:cubicBezTo>
                    <a:pt x="20309" y="3556"/>
                    <a:pt x="20302" y="3543"/>
                    <a:pt x="20295" y="3530"/>
                  </a:cubicBezTo>
                  <a:cubicBezTo>
                    <a:pt x="20195" y="3336"/>
                    <a:pt x="20090" y="3141"/>
                    <a:pt x="19984" y="2947"/>
                  </a:cubicBezTo>
                  <a:cubicBezTo>
                    <a:pt x="19593" y="2205"/>
                    <a:pt x="19034" y="1550"/>
                    <a:pt x="18399" y="0"/>
                  </a:cubicBezTo>
                  <a:cubicBezTo>
                    <a:pt x="16983" y="841"/>
                    <a:pt x="14990" y="1669"/>
                    <a:pt x="13460" y="2414"/>
                  </a:cubicBezTo>
                  <a:cubicBezTo>
                    <a:pt x="13369" y="2458"/>
                    <a:pt x="13283" y="2500"/>
                    <a:pt x="13190" y="2545"/>
                  </a:cubicBezTo>
                  <a:cubicBezTo>
                    <a:pt x="10296" y="3962"/>
                    <a:pt x="7719" y="5028"/>
                    <a:pt x="7505" y="4912"/>
                  </a:cubicBezTo>
                  <a:cubicBezTo>
                    <a:pt x="7301" y="4791"/>
                    <a:pt x="7022" y="4698"/>
                    <a:pt x="6910" y="4698"/>
                  </a:cubicBezTo>
                  <a:cubicBezTo>
                    <a:pt x="6801" y="4689"/>
                    <a:pt x="6461" y="4510"/>
                    <a:pt x="6122" y="4317"/>
                  </a:cubicBezTo>
                  <a:cubicBezTo>
                    <a:pt x="5803" y="4110"/>
                    <a:pt x="5115" y="3775"/>
                    <a:pt x="4587" y="3588"/>
                  </a:cubicBezTo>
                  <a:cubicBezTo>
                    <a:pt x="4061" y="3392"/>
                    <a:pt x="3505" y="3231"/>
                    <a:pt x="3349" y="3208"/>
                  </a:cubicBezTo>
                  <a:cubicBezTo>
                    <a:pt x="3189" y="3191"/>
                    <a:pt x="2917" y="3287"/>
                    <a:pt x="2733" y="3413"/>
                  </a:cubicBezTo>
                  <a:cubicBezTo>
                    <a:pt x="2542" y="3533"/>
                    <a:pt x="2315" y="3738"/>
                    <a:pt x="2235" y="3864"/>
                  </a:cubicBezTo>
                  <a:cubicBezTo>
                    <a:pt x="2135" y="3983"/>
                    <a:pt x="1994" y="4069"/>
                    <a:pt x="1910" y="4069"/>
                  </a:cubicBezTo>
                  <a:cubicBezTo>
                    <a:pt x="1902" y="4068"/>
                    <a:pt x="1886" y="4056"/>
                    <a:pt x="1875" y="4052"/>
                  </a:cubicBezTo>
                  <a:cubicBezTo>
                    <a:pt x="1863" y="4053"/>
                    <a:pt x="1849" y="4062"/>
                    <a:pt x="1838" y="4061"/>
                  </a:cubicBezTo>
                  <a:cubicBezTo>
                    <a:pt x="1717" y="4044"/>
                    <a:pt x="1631" y="4221"/>
                    <a:pt x="1658" y="4443"/>
                  </a:cubicBezTo>
                  <a:cubicBezTo>
                    <a:pt x="1658" y="4522"/>
                    <a:pt x="1668" y="4611"/>
                    <a:pt x="1682" y="4700"/>
                  </a:cubicBezTo>
                  <a:cubicBezTo>
                    <a:pt x="1682" y="4703"/>
                    <a:pt x="1689" y="4700"/>
                    <a:pt x="1689" y="4703"/>
                  </a:cubicBezTo>
                  <a:cubicBezTo>
                    <a:pt x="1689" y="4740"/>
                    <a:pt x="1700" y="4804"/>
                    <a:pt x="1712" y="4872"/>
                  </a:cubicBezTo>
                  <a:cubicBezTo>
                    <a:pt x="1716" y="4887"/>
                    <a:pt x="1719" y="4902"/>
                    <a:pt x="1723" y="4916"/>
                  </a:cubicBezTo>
                  <a:cubicBezTo>
                    <a:pt x="1738" y="4986"/>
                    <a:pt x="1758" y="5060"/>
                    <a:pt x="1782" y="5127"/>
                  </a:cubicBezTo>
                  <a:cubicBezTo>
                    <a:pt x="1833" y="5276"/>
                    <a:pt x="1826" y="5500"/>
                    <a:pt x="1772" y="5611"/>
                  </a:cubicBezTo>
                  <a:cubicBezTo>
                    <a:pt x="1721" y="5723"/>
                    <a:pt x="1658" y="6087"/>
                    <a:pt x="1658" y="6416"/>
                  </a:cubicBezTo>
                  <a:cubicBezTo>
                    <a:pt x="1609" y="6744"/>
                    <a:pt x="1644" y="7169"/>
                    <a:pt x="1670" y="7357"/>
                  </a:cubicBezTo>
                  <a:cubicBezTo>
                    <a:pt x="1670" y="7423"/>
                    <a:pt x="1670" y="7588"/>
                    <a:pt x="1666" y="7812"/>
                  </a:cubicBezTo>
                  <a:cubicBezTo>
                    <a:pt x="1661" y="8032"/>
                    <a:pt x="1660" y="8291"/>
                    <a:pt x="1660" y="8533"/>
                  </a:cubicBezTo>
                  <a:cubicBezTo>
                    <a:pt x="1656" y="8589"/>
                    <a:pt x="1649" y="8639"/>
                    <a:pt x="1644" y="8693"/>
                  </a:cubicBezTo>
                  <a:cubicBezTo>
                    <a:pt x="1635" y="8953"/>
                    <a:pt x="1623" y="9229"/>
                    <a:pt x="1609" y="9511"/>
                  </a:cubicBezTo>
                  <a:cubicBezTo>
                    <a:pt x="1586" y="9787"/>
                    <a:pt x="1570" y="10061"/>
                    <a:pt x="1558" y="10317"/>
                  </a:cubicBezTo>
                  <a:cubicBezTo>
                    <a:pt x="1558" y="10328"/>
                    <a:pt x="1559" y="10337"/>
                    <a:pt x="1559" y="10348"/>
                  </a:cubicBezTo>
                  <a:cubicBezTo>
                    <a:pt x="1545" y="10615"/>
                    <a:pt x="1535" y="10894"/>
                    <a:pt x="1530" y="11131"/>
                  </a:cubicBezTo>
                  <a:cubicBezTo>
                    <a:pt x="1530" y="11136"/>
                    <a:pt x="1530" y="11141"/>
                    <a:pt x="1530" y="11145"/>
                  </a:cubicBezTo>
                  <a:cubicBezTo>
                    <a:pt x="1528" y="11237"/>
                    <a:pt x="1528" y="11316"/>
                    <a:pt x="1528" y="11392"/>
                  </a:cubicBezTo>
                  <a:cubicBezTo>
                    <a:pt x="1528" y="11437"/>
                    <a:pt x="1528" y="11472"/>
                    <a:pt x="1530" y="11509"/>
                  </a:cubicBezTo>
                  <a:cubicBezTo>
                    <a:pt x="1533" y="11571"/>
                    <a:pt x="1533" y="11633"/>
                    <a:pt x="1538" y="11669"/>
                  </a:cubicBezTo>
                  <a:cubicBezTo>
                    <a:pt x="1538" y="11857"/>
                    <a:pt x="1549" y="12242"/>
                    <a:pt x="1470" y="12521"/>
                  </a:cubicBezTo>
                  <a:cubicBezTo>
                    <a:pt x="1391" y="12798"/>
                    <a:pt x="1368" y="13251"/>
                    <a:pt x="1393" y="13521"/>
                  </a:cubicBezTo>
                  <a:cubicBezTo>
                    <a:pt x="1393" y="13790"/>
                    <a:pt x="1314" y="14034"/>
                    <a:pt x="1238" y="14097"/>
                  </a:cubicBezTo>
                  <a:cubicBezTo>
                    <a:pt x="1131" y="14133"/>
                    <a:pt x="1084" y="14479"/>
                    <a:pt x="1110" y="14844"/>
                  </a:cubicBezTo>
                  <a:cubicBezTo>
                    <a:pt x="1135" y="15209"/>
                    <a:pt x="1079" y="15760"/>
                    <a:pt x="972" y="16068"/>
                  </a:cubicBezTo>
                  <a:cubicBezTo>
                    <a:pt x="867" y="16376"/>
                    <a:pt x="777" y="16861"/>
                    <a:pt x="804" y="17144"/>
                  </a:cubicBezTo>
                  <a:cubicBezTo>
                    <a:pt x="804" y="17427"/>
                    <a:pt x="716" y="17763"/>
                    <a:pt x="563" y="17883"/>
                  </a:cubicBezTo>
                  <a:cubicBezTo>
                    <a:pt x="410" y="18003"/>
                    <a:pt x="342" y="18237"/>
                    <a:pt x="342" y="18403"/>
                  </a:cubicBezTo>
                  <a:cubicBezTo>
                    <a:pt x="368" y="18565"/>
                    <a:pt x="363" y="18727"/>
                    <a:pt x="363" y="18764"/>
                  </a:cubicBezTo>
                  <a:cubicBezTo>
                    <a:pt x="386" y="18797"/>
                    <a:pt x="365" y="18819"/>
                    <a:pt x="365" y="18804"/>
                  </a:cubicBezTo>
                  <a:cubicBezTo>
                    <a:pt x="365" y="18788"/>
                    <a:pt x="416" y="18876"/>
                    <a:pt x="416" y="18998"/>
                  </a:cubicBezTo>
                  <a:cubicBezTo>
                    <a:pt x="438" y="19119"/>
                    <a:pt x="330" y="19467"/>
                    <a:pt x="226" y="19780"/>
                  </a:cubicBezTo>
                  <a:cubicBezTo>
                    <a:pt x="93" y="20085"/>
                    <a:pt x="0" y="20381"/>
                    <a:pt x="0" y="20430"/>
                  </a:cubicBezTo>
                  <a:cubicBezTo>
                    <a:pt x="0" y="20480"/>
                    <a:pt x="391" y="20520"/>
                    <a:pt x="874" y="20511"/>
                  </a:cubicBezTo>
                  <a:cubicBezTo>
                    <a:pt x="1359" y="20502"/>
                    <a:pt x="3056" y="20825"/>
                    <a:pt x="4643" y="21219"/>
                  </a:cubicBezTo>
                  <a:cubicBezTo>
                    <a:pt x="6229" y="21600"/>
                    <a:pt x="8387" y="21233"/>
                    <a:pt x="9462" y="20382"/>
                  </a:cubicBezTo>
                  <a:close/>
                  <a:moveTo>
                    <a:pt x="9462" y="2038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39" name="AutoShape 739"/>
            <p:cNvSpPr>
              <a:spLocks/>
            </p:cNvSpPr>
            <p:nvPr/>
          </p:nvSpPr>
          <p:spPr bwMode="auto">
            <a:xfrm>
              <a:off x="9105900" y="3924300"/>
              <a:ext cx="0" cy="0"/>
            </a:xfrm>
            <a:custGeom>
              <a:avLst/>
              <a:gdLst/>
              <a:ahLst/>
              <a:cxnLst/>
              <a:rect l="0" t="0" r="r" b="b"/>
              <a:pathLst>
                <a:path w="21600" h="21600">
                  <a:moveTo>
                    <a:pt x="0" y="0"/>
                  </a:moveTo>
                  <a:cubicBezTo>
                    <a:pt x="7810" y="7072"/>
                    <a:pt x="15620" y="14205"/>
                    <a:pt x="21600" y="21600"/>
                  </a:cubicBezTo>
                  <a:cubicBezTo>
                    <a:pt x="15620" y="14205"/>
                    <a:pt x="7810" y="7072"/>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0" name="AutoShape 740"/>
            <p:cNvSpPr>
              <a:spLocks/>
            </p:cNvSpPr>
            <p:nvPr/>
          </p:nvSpPr>
          <p:spPr bwMode="auto">
            <a:xfrm>
              <a:off x="9017000" y="3911600"/>
              <a:ext cx="41275" cy="25400"/>
            </a:xfrm>
            <a:custGeom>
              <a:avLst/>
              <a:gdLst/>
              <a:ahLst/>
              <a:cxnLst/>
              <a:rect l="0" t="0" r="r" b="b"/>
              <a:pathLst>
                <a:path w="21600" h="20710">
                  <a:moveTo>
                    <a:pt x="0" y="20638"/>
                  </a:moveTo>
                  <a:cubicBezTo>
                    <a:pt x="777" y="21600"/>
                    <a:pt x="10122" y="12790"/>
                    <a:pt x="20621" y="1084"/>
                  </a:cubicBezTo>
                  <a:cubicBezTo>
                    <a:pt x="20957" y="711"/>
                    <a:pt x="21270" y="368"/>
                    <a:pt x="21600" y="0"/>
                  </a:cubicBezTo>
                  <a:cubicBezTo>
                    <a:pt x="21289" y="349"/>
                    <a:pt x="20920" y="717"/>
                    <a:pt x="20621" y="1065"/>
                  </a:cubicBezTo>
                  <a:cubicBezTo>
                    <a:pt x="10097" y="12717"/>
                    <a:pt x="777" y="21600"/>
                    <a:pt x="0" y="20638"/>
                  </a:cubicBezTo>
                  <a:close/>
                  <a:moveTo>
                    <a:pt x="0" y="206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1" name="AutoShape 741"/>
            <p:cNvSpPr>
              <a:spLocks/>
            </p:cNvSpPr>
            <p:nvPr/>
          </p:nvSpPr>
          <p:spPr bwMode="auto">
            <a:xfrm>
              <a:off x="8966200" y="4013200"/>
              <a:ext cx="0" cy="1588"/>
            </a:xfrm>
            <a:custGeom>
              <a:avLst/>
              <a:gdLst/>
              <a:ahLst/>
              <a:cxnLst/>
              <a:rect l="0" t="0" r="r" b="b"/>
              <a:pathLst>
                <a:path w="21600" h="21600">
                  <a:moveTo>
                    <a:pt x="0" y="0"/>
                  </a:moveTo>
                  <a:cubicBezTo>
                    <a:pt x="8910" y="9485"/>
                    <a:pt x="13230" y="17386"/>
                    <a:pt x="21600" y="21600"/>
                  </a:cubicBezTo>
                  <a:cubicBezTo>
                    <a:pt x="8910" y="16748"/>
                    <a:pt x="8910" y="8374"/>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2" name="AutoShape 742"/>
            <p:cNvSpPr>
              <a:spLocks/>
            </p:cNvSpPr>
            <p:nvPr/>
          </p:nvSpPr>
          <p:spPr bwMode="auto">
            <a:xfrm>
              <a:off x="8966200" y="4000500"/>
              <a:ext cx="0" cy="1588"/>
            </a:xfrm>
            <a:custGeom>
              <a:avLst/>
              <a:gdLst/>
              <a:ahLst/>
              <a:cxnLst/>
              <a:rect l="0" t="0" r="r" b="b"/>
              <a:pathLst>
                <a:path w="21600" h="21600">
                  <a:moveTo>
                    <a:pt x="21600" y="0"/>
                  </a:moveTo>
                  <a:cubicBezTo>
                    <a:pt x="0" y="7965"/>
                    <a:pt x="0" y="15353"/>
                    <a:pt x="0" y="21600"/>
                  </a:cubicBezTo>
                  <a:cubicBezTo>
                    <a:pt x="0" y="14992"/>
                    <a:pt x="0" y="8072"/>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3" name="AutoShape 743"/>
            <p:cNvSpPr>
              <a:spLocks/>
            </p:cNvSpPr>
            <p:nvPr/>
          </p:nvSpPr>
          <p:spPr bwMode="auto">
            <a:xfrm>
              <a:off x="8966200" y="4000500"/>
              <a:ext cx="0" cy="7938"/>
            </a:xfrm>
            <a:custGeom>
              <a:avLst/>
              <a:gdLst/>
              <a:ahLst/>
              <a:cxnLst/>
              <a:rect l="0" t="0" r="r" b="b"/>
              <a:pathLst>
                <a:path w="21600" h="21600">
                  <a:moveTo>
                    <a:pt x="21600" y="835"/>
                  </a:moveTo>
                  <a:cubicBezTo>
                    <a:pt x="21600" y="536"/>
                    <a:pt x="20409" y="300"/>
                    <a:pt x="20409" y="0"/>
                  </a:cubicBezTo>
                  <a:cubicBezTo>
                    <a:pt x="8974" y="8130"/>
                    <a:pt x="2621" y="15579"/>
                    <a:pt x="0" y="21600"/>
                  </a:cubicBezTo>
                  <a:cubicBezTo>
                    <a:pt x="3891" y="15299"/>
                    <a:pt x="11435" y="7894"/>
                    <a:pt x="21600" y="835"/>
                  </a:cubicBezTo>
                  <a:close/>
                  <a:moveTo>
                    <a:pt x="21600" y="83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4" name="AutoShape 744"/>
            <p:cNvSpPr>
              <a:spLocks/>
            </p:cNvSpPr>
            <p:nvPr/>
          </p:nvSpPr>
          <p:spPr bwMode="auto">
            <a:xfrm>
              <a:off x="8966200" y="3924300"/>
              <a:ext cx="1588" cy="1588"/>
            </a:xfrm>
            <a:custGeom>
              <a:avLst/>
              <a:gdLst/>
              <a:ahLst/>
              <a:cxnLst/>
              <a:rect l="0" t="0" r="r" b="b"/>
              <a:pathLst>
                <a:path w="21600" h="21600">
                  <a:moveTo>
                    <a:pt x="0" y="19838"/>
                  </a:moveTo>
                  <a:cubicBezTo>
                    <a:pt x="639" y="20211"/>
                    <a:pt x="1587" y="21471"/>
                    <a:pt x="2114" y="21600"/>
                  </a:cubicBezTo>
                  <a:cubicBezTo>
                    <a:pt x="7165" y="21600"/>
                    <a:pt x="15601" y="12564"/>
                    <a:pt x="21600" y="0"/>
                  </a:cubicBezTo>
                  <a:cubicBezTo>
                    <a:pt x="16121" y="11430"/>
                    <a:pt x="7165" y="19646"/>
                    <a:pt x="0" y="19838"/>
                  </a:cubicBezTo>
                  <a:close/>
                  <a:moveTo>
                    <a:pt x="0" y="198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5" name="AutoShape 745"/>
            <p:cNvSpPr>
              <a:spLocks/>
            </p:cNvSpPr>
            <p:nvPr/>
          </p:nvSpPr>
          <p:spPr bwMode="auto">
            <a:xfrm>
              <a:off x="8966200" y="3937000"/>
              <a:ext cx="0" cy="1588"/>
            </a:xfrm>
            <a:custGeom>
              <a:avLst/>
              <a:gdLst/>
              <a:ahLst/>
              <a:cxnLst/>
              <a:rect l="0" t="0" r="r" b="b"/>
              <a:pathLst>
                <a:path w="21600" h="21526">
                  <a:moveTo>
                    <a:pt x="5082" y="368"/>
                  </a:moveTo>
                  <a:cubicBezTo>
                    <a:pt x="5082" y="-74"/>
                    <a:pt x="0" y="368"/>
                    <a:pt x="0" y="0"/>
                  </a:cubicBezTo>
                  <a:cubicBezTo>
                    <a:pt x="6353" y="7444"/>
                    <a:pt x="14056" y="14525"/>
                    <a:pt x="21600" y="21526"/>
                  </a:cubicBezTo>
                  <a:cubicBezTo>
                    <a:pt x="12706" y="12965"/>
                    <a:pt x="5082" y="4912"/>
                    <a:pt x="5082" y="368"/>
                  </a:cubicBezTo>
                  <a:close/>
                  <a:moveTo>
                    <a:pt x="5082" y="3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6" name="AutoShape 746"/>
            <p:cNvSpPr>
              <a:spLocks/>
            </p:cNvSpPr>
            <p:nvPr/>
          </p:nvSpPr>
          <p:spPr bwMode="auto">
            <a:xfrm>
              <a:off x="8966200" y="3937000"/>
              <a:ext cx="0" cy="1588"/>
            </a:xfrm>
            <a:custGeom>
              <a:avLst/>
              <a:gdLst/>
              <a:ahLst/>
              <a:cxnLst/>
              <a:rect l="0" t="0" r="r" b="b"/>
              <a:pathLst>
                <a:path w="21600" h="21600">
                  <a:moveTo>
                    <a:pt x="0" y="0"/>
                  </a:moveTo>
                  <a:cubicBezTo>
                    <a:pt x="6961" y="8394"/>
                    <a:pt x="14559" y="16179"/>
                    <a:pt x="21600" y="21600"/>
                  </a:cubicBezTo>
                  <a:cubicBezTo>
                    <a:pt x="12690" y="14784"/>
                    <a:pt x="5688" y="7185"/>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7" name="AutoShape 747"/>
            <p:cNvSpPr>
              <a:spLocks/>
            </p:cNvSpPr>
            <p:nvPr/>
          </p:nvSpPr>
          <p:spPr bwMode="auto">
            <a:xfrm>
              <a:off x="8966200" y="3975100"/>
              <a:ext cx="0" cy="7938"/>
            </a:xfrm>
            <a:custGeom>
              <a:avLst/>
              <a:gdLst/>
              <a:ahLst/>
              <a:cxnLst/>
              <a:rect l="0" t="0" r="r" b="b"/>
              <a:pathLst>
                <a:path w="21600" h="21600">
                  <a:moveTo>
                    <a:pt x="15026" y="17695"/>
                  </a:moveTo>
                  <a:cubicBezTo>
                    <a:pt x="15026" y="11738"/>
                    <a:pt x="16696" y="5402"/>
                    <a:pt x="21600" y="0"/>
                  </a:cubicBezTo>
                  <a:cubicBezTo>
                    <a:pt x="16696" y="5796"/>
                    <a:pt x="10017" y="13283"/>
                    <a:pt x="0" y="21600"/>
                  </a:cubicBezTo>
                  <a:cubicBezTo>
                    <a:pt x="5113" y="20290"/>
                    <a:pt x="11687" y="19065"/>
                    <a:pt x="15026" y="17695"/>
                  </a:cubicBezTo>
                  <a:close/>
                  <a:moveTo>
                    <a:pt x="15026" y="176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8" name="AutoShape 748"/>
            <p:cNvSpPr>
              <a:spLocks/>
            </p:cNvSpPr>
            <p:nvPr/>
          </p:nvSpPr>
          <p:spPr bwMode="auto">
            <a:xfrm>
              <a:off x="8953500" y="3949700"/>
              <a:ext cx="730250" cy="790575"/>
            </a:xfrm>
            <a:custGeom>
              <a:avLst/>
              <a:gdLst/>
              <a:ahLst/>
              <a:cxnLst/>
              <a:rect l="0" t="0" r="r" b="b"/>
              <a:pathLst>
                <a:path w="21573" h="21410">
                  <a:moveTo>
                    <a:pt x="13864" y="5101"/>
                  </a:moveTo>
                  <a:cubicBezTo>
                    <a:pt x="13842" y="4977"/>
                    <a:pt x="13617" y="4793"/>
                    <a:pt x="13363" y="4686"/>
                  </a:cubicBezTo>
                  <a:cubicBezTo>
                    <a:pt x="13226" y="4630"/>
                    <a:pt x="12971" y="4573"/>
                    <a:pt x="12678" y="4526"/>
                  </a:cubicBezTo>
                  <a:cubicBezTo>
                    <a:pt x="12516" y="4542"/>
                    <a:pt x="12192" y="4451"/>
                    <a:pt x="11792" y="4431"/>
                  </a:cubicBezTo>
                  <a:cubicBezTo>
                    <a:pt x="11255" y="4401"/>
                    <a:pt x="10307" y="3948"/>
                    <a:pt x="9678" y="3432"/>
                  </a:cubicBezTo>
                  <a:cubicBezTo>
                    <a:pt x="8732" y="2649"/>
                    <a:pt x="7769" y="1866"/>
                    <a:pt x="6794" y="1080"/>
                  </a:cubicBezTo>
                  <a:cubicBezTo>
                    <a:pt x="6143" y="556"/>
                    <a:pt x="5373" y="86"/>
                    <a:pt x="5076" y="23"/>
                  </a:cubicBezTo>
                  <a:cubicBezTo>
                    <a:pt x="5004" y="13"/>
                    <a:pt x="4911" y="7"/>
                    <a:pt x="4803" y="0"/>
                  </a:cubicBezTo>
                  <a:cubicBezTo>
                    <a:pt x="4599" y="5"/>
                    <a:pt x="4415" y="59"/>
                    <a:pt x="4341" y="147"/>
                  </a:cubicBezTo>
                  <a:cubicBezTo>
                    <a:pt x="4237" y="273"/>
                    <a:pt x="3772" y="484"/>
                    <a:pt x="3314" y="626"/>
                  </a:cubicBezTo>
                  <a:cubicBezTo>
                    <a:pt x="2852" y="769"/>
                    <a:pt x="2774" y="1245"/>
                    <a:pt x="3152" y="1684"/>
                  </a:cubicBezTo>
                  <a:cubicBezTo>
                    <a:pt x="3520" y="2127"/>
                    <a:pt x="3724" y="2624"/>
                    <a:pt x="3598" y="2795"/>
                  </a:cubicBezTo>
                  <a:cubicBezTo>
                    <a:pt x="3474" y="2967"/>
                    <a:pt x="3365" y="3189"/>
                    <a:pt x="3360" y="3289"/>
                  </a:cubicBezTo>
                  <a:cubicBezTo>
                    <a:pt x="3354" y="3389"/>
                    <a:pt x="3153" y="3497"/>
                    <a:pt x="2912" y="3529"/>
                  </a:cubicBezTo>
                  <a:cubicBezTo>
                    <a:pt x="2672" y="3565"/>
                    <a:pt x="2292" y="3787"/>
                    <a:pt x="2067" y="4026"/>
                  </a:cubicBezTo>
                  <a:cubicBezTo>
                    <a:pt x="1843" y="4266"/>
                    <a:pt x="1392" y="4370"/>
                    <a:pt x="1061" y="4262"/>
                  </a:cubicBezTo>
                  <a:cubicBezTo>
                    <a:pt x="730" y="4151"/>
                    <a:pt x="376" y="4060"/>
                    <a:pt x="274" y="4062"/>
                  </a:cubicBezTo>
                  <a:cubicBezTo>
                    <a:pt x="174" y="4065"/>
                    <a:pt x="87" y="4171"/>
                    <a:pt x="81" y="4301"/>
                  </a:cubicBezTo>
                  <a:cubicBezTo>
                    <a:pt x="76" y="4431"/>
                    <a:pt x="78" y="4660"/>
                    <a:pt x="89" y="4810"/>
                  </a:cubicBezTo>
                  <a:cubicBezTo>
                    <a:pt x="100" y="4960"/>
                    <a:pt x="79" y="5165"/>
                    <a:pt x="46" y="5266"/>
                  </a:cubicBezTo>
                  <a:cubicBezTo>
                    <a:pt x="13" y="5366"/>
                    <a:pt x="-8" y="5481"/>
                    <a:pt x="4" y="5518"/>
                  </a:cubicBezTo>
                  <a:cubicBezTo>
                    <a:pt x="15" y="5555"/>
                    <a:pt x="56" y="5569"/>
                    <a:pt x="104" y="5554"/>
                  </a:cubicBezTo>
                  <a:cubicBezTo>
                    <a:pt x="149" y="5535"/>
                    <a:pt x="200" y="5544"/>
                    <a:pt x="216" y="5571"/>
                  </a:cubicBezTo>
                  <a:cubicBezTo>
                    <a:pt x="236" y="5596"/>
                    <a:pt x="278" y="5595"/>
                    <a:pt x="319" y="5564"/>
                  </a:cubicBezTo>
                  <a:cubicBezTo>
                    <a:pt x="360" y="5532"/>
                    <a:pt x="453" y="5550"/>
                    <a:pt x="530" y="5594"/>
                  </a:cubicBezTo>
                  <a:cubicBezTo>
                    <a:pt x="606" y="5641"/>
                    <a:pt x="649" y="5688"/>
                    <a:pt x="632" y="5703"/>
                  </a:cubicBezTo>
                  <a:cubicBezTo>
                    <a:pt x="613" y="5717"/>
                    <a:pt x="720" y="5870"/>
                    <a:pt x="864" y="6049"/>
                  </a:cubicBezTo>
                  <a:cubicBezTo>
                    <a:pt x="1013" y="6223"/>
                    <a:pt x="1138" y="6433"/>
                    <a:pt x="1160" y="6507"/>
                  </a:cubicBezTo>
                  <a:cubicBezTo>
                    <a:pt x="1177" y="6582"/>
                    <a:pt x="1216" y="6657"/>
                    <a:pt x="1248" y="6674"/>
                  </a:cubicBezTo>
                  <a:cubicBezTo>
                    <a:pt x="1281" y="6689"/>
                    <a:pt x="1320" y="6763"/>
                    <a:pt x="1331" y="6835"/>
                  </a:cubicBezTo>
                  <a:cubicBezTo>
                    <a:pt x="1342" y="6908"/>
                    <a:pt x="1419" y="7022"/>
                    <a:pt x="1488" y="7096"/>
                  </a:cubicBezTo>
                  <a:cubicBezTo>
                    <a:pt x="1560" y="7167"/>
                    <a:pt x="1647" y="7226"/>
                    <a:pt x="1681" y="7231"/>
                  </a:cubicBezTo>
                  <a:cubicBezTo>
                    <a:pt x="1716" y="7236"/>
                    <a:pt x="1822" y="7381"/>
                    <a:pt x="1918" y="7556"/>
                  </a:cubicBezTo>
                  <a:cubicBezTo>
                    <a:pt x="2016" y="7730"/>
                    <a:pt x="2098" y="7920"/>
                    <a:pt x="2098" y="7976"/>
                  </a:cubicBezTo>
                  <a:cubicBezTo>
                    <a:pt x="2104" y="8032"/>
                    <a:pt x="2127" y="8128"/>
                    <a:pt x="2150" y="8190"/>
                  </a:cubicBezTo>
                  <a:cubicBezTo>
                    <a:pt x="2178" y="8251"/>
                    <a:pt x="2238" y="8312"/>
                    <a:pt x="2289" y="8323"/>
                  </a:cubicBezTo>
                  <a:cubicBezTo>
                    <a:pt x="2341" y="8330"/>
                    <a:pt x="2394" y="8416"/>
                    <a:pt x="2411" y="8504"/>
                  </a:cubicBezTo>
                  <a:cubicBezTo>
                    <a:pt x="2428" y="8592"/>
                    <a:pt x="2464" y="8706"/>
                    <a:pt x="2498" y="8753"/>
                  </a:cubicBezTo>
                  <a:cubicBezTo>
                    <a:pt x="2534" y="8798"/>
                    <a:pt x="2617" y="8870"/>
                    <a:pt x="2689" y="8906"/>
                  </a:cubicBezTo>
                  <a:cubicBezTo>
                    <a:pt x="2762" y="8941"/>
                    <a:pt x="2872" y="9108"/>
                    <a:pt x="2931" y="9277"/>
                  </a:cubicBezTo>
                  <a:cubicBezTo>
                    <a:pt x="2991" y="9446"/>
                    <a:pt x="3078" y="9612"/>
                    <a:pt x="3124" y="9647"/>
                  </a:cubicBezTo>
                  <a:cubicBezTo>
                    <a:pt x="3165" y="9687"/>
                    <a:pt x="3229" y="9798"/>
                    <a:pt x="3245" y="9904"/>
                  </a:cubicBezTo>
                  <a:cubicBezTo>
                    <a:pt x="3262" y="10012"/>
                    <a:pt x="3260" y="10134"/>
                    <a:pt x="3248" y="10181"/>
                  </a:cubicBezTo>
                  <a:cubicBezTo>
                    <a:pt x="3227" y="10225"/>
                    <a:pt x="3215" y="10304"/>
                    <a:pt x="3215" y="10355"/>
                  </a:cubicBezTo>
                  <a:cubicBezTo>
                    <a:pt x="3215" y="10405"/>
                    <a:pt x="3273" y="10489"/>
                    <a:pt x="3339" y="10544"/>
                  </a:cubicBezTo>
                  <a:cubicBezTo>
                    <a:pt x="3403" y="10601"/>
                    <a:pt x="3461" y="10689"/>
                    <a:pt x="3467" y="10749"/>
                  </a:cubicBezTo>
                  <a:cubicBezTo>
                    <a:pt x="3467" y="10808"/>
                    <a:pt x="3506" y="10881"/>
                    <a:pt x="3550" y="10909"/>
                  </a:cubicBezTo>
                  <a:cubicBezTo>
                    <a:pt x="3592" y="10942"/>
                    <a:pt x="3667" y="10919"/>
                    <a:pt x="3716" y="10867"/>
                  </a:cubicBezTo>
                  <a:cubicBezTo>
                    <a:pt x="3763" y="10814"/>
                    <a:pt x="3857" y="10821"/>
                    <a:pt x="3924" y="10883"/>
                  </a:cubicBezTo>
                  <a:cubicBezTo>
                    <a:pt x="3991" y="10945"/>
                    <a:pt x="4128" y="11036"/>
                    <a:pt x="4229" y="11087"/>
                  </a:cubicBezTo>
                  <a:cubicBezTo>
                    <a:pt x="4328" y="11140"/>
                    <a:pt x="4473" y="11256"/>
                    <a:pt x="4553" y="11346"/>
                  </a:cubicBezTo>
                  <a:cubicBezTo>
                    <a:pt x="4634" y="11435"/>
                    <a:pt x="4712" y="11574"/>
                    <a:pt x="4739" y="11651"/>
                  </a:cubicBezTo>
                  <a:cubicBezTo>
                    <a:pt x="4761" y="11727"/>
                    <a:pt x="4802" y="11794"/>
                    <a:pt x="4826" y="11800"/>
                  </a:cubicBezTo>
                  <a:cubicBezTo>
                    <a:pt x="4850" y="11805"/>
                    <a:pt x="4876" y="11881"/>
                    <a:pt x="4887" y="11969"/>
                  </a:cubicBezTo>
                  <a:cubicBezTo>
                    <a:pt x="4892" y="12057"/>
                    <a:pt x="4927" y="12153"/>
                    <a:pt x="4960" y="12181"/>
                  </a:cubicBezTo>
                  <a:cubicBezTo>
                    <a:pt x="4993" y="12208"/>
                    <a:pt x="5042" y="12331"/>
                    <a:pt x="5064" y="12450"/>
                  </a:cubicBezTo>
                  <a:cubicBezTo>
                    <a:pt x="5091" y="12570"/>
                    <a:pt x="5161" y="12717"/>
                    <a:pt x="5223" y="12778"/>
                  </a:cubicBezTo>
                  <a:cubicBezTo>
                    <a:pt x="5286" y="12837"/>
                    <a:pt x="5352" y="12988"/>
                    <a:pt x="5369" y="13111"/>
                  </a:cubicBezTo>
                  <a:cubicBezTo>
                    <a:pt x="5385" y="13234"/>
                    <a:pt x="5421" y="13364"/>
                    <a:pt x="5437" y="13403"/>
                  </a:cubicBezTo>
                  <a:cubicBezTo>
                    <a:pt x="5455" y="13441"/>
                    <a:pt x="5455" y="13567"/>
                    <a:pt x="5428" y="13680"/>
                  </a:cubicBezTo>
                  <a:cubicBezTo>
                    <a:pt x="5400" y="13794"/>
                    <a:pt x="5369" y="13911"/>
                    <a:pt x="5343" y="13932"/>
                  </a:cubicBezTo>
                  <a:cubicBezTo>
                    <a:pt x="5320" y="13956"/>
                    <a:pt x="5320" y="14020"/>
                    <a:pt x="5343" y="14076"/>
                  </a:cubicBezTo>
                  <a:cubicBezTo>
                    <a:pt x="5365" y="14132"/>
                    <a:pt x="5401" y="14282"/>
                    <a:pt x="5439" y="14406"/>
                  </a:cubicBezTo>
                  <a:cubicBezTo>
                    <a:pt x="5466" y="14533"/>
                    <a:pt x="5499" y="14745"/>
                    <a:pt x="5516" y="14878"/>
                  </a:cubicBezTo>
                  <a:cubicBezTo>
                    <a:pt x="5527" y="15010"/>
                    <a:pt x="5583" y="15164"/>
                    <a:pt x="5638" y="15219"/>
                  </a:cubicBezTo>
                  <a:cubicBezTo>
                    <a:pt x="5693" y="15274"/>
                    <a:pt x="5750" y="15357"/>
                    <a:pt x="5755" y="15407"/>
                  </a:cubicBezTo>
                  <a:cubicBezTo>
                    <a:pt x="5766" y="15455"/>
                    <a:pt x="5896" y="15650"/>
                    <a:pt x="6053" y="15836"/>
                  </a:cubicBezTo>
                  <a:cubicBezTo>
                    <a:pt x="6207" y="16024"/>
                    <a:pt x="6377" y="16194"/>
                    <a:pt x="6427" y="16221"/>
                  </a:cubicBezTo>
                  <a:cubicBezTo>
                    <a:pt x="6480" y="16244"/>
                    <a:pt x="6571" y="16270"/>
                    <a:pt x="6633" y="16275"/>
                  </a:cubicBezTo>
                  <a:cubicBezTo>
                    <a:pt x="6695" y="16277"/>
                    <a:pt x="6779" y="16339"/>
                    <a:pt x="6819" y="16407"/>
                  </a:cubicBezTo>
                  <a:cubicBezTo>
                    <a:pt x="6858" y="16476"/>
                    <a:pt x="6917" y="16529"/>
                    <a:pt x="6947" y="16529"/>
                  </a:cubicBezTo>
                  <a:cubicBezTo>
                    <a:pt x="6977" y="16529"/>
                    <a:pt x="7072" y="16599"/>
                    <a:pt x="7162" y="16684"/>
                  </a:cubicBezTo>
                  <a:cubicBezTo>
                    <a:pt x="7249" y="16770"/>
                    <a:pt x="7325" y="16882"/>
                    <a:pt x="7325" y="16934"/>
                  </a:cubicBezTo>
                  <a:cubicBezTo>
                    <a:pt x="7325" y="16986"/>
                    <a:pt x="7388" y="17042"/>
                    <a:pt x="7464" y="17056"/>
                  </a:cubicBezTo>
                  <a:cubicBezTo>
                    <a:pt x="7539" y="17069"/>
                    <a:pt x="7594" y="17123"/>
                    <a:pt x="7583" y="17173"/>
                  </a:cubicBezTo>
                  <a:cubicBezTo>
                    <a:pt x="7577" y="17224"/>
                    <a:pt x="7596" y="17279"/>
                    <a:pt x="7634" y="17296"/>
                  </a:cubicBezTo>
                  <a:cubicBezTo>
                    <a:pt x="7673" y="17312"/>
                    <a:pt x="7758" y="17571"/>
                    <a:pt x="7823" y="17867"/>
                  </a:cubicBezTo>
                  <a:cubicBezTo>
                    <a:pt x="7889" y="18164"/>
                    <a:pt x="7997" y="18437"/>
                    <a:pt x="8055" y="18485"/>
                  </a:cubicBezTo>
                  <a:cubicBezTo>
                    <a:pt x="8118" y="18526"/>
                    <a:pt x="8168" y="18635"/>
                    <a:pt x="8174" y="18724"/>
                  </a:cubicBezTo>
                  <a:cubicBezTo>
                    <a:pt x="8180" y="18812"/>
                    <a:pt x="8359" y="19095"/>
                    <a:pt x="8578" y="19354"/>
                  </a:cubicBezTo>
                  <a:cubicBezTo>
                    <a:pt x="8796" y="19611"/>
                    <a:pt x="9000" y="19818"/>
                    <a:pt x="9034" y="19818"/>
                  </a:cubicBezTo>
                  <a:cubicBezTo>
                    <a:pt x="9067" y="19816"/>
                    <a:pt x="9108" y="19938"/>
                    <a:pt x="9124" y="20085"/>
                  </a:cubicBezTo>
                  <a:cubicBezTo>
                    <a:pt x="9146" y="20230"/>
                    <a:pt x="9230" y="20376"/>
                    <a:pt x="9322" y="20403"/>
                  </a:cubicBezTo>
                  <a:cubicBezTo>
                    <a:pt x="9414" y="20433"/>
                    <a:pt x="9526" y="20597"/>
                    <a:pt x="9576" y="20770"/>
                  </a:cubicBezTo>
                  <a:cubicBezTo>
                    <a:pt x="9620" y="20944"/>
                    <a:pt x="9703" y="21091"/>
                    <a:pt x="9755" y="21094"/>
                  </a:cubicBezTo>
                  <a:cubicBezTo>
                    <a:pt x="9807" y="21096"/>
                    <a:pt x="9884" y="21119"/>
                    <a:pt x="9929" y="21139"/>
                  </a:cubicBezTo>
                  <a:cubicBezTo>
                    <a:pt x="9971" y="21161"/>
                    <a:pt x="10034" y="21119"/>
                    <a:pt x="10068" y="21050"/>
                  </a:cubicBezTo>
                  <a:cubicBezTo>
                    <a:pt x="10102" y="20980"/>
                    <a:pt x="10195" y="20872"/>
                    <a:pt x="10274" y="20811"/>
                  </a:cubicBezTo>
                  <a:cubicBezTo>
                    <a:pt x="10351" y="20750"/>
                    <a:pt x="10378" y="20606"/>
                    <a:pt x="10328" y="20493"/>
                  </a:cubicBezTo>
                  <a:cubicBezTo>
                    <a:pt x="10279" y="20378"/>
                    <a:pt x="10277" y="20153"/>
                    <a:pt x="10315" y="19989"/>
                  </a:cubicBezTo>
                  <a:cubicBezTo>
                    <a:pt x="10358" y="19825"/>
                    <a:pt x="10456" y="19658"/>
                    <a:pt x="10533" y="19616"/>
                  </a:cubicBezTo>
                  <a:cubicBezTo>
                    <a:pt x="10611" y="19575"/>
                    <a:pt x="10741" y="19612"/>
                    <a:pt x="10830" y="19688"/>
                  </a:cubicBezTo>
                  <a:cubicBezTo>
                    <a:pt x="10912" y="19772"/>
                    <a:pt x="11132" y="19834"/>
                    <a:pt x="11311" y="19839"/>
                  </a:cubicBezTo>
                  <a:cubicBezTo>
                    <a:pt x="11489" y="19842"/>
                    <a:pt x="11833" y="19931"/>
                    <a:pt x="12071" y="20043"/>
                  </a:cubicBezTo>
                  <a:cubicBezTo>
                    <a:pt x="12309" y="20155"/>
                    <a:pt x="12706" y="20355"/>
                    <a:pt x="12951" y="20493"/>
                  </a:cubicBezTo>
                  <a:cubicBezTo>
                    <a:pt x="13195" y="20630"/>
                    <a:pt x="13388" y="20992"/>
                    <a:pt x="13398" y="21296"/>
                  </a:cubicBezTo>
                  <a:cubicBezTo>
                    <a:pt x="13398" y="21600"/>
                    <a:pt x="13763" y="21274"/>
                    <a:pt x="14200" y="20572"/>
                  </a:cubicBezTo>
                  <a:cubicBezTo>
                    <a:pt x="14301" y="20401"/>
                    <a:pt x="14409" y="20234"/>
                    <a:pt x="14514" y="20065"/>
                  </a:cubicBezTo>
                  <a:cubicBezTo>
                    <a:pt x="14940" y="19365"/>
                    <a:pt x="15833" y="18585"/>
                    <a:pt x="16485" y="18324"/>
                  </a:cubicBezTo>
                  <a:cubicBezTo>
                    <a:pt x="17817" y="17791"/>
                    <a:pt x="19119" y="17265"/>
                    <a:pt x="20385" y="16740"/>
                  </a:cubicBezTo>
                  <a:cubicBezTo>
                    <a:pt x="20986" y="16493"/>
                    <a:pt x="21505" y="15712"/>
                    <a:pt x="21548" y="15006"/>
                  </a:cubicBezTo>
                  <a:cubicBezTo>
                    <a:pt x="21592" y="14300"/>
                    <a:pt x="21578" y="13508"/>
                    <a:pt x="21518" y="13248"/>
                  </a:cubicBezTo>
                  <a:cubicBezTo>
                    <a:pt x="21468" y="12984"/>
                    <a:pt x="21418" y="12769"/>
                    <a:pt x="21418" y="12765"/>
                  </a:cubicBezTo>
                  <a:cubicBezTo>
                    <a:pt x="21418" y="12761"/>
                    <a:pt x="21354" y="12842"/>
                    <a:pt x="21273" y="12943"/>
                  </a:cubicBezTo>
                  <a:cubicBezTo>
                    <a:pt x="21191" y="13043"/>
                    <a:pt x="20623" y="13026"/>
                    <a:pt x="20003" y="12899"/>
                  </a:cubicBezTo>
                  <a:cubicBezTo>
                    <a:pt x="19880" y="12873"/>
                    <a:pt x="19757" y="12850"/>
                    <a:pt x="19633" y="12823"/>
                  </a:cubicBezTo>
                  <a:cubicBezTo>
                    <a:pt x="19001" y="12695"/>
                    <a:pt x="18429" y="12380"/>
                    <a:pt x="18375" y="12123"/>
                  </a:cubicBezTo>
                  <a:cubicBezTo>
                    <a:pt x="18320" y="11865"/>
                    <a:pt x="18222" y="11576"/>
                    <a:pt x="18158" y="11483"/>
                  </a:cubicBezTo>
                  <a:cubicBezTo>
                    <a:pt x="18098" y="11387"/>
                    <a:pt x="18046" y="11218"/>
                    <a:pt x="18046" y="11105"/>
                  </a:cubicBezTo>
                  <a:cubicBezTo>
                    <a:pt x="18046" y="10990"/>
                    <a:pt x="18046" y="10895"/>
                    <a:pt x="18044" y="10895"/>
                  </a:cubicBezTo>
                  <a:cubicBezTo>
                    <a:pt x="18046" y="10895"/>
                    <a:pt x="18031" y="10900"/>
                    <a:pt x="18016" y="10906"/>
                  </a:cubicBezTo>
                  <a:cubicBezTo>
                    <a:pt x="18004" y="10914"/>
                    <a:pt x="17971" y="10877"/>
                    <a:pt x="17949" y="10824"/>
                  </a:cubicBezTo>
                  <a:cubicBezTo>
                    <a:pt x="17921" y="10772"/>
                    <a:pt x="17913" y="10701"/>
                    <a:pt x="17908" y="10669"/>
                  </a:cubicBezTo>
                  <a:cubicBezTo>
                    <a:pt x="17903" y="10636"/>
                    <a:pt x="17932" y="10581"/>
                    <a:pt x="17953" y="10542"/>
                  </a:cubicBezTo>
                  <a:cubicBezTo>
                    <a:pt x="17974" y="10505"/>
                    <a:pt x="17959" y="10480"/>
                    <a:pt x="17916" y="10483"/>
                  </a:cubicBezTo>
                  <a:cubicBezTo>
                    <a:pt x="17874" y="10488"/>
                    <a:pt x="17835" y="10477"/>
                    <a:pt x="17826" y="10462"/>
                  </a:cubicBezTo>
                  <a:cubicBezTo>
                    <a:pt x="17826" y="10446"/>
                    <a:pt x="17778" y="10436"/>
                    <a:pt x="17735" y="10433"/>
                  </a:cubicBezTo>
                  <a:cubicBezTo>
                    <a:pt x="17693" y="10433"/>
                    <a:pt x="17592" y="10380"/>
                    <a:pt x="17503" y="10326"/>
                  </a:cubicBezTo>
                  <a:cubicBezTo>
                    <a:pt x="17416" y="10268"/>
                    <a:pt x="17345" y="10191"/>
                    <a:pt x="17329" y="10161"/>
                  </a:cubicBezTo>
                  <a:cubicBezTo>
                    <a:pt x="17317" y="10130"/>
                    <a:pt x="17294" y="10111"/>
                    <a:pt x="17282" y="10124"/>
                  </a:cubicBezTo>
                  <a:cubicBezTo>
                    <a:pt x="17268" y="10136"/>
                    <a:pt x="17220" y="10081"/>
                    <a:pt x="17176" y="10003"/>
                  </a:cubicBezTo>
                  <a:cubicBezTo>
                    <a:pt x="17133" y="9924"/>
                    <a:pt x="17082" y="9790"/>
                    <a:pt x="17071" y="9705"/>
                  </a:cubicBezTo>
                  <a:cubicBezTo>
                    <a:pt x="17055" y="9619"/>
                    <a:pt x="16940" y="9372"/>
                    <a:pt x="16799" y="9161"/>
                  </a:cubicBezTo>
                  <a:cubicBezTo>
                    <a:pt x="16667" y="8945"/>
                    <a:pt x="16522" y="8705"/>
                    <a:pt x="16485" y="8625"/>
                  </a:cubicBezTo>
                  <a:cubicBezTo>
                    <a:pt x="16452" y="8542"/>
                    <a:pt x="16444" y="8487"/>
                    <a:pt x="16475" y="8497"/>
                  </a:cubicBezTo>
                  <a:cubicBezTo>
                    <a:pt x="16504" y="8510"/>
                    <a:pt x="16529" y="8485"/>
                    <a:pt x="16529" y="8448"/>
                  </a:cubicBezTo>
                  <a:cubicBezTo>
                    <a:pt x="16523" y="8411"/>
                    <a:pt x="16483" y="8247"/>
                    <a:pt x="16433" y="8084"/>
                  </a:cubicBezTo>
                  <a:cubicBezTo>
                    <a:pt x="16383" y="7922"/>
                    <a:pt x="16338" y="7759"/>
                    <a:pt x="16338" y="7722"/>
                  </a:cubicBezTo>
                  <a:cubicBezTo>
                    <a:pt x="16338" y="7684"/>
                    <a:pt x="16305" y="7600"/>
                    <a:pt x="16271" y="7533"/>
                  </a:cubicBezTo>
                  <a:cubicBezTo>
                    <a:pt x="16233" y="7468"/>
                    <a:pt x="16186" y="7414"/>
                    <a:pt x="16163" y="7411"/>
                  </a:cubicBezTo>
                  <a:cubicBezTo>
                    <a:pt x="16138" y="7411"/>
                    <a:pt x="16047" y="7279"/>
                    <a:pt x="15954" y="7121"/>
                  </a:cubicBezTo>
                  <a:cubicBezTo>
                    <a:pt x="15861" y="6963"/>
                    <a:pt x="15762" y="6830"/>
                    <a:pt x="15730" y="6826"/>
                  </a:cubicBezTo>
                  <a:cubicBezTo>
                    <a:pt x="15698" y="6822"/>
                    <a:pt x="15634" y="6777"/>
                    <a:pt x="15599" y="6721"/>
                  </a:cubicBezTo>
                  <a:cubicBezTo>
                    <a:pt x="15557" y="6668"/>
                    <a:pt x="15522" y="6602"/>
                    <a:pt x="15532" y="6582"/>
                  </a:cubicBezTo>
                  <a:cubicBezTo>
                    <a:pt x="15532" y="6559"/>
                    <a:pt x="15551" y="6538"/>
                    <a:pt x="15567" y="6533"/>
                  </a:cubicBezTo>
                  <a:cubicBezTo>
                    <a:pt x="15584" y="6529"/>
                    <a:pt x="15615" y="6540"/>
                    <a:pt x="15638" y="6558"/>
                  </a:cubicBezTo>
                  <a:cubicBezTo>
                    <a:pt x="15661" y="6576"/>
                    <a:pt x="15659" y="6558"/>
                    <a:pt x="15637" y="6517"/>
                  </a:cubicBezTo>
                  <a:cubicBezTo>
                    <a:pt x="15619" y="6473"/>
                    <a:pt x="15558" y="6431"/>
                    <a:pt x="15513" y="6421"/>
                  </a:cubicBezTo>
                  <a:cubicBezTo>
                    <a:pt x="15468" y="6410"/>
                    <a:pt x="15356" y="6373"/>
                    <a:pt x="15263" y="6344"/>
                  </a:cubicBezTo>
                  <a:cubicBezTo>
                    <a:pt x="15171" y="6312"/>
                    <a:pt x="15049" y="6148"/>
                    <a:pt x="14994" y="5977"/>
                  </a:cubicBezTo>
                  <a:cubicBezTo>
                    <a:pt x="14938" y="5806"/>
                    <a:pt x="14866" y="5599"/>
                    <a:pt x="14833" y="5518"/>
                  </a:cubicBezTo>
                  <a:cubicBezTo>
                    <a:pt x="14801" y="5436"/>
                    <a:pt x="14747" y="5349"/>
                    <a:pt x="14712" y="5325"/>
                  </a:cubicBezTo>
                  <a:cubicBezTo>
                    <a:pt x="14674" y="5303"/>
                    <a:pt x="14649" y="5236"/>
                    <a:pt x="14643" y="5180"/>
                  </a:cubicBezTo>
                  <a:cubicBezTo>
                    <a:pt x="14643" y="5124"/>
                    <a:pt x="14626" y="5090"/>
                    <a:pt x="14607" y="5101"/>
                  </a:cubicBezTo>
                  <a:cubicBezTo>
                    <a:pt x="14587" y="5110"/>
                    <a:pt x="14558" y="5095"/>
                    <a:pt x="14534" y="5063"/>
                  </a:cubicBezTo>
                  <a:cubicBezTo>
                    <a:pt x="14512" y="5030"/>
                    <a:pt x="14360" y="5075"/>
                    <a:pt x="14198" y="5164"/>
                  </a:cubicBezTo>
                  <a:cubicBezTo>
                    <a:pt x="14037" y="5257"/>
                    <a:pt x="13880" y="5225"/>
                    <a:pt x="13864" y="5101"/>
                  </a:cubicBezTo>
                  <a:close/>
                  <a:moveTo>
                    <a:pt x="13864" y="51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49" name="AutoShape 749"/>
            <p:cNvSpPr>
              <a:spLocks/>
            </p:cNvSpPr>
            <p:nvPr/>
          </p:nvSpPr>
          <p:spPr bwMode="auto">
            <a:xfrm>
              <a:off x="9283700" y="4076700"/>
              <a:ext cx="101600" cy="39688"/>
            </a:xfrm>
            <a:custGeom>
              <a:avLst/>
              <a:gdLst/>
              <a:ahLst/>
              <a:cxnLst/>
              <a:rect l="0" t="0" r="r" b="b"/>
              <a:pathLst>
                <a:path w="21600" h="21334">
                  <a:moveTo>
                    <a:pt x="21600" y="21300"/>
                  </a:moveTo>
                  <a:cubicBezTo>
                    <a:pt x="19731" y="20487"/>
                    <a:pt x="17648" y="19834"/>
                    <a:pt x="15720" y="19510"/>
                  </a:cubicBezTo>
                  <a:cubicBezTo>
                    <a:pt x="11583" y="18835"/>
                    <a:pt x="4527" y="10056"/>
                    <a:pt x="0" y="0"/>
                  </a:cubicBezTo>
                  <a:cubicBezTo>
                    <a:pt x="4527" y="10056"/>
                    <a:pt x="11356" y="18854"/>
                    <a:pt x="15217" y="19439"/>
                  </a:cubicBezTo>
                  <a:cubicBezTo>
                    <a:pt x="18101" y="19843"/>
                    <a:pt x="20432" y="21600"/>
                    <a:pt x="21600" y="21300"/>
                  </a:cubicBezTo>
                  <a:close/>
                  <a:moveTo>
                    <a:pt x="21600" y="213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0" name="AutoShape 750"/>
            <p:cNvSpPr>
              <a:spLocks/>
            </p:cNvSpPr>
            <p:nvPr/>
          </p:nvSpPr>
          <p:spPr bwMode="auto">
            <a:xfrm>
              <a:off x="9118600" y="3949700"/>
              <a:ext cx="7938" cy="0"/>
            </a:xfrm>
            <a:custGeom>
              <a:avLst/>
              <a:gdLst/>
              <a:ahLst/>
              <a:cxnLst/>
              <a:rect l="0" t="0" r="r" b="b"/>
              <a:pathLst>
                <a:path w="21600" h="20036">
                  <a:moveTo>
                    <a:pt x="20759" y="17428"/>
                  </a:moveTo>
                  <a:cubicBezTo>
                    <a:pt x="13886" y="3064"/>
                    <a:pt x="6815" y="-1564"/>
                    <a:pt x="0" y="447"/>
                  </a:cubicBezTo>
                  <a:cubicBezTo>
                    <a:pt x="8551" y="6270"/>
                    <a:pt x="15917" y="11604"/>
                    <a:pt x="21600" y="20036"/>
                  </a:cubicBezTo>
                  <a:cubicBezTo>
                    <a:pt x="21368" y="19592"/>
                    <a:pt x="20991" y="17844"/>
                    <a:pt x="20759" y="17428"/>
                  </a:cubicBezTo>
                  <a:close/>
                  <a:moveTo>
                    <a:pt x="20759" y="174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1" name="AutoShape 751"/>
            <p:cNvSpPr>
              <a:spLocks/>
            </p:cNvSpPr>
            <p:nvPr/>
          </p:nvSpPr>
          <p:spPr bwMode="auto">
            <a:xfrm>
              <a:off x="9537700" y="4267200"/>
              <a:ext cx="23813" cy="74613"/>
            </a:xfrm>
            <a:custGeom>
              <a:avLst/>
              <a:gdLst/>
              <a:ahLst/>
              <a:cxnLst/>
              <a:rect l="0" t="0" r="r" b="b"/>
              <a:pathLst>
                <a:path w="21250" h="21557">
                  <a:moveTo>
                    <a:pt x="7643" y="20411"/>
                  </a:moveTo>
                  <a:cubicBezTo>
                    <a:pt x="10304" y="20989"/>
                    <a:pt x="13349" y="21548"/>
                    <a:pt x="14641" y="21548"/>
                  </a:cubicBezTo>
                  <a:cubicBezTo>
                    <a:pt x="15911" y="21578"/>
                    <a:pt x="16992" y="21521"/>
                    <a:pt x="16925" y="21521"/>
                  </a:cubicBezTo>
                  <a:cubicBezTo>
                    <a:pt x="16925" y="21493"/>
                    <a:pt x="17588" y="21418"/>
                    <a:pt x="18460" y="21345"/>
                  </a:cubicBezTo>
                  <a:cubicBezTo>
                    <a:pt x="19287" y="21216"/>
                    <a:pt x="20513" y="19813"/>
                    <a:pt x="21010" y="18094"/>
                  </a:cubicBezTo>
                  <a:cubicBezTo>
                    <a:pt x="21495" y="16380"/>
                    <a:pt x="21219" y="14419"/>
                    <a:pt x="20392" y="13724"/>
                  </a:cubicBezTo>
                  <a:cubicBezTo>
                    <a:pt x="19420" y="13046"/>
                    <a:pt x="18405" y="12461"/>
                    <a:pt x="17875" y="12461"/>
                  </a:cubicBezTo>
                  <a:cubicBezTo>
                    <a:pt x="17357" y="12461"/>
                    <a:pt x="16441" y="11485"/>
                    <a:pt x="16274" y="10295"/>
                  </a:cubicBezTo>
                  <a:cubicBezTo>
                    <a:pt x="15944" y="9102"/>
                    <a:pt x="15922" y="8134"/>
                    <a:pt x="16263" y="8134"/>
                  </a:cubicBezTo>
                  <a:cubicBezTo>
                    <a:pt x="16638" y="8134"/>
                    <a:pt x="17136" y="7204"/>
                    <a:pt x="17775" y="6083"/>
                  </a:cubicBezTo>
                  <a:cubicBezTo>
                    <a:pt x="18106" y="4944"/>
                    <a:pt x="18416" y="3821"/>
                    <a:pt x="18051" y="3589"/>
                  </a:cubicBezTo>
                  <a:cubicBezTo>
                    <a:pt x="18051" y="3328"/>
                    <a:pt x="16970" y="3141"/>
                    <a:pt x="16318" y="3141"/>
                  </a:cubicBezTo>
                  <a:cubicBezTo>
                    <a:pt x="15668" y="3141"/>
                    <a:pt x="15049" y="2829"/>
                    <a:pt x="14873" y="2458"/>
                  </a:cubicBezTo>
                  <a:cubicBezTo>
                    <a:pt x="14707" y="2086"/>
                    <a:pt x="13581" y="1362"/>
                    <a:pt x="12136" y="899"/>
                  </a:cubicBezTo>
                  <a:cubicBezTo>
                    <a:pt x="10646" y="444"/>
                    <a:pt x="9134" y="1"/>
                    <a:pt x="8526" y="1"/>
                  </a:cubicBezTo>
                  <a:cubicBezTo>
                    <a:pt x="7941" y="-22"/>
                    <a:pt x="7379" y="260"/>
                    <a:pt x="7069" y="566"/>
                  </a:cubicBezTo>
                  <a:cubicBezTo>
                    <a:pt x="7069" y="888"/>
                    <a:pt x="6175" y="1131"/>
                    <a:pt x="5579" y="1177"/>
                  </a:cubicBezTo>
                  <a:cubicBezTo>
                    <a:pt x="5006" y="1201"/>
                    <a:pt x="4553" y="1456"/>
                    <a:pt x="4553" y="1743"/>
                  </a:cubicBezTo>
                  <a:cubicBezTo>
                    <a:pt x="4741" y="2031"/>
                    <a:pt x="4056" y="2398"/>
                    <a:pt x="3637" y="2602"/>
                  </a:cubicBezTo>
                  <a:cubicBezTo>
                    <a:pt x="2996" y="2745"/>
                    <a:pt x="2930" y="3390"/>
                    <a:pt x="3272" y="3945"/>
                  </a:cubicBezTo>
                  <a:cubicBezTo>
                    <a:pt x="3438" y="4509"/>
                    <a:pt x="3582" y="4981"/>
                    <a:pt x="3228" y="4953"/>
                  </a:cubicBezTo>
                  <a:cubicBezTo>
                    <a:pt x="2864" y="4953"/>
                    <a:pt x="3084" y="5811"/>
                    <a:pt x="3427" y="6876"/>
                  </a:cubicBezTo>
                  <a:cubicBezTo>
                    <a:pt x="3923" y="7940"/>
                    <a:pt x="3946" y="8701"/>
                    <a:pt x="3515" y="8561"/>
                  </a:cubicBezTo>
                  <a:cubicBezTo>
                    <a:pt x="3151" y="8414"/>
                    <a:pt x="2224" y="8345"/>
                    <a:pt x="1595" y="8311"/>
                  </a:cubicBezTo>
                  <a:cubicBezTo>
                    <a:pt x="944" y="8311"/>
                    <a:pt x="226" y="9165"/>
                    <a:pt x="61" y="10222"/>
                  </a:cubicBezTo>
                  <a:cubicBezTo>
                    <a:pt x="-105" y="11277"/>
                    <a:pt x="83" y="12555"/>
                    <a:pt x="414" y="13064"/>
                  </a:cubicBezTo>
                  <a:cubicBezTo>
                    <a:pt x="900" y="13562"/>
                    <a:pt x="1440" y="14251"/>
                    <a:pt x="2102" y="14521"/>
                  </a:cubicBezTo>
                  <a:cubicBezTo>
                    <a:pt x="2721" y="14794"/>
                    <a:pt x="2985" y="15636"/>
                    <a:pt x="3140" y="16357"/>
                  </a:cubicBezTo>
                  <a:cubicBezTo>
                    <a:pt x="3140" y="17068"/>
                    <a:pt x="2887" y="17749"/>
                    <a:pt x="2477" y="17859"/>
                  </a:cubicBezTo>
                  <a:cubicBezTo>
                    <a:pt x="2146" y="17994"/>
                    <a:pt x="2036" y="18339"/>
                    <a:pt x="2378" y="18672"/>
                  </a:cubicBezTo>
                  <a:cubicBezTo>
                    <a:pt x="2864" y="18984"/>
                    <a:pt x="5028" y="19806"/>
                    <a:pt x="7643" y="20411"/>
                  </a:cubicBezTo>
                  <a:close/>
                  <a:moveTo>
                    <a:pt x="7643" y="204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2" name="AutoShape 752"/>
            <p:cNvSpPr>
              <a:spLocks/>
            </p:cNvSpPr>
            <p:nvPr/>
          </p:nvSpPr>
          <p:spPr bwMode="auto">
            <a:xfrm>
              <a:off x="9563100" y="4267200"/>
              <a:ext cx="142875" cy="158750"/>
            </a:xfrm>
            <a:custGeom>
              <a:avLst/>
              <a:gdLst/>
              <a:ahLst/>
              <a:cxnLst/>
              <a:rect l="0" t="0" r="r" b="b"/>
              <a:pathLst>
                <a:path w="21575" h="21379">
                  <a:moveTo>
                    <a:pt x="1675" y="16997"/>
                  </a:moveTo>
                  <a:cubicBezTo>
                    <a:pt x="1953" y="18271"/>
                    <a:pt x="4863" y="19831"/>
                    <a:pt x="8084" y="20466"/>
                  </a:cubicBezTo>
                  <a:cubicBezTo>
                    <a:pt x="8713" y="20601"/>
                    <a:pt x="9343" y="20714"/>
                    <a:pt x="9970" y="20841"/>
                  </a:cubicBezTo>
                  <a:cubicBezTo>
                    <a:pt x="13128" y="21470"/>
                    <a:pt x="16017" y="21556"/>
                    <a:pt x="16435" y="21059"/>
                  </a:cubicBezTo>
                  <a:cubicBezTo>
                    <a:pt x="16847" y="20557"/>
                    <a:pt x="17961" y="16969"/>
                    <a:pt x="18877" y="13093"/>
                  </a:cubicBezTo>
                  <a:cubicBezTo>
                    <a:pt x="18886" y="13049"/>
                    <a:pt x="18899" y="13005"/>
                    <a:pt x="18908" y="12962"/>
                  </a:cubicBezTo>
                  <a:cubicBezTo>
                    <a:pt x="18990" y="12608"/>
                    <a:pt x="19086" y="12257"/>
                    <a:pt x="19156" y="11901"/>
                  </a:cubicBezTo>
                  <a:cubicBezTo>
                    <a:pt x="19964" y="8525"/>
                    <a:pt x="20747" y="5660"/>
                    <a:pt x="21087" y="4969"/>
                  </a:cubicBezTo>
                  <a:cubicBezTo>
                    <a:pt x="21135" y="4870"/>
                    <a:pt x="21175" y="4816"/>
                    <a:pt x="21205" y="4811"/>
                  </a:cubicBezTo>
                  <a:cubicBezTo>
                    <a:pt x="21438" y="4773"/>
                    <a:pt x="21600" y="4417"/>
                    <a:pt x="21572" y="4020"/>
                  </a:cubicBezTo>
                  <a:cubicBezTo>
                    <a:pt x="21542" y="3618"/>
                    <a:pt x="21468" y="3117"/>
                    <a:pt x="21436" y="2900"/>
                  </a:cubicBezTo>
                  <a:cubicBezTo>
                    <a:pt x="21406" y="2680"/>
                    <a:pt x="21268" y="2538"/>
                    <a:pt x="21162" y="2585"/>
                  </a:cubicBezTo>
                  <a:cubicBezTo>
                    <a:pt x="21046" y="2616"/>
                    <a:pt x="20904" y="2615"/>
                    <a:pt x="20845" y="2536"/>
                  </a:cubicBezTo>
                  <a:cubicBezTo>
                    <a:pt x="20770" y="2469"/>
                    <a:pt x="20729" y="2364"/>
                    <a:pt x="20729" y="2316"/>
                  </a:cubicBezTo>
                  <a:cubicBezTo>
                    <a:pt x="20729" y="2269"/>
                    <a:pt x="20641" y="2227"/>
                    <a:pt x="20531" y="2214"/>
                  </a:cubicBezTo>
                  <a:cubicBezTo>
                    <a:pt x="20423" y="2202"/>
                    <a:pt x="20279" y="1732"/>
                    <a:pt x="20250" y="1164"/>
                  </a:cubicBezTo>
                  <a:cubicBezTo>
                    <a:pt x="20194" y="600"/>
                    <a:pt x="20041" y="73"/>
                    <a:pt x="19884" y="15"/>
                  </a:cubicBezTo>
                  <a:cubicBezTo>
                    <a:pt x="19727" y="-44"/>
                    <a:pt x="19608" y="81"/>
                    <a:pt x="19608" y="314"/>
                  </a:cubicBezTo>
                  <a:cubicBezTo>
                    <a:pt x="19608" y="545"/>
                    <a:pt x="19567" y="865"/>
                    <a:pt x="19496" y="1017"/>
                  </a:cubicBezTo>
                  <a:cubicBezTo>
                    <a:pt x="19416" y="1168"/>
                    <a:pt x="18769" y="1774"/>
                    <a:pt x="18026" y="2351"/>
                  </a:cubicBezTo>
                  <a:cubicBezTo>
                    <a:pt x="17278" y="2930"/>
                    <a:pt x="16681" y="3762"/>
                    <a:pt x="16681" y="4198"/>
                  </a:cubicBezTo>
                  <a:cubicBezTo>
                    <a:pt x="16709" y="4632"/>
                    <a:pt x="16125" y="5624"/>
                    <a:pt x="15433" y="6401"/>
                  </a:cubicBezTo>
                  <a:cubicBezTo>
                    <a:pt x="14758" y="7191"/>
                    <a:pt x="14096" y="8010"/>
                    <a:pt x="13964" y="8232"/>
                  </a:cubicBezTo>
                  <a:cubicBezTo>
                    <a:pt x="13876" y="8468"/>
                    <a:pt x="13846" y="8694"/>
                    <a:pt x="13954" y="8742"/>
                  </a:cubicBezTo>
                  <a:cubicBezTo>
                    <a:pt x="14060" y="8788"/>
                    <a:pt x="14210" y="8991"/>
                    <a:pt x="14269" y="9188"/>
                  </a:cubicBezTo>
                  <a:cubicBezTo>
                    <a:pt x="14329" y="9387"/>
                    <a:pt x="14130" y="9895"/>
                    <a:pt x="13820" y="10331"/>
                  </a:cubicBezTo>
                  <a:cubicBezTo>
                    <a:pt x="13512" y="10767"/>
                    <a:pt x="13150" y="10948"/>
                    <a:pt x="13042" y="10743"/>
                  </a:cubicBezTo>
                  <a:cubicBezTo>
                    <a:pt x="12928" y="10532"/>
                    <a:pt x="12734" y="10429"/>
                    <a:pt x="12643" y="10536"/>
                  </a:cubicBezTo>
                  <a:cubicBezTo>
                    <a:pt x="12540" y="10629"/>
                    <a:pt x="12322" y="10717"/>
                    <a:pt x="12165" y="10705"/>
                  </a:cubicBezTo>
                  <a:cubicBezTo>
                    <a:pt x="12003" y="10705"/>
                    <a:pt x="11854" y="10916"/>
                    <a:pt x="11910" y="11169"/>
                  </a:cubicBezTo>
                  <a:cubicBezTo>
                    <a:pt x="11910" y="11425"/>
                    <a:pt x="11889" y="11661"/>
                    <a:pt x="11813" y="11679"/>
                  </a:cubicBezTo>
                  <a:cubicBezTo>
                    <a:pt x="11742" y="11710"/>
                    <a:pt x="11628" y="11840"/>
                    <a:pt x="11574" y="11985"/>
                  </a:cubicBezTo>
                  <a:cubicBezTo>
                    <a:pt x="11518" y="12132"/>
                    <a:pt x="11171" y="12320"/>
                    <a:pt x="10802" y="12401"/>
                  </a:cubicBezTo>
                  <a:cubicBezTo>
                    <a:pt x="10434" y="12484"/>
                    <a:pt x="9912" y="12574"/>
                    <a:pt x="9645" y="12610"/>
                  </a:cubicBezTo>
                  <a:cubicBezTo>
                    <a:pt x="9380" y="12662"/>
                    <a:pt x="9058" y="12522"/>
                    <a:pt x="8946" y="12337"/>
                  </a:cubicBezTo>
                  <a:cubicBezTo>
                    <a:pt x="8832" y="12146"/>
                    <a:pt x="8530" y="12010"/>
                    <a:pt x="8280" y="12036"/>
                  </a:cubicBezTo>
                  <a:cubicBezTo>
                    <a:pt x="8032" y="12046"/>
                    <a:pt x="7719" y="12033"/>
                    <a:pt x="7633" y="11939"/>
                  </a:cubicBezTo>
                  <a:cubicBezTo>
                    <a:pt x="7519" y="11875"/>
                    <a:pt x="7293" y="11857"/>
                    <a:pt x="7107" y="11888"/>
                  </a:cubicBezTo>
                  <a:cubicBezTo>
                    <a:pt x="6924" y="11929"/>
                    <a:pt x="6413" y="11884"/>
                    <a:pt x="5984" y="11743"/>
                  </a:cubicBezTo>
                  <a:cubicBezTo>
                    <a:pt x="5544" y="11621"/>
                    <a:pt x="4751" y="11920"/>
                    <a:pt x="4242" y="12438"/>
                  </a:cubicBezTo>
                  <a:cubicBezTo>
                    <a:pt x="3695" y="12925"/>
                    <a:pt x="3123" y="13306"/>
                    <a:pt x="2917" y="13231"/>
                  </a:cubicBezTo>
                  <a:cubicBezTo>
                    <a:pt x="2708" y="13161"/>
                    <a:pt x="2380" y="13064"/>
                    <a:pt x="2182" y="13041"/>
                  </a:cubicBezTo>
                  <a:cubicBezTo>
                    <a:pt x="1987" y="13016"/>
                    <a:pt x="1669" y="13097"/>
                    <a:pt x="1453" y="13193"/>
                  </a:cubicBezTo>
                  <a:cubicBezTo>
                    <a:pt x="1252" y="13309"/>
                    <a:pt x="979" y="12785"/>
                    <a:pt x="923" y="12042"/>
                  </a:cubicBezTo>
                  <a:cubicBezTo>
                    <a:pt x="869" y="11297"/>
                    <a:pt x="687" y="10819"/>
                    <a:pt x="571" y="10960"/>
                  </a:cubicBezTo>
                  <a:cubicBezTo>
                    <a:pt x="463" y="11105"/>
                    <a:pt x="295" y="11159"/>
                    <a:pt x="188" y="11076"/>
                  </a:cubicBezTo>
                  <a:cubicBezTo>
                    <a:pt x="88" y="10997"/>
                    <a:pt x="0" y="11389"/>
                    <a:pt x="0" y="11955"/>
                  </a:cubicBezTo>
                  <a:cubicBezTo>
                    <a:pt x="0" y="12518"/>
                    <a:pt x="263" y="13355"/>
                    <a:pt x="569" y="13829"/>
                  </a:cubicBezTo>
                  <a:cubicBezTo>
                    <a:pt x="897" y="14290"/>
                    <a:pt x="1397" y="15720"/>
                    <a:pt x="1675" y="16997"/>
                  </a:cubicBezTo>
                  <a:close/>
                  <a:moveTo>
                    <a:pt x="1675" y="169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3" name="AutoShape 753"/>
            <p:cNvSpPr>
              <a:spLocks/>
            </p:cNvSpPr>
            <p:nvPr/>
          </p:nvSpPr>
          <p:spPr bwMode="auto">
            <a:xfrm>
              <a:off x="5994400" y="3556000"/>
              <a:ext cx="12700" cy="7938"/>
            </a:xfrm>
            <a:custGeom>
              <a:avLst/>
              <a:gdLst/>
              <a:ahLst/>
              <a:cxnLst/>
              <a:rect l="0" t="0" r="r" b="b"/>
              <a:pathLst>
                <a:path w="20437" h="21034">
                  <a:moveTo>
                    <a:pt x="5256" y="28"/>
                  </a:moveTo>
                  <a:cubicBezTo>
                    <a:pt x="2156" y="-401"/>
                    <a:pt x="-132" y="4148"/>
                    <a:pt x="6" y="9978"/>
                  </a:cubicBezTo>
                  <a:cubicBezTo>
                    <a:pt x="134" y="15839"/>
                    <a:pt x="3706" y="20998"/>
                    <a:pt x="7729" y="20998"/>
                  </a:cubicBezTo>
                  <a:cubicBezTo>
                    <a:pt x="11753" y="21199"/>
                    <a:pt x="16900" y="20542"/>
                    <a:pt x="19217" y="19745"/>
                  </a:cubicBezTo>
                  <a:cubicBezTo>
                    <a:pt x="21468" y="18661"/>
                    <a:pt x="20508" y="14227"/>
                    <a:pt x="17121" y="9395"/>
                  </a:cubicBezTo>
                  <a:cubicBezTo>
                    <a:pt x="13735" y="4589"/>
                    <a:pt x="8357" y="256"/>
                    <a:pt x="5256" y="28"/>
                  </a:cubicBezTo>
                  <a:close/>
                  <a:moveTo>
                    <a:pt x="5256" y="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4" name="AutoShape 754"/>
            <p:cNvSpPr>
              <a:spLocks/>
            </p:cNvSpPr>
            <p:nvPr/>
          </p:nvSpPr>
          <p:spPr bwMode="auto">
            <a:xfrm>
              <a:off x="6057900" y="3543300"/>
              <a:ext cx="4763" cy="3175"/>
            </a:xfrm>
            <a:custGeom>
              <a:avLst/>
              <a:gdLst/>
              <a:ahLst/>
              <a:cxnLst/>
              <a:rect l="0" t="0" r="r" b="b"/>
              <a:pathLst>
                <a:path w="19590" h="19242">
                  <a:moveTo>
                    <a:pt x="7711" y="14398"/>
                  </a:moveTo>
                  <a:cubicBezTo>
                    <a:pt x="13722" y="20015"/>
                    <a:pt x="18651" y="20759"/>
                    <a:pt x="19565" y="16569"/>
                  </a:cubicBezTo>
                  <a:cubicBezTo>
                    <a:pt x="19903" y="12250"/>
                    <a:pt x="16802" y="6448"/>
                    <a:pt x="12765" y="3001"/>
                  </a:cubicBezTo>
                  <a:cubicBezTo>
                    <a:pt x="8603" y="-49"/>
                    <a:pt x="3357" y="-841"/>
                    <a:pt x="895" y="933"/>
                  </a:cubicBezTo>
                  <a:cubicBezTo>
                    <a:pt x="-1697" y="2127"/>
                    <a:pt x="1574" y="9015"/>
                    <a:pt x="7711" y="14398"/>
                  </a:cubicBezTo>
                  <a:close/>
                  <a:moveTo>
                    <a:pt x="7711" y="143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5" name="AutoShape 755"/>
            <p:cNvSpPr>
              <a:spLocks/>
            </p:cNvSpPr>
            <p:nvPr/>
          </p:nvSpPr>
          <p:spPr bwMode="auto">
            <a:xfrm>
              <a:off x="6007100" y="3543300"/>
              <a:ext cx="4763" cy="3175"/>
            </a:xfrm>
            <a:custGeom>
              <a:avLst/>
              <a:gdLst/>
              <a:ahLst/>
              <a:cxnLst/>
              <a:rect l="0" t="0" r="r" b="b"/>
              <a:pathLst>
                <a:path w="17789" h="18326">
                  <a:moveTo>
                    <a:pt x="3009" y="191"/>
                  </a:moveTo>
                  <a:cubicBezTo>
                    <a:pt x="-2332" y="-1110"/>
                    <a:pt x="-385" y="4406"/>
                    <a:pt x="7434" y="11886"/>
                  </a:cubicBezTo>
                  <a:cubicBezTo>
                    <a:pt x="14994" y="19710"/>
                    <a:pt x="19268" y="20490"/>
                    <a:pt x="17319" y="13761"/>
                  </a:cubicBezTo>
                  <a:cubicBezTo>
                    <a:pt x="14848" y="7440"/>
                    <a:pt x="8416" y="1492"/>
                    <a:pt x="3009" y="191"/>
                  </a:cubicBezTo>
                  <a:close/>
                  <a:moveTo>
                    <a:pt x="3009" y="1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6" name="AutoShape 756"/>
            <p:cNvSpPr>
              <a:spLocks/>
            </p:cNvSpPr>
            <p:nvPr/>
          </p:nvSpPr>
          <p:spPr bwMode="auto">
            <a:xfrm>
              <a:off x="6121400" y="3594100"/>
              <a:ext cx="14288" cy="6350"/>
            </a:xfrm>
            <a:custGeom>
              <a:avLst/>
              <a:gdLst/>
              <a:ahLst/>
              <a:cxnLst/>
              <a:rect l="0" t="0" r="r" b="b"/>
              <a:pathLst>
                <a:path w="20897" h="20503">
                  <a:moveTo>
                    <a:pt x="14235" y="256"/>
                  </a:moveTo>
                  <a:cubicBezTo>
                    <a:pt x="12257" y="-463"/>
                    <a:pt x="8032" y="341"/>
                    <a:pt x="4919" y="2547"/>
                  </a:cubicBezTo>
                  <a:cubicBezTo>
                    <a:pt x="1755" y="4488"/>
                    <a:pt x="-320" y="8733"/>
                    <a:pt x="40" y="11876"/>
                  </a:cubicBezTo>
                  <a:cubicBezTo>
                    <a:pt x="392" y="15049"/>
                    <a:pt x="4542" y="18713"/>
                    <a:pt x="9062" y="19931"/>
                  </a:cubicBezTo>
                  <a:cubicBezTo>
                    <a:pt x="13589" y="21137"/>
                    <a:pt x="18346" y="20366"/>
                    <a:pt x="19752" y="18277"/>
                  </a:cubicBezTo>
                  <a:cubicBezTo>
                    <a:pt x="21183" y="16323"/>
                    <a:pt x="21280" y="11407"/>
                    <a:pt x="19996" y="8014"/>
                  </a:cubicBezTo>
                  <a:cubicBezTo>
                    <a:pt x="18527" y="5004"/>
                    <a:pt x="16132" y="1376"/>
                    <a:pt x="14235" y="256"/>
                  </a:cubicBezTo>
                  <a:close/>
                  <a:moveTo>
                    <a:pt x="14235" y="2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7" name="AutoShape 757"/>
            <p:cNvSpPr>
              <a:spLocks/>
            </p:cNvSpPr>
            <p:nvPr/>
          </p:nvSpPr>
          <p:spPr bwMode="auto">
            <a:xfrm>
              <a:off x="6515100" y="3873500"/>
              <a:ext cx="14288" cy="7938"/>
            </a:xfrm>
            <a:custGeom>
              <a:avLst/>
              <a:gdLst/>
              <a:ahLst/>
              <a:cxnLst/>
              <a:rect l="0" t="0" r="r" b="b"/>
              <a:pathLst>
                <a:path w="20236" h="20125">
                  <a:moveTo>
                    <a:pt x="18188" y="19061"/>
                  </a:moveTo>
                  <a:cubicBezTo>
                    <a:pt x="20568" y="17368"/>
                    <a:pt x="20872" y="11905"/>
                    <a:pt x="19105" y="6937"/>
                  </a:cubicBezTo>
                  <a:cubicBezTo>
                    <a:pt x="17154" y="2214"/>
                    <a:pt x="11819" y="-942"/>
                    <a:pt x="7027" y="254"/>
                  </a:cubicBezTo>
                  <a:cubicBezTo>
                    <a:pt x="2219" y="1436"/>
                    <a:pt x="-728" y="4925"/>
                    <a:pt x="156" y="8295"/>
                  </a:cubicBezTo>
                  <a:cubicBezTo>
                    <a:pt x="1127" y="11583"/>
                    <a:pt x="4710" y="15891"/>
                    <a:pt x="7974" y="18255"/>
                  </a:cubicBezTo>
                  <a:cubicBezTo>
                    <a:pt x="11261" y="20510"/>
                    <a:pt x="15823" y="20658"/>
                    <a:pt x="18188" y="19061"/>
                  </a:cubicBezTo>
                  <a:close/>
                  <a:moveTo>
                    <a:pt x="18188" y="190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8" name="AutoShape 758"/>
            <p:cNvSpPr>
              <a:spLocks/>
            </p:cNvSpPr>
            <p:nvPr/>
          </p:nvSpPr>
          <p:spPr bwMode="auto">
            <a:xfrm>
              <a:off x="6464300" y="4165600"/>
              <a:ext cx="6350" cy="7938"/>
            </a:xfrm>
            <a:custGeom>
              <a:avLst/>
              <a:gdLst/>
              <a:ahLst/>
              <a:cxnLst/>
              <a:rect l="0" t="0" r="r" b="b"/>
              <a:pathLst>
                <a:path w="20627" h="20475">
                  <a:moveTo>
                    <a:pt x="5014" y="3315"/>
                  </a:moveTo>
                  <a:cubicBezTo>
                    <a:pt x="1062" y="5723"/>
                    <a:pt x="-973" y="10096"/>
                    <a:pt x="457" y="13174"/>
                  </a:cubicBezTo>
                  <a:cubicBezTo>
                    <a:pt x="2020" y="16152"/>
                    <a:pt x="4845" y="19297"/>
                    <a:pt x="6850" y="20103"/>
                  </a:cubicBezTo>
                  <a:cubicBezTo>
                    <a:pt x="8800" y="21021"/>
                    <a:pt x="12751" y="20131"/>
                    <a:pt x="15581" y="18600"/>
                  </a:cubicBezTo>
                  <a:cubicBezTo>
                    <a:pt x="18306" y="16987"/>
                    <a:pt x="20373" y="12477"/>
                    <a:pt x="20627" y="8579"/>
                  </a:cubicBezTo>
                  <a:cubicBezTo>
                    <a:pt x="20627" y="4642"/>
                    <a:pt x="18743" y="978"/>
                    <a:pt x="16455" y="228"/>
                  </a:cubicBezTo>
                  <a:cubicBezTo>
                    <a:pt x="14181" y="-579"/>
                    <a:pt x="8817" y="829"/>
                    <a:pt x="5014" y="3315"/>
                  </a:cubicBezTo>
                  <a:close/>
                  <a:moveTo>
                    <a:pt x="5014" y="331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59" name="AutoShape 759"/>
            <p:cNvSpPr>
              <a:spLocks/>
            </p:cNvSpPr>
            <p:nvPr/>
          </p:nvSpPr>
          <p:spPr bwMode="auto">
            <a:xfrm>
              <a:off x="6477000" y="4102100"/>
              <a:ext cx="7938" cy="19050"/>
            </a:xfrm>
            <a:custGeom>
              <a:avLst/>
              <a:gdLst/>
              <a:ahLst/>
              <a:cxnLst/>
              <a:rect l="0" t="0" r="r" b="b"/>
              <a:pathLst>
                <a:path w="20681" h="20478">
                  <a:moveTo>
                    <a:pt x="326" y="1446"/>
                  </a:moveTo>
                  <a:cubicBezTo>
                    <a:pt x="-532" y="3200"/>
                    <a:pt x="365" y="5965"/>
                    <a:pt x="2288" y="7617"/>
                  </a:cubicBezTo>
                  <a:cubicBezTo>
                    <a:pt x="4279" y="9258"/>
                    <a:pt x="5828" y="13204"/>
                    <a:pt x="6231" y="16384"/>
                  </a:cubicBezTo>
                  <a:cubicBezTo>
                    <a:pt x="6644" y="19576"/>
                    <a:pt x="9536" y="21267"/>
                    <a:pt x="13130" y="20116"/>
                  </a:cubicBezTo>
                  <a:cubicBezTo>
                    <a:pt x="16865" y="19048"/>
                    <a:pt x="20252" y="14580"/>
                    <a:pt x="20640" y="10364"/>
                  </a:cubicBezTo>
                  <a:cubicBezTo>
                    <a:pt x="21068" y="6147"/>
                    <a:pt x="18123" y="1779"/>
                    <a:pt x="13849" y="667"/>
                  </a:cubicBezTo>
                  <a:cubicBezTo>
                    <a:pt x="9439" y="-333"/>
                    <a:pt x="1195" y="-313"/>
                    <a:pt x="326" y="1446"/>
                  </a:cubicBezTo>
                  <a:close/>
                  <a:moveTo>
                    <a:pt x="326" y="14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0" name="AutoShape 760"/>
            <p:cNvSpPr>
              <a:spLocks/>
            </p:cNvSpPr>
            <p:nvPr/>
          </p:nvSpPr>
          <p:spPr bwMode="auto">
            <a:xfrm>
              <a:off x="6642100" y="4114800"/>
              <a:ext cx="25400" cy="26988"/>
            </a:xfrm>
            <a:custGeom>
              <a:avLst/>
              <a:gdLst/>
              <a:ahLst/>
              <a:cxnLst/>
              <a:rect l="0" t="0" r="r" b="b"/>
              <a:pathLst>
                <a:path w="20735" h="20655">
                  <a:moveTo>
                    <a:pt x="14041" y="942"/>
                  </a:moveTo>
                  <a:cubicBezTo>
                    <a:pt x="10500" y="2610"/>
                    <a:pt x="7461" y="5242"/>
                    <a:pt x="7320" y="6707"/>
                  </a:cubicBezTo>
                  <a:cubicBezTo>
                    <a:pt x="7106" y="8164"/>
                    <a:pt x="5100" y="11805"/>
                    <a:pt x="2533" y="14582"/>
                  </a:cubicBezTo>
                  <a:cubicBezTo>
                    <a:pt x="63" y="17458"/>
                    <a:pt x="-724" y="20013"/>
                    <a:pt x="724" y="20493"/>
                  </a:cubicBezTo>
                  <a:cubicBezTo>
                    <a:pt x="2205" y="20841"/>
                    <a:pt x="5328" y="20601"/>
                    <a:pt x="7720" y="20038"/>
                  </a:cubicBezTo>
                  <a:cubicBezTo>
                    <a:pt x="10091" y="19459"/>
                    <a:pt x="13987" y="16203"/>
                    <a:pt x="16497" y="12994"/>
                  </a:cubicBezTo>
                  <a:cubicBezTo>
                    <a:pt x="19028" y="9766"/>
                    <a:pt x="20876" y="4997"/>
                    <a:pt x="20727" y="2450"/>
                  </a:cubicBezTo>
                  <a:cubicBezTo>
                    <a:pt x="20577" y="-96"/>
                    <a:pt x="17568" y="-759"/>
                    <a:pt x="14041" y="942"/>
                  </a:cubicBezTo>
                  <a:close/>
                  <a:moveTo>
                    <a:pt x="14041" y="9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1" name="AutoShape 761"/>
            <p:cNvSpPr>
              <a:spLocks/>
            </p:cNvSpPr>
            <p:nvPr/>
          </p:nvSpPr>
          <p:spPr bwMode="auto">
            <a:xfrm>
              <a:off x="6502400" y="4140200"/>
              <a:ext cx="4763" cy="4763"/>
            </a:xfrm>
            <a:custGeom>
              <a:avLst/>
              <a:gdLst/>
              <a:ahLst/>
              <a:cxnLst/>
              <a:rect l="0" t="0" r="r" b="b"/>
              <a:pathLst>
                <a:path w="20389" h="20317">
                  <a:moveTo>
                    <a:pt x="9347" y="96"/>
                  </a:moveTo>
                  <a:cubicBezTo>
                    <a:pt x="4866" y="-542"/>
                    <a:pt x="957" y="2073"/>
                    <a:pt x="121" y="5850"/>
                  </a:cubicBezTo>
                  <a:cubicBezTo>
                    <a:pt x="-665" y="9567"/>
                    <a:pt x="2509" y="14645"/>
                    <a:pt x="5975" y="17760"/>
                  </a:cubicBezTo>
                  <a:cubicBezTo>
                    <a:pt x="9518" y="20657"/>
                    <a:pt x="14883" y="21058"/>
                    <a:pt x="17641" y="19138"/>
                  </a:cubicBezTo>
                  <a:cubicBezTo>
                    <a:pt x="20468" y="17404"/>
                    <a:pt x="20935" y="12407"/>
                    <a:pt x="19852" y="8408"/>
                  </a:cubicBezTo>
                  <a:cubicBezTo>
                    <a:pt x="18496" y="4471"/>
                    <a:pt x="13751" y="714"/>
                    <a:pt x="9347" y="96"/>
                  </a:cubicBezTo>
                  <a:close/>
                  <a:moveTo>
                    <a:pt x="9347" y="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2" name="AutoShape 762"/>
            <p:cNvSpPr>
              <a:spLocks/>
            </p:cNvSpPr>
            <p:nvPr/>
          </p:nvSpPr>
          <p:spPr bwMode="auto">
            <a:xfrm>
              <a:off x="6578600" y="4140200"/>
              <a:ext cx="20638" cy="20638"/>
            </a:xfrm>
            <a:custGeom>
              <a:avLst/>
              <a:gdLst/>
              <a:ahLst/>
              <a:cxnLst/>
              <a:rect l="0" t="0" r="r" b="b"/>
              <a:pathLst>
                <a:path w="20482" h="20933">
                  <a:moveTo>
                    <a:pt x="15548" y="1269"/>
                  </a:moveTo>
                  <a:cubicBezTo>
                    <a:pt x="13360" y="540"/>
                    <a:pt x="9557" y="100"/>
                    <a:pt x="7085" y="0"/>
                  </a:cubicBezTo>
                  <a:cubicBezTo>
                    <a:pt x="4612" y="100"/>
                    <a:pt x="1697" y="3417"/>
                    <a:pt x="490" y="7529"/>
                  </a:cubicBezTo>
                  <a:cubicBezTo>
                    <a:pt x="-752" y="11642"/>
                    <a:pt x="484" y="16684"/>
                    <a:pt x="2853" y="18963"/>
                  </a:cubicBezTo>
                  <a:cubicBezTo>
                    <a:pt x="5244" y="21173"/>
                    <a:pt x="9244" y="21600"/>
                    <a:pt x="11485" y="19855"/>
                  </a:cubicBezTo>
                  <a:cubicBezTo>
                    <a:pt x="13772" y="18198"/>
                    <a:pt x="16855" y="16238"/>
                    <a:pt x="18403" y="15673"/>
                  </a:cubicBezTo>
                  <a:cubicBezTo>
                    <a:pt x="19926" y="15033"/>
                    <a:pt x="20848" y="11836"/>
                    <a:pt x="20343" y="8540"/>
                  </a:cubicBezTo>
                  <a:cubicBezTo>
                    <a:pt x="19926" y="5249"/>
                    <a:pt x="17719" y="1990"/>
                    <a:pt x="15548" y="1269"/>
                  </a:cubicBezTo>
                  <a:close/>
                  <a:moveTo>
                    <a:pt x="15548" y="12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3" name="AutoShape 763"/>
            <p:cNvSpPr>
              <a:spLocks/>
            </p:cNvSpPr>
            <p:nvPr/>
          </p:nvSpPr>
          <p:spPr bwMode="auto">
            <a:xfrm>
              <a:off x="6515100" y="4127500"/>
              <a:ext cx="39688" cy="23813"/>
            </a:xfrm>
            <a:custGeom>
              <a:avLst/>
              <a:gdLst/>
              <a:ahLst/>
              <a:cxnLst/>
              <a:rect l="0" t="0" r="r" b="b"/>
              <a:pathLst>
                <a:path w="20980" h="20654">
                  <a:moveTo>
                    <a:pt x="18882" y="231"/>
                  </a:moveTo>
                  <a:cubicBezTo>
                    <a:pt x="17396" y="-216"/>
                    <a:pt x="15679" y="-23"/>
                    <a:pt x="15116" y="881"/>
                  </a:cubicBezTo>
                  <a:cubicBezTo>
                    <a:pt x="14556" y="1776"/>
                    <a:pt x="12680" y="3243"/>
                    <a:pt x="11047" y="4320"/>
                  </a:cubicBezTo>
                  <a:cubicBezTo>
                    <a:pt x="9420" y="5428"/>
                    <a:pt x="6962" y="6073"/>
                    <a:pt x="5642" y="5923"/>
                  </a:cubicBezTo>
                  <a:cubicBezTo>
                    <a:pt x="4318" y="5845"/>
                    <a:pt x="2288" y="6870"/>
                    <a:pt x="1104" y="8290"/>
                  </a:cubicBezTo>
                  <a:cubicBezTo>
                    <a:pt x="-60" y="9752"/>
                    <a:pt x="-324" y="12493"/>
                    <a:pt x="411" y="14516"/>
                  </a:cubicBezTo>
                  <a:cubicBezTo>
                    <a:pt x="1189" y="16467"/>
                    <a:pt x="2822" y="18954"/>
                    <a:pt x="3953" y="20213"/>
                  </a:cubicBezTo>
                  <a:cubicBezTo>
                    <a:pt x="5121" y="21384"/>
                    <a:pt x="8002" y="20150"/>
                    <a:pt x="10325" y="17368"/>
                  </a:cubicBezTo>
                  <a:cubicBezTo>
                    <a:pt x="12635" y="14538"/>
                    <a:pt x="15851" y="12331"/>
                    <a:pt x="17396" y="12488"/>
                  </a:cubicBezTo>
                  <a:cubicBezTo>
                    <a:pt x="18935" y="12649"/>
                    <a:pt x="20495" y="10038"/>
                    <a:pt x="20892" y="6885"/>
                  </a:cubicBezTo>
                  <a:cubicBezTo>
                    <a:pt x="21276" y="3722"/>
                    <a:pt x="20372" y="726"/>
                    <a:pt x="18882" y="231"/>
                  </a:cubicBezTo>
                  <a:close/>
                  <a:moveTo>
                    <a:pt x="18882" y="2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4" name="AutoShape 764"/>
            <p:cNvSpPr>
              <a:spLocks/>
            </p:cNvSpPr>
            <p:nvPr/>
          </p:nvSpPr>
          <p:spPr bwMode="auto">
            <a:xfrm>
              <a:off x="6680200" y="4089400"/>
              <a:ext cx="15875" cy="9525"/>
            </a:xfrm>
            <a:custGeom>
              <a:avLst/>
              <a:gdLst/>
              <a:ahLst/>
              <a:cxnLst/>
              <a:rect l="0" t="0" r="r" b="b"/>
              <a:pathLst>
                <a:path w="19697" h="19567">
                  <a:moveTo>
                    <a:pt x="17940" y="4869"/>
                  </a:moveTo>
                  <a:cubicBezTo>
                    <a:pt x="15234" y="1920"/>
                    <a:pt x="10809" y="-298"/>
                    <a:pt x="8200" y="32"/>
                  </a:cubicBezTo>
                  <a:cubicBezTo>
                    <a:pt x="5588" y="383"/>
                    <a:pt x="2083" y="5671"/>
                    <a:pt x="576" y="12174"/>
                  </a:cubicBezTo>
                  <a:cubicBezTo>
                    <a:pt x="-933" y="18691"/>
                    <a:pt x="604" y="21302"/>
                    <a:pt x="4252" y="18373"/>
                  </a:cubicBezTo>
                  <a:cubicBezTo>
                    <a:pt x="7893" y="15466"/>
                    <a:pt x="13478" y="12033"/>
                    <a:pt x="16837" y="11407"/>
                  </a:cubicBezTo>
                  <a:cubicBezTo>
                    <a:pt x="20158" y="10561"/>
                    <a:pt x="20667" y="7722"/>
                    <a:pt x="17940" y="4869"/>
                  </a:cubicBezTo>
                  <a:close/>
                  <a:moveTo>
                    <a:pt x="17940" y="48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5" name="AutoShape 765"/>
            <p:cNvSpPr>
              <a:spLocks/>
            </p:cNvSpPr>
            <p:nvPr/>
          </p:nvSpPr>
          <p:spPr bwMode="auto">
            <a:xfrm>
              <a:off x="6210300" y="4737100"/>
              <a:ext cx="3175" cy="9525"/>
            </a:xfrm>
            <a:custGeom>
              <a:avLst/>
              <a:gdLst/>
              <a:ahLst/>
              <a:cxnLst/>
              <a:rect l="0" t="0" r="r" b="b"/>
              <a:pathLst>
                <a:path w="19520" h="18882">
                  <a:moveTo>
                    <a:pt x="12929" y="17803"/>
                  </a:moveTo>
                  <a:cubicBezTo>
                    <a:pt x="16383" y="15333"/>
                    <a:pt x="19946" y="9648"/>
                    <a:pt x="19478" y="4959"/>
                  </a:cubicBezTo>
                  <a:cubicBezTo>
                    <a:pt x="19478" y="261"/>
                    <a:pt x="13899" y="-1448"/>
                    <a:pt x="7523" y="1357"/>
                  </a:cubicBezTo>
                  <a:cubicBezTo>
                    <a:pt x="1033" y="4032"/>
                    <a:pt x="-1654" y="9767"/>
                    <a:pt x="1033" y="14188"/>
                  </a:cubicBezTo>
                  <a:cubicBezTo>
                    <a:pt x="3668" y="18538"/>
                    <a:pt x="9450" y="20152"/>
                    <a:pt x="12929" y="17803"/>
                  </a:cubicBezTo>
                  <a:close/>
                  <a:moveTo>
                    <a:pt x="12929" y="178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6" name="AutoShape 766"/>
            <p:cNvSpPr>
              <a:spLocks/>
            </p:cNvSpPr>
            <p:nvPr/>
          </p:nvSpPr>
          <p:spPr bwMode="auto">
            <a:xfrm>
              <a:off x="6083300" y="4724400"/>
              <a:ext cx="17463" cy="11113"/>
            </a:xfrm>
            <a:custGeom>
              <a:avLst/>
              <a:gdLst/>
              <a:ahLst/>
              <a:cxnLst/>
              <a:rect l="0" t="0" r="r" b="b"/>
              <a:pathLst>
                <a:path w="20569" h="20977">
                  <a:moveTo>
                    <a:pt x="14869" y="147"/>
                  </a:moveTo>
                  <a:cubicBezTo>
                    <a:pt x="12627" y="-340"/>
                    <a:pt x="9162" y="424"/>
                    <a:pt x="7154" y="1821"/>
                  </a:cubicBezTo>
                  <a:cubicBezTo>
                    <a:pt x="5167" y="3292"/>
                    <a:pt x="2503" y="5040"/>
                    <a:pt x="1201" y="5550"/>
                  </a:cubicBezTo>
                  <a:cubicBezTo>
                    <a:pt x="-43" y="6260"/>
                    <a:pt x="-376" y="9736"/>
                    <a:pt x="465" y="13522"/>
                  </a:cubicBezTo>
                  <a:cubicBezTo>
                    <a:pt x="1272" y="17362"/>
                    <a:pt x="3761" y="20628"/>
                    <a:pt x="5888" y="20949"/>
                  </a:cubicBezTo>
                  <a:cubicBezTo>
                    <a:pt x="7996" y="21260"/>
                    <a:pt x="12507" y="18879"/>
                    <a:pt x="15774" y="15358"/>
                  </a:cubicBezTo>
                  <a:cubicBezTo>
                    <a:pt x="19210" y="12348"/>
                    <a:pt x="21224" y="7344"/>
                    <a:pt x="20376" y="5185"/>
                  </a:cubicBezTo>
                  <a:cubicBezTo>
                    <a:pt x="19563" y="2927"/>
                    <a:pt x="17109" y="501"/>
                    <a:pt x="14869" y="147"/>
                  </a:cubicBezTo>
                  <a:close/>
                  <a:moveTo>
                    <a:pt x="14869" y="1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7" name="AutoShape 767"/>
            <p:cNvSpPr>
              <a:spLocks/>
            </p:cNvSpPr>
            <p:nvPr/>
          </p:nvSpPr>
          <p:spPr bwMode="auto">
            <a:xfrm>
              <a:off x="6134100" y="4749800"/>
              <a:ext cx="11113" cy="6350"/>
            </a:xfrm>
            <a:custGeom>
              <a:avLst/>
              <a:gdLst/>
              <a:ahLst/>
              <a:cxnLst/>
              <a:rect l="0" t="0" r="r" b="b"/>
              <a:pathLst>
                <a:path w="20844" h="20914">
                  <a:moveTo>
                    <a:pt x="15970" y="4146"/>
                  </a:moveTo>
                  <a:cubicBezTo>
                    <a:pt x="13705" y="1643"/>
                    <a:pt x="9506" y="0"/>
                    <a:pt x="6841" y="0"/>
                  </a:cubicBezTo>
                  <a:cubicBezTo>
                    <a:pt x="4210" y="0"/>
                    <a:pt x="1200" y="2313"/>
                    <a:pt x="272" y="5277"/>
                  </a:cubicBezTo>
                  <a:cubicBezTo>
                    <a:pt x="-537" y="8331"/>
                    <a:pt x="477" y="13560"/>
                    <a:pt x="3065" y="16594"/>
                  </a:cubicBezTo>
                  <a:cubicBezTo>
                    <a:pt x="5527" y="19988"/>
                    <a:pt x="8536" y="21600"/>
                    <a:pt x="9723" y="20639"/>
                  </a:cubicBezTo>
                  <a:cubicBezTo>
                    <a:pt x="10965" y="19817"/>
                    <a:pt x="13035" y="18187"/>
                    <a:pt x="14502" y="18429"/>
                  </a:cubicBezTo>
                  <a:cubicBezTo>
                    <a:pt x="16003" y="18429"/>
                    <a:pt x="18150" y="17847"/>
                    <a:pt x="19271" y="17401"/>
                  </a:cubicBezTo>
                  <a:cubicBezTo>
                    <a:pt x="20352" y="16902"/>
                    <a:pt x="21063" y="14725"/>
                    <a:pt x="20782" y="12461"/>
                  </a:cubicBezTo>
                  <a:cubicBezTo>
                    <a:pt x="20588" y="10217"/>
                    <a:pt x="18353" y="6411"/>
                    <a:pt x="15970" y="4146"/>
                  </a:cubicBezTo>
                  <a:close/>
                  <a:moveTo>
                    <a:pt x="15970" y="41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8" name="AutoShape 768"/>
            <p:cNvSpPr>
              <a:spLocks/>
            </p:cNvSpPr>
            <p:nvPr/>
          </p:nvSpPr>
          <p:spPr bwMode="auto">
            <a:xfrm>
              <a:off x="6172200" y="4826000"/>
              <a:ext cx="14288" cy="19050"/>
            </a:xfrm>
            <a:custGeom>
              <a:avLst/>
              <a:gdLst/>
              <a:ahLst/>
              <a:cxnLst/>
              <a:rect l="0" t="0" r="r" b="b"/>
              <a:pathLst>
                <a:path w="20042" h="20722">
                  <a:moveTo>
                    <a:pt x="3157" y="156"/>
                  </a:moveTo>
                  <a:cubicBezTo>
                    <a:pt x="246" y="-436"/>
                    <a:pt x="-838" y="693"/>
                    <a:pt x="696" y="2867"/>
                  </a:cubicBezTo>
                  <a:cubicBezTo>
                    <a:pt x="2295" y="4979"/>
                    <a:pt x="3592" y="9590"/>
                    <a:pt x="3828" y="13031"/>
                  </a:cubicBezTo>
                  <a:cubicBezTo>
                    <a:pt x="4177" y="16486"/>
                    <a:pt x="7324" y="19954"/>
                    <a:pt x="11225" y="20567"/>
                  </a:cubicBezTo>
                  <a:cubicBezTo>
                    <a:pt x="15124" y="21164"/>
                    <a:pt x="19015" y="19995"/>
                    <a:pt x="19837" y="17709"/>
                  </a:cubicBezTo>
                  <a:cubicBezTo>
                    <a:pt x="20762" y="15490"/>
                    <a:pt x="18468" y="10839"/>
                    <a:pt x="14869" y="7504"/>
                  </a:cubicBezTo>
                  <a:cubicBezTo>
                    <a:pt x="11406" y="4102"/>
                    <a:pt x="6028" y="833"/>
                    <a:pt x="3157" y="156"/>
                  </a:cubicBezTo>
                  <a:close/>
                  <a:moveTo>
                    <a:pt x="3157" y="1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69" name="AutoShape 769"/>
            <p:cNvSpPr>
              <a:spLocks/>
            </p:cNvSpPr>
            <p:nvPr/>
          </p:nvSpPr>
          <p:spPr bwMode="auto">
            <a:xfrm>
              <a:off x="6159500" y="4749800"/>
              <a:ext cx="6350" cy="6350"/>
            </a:xfrm>
            <a:custGeom>
              <a:avLst/>
              <a:gdLst/>
              <a:ahLst/>
              <a:cxnLst/>
              <a:rect l="0" t="0" r="r" b="b"/>
              <a:pathLst>
                <a:path w="19468" h="18892">
                  <a:moveTo>
                    <a:pt x="2082" y="1715"/>
                  </a:moveTo>
                  <a:cubicBezTo>
                    <a:pt x="-746" y="4659"/>
                    <a:pt x="-532" y="10841"/>
                    <a:pt x="1754" y="14854"/>
                  </a:cubicBezTo>
                  <a:cubicBezTo>
                    <a:pt x="4189" y="18678"/>
                    <a:pt x="10316" y="20151"/>
                    <a:pt x="15463" y="17667"/>
                  </a:cubicBezTo>
                  <a:cubicBezTo>
                    <a:pt x="20643" y="15441"/>
                    <a:pt x="20854" y="9315"/>
                    <a:pt x="15774" y="4659"/>
                  </a:cubicBezTo>
                  <a:cubicBezTo>
                    <a:pt x="10805" y="-104"/>
                    <a:pt x="4661" y="-1449"/>
                    <a:pt x="2082" y="1715"/>
                  </a:cubicBezTo>
                  <a:close/>
                  <a:moveTo>
                    <a:pt x="2082" y="171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0" name="AutoShape 770"/>
            <p:cNvSpPr>
              <a:spLocks/>
            </p:cNvSpPr>
            <p:nvPr/>
          </p:nvSpPr>
          <p:spPr bwMode="auto">
            <a:xfrm>
              <a:off x="6108700" y="4737100"/>
              <a:ext cx="6350" cy="7938"/>
            </a:xfrm>
            <a:custGeom>
              <a:avLst/>
              <a:gdLst/>
              <a:ahLst/>
              <a:cxnLst/>
              <a:rect l="0" t="0" r="r" b="b"/>
              <a:pathLst>
                <a:path w="20384" h="19904">
                  <a:moveTo>
                    <a:pt x="14817" y="185"/>
                  </a:moveTo>
                  <a:cubicBezTo>
                    <a:pt x="11100" y="-523"/>
                    <a:pt x="5923" y="851"/>
                    <a:pt x="2578" y="3338"/>
                  </a:cubicBezTo>
                  <a:cubicBezTo>
                    <a:pt x="-607" y="5926"/>
                    <a:pt x="-786" y="11433"/>
                    <a:pt x="1739" y="15540"/>
                  </a:cubicBezTo>
                  <a:cubicBezTo>
                    <a:pt x="4553" y="19413"/>
                    <a:pt x="9176" y="21077"/>
                    <a:pt x="12737" y="19010"/>
                  </a:cubicBezTo>
                  <a:cubicBezTo>
                    <a:pt x="16168" y="16869"/>
                    <a:pt x="19798" y="12345"/>
                    <a:pt x="20316" y="8644"/>
                  </a:cubicBezTo>
                  <a:cubicBezTo>
                    <a:pt x="20814" y="4928"/>
                    <a:pt x="18556" y="1112"/>
                    <a:pt x="14817" y="185"/>
                  </a:cubicBezTo>
                  <a:close/>
                  <a:moveTo>
                    <a:pt x="14817" y="1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1" name="AutoShape 771"/>
            <p:cNvSpPr>
              <a:spLocks/>
            </p:cNvSpPr>
            <p:nvPr/>
          </p:nvSpPr>
          <p:spPr bwMode="auto">
            <a:xfrm>
              <a:off x="6197600" y="4826000"/>
              <a:ext cx="4763" cy="4763"/>
            </a:xfrm>
            <a:custGeom>
              <a:avLst/>
              <a:gdLst/>
              <a:ahLst/>
              <a:cxnLst/>
              <a:rect l="0" t="0" r="r" b="b"/>
              <a:pathLst>
                <a:path w="19280" h="19354">
                  <a:moveTo>
                    <a:pt x="2794" y="896"/>
                  </a:moveTo>
                  <a:cubicBezTo>
                    <a:pt x="-231" y="3424"/>
                    <a:pt x="-845" y="9193"/>
                    <a:pt x="1173" y="13879"/>
                  </a:cubicBezTo>
                  <a:cubicBezTo>
                    <a:pt x="2729" y="18647"/>
                    <a:pt x="9283" y="20333"/>
                    <a:pt x="14710" y="18812"/>
                  </a:cubicBezTo>
                  <a:cubicBezTo>
                    <a:pt x="20158" y="17006"/>
                    <a:pt x="20755" y="11118"/>
                    <a:pt x="16392" y="5787"/>
                  </a:cubicBezTo>
                  <a:cubicBezTo>
                    <a:pt x="12030" y="535"/>
                    <a:pt x="6111" y="-1267"/>
                    <a:pt x="2794" y="896"/>
                  </a:cubicBezTo>
                  <a:close/>
                  <a:moveTo>
                    <a:pt x="2794" y="8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2" name="AutoShape 772"/>
            <p:cNvSpPr>
              <a:spLocks/>
            </p:cNvSpPr>
            <p:nvPr/>
          </p:nvSpPr>
          <p:spPr bwMode="auto">
            <a:xfrm>
              <a:off x="6197600" y="4775200"/>
              <a:ext cx="11113" cy="12700"/>
            </a:xfrm>
            <a:custGeom>
              <a:avLst/>
              <a:gdLst/>
              <a:ahLst/>
              <a:cxnLst/>
              <a:rect l="0" t="0" r="r" b="b"/>
              <a:pathLst>
                <a:path w="20227" h="20957">
                  <a:moveTo>
                    <a:pt x="13175" y="279"/>
                  </a:moveTo>
                  <a:cubicBezTo>
                    <a:pt x="10324" y="-643"/>
                    <a:pt x="5580" y="773"/>
                    <a:pt x="2697" y="3700"/>
                  </a:cubicBezTo>
                  <a:cubicBezTo>
                    <a:pt x="-353" y="6481"/>
                    <a:pt x="-819" y="11617"/>
                    <a:pt x="1314" y="14937"/>
                  </a:cubicBezTo>
                  <a:cubicBezTo>
                    <a:pt x="3364" y="18308"/>
                    <a:pt x="7306" y="20957"/>
                    <a:pt x="9793" y="20957"/>
                  </a:cubicBezTo>
                  <a:cubicBezTo>
                    <a:pt x="12280" y="20957"/>
                    <a:pt x="15912" y="19843"/>
                    <a:pt x="17868" y="18389"/>
                  </a:cubicBezTo>
                  <a:cubicBezTo>
                    <a:pt x="19846" y="16944"/>
                    <a:pt x="20781" y="12679"/>
                    <a:pt x="19888" y="8958"/>
                  </a:cubicBezTo>
                  <a:cubicBezTo>
                    <a:pt x="18972" y="5145"/>
                    <a:pt x="15976" y="1284"/>
                    <a:pt x="13175" y="279"/>
                  </a:cubicBezTo>
                  <a:close/>
                  <a:moveTo>
                    <a:pt x="13175" y="27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3" name="AutoShape 773"/>
            <p:cNvSpPr>
              <a:spLocks/>
            </p:cNvSpPr>
            <p:nvPr/>
          </p:nvSpPr>
          <p:spPr bwMode="auto">
            <a:xfrm>
              <a:off x="9690100" y="4254500"/>
              <a:ext cx="9525" cy="36513"/>
            </a:xfrm>
            <a:custGeom>
              <a:avLst/>
              <a:gdLst/>
              <a:ahLst/>
              <a:cxnLst/>
              <a:rect l="0" t="0" r="r" b="b"/>
              <a:pathLst>
                <a:path w="21350" h="21430">
                  <a:moveTo>
                    <a:pt x="12562" y="21427"/>
                  </a:moveTo>
                  <a:cubicBezTo>
                    <a:pt x="14049" y="21481"/>
                    <a:pt x="15308" y="20817"/>
                    <a:pt x="15308" y="19974"/>
                  </a:cubicBezTo>
                  <a:cubicBezTo>
                    <a:pt x="15308" y="19122"/>
                    <a:pt x="16265" y="17521"/>
                    <a:pt x="17750" y="16461"/>
                  </a:cubicBezTo>
                  <a:cubicBezTo>
                    <a:pt x="18530" y="15337"/>
                    <a:pt x="20544" y="12891"/>
                    <a:pt x="20544" y="10948"/>
                  </a:cubicBezTo>
                  <a:cubicBezTo>
                    <a:pt x="21273" y="9015"/>
                    <a:pt x="20595" y="7197"/>
                    <a:pt x="19662" y="7064"/>
                  </a:cubicBezTo>
                  <a:cubicBezTo>
                    <a:pt x="18832" y="6905"/>
                    <a:pt x="18933" y="6090"/>
                    <a:pt x="19311" y="5308"/>
                  </a:cubicBezTo>
                  <a:cubicBezTo>
                    <a:pt x="19688" y="4529"/>
                    <a:pt x="19863" y="3516"/>
                    <a:pt x="18858" y="3133"/>
                  </a:cubicBezTo>
                  <a:cubicBezTo>
                    <a:pt x="17824" y="2737"/>
                    <a:pt x="17902" y="2174"/>
                    <a:pt x="18555" y="1940"/>
                  </a:cubicBezTo>
                  <a:cubicBezTo>
                    <a:pt x="19260" y="1735"/>
                    <a:pt x="20267" y="1586"/>
                    <a:pt x="20945" y="1634"/>
                  </a:cubicBezTo>
                  <a:cubicBezTo>
                    <a:pt x="21600" y="1727"/>
                    <a:pt x="21425" y="1316"/>
                    <a:pt x="20670" y="772"/>
                  </a:cubicBezTo>
                  <a:cubicBezTo>
                    <a:pt x="19915" y="241"/>
                    <a:pt x="18203" y="-119"/>
                    <a:pt x="17146" y="36"/>
                  </a:cubicBezTo>
                  <a:cubicBezTo>
                    <a:pt x="16038" y="86"/>
                    <a:pt x="14024" y="227"/>
                    <a:pt x="12688" y="133"/>
                  </a:cubicBezTo>
                  <a:cubicBezTo>
                    <a:pt x="11355" y="36"/>
                    <a:pt x="9544" y="1532"/>
                    <a:pt x="9165" y="3415"/>
                  </a:cubicBezTo>
                  <a:cubicBezTo>
                    <a:pt x="8410" y="5282"/>
                    <a:pt x="7327" y="7169"/>
                    <a:pt x="6571" y="7615"/>
                  </a:cubicBezTo>
                  <a:cubicBezTo>
                    <a:pt x="5540" y="8009"/>
                    <a:pt x="3828" y="8092"/>
                    <a:pt x="3424" y="7590"/>
                  </a:cubicBezTo>
                  <a:cubicBezTo>
                    <a:pt x="2343" y="7169"/>
                    <a:pt x="1260" y="7276"/>
                    <a:pt x="856" y="7940"/>
                  </a:cubicBezTo>
                  <a:cubicBezTo>
                    <a:pt x="428" y="8597"/>
                    <a:pt x="0" y="9620"/>
                    <a:pt x="0" y="10237"/>
                  </a:cubicBezTo>
                  <a:cubicBezTo>
                    <a:pt x="0" y="10843"/>
                    <a:pt x="1712" y="11626"/>
                    <a:pt x="3828" y="11882"/>
                  </a:cubicBezTo>
                  <a:cubicBezTo>
                    <a:pt x="5943" y="12134"/>
                    <a:pt x="8007" y="14420"/>
                    <a:pt x="8762" y="16869"/>
                  </a:cubicBezTo>
                  <a:cubicBezTo>
                    <a:pt x="9165" y="19335"/>
                    <a:pt x="11104" y="21372"/>
                    <a:pt x="12562" y="21427"/>
                  </a:cubicBezTo>
                  <a:close/>
                  <a:moveTo>
                    <a:pt x="12562" y="214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4" name="AutoShape 774"/>
            <p:cNvSpPr>
              <a:spLocks/>
            </p:cNvSpPr>
            <p:nvPr/>
          </p:nvSpPr>
          <p:spPr bwMode="auto">
            <a:xfrm>
              <a:off x="9588500" y="4305300"/>
              <a:ext cx="217488" cy="403225"/>
            </a:xfrm>
            <a:custGeom>
              <a:avLst/>
              <a:gdLst/>
              <a:ahLst/>
              <a:cxnLst/>
              <a:rect l="0" t="0" r="r" b="b"/>
              <a:pathLst>
                <a:path w="21564" h="21582">
                  <a:moveTo>
                    <a:pt x="11083" y="63"/>
                  </a:moveTo>
                  <a:cubicBezTo>
                    <a:pt x="10860" y="339"/>
                    <a:pt x="10345" y="1482"/>
                    <a:pt x="9817" y="2829"/>
                  </a:cubicBezTo>
                  <a:cubicBezTo>
                    <a:pt x="9765" y="2970"/>
                    <a:pt x="9704" y="3111"/>
                    <a:pt x="9652" y="3252"/>
                  </a:cubicBezTo>
                  <a:cubicBezTo>
                    <a:pt x="9642" y="3278"/>
                    <a:pt x="9631" y="3303"/>
                    <a:pt x="9622" y="3329"/>
                  </a:cubicBezTo>
                  <a:cubicBezTo>
                    <a:pt x="9019" y="4876"/>
                    <a:pt x="8685" y="6564"/>
                    <a:pt x="8848" y="7085"/>
                  </a:cubicBezTo>
                  <a:cubicBezTo>
                    <a:pt x="9049" y="7600"/>
                    <a:pt x="9095" y="9164"/>
                    <a:pt x="8950" y="10558"/>
                  </a:cubicBezTo>
                  <a:cubicBezTo>
                    <a:pt x="8804" y="11952"/>
                    <a:pt x="7066" y="13495"/>
                    <a:pt x="5058" y="13985"/>
                  </a:cubicBezTo>
                  <a:cubicBezTo>
                    <a:pt x="4653" y="14079"/>
                    <a:pt x="4257" y="14185"/>
                    <a:pt x="3850" y="14280"/>
                  </a:cubicBezTo>
                  <a:cubicBezTo>
                    <a:pt x="1808" y="14778"/>
                    <a:pt x="74" y="15447"/>
                    <a:pt x="2" y="15766"/>
                  </a:cubicBezTo>
                  <a:cubicBezTo>
                    <a:pt x="-36" y="16088"/>
                    <a:pt x="501" y="16950"/>
                    <a:pt x="1230" y="17684"/>
                  </a:cubicBezTo>
                  <a:cubicBezTo>
                    <a:pt x="1960" y="18415"/>
                    <a:pt x="2441" y="19242"/>
                    <a:pt x="2330" y="19525"/>
                  </a:cubicBezTo>
                  <a:cubicBezTo>
                    <a:pt x="2183" y="19802"/>
                    <a:pt x="2465" y="20392"/>
                    <a:pt x="2933" y="20816"/>
                  </a:cubicBezTo>
                  <a:cubicBezTo>
                    <a:pt x="3372" y="21248"/>
                    <a:pt x="3847" y="21578"/>
                    <a:pt x="3955" y="21549"/>
                  </a:cubicBezTo>
                  <a:cubicBezTo>
                    <a:pt x="4067" y="21524"/>
                    <a:pt x="4188" y="21524"/>
                    <a:pt x="4234" y="21545"/>
                  </a:cubicBezTo>
                  <a:cubicBezTo>
                    <a:pt x="4272" y="21570"/>
                    <a:pt x="4442" y="21585"/>
                    <a:pt x="4604" y="21581"/>
                  </a:cubicBezTo>
                  <a:cubicBezTo>
                    <a:pt x="4766" y="21576"/>
                    <a:pt x="4995" y="21461"/>
                    <a:pt x="5105" y="21322"/>
                  </a:cubicBezTo>
                  <a:cubicBezTo>
                    <a:pt x="5219" y="21185"/>
                    <a:pt x="5457" y="21067"/>
                    <a:pt x="5634" y="21073"/>
                  </a:cubicBezTo>
                  <a:cubicBezTo>
                    <a:pt x="5814" y="21073"/>
                    <a:pt x="6205" y="20969"/>
                    <a:pt x="6497" y="20836"/>
                  </a:cubicBezTo>
                  <a:cubicBezTo>
                    <a:pt x="6798" y="20712"/>
                    <a:pt x="7163" y="20607"/>
                    <a:pt x="7326" y="20611"/>
                  </a:cubicBezTo>
                  <a:cubicBezTo>
                    <a:pt x="7487" y="20617"/>
                    <a:pt x="7732" y="20606"/>
                    <a:pt x="7868" y="20579"/>
                  </a:cubicBezTo>
                  <a:cubicBezTo>
                    <a:pt x="8006" y="20550"/>
                    <a:pt x="8234" y="20574"/>
                    <a:pt x="8344" y="20640"/>
                  </a:cubicBezTo>
                  <a:cubicBezTo>
                    <a:pt x="8482" y="20691"/>
                    <a:pt x="8651" y="20740"/>
                    <a:pt x="8747" y="20731"/>
                  </a:cubicBezTo>
                  <a:cubicBezTo>
                    <a:pt x="8844" y="20722"/>
                    <a:pt x="9109" y="20527"/>
                    <a:pt x="9299" y="20291"/>
                  </a:cubicBezTo>
                  <a:cubicBezTo>
                    <a:pt x="9497" y="20057"/>
                    <a:pt x="9656" y="19847"/>
                    <a:pt x="9656" y="19820"/>
                  </a:cubicBezTo>
                  <a:cubicBezTo>
                    <a:pt x="9675" y="19795"/>
                    <a:pt x="9674" y="19762"/>
                    <a:pt x="9714" y="19758"/>
                  </a:cubicBezTo>
                  <a:cubicBezTo>
                    <a:pt x="9751" y="19748"/>
                    <a:pt x="9827" y="19682"/>
                    <a:pt x="9808" y="19608"/>
                  </a:cubicBezTo>
                  <a:cubicBezTo>
                    <a:pt x="9808" y="19533"/>
                    <a:pt x="9774" y="19445"/>
                    <a:pt x="9698" y="19414"/>
                  </a:cubicBezTo>
                  <a:cubicBezTo>
                    <a:pt x="9619" y="19388"/>
                    <a:pt x="9582" y="19291"/>
                    <a:pt x="9600" y="19211"/>
                  </a:cubicBezTo>
                  <a:cubicBezTo>
                    <a:pt x="9634" y="19133"/>
                    <a:pt x="9603" y="19016"/>
                    <a:pt x="9603" y="18954"/>
                  </a:cubicBezTo>
                  <a:cubicBezTo>
                    <a:pt x="9566" y="18895"/>
                    <a:pt x="9665" y="18768"/>
                    <a:pt x="9780" y="18675"/>
                  </a:cubicBezTo>
                  <a:cubicBezTo>
                    <a:pt x="9889" y="18582"/>
                    <a:pt x="10037" y="18455"/>
                    <a:pt x="10127" y="18398"/>
                  </a:cubicBezTo>
                  <a:cubicBezTo>
                    <a:pt x="10187" y="18333"/>
                    <a:pt x="10487" y="18295"/>
                    <a:pt x="10764" y="18286"/>
                  </a:cubicBezTo>
                  <a:cubicBezTo>
                    <a:pt x="11037" y="18291"/>
                    <a:pt x="11421" y="18256"/>
                    <a:pt x="11620" y="18229"/>
                  </a:cubicBezTo>
                  <a:cubicBezTo>
                    <a:pt x="11819" y="18202"/>
                    <a:pt x="12055" y="18198"/>
                    <a:pt x="12149" y="18227"/>
                  </a:cubicBezTo>
                  <a:cubicBezTo>
                    <a:pt x="12232" y="18262"/>
                    <a:pt x="12439" y="18176"/>
                    <a:pt x="12597" y="18052"/>
                  </a:cubicBezTo>
                  <a:cubicBezTo>
                    <a:pt x="12744" y="17927"/>
                    <a:pt x="12930" y="17780"/>
                    <a:pt x="13009" y="17727"/>
                  </a:cubicBezTo>
                  <a:cubicBezTo>
                    <a:pt x="13086" y="17675"/>
                    <a:pt x="13157" y="17469"/>
                    <a:pt x="13157" y="17274"/>
                  </a:cubicBezTo>
                  <a:cubicBezTo>
                    <a:pt x="13157" y="17078"/>
                    <a:pt x="13414" y="16683"/>
                    <a:pt x="13712" y="16397"/>
                  </a:cubicBezTo>
                  <a:cubicBezTo>
                    <a:pt x="14003" y="16109"/>
                    <a:pt x="14394" y="15844"/>
                    <a:pt x="14567" y="15802"/>
                  </a:cubicBezTo>
                  <a:cubicBezTo>
                    <a:pt x="14745" y="15762"/>
                    <a:pt x="14979" y="15758"/>
                    <a:pt x="15080" y="15802"/>
                  </a:cubicBezTo>
                  <a:cubicBezTo>
                    <a:pt x="15188" y="15841"/>
                    <a:pt x="15335" y="15836"/>
                    <a:pt x="15419" y="15791"/>
                  </a:cubicBezTo>
                  <a:cubicBezTo>
                    <a:pt x="15504" y="15749"/>
                    <a:pt x="15878" y="15680"/>
                    <a:pt x="16260" y="15649"/>
                  </a:cubicBezTo>
                  <a:cubicBezTo>
                    <a:pt x="16641" y="15615"/>
                    <a:pt x="16956" y="15535"/>
                    <a:pt x="17009" y="15477"/>
                  </a:cubicBezTo>
                  <a:cubicBezTo>
                    <a:pt x="17027" y="15412"/>
                    <a:pt x="17020" y="15325"/>
                    <a:pt x="16952" y="15279"/>
                  </a:cubicBezTo>
                  <a:cubicBezTo>
                    <a:pt x="16915" y="15227"/>
                    <a:pt x="16756" y="15013"/>
                    <a:pt x="16683" y="14788"/>
                  </a:cubicBezTo>
                  <a:cubicBezTo>
                    <a:pt x="16575" y="14567"/>
                    <a:pt x="16562" y="14377"/>
                    <a:pt x="16604" y="14365"/>
                  </a:cubicBezTo>
                  <a:cubicBezTo>
                    <a:pt x="16647" y="14357"/>
                    <a:pt x="16629" y="14259"/>
                    <a:pt x="16558" y="14146"/>
                  </a:cubicBezTo>
                  <a:cubicBezTo>
                    <a:pt x="16468" y="14037"/>
                    <a:pt x="16409" y="13934"/>
                    <a:pt x="16375" y="13929"/>
                  </a:cubicBezTo>
                  <a:cubicBezTo>
                    <a:pt x="16344" y="13921"/>
                    <a:pt x="16356" y="13835"/>
                    <a:pt x="16412" y="13735"/>
                  </a:cubicBezTo>
                  <a:cubicBezTo>
                    <a:pt x="16450" y="13631"/>
                    <a:pt x="16511" y="13462"/>
                    <a:pt x="16511" y="13352"/>
                  </a:cubicBezTo>
                  <a:cubicBezTo>
                    <a:pt x="16511" y="13243"/>
                    <a:pt x="16618" y="12984"/>
                    <a:pt x="16763" y="12779"/>
                  </a:cubicBezTo>
                  <a:cubicBezTo>
                    <a:pt x="16890" y="12572"/>
                    <a:pt x="17077" y="12387"/>
                    <a:pt x="17169" y="12370"/>
                  </a:cubicBezTo>
                  <a:cubicBezTo>
                    <a:pt x="17259" y="12350"/>
                    <a:pt x="17305" y="12264"/>
                    <a:pt x="17234" y="12188"/>
                  </a:cubicBezTo>
                  <a:cubicBezTo>
                    <a:pt x="17198" y="12104"/>
                    <a:pt x="17175" y="12044"/>
                    <a:pt x="17204" y="12028"/>
                  </a:cubicBezTo>
                  <a:cubicBezTo>
                    <a:pt x="17237" y="12020"/>
                    <a:pt x="17346" y="11902"/>
                    <a:pt x="17438" y="11763"/>
                  </a:cubicBezTo>
                  <a:cubicBezTo>
                    <a:pt x="17542" y="11626"/>
                    <a:pt x="17684" y="11475"/>
                    <a:pt x="17744" y="11420"/>
                  </a:cubicBezTo>
                  <a:cubicBezTo>
                    <a:pt x="17831" y="11374"/>
                    <a:pt x="17940" y="11343"/>
                    <a:pt x="18006" y="11365"/>
                  </a:cubicBezTo>
                  <a:cubicBezTo>
                    <a:pt x="18066" y="11392"/>
                    <a:pt x="18100" y="11454"/>
                    <a:pt x="18062" y="11516"/>
                  </a:cubicBezTo>
                  <a:cubicBezTo>
                    <a:pt x="17991" y="11568"/>
                    <a:pt x="18000" y="11688"/>
                    <a:pt x="17963" y="11754"/>
                  </a:cubicBezTo>
                  <a:cubicBezTo>
                    <a:pt x="17945" y="11822"/>
                    <a:pt x="18004" y="11904"/>
                    <a:pt x="18077" y="11943"/>
                  </a:cubicBezTo>
                  <a:cubicBezTo>
                    <a:pt x="18164" y="11972"/>
                    <a:pt x="18292" y="12012"/>
                    <a:pt x="18380" y="12017"/>
                  </a:cubicBezTo>
                  <a:cubicBezTo>
                    <a:pt x="18469" y="12027"/>
                    <a:pt x="18631" y="11833"/>
                    <a:pt x="18706" y="11592"/>
                  </a:cubicBezTo>
                  <a:cubicBezTo>
                    <a:pt x="18796" y="11353"/>
                    <a:pt x="18952" y="11108"/>
                    <a:pt x="19029" y="11039"/>
                  </a:cubicBezTo>
                  <a:cubicBezTo>
                    <a:pt x="19127" y="10978"/>
                    <a:pt x="19258" y="10801"/>
                    <a:pt x="19346" y="10656"/>
                  </a:cubicBezTo>
                  <a:cubicBezTo>
                    <a:pt x="19438" y="10512"/>
                    <a:pt x="19639" y="10273"/>
                    <a:pt x="19835" y="10139"/>
                  </a:cubicBezTo>
                  <a:cubicBezTo>
                    <a:pt x="19990" y="9991"/>
                    <a:pt x="20419" y="9589"/>
                    <a:pt x="20675" y="9213"/>
                  </a:cubicBezTo>
                  <a:cubicBezTo>
                    <a:pt x="20967" y="8847"/>
                    <a:pt x="21210" y="8466"/>
                    <a:pt x="21227" y="8371"/>
                  </a:cubicBezTo>
                  <a:cubicBezTo>
                    <a:pt x="21263" y="8276"/>
                    <a:pt x="21284" y="8132"/>
                    <a:pt x="21249" y="8053"/>
                  </a:cubicBezTo>
                  <a:cubicBezTo>
                    <a:pt x="21249" y="7972"/>
                    <a:pt x="21297" y="7795"/>
                    <a:pt x="21386" y="7659"/>
                  </a:cubicBezTo>
                  <a:cubicBezTo>
                    <a:pt x="21477" y="7522"/>
                    <a:pt x="21564" y="7311"/>
                    <a:pt x="21564" y="7192"/>
                  </a:cubicBezTo>
                  <a:cubicBezTo>
                    <a:pt x="21564" y="7072"/>
                    <a:pt x="21536" y="6938"/>
                    <a:pt x="21494" y="6893"/>
                  </a:cubicBezTo>
                  <a:cubicBezTo>
                    <a:pt x="21445" y="6848"/>
                    <a:pt x="21297" y="6793"/>
                    <a:pt x="21163" y="6774"/>
                  </a:cubicBezTo>
                  <a:cubicBezTo>
                    <a:pt x="21030" y="6752"/>
                    <a:pt x="20682" y="6586"/>
                    <a:pt x="20417" y="6391"/>
                  </a:cubicBezTo>
                  <a:cubicBezTo>
                    <a:pt x="20129" y="6206"/>
                    <a:pt x="19845" y="5954"/>
                    <a:pt x="19789" y="5839"/>
                  </a:cubicBezTo>
                  <a:cubicBezTo>
                    <a:pt x="19702" y="5729"/>
                    <a:pt x="19556" y="5551"/>
                    <a:pt x="19426" y="5451"/>
                  </a:cubicBezTo>
                  <a:cubicBezTo>
                    <a:pt x="19295" y="5350"/>
                    <a:pt x="19154" y="5134"/>
                    <a:pt x="19083" y="4974"/>
                  </a:cubicBezTo>
                  <a:cubicBezTo>
                    <a:pt x="19028" y="4813"/>
                    <a:pt x="18804" y="4489"/>
                    <a:pt x="18588" y="4256"/>
                  </a:cubicBezTo>
                  <a:cubicBezTo>
                    <a:pt x="18371" y="4022"/>
                    <a:pt x="18113" y="3831"/>
                    <a:pt x="18012" y="3820"/>
                  </a:cubicBezTo>
                  <a:cubicBezTo>
                    <a:pt x="17907" y="3816"/>
                    <a:pt x="17668" y="3834"/>
                    <a:pt x="17482" y="3870"/>
                  </a:cubicBezTo>
                  <a:cubicBezTo>
                    <a:pt x="17289" y="3898"/>
                    <a:pt x="16862" y="3877"/>
                    <a:pt x="16515" y="3827"/>
                  </a:cubicBezTo>
                  <a:cubicBezTo>
                    <a:pt x="16173" y="3771"/>
                    <a:pt x="15775" y="3730"/>
                    <a:pt x="15631" y="3735"/>
                  </a:cubicBezTo>
                  <a:cubicBezTo>
                    <a:pt x="15483" y="3735"/>
                    <a:pt x="15279" y="3770"/>
                    <a:pt x="15185" y="3811"/>
                  </a:cubicBezTo>
                  <a:cubicBezTo>
                    <a:pt x="15087" y="3847"/>
                    <a:pt x="14845" y="3846"/>
                    <a:pt x="14653" y="3799"/>
                  </a:cubicBezTo>
                  <a:cubicBezTo>
                    <a:pt x="14458" y="3755"/>
                    <a:pt x="13956" y="3467"/>
                    <a:pt x="13501" y="3172"/>
                  </a:cubicBezTo>
                  <a:cubicBezTo>
                    <a:pt x="13051" y="2875"/>
                    <a:pt x="12689" y="2553"/>
                    <a:pt x="12651" y="2467"/>
                  </a:cubicBezTo>
                  <a:cubicBezTo>
                    <a:pt x="12651" y="2381"/>
                    <a:pt x="12394" y="2094"/>
                    <a:pt x="12117" y="1835"/>
                  </a:cubicBezTo>
                  <a:cubicBezTo>
                    <a:pt x="11848" y="1573"/>
                    <a:pt x="11591" y="1046"/>
                    <a:pt x="11536" y="665"/>
                  </a:cubicBezTo>
                  <a:cubicBezTo>
                    <a:pt x="11499" y="283"/>
                    <a:pt x="11313" y="-15"/>
                    <a:pt x="11160" y="0"/>
                  </a:cubicBezTo>
                  <a:cubicBezTo>
                    <a:pt x="11140" y="2"/>
                    <a:pt x="11114" y="24"/>
                    <a:pt x="11083" y="63"/>
                  </a:cubicBezTo>
                  <a:close/>
                  <a:moveTo>
                    <a:pt x="11083" y="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5" name="AutoShape 775"/>
            <p:cNvSpPr>
              <a:spLocks/>
            </p:cNvSpPr>
            <p:nvPr/>
          </p:nvSpPr>
          <p:spPr bwMode="auto">
            <a:xfrm>
              <a:off x="9690100" y="4305300"/>
              <a:ext cx="14288" cy="58738"/>
            </a:xfrm>
            <a:custGeom>
              <a:avLst/>
              <a:gdLst/>
              <a:ahLst/>
              <a:cxnLst/>
              <a:rect l="0" t="0" r="r" b="b"/>
              <a:pathLst>
                <a:path w="21600" h="21600">
                  <a:moveTo>
                    <a:pt x="21600" y="0"/>
                  </a:moveTo>
                  <a:cubicBezTo>
                    <a:pt x="18232" y="1866"/>
                    <a:pt x="10467" y="9609"/>
                    <a:pt x="2460" y="18733"/>
                  </a:cubicBezTo>
                  <a:cubicBezTo>
                    <a:pt x="1758" y="19694"/>
                    <a:pt x="815" y="20641"/>
                    <a:pt x="0" y="21600"/>
                  </a:cubicBezTo>
                  <a:cubicBezTo>
                    <a:pt x="795" y="20641"/>
                    <a:pt x="1720" y="19689"/>
                    <a:pt x="2497" y="18733"/>
                  </a:cubicBezTo>
                  <a:cubicBezTo>
                    <a:pt x="10467" y="9609"/>
                    <a:pt x="18232" y="1866"/>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6" name="AutoShape 776"/>
            <p:cNvSpPr>
              <a:spLocks/>
            </p:cNvSpPr>
            <p:nvPr/>
          </p:nvSpPr>
          <p:spPr bwMode="auto">
            <a:xfrm>
              <a:off x="9601200" y="4914900"/>
              <a:ext cx="9525" cy="3175"/>
            </a:xfrm>
            <a:custGeom>
              <a:avLst/>
              <a:gdLst/>
              <a:ahLst/>
              <a:cxnLst/>
              <a:rect l="0" t="0" r="r" b="b"/>
              <a:pathLst>
                <a:path w="19235" h="19338">
                  <a:moveTo>
                    <a:pt x="15743" y="2866"/>
                  </a:moveTo>
                  <a:cubicBezTo>
                    <a:pt x="11686" y="-1454"/>
                    <a:pt x="5577" y="-868"/>
                    <a:pt x="2210" y="4476"/>
                  </a:cubicBezTo>
                  <a:cubicBezTo>
                    <a:pt x="-1155" y="9823"/>
                    <a:pt x="-623" y="16922"/>
                    <a:pt x="3434" y="17950"/>
                  </a:cubicBezTo>
                  <a:cubicBezTo>
                    <a:pt x="7467" y="20146"/>
                    <a:pt x="13597" y="19778"/>
                    <a:pt x="16987" y="16554"/>
                  </a:cubicBezTo>
                  <a:cubicBezTo>
                    <a:pt x="20445" y="14065"/>
                    <a:pt x="19823" y="7624"/>
                    <a:pt x="15743" y="2866"/>
                  </a:cubicBezTo>
                  <a:close/>
                  <a:moveTo>
                    <a:pt x="15743" y="286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7" name="AutoShape 777"/>
            <p:cNvSpPr>
              <a:spLocks/>
            </p:cNvSpPr>
            <p:nvPr/>
          </p:nvSpPr>
          <p:spPr bwMode="auto">
            <a:xfrm>
              <a:off x="9271000" y="4597400"/>
              <a:ext cx="352425" cy="312738"/>
            </a:xfrm>
            <a:custGeom>
              <a:avLst/>
              <a:gdLst/>
              <a:ahLst/>
              <a:cxnLst/>
              <a:rect l="0" t="0" r="r" b="b"/>
              <a:pathLst>
                <a:path w="21500" h="21387">
                  <a:moveTo>
                    <a:pt x="20791" y="4999"/>
                  </a:moveTo>
                  <a:cubicBezTo>
                    <a:pt x="20860" y="4640"/>
                    <a:pt x="20563" y="3587"/>
                    <a:pt x="20112" y="2656"/>
                  </a:cubicBezTo>
                  <a:cubicBezTo>
                    <a:pt x="19662" y="1721"/>
                    <a:pt x="19331" y="623"/>
                    <a:pt x="19354" y="214"/>
                  </a:cubicBezTo>
                  <a:cubicBezTo>
                    <a:pt x="19399" y="-193"/>
                    <a:pt x="18368" y="-3"/>
                    <a:pt x="17065" y="636"/>
                  </a:cubicBezTo>
                  <a:cubicBezTo>
                    <a:pt x="16187" y="1057"/>
                    <a:pt x="15309" y="1497"/>
                    <a:pt x="14420" y="1930"/>
                  </a:cubicBezTo>
                  <a:cubicBezTo>
                    <a:pt x="13074" y="2587"/>
                    <a:pt x="11230" y="4547"/>
                    <a:pt x="10350" y="6308"/>
                  </a:cubicBezTo>
                  <a:cubicBezTo>
                    <a:pt x="10134" y="6733"/>
                    <a:pt x="9910" y="7153"/>
                    <a:pt x="9703" y="7584"/>
                  </a:cubicBezTo>
                  <a:cubicBezTo>
                    <a:pt x="8799" y="9349"/>
                    <a:pt x="8047" y="10170"/>
                    <a:pt x="8047" y="9405"/>
                  </a:cubicBezTo>
                  <a:cubicBezTo>
                    <a:pt x="8025" y="8640"/>
                    <a:pt x="7627" y="7731"/>
                    <a:pt x="7122" y="7385"/>
                  </a:cubicBezTo>
                  <a:cubicBezTo>
                    <a:pt x="6616" y="7039"/>
                    <a:pt x="5797" y="6534"/>
                    <a:pt x="5305" y="6253"/>
                  </a:cubicBezTo>
                  <a:cubicBezTo>
                    <a:pt x="4813" y="5972"/>
                    <a:pt x="4103" y="5747"/>
                    <a:pt x="3735" y="5741"/>
                  </a:cubicBezTo>
                  <a:cubicBezTo>
                    <a:pt x="3365" y="5728"/>
                    <a:pt x="2911" y="5570"/>
                    <a:pt x="2741" y="5361"/>
                  </a:cubicBezTo>
                  <a:cubicBezTo>
                    <a:pt x="2558" y="5168"/>
                    <a:pt x="2290" y="5076"/>
                    <a:pt x="2129" y="5179"/>
                  </a:cubicBezTo>
                  <a:cubicBezTo>
                    <a:pt x="1970" y="5286"/>
                    <a:pt x="1767" y="5705"/>
                    <a:pt x="1679" y="6116"/>
                  </a:cubicBezTo>
                  <a:cubicBezTo>
                    <a:pt x="1600" y="6529"/>
                    <a:pt x="1605" y="7096"/>
                    <a:pt x="1705" y="7384"/>
                  </a:cubicBezTo>
                  <a:cubicBezTo>
                    <a:pt x="1808" y="7670"/>
                    <a:pt x="1754" y="8030"/>
                    <a:pt x="1593" y="8185"/>
                  </a:cubicBezTo>
                  <a:cubicBezTo>
                    <a:pt x="1431" y="8340"/>
                    <a:pt x="1238" y="8610"/>
                    <a:pt x="1169" y="8785"/>
                  </a:cubicBezTo>
                  <a:cubicBezTo>
                    <a:pt x="1099" y="8960"/>
                    <a:pt x="968" y="9064"/>
                    <a:pt x="881" y="9010"/>
                  </a:cubicBezTo>
                  <a:cubicBezTo>
                    <a:pt x="789" y="8959"/>
                    <a:pt x="631" y="8902"/>
                    <a:pt x="522" y="8896"/>
                  </a:cubicBezTo>
                  <a:cubicBezTo>
                    <a:pt x="414" y="8890"/>
                    <a:pt x="368" y="9001"/>
                    <a:pt x="392" y="9160"/>
                  </a:cubicBezTo>
                  <a:cubicBezTo>
                    <a:pt x="426" y="9316"/>
                    <a:pt x="499" y="9797"/>
                    <a:pt x="533" y="10230"/>
                  </a:cubicBezTo>
                  <a:cubicBezTo>
                    <a:pt x="590" y="10663"/>
                    <a:pt x="614" y="11233"/>
                    <a:pt x="580" y="11490"/>
                  </a:cubicBezTo>
                  <a:cubicBezTo>
                    <a:pt x="556" y="11749"/>
                    <a:pt x="494" y="11968"/>
                    <a:pt x="426" y="11968"/>
                  </a:cubicBezTo>
                  <a:cubicBezTo>
                    <a:pt x="357" y="11968"/>
                    <a:pt x="285" y="12048"/>
                    <a:pt x="297" y="12138"/>
                  </a:cubicBezTo>
                  <a:cubicBezTo>
                    <a:pt x="285" y="12229"/>
                    <a:pt x="215" y="12272"/>
                    <a:pt x="119" y="12242"/>
                  </a:cubicBezTo>
                  <a:cubicBezTo>
                    <a:pt x="25" y="12202"/>
                    <a:pt x="-29" y="12280"/>
                    <a:pt x="16" y="12397"/>
                  </a:cubicBezTo>
                  <a:cubicBezTo>
                    <a:pt x="50" y="12520"/>
                    <a:pt x="136" y="12614"/>
                    <a:pt x="199" y="12614"/>
                  </a:cubicBezTo>
                  <a:cubicBezTo>
                    <a:pt x="264" y="12608"/>
                    <a:pt x="317" y="12714"/>
                    <a:pt x="317" y="12845"/>
                  </a:cubicBezTo>
                  <a:cubicBezTo>
                    <a:pt x="317" y="12973"/>
                    <a:pt x="432" y="13290"/>
                    <a:pt x="567" y="13548"/>
                  </a:cubicBezTo>
                  <a:cubicBezTo>
                    <a:pt x="702" y="13810"/>
                    <a:pt x="854" y="14666"/>
                    <a:pt x="910" y="15459"/>
                  </a:cubicBezTo>
                  <a:cubicBezTo>
                    <a:pt x="954" y="16249"/>
                    <a:pt x="1120" y="17052"/>
                    <a:pt x="1267" y="17242"/>
                  </a:cubicBezTo>
                  <a:cubicBezTo>
                    <a:pt x="1411" y="17434"/>
                    <a:pt x="1535" y="17782"/>
                    <a:pt x="1535" y="18020"/>
                  </a:cubicBezTo>
                  <a:cubicBezTo>
                    <a:pt x="1546" y="18258"/>
                    <a:pt x="1475" y="18497"/>
                    <a:pt x="1414" y="18564"/>
                  </a:cubicBezTo>
                  <a:cubicBezTo>
                    <a:pt x="1351" y="18628"/>
                    <a:pt x="1338" y="18865"/>
                    <a:pt x="1394" y="19092"/>
                  </a:cubicBezTo>
                  <a:cubicBezTo>
                    <a:pt x="1439" y="19321"/>
                    <a:pt x="1594" y="19654"/>
                    <a:pt x="1709" y="19840"/>
                  </a:cubicBezTo>
                  <a:cubicBezTo>
                    <a:pt x="1828" y="20026"/>
                    <a:pt x="1937" y="20348"/>
                    <a:pt x="1949" y="20559"/>
                  </a:cubicBezTo>
                  <a:cubicBezTo>
                    <a:pt x="1949" y="20770"/>
                    <a:pt x="2020" y="21050"/>
                    <a:pt x="2055" y="21192"/>
                  </a:cubicBezTo>
                  <a:cubicBezTo>
                    <a:pt x="2096" y="21331"/>
                    <a:pt x="2232" y="21407"/>
                    <a:pt x="2356" y="21382"/>
                  </a:cubicBezTo>
                  <a:cubicBezTo>
                    <a:pt x="2479" y="21354"/>
                    <a:pt x="2607" y="21270"/>
                    <a:pt x="2639" y="21210"/>
                  </a:cubicBezTo>
                  <a:cubicBezTo>
                    <a:pt x="2677" y="21155"/>
                    <a:pt x="2831" y="21161"/>
                    <a:pt x="2995" y="21222"/>
                  </a:cubicBezTo>
                  <a:cubicBezTo>
                    <a:pt x="3159" y="21283"/>
                    <a:pt x="3370" y="21309"/>
                    <a:pt x="3470" y="21272"/>
                  </a:cubicBezTo>
                  <a:cubicBezTo>
                    <a:pt x="3566" y="21225"/>
                    <a:pt x="3752" y="21074"/>
                    <a:pt x="3878" y="20920"/>
                  </a:cubicBezTo>
                  <a:cubicBezTo>
                    <a:pt x="4010" y="20772"/>
                    <a:pt x="4200" y="20630"/>
                    <a:pt x="4317" y="20624"/>
                  </a:cubicBezTo>
                  <a:cubicBezTo>
                    <a:pt x="4432" y="20618"/>
                    <a:pt x="4572" y="20679"/>
                    <a:pt x="4630" y="20764"/>
                  </a:cubicBezTo>
                  <a:cubicBezTo>
                    <a:pt x="4681" y="20856"/>
                    <a:pt x="4833" y="20870"/>
                    <a:pt x="4941" y="20789"/>
                  </a:cubicBezTo>
                  <a:cubicBezTo>
                    <a:pt x="5053" y="20714"/>
                    <a:pt x="5248" y="20472"/>
                    <a:pt x="5362" y="20240"/>
                  </a:cubicBezTo>
                  <a:cubicBezTo>
                    <a:pt x="5479" y="20007"/>
                    <a:pt x="5626" y="19806"/>
                    <a:pt x="5684" y="19790"/>
                  </a:cubicBezTo>
                  <a:cubicBezTo>
                    <a:pt x="5742" y="19780"/>
                    <a:pt x="5856" y="19576"/>
                    <a:pt x="5924" y="19348"/>
                  </a:cubicBezTo>
                  <a:cubicBezTo>
                    <a:pt x="5994" y="19119"/>
                    <a:pt x="6175" y="18807"/>
                    <a:pt x="6331" y="18675"/>
                  </a:cubicBezTo>
                  <a:cubicBezTo>
                    <a:pt x="6486" y="18538"/>
                    <a:pt x="6666" y="18388"/>
                    <a:pt x="6738" y="18347"/>
                  </a:cubicBezTo>
                  <a:cubicBezTo>
                    <a:pt x="6812" y="18306"/>
                    <a:pt x="6950" y="18275"/>
                    <a:pt x="7042" y="18282"/>
                  </a:cubicBezTo>
                  <a:cubicBezTo>
                    <a:pt x="7132" y="18276"/>
                    <a:pt x="7243" y="18319"/>
                    <a:pt x="7243" y="18373"/>
                  </a:cubicBezTo>
                  <a:cubicBezTo>
                    <a:pt x="7262" y="18421"/>
                    <a:pt x="7412" y="18440"/>
                    <a:pt x="7578" y="18421"/>
                  </a:cubicBezTo>
                  <a:cubicBezTo>
                    <a:pt x="7743" y="18395"/>
                    <a:pt x="7911" y="18423"/>
                    <a:pt x="7935" y="18487"/>
                  </a:cubicBezTo>
                  <a:cubicBezTo>
                    <a:pt x="7967" y="18549"/>
                    <a:pt x="8084" y="18619"/>
                    <a:pt x="8193" y="18656"/>
                  </a:cubicBezTo>
                  <a:cubicBezTo>
                    <a:pt x="8306" y="18675"/>
                    <a:pt x="8617" y="18572"/>
                    <a:pt x="8888" y="18401"/>
                  </a:cubicBezTo>
                  <a:cubicBezTo>
                    <a:pt x="9159" y="18231"/>
                    <a:pt x="9556" y="18052"/>
                    <a:pt x="9771" y="18010"/>
                  </a:cubicBezTo>
                  <a:cubicBezTo>
                    <a:pt x="9983" y="17960"/>
                    <a:pt x="10225" y="17856"/>
                    <a:pt x="10296" y="17756"/>
                  </a:cubicBezTo>
                  <a:cubicBezTo>
                    <a:pt x="10377" y="17667"/>
                    <a:pt x="10442" y="17501"/>
                    <a:pt x="10464" y="17403"/>
                  </a:cubicBezTo>
                  <a:cubicBezTo>
                    <a:pt x="10476" y="17300"/>
                    <a:pt x="10665" y="17015"/>
                    <a:pt x="10874" y="16769"/>
                  </a:cubicBezTo>
                  <a:cubicBezTo>
                    <a:pt x="11077" y="16516"/>
                    <a:pt x="11322" y="16315"/>
                    <a:pt x="11407" y="16322"/>
                  </a:cubicBezTo>
                  <a:cubicBezTo>
                    <a:pt x="11492" y="16316"/>
                    <a:pt x="11612" y="16393"/>
                    <a:pt x="11682" y="16464"/>
                  </a:cubicBezTo>
                  <a:cubicBezTo>
                    <a:pt x="11749" y="16539"/>
                    <a:pt x="11866" y="16571"/>
                    <a:pt x="11948" y="16548"/>
                  </a:cubicBezTo>
                  <a:cubicBezTo>
                    <a:pt x="12029" y="16522"/>
                    <a:pt x="12139" y="16428"/>
                    <a:pt x="12193" y="16352"/>
                  </a:cubicBezTo>
                  <a:cubicBezTo>
                    <a:pt x="12251" y="16274"/>
                    <a:pt x="12318" y="16246"/>
                    <a:pt x="12351" y="16289"/>
                  </a:cubicBezTo>
                  <a:cubicBezTo>
                    <a:pt x="12379" y="16336"/>
                    <a:pt x="12471" y="16367"/>
                    <a:pt x="12549" y="16361"/>
                  </a:cubicBezTo>
                  <a:cubicBezTo>
                    <a:pt x="12626" y="16361"/>
                    <a:pt x="12825" y="16179"/>
                    <a:pt x="12993" y="15968"/>
                  </a:cubicBezTo>
                  <a:cubicBezTo>
                    <a:pt x="13159" y="15757"/>
                    <a:pt x="13389" y="15342"/>
                    <a:pt x="13521" y="15058"/>
                  </a:cubicBezTo>
                  <a:cubicBezTo>
                    <a:pt x="13637" y="14768"/>
                    <a:pt x="13836" y="14476"/>
                    <a:pt x="13933" y="14389"/>
                  </a:cubicBezTo>
                  <a:cubicBezTo>
                    <a:pt x="14036" y="14305"/>
                    <a:pt x="14167" y="14243"/>
                    <a:pt x="14225" y="14249"/>
                  </a:cubicBezTo>
                  <a:cubicBezTo>
                    <a:pt x="14282" y="14256"/>
                    <a:pt x="14827" y="14011"/>
                    <a:pt x="15429" y="13700"/>
                  </a:cubicBezTo>
                  <a:cubicBezTo>
                    <a:pt x="16031" y="13396"/>
                    <a:pt x="16571" y="13075"/>
                    <a:pt x="16620" y="12979"/>
                  </a:cubicBezTo>
                  <a:cubicBezTo>
                    <a:pt x="16685" y="12895"/>
                    <a:pt x="16993" y="12719"/>
                    <a:pt x="17327" y="12608"/>
                  </a:cubicBezTo>
                  <a:cubicBezTo>
                    <a:pt x="17657" y="12491"/>
                    <a:pt x="18099" y="12256"/>
                    <a:pt x="18314" y="12086"/>
                  </a:cubicBezTo>
                  <a:cubicBezTo>
                    <a:pt x="18525" y="11909"/>
                    <a:pt x="18784" y="11640"/>
                    <a:pt x="18895" y="11487"/>
                  </a:cubicBezTo>
                  <a:cubicBezTo>
                    <a:pt x="19007" y="11336"/>
                    <a:pt x="19276" y="11134"/>
                    <a:pt x="19503" y="11045"/>
                  </a:cubicBezTo>
                  <a:cubicBezTo>
                    <a:pt x="19730" y="10960"/>
                    <a:pt x="19906" y="10810"/>
                    <a:pt x="19885" y="10719"/>
                  </a:cubicBezTo>
                  <a:cubicBezTo>
                    <a:pt x="19885" y="10626"/>
                    <a:pt x="19873" y="10513"/>
                    <a:pt x="19885" y="10460"/>
                  </a:cubicBezTo>
                  <a:cubicBezTo>
                    <a:pt x="19904" y="10412"/>
                    <a:pt x="19879" y="10319"/>
                    <a:pt x="19841" y="10250"/>
                  </a:cubicBezTo>
                  <a:cubicBezTo>
                    <a:pt x="19797" y="10187"/>
                    <a:pt x="19797" y="9963"/>
                    <a:pt x="19808" y="9757"/>
                  </a:cubicBezTo>
                  <a:cubicBezTo>
                    <a:pt x="19831" y="9550"/>
                    <a:pt x="20003" y="9096"/>
                    <a:pt x="20187" y="8744"/>
                  </a:cubicBezTo>
                  <a:cubicBezTo>
                    <a:pt x="20368" y="8392"/>
                    <a:pt x="20685" y="8036"/>
                    <a:pt x="20888" y="7965"/>
                  </a:cubicBezTo>
                  <a:cubicBezTo>
                    <a:pt x="21089" y="7886"/>
                    <a:pt x="21344" y="7775"/>
                    <a:pt x="21461" y="7726"/>
                  </a:cubicBezTo>
                  <a:cubicBezTo>
                    <a:pt x="21571" y="7665"/>
                    <a:pt x="21435" y="7193"/>
                    <a:pt x="21163" y="6643"/>
                  </a:cubicBezTo>
                  <a:cubicBezTo>
                    <a:pt x="20875" y="6103"/>
                    <a:pt x="20701" y="5352"/>
                    <a:pt x="20791" y="4999"/>
                  </a:cubicBezTo>
                  <a:close/>
                  <a:moveTo>
                    <a:pt x="20791" y="49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8" name="AutoShape 778"/>
            <p:cNvSpPr>
              <a:spLocks/>
            </p:cNvSpPr>
            <p:nvPr/>
          </p:nvSpPr>
          <p:spPr bwMode="auto">
            <a:xfrm>
              <a:off x="9639300" y="4889500"/>
              <a:ext cx="34925" cy="20638"/>
            </a:xfrm>
            <a:custGeom>
              <a:avLst/>
              <a:gdLst/>
              <a:ahLst/>
              <a:cxnLst/>
              <a:rect l="0" t="0" r="r" b="b"/>
              <a:pathLst>
                <a:path w="21372" h="21280">
                  <a:moveTo>
                    <a:pt x="19882" y="4150"/>
                  </a:moveTo>
                  <a:cubicBezTo>
                    <a:pt x="19102" y="3882"/>
                    <a:pt x="17968" y="3016"/>
                    <a:pt x="17317" y="2322"/>
                  </a:cubicBezTo>
                  <a:cubicBezTo>
                    <a:pt x="16735" y="1494"/>
                    <a:pt x="15320" y="1555"/>
                    <a:pt x="14314" y="2176"/>
                  </a:cubicBezTo>
                  <a:cubicBezTo>
                    <a:pt x="13292" y="2675"/>
                    <a:pt x="11893" y="3747"/>
                    <a:pt x="11174" y="4320"/>
                  </a:cubicBezTo>
                  <a:cubicBezTo>
                    <a:pt x="10424" y="4759"/>
                    <a:pt x="9366" y="5076"/>
                    <a:pt x="8738" y="4869"/>
                  </a:cubicBezTo>
                  <a:cubicBezTo>
                    <a:pt x="8102" y="4698"/>
                    <a:pt x="7399" y="3468"/>
                    <a:pt x="7179" y="2322"/>
                  </a:cubicBezTo>
                  <a:cubicBezTo>
                    <a:pt x="6952" y="1177"/>
                    <a:pt x="6241" y="80"/>
                    <a:pt x="5620" y="7"/>
                  </a:cubicBezTo>
                  <a:cubicBezTo>
                    <a:pt x="4985" y="-78"/>
                    <a:pt x="3888" y="641"/>
                    <a:pt x="3336" y="1957"/>
                  </a:cubicBezTo>
                  <a:cubicBezTo>
                    <a:pt x="2723" y="3163"/>
                    <a:pt x="2163" y="5661"/>
                    <a:pt x="1936" y="7476"/>
                  </a:cubicBezTo>
                  <a:cubicBezTo>
                    <a:pt x="1823" y="9302"/>
                    <a:pt x="1066" y="11362"/>
                    <a:pt x="477" y="12312"/>
                  </a:cubicBezTo>
                  <a:cubicBezTo>
                    <a:pt x="-228" y="13031"/>
                    <a:pt x="-76" y="14261"/>
                    <a:pt x="445" y="15212"/>
                  </a:cubicBezTo>
                  <a:cubicBezTo>
                    <a:pt x="1081" y="15979"/>
                    <a:pt x="2027" y="17513"/>
                    <a:pt x="2655" y="18525"/>
                  </a:cubicBezTo>
                  <a:cubicBezTo>
                    <a:pt x="3328" y="19415"/>
                    <a:pt x="4562" y="20767"/>
                    <a:pt x="5620" y="21108"/>
                  </a:cubicBezTo>
                  <a:cubicBezTo>
                    <a:pt x="6665" y="21522"/>
                    <a:pt x="8775" y="21145"/>
                    <a:pt x="10304" y="20438"/>
                  </a:cubicBezTo>
                  <a:cubicBezTo>
                    <a:pt x="11839" y="19732"/>
                    <a:pt x="14064" y="17758"/>
                    <a:pt x="15131" y="15846"/>
                  </a:cubicBezTo>
                  <a:cubicBezTo>
                    <a:pt x="16251" y="14042"/>
                    <a:pt x="17809" y="12385"/>
                    <a:pt x="18581" y="12203"/>
                  </a:cubicBezTo>
                  <a:cubicBezTo>
                    <a:pt x="19315" y="11947"/>
                    <a:pt x="20253" y="10862"/>
                    <a:pt x="20691" y="9790"/>
                  </a:cubicBezTo>
                  <a:cubicBezTo>
                    <a:pt x="21130" y="8742"/>
                    <a:pt x="21372" y="7110"/>
                    <a:pt x="21372" y="6234"/>
                  </a:cubicBezTo>
                  <a:cubicBezTo>
                    <a:pt x="21251" y="5368"/>
                    <a:pt x="20669" y="4357"/>
                    <a:pt x="19882" y="4150"/>
                  </a:cubicBezTo>
                  <a:close/>
                  <a:moveTo>
                    <a:pt x="19882" y="41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79" name="AutoShape 779"/>
            <p:cNvSpPr>
              <a:spLocks/>
            </p:cNvSpPr>
            <p:nvPr/>
          </p:nvSpPr>
          <p:spPr bwMode="auto">
            <a:xfrm>
              <a:off x="8534400" y="3962400"/>
              <a:ext cx="530225" cy="514350"/>
            </a:xfrm>
            <a:custGeom>
              <a:avLst/>
              <a:gdLst/>
              <a:ahLst/>
              <a:cxnLst/>
              <a:rect l="0" t="0" r="r" b="b"/>
              <a:pathLst>
                <a:path w="21581" h="21595">
                  <a:moveTo>
                    <a:pt x="17138" y="4589"/>
                  </a:moveTo>
                  <a:cubicBezTo>
                    <a:pt x="17175" y="4458"/>
                    <a:pt x="17107" y="4117"/>
                    <a:pt x="17008" y="3826"/>
                  </a:cubicBezTo>
                  <a:cubicBezTo>
                    <a:pt x="16889" y="3542"/>
                    <a:pt x="16706" y="3103"/>
                    <a:pt x="16566" y="2868"/>
                  </a:cubicBezTo>
                  <a:cubicBezTo>
                    <a:pt x="16429" y="2629"/>
                    <a:pt x="16281" y="2265"/>
                    <a:pt x="16221" y="2062"/>
                  </a:cubicBezTo>
                  <a:cubicBezTo>
                    <a:pt x="16174" y="1857"/>
                    <a:pt x="16045" y="1560"/>
                    <a:pt x="15952" y="1397"/>
                  </a:cubicBezTo>
                  <a:cubicBezTo>
                    <a:pt x="15854" y="1238"/>
                    <a:pt x="15738" y="1079"/>
                    <a:pt x="15687" y="1049"/>
                  </a:cubicBezTo>
                  <a:cubicBezTo>
                    <a:pt x="15638" y="1016"/>
                    <a:pt x="15548" y="1071"/>
                    <a:pt x="15492" y="1165"/>
                  </a:cubicBezTo>
                  <a:cubicBezTo>
                    <a:pt x="15432" y="1254"/>
                    <a:pt x="15290" y="1374"/>
                    <a:pt x="15169" y="1428"/>
                  </a:cubicBezTo>
                  <a:cubicBezTo>
                    <a:pt x="15049" y="1486"/>
                    <a:pt x="14707" y="1467"/>
                    <a:pt x="14412" y="1397"/>
                  </a:cubicBezTo>
                  <a:cubicBezTo>
                    <a:pt x="14117" y="1331"/>
                    <a:pt x="13691" y="1326"/>
                    <a:pt x="13463" y="1389"/>
                  </a:cubicBezTo>
                  <a:cubicBezTo>
                    <a:pt x="13233" y="1452"/>
                    <a:pt x="12906" y="1385"/>
                    <a:pt x="12732" y="1239"/>
                  </a:cubicBezTo>
                  <a:cubicBezTo>
                    <a:pt x="12558" y="1090"/>
                    <a:pt x="12398" y="1044"/>
                    <a:pt x="12382" y="1138"/>
                  </a:cubicBezTo>
                  <a:cubicBezTo>
                    <a:pt x="12353" y="1229"/>
                    <a:pt x="12411" y="1399"/>
                    <a:pt x="12472" y="1517"/>
                  </a:cubicBezTo>
                  <a:cubicBezTo>
                    <a:pt x="12533" y="1635"/>
                    <a:pt x="12591" y="1784"/>
                    <a:pt x="12591" y="1855"/>
                  </a:cubicBezTo>
                  <a:cubicBezTo>
                    <a:pt x="12591" y="1925"/>
                    <a:pt x="12527" y="1893"/>
                    <a:pt x="12468" y="1774"/>
                  </a:cubicBezTo>
                  <a:cubicBezTo>
                    <a:pt x="12400" y="1659"/>
                    <a:pt x="12267" y="1510"/>
                    <a:pt x="12169" y="1445"/>
                  </a:cubicBezTo>
                  <a:cubicBezTo>
                    <a:pt x="12072" y="1379"/>
                    <a:pt x="11979" y="1243"/>
                    <a:pt x="11949" y="1149"/>
                  </a:cubicBezTo>
                  <a:cubicBezTo>
                    <a:pt x="11925" y="1052"/>
                    <a:pt x="11943" y="957"/>
                    <a:pt x="11986" y="931"/>
                  </a:cubicBezTo>
                  <a:cubicBezTo>
                    <a:pt x="12032" y="911"/>
                    <a:pt x="12033" y="851"/>
                    <a:pt x="11994" y="803"/>
                  </a:cubicBezTo>
                  <a:cubicBezTo>
                    <a:pt x="11953" y="756"/>
                    <a:pt x="11857" y="723"/>
                    <a:pt x="11781" y="734"/>
                  </a:cubicBezTo>
                  <a:cubicBezTo>
                    <a:pt x="11704" y="746"/>
                    <a:pt x="11561" y="717"/>
                    <a:pt x="11464" y="676"/>
                  </a:cubicBezTo>
                  <a:cubicBezTo>
                    <a:pt x="11366" y="639"/>
                    <a:pt x="11157" y="554"/>
                    <a:pt x="10995" y="498"/>
                  </a:cubicBezTo>
                  <a:cubicBezTo>
                    <a:pt x="10834" y="439"/>
                    <a:pt x="10680" y="420"/>
                    <a:pt x="10658" y="454"/>
                  </a:cubicBezTo>
                  <a:cubicBezTo>
                    <a:pt x="10636" y="488"/>
                    <a:pt x="10671" y="526"/>
                    <a:pt x="10738" y="548"/>
                  </a:cubicBezTo>
                  <a:cubicBezTo>
                    <a:pt x="10807" y="562"/>
                    <a:pt x="10873" y="615"/>
                    <a:pt x="10890" y="652"/>
                  </a:cubicBezTo>
                  <a:cubicBezTo>
                    <a:pt x="10906" y="691"/>
                    <a:pt x="10847" y="730"/>
                    <a:pt x="10758" y="738"/>
                  </a:cubicBezTo>
                  <a:cubicBezTo>
                    <a:pt x="10669" y="751"/>
                    <a:pt x="10523" y="747"/>
                    <a:pt x="10434" y="725"/>
                  </a:cubicBezTo>
                  <a:cubicBezTo>
                    <a:pt x="10344" y="706"/>
                    <a:pt x="10188" y="733"/>
                    <a:pt x="10086" y="781"/>
                  </a:cubicBezTo>
                  <a:cubicBezTo>
                    <a:pt x="9985" y="829"/>
                    <a:pt x="9876" y="830"/>
                    <a:pt x="9840" y="793"/>
                  </a:cubicBezTo>
                  <a:cubicBezTo>
                    <a:pt x="9802" y="758"/>
                    <a:pt x="9781" y="701"/>
                    <a:pt x="9781" y="676"/>
                  </a:cubicBezTo>
                  <a:cubicBezTo>
                    <a:pt x="9775" y="651"/>
                    <a:pt x="9859" y="626"/>
                    <a:pt x="9950" y="613"/>
                  </a:cubicBezTo>
                  <a:cubicBezTo>
                    <a:pt x="10039" y="601"/>
                    <a:pt x="10174" y="567"/>
                    <a:pt x="10248" y="534"/>
                  </a:cubicBezTo>
                  <a:cubicBezTo>
                    <a:pt x="10321" y="499"/>
                    <a:pt x="10305" y="483"/>
                    <a:pt x="10210" y="491"/>
                  </a:cubicBezTo>
                  <a:cubicBezTo>
                    <a:pt x="10117" y="502"/>
                    <a:pt x="9931" y="504"/>
                    <a:pt x="9797" y="508"/>
                  </a:cubicBezTo>
                  <a:cubicBezTo>
                    <a:pt x="9663" y="508"/>
                    <a:pt x="9508" y="543"/>
                    <a:pt x="9452" y="590"/>
                  </a:cubicBezTo>
                  <a:cubicBezTo>
                    <a:pt x="9396" y="634"/>
                    <a:pt x="9248" y="731"/>
                    <a:pt x="9126" y="810"/>
                  </a:cubicBezTo>
                  <a:cubicBezTo>
                    <a:pt x="9002" y="886"/>
                    <a:pt x="8852" y="978"/>
                    <a:pt x="8792" y="1012"/>
                  </a:cubicBezTo>
                  <a:cubicBezTo>
                    <a:pt x="8730" y="1044"/>
                    <a:pt x="8584" y="1113"/>
                    <a:pt x="8463" y="1152"/>
                  </a:cubicBezTo>
                  <a:cubicBezTo>
                    <a:pt x="8340" y="1191"/>
                    <a:pt x="8155" y="1312"/>
                    <a:pt x="8063" y="1427"/>
                  </a:cubicBezTo>
                  <a:cubicBezTo>
                    <a:pt x="7967" y="1538"/>
                    <a:pt x="7870" y="1667"/>
                    <a:pt x="7855" y="1717"/>
                  </a:cubicBezTo>
                  <a:cubicBezTo>
                    <a:pt x="7847" y="1769"/>
                    <a:pt x="7694" y="1805"/>
                    <a:pt x="7535" y="1797"/>
                  </a:cubicBezTo>
                  <a:cubicBezTo>
                    <a:pt x="7375" y="1793"/>
                    <a:pt x="7098" y="1678"/>
                    <a:pt x="6918" y="1547"/>
                  </a:cubicBezTo>
                  <a:cubicBezTo>
                    <a:pt x="6737" y="1418"/>
                    <a:pt x="6501" y="1295"/>
                    <a:pt x="6387" y="1276"/>
                  </a:cubicBezTo>
                  <a:cubicBezTo>
                    <a:pt x="6275" y="1256"/>
                    <a:pt x="6047" y="1250"/>
                    <a:pt x="5882" y="1258"/>
                  </a:cubicBezTo>
                  <a:cubicBezTo>
                    <a:pt x="5718" y="1266"/>
                    <a:pt x="5465" y="1186"/>
                    <a:pt x="5324" y="1078"/>
                  </a:cubicBezTo>
                  <a:cubicBezTo>
                    <a:pt x="5180" y="973"/>
                    <a:pt x="5019" y="886"/>
                    <a:pt x="4964" y="882"/>
                  </a:cubicBezTo>
                  <a:cubicBezTo>
                    <a:pt x="4909" y="882"/>
                    <a:pt x="4816" y="909"/>
                    <a:pt x="4759" y="951"/>
                  </a:cubicBezTo>
                  <a:cubicBezTo>
                    <a:pt x="4700" y="988"/>
                    <a:pt x="4540" y="930"/>
                    <a:pt x="4400" y="815"/>
                  </a:cubicBezTo>
                  <a:cubicBezTo>
                    <a:pt x="4258" y="703"/>
                    <a:pt x="4014" y="570"/>
                    <a:pt x="3853" y="529"/>
                  </a:cubicBezTo>
                  <a:cubicBezTo>
                    <a:pt x="3691" y="491"/>
                    <a:pt x="3247" y="414"/>
                    <a:pt x="2864" y="363"/>
                  </a:cubicBezTo>
                  <a:cubicBezTo>
                    <a:pt x="2479" y="313"/>
                    <a:pt x="2006" y="211"/>
                    <a:pt x="1812" y="135"/>
                  </a:cubicBezTo>
                  <a:cubicBezTo>
                    <a:pt x="1620" y="55"/>
                    <a:pt x="1258" y="-4"/>
                    <a:pt x="1010" y="0"/>
                  </a:cubicBezTo>
                  <a:cubicBezTo>
                    <a:pt x="763" y="8"/>
                    <a:pt x="520" y="27"/>
                    <a:pt x="471" y="37"/>
                  </a:cubicBezTo>
                  <a:cubicBezTo>
                    <a:pt x="423" y="53"/>
                    <a:pt x="383" y="63"/>
                    <a:pt x="383" y="63"/>
                  </a:cubicBezTo>
                  <a:cubicBezTo>
                    <a:pt x="384" y="63"/>
                    <a:pt x="352" y="135"/>
                    <a:pt x="329" y="230"/>
                  </a:cubicBezTo>
                  <a:cubicBezTo>
                    <a:pt x="293" y="320"/>
                    <a:pt x="247" y="592"/>
                    <a:pt x="208" y="828"/>
                  </a:cubicBezTo>
                  <a:cubicBezTo>
                    <a:pt x="179" y="1066"/>
                    <a:pt x="193" y="1383"/>
                    <a:pt x="253" y="1536"/>
                  </a:cubicBezTo>
                  <a:cubicBezTo>
                    <a:pt x="307" y="1693"/>
                    <a:pt x="371" y="1917"/>
                    <a:pt x="371" y="2042"/>
                  </a:cubicBezTo>
                  <a:cubicBezTo>
                    <a:pt x="378" y="2166"/>
                    <a:pt x="315" y="2424"/>
                    <a:pt x="255" y="2619"/>
                  </a:cubicBezTo>
                  <a:cubicBezTo>
                    <a:pt x="189" y="2812"/>
                    <a:pt x="88" y="3115"/>
                    <a:pt x="35" y="3292"/>
                  </a:cubicBezTo>
                  <a:cubicBezTo>
                    <a:pt x="-19" y="3470"/>
                    <a:pt x="-10" y="3741"/>
                    <a:pt x="57" y="3895"/>
                  </a:cubicBezTo>
                  <a:cubicBezTo>
                    <a:pt x="123" y="4049"/>
                    <a:pt x="225" y="4411"/>
                    <a:pt x="285" y="4700"/>
                  </a:cubicBezTo>
                  <a:cubicBezTo>
                    <a:pt x="338" y="4990"/>
                    <a:pt x="468" y="6404"/>
                    <a:pt x="544" y="7848"/>
                  </a:cubicBezTo>
                  <a:cubicBezTo>
                    <a:pt x="642" y="9583"/>
                    <a:pt x="730" y="11320"/>
                    <a:pt x="814" y="13057"/>
                  </a:cubicBezTo>
                  <a:cubicBezTo>
                    <a:pt x="826" y="13309"/>
                    <a:pt x="838" y="13561"/>
                    <a:pt x="850" y="13813"/>
                  </a:cubicBezTo>
                  <a:cubicBezTo>
                    <a:pt x="931" y="15530"/>
                    <a:pt x="1006" y="17247"/>
                    <a:pt x="1074" y="18965"/>
                  </a:cubicBezTo>
                  <a:cubicBezTo>
                    <a:pt x="1075" y="18970"/>
                    <a:pt x="1075" y="18974"/>
                    <a:pt x="1075" y="18979"/>
                  </a:cubicBezTo>
                  <a:cubicBezTo>
                    <a:pt x="1076" y="19008"/>
                    <a:pt x="1078" y="19040"/>
                    <a:pt x="1079" y="19070"/>
                  </a:cubicBezTo>
                  <a:cubicBezTo>
                    <a:pt x="1081" y="19130"/>
                    <a:pt x="1084" y="19190"/>
                    <a:pt x="1087" y="19250"/>
                  </a:cubicBezTo>
                  <a:cubicBezTo>
                    <a:pt x="1116" y="19953"/>
                    <a:pt x="1156" y="20871"/>
                    <a:pt x="1236" y="21594"/>
                  </a:cubicBezTo>
                  <a:cubicBezTo>
                    <a:pt x="1798" y="21555"/>
                    <a:pt x="2969" y="21596"/>
                    <a:pt x="3477" y="21588"/>
                  </a:cubicBezTo>
                  <a:cubicBezTo>
                    <a:pt x="9014" y="21523"/>
                    <a:pt x="14369" y="21466"/>
                    <a:pt x="19535" y="21399"/>
                  </a:cubicBezTo>
                  <a:cubicBezTo>
                    <a:pt x="20662" y="21391"/>
                    <a:pt x="21581" y="21366"/>
                    <a:pt x="21581" y="21353"/>
                  </a:cubicBezTo>
                  <a:cubicBezTo>
                    <a:pt x="21581" y="21342"/>
                    <a:pt x="21522" y="21301"/>
                    <a:pt x="21445" y="21266"/>
                  </a:cubicBezTo>
                  <a:cubicBezTo>
                    <a:pt x="21368" y="21233"/>
                    <a:pt x="21221" y="21094"/>
                    <a:pt x="21121" y="20964"/>
                  </a:cubicBezTo>
                  <a:cubicBezTo>
                    <a:pt x="21021" y="20833"/>
                    <a:pt x="20909" y="20673"/>
                    <a:pt x="20887" y="20604"/>
                  </a:cubicBezTo>
                  <a:cubicBezTo>
                    <a:pt x="20866" y="20535"/>
                    <a:pt x="20763" y="20455"/>
                    <a:pt x="20673" y="20420"/>
                  </a:cubicBezTo>
                  <a:cubicBezTo>
                    <a:pt x="20583" y="20382"/>
                    <a:pt x="20463" y="20241"/>
                    <a:pt x="20403" y="20099"/>
                  </a:cubicBezTo>
                  <a:cubicBezTo>
                    <a:pt x="20349" y="19952"/>
                    <a:pt x="20259" y="19866"/>
                    <a:pt x="20203" y="19892"/>
                  </a:cubicBezTo>
                  <a:cubicBezTo>
                    <a:pt x="20148" y="19917"/>
                    <a:pt x="20038" y="19940"/>
                    <a:pt x="19955" y="19940"/>
                  </a:cubicBezTo>
                  <a:cubicBezTo>
                    <a:pt x="19870" y="19932"/>
                    <a:pt x="19691" y="19842"/>
                    <a:pt x="19553" y="19732"/>
                  </a:cubicBezTo>
                  <a:cubicBezTo>
                    <a:pt x="19414" y="19625"/>
                    <a:pt x="19243" y="19300"/>
                    <a:pt x="19175" y="19014"/>
                  </a:cubicBezTo>
                  <a:cubicBezTo>
                    <a:pt x="19100" y="18729"/>
                    <a:pt x="19062" y="18431"/>
                    <a:pt x="19077" y="18354"/>
                  </a:cubicBezTo>
                  <a:cubicBezTo>
                    <a:pt x="19084" y="18276"/>
                    <a:pt x="19109" y="18103"/>
                    <a:pt x="19094" y="17969"/>
                  </a:cubicBezTo>
                  <a:cubicBezTo>
                    <a:pt x="19094" y="17831"/>
                    <a:pt x="19059" y="17662"/>
                    <a:pt x="19029" y="17588"/>
                  </a:cubicBezTo>
                  <a:cubicBezTo>
                    <a:pt x="19005" y="17513"/>
                    <a:pt x="18987" y="17414"/>
                    <a:pt x="18994" y="17365"/>
                  </a:cubicBezTo>
                  <a:cubicBezTo>
                    <a:pt x="19008" y="17317"/>
                    <a:pt x="19040" y="17302"/>
                    <a:pt x="19071" y="17338"/>
                  </a:cubicBezTo>
                  <a:cubicBezTo>
                    <a:pt x="19105" y="17373"/>
                    <a:pt x="19240" y="17408"/>
                    <a:pt x="19371" y="17424"/>
                  </a:cubicBezTo>
                  <a:cubicBezTo>
                    <a:pt x="19502" y="17432"/>
                    <a:pt x="19565" y="17390"/>
                    <a:pt x="19516" y="17321"/>
                  </a:cubicBezTo>
                  <a:cubicBezTo>
                    <a:pt x="19468" y="17251"/>
                    <a:pt x="19389" y="17189"/>
                    <a:pt x="19346" y="17181"/>
                  </a:cubicBezTo>
                  <a:cubicBezTo>
                    <a:pt x="19302" y="17174"/>
                    <a:pt x="19205" y="17052"/>
                    <a:pt x="19134" y="16912"/>
                  </a:cubicBezTo>
                  <a:cubicBezTo>
                    <a:pt x="19058" y="16774"/>
                    <a:pt x="18974" y="16636"/>
                    <a:pt x="18946" y="16607"/>
                  </a:cubicBezTo>
                  <a:cubicBezTo>
                    <a:pt x="18927" y="16571"/>
                    <a:pt x="18884" y="16588"/>
                    <a:pt x="18884" y="16626"/>
                  </a:cubicBezTo>
                  <a:cubicBezTo>
                    <a:pt x="18884" y="16663"/>
                    <a:pt x="18830" y="16635"/>
                    <a:pt x="18783" y="16558"/>
                  </a:cubicBezTo>
                  <a:cubicBezTo>
                    <a:pt x="18737" y="16478"/>
                    <a:pt x="18654" y="16300"/>
                    <a:pt x="18617" y="16152"/>
                  </a:cubicBezTo>
                  <a:cubicBezTo>
                    <a:pt x="18580" y="16004"/>
                    <a:pt x="18389" y="15625"/>
                    <a:pt x="18216" y="15299"/>
                  </a:cubicBezTo>
                  <a:cubicBezTo>
                    <a:pt x="18034" y="14975"/>
                    <a:pt x="17824" y="14663"/>
                    <a:pt x="17747" y="14604"/>
                  </a:cubicBezTo>
                  <a:cubicBezTo>
                    <a:pt x="17678" y="14538"/>
                    <a:pt x="17592" y="14370"/>
                    <a:pt x="17570" y="14216"/>
                  </a:cubicBezTo>
                  <a:cubicBezTo>
                    <a:pt x="17546" y="14063"/>
                    <a:pt x="17291" y="13519"/>
                    <a:pt x="17003" y="13004"/>
                  </a:cubicBezTo>
                  <a:cubicBezTo>
                    <a:pt x="16716" y="12489"/>
                    <a:pt x="16468" y="11976"/>
                    <a:pt x="16476" y="11859"/>
                  </a:cubicBezTo>
                  <a:cubicBezTo>
                    <a:pt x="16461" y="11743"/>
                    <a:pt x="16433" y="11574"/>
                    <a:pt x="16388" y="11478"/>
                  </a:cubicBezTo>
                  <a:cubicBezTo>
                    <a:pt x="16343" y="11384"/>
                    <a:pt x="16275" y="11136"/>
                    <a:pt x="16260" y="10923"/>
                  </a:cubicBezTo>
                  <a:cubicBezTo>
                    <a:pt x="16245" y="10710"/>
                    <a:pt x="16180" y="10478"/>
                    <a:pt x="16133" y="10405"/>
                  </a:cubicBezTo>
                  <a:cubicBezTo>
                    <a:pt x="16087" y="10330"/>
                    <a:pt x="16041" y="10224"/>
                    <a:pt x="16041" y="10161"/>
                  </a:cubicBezTo>
                  <a:cubicBezTo>
                    <a:pt x="16041" y="10098"/>
                    <a:pt x="15909" y="9877"/>
                    <a:pt x="15750" y="9670"/>
                  </a:cubicBezTo>
                  <a:cubicBezTo>
                    <a:pt x="15597" y="9457"/>
                    <a:pt x="15458" y="9226"/>
                    <a:pt x="15444" y="9147"/>
                  </a:cubicBezTo>
                  <a:cubicBezTo>
                    <a:pt x="15436" y="9068"/>
                    <a:pt x="15441" y="8931"/>
                    <a:pt x="15456" y="8845"/>
                  </a:cubicBezTo>
                  <a:cubicBezTo>
                    <a:pt x="15464" y="8756"/>
                    <a:pt x="15452" y="8615"/>
                    <a:pt x="15412" y="8525"/>
                  </a:cubicBezTo>
                  <a:cubicBezTo>
                    <a:pt x="15375" y="8436"/>
                    <a:pt x="15116" y="8138"/>
                    <a:pt x="14845" y="7859"/>
                  </a:cubicBezTo>
                  <a:cubicBezTo>
                    <a:pt x="14573" y="7579"/>
                    <a:pt x="14327" y="7281"/>
                    <a:pt x="14304" y="7192"/>
                  </a:cubicBezTo>
                  <a:cubicBezTo>
                    <a:pt x="14274" y="7106"/>
                    <a:pt x="14116" y="6832"/>
                    <a:pt x="13942" y="6583"/>
                  </a:cubicBezTo>
                  <a:cubicBezTo>
                    <a:pt x="13763" y="6337"/>
                    <a:pt x="13623" y="6031"/>
                    <a:pt x="13615" y="5905"/>
                  </a:cubicBezTo>
                  <a:cubicBezTo>
                    <a:pt x="13608" y="5780"/>
                    <a:pt x="13521" y="5555"/>
                    <a:pt x="13424" y="5399"/>
                  </a:cubicBezTo>
                  <a:cubicBezTo>
                    <a:pt x="13324" y="5244"/>
                    <a:pt x="13238" y="5057"/>
                    <a:pt x="13253" y="4984"/>
                  </a:cubicBezTo>
                  <a:cubicBezTo>
                    <a:pt x="13261" y="4910"/>
                    <a:pt x="13269" y="4785"/>
                    <a:pt x="13253" y="4711"/>
                  </a:cubicBezTo>
                  <a:cubicBezTo>
                    <a:pt x="13246" y="4636"/>
                    <a:pt x="13257" y="4546"/>
                    <a:pt x="13273" y="4507"/>
                  </a:cubicBezTo>
                  <a:cubicBezTo>
                    <a:pt x="13301" y="4476"/>
                    <a:pt x="13328" y="4467"/>
                    <a:pt x="13343" y="4502"/>
                  </a:cubicBezTo>
                  <a:cubicBezTo>
                    <a:pt x="13358" y="4537"/>
                    <a:pt x="13414" y="4567"/>
                    <a:pt x="13459" y="4567"/>
                  </a:cubicBezTo>
                  <a:cubicBezTo>
                    <a:pt x="13504" y="4571"/>
                    <a:pt x="13569" y="4686"/>
                    <a:pt x="13606" y="4828"/>
                  </a:cubicBezTo>
                  <a:cubicBezTo>
                    <a:pt x="13644" y="4971"/>
                    <a:pt x="13700" y="5142"/>
                    <a:pt x="13750" y="5197"/>
                  </a:cubicBezTo>
                  <a:cubicBezTo>
                    <a:pt x="13790" y="5259"/>
                    <a:pt x="13844" y="5363"/>
                    <a:pt x="13851" y="5435"/>
                  </a:cubicBezTo>
                  <a:cubicBezTo>
                    <a:pt x="13865" y="5505"/>
                    <a:pt x="14019" y="5720"/>
                    <a:pt x="14205" y="5900"/>
                  </a:cubicBezTo>
                  <a:cubicBezTo>
                    <a:pt x="14385" y="6086"/>
                    <a:pt x="14540" y="6325"/>
                    <a:pt x="14540" y="6433"/>
                  </a:cubicBezTo>
                  <a:cubicBezTo>
                    <a:pt x="14540" y="6542"/>
                    <a:pt x="14582" y="6721"/>
                    <a:pt x="14632" y="6829"/>
                  </a:cubicBezTo>
                  <a:cubicBezTo>
                    <a:pt x="14678" y="6940"/>
                    <a:pt x="14817" y="7093"/>
                    <a:pt x="14942" y="7157"/>
                  </a:cubicBezTo>
                  <a:cubicBezTo>
                    <a:pt x="15062" y="7231"/>
                    <a:pt x="15197" y="7369"/>
                    <a:pt x="15220" y="7475"/>
                  </a:cubicBezTo>
                  <a:cubicBezTo>
                    <a:pt x="15250" y="7580"/>
                    <a:pt x="15456" y="7901"/>
                    <a:pt x="15682" y="8184"/>
                  </a:cubicBezTo>
                  <a:cubicBezTo>
                    <a:pt x="15897" y="8476"/>
                    <a:pt x="16190" y="8766"/>
                    <a:pt x="16310" y="8851"/>
                  </a:cubicBezTo>
                  <a:cubicBezTo>
                    <a:pt x="16431" y="8933"/>
                    <a:pt x="16542" y="9028"/>
                    <a:pt x="16557" y="9061"/>
                  </a:cubicBezTo>
                  <a:cubicBezTo>
                    <a:pt x="16571" y="9095"/>
                    <a:pt x="16604" y="9070"/>
                    <a:pt x="16613" y="9003"/>
                  </a:cubicBezTo>
                  <a:cubicBezTo>
                    <a:pt x="16628" y="8936"/>
                    <a:pt x="16690" y="8826"/>
                    <a:pt x="16750" y="8756"/>
                  </a:cubicBezTo>
                  <a:cubicBezTo>
                    <a:pt x="16805" y="8683"/>
                    <a:pt x="16891" y="8473"/>
                    <a:pt x="16914" y="8278"/>
                  </a:cubicBezTo>
                  <a:cubicBezTo>
                    <a:pt x="16952" y="8085"/>
                    <a:pt x="16931" y="7885"/>
                    <a:pt x="16892" y="7832"/>
                  </a:cubicBezTo>
                  <a:cubicBezTo>
                    <a:pt x="16852" y="7779"/>
                    <a:pt x="16854" y="7604"/>
                    <a:pt x="16908" y="7440"/>
                  </a:cubicBezTo>
                  <a:cubicBezTo>
                    <a:pt x="16961" y="7277"/>
                    <a:pt x="17007" y="7047"/>
                    <a:pt x="17014" y="6931"/>
                  </a:cubicBezTo>
                  <a:cubicBezTo>
                    <a:pt x="17022" y="6815"/>
                    <a:pt x="17077" y="6475"/>
                    <a:pt x="17137" y="6175"/>
                  </a:cubicBezTo>
                  <a:cubicBezTo>
                    <a:pt x="17205" y="5876"/>
                    <a:pt x="17277" y="5607"/>
                    <a:pt x="17277" y="5570"/>
                  </a:cubicBezTo>
                  <a:cubicBezTo>
                    <a:pt x="17291" y="5536"/>
                    <a:pt x="17252" y="5358"/>
                    <a:pt x="17190" y="5169"/>
                  </a:cubicBezTo>
                  <a:cubicBezTo>
                    <a:pt x="17123" y="4983"/>
                    <a:pt x="17109" y="4721"/>
                    <a:pt x="17138" y="4589"/>
                  </a:cubicBezTo>
                  <a:close/>
                  <a:moveTo>
                    <a:pt x="17138" y="45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0" name="AutoShape 780"/>
            <p:cNvSpPr>
              <a:spLocks/>
            </p:cNvSpPr>
            <p:nvPr/>
          </p:nvSpPr>
          <p:spPr bwMode="auto">
            <a:xfrm>
              <a:off x="8420100" y="4470400"/>
              <a:ext cx="701675" cy="898525"/>
            </a:xfrm>
            <a:custGeom>
              <a:avLst/>
              <a:gdLst/>
              <a:ahLst/>
              <a:cxnLst/>
              <a:rect l="0" t="0" r="r" b="b"/>
              <a:pathLst>
                <a:path w="21582" h="21592">
                  <a:moveTo>
                    <a:pt x="4162" y="112"/>
                  </a:moveTo>
                  <a:cubicBezTo>
                    <a:pt x="4133" y="510"/>
                    <a:pt x="4152" y="904"/>
                    <a:pt x="4169" y="1286"/>
                  </a:cubicBezTo>
                  <a:cubicBezTo>
                    <a:pt x="4195" y="1869"/>
                    <a:pt x="3966" y="2372"/>
                    <a:pt x="3650" y="2481"/>
                  </a:cubicBezTo>
                  <a:cubicBezTo>
                    <a:pt x="3620" y="2493"/>
                    <a:pt x="3590" y="2503"/>
                    <a:pt x="3559" y="2506"/>
                  </a:cubicBezTo>
                  <a:cubicBezTo>
                    <a:pt x="3196" y="2537"/>
                    <a:pt x="2895" y="2661"/>
                    <a:pt x="2895" y="2780"/>
                  </a:cubicBezTo>
                  <a:cubicBezTo>
                    <a:pt x="2895" y="2898"/>
                    <a:pt x="2890" y="2996"/>
                    <a:pt x="2890" y="2999"/>
                  </a:cubicBezTo>
                  <a:cubicBezTo>
                    <a:pt x="2896" y="3431"/>
                    <a:pt x="2897" y="4124"/>
                    <a:pt x="2897" y="4506"/>
                  </a:cubicBezTo>
                  <a:cubicBezTo>
                    <a:pt x="2897" y="4621"/>
                    <a:pt x="2897" y="4737"/>
                    <a:pt x="2897" y="4853"/>
                  </a:cubicBezTo>
                  <a:cubicBezTo>
                    <a:pt x="2898" y="5293"/>
                    <a:pt x="2901" y="5734"/>
                    <a:pt x="2901" y="6174"/>
                  </a:cubicBezTo>
                  <a:cubicBezTo>
                    <a:pt x="2901" y="7001"/>
                    <a:pt x="2847" y="7695"/>
                    <a:pt x="2787" y="7712"/>
                  </a:cubicBezTo>
                  <a:cubicBezTo>
                    <a:pt x="2730" y="7734"/>
                    <a:pt x="2624" y="7783"/>
                    <a:pt x="2552" y="7819"/>
                  </a:cubicBezTo>
                  <a:cubicBezTo>
                    <a:pt x="2483" y="7860"/>
                    <a:pt x="2371" y="7861"/>
                    <a:pt x="2306" y="7829"/>
                  </a:cubicBezTo>
                  <a:cubicBezTo>
                    <a:pt x="2239" y="7799"/>
                    <a:pt x="2110" y="7772"/>
                    <a:pt x="2014" y="7772"/>
                  </a:cubicBezTo>
                  <a:cubicBezTo>
                    <a:pt x="1919" y="7774"/>
                    <a:pt x="1785" y="7816"/>
                    <a:pt x="1712" y="7862"/>
                  </a:cubicBezTo>
                  <a:cubicBezTo>
                    <a:pt x="1640" y="7910"/>
                    <a:pt x="1584" y="8016"/>
                    <a:pt x="1579" y="8097"/>
                  </a:cubicBezTo>
                  <a:cubicBezTo>
                    <a:pt x="1573" y="8178"/>
                    <a:pt x="1606" y="8280"/>
                    <a:pt x="1646" y="8322"/>
                  </a:cubicBezTo>
                  <a:cubicBezTo>
                    <a:pt x="1686" y="8365"/>
                    <a:pt x="1673" y="8460"/>
                    <a:pt x="1633" y="8538"/>
                  </a:cubicBezTo>
                  <a:cubicBezTo>
                    <a:pt x="1587" y="8614"/>
                    <a:pt x="1449" y="8795"/>
                    <a:pt x="1314" y="8936"/>
                  </a:cubicBezTo>
                  <a:cubicBezTo>
                    <a:pt x="1182" y="9077"/>
                    <a:pt x="1046" y="9196"/>
                    <a:pt x="1006" y="9191"/>
                  </a:cubicBezTo>
                  <a:cubicBezTo>
                    <a:pt x="965" y="9189"/>
                    <a:pt x="876" y="9234"/>
                    <a:pt x="808" y="9292"/>
                  </a:cubicBezTo>
                  <a:cubicBezTo>
                    <a:pt x="737" y="9345"/>
                    <a:pt x="689" y="9434"/>
                    <a:pt x="689" y="9481"/>
                  </a:cubicBezTo>
                  <a:cubicBezTo>
                    <a:pt x="689" y="9527"/>
                    <a:pt x="734" y="9591"/>
                    <a:pt x="770" y="9632"/>
                  </a:cubicBezTo>
                  <a:cubicBezTo>
                    <a:pt x="810" y="9670"/>
                    <a:pt x="818" y="9756"/>
                    <a:pt x="771" y="9824"/>
                  </a:cubicBezTo>
                  <a:cubicBezTo>
                    <a:pt x="731" y="9894"/>
                    <a:pt x="629" y="9984"/>
                    <a:pt x="550" y="10026"/>
                  </a:cubicBezTo>
                  <a:cubicBezTo>
                    <a:pt x="470" y="10068"/>
                    <a:pt x="389" y="10139"/>
                    <a:pt x="377" y="10183"/>
                  </a:cubicBezTo>
                  <a:cubicBezTo>
                    <a:pt x="365" y="10228"/>
                    <a:pt x="404" y="10290"/>
                    <a:pt x="474" y="10323"/>
                  </a:cubicBezTo>
                  <a:cubicBezTo>
                    <a:pt x="543" y="10354"/>
                    <a:pt x="596" y="10436"/>
                    <a:pt x="608" y="10500"/>
                  </a:cubicBezTo>
                  <a:cubicBezTo>
                    <a:pt x="614" y="10566"/>
                    <a:pt x="581" y="10662"/>
                    <a:pt x="540" y="10716"/>
                  </a:cubicBezTo>
                  <a:cubicBezTo>
                    <a:pt x="498" y="10772"/>
                    <a:pt x="359" y="10906"/>
                    <a:pt x="234" y="11017"/>
                  </a:cubicBezTo>
                  <a:cubicBezTo>
                    <a:pt x="115" y="11133"/>
                    <a:pt x="1" y="11279"/>
                    <a:pt x="1" y="11351"/>
                  </a:cubicBezTo>
                  <a:cubicBezTo>
                    <a:pt x="-5" y="11422"/>
                    <a:pt x="35" y="11517"/>
                    <a:pt x="88" y="11558"/>
                  </a:cubicBezTo>
                  <a:cubicBezTo>
                    <a:pt x="136" y="11600"/>
                    <a:pt x="257" y="11588"/>
                    <a:pt x="350" y="11529"/>
                  </a:cubicBezTo>
                  <a:cubicBezTo>
                    <a:pt x="443" y="11470"/>
                    <a:pt x="557" y="11432"/>
                    <a:pt x="601" y="11438"/>
                  </a:cubicBezTo>
                  <a:cubicBezTo>
                    <a:pt x="645" y="11446"/>
                    <a:pt x="678" y="11491"/>
                    <a:pt x="678" y="11538"/>
                  </a:cubicBezTo>
                  <a:cubicBezTo>
                    <a:pt x="672" y="11584"/>
                    <a:pt x="637" y="11643"/>
                    <a:pt x="593" y="11669"/>
                  </a:cubicBezTo>
                  <a:cubicBezTo>
                    <a:pt x="551" y="11697"/>
                    <a:pt x="552" y="11740"/>
                    <a:pt x="602" y="11770"/>
                  </a:cubicBezTo>
                  <a:cubicBezTo>
                    <a:pt x="653" y="11799"/>
                    <a:pt x="669" y="11858"/>
                    <a:pt x="637" y="11899"/>
                  </a:cubicBezTo>
                  <a:cubicBezTo>
                    <a:pt x="603" y="11939"/>
                    <a:pt x="609" y="12019"/>
                    <a:pt x="644" y="12073"/>
                  </a:cubicBezTo>
                  <a:cubicBezTo>
                    <a:pt x="684" y="12126"/>
                    <a:pt x="707" y="12241"/>
                    <a:pt x="707" y="12325"/>
                  </a:cubicBezTo>
                  <a:cubicBezTo>
                    <a:pt x="701" y="12408"/>
                    <a:pt x="725" y="12526"/>
                    <a:pt x="730" y="12589"/>
                  </a:cubicBezTo>
                  <a:cubicBezTo>
                    <a:pt x="741" y="12650"/>
                    <a:pt x="868" y="12722"/>
                    <a:pt x="1011" y="12749"/>
                  </a:cubicBezTo>
                  <a:cubicBezTo>
                    <a:pt x="1154" y="12773"/>
                    <a:pt x="1294" y="12839"/>
                    <a:pt x="1332" y="12886"/>
                  </a:cubicBezTo>
                  <a:cubicBezTo>
                    <a:pt x="1366" y="12934"/>
                    <a:pt x="1365" y="13012"/>
                    <a:pt x="1332" y="13060"/>
                  </a:cubicBezTo>
                  <a:cubicBezTo>
                    <a:pt x="1298" y="13107"/>
                    <a:pt x="1264" y="13181"/>
                    <a:pt x="1264" y="13224"/>
                  </a:cubicBezTo>
                  <a:cubicBezTo>
                    <a:pt x="1264" y="13267"/>
                    <a:pt x="1256" y="13316"/>
                    <a:pt x="1246" y="13331"/>
                  </a:cubicBezTo>
                  <a:cubicBezTo>
                    <a:pt x="1234" y="13344"/>
                    <a:pt x="1261" y="13390"/>
                    <a:pt x="1301" y="13426"/>
                  </a:cubicBezTo>
                  <a:cubicBezTo>
                    <a:pt x="1339" y="13465"/>
                    <a:pt x="1368" y="13531"/>
                    <a:pt x="1368" y="13573"/>
                  </a:cubicBezTo>
                  <a:cubicBezTo>
                    <a:pt x="1361" y="13617"/>
                    <a:pt x="1346" y="13672"/>
                    <a:pt x="1326" y="13696"/>
                  </a:cubicBezTo>
                  <a:cubicBezTo>
                    <a:pt x="1309" y="13722"/>
                    <a:pt x="1353" y="13783"/>
                    <a:pt x="1430" y="13838"/>
                  </a:cubicBezTo>
                  <a:cubicBezTo>
                    <a:pt x="1507" y="13894"/>
                    <a:pt x="1588" y="13963"/>
                    <a:pt x="1595" y="13996"/>
                  </a:cubicBezTo>
                  <a:cubicBezTo>
                    <a:pt x="1605" y="14028"/>
                    <a:pt x="1697" y="14144"/>
                    <a:pt x="1792" y="14255"/>
                  </a:cubicBezTo>
                  <a:cubicBezTo>
                    <a:pt x="1886" y="14367"/>
                    <a:pt x="2007" y="14559"/>
                    <a:pt x="2073" y="14680"/>
                  </a:cubicBezTo>
                  <a:cubicBezTo>
                    <a:pt x="2137" y="14802"/>
                    <a:pt x="2200" y="14941"/>
                    <a:pt x="2227" y="14987"/>
                  </a:cubicBezTo>
                  <a:cubicBezTo>
                    <a:pt x="2249" y="15035"/>
                    <a:pt x="2255" y="15128"/>
                    <a:pt x="2232" y="15196"/>
                  </a:cubicBezTo>
                  <a:cubicBezTo>
                    <a:pt x="2209" y="15264"/>
                    <a:pt x="2174" y="15347"/>
                    <a:pt x="2144" y="15374"/>
                  </a:cubicBezTo>
                  <a:cubicBezTo>
                    <a:pt x="2116" y="15404"/>
                    <a:pt x="2076" y="15481"/>
                    <a:pt x="2043" y="15542"/>
                  </a:cubicBezTo>
                  <a:cubicBezTo>
                    <a:pt x="2012" y="15603"/>
                    <a:pt x="1989" y="15734"/>
                    <a:pt x="1989" y="15830"/>
                  </a:cubicBezTo>
                  <a:cubicBezTo>
                    <a:pt x="1983" y="15926"/>
                    <a:pt x="2028" y="16034"/>
                    <a:pt x="2077" y="16072"/>
                  </a:cubicBezTo>
                  <a:cubicBezTo>
                    <a:pt x="2126" y="16110"/>
                    <a:pt x="2247" y="16134"/>
                    <a:pt x="2344" y="16134"/>
                  </a:cubicBezTo>
                  <a:cubicBezTo>
                    <a:pt x="2441" y="16130"/>
                    <a:pt x="2537" y="16101"/>
                    <a:pt x="2572" y="16073"/>
                  </a:cubicBezTo>
                  <a:cubicBezTo>
                    <a:pt x="2600" y="16043"/>
                    <a:pt x="2718" y="16014"/>
                    <a:pt x="2831" y="16014"/>
                  </a:cubicBezTo>
                  <a:cubicBezTo>
                    <a:pt x="2945" y="16014"/>
                    <a:pt x="3064" y="16034"/>
                    <a:pt x="3101" y="16055"/>
                  </a:cubicBezTo>
                  <a:cubicBezTo>
                    <a:pt x="3136" y="16077"/>
                    <a:pt x="3140" y="16132"/>
                    <a:pt x="3112" y="16175"/>
                  </a:cubicBezTo>
                  <a:cubicBezTo>
                    <a:pt x="3081" y="16219"/>
                    <a:pt x="3066" y="16302"/>
                    <a:pt x="3072" y="16360"/>
                  </a:cubicBezTo>
                  <a:cubicBezTo>
                    <a:pt x="3078" y="16418"/>
                    <a:pt x="3134" y="16501"/>
                    <a:pt x="3199" y="16538"/>
                  </a:cubicBezTo>
                  <a:cubicBezTo>
                    <a:pt x="3263" y="16575"/>
                    <a:pt x="3380" y="16636"/>
                    <a:pt x="3464" y="16660"/>
                  </a:cubicBezTo>
                  <a:cubicBezTo>
                    <a:pt x="3547" y="16686"/>
                    <a:pt x="3666" y="16711"/>
                    <a:pt x="3729" y="16711"/>
                  </a:cubicBezTo>
                  <a:cubicBezTo>
                    <a:pt x="3791" y="16716"/>
                    <a:pt x="3891" y="16731"/>
                    <a:pt x="3944" y="16760"/>
                  </a:cubicBezTo>
                  <a:cubicBezTo>
                    <a:pt x="4003" y="16783"/>
                    <a:pt x="4060" y="16843"/>
                    <a:pt x="4078" y="16884"/>
                  </a:cubicBezTo>
                  <a:cubicBezTo>
                    <a:pt x="4096" y="16926"/>
                    <a:pt x="4163" y="16989"/>
                    <a:pt x="4238" y="17010"/>
                  </a:cubicBezTo>
                  <a:cubicBezTo>
                    <a:pt x="4311" y="17036"/>
                    <a:pt x="4419" y="17064"/>
                    <a:pt x="4481" y="17064"/>
                  </a:cubicBezTo>
                  <a:cubicBezTo>
                    <a:pt x="4543" y="17069"/>
                    <a:pt x="4617" y="17094"/>
                    <a:pt x="4646" y="17126"/>
                  </a:cubicBezTo>
                  <a:cubicBezTo>
                    <a:pt x="4675" y="17158"/>
                    <a:pt x="4686" y="17223"/>
                    <a:pt x="4663" y="17268"/>
                  </a:cubicBezTo>
                  <a:cubicBezTo>
                    <a:pt x="4640" y="17313"/>
                    <a:pt x="4590" y="17381"/>
                    <a:pt x="4539" y="17416"/>
                  </a:cubicBezTo>
                  <a:cubicBezTo>
                    <a:pt x="4488" y="17451"/>
                    <a:pt x="4439" y="17502"/>
                    <a:pt x="4428" y="17527"/>
                  </a:cubicBezTo>
                  <a:cubicBezTo>
                    <a:pt x="4417" y="17554"/>
                    <a:pt x="4380" y="17596"/>
                    <a:pt x="4353" y="17627"/>
                  </a:cubicBezTo>
                  <a:cubicBezTo>
                    <a:pt x="4322" y="17655"/>
                    <a:pt x="4351" y="17724"/>
                    <a:pt x="4424" y="17772"/>
                  </a:cubicBezTo>
                  <a:cubicBezTo>
                    <a:pt x="4497" y="17821"/>
                    <a:pt x="4603" y="17876"/>
                    <a:pt x="4667" y="17888"/>
                  </a:cubicBezTo>
                  <a:cubicBezTo>
                    <a:pt x="4729" y="17901"/>
                    <a:pt x="4805" y="17898"/>
                    <a:pt x="4835" y="17886"/>
                  </a:cubicBezTo>
                  <a:cubicBezTo>
                    <a:pt x="4862" y="17870"/>
                    <a:pt x="4938" y="17879"/>
                    <a:pt x="4996" y="17904"/>
                  </a:cubicBezTo>
                  <a:cubicBezTo>
                    <a:pt x="5055" y="17925"/>
                    <a:pt x="5124" y="17943"/>
                    <a:pt x="5151" y="17938"/>
                  </a:cubicBezTo>
                  <a:cubicBezTo>
                    <a:pt x="5178" y="17935"/>
                    <a:pt x="5294" y="17976"/>
                    <a:pt x="5412" y="18029"/>
                  </a:cubicBezTo>
                  <a:cubicBezTo>
                    <a:pt x="5533" y="18076"/>
                    <a:pt x="5644" y="18156"/>
                    <a:pt x="5671" y="18194"/>
                  </a:cubicBezTo>
                  <a:cubicBezTo>
                    <a:pt x="5696" y="18232"/>
                    <a:pt x="5716" y="18337"/>
                    <a:pt x="5716" y="18427"/>
                  </a:cubicBezTo>
                  <a:cubicBezTo>
                    <a:pt x="5721" y="18517"/>
                    <a:pt x="5741" y="18617"/>
                    <a:pt x="5775" y="18647"/>
                  </a:cubicBezTo>
                  <a:cubicBezTo>
                    <a:pt x="5810" y="18679"/>
                    <a:pt x="5899" y="18717"/>
                    <a:pt x="5973" y="18733"/>
                  </a:cubicBezTo>
                  <a:cubicBezTo>
                    <a:pt x="6046" y="18751"/>
                    <a:pt x="6122" y="18782"/>
                    <a:pt x="6140" y="18805"/>
                  </a:cubicBezTo>
                  <a:cubicBezTo>
                    <a:pt x="6150" y="18830"/>
                    <a:pt x="6158" y="18896"/>
                    <a:pt x="6158" y="18956"/>
                  </a:cubicBezTo>
                  <a:cubicBezTo>
                    <a:pt x="6153" y="19016"/>
                    <a:pt x="6174" y="19086"/>
                    <a:pt x="6200" y="19116"/>
                  </a:cubicBezTo>
                  <a:cubicBezTo>
                    <a:pt x="6231" y="19145"/>
                    <a:pt x="6353" y="19188"/>
                    <a:pt x="6474" y="19206"/>
                  </a:cubicBezTo>
                  <a:cubicBezTo>
                    <a:pt x="6594" y="19224"/>
                    <a:pt x="6735" y="19272"/>
                    <a:pt x="6789" y="19305"/>
                  </a:cubicBezTo>
                  <a:cubicBezTo>
                    <a:pt x="6840" y="19341"/>
                    <a:pt x="6875" y="19393"/>
                    <a:pt x="6863" y="19423"/>
                  </a:cubicBezTo>
                  <a:cubicBezTo>
                    <a:pt x="6853" y="19454"/>
                    <a:pt x="6845" y="19556"/>
                    <a:pt x="6851" y="19649"/>
                  </a:cubicBezTo>
                  <a:cubicBezTo>
                    <a:pt x="6856" y="19743"/>
                    <a:pt x="6895" y="19838"/>
                    <a:pt x="6932" y="19863"/>
                  </a:cubicBezTo>
                  <a:cubicBezTo>
                    <a:pt x="6969" y="19887"/>
                    <a:pt x="7054" y="19932"/>
                    <a:pt x="7118" y="19964"/>
                  </a:cubicBezTo>
                  <a:cubicBezTo>
                    <a:pt x="7181" y="19999"/>
                    <a:pt x="7256" y="20051"/>
                    <a:pt x="7282" y="20085"/>
                  </a:cubicBezTo>
                  <a:cubicBezTo>
                    <a:pt x="7311" y="20117"/>
                    <a:pt x="7325" y="20157"/>
                    <a:pt x="7325" y="20170"/>
                  </a:cubicBezTo>
                  <a:cubicBezTo>
                    <a:pt x="7325" y="20183"/>
                    <a:pt x="7334" y="20192"/>
                    <a:pt x="7343" y="20199"/>
                  </a:cubicBezTo>
                  <a:cubicBezTo>
                    <a:pt x="7355" y="20199"/>
                    <a:pt x="7372" y="20243"/>
                    <a:pt x="7378" y="20292"/>
                  </a:cubicBezTo>
                  <a:cubicBezTo>
                    <a:pt x="7384" y="20340"/>
                    <a:pt x="7425" y="20408"/>
                    <a:pt x="7458" y="20447"/>
                  </a:cubicBezTo>
                  <a:cubicBezTo>
                    <a:pt x="7494" y="20484"/>
                    <a:pt x="7555" y="20523"/>
                    <a:pt x="7596" y="20528"/>
                  </a:cubicBezTo>
                  <a:cubicBezTo>
                    <a:pt x="7636" y="20534"/>
                    <a:pt x="7702" y="20570"/>
                    <a:pt x="7737" y="20607"/>
                  </a:cubicBezTo>
                  <a:cubicBezTo>
                    <a:pt x="7770" y="20646"/>
                    <a:pt x="7864" y="20710"/>
                    <a:pt x="7932" y="20759"/>
                  </a:cubicBezTo>
                  <a:cubicBezTo>
                    <a:pt x="8000" y="20808"/>
                    <a:pt x="8114" y="20862"/>
                    <a:pt x="8183" y="20882"/>
                  </a:cubicBezTo>
                  <a:cubicBezTo>
                    <a:pt x="8253" y="20899"/>
                    <a:pt x="8341" y="20905"/>
                    <a:pt x="8382" y="20896"/>
                  </a:cubicBezTo>
                  <a:cubicBezTo>
                    <a:pt x="8422" y="20881"/>
                    <a:pt x="8486" y="20842"/>
                    <a:pt x="8512" y="20801"/>
                  </a:cubicBezTo>
                  <a:cubicBezTo>
                    <a:pt x="8542" y="20759"/>
                    <a:pt x="8605" y="20709"/>
                    <a:pt x="8651" y="20686"/>
                  </a:cubicBezTo>
                  <a:cubicBezTo>
                    <a:pt x="8699" y="20669"/>
                    <a:pt x="8802" y="20641"/>
                    <a:pt x="8888" y="20637"/>
                  </a:cubicBezTo>
                  <a:cubicBezTo>
                    <a:pt x="8973" y="20632"/>
                    <a:pt x="9080" y="20628"/>
                    <a:pt x="9126" y="20628"/>
                  </a:cubicBezTo>
                  <a:cubicBezTo>
                    <a:pt x="9172" y="20624"/>
                    <a:pt x="9215" y="20641"/>
                    <a:pt x="9226" y="20657"/>
                  </a:cubicBezTo>
                  <a:cubicBezTo>
                    <a:pt x="9238" y="20672"/>
                    <a:pt x="9266" y="20689"/>
                    <a:pt x="9296" y="20685"/>
                  </a:cubicBezTo>
                  <a:cubicBezTo>
                    <a:pt x="9325" y="20685"/>
                    <a:pt x="9412" y="20667"/>
                    <a:pt x="9487" y="20644"/>
                  </a:cubicBezTo>
                  <a:cubicBezTo>
                    <a:pt x="9562" y="20622"/>
                    <a:pt x="9649" y="20574"/>
                    <a:pt x="9686" y="20541"/>
                  </a:cubicBezTo>
                  <a:cubicBezTo>
                    <a:pt x="9715" y="20505"/>
                    <a:pt x="9781" y="20444"/>
                    <a:pt x="9822" y="20402"/>
                  </a:cubicBezTo>
                  <a:cubicBezTo>
                    <a:pt x="9862" y="20359"/>
                    <a:pt x="9963" y="20329"/>
                    <a:pt x="10042" y="20324"/>
                  </a:cubicBezTo>
                  <a:cubicBezTo>
                    <a:pt x="10120" y="20320"/>
                    <a:pt x="10206" y="20334"/>
                    <a:pt x="10233" y="20347"/>
                  </a:cubicBezTo>
                  <a:cubicBezTo>
                    <a:pt x="10259" y="20362"/>
                    <a:pt x="10313" y="20433"/>
                    <a:pt x="10350" y="20508"/>
                  </a:cubicBezTo>
                  <a:cubicBezTo>
                    <a:pt x="10388" y="20581"/>
                    <a:pt x="10452" y="20671"/>
                    <a:pt x="10481" y="20712"/>
                  </a:cubicBezTo>
                  <a:cubicBezTo>
                    <a:pt x="10521" y="20748"/>
                    <a:pt x="10564" y="20799"/>
                    <a:pt x="10578" y="20827"/>
                  </a:cubicBezTo>
                  <a:cubicBezTo>
                    <a:pt x="10594" y="20852"/>
                    <a:pt x="10681" y="20892"/>
                    <a:pt x="10772" y="20910"/>
                  </a:cubicBezTo>
                  <a:cubicBezTo>
                    <a:pt x="10862" y="20934"/>
                    <a:pt x="10964" y="20971"/>
                    <a:pt x="10999" y="20998"/>
                  </a:cubicBezTo>
                  <a:cubicBezTo>
                    <a:pt x="11030" y="21027"/>
                    <a:pt x="11076" y="21088"/>
                    <a:pt x="11101" y="21137"/>
                  </a:cubicBezTo>
                  <a:cubicBezTo>
                    <a:pt x="11123" y="21186"/>
                    <a:pt x="11157" y="21244"/>
                    <a:pt x="11176" y="21268"/>
                  </a:cubicBezTo>
                  <a:cubicBezTo>
                    <a:pt x="11191" y="21292"/>
                    <a:pt x="11227" y="21343"/>
                    <a:pt x="11239" y="21387"/>
                  </a:cubicBezTo>
                  <a:cubicBezTo>
                    <a:pt x="11254" y="21429"/>
                    <a:pt x="11262" y="21493"/>
                    <a:pt x="11274" y="21524"/>
                  </a:cubicBezTo>
                  <a:cubicBezTo>
                    <a:pt x="11280" y="21557"/>
                    <a:pt x="11292" y="21586"/>
                    <a:pt x="11307" y="21586"/>
                  </a:cubicBezTo>
                  <a:cubicBezTo>
                    <a:pt x="11320" y="21582"/>
                    <a:pt x="11402" y="21578"/>
                    <a:pt x="11489" y="21573"/>
                  </a:cubicBezTo>
                  <a:cubicBezTo>
                    <a:pt x="11575" y="21569"/>
                    <a:pt x="11665" y="21571"/>
                    <a:pt x="11691" y="21583"/>
                  </a:cubicBezTo>
                  <a:cubicBezTo>
                    <a:pt x="11714" y="21596"/>
                    <a:pt x="11736" y="21593"/>
                    <a:pt x="11748" y="21583"/>
                  </a:cubicBezTo>
                  <a:cubicBezTo>
                    <a:pt x="11760" y="21574"/>
                    <a:pt x="11753" y="21540"/>
                    <a:pt x="11736" y="21517"/>
                  </a:cubicBezTo>
                  <a:cubicBezTo>
                    <a:pt x="11719" y="21495"/>
                    <a:pt x="11724" y="21438"/>
                    <a:pt x="11724" y="21395"/>
                  </a:cubicBezTo>
                  <a:cubicBezTo>
                    <a:pt x="11734" y="21351"/>
                    <a:pt x="11773" y="21281"/>
                    <a:pt x="11822" y="21246"/>
                  </a:cubicBezTo>
                  <a:cubicBezTo>
                    <a:pt x="11872" y="21212"/>
                    <a:pt x="11962" y="21191"/>
                    <a:pt x="12024" y="21213"/>
                  </a:cubicBezTo>
                  <a:cubicBezTo>
                    <a:pt x="12089" y="21231"/>
                    <a:pt x="12214" y="21265"/>
                    <a:pt x="12301" y="21290"/>
                  </a:cubicBezTo>
                  <a:cubicBezTo>
                    <a:pt x="12385" y="21317"/>
                    <a:pt x="12503" y="21318"/>
                    <a:pt x="12558" y="21301"/>
                  </a:cubicBezTo>
                  <a:cubicBezTo>
                    <a:pt x="12612" y="21284"/>
                    <a:pt x="12707" y="21274"/>
                    <a:pt x="12768" y="21287"/>
                  </a:cubicBezTo>
                  <a:cubicBezTo>
                    <a:pt x="12831" y="21296"/>
                    <a:pt x="12879" y="21344"/>
                    <a:pt x="12885" y="21390"/>
                  </a:cubicBezTo>
                  <a:cubicBezTo>
                    <a:pt x="12895" y="21434"/>
                    <a:pt x="12952" y="21489"/>
                    <a:pt x="13029" y="21506"/>
                  </a:cubicBezTo>
                  <a:cubicBezTo>
                    <a:pt x="13106" y="21524"/>
                    <a:pt x="13202" y="21534"/>
                    <a:pt x="13241" y="21534"/>
                  </a:cubicBezTo>
                  <a:cubicBezTo>
                    <a:pt x="13281" y="21530"/>
                    <a:pt x="13316" y="21489"/>
                    <a:pt x="13322" y="21441"/>
                  </a:cubicBezTo>
                  <a:cubicBezTo>
                    <a:pt x="13322" y="21391"/>
                    <a:pt x="13364" y="21317"/>
                    <a:pt x="13414" y="21283"/>
                  </a:cubicBezTo>
                  <a:cubicBezTo>
                    <a:pt x="13463" y="21249"/>
                    <a:pt x="13531" y="21221"/>
                    <a:pt x="13573" y="21226"/>
                  </a:cubicBezTo>
                  <a:cubicBezTo>
                    <a:pt x="13616" y="21230"/>
                    <a:pt x="13674" y="21227"/>
                    <a:pt x="13699" y="21212"/>
                  </a:cubicBezTo>
                  <a:cubicBezTo>
                    <a:pt x="13729" y="21203"/>
                    <a:pt x="13795" y="21187"/>
                    <a:pt x="13851" y="21182"/>
                  </a:cubicBezTo>
                  <a:cubicBezTo>
                    <a:pt x="13906" y="21182"/>
                    <a:pt x="14018" y="21150"/>
                    <a:pt x="14093" y="21114"/>
                  </a:cubicBezTo>
                  <a:cubicBezTo>
                    <a:pt x="14172" y="21081"/>
                    <a:pt x="14334" y="21041"/>
                    <a:pt x="14456" y="21028"/>
                  </a:cubicBezTo>
                  <a:cubicBezTo>
                    <a:pt x="14576" y="21011"/>
                    <a:pt x="14739" y="21012"/>
                    <a:pt x="14815" y="21031"/>
                  </a:cubicBezTo>
                  <a:cubicBezTo>
                    <a:pt x="14890" y="21047"/>
                    <a:pt x="15017" y="21030"/>
                    <a:pt x="15094" y="20991"/>
                  </a:cubicBezTo>
                  <a:cubicBezTo>
                    <a:pt x="15171" y="20954"/>
                    <a:pt x="15271" y="20883"/>
                    <a:pt x="15314" y="20831"/>
                  </a:cubicBezTo>
                  <a:cubicBezTo>
                    <a:pt x="15356" y="20779"/>
                    <a:pt x="15461" y="20688"/>
                    <a:pt x="15554" y="20638"/>
                  </a:cubicBezTo>
                  <a:cubicBezTo>
                    <a:pt x="15555" y="20638"/>
                    <a:pt x="15555" y="20638"/>
                    <a:pt x="15556" y="20637"/>
                  </a:cubicBezTo>
                  <a:cubicBezTo>
                    <a:pt x="15634" y="20585"/>
                    <a:pt x="15704" y="20547"/>
                    <a:pt x="15703" y="20547"/>
                  </a:cubicBezTo>
                  <a:cubicBezTo>
                    <a:pt x="15704" y="20547"/>
                    <a:pt x="15741" y="20508"/>
                    <a:pt x="15781" y="20457"/>
                  </a:cubicBezTo>
                  <a:cubicBezTo>
                    <a:pt x="15817" y="20405"/>
                    <a:pt x="15880" y="20357"/>
                    <a:pt x="15907" y="20348"/>
                  </a:cubicBezTo>
                  <a:cubicBezTo>
                    <a:pt x="15934" y="20338"/>
                    <a:pt x="15982" y="20293"/>
                    <a:pt x="16022" y="20253"/>
                  </a:cubicBezTo>
                  <a:cubicBezTo>
                    <a:pt x="16058" y="20212"/>
                    <a:pt x="16143" y="20132"/>
                    <a:pt x="16208" y="20072"/>
                  </a:cubicBezTo>
                  <a:cubicBezTo>
                    <a:pt x="16277" y="20015"/>
                    <a:pt x="16355" y="19980"/>
                    <a:pt x="16388" y="19984"/>
                  </a:cubicBezTo>
                  <a:cubicBezTo>
                    <a:pt x="16422" y="19989"/>
                    <a:pt x="16519" y="19902"/>
                    <a:pt x="16616" y="19786"/>
                  </a:cubicBezTo>
                  <a:cubicBezTo>
                    <a:pt x="16695" y="19678"/>
                    <a:pt x="16863" y="19495"/>
                    <a:pt x="17006" y="19354"/>
                  </a:cubicBezTo>
                  <a:lnTo>
                    <a:pt x="17006" y="19353"/>
                  </a:lnTo>
                  <a:cubicBezTo>
                    <a:pt x="17130" y="19235"/>
                    <a:pt x="17216" y="19050"/>
                    <a:pt x="17205" y="18946"/>
                  </a:cubicBezTo>
                  <a:cubicBezTo>
                    <a:pt x="17199" y="18842"/>
                    <a:pt x="17159" y="18730"/>
                    <a:pt x="17130" y="18697"/>
                  </a:cubicBezTo>
                  <a:cubicBezTo>
                    <a:pt x="17099" y="18665"/>
                    <a:pt x="17076" y="18547"/>
                    <a:pt x="17065" y="18437"/>
                  </a:cubicBezTo>
                  <a:cubicBezTo>
                    <a:pt x="17054" y="18326"/>
                    <a:pt x="17007" y="18197"/>
                    <a:pt x="16961" y="18143"/>
                  </a:cubicBezTo>
                  <a:cubicBezTo>
                    <a:pt x="16915" y="18089"/>
                    <a:pt x="16850" y="18013"/>
                    <a:pt x="16827" y="17967"/>
                  </a:cubicBezTo>
                  <a:cubicBezTo>
                    <a:pt x="16808" y="17920"/>
                    <a:pt x="16757" y="17846"/>
                    <a:pt x="16719" y="17803"/>
                  </a:cubicBezTo>
                  <a:cubicBezTo>
                    <a:pt x="16681" y="17757"/>
                    <a:pt x="16599" y="17723"/>
                    <a:pt x="16535" y="17728"/>
                  </a:cubicBezTo>
                  <a:cubicBezTo>
                    <a:pt x="16471" y="17732"/>
                    <a:pt x="16398" y="17718"/>
                    <a:pt x="16376" y="17696"/>
                  </a:cubicBezTo>
                  <a:cubicBezTo>
                    <a:pt x="16353" y="17674"/>
                    <a:pt x="16341" y="17637"/>
                    <a:pt x="16341" y="17612"/>
                  </a:cubicBezTo>
                  <a:cubicBezTo>
                    <a:pt x="16347" y="17587"/>
                    <a:pt x="16300" y="17551"/>
                    <a:pt x="16243" y="17529"/>
                  </a:cubicBezTo>
                  <a:cubicBezTo>
                    <a:pt x="16182" y="17512"/>
                    <a:pt x="16089" y="17407"/>
                    <a:pt x="16032" y="17305"/>
                  </a:cubicBezTo>
                  <a:cubicBezTo>
                    <a:pt x="15970" y="17205"/>
                    <a:pt x="15911" y="17104"/>
                    <a:pt x="15886" y="17096"/>
                  </a:cubicBezTo>
                  <a:cubicBezTo>
                    <a:pt x="15866" y="17081"/>
                    <a:pt x="15835" y="17039"/>
                    <a:pt x="15830" y="16997"/>
                  </a:cubicBezTo>
                  <a:cubicBezTo>
                    <a:pt x="15824" y="16955"/>
                    <a:pt x="15770" y="16878"/>
                    <a:pt x="15712" y="16828"/>
                  </a:cubicBezTo>
                  <a:cubicBezTo>
                    <a:pt x="15657" y="16776"/>
                    <a:pt x="15586" y="16704"/>
                    <a:pt x="15554" y="16670"/>
                  </a:cubicBezTo>
                  <a:cubicBezTo>
                    <a:pt x="15521" y="16636"/>
                    <a:pt x="15383" y="16618"/>
                    <a:pt x="15242" y="16622"/>
                  </a:cubicBezTo>
                  <a:cubicBezTo>
                    <a:pt x="15101" y="16631"/>
                    <a:pt x="14935" y="16626"/>
                    <a:pt x="14877" y="16609"/>
                  </a:cubicBezTo>
                  <a:cubicBezTo>
                    <a:pt x="14818" y="16591"/>
                    <a:pt x="14753" y="16547"/>
                    <a:pt x="14730" y="16508"/>
                  </a:cubicBezTo>
                  <a:cubicBezTo>
                    <a:pt x="14705" y="16470"/>
                    <a:pt x="14741" y="16379"/>
                    <a:pt x="14798" y="16308"/>
                  </a:cubicBezTo>
                  <a:cubicBezTo>
                    <a:pt x="14854" y="16238"/>
                    <a:pt x="14932" y="16164"/>
                    <a:pt x="14967" y="16145"/>
                  </a:cubicBezTo>
                  <a:cubicBezTo>
                    <a:pt x="15002" y="16127"/>
                    <a:pt x="15030" y="16054"/>
                    <a:pt x="15046" y="15987"/>
                  </a:cubicBezTo>
                  <a:cubicBezTo>
                    <a:pt x="15052" y="15919"/>
                    <a:pt x="15122" y="15874"/>
                    <a:pt x="15197" y="15883"/>
                  </a:cubicBezTo>
                  <a:cubicBezTo>
                    <a:pt x="15269" y="15896"/>
                    <a:pt x="15384" y="15889"/>
                    <a:pt x="15450" y="15870"/>
                  </a:cubicBezTo>
                  <a:cubicBezTo>
                    <a:pt x="15514" y="15852"/>
                    <a:pt x="15597" y="15856"/>
                    <a:pt x="15630" y="15878"/>
                  </a:cubicBezTo>
                  <a:cubicBezTo>
                    <a:pt x="15663" y="15899"/>
                    <a:pt x="15724" y="15921"/>
                    <a:pt x="15765" y="15925"/>
                  </a:cubicBezTo>
                  <a:cubicBezTo>
                    <a:pt x="15805" y="15929"/>
                    <a:pt x="15862" y="15907"/>
                    <a:pt x="15882" y="15871"/>
                  </a:cubicBezTo>
                  <a:cubicBezTo>
                    <a:pt x="15899" y="15834"/>
                    <a:pt x="15960" y="15777"/>
                    <a:pt x="16011" y="15746"/>
                  </a:cubicBezTo>
                  <a:cubicBezTo>
                    <a:pt x="16057" y="15710"/>
                    <a:pt x="16120" y="15567"/>
                    <a:pt x="16137" y="15421"/>
                  </a:cubicBezTo>
                  <a:cubicBezTo>
                    <a:pt x="16160" y="15277"/>
                    <a:pt x="16182" y="15061"/>
                    <a:pt x="16176" y="14941"/>
                  </a:cubicBezTo>
                  <a:cubicBezTo>
                    <a:pt x="16176" y="14821"/>
                    <a:pt x="16199" y="14650"/>
                    <a:pt x="16234" y="14564"/>
                  </a:cubicBezTo>
                  <a:cubicBezTo>
                    <a:pt x="16263" y="14478"/>
                    <a:pt x="16348" y="14344"/>
                    <a:pt x="16399" y="14260"/>
                  </a:cubicBezTo>
                  <a:cubicBezTo>
                    <a:pt x="16461" y="14181"/>
                    <a:pt x="16506" y="14060"/>
                    <a:pt x="16511" y="13994"/>
                  </a:cubicBezTo>
                  <a:cubicBezTo>
                    <a:pt x="16517" y="13928"/>
                    <a:pt x="16499" y="13846"/>
                    <a:pt x="16478" y="13812"/>
                  </a:cubicBezTo>
                  <a:cubicBezTo>
                    <a:pt x="16455" y="13777"/>
                    <a:pt x="16462" y="13695"/>
                    <a:pt x="16492" y="13630"/>
                  </a:cubicBezTo>
                  <a:cubicBezTo>
                    <a:pt x="16520" y="13565"/>
                    <a:pt x="16610" y="13445"/>
                    <a:pt x="16685" y="13360"/>
                  </a:cubicBezTo>
                  <a:cubicBezTo>
                    <a:pt x="16759" y="13275"/>
                    <a:pt x="16840" y="13175"/>
                    <a:pt x="16851" y="13133"/>
                  </a:cubicBezTo>
                  <a:cubicBezTo>
                    <a:pt x="16863" y="13091"/>
                    <a:pt x="16904" y="13059"/>
                    <a:pt x="16930" y="13049"/>
                  </a:cubicBezTo>
                  <a:cubicBezTo>
                    <a:pt x="16959" y="13044"/>
                    <a:pt x="17014" y="13047"/>
                    <a:pt x="17050" y="13057"/>
                  </a:cubicBezTo>
                  <a:cubicBezTo>
                    <a:pt x="17086" y="13065"/>
                    <a:pt x="17180" y="12883"/>
                    <a:pt x="17260" y="12650"/>
                  </a:cubicBezTo>
                  <a:cubicBezTo>
                    <a:pt x="17345" y="12419"/>
                    <a:pt x="17444" y="12147"/>
                    <a:pt x="17488" y="12048"/>
                  </a:cubicBezTo>
                  <a:cubicBezTo>
                    <a:pt x="17534" y="11951"/>
                    <a:pt x="17652" y="11817"/>
                    <a:pt x="17750" y="11750"/>
                  </a:cubicBezTo>
                  <a:cubicBezTo>
                    <a:pt x="17847" y="11682"/>
                    <a:pt x="17930" y="11590"/>
                    <a:pt x="17936" y="11542"/>
                  </a:cubicBezTo>
                  <a:cubicBezTo>
                    <a:pt x="17936" y="11493"/>
                    <a:pt x="18019" y="11351"/>
                    <a:pt x="18104" y="11224"/>
                  </a:cubicBezTo>
                  <a:cubicBezTo>
                    <a:pt x="18188" y="11097"/>
                    <a:pt x="18273" y="10950"/>
                    <a:pt x="18284" y="10897"/>
                  </a:cubicBezTo>
                  <a:cubicBezTo>
                    <a:pt x="18296" y="10842"/>
                    <a:pt x="18359" y="10785"/>
                    <a:pt x="18423" y="10772"/>
                  </a:cubicBezTo>
                  <a:cubicBezTo>
                    <a:pt x="18485" y="10752"/>
                    <a:pt x="18562" y="10749"/>
                    <a:pt x="18591" y="10749"/>
                  </a:cubicBezTo>
                  <a:cubicBezTo>
                    <a:pt x="18620" y="10753"/>
                    <a:pt x="18678" y="10672"/>
                    <a:pt x="18718" y="10573"/>
                  </a:cubicBezTo>
                  <a:cubicBezTo>
                    <a:pt x="18758" y="10472"/>
                    <a:pt x="18878" y="10274"/>
                    <a:pt x="18969" y="10126"/>
                  </a:cubicBezTo>
                  <a:cubicBezTo>
                    <a:pt x="19066" y="9979"/>
                    <a:pt x="19148" y="9774"/>
                    <a:pt x="19154" y="9669"/>
                  </a:cubicBezTo>
                  <a:cubicBezTo>
                    <a:pt x="19159" y="9563"/>
                    <a:pt x="19198" y="9398"/>
                    <a:pt x="19237" y="9302"/>
                  </a:cubicBezTo>
                  <a:cubicBezTo>
                    <a:pt x="19278" y="9206"/>
                    <a:pt x="19328" y="9110"/>
                    <a:pt x="19343" y="9086"/>
                  </a:cubicBezTo>
                  <a:cubicBezTo>
                    <a:pt x="19362" y="9064"/>
                    <a:pt x="19362" y="9042"/>
                    <a:pt x="19348" y="9034"/>
                  </a:cubicBezTo>
                  <a:cubicBezTo>
                    <a:pt x="19334" y="9026"/>
                    <a:pt x="19310" y="8973"/>
                    <a:pt x="19298" y="8911"/>
                  </a:cubicBezTo>
                  <a:cubicBezTo>
                    <a:pt x="19287" y="8848"/>
                    <a:pt x="19249" y="8692"/>
                    <a:pt x="19215" y="8564"/>
                  </a:cubicBezTo>
                  <a:cubicBezTo>
                    <a:pt x="19175" y="8436"/>
                    <a:pt x="19156" y="8269"/>
                    <a:pt x="19167" y="8194"/>
                  </a:cubicBezTo>
                  <a:cubicBezTo>
                    <a:pt x="19179" y="8120"/>
                    <a:pt x="19209" y="8027"/>
                    <a:pt x="19247" y="7991"/>
                  </a:cubicBezTo>
                  <a:cubicBezTo>
                    <a:pt x="19282" y="7953"/>
                    <a:pt x="19315" y="7882"/>
                    <a:pt x="19326" y="7832"/>
                  </a:cubicBezTo>
                  <a:cubicBezTo>
                    <a:pt x="19331" y="7780"/>
                    <a:pt x="19386" y="7676"/>
                    <a:pt x="19437" y="7598"/>
                  </a:cubicBezTo>
                  <a:cubicBezTo>
                    <a:pt x="19494" y="7520"/>
                    <a:pt x="19564" y="7329"/>
                    <a:pt x="19597" y="7173"/>
                  </a:cubicBezTo>
                  <a:cubicBezTo>
                    <a:pt x="19626" y="7016"/>
                    <a:pt x="19692" y="6810"/>
                    <a:pt x="19731" y="6713"/>
                  </a:cubicBezTo>
                  <a:cubicBezTo>
                    <a:pt x="19766" y="6615"/>
                    <a:pt x="19825" y="6511"/>
                    <a:pt x="19852" y="6479"/>
                  </a:cubicBezTo>
                  <a:cubicBezTo>
                    <a:pt x="19879" y="6448"/>
                    <a:pt x="19883" y="6399"/>
                    <a:pt x="19867" y="6373"/>
                  </a:cubicBezTo>
                  <a:cubicBezTo>
                    <a:pt x="19850" y="6347"/>
                    <a:pt x="19814" y="6309"/>
                    <a:pt x="19784" y="6291"/>
                  </a:cubicBezTo>
                  <a:cubicBezTo>
                    <a:pt x="19752" y="6274"/>
                    <a:pt x="19752" y="6196"/>
                    <a:pt x="19791" y="6125"/>
                  </a:cubicBezTo>
                  <a:cubicBezTo>
                    <a:pt x="19825" y="6053"/>
                    <a:pt x="19850" y="5942"/>
                    <a:pt x="19856" y="5879"/>
                  </a:cubicBezTo>
                  <a:cubicBezTo>
                    <a:pt x="19856" y="5815"/>
                    <a:pt x="19894" y="5748"/>
                    <a:pt x="19930" y="5722"/>
                  </a:cubicBezTo>
                  <a:cubicBezTo>
                    <a:pt x="19966" y="5696"/>
                    <a:pt x="20071" y="5678"/>
                    <a:pt x="20157" y="5676"/>
                  </a:cubicBezTo>
                  <a:cubicBezTo>
                    <a:pt x="20244" y="5674"/>
                    <a:pt x="20320" y="5644"/>
                    <a:pt x="20331" y="5610"/>
                  </a:cubicBezTo>
                  <a:cubicBezTo>
                    <a:pt x="20336" y="5575"/>
                    <a:pt x="20340" y="5522"/>
                    <a:pt x="20323" y="5493"/>
                  </a:cubicBezTo>
                  <a:cubicBezTo>
                    <a:pt x="20310" y="5464"/>
                    <a:pt x="20299" y="5413"/>
                    <a:pt x="20309" y="5383"/>
                  </a:cubicBezTo>
                  <a:cubicBezTo>
                    <a:pt x="20315" y="5351"/>
                    <a:pt x="20372" y="5311"/>
                    <a:pt x="20437" y="5298"/>
                  </a:cubicBezTo>
                  <a:cubicBezTo>
                    <a:pt x="20503" y="5285"/>
                    <a:pt x="20586" y="5244"/>
                    <a:pt x="20628" y="5213"/>
                  </a:cubicBezTo>
                  <a:cubicBezTo>
                    <a:pt x="20670" y="5182"/>
                    <a:pt x="20761" y="5158"/>
                    <a:pt x="20833" y="5165"/>
                  </a:cubicBezTo>
                  <a:cubicBezTo>
                    <a:pt x="20905" y="5171"/>
                    <a:pt x="20984" y="5137"/>
                    <a:pt x="21011" y="5094"/>
                  </a:cubicBezTo>
                  <a:cubicBezTo>
                    <a:pt x="21038" y="5052"/>
                    <a:pt x="21101" y="5005"/>
                    <a:pt x="21156" y="4995"/>
                  </a:cubicBezTo>
                  <a:cubicBezTo>
                    <a:pt x="21211" y="4983"/>
                    <a:pt x="21300" y="4953"/>
                    <a:pt x="21354" y="4923"/>
                  </a:cubicBezTo>
                  <a:cubicBezTo>
                    <a:pt x="21405" y="4891"/>
                    <a:pt x="21487" y="4819"/>
                    <a:pt x="21532" y="4756"/>
                  </a:cubicBezTo>
                  <a:cubicBezTo>
                    <a:pt x="21579" y="4694"/>
                    <a:pt x="21595" y="4642"/>
                    <a:pt x="21573" y="4642"/>
                  </a:cubicBezTo>
                  <a:cubicBezTo>
                    <a:pt x="21552" y="4642"/>
                    <a:pt x="21531" y="4609"/>
                    <a:pt x="21536" y="4566"/>
                  </a:cubicBezTo>
                  <a:cubicBezTo>
                    <a:pt x="21530" y="4524"/>
                    <a:pt x="21479" y="4464"/>
                    <a:pt x="21411" y="4429"/>
                  </a:cubicBezTo>
                  <a:cubicBezTo>
                    <a:pt x="21344" y="4391"/>
                    <a:pt x="21229" y="4369"/>
                    <a:pt x="21164" y="4364"/>
                  </a:cubicBezTo>
                  <a:cubicBezTo>
                    <a:pt x="21098" y="4366"/>
                    <a:pt x="21046" y="4315"/>
                    <a:pt x="21046" y="4256"/>
                  </a:cubicBezTo>
                  <a:cubicBezTo>
                    <a:pt x="21046" y="4197"/>
                    <a:pt x="20932" y="4077"/>
                    <a:pt x="20793" y="3987"/>
                  </a:cubicBezTo>
                  <a:cubicBezTo>
                    <a:pt x="20652" y="3899"/>
                    <a:pt x="20492" y="3817"/>
                    <a:pt x="20438" y="3805"/>
                  </a:cubicBezTo>
                  <a:cubicBezTo>
                    <a:pt x="20384" y="3794"/>
                    <a:pt x="20293" y="3699"/>
                    <a:pt x="20236" y="3595"/>
                  </a:cubicBezTo>
                  <a:cubicBezTo>
                    <a:pt x="20179" y="3489"/>
                    <a:pt x="20097" y="3294"/>
                    <a:pt x="20056" y="3161"/>
                  </a:cubicBezTo>
                  <a:cubicBezTo>
                    <a:pt x="20011" y="3028"/>
                    <a:pt x="19995" y="2824"/>
                    <a:pt x="20018" y="2708"/>
                  </a:cubicBezTo>
                  <a:cubicBezTo>
                    <a:pt x="20035" y="2592"/>
                    <a:pt x="20038" y="2398"/>
                    <a:pt x="20027" y="2275"/>
                  </a:cubicBezTo>
                  <a:cubicBezTo>
                    <a:pt x="20010" y="2153"/>
                    <a:pt x="19933" y="1871"/>
                    <a:pt x="19858" y="1647"/>
                  </a:cubicBezTo>
                  <a:cubicBezTo>
                    <a:pt x="19780" y="1424"/>
                    <a:pt x="19708" y="1195"/>
                    <a:pt x="19703" y="1137"/>
                  </a:cubicBezTo>
                  <a:cubicBezTo>
                    <a:pt x="19691" y="1080"/>
                    <a:pt x="19702" y="1027"/>
                    <a:pt x="19708" y="1014"/>
                  </a:cubicBezTo>
                  <a:cubicBezTo>
                    <a:pt x="19720" y="1005"/>
                    <a:pt x="19747" y="1022"/>
                    <a:pt x="19775" y="1051"/>
                  </a:cubicBezTo>
                  <a:cubicBezTo>
                    <a:pt x="19800" y="1080"/>
                    <a:pt x="19831" y="1121"/>
                    <a:pt x="19837" y="1142"/>
                  </a:cubicBezTo>
                  <a:cubicBezTo>
                    <a:pt x="19848" y="1161"/>
                    <a:pt x="19866" y="1177"/>
                    <a:pt x="19881" y="1177"/>
                  </a:cubicBezTo>
                  <a:cubicBezTo>
                    <a:pt x="19897" y="1177"/>
                    <a:pt x="19906" y="1151"/>
                    <a:pt x="19912" y="1122"/>
                  </a:cubicBezTo>
                  <a:cubicBezTo>
                    <a:pt x="19906" y="1092"/>
                    <a:pt x="19859" y="1011"/>
                    <a:pt x="19800" y="938"/>
                  </a:cubicBezTo>
                  <a:cubicBezTo>
                    <a:pt x="19738" y="866"/>
                    <a:pt x="19671" y="737"/>
                    <a:pt x="19647" y="650"/>
                  </a:cubicBezTo>
                  <a:cubicBezTo>
                    <a:pt x="19619" y="565"/>
                    <a:pt x="19601" y="477"/>
                    <a:pt x="19584" y="461"/>
                  </a:cubicBezTo>
                  <a:cubicBezTo>
                    <a:pt x="19566" y="446"/>
                    <a:pt x="19562" y="419"/>
                    <a:pt x="19562" y="406"/>
                  </a:cubicBezTo>
                  <a:cubicBezTo>
                    <a:pt x="19562" y="393"/>
                    <a:pt x="19554" y="371"/>
                    <a:pt x="19541" y="357"/>
                  </a:cubicBezTo>
                  <a:cubicBezTo>
                    <a:pt x="19535" y="340"/>
                    <a:pt x="19524" y="316"/>
                    <a:pt x="19535" y="300"/>
                  </a:cubicBezTo>
                  <a:cubicBezTo>
                    <a:pt x="19541" y="284"/>
                    <a:pt x="19535" y="252"/>
                    <a:pt x="19519" y="229"/>
                  </a:cubicBezTo>
                  <a:cubicBezTo>
                    <a:pt x="19502" y="204"/>
                    <a:pt x="19496" y="162"/>
                    <a:pt x="19501" y="134"/>
                  </a:cubicBezTo>
                  <a:cubicBezTo>
                    <a:pt x="19513" y="106"/>
                    <a:pt x="19517" y="60"/>
                    <a:pt x="19523" y="34"/>
                  </a:cubicBezTo>
                  <a:cubicBezTo>
                    <a:pt x="19528" y="8"/>
                    <a:pt x="18838" y="-4"/>
                    <a:pt x="17986" y="0"/>
                  </a:cubicBezTo>
                  <a:cubicBezTo>
                    <a:pt x="14084" y="39"/>
                    <a:pt x="10038" y="72"/>
                    <a:pt x="5855" y="109"/>
                  </a:cubicBezTo>
                  <a:cubicBezTo>
                    <a:pt x="5379" y="116"/>
                    <a:pt x="4643" y="171"/>
                    <a:pt x="4162" y="112"/>
                  </a:cubicBezTo>
                  <a:close/>
                  <a:moveTo>
                    <a:pt x="4162" y="1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1" name="AutoShape 781"/>
            <p:cNvSpPr>
              <a:spLocks/>
            </p:cNvSpPr>
            <p:nvPr/>
          </p:nvSpPr>
          <p:spPr bwMode="auto">
            <a:xfrm>
              <a:off x="8559800" y="4470400"/>
              <a:ext cx="53975" cy="0"/>
            </a:xfrm>
            <a:custGeom>
              <a:avLst/>
              <a:gdLst/>
              <a:ahLst/>
              <a:cxnLst/>
              <a:rect l="0" t="0" r="r" b="b"/>
              <a:pathLst>
                <a:path w="21600" h="9743">
                  <a:moveTo>
                    <a:pt x="21600" y="1741"/>
                  </a:moveTo>
                  <a:cubicBezTo>
                    <a:pt x="16711" y="2892"/>
                    <a:pt x="5418" y="-3361"/>
                    <a:pt x="0" y="2655"/>
                  </a:cubicBezTo>
                  <a:cubicBezTo>
                    <a:pt x="6133" y="18239"/>
                    <a:pt x="15526" y="3529"/>
                    <a:pt x="21600" y="1741"/>
                  </a:cubicBezTo>
                  <a:close/>
                  <a:moveTo>
                    <a:pt x="21600" y="17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2" name="AutoShape 782"/>
            <p:cNvSpPr>
              <a:spLocks/>
            </p:cNvSpPr>
            <p:nvPr/>
          </p:nvSpPr>
          <p:spPr bwMode="auto">
            <a:xfrm>
              <a:off x="8902700" y="4813300"/>
              <a:ext cx="542925" cy="520700"/>
            </a:xfrm>
            <a:custGeom>
              <a:avLst/>
              <a:gdLst/>
              <a:ahLst/>
              <a:cxnLst/>
              <a:rect l="0" t="0" r="r" b="b"/>
              <a:pathLst>
                <a:path w="21366" h="21557">
                  <a:moveTo>
                    <a:pt x="3263" y="18495"/>
                  </a:moveTo>
                  <a:cubicBezTo>
                    <a:pt x="3302" y="18454"/>
                    <a:pt x="3359" y="18485"/>
                    <a:pt x="3395" y="18577"/>
                  </a:cubicBezTo>
                  <a:cubicBezTo>
                    <a:pt x="3432" y="18669"/>
                    <a:pt x="3536" y="18722"/>
                    <a:pt x="3620" y="18692"/>
                  </a:cubicBezTo>
                  <a:cubicBezTo>
                    <a:pt x="3705" y="18671"/>
                    <a:pt x="3827" y="18648"/>
                    <a:pt x="3891" y="18656"/>
                  </a:cubicBezTo>
                  <a:cubicBezTo>
                    <a:pt x="3954" y="18663"/>
                    <a:pt x="3990" y="18922"/>
                    <a:pt x="3968" y="19232"/>
                  </a:cubicBezTo>
                  <a:cubicBezTo>
                    <a:pt x="3946" y="19542"/>
                    <a:pt x="3979" y="19876"/>
                    <a:pt x="4049" y="19964"/>
                  </a:cubicBezTo>
                  <a:cubicBezTo>
                    <a:pt x="4122" y="20050"/>
                    <a:pt x="4234" y="20146"/>
                    <a:pt x="4312" y="20155"/>
                  </a:cubicBezTo>
                  <a:cubicBezTo>
                    <a:pt x="4392" y="20155"/>
                    <a:pt x="4535" y="20134"/>
                    <a:pt x="4634" y="20090"/>
                  </a:cubicBezTo>
                  <a:cubicBezTo>
                    <a:pt x="4733" y="20045"/>
                    <a:pt x="4893" y="20028"/>
                    <a:pt x="4997" y="20042"/>
                  </a:cubicBezTo>
                  <a:cubicBezTo>
                    <a:pt x="5100" y="20056"/>
                    <a:pt x="5348" y="20053"/>
                    <a:pt x="5551" y="20022"/>
                  </a:cubicBezTo>
                  <a:cubicBezTo>
                    <a:pt x="5753" y="19992"/>
                    <a:pt x="5976" y="20008"/>
                    <a:pt x="6051" y="20056"/>
                  </a:cubicBezTo>
                  <a:cubicBezTo>
                    <a:pt x="6125" y="20107"/>
                    <a:pt x="6310" y="20306"/>
                    <a:pt x="6471" y="20489"/>
                  </a:cubicBezTo>
                  <a:cubicBezTo>
                    <a:pt x="6627" y="20678"/>
                    <a:pt x="6840" y="20885"/>
                    <a:pt x="6926" y="20969"/>
                  </a:cubicBezTo>
                  <a:cubicBezTo>
                    <a:pt x="7029" y="21031"/>
                    <a:pt x="7152" y="21174"/>
                    <a:pt x="7207" y="21266"/>
                  </a:cubicBezTo>
                  <a:cubicBezTo>
                    <a:pt x="7267" y="21354"/>
                    <a:pt x="7364" y="21448"/>
                    <a:pt x="7428" y="21465"/>
                  </a:cubicBezTo>
                  <a:cubicBezTo>
                    <a:pt x="7490" y="21487"/>
                    <a:pt x="7660" y="21490"/>
                    <a:pt x="7804" y="21475"/>
                  </a:cubicBezTo>
                  <a:cubicBezTo>
                    <a:pt x="7948" y="21460"/>
                    <a:pt x="8137" y="21477"/>
                    <a:pt x="8219" y="21520"/>
                  </a:cubicBezTo>
                  <a:cubicBezTo>
                    <a:pt x="8301" y="21563"/>
                    <a:pt x="8460" y="21560"/>
                    <a:pt x="8573" y="21535"/>
                  </a:cubicBezTo>
                  <a:cubicBezTo>
                    <a:pt x="8685" y="21511"/>
                    <a:pt x="8826" y="21510"/>
                    <a:pt x="8898" y="21523"/>
                  </a:cubicBezTo>
                  <a:cubicBezTo>
                    <a:pt x="8967" y="21545"/>
                    <a:pt x="9070" y="21562"/>
                    <a:pt x="9128" y="21555"/>
                  </a:cubicBezTo>
                  <a:cubicBezTo>
                    <a:pt x="9186" y="21548"/>
                    <a:pt x="9300" y="21536"/>
                    <a:pt x="9378" y="21515"/>
                  </a:cubicBezTo>
                  <a:cubicBezTo>
                    <a:pt x="9458" y="21502"/>
                    <a:pt x="9629" y="21314"/>
                    <a:pt x="9745" y="21093"/>
                  </a:cubicBezTo>
                  <a:cubicBezTo>
                    <a:pt x="9870" y="20876"/>
                    <a:pt x="10002" y="20639"/>
                    <a:pt x="10045" y="20571"/>
                  </a:cubicBezTo>
                  <a:cubicBezTo>
                    <a:pt x="10089" y="20501"/>
                    <a:pt x="10194" y="20399"/>
                    <a:pt x="10284" y="20352"/>
                  </a:cubicBezTo>
                  <a:cubicBezTo>
                    <a:pt x="10371" y="20303"/>
                    <a:pt x="10493" y="20266"/>
                    <a:pt x="10552" y="20259"/>
                  </a:cubicBezTo>
                  <a:cubicBezTo>
                    <a:pt x="10613" y="20251"/>
                    <a:pt x="10703" y="20229"/>
                    <a:pt x="10744" y="20186"/>
                  </a:cubicBezTo>
                  <a:cubicBezTo>
                    <a:pt x="10785" y="20143"/>
                    <a:pt x="10976" y="20070"/>
                    <a:pt x="11164" y="20024"/>
                  </a:cubicBezTo>
                  <a:cubicBezTo>
                    <a:pt x="11351" y="19976"/>
                    <a:pt x="11545" y="19957"/>
                    <a:pt x="11600" y="19986"/>
                  </a:cubicBezTo>
                  <a:cubicBezTo>
                    <a:pt x="11656" y="20015"/>
                    <a:pt x="11725" y="20129"/>
                    <a:pt x="11769" y="20229"/>
                  </a:cubicBezTo>
                  <a:cubicBezTo>
                    <a:pt x="11813" y="20331"/>
                    <a:pt x="11890" y="20450"/>
                    <a:pt x="11951" y="20493"/>
                  </a:cubicBezTo>
                  <a:cubicBezTo>
                    <a:pt x="12010" y="20539"/>
                    <a:pt x="12185" y="20530"/>
                    <a:pt x="12333" y="20483"/>
                  </a:cubicBezTo>
                  <a:cubicBezTo>
                    <a:pt x="12484" y="20443"/>
                    <a:pt x="12683" y="20387"/>
                    <a:pt x="12781" y="20379"/>
                  </a:cubicBezTo>
                  <a:cubicBezTo>
                    <a:pt x="12784" y="20379"/>
                    <a:pt x="12787" y="20379"/>
                    <a:pt x="12790" y="20379"/>
                  </a:cubicBezTo>
                  <a:cubicBezTo>
                    <a:pt x="12885" y="20372"/>
                    <a:pt x="12974" y="20363"/>
                    <a:pt x="12985" y="20352"/>
                  </a:cubicBezTo>
                  <a:cubicBezTo>
                    <a:pt x="13001" y="20352"/>
                    <a:pt x="13044" y="20277"/>
                    <a:pt x="13083" y="20203"/>
                  </a:cubicBezTo>
                  <a:cubicBezTo>
                    <a:pt x="13111" y="20122"/>
                    <a:pt x="13257" y="19985"/>
                    <a:pt x="13390" y="19899"/>
                  </a:cubicBezTo>
                  <a:cubicBezTo>
                    <a:pt x="13517" y="19804"/>
                    <a:pt x="13722" y="19707"/>
                    <a:pt x="13836" y="19670"/>
                  </a:cubicBezTo>
                  <a:cubicBezTo>
                    <a:pt x="13948" y="19630"/>
                    <a:pt x="14130" y="19539"/>
                    <a:pt x="14237" y="19457"/>
                  </a:cubicBezTo>
                  <a:cubicBezTo>
                    <a:pt x="14339" y="19366"/>
                    <a:pt x="14493" y="19247"/>
                    <a:pt x="14574" y="19187"/>
                  </a:cubicBezTo>
                  <a:cubicBezTo>
                    <a:pt x="14656" y="19125"/>
                    <a:pt x="14746" y="18982"/>
                    <a:pt x="14788" y="18879"/>
                  </a:cubicBezTo>
                  <a:cubicBezTo>
                    <a:pt x="14825" y="18773"/>
                    <a:pt x="14938" y="18622"/>
                    <a:pt x="15042" y="18552"/>
                  </a:cubicBezTo>
                  <a:cubicBezTo>
                    <a:pt x="15138" y="18472"/>
                    <a:pt x="15280" y="18411"/>
                    <a:pt x="15345" y="18389"/>
                  </a:cubicBezTo>
                  <a:cubicBezTo>
                    <a:pt x="15410" y="18374"/>
                    <a:pt x="15534" y="18314"/>
                    <a:pt x="15605" y="18239"/>
                  </a:cubicBezTo>
                  <a:cubicBezTo>
                    <a:pt x="15679" y="18169"/>
                    <a:pt x="15938" y="18084"/>
                    <a:pt x="16172" y="18047"/>
                  </a:cubicBezTo>
                  <a:cubicBezTo>
                    <a:pt x="16405" y="18009"/>
                    <a:pt x="16782" y="17962"/>
                    <a:pt x="17008" y="17946"/>
                  </a:cubicBezTo>
                  <a:cubicBezTo>
                    <a:pt x="17235" y="17939"/>
                    <a:pt x="18026" y="17130"/>
                    <a:pt x="18756" y="16163"/>
                  </a:cubicBezTo>
                  <a:cubicBezTo>
                    <a:pt x="19396" y="15314"/>
                    <a:pt x="20037" y="14469"/>
                    <a:pt x="20667" y="13622"/>
                  </a:cubicBezTo>
                  <a:cubicBezTo>
                    <a:pt x="21380" y="12668"/>
                    <a:pt x="21579" y="11932"/>
                    <a:pt x="21118" y="11987"/>
                  </a:cubicBezTo>
                  <a:cubicBezTo>
                    <a:pt x="20656" y="12040"/>
                    <a:pt x="19577" y="11845"/>
                    <a:pt x="18709" y="11564"/>
                  </a:cubicBezTo>
                  <a:cubicBezTo>
                    <a:pt x="18489" y="11489"/>
                    <a:pt x="18268" y="11417"/>
                    <a:pt x="18047" y="11342"/>
                  </a:cubicBezTo>
                  <a:cubicBezTo>
                    <a:pt x="17163" y="11052"/>
                    <a:pt x="16365" y="10719"/>
                    <a:pt x="16274" y="10624"/>
                  </a:cubicBezTo>
                  <a:cubicBezTo>
                    <a:pt x="16182" y="10527"/>
                    <a:pt x="16001" y="10425"/>
                    <a:pt x="15865" y="10393"/>
                  </a:cubicBezTo>
                  <a:cubicBezTo>
                    <a:pt x="15728" y="10370"/>
                    <a:pt x="15584" y="10218"/>
                    <a:pt x="15540" y="10065"/>
                  </a:cubicBezTo>
                  <a:cubicBezTo>
                    <a:pt x="15506" y="9912"/>
                    <a:pt x="15491" y="9669"/>
                    <a:pt x="15506" y="9519"/>
                  </a:cubicBezTo>
                  <a:cubicBezTo>
                    <a:pt x="15528" y="9370"/>
                    <a:pt x="15469" y="9197"/>
                    <a:pt x="15367" y="9140"/>
                  </a:cubicBezTo>
                  <a:cubicBezTo>
                    <a:pt x="15270" y="9077"/>
                    <a:pt x="15152" y="8807"/>
                    <a:pt x="15094" y="8539"/>
                  </a:cubicBezTo>
                  <a:cubicBezTo>
                    <a:pt x="15043" y="8269"/>
                    <a:pt x="14992" y="7889"/>
                    <a:pt x="14977" y="7697"/>
                  </a:cubicBezTo>
                  <a:cubicBezTo>
                    <a:pt x="14969" y="7505"/>
                    <a:pt x="14977" y="7302"/>
                    <a:pt x="15001" y="7243"/>
                  </a:cubicBezTo>
                  <a:cubicBezTo>
                    <a:pt x="15025" y="7184"/>
                    <a:pt x="14997" y="7097"/>
                    <a:pt x="14931" y="7051"/>
                  </a:cubicBezTo>
                  <a:cubicBezTo>
                    <a:pt x="14863" y="7008"/>
                    <a:pt x="14723" y="6984"/>
                    <a:pt x="14620" y="7022"/>
                  </a:cubicBezTo>
                  <a:cubicBezTo>
                    <a:pt x="14514" y="7054"/>
                    <a:pt x="14350" y="7151"/>
                    <a:pt x="14254" y="7236"/>
                  </a:cubicBezTo>
                  <a:cubicBezTo>
                    <a:pt x="14165" y="7330"/>
                    <a:pt x="13961" y="7409"/>
                    <a:pt x="13814" y="7424"/>
                  </a:cubicBezTo>
                  <a:cubicBezTo>
                    <a:pt x="13667" y="7440"/>
                    <a:pt x="13523" y="7408"/>
                    <a:pt x="13484" y="7354"/>
                  </a:cubicBezTo>
                  <a:cubicBezTo>
                    <a:pt x="13447" y="7299"/>
                    <a:pt x="13477" y="7151"/>
                    <a:pt x="13545" y="7030"/>
                  </a:cubicBezTo>
                  <a:cubicBezTo>
                    <a:pt x="13613" y="6909"/>
                    <a:pt x="13675" y="6731"/>
                    <a:pt x="13690" y="6637"/>
                  </a:cubicBezTo>
                  <a:cubicBezTo>
                    <a:pt x="13712" y="6544"/>
                    <a:pt x="13746" y="6386"/>
                    <a:pt x="13790" y="6294"/>
                  </a:cubicBezTo>
                  <a:cubicBezTo>
                    <a:pt x="13831" y="6198"/>
                    <a:pt x="13857" y="6011"/>
                    <a:pt x="13849" y="5878"/>
                  </a:cubicBezTo>
                  <a:cubicBezTo>
                    <a:pt x="13849" y="5745"/>
                    <a:pt x="13874" y="5562"/>
                    <a:pt x="13903" y="5464"/>
                  </a:cubicBezTo>
                  <a:cubicBezTo>
                    <a:pt x="13940" y="5370"/>
                    <a:pt x="13998" y="5190"/>
                    <a:pt x="14027" y="5065"/>
                  </a:cubicBezTo>
                  <a:cubicBezTo>
                    <a:pt x="14049" y="4937"/>
                    <a:pt x="14141" y="4797"/>
                    <a:pt x="14221" y="4773"/>
                  </a:cubicBezTo>
                  <a:cubicBezTo>
                    <a:pt x="14292" y="4732"/>
                    <a:pt x="14282" y="4565"/>
                    <a:pt x="14180" y="4389"/>
                  </a:cubicBezTo>
                  <a:cubicBezTo>
                    <a:pt x="14078" y="4211"/>
                    <a:pt x="13954" y="4065"/>
                    <a:pt x="13898" y="4065"/>
                  </a:cubicBezTo>
                  <a:cubicBezTo>
                    <a:pt x="13842" y="4072"/>
                    <a:pt x="13778" y="4016"/>
                    <a:pt x="13757" y="3956"/>
                  </a:cubicBezTo>
                  <a:cubicBezTo>
                    <a:pt x="13741" y="3893"/>
                    <a:pt x="13708" y="3763"/>
                    <a:pt x="13708" y="3664"/>
                  </a:cubicBezTo>
                  <a:cubicBezTo>
                    <a:pt x="13702" y="3565"/>
                    <a:pt x="13635" y="3374"/>
                    <a:pt x="13573" y="3232"/>
                  </a:cubicBezTo>
                  <a:cubicBezTo>
                    <a:pt x="13506" y="3092"/>
                    <a:pt x="13387" y="2972"/>
                    <a:pt x="13316" y="2952"/>
                  </a:cubicBezTo>
                  <a:cubicBezTo>
                    <a:pt x="13244" y="2937"/>
                    <a:pt x="13104" y="2805"/>
                    <a:pt x="12994" y="2670"/>
                  </a:cubicBezTo>
                  <a:cubicBezTo>
                    <a:pt x="12887" y="2532"/>
                    <a:pt x="12728" y="2354"/>
                    <a:pt x="12636" y="2280"/>
                  </a:cubicBezTo>
                  <a:cubicBezTo>
                    <a:pt x="12551" y="2198"/>
                    <a:pt x="12457" y="2102"/>
                    <a:pt x="12428" y="2059"/>
                  </a:cubicBezTo>
                  <a:cubicBezTo>
                    <a:pt x="12399" y="2014"/>
                    <a:pt x="12320" y="1971"/>
                    <a:pt x="12244" y="1963"/>
                  </a:cubicBezTo>
                  <a:cubicBezTo>
                    <a:pt x="12168" y="1959"/>
                    <a:pt x="12101" y="1922"/>
                    <a:pt x="12087" y="1889"/>
                  </a:cubicBezTo>
                  <a:cubicBezTo>
                    <a:pt x="12079" y="1855"/>
                    <a:pt x="11975" y="1813"/>
                    <a:pt x="11859" y="1797"/>
                  </a:cubicBezTo>
                  <a:cubicBezTo>
                    <a:pt x="11746" y="1783"/>
                    <a:pt x="11636" y="1698"/>
                    <a:pt x="11601" y="1621"/>
                  </a:cubicBezTo>
                  <a:cubicBezTo>
                    <a:pt x="11579" y="1540"/>
                    <a:pt x="11443" y="1347"/>
                    <a:pt x="11306" y="1191"/>
                  </a:cubicBezTo>
                  <a:cubicBezTo>
                    <a:pt x="11173" y="1032"/>
                    <a:pt x="11005" y="901"/>
                    <a:pt x="10941" y="880"/>
                  </a:cubicBezTo>
                  <a:cubicBezTo>
                    <a:pt x="10877" y="863"/>
                    <a:pt x="10764" y="789"/>
                    <a:pt x="10697" y="703"/>
                  </a:cubicBezTo>
                  <a:cubicBezTo>
                    <a:pt x="10624" y="623"/>
                    <a:pt x="10506" y="535"/>
                    <a:pt x="10424" y="517"/>
                  </a:cubicBezTo>
                  <a:cubicBezTo>
                    <a:pt x="10343" y="502"/>
                    <a:pt x="10222" y="498"/>
                    <a:pt x="10155" y="522"/>
                  </a:cubicBezTo>
                  <a:cubicBezTo>
                    <a:pt x="10089" y="545"/>
                    <a:pt x="10026" y="586"/>
                    <a:pt x="10010" y="615"/>
                  </a:cubicBezTo>
                  <a:cubicBezTo>
                    <a:pt x="10003" y="649"/>
                    <a:pt x="9880" y="572"/>
                    <a:pt x="9760" y="439"/>
                  </a:cubicBezTo>
                  <a:cubicBezTo>
                    <a:pt x="9636" y="308"/>
                    <a:pt x="9475" y="201"/>
                    <a:pt x="9403" y="204"/>
                  </a:cubicBezTo>
                  <a:cubicBezTo>
                    <a:pt x="9334" y="208"/>
                    <a:pt x="9248" y="239"/>
                    <a:pt x="9219" y="281"/>
                  </a:cubicBezTo>
                  <a:cubicBezTo>
                    <a:pt x="9185" y="321"/>
                    <a:pt x="9116" y="308"/>
                    <a:pt x="9063" y="244"/>
                  </a:cubicBezTo>
                  <a:cubicBezTo>
                    <a:pt x="9010" y="177"/>
                    <a:pt x="8897" y="140"/>
                    <a:pt x="8818" y="156"/>
                  </a:cubicBezTo>
                  <a:cubicBezTo>
                    <a:pt x="8740" y="177"/>
                    <a:pt x="8611" y="258"/>
                    <a:pt x="8531" y="345"/>
                  </a:cubicBezTo>
                  <a:cubicBezTo>
                    <a:pt x="8451" y="429"/>
                    <a:pt x="8326" y="506"/>
                    <a:pt x="8248" y="510"/>
                  </a:cubicBezTo>
                  <a:cubicBezTo>
                    <a:pt x="8171" y="514"/>
                    <a:pt x="7976" y="459"/>
                    <a:pt x="7815" y="389"/>
                  </a:cubicBezTo>
                  <a:cubicBezTo>
                    <a:pt x="7654" y="320"/>
                    <a:pt x="7502" y="221"/>
                    <a:pt x="7481" y="168"/>
                  </a:cubicBezTo>
                  <a:cubicBezTo>
                    <a:pt x="7459" y="115"/>
                    <a:pt x="7403" y="44"/>
                    <a:pt x="7359" y="6"/>
                  </a:cubicBezTo>
                  <a:cubicBezTo>
                    <a:pt x="7319" y="-37"/>
                    <a:pt x="7180" y="191"/>
                    <a:pt x="7056" y="497"/>
                  </a:cubicBezTo>
                  <a:cubicBezTo>
                    <a:pt x="6940" y="806"/>
                    <a:pt x="6779" y="1062"/>
                    <a:pt x="6712" y="1069"/>
                  </a:cubicBezTo>
                  <a:cubicBezTo>
                    <a:pt x="6646" y="1081"/>
                    <a:pt x="6568" y="1140"/>
                    <a:pt x="6532" y="1203"/>
                  </a:cubicBezTo>
                  <a:cubicBezTo>
                    <a:pt x="6495" y="1265"/>
                    <a:pt x="6401" y="1323"/>
                    <a:pt x="6313" y="1319"/>
                  </a:cubicBezTo>
                  <a:cubicBezTo>
                    <a:pt x="6224" y="1319"/>
                    <a:pt x="6104" y="1298"/>
                    <a:pt x="6051" y="1266"/>
                  </a:cubicBezTo>
                  <a:cubicBezTo>
                    <a:pt x="5993" y="1243"/>
                    <a:pt x="5931" y="1250"/>
                    <a:pt x="5907" y="1287"/>
                  </a:cubicBezTo>
                  <a:cubicBezTo>
                    <a:pt x="5888" y="1328"/>
                    <a:pt x="5823" y="1494"/>
                    <a:pt x="5771" y="1658"/>
                  </a:cubicBezTo>
                  <a:cubicBezTo>
                    <a:pt x="5721" y="1825"/>
                    <a:pt x="5672" y="2108"/>
                    <a:pt x="5665" y="2290"/>
                  </a:cubicBezTo>
                  <a:cubicBezTo>
                    <a:pt x="5658" y="2470"/>
                    <a:pt x="5552" y="2824"/>
                    <a:pt x="5429" y="3076"/>
                  </a:cubicBezTo>
                  <a:cubicBezTo>
                    <a:pt x="5312" y="3332"/>
                    <a:pt x="5159" y="3672"/>
                    <a:pt x="5108" y="3845"/>
                  </a:cubicBezTo>
                  <a:cubicBezTo>
                    <a:pt x="5057" y="4015"/>
                    <a:pt x="4982" y="4156"/>
                    <a:pt x="4945" y="4148"/>
                  </a:cubicBezTo>
                  <a:cubicBezTo>
                    <a:pt x="4908" y="4148"/>
                    <a:pt x="4810" y="4154"/>
                    <a:pt x="4731" y="4187"/>
                  </a:cubicBezTo>
                  <a:cubicBezTo>
                    <a:pt x="4649" y="4211"/>
                    <a:pt x="4569" y="4309"/>
                    <a:pt x="4554" y="4403"/>
                  </a:cubicBezTo>
                  <a:cubicBezTo>
                    <a:pt x="4539" y="4495"/>
                    <a:pt x="4430" y="4746"/>
                    <a:pt x="4323" y="4966"/>
                  </a:cubicBezTo>
                  <a:cubicBezTo>
                    <a:pt x="4215" y="5185"/>
                    <a:pt x="4108" y="5428"/>
                    <a:pt x="4108" y="5512"/>
                  </a:cubicBezTo>
                  <a:cubicBezTo>
                    <a:pt x="4100" y="5595"/>
                    <a:pt x="3995" y="5754"/>
                    <a:pt x="3870" y="5870"/>
                  </a:cubicBezTo>
                  <a:cubicBezTo>
                    <a:pt x="3746" y="5986"/>
                    <a:pt x="3595" y="6216"/>
                    <a:pt x="3536" y="6384"/>
                  </a:cubicBezTo>
                  <a:cubicBezTo>
                    <a:pt x="3480" y="6554"/>
                    <a:pt x="3354" y="7021"/>
                    <a:pt x="3245" y="7419"/>
                  </a:cubicBezTo>
                  <a:cubicBezTo>
                    <a:pt x="3142" y="7820"/>
                    <a:pt x="3022" y="8132"/>
                    <a:pt x="2975" y="8119"/>
                  </a:cubicBezTo>
                  <a:cubicBezTo>
                    <a:pt x="2930" y="8103"/>
                    <a:pt x="2860" y="8097"/>
                    <a:pt x="2822" y="8105"/>
                  </a:cubicBezTo>
                  <a:cubicBezTo>
                    <a:pt x="2789" y="8123"/>
                    <a:pt x="2737" y="8178"/>
                    <a:pt x="2722" y="8250"/>
                  </a:cubicBezTo>
                  <a:cubicBezTo>
                    <a:pt x="2708" y="8322"/>
                    <a:pt x="2604" y="8494"/>
                    <a:pt x="2509" y="8640"/>
                  </a:cubicBezTo>
                  <a:cubicBezTo>
                    <a:pt x="2414" y="8786"/>
                    <a:pt x="2298" y="8993"/>
                    <a:pt x="2263" y="9106"/>
                  </a:cubicBezTo>
                  <a:cubicBezTo>
                    <a:pt x="2224" y="9217"/>
                    <a:pt x="2215" y="9359"/>
                    <a:pt x="2244" y="9418"/>
                  </a:cubicBezTo>
                  <a:cubicBezTo>
                    <a:pt x="2272" y="9476"/>
                    <a:pt x="2295" y="9618"/>
                    <a:pt x="2287" y="9731"/>
                  </a:cubicBezTo>
                  <a:cubicBezTo>
                    <a:pt x="2281" y="9845"/>
                    <a:pt x="2223" y="10053"/>
                    <a:pt x="2144" y="10189"/>
                  </a:cubicBezTo>
                  <a:cubicBezTo>
                    <a:pt x="2079" y="10334"/>
                    <a:pt x="1970" y="10564"/>
                    <a:pt x="1933" y="10713"/>
                  </a:cubicBezTo>
                  <a:cubicBezTo>
                    <a:pt x="1888" y="10861"/>
                    <a:pt x="1859" y="11154"/>
                    <a:pt x="1859" y="11361"/>
                  </a:cubicBezTo>
                  <a:cubicBezTo>
                    <a:pt x="1867" y="11568"/>
                    <a:pt x="1838" y="11939"/>
                    <a:pt x="1808" y="12187"/>
                  </a:cubicBezTo>
                  <a:cubicBezTo>
                    <a:pt x="1787" y="12438"/>
                    <a:pt x="1706" y="12684"/>
                    <a:pt x="1648" y="12745"/>
                  </a:cubicBezTo>
                  <a:cubicBezTo>
                    <a:pt x="1583" y="12799"/>
                    <a:pt x="1505" y="12898"/>
                    <a:pt x="1483" y="12961"/>
                  </a:cubicBezTo>
                  <a:cubicBezTo>
                    <a:pt x="1457" y="13023"/>
                    <a:pt x="1385" y="13061"/>
                    <a:pt x="1333" y="13054"/>
                  </a:cubicBezTo>
                  <a:cubicBezTo>
                    <a:pt x="1281" y="13046"/>
                    <a:pt x="1203" y="13009"/>
                    <a:pt x="1161" y="12973"/>
                  </a:cubicBezTo>
                  <a:cubicBezTo>
                    <a:pt x="1118" y="12935"/>
                    <a:pt x="1013" y="12928"/>
                    <a:pt x="930" y="12959"/>
                  </a:cubicBezTo>
                  <a:cubicBezTo>
                    <a:pt x="847" y="12992"/>
                    <a:pt x="700" y="13004"/>
                    <a:pt x="607" y="12981"/>
                  </a:cubicBezTo>
                  <a:cubicBezTo>
                    <a:pt x="511" y="12967"/>
                    <a:pt x="422" y="13044"/>
                    <a:pt x="414" y="13161"/>
                  </a:cubicBezTo>
                  <a:cubicBezTo>
                    <a:pt x="394" y="13276"/>
                    <a:pt x="358" y="13401"/>
                    <a:pt x="313" y="13432"/>
                  </a:cubicBezTo>
                  <a:cubicBezTo>
                    <a:pt x="269" y="13466"/>
                    <a:pt x="169" y="13592"/>
                    <a:pt x="97" y="13713"/>
                  </a:cubicBezTo>
                  <a:cubicBezTo>
                    <a:pt x="25" y="13835"/>
                    <a:pt x="-21" y="13991"/>
                    <a:pt x="11" y="14057"/>
                  </a:cubicBezTo>
                  <a:cubicBezTo>
                    <a:pt x="39" y="14125"/>
                    <a:pt x="123" y="14200"/>
                    <a:pt x="198" y="14231"/>
                  </a:cubicBezTo>
                  <a:cubicBezTo>
                    <a:pt x="273" y="14260"/>
                    <a:pt x="484" y="14269"/>
                    <a:pt x="665" y="14253"/>
                  </a:cubicBezTo>
                  <a:cubicBezTo>
                    <a:pt x="846" y="14246"/>
                    <a:pt x="1021" y="14278"/>
                    <a:pt x="1064" y="14337"/>
                  </a:cubicBezTo>
                  <a:cubicBezTo>
                    <a:pt x="1105" y="14395"/>
                    <a:pt x="1195" y="14518"/>
                    <a:pt x="1266" y="14607"/>
                  </a:cubicBezTo>
                  <a:cubicBezTo>
                    <a:pt x="1340" y="14693"/>
                    <a:pt x="1409" y="14826"/>
                    <a:pt x="1417" y="14898"/>
                  </a:cubicBezTo>
                  <a:cubicBezTo>
                    <a:pt x="1423" y="14970"/>
                    <a:pt x="1462" y="15043"/>
                    <a:pt x="1488" y="15069"/>
                  </a:cubicBezTo>
                  <a:cubicBezTo>
                    <a:pt x="1520" y="15083"/>
                    <a:pt x="1596" y="15256"/>
                    <a:pt x="1674" y="15428"/>
                  </a:cubicBezTo>
                  <a:cubicBezTo>
                    <a:pt x="1747" y="15603"/>
                    <a:pt x="1867" y="15784"/>
                    <a:pt x="1944" y="15813"/>
                  </a:cubicBezTo>
                  <a:cubicBezTo>
                    <a:pt x="2017" y="15852"/>
                    <a:pt x="2078" y="15914"/>
                    <a:pt x="2070" y="15956"/>
                  </a:cubicBezTo>
                  <a:cubicBezTo>
                    <a:pt x="2070" y="15999"/>
                    <a:pt x="2085" y="16063"/>
                    <a:pt x="2114" y="16101"/>
                  </a:cubicBezTo>
                  <a:cubicBezTo>
                    <a:pt x="2143" y="16139"/>
                    <a:pt x="2236" y="16164"/>
                    <a:pt x="2317" y="16156"/>
                  </a:cubicBezTo>
                  <a:cubicBezTo>
                    <a:pt x="2399" y="16147"/>
                    <a:pt x="2505" y="16207"/>
                    <a:pt x="2552" y="16285"/>
                  </a:cubicBezTo>
                  <a:cubicBezTo>
                    <a:pt x="2601" y="16360"/>
                    <a:pt x="2667" y="16486"/>
                    <a:pt x="2691" y="16567"/>
                  </a:cubicBezTo>
                  <a:cubicBezTo>
                    <a:pt x="2721" y="16646"/>
                    <a:pt x="2804" y="16778"/>
                    <a:pt x="2862" y="16870"/>
                  </a:cubicBezTo>
                  <a:cubicBezTo>
                    <a:pt x="2921" y="16962"/>
                    <a:pt x="2981" y="17185"/>
                    <a:pt x="2995" y="17376"/>
                  </a:cubicBezTo>
                  <a:cubicBezTo>
                    <a:pt x="3009" y="17565"/>
                    <a:pt x="3038" y="17769"/>
                    <a:pt x="3078" y="17824"/>
                  </a:cubicBezTo>
                  <a:cubicBezTo>
                    <a:pt x="3116" y="17880"/>
                    <a:pt x="3167" y="18073"/>
                    <a:pt x="3174" y="18251"/>
                  </a:cubicBezTo>
                  <a:cubicBezTo>
                    <a:pt x="3189" y="18430"/>
                    <a:pt x="3229" y="18539"/>
                    <a:pt x="3263" y="18495"/>
                  </a:cubicBezTo>
                  <a:close/>
                  <a:moveTo>
                    <a:pt x="3263" y="184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3" name="AutoShape 783"/>
            <p:cNvSpPr>
              <a:spLocks/>
            </p:cNvSpPr>
            <p:nvPr/>
          </p:nvSpPr>
          <p:spPr bwMode="auto">
            <a:xfrm>
              <a:off x="9055100" y="4660900"/>
              <a:ext cx="244475" cy="265113"/>
            </a:xfrm>
            <a:custGeom>
              <a:avLst/>
              <a:gdLst/>
              <a:ahLst/>
              <a:cxnLst/>
              <a:rect l="0" t="0" r="r" b="b"/>
              <a:pathLst>
                <a:path w="21550" h="21553">
                  <a:moveTo>
                    <a:pt x="6283" y="950"/>
                  </a:moveTo>
                  <a:cubicBezTo>
                    <a:pt x="6129" y="1049"/>
                    <a:pt x="5873" y="1152"/>
                    <a:pt x="5715" y="1192"/>
                  </a:cubicBezTo>
                  <a:cubicBezTo>
                    <a:pt x="5557" y="1224"/>
                    <a:pt x="5377" y="1382"/>
                    <a:pt x="5298" y="1524"/>
                  </a:cubicBezTo>
                  <a:cubicBezTo>
                    <a:pt x="5223" y="1670"/>
                    <a:pt x="4996" y="1785"/>
                    <a:pt x="4788" y="1763"/>
                  </a:cubicBezTo>
                  <a:cubicBezTo>
                    <a:pt x="4581" y="1741"/>
                    <a:pt x="4320" y="1822"/>
                    <a:pt x="4201" y="1925"/>
                  </a:cubicBezTo>
                  <a:cubicBezTo>
                    <a:pt x="4080" y="2030"/>
                    <a:pt x="3842" y="2169"/>
                    <a:pt x="3653" y="2212"/>
                  </a:cubicBezTo>
                  <a:cubicBezTo>
                    <a:pt x="3465" y="2255"/>
                    <a:pt x="3302" y="2391"/>
                    <a:pt x="3285" y="2498"/>
                  </a:cubicBezTo>
                  <a:cubicBezTo>
                    <a:pt x="3255" y="2599"/>
                    <a:pt x="3289" y="2772"/>
                    <a:pt x="3325" y="2870"/>
                  </a:cubicBezTo>
                  <a:cubicBezTo>
                    <a:pt x="3374" y="2966"/>
                    <a:pt x="3362" y="3146"/>
                    <a:pt x="3347" y="3264"/>
                  </a:cubicBezTo>
                  <a:cubicBezTo>
                    <a:pt x="3316" y="3379"/>
                    <a:pt x="3098" y="3479"/>
                    <a:pt x="2850" y="3487"/>
                  </a:cubicBezTo>
                  <a:cubicBezTo>
                    <a:pt x="2602" y="3493"/>
                    <a:pt x="2300" y="3554"/>
                    <a:pt x="2197" y="3640"/>
                  </a:cubicBezTo>
                  <a:cubicBezTo>
                    <a:pt x="2094" y="3727"/>
                    <a:pt x="1984" y="3955"/>
                    <a:pt x="1984" y="4168"/>
                  </a:cubicBezTo>
                  <a:cubicBezTo>
                    <a:pt x="1969" y="4381"/>
                    <a:pt x="1896" y="4755"/>
                    <a:pt x="1800" y="4999"/>
                  </a:cubicBezTo>
                  <a:cubicBezTo>
                    <a:pt x="1688" y="5238"/>
                    <a:pt x="1686" y="5502"/>
                    <a:pt x="1778" y="5558"/>
                  </a:cubicBezTo>
                  <a:cubicBezTo>
                    <a:pt x="1865" y="5618"/>
                    <a:pt x="1969" y="5745"/>
                    <a:pt x="2017" y="5834"/>
                  </a:cubicBezTo>
                  <a:cubicBezTo>
                    <a:pt x="2062" y="5923"/>
                    <a:pt x="2050" y="6086"/>
                    <a:pt x="1973" y="6192"/>
                  </a:cubicBezTo>
                  <a:cubicBezTo>
                    <a:pt x="1896" y="6297"/>
                    <a:pt x="1728" y="6649"/>
                    <a:pt x="1628" y="6980"/>
                  </a:cubicBezTo>
                  <a:cubicBezTo>
                    <a:pt x="1514" y="7307"/>
                    <a:pt x="1325" y="8001"/>
                    <a:pt x="1243" y="8531"/>
                  </a:cubicBezTo>
                  <a:cubicBezTo>
                    <a:pt x="1146" y="9053"/>
                    <a:pt x="946" y="9700"/>
                    <a:pt x="783" y="9960"/>
                  </a:cubicBezTo>
                  <a:cubicBezTo>
                    <a:pt x="636" y="10225"/>
                    <a:pt x="479" y="10575"/>
                    <a:pt x="463" y="10748"/>
                  </a:cubicBezTo>
                  <a:cubicBezTo>
                    <a:pt x="433" y="10919"/>
                    <a:pt x="338" y="11157"/>
                    <a:pt x="238" y="11287"/>
                  </a:cubicBezTo>
                  <a:cubicBezTo>
                    <a:pt x="130" y="11408"/>
                    <a:pt x="42" y="11719"/>
                    <a:pt x="9" y="11968"/>
                  </a:cubicBezTo>
                  <a:cubicBezTo>
                    <a:pt x="-23" y="12221"/>
                    <a:pt x="33" y="12787"/>
                    <a:pt x="148" y="13216"/>
                  </a:cubicBezTo>
                  <a:cubicBezTo>
                    <a:pt x="245" y="13648"/>
                    <a:pt x="354" y="14174"/>
                    <a:pt x="385" y="14385"/>
                  </a:cubicBezTo>
                  <a:cubicBezTo>
                    <a:pt x="419" y="14596"/>
                    <a:pt x="583" y="14829"/>
                    <a:pt x="753" y="14900"/>
                  </a:cubicBezTo>
                  <a:cubicBezTo>
                    <a:pt x="921" y="14977"/>
                    <a:pt x="1225" y="15038"/>
                    <a:pt x="1426" y="15038"/>
                  </a:cubicBezTo>
                  <a:cubicBezTo>
                    <a:pt x="1623" y="15045"/>
                    <a:pt x="1835" y="14933"/>
                    <a:pt x="1918" y="14810"/>
                  </a:cubicBezTo>
                  <a:cubicBezTo>
                    <a:pt x="1997" y="14687"/>
                    <a:pt x="2173" y="14572"/>
                    <a:pt x="2322" y="14549"/>
                  </a:cubicBezTo>
                  <a:cubicBezTo>
                    <a:pt x="2472" y="14534"/>
                    <a:pt x="2832" y="14033"/>
                    <a:pt x="3093" y="13428"/>
                  </a:cubicBezTo>
                  <a:cubicBezTo>
                    <a:pt x="3371" y="12829"/>
                    <a:pt x="3683" y="12382"/>
                    <a:pt x="3773" y="12465"/>
                  </a:cubicBezTo>
                  <a:cubicBezTo>
                    <a:pt x="3871" y="12541"/>
                    <a:pt x="3998" y="12679"/>
                    <a:pt x="4046" y="12784"/>
                  </a:cubicBezTo>
                  <a:cubicBezTo>
                    <a:pt x="4094" y="12887"/>
                    <a:pt x="4435" y="13082"/>
                    <a:pt x="4797" y="13217"/>
                  </a:cubicBezTo>
                  <a:cubicBezTo>
                    <a:pt x="5159" y="13354"/>
                    <a:pt x="5597" y="13461"/>
                    <a:pt x="5769" y="13453"/>
                  </a:cubicBezTo>
                  <a:cubicBezTo>
                    <a:pt x="5944" y="13445"/>
                    <a:pt x="6224" y="13296"/>
                    <a:pt x="6404" y="13130"/>
                  </a:cubicBezTo>
                  <a:cubicBezTo>
                    <a:pt x="6582" y="12960"/>
                    <a:pt x="6872" y="12801"/>
                    <a:pt x="7049" y="12760"/>
                  </a:cubicBezTo>
                  <a:cubicBezTo>
                    <a:pt x="7226" y="12728"/>
                    <a:pt x="7479" y="12801"/>
                    <a:pt x="7597" y="12932"/>
                  </a:cubicBezTo>
                  <a:cubicBezTo>
                    <a:pt x="7718" y="13057"/>
                    <a:pt x="7872" y="13083"/>
                    <a:pt x="7948" y="13005"/>
                  </a:cubicBezTo>
                  <a:cubicBezTo>
                    <a:pt x="8014" y="12922"/>
                    <a:pt x="8206" y="12862"/>
                    <a:pt x="8361" y="12854"/>
                  </a:cubicBezTo>
                  <a:cubicBezTo>
                    <a:pt x="8522" y="12847"/>
                    <a:pt x="8885" y="13057"/>
                    <a:pt x="9163" y="13313"/>
                  </a:cubicBezTo>
                  <a:cubicBezTo>
                    <a:pt x="9431" y="13574"/>
                    <a:pt x="9708" y="13725"/>
                    <a:pt x="9724" y="13658"/>
                  </a:cubicBezTo>
                  <a:cubicBezTo>
                    <a:pt x="9759" y="13602"/>
                    <a:pt x="9901" y="13521"/>
                    <a:pt x="10049" y="13476"/>
                  </a:cubicBezTo>
                  <a:cubicBezTo>
                    <a:pt x="10199" y="13430"/>
                    <a:pt x="10470" y="13438"/>
                    <a:pt x="10653" y="13468"/>
                  </a:cubicBezTo>
                  <a:cubicBezTo>
                    <a:pt x="10837" y="13503"/>
                    <a:pt x="11102" y="13674"/>
                    <a:pt x="11265" y="13831"/>
                  </a:cubicBezTo>
                  <a:cubicBezTo>
                    <a:pt x="11415" y="13999"/>
                    <a:pt x="11669" y="14145"/>
                    <a:pt x="11813" y="14178"/>
                  </a:cubicBezTo>
                  <a:cubicBezTo>
                    <a:pt x="11956" y="14219"/>
                    <a:pt x="12334" y="14477"/>
                    <a:pt x="12632" y="14787"/>
                  </a:cubicBezTo>
                  <a:cubicBezTo>
                    <a:pt x="12941" y="15093"/>
                    <a:pt x="13245" y="15471"/>
                    <a:pt x="13295" y="15630"/>
                  </a:cubicBezTo>
                  <a:cubicBezTo>
                    <a:pt x="13373" y="15780"/>
                    <a:pt x="13619" y="15946"/>
                    <a:pt x="13875" y="15973"/>
                  </a:cubicBezTo>
                  <a:cubicBezTo>
                    <a:pt x="14134" y="16004"/>
                    <a:pt x="14368" y="16087"/>
                    <a:pt x="14386" y="16153"/>
                  </a:cubicBezTo>
                  <a:cubicBezTo>
                    <a:pt x="14417" y="16219"/>
                    <a:pt x="14566" y="16291"/>
                    <a:pt x="14738" y="16299"/>
                  </a:cubicBezTo>
                  <a:cubicBezTo>
                    <a:pt x="14907" y="16314"/>
                    <a:pt x="15087" y="16400"/>
                    <a:pt x="15150" y="16488"/>
                  </a:cubicBezTo>
                  <a:cubicBezTo>
                    <a:pt x="15217" y="16571"/>
                    <a:pt x="15427" y="16760"/>
                    <a:pt x="15619" y="16919"/>
                  </a:cubicBezTo>
                  <a:cubicBezTo>
                    <a:pt x="15825" y="17064"/>
                    <a:pt x="16181" y="17412"/>
                    <a:pt x="16422" y="17684"/>
                  </a:cubicBezTo>
                  <a:cubicBezTo>
                    <a:pt x="16668" y="17948"/>
                    <a:pt x="16983" y="18206"/>
                    <a:pt x="17145" y="18235"/>
                  </a:cubicBezTo>
                  <a:cubicBezTo>
                    <a:pt x="17302" y="18275"/>
                    <a:pt x="17571" y="18509"/>
                    <a:pt x="17721" y="18784"/>
                  </a:cubicBezTo>
                  <a:cubicBezTo>
                    <a:pt x="17860" y="19062"/>
                    <a:pt x="18010" y="19436"/>
                    <a:pt x="18024" y="19630"/>
                  </a:cubicBezTo>
                  <a:cubicBezTo>
                    <a:pt x="18024" y="19824"/>
                    <a:pt x="18099" y="20078"/>
                    <a:pt x="18133" y="20201"/>
                  </a:cubicBezTo>
                  <a:cubicBezTo>
                    <a:pt x="18181" y="20320"/>
                    <a:pt x="18325" y="20429"/>
                    <a:pt x="18451" y="20416"/>
                  </a:cubicBezTo>
                  <a:cubicBezTo>
                    <a:pt x="18577" y="20416"/>
                    <a:pt x="18854" y="20702"/>
                    <a:pt x="19084" y="21050"/>
                  </a:cubicBezTo>
                  <a:cubicBezTo>
                    <a:pt x="19306" y="21385"/>
                    <a:pt x="19623" y="21600"/>
                    <a:pt x="19826" y="21545"/>
                  </a:cubicBezTo>
                  <a:cubicBezTo>
                    <a:pt x="20076" y="21431"/>
                    <a:pt x="20283" y="21304"/>
                    <a:pt x="20336" y="21231"/>
                  </a:cubicBezTo>
                  <a:cubicBezTo>
                    <a:pt x="20419" y="21140"/>
                    <a:pt x="20595" y="21009"/>
                    <a:pt x="20747" y="20953"/>
                  </a:cubicBezTo>
                  <a:cubicBezTo>
                    <a:pt x="20889" y="20888"/>
                    <a:pt x="21140" y="20670"/>
                    <a:pt x="21317" y="20462"/>
                  </a:cubicBezTo>
                  <a:cubicBezTo>
                    <a:pt x="21479" y="20242"/>
                    <a:pt x="21577" y="20062"/>
                    <a:pt x="21543" y="20031"/>
                  </a:cubicBezTo>
                  <a:cubicBezTo>
                    <a:pt x="21495" y="20016"/>
                    <a:pt x="21431" y="19950"/>
                    <a:pt x="21414" y="19888"/>
                  </a:cubicBezTo>
                  <a:cubicBezTo>
                    <a:pt x="21384" y="19833"/>
                    <a:pt x="21311" y="19854"/>
                    <a:pt x="21236" y="19925"/>
                  </a:cubicBezTo>
                  <a:cubicBezTo>
                    <a:pt x="21167" y="20004"/>
                    <a:pt x="21021" y="20030"/>
                    <a:pt x="20937" y="19968"/>
                  </a:cubicBezTo>
                  <a:cubicBezTo>
                    <a:pt x="20847" y="19914"/>
                    <a:pt x="20695" y="19883"/>
                    <a:pt x="20602" y="19883"/>
                  </a:cubicBezTo>
                  <a:cubicBezTo>
                    <a:pt x="20509" y="19883"/>
                    <a:pt x="20346" y="19740"/>
                    <a:pt x="20312" y="19539"/>
                  </a:cubicBezTo>
                  <a:cubicBezTo>
                    <a:pt x="20218" y="19352"/>
                    <a:pt x="20232" y="19139"/>
                    <a:pt x="20252" y="19069"/>
                  </a:cubicBezTo>
                  <a:cubicBezTo>
                    <a:pt x="20279" y="19004"/>
                    <a:pt x="20207" y="18815"/>
                    <a:pt x="20105" y="18628"/>
                  </a:cubicBezTo>
                  <a:cubicBezTo>
                    <a:pt x="20000" y="18444"/>
                    <a:pt x="19809" y="18275"/>
                    <a:pt x="19701" y="18247"/>
                  </a:cubicBezTo>
                  <a:cubicBezTo>
                    <a:pt x="19595" y="18212"/>
                    <a:pt x="19394" y="17859"/>
                    <a:pt x="19280" y="17444"/>
                  </a:cubicBezTo>
                  <a:cubicBezTo>
                    <a:pt x="19163" y="17026"/>
                    <a:pt x="19014" y="16608"/>
                    <a:pt x="18950" y="16521"/>
                  </a:cubicBezTo>
                  <a:cubicBezTo>
                    <a:pt x="18887" y="16435"/>
                    <a:pt x="18832" y="16404"/>
                    <a:pt x="18832" y="16468"/>
                  </a:cubicBezTo>
                  <a:cubicBezTo>
                    <a:pt x="18832" y="16527"/>
                    <a:pt x="18756" y="16584"/>
                    <a:pt x="18683" y="16584"/>
                  </a:cubicBezTo>
                  <a:cubicBezTo>
                    <a:pt x="18610" y="16584"/>
                    <a:pt x="18449" y="16452"/>
                    <a:pt x="18336" y="16275"/>
                  </a:cubicBezTo>
                  <a:cubicBezTo>
                    <a:pt x="18223" y="16097"/>
                    <a:pt x="17975" y="15892"/>
                    <a:pt x="17796" y="15810"/>
                  </a:cubicBezTo>
                  <a:cubicBezTo>
                    <a:pt x="17619" y="15730"/>
                    <a:pt x="17379" y="15459"/>
                    <a:pt x="17263" y="15207"/>
                  </a:cubicBezTo>
                  <a:cubicBezTo>
                    <a:pt x="17164" y="14949"/>
                    <a:pt x="16830" y="14440"/>
                    <a:pt x="16536" y="14074"/>
                  </a:cubicBezTo>
                  <a:cubicBezTo>
                    <a:pt x="16246" y="13705"/>
                    <a:pt x="15965" y="13316"/>
                    <a:pt x="15928" y="13205"/>
                  </a:cubicBezTo>
                  <a:cubicBezTo>
                    <a:pt x="15879" y="13100"/>
                    <a:pt x="15636" y="12970"/>
                    <a:pt x="15391" y="12912"/>
                  </a:cubicBezTo>
                  <a:cubicBezTo>
                    <a:pt x="15146" y="12860"/>
                    <a:pt x="14890" y="12710"/>
                    <a:pt x="14799" y="12599"/>
                  </a:cubicBezTo>
                  <a:cubicBezTo>
                    <a:pt x="14716" y="12484"/>
                    <a:pt x="14518" y="12223"/>
                    <a:pt x="14368" y="12016"/>
                  </a:cubicBezTo>
                  <a:cubicBezTo>
                    <a:pt x="14207" y="11810"/>
                    <a:pt x="13983" y="11673"/>
                    <a:pt x="13869" y="11733"/>
                  </a:cubicBezTo>
                  <a:cubicBezTo>
                    <a:pt x="13747" y="11776"/>
                    <a:pt x="13611" y="11794"/>
                    <a:pt x="13555" y="11760"/>
                  </a:cubicBezTo>
                  <a:cubicBezTo>
                    <a:pt x="13506" y="11715"/>
                    <a:pt x="13346" y="11720"/>
                    <a:pt x="13209" y="11736"/>
                  </a:cubicBezTo>
                  <a:cubicBezTo>
                    <a:pt x="13077" y="11762"/>
                    <a:pt x="12900" y="11849"/>
                    <a:pt x="12805" y="11914"/>
                  </a:cubicBezTo>
                  <a:cubicBezTo>
                    <a:pt x="12711" y="11986"/>
                    <a:pt x="12568" y="11946"/>
                    <a:pt x="12455" y="11837"/>
                  </a:cubicBezTo>
                  <a:cubicBezTo>
                    <a:pt x="12348" y="11724"/>
                    <a:pt x="12148" y="11422"/>
                    <a:pt x="12012" y="11164"/>
                  </a:cubicBezTo>
                  <a:cubicBezTo>
                    <a:pt x="11865" y="10916"/>
                    <a:pt x="11809" y="10639"/>
                    <a:pt x="11873" y="10558"/>
                  </a:cubicBezTo>
                  <a:cubicBezTo>
                    <a:pt x="11937" y="10477"/>
                    <a:pt x="11854" y="10204"/>
                    <a:pt x="11708" y="9942"/>
                  </a:cubicBezTo>
                  <a:cubicBezTo>
                    <a:pt x="11547" y="9685"/>
                    <a:pt x="11371" y="9504"/>
                    <a:pt x="11298" y="9531"/>
                  </a:cubicBezTo>
                  <a:cubicBezTo>
                    <a:pt x="11227" y="9564"/>
                    <a:pt x="11165" y="9766"/>
                    <a:pt x="11133" y="9975"/>
                  </a:cubicBezTo>
                  <a:cubicBezTo>
                    <a:pt x="11102" y="10184"/>
                    <a:pt x="11130" y="10353"/>
                    <a:pt x="11170" y="10341"/>
                  </a:cubicBezTo>
                  <a:cubicBezTo>
                    <a:pt x="11215" y="10341"/>
                    <a:pt x="11237" y="10561"/>
                    <a:pt x="11253" y="10849"/>
                  </a:cubicBezTo>
                  <a:cubicBezTo>
                    <a:pt x="11270" y="11136"/>
                    <a:pt x="11132" y="11335"/>
                    <a:pt x="10977" y="11296"/>
                  </a:cubicBezTo>
                  <a:cubicBezTo>
                    <a:pt x="10820" y="11256"/>
                    <a:pt x="10643" y="10964"/>
                    <a:pt x="10626" y="10646"/>
                  </a:cubicBezTo>
                  <a:cubicBezTo>
                    <a:pt x="10578" y="10328"/>
                    <a:pt x="10482" y="9895"/>
                    <a:pt x="10433" y="9676"/>
                  </a:cubicBezTo>
                  <a:cubicBezTo>
                    <a:pt x="10365" y="9459"/>
                    <a:pt x="10208" y="9250"/>
                    <a:pt x="10086" y="9203"/>
                  </a:cubicBezTo>
                  <a:cubicBezTo>
                    <a:pt x="9960" y="9166"/>
                    <a:pt x="9869" y="9050"/>
                    <a:pt x="9869" y="8956"/>
                  </a:cubicBezTo>
                  <a:cubicBezTo>
                    <a:pt x="9869" y="8862"/>
                    <a:pt x="9819" y="8564"/>
                    <a:pt x="9802" y="8293"/>
                  </a:cubicBezTo>
                  <a:cubicBezTo>
                    <a:pt x="9753" y="8021"/>
                    <a:pt x="9676" y="7779"/>
                    <a:pt x="9606" y="7760"/>
                  </a:cubicBezTo>
                  <a:cubicBezTo>
                    <a:pt x="9540" y="7729"/>
                    <a:pt x="9395" y="7116"/>
                    <a:pt x="9296" y="6377"/>
                  </a:cubicBezTo>
                  <a:cubicBezTo>
                    <a:pt x="9198" y="5635"/>
                    <a:pt x="8829" y="4104"/>
                    <a:pt x="8469" y="2979"/>
                  </a:cubicBezTo>
                  <a:cubicBezTo>
                    <a:pt x="8123" y="1848"/>
                    <a:pt x="7653" y="716"/>
                    <a:pt x="7440" y="461"/>
                  </a:cubicBezTo>
                  <a:cubicBezTo>
                    <a:pt x="7225" y="210"/>
                    <a:pt x="7049" y="0"/>
                    <a:pt x="7041" y="0"/>
                  </a:cubicBezTo>
                  <a:cubicBezTo>
                    <a:pt x="7052" y="0"/>
                    <a:pt x="6928" y="178"/>
                    <a:pt x="6794" y="386"/>
                  </a:cubicBezTo>
                  <a:cubicBezTo>
                    <a:pt x="6665" y="599"/>
                    <a:pt x="6428" y="842"/>
                    <a:pt x="6283" y="950"/>
                  </a:cubicBezTo>
                  <a:close/>
                  <a:moveTo>
                    <a:pt x="6283" y="9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4" name="AutoShape 784"/>
            <p:cNvSpPr>
              <a:spLocks/>
            </p:cNvSpPr>
            <p:nvPr/>
          </p:nvSpPr>
          <p:spPr bwMode="auto">
            <a:xfrm>
              <a:off x="9245600" y="4914900"/>
              <a:ext cx="55563" cy="85725"/>
            </a:xfrm>
            <a:custGeom>
              <a:avLst/>
              <a:gdLst/>
              <a:ahLst/>
              <a:cxnLst/>
              <a:rect l="0" t="0" r="r" b="b"/>
              <a:pathLst>
                <a:path w="21323" h="21530">
                  <a:moveTo>
                    <a:pt x="14012" y="2741"/>
                  </a:moveTo>
                  <a:cubicBezTo>
                    <a:pt x="13360" y="2915"/>
                    <a:pt x="12604" y="3320"/>
                    <a:pt x="12247" y="3603"/>
                  </a:cubicBezTo>
                  <a:cubicBezTo>
                    <a:pt x="11937" y="3912"/>
                    <a:pt x="10979" y="4360"/>
                    <a:pt x="10124" y="4578"/>
                  </a:cubicBezTo>
                  <a:cubicBezTo>
                    <a:pt x="10101" y="4585"/>
                    <a:pt x="10073" y="4575"/>
                    <a:pt x="10054" y="4578"/>
                  </a:cubicBezTo>
                  <a:cubicBezTo>
                    <a:pt x="9650" y="4712"/>
                    <a:pt x="9228" y="4840"/>
                    <a:pt x="8796" y="4952"/>
                  </a:cubicBezTo>
                  <a:cubicBezTo>
                    <a:pt x="7209" y="5382"/>
                    <a:pt x="5598" y="6373"/>
                    <a:pt x="5392" y="7154"/>
                  </a:cubicBezTo>
                  <a:cubicBezTo>
                    <a:pt x="5105" y="7914"/>
                    <a:pt x="4551" y="9008"/>
                    <a:pt x="4189" y="9581"/>
                  </a:cubicBezTo>
                  <a:cubicBezTo>
                    <a:pt x="3917" y="10176"/>
                    <a:pt x="3677" y="11287"/>
                    <a:pt x="3677" y="12100"/>
                  </a:cubicBezTo>
                  <a:cubicBezTo>
                    <a:pt x="3753" y="12910"/>
                    <a:pt x="3499" y="14047"/>
                    <a:pt x="3100" y="14626"/>
                  </a:cubicBezTo>
                  <a:cubicBezTo>
                    <a:pt x="2677" y="15187"/>
                    <a:pt x="2349" y="16149"/>
                    <a:pt x="2137" y="16716"/>
                  </a:cubicBezTo>
                  <a:cubicBezTo>
                    <a:pt x="1992" y="17290"/>
                    <a:pt x="1400" y="18370"/>
                    <a:pt x="743" y="19108"/>
                  </a:cubicBezTo>
                  <a:cubicBezTo>
                    <a:pt x="81" y="19843"/>
                    <a:pt x="-201" y="20744"/>
                    <a:pt x="156" y="21077"/>
                  </a:cubicBezTo>
                  <a:cubicBezTo>
                    <a:pt x="531" y="21404"/>
                    <a:pt x="1917" y="21600"/>
                    <a:pt x="3330" y="21507"/>
                  </a:cubicBezTo>
                  <a:cubicBezTo>
                    <a:pt x="4748" y="21413"/>
                    <a:pt x="6725" y="20931"/>
                    <a:pt x="7580" y="20360"/>
                  </a:cubicBezTo>
                  <a:cubicBezTo>
                    <a:pt x="8509" y="19840"/>
                    <a:pt x="10082" y="19252"/>
                    <a:pt x="11111" y="19058"/>
                  </a:cubicBezTo>
                  <a:cubicBezTo>
                    <a:pt x="12102" y="18825"/>
                    <a:pt x="13449" y="18971"/>
                    <a:pt x="14111" y="19233"/>
                  </a:cubicBezTo>
                  <a:cubicBezTo>
                    <a:pt x="14736" y="19510"/>
                    <a:pt x="15248" y="19619"/>
                    <a:pt x="15421" y="19529"/>
                  </a:cubicBezTo>
                  <a:cubicBezTo>
                    <a:pt x="15924" y="18831"/>
                    <a:pt x="16685" y="17775"/>
                    <a:pt x="17384" y="16779"/>
                  </a:cubicBezTo>
                  <a:cubicBezTo>
                    <a:pt x="18295" y="15383"/>
                    <a:pt x="19032" y="14097"/>
                    <a:pt x="18953" y="13879"/>
                  </a:cubicBezTo>
                  <a:cubicBezTo>
                    <a:pt x="18825" y="13673"/>
                    <a:pt x="17971" y="13539"/>
                    <a:pt x="17009" y="13586"/>
                  </a:cubicBezTo>
                  <a:cubicBezTo>
                    <a:pt x="16036" y="13630"/>
                    <a:pt x="14750" y="13848"/>
                    <a:pt x="14168" y="14091"/>
                  </a:cubicBezTo>
                  <a:cubicBezTo>
                    <a:pt x="13562" y="14293"/>
                    <a:pt x="12890" y="14480"/>
                    <a:pt x="12646" y="14439"/>
                  </a:cubicBezTo>
                  <a:cubicBezTo>
                    <a:pt x="12392" y="14439"/>
                    <a:pt x="11942" y="14013"/>
                    <a:pt x="11510" y="13633"/>
                  </a:cubicBezTo>
                  <a:cubicBezTo>
                    <a:pt x="11134" y="13231"/>
                    <a:pt x="11487" y="12876"/>
                    <a:pt x="12285" y="12832"/>
                  </a:cubicBezTo>
                  <a:cubicBezTo>
                    <a:pt x="13088" y="12779"/>
                    <a:pt x="14097" y="12371"/>
                    <a:pt x="14501" y="11879"/>
                  </a:cubicBezTo>
                  <a:cubicBezTo>
                    <a:pt x="14905" y="11390"/>
                    <a:pt x="15679" y="10979"/>
                    <a:pt x="16196" y="10929"/>
                  </a:cubicBezTo>
                  <a:cubicBezTo>
                    <a:pt x="16722" y="10929"/>
                    <a:pt x="17778" y="10334"/>
                    <a:pt x="18474" y="9640"/>
                  </a:cubicBezTo>
                  <a:cubicBezTo>
                    <a:pt x="19248" y="8986"/>
                    <a:pt x="20155" y="8316"/>
                    <a:pt x="20512" y="8138"/>
                  </a:cubicBezTo>
                  <a:cubicBezTo>
                    <a:pt x="20911" y="8008"/>
                    <a:pt x="21178" y="7089"/>
                    <a:pt x="21108" y="6127"/>
                  </a:cubicBezTo>
                  <a:cubicBezTo>
                    <a:pt x="21108" y="5167"/>
                    <a:pt x="21174" y="4142"/>
                    <a:pt x="21253" y="3834"/>
                  </a:cubicBezTo>
                  <a:cubicBezTo>
                    <a:pt x="21399" y="3541"/>
                    <a:pt x="21305" y="3314"/>
                    <a:pt x="21065" y="3314"/>
                  </a:cubicBezTo>
                  <a:cubicBezTo>
                    <a:pt x="20821" y="3314"/>
                    <a:pt x="20023" y="2753"/>
                    <a:pt x="19173" y="2102"/>
                  </a:cubicBezTo>
                  <a:cubicBezTo>
                    <a:pt x="18375" y="1426"/>
                    <a:pt x="17778" y="682"/>
                    <a:pt x="17778" y="442"/>
                  </a:cubicBezTo>
                  <a:cubicBezTo>
                    <a:pt x="17849" y="212"/>
                    <a:pt x="17821" y="0"/>
                    <a:pt x="17807" y="0"/>
                  </a:cubicBezTo>
                  <a:cubicBezTo>
                    <a:pt x="17821" y="0"/>
                    <a:pt x="17159" y="529"/>
                    <a:pt x="16464" y="1215"/>
                  </a:cubicBezTo>
                  <a:cubicBezTo>
                    <a:pt x="15703" y="1859"/>
                    <a:pt x="14623" y="2538"/>
                    <a:pt x="14012" y="2741"/>
                  </a:cubicBezTo>
                  <a:close/>
                  <a:moveTo>
                    <a:pt x="14012" y="27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5" name="AutoShape 785"/>
            <p:cNvSpPr>
              <a:spLocks/>
            </p:cNvSpPr>
            <p:nvPr/>
          </p:nvSpPr>
          <p:spPr bwMode="auto">
            <a:xfrm>
              <a:off x="9271000" y="4927600"/>
              <a:ext cx="4763" cy="3175"/>
            </a:xfrm>
            <a:custGeom>
              <a:avLst/>
              <a:gdLst/>
              <a:ahLst/>
              <a:cxnLst/>
              <a:rect l="0" t="0" r="r" b="b"/>
              <a:pathLst>
                <a:path w="21600" h="21510">
                  <a:moveTo>
                    <a:pt x="21600" y="0"/>
                  </a:moveTo>
                  <a:cubicBezTo>
                    <a:pt x="19380" y="5005"/>
                    <a:pt x="10589" y="13647"/>
                    <a:pt x="0" y="21461"/>
                  </a:cubicBezTo>
                  <a:cubicBezTo>
                    <a:pt x="185" y="21390"/>
                    <a:pt x="463" y="21600"/>
                    <a:pt x="691" y="21461"/>
                  </a:cubicBezTo>
                  <a:cubicBezTo>
                    <a:pt x="9112" y="16657"/>
                    <a:pt x="18547" y="6787"/>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6" name="AutoShape 786"/>
            <p:cNvSpPr>
              <a:spLocks/>
            </p:cNvSpPr>
            <p:nvPr/>
          </p:nvSpPr>
          <p:spPr bwMode="auto">
            <a:xfrm>
              <a:off x="9182100" y="4927600"/>
              <a:ext cx="384175" cy="619125"/>
            </a:xfrm>
            <a:custGeom>
              <a:avLst/>
              <a:gdLst/>
              <a:ahLst/>
              <a:cxnLst/>
              <a:rect l="0" t="0" r="r" b="b"/>
              <a:pathLst>
                <a:path w="21480" h="21571">
                  <a:moveTo>
                    <a:pt x="5756" y="2123"/>
                  </a:moveTo>
                  <a:cubicBezTo>
                    <a:pt x="5727" y="2161"/>
                    <a:pt x="5703" y="2192"/>
                    <a:pt x="5689" y="2211"/>
                  </a:cubicBezTo>
                  <a:cubicBezTo>
                    <a:pt x="5640" y="2279"/>
                    <a:pt x="5616" y="2465"/>
                    <a:pt x="5627" y="2627"/>
                  </a:cubicBezTo>
                  <a:cubicBezTo>
                    <a:pt x="5648" y="2789"/>
                    <a:pt x="5721" y="3109"/>
                    <a:pt x="5794" y="3337"/>
                  </a:cubicBezTo>
                  <a:cubicBezTo>
                    <a:pt x="5877" y="3563"/>
                    <a:pt x="6044" y="3790"/>
                    <a:pt x="6182" y="3843"/>
                  </a:cubicBezTo>
                  <a:cubicBezTo>
                    <a:pt x="6326" y="3891"/>
                    <a:pt x="6411" y="4037"/>
                    <a:pt x="6379" y="4163"/>
                  </a:cubicBezTo>
                  <a:cubicBezTo>
                    <a:pt x="6357" y="4289"/>
                    <a:pt x="6379" y="4494"/>
                    <a:pt x="6428" y="4623"/>
                  </a:cubicBezTo>
                  <a:cubicBezTo>
                    <a:pt x="6490" y="4752"/>
                    <a:pt x="6694" y="4880"/>
                    <a:pt x="6890" y="4899"/>
                  </a:cubicBezTo>
                  <a:cubicBezTo>
                    <a:pt x="7083" y="4926"/>
                    <a:pt x="7341" y="5012"/>
                    <a:pt x="7471" y="5094"/>
                  </a:cubicBezTo>
                  <a:cubicBezTo>
                    <a:pt x="7600" y="5174"/>
                    <a:pt x="8734" y="5455"/>
                    <a:pt x="9991" y="5699"/>
                  </a:cubicBezTo>
                  <a:cubicBezTo>
                    <a:pt x="10305" y="5762"/>
                    <a:pt x="10620" y="5823"/>
                    <a:pt x="10932" y="5886"/>
                  </a:cubicBezTo>
                  <a:cubicBezTo>
                    <a:pt x="12166" y="6123"/>
                    <a:pt x="13699" y="6287"/>
                    <a:pt x="14356" y="6242"/>
                  </a:cubicBezTo>
                  <a:cubicBezTo>
                    <a:pt x="15011" y="6197"/>
                    <a:pt x="14728" y="6816"/>
                    <a:pt x="13714" y="7621"/>
                  </a:cubicBezTo>
                  <a:cubicBezTo>
                    <a:pt x="12819" y="8335"/>
                    <a:pt x="11909" y="9047"/>
                    <a:pt x="10999" y="9763"/>
                  </a:cubicBezTo>
                  <a:cubicBezTo>
                    <a:pt x="9962" y="10577"/>
                    <a:pt x="8837" y="11260"/>
                    <a:pt x="8515" y="11266"/>
                  </a:cubicBezTo>
                  <a:cubicBezTo>
                    <a:pt x="8192" y="11279"/>
                    <a:pt x="7657" y="11318"/>
                    <a:pt x="7325" y="11351"/>
                  </a:cubicBezTo>
                  <a:cubicBezTo>
                    <a:pt x="6993" y="11382"/>
                    <a:pt x="6626" y="11453"/>
                    <a:pt x="6521" y="11512"/>
                  </a:cubicBezTo>
                  <a:cubicBezTo>
                    <a:pt x="6419" y="11575"/>
                    <a:pt x="6243" y="11626"/>
                    <a:pt x="6150" y="11638"/>
                  </a:cubicBezTo>
                  <a:cubicBezTo>
                    <a:pt x="6058" y="11657"/>
                    <a:pt x="5857" y="11708"/>
                    <a:pt x="5720" y="11776"/>
                  </a:cubicBezTo>
                  <a:cubicBezTo>
                    <a:pt x="5572" y="11835"/>
                    <a:pt x="5411" y="11962"/>
                    <a:pt x="5359" y="12052"/>
                  </a:cubicBezTo>
                  <a:cubicBezTo>
                    <a:pt x="5300" y="12139"/>
                    <a:pt x="5171" y="12259"/>
                    <a:pt x="5055" y="12312"/>
                  </a:cubicBezTo>
                  <a:cubicBezTo>
                    <a:pt x="4939" y="12362"/>
                    <a:pt x="4721" y="12462"/>
                    <a:pt x="4577" y="12539"/>
                  </a:cubicBezTo>
                  <a:cubicBezTo>
                    <a:pt x="4424" y="12608"/>
                    <a:pt x="4166" y="12684"/>
                    <a:pt x="4006" y="12718"/>
                  </a:cubicBezTo>
                  <a:cubicBezTo>
                    <a:pt x="3843" y="12750"/>
                    <a:pt x="3553" y="12832"/>
                    <a:pt x="3371" y="12911"/>
                  </a:cubicBezTo>
                  <a:cubicBezTo>
                    <a:pt x="3182" y="12983"/>
                    <a:pt x="2976" y="13100"/>
                    <a:pt x="2935" y="13168"/>
                  </a:cubicBezTo>
                  <a:cubicBezTo>
                    <a:pt x="2880" y="13230"/>
                    <a:pt x="2819" y="13293"/>
                    <a:pt x="2796" y="13293"/>
                  </a:cubicBezTo>
                  <a:cubicBezTo>
                    <a:pt x="2780" y="13303"/>
                    <a:pt x="2771" y="13307"/>
                    <a:pt x="2771" y="13303"/>
                  </a:cubicBezTo>
                  <a:cubicBezTo>
                    <a:pt x="2779" y="13303"/>
                    <a:pt x="2326" y="13634"/>
                    <a:pt x="1760" y="14038"/>
                  </a:cubicBezTo>
                  <a:cubicBezTo>
                    <a:pt x="1193" y="14444"/>
                    <a:pt x="594" y="15652"/>
                    <a:pt x="429" y="16719"/>
                  </a:cubicBezTo>
                  <a:cubicBezTo>
                    <a:pt x="316" y="17432"/>
                    <a:pt x="205" y="18143"/>
                    <a:pt x="81" y="18852"/>
                  </a:cubicBezTo>
                  <a:cubicBezTo>
                    <a:pt x="-104" y="19906"/>
                    <a:pt x="42" y="20948"/>
                    <a:pt x="373" y="21187"/>
                  </a:cubicBezTo>
                  <a:cubicBezTo>
                    <a:pt x="712" y="21418"/>
                    <a:pt x="997" y="21589"/>
                    <a:pt x="1007" y="21570"/>
                  </a:cubicBezTo>
                  <a:cubicBezTo>
                    <a:pt x="1016" y="21548"/>
                    <a:pt x="1450" y="21198"/>
                    <a:pt x="1963" y="20789"/>
                  </a:cubicBezTo>
                  <a:cubicBezTo>
                    <a:pt x="2489" y="20383"/>
                    <a:pt x="2951" y="19968"/>
                    <a:pt x="3013" y="19878"/>
                  </a:cubicBezTo>
                  <a:cubicBezTo>
                    <a:pt x="3084" y="19789"/>
                    <a:pt x="3236" y="19637"/>
                    <a:pt x="3365" y="19543"/>
                  </a:cubicBezTo>
                  <a:cubicBezTo>
                    <a:pt x="3488" y="19447"/>
                    <a:pt x="3690" y="19343"/>
                    <a:pt x="3806" y="19312"/>
                  </a:cubicBezTo>
                  <a:cubicBezTo>
                    <a:pt x="3925" y="19286"/>
                    <a:pt x="4062" y="19199"/>
                    <a:pt x="4114" y="19132"/>
                  </a:cubicBezTo>
                  <a:cubicBezTo>
                    <a:pt x="4164" y="19065"/>
                    <a:pt x="4258" y="18992"/>
                    <a:pt x="4316" y="18977"/>
                  </a:cubicBezTo>
                  <a:cubicBezTo>
                    <a:pt x="4375" y="18962"/>
                    <a:pt x="4703" y="18716"/>
                    <a:pt x="5041" y="18436"/>
                  </a:cubicBezTo>
                  <a:cubicBezTo>
                    <a:pt x="5390" y="18160"/>
                    <a:pt x="5732" y="17911"/>
                    <a:pt x="5812" y="17883"/>
                  </a:cubicBezTo>
                  <a:cubicBezTo>
                    <a:pt x="5895" y="17857"/>
                    <a:pt x="6309" y="17577"/>
                    <a:pt x="6712" y="17249"/>
                  </a:cubicBezTo>
                  <a:cubicBezTo>
                    <a:pt x="7112" y="16922"/>
                    <a:pt x="7626" y="16562"/>
                    <a:pt x="7826" y="16431"/>
                  </a:cubicBezTo>
                  <a:cubicBezTo>
                    <a:pt x="8040" y="16310"/>
                    <a:pt x="8329" y="16127"/>
                    <a:pt x="8488" y="16033"/>
                  </a:cubicBezTo>
                  <a:cubicBezTo>
                    <a:pt x="8647" y="15941"/>
                    <a:pt x="8925" y="15837"/>
                    <a:pt x="9102" y="15796"/>
                  </a:cubicBezTo>
                  <a:cubicBezTo>
                    <a:pt x="9283" y="15764"/>
                    <a:pt x="9650" y="15573"/>
                    <a:pt x="9921" y="15385"/>
                  </a:cubicBezTo>
                  <a:cubicBezTo>
                    <a:pt x="10193" y="15197"/>
                    <a:pt x="10944" y="14681"/>
                    <a:pt x="11572" y="14231"/>
                  </a:cubicBezTo>
                  <a:cubicBezTo>
                    <a:pt x="12207" y="13784"/>
                    <a:pt x="12973" y="13186"/>
                    <a:pt x="13280" y="12899"/>
                  </a:cubicBezTo>
                  <a:cubicBezTo>
                    <a:pt x="13582" y="12613"/>
                    <a:pt x="13970" y="12266"/>
                    <a:pt x="14148" y="12130"/>
                  </a:cubicBezTo>
                  <a:cubicBezTo>
                    <a:pt x="14314" y="11989"/>
                    <a:pt x="14485" y="11802"/>
                    <a:pt x="14544" y="11715"/>
                  </a:cubicBezTo>
                  <a:cubicBezTo>
                    <a:pt x="14586" y="11625"/>
                    <a:pt x="14952" y="11221"/>
                    <a:pt x="15349" y="10817"/>
                  </a:cubicBezTo>
                  <a:cubicBezTo>
                    <a:pt x="15740" y="10412"/>
                    <a:pt x="16063" y="10024"/>
                    <a:pt x="16092" y="9956"/>
                  </a:cubicBezTo>
                  <a:cubicBezTo>
                    <a:pt x="16112" y="9887"/>
                    <a:pt x="16298" y="9652"/>
                    <a:pt x="16502" y="9429"/>
                  </a:cubicBezTo>
                  <a:cubicBezTo>
                    <a:pt x="16712" y="9206"/>
                    <a:pt x="16911" y="8918"/>
                    <a:pt x="16932" y="8786"/>
                  </a:cubicBezTo>
                  <a:cubicBezTo>
                    <a:pt x="16974" y="8656"/>
                    <a:pt x="17257" y="8165"/>
                    <a:pt x="17599" y="7700"/>
                  </a:cubicBezTo>
                  <a:cubicBezTo>
                    <a:pt x="17931" y="7234"/>
                    <a:pt x="18261" y="6812"/>
                    <a:pt x="18331" y="6762"/>
                  </a:cubicBezTo>
                  <a:cubicBezTo>
                    <a:pt x="18402" y="6711"/>
                    <a:pt x="18430" y="6620"/>
                    <a:pt x="18382" y="6567"/>
                  </a:cubicBezTo>
                  <a:cubicBezTo>
                    <a:pt x="18338" y="6511"/>
                    <a:pt x="18313" y="6425"/>
                    <a:pt x="18331" y="6379"/>
                  </a:cubicBezTo>
                  <a:cubicBezTo>
                    <a:pt x="18352" y="6333"/>
                    <a:pt x="18441" y="6200"/>
                    <a:pt x="18576" y="6099"/>
                  </a:cubicBezTo>
                  <a:cubicBezTo>
                    <a:pt x="18681" y="5987"/>
                    <a:pt x="18826" y="5905"/>
                    <a:pt x="18862" y="5912"/>
                  </a:cubicBezTo>
                  <a:cubicBezTo>
                    <a:pt x="18901" y="5912"/>
                    <a:pt x="19000" y="5858"/>
                    <a:pt x="19074" y="5778"/>
                  </a:cubicBezTo>
                  <a:cubicBezTo>
                    <a:pt x="19148" y="5699"/>
                    <a:pt x="19344" y="5465"/>
                    <a:pt x="19469" y="5249"/>
                  </a:cubicBezTo>
                  <a:cubicBezTo>
                    <a:pt x="19613" y="5038"/>
                    <a:pt x="19868" y="4687"/>
                    <a:pt x="20064" y="4480"/>
                  </a:cubicBezTo>
                  <a:cubicBezTo>
                    <a:pt x="20253" y="4270"/>
                    <a:pt x="20417" y="4011"/>
                    <a:pt x="20417" y="3904"/>
                  </a:cubicBezTo>
                  <a:cubicBezTo>
                    <a:pt x="20417" y="3795"/>
                    <a:pt x="20457" y="3672"/>
                    <a:pt x="20489" y="3626"/>
                  </a:cubicBezTo>
                  <a:cubicBezTo>
                    <a:pt x="20511" y="3576"/>
                    <a:pt x="20574" y="3461"/>
                    <a:pt x="20606" y="3361"/>
                  </a:cubicBezTo>
                  <a:cubicBezTo>
                    <a:pt x="20627" y="3262"/>
                    <a:pt x="20633" y="3137"/>
                    <a:pt x="20601" y="3085"/>
                  </a:cubicBezTo>
                  <a:cubicBezTo>
                    <a:pt x="20569" y="3033"/>
                    <a:pt x="20609" y="2901"/>
                    <a:pt x="20690" y="2794"/>
                  </a:cubicBezTo>
                  <a:cubicBezTo>
                    <a:pt x="20779" y="2689"/>
                    <a:pt x="20871" y="2585"/>
                    <a:pt x="20916" y="2578"/>
                  </a:cubicBezTo>
                  <a:cubicBezTo>
                    <a:pt x="20953" y="2560"/>
                    <a:pt x="21044" y="2555"/>
                    <a:pt x="21104" y="2548"/>
                  </a:cubicBezTo>
                  <a:cubicBezTo>
                    <a:pt x="21167" y="2548"/>
                    <a:pt x="21217" y="2555"/>
                    <a:pt x="21232" y="2569"/>
                  </a:cubicBezTo>
                  <a:cubicBezTo>
                    <a:pt x="21244" y="2584"/>
                    <a:pt x="21268" y="2581"/>
                    <a:pt x="21305" y="2569"/>
                  </a:cubicBezTo>
                  <a:cubicBezTo>
                    <a:pt x="21327" y="2548"/>
                    <a:pt x="21343" y="2502"/>
                    <a:pt x="21321" y="2454"/>
                  </a:cubicBezTo>
                  <a:cubicBezTo>
                    <a:pt x="21302" y="2405"/>
                    <a:pt x="21256" y="2363"/>
                    <a:pt x="21226" y="2357"/>
                  </a:cubicBezTo>
                  <a:cubicBezTo>
                    <a:pt x="21198" y="2348"/>
                    <a:pt x="21172" y="2364"/>
                    <a:pt x="21183" y="2382"/>
                  </a:cubicBezTo>
                  <a:cubicBezTo>
                    <a:pt x="21192" y="2401"/>
                    <a:pt x="21139" y="2425"/>
                    <a:pt x="21075" y="2439"/>
                  </a:cubicBezTo>
                  <a:cubicBezTo>
                    <a:pt x="21008" y="2446"/>
                    <a:pt x="20989" y="2404"/>
                    <a:pt x="21032" y="2338"/>
                  </a:cubicBezTo>
                  <a:cubicBezTo>
                    <a:pt x="21061" y="2269"/>
                    <a:pt x="21092" y="2159"/>
                    <a:pt x="21092" y="2090"/>
                  </a:cubicBezTo>
                  <a:cubicBezTo>
                    <a:pt x="21082" y="2020"/>
                    <a:pt x="21032" y="1927"/>
                    <a:pt x="21008" y="1875"/>
                  </a:cubicBezTo>
                  <a:cubicBezTo>
                    <a:pt x="20958" y="1831"/>
                    <a:pt x="20969" y="1712"/>
                    <a:pt x="21032" y="1626"/>
                  </a:cubicBezTo>
                  <a:cubicBezTo>
                    <a:pt x="21084" y="1537"/>
                    <a:pt x="21171" y="1433"/>
                    <a:pt x="21225" y="1393"/>
                  </a:cubicBezTo>
                  <a:cubicBezTo>
                    <a:pt x="21283" y="1356"/>
                    <a:pt x="21317" y="1301"/>
                    <a:pt x="21317" y="1277"/>
                  </a:cubicBezTo>
                  <a:cubicBezTo>
                    <a:pt x="21328" y="1254"/>
                    <a:pt x="21264" y="1235"/>
                    <a:pt x="21202" y="1235"/>
                  </a:cubicBezTo>
                  <a:cubicBezTo>
                    <a:pt x="21142" y="1242"/>
                    <a:pt x="21073" y="1209"/>
                    <a:pt x="21054" y="1174"/>
                  </a:cubicBezTo>
                  <a:cubicBezTo>
                    <a:pt x="21032" y="1139"/>
                    <a:pt x="21038" y="1072"/>
                    <a:pt x="21075" y="1031"/>
                  </a:cubicBezTo>
                  <a:cubicBezTo>
                    <a:pt x="21100" y="986"/>
                    <a:pt x="21131" y="897"/>
                    <a:pt x="21154" y="830"/>
                  </a:cubicBezTo>
                  <a:cubicBezTo>
                    <a:pt x="21154" y="763"/>
                    <a:pt x="21201" y="651"/>
                    <a:pt x="21244" y="585"/>
                  </a:cubicBezTo>
                  <a:cubicBezTo>
                    <a:pt x="21264" y="515"/>
                    <a:pt x="21349" y="405"/>
                    <a:pt x="21410" y="341"/>
                  </a:cubicBezTo>
                  <a:cubicBezTo>
                    <a:pt x="21455" y="271"/>
                    <a:pt x="21496" y="210"/>
                    <a:pt x="21473" y="201"/>
                  </a:cubicBezTo>
                  <a:cubicBezTo>
                    <a:pt x="21448" y="193"/>
                    <a:pt x="21391" y="186"/>
                    <a:pt x="21335" y="193"/>
                  </a:cubicBezTo>
                  <a:cubicBezTo>
                    <a:pt x="21279" y="200"/>
                    <a:pt x="21136" y="181"/>
                    <a:pt x="21016" y="149"/>
                  </a:cubicBezTo>
                  <a:cubicBezTo>
                    <a:pt x="20898" y="116"/>
                    <a:pt x="20745" y="71"/>
                    <a:pt x="20697" y="34"/>
                  </a:cubicBezTo>
                  <a:cubicBezTo>
                    <a:pt x="20634" y="8"/>
                    <a:pt x="20606" y="-11"/>
                    <a:pt x="20606" y="8"/>
                  </a:cubicBezTo>
                  <a:cubicBezTo>
                    <a:pt x="20606" y="28"/>
                    <a:pt x="20578" y="46"/>
                    <a:pt x="20539" y="37"/>
                  </a:cubicBezTo>
                  <a:cubicBezTo>
                    <a:pt x="20498" y="37"/>
                    <a:pt x="20413" y="76"/>
                    <a:pt x="20350" y="129"/>
                  </a:cubicBezTo>
                  <a:cubicBezTo>
                    <a:pt x="20280" y="178"/>
                    <a:pt x="20237" y="237"/>
                    <a:pt x="20253" y="242"/>
                  </a:cubicBezTo>
                  <a:cubicBezTo>
                    <a:pt x="20253" y="254"/>
                    <a:pt x="20236" y="310"/>
                    <a:pt x="20196" y="373"/>
                  </a:cubicBezTo>
                  <a:cubicBezTo>
                    <a:pt x="20155" y="436"/>
                    <a:pt x="20107" y="478"/>
                    <a:pt x="20091" y="468"/>
                  </a:cubicBezTo>
                  <a:cubicBezTo>
                    <a:pt x="20080" y="455"/>
                    <a:pt x="19988" y="513"/>
                    <a:pt x="19892" y="591"/>
                  </a:cubicBezTo>
                  <a:cubicBezTo>
                    <a:pt x="19806" y="672"/>
                    <a:pt x="19602" y="757"/>
                    <a:pt x="19449" y="775"/>
                  </a:cubicBezTo>
                  <a:cubicBezTo>
                    <a:pt x="19299" y="802"/>
                    <a:pt x="19153" y="844"/>
                    <a:pt x="19141" y="881"/>
                  </a:cubicBezTo>
                  <a:cubicBezTo>
                    <a:pt x="19129" y="916"/>
                    <a:pt x="19076" y="921"/>
                    <a:pt x="19039" y="891"/>
                  </a:cubicBezTo>
                  <a:cubicBezTo>
                    <a:pt x="19011" y="857"/>
                    <a:pt x="18850" y="855"/>
                    <a:pt x="18704" y="881"/>
                  </a:cubicBezTo>
                  <a:cubicBezTo>
                    <a:pt x="18559" y="907"/>
                    <a:pt x="18365" y="983"/>
                    <a:pt x="18263" y="1046"/>
                  </a:cubicBezTo>
                  <a:cubicBezTo>
                    <a:pt x="18167" y="1113"/>
                    <a:pt x="17885" y="1206"/>
                    <a:pt x="17642" y="1257"/>
                  </a:cubicBezTo>
                  <a:cubicBezTo>
                    <a:pt x="17394" y="1302"/>
                    <a:pt x="17154" y="1353"/>
                    <a:pt x="17101" y="1353"/>
                  </a:cubicBezTo>
                  <a:cubicBezTo>
                    <a:pt x="17051" y="1361"/>
                    <a:pt x="16971" y="1342"/>
                    <a:pt x="16925" y="1320"/>
                  </a:cubicBezTo>
                  <a:cubicBezTo>
                    <a:pt x="16874" y="1304"/>
                    <a:pt x="16712" y="1291"/>
                    <a:pt x="16554" y="1312"/>
                  </a:cubicBezTo>
                  <a:cubicBezTo>
                    <a:pt x="16395" y="1331"/>
                    <a:pt x="16148" y="1400"/>
                    <a:pt x="15998" y="1462"/>
                  </a:cubicBezTo>
                  <a:cubicBezTo>
                    <a:pt x="15856" y="1531"/>
                    <a:pt x="15621" y="1577"/>
                    <a:pt x="15487" y="1584"/>
                  </a:cubicBezTo>
                  <a:cubicBezTo>
                    <a:pt x="15351" y="1584"/>
                    <a:pt x="15175" y="1607"/>
                    <a:pt x="15096" y="1631"/>
                  </a:cubicBezTo>
                  <a:cubicBezTo>
                    <a:pt x="15021" y="1658"/>
                    <a:pt x="14869" y="1655"/>
                    <a:pt x="14779" y="1618"/>
                  </a:cubicBezTo>
                  <a:cubicBezTo>
                    <a:pt x="14680" y="1587"/>
                    <a:pt x="14521" y="1580"/>
                    <a:pt x="14417" y="1597"/>
                  </a:cubicBezTo>
                  <a:cubicBezTo>
                    <a:pt x="14319" y="1622"/>
                    <a:pt x="13961" y="1773"/>
                    <a:pt x="13641" y="1953"/>
                  </a:cubicBezTo>
                  <a:cubicBezTo>
                    <a:pt x="13312" y="2126"/>
                    <a:pt x="12919" y="2283"/>
                    <a:pt x="12770" y="2310"/>
                  </a:cubicBezTo>
                  <a:cubicBezTo>
                    <a:pt x="12620" y="2336"/>
                    <a:pt x="12415" y="2317"/>
                    <a:pt x="12313" y="2285"/>
                  </a:cubicBezTo>
                  <a:cubicBezTo>
                    <a:pt x="12214" y="2249"/>
                    <a:pt x="12090" y="2236"/>
                    <a:pt x="12039" y="2252"/>
                  </a:cubicBezTo>
                  <a:cubicBezTo>
                    <a:pt x="11988" y="2268"/>
                    <a:pt x="11833" y="2298"/>
                    <a:pt x="11689" y="2304"/>
                  </a:cubicBezTo>
                  <a:cubicBezTo>
                    <a:pt x="11547" y="2317"/>
                    <a:pt x="11397" y="2311"/>
                    <a:pt x="11376" y="2284"/>
                  </a:cubicBezTo>
                  <a:cubicBezTo>
                    <a:pt x="11347" y="2260"/>
                    <a:pt x="11282" y="2250"/>
                    <a:pt x="11230" y="2250"/>
                  </a:cubicBezTo>
                  <a:cubicBezTo>
                    <a:pt x="11179" y="2255"/>
                    <a:pt x="10984" y="2358"/>
                    <a:pt x="10798" y="2480"/>
                  </a:cubicBezTo>
                  <a:cubicBezTo>
                    <a:pt x="10617" y="2606"/>
                    <a:pt x="10387" y="2706"/>
                    <a:pt x="10301" y="2713"/>
                  </a:cubicBezTo>
                  <a:cubicBezTo>
                    <a:pt x="10213" y="2713"/>
                    <a:pt x="10029" y="2785"/>
                    <a:pt x="9883" y="2859"/>
                  </a:cubicBezTo>
                  <a:cubicBezTo>
                    <a:pt x="9735" y="2931"/>
                    <a:pt x="9580" y="3034"/>
                    <a:pt x="9526" y="3081"/>
                  </a:cubicBezTo>
                  <a:cubicBezTo>
                    <a:pt x="9483" y="3134"/>
                    <a:pt x="9302" y="3187"/>
                    <a:pt x="9147" y="3213"/>
                  </a:cubicBezTo>
                  <a:cubicBezTo>
                    <a:pt x="8991" y="3239"/>
                    <a:pt x="8755" y="3246"/>
                    <a:pt x="8629" y="3221"/>
                  </a:cubicBezTo>
                  <a:cubicBezTo>
                    <a:pt x="8501" y="3200"/>
                    <a:pt x="8300" y="3108"/>
                    <a:pt x="8170" y="3020"/>
                  </a:cubicBezTo>
                  <a:cubicBezTo>
                    <a:pt x="8039" y="2932"/>
                    <a:pt x="7898" y="2851"/>
                    <a:pt x="7849" y="2839"/>
                  </a:cubicBezTo>
                  <a:cubicBezTo>
                    <a:pt x="7797" y="2832"/>
                    <a:pt x="7732" y="2771"/>
                    <a:pt x="7695" y="2708"/>
                  </a:cubicBezTo>
                  <a:cubicBezTo>
                    <a:pt x="7664" y="2645"/>
                    <a:pt x="7381" y="2374"/>
                    <a:pt x="7087" y="2098"/>
                  </a:cubicBezTo>
                  <a:cubicBezTo>
                    <a:pt x="6787" y="1822"/>
                    <a:pt x="6505" y="1594"/>
                    <a:pt x="6471" y="1594"/>
                  </a:cubicBezTo>
                  <a:cubicBezTo>
                    <a:pt x="6436" y="1588"/>
                    <a:pt x="6388" y="1544"/>
                    <a:pt x="6356" y="1492"/>
                  </a:cubicBezTo>
                  <a:cubicBezTo>
                    <a:pt x="6346" y="1435"/>
                    <a:pt x="6179" y="1549"/>
                    <a:pt x="6045" y="1742"/>
                  </a:cubicBezTo>
                  <a:cubicBezTo>
                    <a:pt x="5902" y="1934"/>
                    <a:pt x="5769" y="2105"/>
                    <a:pt x="5759" y="2123"/>
                  </a:cubicBezTo>
                  <a:cubicBezTo>
                    <a:pt x="5758" y="2124"/>
                    <a:pt x="5756" y="2123"/>
                    <a:pt x="5756" y="2123"/>
                  </a:cubicBezTo>
                  <a:close/>
                  <a:moveTo>
                    <a:pt x="5756" y="21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7" name="AutoShape 787"/>
            <p:cNvSpPr>
              <a:spLocks/>
            </p:cNvSpPr>
            <p:nvPr/>
          </p:nvSpPr>
          <p:spPr bwMode="auto">
            <a:xfrm>
              <a:off x="9283700" y="4978400"/>
              <a:ext cx="4763" cy="9525"/>
            </a:xfrm>
            <a:custGeom>
              <a:avLst/>
              <a:gdLst/>
              <a:ahLst/>
              <a:cxnLst/>
              <a:rect l="0" t="0" r="r" b="b"/>
              <a:pathLst>
                <a:path w="21600" h="21582">
                  <a:moveTo>
                    <a:pt x="258" y="21575"/>
                  </a:moveTo>
                  <a:cubicBezTo>
                    <a:pt x="1030" y="20524"/>
                    <a:pt x="10903" y="10848"/>
                    <a:pt x="21600" y="0"/>
                  </a:cubicBezTo>
                  <a:cubicBezTo>
                    <a:pt x="13900" y="7819"/>
                    <a:pt x="5529" y="16102"/>
                    <a:pt x="0" y="21575"/>
                  </a:cubicBezTo>
                  <a:cubicBezTo>
                    <a:pt x="52" y="21550"/>
                    <a:pt x="203" y="21600"/>
                    <a:pt x="258" y="21575"/>
                  </a:cubicBezTo>
                  <a:close/>
                  <a:moveTo>
                    <a:pt x="258" y="2157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8" name="AutoShape 788"/>
            <p:cNvSpPr>
              <a:spLocks/>
            </p:cNvSpPr>
            <p:nvPr/>
          </p:nvSpPr>
          <p:spPr bwMode="auto">
            <a:xfrm>
              <a:off x="8890000" y="5270500"/>
              <a:ext cx="334963" cy="428625"/>
            </a:xfrm>
            <a:custGeom>
              <a:avLst/>
              <a:gdLst/>
              <a:ahLst/>
              <a:cxnLst/>
              <a:rect l="0" t="0" r="r" b="b"/>
              <a:pathLst>
                <a:path w="21472" h="21513">
                  <a:moveTo>
                    <a:pt x="18634" y="10203"/>
                  </a:moveTo>
                  <a:cubicBezTo>
                    <a:pt x="18776" y="9181"/>
                    <a:pt x="18904" y="8157"/>
                    <a:pt x="19034" y="7129"/>
                  </a:cubicBezTo>
                  <a:cubicBezTo>
                    <a:pt x="19223" y="5591"/>
                    <a:pt x="19910" y="3850"/>
                    <a:pt x="20561" y="3266"/>
                  </a:cubicBezTo>
                  <a:cubicBezTo>
                    <a:pt x="21211" y="2683"/>
                    <a:pt x="21600" y="2215"/>
                    <a:pt x="21433" y="2224"/>
                  </a:cubicBezTo>
                  <a:lnTo>
                    <a:pt x="21432" y="2224"/>
                  </a:lnTo>
                  <a:cubicBezTo>
                    <a:pt x="21265" y="2234"/>
                    <a:pt x="20934" y="2303"/>
                    <a:pt x="20687" y="2351"/>
                  </a:cubicBezTo>
                  <a:cubicBezTo>
                    <a:pt x="20446" y="2408"/>
                    <a:pt x="20160" y="2419"/>
                    <a:pt x="20065" y="2363"/>
                  </a:cubicBezTo>
                  <a:cubicBezTo>
                    <a:pt x="19965" y="2311"/>
                    <a:pt x="19839" y="2166"/>
                    <a:pt x="19767" y="2043"/>
                  </a:cubicBezTo>
                  <a:cubicBezTo>
                    <a:pt x="19696" y="1921"/>
                    <a:pt x="19582" y="1783"/>
                    <a:pt x="19491" y="1747"/>
                  </a:cubicBezTo>
                  <a:cubicBezTo>
                    <a:pt x="19403" y="1712"/>
                    <a:pt x="19086" y="1735"/>
                    <a:pt x="18781" y="1793"/>
                  </a:cubicBezTo>
                  <a:cubicBezTo>
                    <a:pt x="18474" y="1849"/>
                    <a:pt x="18161" y="1938"/>
                    <a:pt x="18095" y="1990"/>
                  </a:cubicBezTo>
                  <a:cubicBezTo>
                    <a:pt x="18029" y="2042"/>
                    <a:pt x="17881" y="2069"/>
                    <a:pt x="17783" y="2079"/>
                  </a:cubicBezTo>
                  <a:cubicBezTo>
                    <a:pt x="17685" y="2087"/>
                    <a:pt x="17486" y="2132"/>
                    <a:pt x="17344" y="2192"/>
                  </a:cubicBezTo>
                  <a:cubicBezTo>
                    <a:pt x="17198" y="2249"/>
                    <a:pt x="17027" y="2373"/>
                    <a:pt x="16955" y="2457"/>
                  </a:cubicBezTo>
                  <a:cubicBezTo>
                    <a:pt x="16884" y="2540"/>
                    <a:pt x="16669" y="2829"/>
                    <a:pt x="16465" y="3092"/>
                  </a:cubicBezTo>
                  <a:cubicBezTo>
                    <a:pt x="16276" y="3360"/>
                    <a:pt x="15997" y="3588"/>
                    <a:pt x="15867" y="3605"/>
                  </a:cubicBezTo>
                  <a:cubicBezTo>
                    <a:pt x="15739" y="3630"/>
                    <a:pt x="15553" y="3645"/>
                    <a:pt x="15459" y="3653"/>
                  </a:cubicBezTo>
                  <a:cubicBezTo>
                    <a:pt x="15364" y="3662"/>
                    <a:pt x="15197" y="3641"/>
                    <a:pt x="15083" y="3614"/>
                  </a:cubicBezTo>
                  <a:cubicBezTo>
                    <a:pt x="14966" y="3598"/>
                    <a:pt x="14735" y="3600"/>
                    <a:pt x="14554" y="3628"/>
                  </a:cubicBezTo>
                  <a:cubicBezTo>
                    <a:pt x="14369" y="3659"/>
                    <a:pt x="14110" y="3663"/>
                    <a:pt x="13975" y="3610"/>
                  </a:cubicBezTo>
                  <a:cubicBezTo>
                    <a:pt x="13843" y="3558"/>
                    <a:pt x="13535" y="3537"/>
                    <a:pt x="13300" y="3556"/>
                  </a:cubicBezTo>
                  <a:cubicBezTo>
                    <a:pt x="13064" y="3574"/>
                    <a:pt x="12787" y="3570"/>
                    <a:pt x="12685" y="3543"/>
                  </a:cubicBezTo>
                  <a:cubicBezTo>
                    <a:pt x="12582" y="3523"/>
                    <a:pt x="12424" y="3408"/>
                    <a:pt x="12325" y="3302"/>
                  </a:cubicBezTo>
                  <a:cubicBezTo>
                    <a:pt x="12235" y="3191"/>
                    <a:pt x="12035" y="3016"/>
                    <a:pt x="11867" y="2941"/>
                  </a:cubicBezTo>
                  <a:cubicBezTo>
                    <a:pt x="11726" y="2839"/>
                    <a:pt x="11379" y="2587"/>
                    <a:pt x="11124" y="2359"/>
                  </a:cubicBezTo>
                  <a:cubicBezTo>
                    <a:pt x="10862" y="2136"/>
                    <a:pt x="10560" y="1894"/>
                    <a:pt x="10440" y="1832"/>
                  </a:cubicBezTo>
                  <a:cubicBezTo>
                    <a:pt x="10317" y="1774"/>
                    <a:pt x="9954" y="1755"/>
                    <a:pt x="9623" y="1791"/>
                  </a:cubicBezTo>
                  <a:cubicBezTo>
                    <a:pt x="9292" y="1829"/>
                    <a:pt x="8887" y="1832"/>
                    <a:pt x="8719" y="1815"/>
                  </a:cubicBezTo>
                  <a:cubicBezTo>
                    <a:pt x="8550" y="1798"/>
                    <a:pt x="8289" y="1819"/>
                    <a:pt x="8127" y="1873"/>
                  </a:cubicBezTo>
                  <a:cubicBezTo>
                    <a:pt x="7966" y="1927"/>
                    <a:pt x="7733" y="1952"/>
                    <a:pt x="7602" y="1952"/>
                  </a:cubicBezTo>
                  <a:cubicBezTo>
                    <a:pt x="7475" y="1942"/>
                    <a:pt x="7293" y="1824"/>
                    <a:pt x="7173" y="1721"/>
                  </a:cubicBezTo>
                  <a:cubicBezTo>
                    <a:pt x="7058" y="1614"/>
                    <a:pt x="7005" y="1208"/>
                    <a:pt x="7041" y="831"/>
                  </a:cubicBezTo>
                  <a:cubicBezTo>
                    <a:pt x="7077" y="455"/>
                    <a:pt x="7018" y="140"/>
                    <a:pt x="6915" y="131"/>
                  </a:cubicBezTo>
                  <a:cubicBezTo>
                    <a:pt x="6811" y="122"/>
                    <a:pt x="6613" y="150"/>
                    <a:pt x="6474" y="176"/>
                  </a:cubicBezTo>
                  <a:cubicBezTo>
                    <a:pt x="6336" y="211"/>
                    <a:pt x="6167" y="147"/>
                    <a:pt x="6107" y="35"/>
                  </a:cubicBezTo>
                  <a:cubicBezTo>
                    <a:pt x="6047" y="-76"/>
                    <a:pt x="5746" y="89"/>
                    <a:pt x="5432" y="392"/>
                  </a:cubicBezTo>
                  <a:cubicBezTo>
                    <a:pt x="5399" y="422"/>
                    <a:pt x="5364" y="459"/>
                    <a:pt x="5330" y="492"/>
                  </a:cubicBezTo>
                  <a:cubicBezTo>
                    <a:pt x="5080" y="745"/>
                    <a:pt x="4701" y="1145"/>
                    <a:pt x="4517" y="1397"/>
                  </a:cubicBezTo>
                  <a:cubicBezTo>
                    <a:pt x="4315" y="1639"/>
                    <a:pt x="4112" y="1819"/>
                    <a:pt x="4043" y="1810"/>
                  </a:cubicBezTo>
                  <a:cubicBezTo>
                    <a:pt x="3973" y="1801"/>
                    <a:pt x="3810" y="1874"/>
                    <a:pt x="3667" y="1995"/>
                  </a:cubicBezTo>
                  <a:cubicBezTo>
                    <a:pt x="3532" y="2119"/>
                    <a:pt x="3354" y="2286"/>
                    <a:pt x="3279" y="2373"/>
                  </a:cubicBezTo>
                  <a:cubicBezTo>
                    <a:pt x="3196" y="2456"/>
                    <a:pt x="3096" y="2549"/>
                    <a:pt x="3040" y="2571"/>
                  </a:cubicBezTo>
                  <a:cubicBezTo>
                    <a:pt x="2983" y="2590"/>
                    <a:pt x="2853" y="2691"/>
                    <a:pt x="2777" y="2798"/>
                  </a:cubicBezTo>
                  <a:cubicBezTo>
                    <a:pt x="2692" y="2904"/>
                    <a:pt x="2615" y="2985"/>
                    <a:pt x="2613" y="2985"/>
                  </a:cubicBezTo>
                  <a:cubicBezTo>
                    <a:pt x="2615" y="2985"/>
                    <a:pt x="2636" y="2978"/>
                    <a:pt x="2625" y="2978"/>
                  </a:cubicBezTo>
                  <a:cubicBezTo>
                    <a:pt x="2636" y="2978"/>
                    <a:pt x="2680" y="3031"/>
                    <a:pt x="2750" y="3094"/>
                  </a:cubicBezTo>
                  <a:cubicBezTo>
                    <a:pt x="2816" y="3158"/>
                    <a:pt x="2880" y="3348"/>
                    <a:pt x="2916" y="3506"/>
                  </a:cubicBezTo>
                  <a:cubicBezTo>
                    <a:pt x="2963" y="3663"/>
                    <a:pt x="3017" y="3835"/>
                    <a:pt x="3089" y="3853"/>
                  </a:cubicBezTo>
                  <a:cubicBezTo>
                    <a:pt x="3153" y="3883"/>
                    <a:pt x="3195" y="4001"/>
                    <a:pt x="3161" y="4108"/>
                  </a:cubicBezTo>
                  <a:cubicBezTo>
                    <a:pt x="3127" y="4215"/>
                    <a:pt x="3192" y="4319"/>
                    <a:pt x="3284" y="4328"/>
                  </a:cubicBezTo>
                  <a:cubicBezTo>
                    <a:pt x="3378" y="4339"/>
                    <a:pt x="3462" y="4463"/>
                    <a:pt x="3512" y="4593"/>
                  </a:cubicBezTo>
                  <a:cubicBezTo>
                    <a:pt x="3545" y="4728"/>
                    <a:pt x="3562" y="4940"/>
                    <a:pt x="3551" y="5066"/>
                  </a:cubicBezTo>
                  <a:cubicBezTo>
                    <a:pt x="3539" y="5192"/>
                    <a:pt x="3657" y="5391"/>
                    <a:pt x="3794" y="5524"/>
                  </a:cubicBezTo>
                  <a:cubicBezTo>
                    <a:pt x="3953" y="5639"/>
                    <a:pt x="4111" y="5904"/>
                    <a:pt x="4181" y="6088"/>
                  </a:cubicBezTo>
                  <a:cubicBezTo>
                    <a:pt x="4252" y="6271"/>
                    <a:pt x="4373" y="6450"/>
                    <a:pt x="4464" y="6476"/>
                  </a:cubicBezTo>
                  <a:cubicBezTo>
                    <a:pt x="4552" y="6506"/>
                    <a:pt x="4693" y="6562"/>
                    <a:pt x="4762" y="6616"/>
                  </a:cubicBezTo>
                  <a:cubicBezTo>
                    <a:pt x="4841" y="6657"/>
                    <a:pt x="4842" y="6769"/>
                    <a:pt x="4772" y="6851"/>
                  </a:cubicBezTo>
                  <a:cubicBezTo>
                    <a:pt x="4712" y="6936"/>
                    <a:pt x="4725" y="7056"/>
                    <a:pt x="4815" y="7126"/>
                  </a:cubicBezTo>
                  <a:cubicBezTo>
                    <a:pt x="4905" y="7196"/>
                    <a:pt x="4991" y="7358"/>
                    <a:pt x="5040" y="7483"/>
                  </a:cubicBezTo>
                  <a:cubicBezTo>
                    <a:pt x="5075" y="7610"/>
                    <a:pt x="5061" y="7820"/>
                    <a:pt x="5037" y="7954"/>
                  </a:cubicBezTo>
                  <a:cubicBezTo>
                    <a:pt x="5001" y="8086"/>
                    <a:pt x="4838" y="8343"/>
                    <a:pt x="4653" y="8516"/>
                  </a:cubicBezTo>
                  <a:cubicBezTo>
                    <a:pt x="4475" y="8693"/>
                    <a:pt x="4326" y="8911"/>
                    <a:pt x="4315" y="9000"/>
                  </a:cubicBezTo>
                  <a:cubicBezTo>
                    <a:pt x="4315" y="9089"/>
                    <a:pt x="4233" y="9285"/>
                    <a:pt x="4160" y="9439"/>
                  </a:cubicBezTo>
                  <a:cubicBezTo>
                    <a:pt x="4097" y="9595"/>
                    <a:pt x="3826" y="9740"/>
                    <a:pt x="3586" y="9749"/>
                  </a:cubicBezTo>
                  <a:cubicBezTo>
                    <a:pt x="3346" y="9768"/>
                    <a:pt x="3165" y="9826"/>
                    <a:pt x="3153" y="9879"/>
                  </a:cubicBezTo>
                  <a:cubicBezTo>
                    <a:pt x="3153" y="9930"/>
                    <a:pt x="3094" y="10035"/>
                    <a:pt x="3008" y="10102"/>
                  </a:cubicBezTo>
                  <a:cubicBezTo>
                    <a:pt x="2935" y="10178"/>
                    <a:pt x="2814" y="10328"/>
                    <a:pt x="2741" y="10442"/>
                  </a:cubicBezTo>
                  <a:cubicBezTo>
                    <a:pt x="2684" y="10559"/>
                    <a:pt x="2518" y="10736"/>
                    <a:pt x="2396" y="10841"/>
                  </a:cubicBezTo>
                  <a:cubicBezTo>
                    <a:pt x="2275" y="10945"/>
                    <a:pt x="2082" y="11145"/>
                    <a:pt x="1998" y="11297"/>
                  </a:cubicBezTo>
                  <a:cubicBezTo>
                    <a:pt x="1913" y="11449"/>
                    <a:pt x="1700" y="11664"/>
                    <a:pt x="1555" y="11786"/>
                  </a:cubicBezTo>
                  <a:cubicBezTo>
                    <a:pt x="1410" y="11910"/>
                    <a:pt x="1254" y="12151"/>
                    <a:pt x="1206" y="12324"/>
                  </a:cubicBezTo>
                  <a:cubicBezTo>
                    <a:pt x="1170" y="12498"/>
                    <a:pt x="901" y="13134"/>
                    <a:pt x="663" y="13749"/>
                  </a:cubicBezTo>
                  <a:cubicBezTo>
                    <a:pt x="537" y="14037"/>
                    <a:pt x="408" y="14508"/>
                    <a:pt x="0" y="15024"/>
                  </a:cubicBezTo>
                  <a:cubicBezTo>
                    <a:pt x="143" y="15088"/>
                    <a:pt x="788" y="15169"/>
                    <a:pt x="1577" y="15342"/>
                  </a:cubicBezTo>
                  <a:cubicBezTo>
                    <a:pt x="1615" y="15350"/>
                    <a:pt x="1653" y="15358"/>
                    <a:pt x="1690" y="15367"/>
                  </a:cubicBezTo>
                  <a:cubicBezTo>
                    <a:pt x="1861" y="15406"/>
                    <a:pt x="2035" y="15449"/>
                    <a:pt x="2213" y="15496"/>
                  </a:cubicBezTo>
                  <a:cubicBezTo>
                    <a:pt x="2259" y="15509"/>
                    <a:pt x="2305" y="15521"/>
                    <a:pt x="2350" y="15533"/>
                  </a:cubicBezTo>
                  <a:cubicBezTo>
                    <a:pt x="2536" y="15586"/>
                    <a:pt x="2725" y="15644"/>
                    <a:pt x="2911" y="15709"/>
                  </a:cubicBezTo>
                  <a:cubicBezTo>
                    <a:pt x="2922" y="15713"/>
                    <a:pt x="2933" y="15716"/>
                    <a:pt x="2943" y="15720"/>
                  </a:cubicBezTo>
                  <a:cubicBezTo>
                    <a:pt x="3135" y="15787"/>
                    <a:pt x="3325" y="15861"/>
                    <a:pt x="3508" y="15944"/>
                  </a:cubicBezTo>
                  <a:cubicBezTo>
                    <a:pt x="4641" y="16467"/>
                    <a:pt x="5777" y="16969"/>
                    <a:pt x="6890" y="17484"/>
                  </a:cubicBezTo>
                  <a:cubicBezTo>
                    <a:pt x="8265" y="18101"/>
                    <a:pt x="9449" y="18769"/>
                    <a:pt x="9561" y="18953"/>
                  </a:cubicBezTo>
                  <a:cubicBezTo>
                    <a:pt x="9662" y="19138"/>
                    <a:pt x="9712" y="19336"/>
                    <a:pt x="9679" y="19397"/>
                  </a:cubicBezTo>
                  <a:cubicBezTo>
                    <a:pt x="9636" y="19455"/>
                    <a:pt x="9634" y="19563"/>
                    <a:pt x="9634" y="19634"/>
                  </a:cubicBezTo>
                  <a:cubicBezTo>
                    <a:pt x="9646" y="19706"/>
                    <a:pt x="9708" y="19806"/>
                    <a:pt x="9747" y="19866"/>
                  </a:cubicBezTo>
                  <a:cubicBezTo>
                    <a:pt x="9795" y="19923"/>
                    <a:pt x="10441" y="20321"/>
                    <a:pt x="11178" y="20749"/>
                  </a:cubicBezTo>
                  <a:cubicBezTo>
                    <a:pt x="11906" y="21181"/>
                    <a:pt x="12552" y="21524"/>
                    <a:pt x="12609" y="21513"/>
                  </a:cubicBezTo>
                  <a:cubicBezTo>
                    <a:pt x="12664" y="21505"/>
                    <a:pt x="12825" y="21444"/>
                    <a:pt x="12973" y="21387"/>
                  </a:cubicBezTo>
                  <a:cubicBezTo>
                    <a:pt x="13122" y="21328"/>
                    <a:pt x="13468" y="20996"/>
                    <a:pt x="13746" y="20664"/>
                  </a:cubicBezTo>
                  <a:cubicBezTo>
                    <a:pt x="14029" y="20333"/>
                    <a:pt x="14347" y="19897"/>
                    <a:pt x="14476" y="19704"/>
                  </a:cubicBezTo>
                  <a:cubicBezTo>
                    <a:pt x="14595" y="19509"/>
                    <a:pt x="14725" y="19243"/>
                    <a:pt x="14736" y="19111"/>
                  </a:cubicBezTo>
                  <a:cubicBezTo>
                    <a:pt x="14760" y="18979"/>
                    <a:pt x="14876" y="18768"/>
                    <a:pt x="14994" y="18638"/>
                  </a:cubicBezTo>
                  <a:cubicBezTo>
                    <a:pt x="15113" y="18509"/>
                    <a:pt x="15325" y="18275"/>
                    <a:pt x="15448" y="18112"/>
                  </a:cubicBezTo>
                  <a:cubicBezTo>
                    <a:pt x="15574" y="17950"/>
                    <a:pt x="15652" y="17798"/>
                    <a:pt x="15613" y="17775"/>
                  </a:cubicBezTo>
                  <a:cubicBezTo>
                    <a:pt x="15580" y="17749"/>
                    <a:pt x="15576" y="17672"/>
                    <a:pt x="15576" y="17601"/>
                  </a:cubicBezTo>
                  <a:cubicBezTo>
                    <a:pt x="15586" y="17529"/>
                    <a:pt x="15695" y="17386"/>
                    <a:pt x="15796" y="17275"/>
                  </a:cubicBezTo>
                  <a:cubicBezTo>
                    <a:pt x="15897" y="17167"/>
                    <a:pt x="15997" y="17044"/>
                    <a:pt x="16022" y="17004"/>
                  </a:cubicBezTo>
                  <a:cubicBezTo>
                    <a:pt x="16040" y="16960"/>
                    <a:pt x="16127" y="16905"/>
                    <a:pt x="16205" y="16864"/>
                  </a:cubicBezTo>
                  <a:cubicBezTo>
                    <a:pt x="16288" y="16831"/>
                    <a:pt x="16509" y="16789"/>
                    <a:pt x="16696" y="16770"/>
                  </a:cubicBezTo>
                  <a:cubicBezTo>
                    <a:pt x="16886" y="16751"/>
                    <a:pt x="17149" y="16603"/>
                    <a:pt x="17285" y="16443"/>
                  </a:cubicBezTo>
                  <a:cubicBezTo>
                    <a:pt x="17424" y="16281"/>
                    <a:pt x="17726" y="16082"/>
                    <a:pt x="17949" y="15981"/>
                  </a:cubicBezTo>
                  <a:cubicBezTo>
                    <a:pt x="18171" y="15880"/>
                    <a:pt x="18330" y="15769"/>
                    <a:pt x="18307" y="15713"/>
                  </a:cubicBezTo>
                  <a:cubicBezTo>
                    <a:pt x="18284" y="15658"/>
                    <a:pt x="18323" y="15549"/>
                    <a:pt x="18407" y="15465"/>
                  </a:cubicBezTo>
                  <a:cubicBezTo>
                    <a:pt x="18491" y="15381"/>
                    <a:pt x="18610" y="15303"/>
                    <a:pt x="18656" y="15276"/>
                  </a:cubicBezTo>
                  <a:cubicBezTo>
                    <a:pt x="18710" y="15259"/>
                    <a:pt x="18933" y="15019"/>
                    <a:pt x="19189" y="14773"/>
                  </a:cubicBezTo>
                  <a:cubicBezTo>
                    <a:pt x="19430" y="14518"/>
                    <a:pt x="19628" y="14273"/>
                    <a:pt x="19651" y="14237"/>
                  </a:cubicBezTo>
                  <a:cubicBezTo>
                    <a:pt x="19679" y="14205"/>
                    <a:pt x="19359" y="13900"/>
                    <a:pt x="18969" y="13567"/>
                  </a:cubicBezTo>
                  <a:cubicBezTo>
                    <a:pt x="18589" y="13223"/>
                    <a:pt x="18422" y="11721"/>
                    <a:pt x="18634" y="10203"/>
                  </a:cubicBezTo>
                  <a:close/>
                  <a:moveTo>
                    <a:pt x="18634" y="102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89" name="AutoShape 789"/>
            <p:cNvSpPr>
              <a:spLocks/>
            </p:cNvSpPr>
            <p:nvPr/>
          </p:nvSpPr>
          <p:spPr bwMode="auto">
            <a:xfrm>
              <a:off x="8813800" y="5575300"/>
              <a:ext cx="17463" cy="1588"/>
            </a:xfrm>
            <a:custGeom>
              <a:avLst/>
              <a:gdLst/>
              <a:ahLst/>
              <a:cxnLst/>
              <a:rect l="0" t="0" r="r" b="b"/>
              <a:pathLst>
                <a:path w="21600" h="21600">
                  <a:moveTo>
                    <a:pt x="14028" y="7737"/>
                  </a:moveTo>
                  <a:cubicBezTo>
                    <a:pt x="8387" y="12257"/>
                    <a:pt x="3305" y="17946"/>
                    <a:pt x="0" y="21600"/>
                  </a:cubicBezTo>
                  <a:cubicBezTo>
                    <a:pt x="6483" y="15582"/>
                    <a:pt x="13883" y="8177"/>
                    <a:pt x="21600" y="0"/>
                  </a:cubicBezTo>
                  <a:cubicBezTo>
                    <a:pt x="20597" y="759"/>
                    <a:pt x="19366" y="1938"/>
                    <a:pt x="17878" y="3446"/>
                  </a:cubicBezTo>
                  <a:cubicBezTo>
                    <a:pt x="16461" y="4953"/>
                    <a:pt x="15144" y="6448"/>
                    <a:pt x="14028" y="7737"/>
                  </a:cubicBezTo>
                  <a:close/>
                  <a:moveTo>
                    <a:pt x="14028" y="77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0" name="AutoShape 790"/>
            <p:cNvSpPr>
              <a:spLocks/>
            </p:cNvSpPr>
            <p:nvPr/>
          </p:nvSpPr>
          <p:spPr bwMode="auto">
            <a:xfrm>
              <a:off x="8966200" y="5283200"/>
              <a:ext cx="12700" cy="17463"/>
            </a:xfrm>
            <a:custGeom>
              <a:avLst/>
              <a:gdLst/>
              <a:ahLst/>
              <a:cxnLst/>
              <a:rect l="0" t="0" r="r" b="b"/>
              <a:pathLst>
                <a:path w="21600" h="21600">
                  <a:moveTo>
                    <a:pt x="0" y="21600"/>
                  </a:moveTo>
                  <a:cubicBezTo>
                    <a:pt x="4892" y="15583"/>
                    <a:pt x="14957" y="6030"/>
                    <a:pt x="21600" y="0"/>
                  </a:cubicBezTo>
                  <a:cubicBezTo>
                    <a:pt x="13669" y="7040"/>
                    <a:pt x="4388" y="16192"/>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1" name="AutoShape 792"/>
            <p:cNvSpPr>
              <a:spLocks/>
            </p:cNvSpPr>
            <p:nvPr/>
          </p:nvSpPr>
          <p:spPr bwMode="auto">
            <a:xfrm>
              <a:off x="8724900" y="5334000"/>
              <a:ext cx="247650" cy="271463"/>
            </a:xfrm>
            <a:custGeom>
              <a:avLst/>
              <a:gdLst/>
              <a:ahLst/>
              <a:cxnLst/>
              <a:rect l="0" t="0" r="r" b="b"/>
              <a:pathLst>
                <a:path w="21567" h="21532">
                  <a:moveTo>
                    <a:pt x="6559" y="4296"/>
                  </a:moveTo>
                  <a:cubicBezTo>
                    <a:pt x="6441" y="4433"/>
                    <a:pt x="6332" y="4778"/>
                    <a:pt x="6316" y="5055"/>
                  </a:cubicBezTo>
                  <a:cubicBezTo>
                    <a:pt x="6286" y="5331"/>
                    <a:pt x="6207" y="5839"/>
                    <a:pt x="6124" y="6185"/>
                  </a:cubicBezTo>
                  <a:cubicBezTo>
                    <a:pt x="6026" y="6527"/>
                    <a:pt x="5939" y="7019"/>
                    <a:pt x="5892" y="7270"/>
                  </a:cubicBezTo>
                  <a:cubicBezTo>
                    <a:pt x="5846" y="7520"/>
                    <a:pt x="5897" y="7786"/>
                    <a:pt x="6003" y="7856"/>
                  </a:cubicBezTo>
                  <a:cubicBezTo>
                    <a:pt x="6095" y="7939"/>
                    <a:pt x="6250" y="8089"/>
                    <a:pt x="6346" y="8204"/>
                  </a:cubicBezTo>
                  <a:cubicBezTo>
                    <a:pt x="6430" y="8326"/>
                    <a:pt x="6549" y="8553"/>
                    <a:pt x="6613" y="8712"/>
                  </a:cubicBezTo>
                  <a:cubicBezTo>
                    <a:pt x="6681" y="8866"/>
                    <a:pt x="6702" y="9090"/>
                    <a:pt x="6672" y="9200"/>
                  </a:cubicBezTo>
                  <a:cubicBezTo>
                    <a:pt x="6639" y="9310"/>
                    <a:pt x="6169" y="9990"/>
                    <a:pt x="5600" y="10699"/>
                  </a:cubicBezTo>
                  <a:cubicBezTo>
                    <a:pt x="5028" y="11405"/>
                    <a:pt x="4292" y="12298"/>
                    <a:pt x="3949" y="12665"/>
                  </a:cubicBezTo>
                  <a:cubicBezTo>
                    <a:pt x="3624" y="13049"/>
                    <a:pt x="3221" y="13460"/>
                    <a:pt x="3145" y="13624"/>
                  </a:cubicBezTo>
                  <a:cubicBezTo>
                    <a:pt x="3044" y="13777"/>
                    <a:pt x="2602" y="14493"/>
                    <a:pt x="2152" y="15207"/>
                  </a:cubicBezTo>
                  <a:cubicBezTo>
                    <a:pt x="1715" y="15928"/>
                    <a:pt x="1277" y="16614"/>
                    <a:pt x="1187" y="16738"/>
                  </a:cubicBezTo>
                  <a:cubicBezTo>
                    <a:pt x="1109" y="16865"/>
                    <a:pt x="1012" y="17173"/>
                    <a:pt x="980" y="17426"/>
                  </a:cubicBezTo>
                  <a:cubicBezTo>
                    <a:pt x="980" y="17680"/>
                    <a:pt x="881" y="18183"/>
                    <a:pt x="815" y="18542"/>
                  </a:cubicBezTo>
                  <a:cubicBezTo>
                    <a:pt x="768" y="18905"/>
                    <a:pt x="568" y="19492"/>
                    <a:pt x="406" y="19856"/>
                  </a:cubicBezTo>
                  <a:cubicBezTo>
                    <a:pt x="242" y="20214"/>
                    <a:pt x="126" y="20691"/>
                    <a:pt x="126" y="20912"/>
                  </a:cubicBezTo>
                  <a:cubicBezTo>
                    <a:pt x="126" y="21135"/>
                    <a:pt x="103" y="21362"/>
                    <a:pt x="42" y="21403"/>
                  </a:cubicBezTo>
                  <a:cubicBezTo>
                    <a:pt x="-12" y="21452"/>
                    <a:pt x="-15" y="21507"/>
                    <a:pt x="37" y="21522"/>
                  </a:cubicBezTo>
                  <a:cubicBezTo>
                    <a:pt x="82" y="21550"/>
                    <a:pt x="265" y="21515"/>
                    <a:pt x="431" y="21470"/>
                  </a:cubicBezTo>
                  <a:cubicBezTo>
                    <a:pt x="595" y="21420"/>
                    <a:pt x="882" y="21280"/>
                    <a:pt x="1046" y="21131"/>
                  </a:cubicBezTo>
                  <a:cubicBezTo>
                    <a:pt x="1228" y="20995"/>
                    <a:pt x="1447" y="20918"/>
                    <a:pt x="1555" y="20951"/>
                  </a:cubicBezTo>
                  <a:cubicBezTo>
                    <a:pt x="1658" y="20998"/>
                    <a:pt x="1804" y="21085"/>
                    <a:pt x="1879" y="21152"/>
                  </a:cubicBezTo>
                  <a:cubicBezTo>
                    <a:pt x="1943" y="21226"/>
                    <a:pt x="2127" y="21266"/>
                    <a:pt x="2269" y="21253"/>
                  </a:cubicBezTo>
                  <a:cubicBezTo>
                    <a:pt x="2413" y="21239"/>
                    <a:pt x="2609" y="21185"/>
                    <a:pt x="2670" y="21100"/>
                  </a:cubicBezTo>
                  <a:cubicBezTo>
                    <a:pt x="2755" y="21037"/>
                    <a:pt x="2827" y="20860"/>
                    <a:pt x="2843" y="20723"/>
                  </a:cubicBezTo>
                  <a:cubicBezTo>
                    <a:pt x="2862" y="20590"/>
                    <a:pt x="3010" y="20445"/>
                    <a:pt x="3173" y="20400"/>
                  </a:cubicBezTo>
                  <a:cubicBezTo>
                    <a:pt x="3341" y="20366"/>
                    <a:pt x="3496" y="20356"/>
                    <a:pt x="3519" y="20397"/>
                  </a:cubicBezTo>
                  <a:cubicBezTo>
                    <a:pt x="3535" y="20440"/>
                    <a:pt x="3619" y="20407"/>
                    <a:pt x="3679" y="20325"/>
                  </a:cubicBezTo>
                  <a:cubicBezTo>
                    <a:pt x="3736" y="20240"/>
                    <a:pt x="3868" y="20177"/>
                    <a:pt x="3954" y="20197"/>
                  </a:cubicBezTo>
                  <a:cubicBezTo>
                    <a:pt x="4041" y="20211"/>
                    <a:pt x="4186" y="20139"/>
                    <a:pt x="4282" y="20052"/>
                  </a:cubicBezTo>
                  <a:cubicBezTo>
                    <a:pt x="4369" y="19958"/>
                    <a:pt x="5125" y="19824"/>
                    <a:pt x="5946" y="19750"/>
                  </a:cubicBezTo>
                  <a:cubicBezTo>
                    <a:pt x="6139" y="19732"/>
                    <a:pt x="6325" y="19715"/>
                    <a:pt x="6497" y="19700"/>
                  </a:cubicBezTo>
                  <a:cubicBezTo>
                    <a:pt x="6538" y="19696"/>
                    <a:pt x="6577" y="19692"/>
                    <a:pt x="6618" y="19687"/>
                  </a:cubicBezTo>
                  <a:cubicBezTo>
                    <a:pt x="6922" y="19661"/>
                    <a:pt x="7319" y="19621"/>
                    <a:pt x="7774" y="19569"/>
                  </a:cubicBezTo>
                  <a:cubicBezTo>
                    <a:pt x="8023" y="19535"/>
                    <a:pt x="8406" y="19483"/>
                    <a:pt x="8831" y="19442"/>
                  </a:cubicBezTo>
                  <a:cubicBezTo>
                    <a:pt x="8940" y="19427"/>
                    <a:pt x="9034" y="19414"/>
                    <a:pt x="9122" y="19403"/>
                  </a:cubicBezTo>
                  <a:cubicBezTo>
                    <a:pt x="9653" y="19333"/>
                    <a:pt x="10452" y="19234"/>
                    <a:pt x="11270" y="19123"/>
                  </a:cubicBezTo>
                  <a:cubicBezTo>
                    <a:pt x="11648" y="19070"/>
                    <a:pt x="12022" y="19017"/>
                    <a:pt x="12374" y="18965"/>
                  </a:cubicBezTo>
                  <a:cubicBezTo>
                    <a:pt x="12377" y="18964"/>
                    <a:pt x="12382" y="18964"/>
                    <a:pt x="12387" y="18963"/>
                  </a:cubicBezTo>
                  <a:cubicBezTo>
                    <a:pt x="12443" y="18955"/>
                    <a:pt x="12501" y="18946"/>
                    <a:pt x="12557" y="18938"/>
                  </a:cubicBezTo>
                  <a:cubicBezTo>
                    <a:pt x="12661" y="18928"/>
                    <a:pt x="12759" y="18925"/>
                    <a:pt x="12854" y="18926"/>
                  </a:cubicBezTo>
                  <a:cubicBezTo>
                    <a:pt x="13295" y="18896"/>
                    <a:pt x="13772" y="18899"/>
                    <a:pt x="14279" y="18937"/>
                  </a:cubicBezTo>
                  <a:cubicBezTo>
                    <a:pt x="14406" y="18916"/>
                    <a:pt x="14539" y="18890"/>
                    <a:pt x="14686" y="18847"/>
                  </a:cubicBezTo>
                  <a:cubicBezTo>
                    <a:pt x="14454" y="18763"/>
                    <a:pt x="15240" y="17799"/>
                    <a:pt x="15588" y="16839"/>
                  </a:cubicBezTo>
                  <a:cubicBezTo>
                    <a:pt x="15912" y="15870"/>
                    <a:pt x="16277" y="14867"/>
                    <a:pt x="16325" y="14593"/>
                  </a:cubicBezTo>
                  <a:cubicBezTo>
                    <a:pt x="16391" y="14321"/>
                    <a:pt x="16604" y="13940"/>
                    <a:pt x="16800" y="13746"/>
                  </a:cubicBezTo>
                  <a:cubicBezTo>
                    <a:pt x="16998" y="13553"/>
                    <a:pt x="17287" y="13214"/>
                    <a:pt x="17403" y="12975"/>
                  </a:cubicBezTo>
                  <a:cubicBezTo>
                    <a:pt x="17517" y="12736"/>
                    <a:pt x="17779" y="12420"/>
                    <a:pt x="17943" y="12256"/>
                  </a:cubicBezTo>
                  <a:cubicBezTo>
                    <a:pt x="18110" y="12091"/>
                    <a:pt x="18335" y="11813"/>
                    <a:pt x="18413" y="11628"/>
                  </a:cubicBezTo>
                  <a:cubicBezTo>
                    <a:pt x="18512" y="11447"/>
                    <a:pt x="18677" y="11212"/>
                    <a:pt x="18776" y="11092"/>
                  </a:cubicBezTo>
                  <a:cubicBezTo>
                    <a:pt x="18892" y="10987"/>
                    <a:pt x="18972" y="10821"/>
                    <a:pt x="18972" y="10740"/>
                  </a:cubicBezTo>
                  <a:cubicBezTo>
                    <a:pt x="18990" y="10657"/>
                    <a:pt x="19235" y="10565"/>
                    <a:pt x="19562" y="10536"/>
                  </a:cubicBezTo>
                  <a:cubicBezTo>
                    <a:pt x="19888" y="10521"/>
                    <a:pt x="20256" y="10293"/>
                    <a:pt x="20341" y="10047"/>
                  </a:cubicBezTo>
                  <a:cubicBezTo>
                    <a:pt x="20441" y="9805"/>
                    <a:pt x="20552" y="9496"/>
                    <a:pt x="20552" y="9355"/>
                  </a:cubicBezTo>
                  <a:cubicBezTo>
                    <a:pt x="20567" y="9215"/>
                    <a:pt x="20770" y="8872"/>
                    <a:pt x="21012" y="8593"/>
                  </a:cubicBezTo>
                  <a:cubicBezTo>
                    <a:pt x="21263" y="8319"/>
                    <a:pt x="21485" y="7915"/>
                    <a:pt x="21534" y="7707"/>
                  </a:cubicBezTo>
                  <a:cubicBezTo>
                    <a:pt x="21567" y="7495"/>
                    <a:pt x="21585" y="7165"/>
                    <a:pt x="21537" y="6964"/>
                  </a:cubicBezTo>
                  <a:cubicBezTo>
                    <a:pt x="21472" y="6768"/>
                    <a:pt x="21354" y="6512"/>
                    <a:pt x="21232" y="6402"/>
                  </a:cubicBezTo>
                  <a:cubicBezTo>
                    <a:pt x="21110" y="6292"/>
                    <a:pt x="21092" y="6103"/>
                    <a:pt x="21174" y="5969"/>
                  </a:cubicBezTo>
                  <a:cubicBezTo>
                    <a:pt x="21269" y="5840"/>
                    <a:pt x="21268" y="5664"/>
                    <a:pt x="21160" y="5599"/>
                  </a:cubicBezTo>
                  <a:cubicBezTo>
                    <a:pt x="21067" y="5514"/>
                    <a:pt x="20875" y="5426"/>
                    <a:pt x="20755" y="5379"/>
                  </a:cubicBezTo>
                  <a:cubicBezTo>
                    <a:pt x="20632" y="5337"/>
                    <a:pt x="20467" y="5055"/>
                    <a:pt x="20370" y="4767"/>
                  </a:cubicBezTo>
                  <a:cubicBezTo>
                    <a:pt x="20274" y="4476"/>
                    <a:pt x="20061" y="4060"/>
                    <a:pt x="19845" y="3878"/>
                  </a:cubicBezTo>
                  <a:cubicBezTo>
                    <a:pt x="19658" y="3668"/>
                    <a:pt x="19497" y="3354"/>
                    <a:pt x="19513" y="3156"/>
                  </a:cubicBezTo>
                  <a:cubicBezTo>
                    <a:pt x="19528" y="2958"/>
                    <a:pt x="19506" y="2623"/>
                    <a:pt x="19461" y="2411"/>
                  </a:cubicBezTo>
                  <a:cubicBezTo>
                    <a:pt x="19392" y="2206"/>
                    <a:pt x="19278" y="2010"/>
                    <a:pt x="19150" y="1993"/>
                  </a:cubicBezTo>
                  <a:cubicBezTo>
                    <a:pt x="19026" y="1979"/>
                    <a:pt x="18938" y="1815"/>
                    <a:pt x="18983" y="1647"/>
                  </a:cubicBezTo>
                  <a:cubicBezTo>
                    <a:pt x="19030" y="1479"/>
                    <a:pt x="18972" y="1293"/>
                    <a:pt x="18886" y="1245"/>
                  </a:cubicBezTo>
                  <a:cubicBezTo>
                    <a:pt x="18788" y="1216"/>
                    <a:pt x="18714" y="945"/>
                    <a:pt x="18651" y="699"/>
                  </a:cubicBezTo>
                  <a:cubicBezTo>
                    <a:pt x="18602" y="449"/>
                    <a:pt x="18515" y="149"/>
                    <a:pt x="18425" y="49"/>
                  </a:cubicBezTo>
                  <a:cubicBezTo>
                    <a:pt x="18331" y="-50"/>
                    <a:pt x="18076" y="6"/>
                    <a:pt x="17823" y="176"/>
                  </a:cubicBezTo>
                  <a:cubicBezTo>
                    <a:pt x="17815" y="182"/>
                    <a:pt x="17807" y="187"/>
                    <a:pt x="17800" y="193"/>
                  </a:cubicBezTo>
                  <a:cubicBezTo>
                    <a:pt x="17560" y="367"/>
                    <a:pt x="17257" y="645"/>
                    <a:pt x="17137" y="814"/>
                  </a:cubicBezTo>
                  <a:cubicBezTo>
                    <a:pt x="17016" y="987"/>
                    <a:pt x="16731" y="1221"/>
                    <a:pt x="16513" y="1342"/>
                  </a:cubicBezTo>
                  <a:cubicBezTo>
                    <a:pt x="16296" y="1469"/>
                    <a:pt x="15935" y="1527"/>
                    <a:pt x="15722" y="1472"/>
                  </a:cubicBezTo>
                  <a:cubicBezTo>
                    <a:pt x="15508" y="1412"/>
                    <a:pt x="15046" y="1407"/>
                    <a:pt x="14705" y="1464"/>
                  </a:cubicBezTo>
                  <a:cubicBezTo>
                    <a:pt x="14360" y="1506"/>
                    <a:pt x="13899" y="1638"/>
                    <a:pt x="13677" y="1746"/>
                  </a:cubicBezTo>
                  <a:cubicBezTo>
                    <a:pt x="13462" y="1866"/>
                    <a:pt x="13147" y="1971"/>
                    <a:pt x="12989" y="1971"/>
                  </a:cubicBezTo>
                  <a:cubicBezTo>
                    <a:pt x="12831" y="1986"/>
                    <a:pt x="12644" y="2040"/>
                    <a:pt x="12559" y="2070"/>
                  </a:cubicBezTo>
                  <a:cubicBezTo>
                    <a:pt x="12488" y="2120"/>
                    <a:pt x="12323" y="2127"/>
                    <a:pt x="12202" y="2114"/>
                  </a:cubicBezTo>
                  <a:cubicBezTo>
                    <a:pt x="12082" y="2100"/>
                    <a:pt x="11890" y="2190"/>
                    <a:pt x="11750" y="2303"/>
                  </a:cubicBezTo>
                  <a:cubicBezTo>
                    <a:pt x="11610" y="2414"/>
                    <a:pt x="11489" y="2658"/>
                    <a:pt x="11489" y="2822"/>
                  </a:cubicBezTo>
                  <a:cubicBezTo>
                    <a:pt x="11473" y="2983"/>
                    <a:pt x="11373" y="3117"/>
                    <a:pt x="11261" y="3131"/>
                  </a:cubicBezTo>
                  <a:cubicBezTo>
                    <a:pt x="11149" y="3131"/>
                    <a:pt x="10878" y="3097"/>
                    <a:pt x="10660" y="3037"/>
                  </a:cubicBezTo>
                  <a:cubicBezTo>
                    <a:pt x="10441" y="2980"/>
                    <a:pt x="10280" y="2802"/>
                    <a:pt x="10251" y="2656"/>
                  </a:cubicBezTo>
                  <a:cubicBezTo>
                    <a:pt x="10234" y="2505"/>
                    <a:pt x="10098" y="2346"/>
                    <a:pt x="9921" y="2317"/>
                  </a:cubicBezTo>
                  <a:cubicBezTo>
                    <a:pt x="9748" y="2274"/>
                    <a:pt x="9478" y="2305"/>
                    <a:pt x="9324" y="2361"/>
                  </a:cubicBezTo>
                  <a:cubicBezTo>
                    <a:pt x="9168" y="2417"/>
                    <a:pt x="8835" y="2414"/>
                    <a:pt x="8595" y="2327"/>
                  </a:cubicBezTo>
                  <a:cubicBezTo>
                    <a:pt x="8349" y="2243"/>
                    <a:pt x="7995" y="2132"/>
                    <a:pt x="7810" y="2072"/>
                  </a:cubicBezTo>
                  <a:cubicBezTo>
                    <a:pt x="7634" y="1999"/>
                    <a:pt x="7380" y="2068"/>
                    <a:pt x="7238" y="2181"/>
                  </a:cubicBezTo>
                  <a:cubicBezTo>
                    <a:pt x="7099" y="2296"/>
                    <a:pt x="6990" y="2526"/>
                    <a:pt x="6962" y="2670"/>
                  </a:cubicBezTo>
                  <a:cubicBezTo>
                    <a:pt x="6962" y="2813"/>
                    <a:pt x="6945" y="3000"/>
                    <a:pt x="6994" y="3075"/>
                  </a:cubicBezTo>
                  <a:cubicBezTo>
                    <a:pt x="7044" y="3149"/>
                    <a:pt x="7062" y="3261"/>
                    <a:pt x="7029" y="3290"/>
                  </a:cubicBezTo>
                  <a:cubicBezTo>
                    <a:pt x="6994" y="3323"/>
                    <a:pt x="6939" y="3517"/>
                    <a:pt x="6876" y="3703"/>
                  </a:cubicBezTo>
                  <a:cubicBezTo>
                    <a:pt x="6808" y="3888"/>
                    <a:pt x="6667" y="4155"/>
                    <a:pt x="6559" y="4296"/>
                  </a:cubicBezTo>
                  <a:close/>
                  <a:moveTo>
                    <a:pt x="6559" y="42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2" name="AutoShape 793"/>
            <p:cNvSpPr>
              <a:spLocks/>
            </p:cNvSpPr>
            <p:nvPr/>
          </p:nvSpPr>
          <p:spPr bwMode="auto">
            <a:xfrm>
              <a:off x="8928100" y="5334000"/>
              <a:ext cx="6350" cy="7938"/>
            </a:xfrm>
            <a:custGeom>
              <a:avLst/>
              <a:gdLst/>
              <a:ahLst/>
              <a:cxnLst/>
              <a:rect l="0" t="0" r="r" b="b"/>
              <a:pathLst>
                <a:path w="21600" h="21600">
                  <a:moveTo>
                    <a:pt x="20886" y="568"/>
                  </a:moveTo>
                  <a:cubicBezTo>
                    <a:pt x="21124" y="367"/>
                    <a:pt x="21362" y="201"/>
                    <a:pt x="21600" y="0"/>
                  </a:cubicBezTo>
                  <a:cubicBezTo>
                    <a:pt x="21564" y="34"/>
                    <a:pt x="21530" y="68"/>
                    <a:pt x="21464" y="68"/>
                  </a:cubicBezTo>
                  <a:cubicBezTo>
                    <a:pt x="13096" y="5707"/>
                    <a:pt x="3776" y="15859"/>
                    <a:pt x="0" y="21600"/>
                  </a:cubicBezTo>
                  <a:cubicBezTo>
                    <a:pt x="3776" y="15859"/>
                    <a:pt x="13334" y="6473"/>
                    <a:pt x="20886" y="568"/>
                  </a:cubicBezTo>
                  <a:close/>
                  <a:moveTo>
                    <a:pt x="20886" y="5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3" name="AutoShape 794"/>
            <p:cNvSpPr>
              <a:spLocks/>
            </p:cNvSpPr>
            <p:nvPr/>
          </p:nvSpPr>
          <p:spPr bwMode="auto">
            <a:xfrm>
              <a:off x="8826500" y="5575300"/>
              <a:ext cx="3175" cy="0"/>
            </a:xfrm>
            <a:custGeom>
              <a:avLst/>
              <a:gdLst/>
              <a:ahLst/>
              <a:cxnLst/>
              <a:rect l="0" t="0" r="r" b="b"/>
              <a:pathLst>
                <a:path w="21600" h="21600">
                  <a:moveTo>
                    <a:pt x="0" y="21600"/>
                  </a:moveTo>
                  <a:cubicBezTo>
                    <a:pt x="6263" y="15110"/>
                    <a:pt x="13651" y="7589"/>
                    <a:pt x="21600" y="0"/>
                  </a:cubicBezTo>
                  <a:cubicBezTo>
                    <a:pt x="15096" y="5915"/>
                    <a:pt x="8105" y="12946"/>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4" name="AutoShape 795"/>
            <p:cNvSpPr>
              <a:spLocks/>
            </p:cNvSpPr>
            <p:nvPr/>
          </p:nvSpPr>
          <p:spPr bwMode="auto">
            <a:xfrm>
              <a:off x="8890000" y="5537200"/>
              <a:ext cx="9525" cy="25400"/>
            </a:xfrm>
            <a:custGeom>
              <a:avLst/>
              <a:gdLst/>
              <a:ahLst/>
              <a:cxnLst/>
              <a:rect l="0" t="0" r="r" b="b"/>
              <a:pathLst>
                <a:path w="17980" h="21600">
                  <a:moveTo>
                    <a:pt x="804" y="21600"/>
                  </a:moveTo>
                  <a:cubicBezTo>
                    <a:pt x="11376" y="12854"/>
                    <a:pt x="14708" y="4889"/>
                    <a:pt x="17980" y="0"/>
                  </a:cubicBezTo>
                  <a:cubicBezTo>
                    <a:pt x="11356" y="10325"/>
                    <a:pt x="-3620" y="20694"/>
                    <a:pt x="804" y="21600"/>
                  </a:cubicBezTo>
                  <a:close/>
                  <a:moveTo>
                    <a:pt x="804"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5" name="AutoShape 796"/>
            <p:cNvSpPr>
              <a:spLocks/>
            </p:cNvSpPr>
            <p:nvPr/>
          </p:nvSpPr>
          <p:spPr bwMode="auto">
            <a:xfrm>
              <a:off x="8077200" y="5029200"/>
              <a:ext cx="588963" cy="433388"/>
            </a:xfrm>
            <a:custGeom>
              <a:avLst/>
              <a:gdLst/>
              <a:ahLst/>
              <a:cxnLst/>
              <a:rect l="0" t="0" r="r" b="b"/>
              <a:pathLst>
                <a:path w="21594" h="21558">
                  <a:moveTo>
                    <a:pt x="14291" y="35"/>
                  </a:moveTo>
                  <a:cubicBezTo>
                    <a:pt x="14278" y="96"/>
                    <a:pt x="14156" y="206"/>
                    <a:pt x="14037" y="291"/>
                  </a:cubicBezTo>
                  <a:cubicBezTo>
                    <a:pt x="13916" y="369"/>
                    <a:pt x="13771" y="407"/>
                    <a:pt x="13719" y="354"/>
                  </a:cubicBezTo>
                  <a:cubicBezTo>
                    <a:pt x="13660" y="309"/>
                    <a:pt x="13526" y="267"/>
                    <a:pt x="13417" y="276"/>
                  </a:cubicBezTo>
                  <a:cubicBezTo>
                    <a:pt x="13307" y="276"/>
                    <a:pt x="13147" y="357"/>
                    <a:pt x="13061" y="445"/>
                  </a:cubicBezTo>
                  <a:cubicBezTo>
                    <a:pt x="12977" y="533"/>
                    <a:pt x="12812" y="689"/>
                    <a:pt x="12693" y="787"/>
                  </a:cubicBezTo>
                  <a:cubicBezTo>
                    <a:pt x="12574" y="886"/>
                    <a:pt x="12458" y="1045"/>
                    <a:pt x="12445" y="1136"/>
                  </a:cubicBezTo>
                  <a:cubicBezTo>
                    <a:pt x="12430" y="1227"/>
                    <a:pt x="12411" y="1373"/>
                    <a:pt x="12411" y="1462"/>
                  </a:cubicBezTo>
                  <a:cubicBezTo>
                    <a:pt x="12411" y="1550"/>
                    <a:pt x="12369" y="1648"/>
                    <a:pt x="12319" y="1687"/>
                  </a:cubicBezTo>
                  <a:cubicBezTo>
                    <a:pt x="12267" y="1728"/>
                    <a:pt x="12148" y="1911"/>
                    <a:pt x="12058" y="2107"/>
                  </a:cubicBezTo>
                  <a:cubicBezTo>
                    <a:pt x="11969" y="2301"/>
                    <a:pt x="11857" y="2468"/>
                    <a:pt x="11808" y="2477"/>
                  </a:cubicBezTo>
                  <a:cubicBezTo>
                    <a:pt x="11760" y="2493"/>
                    <a:pt x="11694" y="2464"/>
                    <a:pt x="11657" y="2439"/>
                  </a:cubicBezTo>
                  <a:cubicBezTo>
                    <a:pt x="11624" y="2404"/>
                    <a:pt x="11536" y="2476"/>
                    <a:pt x="11467" y="2587"/>
                  </a:cubicBezTo>
                  <a:cubicBezTo>
                    <a:pt x="11401" y="2703"/>
                    <a:pt x="11351" y="2876"/>
                    <a:pt x="11345" y="2978"/>
                  </a:cubicBezTo>
                  <a:cubicBezTo>
                    <a:pt x="11345" y="3078"/>
                    <a:pt x="11293" y="3218"/>
                    <a:pt x="11224" y="3284"/>
                  </a:cubicBezTo>
                  <a:cubicBezTo>
                    <a:pt x="11153" y="3345"/>
                    <a:pt x="11076" y="3500"/>
                    <a:pt x="11062" y="3615"/>
                  </a:cubicBezTo>
                  <a:cubicBezTo>
                    <a:pt x="11048" y="3732"/>
                    <a:pt x="11037" y="3903"/>
                    <a:pt x="11044" y="3999"/>
                  </a:cubicBezTo>
                  <a:cubicBezTo>
                    <a:pt x="11051" y="4095"/>
                    <a:pt x="11044" y="4250"/>
                    <a:pt x="11018" y="4346"/>
                  </a:cubicBezTo>
                  <a:cubicBezTo>
                    <a:pt x="10990" y="4442"/>
                    <a:pt x="10912" y="4575"/>
                    <a:pt x="10833" y="4635"/>
                  </a:cubicBezTo>
                  <a:cubicBezTo>
                    <a:pt x="10758" y="4699"/>
                    <a:pt x="10619" y="4829"/>
                    <a:pt x="10526" y="4928"/>
                  </a:cubicBezTo>
                  <a:cubicBezTo>
                    <a:pt x="10440" y="5034"/>
                    <a:pt x="10218" y="5148"/>
                    <a:pt x="10043" y="5185"/>
                  </a:cubicBezTo>
                  <a:cubicBezTo>
                    <a:pt x="9868" y="5233"/>
                    <a:pt x="9618" y="5283"/>
                    <a:pt x="9489" y="5318"/>
                  </a:cubicBezTo>
                  <a:cubicBezTo>
                    <a:pt x="9358" y="5345"/>
                    <a:pt x="9153" y="5359"/>
                    <a:pt x="9034" y="5342"/>
                  </a:cubicBezTo>
                  <a:cubicBezTo>
                    <a:pt x="8914" y="5315"/>
                    <a:pt x="8753" y="5278"/>
                    <a:pt x="8679" y="5233"/>
                  </a:cubicBezTo>
                  <a:cubicBezTo>
                    <a:pt x="8603" y="5196"/>
                    <a:pt x="8455" y="5176"/>
                    <a:pt x="8346" y="5204"/>
                  </a:cubicBezTo>
                  <a:cubicBezTo>
                    <a:pt x="8236" y="5222"/>
                    <a:pt x="8090" y="5227"/>
                    <a:pt x="8019" y="5209"/>
                  </a:cubicBezTo>
                  <a:cubicBezTo>
                    <a:pt x="7949" y="5183"/>
                    <a:pt x="7834" y="5214"/>
                    <a:pt x="7773" y="5279"/>
                  </a:cubicBezTo>
                  <a:cubicBezTo>
                    <a:pt x="7711" y="5344"/>
                    <a:pt x="7646" y="5480"/>
                    <a:pt x="7634" y="5589"/>
                  </a:cubicBezTo>
                  <a:cubicBezTo>
                    <a:pt x="7613" y="5694"/>
                    <a:pt x="7675" y="5894"/>
                    <a:pt x="7744" y="6035"/>
                  </a:cubicBezTo>
                  <a:cubicBezTo>
                    <a:pt x="7816" y="6172"/>
                    <a:pt x="7921" y="6288"/>
                    <a:pt x="7974" y="6278"/>
                  </a:cubicBezTo>
                  <a:cubicBezTo>
                    <a:pt x="8028" y="6278"/>
                    <a:pt x="8085" y="6345"/>
                    <a:pt x="8100" y="6432"/>
                  </a:cubicBezTo>
                  <a:cubicBezTo>
                    <a:pt x="8107" y="6523"/>
                    <a:pt x="8018" y="6710"/>
                    <a:pt x="7878" y="6837"/>
                  </a:cubicBezTo>
                  <a:cubicBezTo>
                    <a:pt x="7740" y="6976"/>
                    <a:pt x="7570" y="7168"/>
                    <a:pt x="7506" y="7273"/>
                  </a:cubicBezTo>
                  <a:cubicBezTo>
                    <a:pt x="7441" y="7380"/>
                    <a:pt x="7286" y="7467"/>
                    <a:pt x="7165" y="7477"/>
                  </a:cubicBezTo>
                  <a:cubicBezTo>
                    <a:pt x="7043" y="7477"/>
                    <a:pt x="6714" y="7576"/>
                    <a:pt x="6430" y="7678"/>
                  </a:cubicBezTo>
                  <a:cubicBezTo>
                    <a:pt x="6147" y="7778"/>
                    <a:pt x="5823" y="7977"/>
                    <a:pt x="5696" y="8086"/>
                  </a:cubicBezTo>
                  <a:cubicBezTo>
                    <a:pt x="5572" y="8201"/>
                    <a:pt x="5366" y="8376"/>
                    <a:pt x="5232" y="8458"/>
                  </a:cubicBezTo>
                  <a:cubicBezTo>
                    <a:pt x="5100" y="8547"/>
                    <a:pt x="4885" y="8718"/>
                    <a:pt x="4760" y="8852"/>
                  </a:cubicBezTo>
                  <a:cubicBezTo>
                    <a:pt x="4633" y="8986"/>
                    <a:pt x="4459" y="9121"/>
                    <a:pt x="4371" y="9139"/>
                  </a:cubicBezTo>
                  <a:cubicBezTo>
                    <a:pt x="4284" y="9157"/>
                    <a:pt x="4181" y="9137"/>
                    <a:pt x="4141" y="9082"/>
                  </a:cubicBezTo>
                  <a:cubicBezTo>
                    <a:pt x="4109" y="9018"/>
                    <a:pt x="4052" y="8855"/>
                    <a:pt x="4019" y="8704"/>
                  </a:cubicBezTo>
                  <a:cubicBezTo>
                    <a:pt x="3991" y="8552"/>
                    <a:pt x="3934" y="8371"/>
                    <a:pt x="3880" y="8317"/>
                  </a:cubicBezTo>
                  <a:cubicBezTo>
                    <a:pt x="3830" y="8259"/>
                    <a:pt x="3742" y="8268"/>
                    <a:pt x="3688" y="8351"/>
                  </a:cubicBezTo>
                  <a:cubicBezTo>
                    <a:pt x="3635" y="8432"/>
                    <a:pt x="3579" y="8599"/>
                    <a:pt x="3579" y="8727"/>
                  </a:cubicBezTo>
                  <a:cubicBezTo>
                    <a:pt x="3579" y="8854"/>
                    <a:pt x="3522" y="9087"/>
                    <a:pt x="3458" y="9243"/>
                  </a:cubicBezTo>
                  <a:cubicBezTo>
                    <a:pt x="3391" y="9397"/>
                    <a:pt x="3237" y="9531"/>
                    <a:pt x="3109" y="9550"/>
                  </a:cubicBezTo>
                  <a:cubicBezTo>
                    <a:pt x="2980" y="9559"/>
                    <a:pt x="2810" y="9590"/>
                    <a:pt x="2733" y="9628"/>
                  </a:cubicBezTo>
                  <a:cubicBezTo>
                    <a:pt x="2654" y="9657"/>
                    <a:pt x="2513" y="9679"/>
                    <a:pt x="2423" y="9689"/>
                  </a:cubicBezTo>
                  <a:cubicBezTo>
                    <a:pt x="2331" y="9689"/>
                    <a:pt x="2235" y="9589"/>
                    <a:pt x="2228" y="9453"/>
                  </a:cubicBezTo>
                  <a:cubicBezTo>
                    <a:pt x="2214" y="9321"/>
                    <a:pt x="2161" y="9149"/>
                    <a:pt x="2111" y="9071"/>
                  </a:cubicBezTo>
                  <a:cubicBezTo>
                    <a:pt x="2064" y="8991"/>
                    <a:pt x="2026" y="8968"/>
                    <a:pt x="2020" y="9010"/>
                  </a:cubicBezTo>
                  <a:cubicBezTo>
                    <a:pt x="2020" y="9053"/>
                    <a:pt x="1940" y="9224"/>
                    <a:pt x="1853" y="9405"/>
                  </a:cubicBezTo>
                  <a:cubicBezTo>
                    <a:pt x="1759" y="9578"/>
                    <a:pt x="1630" y="9762"/>
                    <a:pt x="1558" y="9797"/>
                  </a:cubicBezTo>
                  <a:cubicBezTo>
                    <a:pt x="1486" y="9829"/>
                    <a:pt x="1395" y="9986"/>
                    <a:pt x="1345" y="10121"/>
                  </a:cubicBezTo>
                  <a:cubicBezTo>
                    <a:pt x="1297" y="10260"/>
                    <a:pt x="1184" y="10562"/>
                    <a:pt x="1089" y="10793"/>
                  </a:cubicBezTo>
                  <a:cubicBezTo>
                    <a:pt x="999" y="11026"/>
                    <a:pt x="868" y="11348"/>
                    <a:pt x="814" y="11514"/>
                  </a:cubicBezTo>
                  <a:cubicBezTo>
                    <a:pt x="758" y="11681"/>
                    <a:pt x="635" y="11975"/>
                    <a:pt x="528" y="12156"/>
                  </a:cubicBezTo>
                  <a:cubicBezTo>
                    <a:pt x="426" y="12341"/>
                    <a:pt x="303" y="12526"/>
                    <a:pt x="248" y="12553"/>
                  </a:cubicBezTo>
                  <a:cubicBezTo>
                    <a:pt x="196" y="12588"/>
                    <a:pt x="117" y="12689"/>
                    <a:pt x="67" y="12776"/>
                  </a:cubicBezTo>
                  <a:cubicBezTo>
                    <a:pt x="19" y="12868"/>
                    <a:pt x="-6" y="13059"/>
                    <a:pt x="1" y="13199"/>
                  </a:cubicBezTo>
                  <a:cubicBezTo>
                    <a:pt x="14" y="13337"/>
                    <a:pt x="48" y="13593"/>
                    <a:pt x="82" y="13767"/>
                  </a:cubicBezTo>
                  <a:cubicBezTo>
                    <a:pt x="117" y="13940"/>
                    <a:pt x="118" y="14215"/>
                    <a:pt x="98" y="14380"/>
                  </a:cubicBezTo>
                  <a:cubicBezTo>
                    <a:pt x="78" y="14543"/>
                    <a:pt x="82" y="14814"/>
                    <a:pt x="114" y="14984"/>
                  </a:cubicBezTo>
                  <a:cubicBezTo>
                    <a:pt x="149" y="15153"/>
                    <a:pt x="185" y="15411"/>
                    <a:pt x="191" y="15557"/>
                  </a:cubicBezTo>
                  <a:cubicBezTo>
                    <a:pt x="198" y="15703"/>
                    <a:pt x="197" y="16038"/>
                    <a:pt x="190" y="16307"/>
                  </a:cubicBezTo>
                  <a:cubicBezTo>
                    <a:pt x="183" y="16573"/>
                    <a:pt x="212" y="16828"/>
                    <a:pt x="257" y="16871"/>
                  </a:cubicBezTo>
                  <a:cubicBezTo>
                    <a:pt x="304" y="16911"/>
                    <a:pt x="449" y="17023"/>
                    <a:pt x="585" y="17106"/>
                  </a:cubicBezTo>
                  <a:cubicBezTo>
                    <a:pt x="722" y="17184"/>
                    <a:pt x="889" y="17360"/>
                    <a:pt x="962" y="17485"/>
                  </a:cubicBezTo>
                  <a:cubicBezTo>
                    <a:pt x="1030" y="17614"/>
                    <a:pt x="1125" y="17822"/>
                    <a:pt x="1139" y="17962"/>
                  </a:cubicBezTo>
                  <a:cubicBezTo>
                    <a:pt x="1159" y="18100"/>
                    <a:pt x="1276" y="18397"/>
                    <a:pt x="1384" y="18626"/>
                  </a:cubicBezTo>
                  <a:cubicBezTo>
                    <a:pt x="1487" y="18860"/>
                    <a:pt x="1631" y="19198"/>
                    <a:pt x="1700" y="19385"/>
                  </a:cubicBezTo>
                  <a:cubicBezTo>
                    <a:pt x="1768" y="19569"/>
                    <a:pt x="1856" y="19791"/>
                    <a:pt x="1916" y="19855"/>
                  </a:cubicBezTo>
                  <a:cubicBezTo>
                    <a:pt x="1976" y="19918"/>
                    <a:pt x="2131" y="20115"/>
                    <a:pt x="2280" y="20259"/>
                  </a:cubicBezTo>
                  <a:cubicBezTo>
                    <a:pt x="2425" y="20408"/>
                    <a:pt x="2554" y="20637"/>
                    <a:pt x="2561" y="20768"/>
                  </a:cubicBezTo>
                  <a:cubicBezTo>
                    <a:pt x="2567" y="20899"/>
                    <a:pt x="2573" y="21089"/>
                    <a:pt x="2566" y="21192"/>
                  </a:cubicBezTo>
                  <a:cubicBezTo>
                    <a:pt x="2566" y="21296"/>
                    <a:pt x="2572" y="21415"/>
                    <a:pt x="2591" y="21456"/>
                  </a:cubicBezTo>
                  <a:cubicBezTo>
                    <a:pt x="2611" y="21497"/>
                    <a:pt x="2635" y="21544"/>
                    <a:pt x="2645" y="21557"/>
                  </a:cubicBezTo>
                  <a:cubicBezTo>
                    <a:pt x="2651" y="21575"/>
                    <a:pt x="2854" y="21178"/>
                    <a:pt x="3078" y="20680"/>
                  </a:cubicBezTo>
                  <a:cubicBezTo>
                    <a:pt x="3305" y="20183"/>
                    <a:pt x="3593" y="19639"/>
                    <a:pt x="3719" y="19478"/>
                  </a:cubicBezTo>
                  <a:cubicBezTo>
                    <a:pt x="3847" y="19323"/>
                    <a:pt x="4010" y="19151"/>
                    <a:pt x="4093" y="19126"/>
                  </a:cubicBezTo>
                  <a:cubicBezTo>
                    <a:pt x="4177" y="19108"/>
                    <a:pt x="4279" y="19015"/>
                    <a:pt x="4317" y="18941"/>
                  </a:cubicBezTo>
                  <a:cubicBezTo>
                    <a:pt x="4357" y="18869"/>
                    <a:pt x="4563" y="18716"/>
                    <a:pt x="4765" y="18584"/>
                  </a:cubicBezTo>
                  <a:cubicBezTo>
                    <a:pt x="4966" y="18448"/>
                    <a:pt x="5199" y="18354"/>
                    <a:pt x="5272" y="18363"/>
                  </a:cubicBezTo>
                  <a:cubicBezTo>
                    <a:pt x="5347" y="18363"/>
                    <a:pt x="5447" y="18324"/>
                    <a:pt x="5501" y="18278"/>
                  </a:cubicBezTo>
                  <a:cubicBezTo>
                    <a:pt x="5549" y="18222"/>
                    <a:pt x="5657" y="18188"/>
                    <a:pt x="5733" y="18178"/>
                  </a:cubicBezTo>
                  <a:cubicBezTo>
                    <a:pt x="5809" y="18167"/>
                    <a:pt x="5924" y="18161"/>
                    <a:pt x="5987" y="18161"/>
                  </a:cubicBezTo>
                  <a:cubicBezTo>
                    <a:pt x="6049" y="18161"/>
                    <a:pt x="6121" y="18200"/>
                    <a:pt x="6155" y="18245"/>
                  </a:cubicBezTo>
                  <a:cubicBezTo>
                    <a:pt x="6186" y="18296"/>
                    <a:pt x="6277" y="18387"/>
                    <a:pt x="6361" y="18448"/>
                  </a:cubicBezTo>
                  <a:cubicBezTo>
                    <a:pt x="6441" y="18512"/>
                    <a:pt x="6546" y="18522"/>
                    <a:pt x="6594" y="18506"/>
                  </a:cubicBezTo>
                  <a:cubicBezTo>
                    <a:pt x="6642" y="18484"/>
                    <a:pt x="6724" y="18433"/>
                    <a:pt x="6778" y="18411"/>
                  </a:cubicBezTo>
                  <a:cubicBezTo>
                    <a:pt x="6834" y="18386"/>
                    <a:pt x="6897" y="18284"/>
                    <a:pt x="6897" y="18177"/>
                  </a:cubicBezTo>
                  <a:cubicBezTo>
                    <a:pt x="6904" y="18071"/>
                    <a:pt x="6936" y="17909"/>
                    <a:pt x="6962" y="17813"/>
                  </a:cubicBezTo>
                  <a:cubicBezTo>
                    <a:pt x="6992" y="17721"/>
                    <a:pt x="7039" y="17597"/>
                    <a:pt x="7068" y="17537"/>
                  </a:cubicBezTo>
                  <a:cubicBezTo>
                    <a:pt x="7104" y="17480"/>
                    <a:pt x="7070" y="17324"/>
                    <a:pt x="7001" y="17192"/>
                  </a:cubicBezTo>
                  <a:cubicBezTo>
                    <a:pt x="6937" y="17057"/>
                    <a:pt x="6873" y="16892"/>
                    <a:pt x="6881" y="16818"/>
                  </a:cubicBezTo>
                  <a:cubicBezTo>
                    <a:pt x="6881" y="16743"/>
                    <a:pt x="6937" y="16664"/>
                    <a:pt x="7002" y="16664"/>
                  </a:cubicBezTo>
                  <a:cubicBezTo>
                    <a:pt x="7067" y="16664"/>
                    <a:pt x="7155" y="16614"/>
                    <a:pt x="7188" y="16559"/>
                  </a:cubicBezTo>
                  <a:cubicBezTo>
                    <a:pt x="7226" y="16508"/>
                    <a:pt x="7263" y="16412"/>
                    <a:pt x="7263" y="16341"/>
                  </a:cubicBezTo>
                  <a:cubicBezTo>
                    <a:pt x="7263" y="16271"/>
                    <a:pt x="7300" y="16141"/>
                    <a:pt x="7352" y="16071"/>
                  </a:cubicBezTo>
                  <a:cubicBezTo>
                    <a:pt x="7399" y="15997"/>
                    <a:pt x="7446" y="15856"/>
                    <a:pt x="7459" y="15767"/>
                  </a:cubicBezTo>
                  <a:cubicBezTo>
                    <a:pt x="7473" y="15678"/>
                    <a:pt x="7510" y="15565"/>
                    <a:pt x="7547" y="15523"/>
                  </a:cubicBezTo>
                  <a:cubicBezTo>
                    <a:pt x="7585" y="15482"/>
                    <a:pt x="7658" y="15435"/>
                    <a:pt x="7714" y="15435"/>
                  </a:cubicBezTo>
                  <a:cubicBezTo>
                    <a:pt x="7772" y="15435"/>
                    <a:pt x="7877" y="15350"/>
                    <a:pt x="7945" y="15250"/>
                  </a:cubicBezTo>
                  <a:cubicBezTo>
                    <a:pt x="8013" y="15149"/>
                    <a:pt x="8139" y="15070"/>
                    <a:pt x="8218" y="15088"/>
                  </a:cubicBezTo>
                  <a:cubicBezTo>
                    <a:pt x="8297" y="15096"/>
                    <a:pt x="8379" y="15053"/>
                    <a:pt x="8392" y="14991"/>
                  </a:cubicBezTo>
                  <a:cubicBezTo>
                    <a:pt x="8404" y="14927"/>
                    <a:pt x="8457" y="14872"/>
                    <a:pt x="8505" y="14872"/>
                  </a:cubicBezTo>
                  <a:cubicBezTo>
                    <a:pt x="8552" y="14863"/>
                    <a:pt x="8643" y="14929"/>
                    <a:pt x="8712" y="14995"/>
                  </a:cubicBezTo>
                  <a:cubicBezTo>
                    <a:pt x="8784" y="15057"/>
                    <a:pt x="8879" y="15125"/>
                    <a:pt x="8930" y="15134"/>
                  </a:cubicBezTo>
                  <a:cubicBezTo>
                    <a:pt x="8982" y="15154"/>
                    <a:pt x="9130" y="15269"/>
                    <a:pt x="9260" y="15418"/>
                  </a:cubicBezTo>
                  <a:cubicBezTo>
                    <a:pt x="9392" y="15559"/>
                    <a:pt x="9546" y="15724"/>
                    <a:pt x="9615" y="15749"/>
                  </a:cubicBezTo>
                  <a:cubicBezTo>
                    <a:pt x="9684" y="15778"/>
                    <a:pt x="9840" y="15912"/>
                    <a:pt x="9953" y="16055"/>
                  </a:cubicBezTo>
                  <a:cubicBezTo>
                    <a:pt x="10068" y="16194"/>
                    <a:pt x="10186" y="16333"/>
                    <a:pt x="10211" y="16367"/>
                  </a:cubicBezTo>
                  <a:cubicBezTo>
                    <a:pt x="10237" y="16402"/>
                    <a:pt x="10341" y="16412"/>
                    <a:pt x="10444" y="16403"/>
                  </a:cubicBezTo>
                  <a:cubicBezTo>
                    <a:pt x="10547" y="16386"/>
                    <a:pt x="10700" y="16440"/>
                    <a:pt x="10794" y="16495"/>
                  </a:cubicBezTo>
                  <a:cubicBezTo>
                    <a:pt x="10884" y="16560"/>
                    <a:pt x="11049" y="16611"/>
                    <a:pt x="11161" y="16621"/>
                  </a:cubicBezTo>
                  <a:cubicBezTo>
                    <a:pt x="11272" y="16630"/>
                    <a:pt x="11416" y="16623"/>
                    <a:pt x="11477" y="16644"/>
                  </a:cubicBezTo>
                  <a:cubicBezTo>
                    <a:pt x="11539" y="16653"/>
                    <a:pt x="11636" y="16624"/>
                    <a:pt x="11697" y="16588"/>
                  </a:cubicBezTo>
                  <a:cubicBezTo>
                    <a:pt x="11757" y="16552"/>
                    <a:pt x="11852" y="16509"/>
                    <a:pt x="11912" y="16509"/>
                  </a:cubicBezTo>
                  <a:cubicBezTo>
                    <a:pt x="11970" y="16499"/>
                    <a:pt x="12086" y="16532"/>
                    <a:pt x="12165" y="16576"/>
                  </a:cubicBezTo>
                  <a:cubicBezTo>
                    <a:pt x="12246" y="16613"/>
                    <a:pt x="12399" y="16655"/>
                    <a:pt x="12506" y="16685"/>
                  </a:cubicBezTo>
                  <a:cubicBezTo>
                    <a:pt x="12612" y="16711"/>
                    <a:pt x="12731" y="16759"/>
                    <a:pt x="12774" y="16783"/>
                  </a:cubicBezTo>
                  <a:cubicBezTo>
                    <a:pt x="12815" y="16815"/>
                    <a:pt x="12938" y="16810"/>
                    <a:pt x="13044" y="16765"/>
                  </a:cubicBezTo>
                  <a:cubicBezTo>
                    <a:pt x="13151" y="16720"/>
                    <a:pt x="13260" y="16651"/>
                    <a:pt x="13273" y="16596"/>
                  </a:cubicBezTo>
                  <a:cubicBezTo>
                    <a:pt x="13290" y="16543"/>
                    <a:pt x="13273" y="16453"/>
                    <a:pt x="13225" y="16406"/>
                  </a:cubicBezTo>
                  <a:cubicBezTo>
                    <a:pt x="13177" y="16359"/>
                    <a:pt x="13148" y="16250"/>
                    <a:pt x="13133" y="16180"/>
                  </a:cubicBezTo>
                  <a:cubicBezTo>
                    <a:pt x="13127" y="16110"/>
                    <a:pt x="13184" y="15957"/>
                    <a:pt x="13263" y="15850"/>
                  </a:cubicBezTo>
                  <a:cubicBezTo>
                    <a:pt x="13338" y="15739"/>
                    <a:pt x="13455" y="15549"/>
                    <a:pt x="13524" y="15429"/>
                  </a:cubicBezTo>
                  <a:cubicBezTo>
                    <a:pt x="13589" y="15302"/>
                    <a:pt x="13723" y="15207"/>
                    <a:pt x="13814" y="15198"/>
                  </a:cubicBezTo>
                  <a:cubicBezTo>
                    <a:pt x="13904" y="15198"/>
                    <a:pt x="14049" y="15197"/>
                    <a:pt x="14132" y="15224"/>
                  </a:cubicBezTo>
                  <a:cubicBezTo>
                    <a:pt x="14214" y="15253"/>
                    <a:pt x="14329" y="15315"/>
                    <a:pt x="14369" y="15397"/>
                  </a:cubicBezTo>
                  <a:cubicBezTo>
                    <a:pt x="14410" y="15480"/>
                    <a:pt x="14505" y="15502"/>
                    <a:pt x="14564" y="15462"/>
                  </a:cubicBezTo>
                  <a:cubicBezTo>
                    <a:pt x="14624" y="15422"/>
                    <a:pt x="14831" y="15349"/>
                    <a:pt x="15025" y="15304"/>
                  </a:cubicBezTo>
                  <a:cubicBezTo>
                    <a:pt x="15220" y="15260"/>
                    <a:pt x="15410" y="15167"/>
                    <a:pt x="15443" y="15103"/>
                  </a:cubicBezTo>
                  <a:cubicBezTo>
                    <a:pt x="15480" y="15037"/>
                    <a:pt x="15567" y="14949"/>
                    <a:pt x="15639" y="14905"/>
                  </a:cubicBezTo>
                  <a:cubicBezTo>
                    <a:pt x="15712" y="14869"/>
                    <a:pt x="15923" y="14719"/>
                    <a:pt x="16113" y="14585"/>
                  </a:cubicBezTo>
                  <a:cubicBezTo>
                    <a:pt x="16302" y="14453"/>
                    <a:pt x="16507" y="14362"/>
                    <a:pt x="16565" y="14352"/>
                  </a:cubicBezTo>
                  <a:cubicBezTo>
                    <a:pt x="16624" y="14352"/>
                    <a:pt x="16674" y="14395"/>
                    <a:pt x="16687" y="14438"/>
                  </a:cubicBezTo>
                  <a:cubicBezTo>
                    <a:pt x="16687" y="14485"/>
                    <a:pt x="16727" y="14526"/>
                    <a:pt x="16758" y="14534"/>
                  </a:cubicBezTo>
                  <a:cubicBezTo>
                    <a:pt x="16788" y="14550"/>
                    <a:pt x="16824" y="14610"/>
                    <a:pt x="16846" y="14678"/>
                  </a:cubicBezTo>
                  <a:cubicBezTo>
                    <a:pt x="16868" y="14747"/>
                    <a:pt x="16907" y="14819"/>
                    <a:pt x="16944" y="14809"/>
                  </a:cubicBezTo>
                  <a:cubicBezTo>
                    <a:pt x="16984" y="14809"/>
                    <a:pt x="17059" y="14753"/>
                    <a:pt x="17118" y="14699"/>
                  </a:cubicBezTo>
                  <a:cubicBezTo>
                    <a:pt x="17178" y="14645"/>
                    <a:pt x="17309" y="14571"/>
                    <a:pt x="17416" y="14561"/>
                  </a:cubicBezTo>
                  <a:cubicBezTo>
                    <a:pt x="17524" y="14552"/>
                    <a:pt x="17664" y="14520"/>
                    <a:pt x="17723" y="14490"/>
                  </a:cubicBezTo>
                  <a:cubicBezTo>
                    <a:pt x="17784" y="14472"/>
                    <a:pt x="17875" y="14435"/>
                    <a:pt x="17927" y="14435"/>
                  </a:cubicBezTo>
                  <a:cubicBezTo>
                    <a:pt x="17977" y="14425"/>
                    <a:pt x="18064" y="14312"/>
                    <a:pt x="18133" y="14191"/>
                  </a:cubicBezTo>
                  <a:cubicBezTo>
                    <a:pt x="18192" y="14060"/>
                    <a:pt x="18236" y="13920"/>
                    <a:pt x="18215" y="13881"/>
                  </a:cubicBezTo>
                  <a:cubicBezTo>
                    <a:pt x="18195" y="13843"/>
                    <a:pt x="18189" y="13764"/>
                    <a:pt x="18196" y="13715"/>
                  </a:cubicBezTo>
                  <a:cubicBezTo>
                    <a:pt x="18196" y="13664"/>
                    <a:pt x="18265" y="13620"/>
                    <a:pt x="18330" y="13603"/>
                  </a:cubicBezTo>
                  <a:cubicBezTo>
                    <a:pt x="18397" y="13594"/>
                    <a:pt x="18480" y="13630"/>
                    <a:pt x="18524" y="13680"/>
                  </a:cubicBezTo>
                  <a:cubicBezTo>
                    <a:pt x="18563" y="13733"/>
                    <a:pt x="18669" y="13794"/>
                    <a:pt x="18763" y="13803"/>
                  </a:cubicBezTo>
                  <a:cubicBezTo>
                    <a:pt x="18856" y="13812"/>
                    <a:pt x="18975" y="13825"/>
                    <a:pt x="19024" y="13806"/>
                  </a:cubicBezTo>
                  <a:cubicBezTo>
                    <a:pt x="19075" y="13796"/>
                    <a:pt x="19150" y="13814"/>
                    <a:pt x="19192" y="13842"/>
                  </a:cubicBezTo>
                  <a:cubicBezTo>
                    <a:pt x="19233" y="13874"/>
                    <a:pt x="19320" y="13902"/>
                    <a:pt x="19383" y="13920"/>
                  </a:cubicBezTo>
                  <a:cubicBezTo>
                    <a:pt x="19447" y="13928"/>
                    <a:pt x="19552" y="13975"/>
                    <a:pt x="19607" y="14039"/>
                  </a:cubicBezTo>
                  <a:cubicBezTo>
                    <a:pt x="19660" y="14102"/>
                    <a:pt x="19847" y="14126"/>
                    <a:pt x="20012" y="14116"/>
                  </a:cubicBezTo>
                  <a:cubicBezTo>
                    <a:pt x="20174" y="14097"/>
                    <a:pt x="20333" y="14103"/>
                    <a:pt x="20352" y="14129"/>
                  </a:cubicBezTo>
                  <a:cubicBezTo>
                    <a:pt x="20380" y="14138"/>
                    <a:pt x="20506" y="14070"/>
                    <a:pt x="20649" y="13978"/>
                  </a:cubicBezTo>
                  <a:cubicBezTo>
                    <a:pt x="20791" y="13882"/>
                    <a:pt x="20982" y="13793"/>
                    <a:pt x="21078" y="13803"/>
                  </a:cubicBezTo>
                  <a:cubicBezTo>
                    <a:pt x="21177" y="13811"/>
                    <a:pt x="21321" y="13860"/>
                    <a:pt x="21396" y="13925"/>
                  </a:cubicBezTo>
                  <a:cubicBezTo>
                    <a:pt x="21445" y="13958"/>
                    <a:pt x="21490" y="13992"/>
                    <a:pt x="21523" y="14017"/>
                  </a:cubicBezTo>
                  <a:cubicBezTo>
                    <a:pt x="21542" y="14031"/>
                    <a:pt x="21558" y="14043"/>
                    <a:pt x="21570" y="14051"/>
                  </a:cubicBezTo>
                  <a:cubicBezTo>
                    <a:pt x="21582" y="14052"/>
                    <a:pt x="21594" y="14038"/>
                    <a:pt x="21594" y="14017"/>
                  </a:cubicBezTo>
                  <a:cubicBezTo>
                    <a:pt x="21594" y="13990"/>
                    <a:pt x="21578" y="13907"/>
                    <a:pt x="21543" y="13841"/>
                  </a:cubicBezTo>
                  <a:cubicBezTo>
                    <a:pt x="21513" y="13770"/>
                    <a:pt x="21422" y="13663"/>
                    <a:pt x="21348" y="13590"/>
                  </a:cubicBezTo>
                  <a:cubicBezTo>
                    <a:pt x="21271" y="13524"/>
                    <a:pt x="21170" y="13430"/>
                    <a:pt x="21126" y="13381"/>
                  </a:cubicBezTo>
                  <a:cubicBezTo>
                    <a:pt x="21081" y="13331"/>
                    <a:pt x="21036" y="13134"/>
                    <a:pt x="21029" y="12940"/>
                  </a:cubicBezTo>
                  <a:cubicBezTo>
                    <a:pt x="21022" y="12746"/>
                    <a:pt x="21031" y="12537"/>
                    <a:pt x="21043" y="12471"/>
                  </a:cubicBezTo>
                  <a:cubicBezTo>
                    <a:pt x="21058" y="12410"/>
                    <a:pt x="21016" y="12302"/>
                    <a:pt x="20955" y="12228"/>
                  </a:cubicBezTo>
                  <a:cubicBezTo>
                    <a:pt x="20890" y="12159"/>
                    <a:pt x="20723" y="12059"/>
                    <a:pt x="20579" y="12022"/>
                  </a:cubicBezTo>
                  <a:cubicBezTo>
                    <a:pt x="20435" y="11985"/>
                    <a:pt x="20289" y="11896"/>
                    <a:pt x="20252" y="11838"/>
                  </a:cubicBezTo>
                  <a:cubicBezTo>
                    <a:pt x="20221" y="11774"/>
                    <a:pt x="20196" y="11630"/>
                    <a:pt x="20203" y="11506"/>
                  </a:cubicBezTo>
                  <a:cubicBezTo>
                    <a:pt x="20203" y="11382"/>
                    <a:pt x="20193" y="11246"/>
                    <a:pt x="20181" y="11193"/>
                  </a:cubicBezTo>
                  <a:cubicBezTo>
                    <a:pt x="20160" y="11146"/>
                    <a:pt x="20069" y="11082"/>
                    <a:pt x="19982" y="11045"/>
                  </a:cubicBezTo>
                  <a:cubicBezTo>
                    <a:pt x="19893" y="11011"/>
                    <a:pt x="19787" y="10933"/>
                    <a:pt x="19746" y="10868"/>
                  </a:cubicBezTo>
                  <a:cubicBezTo>
                    <a:pt x="19705" y="10804"/>
                    <a:pt x="19682" y="10597"/>
                    <a:pt x="19675" y="10411"/>
                  </a:cubicBezTo>
                  <a:cubicBezTo>
                    <a:pt x="19675" y="10225"/>
                    <a:pt x="19651" y="10009"/>
                    <a:pt x="19621" y="9930"/>
                  </a:cubicBezTo>
                  <a:cubicBezTo>
                    <a:pt x="19589" y="9852"/>
                    <a:pt x="19457" y="9685"/>
                    <a:pt x="19312" y="9587"/>
                  </a:cubicBezTo>
                  <a:cubicBezTo>
                    <a:pt x="19172" y="9479"/>
                    <a:pt x="19033" y="9394"/>
                    <a:pt x="19001" y="9400"/>
                  </a:cubicBezTo>
                  <a:cubicBezTo>
                    <a:pt x="18969" y="9410"/>
                    <a:pt x="18887" y="9373"/>
                    <a:pt x="18816" y="9329"/>
                  </a:cubicBezTo>
                  <a:cubicBezTo>
                    <a:pt x="18747" y="9277"/>
                    <a:pt x="18657" y="9259"/>
                    <a:pt x="18624" y="9293"/>
                  </a:cubicBezTo>
                  <a:cubicBezTo>
                    <a:pt x="18588" y="9317"/>
                    <a:pt x="18498" y="9324"/>
                    <a:pt x="18423" y="9297"/>
                  </a:cubicBezTo>
                  <a:cubicBezTo>
                    <a:pt x="18348" y="9271"/>
                    <a:pt x="18221" y="9158"/>
                    <a:pt x="18134" y="9058"/>
                  </a:cubicBezTo>
                  <a:cubicBezTo>
                    <a:pt x="18047" y="8958"/>
                    <a:pt x="18012" y="8815"/>
                    <a:pt x="18049" y="8757"/>
                  </a:cubicBezTo>
                  <a:cubicBezTo>
                    <a:pt x="18081" y="8694"/>
                    <a:pt x="18125" y="8605"/>
                    <a:pt x="18138" y="8550"/>
                  </a:cubicBezTo>
                  <a:cubicBezTo>
                    <a:pt x="18151" y="8498"/>
                    <a:pt x="18210" y="8394"/>
                    <a:pt x="18271" y="8322"/>
                  </a:cubicBezTo>
                  <a:cubicBezTo>
                    <a:pt x="18331" y="8248"/>
                    <a:pt x="18392" y="8107"/>
                    <a:pt x="18419" y="8015"/>
                  </a:cubicBezTo>
                  <a:cubicBezTo>
                    <a:pt x="18446" y="7922"/>
                    <a:pt x="18434" y="7787"/>
                    <a:pt x="18399" y="7720"/>
                  </a:cubicBezTo>
                  <a:cubicBezTo>
                    <a:pt x="18365" y="7655"/>
                    <a:pt x="18276" y="7603"/>
                    <a:pt x="18202" y="7594"/>
                  </a:cubicBezTo>
                  <a:cubicBezTo>
                    <a:pt x="18128" y="7594"/>
                    <a:pt x="17999" y="7536"/>
                    <a:pt x="17912" y="7481"/>
                  </a:cubicBezTo>
                  <a:cubicBezTo>
                    <a:pt x="17823" y="7438"/>
                    <a:pt x="17742" y="7307"/>
                    <a:pt x="17721" y="7221"/>
                  </a:cubicBezTo>
                  <a:cubicBezTo>
                    <a:pt x="17699" y="7135"/>
                    <a:pt x="17632" y="7011"/>
                    <a:pt x="17561" y="6964"/>
                  </a:cubicBezTo>
                  <a:cubicBezTo>
                    <a:pt x="17498" y="6904"/>
                    <a:pt x="17379" y="6872"/>
                    <a:pt x="17305" y="6862"/>
                  </a:cubicBezTo>
                  <a:cubicBezTo>
                    <a:pt x="17230" y="6862"/>
                    <a:pt x="17087" y="6811"/>
                    <a:pt x="16988" y="6757"/>
                  </a:cubicBezTo>
                  <a:cubicBezTo>
                    <a:pt x="16888" y="6707"/>
                    <a:pt x="16749" y="6582"/>
                    <a:pt x="16673" y="6504"/>
                  </a:cubicBezTo>
                  <a:cubicBezTo>
                    <a:pt x="16594" y="6427"/>
                    <a:pt x="16528" y="6256"/>
                    <a:pt x="16521" y="6136"/>
                  </a:cubicBezTo>
                  <a:cubicBezTo>
                    <a:pt x="16514" y="6016"/>
                    <a:pt x="16532" y="5844"/>
                    <a:pt x="16569" y="5755"/>
                  </a:cubicBezTo>
                  <a:cubicBezTo>
                    <a:pt x="16602" y="5665"/>
                    <a:pt x="16598" y="5551"/>
                    <a:pt x="16556" y="5505"/>
                  </a:cubicBezTo>
                  <a:cubicBezTo>
                    <a:pt x="16512" y="5462"/>
                    <a:pt x="16370" y="5421"/>
                    <a:pt x="16234" y="5421"/>
                  </a:cubicBezTo>
                  <a:cubicBezTo>
                    <a:pt x="16098" y="5421"/>
                    <a:pt x="15958" y="5480"/>
                    <a:pt x="15925" y="5543"/>
                  </a:cubicBezTo>
                  <a:cubicBezTo>
                    <a:pt x="15883" y="5601"/>
                    <a:pt x="15768" y="5661"/>
                    <a:pt x="15653" y="5670"/>
                  </a:cubicBezTo>
                  <a:cubicBezTo>
                    <a:pt x="15537" y="5670"/>
                    <a:pt x="15392" y="5619"/>
                    <a:pt x="15334" y="5540"/>
                  </a:cubicBezTo>
                  <a:cubicBezTo>
                    <a:pt x="15276" y="5462"/>
                    <a:pt x="15222" y="5239"/>
                    <a:pt x="15229" y="5041"/>
                  </a:cubicBezTo>
                  <a:cubicBezTo>
                    <a:pt x="15229" y="4842"/>
                    <a:pt x="15256" y="4571"/>
                    <a:pt x="15293" y="4445"/>
                  </a:cubicBezTo>
                  <a:cubicBezTo>
                    <a:pt x="15333" y="4319"/>
                    <a:pt x="15381" y="4159"/>
                    <a:pt x="15414" y="4097"/>
                  </a:cubicBezTo>
                  <a:cubicBezTo>
                    <a:pt x="15450" y="4041"/>
                    <a:pt x="15491" y="3869"/>
                    <a:pt x="15519" y="3729"/>
                  </a:cubicBezTo>
                  <a:cubicBezTo>
                    <a:pt x="15546" y="3589"/>
                    <a:pt x="15539" y="3396"/>
                    <a:pt x="15513" y="3298"/>
                  </a:cubicBezTo>
                  <a:cubicBezTo>
                    <a:pt x="15481" y="3202"/>
                    <a:pt x="15405" y="2914"/>
                    <a:pt x="15329" y="2662"/>
                  </a:cubicBezTo>
                  <a:cubicBezTo>
                    <a:pt x="15250" y="2412"/>
                    <a:pt x="15106" y="2015"/>
                    <a:pt x="14994" y="1784"/>
                  </a:cubicBezTo>
                  <a:cubicBezTo>
                    <a:pt x="14881" y="1554"/>
                    <a:pt x="14771" y="1314"/>
                    <a:pt x="14759" y="1247"/>
                  </a:cubicBezTo>
                  <a:cubicBezTo>
                    <a:pt x="14751" y="1178"/>
                    <a:pt x="14654" y="1035"/>
                    <a:pt x="14562" y="920"/>
                  </a:cubicBezTo>
                  <a:cubicBezTo>
                    <a:pt x="14470" y="806"/>
                    <a:pt x="14418" y="680"/>
                    <a:pt x="14438" y="626"/>
                  </a:cubicBezTo>
                  <a:cubicBezTo>
                    <a:pt x="14462" y="577"/>
                    <a:pt x="14480" y="463"/>
                    <a:pt x="14488" y="373"/>
                  </a:cubicBezTo>
                  <a:cubicBezTo>
                    <a:pt x="14488" y="285"/>
                    <a:pt x="14454" y="149"/>
                    <a:pt x="14408" y="69"/>
                  </a:cubicBezTo>
                  <a:cubicBezTo>
                    <a:pt x="14360" y="-6"/>
                    <a:pt x="14306" y="-25"/>
                    <a:pt x="14291" y="35"/>
                  </a:cubicBezTo>
                  <a:close/>
                  <a:moveTo>
                    <a:pt x="14291" y="3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6" name="AutoShape 797"/>
            <p:cNvSpPr>
              <a:spLocks/>
            </p:cNvSpPr>
            <p:nvPr/>
          </p:nvSpPr>
          <p:spPr bwMode="auto">
            <a:xfrm>
              <a:off x="7823200" y="3873500"/>
              <a:ext cx="735013" cy="727075"/>
            </a:xfrm>
            <a:custGeom>
              <a:avLst/>
              <a:gdLst/>
              <a:ahLst/>
              <a:cxnLst/>
              <a:rect l="0" t="0" r="r" b="b"/>
              <a:pathLst>
                <a:path w="21563" h="21592">
                  <a:moveTo>
                    <a:pt x="2555" y="384"/>
                  </a:moveTo>
                  <a:cubicBezTo>
                    <a:pt x="2582" y="543"/>
                    <a:pt x="2634" y="698"/>
                    <a:pt x="2664" y="730"/>
                  </a:cubicBezTo>
                  <a:cubicBezTo>
                    <a:pt x="2696" y="762"/>
                    <a:pt x="2652" y="899"/>
                    <a:pt x="2567" y="1035"/>
                  </a:cubicBezTo>
                  <a:cubicBezTo>
                    <a:pt x="2485" y="1173"/>
                    <a:pt x="2226" y="1400"/>
                    <a:pt x="2002" y="1547"/>
                  </a:cubicBezTo>
                  <a:cubicBezTo>
                    <a:pt x="1774" y="1692"/>
                    <a:pt x="1584" y="1857"/>
                    <a:pt x="1590" y="1912"/>
                  </a:cubicBezTo>
                  <a:cubicBezTo>
                    <a:pt x="1590" y="1968"/>
                    <a:pt x="1534" y="2089"/>
                    <a:pt x="1464" y="2183"/>
                  </a:cubicBezTo>
                  <a:cubicBezTo>
                    <a:pt x="1394" y="2278"/>
                    <a:pt x="1259" y="2351"/>
                    <a:pt x="1167" y="2343"/>
                  </a:cubicBezTo>
                  <a:cubicBezTo>
                    <a:pt x="1075" y="2335"/>
                    <a:pt x="953" y="2368"/>
                    <a:pt x="896" y="2410"/>
                  </a:cubicBezTo>
                  <a:cubicBezTo>
                    <a:pt x="839" y="2453"/>
                    <a:pt x="793" y="2523"/>
                    <a:pt x="787" y="2567"/>
                  </a:cubicBezTo>
                  <a:cubicBezTo>
                    <a:pt x="782" y="2610"/>
                    <a:pt x="772" y="2691"/>
                    <a:pt x="755" y="2746"/>
                  </a:cubicBezTo>
                  <a:cubicBezTo>
                    <a:pt x="738" y="2800"/>
                    <a:pt x="765" y="2952"/>
                    <a:pt x="803" y="3083"/>
                  </a:cubicBezTo>
                  <a:cubicBezTo>
                    <a:pt x="842" y="3214"/>
                    <a:pt x="889" y="3402"/>
                    <a:pt x="899" y="3501"/>
                  </a:cubicBezTo>
                  <a:cubicBezTo>
                    <a:pt x="915" y="3600"/>
                    <a:pt x="900" y="3702"/>
                    <a:pt x="877" y="3729"/>
                  </a:cubicBezTo>
                  <a:cubicBezTo>
                    <a:pt x="856" y="3755"/>
                    <a:pt x="838" y="3805"/>
                    <a:pt x="843" y="3840"/>
                  </a:cubicBezTo>
                  <a:cubicBezTo>
                    <a:pt x="843" y="3876"/>
                    <a:pt x="830" y="3932"/>
                    <a:pt x="806" y="3965"/>
                  </a:cubicBezTo>
                  <a:cubicBezTo>
                    <a:pt x="781" y="3996"/>
                    <a:pt x="729" y="4088"/>
                    <a:pt x="684" y="4164"/>
                  </a:cubicBezTo>
                  <a:cubicBezTo>
                    <a:pt x="636" y="4237"/>
                    <a:pt x="556" y="4337"/>
                    <a:pt x="495" y="4374"/>
                  </a:cubicBezTo>
                  <a:cubicBezTo>
                    <a:pt x="433" y="4411"/>
                    <a:pt x="364" y="4464"/>
                    <a:pt x="339" y="4484"/>
                  </a:cubicBezTo>
                  <a:cubicBezTo>
                    <a:pt x="317" y="4507"/>
                    <a:pt x="257" y="4522"/>
                    <a:pt x="208" y="4522"/>
                  </a:cubicBezTo>
                  <a:cubicBezTo>
                    <a:pt x="158" y="4522"/>
                    <a:pt x="120" y="4523"/>
                    <a:pt x="119" y="4523"/>
                  </a:cubicBezTo>
                  <a:cubicBezTo>
                    <a:pt x="119" y="4523"/>
                    <a:pt x="93" y="4554"/>
                    <a:pt x="56" y="4586"/>
                  </a:cubicBezTo>
                  <a:cubicBezTo>
                    <a:pt x="23" y="4620"/>
                    <a:pt x="0" y="4761"/>
                    <a:pt x="0" y="4900"/>
                  </a:cubicBezTo>
                  <a:cubicBezTo>
                    <a:pt x="6" y="5040"/>
                    <a:pt x="42" y="5174"/>
                    <a:pt x="79" y="5206"/>
                  </a:cubicBezTo>
                  <a:cubicBezTo>
                    <a:pt x="117" y="5234"/>
                    <a:pt x="195" y="5338"/>
                    <a:pt x="243" y="5440"/>
                  </a:cubicBezTo>
                  <a:cubicBezTo>
                    <a:pt x="296" y="5540"/>
                    <a:pt x="341" y="5845"/>
                    <a:pt x="341" y="6117"/>
                  </a:cubicBezTo>
                  <a:cubicBezTo>
                    <a:pt x="347" y="6389"/>
                    <a:pt x="361" y="6733"/>
                    <a:pt x="372" y="6884"/>
                  </a:cubicBezTo>
                  <a:cubicBezTo>
                    <a:pt x="383" y="7034"/>
                    <a:pt x="386" y="7192"/>
                    <a:pt x="386" y="7237"/>
                  </a:cubicBezTo>
                  <a:cubicBezTo>
                    <a:pt x="380" y="7280"/>
                    <a:pt x="389" y="7491"/>
                    <a:pt x="411" y="7703"/>
                  </a:cubicBezTo>
                  <a:cubicBezTo>
                    <a:pt x="427" y="7915"/>
                    <a:pt x="487" y="8190"/>
                    <a:pt x="540" y="8312"/>
                  </a:cubicBezTo>
                  <a:cubicBezTo>
                    <a:pt x="589" y="8435"/>
                    <a:pt x="605" y="8722"/>
                    <a:pt x="567" y="8949"/>
                  </a:cubicBezTo>
                  <a:cubicBezTo>
                    <a:pt x="534" y="9178"/>
                    <a:pt x="492" y="9396"/>
                    <a:pt x="476" y="9434"/>
                  </a:cubicBezTo>
                  <a:cubicBezTo>
                    <a:pt x="465" y="9472"/>
                    <a:pt x="492" y="9582"/>
                    <a:pt x="524" y="9686"/>
                  </a:cubicBezTo>
                  <a:cubicBezTo>
                    <a:pt x="562" y="9787"/>
                    <a:pt x="609" y="9987"/>
                    <a:pt x="625" y="10132"/>
                  </a:cubicBezTo>
                  <a:cubicBezTo>
                    <a:pt x="641" y="10276"/>
                    <a:pt x="623" y="10441"/>
                    <a:pt x="586" y="10500"/>
                  </a:cubicBezTo>
                  <a:cubicBezTo>
                    <a:pt x="548" y="10557"/>
                    <a:pt x="440" y="10656"/>
                    <a:pt x="353" y="10728"/>
                  </a:cubicBezTo>
                  <a:cubicBezTo>
                    <a:pt x="262" y="10795"/>
                    <a:pt x="159" y="10888"/>
                    <a:pt x="132" y="10938"/>
                  </a:cubicBezTo>
                  <a:cubicBezTo>
                    <a:pt x="101" y="10985"/>
                    <a:pt x="52" y="11047"/>
                    <a:pt x="20" y="11069"/>
                  </a:cubicBezTo>
                  <a:cubicBezTo>
                    <a:pt x="-10" y="11093"/>
                    <a:pt x="15" y="11165"/>
                    <a:pt x="70" y="11237"/>
                  </a:cubicBezTo>
                  <a:cubicBezTo>
                    <a:pt x="128" y="11306"/>
                    <a:pt x="253" y="11468"/>
                    <a:pt x="350" y="11593"/>
                  </a:cubicBezTo>
                  <a:cubicBezTo>
                    <a:pt x="445" y="11721"/>
                    <a:pt x="589" y="11959"/>
                    <a:pt x="662" y="12125"/>
                  </a:cubicBezTo>
                  <a:cubicBezTo>
                    <a:pt x="738" y="12290"/>
                    <a:pt x="821" y="12444"/>
                    <a:pt x="847" y="12466"/>
                  </a:cubicBezTo>
                  <a:cubicBezTo>
                    <a:pt x="873" y="12487"/>
                    <a:pt x="917" y="12592"/>
                    <a:pt x="939" y="12700"/>
                  </a:cubicBezTo>
                  <a:cubicBezTo>
                    <a:pt x="966" y="12806"/>
                    <a:pt x="973" y="12937"/>
                    <a:pt x="957" y="12988"/>
                  </a:cubicBezTo>
                  <a:cubicBezTo>
                    <a:pt x="942" y="13040"/>
                    <a:pt x="938" y="13179"/>
                    <a:pt x="949" y="13296"/>
                  </a:cubicBezTo>
                  <a:cubicBezTo>
                    <a:pt x="960" y="13412"/>
                    <a:pt x="1007" y="13555"/>
                    <a:pt x="1055" y="13614"/>
                  </a:cubicBezTo>
                  <a:cubicBezTo>
                    <a:pt x="1104" y="13672"/>
                    <a:pt x="1160" y="13780"/>
                    <a:pt x="1176" y="13856"/>
                  </a:cubicBezTo>
                  <a:cubicBezTo>
                    <a:pt x="1192" y="13930"/>
                    <a:pt x="1241" y="14028"/>
                    <a:pt x="1284" y="14072"/>
                  </a:cubicBezTo>
                  <a:cubicBezTo>
                    <a:pt x="1328" y="14116"/>
                    <a:pt x="1494" y="14153"/>
                    <a:pt x="1655" y="14153"/>
                  </a:cubicBezTo>
                  <a:cubicBezTo>
                    <a:pt x="1818" y="14153"/>
                    <a:pt x="2070" y="14164"/>
                    <a:pt x="2219" y="14177"/>
                  </a:cubicBezTo>
                  <a:cubicBezTo>
                    <a:pt x="2367" y="14188"/>
                    <a:pt x="2547" y="14237"/>
                    <a:pt x="2615" y="14288"/>
                  </a:cubicBezTo>
                  <a:cubicBezTo>
                    <a:pt x="2681" y="14339"/>
                    <a:pt x="2788" y="14448"/>
                    <a:pt x="2838" y="14541"/>
                  </a:cubicBezTo>
                  <a:cubicBezTo>
                    <a:pt x="2891" y="14632"/>
                    <a:pt x="3004" y="14843"/>
                    <a:pt x="3080" y="15016"/>
                  </a:cubicBezTo>
                  <a:cubicBezTo>
                    <a:pt x="3162" y="15185"/>
                    <a:pt x="3256" y="15360"/>
                    <a:pt x="3299" y="15399"/>
                  </a:cubicBezTo>
                  <a:cubicBezTo>
                    <a:pt x="3343" y="15437"/>
                    <a:pt x="3419" y="15520"/>
                    <a:pt x="3462" y="15585"/>
                  </a:cubicBezTo>
                  <a:cubicBezTo>
                    <a:pt x="3510" y="15647"/>
                    <a:pt x="3589" y="15738"/>
                    <a:pt x="3639" y="15788"/>
                  </a:cubicBezTo>
                  <a:cubicBezTo>
                    <a:pt x="3661" y="15807"/>
                    <a:pt x="3785" y="15853"/>
                    <a:pt x="3969" y="15912"/>
                  </a:cubicBezTo>
                  <a:cubicBezTo>
                    <a:pt x="4421" y="15994"/>
                    <a:pt x="4726" y="16137"/>
                    <a:pt x="4990" y="16208"/>
                  </a:cubicBezTo>
                  <a:cubicBezTo>
                    <a:pt x="5026" y="16217"/>
                    <a:pt x="5061" y="16227"/>
                    <a:pt x="5096" y="16237"/>
                  </a:cubicBezTo>
                  <a:cubicBezTo>
                    <a:pt x="5744" y="16409"/>
                    <a:pt x="6299" y="16605"/>
                    <a:pt x="6365" y="16670"/>
                  </a:cubicBezTo>
                  <a:cubicBezTo>
                    <a:pt x="6429" y="16740"/>
                    <a:pt x="7132" y="16518"/>
                    <a:pt x="7921" y="16168"/>
                  </a:cubicBezTo>
                  <a:cubicBezTo>
                    <a:pt x="7983" y="16141"/>
                    <a:pt x="8054" y="16121"/>
                    <a:pt x="8123" y="16100"/>
                  </a:cubicBezTo>
                  <a:cubicBezTo>
                    <a:pt x="8241" y="16034"/>
                    <a:pt x="8389" y="15962"/>
                    <a:pt x="8553" y="15891"/>
                  </a:cubicBezTo>
                  <a:cubicBezTo>
                    <a:pt x="8994" y="15700"/>
                    <a:pt x="10072" y="15928"/>
                    <a:pt x="10947" y="16407"/>
                  </a:cubicBezTo>
                  <a:cubicBezTo>
                    <a:pt x="13628" y="17865"/>
                    <a:pt x="16260" y="19319"/>
                    <a:pt x="18848" y="20753"/>
                  </a:cubicBezTo>
                  <a:cubicBezTo>
                    <a:pt x="19479" y="21106"/>
                    <a:pt x="20021" y="21408"/>
                    <a:pt x="20242" y="21532"/>
                  </a:cubicBezTo>
                  <a:cubicBezTo>
                    <a:pt x="20280" y="21552"/>
                    <a:pt x="20315" y="21572"/>
                    <a:pt x="20352" y="21592"/>
                  </a:cubicBezTo>
                  <a:cubicBezTo>
                    <a:pt x="20352" y="21589"/>
                    <a:pt x="20358" y="21468"/>
                    <a:pt x="20358" y="21321"/>
                  </a:cubicBezTo>
                  <a:cubicBezTo>
                    <a:pt x="20358" y="21174"/>
                    <a:pt x="20645" y="21020"/>
                    <a:pt x="20992" y="20982"/>
                  </a:cubicBezTo>
                  <a:cubicBezTo>
                    <a:pt x="21022" y="20978"/>
                    <a:pt x="21050" y="20964"/>
                    <a:pt x="21079" y="20951"/>
                  </a:cubicBezTo>
                  <a:cubicBezTo>
                    <a:pt x="21379" y="20788"/>
                    <a:pt x="21590" y="19982"/>
                    <a:pt x="21560" y="19045"/>
                  </a:cubicBezTo>
                  <a:cubicBezTo>
                    <a:pt x="21529" y="18149"/>
                    <a:pt x="21495" y="17254"/>
                    <a:pt x="21460" y="16359"/>
                  </a:cubicBezTo>
                  <a:cubicBezTo>
                    <a:pt x="21458" y="16315"/>
                    <a:pt x="21456" y="16274"/>
                    <a:pt x="21454" y="16232"/>
                  </a:cubicBezTo>
                  <a:cubicBezTo>
                    <a:pt x="21454" y="16207"/>
                    <a:pt x="21452" y="16183"/>
                    <a:pt x="21451" y="16158"/>
                  </a:cubicBezTo>
                  <a:cubicBezTo>
                    <a:pt x="21401" y="14941"/>
                    <a:pt x="21347" y="13725"/>
                    <a:pt x="21289" y="12509"/>
                  </a:cubicBezTo>
                  <a:cubicBezTo>
                    <a:pt x="21280" y="12331"/>
                    <a:pt x="21272" y="12152"/>
                    <a:pt x="21263" y="11974"/>
                  </a:cubicBezTo>
                  <a:cubicBezTo>
                    <a:pt x="21203" y="10744"/>
                    <a:pt x="21139" y="9513"/>
                    <a:pt x="21068" y="8285"/>
                  </a:cubicBezTo>
                  <a:cubicBezTo>
                    <a:pt x="21014" y="7263"/>
                    <a:pt x="20920" y="6261"/>
                    <a:pt x="20881" y="6055"/>
                  </a:cubicBezTo>
                  <a:cubicBezTo>
                    <a:pt x="20838" y="5851"/>
                    <a:pt x="20764" y="5594"/>
                    <a:pt x="20717" y="5485"/>
                  </a:cubicBezTo>
                  <a:cubicBezTo>
                    <a:pt x="20669" y="5376"/>
                    <a:pt x="20662" y="5184"/>
                    <a:pt x="20701" y="5058"/>
                  </a:cubicBezTo>
                  <a:cubicBezTo>
                    <a:pt x="20739" y="4933"/>
                    <a:pt x="20812" y="4719"/>
                    <a:pt x="20860" y="4581"/>
                  </a:cubicBezTo>
                  <a:cubicBezTo>
                    <a:pt x="20903" y="4444"/>
                    <a:pt x="20949" y="4261"/>
                    <a:pt x="20943" y="4173"/>
                  </a:cubicBezTo>
                  <a:cubicBezTo>
                    <a:pt x="20943" y="4085"/>
                    <a:pt x="20897" y="3926"/>
                    <a:pt x="20858" y="3815"/>
                  </a:cubicBezTo>
                  <a:cubicBezTo>
                    <a:pt x="20815" y="3706"/>
                    <a:pt x="20805" y="3482"/>
                    <a:pt x="20826" y="3313"/>
                  </a:cubicBezTo>
                  <a:cubicBezTo>
                    <a:pt x="20854" y="3146"/>
                    <a:pt x="20887" y="2953"/>
                    <a:pt x="20913" y="2890"/>
                  </a:cubicBezTo>
                  <a:cubicBezTo>
                    <a:pt x="20930" y="2823"/>
                    <a:pt x="20929" y="2676"/>
                    <a:pt x="20886" y="2567"/>
                  </a:cubicBezTo>
                  <a:cubicBezTo>
                    <a:pt x="20853" y="2455"/>
                    <a:pt x="20775" y="2312"/>
                    <a:pt x="20724" y="2246"/>
                  </a:cubicBezTo>
                  <a:cubicBezTo>
                    <a:pt x="20667" y="2183"/>
                    <a:pt x="20573" y="2113"/>
                    <a:pt x="20506" y="2102"/>
                  </a:cubicBezTo>
                  <a:cubicBezTo>
                    <a:pt x="20440" y="2088"/>
                    <a:pt x="20334" y="2088"/>
                    <a:pt x="20268" y="2094"/>
                  </a:cubicBezTo>
                  <a:cubicBezTo>
                    <a:pt x="20203" y="2102"/>
                    <a:pt x="19950" y="2075"/>
                    <a:pt x="19705" y="2037"/>
                  </a:cubicBezTo>
                  <a:cubicBezTo>
                    <a:pt x="19458" y="1995"/>
                    <a:pt x="19215" y="1922"/>
                    <a:pt x="19165" y="1871"/>
                  </a:cubicBezTo>
                  <a:cubicBezTo>
                    <a:pt x="19113" y="1821"/>
                    <a:pt x="18992" y="1773"/>
                    <a:pt x="18897" y="1758"/>
                  </a:cubicBezTo>
                  <a:cubicBezTo>
                    <a:pt x="18800" y="1745"/>
                    <a:pt x="18613" y="1699"/>
                    <a:pt x="18482" y="1657"/>
                  </a:cubicBezTo>
                  <a:cubicBezTo>
                    <a:pt x="18352" y="1610"/>
                    <a:pt x="18217" y="1541"/>
                    <a:pt x="18189" y="1494"/>
                  </a:cubicBezTo>
                  <a:cubicBezTo>
                    <a:pt x="18159" y="1449"/>
                    <a:pt x="18160" y="1403"/>
                    <a:pt x="18186" y="1389"/>
                  </a:cubicBezTo>
                  <a:cubicBezTo>
                    <a:pt x="18216" y="1382"/>
                    <a:pt x="18229" y="1330"/>
                    <a:pt x="18229" y="1282"/>
                  </a:cubicBezTo>
                  <a:cubicBezTo>
                    <a:pt x="18223" y="1233"/>
                    <a:pt x="18092" y="1113"/>
                    <a:pt x="17933" y="1014"/>
                  </a:cubicBezTo>
                  <a:cubicBezTo>
                    <a:pt x="17775" y="915"/>
                    <a:pt x="17580" y="832"/>
                    <a:pt x="17500" y="829"/>
                  </a:cubicBezTo>
                  <a:cubicBezTo>
                    <a:pt x="17419" y="827"/>
                    <a:pt x="17246" y="794"/>
                    <a:pt x="17117" y="751"/>
                  </a:cubicBezTo>
                  <a:cubicBezTo>
                    <a:pt x="16989" y="709"/>
                    <a:pt x="16858" y="659"/>
                    <a:pt x="16825" y="643"/>
                  </a:cubicBezTo>
                  <a:cubicBezTo>
                    <a:pt x="16794" y="624"/>
                    <a:pt x="16737" y="636"/>
                    <a:pt x="16700" y="671"/>
                  </a:cubicBezTo>
                  <a:cubicBezTo>
                    <a:pt x="16660" y="705"/>
                    <a:pt x="16564" y="699"/>
                    <a:pt x="16485" y="653"/>
                  </a:cubicBezTo>
                  <a:cubicBezTo>
                    <a:pt x="16405" y="610"/>
                    <a:pt x="16318" y="570"/>
                    <a:pt x="16290" y="570"/>
                  </a:cubicBezTo>
                  <a:cubicBezTo>
                    <a:pt x="16261" y="567"/>
                    <a:pt x="16146" y="617"/>
                    <a:pt x="16033" y="677"/>
                  </a:cubicBezTo>
                  <a:cubicBezTo>
                    <a:pt x="15918" y="735"/>
                    <a:pt x="15678" y="797"/>
                    <a:pt x="15495" y="809"/>
                  </a:cubicBezTo>
                  <a:cubicBezTo>
                    <a:pt x="15313" y="822"/>
                    <a:pt x="15034" y="891"/>
                    <a:pt x="14880" y="972"/>
                  </a:cubicBezTo>
                  <a:cubicBezTo>
                    <a:pt x="14724" y="1051"/>
                    <a:pt x="14520" y="1184"/>
                    <a:pt x="14434" y="1278"/>
                  </a:cubicBezTo>
                  <a:cubicBezTo>
                    <a:pt x="14347" y="1370"/>
                    <a:pt x="14255" y="1534"/>
                    <a:pt x="14239" y="1644"/>
                  </a:cubicBezTo>
                  <a:cubicBezTo>
                    <a:pt x="14223" y="1753"/>
                    <a:pt x="14164" y="1874"/>
                    <a:pt x="14117" y="1911"/>
                  </a:cubicBezTo>
                  <a:cubicBezTo>
                    <a:pt x="14073" y="1953"/>
                    <a:pt x="14025" y="2150"/>
                    <a:pt x="14019" y="2358"/>
                  </a:cubicBezTo>
                  <a:cubicBezTo>
                    <a:pt x="14019" y="2565"/>
                    <a:pt x="14067" y="2827"/>
                    <a:pt x="14137" y="2943"/>
                  </a:cubicBezTo>
                  <a:cubicBezTo>
                    <a:pt x="14207" y="3059"/>
                    <a:pt x="14306" y="3285"/>
                    <a:pt x="14355" y="3448"/>
                  </a:cubicBezTo>
                  <a:cubicBezTo>
                    <a:pt x="14409" y="3610"/>
                    <a:pt x="14414" y="3817"/>
                    <a:pt x="14392" y="3911"/>
                  </a:cubicBezTo>
                  <a:cubicBezTo>
                    <a:pt x="14364" y="4001"/>
                    <a:pt x="14262" y="4162"/>
                    <a:pt x="14165" y="4265"/>
                  </a:cubicBezTo>
                  <a:cubicBezTo>
                    <a:pt x="14070" y="4370"/>
                    <a:pt x="13980" y="4486"/>
                    <a:pt x="13969" y="4525"/>
                  </a:cubicBezTo>
                  <a:cubicBezTo>
                    <a:pt x="13958" y="4562"/>
                    <a:pt x="13844" y="4686"/>
                    <a:pt x="13719" y="4799"/>
                  </a:cubicBezTo>
                  <a:cubicBezTo>
                    <a:pt x="13595" y="4914"/>
                    <a:pt x="13426" y="5030"/>
                    <a:pt x="13348" y="5061"/>
                  </a:cubicBezTo>
                  <a:cubicBezTo>
                    <a:pt x="13270" y="5090"/>
                    <a:pt x="13072" y="5053"/>
                    <a:pt x="12903" y="4982"/>
                  </a:cubicBezTo>
                  <a:cubicBezTo>
                    <a:pt x="12734" y="4912"/>
                    <a:pt x="12480" y="4736"/>
                    <a:pt x="12329" y="4607"/>
                  </a:cubicBezTo>
                  <a:cubicBezTo>
                    <a:pt x="12177" y="4478"/>
                    <a:pt x="11962" y="4284"/>
                    <a:pt x="11845" y="4182"/>
                  </a:cubicBezTo>
                  <a:cubicBezTo>
                    <a:pt x="11727" y="4081"/>
                    <a:pt x="11489" y="3910"/>
                    <a:pt x="11307" y="3813"/>
                  </a:cubicBezTo>
                  <a:cubicBezTo>
                    <a:pt x="11128" y="3714"/>
                    <a:pt x="10749" y="3519"/>
                    <a:pt x="10461" y="3389"/>
                  </a:cubicBezTo>
                  <a:cubicBezTo>
                    <a:pt x="10173" y="3257"/>
                    <a:pt x="9836" y="3134"/>
                    <a:pt x="9711" y="3115"/>
                  </a:cubicBezTo>
                  <a:cubicBezTo>
                    <a:pt x="9585" y="3096"/>
                    <a:pt x="9449" y="3099"/>
                    <a:pt x="9409" y="3125"/>
                  </a:cubicBezTo>
                  <a:cubicBezTo>
                    <a:pt x="9370" y="3151"/>
                    <a:pt x="9214" y="3165"/>
                    <a:pt x="9065" y="3163"/>
                  </a:cubicBezTo>
                  <a:cubicBezTo>
                    <a:pt x="8917" y="3160"/>
                    <a:pt x="8689" y="3098"/>
                    <a:pt x="8557" y="3028"/>
                  </a:cubicBezTo>
                  <a:cubicBezTo>
                    <a:pt x="8427" y="2957"/>
                    <a:pt x="8219" y="2698"/>
                    <a:pt x="8094" y="2452"/>
                  </a:cubicBezTo>
                  <a:cubicBezTo>
                    <a:pt x="7969" y="2205"/>
                    <a:pt x="7865" y="1901"/>
                    <a:pt x="7865" y="1776"/>
                  </a:cubicBezTo>
                  <a:cubicBezTo>
                    <a:pt x="7860" y="1649"/>
                    <a:pt x="7782" y="1435"/>
                    <a:pt x="7685" y="1295"/>
                  </a:cubicBezTo>
                  <a:cubicBezTo>
                    <a:pt x="7587" y="1155"/>
                    <a:pt x="7298" y="1011"/>
                    <a:pt x="7046" y="968"/>
                  </a:cubicBezTo>
                  <a:cubicBezTo>
                    <a:pt x="6795" y="925"/>
                    <a:pt x="6479" y="815"/>
                    <a:pt x="6345" y="722"/>
                  </a:cubicBezTo>
                  <a:cubicBezTo>
                    <a:pt x="6211" y="629"/>
                    <a:pt x="5923" y="545"/>
                    <a:pt x="5707" y="534"/>
                  </a:cubicBezTo>
                  <a:cubicBezTo>
                    <a:pt x="5491" y="523"/>
                    <a:pt x="5215" y="468"/>
                    <a:pt x="5091" y="419"/>
                  </a:cubicBezTo>
                  <a:cubicBezTo>
                    <a:pt x="4967" y="370"/>
                    <a:pt x="4643" y="362"/>
                    <a:pt x="4367" y="408"/>
                  </a:cubicBezTo>
                  <a:cubicBezTo>
                    <a:pt x="4091" y="456"/>
                    <a:pt x="3706" y="454"/>
                    <a:pt x="3511" y="407"/>
                  </a:cubicBezTo>
                  <a:cubicBezTo>
                    <a:pt x="3316" y="360"/>
                    <a:pt x="3093" y="260"/>
                    <a:pt x="3017" y="183"/>
                  </a:cubicBezTo>
                  <a:cubicBezTo>
                    <a:pt x="2939" y="109"/>
                    <a:pt x="2803" y="31"/>
                    <a:pt x="2713" y="9"/>
                  </a:cubicBezTo>
                  <a:cubicBezTo>
                    <a:pt x="2621" y="-8"/>
                    <a:pt x="2535" y="0"/>
                    <a:pt x="2524" y="35"/>
                  </a:cubicBezTo>
                  <a:cubicBezTo>
                    <a:pt x="2510" y="69"/>
                    <a:pt x="2528" y="226"/>
                    <a:pt x="2555" y="384"/>
                  </a:cubicBezTo>
                  <a:close/>
                  <a:moveTo>
                    <a:pt x="2555" y="3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7" name="AutoShape 798"/>
            <p:cNvSpPr>
              <a:spLocks/>
            </p:cNvSpPr>
            <p:nvPr/>
          </p:nvSpPr>
          <p:spPr bwMode="auto">
            <a:xfrm>
              <a:off x="8547100" y="4152900"/>
              <a:ext cx="6350" cy="123825"/>
            </a:xfrm>
            <a:custGeom>
              <a:avLst/>
              <a:gdLst/>
              <a:ahLst/>
              <a:cxnLst/>
              <a:rect l="0" t="0" r="r" b="b"/>
              <a:pathLst>
                <a:path w="21600" h="21600">
                  <a:moveTo>
                    <a:pt x="0" y="0"/>
                  </a:moveTo>
                  <a:cubicBezTo>
                    <a:pt x="7875" y="7194"/>
                    <a:pt x="14939" y="14396"/>
                    <a:pt x="21600" y="21600"/>
                  </a:cubicBezTo>
                  <a:cubicBezTo>
                    <a:pt x="14899" y="14396"/>
                    <a:pt x="7875" y="7196"/>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8" name="AutoShape 799"/>
            <p:cNvSpPr>
              <a:spLocks/>
            </p:cNvSpPr>
            <p:nvPr/>
          </p:nvSpPr>
          <p:spPr bwMode="auto">
            <a:xfrm>
              <a:off x="8559800" y="4419600"/>
              <a:ext cx="0" cy="3175"/>
            </a:xfrm>
            <a:custGeom>
              <a:avLst/>
              <a:gdLst/>
              <a:ahLst/>
              <a:cxnLst/>
              <a:rect l="0" t="0" r="r" b="b"/>
              <a:pathLst>
                <a:path w="21600" h="21600">
                  <a:moveTo>
                    <a:pt x="0" y="0"/>
                  </a:moveTo>
                  <a:cubicBezTo>
                    <a:pt x="7110" y="7050"/>
                    <a:pt x="14310" y="14077"/>
                    <a:pt x="21600" y="21600"/>
                  </a:cubicBezTo>
                  <a:cubicBezTo>
                    <a:pt x="14310" y="14390"/>
                    <a:pt x="7110" y="7179"/>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799" name="AutoShape 800"/>
            <p:cNvSpPr>
              <a:spLocks/>
            </p:cNvSpPr>
            <p:nvPr/>
          </p:nvSpPr>
          <p:spPr bwMode="auto">
            <a:xfrm>
              <a:off x="8547100" y="4292600"/>
              <a:ext cx="4763" cy="122238"/>
            </a:xfrm>
            <a:custGeom>
              <a:avLst/>
              <a:gdLst/>
              <a:ahLst/>
              <a:cxnLst/>
              <a:rect l="0" t="0" r="r" b="b"/>
              <a:pathLst>
                <a:path w="21600" h="21600">
                  <a:moveTo>
                    <a:pt x="0" y="0"/>
                  </a:moveTo>
                  <a:cubicBezTo>
                    <a:pt x="7702" y="7196"/>
                    <a:pt x="14918" y="14396"/>
                    <a:pt x="21600" y="21600"/>
                  </a:cubicBezTo>
                  <a:cubicBezTo>
                    <a:pt x="15060" y="14398"/>
                    <a:pt x="7799" y="7198"/>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0" name="AutoShape 801"/>
            <p:cNvSpPr>
              <a:spLocks/>
            </p:cNvSpPr>
            <p:nvPr/>
          </p:nvSpPr>
          <p:spPr bwMode="auto">
            <a:xfrm>
              <a:off x="8534400" y="4572000"/>
              <a:ext cx="1588" cy="0"/>
            </a:xfrm>
            <a:custGeom>
              <a:avLst/>
              <a:gdLst/>
              <a:ahLst/>
              <a:cxnLst/>
              <a:rect l="0" t="0" r="r" b="b"/>
              <a:pathLst>
                <a:path w="21600" h="21600">
                  <a:moveTo>
                    <a:pt x="21600" y="0"/>
                  </a:moveTo>
                  <a:cubicBezTo>
                    <a:pt x="14423" y="8980"/>
                    <a:pt x="7433" y="19121"/>
                    <a:pt x="0" y="21600"/>
                  </a:cubicBezTo>
                  <a:cubicBezTo>
                    <a:pt x="7348" y="19121"/>
                    <a:pt x="14519" y="10816"/>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1" name="AutoShape 802"/>
            <p:cNvSpPr>
              <a:spLocks/>
            </p:cNvSpPr>
            <p:nvPr/>
          </p:nvSpPr>
          <p:spPr bwMode="auto">
            <a:xfrm>
              <a:off x="7721600" y="3632200"/>
              <a:ext cx="192088" cy="387350"/>
            </a:xfrm>
            <a:custGeom>
              <a:avLst/>
              <a:gdLst/>
              <a:ahLst/>
              <a:cxnLst/>
              <a:rect l="0" t="0" r="r" b="b"/>
              <a:pathLst>
                <a:path w="21466" h="21578">
                  <a:moveTo>
                    <a:pt x="4336" y="1766"/>
                  </a:moveTo>
                  <a:cubicBezTo>
                    <a:pt x="4398" y="1854"/>
                    <a:pt x="4403" y="2115"/>
                    <a:pt x="4362" y="2344"/>
                  </a:cubicBezTo>
                  <a:cubicBezTo>
                    <a:pt x="4321" y="2573"/>
                    <a:pt x="4308" y="2958"/>
                    <a:pt x="4308" y="3200"/>
                  </a:cubicBezTo>
                  <a:cubicBezTo>
                    <a:pt x="4330" y="3441"/>
                    <a:pt x="4144" y="3923"/>
                    <a:pt x="3877" y="4267"/>
                  </a:cubicBezTo>
                  <a:cubicBezTo>
                    <a:pt x="3624" y="4614"/>
                    <a:pt x="3477" y="5067"/>
                    <a:pt x="3599" y="5272"/>
                  </a:cubicBezTo>
                  <a:cubicBezTo>
                    <a:pt x="3701" y="5479"/>
                    <a:pt x="3953" y="5741"/>
                    <a:pt x="4153" y="5858"/>
                  </a:cubicBezTo>
                  <a:cubicBezTo>
                    <a:pt x="4351" y="5977"/>
                    <a:pt x="4543" y="6107"/>
                    <a:pt x="4565" y="6156"/>
                  </a:cubicBezTo>
                  <a:cubicBezTo>
                    <a:pt x="4585" y="6205"/>
                    <a:pt x="4502" y="6286"/>
                    <a:pt x="4387" y="6348"/>
                  </a:cubicBezTo>
                  <a:cubicBezTo>
                    <a:pt x="4264" y="6405"/>
                    <a:pt x="4081" y="6549"/>
                    <a:pt x="3937" y="6651"/>
                  </a:cubicBezTo>
                  <a:cubicBezTo>
                    <a:pt x="3796" y="6757"/>
                    <a:pt x="3885" y="6931"/>
                    <a:pt x="4084" y="7041"/>
                  </a:cubicBezTo>
                  <a:cubicBezTo>
                    <a:pt x="4298" y="7143"/>
                    <a:pt x="4337" y="7293"/>
                    <a:pt x="4204" y="7375"/>
                  </a:cubicBezTo>
                  <a:cubicBezTo>
                    <a:pt x="4072" y="7459"/>
                    <a:pt x="3874" y="7740"/>
                    <a:pt x="3791" y="8009"/>
                  </a:cubicBezTo>
                  <a:cubicBezTo>
                    <a:pt x="3708" y="8277"/>
                    <a:pt x="3496" y="8546"/>
                    <a:pt x="3332" y="8607"/>
                  </a:cubicBezTo>
                  <a:cubicBezTo>
                    <a:pt x="3161" y="8666"/>
                    <a:pt x="2906" y="8793"/>
                    <a:pt x="2782" y="8891"/>
                  </a:cubicBezTo>
                  <a:cubicBezTo>
                    <a:pt x="2643" y="8985"/>
                    <a:pt x="2346" y="9086"/>
                    <a:pt x="2121" y="9119"/>
                  </a:cubicBezTo>
                  <a:cubicBezTo>
                    <a:pt x="1891" y="9145"/>
                    <a:pt x="1423" y="9340"/>
                    <a:pt x="1092" y="9546"/>
                  </a:cubicBezTo>
                  <a:cubicBezTo>
                    <a:pt x="762" y="9753"/>
                    <a:pt x="340" y="10219"/>
                    <a:pt x="173" y="10588"/>
                  </a:cubicBezTo>
                  <a:cubicBezTo>
                    <a:pt x="7" y="10957"/>
                    <a:pt x="-54" y="11289"/>
                    <a:pt x="54" y="11321"/>
                  </a:cubicBezTo>
                  <a:cubicBezTo>
                    <a:pt x="160" y="11354"/>
                    <a:pt x="404" y="11548"/>
                    <a:pt x="590" y="11750"/>
                  </a:cubicBezTo>
                  <a:cubicBezTo>
                    <a:pt x="777" y="11953"/>
                    <a:pt x="882" y="12189"/>
                    <a:pt x="822" y="12278"/>
                  </a:cubicBezTo>
                  <a:cubicBezTo>
                    <a:pt x="760" y="12366"/>
                    <a:pt x="871" y="12557"/>
                    <a:pt x="1062" y="12705"/>
                  </a:cubicBezTo>
                  <a:cubicBezTo>
                    <a:pt x="1264" y="12851"/>
                    <a:pt x="1550" y="12993"/>
                    <a:pt x="1703" y="13021"/>
                  </a:cubicBezTo>
                  <a:cubicBezTo>
                    <a:pt x="1858" y="13050"/>
                    <a:pt x="2350" y="13228"/>
                    <a:pt x="2789" y="13421"/>
                  </a:cubicBezTo>
                  <a:cubicBezTo>
                    <a:pt x="3231" y="13612"/>
                    <a:pt x="3678" y="13930"/>
                    <a:pt x="3801" y="14118"/>
                  </a:cubicBezTo>
                  <a:cubicBezTo>
                    <a:pt x="3919" y="14308"/>
                    <a:pt x="4301" y="14532"/>
                    <a:pt x="4659" y="14605"/>
                  </a:cubicBezTo>
                  <a:cubicBezTo>
                    <a:pt x="5016" y="14679"/>
                    <a:pt x="5427" y="14812"/>
                    <a:pt x="5580" y="14889"/>
                  </a:cubicBezTo>
                  <a:cubicBezTo>
                    <a:pt x="5729" y="14968"/>
                    <a:pt x="6051" y="15056"/>
                    <a:pt x="6292" y="15091"/>
                  </a:cubicBezTo>
                  <a:cubicBezTo>
                    <a:pt x="6538" y="15124"/>
                    <a:pt x="7051" y="15325"/>
                    <a:pt x="7441" y="15540"/>
                  </a:cubicBezTo>
                  <a:cubicBezTo>
                    <a:pt x="7825" y="15758"/>
                    <a:pt x="8963" y="17199"/>
                    <a:pt x="9950" y="18751"/>
                  </a:cubicBezTo>
                  <a:cubicBezTo>
                    <a:pt x="10962" y="20301"/>
                    <a:pt x="11901" y="21578"/>
                    <a:pt x="12091" y="21578"/>
                  </a:cubicBezTo>
                  <a:cubicBezTo>
                    <a:pt x="12276" y="21578"/>
                    <a:pt x="12505" y="21549"/>
                    <a:pt x="12590" y="21507"/>
                  </a:cubicBezTo>
                  <a:cubicBezTo>
                    <a:pt x="12685" y="21469"/>
                    <a:pt x="12945" y="21370"/>
                    <a:pt x="13180" y="21301"/>
                  </a:cubicBezTo>
                  <a:cubicBezTo>
                    <a:pt x="13415" y="21231"/>
                    <a:pt x="13717" y="21044"/>
                    <a:pt x="13902" y="20906"/>
                  </a:cubicBezTo>
                  <a:cubicBezTo>
                    <a:pt x="14072" y="20763"/>
                    <a:pt x="14268" y="20591"/>
                    <a:pt x="14365" y="20533"/>
                  </a:cubicBezTo>
                  <a:cubicBezTo>
                    <a:pt x="14453" y="20472"/>
                    <a:pt x="14503" y="20367"/>
                    <a:pt x="14503" y="20299"/>
                  </a:cubicBezTo>
                  <a:cubicBezTo>
                    <a:pt x="14485" y="20233"/>
                    <a:pt x="14554" y="20140"/>
                    <a:pt x="14635" y="20090"/>
                  </a:cubicBezTo>
                  <a:cubicBezTo>
                    <a:pt x="14722" y="20041"/>
                    <a:pt x="14778" y="19849"/>
                    <a:pt x="14719" y="19664"/>
                  </a:cubicBezTo>
                  <a:cubicBezTo>
                    <a:pt x="14679" y="19477"/>
                    <a:pt x="14500" y="19126"/>
                    <a:pt x="14354" y="18880"/>
                  </a:cubicBezTo>
                  <a:cubicBezTo>
                    <a:pt x="14207" y="18634"/>
                    <a:pt x="14105" y="18350"/>
                    <a:pt x="14170" y="18248"/>
                  </a:cubicBezTo>
                  <a:cubicBezTo>
                    <a:pt x="14234" y="18146"/>
                    <a:pt x="14272" y="17993"/>
                    <a:pt x="14293" y="17912"/>
                  </a:cubicBezTo>
                  <a:cubicBezTo>
                    <a:pt x="14314" y="17830"/>
                    <a:pt x="14489" y="17699"/>
                    <a:pt x="14706" y="17619"/>
                  </a:cubicBezTo>
                  <a:cubicBezTo>
                    <a:pt x="14924" y="17540"/>
                    <a:pt x="15387" y="17477"/>
                    <a:pt x="15735" y="17493"/>
                  </a:cubicBezTo>
                  <a:cubicBezTo>
                    <a:pt x="16085" y="17508"/>
                    <a:pt x="16598" y="17371"/>
                    <a:pt x="16863" y="17193"/>
                  </a:cubicBezTo>
                  <a:cubicBezTo>
                    <a:pt x="17132" y="17017"/>
                    <a:pt x="17343" y="16789"/>
                    <a:pt x="17343" y="16685"/>
                  </a:cubicBezTo>
                  <a:cubicBezTo>
                    <a:pt x="17322" y="16582"/>
                    <a:pt x="18044" y="16273"/>
                    <a:pt x="18908" y="16001"/>
                  </a:cubicBezTo>
                  <a:cubicBezTo>
                    <a:pt x="19760" y="15725"/>
                    <a:pt x="20744" y="15299"/>
                    <a:pt x="21055" y="15042"/>
                  </a:cubicBezTo>
                  <a:cubicBezTo>
                    <a:pt x="21381" y="14787"/>
                    <a:pt x="21546" y="14528"/>
                    <a:pt x="21427" y="14469"/>
                  </a:cubicBezTo>
                  <a:cubicBezTo>
                    <a:pt x="21310" y="14410"/>
                    <a:pt x="21115" y="14118"/>
                    <a:pt x="21011" y="13821"/>
                  </a:cubicBezTo>
                  <a:cubicBezTo>
                    <a:pt x="20909" y="13525"/>
                    <a:pt x="20838" y="13230"/>
                    <a:pt x="20894" y="13167"/>
                  </a:cubicBezTo>
                  <a:cubicBezTo>
                    <a:pt x="20935" y="13100"/>
                    <a:pt x="20834" y="13032"/>
                    <a:pt x="20657" y="13012"/>
                  </a:cubicBezTo>
                  <a:cubicBezTo>
                    <a:pt x="20477" y="12990"/>
                    <a:pt x="19962" y="12859"/>
                    <a:pt x="19514" y="12716"/>
                  </a:cubicBezTo>
                  <a:cubicBezTo>
                    <a:pt x="19053" y="12581"/>
                    <a:pt x="18645" y="12390"/>
                    <a:pt x="18604" y="12306"/>
                  </a:cubicBezTo>
                  <a:cubicBezTo>
                    <a:pt x="18558" y="12224"/>
                    <a:pt x="18506" y="12068"/>
                    <a:pt x="18485" y="11958"/>
                  </a:cubicBezTo>
                  <a:cubicBezTo>
                    <a:pt x="18485" y="11848"/>
                    <a:pt x="18275" y="11698"/>
                    <a:pt x="18037" y="11638"/>
                  </a:cubicBezTo>
                  <a:cubicBezTo>
                    <a:pt x="17810" y="11570"/>
                    <a:pt x="17550" y="11549"/>
                    <a:pt x="17454" y="11579"/>
                  </a:cubicBezTo>
                  <a:cubicBezTo>
                    <a:pt x="17368" y="11613"/>
                    <a:pt x="17317" y="11688"/>
                    <a:pt x="17339" y="11747"/>
                  </a:cubicBezTo>
                  <a:cubicBezTo>
                    <a:pt x="17358" y="11804"/>
                    <a:pt x="17288" y="11885"/>
                    <a:pt x="17179" y="11934"/>
                  </a:cubicBezTo>
                  <a:cubicBezTo>
                    <a:pt x="17061" y="11978"/>
                    <a:pt x="16801" y="11979"/>
                    <a:pt x="16598" y="11928"/>
                  </a:cubicBezTo>
                  <a:cubicBezTo>
                    <a:pt x="16399" y="11872"/>
                    <a:pt x="16153" y="11746"/>
                    <a:pt x="16089" y="11628"/>
                  </a:cubicBezTo>
                  <a:cubicBezTo>
                    <a:pt x="16009" y="11513"/>
                    <a:pt x="15778" y="11436"/>
                    <a:pt x="15562" y="11455"/>
                  </a:cubicBezTo>
                  <a:cubicBezTo>
                    <a:pt x="15344" y="11471"/>
                    <a:pt x="14759" y="11356"/>
                    <a:pt x="14279" y="11179"/>
                  </a:cubicBezTo>
                  <a:cubicBezTo>
                    <a:pt x="13789" y="11010"/>
                    <a:pt x="13190" y="10682"/>
                    <a:pt x="12942" y="10461"/>
                  </a:cubicBezTo>
                  <a:cubicBezTo>
                    <a:pt x="12709" y="10233"/>
                    <a:pt x="12619" y="9874"/>
                    <a:pt x="12742" y="9649"/>
                  </a:cubicBezTo>
                  <a:cubicBezTo>
                    <a:pt x="12884" y="9425"/>
                    <a:pt x="13603" y="9030"/>
                    <a:pt x="14348" y="8773"/>
                  </a:cubicBezTo>
                  <a:cubicBezTo>
                    <a:pt x="15084" y="8510"/>
                    <a:pt x="16052" y="8133"/>
                    <a:pt x="16468" y="7916"/>
                  </a:cubicBezTo>
                  <a:cubicBezTo>
                    <a:pt x="16899" y="7705"/>
                    <a:pt x="17325" y="7470"/>
                    <a:pt x="17440" y="7403"/>
                  </a:cubicBezTo>
                  <a:cubicBezTo>
                    <a:pt x="17546" y="7334"/>
                    <a:pt x="17532" y="7210"/>
                    <a:pt x="17407" y="7120"/>
                  </a:cubicBezTo>
                  <a:cubicBezTo>
                    <a:pt x="17285" y="7029"/>
                    <a:pt x="17295" y="6891"/>
                    <a:pt x="17454" y="6807"/>
                  </a:cubicBezTo>
                  <a:cubicBezTo>
                    <a:pt x="17599" y="6719"/>
                    <a:pt x="17686" y="6564"/>
                    <a:pt x="17624" y="6455"/>
                  </a:cubicBezTo>
                  <a:cubicBezTo>
                    <a:pt x="17560" y="6345"/>
                    <a:pt x="17411" y="6224"/>
                    <a:pt x="17296" y="6179"/>
                  </a:cubicBezTo>
                  <a:cubicBezTo>
                    <a:pt x="17180" y="6140"/>
                    <a:pt x="17068" y="5901"/>
                    <a:pt x="17089" y="5654"/>
                  </a:cubicBezTo>
                  <a:cubicBezTo>
                    <a:pt x="17069" y="5408"/>
                    <a:pt x="16718" y="5131"/>
                    <a:pt x="16272" y="5040"/>
                  </a:cubicBezTo>
                  <a:cubicBezTo>
                    <a:pt x="15824" y="4948"/>
                    <a:pt x="15157" y="4664"/>
                    <a:pt x="14773" y="4416"/>
                  </a:cubicBezTo>
                  <a:cubicBezTo>
                    <a:pt x="14388" y="4169"/>
                    <a:pt x="14131" y="3797"/>
                    <a:pt x="14195" y="3597"/>
                  </a:cubicBezTo>
                  <a:cubicBezTo>
                    <a:pt x="14258" y="3398"/>
                    <a:pt x="14599" y="3138"/>
                    <a:pt x="14948" y="3014"/>
                  </a:cubicBezTo>
                  <a:cubicBezTo>
                    <a:pt x="15304" y="2890"/>
                    <a:pt x="15609" y="2681"/>
                    <a:pt x="15630" y="2544"/>
                  </a:cubicBezTo>
                  <a:cubicBezTo>
                    <a:pt x="15651" y="2407"/>
                    <a:pt x="15888" y="2116"/>
                    <a:pt x="16173" y="1898"/>
                  </a:cubicBezTo>
                  <a:cubicBezTo>
                    <a:pt x="16458" y="1679"/>
                    <a:pt x="16677" y="1379"/>
                    <a:pt x="16677" y="1230"/>
                  </a:cubicBezTo>
                  <a:cubicBezTo>
                    <a:pt x="16677" y="1082"/>
                    <a:pt x="16552" y="915"/>
                    <a:pt x="16408" y="864"/>
                  </a:cubicBezTo>
                  <a:cubicBezTo>
                    <a:pt x="16274" y="808"/>
                    <a:pt x="15729" y="962"/>
                    <a:pt x="15208" y="1201"/>
                  </a:cubicBezTo>
                  <a:cubicBezTo>
                    <a:pt x="14693" y="1443"/>
                    <a:pt x="14101" y="1706"/>
                    <a:pt x="13932" y="1806"/>
                  </a:cubicBezTo>
                  <a:cubicBezTo>
                    <a:pt x="13761" y="1902"/>
                    <a:pt x="13475" y="1948"/>
                    <a:pt x="13338" y="1891"/>
                  </a:cubicBezTo>
                  <a:cubicBezTo>
                    <a:pt x="13190" y="1844"/>
                    <a:pt x="12859" y="1594"/>
                    <a:pt x="12628" y="1332"/>
                  </a:cubicBezTo>
                  <a:cubicBezTo>
                    <a:pt x="12381" y="1074"/>
                    <a:pt x="12063" y="836"/>
                    <a:pt x="11915" y="805"/>
                  </a:cubicBezTo>
                  <a:cubicBezTo>
                    <a:pt x="11768" y="773"/>
                    <a:pt x="11650" y="642"/>
                    <a:pt x="11692" y="512"/>
                  </a:cubicBezTo>
                  <a:cubicBezTo>
                    <a:pt x="11715" y="380"/>
                    <a:pt x="11571" y="207"/>
                    <a:pt x="11384" y="114"/>
                  </a:cubicBezTo>
                  <a:cubicBezTo>
                    <a:pt x="11184" y="28"/>
                    <a:pt x="10752" y="-22"/>
                    <a:pt x="10425" y="9"/>
                  </a:cubicBezTo>
                  <a:cubicBezTo>
                    <a:pt x="10094" y="37"/>
                    <a:pt x="9815" y="142"/>
                    <a:pt x="9815" y="239"/>
                  </a:cubicBezTo>
                  <a:cubicBezTo>
                    <a:pt x="9815" y="336"/>
                    <a:pt x="9671" y="322"/>
                    <a:pt x="9500" y="214"/>
                  </a:cubicBezTo>
                  <a:cubicBezTo>
                    <a:pt x="9336" y="103"/>
                    <a:pt x="8872" y="40"/>
                    <a:pt x="8474" y="77"/>
                  </a:cubicBezTo>
                  <a:cubicBezTo>
                    <a:pt x="8073" y="108"/>
                    <a:pt x="7305" y="247"/>
                    <a:pt x="6763" y="378"/>
                  </a:cubicBezTo>
                  <a:cubicBezTo>
                    <a:pt x="6217" y="508"/>
                    <a:pt x="5465" y="752"/>
                    <a:pt x="5082" y="919"/>
                  </a:cubicBezTo>
                  <a:cubicBezTo>
                    <a:pt x="4694" y="1082"/>
                    <a:pt x="4387" y="1220"/>
                    <a:pt x="4383" y="1220"/>
                  </a:cubicBezTo>
                  <a:cubicBezTo>
                    <a:pt x="4384" y="1220"/>
                    <a:pt x="4343" y="1306"/>
                    <a:pt x="4301" y="1412"/>
                  </a:cubicBezTo>
                  <a:cubicBezTo>
                    <a:pt x="4260" y="1518"/>
                    <a:pt x="4260" y="1681"/>
                    <a:pt x="4336" y="1766"/>
                  </a:cubicBezTo>
                  <a:close/>
                  <a:moveTo>
                    <a:pt x="4336" y="176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2" name="AutoShape 803"/>
            <p:cNvSpPr>
              <a:spLocks/>
            </p:cNvSpPr>
            <p:nvPr/>
          </p:nvSpPr>
          <p:spPr bwMode="auto">
            <a:xfrm>
              <a:off x="7874000" y="3822700"/>
              <a:ext cx="11113" cy="7938"/>
            </a:xfrm>
            <a:custGeom>
              <a:avLst/>
              <a:gdLst/>
              <a:ahLst/>
              <a:cxnLst/>
              <a:rect l="0" t="0" r="r" b="b"/>
              <a:pathLst>
                <a:path w="20208" h="20162">
                  <a:moveTo>
                    <a:pt x="97" y="4360"/>
                  </a:moveTo>
                  <a:cubicBezTo>
                    <a:pt x="-521" y="6910"/>
                    <a:pt x="1852" y="12493"/>
                    <a:pt x="5581" y="16626"/>
                  </a:cubicBezTo>
                  <a:cubicBezTo>
                    <a:pt x="9248" y="20717"/>
                    <a:pt x="14463" y="21403"/>
                    <a:pt x="17287" y="17923"/>
                  </a:cubicBezTo>
                  <a:cubicBezTo>
                    <a:pt x="20150" y="14414"/>
                    <a:pt x="21079" y="8969"/>
                    <a:pt x="19307" y="5904"/>
                  </a:cubicBezTo>
                  <a:cubicBezTo>
                    <a:pt x="17430" y="2899"/>
                    <a:pt x="12754" y="15"/>
                    <a:pt x="8672" y="15"/>
                  </a:cubicBezTo>
                  <a:cubicBezTo>
                    <a:pt x="4612" y="-197"/>
                    <a:pt x="676" y="1846"/>
                    <a:pt x="97" y="4360"/>
                  </a:cubicBezTo>
                  <a:close/>
                  <a:moveTo>
                    <a:pt x="97" y="43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3" name="AutoShape 804"/>
            <p:cNvSpPr>
              <a:spLocks/>
            </p:cNvSpPr>
            <p:nvPr/>
          </p:nvSpPr>
          <p:spPr bwMode="auto">
            <a:xfrm>
              <a:off x="6934200" y="3644900"/>
              <a:ext cx="1022350" cy="987425"/>
            </a:xfrm>
            <a:custGeom>
              <a:avLst/>
              <a:gdLst/>
              <a:ahLst/>
              <a:cxnLst/>
              <a:rect l="0" t="0" r="r" b="b"/>
              <a:pathLst>
                <a:path w="21599" h="21585">
                  <a:moveTo>
                    <a:pt x="7270" y="2596"/>
                  </a:moveTo>
                  <a:cubicBezTo>
                    <a:pt x="7305" y="2639"/>
                    <a:pt x="7338" y="2722"/>
                    <a:pt x="7346" y="2777"/>
                  </a:cubicBezTo>
                  <a:cubicBezTo>
                    <a:pt x="7354" y="2832"/>
                    <a:pt x="7368" y="2896"/>
                    <a:pt x="7378" y="2918"/>
                  </a:cubicBezTo>
                  <a:cubicBezTo>
                    <a:pt x="7389" y="2940"/>
                    <a:pt x="7403" y="3038"/>
                    <a:pt x="7407" y="3136"/>
                  </a:cubicBezTo>
                  <a:cubicBezTo>
                    <a:pt x="7411" y="3234"/>
                    <a:pt x="7416" y="3411"/>
                    <a:pt x="7416" y="3529"/>
                  </a:cubicBezTo>
                  <a:cubicBezTo>
                    <a:pt x="7418" y="3648"/>
                    <a:pt x="7422" y="3785"/>
                    <a:pt x="7436" y="3833"/>
                  </a:cubicBezTo>
                  <a:cubicBezTo>
                    <a:pt x="7445" y="3881"/>
                    <a:pt x="7478" y="4104"/>
                    <a:pt x="7504" y="4329"/>
                  </a:cubicBezTo>
                  <a:cubicBezTo>
                    <a:pt x="7527" y="4553"/>
                    <a:pt x="7587" y="4811"/>
                    <a:pt x="7629" y="4901"/>
                  </a:cubicBezTo>
                  <a:cubicBezTo>
                    <a:pt x="7671" y="4991"/>
                    <a:pt x="7720" y="5114"/>
                    <a:pt x="7735" y="5174"/>
                  </a:cubicBezTo>
                  <a:cubicBezTo>
                    <a:pt x="7751" y="5234"/>
                    <a:pt x="7800" y="5295"/>
                    <a:pt x="7846" y="5309"/>
                  </a:cubicBezTo>
                  <a:cubicBezTo>
                    <a:pt x="7892" y="5319"/>
                    <a:pt x="7954" y="5356"/>
                    <a:pt x="7984" y="5384"/>
                  </a:cubicBezTo>
                  <a:cubicBezTo>
                    <a:pt x="8016" y="5410"/>
                    <a:pt x="8066" y="5438"/>
                    <a:pt x="8099" y="5438"/>
                  </a:cubicBezTo>
                  <a:cubicBezTo>
                    <a:pt x="8132" y="5438"/>
                    <a:pt x="8179" y="5460"/>
                    <a:pt x="8206" y="5479"/>
                  </a:cubicBezTo>
                  <a:cubicBezTo>
                    <a:pt x="8232" y="5499"/>
                    <a:pt x="8229" y="5587"/>
                    <a:pt x="8194" y="5669"/>
                  </a:cubicBezTo>
                  <a:cubicBezTo>
                    <a:pt x="8164" y="5754"/>
                    <a:pt x="8142" y="5836"/>
                    <a:pt x="8146" y="5856"/>
                  </a:cubicBezTo>
                  <a:cubicBezTo>
                    <a:pt x="8150" y="5876"/>
                    <a:pt x="8124" y="5939"/>
                    <a:pt x="8084" y="5998"/>
                  </a:cubicBezTo>
                  <a:cubicBezTo>
                    <a:pt x="8043" y="6056"/>
                    <a:pt x="7724" y="6103"/>
                    <a:pt x="7373" y="6101"/>
                  </a:cubicBezTo>
                  <a:cubicBezTo>
                    <a:pt x="7022" y="6099"/>
                    <a:pt x="6676" y="6110"/>
                    <a:pt x="6604" y="6124"/>
                  </a:cubicBezTo>
                  <a:cubicBezTo>
                    <a:pt x="6534" y="6141"/>
                    <a:pt x="6414" y="6245"/>
                    <a:pt x="6345" y="6364"/>
                  </a:cubicBezTo>
                  <a:cubicBezTo>
                    <a:pt x="6276" y="6483"/>
                    <a:pt x="6163" y="6622"/>
                    <a:pt x="6102" y="6679"/>
                  </a:cubicBezTo>
                  <a:cubicBezTo>
                    <a:pt x="6038" y="6734"/>
                    <a:pt x="5963" y="6838"/>
                    <a:pt x="5936" y="6909"/>
                  </a:cubicBezTo>
                  <a:cubicBezTo>
                    <a:pt x="5909" y="6980"/>
                    <a:pt x="5886" y="7117"/>
                    <a:pt x="5890" y="7214"/>
                  </a:cubicBezTo>
                  <a:cubicBezTo>
                    <a:pt x="5894" y="7311"/>
                    <a:pt x="5876" y="7440"/>
                    <a:pt x="5849" y="7498"/>
                  </a:cubicBezTo>
                  <a:cubicBezTo>
                    <a:pt x="5824" y="7558"/>
                    <a:pt x="5633" y="7725"/>
                    <a:pt x="5427" y="7873"/>
                  </a:cubicBezTo>
                  <a:cubicBezTo>
                    <a:pt x="5221" y="8021"/>
                    <a:pt x="4791" y="8296"/>
                    <a:pt x="4471" y="8483"/>
                  </a:cubicBezTo>
                  <a:cubicBezTo>
                    <a:pt x="4151" y="8670"/>
                    <a:pt x="3691" y="8946"/>
                    <a:pt x="3447" y="9095"/>
                  </a:cubicBezTo>
                  <a:cubicBezTo>
                    <a:pt x="3202" y="9242"/>
                    <a:pt x="2906" y="9384"/>
                    <a:pt x="2788" y="9412"/>
                  </a:cubicBezTo>
                  <a:cubicBezTo>
                    <a:pt x="2670" y="9441"/>
                    <a:pt x="2479" y="9462"/>
                    <a:pt x="2365" y="9467"/>
                  </a:cubicBezTo>
                  <a:cubicBezTo>
                    <a:pt x="2251" y="9471"/>
                    <a:pt x="2115" y="9481"/>
                    <a:pt x="2063" y="9498"/>
                  </a:cubicBezTo>
                  <a:cubicBezTo>
                    <a:pt x="2011" y="9515"/>
                    <a:pt x="1895" y="9526"/>
                    <a:pt x="1803" y="9526"/>
                  </a:cubicBezTo>
                  <a:cubicBezTo>
                    <a:pt x="1712" y="9526"/>
                    <a:pt x="1508" y="9553"/>
                    <a:pt x="1349" y="9585"/>
                  </a:cubicBezTo>
                  <a:cubicBezTo>
                    <a:pt x="1190" y="9617"/>
                    <a:pt x="990" y="9698"/>
                    <a:pt x="900" y="9758"/>
                  </a:cubicBezTo>
                  <a:cubicBezTo>
                    <a:pt x="812" y="9821"/>
                    <a:pt x="692" y="9937"/>
                    <a:pt x="635" y="10016"/>
                  </a:cubicBezTo>
                  <a:cubicBezTo>
                    <a:pt x="577" y="10095"/>
                    <a:pt x="417" y="10244"/>
                    <a:pt x="277" y="10344"/>
                  </a:cubicBezTo>
                  <a:cubicBezTo>
                    <a:pt x="137" y="10443"/>
                    <a:pt x="20" y="10745"/>
                    <a:pt x="16" y="11008"/>
                  </a:cubicBezTo>
                  <a:cubicBezTo>
                    <a:pt x="10" y="11272"/>
                    <a:pt x="8" y="11490"/>
                    <a:pt x="6" y="11490"/>
                  </a:cubicBezTo>
                  <a:cubicBezTo>
                    <a:pt x="7" y="11490"/>
                    <a:pt x="1" y="11564"/>
                    <a:pt x="1" y="11650"/>
                  </a:cubicBezTo>
                  <a:cubicBezTo>
                    <a:pt x="1" y="11737"/>
                    <a:pt x="0" y="11809"/>
                    <a:pt x="0" y="11812"/>
                  </a:cubicBezTo>
                  <a:cubicBezTo>
                    <a:pt x="0" y="11814"/>
                    <a:pt x="2" y="11814"/>
                    <a:pt x="2" y="11811"/>
                  </a:cubicBezTo>
                  <a:cubicBezTo>
                    <a:pt x="2" y="11811"/>
                    <a:pt x="13" y="11818"/>
                    <a:pt x="32" y="11831"/>
                  </a:cubicBezTo>
                  <a:cubicBezTo>
                    <a:pt x="149" y="11910"/>
                    <a:pt x="609" y="12228"/>
                    <a:pt x="1157" y="12606"/>
                  </a:cubicBezTo>
                  <a:cubicBezTo>
                    <a:pt x="1707" y="12989"/>
                    <a:pt x="2260" y="13368"/>
                    <a:pt x="2809" y="13751"/>
                  </a:cubicBezTo>
                  <a:cubicBezTo>
                    <a:pt x="3446" y="14192"/>
                    <a:pt x="3966" y="14556"/>
                    <a:pt x="3964" y="14556"/>
                  </a:cubicBezTo>
                  <a:cubicBezTo>
                    <a:pt x="3966" y="14556"/>
                    <a:pt x="4485" y="14918"/>
                    <a:pt x="5124" y="15355"/>
                  </a:cubicBezTo>
                  <a:cubicBezTo>
                    <a:pt x="6733" y="16462"/>
                    <a:pt x="8342" y="17565"/>
                    <a:pt x="9944" y="18669"/>
                  </a:cubicBezTo>
                  <a:cubicBezTo>
                    <a:pt x="10575" y="19105"/>
                    <a:pt x="11119" y="19582"/>
                    <a:pt x="11155" y="19731"/>
                  </a:cubicBezTo>
                  <a:cubicBezTo>
                    <a:pt x="11189" y="19880"/>
                    <a:pt x="11268" y="20049"/>
                    <a:pt x="11330" y="20110"/>
                  </a:cubicBezTo>
                  <a:cubicBezTo>
                    <a:pt x="11392" y="20170"/>
                    <a:pt x="11533" y="20211"/>
                    <a:pt x="11642" y="20207"/>
                  </a:cubicBezTo>
                  <a:cubicBezTo>
                    <a:pt x="11750" y="20198"/>
                    <a:pt x="11909" y="20220"/>
                    <a:pt x="11995" y="20249"/>
                  </a:cubicBezTo>
                  <a:cubicBezTo>
                    <a:pt x="12081" y="20276"/>
                    <a:pt x="12192" y="20359"/>
                    <a:pt x="12247" y="20428"/>
                  </a:cubicBezTo>
                  <a:cubicBezTo>
                    <a:pt x="12300" y="20497"/>
                    <a:pt x="12402" y="20569"/>
                    <a:pt x="12473" y="20589"/>
                  </a:cubicBezTo>
                  <a:cubicBezTo>
                    <a:pt x="12544" y="20610"/>
                    <a:pt x="12647" y="20672"/>
                    <a:pt x="12705" y="20723"/>
                  </a:cubicBezTo>
                  <a:cubicBezTo>
                    <a:pt x="12762" y="20776"/>
                    <a:pt x="12807" y="20860"/>
                    <a:pt x="12803" y="20907"/>
                  </a:cubicBezTo>
                  <a:cubicBezTo>
                    <a:pt x="12799" y="20954"/>
                    <a:pt x="12772" y="21071"/>
                    <a:pt x="12745" y="21167"/>
                  </a:cubicBezTo>
                  <a:cubicBezTo>
                    <a:pt x="12718" y="21262"/>
                    <a:pt x="12711" y="21377"/>
                    <a:pt x="12729" y="21426"/>
                  </a:cubicBezTo>
                  <a:cubicBezTo>
                    <a:pt x="12748" y="21473"/>
                    <a:pt x="12823" y="21531"/>
                    <a:pt x="12894" y="21560"/>
                  </a:cubicBezTo>
                  <a:cubicBezTo>
                    <a:pt x="12963" y="21589"/>
                    <a:pt x="13134" y="21591"/>
                    <a:pt x="13270" y="21575"/>
                  </a:cubicBezTo>
                  <a:cubicBezTo>
                    <a:pt x="13406" y="21555"/>
                    <a:pt x="13608" y="21512"/>
                    <a:pt x="13718" y="21474"/>
                  </a:cubicBezTo>
                  <a:cubicBezTo>
                    <a:pt x="13828" y="21438"/>
                    <a:pt x="13920" y="21409"/>
                    <a:pt x="13918" y="21409"/>
                  </a:cubicBezTo>
                  <a:cubicBezTo>
                    <a:pt x="14247" y="21324"/>
                    <a:pt x="14513" y="21258"/>
                    <a:pt x="14739" y="21201"/>
                  </a:cubicBezTo>
                  <a:cubicBezTo>
                    <a:pt x="15189" y="21088"/>
                    <a:pt x="15854" y="20707"/>
                    <a:pt x="16218" y="20356"/>
                  </a:cubicBezTo>
                  <a:cubicBezTo>
                    <a:pt x="16580" y="20004"/>
                    <a:pt x="17396" y="19381"/>
                    <a:pt x="18028" y="18966"/>
                  </a:cubicBezTo>
                  <a:cubicBezTo>
                    <a:pt x="18847" y="18431"/>
                    <a:pt x="19660" y="17892"/>
                    <a:pt x="20471" y="17357"/>
                  </a:cubicBezTo>
                  <a:cubicBezTo>
                    <a:pt x="20815" y="17130"/>
                    <a:pt x="21213" y="16857"/>
                    <a:pt x="21599" y="16611"/>
                  </a:cubicBezTo>
                  <a:cubicBezTo>
                    <a:pt x="21600" y="16611"/>
                    <a:pt x="21574" y="16579"/>
                    <a:pt x="21536" y="16545"/>
                  </a:cubicBezTo>
                  <a:cubicBezTo>
                    <a:pt x="21500" y="16509"/>
                    <a:pt x="21443" y="16442"/>
                    <a:pt x="21409" y="16397"/>
                  </a:cubicBezTo>
                  <a:cubicBezTo>
                    <a:pt x="21378" y="16348"/>
                    <a:pt x="21323" y="16288"/>
                    <a:pt x="21291" y="16259"/>
                  </a:cubicBezTo>
                  <a:cubicBezTo>
                    <a:pt x="21260" y="16231"/>
                    <a:pt x="21193" y="16102"/>
                    <a:pt x="21134" y="15978"/>
                  </a:cubicBezTo>
                  <a:cubicBezTo>
                    <a:pt x="21079" y="15851"/>
                    <a:pt x="20998" y="15696"/>
                    <a:pt x="20960" y="15629"/>
                  </a:cubicBezTo>
                  <a:cubicBezTo>
                    <a:pt x="20924" y="15561"/>
                    <a:pt x="20847" y="15481"/>
                    <a:pt x="20799" y="15443"/>
                  </a:cubicBezTo>
                  <a:cubicBezTo>
                    <a:pt x="20750" y="15405"/>
                    <a:pt x="20621" y="15370"/>
                    <a:pt x="20514" y="15361"/>
                  </a:cubicBezTo>
                  <a:cubicBezTo>
                    <a:pt x="20408" y="15351"/>
                    <a:pt x="20226" y="15344"/>
                    <a:pt x="20109" y="15344"/>
                  </a:cubicBezTo>
                  <a:cubicBezTo>
                    <a:pt x="19993" y="15344"/>
                    <a:pt x="19873" y="15316"/>
                    <a:pt x="19842" y="15284"/>
                  </a:cubicBezTo>
                  <a:cubicBezTo>
                    <a:pt x="19811" y="15252"/>
                    <a:pt x="19776" y="15180"/>
                    <a:pt x="19764" y="15125"/>
                  </a:cubicBezTo>
                  <a:cubicBezTo>
                    <a:pt x="19752" y="15070"/>
                    <a:pt x="19712" y="14990"/>
                    <a:pt x="19677" y="14948"/>
                  </a:cubicBezTo>
                  <a:cubicBezTo>
                    <a:pt x="19643" y="14904"/>
                    <a:pt x="19609" y="14799"/>
                    <a:pt x="19601" y="14714"/>
                  </a:cubicBezTo>
                  <a:cubicBezTo>
                    <a:pt x="19593" y="14628"/>
                    <a:pt x="19595" y="14526"/>
                    <a:pt x="19606" y="14488"/>
                  </a:cubicBezTo>
                  <a:cubicBezTo>
                    <a:pt x="19618" y="14450"/>
                    <a:pt x="19613" y="14354"/>
                    <a:pt x="19593" y="14276"/>
                  </a:cubicBezTo>
                  <a:cubicBezTo>
                    <a:pt x="19578" y="14196"/>
                    <a:pt x="19546" y="14119"/>
                    <a:pt x="19528" y="14103"/>
                  </a:cubicBezTo>
                  <a:cubicBezTo>
                    <a:pt x="19509" y="14088"/>
                    <a:pt x="19449" y="13974"/>
                    <a:pt x="19394" y="13853"/>
                  </a:cubicBezTo>
                  <a:cubicBezTo>
                    <a:pt x="19342" y="13731"/>
                    <a:pt x="19238" y="13556"/>
                    <a:pt x="19170" y="13462"/>
                  </a:cubicBezTo>
                  <a:cubicBezTo>
                    <a:pt x="19100" y="13370"/>
                    <a:pt x="19010" y="13251"/>
                    <a:pt x="18968" y="13200"/>
                  </a:cubicBezTo>
                  <a:cubicBezTo>
                    <a:pt x="18929" y="13148"/>
                    <a:pt x="18911" y="13095"/>
                    <a:pt x="18932" y="13077"/>
                  </a:cubicBezTo>
                  <a:cubicBezTo>
                    <a:pt x="18956" y="13061"/>
                    <a:pt x="18991" y="13015"/>
                    <a:pt x="19013" y="12981"/>
                  </a:cubicBezTo>
                  <a:cubicBezTo>
                    <a:pt x="19033" y="12944"/>
                    <a:pt x="19107" y="12876"/>
                    <a:pt x="19172" y="12826"/>
                  </a:cubicBezTo>
                  <a:cubicBezTo>
                    <a:pt x="19234" y="12773"/>
                    <a:pt x="19312" y="12701"/>
                    <a:pt x="19340" y="12658"/>
                  </a:cubicBezTo>
                  <a:cubicBezTo>
                    <a:pt x="19366" y="12615"/>
                    <a:pt x="19379" y="12494"/>
                    <a:pt x="19368" y="12388"/>
                  </a:cubicBezTo>
                  <a:cubicBezTo>
                    <a:pt x="19356" y="12281"/>
                    <a:pt x="19322" y="12134"/>
                    <a:pt x="19295" y="12060"/>
                  </a:cubicBezTo>
                  <a:cubicBezTo>
                    <a:pt x="19272" y="11984"/>
                    <a:pt x="19253" y="11903"/>
                    <a:pt x="19261" y="11875"/>
                  </a:cubicBezTo>
                  <a:cubicBezTo>
                    <a:pt x="19272" y="11847"/>
                    <a:pt x="19302" y="11687"/>
                    <a:pt x="19326" y="11519"/>
                  </a:cubicBezTo>
                  <a:cubicBezTo>
                    <a:pt x="19353" y="11352"/>
                    <a:pt x="19342" y="11141"/>
                    <a:pt x="19307" y="11050"/>
                  </a:cubicBezTo>
                  <a:cubicBezTo>
                    <a:pt x="19268" y="10960"/>
                    <a:pt x="19225" y="10758"/>
                    <a:pt x="19214" y="10602"/>
                  </a:cubicBezTo>
                  <a:cubicBezTo>
                    <a:pt x="19198" y="10446"/>
                    <a:pt x="19192" y="10292"/>
                    <a:pt x="19196" y="10260"/>
                  </a:cubicBezTo>
                  <a:cubicBezTo>
                    <a:pt x="19196" y="10227"/>
                    <a:pt x="19193" y="10111"/>
                    <a:pt x="19186" y="10000"/>
                  </a:cubicBezTo>
                  <a:cubicBezTo>
                    <a:pt x="19178" y="9890"/>
                    <a:pt x="19168" y="9636"/>
                    <a:pt x="19164" y="9436"/>
                  </a:cubicBezTo>
                  <a:cubicBezTo>
                    <a:pt x="19164" y="9237"/>
                    <a:pt x="19131" y="9012"/>
                    <a:pt x="19093" y="8939"/>
                  </a:cubicBezTo>
                  <a:cubicBezTo>
                    <a:pt x="19058" y="8864"/>
                    <a:pt x="19002" y="8787"/>
                    <a:pt x="18975" y="8767"/>
                  </a:cubicBezTo>
                  <a:cubicBezTo>
                    <a:pt x="18948" y="8744"/>
                    <a:pt x="18922" y="8645"/>
                    <a:pt x="18918" y="8542"/>
                  </a:cubicBezTo>
                  <a:cubicBezTo>
                    <a:pt x="18918" y="8440"/>
                    <a:pt x="18934" y="8336"/>
                    <a:pt x="18958" y="8311"/>
                  </a:cubicBezTo>
                  <a:cubicBezTo>
                    <a:pt x="18985" y="8288"/>
                    <a:pt x="18854" y="7766"/>
                    <a:pt x="18663" y="7157"/>
                  </a:cubicBezTo>
                  <a:cubicBezTo>
                    <a:pt x="18476" y="6548"/>
                    <a:pt x="18260" y="5982"/>
                    <a:pt x="18187" y="5896"/>
                  </a:cubicBezTo>
                  <a:cubicBezTo>
                    <a:pt x="18114" y="5812"/>
                    <a:pt x="18017" y="5734"/>
                    <a:pt x="17970" y="5720"/>
                  </a:cubicBezTo>
                  <a:cubicBezTo>
                    <a:pt x="17924" y="5707"/>
                    <a:pt x="17863" y="5672"/>
                    <a:pt x="17835" y="5641"/>
                  </a:cubicBezTo>
                  <a:cubicBezTo>
                    <a:pt x="17806" y="5611"/>
                    <a:pt x="17728" y="5559"/>
                    <a:pt x="17661" y="5530"/>
                  </a:cubicBezTo>
                  <a:cubicBezTo>
                    <a:pt x="17593" y="5501"/>
                    <a:pt x="17521" y="5414"/>
                    <a:pt x="17498" y="5339"/>
                  </a:cubicBezTo>
                  <a:cubicBezTo>
                    <a:pt x="17475" y="5265"/>
                    <a:pt x="17390" y="5140"/>
                    <a:pt x="17307" y="5066"/>
                  </a:cubicBezTo>
                  <a:cubicBezTo>
                    <a:pt x="17224" y="4990"/>
                    <a:pt x="17131" y="4920"/>
                    <a:pt x="17101" y="4909"/>
                  </a:cubicBezTo>
                  <a:cubicBezTo>
                    <a:pt x="17072" y="4898"/>
                    <a:pt x="17018" y="4842"/>
                    <a:pt x="16980" y="4785"/>
                  </a:cubicBezTo>
                  <a:cubicBezTo>
                    <a:pt x="16944" y="4727"/>
                    <a:pt x="16923" y="4652"/>
                    <a:pt x="16935" y="4617"/>
                  </a:cubicBezTo>
                  <a:cubicBezTo>
                    <a:pt x="16946" y="4582"/>
                    <a:pt x="16926" y="4490"/>
                    <a:pt x="16891" y="4410"/>
                  </a:cubicBezTo>
                  <a:cubicBezTo>
                    <a:pt x="16855" y="4331"/>
                    <a:pt x="16809" y="4255"/>
                    <a:pt x="16789" y="4242"/>
                  </a:cubicBezTo>
                  <a:cubicBezTo>
                    <a:pt x="16769" y="4230"/>
                    <a:pt x="16780" y="4099"/>
                    <a:pt x="16812" y="3954"/>
                  </a:cubicBezTo>
                  <a:cubicBezTo>
                    <a:pt x="16843" y="3810"/>
                    <a:pt x="16923" y="3627"/>
                    <a:pt x="16986" y="3546"/>
                  </a:cubicBezTo>
                  <a:cubicBezTo>
                    <a:pt x="17048" y="3465"/>
                    <a:pt x="17137" y="3389"/>
                    <a:pt x="17180" y="3379"/>
                  </a:cubicBezTo>
                  <a:cubicBezTo>
                    <a:pt x="17223" y="3365"/>
                    <a:pt x="17279" y="3326"/>
                    <a:pt x="17305" y="3289"/>
                  </a:cubicBezTo>
                  <a:cubicBezTo>
                    <a:pt x="17329" y="3251"/>
                    <a:pt x="17377" y="3201"/>
                    <a:pt x="17410" y="3178"/>
                  </a:cubicBezTo>
                  <a:cubicBezTo>
                    <a:pt x="17441" y="3154"/>
                    <a:pt x="17481" y="3048"/>
                    <a:pt x="17496" y="2943"/>
                  </a:cubicBezTo>
                  <a:cubicBezTo>
                    <a:pt x="17512" y="2838"/>
                    <a:pt x="17550" y="2727"/>
                    <a:pt x="17575" y="2695"/>
                  </a:cubicBezTo>
                  <a:cubicBezTo>
                    <a:pt x="17600" y="2662"/>
                    <a:pt x="17593" y="2604"/>
                    <a:pt x="17552" y="2564"/>
                  </a:cubicBezTo>
                  <a:cubicBezTo>
                    <a:pt x="17514" y="2521"/>
                    <a:pt x="17498" y="2452"/>
                    <a:pt x="17524" y="2411"/>
                  </a:cubicBezTo>
                  <a:cubicBezTo>
                    <a:pt x="17551" y="2371"/>
                    <a:pt x="17586" y="2314"/>
                    <a:pt x="17609" y="2292"/>
                  </a:cubicBezTo>
                  <a:cubicBezTo>
                    <a:pt x="17631" y="2267"/>
                    <a:pt x="17647" y="2236"/>
                    <a:pt x="17643" y="2217"/>
                  </a:cubicBezTo>
                  <a:cubicBezTo>
                    <a:pt x="17639" y="2197"/>
                    <a:pt x="17602" y="2146"/>
                    <a:pt x="17565" y="2100"/>
                  </a:cubicBezTo>
                  <a:cubicBezTo>
                    <a:pt x="17527" y="2054"/>
                    <a:pt x="17480" y="1951"/>
                    <a:pt x="17460" y="1870"/>
                  </a:cubicBezTo>
                  <a:cubicBezTo>
                    <a:pt x="17437" y="1789"/>
                    <a:pt x="17465" y="1612"/>
                    <a:pt x="17513" y="1476"/>
                  </a:cubicBezTo>
                  <a:cubicBezTo>
                    <a:pt x="17563" y="1341"/>
                    <a:pt x="17599" y="1152"/>
                    <a:pt x="17594" y="1057"/>
                  </a:cubicBezTo>
                  <a:cubicBezTo>
                    <a:pt x="17594" y="963"/>
                    <a:pt x="17597" y="812"/>
                    <a:pt x="17605" y="722"/>
                  </a:cubicBezTo>
                  <a:cubicBezTo>
                    <a:pt x="17612" y="632"/>
                    <a:pt x="17611" y="530"/>
                    <a:pt x="17600" y="495"/>
                  </a:cubicBezTo>
                  <a:cubicBezTo>
                    <a:pt x="17585" y="462"/>
                    <a:pt x="17585" y="398"/>
                    <a:pt x="17593" y="356"/>
                  </a:cubicBezTo>
                  <a:cubicBezTo>
                    <a:pt x="17601" y="315"/>
                    <a:pt x="17595" y="267"/>
                    <a:pt x="17581" y="248"/>
                  </a:cubicBezTo>
                  <a:cubicBezTo>
                    <a:pt x="17565" y="230"/>
                    <a:pt x="17487" y="226"/>
                    <a:pt x="17406" y="240"/>
                  </a:cubicBezTo>
                  <a:cubicBezTo>
                    <a:pt x="17326" y="254"/>
                    <a:pt x="17225" y="255"/>
                    <a:pt x="17181" y="247"/>
                  </a:cubicBezTo>
                  <a:cubicBezTo>
                    <a:pt x="17137" y="238"/>
                    <a:pt x="17003" y="258"/>
                    <a:pt x="16881" y="289"/>
                  </a:cubicBezTo>
                  <a:cubicBezTo>
                    <a:pt x="16759" y="322"/>
                    <a:pt x="16605" y="305"/>
                    <a:pt x="16543" y="245"/>
                  </a:cubicBezTo>
                  <a:cubicBezTo>
                    <a:pt x="16476" y="190"/>
                    <a:pt x="16360" y="116"/>
                    <a:pt x="16281" y="84"/>
                  </a:cubicBezTo>
                  <a:cubicBezTo>
                    <a:pt x="16202" y="53"/>
                    <a:pt x="16135" y="53"/>
                    <a:pt x="16135" y="85"/>
                  </a:cubicBezTo>
                  <a:cubicBezTo>
                    <a:pt x="16131" y="116"/>
                    <a:pt x="16092" y="182"/>
                    <a:pt x="16042" y="230"/>
                  </a:cubicBezTo>
                  <a:cubicBezTo>
                    <a:pt x="15995" y="280"/>
                    <a:pt x="15872" y="308"/>
                    <a:pt x="15772" y="293"/>
                  </a:cubicBezTo>
                  <a:cubicBezTo>
                    <a:pt x="15674" y="279"/>
                    <a:pt x="15587" y="230"/>
                    <a:pt x="15579" y="183"/>
                  </a:cubicBezTo>
                  <a:cubicBezTo>
                    <a:pt x="15567" y="136"/>
                    <a:pt x="15532" y="69"/>
                    <a:pt x="15488" y="38"/>
                  </a:cubicBezTo>
                  <a:cubicBezTo>
                    <a:pt x="15447" y="4"/>
                    <a:pt x="15356" y="-9"/>
                    <a:pt x="15289" y="5"/>
                  </a:cubicBezTo>
                  <a:cubicBezTo>
                    <a:pt x="15221" y="19"/>
                    <a:pt x="15163" y="64"/>
                    <a:pt x="15159" y="105"/>
                  </a:cubicBezTo>
                  <a:cubicBezTo>
                    <a:pt x="15155" y="145"/>
                    <a:pt x="15104" y="187"/>
                    <a:pt x="15045" y="196"/>
                  </a:cubicBezTo>
                  <a:cubicBezTo>
                    <a:pt x="14986" y="206"/>
                    <a:pt x="14918" y="252"/>
                    <a:pt x="14891" y="296"/>
                  </a:cubicBezTo>
                  <a:cubicBezTo>
                    <a:pt x="14869" y="342"/>
                    <a:pt x="14814" y="362"/>
                    <a:pt x="14776" y="347"/>
                  </a:cubicBezTo>
                  <a:cubicBezTo>
                    <a:pt x="14739" y="331"/>
                    <a:pt x="14670" y="315"/>
                    <a:pt x="14624" y="315"/>
                  </a:cubicBezTo>
                  <a:cubicBezTo>
                    <a:pt x="14578" y="315"/>
                    <a:pt x="14493" y="353"/>
                    <a:pt x="14434" y="398"/>
                  </a:cubicBezTo>
                  <a:cubicBezTo>
                    <a:pt x="14375" y="444"/>
                    <a:pt x="14273" y="481"/>
                    <a:pt x="14207" y="479"/>
                  </a:cubicBezTo>
                  <a:cubicBezTo>
                    <a:pt x="14141" y="479"/>
                    <a:pt x="14055" y="427"/>
                    <a:pt x="14017" y="365"/>
                  </a:cubicBezTo>
                  <a:cubicBezTo>
                    <a:pt x="13978" y="303"/>
                    <a:pt x="13881" y="249"/>
                    <a:pt x="13802" y="242"/>
                  </a:cubicBezTo>
                  <a:cubicBezTo>
                    <a:pt x="13722" y="238"/>
                    <a:pt x="13629" y="220"/>
                    <a:pt x="13593" y="210"/>
                  </a:cubicBezTo>
                  <a:cubicBezTo>
                    <a:pt x="13558" y="196"/>
                    <a:pt x="13466" y="202"/>
                    <a:pt x="13389" y="210"/>
                  </a:cubicBezTo>
                  <a:cubicBezTo>
                    <a:pt x="13312" y="222"/>
                    <a:pt x="13198" y="222"/>
                    <a:pt x="13135" y="214"/>
                  </a:cubicBezTo>
                  <a:cubicBezTo>
                    <a:pt x="13073" y="203"/>
                    <a:pt x="12998" y="200"/>
                    <a:pt x="12970" y="207"/>
                  </a:cubicBezTo>
                  <a:cubicBezTo>
                    <a:pt x="12943" y="216"/>
                    <a:pt x="12875" y="204"/>
                    <a:pt x="12821" y="184"/>
                  </a:cubicBezTo>
                  <a:cubicBezTo>
                    <a:pt x="12769" y="164"/>
                    <a:pt x="12694" y="159"/>
                    <a:pt x="12657" y="165"/>
                  </a:cubicBezTo>
                  <a:cubicBezTo>
                    <a:pt x="12619" y="174"/>
                    <a:pt x="12563" y="229"/>
                    <a:pt x="12537" y="290"/>
                  </a:cubicBezTo>
                  <a:cubicBezTo>
                    <a:pt x="12512" y="352"/>
                    <a:pt x="12436" y="399"/>
                    <a:pt x="12374" y="399"/>
                  </a:cubicBezTo>
                  <a:cubicBezTo>
                    <a:pt x="12312" y="397"/>
                    <a:pt x="12215" y="379"/>
                    <a:pt x="12160" y="354"/>
                  </a:cubicBezTo>
                  <a:cubicBezTo>
                    <a:pt x="12104" y="331"/>
                    <a:pt x="11999" y="373"/>
                    <a:pt x="11923" y="445"/>
                  </a:cubicBezTo>
                  <a:cubicBezTo>
                    <a:pt x="11849" y="518"/>
                    <a:pt x="11752" y="576"/>
                    <a:pt x="11707" y="574"/>
                  </a:cubicBezTo>
                  <a:cubicBezTo>
                    <a:pt x="11663" y="572"/>
                    <a:pt x="11570" y="535"/>
                    <a:pt x="11500" y="496"/>
                  </a:cubicBezTo>
                  <a:cubicBezTo>
                    <a:pt x="11432" y="456"/>
                    <a:pt x="11324" y="442"/>
                    <a:pt x="11262" y="464"/>
                  </a:cubicBezTo>
                  <a:cubicBezTo>
                    <a:pt x="11200" y="487"/>
                    <a:pt x="11056" y="507"/>
                    <a:pt x="10943" y="509"/>
                  </a:cubicBezTo>
                  <a:cubicBezTo>
                    <a:pt x="10830" y="514"/>
                    <a:pt x="10685" y="507"/>
                    <a:pt x="10620" y="497"/>
                  </a:cubicBezTo>
                  <a:cubicBezTo>
                    <a:pt x="10554" y="489"/>
                    <a:pt x="10385" y="566"/>
                    <a:pt x="10245" y="677"/>
                  </a:cubicBezTo>
                  <a:cubicBezTo>
                    <a:pt x="10105" y="788"/>
                    <a:pt x="9921" y="886"/>
                    <a:pt x="9838" y="896"/>
                  </a:cubicBezTo>
                  <a:cubicBezTo>
                    <a:pt x="9755" y="906"/>
                    <a:pt x="9654" y="917"/>
                    <a:pt x="9613" y="917"/>
                  </a:cubicBezTo>
                  <a:cubicBezTo>
                    <a:pt x="9571" y="917"/>
                    <a:pt x="9481" y="954"/>
                    <a:pt x="9411" y="998"/>
                  </a:cubicBezTo>
                  <a:cubicBezTo>
                    <a:pt x="9341" y="1039"/>
                    <a:pt x="9281" y="1114"/>
                    <a:pt x="9279" y="1160"/>
                  </a:cubicBezTo>
                  <a:cubicBezTo>
                    <a:pt x="9275" y="1207"/>
                    <a:pt x="9246" y="1286"/>
                    <a:pt x="9208" y="1333"/>
                  </a:cubicBezTo>
                  <a:cubicBezTo>
                    <a:pt x="9172" y="1381"/>
                    <a:pt x="9115" y="1420"/>
                    <a:pt x="9083" y="1420"/>
                  </a:cubicBezTo>
                  <a:cubicBezTo>
                    <a:pt x="9051" y="1420"/>
                    <a:pt x="9009" y="1404"/>
                    <a:pt x="8989" y="1386"/>
                  </a:cubicBezTo>
                  <a:cubicBezTo>
                    <a:pt x="8971" y="1367"/>
                    <a:pt x="8920" y="1354"/>
                    <a:pt x="8878" y="1354"/>
                  </a:cubicBezTo>
                  <a:cubicBezTo>
                    <a:pt x="8835" y="1354"/>
                    <a:pt x="8775" y="1373"/>
                    <a:pt x="8744" y="1397"/>
                  </a:cubicBezTo>
                  <a:cubicBezTo>
                    <a:pt x="8714" y="1420"/>
                    <a:pt x="8675" y="1456"/>
                    <a:pt x="8658" y="1480"/>
                  </a:cubicBezTo>
                  <a:cubicBezTo>
                    <a:pt x="8642" y="1504"/>
                    <a:pt x="8560" y="1530"/>
                    <a:pt x="8476" y="1532"/>
                  </a:cubicBezTo>
                  <a:cubicBezTo>
                    <a:pt x="8392" y="1536"/>
                    <a:pt x="8266" y="1571"/>
                    <a:pt x="8196" y="1606"/>
                  </a:cubicBezTo>
                  <a:cubicBezTo>
                    <a:pt x="8126" y="1641"/>
                    <a:pt x="8039" y="1699"/>
                    <a:pt x="8002" y="1732"/>
                  </a:cubicBezTo>
                  <a:cubicBezTo>
                    <a:pt x="7966" y="1766"/>
                    <a:pt x="7930" y="1824"/>
                    <a:pt x="7918" y="1860"/>
                  </a:cubicBezTo>
                  <a:cubicBezTo>
                    <a:pt x="7908" y="1896"/>
                    <a:pt x="7856" y="1978"/>
                    <a:pt x="7797" y="2039"/>
                  </a:cubicBezTo>
                  <a:cubicBezTo>
                    <a:pt x="7741" y="2101"/>
                    <a:pt x="7620" y="2174"/>
                    <a:pt x="7530" y="2205"/>
                  </a:cubicBezTo>
                  <a:cubicBezTo>
                    <a:pt x="7440" y="2233"/>
                    <a:pt x="7301" y="2259"/>
                    <a:pt x="7221" y="2263"/>
                  </a:cubicBezTo>
                  <a:cubicBezTo>
                    <a:pt x="7141" y="2267"/>
                    <a:pt x="7092" y="2295"/>
                    <a:pt x="7112" y="2326"/>
                  </a:cubicBezTo>
                  <a:cubicBezTo>
                    <a:pt x="7132" y="2358"/>
                    <a:pt x="7160" y="2414"/>
                    <a:pt x="7178" y="2449"/>
                  </a:cubicBezTo>
                  <a:cubicBezTo>
                    <a:pt x="7194" y="2486"/>
                    <a:pt x="7235" y="2552"/>
                    <a:pt x="7270" y="2596"/>
                  </a:cubicBezTo>
                  <a:close/>
                  <a:moveTo>
                    <a:pt x="7270" y="25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4" name="AutoShape 805"/>
            <p:cNvSpPr>
              <a:spLocks/>
            </p:cNvSpPr>
            <p:nvPr/>
          </p:nvSpPr>
          <p:spPr bwMode="auto">
            <a:xfrm>
              <a:off x="6731000" y="3708400"/>
              <a:ext cx="590550" cy="466725"/>
            </a:xfrm>
            <a:custGeom>
              <a:avLst/>
              <a:gdLst/>
              <a:ahLst/>
              <a:cxnLst/>
              <a:rect l="0" t="0" r="r" b="b"/>
              <a:pathLst>
                <a:path w="21472" h="21587">
                  <a:moveTo>
                    <a:pt x="7334" y="21587"/>
                  </a:moveTo>
                  <a:cubicBezTo>
                    <a:pt x="7337" y="21587"/>
                    <a:pt x="7340" y="21587"/>
                    <a:pt x="7337" y="21587"/>
                  </a:cubicBezTo>
                  <a:cubicBezTo>
                    <a:pt x="7341" y="21587"/>
                    <a:pt x="7345" y="21124"/>
                    <a:pt x="7355" y="20566"/>
                  </a:cubicBezTo>
                  <a:cubicBezTo>
                    <a:pt x="7362" y="20007"/>
                    <a:pt x="7563" y="19369"/>
                    <a:pt x="7805" y="19159"/>
                  </a:cubicBezTo>
                  <a:cubicBezTo>
                    <a:pt x="8045" y="18947"/>
                    <a:pt x="8321" y="18633"/>
                    <a:pt x="8420" y="18465"/>
                  </a:cubicBezTo>
                  <a:cubicBezTo>
                    <a:pt x="8518" y="18297"/>
                    <a:pt x="8724" y="18052"/>
                    <a:pt x="8876" y="17919"/>
                  </a:cubicBezTo>
                  <a:cubicBezTo>
                    <a:pt x="9030" y="17791"/>
                    <a:pt x="9375" y="17620"/>
                    <a:pt x="9648" y="17552"/>
                  </a:cubicBezTo>
                  <a:cubicBezTo>
                    <a:pt x="9921" y="17484"/>
                    <a:pt x="10273" y="17426"/>
                    <a:pt x="10429" y="17426"/>
                  </a:cubicBezTo>
                  <a:cubicBezTo>
                    <a:pt x="10586" y="17426"/>
                    <a:pt x="10787" y="17403"/>
                    <a:pt x="10877" y="17368"/>
                  </a:cubicBezTo>
                  <a:cubicBezTo>
                    <a:pt x="10965" y="17332"/>
                    <a:pt x="11200" y="17309"/>
                    <a:pt x="11396" y="17301"/>
                  </a:cubicBezTo>
                  <a:cubicBezTo>
                    <a:pt x="11592" y="17292"/>
                    <a:pt x="11920" y="17246"/>
                    <a:pt x="12123" y="17186"/>
                  </a:cubicBezTo>
                  <a:cubicBezTo>
                    <a:pt x="12326" y="17125"/>
                    <a:pt x="12836" y="16825"/>
                    <a:pt x="13257" y="16515"/>
                  </a:cubicBezTo>
                  <a:cubicBezTo>
                    <a:pt x="13676" y="16199"/>
                    <a:pt x="14468" y="15614"/>
                    <a:pt x="15019" y="15219"/>
                  </a:cubicBezTo>
                  <a:cubicBezTo>
                    <a:pt x="15568" y="14822"/>
                    <a:pt x="16308" y="14240"/>
                    <a:pt x="16662" y="13926"/>
                  </a:cubicBezTo>
                  <a:cubicBezTo>
                    <a:pt x="17017" y="13613"/>
                    <a:pt x="17346" y="13258"/>
                    <a:pt x="17388" y="13133"/>
                  </a:cubicBezTo>
                  <a:cubicBezTo>
                    <a:pt x="17435" y="13010"/>
                    <a:pt x="17466" y="12737"/>
                    <a:pt x="17459" y="12531"/>
                  </a:cubicBezTo>
                  <a:cubicBezTo>
                    <a:pt x="17452" y="12325"/>
                    <a:pt x="17491" y="12035"/>
                    <a:pt x="17538" y="11884"/>
                  </a:cubicBezTo>
                  <a:cubicBezTo>
                    <a:pt x="17584" y="11734"/>
                    <a:pt x="17714" y="11515"/>
                    <a:pt x="17823" y="11398"/>
                  </a:cubicBezTo>
                  <a:cubicBezTo>
                    <a:pt x="17929" y="11276"/>
                    <a:pt x="18123" y="10982"/>
                    <a:pt x="18243" y="10731"/>
                  </a:cubicBezTo>
                  <a:cubicBezTo>
                    <a:pt x="18360" y="10479"/>
                    <a:pt x="18566" y="10259"/>
                    <a:pt x="18688" y="10223"/>
                  </a:cubicBezTo>
                  <a:cubicBezTo>
                    <a:pt x="18810" y="10193"/>
                    <a:pt x="19405" y="10169"/>
                    <a:pt x="20010" y="10173"/>
                  </a:cubicBezTo>
                  <a:cubicBezTo>
                    <a:pt x="20614" y="10178"/>
                    <a:pt x="21163" y="10078"/>
                    <a:pt x="21234" y="9955"/>
                  </a:cubicBezTo>
                  <a:cubicBezTo>
                    <a:pt x="21301" y="9830"/>
                    <a:pt x="21346" y="9697"/>
                    <a:pt x="21339" y="9655"/>
                  </a:cubicBezTo>
                  <a:cubicBezTo>
                    <a:pt x="21332" y="9613"/>
                    <a:pt x="21371" y="9438"/>
                    <a:pt x="21422" y="9259"/>
                  </a:cubicBezTo>
                  <a:cubicBezTo>
                    <a:pt x="21482" y="9084"/>
                    <a:pt x="21488" y="8899"/>
                    <a:pt x="21443" y="8857"/>
                  </a:cubicBezTo>
                  <a:cubicBezTo>
                    <a:pt x="21397" y="8815"/>
                    <a:pt x="21316" y="8770"/>
                    <a:pt x="21258" y="8770"/>
                  </a:cubicBezTo>
                  <a:cubicBezTo>
                    <a:pt x="21202" y="8770"/>
                    <a:pt x="21116" y="8711"/>
                    <a:pt x="21061" y="8655"/>
                  </a:cubicBezTo>
                  <a:cubicBezTo>
                    <a:pt x="21009" y="8596"/>
                    <a:pt x="20904" y="8517"/>
                    <a:pt x="20823" y="8495"/>
                  </a:cubicBezTo>
                  <a:cubicBezTo>
                    <a:pt x="20744" y="8466"/>
                    <a:pt x="20661" y="8338"/>
                    <a:pt x="20633" y="8210"/>
                  </a:cubicBezTo>
                  <a:cubicBezTo>
                    <a:pt x="20607" y="8083"/>
                    <a:pt x="20523" y="7824"/>
                    <a:pt x="20451" y="7632"/>
                  </a:cubicBezTo>
                  <a:cubicBezTo>
                    <a:pt x="20378" y="7441"/>
                    <a:pt x="20275" y="6896"/>
                    <a:pt x="20235" y="6420"/>
                  </a:cubicBezTo>
                  <a:cubicBezTo>
                    <a:pt x="20191" y="5944"/>
                    <a:pt x="20135" y="5473"/>
                    <a:pt x="20118" y="5370"/>
                  </a:cubicBezTo>
                  <a:cubicBezTo>
                    <a:pt x="20094" y="5268"/>
                    <a:pt x="20087" y="4978"/>
                    <a:pt x="20083" y="4727"/>
                  </a:cubicBezTo>
                  <a:cubicBezTo>
                    <a:pt x="20083" y="4476"/>
                    <a:pt x="20075" y="4101"/>
                    <a:pt x="20068" y="3894"/>
                  </a:cubicBezTo>
                  <a:cubicBezTo>
                    <a:pt x="20061" y="3687"/>
                    <a:pt x="20037" y="3479"/>
                    <a:pt x="20019" y="3432"/>
                  </a:cubicBezTo>
                  <a:cubicBezTo>
                    <a:pt x="20001" y="3385"/>
                    <a:pt x="19978" y="3252"/>
                    <a:pt x="19964" y="3134"/>
                  </a:cubicBezTo>
                  <a:cubicBezTo>
                    <a:pt x="19951" y="3017"/>
                    <a:pt x="19893" y="2842"/>
                    <a:pt x="19832" y="2751"/>
                  </a:cubicBezTo>
                  <a:cubicBezTo>
                    <a:pt x="19773" y="2658"/>
                    <a:pt x="19703" y="2517"/>
                    <a:pt x="19674" y="2440"/>
                  </a:cubicBezTo>
                  <a:cubicBezTo>
                    <a:pt x="19644" y="2365"/>
                    <a:pt x="19595" y="2246"/>
                    <a:pt x="19562" y="2179"/>
                  </a:cubicBezTo>
                  <a:cubicBezTo>
                    <a:pt x="19527" y="2112"/>
                    <a:pt x="19440" y="2056"/>
                    <a:pt x="19367" y="2064"/>
                  </a:cubicBezTo>
                  <a:cubicBezTo>
                    <a:pt x="19294" y="2064"/>
                    <a:pt x="18998" y="2043"/>
                    <a:pt x="18709" y="2014"/>
                  </a:cubicBezTo>
                  <a:cubicBezTo>
                    <a:pt x="18419" y="1988"/>
                    <a:pt x="18133" y="1886"/>
                    <a:pt x="18067" y="1806"/>
                  </a:cubicBezTo>
                  <a:cubicBezTo>
                    <a:pt x="18004" y="1723"/>
                    <a:pt x="17924" y="1557"/>
                    <a:pt x="17898" y="1434"/>
                  </a:cubicBezTo>
                  <a:cubicBezTo>
                    <a:pt x="17871" y="1312"/>
                    <a:pt x="17816" y="1205"/>
                    <a:pt x="17780" y="1187"/>
                  </a:cubicBezTo>
                  <a:cubicBezTo>
                    <a:pt x="17745" y="1168"/>
                    <a:pt x="17712" y="1162"/>
                    <a:pt x="17710" y="1162"/>
                  </a:cubicBezTo>
                  <a:cubicBezTo>
                    <a:pt x="17706" y="1162"/>
                    <a:pt x="17630" y="1263"/>
                    <a:pt x="17540" y="1386"/>
                  </a:cubicBezTo>
                  <a:cubicBezTo>
                    <a:pt x="17447" y="1507"/>
                    <a:pt x="17242" y="1644"/>
                    <a:pt x="17078" y="1682"/>
                  </a:cubicBezTo>
                  <a:cubicBezTo>
                    <a:pt x="16914" y="1720"/>
                    <a:pt x="16645" y="1710"/>
                    <a:pt x="16481" y="1651"/>
                  </a:cubicBezTo>
                  <a:cubicBezTo>
                    <a:pt x="16318" y="1592"/>
                    <a:pt x="16114" y="1544"/>
                    <a:pt x="16029" y="1535"/>
                  </a:cubicBezTo>
                  <a:cubicBezTo>
                    <a:pt x="15943" y="1526"/>
                    <a:pt x="15785" y="1577"/>
                    <a:pt x="15678" y="1647"/>
                  </a:cubicBezTo>
                  <a:cubicBezTo>
                    <a:pt x="15568" y="1712"/>
                    <a:pt x="15355" y="1791"/>
                    <a:pt x="15201" y="1825"/>
                  </a:cubicBezTo>
                  <a:cubicBezTo>
                    <a:pt x="15046" y="1851"/>
                    <a:pt x="14830" y="1844"/>
                    <a:pt x="14717" y="1823"/>
                  </a:cubicBezTo>
                  <a:cubicBezTo>
                    <a:pt x="14605" y="1789"/>
                    <a:pt x="14395" y="1617"/>
                    <a:pt x="14255" y="1426"/>
                  </a:cubicBezTo>
                  <a:cubicBezTo>
                    <a:pt x="14114" y="1237"/>
                    <a:pt x="13954" y="1036"/>
                    <a:pt x="13896" y="986"/>
                  </a:cubicBezTo>
                  <a:cubicBezTo>
                    <a:pt x="13841" y="933"/>
                    <a:pt x="13776" y="807"/>
                    <a:pt x="13752" y="706"/>
                  </a:cubicBezTo>
                  <a:cubicBezTo>
                    <a:pt x="13725" y="606"/>
                    <a:pt x="13710" y="462"/>
                    <a:pt x="13710" y="391"/>
                  </a:cubicBezTo>
                  <a:cubicBezTo>
                    <a:pt x="13710" y="318"/>
                    <a:pt x="13723" y="228"/>
                    <a:pt x="13744" y="193"/>
                  </a:cubicBezTo>
                  <a:cubicBezTo>
                    <a:pt x="13765" y="158"/>
                    <a:pt x="13754" y="87"/>
                    <a:pt x="13722" y="40"/>
                  </a:cubicBezTo>
                  <a:cubicBezTo>
                    <a:pt x="13691" y="-8"/>
                    <a:pt x="13585" y="-13"/>
                    <a:pt x="13487" y="30"/>
                  </a:cubicBezTo>
                  <a:cubicBezTo>
                    <a:pt x="13388" y="68"/>
                    <a:pt x="13274" y="149"/>
                    <a:pt x="13230" y="197"/>
                  </a:cubicBezTo>
                  <a:cubicBezTo>
                    <a:pt x="13188" y="246"/>
                    <a:pt x="13086" y="276"/>
                    <a:pt x="13005" y="267"/>
                  </a:cubicBezTo>
                  <a:cubicBezTo>
                    <a:pt x="12923" y="258"/>
                    <a:pt x="12779" y="361"/>
                    <a:pt x="12681" y="495"/>
                  </a:cubicBezTo>
                  <a:cubicBezTo>
                    <a:pt x="12581" y="626"/>
                    <a:pt x="12487" y="1025"/>
                    <a:pt x="12467" y="1372"/>
                  </a:cubicBezTo>
                  <a:cubicBezTo>
                    <a:pt x="12451" y="1720"/>
                    <a:pt x="12341" y="2153"/>
                    <a:pt x="12229" y="2332"/>
                  </a:cubicBezTo>
                  <a:cubicBezTo>
                    <a:pt x="12119" y="2514"/>
                    <a:pt x="12008" y="2877"/>
                    <a:pt x="11988" y="3142"/>
                  </a:cubicBezTo>
                  <a:cubicBezTo>
                    <a:pt x="11961" y="3406"/>
                    <a:pt x="11890" y="3758"/>
                    <a:pt x="11823" y="3925"/>
                  </a:cubicBezTo>
                  <a:cubicBezTo>
                    <a:pt x="11758" y="4095"/>
                    <a:pt x="11506" y="4449"/>
                    <a:pt x="11274" y="4723"/>
                  </a:cubicBezTo>
                  <a:cubicBezTo>
                    <a:pt x="11040" y="4995"/>
                    <a:pt x="10804" y="5216"/>
                    <a:pt x="10750" y="5225"/>
                  </a:cubicBezTo>
                  <a:cubicBezTo>
                    <a:pt x="10696" y="5234"/>
                    <a:pt x="10561" y="5318"/>
                    <a:pt x="10447" y="5416"/>
                  </a:cubicBezTo>
                  <a:cubicBezTo>
                    <a:pt x="10335" y="5516"/>
                    <a:pt x="10086" y="5657"/>
                    <a:pt x="9898" y="5743"/>
                  </a:cubicBezTo>
                  <a:cubicBezTo>
                    <a:pt x="9708" y="5824"/>
                    <a:pt x="9435" y="6042"/>
                    <a:pt x="9296" y="6233"/>
                  </a:cubicBezTo>
                  <a:cubicBezTo>
                    <a:pt x="9155" y="6425"/>
                    <a:pt x="8994" y="6584"/>
                    <a:pt x="8940" y="6584"/>
                  </a:cubicBezTo>
                  <a:cubicBezTo>
                    <a:pt x="8885" y="6584"/>
                    <a:pt x="8674" y="6727"/>
                    <a:pt x="8471" y="6898"/>
                  </a:cubicBezTo>
                  <a:cubicBezTo>
                    <a:pt x="8264" y="7064"/>
                    <a:pt x="7998" y="7252"/>
                    <a:pt x="7871" y="7303"/>
                  </a:cubicBezTo>
                  <a:cubicBezTo>
                    <a:pt x="7744" y="7351"/>
                    <a:pt x="7584" y="7510"/>
                    <a:pt x="7511" y="7649"/>
                  </a:cubicBezTo>
                  <a:cubicBezTo>
                    <a:pt x="7439" y="7787"/>
                    <a:pt x="7189" y="8076"/>
                    <a:pt x="6954" y="8288"/>
                  </a:cubicBezTo>
                  <a:cubicBezTo>
                    <a:pt x="6718" y="8499"/>
                    <a:pt x="6597" y="8857"/>
                    <a:pt x="6674" y="9084"/>
                  </a:cubicBezTo>
                  <a:cubicBezTo>
                    <a:pt x="6754" y="9308"/>
                    <a:pt x="6809" y="9620"/>
                    <a:pt x="6796" y="9777"/>
                  </a:cubicBezTo>
                  <a:cubicBezTo>
                    <a:pt x="6783" y="9933"/>
                    <a:pt x="6602" y="10256"/>
                    <a:pt x="6395" y="10491"/>
                  </a:cubicBezTo>
                  <a:cubicBezTo>
                    <a:pt x="6189" y="10728"/>
                    <a:pt x="5908" y="11200"/>
                    <a:pt x="5777" y="11545"/>
                  </a:cubicBezTo>
                  <a:cubicBezTo>
                    <a:pt x="5641" y="11888"/>
                    <a:pt x="5527" y="12288"/>
                    <a:pt x="5521" y="12431"/>
                  </a:cubicBezTo>
                  <a:cubicBezTo>
                    <a:pt x="5514" y="12574"/>
                    <a:pt x="5575" y="12868"/>
                    <a:pt x="5661" y="13084"/>
                  </a:cubicBezTo>
                  <a:cubicBezTo>
                    <a:pt x="5748" y="13299"/>
                    <a:pt x="5761" y="13674"/>
                    <a:pt x="5695" y="13916"/>
                  </a:cubicBezTo>
                  <a:cubicBezTo>
                    <a:pt x="5626" y="14157"/>
                    <a:pt x="5610" y="14397"/>
                    <a:pt x="5651" y="14454"/>
                  </a:cubicBezTo>
                  <a:cubicBezTo>
                    <a:pt x="5694" y="14509"/>
                    <a:pt x="5775" y="14630"/>
                    <a:pt x="5835" y="14722"/>
                  </a:cubicBezTo>
                  <a:cubicBezTo>
                    <a:pt x="5894" y="14816"/>
                    <a:pt x="5911" y="15046"/>
                    <a:pt x="5877" y="15233"/>
                  </a:cubicBezTo>
                  <a:cubicBezTo>
                    <a:pt x="5843" y="15421"/>
                    <a:pt x="5543" y="15949"/>
                    <a:pt x="5223" y="16420"/>
                  </a:cubicBezTo>
                  <a:cubicBezTo>
                    <a:pt x="4900" y="16887"/>
                    <a:pt x="4602" y="17414"/>
                    <a:pt x="4569" y="17598"/>
                  </a:cubicBezTo>
                  <a:cubicBezTo>
                    <a:pt x="4536" y="17782"/>
                    <a:pt x="4382" y="18096"/>
                    <a:pt x="4235" y="18300"/>
                  </a:cubicBezTo>
                  <a:cubicBezTo>
                    <a:pt x="4088" y="18505"/>
                    <a:pt x="3831" y="18690"/>
                    <a:pt x="3667" y="18708"/>
                  </a:cubicBezTo>
                  <a:cubicBezTo>
                    <a:pt x="3503" y="18725"/>
                    <a:pt x="3076" y="19082"/>
                    <a:pt x="2717" y="19493"/>
                  </a:cubicBezTo>
                  <a:cubicBezTo>
                    <a:pt x="2353" y="19899"/>
                    <a:pt x="1653" y="20341"/>
                    <a:pt x="1150" y="20461"/>
                  </a:cubicBezTo>
                  <a:cubicBezTo>
                    <a:pt x="648" y="20581"/>
                    <a:pt x="136" y="20863"/>
                    <a:pt x="11" y="21081"/>
                  </a:cubicBezTo>
                  <a:cubicBezTo>
                    <a:pt x="-112" y="21303"/>
                    <a:pt x="858" y="21499"/>
                    <a:pt x="2170" y="21512"/>
                  </a:cubicBezTo>
                  <a:cubicBezTo>
                    <a:pt x="3093" y="21525"/>
                    <a:pt x="4018" y="21536"/>
                    <a:pt x="4943" y="21548"/>
                  </a:cubicBezTo>
                  <a:cubicBezTo>
                    <a:pt x="6258" y="21561"/>
                    <a:pt x="7336" y="21587"/>
                    <a:pt x="7334" y="21587"/>
                  </a:cubicBezTo>
                  <a:close/>
                  <a:moveTo>
                    <a:pt x="7334" y="215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5" name="AutoShape 806"/>
            <p:cNvSpPr>
              <a:spLocks/>
            </p:cNvSpPr>
            <p:nvPr/>
          </p:nvSpPr>
          <p:spPr bwMode="auto">
            <a:xfrm>
              <a:off x="6502400" y="4165600"/>
              <a:ext cx="420688" cy="341313"/>
            </a:xfrm>
            <a:custGeom>
              <a:avLst/>
              <a:gdLst/>
              <a:ahLst/>
              <a:cxnLst/>
              <a:rect l="0" t="0" r="r" b="b"/>
              <a:pathLst>
                <a:path w="21585" h="21566">
                  <a:moveTo>
                    <a:pt x="10518" y="18512"/>
                  </a:moveTo>
                  <a:cubicBezTo>
                    <a:pt x="10490" y="16875"/>
                    <a:pt x="10542" y="15335"/>
                    <a:pt x="10636" y="15092"/>
                  </a:cubicBezTo>
                  <a:cubicBezTo>
                    <a:pt x="10730" y="14850"/>
                    <a:pt x="10933" y="14535"/>
                    <a:pt x="11090" y="14399"/>
                  </a:cubicBezTo>
                  <a:cubicBezTo>
                    <a:pt x="11248" y="14262"/>
                    <a:pt x="11523" y="14127"/>
                    <a:pt x="11702" y="14092"/>
                  </a:cubicBezTo>
                  <a:cubicBezTo>
                    <a:pt x="11879" y="14058"/>
                    <a:pt x="12235" y="14043"/>
                    <a:pt x="12491" y="14037"/>
                  </a:cubicBezTo>
                  <a:cubicBezTo>
                    <a:pt x="12748" y="14037"/>
                    <a:pt x="12987" y="12167"/>
                    <a:pt x="13015" y="9883"/>
                  </a:cubicBezTo>
                  <a:cubicBezTo>
                    <a:pt x="13015" y="9784"/>
                    <a:pt x="13020" y="9685"/>
                    <a:pt x="13020" y="9586"/>
                  </a:cubicBezTo>
                  <a:cubicBezTo>
                    <a:pt x="13053" y="7303"/>
                    <a:pt x="14598" y="5476"/>
                    <a:pt x="16453" y="5505"/>
                  </a:cubicBezTo>
                  <a:cubicBezTo>
                    <a:pt x="17004" y="5517"/>
                    <a:pt x="17553" y="5529"/>
                    <a:pt x="18104" y="5541"/>
                  </a:cubicBezTo>
                  <a:cubicBezTo>
                    <a:pt x="19962" y="5575"/>
                    <a:pt x="21508" y="4577"/>
                    <a:pt x="21536" y="3312"/>
                  </a:cubicBezTo>
                  <a:cubicBezTo>
                    <a:pt x="21543" y="2888"/>
                    <a:pt x="21492" y="2299"/>
                    <a:pt x="21572" y="1623"/>
                  </a:cubicBezTo>
                  <a:cubicBezTo>
                    <a:pt x="21579" y="1262"/>
                    <a:pt x="21583" y="1034"/>
                    <a:pt x="21583" y="1031"/>
                  </a:cubicBezTo>
                  <a:cubicBezTo>
                    <a:pt x="21583" y="1023"/>
                    <a:pt x="21585" y="810"/>
                    <a:pt x="21585" y="557"/>
                  </a:cubicBezTo>
                  <a:cubicBezTo>
                    <a:pt x="21585" y="303"/>
                    <a:pt x="20073" y="67"/>
                    <a:pt x="18215" y="50"/>
                  </a:cubicBezTo>
                  <a:cubicBezTo>
                    <a:pt x="16909" y="33"/>
                    <a:pt x="15603" y="18"/>
                    <a:pt x="14299" y="1"/>
                  </a:cubicBezTo>
                  <a:cubicBezTo>
                    <a:pt x="12446" y="-17"/>
                    <a:pt x="10702" y="358"/>
                    <a:pt x="10418" y="840"/>
                  </a:cubicBezTo>
                  <a:cubicBezTo>
                    <a:pt x="10136" y="1326"/>
                    <a:pt x="9903" y="2008"/>
                    <a:pt x="9903" y="2360"/>
                  </a:cubicBezTo>
                  <a:cubicBezTo>
                    <a:pt x="9903" y="2711"/>
                    <a:pt x="9794" y="3000"/>
                    <a:pt x="9662" y="3011"/>
                  </a:cubicBezTo>
                  <a:cubicBezTo>
                    <a:pt x="9531" y="3023"/>
                    <a:pt x="9010" y="3293"/>
                    <a:pt x="8504" y="3618"/>
                  </a:cubicBezTo>
                  <a:cubicBezTo>
                    <a:pt x="7997" y="3941"/>
                    <a:pt x="7543" y="4354"/>
                    <a:pt x="7495" y="4531"/>
                  </a:cubicBezTo>
                  <a:cubicBezTo>
                    <a:pt x="7447" y="4708"/>
                    <a:pt x="7244" y="4970"/>
                    <a:pt x="7044" y="5110"/>
                  </a:cubicBezTo>
                  <a:cubicBezTo>
                    <a:pt x="6844" y="5248"/>
                    <a:pt x="6737" y="5555"/>
                    <a:pt x="6793" y="5787"/>
                  </a:cubicBezTo>
                  <a:cubicBezTo>
                    <a:pt x="6852" y="6017"/>
                    <a:pt x="6540" y="6859"/>
                    <a:pt x="6094" y="7657"/>
                  </a:cubicBezTo>
                  <a:cubicBezTo>
                    <a:pt x="5653" y="8460"/>
                    <a:pt x="5263" y="9321"/>
                    <a:pt x="5234" y="9578"/>
                  </a:cubicBezTo>
                  <a:cubicBezTo>
                    <a:pt x="5206" y="9834"/>
                    <a:pt x="4903" y="10362"/>
                    <a:pt x="4565" y="10759"/>
                  </a:cubicBezTo>
                  <a:cubicBezTo>
                    <a:pt x="4225" y="11153"/>
                    <a:pt x="3862" y="11528"/>
                    <a:pt x="3758" y="11598"/>
                  </a:cubicBezTo>
                  <a:cubicBezTo>
                    <a:pt x="3656" y="11666"/>
                    <a:pt x="3423" y="12118"/>
                    <a:pt x="3241" y="12606"/>
                  </a:cubicBezTo>
                  <a:cubicBezTo>
                    <a:pt x="3061" y="13095"/>
                    <a:pt x="2924" y="13602"/>
                    <a:pt x="2942" y="13738"/>
                  </a:cubicBezTo>
                  <a:cubicBezTo>
                    <a:pt x="2960" y="13872"/>
                    <a:pt x="2732" y="14369"/>
                    <a:pt x="2444" y="14844"/>
                  </a:cubicBezTo>
                  <a:cubicBezTo>
                    <a:pt x="2154" y="15317"/>
                    <a:pt x="1908" y="15777"/>
                    <a:pt x="1899" y="15866"/>
                  </a:cubicBezTo>
                  <a:cubicBezTo>
                    <a:pt x="1889" y="15954"/>
                    <a:pt x="1952" y="16088"/>
                    <a:pt x="2038" y="16175"/>
                  </a:cubicBezTo>
                  <a:cubicBezTo>
                    <a:pt x="2123" y="16256"/>
                    <a:pt x="2094" y="16373"/>
                    <a:pt x="1967" y="16433"/>
                  </a:cubicBezTo>
                  <a:cubicBezTo>
                    <a:pt x="1842" y="16493"/>
                    <a:pt x="1551" y="16968"/>
                    <a:pt x="1323" y="17489"/>
                  </a:cubicBezTo>
                  <a:cubicBezTo>
                    <a:pt x="1099" y="18015"/>
                    <a:pt x="835" y="18458"/>
                    <a:pt x="747" y="18484"/>
                  </a:cubicBezTo>
                  <a:cubicBezTo>
                    <a:pt x="660" y="18508"/>
                    <a:pt x="500" y="18641"/>
                    <a:pt x="401" y="18779"/>
                  </a:cubicBezTo>
                  <a:cubicBezTo>
                    <a:pt x="299" y="18916"/>
                    <a:pt x="223" y="19207"/>
                    <a:pt x="233" y="19430"/>
                  </a:cubicBezTo>
                  <a:cubicBezTo>
                    <a:pt x="243" y="19654"/>
                    <a:pt x="187" y="19990"/>
                    <a:pt x="114" y="20181"/>
                  </a:cubicBezTo>
                  <a:cubicBezTo>
                    <a:pt x="38" y="20369"/>
                    <a:pt x="-15" y="20766"/>
                    <a:pt x="4" y="21063"/>
                  </a:cubicBezTo>
                  <a:cubicBezTo>
                    <a:pt x="23" y="21357"/>
                    <a:pt x="1533" y="21583"/>
                    <a:pt x="3372" y="21565"/>
                  </a:cubicBezTo>
                  <a:cubicBezTo>
                    <a:pt x="4649" y="21554"/>
                    <a:pt x="5927" y="21531"/>
                    <a:pt x="7207" y="21526"/>
                  </a:cubicBezTo>
                  <a:cubicBezTo>
                    <a:pt x="9056" y="21502"/>
                    <a:pt x="10547" y="20150"/>
                    <a:pt x="10518" y="18512"/>
                  </a:cubicBezTo>
                  <a:close/>
                  <a:moveTo>
                    <a:pt x="10518" y="185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6" name="AutoShape 807"/>
            <p:cNvSpPr>
              <a:spLocks/>
            </p:cNvSpPr>
            <p:nvPr/>
          </p:nvSpPr>
          <p:spPr bwMode="auto">
            <a:xfrm>
              <a:off x="6502400" y="4191000"/>
              <a:ext cx="611188" cy="669925"/>
            </a:xfrm>
            <a:custGeom>
              <a:avLst/>
              <a:gdLst/>
              <a:ahLst/>
              <a:cxnLst/>
              <a:rect l="0" t="0" r="r" b="b"/>
              <a:pathLst>
                <a:path w="21592" h="21600">
                  <a:moveTo>
                    <a:pt x="1486" y="18949"/>
                  </a:moveTo>
                  <a:cubicBezTo>
                    <a:pt x="1588" y="18865"/>
                    <a:pt x="1884" y="18762"/>
                    <a:pt x="2150" y="18724"/>
                  </a:cubicBezTo>
                  <a:cubicBezTo>
                    <a:pt x="2416" y="18681"/>
                    <a:pt x="2844" y="18579"/>
                    <a:pt x="3102" y="18490"/>
                  </a:cubicBezTo>
                  <a:cubicBezTo>
                    <a:pt x="3359" y="18398"/>
                    <a:pt x="3640" y="18325"/>
                    <a:pt x="3725" y="18325"/>
                  </a:cubicBezTo>
                  <a:cubicBezTo>
                    <a:pt x="3811" y="18325"/>
                    <a:pt x="4073" y="18383"/>
                    <a:pt x="4307" y="18454"/>
                  </a:cubicBezTo>
                  <a:cubicBezTo>
                    <a:pt x="4541" y="18526"/>
                    <a:pt x="4839" y="18607"/>
                    <a:pt x="4968" y="18631"/>
                  </a:cubicBezTo>
                  <a:cubicBezTo>
                    <a:pt x="5096" y="18662"/>
                    <a:pt x="5292" y="18784"/>
                    <a:pt x="5395" y="18913"/>
                  </a:cubicBezTo>
                  <a:cubicBezTo>
                    <a:pt x="5501" y="19039"/>
                    <a:pt x="5588" y="19179"/>
                    <a:pt x="5588" y="19222"/>
                  </a:cubicBezTo>
                  <a:cubicBezTo>
                    <a:pt x="5588" y="19265"/>
                    <a:pt x="5645" y="19319"/>
                    <a:pt x="5710" y="19350"/>
                  </a:cubicBezTo>
                  <a:cubicBezTo>
                    <a:pt x="5779" y="19374"/>
                    <a:pt x="5902" y="19371"/>
                    <a:pt x="5988" y="19343"/>
                  </a:cubicBezTo>
                  <a:cubicBezTo>
                    <a:pt x="6074" y="19312"/>
                    <a:pt x="6174" y="19305"/>
                    <a:pt x="6206" y="19328"/>
                  </a:cubicBezTo>
                  <a:cubicBezTo>
                    <a:pt x="6238" y="19352"/>
                    <a:pt x="6333" y="19359"/>
                    <a:pt x="6415" y="19353"/>
                  </a:cubicBezTo>
                  <a:cubicBezTo>
                    <a:pt x="6495" y="19342"/>
                    <a:pt x="6597" y="19367"/>
                    <a:pt x="6641" y="19402"/>
                  </a:cubicBezTo>
                  <a:cubicBezTo>
                    <a:pt x="6685" y="19436"/>
                    <a:pt x="6736" y="19558"/>
                    <a:pt x="6756" y="19671"/>
                  </a:cubicBezTo>
                  <a:cubicBezTo>
                    <a:pt x="6775" y="19786"/>
                    <a:pt x="6878" y="19946"/>
                    <a:pt x="6983" y="20030"/>
                  </a:cubicBezTo>
                  <a:cubicBezTo>
                    <a:pt x="7087" y="20116"/>
                    <a:pt x="7176" y="20267"/>
                    <a:pt x="7176" y="20371"/>
                  </a:cubicBezTo>
                  <a:cubicBezTo>
                    <a:pt x="7176" y="20476"/>
                    <a:pt x="7267" y="20577"/>
                    <a:pt x="7378" y="20594"/>
                  </a:cubicBezTo>
                  <a:cubicBezTo>
                    <a:pt x="7488" y="20612"/>
                    <a:pt x="7605" y="20706"/>
                    <a:pt x="7632" y="20802"/>
                  </a:cubicBezTo>
                  <a:cubicBezTo>
                    <a:pt x="7658" y="20898"/>
                    <a:pt x="7755" y="21001"/>
                    <a:pt x="7841" y="21033"/>
                  </a:cubicBezTo>
                  <a:cubicBezTo>
                    <a:pt x="7928" y="21063"/>
                    <a:pt x="8106" y="21153"/>
                    <a:pt x="8242" y="21224"/>
                  </a:cubicBezTo>
                  <a:cubicBezTo>
                    <a:pt x="8376" y="21300"/>
                    <a:pt x="8505" y="21417"/>
                    <a:pt x="8531" y="21485"/>
                  </a:cubicBezTo>
                  <a:cubicBezTo>
                    <a:pt x="8545" y="21519"/>
                    <a:pt x="8570" y="21560"/>
                    <a:pt x="8599" y="21600"/>
                  </a:cubicBezTo>
                  <a:cubicBezTo>
                    <a:pt x="8634" y="21576"/>
                    <a:pt x="8707" y="21524"/>
                    <a:pt x="8794" y="21465"/>
                  </a:cubicBezTo>
                  <a:cubicBezTo>
                    <a:pt x="8910" y="21380"/>
                    <a:pt x="9135" y="21306"/>
                    <a:pt x="9289" y="21300"/>
                  </a:cubicBezTo>
                  <a:cubicBezTo>
                    <a:pt x="9442" y="21291"/>
                    <a:pt x="9613" y="21182"/>
                    <a:pt x="9662" y="21055"/>
                  </a:cubicBezTo>
                  <a:cubicBezTo>
                    <a:pt x="9716" y="20929"/>
                    <a:pt x="9755" y="20774"/>
                    <a:pt x="9748" y="20714"/>
                  </a:cubicBezTo>
                  <a:cubicBezTo>
                    <a:pt x="9738" y="20654"/>
                    <a:pt x="9738" y="20464"/>
                    <a:pt x="9738" y="20293"/>
                  </a:cubicBezTo>
                  <a:cubicBezTo>
                    <a:pt x="9738" y="20122"/>
                    <a:pt x="9862" y="19944"/>
                    <a:pt x="10015" y="19897"/>
                  </a:cubicBezTo>
                  <a:cubicBezTo>
                    <a:pt x="10170" y="19852"/>
                    <a:pt x="10393" y="19813"/>
                    <a:pt x="10513" y="19819"/>
                  </a:cubicBezTo>
                  <a:cubicBezTo>
                    <a:pt x="10633" y="19825"/>
                    <a:pt x="10745" y="19920"/>
                    <a:pt x="10758" y="20034"/>
                  </a:cubicBezTo>
                  <a:cubicBezTo>
                    <a:pt x="10771" y="20148"/>
                    <a:pt x="10857" y="20361"/>
                    <a:pt x="10943" y="20511"/>
                  </a:cubicBezTo>
                  <a:cubicBezTo>
                    <a:pt x="11027" y="20661"/>
                    <a:pt x="11143" y="20807"/>
                    <a:pt x="11197" y="20837"/>
                  </a:cubicBezTo>
                  <a:cubicBezTo>
                    <a:pt x="11251" y="20867"/>
                    <a:pt x="11392" y="20719"/>
                    <a:pt x="11511" y="20505"/>
                  </a:cubicBezTo>
                  <a:cubicBezTo>
                    <a:pt x="11627" y="20289"/>
                    <a:pt x="11936" y="20034"/>
                    <a:pt x="12190" y="19935"/>
                  </a:cubicBezTo>
                  <a:cubicBezTo>
                    <a:pt x="12444" y="19833"/>
                    <a:pt x="12747" y="19784"/>
                    <a:pt x="12862" y="19825"/>
                  </a:cubicBezTo>
                  <a:cubicBezTo>
                    <a:pt x="12977" y="19865"/>
                    <a:pt x="13075" y="20003"/>
                    <a:pt x="13082" y="20134"/>
                  </a:cubicBezTo>
                  <a:cubicBezTo>
                    <a:pt x="13088" y="20265"/>
                    <a:pt x="13139" y="20418"/>
                    <a:pt x="13196" y="20476"/>
                  </a:cubicBezTo>
                  <a:cubicBezTo>
                    <a:pt x="13253" y="20533"/>
                    <a:pt x="13375" y="20507"/>
                    <a:pt x="13458" y="20413"/>
                  </a:cubicBezTo>
                  <a:cubicBezTo>
                    <a:pt x="13547" y="20323"/>
                    <a:pt x="13667" y="20250"/>
                    <a:pt x="13729" y="20246"/>
                  </a:cubicBezTo>
                  <a:cubicBezTo>
                    <a:pt x="13791" y="20249"/>
                    <a:pt x="13891" y="20304"/>
                    <a:pt x="13948" y="20373"/>
                  </a:cubicBezTo>
                  <a:cubicBezTo>
                    <a:pt x="14005" y="20444"/>
                    <a:pt x="14097" y="20517"/>
                    <a:pt x="14149" y="20541"/>
                  </a:cubicBezTo>
                  <a:cubicBezTo>
                    <a:pt x="14201" y="20564"/>
                    <a:pt x="15289" y="20577"/>
                    <a:pt x="16565" y="20574"/>
                  </a:cubicBezTo>
                  <a:cubicBezTo>
                    <a:pt x="17178" y="20574"/>
                    <a:pt x="17791" y="20568"/>
                    <a:pt x="18404" y="20568"/>
                  </a:cubicBezTo>
                  <a:cubicBezTo>
                    <a:pt x="19681" y="20562"/>
                    <a:pt x="20860" y="20221"/>
                    <a:pt x="21023" y="19808"/>
                  </a:cubicBezTo>
                  <a:cubicBezTo>
                    <a:pt x="21185" y="19396"/>
                    <a:pt x="21195" y="18988"/>
                    <a:pt x="21042" y="18900"/>
                  </a:cubicBezTo>
                  <a:cubicBezTo>
                    <a:pt x="20889" y="18813"/>
                    <a:pt x="20670" y="17795"/>
                    <a:pt x="20562" y="16636"/>
                  </a:cubicBezTo>
                  <a:cubicBezTo>
                    <a:pt x="20232" y="13149"/>
                    <a:pt x="19897" y="9655"/>
                    <a:pt x="19565" y="6159"/>
                  </a:cubicBezTo>
                  <a:cubicBezTo>
                    <a:pt x="19453" y="4995"/>
                    <a:pt x="19860" y="4040"/>
                    <a:pt x="20468" y="4028"/>
                  </a:cubicBezTo>
                  <a:cubicBezTo>
                    <a:pt x="21076" y="4016"/>
                    <a:pt x="21577" y="4014"/>
                    <a:pt x="21581" y="4017"/>
                  </a:cubicBezTo>
                  <a:cubicBezTo>
                    <a:pt x="21587" y="4017"/>
                    <a:pt x="21594" y="4018"/>
                    <a:pt x="21591" y="4018"/>
                  </a:cubicBezTo>
                  <a:cubicBezTo>
                    <a:pt x="21594" y="4018"/>
                    <a:pt x="20727" y="3480"/>
                    <a:pt x="19663" y="2831"/>
                  </a:cubicBezTo>
                  <a:cubicBezTo>
                    <a:pt x="18745" y="2266"/>
                    <a:pt x="17822" y="1708"/>
                    <a:pt x="16904" y="1143"/>
                  </a:cubicBezTo>
                  <a:cubicBezTo>
                    <a:pt x="16289" y="770"/>
                    <a:pt x="15377" y="303"/>
                    <a:pt x="15025" y="0"/>
                  </a:cubicBezTo>
                  <a:cubicBezTo>
                    <a:pt x="14996" y="94"/>
                    <a:pt x="14978" y="186"/>
                    <a:pt x="14964" y="275"/>
                  </a:cubicBezTo>
                  <a:cubicBezTo>
                    <a:pt x="14958" y="490"/>
                    <a:pt x="14949" y="799"/>
                    <a:pt x="14939" y="1144"/>
                  </a:cubicBezTo>
                  <a:cubicBezTo>
                    <a:pt x="14919" y="1786"/>
                    <a:pt x="13857" y="2293"/>
                    <a:pt x="12580" y="2275"/>
                  </a:cubicBezTo>
                  <a:cubicBezTo>
                    <a:pt x="12202" y="2269"/>
                    <a:pt x="11824" y="2263"/>
                    <a:pt x="11446" y="2257"/>
                  </a:cubicBezTo>
                  <a:cubicBezTo>
                    <a:pt x="10170" y="2242"/>
                    <a:pt x="9109" y="3175"/>
                    <a:pt x="9086" y="4341"/>
                  </a:cubicBezTo>
                  <a:cubicBezTo>
                    <a:pt x="9086" y="4392"/>
                    <a:pt x="9083" y="4442"/>
                    <a:pt x="9083" y="4493"/>
                  </a:cubicBezTo>
                  <a:cubicBezTo>
                    <a:pt x="9063" y="5659"/>
                    <a:pt x="8899" y="6614"/>
                    <a:pt x="8723" y="6614"/>
                  </a:cubicBezTo>
                  <a:cubicBezTo>
                    <a:pt x="8547" y="6617"/>
                    <a:pt x="8302" y="6625"/>
                    <a:pt x="8180" y="6643"/>
                  </a:cubicBezTo>
                  <a:cubicBezTo>
                    <a:pt x="8057" y="6660"/>
                    <a:pt x="7868" y="6729"/>
                    <a:pt x="7760" y="6799"/>
                  </a:cubicBezTo>
                  <a:cubicBezTo>
                    <a:pt x="7651" y="6869"/>
                    <a:pt x="7512" y="7030"/>
                    <a:pt x="7447" y="7153"/>
                  </a:cubicBezTo>
                  <a:cubicBezTo>
                    <a:pt x="7383" y="7278"/>
                    <a:pt x="7347" y="8064"/>
                    <a:pt x="7367" y="8900"/>
                  </a:cubicBezTo>
                  <a:cubicBezTo>
                    <a:pt x="7386" y="9736"/>
                    <a:pt x="6362" y="10427"/>
                    <a:pt x="5091" y="10439"/>
                  </a:cubicBezTo>
                  <a:cubicBezTo>
                    <a:pt x="4211" y="10442"/>
                    <a:pt x="3333" y="10453"/>
                    <a:pt x="2455" y="10459"/>
                  </a:cubicBezTo>
                  <a:cubicBezTo>
                    <a:pt x="1191" y="10468"/>
                    <a:pt x="160" y="10491"/>
                    <a:pt x="160" y="10510"/>
                  </a:cubicBezTo>
                  <a:cubicBezTo>
                    <a:pt x="160" y="10528"/>
                    <a:pt x="123" y="10624"/>
                    <a:pt x="74" y="10725"/>
                  </a:cubicBezTo>
                  <a:cubicBezTo>
                    <a:pt x="22" y="10823"/>
                    <a:pt x="-6" y="11051"/>
                    <a:pt x="1" y="11226"/>
                  </a:cubicBezTo>
                  <a:cubicBezTo>
                    <a:pt x="7" y="11401"/>
                    <a:pt x="102" y="11452"/>
                    <a:pt x="211" y="11340"/>
                  </a:cubicBezTo>
                  <a:cubicBezTo>
                    <a:pt x="320" y="11225"/>
                    <a:pt x="445" y="11223"/>
                    <a:pt x="484" y="11334"/>
                  </a:cubicBezTo>
                  <a:cubicBezTo>
                    <a:pt x="524" y="11444"/>
                    <a:pt x="595" y="11548"/>
                    <a:pt x="634" y="11572"/>
                  </a:cubicBezTo>
                  <a:cubicBezTo>
                    <a:pt x="674" y="11596"/>
                    <a:pt x="758" y="11573"/>
                    <a:pt x="817" y="11528"/>
                  </a:cubicBezTo>
                  <a:cubicBezTo>
                    <a:pt x="880" y="11487"/>
                    <a:pt x="1043" y="11609"/>
                    <a:pt x="1186" y="11806"/>
                  </a:cubicBezTo>
                  <a:cubicBezTo>
                    <a:pt x="1330" y="12002"/>
                    <a:pt x="1393" y="12211"/>
                    <a:pt x="1331" y="12271"/>
                  </a:cubicBezTo>
                  <a:cubicBezTo>
                    <a:pt x="1267" y="12329"/>
                    <a:pt x="1245" y="12457"/>
                    <a:pt x="1284" y="12552"/>
                  </a:cubicBezTo>
                  <a:cubicBezTo>
                    <a:pt x="1325" y="12648"/>
                    <a:pt x="1325" y="12854"/>
                    <a:pt x="1292" y="13009"/>
                  </a:cubicBezTo>
                  <a:cubicBezTo>
                    <a:pt x="1259" y="13165"/>
                    <a:pt x="1176" y="13295"/>
                    <a:pt x="1109" y="13292"/>
                  </a:cubicBezTo>
                  <a:cubicBezTo>
                    <a:pt x="1042" y="13295"/>
                    <a:pt x="942" y="13324"/>
                    <a:pt x="884" y="13359"/>
                  </a:cubicBezTo>
                  <a:cubicBezTo>
                    <a:pt x="826" y="13395"/>
                    <a:pt x="900" y="13592"/>
                    <a:pt x="1042" y="13793"/>
                  </a:cubicBezTo>
                  <a:cubicBezTo>
                    <a:pt x="1186" y="13993"/>
                    <a:pt x="1385" y="14544"/>
                    <a:pt x="1483" y="15016"/>
                  </a:cubicBezTo>
                  <a:cubicBezTo>
                    <a:pt x="1580" y="15488"/>
                    <a:pt x="1635" y="16142"/>
                    <a:pt x="1605" y="16469"/>
                  </a:cubicBezTo>
                  <a:cubicBezTo>
                    <a:pt x="1572" y="16795"/>
                    <a:pt x="1452" y="17190"/>
                    <a:pt x="1331" y="17343"/>
                  </a:cubicBezTo>
                  <a:cubicBezTo>
                    <a:pt x="1209" y="17496"/>
                    <a:pt x="1049" y="17853"/>
                    <a:pt x="975" y="18134"/>
                  </a:cubicBezTo>
                  <a:cubicBezTo>
                    <a:pt x="900" y="18417"/>
                    <a:pt x="811" y="18798"/>
                    <a:pt x="788" y="18982"/>
                  </a:cubicBezTo>
                  <a:cubicBezTo>
                    <a:pt x="762" y="19167"/>
                    <a:pt x="811" y="19272"/>
                    <a:pt x="893" y="19212"/>
                  </a:cubicBezTo>
                  <a:cubicBezTo>
                    <a:pt x="977" y="19153"/>
                    <a:pt x="1104" y="19105"/>
                    <a:pt x="1176" y="19105"/>
                  </a:cubicBezTo>
                  <a:cubicBezTo>
                    <a:pt x="1247" y="19105"/>
                    <a:pt x="1387" y="19037"/>
                    <a:pt x="1486" y="18949"/>
                  </a:cubicBezTo>
                  <a:close/>
                  <a:moveTo>
                    <a:pt x="1486" y="189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7" name="AutoShape 809"/>
            <p:cNvSpPr>
              <a:spLocks/>
            </p:cNvSpPr>
            <p:nvPr/>
          </p:nvSpPr>
          <p:spPr bwMode="auto">
            <a:xfrm>
              <a:off x="6858000" y="4191000"/>
              <a:ext cx="66675" cy="61913"/>
            </a:xfrm>
            <a:custGeom>
              <a:avLst/>
              <a:gdLst/>
              <a:ahLst/>
              <a:cxnLst/>
              <a:rect l="0" t="0" r="r" b="b"/>
              <a:pathLst>
                <a:path w="21600" h="21415">
                  <a:moveTo>
                    <a:pt x="21376" y="9232"/>
                  </a:moveTo>
                  <a:cubicBezTo>
                    <a:pt x="21200" y="16143"/>
                    <a:pt x="11571" y="21600"/>
                    <a:pt x="0" y="21410"/>
                  </a:cubicBezTo>
                  <a:cubicBezTo>
                    <a:pt x="11571" y="21600"/>
                    <a:pt x="21196" y="16179"/>
                    <a:pt x="21376" y="9309"/>
                  </a:cubicBezTo>
                  <a:cubicBezTo>
                    <a:pt x="21469" y="5609"/>
                    <a:pt x="21549" y="2301"/>
                    <a:pt x="21600" y="0"/>
                  </a:cubicBezTo>
                  <a:cubicBezTo>
                    <a:pt x="21105" y="3693"/>
                    <a:pt x="21420" y="6915"/>
                    <a:pt x="21376" y="9232"/>
                  </a:cubicBezTo>
                  <a:close/>
                  <a:moveTo>
                    <a:pt x="21376" y="92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8" name="AutoShape 810"/>
            <p:cNvSpPr>
              <a:spLocks/>
            </p:cNvSpPr>
            <p:nvPr/>
          </p:nvSpPr>
          <p:spPr bwMode="auto">
            <a:xfrm>
              <a:off x="6743700" y="4305300"/>
              <a:ext cx="838200" cy="777875"/>
            </a:xfrm>
            <a:custGeom>
              <a:avLst/>
              <a:gdLst/>
              <a:ahLst/>
              <a:cxnLst/>
              <a:rect l="0" t="0" r="r" b="b"/>
              <a:pathLst>
                <a:path w="21574" h="21569">
                  <a:moveTo>
                    <a:pt x="9024" y="21174"/>
                  </a:moveTo>
                  <a:cubicBezTo>
                    <a:pt x="9068" y="21141"/>
                    <a:pt x="9126" y="21039"/>
                    <a:pt x="9145" y="20945"/>
                  </a:cubicBezTo>
                  <a:cubicBezTo>
                    <a:pt x="9168" y="20852"/>
                    <a:pt x="9158" y="20726"/>
                    <a:pt x="9127" y="20668"/>
                  </a:cubicBezTo>
                  <a:cubicBezTo>
                    <a:pt x="9095" y="20609"/>
                    <a:pt x="9072" y="20496"/>
                    <a:pt x="9076" y="20418"/>
                  </a:cubicBezTo>
                  <a:cubicBezTo>
                    <a:pt x="9081" y="20340"/>
                    <a:pt x="9140" y="20264"/>
                    <a:pt x="9210" y="20249"/>
                  </a:cubicBezTo>
                  <a:cubicBezTo>
                    <a:pt x="9280" y="20233"/>
                    <a:pt x="9328" y="20131"/>
                    <a:pt x="9318" y="20019"/>
                  </a:cubicBezTo>
                  <a:cubicBezTo>
                    <a:pt x="9309" y="19907"/>
                    <a:pt x="9279" y="19759"/>
                    <a:pt x="9256" y="19688"/>
                  </a:cubicBezTo>
                  <a:cubicBezTo>
                    <a:pt x="9232" y="19617"/>
                    <a:pt x="9266" y="19514"/>
                    <a:pt x="9333" y="19458"/>
                  </a:cubicBezTo>
                  <a:cubicBezTo>
                    <a:pt x="9399" y="19402"/>
                    <a:pt x="9529" y="19295"/>
                    <a:pt x="9619" y="19221"/>
                  </a:cubicBezTo>
                  <a:cubicBezTo>
                    <a:pt x="9709" y="19144"/>
                    <a:pt x="9871" y="18917"/>
                    <a:pt x="9977" y="18711"/>
                  </a:cubicBezTo>
                  <a:cubicBezTo>
                    <a:pt x="10080" y="18504"/>
                    <a:pt x="10230" y="18245"/>
                    <a:pt x="10310" y="18134"/>
                  </a:cubicBezTo>
                  <a:cubicBezTo>
                    <a:pt x="10386" y="18021"/>
                    <a:pt x="10452" y="17884"/>
                    <a:pt x="10457" y="17828"/>
                  </a:cubicBezTo>
                  <a:cubicBezTo>
                    <a:pt x="10462" y="17772"/>
                    <a:pt x="10529" y="17599"/>
                    <a:pt x="10617" y="17447"/>
                  </a:cubicBezTo>
                  <a:cubicBezTo>
                    <a:pt x="10702" y="17294"/>
                    <a:pt x="10811" y="17155"/>
                    <a:pt x="10860" y="17134"/>
                  </a:cubicBezTo>
                  <a:cubicBezTo>
                    <a:pt x="10908" y="17113"/>
                    <a:pt x="10960" y="17056"/>
                    <a:pt x="10975" y="17003"/>
                  </a:cubicBezTo>
                  <a:cubicBezTo>
                    <a:pt x="10991" y="16952"/>
                    <a:pt x="11089" y="16905"/>
                    <a:pt x="11198" y="16900"/>
                  </a:cubicBezTo>
                  <a:cubicBezTo>
                    <a:pt x="11306" y="16895"/>
                    <a:pt x="11429" y="16903"/>
                    <a:pt x="11471" y="16914"/>
                  </a:cubicBezTo>
                  <a:cubicBezTo>
                    <a:pt x="11513" y="16924"/>
                    <a:pt x="11703" y="16885"/>
                    <a:pt x="11892" y="16824"/>
                  </a:cubicBezTo>
                  <a:cubicBezTo>
                    <a:pt x="12081" y="16762"/>
                    <a:pt x="12258" y="16647"/>
                    <a:pt x="12293" y="16571"/>
                  </a:cubicBezTo>
                  <a:cubicBezTo>
                    <a:pt x="12326" y="16492"/>
                    <a:pt x="12515" y="16311"/>
                    <a:pt x="12715" y="16167"/>
                  </a:cubicBezTo>
                  <a:cubicBezTo>
                    <a:pt x="12916" y="16025"/>
                    <a:pt x="13308" y="15772"/>
                    <a:pt x="13589" y="15604"/>
                  </a:cubicBezTo>
                  <a:cubicBezTo>
                    <a:pt x="13868" y="15436"/>
                    <a:pt x="14173" y="15234"/>
                    <a:pt x="14264" y="15152"/>
                  </a:cubicBezTo>
                  <a:cubicBezTo>
                    <a:pt x="14355" y="15069"/>
                    <a:pt x="14520" y="14943"/>
                    <a:pt x="14633" y="14877"/>
                  </a:cubicBezTo>
                  <a:cubicBezTo>
                    <a:pt x="14746" y="14811"/>
                    <a:pt x="14981" y="14730"/>
                    <a:pt x="15155" y="14697"/>
                  </a:cubicBezTo>
                  <a:cubicBezTo>
                    <a:pt x="15330" y="14666"/>
                    <a:pt x="15547" y="14630"/>
                    <a:pt x="15638" y="14619"/>
                  </a:cubicBezTo>
                  <a:cubicBezTo>
                    <a:pt x="15729" y="14609"/>
                    <a:pt x="15887" y="14626"/>
                    <a:pt x="15989" y="14661"/>
                  </a:cubicBezTo>
                  <a:cubicBezTo>
                    <a:pt x="16091" y="14696"/>
                    <a:pt x="16227" y="14729"/>
                    <a:pt x="16292" y="14734"/>
                  </a:cubicBezTo>
                  <a:cubicBezTo>
                    <a:pt x="16357" y="14739"/>
                    <a:pt x="16432" y="14768"/>
                    <a:pt x="16460" y="14798"/>
                  </a:cubicBezTo>
                  <a:cubicBezTo>
                    <a:pt x="16488" y="14828"/>
                    <a:pt x="16520" y="14834"/>
                    <a:pt x="16530" y="14812"/>
                  </a:cubicBezTo>
                  <a:cubicBezTo>
                    <a:pt x="16539" y="14788"/>
                    <a:pt x="16618" y="14786"/>
                    <a:pt x="16702" y="14811"/>
                  </a:cubicBezTo>
                  <a:cubicBezTo>
                    <a:pt x="16786" y="14832"/>
                    <a:pt x="17058" y="14826"/>
                    <a:pt x="17309" y="14800"/>
                  </a:cubicBezTo>
                  <a:cubicBezTo>
                    <a:pt x="17559" y="14772"/>
                    <a:pt x="17832" y="14755"/>
                    <a:pt x="17916" y="14760"/>
                  </a:cubicBezTo>
                  <a:cubicBezTo>
                    <a:pt x="17999" y="14771"/>
                    <a:pt x="18146" y="14735"/>
                    <a:pt x="18239" y="14684"/>
                  </a:cubicBezTo>
                  <a:cubicBezTo>
                    <a:pt x="18332" y="14634"/>
                    <a:pt x="18537" y="14592"/>
                    <a:pt x="18694" y="14592"/>
                  </a:cubicBezTo>
                  <a:cubicBezTo>
                    <a:pt x="18850" y="14589"/>
                    <a:pt x="19037" y="14588"/>
                    <a:pt x="19110" y="14588"/>
                  </a:cubicBezTo>
                  <a:cubicBezTo>
                    <a:pt x="19182" y="14588"/>
                    <a:pt x="19328" y="14527"/>
                    <a:pt x="19432" y="14450"/>
                  </a:cubicBezTo>
                  <a:cubicBezTo>
                    <a:pt x="19536" y="14373"/>
                    <a:pt x="19710" y="14306"/>
                    <a:pt x="19817" y="14298"/>
                  </a:cubicBezTo>
                  <a:cubicBezTo>
                    <a:pt x="19924" y="14288"/>
                    <a:pt x="20101" y="14234"/>
                    <a:pt x="20208" y="14172"/>
                  </a:cubicBezTo>
                  <a:cubicBezTo>
                    <a:pt x="20316" y="14112"/>
                    <a:pt x="20551" y="13971"/>
                    <a:pt x="20732" y="13862"/>
                  </a:cubicBezTo>
                  <a:cubicBezTo>
                    <a:pt x="20912" y="13752"/>
                    <a:pt x="21081" y="13591"/>
                    <a:pt x="21105" y="13505"/>
                  </a:cubicBezTo>
                  <a:cubicBezTo>
                    <a:pt x="21129" y="13418"/>
                    <a:pt x="21161" y="13238"/>
                    <a:pt x="21170" y="13103"/>
                  </a:cubicBezTo>
                  <a:cubicBezTo>
                    <a:pt x="21180" y="12967"/>
                    <a:pt x="21239" y="12826"/>
                    <a:pt x="21298" y="12787"/>
                  </a:cubicBezTo>
                  <a:cubicBezTo>
                    <a:pt x="21358" y="12752"/>
                    <a:pt x="21429" y="12431"/>
                    <a:pt x="21453" y="12078"/>
                  </a:cubicBezTo>
                  <a:cubicBezTo>
                    <a:pt x="21482" y="11725"/>
                    <a:pt x="21520" y="10820"/>
                    <a:pt x="21539" y="10064"/>
                  </a:cubicBezTo>
                  <a:cubicBezTo>
                    <a:pt x="21561" y="9363"/>
                    <a:pt x="21574" y="8779"/>
                    <a:pt x="21574" y="8699"/>
                  </a:cubicBezTo>
                  <a:cubicBezTo>
                    <a:pt x="21574" y="8695"/>
                    <a:pt x="21574" y="8692"/>
                    <a:pt x="21574" y="8689"/>
                  </a:cubicBezTo>
                  <a:cubicBezTo>
                    <a:pt x="21576" y="8689"/>
                    <a:pt x="21464" y="8726"/>
                    <a:pt x="21330" y="8771"/>
                  </a:cubicBezTo>
                  <a:cubicBezTo>
                    <a:pt x="21196" y="8820"/>
                    <a:pt x="20950" y="8874"/>
                    <a:pt x="20784" y="8899"/>
                  </a:cubicBezTo>
                  <a:cubicBezTo>
                    <a:pt x="20618" y="8920"/>
                    <a:pt x="20410" y="8917"/>
                    <a:pt x="20325" y="8880"/>
                  </a:cubicBezTo>
                  <a:cubicBezTo>
                    <a:pt x="20239" y="8844"/>
                    <a:pt x="20147" y="8770"/>
                    <a:pt x="20124" y="8710"/>
                  </a:cubicBezTo>
                  <a:cubicBezTo>
                    <a:pt x="20102" y="8649"/>
                    <a:pt x="20111" y="8503"/>
                    <a:pt x="20143" y="8381"/>
                  </a:cubicBezTo>
                  <a:cubicBezTo>
                    <a:pt x="20176" y="8260"/>
                    <a:pt x="20209" y="8112"/>
                    <a:pt x="20214" y="8052"/>
                  </a:cubicBezTo>
                  <a:cubicBezTo>
                    <a:pt x="20218" y="7992"/>
                    <a:pt x="20164" y="7886"/>
                    <a:pt x="20094" y="7819"/>
                  </a:cubicBezTo>
                  <a:cubicBezTo>
                    <a:pt x="20024" y="7753"/>
                    <a:pt x="19898" y="7674"/>
                    <a:pt x="19811" y="7648"/>
                  </a:cubicBezTo>
                  <a:cubicBezTo>
                    <a:pt x="19725" y="7623"/>
                    <a:pt x="19600" y="7531"/>
                    <a:pt x="19536" y="7444"/>
                  </a:cubicBezTo>
                  <a:cubicBezTo>
                    <a:pt x="19469" y="7357"/>
                    <a:pt x="19333" y="7250"/>
                    <a:pt x="19228" y="7217"/>
                  </a:cubicBezTo>
                  <a:cubicBezTo>
                    <a:pt x="19124" y="7180"/>
                    <a:pt x="18931" y="7153"/>
                    <a:pt x="18798" y="7163"/>
                  </a:cubicBezTo>
                  <a:cubicBezTo>
                    <a:pt x="18665" y="7168"/>
                    <a:pt x="18494" y="7116"/>
                    <a:pt x="18418" y="7040"/>
                  </a:cubicBezTo>
                  <a:cubicBezTo>
                    <a:pt x="18343" y="6963"/>
                    <a:pt x="18247" y="6748"/>
                    <a:pt x="18204" y="6559"/>
                  </a:cubicBezTo>
                  <a:cubicBezTo>
                    <a:pt x="18161" y="6371"/>
                    <a:pt x="17498" y="5765"/>
                    <a:pt x="16728" y="5211"/>
                  </a:cubicBezTo>
                  <a:cubicBezTo>
                    <a:pt x="14770" y="3809"/>
                    <a:pt x="12808" y="2402"/>
                    <a:pt x="10839" y="997"/>
                  </a:cubicBezTo>
                  <a:cubicBezTo>
                    <a:pt x="10061" y="440"/>
                    <a:pt x="9061" y="-5"/>
                    <a:pt x="8617" y="0"/>
                  </a:cubicBezTo>
                  <a:cubicBezTo>
                    <a:pt x="8173" y="10"/>
                    <a:pt x="7875" y="833"/>
                    <a:pt x="7957" y="1835"/>
                  </a:cubicBezTo>
                  <a:cubicBezTo>
                    <a:pt x="8200" y="4845"/>
                    <a:pt x="8444" y="7853"/>
                    <a:pt x="8685" y="10855"/>
                  </a:cubicBezTo>
                  <a:cubicBezTo>
                    <a:pt x="8764" y="11854"/>
                    <a:pt x="8924" y="12730"/>
                    <a:pt x="9035" y="12805"/>
                  </a:cubicBezTo>
                  <a:cubicBezTo>
                    <a:pt x="9148" y="12880"/>
                    <a:pt x="9140" y="13232"/>
                    <a:pt x="9022" y="13587"/>
                  </a:cubicBezTo>
                  <a:cubicBezTo>
                    <a:pt x="8903" y="13943"/>
                    <a:pt x="8041" y="14236"/>
                    <a:pt x="7109" y="14241"/>
                  </a:cubicBezTo>
                  <a:cubicBezTo>
                    <a:pt x="6662" y="14241"/>
                    <a:pt x="6214" y="14246"/>
                    <a:pt x="5766" y="14246"/>
                  </a:cubicBezTo>
                  <a:cubicBezTo>
                    <a:pt x="4834" y="14249"/>
                    <a:pt x="4040" y="14238"/>
                    <a:pt x="4002" y="14217"/>
                  </a:cubicBezTo>
                  <a:cubicBezTo>
                    <a:pt x="3964" y="14197"/>
                    <a:pt x="3897" y="14134"/>
                    <a:pt x="3855" y="14073"/>
                  </a:cubicBezTo>
                  <a:cubicBezTo>
                    <a:pt x="3814" y="14014"/>
                    <a:pt x="3741" y="13967"/>
                    <a:pt x="3695" y="13964"/>
                  </a:cubicBezTo>
                  <a:cubicBezTo>
                    <a:pt x="3650" y="13967"/>
                    <a:pt x="3562" y="14030"/>
                    <a:pt x="3498" y="14107"/>
                  </a:cubicBezTo>
                  <a:cubicBezTo>
                    <a:pt x="3437" y="14189"/>
                    <a:pt x="3348" y="14211"/>
                    <a:pt x="3306" y="14161"/>
                  </a:cubicBezTo>
                  <a:cubicBezTo>
                    <a:pt x="3265" y="14112"/>
                    <a:pt x="3228" y="13980"/>
                    <a:pt x="3223" y="13867"/>
                  </a:cubicBezTo>
                  <a:cubicBezTo>
                    <a:pt x="3218" y="13755"/>
                    <a:pt x="3146" y="13636"/>
                    <a:pt x="3063" y="13601"/>
                  </a:cubicBezTo>
                  <a:cubicBezTo>
                    <a:pt x="2978" y="13566"/>
                    <a:pt x="2757" y="13608"/>
                    <a:pt x="2571" y="13696"/>
                  </a:cubicBezTo>
                  <a:cubicBezTo>
                    <a:pt x="2386" y="13781"/>
                    <a:pt x="2161" y="14001"/>
                    <a:pt x="2076" y="14187"/>
                  </a:cubicBezTo>
                  <a:cubicBezTo>
                    <a:pt x="1989" y="14371"/>
                    <a:pt x="1886" y="14499"/>
                    <a:pt x="1846" y="14473"/>
                  </a:cubicBezTo>
                  <a:cubicBezTo>
                    <a:pt x="1807" y="14447"/>
                    <a:pt x="1722" y="14321"/>
                    <a:pt x="1661" y="14192"/>
                  </a:cubicBezTo>
                  <a:cubicBezTo>
                    <a:pt x="1598" y="14063"/>
                    <a:pt x="1536" y="13880"/>
                    <a:pt x="1526" y="13781"/>
                  </a:cubicBezTo>
                  <a:cubicBezTo>
                    <a:pt x="1516" y="13683"/>
                    <a:pt x="1434" y="13602"/>
                    <a:pt x="1347" y="13596"/>
                  </a:cubicBezTo>
                  <a:cubicBezTo>
                    <a:pt x="1259" y="13591"/>
                    <a:pt x="1096" y="13624"/>
                    <a:pt x="984" y="13663"/>
                  </a:cubicBezTo>
                  <a:cubicBezTo>
                    <a:pt x="871" y="13704"/>
                    <a:pt x="781" y="13857"/>
                    <a:pt x="781" y="14004"/>
                  </a:cubicBezTo>
                  <a:cubicBezTo>
                    <a:pt x="781" y="14151"/>
                    <a:pt x="781" y="14315"/>
                    <a:pt x="788" y="14366"/>
                  </a:cubicBezTo>
                  <a:cubicBezTo>
                    <a:pt x="793" y="14419"/>
                    <a:pt x="765" y="14552"/>
                    <a:pt x="726" y="14660"/>
                  </a:cubicBezTo>
                  <a:cubicBezTo>
                    <a:pt x="689" y="14770"/>
                    <a:pt x="565" y="14864"/>
                    <a:pt x="453" y="14871"/>
                  </a:cubicBezTo>
                  <a:cubicBezTo>
                    <a:pt x="341" y="14876"/>
                    <a:pt x="176" y="14940"/>
                    <a:pt x="92" y="15013"/>
                  </a:cubicBezTo>
                  <a:cubicBezTo>
                    <a:pt x="5" y="15083"/>
                    <a:pt x="-24" y="15178"/>
                    <a:pt x="22" y="15224"/>
                  </a:cubicBezTo>
                  <a:cubicBezTo>
                    <a:pt x="34" y="15235"/>
                    <a:pt x="46" y="15250"/>
                    <a:pt x="57" y="15266"/>
                  </a:cubicBezTo>
                  <a:cubicBezTo>
                    <a:pt x="58" y="15269"/>
                    <a:pt x="59" y="15272"/>
                    <a:pt x="61" y="15274"/>
                  </a:cubicBezTo>
                  <a:cubicBezTo>
                    <a:pt x="69" y="15289"/>
                    <a:pt x="78" y="15304"/>
                    <a:pt x="84" y="15320"/>
                  </a:cubicBezTo>
                  <a:cubicBezTo>
                    <a:pt x="101" y="15358"/>
                    <a:pt x="111" y="15399"/>
                    <a:pt x="111" y="15435"/>
                  </a:cubicBezTo>
                  <a:cubicBezTo>
                    <a:pt x="111" y="15506"/>
                    <a:pt x="131" y="15611"/>
                    <a:pt x="157" y="15667"/>
                  </a:cubicBezTo>
                  <a:cubicBezTo>
                    <a:pt x="180" y="15725"/>
                    <a:pt x="171" y="15898"/>
                    <a:pt x="133" y="16055"/>
                  </a:cubicBezTo>
                  <a:cubicBezTo>
                    <a:pt x="95" y="16212"/>
                    <a:pt x="73" y="16380"/>
                    <a:pt x="83" y="16430"/>
                  </a:cubicBezTo>
                  <a:cubicBezTo>
                    <a:pt x="92" y="16479"/>
                    <a:pt x="176" y="16590"/>
                    <a:pt x="263" y="16682"/>
                  </a:cubicBezTo>
                  <a:cubicBezTo>
                    <a:pt x="348" y="16775"/>
                    <a:pt x="456" y="16924"/>
                    <a:pt x="493" y="17024"/>
                  </a:cubicBezTo>
                  <a:cubicBezTo>
                    <a:pt x="531" y="17121"/>
                    <a:pt x="600" y="17235"/>
                    <a:pt x="646" y="17275"/>
                  </a:cubicBezTo>
                  <a:cubicBezTo>
                    <a:pt x="693" y="17315"/>
                    <a:pt x="761" y="17347"/>
                    <a:pt x="799" y="17336"/>
                  </a:cubicBezTo>
                  <a:cubicBezTo>
                    <a:pt x="838" y="17331"/>
                    <a:pt x="902" y="17356"/>
                    <a:pt x="945" y="17392"/>
                  </a:cubicBezTo>
                  <a:cubicBezTo>
                    <a:pt x="988" y="17428"/>
                    <a:pt x="1033" y="17504"/>
                    <a:pt x="1054" y="17556"/>
                  </a:cubicBezTo>
                  <a:cubicBezTo>
                    <a:pt x="1073" y="17607"/>
                    <a:pt x="1128" y="17699"/>
                    <a:pt x="1176" y="17761"/>
                  </a:cubicBezTo>
                  <a:cubicBezTo>
                    <a:pt x="1223" y="17821"/>
                    <a:pt x="1262" y="17906"/>
                    <a:pt x="1259" y="17951"/>
                  </a:cubicBezTo>
                  <a:cubicBezTo>
                    <a:pt x="1255" y="17994"/>
                    <a:pt x="1232" y="18066"/>
                    <a:pt x="1215" y="18112"/>
                  </a:cubicBezTo>
                  <a:cubicBezTo>
                    <a:pt x="1197" y="18158"/>
                    <a:pt x="1179" y="18243"/>
                    <a:pt x="1184" y="18302"/>
                  </a:cubicBezTo>
                  <a:cubicBezTo>
                    <a:pt x="1189" y="18361"/>
                    <a:pt x="1269" y="18456"/>
                    <a:pt x="1363" y="18513"/>
                  </a:cubicBezTo>
                  <a:cubicBezTo>
                    <a:pt x="1458" y="18570"/>
                    <a:pt x="1534" y="18671"/>
                    <a:pt x="1529" y="18738"/>
                  </a:cubicBezTo>
                  <a:cubicBezTo>
                    <a:pt x="1527" y="18805"/>
                    <a:pt x="1509" y="18899"/>
                    <a:pt x="1491" y="18947"/>
                  </a:cubicBezTo>
                  <a:cubicBezTo>
                    <a:pt x="1482" y="18970"/>
                    <a:pt x="1474" y="18991"/>
                    <a:pt x="1469" y="19008"/>
                  </a:cubicBezTo>
                  <a:cubicBezTo>
                    <a:pt x="1486" y="19045"/>
                    <a:pt x="1511" y="19077"/>
                    <a:pt x="1537" y="19089"/>
                  </a:cubicBezTo>
                  <a:cubicBezTo>
                    <a:pt x="1578" y="19114"/>
                    <a:pt x="1679" y="19100"/>
                    <a:pt x="1760" y="19064"/>
                  </a:cubicBezTo>
                  <a:cubicBezTo>
                    <a:pt x="1841" y="19032"/>
                    <a:pt x="1945" y="19017"/>
                    <a:pt x="1994" y="19038"/>
                  </a:cubicBezTo>
                  <a:cubicBezTo>
                    <a:pt x="2044" y="19060"/>
                    <a:pt x="2148" y="19130"/>
                    <a:pt x="2230" y="19187"/>
                  </a:cubicBezTo>
                  <a:cubicBezTo>
                    <a:pt x="2310" y="19249"/>
                    <a:pt x="2451" y="19297"/>
                    <a:pt x="2542" y="19297"/>
                  </a:cubicBezTo>
                  <a:cubicBezTo>
                    <a:pt x="2633" y="19297"/>
                    <a:pt x="2767" y="19251"/>
                    <a:pt x="2841" y="19196"/>
                  </a:cubicBezTo>
                  <a:cubicBezTo>
                    <a:pt x="2914" y="19142"/>
                    <a:pt x="3014" y="19095"/>
                    <a:pt x="3063" y="19089"/>
                  </a:cubicBezTo>
                  <a:cubicBezTo>
                    <a:pt x="3111" y="19084"/>
                    <a:pt x="3209" y="18995"/>
                    <a:pt x="3278" y="18887"/>
                  </a:cubicBezTo>
                  <a:cubicBezTo>
                    <a:pt x="3349" y="18780"/>
                    <a:pt x="3462" y="18690"/>
                    <a:pt x="3532" y="18685"/>
                  </a:cubicBezTo>
                  <a:cubicBezTo>
                    <a:pt x="3603" y="18680"/>
                    <a:pt x="3741" y="18714"/>
                    <a:pt x="3838" y="18759"/>
                  </a:cubicBezTo>
                  <a:cubicBezTo>
                    <a:pt x="3936" y="18805"/>
                    <a:pt x="4043" y="18817"/>
                    <a:pt x="4074" y="18787"/>
                  </a:cubicBezTo>
                  <a:cubicBezTo>
                    <a:pt x="4105" y="18759"/>
                    <a:pt x="4185" y="18714"/>
                    <a:pt x="4252" y="18693"/>
                  </a:cubicBezTo>
                  <a:cubicBezTo>
                    <a:pt x="4319" y="18672"/>
                    <a:pt x="4381" y="18685"/>
                    <a:pt x="4385" y="18727"/>
                  </a:cubicBezTo>
                  <a:cubicBezTo>
                    <a:pt x="4395" y="18767"/>
                    <a:pt x="4464" y="18860"/>
                    <a:pt x="4545" y="18931"/>
                  </a:cubicBezTo>
                  <a:cubicBezTo>
                    <a:pt x="4625" y="19002"/>
                    <a:pt x="4724" y="19126"/>
                    <a:pt x="4762" y="19209"/>
                  </a:cubicBezTo>
                  <a:cubicBezTo>
                    <a:pt x="4801" y="19291"/>
                    <a:pt x="4812" y="19446"/>
                    <a:pt x="4788" y="19554"/>
                  </a:cubicBezTo>
                  <a:cubicBezTo>
                    <a:pt x="4763" y="19661"/>
                    <a:pt x="4778" y="19775"/>
                    <a:pt x="4820" y="19805"/>
                  </a:cubicBezTo>
                  <a:cubicBezTo>
                    <a:pt x="4862" y="19835"/>
                    <a:pt x="4962" y="19880"/>
                    <a:pt x="5043" y="19900"/>
                  </a:cubicBezTo>
                  <a:cubicBezTo>
                    <a:pt x="5123" y="19921"/>
                    <a:pt x="5189" y="19977"/>
                    <a:pt x="5189" y="20021"/>
                  </a:cubicBezTo>
                  <a:cubicBezTo>
                    <a:pt x="5189" y="20065"/>
                    <a:pt x="5136" y="20181"/>
                    <a:pt x="5069" y="20278"/>
                  </a:cubicBezTo>
                  <a:cubicBezTo>
                    <a:pt x="5002" y="20375"/>
                    <a:pt x="4918" y="20535"/>
                    <a:pt x="4885" y="20636"/>
                  </a:cubicBezTo>
                  <a:cubicBezTo>
                    <a:pt x="4852" y="20736"/>
                    <a:pt x="4873" y="20814"/>
                    <a:pt x="4936" y="20804"/>
                  </a:cubicBezTo>
                  <a:cubicBezTo>
                    <a:pt x="4999" y="20798"/>
                    <a:pt x="5079" y="20746"/>
                    <a:pt x="5120" y="20697"/>
                  </a:cubicBezTo>
                  <a:cubicBezTo>
                    <a:pt x="5159" y="20645"/>
                    <a:pt x="5227" y="20601"/>
                    <a:pt x="5273" y="20597"/>
                  </a:cubicBezTo>
                  <a:cubicBezTo>
                    <a:pt x="5319" y="20597"/>
                    <a:pt x="5356" y="20650"/>
                    <a:pt x="5356" y="20724"/>
                  </a:cubicBezTo>
                  <a:cubicBezTo>
                    <a:pt x="5356" y="20798"/>
                    <a:pt x="5380" y="20897"/>
                    <a:pt x="5407" y="20946"/>
                  </a:cubicBezTo>
                  <a:cubicBezTo>
                    <a:pt x="5433" y="20996"/>
                    <a:pt x="5458" y="21071"/>
                    <a:pt x="5458" y="21116"/>
                  </a:cubicBezTo>
                  <a:cubicBezTo>
                    <a:pt x="5458" y="21159"/>
                    <a:pt x="5536" y="21198"/>
                    <a:pt x="5630" y="21203"/>
                  </a:cubicBezTo>
                  <a:cubicBezTo>
                    <a:pt x="5724" y="21208"/>
                    <a:pt x="5828" y="21245"/>
                    <a:pt x="5865" y="21285"/>
                  </a:cubicBezTo>
                  <a:cubicBezTo>
                    <a:pt x="5899" y="21326"/>
                    <a:pt x="5933" y="21401"/>
                    <a:pt x="5933" y="21454"/>
                  </a:cubicBezTo>
                  <a:cubicBezTo>
                    <a:pt x="5933" y="21506"/>
                    <a:pt x="6022" y="21493"/>
                    <a:pt x="6130" y="21434"/>
                  </a:cubicBezTo>
                  <a:cubicBezTo>
                    <a:pt x="6234" y="21368"/>
                    <a:pt x="6360" y="21317"/>
                    <a:pt x="6405" y="21312"/>
                  </a:cubicBezTo>
                  <a:cubicBezTo>
                    <a:pt x="6451" y="21307"/>
                    <a:pt x="6561" y="21339"/>
                    <a:pt x="6647" y="21385"/>
                  </a:cubicBezTo>
                  <a:cubicBezTo>
                    <a:pt x="6733" y="21433"/>
                    <a:pt x="6926" y="21475"/>
                    <a:pt x="7073" y="21486"/>
                  </a:cubicBezTo>
                  <a:cubicBezTo>
                    <a:pt x="7219" y="21496"/>
                    <a:pt x="7363" y="21479"/>
                    <a:pt x="7397" y="21453"/>
                  </a:cubicBezTo>
                  <a:cubicBezTo>
                    <a:pt x="7426" y="21421"/>
                    <a:pt x="7458" y="21372"/>
                    <a:pt x="7460" y="21338"/>
                  </a:cubicBezTo>
                  <a:cubicBezTo>
                    <a:pt x="7465" y="21305"/>
                    <a:pt x="7563" y="21256"/>
                    <a:pt x="7683" y="21230"/>
                  </a:cubicBezTo>
                  <a:cubicBezTo>
                    <a:pt x="7802" y="21205"/>
                    <a:pt x="7979" y="21194"/>
                    <a:pt x="8077" y="21210"/>
                  </a:cubicBezTo>
                  <a:cubicBezTo>
                    <a:pt x="8175" y="21225"/>
                    <a:pt x="8237" y="21257"/>
                    <a:pt x="8217" y="21284"/>
                  </a:cubicBezTo>
                  <a:cubicBezTo>
                    <a:pt x="8194" y="21308"/>
                    <a:pt x="8202" y="21368"/>
                    <a:pt x="8229" y="21412"/>
                  </a:cubicBezTo>
                  <a:cubicBezTo>
                    <a:pt x="8259" y="21454"/>
                    <a:pt x="8374" y="21521"/>
                    <a:pt x="8489" y="21559"/>
                  </a:cubicBezTo>
                  <a:cubicBezTo>
                    <a:pt x="8605" y="21595"/>
                    <a:pt x="8751" y="21536"/>
                    <a:pt x="8820" y="21430"/>
                  </a:cubicBezTo>
                  <a:cubicBezTo>
                    <a:pt x="8886" y="21323"/>
                    <a:pt x="8979" y="21208"/>
                    <a:pt x="9024" y="21174"/>
                  </a:cubicBezTo>
                  <a:close/>
                  <a:moveTo>
                    <a:pt x="9024" y="211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09" name="AutoShape 811"/>
            <p:cNvSpPr>
              <a:spLocks/>
            </p:cNvSpPr>
            <p:nvPr/>
          </p:nvSpPr>
          <p:spPr bwMode="auto">
            <a:xfrm>
              <a:off x="7099300" y="4838700"/>
              <a:ext cx="385763" cy="277813"/>
            </a:xfrm>
            <a:custGeom>
              <a:avLst/>
              <a:gdLst/>
              <a:ahLst/>
              <a:cxnLst/>
              <a:rect l="0" t="0" r="r" b="b"/>
              <a:pathLst>
                <a:path w="21592" h="21538">
                  <a:moveTo>
                    <a:pt x="21499" y="11668"/>
                  </a:moveTo>
                  <a:cubicBezTo>
                    <a:pt x="21448" y="11684"/>
                    <a:pt x="21263" y="11434"/>
                    <a:pt x="21094" y="11122"/>
                  </a:cubicBezTo>
                  <a:cubicBezTo>
                    <a:pt x="20921" y="10818"/>
                    <a:pt x="20862" y="10427"/>
                    <a:pt x="20952" y="10262"/>
                  </a:cubicBezTo>
                  <a:cubicBezTo>
                    <a:pt x="21047" y="10100"/>
                    <a:pt x="21102" y="9786"/>
                    <a:pt x="21093" y="9581"/>
                  </a:cubicBezTo>
                  <a:cubicBezTo>
                    <a:pt x="21082" y="9372"/>
                    <a:pt x="21024" y="9127"/>
                    <a:pt x="20960" y="9052"/>
                  </a:cubicBezTo>
                  <a:cubicBezTo>
                    <a:pt x="20903" y="8967"/>
                    <a:pt x="20827" y="8794"/>
                    <a:pt x="20812" y="8658"/>
                  </a:cubicBezTo>
                  <a:cubicBezTo>
                    <a:pt x="20793" y="8524"/>
                    <a:pt x="20707" y="8363"/>
                    <a:pt x="20624" y="8302"/>
                  </a:cubicBezTo>
                  <a:cubicBezTo>
                    <a:pt x="20540" y="8244"/>
                    <a:pt x="20197" y="8397"/>
                    <a:pt x="19857" y="8653"/>
                  </a:cubicBezTo>
                  <a:cubicBezTo>
                    <a:pt x="19519" y="8912"/>
                    <a:pt x="19023" y="8873"/>
                    <a:pt x="18751" y="8588"/>
                  </a:cubicBezTo>
                  <a:cubicBezTo>
                    <a:pt x="18487" y="8292"/>
                    <a:pt x="18251" y="7708"/>
                    <a:pt x="18240" y="7273"/>
                  </a:cubicBezTo>
                  <a:cubicBezTo>
                    <a:pt x="18224" y="6837"/>
                    <a:pt x="17609" y="5927"/>
                    <a:pt x="16869" y="5243"/>
                  </a:cubicBezTo>
                  <a:cubicBezTo>
                    <a:pt x="16126" y="4560"/>
                    <a:pt x="15519" y="3751"/>
                    <a:pt x="15519" y="3436"/>
                  </a:cubicBezTo>
                  <a:cubicBezTo>
                    <a:pt x="15519" y="3122"/>
                    <a:pt x="15599" y="2682"/>
                    <a:pt x="15702" y="2467"/>
                  </a:cubicBezTo>
                  <a:cubicBezTo>
                    <a:pt x="15801" y="2247"/>
                    <a:pt x="15902" y="1817"/>
                    <a:pt x="15939" y="1516"/>
                  </a:cubicBezTo>
                  <a:cubicBezTo>
                    <a:pt x="15971" y="1213"/>
                    <a:pt x="16018" y="892"/>
                    <a:pt x="16051" y="813"/>
                  </a:cubicBezTo>
                  <a:cubicBezTo>
                    <a:pt x="16081" y="730"/>
                    <a:pt x="16057" y="592"/>
                    <a:pt x="15997" y="509"/>
                  </a:cubicBezTo>
                  <a:cubicBezTo>
                    <a:pt x="15936" y="424"/>
                    <a:pt x="15774" y="343"/>
                    <a:pt x="15633" y="330"/>
                  </a:cubicBezTo>
                  <a:cubicBezTo>
                    <a:pt x="15493" y="315"/>
                    <a:pt x="15196" y="224"/>
                    <a:pt x="14977" y="126"/>
                  </a:cubicBezTo>
                  <a:cubicBezTo>
                    <a:pt x="14755" y="28"/>
                    <a:pt x="14412" y="-20"/>
                    <a:pt x="14215" y="9"/>
                  </a:cubicBezTo>
                  <a:cubicBezTo>
                    <a:pt x="14019" y="38"/>
                    <a:pt x="13548" y="139"/>
                    <a:pt x="13169" y="225"/>
                  </a:cubicBezTo>
                  <a:cubicBezTo>
                    <a:pt x="12793" y="317"/>
                    <a:pt x="12285" y="544"/>
                    <a:pt x="12040" y="727"/>
                  </a:cubicBezTo>
                  <a:cubicBezTo>
                    <a:pt x="11795" y="911"/>
                    <a:pt x="11437" y="1263"/>
                    <a:pt x="11239" y="1494"/>
                  </a:cubicBezTo>
                  <a:cubicBezTo>
                    <a:pt x="11042" y="1724"/>
                    <a:pt x="10381" y="2287"/>
                    <a:pt x="9776" y="2755"/>
                  </a:cubicBezTo>
                  <a:cubicBezTo>
                    <a:pt x="9169" y="3223"/>
                    <a:pt x="8318" y="3930"/>
                    <a:pt x="7884" y="4324"/>
                  </a:cubicBezTo>
                  <a:cubicBezTo>
                    <a:pt x="7451" y="4728"/>
                    <a:pt x="7040" y="5231"/>
                    <a:pt x="6970" y="5451"/>
                  </a:cubicBezTo>
                  <a:cubicBezTo>
                    <a:pt x="6893" y="5664"/>
                    <a:pt x="6510" y="5984"/>
                    <a:pt x="6101" y="6157"/>
                  </a:cubicBezTo>
                  <a:cubicBezTo>
                    <a:pt x="5691" y="6327"/>
                    <a:pt x="5281" y="6437"/>
                    <a:pt x="5189" y="6407"/>
                  </a:cubicBezTo>
                  <a:cubicBezTo>
                    <a:pt x="5097" y="6378"/>
                    <a:pt x="4832" y="6356"/>
                    <a:pt x="4597" y="6370"/>
                  </a:cubicBezTo>
                  <a:cubicBezTo>
                    <a:pt x="4362" y="6384"/>
                    <a:pt x="4148" y="6514"/>
                    <a:pt x="4114" y="6657"/>
                  </a:cubicBezTo>
                  <a:cubicBezTo>
                    <a:pt x="4082" y="6804"/>
                    <a:pt x="3970" y="6964"/>
                    <a:pt x="3865" y="7022"/>
                  </a:cubicBezTo>
                  <a:cubicBezTo>
                    <a:pt x="3760" y="7079"/>
                    <a:pt x="3524" y="7466"/>
                    <a:pt x="3339" y="7893"/>
                  </a:cubicBezTo>
                  <a:cubicBezTo>
                    <a:pt x="3149" y="8317"/>
                    <a:pt x="3003" y="8800"/>
                    <a:pt x="2992" y="8957"/>
                  </a:cubicBezTo>
                  <a:cubicBezTo>
                    <a:pt x="2981" y="9113"/>
                    <a:pt x="2837" y="9494"/>
                    <a:pt x="2673" y="9809"/>
                  </a:cubicBezTo>
                  <a:cubicBezTo>
                    <a:pt x="2501" y="10120"/>
                    <a:pt x="2175" y="10842"/>
                    <a:pt x="1953" y="11418"/>
                  </a:cubicBezTo>
                  <a:cubicBezTo>
                    <a:pt x="1724" y="11993"/>
                    <a:pt x="1373" y="12627"/>
                    <a:pt x="1178" y="12840"/>
                  </a:cubicBezTo>
                  <a:cubicBezTo>
                    <a:pt x="981" y="13046"/>
                    <a:pt x="701" y="13344"/>
                    <a:pt x="557" y="13502"/>
                  </a:cubicBezTo>
                  <a:cubicBezTo>
                    <a:pt x="412" y="13658"/>
                    <a:pt x="339" y="13946"/>
                    <a:pt x="389" y="14141"/>
                  </a:cubicBezTo>
                  <a:cubicBezTo>
                    <a:pt x="441" y="14340"/>
                    <a:pt x="505" y="14755"/>
                    <a:pt x="526" y="15065"/>
                  </a:cubicBezTo>
                  <a:cubicBezTo>
                    <a:pt x="547" y="15378"/>
                    <a:pt x="443" y="15663"/>
                    <a:pt x="291" y="15706"/>
                  </a:cubicBezTo>
                  <a:cubicBezTo>
                    <a:pt x="139" y="15749"/>
                    <a:pt x="12" y="15962"/>
                    <a:pt x="2" y="16178"/>
                  </a:cubicBezTo>
                  <a:cubicBezTo>
                    <a:pt x="-8" y="16396"/>
                    <a:pt x="41" y="16712"/>
                    <a:pt x="110" y="16875"/>
                  </a:cubicBezTo>
                  <a:cubicBezTo>
                    <a:pt x="178" y="17037"/>
                    <a:pt x="201" y="17389"/>
                    <a:pt x="150" y="17648"/>
                  </a:cubicBezTo>
                  <a:cubicBezTo>
                    <a:pt x="109" y="17911"/>
                    <a:pt x="81" y="18098"/>
                    <a:pt x="107" y="18081"/>
                  </a:cubicBezTo>
                  <a:cubicBezTo>
                    <a:pt x="127" y="18053"/>
                    <a:pt x="335" y="18243"/>
                    <a:pt x="561" y="18491"/>
                  </a:cubicBezTo>
                  <a:cubicBezTo>
                    <a:pt x="784" y="18744"/>
                    <a:pt x="1214" y="19118"/>
                    <a:pt x="1509" y="19334"/>
                  </a:cubicBezTo>
                  <a:cubicBezTo>
                    <a:pt x="1805" y="19546"/>
                    <a:pt x="2138" y="19723"/>
                    <a:pt x="2251" y="19723"/>
                  </a:cubicBezTo>
                  <a:cubicBezTo>
                    <a:pt x="2365" y="19723"/>
                    <a:pt x="2533" y="19787"/>
                    <a:pt x="2622" y="19873"/>
                  </a:cubicBezTo>
                  <a:cubicBezTo>
                    <a:pt x="2712" y="19955"/>
                    <a:pt x="2884" y="20019"/>
                    <a:pt x="3006" y="20019"/>
                  </a:cubicBezTo>
                  <a:cubicBezTo>
                    <a:pt x="3127" y="20019"/>
                    <a:pt x="3358" y="20115"/>
                    <a:pt x="3528" y="20203"/>
                  </a:cubicBezTo>
                  <a:cubicBezTo>
                    <a:pt x="3694" y="20307"/>
                    <a:pt x="3899" y="20524"/>
                    <a:pt x="3981" y="20691"/>
                  </a:cubicBezTo>
                  <a:cubicBezTo>
                    <a:pt x="4060" y="20857"/>
                    <a:pt x="4335" y="21128"/>
                    <a:pt x="4584" y="21304"/>
                  </a:cubicBezTo>
                  <a:cubicBezTo>
                    <a:pt x="4832" y="21476"/>
                    <a:pt x="5191" y="21580"/>
                    <a:pt x="5378" y="21522"/>
                  </a:cubicBezTo>
                  <a:cubicBezTo>
                    <a:pt x="5566" y="21463"/>
                    <a:pt x="5843" y="21310"/>
                    <a:pt x="5994" y="21170"/>
                  </a:cubicBezTo>
                  <a:cubicBezTo>
                    <a:pt x="6148" y="21039"/>
                    <a:pt x="6349" y="20937"/>
                    <a:pt x="6451" y="20922"/>
                  </a:cubicBezTo>
                  <a:cubicBezTo>
                    <a:pt x="6553" y="20937"/>
                    <a:pt x="6732" y="21013"/>
                    <a:pt x="6842" y="21124"/>
                  </a:cubicBezTo>
                  <a:cubicBezTo>
                    <a:pt x="6958" y="21226"/>
                    <a:pt x="7186" y="21361"/>
                    <a:pt x="7357" y="21388"/>
                  </a:cubicBezTo>
                  <a:cubicBezTo>
                    <a:pt x="7517" y="21429"/>
                    <a:pt x="7644" y="21216"/>
                    <a:pt x="7653" y="20921"/>
                  </a:cubicBezTo>
                  <a:cubicBezTo>
                    <a:pt x="7635" y="20527"/>
                    <a:pt x="7570" y="20022"/>
                    <a:pt x="7486" y="19747"/>
                  </a:cubicBezTo>
                  <a:cubicBezTo>
                    <a:pt x="7394" y="19450"/>
                    <a:pt x="7257" y="19127"/>
                    <a:pt x="7172" y="19038"/>
                  </a:cubicBezTo>
                  <a:cubicBezTo>
                    <a:pt x="7094" y="18938"/>
                    <a:pt x="6977" y="18590"/>
                    <a:pt x="6930" y="18251"/>
                  </a:cubicBezTo>
                  <a:cubicBezTo>
                    <a:pt x="6876" y="17911"/>
                    <a:pt x="6858" y="17436"/>
                    <a:pt x="6878" y="17197"/>
                  </a:cubicBezTo>
                  <a:cubicBezTo>
                    <a:pt x="6898" y="16961"/>
                    <a:pt x="7142" y="16740"/>
                    <a:pt x="7416" y="16727"/>
                  </a:cubicBezTo>
                  <a:cubicBezTo>
                    <a:pt x="7688" y="16698"/>
                    <a:pt x="8386" y="16676"/>
                    <a:pt x="8967" y="16676"/>
                  </a:cubicBezTo>
                  <a:cubicBezTo>
                    <a:pt x="9548" y="16676"/>
                    <a:pt x="10079" y="16630"/>
                    <a:pt x="10148" y="16589"/>
                  </a:cubicBezTo>
                  <a:cubicBezTo>
                    <a:pt x="10215" y="16549"/>
                    <a:pt x="10605" y="16521"/>
                    <a:pt x="11012" y="16506"/>
                  </a:cubicBezTo>
                  <a:cubicBezTo>
                    <a:pt x="11420" y="16506"/>
                    <a:pt x="11994" y="16439"/>
                    <a:pt x="12289" y="16382"/>
                  </a:cubicBezTo>
                  <a:cubicBezTo>
                    <a:pt x="12584" y="16325"/>
                    <a:pt x="12972" y="16256"/>
                    <a:pt x="13151" y="16241"/>
                  </a:cubicBezTo>
                  <a:cubicBezTo>
                    <a:pt x="13332" y="16214"/>
                    <a:pt x="13629" y="16123"/>
                    <a:pt x="13811" y="16011"/>
                  </a:cubicBezTo>
                  <a:cubicBezTo>
                    <a:pt x="13992" y="15896"/>
                    <a:pt x="14190" y="15812"/>
                    <a:pt x="14248" y="15839"/>
                  </a:cubicBezTo>
                  <a:cubicBezTo>
                    <a:pt x="14305" y="15865"/>
                    <a:pt x="14354" y="15873"/>
                    <a:pt x="14354" y="15873"/>
                  </a:cubicBezTo>
                  <a:cubicBezTo>
                    <a:pt x="14356" y="15873"/>
                    <a:pt x="14403" y="15853"/>
                    <a:pt x="14463" y="15839"/>
                  </a:cubicBezTo>
                  <a:cubicBezTo>
                    <a:pt x="14524" y="15825"/>
                    <a:pt x="15237" y="16034"/>
                    <a:pt x="16046" y="16305"/>
                  </a:cubicBezTo>
                  <a:cubicBezTo>
                    <a:pt x="16857" y="16577"/>
                    <a:pt x="17545" y="16715"/>
                    <a:pt x="17577" y="16615"/>
                  </a:cubicBezTo>
                  <a:cubicBezTo>
                    <a:pt x="17607" y="16514"/>
                    <a:pt x="17801" y="16373"/>
                    <a:pt x="18004" y="16316"/>
                  </a:cubicBezTo>
                  <a:cubicBezTo>
                    <a:pt x="18207" y="16259"/>
                    <a:pt x="18352" y="16013"/>
                    <a:pt x="18321" y="15785"/>
                  </a:cubicBezTo>
                  <a:cubicBezTo>
                    <a:pt x="18295" y="15558"/>
                    <a:pt x="18375" y="15269"/>
                    <a:pt x="18504" y="15146"/>
                  </a:cubicBezTo>
                  <a:cubicBezTo>
                    <a:pt x="18632" y="15023"/>
                    <a:pt x="18722" y="14757"/>
                    <a:pt x="18713" y="14560"/>
                  </a:cubicBezTo>
                  <a:cubicBezTo>
                    <a:pt x="18702" y="14363"/>
                    <a:pt x="18818" y="14114"/>
                    <a:pt x="18976" y="14012"/>
                  </a:cubicBezTo>
                  <a:cubicBezTo>
                    <a:pt x="19139" y="13924"/>
                    <a:pt x="19332" y="13857"/>
                    <a:pt x="19413" y="13912"/>
                  </a:cubicBezTo>
                  <a:cubicBezTo>
                    <a:pt x="19497" y="13957"/>
                    <a:pt x="19768" y="13862"/>
                    <a:pt x="20013" y="13678"/>
                  </a:cubicBezTo>
                  <a:cubicBezTo>
                    <a:pt x="20263" y="13502"/>
                    <a:pt x="20576" y="13344"/>
                    <a:pt x="20711" y="13330"/>
                  </a:cubicBezTo>
                  <a:cubicBezTo>
                    <a:pt x="20845" y="13300"/>
                    <a:pt x="21100" y="13077"/>
                    <a:pt x="21273" y="12797"/>
                  </a:cubicBezTo>
                  <a:cubicBezTo>
                    <a:pt x="21447" y="12513"/>
                    <a:pt x="21592" y="12142"/>
                    <a:pt x="21592" y="11969"/>
                  </a:cubicBezTo>
                  <a:cubicBezTo>
                    <a:pt x="21592" y="11793"/>
                    <a:pt x="21553" y="11668"/>
                    <a:pt x="21499" y="11668"/>
                  </a:cubicBezTo>
                  <a:close/>
                  <a:moveTo>
                    <a:pt x="21499" y="116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0" name="AutoShape 812"/>
            <p:cNvSpPr>
              <a:spLocks/>
            </p:cNvSpPr>
            <p:nvPr/>
          </p:nvSpPr>
          <p:spPr bwMode="auto">
            <a:xfrm>
              <a:off x="6489700" y="4749800"/>
              <a:ext cx="323850" cy="239713"/>
            </a:xfrm>
            <a:custGeom>
              <a:avLst/>
              <a:gdLst/>
              <a:ahLst/>
              <a:cxnLst/>
              <a:rect l="0" t="0" r="r" b="b"/>
              <a:pathLst>
                <a:path w="21418" h="21572">
                  <a:moveTo>
                    <a:pt x="3527" y="20339"/>
                  </a:moveTo>
                  <a:cubicBezTo>
                    <a:pt x="3827" y="20135"/>
                    <a:pt x="4583" y="20023"/>
                    <a:pt x="5204" y="20123"/>
                  </a:cubicBezTo>
                  <a:cubicBezTo>
                    <a:pt x="5826" y="20188"/>
                    <a:pt x="6463" y="20012"/>
                    <a:pt x="6639" y="19724"/>
                  </a:cubicBezTo>
                  <a:cubicBezTo>
                    <a:pt x="6804" y="19424"/>
                    <a:pt x="7216" y="19019"/>
                    <a:pt x="7555" y="18835"/>
                  </a:cubicBezTo>
                  <a:cubicBezTo>
                    <a:pt x="7888" y="18638"/>
                    <a:pt x="8852" y="18520"/>
                    <a:pt x="9690" y="18553"/>
                  </a:cubicBezTo>
                  <a:cubicBezTo>
                    <a:pt x="10528" y="18586"/>
                    <a:pt x="11405" y="18689"/>
                    <a:pt x="11640" y="18776"/>
                  </a:cubicBezTo>
                  <a:cubicBezTo>
                    <a:pt x="11873" y="18859"/>
                    <a:pt x="12062" y="18925"/>
                    <a:pt x="12062" y="18909"/>
                  </a:cubicBezTo>
                  <a:cubicBezTo>
                    <a:pt x="12062" y="18896"/>
                    <a:pt x="12206" y="18849"/>
                    <a:pt x="12383" y="18800"/>
                  </a:cubicBezTo>
                  <a:cubicBezTo>
                    <a:pt x="12561" y="18751"/>
                    <a:pt x="13191" y="18711"/>
                    <a:pt x="13780" y="18744"/>
                  </a:cubicBezTo>
                  <a:cubicBezTo>
                    <a:pt x="14368" y="18760"/>
                    <a:pt x="15163" y="18976"/>
                    <a:pt x="15537" y="19241"/>
                  </a:cubicBezTo>
                  <a:cubicBezTo>
                    <a:pt x="15915" y="19492"/>
                    <a:pt x="16353" y="19846"/>
                    <a:pt x="16515" y="20015"/>
                  </a:cubicBezTo>
                  <a:cubicBezTo>
                    <a:pt x="16678" y="20185"/>
                    <a:pt x="17043" y="20305"/>
                    <a:pt x="17329" y="20288"/>
                  </a:cubicBezTo>
                  <a:cubicBezTo>
                    <a:pt x="17615" y="20256"/>
                    <a:pt x="18091" y="20388"/>
                    <a:pt x="18388" y="20556"/>
                  </a:cubicBezTo>
                  <a:cubicBezTo>
                    <a:pt x="18684" y="20728"/>
                    <a:pt x="19049" y="20766"/>
                    <a:pt x="19202" y="20651"/>
                  </a:cubicBezTo>
                  <a:cubicBezTo>
                    <a:pt x="19361" y="20551"/>
                    <a:pt x="19625" y="20442"/>
                    <a:pt x="19805" y="20457"/>
                  </a:cubicBezTo>
                  <a:cubicBezTo>
                    <a:pt x="19982" y="20474"/>
                    <a:pt x="20205" y="20586"/>
                    <a:pt x="20292" y="20722"/>
                  </a:cubicBezTo>
                  <a:cubicBezTo>
                    <a:pt x="20381" y="20860"/>
                    <a:pt x="20617" y="20994"/>
                    <a:pt x="20815" y="21011"/>
                  </a:cubicBezTo>
                  <a:cubicBezTo>
                    <a:pt x="21012" y="21045"/>
                    <a:pt x="21193" y="21215"/>
                    <a:pt x="21206" y="21408"/>
                  </a:cubicBezTo>
                  <a:cubicBezTo>
                    <a:pt x="21208" y="21435"/>
                    <a:pt x="21212" y="21451"/>
                    <a:pt x="21215" y="21472"/>
                  </a:cubicBezTo>
                  <a:cubicBezTo>
                    <a:pt x="21217" y="21490"/>
                    <a:pt x="21220" y="21507"/>
                    <a:pt x="21223" y="21524"/>
                  </a:cubicBezTo>
                  <a:cubicBezTo>
                    <a:pt x="21245" y="21600"/>
                    <a:pt x="21282" y="21587"/>
                    <a:pt x="21320" y="21472"/>
                  </a:cubicBezTo>
                  <a:cubicBezTo>
                    <a:pt x="21365" y="21318"/>
                    <a:pt x="21411" y="21011"/>
                    <a:pt x="21417" y="20794"/>
                  </a:cubicBezTo>
                  <a:cubicBezTo>
                    <a:pt x="21430" y="20580"/>
                    <a:pt x="21235" y="20251"/>
                    <a:pt x="20992" y="20068"/>
                  </a:cubicBezTo>
                  <a:cubicBezTo>
                    <a:pt x="20750" y="19884"/>
                    <a:pt x="20544" y="19577"/>
                    <a:pt x="20532" y="19384"/>
                  </a:cubicBezTo>
                  <a:cubicBezTo>
                    <a:pt x="20520" y="19194"/>
                    <a:pt x="20565" y="18918"/>
                    <a:pt x="20613" y="18770"/>
                  </a:cubicBezTo>
                  <a:cubicBezTo>
                    <a:pt x="20656" y="18621"/>
                    <a:pt x="20714" y="18390"/>
                    <a:pt x="20725" y="18248"/>
                  </a:cubicBezTo>
                  <a:cubicBezTo>
                    <a:pt x="20731" y="18103"/>
                    <a:pt x="20632" y="17830"/>
                    <a:pt x="20512" y="17633"/>
                  </a:cubicBezTo>
                  <a:cubicBezTo>
                    <a:pt x="20389" y="17433"/>
                    <a:pt x="20249" y="17138"/>
                    <a:pt x="20200" y="16971"/>
                  </a:cubicBezTo>
                  <a:cubicBezTo>
                    <a:pt x="20146" y="16804"/>
                    <a:pt x="20030" y="16557"/>
                    <a:pt x="19920" y="16441"/>
                  </a:cubicBezTo>
                  <a:cubicBezTo>
                    <a:pt x="19811" y="16324"/>
                    <a:pt x="19645" y="16244"/>
                    <a:pt x="19545" y="16261"/>
                  </a:cubicBezTo>
                  <a:cubicBezTo>
                    <a:pt x="19448" y="16294"/>
                    <a:pt x="19275" y="16193"/>
                    <a:pt x="19154" y="16062"/>
                  </a:cubicBezTo>
                  <a:cubicBezTo>
                    <a:pt x="19034" y="15933"/>
                    <a:pt x="18857" y="15564"/>
                    <a:pt x="18760" y="15249"/>
                  </a:cubicBezTo>
                  <a:cubicBezTo>
                    <a:pt x="18667" y="14928"/>
                    <a:pt x="18390" y="14444"/>
                    <a:pt x="18170" y="14146"/>
                  </a:cubicBezTo>
                  <a:cubicBezTo>
                    <a:pt x="17949" y="13847"/>
                    <a:pt x="17734" y="13486"/>
                    <a:pt x="17710" y="13327"/>
                  </a:cubicBezTo>
                  <a:cubicBezTo>
                    <a:pt x="17685" y="13167"/>
                    <a:pt x="17741" y="12623"/>
                    <a:pt x="17837" y="12117"/>
                  </a:cubicBezTo>
                  <a:cubicBezTo>
                    <a:pt x="17935" y="11609"/>
                    <a:pt x="17957" y="11047"/>
                    <a:pt x="17899" y="10861"/>
                  </a:cubicBezTo>
                  <a:cubicBezTo>
                    <a:pt x="17833" y="10680"/>
                    <a:pt x="17782" y="10341"/>
                    <a:pt x="17782" y="10109"/>
                  </a:cubicBezTo>
                  <a:cubicBezTo>
                    <a:pt x="17782" y="9993"/>
                    <a:pt x="17756" y="9860"/>
                    <a:pt x="17714" y="9736"/>
                  </a:cubicBezTo>
                  <a:cubicBezTo>
                    <a:pt x="17696" y="9685"/>
                    <a:pt x="17675" y="9636"/>
                    <a:pt x="17653" y="9590"/>
                  </a:cubicBezTo>
                  <a:cubicBezTo>
                    <a:pt x="17649" y="9582"/>
                    <a:pt x="17646" y="9573"/>
                    <a:pt x="17642" y="9564"/>
                  </a:cubicBezTo>
                  <a:cubicBezTo>
                    <a:pt x="17615" y="9512"/>
                    <a:pt x="17586" y="9465"/>
                    <a:pt x="17556" y="9428"/>
                  </a:cubicBezTo>
                  <a:cubicBezTo>
                    <a:pt x="17555" y="9427"/>
                    <a:pt x="17555" y="9426"/>
                    <a:pt x="17554" y="9426"/>
                  </a:cubicBezTo>
                  <a:cubicBezTo>
                    <a:pt x="17554" y="9425"/>
                    <a:pt x="17553" y="9423"/>
                    <a:pt x="17552" y="9422"/>
                  </a:cubicBezTo>
                  <a:cubicBezTo>
                    <a:pt x="17489" y="9346"/>
                    <a:pt x="17424" y="9236"/>
                    <a:pt x="17367" y="9122"/>
                  </a:cubicBezTo>
                  <a:cubicBezTo>
                    <a:pt x="17342" y="9147"/>
                    <a:pt x="17326" y="9164"/>
                    <a:pt x="17325" y="9164"/>
                  </a:cubicBezTo>
                  <a:cubicBezTo>
                    <a:pt x="17327" y="9164"/>
                    <a:pt x="17292" y="8995"/>
                    <a:pt x="17239" y="8803"/>
                  </a:cubicBezTo>
                  <a:cubicBezTo>
                    <a:pt x="17192" y="8613"/>
                    <a:pt x="16950" y="8286"/>
                    <a:pt x="16699" y="8075"/>
                  </a:cubicBezTo>
                  <a:cubicBezTo>
                    <a:pt x="16445" y="7877"/>
                    <a:pt x="16110" y="7627"/>
                    <a:pt x="15948" y="7542"/>
                  </a:cubicBezTo>
                  <a:cubicBezTo>
                    <a:pt x="15787" y="7453"/>
                    <a:pt x="15605" y="7166"/>
                    <a:pt x="15556" y="6898"/>
                  </a:cubicBezTo>
                  <a:cubicBezTo>
                    <a:pt x="15506" y="6631"/>
                    <a:pt x="15287" y="6370"/>
                    <a:pt x="15081" y="6320"/>
                  </a:cubicBezTo>
                  <a:cubicBezTo>
                    <a:pt x="14874" y="6271"/>
                    <a:pt x="14703" y="5991"/>
                    <a:pt x="14703" y="5700"/>
                  </a:cubicBezTo>
                  <a:cubicBezTo>
                    <a:pt x="14703" y="5409"/>
                    <a:pt x="14536" y="4987"/>
                    <a:pt x="14341" y="4749"/>
                  </a:cubicBezTo>
                  <a:cubicBezTo>
                    <a:pt x="14145" y="4516"/>
                    <a:pt x="13953" y="4068"/>
                    <a:pt x="13917" y="3750"/>
                  </a:cubicBezTo>
                  <a:cubicBezTo>
                    <a:pt x="13879" y="3434"/>
                    <a:pt x="13783" y="3094"/>
                    <a:pt x="13701" y="2999"/>
                  </a:cubicBezTo>
                  <a:cubicBezTo>
                    <a:pt x="13619" y="2903"/>
                    <a:pt x="13429" y="2832"/>
                    <a:pt x="13278" y="2864"/>
                  </a:cubicBezTo>
                  <a:cubicBezTo>
                    <a:pt x="13126" y="2880"/>
                    <a:pt x="12948" y="2860"/>
                    <a:pt x="12886" y="2794"/>
                  </a:cubicBezTo>
                  <a:cubicBezTo>
                    <a:pt x="12826" y="2728"/>
                    <a:pt x="12640" y="2749"/>
                    <a:pt x="12479" y="2836"/>
                  </a:cubicBezTo>
                  <a:cubicBezTo>
                    <a:pt x="12317" y="2913"/>
                    <a:pt x="12087" y="2922"/>
                    <a:pt x="11959" y="2856"/>
                  </a:cubicBezTo>
                  <a:cubicBezTo>
                    <a:pt x="11837" y="2769"/>
                    <a:pt x="11730" y="2619"/>
                    <a:pt x="11730" y="2499"/>
                  </a:cubicBezTo>
                  <a:cubicBezTo>
                    <a:pt x="11730" y="2379"/>
                    <a:pt x="11568" y="1989"/>
                    <a:pt x="11369" y="1636"/>
                  </a:cubicBezTo>
                  <a:cubicBezTo>
                    <a:pt x="11175" y="1279"/>
                    <a:pt x="10810" y="937"/>
                    <a:pt x="10570" y="853"/>
                  </a:cubicBezTo>
                  <a:cubicBezTo>
                    <a:pt x="10327" y="786"/>
                    <a:pt x="9770" y="560"/>
                    <a:pt x="9333" y="359"/>
                  </a:cubicBezTo>
                  <a:cubicBezTo>
                    <a:pt x="8895" y="161"/>
                    <a:pt x="8403" y="0"/>
                    <a:pt x="8243" y="0"/>
                  </a:cubicBezTo>
                  <a:cubicBezTo>
                    <a:pt x="8083" y="0"/>
                    <a:pt x="7557" y="203"/>
                    <a:pt x="7076" y="460"/>
                  </a:cubicBezTo>
                  <a:cubicBezTo>
                    <a:pt x="6594" y="708"/>
                    <a:pt x="5792" y="991"/>
                    <a:pt x="5295" y="1110"/>
                  </a:cubicBezTo>
                  <a:cubicBezTo>
                    <a:pt x="4796" y="1217"/>
                    <a:pt x="4241" y="1504"/>
                    <a:pt x="4050" y="1738"/>
                  </a:cubicBezTo>
                  <a:cubicBezTo>
                    <a:pt x="3865" y="1982"/>
                    <a:pt x="3602" y="2173"/>
                    <a:pt x="3470" y="2173"/>
                  </a:cubicBezTo>
                  <a:cubicBezTo>
                    <a:pt x="3336" y="2173"/>
                    <a:pt x="3098" y="2305"/>
                    <a:pt x="2941" y="2469"/>
                  </a:cubicBezTo>
                  <a:cubicBezTo>
                    <a:pt x="2787" y="2636"/>
                    <a:pt x="2624" y="3103"/>
                    <a:pt x="2587" y="3512"/>
                  </a:cubicBezTo>
                  <a:cubicBezTo>
                    <a:pt x="2556" y="3925"/>
                    <a:pt x="2330" y="4747"/>
                    <a:pt x="2091" y="5331"/>
                  </a:cubicBezTo>
                  <a:cubicBezTo>
                    <a:pt x="1858" y="5922"/>
                    <a:pt x="1190" y="6988"/>
                    <a:pt x="617" y="7707"/>
                  </a:cubicBezTo>
                  <a:cubicBezTo>
                    <a:pt x="44" y="8427"/>
                    <a:pt x="-170" y="9296"/>
                    <a:pt x="146" y="9641"/>
                  </a:cubicBezTo>
                  <a:cubicBezTo>
                    <a:pt x="459" y="9992"/>
                    <a:pt x="892" y="10667"/>
                    <a:pt x="1094" y="11157"/>
                  </a:cubicBezTo>
                  <a:cubicBezTo>
                    <a:pt x="1304" y="11639"/>
                    <a:pt x="1612" y="12067"/>
                    <a:pt x="1785" y="12115"/>
                  </a:cubicBezTo>
                  <a:cubicBezTo>
                    <a:pt x="1961" y="12147"/>
                    <a:pt x="2101" y="12396"/>
                    <a:pt x="2107" y="12653"/>
                  </a:cubicBezTo>
                  <a:cubicBezTo>
                    <a:pt x="2107" y="12908"/>
                    <a:pt x="2047" y="13134"/>
                    <a:pt x="1970" y="13152"/>
                  </a:cubicBezTo>
                  <a:cubicBezTo>
                    <a:pt x="1893" y="13170"/>
                    <a:pt x="2022" y="13349"/>
                    <a:pt x="2252" y="13552"/>
                  </a:cubicBezTo>
                  <a:cubicBezTo>
                    <a:pt x="2485" y="13752"/>
                    <a:pt x="2570" y="14020"/>
                    <a:pt x="2446" y="14143"/>
                  </a:cubicBezTo>
                  <a:cubicBezTo>
                    <a:pt x="2321" y="14262"/>
                    <a:pt x="2243" y="14448"/>
                    <a:pt x="2266" y="14558"/>
                  </a:cubicBezTo>
                  <a:cubicBezTo>
                    <a:pt x="2292" y="14662"/>
                    <a:pt x="2658" y="14745"/>
                    <a:pt x="3079" y="14777"/>
                  </a:cubicBezTo>
                  <a:cubicBezTo>
                    <a:pt x="3501" y="14795"/>
                    <a:pt x="3931" y="14750"/>
                    <a:pt x="4024" y="14666"/>
                  </a:cubicBezTo>
                  <a:cubicBezTo>
                    <a:pt x="4118" y="14586"/>
                    <a:pt x="4335" y="14530"/>
                    <a:pt x="4501" y="14530"/>
                  </a:cubicBezTo>
                  <a:cubicBezTo>
                    <a:pt x="4665" y="14530"/>
                    <a:pt x="5077" y="14259"/>
                    <a:pt x="5412" y="13912"/>
                  </a:cubicBezTo>
                  <a:cubicBezTo>
                    <a:pt x="5752" y="13576"/>
                    <a:pt x="6231" y="13174"/>
                    <a:pt x="6485" y="13031"/>
                  </a:cubicBezTo>
                  <a:cubicBezTo>
                    <a:pt x="6736" y="12881"/>
                    <a:pt x="7073" y="12830"/>
                    <a:pt x="7229" y="12895"/>
                  </a:cubicBezTo>
                  <a:cubicBezTo>
                    <a:pt x="7386" y="12964"/>
                    <a:pt x="7709" y="13021"/>
                    <a:pt x="7945" y="13045"/>
                  </a:cubicBezTo>
                  <a:cubicBezTo>
                    <a:pt x="8182" y="13062"/>
                    <a:pt x="8614" y="13273"/>
                    <a:pt x="8905" y="13517"/>
                  </a:cubicBezTo>
                  <a:cubicBezTo>
                    <a:pt x="9196" y="13765"/>
                    <a:pt x="9574" y="13966"/>
                    <a:pt x="9745" y="13966"/>
                  </a:cubicBezTo>
                  <a:cubicBezTo>
                    <a:pt x="9914" y="13966"/>
                    <a:pt x="10388" y="14248"/>
                    <a:pt x="10795" y="14595"/>
                  </a:cubicBezTo>
                  <a:cubicBezTo>
                    <a:pt x="11203" y="14941"/>
                    <a:pt x="11605" y="15200"/>
                    <a:pt x="11684" y="15185"/>
                  </a:cubicBezTo>
                  <a:cubicBezTo>
                    <a:pt x="11766" y="15169"/>
                    <a:pt x="11897" y="15277"/>
                    <a:pt x="11963" y="15441"/>
                  </a:cubicBezTo>
                  <a:cubicBezTo>
                    <a:pt x="12034" y="15600"/>
                    <a:pt x="12048" y="15865"/>
                    <a:pt x="11983" y="16023"/>
                  </a:cubicBezTo>
                  <a:cubicBezTo>
                    <a:pt x="11927" y="16193"/>
                    <a:pt x="11701" y="16314"/>
                    <a:pt x="11495" y="16298"/>
                  </a:cubicBezTo>
                  <a:cubicBezTo>
                    <a:pt x="11290" y="16282"/>
                    <a:pt x="10873" y="16126"/>
                    <a:pt x="10567" y="15960"/>
                  </a:cubicBezTo>
                  <a:cubicBezTo>
                    <a:pt x="10261" y="15790"/>
                    <a:pt x="9819" y="15554"/>
                    <a:pt x="9581" y="15441"/>
                  </a:cubicBezTo>
                  <a:cubicBezTo>
                    <a:pt x="9346" y="15326"/>
                    <a:pt x="8990" y="15224"/>
                    <a:pt x="8792" y="15224"/>
                  </a:cubicBezTo>
                  <a:cubicBezTo>
                    <a:pt x="8595" y="15224"/>
                    <a:pt x="8251" y="15056"/>
                    <a:pt x="8036" y="14855"/>
                  </a:cubicBezTo>
                  <a:cubicBezTo>
                    <a:pt x="7818" y="14658"/>
                    <a:pt x="7559" y="14535"/>
                    <a:pt x="7467" y="14581"/>
                  </a:cubicBezTo>
                  <a:cubicBezTo>
                    <a:pt x="7374" y="14632"/>
                    <a:pt x="7185" y="14792"/>
                    <a:pt x="7046" y="14941"/>
                  </a:cubicBezTo>
                  <a:cubicBezTo>
                    <a:pt x="6904" y="15082"/>
                    <a:pt x="6752" y="15168"/>
                    <a:pt x="6699" y="15114"/>
                  </a:cubicBezTo>
                  <a:cubicBezTo>
                    <a:pt x="6645" y="15059"/>
                    <a:pt x="6497" y="14966"/>
                    <a:pt x="6365" y="14933"/>
                  </a:cubicBezTo>
                  <a:cubicBezTo>
                    <a:pt x="6241" y="14871"/>
                    <a:pt x="5969" y="15006"/>
                    <a:pt x="5767" y="15184"/>
                  </a:cubicBezTo>
                  <a:cubicBezTo>
                    <a:pt x="5563" y="15353"/>
                    <a:pt x="5260" y="15547"/>
                    <a:pt x="5089" y="15614"/>
                  </a:cubicBezTo>
                  <a:cubicBezTo>
                    <a:pt x="4916" y="15666"/>
                    <a:pt x="4646" y="15924"/>
                    <a:pt x="4486" y="16168"/>
                  </a:cubicBezTo>
                  <a:cubicBezTo>
                    <a:pt x="4329" y="16415"/>
                    <a:pt x="3736" y="16603"/>
                    <a:pt x="3172" y="16603"/>
                  </a:cubicBezTo>
                  <a:cubicBezTo>
                    <a:pt x="2607" y="16586"/>
                    <a:pt x="2075" y="16702"/>
                    <a:pt x="1975" y="16821"/>
                  </a:cubicBezTo>
                  <a:cubicBezTo>
                    <a:pt x="1885" y="16951"/>
                    <a:pt x="1803" y="17283"/>
                    <a:pt x="1809" y="17565"/>
                  </a:cubicBezTo>
                  <a:cubicBezTo>
                    <a:pt x="1809" y="17850"/>
                    <a:pt x="1741" y="18190"/>
                    <a:pt x="1650" y="18321"/>
                  </a:cubicBezTo>
                  <a:cubicBezTo>
                    <a:pt x="1557" y="18447"/>
                    <a:pt x="1530" y="18636"/>
                    <a:pt x="1578" y="18732"/>
                  </a:cubicBezTo>
                  <a:cubicBezTo>
                    <a:pt x="1627" y="18831"/>
                    <a:pt x="1837" y="18783"/>
                    <a:pt x="2046" y="18638"/>
                  </a:cubicBezTo>
                  <a:cubicBezTo>
                    <a:pt x="2259" y="18497"/>
                    <a:pt x="2682" y="18498"/>
                    <a:pt x="2998" y="18650"/>
                  </a:cubicBezTo>
                  <a:cubicBezTo>
                    <a:pt x="3314" y="18801"/>
                    <a:pt x="3412" y="19082"/>
                    <a:pt x="3205" y="19235"/>
                  </a:cubicBezTo>
                  <a:cubicBezTo>
                    <a:pt x="3006" y="19409"/>
                    <a:pt x="2759" y="19503"/>
                    <a:pt x="2662" y="19456"/>
                  </a:cubicBezTo>
                  <a:cubicBezTo>
                    <a:pt x="2564" y="19403"/>
                    <a:pt x="2352" y="19337"/>
                    <a:pt x="2203" y="19256"/>
                  </a:cubicBezTo>
                  <a:cubicBezTo>
                    <a:pt x="2044" y="19224"/>
                    <a:pt x="1980" y="19224"/>
                    <a:pt x="2052" y="19305"/>
                  </a:cubicBezTo>
                  <a:cubicBezTo>
                    <a:pt x="2123" y="19387"/>
                    <a:pt x="2183" y="19661"/>
                    <a:pt x="2170" y="19902"/>
                  </a:cubicBezTo>
                  <a:cubicBezTo>
                    <a:pt x="2158" y="20138"/>
                    <a:pt x="2345" y="20421"/>
                    <a:pt x="2572" y="20521"/>
                  </a:cubicBezTo>
                  <a:cubicBezTo>
                    <a:pt x="2799" y="20617"/>
                    <a:pt x="3231" y="20552"/>
                    <a:pt x="3527" y="20339"/>
                  </a:cubicBezTo>
                  <a:close/>
                  <a:moveTo>
                    <a:pt x="3527" y="203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1" name="AutoShape 813"/>
            <p:cNvSpPr>
              <a:spLocks/>
            </p:cNvSpPr>
            <p:nvPr/>
          </p:nvSpPr>
          <p:spPr bwMode="auto">
            <a:xfrm>
              <a:off x="6743700" y="4851400"/>
              <a:ext cx="1588" cy="3175"/>
            </a:xfrm>
            <a:custGeom>
              <a:avLst/>
              <a:gdLst/>
              <a:ahLst/>
              <a:cxnLst/>
              <a:rect l="0" t="0" r="r" b="b"/>
              <a:pathLst>
                <a:path w="21600" h="21600">
                  <a:moveTo>
                    <a:pt x="14577" y="21600"/>
                  </a:moveTo>
                  <a:cubicBezTo>
                    <a:pt x="14646" y="21600"/>
                    <a:pt x="17433" y="20607"/>
                    <a:pt x="21600" y="19075"/>
                  </a:cubicBezTo>
                  <a:cubicBezTo>
                    <a:pt x="12285" y="12496"/>
                    <a:pt x="4376" y="5649"/>
                    <a:pt x="0" y="0"/>
                  </a:cubicBezTo>
                  <a:cubicBezTo>
                    <a:pt x="8959" y="11501"/>
                    <a:pt x="14932" y="21600"/>
                    <a:pt x="14577" y="21600"/>
                  </a:cubicBezTo>
                  <a:close/>
                  <a:moveTo>
                    <a:pt x="14577"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2" name="AutoShape 814"/>
            <p:cNvSpPr>
              <a:spLocks/>
            </p:cNvSpPr>
            <p:nvPr/>
          </p:nvSpPr>
          <p:spPr bwMode="auto">
            <a:xfrm>
              <a:off x="6756400" y="4864100"/>
              <a:ext cx="0" cy="1588"/>
            </a:xfrm>
            <a:custGeom>
              <a:avLst/>
              <a:gdLst/>
              <a:ahLst/>
              <a:cxnLst/>
              <a:rect l="0" t="0" r="r" b="b"/>
              <a:pathLst>
                <a:path w="21600" h="21600">
                  <a:moveTo>
                    <a:pt x="21600" y="21600"/>
                  </a:moveTo>
                  <a:cubicBezTo>
                    <a:pt x="15524" y="14078"/>
                    <a:pt x="7817" y="6873"/>
                    <a:pt x="0" y="0"/>
                  </a:cubicBezTo>
                  <a:cubicBezTo>
                    <a:pt x="7817" y="6873"/>
                    <a:pt x="15361" y="14078"/>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3" name="AutoShape 815"/>
            <p:cNvSpPr>
              <a:spLocks/>
            </p:cNvSpPr>
            <p:nvPr/>
          </p:nvSpPr>
          <p:spPr bwMode="auto">
            <a:xfrm>
              <a:off x="6756400" y="4864100"/>
              <a:ext cx="0" cy="0"/>
            </a:xfrm>
            <a:custGeom>
              <a:avLst/>
              <a:gdLst/>
              <a:ahLst/>
              <a:cxnLst/>
              <a:rect l="0" t="0" r="r" b="b"/>
              <a:pathLst>
                <a:path w="21600" h="21600">
                  <a:moveTo>
                    <a:pt x="290" y="337"/>
                  </a:moveTo>
                  <a:cubicBezTo>
                    <a:pt x="7671" y="6080"/>
                    <a:pt x="14926" y="13413"/>
                    <a:pt x="21600" y="21600"/>
                  </a:cubicBezTo>
                  <a:cubicBezTo>
                    <a:pt x="14926" y="13233"/>
                    <a:pt x="7570" y="5923"/>
                    <a:pt x="0" y="0"/>
                  </a:cubicBezTo>
                  <a:cubicBezTo>
                    <a:pt x="214" y="0"/>
                    <a:pt x="214" y="163"/>
                    <a:pt x="290" y="337"/>
                  </a:cubicBezTo>
                  <a:close/>
                  <a:moveTo>
                    <a:pt x="290" y="3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4" name="AutoShape 816"/>
            <p:cNvSpPr>
              <a:spLocks/>
            </p:cNvSpPr>
            <p:nvPr/>
          </p:nvSpPr>
          <p:spPr bwMode="auto">
            <a:xfrm>
              <a:off x="6502400" y="4902200"/>
              <a:ext cx="158750" cy="44450"/>
            </a:xfrm>
            <a:custGeom>
              <a:avLst/>
              <a:gdLst/>
              <a:ahLst/>
              <a:cxnLst/>
              <a:rect l="0" t="0" r="r" b="b"/>
              <a:pathLst>
                <a:path w="21447" h="21214">
                  <a:moveTo>
                    <a:pt x="3318" y="19475"/>
                  </a:moveTo>
                  <a:cubicBezTo>
                    <a:pt x="4473" y="19475"/>
                    <a:pt x="5687" y="18496"/>
                    <a:pt x="6008" y="17209"/>
                  </a:cubicBezTo>
                  <a:cubicBezTo>
                    <a:pt x="6336" y="15935"/>
                    <a:pt x="6888" y="14590"/>
                    <a:pt x="7244" y="14318"/>
                  </a:cubicBezTo>
                  <a:cubicBezTo>
                    <a:pt x="7594" y="13970"/>
                    <a:pt x="8214" y="12956"/>
                    <a:pt x="8632" y="12076"/>
                  </a:cubicBezTo>
                  <a:cubicBezTo>
                    <a:pt x="9045" y="11149"/>
                    <a:pt x="9601" y="10447"/>
                    <a:pt x="9857" y="10772"/>
                  </a:cubicBezTo>
                  <a:cubicBezTo>
                    <a:pt x="10126" y="10940"/>
                    <a:pt x="10429" y="11427"/>
                    <a:pt x="10540" y="11711"/>
                  </a:cubicBezTo>
                  <a:cubicBezTo>
                    <a:pt x="10648" y="11995"/>
                    <a:pt x="10959" y="11549"/>
                    <a:pt x="11252" y="10813"/>
                  </a:cubicBezTo>
                  <a:cubicBezTo>
                    <a:pt x="11536" y="10036"/>
                    <a:pt x="11922" y="9202"/>
                    <a:pt x="12113" y="8936"/>
                  </a:cubicBezTo>
                  <a:cubicBezTo>
                    <a:pt x="12301" y="8692"/>
                    <a:pt x="12831" y="9335"/>
                    <a:pt x="13278" y="10361"/>
                  </a:cubicBezTo>
                  <a:cubicBezTo>
                    <a:pt x="13719" y="11410"/>
                    <a:pt x="14424" y="12284"/>
                    <a:pt x="14826" y="12284"/>
                  </a:cubicBezTo>
                  <a:cubicBezTo>
                    <a:pt x="15231" y="12284"/>
                    <a:pt x="15960" y="12818"/>
                    <a:pt x="16443" y="13420"/>
                  </a:cubicBezTo>
                  <a:cubicBezTo>
                    <a:pt x="16929" y="14005"/>
                    <a:pt x="17835" y="15240"/>
                    <a:pt x="18461" y="16126"/>
                  </a:cubicBezTo>
                  <a:cubicBezTo>
                    <a:pt x="19088" y="16989"/>
                    <a:pt x="19941" y="17800"/>
                    <a:pt x="20362" y="17887"/>
                  </a:cubicBezTo>
                  <a:cubicBezTo>
                    <a:pt x="20784" y="17968"/>
                    <a:pt x="21245" y="17337"/>
                    <a:pt x="21361" y="16450"/>
                  </a:cubicBezTo>
                  <a:cubicBezTo>
                    <a:pt x="21494" y="15628"/>
                    <a:pt x="21465" y="14249"/>
                    <a:pt x="21321" y="13420"/>
                  </a:cubicBezTo>
                  <a:cubicBezTo>
                    <a:pt x="21184" y="12562"/>
                    <a:pt x="20916" y="12001"/>
                    <a:pt x="20749" y="12081"/>
                  </a:cubicBezTo>
                  <a:cubicBezTo>
                    <a:pt x="20586" y="12163"/>
                    <a:pt x="19763" y="10813"/>
                    <a:pt x="18929" y="9005"/>
                  </a:cubicBezTo>
                  <a:cubicBezTo>
                    <a:pt x="18096" y="7197"/>
                    <a:pt x="17124" y="5731"/>
                    <a:pt x="16777" y="5731"/>
                  </a:cubicBezTo>
                  <a:cubicBezTo>
                    <a:pt x="16428" y="5731"/>
                    <a:pt x="15654" y="4683"/>
                    <a:pt x="15058" y="3391"/>
                  </a:cubicBezTo>
                  <a:cubicBezTo>
                    <a:pt x="14461" y="2116"/>
                    <a:pt x="13576" y="1015"/>
                    <a:pt x="13092" y="928"/>
                  </a:cubicBezTo>
                  <a:cubicBezTo>
                    <a:pt x="12608" y="801"/>
                    <a:pt x="11947" y="505"/>
                    <a:pt x="11626" y="146"/>
                  </a:cubicBezTo>
                  <a:cubicBezTo>
                    <a:pt x="11306" y="-196"/>
                    <a:pt x="10616" y="70"/>
                    <a:pt x="10102" y="853"/>
                  </a:cubicBezTo>
                  <a:cubicBezTo>
                    <a:pt x="9582" y="1600"/>
                    <a:pt x="8600" y="3698"/>
                    <a:pt x="7904" y="5448"/>
                  </a:cubicBezTo>
                  <a:cubicBezTo>
                    <a:pt x="7219" y="7255"/>
                    <a:pt x="6374" y="8669"/>
                    <a:pt x="6039" y="8669"/>
                  </a:cubicBezTo>
                  <a:cubicBezTo>
                    <a:pt x="5699" y="8669"/>
                    <a:pt x="5255" y="8959"/>
                    <a:pt x="5062" y="9376"/>
                  </a:cubicBezTo>
                  <a:cubicBezTo>
                    <a:pt x="4871" y="9816"/>
                    <a:pt x="3991" y="10048"/>
                    <a:pt x="3128" y="9955"/>
                  </a:cubicBezTo>
                  <a:cubicBezTo>
                    <a:pt x="2266" y="9787"/>
                    <a:pt x="1638" y="10610"/>
                    <a:pt x="1729" y="11607"/>
                  </a:cubicBezTo>
                  <a:cubicBezTo>
                    <a:pt x="1836" y="12580"/>
                    <a:pt x="2301" y="14086"/>
                    <a:pt x="2788" y="14949"/>
                  </a:cubicBezTo>
                  <a:cubicBezTo>
                    <a:pt x="3278" y="15795"/>
                    <a:pt x="4032" y="16242"/>
                    <a:pt x="4454" y="15801"/>
                  </a:cubicBezTo>
                  <a:cubicBezTo>
                    <a:pt x="4887" y="15466"/>
                    <a:pt x="5003" y="15871"/>
                    <a:pt x="4718" y="16810"/>
                  </a:cubicBezTo>
                  <a:cubicBezTo>
                    <a:pt x="4436" y="17748"/>
                    <a:pt x="3782" y="18472"/>
                    <a:pt x="3268" y="18565"/>
                  </a:cubicBezTo>
                  <a:cubicBezTo>
                    <a:pt x="2753" y="18565"/>
                    <a:pt x="2013" y="17226"/>
                    <a:pt x="1621" y="15529"/>
                  </a:cubicBezTo>
                  <a:cubicBezTo>
                    <a:pt x="1231" y="13843"/>
                    <a:pt x="639" y="13374"/>
                    <a:pt x="319" y="14521"/>
                  </a:cubicBezTo>
                  <a:cubicBezTo>
                    <a:pt x="1" y="15668"/>
                    <a:pt x="-106" y="17371"/>
                    <a:pt x="120" y="18299"/>
                  </a:cubicBezTo>
                  <a:cubicBezTo>
                    <a:pt x="347" y="19202"/>
                    <a:pt x="516" y="20402"/>
                    <a:pt x="516" y="20912"/>
                  </a:cubicBezTo>
                  <a:cubicBezTo>
                    <a:pt x="516" y="21404"/>
                    <a:pt x="682" y="21288"/>
                    <a:pt x="866" y="20610"/>
                  </a:cubicBezTo>
                  <a:cubicBezTo>
                    <a:pt x="1070" y="19990"/>
                    <a:pt x="2161" y="19388"/>
                    <a:pt x="3318" y="19475"/>
                  </a:cubicBezTo>
                  <a:close/>
                  <a:moveTo>
                    <a:pt x="3318" y="1947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5" name="AutoShape 817"/>
            <p:cNvSpPr>
              <a:spLocks/>
            </p:cNvSpPr>
            <p:nvPr/>
          </p:nvSpPr>
          <p:spPr bwMode="auto">
            <a:xfrm>
              <a:off x="6515100" y="4965700"/>
              <a:ext cx="155575" cy="93663"/>
            </a:xfrm>
            <a:custGeom>
              <a:avLst/>
              <a:gdLst/>
              <a:ahLst/>
              <a:cxnLst/>
              <a:rect l="0" t="0" r="r" b="b"/>
              <a:pathLst>
                <a:path w="21577" h="21458">
                  <a:moveTo>
                    <a:pt x="15338" y="17886"/>
                  </a:moveTo>
                  <a:cubicBezTo>
                    <a:pt x="15724" y="17718"/>
                    <a:pt x="16468" y="17194"/>
                    <a:pt x="16995" y="16741"/>
                  </a:cubicBezTo>
                  <a:cubicBezTo>
                    <a:pt x="17523" y="16274"/>
                    <a:pt x="18492" y="15662"/>
                    <a:pt x="19168" y="15494"/>
                  </a:cubicBezTo>
                  <a:cubicBezTo>
                    <a:pt x="19842" y="15285"/>
                    <a:pt x="20658" y="14812"/>
                    <a:pt x="20970" y="14401"/>
                  </a:cubicBezTo>
                  <a:cubicBezTo>
                    <a:pt x="21278" y="13993"/>
                    <a:pt x="21561" y="13211"/>
                    <a:pt x="21575" y="12636"/>
                  </a:cubicBezTo>
                  <a:cubicBezTo>
                    <a:pt x="21600" y="12052"/>
                    <a:pt x="21431" y="11273"/>
                    <a:pt x="21228" y="10896"/>
                  </a:cubicBezTo>
                  <a:cubicBezTo>
                    <a:pt x="21026" y="10525"/>
                    <a:pt x="20842" y="9346"/>
                    <a:pt x="20805" y="8281"/>
                  </a:cubicBezTo>
                  <a:cubicBezTo>
                    <a:pt x="20779" y="7204"/>
                    <a:pt x="20829" y="5916"/>
                    <a:pt x="20927" y="5437"/>
                  </a:cubicBezTo>
                  <a:cubicBezTo>
                    <a:pt x="20947" y="5312"/>
                    <a:pt x="20966" y="5145"/>
                    <a:pt x="20979" y="4944"/>
                  </a:cubicBezTo>
                  <a:cubicBezTo>
                    <a:pt x="20987" y="4830"/>
                    <a:pt x="20990" y="4692"/>
                    <a:pt x="20994" y="4558"/>
                  </a:cubicBezTo>
                  <a:cubicBezTo>
                    <a:pt x="20998" y="4462"/>
                    <a:pt x="21002" y="4383"/>
                    <a:pt x="21005" y="4281"/>
                  </a:cubicBezTo>
                  <a:cubicBezTo>
                    <a:pt x="21012" y="3799"/>
                    <a:pt x="20995" y="3255"/>
                    <a:pt x="20953" y="2762"/>
                  </a:cubicBezTo>
                  <a:cubicBezTo>
                    <a:pt x="20879" y="1785"/>
                    <a:pt x="20414" y="793"/>
                    <a:pt x="19924" y="581"/>
                  </a:cubicBezTo>
                  <a:cubicBezTo>
                    <a:pt x="19431" y="360"/>
                    <a:pt x="17588" y="96"/>
                    <a:pt x="15826" y="14"/>
                  </a:cubicBezTo>
                  <a:cubicBezTo>
                    <a:pt x="14065" y="-71"/>
                    <a:pt x="12039" y="229"/>
                    <a:pt x="11338" y="731"/>
                  </a:cubicBezTo>
                  <a:cubicBezTo>
                    <a:pt x="10625" y="1201"/>
                    <a:pt x="9760" y="2232"/>
                    <a:pt x="9412" y="2997"/>
                  </a:cubicBezTo>
                  <a:cubicBezTo>
                    <a:pt x="9044" y="3731"/>
                    <a:pt x="7704" y="4182"/>
                    <a:pt x="6396" y="4014"/>
                  </a:cubicBezTo>
                  <a:cubicBezTo>
                    <a:pt x="5091" y="3759"/>
                    <a:pt x="3501" y="4045"/>
                    <a:pt x="2872" y="4564"/>
                  </a:cubicBezTo>
                  <a:cubicBezTo>
                    <a:pt x="2250" y="5108"/>
                    <a:pt x="1340" y="5275"/>
                    <a:pt x="863" y="5029"/>
                  </a:cubicBezTo>
                  <a:cubicBezTo>
                    <a:pt x="387" y="4774"/>
                    <a:pt x="9" y="4587"/>
                    <a:pt x="0" y="4587"/>
                  </a:cubicBezTo>
                  <a:cubicBezTo>
                    <a:pt x="5" y="4587"/>
                    <a:pt x="149" y="4995"/>
                    <a:pt x="298" y="5488"/>
                  </a:cubicBezTo>
                  <a:cubicBezTo>
                    <a:pt x="449" y="5983"/>
                    <a:pt x="1125" y="6437"/>
                    <a:pt x="1771" y="6479"/>
                  </a:cubicBezTo>
                  <a:cubicBezTo>
                    <a:pt x="2414" y="6561"/>
                    <a:pt x="3160" y="6641"/>
                    <a:pt x="3424" y="6683"/>
                  </a:cubicBezTo>
                  <a:cubicBezTo>
                    <a:pt x="3688" y="6729"/>
                    <a:pt x="3618" y="7125"/>
                    <a:pt x="3268" y="7553"/>
                  </a:cubicBezTo>
                  <a:cubicBezTo>
                    <a:pt x="2916" y="7984"/>
                    <a:pt x="2932" y="8805"/>
                    <a:pt x="3279" y="9400"/>
                  </a:cubicBezTo>
                  <a:cubicBezTo>
                    <a:pt x="3648" y="9964"/>
                    <a:pt x="4251" y="10519"/>
                    <a:pt x="4646" y="10559"/>
                  </a:cubicBezTo>
                  <a:cubicBezTo>
                    <a:pt x="5044" y="10602"/>
                    <a:pt x="5455" y="10933"/>
                    <a:pt x="5558" y="11273"/>
                  </a:cubicBezTo>
                  <a:cubicBezTo>
                    <a:pt x="5683" y="11593"/>
                    <a:pt x="5930" y="11944"/>
                    <a:pt x="6149" y="12027"/>
                  </a:cubicBezTo>
                  <a:cubicBezTo>
                    <a:pt x="6371" y="12106"/>
                    <a:pt x="6962" y="11947"/>
                    <a:pt x="7456" y="11655"/>
                  </a:cubicBezTo>
                  <a:cubicBezTo>
                    <a:pt x="7959" y="11403"/>
                    <a:pt x="8746" y="11012"/>
                    <a:pt x="9214" y="10845"/>
                  </a:cubicBezTo>
                  <a:cubicBezTo>
                    <a:pt x="9687" y="10723"/>
                    <a:pt x="10510" y="10944"/>
                    <a:pt x="11034" y="11449"/>
                  </a:cubicBezTo>
                  <a:cubicBezTo>
                    <a:pt x="11564" y="11947"/>
                    <a:pt x="11866" y="12480"/>
                    <a:pt x="11713" y="12687"/>
                  </a:cubicBezTo>
                  <a:cubicBezTo>
                    <a:pt x="11567" y="12905"/>
                    <a:pt x="10627" y="13047"/>
                    <a:pt x="9656" y="13047"/>
                  </a:cubicBezTo>
                  <a:cubicBezTo>
                    <a:pt x="8686" y="13047"/>
                    <a:pt x="7979" y="13290"/>
                    <a:pt x="8107" y="13545"/>
                  </a:cubicBezTo>
                  <a:cubicBezTo>
                    <a:pt x="8237" y="13800"/>
                    <a:pt x="8591" y="14086"/>
                    <a:pt x="8914" y="14169"/>
                  </a:cubicBezTo>
                  <a:cubicBezTo>
                    <a:pt x="9238" y="14256"/>
                    <a:pt x="9652" y="14565"/>
                    <a:pt x="9826" y="14891"/>
                  </a:cubicBezTo>
                  <a:cubicBezTo>
                    <a:pt x="10010" y="15191"/>
                    <a:pt x="10063" y="15701"/>
                    <a:pt x="9939" y="15976"/>
                  </a:cubicBezTo>
                  <a:cubicBezTo>
                    <a:pt x="9817" y="16256"/>
                    <a:pt x="9909" y="16506"/>
                    <a:pt x="10131" y="16548"/>
                  </a:cubicBezTo>
                  <a:cubicBezTo>
                    <a:pt x="10349" y="16588"/>
                    <a:pt x="10150" y="17254"/>
                    <a:pt x="9710" y="18084"/>
                  </a:cubicBezTo>
                  <a:cubicBezTo>
                    <a:pt x="9261" y="18889"/>
                    <a:pt x="9562" y="19441"/>
                    <a:pt x="10385" y="19313"/>
                  </a:cubicBezTo>
                  <a:cubicBezTo>
                    <a:pt x="11207" y="19146"/>
                    <a:pt x="11858" y="19506"/>
                    <a:pt x="11834" y="20027"/>
                  </a:cubicBezTo>
                  <a:cubicBezTo>
                    <a:pt x="11821" y="20560"/>
                    <a:pt x="11862" y="21147"/>
                    <a:pt x="11949" y="21336"/>
                  </a:cubicBezTo>
                  <a:cubicBezTo>
                    <a:pt x="12042" y="21529"/>
                    <a:pt x="12485" y="21473"/>
                    <a:pt x="12954" y="21300"/>
                  </a:cubicBezTo>
                  <a:cubicBezTo>
                    <a:pt x="13414" y="21084"/>
                    <a:pt x="14002" y="20305"/>
                    <a:pt x="14211" y="19534"/>
                  </a:cubicBezTo>
                  <a:cubicBezTo>
                    <a:pt x="14449" y="18787"/>
                    <a:pt x="14949" y="18053"/>
                    <a:pt x="15338" y="17886"/>
                  </a:cubicBezTo>
                  <a:close/>
                  <a:moveTo>
                    <a:pt x="15338" y="178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6" name="AutoShape 818"/>
            <p:cNvSpPr>
              <a:spLocks/>
            </p:cNvSpPr>
            <p:nvPr/>
          </p:nvSpPr>
          <p:spPr bwMode="auto">
            <a:xfrm>
              <a:off x="6616700" y="4965700"/>
              <a:ext cx="361950" cy="292100"/>
            </a:xfrm>
            <a:custGeom>
              <a:avLst/>
              <a:gdLst/>
              <a:ahLst/>
              <a:cxnLst/>
              <a:rect l="0" t="0" r="r" b="b"/>
              <a:pathLst>
                <a:path w="21586" h="21583">
                  <a:moveTo>
                    <a:pt x="6471" y="12345"/>
                  </a:moveTo>
                  <a:cubicBezTo>
                    <a:pt x="6471" y="12210"/>
                    <a:pt x="6658" y="11894"/>
                    <a:pt x="6890" y="11654"/>
                  </a:cubicBezTo>
                  <a:cubicBezTo>
                    <a:pt x="7124" y="11415"/>
                    <a:pt x="7412" y="11064"/>
                    <a:pt x="7543" y="10893"/>
                  </a:cubicBezTo>
                  <a:cubicBezTo>
                    <a:pt x="7672" y="10720"/>
                    <a:pt x="7952" y="10488"/>
                    <a:pt x="8170" y="10381"/>
                  </a:cubicBezTo>
                  <a:cubicBezTo>
                    <a:pt x="8385" y="10270"/>
                    <a:pt x="9142" y="10196"/>
                    <a:pt x="9850" y="10196"/>
                  </a:cubicBezTo>
                  <a:cubicBezTo>
                    <a:pt x="10559" y="10210"/>
                    <a:pt x="11231" y="10422"/>
                    <a:pt x="11345" y="10691"/>
                  </a:cubicBezTo>
                  <a:cubicBezTo>
                    <a:pt x="11452" y="10958"/>
                    <a:pt x="11630" y="11320"/>
                    <a:pt x="11729" y="11495"/>
                  </a:cubicBezTo>
                  <a:cubicBezTo>
                    <a:pt x="11832" y="11665"/>
                    <a:pt x="12076" y="12186"/>
                    <a:pt x="12276" y="12639"/>
                  </a:cubicBezTo>
                  <a:cubicBezTo>
                    <a:pt x="12476" y="13094"/>
                    <a:pt x="12625" y="13598"/>
                    <a:pt x="12602" y="13765"/>
                  </a:cubicBezTo>
                  <a:cubicBezTo>
                    <a:pt x="12582" y="13933"/>
                    <a:pt x="12691" y="14222"/>
                    <a:pt x="12853" y="14409"/>
                  </a:cubicBezTo>
                  <a:cubicBezTo>
                    <a:pt x="13020" y="14587"/>
                    <a:pt x="13149" y="14876"/>
                    <a:pt x="13149" y="15033"/>
                  </a:cubicBezTo>
                  <a:cubicBezTo>
                    <a:pt x="13149" y="15187"/>
                    <a:pt x="13059" y="15366"/>
                    <a:pt x="12945" y="15423"/>
                  </a:cubicBezTo>
                  <a:cubicBezTo>
                    <a:pt x="12833" y="15481"/>
                    <a:pt x="12724" y="15673"/>
                    <a:pt x="12712" y="15847"/>
                  </a:cubicBezTo>
                  <a:cubicBezTo>
                    <a:pt x="12702" y="16022"/>
                    <a:pt x="12766" y="16200"/>
                    <a:pt x="12861" y="16255"/>
                  </a:cubicBezTo>
                  <a:cubicBezTo>
                    <a:pt x="12957" y="16308"/>
                    <a:pt x="13009" y="16482"/>
                    <a:pt x="12979" y="16647"/>
                  </a:cubicBezTo>
                  <a:cubicBezTo>
                    <a:pt x="12973" y="16673"/>
                    <a:pt x="12967" y="16733"/>
                    <a:pt x="12960" y="16806"/>
                  </a:cubicBezTo>
                  <a:cubicBezTo>
                    <a:pt x="13053" y="16689"/>
                    <a:pt x="13168" y="16583"/>
                    <a:pt x="13286" y="16525"/>
                  </a:cubicBezTo>
                  <a:cubicBezTo>
                    <a:pt x="13500" y="16403"/>
                    <a:pt x="13738" y="16342"/>
                    <a:pt x="13812" y="16369"/>
                  </a:cubicBezTo>
                  <a:cubicBezTo>
                    <a:pt x="13885" y="16395"/>
                    <a:pt x="14230" y="16300"/>
                    <a:pt x="14586" y="16178"/>
                  </a:cubicBezTo>
                  <a:cubicBezTo>
                    <a:pt x="14937" y="16039"/>
                    <a:pt x="15362" y="16000"/>
                    <a:pt x="15521" y="16096"/>
                  </a:cubicBezTo>
                  <a:cubicBezTo>
                    <a:pt x="15680" y="16188"/>
                    <a:pt x="15896" y="16450"/>
                    <a:pt x="16006" y="16682"/>
                  </a:cubicBezTo>
                  <a:cubicBezTo>
                    <a:pt x="16112" y="16919"/>
                    <a:pt x="16331" y="17196"/>
                    <a:pt x="16491" y="17305"/>
                  </a:cubicBezTo>
                  <a:cubicBezTo>
                    <a:pt x="16656" y="17401"/>
                    <a:pt x="16767" y="17827"/>
                    <a:pt x="16756" y="18229"/>
                  </a:cubicBezTo>
                  <a:cubicBezTo>
                    <a:pt x="16745" y="18629"/>
                    <a:pt x="16704" y="19129"/>
                    <a:pt x="16672" y="19345"/>
                  </a:cubicBezTo>
                  <a:cubicBezTo>
                    <a:pt x="16637" y="19558"/>
                    <a:pt x="16795" y="19979"/>
                    <a:pt x="17010" y="20285"/>
                  </a:cubicBezTo>
                  <a:cubicBezTo>
                    <a:pt x="17229" y="20583"/>
                    <a:pt x="17486" y="20805"/>
                    <a:pt x="17581" y="20763"/>
                  </a:cubicBezTo>
                  <a:cubicBezTo>
                    <a:pt x="17677" y="20723"/>
                    <a:pt x="17958" y="20509"/>
                    <a:pt x="18208" y="20290"/>
                  </a:cubicBezTo>
                  <a:cubicBezTo>
                    <a:pt x="18459" y="20068"/>
                    <a:pt x="18733" y="19907"/>
                    <a:pt x="18821" y="19936"/>
                  </a:cubicBezTo>
                  <a:cubicBezTo>
                    <a:pt x="18910" y="19963"/>
                    <a:pt x="19090" y="20106"/>
                    <a:pt x="19217" y="20255"/>
                  </a:cubicBezTo>
                  <a:cubicBezTo>
                    <a:pt x="19346" y="20403"/>
                    <a:pt x="19486" y="20607"/>
                    <a:pt x="19520" y="20716"/>
                  </a:cubicBezTo>
                  <a:cubicBezTo>
                    <a:pt x="19567" y="20818"/>
                    <a:pt x="19566" y="20982"/>
                    <a:pt x="19536" y="21070"/>
                  </a:cubicBezTo>
                  <a:cubicBezTo>
                    <a:pt x="19501" y="21155"/>
                    <a:pt x="19528" y="21388"/>
                    <a:pt x="19584" y="21583"/>
                  </a:cubicBezTo>
                  <a:cubicBezTo>
                    <a:pt x="19528" y="21388"/>
                    <a:pt x="19508" y="21129"/>
                    <a:pt x="19554" y="21016"/>
                  </a:cubicBezTo>
                  <a:cubicBezTo>
                    <a:pt x="19590" y="20900"/>
                    <a:pt x="19744" y="20757"/>
                    <a:pt x="19889" y="20702"/>
                  </a:cubicBezTo>
                  <a:cubicBezTo>
                    <a:pt x="20031" y="20632"/>
                    <a:pt x="20332" y="20107"/>
                    <a:pt x="20559" y="19515"/>
                  </a:cubicBezTo>
                  <a:cubicBezTo>
                    <a:pt x="20787" y="18924"/>
                    <a:pt x="20989" y="18260"/>
                    <a:pt x="21011" y="18046"/>
                  </a:cubicBezTo>
                  <a:cubicBezTo>
                    <a:pt x="21033" y="17833"/>
                    <a:pt x="21005" y="17588"/>
                    <a:pt x="20952" y="17496"/>
                  </a:cubicBezTo>
                  <a:cubicBezTo>
                    <a:pt x="20894" y="17410"/>
                    <a:pt x="20716" y="17162"/>
                    <a:pt x="20557" y="16944"/>
                  </a:cubicBezTo>
                  <a:cubicBezTo>
                    <a:pt x="20389" y="16736"/>
                    <a:pt x="20263" y="16440"/>
                    <a:pt x="20263" y="16305"/>
                  </a:cubicBezTo>
                  <a:cubicBezTo>
                    <a:pt x="20263" y="16168"/>
                    <a:pt x="20347" y="15996"/>
                    <a:pt x="20453" y="15932"/>
                  </a:cubicBezTo>
                  <a:cubicBezTo>
                    <a:pt x="20558" y="15863"/>
                    <a:pt x="20756" y="15818"/>
                    <a:pt x="20893" y="15844"/>
                  </a:cubicBezTo>
                  <a:cubicBezTo>
                    <a:pt x="21030" y="15858"/>
                    <a:pt x="21158" y="15768"/>
                    <a:pt x="21171" y="15631"/>
                  </a:cubicBezTo>
                  <a:cubicBezTo>
                    <a:pt x="21182" y="15495"/>
                    <a:pt x="21119" y="15209"/>
                    <a:pt x="21010" y="15009"/>
                  </a:cubicBezTo>
                  <a:cubicBezTo>
                    <a:pt x="20901" y="14807"/>
                    <a:pt x="20744" y="14573"/>
                    <a:pt x="20657" y="14492"/>
                  </a:cubicBezTo>
                  <a:cubicBezTo>
                    <a:pt x="20570" y="14411"/>
                    <a:pt x="20470" y="14052"/>
                    <a:pt x="20436" y="13691"/>
                  </a:cubicBezTo>
                  <a:cubicBezTo>
                    <a:pt x="20403" y="13326"/>
                    <a:pt x="20422" y="12913"/>
                    <a:pt x="20464" y="12762"/>
                  </a:cubicBezTo>
                  <a:cubicBezTo>
                    <a:pt x="20509" y="12612"/>
                    <a:pt x="20526" y="12107"/>
                    <a:pt x="20493" y="11639"/>
                  </a:cubicBezTo>
                  <a:cubicBezTo>
                    <a:pt x="20460" y="11166"/>
                    <a:pt x="20375" y="10712"/>
                    <a:pt x="20316" y="10619"/>
                  </a:cubicBezTo>
                  <a:cubicBezTo>
                    <a:pt x="20252" y="10527"/>
                    <a:pt x="20198" y="10328"/>
                    <a:pt x="20198" y="10170"/>
                  </a:cubicBezTo>
                  <a:cubicBezTo>
                    <a:pt x="20198" y="10014"/>
                    <a:pt x="20452" y="9755"/>
                    <a:pt x="20769" y="9617"/>
                  </a:cubicBezTo>
                  <a:cubicBezTo>
                    <a:pt x="20966" y="9524"/>
                    <a:pt x="21238" y="9374"/>
                    <a:pt x="21493" y="9221"/>
                  </a:cubicBezTo>
                  <a:cubicBezTo>
                    <a:pt x="21544" y="9151"/>
                    <a:pt x="21586" y="9040"/>
                    <a:pt x="21586" y="8922"/>
                  </a:cubicBezTo>
                  <a:cubicBezTo>
                    <a:pt x="21586" y="8781"/>
                    <a:pt x="21508" y="8583"/>
                    <a:pt x="21430" y="8472"/>
                  </a:cubicBezTo>
                  <a:cubicBezTo>
                    <a:pt x="21345" y="8366"/>
                    <a:pt x="21103" y="8269"/>
                    <a:pt x="20886" y="8255"/>
                  </a:cubicBezTo>
                  <a:cubicBezTo>
                    <a:pt x="20669" y="8241"/>
                    <a:pt x="20489" y="8138"/>
                    <a:pt x="20489" y="8023"/>
                  </a:cubicBezTo>
                  <a:cubicBezTo>
                    <a:pt x="20489" y="7903"/>
                    <a:pt x="20430" y="7704"/>
                    <a:pt x="20372" y="7571"/>
                  </a:cubicBezTo>
                  <a:cubicBezTo>
                    <a:pt x="20309" y="7441"/>
                    <a:pt x="20253" y="7178"/>
                    <a:pt x="20253" y="6980"/>
                  </a:cubicBezTo>
                  <a:cubicBezTo>
                    <a:pt x="20253" y="6782"/>
                    <a:pt x="20167" y="6642"/>
                    <a:pt x="20062" y="6642"/>
                  </a:cubicBezTo>
                  <a:cubicBezTo>
                    <a:pt x="19956" y="6654"/>
                    <a:pt x="19798" y="6769"/>
                    <a:pt x="19709" y="6908"/>
                  </a:cubicBezTo>
                  <a:cubicBezTo>
                    <a:pt x="19615" y="7039"/>
                    <a:pt x="19429" y="7178"/>
                    <a:pt x="19283" y="7193"/>
                  </a:cubicBezTo>
                  <a:cubicBezTo>
                    <a:pt x="19139" y="7220"/>
                    <a:pt x="19089" y="7014"/>
                    <a:pt x="19165" y="6746"/>
                  </a:cubicBezTo>
                  <a:cubicBezTo>
                    <a:pt x="19241" y="6477"/>
                    <a:pt x="19436" y="6051"/>
                    <a:pt x="19590" y="5793"/>
                  </a:cubicBezTo>
                  <a:cubicBezTo>
                    <a:pt x="19745" y="5537"/>
                    <a:pt x="19869" y="5228"/>
                    <a:pt x="19869" y="5110"/>
                  </a:cubicBezTo>
                  <a:cubicBezTo>
                    <a:pt x="19869" y="4993"/>
                    <a:pt x="19716" y="4844"/>
                    <a:pt x="19531" y="4788"/>
                  </a:cubicBezTo>
                  <a:cubicBezTo>
                    <a:pt x="19344" y="4734"/>
                    <a:pt x="19112" y="4615"/>
                    <a:pt x="19015" y="4535"/>
                  </a:cubicBezTo>
                  <a:cubicBezTo>
                    <a:pt x="18918" y="4455"/>
                    <a:pt x="18884" y="4154"/>
                    <a:pt x="18942" y="3868"/>
                  </a:cubicBezTo>
                  <a:cubicBezTo>
                    <a:pt x="18997" y="3581"/>
                    <a:pt x="18970" y="3168"/>
                    <a:pt x="18882" y="2949"/>
                  </a:cubicBezTo>
                  <a:cubicBezTo>
                    <a:pt x="18793" y="2729"/>
                    <a:pt x="18565" y="2400"/>
                    <a:pt x="18380" y="2210"/>
                  </a:cubicBezTo>
                  <a:cubicBezTo>
                    <a:pt x="18194" y="2020"/>
                    <a:pt x="18033" y="1774"/>
                    <a:pt x="18011" y="1668"/>
                  </a:cubicBezTo>
                  <a:cubicBezTo>
                    <a:pt x="18000" y="1557"/>
                    <a:pt x="17857" y="1522"/>
                    <a:pt x="17703" y="1578"/>
                  </a:cubicBezTo>
                  <a:cubicBezTo>
                    <a:pt x="17548" y="1632"/>
                    <a:pt x="17364" y="1752"/>
                    <a:pt x="17292" y="1828"/>
                  </a:cubicBezTo>
                  <a:cubicBezTo>
                    <a:pt x="17219" y="1906"/>
                    <a:pt x="16973" y="1876"/>
                    <a:pt x="16747" y="1753"/>
                  </a:cubicBezTo>
                  <a:cubicBezTo>
                    <a:pt x="16522" y="1634"/>
                    <a:pt x="16203" y="1541"/>
                    <a:pt x="16041" y="1555"/>
                  </a:cubicBezTo>
                  <a:cubicBezTo>
                    <a:pt x="15879" y="1568"/>
                    <a:pt x="15617" y="1808"/>
                    <a:pt x="15454" y="2093"/>
                  </a:cubicBezTo>
                  <a:cubicBezTo>
                    <a:pt x="15294" y="2379"/>
                    <a:pt x="15068" y="2617"/>
                    <a:pt x="14956" y="2632"/>
                  </a:cubicBezTo>
                  <a:cubicBezTo>
                    <a:pt x="14843" y="2646"/>
                    <a:pt x="14612" y="2772"/>
                    <a:pt x="14443" y="2916"/>
                  </a:cubicBezTo>
                  <a:cubicBezTo>
                    <a:pt x="14272" y="3062"/>
                    <a:pt x="13963" y="3185"/>
                    <a:pt x="13753" y="3185"/>
                  </a:cubicBezTo>
                  <a:cubicBezTo>
                    <a:pt x="13544" y="3185"/>
                    <a:pt x="13216" y="3057"/>
                    <a:pt x="13033" y="2892"/>
                  </a:cubicBezTo>
                  <a:cubicBezTo>
                    <a:pt x="12843" y="2741"/>
                    <a:pt x="12601" y="2554"/>
                    <a:pt x="12488" y="2495"/>
                  </a:cubicBezTo>
                  <a:cubicBezTo>
                    <a:pt x="12374" y="2438"/>
                    <a:pt x="12134" y="2480"/>
                    <a:pt x="11945" y="2565"/>
                  </a:cubicBezTo>
                  <a:cubicBezTo>
                    <a:pt x="11760" y="2660"/>
                    <a:pt x="11527" y="2698"/>
                    <a:pt x="11431" y="2632"/>
                  </a:cubicBezTo>
                  <a:cubicBezTo>
                    <a:pt x="11333" y="2578"/>
                    <a:pt x="11253" y="2517"/>
                    <a:pt x="11253" y="2505"/>
                  </a:cubicBezTo>
                  <a:cubicBezTo>
                    <a:pt x="11253" y="2500"/>
                    <a:pt x="11261" y="2465"/>
                    <a:pt x="11274" y="2416"/>
                  </a:cubicBezTo>
                  <a:cubicBezTo>
                    <a:pt x="11259" y="2377"/>
                    <a:pt x="11247" y="2337"/>
                    <a:pt x="11238" y="2296"/>
                  </a:cubicBezTo>
                  <a:cubicBezTo>
                    <a:pt x="11235" y="2286"/>
                    <a:pt x="11233" y="2268"/>
                    <a:pt x="11231" y="2253"/>
                  </a:cubicBezTo>
                  <a:cubicBezTo>
                    <a:pt x="11229" y="2242"/>
                    <a:pt x="11225" y="2230"/>
                    <a:pt x="11224" y="2218"/>
                  </a:cubicBezTo>
                  <a:cubicBezTo>
                    <a:pt x="11202" y="2051"/>
                    <a:pt x="11048" y="1902"/>
                    <a:pt x="10870" y="1874"/>
                  </a:cubicBezTo>
                  <a:cubicBezTo>
                    <a:pt x="10692" y="1860"/>
                    <a:pt x="10479" y="1750"/>
                    <a:pt x="10399" y="1636"/>
                  </a:cubicBezTo>
                  <a:cubicBezTo>
                    <a:pt x="10320" y="1525"/>
                    <a:pt x="10120" y="1433"/>
                    <a:pt x="9960" y="1419"/>
                  </a:cubicBezTo>
                  <a:cubicBezTo>
                    <a:pt x="9798" y="1406"/>
                    <a:pt x="9560" y="1496"/>
                    <a:pt x="9417" y="1578"/>
                  </a:cubicBezTo>
                  <a:cubicBezTo>
                    <a:pt x="9279" y="1673"/>
                    <a:pt x="8950" y="1641"/>
                    <a:pt x="8683" y="1500"/>
                  </a:cubicBezTo>
                  <a:cubicBezTo>
                    <a:pt x="8416" y="1362"/>
                    <a:pt x="7987" y="1253"/>
                    <a:pt x="7729" y="1280"/>
                  </a:cubicBezTo>
                  <a:cubicBezTo>
                    <a:pt x="7471" y="1294"/>
                    <a:pt x="7142" y="1195"/>
                    <a:pt x="6996" y="1055"/>
                  </a:cubicBezTo>
                  <a:cubicBezTo>
                    <a:pt x="6850" y="916"/>
                    <a:pt x="6455" y="625"/>
                    <a:pt x="6114" y="419"/>
                  </a:cubicBezTo>
                  <a:cubicBezTo>
                    <a:pt x="5777" y="201"/>
                    <a:pt x="5061" y="23"/>
                    <a:pt x="4531" y="9"/>
                  </a:cubicBezTo>
                  <a:cubicBezTo>
                    <a:pt x="4001" y="-17"/>
                    <a:pt x="3432" y="16"/>
                    <a:pt x="3273" y="56"/>
                  </a:cubicBezTo>
                  <a:cubicBezTo>
                    <a:pt x="3113" y="96"/>
                    <a:pt x="3014" y="393"/>
                    <a:pt x="3042" y="721"/>
                  </a:cubicBezTo>
                  <a:cubicBezTo>
                    <a:pt x="3062" y="885"/>
                    <a:pt x="3069" y="1068"/>
                    <a:pt x="3066" y="1230"/>
                  </a:cubicBezTo>
                  <a:cubicBezTo>
                    <a:pt x="3065" y="1263"/>
                    <a:pt x="3063" y="1288"/>
                    <a:pt x="3061" y="1319"/>
                  </a:cubicBezTo>
                  <a:cubicBezTo>
                    <a:pt x="3059" y="1361"/>
                    <a:pt x="3058" y="1407"/>
                    <a:pt x="3055" y="1444"/>
                  </a:cubicBezTo>
                  <a:cubicBezTo>
                    <a:pt x="3049" y="1508"/>
                    <a:pt x="3041" y="1562"/>
                    <a:pt x="3032" y="1603"/>
                  </a:cubicBezTo>
                  <a:cubicBezTo>
                    <a:pt x="2990" y="1757"/>
                    <a:pt x="2969" y="2173"/>
                    <a:pt x="2980" y="2520"/>
                  </a:cubicBezTo>
                  <a:cubicBezTo>
                    <a:pt x="2996" y="2864"/>
                    <a:pt x="3075" y="3244"/>
                    <a:pt x="3161" y="3364"/>
                  </a:cubicBezTo>
                  <a:cubicBezTo>
                    <a:pt x="3248" y="3486"/>
                    <a:pt x="3321" y="3737"/>
                    <a:pt x="3310" y="3925"/>
                  </a:cubicBezTo>
                  <a:cubicBezTo>
                    <a:pt x="3304" y="4111"/>
                    <a:pt x="3183" y="4363"/>
                    <a:pt x="3051" y="4495"/>
                  </a:cubicBezTo>
                  <a:cubicBezTo>
                    <a:pt x="2917" y="4627"/>
                    <a:pt x="2567" y="4780"/>
                    <a:pt x="2278" y="4847"/>
                  </a:cubicBezTo>
                  <a:cubicBezTo>
                    <a:pt x="1988" y="4901"/>
                    <a:pt x="1573" y="5099"/>
                    <a:pt x="1347" y="5250"/>
                  </a:cubicBezTo>
                  <a:cubicBezTo>
                    <a:pt x="1121" y="5396"/>
                    <a:pt x="802" y="5565"/>
                    <a:pt x="636" y="5619"/>
                  </a:cubicBezTo>
                  <a:cubicBezTo>
                    <a:pt x="470" y="5673"/>
                    <a:pt x="255" y="5909"/>
                    <a:pt x="153" y="6151"/>
                  </a:cubicBezTo>
                  <a:cubicBezTo>
                    <a:pt x="64" y="6399"/>
                    <a:pt x="-14" y="6585"/>
                    <a:pt x="2" y="6585"/>
                  </a:cubicBezTo>
                  <a:cubicBezTo>
                    <a:pt x="18" y="6585"/>
                    <a:pt x="140" y="6722"/>
                    <a:pt x="274" y="6902"/>
                  </a:cubicBezTo>
                  <a:cubicBezTo>
                    <a:pt x="407" y="7082"/>
                    <a:pt x="453" y="7538"/>
                    <a:pt x="384" y="7918"/>
                  </a:cubicBezTo>
                  <a:cubicBezTo>
                    <a:pt x="306" y="8293"/>
                    <a:pt x="410" y="8864"/>
                    <a:pt x="600" y="9184"/>
                  </a:cubicBezTo>
                  <a:cubicBezTo>
                    <a:pt x="786" y="9510"/>
                    <a:pt x="1102" y="9785"/>
                    <a:pt x="1293" y="9799"/>
                  </a:cubicBezTo>
                  <a:cubicBezTo>
                    <a:pt x="1482" y="9812"/>
                    <a:pt x="1741" y="9879"/>
                    <a:pt x="1867" y="9944"/>
                  </a:cubicBezTo>
                  <a:cubicBezTo>
                    <a:pt x="1992" y="10012"/>
                    <a:pt x="2162" y="9957"/>
                    <a:pt x="2232" y="9822"/>
                  </a:cubicBezTo>
                  <a:cubicBezTo>
                    <a:pt x="2312" y="9697"/>
                    <a:pt x="2483" y="9647"/>
                    <a:pt x="2623" y="9730"/>
                  </a:cubicBezTo>
                  <a:cubicBezTo>
                    <a:pt x="2761" y="9810"/>
                    <a:pt x="2824" y="9935"/>
                    <a:pt x="2762" y="10012"/>
                  </a:cubicBezTo>
                  <a:cubicBezTo>
                    <a:pt x="2700" y="10089"/>
                    <a:pt x="2645" y="10283"/>
                    <a:pt x="2639" y="10448"/>
                  </a:cubicBezTo>
                  <a:cubicBezTo>
                    <a:pt x="2628" y="10608"/>
                    <a:pt x="2692" y="10817"/>
                    <a:pt x="2768" y="10911"/>
                  </a:cubicBezTo>
                  <a:cubicBezTo>
                    <a:pt x="2844" y="11005"/>
                    <a:pt x="3052" y="11085"/>
                    <a:pt x="3229" y="11098"/>
                  </a:cubicBezTo>
                  <a:cubicBezTo>
                    <a:pt x="3406" y="11098"/>
                    <a:pt x="3604" y="11367"/>
                    <a:pt x="3669" y="11678"/>
                  </a:cubicBezTo>
                  <a:cubicBezTo>
                    <a:pt x="3742" y="11985"/>
                    <a:pt x="3970" y="12372"/>
                    <a:pt x="4201" y="12510"/>
                  </a:cubicBezTo>
                  <a:cubicBezTo>
                    <a:pt x="4431" y="12659"/>
                    <a:pt x="4718" y="12881"/>
                    <a:pt x="4839" y="13003"/>
                  </a:cubicBezTo>
                  <a:cubicBezTo>
                    <a:pt x="4961" y="13126"/>
                    <a:pt x="5171" y="13209"/>
                    <a:pt x="5303" y="13209"/>
                  </a:cubicBezTo>
                  <a:cubicBezTo>
                    <a:pt x="5435" y="13196"/>
                    <a:pt x="5756" y="13066"/>
                    <a:pt x="6008" y="12893"/>
                  </a:cubicBezTo>
                  <a:cubicBezTo>
                    <a:pt x="6265" y="12730"/>
                    <a:pt x="6471" y="12482"/>
                    <a:pt x="6471" y="12345"/>
                  </a:cubicBezTo>
                  <a:close/>
                  <a:moveTo>
                    <a:pt x="6471" y="123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7" name="AutoShape 819"/>
            <p:cNvSpPr>
              <a:spLocks/>
            </p:cNvSpPr>
            <p:nvPr/>
          </p:nvSpPr>
          <p:spPr bwMode="auto">
            <a:xfrm>
              <a:off x="6832600" y="5308600"/>
              <a:ext cx="9525" cy="4763"/>
            </a:xfrm>
            <a:custGeom>
              <a:avLst/>
              <a:gdLst/>
              <a:ahLst/>
              <a:cxnLst/>
              <a:rect l="0" t="0" r="r" b="b"/>
              <a:pathLst>
                <a:path w="21600" h="21600">
                  <a:moveTo>
                    <a:pt x="21600" y="21600"/>
                  </a:moveTo>
                  <a:cubicBezTo>
                    <a:pt x="13572" y="11952"/>
                    <a:pt x="5381" y="3695"/>
                    <a:pt x="0" y="0"/>
                  </a:cubicBezTo>
                  <a:cubicBezTo>
                    <a:pt x="5492" y="3844"/>
                    <a:pt x="13749" y="12478"/>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8" name="AutoShape 820"/>
            <p:cNvSpPr>
              <a:spLocks/>
            </p:cNvSpPr>
            <p:nvPr/>
          </p:nvSpPr>
          <p:spPr bwMode="auto">
            <a:xfrm>
              <a:off x="6807200" y="4991100"/>
              <a:ext cx="1588" cy="1588"/>
            </a:xfrm>
            <a:custGeom>
              <a:avLst/>
              <a:gdLst/>
              <a:ahLst/>
              <a:cxnLst/>
              <a:rect l="0" t="0" r="r" b="b"/>
              <a:pathLst>
                <a:path w="21600" h="21600">
                  <a:moveTo>
                    <a:pt x="2544" y="0"/>
                  </a:moveTo>
                  <a:cubicBezTo>
                    <a:pt x="895" y="4936"/>
                    <a:pt x="0" y="8414"/>
                    <a:pt x="0" y="8874"/>
                  </a:cubicBezTo>
                  <a:cubicBezTo>
                    <a:pt x="0" y="10064"/>
                    <a:pt x="9617" y="16192"/>
                    <a:pt x="21600" y="21600"/>
                  </a:cubicBezTo>
                  <a:cubicBezTo>
                    <a:pt x="14275" y="18300"/>
                    <a:pt x="7381" y="9792"/>
                    <a:pt x="2544" y="0"/>
                  </a:cubicBezTo>
                  <a:close/>
                  <a:moveTo>
                    <a:pt x="2544"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19" name="AutoShape 821"/>
            <p:cNvSpPr>
              <a:spLocks/>
            </p:cNvSpPr>
            <p:nvPr/>
          </p:nvSpPr>
          <p:spPr bwMode="auto">
            <a:xfrm>
              <a:off x="6807200" y="4991100"/>
              <a:ext cx="0" cy="0"/>
            </a:xfrm>
            <a:custGeom>
              <a:avLst/>
              <a:gdLst/>
              <a:ahLst/>
              <a:cxnLst/>
              <a:rect l="0" t="0" r="r" b="b"/>
              <a:pathLst>
                <a:path w="21600" h="21600">
                  <a:moveTo>
                    <a:pt x="21600" y="21600"/>
                  </a:moveTo>
                  <a:cubicBezTo>
                    <a:pt x="13548" y="14204"/>
                    <a:pt x="6391" y="7339"/>
                    <a:pt x="0" y="0"/>
                  </a:cubicBezTo>
                  <a:cubicBezTo>
                    <a:pt x="7157" y="7339"/>
                    <a:pt x="11375" y="16516"/>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0" name="AutoShape 822"/>
            <p:cNvSpPr>
              <a:spLocks/>
            </p:cNvSpPr>
            <p:nvPr/>
          </p:nvSpPr>
          <p:spPr bwMode="auto">
            <a:xfrm>
              <a:off x="6667500" y="4978400"/>
              <a:ext cx="0" cy="1588"/>
            </a:xfrm>
            <a:custGeom>
              <a:avLst/>
              <a:gdLst/>
              <a:ahLst/>
              <a:cxnLst/>
              <a:rect l="0" t="0" r="r" b="b"/>
              <a:pathLst>
                <a:path w="21600" h="21600">
                  <a:moveTo>
                    <a:pt x="21600" y="0"/>
                  </a:moveTo>
                  <a:cubicBezTo>
                    <a:pt x="16311" y="8822"/>
                    <a:pt x="8489" y="16146"/>
                    <a:pt x="0" y="21600"/>
                  </a:cubicBezTo>
                  <a:cubicBezTo>
                    <a:pt x="8889" y="16146"/>
                    <a:pt x="16311" y="8697"/>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1" name="AutoShape 823"/>
            <p:cNvSpPr>
              <a:spLocks/>
            </p:cNvSpPr>
            <p:nvPr/>
          </p:nvSpPr>
          <p:spPr bwMode="auto">
            <a:xfrm>
              <a:off x="6667500" y="4978400"/>
              <a:ext cx="0" cy="0"/>
            </a:xfrm>
            <a:custGeom>
              <a:avLst/>
              <a:gdLst/>
              <a:ahLst/>
              <a:cxnLst/>
              <a:rect l="0" t="0" r="r" b="b"/>
              <a:pathLst>
                <a:path w="21600" h="21600">
                  <a:moveTo>
                    <a:pt x="21600" y="0"/>
                  </a:moveTo>
                  <a:cubicBezTo>
                    <a:pt x="16457" y="7942"/>
                    <a:pt x="8434" y="14106"/>
                    <a:pt x="0" y="21600"/>
                  </a:cubicBezTo>
                  <a:cubicBezTo>
                    <a:pt x="8434" y="14106"/>
                    <a:pt x="19954" y="7942"/>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2" name="AutoShape 824"/>
            <p:cNvSpPr>
              <a:spLocks/>
            </p:cNvSpPr>
            <p:nvPr/>
          </p:nvSpPr>
          <p:spPr bwMode="auto">
            <a:xfrm>
              <a:off x="6692900" y="5105400"/>
              <a:ext cx="139700" cy="168275"/>
            </a:xfrm>
            <a:custGeom>
              <a:avLst/>
              <a:gdLst/>
              <a:ahLst/>
              <a:cxnLst/>
              <a:rect l="0" t="0" r="r" b="b"/>
              <a:pathLst>
                <a:path w="21576" h="21600">
                  <a:moveTo>
                    <a:pt x="14383" y="21010"/>
                  </a:moveTo>
                  <a:cubicBezTo>
                    <a:pt x="14470" y="20746"/>
                    <a:pt x="14712" y="20155"/>
                    <a:pt x="14930" y="19698"/>
                  </a:cubicBezTo>
                  <a:cubicBezTo>
                    <a:pt x="15155" y="19252"/>
                    <a:pt x="15754" y="18711"/>
                    <a:pt x="16270" y="18520"/>
                  </a:cubicBezTo>
                  <a:cubicBezTo>
                    <a:pt x="16773" y="18303"/>
                    <a:pt x="17571" y="17813"/>
                    <a:pt x="18026" y="17399"/>
                  </a:cubicBezTo>
                  <a:cubicBezTo>
                    <a:pt x="18468" y="16971"/>
                    <a:pt x="18784" y="16416"/>
                    <a:pt x="18731" y="16145"/>
                  </a:cubicBezTo>
                  <a:cubicBezTo>
                    <a:pt x="18672" y="15875"/>
                    <a:pt x="18786" y="15276"/>
                    <a:pt x="18985" y="14803"/>
                  </a:cubicBezTo>
                  <a:cubicBezTo>
                    <a:pt x="19176" y="14326"/>
                    <a:pt x="19589" y="13851"/>
                    <a:pt x="19877" y="13731"/>
                  </a:cubicBezTo>
                  <a:cubicBezTo>
                    <a:pt x="20161" y="13606"/>
                    <a:pt x="20398" y="13314"/>
                    <a:pt x="20398" y="13059"/>
                  </a:cubicBezTo>
                  <a:cubicBezTo>
                    <a:pt x="20384" y="12805"/>
                    <a:pt x="20504" y="12305"/>
                    <a:pt x="20655" y="11956"/>
                  </a:cubicBezTo>
                  <a:cubicBezTo>
                    <a:pt x="20724" y="11794"/>
                    <a:pt x="20887" y="11608"/>
                    <a:pt x="21091" y="11434"/>
                  </a:cubicBezTo>
                  <a:cubicBezTo>
                    <a:pt x="21109" y="11308"/>
                    <a:pt x="21124" y="11203"/>
                    <a:pt x="21138" y="11159"/>
                  </a:cubicBezTo>
                  <a:cubicBezTo>
                    <a:pt x="21218" y="10873"/>
                    <a:pt x="21082" y="10572"/>
                    <a:pt x="20834" y="10481"/>
                  </a:cubicBezTo>
                  <a:cubicBezTo>
                    <a:pt x="20591" y="10386"/>
                    <a:pt x="20426" y="10077"/>
                    <a:pt x="20452" y="9774"/>
                  </a:cubicBezTo>
                  <a:cubicBezTo>
                    <a:pt x="20482" y="9473"/>
                    <a:pt x="20762" y="9142"/>
                    <a:pt x="21051" y="9040"/>
                  </a:cubicBezTo>
                  <a:cubicBezTo>
                    <a:pt x="21345" y="8942"/>
                    <a:pt x="21576" y="8632"/>
                    <a:pt x="21576" y="8367"/>
                  </a:cubicBezTo>
                  <a:cubicBezTo>
                    <a:pt x="21576" y="8095"/>
                    <a:pt x="21244" y="7595"/>
                    <a:pt x="20815" y="7287"/>
                  </a:cubicBezTo>
                  <a:cubicBezTo>
                    <a:pt x="20398" y="6963"/>
                    <a:pt x="20116" y="6463"/>
                    <a:pt x="20169" y="6174"/>
                  </a:cubicBezTo>
                  <a:cubicBezTo>
                    <a:pt x="20228" y="5884"/>
                    <a:pt x="19844" y="5012"/>
                    <a:pt x="19330" y="4226"/>
                  </a:cubicBezTo>
                  <a:cubicBezTo>
                    <a:pt x="18816" y="3442"/>
                    <a:pt x="18188" y="2541"/>
                    <a:pt x="17922" y="2247"/>
                  </a:cubicBezTo>
                  <a:cubicBezTo>
                    <a:pt x="17669" y="1943"/>
                    <a:pt x="17211" y="1318"/>
                    <a:pt x="16934" y="855"/>
                  </a:cubicBezTo>
                  <a:cubicBezTo>
                    <a:pt x="16641" y="390"/>
                    <a:pt x="14911" y="24"/>
                    <a:pt x="13089" y="0"/>
                  </a:cubicBezTo>
                  <a:cubicBezTo>
                    <a:pt x="11266" y="0"/>
                    <a:pt x="9318" y="128"/>
                    <a:pt x="8763" y="319"/>
                  </a:cubicBezTo>
                  <a:cubicBezTo>
                    <a:pt x="8204" y="504"/>
                    <a:pt x="7484" y="906"/>
                    <a:pt x="7152" y="1205"/>
                  </a:cubicBezTo>
                  <a:cubicBezTo>
                    <a:pt x="6813" y="1500"/>
                    <a:pt x="6072" y="2107"/>
                    <a:pt x="5472" y="2522"/>
                  </a:cubicBezTo>
                  <a:cubicBezTo>
                    <a:pt x="4872" y="2937"/>
                    <a:pt x="4393" y="3483"/>
                    <a:pt x="4393" y="3717"/>
                  </a:cubicBezTo>
                  <a:cubicBezTo>
                    <a:pt x="4393" y="3954"/>
                    <a:pt x="3863" y="4383"/>
                    <a:pt x="3202" y="4664"/>
                  </a:cubicBezTo>
                  <a:cubicBezTo>
                    <a:pt x="2553" y="4964"/>
                    <a:pt x="1726" y="5189"/>
                    <a:pt x="1387" y="5211"/>
                  </a:cubicBezTo>
                  <a:cubicBezTo>
                    <a:pt x="1048" y="5211"/>
                    <a:pt x="793" y="5250"/>
                    <a:pt x="819" y="5271"/>
                  </a:cubicBezTo>
                  <a:cubicBezTo>
                    <a:pt x="846" y="5293"/>
                    <a:pt x="679" y="5573"/>
                    <a:pt x="462" y="5910"/>
                  </a:cubicBezTo>
                  <a:cubicBezTo>
                    <a:pt x="246" y="6247"/>
                    <a:pt x="30" y="6732"/>
                    <a:pt x="2" y="6994"/>
                  </a:cubicBezTo>
                  <a:cubicBezTo>
                    <a:pt x="-24" y="7262"/>
                    <a:pt x="205" y="7587"/>
                    <a:pt x="512" y="7726"/>
                  </a:cubicBezTo>
                  <a:cubicBezTo>
                    <a:pt x="816" y="7872"/>
                    <a:pt x="825" y="8335"/>
                    <a:pt x="553" y="8789"/>
                  </a:cubicBezTo>
                  <a:cubicBezTo>
                    <a:pt x="278" y="9246"/>
                    <a:pt x="152" y="9842"/>
                    <a:pt x="331" y="10115"/>
                  </a:cubicBezTo>
                  <a:cubicBezTo>
                    <a:pt x="501" y="10398"/>
                    <a:pt x="961" y="10678"/>
                    <a:pt x="1368" y="10727"/>
                  </a:cubicBezTo>
                  <a:cubicBezTo>
                    <a:pt x="1773" y="10794"/>
                    <a:pt x="2283" y="11287"/>
                    <a:pt x="2519" y="11843"/>
                  </a:cubicBezTo>
                  <a:cubicBezTo>
                    <a:pt x="2750" y="12398"/>
                    <a:pt x="2934" y="13183"/>
                    <a:pt x="2934" y="13573"/>
                  </a:cubicBezTo>
                  <a:cubicBezTo>
                    <a:pt x="2949" y="13968"/>
                    <a:pt x="3356" y="14628"/>
                    <a:pt x="3819" y="15070"/>
                  </a:cubicBezTo>
                  <a:cubicBezTo>
                    <a:pt x="4301" y="15497"/>
                    <a:pt x="5052" y="15756"/>
                    <a:pt x="5469" y="15613"/>
                  </a:cubicBezTo>
                  <a:cubicBezTo>
                    <a:pt x="5892" y="15472"/>
                    <a:pt x="6254" y="15440"/>
                    <a:pt x="6278" y="15523"/>
                  </a:cubicBezTo>
                  <a:cubicBezTo>
                    <a:pt x="6295" y="15602"/>
                    <a:pt x="6159" y="15911"/>
                    <a:pt x="5990" y="16218"/>
                  </a:cubicBezTo>
                  <a:cubicBezTo>
                    <a:pt x="5823" y="16520"/>
                    <a:pt x="5886" y="16947"/>
                    <a:pt x="6161" y="17153"/>
                  </a:cubicBezTo>
                  <a:cubicBezTo>
                    <a:pt x="6436" y="17358"/>
                    <a:pt x="6905" y="17775"/>
                    <a:pt x="7217" y="18058"/>
                  </a:cubicBezTo>
                  <a:cubicBezTo>
                    <a:pt x="7525" y="18340"/>
                    <a:pt x="7675" y="18746"/>
                    <a:pt x="7562" y="18957"/>
                  </a:cubicBezTo>
                  <a:cubicBezTo>
                    <a:pt x="7439" y="19165"/>
                    <a:pt x="7743" y="19424"/>
                    <a:pt x="8230" y="19524"/>
                  </a:cubicBezTo>
                  <a:cubicBezTo>
                    <a:pt x="8712" y="19641"/>
                    <a:pt x="10061" y="20106"/>
                    <a:pt x="11210" y="20602"/>
                  </a:cubicBezTo>
                  <a:cubicBezTo>
                    <a:pt x="12369" y="21078"/>
                    <a:pt x="13969" y="21504"/>
                    <a:pt x="14779" y="21504"/>
                  </a:cubicBezTo>
                  <a:cubicBezTo>
                    <a:pt x="15279" y="21504"/>
                    <a:pt x="15785" y="21543"/>
                    <a:pt x="16176" y="21600"/>
                  </a:cubicBezTo>
                  <a:cubicBezTo>
                    <a:pt x="15874" y="21545"/>
                    <a:pt x="15542" y="21507"/>
                    <a:pt x="15249" y="21507"/>
                  </a:cubicBezTo>
                  <a:cubicBezTo>
                    <a:pt x="14697" y="21507"/>
                    <a:pt x="14305" y="21277"/>
                    <a:pt x="14383" y="21010"/>
                  </a:cubicBezTo>
                  <a:close/>
                  <a:moveTo>
                    <a:pt x="14383" y="2101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3" name="AutoShape 825"/>
            <p:cNvSpPr>
              <a:spLocks/>
            </p:cNvSpPr>
            <p:nvPr/>
          </p:nvSpPr>
          <p:spPr bwMode="auto">
            <a:xfrm>
              <a:off x="6718300" y="5232400"/>
              <a:ext cx="11113" cy="11113"/>
            </a:xfrm>
            <a:custGeom>
              <a:avLst/>
              <a:gdLst/>
              <a:ahLst/>
              <a:cxnLst/>
              <a:rect l="0" t="0" r="r" b="b"/>
              <a:pathLst>
                <a:path w="20914" h="20885">
                  <a:moveTo>
                    <a:pt x="7740" y="201"/>
                  </a:moveTo>
                  <a:cubicBezTo>
                    <a:pt x="5095" y="-439"/>
                    <a:pt x="1997" y="500"/>
                    <a:pt x="1045" y="2334"/>
                  </a:cubicBezTo>
                  <a:cubicBezTo>
                    <a:pt x="83" y="4168"/>
                    <a:pt x="-382" y="7301"/>
                    <a:pt x="382" y="9349"/>
                  </a:cubicBezTo>
                  <a:cubicBezTo>
                    <a:pt x="857" y="11480"/>
                    <a:pt x="4332" y="14849"/>
                    <a:pt x="7740" y="16811"/>
                  </a:cubicBezTo>
                  <a:cubicBezTo>
                    <a:pt x="11169" y="18816"/>
                    <a:pt x="15663" y="20585"/>
                    <a:pt x="17775" y="20862"/>
                  </a:cubicBezTo>
                  <a:cubicBezTo>
                    <a:pt x="19901" y="21161"/>
                    <a:pt x="21218" y="18558"/>
                    <a:pt x="20853" y="15340"/>
                  </a:cubicBezTo>
                  <a:cubicBezTo>
                    <a:pt x="20519" y="12119"/>
                    <a:pt x="18518" y="7515"/>
                    <a:pt x="16316" y="5382"/>
                  </a:cubicBezTo>
                  <a:cubicBezTo>
                    <a:pt x="14301" y="3122"/>
                    <a:pt x="10408" y="840"/>
                    <a:pt x="7740" y="201"/>
                  </a:cubicBezTo>
                  <a:close/>
                  <a:moveTo>
                    <a:pt x="7740" y="2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4" name="AutoShape 826"/>
            <p:cNvSpPr>
              <a:spLocks/>
            </p:cNvSpPr>
            <p:nvPr/>
          </p:nvSpPr>
          <p:spPr bwMode="auto">
            <a:xfrm>
              <a:off x="6807200" y="5270500"/>
              <a:ext cx="17463" cy="11113"/>
            </a:xfrm>
            <a:custGeom>
              <a:avLst/>
              <a:gdLst/>
              <a:ahLst/>
              <a:cxnLst/>
              <a:rect l="0" t="0" r="r" b="b"/>
              <a:pathLst>
                <a:path w="21600" h="21600">
                  <a:moveTo>
                    <a:pt x="9186" y="14190"/>
                  </a:moveTo>
                  <a:cubicBezTo>
                    <a:pt x="8635" y="13772"/>
                    <a:pt x="14202" y="7294"/>
                    <a:pt x="21600" y="0"/>
                  </a:cubicBezTo>
                  <a:cubicBezTo>
                    <a:pt x="14202" y="7294"/>
                    <a:pt x="6513" y="11978"/>
                    <a:pt x="4434" y="10208"/>
                  </a:cubicBezTo>
                  <a:cubicBezTo>
                    <a:pt x="3634" y="9509"/>
                    <a:pt x="1960" y="8902"/>
                    <a:pt x="0" y="8390"/>
                  </a:cubicBezTo>
                  <a:cubicBezTo>
                    <a:pt x="2167" y="9113"/>
                    <a:pt x="4138" y="10043"/>
                    <a:pt x="5397" y="11021"/>
                  </a:cubicBezTo>
                  <a:cubicBezTo>
                    <a:pt x="8047" y="13118"/>
                    <a:pt x="9108" y="17988"/>
                    <a:pt x="7819" y="21600"/>
                  </a:cubicBezTo>
                  <a:cubicBezTo>
                    <a:pt x="9108" y="17988"/>
                    <a:pt x="9734" y="14609"/>
                    <a:pt x="9186" y="14190"/>
                  </a:cubicBezTo>
                  <a:close/>
                  <a:moveTo>
                    <a:pt x="9186" y="1419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5" name="AutoShape 827"/>
            <p:cNvSpPr>
              <a:spLocks/>
            </p:cNvSpPr>
            <p:nvPr/>
          </p:nvSpPr>
          <p:spPr bwMode="auto">
            <a:xfrm>
              <a:off x="6832600" y="5308600"/>
              <a:ext cx="1588" cy="0"/>
            </a:xfrm>
            <a:custGeom>
              <a:avLst/>
              <a:gdLst/>
              <a:ahLst/>
              <a:cxnLst/>
              <a:rect l="0" t="0" r="r" b="b"/>
              <a:pathLst>
                <a:path w="21600" h="21600">
                  <a:moveTo>
                    <a:pt x="21600" y="21600"/>
                  </a:moveTo>
                  <a:cubicBezTo>
                    <a:pt x="12508" y="7676"/>
                    <a:pt x="5195" y="0"/>
                    <a:pt x="0" y="0"/>
                  </a:cubicBezTo>
                  <a:cubicBezTo>
                    <a:pt x="4893" y="0"/>
                    <a:pt x="12449" y="8171"/>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6" name="AutoShape 828"/>
            <p:cNvSpPr>
              <a:spLocks/>
            </p:cNvSpPr>
            <p:nvPr/>
          </p:nvSpPr>
          <p:spPr bwMode="auto">
            <a:xfrm>
              <a:off x="6845300" y="5283200"/>
              <a:ext cx="147638" cy="107950"/>
            </a:xfrm>
            <a:custGeom>
              <a:avLst/>
              <a:gdLst/>
              <a:ahLst/>
              <a:cxnLst/>
              <a:rect l="0" t="0" r="r" b="b"/>
              <a:pathLst>
                <a:path w="21532" h="21315">
                  <a:moveTo>
                    <a:pt x="20401" y="17130"/>
                  </a:moveTo>
                  <a:cubicBezTo>
                    <a:pt x="20575" y="16513"/>
                    <a:pt x="20610" y="15674"/>
                    <a:pt x="20472" y="15262"/>
                  </a:cubicBezTo>
                  <a:cubicBezTo>
                    <a:pt x="20336" y="14857"/>
                    <a:pt x="20286" y="14133"/>
                    <a:pt x="20398" y="13679"/>
                  </a:cubicBezTo>
                  <a:cubicBezTo>
                    <a:pt x="20489" y="13221"/>
                    <a:pt x="20720" y="12569"/>
                    <a:pt x="20894" y="12230"/>
                  </a:cubicBezTo>
                  <a:cubicBezTo>
                    <a:pt x="21078" y="11909"/>
                    <a:pt x="21100" y="11352"/>
                    <a:pt x="20963" y="11023"/>
                  </a:cubicBezTo>
                  <a:cubicBezTo>
                    <a:pt x="20839" y="10682"/>
                    <a:pt x="20948" y="10204"/>
                    <a:pt x="21212" y="9901"/>
                  </a:cubicBezTo>
                  <a:cubicBezTo>
                    <a:pt x="21480" y="9611"/>
                    <a:pt x="21600" y="8950"/>
                    <a:pt x="21493" y="8406"/>
                  </a:cubicBezTo>
                  <a:cubicBezTo>
                    <a:pt x="21385" y="7855"/>
                    <a:pt x="21055" y="7411"/>
                    <a:pt x="20783" y="7375"/>
                  </a:cubicBezTo>
                  <a:cubicBezTo>
                    <a:pt x="20511" y="7338"/>
                    <a:pt x="20048" y="7116"/>
                    <a:pt x="19754" y="6860"/>
                  </a:cubicBezTo>
                  <a:cubicBezTo>
                    <a:pt x="19449" y="6633"/>
                    <a:pt x="19115" y="5948"/>
                    <a:pt x="18975" y="5412"/>
                  </a:cubicBezTo>
                  <a:cubicBezTo>
                    <a:pt x="18841" y="4863"/>
                    <a:pt x="18522" y="4280"/>
                    <a:pt x="18264" y="4138"/>
                  </a:cubicBezTo>
                  <a:cubicBezTo>
                    <a:pt x="18007" y="3992"/>
                    <a:pt x="17600" y="3963"/>
                    <a:pt x="17340" y="3997"/>
                  </a:cubicBezTo>
                  <a:cubicBezTo>
                    <a:pt x="17092" y="4100"/>
                    <a:pt x="16700" y="3807"/>
                    <a:pt x="16452" y="3434"/>
                  </a:cubicBezTo>
                  <a:cubicBezTo>
                    <a:pt x="16217" y="3044"/>
                    <a:pt x="15739" y="2724"/>
                    <a:pt x="15388" y="2724"/>
                  </a:cubicBezTo>
                  <a:cubicBezTo>
                    <a:pt x="15036" y="2724"/>
                    <a:pt x="14614" y="2814"/>
                    <a:pt x="14468" y="2958"/>
                  </a:cubicBezTo>
                  <a:cubicBezTo>
                    <a:pt x="14316" y="3097"/>
                    <a:pt x="13915" y="3046"/>
                    <a:pt x="13581" y="2907"/>
                  </a:cubicBezTo>
                  <a:cubicBezTo>
                    <a:pt x="13245" y="2761"/>
                    <a:pt x="12861" y="2207"/>
                    <a:pt x="12759" y="1690"/>
                  </a:cubicBezTo>
                  <a:cubicBezTo>
                    <a:pt x="12650" y="1168"/>
                    <a:pt x="12801" y="427"/>
                    <a:pt x="13076" y="0"/>
                  </a:cubicBezTo>
                  <a:cubicBezTo>
                    <a:pt x="12801" y="427"/>
                    <a:pt x="12609" y="951"/>
                    <a:pt x="12649" y="1202"/>
                  </a:cubicBezTo>
                  <a:cubicBezTo>
                    <a:pt x="12709" y="1451"/>
                    <a:pt x="10210" y="2753"/>
                    <a:pt x="7107" y="4100"/>
                  </a:cubicBezTo>
                  <a:cubicBezTo>
                    <a:pt x="4004" y="5448"/>
                    <a:pt x="852" y="5953"/>
                    <a:pt x="85" y="5294"/>
                  </a:cubicBezTo>
                  <a:cubicBezTo>
                    <a:pt x="56" y="5270"/>
                    <a:pt x="29" y="5251"/>
                    <a:pt x="0" y="5226"/>
                  </a:cubicBezTo>
                  <a:cubicBezTo>
                    <a:pt x="82" y="5297"/>
                    <a:pt x="164" y="5360"/>
                    <a:pt x="245" y="5434"/>
                  </a:cubicBezTo>
                  <a:cubicBezTo>
                    <a:pt x="1092" y="6189"/>
                    <a:pt x="2816" y="8180"/>
                    <a:pt x="4081" y="9845"/>
                  </a:cubicBezTo>
                  <a:cubicBezTo>
                    <a:pt x="5344" y="11511"/>
                    <a:pt x="6727" y="12913"/>
                    <a:pt x="7155" y="12984"/>
                  </a:cubicBezTo>
                  <a:cubicBezTo>
                    <a:pt x="7586" y="13062"/>
                    <a:pt x="9208" y="14337"/>
                    <a:pt x="10758" y="15862"/>
                  </a:cubicBezTo>
                  <a:cubicBezTo>
                    <a:pt x="12312" y="17381"/>
                    <a:pt x="15219" y="19391"/>
                    <a:pt x="17213" y="20369"/>
                  </a:cubicBezTo>
                  <a:cubicBezTo>
                    <a:pt x="19204" y="21349"/>
                    <a:pt x="20818" y="21600"/>
                    <a:pt x="20818" y="20968"/>
                  </a:cubicBezTo>
                  <a:cubicBezTo>
                    <a:pt x="20791" y="20339"/>
                    <a:pt x="20617" y="19483"/>
                    <a:pt x="20438" y="19037"/>
                  </a:cubicBezTo>
                  <a:cubicBezTo>
                    <a:pt x="20237" y="18608"/>
                    <a:pt x="20217" y="17739"/>
                    <a:pt x="20401" y="17130"/>
                  </a:cubicBezTo>
                  <a:close/>
                  <a:moveTo>
                    <a:pt x="20401" y="171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7" name="AutoShape 829"/>
            <p:cNvSpPr>
              <a:spLocks/>
            </p:cNvSpPr>
            <p:nvPr/>
          </p:nvSpPr>
          <p:spPr bwMode="auto">
            <a:xfrm>
              <a:off x="6807200" y="5181600"/>
              <a:ext cx="136525" cy="130175"/>
            </a:xfrm>
            <a:custGeom>
              <a:avLst/>
              <a:gdLst/>
              <a:ahLst/>
              <a:cxnLst/>
              <a:rect l="0" t="0" r="r" b="b"/>
              <a:pathLst>
                <a:path w="21410" h="21200">
                  <a:moveTo>
                    <a:pt x="13361" y="19978"/>
                  </a:moveTo>
                  <a:cubicBezTo>
                    <a:pt x="16692" y="18869"/>
                    <a:pt x="19376" y="17795"/>
                    <a:pt x="19311" y="17591"/>
                  </a:cubicBezTo>
                  <a:cubicBezTo>
                    <a:pt x="19268" y="17383"/>
                    <a:pt x="19474" y="16951"/>
                    <a:pt x="19769" y="16599"/>
                  </a:cubicBezTo>
                  <a:cubicBezTo>
                    <a:pt x="20089" y="16266"/>
                    <a:pt x="20619" y="15295"/>
                    <a:pt x="20986" y="14469"/>
                  </a:cubicBezTo>
                  <a:cubicBezTo>
                    <a:pt x="21342" y="13637"/>
                    <a:pt x="21498" y="12611"/>
                    <a:pt x="21361" y="12183"/>
                  </a:cubicBezTo>
                  <a:cubicBezTo>
                    <a:pt x="21215" y="11755"/>
                    <a:pt x="21147" y="11243"/>
                    <a:pt x="21236" y="11056"/>
                  </a:cubicBezTo>
                  <a:cubicBezTo>
                    <a:pt x="21315" y="10863"/>
                    <a:pt x="21317" y="10501"/>
                    <a:pt x="21195" y="10276"/>
                  </a:cubicBezTo>
                  <a:cubicBezTo>
                    <a:pt x="21107" y="10037"/>
                    <a:pt x="20739" y="9588"/>
                    <a:pt x="20403" y="9263"/>
                  </a:cubicBezTo>
                  <a:cubicBezTo>
                    <a:pt x="20073" y="8935"/>
                    <a:pt x="19602" y="8621"/>
                    <a:pt x="19370" y="8561"/>
                  </a:cubicBezTo>
                  <a:cubicBezTo>
                    <a:pt x="19140" y="8497"/>
                    <a:pt x="18425" y="8851"/>
                    <a:pt x="17769" y="9339"/>
                  </a:cubicBezTo>
                  <a:cubicBezTo>
                    <a:pt x="17118" y="9821"/>
                    <a:pt x="16383" y="10292"/>
                    <a:pt x="16132" y="10380"/>
                  </a:cubicBezTo>
                  <a:cubicBezTo>
                    <a:pt x="15883" y="10473"/>
                    <a:pt x="15212" y="9984"/>
                    <a:pt x="14640" y="9329"/>
                  </a:cubicBezTo>
                  <a:cubicBezTo>
                    <a:pt x="14080" y="8656"/>
                    <a:pt x="13667" y="7731"/>
                    <a:pt x="13758" y="7261"/>
                  </a:cubicBezTo>
                  <a:cubicBezTo>
                    <a:pt x="13842" y="6786"/>
                    <a:pt x="13949" y="5687"/>
                    <a:pt x="13979" y="4806"/>
                  </a:cubicBezTo>
                  <a:cubicBezTo>
                    <a:pt x="14008" y="3924"/>
                    <a:pt x="13717" y="2987"/>
                    <a:pt x="13285" y="2776"/>
                  </a:cubicBezTo>
                  <a:cubicBezTo>
                    <a:pt x="12867" y="2535"/>
                    <a:pt x="12296" y="1926"/>
                    <a:pt x="12019" y="1405"/>
                  </a:cubicBezTo>
                  <a:cubicBezTo>
                    <a:pt x="11732" y="895"/>
                    <a:pt x="11170" y="318"/>
                    <a:pt x="10753" y="117"/>
                  </a:cubicBezTo>
                  <a:cubicBezTo>
                    <a:pt x="10337" y="-94"/>
                    <a:pt x="9229" y="-10"/>
                    <a:pt x="8311" y="296"/>
                  </a:cubicBezTo>
                  <a:cubicBezTo>
                    <a:pt x="7381" y="565"/>
                    <a:pt x="6481" y="774"/>
                    <a:pt x="6291" y="716"/>
                  </a:cubicBezTo>
                  <a:cubicBezTo>
                    <a:pt x="6097" y="658"/>
                    <a:pt x="5476" y="792"/>
                    <a:pt x="4917" y="1060"/>
                  </a:cubicBezTo>
                  <a:cubicBezTo>
                    <a:pt x="4610" y="1188"/>
                    <a:pt x="4309" y="1422"/>
                    <a:pt x="4067" y="1679"/>
                  </a:cubicBezTo>
                  <a:cubicBezTo>
                    <a:pt x="3975" y="2561"/>
                    <a:pt x="3835" y="4873"/>
                    <a:pt x="3727" y="7375"/>
                  </a:cubicBezTo>
                  <a:cubicBezTo>
                    <a:pt x="3610" y="10324"/>
                    <a:pt x="2728" y="13245"/>
                    <a:pt x="1803" y="13880"/>
                  </a:cubicBezTo>
                  <a:cubicBezTo>
                    <a:pt x="870" y="14509"/>
                    <a:pt x="168" y="15068"/>
                    <a:pt x="238" y="15104"/>
                  </a:cubicBezTo>
                  <a:cubicBezTo>
                    <a:pt x="307" y="15140"/>
                    <a:pt x="228" y="15432"/>
                    <a:pt x="66" y="15743"/>
                  </a:cubicBezTo>
                  <a:cubicBezTo>
                    <a:pt x="-102" y="16061"/>
                    <a:pt x="66" y="16461"/>
                    <a:pt x="429" y="16634"/>
                  </a:cubicBezTo>
                  <a:cubicBezTo>
                    <a:pt x="795" y="16810"/>
                    <a:pt x="1555" y="17602"/>
                    <a:pt x="2117" y="18413"/>
                  </a:cubicBezTo>
                  <a:cubicBezTo>
                    <a:pt x="2686" y="19215"/>
                    <a:pt x="3412" y="19882"/>
                    <a:pt x="3740" y="19912"/>
                  </a:cubicBezTo>
                  <a:cubicBezTo>
                    <a:pt x="3825" y="19912"/>
                    <a:pt x="3944" y="19944"/>
                    <a:pt x="4092" y="20002"/>
                  </a:cubicBezTo>
                  <a:cubicBezTo>
                    <a:pt x="4501" y="20157"/>
                    <a:pt x="5122" y="20503"/>
                    <a:pt x="5732" y="20907"/>
                  </a:cubicBezTo>
                  <a:cubicBezTo>
                    <a:pt x="5762" y="20927"/>
                    <a:pt x="5792" y="20943"/>
                    <a:pt x="5823" y="20963"/>
                  </a:cubicBezTo>
                  <a:cubicBezTo>
                    <a:pt x="6646" y="21506"/>
                    <a:pt x="10030" y="21090"/>
                    <a:pt x="13361" y="19978"/>
                  </a:cubicBezTo>
                  <a:close/>
                  <a:moveTo>
                    <a:pt x="13361" y="199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8" name="AutoShape 830"/>
            <p:cNvSpPr>
              <a:spLocks/>
            </p:cNvSpPr>
            <p:nvPr/>
          </p:nvSpPr>
          <p:spPr bwMode="auto">
            <a:xfrm>
              <a:off x="6794500" y="5194300"/>
              <a:ext cx="42863" cy="79375"/>
            </a:xfrm>
            <a:custGeom>
              <a:avLst/>
              <a:gdLst/>
              <a:ahLst/>
              <a:cxnLst/>
              <a:rect l="0" t="0" r="r" b="b"/>
              <a:pathLst>
                <a:path w="21381" h="21404">
                  <a:moveTo>
                    <a:pt x="14278" y="19914"/>
                  </a:moveTo>
                  <a:cubicBezTo>
                    <a:pt x="17179" y="18877"/>
                    <a:pt x="19947" y="14110"/>
                    <a:pt x="20313" y="9297"/>
                  </a:cubicBezTo>
                  <a:cubicBezTo>
                    <a:pt x="20653" y="5213"/>
                    <a:pt x="21092" y="1440"/>
                    <a:pt x="21381" y="0"/>
                  </a:cubicBezTo>
                  <a:cubicBezTo>
                    <a:pt x="20732" y="361"/>
                    <a:pt x="20213" y="748"/>
                    <a:pt x="19993" y="1082"/>
                  </a:cubicBezTo>
                  <a:cubicBezTo>
                    <a:pt x="19513" y="1808"/>
                    <a:pt x="19129" y="2844"/>
                    <a:pt x="19175" y="3372"/>
                  </a:cubicBezTo>
                  <a:cubicBezTo>
                    <a:pt x="19175" y="3901"/>
                    <a:pt x="18419" y="4508"/>
                    <a:pt x="17517" y="4767"/>
                  </a:cubicBezTo>
                  <a:cubicBezTo>
                    <a:pt x="16599" y="5016"/>
                    <a:pt x="15286" y="6000"/>
                    <a:pt x="14677" y="6991"/>
                  </a:cubicBezTo>
                  <a:cubicBezTo>
                    <a:pt x="14045" y="7972"/>
                    <a:pt x="13680" y="9215"/>
                    <a:pt x="13870" y="9776"/>
                  </a:cubicBezTo>
                  <a:cubicBezTo>
                    <a:pt x="14039" y="10337"/>
                    <a:pt x="13031" y="11489"/>
                    <a:pt x="11624" y="12378"/>
                  </a:cubicBezTo>
                  <a:cubicBezTo>
                    <a:pt x="10178" y="13237"/>
                    <a:pt x="7636" y="14254"/>
                    <a:pt x="6036" y="14704"/>
                  </a:cubicBezTo>
                  <a:cubicBezTo>
                    <a:pt x="4394" y="15101"/>
                    <a:pt x="2489" y="16223"/>
                    <a:pt x="1771" y="17148"/>
                  </a:cubicBezTo>
                  <a:cubicBezTo>
                    <a:pt x="1079" y="18096"/>
                    <a:pt x="309" y="19323"/>
                    <a:pt x="32" y="19871"/>
                  </a:cubicBezTo>
                  <a:cubicBezTo>
                    <a:pt x="-219" y="20426"/>
                    <a:pt x="1030" y="20901"/>
                    <a:pt x="2788" y="20901"/>
                  </a:cubicBezTo>
                  <a:cubicBezTo>
                    <a:pt x="3721" y="20901"/>
                    <a:pt x="4777" y="20980"/>
                    <a:pt x="5738" y="21095"/>
                  </a:cubicBezTo>
                  <a:cubicBezTo>
                    <a:pt x="6513" y="21167"/>
                    <a:pt x="7174" y="21252"/>
                    <a:pt x="7491" y="21351"/>
                  </a:cubicBezTo>
                  <a:cubicBezTo>
                    <a:pt x="8313" y="21600"/>
                    <a:pt x="11353" y="20941"/>
                    <a:pt x="14278" y="19914"/>
                  </a:cubicBezTo>
                  <a:close/>
                  <a:moveTo>
                    <a:pt x="14278" y="1991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29" name="AutoShape 831"/>
            <p:cNvSpPr>
              <a:spLocks/>
            </p:cNvSpPr>
            <p:nvPr/>
          </p:nvSpPr>
          <p:spPr bwMode="auto">
            <a:xfrm>
              <a:off x="6934200" y="5067300"/>
              <a:ext cx="315913" cy="322263"/>
            </a:xfrm>
            <a:custGeom>
              <a:avLst/>
              <a:gdLst/>
              <a:ahLst/>
              <a:cxnLst/>
              <a:rect l="0" t="0" r="r" b="b"/>
              <a:pathLst>
                <a:path w="21543" h="21528">
                  <a:moveTo>
                    <a:pt x="20415" y="18623"/>
                  </a:moveTo>
                  <a:cubicBezTo>
                    <a:pt x="20553" y="18599"/>
                    <a:pt x="20682" y="18371"/>
                    <a:pt x="20694" y="18115"/>
                  </a:cubicBezTo>
                  <a:cubicBezTo>
                    <a:pt x="20713" y="17857"/>
                    <a:pt x="20642" y="17530"/>
                    <a:pt x="20559" y="17379"/>
                  </a:cubicBezTo>
                  <a:cubicBezTo>
                    <a:pt x="20461" y="17235"/>
                    <a:pt x="20215" y="17061"/>
                    <a:pt x="19995" y="17003"/>
                  </a:cubicBezTo>
                  <a:cubicBezTo>
                    <a:pt x="19773" y="16953"/>
                    <a:pt x="19584" y="16715"/>
                    <a:pt x="19558" y="16499"/>
                  </a:cubicBezTo>
                  <a:cubicBezTo>
                    <a:pt x="19539" y="16279"/>
                    <a:pt x="19413" y="15820"/>
                    <a:pt x="19273" y="15482"/>
                  </a:cubicBezTo>
                  <a:cubicBezTo>
                    <a:pt x="19141" y="15140"/>
                    <a:pt x="18931" y="14774"/>
                    <a:pt x="18827" y="14655"/>
                  </a:cubicBezTo>
                  <a:cubicBezTo>
                    <a:pt x="18715" y="14546"/>
                    <a:pt x="18638" y="14386"/>
                    <a:pt x="18638" y="14307"/>
                  </a:cubicBezTo>
                  <a:cubicBezTo>
                    <a:pt x="18638" y="14229"/>
                    <a:pt x="18713" y="14116"/>
                    <a:pt x="18799" y="14067"/>
                  </a:cubicBezTo>
                  <a:cubicBezTo>
                    <a:pt x="18884" y="14020"/>
                    <a:pt x="18947" y="13638"/>
                    <a:pt x="18934" y="13231"/>
                  </a:cubicBezTo>
                  <a:cubicBezTo>
                    <a:pt x="18928" y="12821"/>
                    <a:pt x="19002" y="12391"/>
                    <a:pt x="19087" y="12263"/>
                  </a:cubicBezTo>
                  <a:cubicBezTo>
                    <a:pt x="19176" y="12139"/>
                    <a:pt x="19263" y="11868"/>
                    <a:pt x="19275" y="11658"/>
                  </a:cubicBezTo>
                  <a:cubicBezTo>
                    <a:pt x="19293" y="11445"/>
                    <a:pt x="19351" y="11155"/>
                    <a:pt x="19428" y="11016"/>
                  </a:cubicBezTo>
                  <a:cubicBezTo>
                    <a:pt x="19495" y="10873"/>
                    <a:pt x="19539" y="10610"/>
                    <a:pt x="19532" y="10426"/>
                  </a:cubicBezTo>
                  <a:cubicBezTo>
                    <a:pt x="19519" y="10242"/>
                    <a:pt x="19747" y="9734"/>
                    <a:pt x="20057" y="9303"/>
                  </a:cubicBezTo>
                  <a:cubicBezTo>
                    <a:pt x="20361" y="8869"/>
                    <a:pt x="20774" y="8424"/>
                    <a:pt x="20965" y="8307"/>
                  </a:cubicBezTo>
                  <a:cubicBezTo>
                    <a:pt x="21162" y="8196"/>
                    <a:pt x="21320" y="7946"/>
                    <a:pt x="21320" y="7762"/>
                  </a:cubicBezTo>
                  <a:cubicBezTo>
                    <a:pt x="21326" y="7574"/>
                    <a:pt x="21385" y="7253"/>
                    <a:pt x="21476" y="7053"/>
                  </a:cubicBezTo>
                  <a:cubicBezTo>
                    <a:pt x="21565" y="6852"/>
                    <a:pt x="21564" y="6495"/>
                    <a:pt x="21481" y="6269"/>
                  </a:cubicBezTo>
                  <a:cubicBezTo>
                    <a:pt x="21390" y="6042"/>
                    <a:pt x="21222" y="5749"/>
                    <a:pt x="21083" y="5626"/>
                  </a:cubicBezTo>
                  <a:cubicBezTo>
                    <a:pt x="20941" y="5512"/>
                    <a:pt x="20843" y="5272"/>
                    <a:pt x="20837" y="5113"/>
                  </a:cubicBezTo>
                  <a:cubicBezTo>
                    <a:pt x="20843" y="4955"/>
                    <a:pt x="20777" y="4664"/>
                    <a:pt x="20690" y="4471"/>
                  </a:cubicBezTo>
                  <a:cubicBezTo>
                    <a:pt x="20600" y="4281"/>
                    <a:pt x="20601" y="3878"/>
                    <a:pt x="20679" y="3587"/>
                  </a:cubicBezTo>
                  <a:cubicBezTo>
                    <a:pt x="20727" y="3406"/>
                    <a:pt x="20765" y="3138"/>
                    <a:pt x="20787" y="2878"/>
                  </a:cubicBezTo>
                  <a:cubicBezTo>
                    <a:pt x="20731" y="2823"/>
                    <a:pt x="20593" y="2770"/>
                    <a:pt x="20435" y="2742"/>
                  </a:cubicBezTo>
                  <a:cubicBezTo>
                    <a:pt x="20227" y="2718"/>
                    <a:pt x="19948" y="2603"/>
                    <a:pt x="19807" y="2515"/>
                  </a:cubicBezTo>
                  <a:cubicBezTo>
                    <a:pt x="19672" y="2419"/>
                    <a:pt x="19455" y="2354"/>
                    <a:pt x="19330" y="2340"/>
                  </a:cubicBezTo>
                  <a:cubicBezTo>
                    <a:pt x="19206" y="2354"/>
                    <a:pt x="18960" y="2441"/>
                    <a:pt x="18772" y="2554"/>
                  </a:cubicBezTo>
                  <a:cubicBezTo>
                    <a:pt x="18589" y="2675"/>
                    <a:pt x="18250" y="2807"/>
                    <a:pt x="18021" y="2858"/>
                  </a:cubicBezTo>
                  <a:cubicBezTo>
                    <a:pt x="17792" y="2908"/>
                    <a:pt x="17355" y="2818"/>
                    <a:pt x="17052" y="2670"/>
                  </a:cubicBezTo>
                  <a:cubicBezTo>
                    <a:pt x="16748" y="2518"/>
                    <a:pt x="16413" y="2284"/>
                    <a:pt x="16316" y="2142"/>
                  </a:cubicBezTo>
                  <a:cubicBezTo>
                    <a:pt x="16216" y="1998"/>
                    <a:pt x="15966" y="1811"/>
                    <a:pt x="15764" y="1721"/>
                  </a:cubicBezTo>
                  <a:cubicBezTo>
                    <a:pt x="15557" y="1645"/>
                    <a:pt x="15275" y="1562"/>
                    <a:pt x="15127" y="1562"/>
                  </a:cubicBezTo>
                  <a:cubicBezTo>
                    <a:pt x="14979" y="1562"/>
                    <a:pt x="14768" y="1508"/>
                    <a:pt x="14658" y="1437"/>
                  </a:cubicBezTo>
                  <a:cubicBezTo>
                    <a:pt x="14550" y="1362"/>
                    <a:pt x="14345" y="1308"/>
                    <a:pt x="14206" y="1308"/>
                  </a:cubicBezTo>
                  <a:cubicBezTo>
                    <a:pt x="14068" y="1308"/>
                    <a:pt x="13662" y="1155"/>
                    <a:pt x="13301" y="972"/>
                  </a:cubicBezTo>
                  <a:cubicBezTo>
                    <a:pt x="12941" y="786"/>
                    <a:pt x="12417" y="464"/>
                    <a:pt x="12144" y="246"/>
                  </a:cubicBezTo>
                  <a:cubicBezTo>
                    <a:pt x="11868" y="33"/>
                    <a:pt x="11523" y="-59"/>
                    <a:pt x="11373" y="38"/>
                  </a:cubicBezTo>
                  <a:cubicBezTo>
                    <a:pt x="11227" y="137"/>
                    <a:pt x="10959" y="428"/>
                    <a:pt x="10785" y="685"/>
                  </a:cubicBezTo>
                  <a:cubicBezTo>
                    <a:pt x="10602" y="939"/>
                    <a:pt x="10215" y="1081"/>
                    <a:pt x="9910" y="993"/>
                  </a:cubicBezTo>
                  <a:cubicBezTo>
                    <a:pt x="9606" y="904"/>
                    <a:pt x="9301" y="742"/>
                    <a:pt x="9223" y="641"/>
                  </a:cubicBezTo>
                  <a:cubicBezTo>
                    <a:pt x="9150" y="534"/>
                    <a:pt x="9129" y="393"/>
                    <a:pt x="9189" y="334"/>
                  </a:cubicBezTo>
                  <a:cubicBezTo>
                    <a:pt x="9242" y="269"/>
                    <a:pt x="9079" y="191"/>
                    <a:pt x="8821" y="155"/>
                  </a:cubicBezTo>
                  <a:cubicBezTo>
                    <a:pt x="8562" y="118"/>
                    <a:pt x="8093" y="143"/>
                    <a:pt x="7779" y="204"/>
                  </a:cubicBezTo>
                  <a:cubicBezTo>
                    <a:pt x="7463" y="266"/>
                    <a:pt x="7202" y="383"/>
                    <a:pt x="7190" y="463"/>
                  </a:cubicBezTo>
                  <a:cubicBezTo>
                    <a:pt x="7184" y="545"/>
                    <a:pt x="7100" y="663"/>
                    <a:pt x="7022" y="739"/>
                  </a:cubicBezTo>
                  <a:cubicBezTo>
                    <a:pt x="6934" y="801"/>
                    <a:pt x="6554" y="844"/>
                    <a:pt x="6166" y="819"/>
                  </a:cubicBezTo>
                  <a:cubicBezTo>
                    <a:pt x="5778" y="794"/>
                    <a:pt x="5267" y="690"/>
                    <a:pt x="5041" y="577"/>
                  </a:cubicBezTo>
                  <a:cubicBezTo>
                    <a:pt x="4813" y="465"/>
                    <a:pt x="4522" y="388"/>
                    <a:pt x="4402" y="401"/>
                  </a:cubicBezTo>
                  <a:cubicBezTo>
                    <a:pt x="4282" y="413"/>
                    <a:pt x="3889" y="577"/>
                    <a:pt x="3528" y="771"/>
                  </a:cubicBezTo>
                  <a:cubicBezTo>
                    <a:pt x="3393" y="846"/>
                    <a:pt x="3223" y="929"/>
                    <a:pt x="3048" y="1012"/>
                  </a:cubicBezTo>
                  <a:cubicBezTo>
                    <a:pt x="3037" y="1023"/>
                    <a:pt x="3030" y="1042"/>
                    <a:pt x="3019" y="1050"/>
                  </a:cubicBezTo>
                  <a:cubicBezTo>
                    <a:pt x="2938" y="1089"/>
                    <a:pt x="2578" y="1235"/>
                    <a:pt x="2219" y="1369"/>
                  </a:cubicBezTo>
                  <a:cubicBezTo>
                    <a:pt x="1856" y="1494"/>
                    <a:pt x="1566" y="1728"/>
                    <a:pt x="1566" y="1868"/>
                  </a:cubicBezTo>
                  <a:cubicBezTo>
                    <a:pt x="1566" y="2011"/>
                    <a:pt x="1628" y="2191"/>
                    <a:pt x="1701" y="2274"/>
                  </a:cubicBezTo>
                  <a:cubicBezTo>
                    <a:pt x="1768" y="2358"/>
                    <a:pt x="1866" y="2768"/>
                    <a:pt x="1903" y="3195"/>
                  </a:cubicBezTo>
                  <a:cubicBezTo>
                    <a:pt x="1941" y="3618"/>
                    <a:pt x="1921" y="4074"/>
                    <a:pt x="1870" y="4209"/>
                  </a:cubicBezTo>
                  <a:cubicBezTo>
                    <a:pt x="1822" y="4345"/>
                    <a:pt x="1801" y="4718"/>
                    <a:pt x="1838" y="5048"/>
                  </a:cubicBezTo>
                  <a:cubicBezTo>
                    <a:pt x="1877" y="5375"/>
                    <a:pt x="1991" y="5698"/>
                    <a:pt x="2091" y="5772"/>
                  </a:cubicBezTo>
                  <a:cubicBezTo>
                    <a:pt x="2191" y="5844"/>
                    <a:pt x="2370" y="6056"/>
                    <a:pt x="2494" y="6238"/>
                  </a:cubicBezTo>
                  <a:cubicBezTo>
                    <a:pt x="2620" y="6419"/>
                    <a:pt x="2691" y="6677"/>
                    <a:pt x="2678" y="6800"/>
                  </a:cubicBezTo>
                  <a:cubicBezTo>
                    <a:pt x="2664" y="6924"/>
                    <a:pt x="2518" y="7005"/>
                    <a:pt x="2361" y="6992"/>
                  </a:cubicBezTo>
                  <a:cubicBezTo>
                    <a:pt x="2203" y="6969"/>
                    <a:pt x="1977" y="7010"/>
                    <a:pt x="1858" y="7072"/>
                  </a:cubicBezTo>
                  <a:cubicBezTo>
                    <a:pt x="1737" y="7130"/>
                    <a:pt x="1640" y="7285"/>
                    <a:pt x="1640" y="7408"/>
                  </a:cubicBezTo>
                  <a:cubicBezTo>
                    <a:pt x="1640" y="7531"/>
                    <a:pt x="1784" y="7798"/>
                    <a:pt x="1976" y="7986"/>
                  </a:cubicBezTo>
                  <a:cubicBezTo>
                    <a:pt x="2158" y="8183"/>
                    <a:pt x="2362" y="8406"/>
                    <a:pt x="2429" y="8485"/>
                  </a:cubicBezTo>
                  <a:cubicBezTo>
                    <a:pt x="2489" y="8567"/>
                    <a:pt x="2521" y="8789"/>
                    <a:pt x="2496" y="8981"/>
                  </a:cubicBezTo>
                  <a:cubicBezTo>
                    <a:pt x="2470" y="9174"/>
                    <a:pt x="2240" y="9774"/>
                    <a:pt x="1979" y="10308"/>
                  </a:cubicBezTo>
                  <a:cubicBezTo>
                    <a:pt x="1719" y="10842"/>
                    <a:pt x="1374" y="11316"/>
                    <a:pt x="1212" y="11379"/>
                  </a:cubicBezTo>
                  <a:cubicBezTo>
                    <a:pt x="1046" y="11429"/>
                    <a:pt x="870" y="11559"/>
                    <a:pt x="829" y="11663"/>
                  </a:cubicBezTo>
                  <a:cubicBezTo>
                    <a:pt x="776" y="11765"/>
                    <a:pt x="799" y="11999"/>
                    <a:pt x="863" y="12175"/>
                  </a:cubicBezTo>
                  <a:cubicBezTo>
                    <a:pt x="923" y="12351"/>
                    <a:pt x="854" y="12772"/>
                    <a:pt x="698" y="13114"/>
                  </a:cubicBezTo>
                  <a:cubicBezTo>
                    <a:pt x="538" y="13453"/>
                    <a:pt x="305" y="13852"/>
                    <a:pt x="165" y="13989"/>
                  </a:cubicBezTo>
                  <a:cubicBezTo>
                    <a:pt x="36" y="14133"/>
                    <a:pt x="-35" y="14384"/>
                    <a:pt x="16" y="14561"/>
                  </a:cubicBezTo>
                  <a:cubicBezTo>
                    <a:pt x="64" y="14736"/>
                    <a:pt x="245" y="14923"/>
                    <a:pt x="403" y="14972"/>
                  </a:cubicBezTo>
                  <a:cubicBezTo>
                    <a:pt x="560" y="15019"/>
                    <a:pt x="748" y="15037"/>
                    <a:pt x="820" y="14990"/>
                  </a:cubicBezTo>
                  <a:cubicBezTo>
                    <a:pt x="889" y="14941"/>
                    <a:pt x="1087" y="14910"/>
                    <a:pt x="1253" y="14910"/>
                  </a:cubicBezTo>
                  <a:cubicBezTo>
                    <a:pt x="1418" y="14910"/>
                    <a:pt x="1643" y="15019"/>
                    <a:pt x="1753" y="15151"/>
                  </a:cubicBezTo>
                  <a:cubicBezTo>
                    <a:pt x="1870" y="15277"/>
                    <a:pt x="2054" y="15376"/>
                    <a:pt x="2171" y="15341"/>
                  </a:cubicBezTo>
                  <a:cubicBezTo>
                    <a:pt x="2293" y="15330"/>
                    <a:pt x="2485" y="15340"/>
                    <a:pt x="2606" y="15389"/>
                  </a:cubicBezTo>
                  <a:cubicBezTo>
                    <a:pt x="2727" y="15437"/>
                    <a:pt x="2877" y="15634"/>
                    <a:pt x="2940" y="15820"/>
                  </a:cubicBezTo>
                  <a:cubicBezTo>
                    <a:pt x="3006" y="16002"/>
                    <a:pt x="3163" y="16234"/>
                    <a:pt x="3307" y="16310"/>
                  </a:cubicBezTo>
                  <a:cubicBezTo>
                    <a:pt x="3445" y="16397"/>
                    <a:pt x="3662" y="16472"/>
                    <a:pt x="3791" y="16485"/>
                  </a:cubicBezTo>
                  <a:cubicBezTo>
                    <a:pt x="3918" y="16497"/>
                    <a:pt x="4074" y="16647"/>
                    <a:pt x="4125" y="16834"/>
                  </a:cubicBezTo>
                  <a:cubicBezTo>
                    <a:pt x="4175" y="17018"/>
                    <a:pt x="4118" y="17241"/>
                    <a:pt x="3992" y="17340"/>
                  </a:cubicBezTo>
                  <a:cubicBezTo>
                    <a:pt x="3868" y="17442"/>
                    <a:pt x="3817" y="17604"/>
                    <a:pt x="3875" y="17719"/>
                  </a:cubicBezTo>
                  <a:cubicBezTo>
                    <a:pt x="3940" y="17831"/>
                    <a:pt x="3929" y="18019"/>
                    <a:pt x="3843" y="18128"/>
                  </a:cubicBezTo>
                  <a:cubicBezTo>
                    <a:pt x="3761" y="18243"/>
                    <a:pt x="3652" y="18463"/>
                    <a:pt x="3609" y="18618"/>
                  </a:cubicBezTo>
                  <a:cubicBezTo>
                    <a:pt x="3557" y="18772"/>
                    <a:pt x="3580" y="19017"/>
                    <a:pt x="3644" y="19154"/>
                  </a:cubicBezTo>
                  <a:cubicBezTo>
                    <a:pt x="3709" y="19293"/>
                    <a:pt x="3693" y="19577"/>
                    <a:pt x="3611" y="19786"/>
                  </a:cubicBezTo>
                  <a:cubicBezTo>
                    <a:pt x="3524" y="19992"/>
                    <a:pt x="3534" y="20286"/>
                    <a:pt x="3628" y="20432"/>
                  </a:cubicBezTo>
                  <a:cubicBezTo>
                    <a:pt x="3712" y="20583"/>
                    <a:pt x="3794" y="20872"/>
                    <a:pt x="3807" y="21085"/>
                  </a:cubicBezTo>
                  <a:cubicBezTo>
                    <a:pt x="3820" y="21299"/>
                    <a:pt x="3892" y="21502"/>
                    <a:pt x="3984" y="21527"/>
                  </a:cubicBezTo>
                  <a:cubicBezTo>
                    <a:pt x="4080" y="21541"/>
                    <a:pt x="4424" y="21368"/>
                    <a:pt x="4751" y="21090"/>
                  </a:cubicBezTo>
                  <a:cubicBezTo>
                    <a:pt x="5078" y="20812"/>
                    <a:pt x="5524" y="20595"/>
                    <a:pt x="5733" y="20595"/>
                  </a:cubicBezTo>
                  <a:cubicBezTo>
                    <a:pt x="5943" y="20595"/>
                    <a:pt x="6176" y="20524"/>
                    <a:pt x="6245" y="20434"/>
                  </a:cubicBezTo>
                  <a:cubicBezTo>
                    <a:pt x="6310" y="20341"/>
                    <a:pt x="6915" y="20085"/>
                    <a:pt x="7569" y="19851"/>
                  </a:cubicBezTo>
                  <a:cubicBezTo>
                    <a:pt x="8225" y="19617"/>
                    <a:pt x="8766" y="19354"/>
                    <a:pt x="8776" y="19266"/>
                  </a:cubicBezTo>
                  <a:cubicBezTo>
                    <a:pt x="8788" y="19179"/>
                    <a:pt x="9083" y="19066"/>
                    <a:pt x="9444" y="19016"/>
                  </a:cubicBezTo>
                  <a:cubicBezTo>
                    <a:pt x="9805" y="18967"/>
                    <a:pt x="11131" y="18910"/>
                    <a:pt x="12394" y="18910"/>
                  </a:cubicBezTo>
                  <a:cubicBezTo>
                    <a:pt x="13656" y="18897"/>
                    <a:pt x="15073" y="18757"/>
                    <a:pt x="15554" y="18622"/>
                  </a:cubicBezTo>
                  <a:cubicBezTo>
                    <a:pt x="16028" y="18473"/>
                    <a:pt x="16777" y="18517"/>
                    <a:pt x="17216" y="18711"/>
                  </a:cubicBezTo>
                  <a:cubicBezTo>
                    <a:pt x="17652" y="18911"/>
                    <a:pt x="18041" y="18882"/>
                    <a:pt x="18093" y="18655"/>
                  </a:cubicBezTo>
                  <a:cubicBezTo>
                    <a:pt x="18130" y="18430"/>
                    <a:pt x="18323" y="18219"/>
                    <a:pt x="18502" y="18171"/>
                  </a:cubicBezTo>
                  <a:cubicBezTo>
                    <a:pt x="18681" y="18124"/>
                    <a:pt x="18939" y="18289"/>
                    <a:pt x="19078" y="18523"/>
                  </a:cubicBezTo>
                  <a:cubicBezTo>
                    <a:pt x="19212" y="18760"/>
                    <a:pt x="19358" y="18899"/>
                    <a:pt x="19396" y="18834"/>
                  </a:cubicBezTo>
                  <a:cubicBezTo>
                    <a:pt x="19430" y="18768"/>
                    <a:pt x="19623" y="18701"/>
                    <a:pt x="19816" y="18688"/>
                  </a:cubicBezTo>
                  <a:cubicBezTo>
                    <a:pt x="20008" y="18677"/>
                    <a:pt x="20278" y="18648"/>
                    <a:pt x="20415" y="18623"/>
                  </a:cubicBezTo>
                  <a:close/>
                  <a:moveTo>
                    <a:pt x="20415" y="186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0" name="AutoShape 832"/>
            <p:cNvSpPr>
              <a:spLocks/>
            </p:cNvSpPr>
            <p:nvPr/>
          </p:nvSpPr>
          <p:spPr bwMode="auto">
            <a:xfrm>
              <a:off x="6972300" y="5092700"/>
              <a:ext cx="11113" cy="4763"/>
            </a:xfrm>
            <a:custGeom>
              <a:avLst/>
              <a:gdLst/>
              <a:ahLst/>
              <a:cxnLst/>
              <a:rect l="0" t="0" r="r" b="b"/>
              <a:pathLst>
                <a:path w="21600" h="21600">
                  <a:moveTo>
                    <a:pt x="20864" y="2295"/>
                  </a:moveTo>
                  <a:cubicBezTo>
                    <a:pt x="21139" y="1844"/>
                    <a:pt x="21336" y="700"/>
                    <a:pt x="21600" y="0"/>
                  </a:cubicBezTo>
                  <a:cubicBezTo>
                    <a:pt x="13988" y="8333"/>
                    <a:pt x="5866" y="16563"/>
                    <a:pt x="0" y="21600"/>
                  </a:cubicBezTo>
                  <a:cubicBezTo>
                    <a:pt x="9372" y="13518"/>
                    <a:pt x="18756" y="4689"/>
                    <a:pt x="20864" y="2295"/>
                  </a:cubicBezTo>
                  <a:close/>
                  <a:moveTo>
                    <a:pt x="20864" y="22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1" name="AutoShape 833"/>
            <p:cNvSpPr>
              <a:spLocks/>
            </p:cNvSpPr>
            <p:nvPr/>
          </p:nvSpPr>
          <p:spPr bwMode="auto">
            <a:xfrm>
              <a:off x="7213600" y="5041900"/>
              <a:ext cx="209550" cy="327025"/>
            </a:xfrm>
            <a:custGeom>
              <a:avLst/>
              <a:gdLst/>
              <a:ahLst/>
              <a:cxnLst/>
              <a:rect l="0" t="0" r="r" b="b"/>
              <a:pathLst>
                <a:path w="21485" h="21480">
                  <a:moveTo>
                    <a:pt x="20373" y="16756"/>
                  </a:moveTo>
                  <a:cubicBezTo>
                    <a:pt x="20221" y="16719"/>
                    <a:pt x="20007" y="16495"/>
                    <a:pt x="19900" y="16259"/>
                  </a:cubicBezTo>
                  <a:cubicBezTo>
                    <a:pt x="19785" y="16024"/>
                    <a:pt x="19627" y="15658"/>
                    <a:pt x="19531" y="15449"/>
                  </a:cubicBezTo>
                  <a:cubicBezTo>
                    <a:pt x="19445" y="15240"/>
                    <a:pt x="19423" y="14869"/>
                    <a:pt x="19508" y="14628"/>
                  </a:cubicBezTo>
                  <a:cubicBezTo>
                    <a:pt x="19583" y="14387"/>
                    <a:pt x="19677" y="14095"/>
                    <a:pt x="19695" y="13978"/>
                  </a:cubicBezTo>
                  <a:cubicBezTo>
                    <a:pt x="19722" y="13860"/>
                    <a:pt x="19861" y="13613"/>
                    <a:pt x="20018" y="13425"/>
                  </a:cubicBezTo>
                  <a:cubicBezTo>
                    <a:pt x="20165" y="13238"/>
                    <a:pt x="20278" y="12656"/>
                    <a:pt x="20229" y="12130"/>
                  </a:cubicBezTo>
                  <a:cubicBezTo>
                    <a:pt x="20183" y="11603"/>
                    <a:pt x="20084" y="11061"/>
                    <a:pt x="19990" y="10930"/>
                  </a:cubicBezTo>
                  <a:cubicBezTo>
                    <a:pt x="19904" y="10794"/>
                    <a:pt x="19842" y="10433"/>
                    <a:pt x="19890" y="10128"/>
                  </a:cubicBezTo>
                  <a:cubicBezTo>
                    <a:pt x="19926" y="9820"/>
                    <a:pt x="19879" y="9461"/>
                    <a:pt x="19769" y="9333"/>
                  </a:cubicBezTo>
                  <a:cubicBezTo>
                    <a:pt x="19659" y="9204"/>
                    <a:pt x="19679" y="9009"/>
                    <a:pt x="19789" y="8891"/>
                  </a:cubicBezTo>
                  <a:cubicBezTo>
                    <a:pt x="19899" y="8773"/>
                    <a:pt x="19971" y="8541"/>
                    <a:pt x="19933" y="8368"/>
                  </a:cubicBezTo>
                  <a:cubicBezTo>
                    <a:pt x="19907" y="8195"/>
                    <a:pt x="19758" y="7998"/>
                    <a:pt x="19631" y="7929"/>
                  </a:cubicBezTo>
                  <a:cubicBezTo>
                    <a:pt x="19504" y="7859"/>
                    <a:pt x="19407" y="7700"/>
                    <a:pt x="19439" y="7567"/>
                  </a:cubicBezTo>
                  <a:cubicBezTo>
                    <a:pt x="19456" y="7435"/>
                    <a:pt x="19578" y="7221"/>
                    <a:pt x="19685" y="7083"/>
                  </a:cubicBezTo>
                  <a:cubicBezTo>
                    <a:pt x="19792" y="6946"/>
                    <a:pt x="19869" y="6584"/>
                    <a:pt x="19859" y="6276"/>
                  </a:cubicBezTo>
                  <a:cubicBezTo>
                    <a:pt x="19850" y="5966"/>
                    <a:pt x="19731" y="5689"/>
                    <a:pt x="19606" y="5666"/>
                  </a:cubicBezTo>
                  <a:cubicBezTo>
                    <a:pt x="19482" y="5643"/>
                    <a:pt x="19269" y="5558"/>
                    <a:pt x="19122" y="5496"/>
                  </a:cubicBezTo>
                  <a:cubicBezTo>
                    <a:pt x="18978" y="5426"/>
                    <a:pt x="18862" y="5102"/>
                    <a:pt x="18843" y="4775"/>
                  </a:cubicBezTo>
                  <a:cubicBezTo>
                    <a:pt x="18834" y="4448"/>
                    <a:pt x="18896" y="3977"/>
                    <a:pt x="18988" y="3727"/>
                  </a:cubicBezTo>
                  <a:cubicBezTo>
                    <a:pt x="19077" y="3477"/>
                    <a:pt x="18901" y="3155"/>
                    <a:pt x="18597" y="3022"/>
                  </a:cubicBezTo>
                  <a:cubicBezTo>
                    <a:pt x="18305" y="2877"/>
                    <a:pt x="17943" y="2681"/>
                    <a:pt x="17828" y="2567"/>
                  </a:cubicBezTo>
                  <a:cubicBezTo>
                    <a:pt x="17701" y="2452"/>
                    <a:pt x="17361" y="2208"/>
                    <a:pt x="17044" y="2037"/>
                  </a:cubicBezTo>
                  <a:cubicBezTo>
                    <a:pt x="16739" y="1859"/>
                    <a:pt x="16456" y="1603"/>
                    <a:pt x="16427" y="1466"/>
                  </a:cubicBezTo>
                  <a:cubicBezTo>
                    <a:pt x="16389" y="1333"/>
                    <a:pt x="16267" y="1153"/>
                    <a:pt x="16143" y="1072"/>
                  </a:cubicBezTo>
                  <a:cubicBezTo>
                    <a:pt x="16016" y="991"/>
                    <a:pt x="15819" y="721"/>
                    <a:pt x="15711" y="476"/>
                  </a:cubicBezTo>
                  <a:cubicBezTo>
                    <a:pt x="15708" y="471"/>
                    <a:pt x="15708" y="467"/>
                    <a:pt x="15705" y="463"/>
                  </a:cubicBezTo>
                  <a:cubicBezTo>
                    <a:pt x="15599" y="226"/>
                    <a:pt x="15413" y="26"/>
                    <a:pt x="15311" y="5"/>
                  </a:cubicBezTo>
                  <a:cubicBezTo>
                    <a:pt x="15204" y="-18"/>
                    <a:pt x="14842" y="53"/>
                    <a:pt x="14511" y="151"/>
                  </a:cubicBezTo>
                  <a:cubicBezTo>
                    <a:pt x="14178" y="245"/>
                    <a:pt x="13634" y="322"/>
                    <a:pt x="13304" y="345"/>
                  </a:cubicBezTo>
                  <a:cubicBezTo>
                    <a:pt x="12975" y="357"/>
                    <a:pt x="12265" y="416"/>
                    <a:pt x="11724" y="464"/>
                  </a:cubicBezTo>
                  <a:cubicBezTo>
                    <a:pt x="11184" y="512"/>
                    <a:pt x="10134" y="569"/>
                    <a:pt x="9388" y="569"/>
                  </a:cubicBezTo>
                  <a:cubicBezTo>
                    <a:pt x="8643" y="582"/>
                    <a:pt x="7929" y="605"/>
                    <a:pt x="7805" y="640"/>
                  </a:cubicBezTo>
                  <a:cubicBezTo>
                    <a:pt x="7680" y="674"/>
                    <a:pt x="6708" y="713"/>
                    <a:pt x="5644" y="713"/>
                  </a:cubicBezTo>
                  <a:cubicBezTo>
                    <a:pt x="4581" y="713"/>
                    <a:pt x="3303" y="732"/>
                    <a:pt x="2804" y="756"/>
                  </a:cubicBezTo>
                  <a:cubicBezTo>
                    <a:pt x="2304" y="768"/>
                    <a:pt x="1856" y="954"/>
                    <a:pt x="1820" y="1154"/>
                  </a:cubicBezTo>
                  <a:cubicBezTo>
                    <a:pt x="1783" y="1356"/>
                    <a:pt x="1816" y="1758"/>
                    <a:pt x="1915" y="2046"/>
                  </a:cubicBezTo>
                  <a:cubicBezTo>
                    <a:pt x="2002" y="2333"/>
                    <a:pt x="2216" y="2627"/>
                    <a:pt x="2359" y="2713"/>
                  </a:cubicBezTo>
                  <a:cubicBezTo>
                    <a:pt x="2514" y="2787"/>
                    <a:pt x="2765" y="3061"/>
                    <a:pt x="2933" y="3313"/>
                  </a:cubicBezTo>
                  <a:cubicBezTo>
                    <a:pt x="3099" y="3564"/>
                    <a:pt x="3228" y="3994"/>
                    <a:pt x="3246" y="4266"/>
                  </a:cubicBezTo>
                  <a:cubicBezTo>
                    <a:pt x="3247" y="4281"/>
                    <a:pt x="3238" y="4292"/>
                    <a:pt x="3238" y="4306"/>
                  </a:cubicBezTo>
                  <a:cubicBezTo>
                    <a:pt x="3241" y="4333"/>
                    <a:pt x="3247" y="4364"/>
                    <a:pt x="3248" y="4389"/>
                  </a:cubicBezTo>
                  <a:cubicBezTo>
                    <a:pt x="3256" y="4520"/>
                    <a:pt x="3245" y="4676"/>
                    <a:pt x="3224" y="4834"/>
                  </a:cubicBezTo>
                  <a:cubicBezTo>
                    <a:pt x="3248" y="4850"/>
                    <a:pt x="3266" y="4866"/>
                    <a:pt x="3266" y="4882"/>
                  </a:cubicBezTo>
                  <a:cubicBezTo>
                    <a:pt x="3266" y="4952"/>
                    <a:pt x="3179" y="5243"/>
                    <a:pt x="3062" y="5531"/>
                  </a:cubicBezTo>
                  <a:cubicBezTo>
                    <a:pt x="2946" y="5817"/>
                    <a:pt x="2945" y="6213"/>
                    <a:pt x="3080" y="6399"/>
                  </a:cubicBezTo>
                  <a:cubicBezTo>
                    <a:pt x="3211" y="6589"/>
                    <a:pt x="3309" y="6875"/>
                    <a:pt x="3300" y="7030"/>
                  </a:cubicBezTo>
                  <a:cubicBezTo>
                    <a:pt x="3309" y="7186"/>
                    <a:pt x="3456" y="7422"/>
                    <a:pt x="3670" y="7534"/>
                  </a:cubicBezTo>
                  <a:cubicBezTo>
                    <a:pt x="3877" y="7655"/>
                    <a:pt x="4130" y="7942"/>
                    <a:pt x="4266" y="8165"/>
                  </a:cubicBezTo>
                  <a:cubicBezTo>
                    <a:pt x="4391" y="8387"/>
                    <a:pt x="4392" y="8738"/>
                    <a:pt x="4258" y="8936"/>
                  </a:cubicBezTo>
                  <a:cubicBezTo>
                    <a:pt x="4123" y="9132"/>
                    <a:pt x="4034" y="9447"/>
                    <a:pt x="4025" y="9632"/>
                  </a:cubicBezTo>
                  <a:cubicBezTo>
                    <a:pt x="4025" y="9812"/>
                    <a:pt x="3787" y="10058"/>
                    <a:pt x="3493" y="10167"/>
                  </a:cubicBezTo>
                  <a:cubicBezTo>
                    <a:pt x="3205" y="10283"/>
                    <a:pt x="2587" y="10720"/>
                    <a:pt x="2130" y="11145"/>
                  </a:cubicBezTo>
                  <a:cubicBezTo>
                    <a:pt x="1664" y="11568"/>
                    <a:pt x="1322" y="12068"/>
                    <a:pt x="1343" y="12249"/>
                  </a:cubicBezTo>
                  <a:cubicBezTo>
                    <a:pt x="1353" y="12429"/>
                    <a:pt x="1287" y="12687"/>
                    <a:pt x="1186" y="12828"/>
                  </a:cubicBezTo>
                  <a:cubicBezTo>
                    <a:pt x="1071" y="12965"/>
                    <a:pt x="983" y="13249"/>
                    <a:pt x="957" y="13458"/>
                  </a:cubicBezTo>
                  <a:cubicBezTo>
                    <a:pt x="938" y="13665"/>
                    <a:pt x="809" y="13931"/>
                    <a:pt x="674" y="14053"/>
                  </a:cubicBezTo>
                  <a:cubicBezTo>
                    <a:pt x="547" y="14179"/>
                    <a:pt x="435" y="14601"/>
                    <a:pt x="444" y="15004"/>
                  </a:cubicBezTo>
                  <a:cubicBezTo>
                    <a:pt x="464" y="15403"/>
                    <a:pt x="370" y="15779"/>
                    <a:pt x="242" y="15825"/>
                  </a:cubicBezTo>
                  <a:cubicBezTo>
                    <a:pt x="113" y="15873"/>
                    <a:pt x="0" y="15984"/>
                    <a:pt x="0" y="16061"/>
                  </a:cubicBezTo>
                  <a:cubicBezTo>
                    <a:pt x="0" y="16138"/>
                    <a:pt x="116" y="16295"/>
                    <a:pt x="285" y="16403"/>
                  </a:cubicBezTo>
                  <a:cubicBezTo>
                    <a:pt x="440" y="16520"/>
                    <a:pt x="755" y="16879"/>
                    <a:pt x="953" y="17215"/>
                  </a:cubicBezTo>
                  <a:cubicBezTo>
                    <a:pt x="1163" y="17547"/>
                    <a:pt x="1353" y="17998"/>
                    <a:pt x="1381" y="18213"/>
                  </a:cubicBezTo>
                  <a:cubicBezTo>
                    <a:pt x="1420" y="18426"/>
                    <a:pt x="1703" y="18659"/>
                    <a:pt x="2037" y="18709"/>
                  </a:cubicBezTo>
                  <a:cubicBezTo>
                    <a:pt x="2366" y="18766"/>
                    <a:pt x="2736" y="18937"/>
                    <a:pt x="2883" y="19078"/>
                  </a:cubicBezTo>
                  <a:cubicBezTo>
                    <a:pt x="3008" y="19226"/>
                    <a:pt x="3114" y="19548"/>
                    <a:pt x="3085" y="19801"/>
                  </a:cubicBezTo>
                  <a:cubicBezTo>
                    <a:pt x="3067" y="20052"/>
                    <a:pt x="2874" y="20277"/>
                    <a:pt x="2668" y="20300"/>
                  </a:cubicBezTo>
                  <a:cubicBezTo>
                    <a:pt x="2461" y="20325"/>
                    <a:pt x="2056" y="20353"/>
                    <a:pt x="1768" y="20364"/>
                  </a:cubicBezTo>
                  <a:cubicBezTo>
                    <a:pt x="1478" y="20376"/>
                    <a:pt x="1190" y="20442"/>
                    <a:pt x="1138" y="20508"/>
                  </a:cubicBezTo>
                  <a:cubicBezTo>
                    <a:pt x="1081" y="20571"/>
                    <a:pt x="1091" y="20691"/>
                    <a:pt x="1164" y="20773"/>
                  </a:cubicBezTo>
                  <a:cubicBezTo>
                    <a:pt x="1229" y="20855"/>
                    <a:pt x="1922" y="20974"/>
                    <a:pt x="2688" y="21036"/>
                  </a:cubicBezTo>
                  <a:cubicBezTo>
                    <a:pt x="3451" y="21097"/>
                    <a:pt x="4537" y="21269"/>
                    <a:pt x="5092" y="21426"/>
                  </a:cubicBezTo>
                  <a:cubicBezTo>
                    <a:pt x="5646" y="21582"/>
                    <a:pt x="7117" y="21393"/>
                    <a:pt x="8351" y="21015"/>
                  </a:cubicBezTo>
                  <a:cubicBezTo>
                    <a:pt x="9582" y="20637"/>
                    <a:pt x="11298" y="20282"/>
                    <a:pt x="12162" y="20235"/>
                  </a:cubicBezTo>
                  <a:cubicBezTo>
                    <a:pt x="13021" y="20185"/>
                    <a:pt x="14345" y="19819"/>
                    <a:pt x="15089" y="19421"/>
                  </a:cubicBezTo>
                  <a:cubicBezTo>
                    <a:pt x="15833" y="19023"/>
                    <a:pt x="17006" y="18531"/>
                    <a:pt x="17692" y="18327"/>
                  </a:cubicBezTo>
                  <a:cubicBezTo>
                    <a:pt x="18374" y="18120"/>
                    <a:pt x="19561" y="17896"/>
                    <a:pt x="20337" y="17823"/>
                  </a:cubicBezTo>
                  <a:cubicBezTo>
                    <a:pt x="21106" y="17738"/>
                    <a:pt x="21600" y="17579"/>
                    <a:pt x="21462" y="17428"/>
                  </a:cubicBezTo>
                  <a:cubicBezTo>
                    <a:pt x="21317" y="17278"/>
                    <a:pt x="21071" y="17080"/>
                    <a:pt x="20913" y="16992"/>
                  </a:cubicBezTo>
                  <a:cubicBezTo>
                    <a:pt x="20771" y="16894"/>
                    <a:pt x="20527" y="16782"/>
                    <a:pt x="20373" y="16756"/>
                  </a:cubicBezTo>
                  <a:close/>
                  <a:moveTo>
                    <a:pt x="20373" y="167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2" name="AutoShape 834"/>
            <p:cNvSpPr>
              <a:spLocks/>
            </p:cNvSpPr>
            <p:nvPr/>
          </p:nvSpPr>
          <p:spPr bwMode="auto">
            <a:xfrm>
              <a:off x="7239000" y="5092700"/>
              <a:ext cx="1588" cy="14288"/>
            </a:xfrm>
            <a:custGeom>
              <a:avLst/>
              <a:gdLst/>
              <a:ahLst/>
              <a:cxnLst/>
              <a:rect l="0" t="0" r="r" b="b"/>
              <a:pathLst>
                <a:path w="21521" h="21600">
                  <a:moveTo>
                    <a:pt x="21513" y="20735"/>
                  </a:moveTo>
                  <a:cubicBezTo>
                    <a:pt x="20288" y="14811"/>
                    <a:pt x="11404" y="5465"/>
                    <a:pt x="0" y="0"/>
                  </a:cubicBezTo>
                  <a:cubicBezTo>
                    <a:pt x="10544" y="5061"/>
                    <a:pt x="18731" y="14353"/>
                    <a:pt x="20985" y="21600"/>
                  </a:cubicBezTo>
                  <a:cubicBezTo>
                    <a:pt x="20985" y="21300"/>
                    <a:pt x="21600" y="21053"/>
                    <a:pt x="21513" y="20735"/>
                  </a:cubicBezTo>
                  <a:close/>
                  <a:moveTo>
                    <a:pt x="21513" y="2073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3" name="AutoShape 835"/>
            <p:cNvSpPr>
              <a:spLocks/>
            </p:cNvSpPr>
            <p:nvPr/>
          </p:nvSpPr>
          <p:spPr bwMode="auto">
            <a:xfrm>
              <a:off x="7239000" y="5118100"/>
              <a:ext cx="1588" cy="9525"/>
            </a:xfrm>
            <a:custGeom>
              <a:avLst/>
              <a:gdLst/>
              <a:ahLst/>
              <a:cxnLst/>
              <a:rect l="0" t="0" r="r" b="b"/>
              <a:pathLst>
                <a:path w="21600" h="21600">
                  <a:moveTo>
                    <a:pt x="21600" y="1484"/>
                  </a:moveTo>
                  <a:cubicBezTo>
                    <a:pt x="21600" y="981"/>
                    <a:pt x="19738" y="479"/>
                    <a:pt x="17179" y="0"/>
                  </a:cubicBezTo>
                  <a:cubicBezTo>
                    <a:pt x="13824" y="7921"/>
                    <a:pt x="7650" y="16093"/>
                    <a:pt x="0" y="21600"/>
                  </a:cubicBezTo>
                  <a:cubicBezTo>
                    <a:pt x="12339" y="12674"/>
                    <a:pt x="21600" y="3646"/>
                    <a:pt x="21600" y="1484"/>
                  </a:cubicBezTo>
                  <a:close/>
                  <a:moveTo>
                    <a:pt x="21600" y="14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4" name="AutoShape 836"/>
            <p:cNvSpPr>
              <a:spLocks/>
            </p:cNvSpPr>
            <p:nvPr/>
          </p:nvSpPr>
          <p:spPr bwMode="auto">
            <a:xfrm>
              <a:off x="7366000" y="5041900"/>
              <a:ext cx="96838" cy="269875"/>
            </a:xfrm>
            <a:custGeom>
              <a:avLst/>
              <a:gdLst/>
              <a:ahLst/>
              <a:cxnLst/>
              <a:rect l="0" t="0" r="r" b="b"/>
              <a:pathLst>
                <a:path w="21438" h="21571">
                  <a:moveTo>
                    <a:pt x="20889" y="19044"/>
                  </a:moveTo>
                  <a:cubicBezTo>
                    <a:pt x="20487" y="18795"/>
                    <a:pt x="20147" y="18344"/>
                    <a:pt x="20128" y="18042"/>
                  </a:cubicBezTo>
                  <a:cubicBezTo>
                    <a:pt x="20107" y="17738"/>
                    <a:pt x="19935" y="17268"/>
                    <a:pt x="19748" y="16996"/>
                  </a:cubicBezTo>
                  <a:cubicBezTo>
                    <a:pt x="19544" y="16727"/>
                    <a:pt x="19523" y="15432"/>
                    <a:pt x="19642" y="14116"/>
                  </a:cubicBezTo>
                  <a:cubicBezTo>
                    <a:pt x="19767" y="12800"/>
                    <a:pt x="19917" y="11570"/>
                    <a:pt x="19955" y="11379"/>
                  </a:cubicBezTo>
                  <a:cubicBezTo>
                    <a:pt x="20001" y="11191"/>
                    <a:pt x="20292" y="10916"/>
                    <a:pt x="20620" y="10765"/>
                  </a:cubicBezTo>
                  <a:cubicBezTo>
                    <a:pt x="20935" y="10613"/>
                    <a:pt x="21226" y="10275"/>
                    <a:pt x="21226" y="10012"/>
                  </a:cubicBezTo>
                  <a:cubicBezTo>
                    <a:pt x="21226" y="9749"/>
                    <a:pt x="21055" y="9395"/>
                    <a:pt x="20827" y="9228"/>
                  </a:cubicBezTo>
                  <a:cubicBezTo>
                    <a:pt x="20596" y="9061"/>
                    <a:pt x="20438" y="8669"/>
                    <a:pt x="20482" y="8363"/>
                  </a:cubicBezTo>
                  <a:cubicBezTo>
                    <a:pt x="20544" y="8058"/>
                    <a:pt x="20357" y="7425"/>
                    <a:pt x="20098" y="6960"/>
                  </a:cubicBezTo>
                  <a:cubicBezTo>
                    <a:pt x="19829" y="6498"/>
                    <a:pt x="19169" y="5640"/>
                    <a:pt x="18558" y="5060"/>
                  </a:cubicBezTo>
                  <a:cubicBezTo>
                    <a:pt x="17993" y="4472"/>
                    <a:pt x="17208" y="3948"/>
                    <a:pt x="16884" y="3889"/>
                  </a:cubicBezTo>
                  <a:cubicBezTo>
                    <a:pt x="16553" y="3829"/>
                    <a:pt x="15982" y="3648"/>
                    <a:pt x="15605" y="3487"/>
                  </a:cubicBezTo>
                  <a:cubicBezTo>
                    <a:pt x="15197" y="3340"/>
                    <a:pt x="14298" y="3107"/>
                    <a:pt x="13537" y="2992"/>
                  </a:cubicBezTo>
                  <a:cubicBezTo>
                    <a:pt x="12763" y="2885"/>
                    <a:pt x="12027" y="2496"/>
                    <a:pt x="11839" y="2146"/>
                  </a:cubicBezTo>
                  <a:cubicBezTo>
                    <a:pt x="11673" y="1798"/>
                    <a:pt x="11695" y="1397"/>
                    <a:pt x="11855" y="1252"/>
                  </a:cubicBezTo>
                  <a:cubicBezTo>
                    <a:pt x="12015" y="1106"/>
                    <a:pt x="9576" y="764"/>
                    <a:pt x="6389" y="483"/>
                  </a:cubicBezTo>
                  <a:cubicBezTo>
                    <a:pt x="3207" y="203"/>
                    <a:pt x="406" y="-14"/>
                    <a:pt x="167" y="1"/>
                  </a:cubicBezTo>
                  <a:cubicBezTo>
                    <a:pt x="-67" y="16"/>
                    <a:pt x="-45" y="266"/>
                    <a:pt x="169" y="560"/>
                  </a:cubicBezTo>
                  <a:cubicBezTo>
                    <a:pt x="175" y="567"/>
                    <a:pt x="180" y="572"/>
                    <a:pt x="188" y="579"/>
                  </a:cubicBezTo>
                  <a:cubicBezTo>
                    <a:pt x="422" y="878"/>
                    <a:pt x="835" y="1204"/>
                    <a:pt x="1109" y="1304"/>
                  </a:cubicBezTo>
                  <a:cubicBezTo>
                    <a:pt x="1376" y="1402"/>
                    <a:pt x="1637" y="1622"/>
                    <a:pt x="1718" y="1785"/>
                  </a:cubicBezTo>
                  <a:cubicBezTo>
                    <a:pt x="1780" y="1951"/>
                    <a:pt x="2389" y="2264"/>
                    <a:pt x="3044" y="2482"/>
                  </a:cubicBezTo>
                  <a:cubicBezTo>
                    <a:pt x="3723" y="2691"/>
                    <a:pt x="4454" y="2989"/>
                    <a:pt x="4726" y="3129"/>
                  </a:cubicBezTo>
                  <a:cubicBezTo>
                    <a:pt x="4973" y="3268"/>
                    <a:pt x="5750" y="3507"/>
                    <a:pt x="6378" y="3684"/>
                  </a:cubicBezTo>
                  <a:cubicBezTo>
                    <a:pt x="7030" y="3847"/>
                    <a:pt x="7407" y="4239"/>
                    <a:pt x="7217" y="4544"/>
                  </a:cubicBezTo>
                  <a:cubicBezTo>
                    <a:pt x="7019" y="4849"/>
                    <a:pt x="6886" y="5425"/>
                    <a:pt x="6905" y="5824"/>
                  </a:cubicBezTo>
                  <a:cubicBezTo>
                    <a:pt x="6946" y="6223"/>
                    <a:pt x="7195" y="6619"/>
                    <a:pt x="7505" y="6704"/>
                  </a:cubicBezTo>
                  <a:cubicBezTo>
                    <a:pt x="7820" y="6780"/>
                    <a:pt x="8277" y="6884"/>
                    <a:pt x="8543" y="6912"/>
                  </a:cubicBezTo>
                  <a:cubicBezTo>
                    <a:pt x="8812" y="6939"/>
                    <a:pt x="9068" y="7278"/>
                    <a:pt x="9087" y="7656"/>
                  </a:cubicBezTo>
                  <a:cubicBezTo>
                    <a:pt x="9108" y="8032"/>
                    <a:pt x="8943" y="8474"/>
                    <a:pt x="8714" y="8641"/>
                  </a:cubicBezTo>
                  <a:cubicBezTo>
                    <a:pt x="8483" y="8810"/>
                    <a:pt x="8223" y="9071"/>
                    <a:pt x="8185" y="9231"/>
                  </a:cubicBezTo>
                  <a:cubicBezTo>
                    <a:pt x="8117" y="9394"/>
                    <a:pt x="8326" y="9589"/>
                    <a:pt x="8597" y="9674"/>
                  </a:cubicBezTo>
                  <a:cubicBezTo>
                    <a:pt x="8869" y="9758"/>
                    <a:pt x="9190" y="9998"/>
                    <a:pt x="9247" y="10210"/>
                  </a:cubicBezTo>
                  <a:cubicBezTo>
                    <a:pt x="9328" y="10421"/>
                    <a:pt x="9174" y="10704"/>
                    <a:pt x="8937" y="10847"/>
                  </a:cubicBezTo>
                  <a:cubicBezTo>
                    <a:pt x="8701" y="10992"/>
                    <a:pt x="8657" y="11230"/>
                    <a:pt x="8894" y="11388"/>
                  </a:cubicBezTo>
                  <a:cubicBezTo>
                    <a:pt x="9130" y="11544"/>
                    <a:pt x="9231" y="11982"/>
                    <a:pt x="9154" y="12358"/>
                  </a:cubicBezTo>
                  <a:cubicBezTo>
                    <a:pt x="9051" y="12731"/>
                    <a:pt x="9185" y="13171"/>
                    <a:pt x="9369" y="13336"/>
                  </a:cubicBezTo>
                  <a:cubicBezTo>
                    <a:pt x="9570" y="13497"/>
                    <a:pt x="9782" y="14159"/>
                    <a:pt x="9882" y="14802"/>
                  </a:cubicBezTo>
                  <a:cubicBezTo>
                    <a:pt x="9986" y="15444"/>
                    <a:pt x="9744" y="16154"/>
                    <a:pt x="9429" y="16383"/>
                  </a:cubicBezTo>
                  <a:cubicBezTo>
                    <a:pt x="9092" y="16612"/>
                    <a:pt x="8793" y="16914"/>
                    <a:pt x="8736" y="17057"/>
                  </a:cubicBezTo>
                  <a:cubicBezTo>
                    <a:pt x="8695" y="17200"/>
                    <a:pt x="8494" y="17557"/>
                    <a:pt x="8334" y="17851"/>
                  </a:cubicBezTo>
                  <a:cubicBezTo>
                    <a:pt x="8152" y="18145"/>
                    <a:pt x="8198" y="18598"/>
                    <a:pt x="8383" y="18854"/>
                  </a:cubicBezTo>
                  <a:cubicBezTo>
                    <a:pt x="8589" y="19108"/>
                    <a:pt x="8929" y="19555"/>
                    <a:pt x="9176" y="19842"/>
                  </a:cubicBezTo>
                  <a:cubicBezTo>
                    <a:pt x="9404" y="20130"/>
                    <a:pt x="9864" y="20403"/>
                    <a:pt x="10190" y="20448"/>
                  </a:cubicBezTo>
                  <a:cubicBezTo>
                    <a:pt x="10521" y="20480"/>
                    <a:pt x="11046" y="20617"/>
                    <a:pt x="11350" y="20736"/>
                  </a:cubicBezTo>
                  <a:cubicBezTo>
                    <a:pt x="11689" y="20844"/>
                    <a:pt x="12217" y="21085"/>
                    <a:pt x="12529" y="21268"/>
                  </a:cubicBezTo>
                  <a:cubicBezTo>
                    <a:pt x="12825" y="21453"/>
                    <a:pt x="13341" y="21586"/>
                    <a:pt x="13594" y="21569"/>
                  </a:cubicBezTo>
                  <a:cubicBezTo>
                    <a:pt x="13849" y="21553"/>
                    <a:pt x="15412" y="21245"/>
                    <a:pt x="17066" y="20872"/>
                  </a:cubicBezTo>
                  <a:cubicBezTo>
                    <a:pt x="18713" y="20502"/>
                    <a:pt x="20316" y="20210"/>
                    <a:pt x="20634" y="20225"/>
                  </a:cubicBezTo>
                  <a:cubicBezTo>
                    <a:pt x="20952" y="20225"/>
                    <a:pt x="21291" y="20078"/>
                    <a:pt x="21405" y="19872"/>
                  </a:cubicBezTo>
                  <a:cubicBezTo>
                    <a:pt x="21533" y="19668"/>
                    <a:pt x="21261" y="19300"/>
                    <a:pt x="20889" y="19044"/>
                  </a:cubicBezTo>
                  <a:close/>
                  <a:moveTo>
                    <a:pt x="20889" y="190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5" name="AutoShape 837"/>
            <p:cNvSpPr>
              <a:spLocks/>
            </p:cNvSpPr>
            <p:nvPr/>
          </p:nvSpPr>
          <p:spPr bwMode="auto">
            <a:xfrm>
              <a:off x="7366000" y="5054600"/>
              <a:ext cx="3175" cy="7938"/>
            </a:xfrm>
            <a:custGeom>
              <a:avLst/>
              <a:gdLst/>
              <a:ahLst/>
              <a:cxnLst/>
              <a:rect l="0" t="0" r="r" b="b"/>
              <a:pathLst>
                <a:path w="21600" h="21600">
                  <a:moveTo>
                    <a:pt x="21600" y="21600"/>
                  </a:moveTo>
                  <a:cubicBezTo>
                    <a:pt x="15299" y="18700"/>
                    <a:pt x="5814" y="9219"/>
                    <a:pt x="441" y="544"/>
                  </a:cubicBezTo>
                  <a:cubicBezTo>
                    <a:pt x="250" y="344"/>
                    <a:pt x="129" y="200"/>
                    <a:pt x="0" y="0"/>
                  </a:cubicBezTo>
                  <a:cubicBezTo>
                    <a:pt x="129" y="144"/>
                    <a:pt x="129" y="285"/>
                    <a:pt x="250" y="459"/>
                  </a:cubicBezTo>
                  <a:cubicBezTo>
                    <a:pt x="5618" y="9163"/>
                    <a:pt x="15299" y="18700"/>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6" name="AutoShape 838"/>
            <p:cNvSpPr>
              <a:spLocks/>
            </p:cNvSpPr>
            <p:nvPr/>
          </p:nvSpPr>
          <p:spPr bwMode="auto">
            <a:xfrm>
              <a:off x="7416800" y="4978400"/>
              <a:ext cx="157163" cy="323850"/>
            </a:xfrm>
            <a:custGeom>
              <a:avLst/>
              <a:gdLst/>
              <a:ahLst/>
              <a:cxnLst/>
              <a:rect l="0" t="0" r="r" b="b"/>
              <a:pathLst>
                <a:path w="21490" h="21494">
                  <a:moveTo>
                    <a:pt x="13323" y="19305"/>
                  </a:moveTo>
                  <a:cubicBezTo>
                    <a:pt x="13396" y="18846"/>
                    <a:pt x="13447" y="18354"/>
                    <a:pt x="13411" y="18204"/>
                  </a:cubicBezTo>
                  <a:cubicBezTo>
                    <a:pt x="13360" y="18055"/>
                    <a:pt x="13326" y="17827"/>
                    <a:pt x="13362" y="17697"/>
                  </a:cubicBezTo>
                  <a:cubicBezTo>
                    <a:pt x="13389" y="17566"/>
                    <a:pt x="13342" y="17146"/>
                    <a:pt x="13255" y="16761"/>
                  </a:cubicBezTo>
                  <a:cubicBezTo>
                    <a:pt x="13167" y="16376"/>
                    <a:pt x="13184" y="15953"/>
                    <a:pt x="13255" y="15816"/>
                  </a:cubicBezTo>
                  <a:cubicBezTo>
                    <a:pt x="13343" y="15682"/>
                    <a:pt x="13391" y="15483"/>
                    <a:pt x="13367" y="15378"/>
                  </a:cubicBezTo>
                  <a:cubicBezTo>
                    <a:pt x="13353" y="15274"/>
                    <a:pt x="13296" y="15131"/>
                    <a:pt x="13209" y="15076"/>
                  </a:cubicBezTo>
                  <a:cubicBezTo>
                    <a:pt x="13137" y="15016"/>
                    <a:pt x="13113" y="14906"/>
                    <a:pt x="13169" y="14837"/>
                  </a:cubicBezTo>
                  <a:cubicBezTo>
                    <a:pt x="13216" y="14768"/>
                    <a:pt x="13221" y="14583"/>
                    <a:pt x="13181" y="14431"/>
                  </a:cubicBezTo>
                  <a:cubicBezTo>
                    <a:pt x="13133" y="14278"/>
                    <a:pt x="13067" y="14101"/>
                    <a:pt x="13057" y="14035"/>
                  </a:cubicBezTo>
                  <a:cubicBezTo>
                    <a:pt x="13030" y="13970"/>
                    <a:pt x="13060" y="13753"/>
                    <a:pt x="13086" y="13554"/>
                  </a:cubicBezTo>
                  <a:cubicBezTo>
                    <a:pt x="13147" y="13360"/>
                    <a:pt x="13189" y="13087"/>
                    <a:pt x="13243" y="12956"/>
                  </a:cubicBezTo>
                  <a:cubicBezTo>
                    <a:pt x="13269" y="12823"/>
                    <a:pt x="13301" y="12580"/>
                    <a:pt x="13275" y="12414"/>
                  </a:cubicBezTo>
                  <a:cubicBezTo>
                    <a:pt x="13262" y="12248"/>
                    <a:pt x="13357" y="12024"/>
                    <a:pt x="13504" y="11916"/>
                  </a:cubicBezTo>
                  <a:cubicBezTo>
                    <a:pt x="13653" y="11808"/>
                    <a:pt x="14026" y="11675"/>
                    <a:pt x="14331" y="11615"/>
                  </a:cubicBezTo>
                  <a:cubicBezTo>
                    <a:pt x="14631" y="11554"/>
                    <a:pt x="15058" y="11487"/>
                    <a:pt x="15280" y="11473"/>
                  </a:cubicBezTo>
                  <a:cubicBezTo>
                    <a:pt x="15497" y="11449"/>
                    <a:pt x="15841" y="11386"/>
                    <a:pt x="16014" y="11308"/>
                  </a:cubicBezTo>
                  <a:cubicBezTo>
                    <a:pt x="16211" y="11245"/>
                    <a:pt x="16483" y="11041"/>
                    <a:pt x="16658" y="10871"/>
                  </a:cubicBezTo>
                  <a:cubicBezTo>
                    <a:pt x="16843" y="10706"/>
                    <a:pt x="17194" y="10380"/>
                    <a:pt x="17461" y="10156"/>
                  </a:cubicBezTo>
                  <a:cubicBezTo>
                    <a:pt x="17744" y="9931"/>
                    <a:pt x="18036" y="9633"/>
                    <a:pt x="18146" y="9501"/>
                  </a:cubicBezTo>
                  <a:cubicBezTo>
                    <a:pt x="18246" y="9367"/>
                    <a:pt x="18553" y="9167"/>
                    <a:pt x="18820" y="9049"/>
                  </a:cubicBezTo>
                  <a:cubicBezTo>
                    <a:pt x="19092" y="8930"/>
                    <a:pt x="19519" y="8849"/>
                    <a:pt x="19771" y="8849"/>
                  </a:cubicBezTo>
                  <a:cubicBezTo>
                    <a:pt x="20027" y="8861"/>
                    <a:pt x="20327" y="8795"/>
                    <a:pt x="20429" y="8709"/>
                  </a:cubicBezTo>
                  <a:cubicBezTo>
                    <a:pt x="20542" y="8627"/>
                    <a:pt x="20269" y="8392"/>
                    <a:pt x="19895" y="8173"/>
                  </a:cubicBezTo>
                  <a:cubicBezTo>
                    <a:pt x="19500" y="7964"/>
                    <a:pt x="19207" y="7726"/>
                    <a:pt x="19230" y="7640"/>
                  </a:cubicBezTo>
                  <a:cubicBezTo>
                    <a:pt x="19256" y="7557"/>
                    <a:pt x="19408" y="7395"/>
                    <a:pt x="19554" y="7277"/>
                  </a:cubicBezTo>
                  <a:cubicBezTo>
                    <a:pt x="19697" y="7161"/>
                    <a:pt x="20161" y="7050"/>
                    <a:pt x="20574" y="7038"/>
                  </a:cubicBezTo>
                  <a:cubicBezTo>
                    <a:pt x="20988" y="7026"/>
                    <a:pt x="21388" y="6923"/>
                    <a:pt x="21461" y="6817"/>
                  </a:cubicBezTo>
                  <a:cubicBezTo>
                    <a:pt x="21542" y="6711"/>
                    <a:pt x="21449" y="6356"/>
                    <a:pt x="21267" y="6031"/>
                  </a:cubicBezTo>
                  <a:cubicBezTo>
                    <a:pt x="21071" y="5705"/>
                    <a:pt x="20927" y="5252"/>
                    <a:pt x="20927" y="5028"/>
                  </a:cubicBezTo>
                  <a:cubicBezTo>
                    <a:pt x="20927" y="4802"/>
                    <a:pt x="20501" y="4456"/>
                    <a:pt x="19985" y="4261"/>
                  </a:cubicBezTo>
                  <a:cubicBezTo>
                    <a:pt x="19469" y="4061"/>
                    <a:pt x="18975" y="3784"/>
                    <a:pt x="18898" y="3639"/>
                  </a:cubicBezTo>
                  <a:cubicBezTo>
                    <a:pt x="18836" y="3491"/>
                    <a:pt x="18829" y="3217"/>
                    <a:pt x="18915" y="3026"/>
                  </a:cubicBezTo>
                  <a:cubicBezTo>
                    <a:pt x="18995" y="2833"/>
                    <a:pt x="19107" y="2657"/>
                    <a:pt x="19156" y="2645"/>
                  </a:cubicBezTo>
                  <a:cubicBezTo>
                    <a:pt x="19207" y="2633"/>
                    <a:pt x="18924" y="2395"/>
                    <a:pt x="18505" y="2137"/>
                  </a:cubicBezTo>
                  <a:cubicBezTo>
                    <a:pt x="18090" y="1881"/>
                    <a:pt x="17414" y="1624"/>
                    <a:pt x="16968" y="1587"/>
                  </a:cubicBezTo>
                  <a:cubicBezTo>
                    <a:pt x="16533" y="1539"/>
                    <a:pt x="15887" y="1328"/>
                    <a:pt x="15548" y="1097"/>
                  </a:cubicBezTo>
                  <a:cubicBezTo>
                    <a:pt x="15197" y="869"/>
                    <a:pt x="14413" y="483"/>
                    <a:pt x="13797" y="235"/>
                  </a:cubicBezTo>
                  <a:cubicBezTo>
                    <a:pt x="13179" y="-10"/>
                    <a:pt x="12530" y="-75"/>
                    <a:pt x="12365" y="95"/>
                  </a:cubicBezTo>
                  <a:cubicBezTo>
                    <a:pt x="12193" y="264"/>
                    <a:pt x="12122" y="491"/>
                    <a:pt x="12159" y="598"/>
                  </a:cubicBezTo>
                  <a:cubicBezTo>
                    <a:pt x="12206" y="705"/>
                    <a:pt x="11974" y="842"/>
                    <a:pt x="11620" y="891"/>
                  </a:cubicBezTo>
                  <a:cubicBezTo>
                    <a:pt x="11266" y="942"/>
                    <a:pt x="10818" y="999"/>
                    <a:pt x="10613" y="1011"/>
                  </a:cubicBezTo>
                  <a:cubicBezTo>
                    <a:pt x="10412" y="1024"/>
                    <a:pt x="10240" y="1154"/>
                    <a:pt x="10240" y="1305"/>
                  </a:cubicBezTo>
                  <a:cubicBezTo>
                    <a:pt x="10240" y="1454"/>
                    <a:pt x="9885" y="1772"/>
                    <a:pt x="9457" y="2015"/>
                  </a:cubicBezTo>
                  <a:cubicBezTo>
                    <a:pt x="9035" y="2255"/>
                    <a:pt x="8408" y="2447"/>
                    <a:pt x="8081" y="2472"/>
                  </a:cubicBezTo>
                  <a:cubicBezTo>
                    <a:pt x="7751" y="2484"/>
                    <a:pt x="6981" y="2619"/>
                    <a:pt x="6370" y="2770"/>
                  </a:cubicBezTo>
                  <a:cubicBezTo>
                    <a:pt x="5770" y="2928"/>
                    <a:pt x="5106" y="3009"/>
                    <a:pt x="4899" y="2971"/>
                  </a:cubicBezTo>
                  <a:cubicBezTo>
                    <a:pt x="4701" y="2924"/>
                    <a:pt x="4228" y="2981"/>
                    <a:pt x="3828" y="3057"/>
                  </a:cubicBezTo>
                  <a:cubicBezTo>
                    <a:pt x="3440" y="3144"/>
                    <a:pt x="3157" y="3357"/>
                    <a:pt x="3182" y="3527"/>
                  </a:cubicBezTo>
                  <a:cubicBezTo>
                    <a:pt x="3206" y="3696"/>
                    <a:pt x="2986" y="3923"/>
                    <a:pt x="2670" y="4029"/>
                  </a:cubicBezTo>
                  <a:cubicBezTo>
                    <a:pt x="2355" y="4134"/>
                    <a:pt x="2158" y="4382"/>
                    <a:pt x="2223" y="4577"/>
                  </a:cubicBezTo>
                  <a:cubicBezTo>
                    <a:pt x="2297" y="4772"/>
                    <a:pt x="1943" y="4983"/>
                    <a:pt x="1445" y="5032"/>
                  </a:cubicBezTo>
                  <a:cubicBezTo>
                    <a:pt x="949" y="5081"/>
                    <a:pt x="386" y="5298"/>
                    <a:pt x="201" y="5503"/>
                  </a:cubicBezTo>
                  <a:cubicBezTo>
                    <a:pt x="25" y="5711"/>
                    <a:pt x="-58" y="6114"/>
                    <a:pt x="45" y="6403"/>
                  </a:cubicBezTo>
                  <a:cubicBezTo>
                    <a:pt x="162" y="6693"/>
                    <a:pt x="622" y="7015"/>
                    <a:pt x="1104" y="7104"/>
                  </a:cubicBezTo>
                  <a:cubicBezTo>
                    <a:pt x="1579" y="7200"/>
                    <a:pt x="2140" y="7393"/>
                    <a:pt x="2394" y="7516"/>
                  </a:cubicBezTo>
                  <a:cubicBezTo>
                    <a:pt x="2630" y="7649"/>
                    <a:pt x="2986" y="7799"/>
                    <a:pt x="3192" y="7849"/>
                  </a:cubicBezTo>
                  <a:cubicBezTo>
                    <a:pt x="3394" y="7898"/>
                    <a:pt x="3884" y="8333"/>
                    <a:pt x="4236" y="8820"/>
                  </a:cubicBezTo>
                  <a:cubicBezTo>
                    <a:pt x="4617" y="9302"/>
                    <a:pt x="5029" y="10013"/>
                    <a:pt x="5197" y="10397"/>
                  </a:cubicBezTo>
                  <a:cubicBezTo>
                    <a:pt x="5358" y="10783"/>
                    <a:pt x="5475" y="11308"/>
                    <a:pt x="5436" y="11561"/>
                  </a:cubicBezTo>
                  <a:cubicBezTo>
                    <a:pt x="5409" y="11815"/>
                    <a:pt x="5507" y="12140"/>
                    <a:pt x="5651" y="12279"/>
                  </a:cubicBezTo>
                  <a:cubicBezTo>
                    <a:pt x="5794" y="12417"/>
                    <a:pt x="5900" y="12711"/>
                    <a:pt x="5900" y="12929"/>
                  </a:cubicBezTo>
                  <a:cubicBezTo>
                    <a:pt x="5900" y="13148"/>
                    <a:pt x="5719" y="13428"/>
                    <a:pt x="5522" y="13554"/>
                  </a:cubicBezTo>
                  <a:cubicBezTo>
                    <a:pt x="5318" y="13679"/>
                    <a:pt x="5136" y="13907"/>
                    <a:pt x="5107" y="14063"/>
                  </a:cubicBezTo>
                  <a:cubicBezTo>
                    <a:pt x="5084" y="14222"/>
                    <a:pt x="4990" y="15242"/>
                    <a:pt x="4912" y="16335"/>
                  </a:cubicBezTo>
                  <a:cubicBezTo>
                    <a:pt x="4838" y="17427"/>
                    <a:pt x="4851" y="18501"/>
                    <a:pt x="4978" y="18724"/>
                  </a:cubicBezTo>
                  <a:cubicBezTo>
                    <a:pt x="5095" y="18950"/>
                    <a:pt x="5202" y="19340"/>
                    <a:pt x="5216" y="19592"/>
                  </a:cubicBezTo>
                  <a:cubicBezTo>
                    <a:pt x="5228" y="19842"/>
                    <a:pt x="5439" y="20217"/>
                    <a:pt x="5690" y="20423"/>
                  </a:cubicBezTo>
                  <a:cubicBezTo>
                    <a:pt x="5922" y="20636"/>
                    <a:pt x="6092" y="20941"/>
                    <a:pt x="6012" y="21110"/>
                  </a:cubicBezTo>
                  <a:cubicBezTo>
                    <a:pt x="5941" y="21281"/>
                    <a:pt x="6443" y="21451"/>
                    <a:pt x="7120" y="21489"/>
                  </a:cubicBezTo>
                  <a:cubicBezTo>
                    <a:pt x="7797" y="21525"/>
                    <a:pt x="9429" y="21378"/>
                    <a:pt x="10735" y="21157"/>
                  </a:cubicBezTo>
                  <a:cubicBezTo>
                    <a:pt x="12049" y="20937"/>
                    <a:pt x="13186" y="20755"/>
                    <a:pt x="13258" y="20767"/>
                  </a:cubicBezTo>
                  <a:cubicBezTo>
                    <a:pt x="13335" y="20779"/>
                    <a:pt x="13331" y="20636"/>
                    <a:pt x="13270" y="20459"/>
                  </a:cubicBezTo>
                  <a:cubicBezTo>
                    <a:pt x="13204" y="20282"/>
                    <a:pt x="13231" y="19764"/>
                    <a:pt x="13323" y="19305"/>
                  </a:cubicBezTo>
                  <a:close/>
                  <a:moveTo>
                    <a:pt x="13323" y="193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7" name="AutoShape 839"/>
            <p:cNvSpPr>
              <a:spLocks/>
            </p:cNvSpPr>
            <p:nvPr/>
          </p:nvSpPr>
          <p:spPr bwMode="auto">
            <a:xfrm>
              <a:off x="8026400" y="4406900"/>
              <a:ext cx="488950" cy="817563"/>
            </a:xfrm>
            <a:custGeom>
              <a:avLst/>
              <a:gdLst/>
              <a:ahLst/>
              <a:cxnLst/>
              <a:rect l="0" t="0" r="r" b="b"/>
              <a:pathLst>
                <a:path w="21591" h="21491">
                  <a:moveTo>
                    <a:pt x="21412" y="4924"/>
                  </a:moveTo>
                  <a:cubicBezTo>
                    <a:pt x="20644" y="4679"/>
                    <a:pt x="19943" y="4439"/>
                    <a:pt x="19315" y="4234"/>
                  </a:cubicBezTo>
                  <a:cubicBezTo>
                    <a:pt x="15425" y="2965"/>
                    <a:pt x="11466" y="1678"/>
                    <a:pt x="7435" y="388"/>
                  </a:cubicBezTo>
                  <a:cubicBezTo>
                    <a:pt x="6223" y="-2"/>
                    <a:pt x="4397" y="-109"/>
                    <a:pt x="3190" y="116"/>
                  </a:cubicBezTo>
                  <a:cubicBezTo>
                    <a:pt x="2888" y="215"/>
                    <a:pt x="2711" y="296"/>
                    <a:pt x="2751" y="327"/>
                  </a:cubicBezTo>
                  <a:cubicBezTo>
                    <a:pt x="2818" y="373"/>
                    <a:pt x="3100" y="825"/>
                    <a:pt x="3385" y="1332"/>
                  </a:cubicBezTo>
                  <a:cubicBezTo>
                    <a:pt x="3664" y="1839"/>
                    <a:pt x="3889" y="2333"/>
                    <a:pt x="3872" y="2431"/>
                  </a:cubicBezTo>
                  <a:cubicBezTo>
                    <a:pt x="3864" y="2531"/>
                    <a:pt x="3823" y="2645"/>
                    <a:pt x="3790" y="2688"/>
                  </a:cubicBezTo>
                  <a:cubicBezTo>
                    <a:pt x="3758" y="2730"/>
                    <a:pt x="4048" y="3006"/>
                    <a:pt x="4440" y="3300"/>
                  </a:cubicBezTo>
                  <a:cubicBezTo>
                    <a:pt x="4833" y="3593"/>
                    <a:pt x="5142" y="3943"/>
                    <a:pt x="5126" y="4076"/>
                  </a:cubicBezTo>
                  <a:cubicBezTo>
                    <a:pt x="5110" y="4209"/>
                    <a:pt x="5029" y="4365"/>
                    <a:pt x="4941" y="4421"/>
                  </a:cubicBezTo>
                  <a:cubicBezTo>
                    <a:pt x="4851" y="4478"/>
                    <a:pt x="4641" y="5088"/>
                    <a:pt x="4477" y="5775"/>
                  </a:cubicBezTo>
                  <a:cubicBezTo>
                    <a:pt x="4313" y="6463"/>
                    <a:pt x="4187" y="7462"/>
                    <a:pt x="4195" y="7994"/>
                  </a:cubicBezTo>
                  <a:cubicBezTo>
                    <a:pt x="4195" y="8526"/>
                    <a:pt x="3408" y="9472"/>
                    <a:pt x="2422" y="10098"/>
                  </a:cubicBezTo>
                  <a:cubicBezTo>
                    <a:pt x="1432" y="10725"/>
                    <a:pt x="594" y="11270"/>
                    <a:pt x="564" y="11310"/>
                  </a:cubicBezTo>
                  <a:cubicBezTo>
                    <a:pt x="534" y="11351"/>
                    <a:pt x="459" y="11395"/>
                    <a:pt x="397" y="11411"/>
                  </a:cubicBezTo>
                  <a:cubicBezTo>
                    <a:pt x="334" y="11425"/>
                    <a:pt x="227" y="11436"/>
                    <a:pt x="159" y="11439"/>
                  </a:cubicBezTo>
                  <a:cubicBezTo>
                    <a:pt x="92" y="11439"/>
                    <a:pt x="22" y="11477"/>
                    <a:pt x="6" y="11523"/>
                  </a:cubicBezTo>
                  <a:cubicBezTo>
                    <a:pt x="-9" y="11569"/>
                    <a:pt x="3" y="11980"/>
                    <a:pt x="35" y="12437"/>
                  </a:cubicBezTo>
                  <a:cubicBezTo>
                    <a:pt x="69" y="12894"/>
                    <a:pt x="155" y="13279"/>
                    <a:pt x="231" y="13299"/>
                  </a:cubicBezTo>
                  <a:cubicBezTo>
                    <a:pt x="308" y="13317"/>
                    <a:pt x="496" y="13429"/>
                    <a:pt x="642" y="13550"/>
                  </a:cubicBezTo>
                  <a:cubicBezTo>
                    <a:pt x="788" y="13671"/>
                    <a:pt x="978" y="13839"/>
                    <a:pt x="1061" y="13924"/>
                  </a:cubicBezTo>
                  <a:cubicBezTo>
                    <a:pt x="1142" y="14011"/>
                    <a:pt x="1214" y="14084"/>
                    <a:pt x="1220" y="14087"/>
                  </a:cubicBezTo>
                  <a:cubicBezTo>
                    <a:pt x="1227" y="14091"/>
                    <a:pt x="1462" y="14170"/>
                    <a:pt x="1753" y="14252"/>
                  </a:cubicBezTo>
                  <a:cubicBezTo>
                    <a:pt x="2038" y="14339"/>
                    <a:pt x="2381" y="14469"/>
                    <a:pt x="2508" y="14545"/>
                  </a:cubicBezTo>
                  <a:cubicBezTo>
                    <a:pt x="2639" y="14618"/>
                    <a:pt x="2775" y="14765"/>
                    <a:pt x="2791" y="14868"/>
                  </a:cubicBezTo>
                  <a:cubicBezTo>
                    <a:pt x="2823" y="14972"/>
                    <a:pt x="2876" y="15086"/>
                    <a:pt x="2921" y="15119"/>
                  </a:cubicBezTo>
                  <a:cubicBezTo>
                    <a:pt x="2963" y="15154"/>
                    <a:pt x="3015" y="15233"/>
                    <a:pt x="3041" y="15295"/>
                  </a:cubicBezTo>
                  <a:cubicBezTo>
                    <a:pt x="3072" y="15354"/>
                    <a:pt x="3147" y="15484"/>
                    <a:pt x="3197" y="15585"/>
                  </a:cubicBezTo>
                  <a:cubicBezTo>
                    <a:pt x="3263" y="15682"/>
                    <a:pt x="3303" y="15802"/>
                    <a:pt x="3303" y="15851"/>
                  </a:cubicBezTo>
                  <a:cubicBezTo>
                    <a:pt x="3295" y="15898"/>
                    <a:pt x="3272" y="15969"/>
                    <a:pt x="3242" y="16005"/>
                  </a:cubicBezTo>
                  <a:cubicBezTo>
                    <a:pt x="3211" y="16042"/>
                    <a:pt x="3180" y="16098"/>
                    <a:pt x="3180" y="16128"/>
                  </a:cubicBezTo>
                  <a:cubicBezTo>
                    <a:pt x="3173" y="16159"/>
                    <a:pt x="3226" y="16222"/>
                    <a:pt x="3286" y="16268"/>
                  </a:cubicBezTo>
                  <a:cubicBezTo>
                    <a:pt x="3348" y="16314"/>
                    <a:pt x="3361" y="16428"/>
                    <a:pt x="3310" y="16522"/>
                  </a:cubicBezTo>
                  <a:cubicBezTo>
                    <a:pt x="3261" y="16616"/>
                    <a:pt x="3167" y="16731"/>
                    <a:pt x="3091" y="16777"/>
                  </a:cubicBezTo>
                  <a:cubicBezTo>
                    <a:pt x="3016" y="16821"/>
                    <a:pt x="2966" y="16917"/>
                    <a:pt x="2966" y="16986"/>
                  </a:cubicBezTo>
                  <a:cubicBezTo>
                    <a:pt x="2958" y="17054"/>
                    <a:pt x="3054" y="17184"/>
                    <a:pt x="3150" y="17274"/>
                  </a:cubicBezTo>
                  <a:cubicBezTo>
                    <a:pt x="3252" y="17363"/>
                    <a:pt x="3408" y="17454"/>
                    <a:pt x="3493" y="17482"/>
                  </a:cubicBezTo>
                  <a:cubicBezTo>
                    <a:pt x="3580" y="17505"/>
                    <a:pt x="3688" y="17588"/>
                    <a:pt x="3712" y="17665"/>
                  </a:cubicBezTo>
                  <a:cubicBezTo>
                    <a:pt x="3745" y="17742"/>
                    <a:pt x="3899" y="17864"/>
                    <a:pt x="4042" y="17944"/>
                  </a:cubicBezTo>
                  <a:cubicBezTo>
                    <a:pt x="4193" y="18020"/>
                    <a:pt x="4355" y="18089"/>
                    <a:pt x="4400" y="18102"/>
                  </a:cubicBezTo>
                  <a:cubicBezTo>
                    <a:pt x="4443" y="18118"/>
                    <a:pt x="4431" y="18146"/>
                    <a:pt x="4367" y="18175"/>
                  </a:cubicBezTo>
                  <a:cubicBezTo>
                    <a:pt x="4300" y="18203"/>
                    <a:pt x="4182" y="18224"/>
                    <a:pt x="4106" y="18215"/>
                  </a:cubicBezTo>
                  <a:cubicBezTo>
                    <a:pt x="4030" y="18204"/>
                    <a:pt x="3913" y="18184"/>
                    <a:pt x="3850" y="18163"/>
                  </a:cubicBezTo>
                  <a:cubicBezTo>
                    <a:pt x="3791" y="18138"/>
                    <a:pt x="3633" y="18123"/>
                    <a:pt x="3508" y="18112"/>
                  </a:cubicBezTo>
                  <a:cubicBezTo>
                    <a:pt x="3383" y="18107"/>
                    <a:pt x="3219" y="18111"/>
                    <a:pt x="3143" y="18115"/>
                  </a:cubicBezTo>
                  <a:cubicBezTo>
                    <a:pt x="3069" y="18130"/>
                    <a:pt x="2932" y="18127"/>
                    <a:pt x="2848" y="18117"/>
                  </a:cubicBezTo>
                  <a:cubicBezTo>
                    <a:pt x="2761" y="18113"/>
                    <a:pt x="2606" y="18117"/>
                    <a:pt x="2501" y="18126"/>
                  </a:cubicBezTo>
                  <a:cubicBezTo>
                    <a:pt x="2398" y="18140"/>
                    <a:pt x="2267" y="18134"/>
                    <a:pt x="2207" y="18126"/>
                  </a:cubicBezTo>
                  <a:cubicBezTo>
                    <a:pt x="2149" y="18111"/>
                    <a:pt x="2020" y="18104"/>
                    <a:pt x="1923" y="18109"/>
                  </a:cubicBezTo>
                  <a:cubicBezTo>
                    <a:pt x="1824" y="18109"/>
                    <a:pt x="1668" y="18114"/>
                    <a:pt x="1579" y="18123"/>
                  </a:cubicBezTo>
                  <a:cubicBezTo>
                    <a:pt x="1491" y="18128"/>
                    <a:pt x="1417" y="18186"/>
                    <a:pt x="1400" y="18248"/>
                  </a:cubicBezTo>
                  <a:cubicBezTo>
                    <a:pt x="1393" y="18312"/>
                    <a:pt x="1360" y="18395"/>
                    <a:pt x="1320" y="18428"/>
                  </a:cubicBezTo>
                  <a:cubicBezTo>
                    <a:pt x="1287" y="18463"/>
                    <a:pt x="1251" y="18540"/>
                    <a:pt x="1251" y="18601"/>
                  </a:cubicBezTo>
                  <a:cubicBezTo>
                    <a:pt x="1251" y="18662"/>
                    <a:pt x="1267" y="18742"/>
                    <a:pt x="1283" y="18782"/>
                  </a:cubicBezTo>
                  <a:cubicBezTo>
                    <a:pt x="1308" y="18820"/>
                    <a:pt x="1365" y="18875"/>
                    <a:pt x="1426" y="18898"/>
                  </a:cubicBezTo>
                  <a:cubicBezTo>
                    <a:pt x="1480" y="18925"/>
                    <a:pt x="1551" y="18974"/>
                    <a:pt x="1559" y="19014"/>
                  </a:cubicBezTo>
                  <a:cubicBezTo>
                    <a:pt x="1577" y="19052"/>
                    <a:pt x="1665" y="19103"/>
                    <a:pt x="1761" y="19122"/>
                  </a:cubicBezTo>
                  <a:cubicBezTo>
                    <a:pt x="1859" y="19143"/>
                    <a:pt x="2111" y="19251"/>
                    <a:pt x="2326" y="19359"/>
                  </a:cubicBezTo>
                  <a:cubicBezTo>
                    <a:pt x="2535" y="19469"/>
                    <a:pt x="2865" y="19671"/>
                    <a:pt x="3069" y="19802"/>
                  </a:cubicBezTo>
                  <a:cubicBezTo>
                    <a:pt x="3258" y="19940"/>
                    <a:pt x="3495" y="20084"/>
                    <a:pt x="3583" y="20127"/>
                  </a:cubicBezTo>
                  <a:cubicBezTo>
                    <a:pt x="3672" y="20170"/>
                    <a:pt x="3806" y="20280"/>
                    <a:pt x="3890" y="20369"/>
                  </a:cubicBezTo>
                  <a:cubicBezTo>
                    <a:pt x="3974" y="20456"/>
                    <a:pt x="4107" y="20608"/>
                    <a:pt x="4207" y="20697"/>
                  </a:cubicBezTo>
                  <a:cubicBezTo>
                    <a:pt x="4304" y="20788"/>
                    <a:pt x="4390" y="20914"/>
                    <a:pt x="4381" y="20976"/>
                  </a:cubicBezTo>
                  <a:cubicBezTo>
                    <a:pt x="4381" y="21039"/>
                    <a:pt x="4435" y="21121"/>
                    <a:pt x="4491" y="21164"/>
                  </a:cubicBezTo>
                  <a:cubicBezTo>
                    <a:pt x="4552" y="21205"/>
                    <a:pt x="4615" y="21296"/>
                    <a:pt x="4632" y="21366"/>
                  </a:cubicBezTo>
                  <a:cubicBezTo>
                    <a:pt x="4641" y="21438"/>
                    <a:pt x="4757" y="21491"/>
                    <a:pt x="4867" y="21491"/>
                  </a:cubicBezTo>
                  <a:cubicBezTo>
                    <a:pt x="4976" y="21486"/>
                    <a:pt x="5145" y="21474"/>
                    <a:pt x="5241" y="21458"/>
                  </a:cubicBezTo>
                  <a:cubicBezTo>
                    <a:pt x="5332" y="21439"/>
                    <a:pt x="5538" y="21422"/>
                    <a:pt x="5693" y="21417"/>
                  </a:cubicBezTo>
                  <a:cubicBezTo>
                    <a:pt x="5847" y="21407"/>
                    <a:pt x="6033" y="21336"/>
                    <a:pt x="6113" y="21255"/>
                  </a:cubicBezTo>
                  <a:cubicBezTo>
                    <a:pt x="6190" y="21172"/>
                    <a:pt x="6259" y="21049"/>
                    <a:pt x="6259" y="20981"/>
                  </a:cubicBezTo>
                  <a:cubicBezTo>
                    <a:pt x="6259" y="20914"/>
                    <a:pt x="6327" y="20826"/>
                    <a:pt x="6390" y="20783"/>
                  </a:cubicBezTo>
                  <a:cubicBezTo>
                    <a:pt x="6455" y="20739"/>
                    <a:pt x="6561" y="20734"/>
                    <a:pt x="6621" y="20765"/>
                  </a:cubicBezTo>
                  <a:cubicBezTo>
                    <a:pt x="6686" y="20793"/>
                    <a:pt x="6755" y="20889"/>
                    <a:pt x="6788" y="20970"/>
                  </a:cubicBezTo>
                  <a:cubicBezTo>
                    <a:pt x="6828" y="21049"/>
                    <a:pt x="6897" y="21135"/>
                    <a:pt x="6935" y="21170"/>
                  </a:cubicBezTo>
                  <a:cubicBezTo>
                    <a:pt x="6984" y="21199"/>
                    <a:pt x="7108" y="21209"/>
                    <a:pt x="7212" y="21200"/>
                  </a:cubicBezTo>
                  <a:cubicBezTo>
                    <a:pt x="7318" y="21190"/>
                    <a:pt x="7528" y="21118"/>
                    <a:pt x="7681" y="21048"/>
                  </a:cubicBezTo>
                  <a:cubicBezTo>
                    <a:pt x="7831" y="20977"/>
                    <a:pt x="8090" y="20886"/>
                    <a:pt x="8249" y="20839"/>
                  </a:cubicBezTo>
                  <a:cubicBezTo>
                    <a:pt x="8410" y="20796"/>
                    <a:pt x="8658" y="20703"/>
                    <a:pt x="8807" y="20642"/>
                  </a:cubicBezTo>
                  <a:cubicBezTo>
                    <a:pt x="8960" y="20584"/>
                    <a:pt x="9350" y="20479"/>
                    <a:pt x="9691" y="20426"/>
                  </a:cubicBezTo>
                  <a:cubicBezTo>
                    <a:pt x="10032" y="20372"/>
                    <a:pt x="10429" y="20319"/>
                    <a:pt x="10576" y="20319"/>
                  </a:cubicBezTo>
                  <a:cubicBezTo>
                    <a:pt x="10722" y="20315"/>
                    <a:pt x="10908" y="20268"/>
                    <a:pt x="10986" y="20212"/>
                  </a:cubicBezTo>
                  <a:cubicBezTo>
                    <a:pt x="11063" y="20156"/>
                    <a:pt x="11268" y="20054"/>
                    <a:pt x="11434" y="19981"/>
                  </a:cubicBezTo>
                  <a:cubicBezTo>
                    <a:pt x="11603" y="19913"/>
                    <a:pt x="11710" y="19814"/>
                    <a:pt x="11701" y="19766"/>
                  </a:cubicBezTo>
                  <a:cubicBezTo>
                    <a:pt x="11684" y="19720"/>
                    <a:pt x="11615" y="19685"/>
                    <a:pt x="11550" y="19685"/>
                  </a:cubicBezTo>
                  <a:cubicBezTo>
                    <a:pt x="11486" y="19690"/>
                    <a:pt x="11360" y="19629"/>
                    <a:pt x="11273" y="19556"/>
                  </a:cubicBezTo>
                  <a:cubicBezTo>
                    <a:pt x="11190" y="19482"/>
                    <a:pt x="11115" y="19376"/>
                    <a:pt x="11140" y="19320"/>
                  </a:cubicBezTo>
                  <a:cubicBezTo>
                    <a:pt x="11155" y="19262"/>
                    <a:pt x="11233" y="19190"/>
                    <a:pt x="11307" y="19156"/>
                  </a:cubicBezTo>
                  <a:cubicBezTo>
                    <a:pt x="11381" y="19121"/>
                    <a:pt x="11519" y="19105"/>
                    <a:pt x="11604" y="19119"/>
                  </a:cubicBezTo>
                  <a:cubicBezTo>
                    <a:pt x="11690" y="19128"/>
                    <a:pt x="11865" y="19126"/>
                    <a:pt x="11998" y="19116"/>
                  </a:cubicBezTo>
                  <a:cubicBezTo>
                    <a:pt x="12128" y="19101"/>
                    <a:pt x="12307" y="19112"/>
                    <a:pt x="12398" y="19132"/>
                  </a:cubicBezTo>
                  <a:cubicBezTo>
                    <a:pt x="12487" y="19155"/>
                    <a:pt x="12682" y="19175"/>
                    <a:pt x="12826" y="19189"/>
                  </a:cubicBezTo>
                  <a:cubicBezTo>
                    <a:pt x="12969" y="19198"/>
                    <a:pt x="13216" y="19191"/>
                    <a:pt x="13373" y="19177"/>
                  </a:cubicBezTo>
                  <a:cubicBezTo>
                    <a:pt x="13529" y="19158"/>
                    <a:pt x="13830" y="19131"/>
                    <a:pt x="14040" y="19106"/>
                  </a:cubicBezTo>
                  <a:cubicBezTo>
                    <a:pt x="14252" y="19086"/>
                    <a:pt x="14518" y="19026"/>
                    <a:pt x="14622" y="18970"/>
                  </a:cubicBezTo>
                  <a:cubicBezTo>
                    <a:pt x="14733" y="18917"/>
                    <a:pt x="14901" y="18849"/>
                    <a:pt x="14991" y="18815"/>
                  </a:cubicBezTo>
                  <a:cubicBezTo>
                    <a:pt x="15087" y="18783"/>
                    <a:pt x="15181" y="18712"/>
                    <a:pt x="15214" y="18662"/>
                  </a:cubicBezTo>
                  <a:cubicBezTo>
                    <a:pt x="15245" y="18611"/>
                    <a:pt x="15254" y="18529"/>
                    <a:pt x="15246" y="18478"/>
                  </a:cubicBezTo>
                  <a:cubicBezTo>
                    <a:pt x="15238" y="18427"/>
                    <a:pt x="15251" y="18337"/>
                    <a:pt x="15267" y="18275"/>
                  </a:cubicBezTo>
                  <a:cubicBezTo>
                    <a:pt x="15284" y="18214"/>
                    <a:pt x="15377" y="18132"/>
                    <a:pt x="15462" y="18099"/>
                  </a:cubicBezTo>
                  <a:cubicBezTo>
                    <a:pt x="15545" y="18065"/>
                    <a:pt x="15607" y="17990"/>
                    <a:pt x="15607" y="17937"/>
                  </a:cubicBezTo>
                  <a:cubicBezTo>
                    <a:pt x="15616" y="17883"/>
                    <a:pt x="15676" y="17792"/>
                    <a:pt x="15755" y="17730"/>
                  </a:cubicBezTo>
                  <a:cubicBezTo>
                    <a:pt x="15838" y="17671"/>
                    <a:pt x="15944" y="17633"/>
                    <a:pt x="15983" y="17652"/>
                  </a:cubicBezTo>
                  <a:cubicBezTo>
                    <a:pt x="16027" y="17665"/>
                    <a:pt x="16108" y="17680"/>
                    <a:pt x="16165" y="17672"/>
                  </a:cubicBezTo>
                  <a:cubicBezTo>
                    <a:pt x="16224" y="17667"/>
                    <a:pt x="16359" y="17579"/>
                    <a:pt x="16467" y="17476"/>
                  </a:cubicBezTo>
                  <a:cubicBezTo>
                    <a:pt x="16574" y="17372"/>
                    <a:pt x="16718" y="17275"/>
                    <a:pt x="16780" y="17254"/>
                  </a:cubicBezTo>
                  <a:cubicBezTo>
                    <a:pt x="16841" y="17233"/>
                    <a:pt x="16892" y="17181"/>
                    <a:pt x="16892" y="17135"/>
                  </a:cubicBezTo>
                  <a:cubicBezTo>
                    <a:pt x="16892" y="17088"/>
                    <a:pt x="16914" y="17010"/>
                    <a:pt x="16932" y="16962"/>
                  </a:cubicBezTo>
                  <a:cubicBezTo>
                    <a:pt x="16947" y="16914"/>
                    <a:pt x="17087" y="16829"/>
                    <a:pt x="17231" y="16777"/>
                  </a:cubicBezTo>
                  <a:cubicBezTo>
                    <a:pt x="17374" y="16725"/>
                    <a:pt x="17572" y="16642"/>
                    <a:pt x="17673" y="16596"/>
                  </a:cubicBezTo>
                  <a:cubicBezTo>
                    <a:pt x="17777" y="16550"/>
                    <a:pt x="17970" y="16507"/>
                    <a:pt x="18103" y="16507"/>
                  </a:cubicBezTo>
                  <a:cubicBezTo>
                    <a:pt x="18234" y="16502"/>
                    <a:pt x="18395" y="16524"/>
                    <a:pt x="18465" y="16548"/>
                  </a:cubicBezTo>
                  <a:cubicBezTo>
                    <a:pt x="18529" y="16576"/>
                    <a:pt x="18703" y="16556"/>
                    <a:pt x="18849" y="16515"/>
                  </a:cubicBezTo>
                  <a:cubicBezTo>
                    <a:pt x="18992" y="16469"/>
                    <a:pt x="19140" y="16396"/>
                    <a:pt x="19176" y="16349"/>
                  </a:cubicBezTo>
                  <a:cubicBezTo>
                    <a:pt x="19208" y="16301"/>
                    <a:pt x="19243" y="16223"/>
                    <a:pt x="19243" y="16176"/>
                  </a:cubicBezTo>
                  <a:cubicBezTo>
                    <a:pt x="19243" y="16128"/>
                    <a:pt x="19292" y="16048"/>
                    <a:pt x="19340" y="15996"/>
                  </a:cubicBezTo>
                  <a:cubicBezTo>
                    <a:pt x="19388" y="15943"/>
                    <a:pt x="19388" y="15858"/>
                    <a:pt x="19340" y="15805"/>
                  </a:cubicBezTo>
                  <a:cubicBezTo>
                    <a:pt x="19286" y="15754"/>
                    <a:pt x="19084" y="15681"/>
                    <a:pt x="18879" y="15656"/>
                  </a:cubicBezTo>
                  <a:cubicBezTo>
                    <a:pt x="18674" y="15626"/>
                    <a:pt x="18492" y="15547"/>
                    <a:pt x="18476" y="15479"/>
                  </a:cubicBezTo>
                  <a:cubicBezTo>
                    <a:pt x="18468" y="15411"/>
                    <a:pt x="18434" y="15282"/>
                    <a:pt x="18443" y="15190"/>
                  </a:cubicBezTo>
                  <a:cubicBezTo>
                    <a:pt x="18443" y="15099"/>
                    <a:pt x="18409" y="14973"/>
                    <a:pt x="18353" y="14915"/>
                  </a:cubicBezTo>
                  <a:cubicBezTo>
                    <a:pt x="18302" y="14855"/>
                    <a:pt x="18293" y="14768"/>
                    <a:pt x="18342" y="14724"/>
                  </a:cubicBezTo>
                  <a:cubicBezTo>
                    <a:pt x="18388" y="14679"/>
                    <a:pt x="18365" y="14615"/>
                    <a:pt x="18292" y="14582"/>
                  </a:cubicBezTo>
                  <a:cubicBezTo>
                    <a:pt x="18220" y="14550"/>
                    <a:pt x="18218" y="14503"/>
                    <a:pt x="18278" y="14473"/>
                  </a:cubicBezTo>
                  <a:cubicBezTo>
                    <a:pt x="18342" y="14444"/>
                    <a:pt x="18392" y="14379"/>
                    <a:pt x="18401" y="14328"/>
                  </a:cubicBezTo>
                  <a:cubicBezTo>
                    <a:pt x="18401" y="14277"/>
                    <a:pt x="18354" y="14228"/>
                    <a:pt x="18291" y="14219"/>
                  </a:cubicBezTo>
                  <a:cubicBezTo>
                    <a:pt x="18227" y="14213"/>
                    <a:pt x="18064" y="14254"/>
                    <a:pt x="17930" y="14319"/>
                  </a:cubicBezTo>
                  <a:cubicBezTo>
                    <a:pt x="17796" y="14383"/>
                    <a:pt x="17622" y="14397"/>
                    <a:pt x="17553" y="14350"/>
                  </a:cubicBezTo>
                  <a:cubicBezTo>
                    <a:pt x="17478" y="14306"/>
                    <a:pt x="17420" y="14202"/>
                    <a:pt x="17428" y="14124"/>
                  </a:cubicBezTo>
                  <a:cubicBezTo>
                    <a:pt x="17428" y="14045"/>
                    <a:pt x="17592" y="13885"/>
                    <a:pt x="17763" y="13759"/>
                  </a:cubicBezTo>
                  <a:cubicBezTo>
                    <a:pt x="17943" y="13637"/>
                    <a:pt x="18143" y="13489"/>
                    <a:pt x="18203" y="13429"/>
                  </a:cubicBezTo>
                  <a:cubicBezTo>
                    <a:pt x="18261" y="13369"/>
                    <a:pt x="18309" y="13264"/>
                    <a:pt x="18301" y="13192"/>
                  </a:cubicBezTo>
                  <a:cubicBezTo>
                    <a:pt x="18284" y="13122"/>
                    <a:pt x="18208" y="13032"/>
                    <a:pt x="18107" y="12998"/>
                  </a:cubicBezTo>
                  <a:cubicBezTo>
                    <a:pt x="18007" y="12963"/>
                    <a:pt x="17952" y="12894"/>
                    <a:pt x="17969" y="12845"/>
                  </a:cubicBezTo>
                  <a:cubicBezTo>
                    <a:pt x="17986" y="12796"/>
                    <a:pt x="18103" y="12719"/>
                    <a:pt x="18217" y="12673"/>
                  </a:cubicBezTo>
                  <a:cubicBezTo>
                    <a:pt x="18331" y="12627"/>
                    <a:pt x="18477" y="12529"/>
                    <a:pt x="18535" y="12451"/>
                  </a:cubicBezTo>
                  <a:cubicBezTo>
                    <a:pt x="18602" y="12377"/>
                    <a:pt x="18591" y="12283"/>
                    <a:pt x="18534" y="12241"/>
                  </a:cubicBezTo>
                  <a:cubicBezTo>
                    <a:pt x="18481" y="12197"/>
                    <a:pt x="18416" y="12126"/>
                    <a:pt x="18416" y="12076"/>
                  </a:cubicBezTo>
                  <a:cubicBezTo>
                    <a:pt x="18416" y="12024"/>
                    <a:pt x="18485" y="11928"/>
                    <a:pt x="18588" y="11869"/>
                  </a:cubicBezTo>
                  <a:cubicBezTo>
                    <a:pt x="18684" y="11806"/>
                    <a:pt x="18813" y="11756"/>
                    <a:pt x="18872" y="11759"/>
                  </a:cubicBezTo>
                  <a:cubicBezTo>
                    <a:pt x="18929" y="11764"/>
                    <a:pt x="19125" y="11633"/>
                    <a:pt x="19314" y="11479"/>
                  </a:cubicBezTo>
                  <a:cubicBezTo>
                    <a:pt x="19508" y="11325"/>
                    <a:pt x="19707" y="11126"/>
                    <a:pt x="19773" y="11043"/>
                  </a:cubicBezTo>
                  <a:cubicBezTo>
                    <a:pt x="19830" y="10958"/>
                    <a:pt x="19848" y="10853"/>
                    <a:pt x="19790" y="10807"/>
                  </a:cubicBezTo>
                  <a:cubicBezTo>
                    <a:pt x="19733" y="10761"/>
                    <a:pt x="19686" y="10649"/>
                    <a:pt x="19694" y="10560"/>
                  </a:cubicBezTo>
                  <a:cubicBezTo>
                    <a:pt x="19702" y="10472"/>
                    <a:pt x="19782" y="10355"/>
                    <a:pt x="19886" y="10303"/>
                  </a:cubicBezTo>
                  <a:cubicBezTo>
                    <a:pt x="19991" y="10252"/>
                    <a:pt x="20183" y="10206"/>
                    <a:pt x="20320" y="10204"/>
                  </a:cubicBezTo>
                  <a:cubicBezTo>
                    <a:pt x="20457" y="10204"/>
                    <a:pt x="20642" y="10233"/>
                    <a:pt x="20738" y="10267"/>
                  </a:cubicBezTo>
                  <a:cubicBezTo>
                    <a:pt x="20832" y="10302"/>
                    <a:pt x="20994" y="10300"/>
                    <a:pt x="21092" y="10256"/>
                  </a:cubicBezTo>
                  <a:cubicBezTo>
                    <a:pt x="21196" y="10216"/>
                    <a:pt x="21348" y="10163"/>
                    <a:pt x="21429" y="10139"/>
                  </a:cubicBezTo>
                  <a:cubicBezTo>
                    <a:pt x="21516" y="10120"/>
                    <a:pt x="21591" y="9360"/>
                    <a:pt x="21591" y="8454"/>
                  </a:cubicBezTo>
                  <a:cubicBezTo>
                    <a:pt x="21591" y="7972"/>
                    <a:pt x="21589" y="7490"/>
                    <a:pt x="21588" y="7007"/>
                  </a:cubicBezTo>
                  <a:cubicBezTo>
                    <a:pt x="21588" y="6883"/>
                    <a:pt x="21587" y="6759"/>
                    <a:pt x="21587" y="6634"/>
                  </a:cubicBezTo>
                  <a:cubicBezTo>
                    <a:pt x="21579" y="5725"/>
                    <a:pt x="21577" y="4979"/>
                    <a:pt x="21577" y="4977"/>
                  </a:cubicBezTo>
                  <a:cubicBezTo>
                    <a:pt x="21582" y="4977"/>
                    <a:pt x="21575" y="4978"/>
                    <a:pt x="21573" y="4978"/>
                  </a:cubicBezTo>
                  <a:cubicBezTo>
                    <a:pt x="21573" y="4977"/>
                    <a:pt x="21514" y="4958"/>
                    <a:pt x="21412" y="4924"/>
                  </a:cubicBezTo>
                  <a:close/>
                  <a:moveTo>
                    <a:pt x="21412" y="49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8" name="AutoShape 840"/>
            <p:cNvSpPr>
              <a:spLocks/>
            </p:cNvSpPr>
            <p:nvPr/>
          </p:nvSpPr>
          <p:spPr bwMode="auto">
            <a:xfrm>
              <a:off x="7962900" y="4940300"/>
              <a:ext cx="11113" cy="6350"/>
            </a:xfrm>
            <a:custGeom>
              <a:avLst/>
              <a:gdLst/>
              <a:ahLst/>
              <a:cxnLst/>
              <a:rect l="0" t="0" r="r" b="b"/>
              <a:pathLst>
                <a:path w="20686" h="19239">
                  <a:moveTo>
                    <a:pt x="10085" y="3043"/>
                  </a:moveTo>
                  <a:cubicBezTo>
                    <a:pt x="3862" y="7328"/>
                    <a:pt x="0" y="12060"/>
                    <a:pt x="0" y="15179"/>
                  </a:cubicBezTo>
                  <a:cubicBezTo>
                    <a:pt x="3904" y="18295"/>
                    <a:pt x="8034" y="20061"/>
                    <a:pt x="10578" y="18860"/>
                  </a:cubicBezTo>
                  <a:cubicBezTo>
                    <a:pt x="13790" y="17507"/>
                    <a:pt x="17942" y="11159"/>
                    <a:pt x="20530" y="4097"/>
                  </a:cubicBezTo>
                  <a:cubicBezTo>
                    <a:pt x="21600" y="-750"/>
                    <a:pt x="17071" y="-1539"/>
                    <a:pt x="10085" y="3043"/>
                  </a:cubicBezTo>
                  <a:close/>
                  <a:moveTo>
                    <a:pt x="10085" y="30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39" name="AutoShape 841"/>
            <p:cNvSpPr>
              <a:spLocks/>
            </p:cNvSpPr>
            <p:nvPr/>
          </p:nvSpPr>
          <p:spPr bwMode="auto">
            <a:xfrm>
              <a:off x="8521700" y="4597400"/>
              <a:ext cx="0" cy="76200"/>
            </a:xfrm>
            <a:custGeom>
              <a:avLst/>
              <a:gdLst/>
              <a:ahLst/>
              <a:cxnLst/>
              <a:rect l="0" t="0" r="r" b="b"/>
              <a:pathLst>
                <a:path w="21600" h="21600">
                  <a:moveTo>
                    <a:pt x="21600" y="21600"/>
                  </a:moveTo>
                  <a:cubicBezTo>
                    <a:pt x="21600" y="20251"/>
                    <a:pt x="20520" y="18904"/>
                    <a:pt x="20520" y="17556"/>
                  </a:cubicBezTo>
                  <a:cubicBezTo>
                    <a:pt x="20520" y="13107"/>
                    <a:pt x="16200" y="5041"/>
                    <a:pt x="0" y="0"/>
                  </a:cubicBezTo>
                  <a:cubicBezTo>
                    <a:pt x="0" y="26"/>
                    <a:pt x="3240" y="7957"/>
                    <a:pt x="19373" y="17632"/>
                  </a:cubicBezTo>
                  <a:cubicBezTo>
                    <a:pt x="19373" y="18956"/>
                    <a:pt x="21600" y="20278"/>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0" name="AutoShape 842"/>
            <p:cNvSpPr>
              <a:spLocks/>
            </p:cNvSpPr>
            <p:nvPr/>
          </p:nvSpPr>
          <p:spPr bwMode="auto">
            <a:xfrm>
              <a:off x="8509000" y="4597400"/>
              <a:ext cx="3175" cy="1588"/>
            </a:xfrm>
            <a:custGeom>
              <a:avLst/>
              <a:gdLst/>
              <a:ahLst/>
              <a:cxnLst/>
              <a:rect l="0" t="0" r="r" b="b"/>
              <a:pathLst>
                <a:path w="21229" h="21600">
                  <a:moveTo>
                    <a:pt x="20480" y="21600"/>
                  </a:moveTo>
                  <a:cubicBezTo>
                    <a:pt x="20767" y="21600"/>
                    <a:pt x="21600" y="21267"/>
                    <a:pt x="21040" y="21267"/>
                  </a:cubicBezTo>
                  <a:cubicBezTo>
                    <a:pt x="13888" y="14110"/>
                    <a:pt x="7148" y="7088"/>
                    <a:pt x="0" y="0"/>
                  </a:cubicBezTo>
                  <a:cubicBezTo>
                    <a:pt x="13059" y="13589"/>
                    <a:pt x="20480" y="21397"/>
                    <a:pt x="20480" y="21600"/>
                  </a:cubicBezTo>
                  <a:close/>
                  <a:moveTo>
                    <a:pt x="2048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1" name="AutoShape 843"/>
            <p:cNvSpPr>
              <a:spLocks/>
            </p:cNvSpPr>
            <p:nvPr/>
          </p:nvSpPr>
          <p:spPr bwMode="auto">
            <a:xfrm>
              <a:off x="8102600" y="4406900"/>
              <a:ext cx="95250" cy="19050"/>
            </a:xfrm>
            <a:custGeom>
              <a:avLst/>
              <a:gdLst/>
              <a:ahLst/>
              <a:cxnLst/>
              <a:rect l="0" t="0" r="r" b="b"/>
              <a:pathLst>
                <a:path w="21600" h="17828">
                  <a:moveTo>
                    <a:pt x="21600" y="17828"/>
                  </a:moveTo>
                  <a:cubicBezTo>
                    <a:pt x="14907" y="3198"/>
                    <a:pt x="6662" y="-3772"/>
                    <a:pt x="3286" y="2056"/>
                  </a:cubicBezTo>
                  <a:cubicBezTo>
                    <a:pt x="2032" y="4223"/>
                    <a:pt x="904" y="6434"/>
                    <a:pt x="0" y="8442"/>
                  </a:cubicBezTo>
                  <a:cubicBezTo>
                    <a:pt x="6142" y="673"/>
                    <a:pt x="15433" y="4352"/>
                    <a:pt x="21600" y="17828"/>
                  </a:cubicBezTo>
                  <a:close/>
                  <a:moveTo>
                    <a:pt x="21600" y="178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2" name="AutoShape 844"/>
            <p:cNvSpPr>
              <a:spLocks/>
            </p:cNvSpPr>
            <p:nvPr/>
          </p:nvSpPr>
          <p:spPr bwMode="auto">
            <a:xfrm>
              <a:off x="7378700" y="4406900"/>
              <a:ext cx="763588" cy="604838"/>
            </a:xfrm>
            <a:custGeom>
              <a:avLst/>
              <a:gdLst/>
              <a:ahLst/>
              <a:cxnLst/>
              <a:rect l="0" t="0" r="r" b="b"/>
              <a:pathLst>
                <a:path w="21590" h="21563">
                  <a:moveTo>
                    <a:pt x="18241" y="18020"/>
                  </a:moveTo>
                  <a:cubicBezTo>
                    <a:pt x="18310" y="18054"/>
                    <a:pt x="18354" y="17573"/>
                    <a:pt x="18332" y="16954"/>
                  </a:cubicBezTo>
                  <a:cubicBezTo>
                    <a:pt x="18312" y="16335"/>
                    <a:pt x="18304" y="15778"/>
                    <a:pt x="18314" y="15716"/>
                  </a:cubicBezTo>
                  <a:cubicBezTo>
                    <a:pt x="18324" y="15654"/>
                    <a:pt x="18368" y="15602"/>
                    <a:pt x="18411" y="15602"/>
                  </a:cubicBezTo>
                  <a:cubicBezTo>
                    <a:pt x="18455" y="15598"/>
                    <a:pt x="18523" y="15583"/>
                    <a:pt x="18564" y="15564"/>
                  </a:cubicBezTo>
                  <a:cubicBezTo>
                    <a:pt x="18604" y="15543"/>
                    <a:pt x="18651" y="15483"/>
                    <a:pt x="18670" y="15428"/>
                  </a:cubicBezTo>
                  <a:cubicBezTo>
                    <a:pt x="18690" y="15374"/>
                    <a:pt x="19226" y="14635"/>
                    <a:pt x="19859" y="13787"/>
                  </a:cubicBezTo>
                  <a:cubicBezTo>
                    <a:pt x="20490" y="12938"/>
                    <a:pt x="20994" y="11657"/>
                    <a:pt x="20994" y="10937"/>
                  </a:cubicBezTo>
                  <a:cubicBezTo>
                    <a:pt x="20989" y="10216"/>
                    <a:pt x="21070" y="8864"/>
                    <a:pt x="21174" y="7932"/>
                  </a:cubicBezTo>
                  <a:cubicBezTo>
                    <a:pt x="21279" y="7001"/>
                    <a:pt x="21413" y="6175"/>
                    <a:pt x="21472" y="6098"/>
                  </a:cubicBezTo>
                  <a:cubicBezTo>
                    <a:pt x="21528" y="6021"/>
                    <a:pt x="21579" y="5811"/>
                    <a:pt x="21590" y="5630"/>
                  </a:cubicBezTo>
                  <a:cubicBezTo>
                    <a:pt x="21600" y="5451"/>
                    <a:pt x="21402" y="4977"/>
                    <a:pt x="21151" y="4580"/>
                  </a:cubicBezTo>
                  <a:cubicBezTo>
                    <a:pt x="20900" y="4181"/>
                    <a:pt x="20715" y="3807"/>
                    <a:pt x="20735" y="3751"/>
                  </a:cubicBezTo>
                  <a:cubicBezTo>
                    <a:pt x="20756" y="3693"/>
                    <a:pt x="20782" y="3538"/>
                    <a:pt x="20787" y="3403"/>
                  </a:cubicBezTo>
                  <a:cubicBezTo>
                    <a:pt x="20798" y="3270"/>
                    <a:pt x="20654" y="2601"/>
                    <a:pt x="20476" y="1915"/>
                  </a:cubicBezTo>
                  <a:cubicBezTo>
                    <a:pt x="20294" y="1228"/>
                    <a:pt x="20113" y="616"/>
                    <a:pt x="20070" y="553"/>
                  </a:cubicBezTo>
                  <a:cubicBezTo>
                    <a:pt x="20029" y="488"/>
                    <a:pt x="19720" y="593"/>
                    <a:pt x="19383" y="773"/>
                  </a:cubicBezTo>
                  <a:cubicBezTo>
                    <a:pt x="19048" y="958"/>
                    <a:pt x="18721" y="1036"/>
                    <a:pt x="18660" y="951"/>
                  </a:cubicBezTo>
                  <a:cubicBezTo>
                    <a:pt x="18596" y="874"/>
                    <a:pt x="18061" y="644"/>
                    <a:pt x="17439" y="432"/>
                  </a:cubicBezTo>
                  <a:cubicBezTo>
                    <a:pt x="17405" y="421"/>
                    <a:pt x="17372" y="410"/>
                    <a:pt x="17338" y="399"/>
                  </a:cubicBezTo>
                  <a:cubicBezTo>
                    <a:pt x="16952" y="271"/>
                    <a:pt x="16597" y="141"/>
                    <a:pt x="16355" y="43"/>
                  </a:cubicBezTo>
                  <a:cubicBezTo>
                    <a:pt x="16281" y="27"/>
                    <a:pt x="16204" y="12"/>
                    <a:pt x="16121" y="0"/>
                  </a:cubicBezTo>
                  <a:cubicBezTo>
                    <a:pt x="16121" y="0"/>
                    <a:pt x="15444" y="547"/>
                    <a:pt x="14612" y="1217"/>
                  </a:cubicBezTo>
                  <a:cubicBezTo>
                    <a:pt x="13528" y="2089"/>
                    <a:pt x="12441" y="2968"/>
                    <a:pt x="11345" y="3840"/>
                  </a:cubicBezTo>
                  <a:cubicBezTo>
                    <a:pt x="10501" y="4518"/>
                    <a:pt x="9410" y="5534"/>
                    <a:pt x="8926" y="6108"/>
                  </a:cubicBezTo>
                  <a:cubicBezTo>
                    <a:pt x="8438" y="6679"/>
                    <a:pt x="7549" y="7300"/>
                    <a:pt x="6947" y="7485"/>
                  </a:cubicBezTo>
                  <a:cubicBezTo>
                    <a:pt x="6346" y="7675"/>
                    <a:pt x="5852" y="7823"/>
                    <a:pt x="5850" y="7823"/>
                  </a:cubicBezTo>
                  <a:cubicBezTo>
                    <a:pt x="5851" y="7823"/>
                    <a:pt x="5851" y="7828"/>
                    <a:pt x="5851" y="7836"/>
                  </a:cubicBezTo>
                  <a:cubicBezTo>
                    <a:pt x="5865" y="8381"/>
                    <a:pt x="5828" y="9109"/>
                    <a:pt x="5812" y="9591"/>
                  </a:cubicBezTo>
                  <a:cubicBezTo>
                    <a:pt x="5791" y="10562"/>
                    <a:pt x="5749" y="11724"/>
                    <a:pt x="5718" y="12178"/>
                  </a:cubicBezTo>
                  <a:cubicBezTo>
                    <a:pt x="5691" y="12631"/>
                    <a:pt x="5614" y="13043"/>
                    <a:pt x="5547" y="13088"/>
                  </a:cubicBezTo>
                  <a:cubicBezTo>
                    <a:pt x="5483" y="13138"/>
                    <a:pt x="5418" y="13319"/>
                    <a:pt x="5408" y="13493"/>
                  </a:cubicBezTo>
                  <a:cubicBezTo>
                    <a:pt x="5397" y="13667"/>
                    <a:pt x="5362" y="13899"/>
                    <a:pt x="5336" y="14011"/>
                  </a:cubicBezTo>
                  <a:cubicBezTo>
                    <a:pt x="5310" y="14121"/>
                    <a:pt x="5124" y="14328"/>
                    <a:pt x="4927" y="14469"/>
                  </a:cubicBezTo>
                  <a:cubicBezTo>
                    <a:pt x="4729" y="14609"/>
                    <a:pt x="4470" y="14791"/>
                    <a:pt x="4352" y="14867"/>
                  </a:cubicBezTo>
                  <a:cubicBezTo>
                    <a:pt x="4235" y="14947"/>
                    <a:pt x="4041" y="15017"/>
                    <a:pt x="3924" y="15030"/>
                  </a:cubicBezTo>
                  <a:cubicBezTo>
                    <a:pt x="3806" y="15039"/>
                    <a:pt x="3615" y="15125"/>
                    <a:pt x="3501" y="15225"/>
                  </a:cubicBezTo>
                  <a:cubicBezTo>
                    <a:pt x="3387" y="15323"/>
                    <a:pt x="3227" y="15402"/>
                    <a:pt x="3148" y="15402"/>
                  </a:cubicBezTo>
                  <a:cubicBezTo>
                    <a:pt x="3068" y="15402"/>
                    <a:pt x="2863" y="15403"/>
                    <a:pt x="2692" y="15407"/>
                  </a:cubicBezTo>
                  <a:cubicBezTo>
                    <a:pt x="2520" y="15407"/>
                    <a:pt x="2295" y="15460"/>
                    <a:pt x="2193" y="15525"/>
                  </a:cubicBezTo>
                  <a:cubicBezTo>
                    <a:pt x="2090" y="15591"/>
                    <a:pt x="1930" y="15636"/>
                    <a:pt x="1839" y="15623"/>
                  </a:cubicBezTo>
                  <a:cubicBezTo>
                    <a:pt x="1746" y="15617"/>
                    <a:pt x="1447" y="15638"/>
                    <a:pt x="1172" y="15674"/>
                  </a:cubicBezTo>
                  <a:cubicBezTo>
                    <a:pt x="898" y="15707"/>
                    <a:pt x="599" y="15715"/>
                    <a:pt x="507" y="15689"/>
                  </a:cubicBezTo>
                  <a:cubicBezTo>
                    <a:pt x="415" y="15656"/>
                    <a:pt x="317" y="15692"/>
                    <a:pt x="291" y="15759"/>
                  </a:cubicBezTo>
                  <a:cubicBezTo>
                    <a:pt x="264" y="15826"/>
                    <a:pt x="229" y="15996"/>
                    <a:pt x="212" y="16136"/>
                  </a:cubicBezTo>
                  <a:cubicBezTo>
                    <a:pt x="194" y="16275"/>
                    <a:pt x="143" y="16473"/>
                    <a:pt x="93" y="16574"/>
                  </a:cubicBezTo>
                  <a:cubicBezTo>
                    <a:pt x="40" y="16673"/>
                    <a:pt x="0" y="16876"/>
                    <a:pt x="0" y="17021"/>
                  </a:cubicBezTo>
                  <a:cubicBezTo>
                    <a:pt x="0" y="17165"/>
                    <a:pt x="307" y="17538"/>
                    <a:pt x="683" y="17853"/>
                  </a:cubicBezTo>
                  <a:cubicBezTo>
                    <a:pt x="1058" y="18168"/>
                    <a:pt x="1369" y="18587"/>
                    <a:pt x="1378" y="18788"/>
                  </a:cubicBezTo>
                  <a:cubicBezTo>
                    <a:pt x="1383" y="18989"/>
                    <a:pt x="1502" y="19258"/>
                    <a:pt x="1636" y="19394"/>
                  </a:cubicBezTo>
                  <a:cubicBezTo>
                    <a:pt x="1774" y="19525"/>
                    <a:pt x="2025" y="19543"/>
                    <a:pt x="2196" y="19424"/>
                  </a:cubicBezTo>
                  <a:cubicBezTo>
                    <a:pt x="2368" y="19306"/>
                    <a:pt x="2542" y="19236"/>
                    <a:pt x="2584" y="19262"/>
                  </a:cubicBezTo>
                  <a:cubicBezTo>
                    <a:pt x="2626" y="19290"/>
                    <a:pt x="2670" y="19365"/>
                    <a:pt x="2679" y="19426"/>
                  </a:cubicBezTo>
                  <a:cubicBezTo>
                    <a:pt x="2687" y="19489"/>
                    <a:pt x="2726" y="19569"/>
                    <a:pt x="2754" y="19608"/>
                  </a:cubicBezTo>
                  <a:cubicBezTo>
                    <a:pt x="2787" y="19643"/>
                    <a:pt x="2816" y="19755"/>
                    <a:pt x="2822" y="19851"/>
                  </a:cubicBezTo>
                  <a:cubicBezTo>
                    <a:pt x="2826" y="19946"/>
                    <a:pt x="2798" y="20091"/>
                    <a:pt x="2750" y="20165"/>
                  </a:cubicBezTo>
                  <a:cubicBezTo>
                    <a:pt x="2705" y="20242"/>
                    <a:pt x="2735" y="20422"/>
                    <a:pt x="2822" y="20561"/>
                  </a:cubicBezTo>
                  <a:cubicBezTo>
                    <a:pt x="2908" y="20705"/>
                    <a:pt x="3036" y="20814"/>
                    <a:pt x="3103" y="20801"/>
                  </a:cubicBezTo>
                  <a:cubicBezTo>
                    <a:pt x="3172" y="20794"/>
                    <a:pt x="3286" y="20756"/>
                    <a:pt x="3359" y="20729"/>
                  </a:cubicBezTo>
                  <a:cubicBezTo>
                    <a:pt x="3432" y="20703"/>
                    <a:pt x="3480" y="20629"/>
                    <a:pt x="3470" y="20572"/>
                  </a:cubicBezTo>
                  <a:cubicBezTo>
                    <a:pt x="3463" y="20514"/>
                    <a:pt x="3477" y="20392"/>
                    <a:pt x="3513" y="20301"/>
                  </a:cubicBezTo>
                  <a:cubicBezTo>
                    <a:pt x="3547" y="20210"/>
                    <a:pt x="3681" y="20245"/>
                    <a:pt x="3809" y="20376"/>
                  </a:cubicBezTo>
                  <a:cubicBezTo>
                    <a:pt x="3936" y="20510"/>
                    <a:pt x="4098" y="20717"/>
                    <a:pt x="4170" y="20840"/>
                  </a:cubicBezTo>
                  <a:cubicBezTo>
                    <a:pt x="4240" y="20964"/>
                    <a:pt x="4374" y="21077"/>
                    <a:pt x="4464" y="21103"/>
                  </a:cubicBezTo>
                  <a:cubicBezTo>
                    <a:pt x="4556" y="21123"/>
                    <a:pt x="4695" y="21261"/>
                    <a:pt x="4781" y="21399"/>
                  </a:cubicBezTo>
                  <a:cubicBezTo>
                    <a:pt x="4866" y="21535"/>
                    <a:pt x="4979" y="21600"/>
                    <a:pt x="5041" y="21541"/>
                  </a:cubicBezTo>
                  <a:cubicBezTo>
                    <a:pt x="5051" y="21531"/>
                    <a:pt x="5061" y="21520"/>
                    <a:pt x="5070" y="21509"/>
                  </a:cubicBezTo>
                  <a:cubicBezTo>
                    <a:pt x="5073" y="21505"/>
                    <a:pt x="5077" y="21500"/>
                    <a:pt x="5080" y="21496"/>
                  </a:cubicBezTo>
                  <a:cubicBezTo>
                    <a:pt x="5095" y="21477"/>
                    <a:pt x="5107" y="21457"/>
                    <a:pt x="5118" y="21438"/>
                  </a:cubicBezTo>
                  <a:lnTo>
                    <a:pt x="5118" y="21437"/>
                  </a:lnTo>
                  <a:cubicBezTo>
                    <a:pt x="5140" y="21395"/>
                    <a:pt x="5152" y="21356"/>
                    <a:pt x="5150" y="21330"/>
                  </a:cubicBezTo>
                  <a:cubicBezTo>
                    <a:pt x="5145" y="21278"/>
                    <a:pt x="5108" y="21231"/>
                    <a:pt x="5065" y="21231"/>
                  </a:cubicBezTo>
                  <a:cubicBezTo>
                    <a:pt x="5021" y="21231"/>
                    <a:pt x="4946" y="21115"/>
                    <a:pt x="4903" y="20974"/>
                  </a:cubicBezTo>
                  <a:cubicBezTo>
                    <a:pt x="4857" y="20833"/>
                    <a:pt x="4838" y="20674"/>
                    <a:pt x="4868" y="20622"/>
                  </a:cubicBezTo>
                  <a:cubicBezTo>
                    <a:pt x="4894" y="20568"/>
                    <a:pt x="4905" y="20482"/>
                    <a:pt x="4890" y="20430"/>
                  </a:cubicBezTo>
                  <a:cubicBezTo>
                    <a:pt x="4874" y="20378"/>
                    <a:pt x="4930" y="20246"/>
                    <a:pt x="5013" y="20142"/>
                  </a:cubicBezTo>
                  <a:cubicBezTo>
                    <a:pt x="5096" y="20037"/>
                    <a:pt x="5221" y="19942"/>
                    <a:pt x="5293" y="19942"/>
                  </a:cubicBezTo>
                  <a:cubicBezTo>
                    <a:pt x="5365" y="19942"/>
                    <a:pt x="5424" y="19879"/>
                    <a:pt x="5418" y="19810"/>
                  </a:cubicBezTo>
                  <a:cubicBezTo>
                    <a:pt x="5413" y="19740"/>
                    <a:pt x="5386" y="19655"/>
                    <a:pt x="5363" y="19610"/>
                  </a:cubicBezTo>
                  <a:cubicBezTo>
                    <a:pt x="5333" y="19573"/>
                    <a:pt x="5299" y="19465"/>
                    <a:pt x="5284" y="19375"/>
                  </a:cubicBezTo>
                  <a:cubicBezTo>
                    <a:pt x="5273" y="19283"/>
                    <a:pt x="5265" y="19178"/>
                    <a:pt x="5283" y="19141"/>
                  </a:cubicBezTo>
                  <a:cubicBezTo>
                    <a:pt x="5298" y="19102"/>
                    <a:pt x="5316" y="19048"/>
                    <a:pt x="5322" y="19019"/>
                  </a:cubicBezTo>
                  <a:cubicBezTo>
                    <a:pt x="5328" y="18991"/>
                    <a:pt x="5320" y="18932"/>
                    <a:pt x="5305" y="18888"/>
                  </a:cubicBezTo>
                  <a:cubicBezTo>
                    <a:pt x="5291" y="18846"/>
                    <a:pt x="5289" y="18768"/>
                    <a:pt x="5299" y="18716"/>
                  </a:cubicBezTo>
                  <a:cubicBezTo>
                    <a:pt x="5310" y="18664"/>
                    <a:pt x="5395" y="18550"/>
                    <a:pt x="5483" y="18459"/>
                  </a:cubicBezTo>
                  <a:cubicBezTo>
                    <a:pt x="5571" y="18367"/>
                    <a:pt x="5679" y="18273"/>
                    <a:pt x="5724" y="18254"/>
                  </a:cubicBezTo>
                  <a:cubicBezTo>
                    <a:pt x="5768" y="18236"/>
                    <a:pt x="5829" y="18196"/>
                    <a:pt x="5859" y="18171"/>
                  </a:cubicBezTo>
                  <a:cubicBezTo>
                    <a:pt x="5889" y="18145"/>
                    <a:pt x="5978" y="18103"/>
                    <a:pt x="6058" y="18084"/>
                  </a:cubicBezTo>
                  <a:cubicBezTo>
                    <a:pt x="6139" y="18064"/>
                    <a:pt x="6254" y="18044"/>
                    <a:pt x="6316" y="18050"/>
                  </a:cubicBezTo>
                  <a:cubicBezTo>
                    <a:pt x="6379" y="18050"/>
                    <a:pt x="6456" y="18053"/>
                    <a:pt x="6488" y="18053"/>
                  </a:cubicBezTo>
                  <a:cubicBezTo>
                    <a:pt x="6520" y="18053"/>
                    <a:pt x="6645" y="18049"/>
                    <a:pt x="6763" y="18049"/>
                  </a:cubicBezTo>
                  <a:cubicBezTo>
                    <a:pt x="6882" y="18043"/>
                    <a:pt x="7006" y="18018"/>
                    <a:pt x="7041" y="17980"/>
                  </a:cubicBezTo>
                  <a:cubicBezTo>
                    <a:pt x="7076" y="17942"/>
                    <a:pt x="7156" y="17905"/>
                    <a:pt x="7220" y="17898"/>
                  </a:cubicBezTo>
                  <a:cubicBezTo>
                    <a:pt x="7284" y="17892"/>
                    <a:pt x="7370" y="17909"/>
                    <a:pt x="7415" y="17921"/>
                  </a:cubicBezTo>
                  <a:cubicBezTo>
                    <a:pt x="7458" y="17940"/>
                    <a:pt x="7580" y="17979"/>
                    <a:pt x="7689" y="17992"/>
                  </a:cubicBezTo>
                  <a:cubicBezTo>
                    <a:pt x="7796" y="18012"/>
                    <a:pt x="7923" y="18053"/>
                    <a:pt x="7968" y="18089"/>
                  </a:cubicBezTo>
                  <a:cubicBezTo>
                    <a:pt x="8015" y="18121"/>
                    <a:pt x="8105" y="18160"/>
                    <a:pt x="8170" y="18173"/>
                  </a:cubicBezTo>
                  <a:cubicBezTo>
                    <a:pt x="8234" y="18179"/>
                    <a:pt x="8382" y="18235"/>
                    <a:pt x="8495" y="18293"/>
                  </a:cubicBezTo>
                  <a:cubicBezTo>
                    <a:pt x="8611" y="18346"/>
                    <a:pt x="8737" y="18432"/>
                    <a:pt x="8770" y="18489"/>
                  </a:cubicBezTo>
                  <a:cubicBezTo>
                    <a:pt x="8807" y="18541"/>
                    <a:pt x="8901" y="18720"/>
                    <a:pt x="8989" y="18876"/>
                  </a:cubicBezTo>
                  <a:cubicBezTo>
                    <a:pt x="9072" y="19034"/>
                    <a:pt x="9205" y="19209"/>
                    <a:pt x="9280" y="19270"/>
                  </a:cubicBezTo>
                  <a:cubicBezTo>
                    <a:pt x="9358" y="19323"/>
                    <a:pt x="9451" y="19359"/>
                    <a:pt x="9491" y="19340"/>
                  </a:cubicBezTo>
                  <a:cubicBezTo>
                    <a:pt x="9528" y="19316"/>
                    <a:pt x="9595" y="19246"/>
                    <a:pt x="9642" y="19181"/>
                  </a:cubicBezTo>
                  <a:cubicBezTo>
                    <a:pt x="9688" y="19117"/>
                    <a:pt x="9766" y="19057"/>
                    <a:pt x="9820" y="19043"/>
                  </a:cubicBezTo>
                  <a:cubicBezTo>
                    <a:pt x="9875" y="19037"/>
                    <a:pt x="9967" y="19002"/>
                    <a:pt x="10025" y="18963"/>
                  </a:cubicBezTo>
                  <a:cubicBezTo>
                    <a:pt x="10082" y="18923"/>
                    <a:pt x="10222" y="18876"/>
                    <a:pt x="10332" y="18844"/>
                  </a:cubicBezTo>
                  <a:cubicBezTo>
                    <a:pt x="10442" y="18818"/>
                    <a:pt x="10544" y="18774"/>
                    <a:pt x="10560" y="18754"/>
                  </a:cubicBezTo>
                  <a:cubicBezTo>
                    <a:pt x="10576" y="18733"/>
                    <a:pt x="10639" y="18714"/>
                    <a:pt x="10702" y="18721"/>
                  </a:cubicBezTo>
                  <a:cubicBezTo>
                    <a:pt x="10766" y="18721"/>
                    <a:pt x="10870" y="18788"/>
                    <a:pt x="10942" y="18846"/>
                  </a:cubicBezTo>
                  <a:cubicBezTo>
                    <a:pt x="11009" y="18912"/>
                    <a:pt x="11066" y="18996"/>
                    <a:pt x="11066" y="19034"/>
                  </a:cubicBezTo>
                  <a:cubicBezTo>
                    <a:pt x="11066" y="19072"/>
                    <a:pt x="11129" y="19132"/>
                    <a:pt x="11206" y="19171"/>
                  </a:cubicBezTo>
                  <a:cubicBezTo>
                    <a:pt x="11285" y="19203"/>
                    <a:pt x="11450" y="19306"/>
                    <a:pt x="11572" y="19393"/>
                  </a:cubicBezTo>
                  <a:cubicBezTo>
                    <a:pt x="11693" y="19482"/>
                    <a:pt x="11861" y="19565"/>
                    <a:pt x="11941" y="19572"/>
                  </a:cubicBezTo>
                  <a:cubicBezTo>
                    <a:pt x="12021" y="19585"/>
                    <a:pt x="12213" y="19649"/>
                    <a:pt x="12368" y="19723"/>
                  </a:cubicBezTo>
                  <a:cubicBezTo>
                    <a:pt x="12522" y="19794"/>
                    <a:pt x="12706" y="19867"/>
                    <a:pt x="12776" y="19886"/>
                  </a:cubicBezTo>
                  <a:cubicBezTo>
                    <a:pt x="12846" y="19907"/>
                    <a:pt x="12981" y="19855"/>
                    <a:pt x="13077" y="19773"/>
                  </a:cubicBezTo>
                  <a:cubicBezTo>
                    <a:pt x="13171" y="19688"/>
                    <a:pt x="13330" y="19475"/>
                    <a:pt x="13433" y="19299"/>
                  </a:cubicBezTo>
                  <a:cubicBezTo>
                    <a:pt x="13532" y="19121"/>
                    <a:pt x="13683" y="18955"/>
                    <a:pt x="13764" y="18920"/>
                  </a:cubicBezTo>
                  <a:cubicBezTo>
                    <a:pt x="13844" y="18887"/>
                    <a:pt x="14077" y="18868"/>
                    <a:pt x="14277" y="18888"/>
                  </a:cubicBezTo>
                  <a:cubicBezTo>
                    <a:pt x="14477" y="18901"/>
                    <a:pt x="14709" y="18865"/>
                    <a:pt x="14793" y="18811"/>
                  </a:cubicBezTo>
                  <a:cubicBezTo>
                    <a:pt x="14878" y="18760"/>
                    <a:pt x="15082" y="18735"/>
                    <a:pt x="15251" y="18754"/>
                  </a:cubicBezTo>
                  <a:cubicBezTo>
                    <a:pt x="15420" y="18774"/>
                    <a:pt x="15658" y="18854"/>
                    <a:pt x="15779" y="18927"/>
                  </a:cubicBezTo>
                  <a:cubicBezTo>
                    <a:pt x="15901" y="18997"/>
                    <a:pt x="16088" y="19064"/>
                    <a:pt x="16196" y="19064"/>
                  </a:cubicBezTo>
                  <a:cubicBezTo>
                    <a:pt x="16303" y="19071"/>
                    <a:pt x="16425" y="19104"/>
                    <a:pt x="16470" y="19142"/>
                  </a:cubicBezTo>
                  <a:cubicBezTo>
                    <a:pt x="16515" y="19177"/>
                    <a:pt x="16645" y="19169"/>
                    <a:pt x="16762" y="19109"/>
                  </a:cubicBezTo>
                  <a:cubicBezTo>
                    <a:pt x="16880" y="19051"/>
                    <a:pt x="16984" y="18983"/>
                    <a:pt x="16994" y="18959"/>
                  </a:cubicBezTo>
                  <a:cubicBezTo>
                    <a:pt x="17005" y="18938"/>
                    <a:pt x="17077" y="18884"/>
                    <a:pt x="17157" y="18843"/>
                  </a:cubicBezTo>
                  <a:cubicBezTo>
                    <a:pt x="17237" y="18803"/>
                    <a:pt x="17320" y="18720"/>
                    <a:pt x="17346" y="18662"/>
                  </a:cubicBezTo>
                  <a:cubicBezTo>
                    <a:pt x="17369" y="18604"/>
                    <a:pt x="17428" y="18542"/>
                    <a:pt x="17476" y="18522"/>
                  </a:cubicBezTo>
                  <a:cubicBezTo>
                    <a:pt x="17526" y="18503"/>
                    <a:pt x="17613" y="18511"/>
                    <a:pt x="17668" y="18542"/>
                  </a:cubicBezTo>
                  <a:cubicBezTo>
                    <a:pt x="17725" y="18568"/>
                    <a:pt x="17799" y="18576"/>
                    <a:pt x="17836" y="18556"/>
                  </a:cubicBezTo>
                  <a:cubicBezTo>
                    <a:pt x="17870" y="18527"/>
                    <a:pt x="17913" y="18465"/>
                    <a:pt x="17928" y="18403"/>
                  </a:cubicBezTo>
                  <a:cubicBezTo>
                    <a:pt x="17944" y="18342"/>
                    <a:pt x="17987" y="18215"/>
                    <a:pt x="18033" y="18125"/>
                  </a:cubicBezTo>
                  <a:cubicBezTo>
                    <a:pt x="18078" y="18034"/>
                    <a:pt x="18172" y="17987"/>
                    <a:pt x="18241" y="18020"/>
                  </a:cubicBezTo>
                  <a:close/>
                  <a:moveTo>
                    <a:pt x="18241" y="180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3" name="AutoShape 845"/>
            <p:cNvSpPr>
              <a:spLocks/>
            </p:cNvSpPr>
            <p:nvPr/>
          </p:nvSpPr>
          <p:spPr bwMode="auto">
            <a:xfrm>
              <a:off x="7962900" y="4406900"/>
              <a:ext cx="38100" cy="9525"/>
            </a:xfrm>
            <a:custGeom>
              <a:avLst/>
              <a:gdLst/>
              <a:ahLst/>
              <a:cxnLst/>
              <a:rect l="0" t="0" r="r" b="b"/>
              <a:pathLst>
                <a:path w="21600" h="21600">
                  <a:moveTo>
                    <a:pt x="21600" y="21600"/>
                  </a:moveTo>
                  <a:cubicBezTo>
                    <a:pt x="20931" y="20963"/>
                    <a:pt x="20261" y="20313"/>
                    <a:pt x="19578" y="19676"/>
                  </a:cubicBezTo>
                  <a:cubicBezTo>
                    <a:pt x="14503" y="14971"/>
                    <a:pt x="8660" y="5427"/>
                    <a:pt x="0" y="0"/>
                  </a:cubicBezTo>
                  <a:cubicBezTo>
                    <a:pt x="4838" y="5462"/>
                    <a:pt x="11902" y="12654"/>
                    <a:pt x="19592" y="19738"/>
                  </a:cubicBezTo>
                  <a:cubicBezTo>
                    <a:pt x="20276" y="20350"/>
                    <a:pt x="20931" y="20988"/>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4" name="AutoShape 846"/>
            <p:cNvSpPr>
              <a:spLocks/>
            </p:cNvSpPr>
            <p:nvPr/>
          </p:nvSpPr>
          <p:spPr bwMode="auto">
            <a:xfrm>
              <a:off x="7581900" y="4610100"/>
              <a:ext cx="38100" cy="7938"/>
            </a:xfrm>
            <a:custGeom>
              <a:avLst/>
              <a:gdLst/>
              <a:ahLst/>
              <a:cxnLst/>
              <a:rect l="0" t="0" r="r" b="b"/>
              <a:pathLst>
                <a:path w="21600" h="21600">
                  <a:moveTo>
                    <a:pt x="0" y="21600"/>
                  </a:moveTo>
                  <a:cubicBezTo>
                    <a:pt x="41" y="21600"/>
                    <a:pt x="9763" y="12112"/>
                    <a:pt x="21600" y="0"/>
                  </a:cubicBezTo>
                  <a:cubicBezTo>
                    <a:pt x="15661" y="5853"/>
                    <a:pt x="8653" y="12745"/>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5" name="AutoShape 847"/>
            <p:cNvSpPr>
              <a:spLocks/>
            </p:cNvSpPr>
            <p:nvPr/>
          </p:nvSpPr>
          <p:spPr bwMode="auto">
            <a:xfrm>
              <a:off x="7899400" y="4406900"/>
              <a:ext cx="52388" cy="33338"/>
            </a:xfrm>
            <a:custGeom>
              <a:avLst/>
              <a:gdLst/>
              <a:ahLst/>
              <a:cxnLst/>
              <a:rect l="0" t="0" r="r" b="b"/>
              <a:pathLst>
                <a:path w="21600" h="21600">
                  <a:moveTo>
                    <a:pt x="0" y="21600"/>
                  </a:moveTo>
                  <a:cubicBezTo>
                    <a:pt x="11907" y="9711"/>
                    <a:pt x="21600" y="0"/>
                    <a:pt x="21600" y="0"/>
                  </a:cubicBezTo>
                  <a:cubicBezTo>
                    <a:pt x="14201" y="7126"/>
                    <a:pt x="6597" y="15035"/>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6" name="AutoShape 848"/>
            <p:cNvSpPr>
              <a:spLocks/>
            </p:cNvSpPr>
            <p:nvPr/>
          </p:nvSpPr>
          <p:spPr bwMode="auto">
            <a:xfrm>
              <a:off x="7581900" y="4622800"/>
              <a:ext cx="0" cy="0"/>
            </a:xfrm>
            <a:custGeom>
              <a:avLst/>
              <a:gdLst/>
              <a:ahLst/>
              <a:cxnLst/>
              <a:rect l="0" t="0" r="r" b="b"/>
              <a:pathLst>
                <a:path w="21600" h="21600">
                  <a:moveTo>
                    <a:pt x="0" y="0"/>
                  </a:moveTo>
                  <a:cubicBezTo>
                    <a:pt x="21600" y="6979"/>
                    <a:pt x="0" y="14621"/>
                    <a:pt x="21600" y="21600"/>
                  </a:cubicBezTo>
                  <a:cubicBezTo>
                    <a:pt x="21600" y="8397"/>
                    <a:pt x="21600" y="0"/>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7" name="AutoShape 849"/>
            <p:cNvSpPr>
              <a:spLocks/>
            </p:cNvSpPr>
            <p:nvPr/>
          </p:nvSpPr>
          <p:spPr bwMode="auto">
            <a:xfrm>
              <a:off x="7505700" y="4902200"/>
              <a:ext cx="569913" cy="487363"/>
            </a:xfrm>
            <a:custGeom>
              <a:avLst/>
              <a:gdLst/>
              <a:ahLst/>
              <a:cxnLst/>
              <a:rect l="0" t="0" r="r" b="b"/>
              <a:pathLst>
                <a:path w="21590" h="21580">
                  <a:moveTo>
                    <a:pt x="11016" y="19428"/>
                  </a:moveTo>
                  <a:cubicBezTo>
                    <a:pt x="11071" y="19277"/>
                    <a:pt x="11106" y="19039"/>
                    <a:pt x="11092" y="18898"/>
                  </a:cubicBezTo>
                  <a:cubicBezTo>
                    <a:pt x="11070" y="18757"/>
                    <a:pt x="11066" y="18537"/>
                    <a:pt x="11058" y="18411"/>
                  </a:cubicBezTo>
                  <a:cubicBezTo>
                    <a:pt x="11058" y="18286"/>
                    <a:pt x="11103" y="18145"/>
                    <a:pt x="11164" y="18098"/>
                  </a:cubicBezTo>
                  <a:cubicBezTo>
                    <a:pt x="11222" y="18046"/>
                    <a:pt x="11278" y="17940"/>
                    <a:pt x="11278" y="17854"/>
                  </a:cubicBezTo>
                  <a:cubicBezTo>
                    <a:pt x="11278" y="17768"/>
                    <a:pt x="11354" y="17625"/>
                    <a:pt x="11437" y="17528"/>
                  </a:cubicBezTo>
                  <a:cubicBezTo>
                    <a:pt x="11524" y="17436"/>
                    <a:pt x="11665" y="17292"/>
                    <a:pt x="11756" y="17227"/>
                  </a:cubicBezTo>
                  <a:cubicBezTo>
                    <a:pt x="11845" y="17154"/>
                    <a:pt x="11956" y="17042"/>
                    <a:pt x="12003" y="16979"/>
                  </a:cubicBezTo>
                  <a:cubicBezTo>
                    <a:pt x="12054" y="16920"/>
                    <a:pt x="12216" y="16753"/>
                    <a:pt x="12370" y="16615"/>
                  </a:cubicBezTo>
                  <a:cubicBezTo>
                    <a:pt x="12529" y="16485"/>
                    <a:pt x="12647" y="16267"/>
                    <a:pt x="12640" y="16147"/>
                  </a:cubicBezTo>
                  <a:cubicBezTo>
                    <a:pt x="12633" y="16027"/>
                    <a:pt x="12651" y="15879"/>
                    <a:pt x="12673" y="15812"/>
                  </a:cubicBezTo>
                  <a:cubicBezTo>
                    <a:pt x="12708" y="15754"/>
                    <a:pt x="12814" y="15696"/>
                    <a:pt x="12926" y="15679"/>
                  </a:cubicBezTo>
                  <a:cubicBezTo>
                    <a:pt x="13039" y="15671"/>
                    <a:pt x="13169" y="15596"/>
                    <a:pt x="13225" y="15523"/>
                  </a:cubicBezTo>
                  <a:cubicBezTo>
                    <a:pt x="13272" y="15445"/>
                    <a:pt x="13337" y="15408"/>
                    <a:pt x="13361" y="15436"/>
                  </a:cubicBezTo>
                  <a:cubicBezTo>
                    <a:pt x="13388" y="15460"/>
                    <a:pt x="13514" y="15525"/>
                    <a:pt x="13650" y="15572"/>
                  </a:cubicBezTo>
                  <a:cubicBezTo>
                    <a:pt x="13787" y="15623"/>
                    <a:pt x="13943" y="15662"/>
                    <a:pt x="13997" y="15644"/>
                  </a:cubicBezTo>
                  <a:cubicBezTo>
                    <a:pt x="14049" y="15637"/>
                    <a:pt x="14173" y="15675"/>
                    <a:pt x="14268" y="15730"/>
                  </a:cubicBezTo>
                  <a:cubicBezTo>
                    <a:pt x="14366" y="15779"/>
                    <a:pt x="14486" y="15925"/>
                    <a:pt x="14536" y="16043"/>
                  </a:cubicBezTo>
                  <a:cubicBezTo>
                    <a:pt x="14584" y="16163"/>
                    <a:pt x="14701" y="16314"/>
                    <a:pt x="14785" y="16388"/>
                  </a:cubicBezTo>
                  <a:cubicBezTo>
                    <a:pt x="14866" y="16466"/>
                    <a:pt x="14991" y="16532"/>
                    <a:pt x="15047" y="16564"/>
                  </a:cubicBezTo>
                  <a:cubicBezTo>
                    <a:pt x="15103" y="16594"/>
                    <a:pt x="15242" y="16554"/>
                    <a:pt x="15349" y="16470"/>
                  </a:cubicBezTo>
                  <a:cubicBezTo>
                    <a:pt x="15456" y="16387"/>
                    <a:pt x="15610" y="16221"/>
                    <a:pt x="15678" y="16085"/>
                  </a:cubicBezTo>
                  <a:cubicBezTo>
                    <a:pt x="15744" y="15948"/>
                    <a:pt x="15811" y="15801"/>
                    <a:pt x="15811" y="15750"/>
                  </a:cubicBezTo>
                  <a:cubicBezTo>
                    <a:pt x="15811" y="15697"/>
                    <a:pt x="15847" y="15598"/>
                    <a:pt x="15887" y="15528"/>
                  </a:cubicBezTo>
                  <a:cubicBezTo>
                    <a:pt x="15922" y="15454"/>
                    <a:pt x="16025" y="15377"/>
                    <a:pt x="16104" y="15343"/>
                  </a:cubicBezTo>
                  <a:cubicBezTo>
                    <a:pt x="16182" y="15313"/>
                    <a:pt x="16294" y="15193"/>
                    <a:pt x="16358" y="15085"/>
                  </a:cubicBezTo>
                  <a:cubicBezTo>
                    <a:pt x="16419" y="14974"/>
                    <a:pt x="16470" y="14813"/>
                    <a:pt x="16463" y="14726"/>
                  </a:cubicBezTo>
                  <a:cubicBezTo>
                    <a:pt x="16456" y="14641"/>
                    <a:pt x="16492" y="14451"/>
                    <a:pt x="16535" y="14308"/>
                  </a:cubicBezTo>
                  <a:cubicBezTo>
                    <a:pt x="16579" y="14164"/>
                    <a:pt x="16746" y="13893"/>
                    <a:pt x="16904" y="13702"/>
                  </a:cubicBezTo>
                  <a:cubicBezTo>
                    <a:pt x="17065" y="13513"/>
                    <a:pt x="17207" y="13275"/>
                    <a:pt x="17234" y="13179"/>
                  </a:cubicBezTo>
                  <a:cubicBezTo>
                    <a:pt x="17255" y="13081"/>
                    <a:pt x="17257" y="12931"/>
                    <a:pt x="17235" y="12845"/>
                  </a:cubicBezTo>
                  <a:cubicBezTo>
                    <a:pt x="17206" y="12762"/>
                    <a:pt x="17244" y="12619"/>
                    <a:pt x="17287" y="12519"/>
                  </a:cubicBezTo>
                  <a:cubicBezTo>
                    <a:pt x="17337" y="12427"/>
                    <a:pt x="17491" y="12210"/>
                    <a:pt x="17625" y="12038"/>
                  </a:cubicBezTo>
                  <a:cubicBezTo>
                    <a:pt x="17762" y="11869"/>
                    <a:pt x="17956" y="11659"/>
                    <a:pt x="18058" y="11574"/>
                  </a:cubicBezTo>
                  <a:cubicBezTo>
                    <a:pt x="18164" y="11492"/>
                    <a:pt x="18264" y="11317"/>
                    <a:pt x="18271" y="11189"/>
                  </a:cubicBezTo>
                  <a:cubicBezTo>
                    <a:pt x="18284" y="11064"/>
                    <a:pt x="18326" y="10887"/>
                    <a:pt x="18367" y="10801"/>
                  </a:cubicBezTo>
                  <a:cubicBezTo>
                    <a:pt x="18403" y="10709"/>
                    <a:pt x="18428" y="10491"/>
                    <a:pt x="18414" y="10306"/>
                  </a:cubicBezTo>
                  <a:cubicBezTo>
                    <a:pt x="18394" y="10123"/>
                    <a:pt x="18450" y="9906"/>
                    <a:pt x="18523" y="9821"/>
                  </a:cubicBezTo>
                  <a:cubicBezTo>
                    <a:pt x="18596" y="9735"/>
                    <a:pt x="18770" y="9626"/>
                    <a:pt x="18906" y="9578"/>
                  </a:cubicBezTo>
                  <a:cubicBezTo>
                    <a:pt x="19044" y="9530"/>
                    <a:pt x="19230" y="9375"/>
                    <a:pt x="19318" y="9237"/>
                  </a:cubicBezTo>
                  <a:cubicBezTo>
                    <a:pt x="19407" y="9103"/>
                    <a:pt x="19503" y="8879"/>
                    <a:pt x="19523" y="8739"/>
                  </a:cubicBezTo>
                  <a:cubicBezTo>
                    <a:pt x="19551" y="8600"/>
                    <a:pt x="19564" y="8357"/>
                    <a:pt x="19571" y="8202"/>
                  </a:cubicBezTo>
                  <a:cubicBezTo>
                    <a:pt x="19571" y="8045"/>
                    <a:pt x="19568" y="7841"/>
                    <a:pt x="19555" y="7750"/>
                  </a:cubicBezTo>
                  <a:cubicBezTo>
                    <a:pt x="19548" y="7658"/>
                    <a:pt x="19583" y="7485"/>
                    <a:pt x="19643" y="7369"/>
                  </a:cubicBezTo>
                  <a:cubicBezTo>
                    <a:pt x="19706" y="7255"/>
                    <a:pt x="19824" y="6988"/>
                    <a:pt x="19909" y="6781"/>
                  </a:cubicBezTo>
                  <a:cubicBezTo>
                    <a:pt x="19994" y="6574"/>
                    <a:pt x="20111" y="6366"/>
                    <a:pt x="20166" y="6310"/>
                  </a:cubicBezTo>
                  <a:cubicBezTo>
                    <a:pt x="20221" y="6255"/>
                    <a:pt x="20280" y="6170"/>
                    <a:pt x="20292" y="6116"/>
                  </a:cubicBezTo>
                  <a:cubicBezTo>
                    <a:pt x="20305" y="6063"/>
                    <a:pt x="20403" y="5944"/>
                    <a:pt x="20501" y="5846"/>
                  </a:cubicBezTo>
                  <a:cubicBezTo>
                    <a:pt x="20600" y="5754"/>
                    <a:pt x="20726" y="5680"/>
                    <a:pt x="20783" y="5680"/>
                  </a:cubicBezTo>
                  <a:cubicBezTo>
                    <a:pt x="20841" y="5688"/>
                    <a:pt x="20947" y="5611"/>
                    <a:pt x="21015" y="5516"/>
                  </a:cubicBezTo>
                  <a:cubicBezTo>
                    <a:pt x="21083" y="5420"/>
                    <a:pt x="21235" y="5286"/>
                    <a:pt x="21353" y="5220"/>
                  </a:cubicBezTo>
                  <a:cubicBezTo>
                    <a:pt x="21472" y="5156"/>
                    <a:pt x="21569" y="5035"/>
                    <a:pt x="21588" y="4962"/>
                  </a:cubicBezTo>
                  <a:cubicBezTo>
                    <a:pt x="21595" y="4884"/>
                    <a:pt x="21580" y="4693"/>
                    <a:pt x="21545" y="4536"/>
                  </a:cubicBezTo>
                  <a:cubicBezTo>
                    <a:pt x="21510" y="4379"/>
                    <a:pt x="21485" y="4195"/>
                    <a:pt x="21478" y="4128"/>
                  </a:cubicBezTo>
                  <a:cubicBezTo>
                    <a:pt x="21478" y="4061"/>
                    <a:pt x="21440" y="3929"/>
                    <a:pt x="21413" y="3829"/>
                  </a:cubicBezTo>
                  <a:cubicBezTo>
                    <a:pt x="21378" y="3732"/>
                    <a:pt x="21281" y="3632"/>
                    <a:pt x="21193" y="3601"/>
                  </a:cubicBezTo>
                  <a:cubicBezTo>
                    <a:pt x="21103" y="3576"/>
                    <a:pt x="21000" y="3465"/>
                    <a:pt x="20957" y="3358"/>
                  </a:cubicBezTo>
                  <a:cubicBezTo>
                    <a:pt x="20918" y="3250"/>
                    <a:pt x="20890" y="3014"/>
                    <a:pt x="20897" y="2830"/>
                  </a:cubicBezTo>
                  <a:cubicBezTo>
                    <a:pt x="20911" y="2645"/>
                    <a:pt x="20905" y="2416"/>
                    <a:pt x="20893" y="2325"/>
                  </a:cubicBezTo>
                  <a:cubicBezTo>
                    <a:pt x="20878" y="2232"/>
                    <a:pt x="20833" y="2035"/>
                    <a:pt x="20793" y="1885"/>
                  </a:cubicBezTo>
                  <a:cubicBezTo>
                    <a:pt x="20750" y="1737"/>
                    <a:pt x="20718" y="1616"/>
                    <a:pt x="20716" y="1616"/>
                  </a:cubicBezTo>
                  <a:cubicBezTo>
                    <a:pt x="20718" y="1616"/>
                    <a:pt x="20713" y="1611"/>
                    <a:pt x="20707" y="1605"/>
                  </a:cubicBezTo>
                  <a:cubicBezTo>
                    <a:pt x="20702" y="1599"/>
                    <a:pt x="20641" y="1476"/>
                    <a:pt x="20571" y="1330"/>
                  </a:cubicBezTo>
                  <a:cubicBezTo>
                    <a:pt x="20499" y="1187"/>
                    <a:pt x="20337" y="905"/>
                    <a:pt x="20211" y="701"/>
                  </a:cubicBezTo>
                  <a:cubicBezTo>
                    <a:pt x="20086" y="497"/>
                    <a:pt x="19850" y="269"/>
                    <a:pt x="19688" y="206"/>
                  </a:cubicBezTo>
                  <a:cubicBezTo>
                    <a:pt x="19532" y="132"/>
                    <a:pt x="19349" y="170"/>
                    <a:pt x="19289" y="283"/>
                  </a:cubicBezTo>
                  <a:cubicBezTo>
                    <a:pt x="19227" y="396"/>
                    <a:pt x="19170" y="554"/>
                    <a:pt x="19148" y="629"/>
                  </a:cubicBezTo>
                  <a:cubicBezTo>
                    <a:pt x="19128" y="706"/>
                    <a:pt x="19070" y="783"/>
                    <a:pt x="19025" y="818"/>
                  </a:cubicBezTo>
                  <a:cubicBezTo>
                    <a:pt x="18975" y="844"/>
                    <a:pt x="18876" y="834"/>
                    <a:pt x="18799" y="801"/>
                  </a:cubicBezTo>
                  <a:cubicBezTo>
                    <a:pt x="18725" y="763"/>
                    <a:pt x="18608" y="753"/>
                    <a:pt x="18541" y="776"/>
                  </a:cubicBezTo>
                  <a:cubicBezTo>
                    <a:pt x="18477" y="801"/>
                    <a:pt x="18398" y="878"/>
                    <a:pt x="18367" y="951"/>
                  </a:cubicBezTo>
                  <a:cubicBezTo>
                    <a:pt x="18333" y="1023"/>
                    <a:pt x="18221" y="1126"/>
                    <a:pt x="18114" y="1176"/>
                  </a:cubicBezTo>
                  <a:cubicBezTo>
                    <a:pt x="18007" y="1226"/>
                    <a:pt x="17873" y="1362"/>
                    <a:pt x="17826" y="1481"/>
                  </a:cubicBezTo>
                  <a:cubicBezTo>
                    <a:pt x="17820" y="1495"/>
                    <a:pt x="17811" y="1508"/>
                    <a:pt x="17803" y="1522"/>
                  </a:cubicBezTo>
                  <a:cubicBezTo>
                    <a:pt x="17802" y="1527"/>
                    <a:pt x="17805" y="1530"/>
                    <a:pt x="17802" y="1535"/>
                  </a:cubicBezTo>
                  <a:cubicBezTo>
                    <a:pt x="17761" y="1623"/>
                    <a:pt x="17670" y="1715"/>
                    <a:pt x="17594" y="1737"/>
                  </a:cubicBezTo>
                  <a:cubicBezTo>
                    <a:pt x="17518" y="1761"/>
                    <a:pt x="17423" y="1739"/>
                    <a:pt x="17376" y="1708"/>
                  </a:cubicBezTo>
                  <a:cubicBezTo>
                    <a:pt x="17369" y="1702"/>
                    <a:pt x="17372" y="1692"/>
                    <a:pt x="17372" y="1684"/>
                  </a:cubicBezTo>
                  <a:cubicBezTo>
                    <a:pt x="17336" y="1664"/>
                    <a:pt x="17303" y="1642"/>
                    <a:pt x="17272" y="1617"/>
                  </a:cubicBezTo>
                  <a:cubicBezTo>
                    <a:pt x="17175" y="1521"/>
                    <a:pt x="16969" y="1458"/>
                    <a:pt x="16825" y="1451"/>
                  </a:cubicBezTo>
                  <a:cubicBezTo>
                    <a:pt x="16680" y="1451"/>
                    <a:pt x="16428" y="1367"/>
                    <a:pt x="16265" y="1280"/>
                  </a:cubicBezTo>
                  <a:cubicBezTo>
                    <a:pt x="16103" y="1190"/>
                    <a:pt x="15784" y="1090"/>
                    <a:pt x="15557" y="1065"/>
                  </a:cubicBezTo>
                  <a:cubicBezTo>
                    <a:pt x="15331" y="1041"/>
                    <a:pt x="15057" y="1073"/>
                    <a:pt x="14942" y="1135"/>
                  </a:cubicBezTo>
                  <a:cubicBezTo>
                    <a:pt x="14829" y="1202"/>
                    <a:pt x="14519" y="1247"/>
                    <a:pt x="14250" y="1231"/>
                  </a:cubicBezTo>
                  <a:cubicBezTo>
                    <a:pt x="13982" y="1206"/>
                    <a:pt x="13670" y="1230"/>
                    <a:pt x="13562" y="1271"/>
                  </a:cubicBezTo>
                  <a:cubicBezTo>
                    <a:pt x="13453" y="1314"/>
                    <a:pt x="13251" y="1520"/>
                    <a:pt x="13118" y="1742"/>
                  </a:cubicBezTo>
                  <a:cubicBezTo>
                    <a:pt x="12980" y="1960"/>
                    <a:pt x="12766" y="2225"/>
                    <a:pt x="12641" y="2331"/>
                  </a:cubicBezTo>
                  <a:cubicBezTo>
                    <a:pt x="12512" y="2433"/>
                    <a:pt x="12331" y="2496"/>
                    <a:pt x="12237" y="2471"/>
                  </a:cubicBezTo>
                  <a:cubicBezTo>
                    <a:pt x="12142" y="2448"/>
                    <a:pt x="11896" y="2357"/>
                    <a:pt x="11689" y="2269"/>
                  </a:cubicBezTo>
                  <a:cubicBezTo>
                    <a:pt x="11482" y="2177"/>
                    <a:pt x="11224" y="2097"/>
                    <a:pt x="11117" y="2080"/>
                  </a:cubicBezTo>
                  <a:cubicBezTo>
                    <a:pt x="11010" y="2072"/>
                    <a:pt x="10784" y="1970"/>
                    <a:pt x="10621" y="1859"/>
                  </a:cubicBezTo>
                  <a:cubicBezTo>
                    <a:pt x="10457" y="1751"/>
                    <a:pt x="10237" y="1623"/>
                    <a:pt x="10131" y="1583"/>
                  </a:cubicBezTo>
                  <a:cubicBezTo>
                    <a:pt x="10027" y="1534"/>
                    <a:pt x="9942" y="1460"/>
                    <a:pt x="9942" y="1413"/>
                  </a:cubicBezTo>
                  <a:cubicBezTo>
                    <a:pt x="9942" y="1366"/>
                    <a:pt x="9867" y="1261"/>
                    <a:pt x="9777" y="1180"/>
                  </a:cubicBezTo>
                  <a:cubicBezTo>
                    <a:pt x="9680" y="1107"/>
                    <a:pt x="9541" y="1024"/>
                    <a:pt x="9455" y="1024"/>
                  </a:cubicBezTo>
                  <a:cubicBezTo>
                    <a:pt x="9370" y="1016"/>
                    <a:pt x="9285" y="1039"/>
                    <a:pt x="9264" y="1065"/>
                  </a:cubicBezTo>
                  <a:cubicBezTo>
                    <a:pt x="9242" y="1089"/>
                    <a:pt x="9106" y="1144"/>
                    <a:pt x="8959" y="1177"/>
                  </a:cubicBezTo>
                  <a:cubicBezTo>
                    <a:pt x="8810" y="1216"/>
                    <a:pt x="8623" y="1275"/>
                    <a:pt x="8546" y="1324"/>
                  </a:cubicBezTo>
                  <a:cubicBezTo>
                    <a:pt x="8469" y="1373"/>
                    <a:pt x="8345" y="1417"/>
                    <a:pt x="8271" y="1424"/>
                  </a:cubicBezTo>
                  <a:cubicBezTo>
                    <a:pt x="8199" y="1441"/>
                    <a:pt x="8094" y="1516"/>
                    <a:pt x="8033" y="1596"/>
                  </a:cubicBezTo>
                  <a:cubicBezTo>
                    <a:pt x="7970" y="1676"/>
                    <a:pt x="7880" y="1764"/>
                    <a:pt x="7830" y="1793"/>
                  </a:cubicBezTo>
                  <a:cubicBezTo>
                    <a:pt x="7776" y="1817"/>
                    <a:pt x="7652" y="1771"/>
                    <a:pt x="7547" y="1706"/>
                  </a:cubicBezTo>
                  <a:cubicBezTo>
                    <a:pt x="7446" y="1630"/>
                    <a:pt x="7268" y="1413"/>
                    <a:pt x="7156" y="1216"/>
                  </a:cubicBezTo>
                  <a:cubicBezTo>
                    <a:pt x="7038" y="1022"/>
                    <a:pt x="6913" y="801"/>
                    <a:pt x="6863" y="736"/>
                  </a:cubicBezTo>
                  <a:cubicBezTo>
                    <a:pt x="6818" y="665"/>
                    <a:pt x="6650" y="559"/>
                    <a:pt x="6494" y="492"/>
                  </a:cubicBezTo>
                  <a:cubicBezTo>
                    <a:pt x="6342" y="420"/>
                    <a:pt x="6144" y="351"/>
                    <a:pt x="6057" y="343"/>
                  </a:cubicBezTo>
                  <a:cubicBezTo>
                    <a:pt x="5971" y="327"/>
                    <a:pt x="5849" y="278"/>
                    <a:pt x="5787" y="238"/>
                  </a:cubicBezTo>
                  <a:cubicBezTo>
                    <a:pt x="5726" y="194"/>
                    <a:pt x="5556" y="143"/>
                    <a:pt x="5412" y="118"/>
                  </a:cubicBezTo>
                  <a:cubicBezTo>
                    <a:pt x="5267" y="102"/>
                    <a:pt x="5103" y="53"/>
                    <a:pt x="5045" y="31"/>
                  </a:cubicBezTo>
                  <a:cubicBezTo>
                    <a:pt x="4985" y="15"/>
                    <a:pt x="4870" y="-6"/>
                    <a:pt x="4784" y="2"/>
                  </a:cubicBezTo>
                  <a:cubicBezTo>
                    <a:pt x="4697" y="10"/>
                    <a:pt x="4590" y="56"/>
                    <a:pt x="4543" y="104"/>
                  </a:cubicBezTo>
                  <a:cubicBezTo>
                    <a:pt x="4497" y="150"/>
                    <a:pt x="4330" y="181"/>
                    <a:pt x="4171" y="190"/>
                  </a:cubicBezTo>
                  <a:cubicBezTo>
                    <a:pt x="4012" y="190"/>
                    <a:pt x="3845" y="194"/>
                    <a:pt x="3802" y="194"/>
                  </a:cubicBezTo>
                  <a:cubicBezTo>
                    <a:pt x="3759" y="194"/>
                    <a:pt x="3656" y="191"/>
                    <a:pt x="3571" y="191"/>
                  </a:cubicBezTo>
                  <a:cubicBezTo>
                    <a:pt x="3488" y="183"/>
                    <a:pt x="3333" y="208"/>
                    <a:pt x="3225" y="233"/>
                  </a:cubicBezTo>
                  <a:cubicBezTo>
                    <a:pt x="3118" y="257"/>
                    <a:pt x="2998" y="309"/>
                    <a:pt x="2957" y="340"/>
                  </a:cubicBezTo>
                  <a:cubicBezTo>
                    <a:pt x="2918" y="372"/>
                    <a:pt x="2836" y="421"/>
                    <a:pt x="2777" y="444"/>
                  </a:cubicBezTo>
                  <a:cubicBezTo>
                    <a:pt x="2717" y="468"/>
                    <a:pt x="2572" y="584"/>
                    <a:pt x="2453" y="698"/>
                  </a:cubicBezTo>
                  <a:cubicBezTo>
                    <a:pt x="2336" y="811"/>
                    <a:pt x="2221" y="953"/>
                    <a:pt x="2207" y="1017"/>
                  </a:cubicBezTo>
                  <a:cubicBezTo>
                    <a:pt x="2193" y="1082"/>
                    <a:pt x="2195" y="1179"/>
                    <a:pt x="2215" y="1232"/>
                  </a:cubicBezTo>
                  <a:cubicBezTo>
                    <a:pt x="2234" y="1286"/>
                    <a:pt x="2245" y="1359"/>
                    <a:pt x="2237" y="1394"/>
                  </a:cubicBezTo>
                  <a:cubicBezTo>
                    <a:pt x="2230" y="1430"/>
                    <a:pt x="2205" y="1498"/>
                    <a:pt x="2185" y="1546"/>
                  </a:cubicBezTo>
                  <a:cubicBezTo>
                    <a:pt x="2161" y="1591"/>
                    <a:pt x="2171" y="1722"/>
                    <a:pt x="2187" y="1836"/>
                  </a:cubicBezTo>
                  <a:cubicBezTo>
                    <a:pt x="2207" y="1948"/>
                    <a:pt x="2253" y="2083"/>
                    <a:pt x="2292" y="2129"/>
                  </a:cubicBezTo>
                  <a:cubicBezTo>
                    <a:pt x="2324" y="2183"/>
                    <a:pt x="2359" y="2290"/>
                    <a:pt x="2366" y="2376"/>
                  </a:cubicBezTo>
                  <a:cubicBezTo>
                    <a:pt x="2374" y="2462"/>
                    <a:pt x="2295" y="2540"/>
                    <a:pt x="2199" y="2540"/>
                  </a:cubicBezTo>
                  <a:cubicBezTo>
                    <a:pt x="2103" y="2540"/>
                    <a:pt x="1935" y="2659"/>
                    <a:pt x="1823" y="2789"/>
                  </a:cubicBezTo>
                  <a:cubicBezTo>
                    <a:pt x="1712" y="2919"/>
                    <a:pt x="1637" y="3082"/>
                    <a:pt x="1657" y="3147"/>
                  </a:cubicBezTo>
                  <a:cubicBezTo>
                    <a:pt x="1678" y="3211"/>
                    <a:pt x="1664" y="3318"/>
                    <a:pt x="1628" y="3386"/>
                  </a:cubicBezTo>
                  <a:cubicBezTo>
                    <a:pt x="1589" y="3449"/>
                    <a:pt x="1614" y="3647"/>
                    <a:pt x="1675" y="3822"/>
                  </a:cubicBezTo>
                  <a:cubicBezTo>
                    <a:pt x="1733" y="3997"/>
                    <a:pt x="1834" y="4142"/>
                    <a:pt x="1892" y="4142"/>
                  </a:cubicBezTo>
                  <a:cubicBezTo>
                    <a:pt x="1950" y="4142"/>
                    <a:pt x="2000" y="4200"/>
                    <a:pt x="2006" y="4264"/>
                  </a:cubicBezTo>
                  <a:cubicBezTo>
                    <a:pt x="2010" y="4298"/>
                    <a:pt x="1993" y="4348"/>
                    <a:pt x="1964" y="4398"/>
                  </a:cubicBezTo>
                  <a:cubicBezTo>
                    <a:pt x="1949" y="4423"/>
                    <a:pt x="1932" y="4447"/>
                    <a:pt x="1913" y="4471"/>
                  </a:cubicBezTo>
                  <a:cubicBezTo>
                    <a:pt x="1909" y="4476"/>
                    <a:pt x="1904" y="4481"/>
                    <a:pt x="1899" y="4486"/>
                  </a:cubicBezTo>
                  <a:cubicBezTo>
                    <a:pt x="1888" y="4500"/>
                    <a:pt x="1878" y="4513"/>
                    <a:pt x="1866" y="4525"/>
                  </a:cubicBezTo>
                  <a:cubicBezTo>
                    <a:pt x="1864" y="4526"/>
                    <a:pt x="1862" y="4525"/>
                    <a:pt x="1861" y="4526"/>
                  </a:cubicBezTo>
                  <a:cubicBezTo>
                    <a:pt x="1854" y="4533"/>
                    <a:pt x="1849" y="4541"/>
                    <a:pt x="1841" y="4547"/>
                  </a:cubicBezTo>
                  <a:cubicBezTo>
                    <a:pt x="1746" y="4634"/>
                    <a:pt x="1648" y="4814"/>
                    <a:pt x="1626" y="4943"/>
                  </a:cubicBezTo>
                  <a:cubicBezTo>
                    <a:pt x="1602" y="5071"/>
                    <a:pt x="1603" y="5254"/>
                    <a:pt x="1621" y="5352"/>
                  </a:cubicBezTo>
                  <a:cubicBezTo>
                    <a:pt x="1642" y="5449"/>
                    <a:pt x="1779" y="5634"/>
                    <a:pt x="1922" y="5767"/>
                  </a:cubicBezTo>
                  <a:cubicBezTo>
                    <a:pt x="2065" y="5898"/>
                    <a:pt x="2183" y="6129"/>
                    <a:pt x="2183" y="6279"/>
                  </a:cubicBezTo>
                  <a:cubicBezTo>
                    <a:pt x="2183" y="6429"/>
                    <a:pt x="2223" y="6732"/>
                    <a:pt x="2277" y="6949"/>
                  </a:cubicBezTo>
                  <a:cubicBezTo>
                    <a:pt x="2327" y="7166"/>
                    <a:pt x="2353" y="7403"/>
                    <a:pt x="2331" y="7474"/>
                  </a:cubicBezTo>
                  <a:cubicBezTo>
                    <a:pt x="2310" y="7545"/>
                    <a:pt x="2200" y="7614"/>
                    <a:pt x="2085" y="7621"/>
                  </a:cubicBezTo>
                  <a:cubicBezTo>
                    <a:pt x="1971" y="7630"/>
                    <a:pt x="1842" y="7704"/>
                    <a:pt x="1803" y="7781"/>
                  </a:cubicBezTo>
                  <a:cubicBezTo>
                    <a:pt x="1762" y="7860"/>
                    <a:pt x="1720" y="7968"/>
                    <a:pt x="1713" y="8024"/>
                  </a:cubicBezTo>
                  <a:cubicBezTo>
                    <a:pt x="1706" y="8081"/>
                    <a:pt x="1787" y="8240"/>
                    <a:pt x="1897" y="8380"/>
                  </a:cubicBezTo>
                  <a:cubicBezTo>
                    <a:pt x="2001" y="8525"/>
                    <a:pt x="2076" y="8682"/>
                    <a:pt x="2045" y="8737"/>
                  </a:cubicBezTo>
                  <a:cubicBezTo>
                    <a:pt x="2017" y="8794"/>
                    <a:pt x="1933" y="8839"/>
                    <a:pt x="1863" y="8831"/>
                  </a:cubicBezTo>
                  <a:cubicBezTo>
                    <a:pt x="1793" y="8831"/>
                    <a:pt x="1674" y="8884"/>
                    <a:pt x="1599" y="8964"/>
                  </a:cubicBezTo>
                  <a:cubicBezTo>
                    <a:pt x="1525" y="9043"/>
                    <a:pt x="1440" y="9177"/>
                    <a:pt x="1412" y="9266"/>
                  </a:cubicBezTo>
                  <a:cubicBezTo>
                    <a:pt x="1382" y="9354"/>
                    <a:pt x="1301" y="9553"/>
                    <a:pt x="1223" y="9703"/>
                  </a:cubicBezTo>
                  <a:cubicBezTo>
                    <a:pt x="1149" y="9852"/>
                    <a:pt x="1051" y="10070"/>
                    <a:pt x="1000" y="10180"/>
                  </a:cubicBezTo>
                  <a:cubicBezTo>
                    <a:pt x="952" y="10294"/>
                    <a:pt x="876" y="10430"/>
                    <a:pt x="822" y="10472"/>
                  </a:cubicBezTo>
                  <a:cubicBezTo>
                    <a:pt x="774" y="10524"/>
                    <a:pt x="679" y="10566"/>
                    <a:pt x="618" y="10583"/>
                  </a:cubicBezTo>
                  <a:cubicBezTo>
                    <a:pt x="557" y="10591"/>
                    <a:pt x="439" y="10636"/>
                    <a:pt x="356" y="10677"/>
                  </a:cubicBezTo>
                  <a:cubicBezTo>
                    <a:pt x="271" y="10718"/>
                    <a:pt x="168" y="10806"/>
                    <a:pt x="126" y="10878"/>
                  </a:cubicBezTo>
                  <a:cubicBezTo>
                    <a:pt x="86" y="10950"/>
                    <a:pt x="59" y="11100"/>
                    <a:pt x="63" y="11210"/>
                  </a:cubicBezTo>
                  <a:cubicBezTo>
                    <a:pt x="70" y="11322"/>
                    <a:pt x="61" y="11484"/>
                    <a:pt x="54" y="11572"/>
                  </a:cubicBezTo>
                  <a:cubicBezTo>
                    <a:pt x="39" y="11660"/>
                    <a:pt x="27" y="11842"/>
                    <a:pt x="10" y="11972"/>
                  </a:cubicBezTo>
                  <a:cubicBezTo>
                    <a:pt x="3" y="12104"/>
                    <a:pt x="-5" y="12249"/>
                    <a:pt x="3" y="12292"/>
                  </a:cubicBezTo>
                  <a:cubicBezTo>
                    <a:pt x="5" y="12337"/>
                    <a:pt x="24" y="12455"/>
                    <a:pt x="37" y="12557"/>
                  </a:cubicBezTo>
                  <a:cubicBezTo>
                    <a:pt x="48" y="12659"/>
                    <a:pt x="47" y="12782"/>
                    <a:pt x="33" y="12828"/>
                  </a:cubicBezTo>
                  <a:cubicBezTo>
                    <a:pt x="18" y="12874"/>
                    <a:pt x="25" y="12948"/>
                    <a:pt x="45" y="12988"/>
                  </a:cubicBezTo>
                  <a:cubicBezTo>
                    <a:pt x="69" y="13024"/>
                    <a:pt x="85" y="13120"/>
                    <a:pt x="88" y="13189"/>
                  </a:cubicBezTo>
                  <a:cubicBezTo>
                    <a:pt x="95" y="13259"/>
                    <a:pt x="82" y="13392"/>
                    <a:pt x="57" y="13481"/>
                  </a:cubicBezTo>
                  <a:cubicBezTo>
                    <a:pt x="38" y="13573"/>
                    <a:pt x="33" y="13856"/>
                    <a:pt x="57" y="14112"/>
                  </a:cubicBezTo>
                  <a:cubicBezTo>
                    <a:pt x="81" y="14370"/>
                    <a:pt x="95" y="14650"/>
                    <a:pt x="87" y="14737"/>
                  </a:cubicBezTo>
                  <a:cubicBezTo>
                    <a:pt x="77" y="14824"/>
                    <a:pt x="87" y="14976"/>
                    <a:pt x="101" y="15076"/>
                  </a:cubicBezTo>
                  <a:cubicBezTo>
                    <a:pt x="110" y="15176"/>
                    <a:pt x="96" y="15504"/>
                    <a:pt x="76" y="15811"/>
                  </a:cubicBezTo>
                  <a:cubicBezTo>
                    <a:pt x="51" y="16118"/>
                    <a:pt x="43" y="16463"/>
                    <a:pt x="62" y="16581"/>
                  </a:cubicBezTo>
                  <a:cubicBezTo>
                    <a:pt x="79" y="16700"/>
                    <a:pt x="264" y="16837"/>
                    <a:pt x="467" y="16878"/>
                  </a:cubicBezTo>
                  <a:cubicBezTo>
                    <a:pt x="672" y="16919"/>
                    <a:pt x="975" y="16894"/>
                    <a:pt x="1144" y="16814"/>
                  </a:cubicBezTo>
                  <a:cubicBezTo>
                    <a:pt x="1310" y="16731"/>
                    <a:pt x="1761" y="16844"/>
                    <a:pt x="2138" y="17074"/>
                  </a:cubicBezTo>
                  <a:cubicBezTo>
                    <a:pt x="2520" y="17294"/>
                    <a:pt x="3003" y="17668"/>
                    <a:pt x="3208" y="17907"/>
                  </a:cubicBezTo>
                  <a:cubicBezTo>
                    <a:pt x="3412" y="18147"/>
                    <a:pt x="3692" y="18565"/>
                    <a:pt x="3812" y="18854"/>
                  </a:cubicBezTo>
                  <a:cubicBezTo>
                    <a:pt x="3941" y="19138"/>
                    <a:pt x="4040" y="19529"/>
                    <a:pt x="4026" y="19718"/>
                  </a:cubicBezTo>
                  <a:cubicBezTo>
                    <a:pt x="4026" y="19907"/>
                    <a:pt x="4072" y="20088"/>
                    <a:pt x="4139" y="20132"/>
                  </a:cubicBezTo>
                  <a:cubicBezTo>
                    <a:pt x="4210" y="20169"/>
                    <a:pt x="4311" y="20371"/>
                    <a:pt x="4366" y="20575"/>
                  </a:cubicBezTo>
                  <a:cubicBezTo>
                    <a:pt x="4425" y="20778"/>
                    <a:pt x="4570" y="21063"/>
                    <a:pt x="4703" y="21194"/>
                  </a:cubicBezTo>
                  <a:cubicBezTo>
                    <a:pt x="4833" y="21330"/>
                    <a:pt x="5094" y="21481"/>
                    <a:pt x="5280" y="21538"/>
                  </a:cubicBezTo>
                  <a:cubicBezTo>
                    <a:pt x="5466" y="21594"/>
                    <a:pt x="6028" y="21590"/>
                    <a:pt x="6529" y="21550"/>
                  </a:cubicBezTo>
                  <a:cubicBezTo>
                    <a:pt x="7029" y="21501"/>
                    <a:pt x="7527" y="21413"/>
                    <a:pt x="7625" y="21331"/>
                  </a:cubicBezTo>
                  <a:cubicBezTo>
                    <a:pt x="7726" y="21252"/>
                    <a:pt x="7872" y="21225"/>
                    <a:pt x="7945" y="21255"/>
                  </a:cubicBezTo>
                  <a:cubicBezTo>
                    <a:pt x="8021" y="21282"/>
                    <a:pt x="8272" y="21221"/>
                    <a:pt x="8514" y="21124"/>
                  </a:cubicBezTo>
                  <a:cubicBezTo>
                    <a:pt x="8755" y="21022"/>
                    <a:pt x="9013" y="20960"/>
                    <a:pt x="9089" y="21000"/>
                  </a:cubicBezTo>
                  <a:cubicBezTo>
                    <a:pt x="9165" y="21037"/>
                    <a:pt x="9336" y="21035"/>
                    <a:pt x="9470" y="21004"/>
                  </a:cubicBezTo>
                  <a:cubicBezTo>
                    <a:pt x="9603" y="20971"/>
                    <a:pt x="9756" y="20803"/>
                    <a:pt x="9810" y="20636"/>
                  </a:cubicBezTo>
                  <a:cubicBezTo>
                    <a:pt x="9859" y="20466"/>
                    <a:pt x="9977" y="20426"/>
                    <a:pt x="10072" y="20529"/>
                  </a:cubicBezTo>
                  <a:cubicBezTo>
                    <a:pt x="10165" y="20637"/>
                    <a:pt x="10270" y="20707"/>
                    <a:pt x="10309" y="20676"/>
                  </a:cubicBezTo>
                  <a:cubicBezTo>
                    <a:pt x="10346" y="20642"/>
                    <a:pt x="10391" y="20629"/>
                    <a:pt x="10387" y="20629"/>
                  </a:cubicBezTo>
                  <a:cubicBezTo>
                    <a:pt x="10392" y="20629"/>
                    <a:pt x="10397" y="20571"/>
                    <a:pt x="10405" y="20495"/>
                  </a:cubicBezTo>
                  <a:cubicBezTo>
                    <a:pt x="10405" y="20420"/>
                    <a:pt x="10520" y="20204"/>
                    <a:pt x="10661" y="20031"/>
                  </a:cubicBezTo>
                  <a:cubicBezTo>
                    <a:pt x="10804" y="19856"/>
                    <a:pt x="10956" y="19578"/>
                    <a:pt x="11016" y="19428"/>
                  </a:cubicBezTo>
                  <a:close/>
                  <a:moveTo>
                    <a:pt x="11016" y="194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8" name="AutoShape 850"/>
            <p:cNvSpPr>
              <a:spLocks/>
            </p:cNvSpPr>
            <p:nvPr/>
          </p:nvSpPr>
          <p:spPr bwMode="auto">
            <a:xfrm>
              <a:off x="7975600" y="4940300"/>
              <a:ext cx="4763" cy="4763"/>
            </a:xfrm>
            <a:custGeom>
              <a:avLst/>
              <a:gdLst/>
              <a:ahLst/>
              <a:cxnLst/>
              <a:rect l="0" t="0" r="r" b="b"/>
              <a:pathLst>
                <a:path w="21456" h="21600">
                  <a:moveTo>
                    <a:pt x="0" y="21600"/>
                  </a:moveTo>
                  <a:cubicBezTo>
                    <a:pt x="7790" y="19400"/>
                    <a:pt x="17126" y="10165"/>
                    <a:pt x="21308" y="1372"/>
                  </a:cubicBezTo>
                  <a:cubicBezTo>
                    <a:pt x="21600" y="821"/>
                    <a:pt x="21308" y="495"/>
                    <a:pt x="21456" y="0"/>
                  </a:cubicBezTo>
                  <a:cubicBezTo>
                    <a:pt x="15875" y="10333"/>
                    <a:pt x="6924" y="19620"/>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49" name="AutoShape 851"/>
            <p:cNvSpPr>
              <a:spLocks/>
            </p:cNvSpPr>
            <p:nvPr/>
          </p:nvSpPr>
          <p:spPr bwMode="auto">
            <a:xfrm>
              <a:off x="7962900" y="4940300"/>
              <a:ext cx="4763" cy="0"/>
            </a:xfrm>
            <a:custGeom>
              <a:avLst/>
              <a:gdLst/>
              <a:ahLst/>
              <a:cxnLst/>
              <a:rect l="0" t="0" r="r" b="b"/>
              <a:pathLst>
                <a:path w="21409" h="17760">
                  <a:moveTo>
                    <a:pt x="37" y="0"/>
                  </a:moveTo>
                  <a:cubicBezTo>
                    <a:pt x="37" y="2435"/>
                    <a:pt x="-191" y="5017"/>
                    <a:pt x="488" y="6843"/>
                  </a:cubicBezTo>
                  <a:cubicBezTo>
                    <a:pt x="4952" y="15522"/>
                    <a:pt x="14105" y="21600"/>
                    <a:pt x="21409" y="14914"/>
                  </a:cubicBezTo>
                  <a:cubicBezTo>
                    <a:pt x="16269" y="19779"/>
                    <a:pt x="7925" y="12626"/>
                    <a:pt x="37" y="0"/>
                  </a:cubicBezTo>
                  <a:close/>
                  <a:moveTo>
                    <a:pt x="37"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0" name="AutoShape 852"/>
            <p:cNvSpPr>
              <a:spLocks/>
            </p:cNvSpPr>
            <p:nvPr/>
          </p:nvSpPr>
          <p:spPr bwMode="auto">
            <a:xfrm>
              <a:off x="7556500" y="5003800"/>
              <a:ext cx="0" cy="0"/>
            </a:xfrm>
            <a:custGeom>
              <a:avLst/>
              <a:gdLst/>
              <a:ahLst/>
              <a:cxnLst/>
              <a:rect l="0" t="0" r="r" b="b"/>
              <a:pathLst>
                <a:path w="21600" h="21600">
                  <a:moveTo>
                    <a:pt x="2885" y="20722"/>
                  </a:moveTo>
                  <a:cubicBezTo>
                    <a:pt x="9481" y="14206"/>
                    <a:pt x="15565" y="7117"/>
                    <a:pt x="21600" y="0"/>
                  </a:cubicBezTo>
                  <a:cubicBezTo>
                    <a:pt x="15021" y="7699"/>
                    <a:pt x="7634" y="14816"/>
                    <a:pt x="0" y="21600"/>
                  </a:cubicBezTo>
                  <a:cubicBezTo>
                    <a:pt x="775" y="21018"/>
                    <a:pt x="2094" y="21600"/>
                    <a:pt x="2885" y="20722"/>
                  </a:cubicBezTo>
                  <a:close/>
                  <a:moveTo>
                    <a:pt x="2885" y="207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1" name="AutoShape 853"/>
            <p:cNvSpPr>
              <a:spLocks/>
            </p:cNvSpPr>
            <p:nvPr/>
          </p:nvSpPr>
          <p:spPr bwMode="auto">
            <a:xfrm>
              <a:off x="7556500" y="5003800"/>
              <a:ext cx="0" cy="1588"/>
            </a:xfrm>
            <a:custGeom>
              <a:avLst/>
              <a:gdLst/>
              <a:ahLst/>
              <a:cxnLst/>
              <a:rect l="0" t="0" r="r" b="b"/>
              <a:pathLst>
                <a:path w="20101" h="21600">
                  <a:moveTo>
                    <a:pt x="19856" y="0"/>
                  </a:moveTo>
                  <a:cubicBezTo>
                    <a:pt x="21600" y="5244"/>
                    <a:pt x="13955" y="13153"/>
                    <a:pt x="0" y="21600"/>
                  </a:cubicBezTo>
                  <a:cubicBezTo>
                    <a:pt x="13532" y="13519"/>
                    <a:pt x="21600" y="5517"/>
                    <a:pt x="19856" y="0"/>
                  </a:cubicBezTo>
                  <a:close/>
                  <a:moveTo>
                    <a:pt x="19856"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2" name="AutoShape 854"/>
            <p:cNvSpPr>
              <a:spLocks/>
            </p:cNvSpPr>
            <p:nvPr/>
          </p:nvSpPr>
          <p:spPr bwMode="auto">
            <a:xfrm>
              <a:off x="7556500" y="5003800"/>
              <a:ext cx="0" cy="1588"/>
            </a:xfrm>
            <a:custGeom>
              <a:avLst/>
              <a:gdLst/>
              <a:ahLst/>
              <a:cxnLst/>
              <a:rect l="0" t="0" r="r" b="b"/>
              <a:pathLst>
                <a:path w="21600" h="21600">
                  <a:moveTo>
                    <a:pt x="21600" y="0"/>
                  </a:moveTo>
                  <a:cubicBezTo>
                    <a:pt x="15544" y="7149"/>
                    <a:pt x="8289" y="14451"/>
                    <a:pt x="0" y="21600"/>
                  </a:cubicBezTo>
                  <a:cubicBezTo>
                    <a:pt x="8087" y="14451"/>
                    <a:pt x="15342" y="7301"/>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3" name="AutoShape 855"/>
            <p:cNvSpPr>
              <a:spLocks/>
            </p:cNvSpPr>
            <p:nvPr/>
          </p:nvSpPr>
          <p:spPr bwMode="auto">
            <a:xfrm>
              <a:off x="7670800" y="5588000"/>
              <a:ext cx="11113" cy="12700"/>
            </a:xfrm>
            <a:custGeom>
              <a:avLst/>
              <a:gdLst/>
              <a:ahLst/>
              <a:cxnLst/>
              <a:rect l="0" t="0" r="r" b="b"/>
              <a:pathLst>
                <a:path w="20321" h="20584">
                  <a:moveTo>
                    <a:pt x="15726" y="1271"/>
                  </a:moveTo>
                  <a:cubicBezTo>
                    <a:pt x="11915" y="-794"/>
                    <a:pt x="6596" y="-250"/>
                    <a:pt x="3906" y="2229"/>
                  </a:cubicBezTo>
                  <a:cubicBezTo>
                    <a:pt x="1337" y="4897"/>
                    <a:pt x="-251" y="9894"/>
                    <a:pt x="33" y="13519"/>
                  </a:cubicBezTo>
                  <a:cubicBezTo>
                    <a:pt x="707" y="17125"/>
                    <a:pt x="2542" y="19941"/>
                    <a:pt x="4129" y="20542"/>
                  </a:cubicBezTo>
                  <a:cubicBezTo>
                    <a:pt x="5883" y="20806"/>
                    <a:pt x="9410" y="19791"/>
                    <a:pt x="11934" y="18250"/>
                  </a:cubicBezTo>
                  <a:cubicBezTo>
                    <a:pt x="14461" y="16692"/>
                    <a:pt x="18048" y="13236"/>
                    <a:pt x="19659" y="10269"/>
                  </a:cubicBezTo>
                  <a:cubicBezTo>
                    <a:pt x="21349" y="7376"/>
                    <a:pt x="19720" y="3112"/>
                    <a:pt x="15726" y="1271"/>
                  </a:cubicBezTo>
                  <a:close/>
                  <a:moveTo>
                    <a:pt x="15726" y="12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4" name="AutoShape 856"/>
            <p:cNvSpPr>
              <a:spLocks/>
            </p:cNvSpPr>
            <p:nvPr/>
          </p:nvSpPr>
          <p:spPr bwMode="auto">
            <a:xfrm>
              <a:off x="7772400" y="5410200"/>
              <a:ext cx="23813" cy="33338"/>
            </a:xfrm>
            <a:custGeom>
              <a:avLst/>
              <a:gdLst/>
              <a:ahLst/>
              <a:cxnLst/>
              <a:rect l="0" t="0" r="r" b="b"/>
              <a:pathLst>
                <a:path w="21224" h="20963">
                  <a:moveTo>
                    <a:pt x="18286" y="15452"/>
                  </a:moveTo>
                  <a:cubicBezTo>
                    <a:pt x="19958" y="12206"/>
                    <a:pt x="21360" y="7705"/>
                    <a:pt x="21214" y="5371"/>
                  </a:cubicBezTo>
                  <a:cubicBezTo>
                    <a:pt x="21059" y="3045"/>
                    <a:pt x="20321" y="710"/>
                    <a:pt x="19584" y="170"/>
                  </a:cubicBezTo>
                  <a:cubicBezTo>
                    <a:pt x="18909" y="-430"/>
                    <a:pt x="16095" y="612"/>
                    <a:pt x="13686" y="2497"/>
                  </a:cubicBezTo>
                  <a:cubicBezTo>
                    <a:pt x="11121" y="4253"/>
                    <a:pt x="8443" y="7378"/>
                    <a:pt x="7487" y="9264"/>
                  </a:cubicBezTo>
                  <a:cubicBezTo>
                    <a:pt x="6604" y="11180"/>
                    <a:pt x="4580" y="12959"/>
                    <a:pt x="3115" y="12959"/>
                  </a:cubicBezTo>
                  <a:cubicBezTo>
                    <a:pt x="1629" y="13073"/>
                    <a:pt x="186" y="14190"/>
                    <a:pt x="30" y="15438"/>
                  </a:cubicBezTo>
                  <a:cubicBezTo>
                    <a:pt x="-240" y="16669"/>
                    <a:pt x="1370" y="18334"/>
                    <a:pt x="3436" y="19155"/>
                  </a:cubicBezTo>
                  <a:cubicBezTo>
                    <a:pt x="5545" y="19923"/>
                    <a:pt x="8972" y="20835"/>
                    <a:pt x="11152" y="20950"/>
                  </a:cubicBezTo>
                  <a:cubicBezTo>
                    <a:pt x="13280" y="21170"/>
                    <a:pt x="16418" y="18638"/>
                    <a:pt x="18286" y="15452"/>
                  </a:cubicBezTo>
                  <a:close/>
                  <a:moveTo>
                    <a:pt x="18286" y="1545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5" name="AutoShape 857"/>
            <p:cNvSpPr>
              <a:spLocks/>
            </p:cNvSpPr>
            <p:nvPr/>
          </p:nvSpPr>
          <p:spPr bwMode="auto">
            <a:xfrm>
              <a:off x="7785100" y="4953000"/>
              <a:ext cx="360363" cy="550863"/>
            </a:xfrm>
            <a:custGeom>
              <a:avLst/>
              <a:gdLst/>
              <a:ahLst/>
              <a:cxnLst/>
              <a:rect l="0" t="0" r="r" b="b"/>
              <a:pathLst>
                <a:path w="21579" h="21555">
                  <a:moveTo>
                    <a:pt x="3859" y="21398"/>
                  </a:moveTo>
                  <a:cubicBezTo>
                    <a:pt x="3899" y="21423"/>
                    <a:pt x="4719" y="21413"/>
                    <a:pt x="5666" y="21391"/>
                  </a:cubicBezTo>
                  <a:cubicBezTo>
                    <a:pt x="6611" y="21369"/>
                    <a:pt x="7384" y="21346"/>
                    <a:pt x="7384" y="21346"/>
                  </a:cubicBezTo>
                  <a:cubicBezTo>
                    <a:pt x="7384" y="21346"/>
                    <a:pt x="7413" y="21331"/>
                    <a:pt x="7433" y="21306"/>
                  </a:cubicBezTo>
                  <a:cubicBezTo>
                    <a:pt x="7464" y="21285"/>
                    <a:pt x="7543" y="21249"/>
                    <a:pt x="7612" y="21223"/>
                  </a:cubicBezTo>
                  <a:cubicBezTo>
                    <a:pt x="7679" y="21198"/>
                    <a:pt x="7803" y="21192"/>
                    <a:pt x="7879" y="21185"/>
                  </a:cubicBezTo>
                  <a:cubicBezTo>
                    <a:pt x="7957" y="21185"/>
                    <a:pt x="8085" y="21156"/>
                    <a:pt x="8174" y="21134"/>
                  </a:cubicBezTo>
                  <a:cubicBezTo>
                    <a:pt x="8256" y="21103"/>
                    <a:pt x="8509" y="21091"/>
                    <a:pt x="8730" y="21084"/>
                  </a:cubicBezTo>
                  <a:cubicBezTo>
                    <a:pt x="8950" y="21076"/>
                    <a:pt x="9185" y="21073"/>
                    <a:pt x="9254" y="21057"/>
                  </a:cubicBezTo>
                  <a:cubicBezTo>
                    <a:pt x="9322" y="21043"/>
                    <a:pt x="9577" y="21026"/>
                    <a:pt x="9823" y="21034"/>
                  </a:cubicBezTo>
                  <a:cubicBezTo>
                    <a:pt x="10072" y="21041"/>
                    <a:pt x="10331" y="21051"/>
                    <a:pt x="10403" y="21065"/>
                  </a:cubicBezTo>
                  <a:cubicBezTo>
                    <a:pt x="10478" y="21072"/>
                    <a:pt x="10633" y="21062"/>
                    <a:pt x="10765" y="21055"/>
                  </a:cubicBezTo>
                  <a:cubicBezTo>
                    <a:pt x="10893" y="21032"/>
                    <a:pt x="11090" y="21012"/>
                    <a:pt x="11202" y="21012"/>
                  </a:cubicBezTo>
                  <a:cubicBezTo>
                    <a:pt x="11314" y="21012"/>
                    <a:pt x="11417" y="21026"/>
                    <a:pt x="11434" y="21049"/>
                  </a:cubicBezTo>
                  <a:cubicBezTo>
                    <a:pt x="11446" y="21073"/>
                    <a:pt x="11622" y="21092"/>
                    <a:pt x="11818" y="21099"/>
                  </a:cubicBezTo>
                  <a:cubicBezTo>
                    <a:pt x="12016" y="21107"/>
                    <a:pt x="12207" y="21093"/>
                    <a:pt x="12250" y="21079"/>
                  </a:cubicBezTo>
                  <a:cubicBezTo>
                    <a:pt x="12294" y="21065"/>
                    <a:pt x="12376" y="21042"/>
                    <a:pt x="12440" y="21042"/>
                  </a:cubicBezTo>
                  <a:cubicBezTo>
                    <a:pt x="12507" y="21042"/>
                    <a:pt x="12599" y="21067"/>
                    <a:pt x="12646" y="21107"/>
                  </a:cubicBezTo>
                  <a:cubicBezTo>
                    <a:pt x="12695" y="21145"/>
                    <a:pt x="13552" y="21162"/>
                    <a:pt x="14546" y="21147"/>
                  </a:cubicBezTo>
                  <a:cubicBezTo>
                    <a:pt x="15539" y="21133"/>
                    <a:pt x="16419" y="21137"/>
                    <a:pt x="16505" y="21158"/>
                  </a:cubicBezTo>
                  <a:cubicBezTo>
                    <a:pt x="16587" y="21185"/>
                    <a:pt x="16687" y="21173"/>
                    <a:pt x="16729" y="21146"/>
                  </a:cubicBezTo>
                  <a:cubicBezTo>
                    <a:pt x="16770" y="21119"/>
                    <a:pt x="16855" y="21100"/>
                    <a:pt x="16917" y="21092"/>
                  </a:cubicBezTo>
                  <a:cubicBezTo>
                    <a:pt x="16981" y="21092"/>
                    <a:pt x="17092" y="21141"/>
                    <a:pt x="17182" y="21191"/>
                  </a:cubicBezTo>
                  <a:cubicBezTo>
                    <a:pt x="17266" y="21247"/>
                    <a:pt x="17391" y="21276"/>
                    <a:pt x="17469" y="21264"/>
                  </a:cubicBezTo>
                  <a:cubicBezTo>
                    <a:pt x="17546" y="21249"/>
                    <a:pt x="17681" y="21252"/>
                    <a:pt x="17775" y="21259"/>
                  </a:cubicBezTo>
                  <a:cubicBezTo>
                    <a:pt x="17867" y="21272"/>
                    <a:pt x="17981" y="21318"/>
                    <a:pt x="18033" y="21358"/>
                  </a:cubicBezTo>
                  <a:cubicBezTo>
                    <a:pt x="18088" y="21394"/>
                    <a:pt x="18189" y="21422"/>
                    <a:pt x="18265" y="21408"/>
                  </a:cubicBezTo>
                  <a:cubicBezTo>
                    <a:pt x="18344" y="21395"/>
                    <a:pt x="18433" y="21358"/>
                    <a:pt x="18456" y="21321"/>
                  </a:cubicBezTo>
                  <a:cubicBezTo>
                    <a:pt x="18482" y="21288"/>
                    <a:pt x="18548" y="21262"/>
                    <a:pt x="18601" y="21273"/>
                  </a:cubicBezTo>
                  <a:cubicBezTo>
                    <a:pt x="18654" y="21287"/>
                    <a:pt x="18785" y="21333"/>
                    <a:pt x="18897" y="21380"/>
                  </a:cubicBezTo>
                  <a:cubicBezTo>
                    <a:pt x="19010" y="21426"/>
                    <a:pt x="19150" y="21458"/>
                    <a:pt x="19218" y="21441"/>
                  </a:cubicBezTo>
                  <a:cubicBezTo>
                    <a:pt x="19287" y="21426"/>
                    <a:pt x="19478" y="21401"/>
                    <a:pt x="19647" y="21401"/>
                  </a:cubicBezTo>
                  <a:cubicBezTo>
                    <a:pt x="19813" y="21393"/>
                    <a:pt x="19997" y="21415"/>
                    <a:pt x="20063" y="21424"/>
                  </a:cubicBezTo>
                  <a:cubicBezTo>
                    <a:pt x="20127" y="21437"/>
                    <a:pt x="20230" y="21464"/>
                    <a:pt x="20294" y="21478"/>
                  </a:cubicBezTo>
                  <a:cubicBezTo>
                    <a:pt x="20362" y="21487"/>
                    <a:pt x="20466" y="21499"/>
                    <a:pt x="20524" y="21484"/>
                  </a:cubicBezTo>
                  <a:cubicBezTo>
                    <a:pt x="20583" y="21471"/>
                    <a:pt x="20654" y="21489"/>
                    <a:pt x="20669" y="21518"/>
                  </a:cubicBezTo>
                  <a:cubicBezTo>
                    <a:pt x="20691" y="21548"/>
                    <a:pt x="20780" y="21565"/>
                    <a:pt x="20869" y="21549"/>
                  </a:cubicBezTo>
                  <a:cubicBezTo>
                    <a:pt x="20958" y="21532"/>
                    <a:pt x="21052" y="21485"/>
                    <a:pt x="21074" y="21435"/>
                  </a:cubicBezTo>
                  <a:cubicBezTo>
                    <a:pt x="21092" y="21385"/>
                    <a:pt x="21077" y="21272"/>
                    <a:pt x="20998" y="21198"/>
                  </a:cubicBezTo>
                  <a:cubicBezTo>
                    <a:pt x="20930" y="21118"/>
                    <a:pt x="20909" y="21017"/>
                    <a:pt x="20945" y="20977"/>
                  </a:cubicBezTo>
                  <a:cubicBezTo>
                    <a:pt x="20984" y="20939"/>
                    <a:pt x="21082" y="20834"/>
                    <a:pt x="21170" y="20747"/>
                  </a:cubicBezTo>
                  <a:cubicBezTo>
                    <a:pt x="21264" y="20663"/>
                    <a:pt x="21379" y="20532"/>
                    <a:pt x="21428" y="20459"/>
                  </a:cubicBezTo>
                  <a:cubicBezTo>
                    <a:pt x="21475" y="20383"/>
                    <a:pt x="21546" y="20309"/>
                    <a:pt x="21563" y="20287"/>
                  </a:cubicBezTo>
                  <a:cubicBezTo>
                    <a:pt x="21589" y="20270"/>
                    <a:pt x="21578" y="20242"/>
                    <a:pt x="21567" y="20228"/>
                  </a:cubicBezTo>
                  <a:cubicBezTo>
                    <a:pt x="21550" y="20218"/>
                    <a:pt x="21512" y="20181"/>
                    <a:pt x="21479" y="20149"/>
                  </a:cubicBezTo>
                  <a:cubicBezTo>
                    <a:pt x="21449" y="20116"/>
                    <a:pt x="21439" y="20023"/>
                    <a:pt x="21439" y="19940"/>
                  </a:cubicBezTo>
                  <a:cubicBezTo>
                    <a:pt x="21450" y="19860"/>
                    <a:pt x="21440" y="19710"/>
                    <a:pt x="21430" y="19606"/>
                  </a:cubicBezTo>
                  <a:cubicBezTo>
                    <a:pt x="21419" y="19503"/>
                    <a:pt x="21208" y="19322"/>
                    <a:pt x="20972" y="19204"/>
                  </a:cubicBezTo>
                  <a:cubicBezTo>
                    <a:pt x="20729" y="19091"/>
                    <a:pt x="20477" y="18936"/>
                    <a:pt x="20379" y="18886"/>
                  </a:cubicBezTo>
                  <a:cubicBezTo>
                    <a:pt x="20281" y="18836"/>
                    <a:pt x="20137" y="18661"/>
                    <a:pt x="20026" y="18515"/>
                  </a:cubicBezTo>
                  <a:cubicBezTo>
                    <a:pt x="19914" y="18368"/>
                    <a:pt x="19679" y="18102"/>
                    <a:pt x="19510" y="17918"/>
                  </a:cubicBezTo>
                  <a:cubicBezTo>
                    <a:pt x="19334" y="17737"/>
                    <a:pt x="19143" y="17502"/>
                    <a:pt x="19111" y="17394"/>
                  </a:cubicBezTo>
                  <a:cubicBezTo>
                    <a:pt x="19089" y="17284"/>
                    <a:pt x="18934" y="17120"/>
                    <a:pt x="18822" y="17018"/>
                  </a:cubicBezTo>
                  <a:cubicBezTo>
                    <a:pt x="18704" y="16919"/>
                    <a:pt x="18431" y="16781"/>
                    <a:pt x="18207" y="16719"/>
                  </a:cubicBezTo>
                  <a:cubicBezTo>
                    <a:pt x="17985" y="16654"/>
                    <a:pt x="17749" y="16565"/>
                    <a:pt x="17672" y="16533"/>
                  </a:cubicBezTo>
                  <a:cubicBezTo>
                    <a:pt x="17598" y="16499"/>
                    <a:pt x="17552" y="16299"/>
                    <a:pt x="17563" y="16089"/>
                  </a:cubicBezTo>
                  <a:cubicBezTo>
                    <a:pt x="17574" y="15877"/>
                    <a:pt x="17576" y="15613"/>
                    <a:pt x="17565" y="15498"/>
                  </a:cubicBezTo>
                  <a:cubicBezTo>
                    <a:pt x="17555" y="15383"/>
                    <a:pt x="17496" y="15179"/>
                    <a:pt x="17440" y="15046"/>
                  </a:cubicBezTo>
                  <a:cubicBezTo>
                    <a:pt x="17386" y="14912"/>
                    <a:pt x="17380" y="14698"/>
                    <a:pt x="17412" y="14570"/>
                  </a:cubicBezTo>
                  <a:cubicBezTo>
                    <a:pt x="17446" y="14440"/>
                    <a:pt x="17443" y="14223"/>
                    <a:pt x="17386" y="14087"/>
                  </a:cubicBezTo>
                  <a:cubicBezTo>
                    <a:pt x="17331" y="13950"/>
                    <a:pt x="17277" y="13747"/>
                    <a:pt x="17255" y="13639"/>
                  </a:cubicBezTo>
                  <a:cubicBezTo>
                    <a:pt x="17243" y="13528"/>
                    <a:pt x="17285" y="13378"/>
                    <a:pt x="17362" y="13305"/>
                  </a:cubicBezTo>
                  <a:cubicBezTo>
                    <a:pt x="17443" y="13237"/>
                    <a:pt x="17573" y="13157"/>
                    <a:pt x="17658" y="13130"/>
                  </a:cubicBezTo>
                  <a:cubicBezTo>
                    <a:pt x="17748" y="13108"/>
                    <a:pt x="17947" y="12962"/>
                    <a:pt x="18115" y="12817"/>
                  </a:cubicBezTo>
                  <a:cubicBezTo>
                    <a:pt x="18289" y="12674"/>
                    <a:pt x="18490" y="12442"/>
                    <a:pt x="18580" y="12310"/>
                  </a:cubicBezTo>
                  <a:cubicBezTo>
                    <a:pt x="18669" y="12179"/>
                    <a:pt x="18883" y="11926"/>
                    <a:pt x="19029" y="11741"/>
                  </a:cubicBezTo>
                  <a:cubicBezTo>
                    <a:pt x="19184" y="11560"/>
                    <a:pt x="19369" y="11321"/>
                    <a:pt x="19447" y="11212"/>
                  </a:cubicBezTo>
                  <a:cubicBezTo>
                    <a:pt x="19528" y="11105"/>
                    <a:pt x="19676" y="10982"/>
                    <a:pt x="19795" y="10956"/>
                  </a:cubicBezTo>
                  <a:cubicBezTo>
                    <a:pt x="19912" y="10929"/>
                    <a:pt x="20122" y="10784"/>
                    <a:pt x="20276" y="10648"/>
                  </a:cubicBezTo>
                  <a:cubicBezTo>
                    <a:pt x="20417" y="10505"/>
                    <a:pt x="20549" y="10294"/>
                    <a:pt x="20549" y="10167"/>
                  </a:cubicBezTo>
                  <a:cubicBezTo>
                    <a:pt x="20559" y="10040"/>
                    <a:pt x="20442" y="9824"/>
                    <a:pt x="20311" y="9689"/>
                  </a:cubicBezTo>
                  <a:cubicBezTo>
                    <a:pt x="20176" y="9556"/>
                    <a:pt x="19996" y="9331"/>
                    <a:pt x="19881" y="9201"/>
                  </a:cubicBezTo>
                  <a:cubicBezTo>
                    <a:pt x="19768" y="9069"/>
                    <a:pt x="19587" y="8905"/>
                    <a:pt x="19466" y="8840"/>
                  </a:cubicBezTo>
                  <a:cubicBezTo>
                    <a:pt x="19346" y="8776"/>
                    <a:pt x="19025" y="8562"/>
                    <a:pt x="18769" y="8357"/>
                  </a:cubicBezTo>
                  <a:cubicBezTo>
                    <a:pt x="18493" y="8162"/>
                    <a:pt x="18046" y="7861"/>
                    <a:pt x="17762" y="7697"/>
                  </a:cubicBezTo>
                  <a:cubicBezTo>
                    <a:pt x="17471" y="7536"/>
                    <a:pt x="17129" y="7376"/>
                    <a:pt x="16997" y="7345"/>
                  </a:cubicBezTo>
                  <a:cubicBezTo>
                    <a:pt x="16866" y="7316"/>
                    <a:pt x="16747" y="7241"/>
                    <a:pt x="16722" y="7183"/>
                  </a:cubicBezTo>
                  <a:cubicBezTo>
                    <a:pt x="16713" y="7124"/>
                    <a:pt x="16616" y="7051"/>
                    <a:pt x="16542" y="7011"/>
                  </a:cubicBezTo>
                  <a:cubicBezTo>
                    <a:pt x="16461" y="6977"/>
                    <a:pt x="16382" y="6895"/>
                    <a:pt x="16349" y="6838"/>
                  </a:cubicBezTo>
                  <a:cubicBezTo>
                    <a:pt x="16327" y="6779"/>
                    <a:pt x="16306" y="6659"/>
                    <a:pt x="16306" y="6569"/>
                  </a:cubicBezTo>
                  <a:cubicBezTo>
                    <a:pt x="16306" y="6478"/>
                    <a:pt x="16354" y="6363"/>
                    <a:pt x="16399" y="6312"/>
                  </a:cubicBezTo>
                  <a:cubicBezTo>
                    <a:pt x="16453" y="6262"/>
                    <a:pt x="16498" y="6138"/>
                    <a:pt x="16508" y="6044"/>
                  </a:cubicBezTo>
                  <a:cubicBezTo>
                    <a:pt x="16530" y="5950"/>
                    <a:pt x="16630" y="5864"/>
                    <a:pt x="16750" y="5857"/>
                  </a:cubicBezTo>
                  <a:cubicBezTo>
                    <a:pt x="16870" y="5843"/>
                    <a:pt x="17082" y="5836"/>
                    <a:pt x="17216" y="5836"/>
                  </a:cubicBezTo>
                  <a:cubicBezTo>
                    <a:pt x="17348" y="5828"/>
                    <a:pt x="17522" y="5839"/>
                    <a:pt x="17600" y="5861"/>
                  </a:cubicBezTo>
                  <a:cubicBezTo>
                    <a:pt x="17682" y="5874"/>
                    <a:pt x="17859" y="5882"/>
                    <a:pt x="18000" y="5862"/>
                  </a:cubicBezTo>
                  <a:cubicBezTo>
                    <a:pt x="18141" y="5848"/>
                    <a:pt x="18351" y="5841"/>
                    <a:pt x="18469" y="5848"/>
                  </a:cubicBezTo>
                  <a:cubicBezTo>
                    <a:pt x="18584" y="5862"/>
                    <a:pt x="18768" y="5868"/>
                    <a:pt x="18869" y="5846"/>
                  </a:cubicBezTo>
                  <a:cubicBezTo>
                    <a:pt x="18972" y="5838"/>
                    <a:pt x="19194" y="5833"/>
                    <a:pt x="19363" y="5841"/>
                  </a:cubicBezTo>
                  <a:cubicBezTo>
                    <a:pt x="19532" y="5856"/>
                    <a:pt x="19747" y="5879"/>
                    <a:pt x="19827" y="5916"/>
                  </a:cubicBezTo>
                  <a:cubicBezTo>
                    <a:pt x="19912" y="5948"/>
                    <a:pt x="20070" y="5978"/>
                    <a:pt x="20173" y="5993"/>
                  </a:cubicBezTo>
                  <a:cubicBezTo>
                    <a:pt x="20277" y="6007"/>
                    <a:pt x="20437" y="5976"/>
                    <a:pt x="20527" y="5935"/>
                  </a:cubicBezTo>
                  <a:cubicBezTo>
                    <a:pt x="20614" y="5891"/>
                    <a:pt x="20631" y="5850"/>
                    <a:pt x="20572" y="5826"/>
                  </a:cubicBezTo>
                  <a:cubicBezTo>
                    <a:pt x="20511" y="5806"/>
                    <a:pt x="20291" y="5703"/>
                    <a:pt x="20088" y="5591"/>
                  </a:cubicBezTo>
                  <a:cubicBezTo>
                    <a:pt x="19894" y="5471"/>
                    <a:pt x="19684" y="5289"/>
                    <a:pt x="19641" y="5175"/>
                  </a:cubicBezTo>
                  <a:cubicBezTo>
                    <a:pt x="19608" y="5060"/>
                    <a:pt x="19461" y="4937"/>
                    <a:pt x="19343" y="4902"/>
                  </a:cubicBezTo>
                  <a:cubicBezTo>
                    <a:pt x="19228" y="4860"/>
                    <a:pt x="19017" y="4726"/>
                    <a:pt x="18879" y="4593"/>
                  </a:cubicBezTo>
                  <a:cubicBezTo>
                    <a:pt x="18748" y="4458"/>
                    <a:pt x="18618" y="4266"/>
                    <a:pt x="18629" y="4164"/>
                  </a:cubicBezTo>
                  <a:cubicBezTo>
                    <a:pt x="18629" y="4062"/>
                    <a:pt x="18697" y="3919"/>
                    <a:pt x="18798" y="3852"/>
                  </a:cubicBezTo>
                  <a:cubicBezTo>
                    <a:pt x="18901" y="3785"/>
                    <a:pt x="19029" y="3613"/>
                    <a:pt x="19096" y="3474"/>
                  </a:cubicBezTo>
                  <a:cubicBezTo>
                    <a:pt x="19164" y="3334"/>
                    <a:pt x="19147" y="3164"/>
                    <a:pt x="19063" y="3095"/>
                  </a:cubicBezTo>
                  <a:cubicBezTo>
                    <a:pt x="18981" y="3026"/>
                    <a:pt x="18909" y="2934"/>
                    <a:pt x="18920" y="2887"/>
                  </a:cubicBezTo>
                  <a:cubicBezTo>
                    <a:pt x="18920" y="2841"/>
                    <a:pt x="18961" y="2759"/>
                    <a:pt x="19003" y="2704"/>
                  </a:cubicBezTo>
                  <a:cubicBezTo>
                    <a:pt x="19044" y="2650"/>
                    <a:pt x="19074" y="2545"/>
                    <a:pt x="19086" y="2475"/>
                  </a:cubicBezTo>
                  <a:cubicBezTo>
                    <a:pt x="19086" y="2402"/>
                    <a:pt x="19032" y="2223"/>
                    <a:pt x="18943" y="2078"/>
                  </a:cubicBezTo>
                  <a:cubicBezTo>
                    <a:pt x="18874" y="1928"/>
                    <a:pt x="18773" y="1735"/>
                    <a:pt x="18731" y="1646"/>
                  </a:cubicBezTo>
                  <a:cubicBezTo>
                    <a:pt x="18696" y="1554"/>
                    <a:pt x="18625" y="1436"/>
                    <a:pt x="18568" y="1384"/>
                  </a:cubicBezTo>
                  <a:cubicBezTo>
                    <a:pt x="18507" y="1335"/>
                    <a:pt x="18436" y="1165"/>
                    <a:pt x="18393" y="1011"/>
                  </a:cubicBezTo>
                  <a:cubicBezTo>
                    <a:pt x="18370" y="857"/>
                    <a:pt x="18186" y="638"/>
                    <a:pt x="18009" y="530"/>
                  </a:cubicBezTo>
                  <a:cubicBezTo>
                    <a:pt x="17837" y="417"/>
                    <a:pt x="17372" y="224"/>
                    <a:pt x="16985" y="93"/>
                  </a:cubicBezTo>
                  <a:cubicBezTo>
                    <a:pt x="16590" y="-29"/>
                    <a:pt x="16332" y="-35"/>
                    <a:pt x="16399" y="96"/>
                  </a:cubicBezTo>
                  <a:cubicBezTo>
                    <a:pt x="16463" y="229"/>
                    <a:pt x="16533" y="404"/>
                    <a:pt x="16556" y="486"/>
                  </a:cubicBezTo>
                  <a:cubicBezTo>
                    <a:pt x="16576" y="566"/>
                    <a:pt x="16585" y="769"/>
                    <a:pt x="16563" y="933"/>
                  </a:cubicBezTo>
                  <a:cubicBezTo>
                    <a:pt x="16553" y="1096"/>
                    <a:pt x="16595" y="1304"/>
                    <a:pt x="16658" y="1400"/>
                  </a:cubicBezTo>
                  <a:cubicBezTo>
                    <a:pt x="16725" y="1495"/>
                    <a:pt x="16889" y="1593"/>
                    <a:pt x="17030" y="1615"/>
                  </a:cubicBezTo>
                  <a:cubicBezTo>
                    <a:pt x="17170" y="1643"/>
                    <a:pt x="17323" y="1731"/>
                    <a:pt x="17377" y="1817"/>
                  </a:cubicBezTo>
                  <a:cubicBezTo>
                    <a:pt x="17420" y="1905"/>
                    <a:pt x="17480" y="2022"/>
                    <a:pt x="17480" y="2082"/>
                  </a:cubicBezTo>
                  <a:cubicBezTo>
                    <a:pt x="17491" y="2141"/>
                    <a:pt x="17531" y="2304"/>
                    <a:pt x="17586" y="2443"/>
                  </a:cubicBezTo>
                  <a:cubicBezTo>
                    <a:pt x="17642" y="2582"/>
                    <a:pt x="17665" y="2751"/>
                    <a:pt x="17653" y="2819"/>
                  </a:cubicBezTo>
                  <a:cubicBezTo>
                    <a:pt x="17623" y="2885"/>
                    <a:pt x="17471" y="2991"/>
                    <a:pt x="17283" y="3048"/>
                  </a:cubicBezTo>
                  <a:cubicBezTo>
                    <a:pt x="17097" y="3106"/>
                    <a:pt x="16856" y="3226"/>
                    <a:pt x="16749" y="3311"/>
                  </a:cubicBezTo>
                  <a:cubicBezTo>
                    <a:pt x="16642" y="3394"/>
                    <a:pt x="16474" y="3463"/>
                    <a:pt x="16384" y="3456"/>
                  </a:cubicBezTo>
                  <a:cubicBezTo>
                    <a:pt x="16294" y="3456"/>
                    <a:pt x="16094" y="3521"/>
                    <a:pt x="15937" y="3603"/>
                  </a:cubicBezTo>
                  <a:cubicBezTo>
                    <a:pt x="15784" y="3689"/>
                    <a:pt x="15629" y="3794"/>
                    <a:pt x="15608" y="3841"/>
                  </a:cubicBezTo>
                  <a:cubicBezTo>
                    <a:pt x="15588" y="3889"/>
                    <a:pt x="15496" y="3964"/>
                    <a:pt x="15410" y="4013"/>
                  </a:cubicBezTo>
                  <a:cubicBezTo>
                    <a:pt x="15322" y="4063"/>
                    <a:pt x="15137" y="4247"/>
                    <a:pt x="15004" y="4430"/>
                  </a:cubicBezTo>
                  <a:cubicBezTo>
                    <a:pt x="14869" y="4613"/>
                    <a:pt x="14683" y="4849"/>
                    <a:pt x="14583" y="4950"/>
                  </a:cubicBezTo>
                  <a:cubicBezTo>
                    <a:pt x="14489" y="5053"/>
                    <a:pt x="14433" y="5206"/>
                    <a:pt x="14445" y="5288"/>
                  </a:cubicBezTo>
                  <a:cubicBezTo>
                    <a:pt x="14465" y="5368"/>
                    <a:pt x="14470" y="5549"/>
                    <a:pt x="14470" y="5688"/>
                  </a:cubicBezTo>
                  <a:cubicBezTo>
                    <a:pt x="14459" y="5824"/>
                    <a:pt x="14439" y="6040"/>
                    <a:pt x="14394" y="6163"/>
                  </a:cubicBezTo>
                  <a:cubicBezTo>
                    <a:pt x="14363" y="6287"/>
                    <a:pt x="14211" y="6485"/>
                    <a:pt x="14071" y="6604"/>
                  </a:cubicBezTo>
                  <a:cubicBezTo>
                    <a:pt x="13932" y="6726"/>
                    <a:pt x="13638" y="6863"/>
                    <a:pt x="13421" y="6905"/>
                  </a:cubicBezTo>
                  <a:cubicBezTo>
                    <a:pt x="13206" y="6948"/>
                    <a:pt x="12932" y="7045"/>
                    <a:pt x="12815" y="7120"/>
                  </a:cubicBezTo>
                  <a:cubicBezTo>
                    <a:pt x="12700" y="7196"/>
                    <a:pt x="12611" y="7388"/>
                    <a:pt x="12644" y="7550"/>
                  </a:cubicBezTo>
                  <a:cubicBezTo>
                    <a:pt x="12665" y="7713"/>
                    <a:pt x="12626" y="7906"/>
                    <a:pt x="12570" y="7988"/>
                  </a:cubicBezTo>
                  <a:cubicBezTo>
                    <a:pt x="12505" y="8065"/>
                    <a:pt x="12438" y="8221"/>
                    <a:pt x="12417" y="8332"/>
                  </a:cubicBezTo>
                  <a:cubicBezTo>
                    <a:pt x="12406" y="8445"/>
                    <a:pt x="12248" y="8599"/>
                    <a:pt x="12081" y="8672"/>
                  </a:cubicBezTo>
                  <a:cubicBezTo>
                    <a:pt x="11921" y="8748"/>
                    <a:pt x="11614" y="8934"/>
                    <a:pt x="11397" y="9083"/>
                  </a:cubicBezTo>
                  <a:cubicBezTo>
                    <a:pt x="11186" y="9235"/>
                    <a:pt x="10943" y="9427"/>
                    <a:pt x="10864" y="9509"/>
                  </a:cubicBezTo>
                  <a:cubicBezTo>
                    <a:pt x="10796" y="9597"/>
                    <a:pt x="10737" y="9724"/>
                    <a:pt x="10782" y="9797"/>
                  </a:cubicBezTo>
                  <a:cubicBezTo>
                    <a:pt x="10818" y="9873"/>
                    <a:pt x="10814" y="10006"/>
                    <a:pt x="10782" y="10093"/>
                  </a:cubicBezTo>
                  <a:cubicBezTo>
                    <a:pt x="10738" y="10178"/>
                    <a:pt x="10514" y="10389"/>
                    <a:pt x="10260" y="10556"/>
                  </a:cubicBezTo>
                  <a:cubicBezTo>
                    <a:pt x="10011" y="10725"/>
                    <a:pt x="9747" y="10965"/>
                    <a:pt x="9678" y="11092"/>
                  </a:cubicBezTo>
                  <a:cubicBezTo>
                    <a:pt x="9609" y="11219"/>
                    <a:pt x="9552" y="11387"/>
                    <a:pt x="9564" y="11462"/>
                  </a:cubicBezTo>
                  <a:cubicBezTo>
                    <a:pt x="9575" y="11539"/>
                    <a:pt x="9494" y="11682"/>
                    <a:pt x="9398" y="11780"/>
                  </a:cubicBezTo>
                  <a:cubicBezTo>
                    <a:pt x="9296" y="11876"/>
                    <a:pt x="9120" y="11982"/>
                    <a:pt x="8997" y="12008"/>
                  </a:cubicBezTo>
                  <a:cubicBezTo>
                    <a:pt x="8873" y="12038"/>
                    <a:pt x="8709" y="12107"/>
                    <a:pt x="8654" y="12172"/>
                  </a:cubicBezTo>
                  <a:cubicBezTo>
                    <a:pt x="8592" y="12234"/>
                    <a:pt x="8534" y="12321"/>
                    <a:pt x="8534" y="12368"/>
                  </a:cubicBezTo>
                  <a:cubicBezTo>
                    <a:pt x="8534" y="12414"/>
                    <a:pt x="8429" y="12544"/>
                    <a:pt x="8324" y="12665"/>
                  </a:cubicBezTo>
                  <a:cubicBezTo>
                    <a:pt x="8217" y="12785"/>
                    <a:pt x="7974" y="12933"/>
                    <a:pt x="7805" y="13006"/>
                  </a:cubicBezTo>
                  <a:cubicBezTo>
                    <a:pt x="7636" y="13080"/>
                    <a:pt x="7416" y="13115"/>
                    <a:pt x="7328" y="13089"/>
                  </a:cubicBezTo>
                  <a:cubicBezTo>
                    <a:pt x="7240" y="13060"/>
                    <a:pt x="7043" y="13002"/>
                    <a:pt x="6915" y="12933"/>
                  </a:cubicBezTo>
                  <a:cubicBezTo>
                    <a:pt x="6782" y="12868"/>
                    <a:pt x="6598" y="12734"/>
                    <a:pt x="6523" y="12627"/>
                  </a:cubicBezTo>
                  <a:cubicBezTo>
                    <a:pt x="6442" y="12523"/>
                    <a:pt x="6253" y="12394"/>
                    <a:pt x="6099" y="12351"/>
                  </a:cubicBezTo>
                  <a:cubicBezTo>
                    <a:pt x="5949" y="12302"/>
                    <a:pt x="5754" y="12268"/>
                    <a:pt x="5671" y="12275"/>
                  </a:cubicBezTo>
                  <a:cubicBezTo>
                    <a:pt x="5587" y="12291"/>
                    <a:pt x="5340" y="12256"/>
                    <a:pt x="5124" y="12211"/>
                  </a:cubicBezTo>
                  <a:cubicBezTo>
                    <a:pt x="4909" y="12169"/>
                    <a:pt x="4711" y="12112"/>
                    <a:pt x="4667" y="12090"/>
                  </a:cubicBezTo>
                  <a:cubicBezTo>
                    <a:pt x="4629" y="12066"/>
                    <a:pt x="4526" y="12099"/>
                    <a:pt x="4452" y="12168"/>
                  </a:cubicBezTo>
                  <a:cubicBezTo>
                    <a:pt x="4364" y="12233"/>
                    <a:pt x="4159" y="12298"/>
                    <a:pt x="3980" y="12306"/>
                  </a:cubicBezTo>
                  <a:cubicBezTo>
                    <a:pt x="3803" y="12320"/>
                    <a:pt x="3637" y="12372"/>
                    <a:pt x="3581" y="12424"/>
                  </a:cubicBezTo>
                  <a:cubicBezTo>
                    <a:pt x="3547" y="12483"/>
                    <a:pt x="3518" y="12614"/>
                    <a:pt x="3529" y="12720"/>
                  </a:cubicBezTo>
                  <a:cubicBezTo>
                    <a:pt x="3540" y="12826"/>
                    <a:pt x="3354" y="13019"/>
                    <a:pt x="3102" y="13134"/>
                  </a:cubicBezTo>
                  <a:cubicBezTo>
                    <a:pt x="2860" y="13256"/>
                    <a:pt x="2604" y="13404"/>
                    <a:pt x="2523" y="13457"/>
                  </a:cubicBezTo>
                  <a:cubicBezTo>
                    <a:pt x="2449" y="13512"/>
                    <a:pt x="2275" y="13611"/>
                    <a:pt x="2134" y="13676"/>
                  </a:cubicBezTo>
                  <a:cubicBezTo>
                    <a:pt x="1990" y="13734"/>
                    <a:pt x="1767" y="13860"/>
                    <a:pt x="1631" y="13942"/>
                  </a:cubicBezTo>
                  <a:cubicBezTo>
                    <a:pt x="1499" y="14028"/>
                    <a:pt x="1379" y="14155"/>
                    <a:pt x="1379" y="14231"/>
                  </a:cubicBezTo>
                  <a:cubicBezTo>
                    <a:pt x="1379" y="14307"/>
                    <a:pt x="1291" y="14401"/>
                    <a:pt x="1200" y="14447"/>
                  </a:cubicBezTo>
                  <a:cubicBezTo>
                    <a:pt x="1104" y="14488"/>
                    <a:pt x="1032" y="14613"/>
                    <a:pt x="1032" y="14724"/>
                  </a:cubicBezTo>
                  <a:cubicBezTo>
                    <a:pt x="1044" y="14835"/>
                    <a:pt x="1051" y="15030"/>
                    <a:pt x="1085" y="15154"/>
                  </a:cubicBezTo>
                  <a:cubicBezTo>
                    <a:pt x="1107" y="15280"/>
                    <a:pt x="1053" y="15490"/>
                    <a:pt x="966" y="15624"/>
                  </a:cubicBezTo>
                  <a:cubicBezTo>
                    <a:pt x="870" y="15757"/>
                    <a:pt x="632" y="16003"/>
                    <a:pt x="405" y="16158"/>
                  </a:cubicBezTo>
                  <a:cubicBezTo>
                    <a:pt x="182" y="16311"/>
                    <a:pt x="1" y="16502"/>
                    <a:pt x="1" y="16569"/>
                  </a:cubicBezTo>
                  <a:cubicBezTo>
                    <a:pt x="-11" y="16635"/>
                    <a:pt x="71" y="16723"/>
                    <a:pt x="183" y="16747"/>
                  </a:cubicBezTo>
                  <a:cubicBezTo>
                    <a:pt x="293" y="16776"/>
                    <a:pt x="486" y="16768"/>
                    <a:pt x="614" y="16722"/>
                  </a:cubicBezTo>
                  <a:cubicBezTo>
                    <a:pt x="748" y="16678"/>
                    <a:pt x="925" y="16897"/>
                    <a:pt x="1002" y="17217"/>
                  </a:cubicBezTo>
                  <a:cubicBezTo>
                    <a:pt x="1089" y="17534"/>
                    <a:pt x="1267" y="17796"/>
                    <a:pt x="1407" y="17811"/>
                  </a:cubicBezTo>
                  <a:cubicBezTo>
                    <a:pt x="1547" y="17819"/>
                    <a:pt x="1712" y="17875"/>
                    <a:pt x="1788" y="17925"/>
                  </a:cubicBezTo>
                  <a:cubicBezTo>
                    <a:pt x="1859" y="17979"/>
                    <a:pt x="2114" y="17962"/>
                    <a:pt x="2354" y="17891"/>
                  </a:cubicBezTo>
                  <a:cubicBezTo>
                    <a:pt x="2593" y="17820"/>
                    <a:pt x="2882" y="17864"/>
                    <a:pt x="3002" y="17986"/>
                  </a:cubicBezTo>
                  <a:cubicBezTo>
                    <a:pt x="3125" y="18104"/>
                    <a:pt x="3162" y="18267"/>
                    <a:pt x="3105" y="18335"/>
                  </a:cubicBezTo>
                  <a:cubicBezTo>
                    <a:pt x="3052" y="18402"/>
                    <a:pt x="2987" y="18576"/>
                    <a:pt x="2987" y="18722"/>
                  </a:cubicBezTo>
                  <a:cubicBezTo>
                    <a:pt x="2976" y="18867"/>
                    <a:pt x="3092" y="19091"/>
                    <a:pt x="3227" y="19223"/>
                  </a:cubicBezTo>
                  <a:cubicBezTo>
                    <a:pt x="3368" y="19351"/>
                    <a:pt x="3493" y="19623"/>
                    <a:pt x="3514" y="19821"/>
                  </a:cubicBezTo>
                  <a:cubicBezTo>
                    <a:pt x="3536" y="20019"/>
                    <a:pt x="3446" y="20330"/>
                    <a:pt x="3334" y="20514"/>
                  </a:cubicBezTo>
                  <a:cubicBezTo>
                    <a:pt x="3209" y="20693"/>
                    <a:pt x="3209" y="20907"/>
                    <a:pt x="3322" y="20980"/>
                  </a:cubicBezTo>
                  <a:cubicBezTo>
                    <a:pt x="3429" y="21057"/>
                    <a:pt x="3408" y="21182"/>
                    <a:pt x="3285" y="21270"/>
                  </a:cubicBezTo>
                  <a:cubicBezTo>
                    <a:pt x="3150" y="21351"/>
                    <a:pt x="3134" y="21410"/>
                    <a:pt x="3239" y="21395"/>
                  </a:cubicBezTo>
                  <a:cubicBezTo>
                    <a:pt x="3342" y="21380"/>
                    <a:pt x="3508" y="21362"/>
                    <a:pt x="3603" y="21362"/>
                  </a:cubicBezTo>
                  <a:cubicBezTo>
                    <a:pt x="3699" y="21362"/>
                    <a:pt x="3816" y="21376"/>
                    <a:pt x="3859" y="21398"/>
                  </a:cubicBezTo>
                  <a:close/>
                  <a:moveTo>
                    <a:pt x="3859" y="213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6" name="AutoShape 858"/>
            <p:cNvSpPr>
              <a:spLocks/>
            </p:cNvSpPr>
            <p:nvPr/>
          </p:nvSpPr>
          <p:spPr bwMode="auto">
            <a:xfrm>
              <a:off x="8064500" y="4953000"/>
              <a:ext cx="15875" cy="11113"/>
            </a:xfrm>
            <a:custGeom>
              <a:avLst/>
              <a:gdLst/>
              <a:ahLst/>
              <a:cxnLst/>
              <a:rect l="0" t="0" r="r" b="b"/>
              <a:pathLst>
                <a:path w="21600" h="21600">
                  <a:moveTo>
                    <a:pt x="21600" y="21600"/>
                  </a:moveTo>
                  <a:cubicBezTo>
                    <a:pt x="17970" y="16009"/>
                    <a:pt x="8149" y="6431"/>
                    <a:pt x="0" y="0"/>
                  </a:cubicBezTo>
                  <a:cubicBezTo>
                    <a:pt x="8164" y="6456"/>
                    <a:pt x="17970" y="16009"/>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7" name="AutoShape 859"/>
            <p:cNvSpPr>
              <a:spLocks/>
            </p:cNvSpPr>
            <p:nvPr/>
          </p:nvSpPr>
          <p:spPr bwMode="auto">
            <a:xfrm>
              <a:off x="7785100" y="5486400"/>
              <a:ext cx="276225" cy="292100"/>
            </a:xfrm>
            <a:custGeom>
              <a:avLst/>
              <a:gdLst/>
              <a:ahLst/>
              <a:cxnLst/>
              <a:rect l="0" t="0" r="r" b="b"/>
              <a:pathLst>
                <a:path w="21586" h="21560">
                  <a:moveTo>
                    <a:pt x="9203" y="20356"/>
                  </a:moveTo>
                  <a:cubicBezTo>
                    <a:pt x="9300" y="20304"/>
                    <a:pt x="9537" y="20248"/>
                    <a:pt x="9725" y="20234"/>
                  </a:cubicBezTo>
                  <a:cubicBezTo>
                    <a:pt x="9913" y="20234"/>
                    <a:pt x="10118" y="20121"/>
                    <a:pt x="10180" y="20019"/>
                  </a:cubicBezTo>
                  <a:cubicBezTo>
                    <a:pt x="10235" y="19914"/>
                    <a:pt x="10359" y="19829"/>
                    <a:pt x="10438" y="19829"/>
                  </a:cubicBezTo>
                  <a:cubicBezTo>
                    <a:pt x="10518" y="19829"/>
                    <a:pt x="10797" y="19989"/>
                    <a:pt x="11078" y="20171"/>
                  </a:cubicBezTo>
                  <a:cubicBezTo>
                    <a:pt x="11344" y="20370"/>
                    <a:pt x="11578" y="20389"/>
                    <a:pt x="11606" y="20230"/>
                  </a:cubicBezTo>
                  <a:cubicBezTo>
                    <a:pt x="11620" y="20068"/>
                    <a:pt x="11634" y="19558"/>
                    <a:pt x="11650" y="19094"/>
                  </a:cubicBezTo>
                  <a:cubicBezTo>
                    <a:pt x="11650" y="18629"/>
                    <a:pt x="11513" y="18165"/>
                    <a:pt x="11349" y="18053"/>
                  </a:cubicBezTo>
                  <a:cubicBezTo>
                    <a:pt x="11179" y="17945"/>
                    <a:pt x="10964" y="17798"/>
                    <a:pt x="10868" y="17733"/>
                  </a:cubicBezTo>
                  <a:cubicBezTo>
                    <a:pt x="10779" y="17660"/>
                    <a:pt x="10571" y="17660"/>
                    <a:pt x="10408" y="17688"/>
                  </a:cubicBezTo>
                  <a:cubicBezTo>
                    <a:pt x="10247" y="17713"/>
                    <a:pt x="9991" y="17811"/>
                    <a:pt x="9833" y="17862"/>
                  </a:cubicBezTo>
                  <a:cubicBezTo>
                    <a:pt x="9674" y="17915"/>
                    <a:pt x="9569" y="17803"/>
                    <a:pt x="9611" y="17626"/>
                  </a:cubicBezTo>
                  <a:cubicBezTo>
                    <a:pt x="9644" y="17443"/>
                    <a:pt x="9632" y="17183"/>
                    <a:pt x="9551" y="17059"/>
                  </a:cubicBezTo>
                  <a:cubicBezTo>
                    <a:pt x="9486" y="16923"/>
                    <a:pt x="9514" y="16749"/>
                    <a:pt x="9609" y="16645"/>
                  </a:cubicBezTo>
                  <a:cubicBezTo>
                    <a:pt x="9708" y="16551"/>
                    <a:pt x="9974" y="16450"/>
                    <a:pt x="10192" y="16409"/>
                  </a:cubicBezTo>
                  <a:cubicBezTo>
                    <a:pt x="10408" y="16382"/>
                    <a:pt x="10733" y="16438"/>
                    <a:pt x="10931" y="16524"/>
                  </a:cubicBezTo>
                  <a:cubicBezTo>
                    <a:pt x="11130" y="16605"/>
                    <a:pt x="11370" y="16650"/>
                    <a:pt x="11461" y="16563"/>
                  </a:cubicBezTo>
                  <a:cubicBezTo>
                    <a:pt x="11567" y="16492"/>
                    <a:pt x="11681" y="16331"/>
                    <a:pt x="11745" y="16225"/>
                  </a:cubicBezTo>
                  <a:cubicBezTo>
                    <a:pt x="11803" y="16115"/>
                    <a:pt x="11974" y="16024"/>
                    <a:pt x="12129" y="16011"/>
                  </a:cubicBezTo>
                  <a:cubicBezTo>
                    <a:pt x="12286" y="16011"/>
                    <a:pt x="12713" y="15977"/>
                    <a:pt x="13075" y="15936"/>
                  </a:cubicBezTo>
                  <a:cubicBezTo>
                    <a:pt x="13437" y="15896"/>
                    <a:pt x="13774" y="15743"/>
                    <a:pt x="13838" y="15591"/>
                  </a:cubicBezTo>
                  <a:cubicBezTo>
                    <a:pt x="13893" y="15435"/>
                    <a:pt x="13921" y="15125"/>
                    <a:pt x="13892" y="14903"/>
                  </a:cubicBezTo>
                  <a:cubicBezTo>
                    <a:pt x="13860" y="14680"/>
                    <a:pt x="13919" y="14395"/>
                    <a:pt x="14029" y="14291"/>
                  </a:cubicBezTo>
                  <a:cubicBezTo>
                    <a:pt x="14124" y="14171"/>
                    <a:pt x="14378" y="14089"/>
                    <a:pt x="14571" y="14102"/>
                  </a:cubicBezTo>
                  <a:cubicBezTo>
                    <a:pt x="14763" y="14115"/>
                    <a:pt x="15042" y="14425"/>
                    <a:pt x="15191" y="14793"/>
                  </a:cubicBezTo>
                  <a:cubicBezTo>
                    <a:pt x="15331" y="15164"/>
                    <a:pt x="15552" y="15592"/>
                    <a:pt x="15687" y="15734"/>
                  </a:cubicBezTo>
                  <a:cubicBezTo>
                    <a:pt x="15812" y="15882"/>
                    <a:pt x="16122" y="15940"/>
                    <a:pt x="16368" y="15862"/>
                  </a:cubicBezTo>
                  <a:cubicBezTo>
                    <a:pt x="16612" y="15781"/>
                    <a:pt x="16918" y="15741"/>
                    <a:pt x="17045" y="15765"/>
                  </a:cubicBezTo>
                  <a:cubicBezTo>
                    <a:pt x="17169" y="15778"/>
                    <a:pt x="17374" y="15744"/>
                    <a:pt x="17489" y="15662"/>
                  </a:cubicBezTo>
                  <a:cubicBezTo>
                    <a:pt x="17604" y="15579"/>
                    <a:pt x="17883" y="15487"/>
                    <a:pt x="18098" y="15487"/>
                  </a:cubicBezTo>
                  <a:cubicBezTo>
                    <a:pt x="18310" y="15472"/>
                    <a:pt x="18643" y="15525"/>
                    <a:pt x="18847" y="15580"/>
                  </a:cubicBezTo>
                  <a:cubicBezTo>
                    <a:pt x="19048" y="15648"/>
                    <a:pt x="19247" y="15811"/>
                    <a:pt x="19302" y="15931"/>
                  </a:cubicBezTo>
                  <a:cubicBezTo>
                    <a:pt x="19351" y="16053"/>
                    <a:pt x="19474" y="16145"/>
                    <a:pt x="19570" y="16145"/>
                  </a:cubicBezTo>
                  <a:cubicBezTo>
                    <a:pt x="19667" y="16145"/>
                    <a:pt x="19752" y="15994"/>
                    <a:pt x="19781" y="15825"/>
                  </a:cubicBezTo>
                  <a:cubicBezTo>
                    <a:pt x="19809" y="15655"/>
                    <a:pt x="19792" y="15377"/>
                    <a:pt x="19749" y="15208"/>
                  </a:cubicBezTo>
                  <a:cubicBezTo>
                    <a:pt x="19705" y="15041"/>
                    <a:pt x="19918" y="14334"/>
                    <a:pt x="20206" y="13638"/>
                  </a:cubicBezTo>
                  <a:cubicBezTo>
                    <a:pt x="20494" y="12941"/>
                    <a:pt x="20834" y="12056"/>
                    <a:pt x="20946" y="11670"/>
                  </a:cubicBezTo>
                  <a:cubicBezTo>
                    <a:pt x="21058" y="11284"/>
                    <a:pt x="21168" y="10813"/>
                    <a:pt x="21196" y="10625"/>
                  </a:cubicBezTo>
                  <a:cubicBezTo>
                    <a:pt x="21210" y="10433"/>
                    <a:pt x="21154" y="10203"/>
                    <a:pt x="21056" y="10111"/>
                  </a:cubicBezTo>
                  <a:cubicBezTo>
                    <a:pt x="20959" y="10020"/>
                    <a:pt x="20841" y="9856"/>
                    <a:pt x="20802" y="9745"/>
                  </a:cubicBezTo>
                  <a:cubicBezTo>
                    <a:pt x="20759" y="9638"/>
                    <a:pt x="20598" y="9462"/>
                    <a:pt x="20458" y="9342"/>
                  </a:cubicBezTo>
                  <a:cubicBezTo>
                    <a:pt x="20304" y="9236"/>
                    <a:pt x="20178" y="9063"/>
                    <a:pt x="20132" y="8990"/>
                  </a:cubicBezTo>
                  <a:cubicBezTo>
                    <a:pt x="20098" y="8910"/>
                    <a:pt x="19976" y="8806"/>
                    <a:pt x="19861" y="8757"/>
                  </a:cubicBezTo>
                  <a:cubicBezTo>
                    <a:pt x="19746" y="8710"/>
                    <a:pt x="19627" y="8606"/>
                    <a:pt x="19586" y="8528"/>
                  </a:cubicBezTo>
                  <a:cubicBezTo>
                    <a:pt x="19553" y="8450"/>
                    <a:pt x="19470" y="8327"/>
                    <a:pt x="19407" y="8251"/>
                  </a:cubicBezTo>
                  <a:cubicBezTo>
                    <a:pt x="19334" y="8184"/>
                    <a:pt x="19297" y="8060"/>
                    <a:pt x="19297" y="7992"/>
                  </a:cubicBezTo>
                  <a:cubicBezTo>
                    <a:pt x="19297" y="7923"/>
                    <a:pt x="19405" y="7837"/>
                    <a:pt x="19513" y="7778"/>
                  </a:cubicBezTo>
                  <a:cubicBezTo>
                    <a:pt x="19630" y="7728"/>
                    <a:pt x="19766" y="7640"/>
                    <a:pt x="19825" y="7583"/>
                  </a:cubicBezTo>
                  <a:cubicBezTo>
                    <a:pt x="19891" y="7536"/>
                    <a:pt x="19976" y="7457"/>
                    <a:pt x="20040" y="7457"/>
                  </a:cubicBezTo>
                  <a:cubicBezTo>
                    <a:pt x="20103" y="7457"/>
                    <a:pt x="20124" y="7329"/>
                    <a:pt x="20079" y="7199"/>
                  </a:cubicBezTo>
                  <a:cubicBezTo>
                    <a:pt x="20033" y="7070"/>
                    <a:pt x="19969" y="6913"/>
                    <a:pt x="19917" y="6863"/>
                  </a:cubicBezTo>
                  <a:cubicBezTo>
                    <a:pt x="19863" y="6811"/>
                    <a:pt x="19845" y="6653"/>
                    <a:pt x="19862" y="6522"/>
                  </a:cubicBezTo>
                  <a:cubicBezTo>
                    <a:pt x="19876" y="6392"/>
                    <a:pt x="20086" y="6195"/>
                    <a:pt x="20297" y="6062"/>
                  </a:cubicBezTo>
                  <a:cubicBezTo>
                    <a:pt x="20516" y="5937"/>
                    <a:pt x="20850" y="5799"/>
                    <a:pt x="21038" y="5757"/>
                  </a:cubicBezTo>
                  <a:cubicBezTo>
                    <a:pt x="21229" y="5730"/>
                    <a:pt x="21415" y="5528"/>
                    <a:pt x="21447" y="5345"/>
                  </a:cubicBezTo>
                  <a:cubicBezTo>
                    <a:pt x="21491" y="5165"/>
                    <a:pt x="21473" y="4936"/>
                    <a:pt x="21414" y="4838"/>
                  </a:cubicBezTo>
                  <a:cubicBezTo>
                    <a:pt x="21355" y="4741"/>
                    <a:pt x="21372" y="4560"/>
                    <a:pt x="21451" y="4437"/>
                  </a:cubicBezTo>
                  <a:cubicBezTo>
                    <a:pt x="21524" y="4311"/>
                    <a:pt x="21586" y="3982"/>
                    <a:pt x="21586" y="3697"/>
                  </a:cubicBezTo>
                  <a:cubicBezTo>
                    <a:pt x="21572" y="3410"/>
                    <a:pt x="21489" y="3118"/>
                    <a:pt x="21378" y="3052"/>
                  </a:cubicBezTo>
                  <a:cubicBezTo>
                    <a:pt x="21268" y="2986"/>
                    <a:pt x="20917" y="2932"/>
                    <a:pt x="20594" y="2946"/>
                  </a:cubicBezTo>
                  <a:cubicBezTo>
                    <a:pt x="20272" y="2960"/>
                    <a:pt x="19829" y="3043"/>
                    <a:pt x="19601" y="3124"/>
                  </a:cubicBezTo>
                  <a:cubicBezTo>
                    <a:pt x="19376" y="3209"/>
                    <a:pt x="19008" y="3334"/>
                    <a:pt x="18782" y="3401"/>
                  </a:cubicBezTo>
                  <a:cubicBezTo>
                    <a:pt x="18552" y="3460"/>
                    <a:pt x="18252" y="3488"/>
                    <a:pt x="18113" y="3462"/>
                  </a:cubicBezTo>
                  <a:cubicBezTo>
                    <a:pt x="17969" y="3449"/>
                    <a:pt x="17723" y="3483"/>
                    <a:pt x="17555" y="3570"/>
                  </a:cubicBezTo>
                  <a:cubicBezTo>
                    <a:pt x="17387" y="3657"/>
                    <a:pt x="17174" y="3697"/>
                    <a:pt x="17078" y="3650"/>
                  </a:cubicBezTo>
                  <a:cubicBezTo>
                    <a:pt x="16981" y="3604"/>
                    <a:pt x="16929" y="3462"/>
                    <a:pt x="16986" y="3342"/>
                  </a:cubicBezTo>
                  <a:cubicBezTo>
                    <a:pt x="17012" y="3215"/>
                    <a:pt x="17033" y="2993"/>
                    <a:pt x="16972" y="2846"/>
                  </a:cubicBezTo>
                  <a:cubicBezTo>
                    <a:pt x="16927" y="2695"/>
                    <a:pt x="16903" y="2374"/>
                    <a:pt x="16945" y="2135"/>
                  </a:cubicBezTo>
                  <a:cubicBezTo>
                    <a:pt x="16987" y="1893"/>
                    <a:pt x="16957" y="1542"/>
                    <a:pt x="16898" y="1362"/>
                  </a:cubicBezTo>
                  <a:cubicBezTo>
                    <a:pt x="16821" y="1186"/>
                    <a:pt x="16840" y="870"/>
                    <a:pt x="16895" y="672"/>
                  </a:cubicBezTo>
                  <a:cubicBezTo>
                    <a:pt x="16969" y="477"/>
                    <a:pt x="17011" y="304"/>
                    <a:pt x="17018" y="311"/>
                  </a:cubicBezTo>
                  <a:cubicBezTo>
                    <a:pt x="17025" y="305"/>
                    <a:pt x="16981" y="251"/>
                    <a:pt x="16918" y="178"/>
                  </a:cubicBezTo>
                  <a:cubicBezTo>
                    <a:pt x="16856" y="104"/>
                    <a:pt x="16736" y="58"/>
                    <a:pt x="16650" y="58"/>
                  </a:cubicBezTo>
                  <a:cubicBezTo>
                    <a:pt x="16567" y="58"/>
                    <a:pt x="16460" y="100"/>
                    <a:pt x="16403" y="126"/>
                  </a:cubicBezTo>
                  <a:cubicBezTo>
                    <a:pt x="16346" y="153"/>
                    <a:pt x="16098" y="178"/>
                    <a:pt x="15841" y="165"/>
                  </a:cubicBezTo>
                  <a:cubicBezTo>
                    <a:pt x="15585" y="151"/>
                    <a:pt x="15356" y="114"/>
                    <a:pt x="15340" y="70"/>
                  </a:cubicBezTo>
                  <a:cubicBezTo>
                    <a:pt x="15318" y="27"/>
                    <a:pt x="15184" y="0"/>
                    <a:pt x="15038" y="0"/>
                  </a:cubicBezTo>
                  <a:cubicBezTo>
                    <a:pt x="14893" y="0"/>
                    <a:pt x="14637" y="38"/>
                    <a:pt x="14470" y="81"/>
                  </a:cubicBezTo>
                  <a:cubicBezTo>
                    <a:pt x="14298" y="95"/>
                    <a:pt x="14096" y="113"/>
                    <a:pt x="13999" y="100"/>
                  </a:cubicBezTo>
                  <a:cubicBezTo>
                    <a:pt x="13905" y="74"/>
                    <a:pt x="13568" y="55"/>
                    <a:pt x="13245" y="41"/>
                  </a:cubicBezTo>
                  <a:cubicBezTo>
                    <a:pt x="12924" y="27"/>
                    <a:pt x="12592" y="59"/>
                    <a:pt x="12504" y="86"/>
                  </a:cubicBezTo>
                  <a:cubicBezTo>
                    <a:pt x="12414" y="114"/>
                    <a:pt x="12109" y="122"/>
                    <a:pt x="11822" y="135"/>
                  </a:cubicBezTo>
                  <a:cubicBezTo>
                    <a:pt x="11535" y="149"/>
                    <a:pt x="11205" y="172"/>
                    <a:pt x="11099" y="230"/>
                  </a:cubicBezTo>
                  <a:cubicBezTo>
                    <a:pt x="10983" y="271"/>
                    <a:pt x="10816" y="326"/>
                    <a:pt x="10715" y="326"/>
                  </a:cubicBezTo>
                  <a:cubicBezTo>
                    <a:pt x="10616" y="340"/>
                    <a:pt x="10454" y="351"/>
                    <a:pt x="10367" y="399"/>
                  </a:cubicBezTo>
                  <a:cubicBezTo>
                    <a:pt x="10277" y="447"/>
                    <a:pt x="10174" y="515"/>
                    <a:pt x="10134" y="554"/>
                  </a:cubicBezTo>
                  <a:cubicBezTo>
                    <a:pt x="10109" y="602"/>
                    <a:pt x="10041" y="1574"/>
                    <a:pt x="9983" y="2719"/>
                  </a:cubicBezTo>
                  <a:cubicBezTo>
                    <a:pt x="9941" y="3865"/>
                    <a:pt x="8744" y="4842"/>
                    <a:pt x="7330" y="4870"/>
                  </a:cubicBezTo>
                  <a:cubicBezTo>
                    <a:pt x="5916" y="4897"/>
                    <a:pt x="4695" y="4919"/>
                    <a:pt x="4652" y="4866"/>
                  </a:cubicBezTo>
                  <a:cubicBezTo>
                    <a:pt x="4596" y="4822"/>
                    <a:pt x="4451" y="4817"/>
                    <a:pt x="4333" y="4842"/>
                  </a:cubicBezTo>
                  <a:cubicBezTo>
                    <a:pt x="4221" y="4882"/>
                    <a:pt x="4024" y="4977"/>
                    <a:pt x="3880" y="5053"/>
                  </a:cubicBezTo>
                  <a:cubicBezTo>
                    <a:pt x="3742" y="5132"/>
                    <a:pt x="3539" y="5190"/>
                    <a:pt x="3414" y="5176"/>
                  </a:cubicBezTo>
                  <a:cubicBezTo>
                    <a:pt x="3291" y="5147"/>
                    <a:pt x="3163" y="5327"/>
                    <a:pt x="3148" y="5557"/>
                  </a:cubicBezTo>
                  <a:cubicBezTo>
                    <a:pt x="3118" y="5782"/>
                    <a:pt x="2929" y="6011"/>
                    <a:pt x="2704" y="6037"/>
                  </a:cubicBezTo>
                  <a:cubicBezTo>
                    <a:pt x="2484" y="6065"/>
                    <a:pt x="2458" y="6351"/>
                    <a:pt x="2652" y="6646"/>
                  </a:cubicBezTo>
                  <a:cubicBezTo>
                    <a:pt x="2851" y="6943"/>
                    <a:pt x="3267" y="7230"/>
                    <a:pt x="3584" y="7298"/>
                  </a:cubicBezTo>
                  <a:cubicBezTo>
                    <a:pt x="3900" y="7366"/>
                    <a:pt x="3785" y="7502"/>
                    <a:pt x="3327" y="7624"/>
                  </a:cubicBezTo>
                  <a:cubicBezTo>
                    <a:pt x="2870" y="7745"/>
                    <a:pt x="2412" y="7738"/>
                    <a:pt x="2286" y="7647"/>
                  </a:cubicBezTo>
                  <a:cubicBezTo>
                    <a:pt x="2175" y="7542"/>
                    <a:pt x="2047" y="7677"/>
                    <a:pt x="2004" y="7947"/>
                  </a:cubicBezTo>
                  <a:cubicBezTo>
                    <a:pt x="1976" y="8219"/>
                    <a:pt x="1888" y="8873"/>
                    <a:pt x="1800" y="9398"/>
                  </a:cubicBezTo>
                  <a:cubicBezTo>
                    <a:pt x="1742" y="9928"/>
                    <a:pt x="1515" y="10491"/>
                    <a:pt x="1309" y="10649"/>
                  </a:cubicBezTo>
                  <a:cubicBezTo>
                    <a:pt x="1102" y="10802"/>
                    <a:pt x="736" y="10875"/>
                    <a:pt x="489" y="10806"/>
                  </a:cubicBezTo>
                  <a:cubicBezTo>
                    <a:pt x="241" y="10741"/>
                    <a:pt x="18" y="10762"/>
                    <a:pt x="1" y="10864"/>
                  </a:cubicBezTo>
                  <a:cubicBezTo>
                    <a:pt x="-14" y="10968"/>
                    <a:pt x="146" y="11380"/>
                    <a:pt x="335" y="11793"/>
                  </a:cubicBezTo>
                  <a:cubicBezTo>
                    <a:pt x="536" y="12202"/>
                    <a:pt x="781" y="12632"/>
                    <a:pt x="911" y="12687"/>
                  </a:cubicBezTo>
                  <a:cubicBezTo>
                    <a:pt x="1019" y="12776"/>
                    <a:pt x="1122" y="12959"/>
                    <a:pt x="1108" y="13108"/>
                  </a:cubicBezTo>
                  <a:cubicBezTo>
                    <a:pt x="1108" y="13260"/>
                    <a:pt x="1242" y="13561"/>
                    <a:pt x="1422" y="13773"/>
                  </a:cubicBezTo>
                  <a:cubicBezTo>
                    <a:pt x="1603" y="13986"/>
                    <a:pt x="1738" y="14398"/>
                    <a:pt x="1725" y="14685"/>
                  </a:cubicBezTo>
                  <a:cubicBezTo>
                    <a:pt x="1710" y="14971"/>
                    <a:pt x="1827" y="15312"/>
                    <a:pt x="1973" y="15451"/>
                  </a:cubicBezTo>
                  <a:cubicBezTo>
                    <a:pt x="2128" y="15584"/>
                    <a:pt x="2327" y="15877"/>
                    <a:pt x="2428" y="16093"/>
                  </a:cubicBezTo>
                  <a:cubicBezTo>
                    <a:pt x="2533" y="16308"/>
                    <a:pt x="2811" y="16651"/>
                    <a:pt x="3076" y="16832"/>
                  </a:cubicBezTo>
                  <a:cubicBezTo>
                    <a:pt x="3329" y="17019"/>
                    <a:pt x="3470" y="17213"/>
                    <a:pt x="3396" y="17270"/>
                  </a:cubicBezTo>
                  <a:cubicBezTo>
                    <a:pt x="3312" y="17322"/>
                    <a:pt x="3465" y="17580"/>
                    <a:pt x="3736" y="17837"/>
                  </a:cubicBezTo>
                  <a:cubicBezTo>
                    <a:pt x="3999" y="18099"/>
                    <a:pt x="4589" y="18568"/>
                    <a:pt x="5040" y="18886"/>
                  </a:cubicBezTo>
                  <a:cubicBezTo>
                    <a:pt x="5485" y="19213"/>
                    <a:pt x="5919" y="19633"/>
                    <a:pt x="6008" y="19831"/>
                  </a:cubicBezTo>
                  <a:cubicBezTo>
                    <a:pt x="6089" y="20035"/>
                    <a:pt x="6460" y="20308"/>
                    <a:pt x="6820" y="20459"/>
                  </a:cubicBezTo>
                  <a:cubicBezTo>
                    <a:pt x="7181" y="20609"/>
                    <a:pt x="7480" y="20853"/>
                    <a:pt x="7522" y="21003"/>
                  </a:cubicBezTo>
                  <a:cubicBezTo>
                    <a:pt x="7539" y="21158"/>
                    <a:pt x="7708" y="21322"/>
                    <a:pt x="7880" y="21381"/>
                  </a:cubicBezTo>
                  <a:cubicBezTo>
                    <a:pt x="8049" y="21447"/>
                    <a:pt x="8232" y="21510"/>
                    <a:pt x="8273" y="21550"/>
                  </a:cubicBezTo>
                  <a:cubicBezTo>
                    <a:pt x="8300" y="21600"/>
                    <a:pt x="8476" y="21455"/>
                    <a:pt x="8637" y="21260"/>
                  </a:cubicBezTo>
                  <a:cubicBezTo>
                    <a:pt x="8791" y="21060"/>
                    <a:pt x="8958" y="20801"/>
                    <a:pt x="8973" y="20675"/>
                  </a:cubicBezTo>
                  <a:cubicBezTo>
                    <a:pt x="9002" y="20550"/>
                    <a:pt x="9110" y="20414"/>
                    <a:pt x="9203" y="20356"/>
                  </a:cubicBezTo>
                  <a:close/>
                  <a:moveTo>
                    <a:pt x="9203" y="203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8" name="AutoShape 860"/>
            <p:cNvSpPr>
              <a:spLocks/>
            </p:cNvSpPr>
            <p:nvPr/>
          </p:nvSpPr>
          <p:spPr bwMode="auto">
            <a:xfrm>
              <a:off x="7810500" y="5499100"/>
              <a:ext cx="95250" cy="60325"/>
            </a:xfrm>
            <a:custGeom>
              <a:avLst/>
              <a:gdLst/>
              <a:ahLst/>
              <a:cxnLst/>
              <a:rect l="0" t="0" r="r" b="b"/>
              <a:pathLst>
                <a:path w="21274" h="21541">
                  <a:moveTo>
                    <a:pt x="5072" y="19939"/>
                  </a:moveTo>
                  <a:cubicBezTo>
                    <a:pt x="5409" y="19821"/>
                    <a:pt x="5824" y="19843"/>
                    <a:pt x="5987" y="20052"/>
                  </a:cubicBezTo>
                  <a:cubicBezTo>
                    <a:pt x="6109" y="20305"/>
                    <a:pt x="9609" y="20201"/>
                    <a:pt x="13664" y="20070"/>
                  </a:cubicBezTo>
                  <a:cubicBezTo>
                    <a:pt x="17717" y="19939"/>
                    <a:pt x="21109" y="15266"/>
                    <a:pt x="21270" y="9804"/>
                  </a:cubicBezTo>
                  <a:cubicBezTo>
                    <a:pt x="21397" y="4329"/>
                    <a:pt x="18638" y="61"/>
                    <a:pt x="15110" y="257"/>
                  </a:cubicBezTo>
                  <a:cubicBezTo>
                    <a:pt x="11577" y="454"/>
                    <a:pt x="8519" y="550"/>
                    <a:pt x="8370" y="318"/>
                  </a:cubicBezTo>
                  <a:cubicBezTo>
                    <a:pt x="8210" y="126"/>
                    <a:pt x="7773" y="0"/>
                    <a:pt x="7416" y="0"/>
                  </a:cubicBezTo>
                  <a:cubicBezTo>
                    <a:pt x="7060" y="0"/>
                    <a:pt x="6443" y="157"/>
                    <a:pt x="6056" y="292"/>
                  </a:cubicBezTo>
                  <a:cubicBezTo>
                    <a:pt x="5666" y="427"/>
                    <a:pt x="5268" y="733"/>
                    <a:pt x="5124" y="885"/>
                  </a:cubicBezTo>
                  <a:cubicBezTo>
                    <a:pt x="5016" y="1108"/>
                    <a:pt x="5086" y="1866"/>
                    <a:pt x="5282" y="2672"/>
                  </a:cubicBezTo>
                  <a:cubicBezTo>
                    <a:pt x="5522" y="3435"/>
                    <a:pt x="4834" y="5471"/>
                    <a:pt x="3861" y="7193"/>
                  </a:cubicBezTo>
                  <a:cubicBezTo>
                    <a:pt x="2896" y="8910"/>
                    <a:pt x="1417" y="12092"/>
                    <a:pt x="624" y="14333"/>
                  </a:cubicBezTo>
                  <a:cubicBezTo>
                    <a:pt x="-170" y="16569"/>
                    <a:pt x="-203" y="18793"/>
                    <a:pt x="508" y="19385"/>
                  </a:cubicBezTo>
                  <a:cubicBezTo>
                    <a:pt x="1251" y="19909"/>
                    <a:pt x="1815" y="20610"/>
                    <a:pt x="1815" y="20867"/>
                  </a:cubicBezTo>
                  <a:cubicBezTo>
                    <a:pt x="1815" y="21138"/>
                    <a:pt x="2083" y="21391"/>
                    <a:pt x="2437" y="21530"/>
                  </a:cubicBezTo>
                  <a:cubicBezTo>
                    <a:pt x="2794" y="21600"/>
                    <a:pt x="3377" y="21321"/>
                    <a:pt x="3773" y="20946"/>
                  </a:cubicBezTo>
                  <a:cubicBezTo>
                    <a:pt x="4184" y="20584"/>
                    <a:pt x="4751" y="20131"/>
                    <a:pt x="5072" y="19939"/>
                  </a:cubicBezTo>
                  <a:close/>
                  <a:moveTo>
                    <a:pt x="5072" y="199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59" name="AutoShape 861"/>
            <p:cNvSpPr>
              <a:spLocks/>
            </p:cNvSpPr>
            <p:nvPr/>
          </p:nvSpPr>
          <p:spPr bwMode="auto">
            <a:xfrm>
              <a:off x="7886700" y="5397500"/>
              <a:ext cx="374650" cy="431800"/>
            </a:xfrm>
            <a:custGeom>
              <a:avLst/>
              <a:gdLst/>
              <a:ahLst/>
              <a:cxnLst/>
              <a:rect l="0" t="0" r="r" b="b"/>
              <a:pathLst>
                <a:path w="21542" h="21581">
                  <a:moveTo>
                    <a:pt x="2419" y="21222"/>
                  </a:moveTo>
                  <a:cubicBezTo>
                    <a:pt x="2504" y="21074"/>
                    <a:pt x="2607" y="20946"/>
                    <a:pt x="2658" y="20946"/>
                  </a:cubicBezTo>
                  <a:cubicBezTo>
                    <a:pt x="2709" y="20946"/>
                    <a:pt x="2847" y="20893"/>
                    <a:pt x="2971" y="20833"/>
                  </a:cubicBezTo>
                  <a:cubicBezTo>
                    <a:pt x="3095" y="20780"/>
                    <a:pt x="3225" y="20630"/>
                    <a:pt x="3284" y="20521"/>
                  </a:cubicBezTo>
                  <a:cubicBezTo>
                    <a:pt x="3328" y="20406"/>
                    <a:pt x="3464" y="20304"/>
                    <a:pt x="3571" y="20273"/>
                  </a:cubicBezTo>
                  <a:cubicBezTo>
                    <a:pt x="3681" y="20256"/>
                    <a:pt x="3877" y="20157"/>
                    <a:pt x="4007" y="20063"/>
                  </a:cubicBezTo>
                  <a:cubicBezTo>
                    <a:pt x="4145" y="19980"/>
                    <a:pt x="4297" y="19888"/>
                    <a:pt x="4361" y="19888"/>
                  </a:cubicBezTo>
                  <a:cubicBezTo>
                    <a:pt x="4426" y="19879"/>
                    <a:pt x="4537" y="19930"/>
                    <a:pt x="4615" y="19979"/>
                  </a:cubicBezTo>
                  <a:cubicBezTo>
                    <a:pt x="4684" y="20038"/>
                    <a:pt x="4807" y="20139"/>
                    <a:pt x="4873" y="20217"/>
                  </a:cubicBezTo>
                  <a:cubicBezTo>
                    <a:pt x="4935" y="20297"/>
                    <a:pt x="4996" y="20441"/>
                    <a:pt x="4986" y="20543"/>
                  </a:cubicBezTo>
                  <a:cubicBezTo>
                    <a:pt x="4986" y="20647"/>
                    <a:pt x="5001" y="20715"/>
                    <a:pt x="5023" y="20696"/>
                  </a:cubicBezTo>
                  <a:cubicBezTo>
                    <a:pt x="5045" y="20677"/>
                    <a:pt x="5138" y="20668"/>
                    <a:pt x="5229" y="20668"/>
                  </a:cubicBezTo>
                  <a:cubicBezTo>
                    <a:pt x="5320" y="20659"/>
                    <a:pt x="5486" y="20629"/>
                    <a:pt x="5599" y="20580"/>
                  </a:cubicBezTo>
                  <a:cubicBezTo>
                    <a:pt x="5707" y="20524"/>
                    <a:pt x="5834" y="20541"/>
                    <a:pt x="5874" y="20603"/>
                  </a:cubicBezTo>
                  <a:cubicBezTo>
                    <a:pt x="5916" y="20665"/>
                    <a:pt x="5937" y="20765"/>
                    <a:pt x="5926" y="20822"/>
                  </a:cubicBezTo>
                  <a:cubicBezTo>
                    <a:pt x="5926" y="20877"/>
                    <a:pt x="6024" y="20914"/>
                    <a:pt x="6162" y="20914"/>
                  </a:cubicBezTo>
                  <a:cubicBezTo>
                    <a:pt x="6301" y="20906"/>
                    <a:pt x="6490" y="20837"/>
                    <a:pt x="6581" y="20748"/>
                  </a:cubicBezTo>
                  <a:cubicBezTo>
                    <a:pt x="6676" y="20665"/>
                    <a:pt x="6768" y="20479"/>
                    <a:pt x="6768" y="20344"/>
                  </a:cubicBezTo>
                  <a:cubicBezTo>
                    <a:pt x="6779" y="20210"/>
                    <a:pt x="6876" y="20091"/>
                    <a:pt x="6980" y="20073"/>
                  </a:cubicBezTo>
                  <a:cubicBezTo>
                    <a:pt x="7083" y="20055"/>
                    <a:pt x="7247" y="20074"/>
                    <a:pt x="7348" y="20084"/>
                  </a:cubicBezTo>
                  <a:cubicBezTo>
                    <a:pt x="7442" y="20110"/>
                    <a:pt x="7650" y="20020"/>
                    <a:pt x="7812" y="19905"/>
                  </a:cubicBezTo>
                  <a:cubicBezTo>
                    <a:pt x="7964" y="19782"/>
                    <a:pt x="8294" y="19628"/>
                    <a:pt x="8531" y="19553"/>
                  </a:cubicBezTo>
                  <a:cubicBezTo>
                    <a:pt x="8764" y="19470"/>
                    <a:pt x="8938" y="19462"/>
                    <a:pt x="8928" y="19525"/>
                  </a:cubicBezTo>
                  <a:cubicBezTo>
                    <a:pt x="8911" y="19585"/>
                    <a:pt x="8815" y="19750"/>
                    <a:pt x="8723" y="19894"/>
                  </a:cubicBezTo>
                  <a:cubicBezTo>
                    <a:pt x="8623" y="20030"/>
                    <a:pt x="8584" y="20170"/>
                    <a:pt x="8616" y="20199"/>
                  </a:cubicBezTo>
                  <a:cubicBezTo>
                    <a:pt x="8651" y="20228"/>
                    <a:pt x="8715" y="20330"/>
                    <a:pt x="8744" y="20435"/>
                  </a:cubicBezTo>
                  <a:cubicBezTo>
                    <a:pt x="8774" y="20540"/>
                    <a:pt x="8945" y="20682"/>
                    <a:pt x="9112" y="20761"/>
                  </a:cubicBezTo>
                  <a:cubicBezTo>
                    <a:pt x="9286" y="20827"/>
                    <a:pt x="9562" y="20837"/>
                    <a:pt x="9742" y="20768"/>
                  </a:cubicBezTo>
                  <a:cubicBezTo>
                    <a:pt x="9917" y="20687"/>
                    <a:pt x="10155" y="20520"/>
                    <a:pt x="10277" y="20385"/>
                  </a:cubicBezTo>
                  <a:cubicBezTo>
                    <a:pt x="10401" y="20250"/>
                    <a:pt x="10742" y="19910"/>
                    <a:pt x="11067" y="19654"/>
                  </a:cubicBezTo>
                  <a:cubicBezTo>
                    <a:pt x="11386" y="19395"/>
                    <a:pt x="11685" y="19098"/>
                    <a:pt x="11744" y="19004"/>
                  </a:cubicBezTo>
                  <a:cubicBezTo>
                    <a:pt x="11807" y="18912"/>
                    <a:pt x="11942" y="18771"/>
                    <a:pt x="12061" y="18696"/>
                  </a:cubicBezTo>
                  <a:cubicBezTo>
                    <a:pt x="12188" y="18626"/>
                    <a:pt x="12391" y="18536"/>
                    <a:pt x="12526" y="18500"/>
                  </a:cubicBezTo>
                  <a:cubicBezTo>
                    <a:pt x="12658" y="18464"/>
                    <a:pt x="12879" y="18299"/>
                    <a:pt x="13010" y="18127"/>
                  </a:cubicBezTo>
                  <a:cubicBezTo>
                    <a:pt x="13135" y="17950"/>
                    <a:pt x="13245" y="17720"/>
                    <a:pt x="13256" y="17608"/>
                  </a:cubicBezTo>
                  <a:cubicBezTo>
                    <a:pt x="13267" y="17497"/>
                    <a:pt x="13326" y="17267"/>
                    <a:pt x="13368" y="17090"/>
                  </a:cubicBezTo>
                  <a:cubicBezTo>
                    <a:pt x="13436" y="16919"/>
                    <a:pt x="13529" y="16494"/>
                    <a:pt x="13571" y="16150"/>
                  </a:cubicBezTo>
                  <a:cubicBezTo>
                    <a:pt x="13615" y="15802"/>
                    <a:pt x="13628" y="15485"/>
                    <a:pt x="13593" y="15436"/>
                  </a:cubicBezTo>
                  <a:cubicBezTo>
                    <a:pt x="13559" y="15386"/>
                    <a:pt x="13521" y="15204"/>
                    <a:pt x="13489" y="15029"/>
                  </a:cubicBezTo>
                  <a:cubicBezTo>
                    <a:pt x="13468" y="14853"/>
                    <a:pt x="13531" y="14597"/>
                    <a:pt x="13618" y="14456"/>
                  </a:cubicBezTo>
                  <a:cubicBezTo>
                    <a:pt x="13709" y="14317"/>
                    <a:pt x="13967" y="14024"/>
                    <a:pt x="14212" y="13820"/>
                  </a:cubicBezTo>
                  <a:cubicBezTo>
                    <a:pt x="14452" y="13612"/>
                    <a:pt x="14651" y="13322"/>
                    <a:pt x="14662" y="13185"/>
                  </a:cubicBezTo>
                  <a:cubicBezTo>
                    <a:pt x="14673" y="13048"/>
                    <a:pt x="14808" y="12807"/>
                    <a:pt x="14957" y="12649"/>
                  </a:cubicBezTo>
                  <a:cubicBezTo>
                    <a:pt x="15106" y="12489"/>
                    <a:pt x="15374" y="12269"/>
                    <a:pt x="15554" y="12158"/>
                  </a:cubicBezTo>
                  <a:cubicBezTo>
                    <a:pt x="15729" y="12043"/>
                    <a:pt x="15953" y="11970"/>
                    <a:pt x="16042" y="11996"/>
                  </a:cubicBezTo>
                  <a:cubicBezTo>
                    <a:pt x="16130" y="12025"/>
                    <a:pt x="16312" y="11958"/>
                    <a:pt x="16446" y="11869"/>
                  </a:cubicBezTo>
                  <a:cubicBezTo>
                    <a:pt x="16581" y="11777"/>
                    <a:pt x="16804" y="11661"/>
                    <a:pt x="16949" y="11623"/>
                  </a:cubicBezTo>
                  <a:cubicBezTo>
                    <a:pt x="17093" y="11577"/>
                    <a:pt x="17424" y="11268"/>
                    <a:pt x="17673" y="10920"/>
                  </a:cubicBezTo>
                  <a:cubicBezTo>
                    <a:pt x="17920" y="10573"/>
                    <a:pt x="18156" y="10119"/>
                    <a:pt x="18167" y="9903"/>
                  </a:cubicBezTo>
                  <a:cubicBezTo>
                    <a:pt x="18178" y="9685"/>
                    <a:pt x="18282" y="9338"/>
                    <a:pt x="18344" y="9121"/>
                  </a:cubicBezTo>
                  <a:cubicBezTo>
                    <a:pt x="18419" y="8905"/>
                    <a:pt x="18572" y="8695"/>
                    <a:pt x="18676" y="8645"/>
                  </a:cubicBezTo>
                  <a:cubicBezTo>
                    <a:pt x="18779" y="8588"/>
                    <a:pt x="18902" y="8413"/>
                    <a:pt x="18933" y="8232"/>
                  </a:cubicBezTo>
                  <a:cubicBezTo>
                    <a:pt x="18966" y="8051"/>
                    <a:pt x="18975" y="7869"/>
                    <a:pt x="18939" y="7838"/>
                  </a:cubicBezTo>
                  <a:cubicBezTo>
                    <a:pt x="18905" y="7809"/>
                    <a:pt x="18935" y="7615"/>
                    <a:pt x="18986" y="7418"/>
                  </a:cubicBezTo>
                  <a:cubicBezTo>
                    <a:pt x="19037" y="7222"/>
                    <a:pt x="19076" y="7000"/>
                    <a:pt x="19056" y="6922"/>
                  </a:cubicBezTo>
                  <a:cubicBezTo>
                    <a:pt x="19045" y="6842"/>
                    <a:pt x="19052" y="6625"/>
                    <a:pt x="19087" y="6435"/>
                  </a:cubicBezTo>
                  <a:cubicBezTo>
                    <a:pt x="19117" y="6243"/>
                    <a:pt x="19233" y="5981"/>
                    <a:pt x="19351" y="5859"/>
                  </a:cubicBezTo>
                  <a:cubicBezTo>
                    <a:pt x="19469" y="5737"/>
                    <a:pt x="19561" y="5511"/>
                    <a:pt x="19591" y="5369"/>
                  </a:cubicBezTo>
                  <a:cubicBezTo>
                    <a:pt x="19610" y="5225"/>
                    <a:pt x="19674" y="4992"/>
                    <a:pt x="19718" y="4848"/>
                  </a:cubicBezTo>
                  <a:cubicBezTo>
                    <a:pt x="19772" y="4709"/>
                    <a:pt x="19763" y="4413"/>
                    <a:pt x="19718" y="4192"/>
                  </a:cubicBezTo>
                  <a:cubicBezTo>
                    <a:pt x="19674" y="3970"/>
                    <a:pt x="19900" y="3482"/>
                    <a:pt x="20240" y="3112"/>
                  </a:cubicBezTo>
                  <a:cubicBezTo>
                    <a:pt x="20587" y="2746"/>
                    <a:pt x="20879" y="2335"/>
                    <a:pt x="20921" y="2217"/>
                  </a:cubicBezTo>
                  <a:cubicBezTo>
                    <a:pt x="20967" y="2099"/>
                    <a:pt x="21107" y="1940"/>
                    <a:pt x="21257" y="1871"/>
                  </a:cubicBezTo>
                  <a:cubicBezTo>
                    <a:pt x="21399" y="1794"/>
                    <a:pt x="21527" y="1526"/>
                    <a:pt x="21538" y="1265"/>
                  </a:cubicBezTo>
                  <a:cubicBezTo>
                    <a:pt x="21559" y="1004"/>
                    <a:pt x="21503" y="689"/>
                    <a:pt x="21446" y="562"/>
                  </a:cubicBezTo>
                  <a:cubicBezTo>
                    <a:pt x="21368" y="447"/>
                    <a:pt x="21342" y="309"/>
                    <a:pt x="21342" y="274"/>
                  </a:cubicBezTo>
                  <a:cubicBezTo>
                    <a:pt x="21342" y="238"/>
                    <a:pt x="21278" y="226"/>
                    <a:pt x="21192" y="251"/>
                  </a:cubicBezTo>
                  <a:cubicBezTo>
                    <a:pt x="21107" y="273"/>
                    <a:pt x="20979" y="324"/>
                    <a:pt x="20904" y="347"/>
                  </a:cubicBezTo>
                  <a:cubicBezTo>
                    <a:pt x="20829" y="363"/>
                    <a:pt x="20665" y="353"/>
                    <a:pt x="20539" y="288"/>
                  </a:cubicBezTo>
                  <a:cubicBezTo>
                    <a:pt x="20409" y="227"/>
                    <a:pt x="20265" y="136"/>
                    <a:pt x="20217" y="85"/>
                  </a:cubicBezTo>
                  <a:cubicBezTo>
                    <a:pt x="20165" y="39"/>
                    <a:pt x="20052" y="0"/>
                    <a:pt x="19954" y="0"/>
                  </a:cubicBezTo>
                  <a:cubicBezTo>
                    <a:pt x="19857" y="0"/>
                    <a:pt x="19677" y="6"/>
                    <a:pt x="19558" y="17"/>
                  </a:cubicBezTo>
                  <a:cubicBezTo>
                    <a:pt x="19439" y="27"/>
                    <a:pt x="19270" y="61"/>
                    <a:pt x="19195" y="118"/>
                  </a:cubicBezTo>
                  <a:cubicBezTo>
                    <a:pt x="19110" y="163"/>
                    <a:pt x="18953" y="203"/>
                    <a:pt x="18838" y="203"/>
                  </a:cubicBezTo>
                  <a:cubicBezTo>
                    <a:pt x="18722" y="194"/>
                    <a:pt x="18359" y="288"/>
                    <a:pt x="18045" y="425"/>
                  </a:cubicBezTo>
                  <a:cubicBezTo>
                    <a:pt x="17728" y="558"/>
                    <a:pt x="17406" y="712"/>
                    <a:pt x="17344" y="784"/>
                  </a:cubicBezTo>
                  <a:cubicBezTo>
                    <a:pt x="17284" y="858"/>
                    <a:pt x="17124" y="952"/>
                    <a:pt x="16994" y="970"/>
                  </a:cubicBezTo>
                  <a:cubicBezTo>
                    <a:pt x="16864" y="996"/>
                    <a:pt x="16609" y="1168"/>
                    <a:pt x="16409" y="1324"/>
                  </a:cubicBezTo>
                  <a:cubicBezTo>
                    <a:pt x="16211" y="1486"/>
                    <a:pt x="15751" y="2057"/>
                    <a:pt x="15373" y="2583"/>
                  </a:cubicBezTo>
                  <a:cubicBezTo>
                    <a:pt x="15001" y="3110"/>
                    <a:pt x="14641" y="3611"/>
                    <a:pt x="14596" y="3708"/>
                  </a:cubicBezTo>
                  <a:cubicBezTo>
                    <a:pt x="14549" y="3801"/>
                    <a:pt x="14439" y="3968"/>
                    <a:pt x="14349" y="4076"/>
                  </a:cubicBezTo>
                  <a:cubicBezTo>
                    <a:pt x="14264" y="4186"/>
                    <a:pt x="14170" y="4320"/>
                    <a:pt x="14133" y="4369"/>
                  </a:cubicBezTo>
                  <a:cubicBezTo>
                    <a:pt x="14098" y="4420"/>
                    <a:pt x="14118" y="4548"/>
                    <a:pt x="14183" y="4651"/>
                  </a:cubicBezTo>
                  <a:cubicBezTo>
                    <a:pt x="14259" y="4746"/>
                    <a:pt x="14274" y="4890"/>
                    <a:pt x="14256" y="4953"/>
                  </a:cubicBezTo>
                  <a:cubicBezTo>
                    <a:pt x="14236" y="5017"/>
                    <a:pt x="14145" y="5077"/>
                    <a:pt x="14059" y="5098"/>
                  </a:cubicBezTo>
                  <a:cubicBezTo>
                    <a:pt x="13975" y="5119"/>
                    <a:pt x="13889" y="5096"/>
                    <a:pt x="13868" y="5059"/>
                  </a:cubicBezTo>
                  <a:cubicBezTo>
                    <a:pt x="13854" y="5022"/>
                    <a:pt x="13785" y="4999"/>
                    <a:pt x="13729" y="5015"/>
                  </a:cubicBezTo>
                  <a:cubicBezTo>
                    <a:pt x="13674" y="5035"/>
                    <a:pt x="13574" y="5019"/>
                    <a:pt x="13509" y="5008"/>
                  </a:cubicBezTo>
                  <a:cubicBezTo>
                    <a:pt x="13447" y="4990"/>
                    <a:pt x="13348" y="4955"/>
                    <a:pt x="13287" y="4939"/>
                  </a:cubicBezTo>
                  <a:cubicBezTo>
                    <a:pt x="13224" y="4927"/>
                    <a:pt x="13048" y="4900"/>
                    <a:pt x="12888" y="4909"/>
                  </a:cubicBezTo>
                  <a:cubicBezTo>
                    <a:pt x="12726" y="4909"/>
                    <a:pt x="12544" y="4941"/>
                    <a:pt x="12477" y="4960"/>
                  </a:cubicBezTo>
                  <a:cubicBezTo>
                    <a:pt x="12412" y="4983"/>
                    <a:pt x="12278" y="4942"/>
                    <a:pt x="12170" y="4882"/>
                  </a:cubicBezTo>
                  <a:cubicBezTo>
                    <a:pt x="12063" y="4822"/>
                    <a:pt x="11936" y="4765"/>
                    <a:pt x="11886" y="4747"/>
                  </a:cubicBezTo>
                  <a:cubicBezTo>
                    <a:pt x="11835" y="4732"/>
                    <a:pt x="11771" y="4766"/>
                    <a:pt x="11747" y="4808"/>
                  </a:cubicBezTo>
                  <a:cubicBezTo>
                    <a:pt x="11725" y="4855"/>
                    <a:pt x="11640" y="4902"/>
                    <a:pt x="11564" y="4919"/>
                  </a:cubicBezTo>
                  <a:cubicBezTo>
                    <a:pt x="11491" y="4937"/>
                    <a:pt x="11394" y="4901"/>
                    <a:pt x="11341" y="4855"/>
                  </a:cubicBezTo>
                  <a:cubicBezTo>
                    <a:pt x="11292" y="4804"/>
                    <a:pt x="11182" y="4746"/>
                    <a:pt x="11094" y="4728"/>
                  </a:cubicBezTo>
                  <a:cubicBezTo>
                    <a:pt x="11004" y="4720"/>
                    <a:pt x="10874" y="4716"/>
                    <a:pt x="10800" y="4734"/>
                  </a:cubicBezTo>
                  <a:cubicBezTo>
                    <a:pt x="10726" y="4751"/>
                    <a:pt x="10606" y="4713"/>
                    <a:pt x="10526" y="4642"/>
                  </a:cubicBezTo>
                  <a:cubicBezTo>
                    <a:pt x="10439" y="4578"/>
                    <a:pt x="10333" y="4515"/>
                    <a:pt x="10272" y="4515"/>
                  </a:cubicBezTo>
                  <a:cubicBezTo>
                    <a:pt x="10212" y="4526"/>
                    <a:pt x="10131" y="4550"/>
                    <a:pt x="10091" y="4584"/>
                  </a:cubicBezTo>
                  <a:cubicBezTo>
                    <a:pt x="10051" y="4619"/>
                    <a:pt x="9955" y="4634"/>
                    <a:pt x="9877" y="4600"/>
                  </a:cubicBezTo>
                  <a:cubicBezTo>
                    <a:pt x="9794" y="4573"/>
                    <a:pt x="8945" y="4568"/>
                    <a:pt x="7987" y="4587"/>
                  </a:cubicBezTo>
                  <a:cubicBezTo>
                    <a:pt x="7026" y="4605"/>
                    <a:pt x="6215" y="4736"/>
                    <a:pt x="6161" y="4868"/>
                  </a:cubicBezTo>
                  <a:cubicBezTo>
                    <a:pt x="6120" y="5002"/>
                    <a:pt x="6107" y="5216"/>
                    <a:pt x="6164" y="5335"/>
                  </a:cubicBezTo>
                  <a:cubicBezTo>
                    <a:pt x="6207" y="5457"/>
                    <a:pt x="6229" y="5694"/>
                    <a:pt x="6198" y="5858"/>
                  </a:cubicBezTo>
                  <a:cubicBezTo>
                    <a:pt x="6167" y="6020"/>
                    <a:pt x="6185" y="6237"/>
                    <a:pt x="6218" y="6339"/>
                  </a:cubicBezTo>
                  <a:cubicBezTo>
                    <a:pt x="6263" y="6439"/>
                    <a:pt x="6247" y="6589"/>
                    <a:pt x="6228" y="6675"/>
                  </a:cubicBezTo>
                  <a:cubicBezTo>
                    <a:pt x="6186" y="6756"/>
                    <a:pt x="6225" y="6852"/>
                    <a:pt x="6296" y="6883"/>
                  </a:cubicBezTo>
                  <a:cubicBezTo>
                    <a:pt x="6367" y="6915"/>
                    <a:pt x="6524" y="6888"/>
                    <a:pt x="6647" y="6829"/>
                  </a:cubicBezTo>
                  <a:cubicBezTo>
                    <a:pt x="6771" y="6771"/>
                    <a:pt x="6952" y="6747"/>
                    <a:pt x="7058" y="6756"/>
                  </a:cubicBezTo>
                  <a:cubicBezTo>
                    <a:pt x="7161" y="6774"/>
                    <a:pt x="7382" y="6755"/>
                    <a:pt x="7551" y="6715"/>
                  </a:cubicBezTo>
                  <a:cubicBezTo>
                    <a:pt x="7718" y="6670"/>
                    <a:pt x="7989" y="6585"/>
                    <a:pt x="8154" y="6528"/>
                  </a:cubicBezTo>
                  <a:cubicBezTo>
                    <a:pt x="8322" y="6472"/>
                    <a:pt x="8648" y="6416"/>
                    <a:pt x="8886" y="6407"/>
                  </a:cubicBezTo>
                  <a:cubicBezTo>
                    <a:pt x="9124" y="6398"/>
                    <a:pt x="9382" y="6434"/>
                    <a:pt x="9463" y="6479"/>
                  </a:cubicBezTo>
                  <a:cubicBezTo>
                    <a:pt x="9545" y="6523"/>
                    <a:pt x="9606" y="6721"/>
                    <a:pt x="9617" y="6915"/>
                  </a:cubicBezTo>
                  <a:cubicBezTo>
                    <a:pt x="9617" y="7108"/>
                    <a:pt x="9571" y="7331"/>
                    <a:pt x="9517" y="7416"/>
                  </a:cubicBezTo>
                  <a:cubicBezTo>
                    <a:pt x="9459" y="7499"/>
                    <a:pt x="9446" y="7621"/>
                    <a:pt x="9490" y="7688"/>
                  </a:cubicBezTo>
                  <a:cubicBezTo>
                    <a:pt x="9534" y="7754"/>
                    <a:pt x="9547" y="7908"/>
                    <a:pt x="9514" y="8030"/>
                  </a:cubicBezTo>
                  <a:cubicBezTo>
                    <a:pt x="9491" y="8154"/>
                    <a:pt x="9354" y="8291"/>
                    <a:pt x="9213" y="8309"/>
                  </a:cubicBezTo>
                  <a:cubicBezTo>
                    <a:pt x="9075" y="8338"/>
                    <a:pt x="8828" y="8431"/>
                    <a:pt x="8667" y="8515"/>
                  </a:cubicBezTo>
                  <a:cubicBezTo>
                    <a:pt x="8511" y="8606"/>
                    <a:pt x="8357" y="8739"/>
                    <a:pt x="8347" y="8827"/>
                  </a:cubicBezTo>
                  <a:cubicBezTo>
                    <a:pt x="8334" y="8916"/>
                    <a:pt x="8347" y="9023"/>
                    <a:pt x="8387" y="9057"/>
                  </a:cubicBezTo>
                  <a:cubicBezTo>
                    <a:pt x="8425" y="9091"/>
                    <a:pt x="8473" y="9198"/>
                    <a:pt x="8506" y="9285"/>
                  </a:cubicBezTo>
                  <a:cubicBezTo>
                    <a:pt x="8540" y="9373"/>
                    <a:pt x="8524" y="9460"/>
                    <a:pt x="8478" y="9460"/>
                  </a:cubicBezTo>
                  <a:cubicBezTo>
                    <a:pt x="8430" y="9460"/>
                    <a:pt x="8368" y="9513"/>
                    <a:pt x="8320" y="9545"/>
                  </a:cubicBezTo>
                  <a:cubicBezTo>
                    <a:pt x="8276" y="9583"/>
                    <a:pt x="8176" y="9643"/>
                    <a:pt x="8089" y="9677"/>
                  </a:cubicBezTo>
                  <a:cubicBezTo>
                    <a:pt x="8010" y="9717"/>
                    <a:pt x="7930" y="9775"/>
                    <a:pt x="7930" y="9822"/>
                  </a:cubicBezTo>
                  <a:cubicBezTo>
                    <a:pt x="7930" y="9868"/>
                    <a:pt x="7958" y="9951"/>
                    <a:pt x="8011" y="9997"/>
                  </a:cubicBezTo>
                  <a:cubicBezTo>
                    <a:pt x="8058" y="10049"/>
                    <a:pt x="8119" y="10131"/>
                    <a:pt x="8143" y="10185"/>
                  </a:cubicBezTo>
                  <a:cubicBezTo>
                    <a:pt x="8173" y="10237"/>
                    <a:pt x="8261" y="10308"/>
                    <a:pt x="8346" y="10339"/>
                  </a:cubicBezTo>
                  <a:cubicBezTo>
                    <a:pt x="8430" y="10373"/>
                    <a:pt x="8521" y="10443"/>
                    <a:pt x="8545" y="10497"/>
                  </a:cubicBezTo>
                  <a:cubicBezTo>
                    <a:pt x="8580" y="10547"/>
                    <a:pt x="8672" y="10664"/>
                    <a:pt x="8786" y="10735"/>
                  </a:cubicBezTo>
                  <a:cubicBezTo>
                    <a:pt x="8889" y="10816"/>
                    <a:pt x="9007" y="10935"/>
                    <a:pt x="9039" y="11008"/>
                  </a:cubicBezTo>
                  <a:cubicBezTo>
                    <a:pt x="9068" y="11083"/>
                    <a:pt x="9155" y="11194"/>
                    <a:pt x="9226" y="11256"/>
                  </a:cubicBezTo>
                  <a:cubicBezTo>
                    <a:pt x="9298" y="11318"/>
                    <a:pt x="9340" y="11473"/>
                    <a:pt x="9330" y="11603"/>
                  </a:cubicBezTo>
                  <a:cubicBezTo>
                    <a:pt x="9308" y="11731"/>
                    <a:pt x="9227" y="12050"/>
                    <a:pt x="9145" y="12311"/>
                  </a:cubicBezTo>
                  <a:cubicBezTo>
                    <a:pt x="9063" y="12572"/>
                    <a:pt x="8813" y="13171"/>
                    <a:pt x="8600" y="13643"/>
                  </a:cubicBezTo>
                  <a:cubicBezTo>
                    <a:pt x="8388" y="14114"/>
                    <a:pt x="8231" y="14592"/>
                    <a:pt x="8263" y="14705"/>
                  </a:cubicBezTo>
                  <a:cubicBezTo>
                    <a:pt x="8295" y="14819"/>
                    <a:pt x="8307" y="15008"/>
                    <a:pt x="8287" y="15122"/>
                  </a:cubicBezTo>
                  <a:cubicBezTo>
                    <a:pt x="8266" y="15236"/>
                    <a:pt x="8203" y="15339"/>
                    <a:pt x="8131" y="15339"/>
                  </a:cubicBezTo>
                  <a:cubicBezTo>
                    <a:pt x="8061" y="15339"/>
                    <a:pt x="7970" y="15277"/>
                    <a:pt x="7934" y="15194"/>
                  </a:cubicBezTo>
                  <a:cubicBezTo>
                    <a:pt x="7893" y="15113"/>
                    <a:pt x="7747" y="15003"/>
                    <a:pt x="7599" y="14957"/>
                  </a:cubicBezTo>
                  <a:cubicBezTo>
                    <a:pt x="7449" y="14920"/>
                    <a:pt x="7204" y="14884"/>
                    <a:pt x="7047" y="14894"/>
                  </a:cubicBezTo>
                  <a:cubicBezTo>
                    <a:pt x="6889" y="14894"/>
                    <a:pt x="6684" y="14956"/>
                    <a:pt x="6598" y="15012"/>
                  </a:cubicBezTo>
                  <a:cubicBezTo>
                    <a:pt x="6514" y="15068"/>
                    <a:pt x="6363" y="15091"/>
                    <a:pt x="6272" y="15082"/>
                  </a:cubicBezTo>
                  <a:cubicBezTo>
                    <a:pt x="6178" y="15066"/>
                    <a:pt x="5952" y="15092"/>
                    <a:pt x="5773" y="15147"/>
                  </a:cubicBezTo>
                  <a:cubicBezTo>
                    <a:pt x="5592" y="15200"/>
                    <a:pt x="5363" y="15161"/>
                    <a:pt x="5271" y="15061"/>
                  </a:cubicBezTo>
                  <a:cubicBezTo>
                    <a:pt x="5172" y="14965"/>
                    <a:pt x="5009" y="14675"/>
                    <a:pt x="4905" y="14424"/>
                  </a:cubicBezTo>
                  <a:cubicBezTo>
                    <a:pt x="4796" y="14175"/>
                    <a:pt x="4591" y="13965"/>
                    <a:pt x="4449" y="13956"/>
                  </a:cubicBezTo>
                  <a:cubicBezTo>
                    <a:pt x="4307" y="13948"/>
                    <a:pt x="4120" y="14003"/>
                    <a:pt x="4049" y="14084"/>
                  </a:cubicBezTo>
                  <a:cubicBezTo>
                    <a:pt x="3968" y="14155"/>
                    <a:pt x="3925" y="14347"/>
                    <a:pt x="3948" y="14498"/>
                  </a:cubicBezTo>
                  <a:cubicBezTo>
                    <a:pt x="3970" y="14649"/>
                    <a:pt x="3949" y="14858"/>
                    <a:pt x="3909" y="14964"/>
                  </a:cubicBezTo>
                  <a:cubicBezTo>
                    <a:pt x="3862" y="15067"/>
                    <a:pt x="3614" y="15170"/>
                    <a:pt x="3347" y="15198"/>
                  </a:cubicBezTo>
                  <a:cubicBezTo>
                    <a:pt x="3080" y="15225"/>
                    <a:pt x="2766" y="15248"/>
                    <a:pt x="2650" y="15248"/>
                  </a:cubicBezTo>
                  <a:cubicBezTo>
                    <a:pt x="2536" y="15257"/>
                    <a:pt x="2410" y="15319"/>
                    <a:pt x="2367" y="15393"/>
                  </a:cubicBezTo>
                  <a:cubicBezTo>
                    <a:pt x="2320" y="15465"/>
                    <a:pt x="2236" y="15574"/>
                    <a:pt x="2158" y="15622"/>
                  </a:cubicBezTo>
                  <a:cubicBezTo>
                    <a:pt x="2091" y="15681"/>
                    <a:pt x="1914" y="15650"/>
                    <a:pt x="1768" y="15595"/>
                  </a:cubicBezTo>
                  <a:cubicBezTo>
                    <a:pt x="1622" y="15537"/>
                    <a:pt x="1383" y="15499"/>
                    <a:pt x="1223" y="15517"/>
                  </a:cubicBezTo>
                  <a:cubicBezTo>
                    <a:pt x="1063" y="15545"/>
                    <a:pt x="867" y="15614"/>
                    <a:pt x="794" y="15678"/>
                  </a:cubicBezTo>
                  <a:cubicBezTo>
                    <a:pt x="723" y="15748"/>
                    <a:pt x="703" y="15866"/>
                    <a:pt x="751" y="15957"/>
                  </a:cubicBezTo>
                  <a:cubicBezTo>
                    <a:pt x="811" y="16041"/>
                    <a:pt x="819" y="16217"/>
                    <a:pt x="795" y="16341"/>
                  </a:cubicBezTo>
                  <a:cubicBezTo>
                    <a:pt x="764" y="16461"/>
                    <a:pt x="841" y="16537"/>
                    <a:pt x="959" y="16501"/>
                  </a:cubicBezTo>
                  <a:cubicBezTo>
                    <a:pt x="1075" y="16467"/>
                    <a:pt x="1264" y="16400"/>
                    <a:pt x="1383" y="16383"/>
                  </a:cubicBezTo>
                  <a:cubicBezTo>
                    <a:pt x="1503" y="16364"/>
                    <a:pt x="1655" y="16364"/>
                    <a:pt x="1721" y="16413"/>
                  </a:cubicBezTo>
                  <a:cubicBezTo>
                    <a:pt x="1792" y="16457"/>
                    <a:pt x="1950" y="16557"/>
                    <a:pt x="2075" y="16630"/>
                  </a:cubicBezTo>
                  <a:cubicBezTo>
                    <a:pt x="2196" y="16706"/>
                    <a:pt x="2297" y="17020"/>
                    <a:pt x="2297" y="17335"/>
                  </a:cubicBezTo>
                  <a:cubicBezTo>
                    <a:pt x="2286" y="17648"/>
                    <a:pt x="2275" y="17994"/>
                    <a:pt x="2265" y="18103"/>
                  </a:cubicBezTo>
                  <a:cubicBezTo>
                    <a:pt x="2244" y="18211"/>
                    <a:pt x="2072" y="18198"/>
                    <a:pt x="1876" y="18063"/>
                  </a:cubicBezTo>
                  <a:cubicBezTo>
                    <a:pt x="1669" y="17940"/>
                    <a:pt x="1463" y="17832"/>
                    <a:pt x="1405" y="17832"/>
                  </a:cubicBezTo>
                  <a:cubicBezTo>
                    <a:pt x="1346" y="17832"/>
                    <a:pt x="1255" y="17890"/>
                    <a:pt x="1214" y="17961"/>
                  </a:cubicBezTo>
                  <a:cubicBezTo>
                    <a:pt x="1169" y="18029"/>
                    <a:pt x="1017" y="18106"/>
                    <a:pt x="879" y="18106"/>
                  </a:cubicBezTo>
                  <a:cubicBezTo>
                    <a:pt x="740" y="18115"/>
                    <a:pt x="566" y="18153"/>
                    <a:pt x="495" y="18188"/>
                  </a:cubicBezTo>
                  <a:cubicBezTo>
                    <a:pt x="426" y="18228"/>
                    <a:pt x="346" y="18320"/>
                    <a:pt x="325" y="18404"/>
                  </a:cubicBezTo>
                  <a:cubicBezTo>
                    <a:pt x="314" y="18490"/>
                    <a:pt x="191" y="18665"/>
                    <a:pt x="78" y="18800"/>
                  </a:cubicBezTo>
                  <a:cubicBezTo>
                    <a:pt x="-41" y="18932"/>
                    <a:pt x="-23" y="19142"/>
                    <a:pt x="125" y="19251"/>
                  </a:cubicBezTo>
                  <a:cubicBezTo>
                    <a:pt x="270" y="19360"/>
                    <a:pt x="421" y="19522"/>
                    <a:pt x="467" y="19601"/>
                  </a:cubicBezTo>
                  <a:cubicBezTo>
                    <a:pt x="507" y="19680"/>
                    <a:pt x="731" y="19830"/>
                    <a:pt x="951" y="19939"/>
                  </a:cubicBezTo>
                  <a:cubicBezTo>
                    <a:pt x="1177" y="20038"/>
                    <a:pt x="1338" y="20229"/>
                    <a:pt x="1348" y="20341"/>
                  </a:cubicBezTo>
                  <a:cubicBezTo>
                    <a:pt x="1337" y="20454"/>
                    <a:pt x="1439" y="20628"/>
                    <a:pt x="1550" y="20734"/>
                  </a:cubicBezTo>
                  <a:cubicBezTo>
                    <a:pt x="1654" y="20843"/>
                    <a:pt x="1748" y="21022"/>
                    <a:pt x="1728" y="21143"/>
                  </a:cubicBezTo>
                  <a:cubicBezTo>
                    <a:pt x="1718" y="21266"/>
                    <a:pt x="1773" y="21424"/>
                    <a:pt x="1849" y="21500"/>
                  </a:cubicBezTo>
                  <a:cubicBezTo>
                    <a:pt x="1927" y="21577"/>
                    <a:pt x="2055" y="21600"/>
                    <a:pt x="2135" y="21566"/>
                  </a:cubicBezTo>
                  <a:cubicBezTo>
                    <a:pt x="2211" y="21528"/>
                    <a:pt x="2342" y="21374"/>
                    <a:pt x="2419" y="21222"/>
                  </a:cubicBezTo>
                  <a:close/>
                  <a:moveTo>
                    <a:pt x="2419" y="212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0" name="AutoShape 862"/>
            <p:cNvSpPr>
              <a:spLocks/>
            </p:cNvSpPr>
            <p:nvPr/>
          </p:nvSpPr>
          <p:spPr bwMode="auto">
            <a:xfrm>
              <a:off x="7924800" y="5791200"/>
              <a:ext cx="49213" cy="66675"/>
            </a:xfrm>
            <a:custGeom>
              <a:avLst/>
              <a:gdLst/>
              <a:ahLst/>
              <a:cxnLst/>
              <a:rect l="0" t="0" r="r" b="b"/>
              <a:pathLst>
                <a:path w="21353" h="21413">
                  <a:moveTo>
                    <a:pt x="9913" y="18564"/>
                  </a:moveTo>
                  <a:cubicBezTo>
                    <a:pt x="10633" y="18135"/>
                    <a:pt x="11056" y="16535"/>
                    <a:pt x="11134" y="15118"/>
                  </a:cubicBezTo>
                  <a:cubicBezTo>
                    <a:pt x="11134" y="13685"/>
                    <a:pt x="11525" y="12145"/>
                    <a:pt x="12000" y="11725"/>
                  </a:cubicBezTo>
                  <a:cubicBezTo>
                    <a:pt x="12475" y="11304"/>
                    <a:pt x="13863" y="10331"/>
                    <a:pt x="15053" y="9545"/>
                  </a:cubicBezTo>
                  <a:cubicBezTo>
                    <a:pt x="16253" y="8756"/>
                    <a:pt x="18193" y="7541"/>
                    <a:pt x="19284" y="6771"/>
                  </a:cubicBezTo>
                  <a:cubicBezTo>
                    <a:pt x="20400" y="6029"/>
                    <a:pt x="21344" y="4874"/>
                    <a:pt x="21344" y="4211"/>
                  </a:cubicBezTo>
                  <a:cubicBezTo>
                    <a:pt x="21423" y="3556"/>
                    <a:pt x="20969" y="2631"/>
                    <a:pt x="20520" y="2115"/>
                  </a:cubicBezTo>
                  <a:cubicBezTo>
                    <a:pt x="20030" y="1619"/>
                    <a:pt x="19127" y="972"/>
                    <a:pt x="18621" y="591"/>
                  </a:cubicBezTo>
                  <a:cubicBezTo>
                    <a:pt x="18047" y="277"/>
                    <a:pt x="17233" y="-52"/>
                    <a:pt x="16754" y="7"/>
                  </a:cubicBezTo>
                  <a:cubicBezTo>
                    <a:pt x="16284" y="7"/>
                    <a:pt x="15173" y="595"/>
                    <a:pt x="14160" y="1131"/>
                  </a:cubicBezTo>
                  <a:cubicBezTo>
                    <a:pt x="13206" y="1734"/>
                    <a:pt x="11760" y="2365"/>
                    <a:pt x="10952" y="2476"/>
                  </a:cubicBezTo>
                  <a:cubicBezTo>
                    <a:pt x="10169" y="2675"/>
                    <a:pt x="9167" y="3334"/>
                    <a:pt x="8844" y="4068"/>
                  </a:cubicBezTo>
                  <a:cubicBezTo>
                    <a:pt x="8416" y="4770"/>
                    <a:pt x="7461" y="5727"/>
                    <a:pt x="6548" y="6072"/>
                  </a:cubicBezTo>
                  <a:cubicBezTo>
                    <a:pt x="5635" y="6454"/>
                    <a:pt x="4623" y="6795"/>
                    <a:pt x="4247" y="6795"/>
                  </a:cubicBezTo>
                  <a:cubicBezTo>
                    <a:pt x="3877" y="6795"/>
                    <a:pt x="3115" y="7616"/>
                    <a:pt x="2494" y="8565"/>
                  </a:cubicBezTo>
                  <a:cubicBezTo>
                    <a:pt x="1931" y="9541"/>
                    <a:pt x="966" y="10526"/>
                    <a:pt x="407" y="10772"/>
                  </a:cubicBezTo>
                  <a:cubicBezTo>
                    <a:pt x="-177" y="10990"/>
                    <a:pt x="-125" y="11637"/>
                    <a:pt x="517" y="12125"/>
                  </a:cubicBezTo>
                  <a:cubicBezTo>
                    <a:pt x="1064" y="12665"/>
                    <a:pt x="1873" y="13959"/>
                    <a:pt x="2181" y="15071"/>
                  </a:cubicBezTo>
                  <a:cubicBezTo>
                    <a:pt x="2416" y="16206"/>
                    <a:pt x="2176" y="17841"/>
                    <a:pt x="1451" y="18699"/>
                  </a:cubicBezTo>
                  <a:cubicBezTo>
                    <a:pt x="741" y="19540"/>
                    <a:pt x="433" y="20635"/>
                    <a:pt x="684" y="21084"/>
                  </a:cubicBezTo>
                  <a:cubicBezTo>
                    <a:pt x="913" y="21548"/>
                    <a:pt x="2072" y="21536"/>
                    <a:pt x="3068" y="20953"/>
                  </a:cubicBezTo>
                  <a:cubicBezTo>
                    <a:pt x="4086" y="20417"/>
                    <a:pt x="5813" y="19885"/>
                    <a:pt x="6840" y="19702"/>
                  </a:cubicBezTo>
                  <a:cubicBezTo>
                    <a:pt x="7878" y="19583"/>
                    <a:pt x="9282" y="19044"/>
                    <a:pt x="9913" y="18564"/>
                  </a:cubicBezTo>
                  <a:close/>
                  <a:moveTo>
                    <a:pt x="9913" y="185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1" name="AutoShape 863"/>
            <p:cNvSpPr>
              <a:spLocks/>
            </p:cNvSpPr>
            <p:nvPr/>
          </p:nvSpPr>
          <p:spPr bwMode="auto">
            <a:xfrm>
              <a:off x="8699500" y="5575300"/>
              <a:ext cx="398463" cy="463550"/>
            </a:xfrm>
            <a:custGeom>
              <a:avLst/>
              <a:gdLst/>
              <a:ahLst/>
              <a:cxnLst/>
              <a:rect l="0" t="0" r="r" b="b"/>
              <a:pathLst>
                <a:path w="21593" h="21368">
                  <a:moveTo>
                    <a:pt x="18637" y="4401"/>
                  </a:moveTo>
                  <a:cubicBezTo>
                    <a:pt x="18605" y="4345"/>
                    <a:pt x="18552" y="4254"/>
                    <a:pt x="18542" y="4188"/>
                  </a:cubicBezTo>
                  <a:cubicBezTo>
                    <a:pt x="18542" y="4122"/>
                    <a:pt x="18544" y="4023"/>
                    <a:pt x="18580" y="3970"/>
                  </a:cubicBezTo>
                  <a:cubicBezTo>
                    <a:pt x="18609" y="3914"/>
                    <a:pt x="18566" y="3732"/>
                    <a:pt x="18480" y="3562"/>
                  </a:cubicBezTo>
                  <a:cubicBezTo>
                    <a:pt x="18386" y="3393"/>
                    <a:pt x="17386" y="2780"/>
                    <a:pt x="16223" y="2214"/>
                  </a:cubicBezTo>
                  <a:cubicBezTo>
                    <a:pt x="15283" y="1740"/>
                    <a:pt x="14323" y="1280"/>
                    <a:pt x="13365" y="799"/>
                  </a:cubicBezTo>
                  <a:cubicBezTo>
                    <a:pt x="13216" y="727"/>
                    <a:pt x="13056" y="658"/>
                    <a:pt x="12888" y="593"/>
                  </a:cubicBezTo>
                  <a:cubicBezTo>
                    <a:pt x="12879" y="590"/>
                    <a:pt x="12870" y="587"/>
                    <a:pt x="12861" y="584"/>
                  </a:cubicBezTo>
                  <a:cubicBezTo>
                    <a:pt x="12709" y="526"/>
                    <a:pt x="12549" y="473"/>
                    <a:pt x="12386" y="422"/>
                  </a:cubicBezTo>
                  <a:cubicBezTo>
                    <a:pt x="12347" y="411"/>
                    <a:pt x="12309" y="399"/>
                    <a:pt x="12271" y="388"/>
                  </a:cubicBezTo>
                  <a:cubicBezTo>
                    <a:pt x="12127" y="345"/>
                    <a:pt x="11979" y="306"/>
                    <a:pt x="11829" y="270"/>
                  </a:cubicBezTo>
                  <a:cubicBezTo>
                    <a:pt x="11797" y="262"/>
                    <a:pt x="11765" y="254"/>
                    <a:pt x="11733" y="246"/>
                  </a:cubicBezTo>
                  <a:cubicBezTo>
                    <a:pt x="11206" y="123"/>
                    <a:pt x="10659" y="42"/>
                    <a:pt x="10147" y="6"/>
                  </a:cubicBezTo>
                  <a:cubicBezTo>
                    <a:pt x="9790" y="59"/>
                    <a:pt x="9543" y="3"/>
                    <a:pt x="9261" y="0"/>
                  </a:cubicBezTo>
                  <a:cubicBezTo>
                    <a:pt x="9163" y="6"/>
                    <a:pt x="9061" y="10"/>
                    <a:pt x="8971" y="22"/>
                  </a:cubicBezTo>
                  <a:cubicBezTo>
                    <a:pt x="8747" y="54"/>
                    <a:pt x="8512" y="85"/>
                    <a:pt x="8277" y="115"/>
                  </a:cubicBezTo>
                  <a:cubicBezTo>
                    <a:pt x="7891" y="165"/>
                    <a:pt x="7497" y="215"/>
                    <a:pt x="7116" y="260"/>
                  </a:cubicBezTo>
                  <a:cubicBezTo>
                    <a:pt x="7275" y="246"/>
                    <a:pt x="7300" y="253"/>
                    <a:pt x="7147" y="269"/>
                  </a:cubicBezTo>
                  <a:cubicBezTo>
                    <a:pt x="6916" y="312"/>
                    <a:pt x="6536" y="347"/>
                    <a:pt x="6306" y="363"/>
                  </a:cubicBezTo>
                  <a:cubicBezTo>
                    <a:pt x="6078" y="381"/>
                    <a:pt x="5908" y="404"/>
                    <a:pt x="5919" y="395"/>
                  </a:cubicBezTo>
                  <a:cubicBezTo>
                    <a:pt x="5910" y="402"/>
                    <a:pt x="5656" y="423"/>
                    <a:pt x="5310" y="451"/>
                  </a:cubicBezTo>
                  <a:cubicBezTo>
                    <a:pt x="4601" y="518"/>
                    <a:pt x="3985" y="603"/>
                    <a:pt x="3932" y="656"/>
                  </a:cubicBezTo>
                  <a:cubicBezTo>
                    <a:pt x="3873" y="707"/>
                    <a:pt x="3783" y="749"/>
                    <a:pt x="3728" y="741"/>
                  </a:cubicBezTo>
                  <a:cubicBezTo>
                    <a:pt x="3675" y="729"/>
                    <a:pt x="3593" y="766"/>
                    <a:pt x="3558" y="815"/>
                  </a:cubicBezTo>
                  <a:cubicBezTo>
                    <a:pt x="3521" y="862"/>
                    <a:pt x="3544" y="966"/>
                    <a:pt x="3592" y="1060"/>
                  </a:cubicBezTo>
                  <a:cubicBezTo>
                    <a:pt x="3670" y="1165"/>
                    <a:pt x="3765" y="1284"/>
                    <a:pt x="3832" y="1327"/>
                  </a:cubicBezTo>
                  <a:cubicBezTo>
                    <a:pt x="3901" y="1377"/>
                    <a:pt x="3963" y="1473"/>
                    <a:pt x="3973" y="1539"/>
                  </a:cubicBezTo>
                  <a:cubicBezTo>
                    <a:pt x="3973" y="1605"/>
                    <a:pt x="4030" y="1715"/>
                    <a:pt x="4068" y="1789"/>
                  </a:cubicBezTo>
                  <a:cubicBezTo>
                    <a:pt x="4106" y="1863"/>
                    <a:pt x="4176" y="2048"/>
                    <a:pt x="4207" y="2206"/>
                  </a:cubicBezTo>
                  <a:cubicBezTo>
                    <a:pt x="4226" y="2365"/>
                    <a:pt x="4276" y="2582"/>
                    <a:pt x="4276" y="2691"/>
                  </a:cubicBezTo>
                  <a:cubicBezTo>
                    <a:pt x="4276" y="2800"/>
                    <a:pt x="4240" y="2953"/>
                    <a:pt x="4207" y="3036"/>
                  </a:cubicBezTo>
                  <a:cubicBezTo>
                    <a:pt x="4160" y="3117"/>
                    <a:pt x="4097" y="3243"/>
                    <a:pt x="4077" y="3320"/>
                  </a:cubicBezTo>
                  <a:cubicBezTo>
                    <a:pt x="4048" y="3395"/>
                    <a:pt x="3980" y="3498"/>
                    <a:pt x="3923" y="3547"/>
                  </a:cubicBezTo>
                  <a:cubicBezTo>
                    <a:pt x="3872" y="3599"/>
                    <a:pt x="3774" y="3675"/>
                    <a:pt x="3701" y="3710"/>
                  </a:cubicBezTo>
                  <a:cubicBezTo>
                    <a:pt x="3631" y="3750"/>
                    <a:pt x="3523" y="3780"/>
                    <a:pt x="3457" y="3770"/>
                  </a:cubicBezTo>
                  <a:cubicBezTo>
                    <a:pt x="3391" y="3761"/>
                    <a:pt x="3309" y="3743"/>
                    <a:pt x="3299" y="3716"/>
                  </a:cubicBezTo>
                  <a:cubicBezTo>
                    <a:pt x="3281" y="3700"/>
                    <a:pt x="3265" y="3716"/>
                    <a:pt x="3257" y="3744"/>
                  </a:cubicBezTo>
                  <a:cubicBezTo>
                    <a:pt x="3255" y="3824"/>
                    <a:pt x="3272" y="3910"/>
                    <a:pt x="3292" y="3953"/>
                  </a:cubicBezTo>
                  <a:cubicBezTo>
                    <a:pt x="3328" y="3995"/>
                    <a:pt x="3343" y="4097"/>
                    <a:pt x="3332" y="4171"/>
                  </a:cubicBezTo>
                  <a:cubicBezTo>
                    <a:pt x="3322" y="4245"/>
                    <a:pt x="3383" y="4338"/>
                    <a:pt x="3467" y="4370"/>
                  </a:cubicBezTo>
                  <a:cubicBezTo>
                    <a:pt x="3550" y="4405"/>
                    <a:pt x="3626" y="4489"/>
                    <a:pt x="3646" y="4556"/>
                  </a:cubicBezTo>
                  <a:cubicBezTo>
                    <a:pt x="3646" y="4626"/>
                    <a:pt x="3736" y="4677"/>
                    <a:pt x="3809" y="4686"/>
                  </a:cubicBezTo>
                  <a:cubicBezTo>
                    <a:pt x="3885" y="4694"/>
                    <a:pt x="3956" y="4827"/>
                    <a:pt x="3976" y="4990"/>
                  </a:cubicBezTo>
                  <a:cubicBezTo>
                    <a:pt x="3987" y="5152"/>
                    <a:pt x="3993" y="5351"/>
                    <a:pt x="3965" y="5432"/>
                  </a:cubicBezTo>
                  <a:cubicBezTo>
                    <a:pt x="3948" y="5513"/>
                    <a:pt x="3836" y="5659"/>
                    <a:pt x="3730" y="5759"/>
                  </a:cubicBezTo>
                  <a:cubicBezTo>
                    <a:pt x="3616" y="5856"/>
                    <a:pt x="3450" y="6007"/>
                    <a:pt x="3364" y="6098"/>
                  </a:cubicBezTo>
                  <a:cubicBezTo>
                    <a:pt x="3273" y="6184"/>
                    <a:pt x="3123" y="6295"/>
                    <a:pt x="3062" y="6364"/>
                  </a:cubicBezTo>
                  <a:cubicBezTo>
                    <a:pt x="2989" y="6426"/>
                    <a:pt x="2782" y="6615"/>
                    <a:pt x="2601" y="6786"/>
                  </a:cubicBezTo>
                  <a:cubicBezTo>
                    <a:pt x="2428" y="6961"/>
                    <a:pt x="2177" y="7220"/>
                    <a:pt x="2060" y="7370"/>
                  </a:cubicBezTo>
                  <a:cubicBezTo>
                    <a:pt x="1936" y="7516"/>
                    <a:pt x="1668" y="7696"/>
                    <a:pt x="1456" y="7759"/>
                  </a:cubicBezTo>
                  <a:cubicBezTo>
                    <a:pt x="1242" y="7817"/>
                    <a:pt x="819" y="7893"/>
                    <a:pt x="514" y="7919"/>
                  </a:cubicBezTo>
                  <a:cubicBezTo>
                    <a:pt x="236" y="7942"/>
                    <a:pt x="18" y="8263"/>
                    <a:pt x="0" y="8661"/>
                  </a:cubicBezTo>
                  <a:cubicBezTo>
                    <a:pt x="57" y="9497"/>
                    <a:pt x="124" y="10330"/>
                    <a:pt x="166" y="10775"/>
                  </a:cubicBezTo>
                  <a:cubicBezTo>
                    <a:pt x="225" y="11405"/>
                    <a:pt x="580" y="12319"/>
                    <a:pt x="944" y="12802"/>
                  </a:cubicBezTo>
                  <a:cubicBezTo>
                    <a:pt x="1307" y="13282"/>
                    <a:pt x="1679" y="14011"/>
                    <a:pt x="1761" y="14419"/>
                  </a:cubicBezTo>
                  <a:cubicBezTo>
                    <a:pt x="1841" y="14818"/>
                    <a:pt x="2064" y="15197"/>
                    <a:pt x="2252" y="15269"/>
                  </a:cubicBezTo>
                  <a:cubicBezTo>
                    <a:pt x="2477" y="15342"/>
                    <a:pt x="2693" y="15392"/>
                    <a:pt x="2762" y="15378"/>
                  </a:cubicBezTo>
                  <a:cubicBezTo>
                    <a:pt x="2850" y="15371"/>
                    <a:pt x="2988" y="15391"/>
                    <a:pt x="3077" y="15399"/>
                  </a:cubicBezTo>
                  <a:cubicBezTo>
                    <a:pt x="3162" y="15424"/>
                    <a:pt x="3283" y="15435"/>
                    <a:pt x="3343" y="15427"/>
                  </a:cubicBezTo>
                  <a:cubicBezTo>
                    <a:pt x="3403" y="15418"/>
                    <a:pt x="3512" y="15457"/>
                    <a:pt x="3595" y="15496"/>
                  </a:cubicBezTo>
                  <a:cubicBezTo>
                    <a:pt x="3675" y="15538"/>
                    <a:pt x="3733" y="15611"/>
                    <a:pt x="3742" y="15651"/>
                  </a:cubicBezTo>
                  <a:cubicBezTo>
                    <a:pt x="3754" y="15690"/>
                    <a:pt x="3800" y="15768"/>
                    <a:pt x="3863" y="15822"/>
                  </a:cubicBezTo>
                  <a:cubicBezTo>
                    <a:pt x="3939" y="15862"/>
                    <a:pt x="4071" y="15914"/>
                    <a:pt x="4180" y="15905"/>
                  </a:cubicBezTo>
                  <a:cubicBezTo>
                    <a:pt x="4292" y="15897"/>
                    <a:pt x="4592" y="15936"/>
                    <a:pt x="4850" y="15987"/>
                  </a:cubicBezTo>
                  <a:cubicBezTo>
                    <a:pt x="5103" y="16050"/>
                    <a:pt x="5365" y="16073"/>
                    <a:pt x="5430" y="16073"/>
                  </a:cubicBezTo>
                  <a:cubicBezTo>
                    <a:pt x="5491" y="16055"/>
                    <a:pt x="5581" y="16094"/>
                    <a:pt x="5627" y="16133"/>
                  </a:cubicBezTo>
                  <a:cubicBezTo>
                    <a:pt x="5672" y="16172"/>
                    <a:pt x="5769" y="16200"/>
                    <a:pt x="5842" y="16210"/>
                  </a:cubicBezTo>
                  <a:cubicBezTo>
                    <a:pt x="5916" y="16210"/>
                    <a:pt x="5992" y="16282"/>
                    <a:pt x="6026" y="16359"/>
                  </a:cubicBezTo>
                  <a:cubicBezTo>
                    <a:pt x="6044" y="16439"/>
                    <a:pt x="6137" y="16582"/>
                    <a:pt x="6236" y="16665"/>
                  </a:cubicBezTo>
                  <a:cubicBezTo>
                    <a:pt x="6324" y="16758"/>
                    <a:pt x="6438" y="16821"/>
                    <a:pt x="6485" y="16821"/>
                  </a:cubicBezTo>
                  <a:cubicBezTo>
                    <a:pt x="6530" y="16813"/>
                    <a:pt x="6578" y="16822"/>
                    <a:pt x="6571" y="16822"/>
                  </a:cubicBezTo>
                  <a:cubicBezTo>
                    <a:pt x="6578" y="16822"/>
                    <a:pt x="6596" y="16811"/>
                    <a:pt x="6630" y="16793"/>
                  </a:cubicBezTo>
                  <a:cubicBezTo>
                    <a:pt x="6662" y="16775"/>
                    <a:pt x="6729" y="16761"/>
                    <a:pt x="6783" y="16753"/>
                  </a:cubicBezTo>
                  <a:cubicBezTo>
                    <a:pt x="6836" y="16746"/>
                    <a:pt x="6909" y="16797"/>
                    <a:pt x="6930" y="16853"/>
                  </a:cubicBezTo>
                  <a:cubicBezTo>
                    <a:pt x="6952" y="16908"/>
                    <a:pt x="7034" y="16955"/>
                    <a:pt x="7103" y="16955"/>
                  </a:cubicBezTo>
                  <a:cubicBezTo>
                    <a:pt x="7171" y="16963"/>
                    <a:pt x="7247" y="16984"/>
                    <a:pt x="7277" y="17011"/>
                  </a:cubicBezTo>
                  <a:cubicBezTo>
                    <a:pt x="7297" y="17045"/>
                    <a:pt x="7359" y="17052"/>
                    <a:pt x="7394" y="17022"/>
                  </a:cubicBezTo>
                  <a:cubicBezTo>
                    <a:pt x="7424" y="16988"/>
                    <a:pt x="7518" y="16971"/>
                    <a:pt x="7582" y="16979"/>
                  </a:cubicBezTo>
                  <a:cubicBezTo>
                    <a:pt x="7645" y="16989"/>
                    <a:pt x="7722" y="17004"/>
                    <a:pt x="7761" y="17021"/>
                  </a:cubicBezTo>
                  <a:cubicBezTo>
                    <a:pt x="7796" y="17043"/>
                    <a:pt x="7857" y="17062"/>
                    <a:pt x="7897" y="17069"/>
                  </a:cubicBezTo>
                  <a:cubicBezTo>
                    <a:pt x="7936" y="17078"/>
                    <a:pt x="7991" y="17100"/>
                    <a:pt x="8007" y="17134"/>
                  </a:cubicBezTo>
                  <a:cubicBezTo>
                    <a:pt x="8032" y="17163"/>
                    <a:pt x="8097" y="17208"/>
                    <a:pt x="8149" y="17243"/>
                  </a:cubicBezTo>
                  <a:cubicBezTo>
                    <a:pt x="8200" y="17278"/>
                    <a:pt x="8293" y="17337"/>
                    <a:pt x="8352" y="17379"/>
                  </a:cubicBezTo>
                  <a:cubicBezTo>
                    <a:pt x="8403" y="17430"/>
                    <a:pt x="8579" y="17607"/>
                    <a:pt x="8750" y="17770"/>
                  </a:cubicBezTo>
                  <a:cubicBezTo>
                    <a:pt x="8915" y="17937"/>
                    <a:pt x="9042" y="18233"/>
                    <a:pt x="9042" y="18425"/>
                  </a:cubicBezTo>
                  <a:cubicBezTo>
                    <a:pt x="9042" y="18619"/>
                    <a:pt x="8924" y="19487"/>
                    <a:pt x="8765" y="20348"/>
                  </a:cubicBezTo>
                  <a:cubicBezTo>
                    <a:pt x="8607" y="21207"/>
                    <a:pt x="8624" y="21600"/>
                    <a:pt x="8801" y="21228"/>
                  </a:cubicBezTo>
                  <a:cubicBezTo>
                    <a:pt x="8969" y="20851"/>
                    <a:pt x="9563" y="20489"/>
                    <a:pt x="10108" y="20405"/>
                  </a:cubicBezTo>
                  <a:cubicBezTo>
                    <a:pt x="10654" y="20327"/>
                    <a:pt x="11175" y="20228"/>
                    <a:pt x="11275" y="20209"/>
                  </a:cubicBezTo>
                  <a:cubicBezTo>
                    <a:pt x="11373" y="20182"/>
                    <a:pt x="11471" y="20118"/>
                    <a:pt x="11507" y="20081"/>
                  </a:cubicBezTo>
                  <a:cubicBezTo>
                    <a:pt x="11536" y="20040"/>
                    <a:pt x="11630" y="19986"/>
                    <a:pt x="11714" y="19962"/>
                  </a:cubicBezTo>
                  <a:cubicBezTo>
                    <a:pt x="11799" y="19938"/>
                    <a:pt x="11861" y="19952"/>
                    <a:pt x="11861" y="19995"/>
                  </a:cubicBezTo>
                  <a:cubicBezTo>
                    <a:pt x="11851" y="20039"/>
                    <a:pt x="11911" y="20091"/>
                    <a:pt x="11981" y="20091"/>
                  </a:cubicBezTo>
                  <a:cubicBezTo>
                    <a:pt x="12051" y="20099"/>
                    <a:pt x="12150" y="20146"/>
                    <a:pt x="12218" y="20171"/>
                  </a:cubicBezTo>
                  <a:cubicBezTo>
                    <a:pt x="12283" y="20203"/>
                    <a:pt x="12390" y="20220"/>
                    <a:pt x="12461" y="20229"/>
                  </a:cubicBezTo>
                  <a:cubicBezTo>
                    <a:pt x="12533" y="20229"/>
                    <a:pt x="12625" y="20267"/>
                    <a:pt x="12677" y="20311"/>
                  </a:cubicBezTo>
                  <a:cubicBezTo>
                    <a:pt x="12728" y="20355"/>
                    <a:pt x="12740" y="20433"/>
                    <a:pt x="12718" y="20481"/>
                  </a:cubicBezTo>
                  <a:cubicBezTo>
                    <a:pt x="12682" y="20521"/>
                    <a:pt x="12817" y="20513"/>
                    <a:pt x="12988" y="20445"/>
                  </a:cubicBezTo>
                  <a:cubicBezTo>
                    <a:pt x="13165" y="20383"/>
                    <a:pt x="13419" y="20255"/>
                    <a:pt x="13546" y="20155"/>
                  </a:cubicBezTo>
                  <a:cubicBezTo>
                    <a:pt x="13674" y="20055"/>
                    <a:pt x="13840" y="19966"/>
                    <a:pt x="13904" y="19945"/>
                  </a:cubicBezTo>
                  <a:cubicBezTo>
                    <a:pt x="13969" y="19926"/>
                    <a:pt x="14055" y="19869"/>
                    <a:pt x="14108" y="19833"/>
                  </a:cubicBezTo>
                  <a:cubicBezTo>
                    <a:pt x="14152" y="19789"/>
                    <a:pt x="14249" y="19772"/>
                    <a:pt x="14307" y="19792"/>
                  </a:cubicBezTo>
                  <a:cubicBezTo>
                    <a:pt x="14364" y="19812"/>
                    <a:pt x="14411" y="19850"/>
                    <a:pt x="14419" y="19881"/>
                  </a:cubicBezTo>
                  <a:cubicBezTo>
                    <a:pt x="14435" y="19910"/>
                    <a:pt x="14481" y="19937"/>
                    <a:pt x="14553" y="19928"/>
                  </a:cubicBezTo>
                  <a:cubicBezTo>
                    <a:pt x="14623" y="19920"/>
                    <a:pt x="14727" y="19949"/>
                    <a:pt x="14792" y="19972"/>
                  </a:cubicBezTo>
                  <a:cubicBezTo>
                    <a:pt x="14853" y="20002"/>
                    <a:pt x="15001" y="19978"/>
                    <a:pt x="15125" y="19926"/>
                  </a:cubicBezTo>
                  <a:cubicBezTo>
                    <a:pt x="15247" y="19870"/>
                    <a:pt x="15476" y="19800"/>
                    <a:pt x="15631" y="19767"/>
                  </a:cubicBezTo>
                  <a:cubicBezTo>
                    <a:pt x="15788" y="19733"/>
                    <a:pt x="15963" y="19642"/>
                    <a:pt x="16013" y="19558"/>
                  </a:cubicBezTo>
                  <a:cubicBezTo>
                    <a:pt x="16068" y="19478"/>
                    <a:pt x="16099" y="19364"/>
                    <a:pt x="16078" y="19310"/>
                  </a:cubicBezTo>
                  <a:cubicBezTo>
                    <a:pt x="16058" y="19258"/>
                    <a:pt x="16074" y="19170"/>
                    <a:pt x="16129" y="19142"/>
                  </a:cubicBezTo>
                  <a:cubicBezTo>
                    <a:pt x="16174" y="19104"/>
                    <a:pt x="16288" y="19085"/>
                    <a:pt x="16382" y="19101"/>
                  </a:cubicBezTo>
                  <a:cubicBezTo>
                    <a:pt x="16476" y="19109"/>
                    <a:pt x="16616" y="19111"/>
                    <a:pt x="16692" y="19084"/>
                  </a:cubicBezTo>
                  <a:cubicBezTo>
                    <a:pt x="16769" y="19055"/>
                    <a:pt x="16890" y="19068"/>
                    <a:pt x="16952" y="19112"/>
                  </a:cubicBezTo>
                  <a:cubicBezTo>
                    <a:pt x="17015" y="19156"/>
                    <a:pt x="17154" y="19165"/>
                    <a:pt x="17255" y="19139"/>
                  </a:cubicBezTo>
                  <a:cubicBezTo>
                    <a:pt x="17356" y="19116"/>
                    <a:pt x="17481" y="19053"/>
                    <a:pt x="17543" y="19010"/>
                  </a:cubicBezTo>
                  <a:cubicBezTo>
                    <a:pt x="17604" y="18965"/>
                    <a:pt x="17825" y="18855"/>
                    <a:pt x="18037" y="18765"/>
                  </a:cubicBezTo>
                  <a:cubicBezTo>
                    <a:pt x="18256" y="18686"/>
                    <a:pt x="18485" y="18620"/>
                    <a:pt x="18558" y="18638"/>
                  </a:cubicBezTo>
                  <a:cubicBezTo>
                    <a:pt x="18632" y="18654"/>
                    <a:pt x="18766" y="18644"/>
                    <a:pt x="18854" y="18603"/>
                  </a:cubicBezTo>
                  <a:cubicBezTo>
                    <a:pt x="18945" y="18568"/>
                    <a:pt x="19049" y="18490"/>
                    <a:pt x="19103" y="18445"/>
                  </a:cubicBezTo>
                  <a:cubicBezTo>
                    <a:pt x="19155" y="18401"/>
                    <a:pt x="19289" y="18323"/>
                    <a:pt x="19417" y="18298"/>
                  </a:cubicBezTo>
                  <a:cubicBezTo>
                    <a:pt x="19544" y="18262"/>
                    <a:pt x="19724" y="18174"/>
                    <a:pt x="19806" y="18087"/>
                  </a:cubicBezTo>
                  <a:cubicBezTo>
                    <a:pt x="19893" y="18004"/>
                    <a:pt x="20058" y="17912"/>
                    <a:pt x="20172" y="17880"/>
                  </a:cubicBezTo>
                  <a:cubicBezTo>
                    <a:pt x="20288" y="17853"/>
                    <a:pt x="20458" y="17767"/>
                    <a:pt x="20548" y="17690"/>
                  </a:cubicBezTo>
                  <a:cubicBezTo>
                    <a:pt x="20637" y="17614"/>
                    <a:pt x="20772" y="17481"/>
                    <a:pt x="20854" y="17394"/>
                  </a:cubicBezTo>
                  <a:cubicBezTo>
                    <a:pt x="20920" y="17300"/>
                    <a:pt x="21068" y="17245"/>
                    <a:pt x="21164" y="17253"/>
                  </a:cubicBezTo>
                  <a:cubicBezTo>
                    <a:pt x="21257" y="17271"/>
                    <a:pt x="21381" y="17225"/>
                    <a:pt x="21437" y="17168"/>
                  </a:cubicBezTo>
                  <a:cubicBezTo>
                    <a:pt x="21489" y="17107"/>
                    <a:pt x="21558" y="17058"/>
                    <a:pt x="21574" y="17044"/>
                  </a:cubicBezTo>
                  <a:cubicBezTo>
                    <a:pt x="21585" y="17025"/>
                    <a:pt x="21600" y="17022"/>
                    <a:pt x="21589" y="17012"/>
                  </a:cubicBezTo>
                  <a:cubicBezTo>
                    <a:pt x="21578" y="17003"/>
                    <a:pt x="21574" y="16961"/>
                    <a:pt x="21583" y="16911"/>
                  </a:cubicBezTo>
                  <a:cubicBezTo>
                    <a:pt x="21593" y="16862"/>
                    <a:pt x="21519" y="16759"/>
                    <a:pt x="21420" y="16684"/>
                  </a:cubicBezTo>
                  <a:cubicBezTo>
                    <a:pt x="21321" y="16608"/>
                    <a:pt x="21130" y="16546"/>
                    <a:pt x="20995" y="16546"/>
                  </a:cubicBezTo>
                  <a:cubicBezTo>
                    <a:pt x="20859" y="16555"/>
                    <a:pt x="20625" y="16422"/>
                    <a:pt x="20458" y="16280"/>
                  </a:cubicBezTo>
                  <a:cubicBezTo>
                    <a:pt x="20291" y="16138"/>
                    <a:pt x="20197" y="15948"/>
                    <a:pt x="20225" y="15868"/>
                  </a:cubicBezTo>
                  <a:cubicBezTo>
                    <a:pt x="20256" y="15788"/>
                    <a:pt x="20262" y="15603"/>
                    <a:pt x="20231" y="15459"/>
                  </a:cubicBezTo>
                  <a:cubicBezTo>
                    <a:pt x="20201" y="15315"/>
                    <a:pt x="20150" y="15151"/>
                    <a:pt x="20103" y="15104"/>
                  </a:cubicBezTo>
                  <a:cubicBezTo>
                    <a:pt x="20058" y="15055"/>
                    <a:pt x="20071" y="14930"/>
                    <a:pt x="20149" y="14847"/>
                  </a:cubicBezTo>
                  <a:cubicBezTo>
                    <a:pt x="20209" y="14753"/>
                    <a:pt x="20215" y="14655"/>
                    <a:pt x="20174" y="14603"/>
                  </a:cubicBezTo>
                  <a:cubicBezTo>
                    <a:pt x="20112" y="14568"/>
                    <a:pt x="20085" y="14442"/>
                    <a:pt x="20064" y="14346"/>
                  </a:cubicBezTo>
                  <a:cubicBezTo>
                    <a:pt x="20055" y="14248"/>
                    <a:pt x="20031" y="14122"/>
                    <a:pt x="20013" y="14064"/>
                  </a:cubicBezTo>
                  <a:cubicBezTo>
                    <a:pt x="19994" y="14005"/>
                    <a:pt x="20002" y="13954"/>
                    <a:pt x="20033" y="13937"/>
                  </a:cubicBezTo>
                  <a:cubicBezTo>
                    <a:pt x="20062" y="13920"/>
                    <a:pt x="20055" y="13811"/>
                    <a:pt x="20023" y="13682"/>
                  </a:cubicBezTo>
                  <a:cubicBezTo>
                    <a:pt x="19993" y="13553"/>
                    <a:pt x="19948" y="13357"/>
                    <a:pt x="19957" y="13243"/>
                  </a:cubicBezTo>
                  <a:cubicBezTo>
                    <a:pt x="19957" y="13132"/>
                    <a:pt x="20021" y="12980"/>
                    <a:pt x="20109" y="12915"/>
                  </a:cubicBezTo>
                  <a:cubicBezTo>
                    <a:pt x="20197" y="12850"/>
                    <a:pt x="20284" y="12689"/>
                    <a:pt x="20322" y="12567"/>
                  </a:cubicBezTo>
                  <a:cubicBezTo>
                    <a:pt x="20354" y="12443"/>
                    <a:pt x="20319" y="12294"/>
                    <a:pt x="20257" y="12224"/>
                  </a:cubicBezTo>
                  <a:cubicBezTo>
                    <a:pt x="20184" y="12161"/>
                    <a:pt x="20147" y="11948"/>
                    <a:pt x="20167" y="11757"/>
                  </a:cubicBezTo>
                  <a:cubicBezTo>
                    <a:pt x="20178" y="11566"/>
                    <a:pt x="20246" y="11303"/>
                    <a:pt x="20300" y="11173"/>
                  </a:cubicBezTo>
                  <a:cubicBezTo>
                    <a:pt x="20351" y="11042"/>
                    <a:pt x="20457" y="10897"/>
                    <a:pt x="20527" y="10845"/>
                  </a:cubicBezTo>
                  <a:cubicBezTo>
                    <a:pt x="20601" y="10798"/>
                    <a:pt x="20694" y="10761"/>
                    <a:pt x="20737" y="10770"/>
                  </a:cubicBezTo>
                  <a:cubicBezTo>
                    <a:pt x="20779" y="10779"/>
                    <a:pt x="20849" y="10732"/>
                    <a:pt x="20888" y="10666"/>
                  </a:cubicBezTo>
                  <a:cubicBezTo>
                    <a:pt x="20923" y="10598"/>
                    <a:pt x="20940" y="10394"/>
                    <a:pt x="20887" y="10213"/>
                  </a:cubicBezTo>
                  <a:cubicBezTo>
                    <a:pt x="20847" y="10028"/>
                    <a:pt x="20749" y="9893"/>
                    <a:pt x="20676" y="9912"/>
                  </a:cubicBezTo>
                  <a:cubicBezTo>
                    <a:pt x="20607" y="9937"/>
                    <a:pt x="20468" y="9854"/>
                    <a:pt x="20370" y="9746"/>
                  </a:cubicBezTo>
                  <a:cubicBezTo>
                    <a:pt x="20278" y="9633"/>
                    <a:pt x="20090" y="9449"/>
                    <a:pt x="19948" y="9345"/>
                  </a:cubicBezTo>
                  <a:cubicBezTo>
                    <a:pt x="19811" y="9237"/>
                    <a:pt x="19714" y="9046"/>
                    <a:pt x="19724" y="8925"/>
                  </a:cubicBezTo>
                  <a:cubicBezTo>
                    <a:pt x="19743" y="8806"/>
                    <a:pt x="19858" y="8521"/>
                    <a:pt x="19970" y="8284"/>
                  </a:cubicBezTo>
                  <a:cubicBezTo>
                    <a:pt x="20093" y="8049"/>
                    <a:pt x="20342" y="7563"/>
                    <a:pt x="20503" y="7195"/>
                  </a:cubicBezTo>
                  <a:cubicBezTo>
                    <a:pt x="20673" y="6828"/>
                    <a:pt x="20836" y="6471"/>
                    <a:pt x="20892" y="6423"/>
                  </a:cubicBezTo>
                  <a:cubicBezTo>
                    <a:pt x="20919" y="6361"/>
                    <a:pt x="20975" y="6254"/>
                    <a:pt x="20975" y="6173"/>
                  </a:cubicBezTo>
                  <a:cubicBezTo>
                    <a:pt x="20975" y="6092"/>
                    <a:pt x="20959" y="6004"/>
                    <a:pt x="20937" y="5976"/>
                  </a:cubicBezTo>
                  <a:cubicBezTo>
                    <a:pt x="20915" y="5949"/>
                    <a:pt x="20912" y="5924"/>
                    <a:pt x="20932" y="5924"/>
                  </a:cubicBezTo>
                  <a:cubicBezTo>
                    <a:pt x="20954" y="5924"/>
                    <a:pt x="20462" y="5609"/>
                    <a:pt x="19848" y="5212"/>
                  </a:cubicBezTo>
                  <a:cubicBezTo>
                    <a:pt x="19224" y="4818"/>
                    <a:pt x="18678" y="4453"/>
                    <a:pt x="18637" y="4401"/>
                  </a:cubicBezTo>
                  <a:close/>
                  <a:moveTo>
                    <a:pt x="18637" y="44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2" name="AutoShape 864"/>
            <p:cNvSpPr>
              <a:spLocks/>
            </p:cNvSpPr>
            <p:nvPr/>
          </p:nvSpPr>
          <p:spPr bwMode="auto">
            <a:xfrm>
              <a:off x="8915400" y="5575300"/>
              <a:ext cx="1588" cy="0"/>
            </a:xfrm>
            <a:custGeom>
              <a:avLst/>
              <a:gdLst/>
              <a:ahLst/>
              <a:cxnLst/>
              <a:rect l="0" t="0" r="r" b="b"/>
              <a:pathLst>
                <a:path w="21600" h="21600">
                  <a:moveTo>
                    <a:pt x="0" y="0"/>
                  </a:moveTo>
                  <a:cubicBezTo>
                    <a:pt x="7146" y="6854"/>
                    <a:pt x="14454" y="14252"/>
                    <a:pt x="21600" y="21600"/>
                  </a:cubicBezTo>
                  <a:cubicBezTo>
                    <a:pt x="14454" y="14252"/>
                    <a:pt x="7308" y="6854"/>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3" name="AutoShape 865"/>
            <p:cNvSpPr>
              <a:spLocks/>
            </p:cNvSpPr>
            <p:nvPr/>
          </p:nvSpPr>
          <p:spPr bwMode="auto">
            <a:xfrm>
              <a:off x="8928100" y="5575300"/>
              <a:ext cx="1588" cy="0"/>
            </a:xfrm>
            <a:custGeom>
              <a:avLst/>
              <a:gdLst/>
              <a:ahLst/>
              <a:cxnLst/>
              <a:rect l="0" t="0" r="r" b="b"/>
              <a:pathLst>
                <a:path w="21600" h="21600">
                  <a:moveTo>
                    <a:pt x="0" y="0"/>
                  </a:moveTo>
                  <a:cubicBezTo>
                    <a:pt x="7153" y="6944"/>
                    <a:pt x="14321" y="14255"/>
                    <a:pt x="21600" y="21600"/>
                  </a:cubicBezTo>
                  <a:cubicBezTo>
                    <a:pt x="14447" y="14255"/>
                    <a:pt x="7286" y="7311"/>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4" name="AutoShape 866"/>
            <p:cNvSpPr>
              <a:spLocks/>
            </p:cNvSpPr>
            <p:nvPr/>
          </p:nvSpPr>
          <p:spPr bwMode="auto">
            <a:xfrm>
              <a:off x="8940800" y="5588000"/>
              <a:ext cx="0" cy="0"/>
            </a:xfrm>
            <a:custGeom>
              <a:avLst/>
              <a:gdLst/>
              <a:ahLst/>
              <a:cxnLst/>
              <a:rect l="0" t="0" r="r" b="b"/>
              <a:pathLst>
                <a:path w="21600" h="21600">
                  <a:moveTo>
                    <a:pt x="0" y="0"/>
                  </a:moveTo>
                  <a:cubicBezTo>
                    <a:pt x="7031" y="7663"/>
                    <a:pt x="14569" y="14056"/>
                    <a:pt x="21600" y="21600"/>
                  </a:cubicBezTo>
                  <a:cubicBezTo>
                    <a:pt x="14569" y="14056"/>
                    <a:pt x="7031" y="7663"/>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5" name="AutoShape 867"/>
            <p:cNvSpPr>
              <a:spLocks/>
            </p:cNvSpPr>
            <p:nvPr/>
          </p:nvSpPr>
          <p:spPr bwMode="auto">
            <a:xfrm>
              <a:off x="8813800" y="5575300"/>
              <a:ext cx="23813" cy="1588"/>
            </a:xfrm>
            <a:custGeom>
              <a:avLst/>
              <a:gdLst/>
              <a:ahLst/>
              <a:cxnLst/>
              <a:rect l="0" t="0" r="r" b="b"/>
              <a:pathLst>
                <a:path w="20642" h="19726">
                  <a:moveTo>
                    <a:pt x="8" y="19442"/>
                  </a:moveTo>
                  <a:cubicBezTo>
                    <a:pt x="-169" y="20687"/>
                    <a:pt x="2474" y="17573"/>
                    <a:pt x="6004" y="15153"/>
                  </a:cubicBezTo>
                  <a:cubicBezTo>
                    <a:pt x="9574" y="12894"/>
                    <a:pt x="15467" y="8215"/>
                    <a:pt x="19048" y="2289"/>
                  </a:cubicBezTo>
                  <a:cubicBezTo>
                    <a:pt x="21431" y="103"/>
                    <a:pt x="21035" y="-913"/>
                    <a:pt x="18569" y="1036"/>
                  </a:cubicBezTo>
                  <a:cubicBezTo>
                    <a:pt x="12957" y="6970"/>
                    <a:pt x="7575" y="12343"/>
                    <a:pt x="2861" y="16710"/>
                  </a:cubicBezTo>
                  <a:cubicBezTo>
                    <a:pt x="1173" y="18586"/>
                    <a:pt x="91" y="19754"/>
                    <a:pt x="8" y="19442"/>
                  </a:cubicBezTo>
                  <a:close/>
                  <a:moveTo>
                    <a:pt x="8" y="194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6" name="AutoShape 868"/>
            <p:cNvSpPr>
              <a:spLocks/>
            </p:cNvSpPr>
            <p:nvPr/>
          </p:nvSpPr>
          <p:spPr bwMode="auto">
            <a:xfrm>
              <a:off x="8877300" y="5562600"/>
              <a:ext cx="15875" cy="0"/>
            </a:xfrm>
            <a:custGeom>
              <a:avLst/>
              <a:gdLst/>
              <a:ahLst/>
              <a:cxnLst/>
              <a:rect l="0" t="0" r="r" b="b"/>
              <a:pathLst>
                <a:path w="21600" h="11437">
                  <a:moveTo>
                    <a:pt x="0" y="3269"/>
                  </a:moveTo>
                  <a:cubicBezTo>
                    <a:pt x="6856" y="4080"/>
                    <a:pt x="12895" y="20034"/>
                    <a:pt x="21600" y="5036"/>
                  </a:cubicBezTo>
                  <a:cubicBezTo>
                    <a:pt x="13909" y="-1088"/>
                    <a:pt x="6677" y="-1566"/>
                    <a:pt x="0" y="3269"/>
                  </a:cubicBezTo>
                  <a:close/>
                  <a:moveTo>
                    <a:pt x="0" y="32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7" name="AutoShape 869"/>
            <p:cNvSpPr>
              <a:spLocks/>
            </p:cNvSpPr>
            <p:nvPr/>
          </p:nvSpPr>
          <p:spPr bwMode="auto">
            <a:xfrm>
              <a:off x="8851900" y="5575300"/>
              <a:ext cx="12700" cy="1588"/>
            </a:xfrm>
            <a:custGeom>
              <a:avLst/>
              <a:gdLst/>
              <a:ahLst/>
              <a:cxnLst/>
              <a:rect l="0" t="0" r="r" b="b"/>
              <a:pathLst>
                <a:path w="21600" h="21600">
                  <a:moveTo>
                    <a:pt x="0" y="21600"/>
                  </a:moveTo>
                  <a:cubicBezTo>
                    <a:pt x="7311" y="14706"/>
                    <a:pt x="14622" y="7419"/>
                    <a:pt x="21600" y="0"/>
                  </a:cubicBezTo>
                  <a:cubicBezTo>
                    <a:pt x="21516" y="137"/>
                    <a:pt x="21412" y="137"/>
                    <a:pt x="21349" y="269"/>
                  </a:cubicBezTo>
                  <a:cubicBezTo>
                    <a:pt x="14538" y="7283"/>
                    <a:pt x="7311" y="14450"/>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8" name="AutoShape 870"/>
            <p:cNvSpPr>
              <a:spLocks/>
            </p:cNvSpPr>
            <p:nvPr/>
          </p:nvSpPr>
          <p:spPr bwMode="auto">
            <a:xfrm>
              <a:off x="8801100" y="5575300"/>
              <a:ext cx="14288" cy="1588"/>
            </a:xfrm>
            <a:custGeom>
              <a:avLst/>
              <a:gdLst/>
              <a:ahLst/>
              <a:cxnLst/>
              <a:rect l="0" t="0" r="r" b="b"/>
              <a:pathLst>
                <a:path w="21600" h="21600">
                  <a:moveTo>
                    <a:pt x="2045" y="19505"/>
                  </a:moveTo>
                  <a:cubicBezTo>
                    <a:pt x="1351" y="20311"/>
                    <a:pt x="694" y="20956"/>
                    <a:pt x="0" y="21600"/>
                  </a:cubicBezTo>
                  <a:cubicBezTo>
                    <a:pt x="9429" y="13549"/>
                    <a:pt x="16354" y="7739"/>
                    <a:pt x="16592" y="5644"/>
                  </a:cubicBezTo>
                  <a:cubicBezTo>
                    <a:pt x="16738" y="6289"/>
                    <a:pt x="18637" y="3877"/>
                    <a:pt x="21600" y="0"/>
                  </a:cubicBezTo>
                  <a:cubicBezTo>
                    <a:pt x="13905" y="8549"/>
                    <a:pt x="7180" y="15145"/>
                    <a:pt x="2045" y="19505"/>
                  </a:cubicBezTo>
                  <a:close/>
                  <a:moveTo>
                    <a:pt x="2045" y="195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69" name="AutoShape 871"/>
            <p:cNvSpPr>
              <a:spLocks/>
            </p:cNvSpPr>
            <p:nvPr/>
          </p:nvSpPr>
          <p:spPr bwMode="auto">
            <a:xfrm>
              <a:off x="8699500" y="5588000"/>
              <a:ext cx="84138" cy="76200"/>
            </a:xfrm>
            <a:custGeom>
              <a:avLst/>
              <a:gdLst/>
              <a:ahLst/>
              <a:cxnLst/>
              <a:rect l="0" t="0" r="r" b="b"/>
              <a:pathLst>
                <a:path w="21580" h="21418">
                  <a:moveTo>
                    <a:pt x="16690" y="19"/>
                  </a:moveTo>
                  <a:cubicBezTo>
                    <a:pt x="16210" y="179"/>
                    <a:pt x="15775" y="694"/>
                    <a:pt x="15718" y="1167"/>
                  </a:cubicBezTo>
                  <a:cubicBezTo>
                    <a:pt x="15670" y="1653"/>
                    <a:pt x="15460" y="2279"/>
                    <a:pt x="15209" y="2506"/>
                  </a:cubicBezTo>
                  <a:cubicBezTo>
                    <a:pt x="15028" y="2805"/>
                    <a:pt x="14453" y="2999"/>
                    <a:pt x="14030" y="3048"/>
                  </a:cubicBezTo>
                  <a:cubicBezTo>
                    <a:pt x="13611" y="3093"/>
                    <a:pt x="13071" y="2951"/>
                    <a:pt x="12880" y="2690"/>
                  </a:cubicBezTo>
                  <a:cubicBezTo>
                    <a:pt x="12661" y="2450"/>
                    <a:pt x="12232" y="2144"/>
                    <a:pt x="11927" y="1977"/>
                  </a:cubicBezTo>
                  <a:cubicBezTo>
                    <a:pt x="11609" y="1859"/>
                    <a:pt x="10965" y="2133"/>
                    <a:pt x="10431" y="2613"/>
                  </a:cubicBezTo>
                  <a:cubicBezTo>
                    <a:pt x="9948" y="3142"/>
                    <a:pt x="9102" y="3639"/>
                    <a:pt x="8620" y="3817"/>
                  </a:cubicBezTo>
                  <a:cubicBezTo>
                    <a:pt x="8130" y="3976"/>
                    <a:pt x="7593" y="4101"/>
                    <a:pt x="7460" y="4001"/>
                  </a:cubicBezTo>
                  <a:cubicBezTo>
                    <a:pt x="7307" y="3949"/>
                    <a:pt x="6602" y="4477"/>
                    <a:pt x="5937" y="5259"/>
                  </a:cubicBezTo>
                  <a:cubicBezTo>
                    <a:pt x="5277" y="6035"/>
                    <a:pt x="4161" y="7276"/>
                    <a:pt x="3580" y="8111"/>
                  </a:cubicBezTo>
                  <a:cubicBezTo>
                    <a:pt x="2995" y="8959"/>
                    <a:pt x="1978" y="11355"/>
                    <a:pt x="1353" y="13469"/>
                  </a:cubicBezTo>
                  <a:cubicBezTo>
                    <a:pt x="816" y="15312"/>
                    <a:pt x="269" y="17436"/>
                    <a:pt x="2" y="18570"/>
                  </a:cubicBezTo>
                  <a:cubicBezTo>
                    <a:pt x="-20" y="18935"/>
                    <a:pt x="129" y="19168"/>
                    <a:pt x="339" y="19078"/>
                  </a:cubicBezTo>
                  <a:cubicBezTo>
                    <a:pt x="580" y="18918"/>
                    <a:pt x="1238" y="18834"/>
                    <a:pt x="1746" y="18789"/>
                  </a:cubicBezTo>
                  <a:cubicBezTo>
                    <a:pt x="2246" y="18740"/>
                    <a:pt x="2900" y="18813"/>
                    <a:pt x="3208" y="18869"/>
                  </a:cubicBezTo>
                  <a:cubicBezTo>
                    <a:pt x="3516" y="18928"/>
                    <a:pt x="3863" y="19502"/>
                    <a:pt x="4073" y="20020"/>
                  </a:cubicBezTo>
                  <a:cubicBezTo>
                    <a:pt x="4266" y="20545"/>
                    <a:pt x="4797" y="21119"/>
                    <a:pt x="5273" y="21310"/>
                  </a:cubicBezTo>
                  <a:cubicBezTo>
                    <a:pt x="5753" y="21501"/>
                    <a:pt x="6319" y="21428"/>
                    <a:pt x="6503" y="21178"/>
                  </a:cubicBezTo>
                  <a:cubicBezTo>
                    <a:pt x="6630" y="20893"/>
                    <a:pt x="6999" y="20642"/>
                    <a:pt x="7202" y="20566"/>
                  </a:cubicBezTo>
                  <a:cubicBezTo>
                    <a:pt x="7380" y="20427"/>
                    <a:pt x="7768" y="20670"/>
                    <a:pt x="8028" y="20955"/>
                  </a:cubicBezTo>
                  <a:cubicBezTo>
                    <a:pt x="8286" y="21237"/>
                    <a:pt x="8982" y="21265"/>
                    <a:pt x="9582" y="20962"/>
                  </a:cubicBezTo>
                  <a:cubicBezTo>
                    <a:pt x="10167" y="20614"/>
                    <a:pt x="10691" y="20155"/>
                    <a:pt x="10735" y="19836"/>
                  </a:cubicBezTo>
                  <a:cubicBezTo>
                    <a:pt x="10783" y="19516"/>
                    <a:pt x="11133" y="18344"/>
                    <a:pt x="11600" y="17270"/>
                  </a:cubicBezTo>
                  <a:cubicBezTo>
                    <a:pt x="12016" y="16153"/>
                    <a:pt x="12419" y="14780"/>
                    <a:pt x="12419" y="14168"/>
                  </a:cubicBezTo>
                  <a:cubicBezTo>
                    <a:pt x="12419" y="13549"/>
                    <a:pt x="12620" y="13066"/>
                    <a:pt x="12871" y="12996"/>
                  </a:cubicBezTo>
                  <a:cubicBezTo>
                    <a:pt x="13116" y="12941"/>
                    <a:pt x="13538" y="13107"/>
                    <a:pt x="13735" y="13375"/>
                  </a:cubicBezTo>
                  <a:cubicBezTo>
                    <a:pt x="13983" y="13594"/>
                    <a:pt x="14428" y="13796"/>
                    <a:pt x="14752" y="13855"/>
                  </a:cubicBezTo>
                  <a:cubicBezTo>
                    <a:pt x="15076" y="13914"/>
                    <a:pt x="15381" y="14335"/>
                    <a:pt x="15518" y="14836"/>
                  </a:cubicBezTo>
                  <a:cubicBezTo>
                    <a:pt x="15613" y="15343"/>
                    <a:pt x="15991" y="15854"/>
                    <a:pt x="16267" y="16108"/>
                  </a:cubicBezTo>
                  <a:cubicBezTo>
                    <a:pt x="16544" y="16348"/>
                    <a:pt x="16801" y="16612"/>
                    <a:pt x="16801" y="16807"/>
                  </a:cubicBezTo>
                  <a:cubicBezTo>
                    <a:pt x="16741" y="16995"/>
                    <a:pt x="16836" y="17287"/>
                    <a:pt x="16954" y="17416"/>
                  </a:cubicBezTo>
                  <a:cubicBezTo>
                    <a:pt x="17005" y="17583"/>
                    <a:pt x="17392" y="17690"/>
                    <a:pt x="17704" y="17749"/>
                  </a:cubicBezTo>
                  <a:cubicBezTo>
                    <a:pt x="18015" y="17805"/>
                    <a:pt x="18527" y="17624"/>
                    <a:pt x="18857" y="17384"/>
                  </a:cubicBezTo>
                  <a:cubicBezTo>
                    <a:pt x="19203" y="17169"/>
                    <a:pt x="19667" y="16703"/>
                    <a:pt x="19909" y="16386"/>
                  </a:cubicBezTo>
                  <a:cubicBezTo>
                    <a:pt x="20179" y="16091"/>
                    <a:pt x="20500" y="15462"/>
                    <a:pt x="20637" y="15009"/>
                  </a:cubicBezTo>
                  <a:cubicBezTo>
                    <a:pt x="20732" y="14540"/>
                    <a:pt x="21031" y="13768"/>
                    <a:pt x="21253" y="13278"/>
                  </a:cubicBezTo>
                  <a:cubicBezTo>
                    <a:pt x="21409" y="12774"/>
                    <a:pt x="21580" y="11838"/>
                    <a:pt x="21580" y="11177"/>
                  </a:cubicBezTo>
                  <a:cubicBezTo>
                    <a:pt x="21580" y="10513"/>
                    <a:pt x="21345" y="9188"/>
                    <a:pt x="21253" y="8222"/>
                  </a:cubicBezTo>
                  <a:cubicBezTo>
                    <a:pt x="21107" y="7259"/>
                    <a:pt x="20776" y="6132"/>
                    <a:pt x="20595" y="5684"/>
                  </a:cubicBezTo>
                  <a:cubicBezTo>
                    <a:pt x="20417" y="5235"/>
                    <a:pt x="20144" y="4564"/>
                    <a:pt x="20144" y="4161"/>
                  </a:cubicBezTo>
                  <a:cubicBezTo>
                    <a:pt x="20100" y="3757"/>
                    <a:pt x="19807" y="3173"/>
                    <a:pt x="19477" y="2867"/>
                  </a:cubicBezTo>
                  <a:cubicBezTo>
                    <a:pt x="19124" y="2575"/>
                    <a:pt x="18578" y="1869"/>
                    <a:pt x="18355" y="1285"/>
                  </a:cubicBezTo>
                  <a:cubicBezTo>
                    <a:pt x="18349" y="1271"/>
                    <a:pt x="18349" y="1261"/>
                    <a:pt x="18342" y="1243"/>
                  </a:cubicBezTo>
                  <a:cubicBezTo>
                    <a:pt x="18301" y="1174"/>
                    <a:pt x="18257" y="1097"/>
                    <a:pt x="18218" y="1027"/>
                  </a:cubicBezTo>
                  <a:cubicBezTo>
                    <a:pt x="17834" y="346"/>
                    <a:pt x="17183" y="-99"/>
                    <a:pt x="16690" y="19"/>
                  </a:cubicBezTo>
                  <a:close/>
                  <a:moveTo>
                    <a:pt x="16690" y="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0" name="AutoShape 872"/>
            <p:cNvSpPr>
              <a:spLocks/>
            </p:cNvSpPr>
            <p:nvPr/>
          </p:nvSpPr>
          <p:spPr bwMode="auto">
            <a:xfrm>
              <a:off x="8775700" y="5588000"/>
              <a:ext cx="3175" cy="4763"/>
            </a:xfrm>
            <a:custGeom>
              <a:avLst/>
              <a:gdLst/>
              <a:ahLst/>
              <a:cxnLst/>
              <a:rect l="0" t="0" r="r" b="b"/>
              <a:pathLst>
                <a:path w="21600" h="21600">
                  <a:moveTo>
                    <a:pt x="21600" y="21600"/>
                  </a:moveTo>
                  <a:cubicBezTo>
                    <a:pt x="15551" y="18129"/>
                    <a:pt x="7021" y="8511"/>
                    <a:pt x="0" y="0"/>
                  </a:cubicBezTo>
                  <a:cubicBezTo>
                    <a:pt x="125" y="233"/>
                    <a:pt x="125" y="370"/>
                    <a:pt x="242" y="555"/>
                  </a:cubicBezTo>
                  <a:cubicBezTo>
                    <a:pt x="4480" y="8326"/>
                    <a:pt x="14885" y="17711"/>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1" name="AutoShape 873"/>
            <p:cNvSpPr>
              <a:spLocks/>
            </p:cNvSpPr>
            <p:nvPr/>
          </p:nvSpPr>
          <p:spPr bwMode="auto">
            <a:xfrm>
              <a:off x="8699500" y="5638800"/>
              <a:ext cx="79375" cy="106363"/>
            </a:xfrm>
            <a:custGeom>
              <a:avLst/>
              <a:gdLst/>
              <a:ahLst/>
              <a:cxnLst/>
              <a:rect l="0" t="0" r="r" b="b"/>
              <a:pathLst>
                <a:path w="21534" h="21463">
                  <a:moveTo>
                    <a:pt x="17373" y="2232"/>
                  </a:moveTo>
                  <a:cubicBezTo>
                    <a:pt x="17081" y="2050"/>
                    <a:pt x="16682" y="1685"/>
                    <a:pt x="16581" y="1322"/>
                  </a:cubicBezTo>
                  <a:cubicBezTo>
                    <a:pt x="16436" y="965"/>
                    <a:pt x="16114" y="664"/>
                    <a:pt x="15771" y="621"/>
                  </a:cubicBezTo>
                  <a:cubicBezTo>
                    <a:pt x="15429" y="579"/>
                    <a:pt x="14959" y="435"/>
                    <a:pt x="14696" y="278"/>
                  </a:cubicBezTo>
                  <a:cubicBezTo>
                    <a:pt x="14488" y="87"/>
                    <a:pt x="14042" y="-32"/>
                    <a:pt x="13783" y="8"/>
                  </a:cubicBezTo>
                  <a:cubicBezTo>
                    <a:pt x="13517" y="57"/>
                    <a:pt x="13306" y="403"/>
                    <a:pt x="13306" y="845"/>
                  </a:cubicBezTo>
                  <a:cubicBezTo>
                    <a:pt x="13306" y="1283"/>
                    <a:pt x="12879" y="2264"/>
                    <a:pt x="12439" y="3062"/>
                  </a:cubicBezTo>
                  <a:cubicBezTo>
                    <a:pt x="11946" y="3830"/>
                    <a:pt x="11576" y="4667"/>
                    <a:pt x="11526" y="4896"/>
                  </a:cubicBezTo>
                  <a:cubicBezTo>
                    <a:pt x="11479" y="5124"/>
                    <a:pt x="10924" y="5452"/>
                    <a:pt x="10306" y="5701"/>
                  </a:cubicBezTo>
                  <a:cubicBezTo>
                    <a:pt x="9672" y="5917"/>
                    <a:pt x="8936" y="5897"/>
                    <a:pt x="8664" y="5696"/>
                  </a:cubicBezTo>
                  <a:cubicBezTo>
                    <a:pt x="8389" y="5492"/>
                    <a:pt x="7979" y="5318"/>
                    <a:pt x="7791" y="5418"/>
                  </a:cubicBezTo>
                  <a:cubicBezTo>
                    <a:pt x="7576" y="5472"/>
                    <a:pt x="7186" y="5651"/>
                    <a:pt x="7052" y="5855"/>
                  </a:cubicBezTo>
                  <a:cubicBezTo>
                    <a:pt x="6857" y="6034"/>
                    <a:pt x="6259" y="6086"/>
                    <a:pt x="5752" y="5949"/>
                  </a:cubicBezTo>
                  <a:cubicBezTo>
                    <a:pt x="5248" y="5813"/>
                    <a:pt x="4688" y="5403"/>
                    <a:pt x="4483" y="5027"/>
                  </a:cubicBezTo>
                  <a:cubicBezTo>
                    <a:pt x="4261" y="4657"/>
                    <a:pt x="3895" y="4247"/>
                    <a:pt x="3569" y="4205"/>
                  </a:cubicBezTo>
                  <a:cubicBezTo>
                    <a:pt x="3243" y="4165"/>
                    <a:pt x="2551" y="4113"/>
                    <a:pt x="2024" y="4148"/>
                  </a:cubicBezTo>
                  <a:cubicBezTo>
                    <a:pt x="1487" y="4180"/>
                    <a:pt x="791" y="4240"/>
                    <a:pt x="536" y="4354"/>
                  </a:cubicBezTo>
                  <a:cubicBezTo>
                    <a:pt x="321" y="4419"/>
                    <a:pt x="150" y="4615"/>
                    <a:pt x="5" y="4821"/>
                  </a:cubicBezTo>
                  <a:cubicBezTo>
                    <a:pt x="-25" y="5388"/>
                    <a:pt x="86" y="6012"/>
                    <a:pt x="351" y="6374"/>
                  </a:cubicBezTo>
                  <a:cubicBezTo>
                    <a:pt x="697" y="6849"/>
                    <a:pt x="969" y="7684"/>
                    <a:pt x="969" y="8218"/>
                  </a:cubicBezTo>
                  <a:cubicBezTo>
                    <a:pt x="969" y="8758"/>
                    <a:pt x="872" y="9714"/>
                    <a:pt x="821" y="10343"/>
                  </a:cubicBezTo>
                  <a:cubicBezTo>
                    <a:pt x="744" y="10820"/>
                    <a:pt x="869" y="13514"/>
                    <a:pt x="1067" y="16881"/>
                  </a:cubicBezTo>
                  <a:cubicBezTo>
                    <a:pt x="1342" y="19515"/>
                    <a:pt x="2679" y="21568"/>
                    <a:pt x="4164" y="21459"/>
                  </a:cubicBezTo>
                  <a:cubicBezTo>
                    <a:pt x="5688" y="21344"/>
                    <a:pt x="7804" y="21014"/>
                    <a:pt x="8879" y="20761"/>
                  </a:cubicBezTo>
                  <a:cubicBezTo>
                    <a:pt x="9937" y="20487"/>
                    <a:pt x="11281" y="19704"/>
                    <a:pt x="11902" y="19071"/>
                  </a:cubicBezTo>
                  <a:cubicBezTo>
                    <a:pt x="12486" y="18417"/>
                    <a:pt x="13739" y="17289"/>
                    <a:pt x="14609" y="16528"/>
                  </a:cubicBezTo>
                  <a:cubicBezTo>
                    <a:pt x="15512" y="15785"/>
                    <a:pt x="16547" y="14960"/>
                    <a:pt x="16913" y="14692"/>
                  </a:cubicBezTo>
                  <a:cubicBezTo>
                    <a:pt x="17219" y="14391"/>
                    <a:pt x="17968" y="13909"/>
                    <a:pt x="18425" y="13534"/>
                  </a:cubicBezTo>
                  <a:cubicBezTo>
                    <a:pt x="18855" y="13139"/>
                    <a:pt x="19684" y="12480"/>
                    <a:pt x="20255" y="12058"/>
                  </a:cubicBezTo>
                  <a:cubicBezTo>
                    <a:pt x="20789" y="11623"/>
                    <a:pt x="21347" y="10989"/>
                    <a:pt x="21434" y="10634"/>
                  </a:cubicBezTo>
                  <a:cubicBezTo>
                    <a:pt x="21575" y="10283"/>
                    <a:pt x="21542" y="9416"/>
                    <a:pt x="21488" y="8713"/>
                  </a:cubicBezTo>
                  <a:cubicBezTo>
                    <a:pt x="21390" y="8005"/>
                    <a:pt x="21031" y="7425"/>
                    <a:pt x="20655" y="7391"/>
                  </a:cubicBezTo>
                  <a:cubicBezTo>
                    <a:pt x="20285" y="7351"/>
                    <a:pt x="19835" y="7130"/>
                    <a:pt x="19835" y="6824"/>
                  </a:cubicBezTo>
                  <a:cubicBezTo>
                    <a:pt x="19735" y="6533"/>
                    <a:pt x="19355" y="6168"/>
                    <a:pt x="18942" y="6014"/>
                  </a:cubicBezTo>
                  <a:cubicBezTo>
                    <a:pt x="18522" y="5875"/>
                    <a:pt x="18213" y="5470"/>
                    <a:pt x="18263" y="5149"/>
                  </a:cubicBezTo>
                  <a:cubicBezTo>
                    <a:pt x="18320" y="4826"/>
                    <a:pt x="18246" y="4381"/>
                    <a:pt x="18065" y="4200"/>
                  </a:cubicBezTo>
                  <a:cubicBezTo>
                    <a:pt x="17951" y="3989"/>
                    <a:pt x="17807" y="3648"/>
                    <a:pt x="17850" y="3412"/>
                  </a:cubicBezTo>
                  <a:cubicBezTo>
                    <a:pt x="17850" y="3355"/>
                    <a:pt x="17874" y="3333"/>
                    <a:pt x="17890" y="3290"/>
                  </a:cubicBezTo>
                  <a:cubicBezTo>
                    <a:pt x="17890" y="3248"/>
                    <a:pt x="17877" y="3201"/>
                    <a:pt x="17881" y="3159"/>
                  </a:cubicBezTo>
                  <a:cubicBezTo>
                    <a:pt x="17934" y="2791"/>
                    <a:pt x="17666" y="2403"/>
                    <a:pt x="17373" y="2232"/>
                  </a:cubicBezTo>
                  <a:close/>
                  <a:moveTo>
                    <a:pt x="17373" y="22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2" name="AutoShape 874"/>
            <p:cNvSpPr>
              <a:spLocks/>
            </p:cNvSpPr>
            <p:nvPr/>
          </p:nvSpPr>
          <p:spPr bwMode="auto">
            <a:xfrm>
              <a:off x="8763000" y="5651500"/>
              <a:ext cx="0" cy="3175"/>
            </a:xfrm>
            <a:custGeom>
              <a:avLst/>
              <a:gdLst/>
              <a:ahLst/>
              <a:cxnLst/>
              <a:rect l="0" t="0" r="r" b="b"/>
              <a:pathLst>
                <a:path w="18620" h="21600">
                  <a:moveTo>
                    <a:pt x="18620" y="21600"/>
                  </a:moveTo>
                  <a:cubicBezTo>
                    <a:pt x="10204" y="17176"/>
                    <a:pt x="3191" y="8207"/>
                    <a:pt x="4015" y="0"/>
                  </a:cubicBezTo>
                  <a:cubicBezTo>
                    <a:pt x="2613" y="1003"/>
                    <a:pt x="667" y="1536"/>
                    <a:pt x="667" y="2895"/>
                  </a:cubicBezTo>
                  <a:cubicBezTo>
                    <a:pt x="-2980" y="8498"/>
                    <a:pt x="9082" y="16584"/>
                    <a:pt x="18620" y="21600"/>
                  </a:cubicBezTo>
                  <a:close/>
                  <a:moveTo>
                    <a:pt x="1862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3" name="AutoShape 875"/>
            <p:cNvSpPr>
              <a:spLocks/>
            </p:cNvSpPr>
            <p:nvPr/>
          </p:nvSpPr>
          <p:spPr bwMode="auto">
            <a:xfrm>
              <a:off x="7924800" y="5308600"/>
              <a:ext cx="876300" cy="817563"/>
            </a:xfrm>
            <a:custGeom>
              <a:avLst/>
              <a:gdLst/>
              <a:ahLst/>
              <a:cxnLst/>
              <a:rect l="0" t="0" r="r" b="b"/>
              <a:pathLst>
                <a:path w="21584" h="21592">
                  <a:moveTo>
                    <a:pt x="562" y="14923"/>
                  </a:moveTo>
                  <a:cubicBezTo>
                    <a:pt x="570" y="14905"/>
                    <a:pt x="603" y="14896"/>
                    <a:pt x="627" y="14891"/>
                  </a:cubicBezTo>
                  <a:cubicBezTo>
                    <a:pt x="652" y="14891"/>
                    <a:pt x="690" y="14880"/>
                    <a:pt x="710" y="14867"/>
                  </a:cubicBezTo>
                  <a:cubicBezTo>
                    <a:pt x="732" y="14861"/>
                    <a:pt x="793" y="14830"/>
                    <a:pt x="850" y="14812"/>
                  </a:cubicBezTo>
                  <a:cubicBezTo>
                    <a:pt x="906" y="14791"/>
                    <a:pt x="993" y="14765"/>
                    <a:pt x="1045" y="14750"/>
                  </a:cubicBezTo>
                  <a:cubicBezTo>
                    <a:pt x="1097" y="14740"/>
                    <a:pt x="1177" y="14722"/>
                    <a:pt x="1224" y="14727"/>
                  </a:cubicBezTo>
                  <a:cubicBezTo>
                    <a:pt x="1272" y="14731"/>
                    <a:pt x="1347" y="14728"/>
                    <a:pt x="1389" y="14733"/>
                  </a:cubicBezTo>
                  <a:cubicBezTo>
                    <a:pt x="1432" y="14743"/>
                    <a:pt x="1521" y="14735"/>
                    <a:pt x="1584" y="14730"/>
                  </a:cubicBezTo>
                  <a:cubicBezTo>
                    <a:pt x="1648" y="14725"/>
                    <a:pt x="1760" y="14710"/>
                    <a:pt x="1834" y="14710"/>
                  </a:cubicBezTo>
                  <a:cubicBezTo>
                    <a:pt x="1907" y="14705"/>
                    <a:pt x="2044" y="14692"/>
                    <a:pt x="2137" y="14677"/>
                  </a:cubicBezTo>
                  <a:cubicBezTo>
                    <a:pt x="2230" y="14663"/>
                    <a:pt x="2348" y="14656"/>
                    <a:pt x="2398" y="14661"/>
                  </a:cubicBezTo>
                  <a:cubicBezTo>
                    <a:pt x="2448" y="14665"/>
                    <a:pt x="2570" y="14661"/>
                    <a:pt x="2670" y="14661"/>
                  </a:cubicBezTo>
                  <a:cubicBezTo>
                    <a:pt x="2768" y="14665"/>
                    <a:pt x="2940" y="14642"/>
                    <a:pt x="3049" y="14627"/>
                  </a:cubicBezTo>
                  <a:cubicBezTo>
                    <a:pt x="3159" y="14612"/>
                    <a:pt x="3429" y="14589"/>
                    <a:pt x="3652" y="14569"/>
                  </a:cubicBezTo>
                  <a:cubicBezTo>
                    <a:pt x="3872" y="14555"/>
                    <a:pt x="4320" y="14528"/>
                    <a:pt x="4646" y="14504"/>
                  </a:cubicBezTo>
                  <a:cubicBezTo>
                    <a:pt x="4971" y="14484"/>
                    <a:pt x="5234" y="14504"/>
                    <a:pt x="5230" y="14550"/>
                  </a:cubicBezTo>
                  <a:cubicBezTo>
                    <a:pt x="5230" y="14596"/>
                    <a:pt x="5216" y="14645"/>
                    <a:pt x="5209" y="14660"/>
                  </a:cubicBezTo>
                  <a:cubicBezTo>
                    <a:pt x="5200" y="14674"/>
                    <a:pt x="5203" y="14715"/>
                    <a:pt x="5208" y="14754"/>
                  </a:cubicBezTo>
                  <a:cubicBezTo>
                    <a:pt x="5212" y="14791"/>
                    <a:pt x="5242" y="14847"/>
                    <a:pt x="5263" y="14881"/>
                  </a:cubicBezTo>
                  <a:cubicBezTo>
                    <a:pt x="5285" y="14914"/>
                    <a:pt x="5306" y="14972"/>
                    <a:pt x="5311" y="15011"/>
                  </a:cubicBezTo>
                  <a:cubicBezTo>
                    <a:pt x="5315" y="15050"/>
                    <a:pt x="5303" y="15106"/>
                    <a:pt x="5286" y="15138"/>
                  </a:cubicBezTo>
                  <a:cubicBezTo>
                    <a:pt x="5271" y="15171"/>
                    <a:pt x="5253" y="15233"/>
                    <a:pt x="5248" y="15280"/>
                  </a:cubicBezTo>
                  <a:cubicBezTo>
                    <a:pt x="5244" y="15326"/>
                    <a:pt x="5270" y="15407"/>
                    <a:pt x="5296" y="15463"/>
                  </a:cubicBezTo>
                  <a:cubicBezTo>
                    <a:pt x="5325" y="15519"/>
                    <a:pt x="5364" y="15625"/>
                    <a:pt x="5373" y="15700"/>
                  </a:cubicBezTo>
                  <a:cubicBezTo>
                    <a:pt x="5387" y="15775"/>
                    <a:pt x="5408" y="15856"/>
                    <a:pt x="5413" y="15884"/>
                  </a:cubicBezTo>
                  <a:cubicBezTo>
                    <a:pt x="5423" y="15911"/>
                    <a:pt x="5430" y="15963"/>
                    <a:pt x="5430" y="16000"/>
                  </a:cubicBezTo>
                  <a:cubicBezTo>
                    <a:pt x="5424" y="16036"/>
                    <a:pt x="5448" y="16083"/>
                    <a:pt x="5474" y="16100"/>
                  </a:cubicBezTo>
                  <a:cubicBezTo>
                    <a:pt x="5496" y="16124"/>
                    <a:pt x="5542" y="16164"/>
                    <a:pt x="5564" y="16205"/>
                  </a:cubicBezTo>
                  <a:cubicBezTo>
                    <a:pt x="5587" y="16244"/>
                    <a:pt x="5637" y="16322"/>
                    <a:pt x="5672" y="16379"/>
                  </a:cubicBezTo>
                  <a:cubicBezTo>
                    <a:pt x="5710" y="16434"/>
                    <a:pt x="5745" y="16574"/>
                    <a:pt x="5754" y="16688"/>
                  </a:cubicBezTo>
                  <a:cubicBezTo>
                    <a:pt x="5763" y="16800"/>
                    <a:pt x="5797" y="16906"/>
                    <a:pt x="5829" y="16921"/>
                  </a:cubicBezTo>
                  <a:cubicBezTo>
                    <a:pt x="5861" y="16936"/>
                    <a:pt x="5955" y="16944"/>
                    <a:pt x="6037" y="16928"/>
                  </a:cubicBezTo>
                  <a:cubicBezTo>
                    <a:pt x="6119" y="16914"/>
                    <a:pt x="6234" y="16894"/>
                    <a:pt x="6293" y="16878"/>
                  </a:cubicBezTo>
                  <a:cubicBezTo>
                    <a:pt x="6352" y="16868"/>
                    <a:pt x="6424" y="16859"/>
                    <a:pt x="6456" y="16865"/>
                  </a:cubicBezTo>
                  <a:cubicBezTo>
                    <a:pt x="6490" y="16870"/>
                    <a:pt x="6602" y="16878"/>
                    <a:pt x="6707" y="16878"/>
                  </a:cubicBezTo>
                  <a:cubicBezTo>
                    <a:pt x="6812" y="16878"/>
                    <a:pt x="6930" y="16850"/>
                    <a:pt x="6973" y="16827"/>
                  </a:cubicBezTo>
                  <a:cubicBezTo>
                    <a:pt x="7013" y="16798"/>
                    <a:pt x="7239" y="16754"/>
                    <a:pt x="7470" y="16715"/>
                  </a:cubicBezTo>
                  <a:cubicBezTo>
                    <a:pt x="7701" y="16681"/>
                    <a:pt x="7889" y="16579"/>
                    <a:pt x="7898" y="16493"/>
                  </a:cubicBezTo>
                  <a:cubicBezTo>
                    <a:pt x="7907" y="16407"/>
                    <a:pt x="7899" y="16287"/>
                    <a:pt x="7899" y="16226"/>
                  </a:cubicBezTo>
                  <a:cubicBezTo>
                    <a:pt x="7895" y="16165"/>
                    <a:pt x="7916" y="16105"/>
                    <a:pt x="7941" y="16086"/>
                  </a:cubicBezTo>
                  <a:cubicBezTo>
                    <a:pt x="7968" y="16069"/>
                    <a:pt x="8011" y="16015"/>
                    <a:pt x="8038" y="15963"/>
                  </a:cubicBezTo>
                  <a:cubicBezTo>
                    <a:pt x="8066" y="15912"/>
                    <a:pt x="8100" y="15793"/>
                    <a:pt x="8113" y="15701"/>
                  </a:cubicBezTo>
                  <a:cubicBezTo>
                    <a:pt x="8132" y="15609"/>
                    <a:pt x="8384" y="15513"/>
                    <a:pt x="8679" y="15479"/>
                  </a:cubicBezTo>
                  <a:cubicBezTo>
                    <a:pt x="8973" y="15444"/>
                    <a:pt x="9222" y="15400"/>
                    <a:pt x="9222" y="15370"/>
                  </a:cubicBezTo>
                  <a:cubicBezTo>
                    <a:pt x="9222" y="15339"/>
                    <a:pt x="9304" y="15317"/>
                    <a:pt x="9395" y="15317"/>
                  </a:cubicBezTo>
                  <a:cubicBezTo>
                    <a:pt x="9485" y="15312"/>
                    <a:pt x="9556" y="15349"/>
                    <a:pt x="9550" y="15386"/>
                  </a:cubicBezTo>
                  <a:cubicBezTo>
                    <a:pt x="9545" y="15423"/>
                    <a:pt x="9520" y="15481"/>
                    <a:pt x="9501" y="15517"/>
                  </a:cubicBezTo>
                  <a:cubicBezTo>
                    <a:pt x="9474" y="15551"/>
                    <a:pt x="9467" y="15608"/>
                    <a:pt x="9471" y="15639"/>
                  </a:cubicBezTo>
                  <a:cubicBezTo>
                    <a:pt x="9476" y="15672"/>
                    <a:pt x="9767" y="15693"/>
                    <a:pt x="10115" y="15688"/>
                  </a:cubicBezTo>
                  <a:cubicBezTo>
                    <a:pt x="10461" y="15678"/>
                    <a:pt x="10745" y="15710"/>
                    <a:pt x="10749" y="15747"/>
                  </a:cubicBezTo>
                  <a:cubicBezTo>
                    <a:pt x="10754" y="15785"/>
                    <a:pt x="10746" y="15856"/>
                    <a:pt x="10742" y="15904"/>
                  </a:cubicBezTo>
                  <a:cubicBezTo>
                    <a:pt x="10737" y="15953"/>
                    <a:pt x="10726" y="16029"/>
                    <a:pt x="10722" y="16074"/>
                  </a:cubicBezTo>
                  <a:cubicBezTo>
                    <a:pt x="10718" y="16120"/>
                    <a:pt x="10686" y="16198"/>
                    <a:pt x="10660" y="16254"/>
                  </a:cubicBezTo>
                  <a:cubicBezTo>
                    <a:pt x="10629" y="16307"/>
                    <a:pt x="10586" y="16394"/>
                    <a:pt x="10577" y="16450"/>
                  </a:cubicBezTo>
                  <a:cubicBezTo>
                    <a:pt x="10562" y="16504"/>
                    <a:pt x="10573" y="16585"/>
                    <a:pt x="10599" y="16632"/>
                  </a:cubicBezTo>
                  <a:cubicBezTo>
                    <a:pt x="10628" y="16679"/>
                    <a:pt x="10652" y="16754"/>
                    <a:pt x="10643" y="16799"/>
                  </a:cubicBezTo>
                  <a:cubicBezTo>
                    <a:pt x="10643" y="16844"/>
                    <a:pt x="10624" y="16901"/>
                    <a:pt x="10606" y="16924"/>
                  </a:cubicBezTo>
                  <a:cubicBezTo>
                    <a:pt x="10588" y="16948"/>
                    <a:pt x="10569" y="16987"/>
                    <a:pt x="10560" y="17010"/>
                  </a:cubicBezTo>
                  <a:cubicBezTo>
                    <a:pt x="10548" y="17031"/>
                    <a:pt x="10552" y="17082"/>
                    <a:pt x="10561" y="17119"/>
                  </a:cubicBezTo>
                  <a:cubicBezTo>
                    <a:pt x="10574" y="17156"/>
                    <a:pt x="10576" y="17277"/>
                    <a:pt x="10576" y="17389"/>
                  </a:cubicBezTo>
                  <a:cubicBezTo>
                    <a:pt x="10572" y="17500"/>
                    <a:pt x="10548" y="17643"/>
                    <a:pt x="10522" y="17709"/>
                  </a:cubicBezTo>
                  <a:cubicBezTo>
                    <a:pt x="10492" y="17773"/>
                    <a:pt x="10481" y="17846"/>
                    <a:pt x="10491" y="17872"/>
                  </a:cubicBezTo>
                  <a:cubicBezTo>
                    <a:pt x="10508" y="17896"/>
                    <a:pt x="10518" y="17944"/>
                    <a:pt x="10514" y="17975"/>
                  </a:cubicBezTo>
                  <a:cubicBezTo>
                    <a:pt x="10509" y="18006"/>
                    <a:pt x="10532" y="18059"/>
                    <a:pt x="10553" y="18095"/>
                  </a:cubicBezTo>
                  <a:cubicBezTo>
                    <a:pt x="10571" y="18134"/>
                    <a:pt x="10593" y="18187"/>
                    <a:pt x="10588" y="18220"/>
                  </a:cubicBezTo>
                  <a:cubicBezTo>
                    <a:pt x="10588" y="18254"/>
                    <a:pt x="10597" y="18290"/>
                    <a:pt x="10615" y="18302"/>
                  </a:cubicBezTo>
                  <a:cubicBezTo>
                    <a:pt x="10630" y="18318"/>
                    <a:pt x="10662" y="18352"/>
                    <a:pt x="10676" y="18388"/>
                  </a:cubicBezTo>
                  <a:cubicBezTo>
                    <a:pt x="10691" y="18424"/>
                    <a:pt x="10727" y="18446"/>
                    <a:pt x="10747" y="18457"/>
                  </a:cubicBezTo>
                  <a:cubicBezTo>
                    <a:pt x="10770" y="18461"/>
                    <a:pt x="10791" y="18491"/>
                    <a:pt x="10791" y="18529"/>
                  </a:cubicBezTo>
                  <a:cubicBezTo>
                    <a:pt x="10791" y="18566"/>
                    <a:pt x="10776" y="18629"/>
                    <a:pt x="10766" y="18671"/>
                  </a:cubicBezTo>
                  <a:cubicBezTo>
                    <a:pt x="10753" y="18712"/>
                    <a:pt x="10740" y="18773"/>
                    <a:pt x="10734" y="18806"/>
                  </a:cubicBezTo>
                  <a:cubicBezTo>
                    <a:pt x="10734" y="18839"/>
                    <a:pt x="10758" y="18894"/>
                    <a:pt x="10793" y="18927"/>
                  </a:cubicBezTo>
                  <a:cubicBezTo>
                    <a:pt x="10826" y="18963"/>
                    <a:pt x="10855" y="19016"/>
                    <a:pt x="10850" y="19049"/>
                  </a:cubicBezTo>
                  <a:cubicBezTo>
                    <a:pt x="10846" y="19081"/>
                    <a:pt x="10830" y="19125"/>
                    <a:pt x="10814" y="19147"/>
                  </a:cubicBezTo>
                  <a:cubicBezTo>
                    <a:pt x="10798" y="19170"/>
                    <a:pt x="10788" y="19236"/>
                    <a:pt x="10793" y="19297"/>
                  </a:cubicBezTo>
                  <a:cubicBezTo>
                    <a:pt x="10793" y="19358"/>
                    <a:pt x="10830" y="19424"/>
                    <a:pt x="10860" y="19452"/>
                  </a:cubicBezTo>
                  <a:cubicBezTo>
                    <a:pt x="10888" y="19481"/>
                    <a:pt x="10898" y="19536"/>
                    <a:pt x="10879" y="19585"/>
                  </a:cubicBezTo>
                  <a:cubicBezTo>
                    <a:pt x="10857" y="19633"/>
                    <a:pt x="10843" y="19684"/>
                    <a:pt x="10843" y="19700"/>
                  </a:cubicBezTo>
                  <a:cubicBezTo>
                    <a:pt x="10839" y="19714"/>
                    <a:pt x="10830" y="19749"/>
                    <a:pt x="10804" y="19765"/>
                  </a:cubicBezTo>
                  <a:cubicBezTo>
                    <a:pt x="10780" y="19786"/>
                    <a:pt x="10750" y="19851"/>
                    <a:pt x="10750" y="19911"/>
                  </a:cubicBezTo>
                  <a:cubicBezTo>
                    <a:pt x="10741" y="19971"/>
                    <a:pt x="10746" y="20035"/>
                    <a:pt x="10750" y="20057"/>
                  </a:cubicBezTo>
                  <a:cubicBezTo>
                    <a:pt x="10759" y="20077"/>
                    <a:pt x="10792" y="20098"/>
                    <a:pt x="10822" y="20082"/>
                  </a:cubicBezTo>
                  <a:cubicBezTo>
                    <a:pt x="10855" y="20073"/>
                    <a:pt x="10901" y="20050"/>
                    <a:pt x="10919" y="20026"/>
                  </a:cubicBezTo>
                  <a:cubicBezTo>
                    <a:pt x="10937" y="20001"/>
                    <a:pt x="10976" y="19974"/>
                    <a:pt x="11004" y="19964"/>
                  </a:cubicBezTo>
                  <a:cubicBezTo>
                    <a:pt x="11029" y="19953"/>
                    <a:pt x="11064" y="19932"/>
                    <a:pt x="11081" y="19919"/>
                  </a:cubicBezTo>
                  <a:cubicBezTo>
                    <a:pt x="11100" y="19910"/>
                    <a:pt x="11136" y="19895"/>
                    <a:pt x="11164" y="19891"/>
                  </a:cubicBezTo>
                  <a:cubicBezTo>
                    <a:pt x="11192" y="19891"/>
                    <a:pt x="11249" y="19905"/>
                    <a:pt x="11286" y="19933"/>
                  </a:cubicBezTo>
                  <a:cubicBezTo>
                    <a:pt x="11322" y="19963"/>
                    <a:pt x="11380" y="19990"/>
                    <a:pt x="11411" y="19995"/>
                  </a:cubicBezTo>
                  <a:cubicBezTo>
                    <a:pt x="11442" y="20000"/>
                    <a:pt x="11528" y="20007"/>
                    <a:pt x="11603" y="19998"/>
                  </a:cubicBezTo>
                  <a:cubicBezTo>
                    <a:pt x="11678" y="19987"/>
                    <a:pt x="11762" y="19983"/>
                    <a:pt x="11787" y="19992"/>
                  </a:cubicBezTo>
                  <a:cubicBezTo>
                    <a:pt x="11813" y="19992"/>
                    <a:pt x="11862" y="19991"/>
                    <a:pt x="11893" y="19977"/>
                  </a:cubicBezTo>
                  <a:cubicBezTo>
                    <a:pt x="11925" y="19967"/>
                    <a:pt x="11973" y="19945"/>
                    <a:pt x="12002" y="19932"/>
                  </a:cubicBezTo>
                  <a:cubicBezTo>
                    <a:pt x="12032" y="19922"/>
                    <a:pt x="12096" y="19879"/>
                    <a:pt x="12149" y="19850"/>
                  </a:cubicBezTo>
                  <a:cubicBezTo>
                    <a:pt x="12203" y="19821"/>
                    <a:pt x="12283" y="19769"/>
                    <a:pt x="12333" y="19750"/>
                  </a:cubicBezTo>
                  <a:cubicBezTo>
                    <a:pt x="12381" y="19729"/>
                    <a:pt x="12463" y="19692"/>
                    <a:pt x="12517" y="19682"/>
                  </a:cubicBezTo>
                  <a:cubicBezTo>
                    <a:pt x="12570" y="19668"/>
                    <a:pt x="12617" y="19666"/>
                    <a:pt x="12615" y="19671"/>
                  </a:cubicBezTo>
                  <a:cubicBezTo>
                    <a:pt x="12615" y="19678"/>
                    <a:pt x="12630" y="19700"/>
                    <a:pt x="12653" y="19714"/>
                  </a:cubicBezTo>
                  <a:cubicBezTo>
                    <a:pt x="12673" y="19732"/>
                    <a:pt x="12719" y="19738"/>
                    <a:pt x="12752" y="19738"/>
                  </a:cubicBezTo>
                  <a:cubicBezTo>
                    <a:pt x="12785" y="19733"/>
                    <a:pt x="12850" y="19738"/>
                    <a:pt x="12895" y="19748"/>
                  </a:cubicBezTo>
                  <a:cubicBezTo>
                    <a:pt x="12941" y="19757"/>
                    <a:pt x="12984" y="19783"/>
                    <a:pt x="12998" y="19798"/>
                  </a:cubicBezTo>
                  <a:cubicBezTo>
                    <a:pt x="13012" y="19813"/>
                    <a:pt x="13018" y="19875"/>
                    <a:pt x="13014" y="19930"/>
                  </a:cubicBezTo>
                  <a:cubicBezTo>
                    <a:pt x="13009" y="19984"/>
                    <a:pt x="13019" y="20042"/>
                    <a:pt x="13025" y="20061"/>
                  </a:cubicBezTo>
                  <a:cubicBezTo>
                    <a:pt x="13035" y="20077"/>
                    <a:pt x="13055" y="20098"/>
                    <a:pt x="13074" y="20103"/>
                  </a:cubicBezTo>
                  <a:cubicBezTo>
                    <a:pt x="13092" y="20107"/>
                    <a:pt x="13138" y="20088"/>
                    <a:pt x="13168" y="20051"/>
                  </a:cubicBezTo>
                  <a:cubicBezTo>
                    <a:pt x="13201" y="20016"/>
                    <a:pt x="13264" y="19969"/>
                    <a:pt x="13305" y="19947"/>
                  </a:cubicBezTo>
                  <a:cubicBezTo>
                    <a:pt x="13348" y="19927"/>
                    <a:pt x="13417" y="19897"/>
                    <a:pt x="13460" y="19892"/>
                  </a:cubicBezTo>
                  <a:cubicBezTo>
                    <a:pt x="13504" y="19887"/>
                    <a:pt x="13553" y="19858"/>
                    <a:pt x="13578" y="19841"/>
                  </a:cubicBezTo>
                  <a:cubicBezTo>
                    <a:pt x="13598" y="19819"/>
                    <a:pt x="13679" y="19776"/>
                    <a:pt x="13756" y="19742"/>
                  </a:cubicBezTo>
                  <a:cubicBezTo>
                    <a:pt x="13834" y="19713"/>
                    <a:pt x="13911" y="19681"/>
                    <a:pt x="13926" y="19689"/>
                  </a:cubicBezTo>
                  <a:cubicBezTo>
                    <a:pt x="13942" y="19695"/>
                    <a:pt x="13960" y="19744"/>
                    <a:pt x="13951" y="19803"/>
                  </a:cubicBezTo>
                  <a:cubicBezTo>
                    <a:pt x="13943" y="19861"/>
                    <a:pt x="13955" y="19933"/>
                    <a:pt x="13967" y="19959"/>
                  </a:cubicBezTo>
                  <a:cubicBezTo>
                    <a:pt x="13976" y="19987"/>
                    <a:pt x="13991" y="20041"/>
                    <a:pt x="13991" y="20084"/>
                  </a:cubicBezTo>
                  <a:cubicBezTo>
                    <a:pt x="13995" y="20124"/>
                    <a:pt x="13990" y="20177"/>
                    <a:pt x="13982" y="20199"/>
                  </a:cubicBezTo>
                  <a:cubicBezTo>
                    <a:pt x="13974" y="20221"/>
                    <a:pt x="13988" y="20242"/>
                    <a:pt x="14009" y="20237"/>
                  </a:cubicBezTo>
                  <a:cubicBezTo>
                    <a:pt x="14031" y="20237"/>
                    <a:pt x="14092" y="20251"/>
                    <a:pt x="14144" y="20271"/>
                  </a:cubicBezTo>
                  <a:cubicBezTo>
                    <a:pt x="14196" y="20292"/>
                    <a:pt x="14263" y="20312"/>
                    <a:pt x="14290" y="20308"/>
                  </a:cubicBezTo>
                  <a:cubicBezTo>
                    <a:pt x="14317" y="20308"/>
                    <a:pt x="14389" y="20338"/>
                    <a:pt x="14453" y="20370"/>
                  </a:cubicBezTo>
                  <a:cubicBezTo>
                    <a:pt x="14517" y="20399"/>
                    <a:pt x="14610" y="20436"/>
                    <a:pt x="14665" y="20436"/>
                  </a:cubicBezTo>
                  <a:cubicBezTo>
                    <a:pt x="14719" y="20436"/>
                    <a:pt x="14815" y="20451"/>
                    <a:pt x="14880" y="20456"/>
                  </a:cubicBezTo>
                  <a:cubicBezTo>
                    <a:pt x="14945" y="20461"/>
                    <a:pt x="14995" y="20486"/>
                    <a:pt x="15004" y="20500"/>
                  </a:cubicBezTo>
                  <a:cubicBezTo>
                    <a:pt x="15009" y="20517"/>
                    <a:pt x="15046" y="20525"/>
                    <a:pt x="15091" y="20521"/>
                  </a:cubicBezTo>
                  <a:cubicBezTo>
                    <a:pt x="15136" y="20515"/>
                    <a:pt x="15244" y="20474"/>
                    <a:pt x="15334" y="20436"/>
                  </a:cubicBezTo>
                  <a:cubicBezTo>
                    <a:pt x="15422" y="20394"/>
                    <a:pt x="15503" y="20338"/>
                    <a:pt x="15507" y="20308"/>
                  </a:cubicBezTo>
                  <a:cubicBezTo>
                    <a:pt x="15507" y="20277"/>
                    <a:pt x="15541" y="20184"/>
                    <a:pt x="15583" y="20104"/>
                  </a:cubicBezTo>
                  <a:cubicBezTo>
                    <a:pt x="15619" y="20023"/>
                    <a:pt x="15679" y="19952"/>
                    <a:pt x="15715" y="19935"/>
                  </a:cubicBezTo>
                  <a:cubicBezTo>
                    <a:pt x="15752" y="19926"/>
                    <a:pt x="15803" y="19898"/>
                    <a:pt x="15831" y="19883"/>
                  </a:cubicBezTo>
                  <a:cubicBezTo>
                    <a:pt x="15851" y="19857"/>
                    <a:pt x="15899" y="19854"/>
                    <a:pt x="15922" y="19860"/>
                  </a:cubicBezTo>
                  <a:cubicBezTo>
                    <a:pt x="15943" y="19864"/>
                    <a:pt x="15952" y="19938"/>
                    <a:pt x="15944" y="20023"/>
                  </a:cubicBezTo>
                  <a:cubicBezTo>
                    <a:pt x="15934" y="20109"/>
                    <a:pt x="15956" y="20217"/>
                    <a:pt x="15992" y="20265"/>
                  </a:cubicBezTo>
                  <a:cubicBezTo>
                    <a:pt x="16028" y="20314"/>
                    <a:pt x="16057" y="20379"/>
                    <a:pt x="16062" y="20410"/>
                  </a:cubicBezTo>
                  <a:cubicBezTo>
                    <a:pt x="16067" y="20441"/>
                    <a:pt x="16118" y="20495"/>
                    <a:pt x="16183" y="20525"/>
                  </a:cubicBezTo>
                  <a:cubicBezTo>
                    <a:pt x="16245" y="20558"/>
                    <a:pt x="16379" y="20600"/>
                    <a:pt x="16478" y="20624"/>
                  </a:cubicBezTo>
                  <a:cubicBezTo>
                    <a:pt x="16575" y="20649"/>
                    <a:pt x="16703" y="20693"/>
                    <a:pt x="16759" y="20727"/>
                  </a:cubicBezTo>
                  <a:cubicBezTo>
                    <a:pt x="16814" y="20766"/>
                    <a:pt x="16905" y="20848"/>
                    <a:pt x="16950" y="20926"/>
                  </a:cubicBezTo>
                  <a:cubicBezTo>
                    <a:pt x="17000" y="20999"/>
                    <a:pt x="17073" y="21095"/>
                    <a:pt x="17117" y="21133"/>
                  </a:cubicBezTo>
                  <a:cubicBezTo>
                    <a:pt x="17163" y="21172"/>
                    <a:pt x="17234" y="21256"/>
                    <a:pt x="17281" y="21315"/>
                  </a:cubicBezTo>
                  <a:cubicBezTo>
                    <a:pt x="17325" y="21377"/>
                    <a:pt x="17405" y="21465"/>
                    <a:pt x="17458" y="21513"/>
                  </a:cubicBezTo>
                  <a:cubicBezTo>
                    <a:pt x="17512" y="21559"/>
                    <a:pt x="17580" y="21596"/>
                    <a:pt x="17614" y="21591"/>
                  </a:cubicBezTo>
                  <a:cubicBezTo>
                    <a:pt x="17648" y="21587"/>
                    <a:pt x="17714" y="21568"/>
                    <a:pt x="17761" y="21548"/>
                  </a:cubicBezTo>
                  <a:cubicBezTo>
                    <a:pt x="17805" y="21522"/>
                    <a:pt x="17881" y="21492"/>
                    <a:pt x="17925" y="21473"/>
                  </a:cubicBezTo>
                  <a:cubicBezTo>
                    <a:pt x="17970" y="21454"/>
                    <a:pt x="18020" y="21429"/>
                    <a:pt x="18039" y="21433"/>
                  </a:cubicBezTo>
                  <a:cubicBezTo>
                    <a:pt x="18058" y="21438"/>
                    <a:pt x="18067" y="21454"/>
                    <a:pt x="18078" y="21465"/>
                  </a:cubicBezTo>
                  <a:cubicBezTo>
                    <a:pt x="18082" y="21481"/>
                    <a:pt x="18117" y="21504"/>
                    <a:pt x="18161" y="21499"/>
                  </a:cubicBezTo>
                  <a:cubicBezTo>
                    <a:pt x="18205" y="21504"/>
                    <a:pt x="18253" y="21478"/>
                    <a:pt x="18272" y="21452"/>
                  </a:cubicBezTo>
                  <a:cubicBezTo>
                    <a:pt x="18291" y="21427"/>
                    <a:pt x="18322" y="21151"/>
                    <a:pt x="18348" y="20844"/>
                  </a:cubicBezTo>
                  <a:cubicBezTo>
                    <a:pt x="18371" y="20535"/>
                    <a:pt x="18365" y="20274"/>
                    <a:pt x="18332" y="20264"/>
                  </a:cubicBezTo>
                  <a:cubicBezTo>
                    <a:pt x="18297" y="20255"/>
                    <a:pt x="18221" y="20260"/>
                    <a:pt x="18160" y="20280"/>
                  </a:cubicBezTo>
                  <a:cubicBezTo>
                    <a:pt x="18098" y="20296"/>
                    <a:pt x="18047" y="20343"/>
                    <a:pt x="18053" y="20375"/>
                  </a:cubicBezTo>
                  <a:cubicBezTo>
                    <a:pt x="18057" y="20407"/>
                    <a:pt x="18067" y="20456"/>
                    <a:pt x="18079" y="20481"/>
                  </a:cubicBezTo>
                  <a:cubicBezTo>
                    <a:pt x="18087" y="20508"/>
                    <a:pt x="18091" y="20538"/>
                    <a:pt x="18075" y="20546"/>
                  </a:cubicBezTo>
                  <a:cubicBezTo>
                    <a:pt x="18060" y="20557"/>
                    <a:pt x="17956" y="20575"/>
                    <a:pt x="17844" y="20590"/>
                  </a:cubicBezTo>
                  <a:cubicBezTo>
                    <a:pt x="17731" y="20605"/>
                    <a:pt x="17622" y="20587"/>
                    <a:pt x="17599" y="20555"/>
                  </a:cubicBezTo>
                  <a:cubicBezTo>
                    <a:pt x="17578" y="20523"/>
                    <a:pt x="17551" y="20460"/>
                    <a:pt x="17541" y="20415"/>
                  </a:cubicBezTo>
                  <a:cubicBezTo>
                    <a:pt x="17532" y="20370"/>
                    <a:pt x="17470" y="20274"/>
                    <a:pt x="17408" y="20197"/>
                  </a:cubicBezTo>
                  <a:cubicBezTo>
                    <a:pt x="17345" y="20120"/>
                    <a:pt x="17261" y="20044"/>
                    <a:pt x="17233" y="20014"/>
                  </a:cubicBezTo>
                  <a:cubicBezTo>
                    <a:pt x="17199" y="19991"/>
                    <a:pt x="17178" y="19906"/>
                    <a:pt x="17183" y="19829"/>
                  </a:cubicBezTo>
                  <a:cubicBezTo>
                    <a:pt x="17183" y="19753"/>
                    <a:pt x="17209" y="19555"/>
                    <a:pt x="17219" y="19390"/>
                  </a:cubicBezTo>
                  <a:cubicBezTo>
                    <a:pt x="17233" y="19225"/>
                    <a:pt x="17256" y="19056"/>
                    <a:pt x="17265" y="19013"/>
                  </a:cubicBezTo>
                  <a:cubicBezTo>
                    <a:pt x="17280" y="18972"/>
                    <a:pt x="17338" y="18891"/>
                    <a:pt x="17394" y="18826"/>
                  </a:cubicBezTo>
                  <a:cubicBezTo>
                    <a:pt x="17455" y="18766"/>
                    <a:pt x="17524" y="18691"/>
                    <a:pt x="17542" y="18656"/>
                  </a:cubicBezTo>
                  <a:cubicBezTo>
                    <a:pt x="17563" y="18623"/>
                    <a:pt x="17580" y="18578"/>
                    <a:pt x="17567" y="18564"/>
                  </a:cubicBezTo>
                  <a:cubicBezTo>
                    <a:pt x="17563" y="18544"/>
                    <a:pt x="17574" y="18519"/>
                    <a:pt x="17596" y="18501"/>
                  </a:cubicBezTo>
                  <a:cubicBezTo>
                    <a:pt x="17617" y="18483"/>
                    <a:pt x="17648" y="18419"/>
                    <a:pt x="17666" y="18357"/>
                  </a:cubicBezTo>
                  <a:cubicBezTo>
                    <a:pt x="17679" y="18292"/>
                    <a:pt x="17692" y="18203"/>
                    <a:pt x="17692" y="18158"/>
                  </a:cubicBezTo>
                  <a:cubicBezTo>
                    <a:pt x="17687" y="18112"/>
                    <a:pt x="17699" y="18041"/>
                    <a:pt x="17708" y="18000"/>
                  </a:cubicBezTo>
                  <a:cubicBezTo>
                    <a:pt x="17721" y="17960"/>
                    <a:pt x="17725" y="17891"/>
                    <a:pt x="17725" y="17852"/>
                  </a:cubicBezTo>
                  <a:cubicBezTo>
                    <a:pt x="17720" y="17811"/>
                    <a:pt x="17736" y="17755"/>
                    <a:pt x="17760" y="17737"/>
                  </a:cubicBezTo>
                  <a:cubicBezTo>
                    <a:pt x="17775" y="17711"/>
                    <a:pt x="17809" y="17669"/>
                    <a:pt x="17809" y="17632"/>
                  </a:cubicBezTo>
                  <a:cubicBezTo>
                    <a:pt x="17814" y="17597"/>
                    <a:pt x="17802" y="17555"/>
                    <a:pt x="17776" y="17545"/>
                  </a:cubicBezTo>
                  <a:cubicBezTo>
                    <a:pt x="17751" y="17532"/>
                    <a:pt x="17706" y="17500"/>
                    <a:pt x="17679" y="17471"/>
                  </a:cubicBezTo>
                  <a:cubicBezTo>
                    <a:pt x="17652" y="17441"/>
                    <a:pt x="17620" y="17366"/>
                    <a:pt x="17614" y="17301"/>
                  </a:cubicBezTo>
                  <a:cubicBezTo>
                    <a:pt x="17610" y="17236"/>
                    <a:pt x="17712" y="16975"/>
                    <a:pt x="17854" y="16724"/>
                  </a:cubicBezTo>
                  <a:cubicBezTo>
                    <a:pt x="17994" y="16473"/>
                    <a:pt x="18487" y="16117"/>
                    <a:pt x="18952" y="15941"/>
                  </a:cubicBezTo>
                  <a:cubicBezTo>
                    <a:pt x="19415" y="15766"/>
                    <a:pt x="19821" y="15630"/>
                    <a:pt x="19857" y="15646"/>
                  </a:cubicBezTo>
                  <a:cubicBezTo>
                    <a:pt x="19891" y="15667"/>
                    <a:pt x="19888" y="15485"/>
                    <a:pt x="19851" y="15252"/>
                  </a:cubicBezTo>
                  <a:cubicBezTo>
                    <a:pt x="19813" y="15018"/>
                    <a:pt x="19644" y="14601"/>
                    <a:pt x="19479" y="14326"/>
                  </a:cubicBezTo>
                  <a:cubicBezTo>
                    <a:pt x="19314" y="14049"/>
                    <a:pt x="19152" y="13526"/>
                    <a:pt x="19126" y="13165"/>
                  </a:cubicBezTo>
                  <a:cubicBezTo>
                    <a:pt x="19098" y="12803"/>
                    <a:pt x="19059" y="12292"/>
                    <a:pt x="19050" y="12029"/>
                  </a:cubicBezTo>
                  <a:cubicBezTo>
                    <a:pt x="19048" y="12004"/>
                    <a:pt x="19049" y="11978"/>
                    <a:pt x="19050" y="11954"/>
                  </a:cubicBezTo>
                  <a:cubicBezTo>
                    <a:pt x="19039" y="11753"/>
                    <a:pt x="19029" y="11552"/>
                    <a:pt x="19021" y="11366"/>
                  </a:cubicBezTo>
                  <a:cubicBezTo>
                    <a:pt x="19014" y="11215"/>
                    <a:pt x="19008" y="11066"/>
                    <a:pt x="19002" y="10926"/>
                  </a:cubicBezTo>
                  <a:cubicBezTo>
                    <a:pt x="19001" y="10912"/>
                    <a:pt x="19000" y="10900"/>
                    <a:pt x="18999" y="10886"/>
                  </a:cubicBezTo>
                  <a:cubicBezTo>
                    <a:pt x="18980" y="10519"/>
                    <a:pt x="18971" y="10148"/>
                    <a:pt x="18980" y="10066"/>
                  </a:cubicBezTo>
                  <a:cubicBezTo>
                    <a:pt x="18985" y="9983"/>
                    <a:pt x="18994" y="9857"/>
                    <a:pt x="18994" y="9786"/>
                  </a:cubicBezTo>
                  <a:cubicBezTo>
                    <a:pt x="18994" y="9716"/>
                    <a:pt x="18969" y="9606"/>
                    <a:pt x="18937" y="9543"/>
                  </a:cubicBezTo>
                  <a:cubicBezTo>
                    <a:pt x="18906" y="9480"/>
                    <a:pt x="18885" y="9397"/>
                    <a:pt x="18894" y="9362"/>
                  </a:cubicBezTo>
                  <a:cubicBezTo>
                    <a:pt x="18898" y="9354"/>
                    <a:pt x="18902" y="9347"/>
                    <a:pt x="18906" y="9339"/>
                  </a:cubicBezTo>
                  <a:cubicBezTo>
                    <a:pt x="18907" y="9315"/>
                    <a:pt x="18909" y="9292"/>
                    <a:pt x="18912" y="9271"/>
                  </a:cubicBezTo>
                  <a:cubicBezTo>
                    <a:pt x="18914" y="9260"/>
                    <a:pt x="18918" y="9245"/>
                    <a:pt x="18922" y="9230"/>
                  </a:cubicBezTo>
                  <a:cubicBezTo>
                    <a:pt x="18922" y="9221"/>
                    <a:pt x="18923" y="9213"/>
                    <a:pt x="18925" y="9204"/>
                  </a:cubicBezTo>
                  <a:cubicBezTo>
                    <a:pt x="18938" y="9154"/>
                    <a:pt x="18992" y="8950"/>
                    <a:pt x="19052" y="8750"/>
                  </a:cubicBezTo>
                  <a:cubicBezTo>
                    <a:pt x="19112" y="8551"/>
                    <a:pt x="19209" y="8326"/>
                    <a:pt x="19265" y="8246"/>
                  </a:cubicBezTo>
                  <a:cubicBezTo>
                    <a:pt x="19321" y="8167"/>
                    <a:pt x="19436" y="8032"/>
                    <a:pt x="19519" y="7948"/>
                  </a:cubicBezTo>
                  <a:cubicBezTo>
                    <a:pt x="19600" y="7861"/>
                    <a:pt x="19663" y="7730"/>
                    <a:pt x="19663" y="7656"/>
                  </a:cubicBezTo>
                  <a:cubicBezTo>
                    <a:pt x="19663" y="7582"/>
                    <a:pt x="19696" y="7423"/>
                    <a:pt x="19742" y="7303"/>
                  </a:cubicBezTo>
                  <a:cubicBezTo>
                    <a:pt x="19788" y="7182"/>
                    <a:pt x="19845" y="6986"/>
                    <a:pt x="19858" y="6864"/>
                  </a:cubicBezTo>
                  <a:cubicBezTo>
                    <a:pt x="19877" y="6745"/>
                    <a:pt x="19905" y="6577"/>
                    <a:pt x="19905" y="6492"/>
                  </a:cubicBezTo>
                  <a:cubicBezTo>
                    <a:pt x="19914" y="6408"/>
                    <a:pt x="19941" y="6305"/>
                    <a:pt x="19963" y="6262"/>
                  </a:cubicBezTo>
                  <a:cubicBezTo>
                    <a:pt x="19989" y="6221"/>
                    <a:pt x="20112" y="5992"/>
                    <a:pt x="20236" y="5751"/>
                  </a:cubicBezTo>
                  <a:cubicBezTo>
                    <a:pt x="20363" y="5513"/>
                    <a:pt x="20488" y="5274"/>
                    <a:pt x="20517" y="5223"/>
                  </a:cubicBezTo>
                  <a:cubicBezTo>
                    <a:pt x="20538" y="5168"/>
                    <a:pt x="20652" y="5031"/>
                    <a:pt x="20744" y="4903"/>
                  </a:cubicBezTo>
                  <a:cubicBezTo>
                    <a:pt x="20841" y="4780"/>
                    <a:pt x="21049" y="4482"/>
                    <a:pt x="21211" y="4246"/>
                  </a:cubicBezTo>
                  <a:cubicBezTo>
                    <a:pt x="21371" y="4010"/>
                    <a:pt x="21504" y="3783"/>
                    <a:pt x="21514" y="3746"/>
                  </a:cubicBezTo>
                  <a:cubicBezTo>
                    <a:pt x="21522" y="3710"/>
                    <a:pt x="21516" y="3635"/>
                    <a:pt x="21497" y="3583"/>
                  </a:cubicBezTo>
                  <a:cubicBezTo>
                    <a:pt x="21479" y="3530"/>
                    <a:pt x="21445" y="3455"/>
                    <a:pt x="21421" y="3414"/>
                  </a:cubicBezTo>
                  <a:cubicBezTo>
                    <a:pt x="21394" y="3375"/>
                    <a:pt x="21350" y="3325"/>
                    <a:pt x="21324" y="3298"/>
                  </a:cubicBezTo>
                  <a:cubicBezTo>
                    <a:pt x="21294" y="3274"/>
                    <a:pt x="21280" y="3185"/>
                    <a:pt x="21293" y="3102"/>
                  </a:cubicBezTo>
                  <a:cubicBezTo>
                    <a:pt x="21306" y="3018"/>
                    <a:pt x="21331" y="2854"/>
                    <a:pt x="21359" y="2740"/>
                  </a:cubicBezTo>
                  <a:cubicBezTo>
                    <a:pt x="21382" y="2624"/>
                    <a:pt x="21404" y="2455"/>
                    <a:pt x="21413" y="2363"/>
                  </a:cubicBezTo>
                  <a:cubicBezTo>
                    <a:pt x="21417" y="2270"/>
                    <a:pt x="21448" y="2155"/>
                    <a:pt x="21482" y="2109"/>
                  </a:cubicBezTo>
                  <a:cubicBezTo>
                    <a:pt x="21512" y="2062"/>
                    <a:pt x="21552" y="1973"/>
                    <a:pt x="21571" y="1911"/>
                  </a:cubicBezTo>
                  <a:cubicBezTo>
                    <a:pt x="21589" y="1849"/>
                    <a:pt x="21587" y="1788"/>
                    <a:pt x="21568" y="1773"/>
                  </a:cubicBezTo>
                  <a:cubicBezTo>
                    <a:pt x="21548" y="1761"/>
                    <a:pt x="21476" y="1758"/>
                    <a:pt x="21407" y="1763"/>
                  </a:cubicBezTo>
                  <a:cubicBezTo>
                    <a:pt x="21337" y="1768"/>
                    <a:pt x="21272" y="1773"/>
                    <a:pt x="21261" y="1777"/>
                  </a:cubicBezTo>
                  <a:cubicBezTo>
                    <a:pt x="21249" y="1777"/>
                    <a:pt x="21239" y="1746"/>
                    <a:pt x="21234" y="1709"/>
                  </a:cubicBezTo>
                  <a:cubicBezTo>
                    <a:pt x="21225" y="1675"/>
                    <a:pt x="21218" y="1605"/>
                    <a:pt x="21206" y="1558"/>
                  </a:cubicBezTo>
                  <a:cubicBezTo>
                    <a:pt x="21197" y="1510"/>
                    <a:pt x="21168" y="1454"/>
                    <a:pt x="21156" y="1427"/>
                  </a:cubicBezTo>
                  <a:cubicBezTo>
                    <a:pt x="21141" y="1401"/>
                    <a:pt x="21114" y="1337"/>
                    <a:pt x="21096" y="1284"/>
                  </a:cubicBezTo>
                  <a:cubicBezTo>
                    <a:pt x="21076" y="1230"/>
                    <a:pt x="21039" y="1162"/>
                    <a:pt x="21014" y="1131"/>
                  </a:cubicBezTo>
                  <a:cubicBezTo>
                    <a:pt x="20986" y="1101"/>
                    <a:pt x="20904" y="1060"/>
                    <a:pt x="20832" y="1035"/>
                  </a:cubicBezTo>
                  <a:cubicBezTo>
                    <a:pt x="20759" y="1015"/>
                    <a:pt x="20689" y="970"/>
                    <a:pt x="20677" y="942"/>
                  </a:cubicBezTo>
                  <a:cubicBezTo>
                    <a:pt x="20666" y="913"/>
                    <a:pt x="20631" y="856"/>
                    <a:pt x="20599" y="817"/>
                  </a:cubicBezTo>
                  <a:cubicBezTo>
                    <a:pt x="20576" y="771"/>
                    <a:pt x="20525" y="673"/>
                    <a:pt x="20494" y="592"/>
                  </a:cubicBezTo>
                  <a:cubicBezTo>
                    <a:pt x="20464" y="510"/>
                    <a:pt x="20421" y="431"/>
                    <a:pt x="20400" y="415"/>
                  </a:cubicBezTo>
                  <a:cubicBezTo>
                    <a:pt x="20379" y="401"/>
                    <a:pt x="20310" y="386"/>
                    <a:pt x="20247" y="390"/>
                  </a:cubicBezTo>
                  <a:cubicBezTo>
                    <a:pt x="20184" y="395"/>
                    <a:pt x="20103" y="428"/>
                    <a:pt x="20071" y="476"/>
                  </a:cubicBezTo>
                  <a:cubicBezTo>
                    <a:pt x="20038" y="522"/>
                    <a:pt x="19985" y="588"/>
                    <a:pt x="19962" y="629"/>
                  </a:cubicBezTo>
                  <a:cubicBezTo>
                    <a:pt x="19933" y="665"/>
                    <a:pt x="19862" y="717"/>
                    <a:pt x="19803" y="742"/>
                  </a:cubicBezTo>
                  <a:cubicBezTo>
                    <a:pt x="19742" y="767"/>
                    <a:pt x="19673" y="786"/>
                    <a:pt x="19649" y="786"/>
                  </a:cubicBezTo>
                  <a:cubicBezTo>
                    <a:pt x="19626" y="791"/>
                    <a:pt x="19603" y="772"/>
                    <a:pt x="19593" y="756"/>
                  </a:cubicBezTo>
                  <a:cubicBezTo>
                    <a:pt x="19585" y="739"/>
                    <a:pt x="19550" y="719"/>
                    <a:pt x="19514" y="724"/>
                  </a:cubicBezTo>
                  <a:cubicBezTo>
                    <a:pt x="19476" y="724"/>
                    <a:pt x="19391" y="729"/>
                    <a:pt x="19322" y="734"/>
                  </a:cubicBezTo>
                  <a:cubicBezTo>
                    <a:pt x="19254" y="739"/>
                    <a:pt x="19171" y="769"/>
                    <a:pt x="19132" y="788"/>
                  </a:cubicBezTo>
                  <a:cubicBezTo>
                    <a:pt x="19095" y="813"/>
                    <a:pt x="19045" y="868"/>
                    <a:pt x="19022" y="914"/>
                  </a:cubicBezTo>
                  <a:cubicBezTo>
                    <a:pt x="19000" y="960"/>
                    <a:pt x="18949" y="1002"/>
                    <a:pt x="18918" y="1018"/>
                  </a:cubicBezTo>
                  <a:cubicBezTo>
                    <a:pt x="18885" y="1029"/>
                    <a:pt x="18813" y="1022"/>
                    <a:pt x="18757" y="1003"/>
                  </a:cubicBezTo>
                  <a:cubicBezTo>
                    <a:pt x="18702" y="981"/>
                    <a:pt x="18611" y="922"/>
                    <a:pt x="18557" y="868"/>
                  </a:cubicBezTo>
                  <a:cubicBezTo>
                    <a:pt x="18502" y="814"/>
                    <a:pt x="18427" y="743"/>
                    <a:pt x="18401" y="701"/>
                  </a:cubicBezTo>
                  <a:cubicBezTo>
                    <a:pt x="18372" y="661"/>
                    <a:pt x="18319" y="620"/>
                    <a:pt x="18287" y="615"/>
                  </a:cubicBezTo>
                  <a:cubicBezTo>
                    <a:pt x="18254" y="609"/>
                    <a:pt x="18206" y="566"/>
                    <a:pt x="18177" y="525"/>
                  </a:cubicBezTo>
                  <a:cubicBezTo>
                    <a:pt x="18150" y="482"/>
                    <a:pt x="18118" y="408"/>
                    <a:pt x="18113" y="355"/>
                  </a:cubicBezTo>
                  <a:cubicBezTo>
                    <a:pt x="18108" y="301"/>
                    <a:pt x="18084" y="253"/>
                    <a:pt x="18065" y="245"/>
                  </a:cubicBezTo>
                  <a:cubicBezTo>
                    <a:pt x="18063" y="244"/>
                    <a:pt x="18058" y="241"/>
                    <a:pt x="18054" y="239"/>
                  </a:cubicBezTo>
                  <a:cubicBezTo>
                    <a:pt x="18052" y="239"/>
                    <a:pt x="18050" y="241"/>
                    <a:pt x="18049" y="239"/>
                  </a:cubicBezTo>
                  <a:cubicBezTo>
                    <a:pt x="18046" y="236"/>
                    <a:pt x="18035" y="229"/>
                    <a:pt x="18022" y="221"/>
                  </a:cubicBezTo>
                  <a:cubicBezTo>
                    <a:pt x="17997" y="206"/>
                    <a:pt x="17967" y="188"/>
                    <a:pt x="17937" y="172"/>
                  </a:cubicBezTo>
                  <a:cubicBezTo>
                    <a:pt x="17886" y="138"/>
                    <a:pt x="17790" y="111"/>
                    <a:pt x="17723" y="107"/>
                  </a:cubicBezTo>
                  <a:cubicBezTo>
                    <a:pt x="17658" y="102"/>
                    <a:pt x="17530" y="149"/>
                    <a:pt x="17435" y="200"/>
                  </a:cubicBezTo>
                  <a:cubicBezTo>
                    <a:pt x="17339" y="249"/>
                    <a:pt x="17254" y="285"/>
                    <a:pt x="17236" y="280"/>
                  </a:cubicBezTo>
                  <a:cubicBezTo>
                    <a:pt x="17223" y="267"/>
                    <a:pt x="17116" y="264"/>
                    <a:pt x="17007" y="273"/>
                  </a:cubicBezTo>
                  <a:cubicBezTo>
                    <a:pt x="16897" y="279"/>
                    <a:pt x="16771" y="266"/>
                    <a:pt x="16735" y="233"/>
                  </a:cubicBezTo>
                  <a:cubicBezTo>
                    <a:pt x="16698" y="198"/>
                    <a:pt x="16628" y="173"/>
                    <a:pt x="16584" y="169"/>
                  </a:cubicBezTo>
                  <a:cubicBezTo>
                    <a:pt x="16542" y="160"/>
                    <a:pt x="16484" y="145"/>
                    <a:pt x="16456" y="128"/>
                  </a:cubicBezTo>
                  <a:cubicBezTo>
                    <a:pt x="16428" y="113"/>
                    <a:pt x="16378" y="104"/>
                    <a:pt x="16344" y="109"/>
                  </a:cubicBezTo>
                  <a:cubicBezTo>
                    <a:pt x="16310" y="119"/>
                    <a:pt x="16231" y="112"/>
                    <a:pt x="16168" y="107"/>
                  </a:cubicBezTo>
                  <a:cubicBezTo>
                    <a:pt x="16105" y="102"/>
                    <a:pt x="16034" y="70"/>
                    <a:pt x="16007" y="41"/>
                  </a:cubicBezTo>
                  <a:cubicBezTo>
                    <a:pt x="15978" y="15"/>
                    <a:pt x="15923" y="-4"/>
                    <a:pt x="15877" y="1"/>
                  </a:cubicBezTo>
                  <a:cubicBezTo>
                    <a:pt x="15833" y="10"/>
                    <a:pt x="15788" y="33"/>
                    <a:pt x="15788" y="60"/>
                  </a:cubicBezTo>
                  <a:cubicBezTo>
                    <a:pt x="15783" y="86"/>
                    <a:pt x="15786" y="128"/>
                    <a:pt x="15800" y="149"/>
                  </a:cubicBezTo>
                  <a:cubicBezTo>
                    <a:pt x="15815" y="169"/>
                    <a:pt x="15785" y="244"/>
                    <a:pt x="15745" y="313"/>
                  </a:cubicBezTo>
                  <a:cubicBezTo>
                    <a:pt x="15699" y="378"/>
                    <a:pt x="15640" y="438"/>
                    <a:pt x="15606" y="443"/>
                  </a:cubicBezTo>
                  <a:cubicBezTo>
                    <a:pt x="15572" y="443"/>
                    <a:pt x="15511" y="462"/>
                    <a:pt x="15469" y="472"/>
                  </a:cubicBezTo>
                  <a:cubicBezTo>
                    <a:pt x="15430" y="488"/>
                    <a:pt x="15336" y="505"/>
                    <a:pt x="15264" y="510"/>
                  </a:cubicBezTo>
                  <a:cubicBezTo>
                    <a:pt x="15191" y="515"/>
                    <a:pt x="15104" y="554"/>
                    <a:pt x="15063" y="583"/>
                  </a:cubicBezTo>
                  <a:cubicBezTo>
                    <a:pt x="15024" y="612"/>
                    <a:pt x="14973" y="642"/>
                    <a:pt x="14947" y="642"/>
                  </a:cubicBezTo>
                  <a:cubicBezTo>
                    <a:pt x="14922" y="647"/>
                    <a:pt x="14895" y="609"/>
                    <a:pt x="14880" y="572"/>
                  </a:cubicBezTo>
                  <a:cubicBezTo>
                    <a:pt x="14866" y="536"/>
                    <a:pt x="14842" y="504"/>
                    <a:pt x="14822" y="495"/>
                  </a:cubicBezTo>
                  <a:cubicBezTo>
                    <a:pt x="14801" y="491"/>
                    <a:pt x="14774" y="470"/>
                    <a:pt x="14774" y="445"/>
                  </a:cubicBezTo>
                  <a:cubicBezTo>
                    <a:pt x="14765" y="422"/>
                    <a:pt x="14732" y="399"/>
                    <a:pt x="14692" y="399"/>
                  </a:cubicBezTo>
                  <a:cubicBezTo>
                    <a:pt x="14653" y="404"/>
                    <a:pt x="14515" y="452"/>
                    <a:pt x="14388" y="523"/>
                  </a:cubicBezTo>
                  <a:cubicBezTo>
                    <a:pt x="14261" y="594"/>
                    <a:pt x="14119" y="673"/>
                    <a:pt x="14070" y="693"/>
                  </a:cubicBezTo>
                  <a:cubicBezTo>
                    <a:pt x="14022" y="716"/>
                    <a:pt x="13963" y="763"/>
                    <a:pt x="13938" y="798"/>
                  </a:cubicBezTo>
                  <a:cubicBezTo>
                    <a:pt x="13916" y="832"/>
                    <a:pt x="13789" y="881"/>
                    <a:pt x="13658" y="905"/>
                  </a:cubicBezTo>
                  <a:cubicBezTo>
                    <a:pt x="13527" y="929"/>
                    <a:pt x="13388" y="967"/>
                    <a:pt x="13348" y="989"/>
                  </a:cubicBezTo>
                  <a:cubicBezTo>
                    <a:pt x="13308" y="1010"/>
                    <a:pt x="13244" y="998"/>
                    <a:pt x="13217" y="954"/>
                  </a:cubicBezTo>
                  <a:cubicBezTo>
                    <a:pt x="13190" y="911"/>
                    <a:pt x="13113" y="878"/>
                    <a:pt x="13058" y="862"/>
                  </a:cubicBezTo>
                  <a:cubicBezTo>
                    <a:pt x="13002" y="848"/>
                    <a:pt x="12905" y="849"/>
                    <a:pt x="12844" y="849"/>
                  </a:cubicBezTo>
                  <a:cubicBezTo>
                    <a:pt x="12783" y="853"/>
                    <a:pt x="12693" y="904"/>
                    <a:pt x="12649" y="971"/>
                  </a:cubicBezTo>
                  <a:cubicBezTo>
                    <a:pt x="12603" y="1035"/>
                    <a:pt x="12524" y="1136"/>
                    <a:pt x="12474" y="1195"/>
                  </a:cubicBezTo>
                  <a:cubicBezTo>
                    <a:pt x="12421" y="1252"/>
                    <a:pt x="12382" y="1333"/>
                    <a:pt x="12387" y="1370"/>
                  </a:cubicBezTo>
                  <a:cubicBezTo>
                    <a:pt x="12397" y="1407"/>
                    <a:pt x="12416" y="1466"/>
                    <a:pt x="12449" y="1490"/>
                  </a:cubicBezTo>
                  <a:cubicBezTo>
                    <a:pt x="12481" y="1515"/>
                    <a:pt x="12492" y="1563"/>
                    <a:pt x="12481" y="1592"/>
                  </a:cubicBezTo>
                  <a:cubicBezTo>
                    <a:pt x="12472" y="1621"/>
                    <a:pt x="12399" y="1657"/>
                    <a:pt x="12327" y="1681"/>
                  </a:cubicBezTo>
                  <a:cubicBezTo>
                    <a:pt x="12256" y="1705"/>
                    <a:pt x="12173" y="1708"/>
                    <a:pt x="12145" y="1691"/>
                  </a:cubicBezTo>
                  <a:cubicBezTo>
                    <a:pt x="12116" y="1678"/>
                    <a:pt x="12037" y="1653"/>
                    <a:pt x="11965" y="1639"/>
                  </a:cubicBezTo>
                  <a:cubicBezTo>
                    <a:pt x="11894" y="1623"/>
                    <a:pt x="11791" y="1600"/>
                    <a:pt x="11737" y="1581"/>
                  </a:cubicBezTo>
                  <a:cubicBezTo>
                    <a:pt x="11683" y="1558"/>
                    <a:pt x="11606" y="1540"/>
                    <a:pt x="11567" y="1545"/>
                  </a:cubicBezTo>
                  <a:cubicBezTo>
                    <a:pt x="11526" y="1545"/>
                    <a:pt x="11462" y="1568"/>
                    <a:pt x="11422" y="1587"/>
                  </a:cubicBezTo>
                  <a:cubicBezTo>
                    <a:pt x="11381" y="1607"/>
                    <a:pt x="11316" y="1622"/>
                    <a:pt x="11274" y="1617"/>
                  </a:cubicBezTo>
                  <a:cubicBezTo>
                    <a:pt x="11233" y="1606"/>
                    <a:pt x="11136" y="1610"/>
                    <a:pt x="11062" y="1605"/>
                  </a:cubicBezTo>
                  <a:cubicBezTo>
                    <a:pt x="10987" y="1599"/>
                    <a:pt x="10876" y="1573"/>
                    <a:pt x="10816" y="1538"/>
                  </a:cubicBezTo>
                  <a:cubicBezTo>
                    <a:pt x="10752" y="1508"/>
                    <a:pt x="10650" y="1480"/>
                    <a:pt x="10580" y="1489"/>
                  </a:cubicBezTo>
                  <a:cubicBezTo>
                    <a:pt x="10511" y="1494"/>
                    <a:pt x="10442" y="1488"/>
                    <a:pt x="10424" y="1470"/>
                  </a:cubicBezTo>
                  <a:cubicBezTo>
                    <a:pt x="10407" y="1452"/>
                    <a:pt x="10328" y="1378"/>
                    <a:pt x="10250" y="1304"/>
                  </a:cubicBezTo>
                  <a:cubicBezTo>
                    <a:pt x="10175" y="1228"/>
                    <a:pt x="10070" y="1157"/>
                    <a:pt x="10024" y="1141"/>
                  </a:cubicBezTo>
                  <a:cubicBezTo>
                    <a:pt x="9977" y="1128"/>
                    <a:pt x="9874" y="1040"/>
                    <a:pt x="9785" y="965"/>
                  </a:cubicBezTo>
                  <a:cubicBezTo>
                    <a:pt x="9698" y="886"/>
                    <a:pt x="9598" y="825"/>
                    <a:pt x="9564" y="814"/>
                  </a:cubicBezTo>
                  <a:cubicBezTo>
                    <a:pt x="9529" y="809"/>
                    <a:pt x="9465" y="773"/>
                    <a:pt x="9417" y="741"/>
                  </a:cubicBezTo>
                  <a:cubicBezTo>
                    <a:pt x="9371" y="705"/>
                    <a:pt x="9310" y="670"/>
                    <a:pt x="9278" y="675"/>
                  </a:cubicBezTo>
                  <a:cubicBezTo>
                    <a:pt x="9246" y="675"/>
                    <a:pt x="9210" y="704"/>
                    <a:pt x="9202" y="738"/>
                  </a:cubicBezTo>
                  <a:cubicBezTo>
                    <a:pt x="9193" y="771"/>
                    <a:pt x="9139" y="794"/>
                    <a:pt x="9085" y="790"/>
                  </a:cubicBezTo>
                  <a:cubicBezTo>
                    <a:pt x="9032" y="780"/>
                    <a:pt x="8948" y="822"/>
                    <a:pt x="8902" y="876"/>
                  </a:cubicBezTo>
                  <a:cubicBezTo>
                    <a:pt x="8856" y="930"/>
                    <a:pt x="8786" y="975"/>
                    <a:pt x="8747" y="975"/>
                  </a:cubicBezTo>
                  <a:cubicBezTo>
                    <a:pt x="8709" y="975"/>
                    <a:pt x="8660" y="1000"/>
                    <a:pt x="8635" y="1021"/>
                  </a:cubicBezTo>
                  <a:cubicBezTo>
                    <a:pt x="8610" y="1043"/>
                    <a:pt x="8585" y="1104"/>
                    <a:pt x="8575" y="1151"/>
                  </a:cubicBezTo>
                  <a:cubicBezTo>
                    <a:pt x="8567" y="1198"/>
                    <a:pt x="8535" y="1273"/>
                    <a:pt x="8503" y="1312"/>
                  </a:cubicBezTo>
                  <a:cubicBezTo>
                    <a:pt x="8468" y="1350"/>
                    <a:pt x="8444" y="1418"/>
                    <a:pt x="8444" y="1456"/>
                  </a:cubicBezTo>
                  <a:cubicBezTo>
                    <a:pt x="8444" y="1494"/>
                    <a:pt x="8419" y="1545"/>
                    <a:pt x="8394" y="1572"/>
                  </a:cubicBezTo>
                  <a:cubicBezTo>
                    <a:pt x="8371" y="1601"/>
                    <a:pt x="8312" y="1628"/>
                    <a:pt x="8269" y="1628"/>
                  </a:cubicBezTo>
                  <a:cubicBezTo>
                    <a:pt x="8225" y="1628"/>
                    <a:pt x="8187" y="1669"/>
                    <a:pt x="8187" y="1709"/>
                  </a:cubicBezTo>
                  <a:cubicBezTo>
                    <a:pt x="8182" y="1749"/>
                    <a:pt x="8225" y="1837"/>
                    <a:pt x="8268" y="1908"/>
                  </a:cubicBezTo>
                  <a:cubicBezTo>
                    <a:pt x="8314" y="1978"/>
                    <a:pt x="8337" y="2061"/>
                    <a:pt x="8313" y="2091"/>
                  </a:cubicBezTo>
                  <a:cubicBezTo>
                    <a:pt x="8293" y="2123"/>
                    <a:pt x="8262" y="2189"/>
                    <a:pt x="8241" y="2238"/>
                  </a:cubicBezTo>
                  <a:cubicBezTo>
                    <a:pt x="8224" y="2289"/>
                    <a:pt x="8209" y="2393"/>
                    <a:pt x="8194" y="2466"/>
                  </a:cubicBezTo>
                  <a:cubicBezTo>
                    <a:pt x="8181" y="2540"/>
                    <a:pt x="8194" y="2660"/>
                    <a:pt x="8227" y="2721"/>
                  </a:cubicBezTo>
                  <a:cubicBezTo>
                    <a:pt x="8252" y="2788"/>
                    <a:pt x="8276" y="2954"/>
                    <a:pt x="8267" y="3092"/>
                  </a:cubicBezTo>
                  <a:cubicBezTo>
                    <a:pt x="8262" y="3230"/>
                    <a:pt x="8207" y="3372"/>
                    <a:pt x="8146" y="3412"/>
                  </a:cubicBezTo>
                  <a:cubicBezTo>
                    <a:pt x="8082" y="3449"/>
                    <a:pt x="8021" y="3533"/>
                    <a:pt x="8002" y="3596"/>
                  </a:cubicBezTo>
                  <a:cubicBezTo>
                    <a:pt x="7984" y="3658"/>
                    <a:pt x="7858" y="3875"/>
                    <a:pt x="7709" y="4068"/>
                  </a:cubicBezTo>
                  <a:cubicBezTo>
                    <a:pt x="7563" y="4264"/>
                    <a:pt x="7466" y="4522"/>
                    <a:pt x="7485" y="4640"/>
                  </a:cubicBezTo>
                  <a:cubicBezTo>
                    <a:pt x="7504" y="4756"/>
                    <a:pt x="7508" y="4913"/>
                    <a:pt x="7485" y="4986"/>
                  </a:cubicBezTo>
                  <a:cubicBezTo>
                    <a:pt x="7466" y="5062"/>
                    <a:pt x="7439" y="5186"/>
                    <a:pt x="7431" y="5262"/>
                  </a:cubicBezTo>
                  <a:cubicBezTo>
                    <a:pt x="7417" y="5337"/>
                    <a:pt x="7378" y="5456"/>
                    <a:pt x="7327" y="5521"/>
                  </a:cubicBezTo>
                  <a:cubicBezTo>
                    <a:pt x="7277" y="5585"/>
                    <a:pt x="7227" y="5724"/>
                    <a:pt x="7214" y="5825"/>
                  </a:cubicBezTo>
                  <a:cubicBezTo>
                    <a:pt x="7199" y="5925"/>
                    <a:pt x="7196" y="6041"/>
                    <a:pt x="7200" y="6083"/>
                  </a:cubicBezTo>
                  <a:cubicBezTo>
                    <a:pt x="7209" y="6124"/>
                    <a:pt x="7193" y="6241"/>
                    <a:pt x="7171" y="6345"/>
                  </a:cubicBezTo>
                  <a:cubicBezTo>
                    <a:pt x="7149" y="6449"/>
                    <a:pt x="7136" y="6551"/>
                    <a:pt x="7150" y="6567"/>
                  </a:cubicBezTo>
                  <a:cubicBezTo>
                    <a:pt x="7166" y="6583"/>
                    <a:pt x="7162" y="6680"/>
                    <a:pt x="7148" y="6775"/>
                  </a:cubicBezTo>
                  <a:cubicBezTo>
                    <a:pt x="7135" y="6871"/>
                    <a:pt x="7081" y="6964"/>
                    <a:pt x="7038" y="6993"/>
                  </a:cubicBezTo>
                  <a:cubicBezTo>
                    <a:pt x="6993" y="7020"/>
                    <a:pt x="6927" y="7131"/>
                    <a:pt x="6895" y="7245"/>
                  </a:cubicBezTo>
                  <a:cubicBezTo>
                    <a:pt x="6868" y="7360"/>
                    <a:pt x="6824" y="7543"/>
                    <a:pt x="6819" y="7658"/>
                  </a:cubicBezTo>
                  <a:cubicBezTo>
                    <a:pt x="6814" y="7773"/>
                    <a:pt x="6713" y="8013"/>
                    <a:pt x="6606" y="8196"/>
                  </a:cubicBezTo>
                  <a:cubicBezTo>
                    <a:pt x="6500" y="8380"/>
                    <a:pt x="6357" y="8544"/>
                    <a:pt x="6296" y="8568"/>
                  </a:cubicBezTo>
                  <a:cubicBezTo>
                    <a:pt x="6233" y="8588"/>
                    <a:pt x="6138" y="8649"/>
                    <a:pt x="6079" y="8698"/>
                  </a:cubicBezTo>
                  <a:cubicBezTo>
                    <a:pt x="6022" y="8745"/>
                    <a:pt x="5943" y="8780"/>
                    <a:pt x="5906" y="8765"/>
                  </a:cubicBezTo>
                  <a:cubicBezTo>
                    <a:pt x="5868" y="8751"/>
                    <a:pt x="5771" y="8790"/>
                    <a:pt x="5696" y="8851"/>
                  </a:cubicBezTo>
                  <a:cubicBezTo>
                    <a:pt x="5619" y="8909"/>
                    <a:pt x="5504" y="9026"/>
                    <a:pt x="5440" y="9110"/>
                  </a:cubicBezTo>
                  <a:cubicBezTo>
                    <a:pt x="5376" y="9194"/>
                    <a:pt x="5318" y="9321"/>
                    <a:pt x="5313" y="9394"/>
                  </a:cubicBezTo>
                  <a:cubicBezTo>
                    <a:pt x="5308" y="9466"/>
                    <a:pt x="5223" y="9619"/>
                    <a:pt x="5120" y="9729"/>
                  </a:cubicBezTo>
                  <a:cubicBezTo>
                    <a:pt x="5015" y="9837"/>
                    <a:pt x="4903" y="9992"/>
                    <a:pt x="4864" y="10066"/>
                  </a:cubicBezTo>
                  <a:cubicBezTo>
                    <a:pt x="4827" y="10140"/>
                    <a:pt x="4800" y="10275"/>
                    <a:pt x="4809" y="10368"/>
                  </a:cubicBezTo>
                  <a:cubicBezTo>
                    <a:pt x="4823" y="10461"/>
                    <a:pt x="4839" y="10557"/>
                    <a:pt x="4854" y="10583"/>
                  </a:cubicBezTo>
                  <a:cubicBezTo>
                    <a:pt x="4869" y="10609"/>
                    <a:pt x="4863" y="10777"/>
                    <a:pt x="4845" y="10961"/>
                  </a:cubicBezTo>
                  <a:cubicBezTo>
                    <a:pt x="4826" y="11143"/>
                    <a:pt x="4787" y="11368"/>
                    <a:pt x="4757" y="11458"/>
                  </a:cubicBezTo>
                  <a:cubicBezTo>
                    <a:pt x="4739" y="11552"/>
                    <a:pt x="4714" y="11673"/>
                    <a:pt x="4709" y="11732"/>
                  </a:cubicBezTo>
                  <a:cubicBezTo>
                    <a:pt x="4704" y="11791"/>
                    <a:pt x="4657" y="11912"/>
                    <a:pt x="4603" y="12006"/>
                  </a:cubicBezTo>
                  <a:cubicBezTo>
                    <a:pt x="4547" y="12097"/>
                    <a:pt x="4452" y="12184"/>
                    <a:pt x="4395" y="12203"/>
                  </a:cubicBezTo>
                  <a:cubicBezTo>
                    <a:pt x="4338" y="12222"/>
                    <a:pt x="4250" y="12270"/>
                    <a:pt x="4196" y="12307"/>
                  </a:cubicBezTo>
                  <a:cubicBezTo>
                    <a:pt x="4144" y="12347"/>
                    <a:pt x="4087" y="12421"/>
                    <a:pt x="4059" y="12470"/>
                  </a:cubicBezTo>
                  <a:cubicBezTo>
                    <a:pt x="4034" y="12519"/>
                    <a:pt x="3906" y="12676"/>
                    <a:pt x="3769" y="12813"/>
                  </a:cubicBezTo>
                  <a:cubicBezTo>
                    <a:pt x="3629" y="12949"/>
                    <a:pt x="3483" y="13128"/>
                    <a:pt x="3429" y="13200"/>
                  </a:cubicBezTo>
                  <a:cubicBezTo>
                    <a:pt x="3377" y="13271"/>
                    <a:pt x="3275" y="13360"/>
                    <a:pt x="3200" y="13402"/>
                  </a:cubicBezTo>
                  <a:cubicBezTo>
                    <a:pt x="3122" y="13439"/>
                    <a:pt x="3004" y="13433"/>
                    <a:pt x="2929" y="13399"/>
                  </a:cubicBezTo>
                  <a:cubicBezTo>
                    <a:pt x="2857" y="13357"/>
                    <a:pt x="2784" y="13282"/>
                    <a:pt x="2771" y="13226"/>
                  </a:cubicBezTo>
                  <a:cubicBezTo>
                    <a:pt x="2758" y="13171"/>
                    <a:pt x="2731" y="13117"/>
                    <a:pt x="2716" y="13101"/>
                  </a:cubicBezTo>
                  <a:cubicBezTo>
                    <a:pt x="2702" y="13086"/>
                    <a:pt x="2719" y="13012"/>
                    <a:pt x="2762" y="12940"/>
                  </a:cubicBezTo>
                  <a:cubicBezTo>
                    <a:pt x="2801" y="12864"/>
                    <a:pt x="2843" y="12777"/>
                    <a:pt x="2850" y="12745"/>
                  </a:cubicBezTo>
                  <a:cubicBezTo>
                    <a:pt x="2854" y="12712"/>
                    <a:pt x="2779" y="12716"/>
                    <a:pt x="2679" y="12760"/>
                  </a:cubicBezTo>
                  <a:cubicBezTo>
                    <a:pt x="2577" y="12799"/>
                    <a:pt x="2436" y="12881"/>
                    <a:pt x="2370" y="12946"/>
                  </a:cubicBezTo>
                  <a:cubicBezTo>
                    <a:pt x="2301" y="13007"/>
                    <a:pt x="2211" y="13055"/>
                    <a:pt x="2171" y="13040"/>
                  </a:cubicBezTo>
                  <a:cubicBezTo>
                    <a:pt x="2128" y="13035"/>
                    <a:pt x="2057" y="13025"/>
                    <a:pt x="2013" y="13035"/>
                  </a:cubicBezTo>
                  <a:cubicBezTo>
                    <a:pt x="1968" y="13044"/>
                    <a:pt x="1927" y="13107"/>
                    <a:pt x="1922" y="13178"/>
                  </a:cubicBezTo>
                  <a:cubicBezTo>
                    <a:pt x="1922" y="13250"/>
                    <a:pt x="1883" y="13348"/>
                    <a:pt x="1841" y="13392"/>
                  </a:cubicBezTo>
                  <a:cubicBezTo>
                    <a:pt x="1803" y="13439"/>
                    <a:pt x="1721" y="13475"/>
                    <a:pt x="1662" y="13480"/>
                  </a:cubicBezTo>
                  <a:cubicBezTo>
                    <a:pt x="1602" y="13480"/>
                    <a:pt x="1560" y="13460"/>
                    <a:pt x="1560" y="13431"/>
                  </a:cubicBezTo>
                  <a:cubicBezTo>
                    <a:pt x="1565" y="13401"/>
                    <a:pt x="1556" y="13348"/>
                    <a:pt x="1538" y="13315"/>
                  </a:cubicBezTo>
                  <a:cubicBezTo>
                    <a:pt x="1521" y="13282"/>
                    <a:pt x="1466" y="13273"/>
                    <a:pt x="1420" y="13303"/>
                  </a:cubicBezTo>
                  <a:cubicBezTo>
                    <a:pt x="1371" y="13329"/>
                    <a:pt x="1300" y="13345"/>
                    <a:pt x="1261" y="13349"/>
                  </a:cubicBezTo>
                  <a:cubicBezTo>
                    <a:pt x="1222" y="13349"/>
                    <a:pt x="1127" y="13404"/>
                    <a:pt x="1054" y="13477"/>
                  </a:cubicBezTo>
                  <a:cubicBezTo>
                    <a:pt x="980" y="13551"/>
                    <a:pt x="858" y="13658"/>
                    <a:pt x="788" y="13723"/>
                  </a:cubicBezTo>
                  <a:cubicBezTo>
                    <a:pt x="719" y="13788"/>
                    <a:pt x="637" y="13868"/>
                    <a:pt x="610" y="13903"/>
                  </a:cubicBezTo>
                  <a:cubicBezTo>
                    <a:pt x="582" y="13937"/>
                    <a:pt x="559" y="14064"/>
                    <a:pt x="559" y="14182"/>
                  </a:cubicBezTo>
                  <a:cubicBezTo>
                    <a:pt x="554" y="14299"/>
                    <a:pt x="530" y="14431"/>
                    <a:pt x="488" y="14466"/>
                  </a:cubicBezTo>
                  <a:cubicBezTo>
                    <a:pt x="451" y="14506"/>
                    <a:pt x="369" y="14550"/>
                    <a:pt x="308" y="14560"/>
                  </a:cubicBezTo>
                  <a:cubicBezTo>
                    <a:pt x="248" y="14575"/>
                    <a:pt x="147" y="14619"/>
                    <a:pt x="87" y="14663"/>
                  </a:cubicBezTo>
                  <a:cubicBezTo>
                    <a:pt x="29" y="14711"/>
                    <a:pt x="-11" y="14772"/>
                    <a:pt x="2" y="14810"/>
                  </a:cubicBezTo>
                  <a:cubicBezTo>
                    <a:pt x="17" y="14847"/>
                    <a:pt x="104" y="14877"/>
                    <a:pt x="195" y="14872"/>
                  </a:cubicBezTo>
                  <a:cubicBezTo>
                    <a:pt x="287" y="14862"/>
                    <a:pt x="393" y="14888"/>
                    <a:pt x="429" y="14916"/>
                  </a:cubicBezTo>
                  <a:cubicBezTo>
                    <a:pt x="465" y="14945"/>
                    <a:pt x="502" y="14965"/>
                    <a:pt x="507" y="14965"/>
                  </a:cubicBezTo>
                  <a:cubicBezTo>
                    <a:pt x="513" y="14965"/>
                    <a:pt x="522" y="14958"/>
                    <a:pt x="529" y="14958"/>
                  </a:cubicBezTo>
                  <a:cubicBezTo>
                    <a:pt x="537" y="14958"/>
                    <a:pt x="551" y="14940"/>
                    <a:pt x="562" y="14923"/>
                  </a:cubicBezTo>
                  <a:close/>
                  <a:moveTo>
                    <a:pt x="562" y="149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4" name="AutoShape 876"/>
            <p:cNvSpPr>
              <a:spLocks/>
            </p:cNvSpPr>
            <p:nvPr/>
          </p:nvSpPr>
          <p:spPr bwMode="auto">
            <a:xfrm>
              <a:off x="8661400" y="5308600"/>
              <a:ext cx="0" cy="0"/>
            </a:xfrm>
            <a:custGeom>
              <a:avLst/>
              <a:gdLst/>
              <a:ahLst/>
              <a:cxnLst/>
              <a:rect l="0" t="0" r="r" b="b"/>
              <a:pathLst>
                <a:path w="21600" h="20539">
                  <a:moveTo>
                    <a:pt x="18105" y="19830"/>
                  </a:moveTo>
                  <a:cubicBezTo>
                    <a:pt x="19146" y="21600"/>
                    <a:pt x="20366" y="19498"/>
                    <a:pt x="21600" y="19498"/>
                  </a:cubicBezTo>
                  <a:cubicBezTo>
                    <a:pt x="16049" y="14894"/>
                    <a:pt x="8840" y="8155"/>
                    <a:pt x="0" y="0"/>
                  </a:cubicBezTo>
                  <a:cubicBezTo>
                    <a:pt x="8840" y="8875"/>
                    <a:pt x="16049" y="16643"/>
                    <a:pt x="18105" y="19830"/>
                  </a:cubicBezTo>
                  <a:close/>
                  <a:moveTo>
                    <a:pt x="18105" y="198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5" name="AutoShape 877"/>
            <p:cNvSpPr>
              <a:spLocks/>
            </p:cNvSpPr>
            <p:nvPr/>
          </p:nvSpPr>
          <p:spPr bwMode="auto">
            <a:xfrm>
              <a:off x="8699500" y="5753100"/>
              <a:ext cx="1588" cy="44450"/>
            </a:xfrm>
            <a:custGeom>
              <a:avLst/>
              <a:gdLst/>
              <a:ahLst/>
              <a:cxnLst/>
              <a:rect l="0" t="0" r="r" b="b"/>
              <a:pathLst>
                <a:path w="21451" h="21600">
                  <a:moveTo>
                    <a:pt x="21451" y="21600"/>
                  </a:moveTo>
                  <a:cubicBezTo>
                    <a:pt x="16067" y="17049"/>
                    <a:pt x="7535" y="8542"/>
                    <a:pt x="283" y="0"/>
                  </a:cubicBezTo>
                  <a:cubicBezTo>
                    <a:pt x="16" y="437"/>
                    <a:pt x="-149" y="887"/>
                    <a:pt x="193" y="1342"/>
                  </a:cubicBezTo>
                  <a:cubicBezTo>
                    <a:pt x="2754" y="6027"/>
                    <a:pt x="13682" y="15141"/>
                    <a:pt x="21451" y="21600"/>
                  </a:cubicBezTo>
                  <a:close/>
                  <a:moveTo>
                    <a:pt x="21451"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6" name="AutoShape 878"/>
            <p:cNvSpPr>
              <a:spLocks/>
            </p:cNvSpPr>
            <p:nvPr/>
          </p:nvSpPr>
          <p:spPr bwMode="auto">
            <a:xfrm>
              <a:off x="8699500" y="5638800"/>
              <a:ext cx="4763" cy="17463"/>
            </a:xfrm>
            <a:custGeom>
              <a:avLst/>
              <a:gdLst/>
              <a:ahLst/>
              <a:cxnLst/>
              <a:rect l="0" t="0" r="r" b="b"/>
              <a:pathLst>
                <a:path w="21600" h="21600">
                  <a:moveTo>
                    <a:pt x="607" y="20437"/>
                  </a:moveTo>
                  <a:cubicBezTo>
                    <a:pt x="200" y="20849"/>
                    <a:pt x="102" y="21217"/>
                    <a:pt x="0" y="21600"/>
                  </a:cubicBezTo>
                  <a:cubicBezTo>
                    <a:pt x="4265" y="16799"/>
                    <a:pt x="13009" y="7804"/>
                    <a:pt x="21600" y="0"/>
                  </a:cubicBezTo>
                  <a:cubicBezTo>
                    <a:pt x="11739" y="8997"/>
                    <a:pt x="2741" y="18198"/>
                    <a:pt x="607" y="20437"/>
                  </a:cubicBezTo>
                  <a:close/>
                  <a:moveTo>
                    <a:pt x="607" y="204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7" name="AutoShape 879"/>
            <p:cNvSpPr>
              <a:spLocks/>
            </p:cNvSpPr>
            <p:nvPr/>
          </p:nvSpPr>
          <p:spPr bwMode="auto">
            <a:xfrm>
              <a:off x="8699500" y="5664200"/>
              <a:ext cx="1588" cy="6350"/>
            </a:xfrm>
            <a:custGeom>
              <a:avLst/>
              <a:gdLst/>
              <a:ahLst/>
              <a:cxnLst/>
              <a:rect l="0" t="0" r="r" b="b"/>
              <a:pathLst>
                <a:path w="18719" h="21600">
                  <a:moveTo>
                    <a:pt x="5708" y="0"/>
                  </a:moveTo>
                  <a:cubicBezTo>
                    <a:pt x="4201" y="827"/>
                    <a:pt x="2306" y="1589"/>
                    <a:pt x="908" y="2417"/>
                  </a:cubicBezTo>
                  <a:cubicBezTo>
                    <a:pt x="-2881" y="6187"/>
                    <a:pt x="5590" y="14964"/>
                    <a:pt x="18719" y="21600"/>
                  </a:cubicBezTo>
                  <a:cubicBezTo>
                    <a:pt x="8748" y="16557"/>
                    <a:pt x="4572" y="7878"/>
                    <a:pt x="5708" y="0"/>
                  </a:cubicBezTo>
                  <a:close/>
                  <a:moveTo>
                    <a:pt x="5708"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8" name="AutoShape 880"/>
            <p:cNvSpPr>
              <a:spLocks/>
            </p:cNvSpPr>
            <p:nvPr/>
          </p:nvSpPr>
          <p:spPr bwMode="auto">
            <a:xfrm>
              <a:off x="8699500" y="5689600"/>
              <a:ext cx="0" cy="31750"/>
            </a:xfrm>
            <a:custGeom>
              <a:avLst/>
              <a:gdLst/>
              <a:ahLst/>
              <a:cxnLst/>
              <a:rect l="0" t="0" r="r" b="b"/>
              <a:pathLst>
                <a:path w="17738" h="21600">
                  <a:moveTo>
                    <a:pt x="2429" y="0"/>
                  </a:moveTo>
                  <a:cubicBezTo>
                    <a:pt x="-3862" y="2077"/>
                    <a:pt x="2652" y="11370"/>
                    <a:pt x="15235" y="20582"/>
                  </a:cubicBezTo>
                  <a:cubicBezTo>
                    <a:pt x="15851" y="20935"/>
                    <a:pt x="17122" y="21255"/>
                    <a:pt x="17738" y="21600"/>
                  </a:cubicBezTo>
                  <a:cubicBezTo>
                    <a:pt x="5378" y="10476"/>
                    <a:pt x="-2381" y="1576"/>
                    <a:pt x="2429" y="0"/>
                  </a:cubicBezTo>
                  <a:close/>
                  <a:moveTo>
                    <a:pt x="2429"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79" name="AutoShape 881"/>
            <p:cNvSpPr>
              <a:spLocks/>
            </p:cNvSpPr>
            <p:nvPr/>
          </p:nvSpPr>
          <p:spPr bwMode="auto">
            <a:xfrm>
              <a:off x="8788400" y="5930900"/>
              <a:ext cx="112713" cy="307975"/>
            </a:xfrm>
            <a:custGeom>
              <a:avLst/>
              <a:gdLst/>
              <a:ahLst/>
              <a:cxnLst/>
              <a:rect l="0" t="0" r="r" b="b"/>
              <a:pathLst>
                <a:path w="21591" h="21561">
                  <a:moveTo>
                    <a:pt x="6981" y="318"/>
                  </a:moveTo>
                  <a:cubicBezTo>
                    <a:pt x="7057" y="434"/>
                    <a:pt x="7223" y="553"/>
                    <a:pt x="7349" y="587"/>
                  </a:cubicBezTo>
                  <a:cubicBezTo>
                    <a:pt x="7491" y="613"/>
                    <a:pt x="7610" y="742"/>
                    <a:pt x="7674" y="850"/>
                  </a:cubicBezTo>
                  <a:cubicBezTo>
                    <a:pt x="7717" y="957"/>
                    <a:pt x="8007" y="1082"/>
                    <a:pt x="8266" y="1137"/>
                  </a:cubicBezTo>
                  <a:cubicBezTo>
                    <a:pt x="8541" y="1180"/>
                    <a:pt x="8957" y="1238"/>
                    <a:pt x="9194" y="1263"/>
                  </a:cubicBezTo>
                  <a:cubicBezTo>
                    <a:pt x="9427" y="1288"/>
                    <a:pt x="9567" y="1343"/>
                    <a:pt x="9567" y="1402"/>
                  </a:cubicBezTo>
                  <a:cubicBezTo>
                    <a:pt x="9534" y="1460"/>
                    <a:pt x="9244" y="1679"/>
                    <a:pt x="8952" y="1893"/>
                  </a:cubicBezTo>
                  <a:cubicBezTo>
                    <a:pt x="8674" y="2108"/>
                    <a:pt x="8401" y="2338"/>
                    <a:pt x="8437" y="2412"/>
                  </a:cubicBezTo>
                  <a:cubicBezTo>
                    <a:pt x="8437" y="2488"/>
                    <a:pt x="8708" y="2619"/>
                    <a:pt x="9038" y="2691"/>
                  </a:cubicBezTo>
                  <a:cubicBezTo>
                    <a:pt x="9353" y="2769"/>
                    <a:pt x="9679" y="2925"/>
                    <a:pt x="9741" y="3036"/>
                  </a:cubicBezTo>
                  <a:cubicBezTo>
                    <a:pt x="9774" y="3148"/>
                    <a:pt x="9879" y="3372"/>
                    <a:pt x="9812" y="3532"/>
                  </a:cubicBezTo>
                  <a:cubicBezTo>
                    <a:pt x="9774" y="3697"/>
                    <a:pt x="9605" y="3872"/>
                    <a:pt x="9515" y="3939"/>
                  </a:cubicBezTo>
                  <a:cubicBezTo>
                    <a:pt x="9370" y="3992"/>
                    <a:pt x="9299" y="4085"/>
                    <a:pt x="9259" y="4128"/>
                  </a:cubicBezTo>
                  <a:cubicBezTo>
                    <a:pt x="9259" y="4176"/>
                    <a:pt x="8798" y="4378"/>
                    <a:pt x="8270" y="4582"/>
                  </a:cubicBezTo>
                  <a:cubicBezTo>
                    <a:pt x="7741" y="4789"/>
                    <a:pt x="7223" y="5065"/>
                    <a:pt x="7104" y="5198"/>
                  </a:cubicBezTo>
                  <a:cubicBezTo>
                    <a:pt x="6993" y="5332"/>
                    <a:pt x="7007" y="5544"/>
                    <a:pt x="7043" y="5675"/>
                  </a:cubicBezTo>
                  <a:cubicBezTo>
                    <a:pt x="7164" y="5799"/>
                    <a:pt x="7180" y="6003"/>
                    <a:pt x="7180" y="6119"/>
                  </a:cubicBezTo>
                  <a:cubicBezTo>
                    <a:pt x="7180" y="6236"/>
                    <a:pt x="7204" y="6403"/>
                    <a:pt x="7235" y="6493"/>
                  </a:cubicBezTo>
                  <a:cubicBezTo>
                    <a:pt x="7235" y="6583"/>
                    <a:pt x="7114" y="6738"/>
                    <a:pt x="6936" y="6855"/>
                  </a:cubicBezTo>
                  <a:cubicBezTo>
                    <a:pt x="6722" y="6959"/>
                    <a:pt x="6677" y="7145"/>
                    <a:pt x="6826" y="7254"/>
                  </a:cubicBezTo>
                  <a:cubicBezTo>
                    <a:pt x="6962" y="7366"/>
                    <a:pt x="7026" y="7533"/>
                    <a:pt x="6874" y="7611"/>
                  </a:cubicBezTo>
                  <a:cubicBezTo>
                    <a:pt x="6772" y="7698"/>
                    <a:pt x="6553" y="7793"/>
                    <a:pt x="6454" y="7842"/>
                  </a:cubicBezTo>
                  <a:cubicBezTo>
                    <a:pt x="6320" y="7879"/>
                    <a:pt x="6256" y="7999"/>
                    <a:pt x="6330" y="8092"/>
                  </a:cubicBezTo>
                  <a:cubicBezTo>
                    <a:pt x="6394" y="8188"/>
                    <a:pt x="6394" y="8327"/>
                    <a:pt x="6425" y="8396"/>
                  </a:cubicBezTo>
                  <a:cubicBezTo>
                    <a:pt x="6458" y="8466"/>
                    <a:pt x="6606" y="8550"/>
                    <a:pt x="6791" y="8601"/>
                  </a:cubicBezTo>
                  <a:cubicBezTo>
                    <a:pt x="6983" y="8647"/>
                    <a:pt x="7133" y="8724"/>
                    <a:pt x="7171" y="8779"/>
                  </a:cubicBezTo>
                  <a:cubicBezTo>
                    <a:pt x="7202" y="8834"/>
                    <a:pt x="7012" y="8901"/>
                    <a:pt x="6819" y="8936"/>
                  </a:cubicBezTo>
                  <a:cubicBezTo>
                    <a:pt x="6615" y="8960"/>
                    <a:pt x="6344" y="9062"/>
                    <a:pt x="6194" y="9143"/>
                  </a:cubicBezTo>
                  <a:cubicBezTo>
                    <a:pt x="6064" y="9226"/>
                    <a:pt x="5712" y="9370"/>
                    <a:pt x="5382" y="9415"/>
                  </a:cubicBezTo>
                  <a:cubicBezTo>
                    <a:pt x="5097" y="9493"/>
                    <a:pt x="4420" y="9662"/>
                    <a:pt x="3914" y="9807"/>
                  </a:cubicBezTo>
                  <a:cubicBezTo>
                    <a:pt x="3406" y="9954"/>
                    <a:pt x="2945" y="10144"/>
                    <a:pt x="2796" y="10198"/>
                  </a:cubicBezTo>
                  <a:cubicBezTo>
                    <a:pt x="2703" y="10267"/>
                    <a:pt x="2537" y="10406"/>
                    <a:pt x="2537" y="10516"/>
                  </a:cubicBezTo>
                  <a:cubicBezTo>
                    <a:pt x="2465" y="10619"/>
                    <a:pt x="2551" y="10758"/>
                    <a:pt x="2551" y="10820"/>
                  </a:cubicBezTo>
                  <a:cubicBezTo>
                    <a:pt x="2584" y="10879"/>
                    <a:pt x="2506" y="10994"/>
                    <a:pt x="2435" y="11081"/>
                  </a:cubicBezTo>
                  <a:cubicBezTo>
                    <a:pt x="2356" y="11168"/>
                    <a:pt x="2252" y="11324"/>
                    <a:pt x="2180" y="11430"/>
                  </a:cubicBezTo>
                  <a:cubicBezTo>
                    <a:pt x="2138" y="11539"/>
                    <a:pt x="1791" y="11750"/>
                    <a:pt x="1437" y="11904"/>
                  </a:cubicBezTo>
                  <a:cubicBezTo>
                    <a:pt x="1081" y="12058"/>
                    <a:pt x="577" y="12223"/>
                    <a:pt x="354" y="12277"/>
                  </a:cubicBezTo>
                  <a:cubicBezTo>
                    <a:pt x="128" y="12332"/>
                    <a:pt x="0" y="12428"/>
                    <a:pt x="0" y="12498"/>
                  </a:cubicBezTo>
                  <a:cubicBezTo>
                    <a:pt x="33" y="12567"/>
                    <a:pt x="264" y="12714"/>
                    <a:pt x="489" y="12830"/>
                  </a:cubicBezTo>
                  <a:cubicBezTo>
                    <a:pt x="701" y="12948"/>
                    <a:pt x="1045" y="13144"/>
                    <a:pt x="1124" y="13285"/>
                  </a:cubicBezTo>
                  <a:cubicBezTo>
                    <a:pt x="1235" y="13421"/>
                    <a:pt x="1328" y="13589"/>
                    <a:pt x="1359" y="13657"/>
                  </a:cubicBezTo>
                  <a:cubicBezTo>
                    <a:pt x="1359" y="13729"/>
                    <a:pt x="1843" y="13725"/>
                    <a:pt x="2404" y="13644"/>
                  </a:cubicBezTo>
                  <a:cubicBezTo>
                    <a:pt x="2950" y="13550"/>
                    <a:pt x="3489" y="13564"/>
                    <a:pt x="3608" y="13635"/>
                  </a:cubicBezTo>
                  <a:cubicBezTo>
                    <a:pt x="3679" y="13714"/>
                    <a:pt x="3831" y="13825"/>
                    <a:pt x="3860" y="13892"/>
                  </a:cubicBezTo>
                  <a:cubicBezTo>
                    <a:pt x="3860" y="13960"/>
                    <a:pt x="4083" y="14062"/>
                    <a:pt x="4202" y="14136"/>
                  </a:cubicBezTo>
                  <a:cubicBezTo>
                    <a:pt x="4330" y="14206"/>
                    <a:pt x="4449" y="14330"/>
                    <a:pt x="4449" y="14420"/>
                  </a:cubicBezTo>
                  <a:cubicBezTo>
                    <a:pt x="4449" y="14511"/>
                    <a:pt x="4684" y="14633"/>
                    <a:pt x="4990" y="14688"/>
                  </a:cubicBezTo>
                  <a:cubicBezTo>
                    <a:pt x="5268" y="14761"/>
                    <a:pt x="5696" y="14765"/>
                    <a:pt x="5860" y="14717"/>
                  </a:cubicBezTo>
                  <a:cubicBezTo>
                    <a:pt x="6033" y="14679"/>
                    <a:pt x="6375" y="14627"/>
                    <a:pt x="6629" y="14615"/>
                  </a:cubicBezTo>
                  <a:cubicBezTo>
                    <a:pt x="6879" y="14615"/>
                    <a:pt x="7275" y="14533"/>
                    <a:pt x="7449" y="14444"/>
                  </a:cubicBezTo>
                  <a:cubicBezTo>
                    <a:pt x="7662" y="14367"/>
                    <a:pt x="8168" y="14269"/>
                    <a:pt x="8591" y="14243"/>
                  </a:cubicBezTo>
                  <a:cubicBezTo>
                    <a:pt x="9016" y="14217"/>
                    <a:pt x="9788" y="14220"/>
                    <a:pt x="10308" y="14220"/>
                  </a:cubicBezTo>
                  <a:cubicBezTo>
                    <a:pt x="10812" y="14257"/>
                    <a:pt x="11315" y="14348"/>
                    <a:pt x="11493" y="14451"/>
                  </a:cubicBezTo>
                  <a:cubicBezTo>
                    <a:pt x="11636" y="14556"/>
                    <a:pt x="11676" y="14816"/>
                    <a:pt x="11579" y="15021"/>
                  </a:cubicBezTo>
                  <a:cubicBezTo>
                    <a:pt x="11472" y="15224"/>
                    <a:pt x="11346" y="15539"/>
                    <a:pt x="11201" y="15711"/>
                  </a:cubicBezTo>
                  <a:cubicBezTo>
                    <a:pt x="11099" y="15889"/>
                    <a:pt x="10589" y="16187"/>
                    <a:pt x="10097" y="16380"/>
                  </a:cubicBezTo>
                  <a:cubicBezTo>
                    <a:pt x="9624" y="16576"/>
                    <a:pt x="9059" y="16870"/>
                    <a:pt x="8883" y="17049"/>
                  </a:cubicBezTo>
                  <a:cubicBezTo>
                    <a:pt x="8710" y="17228"/>
                    <a:pt x="8313" y="17498"/>
                    <a:pt x="7976" y="17645"/>
                  </a:cubicBezTo>
                  <a:cubicBezTo>
                    <a:pt x="7648" y="17791"/>
                    <a:pt x="7382" y="18015"/>
                    <a:pt x="7382" y="18135"/>
                  </a:cubicBezTo>
                  <a:cubicBezTo>
                    <a:pt x="7382" y="18255"/>
                    <a:pt x="7470" y="18479"/>
                    <a:pt x="7539" y="18635"/>
                  </a:cubicBezTo>
                  <a:cubicBezTo>
                    <a:pt x="7612" y="18792"/>
                    <a:pt x="7712" y="19010"/>
                    <a:pt x="7712" y="19127"/>
                  </a:cubicBezTo>
                  <a:cubicBezTo>
                    <a:pt x="7712" y="19241"/>
                    <a:pt x="7933" y="19440"/>
                    <a:pt x="8197" y="19577"/>
                  </a:cubicBezTo>
                  <a:cubicBezTo>
                    <a:pt x="8503" y="19701"/>
                    <a:pt x="8914" y="19901"/>
                    <a:pt x="9204" y="19993"/>
                  </a:cubicBezTo>
                  <a:cubicBezTo>
                    <a:pt x="9458" y="20099"/>
                    <a:pt x="9900" y="20200"/>
                    <a:pt x="10135" y="20237"/>
                  </a:cubicBezTo>
                  <a:cubicBezTo>
                    <a:pt x="10363" y="20279"/>
                    <a:pt x="10745" y="20339"/>
                    <a:pt x="10921" y="20403"/>
                  </a:cubicBezTo>
                  <a:cubicBezTo>
                    <a:pt x="11095" y="20466"/>
                    <a:pt x="11415" y="20603"/>
                    <a:pt x="11641" y="20714"/>
                  </a:cubicBezTo>
                  <a:cubicBezTo>
                    <a:pt x="11821" y="20832"/>
                    <a:pt x="11876" y="21007"/>
                    <a:pt x="11686" y="21100"/>
                  </a:cubicBezTo>
                  <a:cubicBezTo>
                    <a:pt x="11527" y="21202"/>
                    <a:pt x="11434" y="21359"/>
                    <a:pt x="11472" y="21456"/>
                  </a:cubicBezTo>
                  <a:cubicBezTo>
                    <a:pt x="11539" y="21555"/>
                    <a:pt x="11888" y="21590"/>
                    <a:pt x="12289" y="21537"/>
                  </a:cubicBezTo>
                  <a:cubicBezTo>
                    <a:pt x="12686" y="21476"/>
                    <a:pt x="13140" y="21315"/>
                    <a:pt x="13296" y="21166"/>
                  </a:cubicBezTo>
                  <a:cubicBezTo>
                    <a:pt x="13475" y="21024"/>
                    <a:pt x="13524" y="20764"/>
                    <a:pt x="13456" y="20600"/>
                  </a:cubicBezTo>
                  <a:cubicBezTo>
                    <a:pt x="13379" y="20435"/>
                    <a:pt x="13541" y="20182"/>
                    <a:pt x="13812" y="20046"/>
                  </a:cubicBezTo>
                  <a:cubicBezTo>
                    <a:pt x="14083" y="19911"/>
                    <a:pt x="14353" y="19673"/>
                    <a:pt x="14503" y="19537"/>
                  </a:cubicBezTo>
                  <a:cubicBezTo>
                    <a:pt x="14610" y="19395"/>
                    <a:pt x="14935" y="19104"/>
                    <a:pt x="15249" y="18900"/>
                  </a:cubicBezTo>
                  <a:cubicBezTo>
                    <a:pt x="15505" y="18687"/>
                    <a:pt x="16128" y="18474"/>
                    <a:pt x="16536" y="18400"/>
                  </a:cubicBezTo>
                  <a:cubicBezTo>
                    <a:pt x="16968" y="18347"/>
                    <a:pt x="17529" y="18186"/>
                    <a:pt x="17859" y="18092"/>
                  </a:cubicBezTo>
                  <a:cubicBezTo>
                    <a:pt x="18156" y="17984"/>
                    <a:pt x="18596" y="17809"/>
                    <a:pt x="18752" y="17680"/>
                  </a:cubicBezTo>
                  <a:cubicBezTo>
                    <a:pt x="18926" y="17553"/>
                    <a:pt x="19189" y="17230"/>
                    <a:pt x="19334" y="16956"/>
                  </a:cubicBezTo>
                  <a:cubicBezTo>
                    <a:pt x="19441" y="16682"/>
                    <a:pt x="19472" y="16394"/>
                    <a:pt x="19289" y="16326"/>
                  </a:cubicBezTo>
                  <a:cubicBezTo>
                    <a:pt x="19127" y="16253"/>
                    <a:pt x="19063" y="16134"/>
                    <a:pt x="19130" y="16062"/>
                  </a:cubicBezTo>
                  <a:cubicBezTo>
                    <a:pt x="19222" y="15993"/>
                    <a:pt x="19196" y="15894"/>
                    <a:pt x="19130" y="15846"/>
                  </a:cubicBezTo>
                  <a:cubicBezTo>
                    <a:pt x="19061" y="15794"/>
                    <a:pt x="19066" y="15705"/>
                    <a:pt x="19165" y="15644"/>
                  </a:cubicBezTo>
                  <a:cubicBezTo>
                    <a:pt x="19204" y="15574"/>
                    <a:pt x="19517" y="15511"/>
                    <a:pt x="19738" y="15485"/>
                  </a:cubicBezTo>
                  <a:cubicBezTo>
                    <a:pt x="19954" y="15458"/>
                    <a:pt x="20194" y="15366"/>
                    <a:pt x="20353" y="15297"/>
                  </a:cubicBezTo>
                  <a:cubicBezTo>
                    <a:pt x="20453" y="15213"/>
                    <a:pt x="20802" y="15116"/>
                    <a:pt x="21061" y="15063"/>
                  </a:cubicBezTo>
                  <a:cubicBezTo>
                    <a:pt x="21327" y="15014"/>
                    <a:pt x="21552" y="14909"/>
                    <a:pt x="21591" y="14830"/>
                  </a:cubicBezTo>
                  <a:cubicBezTo>
                    <a:pt x="21591" y="14750"/>
                    <a:pt x="21600" y="14603"/>
                    <a:pt x="21476" y="14514"/>
                  </a:cubicBezTo>
                  <a:cubicBezTo>
                    <a:pt x="21370" y="14421"/>
                    <a:pt x="21229" y="14203"/>
                    <a:pt x="21163" y="14027"/>
                  </a:cubicBezTo>
                  <a:cubicBezTo>
                    <a:pt x="21089" y="13854"/>
                    <a:pt x="20664" y="13556"/>
                    <a:pt x="20351" y="13340"/>
                  </a:cubicBezTo>
                  <a:cubicBezTo>
                    <a:pt x="19973" y="13140"/>
                    <a:pt x="19678" y="12872"/>
                    <a:pt x="19567" y="12764"/>
                  </a:cubicBezTo>
                  <a:cubicBezTo>
                    <a:pt x="19465" y="12653"/>
                    <a:pt x="18954" y="12386"/>
                    <a:pt x="18391" y="12169"/>
                  </a:cubicBezTo>
                  <a:cubicBezTo>
                    <a:pt x="17831" y="11950"/>
                    <a:pt x="17201" y="11780"/>
                    <a:pt x="17006" y="11765"/>
                  </a:cubicBezTo>
                  <a:cubicBezTo>
                    <a:pt x="16812" y="11765"/>
                    <a:pt x="16548" y="11706"/>
                    <a:pt x="16448" y="11633"/>
                  </a:cubicBezTo>
                  <a:cubicBezTo>
                    <a:pt x="16317" y="11570"/>
                    <a:pt x="16073" y="11427"/>
                    <a:pt x="15797" y="11351"/>
                  </a:cubicBezTo>
                  <a:cubicBezTo>
                    <a:pt x="15555" y="11264"/>
                    <a:pt x="14871" y="11123"/>
                    <a:pt x="14289" y="11031"/>
                  </a:cubicBezTo>
                  <a:cubicBezTo>
                    <a:pt x="13691" y="10953"/>
                    <a:pt x="13173" y="10307"/>
                    <a:pt x="13137" y="9621"/>
                  </a:cubicBezTo>
                  <a:cubicBezTo>
                    <a:pt x="13102" y="8932"/>
                    <a:pt x="13156" y="8242"/>
                    <a:pt x="13337" y="8098"/>
                  </a:cubicBezTo>
                  <a:cubicBezTo>
                    <a:pt x="13517" y="7952"/>
                    <a:pt x="14040" y="6763"/>
                    <a:pt x="14600" y="5460"/>
                  </a:cubicBezTo>
                  <a:cubicBezTo>
                    <a:pt x="15163" y="4151"/>
                    <a:pt x="15579" y="2834"/>
                    <a:pt x="15579" y="2540"/>
                  </a:cubicBezTo>
                  <a:cubicBezTo>
                    <a:pt x="15579" y="2247"/>
                    <a:pt x="15130" y="1798"/>
                    <a:pt x="14546" y="1545"/>
                  </a:cubicBezTo>
                  <a:cubicBezTo>
                    <a:pt x="13940" y="1298"/>
                    <a:pt x="13318" y="1029"/>
                    <a:pt x="13137" y="951"/>
                  </a:cubicBezTo>
                  <a:cubicBezTo>
                    <a:pt x="12928" y="887"/>
                    <a:pt x="12598" y="798"/>
                    <a:pt x="12418" y="745"/>
                  </a:cubicBezTo>
                  <a:cubicBezTo>
                    <a:pt x="12235" y="691"/>
                    <a:pt x="12007" y="623"/>
                    <a:pt x="11916" y="579"/>
                  </a:cubicBezTo>
                  <a:cubicBezTo>
                    <a:pt x="11859" y="527"/>
                    <a:pt x="11667" y="494"/>
                    <a:pt x="11527" y="481"/>
                  </a:cubicBezTo>
                  <a:cubicBezTo>
                    <a:pt x="11384" y="470"/>
                    <a:pt x="11170" y="441"/>
                    <a:pt x="11047" y="408"/>
                  </a:cubicBezTo>
                  <a:cubicBezTo>
                    <a:pt x="10909" y="383"/>
                    <a:pt x="10636" y="359"/>
                    <a:pt x="10413" y="344"/>
                  </a:cubicBezTo>
                  <a:cubicBezTo>
                    <a:pt x="10185" y="332"/>
                    <a:pt x="9852" y="358"/>
                    <a:pt x="9748" y="410"/>
                  </a:cubicBezTo>
                  <a:cubicBezTo>
                    <a:pt x="9624" y="455"/>
                    <a:pt x="9403" y="444"/>
                    <a:pt x="9334" y="393"/>
                  </a:cubicBezTo>
                  <a:cubicBezTo>
                    <a:pt x="9225" y="352"/>
                    <a:pt x="8957" y="320"/>
                    <a:pt x="8717" y="308"/>
                  </a:cubicBezTo>
                  <a:cubicBezTo>
                    <a:pt x="8475" y="308"/>
                    <a:pt x="8183" y="236"/>
                    <a:pt x="8107" y="153"/>
                  </a:cubicBezTo>
                  <a:cubicBezTo>
                    <a:pt x="8031" y="68"/>
                    <a:pt x="7774" y="-10"/>
                    <a:pt x="7584" y="1"/>
                  </a:cubicBezTo>
                  <a:cubicBezTo>
                    <a:pt x="7394" y="13"/>
                    <a:pt x="7156" y="34"/>
                    <a:pt x="7043" y="62"/>
                  </a:cubicBezTo>
                  <a:cubicBezTo>
                    <a:pt x="6926" y="89"/>
                    <a:pt x="6948" y="208"/>
                    <a:pt x="6981" y="318"/>
                  </a:cubicBezTo>
                  <a:close/>
                  <a:moveTo>
                    <a:pt x="6981" y="3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0" name="AutoShape 882"/>
            <p:cNvSpPr>
              <a:spLocks/>
            </p:cNvSpPr>
            <p:nvPr/>
          </p:nvSpPr>
          <p:spPr bwMode="auto">
            <a:xfrm>
              <a:off x="8331200" y="5892800"/>
              <a:ext cx="514350" cy="425450"/>
            </a:xfrm>
            <a:custGeom>
              <a:avLst/>
              <a:gdLst/>
              <a:ahLst/>
              <a:cxnLst/>
              <a:rect l="0" t="0" r="r" b="b"/>
              <a:pathLst>
                <a:path w="21577" h="21474">
                  <a:moveTo>
                    <a:pt x="15669" y="460"/>
                  </a:moveTo>
                  <a:cubicBezTo>
                    <a:pt x="14878" y="795"/>
                    <a:pt x="14039" y="1474"/>
                    <a:pt x="13801" y="1954"/>
                  </a:cubicBezTo>
                  <a:cubicBezTo>
                    <a:pt x="13559" y="2432"/>
                    <a:pt x="13386" y="2930"/>
                    <a:pt x="13394" y="3054"/>
                  </a:cubicBezTo>
                  <a:cubicBezTo>
                    <a:pt x="13402" y="3178"/>
                    <a:pt x="13458" y="3321"/>
                    <a:pt x="13504" y="3377"/>
                  </a:cubicBezTo>
                  <a:cubicBezTo>
                    <a:pt x="13550" y="3432"/>
                    <a:pt x="13625" y="3493"/>
                    <a:pt x="13668" y="3519"/>
                  </a:cubicBezTo>
                  <a:cubicBezTo>
                    <a:pt x="13714" y="3537"/>
                    <a:pt x="13733" y="3618"/>
                    <a:pt x="13725" y="3685"/>
                  </a:cubicBezTo>
                  <a:cubicBezTo>
                    <a:pt x="13725" y="3754"/>
                    <a:pt x="13667" y="3835"/>
                    <a:pt x="13642" y="3886"/>
                  </a:cubicBezTo>
                  <a:cubicBezTo>
                    <a:pt x="13601" y="3919"/>
                    <a:pt x="13574" y="4026"/>
                    <a:pt x="13582" y="4103"/>
                  </a:cubicBezTo>
                  <a:cubicBezTo>
                    <a:pt x="13582" y="4179"/>
                    <a:pt x="13574" y="4311"/>
                    <a:pt x="13554" y="4387"/>
                  </a:cubicBezTo>
                  <a:cubicBezTo>
                    <a:pt x="13537" y="4465"/>
                    <a:pt x="13517" y="4600"/>
                    <a:pt x="13526" y="4688"/>
                  </a:cubicBezTo>
                  <a:cubicBezTo>
                    <a:pt x="13526" y="4774"/>
                    <a:pt x="13504" y="4944"/>
                    <a:pt x="13481" y="5066"/>
                  </a:cubicBezTo>
                  <a:cubicBezTo>
                    <a:pt x="13450" y="5186"/>
                    <a:pt x="13398" y="5308"/>
                    <a:pt x="13361" y="5342"/>
                  </a:cubicBezTo>
                  <a:cubicBezTo>
                    <a:pt x="13325" y="5377"/>
                    <a:pt x="13307" y="5423"/>
                    <a:pt x="13314" y="5462"/>
                  </a:cubicBezTo>
                  <a:cubicBezTo>
                    <a:pt x="13335" y="5488"/>
                    <a:pt x="13306" y="5574"/>
                    <a:pt x="13271" y="5638"/>
                  </a:cubicBezTo>
                  <a:cubicBezTo>
                    <a:pt x="13239" y="5704"/>
                    <a:pt x="13122" y="5847"/>
                    <a:pt x="13019" y="5961"/>
                  </a:cubicBezTo>
                  <a:cubicBezTo>
                    <a:pt x="12923" y="6086"/>
                    <a:pt x="12824" y="6241"/>
                    <a:pt x="12799" y="6318"/>
                  </a:cubicBezTo>
                  <a:cubicBezTo>
                    <a:pt x="12784" y="6399"/>
                    <a:pt x="12744" y="6722"/>
                    <a:pt x="12720" y="7037"/>
                  </a:cubicBezTo>
                  <a:cubicBezTo>
                    <a:pt x="12704" y="7352"/>
                    <a:pt x="12659" y="7729"/>
                    <a:pt x="12659" y="7875"/>
                  </a:cubicBezTo>
                  <a:cubicBezTo>
                    <a:pt x="12652" y="8020"/>
                    <a:pt x="12686" y="8183"/>
                    <a:pt x="12744" y="8227"/>
                  </a:cubicBezTo>
                  <a:cubicBezTo>
                    <a:pt x="12793" y="8285"/>
                    <a:pt x="12936" y="8429"/>
                    <a:pt x="13042" y="8576"/>
                  </a:cubicBezTo>
                  <a:cubicBezTo>
                    <a:pt x="13149" y="8722"/>
                    <a:pt x="13253" y="8906"/>
                    <a:pt x="13270" y="8992"/>
                  </a:cubicBezTo>
                  <a:cubicBezTo>
                    <a:pt x="13285" y="9077"/>
                    <a:pt x="13332" y="9197"/>
                    <a:pt x="13368" y="9259"/>
                  </a:cubicBezTo>
                  <a:cubicBezTo>
                    <a:pt x="13407" y="9320"/>
                    <a:pt x="13592" y="9353"/>
                    <a:pt x="13784" y="9325"/>
                  </a:cubicBezTo>
                  <a:cubicBezTo>
                    <a:pt x="13974" y="9297"/>
                    <a:pt x="14152" y="9262"/>
                    <a:pt x="14177" y="9242"/>
                  </a:cubicBezTo>
                  <a:cubicBezTo>
                    <a:pt x="14205" y="9225"/>
                    <a:pt x="14199" y="9169"/>
                    <a:pt x="14184" y="9118"/>
                  </a:cubicBezTo>
                  <a:cubicBezTo>
                    <a:pt x="14164" y="9070"/>
                    <a:pt x="14147" y="8977"/>
                    <a:pt x="14139" y="8916"/>
                  </a:cubicBezTo>
                  <a:cubicBezTo>
                    <a:pt x="14129" y="8854"/>
                    <a:pt x="14217" y="8764"/>
                    <a:pt x="14322" y="8735"/>
                  </a:cubicBezTo>
                  <a:cubicBezTo>
                    <a:pt x="14425" y="8696"/>
                    <a:pt x="14556" y="8687"/>
                    <a:pt x="14614" y="8704"/>
                  </a:cubicBezTo>
                  <a:cubicBezTo>
                    <a:pt x="14671" y="8723"/>
                    <a:pt x="14682" y="9220"/>
                    <a:pt x="14643" y="9810"/>
                  </a:cubicBezTo>
                  <a:cubicBezTo>
                    <a:pt x="14597" y="10396"/>
                    <a:pt x="14546" y="10921"/>
                    <a:pt x="14513" y="10970"/>
                  </a:cubicBezTo>
                  <a:cubicBezTo>
                    <a:pt x="14480" y="11019"/>
                    <a:pt x="14399" y="11068"/>
                    <a:pt x="14324" y="11058"/>
                  </a:cubicBezTo>
                  <a:cubicBezTo>
                    <a:pt x="14250" y="11068"/>
                    <a:pt x="14189" y="11025"/>
                    <a:pt x="14182" y="10994"/>
                  </a:cubicBezTo>
                  <a:cubicBezTo>
                    <a:pt x="14164" y="10973"/>
                    <a:pt x="14149" y="10943"/>
                    <a:pt x="14117" y="10933"/>
                  </a:cubicBezTo>
                  <a:cubicBezTo>
                    <a:pt x="14084" y="10926"/>
                    <a:pt x="13999" y="10973"/>
                    <a:pt x="13922" y="11009"/>
                  </a:cubicBezTo>
                  <a:cubicBezTo>
                    <a:pt x="13847" y="11046"/>
                    <a:pt x="13718" y="11103"/>
                    <a:pt x="13643" y="11153"/>
                  </a:cubicBezTo>
                  <a:cubicBezTo>
                    <a:pt x="13563" y="11191"/>
                    <a:pt x="13451" y="11226"/>
                    <a:pt x="13394" y="11235"/>
                  </a:cubicBezTo>
                  <a:cubicBezTo>
                    <a:pt x="13335" y="11244"/>
                    <a:pt x="13219" y="11173"/>
                    <a:pt x="13128" y="11085"/>
                  </a:cubicBezTo>
                  <a:cubicBezTo>
                    <a:pt x="13037" y="10995"/>
                    <a:pt x="12900" y="10826"/>
                    <a:pt x="12825" y="10709"/>
                  </a:cubicBezTo>
                  <a:cubicBezTo>
                    <a:pt x="12747" y="10595"/>
                    <a:pt x="12625" y="10436"/>
                    <a:pt x="12548" y="10361"/>
                  </a:cubicBezTo>
                  <a:cubicBezTo>
                    <a:pt x="12472" y="10288"/>
                    <a:pt x="12348" y="10106"/>
                    <a:pt x="12264" y="9966"/>
                  </a:cubicBezTo>
                  <a:cubicBezTo>
                    <a:pt x="12186" y="9818"/>
                    <a:pt x="12031" y="9661"/>
                    <a:pt x="11938" y="9587"/>
                  </a:cubicBezTo>
                  <a:cubicBezTo>
                    <a:pt x="11842" y="9521"/>
                    <a:pt x="11625" y="9438"/>
                    <a:pt x="11459" y="9390"/>
                  </a:cubicBezTo>
                  <a:cubicBezTo>
                    <a:pt x="11291" y="9344"/>
                    <a:pt x="11064" y="9265"/>
                    <a:pt x="10957" y="9201"/>
                  </a:cubicBezTo>
                  <a:cubicBezTo>
                    <a:pt x="10847" y="9144"/>
                    <a:pt x="10760" y="9042"/>
                    <a:pt x="10752" y="8982"/>
                  </a:cubicBezTo>
                  <a:cubicBezTo>
                    <a:pt x="10744" y="8923"/>
                    <a:pt x="10694" y="8799"/>
                    <a:pt x="10632" y="8706"/>
                  </a:cubicBezTo>
                  <a:cubicBezTo>
                    <a:pt x="10571" y="8615"/>
                    <a:pt x="10535" y="8408"/>
                    <a:pt x="10551" y="8244"/>
                  </a:cubicBezTo>
                  <a:cubicBezTo>
                    <a:pt x="10565" y="8082"/>
                    <a:pt x="10550" y="7942"/>
                    <a:pt x="10513" y="7933"/>
                  </a:cubicBezTo>
                  <a:cubicBezTo>
                    <a:pt x="10474" y="7922"/>
                    <a:pt x="10392" y="7927"/>
                    <a:pt x="10359" y="7977"/>
                  </a:cubicBezTo>
                  <a:cubicBezTo>
                    <a:pt x="10311" y="8006"/>
                    <a:pt x="10225" y="8060"/>
                    <a:pt x="10161" y="8077"/>
                  </a:cubicBezTo>
                  <a:cubicBezTo>
                    <a:pt x="10100" y="8108"/>
                    <a:pt x="9998" y="8244"/>
                    <a:pt x="9936" y="8400"/>
                  </a:cubicBezTo>
                  <a:cubicBezTo>
                    <a:pt x="9866" y="8551"/>
                    <a:pt x="9808" y="8728"/>
                    <a:pt x="9808" y="8787"/>
                  </a:cubicBezTo>
                  <a:cubicBezTo>
                    <a:pt x="9801" y="8844"/>
                    <a:pt x="9663" y="8951"/>
                    <a:pt x="9513" y="9031"/>
                  </a:cubicBezTo>
                  <a:cubicBezTo>
                    <a:pt x="9360" y="9105"/>
                    <a:pt x="9176" y="9183"/>
                    <a:pt x="9100" y="9193"/>
                  </a:cubicBezTo>
                  <a:cubicBezTo>
                    <a:pt x="9022" y="9202"/>
                    <a:pt x="8960" y="9186"/>
                    <a:pt x="8951" y="9154"/>
                  </a:cubicBezTo>
                  <a:cubicBezTo>
                    <a:pt x="8937" y="9128"/>
                    <a:pt x="8851" y="9079"/>
                    <a:pt x="8740" y="9070"/>
                  </a:cubicBezTo>
                  <a:cubicBezTo>
                    <a:pt x="8630" y="9060"/>
                    <a:pt x="8466" y="9033"/>
                    <a:pt x="8374" y="9033"/>
                  </a:cubicBezTo>
                  <a:cubicBezTo>
                    <a:pt x="8280" y="9033"/>
                    <a:pt x="8122" y="8962"/>
                    <a:pt x="8013" y="8906"/>
                  </a:cubicBezTo>
                  <a:cubicBezTo>
                    <a:pt x="7904" y="8846"/>
                    <a:pt x="7782" y="8787"/>
                    <a:pt x="7736" y="8787"/>
                  </a:cubicBezTo>
                  <a:cubicBezTo>
                    <a:pt x="7690" y="8794"/>
                    <a:pt x="7576" y="8756"/>
                    <a:pt x="7487" y="8718"/>
                  </a:cubicBezTo>
                  <a:cubicBezTo>
                    <a:pt x="7398" y="8679"/>
                    <a:pt x="7295" y="8652"/>
                    <a:pt x="7257" y="8652"/>
                  </a:cubicBezTo>
                  <a:cubicBezTo>
                    <a:pt x="7222" y="8662"/>
                    <a:pt x="7198" y="8622"/>
                    <a:pt x="7212" y="8580"/>
                  </a:cubicBezTo>
                  <a:cubicBezTo>
                    <a:pt x="7225" y="8539"/>
                    <a:pt x="7234" y="8438"/>
                    <a:pt x="7226" y="8360"/>
                  </a:cubicBezTo>
                  <a:cubicBezTo>
                    <a:pt x="7226" y="8279"/>
                    <a:pt x="7201" y="8175"/>
                    <a:pt x="7186" y="8121"/>
                  </a:cubicBezTo>
                  <a:cubicBezTo>
                    <a:pt x="7165" y="8072"/>
                    <a:pt x="7145" y="7936"/>
                    <a:pt x="7159" y="7825"/>
                  </a:cubicBezTo>
                  <a:cubicBezTo>
                    <a:pt x="7174" y="7713"/>
                    <a:pt x="7144" y="7619"/>
                    <a:pt x="7116" y="7607"/>
                  </a:cubicBezTo>
                  <a:cubicBezTo>
                    <a:pt x="7091" y="7592"/>
                    <a:pt x="6959" y="7653"/>
                    <a:pt x="6826" y="7709"/>
                  </a:cubicBezTo>
                  <a:cubicBezTo>
                    <a:pt x="6696" y="7773"/>
                    <a:pt x="6559" y="7856"/>
                    <a:pt x="6524" y="7897"/>
                  </a:cubicBezTo>
                  <a:cubicBezTo>
                    <a:pt x="6481" y="7929"/>
                    <a:pt x="6399" y="7985"/>
                    <a:pt x="6324" y="7995"/>
                  </a:cubicBezTo>
                  <a:cubicBezTo>
                    <a:pt x="6250" y="8003"/>
                    <a:pt x="6133" y="8060"/>
                    <a:pt x="6060" y="8099"/>
                  </a:cubicBezTo>
                  <a:cubicBezTo>
                    <a:pt x="5989" y="8142"/>
                    <a:pt x="5883" y="8231"/>
                    <a:pt x="5827" y="8298"/>
                  </a:cubicBezTo>
                  <a:cubicBezTo>
                    <a:pt x="5775" y="8369"/>
                    <a:pt x="5698" y="8404"/>
                    <a:pt x="5667" y="8396"/>
                  </a:cubicBezTo>
                  <a:cubicBezTo>
                    <a:pt x="5634" y="8386"/>
                    <a:pt x="5600" y="8348"/>
                    <a:pt x="5584" y="8317"/>
                  </a:cubicBezTo>
                  <a:cubicBezTo>
                    <a:pt x="5573" y="8281"/>
                    <a:pt x="5557" y="8170"/>
                    <a:pt x="5564" y="8067"/>
                  </a:cubicBezTo>
                  <a:cubicBezTo>
                    <a:pt x="5572" y="7962"/>
                    <a:pt x="5561" y="7844"/>
                    <a:pt x="5537" y="7816"/>
                  </a:cubicBezTo>
                  <a:cubicBezTo>
                    <a:pt x="5514" y="7787"/>
                    <a:pt x="5440" y="7738"/>
                    <a:pt x="5362" y="7719"/>
                  </a:cubicBezTo>
                  <a:cubicBezTo>
                    <a:pt x="5285" y="7701"/>
                    <a:pt x="5175" y="7690"/>
                    <a:pt x="5119" y="7702"/>
                  </a:cubicBezTo>
                  <a:cubicBezTo>
                    <a:pt x="5062" y="7702"/>
                    <a:pt x="4985" y="7690"/>
                    <a:pt x="4949" y="7655"/>
                  </a:cubicBezTo>
                  <a:cubicBezTo>
                    <a:pt x="4911" y="7628"/>
                    <a:pt x="4882" y="7615"/>
                    <a:pt x="4882" y="7639"/>
                  </a:cubicBezTo>
                  <a:cubicBezTo>
                    <a:pt x="4882" y="7660"/>
                    <a:pt x="4873" y="7714"/>
                    <a:pt x="4866" y="7756"/>
                  </a:cubicBezTo>
                  <a:cubicBezTo>
                    <a:pt x="4866" y="7800"/>
                    <a:pt x="4829" y="7872"/>
                    <a:pt x="4799" y="7917"/>
                  </a:cubicBezTo>
                  <a:cubicBezTo>
                    <a:pt x="4768" y="7964"/>
                    <a:pt x="4764" y="8196"/>
                    <a:pt x="4764" y="8433"/>
                  </a:cubicBezTo>
                  <a:cubicBezTo>
                    <a:pt x="4780" y="8669"/>
                    <a:pt x="4767" y="9033"/>
                    <a:pt x="4735" y="9240"/>
                  </a:cubicBezTo>
                  <a:cubicBezTo>
                    <a:pt x="4698" y="9445"/>
                    <a:pt x="4675" y="9717"/>
                    <a:pt x="4667" y="9842"/>
                  </a:cubicBezTo>
                  <a:cubicBezTo>
                    <a:pt x="4652" y="9964"/>
                    <a:pt x="4689" y="10145"/>
                    <a:pt x="4731" y="10247"/>
                  </a:cubicBezTo>
                  <a:cubicBezTo>
                    <a:pt x="4770" y="10350"/>
                    <a:pt x="4814" y="10504"/>
                    <a:pt x="4806" y="10598"/>
                  </a:cubicBezTo>
                  <a:cubicBezTo>
                    <a:pt x="4798" y="10692"/>
                    <a:pt x="4764" y="10814"/>
                    <a:pt x="4718" y="10859"/>
                  </a:cubicBezTo>
                  <a:cubicBezTo>
                    <a:pt x="4676" y="10910"/>
                    <a:pt x="4605" y="11084"/>
                    <a:pt x="4567" y="11247"/>
                  </a:cubicBezTo>
                  <a:cubicBezTo>
                    <a:pt x="4529" y="11410"/>
                    <a:pt x="4513" y="11591"/>
                    <a:pt x="4542" y="11645"/>
                  </a:cubicBezTo>
                  <a:cubicBezTo>
                    <a:pt x="4567" y="11703"/>
                    <a:pt x="3727" y="11860"/>
                    <a:pt x="2667" y="11999"/>
                  </a:cubicBezTo>
                  <a:cubicBezTo>
                    <a:pt x="1603" y="12138"/>
                    <a:pt x="608" y="13426"/>
                    <a:pt x="445" y="14865"/>
                  </a:cubicBezTo>
                  <a:cubicBezTo>
                    <a:pt x="382" y="15396"/>
                    <a:pt x="331" y="15928"/>
                    <a:pt x="267" y="16455"/>
                  </a:cubicBezTo>
                  <a:cubicBezTo>
                    <a:pt x="114" y="17873"/>
                    <a:pt x="-13" y="19077"/>
                    <a:pt x="1" y="19145"/>
                  </a:cubicBezTo>
                  <a:cubicBezTo>
                    <a:pt x="24" y="19210"/>
                    <a:pt x="74" y="19338"/>
                    <a:pt x="133" y="19419"/>
                  </a:cubicBezTo>
                  <a:cubicBezTo>
                    <a:pt x="192" y="19499"/>
                    <a:pt x="285" y="19604"/>
                    <a:pt x="331" y="19661"/>
                  </a:cubicBezTo>
                  <a:cubicBezTo>
                    <a:pt x="382" y="19712"/>
                    <a:pt x="453" y="19797"/>
                    <a:pt x="490" y="19851"/>
                  </a:cubicBezTo>
                  <a:cubicBezTo>
                    <a:pt x="521" y="19909"/>
                    <a:pt x="607" y="19969"/>
                    <a:pt x="665" y="20004"/>
                  </a:cubicBezTo>
                  <a:cubicBezTo>
                    <a:pt x="726" y="20034"/>
                    <a:pt x="837" y="20165"/>
                    <a:pt x="929" y="20277"/>
                  </a:cubicBezTo>
                  <a:cubicBezTo>
                    <a:pt x="1017" y="20392"/>
                    <a:pt x="1129" y="20541"/>
                    <a:pt x="1187" y="20591"/>
                  </a:cubicBezTo>
                  <a:cubicBezTo>
                    <a:pt x="1249" y="20638"/>
                    <a:pt x="1347" y="20717"/>
                    <a:pt x="1420" y="20727"/>
                  </a:cubicBezTo>
                  <a:cubicBezTo>
                    <a:pt x="1489" y="20752"/>
                    <a:pt x="1572" y="20809"/>
                    <a:pt x="1601" y="20862"/>
                  </a:cubicBezTo>
                  <a:cubicBezTo>
                    <a:pt x="1634" y="20912"/>
                    <a:pt x="1696" y="21016"/>
                    <a:pt x="1748" y="21086"/>
                  </a:cubicBezTo>
                  <a:cubicBezTo>
                    <a:pt x="1793" y="21160"/>
                    <a:pt x="1885" y="21236"/>
                    <a:pt x="1943" y="21253"/>
                  </a:cubicBezTo>
                  <a:cubicBezTo>
                    <a:pt x="2001" y="21270"/>
                    <a:pt x="2058" y="21361"/>
                    <a:pt x="2080" y="21442"/>
                  </a:cubicBezTo>
                  <a:cubicBezTo>
                    <a:pt x="2096" y="21524"/>
                    <a:pt x="2500" y="21439"/>
                    <a:pt x="2969" y="21261"/>
                  </a:cubicBezTo>
                  <a:cubicBezTo>
                    <a:pt x="3438" y="21082"/>
                    <a:pt x="3861" y="20938"/>
                    <a:pt x="3910" y="20928"/>
                  </a:cubicBezTo>
                  <a:cubicBezTo>
                    <a:pt x="3961" y="20928"/>
                    <a:pt x="4094" y="20889"/>
                    <a:pt x="4207" y="20840"/>
                  </a:cubicBezTo>
                  <a:cubicBezTo>
                    <a:pt x="4321" y="20795"/>
                    <a:pt x="4440" y="20757"/>
                    <a:pt x="4465" y="20777"/>
                  </a:cubicBezTo>
                  <a:cubicBezTo>
                    <a:pt x="4494" y="20789"/>
                    <a:pt x="4537" y="20794"/>
                    <a:pt x="4557" y="20794"/>
                  </a:cubicBezTo>
                  <a:cubicBezTo>
                    <a:pt x="4576" y="20787"/>
                    <a:pt x="4618" y="20810"/>
                    <a:pt x="4648" y="20832"/>
                  </a:cubicBezTo>
                  <a:cubicBezTo>
                    <a:pt x="4680" y="20851"/>
                    <a:pt x="4744" y="20859"/>
                    <a:pt x="4797" y="20859"/>
                  </a:cubicBezTo>
                  <a:cubicBezTo>
                    <a:pt x="4849" y="20850"/>
                    <a:pt x="4917" y="20846"/>
                    <a:pt x="4936" y="20869"/>
                  </a:cubicBezTo>
                  <a:cubicBezTo>
                    <a:pt x="4961" y="20877"/>
                    <a:pt x="4996" y="20900"/>
                    <a:pt x="5017" y="20909"/>
                  </a:cubicBezTo>
                  <a:cubicBezTo>
                    <a:pt x="5039" y="20917"/>
                    <a:pt x="5111" y="20982"/>
                    <a:pt x="5162" y="21070"/>
                  </a:cubicBezTo>
                  <a:cubicBezTo>
                    <a:pt x="5212" y="21159"/>
                    <a:pt x="5307" y="21213"/>
                    <a:pt x="5356" y="21213"/>
                  </a:cubicBezTo>
                  <a:cubicBezTo>
                    <a:pt x="5403" y="21205"/>
                    <a:pt x="5536" y="21205"/>
                    <a:pt x="5648" y="21205"/>
                  </a:cubicBezTo>
                  <a:cubicBezTo>
                    <a:pt x="5762" y="21195"/>
                    <a:pt x="5921" y="21225"/>
                    <a:pt x="6001" y="21263"/>
                  </a:cubicBezTo>
                  <a:cubicBezTo>
                    <a:pt x="6078" y="21309"/>
                    <a:pt x="6179" y="21361"/>
                    <a:pt x="6222" y="21392"/>
                  </a:cubicBezTo>
                  <a:cubicBezTo>
                    <a:pt x="6265" y="21426"/>
                    <a:pt x="6336" y="21459"/>
                    <a:pt x="6383" y="21450"/>
                  </a:cubicBezTo>
                  <a:cubicBezTo>
                    <a:pt x="6429" y="21440"/>
                    <a:pt x="6544" y="21379"/>
                    <a:pt x="6635" y="21298"/>
                  </a:cubicBezTo>
                  <a:cubicBezTo>
                    <a:pt x="6729" y="21220"/>
                    <a:pt x="6890" y="21132"/>
                    <a:pt x="6996" y="21097"/>
                  </a:cubicBezTo>
                  <a:cubicBezTo>
                    <a:pt x="7104" y="21069"/>
                    <a:pt x="7226" y="21054"/>
                    <a:pt x="7270" y="21072"/>
                  </a:cubicBezTo>
                  <a:cubicBezTo>
                    <a:pt x="7311" y="21097"/>
                    <a:pt x="7368" y="21093"/>
                    <a:pt x="7391" y="21093"/>
                  </a:cubicBezTo>
                  <a:cubicBezTo>
                    <a:pt x="7413" y="21084"/>
                    <a:pt x="7455" y="21086"/>
                    <a:pt x="7482" y="21097"/>
                  </a:cubicBezTo>
                  <a:cubicBezTo>
                    <a:pt x="7509" y="21107"/>
                    <a:pt x="7539" y="21118"/>
                    <a:pt x="7549" y="21124"/>
                  </a:cubicBezTo>
                  <a:cubicBezTo>
                    <a:pt x="7556" y="21132"/>
                    <a:pt x="7615" y="21179"/>
                    <a:pt x="7682" y="21223"/>
                  </a:cubicBezTo>
                  <a:cubicBezTo>
                    <a:pt x="7748" y="21268"/>
                    <a:pt x="7869" y="21311"/>
                    <a:pt x="7953" y="21329"/>
                  </a:cubicBezTo>
                  <a:cubicBezTo>
                    <a:pt x="8039" y="21339"/>
                    <a:pt x="8219" y="21293"/>
                    <a:pt x="8351" y="21223"/>
                  </a:cubicBezTo>
                  <a:cubicBezTo>
                    <a:pt x="8487" y="21166"/>
                    <a:pt x="8726" y="20898"/>
                    <a:pt x="8894" y="20649"/>
                  </a:cubicBezTo>
                  <a:cubicBezTo>
                    <a:pt x="9056" y="20395"/>
                    <a:pt x="9410" y="19912"/>
                    <a:pt x="9666" y="19559"/>
                  </a:cubicBezTo>
                  <a:cubicBezTo>
                    <a:pt x="9919" y="19200"/>
                    <a:pt x="10383" y="18707"/>
                    <a:pt x="10684" y="18448"/>
                  </a:cubicBezTo>
                  <a:cubicBezTo>
                    <a:pt x="10984" y="18189"/>
                    <a:pt x="11370" y="17914"/>
                    <a:pt x="11530" y="17813"/>
                  </a:cubicBezTo>
                  <a:cubicBezTo>
                    <a:pt x="11691" y="17712"/>
                    <a:pt x="11868" y="17612"/>
                    <a:pt x="11912" y="17568"/>
                  </a:cubicBezTo>
                  <a:cubicBezTo>
                    <a:pt x="11953" y="17519"/>
                    <a:pt x="11998" y="17452"/>
                    <a:pt x="12014" y="17413"/>
                  </a:cubicBezTo>
                  <a:cubicBezTo>
                    <a:pt x="12028" y="17374"/>
                    <a:pt x="12036" y="17301"/>
                    <a:pt x="12028" y="17254"/>
                  </a:cubicBezTo>
                  <a:cubicBezTo>
                    <a:pt x="12021" y="17209"/>
                    <a:pt x="12047" y="17123"/>
                    <a:pt x="12076" y="17064"/>
                  </a:cubicBezTo>
                  <a:cubicBezTo>
                    <a:pt x="12112" y="17011"/>
                    <a:pt x="12124" y="16919"/>
                    <a:pt x="12116" y="16874"/>
                  </a:cubicBezTo>
                  <a:cubicBezTo>
                    <a:pt x="12108" y="16826"/>
                    <a:pt x="12145" y="16719"/>
                    <a:pt x="12189" y="16631"/>
                  </a:cubicBezTo>
                  <a:cubicBezTo>
                    <a:pt x="12238" y="16545"/>
                    <a:pt x="12392" y="16394"/>
                    <a:pt x="12529" y="16291"/>
                  </a:cubicBezTo>
                  <a:cubicBezTo>
                    <a:pt x="12667" y="16190"/>
                    <a:pt x="12845" y="16085"/>
                    <a:pt x="12921" y="16040"/>
                  </a:cubicBezTo>
                  <a:cubicBezTo>
                    <a:pt x="12997" y="16003"/>
                    <a:pt x="13115" y="15939"/>
                    <a:pt x="13179" y="15888"/>
                  </a:cubicBezTo>
                  <a:cubicBezTo>
                    <a:pt x="13247" y="15847"/>
                    <a:pt x="13380" y="15757"/>
                    <a:pt x="13482" y="15701"/>
                  </a:cubicBezTo>
                  <a:cubicBezTo>
                    <a:pt x="13584" y="15649"/>
                    <a:pt x="13768" y="15592"/>
                    <a:pt x="13892" y="15566"/>
                  </a:cubicBezTo>
                  <a:cubicBezTo>
                    <a:pt x="14018" y="15548"/>
                    <a:pt x="14133" y="15559"/>
                    <a:pt x="14153" y="15583"/>
                  </a:cubicBezTo>
                  <a:cubicBezTo>
                    <a:pt x="14170" y="15613"/>
                    <a:pt x="14229" y="15629"/>
                    <a:pt x="14275" y="15605"/>
                  </a:cubicBezTo>
                  <a:cubicBezTo>
                    <a:pt x="14324" y="15589"/>
                    <a:pt x="14440" y="15575"/>
                    <a:pt x="14532" y="15575"/>
                  </a:cubicBezTo>
                  <a:cubicBezTo>
                    <a:pt x="14625" y="15565"/>
                    <a:pt x="14734" y="15564"/>
                    <a:pt x="14771" y="15547"/>
                  </a:cubicBezTo>
                  <a:cubicBezTo>
                    <a:pt x="14809" y="15528"/>
                    <a:pt x="14862" y="15528"/>
                    <a:pt x="14875" y="15512"/>
                  </a:cubicBezTo>
                  <a:cubicBezTo>
                    <a:pt x="14886" y="15512"/>
                    <a:pt x="14895" y="15492"/>
                    <a:pt x="14901" y="15466"/>
                  </a:cubicBezTo>
                  <a:cubicBezTo>
                    <a:pt x="14905" y="15287"/>
                    <a:pt x="14904" y="15109"/>
                    <a:pt x="14894" y="15004"/>
                  </a:cubicBezTo>
                  <a:cubicBezTo>
                    <a:pt x="14879" y="14842"/>
                    <a:pt x="14910" y="14640"/>
                    <a:pt x="14955" y="14549"/>
                  </a:cubicBezTo>
                  <a:cubicBezTo>
                    <a:pt x="15001" y="14457"/>
                    <a:pt x="15199" y="14265"/>
                    <a:pt x="15393" y="14131"/>
                  </a:cubicBezTo>
                  <a:cubicBezTo>
                    <a:pt x="15580" y="13982"/>
                    <a:pt x="15820" y="13862"/>
                    <a:pt x="15914" y="13845"/>
                  </a:cubicBezTo>
                  <a:cubicBezTo>
                    <a:pt x="16010" y="13836"/>
                    <a:pt x="16487" y="13556"/>
                    <a:pt x="16979" y="13246"/>
                  </a:cubicBezTo>
                  <a:cubicBezTo>
                    <a:pt x="17471" y="12937"/>
                    <a:pt x="17935" y="12643"/>
                    <a:pt x="18021" y="12615"/>
                  </a:cubicBezTo>
                  <a:cubicBezTo>
                    <a:pt x="18107" y="12587"/>
                    <a:pt x="18404" y="12404"/>
                    <a:pt x="18691" y="12228"/>
                  </a:cubicBezTo>
                  <a:cubicBezTo>
                    <a:pt x="18976" y="12052"/>
                    <a:pt x="19318" y="11836"/>
                    <a:pt x="19459" y="11762"/>
                  </a:cubicBezTo>
                  <a:cubicBezTo>
                    <a:pt x="19546" y="11706"/>
                    <a:pt x="19627" y="11664"/>
                    <a:pt x="19675" y="11640"/>
                  </a:cubicBezTo>
                  <a:cubicBezTo>
                    <a:pt x="19690" y="11633"/>
                    <a:pt x="19704" y="11626"/>
                    <a:pt x="19718" y="11618"/>
                  </a:cubicBezTo>
                  <a:lnTo>
                    <a:pt x="19720" y="11618"/>
                  </a:lnTo>
                  <a:cubicBezTo>
                    <a:pt x="19725" y="11618"/>
                    <a:pt x="19724" y="11573"/>
                    <a:pt x="19724" y="11521"/>
                  </a:cubicBezTo>
                  <a:cubicBezTo>
                    <a:pt x="19717" y="11472"/>
                    <a:pt x="19697" y="11351"/>
                    <a:pt x="19673" y="11253"/>
                  </a:cubicBezTo>
                  <a:cubicBezTo>
                    <a:pt x="19655" y="11152"/>
                    <a:pt x="19580" y="11011"/>
                    <a:pt x="19534" y="10926"/>
                  </a:cubicBezTo>
                  <a:cubicBezTo>
                    <a:pt x="19485" y="10842"/>
                    <a:pt x="19434" y="10736"/>
                    <a:pt x="19427" y="10687"/>
                  </a:cubicBezTo>
                  <a:cubicBezTo>
                    <a:pt x="19427" y="10636"/>
                    <a:pt x="19455" y="10567"/>
                    <a:pt x="19504" y="10528"/>
                  </a:cubicBezTo>
                  <a:cubicBezTo>
                    <a:pt x="19553" y="10489"/>
                    <a:pt x="19663" y="10370"/>
                    <a:pt x="19741" y="10259"/>
                  </a:cubicBezTo>
                  <a:cubicBezTo>
                    <a:pt x="19819" y="10149"/>
                    <a:pt x="19894" y="9997"/>
                    <a:pt x="19904" y="9918"/>
                  </a:cubicBezTo>
                  <a:cubicBezTo>
                    <a:pt x="19919" y="9842"/>
                    <a:pt x="19942" y="9730"/>
                    <a:pt x="19959" y="9667"/>
                  </a:cubicBezTo>
                  <a:cubicBezTo>
                    <a:pt x="19975" y="9605"/>
                    <a:pt x="19992" y="9522"/>
                    <a:pt x="19985" y="9479"/>
                  </a:cubicBezTo>
                  <a:cubicBezTo>
                    <a:pt x="19985" y="9434"/>
                    <a:pt x="19966" y="9335"/>
                    <a:pt x="19982" y="9260"/>
                  </a:cubicBezTo>
                  <a:cubicBezTo>
                    <a:pt x="19982" y="9181"/>
                    <a:pt x="20018" y="9081"/>
                    <a:pt x="20038" y="9032"/>
                  </a:cubicBezTo>
                  <a:cubicBezTo>
                    <a:pt x="20071" y="8993"/>
                    <a:pt x="20172" y="8856"/>
                    <a:pt x="20283" y="8751"/>
                  </a:cubicBezTo>
                  <a:cubicBezTo>
                    <a:pt x="20393" y="8646"/>
                    <a:pt x="20542" y="8524"/>
                    <a:pt x="20604" y="8468"/>
                  </a:cubicBezTo>
                  <a:cubicBezTo>
                    <a:pt x="20676" y="8436"/>
                    <a:pt x="20753" y="8333"/>
                    <a:pt x="20781" y="8273"/>
                  </a:cubicBezTo>
                  <a:cubicBezTo>
                    <a:pt x="20814" y="8214"/>
                    <a:pt x="20873" y="8141"/>
                    <a:pt x="20918" y="8124"/>
                  </a:cubicBezTo>
                  <a:cubicBezTo>
                    <a:pt x="20960" y="8099"/>
                    <a:pt x="21002" y="8050"/>
                    <a:pt x="20995" y="8011"/>
                  </a:cubicBezTo>
                  <a:cubicBezTo>
                    <a:pt x="20987" y="7971"/>
                    <a:pt x="20954" y="7916"/>
                    <a:pt x="20912" y="7882"/>
                  </a:cubicBezTo>
                  <a:cubicBezTo>
                    <a:pt x="20871" y="7846"/>
                    <a:pt x="20839" y="7786"/>
                    <a:pt x="20832" y="7735"/>
                  </a:cubicBezTo>
                  <a:cubicBezTo>
                    <a:pt x="20825" y="7685"/>
                    <a:pt x="20825" y="7586"/>
                    <a:pt x="20811" y="7517"/>
                  </a:cubicBezTo>
                  <a:cubicBezTo>
                    <a:pt x="20795" y="7450"/>
                    <a:pt x="20809" y="7364"/>
                    <a:pt x="20838" y="7337"/>
                  </a:cubicBezTo>
                  <a:cubicBezTo>
                    <a:pt x="20860" y="7302"/>
                    <a:pt x="20908" y="7233"/>
                    <a:pt x="20930" y="7170"/>
                  </a:cubicBezTo>
                  <a:cubicBezTo>
                    <a:pt x="20963" y="7115"/>
                    <a:pt x="20949" y="6994"/>
                    <a:pt x="20920" y="6914"/>
                  </a:cubicBezTo>
                  <a:cubicBezTo>
                    <a:pt x="20887" y="6835"/>
                    <a:pt x="20897" y="6702"/>
                    <a:pt x="20944" y="6627"/>
                  </a:cubicBezTo>
                  <a:cubicBezTo>
                    <a:pt x="20983" y="6543"/>
                    <a:pt x="21009" y="6431"/>
                    <a:pt x="21009" y="6366"/>
                  </a:cubicBezTo>
                  <a:cubicBezTo>
                    <a:pt x="21002" y="6301"/>
                    <a:pt x="20997" y="6182"/>
                    <a:pt x="20997" y="6097"/>
                  </a:cubicBezTo>
                  <a:cubicBezTo>
                    <a:pt x="20997" y="6014"/>
                    <a:pt x="20993" y="5867"/>
                    <a:pt x="20967" y="5778"/>
                  </a:cubicBezTo>
                  <a:cubicBezTo>
                    <a:pt x="20959" y="5683"/>
                    <a:pt x="20956" y="5531"/>
                    <a:pt x="20980" y="5434"/>
                  </a:cubicBezTo>
                  <a:cubicBezTo>
                    <a:pt x="21006" y="5339"/>
                    <a:pt x="21120" y="5140"/>
                    <a:pt x="21235" y="4991"/>
                  </a:cubicBezTo>
                  <a:cubicBezTo>
                    <a:pt x="21351" y="4844"/>
                    <a:pt x="21451" y="4699"/>
                    <a:pt x="21451" y="4665"/>
                  </a:cubicBezTo>
                  <a:cubicBezTo>
                    <a:pt x="21460" y="4634"/>
                    <a:pt x="21476" y="4567"/>
                    <a:pt x="21508" y="4529"/>
                  </a:cubicBezTo>
                  <a:cubicBezTo>
                    <a:pt x="21527" y="4481"/>
                    <a:pt x="21564" y="4355"/>
                    <a:pt x="21572" y="4236"/>
                  </a:cubicBezTo>
                  <a:cubicBezTo>
                    <a:pt x="21587" y="4121"/>
                    <a:pt x="21564" y="3960"/>
                    <a:pt x="21557" y="3879"/>
                  </a:cubicBezTo>
                  <a:cubicBezTo>
                    <a:pt x="21543" y="3799"/>
                    <a:pt x="21472" y="3687"/>
                    <a:pt x="21403" y="3631"/>
                  </a:cubicBezTo>
                  <a:cubicBezTo>
                    <a:pt x="21331" y="3579"/>
                    <a:pt x="21272" y="3484"/>
                    <a:pt x="21272" y="3430"/>
                  </a:cubicBezTo>
                  <a:cubicBezTo>
                    <a:pt x="21264" y="3376"/>
                    <a:pt x="21324" y="3211"/>
                    <a:pt x="21384" y="3056"/>
                  </a:cubicBezTo>
                  <a:cubicBezTo>
                    <a:pt x="21448" y="2902"/>
                    <a:pt x="21512" y="2745"/>
                    <a:pt x="21519" y="2703"/>
                  </a:cubicBezTo>
                  <a:cubicBezTo>
                    <a:pt x="21519" y="2661"/>
                    <a:pt x="21488" y="2621"/>
                    <a:pt x="21437" y="2604"/>
                  </a:cubicBezTo>
                  <a:cubicBezTo>
                    <a:pt x="21385" y="2586"/>
                    <a:pt x="21295" y="2544"/>
                    <a:pt x="21234" y="2513"/>
                  </a:cubicBezTo>
                  <a:cubicBezTo>
                    <a:pt x="21178" y="2473"/>
                    <a:pt x="21114" y="2383"/>
                    <a:pt x="21105" y="2306"/>
                  </a:cubicBezTo>
                  <a:cubicBezTo>
                    <a:pt x="21091" y="2228"/>
                    <a:pt x="21065" y="2136"/>
                    <a:pt x="21034" y="2117"/>
                  </a:cubicBezTo>
                  <a:cubicBezTo>
                    <a:pt x="21005" y="2092"/>
                    <a:pt x="20968" y="2006"/>
                    <a:pt x="20953" y="1927"/>
                  </a:cubicBezTo>
                  <a:cubicBezTo>
                    <a:pt x="20953" y="1926"/>
                    <a:pt x="20953" y="1924"/>
                    <a:pt x="20953" y="1923"/>
                  </a:cubicBezTo>
                  <a:cubicBezTo>
                    <a:pt x="20952" y="1920"/>
                    <a:pt x="20951" y="1918"/>
                    <a:pt x="20951" y="1915"/>
                  </a:cubicBezTo>
                  <a:cubicBezTo>
                    <a:pt x="20935" y="1828"/>
                    <a:pt x="20890" y="1760"/>
                    <a:pt x="20855" y="1769"/>
                  </a:cubicBezTo>
                  <a:cubicBezTo>
                    <a:pt x="20818" y="1769"/>
                    <a:pt x="20731" y="1700"/>
                    <a:pt x="20662" y="1599"/>
                  </a:cubicBezTo>
                  <a:cubicBezTo>
                    <a:pt x="20586" y="1509"/>
                    <a:pt x="20514" y="1352"/>
                    <a:pt x="20499" y="1264"/>
                  </a:cubicBezTo>
                  <a:cubicBezTo>
                    <a:pt x="20473" y="1181"/>
                    <a:pt x="20414" y="1102"/>
                    <a:pt x="20358" y="1102"/>
                  </a:cubicBezTo>
                  <a:cubicBezTo>
                    <a:pt x="20301" y="1092"/>
                    <a:pt x="20226" y="1060"/>
                    <a:pt x="20191" y="1018"/>
                  </a:cubicBezTo>
                  <a:cubicBezTo>
                    <a:pt x="20155" y="975"/>
                    <a:pt x="20086" y="933"/>
                    <a:pt x="20039" y="953"/>
                  </a:cubicBezTo>
                  <a:cubicBezTo>
                    <a:pt x="19988" y="953"/>
                    <a:pt x="19785" y="927"/>
                    <a:pt x="19590" y="858"/>
                  </a:cubicBezTo>
                  <a:cubicBezTo>
                    <a:pt x="19390" y="803"/>
                    <a:pt x="19158" y="760"/>
                    <a:pt x="19071" y="769"/>
                  </a:cubicBezTo>
                  <a:cubicBezTo>
                    <a:pt x="18987" y="779"/>
                    <a:pt x="18885" y="722"/>
                    <a:pt x="18826" y="678"/>
                  </a:cubicBezTo>
                  <a:cubicBezTo>
                    <a:pt x="18777" y="620"/>
                    <a:pt x="18741" y="534"/>
                    <a:pt x="18732" y="491"/>
                  </a:cubicBezTo>
                  <a:cubicBezTo>
                    <a:pt x="18725" y="448"/>
                    <a:pt x="18680" y="368"/>
                    <a:pt x="18619" y="323"/>
                  </a:cubicBezTo>
                  <a:cubicBezTo>
                    <a:pt x="18554" y="280"/>
                    <a:pt x="18470" y="237"/>
                    <a:pt x="18424" y="247"/>
                  </a:cubicBezTo>
                  <a:cubicBezTo>
                    <a:pt x="18377" y="256"/>
                    <a:pt x="18284" y="243"/>
                    <a:pt x="18217" y="217"/>
                  </a:cubicBezTo>
                  <a:cubicBezTo>
                    <a:pt x="18149" y="207"/>
                    <a:pt x="18042" y="185"/>
                    <a:pt x="17974" y="193"/>
                  </a:cubicBezTo>
                  <a:cubicBezTo>
                    <a:pt x="17909" y="211"/>
                    <a:pt x="17734" y="155"/>
                    <a:pt x="17589" y="82"/>
                  </a:cubicBezTo>
                  <a:cubicBezTo>
                    <a:pt x="17586" y="81"/>
                    <a:pt x="17582" y="76"/>
                    <a:pt x="17579" y="74"/>
                  </a:cubicBezTo>
                  <a:cubicBezTo>
                    <a:pt x="17544" y="59"/>
                    <a:pt x="17510" y="44"/>
                    <a:pt x="17476" y="26"/>
                  </a:cubicBezTo>
                  <a:cubicBezTo>
                    <a:pt x="17268" y="-76"/>
                    <a:pt x="16457" y="126"/>
                    <a:pt x="15669" y="460"/>
                  </a:cubicBezTo>
                  <a:close/>
                  <a:moveTo>
                    <a:pt x="15669" y="4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1" name="AutoShape 883"/>
            <p:cNvSpPr>
              <a:spLocks/>
            </p:cNvSpPr>
            <p:nvPr/>
          </p:nvSpPr>
          <p:spPr bwMode="auto">
            <a:xfrm>
              <a:off x="8750300" y="5905500"/>
              <a:ext cx="7938" cy="1588"/>
            </a:xfrm>
            <a:custGeom>
              <a:avLst/>
              <a:gdLst/>
              <a:ahLst/>
              <a:cxnLst/>
              <a:rect l="0" t="0" r="r" b="b"/>
              <a:pathLst>
                <a:path w="21600" h="19348">
                  <a:moveTo>
                    <a:pt x="21600" y="18841"/>
                  </a:moveTo>
                  <a:cubicBezTo>
                    <a:pt x="18647" y="21205"/>
                    <a:pt x="9510" y="12527"/>
                    <a:pt x="0" y="0"/>
                  </a:cubicBezTo>
                  <a:cubicBezTo>
                    <a:pt x="172" y="293"/>
                    <a:pt x="369" y="980"/>
                    <a:pt x="541" y="1181"/>
                  </a:cubicBezTo>
                  <a:cubicBezTo>
                    <a:pt x="8461" y="12730"/>
                    <a:pt x="18051" y="21600"/>
                    <a:pt x="21600" y="18841"/>
                  </a:cubicBezTo>
                  <a:close/>
                  <a:moveTo>
                    <a:pt x="21600" y="188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2" name="AutoShape 884"/>
            <p:cNvSpPr>
              <a:spLocks/>
            </p:cNvSpPr>
            <p:nvPr/>
          </p:nvSpPr>
          <p:spPr bwMode="auto">
            <a:xfrm>
              <a:off x="8826500" y="5943600"/>
              <a:ext cx="1588" cy="3175"/>
            </a:xfrm>
            <a:custGeom>
              <a:avLst/>
              <a:gdLst/>
              <a:ahLst/>
              <a:cxnLst/>
              <a:rect l="0" t="0" r="r" b="b"/>
              <a:pathLst>
                <a:path w="21600" h="21600">
                  <a:moveTo>
                    <a:pt x="0" y="419"/>
                  </a:moveTo>
                  <a:cubicBezTo>
                    <a:pt x="3904" y="9238"/>
                    <a:pt x="13932" y="18756"/>
                    <a:pt x="21600" y="21600"/>
                  </a:cubicBezTo>
                  <a:cubicBezTo>
                    <a:pt x="14220" y="18826"/>
                    <a:pt x="4461" y="9310"/>
                    <a:pt x="0" y="0"/>
                  </a:cubicBezTo>
                  <a:cubicBezTo>
                    <a:pt x="0" y="141"/>
                    <a:pt x="0" y="278"/>
                    <a:pt x="0" y="419"/>
                  </a:cubicBezTo>
                  <a:close/>
                  <a:moveTo>
                    <a:pt x="0" y="4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3" name="AutoShape 885"/>
            <p:cNvSpPr>
              <a:spLocks/>
            </p:cNvSpPr>
            <p:nvPr/>
          </p:nvSpPr>
          <p:spPr bwMode="auto">
            <a:xfrm>
              <a:off x="7861300" y="5854700"/>
              <a:ext cx="577850" cy="508000"/>
            </a:xfrm>
            <a:custGeom>
              <a:avLst/>
              <a:gdLst/>
              <a:ahLst/>
              <a:cxnLst/>
              <a:rect l="0" t="0" r="r" b="b"/>
              <a:pathLst>
                <a:path w="21600" h="21572">
                  <a:moveTo>
                    <a:pt x="306" y="21559"/>
                  </a:moveTo>
                  <a:cubicBezTo>
                    <a:pt x="325" y="21581"/>
                    <a:pt x="382" y="21572"/>
                    <a:pt x="424" y="21556"/>
                  </a:cubicBezTo>
                  <a:cubicBezTo>
                    <a:pt x="466" y="21539"/>
                    <a:pt x="516" y="21474"/>
                    <a:pt x="535" y="21417"/>
                  </a:cubicBezTo>
                  <a:cubicBezTo>
                    <a:pt x="548" y="21357"/>
                    <a:pt x="594" y="21298"/>
                    <a:pt x="621" y="21278"/>
                  </a:cubicBezTo>
                  <a:cubicBezTo>
                    <a:pt x="650" y="21265"/>
                    <a:pt x="767" y="21253"/>
                    <a:pt x="882" y="21261"/>
                  </a:cubicBezTo>
                  <a:cubicBezTo>
                    <a:pt x="998" y="21261"/>
                    <a:pt x="1142" y="21300"/>
                    <a:pt x="1204" y="21331"/>
                  </a:cubicBezTo>
                  <a:cubicBezTo>
                    <a:pt x="1266" y="21362"/>
                    <a:pt x="1357" y="21368"/>
                    <a:pt x="1394" y="21325"/>
                  </a:cubicBezTo>
                  <a:cubicBezTo>
                    <a:pt x="1437" y="21290"/>
                    <a:pt x="1491" y="21207"/>
                    <a:pt x="1505" y="21137"/>
                  </a:cubicBezTo>
                  <a:cubicBezTo>
                    <a:pt x="1525" y="21068"/>
                    <a:pt x="1657" y="20931"/>
                    <a:pt x="1797" y="20820"/>
                  </a:cubicBezTo>
                  <a:cubicBezTo>
                    <a:pt x="1937" y="20709"/>
                    <a:pt x="2105" y="20621"/>
                    <a:pt x="2165" y="20613"/>
                  </a:cubicBezTo>
                  <a:cubicBezTo>
                    <a:pt x="2227" y="20613"/>
                    <a:pt x="2336" y="20616"/>
                    <a:pt x="2406" y="20647"/>
                  </a:cubicBezTo>
                  <a:cubicBezTo>
                    <a:pt x="2476" y="20679"/>
                    <a:pt x="2554" y="20708"/>
                    <a:pt x="2575" y="20724"/>
                  </a:cubicBezTo>
                  <a:cubicBezTo>
                    <a:pt x="2597" y="20732"/>
                    <a:pt x="2636" y="20727"/>
                    <a:pt x="2667" y="20699"/>
                  </a:cubicBezTo>
                  <a:cubicBezTo>
                    <a:pt x="2702" y="20674"/>
                    <a:pt x="2756" y="20641"/>
                    <a:pt x="2789" y="20618"/>
                  </a:cubicBezTo>
                  <a:cubicBezTo>
                    <a:pt x="2828" y="20610"/>
                    <a:pt x="2903" y="20611"/>
                    <a:pt x="2960" y="20640"/>
                  </a:cubicBezTo>
                  <a:cubicBezTo>
                    <a:pt x="3019" y="20665"/>
                    <a:pt x="3074" y="20713"/>
                    <a:pt x="3074" y="20742"/>
                  </a:cubicBezTo>
                  <a:cubicBezTo>
                    <a:pt x="3081" y="20771"/>
                    <a:pt x="3126" y="20807"/>
                    <a:pt x="3177" y="20823"/>
                  </a:cubicBezTo>
                  <a:cubicBezTo>
                    <a:pt x="3229" y="20838"/>
                    <a:pt x="3264" y="20888"/>
                    <a:pt x="3247" y="20930"/>
                  </a:cubicBezTo>
                  <a:cubicBezTo>
                    <a:pt x="3235" y="20974"/>
                    <a:pt x="3244" y="21028"/>
                    <a:pt x="3273" y="21035"/>
                  </a:cubicBezTo>
                  <a:cubicBezTo>
                    <a:pt x="3302" y="21042"/>
                    <a:pt x="3396" y="21133"/>
                    <a:pt x="3495" y="21205"/>
                  </a:cubicBezTo>
                  <a:cubicBezTo>
                    <a:pt x="3592" y="21284"/>
                    <a:pt x="3751" y="21371"/>
                    <a:pt x="3849" y="21403"/>
                  </a:cubicBezTo>
                  <a:cubicBezTo>
                    <a:pt x="3948" y="21426"/>
                    <a:pt x="4089" y="21409"/>
                    <a:pt x="4172" y="21370"/>
                  </a:cubicBezTo>
                  <a:cubicBezTo>
                    <a:pt x="4249" y="21322"/>
                    <a:pt x="4328" y="21289"/>
                    <a:pt x="4347" y="21289"/>
                  </a:cubicBezTo>
                  <a:cubicBezTo>
                    <a:pt x="4365" y="21289"/>
                    <a:pt x="4438" y="21257"/>
                    <a:pt x="4501" y="21202"/>
                  </a:cubicBezTo>
                  <a:cubicBezTo>
                    <a:pt x="4567" y="21150"/>
                    <a:pt x="4661" y="21099"/>
                    <a:pt x="4709" y="21099"/>
                  </a:cubicBezTo>
                  <a:cubicBezTo>
                    <a:pt x="4757" y="21099"/>
                    <a:pt x="4817" y="21096"/>
                    <a:pt x="4843" y="21113"/>
                  </a:cubicBezTo>
                  <a:cubicBezTo>
                    <a:pt x="4868" y="21134"/>
                    <a:pt x="5854" y="21039"/>
                    <a:pt x="7025" y="20937"/>
                  </a:cubicBezTo>
                  <a:cubicBezTo>
                    <a:pt x="7688" y="20866"/>
                    <a:pt x="8350" y="20804"/>
                    <a:pt x="9010" y="20734"/>
                  </a:cubicBezTo>
                  <a:cubicBezTo>
                    <a:pt x="10167" y="20616"/>
                    <a:pt x="11130" y="20520"/>
                    <a:pt x="11156" y="20534"/>
                  </a:cubicBezTo>
                  <a:cubicBezTo>
                    <a:pt x="11172" y="20562"/>
                    <a:pt x="11225" y="20636"/>
                    <a:pt x="11271" y="20714"/>
                  </a:cubicBezTo>
                  <a:cubicBezTo>
                    <a:pt x="11313" y="20793"/>
                    <a:pt x="11372" y="20880"/>
                    <a:pt x="11398" y="20916"/>
                  </a:cubicBezTo>
                  <a:cubicBezTo>
                    <a:pt x="11430" y="20945"/>
                    <a:pt x="11525" y="20999"/>
                    <a:pt x="11612" y="21024"/>
                  </a:cubicBezTo>
                  <a:cubicBezTo>
                    <a:pt x="11698" y="21052"/>
                    <a:pt x="11845" y="21090"/>
                    <a:pt x="11940" y="21099"/>
                  </a:cubicBezTo>
                  <a:cubicBezTo>
                    <a:pt x="12035" y="21116"/>
                    <a:pt x="12169" y="21109"/>
                    <a:pt x="12236" y="21086"/>
                  </a:cubicBezTo>
                  <a:cubicBezTo>
                    <a:pt x="12303" y="21070"/>
                    <a:pt x="12399" y="21058"/>
                    <a:pt x="12444" y="21080"/>
                  </a:cubicBezTo>
                  <a:cubicBezTo>
                    <a:pt x="12493" y="21099"/>
                    <a:pt x="12532" y="21137"/>
                    <a:pt x="12551" y="21158"/>
                  </a:cubicBezTo>
                  <a:cubicBezTo>
                    <a:pt x="12559" y="21185"/>
                    <a:pt x="12616" y="21224"/>
                    <a:pt x="12676" y="21241"/>
                  </a:cubicBezTo>
                  <a:cubicBezTo>
                    <a:pt x="12734" y="21261"/>
                    <a:pt x="12841" y="21242"/>
                    <a:pt x="12904" y="21188"/>
                  </a:cubicBezTo>
                  <a:cubicBezTo>
                    <a:pt x="12973" y="21143"/>
                    <a:pt x="13095" y="21080"/>
                    <a:pt x="13174" y="21042"/>
                  </a:cubicBezTo>
                  <a:cubicBezTo>
                    <a:pt x="13254" y="21009"/>
                    <a:pt x="13410" y="20997"/>
                    <a:pt x="13517" y="21020"/>
                  </a:cubicBezTo>
                  <a:cubicBezTo>
                    <a:pt x="13624" y="21043"/>
                    <a:pt x="13761" y="21038"/>
                    <a:pt x="13824" y="21023"/>
                  </a:cubicBezTo>
                  <a:cubicBezTo>
                    <a:pt x="13882" y="21000"/>
                    <a:pt x="13950" y="20948"/>
                    <a:pt x="13966" y="20893"/>
                  </a:cubicBezTo>
                  <a:cubicBezTo>
                    <a:pt x="13982" y="20838"/>
                    <a:pt x="14018" y="20804"/>
                    <a:pt x="14042" y="20813"/>
                  </a:cubicBezTo>
                  <a:cubicBezTo>
                    <a:pt x="14064" y="20822"/>
                    <a:pt x="14124" y="20827"/>
                    <a:pt x="14175" y="20827"/>
                  </a:cubicBezTo>
                  <a:cubicBezTo>
                    <a:pt x="14224" y="20818"/>
                    <a:pt x="14344" y="20884"/>
                    <a:pt x="14427" y="20970"/>
                  </a:cubicBezTo>
                  <a:cubicBezTo>
                    <a:pt x="14515" y="21054"/>
                    <a:pt x="14645" y="21137"/>
                    <a:pt x="14715" y="21163"/>
                  </a:cubicBezTo>
                  <a:cubicBezTo>
                    <a:pt x="14784" y="21189"/>
                    <a:pt x="14918" y="21201"/>
                    <a:pt x="15010" y="21193"/>
                  </a:cubicBezTo>
                  <a:cubicBezTo>
                    <a:pt x="15101" y="21186"/>
                    <a:pt x="15207" y="21167"/>
                    <a:pt x="15241" y="21142"/>
                  </a:cubicBezTo>
                  <a:cubicBezTo>
                    <a:pt x="15276" y="21118"/>
                    <a:pt x="15310" y="21075"/>
                    <a:pt x="15317" y="21044"/>
                  </a:cubicBezTo>
                  <a:cubicBezTo>
                    <a:pt x="15317" y="21012"/>
                    <a:pt x="15368" y="20957"/>
                    <a:pt x="15422" y="20949"/>
                  </a:cubicBezTo>
                  <a:cubicBezTo>
                    <a:pt x="15471" y="20925"/>
                    <a:pt x="15550" y="20917"/>
                    <a:pt x="15592" y="20925"/>
                  </a:cubicBezTo>
                  <a:cubicBezTo>
                    <a:pt x="15637" y="20925"/>
                    <a:pt x="15694" y="20955"/>
                    <a:pt x="15726" y="20973"/>
                  </a:cubicBezTo>
                  <a:cubicBezTo>
                    <a:pt x="15754" y="20993"/>
                    <a:pt x="15809" y="20987"/>
                    <a:pt x="15847" y="20972"/>
                  </a:cubicBezTo>
                  <a:cubicBezTo>
                    <a:pt x="15886" y="20954"/>
                    <a:pt x="15942" y="20955"/>
                    <a:pt x="15957" y="20990"/>
                  </a:cubicBezTo>
                  <a:cubicBezTo>
                    <a:pt x="15977" y="21021"/>
                    <a:pt x="16025" y="21050"/>
                    <a:pt x="16060" y="21042"/>
                  </a:cubicBezTo>
                  <a:cubicBezTo>
                    <a:pt x="16094" y="21042"/>
                    <a:pt x="16137" y="21050"/>
                    <a:pt x="16158" y="21056"/>
                  </a:cubicBezTo>
                  <a:cubicBezTo>
                    <a:pt x="16175" y="21069"/>
                    <a:pt x="16227" y="21084"/>
                    <a:pt x="16264" y="21073"/>
                  </a:cubicBezTo>
                  <a:cubicBezTo>
                    <a:pt x="16303" y="21073"/>
                    <a:pt x="16365" y="21062"/>
                    <a:pt x="16401" y="21056"/>
                  </a:cubicBezTo>
                  <a:cubicBezTo>
                    <a:pt x="16440" y="21056"/>
                    <a:pt x="16494" y="21042"/>
                    <a:pt x="16520" y="21033"/>
                  </a:cubicBezTo>
                  <a:cubicBezTo>
                    <a:pt x="16522" y="21033"/>
                    <a:pt x="16534" y="21029"/>
                    <a:pt x="16545" y="21027"/>
                  </a:cubicBezTo>
                  <a:cubicBezTo>
                    <a:pt x="16572" y="21019"/>
                    <a:pt x="16621" y="21003"/>
                    <a:pt x="16689" y="20980"/>
                  </a:cubicBezTo>
                  <a:cubicBezTo>
                    <a:pt x="16919" y="20904"/>
                    <a:pt x="17358" y="20750"/>
                    <a:pt x="17854" y="20574"/>
                  </a:cubicBezTo>
                  <a:cubicBezTo>
                    <a:pt x="18557" y="20324"/>
                    <a:pt x="19112" y="20063"/>
                    <a:pt x="19098" y="19994"/>
                  </a:cubicBezTo>
                  <a:cubicBezTo>
                    <a:pt x="19078" y="19926"/>
                    <a:pt x="19027" y="19849"/>
                    <a:pt x="18976" y="19835"/>
                  </a:cubicBezTo>
                  <a:cubicBezTo>
                    <a:pt x="18924" y="19820"/>
                    <a:pt x="18842" y="19757"/>
                    <a:pt x="18801" y="19694"/>
                  </a:cubicBezTo>
                  <a:cubicBezTo>
                    <a:pt x="18755" y="19635"/>
                    <a:pt x="18700" y="19548"/>
                    <a:pt x="18671" y="19506"/>
                  </a:cubicBezTo>
                  <a:cubicBezTo>
                    <a:pt x="18644" y="19461"/>
                    <a:pt x="18571" y="19413"/>
                    <a:pt x="18509" y="19392"/>
                  </a:cubicBezTo>
                  <a:cubicBezTo>
                    <a:pt x="18443" y="19384"/>
                    <a:pt x="18356" y="19317"/>
                    <a:pt x="18301" y="19278"/>
                  </a:cubicBezTo>
                  <a:cubicBezTo>
                    <a:pt x="18249" y="19235"/>
                    <a:pt x="18150" y="19110"/>
                    <a:pt x="18071" y="19013"/>
                  </a:cubicBezTo>
                  <a:cubicBezTo>
                    <a:pt x="17988" y="18919"/>
                    <a:pt x="17889" y="18809"/>
                    <a:pt x="17835" y="18783"/>
                  </a:cubicBezTo>
                  <a:cubicBezTo>
                    <a:pt x="17783" y="18753"/>
                    <a:pt x="17707" y="18703"/>
                    <a:pt x="17679" y="18654"/>
                  </a:cubicBezTo>
                  <a:cubicBezTo>
                    <a:pt x="17646" y="18608"/>
                    <a:pt x="17583" y="18537"/>
                    <a:pt x="17537" y="18494"/>
                  </a:cubicBezTo>
                  <a:cubicBezTo>
                    <a:pt x="17495" y="18446"/>
                    <a:pt x="17413" y="18357"/>
                    <a:pt x="17360" y="18290"/>
                  </a:cubicBezTo>
                  <a:cubicBezTo>
                    <a:pt x="17308" y="18222"/>
                    <a:pt x="17263" y="18114"/>
                    <a:pt x="17242" y="18059"/>
                  </a:cubicBezTo>
                  <a:cubicBezTo>
                    <a:pt x="17230" y="18002"/>
                    <a:pt x="17343" y="16988"/>
                    <a:pt x="17480" y="15794"/>
                  </a:cubicBezTo>
                  <a:cubicBezTo>
                    <a:pt x="17537" y="15349"/>
                    <a:pt x="17582" y="14901"/>
                    <a:pt x="17639" y="14454"/>
                  </a:cubicBezTo>
                  <a:cubicBezTo>
                    <a:pt x="17784" y="13243"/>
                    <a:pt x="18673" y="12158"/>
                    <a:pt x="19622" y="12041"/>
                  </a:cubicBezTo>
                  <a:cubicBezTo>
                    <a:pt x="20568" y="11923"/>
                    <a:pt x="21318" y="11791"/>
                    <a:pt x="21296" y="11742"/>
                  </a:cubicBezTo>
                  <a:cubicBezTo>
                    <a:pt x="21269" y="11697"/>
                    <a:pt x="21284" y="11545"/>
                    <a:pt x="21318" y="11407"/>
                  </a:cubicBezTo>
                  <a:cubicBezTo>
                    <a:pt x="21352" y="11269"/>
                    <a:pt x="21415" y="11123"/>
                    <a:pt x="21453" y="11080"/>
                  </a:cubicBezTo>
                  <a:cubicBezTo>
                    <a:pt x="21493" y="11042"/>
                    <a:pt x="21524" y="10939"/>
                    <a:pt x="21531" y="10861"/>
                  </a:cubicBezTo>
                  <a:cubicBezTo>
                    <a:pt x="21538" y="10781"/>
                    <a:pt x="21499" y="10652"/>
                    <a:pt x="21465" y="10565"/>
                  </a:cubicBezTo>
                  <a:cubicBezTo>
                    <a:pt x="21427" y="10479"/>
                    <a:pt x="21394" y="10326"/>
                    <a:pt x="21408" y="10223"/>
                  </a:cubicBezTo>
                  <a:cubicBezTo>
                    <a:pt x="21415" y="10118"/>
                    <a:pt x="21435" y="9889"/>
                    <a:pt x="21468" y="9716"/>
                  </a:cubicBezTo>
                  <a:cubicBezTo>
                    <a:pt x="21496" y="9542"/>
                    <a:pt x="21508" y="9236"/>
                    <a:pt x="21494" y="9037"/>
                  </a:cubicBezTo>
                  <a:cubicBezTo>
                    <a:pt x="21494" y="8837"/>
                    <a:pt x="21497" y="8642"/>
                    <a:pt x="21525" y="8603"/>
                  </a:cubicBezTo>
                  <a:cubicBezTo>
                    <a:pt x="21552" y="8564"/>
                    <a:pt x="21585" y="8504"/>
                    <a:pt x="21585" y="8467"/>
                  </a:cubicBezTo>
                  <a:cubicBezTo>
                    <a:pt x="21591" y="8431"/>
                    <a:pt x="21592" y="8377"/>
                    <a:pt x="21600" y="8348"/>
                  </a:cubicBezTo>
                  <a:cubicBezTo>
                    <a:pt x="21600" y="8319"/>
                    <a:pt x="21534" y="8307"/>
                    <a:pt x="21454" y="8330"/>
                  </a:cubicBezTo>
                  <a:cubicBezTo>
                    <a:pt x="21371" y="8346"/>
                    <a:pt x="21247" y="8405"/>
                    <a:pt x="21173" y="8439"/>
                  </a:cubicBezTo>
                  <a:cubicBezTo>
                    <a:pt x="21098" y="8470"/>
                    <a:pt x="20977" y="8553"/>
                    <a:pt x="20894" y="8600"/>
                  </a:cubicBezTo>
                  <a:cubicBezTo>
                    <a:pt x="20814" y="8646"/>
                    <a:pt x="20716" y="8716"/>
                    <a:pt x="20671" y="8731"/>
                  </a:cubicBezTo>
                  <a:cubicBezTo>
                    <a:pt x="20627" y="8752"/>
                    <a:pt x="20555" y="8787"/>
                    <a:pt x="20505" y="8803"/>
                  </a:cubicBezTo>
                  <a:cubicBezTo>
                    <a:pt x="20458" y="8826"/>
                    <a:pt x="20384" y="8828"/>
                    <a:pt x="20345" y="8828"/>
                  </a:cubicBezTo>
                  <a:cubicBezTo>
                    <a:pt x="20307" y="8814"/>
                    <a:pt x="20178" y="8820"/>
                    <a:pt x="20065" y="8837"/>
                  </a:cubicBezTo>
                  <a:cubicBezTo>
                    <a:pt x="19951" y="8852"/>
                    <a:pt x="19820" y="8842"/>
                    <a:pt x="19773" y="8833"/>
                  </a:cubicBezTo>
                  <a:cubicBezTo>
                    <a:pt x="19726" y="8825"/>
                    <a:pt x="19638" y="8781"/>
                    <a:pt x="19583" y="8733"/>
                  </a:cubicBezTo>
                  <a:cubicBezTo>
                    <a:pt x="19526" y="8688"/>
                    <a:pt x="19441" y="8666"/>
                    <a:pt x="19398" y="8666"/>
                  </a:cubicBezTo>
                  <a:cubicBezTo>
                    <a:pt x="19355" y="8673"/>
                    <a:pt x="19300" y="8695"/>
                    <a:pt x="19272" y="8711"/>
                  </a:cubicBezTo>
                  <a:cubicBezTo>
                    <a:pt x="19246" y="8731"/>
                    <a:pt x="19194" y="8765"/>
                    <a:pt x="19154" y="8783"/>
                  </a:cubicBezTo>
                  <a:cubicBezTo>
                    <a:pt x="19112" y="8798"/>
                    <a:pt x="19053" y="8843"/>
                    <a:pt x="19025" y="8883"/>
                  </a:cubicBezTo>
                  <a:cubicBezTo>
                    <a:pt x="18998" y="8921"/>
                    <a:pt x="18928" y="8958"/>
                    <a:pt x="18879" y="8972"/>
                  </a:cubicBezTo>
                  <a:cubicBezTo>
                    <a:pt x="18833" y="8998"/>
                    <a:pt x="18783" y="8964"/>
                    <a:pt x="18769" y="8933"/>
                  </a:cubicBezTo>
                  <a:cubicBezTo>
                    <a:pt x="18763" y="8898"/>
                    <a:pt x="18755" y="8794"/>
                    <a:pt x="18769" y="8698"/>
                  </a:cubicBezTo>
                  <a:cubicBezTo>
                    <a:pt x="18769" y="8602"/>
                    <a:pt x="18815" y="8497"/>
                    <a:pt x="18851" y="8464"/>
                  </a:cubicBezTo>
                  <a:cubicBezTo>
                    <a:pt x="18890" y="8437"/>
                    <a:pt x="18904" y="8382"/>
                    <a:pt x="18911" y="8359"/>
                  </a:cubicBezTo>
                  <a:cubicBezTo>
                    <a:pt x="18911" y="8334"/>
                    <a:pt x="18932" y="8251"/>
                    <a:pt x="18965" y="8174"/>
                  </a:cubicBezTo>
                  <a:cubicBezTo>
                    <a:pt x="18993" y="8095"/>
                    <a:pt x="18978" y="8008"/>
                    <a:pt x="18936" y="7960"/>
                  </a:cubicBezTo>
                  <a:cubicBezTo>
                    <a:pt x="18890" y="7916"/>
                    <a:pt x="18834" y="7809"/>
                    <a:pt x="18834" y="7711"/>
                  </a:cubicBezTo>
                  <a:cubicBezTo>
                    <a:pt x="18827" y="7614"/>
                    <a:pt x="18841" y="7507"/>
                    <a:pt x="18866" y="7471"/>
                  </a:cubicBezTo>
                  <a:cubicBezTo>
                    <a:pt x="18890" y="7436"/>
                    <a:pt x="18914" y="7365"/>
                    <a:pt x="18921" y="7313"/>
                  </a:cubicBezTo>
                  <a:cubicBezTo>
                    <a:pt x="18928" y="7260"/>
                    <a:pt x="18885" y="7175"/>
                    <a:pt x="18834" y="7117"/>
                  </a:cubicBezTo>
                  <a:cubicBezTo>
                    <a:pt x="18780" y="7064"/>
                    <a:pt x="18745" y="6976"/>
                    <a:pt x="18745" y="6923"/>
                  </a:cubicBezTo>
                  <a:cubicBezTo>
                    <a:pt x="18753" y="6870"/>
                    <a:pt x="18774" y="6773"/>
                    <a:pt x="18793" y="6706"/>
                  </a:cubicBezTo>
                  <a:cubicBezTo>
                    <a:pt x="18808" y="6638"/>
                    <a:pt x="18832" y="6538"/>
                    <a:pt x="18832" y="6478"/>
                  </a:cubicBezTo>
                  <a:cubicBezTo>
                    <a:pt x="18832" y="6417"/>
                    <a:pt x="18799" y="6369"/>
                    <a:pt x="18765" y="6362"/>
                  </a:cubicBezTo>
                  <a:cubicBezTo>
                    <a:pt x="18734" y="6345"/>
                    <a:pt x="18680" y="6310"/>
                    <a:pt x="18657" y="6252"/>
                  </a:cubicBezTo>
                  <a:cubicBezTo>
                    <a:pt x="18635" y="6194"/>
                    <a:pt x="18587" y="6139"/>
                    <a:pt x="18564" y="6114"/>
                  </a:cubicBezTo>
                  <a:cubicBezTo>
                    <a:pt x="18537" y="6095"/>
                    <a:pt x="18523" y="6037"/>
                    <a:pt x="18523" y="5982"/>
                  </a:cubicBezTo>
                  <a:cubicBezTo>
                    <a:pt x="18530" y="5929"/>
                    <a:pt x="18497" y="5844"/>
                    <a:pt x="18470" y="5781"/>
                  </a:cubicBezTo>
                  <a:cubicBezTo>
                    <a:pt x="18438" y="5723"/>
                    <a:pt x="18403" y="5638"/>
                    <a:pt x="18410" y="5588"/>
                  </a:cubicBezTo>
                  <a:cubicBezTo>
                    <a:pt x="18417" y="5538"/>
                    <a:pt x="18401" y="5461"/>
                    <a:pt x="18376" y="5423"/>
                  </a:cubicBezTo>
                  <a:cubicBezTo>
                    <a:pt x="18361" y="5381"/>
                    <a:pt x="18377" y="5264"/>
                    <a:pt x="18423" y="5160"/>
                  </a:cubicBezTo>
                  <a:cubicBezTo>
                    <a:pt x="18463" y="5055"/>
                    <a:pt x="18498" y="4824"/>
                    <a:pt x="18505" y="4647"/>
                  </a:cubicBezTo>
                  <a:cubicBezTo>
                    <a:pt x="18505" y="4467"/>
                    <a:pt x="18501" y="4272"/>
                    <a:pt x="18482" y="4214"/>
                  </a:cubicBezTo>
                  <a:cubicBezTo>
                    <a:pt x="18469" y="4154"/>
                    <a:pt x="18462" y="4072"/>
                    <a:pt x="18481" y="4037"/>
                  </a:cubicBezTo>
                  <a:cubicBezTo>
                    <a:pt x="18494" y="4001"/>
                    <a:pt x="18523" y="3938"/>
                    <a:pt x="18550" y="3900"/>
                  </a:cubicBezTo>
                  <a:cubicBezTo>
                    <a:pt x="18577" y="3862"/>
                    <a:pt x="18607" y="3771"/>
                    <a:pt x="18607" y="3699"/>
                  </a:cubicBezTo>
                  <a:cubicBezTo>
                    <a:pt x="18620" y="3628"/>
                    <a:pt x="18584" y="3506"/>
                    <a:pt x="18540" y="3431"/>
                  </a:cubicBezTo>
                  <a:cubicBezTo>
                    <a:pt x="18500" y="3355"/>
                    <a:pt x="18483" y="3225"/>
                    <a:pt x="18507" y="3139"/>
                  </a:cubicBezTo>
                  <a:cubicBezTo>
                    <a:pt x="18519" y="3049"/>
                    <a:pt x="18585" y="2909"/>
                    <a:pt x="18633" y="2824"/>
                  </a:cubicBezTo>
                  <a:cubicBezTo>
                    <a:pt x="18673" y="2734"/>
                    <a:pt x="18720" y="2608"/>
                    <a:pt x="18726" y="2535"/>
                  </a:cubicBezTo>
                  <a:cubicBezTo>
                    <a:pt x="18733" y="2462"/>
                    <a:pt x="18750" y="2340"/>
                    <a:pt x="18756" y="2262"/>
                  </a:cubicBezTo>
                  <a:cubicBezTo>
                    <a:pt x="18763" y="2184"/>
                    <a:pt x="18775" y="2071"/>
                    <a:pt x="18768" y="2010"/>
                  </a:cubicBezTo>
                  <a:cubicBezTo>
                    <a:pt x="18762" y="1950"/>
                    <a:pt x="18329" y="1899"/>
                    <a:pt x="17804" y="1914"/>
                  </a:cubicBezTo>
                  <a:cubicBezTo>
                    <a:pt x="17276" y="1922"/>
                    <a:pt x="16834" y="1888"/>
                    <a:pt x="16827" y="1837"/>
                  </a:cubicBezTo>
                  <a:cubicBezTo>
                    <a:pt x="16820" y="1786"/>
                    <a:pt x="16831" y="1694"/>
                    <a:pt x="16871" y="1641"/>
                  </a:cubicBezTo>
                  <a:cubicBezTo>
                    <a:pt x="16901" y="1581"/>
                    <a:pt x="16939" y="1488"/>
                    <a:pt x="16947" y="1429"/>
                  </a:cubicBezTo>
                  <a:cubicBezTo>
                    <a:pt x="16955" y="1370"/>
                    <a:pt x="16847" y="1311"/>
                    <a:pt x="16711" y="1319"/>
                  </a:cubicBezTo>
                  <a:cubicBezTo>
                    <a:pt x="16573" y="1319"/>
                    <a:pt x="16447" y="1354"/>
                    <a:pt x="16447" y="1404"/>
                  </a:cubicBezTo>
                  <a:cubicBezTo>
                    <a:pt x="16447" y="1452"/>
                    <a:pt x="16070" y="1523"/>
                    <a:pt x="15623" y="1578"/>
                  </a:cubicBezTo>
                  <a:cubicBezTo>
                    <a:pt x="15174" y="1633"/>
                    <a:pt x="14792" y="1788"/>
                    <a:pt x="14764" y="1935"/>
                  </a:cubicBezTo>
                  <a:cubicBezTo>
                    <a:pt x="14743" y="2084"/>
                    <a:pt x="14692" y="2274"/>
                    <a:pt x="14649" y="2356"/>
                  </a:cubicBezTo>
                  <a:cubicBezTo>
                    <a:pt x="14609" y="2440"/>
                    <a:pt x="14542" y="2527"/>
                    <a:pt x="14503" y="2554"/>
                  </a:cubicBezTo>
                  <a:cubicBezTo>
                    <a:pt x="14463" y="2584"/>
                    <a:pt x="14432" y="2680"/>
                    <a:pt x="14438" y="2779"/>
                  </a:cubicBezTo>
                  <a:cubicBezTo>
                    <a:pt x="14438" y="2877"/>
                    <a:pt x="14450" y="3070"/>
                    <a:pt x="14437" y="3208"/>
                  </a:cubicBezTo>
                  <a:cubicBezTo>
                    <a:pt x="14423" y="3347"/>
                    <a:pt x="14137" y="3509"/>
                    <a:pt x="13786" y="3564"/>
                  </a:cubicBezTo>
                  <a:cubicBezTo>
                    <a:pt x="13436" y="3627"/>
                    <a:pt x="13093" y="3698"/>
                    <a:pt x="13032" y="3744"/>
                  </a:cubicBezTo>
                  <a:cubicBezTo>
                    <a:pt x="12966" y="3781"/>
                    <a:pt x="12787" y="3826"/>
                    <a:pt x="12627" y="3826"/>
                  </a:cubicBezTo>
                  <a:cubicBezTo>
                    <a:pt x="12468" y="3826"/>
                    <a:pt x="12297" y="3813"/>
                    <a:pt x="12247" y="3805"/>
                  </a:cubicBezTo>
                  <a:cubicBezTo>
                    <a:pt x="12198" y="3796"/>
                    <a:pt x="12088" y="3810"/>
                    <a:pt x="11998" y="3827"/>
                  </a:cubicBezTo>
                  <a:cubicBezTo>
                    <a:pt x="11908" y="3852"/>
                    <a:pt x="11734" y="3884"/>
                    <a:pt x="11609" y="3907"/>
                  </a:cubicBezTo>
                  <a:cubicBezTo>
                    <a:pt x="11485" y="3932"/>
                    <a:pt x="11343" y="3919"/>
                    <a:pt x="11294" y="3895"/>
                  </a:cubicBezTo>
                  <a:cubicBezTo>
                    <a:pt x="11245" y="3871"/>
                    <a:pt x="11194" y="3701"/>
                    <a:pt x="11180" y="3520"/>
                  </a:cubicBezTo>
                  <a:cubicBezTo>
                    <a:pt x="11167" y="3338"/>
                    <a:pt x="11112" y="3113"/>
                    <a:pt x="11055" y="3025"/>
                  </a:cubicBezTo>
                  <a:cubicBezTo>
                    <a:pt x="11002" y="2933"/>
                    <a:pt x="10926" y="2808"/>
                    <a:pt x="10891" y="2745"/>
                  </a:cubicBezTo>
                  <a:cubicBezTo>
                    <a:pt x="10858" y="2679"/>
                    <a:pt x="10787" y="2614"/>
                    <a:pt x="10754" y="2577"/>
                  </a:cubicBezTo>
                  <a:cubicBezTo>
                    <a:pt x="10714" y="2550"/>
                    <a:pt x="10678" y="2473"/>
                    <a:pt x="10687" y="2415"/>
                  </a:cubicBezTo>
                  <a:cubicBezTo>
                    <a:pt x="10687" y="2357"/>
                    <a:pt x="10677" y="2273"/>
                    <a:pt x="10661" y="2229"/>
                  </a:cubicBezTo>
                  <a:cubicBezTo>
                    <a:pt x="10654" y="2184"/>
                    <a:pt x="10622" y="2054"/>
                    <a:pt x="10602" y="1934"/>
                  </a:cubicBezTo>
                  <a:cubicBezTo>
                    <a:pt x="10587" y="1813"/>
                    <a:pt x="10527" y="1644"/>
                    <a:pt x="10484" y="1554"/>
                  </a:cubicBezTo>
                  <a:cubicBezTo>
                    <a:pt x="10444" y="1463"/>
                    <a:pt x="10405" y="1333"/>
                    <a:pt x="10412" y="1259"/>
                  </a:cubicBezTo>
                  <a:cubicBezTo>
                    <a:pt x="10418" y="1184"/>
                    <a:pt x="10445" y="1085"/>
                    <a:pt x="10469" y="1031"/>
                  </a:cubicBezTo>
                  <a:cubicBezTo>
                    <a:pt x="10495" y="980"/>
                    <a:pt x="10513" y="889"/>
                    <a:pt x="10506" y="827"/>
                  </a:cubicBezTo>
                  <a:cubicBezTo>
                    <a:pt x="10500" y="765"/>
                    <a:pt x="10467" y="671"/>
                    <a:pt x="10434" y="618"/>
                  </a:cubicBezTo>
                  <a:cubicBezTo>
                    <a:pt x="10401" y="563"/>
                    <a:pt x="10356" y="474"/>
                    <a:pt x="10350" y="414"/>
                  </a:cubicBezTo>
                  <a:cubicBezTo>
                    <a:pt x="10343" y="352"/>
                    <a:pt x="10338" y="286"/>
                    <a:pt x="10351" y="263"/>
                  </a:cubicBezTo>
                  <a:cubicBezTo>
                    <a:pt x="10362" y="239"/>
                    <a:pt x="10383" y="161"/>
                    <a:pt x="10383" y="87"/>
                  </a:cubicBezTo>
                  <a:cubicBezTo>
                    <a:pt x="10389" y="13"/>
                    <a:pt x="9990" y="-19"/>
                    <a:pt x="9496" y="13"/>
                  </a:cubicBezTo>
                  <a:cubicBezTo>
                    <a:pt x="9001" y="52"/>
                    <a:pt x="8321" y="94"/>
                    <a:pt x="7986" y="118"/>
                  </a:cubicBezTo>
                  <a:cubicBezTo>
                    <a:pt x="7649" y="150"/>
                    <a:pt x="7237" y="186"/>
                    <a:pt x="7071" y="210"/>
                  </a:cubicBezTo>
                  <a:cubicBezTo>
                    <a:pt x="6905" y="234"/>
                    <a:pt x="6644" y="272"/>
                    <a:pt x="6494" y="265"/>
                  </a:cubicBezTo>
                  <a:cubicBezTo>
                    <a:pt x="6344" y="265"/>
                    <a:pt x="6157" y="272"/>
                    <a:pt x="6082" y="265"/>
                  </a:cubicBezTo>
                  <a:cubicBezTo>
                    <a:pt x="6006" y="257"/>
                    <a:pt x="5827" y="268"/>
                    <a:pt x="5685" y="291"/>
                  </a:cubicBezTo>
                  <a:cubicBezTo>
                    <a:pt x="5544" y="315"/>
                    <a:pt x="5336" y="336"/>
                    <a:pt x="5225" y="343"/>
                  </a:cubicBezTo>
                  <a:cubicBezTo>
                    <a:pt x="5112" y="343"/>
                    <a:pt x="4943" y="368"/>
                    <a:pt x="4845" y="376"/>
                  </a:cubicBezTo>
                  <a:cubicBezTo>
                    <a:pt x="4749" y="383"/>
                    <a:pt x="4614" y="397"/>
                    <a:pt x="4550" y="381"/>
                  </a:cubicBezTo>
                  <a:cubicBezTo>
                    <a:pt x="4485" y="373"/>
                    <a:pt x="4371" y="378"/>
                    <a:pt x="4298" y="370"/>
                  </a:cubicBezTo>
                  <a:cubicBezTo>
                    <a:pt x="4227" y="363"/>
                    <a:pt x="4105" y="391"/>
                    <a:pt x="4027" y="408"/>
                  </a:cubicBezTo>
                  <a:cubicBezTo>
                    <a:pt x="3948" y="432"/>
                    <a:pt x="3815" y="474"/>
                    <a:pt x="3730" y="507"/>
                  </a:cubicBezTo>
                  <a:cubicBezTo>
                    <a:pt x="3643" y="537"/>
                    <a:pt x="3552" y="586"/>
                    <a:pt x="3518" y="596"/>
                  </a:cubicBezTo>
                  <a:cubicBezTo>
                    <a:pt x="3488" y="616"/>
                    <a:pt x="3430" y="634"/>
                    <a:pt x="3392" y="634"/>
                  </a:cubicBezTo>
                  <a:cubicBezTo>
                    <a:pt x="3355" y="642"/>
                    <a:pt x="3304" y="657"/>
                    <a:pt x="3292" y="686"/>
                  </a:cubicBezTo>
                  <a:cubicBezTo>
                    <a:pt x="3277" y="712"/>
                    <a:pt x="3254" y="743"/>
                    <a:pt x="3243" y="743"/>
                  </a:cubicBezTo>
                  <a:cubicBezTo>
                    <a:pt x="3232" y="743"/>
                    <a:pt x="3218" y="754"/>
                    <a:pt x="3208" y="754"/>
                  </a:cubicBezTo>
                  <a:cubicBezTo>
                    <a:pt x="3202" y="754"/>
                    <a:pt x="3078" y="834"/>
                    <a:pt x="2933" y="920"/>
                  </a:cubicBezTo>
                  <a:cubicBezTo>
                    <a:pt x="2792" y="1016"/>
                    <a:pt x="2710" y="1141"/>
                    <a:pt x="2759" y="1204"/>
                  </a:cubicBezTo>
                  <a:cubicBezTo>
                    <a:pt x="2803" y="1270"/>
                    <a:pt x="2838" y="1380"/>
                    <a:pt x="2838" y="1455"/>
                  </a:cubicBezTo>
                  <a:cubicBezTo>
                    <a:pt x="2832" y="1530"/>
                    <a:pt x="3037" y="1840"/>
                    <a:pt x="3286" y="2145"/>
                  </a:cubicBezTo>
                  <a:cubicBezTo>
                    <a:pt x="3534" y="2450"/>
                    <a:pt x="3730" y="3025"/>
                    <a:pt x="3716" y="3426"/>
                  </a:cubicBezTo>
                  <a:cubicBezTo>
                    <a:pt x="3709" y="3825"/>
                    <a:pt x="3800" y="4323"/>
                    <a:pt x="3934" y="4530"/>
                  </a:cubicBezTo>
                  <a:cubicBezTo>
                    <a:pt x="4068" y="4737"/>
                    <a:pt x="4149" y="5071"/>
                    <a:pt x="4115" y="5274"/>
                  </a:cubicBezTo>
                  <a:cubicBezTo>
                    <a:pt x="4079" y="5476"/>
                    <a:pt x="3921" y="5821"/>
                    <a:pt x="3755" y="6040"/>
                  </a:cubicBezTo>
                  <a:cubicBezTo>
                    <a:pt x="3594" y="6261"/>
                    <a:pt x="3525" y="6469"/>
                    <a:pt x="3609" y="6509"/>
                  </a:cubicBezTo>
                  <a:cubicBezTo>
                    <a:pt x="3693" y="6549"/>
                    <a:pt x="3755" y="6732"/>
                    <a:pt x="3742" y="6916"/>
                  </a:cubicBezTo>
                  <a:cubicBezTo>
                    <a:pt x="3736" y="7100"/>
                    <a:pt x="3773" y="7348"/>
                    <a:pt x="3841" y="7463"/>
                  </a:cubicBezTo>
                  <a:cubicBezTo>
                    <a:pt x="3912" y="7575"/>
                    <a:pt x="3952" y="7781"/>
                    <a:pt x="3945" y="7912"/>
                  </a:cubicBezTo>
                  <a:cubicBezTo>
                    <a:pt x="3938" y="8041"/>
                    <a:pt x="4061" y="8392"/>
                    <a:pt x="4223" y="8689"/>
                  </a:cubicBezTo>
                  <a:cubicBezTo>
                    <a:pt x="4385" y="8984"/>
                    <a:pt x="4506" y="9297"/>
                    <a:pt x="4491" y="9381"/>
                  </a:cubicBezTo>
                  <a:cubicBezTo>
                    <a:pt x="4477" y="9464"/>
                    <a:pt x="4511" y="9593"/>
                    <a:pt x="4565" y="9662"/>
                  </a:cubicBezTo>
                  <a:cubicBezTo>
                    <a:pt x="4614" y="9734"/>
                    <a:pt x="4636" y="10148"/>
                    <a:pt x="4608" y="10584"/>
                  </a:cubicBezTo>
                  <a:cubicBezTo>
                    <a:pt x="4581" y="11018"/>
                    <a:pt x="4377" y="11679"/>
                    <a:pt x="4173" y="12063"/>
                  </a:cubicBezTo>
                  <a:cubicBezTo>
                    <a:pt x="3967" y="12445"/>
                    <a:pt x="3743" y="12751"/>
                    <a:pt x="3686" y="12760"/>
                  </a:cubicBezTo>
                  <a:cubicBezTo>
                    <a:pt x="3629" y="12769"/>
                    <a:pt x="3401" y="12912"/>
                    <a:pt x="3185" y="13094"/>
                  </a:cubicBezTo>
                  <a:cubicBezTo>
                    <a:pt x="2966" y="13272"/>
                    <a:pt x="2775" y="13516"/>
                    <a:pt x="2760" y="13635"/>
                  </a:cubicBezTo>
                  <a:cubicBezTo>
                    <a:pt x="2746" y="13754"/>
                    <a:pt x="2507" y="14056"/>
                    <a:pt x="2234" y="14317"/>
                  </a:cubicBezTo>
                  <a:cubicBezTo>
                    <a:pt x="1961" y="14572"/>
                    <a:pt x="1719" y="14912"/>
                    <a:pt x="1705" y="15074"/>
                  </a:cubicBezTo>
                  <a:cubicBezTo>
                    <a:pt x="1684" y="15235"/>
                    <a:pt x="1634" y="15399"/>
                    <a:pt x="1590" y="15441"/>
                  </a:cubicBezTo>
                  <a:cubicBezTo>
                    <a:pt x="1544" y="15478"/>
                    <a:pt x="1489" y="15829"/>
                    <a:pt x="1461" y="16216"/>
                  </a:cubicBezTo>
                  <a:cubicBezTo>
                    <a:pt x="1440" y="16602"/>
                    <a:pt x="1313" y="17049"/>
                    <a:pt x="1186" y="17208"/>
                  </a:cubicBezTo>
                  <a:cubicBezTo>
                    <a:pt x="1060" y="17367"/>
                    <a:pt x="927" y="17650"/>
                    <a:pt x="887" y="17832"/>
                  </a:cubicBezTo>
                  <a:cubicBezTo>
                    <a:pt x="846" y="18016"/>
                    <a:pt x="698" y="18304"/>
                    <a:pt x="559" y="18470"/>
                  </a:cubicBezTo>
                  <a:cubicBezTo>
                    <a:pt x="422" y="18640"/>
                    <a:pt x="291" y="18916"/>
                    <a:pt x="284" y="19088"/>
                  </a:cubicBezTo>
                  <a:cubicBezTo>
                    <a:pt x="271" y="19259"/>
                    <a:pt x="235" y="19523"/>
                    <a:pt x="205" y="19674"/>
                  </a:cubicBezTo>
                  <a:cubicBezTo>
                    <a:pt x="177" y="19827"/>
                    <a:pt x="145" y="20135"/>
                    <a:pt x="132" y="20362"/>
                  </a:cubicBezTo>
                  <a:cubicBezTo>
                    <a:pt x="125" y="20589"/>
                    <a:pt x="87" y="20895"/>
                    <a:pt x="59" y="21046"/>
                  </a:cubicBezTo>
                  <a:cubicBezTo>
                    <a:pt x="24" y="21195"/>
                    <a:pt x="0" y="21358"/>
                    <a:pt x="0" y="21404"/>
                  </a:cubicBezTo>
                  <a:cubicBezTo>
                    <a:pt x="0" y="21451"/>
                    <a:pt x="1" y="21489"/>
                    <a:pt x="0" y="21489"/>
                  </a:cubicBezTo>
                  <a:cubicBezTo>
                    <a:pt x="0" y="21489"/>
                    <a:pt x="58" y="21502"/>
                    <a:pt x="130" y="21510"/>
                  </a:cubicBezTo>
                  <a:cubicBezTo>
                    <a:pt x="203" y="21518"/>
                    <a:pt x="282" y="21540"/>
                    <a:pt x="306" y="21559"/>
                  </a:cubicBezTo>
                  <a:close/>
                  <a:moveTo>
                    <a:pt x="306" y="215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4" name="AutoShape 886"/>
            <p:cNvSpPr>
              <a:spLocks/>
            </p:cNvSpPr>
            <p:nvPr/>
          </p:nvSpPr>
          <p:spPr bwMode="auto">
            <a:xfrm>
              <a:off x="8445500" y="6210300"/>
              <a:ext cx="319088" cy="261938"/>
            </a:xfrm>
            <a:custGeom>
              <a:avLst/>
              <a:gdLst/>
              <a:ahLst/>
              <a:cxnLst/>
              <a:rect l="0" t="0" r="r" b="b"/>
              <a:pathLst>
                <a:path w="21591" h="21586">
                  <a:moveTo>
                    <a:pt x="15490" y="551"/>
                  </a:moveTo>
                  <a:cubicBezTo>
                    <a:pt x="15515" y="239"/>
                    <a:pt x="15507" y="0"/>
                    <a:pt x="15475" y="0"/>
                  </a:cubicBezTo>
                  <a:cubicBezTo>
                    <a:pt x="15454" y="25"/>
                    <a:pt x="15369" y="25"/>
                    <a:pt x="15308" y="56"/>
                  </a:cubicBezTo>
                  <a:cubicBezTo>
                    <a:pt x="15248" y="84"/>
                    <a:pt x="15073" y="86"/>
                    <a:pt x="14923" y="102"/>
                  </a:cubicBezTo>
                  <a:cubicBezTo>
                    <a:pt x="14774" y="102"/>
                    <a:pt x="14587" y="125"/>
                    <a:pt x="14508" y="151"/>
                  </a:cubicBezTo>
                  <a:cubicBezTo>
                    <a:pt x="14434" y="190"/>
                    <a:pt x="14339" y="165"/>
                    <a:pt x="14313" y="116"/>
                  </a:cubicBezTo>
                  <a:cubicBezTo>
                    <a:pt x="14280" y="76"/>
                    <a:pt x="14095" y="58"/>
                    <a:pt x="13892" y="87"/>
                  </a:cubicBezTo>
                  <a:cubicBezTo>
                    <a:pt x="13691" y="130"/>
                    <a:pt x="13394" y="223"/>
                    <a:pt x="13230" y="308"/>
                  </a:cubicBezTo>
                  <a:cubicBezTo>
                    <a:pt x="13066" y="399"/>
                    <a:pt x="12852" y="546"/>
                    <a:pt x="12742" y="613"/>
                  </a:cubicBezTo>
                  <a:cubicBezTo>
                    <a:pt x="12639" y="695"/>
                    <a:pt x="12449" y="800"/>
                    <a:pt x="12326" y="860"/>
                  </a:cubicBezTo>
                  <a:cubicBezTo>
                    <a:pt x="12204" y="933"/>
                    <a:pt x="11916" y="1105"/>
                    <a:pt x="11694" y="1270"/>
                  </a:cubicBezTo>
                  <a:cubicBezTo>
                    <a:pt x="11474" y="1437"/>
                    <a:pt x="11225" y="1682"/>
                    <a:pt x="11147" y="1823"/>
                  </a:cubicBezTo>
                  <a:cubicBezTo>
                    <a:pt x="11076" y="1967"/>
                    <a:pt x="11017" y="2142"/>
                    <a:pt x="11029" y="2219"/>
                  </a:cubicBezTo>
                  <a:cubicBezTo>
                    <a:pt x="11042" y="2292"/>
                    <a:pt x="11023" y="2442"/>
                    <a:pt x="10964" y="2528"/>
                  </a:cubicBezTo>
                  <a:cubicBezTo>
                    <a:pt x="10918" y="2626"/>
                    <a:pt x="10876" y="2766"/>
                    <a:pt x="10888" y="2839"/>
                  </a:cubicBezTo>
                  <a:cubicBezTo>
                    <a:pt x="10900" y="2914"/>
                    <a:pt x="10887" y="3033"/>
                    <a:pt x="10865" y="3098"/>
                  </a:cubicBezTo>
                  <a:cubicBezTo>
                    <a:pt x="10839" y="3161"/>
                    <a:pt x="10766" y="3270"/>
                    <a:pt x="10701" y="3349"/>
                  </a:cubicBezTo>
                  <a:cubicBezTo>
                    <a:pt x="10629" y="3423"/>
                    <a:pt x="10344" y="3584"/>
                    <a:pt x="10085" y="3750"/>
                  </a:cubicBezTo>
                  <a:cubicBezTo>
                    <a:pt x="9827" y="3914"/>
                    <a:pt x="9205" y="4363"/>
                    <a:pt x="8721" y="4785"/>
                  </a:cubicBezTo>
                  <a:cubicBezTo>
                    <a:pt x="8237" y="5207"/>
                    <a:pt x="7488" y="6010"/>
                    <a:pt x="7080" y="6594"/>
                  </a:cubicBezTo>
                  <a:cubicBezTo>
                    <a:pt x="6668" y="7169"/>
                    <a:pt x="6098" y="7957"/>
                    <a:pt x="5836" y="8371"/>
                  </a:cubicBezTo>
                  <a:cubicBezTo>
                    <a:pt x="5566" y="8777"/>
                    <a:pt x="5180" y="9214"/>
                    <a:pt x="4962" y="9307"/>
                  </a:cubicBezTo>
                  <a:cubicBezTo>
                    <a:pt x="4749" y="9421"/>
                    <a:pt x="4459" y="9495"/>
                    <a:pt x="4321" y="9480"/>
                  </a:cubicBezTo>
                  <a:cubicBezTo>
                    <a:pt x="4184" y="9450"/>
                    <a:pt x="3990" y="9379"/>
                    <a:pt x="3883" y="9307"/>
                  </a:cubicBezTo>
                  <a:cubicBezTo>
                    <a:pt x="3775" y="9235"/>
                    <a:pt x="3680" y="9158"/>
                    <a:pt x="3669" y="9145"/>
                  </a:cubicBezTo>
                  <a:cubicBezTo>
                    <a:pt x="3654" y="9135"/>
                    <a:pt x="3605" y="9118"/>
                    <a:pt x="3562" y="9101"/>
                  </a:cubicBezTo>
                  <a:cubicBezTo>
                    <a:pt x="3518" y="9084"/>
                    <a:pt x="3450" y="9081"/>
                    <a:pt x="3415" y="9095"/>
                  </a:cubicBezTo>
                  <a:cubicBezTo>
                    <a:pt x="3377" y="9095"/>
                    <a:pt x="3286" y="9102"/>
                    <a:pt x="3219" y="9060"/>
                  </a:cubicBezTo>
                  <a:cubicBezTo>
                    <a:pt x="3149" y="9032"/>
                    <a:pt x="2952" y="9055"/>
                    <a:pt x="2778" y="9101"/>
                  </a:cubicBezTo>
                  <a:cubicBezTo>
                    <a:pt x="2607" y="9159"/>
                    <a:pt x="2347" y="9301"/>
                    <a:pt x="2196" y="9429"/>
                  </a:cubicBezTo>
                  <a:cubicBezTo>
                    <a:pt x="2050" y="9561"/>
                    <a:pt x="1864" y="9661"/>
                    <a:pt x="1790" y="9676"/>
                  </a:cubicBezTo>
                  <a:cubicBezTo>
                    <a:pt x="1714" y="9691"/>
                    <a:pt x="1600" y="9638"/>
                    <a:pt x="1531" y="9582"/>
                  </a:cubicBezTo>
                  <a:cubicBezTo>
                    <a:pt x="1461" y="9531"/>
                    <a:pt x="1297" y="9446"/>
                    <a:pt x="1174" y="9372"/>
                  </a:cubicBezTo>
                  <a:cubicBezTo>
                    <a:pt x="1045" y="9309"/>
                    <a:pt x="789" y="9262"/>
                    <a:pt x="606" y="9277"/>
                  </a:cubicBezTo>
                  <a:cubicBezTo>
                    <a:pt x="424" y="9277"/>
                    <a:pt x="211" y="9278"/>
                    <a:pt x="135" y="9291"/>
                  </a:cubicBezTo>
                  <a:cubicBezTo>
                    <a:pt x="56" y="9291"/>
                    <a:pt x="6" y="9297"/>
                    <a:pt x="1" y="9297"/>
                  </a:cubicBezTo>
                  <a:cubicBezTo>
                    <a:pt x="9" y="9297"/>
                    <a:pt x="29" y="9362"/>
                    <a:pt x="52" y="9444"/>
                  </a:cubicBezTo>
                  <a:cubicBezTo>
                    <a:pt x="77" y="9523"/>
                    <a:pt x="75" y="9658"/>
                    <a:pt x="39" y="9729"/>
                  </a:cubicBezTo>
                  <a:cubicBezTo>
                    <a:pt x="13" y="9807"/>
                    <a:pt x="-9" y="9923"/>
                    <a:pt x="3" y="9982"/>
                  </a:cubicBezTo>
                  <a:cubicBezTo>
                    <a:pt x="16" y="10044"/>
                    <a:pt x="13" y="10170"/>
                    <a:pt x="13" y="10259"/>
                  </a:cubicBezTo>
                  <a:cubicBezTo>
                    <a:pt x="1" y="10347"/>
                    <a:pt x="81" y="10497"/>
                    <a:pt x="183" y="10568"/>
                  </a:cubicBezTo>
                  <a:cubicBezTo>
                    <a:pt x="277" y="10653"/>
                    <a:pt x="391" y="10770"/>
                    <a:pt x="445" y="10818"/>
                  </a:cubicBezTo>
                  <a:cubicBezTo>
                    <a:pt x="493" y="10876"/>
                    <a:pt x="600" y="10982"/>
                    <a:pt x="694" y="11025"/>
                  </a:cubicBezTo>
                  <a:cubicBezTo>
                    <a:pt x="788" y="11074"/>
                    <a:pt x="895" y="11205"/>
                    <a:pt x="950" y="11288"/>
                  </a:cubicBezTo>
                  <a:cubicBezTo>
                    <a:pt x="998" y="11376"/>
                    <a:pt x="1045" y="11519"/>
                    <a:pt x="1056" y="11603"/>
                  </a:cubicBezTo>
                  <a:cubicBezTo>
                    <a:pt x="1067" y="11685"/>
                    <a:pt x="1101" y="11783"/>
                    <a:pt x="1142" y="11801"/>
                  </a:cubicBezTo>
                  <a:cubicBezTo>
                    <a:pt x="1176" y="11828"/>
                    <a:pt x="1259" y="11952"/>
                    <a:pt x="1315" y="12088"/>
                  </a:cubicBezTo>
                  <a:cubicBezTo>
                    <a:pt x="1370" y="12223"/>
                    <a:pt x="1433" y="12447"/>
                    <a:pt x="1446" y="12588"/>
                  </a:cubicBezTo>
                  <a:cubicBezTo>
                    <a:pt x="1469" y="12730"/>
                    <a:pt x="1521" y="12910"/>
                    <a:pt x="1586" y="12977"/>
                  </a:cubicBezTo>
                  <a:cubicBezTo>
                    <a:pt x="1647" y="13050"/>
                    <a:pt x="1713" y="13204"/>
                    <a:pt x="1738" y="13320"/>
                  </a:cubicBezTo>
                  <a:cubicBezTo>
                    <a:pt x="1762" y="13437"/>
                    <a:pt x="1843" y="13580"/>
                    <a:pt x="1913" y="13652"/>
                  </a:cubicBezTo>
                  <a:cubicBezTo>
                    <a:pt x="1995" y="13701"/>
                    <a:pt x="2081" y="13750"/>
                    <a:pt x="2118" y="13750"/>
                  </a:cubicBezTo>
                  <a:cubicBezTo>
                    <a:pt x="2153" y="13736"/>
                    <a:pt x="2217" y="13825"/>
                    <a:pt x="2267" y="13928"/>
                  </a:cubicBezTo>
                  <a:cubicBezTo>
                    <a:pt x="2310" y="14035"/>
                    <a:pt x="2494" y="14396"/>
                    <a:pt x="2663" y="14734"/>
                  </a:cubicBezTo>
                  <a:cubicBezTo>
                    <a:pt x="2838" y="15068"/>
                    <a:pt x="3081" y="15408"/>
                    <a:pt x="3217" y="15485"/>
                  </a:cubicBezTo>
                  <a:cubicBezTo>
                    <a:pt x="3339" y="15587"/>
                    <a:pt x="3556" y="15695"/>
                    <a:pt x="3675" y="15781"/>
                  </a:cubicBezTo>
                  <a:cubicBezTo>
                    <a:pt x="3792" y="15866"/>
                    <a:pt x="3938" y="15995"/>
                    <a:pt x="4003" y="16058"/>
                  </a:cubicBezTo>
                  <a:cubicBezTo>
                    <a:pt x="4070" y="16113"/>
                    <a:pt x="4193" y="16213"/>
                    <a:pt x="4284" y="16262"/>
                  </a:cubicBezTo>
                  <a:cubicBezTo>
                    <a:pt x="4380" y="16306"/>
                    <a:pt x="4458" y="16393"/>
                    <a:pt x="4447" y="16435"/>
                  </a:cubicBezTo>
                  <a:cubicBezTo>
                    <a:pt x="4447" y="16479"/>
                    <a:pt x="4413" y="16558"/>
                    <a:pt x="4413" y="16618"/>
                  </a:cubicBezTo>
                  <a:cubicBezTo>
                    <a:pt x="4401" y="16677"/>
                    <a:pt x="4399" y="16783"/>
                    <a:pt x="4421" y="16861"/>
                  </a:cubicBezTo>
                  <a:cubicBezTo>
                    <a:pt x="4445" y="16935"/>
                    <a:pt x="4557" y="17026"/>
                    <a:pt x="4676" y="17065"/>
                  </a:cubicBezTo>
                  <a:cubicBezTo>
                    <a:pt x="4798" y="17109"/>
                    <a:pt x="4980" y="17207"/>
                    <a:pt x="5091" y="17267"/>
                  </a:cubicBezTo>
                  <a:cubicBezTo>
                    <a:pt x="5197" y="17347"/>
                    <a:pt x="5241" y="17497"/>
                    <a:pt x="5191" y="17615"/>
                  </a:cubicBezTo>
                  <a:cubicBezTo>
                    <a:pt x="5134" y="17727"/>
                    <a:pt x="5097" y="17977"/>
                    <a:pt x="5110" y="18164"/>
                  </a:cubicBezTo>
                  <a:cubicBezTo>
                    <a:pt x="5122" y="18351"/>
                    <a:pt x="5111" y="18608"/>
                    <a:pt x="5111" y="18742"/>
                  </a:cubicBezTo>
                  <a:cubicBezTo>
                    <a:pt x="5124" y="18871"/>
                    <a:pt x="5116" y="19085"/>
                    <a:pt x="5154" y="19211"/>
                  </a:cubicBezTo>
                  <a:cubicBezTo>
                    <a:pt x="5181" y="19341"/>
                    <a:pt x="5318" y="19510"/>
                    <a:pt x="5432" y="19619"/>
                  </a:cubicBezTo>
                  <a:cubicBezTo>
                    <a:pt x="5548" y="19727"/>
                    <a:pt x="5693" y="19898"/>
                    <a:pt x="5761" y="20013"/>
                  </a:cubicBezTo>
                  <a:cubicBezTo>
                    <a:pt x="5823" y="20134"/>
                    <a:pt x="5995" y="20248"/>
                    <a:pt x="6155" y="20248"/>
                  </a:cubicBezTo>
                  <a:cubicBezTo>
                    <a:pt x="6316" y="20262"/>
                    <a:pt x="6537" y="20240"/>
                    <a:pt x="6612" y="20165"/>
                  </a:cubicBezTo>
                  <a:cubicBezTo>
                    <a:pt x="6703" y="20117"/>
                    <a:pt x="6925" y="20104"/>
                    <a:pt x="7109" y="20136"/>
                  </a:cubicBezTo>
                  <a:cubicBezTo>
                    <a:pt x="7291" y="20150"/>
                    <a:pt x="7520" y="20193"/>
                    <a:pt x="7621" y="20178"/>
                  </a:cubicBezTo>
                  <a:cubicBezTo>
                    <a:pt x="7720" y="20161"/>
                    <a:pt x="7911" y="20204"/>
                    <a:pt x="8029" y="20291"/>
                  </a:cubicBezTo>
                  <a:cubicBezTo>
                    <a:pt x="8157" y="20359"/>
                    <a:pt x="8332" y="20420"/>
                    <a:pt x="8428" y="20406"/>
                  </a:cubicBezTo>
                  <a:cubicBezTo>
                    <a:pt x="8522" y="20391"/>
                    <a:pt x="8644" y="20432"/>
                    <a:pt x="8706" y="20478"/>
                  </a:cubicBezTo>
                  <a:cubicBezTo>
                    <a:pt x="8769" y="20523"/>
                    <a:pt x="8807" y="20645"/>
                    <a:pt x="8792" y="20735"/>
                  </a:cubicBezTo>
                  <a:cubicBezTo>
                    <a:pt x="8780" y="20823"/>
                    <a:pt x="8794" y="20959"/>
                    <a:pt x="8848" y="21006"/>
                  </a:cubicBezTo>
                  <a:cubicBezTo>
                    <a:pt x="8900" y="21054"/>
                    <a:pt x="8969" y="21170"/>
                    <a:pt x="9018" y="21244"/>
                  </a:cubicBezTo>
                  <a:cubicBezTo>
                    <a:pt x="9065" y="21315"/>
                    <a:pt x="9314" y="21304"/>
                    <a:pt x="9565" y="21212"/>
                  </a:cubicBezTo>
                  <a:cubicBezTo>
                    <a:pt x="9815" y="21121"/>
                    <a:pt x="10155" y="21040"/>
                    <a:pt x="10319" y="21055"/>
                  </a:cubicBezTo>
                  <a:cubicBezTo>
                    <a:pt x="10483" y="21055"/>
                    <a:pt x="10643" y="21136"/>
                    <a:pt x="10678" y="21237"/>
                  </a:cubicBezTo>
                  <a:cubicBezTo>
                    <a:pt x="10728" y="21326"/>
                    <a:pt x="10832" y="21375"/>
                    <a:pt x="10949" y="21359"/>
                  </a:cubicBezTo>
                  <a:cubicBezTo>
                    <a:pt x="11065" y="21344"/>
                    <a:pt x="11271" y="21355"/>
                    <a:pt x="11416" y="21400"/>
                  </a:cubicBezTo>
                  <a:cubicBezTo>
                    <a:pt x="11557" y="21451"/>
                    <a:pt x="11705" y="21531"/>
                    <a:pt x="11750" y="21571"/>
                  </a:cubicBezTo>
                  <a:cubicBezTo>
                    <a:pt x="11799" y="21600"/>
                    <a:pt x="11914" y="21587"/>
                    <a:pt x="12029" y="21524"/>
                  </a:cubicBezTo>
                  <a:cubicBezTo>
                    <a:pt x="12144" y="21463"/>
                    <a:pt x="12402" y="21355"/>
                    <a:pt x="12603" y="21270"/>
                  </a:cubicBezTo>
                  <a:cubicBezTo>
                    <a:pt x="12805" y="21197"/>
                    <a:pt x="13161" y="21137"/>
                    <a:pt x="13395" y="21153"/>
                  </a:cubicBezTo>
                  <a:cubicBezTo>
                    <a:pt x="13628" y="21168"/>
                    <a:pt x="13902" y="21231"/>
                    <a:pt x="13998" y="21318"/>
                  </a:cubicBezTo>
                  <a:cubicBezTo>
                    <a:pt x="14098" y="21405"/>
                    <a:pt x="14934" y="20607"/>
                    <a:pt x="15863" y="19555"/>
                  </a:cubicBezTo>
                  <a:cubicBezTo>
                    <a:pt x="16798" y="18510"/>
                    <a:pt x="17571" y="17394"/>
                    <a:pt x="17634" y="17118"/>
                  </a:cubicBezTo>
                  <a:cubicBezTo>
                    <a:pt x="17682" y="16837"/>
                    <a:pt x="17764" y="16521"/>
                    <a:pt x="17819" y="16422"/>
                  </a:cubicBezTo>
                  <a:cubicBezTo>
                    <a:pt x="17873" y="16323"/>
                    <a:pt x="17948" y="16033"/>
                    <a:pt x="17984" y="15781"/>
                  </a:cubicBezTo>
                  <a:cubicBezTo>
                    <a:pt x="18024" y="15529"/>
                    <a:pt x="18121" y="15239"/>
                    <a:pt x="18181" y="15122"/>
                  </a:cubicBezTo>
                  <a:cubicBezTo>
                    <a:pt x="18256" y="15016"/>
                    <a:pt x="18290" y="14811"/>
                    <a:pt x="18264" y="14684"/>
                  </a:cubicBezTo>
                  <a:cubicBezTo>
                    <a:pt x="18237" y="14557"/>
                    <a:pt x="18250" y="14353"/>
                    <a:pt x="18291" y="14236"/>
                  </a:cubicBezTo>
                  <a:cubicBezTo>
                    <a:pt x="18328" y="14117"/>
                    <a:pt x="18444" y="14015"/>
                    <a:pt x="18539" y="13966"/>
                  </a:cubicBezTo>
                  <a:cubicBezTo>
                    <a:pt x="18637" y="13921"/>
                    <a:pt x="18767" y="13819"/>
                    <a:pt x="18829" y="13714"/>
                  </a:cubicBezTo>
                  <a:cubicBezTo>
                    <a:pt x="18897" y="13615"/>
                    <a:pt x="19069" y="13401"/>
                    <a:pt x="19224" y="13241"/>
                  </a:cubicBezTo>
                  <a:cubicBezTo>
                    <a:pt x="19378" y="13086"/>
                    <a:pt x="19601" y="12822"/>
                    <a:pt x="19715" y="12654"/>
                  </a:cubicBezTo>
                  <a:cubicBezTo>
                    <a:pt x="19823" y="12479"/>
                    <a:pt x="19900" y="12257"/>
                    <a:pt x="19889" y="12142"/>
                  </a:cubicBezTo>
                  <a:cubicBezTo>
                    <a:pt x="19865" y="12030"/>
                    <a:pt x="19789" y="11899"/>
                    <a:pt x="19726" y="11823"/>
                  </a:cubicBezTo>
                  <a:cubicBezTo>
                    <a:pt x="19665" y="11749"/>
                    <a:pt x="19627" y="11581"/>
                    <a:pt x="19640" y="11417"/>
                  </a:cubicBezTo>
                  <a:cubicBezTo>
                    <a:pt x="19667" y="11254"/>
                    <a:pt x="19757" y="11059"/>
                    <a:pt x="19847" y="10980"/>
                  </a:cubicBezTo>
                  <a:cubicBezTo>
                    <a:pt x="19933" y="10894"/>
                    <a:pt x="19997" y="10732"/>
                    <a:pt x="19983" y="10601"/>
                  </a:cubicBezTo>
                  <a:cubicBezTo>
                    <a:pt x="19970" y="10467"/>
                    <a:pt x="19866" y="10286"/>
                    <a:pt x="19769" y="10183"/>
                  </a:cubicBezTo>
                  <a:cubicBezTo>
                    <a:pt x="19679" y="10073"/>
                    <a:pt x="19597" y="9923"/>
                    <a:pt x="19612" y="9819"/>
                  </a:cubicBezTo>
                  <a:cubicBezTo>
                    <a:pt x="19622" y="9715"/>
                    <a:pt x="19715" y="9589"/>
                    <a:pt x="19806" y="9533"/>
                  </a:cubicBezTo>
                  <a:cubicBezTo>
                    <a:pt x="19894" y="9466"/>
                    <a:pt x="20012" y="9293"/>
                    <a:pt x="20046" y="9118"/>
                  </a:cubicBezTo>
                  <a:cubicBezTo>
                    <a:pt x="20097" y="8949"/>
                    <a:pt x="20132" y="8681"/>
                    <a:pt x="20156" y="8537"/>
                  </a:cubicBezTo>
                  <a:cubicBezTo>
                    <a:pt x="20180" y="8392"/>
                    <a:pt x="20292" y="8179"/>
                    <a:pt x="20413" y="8064"/>
                  </a:cubicBezTo>
                  <a:cubicBezTo>
                    <a:pt x="20531" y="7949"/>
                    <a:pt x="20689" y="7745"/>
                    <a:pt x="20757" y="7606"/>
                  </a:cubicBezTo>
                  <a:cubicBezTo>
                    <a:pt x="20830" y="7471"/>
                    <a:pt x="20784" y="7396"/>
                    <a:pt x="20662" y="7441"/>
                  </a:cubicBezTo>
                  <a:cubicBezTo>
                    <a:pt x="20539" y="7491"/>
                    <a:pt x="20402" y="7474"/>
                    <a:pt x="20356" y="7405"/>
                  </a:cubicBezTo>
                  <a:cubicBezTo>
                    <a:pt x="20320" y="7331"/>
                    <a:pt x="20363" y="7155"/>
                    <a:pt x="20452" y="6985"/>
                  </a:cubicBezTo>
                  <a:cubicBezTo>
                    <a:pt x="20541" y="6816"/>
                    <a:pt x="20673" y="6475"/>
                    <a:pt x="20721" y="6215"/>
                  </a:cubicBezTo>
                  <a:cubicBezTo>
                    <a:pt x="20780" y="5956"/>
                    <a:pt x="20889" y="5638"/>
                    <a:pt x="20948" y="5493"/>
                  </a:cubicBezTo>
                  <a:cubicBezTo>
                    <a:pt x="21016" y="5356"/>
                    <a:pt x="21091" y="5162"/>
                    <a:pt x="21116" y="5057"/>
                  </a:cubicBezTo>
                  <a:cubicBezTo>
                    <a:pt x="21127" y="4949"/>
                    <a:pt x="21150" y="4782"/>
                    <a:pt x="21150" y="4679"/>
                  </a:cubicBezTo>
                  <a:cubicBezTo>
                    <a:pt x="21139" y="4577"/>
                    <a:pt x="21178" y="4390"/>
                    <a:pt x="21214" y="4262"/>
                  </a:cubicBezTo>
                  <a:cubicBezTo>
                    <a:pt x="21238" y="4129"/>
                    <a:pt x="21274" y="3932"/>
                    <a:pt x="21274" y="3811"/>
                  </a:cubicBezTo>
                  <a:cubicBezTo>
                    <a:pt x="21274" y="3691"/>
                    <a:pt x="21332" y="3470"/>
                    <a:pt x="21421" y="3331"/>
                  </a:cubicBezTo>
                  <a:cubicBezTo>
                    <a:pt x="21511" y="3195"/>
                    <a:pt x="21591" y="2951"/>
                    <a:pt x="21591" y="2804"/>
                  </a:cubicBezTo>
                  <a:cubicBezTo>
                    <a:pt x="21591" y="2656"/>
                    <a:pt x="21480" y="2568"/>
                    <a:pt x="21322" y="2568"/>
                  </a:cubicBezTo>
                  <a:cubicBezTo>
                    <a:pt x="21162" y="2583"/>
                    <a:pt x="20969" y="2531"/>
                    <a:pt x="20920" y="2425"/>
                  </a:cubicBezTo>
                  <a:cubicBezTo>
                    <a:pt x="20854" y="2330"/>
                    <a:pt x="20708" y="2173"/>
                    <a:pt x="20597" y="2066"/>
                  </a:cubicBezTo>
                  <a:cubicBezTo>
                    <a:pt x="20487" y="1961"/>
                    <a:pt x="20211" y="1874"/>
                    <a:pt x="19992" y="1903"/>
                  </a:cubicBezTo>
                  <a:cubicBezTo>
                    <a:pt x="19774" y="1934"/>
                    <a:pt x="19489" y="1934"/>
                    <a:pt x="19359" y="1934"/>
                  </a:cubicBezTo>
                  <a:cubicBezTo>
                    <a:pt x="19231" y="1934"/>
                    <a:pt x="19052" y="1789"/>
                    <a:pt x="18946" y="1612"/>
                  </a:cubicBezTo>
                  <a:cubicBezTo>
                    <a:pt x="18845" y="1428"/>
                    <a:pt x="18616" y="1194"/>
                    <a:pt x="18426" y="1102"/>
                  </a:cubicBezTo>
                  <a:cubicBezTo>
                    <a:pt x="18239" y="1003"/>
                    <a:pt x="17927" y="913"/>
                    <a:pt x="17735" y="883"/>
                  </a:cubicBezTo>
                  <a:cubicBezTo>
                    <a:pt x="17543" y="855"/>
                    <a:pt x="17341" y="920"/>
                    <a:pt x="17280" y="1010"/>
                  </a:cubicBezTo>
                  <a:cubicBezTo>
                    <a:pt x="17224" y="1111"/>
                    <a:pt x="17101" y="1221"/>
                    <a:pt x="17013" y="1251"/>
                  </a:cubicBezTo>
                  <a:cubicBezTo>
                    <a:pt x="16934" y="1299"/>
                    <a:pt x="16836" y="1245"/>
                    <a:pt x="16810" y="1164"/>
                  </a:cubicBezTo>
                  <a:cubicBezTo>
                    <a:pt x="16787" y="1078"/>
                    <a:pt x="16678" y="1004"/>
                    <a:pt x="16575" y="1004"/>
                  </a:cubicBezTo>
                  <a:cubicBezTo>
                    <a:pt x="16471" y="1004"/>
                    <a:pt x="16177" y="1038"/>
                    <a:pt x="15920" y="1053"/>
                  </a:cubicBezTo>
                  <a:cubicBezTo>
                    <a:pt x="15662" y="1084"/>
                    <a:pt x="15466" y="861"/>
                    <a:pt x="15490" y="551"/>
                  </a:cubicBezTo>
                  <a:close/>
                  <a:moveTo>
                    <a:pt x="15490" y="5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5" name="AutoShape 887"/>
            <p:cNvSpPr>
              <a:spLocks/>
            </p:cNvSpPr>
            <p:nvPr/>
          </p:nvSpPr>
          <p:spPr bwMode="auto">
            <a:xfrm>
              <a:off x="8191500" y="6324600"/>
              <a:ext cx="398463" cy="366713"/>
            </a:xfrm>
            <a:custGeom>
              <a:avLst/>
              <a:gdLst/>
              <a:ahLst/>
              <a:cxnLst/>
              <a:rect l="0" t="0" r="r" b="b"/>
              <a:pathLst>
                <a:path w="21579" h="21577">
                  <a:moveTo>
                    <a:pt x="21562" y="8550"/>
                  </a:moveTo>
                  <a:cubicBezTo>
                    <a:pt x="21524" y="8497"/>
                    <a:pt x="21468" y="8414"/>
                    <a:pt x="21426" y="8380"/>
                  </a:cubicBezTo>
                  <a:cubicBezTo>
                    <a:pt x="21383" y="8346"/>
                    <a:pt x="21372" y="8249"/>
                    <a:pt x="21381" y="8185"/>
                  </a:cubicBezTo>
                  <a:cubicBezTo>
                    <a:pt x="21393" y="8122"/>
                    <a:pt x="21363" y="8034"/>
                    <a:pt x="21313" y="8002"/>
                  </a:cubicBezTo>
                  <a:cubicBezTo>
                    <a:pt x="21263" y="7969"/>
                    <a:pt x="21165" y="7940"/>
                    <a:pt x="21090" y="7950"/>
                  </a:cubicBezTo>
                  <a:cubicBezTo>
                    <a:pt x="21013" y="7960"/>
                    <a:pt x="20872" y="7916"/>
                    <a:pt x="20770" y="7868"/>
                  </a:cubicBezTo>
                  <a:cubicBezTo>
                    <a:pt x="20675" y="7806"/>
                    <a:pt x="20522" y="7775"/>
                    <a:pt x="20443" y="7787"/>
                  </a:cubicBezTo>
                  <a:cubicBezTo>
                    <a:pt x="20362" y="7798"/>
                    <a:pt x="20179" y="7767"/>
                    <a:pt x="20033" y="7757"/>
                  </a:cubicBezTo>
                  <a:cubicBezTo>
                    <a:pt x="19885" y="7734"/>
                    <a:pt x="19707" y="7743"/>
                    <a:pt x="19634" y="7777"/>
                  </a:cubicBezTo>
                  <a:cubicBezTo>
                    <a:pt x="19574" y="7831"/>
                    <a:pt x="19397" y="7847"/>
                    <a:pt x="19269" y="7837"/>
                  </a:cubicBezTo>
                  <a:cubicBezTo>
                    <a:pt x="19140" y="7837"/>
                    <a:pt x="19002" y="7756"/>
                    <a:pt x="18953" y="7669"/>
                  </a:cubicBezTo>
                  <a:cubicBezTo>
                    <a:pt x="18898" y="7587"/>
                    <a:pt x="18782" y="7465"/>
                    <a:pt x="18689" y="7387"/>
                  </a:cubicBezTo>
                  <a:cubicBezTo>
                    <a:pt x="18597" y="7309"/>
                    <a:pt x="18488" y="7188"/>
                    <a:pt x="18466" y="7095"/>
                  </a:cubicBezTo>
                  <a:cubicBezTo>
                    <a:pt x="18436" y="7005"/>
                    <a:pt x="18442" y="6851"/>
                    <a:pt x="18431" y="6759"/>
                  </a:cubicBezTo>
                  <a:cubicBezTo>
                    <a:pt x="18431" y="6664"/>
                    <a:pt x="18440" y="6480"/>
                    <a:pt x="18431" y="6346"/>
                  </a:cubicBezTo>
                  <a:cubicBezTo>
                    <a:pt x="18421" y="6212"/>
                    <a:pt x="18450" y="6033"/>
                    <a:pt x="18496" y="5953"/>
                  </a:cubicBezTo>
                  <a:cubicBezTo>
                    <a:pt x="18536" y="5869"/>
                    <a:pt x="18501" y="5761"/>
                    <a:pt x="18416" y="5703"/>
                  </a:cubicBezTo>
                  <a:cubicBezTo>
                    <a:pt x="18327" y="5660"/>
                    <a:pt x="18181" y="5591"/>
                    <a:pt x="18083" y="5559"/>
                  </a:cubicBezTo>
                  <a:cubicBezTo>
                    <a:pt x="17987" y="5531"/>
                    <a:pt x="17898" y="5466"/>
                    <a:pt x="17879" y="5413"/>
                  </a:cubicBezTo>
                  <a:cubicBezTo>
                    <a:pt x="17861" y="5357"/>
                    <a:pt x="17863" y="5281"/>
                    <a:pt x="17872" y="5239"/>
                  </a:cubicBezTo>
                  <a:cubicBezTo>
                    <a:pt x="17872" y="5196"/>
                    <a:pt x="17900" y="5140"/>
                    <a:pt x="17900" y="5108"/>
                  </a:cubicBezTo>
                  <a:cubicBezTo>
                    <a:pt x="17908" y="5078"/>
                    <a:pt x="17846" y="5016"/>
                    <a:pt x="17769" y="4985"/>
                  </a:cubicBezTo>
                  <a:cubicBezTo>
                    <a:pt x="17696" y="4950"/>
                    <a:pt x="17598" y="4878"/>
                    <a:pt x="17543" y="4838"/>
                  </a:cubicBezTo>
                  <a:cubicBezTo>
                    <a:pt x="17492" y="4793"/>
                    <a:pt x="17374" y="4701"/>
                    <a:pt x="17281" y="4641"/>
                  </a:cubicBezTo>
                  <a:cubicBezTo>
                    <a:pt x="17186" y="4579"/>
                    <a:pt x="17012" y="4502"/>
                    <a:pt x="16914" y="4428"/>
                  </a:cubicBezTo>
                  <a:cubicBezTo>
                    <a:pt x="16805" y="4374"/>
                    <a:pt x="16610" y="4130"/>
                    <a:pt x="16470" y="3891"/>
                  </a:cubicBezTo>
                  <a:cubicBezTo>
                    <a:pt x="16334" y="3649"/>
                    <a:pt x="16187" y="3391"/>
                    <a:pt x="16152" y="3314"/>
                  </a:cubicBezTo>
                  <a:cubicBezTo>
                    <a:pt x="16113" y="3240"/>
                    <a:pt x="16061" y="3177"/>
                    <a:pt x="16033" y="3187"/>
                  </a:cubicBezTo>
                  <a:cubicBezTo>
                    <a:pt x="16003" y="3187"/>
                    <a:pt x="15935" y="3151"/>
                    <a:pt x="15869" y="3116"/>
                  </a:cubicBezTo>
                  <a:cubicBezTo>
                    <a:pt x="15813" y="3065"/>
                    <a:pt x="15748" y="2963"/>
                    <a:pt x="15728" y="2879"/>
                  </a:cubicBezTo>
                  <a:cubicBezTo>
                    <a:pt x="15709" y="2796"/>
                    <a:pt x="15656" y="2686"/>
                    <a:pt x="15607" y="2633"/>
                  </a:cubicBezTo>
                  <a:cubicBezTo>
                    <a:pt x="15555" y="2585"/>
                    <a:pt x="15513" y="2457"/>
                    <a:pt x="15494" y="2355"/>
                  </a:cubicBezTo>
                  <a:cubicBezTo>
                    <a:pt x="15484" y="2254"/>
                    <a:pt x="15434" y="2094"/>
                    <a:pt x="15390" y="1998"/>
                  </a:cubicBezTo>
                  <a:cubicBezTo>
                    <a:pt x="15345" y="1900"/>
                    <a:pt x="15278" y="1811"/>
                    <a:pt x="15251" y="1792"/>
                  </a:cubicBezTo>
                  <a:cubicBezTo>
                    <a:pt x="15218" y="1779"/>
                    <a:pt x="15191" y="1709"/>
                    <a:pt x="15182" y="1650"/>
                  </a:cubicBezTo>
                  <a:cubicBezTo>
                    <a:pt x="15173" y="1590"/>
                    <a:pt x="15136" y="1488"/>
                    <a:pt x="15097" y="1425"/>
                  </a:cubicBezTo>
                  <a:cubicBezTo>
                    <a:pt x="15053" y="1365"/>
                    <a:pt x="14967" y="1272"/>
                    <a:pt x="14892" y="1237"/>
                  </a:cubicBezTo>
                  <a:cubicBezTo>
                    <a:pt x="14817" y="1206"/>
                    <a:pt x="14731" y="1130"/>
                    <a:pt x="14692" y="1088"/>
                  </a:cubicBezTo>
                  <a:cubicBezTo>
                    <a:pt x="14649" y="1054"/>
                    <a:pt x="14558" y="970"/>
                    <a:pt x="14483" y="909"/>
                  </a:cubicBezTo>
                  <a:cubicBezTo>
                    <a:pt x="14400" y="858"/>
                    <a:pt x="14337" y="751"/>
                    <a:pt x="14346" y="688"/>
                  </a:cubicBezTo>
                  <a:cubicBezTo>
                    <a:pt x="14346" y="625"/>
                    <a:pt x="14349" y="535"/>
                    <a:pt x="14339" y="490"/>
                  </a:cubicBezTo>
                  <a:cubicBezTo>
                    <a:pt x="14329" y="448"/>
                    <a:pt x="14346" y="365"/>
                    <a:pt x="14367" y="309"/>
                  </a:cubicBezTo>
                  <a:cubicBezTo>
                    <a:pt x="14396" y="258"/>
                    <a:pt x="14398" y="161"/>
                    <a:pt x="14378" y="105"/>
                  </a:cubicBezTo>
                  <a:cubicBezTo>
                    <a:pt x="14360" y="47"/>
                    <a:pt x="14343" y="0"/>
                    <a:pt x="14337" y="0"/>
                  </a:cubicBezTo>
                  <a:cubicBezTo>
                    <a:pt x="14341" y="0"/>
                    <a:pt x="14333" y="4"/>
                    <a:pt x="14331" y="4"/>
                  </a:cubicBezTo>
                  <a:cubicBezTo>
                    <a:pt x="14333" y="4"/>
                    <a:pt x="14221" y="47"/>
                    <a:pt x="14087" y="103"/>
                  </a:cubicBezTo>
                  <a:cubicBezTo>
                    <a:pt x="13952" y="144"/>
                    <a:pt x="13674" y="279"/>
                    <a:pt x="13467" y="380"/>
                  </a:cubicBezTo>
                  <a:cubicBezTo>
                    <a:pt x="13263" y="490"/>
                    <a:pt x="13024" y="625"/>
                    <a:pt x="12934" y="680"/>
                  </a:cubicBezTo>
                  <a:cubicBezTo>
                    <a:pt x="12846" y="739"/>
                    <a:pt x="12714" y="805"/>
                    <a:pt x="12639" y="794"/>
                  </a:cubicBezTo>
                  <a:cubicBezTo>
                    <a:pt x="12562" y="794"/>
                    <a:pt x="12475" y="759"/>
                    <a:pt x="12453" y="712"/>
                  </a:cubicBezTo>
                  <a:cubicBezTo>
                    <a:pt x="12424" y="669"/>
                    <a:pt x="12295" y="656"/>
                    <a:pt x="12158" y="690"/>
                  </a:cubicBezTo>
                  <a:cubicBezTo>
                    <a:pt x="12021" y="725"/>
                    <a:pt x="11792" y="867"/>
                    <a:pt x="11655" y="1016"/>
                  </a:cubicBezTo>
                  <a:cubicBezTo>
                    <a:pt x="11512" y="1160"/>
                    <a:pt x="11285" y="1415"/>
                    <a:pt x="11151" y="1582"/>
                  </a:cubicBezTo>
                  <a:cubicBezTo>
                    <a:pt x="11010" y="1747"/>
                    <a:pt x="10718" y="2027"/>
                    <a:pt x="10494" y="2197"/>
                  </a:cubicBezTo>
                  <a:cubicBezTo>
                    <a:pt x="10280" y="2377"/>
                    <a:pt x="10047" y="2512"/>
                    <a:pt x="9997" y="2499"/>
                  </a:cubicBezTo>
                  <a:cubicBezTo>
                    <a:pt x="9947" y="2488"/>
                    <a:pt x="9921" y="2420"/>
                    <a:pt x="9943" y="2334"/>
                  </a:cubicBezTo>
                  <a:cubicBezTo>
                    <a:pt x="9976" y="2251"/>
                    <a:pt x="10013" y="2132"/>
                    <a:pt x="10055" y="2085"/>
                  </a:cubicBezTo>
                  <a:cubicBezTo>
                    <a:pt x="10093" y="2034"/>
                    <a:pt x="10097" y="1962"/>
                    <a:pt x="10055" y="1925"/>
                  </a:cubicBezTo>
                  <a:cubicBezTo>
                    <a:pt x="10011" y="1889"/>
                    <a:pt x="9961" y="1786"/>
                    <a:pt x="9939" y="1703"/>
                  </a:cubicBezTo>
                  <a:cubicBezTo>
                    <a:pt x="9917" y="1619"/>
                    <a:pt x="9867" y="1537"/>
                    <a:pt x="9833" y="1513"/>
                  </a:cubicBezTo>
                  <a:cubicBezTo>
                    <a:pt x="9805" y="1483"/>
                    <a:pt x="9744" y="1490"/>
                    <a:pt x="9717" y="1510"/>
                  </a:cubicBezTo>
                  <a:cubicBezTo>
                    <a:pt x="9687" y="1526"/>
                    <a:pt x="9594" y="1555"/>
                    <a:pt x="9510" y="1576"/>
                  </a:cubicBezTo>
                  <a:cubicBezTo>
                    <a:pt x="9427" y="1609"/>
                    <a:pt x="9199" y="1683"/>
                    <a:pt x="9004" y="1754"/>
                  </a:cubicBezTo>
                  <a:cubicBezTo>
                    <a:pt x="8809" y="1828"/>
                    <a:pt x="8143" y="2076"/>
                    <a:pt x="7519" y="2291"/>
                  </a:cubicBezTo>
                  <a:cubicBezTo>
                    <a:pt x="6897" y="2519"/>
                    <a:pt x="5990" y="2709"/>
                    <a:pt x="5517" y="2752"/>
                  </a:cubicBezTo>
                  <a:cubicBezTo>
                    <a:pt x="5041" y="2785"/>
                    <a:pt x="4446" y="4126"/>
                    <a:pt x="4177" y="5708"/>
                  </a:cubicBezTo>
                  <a:cubicBezTo>
                    <a:pt x="4048" y="6493"/>
                    <a:pt x="3912" y="7273"/>
                    <a:pt x="3783" y="8052"/>
                  </a:cubicBezTo>
                  <a:cubicBezTo>
                    <a:pt x="3523" y="9603"/>
                    <a:pt x="2839" y="10907"/>
                    <a:pt x="2279" y="11004"/>
                  </a:cubicBezTo>
                  <a:cubicBezTo>
                    <a:pt x="1715" y="11082"/>
                    <a:pt x="1034" y="12400"/>
                    <a:pt x="755" y="13916"/>
                  </a:cubicBezTo>
                  <a:cubicBezTo>
                    <a:pt x="662" y="14350"/>
                    <a:pt x="594" y="14788"/>
                    <a:pt x="512" y="15222"/>
                  </a:cubicBezTo>
                  <a:cubicBezTo>
                    <a:pt x="223" y="16711"/>
                    <a:pt x="6" y="17931"/>
                    <a:pt x="0" y="17944"/>
                  </a:cubicBezTo>
                  <a:cubicBezTo>
                    <a:pt x="0" y="17957"/>
                    <a:pt x="6" y="17977"/>
                    <a:pt x="1" y="17977"/>
                  </a:cubicBezTo>
                  <a:cubicBezTo>
                    <a:pt x="5" y="17977"/>
                    <a:pt x="11" y="17976"/>
                    <a:pt x="5" y="17976"/>
                  </a:cubicBezTo>
                  <a:cubicBezTo>
                    <a:pt x="11" y="17976"/>
                    <a:pt x="160" y="18061"/>
                    <a:pt x="351" y="18171"/>
                  </a:cubicBezTo>
                  <a:cubicBezTo>
                    <a:pt x="544" y="18275"/>
                    <a:pt x="726" y="18497"/>
                    <a:pt x="771" y="18644"/>
                  </a:cubicBezTo>
                  <a:cubicBezTo>
                    <a:pt x="810" y="18794"/>
                    <a:pt x="946" y="19157"/>
                    <a:pt x="1063" y="19454"/>
                  </a:cubicBezTo>
                  <a:cubicBezTo>
                    <a:pt x="1180" y="19752"/>
                    <a:pt x="1252" y="20117"/>
                    <a:pt x="1233" y="20273"/>
                  </a:cubicBezTo>
                  <a:cubicBezTo>
                    <a:pt x="1214" y="20429"/>
                    <a:pt x="1100" y="20717"/>
                    <a:pt x="978" y="20904"/>
                  </a:cubicBezTo>
                  <a:cubicBezTo>
                    <a:pt x="856" y="21091"/>
                    <a:pt x="755" y="21340"/>
                    <a:pt x="735" y="21447"/>
                  </a:cubicBezTo>
                  <a:cubicBezTo>
                    <a:pt x="724" y="21556"/>
                    <a:pt x="836" y="21600"/>
                    <a:pt x="1005" y="21565"/>
                  </a:cubicBezTo>
                  <a:cubicBezTo>
                    <a:pt x="1172" y="21520"/>
                    <a:pt x="1443" y="21486"/>
                    <a:pt x="1604" y="21497"/>
                  </a:cubicBezTo>
                  <a:cubicBezTo>
                    <a:pt x="1765" y="21508"/>
                    <a:pt x="1981" y="21466"/>
                    <a:pt x="2084" y="21409"/>
                  </a:cubicBezTo>
                  <a:cubicBezTo>
                    <a:pt x="2188" y="21353"/>
                    <a:pt x="2390" y="21311"/>
                    <a:pt x="2534" y="21311"/>
                  </a:cubicBezTo>
                  <a:cubicBezTo>
                    <a:pt x="2677" y="21300"/>
                    <a:pt x="2885" y="21255"/>
                    <a:pt x="2989" y="21175"/>
                  </a:cubicBezTo>
                  <a:cubicBezTo>
                    <a:pt x="3100" y="21110"/>
                    <a:pt x="3291" y="21000"/>
                    <a:pt x="3423" y="20956"/>
                  </a:cubicBezTo>
                  <a:cubicBezTo>
                    <a:pt x="3554" y="20905"/>
                    <a:pt x="3769" y="20782"/>
                    <a:pt x="3906" y="20687"/>
                  </a:cubicBezTo>
                  <a:cubicBezTo>
                    <a:pt x="4033" y="20581"/>
                    <a:pt x="4191" y="20443"/>
                    <a:pt x="4244" y="20366"/>
                  </a:cubicBezTo>
                  <a:cubicBezTo>
                    <a:pt x="4300" y="20295"/>
                    <a:pt x="4515" y="20145"/>
                    <a:pt x="4731" y="20045"/>
                  </a:cubicBezTo>
                  <a:cubicBezTo>
                    <a:pt x="4943" y="19940"/>
                    <a:pt x="5223" y="19758"/>
                    <a:pt x="5349" y="19632"/>
                  </a:cubicBezTo>
                  <a:cubicBezTo>
                    <a:pt x="5481" y="19512"/>
                    <a:pt x="5681" y="19209"/>
                    <a:pt x="5816" y="18972"/>
                  </a:cubicBezTo>
                  <a:cubicBezTo>
                    <a:pt x="5945" y="18735"/>
                    <a:pt x="6203" y="18416"/>
                    <a:pt x="6383" y="18254"/>
                  </a:cubicBezTo>
                  <a:cubicBezTo>
                    <a:pt x="6567" y="18097"/>
                    <a:pt x="6840" y="17929"/>
                    <a:pt x="6993" y="17895"/>
                  </a:cubicBezTo>
                  <a:cubicBezTo>
                    <a:pt x="7142" y="17849"/>
                    <a:pt x="7435" y="17822"/>
                    <a:pt x="7638" y="17822"/>
                  </a:cubicBezTo>
                  <a:cubicBezTo>
                    <a:pt x="7840" y="17811"/>
                    <a:pt x="8042" y="17874"/>
                    <a:pt x="8098" y="17934"/>
                  </a:cubicBezTo>
                  <a:cubicBezTo>
                    <a:pt x="8147" y="18000"/>
                    <a:pt x="8247" y="18051"/>
                    <a:pt x="8316" y="18039"/>
                  </a:cubicBezTo>
                  <a:cubicBezTo>
                    <a:pt x="8385" y="18028"/>
                    <a:pt x="8613" y="18091"/>
                    <a:pt x="8816" y="18180"/>
                  </a:cubicBezTo>
                  <a:cubicBezTo>
                    <a:pt x="9019" y="18268"/>
                    <a:pt x="9269" y="18309"/>
                    <a:pt x="9367" y="18276"/>
                  </a:cubicBezTo>
                  <a:cubicBezTo>
                    <a:pt x="9468" y="18252"/>
                    <a:pt x="9628" y="18239"/>
                    <a:pt x="9728" y="18250"/>
                  </a:cubicBezTo>
                  <a:cubicBezTo>
                    <a:pt x="9826" y="18269"/>
                    <a:pt x="10017" y="18242"/>
                    <a:pt x="10145" y="18193"/>
                  </a:cubicBezTo>
                  <a:cubicBezTo>
                    <a:pt x="10276" y="18145"/>
                    <a:pt x="10500" y="18086"/>
                    <a:pt x="10643" y="18064"/>
                  </a:cubicBezTo>
                  <a:cubicBezTo>
                    <a:pt x="10787" y="18042"/>
                    <a:pt x="10982" y="17995"/>
                    <a:pt x="11082" y="17973"/>
                  </a:cubicBezTo>
                  <a:cubicBezTo>
                    <a:pt x="11178" y="17942"/>
                    <a:pt x="11297" y="17959"/>
                    <a:pt x="11328" y="18014"/>
                  </a:cubicBezTo>
                  <a:cubicBezTo>
                    <a:pt x="11370" y="18060"/>
                    <a:pt x="11454" y="18123"/>
                    <a:pt x="11523" y="18134"/>
                  </a:cubicBezTo>
                  <a:cubicBezTo>
                    <a:pt x="11595" y="18145"/>
                    <a:pt x="11773" y="18084"/>
                    <a:pt x="11917" y="17977"/>
                  </a:cubicBezTo>
                  <a:cubicBezTo>
                    <a:pt x="12063" y="17872"/>
                    <a:pt x="12154" y="17763"/>
                    <a:pt x="12133" y="17719"/>
                  </a:cubicBezTo>
                  <a:cubicBezTo>
                    <a:pt x="12107" y="17681"/>
                    <a:pt x="12126" y="17562"/>
                    <a:pt x="12176" y="17454"/>
                  </a:cubicBezTo>
                  <a:cubicBezTo>
                    <a:pt x="12217" y="17344"/>
                    <a:pt x="12278" y="17204"/>
                    <a:pt x="12288" y="17135"/>
                  </a:cubicBezTo>
                  <a:cubicBezTo>
                    <a:pt x="12297" y="17066"/>
                    <a:pt x="12358" y="16952"/>
                    <a:pt x="12425" y="16889"/>
                  </a:cubicBezTo>
                  <a:cubicBezTo>
                    <a:pt x="12488" y="16821"/>
                    <a:pt x="12561" y="16648"/>
                    <a:pt x="12571" y="16498"/>
                  </a:cubicBezTo>
                  <a:cubicBezTo>
                    <a:pt x="12581" y="16348"/>
                    <a:pt x="12655" y="16145"/>
                    <a:pt x="12719" y="16041"/>
                  </a:cubicBezTo>
                  <a:cubicBezTo>
                    <a:pt x="12783" y="15936"/>
                    <a:pt x="12944" y="15814"/>
                    <a:pt x="13074" y="15779"/>
                  </a:cubicBezTo>
                  <a:cubicBezTo>
                    <a:pt x="13204" y="15747"/>
                    <a:pt x="13385" y="15658"/>
                    <a:pt x="13472" y="15585"/>
                  </a:cubicBezTo>
                  <a:cubicBezTo>
                    <a:pt x="13559" y="15513"/>
                    <a:pt x="13706" y="15455"/>
                    <a:pt x="13786" y="15423"/>
                  </a:cubicBezTo>
                  <a:cubicBezTo>
                    <a:pt x="13868" y="15401"/>
                    <a:pt x="13976" y="15339"/>
                    <a:pt x="14017" y="15280"/>
                  </a:cubicBezTo>
                  <a:cubicBezTo>
                    <a:pt x="14060" y="15222"/>
                    <a:pt x="14134" y="15156"/>
                    <a:pt x="14175" y="15120"/>
                  </a:cubicBezTo>
                  <a:cubicBezTo>
                    <a:pt x="14217" y="15086"/>
                    <a:pt x="14287" y="14993"/>
                    <a:pt x="14330" y="14912"/>
                  </a:cubicBezTo>
                  <a:cubicBezTo>
                    <a:pt x="14381" y="14835"/>
                    <a:pt x="14490" y="14704"/>
                    <a:pt x="14579" y="14619"/>
                  </a:cubicBezTo>
                  <a:cubicBezTo>
                    <a:pt x="14673" y="14540"/>
                    <a:pt x="14808" y="14456"/>
                    <a:pt x="14873" y="14426"/>
                  </a:cubicBezTo>
                  <a:cubicBezTo>
                    <a:pt x="14941" y="14401"/>
                    <a:pt x="15032" y="14330"/>
                    <a:pt x="15081" y="14277"/>
                  </a:cubicBezTo>
                  <a:cubicBezTo>
                    <a:pt x="15128" y="14226"/>
                    <a:pt x="15232" y="14149"/>
                    <a:pt x="15317" y="14125"/>
                  </a:cubicBezTo>
                  <a:cubicBezTo>
                    <a:pt x="15400" y="14092"/>
                    <a:pt x="15478" y="13997"/>
                    <a:pt x="15496" y="13908"/>
                  </a:cubicBezTo>
                  <a:cubicBezTo>
                    <a:pt x="15506" y="13817"/>
                    <a:pt x="15500" y="13712"/>
                    <a:pt x="15480" y="13671"/>
                  </a:cubicBezTo>
                  <a:cubicBezTo>
                    <a:pt x="15449" y="13636"/>
                    <a:pt x="15466" y="13476"/>
                    <a:pt x="15509" y="13335"/>
                  </a:cubicBezTo>
                  <a:cubicBezTo>
                    <a:pt x="15541" y="13190"/>
                    <a:pt x="15734" y="12881"/>
                    <a:pt x="15929" y="12648"/>
                  </a:cubicBezTo>
                  <a:cubicBezTo>
                    <a:pt x="16111" y="12406"/>
                    <a:pt x="16355" y="12188"/>
                    <a:pt x="16443" y="12131"/>
                  </a:cubicBezTo>
                  <a:cubicBezTo>
                    <a:pt x="16537" y="12080"/>
                    <a:pt x="16659" y="12012"/>
                    <a:pt x="16725" y="11989"/>
                  </a:cubicBezTo>
                  <a:cubicBezTo>
                    <a:pt x="16790" y="11968"/>
                    <a:pt x="16883" y="11889"/>
                    <a:pt x="16940" y="11829"/>
                  </a:cubicBezTo>
                  <a:cubicBezTo>
                    <a:pt x="16990" y="11762"/>
                    <a:pt x="17113" y="11677"/>
                    <a:pt x="17205" y="11637"/>
                  </a:cubicBezTo>
                  <a:cubicBezTo>
                    <a:pt x="17293" y="11589"/>
                    <a:pt x="17400" y="11512"/>
                    <a:pt x="17431" y="11452"/>
                  </a:cubicBezTo>
                  <a:cubicBezTo>
                    <a:pt x="17471" y="11397"/>
                    <a:pt x="17558" y="11300"/>
                    <a:pt x="17637" y="11246"/>
                  </a:cubicBezTo>
                  <a:cubicBezTo>
                    <a:pt x="17718" y="11197"/>
                    <a:pt x="17837" y="11090"/>
                    <a:pt x="17906" y="11025"/>
                  </a:cubicBezTo>
                  <a:cubicBezTo>
                    <a:pt x="17973" y="10953"/>
                    <a:pt x="18150" y="10795"/>
                    <a:pt x="18297" y="10671"/>
                  </a:cubicBezTo>
                  <a:cubicBezTo>
                    <a:pt x="18437" y="10540"/>
                    <a:pt x="18657" y="10401"/>
                    <a:pt x="18781" y="10367"/>
                  </a:cubicBezTo>
                  <a:cubicBezTo>
                    <a:pt x="18906" y="10336"/>
                    <a:pt x="19033" y="10308"/>
                    <a:pt x="19068" y="10326"/>
                  </a:cubicBezTo>
                  <a:cubicBezTo>
                    <a:pt x="19100" y="10350"/>
                    <a:pt x="19177" y="10340"/>
                    <a:pt x="19234" y="10323"/>
                  </a:cubicBezTo>
                  <a:cubicBezTo>
                    <a:pt x="19288" y="10294"/>
                    <a:pt x="19418" y="10256"/>
                    <a:pt x="19517" y="10243"/>
                  </a:cubicBezTo>
                  <a:cubicBezTo>
                    <a:pt x="19615" y="10220"/>
                    <a:pt x="19774" y="10133"/>
                    <a:pt x="19865" y="10045"/>
                  </a:cubicBezTo>
                  <a:cubicBezTo>
                    <a:pt x="19952" y="9950"/>
                    <a:pt x="20109" y="9864"/>
                    <a:pt x="20193" y="9825"/>
                  </a:cubicBezTo>
                  <a:cubicBezTo>
                    <a:pt x="20281" y="9796"/>
                    <a:pt x="20390" y="9689"/>
                    <a:pt x="20439" y="9593"/>
                  </a:cubicBezTo>
                  <a:cubicBezTo>
                    <a:pt x="20481" y="9493"/>
                    <a:pt x="20522" y="9373"/>
                    <a:pt x="20522" y="9317"/>
                  </a:cubicBezTo>
                  <a:cubicBezTo>
                    <a:pt x="20512" y="9264"/>
                    <a:pt x="20568" y="9161"/>
                    <a:pt x="20641" y="9104"/>
                  </a:cubicBezTo>
                  <a:cubicBezTo>
                    <a:pt x="20711" y="9040"/>
                    <a:pt x="20854" y="8972"/>
                    <a:pt x="20955" y="8949"/>
                  </a:cubicBezTo>
                  <a:cubicBezTo>
                    <a:pt x="21057" y="8928"/>
                    <a:pt x="21191" y="8865"/>
                    <a:pt x="21253" y="8816"/>
                  </a:cubicBezTo>
                  <a:cubicBezTo>
                    <a:pt x="21318" y="8767"/>
                    <a:pt x="21426" y="8701"/>
                    <a:pt x="21501" y="8681"/>
                  </a:cubicBezTo>
                  <a:cubicBezTo>
                    <a:pt x="21572" y="8648"/>
                    <a:pt x="21600" y="8601"/>
                    <a:pt x="21562" y="8550"/>
                  </a:cubicBezTo>
                  <a:close/>
                  <a:moveTo>
                    <a:pt x="21562" y="85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6" name="AutoShape 888"/>
            <p:cNvSpPr>
              <a:spLocks/>
            </p:cNvSpPr>
            <p:nvPr/>
          </p:nvSpPr>
          <p:spPr bwMode="auto">
            <a:xfrm>
              <a:off x="7861300" y="6311900"/>
              <a:ext cx="584200" cy="468313"/>
            </a:xfrm>
            <a:custGeom>
              <a:avLst/>
              <a:gdLst/>
              <a:ahLst/>
              <a:cxnLst/>
              <a:rect l="0" t="0" r="r" b="b"/>
              <a:pathLst>
                <a:path w="21572" h="21578">
                  <a:moveTo>
                    <a:pt x="6014" y="21067"/>
                  </a:moveTo>
                  <a:cubicBezTo>
                    <a:pt x="6025" y="21015"/>
                    <a:pt x="6003" y="20955"/>
                    <a:pt x="5979" y="20934"/>
                  </a:cubicBezTo>
                  <a:cubicBezTo>
                    <a:pt x="5949" y="20920"/>
                    <a:pt x="5974" y="20826"/>
                    <a:pt x="6027" y="20743"/>
                  </a:cubicBezTo>
                  <a:cubicBezTo>
                    <a:pt x="6083" y="20665"/>
                    <a:pt x="6211" y="20548"/>
                    <a:pt x="6321" y="20492"/>
                  </a:cubicBezTo>
                  <a:cubicBezTo>
                    <a:pt x="6428" y="20430"/>
                    <a:pt x="6555" y="20459"/>
                    <a:pt x="6593" y="20544"/>
                  </a:cubicBezTo>
                  <a:cubicBezTo>
                    <a:pt x="6625" y="20631"/>
                    <a:pt x="6734" y="20696"/>
                    <a:pt x="6816" y="20679"/>
                  </a:cubicBezTo>
                  <a:cubicBezTo>
                    <a:pt x="6900" y="20679"/>
                    <a:pt x="6926" y="20741"/>
                    <a:pt x="6882" y="20842"/>
                  </a:cubicBezTo>
                  <a:cubicBezTo>
                    <a:pt x="6832" y="20940"/>
                    <a:pt x="6830" y="21120"/>
                    <a:pt x="6882" y="21234"/>
                  </a:cubicBezTo>
                  <a:cubicBezTo>
                    <a:pt x="6926" y="21354"/>
                    <a:pt x="7084" y="21456"/>
                    <a:pt x="7225" y="21465"/>
                  </a:cubicBezTo>
                  <a:cubicBezTo>
                    <a:pt x="7366" y="21474"/>
                    <a:pt x="7553" y="21513"/>
                    <a:pt x="7640" y="21549"/>
                  </a:cubicBezTo>
                  <a:cubicBezTo>
                    <a:pt x="7728" y="21577"/>
                    <a:pt x="7852" y="21587"/>
                    <a:pt x="7922" y="21569"/>
                  </a:cubicBezTo>
                  <a:cubicBezTo>
                    <a:pt x="7992" y="21543"/>
                    <a:pt x="8086" y="21526"/>
                    <a:pt x="8129" y="21544"/>
                  </a:cubicBezTo>
                  <a:cubicBezTo>
                    <a:pt x="8171" y="21562"/>
                    <a:pt x="8267" y="21568"/>
                    <a:pt x="8339" y="21568"/>
                  </a:cubicBezTo>
                  <a:cubicBezTo>
                    <a:pt x="8411" y="21568"/>
                    <a:pt x="8499" y="21535"/>
                    <a:pt x="8539" y="21501"/>
                  </a:cubicBezTo>
                  <a:cubicBezTo>
                    <a:pt x="8576" y="21462"/>
                    <a:pt x="8660" y="21422"/>
                    <a:pt x="8724" y="21413"/>
                  </a:cubicBezTo>
                  <a:cubicBezTo>
                    <a:pt x="8786" y="21396"/>
                    <a:pt x="8853" y="21445"/>
                    <a:pt x="8884" y="21493"/>
                  </a:cubicBezTo>
                  <a:cubicBezTo>
                    <a:pt x="8910" y="21544"/>
                    <a:pt x="8977" y="21574"/>
                    <a:pt x="9040" y="21556"/>
                  </a:cubicBezTo>
                  <a:cubicBezTo>
                    <a:pt x="9102" y="21533"/>
                    <a:pt x="9194" y="21531"/>
                    <a:pt x="9244" y="21531"/>
                  </a:cubicBezTo>
                  <a:cubicBezTo>
                    <a:pt x="9295" y="21541"/>
                    <a:pt x="9355" y="21468"/>
                    <a:pt x="9362" y="21378"/>
                  </a:cubicBezTo>
                  <a:cubicBezTo>
                    <a:pt x="9376" y="21290"/>
                    <a:pt x="9420" y="21180"/>
                    <a:pt x="9461" y="21139"/>
                  </a:cubicBezTo>
                  <a:cubicBezTo>
                    <a:pt x="9502" y="21096"/>
                    <a:pt x="9579" y="21040"/>
                    <a:pt x="9633" y="21015"/>
                  </a:cubicBezTo>
                  <a:cubicBezTo>
                    <a:pt x="9686" y="20986"/>
                    <a:pt x="9768" y="20891"/>
                    <a:pt x="9823" y="20806"/>
                  </a:cubicBezTo>
                  <a:cubicBezTo>
                    <a:pt x="9874" y="20718"/>
                    <a:pt x="10011" y="20585"/>
                    <a:pt x="10131" y="20507"/>
                  </a:cubicBezTo>
                  <a:cubicBezTo>
                    <a:pt x="10254" y="20439"/>
                    <a:pt x="10457" y="20357"/>
                    <a:pt x="10590" y="20348"/>
                  </a:cubicBezTo>
                  <a:cubicBezTo>
                    <a:pt x="10723" y="20339"/>
                    <a:pt x="10867" y="20316"/>
                    <a:pt x="10909" y="20316"/>
                  </a:cubicBezTo>
                  <a:cubicBezTo>
                    <a:pt x="10952" y="20316"/>
                    <a:pt x="11126" y="19403"/>
                    <a:pt x="11303" y="18296"/>
                  </a:cubicBezTo>
                  <a:cubicBezTo>
                    <a:pt x="11392" y="17724"/>
                    <a:pt x="11473" y="17147"/>
                    <a:pt x="11568" y="16570"/>
                  </a:cubicBezTo>
                  <a:cubicBezTo>
                    <a:pt x="11570" y="16552"/>
                    <a:pt x="11574" y="16535"/>
                    <a:pt x="11576" y="16517"/>
                  </a:cubicBezTo>
                  <a:cubicBezTo>
                    <a:pt x="11743" y="15413"/>
                    <a:pt x="11878" y="14506"/>
                    <a:pt x="11876" y="14506"/>
                  </a:cubicBezTo>
                  <a:cubicBezTo>
                    <a:pt x="11879" y="14506"/>
                    <a:pt x="11875" y="14490"/>
                    <a:pt x="11875" y="14479"/>
                  </a:cubicBezTo>
                  <a:cubicBezTo>
                    <a:pt x="11879" y="14470"/>
                    <a:pt x="12027" y="13513"/>
                    <a:pt x="12224" y="12345"/>
                  </a:cubicBezTo>
                  <a:cubicBezTo>
                    <a:pt x="12280" y="12005"/>
                    <a:pt x="12326" y="11661"/>
                    <a:pt x="12389" y="11321"/>
                  </a:cubicBezTo>
                  <a:cubicBezTo>
                    <a:pt x="12580" y="10132"/>
                    <a:pt x="13044" y="9099"/>
                    <a:pt x="13428" y="9038"/>
                  </a:cubicBezTo>
                  <a:cubicBezTo>
                    <a:pt x="13809" y="8961"/>
                    <a:pt x="14275" y="7938"/>
                    <a:pt x="14453" y="6723"/>
                  </a:cubicBezTo>
                  <a:cubicBezTo>
                    <a:pt x="14541" y="6112"/>
                    <a:pt x="14633" y="5500"/>
                    <a:pt x="14721" y="4884"/>
                  </a:cubicBezTo>
                  <a:cubicBezTo>
                    <a:pt x="14905" y="3644"/>
                    <a:pt x="15310" y="2592"/>
                    <a:pt x="15635" y="2566"/>
                  </a:cubicBezTo>
                  <a:cubicBezTo>
                    <a:pt x="15957" y="2533"/>
                    <a:pt x="16575" y="2384"/>
                    <a:pt x="16998" y="2204"/>
                  </a:cubicBezTo>
                  <a:cubicBezTo>
                    <a:pt x="17423" y="2036"/>
                    <a:pt x="17878" y="1842"/>
                    <a:pt x="18010" y="1783"/>
                  </a:cubicBezTo>
                  <a:cubicBezTo>
                    <a:pt x="18143" y="1728"/>
                    <a:pt x="18299" y="1670"/>
                    <a:pt x="18355" y="1644"/>
                  </a:cubicBezTo>
                  <a:cubicBezTo>
                    <a:pt x="18412" y="1627"/>
                    <a:pt x="18476" y="1604"/>
                    <a:pt x="18496" y="1592"/>
                  </a:cubicBezTo>
                  <a:cubicBezTo>
                    <a:pt x="18514" y="1576"/>
                    <a:pt x="18556" y="1571"/>
                    <a:pt x="18575" y="1595"/>
                  </a:cubicBezTo>
                  <a:cubicBezTo>
                    <a:pt x="18598" y="1613"/>
                    <a:pt x="18632" y="1677"/>
                    <a:pt x="18647" y="1744"/>
                  </a:cubicBezTo>
                  <a:cubicBezTo>
                    <a:pt x="18662" y="1809"/>
                    <a:pt x="18697" y="1890"/>
                    <a:pt x="18726" y="1917"/>
                  </a:cubicBezTo>
                  <a:cubicBezTo>
                    <a:pt x="18755" y="1947"/>
                    <a:pt x="18752" y="2003"/>
                    <a:pt x="18727" y="2043"/>
                  </a:cubicBezTo>
                  <a:cubicBezTo>
                    <a:pt x="18698" y="2080"/>
                    <a:pt x="18672" y="2173"/>
                    <a:pt x="18650" y="2238"/>
                  </a:cubicBezTo>
                  <a:cubicBezTo>
                    <a:pt x="18635" y="2305"/>
                    <a:pt x="18653" y="2359"/>
                    <a:pt x="18687" y="2368"/>
                  </a:cubicBezTo>
                  <a:cubicBezTo>
                    <a:pt x="18721" y="2378"/>
                    <a:pt x="18879" y="2272"/>
                    <a:pt x="19026" y="2131"/>
                  </a:cubicBezTo>
                  <a:cubicBezTo>
                    <a:pt x="19178" y="1998"/>
                    <a:pt x="19377" y="1778"/>
                    <a:pt x="19473" y="1649"/>
                  </a:cubicBezTo>
                  <a:cubicBezTo>
                    <a:pt x="19564" y="1518"/>
                    <a:pt x="19719" y="1317"/>
                    <a:pt x="19816" y="1204"/>
                  </a:cubicBezTo>
                  <a:cubicBezTo>
                    <a:pt x="19910" y="1088"/>
                    <a:pt x="20066" y="976"/>
                    <a:pt x="20160" y="949"/>
                  </a:cubicBezTo>
                  <a:cubicBezTo>
                    <a:pt x="20253" y="923"/>
                    <a:pt x="20340" y="933"/>
                    <a:pt x="20361" y="967"/>
                  </a:cubicBezTo>
                  <a:cubicBezTo>
                    <a:pt x="20375" y="1003"/>
                    <a:pt x="20435" y="1031"/>
                    <a:pt x="20487" y="1031"/>
                  </a:cubicBezTo>
                  <a:cubicBezTo>
                    <a:pt x="20538" y="1040"/>
                    <a:pt x="20628" y="988"/>
                    <a:pt x="20688" y="941"/>
                  </a:cubicBezTo>
                  <a:cubicBezTo>
                    <a:pt x="20750" y="898"/>
                    <a:pt x="20912" y="793"/>
                    <a:pt x="21051" y="706"/>
                  </a:cubicBezTo>
                  <a:cubicBezTo>
                    <a:pt x="21192" y="627"/>
                    <a:pt x="21382" y="521"/>
                    <a:pt x="21474" y="488"/>
                  </a:cubicBezTo>
                  <a:cubicBezTo>
                    <a:pt x="21565" y="445"/>
                    <a:pt x="21600" y="349"/>
                    <a:pt x="21547" y="275"/>
                  </a:cubicBezTo>
                  <a:cubicBezTo>
                    <a:pt x="21494" y="200"/>
                    <a:pt x="21438" y="134"/>
                    <a:pt x="21419" y="126"/>
                  </a:cubicBezTo>
                  <a:cubicBezTo>
                    <a:pt x="21400" y="118"/>
                    <a:pt x="21370" y="97"/>
                    <a:pt x="21347" y="90"/>
                  </a:cubicBezTo>
                  <a:cubicBezTo>
                    <a:pt x="21330" y="69"/>
                    <a:pt x="21271" y="73"/>
                    <a:pt x="21225" y="81"/>
                  </a:cubicBezTo>
                  <a:cubicBezTo>
                    <a:pt x="21178" y="81"/>
                    <a:pt x="21122" y="73"/>
                    <a:pt x="21094" y="56"/>
                  </a:cubicBezTo>
                  <a:cubicBezTo>
                    <a:pt x="21068" y="35"/>
                    <a:pt x="21031" y="14"/>
                    <a:pt x="21014" y="21"/>
                  </a:cubicBezTo>
                  <a:cubicBezTo>
                    <a:pt x="20996" y="21"/>
                    <a:pt x="20959" y="17"/>
                    <a:pt x="20933" y="5"/>
                  </a:cubicBezTo>
                  <a:cubicBezTo>
                    <a:pt x="20911" y="-13"/>
                    <a:pt x="20806" y="22"/>
                    <a:pt x="20706" y="63"/>
                  </a:cubicBezTo>
                  <a:cubicBezTo>
                    <a:pt x="20606" y="108"/>
                    <a:pt x="20489" y="144"/>
                    <a:pt x="20445" y="144"/>
                  </a:cubicBezTo>
                  <a:cubicBezTo>
                    <a:pt x="20402" y="153"/>
                    <a:pt x="19478" y="516"/>
                    <a:pt x="18384" y="937"/>
                  </a:cubicBezTo>
                  <a:cubicBezTo>
                    <a:pt x="18369" y="937"/>
                    <a:pt x="18356" y="955"/>
                    <a:pt x="18340" y="955"/>
                  </a:cubicBezTo>
                  <a:cubicBezTo>
                    <a:pt x="17509" y="1289"/>
                    <a:pt x="16777" y="1569"/>
                    <a:pt x="16459" y="1684"/>
                  </a:cubicBezTo>
                  <a:cubicBezTo>
                    <a:pt x="16392" y="1709"/>
                    <a:pt x="16343" y="1726"/>
                    <a:pt x="16317" y="1735"/>
                  </a:cubicBezTo>
                  <a:cubicBezTo>
                    <a:pt x="16304" y="1739"/>
                    <a:pt x="16295" y="1742"/>
                    <a:pt x="16292" y="1742"/>
                  </a:cubicBezTo>
                  <a:cubicBezTo>
                    <a:pt x="16267" y="1752"/>
                    <a:pt x="16214" y="1766"/>
                    <a:pt x="16176" y="1766"/>
                  </a:cubicBezTo>
                  <a:cubicBezTo>
                    <a:pt x="16140" y="1774"/>
                    <a:pt x="16078" y="1785"/>
                    <a:pt x="16040" y="1785"/>
                  </a:cubicBezTo>
                  <a:cubicBezTo>
                    <a:pt x="16003" y="1797"/>
                    <a:pt x="15953" y="1781"/>
                    <a:pt x="15935" y="1766"/>
                  </a:cubicBezTo>
                  <a:cubicBezTo>
                    <a:pt x="15915" y="1760"/>
                    <a:pt x="15872" y="1751"/>
                    <a:pt x="15839" y="1751"/>
                  </a:cubicBezTo>
                  <a:cubicBezTo>
                    <a:pt x="15805" y="1760"/>
                    <a:pt x="15758" y="1729"/>
                    <a:pt x="15738" y="1696"/>
                  </a:cubicBezTo>
                  <a:cubicBezTo>
                    <a:pt x="15723" y="1657"/>
                    <a:pt x="15668" y="1656"/>
                    <a:pt x="15630" y="1676"/>
                  </a:cubicBezTo>
                  <a:cubicBezTo>
                    <a:pt x="15591" y="1692"/>
                    <a:pt x="15538" y="1698"/>
                    <a:pt x="15509" y="1677"/>
                  </a:cubicBezTo>
                  <a:cubicBezTo>
                    <a:pt x="15478" y="1657"/>
                    <a:pt x="15422" y="1624"/>
                    <a:pt x="15378" y="1624"/>
                  </a:cubicBezTo>
                  <a:cubicBezTo>
                    <a:pt x="15336" y="1616"/>
                    <a:pt x="15258" y="1625"/>
                    <a:pt x="15210" y="1651"/>
                  </a:cubicBezTo>
                  <a:cubicBezTo>
                    <a:pt x="15157" y="1660"/>
                    <a:pt x="15107" y="1719"/>
                    <a:pt x="15107" y="1754"/>
                  </a:cubicBezTo>
                  <a:cubicBezTo>
                    <a:pt x="15100" y="1787"/>
                    <a:pt x="15066" y="1834"/>
                    <a:pt x="15031" y="1860"/>
                  </a:cubicBezTo>
                  <a:cubicBezTo>
                    <a:pt x="14998" y="1887"/>
                    <a:pt x="14894" y="1908"/>
                    <a:pt x="14804" y="1916"/>
                  </a:cubicBezTo>
                  <a:cubicBezTo>
                    <a:pt x="14713" y="1924"/>
                    <a:pt x="14581" y="1911"/>
                    <a:pt x="14513" y="1883"/>
                  </a:cubicBezTo>
                  <a:cubicBezTo>
                    <a:pt x="14445" y="1854"/>
                    <a:pt x="14316" y="1764"/>
                    <a:pt x="14229" y="1674"/>
                  </a:cubicBezTo>
                  <a:cubicBezTo>
                    <a:pt x="14147" y="1580"/>
                    <a:pt x="14030" y="1508"/>
                    <a:pt x="13981" y="1518"/>
                  </a:cubicBezTo>
                  <a:cubicBezTo>
                    <a:pt x="13931" y="1518"/>
                    <a:pt x="13871" y="1512"/>
                    <a:pt x="13849" y="1503"/>
                  </a:cubicBezTo>
                  <a:cubicBezTo>
                    <a:pt x="13826" y="1494"/>
                    <a:pt x="13790" y="1530"/>
                    <a:pt x="13775" y="1589"/>
                  </a:cubicBezTo>
                  <a:cubicBezTo>
                    <a:pt x="13759" y="1649"/>
                    <a:pt x="13692" y="1706"/>
                    <a:pt x="13634" y="1730"/>
                  </a:cubicBezTo>
                  <a:cubicBezTo>
                    <a:pt x="13573" y="1748"/>
                    <a:pt x="13438" y="1753"/>
                    <a:pt x="13332" y="1728"/>
                  </a:cubicBezTo>
                  <a:cubicBezTo>
                    <a:pt x="13227" y="1703"/>
                    <a:pt x="13073" y="1716"/>
                    <a:pt x="12994" y="1752"/>
                  </a:cubicBezTo>
                  <a:cubicBezTo>
                    <a:pt x="12916" y="1793"/>
                    <a:pt x="12796" y="1862"/>
                    <a:pt x="12728" y="1910"/>
                  </a:cubicBezTo>
                  <a:cubicBezTo>
                    <a:pt x="12666" y="1969"/>
                    <a:pt x="12560" y="1989"/>
                    <a:pt x="12503" y="1968"/>
                  </a:cubicBezTo>
                  <a:cubicBezTo>
                    <a:pt x="12444" y="1949"/>
                    <a:pt x="12387" y="1907"/>
                    <a:pt x="12380" y="1878"/>
                  </a:cubicBezTo>
                  <a:cubicBezTo>
                    <a:pt x="12361" y="1855"/>
                    <a:pt x="12322" y="1813"/>
                    <a:pt x="12275" y="1793"/>
                  </a:cubicBezTo>
                  <a:cubicBezTo>
                    <a:pt x="12230" y="1769"/>
                    <a:pt x="12136" y="1782"/>
                    <a:pt x="12069" y="1799"/>
                  </a:cubicBezTo>
                  <a:cubicBezTo>
                    <a:pt x="12003" y="1824"/>
                    <a:pt x="11871" y="1831"/>
                    <a:pt x="11778" y="1813"/>
                  </a:cubicBezTo>
                  <a:cubicBezTo>
                    <a:pt x="11684" y="1804"/>
                    <a:pt x="11539" y="1762"/>
                    <a:pt x="11454" y="1732"/>
                  </a:cubicBezTo>
                  <a:cubicBezTo>
                    <a:pt x="11368" y="1705"/>
                    <a:pt x="11274" y="1647"/>
                    <a:pt x="11243" y="1615"/>
                  </a:cubicBezTo>
                  <a:cubicBezTo>
                    <a:pt x="11218" y="1575"/>
                    <a:pt x="11159" y="1482"/>
                    <a:pt x="11117" y="1395"/>
                  </a:cubicBezTo>
                  <a:cubicBezTo>
                    <a:pt x="11073" y="1311"/>
                    <a:pt x="11021" y="1231"/>
                    <a:pt x="11005" y="1200"/>
                  </a:cubicBezTo>
                  <a:cubicBezTo>
                    <a:pt x="10979" y="1184"/>
                    <a:pt x="10029" y="1289"/>
                    <a:pt x="8889" y="1417"/>
                  </a:cubicBezTo>
                  <a:cubicBezTo>
                    <a:pt x="8238" y="1494"/>
                    <a:pt x="7586" y="1561"/>
                    <a:pt x="6932" y="1637"/>
                  </a:cubicBezTo>
                  <a:cubicBezTo>
                    <a:pt x="5777" y="1749"/>
                    <a:pt x="4805" y="1852"/>
                    <a:pt x="4781" y="1829"/>
                  </a:cubicBezTo>
                  <a:cubicBezTo>
                    <a:pt x="4755" y="1810"/>
                    <a:pt x="4696" y="1813"/>
                    <a:pt x="4649" y="1813"/>
                  </a:cubicBezTo>
                  <a:cubicBezTo>
                    <a:pt x="4602" y="1813"/>
                    <a:pt x="4509" y="1868"/>
                    <a:pt x="4444" y="1926"/>
                  </a:cubicBezTo>
                  <a:cubicBezTo>
                    <a:pt x="4382" y="1985"/>
                    <a:pt x="4310" y="2020"/>
                    <a:pt x="4292" y="2020"/>
                  </a:cubicBezTo>
                  <a:cubicBezTo>
                    <a:pt x="4273" y="2020"/>
                    <a:pt x="4195" y="2056"/>
                    <a:pt x="4119" y="2107"/>
                  </a:cubicBezTo>
                  <a:cubicBezTo>
                    <a:pt x="4038" y="2150"/>
                    <a:pt x="3899" y="2169"/>
                    <a:pt x="3801" y="2144"/>
                  </a:cubicBezTo>
                  <a:cubicBezTo>
                    <a:pt x="3704" y="2109"/>
                    <a:pt x="3547" y="2014"/>
                    <a:pt x="3452" y="1929"/>
                  </a:cubicBezTo>
                  <a:cubicBezTo>
                    <a:pt x="3354" y="1850"/>
                    <a:pt x="3261" y="1752"/>
                    <a:pt x="3233" y="1744"/>
                  </a:cubicBezTo>
                  <a:cubicBezTo>
                    <a:pt x="3204" y="1736"/>
                    <a:pt x="3195" y="1677"/>
                    <a:pt x="3208" y="1630"/>
                  </a:cubicBezTo>
                  <a:cubicBezTo>
                    <a:pt x="3224" y="1584"/>
                    <a:pt x="3190" y="1530"/>
                    <a:pt x="3139" y="1514"/>
                  </a:cubicBezTo>
                  <a:cubicBezTo>
                    <a:pt x="3088" y="1496"/>
                    <a:pt x="3043" y="1457"/>
                    <a:pt x="3037" y="1426"/>
                  </a:cubicBezTo>
                  <a:cubicBezTo>
                    <a:pt x="3037" y="1394"/>
                    <a:pt x="2983" y="1342"/>
                    <a:pt x="2924" y="1315"/>
                  </a:cubicBezTo>
                  <a:cubicBezTo>
                    <a:pt x="2869" y="1284"/>
                    <a:pt x="2794" y="1283"/>
                    <a:pt x="2756" y="1291"/>
                  </a:cubicBezTo>
                  <a:cubicBezTo>
                    <a:pt x="2723" y="1316"/>
                    <a:pt x="2670" y="1352"/>
                    <a:pt x="2636" y="1379"/>
                  </a:cubicBezTo>
                  <a:cubicBezTo>
                    <a:pt x="2605" y="1409"/>
                    <a:pt x="2567" y="1415"/>
                    <a:pt x="2545" y="1406"/>
                  </a:cubicBezTo>
                  <a:cubicBezTo>
                    <a:pt x="2525" y="1389"/>
                    <a:pt x="2448" y="1358"/>
                    <a:pt x="2379" y="1323"/>
                  </a:cubicBezTo>
                  <a:cubicBezTo>
                    <a:pt x="2310" y="1289"/>
                    <a:pt x="2201" y="1285"/>
                    <a:pt x="2141" y="1285"/>
                  </a:cubicBezTo>
                  <a:cubicBezTo>
                    <a:pt x="2081" y="1294"/>
                    <a:pt x="1916" y="1390"/>
                    <a:pt x="1778" y="1511"/>
                  </a:cubicBezTo>
                  <a:cubicBezTo>
                    <a:pt x="1640" y="1631"/>
                    <a:pt x="1510" y="1780"/>
                    <a:pt x="1490" y="1855"/>
                  </a:cubicBezTo>
                  <a:cubicBezTo>
                    <a:pt x="1476" y="1931"/>
                    <a:pt x="1423" y="2021"/>
                    <a:pt x="1381" y="2059"/>
                  </a:cubicBezTo>
                  <a:cubicBezTo>
                    <a:pt x="1344" y="2105"/>
                    <a:pt x="1254" y="2099"/>
                    <a:pt x="1194" y="2066"/>
                  </a:cubicBezTo>
                  <a:cubicBezTo>
                    <a:pt x="1132" y="2032"/>
                    <a:pt x="990" y="1989"/>
                    <a:pt x="876" y="1989"/>
                  </a:cubicBezTo>
                  <a:cubicBezTo>
                    <a:pt x="763" y="1981"/>
                    <a:pt x="648" y="1993"/>
                    <a:pt x="618" y="2008"/>
                  </a:cubicBezTo>
                  <a:cubicBezTo>
                    <a:pt x="592" y="2030"/>
                    <a:pt x="547" y="2093"/>
                    <a:pt x="534" y="2158"/>
                  </a:cubicBezTo>
                  <a:cubicBezTo>
                    <a:pt x="515" y="2221"/>
                    <a:pt x="466" y="2292"/>
                    <a:pt x="424" y="2309"/>
                  </a:cubicBezTo>
                  <a:cubicBezTo>
                    <a:pt x="382" y="2327"/>
                    <a:pt x="326" y="2337"/>
                    <a:pt x="308" y="2313"/>
                  </a:cubicBezTo>
                  <a:cubicBezTo>
                    <a:pt x="285" y="2292"/>
                    <a:pt x="206" y="2268"/>
                    <a:pt x="135" y="2259"/>
                  </a:cubicBezTo>
                  <a:cubicBezTo>
                    <a:pt x="64" y="2251"/>
                    <a:pt x="7" y="2237"/>
                    <a:pt x="7" y="2237"/>
                  </a:cubicBezTo>
                  <a:cubicBezTo>
                    <a:pt x="8" y="2237"/>
                    <a:pt x="7" y="2587"/>
                    <a:pt x="0" y="3015"/>
                  </a:cubicBezTo>
                  <a:cubicBezTo>
                    <a:pt x="0" y="3440"/>
                    <a:pt x="202" y="4012"/>
                    <a:pt x="453" y="4291"/>
                  </a:cubicBezTo>
                  <a:cubicBezTo>
                    <a:pt x="704" y="4569"/>
                    <a:pt x="1012" y="5003"/>
                    <a:pt x="1141" y="5257"/>
                  </a:cubicBezTo>
                  <a:cubicBezTo>
                    <a:pt x="1264" y="5514"/>
                    <a:pt x="1519" y="6151"/>
                    <a:pt x="1709" y="6670"/>
                  </a:cubicBezTo>
                  <a:cubicBezTo>
                    <a:pt x="1894" y="7189"/>
                    <a:pt x="2057" y="7785"/>
                    <a:pt x="2079" y="7998"/>
                  </a:cubicBezTo>
                  <a:cubicBezTo>
                    <a:pt x="2092" y="8210"/>
                    <a:pt x="2270" y="8647"/>
                    <a:pt x="2473" y="8962"/>
                  </a:cubicBezTo>
                  <a:cubicBezTo>
                    <a:pt x="2668" y="9282"/>
                    <a:pt x="2821" y="9645"/>
                    <a:pt x="2814" y="9779"/>
                  </a:cubicBezTo>
                  <a:cubicBezTo>
                    <a:pt x="2800" y="9912"/>
                    <a:pt x="2961" y="10301"/>
                    <a:pt x="3173" y="10633"/>
                  </a:cubicBezTo>
                  <a:cubicBezTo>
                    <a:pt x="3384" y="10965"/>
                    <a:pt x="3541" y="11401"/>
                    <a:pt x="3520" y="11596"/>
                  </a:cubicBezTo>
                  <a:cubicBezTo>
                    <a:pt x="3506" y="11791"/>
                    <a:pt x="3440" y="11974"/>
                    <a:pt x="3381" y="12007"/>
                  </a:cubicBezTo>
                  <a:cubicBezTo>
                    <a:pt x="3323" y="12039"/>
                    <a:pt x="3311" y="12253"/>
                    <a:pt x="3352" y="12486"/>
                  </a:cubicBezTo>
                  <a:cubicBezTo>
                    <a:pt x="3398" y="12717"/>
                    <a:pt x="3419" y="13199"/>
                    <a:pt x="3399" y="13554"/>
                  </a:cubicBezTo>
                  <a:cubicBezTo>
                    <a:pt x="3379" y="13907"/>
                    <a:pt x="3441" y="14481"/>
                    <a:pt x="3546" y="14823"/>
                  </a:cubicBezTo>
                  <a:cubicBezTo>
                    <a:pt x="3649" y="15164"/>
                    <a:pt x="3696" y="15603"/>
                    <a:pt x="3667" y="15798"/>
                  </a:cubicBezTo>
                  <a:cubicBezTo>
                    <a:pt x="3641" y="15992"/>
                    <a:pt x="3636" y="16250"/>
                    <a:pt x="3663" y="16375"/>
                  </a:cubicBezTo>
                  <a:cubicBezTo>
                    <a:pt x="3691" y="16500"/>
                    <a:pt x="3658" y="16640"/>
                    <a:pt x="3591" y="16690"/>
                  </a:cubicBezTo>
                  <a:cubicBezTo>
                    <a:pt x="3522" y="16733"/>
                    <a:pt x="3513" y="16822"/>
                    <a:pt x="3554" y="16890"/>
                  </a:cubicBezTo>
                  <a:cubicBezTo>
                    <a:pt x="3598" y="16954"/>
                    <a:pt x="3644" y="17189"/>
                    <a:pt x="3658" y="17419"/>
                  </a:cubicBezTo>
                  <a:cubicBezTo>
                    <a:pt x="3671" y="17648"/>
                    <a:pt x="3721" y="17853"/>
                    <a:pt x="3779" y="17880"/>
                  </a:cubicBezTo>
                  <a:cubicBezTo>
                    <a:pt x="3835" y="17906"/>
                    <a:pt x="3907" y="17986"/>
                    <a:pt x="3939" y="18059"/>
                  </a:cubicBezTo>
                  <a:cubicBezTo>
                    <a:pt x="3967" y="18136"/>
                    <a:pt x="3955" y="18227"/>
                    <a:pt x="3906" y="18271"/>
                  </a:cubicBezTo>
                  <a:cubicBezTo>
                    <a:pt x="3854" y="18308"/>
                    <a:pt x="3806" y="18421"/>
                    <a:pt x="3800" y="18511"/>
                  </a:cubicBezTo>
                  <a:cubicBezTo>
                    <a:pt x="3793" y="18601"/>
                    <a:pt x="3832" y="18733"/>
                    <a:pt x="3897" y="18797"/>
                  </a:cubicBezTo>
                  <a:cubicBezTo>
                    <a:pt x="3951" y="18874"/>
                    <a:pt x="4007" y="19059"/>
                    <a:pt x="3993" y="19226"/>
                  </a:cubicBezTo>
                  <a:cubicBezTo>
                    <a:pt x="3986" y="19395"/>
                    <a:pt x="4038" y="19608"/>
                    <a:pt x="4101" y="19712"/>
                  </a:cubicBezTo>
                  <a:cubicBezTo>
                    <a:pt x="4168" y="19812"/>
                    <a:pt x="4295" y="20050"/>
                    <a:pt x="4379" y="20244"/>
                  </a:cubicBezTo>
                  <a:cubicBezTo>
                    <a:pt x="4463" y="20436"/>
                    <a:pt x="4605" y="20674"/>
                    <a:pt x="4701" y="20759"/>
                  </a:cubicBezTo>
                  <a:cubicBezTo>
                    <a:pt x="4792" y="20855"/>
                    <a:pt x="4888" y="20969"/>
                    <a:pt x="4903" y="21025"/>
                  </a:cubicBezTo>
                  <a:cubicBezTo>
                    <a:pt x="4922" y="21080"/>
                    <a:pt x="5049" y="21186"/>
                    <a:pt x="5180" y="21281"/>
                  </a:cubicBezTo>
                  <a:cubicBezTo>
                    <a:pt x="5322" y="21352"/>
                    <a:pt x="5480" y="21396"/>
                    <a:pt x="5548" y="21354"/>
                  </a:cubicBezTo>
                  <a:cubicBezTo>
                    <a:pt x="5615" y="21312"/>
                    <a:pt x="5748" y="21261"/>
                    <a:pt x="5836" y="21219"/>
                  </a:cubicBezTo>
                  <a:cubicBezTo>
                    <a:pt x="5927" y="21186"/>
                    <a:pt x="6014" y="21120"/>
                    <a:pt x="6014" y="21067"/>
                  </a:cubicBezTo>
                  <a:close/>
                  <a:moveTo>
                    <a:pt x="6014" y="2106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7" name="AutoShape 889"/>
            <p:cNvSpPr>
              <a:spLocks/>
            </p:cNvSpPr>
            <p:nvPr/>
          </p:nvSpPr>
          <p:spPr bwMode="auto">
            <a:xfrm>
              <a:off x="8305800" y="6350000"/>
              <a:ext cx="3175" cy="0"/>
            </a:xfrm>
            <a:custGeom>
              <a:avLst/>
              <a:gdLst/>
              <a:ahLst/>
              <a:cxnLst/>
              <a:rect l="0" t="0" r="r" b="b"/>
              <a:pathLst>
                <a:path w="21600" h="21600">
                  <a:moveTo>
                    <a:pt x="21600" y="0"/>
                  </a:moveTo>
                  <a:cubicBezTo>
                    <a:pt x="11314" y="10440"/>
                    <a:pt x="4094" y="17973"/>
                    <a:pt x="0" y="21600"/>
                  </a:cubicBezTo>
                  <a:cubicBezTo>
                    <a:pt x="3955" y="17973"/>
                    <a:pt x="11314" y="10690"/>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8" name="AutoShape 890"/>
            <p:cNvSpPr>
              <a:spLocks/>
            </p:cNvSpPr>
            <p:nvPr/>
          </p:nvSpPr>
          <p:spPr bwMode="auto">
            <a:xfrm>
              <a:off x="9309100" y="7137400"/>
              <a:ext cx="4763" cy="3175"/>
            </a:xfrm>
            <a:custGeom>
              <a:avLst/>
              <a:gdLst/>
              <a:ahLst/>
              <a:cxnLst/>
              <a:rect l="0" t="0" r="r" b="b"/>
              <a:pathLst>
                <a:path w="20509" h="20920">
                  <a:moveTo>
                    <a:pt x="16252" y="0"/>
                  </a:moveTo>
                  <a:cubicBezTo>
                    <a:pt x="14623" y="0"/>
                    <a:pt x="11677" y="805"/>
                    <a:pt x="9837" y="2769"/>
                  </a:cubicBezTo>
                  <a:cubicBezTo>
                    <a:pt x="7948" y="4909"/>
                    <a:pt x="5160" y="8259"/>
                    <a:pt x="4322" y="10912"/>
                  </a:cubicBezTo>
                  <a:cubicBezTo>
                    <a:pt x="2798" y="13395"/>
                    <a:pt x="1376" y="17499"/>
                    <a:pt x="430" y="19579"/>
                  </a:cubicBezTo>
                  <a:cubicBezTo>
                    <a:pt x="-1091" y="21250"/>
                    <a:pt x="1642" y="21600"/>
                    <a:pt x="5216" y="19236"/>
                  </a:cubicBezTo>
                  <a:cubicBezTo>
                    <a:pt x="8842" y="16864"/>
                    <a:pt x="12941" y="15308"/>
                    <a:pt x="13572" y="16059"/>
                  </a:cubicBezTo>
                  <a:cubicBezTo>
                    <a:pt x="14255" y="16749"/>
                    <a:pt x="16991" y="16633"/>
                    <a:pt x="18512" y="14958"/>
                  </a:cubicBezTo>
                  <a:cubicBezTo>
                    <a:pt x="20401" y="13919"/>
                    <a:pt x="20509" y="10161"/>
                    <a:pt x="20509" y="6642"/>
                  </a:cubicBezTo>
                  <a:cubicBezTo>
                    <a:pt x="19770" y="3288"/>
                    <a:pt x="17829" y="0"/>
                    <a:pt x="16252" y="0"/>
                  </a:cubicBezTo>
                  <a:close/>
                  <a:moveTo>
                    <a:pt x="16252"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89" name="AutoShape 891"/>
            <p:cNvSpPr>
              <a:spLocks/>
            </p:cNvSpPr>
            <p:nvPr/>
          </p:nvSpPr>
          <p:spPr bwMode="auto">
            <a:xfrm>
              <a:off x="9309100" y="7048500"/>
              <a:ext cx="39688" cy="28575"/>
            </a:xfrm>
            <a:custGeom>
              <a:avLst/>
              <a:gdLst/>
              <a:ahLst/>
              <a:cxnLst/>
              <a:rect l="0" t="0" r="r" b="b"/>
              <a:pathLst>
                <a:path w="21337" h="21199">
                  <a:moveTo>
                    <a:pt x="20572" y="358"/>
                  </a:moveTo>
                  <a:cubicBezTo>
                    <a:pt x="20092" y="894"/>
                    <a:pt x="19431" y="1477"/>
                    <a:pt x="19120" y="1477"/>
                  </a:cubicBezTo>
                  <a:cubicBezTo>
                    <a:pt x="18835" y="1614"/>
                    <a:pt x="17817" y="2670"/>
                    <a:pt x="16878" y="3853"/>
                  </a:cubicBezTo>
                  <a:cubicBezTo>
                    <a:pt x="16028" y="5209"/>
                    <a:pt x="14830" y="6475"/>
                    <a:pt x="14331" y="6756"/>
                  </a:cubicBezTo>
                  <a:cubicBezTo>
                    <a:pt x="13928" y="7212"/>
                    <a:pt x="13631" y="6893"/>
                    <a:pt x="13728" y="6202"/>
                  </a:cubicBezTo>
                  <a:cubicBezTo>
                    <a:pt x="13844" y="5518"/>
                    <a:pt x="14246" y="4599"/>
                    <a:pt x="14642" y="4180"/>
                  </a:cubicBezTo>
                  <a:cubicBezTo>
                    <a:pt x="15030" y="3771"/>
                    <a:pt x="15685" y="2642"/>
                    <a:pt x="16074" y="1677"/>
                  </a:cubicBezTo>
                  <a:cubicBezTo>
                    <a:pt x="16463" y="713"/>
                    <a:pt x="16424" y="485"/>
                    <a:pt x="15918" y="1085"/>
                  </a:cubicBezTo>
                  <a:cubicBezTo>
                    <a:pt x="15451" y="1742"/>
                    <a:pt x="14615" y="2852"/>
                    <a:pt x="14149" y="3662"/>
                  </a:cubicBezTo>
                  <a:cubicBezTo>
                    <a:pt x="13611" y="4418"/>
                    <a:pt x="12840" y="5554"/>
                    <a:pt x="12379" y="6192"/>
                  </a:cubicBezTo>
                  <a:cubicBezTo>
                    <a:pt x="11849" y="6693"/>
                    <a:pt x="11214" y="7312"/>
                    <a:pt x="10876" y="7466"/>
                  </a:cubicBezTo>
                  <a:cubicBezTo>
                    <a:pt x="10526" y="7466"/>
                    <a:pt x="9937" y="7839"/>
                    <a:pt x="9528" y="7839"/>
                  </a:cubicBezTo>
                  <a:cubicBezTo>
                    <a:pt x="9133" y="7976"/>
                    <a:pt x="8595" y="7995"/>
                    <a:pt x="8329" y="7995"/>
                  </a:cubicBezTo>
                  <a:cubicBezTo>
                    <a:pt x="8063" y="7995"/>
                    <a:pt x="8219" y="7275"/>
                    <a:pt x="8666" y="6402"/>
                  </a:cubicBezTo>
                  <a:cubicBezTo>
                    <a:pt x="9087" y="5509"/>
                    <a:pt x="9502" y="4563"/>
                    <a:pt x="9580" y="4244"/>
                  </a:cubicBezTo>
                  <a:cubicBezTo>
                    <a:pt x="9580" y="3926"/>
                    <a:pt x="9937" y="3253"/>
                    <a:pt x="10332" y="2833"/>
                  </a:cubicBezTo>
                  <a:cubicBezTo>
                    <a:pt x="10701" y="2424"/>
                    <a:pt x="10941" y="1841"/>
                    <a:pt x="11025" y="1723"/>
                  </a:cubicBezTo>
                  <a:cubicBezTo>
                    <a:pt x="11025" y="1549"/>
                    <a:pt x="10662" y="1768"/>
                    <a:pt x="10300" y="2441"/>
                  </a:cubicBezTo>
                  <a:cubicBezTo>
                    <a:pt x="9846" y="2951"/>
                    <a:pt x="9087" y="3980"/>
                    <a:pt x="8634" y="4745"/>
                  </a:cubicBezTo>
                  <a:cubicBezTo>
                    <a:pt x="8135" y="5446"/>
                    <a:pt x="7552" y="6420"/>
                    <a:pt x="7428" y="6947"/>
                  </a:cubicBezTo>
                  <a:cubicBezTo>
                    <a:pt x="7299" y="7466"/>
                    <a:pt x="6825" y="8449"/>
                    <a:pt x="6540" y="9241"/>
                  </a:cubicBezTo>
                  <a:cubicBezTo>
                    <a:pt x="6152" y="9934"/>
                    <a:pt x="6152" y="10625"/>
                    <a:pt x="6314" y="10506"/>
                  </a:cubicBezTo>
                  <a:cubicBezTo>
                    <a:pt x="6488" y="10388"/>
                    <a:pt x="6677" y="10488"/>
                    <a:pt x="6677" y="10625"/>
                  </a:cubicBezTo>
                  <a:cubicBezTo>
                    <a:pt x="6677" y="10789"/>
                    <a:pt x="5912" y="11926"/>
                    <a:pt x="4934" y="13173"/>
                  </a:cubicBezTo>
                  <a:cubicBezTo>
                    <a:pt x="4007" y="14476"/>
                    <a:pt x="2504" y="16241"/>
                    <a:pt x="1790" y="17379"/>
                  </a:cubicBezTo>
                  <a:cubicBezTo>
                    <a:pt x="993" y="18362"/>
                    <a:pt x="365" y="19936"/>
                    <a:pt x="53" y="20510"/>
                  </a:cubicBezTo>
                  <a:cubicBezTo>
                    <a:pt x="-128" y="21164"/>
                    <a:pt x="183" y="21466"/>
                    <a:pt x="585" y="20901"/>
                  </a:cubicBezTo>
                  <a:cubicBezTo>
                    <a:pt x="1122" y="20655"/>
                    <a:pt x="2140" y="19208"/>
                    <a:pt x="3048" y="18252"/>
                  </a:cubicBezTo>
                  <a:cubicBezTo>
                    <a:pt x="3897" y="17197"/>
                    <a:pt x="5082" y="15940"/>
                    <a:pt x="5653" y="15467"/>
                  </a:cubicBezTo>
                  <a:cubicBezTo>
                    <a:pt x="6210" y="14940"/>
                    <a:pt x="6618" y="14766"/>
                    <a:pt x="6618" y="15022"/>
                  </a:cubicBezTo>
                  <a:cubicBezTo>
                    <a:pt x="6534" y="15267"/>
                    <a:pt x="6741" y="15795"/>
                    <a:pt x="7033" y="15795"/>
                  </a:cubicBezTo>
                  <a:cubicBezTo>
                    <a:pt x="7260" y="16013"/>
                    <a:pt x="7843" y="15677"/>
                    <a:pt x="8336" y="15403"/>
                  </a:cubicBezTo>
                  <a:cubicBezTo>
                    <a:pt x="8822" y="15121"/>
                    <a:pt x="9775" y="14019"/>
                    <a:pt x="10267" y="12927"/>
                  </a:cubicBezTo>
                  <a:cubicBezTo>
                    <a:pt x="10922" y="11999"/>
                    <a:pt x="11369" y="11307"/>
                    <a:pt x="11369" y="11544"/>
                  </a:cubicBezTo>
                  <a:cubicBezTo>
                    <a:pt x="11369" y="11781"/>
                    <a:pt x="11207" y="12354"/>
                    <a:pt x="11090" y="12837"/>
                  </a:cubicBezTo>
                  <a:cubicBezTo>
                    <a:pt x="10889" y="13264"/>
                    <a:pt x="11006" y="13746"/>
                    <a:pt x="11252" y="13746"/>
                  </a:cubicBezTo>
                  <a:cubicBezTo>
                    <a:pt x="11498" y="13746"/>
                    <a:pt x="12159" y="13437"/>
                    <a:pt x="12742" y="13028"/>
                  </a:cubicBezTo>
                  <a:cubicBezTo>
                    <a:pt x="13288" y="12527"/>
                    <a:pt x="14479" y="11499"/>
                    <a:pt x="15290" y="10488"/>
                  </a:cubicBezTo>
                  <a:cubicBezTo>
                    <a:pt x="16132" y="9569"/>
                    <a:pt x="16865" y="8522"/>
                    <a:pt x="16949" y="8295"/>
                  </a:cubicBezTo>
                  <a:cubicBezTo>
                    <a:pt x="17078" y="8112"/>
                    <a:pt x="16404" y="8522"/>
                    <a:pt x="15503" y="9223"/>
                  </a:cubicBezTo>
                  <a:cubicBezTo>
                    <a:pt x="14610" y="9934"/>
                    <a:pt x="13832" y="10287"/>
                    <a:pt x="13832" y="9934"/>
                  </a:cubicBezTo>
                  <a:cubicBezTo>
                    <a:pt x="13832" y="9569"/>
                    <a:pt x="14064" y="8577"/>
                    <a:pt x="14610" y="8068"/>
                  </a:cubicBezTo>
                  <a:cubicBezTo>
                    <a:pt x="15030" y="7357"/>
                    <a:pt x="15905" y="6392"/>
                    <a:pt x="16443" y="5792"/>
                  </a:cubicBezTo>
                  <a:cubicBezTo>
                    <a:pt x="17033" y="5300"/>
                    <a:pt x="17902" y="4536"/>
                    <a:pt x="18458" y="4271"/>
                  </a:cubicBezTo>
                  <a:cubicBezTo>
                    <a:pt x="19023" y="4007"/>
                    <a:pt x="19826" y="3224"/>
                    <a:pt x="20286" y="2578"/>
                  </a:cubicBezTo>
                  <a:cubicBezTo>
                    <a:pt x="20688" y="1868"/>
                    <a:pt x="21141" y="913"/>
                    <a:pt x="21291" y="394"/>
                  </a:cubicBezTo>
                  <a:cubicBezTo>
                    <a:pt x="21472" y="-116"/>
                    <a:pt x="21103" y="-134"/>
                    <a:pt x="20572" y="358"/>
                  </a:cubicBezTo>
                  <a:close/>
                  <a:moveTo>
                    <a:pt x="20572" y="3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0" name="AutoShape 892"/>
            <p:cNvSpPr>
              <a:spLocks/>
            </p:cNvSpPr>
            <p:nvPr/>
          </p:nvSpPr>
          <p:spPr bwMode="auto">
            <a:xfrm>
              <a:off x="9334500" y="7048500"/>
              <a:ext cx="6350" cy="4763"/>
            </a:xfrm>
            <a:custGeom>
              <a:avLst/>
              <a:gdLst/>
              <a:ahLst/>
              <a:cxnLst/>
              <a:rect l="0" t="0" r="r" b="b"/>
              <a:pathLst>
                <a:path w="21034" h="20861">
                  <a:moveTo>
                    <a:pt x="13343" y="10247"/>
                  </a:moveTo>
                  <a:cubicBezTo>
                    <a:pt x="16856" y="5985"/>
                    <a:pt x="20446" y="1732"/>
                    <a:pt x="20927" y="451"/>
                  </a:cubicBezTo>
                  <a:cubicBezTo>
                    <a:pt x="21600" y="-739"/>
                    <a:pt x="19021" y="499"/>
                    <a:pt x="15323" y="3288"/>
                  </a:cubicBezTo>
                  <a:cubicBezTo>
                    <a:pt x="11586" y="5945"/>
                    <a:pt x="6802" y="11065"/>
                    <a:pt x="4370" y="14088"/>
                  </a:cubicBezTo>
                  <a:cubicBezTo>
                    <a:pt x="1869" y="17106"/>
                    <a:pt x="0" y="20175"/>
                    <a:pt x="0" y="20861"/>
                  </a:cubicBezTo>
                  <a:cubicBezTo>
                    <a:pt x="598" y="20861"/>
                    <a:pt x="1383" y="20541"/>
                    <a:pt x="3364" y="19946"/>
                  </a:cubicBezTo>
                  <a:cubicBezTo>
                    <a:pt x="5046" y="18573"/>
                    <a:pt x="9829" y="14589"/>
                    <a:pt x="13343" y="10247"/>
                  </a:cubicBezTo>
                  <a:close/>
                  <a:moveTo>
                    <a:pt x="13343" y="102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1" name="AutoShape 893"/>
            <p:cNvSpPr>
              <a:spLocks/>
            </p:cNvSpPr>
            <p:nvPr/>
          </p:nvSpPr>
          <p:spPr bwMode="auto">
            <a:xfrm>
              <a:off x="9537700" y="6172200"/>
              <a:ext cx="15875" cy="20638"/>
            </a:xfrm>
            <a:custGeom>
              <a:avLst/>
              <a:gdLst/>
              <a:ahLst/>
              <a:cxnLst/>
              <a:rect l="0" t="0" r="r" b="b"/>
              <a:pathLst>
                <a:path w="20918" h="20956">
                  <a:moveTo>
                    <a:pt x="15016" y="1196"/>
                  </a:moveTo>
                  <a:cubicBezTo>
                    <a:pt x="13711" y="2191"/>
                    <a:pt x="11499" y="3249"/>
                    <a:pt x="10211" y="3249"/>
                  </a:cubicBezTo>
                  <a:cubicBezTo>
                    <a:pt x="8988" y="3577"/>
                    <a:pt x="6903" y="5472"/>
                    <a:pt x="5918" y="7743"/>
                  </a:cubicBezTo>
                  <a:cubicBezTo>
                    <a:pt x="4994" y="10039"/>
                    <a:pt x="2721" y="12907"/>
                    <a:pt x="1114" y="14133"/>
                  </a:cubicBezTo>
                  <a:cubicBezTo>
                    <a:pt x="-493" y="15360"/>
                    <a:pt x="-381" y="17960"/>
                    <a:pt x="1576" y="19637"/>
                  </a:cubicBezTo>
                  <a:cubicBezTo>
                    <a:pt x="3405" y="21386"/>
                    <a:pt x="7094" y="21459"/>
                    <a:pt x="9449" y="19479"/>
                  </a:cubicBezTo>
                  <a:cubicBezTo>
                    <a:pt x="12056" y="17669"/>
                    <a:pt x="14219" y="14704"/>
                    <a:pt x="14760" y="13040"/>
                  </a:cubicBezTo>
                  <a:cubicBezTo>
                    <a:pt x="14999" y="11340"/>
                    <a:pt x="16892" y="9165"/>
                    <a:pt x="17910" y="7817"/>
                  </a:cubicBezTo>
                  <a:cubicBezTo>
                    <a:pt x="19357" y="6711"/>
                    <a:pt x="20359" y="4500"/>
                    <a:pt x="20867" y="3127"/>
                  </a:cubicBezTo>
                  <a:cubicBezTo>
                    <a:pt x="21107" y="1742"/>
                    <a:pt x="20470" y="345"/>
                    <a:pt x="19437" y="42"/>
                  </a:cubicBezTo>
                  <a:cubicBezTo>
                    <a:pt x="18324" y="-141"/>
                    <a:pt x="16431" y="285"/>
                    <a:pt x="15016" y="1196"/>
                  </a:cubicBezTo>
                  <a:close/>
                  <a:moveTo>
                    <a:pt x="15016" y="11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2" name="AutoShape 894"/>
            <p:cNvSpPr>
              <a:spLocks/>
            </p:cNvSpPr>
            <p:nvPr/>
          </p:nvSpPr>
          <p:spPr bwMode="auto">
            <a:xfrm>
              <a:off x="9474200" y="6223000"/>
              <a:ext cx="12700" cy="19050"/>
            </a:xfrm>
            <a:custGeom>
              <a:avLst/>
              <a:gdLst/>
              <a:ahLst/>
              <a:cxnLst/>
              <a:rect l="0" t="0" r="r" b="b"/>
              <a:pathLst>
                <a:path w="20219" h="21208">
                  <a:moveTo>
                    <a:pt x="17148" y="5423"/>
                  </a:moveTo>
                  <a:cubicBezTo>
                    <a:pt x="16609" y="2898"/>
                    <a:pt x="14792" y="322"/>
                    <a:pt x="12734" y="137"/>
                  </a:cubicBezTo>
                  <a:cubicBezTo>
                    <a:pt x="10714" y="-230"/>
                    <a:pt x="7859" y="177"/>
                    <a:pt x="6244" y="940"/>
                  </a:cubicBezTo>
                  <a:cubicBezTo>
                    <a:pt x="4651" y="1742"/>
                    <a:pt x="2167" y="4766"/>
                    <a:pt x="1054" y="7737"/>
                  </a:cubicBezTo>
                  <a:cubicBezTo>
                    <a:pt x="-560" y="10590"/>
                    <a:pt x="-132" y="14770"/>
                    <a:pt x="1073" y="16887"/>
                  </a:cubicBezTo>
                  <a:cubicBezTo>
                    <a:pt x="2167" y="19029"/>
                    <a:pt x="4279" y="20988"/>
                    <a:pt x="5466" y="21199"/>
                  </a:cubicBezTo>
                  <a:cubicBezTo>
                    <a:pt x="6652" y="21370"/>
                    <a:pt x="10695" y="19188"/>
                    <a:pt x="14774" y="16295"/>
                  </a:cubicBezTo>
                  <a:cubicBezTo>
                    <a:pt x="18576" y="13192"/>
                    <a:pt x="21040" y="10708"/>
                    <a:pt x="19966" y="10457"/>
                  </a:cubicBezTo>
                  <a:cubicBezTo>
                    <a:pt x="19002" y="9997"/>
                    <a:pt x="17426" y="7933"/>
                    <a:pt x="17148" y="5423"/>
                  </a:cubicBezTo>
                  <a:close/>
                  <a:moveTo>
                    <a:pt x="17148" y="54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3" name="AutoShape 895"/>
            <p:cNvSpPr>
              <a:spLocks/>
            </p:cNvSpPr>
            <p:nvPr/>
          </p:nvSpPr>
          <p:spPr bwMode="auto">
            <a:xfrm>
              <a:off x="9347200" y="6121400"/>
              <a:ext cx="7938" cy="14288"/>
            </a:xfrm>
            <a:custGeom>
              <a:avLst/>
              <a:gdLst/>
              <a:ahLst/>
              <a:cxnLst/>
              <a:rect l="0" t="0" r="r" b="b"/>
              <a:pathLst>
                <a:path w="20638" h="20040">
                  <a:moveTo>
                    <a:pt x="19120" y="1101"/>
                  </a:moveTo>
                  <a:cubicBezTo>
                    <a:pt x="16761" y="2765"/>
                    <a:pt x="13988" y="4305"/>
                    <a:pt x="12824" y="4605"/>
                  </a:cubicBezTo>
                  <a:cubicBezTo>
                    <a:pt x="11629" y="4938"/>
                    <a:pt x="8854" y="6017"/>
                    <a:pt x="7483" y="7461"/>
                  </a:cubicBezTo>
                  <a:cubicBezTo>
                    <a:pt x="6111" y="8951"/>
                    <a:pt x="3724" y="11362"/>
                    <a:pt x="2829" y="13044"/>
                  </a:cubicBezTo>
                  <a:cubicBezTo>
                    <a:pt x="1874" y="14772"/>
                    <a:pt x="977" y="17531"/>
                    <a:pt x="82" y="19198"/>
                  </a:cubicBezTo>
                  <a:cubicBezTo>
                    <a:pt x="-362" y="20846"/>
                    <a:pt x="1009" y="19990"/>
                    <a:pt x="3933" y="17388"/>
                  </a:cubicBezTo>
                  <a:cubicBezTo>
                    <a:pt x="6648" y="14756"/>
                    <a:pt x="10467" y="11235"/>
                    <a:pt x="12466" y="9538"/>
                  </a:cubicBezTo>
                  <a:cubicBezTo>
                    <a:pt x="14405" y="7857"/>
                    <a:pt x="17775" y="4605"/>
                    <a:pt x="19567" y="2211"/>
                  </a:cubicBezTo>
                  <a:cubicBezTo>
                    <a:pt x="21238" y="-184"/>
                    <a:pt x="20850" y="-754"/>
                    <a:pt x="19120" y="1101"/>
                  </a:cubicBezTo>
                  <a:close/>
                  <a:moveTo>
                    <a:pt x="19120" y="11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4" name="AutoShape 896"/>
            <p:cNvSpPr>
              <a:spLocks/>
            </p:cNvSpPr>
            <p:nvPr/>
          </p:nvSpPr>
          <p:spPr bwMode="auto">
            <a:xfrm>
              <a:off x="9347200" y="5981700"/>
              <a:ext cx="4763" cy="7938"/>
            </a:xfrm>
            <a:custGeom>
              <a:avLst/>
              <a:gdLst/>
              <a:ahLst/>
              <a:cxnLst/>
              <a:rect l="0" t="0" r="r" b="b"/>
              <a:pathLst>
                <a:path w="20502" h="19233">
                  <a:moveTo>
                    <a:pt x="10463" y="12941"/>
                  </a:moveTo>
                  <a:cubicBezTo>
                    <a:pt x="16131" y="8250"/>
                    <a:pt x="20463" y="2418"/>
                    <a:pt x="20463" y="542"/>
                  </a:cubicBezTo>
                  <a:cubicBezTo>
                    <a:pt x="20980" y="-1186"/>
                    <a:pt x="16304" y="1335"/>
                    <a:pt x="10116" y="6374"/>
                  </a:cubicBezTo>
                  <a:cubicBezTo>
                    <a:pt x="3882" y="11416"/>
                    <a:pt x="-620" y="16839"/>
                    <a:pt x="70" y="18685"/>
                  </a:cubicBezTo>
                  <a:cubicBezTo>
                    <a:pt x="1369" y="20414"/>
                    <a:pt x="5571" y="17923"/>
                    <a:pt x="10463" y="12941"/>
                  </a:cubicBezTo>
                  <a:close/>
                  <a:moveTo>
                    <a:pt x="10463" y="129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5" name="AutoShape 897"/>
            <p:cNvSpPr>
              <a:spLocks/>
            </p:cNvSpPr>
            <p:nvPr/>
          </p:nvSpPr>
          <p:spPr bwMode="auto">
            <a:xfrm>
              <a:off x="9080500" y="5943600"/>
              <a:ext cx="315913" cy="542925"/>
            </a:xfrm>
            <a:custGeom>
              <a:avLst/>
              <a:gdLst/>
              <a:ahLst/>
              <a:cxnLst/>
              <a:rect l="0" t="0" r="r" b="b"/>
              <a:pathLst>
                <a:path w="21559" h="21555">
                  <a:moveTo>
                    <a:pt x="21502" y="1627"/>
                  </a:moveTo>
                  <a:cubicBezTo>
                    <a:pt x="21541" y="1447"/>
                    <a:pt x="21573" y="1253"/>
                    <a:pt x="21548" y="1195"/>
                  </a:cubicBezTo>
                  <a:cubicBezTo>
                    <a:pt x="21524" y="1138"/>
                    <a:pt x="21466" y="1109"/>
                    <a:pt x="21415" y="1123"/>
                  </a:cubicBezTo>
                  <a:cubicBezTo>
                    <a:pt x="21364" y="1143"/>
                    <a:pt x="21268" y="1093"/>
                    <a:pt x="21191" y="1016"/>
                  </a:cubicBezTo>
                  <a:cubicBezTo>
                    <a:pt x="21129" y="936"/>
                    <a:pt x="21072" y="809"/>
                    <a:pt x="21085" y="727"/>
                  </a:cubicBezTo>
                  <a:cubicBezTo>
                    <a:pt x="21108" y="647"/>
                    <a:pt x="21031" y="572"/>
                    <a:pt x="20943" y="549"/>
                  </a:cubicBezTo>
                  <a:cubicBezTo>
                    <a:pt x="20853" y="527"/>
                    <a:pt x="20844" y="441"/>
                    <a:pt x="20928" y="350"/>
                  </a:cubicBezTo>
                  <a:cubicBezTo>
                    <a:pt x="21022" y="262"/>
                    <a:pt x="21082" y="119"/>
                    <a:pt x="21057" y="42"/>
                  </a:cubicBezTo>
                  <a:cubicBezTo>
                    <a:pt x="21033" y="-35"/>
                    <a:pt x="20885" y="-2"/>
                    <a:pt x="20700" y="112"/>
                  </a:cubicBezTo>
                  <a:cubicBezTo>
                    <a:pt x="20523" y="231"/>
                    <a:pt x="20379" y="367"/>
                    <a:pt x="20407" y="417"/>
                  </a:cubicBezTo>
                  <a:cubicBezTo>
                    <a:pt x="20420" y="470"/>
                    <a:pt x="20352" y="564"/>
                    <a:pt x="20229" y="622"/>
                  </a:cubicBezTo>
                  <a:cubicBezTo>
                    <a:pt x="20118" y="688"/>
                    <a:pt x="19953" y="699"/>
                    <a:pt x="19861" y="672"/>
                  </a:cubicBezTo>
                  <a:cubicBezTo>
                    <a:pt x="19768" y="645"/>
                    <a:pt x="19652" y="621"/>
                    <a:pt x="19586" y="629"/>
                  </a:cubicBezTo>
                  <a:cubicBezTo>
                    <a:pt x="19520" y="637"/>
                    <a:pt x="19522" y="710"/>
                    <a:pt x="19590" y="789"/>
                  </a:cubicBezTo>
                  <a:cubicBezTo>
                    <a:pt x="19662" y="866"/>
                    <a:pt x="19698" y="974"/>
                    <a:pt x="19687" y="1027"/>
                  </a:cubicBezTo>
                  <a:cubicBezTo>
                    <a:pt x="19661" y="1078"/>
                    <a:pt x="19709" y="1154"/>
                    <a:pt x="19759" y="1199"/>
                  </a:cubicBezTo>
                  <a:cubicBezTo>
                    <a:pt x="19810" y="1242"/>
                    <a:pt x="19844" y="1295"/>
                    <a:pt x="19844" y="1319"/>
                  </a:cubicBezTo>
                  <a:cubicBezTo>
                    <a:pt x="19831" y="1344"/>
                    <a:pt x="19721" y="1444"/>
                    <a:pt x="19571" y="1532"/>
                  </a:cubicBezTo>
                  <a:cubicBezTo>
                    <a:pt x="19434" y="1625"/>
                    <a:pt x="19280" y="1798"/>
                    <a:pt x="19240" y="1921"/>
                  </a:cubicBezTo>
                  <a:cubicBezTo>
                    <a:pt x="19201" y="2042"/>
                    <a:pt x="19097" y="2219"/>
                    <a:pt x="18990" y="2305"/>
                  </a:cubicBezTo>
                  <a:cubicBezTo>
                    <a:pt x="18886" y="2393"/>
                    <a:pt x="18754" y="2462"/>
                    <a:pt x="18682" y="2454"/>
                  </a:cubicBezTo>
                  <a:cubicBezTo>
                    <a:pt x="18613" y="2438"/>
                    <a:pt x="18449" y="2513"/>
                    <a:pt x="18322" y="2602"/>
                  </a:cubicBezTo>
                  <a:cubicBezTo>
                    <a:pt x="18185" y="2688"/>
                    <a:pt x="18066" y="2825"/>
                    <a:pt x="18027" y="2894"/>
                  </a:cubicBezTo>
                  <a:cubicBezTo>
                    <a:pt x="17987" y="2963"/>
                    <a:pt x="17887" y="3058"/>
                    <a:pt x="17800" y="3109"/>
                  </a:cubicBezTo>
                  <a:cubicBezTo>
                    <a:pt x="17714" y="3159"/>
                    <a:pt x="17582" y="3189"/>
                    <a:pt x="17536" y="3162"/>
                  </a:cubicBezTo>
                  <a:cubicBezTo>
                    <a:pt x="17486" y="3139"/>
                    <a:pt x="17452" y="3056"/>
                    <a:pt x="17466" y="2969"/>
                  </a:cubicBezTo>
                  <a:cubicBezTo>
                    <a:pt x="17466" y="2883"/>
                    <a:pt x="17454" y="2808"/>
                    <a:pt x="17411" y="2792"/>
                  </a:cubicBezTo>
                  <a:cubicBezTo>
                    <a:pt x="17361" y="2786"/>
                    <a:pt x="17254" y="2824"/>
                    <a:pt x="17154" y="2882"/>
                  </a:cubicBezTo>
                  <a:cubicBezTo>
                    <a:pt x="17060" y="2943"/>
                    <a:pt x="16963" y="3077"/>
                    <a:pt x="16905" y="3172"/>
                  </a:cubicBezTo>
                  <a:cubicBezTo>
                    <a:pt x="16866" y="3271"/>
                    <a:pt x="16905" y="3404"/>
                    <a:pt x="16995" y="3472"/>
                  </a:cubicBezTo>
                  <a:cubicBezTo>
                    <a:pt x="17093" y="3536"/>
                    <a:pt x="17171" y="3619"/>
                    <a:pt x="17196" y="3648"/>
                  </a:cubicBezTo>
                  <a:cubicBezTo>
                    <a:pt x="17211" y="3681"/>
                    <a:pt x="17187" y="3736"/>
                    <a:pt x="17129" y="3770"/>
                  </a:cubicBezTo>
                  <a:cubicBezTo>
                    <a:pt x="17071" y="3803"/>
                    <a:pt x="16983" y="3825"/>
                    <a:pt x="16926" y="3825"/>
                  </a:cubicBezTo>
                  <a:cubicBezTo>
                    <a:pt x="16869" y="3825"/>
                    <a:pt x="16711" y="3846"/>
                    <a:pt x="16570" y="3880"/>
                  </a:cubicBezTo>
                  <a:cubicBezTo>
                    <a:pt x="16435" y="3920"/>
                    <a:pt x="16311" y="4005"/>
                    <a:pt x="16324" y="4078"/>
                  </a:cubicBezTo>
                  <a:cubicBezTo>
                    <a:pt x="16324" y="4153"/>
                    <a:pt x="16420" y="4220"/>
                    <a:pt x="16530" y="4227"/>
                  </a:cubicBezTo>
                  <a:cubicBezTo>
                    <a:pt x="16640" y="4227"/>
                    <a:pt x="16728" y="4280"/>
                    <a:pt x="16728" y="4326"/>
                  </a:cubicBezTo>
                  <a:cubicBezTo>
                    <a:pt x="16728" y="4373"/>
                    <a:pt x="16668" y="4451"/>
                    <a:pt x="16606" y="4502"/>
                  </a:cubicBezTo>
                  <a:cubicBezTo>
                    <a:pt x="16536" y="4550"/>
                    <a:pt x="16448" y="4563"/>
                    <a:pt x="16409" y="4525"/>
                  </a:cubicBezTo>
                  <a:cubicBezTo>
                    <a:pt x="16356" y="4494"/>
                    <a:pt x="16251" y="4482"/>
                    <a:pt x="16157" y="4521"/>
                  </a:cubicBezTo>
                  <a:cubicBezTo>
                    <a:pt x="16050" y="4548"/>
                    <a:pt x="15950" y="4626"/>
                    <a:pt x="15914" y="4676"/>
                  </a:cubicBezTo>
                  <a:cubicBezTo>
                    <a:pt x="15880" y="4728"/>
                    <a:pt x="15687" y="4864"/>
                    <a:pt x="15488" y="4980"/>
                  </a:cubicBezTo>
                  <a:cubicBezTo>
                    <a:pt x="15277" y="5088"/>
                    <a:pt x="15155" y="5120"/>
                    <a:pt x="15180" y="5030"/>
                  </a:cubicBezTo>
                  <a:cubicBezTo>
                    <a:pt x="15221" y="4943"/>
                    <a:pt x="15246" y="4840"/>
                    <a:pt x="15293" y="4819"/>
                  </a:cubicBezTo>
                  <a:cubicBezTo>
                    <a:pt x="15336" y="4794"/>
                    <a:pt x="15339" y="4731"/>
                    <a:pt x="15308" y="4688"/>
                  </a:cubicBezTo>
                  <a:cubicBezTo>
                    <a:pt x="15272" y="4648"/>
                    <a:pt x="15142" y="4677"/>
                    <a:pt x="15013" y="4768"/>
                  </a:cubicBezTo>
                  <a:cubicBezTo>
                    <a:pt x="14878" y="4853"/>
                    <a:pt x="14816" y="4941"/>
                    <a:pt x="14879" y="4956"/>
                  </a:cubicBezTo>
                  <a:cubicBezTo>
                    <a:pt x="14943" y="4971"/>
                    <a:pt x="14964" y="5018"/>
                    <a:pt x="14924" y="5056"/>
                  </a:cubicBezTo>
                  <a:cubicBezTo>
                    <a:pt x="14885" y="5095"/>
                    <a:pt x="14724" y="5185"/>
                    <a:pt x="14568" y="5260"/>
                  </a:cubicBezTo>
                  <a:cubicBezTo>
                    <a:pt x="14411" y="5336"/>
                    <a:pt x="14303" y="5449"/>
                    <a:pt x="14329" y="5519"/>
                  </a:cubicBezTo>
                  <a:cubicBezTo>
                    <a:pt x="14357" y="5589"/>
                    <a:pt x="14443" y="5650"/>
                    <a:pt x="14517" y="5657"/>
                  </a:cubicBezTo>
                  <a:cubicBezTo>
                    <a:pt x="14589" y="5666"/>
                    <a:pt x="14627" y="5699"/>
                    <a:pt x="14615" y="5742"/>
                  </a:cubicBezTo>
                  <a:cubicBezTo>
                    <a:pt x="14603" y="5783"/>
                    <a:pt x="14516" y="5838"/>
                    <a:pt x="14432" y="5859"/>
                  </a:cubicBezTo>
                  <a:cubicBezTo>
                    <a:pt x="14353" y="5882"/>
                    <a:pt x="14193" y="5948"/>
                    <a:pt x="14081" y="6006"/>
                  </a:cubicBezTo>
                  <a:cubicBezTo>
                    <a:pt x="13964" y="6059"/>
                    <a:pt x="13883" y="6069"/>
                    <a:pt x="13883" y="6019"/>
                  </a:cubicBezTo>
                  <a:cubicBezTo>
                    <a:pt x="13896" y="5969"/>
                    <a:pt x="13845" y="5934"/>
                    <a:pt x="13791" y="5928"/>
                  </a:cubicBezTo>
                  <a:cubicBezTo>
                    <a:pt x="13738" y="5928"/>
                    <a:pt x="13745" y="5863"/>
                    <a:pt x="13836" y="5797"/>
                  </a:cubicBezTo>
                  <a:cubicBezTo>
                    <a:pt x="13910" y="5724"/>
                    <a:pt x="13938" y="5655"/>
                    <a:pt x="13899" y="5632"/>
                  </a:cubicBezTo>
                  <a:cubicBezTo>
                    <a:pt x="13874" y="5603"/>
                    <a:pt x="13602" y="5723"/>
                    <a:pt x="13338" y="5876"/>
                  </a:cubicBezTo>
                  <a:cubicBezTo>
                    <a:pt x="13080" y="6034"/>
                    <a:pt x="12805" y="6259"/>
                    <a:pt x="12722" y="6379"/>
                  </a:cubicBezTo>
                  <a:cubicBezTo>
                    <a:pt x="12659" y="6504"/>
                    <a:pt x="12586" y="6637"/>
                    <a:pt x="12609" y="6677"/>
                  </a:cubicBezTo>
                  <a:cubicBezTo>
                    <a:pt x="12609" y="6720"/>
                    <a:pt x="12594" y="6800"/>
                    <a:pt x="12537" y="6853"/>
                  </a:cubicBezTo>
                  <a:cubicBezTo>
                    <a:pt x="12495" y="6910"/>
                    <a:pt x="12386" y="6946"/>
                    <a:pt x="12317" y="6939"/>
                  </a:cubicBezTo>
                  <a:cubicBezTo>
                    <a:pt x="12250" y="6924"/>
                    <a:pt x="12147" y="6913"/>
                    <a:pt x="12113" y="6888"/>
                  </a:cubicBezTo>
                  <a:cubicBezTo>
                    <a:pt x="12080" y="6861"/>
                    <a:pt x="12072" y="6761"/>
                    <a:pt x="12108" y="6655"/>
                  </a:cubicBezTo>
                  <a:cubicBezTo>
                    <a:pt x="12147" y="6550"/>
                    <a:pt x="12128" y="6457"/>
                    <a:pt x="12074" y="6469"/>
                  </a:cubicBezTo>
                  <a:cubicBezTo>
                    <a:pt x="12019" y="6469"/>
                    <a:pt x="11828" y="6569"/>
                    <a:pt x="11653" y="6685"/>
                  </a:cubicBezTo>
                  <a:cubicBezTo>
                    <a:pt x="11471" y="6799"/>
                    <a:pt x="11220" y="6856"/>
                    <a:pt x="11089" y="6800"/>
                  </a:cubicBezTo>
                  <a:cubicBezTo>
                    <a:pt x="10956" y="6747"/>
                    <a:pt x="10815" y="6734"/>
                    <a:pt x="10768" y="6768"/>
                  </a:cubicBezTo>
                  <a:cubicBezTo>
                    <a:pt x="10730" y="6805"/>
                    <a:pt x="10642" y="6838"/>
                    <a:pt x="10584" y="6855"/>
                  </a:cubicBezTo>
                  <a:cubicBezTo>
                    <a:pt x="10524" y="6864"/>
                    <a:pt x="10473" y="6970"/>
                    <a:pt x="10448" y="7082"/>
                  </a:cubicBezTo>
                  <a:cubicBezTo>
                    <a:pt x="10423" y="7193"/>
                    <a:pt x="10377" y="7289"/>
                    <a:pt x="10332" y="7283"/>
                  </a:cubicBezTo>
                  <a:cubicBezTo>
                    <a:pt x="10286" y="7276"/>
                    <a:pt x="10210" y="7294"/>
                    <a:pt x="10165" y="7310"/>
                  </a:cubicBezTo>
                  <a:cubicBezTo>
                    <a:pt x="10119" y="7327"/>
                    <a:pt x="10093" y="7289"/>
                    <a:pt x="10116" y="7229"/>
                  </a:cubicBezTo>
                  <a:cubicBezTo>
                    <a:pt x="10142" y="7168"/>
                    <a:pt x="10107" y="7101"/>
                    <a:pt x="10052" y="7093"/>
                  </a:cubicBezTo>
                  <a:cubicBezTo>
                    <a:pt x="9997" y="7080"/>
                    <a:pt x="9885" y="7132"/>
                    <a:pt x="9789" y="7204"/>
                  </a:cubicBezTo>
                  <a:cubicBezTo>
                    <a:pt x="9710" y="7281"/>
                    <a:pt x="9577" y="7295"/>
                    <a:pt x="9551" y="7234"/>
                  </a:cubicBezTo>
                  <a:cubicBezTo>
                    <a:pt x="9498" y="7180"/>
                    <a:pt x="9240" y="7279"/>
                    <a:pt x="8938" y="7455"/>
                  </a:cubicBezTo>
                  <a:cubicBezTo>
                    <a:pt x="8647" y="7639"/>
                    <a:pt x="8346" y="7797"/>
                    <a:pt x="8275" y="7805"/>
                  </a:cubicBezTo>
                  <a:cubicBezTo>
                    <a:pt x="8205" y="7813"/>
                    <a:pt x="8115" y="7810"/>
                    <a:pt x="8082" y="7784"/>
                  </a:cubicBezTo>
                  <a:cubicBezTo>
                    <a:pt x="8049" y="7756"/>
                    <a:pt x="7905" y="7753"/>
                    <a:pt x="7777" y="7767"/>
                  </a:cubicBezTo>
                  <a:cubicBezTo>
                    <a:pt x="7652" y="7781"/>
                    <a:pt x="7489" y="7846"/>
                    <a:pt x="7409" y="7909"/>
                  </a:cubicBezTo>
                  <a:cubicBezTo>
                    <a:pt x="7344" y="7976"/>
                    <a:pt x="7263" y="8125"/>
                    <a:pt x="7239" y="8246"/>
                  </a:cubicBezTo>
                  <a:cubicBezTo>
                    <a:pt x="7214" y="8367"/>
                    <a:pt x="6997" y="8636"/>
                    <a:pt x="6750" y="8848"/>
                  </a:cubicBezTo>
                  <a:cubicBezTo>
                    <a:pt x="6503" y="9057"/>
                    <a:pt x="6299" y="9254"/>
                    <a:pt x="6288" y="9288"/>
                  </a:cubicBezTo>
                  <a:cubicBezTo>
                    <a:pt x="6273" y="9322"/>
                    <a:pt x="6111" y="9473"/>
                    <a:pt x="5879" y="9608"/>
                  </a:cubicBezTo>
                  <a:cubicBezTo>
                    <a:pt x="5661" y="9751"/>
                    <a:pt x="5454" y="9915"/>
                    <a:pt x="5443" y="9976"/>
                  </a:cubicBezTo>
                  <a:cubicBezTo>
                    <a:pt x="5417" y="10036"/>
                    <a:pt x="5471" y="10118"/>
                    <a:pt x="5550" y="10156"/>
                  </a:cubicBezTo>
                  <a:cubicBezTo>
                    <a:pt x="5635" y="10191"/>
                    <a:pt x="5599" y="10294"/>
                    <a:pt x="5497" y="10383"/>
                  </a:cubicBezTo>
                  <a:cubicBezTo>
                    <a:pt x="5389" y="10470"/>
                    <a:pt x="5298" y="10629"/>
                    <a:pt x="5333" y="10733"/>
                  </a:cubicBezTo>
                  <a:cubicBezTo>
                    <a:pt x="5359" y="10838"/>
                    <a:pt x="5336" y="11007"/>
                    <a:pt x="5294" y="11104"/>
                  </a:cubicBezTo>
                  <a:cubicBezTo>
                    <a:pt x="5268" y="11203"/>
                    <a:pt x="5305" y="11435"/>
                    <a:pt x="5399" y="11624"/>
                  </a:cubicBezTo>
                  <a:cubicBezTo>
                    <a:pt x="5514" y="11808"/>
                    <a:pt x="5554" y="12014"/>
                    <a:pt x="5517" y="12072"/>
                  </a:cubicBezTo>
                  <a:cubicBezTo>
                    <a:pt x="5473" y="12128"/>
                    <a:pt x="5511" y="12236"/>
                    <a:pt x="5605" y="12291"/>
                  </a:cubicBezTo>
                  <a:cubicBezTo>
                    <a:pt x="5684" y="12352"/>
                    <a:pt x="5733" y="12429"/>
                    <a:pt x="5733" y="12463"/>
                  </a:cubicBezTo>
                  <a:cubicBezTo>
                    <a:pt x="5719" y="12495"/>
                    <a:pt x="5628" y="12576"/>
                    <a:pt x="5524" y="12644"/>
                  </a:cubicBezTo>
                  <a:cubicBezTo>
                    <a:pt x="5415" y="12707"/>
                    <a:pt x="5338" y="12804"/>
                    <a:pt x="5352" y="12852"/>
                  </a:cubicBezTo>
                  <a:cubicBezTo>
                    <a:pt x="5366" y="12901"/>
                    <a:pt x="5274" y="13097"/>
                    <a:pt x="5139" y="13282"/>
                  </a:cubicBezTo>
                  <a:cubicBezTo>
                    <a:pt x="5026" y="13473"/>
                    <a:pt x="4782" y="13667"/>
                    <a:pt x="4652" y="13743"/>
                  </a:cubicBezTo>
                  <a:cubicBezTo>
                    <a:pt x="4505" y="13807"/>
                    <a:pt x="4327" y="13948"/>
                    <a:pt x="4262" y="14055"/>
                  </a:cubicBezTo>
                  <a:cubicBezTo>
                    <a:pt x="4190" y="14159"/>
                    <a:pt x="4072" y="14261"/>
                    <a:pt x="3996" y="14280"/>
                  </a:cubicBezTo>
                  <a:cubicBezTo>
                    <a:pt x="3919" y="14299"/>
                    <a:pt x="3790" y="14367"/>
                    <a:pt x="3743" y="14442"/>
                  </a:cubicBezTo>
                  <a:cubicBezTo>
                    <a:pt x="3682" y="14514"/>
                    <a:pt x="3515" y="14626"/>
                    <a:pt x="3385" y="14701"/>
                  </a:cubicBezTo>
                  <a:cubicBezTo>
                    <a:pt x="3249" y="14773"/>
                    <a:pt x="3097" y="14953"/>
                    <a:pt x="3019" y="15097"/>
                  </a:cubicBezTo>
                  <a:cubicBezTo>
                    <a:pt x="2953" y="15243"/>
                    <a:pt x="2820" y="15412"/>
                    <a:pt x="2726" y="15474"/>
                  </a:cubicBezTo>
                  <a:cubicBezTo>
                    <a:pt x="2624" y="15533"/>
                    <a:pt x="2386" y="15621"/>
                    <a:pt x="2201" y="15679"/>
                  </a:cubicBezTo>
                  <a:cubicBezTo>
                    <a:pt x="2008" y="15728"/>
                    <a:pt x="1809" y="15810"/>
                    <a:pt x="1744" y="15848"/>
                  </a:cubicBezTo>
                  <a:cubicBezTo>
                    <a:pt x="1692" y="15893"/>
                    <a:pt x="1601" y="16025"/>
                    <a:pt x="1575" y="16148"/>
                  </a:cubicBezTo>
                  <a:cubicBezTo>
                    <a:pt x="1537" y="16269"/>
                    <a:pt x="1375" y="16455"/>
                    <a:pt x="1203" y="16563"/>
                  </a:cubicBezTo>
                  <a:cubicBezTo>
                    <a:pt x="1033" y="16669"/>
                    <a:pt x="861" y="16836"/>
                    <a:pt x="847" y="16935"/>
                  </a:cubicBezTo>
                  <a:cubicBezTo>
                    <a:pt x="823" y="17034"/>
                    <a:pt x="751" y="17167"/>
                    <a:pt x="688" y="17233"/>
                  </a:cubicBezTo>
                  <a:cubicBezTo>
                    <a:pt x="635" y="17302"/>
                    <a:pt x="578" y="17386"/>
                    <a:pt x="591" y="17428"/>
                  </a:cubicBezTo>
                  <a:cubicBezTo>
                    <a:pt x="601" y="17470"/>
                    <a:pt x="601" y="17605"/>
                    <a:pt x="539" y="17720"/>
                  </a:cubicBezTo>
                  <a:cubicBezTo>
                    <a:pt x="501" y="17839"/>
                    <a:pt x="569" y="18011"/>
                    <a:pt x="677" y="18110"/>
                  </a:cubicBezTo>
                  <a:cubicBezTo>
                    <a:pt x="796" y="18203"/>
                    <a:pt x="832" y="18353"/>
                    <a:pt x="780" y="18443"/>
                  </a:cubicBezTo>
                  <a:cubicBezTo>
                    <a:pt x="718" y="18530"/>
                    <a:pt x="677" y="18644"/>
                    <a:pt x="687" y="18694"/>
                  </a:cubicBezTo>
                  <a:cubicBezTo>
                    <a:pt x="699" y="18743"/>
                    <a:pt x="753" y="18802"/>
                    <a:pt x="826" y="18815"/>
                  </a:cubicBezTo>
                  <a:cubicBezTo>
                    <a:pt x="896" y="18830"/>
                    <a:pt x="987" y="18833"/>
                    <a:pt x="1034" y="18822"/>
                  </a:cubicBezTo>
                  <a:cubicBezTo>
                    <a:pt x="1075" y="18806"/>
                    <a:pt x="1083" y="18828"/>
                    <a:pt x="1027" y="18852"/>
                  </a:cubicBezTo>
                  <a:cubicBezTo>
                    <a:pt x="969" y="18877"/>
                    <a:pt x="834" y="18944"/>
                    <a:pt x="694" y="18970"/>
                  </a:cubicBezTo>
                  <a:cubicBezTo>
                    <a:pt x="569" y="19014"/>
                    <a:pt x="423" y="19098"/>
                    <a:pt x="411" y="19175"/>
                  </a:cubicBezTo>
                  <a:cubicBezTo>
                    <a:pt x="372" y="19249"/>
                    <a:pt x="335" y="19410"/>
                    <a:pt x="310" y="19529"/>
                  </a:cubicBezTo>
                  <a:cubicBezTo>
                    <a:pt x="264" y="19646"/>
                    <a:pt x="183" y="19874"/>
                    <a:pt x="106" y="20032"/>
                  </a:cubicBezTo>
                  <a:cubicBezTo>
                    <a:pt x="16" y="20188"/>
                    <a:pt x="-23" y="20340"/>
                    <a:pt x="13" y="20362"/>
                  </a:cubicBezTo>
                  <a:cubicBezTo>
                    <a:pt x="42" y="20387"/>
                    <a:pt x="61" y="20445"/>
                    <a:pt x="47" y="20495"/>
                  </a:cubicBezTo>
                  <a:cubicBezTo>
                    <a:pt x="20" y="20542"/>
                    <a:pt x="80" y="20588"/>
                    <a:pt x="132" y="20611"/>
                  </a:cubicBezTo>
                  <a:cubicBezTo>
                    <a:pt x="191" y="20628"/>
                    <a:pt x="286" y="20689"/>
                    <a:pt x="334" y="20752"/>
                  </a:cubicBezTo>
                  <a:cubicBezTo>
                    <a:pt x="383" y="20815"/>
                    <a:pt x="474" y="20880"/>
                    <a:pt x="534" y="20889"/>
                  </a:cubicBezTo>
                  <a:cubicBezTo>
                    <a:pt x="594" y="20897"/>
                    <a:pt x="677" y="20943"/>
                    <a:pt x="701" y="20986"/>
                  </a:cubicBezTo>
                  <a:cubicBezTo>
                    <a:pt x="737" y="21028"/>
                    <a:pt x="809" y="21098"/>
                    <a:pt x="865" y="21143"/>
                  </a:cubicBezTo>
                  <a:cubicBezTo>
                    <a:pt x="918" y="21189"/>
                    <a:pt x="1047" y="21199"/>
                    <a:pt x="1140" y="21168"/>
                  </a:cubicBezTo>
                  <a:cubicBezTo>
                    <a:pt x="1228" y="21132"/>
                    <a:pt x="1324" y="21131"/>
                    <a:pt x="1345" y="21150"/>
                  </a:cubicBezTo>
                  <a:cubicBezTo>
                    <a:pt x="1358" y="21172"/>
                    <a:pt x="1456" y="21186"/>
                    <a:pt x="1550" y="21186"/>
                  </a:cubicBezTo>
                  <a:cubicBezTo>
                    <a:pt x="1641" y="21179"/>
                    <a:pt x="1771" y="21239"/>
                    <a:pt x="1845" y="21303"/>
                  </a:cubicBezTo>
                  <a:cubicBezTo>
                    <a:pt x="1913" y="21369"/>
                    <a:pt x="2029" y="21418"/>
                    <a:pt x="2101" y="21418"/>
                  </a:cubicBezTo>
                  <a:cubicBezTo>
                    <a:pt x="2173" y="21411"/>
                    <a:pt x="2229" y="21442"/>
                    <a:pt x="2211" y="21472"/>
                  </a:cubicBezTo>
                  <a:cubicBezTo>
                    <a:pt x="2187" y="21500"/>
                    <a:pt x="2213" y="21537"/>
                    <a:pt x="2236" y="21551"/>
                  </a:cubicBezTo>
                  <a:cubicBezTo>
                    <a:pt x="2260" y="21565"/>
                    <a:pt x="2359" y="21543"/>
                    <a:pt x="2447" y="21499"/>
                  </a:cubicBezTo>
                  <a:cubicBezTo>
                    <a:pt x="2541" y="21460"/>
                    <a:pt x="2713" y="21408"/>
                    <a:pt x="2842" y="21401"/>
                  </a:cubicBezTo>
                  <a:cubicBezTo>
                    <a:pt x="2968" y="21386"/>
                    <a:pt x="3209" y="21318"/>
                    <a:pt x="3374" y="21245"/>
                  </a:cubicBezTo>
                  <a:cubicBezTo>
                    <a:pt x="3541" y="21170"/>
                    <a:pt x="3802" y="21030"/>
                    <a:pt x="3954" y="20933"/>
                  </a:cubicBezTo>
                  <a:cubicBezTo>
                    <a:pt x="4101" y="20833"/>
                    <a:pt x="4545" y="20685"/>
                    <a:pt x="4937" y="20609"/>
                  </a:cubicBezTo>
                  <a:cubicBezTo>
                    <a:pt x="5327" y="20536"/>
                    <a:pt x="5727" y="20463"/>
                    <a:pt x="5837" y="20463"/>
                  </a:cubicBezTo>
                  <a:cubicBezTo>
                    <a:pt x="5945" y="20463"/>
                    <a:pt x="6211" y="20398"/>
                    <a:pt x="6427" y="20321"/>
                  </a:cubicBezTo>
                  <a:cubicBezTo>
                    <a:pt x="6646" y="20246"/>
                    <a:pt x="6894" y="20124"/>
                    <a:pt x="6970" y="20049"/>
                  </a:cubicBezTo>
                  <a:cubicBezTo>
                    <a:pt x="7046" y="19975"/>
                    <a:pt x="7198" y="19899"/>
                    <a:pt x="7297" y="19877"/>
                  </a:cubicBezTo>
                  <a:cubicBezTo>
                    <a:pt x="7397" y="19852"/>
                    <a:pt x="7564" y="19732"/>
                    <a:pt x="7681" y="19611"/>
                  </a:cubicBezTo>
                  <a:cubicBezTo>
                    <a:pt x="7794" y="19487"/>
                    <a:pt x="7990" y="19295"/>
                    <a:pt x="8132" y="19191"/>
                  </a:cubicBezTo>
                  <a:cubicBezTo>
                    <a:pt x="8267" y="19083"/>
                    <a:pt x="8410" y="18942"/>
                    <a:pt x="8436" y="18873"/>
                  </a:cubicBezTo>
                  <a:cubicBezTo>
                    <a:pt x="8474" y="18808"/>
                    <a:pt x="8607" y="18699"/>
                    <a:pt x="8746" y="18638"/>
                  </a:cubicBezTo>
                  <a:cubicBezTo>
                    <a:pt x="8885" y="18577"/>
                    <a:pt x="9026" y="18436"/>
                    <a:pt x="9064" y="18327"/>
                  </a:cubicBezTo>
                  <a:cubicBezTo>
                    <a:pt x="9087" y="18217"/>
                    <a:pt x="9116" y="18117"/>
                    <a:pt x="9090" y="18110"/>
                  </a:cubicBezTo>
                  <a:cubicBezTo>
                    <a:pt x="9077" y="18094"/>
                    <a:pt x="9135" y="18051"/>
                    <a:pt x="9229" y="17996"/>
                  </a:cubicBezTo>
                  <a:cubicBezTo>
                    <a:pt x="9323" y="17942"/>
                    <a:pt x="9492" y="17797"/>
                    <a:pt x="9597" y="17667"/>
                  </a:cubicBezTo>
                  <a:cubicBezTo>
                    <a:pt x="9697" y="17535"/>
                    <a:pt x="9786" y="17415"/>
                    <a:pt x="9776" y="17399"/>
                  </a:cubicBezTo>
                  <a:cubicBezTo>
                    <a:pt x="9776" y="17380"/>
                    <a:pt x="9808" y="17369"/>
                    <a:pt x="9845" y="17354"/>
                  </a:cubicBezTo>
                  <a:cubicBezTo>
                    <a:pt x="9887" y="17349"/>
                    <a:pt x="10047" y="17239"/>
                    <a:pt x="10208" y="17115"/>
                  </a:cubicBezTo>
                  <a:cubicBezTo>
                    <a:pt x="10362" y="16987"/>
                    <a:pt x="10659" y="16674"/>
                    <a:pt x="10837" y="16407"/>
                  </a:cubicBezTo>
                  <a:cubicBezTo>
                    <a:pt x="11014" y="16142"/>
                    <a:pt x="11274" y="15809"/>
                    <a:pt x="11393" y="15663"/>
                  </a:cubicBezTo>
                  <a:cubicBezTo>
                    <a:pt x="11518" y="15518"/>
                    <a:pt x="11706" y="15339"/>
                    <a:pt x="11818" y="15267"/>
                  </a:cubicBezTo>
                  <a:cubicBezTo>
                    <a:pt x="11933" y="15193"/>
                    <a:pt x="12121" y="15006"/>
                    <a:pt x="12233" y="14847"/>
                  </a:cubicBezTo>
                  <a:cubicBezTo>
                    <a:pt x="12334" y="14685"/>
                    <a:pt x="12651" y="14395"/>
                    <a:pt x="12865" y="14182"/>
                  </a:cubicBezTo>
                  <a:cubicBezTo>
                    <a:pt x="13107" y="13979"/>
                    <a:pt x="13516" y="13536"/>
                    <a:pt x="13794" y="13206"/>
                  </a:cubicBezTo>
                  <a:cubicBezTo>
                    <a:pt x="14060" y="12873"/>
                    <a:pt x="14417" y="12505"/>
                    <a:pt x="14565" y="12383"/>
                  </a:cubicBezTo>
                  <a:cubicBezTo>
                    <a:pt x="14713" y="12261"/>
                    <a:pt x="14887" y="12048"/>
                    <a:pt x="14939" y="11908"/>
                  </a:cubicBezTo>
                  <a:cubicBezTo>
                    <a:pt x="15001" y="11768"/>
                    <a:pt x="15178" y="11524"/>
                    <a:pt x="15351" y="11366"/>
                  </a:cubicBezTo>
                  <a:cubicBezTo>
                    <a:pt x="15530" y="11209"/>
                    <a:pt x="15693" y="11031"/>
                    <a:pt x="15734" y="10976"/>
                  </a:cubicBezTo>
                  <a:cubicBezTo>
                    <a:pt x="15775" y="10920"/>
                    <a:pt x="15947" y="10739"/>
                    <a:pt x="16142" y="10583"/>
                  </a:cubicBezTo>
                  <a:cubicBezTo>
                    <a:pt x="16328" y="10424"/>
                    <a:pt x="16600" y="10107"/>
                    <a:pt x="16754" y="9882"/>
                  </a:cubicBezTo>
                  <a:cubicBezTo>
                    <a:pt x="16905" y="9656"/>
                    <a:pt x="17119" y="9333"/>
                    <a:pt x="17238" y="9166"/>
                  </a:cubicBezTo>
                  <a:cubicBezTo>
                    <a:pt x="17361" y="9001"/>
                    <a:pt x="17500" y="8822"/>
                    <a:pt x="17571" y="8774"/>
                  </a:cubicBezTo>
                  <a:cubicBezTo>
                    <a:pt x="17640" y="8726"/>
                    <a:pt x="17762" y="8589"/>
                    <a:pt x="17827" y="8468"/>
                  </a:cubicBezTo>
                  <a:cubicBezTo>
                    <a:pt x="17903" y="8348"/>
                    <a:pt x="17930" y="8211"/>
                    <a:pt x="17908" y="8158"/>
                  </a:cubicBezTo>
                  <a:cubicBezTo>
                    <a:pt x="17882" y="8107"/>
                    <a:pt x="17914" y="7983"/>
                    <a:pt x="17978" y="7878"/>
                  </a:cubicBezTo>
                  <a:cubicBezTo>
                    <a:pt x="18049" y="7775"/>
                    <a:pt x="18242" y="7586"/>
                    <a:pt x="18395" y="7453"/>
                  </a:cubicBezTo>
                  <a:cubicBezTo>
                    <a:pt x="18556" y="7323"/>
                    <a:pt x="18697" y="7172"/>
                    <a:pt x="18697" y="7120"/>
                  </a:cubicBezTo>
                  <a:cubicBezTo>
                    <a:pt x="18709" y="7067"/>
                    <a:pt x="18790" y="6957"/>
                    <a:pt x="18902" y="6879"/>
                  </a:cubicBezTo>
                  <a:cubicBezTo>
                    <a:pt x="19012" y="6800"/>
                    <a:pt x="19098" y="6658"/>
                    <a:pt x="19124" y="6567"/>
                  </a:cubicBezTo>
                  <a:cubicBezTo>
                    <a:pt x="19151" y="6474"/>
                    <a:pt x="19124" y="6376"/>
                    <a:pt x="19084" y="6353"/>
                  </a:cubicBezTo>
                  <a:cubicBezTo>
                    <a:pt x="19054" y="6327"/>
                    <a:pt x="19079" y="6247"/>
                    <a:pt x="19156" y="6173"/>
                  </a:cubicBezTo>
                  <a:cubicBezTo>
                    <a:pt x="19228" y="6096"/>
                    <a:pt x="19331" y="5958"/>
                    <a:pt x="19343" y="5862"/>
                  </a:cubicBezTo>
                  <a:cubicBezTo>
                    <a:pt x="19357" y="5764"/>
                    <a:pt x="19361" y="5673"/>
                    <a:pt x="19324" y="5659"/>
                  </a:cubicBezTo>
                  <a:cubicBezTo>
                    <a:pt x="19287" y="5645"/>
                    <a:pt x="19290" y="5555"/>
                    <a:pt x="19315" y="5461"/>
                  </a:cubicBezTo>
                  <a:cubicBezTo>
                    <a:pt x="19355" y="5367"/>
                    <a:pt x="19441" y="5258"/>
                    <a:pt x="19528" y="5222"/>
                  </a:cubicBezTo>
                  <a:cubicBezTo>
                    <a:pt x="19614" y="5186"/>
                    <a:pt x="19720" y="5176"/>
                    <a:pt x="19768" y="5196"/>
                  </a:cubicBezTo>
                  <a:cubicBezTo>
                    <a:pt x="19810" y="5221"/>
                    <a:pt x="19842" y="5301"/>
                    <a:pt x="19842" y="5381"/>
                  </a:cubicBezTo>
                  <a:cubicBezTo>
                    <a:pt x="19842" y="5461"/>
                    <a:pt x="19887" y="5587"/>
                    <a:pt x="19953" y="5664"/>
                  </a:cubicBezTo>
                  <a:cubicBezTo>
                    <a:pt x="20023" y="5738"/>
                    <a:pt x="20130" y="5804"/>
                    <a:pt x="20198" y="5804"/>
                  </a:cubicBezTo>
                  <a:cubicBezTo>
                    <a:pt x="20265" y="5797"/>
                    <a:pt x="20360" y="5757"/>
                    <a:pt x="20428" y="5704"/>
                  </a:cubicBezTo>
                  <a:cubicBezTo>
                    <a:pt x="20480" y="5644"/>
                    <a:pt x="20569" y="5544"/>
                    <a:pt x="20594" y="5473"/>
                  </a:cubicBezTo>
                  <a:cubicBezTo>
                    <a:pt x="20633" y="5405"/>
                    <a:pt x="20693" y="5326"/>
                    <a:pt x="20721" y="5293"/>
                  </a:cubicBezTo>
                  <a:cubicBezTo>
                    <a:pt x="20769" y="5266"/>
                    <a:pt x="20829" y="5180"/>
                    <a:pt x="20864" y="5106"/>
                  </a:cubicBezTo>
                  <a:cubicBezTo>
                    <a:pt x="20913" y="5036"/>
                    <a:pt x="20973" y="4945"/>
                    <a:pt x="21027" y="4913"/>
                  </a:cubicBezTo>
                  <a:cubicBezTo>
                    <a:pt x="21073" y="4879"/>
                    <a:pt x="21123" y="4785"/>
                    <a:pt x="21159" y="4708"/>
                  </a:cubicBezTo>
                  <a:cubicBezTo>
                    <a:pt x="21172" y="4627"/>
                    <a:pt x="21146" y="4485"/>
                    <a:pt x="21059" y="4398"/>
                  </a:cubicBezTo>
                  <a:cubicBezTo>
                    <a:pt x="20986" y="4307"/>
                    <a:pt x="20929" y="4179"/>
                    <a:pt x="20915" y="4109"/>
                  </a:cubicBezTo>
                  <a:cubicBezTo>
                    <a:pt x="20915" y="4041"/>
                    <a:pt x="20939" y="3948"/>
                    <a:pt x="20992" y="3910"/>
                  </a:cubicBezTo>
                  <a:cubicBezTo>
                    <a:pt x="21034" y="3869"/>
                    <a:pt x="21100" y="3766"/>
                    <a:pt x="21127" y="3679"/>
                  </a:cubicBezTo>
                  <a:cubicBezTo>
                    <a:pt x="21153" y="3591"/>
                    <a:pt x="21184" y="3434"/>
                    <a:pt x="21184" y="3328"/>
                  </a:cubicBezTo>
                  <a:cubicBezTo>
                    <a:pt x="21184" y="3222"/>
                    <a:pt x="21218" y="3098"/>
                    <a:pt x="21258" y="3051"/>
                  </a:cubicBezTo>
                  <a:cubicBezTo>
                    <a:pt x="21303" y="3005"/>
                    <a:pt x="21412" y="2797"/>
                    <a:pt x="21484" y="2585"/>
                  </a:cubicBezTo>
                  <a:cubicBezTo>
                    <a:pt x="21574" y="2377"/>
                    <a:pt x="21577" y="2150"/>
                    <a:pt x="21524" y="2080"/>
                  </a:cubicBezTo>
                  <a:cubicBezTo>
                    <a:pt x="21461" y="2012"/>
                    <a:pt x="21463" y="1809"/>
                    <a:pt x="21502" y="1627"/>
                  </a:cubicBezTo>
                  <a:close/>
                  <a:moveTo>
                    <a:pt x="21502" y="16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6" name="AutoShape 898"/>
            <p:cNvSpPr>
              <a:spLocks/>
            </p:cNvSpPr>
            <p:nvPr/>
          </p:nvSpPr>
          <p:spPr bwMode="auto">
            <a:xfrm>
              <a:off x="9347200" y="5994400"/>
              <a:ext cx="1588" cy="3175"/>
            </a:xfrm>
            <a:custGeom>
              <a:avLst/>
              <a:gdLst/>
              <a:ahLst/>
              <a:cxnLst/>
              <a:rect l="0" t="0" r="r" b="b"/>
              <a:pathLst>
                <a:path w="17696" h="19203">
                  <a:moveTo>
                    <a:pt x="10440" y="16961"/>
                  </a:moveTo>
                  <a:cubicBezTo>
                    <a:pt x="15366" y="13198"/>
                    <a:pt x="20411" y="6831"/>
                    <a:pt x="16006" y="3450"/>
                  </a:cubicBezTo>
                  <a:cubicBezTo>
                    <a:pt x="13969" y="-562"/>
                    <a:pt x="10179" y="-1135"/>
                    <a:pt x="6019" y="2049"/>
                  </a:cubicBezTo>
                  <a:cubicBezTo>
                    <a:pt x="1850" y="5238"/>
                    <a:pt x="-1189" y="11482"/>
                    <a:pt x="453" y="15559"/>
                  </a:cubicBezTo>
                  <a:cubicBezTo>
                    <a:pt x="453" y="19760"/>
                    <a:pt x="5253" y="20465"/>
                    <a:pt x="10440" y="16961"/>
                  </a:cubicBezTo>
                  <a:close/>
                  <a:moveTo>
                    <a:pt x="10440" y="169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7" name="AutoShape 899"/>
            <p:cNvSpPr>
              <a:spLocks/>
            </p:cNvSpPr>
            <p:nvPr/>
          </p:nvSpPr>
          <p:spPr bwMode="auto">
            <a:xfrm>
              <a:off x="9334500" y="5994400"/>
              <a:ext cx="6350" cy="7938"/>
            </a:xfrm>
            <a:custGeom>
              <a:avLst/>
              <a:gdLst/>
              <a:ahLst/>
              <a:cxnLst/>
              <a:rect l="0" t="0" r="r" b="b"/>
              <a:pathLst>
                <a:path w="19777" h="20072">
                  <a:moveTo>
                    <a:pt x="2403" y="16987"/>
                  </a:moveTo>
                  <a:cubicBezTo>
                    <a:pt x="5408" y="16256"/>
                    <a:pt x="9691" y="17578"/>
                    <a:pt x="11455" y="19464"/>
                  </a:cubicBezTo>
                  <a:cubicBezTo>
                    <a:pt x="13154" y="21290"/>
                    <a:pt x="16390" y="18845"/>
                    <a:pt x="18318" y="14260"/>
                  </a:cubicBezTo>
                  <a:cubicBezTo>
                    <a:pt x="20703" y="9787"/>
                    <a:pt x="19888" y="5231"/>
                    <a:pt x="17858" y="3967"/>
                  </a:cubicBezTo>
                  <a:cubicBezTo>
                    <a:pt x="15638" y="2982"/>
                    <a:pt x="12860" y="1576"/>
                    <a:pt x="12860" y="620"/>
                  </a:cubicBezTo>
                  <a:cubicBezTo>
                    <a:pt x="12501" y="-310"/>
                    <a:pt x="10571" y="-198"/>
                    <a:pt x="9854" y="986"/>
                  </a:cubicBezTo>
                  <a:cubicBezTo>
                    <a:pt x="8710" y="2025"/>
                    <a:pt x="5802" y="6524"/>
                    <a:pt x="2305" y="10407"/>
                  </a:cubicBezTo>
                  <a:cubicBezTo>
                    <a:pt x="-897" y="14343"/>
                    <a:pt x="-668" y="17440"/>
                    <a:pt x="2403" y="16987"/>
                  </a:cubicBezTo>
                  <a:close/>
                  <a:moveTo>
                    <a:pt x="2403" y="169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8" name="AutoShape 900"/>
            <p:cNvSpPr>
              <a:spLocks/>
            </p:cNvSpPr>
            <p:nvPr/>
          </p:nvSpPr>
          <p:spPr bwMode="auto">
            <a:xfrm>
              <a:off x="8648700" y="5943600"/>
              <a:ext cx="455613" cy="679450"/>
            </a:xfrm>
            <a:custGeom>
              <a:avLst/>
              <a:gdLst/>
              <a:ahLst/>
              <a:cxnLst/>
              <a:rect l="0" t="0" r="r" b="b"/>
              <a:pathLst>
                <a:path w="21583" h="21587">
                  <a:moveTo>
                    <a:pt x="21356" y="92"/>
                  </a:moveTo>
                  <a:cubicBezTo>
                    <a:pt x="21308" y="131"/>
                    <a:pt x="21199" y="162"/>
                    <a:pt x="21118" y="150"/>
                  </a:cubicBezTo>
                  <a:cubicBezTo>
                    <a:pt x="21034" y="144"/>
                    <a:pt x="20905" y="182"/>
                    <a:pt x="20847" y="247"/>
                  </a:cubicBezTo>
                  <a:cubicBezTo>
                    <a:pt x="20776" y="307"/>
                    <a:pt x="20657" y="399"/>
                    <a:pt x="20580" y="451"/>
                  </a:cubicBezTo>
                  <a:cubicBezTo>
                    <a:pt x="20501" y="504"/>
                    <a:pt x="20352" y="563"/>
                    <a:pt x="20251" y="582"/>
                  </a:cubicBezTo>
                  <a:cubicBezTo>
                    <a:pt x="20151" y="604"/>
                    <a:pt x="20008" y="667"/>
                    <a:pt x="19931" y="724"/>
                  </a:cubicBezTo>
                  <a:cubicBezTo>
                    <a:pt x="19860" y="784"/>
                    <a:pt x="19702" y="845"/>
                    <a:pt x="19592" y="869"/>
                  </a:cubicBezTo>
                  <a:cubicBezTo>
                    <a:pt x="19479" y="887"/>
                    <a:pt x="19363" y="940"/>
                    <a:pt x="19317" y="971"/>
                  </a:cubicBezTo>
                  <a:cubicBezTo>
                    <a:pt x="19270" y="1002"/>
                    <a:pt x="19179" y="1056"/>
                    <a:pt x="19100" y="1079"/>
                  </a:cubicBezTo>
                  <a:cubicBezTo>
                    <a:pt x="19022" y="1108"/>
                    <a:pt x="18906" y="1115"/>
                    <a:pt x="18841" y="1104"/>
                  </a:cubicBezTo>
                  <a:cubicBezTo>
                    <a:pt x="18777" y="1091"/>
                    <a:pt x="18577" y="1136"/>
                    <a:pt x="18386" y="1191"/>
                  </a:cubicBezTo>
                  <a:cubicBezTo>
                    <a:pt x="18200" y="1253"/>
                    <a:pt x="18007" y="1328"/>
                    <a:pt x="17954" y="1360"/>
                  </a:cubicBezTo>
                  <a:cubicBezTo>
                    <a:pt x="17900" y="1389"/>
                    <a:pt x="17790" y="1432"/>
                    <a:pt x="17702" y="1448"/>
                  </a:cubicBezTo>
                  <a:cubicBezTo>
                    <a:pt x="17615" y="1466"/>
                    <a:pt x="17493" y="1460"/>
                    <a:pt x="17438" y="1430"/>
                  </a:cubicBezTo>
                  <a:cubicBezTo>
                    <a:pt x="17384" y="1399"/>
                    <a:pt x="17278" y="1391"/>
                    <a:pt x="17211" y="1410"/>
                  </a:cubicBezTo>
                  <a:cubicBezTo>
                    <a:pt x="17144" y="1429"/>
                    <a:pt x="17022" y="1428"/>
                    <a:pt x="16940" y="1422"/>
                  </a:cubicBezTo>
                  <a:cubicBezTo>
                    <a:pt x="16858" y="1411"/>
                    <a:pt x="16758" y="1424"/>
                    <a:pt x="16719" y="1451"/>
                  </a:cubicBezTo>
                  <a:cubicBezTo>
                    <a:pt x="16671" y="1470"/>
                    <a:pt x="16657" y="1530"/>
                    <a:pt x="16675" y="1566"/>
                  </a:cubicBezTo>
                  <a:cubicBezTo>
                    <a:pt x="16693" y="1603"/>
                    <a:pt x="16666" y="1682"/>
                    <a:pt x="16617" y="1737"/>
                  </a:cubicBezTo>
                  <a:cubicBezTo>
                    <a:pt x="16574" y="1795"/>
                    <a:pt x="16421" y="1858"/>
                    <a:pt x="16283" y="1881"/>
                  </a:cubicBezTo>
                  <a:cubicBezTo>
                    <a:pt x="16148" y="1904"/>
                    <a:pt x="15948" y="1952"/>
                    <a:pt x="15842" y="1991"/>
                  </a:cubicBezTo>
                  <a:cubicBezTo>
                    <a:pt x="15733" y="2026"/>
                    <a:pt x="15604" y="2043"/>
                    <a:pt x="15550" y="2022"/>
                  </a:cubicBezTo>
                  <a:cubicBezTo>
                    <a:pt x="15494" y="2006"/>
                    <a:pt x="15403" y="1986"/>
                    <a:pt x="15342" y="1992"/>
                  </a:cubicBezTo>
                  <a:cubicBezTo>
                    <a:pt x="15279" y="1998"/>
                    <a:pt x="15239" y="1979"/>
                    <a:pt x="15224" y="1959"/>
                  </a:cubicBezTo>
                  <a:cubicBezTo>
                    <a:pt x="15218" y="1938"/>
                    <a:pt x="15177" y="1911"/>
                    <a:pt x="15127" y="1898"/>
                  </a:cubicBezTo>
                  <a:cubicBezTo>
                    <a:pt x="15076" y="1884"/>
                    <a:pt x="14992" y="1896"/>
                    <a:pt x="14954" y="1926"/>
                  </a:cubicBezTo>
                  <a:cubicBezTo>
                    <a:pt x="14907" y="1951"/>
                    <a:pt x="14832" y="1990"/>
                    <a:pt x="14775" y="2003"/>
                  </a:cubicBezTo>
                  <a:cubicBezTo>
                    <a:pt x="14719" y="2018"/>
                    <a:pt x="14574" y="2079"/>
                    <a:pt x="14462" y="2148"/>
                  </a:cubicBezTo>
                  <a:cubicBezTo>
                    <a:pt x="14351" y="2217"/>
                    <a:pt x="14129" y="2305"/>
                    <a:pt x="13975" y="2347"/>
                  </a:cubicBezTo>
                  <a:cubicBezTo>
                    <a:pt x="13825" y="2395"/>
                    <a:pt x="13707" y="2400"/>
                    <a:pt x="13739" y="2373"/>
                  </a:cubicBezTo>
                  <a:cubicBezTo>
                    <a:pt x="13758" y="2340"/>
                    <a:pt x="13747" y="2285"/>
                    <a:pt x="13703" y="2255"/>
                  </a:cubicBezTo>
                  <a:cubicBezTo>
                    <a:pt x="13657" y="2225"/>
                    <a:pt x="13577" y="2199"/>
                    <a:pt x="13515" y="2199"/>
                  </a:cubicBezTo>
                  <a:cubicBezTo>
                    <a:pt x="13452" y="2193"/>
                    <a:pt x="13359" y="2181"/>
                    <a:pt x="13302" y="2159"/>
                  </a:cubicBezTo>
                  <a:cubicBezTo>
                    <a:pt x="13242" y="2142"/>
                    <a:pt x="13156" y="2110"/>
                    <a:pt x="13095" y="2104"/>
                  </a:cubicBezTo>
                  <a:cubicBezTo>
                    <a:pt x="13034" y="2104"/>
                    <a:pt x="12981" y="2068"/>
                    <a:pt x="12990" y="2038"/>
                  </a:cubicBezTo>
                  <a:cubicBezTo>
                    <a:pt x="12990" y="2008"/>
                    <a:pt x="12936" y="1999"/>
                    <a:pt x="12862" y="2015"/>
                  </a:cubicBezTo>
                  <a:cubicBezTo>
                    <a:pt x="12788" y="2032"/>
                    <a:pt x="12706" y="2069"/>
                    <a:pt x="12681" y="2097"/>
                  </a:cubicBezTo>
                  <a:cubicBezTo>
                    <a:pt x="12650" y="2123"/>
                    <a:pt x="12563" y="2166"/>
                    <a:pt x="12478" y="2185"/>
                  </a:cubicBezTo>
                  <a:cubicBezTo>
                    <a:pt x="12390" y="2198"/>
                    <a:pt x="11935" y="2267"/>
                    <a:pt x="11459" y="2320"/>
                  </a:cubicBezTo>
                  <a:cubicBezTo>
                    <a:pt x="10983" y="2378"/>
                    <a:pt x="10435" y="2684"/>
                    <a:pt x="10247" y="3009"/>
                  </a:cubicBezTo>
                  <a:cubicBezTo>
                    <a:pt x="10061" y="3335"/>
                    <a:pt x="9915" y="3856"/>
                    <a:pt x="9924" y="4168"/>
                  </a:cubicBezTo>
                  <a:cubicBezTo>
                    <a:pt x="9933" y="4479"/>
                    <a:pt x="10061" y="4772"/>
                    <a:pt x="10208" y="4807"/>
                  </a:cubicBezTo>
                  <a:cubicBezTo>
                    <a:pt x="10352" y="4849"/>
                    <a:pt x="10521" y="4913"/>
                    <a:pt x="10581" y="4953"/>
                  </a:cubicBezTo>
                  <a:cubicBezTo>
                    <a:pt x="10649" y="4987"/>
                    <a:pt x="10709" y="5052"/>
                    <a:pt x="10742" y="5081"/>
                  </a:cubicBezTo>
                  <a:cubicBezTo>
                    <a:pt x="10766" y="5114"/>
                    <a:pt x="10831" y="5140"/>
                    <a:pt x="10879" y="5140"/>
                  </a:cubicBezTo>
                  <a:cubicBezTo>
                    <a:pt x="10927" y="5147"/>
                    <a:pt x="11083" y="5224"/>
                    <a:pt x="11221" y="5324"/>
                  </a:cubicBezTo>
                  <a:cubicBezTo>
                    <a:pt x="11360" y="5422"/>
                    <a:pt x="11486" y="5543"/>
                    <a:pt x="11511" y="5594"/>
                  </a:cubicBezTo>
                  <a:cubicBezTo>
                    <a:pt x="11539" y="5642"/>
                    <a:pt x="11612" y="5764"/>
                    <a:pt x="11705" y="5855"/>
                  </a:cubicBezTo>
                  <a:cubicBezTo>
                    <a:pt x="11782" y="5953"/>
                    <a:pt x="11887" y="6088"/>
                    <a:pt x="11905" y="6166"/>
                  </a:cubicBezTo>
                  <a:cubicBezTo>
                    <a:pt x="11922" y="6246"/>
                    <a:pt x="11957" y="6345"/>
                    <a:pt x="11983" y="6387"/>
                  </a:cubicBezTo>
                  <a:cubicBezTo>
                    <a:pt x="12013" y="6427"/>
                    <a:pt x="12011" y="6494"/>
                    <a:pt x="12011" y="6530"/>
                  </a:cubicBezTo>
                  <a:cubicBezTo>
                    <a:pt x="12002" y="6566"/>
                    <a:pt x="11946" y="6614"/>
                    <a:pt x="11880" y="6636"/>
                  </a:cubicBezTo>
                  <a:cubicBezTo>
                    <a:pt x="11816" y="6660"/>
                    <a:pt x="11730" y="6704"/>
                    <a:pt x="11706" y="6742"/>
                  </a:cubicBezTo>
                  <a:cubicBezTo>
                    <a:pt x="11666" y="6773"/>
                    <a:pt x="11607" y="6815"/>
                    <a:pt x="11554" y="6827"/>
                  </a:cubicBezTo>
                  <a:cubicBezTo>
                    <a:pt x="11499" y="6839"/>
                    <a:pt x="11422" y="6868"/>
                    <a:pt x="11412" y="6899"/>
                  </a:cubicBezTo>
                  <a:cubicBezTo>
                    <a:pt x="11388" y="6927"/>
                    <a:pt x="11387" y="6968"/>
                    <a:pt x="11404" y="6991"/>
                  </a:cubicBezTo>
                  <a:cubicBezTo>
                    <a:pt x="11420" y="7013"/>
                    <a:pt x="11426" y="7058"/>
                    <a:pt x="11404" y="7089"/>
                  </a:cubicBezTo>
                  <a:cubicBezTo>
                    <a:pt x="11387" y="7122"/>
                    <a:pt x="11403" y="7176"/>
                    <a:pt x="11443" y="7209"/>
                  </a:cubicBezTo>
                  <a:cubicBezTo>
                    <a:pt x="11488" y="7239"/>
                    <a:pt x="11480" y="7370"/>
                    <a:pt x="11454" y="7494"/>
                  </a:cubicBezTo>
                  <a:cubicBezTo>
                    <a:pt x="11418" y="7619"/>
                    <a:pt x="11353" y="7765"/>
                    <a:pt x="11310" y="7823"/>
                  </a:cubicBezTo>
                  <a:cubicBezTo>
                    <a:pt x="11272" y="7881"/>
                    <a:pt x="11163" y="7961"/>
                    <a:pt x="11090" y="8009"/>
                  </a:cubicBezTo>
                  <a:cubicBezTo>
                    <a:pt x="11008" y="8052"/>
                    <a:pt x="10870" y="8125"/>
                    <a:pt x="10763" y="8149"/>
                  </a:cubicBezTo>
                  <a:cubicBezTo>
                    <a:pt x="10662" y="8183"/>
                    <a:pt x="10509" y="8279"/>
                    <a:pt x="10445" y="8376"/>
                  </a:cubicBezTo>
                  <a:cubicBezTo>
                    <a:pt x="10368" y="8469"/>
                    <a:pt x="10288" y="8600"/>
                    <a:pt x="10261" y="8665"/>
                  </a:cubicBezTo>
                  <a:cubicBezTo>
                    <a:pt x="10224" y="8726"/>
                    <a:pt x="10158" y="8834"/>
                    <a:pt x="10091" y="8896"/>
                  </a:cubicBezTo>
                  <a:cubicBezTo>
                    <a:pt x="10024" y="8957"/>
                    <a:pt x="9984" y="9072"/>
                    <a:pt x="10003" y="9147"/>
                  </a:cubicBezTo>
                  <a:cubicBezTo>
                    <a:pt x="10020" y="9221"/>
                    <a:pt x="10007" y="9339"/>
                    <a:pt x="9963" y="9403"/>
                  </a:cubicBezTo>
                  <a:cubicBezTo>
                    <a:pt x="9925" y="9471"/>
                    <a:pt x="9813" y="9544"/>
                    <a:pt x="9715" y="9572"/>
                  </a:cubicBezTo>
                  <a:cubicBezTo>
                    <a:pt x="9616" y="9596"/>
                    <a:pt x="9530" y="9580"/>
                    <a:pt x="9513" y="9535"/>
                  </a:cubicBezTo>
                  <a:cubicBezTo>
                    <a:pt x="9504" y="9491"/>
                    <a:pt x="9527" y="9420"/>
                    <a:pt x="9566" y="9374"/>
                  </a:cubicBezTo>
                  <a:cubicBezTo>
                    <a:pt x="9613" y="9332"/>
                    <a:pt x="9599" y="9252"/>
                    <a:pt x="9555" y="9198"/>
                  </a:cubicBezTo>
                  <a:cubicBezTo>
                    <a:pt x="9499" y="9148"/>
                    <a:pt x="9420" y="9086"/>
                    <a:pt x="9377" y="9058"/>
                  </a:cubicBezTo>
                  <a:cubicBezTo>
                    <a:pt x="9334" y="9028"/>
                    <a:pt x="9239" y="9001"/>
                    <a:pt x="9183" y="8982"/>
                  </a:cubicBezTo>
                  <a:cubicBezTo>
                    <a:pt x="9125" y="8966"/>
                    <a:pt x="9016" y="8920"/>
                    <a:pt x="8953" y="8872"/>
                  </a:cubicBezTo>
                  <a:cubicBezTo>
                    <a:pt x="8882" y="8830"/>
                    <a:pt x="8780" y="8739"/>
                    <a:pt x="8704" y="8683"/>
                  </a:cubicBezTo>
                  <a:cubicBezTo>
                    <a:pt x="8639" y="8621"/>
                    <a:pt x="8585" y="8531"/>
                    <a:pt x="8585" y="8479"/>
                  </a:cubicBezTo>
                  <a:cubicBezTo>
                    <a:pt x="8585" y="8426"/>
                    <a:pt x="8560" y="8327"/>
                    <a:pt x="8542" y="8255"/>
                  </a:cubicBezTo>
                  <a:cubicBezTo>
                    <a:pt x="8525" y="8185"/>
                    <a:pt x="8503" y="8083"/>
                    <a:pt x="8503" y="8029"/>
                  </a:cubicBezTo>
                  <a:cubicBezTo>
                    <a:pt x="8503" y="7974"/>
                    <a:pt x="8569" y="7873"/>
                    <a:pt x="8650" y="7807"/>
                  </a:cubicBezTo>
                  <a:cubicBezTo>
                    <a:pt x="8733" y="7740"/>
                    <a:pt x="8831" y="7617"/>
                    <a:pt x="8874" y="7536"/>
                  </a:cubicBezTo>
                  <a:cubicBezTo>
                    <a:pt x="8917" y="7455"/>
                    <a:pt x="9057" y="7322"/>
                    <a:pt x="9174" y="7233"/>
                  </a:cubicBezTo>
                  <a:cubicBezTo>
                    <a:pt x="9295" y="7146"/>
                    <a:pt x="9421" y="7010"/>
                    <a:pt x="9446" y="6930"/>
                  </a:cubicBezTo>
                  <a:cubicBezTo>
                    <a:pt x="9482" y="6852"/>
                    <a:pt x="9513" y="6709"/>
                    <a:pt x="9539" y="6617"/>
                  </a:cubicBezTo>
                  <a:cubicBezTo>
                    <a:pt x="9563" y="6524"/>
                    <a:pt x="9554" y="6406"/>
                    <a:pt x="9518" y="6358"/>
                  </a:cubicBezTo>
                  <a:cubicBezTo>
                    <a:pt x="9474" y="6312"/>
                    <a:pt x="9350" y="6271"/>
                    <a:pt x="9226" y="6254"/>
                  </a:cubicBezTo>
                  <a:cubicBezTo>
                    <a:pt x="9097" y="6254"/>
                    <a:pt x="8907" y="6252"/>
                    <a:pt x="8802" y="6264"/>
                  </a:cubicBezTo>
                  <a:cubicBezTo>
                    <a:pt x="8697" y="6276"/>
                    <a:pt x="8572" y="6320"/>
                    <a:pt x="8520" y="6355"/>
                  </a:cubicBezTo>
                  <a:cubicBezTo>
                    <a:pt x="8477" y="6396"/>
                    <a:pt x="8379" y="6433"/>
                    <a:pt x="8317" y="6433"/>
                  </a:cubicBezTo>
                  <a:cubicBezTo>
                    <a:pt x="8255" y="6438"/>
                    <a:pt x="8170" y="6462"/>
                    <a:pt x="8127" y="6479"/>
                  </a:cubicBezTo>
                  <a:cubicBezTo>
                    <a:pt x="8087" y="6501"/>
                    <a:pt x="7981" y="6499"/>
                    <a:pt x="7913" y="6466"/>
                  </a:cubicBezTo>
                  <a:cubicBezTo>
                    <a:pt x="7837" y="6441"/>
                    <a:pt x="7779" y="6385"/>
                    <a:pt x="7779" y="6345"/>
                  </a:cubicBezTo>
                  <a:cubicBezTo>
                    <a:pt x="7779" y="6304"/>
                    <a:pt x="7750" y="6247"/>
                    <a:pt x="7718" y="6216"/>
                  </a:cubicBezTo>
                  <a:cubicBezTo>
                    <a:pt x="7689" y="6182"/>
                    <a:pt x="7634" y="6136"/>
                    <a:pt x="7634" y="6105"/>
                  </a:cubicBezTo>
                  <a:cubicBezTo>
                    <a:pt x="7627" y="6074"/>
                    <a:pt x="7589" y="6024"/>
                    <a:pt x="7572" y="5988"/>
                  </a:cubicBezTo>
                  <a:cubicBezTo>
                    <a:pt x="7542" y="5956"/>
                    <a:pt x="7407" y="5956"/>
                    <a:pt x="7265" y="5995"/>
                  </a:cubicBezTo>
                  <a:cubicBezTo>
                    <a:pt x="7196" y="6010"/>
                    <a:pt x="7104" y="6034"/>
                    <a:pt x="7010" y="6060"/>
                  </a:cubicBezTo>
                  <a:cubicBezTo>
                    <a:pt x="7010" y="6061"/>
                    <a:pt x="6990" y="6066"/>
                    <a:pt x="6961" y="6074"/>
                  </a:cubicBezTo>
                  <a:cubicBezTo>
                    <a:pt x="6873" y="6099"/>
                    <a:pt x="6785" y="6126"/>
                    <a:pt x="6717" y="6150"/>
                  </a:cubicBezTo>
                  <a:cubicBezTo>
                    <a:pt x="6558" y="6197"/>
                    <a:pt x="6171" y="6333"/>
                    <a:pt x="5849" y="6444"/>
                  </a:cubicBezTo>
                  <a:cubicBezTo>
                    <a:pt x="5526" y="6555"/>
                    <a:pt x="5190" y="6670"/>
                    <a:pt x="5094" y="6688"/>
                  </a:cubicBezTo>
                  <a:cubicBezTo>
                    <a:pt x="4996" y="6706"/>
                    <a:pt x="4472" y="6891"/>
                    <a:pt x="3917" y="7086"/>
                  </a:cubicBezTo>
                  <a:cubicBezTo>
                    <a:pt x="3362" y="7281"/>
                    <a:pt x="2823" y="7457"/>
                    <a:pt x="2715" y="7463"/>
                  </a:cubicBezTo>
                  <a:cubicBezTo>
                    <a:pt x="2608" y="7474"/>
                    <a:pt x="2337" y="7549"/>
                    <a:pt x="2126" y="7644"/>
                  </a:cubicBezTo>
                  <a:cubicBezTo>
                    <a:pt x="1908" y="7728"/>
                    <a:pt x="1684" y="7849"/>
                    <a:pt x="1632" y="7907"/>
                  </a:cubicBezTo>
                  <a:cubicBezTo>
                    <a:pt x="1581" y="7965"/>
                    <a:pt x="1546" y="8092"/>
                    <a:pt x="1563" y="8194"/>
                  </a:cubicBezTo>
                  <a:cubicBezTo>
                    <a:pt x="1581" y="8297"/>
                    <a:pt x="1595" y="8410"/>
                    <a:pt x="1586" y="8445"/>
                  </a:cubicBezTo>
                  <a:cubicBezTo>
                    <a:pt x="1583" y="8459"/>
                    <a:pt x="1577" y="8473"/>
                    <a:pt x="1571" y="8485"/>
                  </a:cubicBezTo>
                  <a:cubicBezTo>
                    <a:pt x="1569" y="8546"/>
                    <a:pt x="1565" y="8608"/>
                    <a:pt x="1559" y="8663"/>
                  </a:cubicBezTo>
                  <a:cubicBezTo>
                    <a:pt x="1542" y="8819"/>
                    <a:pt x="1672" y="8933"/>
                    <a:pt x="1853" y="8921"/>
                  </a:cubicBezTo>
                  <a:cubicBezTo>
                    <a:pt x="2033" y="8916"/>
                    <a:pt x="2239" y="8903"/>
                    <a:pt x="2312" y="8903"/>
                  </a:cubicBezTo>
                  <a:cubicBezTo>
                    <a:pt x="2384" y="8903"/>
                    <a:pt x="2460" y="8931"/>
                    <a:pt x="2476" y="8964"/>
                  </a:cubicBezTo>
                  <a:cubicBezTo>
                    <a:pt x="2495" y="8996"/>
                    <a:pt x="2563" y="9017"/>
                    <a:pt x="2618" y="8998"/>
                  </a:cubicBezTo>
                  <a:cubicBezTo>
                    <a:pt x="2680" y="8986"/>
                    <a:pt x="2766" y="8944"/>
                    <a:pt x="2805" y="8905"/>
                  </a:cubicBezTo>
                  <a:cubicBezTo>
                    <a:pt x="2848" y="8870"/>
                    <a:pt x="2990" y="8845"/>
                    <a:pt x="3124" y="8856"/>
                  </a:cubicBezTo>
                  <a:cubicBezTo>
                    <a:pt x="3259" y="8867"/>
                    <a:pt x="3477" y="8902"/>
                    <a:pt x="3609" y="8940"/>
                  </a:cubicBezTo>
                  <a:cubicBezTo>
                    <a:pt x="3741" y="8976"/>
                    <a:pt x="3902" y="9067"/>
                    <a:pt x="3973" y="9138"/>
                  </a:cubicBezTo>
                  <a:cubicBezTo>
                    <a:pt x="4047" y="9206"/>
                    <a:pt x="4172" y="9262"/>
                    <a:pt x="4262" y="9262"/>
                  </a:cubicBezTo>
                  <a:cubicBezTo>
                    <a:pt x="4353" y="9262"/>
                    <a:pt x="4553" y="9262"/>
                    <a:pt x="4706" y="9250"/>
                  </a:cubicBezTo>
                  <a:cubicBezTo>
                    <a:pt x="4859" y="9239"/>
                    <a:pt x="5052" y="9273"/>
                    <a:pt x="5130" y="9313"/>
                  </a:cubicBezTo>
                  <a:cubicBezTo>
                    <a:pt x="5207" y="9355"/>
                    <a:pt x="5309" y="9415"/>
                    <a:pt x="5356" y="9452"/>
                  </a:cubicBezTo>
                  <a:cubicBezTo>
                    <a:pt x="5390" y="9493"/>
                    <a:pt x="5526" y="9513"/>
                    <a:pt x="5637" y="9507"/>
                  </a:cubicBezTo>
                  <a:cubicBezTo>
                    <a:pt x="5748" y="9507"/>
                    <a:pt x="5826" y="9541"/>
                    <a:pt x="5826" y="9598"/>
                  </a:cubicBezTo>
                  <a:cubicBezTo>
                    <a:pt x="5826" y="9655"/>
                    <a:pt x="5770" y="9750"/>
                    <a:pt x="5707" y="9802"/>
                  </a:cubicBezTo>
                  <a:cubicBezTo>
                    <a:pt x="5644" y="9856"/>
                    <a:pt x="5604" y="9942"/>
                    <a:pt x="5604" y="9988"/>
                  </a:cubicBezTo>
                  <a:cubicBezTo>
                    <a:pt x="5604" y="10035"/>
                    <a:pt x="5578" y="10111"/>
                    <a:pt x="5561" y="10163"/>
                  </a:cubicBezTo>
                  <a:cubicBezTo>
                    <a:pt x="5537" y="10212"/>
                    <a:pt x="5509" y="10284"/>
                    <a:pt x="5517" y="10324"/>
                  </a:cubicBezTo>
                  <a:cubicBezTo>
                    <a:pt x="5517" y="10363"/>
                    <a:pt x="5501" y="10428"/>
                    <a:pt x="5493" y="10470"/>
                  </a:cubicBezTo>
                  <a:cubicBezTo>
                    <a:pt x="5476" y="10511"/>
                    <a:pt x="5423" y="10586"/>
                    <a:pt x="5376" y="10639"/>
                  </a:cubicBezTo>
                  <a:cubicBezTo>
                    <a:pt x="5334" y="10695"/>
                    <a:pt x="5258" y="10818"/>
                    <a:pt x="5216" y="10918"/>
                  </a:cubicBezTo>
                  <a:cubicBezTo>
                    <a:pt x="5183" y="11018"/>
                    <a:pt x="5090" y="11150"/>
                    <a:pt x="5028" y="11216"/>
                  </a:cubicBezTo>
                  <a:cubicBezTo>
                    <a:pt x="4966" y="11281"/>
                    <a:pt x="4935" y="11349"/>
                    <a:pt x="4960" y="11378"/>
                  </a:cubicBezTo>
                  <a:cubicBezTo>
                    <a:pt x="4993" y="11405"/>
                    <a:pt x="5089" y="11411"/>
                    <a:pt x="5175" y="11392"/>
                  </a:cubicBezTo>
                  <a:cubicBezTo>
                    <a:pt x="5261" y="11375"/>
                    <a:pt x="5293" y="11404"/>
                    <a:pt x="5242" y="11456"/>
                  </a:cubicBezTo>
                  <a:cubicBezTo>
                    <a:pt x="5194" y="11509"/>
                    <a:pt x="5083" y="11588"/>
                    <a:pt x="5000" y="11633"/>
                  </a:cubicBezTo>
                  <a:cubicBezTo>
                    <a:pt x="4916" y="11677"/>
                    <a:pt x="4837" y="11760"/>
                    <a:pt x="4820" y="11816"/>
                  </a:cubicBezTo>
                  <a:cubicBezTo>
                    <a:pt x="4804" y="11872"/>
                    <a:pt x="4779" y="11975"/>
                    <a:pt x="4743" y="12041"/>
                  </a:cubicBezTo>
                  <a:cubicBezTo>
                    <a:pt x="4720" y="12108"/>
                    <a:pt x="4637" y="12175"/>
                    <a:pt x="4575" y="12201"/>
                  </a:cubicBezTo>
                  <a:cubicBezTo>
                    <a:pt x="4511" y="12223"/>
                    <a:pt x="4447" y="12271"/>
                    <a:pt x="4439" y="12311"/>
                  </a:cubicBezTo>
                  <a:cubicBezTo>
                    <a:pt x="4429" y="12352"/>
                    <a:pt x="4486" y="12410"/>
                    <a:pt x="4549" y="12453"/>
                  </a:cubicBezTo>
                  <a:cubicBezTo>
                    <a:pt x="4617" y="12492"/>
                    <a:pt x="4690" y="12562"/>
                    <a:pt x="4699" y="12614"/>
                  </a:cubicBezTo>
                  <a:cubicBezTo>
                    <a:pt x="4709" y="12665"/>
                    <a:pt x="4664" y="12727"/>
                    <a:pt x="4604" y="12761"/>
                  </a:cubicBezTo>
                  <a:cubicBezTo>
                    <a:pt x="4541" y="12791"/>
                    <a:pt x="4478" y="12867"/>
                    <a:pt x="4459" y="12930"/>
                  </a:cubicBezTo>
                  <a:cubicBezTo>
                    <a:pt x="4450" y="12993"/>
                    <a:pt x="4477" y="13058"/>
                    <a:pt x="4519" y="13087"/>
                  </a:cubicBezTo>
                  <a:cubicBezTo>
                    <a:pt x="4563" y="13116"/>
                    <a:pt x="4617" y="13167"/>
                    <a:pt x="4633" y="13210"/>
                  </a:cubicBezTo>
                  <a:cubicBezTo>
                    <a:pt x="4641" y="13255"/>
                    <a:pt x="4587" y="13340"/>
                    <a:pt x="4511" y="13408"/>
                  </a:cubicBezTo>
                  <a:cubicBezTo>
                    <a:pt x="4432" y="13473"/>
                    <a:pt x="4276" y="13575"/>
                    <a:pt x="4168" y="13635"/>
                  </a:cubicBezTo>
                  <a:cubicBezTo>
                    <a:pt x="4059" y="13697"/>
                    <a:pt x="3938" y="13780"/>
                    <a:pt x="3891" y="13818"/>
                  </a:cubicBezTo>
                  <a:cubicBezTo>
                    <a:pt x="3847" y="13858"/>
                    <a:pt x="3756" y="13898"/>
                    <a:pt x="3687" y="13915"/>
                  </a:cubicBezTo>
                  <a:cubicBezTo>
                    <a:pt x="3621" y="13934"/>
                    <a:pt x="3540" y="13974"/>
                    <a:pt x="3514" y="14020"/>
                  </a:cubicBezTo>
                  <a:cubicBezTo>
                    <a:pt x="3485" y="14065"/>
                    <a:pt x="3476" y="14144"/>
                    <a:pt x="3495" y="14193"/>
                  </a:cubicBezTo>
                  <a:cubicBezTo>
                    <a:pt x="3513" y="14242"/>
                    <a:pt x="3489" y="14322"/>
                    <a:pt x="3437" y="14362"/>
                  </a:cubicBezTo>
                  <a:cubicBezTo>
                    <a:pt x="3395" y="14408"/>
                    <a:pt x="3327" y="14520"/>
                    <a:pt x="3299" y="14618"/>
                  </a:cubicBezTo>
                  <a:cubicBezTo>
                    <a:pt x="3273" y="14715"/>
                    <a:pt x="3221" y="14827"/>
                    <a:pt x="3183" y="14865"/>
                  </a:cubicBezTo>
                  <a:cubicBezTo>
                    <a:pt x="3145" y="14904"/>
                    <a:pt x="3088" y="15026"/>
                    <a:pt x="3053" y="15135"/>
                  </a:cubicBezTo>
                  <a:cubicBezTo>
                    <a:pt x="3010" y="15241"/>
                    <a:pt x="2468" y="15673"/>
                    <a:pt x="1813" y="16077"/>
                  </a:cubicBezTo>
                  <a:cubicBezTo>
                    <a:pt x="1162" y="16484"/>
                    <a:pt x="646" y="16823"/>
                    <a:pt x="657" y="16830"/>
                  </a:cubicBezTo>
                  <a:cubicBezTo>
                    <a:pt x="669" y="16838"/>
                    <a:pt x="700" y="16909"/>
                    <a:pt x="692" y="16992"/>
                  </a:cubicBezTo>
                  <a:cubicBezTo>
                    <a:pt x="699" y="17074"/>
                    <a:pt x="705" y="17205"/>
                    <a:pt x="714" y="17283"/>
                  </a:cubicBezTo>
                  <a:cubicBezTo>
                    <a:pt x="714" y="17361"/>
                    <a:pt x="750" y="17483"/>
                    <a:pt x="795" y="17550"/>
                  </a:cubicBezTo>
                  <a:cubicBezTo>
                    <a:pt x="838" y="17619"/>
                    <a:pt x="842" y="17795"/>
                    <a:pt x="799" y="17937"/>
                  </a:cubicBezTo>
                  <a:cubicBezTo>
                    <a:pt x="755" y="18080"/>
                    <a:pt x="724" y="18215"/>
                    <a:pt x="706" y="18232"/>
                  </a:cubicBezTo>
                  <a:cubicBezTo>
                    <a:pt x="684" y="18247"/>
                    <a:pt x="675" y="18315"/>
                    <a:pt x="656" y="18373"/>
                  </a:cubicBezTo>
                  <a:cubicBezTo>
                    <a:pt x="639" y="18431"/>
                    <a:pt x="635" y="18527"/>
                    <a:pt x="662" y="18579"/>
                  </a:cubicBezTo>
                  <a:cubicBezTo>
                    <a:pt x="670" y="18635"/>
                    <a:pt x="710" y="18733"/>
                    <a:pt x="710" y="18799"/>
                  </a:cubicBezTo>
                  <a:cubicBezTo>
                    <a:pt x="717" y="18865"/>
                    <a:pt x="665" y="19113"/>
                    <a:pt x="596" y="19351"/>
                  </a:cubicBezTo>
                  <a:cubicBezTo>
                    <a:pt x="525" y="19588"/>
                    <a:pt x="407" y="19860"/>
                    <a:pt x="346" y="19958"/>
                  </a:cubicBezTo>
                  <a:cubicBezTo>
                    <a:pt x="279" y="20055"/>
                    <a:pt x="206" y="20207"/>
                    <a:pt x="171" y="20294"/>
                  </a:cubicBezTo>
                  <a:cubicBezTo>
                    <a:pt x="136" y="20381"/>
                    <a:pt x="88" y="20534"/>
                    <a:pt x="52" y="20636"/>
                  </a:cubicBezTo>
                  <a:cubicBezTo>
                    <a:pt x="52" y="20636"/>
                    <a:pt x="52" y="20637"/>
                    <a:pt x="52" y="20637"/>
                  </a:cubicBezTo>
                  <a:cubicBezTo>
                    <a:pt x="27" y="20738"/>
                    <a:pt x="-8" y="20828"/>
                    <a:pt x="1" y="20834"/>
                  </a:cubicBezTo>
                  <a:cubicBezTo>
                    <a:pt x="10" y="20840"/>
                    <a:pt x="47" y="20864"/>
                    <a:pt x="96" y="20869"/>
                  </a:cubicBezTo>
                  <a:cubicBezTo>
                    <a:pt x="142" y="20881"/>
                    <a:pt x="209" y="20916"/>
                    <a:pt x="253" y="20939"/>
                  </a:cubicBezTo>
                  <a:cubicBezTo>
                    <a:pt x="299" y="20964"/>
                    <a:pt x="355" y="21015"/>
                    <a:pt x="393" y="21045"/>
                  </a:cubicBezTo>
                  <a:cubicBezTo>
                    <a:pt x="425" y="21078"/>
                    <a:pt x="441" y="21122"/>
                    <a:pt x="415" y="21144"/>
                  </a:cubicBezTo>
                  <a:cubicBezTo>
                    <a:pt x="398" y="21169"/>
                    <a:pt x="368" y="21224"/>
                    <a:pt x="336" y="21262"/>
                  </a:cubicBezTo>
                  <a:cubicBezTo>
                    <a:pt x="319" y="21302"/>
                    <a:pt x="264" y="21377"/>
                    <a:pt x="229" y="21431"/>
                  </a:cubicBezTo>
                  <a:cubicBezTo>
                    <a:pt x="184" y="21479"/>
                    <a:pt x="156" y="21543"/>
                    <a:pt x="166" y="21564"/>
                  </a:cubicBezTo>
                  <a:cubicBezTo>
                    <a:pt x="166" y="21586"/>
                    <a:pt x="211" y="21593"/>
                    <a:pt x="259" y="21582"/>
                  </a:cubicBezTo>
                  <a:cubicBezTo>
                    <a:pt x="306" y="21567"/>
                    <a:pt x="480" y="21566"/>
                    <a:pt x="642" y="21566"/>
                  </a:cubicBezTo>
                  <a:cubicBezTo>
                    <a:pt x="805" y="21573"/>
                    <a:pt x="1017" y="21558"/>
                    <a:pt x="1116" y="21547"/>
                  </a:cubicBezTo>
                  <a:cubicBezTo>
                    <a:pt x="1214" y="21535"/>
                    <a:pt x="1308" y="21484"/>
                    <a:pt x="1325" y="21439"/>
                  </a:cubicBezTo>
                  <a:cubicBezTo>
                    <a:pt x="1342" y="21393"/>
                    <a:pt x="1402" y="21307"/>
                    <a:pt x="1470" y="21255"/>
                  </a:cubicBezTo>
                  <a:cubicBezTo>
                    <a:pt x="1534" y="21200"/>
                    <a:pt x="1620" y="21083"/>
                    <a:pt x="1670" y="20999"/>
                  </a:cubicBezTo>
                  <a:cubicBezTo>
                    <a:pt x="1721" y="20914"/>
                    <a:pt x="1749" y="20819"/>
                    <a:pt x="1763" y="20793"/>
                  </a:cubicBezTo>
                  <a:cubicBezTo>
                    <a:pt x="1763" y="20765"/>
                    <a:pt x="1744" y="20746"/>
                    <a:pt x="1714" y="20756"/>
                  </a:cubicBezTo>
                  <a:cubicBezTo>
                    <a:pt x="1679" y="20762"/>
                    <a:pt x="1624" y="20813"/>
                    <a:pt x="1586" y="20866"/>
                  </a:cubicBezTo>
                  <a:cubicBezTo>
                    <a:pt x="1543" y="20917"/>
                    <a:pt x="1463" y="20959"/>
                    <a:pt x="1397" y="20954"/>
                  </a:cubicBezTo>
                  <a:cubicBezTo>
                    <a:pt x="1332" y="20948"/>
                    <a:pt x="1229" y="20977"/>
                    <a:pt x="1177" y="21019"/>
                  </a:cubicBezTo>
                  <a:cubicBezTo>
                    <a:pt x="1120" y="21056"/>
                    <a:pt x="1108" y="21049"/>
                    <a:pt x="1117" y="20995"/>
                  </a:cubicBezTo>
                  <a:cubicBezTo>
                    <a:pt x="1134" y="20940"/>
                    <a:pt x="1134" y="20856"/>
                    <a:pt x="1099" y="20809"/>
                  </a:cubicBezTo>
                  <a:cubicBezTo>
                    <a:pt x="1067" y="20761"/>
                    <a:pt x="1034" y="20705"/>
                    <a:pt x="1013" y="20696"/>
                  </a:cubicBezTo>
                  <a:cubicBezTo>
                    <a:pt x="992" y="20687"/>
                    <a:pt x="1024" y="20648"/>
                    <a:pt x="1081" y="20626"/>
                  </a:cubicBezTo>
                  <a:cubicBezTo>
                    <a:pt x="1133" y="20603"/>
                    <a:pt x="1215" y="20578"/>
                    <a:pt x="1264" y="20572"/>
                  </a:cubicBezTo>
                  <a:cubicBezTo>
                    <a:pt x="1314" y="20567"/>
                    <a:pt x="1398" y="20498"/>
                    <a:pt x="1459" y="20423"/>
                  </a:cubicBezTo>
                  <a:cubicBezTo>
                    <a:pt x="1520" y="20347"/>
                    <a:pt x="1622" y="20250"/>
                    <a:pt x="1695" y="20212"/>
                  </a:cubicBezTo>
                  <a:cubicBezTo>
                    <a:pt x="1769" y="20175"/>
                    <a:pt x="1863" y="20107"/>
                    <a:pt x="1912" y="20068"/>
                  </a:cubicBezTo>
                  <a:cubicBezTo>
                    <a:pt x="1959" y="20027"/>
                    <a:pt x="2108" y="19967"/>
                    <a:pt x="2239" y="19931"/>
                  </a:cubicBezTo>
                  <a:cubicBezTo>
                    <a:pt x="2372" y="19898"/>
                    <a:pt x="2632" y="19770"/>
                    <a:pt x="2830" y="19655"/>
                  </a:cubicBezTo>
                  <a:cubicBezTo>
                    <a:pt x="3031" y="19544"/>
                    <a:pt x="3545" y="19355"/>
                    <a:pt x="3988" y="19251"/>
                  </a:cubicBezTo>
                  <a:cubicBezTo>
                    <a:pt x="4429" y="19140"/>
                    <a:pt x="5067" y="18946"/>
                    <a:pt x="5411" y="18822"/>
                  </a:cubicBezTo>
                  <a:cubicBezTo>
                    <a:pt x="5749" y="18691"/>
                    <a:pt x="6208" y="18477"/>
                    <a:pt x="6415" y="18333"/>
                  </a:cubicBezTo>
                  <a:cubicBezTo>
                    <a:pt x="6626" y="18191"/>
                    <a:pt x="6844" y="18011"/>
                    <a:pt x="6896" y="17929"/>
                  </a:cubicBezTo>
                  <a:cubicBezTo>
                    <a:pt x="6941" y="17846"/>
                    <a:pt x="7054" y="17727"/>
                    <a:pt x="7133" y="17663"/>
                  </a:cubicBezTo>
                  <a:cubicBezTo>
                    <a:pt x="7212" y="17598"/>
                    <a:pt x="7264" y="17517"/>
                    <a:pt x="7264" y="17485"/>
                  </a:cubicBezTo>
                  <a:cubicBezTo>
                    <a:pt x="7256" y="17452"/>
                    <a:pt x="7192" y="17460"/>
                    <a:pt x="7105" y="17492"/>
                  </a:cubicBezTo>
                  <a:cubicBezTo>
                    <a:pt x="7023" y="17528"/>
                    <a:pt x="6945" y="17518"/>
                    <a:pt x="6953" y="17467"/>
                  </a:cubicBezTo>
                  <a:cubicBezTo>
                    <a:pt x="6953" y="17417"/>
                    <a:pt x="6973" y="17377"/>
                    <a:pt x="6996" y="17369"/>
                  </a:cubicBezTo>
                  <a:cubicBezTo>
                    <a:pt x="7023" y="17369"/>
                    <a:pt x="7065" y="17311"/>
                    <a:pt x="7090" y="17248"/>
                  </a:cubicBezTo>
                  <a:cubicBezTo>
                    <a:pt x="7124" y="17186"/>
                    <a:pt x="7179" y="17098"/>
                    <a:pt x="7236" y="17060"/>
                  </a:cubicBezTo>
                  <a:cubicBezTo>
                    <a:pt x="7294" y="17021"/>
                    <a:pt x="7353" y="16945"/>
                    <a:pt x="7362" y="16893"/>
                  </a:cubicBezTo>
                  <a:cubicBezTo>
                    <a:pt x="7382" y="16843"/>
                    <a:pt x="7452" y="16710"/>
                    <a:pt x="7549" y="16610"/>
                  </a:cubicBezTo>
                  <a:cubicBezTo>
                    <a:pt x="7636" y="16505"/>
                    <a:pt x="7697" y="16407"/>
                    <a:pt x="7674" y="16402"/>
                  </a:cubicBezTo>
                  <a:cubicBezTo>
                    <a:pt x="7652" y="16402"/>
                    <a:pt x="7667" y="16315"/>
                    <a:pt x="7700" y="16231"/>
                  </a:cubicBezTo>
                  <a:cubicBezTo>
                    <a:pt x="7747" y="16150"/>
                    <a:pt x="7801" y="16047"/>
                    <a:pt x="7850" y="16008"/>
                  </a:cubicBezTo>
                  <a:cubicBezTo>
                    <a:pt x="7898" y="15971"/>
                    <a:pt x="7953" y="15870"/>
                    <a:pt x="7995" y="15786"/>
                  </a:cubicBezTo>
                  <a:cubicBezTo>
                    <a:pt x="8022" y="15700"/>
                    <a:pt x="8031" y="15641"/>
                    <a:pt x="8007" y="15641"/>
                  </a:cubicBezTo>
                  <a:cubicBezTo>
                    <a:pt x="7982" y="15647"/>
                    <a:pt x="7984" y="15599"/>
                    <a:pt x="7984" y="15533"/>
                  </a:cubicBezTo>
                  <a:cubicBezTo>
                    <a:pt x="7993" y="15468"/>
                    <a:pt x="7942" y="15482"/>
                    <a:pt x="7866" y="15565"/>
                  </a:cubicBezTo>
                  <a:cubicBezTo>
                    <a:pt x="7794" y="15649"/>
                    <a:pt x="7724" y="15760"/>
                    <a:pt x="7698" y="15811"/>
                  </a:cubicBezTo>
                  <a:cubicBezTo>
                    <a:pt x="7690" y="15866"/>
                    <a:pt x="7641" y="15919"/>
                    <a:pt x="7604" y="15924"/>
                  </a:cubicBezTo>
                  <a:cubicBezTo>
                    <a:pt x="7569" y="15929"/>
                    <a:pt x="7536" y="15885"/>
                    <a:pt x="7527" y="15821"/>
                  </a:cubicBezTo>
                  <a:cubicBezTo>
                    <a:pt x="7518" y="15757"/>
                    <a:pt x="7573" y="15541"/>
                    <a:pt x="7660" y="15343"/>
                  </a:cubicBezTo>
                  <a:cubicBezTo>
                    <a:pt x="7739" y="15144"/>
                    <a:pt x="7782" y="14930"/>
                    <a:pt x="7737" y="14870"/>
                  </a:cubicBezTo>
                  <a:cubicBezTo>
                    <a:pt x="7696" y="14809"/>
                    <a:pt x="7682" y="14697"/>
                    <a:pt x="7701" y="14624"/>
                  </a:cubicBezTo>
                  <a:cubicBezTo>
                    <a:pt x="7726" y="14551"/>
                    <a:pt x="7700" y="14452"/>
                    <a:pt x="7667" y="14402"/>
                  </a:cubicBezTo>
                  <a:cubicBezTo>
                    <a:pt x="7631" y="14353"/>
                    <a:pt x="7564" y="14309"/>
                    <a:pt x="7522" y="14298"/>
                  </a:cubicBezTo>
                  <a:cubicBezTo>
                    <a:pt x="7478" y="14288"/>
                    <a:pt x="7494" y="14243"/>
                    <a:pt x="7573" y="14208"/>
                  </a:cubicBezTo>
                  <a:cubicBezTo>
                    <a:pt x="7640" y="14163"/>
                    <a:pt x="7710" y="14098"/>
                    <a:pt x="7719" y="14055"/>
                  </a:cubicBezTo>
                  <a:cubicBezTo>
                    <a:pt x="7727" y="14012"/>
                    <a:pt x="7647" y="13891"/>
                    <a:pt x="7542" y="13786"/>
                  </a:cubicBezTo>
                  <a:cubicBezTo>
                    <a:pt x="7441" y="13678"/>
                    <a:pt x="7406" y="13549"/>
                    <a:pt x="7468" y="13489"/>
                  </a:cubicBezTo>
                  <a:cubicBezTo>
                    <a:pt x="7539" y="13436"/>
                    <a:pt x="7585" y="13348"/>
                    <a:pt x="7585" y="13302"/>
                  </a:cubicBezTo>
                  <a:cubicBezTo>
                    <a:pt x="7585" y="13255"/>
                    <a:pt x="7619" y="13188"/>
                    <a:pt x="7665" y="13152"/>
                  </a:cubicBezTo>
                  <a:cubicBezTo>
                    <a:pt x="7710" y="13116"/>
                    <a:pt x="7769" y="13045"/>
                    <a:pt x="7779" y="12993"/>
                  </a:cubicBezTo>
                  <a:cubicBezTo>
                    <a:pt x="7796" y="12941"/>
                    <a:pt x="7783" y="12872"/>
                    <a:pt x="7741" y="12844"/>
                  </a:cubicBezTo>
                  <a:cubicBezTo>
                    <a:pt x="7699" y="12816"/>
                    <a:pt x="7675" y="12766"/>
                    <a:pt x="7685" y="12739"/>
                  </a:cubicBezTo>
                  <a:cubicBezTo>
                    <a:pt x="7695" y="12712"/>
                    <a:pt x="7745" y="12687"/>
                    <a:pt x="7794" y="12671"/>
                  </a:cubicBezTo>
                  <a:cubicBezTo>
                    <a:pt x="7849" y="12665"/>
                    <a:pt x="7960" y="12672"/>
                    <a:pt x="8039" y="12702"/>
                  </a:cubicBezTo>
                  <a:cubicBezTo>
                    <a:pt x="8116" y="12736"/>
                    <a:pt x="8237" y="12713"/>
                    <a:pt x="8296" y="12667"/>
                  </a:cubicBezTo>
                  <a:cubicBezTo>
                    <a:pt x="8353" y="12618"/>
                    <a:pt x="8502" y="12573"/>
                    <a:pt x="8618" y="12555"/>
                  </a:cubicBezTo>
                  <a:cubicBezTo>
                    <a:pt x="8736" y="12543"/>
                    <a:pt x="8912" y="12487"/>
                    <a:pt x="9007" y="12435"/>
                  </a:cubicBezTo>
                  <a:cubicBezTo>
                    <a:pt x="9104" y="12386"/>
                    <a:pt x="9180" y="12283"/>
                    <a:pt x="9189" y="12212"/>
                  </a:cubicBezTo>
                  <a:cubicBezTo>
                    <a:pt x="9197" y="12141"/>
                    <a:pt x="9438" y="11963"/>
                    <a:pt x="9727" y="11815"/>
                  </a:cubicBezTo>
                  <a:cubicBezTo>
                    <a:pt x="10017" y="11668"/>
                    <a:pt x="10349" y="11530"/>
                    <a:pt x="10462" y="11517"/>
                  </a:cubicBezTo>
                  <a:cubicBezTo>
                    <a:pt x="10575" y="11500"/>
                    <a:pt x="10681" y="11452"/>
                    <a:pt x="10681" y="11407"/>
                  </a:cubicBezTo>
                  <a:cubicBezTo>
                    <a:pt x="10699" y="11364"/>
                    <a:pt x="10729" y="11309"/>
                    <a:pt x="10780" y="11299"/>
                  </a:cubicBezTo>
                  <a:cubicBezTo>
                    <a:pt x="10831" y="11287"/>
                    <a:pt x="10914" y="11240"/>
                    <a:pt x="10975" y="11206"/>
                  </a:cubicBezTo>
                  <a:cubicBezTo>
                    <a:pt x="11039" y="11175"/>
                    <a:pt x="11086" y="11113"/>
                    <a:pt x="11105" y="11081"/>
                  </a:cubicBezTo>
                  <a:cubicBezTo>
                    <a:pt x="11105" y="11046"/>
                    <a:pt x="11301" y="10935"/>
                    <a:pt x="11518" y="10837"/>
                  </a:cubicBezTo>
                  <a:cubicBezTo>
                    <a:pt x="11735" y="10738"/>
                    <a:pt x="11938" y="10612"/>
                    <a:pt x="11964" y="10560"/>
                  </a:cubicBezTo>
                  <a:cubicBezTo>
                    <a:pt x="11991" y="10507"/>
                    <a:pt x="12069" y="10454"/>
                    <a:pt x="12128" y="10437"/>
                  </a:cubicBezTo>
                  <a:cubicBezTo>
                    <a:pt x="12188" y="10420"/>
                    <a:pt x="12262" y="10332"/>
                    <a:pt x="12313" y="10248"/>
                  </a:cubicBezTo>
                  <a:cubicBezTo>
                    <a:pt x="12356" y="10160"/>
                    <a:pt x="12410" y="10127"/>
                    <a:pt x="12428" y="10175"/>
                  </a:cubicBezTo>
                  <a:cubicBezTo>
                    <a:pt x="12454" y="10222"/>
                    <a:pt x="12510" y="10235"/>
                    <a:pt x="12578" y="10218"/>
                  </a:cubicBezTo>
                  <a:cubicBezTo>
                    <a:pt x="12637" y="10190"/>
                    <a:pt x="12811" y="10083"/>
                    <a:pt x="12951" y="9971"/>
                  </a:cubicBezTo>
                  <a:cubicBezTo>
                    <a:pt x="13093" y="9858"/>
                    <a:pt x="13226" y="9734"/>
                    <a:pt x="13235" y="9693"/>
                  </a:cubicBezTo>
                  <a:cubicBezTo>
                    <a:pt x="13254" y="9654"/>
                    <a:pt x="13289" y="9635"/>
                    <a:pt x="13333" y="9646"/>
                  </a:cubicBezTo>
                  <a:cubicBezTo>
                    <a:pt x="13376" y="9658"/>
                    <a:pt x="13576" y="9577"/>
                    <a:pt x="13799" y="9474"/>
                  </a:cubicBezTo>
                  <a:cubicBezTo>
                    <a:pt x="14010" y="9361"/>
                    <a:pt x="14309" y="9221"/>
                    <a:pt x="14460" y="9162"/>
                  </a:cubicBezTo>
                  <a:cubicBezTo>
                    <a:pt x="14612" y="9102"/>
                    <a:pt x="14750" y="9036"/>
                    <a:pt x="14750" y="9017"/>
                  </a:cubicBezTo>
                  <a:cubicBezTo>
                    <a:pt x="14763" y="9000"/>
                    <a:pt x="14862" y="8982"/>
                    <a:pt x="14973" y="8976"/>
                  </a:cubicBezTo>
                  <a:cubicBezTo>
                    <a:pt x="15086" y="8970"/>
                    <a:pt x="15447" y="8844"/>
                    <a:pt x="15779" y="8697"/>
                  </a:cubicBezTo>
                  <a:cubicBezTo>
                    <a:pt x="16100" y="8542"/>
                    <a:pt x="16402" y="8384"/>
                    <a:pt x="16443" y="8336"/>
                  </a:cubicBezTo>
                  <a:cubicBezTo>
                    <a:pt x="16480" y="8286"/>
                    <a:pt x="16549" y="8235"/>
                    <a:pt x="16596" y="8230"/>
                  </a:cubicBezTo>
                  <a:cubicBezTo>
                    <a:pt x="16643" y="8224"/>
                    <a:pt x="16960" y="8082"/>
                    <a:pt x="17304" y="7926"/>
                  </a:cubicBezTo>
                  <a:cubicBezTo>
                    <a:pt x="17646" y="7767"/>
                    <a:pt x="17943" y="7587"/>
                    <a:pt x="17943" y="7525"/>
                  </a:cubicBezTo>
                  <a:cubicBezTo>
                    <a:pt x="17943" y="7463"/>
                    <a:pt x="18026" y="7400"/>
                    <a:pt x="18105" y="7382"/>
                  </a:cubicBezTo>
                  <a:cubicBezTo>
                    <a:pt x="18183" y="7363"/>
                    <a:pt x="18332" y="7262"/>
                    <a:pt x="18458" y="7167"/>
                  </a:cubicBezTo>
                  <a:cubicBezTo>
                    <a:pt x="18573" y="7066"/>
                    <a:pt x="18669" y="6948"/>
                    <a:pt x="18686" y="6909"/>
                  </a:cubicBezTo>
                  <a:cubicBezTo>
                    <a:pt x="18695" y="6869"/>
                    <a:pt x="18806" y="6749"/>
                    <a:pt x="18936" y="6644"/>
                  </a:cubicBezTo>
                  <a:cubicBezTo>
                    <a:pt x="19060" y="6538"/>
                    <a:pt x="19218" y="6445"/>
                    <a:pt x="19277" y="6425"/>
                  </a:cubicBezTo>
                  <a:cubicBezTo>
                    <a:pt x="19339" y="6414"/>
                    <a:pt x="19414" y="6342"/>
                    <a:pt x="19439" y="6272"/>
                  </a:cubicBezTo>
                  <a:cubicBezTo>
                    <a:pt x="19465" y="6203"/>
                    <a:pt x="19540" y="6110"/>
                    <a:pt x="19588" y="6060"/>
                  </a:cubicBezTo>
                  <a:cubicBezTo>
                    <a:pt x="19635" y="6009"/>
                    <a:pt x="19636" y="5977"/>
                    <a:pt x="19580" y="5977"/>
                  </a:cubicBezTo>
                  <a:cubicBezTo>
                    <a:pt x="19521" y="5977"/>
                    <a:pt x="19456" y="5997"/>
                    <a:pt x="19429" y="6009"/>
                  </a:cubicBezTo>
                  <a:cubicBezTo>
                    <a:pt x="19401" y="6022"/>
                    <a:pt x="19370" y="6026"/>
                    <a:pt x="19361" y="6009"/>
                  </a:cubicBezTo>
                  <a:cubicBezTo>
                    <a:pt x="19361" y="5992"/>
                    <a:pt x="19400" y="5934"/>
                    <a:pt x="19482" y="5879"/>
                  </a:cubicBezTo>
                  <a:cubicBezTo>
                    <a:pt x="19554" y="5818"/>
                    <a:pt x="19673" y="5768"/>
                    <a:pt x="19733" y="5763"/>
                  </a:cubicBezTo>
                  <a:cubicBezTo>
                    <a:pt x="19792" y="5757"/>
                    <a:pt x="19856" y="5719"/>
                    <a:pt x="19881" y="5686"/>
                  </a:cubicBezTo>
                  <a:cubicBezTo>
                    <a:pt x="19899" y="5651"/>
                    <a:pt x="19907" y="5602"/>
                    <a:pt x="19883" y="5576"/>
                  </a:cubicBezTo>
                  <a:cubicBezTo>
                    <a:pt x="19852" y="5555"/>
                    <a:pt x="19887" y="5509"/>
                    <a:pt x="19940" y="5485"/>
                  </a:cubicBezTo>
                  <a:cubicBezTo>
                    <a:pt x="19994" y="5462"/>
                    <a:pt x="20083" y="5395"/>
                    <a:pt x="20146" y="5342"/>
                  </a:cubicBezTo>
                  <a:cubicBezTo>
                    <a:pt x="20198" y="5284"/>
                    <a:pt x="20259" y="5138"/>
                    <a:pt x="20277" y="5011"/>
                  </a:cubicBezTo>
                  <a:cubicBezTo>
                    <a:pt x="20277" y="4884"/>
                    <a:pt x="20278" y="4774"/>
                    <a:pt x="20264" y="4760"/>
                  </a:cubicBezTo>
                  <a:cubicBezTo>
                    <a:pt x="20244" y="4747"/>
                    <a:pt x="20151" y="4746"/>
                    <a:pt x="20059" y="4757"/>
                  </a:cubicBezTo>
                  <a:cubicBezTo>
                    <a:pt x="19968" y="4769"/>
                    <a:pt x="19876" y="4756"/>
                    <a:pt x="19860" y="4734"/>
                  </a:cubicBezTo>
                  <a:cubicBezTo>
                    <a:pt x="19840" y="4714"/>
                    <a:pt x="19842" y="4682"/>
                    <a:pt x="19842" y="4661"/>
                  </a:cubicBezTo>
                  <a:cubicBezTo>
                    <a:pt x="19855" y="4643"/>
                    <a:pt x="19916" y="4613"/>
                    <a:pt x="19986" y="4597"/>
                  </a:cubicBezTo>
                  <a:cubicBezTo>
                    <a:pt x="20058" y="4579"/>
                    <a:pt x="20140" y="4442"/>
                    <a:pt x="20184" y="4292"/>
                  </a:cubicBezTo>
                  <a:cubicBezTo>
                    <a:pt x="20220" y="4141"/>
                    <a:pt x="20226" y="4000"/>
                    <a:pt x="20216" y="3973"/>
                  </a:cubicBezTo>
                  <a:cubicBezTo>
                    <a:pt x="20197" y="3948"/>
                    <a:pt x="20196" y="3922"/>
                    <a:pt x="20216" y="3922"/>
                  </a:cubicBezTo>
                  <a:cubicBezTo>
                    <a:pt x="20237" y="3922"/>
                    <a:pt x="20301" y="3772"/>
                    <a:pt x="20387" y="3604"/>
                  </a:cubicBezTo>
                  <a:cubicBezTo>
                    <a:pt x="20458" y="3431"/>
                    <a:pt x="20524" y="3220"/>
                    <a:pt x="20533" y="3133"/>
                  </a:cubicBezTo>
                  <a:cubicBezTo>
                    <a:pt x="20542" y="3044"/>
                    <a:pt x="20582" y="2934"/>
                    <a:pt x="20646" y="2897"/>
                  </a:cubicBezTo>
                  <a:cubicBezTo>
                    <a:pt x="20701" y="2853"/>
                    <a:pt x="20768" y="2752"/>
                    <a:pt x="20783" y="2667"/>
                  </a:cubicBezTo>
                  <a:cubicBezTo>
                    <a:pt x="20809" y="2584"/>
                    <a:pt x="20804" y="2495"/>
                    <a:pt x="20776" y="2483"/>
                  </a:cubicBezTo>
                  <a:cubicBezTo>
                    <a:pt x="20756" y="2463"/>
                    <a:pt x="20751" y="2378"/>
                    <a:pt x="20776" y="2290"/>
                  </a:cubicBezTo>
                  <a:cubicBezTo>
                    <a:pt x="20793" y="2202"/>
                    <a:pt x="20841" y="2110"/>
                    <a:pt x="20875" y="2086"/>
                  </a:cubicBezTo>
                  <a:cubicBezTo>
                    <a:pt x="20905" y="2060"/>
                    <a:pt x="20905" y="1989"/>
                    <a:pt x="20871" y="1922"/>
                  </a:cubicBezTo>
                  <a:cubicBezTo>
                    <a:pt x="20844" y="1854"/>
                    <a:pt x="20823" y="1703"/>
                    <a:pt x="20823" y="1584"/>
                  </a:cubicBezTo>
                  <a:cubicBezTo>
                    <a:pt x="20831" y="1464"/>
                    <a:pt x="20868" y="1340"/>
                    <a:pt x="20911" y="1311"/>
                  </a:cubicBezTo>
                  <a:cubicBezTo>
                    <a:pt x="20950" y="1280"/>
                    <a:pt x="20991" y="1239"/>
                    <a:pt x="20982" y="1220"/>
                  </a:cubicBezTo>
                  <a:cubicBezTo>
                    <a:pt x="20969" y="1202"/>
                    <a:pt x="20958" y="1165"/>
                    <a:pt x="20958" y="1139"/>
                  </a:cubicBezTo>
                  <a:cubicBezTo>
                    <a:pt x="20943" y="1116"/>
                    <a:pt x="20948" y="1065"/>
                    <a:pt x="20972" y="1027"/>
                  </a:cubicBezTo>
                  <a:cubicBezTo>
                    <a:pt x="20991" y="989"/>
                    <a:pt x="21102" y="865"/>
                    <a:pt x="21221" y="753"/>
                  </a:cubicBezTo>
                  <a:cubicBezTo>
                    <a:pt x="21343" y="642"/>
                    <a:pt x="21415" y="540"/>
                    <a:pt x="21400" y="525"/>
                  </a:cubicBezTo>
                  <a:cubicBezTo>
                    <a:pt x="21379" y="511"/>
                    <a:pt x="21394" y="465"/>
                    <a:pt x="21424" y="420"/>
                  </a:cubicBezTo>
                  <a:cubicBezTo>
                    <a:pt x="21458" y="374"/>
                    <a:pt x="21524" y="271"/>
                    <a:pt x="21551" y="186"/>
                  </a:cubicBezTo>
                  <a:cubicBezTo>
                    <a:pt x="21590" y="103"/>
                    <a:pt x="21592" y="26"/>
                    <a:pt x="21563" y="13"/>
                  </a:cubicBezTo>
                  <a:cubicBezTo>
                    <a:pt x="21532" y="3"/>
                    <a:pt x="21485" y="-7"/>
                    <a:pt x="21476" y="6"/>
                  </a:cubicBezTo>
                  <a:cubicBezTo>
                    <a:pt x="21462" y="15"/>
                    <a:pt x="21401" y="50"/>
                    <a:pt x="21356" y="92"/>
                  </a:cubicBezTo>
                  <a:close/>
                  <a:moveTo>
                    <a:pt x="21356" y="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899" name="AutoShape 901"/>
            <p:cNvSpPr>
              <a:spLocks/>
            </p:cNvSpPr>
            <p:nvPr/>
          </p:nvSpPr>
          <p:spPr bwMode="auto">
            <a:xfrm>
              <a:off x="8686800" y="6197600"/>
              <a:ext cx="0" cy="7938"/>
            </a:xfrm>
            <a:custGeom>
              <a:avLst/>
              <a:gdLst/>
              <a:ahLst/>
              <a:cxnLst/>
              <a:rect l="0" t="0" r="r" b="b"/>
              <a:pathLst>
                <a:path w="17492" h="21600">
                  <a:moveTo>
                    <a:pt x="5606" y="21600"/>
                  </a:moveTo>
                  <a:cubicBezTo>
                    <a:pt x="9586" y="20698"/>
                    <a:pt x="13616" y="19678"/>
                    <a:pt x="15618" y="18597"/>
                  </a:cubicBezTo>
                  <a:cubicBezTo>
                    <a:pt x="21600" y="16003"/>
                    <a:pt x="12414" y="7638"/>
                    <a:pt x="0" y="0"/>
                  </a:cubicBezTo>
                  <a:cubicBezTo>
                    <a:pt x="7984" y="4926"/>
                    <a:pt x="8810" y="13235"/>
                    <a:pt x="5606" y="21600"/>
                  </a:cubicBezTo>
                  <a:close/>
                  <a:moveTo>
                    <a:pt x="5606"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0" name="AutoShape 902"/>
            <p:cNvSpPr>
              <a:spLocks/>
            </p:cNvSpPr>
            <p:nvPr/>
          </p:nvSpPr>
          <p:spPr bwMode="auto">
            <a:xfrm>
              <a:off x="8801100" y="6134100"/>
              <a:ext cx="0" cy="0"/>
            </a:xfrm>
            <a:custGeom>
              <a:avLst/>
              <a:gdLst/>
              <a:ahLst/>
              <a:cxnLst/>
              <a:rect l="0" t="0" r="r" b="b"/>
              <a:pathLst>
                <a:path w="21600" h="21600">
                  <a:moveTo>
                    <a:pt x="21600" y="0"/>
                  </a:moveTo>
                  <a:cubicBezTo>
                    <a:pt x="14335" y="7399"/>
                    <a:pt x="7298" y="14220"/>
                    <a:pt x="0" y="21600"/>
                  </a:cubicBezTo>
                  <a:cubicBezTo>
                    <a:pt x="12758" y="9287"/>
                    <a:pt x="21600" y="1272"/>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1" name="AutoShape 903"/>
            <p:cNvSpPr>
              <a:spLocks/>
            </p:cNvSpPr>
            <p:nvPr/>
          </p:nvSpPr>
          <p:spPr bwMode="auto">
            <a:xfrm>
              <a:off x="8597900" y="6591300"/>
              <a:ext cx="55563" cy="50800"/>
            </a:xfrm>
            <a:custGeom>
              <a:avLst/>
              <a:gdLst/>
              <a:ahLst/>
              <a:cxnLst/>
              <a:rect l="0" t="0" r="r" b="b"/>
              <a:pathLst>
                <a:path w="21398" h="21284">
                  <a:moveTo>
                    <a:pt x="16722" y="2655"/>
                  </a:moveTo>
                  <a:cubicBezTo>
                    <a:pt x="16119" y="2491"/>
                    <a:pt x="15173" y="2064"/>
                    <a:pt x="14636" y="1651"/>
                  </a:cubicBezTo>
                  <a:cubicBezTo>
                    <a:pt x="14099" y="1239"/>
                    <a:pt x="12910" y="622"/>
                    <a:pt x="11997" y="245"/>
                  </a:cubicBezTo>
                  <a:cubicBezTo>
                    <a:pt x="11109" y="-193"/>
                    <a:pt x="9725" y="10"/>
                    <a:pt x="8955" y="423"/>
                  </a:cubicBezTo>
                  <a:cubicBezTo>
                    <a:pt x="8185" y="877"/>
                    <a:pt x="7353" y="1942"/>
                    <a:pt x="6992" y="2711"/>
                  </a:cubicBezTo>
                  <a:cubicBezTo>
                    <a:pt x="6740" y="3521"/>
                    <a:pt x="5314" y="5706"/>
                    <a:pt x="4041" y="7683"/>
                  </a:cubicBezTo>
                  <a:cubicBezTo>
                    <a:pt x="2738" y="9618"/>
                    <a:pt x="1198" y="11983"/>
                    <a:pt x="698" y="12981"/>
                  </a:cubicBezTo>
                  <a:cubicBezTo>
                    <a:pt x="171" y="13954"/>
                    <a:pt x="-100" y="15100"/>
                    <a:pt x="33" y="15533"/>
                  </a:cubicBezTo>
                  <a:cubicBezTo>
                    <a:pt x="166" y="15971"/>
                    <a:pt x="627" y="16516"/>
                    <a:pt x="946" y="16863"/>
                  </a:cubicBezTo>
                  <a:cubicBezTo>
                    <a:pt x="1312" y="17174"/>
                    <a:pt x="1830" y="18019"/>
                    <a:pt x="2186" y="18707"/>
                  </a:cubicBezTo>
                  <a:cubicBezTo>
                    <a:pt x="2415" y="19445"/>
                    <a:pt x="3693" y="20444"/>
                    <a:pt x="4896" y="20801"/>
                  </a:cubicBezTo>
                  <a:cubicBezTo>
                    <a:pt x="6070" y="21249"/>
                    <a:pt x="8280" y="21407"/>
                    <a:pt x="9821" y="21183"/>
                  </a:cubicBezTo>
                  <a:cubicBezTo>
                    <a:pt x="11351" y="20959"/>
                    <a:pt x="13134" y="20475"/>
                    <a:pt x="13795" y="20154"/>
                  </a:cubicBezTo>
                  <a:cubicBezTo>
                    <a:pt x="14460" y="19838"/>
                    <a:pt x="15273" y="18992"/>
                    <a:pt x="15601" y="18294"/>
                  </a:cubicBezTo>
                  <a:cubicBezTo>
                    <a:pt x="15924" y="17586"/>
                    <a:pt x="16266" y="16562"/>
                    <a:pt x="16266" y="15992"/>
                  </a:cubicBezTo>
                  <a:cubicBezTo>
                    <a:pt x="16266" y="15426"/>
                    <a:pt x="16765" y="14611"/>
                    <a:pt x="17322" y="14214"/>
                  </a:cubicBezTo>
                  <a:cubicBezTo>
                    <a:pt x="17878" y="13842"/>
                    <a:pt x="18567" y="13455"/>
                    <a:pt x="18805" y="13261"/>
                  </a:cubicBezTo>
                  <a:cubicBezTo>
                    <a:pt x="19080" y="13118"/>
                    <a:pt x="19275" y="12828"/>
                    <a:pt x="19275" y="12543"/>
                  </a:cubicBezTo>
                  <a:cubicBezTo>
                    <a:pt x="19190" y="12268"/>
                    <a:pt x="19418" y="11437"/>
                    <a:pt x="19784" y="10811"/>
                  </a:cubicBezTo>
                  <a:cubicBezTo>
                    <a:pt x="20069" y="10118"/>
                    <a:pt x="20516" y="9150"/>
                    <a:pt x="20654" y="8620"/>
                  </a:cubicBezTo>
                  <a:cubicBezTo>
                    <a:pt x="20911" y="8137"/>
                    <a:pt x="21153" y="7423"/>
                    <a:pt x="21296" y="7102"/>
                  </a:cubicBezTo>
                  <a:cubicBezTo>
                    <a:pt x="21500" y="6812"/>
                    <a:pt x="21376" y="6247"/>
                    <a:pt x="21115" y="5818"/>
                  </a:cubicBezTo>
                  <a:cubicBezTo>
                    <a:pt x="20806" y="5426"/>
                    <a:pt x="20349" y="4759"/>
                    <a:pt x="19983" y="4443"/>
                  </a:cubicBezTo>
                  <a:cubicBezTo>
                    <a:pt x="19622" y="4138"/>
                    <a:pt x="19080" y="3694"/>
                    <a:pt x="18709" y="3536"/>
                  </a:cubicBezTo>
                  <a:cubicBezTo>
                    <a:pt x="18310" y="3465"/>
                    <a:pt x="18011" y="3159"/>
                    <a:pt x="17939" y="3083"/>
                  </a:cubicBezTo>
                  <a:cubicBezTo>
                    <a:pt x="17864" y="2996"/>
                    <a:pt x="17854" y="2915"/>
                    <a:pt x="17849" y="2915"/>
                  </a:cubicBezTo>
                  <a:cubicBezTo>
                    <a:pt x="17854" y="2915"/>
                    <a:pt x="17322" y="2900"/>
                    <a:pt x="16722" y="2655"/>
                  </a:cubicBezTo>
                  <a:close/>
                  <a:moveTo>
                    <a:pt x="16722" y="26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2" name="AutoShape 904"/>
            <p:cNvSpPr>
              <a:spLocks/>
            </p:cNvSpPr>
            <p:nvPr/>
          </p:nvSpPr>
          <p:spPr bwMode="auto">
            <a:xfrm>
              <a:off x="8013700" y="6464300"/>
              <a:ext cx="663575" cy="520700"/>
            </a:xfrm>
            <a:custGeom>
              <a:avLst/>
              <a:gdLst/>
              <a:ahLst/>
              <a:cxnLst/>
              <a:rect l="0" t="0" r="r" b="b"/>
              <a:pathLst>
                <a:path w="21595" h="21579">
                  <a:moveTo>
                    <a:pt x="16520" y="11247"/>
                  </a:moveTo>
                  <a:cubicBezTo>
                    <a:pt x="16507" y="11336"/>
                    <a:pt x="16444" y="11471"/>
                    <a:pt x="16372" y="11539"/>
                  </a:cubicBezTo>
                  <a:cubicBezTo>
                    <a:pt x="16301" y="11608"/>
                    <a:pt x="16191" y="11711"/>
                    <a:pt x="16122" y="11755"/>
                  </a:cubicBezTo>
                  <a:cubicBezTo>
                    <a:pt x="16051" y="11796"/>
                    <a:pt x="15996" y="11876"/>
                    <a:pt x="15996" y="11919"/>
                  </a:cubicBezTo>
                  <a:cubicBezTo>
                    <a:pt x="15996" y="11962"/>
                    <a:pt x="16017" y="12008"/>
                    <a:pt x="16036" y="12034"/>
                  </a:cubicBezTo>
                  <a:cubicBezTo>
                    <a:pt x="16059" y="12055"/>
                    <a:pt x="16059" y="12124"/>
                    <a:pt x="16032" y="12184"/>
                  </a:cubicBezTo>
                  <a:cubicBezTo>
                    <a:pt x="16005" y="12246"/>
                    <a:pt x="15928" y="12347"/>
                    <a:pt x="15858" y="12405"/>
                  </a:cubicBezTo>
                  <a:cubicBezTo>
                    <a:pt x="15791" y="12468"/>
                    <a:pt x="15700" y="12505"/>
                    <a:pt x="15661" y="12505"/>
                  </a:cubicBezTo>
                  <a:cubicBezTo>
                    <a:pt x="15622" y="12505"/>
                    <a:pt x="15541" y="12528"/>
                    <a:pt x="15477" y="12544"/>
                  </a:cubicBezTo>
                  <a:cubicBezTo>
                    <a:pt x="15415" y="12566"/>
                    <a:pt x="15326" y="12629"/>
                    <a:pt x="15274" y="12666"/>
                  </a:cubicBezTo>
                  <a:cubicBezTo>
                    <a:pt x="15221" y="12700"/>
                    <a:pt x="15134" y="12776"/>
                    <a:pt x="15069" y="12799"/>
                  </a:cubicBezTo>
                  <a:cubicBezTo>
                    <a:pt x="15006" y="12835"/>
                    <a:pt x="14911" y="12931"/>
                    <a:pt x="14872" y="13031"/>
                  </a:cubicBezTo>
                  <a:cubicBezTo>
                    <a:pt x="14829" y="13126"/>
                    <a:pt x="14768" y="13232"/>
                    <a:pt x="14740" y="13269"/>
                  </a:cubicBezTo>
                  <a:cubicBezTo>
                    <a:pt x="14712" y="13304"/>
                    <a:pt x="14669" y="13370"/>
                    <a:pt x="14643" y="13409"/>
                  </a:cubicBezTo>
                  <a:cubicBezTo>
                    <a:pt x="14623" y="13453"/>
                    <a:pt x="14547" y="13496"/>
                    <a:pt x="14483" y="13512"/>
                  </a:cubicBezTo>
                  <a:cubicBezTo>
                    <a:pt x="14420" y="13528"/>
                    <a:pt x="14307" y="13534"/>
                    <a:pt x="14233" y="13510"/>
                  </a:cubicBezTo>
                  <a:cubicBezTo>
                    <a:pt x="14159" y="13489"/>
                    <a:pt x="14075" y="13442"/>
                    <a:pt x="14046" y="13397"/>
                  </a:cubicBezTo>
                  <a:cubicBezTo>
                    <a:pt x="14023" y="13347"/>
                    <a:pt x="13958" y="13292"/>
                    <a:pt x="13917" y="13254"/>
                  </a:cubicBezTo>
                  <a:cubicBezTo>
                    <a:pt x="13871" y="13224"/>
                    <a:pt x="13848" y="13133"/>
                    <a:pt x="13848" y="13060"/>
                  </a:cubicBezTo>
                  <a:cubicBezTo>
                    <a:pt x="13848" y="12988"/>
                    <a:pt x="13833" y="12892"/>
                    <a:pt x="13796" y="12853"/>
                  </a:cubicBezTo>
                  <a:cubicBezTo>
                    <a:pt x="13760" y="12815"/>
                    <a:pt x="13730" y="12748"/>
                    <a:pt x="13730" y="12714"/>
                  </a:cubicBezTo>
                  <a:cubicBezTo>
                    <a:pt x="13724" y="12678"/>
                    <a:pt x="13693" y="12624"/>
                    <a:pt x="13663" y="12585"/>
                  </a:cubicBezTo>
                  <a:cubicBezTo>
                    <a:pt x="13629" y="12551"/>
                    <a:pt x="13589" y="12469"/>
                    <a:pt x="13568" y="12405"/>
                  </a:cubicBezTo>
                  <a:cubicBezTo>
                    <a:pt x="13551" y="12339"/>
                    <a:pt x="13578" y="12249"/>
                    <a:pt x="13630" y="12205"/>
                  </a:cubicBezTo>
                  <a:cubicBezTo>
                    <a:pt x="13680" y="12157"/>
                    <a:pt x="13810" y="12044"/>
                    <a:pt x="13915" y="11949"/>
                  </a:cubicBezTo>
                  <a:cubicBezTo>
                    <a:pt x="14015" y="11845"/>
                    <a:pt x="14141" y="11686"/>
                    <a:pt x="14192" y="11584"/>
                  </a:cubicBezTo>
                  <a:cubicBezTo>
                    <a:pt x="14244" y="11482"/>
                    <a:pt x="14345" y="11307"/>
                    <a:pt x="14442" y="11231"/>
                  </a:cubicBezTo>
                  <a:cubicBezTo>
                    <a:pt x="14531" y="11141"/>
                    <a:pt x="14712" y="11023"/>
                    <a:pt x="14846" y="10977"/>
                  </a:cubicBezTo>
                  <a:cubicBezTo>
                    <a:pt x="14979" y="10930"/>
                    <a:pt x="15120" y="10854"/>
                    <a:pt x="15152" y="10807"/>
                  </a:cubicBezTo>
                  <a:cubicBezTo>
                    <a:pt x="15183" y="10759"/>
                    <a:pt x="15256" y="10694"/>
                    <a:pt x="15306" y="10658"/>
                  </a:cubicBezTo>
                  <a:cubicBezTo>
                    <a:pt x="15355" y="10623"/>
                    <a:pt x="15413" y="10567"/>
                    <a:pt x="15425" y="10530"/>
                  </a:cubicBezTo>
                  <a:cubicBezTo>
                    <a:pt x="15438" y="10495"/>
                    <a:pt x="15496" y="10466"/>
                    <a:pt x="15544" y="10457"/>
                  </a:cubicBezTo>
                  <a:cubicBezTo>
                    <a:pt x="15593" y="10450"/>
                    <a:pt x="15659" y="10453"/>
                    <a:pt x="15688" y="10476"/>
                  </a:cubicBezTo>
                  <a:cubicBezTo>
                    <a:pt x="15716" y="10497"/>
                    <a:pt x="15760" y="10492"/>
                    <a:pt x="15782" y="10472"/>
                  </a:cubicBezTo>
                  <a:cubicBezTo>
                    <a:pt x="15802" y="10447"/>
                    <a:pt x="15859" y="10458"/>
                    <a:pt x="15903" y="10487"/>
                  </a:cubicBezTo>
                  <a:cubicBezTo>
                    <a:pt x="15947" y="10515"/>
                    <a:pt x="16030" y="10519"/>
                    <a:pt x="16086" y="10488"/>
                  </a:cubicBezTo>
                  <a:cubicBezTo>
                    <a:pt x="16142" y="10459"/>
                    <a:pt x="16242" y="10475"/>
                    <a:pt x="16307" y="10520"/>
                  </a:cubicBezTo>
                  <a:cubicBezTo>
                    <a:pt x="16374" y="10563"/>
                    <a:pt x="16454" y="10712"/>
                    <a:pt x="16483" y="10845"/>
                  </a:cubicBezTo>
                  <a:cubicBezTo>
                    <a:pt x="16514" y="10978"/>
                    <a:pt x="16538" y="11161"/>
                    <a:pt x="16520" y="11247"/>
                  </a:cubicBezTo>
                  <a:close/>
                  <a:moveTo>
                    <a:pt x="21153" y="6416"/>
                  </a:moveTo>
                  <a:cubicBezTo>
                    <a:pt x="21042" y="6416"/>
                    <a:pt x="20906" y="6440"/>
                    <a:pt x="20846" y="6457"/>
                  </a:cubicBezTo>
                  <a:cubicBezTo>
                    <a:pt x="20791" y="6489"/>
                    <a:pt x="20707" y="6544"/>
                    <a:pt x="20660" y="6582"/>
                  </a:cubicBezTo>
                  <a:cubicBezTo>
                    <a:pt x="20613" y="6622"/>
                    <a:pt x="20570" y="6704"/>
                    <a:pt x="20570" y="6761"/>
                  </a:cubicBezTo>
                  <a:cubicBezTo>
                    <a:pt x="20570" y="6818"/>
                    <a:pt x="20541" y="6922"/>
                    <a:pt x="20514" y="6993"/>
                  </a:cubicBezTo>
                  <a:cubicBezTo>
                    <a:pt x="20486" y="7064"/>
                    <a:pt x="20417" y="7149"/>
                    <a:pt x="20361" y="7181"/>
                  </a:cubicBezTo>
                  <a:cubicBezTo>
                    <a:pt x="20304" y="7213"/>
                    <a:pt x="20153" y="7262"/>
                    <a:pt x="20023" y="7284"/>
                  </a:cubicBezTo>
                  <a:cubicBezTo>
                    <a:pt x="19892" y="7307"/>
                    <a:pt x="19705" y="7291"/>
                    <a:pt x="19605" y="7246"/>
                  </a:cubicBezTo>
                  <a:cubicBezTo>
                    <a:pt x="19503" y="7210"/>
                    <a:pt x="19395" y="7109"/>
                    <a:pt x="19375" y="7035"/>
                  </a:cubicBezTo>
                  <a:cubicBezTo>
                    <a:pt x="19345" y="6965"/>
                    <a:pt x="19301" y="6880"/>
                    <a:pt x="19270" y="6849"/>
                  </a:cubicBezTo>
                  <a:cubicBezTo>
                    <a:pt x="19243" y="6814"/>
                    <a:pt x="19204" y="6759"/>
                    <a:pt x="19192" y="6715"/>
                  </a:cubicBezTo>
                  <a:cubicBezTo>
                    <a:pt x="19181" y="6671"/>
                    <a:pt x="19204" y="6555"/>
                    <a:pt x="19249" y="6457"/>
                  </a:cubicBezTo>
                  <a:cubicBezTo>
                    <a:pt x="19291" y="6357"/>
                    <a:pt x="19422" y="6118"/>
                    <a:pt x="19533" y="5923"/>
                  </a:cubicBezTo>
                  <a:cubicBezTo>
                    <a:pt x="19641" y="5724"/>
                    <a:pt x="19762" y="5503"/>
                    <a:pt x="19783" y="5422"/>
                  </a:cubicBezTo>
                  <a:cubicBezTo>
                    <a:pt x="19814" y="5344"/>
                    <a:pt x="19884" y="5237"/>
                    <a:pt x="19950" y="5191"/>
                  </a:cubicBezTo>
                  <a:cubicBezTo>
                    <a:pt x="20015" y="5149"/>
                    <a:pt x="20133" y="5129"/>
                    <a:pt x="20208" y="5173"/>
                  </a:cubicBezTo>
                  <a:cubicBezTo>
                    <a:pt x="20285" y="5211"/>
                    <a:pt x="20386" y="5273"/>
                    <a:pt x="20432" y="5315"/>
                  </a:cubicBezTo>
                  <a:cubicBezTo>
                    <a:pt x="20478" y="5356"/>
                    <a:pt x="20558" y="5400"/>
                    <a:pt x="20609" y="5416"/>
                  </a:cubicBezTo>
                  <a:cubicBezTo>
                    <a:pt x="20660" y="5441"/>
                    <a:pt x="20728" y="5337"/>
                    <a:pt x="20747" y="5203"/>
                  </a:cubicBezTo>
                  <a:cubicBezTo>
                    <a:pt x="20747" y="5202"/>
                    <a:pt x="20747" y="5201"/>
                    <a:pt x="20747" y="5200"/>
                  </a:cubicBezTo>
                  <a:cubicBezTo>
                    <a:pt x="20766" y="5067"/>
                    <a:pt x="20805" y="4867"/>
                    <a:pt x="20829" y="4754"/>
                  </a:cubicBezTo>
                  <a:cubicBezTo>
                    <a:pt x="20853" y="4640"/>
                    <a:pt x="20903" y="4441"/>
                    <a:pt x="20950" y="4315"/>
                  </a:cubicBezTo>
                  <a:cubicBezTo>
                    <a:pt x="20991" y="4186"/>
                    <a:pt x="21073" y="3831"/>
                    <a:pt x="21121" y="3520"/>
                  </a:cubicBezTo>
                  <a:cubicBezTo>
                    <a:pt x="21169" y="3209"/>
                    <a:pt x="21205" y="2886"/>
                    <a:pt x="21200" y="2800"/>
                  </a:cubicBezTo>
                  <a:cubicBezTo>
                    <a:pt x="21200" y="2713"/>
                    <a:pt x="21172" y="2585"/>
                    <a:pt x="21167" y="2512"/>
                  </a:cubicBezTo>
                  <a:cubicBezTo>
                    <a:pt x="21149" y="2444"/>
                    <a:pt x="21151" y="2319"/>
                    <a:pt x="21163" y="2243"/>
                  </a:cubicBezTo>
                  <a:cubicBezTo>
                    <a:pt x="21176" y="2167"/>
                    <a:pt x="21182" y="2079"/>
                    <a:pt x="21197" y="2059"/>
                  </a:cubicBezTo>
                  <a:cubicBezTo>
                    <a:pt x="21209" y="2036"/>
                    <a:pt x="21231" y="1860"/>
                    <a:pt x="21261" y="1673"/>
                  </a:cubicBezTo>
                  <a:cubicBezTo>
                    <a:pt x="21291" y="1487"/>
                    <a:pt x="21288" y="1257"/>
                    <a:pt x="21259" y="1167"/>
                  </a:cubicBezTo>
                  <a:cubicBezTo>
                    <a:pt x="21227" y="1080"/>
                    <a:pt x="21203" y="920"/>
                    <a:pt x="21203" y="819"/>
                  </a:cubicBezTo>
                  <a:cubicBezTo>
                    <a:pt x="21197" y="716"/>
                    <a:pt x="21192" y="545"/>
                    <a:pt x="21187" y="438"/>
                  </a:cubicBezTo>
                  <a:cubicBezTo>
                    <a:pt x="21193" y="329"/>
                    <a:pt x="21132" y="203"/>
                    <a:pt x="21077" y="149"/>
                  </a:cubicBezTo>
                  <a:cubicBezTo>
                    <a:pt x="21022" y="94"/>
                    <a:pt x="20881" y="58"/>
                    <a:pt x="20769" y="50"/>
                  </a:cubicBezTo>
                  <a:cubicBezTo>
                    <a:pt x="20656" y="42"/>
                    <a:pt x="20485" y="73"/>
                    <a:pt x="20387" y="109"/>
                  </a:cubicBezTo>
                  <a:cubicBezTo>
                    <a:pt x="20290" y="152"/>
                    <a:pt x="20166" y="207"/>
                    <a:pt x="20111" y="238"/>
                  </a:cubicBezTo>
                  <a:cubicBezTo>
                    <a:pt x="20055" y="269"/>
                    <a:pt x="20000" y="276"/>
                    <a:pt x="19976" y="262"/>
                  </a:cubicBezTo>
                  <a:cubicBezTo>
                    <a:pt x="19955" y="241"/>
                    <a:pt x="19883" y="201"/>
                    <a:pt x="19815" y="175"/>
                  </a:cubicBezTo>
                  <a:cubicBezTo>
                    <a:pt x="19745" y="152"/>
                    <a:pt x="19646" y="147"/>
                    <a:pt x="19590" y="154"/>
                  </a:cubicBezTo>
                  <a:cubicBezTo>
                    <a:pt x="19533" y="163"/>
                    <a:pt x="19483" y="137"/>
                    <a:pt x="19460" y="93"/>
                  </a:cubicBezTo>
                  <a:cubicBezTo>
                    <a:pt x="19443" y="42"/>
                    <a:pt x="19365" y="1"/>
                    <a:pt x="19286" y="1"/>
                  </a:cubicBezTo>
                  <a:cubicBezTo>
                    <a:pt x="19207" y="-7"/>
                    <a:pt x="19008" y="56"/>
                    <a:pt x="18842" y="109"/>
                  </a:cubicBezTo>
                  <a:cubicBezTo>
                    <a:pt x="18677" y="169"/>
                    <a:pt x="18512" y="249"/>
                    <a:pt x="18473" y="284"/>
                  </a:cubicBezTo>
                  <a:cubicBezTo>
                    <a:pt x="18435" y="319"/>
                    <a:pt x="18355" y="363"/>
                    <a:pt x="18294" y="378"/>
                  </a:cubicBezTo>
                  <a:cubicBezTo>
                    <a:pt x="18233" y="394"/>
                    <a:pt x="18147" y="442"/>
                    <a:pt x="18105" y="488"/>
                  </a:cubicBezTo>
                  <a:cubicBezTo>
                    <a:pt x="18061" y="528"/>
                    <a:pt x="18027" y="600"/>
                    <a:pt x="18033" y="638"/>
                  </a:cubicBezTo>
                  <a:cubicBezTo>
                    <a:pt x="18033" y="677"/>
                    <a:pt x="18008" y="762"/>
                    <a:pt x="17983" y="833"/>
                  </a:cubicBezTo>
                  <a:cubicBezTo>
                    <a:pt x="17954" y="901"/>
                    <a:pt x="17888" y="976"/>
                    <a:pt x="17835" y="997"/>
                  </a:cubicBezTo>
                  <a:cubicBezTo>
                    <a:pt x="17785" y="1024"/>
                    <a:pt x="17690" y="1085"/>
                    <a:pt x="17638" y="1152"/>
                  </a:cubicBezTo>
                  <a:cubicBezTo>
                    <a:pt x="17583" y="1214"/>
                    <a:pt x="17488" y="1276"/>
                    <a:pt x="17429" y="1292"/>
                  </a:cubicBezTo>
                  <a:cubicBezTo>
                    <a:pt x="17369" y="1301"/>
                    <a:pt x="17291" y="1328"/>
                    <a:pt x="17259" y="1348"/>
                  </a:cubicBezTo>
                  <a:cubicBezTo>
                    <a:pt x="17224" y="1361"/>
                    <a:pt x="17178" y="1367"/>
                    <a:pt x="17158" y="1351"/>
                  </a:cubicBezTo>
                  <a:cubicBezTo>
                    <a:pt x="17137" y="1338"/>
                    <a:pt x="17061" y="1357"/>
                    <a:pt x="16986" y="1380"/>
                  </a:cubicBezTo>
                  <a:cubicBezTo>
                    <a:pt x="16911" y="1403"/>
                    <a:pt x="16779" y="1502"/>
                    <a:pt x="16694" y="1594"/>
                  </a:cubicBezTo>
                  <a:cubicBezTo>
                    <a:pt x="16606" y="1682"/>
                    <a:pt x="16500" y="1794"/>
                    <a:pt x="16460" y="1844"/>
                  </a:cubicBezTo>
                  <a:cubicBezTo>
                    <a:pt x="16418" y="1890"/>
                    <a:pt x="16347" y="1966"/>
                    <a:pt x="16298" y="2000"/>
                  </a:cubicBezTo>
                  <a:cubicBezTo>
                    <a:pt x="16250" y="2038"/>
                    <a:pt x="16198" y="2107"/>
                    <a:pt x="16174" y="2146"/>
                  </a:cubicBezTo>
                  <a:cubicBezTo>
                    <a:pt x="16155" y="2188"/>
                    <a:pt x="16091" y="2242"/>
                    <a:pt x="16038" y="2276"/>
                  </a:cubicBezTo>
                  <a:cubicBezTo>
                    <a:pt x="15982" y="2304"/>
                    <a:pt x="15909" y="2365"/>
                    <a:pt x="15878" y="2412"/>
                  </a:cubicBezTo>
                  <a:cubicBezTo>
                    <a:pt x="15844" y="2454"/>
                    <a:pt x="15788" y="2510"/>
                    <a:pt x="15749" y="2525"/>
                  </a:cubicBezTo>
                  <a:cubicBezTo>
                    <a:pt x="15710" y="2541"/>
                    <a:pt x="15636" y="2589"/>
                    <a:pt x="15580" y="2625"/>
                  </a:cubicBezTo>
                  <a:cubicBezTo>
                    <a:pt x="15526" y="2665"/>
                    <a:pt x="15380" y="2820"/>
                    <a:pt x="15270" y="2991"/>
                  </a:cubicBezTo>
                  <a:cubicBezTo>
                    <a:pt x="15153" y="3155"/>
                    <a:pt x="15037" y="3373"/>
                    <a:pt x="15018" y="3476"/>
                  </a:cubicBezTo>
                  <a:cubicBezTo>
                    <a:pt x="14992" y="3575"/>
                    <a:pt x="14982" y="3688"/>
                    <a:pt x="15000" y="3712"/>
                  </a:cubicBezTo>
                  <a:cubicBezTo>
                    <a:pt x="15012" y="3742"/>
                    <a:pt x="15016" y="3816"/>
                    <a:pt x="15010" y="3880"/>
                  </a:cubicBezTo>
                  <a:cubicBezTo>
                    <a:pt x="14999" y="3943"/>
                    <a:pt x="14952" y="4010"/>
                    <a:pt x="14902" y="4034"/>
                  </a:cubicBezTo>
                  <a:cubicBezTo>
                    <a:pt x="14851" y="4050"/>
                    <a:pt x="14788" y="4104"/>
                    <a:pt x="14760" y="4141"/>
                  </a:cubicBezTo>
                  <a:cubicBezTo>
                    <a:pt x="14730" y="4178"/>
                    <a:pt x="14676" y="4228"/>
                    <a:pt x="14635" y="4246"/>
                  </a:cubicBezTo>
                  <a:cubicBezTo>
                    <a:pt x="14596" y="4267"/>
                    <a:pt x="14515" y="4326"/>
                    <a:pt x="14458" y="4382"/>
                  </a:cubicBezTo>
                  <a:cubicBezTo>
                    <a:pt x="14404" y="4442"/>
                    <a:pt x="14339" y="4535"/>
                    <a:pt x="14308" y="4589"/>
                  </a:cubicBezTo>
                  <a:cubicBezTo>
                    <a:pt x="14282" y="4646"/>
                    <a:pt x="14240" y="4712"/>
                    <a:pt x="14215" y="4736"/>
                  </a:cubicBezTo>
                  <a:cubicBezTo>
                    <a:pt x="14190" y="4761"/>
                    <a:pt x="14146" y="4808"/>
                    <a:pt x="14120" y="4849"/>
                  </a:cubicBezTo>
                  <a:cubicBezTo>
                    <a:pt x="14095" y="4891"/>
                    <a:pt x="14030" y="4934"/>
                    <a:pt x="13981" y="4950"/>
                  </a:cubicBezTo>
                  <a:cubicBezTo>
                    <a:pt x="13933" y="4973"/>
                    <a:pt x="13845" y="5014"/>
                    <a:pt x="13792" y="5064"/>
                  </a:cubicBezTo>
                  <a:cubicBezTo>
                    <a:pt x="13740" y="5116"/>
                    <a:pt x="13631" y="5179"/>
                    <a:pt x="13553" y="5201"/>
                  </a:cubicBezTo>
                  <a:cubicBezTo>
                    <a:pt x="13474" y="5226"/>
                    <a:pt x="13378" y="5312"/>
                    <a:pt x="13339" y="5386"/>
                  </a:cubicBezTo>
                  <a:cubicBezTo>
                    <a:pt x="13300" y="5460"/>
                    <a:pt x="13256" y="5603"/>
                    <a:pt x="13250" y="5709"/>
                  </a:cubicBezTo>
                  <a:cubicBezTo>
                    <a:pt x="13244" y="5815"/>
                    <a:pt x="13200" y="5937"/>
                    <a:pt x="13162" y="5985"/>
                  </a:cubicBezTo>
                  <a:cubicBezTo>
                    <a:pt x="13122" y="6029"/>
                    <a:pt x="13085" y="6110"/>
                    <a:pt x="13080" y="6159"/>
                  </a:cubicBezTo>
                  <a:cubicBezTo>
                    <a:pt x="13074" y="6208"/>
                    <a:pt x="13037" y="6306"/>
                    <a:pt x="13012" y="6384"/>
                  </a:cubicBezTo>
                  <a:cubicBezTo>
                    <a:pt x="12982" y="6460"/>
                    <a:pt x="12971" y="6545"/>
                    <a:pt x="12987" y="6571"/>
                  </a:cubicBezTo>
                  <a:cubicBezTo>
                    <a:pt x="12999" y="6603"/>
                    <a:pt x="12944" y="6679"/>
                    <a:pt x="12857" y="6753"/>
                  </a:cubicBezTo>
                  <a:cubicBezTo>
                    <a:pt x="12770" y="6829"/>
                    <a:pt x="12663" y="6872"/>
                    <a:pt x="12620" y="6864"/>
                  </a:cubicBezTo>
                  <a:cubicBezTo>
                    <a:pt x="12578" y="6857"/>
                    <a:pt x="12528" y="6812"/>
                    <a:pt x="12502" y="6779"/>
                  </a:cubicBezTo>
                  <a:cubicBezTo>
                    <a:pt x="12484" y="6741"/>
                    <a:pt x="12412" y="6729"/>
                    <a:pt x="12354" y="6751"/>
                  </a:cubicBezTo>
                  <a:cubicBezTo>
                    <a:pt x="12294" y="6766"/>
                    <a:pt x="12177" y="6800"/>
                    <a:pt x="12090" y="6815"/>
                  </a:cubicBezTo>
                  <a:cubicBezTo>
                    <a:pt x="12004" y="6831"/>
                    <a:pt x="11870" y="6872"/>
                    <a:pt x="11791" y="6906"/>
                  </a:cubicBezTo>
                  <a:cubicBezTo>
                    <a:pt x="11714" y="6941"/>
                    <a:pt x="11599" y="6960"/>
                    <a:pt x="11540" y="6946"/>
                  </a:cubicBezTo>
                  <a:cubicBezTo>
                    <a:pt x="11479" y="6939"/>
                    <a:pt x="11383" y="6947"/>
                    <a:pt x="11323" y="6965"/>
                  </a:cubicBezTo>
                  <a:cubicBezTo>
                    <a:pt x="11264" y="6988"/>
                    <a:pt x="11114" y="6959"/>
                    <a:pt x="10991" y="6897"/>
                  </a:cubicBezTo>
                  <a:cubicBezTo>
                    <a:pt x="10869" y="6834"/>
                    <a:pt x="10732" y="6790"/>
                    <a:pt x="10690" y="6797"/>
                  </a:cubicBezTo>
                  <a:cubicBezTo>
                    <a:pt x="10649" y="6806"/>
                    <a:pt x="10589" y="6770"/>
                    <a:pt x="10559" y="6723"/>
                  </a:cubicBezTo>
                  <a:cubicBezTo>
                    <a:pt x="10526" y="6681"/>
                    <a:pt x="10404" y="6637"/>
                    <a:pt x="10282" y="6644"/>
                  </a:cubicBezTo>
                  <a:cubicBezTo>
                    <a:pt x="10160" y="6644"/>
                    <a:pt x="9984" y="6663"/>
                    <a:pt x="9895" y="6696"/>
                  </a:cubicBezTo>
                  <a:cubicBezTo>
                    <a:pt x="9803" y="6719"/>
                    <a:pt x="9638" y="6839"/>
                    <a:pt x="9527" y="6949"/>
                  </a:cubicBezTo>
                  <a:cubicBezTo>
                    <a:pt x="9419" y="7064"/>
                    <a:pt x="9264" y="7289"/>
                    <a:pt x="9186" y="7457"/>
                  </a:cubicBezTo>
                  <a:cubicBezTo>
                    <a:pt x="9105" y="7624"/>
                    <a:pt x="8985" y="7838"/>
                    <a:pt x="8906" y="7922"/>
                  </a:cubicBezTo>
                  <a:cubicBezTo>
                    <a:pt x="8830" y="8011"/>
                    <a:pt x="8662" y="8140"/>
                    <a:pt x="8534" y="8214"/>
                  </a:cubicBezTo>
                  <a:cubicBezTo>
                    <a:pt x="8404" y="8285"/>
                    <a:pt x="8275" y="8391"/>
                    <a:pt x="8241" y="8441"/>
                  </a:cubicBezTo>
                  <a:cubicBezTo>
                    <a:pt x="8209" y="8495"/>
                    <a:pt x="8114" y="8592"/>
                    <a:pt x="8037" y="8667"/>
                  </a:cubicBezTo>
                  <a:cubicBezTo>
                    <a:pt x="7955" y="8735"/>
                    <a:pt x="7826" y="8822"/>
                    <a:pt x="7747" y="8857"/>
                  </a:cubicBezTo>
                  <a:cubicBezTo>
                    <a:pt x="7667" y="8888"/>
                    <a:pt x="7553" y="8966"/>
                    <a:pt x="7486" y="9012"/>
                  </a:cubicBezTo>
                  <a:cubicBezTo>
                    <a:pt x="7423" y="9068"/>
                    <a:pt x="7298" y="9100"/>
                    <a:pt x="7212" y="9108"/>
                  </a:cubicBezTo>
                  <a:cubicBezTo>
                    <a:pt x="7126" y="9108"/>
                    <a:pt x="7004" y="9138"/>
                    <a:pt x="6941" y="9178"/>
                  </a:cubicBezTo>
                  <a:cubicBezTo>
                    <a:pt x="6879" y="9217"/>
                    <a:pt x="6749" y="9247"/>
                    <a:pt x="6653" y="9239"/>
                  </a:cubicBezTo>
                  <a:cubicBezTo>
                    <a:pt x="6556" y="9231"/>
                    <a:pt x="6393" y="9256"/>
                    <a:pt x="6292" y="9288"/>
                  </a:cubicBezTo>
                  <a:cubicBezTo>
                    <a:pt x="6191" y="9312"/>
                    <a:pt x="6123" y="9281"/>
                    <a:pt x="6130" y="9204"/>
                  </a:cubicBezTo>
                  <a:cubicBezTo>
                    <a:pt x="6142" y="9129"/>
                    <a:pt x="6203" y="8952"/>
                    <a:pt x="6276" y="8821"/>
                  </a:cubicBezTo>
                  <a:cubicBezTo>
                    <a:pt x="6350" y="8688"/>
                    <a:pt x="6418" y="8485"/>
                    <a:pt x="6429" y="8375"/>
                  </a:cubicBezTo>
                  <a:cubicBezTo>
                    <a:pt x="6441" y="8265"/>
                    <a:pt x="6398" y="8007"/>
                    <a:pt x="6327" y="7797"/>
                  </a:cubicBezTo>
                  <a:cubicBezTo>
                    <a:pt x="6257" y="7587"/>
                    <a:pt x="6175" y="7330"/>
                    <a:pt x="6151" y="7225"/>
                  </a:cubicBezTo>
                  <a:cubicBezTo>
                    <a:pt x="6124" y="7121"/>
                    <a:pt x="6015" y="6964"/>
                    <a:pt x="5899" y="6890"/>
                  </a:cubicBezTo>
                  <a:cubicBezTo>
                    <a:pt x="5786" y="6814"/>
                    <a:pt x="5575" y="7566"/>
                    <a:pt x="5424" y="8565"/>
                  </a:cubicBezTo>
                  <a:cubicBezTo>
                    <a:pt x="5421" y="8587"/>
                    <a:pt x="5418" y="8607"/>
                    <a:pt x="5415" y="8629"/>
                  </a:cubicBezTo>
                  <a:cubicBezTo>
                    <a:pt x="5337" y="9144"/>
                    <a:pt x="5261" y="9657"/>
                    <a:pt x="5183" y="10167"/>
                  </a:cubicBezTo>
                  <a:cubicBezTo>
                    <a:pt x="5026" y="11164"/>
                    <a:pt x="4873" y="11986"/>
                    <a:pt x="4834" y="11986"/>
                  </a:cubicBezTo>
                  <a:cubicBezTo>
                    <a:pt x="4797" y="11986"/>
                    <a:pt x="4670" y="12007"/>
                    <a:pt x="4553" y="12015"/>
                  </a:cubicBezTo>
                  <a:cubicBezTo>
                    <a:pt x="4435" y="12023"/>
                    <a:pt x="4256" y="12097"/>
                    <a:pt x="4148" y="12158"/>
                  </a:cubicBezTo>
                  <a:cubicBezTo>
                    <a:pt x="4042" y="12229"/>
                    <a:pt x="3921" y="12348"/>
                    <a:pt x="3876" y="12427"/>
                  </a:cubicBezTo>
                  <a:cubicBezTo>
                    <a:pt x="3828" y="12504"/>
                    <a:pt x="3756" y="12589"/>
                    <a:pt x="3709" y="12615"/>
                  </a:cubicBezTo>
                  <a:cubicBezTo>
                    <a:pt x="3661" y="12638"/>
                    <a:pt x="3593" y="12689"/>
                    <a:pt x="3557" y="12727"/>
                  </a:cubicBezTo>
                  <a:cubicBezTo>
                    <a:pt x="3520" y="12764"/>
                    <a:pt x="3481" y="12863"/>
                    <a:pt x="3469" y="12943"/>
                  </a:cubicBezTo>
                  <a:cubicBezTo>
                    <a:pt x="3463" y="13024"/>
                    <a:pt x="3410" y="13089"/>
                    <a:pt x="3365" y="13080"/>
                  </a:cubicBezTo>
                  <a:cubicBezTo>
                    <a:pt x="3321" y="13080"/>
                    <a:pt x="3239" y="13082"/>
                    <a:pt x="3185" y="13103"/>
                  </a:cubicBezTo>
                  <a:cubicBezTo>
                    <a:pt x="3129" y="13119"/>
                    <a:pt x="3070" y="13092"/>
                    <a:pt x="3047" y="13046"/>
                  </a:cubicBezTo>
                  <a:cubicBezTo>
                    <a:pt x="3020" y="13003"/>
                    <a:pt x="2961" y="12959"/>
                    <a:pt x="2905" y="12974"/>
                  </a:cubicBezTo>
                  <a:cubicBezTo>
                    <a:pt x="2849" y="12982"/>
                    <a:pt x="2776" y="13018"/>
                    <a:pt x="2743" y="13053"/>
                  </a:cubicBezTo>
                  <a:cubicBezTo>
                    <a:pt x="2707" y="13083"/>
                    <a:pt x="2630" y="13113"/>
                    <a:pt x="2566" y="13113"/>
                  </a:cubicBezTo>
                  <a:cubicBezTo>
                    <a:pt x="2503" y="13113"/>
                    <a:pt x="2418" y="13108"/>
                    <a:pt x="2380" y="13092"/>
                  </a:cubicBezTo>
                  <a:cubicBezTo>
                    <a:pt x="2343" y="13076"/>
                    <a:pt x="2259" y="13091"/>
                    <a:pt x="2198" y="13115"/>
                  </a:cubicBezTo>
                  <a:cubicBezTo>
                    <a:pt x="2136" y="13131"/>
                    <a:pt x="2026" y="13121"/>
                    <a:pt x="1949" y="13097"/>
                  </a:cubicBezTo>
                  <a:cubicBezTo>
                    <a:pt x="1872" y="13064"/>
                    <a:pt x="1707" y="13029"/>
                    <a:pt x="1583" y="13021"/>
                  </a:cubicBezTo>
                  <a:cubicBezTo>
                    <a:pt x="1458" y="13013"/>
                    <a:pt x="1319" y="12921"/>
                    <a:pt x="1280" y="12813"/>
                  </a:cubicBezTo>
                  <a:cubicBezTo>
                    <a:pt x="1233" y="12710"/>
                    <a:pt x="1235" y="12548"/>
                    <a:pt x="1280" y="12460"/>
                  </a:cubicBezTo>
                  <a:cubicBezTo>
                    <a:pt x="1319" y="12369"/>
                    <a:pt x="1296" y="12313"/>
                    <a:pt x="1221" y="12313"/>
                  </a:cubicBezTo>
                  <a:cubicBezTo>
                    <a:pt x="1149" y="12328"/>
                    <a:pt x="1053" y="12270"/>
                    <a:pt x="1025" y="12192"/>
                  </a:cubicBezTo>
                  <a:cubicBezTo>
                    <a:pt x="991" y="12115"/>
                    <a:pt x="879" y="12089"/>
                    <a:pt x="784" y="12145"/>
                  </a:cubicBezTo>
                  <a:cubicBezTo>
                    <a:pt x="687" y="12195"/>
                    <a:pt x="575" y="12300"/>
                    <a:pt x="525" y="12371"/>
                  </a:cubicBezTo>
                  <a:cubicBezTo>
                    <a:pt x="478" y="12445"/>
                    <a:pt x="456" y="12530"/>
                    <a:pt x="482" y="12543"/>
                  </a:cubicBezTo>
                  <a:cubicBezTo>
                    <a:pt x="504" y="12562"/>
                    <a:pt x="523" y="12616"/>
                    <a:pt x="513" y="12662"/>
                  </a:cubicBezTo>
                  <a:cubicBezTo>
                    <a:pt x="513" y="12710"/>
                    <a:pt x="437" y="12770"/>
                    <a:pt x="356" y="12799"/>
                  </a:cubicBezTo>
                  <a:cubicBezTo>
                    <a:pt x="278" y="12837"/>
                    <a:pt x="161" y="12883"/>
                    <a:pt x="102" y="12921"/>
                  </a:cubicBezTo>
                  <a:cubicBezTo>
                    <a:pt x="42" y="12959"/>
                    <a:pt x="3" y="12998"/>
                    <a:pt x="0" y="12998"/>
                  </a:cubicBezTo>
                  <a:cubicBezTo>
                    <a:pt x="3" y="12998"/>
                    <a:pt x="5" y="13102"/>
                    <a:pt x="17" y="13223"/>
                  </a:cubicBezTo>
                  <a:cubicBezTo>
                    <a:pt x="17" y="13345"/>
                    <a:pt x="122" y="13505"/>
                    <a:pt x="236" y="13577"/>
                  </a:cubicBezTo>
                  <a:cubicBezTo>
                    <a:pt x="351" y="13647"/>
                    <a:pt x="494" y="13887"/>
                    <a:pt x="542" y="14111"/>
                  </a:cubicBezTo>
                  <a:cubicBezTo>
                    <a:pt x="596" y="14332"/>
                    <a:pt x="625" y="14600"/>
                    <a:pt x="614" y="14706"/>
                  </a:cubicBezTo>
                  <a:cubicBezTo>
                    <a:pt x="601" y="14813"/>
                    <a:pt x="633" y="15059"/>
                    <a:pt x="689" y="15254"/>
                  </a:cubicBezTo>
                  <a:cubicBezTo>
                    <a:pt x="749" y="15447"/>
                    <a:pt x="808" y="15781"/>
                    <a:pt x="832" y="15990"/>
                  </a:cubicBezTo>
                  <a:cubicBezTo>
                    <a:pt x="857" y="16198"/>
                    <a:pt x="951" y="16461"/>
                    <a:pt x="1035" y="16585"/>
                  </a:cubicBezTo>
                  <a:cubicBezTo>
                    <a:pt x="1129" y="16697"/>
                    <a:pt x="1190" y="16865"/>
                    <a:pt x="1184" y="16945"/>
                  </a:cubicBezTo>
                  <a:cubicBezTo>
                    <a:pt x="1171" y="17024"/>
                    <a:pt x="1242" y="17220"/>
                    <a:pt x="1328" y="17377"/>
                  </a:cubicBezTo>
                  <a:cubicBezTo>
                    <a:pt x="1411" y="17536"/>
                    <a:pt x="1475" y="17709"/>
                    <a:pt x="1459" y="17765"/>
                  </a:cubicBezTo>
                  <a:cubicBezTo>
                    <a:pt x="1441" y="17817"/>
                    <a:pt x="1461" y="17958"/>
                    <a:pt x="1479" y="18074"/>
                  </a:cubicBezTo>
                  <a:cubicBezTo>
                    <a:pt x="1503" y="18191"/>
                    <a:pt x="1492" y="18375"/>
                    <a:pt x="1460" y="18491"/>
                  </a:cubicBezTo>
                  <a:cubicBezTo>
                    <a:pt x="1424" y="18606"/>
                    <a:pt x="1353" y="18741"/>
                    <a:pt x="1305" y="18795"/>
                  </a:cubicBezTo>
                  <a:cubicBezTo>
                    <a:pt x="1254" y="18846"/>
                    <a:pt x="1188" y="18900"/>
                    <a:pt x="1155" y="18900"/>
                  </a:cubicBezTo>
                  <a:cubicBezTo>
                    <a:pt x="1122" y="18910"/>
                    <a:pt x="1064" y="18890"/>
                    <a:pt x="1036" y="18854"/>
                  </a:cubicBezTo>
                  <a:cubicBezTo>
                    <a:pt x="1001" y="18832"/>
                    <a:pt x="944" y="18833"/>
                    <a:pt x="901" y="18872"/>
                  </a:cubicBezTo>
                  <a:cubicBezTo>
                    <a:pt x="857" y="18914"/>
                    <a:pt x="813" y="19022"/>
                    <a:pt x="801" y="19114"/>
                  </a:cubicBezTo>
                  <a:cubicBezTo>
                    <a:pt x="788" y="19205"/>
                    <a:pt x="813" y="19352"/>
                    <a:pt x="860" y="19433"/>
                  </a:cubicBezTo>
                  <a:cubicBezTo>
                    <a:pt x="903" y="19518"/>
                    <a:pt x="987" y="19624"/>
                    <a:pt x="1046" y="19669"/>
                  </a:cubicBezTo>
                  <a:cubicBezTo>
                    <a:pt x="1107" y="19708"/>
                    <a:pt x="1193" y="19837"/>
                    <a:pt x="1243" y="19940"/>
                  </a:cubicBezTo>
                  <a:cubicBezTo>
                    <a:pt x="1302" y="20036"/>
                    <a:pt x="1285" y="20194"/>
                    <a:pt x="1227" y="20282"/>
                  </a:cubicBezTo>
                  <a:cubicBezTo>
                    <a:pt x="1166" y="20368"/>
                    <a:pt x="1122" y="20509"/>
                    <a:pt x="1127" y="20595"/>
                  </a:cubicBezTo>
                  <a:cubicBezTo>
                    <a:pt x="1133" y="20681"/>
                    <a:pt x="1112" y="20805"/>
                    <a:pt x="1074" y="20866"/>
                  </a:cubicBezTo>
                  <a:cubicBezTo>
                    <a:pt x="1041" y="20930"/>
                    <a:pt x="1009" y="21039"/>
                    <a:pt x="1003" y="21109"/>
                  </a:cubicBezTo>
                  <a:cubicBezTo>
                    <a:pt x="991" y="21177"/>
                    <a:pt x="1030" y="21251"/>
                    <a:pt x="1072" y="21282"/>
                  </a:cubicBezTo>
                  <a:cubicBezTo>
                    <a:pt x="1115" y="21305"/>
                    <a:pt x="1151" y="21275"/>
                    <a:pt x="1157" y="21212"/>
                  </a:cubicBezTo>
                  <a:cubicBezTo>
                    <a:pt x="1157" y="21149"/>
                    <a:pt x="1225" y="21058"/>
                    <a:pt x="1288" y="20986"/>
                  </a:cubicBezTo>
                  <a:cubicBezTo>
                    <a:pt x="1354" y="20925"/>
                    <a:pt x="1479" y="20877"/>
                    <a:pt x="1562" y="20877"/>
                  </a:cubicBezTo>
                  <a:cubicBezTo>
                    <a:pt x="1645" y="20885"/>
                    <a:pt x="1726" y="20934"/>
                    <a:pt x="1732" y="21004"/>
                  </a:cubicBezTo>
                  <a:cubicBezTo>
                    <a:pt x="1745" y="21071"/>
                    <a:pt x="1719" y="21149"/>
                    <a:pt x="1688" y="21180"/>
                  </a:cubicBezTo>
                  <a:cubicBezTo>
                    <a:pt x="1656" y="21212"/>
                    <a:pt x="1654" y="21234"/>
                    <a:pt x="1687" y="21248"/>
                  </a:cubicBezTo>
                  <a:cubicBezTo>
                    <a:pt x="1719" y="21256"/>
                    <a:pt x="1791" y="21238"/>
                    <a:pt x="1846" y="21203"/>
                  </a:cubicBezTo>
                  <a:cubicBezTo>
                    <a:pt x="1900" y="21166"/>
                    <a:pt x="2001" y="21155"/>
                    <a:pt x="2064" y="21183"/>
                  </a:cubicBezTo>
                  <a:cubicBezTo>
                    <a:pt x="2127" y="21210"/>
                    <a:pt x="2180" y="21293"/>
                    <a:pt x="2167" y="21375"/>
                  </a:cubicBezTo>
                  <a:cubicBezTo>
                    <a:pt x="2167" y="21458"/>
                    <a:pt x="2185" y="21499"/>
                    <a:pt x="2227" y="21476"/>
                  </a:cubicBezTo>
                  <a:cubicBezTo>
                    <a:pt x="2267" y="21451"/>
                    <a:pt x="2437" y="21472"/>
                    <a:pt x="2607" y="21519"/>
                  </a:cubicBezTo>
                  <a:cubicBezTo>
                    <a:pt x="2776" y="21567"/>
                    <a:pt x="2944" y="21593"/>
                    <a:pt x="2980" y="21570"/>
                  </a:cubicBezTo>
                  <a:cubicBezTo>
                    <a:pt x="3017" y="21550"/>
                    <a:pt x="3076" y="21543"/>
                    <a:pt x="3113" y="21543"/>
                  </a:cubicBezTo>
                  <a:cubicBezTo>
                    <a:pt x="3149" y="21550"/>
                    <a:pt x="3208" y="21514"/>
                    <a:pt x="3233" y="21458"/>
                  </a:cubicBezTo>
                  <a:cubicBezTo>
                    <a:pt x="3267" y="21408"/>
                    <a:pt x="3343" y="21342"/>
                    <a:pt x="3411" y="21319"/>
                  </a:cubicBezTo>
                  <a:cubicBezTo>
                    <a:pt x="3478" y="21296"/>
                    <a:pt x="3603" y="21194"/>
                    <a:pt x="3695" y="21100"/>
                  </a:cubicBezTo>
                  <a:cubicBezTo>
                    <a:pt x="3785" y="21003"/>
                    <a:pt x="3927" y="20927"/>
                    <a:pt x="4011" y="20927"/>
                  </a:cubicBezTo>
                  <a:cubicBezTo>
                    <a:pt x="4096" y="20935"/>
                    <a:pt x="4186" y="20913"/>
                    <a:pt x="4204" y="20882"/>
                  </a:cubicBezTo>
                  <a:cubicBezTo>
                    <a:pt x="4225" y="20854"/>
                    <a:pt x="4316" y="20814"/>
                    <a:pt x="4407" y="20793"/>
                  </a:cubicBezTo>
                  <a:cubicBezTo>
                    <a:pt x="4496" y="20764"/>
                    <a:pt x="4653" y="20770"/>
                    <a:pt x="4754" y="20786"/>
                  </a:cubicBezTo>
                  <a:cubicBezTo>
                    <a:pt x="4854" y="20802"/>
                    <a:pt x="4985" y="20794"/>
                    <a:pt x="5043" y="20757"/>
                  </a:cubicBezTo>
                  <a:cubicBezTo>
                    <a:pt x="5100" y="20721"/>
                    <a:pt x="5219" y="20674"/>
                    <a:pt x="5306" y="20659"/>
                  </a:cubicBezTo>
                  <a:cubicBezTo>
                    <a:pt x="5390" y="20629"/>
                    <a:pt x="5487" y="20600"/>
                    <a:pt x="5508" y="20564"/>
                  </a:cubicBezTo>
                  <a:cubicBezTo>
                    <a:pt x="5533" y="20533"/>
                    <a:pt x="5592" y="20477"/>
                    <a:pt x="5635" y="20438"/>
                  </a:cubicBezTo>
                  <a:cubicBezTo>
                    <a:pt x="5675" y="20394"/>
                    <a:pt x="5751" y="20347"/>
                    <a:pt x="5799" y="20332"/>
                  </a:cubicBezTo>
                  <a:cubicBezTo>
                    <a:pt x="5846" y="20317"/>
                    <a:pt x="5913" y="20296"/>
                    <a:pt x="5947" y="20314"/>
                  </a:cubicBezTo>
                  <a:cubicBezTo>
                    <a:pt x="5983" y="20322"/>
                    <a:pt x="6034" y="20283"/>
                    <a:pt x="6059" y="20222"/>
                  </a:cubicBezTo>
                  <a:cubicBezTo>
                    <a:pt x="6085" y="20162"/>
                    <a:pt x="6156" y="20084"/>
                    <a:pt x="6215" y="20047"/>
                  </a:cubicBezTo>
                  <a:cubicBezTo>
                    <a:pt x="6277" y="20015"/>
                    <a:pt x="6482" y="19951"/>
                    <a:pt x="6672" y="19920"/>
                  </a:cubicBezTo>
                  <a:cubicBezTo>
                    <a:pt x="6862" y="19883"/>
                    <a:pt x="7083" y="19875"/>
                    <a:pt x="7158" y="19906"/>
                  </a:cubicBezTo>
                  <a:cubicBezTo>
                    <a:pt x="7233" y="19936"/>
                    <a:pt x="7345" y="19931"/>
                    <a:pt x="7404" y="19901"/>
                  </a:cubicBezTo>
                  <a:cubicBezTo>
                    <a:pt x="7466" y="19877"/>
                    <a:pt x="7514" y="19824"/>
                    <a:pt x="7521" y="19799"/>
                  </a:cubicBezTo>
                  <a:cubicBezTo>
                    <a:pt x="7521" y="19773"/>
                    <a:pt x="7620" y="19717"/>
                    <a:pt x="7731" y="19678"/>
                  </a:cubicBezTo>
                  <a:cubicBezTo>
                    <a:pt x="7842" y="19642"/>
                    <a:pt x="8059" y="19603"/>
                    <a:pt x="8215" y="19618"/>
                  </a:cubicBezTo>
                  <a:cubicBezTo>
                    <a:pt x="8372" y="19626"/>
                    <a:pt x="8537" y="19647"/>
                    <a:pt x="8576" y="19681"/>
                  </a:cubicBezTo>
                  <a:cubicBezTo>
                    <a:pt x="8618" y="19708"/>
                    <a:pt x="8786" y="19730"/>
                    <a:pt x="8949" y="19730"/>
                  </a:cubicBezTo>
                  <a:cubicBezTo>
                    <a:pt x="9112" y="19738"/>
                    <a:pt x="9263" y="19706"/>
                    <a:pt x="9292" y="19686"/>
                  </a:cubicBezTo>
                  <a:cubicBezTo>
                    <a:pt x="9316" y="19657"/>
                    <a:pt x="9328" y="19607"/>
                    <a:pt x="9313" y="19568"/>
                  </a:cubicBezTo>
                  <a:cubicBezTo>
                    <a:pt x="9307" y="19526"/>
                    <a:pt x="9340" y="19456"/>
                    <a:pt x="9392" y="19390"/>
                  </a:cubicBezTo>
                  <a:cubicBezTo>
                    <a:pt x="9453" y="19338"/>
                    <a:pt x="9542" y="19263"/>
                    <a:pt x="9598" y="19271"/>
                  </a:cubicBezTo>
                  <a:cubicBezTo>
                    <a:pt x="9654" y="19262"/>
                    <a:pt x="9755" y="19277"/>
                    <a:pt x="9820" y="19300"/>
                  </a:cubicBezTo>
                  <a:cubicBezTo>
                    <a:pt x="9887" y="19317"/>
                    <a:pt x="10040" y="19321"/>
                    <a:pt x="10162" y="19288"/>
                  </a:cubicBezTo>
                  <a:cubicBezTo>
                    <a:pt x="10285" y="19265"/>
                    <a:pt x="10392" y="19223"/>
                    <a:pt x="10397" y="19202"/>
                  </a:cubicBezTo>
                  <a:cubicBezTo>
                    <a:pt x="10409" y="19187"/>
                    <a:pt x="10376" y="19139"/>
                    <a:pt x="10329" y="19110"/>
                  </a:cubicBezTo>
                  <a:cubicBezTo>
                    <a:pt x="10282" y="19080"/>
                    <a:pt x="10285" y="18990"/>
                    <a:pt x="10333" y="18921"/>
                  </a:cubicBezTo>
                  <a:cubicBezTo>
                    <a:pt x="10376" y="18844"/>
                    <a:pt x="10495" y="18748"/>
                    <a:pt x="10588" y="18709"/>
                  </a:cubicBezTo>
                  <a:cubicBezTo>
                    <a:pt x="10681" y="18665"/>
                    <a:pt x="10846" y="18608"/>
                    <a:pt x="10953" y="18578"/>
                  </a:cubicBezTo>
                  <a:cubicBezTo>
                    <a:pt x="11060" y="18555"/>
                    <a:pt x="11172" y="18551"/>
                    <a:pt x="11206" y="18568"/>
                  </a:cubicBezTo>
                  <a:cubicBezTo>
                    <a:pt x="11238" y="18592"/>
                    <a:pt x="11333" y="18593"/>
                    <a:pt x="11411" y="18562"/>
                  </a:cubicBezTo>
                  <a:cubicBezTo>
                    <a:pt x="11492" y="18540"/>
                    <a:pt x="11624" y="18468"/>
                    <a:pt x="11708" y="18403"/>
                  </a:cubicBezTo>
                  <a:cubicBezTo>
                    <a:pt x="11791" y="18338"/>
                    <a:pt x="11974" y="18239"/>
                    <a:pt x="12112" y="18173"/>
                  </a:cubicBezTo>
                  <a:cubicBezTo>
                    <a:pt x="12249" y="18105"/>
                    <a:pt x="12370" y="18039"/>
                    <a:pt x="12370" y="18015"/>
                  </a:cubicBezTo>
                  <a:cubicBezTo>
                    <a:pt x="12378" y="17996"/>
                    <a:pt x="12453" y="17951"/>
                    <a:pt x="12537" y="17897"/>
                  </a:cubicBezTo>
                  <a:cubicBezTo>
                    <a:pt x="12626" y="17856"/>
                    <a:pt x="12744" y="17760"/>
                    <a:pt x="12805" y="17695"/>
                  </a:cubicBezTo>
                  <a:cubicBezTo>
                    <a:pt x="12865" y="17627"/>
                    <a:pt x="13133" y="17409"/>
                    <a:pt x="13393" y="17196"/>
                  </a:cubicBezTo>
                  <a:cubicBezTo>
                    <a:pt x="13656" y="16991"/>
                    <a:pt x="13925" y="16753"/>
                    <a:pt x="13997" y="16675"/>
                  </a:cubicBezTo>
                  <a:cubicBezTo>
                    <a:pt x="14069" y="16599"/>
                    <a:pt x="14122" y="16516"/>
                    <a:pt x="14127" y="16498"/>
                  </a:cubicBezTo>
                  <a:cubicBezTo>
                    <a:pt x="14127" y="16478"/>
                    <a:pt x="14166" y="16446"/>
                    <a:pt x="14213" y="16431"/>
                  </a:cubicBezTo>
                  <a:cubicBezTo>
                    <a:pt x="14259" y="16415"/>
                    <a:pt x="14642" y="16039"/>
                    <a:pt x="15060" y="15590"/>
                  </a:cubicBezTo>
                  <a:cubicBezTo>
                    <a:pt x="15476" y="15136"/>
                    <a:pt x="15842" y="14749"/>
                    <a:pt x="15861" y="14716"/>
                  </a:cubicBezTo>
                  <a:cubicBezTo>
                    <a:pt x="15884" y="14687"/>
                    <a:pt x="15926" y="14649"/>
                    <a:pt x="15962" y="14641"/>
                  </a:cubicBezTo>
                  <a:cubicBezTo>
                    <a:pt x="15996" y="14634"/>
                    <a:pt x="16086" y="14554"/>
                    <a:pt x="16158" y="14462"/>
                  </a:cubicBezTo>
                  <a:cubicBezTo>
                    <a:pt x="16230" y="14370"/>
                    <a:pt x="16347" y="14262"/>
                    <a:pt x="16414" y="14220"/>
                  </a:cubicBezTo>
                  <a:cubicBezTo>
                    <a:pt x="16483" y="14177"/>
                    <a:pt x="16567" y="14056"/>
                    <a:pt x="16602" y="13952"/>
                  </a:cubicBezTo>
                  <a:cubicBezTo>
                    <a:pt x="16638" y="13847"/>
                    <a:pt x="16773" y="13653"/>
                    <a:pt x="16899" y="13515"/>
                  </a:cubicBezTo>
                  <a:cubicBezTo>
                    <a:pt x="17022" y="13374"/>
                    <a:pt x="17283" y="13036"/>
                    <a:pt x="17467" y="12750"/>
                  </a:cubicBezTo>
                  <a:cubicBezTo>
                    <a:pt x="17654" y="12465"/>
                    <a:pt x="17856" y="12126"/>
                    <a:pt x="17930" y="12010"/>
                  </a:cubicBezTo>
                  <a:cubicBezTo>
                    <a:pt x="18000" y="11890"/>
                    <a:pt x="18108" y="11767"/>
                    <a:pt x="18174" y="11759"/>
                  </a:cubicBezTo>
                  <a:cubicBezTo>
                    <a:pt x="18239" y="11742"/>
                    <a:pt x="18335" y="11655"/>
                    <a:pt x="18385" y="11567"/>
                  </a:cubicBezTo>
                  <a:cubicBezTo>
                    <a:pt x="18435" y="11479"/>
                    <a:pt x="18484" y="11379"/>
                    <a:pt x="18491" y="11343"/>
                  </a:cubicBezTo>
                  <a:cubicBezTo>
                    <a:pt x="18501" y="11310"/>
                    <a:pt x="18572" y="11202"/>
                    <a:pt x="18649" y="11096"/>
                  </a:cubicBezTo>
                  <a:cubicBezTo>
                    <a:pt x="18734" y="11002"/>
                    <a:pt x="18837" y="10831"/>
                    <a:pt x="18898" y="10737"/>
                  </a:cubicBezTo>
                  <a:cubicBezTo>
                    <a:pt x="18953" y="10637"/>
                    <a:pt x="19076" y="10497"/>
                    <a:pt x="19167" y="10420"/>
                  </a:cubicBezTo>
                  <a:cubicBezTo>
                    <a:pt x="19257" y="10339"/>
                    <a:pt x="19362" y="10234"/>
                    <a:pt x="19404" y="10188"/>
                  </a:cubicBezTo>
                  <a:cubicBezTo>
                    <a:pt x="19444" y="10137"/>
                    <a:pt x="19537" y="10052"/>
                    <a:pt x="19612" y="10001"/>
                  </a:cubicBezTo>
                  <a:cubicBezTo>
                    <a:pt x="19683" y="9945"/>
                    <a:pt x="19766" y="9875"/>
                    <a:pt x="19794" y="9839"/>
                  </a:cubicBezTo>
                  <a:cubicBezTo>
                    <a:pt x="19822" y="9804"/>
                    <a:pt x="19865" y="9768"/>
                    <a:pt x="19894" y="9760"/>
                  </a:cubicBezTo>
                  <a:cubicBezTo>
                    <a:pt x="19924" y="9760"/>
                    <a:pt x="20041" y="9630"/>
                    <a:pt x="20154" y="9485"/>
                  </a:cubicBezTo>
                  <a:cubicBezTo>
                    <a:pt x="20267" y="9342"/>
                    <a:pt x="20377" y="9165"/>
                    <a:pt x="20407" y="9096"/>
                  </a:cubicBezTo>
                  <a:cubicBezTo>
                    <a:pt x="20432" y="9025"/>
                    <a:pt x="20504" y="8905"/>
                    <a:pt x="20563" y="8830"/>
                  </a:cubicBezTo>
                  <a:cubicBezTo>
                    <a:pt x="20620" y="8750"/>
                    <a:pt x="20713" y="8563"/>
                    <a:pt x="20775" y="8412"/>
                  </a:cubicBezTo>
                  <a:cubicBezTo>
                    <a:pt x="20837" y="8262"/>
                    <a:pt x="20940" y="8034"/>
                    <a:pt x="21006" y="7906"/>
                  </a:cubicBezTo>
                  <a:cubicBezTo>
                    <a:pt x="21073" y="7778"/>
                    <a:pt x="21155" y="7579"/>
                    <a:pt x="21186" y="7458"/>
                  </a:cubicBezTo>
                  <a:cubicBezTo>
                    <a:pt x="21216" y="7337"/>
                    <a:pt x="21297" y="7121"/>
                    <a:pt x="21357" y="6970"/>
                  </a:cubicBezTo>
                  <a:cubicBezTo>
                    <a:pt x="21427" y="6827"/>
                    <a:pt x="21456" y="6700"/>
                    <a:pt x="21438" y="6692"/>
                  </a:cubicBezTo>
                  <a:cubicBezTo>
                    <a:pt x="21419" y="6684"/>
                    <a:pt x="21439" y="6621"/>
                    <a:pt x="21495" y="6558"/>
                  </a:cubicBezTo>
                  <a:cubicBezTo>
                    <a:pt x="21549" y="6488"/>
                    <a:pt x="21595" y="6413"/>
                    <a:pt x="21595" y="6393"/>
                  </a:cubicBezTo>
                  <a:cubicBezTo>
                    <a:pt x="21600" y="6374"/>
                    <a:pt x="21547" y="6375"/>
                    <a:pt x="21479" y="6391"/>
                  </a:cubicBezTo>
                  <a:cubicBezTo>
                    <a:pt x="21411" y="6405"/>
                    <a:pt x="21266" y="6424"/>
                    <a:pt x="21153" y="6416"/>
                  </a:cubicBezTo>
                  <a:close/>
                  <a:moveTo>
                    <a:pt x="21153" y="64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3" name="AutoShape 905"/>
            <p:cNvSpPr>
              <a:spLocks/>
            </p:cNvSpPr>
            <p:nvPr/>
          </p:nvSpPr>
          <p:spPr bwMode="auto">
            <a:xfrm>
              <a:off x="8166100" y="6667500"/>
              <a:ext cx="6350" cy="38100"/>
            </a:xfrm>
            <a:custGeom>
              <a:avLst/>
              <a:gdLst/>
              <a:ahLst/>
              <a:cxnLst/>
              <a:rect l="0" t="0" r="r" b="b"/>
              <a:pathLst>
                <a:path w="21600" h="21600">
                  <a:moveTo>
                    <a:pt x="0" y="21600"/>
                  </a:moveTo>
                  <a:cubicBezTo>
                    <a:pt x="6971" y="14721"/>
                    <a:pt x="13832" y="7807"/>
                    <a:pt x="20767" y="859"/>
                  </a:cubicBezTo>
                  <a:cubicBezTo>
                    <a:pt x="21056" y="561"/>
                    <a:pt x="21311" y="291"/>
                    <a:pt x="21600" y="0"/>
                  </a:cubicBezTo>
                  <a:cubicBezTo>
                    <a:pt x="21419" y="222"/>
                    <a:pt x="21130" y="423"/>
                    <a:pt x="20950" y="644"/>
                  </a:cubicBezTo>
                  <a:cubicBezTo>
                    <a:pt x="13437" y="7648"/>
                    <a:pt x="7041" y="14652"/>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4" name="AutoShape 906"/>
            <p:cNvSpPr>
              <a:spLocks/>
            </p:cNvSpPr>
            <p:nvPr/>
          </p:nvSpPr>
          <p:spPr bwMode="auto">
            <a:xfrm>
              <a:off x="8648700" y="6578600"/>
              <a:ext cx="1588" cy="9525"/>
            </a:xfrm>
            <a:custGeom>
              <a:avLst/>
              <a:gdLst/>
              <a:ahLst/>
              <a:cxnLst/>
              <a:rect l="0" t="0" r="r" b="b"/>
              <a:pathLst>
                <a:path w="21600" h="21600">
                  <a:moveTo>
                    <a:pt x="21600" y="0"/>
                  </a:moveTo>
                  <a:cubicBezTo>
                    <a:pt x="15289" y="5493"/>
                    <a:pt x="4807" y="15162"/>
                    <a:pt x="0" y="21600"/>
                  </a:cubicBezTo>
                  <a:cubicBezTo>
                    <a:pt x="6418" y="15162"/>
                    <a:pt x="15289" y="5467"/>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5" name="AutoShape 907"/>
            <p:cNvSpPr>
              <a:spLocks/>
            </p:cNvSpPr>
            <p:nvPr/>
          </p:nvSpPr>
          <p:spPr bwMode="auto">
            <a:xfrm>
              <a:off x="8432800" y="6718300"/>
              <a:ext cx="90488" cy="73025"/>
            </a:xfrm>
            <a:custGeom>
              <a:avLst/>
              <a:gdLst/>
              <a:ahLst/>
              <a:cxnLst/>
              <a:rect l="0" t="0" r="r" b="b"/>
              <a:pathLst>
                <a:path w="21426" h="21500">
                  <a:moveTo>
                    <a:pt x="19842" y="464"/>
                  </a:moveTo>
                  <a:cubicBezTo>
                    <a:pt x="19369" y="148"/>
                    <a:pt x="18649" y="40"/>
                    <a:pt x="18240" y="241"/>
                  </a:cubicBezTo>
                  <a:cubicBezTo>
                    <a:pt x="17841" y="461"/>
                    <a:pt x="17240" y="428"/>
                    <a:pt x="16922" y="234"/>
                  </a:cubicBezTo>
                  <a:cubicBezTo>
                    <a:pt x="16601" y="33"/>
                    <a:pt x="16187" y="-46"/>
                    <a:pt x="16047" y="126"/>
                  </a:cubicBezTo>
                  <a:cubicBezTo>
                    <a:pt x="15889" y="270"/>
                    <a:pt x="15565" y="306"/>
                    <a:pt x="15364" y="155"/>
                  </a:cubicBezTo>
                  <a:cubicBezTo>
                    <a:pt x="15154" y="-3"/>
                    <a:pt x="14679" y="-28"/>
                    <a:pt x="14326" y="26"/>
                  </a:cubicBezTo>
                  <a:cubicBezTo>
                    <a:pt x="13978" y="87"/>
                    <a:pt x="13561" y="292"/>
                    <a:pt x="13462" y="536"/>
                  </a:cubicBezTo>
                  <a:cubicBezTo>
                    <a:pt x="13380" y="791"/>
                    <a:pt x="12961" y="1187"/>
                    <a:pt x="12602" y="1431"/>
                  </a:cubicBezTo>
                  <a:cubicBezTo>
                    <a:pt x="12240" y="1679"/>
                    <a:pt x="11715" y="2139"/>
                    <a:pt x="11487" y="2470"/>
                  </a:cubicBezTo>
                  <a:cubicBezTo>
                    <a:pt x="11260" y="2801"/>
                    <a:pt x="10239" y="3336"/>
                    <a:pt x="9277" y="3660"/>
                  </a:cubicBezTo>
                  <a:cubicBezTo>
                    <a:pt x="8308" y="3987"/>
                    <a:pt x="6998" y="4807"/>
                    <a:pt x="6357" y="5439"/>
                  </a:cubicBezTo>
                  <a:cubicBezTo>
                    <a:pt x="5660" y="5975"/>
                    <a:pt x="4924" y="7197"/>
                    <a:pt x="4551" y="7909"/>
                  </a:cubicBezTo>
                  <a:cubicBezTo>
                    <a:pt x="4180" y="8621"/>
                    <a:pt x="3271" y="9735"/>
                    <a:pt x="2547" y="10461"/>
                  </a:cubicBezTo>
                  <a:cubicBezTo>
                    <a:pt x="1786" y="11126"/>
                    <a:pt x="852" y="11917"/>
                    <a:pt x="491" y="12255"/>
                  </a:cubicBezTo>
                  <a:cubicBezTo>
                    <a:pt x="111" y="12564"/>
                    <a:pt x="-87" y="13193"/>
                    <a:pt x="36" y="13653"/>
                  </a:cubicBezTo>
                  <a:cubicBezTo>
                    <a:pt x="193" y="14102"/>
                    <a:pt x="482" y="14674"/>
                    <a:pt x="727" y="14915"/>
                  </a:cubicBezTo>
                  <a:cubicBezTo>
                    <a:pt x="946" y="15188"/>
                    <a:pt x="1167" y="15562"/>
                    <a:pt x="1208" y="15814"/>
                  </a:cubicBezTo>
                  <a:cubicBezTo>
                    <a:pt x="1208" y="16054"/>
                    <a:pt x="1424" y="16521"/>
                    <a:pt x="1690" y="16791"/>
                  </a:cubicBezTo>
                  <a:cubicBezTo>
                    <a:pt x="1952" y="17061"/>
                    <a:pt x="2066" y="17733"/>
                    <a:pt x="2066" y="18236"/>
                  </a:cubicBezTo>
                  <a:cubicBezTo>
                    <a:pt x="2066" y="18747"/>
                    <a:pt x="2229" y="19387"/>
                    <a:pt x="2562" y="19591"/>
                  </a:cubicBezTo>
                  <a:cubicBezTo>
                    <a:pt x="2862" y="19857"/>
                    <a:pt x="3332" y="20249"/>
                    <a:pt x="3495" y="20598"/>
                  </a:cubicBezTo>
                  <a:cubicBezTo>
                    <a:pt x="3705" y="20911"/>
                    <a:pt x="4312" y="21238"/>
                    <a:pt x="4846" y="21389"/>
                  </a:cubicBezTo>
                  <a:cubicBezTo>
                    <a:pt x="5379" y="21554"/>
                    <a:pt x="6199" y="21514"/>
                    <a:pt x="6657" y="21399"/>
                  </a:cubicBezTo>
                  <a:cubicBezTo>
                    <a:pt x="7115" y="21288"/>
                    <a:pt x="7663" y="20986"/>
                    <a:pt x="7812" y="20677"/>
                  </a:cubicBezTo>
                  <a:cubicBezTo>
                    <a:pt x="7999" y="20404"/>
                    <a:pt x="8308" y="19947"/>
                    <a:pt x="8512" y="19699"/>
                  </a:cubicBezTo>
                  <a:cubicBezTo>
                    <a:pt x="8716" y="19444"/>
                    <a:pt x="9157" y="18700"/>
                    <a:pt x="9469" y="18035"/>
                  </a:cubicBezTo>
                  <a:cubicBezTo>
                    <a:pt x="9752" y="17337"/>
                    <a:pt x="10437" y="16665"/>
                    <a:pt x="10889" y="16413"/>
                  </a:cubicBezTo>
                  <a:cubicBezTo>
                    <a:pt x="11362" y="16252"/>
                    <a:pt x="11989" y="15716"/>
                    <a:pt x="12371" y="15483"/>
                  </a:cubicBezTo>
                  <a:cubicBezTo>
                    <a:pt x="12751" y="15220"/>
                    <a:pt x="13392" y="14778"/>
                    <a:pt x="13841" y="14627"/>
                  </a:cubicBezTo>
                  <a:cubicBezTo>
                    <a:pt x="14302" y="14512"/>
                    <a:pt x="14886" y="14357"/>
                    <a:pt x="15171" y="14357"/>
                  </a:cubicBezTo>
                  <a:cubicBezTo>
                    <a:pt x="15455" y="14357"/>
                    <a:pt x="16111" y="14095"/>
                    <a:pt x="16598" y="13657"/>
                  </a:cubicBezTo>
                  <a:cubicBezTo>
                    <a:pt x="17100" y="13247"/>
                    <a:pt x="17654" y="12539"/>
                    <a:pt x="17855" y="12111"/>
                  </a:cubicBezTo>
                  <a:cubicBezTo>
                    <a:pt x="18048" y="11690"/>
                    <a:pt x="18048" y="11205"/>
                    <a:pt x="17884" y="11058"/>
                  </a:cubicBezTo>
                  <a:cubicBezTo>
                    <a:pt x="17741" y="10878"/>
                    <a:pt x="17590" y="10554"/>
                    <a:pt x="17590" y="10252"/>
                  </a:cubicBezTo>
                  <a:cubicBezTo>
                    <a:pt x="17590" y="9950"/>
                    <a:pt x="17989" y="9393"/>
                    <a:pt x="18503" y="9106"/>
                  </a:cubicBezTo>
                  <a:cubicBezTo>
                    <a:pt x="19002" y="8800"/>
                    <a:pt x="19795" y="8078"/>
                    <a:pt x="20314" y="7596"/>
                  </a:cubicBezTo>
                  <a:cubicBezTo>
                    <a:pt x="20833" y="7118"/>
                    <a:pt x="21288" y="6173"/>
                    <a:pt x="21379" y="5554"/>
                  </a:cubicBezTo>
                  <a:cubicBezTo>
                    <a:pt x="21513" y="4950"/>
                    <a:pt x="21335" y="3667"/>
                    <a:pt x="21113" y="2740"/>
                  </a:cubicBezTo>
                  <a:cubicBezTo>
                    <a:pt x="20900" y="1805"/>
                    <a:pt x="20323" y="763"/>
                    <a:pt x="19842" y="464"/>
                  </a:cubicBezTo>
                  <a:close/>
                  <a:moveTo>
                    <a:pt x="19842" y="4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6" name="AutoShape 908"/>
            <p:cNvSpPr>
              <a:spLocks/>
            </p:cNvSpPr>
            <p:nvPr/>
          </p:nvSpPr>
          <p:spPr bwMode="auto">
            <a:xfrm>
              <a:off x="10490200" y="5499100"/>
              <a:ext cx="0" cy="0"/>
            </a:xfrm>
            <a:custGeom>
              <a:avLst/>
              <a:gdLst/>
              <a:ahLst/>
              <a:cxnLst/>
              <a:rect l="0" t="0" r="r" b="b"/>
              <a:pathLst>
                <a:path w="18062" h="17204">
                  <a:moveTo>
                    <a:pt x="0" y="17204"/>
                  </a:moveTo>
                  <a:cubicBezTo>
                    <a:pt x="5257" y="11882"/>
                    <a:pt x="11055" y="6005"/>
                    <a:pt x="16343" y="3134"/>
                  </a:cubicBezTo>
                  <a:cubicBezTo>
                    <a:pt x="21600" y="-4396"/>
                    <a:pt x="14420" y="2169"/>
                    <a:pt x="0" y="17204"/>
                  </a:cubicBezTo>
                  <a:close/>
                  <a:moveTo>
                    <a:pt x="0" y="172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7" name="AutoShape 909"/>
            <p:cNvSpPr>
              <a:spLocks/>
            </p:cNvSpPr>
            <p:nvPr/>
          </p:nvSpPr>
          <p:spPr bwMode="auto">
            <a:xfrm>
              <a:off x="10490200" y="5511800"/>
              <a:ext cx="0" cy="3175"/>
            </a:xfrm>
            <a:custGeom>
              <a:avLst/>
              <a:gdLst/>
              <a:ahLst/>
              <a:cxnLst/>
              <a:rect l="0" t="0" r="r" b="b"/>
              <a:pathLst>
                <a:path w="21600" h="20783">
                  <a:moveTo>
                    <a:pt x="0" y="20569"/>
                  </a:moveTo>
                  <a:cubicBezTo>
                    <a:pt x="0" y="21600"/>
                    <a:pt x="3014" y="18793"/>
                    <a:pt x="7284" y="14676"/>
                  </a:cubicBezTo>
                  <a:cubicBezTo>
                    <a:pt x="9026" y="12822"/>
                    <a:pt x="10549" y="11384"/>
                    <a:pt x="11553" y="10351"/>
                  </a:cubicBezTo>
                  <a:cubicBezTo>
                    <a:pt x="11067" y="10287"/>
                    <a:pt x="12056" y="9599"/>
                    <a:pt x="13547" y="8568"/>
                  </a:cubicBezTo>
                  <a:cubicBezTo>
                    <a:pt x="16074" y="5829"/>
                    <a:pt x="18837" y="2878"/>
                    <a:pt x="21600" y="0"/>
                  </a:cubicBezTo>
                  <a:cubicBezTo>
                    <a:pt x="9544" y="9944"/>
                    <a:pt x="0" y="19200"/>
                    <a:pt x="0" y="20569"/>
                  </a:cubicBezTo>
                  <a:close/>
                  <a:moveTo>
                    <a:pt x="0" y="205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8" name="AutoShape 910"/>
            <p:cNvSpPr>
              <a:spLocks/>
            </p:cNvSpPr>
            <p:nvPr/>
          </p:nvSpPr>
          <p:spPr bwMode="auto">
            <a:xfrm>
              <a:off x="10236200" y="6121400"/>
              <a:ext cx="0" cy="0"/>
            </a:xfrm>
            <a:custGeom>
              <a:avLst/>
              <a:gdLst/>
              <a:ahLst/>
              <a:cxnLst/>
              <a:rect l="0" t="0" r="r" b="b"/>
              <a:pathLst>
                <a:path w="17245" h="16486">
                  <a:moveTo>
                    <a:pt x="17245" y="0"/>
                  </a:moveTo>
                  <a:cubicBezTo>
                    <a:pt x="15124" y="2221"/>
                    <a:pt x="6959" y="7217"/>
                    <a:pt x="3874" y="9438"/>
                  </a:cubicBezTo>
                  <a:cubicBezTo>
                    <a:pt x="-4355" y="21600"/>
                    <a:pt x="724" y="17748"/>
                    <a:pt x="17245" y="0"/>
                  </a:cubicBezTo>
                  <a:close/>
                  <a:moveTo>
                    <a:pt x="17245"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09" name="AutoShape 911"/>
            <p:cNvSpPr>
              <a:spLocks/>
            </p:cNvSpPr>
            <p:nvPr/>
          </p:nvSpPr>
          <p:spPr bwMode="auto">
            <a:xfrm>
              <a:off x="10490200" y="5499100"/>
              <a:ext cx="0" cy="0"/>
            </a:xfrm>
            <a:custGeom>
              <a:avLst/>
              <a:gdLst/>
              <a:ahLst/>
              <a:cxnLst/>
              <a:rect l="0" t="0" r="r" b="b"/>
              <a:pathLst>
                <a:path w="21600" h="21600">
                  <a:moveTo>
                    <a:pt x="0" y="21600"/>
                  </a:moveTo>
                  <a:cubicBezTo>
                    <a:pt x="844" y="20572"/>
                    <a:pt x="1744" y="19785"/>
                    <a:pt x="3600" y="18517"/>
                  </a:cubicBezTo>
                  <a:cubicBezTo>
                    <a:pt x="6300" y="15939"/>
                    <a:pt x="8100" y="13626"/>
                    <a:pt x="10800" y="10808"/>
                  </a:cubicBezTo>
                  <a:cubicBezTo>
                    <a:pt x="14400" y="6946"/>
                    <a:pt x="18000" y="3597"/>
                    <a:pt x="21600" y="0"/>
                  </a:cubicBezTo>
                  <a:cubicBezTo>
                    <a:pt x="14400" y="7468"/>
                    <a:pt x="7200" y="13361"/>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0" name="AutoShape 912"/>
            <p:cNvSpPr>
              <a:spLocks/>
            </p:cNvSpPr>
            <p:nvPr/>
          </p:nvSpPr>
          <p:spPr bwMode="auto">
            <a:xfrm>
              <a:off x="10490200" y="5511800"/>
              <a:ext cx="0" cy="0"/>
            </a:xfrm>
            <a:custGeom>
              <a:avLst/>
              <a:gdLst/>
              <a:ahLst/>
              <a:cxnLst/>
              <a:rect l="0" t="0" r="r" b="b"/>
              <a:pathLst>
                <a:path w="21600" h="20757">
                  <a:moveTo>
                    <a:pt x="6227" y="18219"/>
                  </a:moveTo>
                  <a:cubicBezTo>
                    <a:pt x="9146" y="11316"/>
                    <a:pt x="15568" y="9110"/>
                    <a:pt x="18681" y="2242"/>
                  </a:cubicBezTo>
                  <a:cubicBezTo>
                    <a:pt x="18681" y="1068"/>
                    <a:pt x="18681" y="0"/>
                    <a:pt x="21600" y="0"/>
                  </a:cubicBezTo>
                  <a:cubicBezTo>
                    <a:pt x="15568" y="3381"/>
                    <a:pt x="9146" y="10142"/>
                    <a:pt x="0" y="20426"/>
                  </a:cubicBezTo>
                  <a:cubicBezTo>
                    <a:pt x="0" y="21600"/>
                    <a:pt x="3114" y="19358"/>
                    <a:pt x="6227" y="18219"/>
                  </a:cubicBezTo>
                  <a:close/>
                  <a:moveTo>
                    <a:pt x="6227" y="182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1" name="AutoShape 913"/>
            <p:cNvSpPr>
              <a:spLocks/>
            </p:cNvSpPr>
            <p:nvPr/>
          </p:nvSpPr>
          <p:spPr bwMode="auto">
            <a:xfrm>
              <a:off x="10287000" y="6045200"/>
              <a:ext cx="0" cy="0"/>
            </a:xfrm>
            <a:custGeom>
              <a:avLst/>
              <a:gdLst/>
              <a:ahLst/>
              <a:cxnLst/>
              <a:rect l="0" t="0" r="r" b="b"/>
              <a:pathLst>
                <a:path w="21600" h="18215">
                  <a:moveTo>
                    <a:pt x="20672" y="655"/>
                  </a:moveTo>
                  <a:cubicBezTo>
                    <a:pt x="21600" y="148"/>
                    <a:pt x="20672" y="317"/>
                    <a:pt x="21600" y="0"/>
                  </a:cubicBezTo>
                  <a:cubicBezTo>
                    <a:pt x="11700" y="7190"/>
                    <a:pt x="3600" y="13909"/>
                    <a:pt x="0" y="16691"/>
                  </a:cubicBezTo>
                  <a:cubicBezTo>
                    <a:pt x="0" y="21600"/>
                    <a:pt x="5850" y="14226"/>
                    <a:pt x="20672" y="655"/>
                  </a:cubicBezTo>
                  <a:close/>
                  <a:moveTo>
                    <a:pt x="20672" y="6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2" name="AutoShape 914"/>
            <p:cNvSpPr>
              <a:spLocks/>
            </p:cNvSpPr>
            <p:nvPr/>
          </p:nvSpPr>
          <p:spPr bwMode="auto">
            <a:xfrm>
              <a:off x="10350500" y="5867400"/>
              <a:ext cx="1588" cy="6350"/>
            </a:xfrm>
            <a:custGeom>
              <a:avLst/>
              <a:gdLst/>
              <a:ahLst/>
              <a:cxnLst/>
              <a:rect l="0" t="0" r="r" b="b"/>
              <a:pathLst>
                <a:path w="16820" h="17327">
                  <a:moveTo>
                    <a:pt x="14731" y="2085"/>
                  </a:moveTo>
                  <a:cubicBezTo>
                    <a:pt x="19146" y="-2259"/>
                    <a:pt x="16299" y="398"/>
                    <a:pt x="8671" y="8087"/>
                  </a:cubicBezTo>
                  <a:cubicBezTo>
                    <a:pt x="1329" y="15839"/>
                    <a:pt x="-2454" y="19341"/>
                    <a:pt x="1752" y="16153"/>
                  </a:cubicBezTo>
                  <a:cubicBezTo>
                    <a:pt x="4038" y="12683"/>
                    <a:pt x="11590" y="6618"/>
                    <a:pt x="14731" y="2085"/>
                  </a:cubicBezTo>
                  <a:close/>
                  <a:moveTo>
                    <a:pt x="14731" y="20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3" name="AutoShape 915"/>
            <p:cNvSpPr>
              <a:spLocks/>
            </p:cNvSpPr>
            <p:nvPr/>
          </p:nvSpPr>
          <p:spPr bwMode="auto">
            <a:xfrm>
              <a:off x="10337800" y="5880100"/>
              <a:ext cx="3175" cy="9525"/>
            </a:xfrm>
            <a:custGeom>
              <a:avLst/>
              <a:gdLst/>
              <a:ahLst/>
              <a:cxnLst/>
              <a:rect l="0" t="0" r="r" b="b"/>
              <a:pathLst>
                <a:path w="19391" h="19496">
                  <a:moveTo>
                    <a:pt x="17039" y="2787"/>
                  </a:moveTo>
                  <a:cubicBezTo>
                    <a:pt x="20318" y="-747"/>
                    <a:pt x="20318" y="-932"/>
                    <a:pt x="16085" y="2303"/>
                  </a:cubicBezTo>
                  <a:cubicBezTo>
                    <a:pt x="12679" y="5629"/>
                    <a:pt x="6954" y="11891"/>
                    <a:pt x="2474" y="16095"/>
                  </a:cubicBezTo>
                  <a:cubicBezTo>
                    <a:pt x="-1282" y="20415"/>
                    <a:pt x="-570" y="20668"/>
                    <a:pt x="3313" y="16580"/>
                  </a:cubicBezTo>
                  <a:cubicBezTo>
                    <a:pt x="7909" y="12629"/>
                    <a:pt x="13339" y="6322"/>
                    <a:pt x="17039" y="2787"/>
                  </a:cubicBezTo>
                  <a:close/>
                  <a:moveTo>
                    <a:pt x="17039" y="27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4" name="AutoShape 916"/>
            <p:cNvSpPr>
              <a:spLocks/>
            </p:cNvSpPr>
            <p:nvPr/>
          </p:nvSpPr>
          <p:spPr bwMode="auto">
            <a:xfrm>
              <a:off x="10502900" y="5461000"/>
              <a:ext cx="0" cy="1588"/>
            </a:xfrm>
            <a:custGeom>
              <a:avLst/>
              <a:gdLst/>
              <a:ahLst/>
              <a:cxnLst/>
              <a:rect l="0" t="0" r="r" b="b"/>
              <a:pathLst>
                <a:path w="21600" h="21600">
                  <a:moveTo>
                    <a:pt x="21600" y="0"/>
                  </a:moveTo>
                  <a:cubicBezTo>
                    <a:pt x="16200" y="4519"/>
                    <a:pt x="7941" y="12355"/>
                    <a:pt x="0" y="21600"/>
                  </a:cubicBezTo>
                  <a:cubicBezTo>
                    <a:pt x="4129" y="17918"/>
                    <a:pt x="8874" y="14150"/>
                    <a:pt x="12071" y="10471"/>
                  </a:cubicBezTo>
                  <a:cubicBezTo>
                    <a:pt x="16518" y="5940"/>
                    <a:pt x="19357" y="2636"/>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5" name="AutoShape 917"/>
            <p:cNvSpPr>
              <a:spLocks/>
            </p:cNvSpPr>
            <p:nvPr/>
          </p:nvSpPr>
          <p:spPr bwMode="auto">
            <a:xfrm>
              <a:off x="10515600" y="5448300"/>
              <a:ext cx="0" cy="0"/>
            </a:xfrm>
            <a:custGeom>
              <a:avLst/>
              <a:gdLst/>
              <a:ahLst/>
              <a:cxnLst/>
              <a:rect l="0" t="0" r="r" b="b"/>
              <a:pathLst>
                <a:path w="20212" h="21600">
                  <a:moveTo>
                    <a:pt x="0" y="21600"/>
                  </a:moveTo>
                  <a:cubicBezTo>
                    <a:pt x="12028" y="9622"/>
                    <a:pt x="21600" y="0"/>
                    <a:pt x="20046" y="0"/>
                  </a:cubicBezTo>
                  <a:cubicBezTo>
                    <a:pt x="20798" y="0"/>
                    <a:pt x="12028" y="8925"/>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6" name="AutoShape 918"/>
            <p:cNvSpPr>
              <a:spLocks/>
            </p:cNvSpPr>
            <p:nvPr/>
          </p:nvSpPr>
          <p:spPr bwMode="auto">
            <a:xfrm>
              <a:off x="10502900" y="5461000"/>
              <a:ext cx="0" cy="0"/>
            </a:xfrm>
            <a:custGeom>
              <a:avLst/>
              <a:gdLst/>
              <a:ahLst/>
              <a:cxnLst/>
              <a:rect l="0" t="0" r="r" b="b"/>
              <a:pathLst>
                <a:path w="21600" h="21600">
                  <a:moveTo>
                    <a:pt x="21600" y="0"/>
                  </a:moveTo>
                  <a:cubicBezTo>
                    <a:pt x="12987" y="7547"/>
                    <a:pt x="7604" y="14396"/>
                    <a:pt x="0" y="21600"/>
                  </a:cubicBezTo>
                  <a:cubicBezTo>
                    <a:pt x="6527" y="15458"/>
                    <a:pt x="12987" y="8919"/>
                    <a:pt x="19379" y="3087"/>
                  </a:cubicBezTo>
                  <a:cubicBezTo>
                    <a:pt x="19379" y="2069"/>
                    <a:pt x="20523" y="1018"/>
                    <a:pt x="21600" y="0"/>
                  </a:cubicBezTo>
                  <a:close/>
                  <a:moveTo>
                    <a:pt x="2160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7" name="AutoShape 919"/>
            <p:cNvSpPr>
              <a:spLocks/>
            </p:cNvSpPr>
            <p:nvPr/>
          </p:nvSpPr>
          <p:spPr bwMode="auto">
            <a:xfrm>
              <a:off x="10515600" y="5448300"/>
              <a:ext cx="0" cy="0"/>
            </a:xfrm>
            <a:custGeom>
              <a:avLst/>
              <a:gdLst/>
              <a:ahLst/>
              <a:cxnLst/>
              <a:rect l="0" t="0" r="r" b="b"/>
              <a:pathLst>
                <a:path w="11904" h="15257">
                  <a:moveTo>
                    <a:pt x="0" y="15257"/>
                  </a:moveTo>
                  <a:cubicBezTo>
                    <a:pt x="1446" y="14857"/>
                    <a:pt x="1446" y="13668"/>
                    <a:pt x="3086" y="13668"/>
                  </a:cubicBezTo>
                  <a:cubicBezTo>
                    <a:pt x="21600" y="-6343"/>
                    <a:pt x="6171" y="-3152"/>
                    <a:pt x="0" y="15257"/>
                  </a:cubicBezTo>
                  <a:close/>
                  <a:moveTo>
                    <a:pt x="0" y="152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8" name="AutoShape 920"/>
            <p:cNvSpPr>
              <a:spLocks/>
            </p:cNvSpPr>
            <p:nvPr/>
          </p:nvSpPr>
          <p:spPr bwMode="auto">
            <a:xfrm>
              <a:off x="10502900" y="5486400"/>
              <a:ext cx="0" cy="3175"/>
            </a:xfrm>
            <a:custGeom>
              <a:avLst/>
              <a:gdLst/>
              <a:ahLst/>
              <a:cxnLst/>
              <a:rect l="0" t="0" r="r" b="b"/>
              <a:pathLst>
                <a:path w="18323" h="19545">
                  <a:moveTo>
                    <a:pt x="2188" y="17488"/>
                  </a:moveTo>
                  <a:cubicBezTo>
                    <a:pt x="-1953" y="20087"/>
                    <a:pt x="539" y="20347"/>
                    <a:pt x="3447" y="17549"/>
                  </a:cubicBezTo>
                  <a:cubicBezTo>
                    <a:pt x="8016" y="14816"/>
                    <a:pt x="13611" y="8507"/>
                    <a:pt x="16532" y="3623"/>
                  </a:cubicBezTo>
                  <a:cubicBezTo>
                    <a:pt x="19647" y="-1186"/>
                    <a:pt x="18401" y="-1253"/>
                    <a:pt x="15078" y="3690"/>
                  </a:cubicBezTo>
                  <a:cubicBezTo>
                    <a:pt x="11119" y="8574"/>
                    <a:pt x="4901" y="14751"/>
                    <a:pt x="2188" y="17488"/>
                  </a:cubicBezTo>
                  <a:close/>
                  <a:moveTo>
                    <a:pt x="2188" y="174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19" name="AutoShape 921"/>
            <p:cNvSpPr>
              <a:spLocks/>
            </p:cNvSpPr>
            <p:nvPr/>
          </p:nvSpPr>
          <p:spPr bwMode="auto">
            <a:xfrm>
              <a:off x="10515600" y="5435600"/>
              <a:ext cx="0" cy="0"/>
            </a:xfrm>
            <a:custGeom>
              <a:avLst/>
              <a:gdLst/>
              <a:ahLst/>
              <a:cxnLst/>
              <a:rect l="0" t="0" r="r" b="b"/>
              <a:pathLst>
                <a:path w="14910" h="16048">
                  <a:moveTo>
                    <a:pt x="0" y="16048"/>
                  </a:moveTo>
                  <a:cubicBezTo>
                    <a:pt x="1029" y="12813"/>
                    <a:pt x="1993" y="8942"/>
                    <a:pt x="13371" y="5414"/>
                  </a:cubicBezTo>
                  <a:cubicBezTo>
                    <a:pt x="13371" y="-5552"/>
                    <a:pt x="21600" y="1221"/>
                    <a:pt x="0" y="16048"/>
                  </a:cubicBezTo>
                  <a:close/>
                  <a:moveTo>
                    <a:pt x="0" y="160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0" name="AutoShape 922"/>
            <p:cNvSpPr>
              <a:spLocks/>
            </p:cNvSpPr>
            <p:nvPr/>
          </p:nvSpPr>
          <p:spPr bwMode="auto">
            <a:xfrm>
              <a:off x="10502900" y="5461000"/>
              <a:ext cx="0" cy="1588"/>
            </a:xfrm>
            <a:custGeom>
              <a:avLst/>
              <a:gdLst/>
              <a:ahLst/>
              <a:cxnLst/>
              <a:rect l="0" t="0" r="r" b="b"/>
              <a:pathLst>
                <a:path w="20706" h="21131">
                  <a:moveTo>
                    <a:pt x="20208" y="36"/>
                  </a:moveTo>
                  <a:cubicBezTo>
                    <a:pt x="20208" y="940"/>
                    <a:pt x="16358" y="7265"/>
                    <a:pt x="5590" y="13394"/>
                  </a:cubicBezTo>
                  <a:cubicBezTo>
                    <a:pt x="5590" y="16809"/>
                    <a:pt x="2458" y="19320"/>
                    <a:pt x="0" y="21131"/>
                  </a:cubicBezTo>
                  <a:cubicBezTo>
                    <a:pt x="718" y="20419"/>
                    <a:pt x="1392" y="20419"/>
                    <a:pt x="2458" y="19524"/>
                  </a:cubicBezTo>
                  <a:cubicBezTo>
                    <a:pt x="2784" y="19125"/>
                    <a:pt x="3132" y="18815"/>
                    <a:pt x="3502" y="18313"/>
                  </a:cubicBezTo>
                  <a:cubicBezTo>
                    <a:pt x="5590" y="16009"/>
                    <a:pt x="8375" y="12996"/>
                    <a:pt x="10811" y="10177"/>
                  </a:cubicBezTo>
                  <a:cubicBezTo>
                    <a:pt x="20556" y="4355"/>
                    <a:pt x="21600" y="-469"/>
                    <a:pt x="20208" y="36"/>
                  </a:cubicBezTo>
                  <a:close/>
                  <a:moveTo>
                    <a:pt x="20208" y="3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1" name="AutoShape 923"/>
            <p:cNvSpPr>
              <a:spLocks/>
            </p:cNvSpPr>
            <p:nvPr/>
          </p:nvSpPr>
          <p:spPr bwMode="auto">
            <a:xfrm>
              <a:off x="10502900" y="5461000"/>
              <a:ext cx="0" cy="0"/>
            </a:xfrm>
            <a:custGeom>
              <a:avLst/>
              <a:gdLst/>
              <a:ahLst/>
              <a:cxnLst/>
              <a:rect l="0" t="0" r="r" b="b"/>
              <a:pathLst>
                <a:path w="21600" h="17699">
                  <a:moveTo>
                    <a:pt x="0" y="17699"/>
                  </a:moveTo>
                  <a:cubicBezTo>
                    <a:pt x="6171" y="12863"/>
                    <a:pt x="16875" y="3911"/>
                    <a:pt x="21600" y="2074"/>
                  </a:cubicBezTo>
                  <a:cubicBezTo>
                    <a:pt x="21600" y="-3901"/>
                    <a:pt x="13886" y="3563"/>
                    <a:pt x="0" y="17699"/>
                  </a:cubicBezTo>
                  <a:close/>
                  <a:moveTo>
                    <a:pt x="0" y="176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2" name="AutoShape 924"/>
            <p:cNvSpPr>
              <a:spLocks/>
            </p:cNvSpPr>
            <p:nvPr/>
          </p:nvSpPr>
          <p:spPr bwMode="auto">
            <a:xfrm>
              <a:off x="10414000" y="5715000"/>
              <a:ext cx="1588" cy="6350"/>
            </a:xfrm>
            <a:custGeom>
              <a:avLst/>
              <a:gdLst/>
              <a:ahLst/>
              <a:cxnLst/>
              <a:rect l="0" t="0" r="r" b="b"/>
              <a:pathLst>
                <a:path w="19228" h="18947">
                  <a:moveTo>
                    <a:pt x="4532" y="15386"/>
                  </a:moveTo>
                  <a:cubicBezTo>
                    <a:pt x="8382" y="12421"/>
                    <a:pt x="13660" y="6456"/>
                    <a:pt x="17176" y="2329"/>
                  </a:cubicBezTo>
                  <a:cubicBezTo>
                    <a:pt x="20775" y="-1764"/>
                    <a:pt x="19765" y="-282"/>
                    <a:pt x="13158" y="5360"/>
                  </a:cubicBezTo>
                  <a:cubicBezTo>
                    <a:pt x="8047" y="11196"/>
                    <a:pt x="1440" y="16901"/>
                    <a:pt x="436" y="18383"/>
                  </a:cubicBezTo>
                  <a:cubicBezTo>
                    <a:pt x="-825" y="19836"/>
                    <a:pt x="687" y="18354"/>
                    <a:pt x="4532" y="15386"/>
                  </a:cubicBezTo>
                  <a:close/>
                  <a:moveTo>
                    <a:pt x="4532" y="153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3" name="AutoShape 925"/>
            <p:cNvSpPr>
              <a:spLocks/>
            </p:cNvSpPr>
            <p:nvPr/>
          </p:nvSpPr>
          <p:spPr bwMode="auto">
            <a:xfrm>
              <a:off x="10515600" y="5435600"/>
              <a:ext cx="0" cy="0"/>
            </a:xfrm>
            <a:custGeom>
              <a:avLst/>
              <a:gdLst/>
              <a:ahLst/>
              <a:cxnLst/>
              <a:rect l="0" t="0" r="r" b="b"/>
              <a:pathLst>
                <a:path w="15962" h="21600">
                  <a:moveTo>
                    <a:pt x="1415" y="19125"/>
                  </a:moveTo>
                  <a:lnTo>
                    <a:pt x="1415" y="21600"/>
                  </a:lnTo>
                  <a:cubicBezTo>
                    <a:pt x="-5638" y="14475"/>
                    <a:pt x="15962" y="7125"/>
                    <a:pt x="15962" y="0"/>
                  </a:cubicBezTo>
                  <a:cubicBezTo>
                    <a:pt x="1415" y="9600"/>
                    <a:pt x="15962" y="9600"/>
                    <a:pt x="1415" y="19125"/>
                  </a:cubicBezTo>
                  <a:close/>
                  <a:moveTo>
                    <a:pt x="1415" y="191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4" name="AutoShape 926"/>
            <p:cNvSpPr>
              <a:spLocks/>
            </p:cNvSpPr>
            <p:nvPr/>
          </p:nvSpPr>
          <p:spPr bwMode="auto">
            <a:xfrm>
              <a:off x="10236200" y="5435600"/>
              <a:ext cx="290513" cy="688975"/>
            </a:xfrm>
            <a:custGeom>
              <a:avLst/>
              <a:gdLst/>
              <a:ahLst/>
              <a:cxnLst/>
              <a:rect l="0" t="0" r="r" b="b"/>
              <a:pathLst>
                <a:path w="21589" h="21597">
                  <a:moveTo>
                    <a:pt x="21548" y="607"/>
                  </a:moveTo>
                  <a:cubicBezTo>
                    <a:pt x="21324" y="547"/>
                    <a:pt x="21007" y="508"/>
                    <a:pt x="20844" y="521"/>
                  </a:cubicBezTo>
                  <a:cubicBezTo>
                    <a:pt x="20679" y="535"/>
                    <a:pt x="20588" y="567"/>
                    <a:pt x="20639" y="592"/>
                  </a:cubicBezTo>
                  <a:cubicBezTo>
                    <a:pt x="20690" y="618"/>
                    <a:pt x="20688" y="657"/>
                    <a:pt x="20632" y="681"/>
                  </a:cubicBezTo>
                  <a:cubicBezTo>
                    <a:pt x="20576" y="705"/>
                    <a:pt x="20485" y="707"/>
                    <a:pt x="20429" y="687"/>
                  </a:cubicBezTo>
                  <a:cubicBezTo>
                    <a:pt x="20372" y="667"/>
                    <a:pt x="20291" y="650"/>
                    <a:pt x="20247" y="650"/>
                  </a:cubicBezTo>
                  <a:cubicBezTo>
                    <a:pt x="20203" y="650"/>
                    <a:pt x="20169" y="678"/>
                    <a:pt x="20154" y="708"/>
                  </a:cubicBezTo>
                  <a:cubicBezTo>
                    <a:pt x="20141" y="739"/>
                    <a:pt x="20071" y="795"/>
                    <a:pt x="20131" y="825"/>
                  </a:cubicBezTo>
                  <a:cubicBezTo>
                    <a:pt x="20207" y="867"/>
                    <a:pt x="20253" y="922"/>
                    <a:pt x="20234" y="948"/>
                  </a:cubicBezTo>
                  <a:cubicBezTo>
                    <a:pt x="20213" y="973"/>
                    <a:pt x="20184" y="979"/>
                    <a:pt x="20167" y="960"/>
                  </a:cubicBezTo>
                  <a:cubicBezTo>
                    <a:pt x="20151" y="941"/>
                    <a:pt x="20095" y="930"/>
                    <a:pt x="20044" y="935"/>
                  </a:cubicBezTo>
                  <a:cubicBezTo>
                    <a:pt x="19994" y="941"/>
                    <a:pt x="19975" y="965"/>
                    <a:pt x="19963" y="985"/>
                  </a:cubicBezTo>
                  <a:cubicBezTo>
                    <a:pt x="19959" y="990"/>
                    <a:pt x="19956" y="995"/>
                    <a:pt x="19952" y="1000"/>
                  </a:cubicBezTo>
                  <a:cubicBezTo>
                    <a:pt x="19935" y="1024"/>
                    <a:pt x="19914" y="1057"/>
                    <a:pt x="19891" y="1087"/>
                  </a:cubicBezTo>
                  <a:cubicBezTo>
                    <a:pt x="19878" y="1120"/>
                    <a:pt x="19843" y="1165"/>
                    <a:pt x="19817" y="1193"/>
                  </a:cubicBezTo>
                  <a:cubicBezTo>
                    <a:pt x="19805" y="1223"/>
                    <a:pt x="19797" y="1229"/>
                    <a:pt x="19810" y="1202"/>
                  </a:cubicBezTo>
                  <a:cubicBezTo>
                    <a:pt x="19812" y="1200"/>
                    <a:pt x="19815" y="1196"/>
                    <a:pt x="19817" y="1193"/>
                  </a:cubicBezTo>
                  <a:cubicBezTo>
                    <a:pt x="19818" y="1191"/>
                    <a:pt x="19819" y="1192"/>
                    <a:pt x="19820" y="1189"/>
                  </a:cubicBezTo>
                  <a:cubicBezTo>
                    <a:pt x="19847" y="1154"/>
                    <a:pt x="19889" y="1082"/>
                    <a:pt x="19929" y="1032"/>
                  </a:cubicBezTo>
                  <a:cubicBezTo>
                    <a:pt x="19936" y="1023"/>
                    <a:pt x="19944" y="1011"/>
                    <a:pt x="19952" y="1000"/>
                  </a:cubicBezTo>
                  <a:cubicBezTo>
                    <a:pt x="19955" y="996"/>
                    <a:pt x="19959" y="989"/>
                    <a:pt x="19962" y="986"/>
                  </a:cubicBezTo>
                  <a:cubicBezTo>
                    <a:pt x="19962" y="985"/>
                    <a:pt x="19963" y="985"/>
                    <a:pt x="19963" y="985"/>
                  </a:cubicBezTo>
                  <a:cubicBezTo>
                    <a:pt x="19997" y="934"/>
                    <a:pt x="20034" y="870"/>
                    <a:pt x="20073" y="824"/>
                  </a:cubicBezTo>
                  <a:cubicBezTo>
                    <a:pt x="20115" y="761"/>
                    <a:pt x="20176" y="668"/>
                    <a:pt x="20216" y="619"/>
                  </a:cubicBezTo>
                  <a:cubicBezTo>
                    <a:pt x="20241" y="568"/>
                    <a:pt x="20287" y="511"/>
                    <a:pt x="20304" y="491"/>
                  </a:cubicBezTo>
                  <a:cubicBezTo>
                    <a:pt x="20304" y="469"/>
                    <a:pt x="20331" y="458"/>
                    <a:pt x="20322" y="462"/>
                  </a:cubicBezTo>
                  <a:cubicBezTo>
                    <a:pt x="20335" y="462"/>
                    <a:pt x="20372" y="399"/>
                    <a:pt x="20425" y="307"/>
                  </a:cubicBezTo>
                  <a:cubicBezTo>
                    <a:pt x="20492" y="217"/>
                    <a:pt x="20556" y="109"/>
                    <a:pt x="20582" y="71"/>
                  </a:cubicBezTo>
                  <a:cubicBezTo>
                    <a:pt x="20607" y="33"/>
                    <a:pt x="20628" y="5"/>
                    <a:pt x="20622" y="5"/>
                  </a:cubicBezTo>
                  <a:cubicBezTo>
                    <a:pt x="20622" y="7"/>
                    <a:pt x="20618" y="4"/>
                    <a:pt x="20618" y="0"/>
                  </a:cubicBezTo>
                  <a:cubicBezTo>
                    <a:pt x="20605" y="23"/>
                    <a:pt x="20571" y="53"/>
                    <a:pt x="20571" y="68"/>
                  </a:cubicBezTo>
                  <a:cubicBezTo>
                    <a:pt x="20560" y="83"/>
                    <a:pt x="20552" y="108"/>
                    <a:pt x="20536" y="122"/>
                  </a:cubicBezTo>
                  <a:cubicBezTo>
                    <a:pt x="20521" y="135"/>
                    <a:pt x="20480" y="189"/>
                    <a:pt x="20454" y="240"/>
                  </a:cubicBezTo>
                  <a:cubicBezTo>
                    <a:pt x="20414" y="290"/>
                    <a:pt x="20393" y="338"/>
                    <a:pt x="20385" y="338"/>
                  </a:cubicBezTo>
                  <a:cubicBezTo>
                    <a:pt x="20385" y="342"/>
                    <a:pt x="20387" y="322"/>
                    <a:pt x="20412" y="296"/>
                  </a:cubicBezTo>
                  <a:cubicBezTo>
                    <a:pt x="20412" y="292"/>
                    <a:pt x="20413" y="293"/>
                    <a:pt x="20413" y="290"/>
                  </a:cubicBezTo>
                  <a:cubicBezTo>
                    <a:pt x="20404" y="299"/>
                    <a:pt x="20393" y="312"/>
                    <a:pt x="20383" y="326"/>
                  </a:cubicBezTo>
                  <a:cubicBezTo>
                    <a:pt x="20381" y="329"/>
                    <a:pt x="20379" y="331"/>
                    <a:pt x="20378" y="335"/>
                  </a:cubicBezTo>
                  <a:cubicBezTo>
                    <a:pt x="20376" y="337"/>
                    <a:pt x="20375" y="338"/>
                    <a:pt x="20374" y="340"/>
                  </a:cubicBezTo>
                  <a:cubicBezTo>
                    <a:pt x="20365" y="354"/>
                    <a:pt x="20356" y="368"/>
                    <a:pt x="20351" y="379"/>
                  </a:cubicBezTo>
                  <a:cubicBezTo>
                    <a:pt x="20327" y="404"/>
                    <a:pt x="20337" y="387"/>
                    <a:pt x="20374" y="340"/>
                  </a:cubicBezTo>
                  <a:cubicBezTo>
                    <a:pt x="20377" y="335"/>
                    <a:pt x="20379" y="331"/>
                    <a:pt x="20383" y="326"/>
                  </a:cubicBezTo>
                  <a:cubicBezTo>
                    <a:pt x="20393" y="307"/>
                    <a:pt x="20404" y="290"/>
                    <a:pt x="20413" y="276"/>
                  </a:cubicBezTo>
                  <a:cubicBezTo>
                    <a:pt x="20405" y="286"/>
                    <a:pt x="20399" y="296"/>
                    <a:pt x="20389" y="308"/>
                  </a:cubicBezTo>
                  <a:cubicBezTo>
                    <a:pt x="20374" y="346"/>
                    <a:pt x="20335" y="382"/>
                    <a:pt x="20335" y="391"/>
                  </a:cubicBezTo>
                  <a:cubicBezTo>
                    <a:pt x="20320" y="397"/>
                    <a:pt x="20313" y="443"/>
                    <a:pt x="20273" y="483"/>
                  </a:cubicBezTo>
                  <a:cubicBezTo>
                    <a:pt x="20248" y="525"/>
                    <a:pt x="20199" y="599"/>
                    <a:pt x="20160" y="645"/>
                  </a:cubicBezTo>
                  <a:cubicBezTo>
                    <a:pt x="20131" y="692"/>
                    <a:pt x="20076" y="746"/>
                    <a:pt x="20076" y="768"/>
                  </a:cubicBezTo>
                  <a:cubicBezTo>
                    <a:pt x="20059" y="789"/>
                    <a:pt x="20026" y="837"/>
                    <a:pt x="20001" y="875"/>
                  </a:cubicBezTo>
                  <a:cubicBezTo>
                    <a:pt x="19975" y="912"/>
                    <a:pt x="19965" y="923"/>
                    <a:pt x="19979" y="898"/>
                  </a:cubicBezTo>
                  <a:cubicBezTo>
                    <a:pt x="20002" y="874"/>
                    <a:pt x="20008" y="859"/>
                    <a:pt x="20000" y="863"/>
                  </a:cubicBezTo>
                  <a:cubicBezTo>
                    <a:pt x="20000" y="868"/>
                    <a:pt x="19992" y="855"/>
                    <a:pt x="20014" y="837"/>
                  </a:cubicBezTo>
                  <a:cubicBezTo>
                    <a:pt x="20014" y="827"/>
                    <a:pt x="20026" y="810"/>
                    <a:pt x="20041" y="791"/>
                  </a:cubicBezTo>
                  <a:cubicBezTo>
                    <a:pt x="20008" y="834"/>
                    <a:pt x="19973" y="881"/>
                    <a:pt x="19962" y="902"/>
                  </a:cubicBezTo>
                  <a:cubicBezTo>
                    <a:pt x="19938" y="921"/>
                    <a:pt x="19920" y="958"/>
                    <a:pt x="19898" y="986"/>
                  </a:cubicBezTo>
                  <a:cubicBezTo>
                    <a:pt x="19897" y="988"/>
                    <a:pt x="19896" y="989"/>
                    <a:pt x="19895" y="991"/>
                  </a:cubicBezTo>
                  <a:cubicBezTo>
                    <a:pt x="19892" y="994"/>
                    <a:pt x="19889" y="998"/>
                    <a:pt x="19887" y="1001"/>
                  </a:cubicBezTo>
                  <a:cubicBezTo>
                    <a:pt x="19875" y="1033"/>
                    <a:pt x="19815" y="1096"/>
                    <a:pt x="19787" y="1144"/>
                  </a:cubicBezTo>
                  <a:cubicBezTo>
                    <a:pt x="19758" y="1193"/>
                    <a:pt x="19738" y="1231"/>
                    <a:pt x="19733" y="1231"/>
                  </a:cubicBezTo>
                  <a:cubicBezTo>
                    <a:pt x="19733" y="1230"/>
                    <a:pt x="19702" y="1280"/>
                    <a:pt x="19659" y="1341"/>
                  </a:cubicBezTo>
                  <a:cubicBezTo>
                    <a:pt x="19603" y="1401"/>
                    <a:pt x="19585" y="1444"/>
                    <a:pt x="19585" y="1434"/>
                  </a:cubicBezTo>
                  <a:cubicBezTo>
                    <a:pt x="19585" y="1423"/>
                    <a:pt x="19557" y="1453"/>
                    <a:pt x="19528" y="1502"/>
                  </a:cubicBezTo>
                  <a:cubicBezTo>
                    <a:pt x="19487" y="1549"/>
                    <a:pt x="19458" y="1613"/>
                    <a:pt x="19429" y="1638"/>
                  </a:cubicBezTo>
                  <a:cubicBezTo>
                    <a:pt x="19416" y="1666"/>
                    <a:pt x="19403" y="1680"/>
                    <a:pt x="19414" y="1671"/>
                  </a:cubicBezTo>
                  <a:cubicBezTo>
                    <a:pt x="19424" y="1662"/>
                    <a:pt x="19407" y="1686"/>
                    <a:pt x="19380" y="1725"/>
                  </a:cubicBezTo>
                  <a:cubicBezTo>
                    <a:pt x="19354" y="1765"/>
                    <a:pt x="19327" y="1810"/>
                    <a:pt x="19307" y="1824"/>
                  </a:cubicBezTo>
                  <a:cubicBezTo>
                    <a:pt x="19307" y="1839"/>
                    <a:pt x="19298" y="1820"/>
                    <a:pt x="19327" y="1783"/>
                  </a:cubicBezTo>
                  <a:cubicBezTo>
                    <a:pt x="19342" y="1746"/>
                    <a:pt x="19331" y="1756"/>
                    <a:pt x="19301" y="1807"/>
                  </a:cubicBezTo>
                  <a:cubicBezTo>
                    <a:pt x="19271" y="1858"/>
                    <a:pt x="19226" y="1914"/>
                    <a:pt x="19205" y="1931"/>
                  </a:cubicBezTo>
                  <a:cubicBezTo>
                    <a:pt x="19189" y="1950"/>
                    <a:pt x="19154" y="1988"/>
                    <a:pt x="19140" y="2018"/>
                  </a:cubicBezTo>
                  <a:cubicBezTo>
                    <a:pt x="19115" y="2045"/>
                    <a:pt x="19102" y="2092"/>
                    <a:pt x="19072" y="2117"/>
                  </a:cubicBezTo>
                  <a:cubicBezTo>
                    <a:pt x="19062" y="2128"/>
                    <a:pt x="19048" y="2143"/>
                    <a:pt x="19036" y="2158"/>
                  </a:cubicBezTo>
                  <a:cubicBezTo>
                    <a:pt x="19034" y="2161"/>
                    <a:pt x="19033" y="2163"/>
                    <a:pt x="19030" y="2167"/>
                  </a:cubicBezTo>
                  <a:cubicBezTo>
                    <a:pt x="19030" y="2168"/>
                    <a:pt x="19028" y="2169"/>
                    <a:pt x="19028" y="2170"/>
                  </a:cubicBezTo>
                  <a:cubicBezTo>
                    <a:pt x="19017" y="2185"/>
                    <a:pt x="19007" y="2200"/>
                    <a:pt x="19007" y="2212"/>
                  </a:cubicBezTo>
                  <a:cubicBezTo>
                    <a:pt x="19001" y="2217"/>
                    <a:pt x="19000" y="2219"/>
                    <a:pt x="18995" y="2223"/>
                  </a:cubicBezTo>
                  <a:cubicBezTo>
                    <a:pt x="18995" y="2224"/>
                    <a:pt x="18994" y="2225"/>
                    <a:pt x="18994" y="2226"/>
                  </a:cubicBezTo>
                  <a:cubicBezTo>
                    <a:pt x="18997" y="2224"/>
                    <a:pt x="18999" y="2224"/>
                    <a:pt x="18999" y="2229"/>
                  </a:cubicBezTo>
                  <a:cubicBezTo>
                    <a:pt x="18991" y="2233"/>
                    <a:pt x="18991" y="2232"/>
                    <a:pt x="18990" y="2232"/>
                  </a:cubicBezTo>
                  <a:cubicBezTo>
                    <a:pt x="18983" y="2243"/>
                    <a:pt x="18978" y="2250"/>
                    <a:pt x="18972" y="2257"/>
                  </a:cubicBezTo>
                  <a:cubicBezTo>
                    <a:pt x="18967" y="2267"/>
                    <a:pt x="18961" y="2278"/>
                    <a:pt x="18955" y="2290"/>
                  </a:cubicBezTo>
                  <a:cubicBezTo>
                    <a:pt x="18915" y="2340"/>
                    <a:pt x="18870" y="2401"/>
                    <a:pt x="18858" y="2425"/>
                  </a:cubicBezTo>
                  <a:cubicBezTo>
                    <a:pt x="18826" y="2445"/>
                    <a:pt x="18815" y="2491"/>
                    <a:pt x="18789" y="2519"/>
                  </a:cubicBezTo>
                  <a:cubicBezTo>
                    <a:pt x="18758" y="2545"/>
                    <a:pt x="18728" y="2598"/>
                    <a:pt x="18700" y="2633"/>
                  </a:cubicBezTo>
                  <a:cubicBezTo>
                    <a:pt x="18672" y="2668"/>
                    <a:pt x="18655" y="2688"/>
                    <a:pt x="18673" y="2680"/>
                  </a:cubicBezTo>
                  <a:cubicBezTo>
                    <a:pt x="18684" y="2670"/>
                    <a:pt x="18670" y="2694"/>
                    <a:pt x="18639" y="2731"/>
                  </a:cubicBezTo>
                  <a:cubicBezTo>
                    <a:pt x="18610" y="2769"/>
                    <a:pt x="18585" y="2820"/>
                    <a:pt x="18556" y="2839"/>
                  </a:cubicBezTo>
                  <a:cubicBezTo>
                    <a:pt x="18545" y="2861"/>
                    <a:pt x="18524" y="2883"/>
                    <a:pt x="18518" y="2883"/>
                  </a:cubicBezTo>
                  <a:cubicBezTo>
                    <a:pt x="18525" y="2883"/>
                    <a:pt x="18525" y="2869"/>
                    <a:pt x="18537" y="2845"/>
                  </a:cubicBezTo>
                  <a:cubicBezTo>
                    <a:pt x="18555" y="2822"/>
                    <a:pt x="18549" y="2787"/>
                    <a:pt x="18576" y="2781"/>
                  </a:cubicBezTo>
                  <a:cubicBezTo>
                    <a:pt x="18576" y="2769"/>
                    <a:pt x="18559" y="2789"/>
                    <a:pt x="18535" y="2826"/>
                  </a:cubicBezTo>
                  <a:cubicBezTo>
                    <a:pt x="18506" y="2862"/>
                    <a:pt x="18499" y="2871"/>
                    <a:pt x="18514" y="2845"/>
                  </a:cubicBezTo>
                  <a:cubicBezTo>
                    <a:pt x="18542" y="2821"/>
                    <a:pt x="18558" y="2788"/>
                    <a:pt x="18558" y="2774"/>
                  </a:cubicBezTo>
                  <a:cubicBezTo>
                    <a:pt x="18558" y="2760"/>
                    <a:pt x="18552" y="2777"/>
                    <a:pt x="18522" y="2808"/>
                  </a:cubicBezTo>
                  <a:cubicBezTo>
                    <a:pt x="18492" y="2840"/>
                    <a:pt x="18468" y="2885"/>
                    <a:pt x="18456" y="2905"/>
                  </a:cubicBezTo>
                  <a:cubicBezTo>
                    <a:pt x="18444" y="2925"/>
                    <a:pt x="18427" y="2954"/>
                    <a:pt x="18415" y="2970"/>
                  </a:cubicBezTo>
                  <a:cubicBezTo>
                    <a:pt x="18402" y="2985"/>
                    <a:pt x="18379" y="3040"/>
                    <a:pt x="18325" y="3085"/>
                  </a:cubicBezTo>
                  <a:cubicBezTo>
                    <a:pt x="18299" y="3134"/>
                    <a:pt x="18260" y="3195"/>
                    <a:pt x="18233" y="3218"/>
                  </a:cubicBezTo>
                  <a:cubicBezTo>
                    <a:pt x="18233" y="3243"/>
                    <a:pt x="18206" y="3247"/>
                    <a:pt x="18232" y="3236"/>
                  </a:cubicBezTo>
                  <a:cubicBezTo>
                    <a:pt x="18243" y="3221"/>
                    <a:pt x="18232" y="3243"/>
                    <a:pt x="18201" y="3283"/>
                  </a:cubicBezTo>
                  <a:cubicBezTo>
                    <a:pt x="18173" y="3324"/>
                    <a:pt x="18123" y="3389"/>
                    <a:pt x="18093" y="3427"/>
                  </a:cubicBezTo>
                  <a:cubicBezTo>
                    <a:pt x="18080" y="3466"/>
                    <a:pt x="18053" y="3488"/>
                    <a:pt x="18053" y="3477"/>
                  </a:cubicBezTo>
                  <a:cubicBezTo>
                    <a:pt x="18072" y="3469"/>
                    <a:pt x="18052" y="3463"/>
                    <a:pt x="18052" y="3471"/>
                  </a:cubicBezTo>
                  <a:cubicBezTo>
                    <a:pt x="18052" y="3478"/>
                    <a:pt x="18011" y="3517"/>
                    <a:pt x="17986" y="3559"/>
                  </a:cubicBezTo>
                  <a:cubicBezTo>
                    <a:pt x="17957" y="3601"/>
                    <a:pt x="17884" y="3676"/>
                    <a:pt x="17859" y="3730"/>
                  </a:cubicBezTo>
                  <a:cubicBezTo>
                    <a:pt x="17806" y="3781"/>
                    <a:pt x="17750" y="3870"/>
                    <a:pt x="17711" y="3924"/>
                  </a:cubicBezTo>
                  <a:cubicBezTo>
                    <a:pt x="17669" y="3978"/>
                    <a:pt x="17705" y="3923"/>
                    <a:pt x="17792" y="3802"/>
                  </a:cubicBezTo>
                  <a:cubicBezTo>
                    <a:pt x="17874" y="3681"/>
                    <a:pt x="17980" y="3521"/>
                    <a:pt x="18034" y="3448"/>
                  </a:cubicBezTo>
                  <a:cubicBezTo>
                    <a:pt x="18087" y="3375"/>
                    <a:pt x="18138" y="3293"/>
                    <a:pt x="18154" y="3266"/>
                  </a:cubicBezTo>
                  <a:cubicBezTo>
                    <a:pt x="18182" y="3242"/>
                    <a:pt x="18215" y="3174"/>
                    <a:pt x="18258" y="3121"/>
                  </a:cubicBezTo>
                  <a:cubicBezTo>
                    <a:pt x="18299" y="3067"/>
                    <a:pt x="18321" y="3047"/>
                    <a:pt x="18290" y="3074"/>
                  </a:cubicBezTo>
                  <a:cubicBezTo>
                    <a:pt x="18276" y="3103"/>
                    <a:pt x="18205" y="3163"/>
                    <a:pt x="18180" y="3212"/>
                  </a:cubicBezTo>
                  <a:cubicBezTo>
                    <a:pt x="18134" y="3257"/>
                    <a:pt x="18072" y="3345"/>
                    <a:pt x="18030" y="3405"/>
                  </a:cubicBezTo>
                  <a:cubicBezTo>
                    <a:pt x="17988" y="3464"/>
                    <a:pt x="17945" y="3529"/>
                    <a:pt x="17920" y="3545"/>
                  </a:cubicBezTo>
                  <a:cubicBezTo>
                    <a:pt x="17920" y="3564"/>
                    <a:pt x="17870" y="3599"/>
                    <a:pt x="17854" y="3624"/>
                  </a:cubicBezTo>
                  <a:cubicBezTo>
                    <a:pt x="17827" y="3648"/>
                    <a:pt x="17818" y="3680"/>
                    <a:pt x="17800" y="3688"/>
                  </a:cubicBezTo>
                  <a:cubicBezTo>
                    <a:pt x="17800" y="3698"/>
                    <a:pt x="17753" y="3737"/>
                    <a:pt x="17722" y="3776"/>
                  </a:cubicBezTo>
                  <a:cubicBezTo>
                    <a:pt x="17695" y="3816"/>
                    <a:pt x="17640" y="3881"/>
                    <a:pt x="17603" y="3922"/>
                  </a:cubicBezTo>
                  <a:cubicBezTo>
                    <a:pt x="17575" y="3964"/>
                    <a:pt x="17515" y="4040"/>
                    <a:pt x="17475" y="4091"/>
                  </a:cubicBezTo>
                  <a:cubicBezTo>
                    <a:pt x="17433" y="4142"/>
                    <a:pt x="17341" y="4275"/>
                    <a:pt x="17259" y="4384"/>
                  </a:cubicBezTo>
                  <a:cubicBezTo>
                    <a:pt x="17177" y="4494"/>
                    <a:pt x="17108" y="4586"/>
                    <a:pt x="17108" y="4591"/>
                  </a:cubicBezTo>
                  <a:cubicBezTo>
                    <a:pt x="17108" y="4596"/>
                    <a:pt x="17079" y="4630"/>
                    <a:pt x="17054" y="4668"/>
                  </a:cubicBezTo>
                  <a:cubicBezTo>
                    <a:pt x="17017" y="4705"/>
                    <a:pt x="16979" y="4764"/>
                    <a:pt x="16949" y="4797"/>
                  </a:cubicBezTo>
                  <a:cubicBezTo>
                    <a:pt x="16923" y="4829"/>
                    <a:pt x="16881" y="4898"/>
                    <a:pt x="16827" y="4944"/>
                  </a:cubicBezTo>
                  <a:cubicBezTo>
                    <a:pt x="16800" y="4993"/>
                    <a:pt x="16726" y="5058"/>
                    <a:pt x="16697" y="5093"/>
                  </a:cubicBezTo>
                  <a:cubicBezTo>
                    <a:pt x="16658" y="5126"/>
                    <a:pt x="16623" y="5173"/>
                    <a:pt x="16609" y="5196"/>
                  </a:cubicBezTo>
                  <a:cubicBezTo>
                    <a:pt x="16591" y="5217"/>
                    <a:pt x="16541" y="5274"/>
                    <a:pt x="16503" y="5322"/>
                  </a:cubicBezTo>
                  <a:cubicBezTo>
                    <a:pt x="16461" y="5369"/>
                    <a:pt x="16407" y="5454"/>
                    <a:pt x="16353" y="5505"/>
                  </a:cubicBezTo>
                  <a:cubicBezTo>
                    <a:pt x="16311" y="5558"/>
                    <a:pt x="16252" y="5629"/>
                    <a:pt x="16225" y="5662"/>
                  </a:cubicBezTo>
                  <a:cubicBezTo>
                    <a:pt x="16187" y="5695"/>
                    <a:pt x="16081" y="5814"/>
                    <a:pt x="16001" y="5927"/>
                  </a:cubicBezTo>
                  <a:cubicBezTo>
                    <a:pt x="15892" y="6036"/>
                    <a:pt x="15746" y="6224"/>
                    <a:pt x="15637" y="6338"/>
                  </a:cubicBezTo>
                  <a:cubicBezTo>
                    <a:pt x="15528" y="6454"/>
                    <a:pt x="15405" y="6586"/>
                    <a:pt x="15351" y="6631"/>
                  </a:cubicBezTo>
                  <a:cubicBezTo>
                    <a:pt x="15296" y="6677"/>
                    <a:pt x="15232" y="6739"/>
                    <a:pt x="15202" y="6770"/>
                  </a:cubicBezTo>
                  <a:cubicBezTo>
                    <a:pt x="15163" y="6798"/>
                    <a:pt x="15120" y="6845"/>
                    <a:pt x="15094" y="6872"/>
                  </a:cubicBezTo>
                  <a:cubicBezTo>
                    <a:pt x="15054" y="6895"/>
                    <a:pt x="15011" y="6942"/>
                    <a:pt x="14983" y="6973"/>
                  </a:cubicBezTo>
                  <a:cubicBezTo>
                    <a:pt x="14954" y="7002"/>
                    <a:pt x="14918" y="7032"/>
                    <a:pt x="14905" y="7035"/>
                  </a:cubicBezTo>
                  <a:cubicBezTo>
                    <a:pt x="14905" y="7041"/>
                    <a:pt x="14851" y="7082"/>
                    <a:pt x="14797" y="7128"/>
                  </a:cubicBezTo>
                  <a:cubicBezTo>
                    <a:pt x="14747" y="7175"/>
                    <a:pt x="14688" y="7248"/>
                    <a:pt x="14647" y="7288"/>
                  </a:cubicBezTo>
                  <a:cubicBezTo>
                    <a:pt x="14607" y="7328"/>
                    <a:pt x="14557" y="7391"/>
                    <a:pt x="14522" y="7426"/>
                  </a:cubicBezTo>
                  <a:cubicBezTo>
                    <a:pt x="14494" y="7462"/>
                    <a:pt x="14420" y="7527"/>
                    <a:pt x="14354" y="7566"/>
                  </a:cubicBezTo>
                  <a:cubicBezTo>
                    <a:pt x="14297" y="7607"/>
                    <a:pt x="14215" y="7667"/>
                    <a:pt x="14189" y="7700"/>
                  </a:cubicBezTo>
                  <a:cubicBezTo>
                    <a:pt x="14146" y="7730"/>
                    <a:pt x="14094" y="7792"/>
                    <a:pt x="14066" y="7833"/>
                  </a:cubicBezTo>
                  <a:cubicBezTo>
                    <a:pt x="14039" y="7875"/>
                    <a:pt x="13949" y="7960"/>
                    <a:pt x="13881" y="8023"/>
                  </a:cubicBezTo>
                  <a:cubicBezTo>
                    <a:pt x="13811" y="8088"/>
                    <a:pt x="13726" y="8158"/>
                    <a:pt x="13699" y="8182"/>
                  </a:cubicBezTo>
                  <a:cubicBezTo>
                    <a:pt x="13671" y="8205"/>
                    <a:pt x="13633" y="8221"/>
                    <a:pt x="13633" y="8218"/>
                  </a:cubicBezTo>
                  <a:cubicBezTo>
                    <a:pt x="13633" y="8215"/>
                    <a:pt x="13610" y="8226"/>
                    <a:pt x="13588" y="8240"/>
                  </a:cubicBezTo>
                  <a:cubicBezTo>
                    <a:pt x="13588" y="8257"/>
                    <a:pt x="13578" y="8252"/>
                    <a:pt x="13578" y="8231"/>
                  </a:cubicBezTo>
                  <a:cubicBezTo>
                    <a:pt x="13605" y="8214"/>
                    <a:pt x="13585" y="8221"/>
                    <a:pt x="13545" y="8249"/>
                  </a:cubicBezTo>
                  <a:cubicBezTo>
                    <a:pt x="13506" y="8277"/>
                    <a:pt x="13442" y="8355"/>
                    <a:pt x="13382" y="8417"/>
                  </a:cubicBezTo>
                  <a:cubicBezTo>
                    <a:pt x="13316" y="8478"/>
                    <a:pt x="13228" y="8569"/>
                    <a:pt x="13173" y="8616"/>
                  </a:cubicBezTo>
                  <a:cubicBezTo>
                    <a:pt x="13105" y="8661"/>
                    <a:pt x="13044" y="8719"/>
                    <a:pt x="13030" y="8742"/>
                  </a:cubicBezTo>
                  <a:cubicBezTo>
                    <a:pt x="13000" y="8761"/>
                    <a:pt x="12973" y="8787"/>
                    <a:pt x="12973" y="8797"/>
                  </a:cubicBezTo>
                  <a:cubicBezTo>
                    <a:pt x="12951" y="8801"/>
                    <a:pt x="12875" y="8883"/>
                    <a:pt x="12792" y="8970"/>
                  </a:cubicBezTo>
                  <a:cubicBezTo>
                    <a:pt x="12709" y="9058"/>
                    <a:pt x="12584" y="9194"/>
                    <a:pt x="12481" y="9265"/>
                  </a:cubicBezTo>
                  <a:cubicBezTo>
                    <a:pt x="12399" y="9340"/>
                    <a:pt x="12250" y="9466"/>
                    <a:pt x="12157" y="9545"/>
                  </a:cubicBezTo>
                  <a:cubicBezTo>
                    <a:pt x="12063" y="9625"/>
                    <a:pt x="11919" y="9767"/>
                    <a:pt x="11819" y="9858"/>
                  </a:cubicBezTo>
                  <a:cubicBezTo>
                    <a:pt x="11723" y="9949"/>
                    <a:pt x="11604" y="10081"/>
                    <a:pt x="11550" y="10150"/>
                  </a:cubicBezTo>
                  <a:cubicBezTo>
                    <a:pt x="11492" y="10217"/>
                    <a:pt x="11396" y="10321"/>
                    <a:pt x="11333" y="10380"/>
                  </a:cubicBezTo>
                  <a:cubicBezTo>
                    <a:pt x="11281" y="10440"/>
                    <a:pt x="11221" y="10478"/>
                    <a:pt x="11221" y="10468"/>
                  </a:cubicBezTo>
                  <a:cubicBezTo>
                    <a:pt x="11238" y="10460"/>
                    <a:pt x="11245" y="10425"/>
                    <a:pt x="11273" y="10395"/>
                  </a:cubicBezTo>
                  <a:cubicBezTo>
                    <a:pt x="11302" y="10365"/>
                    <a:pt x="11342" y="10314"/>
                    <a:pt x="11371" y="10283"/>
                  </a:cubicBezTo>
                  <a:cubicBezTo>
                    <a:pt x="11396" y="10252"/>
                    <a:pt x="11467" y="10177"/>
                    <a:pt x="11520" y="10115"/>
                  </a:cubicBezTo>
                  <a:cubicBezTo>
                    <a:pt x="11574" y="10053"/>
                    <a:pt x="11650" y="9973"/>
                    <a:pt x="11680" y="9934"/>
                  </a:cubicBezTo>
                  <a:cubicBezTo>
                    <a:pt x="11706" y="9895"/>
                    <a:pt x="11661" y="9925"/>
                    <a:pt x="11591" y="10002"/>
                  </a:cubicBezTo>
                  <a:cubicBezTo>
                    <a:pt x="11503" y="10076"/>
                    <a:pt x="11387" y="10194"/>
                    <a:pt x="11332" y="10264"/>
                  </a:cubicBezTo>
                  <a:cubicBezTo>
                    <a:pt x="11272" y="10333"/>
                    <a:pt x="11132" y="10477"/>
                    <a:pt x="11028" y="10587"/>
                  </a:cubicBezTo>
                  <a:cubicBezTo>
                    <a:pt x="10921" y="10695"/>
                    <a:pt x="10814" y="10829"/>
                    <a:pt x="10773" y="10881"/>
                  </a:cubicBezTo>
                  <a:cubicBezTo>
                    <a:pt x="10747" y="10935"/>
                    <a:pt x="10655" y="11025"/>
                    <a:pt x="10602" y="11087"/>
                  </a:cubicBezTo>
                  <a:cubicBezTo>
                    <a:pt x="10549" y="11149"/>
                    <a:pt x="10439" y="11278"/>
                    <a:pt x="10346" y="11373"/>
                  </a:cubicBezTo>
                  <a:cubicBezTo>
                    <a:pt x="10278" y="11471"/>
                    <a:pt x="10096" y="11657"/>
                    <a:pt x="9949" y="11787"/>
                  </a:cubicBezTo>
                  <a:cubicBezTo>
                    <a:pt x="9813" y="11920"/>
                    <a:pt x="9582" y="12150"/>
                    <a:pt x="9445" y="12300"/>
                  </a:cubicBezTo>
                  <a:cubicBezTo>
                    <a:pt x="9303" y="12449"/>
                    <a:pt x="9138" y="12622"/>
                    <a:pt x="9096" y="12686"/>
                  </a:cubicBezTo>
                  <a:cubicBezTo>
                    <a:pt x="9055" y="12751"/>
                    <a:pt x="8925" y="12885"/>
                    <a:pt x="8831" y="12989"/>
                  </a:cubicBezTo>
                  <a:cubicBezTo>
                    <a:pt x="8719" y="13089"/>
                    <a:pt x="8603" y="13254"/>
                    <a:pt x="8533" y="13348"/>
                  </a:cubicBezTo>
                  <a:cubicBezTo>
                    <a:pt x="8456" y="13441"/>
                    <a:pt x="8376" y="13557"/>
                    <a:pt x="8335" y="13602"/>
                  </a:cubicBezTo>
                  <a:cubicBezTo>
                    <a:pt x="8295" y="13648"/>
                    <a:pt x="8252" y="13704"/>
                    <a:pt x="8236" y="13726"/>
                  </a:cubicBezTo>
                  <a:cubicBezTo>
                    <a:pt x="8218" y="13748"/>
                    <a:pt x="8154" y="13826"/>
                    <a:pt x="8079" y="13897"/>
                  </a:cubicBezTo>
                  <a:cubicBezTo>
                    <a:pt x="8008" y="13968"/>
                    <a:pt x="7926" y="14067"/>
                    <a:pt x="7873" y="14112"/>
                  </a:cubicBezTo>
                  <a:cubicBezTo>
                    <a:pt x="7846" y="14162"/>
                    <a:pt x="7766" y="14229"/>
                    <a:pt x="7719" y="14262"/>
                  </a:cubicBezTo>
                  <a:cubicBezTo>
                    <a:pt x="7669" y="14294"/>
                    <a:pt x="7648" y="14303"/>
                    <a:pt x="7675" y="14279"/>
                  </a:cubicBezTo>
                  <a:cubicBezTo>
                    <a:pt x="7675" y="14252"/>
                    <a:pt x="7772" y="14177"/>
                    <a:pt x="7829" y="14105"/>
                  </a:cubicBezTo>
                  <a:cubicBezTo>
                    <a:pt x="7913" y="14039"/>
                    <a:pt x="7894" y="14017"/>
                    <a:pt x="7850" y="14068"/>
                  </a:cubicBezTo>
                  <a:cubicBezTo>
                    <a:pt x="7792" y="14116"/>
                    <a:pt x="7754" y="14149"/>
                    <a:pt x="7764" y="14141"/>
                  </a:cubicBezTo>
                  <a:cubicBezTo>
                    <a:pt x="7764" y="14131"/>
                    <a:pt x="7806" y="14066"/>
                    <a:pt x="7888" y="14003"/>
                  </a:cubicBezTo>
                  <a:cubicBezTo>
                    <a:pt x="7941" y="13935"/>
                    <a:pt x="8051" y="13821"/>
                    <a:pt x="8106" y="13747"/>
                  </a:cubicBezTo>
                  <a:cubicBezTo>
                    <a:pt x="8176" y="13675"/>
                    <a:pt x="8162" y="13658"/>
                    <a:pt x="8104" y="13713"/>
                  </a:cubicBezTo>
                  <a:cubicBezTo>
                    <a:pt x="8050" y="13770"/>
                    <a:pt x="7924" y="13885"/>
                    <a:pt x="7856" y="13973"/>
                  </a:cubicBezTo>
                  <a:cubicBezTo>
                    <a:pt x="7775" y="14058"/>
                    <a:pt x="7699" y="14158"/>
                    <a:pt x="7683" y="14192"/>
                  </a:cubicBezTo>
                  <a:cubicBezTo>
                    <a:pt x="7670" y="14226"/>
                    <a:pt x="7616" y="14306"/>
                    <a:pt x="7564" y="14367"/>
                  </a:cubicBezTo>
                  <a:cubicBezTo>
                    <a:pt x="7511" y="14428"/>
                    <a:pt x="7433" y="14504"/>
                    <a:pt x="7394" y="14538"/>
                  </a:cubicBezTo>
                  <a:cubicBezTo>
                    <a:pt x="7354" y="14572"/>
                    <a:pt x="7339" y="14561"/>
                    <a:pt x="7365" y="14517"/>
                  </a:cubicBezTo>
                  <a:cubicBezTo>
                    <a:pt x="7402" y="14475"/>
                    <a:pt x="7474" y="14383"/>
                    <a:pt x="7529" y="14313"/>
                  </a:cubicBezTo>
                  <a:cubicBezTo>
                    <a:pt x="7596" y="14245"/>
                    <a:pt x="7605" y="14220"/>
                    <a:pt x="7566" y="14258"/>
                  </a:cubicBezTo>
                  <a:cubicBezTo>
                    <a:pt x="7527" y="14296"/>
                    <a:pt x="7461" y="14344"/>
                    <a:pt x="7444" y="14367"/>
                  </a:cubicBezTo>
                  <a:cubicBezTo>
                    <a:pt x="7412" y="14387"/>
                    <a:pt x="7347" y="14449"/>
                    <a:pt x="7320" y="14505"/>
                  </a:cubicBezTo>
                  <a:cubicBezTo>
                    <a:pt x="7265" y="14558"/>
                    <a:pt x="7206" y="14652"/>
                    <a:pt x="7176" y="14713"/>
                  </a:cubicBezTo>
                  <a:cubicBezTo>
                    <a:pt x="7126" y="14771"/>
                    <a:pt x="7048" y="14903"/>
                    <a:pt x="6954" y="15000"/>
                  </a:cubicBezTo>
                  <a:cubicBezTo>
                    <a:pt x="6871" y="15099"/>
                    <a:pt x="6635" y="15350"/>
                    <a:pt x="6430" y="15557"/>
                  </a:cubicBezTo>
                  <a:cubicBezTo>
                    <a:pt x="6238" y="15766"/>
                    <a:pt x="6039" y="15955"/>
                    <a:pt x="6024" y="15981"/>
                  </a:cubicBezTo>
                  <a:cubicBezTo>
                    <a:pt x="5999" y="16007"/>
                    <a:pt x="5913" y="16115"/>
                    <a:pt x="5809" y="16219"/>
                  </a:cubicBezTo>
                  <a:cubicBezTo>
                    <a:pt x="5713" y="16323"/>
                    <a:pt x="5538" y="16509"/>
                    <a:pt x="5427" y="16631"/>
                  </a:cubicBezTo>
                  <a:cubicBezTo>
                    <a:pt x="5317" y="16754"/>
                    <a:pt x="5162" y="16903"/>
                    <a:pt x="5103" y="16966"/>
                  </a:cubicBezTo>
                  <a:cubicBezTo>
                    <a:pt x="5037" y="17027"/>
                    <a:pt x="4809" y="17257"/>
                    <a:pt x="4576" y="17472"/>
                  </a:cubicBezTo>
                  <a:cubicBezTo>
                    <a:pt x="4354" y="17689"/>
                    <a:pt x="4129" y="17891"/>
                    <a:pt x="4101" y="17925"/>
                  </a:cubicBezTo>
                  <a:cubicBezTo>
                    <a:pt x="4053" y="17956"/>
                    <a:pt x="3997" y="18029"/>
                    <a:pt x="3943" y="18079"/>
                  </a:cubicBezTo>
                  <a:cubicBezTo>
                    <a:pt x="3885" y="18128"/>
                    <a:pt x="3805" y="18230"/>
                    <a:pt x="3721" y="18296"/>
                  </a:cubicBezTo>
                  <a:cubicBezTo>
                    <a:pt x="3665" y="18367"/>
                    <a:pt x="3536" y="18483"/>
                    <a:pt x="3454" y="18558"/>
                  </a:cubicBezTo>
                  <a:cubicBezTo>
                    <a:pt x="3389" y="18635"/>
                    <a:pt x="3289" y="18736"/>
                    <a:pt x="3230" y="18779"/>
                  </a:cubicBezTo>
                  <a:cubicBezTo>
                    <a:pt x="3177" y="18824"/>
                    <a:pt x="3101" y="18898"/>
                    <a:pt x="3044" y="18940"/>
                  </a:cubicBezTo>
                  <a:cubicBezTo>
                    <a:pt x="2987" y="18982"/>
                    <a:pt x="2943" y="19028"/>
                    <a:pt x="2930" y="19039"/>
                  </a:cubicBezTo>
                  <a:cubicBezTo>
                    <a:pt x="2930" y="19051"/>
                    <a:pt x="2879" y="19111"/>
                    <a:pt x="2797" y="19163"/>
                  </a:cubicBezTo>
                  <a:cubicBezTo>
                    <a:pt x="2742" y="19221"/>
                    <a:pt x="2600" y="19337"/>
                    <a:pt x="2504" y="19424"/>
                  </a:cubicBezTo>
                  <a:cubicBezTo>
                    <a:pt x="2408" y="19511"/>
                    <a:pt x="2280" y="19618"/>
                    <a:pt x="2225" y="19664"/>
                  </a:cubicBezTo>
                  <a:cubicBezTo>
                    <a:pt x="2181" y="19713"/>
                    <a:pt x="2114" y="19765"/>
                    <a:pt x="2086" y="19783"/>
                  </a:cubicBezTo>
                  <a:cubicBezTo>
                    <a:pt x="2063" y="19802"/>
                    <a:pt x="1994" y="19863"/>
                    <a:pt x="1934" y="19919"/>
                  </a:cubicBezTo>
                  <a:cubicBezTo>
                    <a:pt x="1864" y="19972"/>
                    <a:pt x="1781" y="20052"/>
                    <a:pt x="1728" y="20091"/>
                  </a:cubicBezTo>
                  <a:cubicBezTo>
                    <a:pt x="1686" y="20132"/>
                    <a:pt x="1583" y="20198"/>
                    <a:pt x="1546" y="20246"/>
                  </a:cubicBezTo>
                  <a:cubicBezTo>
                    <a:pt x="1505" y="20292"/>
                    <a:pt x="1372" y="20388"/>
                    <a:pt x="1281" y="20465"/>
                  </a:cubicBezTo>
                  <a:cubicBezTo>
                    <a:pt x="1178" y="20541"/>
                    <a:pt x="1117" y="20596"/>
                    <a:pt x="1117" y="20584"/>
                  </a:cubicBezTo>
                  <a:cubicBezTo>
                    <a:pt x="1117" y="20572"/>
                    <a:pt x="1039" y="20641"/>
                    <a:pt x="921" y="20734"/>
                  </a:cubicBezTo>
                  <a:cubicBezTo>
                    <a:pt x="810" y="20828"/>
                    <a:pt x="614" y="21000"/>
                    <a:pt x="474" y="21113"/>
                  </a:cubicBezTo>
                  <a:cubicBezTo>
                    <a:pt x="349" y="21230"/>
                    <a:pt x="223" y="21330"/>
                    <a:pt x="223" y="21340"/>
                  </a:cubicBezTo>
                  <a:cubicBezTo>
                    <a:pt x="204" y="21348"/>
                    <a:pt x="228" y="21350"/>
                    <a:pt x="244" y="21336"/>
                  </a:cubicBezTo>
                  <a:cubicBezTo>
                    <a:pt x="264" y="21324"/>
                    <a:pt x="262" y="21351"/>
                    <a:pt x="216" y="21390"/>
                  </a:cubicBezTo>
                  <a:cubicBezTo>
                    <a:pt x="188" y="21432"/>
                    <a:pt x="118" y="21489"/>
                    <a:pt x="87" y="21519"/>
                  </a:cubicBezTo>
                  <a:cubicBezTo>
                    <a:pt x="58" y="21551"/>
                    <a:pt x="7" y="21582"/>
                    <a:pt x="7" y="21592"/>
                  </a:cubicBezTo>
                  <a:cubicBezTo>
                    <a:pt x="-11" y="21600"/>
                    <a:pt x="7" y="21600"/>
                    <a:pt x="30" y="21586"/>
                  </a:cubicBezTo>
                  <a:cubicBezTo>
                    <a:pt x="56" y="21575"/>
                    <a:pt x="44" y="21572"/>
                    <a:pt x="44" y="21587"/>
                  </a:cubicBezTo>
                  <a:cubicBezTo>
                    <a:pt x="20" y="21597"/>
                    <a:pt x="45" y="21597"/>
                    <a:pt x="73" y="21579"/>
                  </a:cubicBezTo>
                  <a:cubicBezTo>
                    <a:pt x="101" y="21560"/>
                    <a:pt x="139" y="21534"/>
                    <a:pt x="162" y="21520"/>
                  </a:cubicBezTo>
                  <a:cubicBezTo>
                    <a:pt x="179" y="21504"/>
                    <a:pt x="190" y="21501"/>
                    <a:pt x="180" y="21510"/>
                  </a:cubicBezTo>
                  <a:cubicBezTo>
                    <a:pt x="162" y="21518"/>
                    <a:pt x="174" y="21514"/>
                    <a:pt x="201" y="21502"/>
                  </a:cubicBezTo>
                  <a:cubicBezTo>
                    <a:pt x="225" y="21488"/>
                    <a:pt x="274" y="21447"/>
                    <a:pt x="325" y="21416"/>
                  </a:cubicBezTo>
                  <a:cubicBezTo>
                    <a:pt x="345" y="21405"/>
                    <a:pt x="354" y="21401"/>
                    <a:pt x="364" y="21395"/>
                  </a:cubicBezTo>
                  <a:cubicBezTo>
                    <a:pt x="366" y="21393"/>
                    <a:pt x="363" y="21395"/>
                    <a:pt x="367" y="21392"/>
                  </a:cubicBezTo>
                  <a:cubicBezTo>
                    <a:pt x="381" y="21385"/>
                    <a:pt x="381" y="21386"/>
                    <a:pt x="379" y="21387"/>
                  </a:cubicBezTo>
                  <a:cubicBezTo>
                    <a:pt x="382" y="21384"/>
                    <a:pt x="383" y="21384"/>
                    <a:pt x="388" y="21380"/>
                  </a:cubicBezTo>
                  <a:cubicBezTo>
                    <a:pt x="426" y="21353"/>
                    <a:pt x="447" y="21332"/>
                    <a:pt x="447" y="21335"/>
                  </a:cubicBezTo>
                  <a:cubicBezTo>
                    <a:pt x="447" y="21339"/>
                    <a:pt x="487" y="21312"/>
                    <a:pt x="531" y="21275"/>
                  </a:cubicBezTo>
                  <a:cubicBezTo>
                    <a:pt x="586" y="21241"/>
                    <a:pt x="658" y="21190"/>
                    <a:pt x="685" y="21162"/>
                  </a:cubicBezTo>
                  <a:cubicBezTo>
                    <a:pt x="732" y="21137"/>
                    <a:pt x="767" y="21090"/>
                    <a:pt x="805" y="21068"/>
                  </a:cubicBezTo>
                  <a:cubicBezTo>
                    <a:pt x="839" y="21044"/>
                    <a:pt x="877" y="21006"/>
                    <a:pt x="906" y="20987"/>
                  </a:cubicBezTo>
                  <a:cubicBezTo>
                    <a:pt x="935" y="20969"/>
                    <a:pt x="1020" y="20905"/>
                    <a:pt x="1087" y="20843"/>
                  </a:cubicBezTo>
                  <a:cubicBezTo>
                    <a:pt x="1159" y="20781"/>
                    <a:pt x="1249" y="20717"/>
                    <a:pt x="1273" y="20696"/>
                  </a:cubicBezTo>
                  <a:cubicBezTo>
                    <a:pt x="1298" y="20676"/>
                    <a:pt x="1354" y="20634"/>
                    <a:pt x="1392" y="20603"/>
                  </a:cubicBezTo>
                  <a:cubicBezTo>
                    <a:pt x="1429" y="20571"/>
                    <a:pt x="1498" y="20516"/>
                    <a:pt x="1542" y="20479"/>
                  </a:cubicBezTo>
                  <a:cubicBezTo>
                    <a:pt x="1587" y="20442"/>
                    <a:pt x="1642" y="20402"/>
                    <a:pt x="1659" y="20388"/>
                  </a:cubicBezTo>
                  <a:cubicBezTo>
                    <a:pt x="1670" y="20373"/>
                    <a:pt x="1686" y="20377"/>
                    <a:pt x="1664" y="20392"/>
                  </a:cubicBezTo>
                  <a:cubicBezTo>
                    <a:pt x="1664" y="20408"/>
                    <a:pt x="1696" y="20376"/>
                    <a:pt x="1755" y="20321"/>
                  </a:cubicBezTo>
                  <a:cubicBezTo>
                    <a:pt x="1825" y="20267"/>
                    <a:pt x="1879" y="20221"/>
                    <a:pt x="1876" y="20221"/>
                  </a:cubicBezTo>
                  <a:cubicBezTo>
                    <a:pt x="1876" y="20220"/>
                    <a:pt x="1910" y="20206"/>
                    <a:pt x="1922" y="20186"/>
                  </a:cubicBezTo>
                  <a:cubicBezTo>
                    <a:pt x="1937" y="20166"/>
                    <a:pt x="2010" y="20112"/>
                    <a:pt x="2068" y="20064"/>
                  </a:cubicBezTo>
                  <a:cubicBezTo>
                    <a:pt x="2125" y="20015"/>
                    <a:pt x="2282" y="19883"/>
                    <a:pt x="2420" y="19772"/>
                  </a:cubicBezTo>
                  <a:cubicBezTo>
                    <a:pt x="2558" y="19661"/>
                    <a:pt x="2673" y="19556"/>
                    <a:pt x="2699" y="19546"/>
                  </a:cubicBezTo>
                  <a:cubicBezTo>
                    <a:pt x="2699" y="19530"/>
                    <a:pt x="2735" y="19527"/>
                    <a:pt x="2727" y="19527"/>
                  </a:cubicBezTo>
                  <a:cubicBezTo>
                    <a:pt x="2722" y="19529"/>
                    <a:pt x="2757" y="19501"/>
                    <a:pt x="2807" y="19463"/>
                  </a:cubicBezTo>
                  <a:cubicBezTo>
                    <a:pt x="2847" y="19424"/>
                    <a:pt x="2965" y="19340"/>
                    <a:pt x="3040" y="19271"/>
                  </a:cubicBezTo>
                  <a:cubicBezTo>
                    <a:pt x="3121" y="19203"/>
                    <a:pt x="3187" y="19162"/>
                    <a:pt x="3163" y="19173"/>
                  </a:cubicBezTo>
                  <a:cubicBezTo>
                    <a:pt x="3163" y="19187"/>
                    <a:pt x="3191" y="19163"/>
                    <a:pt x="3231" y="19117"/>
                  </a:cubicBezTo>
                  <a:cubicBezTo>
                    <a:pt x="3299" y="19077"/>
                    <a:pt x="3320" y="19040"/>
                    <a:pt x="3320" y="19044"/>
                  </a:cubicBezTo>
                  <a:cubicBezTo>
                    <a:pt x="3320" y="19048"/>
                    <a:pt x="3317" y="19039"/>
                    <a:pt x="3339" y="19030"/>
                  </a:cubicBezTo>
                  <a:cubicBezTo>
                    <a:pt x="3351" y="19019"/>
                    <a:pt x="3388" y="18982"/>
                    <a:pt x="3431" y="18953"/>
                  </a:cubicBezTo>
                  <a:cubicBezTo>
                    <a:pt x="3457" y="18920"/>
                    <a:pt x="3473" y="18923"/>
                    <a:pt x="3435" y="18951"/>
                  </a:cubicBezTo>
                  <a:cubicBezTo>
                    <a:pt x="3447" y="18941"/>
                    <a:pt x="3460" y="18929"/>
                    <a:pt x="3475" y="18918"/>
                  </a:cubicBezTo>
                  <a:cubicBezTo>
                    <a:pt x="3510" y="18889"/>
                    <a:pt x="3514" y="18873"/>
                    <a:pt x="3514" y="18886"/>
                  </a:cubicBezTo>
                  <a:cubicBezTo>
                    <a:pt x="3487" y="18892"/>
                    <a:pt x="3511" y="18877"/>
                    <a:pt x="3561" y="18846"/>
                  </a:cubicBezTo>
                  <a:cubicBezTo>
                    <a:pt x="3593" y="18812"/>
                    <a:pt x="3652" y="18755"/>
                    <a:pt x="3703" y="18723"/>
                  </a:cubicBezTo>
                  <a:cubicBezTo>
                    <a:pt x="3732" y="18686"/>
                    <a:pt x="3919" y="18722"/>
                    <a:pt x="3907" y="18759"/>
                  </a:cubicBezTo>
                  <a:cubicBezTo>
                    <a:pt x="3895" y="18797"/>
                    <a:pt x="3915" y="18833"/>
                    <a:pt x="3951" y="18839"/>
                  </a:cubicBezTo>
                  <a:cubicBezTo>
                    <a:pt x="3986" y="18845"/>
                    <a:pt x="4111" y="18812"/>
                    <a:pt x="4226" y="18765"/>
                  </a:cubicBezTo>
                  <a:cubicBezTo>
                    <a:pt x="4343" y="18719"/>
                    <a:pt x="4533" y="18691"/>
                    <a:pt x="4647" y="18704"/>
                  </a:cubicBezTo>
                  <a:cubicBezTo>
                    <a:pt x="4763" y="18717"/>
                    <a:pt x="4972" y="18696"/>
                    <a:pt x="5113" y="18655"/>
                  </a:cubicBezTo>
                  <a:cubicBezTo>
                    <a:pt x="5251" y="18615"/>
                    <a:pt x="5409" y="18537"/>
                    <a:pt x="5461" y="18483"/>
                  </a:cubicBezTo>
                  <a:cubicBezTo>
                    <a:pt x="5512" y="18430"/>
                    <a:pt x="5598" y="18380"/>
                    <a:pt x="5650" y="18374"/>
                  </a:cubicBezTo>
                  <a:cubicBezTo>
                    <a:pt x="5694" y="18367"/>
                    <a:pt x="5800" y="18332"/>
                    <a:pt x="5899" y="18292"/>
                  </a:cubicBezTo>
                  <a:cubicBezTo>
                    <a:pt x="12234" y="12641"/>
                    <a:pt x="17502" y="6735"/>
                    <a:pt x="21589" y="620"/>
                  </a:cubicBezTo>
                  <a:cubicBezTo>
                    <a:pt x="21575" y="616"/>
                    <a:pt x="21562" y="611"/>
                    <a:pt x="21548" y="607"/>
                  </a:cubicBezTo>
                  <a:close/>
                  <a:moveTo>
                    <a:pt x="21548" y="6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5" name="AutoShape 927"/>
            <p:cNvSpPr>
              <a:spLocks/>
            </p:cNvSpPr>
            <p:nvPr/>
          </p:nvSpPr>
          <p:spPr bwMode="auto">
            <a:xfrm>
              <a:off x="6540500" y="2095500"/>
              <a:ext cx="6350" cy="7938"/>
            </a:xfrm>
            <a:custGeom>
              <a:avLst/>
              <a:gdLst/>
              <a:ahLst/>
              <a:cxnLst/>
              <a:rect l="0" t="0" r="r" b="b"/>
              <a:pathLst>
                <a:path w="20400" h="20184">
                  <a:moveTo>
                    <a:pt x="13392" y="18927"/>
                  </a:moveTo>
                  <a:cubicBezTo>
                    <a:pt x="18055" y="16887"/>
                    <a:pt x="20871" y="11439"/>
                    <a:pt x="20335" y="6953"/>
                  </a:cubicBezTo>
                  <a:cubicBezTo>
                    <a:pt x="19820" y="2470"/>
                    <a:pt x="15918" y="-535"/>
                    <a:pt x="12286" y="80"/>
                  </a:cubicBezTo>
                  <a:cubicBezTo>
                    <a:pt x="8566" y="595"/>
                    <a:pt x="3743" y="3797"/>
                    <a:pt x="1711" y="6953"/>
                  </a:cubicBezTo>
                  <a:cubicBezTo>
                    <a:pt x="-248" y="10126"/>
                    <a:pt x="-729" y="14916"/>
                    <a:pt x="1352" y="17668"/>
                  </a:cubicBezTo>
                  <a:cubicBezTo>
                    <a:pt x="3527" y="20367"/>
                    <a:pt x="8744" y="21065"/>
                    <a:pt x="13392" y="18927"/>
                  </a:cubicBezTo>
                  <a:close/>
                  <a:moveTo>
                    <a:pt x="13392" y="189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6" name="AutoShape 928"/>
            <p:cNvSpPr>
              <a:spLocks/>
            </p:cNvSpPr>
            <p:nvPr/>
          </p:nvSpPr>
          <p:spPr bwMode="auto">
            <a:xfrm>
              <a:off x="6413500" y="1917700"/>
              <a:ext cx="387350" cy="177800"/>
            </a:xfrm>
            <a:custGeom>
              <a:avLst/>
              <a:gdLst/>
              <a:ahLst/>
              <a:cxnLst/>
              <a:rect l="0" t="0" r="r" b="b"/>
              <a:pathLst>
                <a:path w="21528" h="21545">
                  <a:moveTo>
                    <a:pt x="3688" y="19517"/>
                  </a:moveTo>
                  <a:cubicBezTo>
                    <a:pt x="3910" y="19540"/>
                    <a:pt x="4227" y="19362"/>
                    <a:pt x="4395" y="19145"/>
                  </a:cubicBezTo>
                  <a:cubicBezTo>
                    <a:pt x="4558" y="18907"/>
                    <a:pt x="4807" y="18822"/>
                    <a:pt x="4938" y="18934"/>
                  </a:cubicBezTo>
                  <a:cubicBezTo>
                    <a:pt x="5069" y="19044"/>
                    <a:pt x="5264" y="19034"/>
                    <a:pt x="5371" y="18917"/>
                  </a:cubicBezTo>
                  <a:cubicBezTo>
                    <a:pt x="5479" y="18806"/>
                    <a:pt x="5584" y="18802"/>
                    <a:pt x="5603" y="18928"/>
                  </a:cubicBezTo>
                  <a:cubicBezTo>
                    <a:pt x="5628" y="19049"/>
                    <a:pt x="5708" y="19180"/>
                    <a:pt x="5792" y="19212"/>
                  </a:cubicBezTo>
                  <a:cubicBezTo>
                    <a:pt x="5875" y="19240"/>
                    <a:pt x="6062" y="19196"/>
                    <a:pt x="6207" y="19094"/>
                  </a:cubicBezTo>
                  <a:cubicBezTo>
                    <a:pt x="6351" y="18987"/>
                    <a:pt x="6459" y="19115"/>
                    <a:pt x="6432" y="19351"/>
                  </a:cubicBezTo>
                  <a:cubicBezTo>
                    <a:pt x="6408" y="19591"/>
                    <a:pt x="6514" y="19973"/>
                    <a:pt x="6657" y="20220"/>
                  </a:cubicBezTo>
                  <a:cubicBezTo>
                    <a:pt x="6802" y="20459"/>
                    <a:pt x="7008" y="20718"/>
                    <a:pt x="7115" y="20798"/>
                  </a:cubicBezTo>
                  <a:cubicBezTo>
                    <a:pt x="7221" y="20878"/>
                    <a:pt x="7404" y="20814"/>
                    <a:pt x="7514" y="20638"/>
                  </a:cubicBezTo>
                  <a:cubicBezTo>
                    <a:pt x="7625" y="20466"/>
                    <a:pt x="7823" y="20335"/>
                    <a:pt x="7952" y="20340"/>
                  </a:cubicBezTo>
                  <a:cubicBezTo>
                    <a:pt x="8080" y="20346"/>
                    <a:pt x="8356" y="20607"/>
                    <a:pt x="8563" y="20937"/>
                  </a:cubicBezTo>
                  <a:cubicBezTo>
                    <a:pt x="8771" y="21262"/>
                    <a:pt x="9177" y="21494"/>
                    <a:pt x="9465" y="21465"/>
                  </a:cubicBezTo>
                  <a:cubicBezTo>
                    <a:pt x="9753" y="21416"/>
                    <a:pt x="10080" y="21456"/>
                    <a:pt x="10193" y="21518"/>
                  </a:cubicBezTo>
                  <a:cubicBezTo>
                    <a:pt x="10306" y="21572"/>
                    <a:pt x="10549" y="21544"/>
                    <a:pt x="10735" y="21440"/>
                  </a:cubicBezTo>
                  <a:cubicBezTo>
                    <a:pt x="10921" y="21339"/>
                    <a:pt x="11060" y="21037"/>
                    <a:pt x="11039" y="20784"/>
                  </a:cubicBezTo>
                  <a:cubicBezTo>
                    <a:pt x="11013" y="20534"/>
                    <a:pt x="11041" y="20224"/>
                    <a:pt x="11091" y="20122"/>
                  </a:cubicBezTo>
                  <a:cubicBezTo>
                    <a:pt x="11136" y="20008"/>
                    <a:pt x="11203" y="20030"/>
                    <a:pt x="11233" y="20169"/>
                  </a:cubicBezTo>
                  <a:cubicBezTo>
                    <a:pt x="11271" y="20300"/>
                    <a:pt x="11415" y="20469"/>
                    <a:pt x="11567" y="20514"/>
                  </a:cubicBezTo>
                  <a:cubicBezTo>
                    <a:pt x="11719" y="20571"/>
                    <a:pt x="11970" y="20403"/>
                    <a:pt x="12125" y="20153"/>
                  </a:cubicBezTo>
                  <a:cubicBezTo>
                    <a:pt x="12283" y="19909"/>
                    <a:pt x="12416" y="19466"/>
                    <a:pt x="12436" y="19187"/>
                  </a:cubicBezTo>
                  <a:cubicBezTo>
                    <a:pt x="12451" y="18905"/>
                    <a:pt x="12612" y="18636"/>
                    <a:pt x="12791" y="18592"/>
                  </a:cubicBezTo>
                  <a:cubicBezTo>
                    <a:pt x="12970" y="18540"/>
                    <a:pt x="13061" y="18625"/>
                    <a:pt x="12995" y="18769"/>
                  </a:cubicBezTo>
                  <a:cubicBezTo>
                    <a:pt x="12928" y="18914"/>
                    <a:pt x="12907" y="19125"/>
                    <a:pt x="12958" y="19219"/>
                  </a:cubicBezTo>
                  <a:cubicBezTo>
                    <a:pt x="13003" y="19327"/>
                    <a:pt x="13092" y="19322"/>
                    <a:pt x="13147" y="19204"/>
                  </a:cubicBezTo>
                  <a:cubicBezTo>
                    <a:pt x="13205" y="19095"/>
                    <a:pt x="13335" y="18960"/>
                    <a:pt x="13441" y="18929"/>
                  </a:cubicBezTo>
                  <a:cubicBezTo>
                    <a:pt x="13546" y="18883"/>
                    <a:pt x="13736" y="18620"/>
                    <a:pt x="13868" y="18344"/>
                  </a:cubicBezTo>
                  <a:cubicBezTo>
                    <a:pt x="14000" y="18069"/>
                    <a:pt x="14159" y="17875"/>
                    <a:pt x="14221" y="17937"/>
                  </a:cubicBezTo>
                  <a:cubicBezTo>
                    <a:pt x="14287" y="17985"/>
                    <a:pt x="14377" y="18022"/>
                    <a:pt x="14422" y="17988"/>
                  </a:cubicBezTo>
                  <a:cubicBezTo>
                    <a:pt x="14467" y="17958"/>
                    <a:pt x="14600" y="17932"/>
                    <a:pt x="14716" y="17943"/>
                  </a:cubicBezTo>
                  <a:cubicBezTo>
                    <a:pt x="14833" y="17943"/>
                    <a:pt x="14916" y="18002"/>
                    <a:pt x="14921" y="18063"/>
                  </a:cubicBezTo>
                  <a:cubicBezTo>
                    <a:pt x="14921" y="18125"/>
                    <a:pt x="14960" y="18114"/>
                    <a:pt x="15020" y="18056"/>
                  </a:cubicBezTo>
                  <a:cubicBezTo>
                    <a:pt x="15080" y="17996"/>
                    <a:pt x="15373" y="17593"/>
                    <a:pt x="15666" y="17147"/>
                  </a:cubicBezTo>
                  <a:cubicBezTo>
                    <a:pt x="15962" y="16713"/>
                    <a:pt x="16302" y="16161"/>
                    <a:pt x="16412" y="15900"/>
                  </a:cubicBezTo>
                  <a:cubicBezTo>
                    <a:pt x="16523" y="15642"/>
                    <a:pt x="16901" y="15331"/>
                    <a:pt x="17246" y="15203"/>
                  </a:cubicBezTo>
                  <a:cubicBezTo>
                    <a:pt x="17590" y="15066"/>
                    <a:pt x="17926" y="14843"/>
                    <a:pt x="17999" y="14713"/>
                  </a:cubicBezTo>
                  <a:cubicBezTo>
                    <a:pt x="18064" y="14567"/>
                    <a:pt x="18100" y="14380"/>
                    <a:pt x="18068" y="14282"/>
                  </a:cubicBezTo>
                  <a:cubicBezTo>
                    <a:pt x="18036" y="14185"/>
                    <a:pt x="18029" y="13977"/>
                    <a:pt x="18050" y="13827"/>
                  </a:cubicBezTo>
                  <a:cubicBezTo>
                    <a:pt x="18066" y="13674"/>
                    <a:pt x="18139" y="13539"/>
                    <a:pt x="18203" y="13568"/>
                  </a:cubicBezTo>
                  <a:cubicBezTo>
                    <a:pt x="18267" y="13568"/>
                    <a:pt x="18342" y="13717"/>
                    <a:pt x="18370" y="13881"/>
                  </a:cubicBezTo>
                  <a:cubicBezTo>
                    <a:pt x="18391" y="14048"/>
                    <a:pt x="18556" y="14252"/>
                    <a:pt x="18727" y="14339"/>
                  </a:cubicBezTo>
                  <a:cubicBezTo>
                    <a:pt x="18896" y="14431"/>
                    <a:pt x="19117" y="14343"/>
                    <a:pt x="19222" y="14163"/>
                  </a:cubicBezTo>
                  <a:cubicBezTo>
                    <a:pt x="19323" y="13977"/>
                    <a:pt x="19417" y="13711"/>
                    <a:pt x="19442" y="13577"/>
                  </a:cubicBezTo>
                  <a:cubicBezTo>
                    <a:pt x="19463" y="13439"/>
                    <a:pt x="19446" y="13260"/>
                    <a:pt x="19403" y="13189"/>
                  </a:cubicBezTo>
                  <a:cubicBezTo>
                    <a:pt x="19360" y="13122"/>
                    <a:pt x="19346" y="12940"/>
                    <a:pt x="19360" y="12796"/>
                  </a:cubicBezTo>
                  <a:cubicBezTo>
                    <a:pt x="19380" y="12657"/>
                    <a:pt x="19456" y="12497"/>
                    <a:pt x="19537" y="12464"/>
                  </a:cubicBezTo>
                  <a:cubicBezTo>
                    <a:pt x="19617" y="12424"/>
                    <a:pt x="19640" y="12165"/>
                    <a:pt x="19581" y="11898"/>
                  </a:cubicBezTo>
                  <a:cubicBezTo>
                    <a:pt x="19525" y="11631"/>
                    <a:pt x="19525" y="11316"/>
                    <a:pt x="19583" y="11213"/>
                  </a:cubicBezTo>
                  <a:cubicBezTo>
                    <a:pt x="19640" y="11107"/>
                    <a:pt x="19782" y="11097"/>
                    <a:pt x="19893" y="11218"/>
                  </a:cubicBezTo>
                  <a:cubicBezTo>
                    <a:pt x="20011" y="11313"/>
                    <a:pt x="20117" y="11564"/>
                    <a:pt x="20142" y="11737"/>
                  </a:cubicBezTo>
                  <a:cubicBezTo>
                    <a:pt x="20165" y="11913"/>
                    <a:pt x="20273" y="12029"/>
                    <a:pt x="20385" y="11996"/>
                  </a:cubicBezTo>
                  <a:cubicBezTo>
                    <a:pt x="20498" y="11975"/>
                    <a:pt x="20654" y="11742"/>
                    <a:pt x="20731" y="11504"/>
                  </a:cubicBezTo>
                  <a:cubicBezTo>
                    <a:pt x="20806" y="11263"/>
                    <a:pt x="20839" y="10917"/>
                    <a:pt x="20805" y="10720"/>
                  </a:cubicBezTo>
                  <a:cubicBezTo>
                    <a:pt x="20775" y="10521"/>
                    <a:pt x="20646" y="10189"/>
                    <a:pt x="20523" y="10001"/>
                  </a:cubicBezTo>
                  <a:cubicBezTo>
                    <a:pt x="20401" y="9808"/>
                    <a:pt x="20310" y="9456"/>
                    <a:pt x="20305" y="9237"/>
                  </a:cubicBezTo>
                  <a:cubicBezTo>
                    <a:pt x="20305" y="9018"/>
                    <a:pt x="20367" y="8765"/>
                    <a:pt x="20440" y="8653"/>
                  </a:cubicBezTo>
                  <a:cubicBezTo>
                    <a:pt x="20513" y="8544"/>
                    <a:pt x="20575" y="8303"/>
                    <a:pt x="20565" y="8105"/>
                  </a:cubicBezTo>
                  <a:cubicBezTo>
                    <a:pt x="20565" y="7909"/>
                    <a:pt x="20648" y="7649"/>
                    <a:pt x="20769" y="7557"/>
                  </a:cubicBezTo>
                  <a:cubicBezTo>
                    <a:pt x="20887" y="7435"/>
                    <a:pt x="21075" y="7361"/>
                    <a:pt x="21180" y="7350"/>
                  </a:cubicBezTo>
                  <a:cubicBezTo>
                    <a:pt x="21287" y="7368"/>
                    <a:pt x="21434" y="7221"/>
                    <a:pt x="21494" y="7054"/>
                  </a:cubicBezTo>
                  <a:cubicBezTo>
                    <a:pt x="21560" y="6900"/>
                    <a:pt x="21528" y="6621"/>
                    <a:pt x="21412" y="6457"/>
                  </a:cubicBezTo>
                  <a:cubicBezTo>
                    <a:pt x="21301" y="6282"/>
                    <a:pt x="20990" y="6111"/>
                    <a:pt x="20719" y="6100"/>
                  </a:cubicBezTo>
                  <a:cubicBezTo>
                    <a:pt x="20449" y="6066"/>
                    <a:pt x="20157" y="6151"/>
                    <a:pt x="20068" y="6263"/>
                  </a:cubicBezTo>
                  <a:cubicBezTo>
                    <a:pt x="19978" y="6360"/>
                    <a:pt x="19973" y="6304"/>
                    <a:pt x="20045" y="6099"/>
                  </a:cubicBezTo>
                  <a:cubicBezTo>
                    <a:pt x="20123" y="5906"/>
                    <a:pt x="20175" y="5603"/>
                    <a:pt x="20153" y="5452"/>
                  </a:cubicBezTo>
                  <a:cubicBezTo>
                    <a:pt x="20142" y="5295"/>
                    <a:pt x="20001" y="5176"/>
                    <a:pt x="19849" y="5148"/>
                  </a:cubicBezTo>
                  <a:cubicBezTo>
                    <a:pt x="19697" y="5160"/>
                    <a:pt x="19537" y="5167"/>
                    <a:pt x="19499" y="5232"/>
                  </a:cubicBezTo>
                  <a:cubicBezTo>
                    <a:pt x="19460" y="5292"/>
                    <a:pt x="19391" y="5172"/>
                    <a:pt x="19343" y="4978"/>
                  </a:cubicBezTo>
                  <a:cubicBezTo>
                    <a:pt x="19295" y="4784"/>
                    <a:pt x="19343" y="4469"/>
                    <a:pt x="19440" y="4271"/>
                  </a:cubicBezTo>
                  <a:cubicBezTo>
                    <a:pt x="19540" y="4085"/>
                    <a:pt x="19702" y="3882"/>
                    <a:pt x="19804" y="3819"/>
                  </a:cubicBezTo>
                  <a:cubicBezTo>
                    <a:pt x="19904" y="3755"/>
                    <a:pt x="19977" y="3487"/>
                    <a:pt x="19956" y="3210"/>
                  </a:cubicBezTo>
                  <a:cubicBezTo>
                    <a:pt x="19931" y="2934"/>
                    <a:pt x="19872" y="2655"/>
                    <a:pt x="19806" y="2599"/>
                  </a:cubicBezTo>
                  <a:cubicBezTo>
                    <a:pt x="19740" y="2547"/>
                    <a:pt x="19613" y="2593"/>
                    <a:pt x="19519" y="2707"/>
                  </a:cubicBezTo>
                  <a:cubicBezTo>
                    <a:pt x="19431" y="2840"/>
                    <a:pt x="19263" y="2856"/>
                    <a:pt x="19152" y="2799"/>
                  </a:cubicBezTo>
                  <a:cubicBezTo>
                    <a:pt x="19043" y="2734"/>
                    <a:pt x="18912" y="2520"/>
                    <a:pt x="18863" y="2323"/>
                  </a:cubicBezTo>
                  <a:cubicBezTo>
                    <a:pt x="18812" y="2130"/>
                    <a:pt x="18872" y="1889"/>
                    <a:pt x="18998" y="1803"/>
                  </a:cubicBezTo>
                  <a:cubicBezTo>
                    <a:pt x="19121" y="1714"/>
                    <a:pt x="19229" y="1497"/>
                    <a:pt x="19253" y="1341"/>
                  </a:cubicBezTo>
                  <a:cubicBezTo>
                    <a:pt x="19269" y="1178"/>
                    <a:pt x="19336" y="976"/>
                    <a:pt x="19399" y="892"/>
                  </a:cubicBezTo>
                  <a:cubicBezTo>
                    <a:pt x="19458" y="800"/>
                    <a:pt x="19619" y="709"/>
                    <a:pt x="19745" y="635"/>
                  </a:cubicBezTo>
                  <a:cubicBezTo>
                    <a:pt x="19875" y="592"/>
                    <a:pt x="19865" y="471"/>
                    <a:pt x="19732" y="371"/>
                  </a:cubicBezTo>
                  <a:cubicBezTo>
                    <a:pt x="19597" y="279"/>
                    <a:pt x="19399" y="256"/>
                    <a:pt x="19293" y="306"/>
                  </a:cubicBezTo>
                  <a:cubicBezTo>
                    <a:pt x="19187" y="357"/>
                    <a:pt x="18919" y="668"/>
                    <a:pt x="18699" y="1003"/>
                  </a:cubicBezTo>
                  <a:cubicBezTo>
                    <a:pt x="18481" y="1341"/>
                    <a:pt x="18258" y="1750"/>
                    <a:pt x="18221" y="1936"/>
                  </a:cubicBezTo>
                  <a:cubicBezTo>
                    <a:pt x="18181" y="2119"/>
                    <a:pt x="18079" y="2286"/>
                    <a:pt x="18000" y="2308"/>
                  </a:cubicBezTo>
                  <a:cubicBezTo>
                    <a:pt x="17921" y="2325"/>
                    <a:pt x="17790" y="2185"/>
                    <a:pt x="17705" y="1983"/>
                  </a:cubicBezTo>
                  <a:cubicBezTo>
                    <a:pt x="17621" y="1780"/>
                    <a:pt x="17598" y="1512"/>
                    <a:pt x="17650" y="1378"/>
                  </a:cubicBezTo>
                  <a:cubicBezTo>
                    <a:pt x="17701" y="1244"/>
                    <a:pt x="17698" y="1061"/>
                    <a:pt x="17636" y="961"/>
                  </a:cubicBezTo>
                  <a:cubicBezTo>
                    <a:pt x="17572" y="872"/>
                    <a:pt x="17507" y="629"/>
                    <a:pt x="17492" y="441"/>
                  </a:cubicBezTo>
                  <a:cubicBezTo>
                    <a:pt x="17473" y="254"/>
                    <a:pt x="17355" y="61"/>
                    <a:pt x="17230" y="14"/>
                  </a:cubicBezTo>
                  <a:cubicBezTo>
                    <a:pt x="17104" y="-28"/>
                    <a:pt x="16916" y="26"/>
                    <a:pt x="16806" y="133"/>
                  </a:cubicBezTo>
                  <a:cubicBezTo>
                    <a:pt x="16703" y="262"/>
                    <a:pt x="16549" y="283"/>
                    <a:pt x="16469" y="240"/>
                  </a:cubicBezTo>
                  <a:cubicBezTo>
                    <a:pt x="16389" y="182"/>
                    <a:pt x="16270" y="287"/>
                    <a:pt x="16207" y="475"/>
                  </a:cubicBezTo>
                  <a:cubicBezTo>
                    <a:pt x="16135" y="647"/>
                    <a:pt x="16128" y="974"/>
                    <a:pt x="16179" y="1172"/>
                  </a:cubicBezTo>
                  <a:cubicBezTo>
                    <a:pt x="16221" y="1379"/>
                    <a:pt x="16228" y="1665"/>
                    <a:pt x="16169" y="1808"/>
                  </a:cubicBezTo>
                  <a:cubicBezTo>
                    <a:pt x="16121" y="1970"/>
                    <a:pt x="15963" y="2123"/>
                    <a:pt x="15830" y="2135"/>
                  </a:cubicBezTo>
                  <a:cubicBezTo>
                    <a:pt x="15698" y="2162"/>
                    <a:pt x="15480" y="2275"/>
                    <a:pt x="15346" y="2381"/>
                  </a:cubicBezTo>
                  <a:cubicBezTo>
                    <a:pt x="15214" y="2497"/>
                    <a:pt x="15105" y="2429"/>
                    <a:pt x="15105" y="2252"/>
                  </a:cubicBezTo>
                  <a:cubicBezTo>
                    <a:pt x="15110" y="2076"/>
                    <a:pt x="15054" y="1857"/>
                    <a:pt x="14983" y="1792"/>
                  </a:cubicBezTo>
                  <a:cubicBezTo>
                    <a:pt x="14916" y="1709"/>
                    <a:pt x="14790" y="1808"/>
                    <a:pt x="14708" y="1997"/>
                  </a:cubicBezTo>
                  <a:cubicBezTo>
                    <a:pt x="14622" y="2176"/>
                    <a:pt x="14492" y="2564"/>
                    <a:pt x="14409" y="2840"/>
                  </a:cubicBezTo>
                  <a:cubicBezTo>
                    <a:pt x="14322" y="3107"/>
                    <a:pt x="14154" y="3356"/>
                    <a:pt x="14024" y="3346"/>
                  </a:cubicBezTo>
                  <a:cubicBezTo>
                    <a:pt x="13893" y="3346"/>
                    <a:pt x="13691" y="3074"/>
                    <a:pt x="13572" y="2737"/>
                  </a:cubicBezTo>
                  <a:cubicBezTo>
                    <a:pt x="13462" y="2390"/>
                    <a:pt x="13277" y="2163"/>
                    <a:pt x="13179" y="2214"/>
                  </a:cubicBezTo>
                  <a:cubicBezTo>
                    <a:pt x="13081" y="2267"/>
                    <a:pt x="12968" y="2249"/>
                    <a:pt x="12924" y="2206"/>
                  </a:cubicBezTo>
                  <a:cubicBezTo>
                    <a:pt x="12883" y="2151"/>
                    <a:pt x="12762" y="2137"/>
                    <a:pt x="12660" y="2160"/>
                  </a:cubicBezTo>
                  <a:cubicBezTo>
                    <a:pt x="12557" y="2186"/>
                    <a:pt x="12433" y="2500"/>
                    <a:pt x="12378" y="2854"/>
                  </a:cubicBezTo>
                  <a:cubicBezTo>
                    <a:pt x="12323" y="3211"/>
                    <a:pt x="12371" y="3809"/>
                    <a:pt x="12485" y="4174"/>
                  </a:cubicBezTo>
                  <a:cubicBezTo>
                    <a:pt x="12604" y="4534"/>
                    <a:pt x="12564" y="5309"/>
                    <a:pt x="12398" y="5860"/>
                  </a:cubicBezTo>
                  <a:cubicBezTo>
                    <a:pt x="12234" y="6414"/>
                    <a:pt x="12159" y="6489"/>
                    <a:pt x="12226" y="6016"/>
                  </a:cubicBezTo>
                  <a:cubicBezTo>
                    <a:pt x="12294" y="5546"/>
                    <a:pt x="12247" y="4899"/>
                    <a:pt x="12120" y="4601"/>
                  </a:cubicBezTo>
                  <a:cubicBezTo>
                    <a:pt x="11999" y="4291"/>
                    <a:pt x="11899" y="3906"/>
                    <a:pt x="11905" y="3737"/>
                  </a:cubicBezTo>
                  <a:cubicBezTo>
                    <a:pt x="11909" y="3567"/>
                    <a:pt x="11868" y="3369"/>
                    <a:pt x="11819" y="3283"/>
                  </a:cubicBezTo>
                  <a:cubicBezTo>
                    <a:pt x="11770" y="3195"/>
                    <a:pt x="11739" y="2958"/>
                    <a:pt x="11763" y="2743"/>
                  </a:cubicBezTo>
                  <a:cubicBezTo>
                    <a:pt x="11788" y="2528"/>
                    <a:pt x="11691" y="2252"/>
                    <a:pt x="11559" y="2135"/>
                  </a:cubicBezTo>
                  <a:cubicBezTo>
                    <a:pt x="11425" y="2024"/>
                    <a:pt x="11099" y="2166"/>
                    <a:pt x="10828" y="2454"/>
                  </a:cubicBezTo>
                  <a:cubicBezTo>
                    <a:pt x="10559" y="2752"/>
                    <a:pt x="10301" y="3180"/>
                    <a:pt x="10255" y="3416"/>
                  </a:cubicBezTo>
                  <a:cubicBezTo>
                    <a:pt x="10219" y="3658"/>
                    <a:pt x="10208" y="3984"/>
                    <a:pt x="10253" y="4157"/>
                  </a:cubicBezTo>
                  <a:cubicBezTo>
                    <a:pt x="10295" y="4331"/>
                    <a:pt x="10235" y="4716"/>
                    <a:pt x="10114" y="5013"/>
                  </a:cubicBezTo>
                  <a:cubicBezTo>
                    <a:pt x="9994" y="5311"/>
                    <a:pt x="9808" y="5563"/>
                    <a:pt x="9701" y="5575"/>
                  </a:cubicBezTo>
                  <a:cubicBezTo>
                    <a:pt x="9593" y="5580"/>
                    <a:pt x="9501" y="5334"/>
                    <a:pt x="9496" y="5018"/>
                  </a:cubicBezTo>
                  <a:cubicBezTo>
                    <a:pt x="9486" y="4703"/>
                    <a:pt x="9413" y="4391"/>
                    <a:pt x="9322" y="4347"/>
                  </a:cubicBezTo>
                  <a:cubicBezTo>
                    <a:pt x="9230" y="4310"/>
                    <a:pt x="9151" y="3894"/>
                    <a:pt x="9146" y="3458"/>
                  </a:cubicBezTo>
                  <a:cubicBezTo>
                    <a:pt x="9146" y="3021"/>
                    <a:pt x="9066" y="2561"/>
                    <a:pt x="8973" y="2473"/>
                  </a:cubicBezTo>
                  <a:cubicBezTo>
                    <a:pt x="8885" y="2366"/>
                    <a:pt x="8674" y="2482"/>
                    <a:pt x="8501" y="2716"/>
                  </a:cubicBezTo>
                  <a:cubicBezTo>
                    <a:pt x="8329" y="2953"/>
                    <a:pt x="8196" y="3546"/>
                    <a:pt x="8207" y="4030"/>
                  </a:cubicBezTo>
                  <a:cubicBezTo>
                    <a:pt x="8217" y="4514"/>
                    <a:pt x="8276" y="5022"/>
                    <a:pt x="8339" y="5164"/>
                  </a:cubicBezTo>
                  <a:cubicBezTo>
                    <a:pt x="8401" y="5306"/>
                    <a:pt x="8432" y="5699"/>
                    <a:pt x="8417" y="6044"/>
                  </a:cubicBezTo>
                  <a:cubicBezTo>
                    <a:pt x="8401" y="6389"/>
                    <a:pt x="8312" y="6824"/>
                    <a:pt x="8221" y="6997"/>
                  </a:cubicBezTo>
                  <a:cubicBezTo>
                    <a:pt x="8133" y="7177"/>
                    <a:pt x="7966" y="7333"/>
                    <a:pt x="7849" y="7362"/>
                  </a:cubicBezTo>
                  <a:cubicBezTo>
                    <a:pt x="7732" y="7389"/>
                    <a:pt x="7641" y="7188"/>
                    <a:pt x="7641" y="6931"/>
                  </a:cubicBezTo>
                  <a:cubicBezTo>
                    <a:pt x="7636" y="6674"/>
                    <a:pt x="7530" y="6553"/>
                    <a:pt x="7393" y="6689"/>
                  </a:cubicBezTo>
                  <a:cubicBezTo>
                    <a:pt x="7252" y="6800"/>
                    <a:pt x="7090" y="7129"/>
                    <a:pt x="7027" y="7394"/>
                  </a:cubicBezTo>
                  <a:cubicBezTo>
                    <a:pt x="6964" y="7656"/>
                    <a:pt x="6846" y="7953"/>
                    <a:pt x="6760" y="8047"/>
                  </a:cubicBezTo>
                  <a:cubicBezTo>
                    <a:pt x="6677" y="8153"/>
                    <a:pt x="6598" y="8504"/>
                    <a:pt x="6576" y="8850"/>
                  </a:cubicBezTo>
                  <a:cubicBezTo>
                    <a:pt x="6561" y="9197"/>
                    <a:pt x="6483" y="9208"/>
                    <a:pt x="6398" y="8885"/>
                  </a:cubicBezTo>
                  <a:cubicBezTo>
                    <a:pt x="6312" y="8564"/>
                    <a:pt x="6171" y="8303"/>
                    <a:pt x="6074" y="8281"/>
                  </a:cubicBezTo>
                  <a:cubicBezTo>
                    <a:pt x="5978" y="8292"/>
                    <a:pt x="5923" y="8138"/>
                    <a:pt x="5943" y="7970"/>
                  </a:cubicBezTo>
                  <a:cubicBezTo>
                    <a:pt x="5969" y="7803"/>
                    <a:pt x="6070" y="7486"/>
                    <a:pt x="6177" y="7277"/>
                  </a:cubicBezTo>
                  <a:cubicBezTo>
                    <a:pt x="6280" y="7060"/>
                    <a:pt x="6371" y="6753"/>
                    <a:pt x="6376" y="6592"/>
                  </a:cubicBezTo>
                  <a:cubicBezTo>
                    <a:pt x="6381" y="6427"/>
                    <a:pt x="6262" y="6308"/>
                    <a:pt x="6112" y="6324"/>
                  </a:cubicBezTo>
                  <a:cubicBezTo>
                    <a:pt x="5963" y="6342"/>
                    <a:pt x="5896" y="6239"/>
                    <a:pt x="5963" y="6089"/>
                  </a:cubicBezTo>
                  <a:cubicBezTo>
                    <a:pt x="6025" y="5932"/>
                    <a:pt x="6026" y="5627"/>
                    <a:pt x="5958" y="5386"/>
                  </a:cubicBezTo>
                  <a:cubicBezTo>
                    <a:pt x="5884" y="5154"/>
                    <a:pt x="5912" y="5015"/>
                    <a:pt x="6003" y="5114"/>
                  </a:cubicBezTo>
                  <a:cubicBezTo>
                    <a:pt x="6097" y="5204"/>
                    <a:pt x="6271" y="5135"/>
                    <a:pt x="6378" y="4931"/>
                  </a:cubicBezTo>
                  <a:cubicBezTo>
                    <a:pt x="6492" y="4745"/>
                    <a:pt x="6559" y="4490"/>
                    <a:pt x="6536" y="4368"/>
                  </a:cubicBezTo>
                  <a:cubicBezTo>
                    <a:pt x="6519" y="4241"/>
                    <a:pt x="6390" y="4095"/>
                    <a:pt x="6268" y="4007"/>
                  </a:cubicBezTo>
                  <a:cubicBezTo>
                    <a:pt x="6145" y="3928"/>
                    <a:pt x="6138" y="3742"/>
                    <a:pt x="6255" y="3604"/>
                  </a:cubicBezTo>
                  <a:cubicBezTo>
                    <a:pt x="6370" y="3462"/>
                    <a:pt x="6387" y="3208"/>
                    <a:pt x="6291" y="3044"/>
                  </a:cubicBezTo>
                  <a:cubicBezTo>
                    <a:pt x="6192" y="2887"/>
                    <a:pt x="6055" y="2824"/>
                    <a:pt x="5981" y="2927"/>
                  </a:cubicBezTo>
                  <a:cubicBezTo>
                    <a:pt x="5906" y="3031"/>
                    <a:pt x="5797" y="2982"/>
                    <a:pt x="5739" y="2831"/>
                  </a:cubicBezTo>
                  <a:cubicBezTo>
                    <a:pt x="5685" y="2672"/>
                    <a:pt x="5505" y="2440"/>
                    <a:pt x="5344" y="2321"/>
                  </a:cubicBezTo>
                  <a:cubicBezTo>
                    <a:pt x="5186" y="2182"/>
                    <a:pt x="5055" y="1945"/>
                    <a:pt x="5060" y="1766"/>
                  </a:cubicBezTo>
                  <a:cubicBezTo>
                    <a:pt x="5065" y="1587"/>
                    <a:pt x="5022" y="1282"/>
                    <a:pt x="4961" y="1093"/>
                  </a:cubicBezTo>
                  <a:cubicBezTo>
                    <a:pt x="4908" y="897"/>
                    <a:pt x="4755" y="798"/>
                    <a:pt x="4630" y="865"/>
                  </a:cubicBezTo>
                  <a:cubicBezTo>
                    <a:pt x="4506" y="944"/>
                    <a:pt x="4292" y="938"/>
                    <a:pt x="4155" y="891"/>
                  </a:cubicBezTo>
                  <a:cubicBezTo>
                    <a:pt x="4017" y="835"/>
                    <a:pt x="3746" y="832"/>
                    <a:pt x="3549" y="885"/>
                  </a:cubicBezTo>
                  <a:cubicBezTo>
                    <a:pt x="3354" y="936"/>
                    <a:pt x="3176" y="1047"/>
                    <a:pt x="3153" y="1137"/>
                  </a:cubicBezTo>
                  <a:cubicBezTo>
                    <a:pt x="3132" y="1228"/>
                    <a:pt x="3154" y="1394"/>
                    <a:pt x="3204" y="1514"/>
                  </a:cubicBezTo>
                  <a:cubicBezTo>
                    <a:pt x="3250" y="1643"/>
                    <a:pt x="3361" y="1711"/>
                    <a:pt x="3440" y="1699"/>
                  </a:cubicBezTo>
                  <a:cubicBezTo>
                    <a:pt x="3519" y="1669"/>
                    <a:pt x="3594" y="1584"/>
                    <a:pt x="3618" y="1497"/>
                  </a:cubicBezTo>
                  <a:cubicBezTo>
                    <a:pt x="3637" y="1405"/>
                    <a:pt x="3729" y="1318"/>
                    <a:pt x="3825" y="1318"/>
                  </a:cubicBezTo>
                  <a:cubicBezTo>
                    <a:pt x="3921" y="1318"/>
                    <a:pt x="4059" y="1373"/>
                    <a:pt x="4135" y="1438"/>
                  </a:cubicBezTo>
                  <a:cubicBezTo>
                    <a:pt x="4205" y="1521"/>
                    <a:pt x="4354" y="1601"/>
                    <a:pt x="4457" y="1647"/>
                  </a:cubicBezTo>
                  <a:cubicBezTo>
                    <a:pt x="4563" y="1686"/>
                    <a:pt x="4597" y="1804"/>
                    <a:pt x="4544" y="1919"/>
                  </a:cubicBezTo>
                  <a:cubicBezTo>
                    <a:pt x="4485" y="2019"/>
                    <a:pt x="4346" y="2071"/>
                    <a:pt x="4230" y="2034"/>
                  </a:cubicBezTo>
                  <a:cubicBezTo>
                    <a:pt x="4113" y="2001"/>
                    <a:pt x="3922" y="1970"/>
                    <a:pt x="3805" y="1991"/>
                  </a:cubicBezTo>
                  <a:cubicBezTo>
                    <a:pt x="3686" y="2013"/>
                    <a:pt x="3601" y="2079"/>
                    <a:pt x="3615" y="2147"/>
                  </a:cubicBezTo>
                  <a:cubicBezTo>
                    <a:pt x="3627" y="2217"/>
                    <a:pt x="3784" y="2414"/>
                    <a:pt x="3962" y="2575"/>
                  </a:cubicBezTo>
                  <a:cubicBezTo>
                    <a:pt x="4139" y="2740"/>
                    <a:pt x="4373" y="3060"/>
                    <a:pt x="4487" y="3274"/>
                  </a:cubicBezTo>
                  <a:cubicBezTo>
                    <a:pt x="4601" y="3483"/>
                    <a:pt x="4657" y="3794"/>
                    <a:pt x="4620" y="3954"/>
                  </a:cubicBezTo>
                  <a:cubicBezTo>
                    <a:pt x="4579" y="4112"/>
                    <a:pt x="4500" y="4262"/>
                    <a:pt x="4441" y="4285"/>
                  </a:cubicBezTo>
                  <a:cubicBezTo>
                    <a:pt x="4383" y="4306"/>
                    <a:pt x="4338" y="4221"/>
                    <a:pt x="4342" y="4093"/>
                  </a:cubicBezTo>
                  <a:cubicBezTo>
                    <a:pt x="4338" y="3966"/>
                    <a:pt x="4244" y="3746"/>
                    <a:pt x="4111" y="3612"/>
                  </a:cubicBezTo>
                  <a:cubicBezTo>
                    <a:pt x="3980" y="3471"/>
                    <a:pt x="3792" y="3480"/>
                    <a:pt x="3696" y="3623"/>
                  </a:cubicBezTo>
                  <a:cubicBezTo>
                    <a:pt x="3598" y="3762"/>
                    <a:pt x="3458" y="3868"/>
                    <a:pt x="3383" y="3830"/>
                  </a:cubicBezTo>
                  <a:cubicBezTo>
                    <a:pt x="3308" y="3798"/>
                    <a:pt x="3285" y="3677"/>
                    <a:pt x="3323" y="3540"/>
                  </a:cubicBezTo>
                  <a:cubicBezTo>
                    <a:pt x="3365" y="3404"/>
                    <a:pt x="3325" y="3121"/>
                    <a:pt x="3220" y="2926"/>
                  </a:cubicBezTo>
                  <a:cubicBezTo>
                    <a:pt x="3123" y="2715"/>
                    <a:pt x="2937" y="2490"/>
                    <a:pt x="2812" y="2425"/>
                  </a:cubicBezTo>
                  <a:cubicBezTo>
                    <a:pt x="2688" y="2352"/>
                    <a:pt x="2504" y="2371"/>
                    <a:pt x="2410" y="2484"/>
                  </a:cubicBezTo>
                  <a:cubicBezTo>
                    <a:pt x="2312" y="2589"/>
                    <a:pt x="2302" y="2825"/>
                    <a:pt x="2384" y="3015"/>
                  </a:cubicBezTo>
                  <a:cubicBezTo>
                    <a:pt x="2471" y="3199"/>
                    <a:pt x="2506" y="3444"/>
                    <a:pt x="2481" y="3565"/>
                  </a:cubicBezTo>
                  <a:cubicBezTo>
                    <a:pt x="2448" y="3678"/>
                    <a:pt x="2369" y="3630"/>
                    <a:pt x="2298" y="3458"/>
                  </a:cubicBezTo>
                  <a:cubicBezTo>
                    <a:pt x="2224" y="3292"/>
                    <a:pt x="2083" y="3122"/>
                    <a:pt x="1978" y="3070"/>
                  </a:cubicBezTo>
                  <a:cubicBezTo>
                    <a:pt x="1872" y="3031"/>
                    <a:pt x="1754" y="3105"/>
                    <a:pt x="1719" y="3237"/>
                  </a:cubicBezTo>
                  <a:cubicBezTo>
                    <a:pt x="1675" y="3355"/>
                    <a:pt x="1707" y="3599"/>
                    <a:pt x="1777" y="3737"/>
                  </a:cubicBezTo>
                  <a:cubicBezTo>
                    <a:pt x="1846" y="3881"/>
                    <a:pt x="1964" y="4043"/>
                    <a:pt x="2037" y="4113"/>
                  </a:cubicBezTo>
                  <a:cubicBezTo>
                    <a:pt x="2112" y="4171"/>
                    <a:pt x="2205" y="4313"/>
                    <a:pt x="2248" y="4412"/>
                  </a:cubicBezTo>
                  <a:cubicBezTo>
                    <a:pt x="2289" y="4516"/>
                    <a:pt x="2225" y="4549"/>
                    <a:pt x="2106" y="4479"/>
                  </a:cubicBezTo>
                  <a:cubicBezTo>
                    <a:pt x="1986" y="4411"/>
                    <a:pt x="1788" y="4435"/>
                    <a:pt x="1668" y="4538"/>
                  </a:cubicBezTo>
                  <a:cubicBezTo>
                    <a:pt x="1546" y="4633"/>
                    <a:pt x="1500" y="4846"/>
                    <a:pt x="1568" y="4998"/>
                  </a:cubicBezTo>
                  <a:cubicBezTo>
                    <a:pt x="1631" y="5160"/>
                    <a:pt x="1829" y="5326"/>
                    <a:pt x="2002" y="5389"/>
                  </a:cubicBezTo>
                  <a:cubicBezTo>
                    <a:pt x="2173" y="5451"/>
                    <a:pt x="2247" y="5537"/>
                    <a:pt x="2161" y="5563"/>
                  </a:cubicBezTo>
                  <a:cubicBezTo>
                    <a:pt x="2074" y="5597"/>
                    <a:pt x="1974" y="5678"/>
                    <a:pt x="1936" y="5735"/>
                  </a:cubicBezTo>
                  <a:cubicBezTo>
                    <a:pt x="1900" y="5797"/>
                    <a:pt x="1887" y="5931"/>
                    <a:pt x="1915" y="6046"/>
                  </a:cubicBezTo>
                  <a:cubicBezTo>
                    <a:pt x="1943" y="6160"/>
                    <a:pt x="1929" y="6275"/>
                    <a:pt x="1887" y="6295"/>
                  </a:cubicBezTo>
                  <a:cubicBezTo>
                    <a:pt x="1846" y="6312"/>
                    <a:pt x="1669" y="6118"/>
                    <a:pt x="1489" y="5873"/>
                  </a:cubicBezTo>
                  <a:cubicBezTo>
                    <a:pt x="1313" y="5615"/>
                    <a:pt x="1121" y="5395"/>
                    <a:pt x="1064" y="5390"/>
                  </a:cubicBezTo>
                  <a:cubicBezTo>
                    <a:pt x="1007" y="5380"/>
                    <a:pt x="903" y="5457"/>
                    <a:pt x="838" y="5582"/>
                  </a:cubicBezTo>
                  <a:cubicBezTo>
                    <a:pt x="771" y="5698"/>
                    <a:pt x="774" y="5989"/>
                    <a:pt x="848" y="6219"/>
                  </a:cubicBezTo>
                  <a:cubicBezTo>
                    <a:pt x="912" y="6462"/>
                    <a:pt x="1018" y="6756"/>
                    <a:pt x="1061" y="6900"/>
                  </a:cubicBezTo>
                  <a:cubicBezTo>
                    <a:pt x="1108" y="7039"/>
                    <a:pt x="1102" y="7199"/>
                    <a:pt x="1048" y="7233"/>
                  </a:cubicBezTo>
                  <a:cubicBezTo>
                    <a:pt x="995" y="7270"/>
                    <a:pt x="867" y="7124"/>
                    <a:pt x="766" y="6892"/>
                  </a:cubicBezTo>
                  <a:cubicBezTo>
                    <a:pt x="659" y="6667"/>
                    <a:pt x="487" y="6452"/>
                    <a:pt x="379" y="6412"/>
                  </a:cubicBezTo>
                  <a:cubicBezTo>
                    <a:pt x="270" y="6370"/>
                    <a:pt x="118" y="6530"/>
                    <a:pt x="38" y="6748"/>
                  </a:cubicBezTo>
                  <a:cubicBezTo>
                    <a:pt x="-40" y="6968"/>
                    <a:pt x="5" y="7217"/>
                    <a:pt x="143" y="7274"/>
                  </a:cubicBezTo>
                  <a:cubicBezTo>
                    <a:pt x="280" y="7340"/>
                    <a:pt x="476" y="7547"/>
                    <a:pt x="579" y="7735"/>
                  </a:cubicBezTo>
                  <a:cubicBezTo>
                    <a:pt x="683" y="7917"/>
                    <a:pt x="899" y="8088"/>
                    <a:pt x="1062" y="8122"/>
                  </a:cubicBezTo>
                  <a:cubicBezTo>
                    <a:pt x="1224" y="8150"/>
                    <a:pt x="1436" y="8001"/>
                    <a:pt x="1522" y="7770"/>
                  </a:cubicBezTo>
                  <a:cubicBezTo>
                    <a:pt x="1609" y="7542"/>
                    <a:pt x="1806" y="7293"/>
                    <a:pt x="1953" y="7211"/>
                  </a:cubicBezTo>
                  <a:cubicBezTo>
                    <a:pt x="2101" y="7125"/>
                    <a:pt x="2271" y="6880"/>
                    <a:pt x="2349" y="6700"/>
                  </a:cubicBezTo>
                  <a:cubicBezTo>
                    <a:pt x="2411" y="6493"/>
                    <a:pt x="2503" y="6436"/>
                    <a:pt x="2543" y="6533"/>
                  </a:cubicBezTo>
                  <a:cubicBezTo>
                    <a:pt x="2582" y="6633"/>
                    <a:pt x="2613" y="6808"/>
                    <a:pt x="2609" y="6912"/>
                  </a:cubicBezTo>
                  <a:cubicBezTo>
                    <a:pt x="2609" y="7017"/>
                    <a:pt x="2665" y="7105"/>
                    <a:pt x="2738" y="7086"/>
                  </a:cubicBezTo>
                  <a:cubicBezTo>
                    <a:pt x="2810" y="7074"/>
                    <a:pt x="2946" y="7000"/>
                    <a:pt x="3034" y="6893"/>
                  </a:cubicBezTo>
                  <a:cubicBezTo>
                    <a:pt x="3126" y="6808"/>
                    <a:pt x="3212" y="6880"/>
                    <a:pt x="3228" y="7081"/>
                  </a:cubicBezTo>
                  <a:cubicBezTo>
                    <a:pt x="3250" y="7278"/>
                    <a:pt x="3305" y="7451"/>
                    <a:pt x="3360" y="7432"/>
                  </a:cubicBezTo>
                  <a:cubicBezTo>
                    <a:pt x="3416" y="7420"/>
                    <a:pt x="3554" y="7301"/>
                    <a:pt x="3664" y="7153"/>
                  </a:cubicBezTo>
                  <a:cubicBezTo>
                    <a:pt x="3776" y="7009"/>
                    <a:pt x="3899" y="6797"/>
                    <a:pt x="3931" y="6674"/>
                  </a:cubicBezTo>
                  <a:cubicBezTo>
                    <a:pt x="3972" y="6565"/>
                    <a:pt x="3998" y="6635"/>
                    <a:pt x="4004" y="6848"/>
                  </a:cubicBezTo>
                  <a:cubicBezTo>
                    <a:pt x="3999" y="7062"/>
                    <a:pt x="4046" y="7215"/>
                    <a:pt x="4088" y="7221"/>
                  </a:cubicBezTo>
                  <a:cubicBezTo>
                    <a:pt x="4129" y="7203"/>
                    <a:pt x="4278" y="7039"/>
                    <a:pt x="4421" y="6847"/>
                  </a:cubicBezTo>
                  <a:cubicBezTo>
                    <a:pt x="4565" y="6657"/>
                    <a:pt x="4670" y="6574"/>
                    <a:pt x="4661" y="6677"/>
                  </a:cubicBezTo>
                  <a:cubicBezTo>
                    <a:pt x="4644" y="6776"/>
                    <a:pt x="4600" y="7005"/>
                    <a:pt x="4550" y="7178"/>
                  </a:cubicBezTo>
                  <a:cubicBezTo>
                    <a:pt x="4502" y="7353"/>
                    <a:pt x="4503" y="7564"/>
                    <a:pt x="4561" y="7616"/>
                  </a:cubicBezTo>
                  <a:cubicBezTo>
                    <a:pt x="4615" y="7689"/>
                    <a:pt x="4741" y="7635"/>
                    <a:pt x="4834" y="7498"/>
                  </a:cubicBezTo>
                  <a:cubicBezTo>
                    <a:pt x="4925" y="7356"/>
                    <a:pt x="5116" y="7364"/>
                    <a:pt x="5257" y="7469"/>
                  </a:cubicBezTo>
                  <a:cubicBezTo>
                    <a:pt x="5395" y="7591"/>
                    <a:pt x="5442" y="7712"/>
                    <a:pt x="5365" y="7789"/>
                  </a:cubicBezTo>
                  <a:cubicBezTo>
                    <a:pt x="5285" y="7845"/>
                    <a:pt x="5156" y="7924"/>
                    <a:pt x="5079" y="7924"/>
                  </a:cubicBezTo>
                  <a:cubicBezTo>
                    <a:pt x="5001" y="7940"/>
                    <a:pt x="4860" y="8050"/>
                    <a:pt x="4763" y="8167"/>
                  </a:cubicBezTo>
                  <a:cubicBezTo>
                    <a:pt x="4667" y="8292"/>
                    <a:pt x="4498" y="8429"/>
                    <a:pt x="4388" y="8440"/>
                  </a:cubicBezTo>
                  <a:cubicBezTo>
                    <a:pt x="4279" y="8479"/>
                    <a:pt x="4042" y="8634"/>
                    <a:pt x="3858" y="8761"/>
                  </a:cubicBezTo>
                  <a:cubicBezTo>
                    <a:pt x="3678" y="8922"/>
                    <a:pt x="3505" y="9090"/>
                    <a:pt x="3500" y="9176"/>
                  </a:cubicBezTo>
                  <a:cubicBezTo>
                    <a:pt x="3485" y="9258"/>
                    <a:pt x="3653" y="9375"/>
                    <a:pt x="3873" y="9458"/>
                  </a:cubicBezTo>
                  <a:cubicBezTo>
                    <a:pt x="4094" y="9518"/>
                    <a:pt x="4373" y="9551"/>
                    <a:pt x="4496" y="9511"/>
                  </a:cubicBezTo>
                  <a:cubicBezTo>
                    <a:pt x="4620" y="9474"/>
                    <a:pt x="4763" y="9311"/>
                    <a:pt x="4821" y="9180"/>
                  </a:cubicBezTo>
                  <a:cubicBezTo>
                    <a:pt x="4876" y="9044"/>
                    <a:pt x="4986" y="8889"/>
                    <a:pt x="5062" y="8822"/>
                  </a:cubicBezTo>
                  <a:cubicBezTo>
                    <a:pt x="5138" y="8755"/>
                    <a:pt x="5188" y="8855"/>
                    <a:pt x="5178" y="9030"/>
                  </a:cubicBezTo>
                  <a:cubicBezTo>
                    <a:pt x="5160" y="9202"/>
                    <a:pt x="5090" y="9498"/>
                    <a:pt x="5007" y="9673"/>
                  </a:cubicBezTo>
                  <a:cubicBezTo>
                    <a:pt x="4924" y="9848"/>
                    <a:pt x="4668" y="10047"/>
                    <a:pt x="4436" y="10128"/>
                  </a:cubicBezTo>
                  <a:cubicBezTo>
                    <a:pt x="4202" y="10190"/>
                    <a:pt x="3948" y="10231"/>
                    <a:pt x="3872" y="10209"/>
                  </a:cubicBezTo>
                  <a:cubicBezTo>
                    <a:pt x="3795" y="10187"/>
                    <a:pt x="3637" y="10298"/>
                    <a:pt x="3529" y="10488"/>
                  </a:cubicBezTo>
                  <a:cubicBezTo>
                    <a:pt x="3415" y="10666"/>
                    <a:pt x="3286" y="10726"/>
                    <a:pt x="3233" y="10633"/>
                  </a:cubicBezTo>
                  <a:cubicBezTo>
                    <a:pt x="3182" y="10534"/>
                    <a:pt x="3113" y="10390"/>
                    <a:pt x="3071" y="10336"/>
                  </a:cubicBezTo>
                  <a:cubicBezTo>
                    <a:pt x="3033" y="10273"/>
                    <a:pt x="2999" y="10148"/>
                    <a:pt x="3004" y="10060"/>
                  </a:cubicBezTo>
                  <a:cubicBezTo>
                    <a:pt x="3010" y="9973"/>
                    <a:pt x="2953" y="9854"/>
                    <a:pt x="2884" y="9854"/>
                  </a:cubicBezTo>
                  <a:cubicBezTo>
                    <a:pt x="2817" y="9822"/>
                    <a:pt x="2740" y="9849"/>
                    <a:pt x="2719" y="9906"/>
                  </a:cubicBezTo>
                  <a:cubicBezTo>
                    <a:pt x="2702" y="9969"/>
                    <a:pt x="2697" y="10075"/>
                    <a:pt x="2717" y="10161"/>
                  </a:cubicBezTo>
                  <a:cubicBezTo>
                    <a:pt x="2740" y="10246"/>
                    <a:pt x="2666" y="10430"/>
                    <a:pt x="2557" y="10565"/>
                  </a:cubicBezTo>
                  <a:cubicBezTo>
                    <a:pt x="2451" y="10714"/>
                    <a:pt x="2296" y="10766"/>
                    <a:pt x="2220" y="10705"/>
                  </a:cubicBezTo>
                  <a:cubicBezTo>
                    <a:pt x="2143" y="10649"/>
                    <a:pt x="1988" y="10608"/>
                    <a:pt x="1876" y="10646"/>
                  </a:cubicBezTo>
                  <a:cubicBezTo>
                    <a:pt x="1761" y="10662"/>
                    <a:pt x="1572" y="10787"/>
                    <a:pt x="1453" y="10899"/>
                  </a:cubicBezTo>
                  <a:cubicBezTo>
                    <a:pt x="1336" y="11025"/>
                    <a:pt x="1130" y="11037"/>
                    <a:pt x="998" y="10978"/>
                  </a:cubicBezTo>
                  <a:cubicBezTo>
                    <a:pt x="866" y="10914"/>
                    <a:pt x="684" y="10919"/>
                    <a:pt x="589" y="10981"/>
                  </a:cubicBezTo>
                  <a:cubicBezTo>
                    <a:pt x="496" y="11052"/>
                    <a:pt x="368" y="11114"/>
                    <a:pt x="307" y="11104"/>
                  </a:cubicBezTo>
                  <a:cubicBezTo>
                    <a:pt x="244" y="11098"/>
                    <a:pt x="259" y="11279"/>
                    <a:pt x="340" y="11501"/>
                  </a:cubicBezTo>
                  <a:cubicBezTo>
                    <a:pt x="420" y="11722"/>
                    <a:pt x="522" y="12059"/>
                    <a:pt x="569" y="12245"/>
                  </a:cubicBezTo>
                  <a:cubicBezTo>
                    <a:pt x="610" y="12439"/>
                    <a:pt x="793" y="12592"/>
                    <a:pt x="966" y="12581"/>
                  </a:cubicBezTo>
                  <a:cubicBezTo>
                    <a:pt x="1137" y="12576"/>
                    <a:pt x="1278" y="12516"/>
                    <a:pt x="1283" y="12446"/>
                  </a:cubicBezTo>
                  <a:cubicBezTo>
                    <a:pt x="1277" y="12375"/>
                    <a:pt x="1462" y="12366"/>
                    <a:pt x="1675" y="12437"/>
                  </a:cubicBezTo>
                  <a:cubicBezTo>
                    <a:pt x="1888" y="12509"/>
                    <a:pt x="2272" y="12511"/>
                    <a:pt x="2529" y="12448"/>
                  </a:cubicBezTo>
                  <a:cubicBezTo>
                    <a:pt x="2786" y="12388"/>
                    <a:pt x="3113" y="12354"/>
                    <a:pt x="3257" y="12342"/>
                  </a:cubicBezTo>
                  <a:cubicBezTo>
                    <a:pt x="3399" y="12354"/>
                    <a:pt x="3502" y="12429"/>
                    <a:pt x="3492" y="12532"/>
                  </a:cubicBezTo>
                  <a:cubicBezTo>
                    <a:pt x="3482" y="12634"/>
                    <a:pt x="3394" y="12804"/>
                    <a:pt x="3303" y="12910"/>
                  </a:cubicBezTo>
                  <a:cubicBezTo>
                    <a:pt x="3211" y="13013"/>
                    <a:pt x="3136" y="13202"/>
                    <a:pt x="3121" y="13315"/>
                  </a:cubicBezTo>
                  <a:cubicBezTo>
                    <a:pt x="3104" y="13429"/>
                    <a:pt x="3199" y="13638"/>
                    <a:pt x="3318" y="13756"/>
                  </a:cubicBezTo>
                  <a:cubicBezTo>
                    <a:pt x="3432" y="13891"/>
                    <a:pt x="3552" y="14099"/>
                    <a:pt x="3575" y="14241"/>
                  </a:cubicBezTo>
                  <a:cubicBezTo>
                    <a:pt x="3596" y="14386"/>
                    <a:pt x="3687" y="14474"/>
                    <a:pt x="3768" y="14438"/>
                  </a:cubicBezTo>
                  <a:cubicBezTo>
                    <a:pt x="3848" y="14391"/>
                    <a:pt x="4059" y="14197"/>
                    <a:pt x="4236" y="13988"/>
                  </a:cubicBezTo>
                  <a:cubicBezTo>
                    <a:pt x="4411" y="13775"/>
                    <a:pt x="4522" y="13714"/>
                    <a:pt x="4492" y="13862"/>
                  </a:cubicBezTo>
                  <a:cubicBezTo>
                    <a:pt x="4462" y="14009"/>
                    <a:pt x="4330" y="14264"/>
                    <a:pt x="4203" y="14412"/>
                  </a:cubicBezTo>
                  <a:cubicBezTo>
                    <a:pt x="4079" y="14579"/>
                    <a:pt x="3921" y="14848"/>
                    <a:pt x="3846" y="15011"/>
                  </a:cubicBezTo>
                  <a:cubicBezTo>
                    <a:pt x="3778" y="15187"/>
                    <a:pt x="3796" y="15412"/>
                    <a:pt x="3895" y="15525"/>
                  </a:cubicBezTo>
                  <a:cubicBezTo>
                    <a:pt x="3994" y="15637"/>
                    <a:pt x="4231" y="15509"/>
                    <a:pt x="4424" y="15250"/>
                  </a:cubicBezTo>
                  <a:cubicBezTo>
                    <a:pt x="4616" y="14989"/>
                    <a:pt x="4888" y="14822"/>
                    <a:pt x="5031" y="14871"/>
                  </a:cubicBezTo>
                  <a:cubicBezTo>
                    <a:pt x="5173" y="14935"/>
                    <a:pt x="5314" y="15077"/>
                    <a:pt x="5345" y="15202"/>
                  </a:cubicBezTo>
                  <a:cubicBezTo>
                    <a:pt x="5376" y="15326"/>
                    <a:pt x="5330" y="15363"/>
                    <a:pt x="5244" y="15287"/>
                  </a:cubicBezTo>
                  <a:cubicBezTo>
                    <a:pt x="5159" y="15206"/>
                    <a:pt x="4979" y="15221"/>
                    <a:pt x="4843" y="15311"/>
                  </a:cubicBezTo>
                  <a:cubicBezTo>
                    <a:pt x="4710" y="15406"/>
                    <a:pt x="4513" y="15588"/>
                    <a:pt x="4416" y="15749"/>
                  </a:cubicBezTo>
                  <a:cubicBezTo>
                    <a:pt x="4316" y="15896"/>
                    <a:pt x="4131" y="16036"/>
                    <a:pt x="4006" y="16053"/>
                  </a:cubicBezTo>
                  <a:cubicBezTo>
                    <a:pt x="3880" y="16070"/>
                    <a:pt x="3766" y="16214"/>
                    <a:pt x="3756" y="16370"/>
                  </a:cubicBezTo>
                  <a:cubicBezTo>
                    <a:pt x="3741" y="16523"/>
                    <a:pt x="3673" y="16753"/>
                    <a:pt x="3610" y="16902"/>
                  </a:cubicBezTo>
                  <a:cubicBezTo>
                    <a:pt x="3543" y="17041"/>
                    <a:pt x="3427" y="17135"/>
                    <a:pt x="3354" y="17117"/>
                  </a:cubicBezTo>
                  <a:cubicBezTo>
                    <a:pt x="3281" y="17105"/>
                    <a:pt x="3147" y="17145"/>
                    <a:pt x="3061" y="17249"/>
                  </a:cubicBezTo>
                  <a:cubicBezTo>
                    <a:pt x="2972" y="17340"/>
                    <a:pt x="2872" y="17299"/>
                    <a:pt x="2833" y="17166"/>
                  </a:cubicBezTo>
                  <a:cubicBezTo>
                    <a:pt x="2795" y="17030"/>
                    <a:pt x="2678" y="16820"/>
                    <a:pt x="2569" y="16713"/>
                  </a:cubicBezTo>
                  <a:cubicBezTo>
                    <a:pt x="2462" y="16596"/>
                    <a:pt x="2368" y="16590"/>
                    <a:pt x="2358" y="16688"/>
                  </a:cubicBezTo>
                  <a:cubicBezTo>
                    <a:pt x="2349" y="16785"/>
                    <a:pt x="2303" y="16871"/>
                    <a:pt x="2254" y="16877"/>
                  </a:cubicBezTo>
                  <a:cubicBezTo>
                    <a:pt x="2204" y="16887"/>
                    <a:pt x="2184" y="17099"/>
                    <a:pt x="2200" y="17361"/>
                  </a:cubicBezTo>
                  <a:cubicBezTo>
                    <a:pt x="2221" y="17623"/>
                    <a:pt x="2287" y="17873"/>
                    <a:pt x="2350" y="17910"/>
                  </a:cubicBezTo>
                  <a:cubicBezTo>
                    <a:pt x="2411" y="17953"/>
                    <a:pt x="2425" y="18056"/>
                    <a:pt x="2370" y="18107"/>
                  </a:cubicBezTo>
                  <a:cubicBezTo>
                    <a:pt x="2320" y="18178"/>
                    <a:pt x="2254" y="18531"/>
                    <a:pt x="2223" y="18901"/>
                  </a:cubicBezTo>
                  <a:cubicBezTo>
                    <a:pt x="2192" y="19272"/>
                    <a:pt x="2299" y="19548"/>
                    <a:pt x="2459" y="19532"/>
                  </a:cubicBezTo>
                  <a:cubicBezTo>
                    <a:pt x="2618" y="19510"/>
                    <a:pt x="2785" y="19408"/>
                    <a:pt x="2836" y="19323"/>
                  </a:cubicBezTo>
                  <a:cubicBezTo>
                    <a:pt x="2881" y="19230"/>
                    <a:pt x="3004" y="19225"/>
                    <a:pt x="3102" y="19321"/>
                  </a:cubicBezTo>
                  <a:cubicBezTo>
                    <a:pt x="3206" y="19382"/>
                    <a:pt x="3465" y="19495"/>
                    <a:pt x="3688" y="19517"/>
                  </a:cubicBezTo>
                  <a:close/>
                  <a:moveTo>
                    <a:pt x="3688" y="195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7" name="AutoShape 929"/>
            <p:cNvSpPr>
              <a:spLocks/>
            </p:cNvSpPr>
            <p:nvPr/>
          </p:nvSpPr>
          <p:spPr bwMode="auto">
            <a:xfrm>
              <a:off x="3873500" y="5334000"/>
              <a:ext cx="3175" cy="6350"/>
            </a:xfrm>
            <a:custGeom>
              <a:avLst/>
              <a:gdLst/>
              <a:ahLst/>
              <a:cxnLst/>
              <a:rect l="0" t="0" r="r" b="b"/>
              <a:pathLst>
                <a:path w="20439" h="20666">
                  <a:moveTo>
                    <a:pt x="479" y="1194"/>
                  </a:moveTo>
                  <a:cubicBezTo>
                    <a:pt x="-541" y="2965"/>
                    <a:pt x="54" y="7604"/>
                    <a:pt x="2412" y="11512"/>
                  </a:cubicBezTo>
                  <a:cubicBezTo>
                    <a:pt x="4519" y="15386"/>
                    <a:pt x="9917" y="19526"/>
                    <a:pt x="14410" y="20592"/>
                  </a:cubicBezTo>
                  <a:cubicBezTo>
                    <a:pt x="19103" y="21126"/>
                    <a:pt x="21059" y="18757"/>
                    <a:pt x="20268" y="14049"/>
                  </a:cubicBezTo>
                  <a:cubicBezTo>
                    <a:pt x="18474" y="9341"/>
                    <a:pt x="14522" y="3765"/>
                    <a:pt x="10173" y="1697"/>
                  </a:cubicBezTo>
                  <a:cubicBezTo>
                    <a:pt x="6079" y="-474"/>
                    <a:pt x="1847" y="-474"/>
                    <a:pt x="479" y="1194"/>
                  </a:cubicBezTo>
                  <a:close/>
                  <a:moveTo>
                    <a:pt x="479" y="119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8" name="AutoShape 930"/>
            <p:cNvSpPr>
              <a:spLocks/>
            </p:cNvSpPr>
            <p:nvPr/>
          </p:nvSpPr>
          <p:spPr bwMode="auto">
            <a:xfrm>
              <a:off x="3873500" y="5321300"/>
              <a:ext cx="14288" cy="42863"/>
            </a:xfrm>
            <a:custGeom>
              <a:avLst/>
              <a:gdLst/>
              <a:ahLst/>
              <a:cxnLst/>
              <a:rect l="0" t="0" r="r" b="b"/>
              <a:pathLst>
                <a:path w="21008" h="21309">
                  <a:moveTo>
                    <a:pt x="15072" y="12017"/>
                  </a:moveTo>
                  <a:cubicBezTo>
                    <a:pt x="14934" y="11371"/>
                    <a:pt x="13501" y="10037"/>
                    <a:pt x="12457" y="9019"/>
                  </a:cubicBezTo>
                  <a:cubicBezTo>
                    <a:pt x="11173" y="8026"/>
                    <a:pt x="9638" y="6113"/>
                    <a:pt x="9232" y="4784"/>
                  </a:cubicBezTo>
                  <a:cubicBezTo>
                    <a:pt x="8696" y="3456"/>
                    <a:pt x="7006" y="1714"/>
                    <a:pt x="5608" y="891"/>
                  </a:cubicBezTo>
                  <a:cubicBezTo>
                    <a:pt x="4193" y="81"/>
                    <a:pt x="2383" y="-218"/>
                    <a:pt x="1287" y="166"/>
                  </a:cubicBezTo>
                  <a:cubicBezTo>
                    <a:pt x="175" y="556"/>
                    <a:pt x="-370" y="1519"/>
                    <a:pt x="279" y="2201"/>
                  </a:cubicBezTo>
                  <a:cubicBezTo>
                    <a:pt x="614" y="2908"/>
                    <a:pt x="1985" y="3694"/>
                    <a:pt x="3082" y="3987"/>
                  </a:cubicBezTo>
                  <a:cubicBezTo>
                    <a:pt x="4298" y="4199"/>
                    <a:pt x="5668" y="5479"/>
                    <a:pt x="6239" y="6686"/>
                  </a:cubicBezTo>
                  <a:cubicBezTo>
                    <a:pt x="6772" y="7892"/>
                    <a:pt x="9034" y="10195"/>
                    <a:pt x="10964" y="11834"/>
                  </a:cubicBezTo>
                  <a:cubicBezTo>
                    <a:pt x="12879" y="13461"/>
                    <a:pt x="13648" y="15057"/>
                    <a:pt x="12795" y="15453"/>
                  </a:cubicBezTo>
                  <a:cubicBezTo>
                    <a:pt x="11768" y="15776"/>
                    <a:pt x="10664" y="16934"/>
                    <a:pt x="10664" y="17945"/>
                  </a:cubicBezTo>
                  <a:cubicBezTo>
                    <a:pt x="10249" y="18938"/>
                    <a:pt x="10655" y="20200"/>
                    <a:pt x="11431" y="20656"/>
                  </a:cubicBezTo>
                  <a:cubicBezTo>
                    <a:pt x="12113" y="21132"/>
                    <a:pt x="14450" y="21382"/>
                    <a:pt x="16727" y="21290"/>
                  </a:cubicBezTo>
                  <a:cubicBezTo>
                    <a:pt x="19030" y="21205"/>
                    <a:pt x="21212" y="20242"/>
                    <a:pt x="20979" y="19298"/>
                  </a:cubicBezTo>
                  <a:cubicBezTo>
                    <a:pt x="21230" y="18347"/>
                    <a:pt x="19772" y="16586"/>
                    <a:pt x="18331" y="15380"/>
                  </a:cubicBezTo>
                  <a:cubicBezTo>
                    <a:pt x="16865" y="14174"/>
                    <a:pt x="15467" y="12669"/>
                    <a:pt x="15072" y="12017"/>
                  </a:cubicBezTo>
                  <a:close/>
                  <a:moveTo>
                    <a:pt x="15072" y="120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29" name="AutoShape 931"/>
            <p:cNvSpPr>
              <a:spLocks/>
            </p:cNvSpPr>
            <p:nvPr/>
          </p:nvSpPr>
          <p:spPr bwMode="auto">
            <a:xfrm>
              <a:off x="3886200" y="5334000"/>
              <a:ext cx="1588" cy="3175"/>
            </a:xfrm>
            <a:custGeom>
              <a:avLst/>
              <a:gdLst/>
              <a:ahLst/>
              <a:cxnLst/>
              <a:rect l="0" t="0" r="r" b="b"/>
              <a:pathLst>
                <a:path w="18884" h="17921">
                  <a:moveTo>
                    <a:pt x="51" y="3256"/>
                  </a:moveTo>
                  <a:cubicBezTo>
                    <a:pt x="-616" y="8886"/>
                    <a:pt x="5379" y="15050"/>
                    <a:pt x="12346" y="17574"/>
                  </a:cubicBezTo>
                  <a:cubicBezTo>
                    <a:pt x="20682" y="19174"/>
                    <a:pt x="20984" y="15144"/>
                    <a:pt x="13614" y="7380"/>
                  </a:cubicBezTo>
                  <a:cubicBezTo>
                    <a:pt x="6243" y="-433"/>
                    <a:pt x="51" y="-2426"/>
                    <a:pt x="51" y="3256"/>
                  </a:cubicBezTo>
                  <a:close/>
                  <a:moveTo>
                    <a:pt x="51" y="32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0" name="AutoShape 932"/>
            <p:cNvSpPr>
              <a:spLocks/>
            </p:cNvSpPr>
            <p:nvPr/>
          </p:nvSpPr>
          <p:spPr bwMode="auto">
            <a:xfrm>
              <a:off x="3898900" y="5359400"/>
              <a:ext cx="3175" cy="7938"/>
            </a:xfrm>
            <a:custGeom>
              <a:avLst/>
              <a:gdLst/>
              <a:ahLst/>
              <a:cxnLst/>
              <a:rect l="0" t="0" r="r" b="b"/>
              <a:pathLst>
                <a:path w="19624" h="20191">
                  <a:moveTo>
                    <a:pt x="3668" y="4868"/>
                  </a:moveTo>
                  <a:cubicBezTo>
                    <a:pt x="13" y="7617"/>
                    <a:pt x="-1134" y="13256"/>
                    <a:pt x="1250" y="17071"/>
                  </a:cubicBezTo>
                  <a:cubicBezTo>
                    <a:pt x="2839" y="20943"/>
                    <a:pt x="8534" y="21251"/>
                    <a:pt x="13371" y="17772"/>
                  </a:cubicBezTo>
                  <a:cubicBezTo>
                    <a:pt x="18720" y="14491"/>
                    <a:pt x="20466" y="9077"/>
                    <a:pt x="19261" y="5934"/>
                  </a:cubicBezTo>
                  <a:cubicBezTo>
                    <a:pt x="17254" y="2848"/>
                    <a:pt x="14616" y="323"/>
                    <a:pt x="12830" y="45"/>
                  </a:cubicBezTo>
                  <a:cubicBezTo>
                    <a:pt x="11116" y="-349"/>
                    <a:pt x="6182" y="1923"/>
                    <a:pt x="3668" y="4868"/>
                  </a:cubicBezTo>
                  <a:close/>
                  <a:moveTo>
                    <a:pt x="3668" y="48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1" name="AutoShape 933"/>
            <p:cNvSpPr>
              <a:spLocks/>
            </p:cNvSpPr>
            <p:nvPr/>
          </p:nvSpPr>
          <p:spPr bwMode="auto">
            <a:xfrm>
              <a:off x="3886200" y="5346700"/>
              <a:ext cx="3175" cy="4763"/>
            </a:xfrm>
            <a:custGeom>
              <a:avLst/>
              <a:gdLst/>
              <a:ahLst/>
              <a:cxnLst/>
              <a:rect l="0" t="0" r="r" b="b"/>
              <a:pathLst>
                <a:path w="19112" h="19187">
                  <a:moveTo>
                    <a:pt x="1763" y="664"/>
                  </a:moveTo>
                  <a:cubicBezTo>
                    <a:pt x="-1223" y="2507"/>
                    <a:pt x="-500" y="8449"/>
                    <a:pt x="4577" y="13936"/>
                  </a:cubicBezTo>
                  <a:cubicBezTo>
                    <a:pt x="8984" y="19711"/>
                    <a:pt x="15188" y="20799"/>
                    <a:pt x="17942" y="16821"/>
                  </a:cubicBezTo>
                  <a:cubicBezTo>
                    <a:pt x="20377" y="12680"/>
                    <a:pt x="18810" y="7069"/>
                    <a:pt x="15099" y="3511"/>
                  </a:cubicBezTo>
                  <a:cubicBezTo>
                    <a:pt x="10864" y="163"/>
                    <a:pt x="5242" y="-801"/>
                    <a:pt x="1763" y="664"/>
                  </a:cubicBezTo>
                  <a:close/>
                  <a:moveTo>
                    <a:pt x="1763" y="6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2" name="AutoShape 934"/>
            <p:cNvSpPr>
              <a:spLocks/>
            </p:cNvSpPr>
            <p:nvPr/>
          </p:nvSpPr>
          <p:spPr bwMode="auto">
            <a:xfrm>
              <a:off x="4521200" y="4635500"/>
              <a:ext cx="11113" cy="14288"/>
            </a:xfrm>
            <a:custGeom>
              <a:avLst/>
              <a:gdLst/>
              <a:ahLst/>
              <a:cxnLst/>
              <a:rect l="0" t="0" r="r" b="b"/>
              <a:pathLst>
                <a:path w="19986" h="20453">
                  <a:moveTo>
                    <a:pt x="15614" y="0"/>
                  </a:moveTo>
                  <a:cubicBezTo>
                    <a:pt x="11595" y="267"/>
                    <a:pt x="6210" y="1708"/>
                    <a:pt x="3706" y="3715"/>
                  </a:cubicBezTo>
                  <a:cubicBezTo>
                    <a:pt x="1318" y="5885"/>
                    <a:pt x="-272" y="8724"/>
                    <a:pt x="38" y="10337"/>
                  </a:cubicBezTo>
                  <a:cubicBezTo>
                    <a:pt x="508" y="11967"/>
                    <a:pt x="4165" y="15535"/>
                    <a:pt x="7790" y="18573"/>
                  </a:cubicBezTo>
                  <a:cubicBezTo>
                    <a:pt x="11392" y="21600"/>
                    <a:pt x="14634" y="20862"/>
                    <a:pt x="14634" y="17148"/>
                  </a:cubicBezTo>
                  <a:cubicBezTo>
                    <a:pt x="14634" y="13494"/>
                    <a:pt x="16465" y="8099"/>
                    <a:pt x="18780" y="5242"/>
                  </a:cubicBezTo>
                  <a:cubicBezTo>
                    <a:pt x="21328" y="2514"/>
                    <a:pt x="19634" y="130"/>
                    <a:pt x="15614" y="0"/>
                  </a:cubicBezTo>
                  <a:close/>
                  <a:moveTo>
                    <a:pt x="15614"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3" name="AutoShape 935"/>
            <p:cNvSpPr>
              <a:spLocks/>
            </p:cNvSpPr>
            <p:nvPr/>
          </p:nvSpPr>
          <p:spPr bwMode="auto">
            <a:xfrm>
              <a:off x="4483100" y="4660900"/>
              <a:ext cx="4763" cy="3175"/>
            </a:xfrm>
            <a:custGeom>
              <a:avLst/>
              <a:gdLst/>
              <a:ahLst/>
              <a:cxnLst/>
              <a:rect l="0" t="0" r="r" b="b"/>
              <a:pathLst>
                <a:path w="17528" h="17706">
                  <a:moveTo>
                    <a:pt x="2541" y="6908"/>
                  </a:moveTo>
                  <a:cubicBezTo>
                    <a:pt x="-2178" y="14834"/>
                    <a:pt x="-220" y="19208"/>
                    <a:pt x="7554" y="17234"/>
                  </a:cubicBezTo>
                  <a:cubicBezTo>
                    <a:pt x="15293" y="15151"/>
                    <a:pt x="19422" y="9223"/>
                    <a:pt x="16679" y="3429"/>
                  </a:cubicBezTo>
                  <a:cubicBezTo>
                    <a:pt x="14113" y="-2392"/>
                    <a:pt x="7693" y="-520"/>
                    <a:pt x="2541" y="6908"/>
                  </a:cubicBezTo>
                  <a:close/>
                  <a:moveTo>
                    <a:pt x="2541" y="69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4" name="AutoShape 936"/>
            <p:cNvSpPr>
              <a:spLocks/>
            </p:cNvSpPr>
            <p:nvPr/>
          </p:nvSpPr>
          <p:spPr bwMode="auto">
            <a:xfrm>
              <a:off x="4533900" y="4673600"/>
              <a:ext cx="6350" cy="9525"/>
            </a:xfrm>
            <a:custGeom>
              <a:avLst/>
              <a:gdLst/>
              <a:ahLst/>
              <a:cxnLst/>
              <a:rect l="0" t="0" r="r" b="b"/>
              <a:pathLst>
                <a:path w="19259" h="19326">
                  <a:moveTo>
                    <a:pt x="2750" y="719"/>
                  </a:moveTo>
                  <a:cubicBezTo>
                    <a:pt x="-281" y="3138"/>
                    <a:pt x="-1025" y="7746"/>
                    <a:pt x="1623" y="11336"/>
                  </a:cubicBezTo>
                  <a:cubicBezTo>
                    <a:pt x="4270" y="14868"/>
                    <a:pt x="10409" y="18399"/>
                    <a:pt x="15245" y="19254"/>
                  </a:cubicBezTo>
                  <a:cubicBezTo>
                    <a:pt x="20163" y="19967"/>
                    <a:pt x="20575" y="15347"/>
                    <a:pt x="16405" y="8682"/>
                  </a:cubicBezTo>
                  <a:cubicBezTo>
                    <a:pt x="12201" y="1981"/>
                    <a:pt x="5952" y="-1633"/>
                    <a:pt x="2750" y="719"/>
                  </a:cubicBezTo>
                  <a:close/>
                  <a:moveTo>
                    <a:pt x="2750" y="7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5" name="AutoShape 937"/>
            <p:cNvSpPr>
              <a:spLocks/>
            </p:cNvSpPr>
            <p:nvPr/>
          </p:nvSpPr>
          <p:spPr bwMode="auto">
            <a:xfrm>
              <a:off x="4572000" y="4660900"/>
              <a:ext cx="4763" cy="9525"/>
            </a:xfrm>
            <a:custGeom>
              <a:avLst/>
              <a:gdLst/>
              <a:ahLst/>
              <a:cxnLst/>
              <a:rect l="0" t="0" r="r" b="b"/>
              <a:pathLst>
                <a:path w="18850" h="19429">
                  <a:moveTo>
                    <a:pt x="18213" y="16322"/>
                  </a:moveTo>
                  <a:cubicBezTo>
                    <a:pt x="19848" y="12408"/>
                    <a:pt x="18078" y="6272"/>
                    <a:pt x="15813" y="2535"/>
                  </a:cubicBezTo>
                  <a:cubicBezTo>
                    <a:pt x="12863" y="-1092"/>
                    <a:pt x="7345" y="-787"/>
                    <a:pt x="2721" y="3192"/>
                  </a:cubicBezTo>
                  <a:cubicBezTo>
                    <a:pt x="-1752" y="7192"/>
                    <a:pt x="-533" y="13319"/>
                    <a:pt x="5076" y="16957"/>
                  </a:cubicBezTo>
                  <a:cubicBezTo>
                    <a:pt x="10836" y="20508"/>
                    <a:pt x="16533" y="20178"/>
                    <a:pt x="18213" y="16322"/>
                  </a:cubicBezTo>
                  <a:close/>
                  <a:moveTo>
                    <a:pt x="18213" y="163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6" name="AutoShape 938"/>
            <p:cNvSpPr>
              <a:spLocks/>
            </p:cNvSpPr>
            <p:nvPr/>
          </p:nvSpPr>
          <p:spPr bwMode="auto">
            <a:xfrm>
              <a:off x="4572000" y="4686300"/>
              <a:ext cx="7938" cy="7938"/>
            </a:xfrm>
            <a:custGeom>
              <a:avLst/>
              <a:gdLst/>
              <a:ahLst/>
              <a:cxnLst/>
              <a:rect l="0" t="0" r="r" b="b"/>
              <a:pathLst>
                <a:path w="19211" h="19049">
                  <a:moveTo>
                    <a:pt x="12807" y="4678"/>
                  </a:moveTo>
                  <a:cubicBezTo>
                    <a:pt x="5990" y="-789"/>
                    <a:pt x="-218" y="-1531"/>
                    <a:pt x="20" y="2806"/>
                  </a:cubicBezTo>
                  <a:cubicBezTo>
                    <a:pt x="-203" y="7186"/>
                    <a:pt x="1465" y="13142"/>
                    <a:pt x="3608" y="16088"/>
                  </a:cubicBezTo>
                  <a:cubicBezTo>
                    <a:pt x="5885" y="18941"/>
                    <a:pt x="11675" y="20069"/>
                    <a:pt x="16395" y="17958"/>
                  </a:cubicBezTo>
                  <a:cubicBezTo>
                    <a:pt x="21382" y="16259"/>
                    <a:pt x="19477" y="10238"/>
                    <a:pt x="12807" y="4678"/>
                  </a:cubicBezTo>
                  <a:close/>
                  <a:moveTo>
                    <a:pt x="12807" y="46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7" name="AutoShape 939"/>
            <p:cNvSpPr>
              <a:spLocks/>
            </p:cNvSpPr>
            <p:nvPr/>
          </p:nvSpPr>
          <p:spPr bwMode="auto">
            <a:xfrm>
              <a:off x="4457700" y="4648200"/>
              <a:ext cx="9525" cy="4763"/>
            </a:xfrm>
            <a:custGeom>
              <a:avLst/>
              <a:gdLst/>
              <a:ahLst/>
              <a:cxnLst/>
              <a:rect l="0" t="0" r="r" b="b"/>
              <a:pathLst>
                <a:path w="19068" h="18663">
                  <a:moveTo>
                    <a:pt x="13105" y="1563"/>
                  </a:moveTo>
                  <a:cubicBezTo>
                    <a:pt x="8868" y="-2039"/>
                    <a:pt x="3512" y="852"/>
                    <a:pt x="1011" y="7470"/>
                  </a:cubicBezTo>
                  <a:cubicBezTo>
                    <a:pt x="-1639" y="13783"/>
                    <a:pt x="1152" y="19561"/>
                    <a:pt x="6668" y="18547"/>
                  </a:cubicBezTo>
                  <a:cubicBezTo>
                    <a:pt x="12214" y="17901"/>
                    <a:pt x="17656" y="15443"/>
                    <a:pt x="18792" y="12749"/>
                  </a:cubicBezTo>
                  <a:cubicBezTo>
                    <a:pt x="19961" y="10118"/>
                    <a:pt x="17291" y="5443"/>
                    <a:pt x="13105" y="1563"/>
                  </a:cubicBezTo>
                  <a:close/>
                  <a:moveTo>
                    <a:pt x="13105" y="15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8" name="AutoShape 940"/>
            <p:cNvSpPr>
              <a:spLocks/>
            </p:cNvSpPr>
            <p:nvPr/>
          </p:nvSpPr>
          <p:spPr bwMode="auto">
            <a:xfrm>
              <a:off x="4406900" y="4622800"/>
              <a:ext cx="50800" cy="28575"/>
            </a:xfrm>
            <a:custGeom>
              <a:avLst/>
              <a:gdLst/>
              <a:ahLst/>
              <a:cxnLst/>
              <a:rect l="0" t="0" r="r" b="b"/>
              <a:pathLst>
                <a:path w="21232" h="21066">
                  <a:moveTo>
                    <a:pt x="19270" y="3969"/>
                  </a:moveTo>
                  <a:cubicBezTo>
                    <a:pt x="19003" y="2943"/>
                    <a:pt x="18569" y="1563"/>
                    <a:pt x="18132" y="1037"/>
                  </a:cubicBezTo>
                  <a:cubicBezTo>
                    <a:pt x="17657" y="619"/>
                    <a:pt x="16165" y="519"/>
                    <a:pt x="14723" y="861"/>
                  </a:cubicBezTo>
                  <a:cubicBezTo>
                    <a:pt x="13283" y="1185"/>
                    <a:pt x="10041" y="1095"/>
                    <a:pt x="7504" y="354"/>
                  </a:cubicBezTo>
                  <a:cubicBezTo>
                    <a:pt x="4981" y="-384"/>
                    <a:pt x="2680" y="75"/>
                    <a:pt x="2453" y="1347"/>
                  </a:cubicBezTo>
                  <a:cubicBezTo>
                    <a:pt x="2213" y="2625"/>
                    <a:pt x="1478" y="4153"/>
                    <a:pt x="918" y="4953"/>
                  </a:cubicBezTo>
                  <a:cubicBezTo>
                    <a:pt x="327" y="5655"/>
                    <a:pt x="-92" y="7237"/>
                    <a:pt x="19" y="8438"/>
                  </a:cubicBezTo>
                  <a:cubicBezTo>
                    <a:pt x="87" y="9656"/>
                    <a:pt x="95" y="11329"/>
                    <a:pt x="27" y="12223"/>
                  </a:cubicBezTo>
                  <a:cubicBezTo>
                    <a:pt x="-80" y="13092"/>
                    <a:pt x="140" y="15002"/>
                    <a:pt x="438" y="16476"/>
                  </a:cubicBezTo>
                  <a:cubicBezTo>
                    <a:pt x="772" y="17925"/>
                    <a:pt x="2357" y="19318"/>
                    <a:pt x="3999" y="19652"/>
                  </a:cubicBezTo>
                  <a:cubicBezTo>
                    <a:pt x="5645" y="19853"/>
                    <a:pt x="7367" y="20524"/>
                    <a:pt x="7814" y="20928"/>
                  </a:cubicBezTo>
                  <a:cubicBezTo>
                    <a:pt x="8312" y="21130"/>
                    <a:pt x="9639" y="21216"/>
                    <a:pt x="10809" y="20433"/>
                  </a:cubicBezTo>
                  <a:cubicBezTo>
                    <a:pt x="12026" y="19840"/>
                    <a:pt x="13344" y="19733"/>
                    <a:pt x="13821" y="20254"/>
                  </a:cubicBezTo>
                  <a:cubicBezTo>
                    <a:pt x="14263" y="20910"/>
                    <a:pt x="15579" y="20268"/>
                    <a:pt x="16743" y="19062"/>
                  </a:cubicBezTo>
                  <a:cubicBezTo>
                    <a:pt x="17867" y="17732"/>
                    <a:pt x="19578" y="14818"/>
                    <a:pt x="20437" y="12368"/>
                  </a:cubicBezTo>
                  <a:cubicBezTo>
                    <a:pt x="21295" y="9908"/>
                    <a:pt x="21508" y="7466"/>
                    <a:pt x="20831" y="6967"/>
                  </a:cubicBezTo>
                  <a:cubicBezTo>
                    <a:pt x="20195" y="6302"/>
                    <a:pt x="19412" y="5101"/>
                    <a:pt x="19270" y="3969"/>
                  </a:cubicBezTo>
                  <a:close/>
                  <a:moveTo>
                    <a:pt x="19270" y="39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39" name="AutoShape 941"/>
            <p:cNvSpPr>
              <a:spLocks/>
            </p:cNvSpPr>
            <p:nvPr/>
          </p:nvSpPr>
          <p:spPr bwMode="auto">
            <a:xfrm>
              <a:off x="4356100" y="4635500"/>
              <a:ext cx="7938" cy="7938"/>
            </a:xfrm>
            <a:custGeom>
              <a:avLst/>
              <a:gdLst/>
              <a:ahLst/>
              <a:cxnLst/>
              <a:rect l="0" t="0" r="r" b="b"/>
              <a:pathLst>
                <a:path w="20027" h="20606">
                  <a:moveTo>
                    <a:pt x="17092" y="12578"/>
                  </a:moveTo>
                  <a:cubicBezTo>
                    <a:pt x="13992" y="11582"/>
                    <a:pt x="9787" y="8097"/>
                    <a:pt x="7226" y="4835"/>
                  </a:cubicBezTo>
                  <a:cubicBezTo>
                    <a:pt x="4969" y="1392"/>
                    <a:pt x="2232" y="-536"/>
                    <a:pt x="909" y="132"/>
                  </a:cubicBezTo>
                  <a:cubicBezTo>
                    <a:pt x="-474" y="740"/>
                    <a:pt x="-271" y="5190"/>
                    <a:pt x="1461" y="9167"/>
                  </a:cubicBezTo>
                  <a:cubicBezTo>
                    <a:pt x="2904" y="13347"/>
                    <a:pt x="6540" y="18095"/>
                    <a:pt x="9235" y="19799"/>
                  </a:cubicBezTo>
                  <a:cubicBezTo>
                    <a:pt x="12144" y="21064"/>
                    <a:pt x="16207" y="21003"/>
                    <a:pt x="18491" y="18451"/>
                  </a:cubicBezTo>
                  <a:cubicBezTo>
                    <a:pt x="21126" y="16212"/>
                    <a:pt x="20181" y="13481"/>
                    <a:pt x="17092" y="12578"/>
                  </a:cubicBezTo>
                  <a:close/>
                  <a:moveTo>
                    <a:pt x="17092" y="125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0" name="AutoShape 942"/>
            <p:cNvSpPr>
              <a:spLocks/>
            </p:cNvSpPr>
            <p:nvPr/>
          </p:nvSpPr>
          <p:spPr bwMode="auto">
            <a:xfrm>
              <a:off x="4267200" y="4559300"/>
              <a:ext cx="109538" cy="106363"/>
            </a:xfrm>
            <a:custGeom>
              <a:avLst/>
              <a:gdLst/>
              <a:ahLst/>
              <a:cxnLst/>
              <a:rect l="0" t="0" r="r" b="b"/>
              <a:pathLst>
                <a:path w="21540" h="21438">
                  <a:moveTo>
                    <a:pt x="17841" y="14474"/>
                  </a:moveTo>
                  <a:cubicBezTo>
                    <a:pt x="18212" y="14493"/>
                    <a:pt x="18896" y="14678"/>
                    <a:pt x="19333" y="14901"/>
                  </a:cubicBezTo>
                  <a:cubicBezTo>
                    <a:pt x="19779" y="15111"/>
                    <a:pt x="20257" y="14942"/>
                    <a:pt x="20311" y="14557"/>
                  </a:cubicBezTo>
                  <a:cubicBezTo>
                    <a:pt x="20397" y="14184"/>
                    <a:pt x="20626" y="13870"/>
                    <a:pt x="20823" y="13891"/>
                  </a:cubicBezTo>
                  <a:cubicBezTo>
                    <a:pt x="21017" y="13871"/>
                    <a:pt x="21292" y="13596"/>
                    <a:pt x="21442" y="13225"/>
                  </a:cubicBezTo>
                  <a:cubicBezTo>
                    <a:pt x="21573" y="12843"/>
                    <a:pt x="21573" y="12260"/>
                    <a:pt x="21435" y="11908"/>
                  </a:cubicBezTo>
                  <a:cubicBezTo>
                    <a:pt x="21247" y="11580"/>
                    <a:pt x="20616" y="10825"/>
                    <a:pt x="19973" y="10240"/>
                  </a:cubicBezTo>
                  <a:cubicBezTo>
                    <a:pt x="19330" y="9656"/>
                    <a:pt x="18577" y="9239"/>
                    <a:pt x="18339" y="9198"/>
                  </a:cubicBezTo>
                  <a:cubicBezTo>
                    <a:pt x="18099" y="9215"/>
                    <a:pt x="17574" y="9029"/>
                    <a:pt x="17185" y="8821"/>
                  </a:cubicBezTo>
                  <a:cubicBezTo>
                    <a:pt x="16790" y="8630"/>
                    <a:pt x="16258" y="8459"/>
                    <a:pt x="15994" y="8478"/>
                  </a:cubicBezTo>
                  <a:cubicBezTo>
                    <a:pt x="15733" y="8495"/>
                    <a:pt x="15143" y="8268"/>
                    <a:pt x="14744" y="7915"/>
                  </a:cubicBezTo>
                  <a:cubicBezTo>
                    <a:pt x="14308" y="7612"/>
                    <a:pt x="13606" y="7002"/>
                    <a:pt x="13155" y="6597"/>
                  </a:cubicBezTo>
                  <a:cubicBezTo>
                    <a:pt x="12708" y="6192"/>
                    <a:pt x="12092" y="5831"/>
                    <a:pt x="11789" y="5848"/>
                  </a:cubicBezTo>
                  <a:cubicBezTo>
                    <a:pt x="11487" y="5813"/>
                    <a:pt x="11398" y="5718"/>
                    <a:pt x="11621" y="5623"/>
                  </a:cubicBezTo>
                  <a:cubicBezTo>
                    <a:pt x="11824" y="5495"/>
                    <a:pt x="12361" y="5599"/>
                    <a:pt x="12812" y="5784"/>
                  </a:cubicBezTo>
                  <a:cubicBezTo>
                    <a:pt x="13266" y="5963"/>
                    <a:pt x="14176" y="6269"/>
                    <a:pt x="14861" y="6362"/>
                  </a:cubicBezTo>
                  <a:cubicBezTo>
                    <a:pt x="15544" y="6494"/>
                    <a:pt x="16330" y="6460"/>
                    <a:pt x="16602" y="6312"/>
                  </a:cubicBezTo>
                  <a:cubicBezTo>
                    <a:pt x="16882" y="6187"/>
                    <a:pt x="16931" y="5840"/>
                    <a:pt x="16716" y="5601"/>
                  </a:cubicBezTo>
                  <a:cubicBezTo>
                    <a:pt x="16496" y="5359"/>
                    <a:pt x="16182" y="5185"/>
                    <a:pt x="16003" y="5242"/>
                  </a:cubicBezTo>
                  <a:cubicBezTo>
                    <a:pt x="15821" y="5291"/>
                    <a:pt x="15254" y="5187"/>
                    <a:pt x="14737" y="5023"/>
                  </a:cubicBezTo>
                  <a:cubicBezTo>
                    <a:pt x="14213" y="4876"/>
                    <a:pt x="13580" y="4119"/>
                    <a:pt x="13332" y="3374"/>
                  </a:cubicBezTo>
                  <a:cubicBezTo>
                    <a:pt x="13078" y="2631"/>
                    <a:pt x="12625" y="1999"/>
                    <a:pt x="12342" y="2017"/>
                  </a:cubicBezTo>
                  <a:cubicBezTo>
                    <a:pt x="12064" y="1982"/>
                    <a:pt x="11718" y="2070"/>
                    <a:pt x="11587" y="2153"/>
                  </a:cubicBezTo>
                  <a:cubicBezTo>
                    <a:pt x="11441" y="2210"/>
                    <a:pt x="11191" y="2102"/>
                    <a:pt x="10969" y="1895"/>
                  </a:cubicBezTo>
                  <a:cubicBezTo>
                    <a:pt x="10773" y="1658"/>
                    <a:pt x="9528" y="1111"/>
                    <a:pt x="8230" y="657"/>
                  </a:cubicBezTo>
                  <a:cubicBezTo>
                    <a:pt x="6939" y="185"/>
                    <a:pt x="5779" y="-39"/>
                    <a:pt x="5622" y="77"/>
                  </a:cubicBezTo>
                  <a:cubicBezTo>
                    <a:pt x="5497" y="223"/>
                    <a:pt x="5118" y="239"/>
                    <a:pt x="4840" y="89"/>
                  </a:cubicBezTo>
                  <a:cubicBezTo>
                    <a:pt x="4548" y="-30"/>
                    <a:pt x="3907" y="-27"/>
                    <a:pt x="3404" y="84"/>
                  </a:cubicBezTo>
                  <a:cubicBezTo>
                    <a:pt x="2908" y="230"/>
                    <a:pt x="2361" y="668"/>
                    <a:pt x="2215" y="1111"/>
                  </a:cubicBezTo>
                  <a:cubicBezTo>
                    <a:pt x="2068" y="1557"/>
                    <a:pt x="1991" y="2106"/>
                    <a:pt x="2024" y="2344"/>
                  </a:cubicBezTo>
                  <a:cubicBezTo>
                    <a:pt x="2074" y="2582"/>
                    <a:pt x="1998" y="3142"/>
                    <a:pt x="1844" y="3574"/>
                  </a:cubicBezTo>
                  <a:cubicBezTo>
                    <a:pt x="1686" y="4007"/>
                    <a:pt x="1706" y="4666"/>
                    <a:pt x="1812" y="5048"/>
                  </a:cubicBezTo>
                  <a:cubicBezTo>
                    <a:pt x="1935" y="5423"/>
                    <a:pt x="1980" y="6143"/>
                    <a:pt x="1879" y="6646"/>
                  </a:cubicBezTo>
                  <a:cubicBezTo>
                    <a:pt x="1808" y="7155"/>
                    <a:pt x="1542" y="7740"/>
                    <a:pt x="1288" y="7891"/>
                  </a:cubicBezTo>
                  <a:cubicBezTo>
                    <a:pt x="1060" y="8075"/>
                    <a:pt x="826" y="8362"/>
                    <a:pt x="786" y="8543"/>
                  </a:cubicBezTo>
                  <a:cubicBezTo>
                    <a:pt x="751" y="8726"/>
                    <a:pt x="850" y="9282"/>
                    <a:pt x="988" y="9778"/>
                  </a:cubicBezTo>
                  <a:cubicBezTo>
                    <a:pt x="1141" y="10272"/>
                    <a:pt x="1276" y="10999"/>
                    <a:pt x="1259" y="11383"/>
                  </a:cubicBezTo>
                  <a:cubicBezTo>
                    <a:pt x="1241" y="11769"/>
                    <a:pt x="1244" y="12320"/>
                    <a:pt x="1227" y="12611"/>
                  </a:cubicBezTo>
                  <a:cubicBezTo>
                    <a:pt x="1205" y="12896"/>
                    <a:pt x="894" y="13586"/>
                    <a:pt x="570" y="14175"/>
                  </a:cubicBezTo>
                  <a:cubicBezTo>
                    <a:pt x="216" y="14748"/>
                    <a:pt x="-27" y="15435"/>
                    <a:pt x="2" y="15696"/>
                  </a:cubicBezTo>
                  <a:cubicBezTo>
                    <a:pt x="21" y="15958"/>
                    <a:pt x="192" y="16197"/>
                    <a:pt x="361" y="16217"/>
                  </a:cubicBezTo>
                  <a:cubicBezTo>
                    <a:pt x="511" y="16293"/>
                    <a:pt x="806" y="16702"/>
                    <a:pt x="980" y="17234"/>
                  </a:cubicBezTo>
                  <a:cubicBezTo>
                    <a:pt x="1147" y="17764"/>
                    <a:pt x="1229" y="18507"/>
                    <a:pt x="1141" y="18891"/>
                  </a:cubicBezTo>
                  <a:cubicBezTo>
                    <a:pt x="1072" y="19276"/>
                    <a:pt x="1212" y="19723"/>
                    <a:pt x="1482" y="19914"/>
                  </a:cubicBezTo>
                  <a:cubicBezTo>
                    <a:pt x="1760" y="20092"/>
                    <a:pt x="2065" y="20428"/>
                    <a:pt x="2135" y="20675"/>
                  </a:cubicBezTo>
                  <a:cubicBezTo>
                    <a:pt x="2218" y="20915"/>
                    <a:pt x="2443" y="21249"/>
                    <a:pt x="2647" y="21406"/>
                  </a:cubicBezTo>
                  <a:cubicBezTo>
                    <a:pt x="2850" y="21561"/>
                    <a:pt x="3175" y="21142"/>
                    <a:pt x="3317" y="20450"/>
                  </a:cubicBezTo>
                  <a:cubicBezTo>
                    <a:pt x="3484" y="19764"/>
                    <a:pt x="3909" y="18593"/>
                    <a:pt x="4264" y="17850"/>
                  </a:cubicBezTo>
                  <a:cubicBezTo>
                    <a:pt x="4634" y="17109"/>
                    <a:pt x="4853" y="16300"/>
                    <a:pt x="4820" y="16058"/>
                  </a:cubicBezTo>
                  <a:cubicBezTo>
                    <a:pt x="4769" y="15817"/>
                    <a:pt x="4808" y="15339"/>
                    <a:pt x="4956" y="15015"/>
                  </a:cubicBezTo>
                  <a:cubicBezTo>
                    <a:pt x="5087" y="14683"/>
                    <a:pt x="5334" y="14619"/>
                    <a:pt x="5512" y="14882"/>
                  </a:cubicBezTo>
                  <a:cubicBezTo>
                    <a:pt x="5703" y="15137"/>
                    <a:pt x="6014" y="15397"/>
                    <a:pt x="6226" y="15432"/>
                  </a:cubicBezTo>
                  <a:cubicBezTo>
                    <a:pt x="6432" y="15503"/>
                    <a:pt x="6755" y="15045"/>
                    <a:pt x="6929" y="14475"/>
                  </a:cubicBezTo>
                  <a:cubicBezTo>
                    <a:pt x="7092" y="13903"/>
                    <a:pt x="7442" y="13598"/>
                    <a:pt x="7659" y="13819"/>
                  </a:cubicBezTo>
                  <a:cubicBezTo>
                    <a:pt x="7885" y="14036"/>
                    <a:pt x="8089" y="14581"/>
                    <a:pt x="8129" y="15041"/>
                  </a:cubicBezTo>
                  <a:cubicBezTo>
                    <a:pt x="8147" y="15500"/>
                    <a:pt x="8352" y="16003"/>
                    <a:pt x="8522" y="16195"/>
                  </a:cubicBezTo>
                  <a:cubicBezTo>
                    <a:pt x="8725" y="16345"/>
                    <a:pt x="9207" y="16433"/>
                    <a:pt x="9595" y="16233"/>
                  </a:cubicBezTo>
                  <a:cubicBezTo>
                    <a:pt x="9995" y="16058"/>
                    <a:pt x="10647" y="15476"/>
                    <a:pt x="11072" y="14929"/>
                  </a:cubicBezTo>
                  <a:cubicBezTo>
                    <a:pt x="11470" y="14361"/>
                    <a:pt x="12176" y="13844"/>
                    <a:pt x="12618" y="13712"/>
                  </a:cubicBezTo>
                  <a:cubicBezTo>
                    <a:pt x="13071" y="13637"/>
                    <a:pt x="13835" y="13612"/>
                    <a:pt x="14324" y="13737"/>
                  </a:cubicBezTo>
                  <a:cubicBezTo>
                    <a:pt x="14818" y="13834"/>
                    <a:pt x="15485" y="13854"/>
                    <a:pt x="15769" y="13659"/>
                  </a:cubicBezTo>
                  <a:cubicBezTo>
                    <a:pt x="16061" y="13478"/>
                    <a:pt x="16531" y="13584"/>
                    <a:pt x="16747" y="13878"/>
                  </a:cubicBezTo>
                  <a:cubicBezTo>
                    <a:pt x="16982" y="14155"/>
                    <a:pt x="17474" y="14420"/>
                    <a:pt x="17841" y="14474"/>
                  </a:cubicBezTo>
                  <a:close/>
                  <a:moveTo>
                    <a:pt x="17841" y="144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1" name="AutoShape 943"/>
            <p:cNvSpPr>
              <a:spLocks/>
            </p:cNvSpPr>
            <p:nvPr/>
          </p:nvSpPr>
          <p:spPr bwMode="auto">
            <a:xfrm>
              <a:off x="5486400" y="2095500"/>
              <a:ext cx="7938" cy="7938"/>
            </a:xfrm>
            <a:custGeom>
              <a:avLst/>
              <a:gdLst/>
              <a:ahLst/>
              <a:cxnLst/>
              <a:rect l="0" t="0" r="r" b="b"/>
              <a:pathLst>
                <a:path w="20649" h="21003">
                  <a:moveTo>
                    <a:pt x="8575" y="8998"/>
                  </a:moveTo>
                  <a:cubicBezTo>
                    <a:pt x="4176" y="13782"/>
                    <a:pt x="76" y="18579"/>
                    <a:pt x="76" y="19831"/>
                  </a:cubicBezTo>
                  <a:cubicBezTo>
                    <a:pt x="-345" y="20972"/>
                    <a:pt x="1049" y="21478"/>
                    <a:pt x="2566" y="20434"/>
                  </a:cubicBezTo>
                  <a:cubicBezTo>
                    <a:pt x="4190" y="19672"/>
                    <a:pt x="7668" y="16963"/>
                    <a:pt x="10266" y="14557"/>
                  </a:cubicBezTo>
                  <a:cubicBezTo>
                    <a:pt x="13081" y="12436"/>
                    <a:pt x="16804" y="7892"/>
                    <a:pt x="18847" y="4976"/>
                  </a:cubicBezTo>
                  <a:cubicBezTo>
                    <a:pt x="20903" y="2093"/>
                    <a:pt x="21255" y="-122"/>
                    <a:pt x="19617" y="5"/>
                  </a:cubicBezTo>
                  <a:cubicBezTo>
                    <a:pt x="18007" y="115"/>
                    <a:pt x="13067" y="4295"/>
                    <a:pt x="8575" y="8998"/>
                  </a:cubicBezTo>
                  <a:close/>
                  <a:moveTo>
                    <a:pt x="8575" y="89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2" name="AutoShape 944"/>
            <p:cNvSpPr>
              <a:spLocks/>
            </p:cNvSpPr>
            <p:nvPr/>
          </p:nvSpPr>
          <p:spPr bwMode="auto">
            <a:xfrm>
              <a:off x="6781800" y="1282700"/>
              <a:ext cx="11113" cy="12700"/>
            </a:xfrm>
            <a:custGeom>
              <a:avLst/>
              <a:gdLst/>
              <a:ahLst/>
              <a:cxnLst/>
              <a:rect l="0" t="0" r="r" b="b"/>
              <a:pathLst>
                <a:path w="21091" h="20817">
                  <a:moveTo>
                    <a:pt x="18422" y="6101"/>
                  </a:moveTo>
                  <a:cubicBezTo>
                    <a:pt x="19850" y="4931"/>
                    <a:pt x="20957" y="2813"/>
                    <a:pt x="21091" y="1076"/>
                  </a:cubicBezTo>
                  <a:cubicBezTo>
                    <a:pt x="20945" y="-642"/>
                    <a:pt x="17884" y="-298"/>
                    <a:pt x="14296" y="2077"/>
                  </a:cubicBezTo>
                  <a:cubicBezTo>
                    <a:pt x="10539" y="4236"/>
                    <a:pt x="7209" y="7582"/>
                    <a:pt x="6908" y="9250"/>
                  </a:cubicBezTo>
                  <a:cubicBezTo>
                    <a:pt x="6588" y="10929"/>
                    <a:pt x="4518" y="13431"/>
                    <a:pt x="2637" y="15031"/>
                  </a:cubicBezTo>
                  <a:cubicBezTo>
                    <a:pt x="661" y="16542"/>
                    <a:pt x="-509" y="18564"/>
                    <a:pt x="216" y="19416"/>
                  </a:cubicBezTo>
                  <a:cubicBezTo>
                    <a:pt x="847" y="20311"/>
                    <a:pt x="3516" y="20958"/>
                    <a:pt x="6186" y="20791"/>
                  </a:cubicBezTo>
                  <a:cubicBezTo>
                    <a:pt x="8823" y="20556"/>
                    <a:pt x="11802" y="19593"/>
                    <a:pt x="13083" y="18820"/>
                  </a:cubicBezTo>
                  <a:cubicBezTo>
                    <a:pt x="14181" y="17809"/>
                    <a:pt x="14874" y="16317"/>
                    <a:pt x="14242" y="15473"/>
                  </a:cubicBezTo>
                  <a:cubicBezTo>
                    <a:pt x="13890" y="14500"/>
                    <a:pt x="13643" y="12430"/>
                    <a:pt x="14450" y="10899"/>
                  </a:cubicBezTo>
                  <a:cubicBezTo>
                    <a:pt x="14905" y="9230"/>
                    <a:pt x="16850" y="7102"/>
                    <a:pt x="18422" y="6101"/>
                  </a:cubicBezTo>
                  <a:close/>
                  <a:moveTo>
                    <a:pt x="18422" y="61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3" name="AutoShape 945"/>
            <p:cNvSpPr>
              <a:spLocks/>
            </p:cNvSpPr>
            <p:nvPr/>
          </p:nvSpPr>
          <p:spPr bwMode="auto">
            <a:xfrm>
              <a:off x="5956300" y="1968500"/>
              <a:ext cx="20638" cy="17463"/>
            </a:xfrm>
            <a:custGeom>
              <a:avLst/>
              <a:gdLst/>
              <a:ahLst/>
              <a:cxnLst/>
              <a:rect l="0" t="0" r="r" b="b"/>
              <a:pathLst>
                <a:path w="20979" h="21364">
                  <a:moveTo>
                    <a:pt x="16239" y="4123"/>
                  </a:moveTo>
                  <a:cubicBezTo>
                    <a:pt x="15409" y="3974"/>
                    <a:pt x="14320" y="2780"/>
                    <a:pt x="13936" y="1630"/>
                  </a:cubicBezTo>
                  <a:cubicBezTo>
                    <a:pt x="13514" y="496"/>
                    <a:pt x="12053" y="-236"/>
                    <a:pt x="10777" y="70"/>
                  </a:cubicBezTo>
                  <a:cubicBezTo>
                    <a:pt x="9507" y="398"/>
                    <a:pt x="7159" y="1973"/>
                    <a:pt x="5493" y="3616"/>
                  </a:cubicBezTo>
                  <a:cubicBezTo>
                    <a:pt x="3839" y="5279"/>
                    <a:pt x="2197" y="7616"/>
                    <a:pt x="1881" y="8795"/>
                  </a:cubicBezTo>
                  <a:cubicBezTo>
                    <a:pt x="1491" y="9952"/>
                    <a:pt x="835" y="11878"/>
                    <a:pt x="234" y="12960"/>
                  </a:cubicBezTo>
                  <a:cubicBezTo>
                    <a:pt x="-355" y="14064"/>
                    <a:pt x="216" y="15751"/>
                    <a:pt x="1430" y="16654"/>
                  </a:cubicBezTo>
                  <a:cubicBezTo>
                    <a:pt x="2588" y="17639"/>
                    <a:pt x="3882" y="19013"/>
                    <a:pt x="4204" y="19893"/>
                  </a:cubicBezTo>
                  <a:cubicBezTo>
                    <a:pt x="4507" y="20789"/>
                    <a:pt x="5666" y="21364"/>
                    <a:pt x="6720" y="21364"/>
                  </a:cubicBezTo>
                  <a:cubicBezTo>
                    <a:pt x="7784" y="21304"/>
                    <a:pt x="9755" y="20259"/>
                    <a:pt x="11061" y="19034"/>
                  </a:cubicBezTo>
                  <a:cubicBezTo>
                    <a:pt x="12418" y="17916"/>
                    <a:pt x="14889" y="16758"/>
                    <a:pt x="16655" y="16595"/>
                  </a:cubicBezTo>
                  <a:cubicBezTo>
                    <a:pt x="18414" y="16378"/>
                    <a:pt x="20173" y="15355"/>
                    <a:pt x="20768" y="14288"/>
                  </a:cubicBezTo>
                  <a:cubicBezTo>
                    <a:pt x="21245" y="13139"/>
                    <a:pt x="20929" y="10423"/>
                    <a:pt x="19683" y="8406"/>
                  </a:cubicBezTo>
                  <a:cubicBezTo>
                    <a:pt x="18736" y="6221"/>
                    <a:pt x="17027" y="4437"/>
                    <a:pt x="16239" y="4123"/>
                  </a:cubicBezTo>
                  <a:close/>
                  <a:moveTo>
                    <a:pt x="16239" y="41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4" name="AutoShape 946"/>
            <p:cNvSpPr>
              <a:spLocks/>
            </p:cNvSpPr>
            <p:nvPr/>
          </p:nvSpPr>
          <p:spPr bwMode="auto">
            <a:xfrm>
              <a:off x="5892800" y="2006600"/>
              <a:ext cx="1588" cy="1588"/>
            </a:xfrm>
            <a:custGeom>
              <a:avLst/>
              <a:gdLst/>
              <a:ahLst/>
              <a:cxnLst/>
              <a:rect l="0" t="0" r="r" b="b"/>
              <a:pathLst>
                <a:path w="19616" h="19410">
                  <a:moveTo>
                    <a:pt x="157" y="2914"/>
                  </a:moveTo>
                  <a:cubicBezTo>
                    <a:pt x="-661" y="6285"/>
                    <a:pt x="1762" y="12538"/>
                    <a:pt x="6239" y="16491"/>
                  </a:cubicBezTo>
                  <a:cubicBezTo>
                    <a:pt x="10474" y="20603"/>
                    <a:pt x="17217" y="20444"/>
                    <a:pt x="18774" y="15547"/>
                  </a:cubicBezTo>
                  <a:cubicBezTo>
                    <a:pt x="20939" y="10726"/>
                    <a:pt x="18928" y="4389"/>
                    <a:pt x="12733" y="1877"/>
                  </a:cubicBezTo>
                  <a:cubicBezTo>
                    <a:pt x="6897" y="-997"/>
                    <a:pt x="1010" y="-508"/>
                    <a:pt x="157" y="2914"/>
                  </a:cubicBezTo>
                  <a:close/>
                  <a:moveTo>
                    <a:pt x="157" y="291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5" name="AutoShape 947"/>
            <p:cNvSpPr>
              <a:spLocks/>
            </p:cNvSpPr>
            <p:nvPr/>
          </p:nvSpPr>
          <p:spPr bwMode="auto">
            <a:xfrm>
              <a:off x="5651500" y="1689100"/>
              <a:ext cx="17463" cy="7938"/>
            </a:xfrm>
            <a:custGeom>
              <a:avLst/>
              <a:gdLst/>
              <a:ahLst/>
              <a:cxnLst/>
              <a:rect l="0" t="0" r="r" b="b"/>
              <a:pathLst>
                <a:path w="21326" h="20698">
                  <a:moveTo>
                    <a:pt x="10016" y="14350"/>
                  </a:moveTo>
                  <a:cubicBezTo>
                    <a:pt x="12186" y="11572"/>
                    <a:pt x="15386" y="7667"/>
                    <a:pt x="17349" y="6448"/>
                  </a:cubicBezTo>
                  <a:cubicBezTo>
                    <a:pt x="19245" y="4930"/>
                    <a:pt x="20830" y="2532"/>
                    <a:pt x="21307" y="1541"/>
                  </a:cubicBezTo>
                  <a:cubicBezTo>
                    <a:pt x="21500" y="243"/>
                    <a:pt x="20220" y="-490"/>
                    <a:pt x="18309" y="376"/>
                  </a:cubicBezTo>
                  <a:cubicBezTo>
                    <a:pt x="16345" y="581"/>
                    <a:pt x="13608" y="1175"/>
                    <a:pt x="12261" y="159"/>
                  </a:cubicBezTo>
                  <a:cubicBezTo>
                    <a:pt x="10855" y="-368"/>
                    <a:pt x="8231" y="526"/>
                    <a:pt x="6356" y="2424"/>
                  </a:cubicBezTo>
                  <a:cubicBezTo>
                    <a:pt x="4511" y="4428"/>
                    <a:pt x="2206" y="7911"/>
                    <a:pt x="1321" y="10323"/>
                  </a:cubicBezTo>
                  <a:cubicBezTo>
                    <a:pt x="339" y="12587"/>
                    <a:pt x="-100" y="16179"/>
                    <a:pt x="19" y="18088"/>
                  </a:cubicBezTo>
                  <a:cubicBezTo>
                    <a:pt x="19" y="20000"/>
                    <a:pt x="1662" y="21110"/>
                    <a:pt x="3239" y="20555"/>
                  </a:cubicBezTo>
                  <a:cubicBezTo>
                    <a:pt x="4838" y="20136"/>
                    <a:pt x="7865" y="17222"/>
                    <a:pt x="10016" y="14350"/>
                  </a:cubicBezTo>
                  <a:close/>
                  <a:moveTo>
                    <a:pt x="10016" y="143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6" name="AutoShape 948"/>
            <p:cNvSpPr>
              <a:spLocks/>
            </p:cNvSpPr>
            <p:nvPr/>
          </p:nvSpPr>
          <p:spPr bwMode="auto">
            <a:xfrm>
              <a:off x="6502400" y="1524000"/>
              <a:ext cx="82550" cy="19050"/>
            </a:xfrm>
            <a:custGeom>
              <a:avLst/>
              <a:gdLst/>
              <a:ahLst/>
              <a:cxnLst/>
              <a:rect l="0" t="0" r="r" b="b"/>
              <a:pathLst>
                <a:path w="21485" h="21288">
                  <a:moveTo>
                    <a:pt x="7235" y="20877"/>
                  </a:moveTo>
                  <a:cubicBezTo>
                    <a:pt x="8010" y="21495"/>
                    <a:pt x="9595" y="21380"/>
                    <a:pt x="10762" y="20775"/>
                  </a:cubicBezTo>
                  <a:cubicBezTo>
                    <a:pt x="11932" y="20219"/>
                    <a:pt x="14239" y="19445"/>
                    <a:pt x="15897" y="19289"/>
                  </a:cubicBezTo>
                  <a:cubicBezTo>
                    <a:pt x="17550" y="19085"/>
                    <a:pt x="19487" y="18433"/>
                    <a:pt x="20199" y="17898"/>
                  </a:cubicBezTo>
                  <a:cubicBezTo>
                    <a:pt x="20915" y="17388"/>
                    <a:pt x="21506" y="16235"/>
                    <a:pt x="21484" y="15563"/>
                  </a:cubicBezTo>
                  <a:cubicBezTo>
                    <a:pt x="21461" y="14905"/>
                    <a:pt x="20934" y="14111"/>
                    <a:pt x="20271" y="14064"/>
                  </a:cubicBezTo>
                  <a:cubicBezTo>
                    <a:pt x="19610" y="13908"/>
                    <a:pt x="17936" y="14274"/>
                    <a:pt x="16553" y="14674"/>
                  </a:cubicBezTo>
                  <a:cubicBezTo>
                    <a:pt x="15173" y="15184"/>
                    <a:pt x="13606" y="15095"/>
                    <a:pt x="13058" y="14777"/>
                  </a:cubicBezTo>
                  <a:cubicBezTo>
                    <a:pt x="12525" y="14308"/>
                    <a:pt x="11470" y="13290"/>
                    <a:pt x="10731" y="12402"/>
                  </a:cubicBezTo>
                  <a:cubicBezTo>
                    <a:pt x="9975" y="11703"/>
                    <a:pt x="8909" y="10792"/>
                    <a:pt x="8344" y="10745"/>
                  </a:cubicBezTo>
                  <a:cubicBezTo>
                    <a:pt x="7778" y="10691"/>
                    <a:pt x="7120" y="10060"/>
                    <a:pt x="6898" y="9273"/>
                  </a:cubicBezTo>
                  <a:cubicBezTo>
                    <a:pt x="6665" y="8574"/>
                    <a:pt x="6700" y="7353"/>
                    <a:pt x="6965" y="6783"/>
                  </a:cubicBezTo>
                  <a:cubicBezTo>
                    <a:pt x="7230" y="6218"/>
                    <a:pt x="7767" y="5581"/>
                    <a:pt x="8159" y="5533"/>
                  </a:cubicBezTo>
                  <a:cubicBezTo>
                    <a:pt x="8555" y="5392"/>
                    <a:pt x="9553" y="6660"/>
                    <a:pt x="10411" y="7943"/>
                  </a:cubicBezTo>
                  <a:cubicBezTo>
                    <a:pt x="11248" y="9375"/>
                    <a:pt x="12785" y="10630"/>
                    <a:pt x="13819" y="10834"/>
                  </a:cubicBezTo>
                  <a:cubicBezTo>
                    <a:pt x="14849" y="10990"/>
                    <a:pt x="15954" y="11030"/>
                    <a:pt x="16269" y="10806"/>
                  </a:cubicBezTo>
                  <a:cubicBezTo>
                    <a:pt x="16589" y="10698"/>
                    <a:pt x="16638" y="9700"/>
                    <a:pt x="16352" y="9042"/>
                  </a:cubicBezTo>
                  <a:cubicBezTo>
                    <a:pt x="16077" y="8254"/>
                    <a:pt x="14902" y="6145"/>
                    <a:pt x="13756" y="4170"/>
                  </a:cubicBezTo>
                  <a:cubicBezTo>
                    <a:pt x="12598" y="2378"/>
                    <a:pt x="10266" y="423"/>
                    <a:pt x="8565" y="166"/>
                  </a:cubicBezTo>
                  <a:cubicBezTo>
                    <a:pt x="6860" y="-86"/>
                    <a:pt x="5102" y="-105"/>
                    <a:pt x="4676" y="484"/>
                  </a:cubicBezTo>
                  <a:cubicBezTo>
                    <a:pt x="4246" y="987"/>
                    <a:pt x="3850" y="2032"/>
                    <a:pt x="3826" y="2887"/>
                  </a:cubicBezTo>
                  <a:cubicBezTo>
                    <a:pt x="3826" y="3749"/>
                    <a:pt x="3117" y="5065"/>
                    <a:pt x="2337" y="6016"/>
                  </a:cubicBezTo>
                  <a:cubicBezTo>
                    <a:pt x="1553" y="6877"/>
                    <a:pt x="620" y="8296"/>
                    <a:pt x="267" y="9144"/>
                  </a:cubicBezTo>
                  <a:cubicBezTo>
                    <a:pt x="-94" y="9911"/>
                    <a:pt x="-88" y="11458"/>
                    <a:pt x="276" y="12279"/>
                  </a:cubicBezTo>
                  <a:cubicBezTo>
                    <a:pt x="645" y="13059"/>
                    <a:pt x="1548" y="13948"/>
                    <a:pt x="2310" y="13948"/>
                  </a:cubicBezTo>
                  <a:cubicBezTo>
                    <a:pt x="3071" y="14050"/>
                    <a:pt x="4171" y="15354"/>
                    <a:pt x="4764" y="16907"/>
                  </a:cubicBezTo>
                  <a:cubicBezTo>
                    <a:pt x="5364" y="18440"/>
                    <a:pt x="6466" y="20266"/>
                    <a:pt x="7235" y="20877"/>
                  </a:cubicBezTo>
                  <a:close/>
                  <a:moveTo>
                    <a:pt x="7235" y="208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7" name="AutoShape 949"/>
            <p:cNvSpPr>
              <a:spLocks/>
            </p:cNvSpPr>
            <p:nvPr/>
          </p:nvSpPr>
          <p:spPr bwMode="auto">
            <a:xfrm>
              <a:off x="5778500" y="2120900"/>
              <a:ext cx="15875" cy="9525"/>
            </a:xfrm>
            <a:custGeom>
              <a:avLst/>
              <a:gdLst/>
              <a:ahLst/>
              <a:cxnLst/>
              <a:rect l="0" t="0" r="r" b="b"/>
              <a:pathLst>
                <a:path w="21163" h="21272">
                  <a:moveTo>
                    <a:pt x="13580" y="8221"/>
                  </a:moveTo>
                  <a:cubicBezTo>
                    <a:pt x="10527" y="7373"/>
                    <a:pt x="7183" y="5067"/>
                    <a:pt x="6218" y="3066"/>
                  </a:cubicBezTo>
                  <a:cubicBezTo>
                    <a:pt x="5467" y="861"/>
                    <a:pt x="3487" y="101"/>
                    <a:pt x="2372" y="0"/>
                  </a:cubicBezTo>
                  <a:cubicBezTo>
                    <a:pt x="1265" y="254"/>
                    <a:pt x="-138" y="1445"/>
                    <a:pt x="11" y="2675"/>
                  </a:cubicBezTo>
                  <a:cubicBezTo>
                    <a:pt x="-89" y="3876"/>
                    <a:pt x="1480" y="6753"/>
                    <a:pt x="3337" y="9614"/>
                  </a:cubicBezTo>
                  <a:cubicBezTo>
                    <a:pt x="5533" y="11871"/>
                    <a:pt x="9239" y="15330"/>
                    <a:pt x="11913" y="16811"/>
                  </a:cubicBezTo>
                  <a:cubicBezTo>
                    <a:pt x="14645" y="18152"/>
                    <a:pt x="17304" y="19787"/>
                    <a:pt x="17576" y="20739"/>
                  </a:cubicBezTo>
                  <a:cubicBezTo>
                    <a:pt x="17914" y="21600"/>
                    <a:pt x="19168" y="21395"/>
                    <a:pt x="20208" y="20295"/>
                  </a:cubicBezTo>
                  <a:cubicBezTo>
                    <a:pt x="21315" y="19294"/>
                    <a:pt x="21462" y="16468"/>
                    <a:pt x="20637" y="14113"/>
                  </a:cubicBezTo>
                  <a:cubicBezTo>
                    <a:pt x="19787" y="11768"/>
                    <a:pt x="16634" y="9161"/>
                    <a:pt x="13580" y="8221"/>
                  </a:cubicBezTo>
                  <a:close/>
                  <a:moveTo>
                    <a:pt x="13580" y="82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8" name="AutoShape 950"/>
            <p:cNvSpPr>
              <a:spLocks/>
            </p:cNvSpPr>
            <p:nvPr/>
          </p:nvSpPr>
          <p:spPr bwMode="auto">
            <a:xfrm>
              <a:off x="6515100" y="1549400"/>
              <a:ext cx="7938" cy="6350"/>
            </a:xfrm>
            <a:custGeom>
              <a:avLst/>
              <a:gdLst/>
              <a:ahLst/>
              <a:cxnLst/>
              <a:rect l="0" t="0" r="r" b="b"/>
              <a:pathLst>
                <a:path w="19522" h="20195">
                  <a:moveTo>
                    <a:pt x="150" y="12477"/>
                  </a:moveTo>
                  <a:cubicBezTo>
                    <a:pt x="-452" y="14975"/>
                    <a:pt x="818" y="18451"/>
                    <a:pt x="2936" y="19298"/>
                  </a:cubicBezTo>
                  <a:cubicBezTo>
                    <a:pt x="4940" y="20784"/>
                    <a:pt x="8581" y="20295"/>
                    <a:pt x="10865" y="18771"/>
                  </a:cubicBezTo>
                  <a:cubicBezTo>
                    <a:pt x="13047" y="17023"/>
                    <a:pt x="14781" y="14036"/>
                    <a:pt x="14600" y="11553"/>
                  </a:cubicBezTo>
                  <a:cubicBezTo>
                    <a:pt x="14383" y="9112"/>
                    <a:pt x="16064" y="4635"/>
                    <a:pt x="18642" y="2060"/>
                  </a:cubicBezTo>
                  <a:cubicBezTo>
                    <a:pt x="21148" y="-681"/>
                    <a:pt x="18090" y="-816"/>
                    <a:pt x="12112" y="2437"/>
                  </a:cubicBezTo>
                  <a:cubicBezTo>
                    <a:pt x="5965" y="5032"/>
                    <a:pt x="523" y="9882"/>
                    <a:pt x="150" y="12477"/>
                  </a:cubicBezTo>
                  <a:close/>
                  <a:moveTo>
                    <a:pt x="150" y="124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49" name="AutoShape 951"/>
            <p:cNvSpPr>
              <a:spLocks/>
            </p:cNvSpPr>
            <p:nvPr/>
          </p:nvSpPr>
          <p:spPr bwMode="auto">
            <a:xfrm>
              <a:off x="6781800" y="1168400"/>
              <a:ext cx="19050" cy="7938"/>
            </a:xfrm>
            <a:custGeom>
              <a:avLst/>
              <a:gdLst/>
              <a:ahLst/>
              <a:cxnLst/>
              <a:rect l="0" t="0" r="r" b="b"/>
              <a:pathLst>
                <a:path w="21331" h="20925">
                  <a:moveTo>
                    <a:pt x="9821" y="1483"/>
                  </a:moveTo>
                  <a:cubicBezTo>
                    <a:pt x="6278" y="3150"/>
                    <a:pt x="2684" y="6914"/>
                    <a:pt x="1624" y="9525"/>
                  </a:cubicBezTo>
                  <a:cubicBezTo>
                    <a:pt x="714" y="12401"/>
                    <a:pt x="0" y="16068"/>
                    <a:pt x="0" y="17889"/>
                  </a:cubicBezTo>
                  <a:cubicBezTo>
                    <a:pt x="111" y="19678"/>
                    <a:pt x="818" y="21055"/>
                    <a:pt x="1643" y="20916"/>
                  </a:cubicBezTo>
                  <a:cubicBezTo>
                    <a:pt x="2449" y="20722"/>
                    <a:pt x="3745" y="19832"/>
                    <a:pt x="4543" y="19041"/>
                  </a:cubicBezTo>
                  <a:cubicBezTo>
                    <a:pt x="5303" y="18125"/>
                    <a:pt x="8073" y="17442"/>
                    <a:pt x="10653" y="17442"/>
                  </a:cubicBezTo>
                  <a:cubicBezTo>
                    <a:pt x="13251" y="17331"/>
                    <a:pt x="16578" y="15775"/>
                    <a:pt x="18195" y="14415"/>
                  </a:cubicBezTo>
                  <a:cubicBezTo>
                    <a:pt x="19740" y="12720"/>
                    <a:pt x="20985" y="9457"/>
                    <a:pt x="21279" y="7275"/>
                  </a:cubicBezTo>
                  <a:cubicBezTo>
                    <a:pt x="21600" y="5107"/>
                    <a:pt x="20369" y="2220"/>
                    <a:pt x="18935" y="843"/>
                  </a:cubicBezTo>
                  <a:cubicBezTo>
                    <a:pt x="17488" y="-545"/>
                    <a:pt x="13369" y="-141"/>
                    <a:pt x="9821" y="1483"/>
                  </a:cubicBezTo>
                  <a:close/>
                  <a:moveTo>
                    <a:pt x="9821" y="14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0" name="AutoShape 952"/>
            <p:cNvSpPr>
              <a:spLocks/>
            </p:cNvSpPr>
            <p:nvPr/>
          </p:nvSpPr>
          <p:spPr bwMode="auto">
            <a:xfrm>
              <a:off x="5880100" y="2006600"/>
              <a:ext cx="4763" cy="3175"/>
            </a:xfrm>
            <a:custGeom>
              <a:avLst/>
              <a:gdLst/>
              <a:ahLst/>
              <a:cxnLst/>
              <a:rect l="0" t="0" r="r" b="b"/>
              <a:pathLst>
                <a:path w="19874" h="19543">
                  <a:moveTo>
                    <a:pt x="4466" y="418"/>
                  </a:moveTo>
                  <a:cubicBezTo>
                    <a:pt x="1173" y="1176"/>
                    <a:pt x="-567" y="5027"/>
                    <a:pt x="166" y="8854"/>
                  </a:cubicBezTo>
                  <a:cubicBezTo>
                    <a:pt x="1299" y="12581"/>
                    <a:pt x="5029" y="17589"/>
                    <a:pt x="9177" y="18769"/>
                  </a:cubicBezTo>
                  <a:cubicBezTo>
                    <a:pt x="13105" y="20713"/>
                    <a:pt x="17650" y="18800"/>
                    <a:pt x="19143" y="15190"/>
                  </a:cubicBezTo>
                  <a:cubicBezTo>
                    <a:pt x="21033" y="12035"/>
                    <a:pt x="18997" y="6792"/>
                    <a:pt x="16025" y="3847"/>
                  </a:cubicBezTo>
                  <a:cubicBezTo>
                    <a:pt x="13008" y="1027"/>
                    <a:pt x="7628" y="-887"/>
                    <a:pt x="4466" y="418"/>
                  </a:cubicBezTo>
                  <a:close/>
                  <a:moveTo>
                    <a:pt x="4466" y="4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1" name="AutoShape 953"/>
            <p:cNvSpPr>
              <a:spLocks/>
            </p:cNvSpPr>
            <p:nvPr/>
          </p:nvSpPr>
          <p:spPr bwMode="auto">
            <a:xfrm>
              <a:off x="5651500" y="1701800"/>
              <a:ext cx="14288" cy="11113"/>
            </a:xfrm>
            <a:custGeom>
              <a:avLst/>
              <a:gdLst/>
              <a:ahLst/>
              <a:cxnLst/>
              <a:rect l="0" t="0" r="r" b="b"/>
              <a:pathLst>
                <a:path w="20790" h="21031">
                  <a:moveTo>
                    <a:pt x="442" y="20701"/>
                  </a:moveTo>
                  <a:cubicBezTo>
                    <a:pt x="1428" y="21338"/>
                    <a:pt x="4308" y="20997"/>
                    <a:pt x="6836" y="20155"/>
                  </a:cubicBezTo>
                  <a:cubicBezTo>
                    <a:pt x="9295" y="19137"/>
                    <a:pt x="13454" y="16500"/>
                    <a:pt x="15930" y="13930"/>
                  </a:cubicBezTo>
                  <a:cubicBezTo>
                    <a:pt x="18425" y="11413"/>
                    <a:pt x="20652" y="7363"/>
                    <a:pt x="20765" y="4968"/>
                  </a:cubicBezTo>
                  <a:cubicBezTo>
                    <a:pt x="21030" y="2573"/>
                    <a:pt x="19136" y="330"/>
                    <a:pt x="16778" y="76"/>
                  </a:cubicBezTo>
                  <a:cubicBezTo>
                    <a:pt x="14447" y="-262"/>
                    <a:pt x="11001" y="569"/>
                    <a:pt x="9065" y="1643"/>
                  </a:cubicBezTo>
                  <a:cubicBezTo>
                    <a:pt x="7110" y="2703"/>
                    <a:pt x="4094" y="7363"/>
                    <a:pt x="2105" y="11675"/>
                  </a:cubicBezTo>
                  <a:cubicBezTo>
                    <a:pt x="227" y="16074"/>
                    <a:pt x="-570" y="20144"/>
                    <a:pt x="442" y="20701"/>
                  </a:cubicBezTo>
                  <a:close/>
                  <a:moveTo>
                    <a:pt x="442" y="207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2" name="AutoShape 954"/>
            <p:cNvSpPr>
              <a:spLocks/>
            </p:cNvSpPr>
            <p:nvPr/>
          </p:nvSpPr>
          <p:spPr bwMode="auto">
            <a:xfrm>
              <a:off x="5842000" y="2032000"/>
              <a:ext cx="7938" cy="22225"/>
            </a:xfrm>
            <a:custGeom>
              <a:avLst/>
              <a:gdLst/>
              <a:ahLst/>
              <a:cxnLst/>
              <a:rect l="0" t="0" r="r" b="b"/>
              <a:pathLst>
                <a:path w="20900" h="21299">
                  <a:moveTo>
                    <a:pt x="13161" y="3930"/>
                  </a:moveTo>
                  <a:cubicBezTo>
                    <a:pt x="11807" y="2525"/>
                    <a:pt x="9624" y="822"/>
                    <a:pt x="7631" y="364"/>
                  </a:cubicBezTo>
                  <a:cubicBezTo>
                    <a:pt x="5817" y="-173"/>
                    <a:pt x="3060" y="-132"/>
                    <a:pt x="1961" y="594"/>
                  </a:cubicBezTo>
                  <a:cubicBezTo>
                    <a:pt x="640" y="1268"/>
                    <a:pt x="226" y="2794"/>
                    <a:pt x="0" y="3993"/>
                  </a:cubicBezTo>
                  <a:cubicBezTo>
                    <a:pt x="686" y="5171"/>
                    <a:pt x="2183" y="6965"/>
                    <a:pt x="4049" y="8005"/>
                  </a:cubicBezTo>
                  <a:cubicBezTo>
                    <a:pt x="6101" y="8988"/>
                    <a:pt x="6852" y="11490"/>
                    <a:pt x="4844" y="13393"/>
                  </a:cubicBezTo>
                  <a:cubicBezTo>
                    <a:pt x="3426" y="15371"/>
                    <a:pt x="2966" y="17948"/>
                    <a:pt x="4591" y="19068"/>
                  </a:cubicBezTo>
                  <a:cubicBezTo>
                    <a:pt x="5736" y="20261"/>
                    <a:pt x="9543" y="21165"/>
                    <a:pt x="12476" y="21290"/>
                  </a:cubicBezTo>
                  <a:cubicBezTo>
                    <a:pt x="15373" y="21427"/>
                    <a:pt x="17859" y="20005"/>
                    <a:pt x="17604" y="18285"/>
                  </a:cubicBezTo>
                  <a:cubicBezTo>
                    <a:pt x="17604" y="16565"/>
                    <a:pt x="18367" y="13730"/>
                    <a:pt x="20119" y="12027"/>
                  </a:cubicBezTo>
                  <a:cubicBezTo>
                    <a:pt x="21600" y="10302"/>
                    <a:pt x="20805" y="8491"/>
                    <a:pt x="19163" y="7696"/>
                  </a:cubicBezTo>
                  <a:cubicBezTo>
                    <a:pt x="16997" y="7096"/>
                    <a:pt x="14162" y="5381"/>
                    <a:pt x="13161" y="3930"/>
                  </a:cubicBezTo>
                  <a:close/>
                  <a:moveTo>
                    <a:pt x="13161" y="39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3" name="AutoShape 955"/>
            <p:cNvSpPr>
              <a:spLocks/>
            </p:cNvSpPr>
            <p:nvPr/>
          </p:nvSpPr>
          <p:spPr bwMode="auto">
            <a:xfrm>
              <a:off x="5664200" y="1727200"/>
              <a:ext cx="7938" cy="4763"/>
            </a:xfrm>
            <a:custGeom>
              <a:avLst/>
              <a:gdLst/>
              <a:ahLst/>
              <a:cxnLst/>
              <a:rect l="0" t="0" r="r" b="b"/>
              <a:pathLst>
                <a:path w="19708" h="20960">
                  <a:moveTo>
                    <a:pt x="19409" y="8959"/>
                  </a:moveTo>
                  <a:cubicBezTo>
                    <a:pt x="18743" y="4086"/>
                    <a:pt x="14994" y="593"/>
                    <a:pt x="11059" y="0"/>
                  </a:cubicBezTo>
                  <a:cubicBezTo>
                    <a:pt x="7169" y="948"/>
                    <a:pt x="2120" y="2462"/>
                    <a:pt x="715" y="6659"/>
                  </a:cubicBezTo>
                  <a:cubicBezTo>
                    <a:pt x="-1181" y="10152"/>
                    <a:pt x="860" y="15374"/>
                    <a:pt x="4867" y="18107"/>
                  </a:cubicBezTo>
                  <a:cubicBezTo>
                    <a:pt x="8845" y="21034"/>
                    <a:pt x="14099" y="21600"/>
                    <a:pt x="16414" y="20302"/>
                  </a:cubicBezTo>
                  <a:cubicBezTo>
                    <a:pt x="18727" y="19221"/>
                    <a:pt x="20419" y="13589"/>
                    <a:pt x="19409" y="8959"/>
                  </a:cubicBezTo>
                  <a:close/>
                  <a:moveTo>
                    <a:pt x="19409" y="89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4" name="AutoShape 956"/>
            <p:cNvSpPr>
              <a:spLocks/>
            </p:cNvSpPr>
            <p:nvPr/>
          </p:nvSpPr>
          <p:spPr bwMode="auto">
            <a:xfrm>
              <a:off x="6400800" y="1676400"/>
              <a:ext cx="6350" cy="3175"/>
            </a:xfrm>
            <a:custGeom>
              <a:avLst/>
              <a:gdLst/>
              <a:ahLst/>
              <a:cxnLst/>
              <a:rect l="0" t="0" r="r" b="b"/>
              <a:pathLst>
                <a:path w="19660" h="19861">
                  <a:moveTo>
                    <a:pt x="18986" y="6294"/>
                  </a:moveTo>
                  <a:cubicBezTo>
                    <a:pt x="20688" y="1629"/>
                    <a:pt x="19051" y="-1176"/>
                    <a:pt x="15344" y="479"/>
                  </a:cubicBezTo>
                  <a:cubicBezTo>
                    <a:pt x="11530" y="714"/>
                    <a:pt x="6056" y="6495"/>
                    <a:pt x="3076" y="10752"/>
                  </a:cubicBezTo>
                  <a:cubicBezTo>
                    <a:pt x="128" y="15114"/>
                    <a:pt x="-912" y="18936"/>
                    <a:pt x="887" y="19641"/>
                  </a:cubicBezTo>
                  <a:cubicBezTo>
                    <a:pt x="2620" y="20424"/>
                    <a:pt x="6673" y="18969"/>
                    <a:pt x="9919" y="17613"/>
                  </a:cubicBezTo>
                  <a:cubicBezTo>
                    <a:pt x="13151" y="16028"/>
                    <a:pt x="17159" y="10717"/>
                    <a:pt x="18986" y="6294"/>
                  </a:cubicBezTo>
                  <a:close/>
                  <a:moveTo>
                    <a:pt x="18986" y="629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5" name="AutoShape 957"/>
            <p:cNvSpPr>
              <a:spLocks/>
            </p:cNvSpPr>
            <p:nvPr/>
          </p:nvSpPr>
          <p:spPr bwMode="auto">
            <a:xfrm>
              <a:off x="5575300" y="1854200"/>
              <a:ext cx="15875" cy="4763"/>
            </a:xfrm>
            <a:custGeom>
              <a:avLst/>
              <a:gdLst/>
              <a:ahLst/>
              <a:cxnLst/>
              <a:rect l="0" t="0" r="r" b="b"/>
              <a:pathLst>
                <a:path w="20738" h="21157">
                  <a:moveTo>
                    <a:pt x="20012" y="1697"/>
                  </a:moveTo>
                  <a:cubicBezTo>
                    <a:pt x="18735" y="927"/>
                    <a:pt x="15796" y="180"/>
                    <a:pt x="13443" y="0"/>
                  </a:cubicBezTo>
                  <a:cubicBezTo>
                    <a:pt x="11068" y="0"/>
                    <a:pt x="7230" y="2467"/>
                    <a:pt x="4957" y="5592"/>
                  </a:cubicBezTo>
                  <a:cubicBezTo>
                    <a:pt x="2659" y="8490"/>
                    <a:pt x="408" y="12520"/>
                    <a:pt x="52" y="14556"/>
                  </a:cubicBezTo>
                  <a:cubicBezTo>
                    <a:pt x="-343" y="16527"/>
                    <a:pt x="1552" y="19244"/>
                    <a:pt x="4283" y="20330"/>
                  </a:cubicBezTo>
                  <a:cubicBezTo>
                    <a:pt x="6991" y="21600"/>
                    <a:pt x="10673" y="21420"/>
                    <a:pt x="12414" y="19699"/>
                  </a:cubicBezTo>
                  <a:cubicBezTo>
                    <a:pt x="14154" y="18182"/>
                    <a:pt x="17157" y="14125"/>
                    <a:pt x="18944" y="10188"/>
                  </a:cubicBezTo>
                  <a:cubicBezTo>
                    <a:pt x="20901" y="7016"/>
                    <a:pt x="21257" y="2852"/>
                    <a:pt x="20012" y="1697"/>
                  </a:cubicBezTo>
                  <a:close/>
                  <a:moveTo>
                    <a:pt x="20012" y="16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6" name="AutoShape 958"/>
            <p:cNvSpPr>
              <a:spLocks/>
            </p:cNvSpPr>
            <p:nvPr/>
          </p:nvSpPr>
          <p:spPr bwMode="auto">
            <a:xfrm>
              <a:off x="5676900" y="2273300"/>
              <a:ext cx="6350" cy="3175"/>
            </a:xfrm>
            <a:custGeom>
              <a:avLst/>
              <a:gdLst/>
              <a:ahLst/>
              <a:cxnLst/>
              <a:rect l="0" t="0" r="r" b="b"/>
              <a:pathLst>
                <a:path w="20019" h="20142">
                  <a:moveTo>
                    <a:pt x="1591" y="6493"/>
                  </a:moveTo>
                  <a:cubicBezTo>
                    <a:pt x="-1148" y="9728"/>
                    <a:pt x="-301" y="13691"/>
                    <a:pt x="3757" y="17432"/>
                  </a:cubicBezTo>
                  <a:cubicBezTo>
                    <a:pt x="8110" y="20258"/>
                    <a:pt x="13658" y="21369"/>
                    <a:pt x="16393" y="18322"/>
                  </a:cubicBezTo>
                  <a:cubicBezTo>
                    <a:pt x="19038" y="15119"/>
                    <a:pt x="20452" y="9851"/>
                    <a:pt x="19902" y="5701"/>
                  </a:cubicBezTo>
                  <a:cubicBezTo>
                    <a:pt x="19074" y="1640"/>
                    <a:pt x="15877" y="-231"/>
                    <a:pt x="12684" y="23"/>
                  </a:cubicBezTo>
                  <a:cubicBezTo>
                    <a:pt x="9543" y="939"/>
                    <a:pt x="4547" y="3920"/>
                    <a:pt x="1591" y="6493"/>
                  </a:cubicBezTo>
                  <a:close/>
                  <a:moveTo>
                    <a:pt x="1591" y="649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7" name="AutoShape 959"/>
            <p:cNvSpPr>
              <a:spLocks/>
            </p:cNvSpPr>
            <p:nvPr/>
          </p:nvSpPr>
          <p:spPr bwMode="auto">
            <a:xfrm>
              <a:off x="5588000" y="1854200"/>
              <a:ext cx="9525" cy="3175"/>
            </a:xfrm>
            <a:custGeom>
              <a:avLst/>
              <a:gdLst/>
              <a:ahLst/>
              <a:cxnLst/>
              <a:rect l="0" t="0" r="r" b="b"/>
              <a:pathLst>
                <a:path w="20186" h="19636">
                  <a:moveTo>
                    <a:pt x="7846" y="18131"/>
                  </a:moveTo>
                  <a:cubicBezTo>
                    <a:pt x="11352" y="16451"/>
                    <a:pt x="16223" y="11704"/>
                    <a:pt x="18696" y="8157"/>
                  </a:cubicBezTo>
                  <a:cubicBezTo>
                    <a:pt x="21117" y="4357"/>
                    <a:pt x="20538" y="1478"/>
                    <a:pt x="17322" y="239"/>
                  </a:cubicBezTo>
                  <a:cubicBezTo>
                    <a:pt x="14052" y="-681"/>
                    <a:pt x="8437" y="1096"/>
                    <a:pt x="5019" y="4928"/>
                  </a:cubicBezTo>
                  <a:cubicBezTo>
                    <a:pt x="1548" y="8443"/>
                    <a:pt x="-483" y="13319"/>
                    <a:pt x="99" y="16483"/>
                  </a:cubicBezTo>
                  <a:cubicBezTo>
                    <a:pt x="690" y="19525"/>
                    <a:pt x="4401" y="20919"/>
                    <a:pt x="7846" y="18131"/>
                  </a:cubicBezTo>
                  <a:close/>
                  <a:moveTo>
                    <a:pt x="7846" y="181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8" name="AutoShape 960"/>
            <p:cNvSpPr>
              <a:spLocks/>
            </p:cNvSpPr>
            <p:nvPr/>
          </p:nvSpPr>
          <p:spPr bwMode="auto">
            <a:xfrm>
              <a:off x="6426200" y="1689100"/>
              <a:ext cx="7938" cy="1588"/>
            </a:xfrm>
            <a:custGeom>
              <a:avLst/>
              <a:gdLst/>
              <a:ahLst/>
              <a:cxnLst/>
              <a:rect l="0" t="0" r="r" b="b"/>
              <a:pathLst>
                <a:path w="20707" h="19720">
                  <a:moveTo>
                    <a:pt x="1587" y="7576"/>
                  </a:moveTo>
                  <a:cubicBezTo>
                    <a:pt x="-706" y="11862"/>
                    <a:pt x="-481" y="16777"/>
                    <a:pt x="2042" y="18743"/>
                  </a:cubicBezTo>
                  <a:cubicBezTo>
                    <a:pt x="4530" y="20636"/>
                    <a:pt x="9665" y="19412"/>
                    <a:pt x="13514" y="18155"/>
                  </a:cubicBezTo>
                  <a:cubicBezTo>
                    <a:pt x="17301" y="15875"/>
                    <a:pt x="20485" y="11234"/>
                    <a:pt x="20699" y="7617"/>
                  </a:cubicBezTo>
                  <a:cubicBezTo>
                    <a:pt x="20894" y="3919"/>
                    <a:pt x="17558" y="181"/>
                    <a:pt x="13363" y="181"/>
                  </a:cubicBezTo>
                  <a:cubicBezTo>
                    <a:pt x="9211" y="-964"/>
                    <a:pt x="3989" y="3564"/>
                    <a:pt x="1587" y="7576"/>
                  </a:cubicBezTo>
                  <a:close/>
                  <a:moveTo>
                    <a:pt x="1587" y="75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59" name="AutoShape 961"/>
            <p:cNvSpPr>
              <a:spLocks/>
            </p:cNvSpPr>
            <p:nvPr/>
          </p:nvSpPr>
          <p:spPr bwMode="auto">
            <a:xfrm>
              <a:off x="5638800" y="1778000"/>
              <a:ext cx="17463" cy="15875"/>
            </a:xfrm>
            <a:custGeom>
              <a:avLst/>
              <a:gdLst/>
              <a:ahLst/>
              <a:cxnLst/>
              <a:rect l="0" t="0" r="r" b="b"/>
              <a:pathLst>
                <a:path w="21151" h="21125">
                  <a:moveTo>
                    <a:pt x="1175" y="20878"/>
                  </a:moveTo>
                  <a:cubicBezTo>
                    <a:pt x="1884" y="21444"/>
                    <a:pt x="3880" y="21017"/>
                    <a:pt x="5656" y="19808"/>
                  </a:cubicBezTo>
                  <a:cubicBezTo>
                    <a:pt x="7440" y="18646"/>
                    <a:pt x="10101" y="15299"/>
                    <a:pt x="11658" y="12484"/>
                  </a:cubicBezTo>
                  <a:cubicBezTo>
                    <a:pt x="13324" y="9734"/>
                    <a:pt x="16103" y="6005"/>
                    <a:pt x="18171" y="4379"/>
                  </a:cubicBezTo>
                  <a:cubicBezTo>
                    <a:pt x="20122" y="2596"/>
                    <a:pt x="21423" y="1077"/>
                    <a:pt x="21103" y="433"/>
                  </a:cubicBezTo>
                  <a:cubicBezTo>
                    <a:pt x="20619" y="-78"/>
                    <a:pt x="19252" y="-156"/>
                    <a:pt x="17966" y="301"/>
                  </a:cubicBezTo>
                  <a:cubicBezTo>
                    <a:pt x="16687" y="758"/>
                    <a:pt x="13894" y="1333"/>
                    <a:pt x="11767" y="1666"/>
                  </a:cubicBezTo>
                  <a:cubicBezTo>
                    <a:pt x="9640" y="2037"/>
                    <a:pt x="6124" y="3363"/>
                    <a:pt x="4099" y="5067"/>
                  </a:cubicBezTo>
                  <a:cubicBezTo>
                    <a:pt x="1950" y="6564"/>
                    <a:pt x="145" y="8462"/>
                    <a:pt x="26" y="9075"/>
                  </a:cubicBezTo>
                  <a:cubicBezTo>
                    <a:pt x="-177" y="9648"/>
                    <a:pt x="838" y="9858"/>
                    <a:pt x="2126" y="9400"/>
                  </a:cubicBezTo>
                  <a:cubicBezTo>
                    <a:pt x="3455" y="9183"/>
                    <a:pt x="4421" y="9508"/>
                    <a:pt x="4304" y="10594"/>
                  </a:cubicBezTo>
                  <a:cubicBezTo>
                    <a:pt x="4194" y="11664"/>
                    <a:pt x="3280" y="14237"/>
                    <a:pt x="2030" y="16159"/>
                  </a:cubicBezTo>
                  <a:cubicBezTo>
                    <a:pt x="1066" y="18267"/>
                    <a:pt x="407" y="20420"/>
                    <a:pt x="1175" y="20878"/>
                  </a:cubicBezTo>
                  <a:close/>
                  <a:moveTo>
                    <a:pt x="1175" y="208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0" name="AutoShape 962"/>
            <p:cNvSpPr>
              <a:spLocks/>
            </p:cNvSpPr>
            <p:nvPr/>
          </p:nvSpPr>
          <p:spPr bwMode="auto">
            <a:xfrm>
              <a:off x="5626100" y="1714500"/>
              <a:ext cx="12700" cy="12700"/>
            </a:xfrm>
            <a:custGeom>
              <a:avLst/>
              <a:gdLst/>
              <a:ahLst/>
              <a:cxnLst/>
              <a:rect l="0" t="0" r="r" b="b"/>
              <a:pathLst>
                <a:path w="20047" h="20054">
                  <a:moveTo>
                    <a:pt x="11795" y="16853"/>
                  </a:moveTo>
                  <a:cubicBezTo>
                    <a:pt x="14210" y="14723"/>
                    <a:pt x="16309" y="12074"/>
                    <a:pt x="16309" y="10902"/>
                  </a:cubicBezTo>
                  <a:cubicBezTo>
                    <a:pt x="16000" y="9776"/>
                    <a:pt x="17817" y="6228"/>
                    <a:pt x="19476" y="3048"/>
                  </a:cubicBezTo>
                  <a:cubicBezTo>
                    <a:pt x="21161" y="-112"/>
                    <a:pt x="18980" y="-992"/>
                    <a:pt x="14671" y="1250"/>
                  </a:cubicBezTo>
                  <a:cubicBezTo>
                    <a:pt x="10342" y="3446"/>
                    <a:pt x="5527" y="6616"/>
                    <a:pt x="3860" y="8234"/>
                  </a:cubicBezTo>
                  <a:cubicBezTo>
                    <a:pt x="2174" y="9852"/>
                    <a:pt x="244" y="12983"/>
                    <a:pt x="114" y="15150"/>
                  </a:cubicBezTo>
                  <a:cubicBezTo>
                    <a:pt x="-439" y="17279"/>
                    <a:pt x="1079" y="19465"/>
                    <a:pt x="3307" y="19872"/>
                  </a:cubicBezTo>
                  <a:cubicBezTo>
                    <a:pt x="5452" y="20608"/>
                    <a:pt x="9387" y="19019"/>
                    <a:pt x="11795" y="16853"/>
                  </a:cubicBezTo>
                  <a:close/>
                  <a:moveTo>
                    <a:pt x="11795" y="168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1" name="AutoShape 963"/>
            <p:cNvSpPr>
              <a:spLocks/>
            </p:cNvSpPr>
            <p:nvPr/>
          </p:nvSpPr>
          <p:spPr bwMode="auto">
            <a:xfrm>
              <a:off x="5651500" y="1612900"/>
              <a:ext cx="6350" cy="3175"/>
            </a:xfrm>
            <a:custGeom>
              <a:avLst/>
              <a:gdLst/>
              <a:ahLst/>
              <a:cxnLst/>
              <a:rect l="0" t="0" r="r" b="b"/>
              <a:pathLst>
                <a:path w="19626" h="21346">
                  <a:moveTo>
                    <a:pt x="977" y="21142"/>
                  </a:moveTo>
                  <a:cubicBezTo>
                    <a:pt x="3193" y="21600"/>
                    <a:pt x="7347" y="21332"/>
                    <a:pt x="10118" y="19873"/>
                  </a:cubicBezTo>
                  <a:cubicBezTo>
                    <a:pt x="12895" y="18059"/>
                    <a:pt x="17029" y="14093"/>
                    <a:pt x="18555" y="9282"/>
                  </a:cubicBezTo>
                  <a:cubicBezTo>
                    <a:pt x="20396" y="4850"/>
                    <a:pt x="19783" y="1467"/>
                    <a:pt x="17327" y="0"/>
                  </a:cubicBezTo>
                  <a:cubicBezTo>
                    <a:pt x="14756" y="0"/>
                    <a:pt x="9096" y="3194"/>
                    <a:pt x="4829" y="9124"/>
                  </a:cubicBezTo>
                  <a:cubicBezTo>
                    <a:pt x="344" y="14558"/>
                    <a:pt x="-1204" y="19983"/>
                    <a:pt x="977" y="21142"/>
                  </a:cubicBezTo>
                  <a:close/>
                  <a:moveTo>
                    <a:pt x="977" y="211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2" name="AutoShape 964"/>
            <p:cNvSpPr>
              <a:spLocks/>
            </p:cNvSpPr>
            <p:nvPr/>
          </p:nvSpPr>
          <p:spPr bwMode="auto">
            <a:xfrm>
              <a:off x="5549900" y="1866900"/>
              <a:ext cx="11113" cy="4763"/>
            </a:xfrm>
            <a:custGeom>
              <a:avLst/>
              <a:gdLst/>
              <a:ahLst/>
              <a:cxnLst/>
              <a:rect l="0" t="0" r="r" b="b"/>
              <a:pathLst>
                <a:path w="21025" h="20164">
                  <a:moveTo>
                    <a:pt x="5577" y="4795"/>
                  </a:moveTo>
                  <a:cubicBezTo>
                    <a:pt x="3427" y="6179"/>
                    <a:pt x="1127" y="9639"/>
                    <a:pt x="497" y="12195"/>
                  </a:cubicBezTo>
                  <a:cubicBezTo>
                    <a:pt x="-198" y="14678"/>
                    <a:pt x="-198" y="18472"/>
                    <a:pt x="713" y="19664"/>
                  </a:cubicBezTo>
                  <a:cubicBezTo>
                    <a:pt x="1571" y="21121"/>
                    <a:pt x="6455" y="19259"/>
                    <a:pt x="11817" y="15773"/>
                  </a:cubicBezTo>
                  <a:cubicBezTo>
                    <a:pt x="17102" y="11956"/>
                    <a:pt x="21402" y="6540"/>
                    <a:pt x="20999" y="3675"/>
                  </a:cubicBezTo>
                  <a:cubicBezTo>
                    <a:pt x="20370" y="978"/>
                    <a:pt x="18025" y="-479"/>
                    <a:pt x="14975" y="142"/>
                  </a:cubicBezTo>
                  <a:cubicBezTo>
                    <a:pt x="11958" y="1359"/>
                    <a:pt x="7628" y="2864"/>
                    <a:pt x="5577" y="4795"/>
                  </a:cubicBezTo>
                  <a:close/>
                  <a:moveTo>
                    <a:pt x="5577" y="47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3" name="AutoShape 965"/>
            <p:cNvSpPr>
              <a:spLocks/>
            </p:cNvSpPr>
            <p:nvPr/>
          </p:nvSpPr>
          <p:spPr bwMode="auto">
            <a:xfrm>
              <a:off x="5575300" y="1879600"/>
              <a:ext cx="14288" cy="4763"/>
            </a:xfrm>
            <a:custGeom>
              <a:avLst/>
              <a:gdLst/>
              <a:ahLst/>
              <a:cxnLst/>
              <a:rect l="0" t="0" r="r" b="b"/>
              <a:pathLst>
                <a:path w="21241" h="20620">
                  <a:moveTo>
                    <a:pt x="13777" y="16524"/>
                  </a:moveTo>
                  <a:cubicBezTo>
                    <a:pt x="17917" y="13184"/>
                    <a:pt x="21383" y="8193"/>
                    <a:pt x="21237" y="5323"/>
                  </a:cubicBezTo>
                  <a:cubicBezTo>
                    <a:pt x="21081" y="2458"/>
                    <a:pt x="18421" y="-336"/>
                    <a:pt x="15102" y="37"/>
                  </a:cubicBezTo>
                  <a:cubicBezTo>
                    <a:pt x="11784" y="-336"/>
                    <a:pt x="7123" y="2182"/>
                    <a:pt x="4746" y="4853"/>
                  </a:cubicBezTo>
                  <a:cubicBezTo>
                    <a:pt x="2361" y="7494"/>
                    <a:pt x="30" y="11585"/>
                    <a:pt x="30" y="14052"/>
                  </a:cubicBezTo>
                  <a:cubicBezTo>
                    <a:pt x="-217" y="16396"/>
                    <a:pt x="1118" y="19242"/>
                    <a:pt x="2935" y="20390"/>
                  </a:cubicBezTo>
                  <a:cubicBezTo>
                    <a:pt x="4755" y="21264"/>
                    <a:pt x="9609" y="19568"/>
                    <a:pt x="13777" y="16524"/>
                  </a:cubicBezTo>
                  <a:close/>
                  <a:moveTo>
                    <a:pt x="13777" y="165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4" name="AutoShape 966"/>
            <p:cNvSpPr>
              <a:spLocks/>
            </p:cNvSpPr>
            <p:nvPr/>
          </p:nvSpPr>
          <p:spPr bwMode="auto">
            <a:xfrm>
              <a:off x="6375400" y="1663700"/>
              <a:ext cx="95250" cy="38100"/>
            </a:xfrm>
            <a:custGeom>
              <a:avLst/>
              <a:gdLst/>
              <a:ahLst/>
              <a:cxnLst/>
              <a:rect l="0" t="0" r="r" b="b"/>
              <a:pathLst>
                <a:path w="21465" h="21402">
                  <a:moveTo>
                    <a:pt x="16682" y="16537"/>
                  </a:moveTo>
                  <a:cubicBezTo>
                    <a:pt x="17288" y="16056"/>
                    <a:pt x="18014" y="15718"/>
                    <a:pt x="18288" y="15802"/>
                  </a:cubicBezTo>
                  <a:cubicBezTo>
                    <a:pt x="18564" y="15833"/>
                    <a:pt x="19308" y="15192"/>
                    <a:pt x="19959" y="14350"/>
                  </a:cubicBezTo>
                  <a:cubicBezTo>
                    <a:pt x="20599" y="13445"/>
                    <a:pt x="21229" y="10854"/>
                    <a:pt x="21410" y="8569"/>
                  </a:cubicBezTo>
                  <a:cubicBezTo>
                    <a:pt x="21556" y="6275"/>
                    <a:pt x="21404" y="4011"/>
                    <a:pt x="21058" y="3524"/>
                  </a:cubicBezTo>
                  <a:cubicBezTo>
                    <a:pt x="20702" y="3082"/>
                    <a:pt x="20284" y="2047"/>
                    <a:pt x="20119" y="1292"/>
                  </a:cubicBezTo>
                  <a:cubicBezTo>
                    <a:pt x="19943" y="550"/>
                    <a:pt x="19479" y="-49"/>
                    <a:pt x="19075" y="3"/>
                  </a:cubicBezTo>
                  <a:cubicBezTo>
                    <a:pt x="18670" y="31"/>
                    <a:pt x="17083" y="1302"/>
                    <a:pt x="15528" y="2611"/>
                  </a:cubicBezTo>
                  <a:cubicBezTo>
                    <a:pt x="13979" y="4001"/>
                    <a:pt x="11572" y="5620"/>
                    <a:pt x="10176" y="6132"/>
                  </a:cubicBezTo>
                  <a:cubicBezTo>
                    <a:pt x="8779" y="6672"/>
                    <a:pt x="7308" y="7748"/>
                    <a:pt x="6905" y="8517"/>
                  </a:cubicBezTo>
                  <a:cubicBezTo>
                    <a:pt x="6515" y="9335"/>
                    <a:pt x="5745" y="10307"/>
                    <a:pt x="5230" y="10822"/>
                  </a:cubicBezTo>
                  <a:cubicBezTo>
                    <a:pt x="4716" y="11307"/>
                    <a:pt x="4030" y="12501"/>
                    <a:pt x="3680" y="13382"/>
                  </a:cubicBezTo>
                  <a:cubicBezTo>
                    <a:pt x="3328" y="14259"/>
                    <a:pt x="2610" y="15237"/>
                    <a:pt x="2049" y="15527"/>
                  </a:cubicBezTo>
                  <a:cubicBezTo>
                    <a:pt x="1489" y="15809"/>
                    <a:pt x="951" y="16478"/>
                    <a:pt x="846" y="17038"/>
                  </a:cubicBezTo>
                  <a:cubicBezTo>
                    <a:pt x="780" y="17634"/>
                    <a:pt x="494" y="18588"/>
                    <a:pt x="276" y="19204"/>
                  </a:cubicBezTo>
                  <a:cubicBezTo>
                    <a:pt x="55" y="19810"/>
                    <a:pt x="-44" y="20635"/>
                    <a:pt x="18" y="21025"/>
                  </a:cubicBezTo>
                  <a:cubicBezTo>
                    <a:pt x="98" y="21401"/>
                    <a:pt x="659" y="21551"/>
                    <a:pt x="1274" y="21217"/>
                  </a:cubicBezTo>
                  <a:cubicBezTo>
                    <a:pt x="1890" y="20941"/>
                    <a:pt x="3335" y="20225"/>
                    <a:pt x="4481" y="19573"/>
                  </a:cubicBezTo>
                  <a:cubicBezTo>
                    <a:pt x="5635" y="19002"/>
                    <a:pt x="7463" y="18535"/>
                    <a:pt x="8554" y="18775"/>
                  </a:cubicBezTo>
                  <a:cubicBezTo>
                    <a:pt x="9647" y="18932"/>
                    <a:pt x="10838" y="18591"/>
                    <a:pt x="11198" y="17937"/>
                  </a:cubicBezTo>
                  <a:cubicBezTo>
                    <a:pt x="11550" y="17264"/>
                    <a:pt x="12247" y="16502"/>
                    <a:pt x="12744" y="16258"/>
                  </a:cubicBezTo>
                  <a:cubicBezTo>
                    <a:pt x="13233" y="15990"/>
                    <a:pt x="14067" y="16136"/>
                    <a:pt x="14604" y="16585"/>
                  </a:cubicBezTo>
                  <a:cubicBezTo>
                    <a:pt x="15133" y="17045"/>
                    <a:pt x="16075" y="17042"/>
                    <a:pt x="16682" y="16537"/>
                  </a:cubicBezTo>
                  <a:close/>
                  <a:moveTo>
                    <a:pt x="16682" y="165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5" name="AutoShape 967"/>
            <p:cNvSpPr>
              <a:spLocks/>
            </p:cNvSpPr>
            <p:nvPr/>
          </p:nvSpPr>
          <p:spPr bwMode="auto">
            <a:xfrm>
              <a:off x="5664200" y="1562100"/>
              <a:ext cx="11113" cy="4763"/>
            </a:xfrm>
            <a:custGeom>
              <a:avLst/>
              <a:gdLst/>
              <a:ahLst/>
              <a:cxnLst/>
              <a:rect l="0" t="0" r="r" b="b"/>
              <a:pathLst>
                <a:path w="20855" h="20099">
                  <a:moveTo>
                    <a:pt x="11995" y="18744"/>
                  </a:moveTo>
                  <a:cubicBezTo>
                    <a:pt x="12997" y="20731"/>
                    <a:pt x="15385" y="20549"/>
                    <a:pt x="17676" y="18091"/>
                  </a:cubicBezTo>
                  <a:cubicBezTo>
                    <a:pt x="19866" y="15322"/>
                    <a:pt x="21355" y="11085"/>
                    <a:pt x="20699" y="8600"/>
                  </a:cubicBezTo>
                  <a:cubicBezTo>
                    <a:pt x="20333" y="5852"/>
                    <a:pt x="17466" y="2505"/>
                    <a:pt x="14687" y="1380"/>
                  </a:cubicBezTo>
                  <a:cubicBezTo>
                    <a:pt x="12029" y="-869"/>
                    <a:pt x="8072" y="-55"/>
                    <a:pt x="6126" y="1589"/>
                  </a:cubicBezTo>
                  <a:cubicBezTo>
                    <a:pt x="4202" y="3185"/>
                    <a:pt x="1813" y="5826"/>
                    <a:pt x="935" y="7866"/>
                  </a:cubicBezTo>
                  <a:cubicBezTo>
                    <a:pt x="-21" y="9725"/>
                    <a:pt x="-245" y="13126"/>
                    <a:pt x="267" y="15322"/>
                  </a:cubicBezTo>
                  <a:cubicBezTo>
                    <a:pt x="579" y="17753"/>
                    <a:pt x="3325" y="18252"/>
                    <a:pt x="5814" y="16939"/>
                  </a:cubicBezTo>
                  <a:cubicBezTo>
                    <a:pt x="8293" y="15504"/>
                    <a:pt x="11185" y="16286"/>
                    <a:pt x="11995" y="18744"/>
                  </a:cubicBezTo>
                  <a:close/>
                  <a:moveTo>
                    <a:pt x="11995" y="187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6" name="AutoShape 968"/>
            <p:cNvSpPr>
              <a:spLocks/>
            </p:cNvSpPr>
            <p:nvPr/>
          </p:nvSpPr>
          <p:spPr bwMode="auto">
            <a:xfrm>
              <a:off x="5727700" y="2209800"/>
              <a:ext cx="0" cy="1588"/>
            </a:xfrm>
            <a:custGeom>
              <a:avLst/>
              <a:gdLst/>
              <a:ahLst/>
              <a:cxnLst/>
              <a:rect l="0" t="0" r="r" b="b"/>
              <a:pathLst>
                <a:path w="16886" h="17144">
                  <a:moveTo>
                    <a:pt x="1126" y="13735"/>
                  </a:moveTo>
                  <a:cubicBezTo>
                    <a:pt x="3101" y="19585"/>
                    <a:pt x="9860" y="17507"/>
                    <a:pt x="14499" y="10537"/>
                  </a:cubicBezTo>
                  <a:cubicBezTo>
                    <a:pt x="19701" y="3967"/>
                    <a:pt x="15765" y="-2015"/>
                    <a:pt x="8804" y="649"/>
                  </a:cubicBezTo>
                  <a:cubicBezTo>
                    <a:pt x="1342" y="2155"/>
                    <a:pt x="-1899" y="8204"/>
                    <a:pt x="1126" y="13735"/>
                  </a:cubicBezTo>
                  <a:close/>
                  <a:moveTo>
                    <a:pt x="1126" y="1373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7" name="AutoShape 969"/>
            <p:cNvSpPr>
              <a:spLocks/>
            </p:cNvSpPr>
            <p:nvPr/>
          </p:nvSpPr>
          <p:spPr bwMode="auto">
            <a:xfrm>
              <a:off x="5664200" y="1524000"/>
              <a:ext cx="26988" cy="4763"/>
            </a:xfrm>
            <a:custGeom>
              <a:avLst/>
              <a:gdLst/>
              <a:ahLst/>
              <a:cxnLst/>
              <a:rect l="0" t="0" r="r" b="b"/>
              <a:pathLst>
                <a:path w="21208" h="20502">
                  <a:moveTo>
                    <a:pt x="24" y="18306"/>
                  </a:moveTo>
                  <a:cubicBezTo>
                    <a:pt x="230" y="19639"/>
                    <a:pt x="1043" y="21069"/>
                    <a:pt x="2082" y="20272"/>
                  </a:cubicBezTo>
                  <a:cubicBezTo>
                    <a:pt x="3125" y="19677"/>
                    <a:pt x="4498" y="19698"/>
                    <a:pt x="5125" y="20004"/>
                  </a:cubicBezTo>
                  <a:cubicBezTo>
                    <a:pt x="5771" y="20293"/>
                    <a:pt x="8317" y="18062"/>
                    <a:pt x="10838" y="15748"/>
                  </a:cubicBezTo>
                  <a:cubicBezTo>
                    <a:pt x="13341" y="12984"/>
                    <a:pt x="16140" y="10955"/>
                    <a:pt x="17026" y="11898"/>
                  </a:cubicBezTo>
                  <a:cubicBezTo>
                    <a:pt x="17939" y="12062"/>
                    <a:pt x="18830" y="14129"/>
                    <a:pt x="19159" y="14968"/>
                  </a:cubicBezTo>
                  <a:cubicBezTo>
                    <a:pt x="19395" y="16280"/>
                    <a:pt x="20221" y="14661"/>
                    <a:pt x="20801" y="11429"/>
                  </a:cubicBezTo>
                  <a:cubicBezTo>
                    <a:pt x="21471" y="8539"/>
                    <a:pt x="21284" y="4015"/>
                    <a:pt x="20457" y="2396"/>
                  </a:cubicBezTo>
                  <a:cubicBezTo>
                    <a:pt x="19624" y="614"/>
                    <a:pt x="17547" y="-531"/>
                    <a:pt x="15824" y="249"/>
                  </a:cubicBezTo>
                  <a:cubicBezTo>
                    <a:pt x="14102" y="983"/>
                    <a:pt x="12035" y="2560"/>
                    <a:pt x="11384" y="4732"/>
                  </a:cubicBezTo>
                  <a:cubicBezTo>
                    <a:pt x="10666" y="6451"/>
                    <a:pt x="9120" y="7105"/>
                    <a:pt x="7938" y="6061"/>
                  </a:cubicBezTo>
                  <a:cubicBezTo>
                    <a:pt x="6761" y="4874"/>
                    <a:pt x="5058" y="5059"/>
                    <a:pt x="4158" y="5940"/>
                  </a:cubicBezTo>
                  <a:cubicBezTo>
                    <a:pt x="3297" y="7210"/>
                    <a:pt x="1928" y="9357"/>
                    <a:pt x="1211" y="11592"/>
                  </a:cubicBezTo>
                  <a:cubicBezTo>
                    <a:pt x="469" y="13739"/>
                    <a:pt x="-129" y="16855"/>
                    <a:pt x="24" y="18306"/>
                  </a:cubicBezTo>
                  <a:close/>
                  <a:moveTo>
                    <a:pt x="24" y="183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8" name="AutoShape 970"/>
            <p:cNvSpPr>
              <a:spLocks/>
            </p:cNvSpPr>
            <p:nvPr/>
          </p:nvSpPr>
          <p:spPr bwMode="auto">
            <a:xfrm>
              <a:off x="5664200" y="1600200"/>
              <a:ext cx="0" cy="0"/>
            </a:xfrm>
            <a:custGeom>
              <a:avLst/>
              <a:gdLst/>
              <a:ahLst/>
              <a:cxnLst/>
              <a:rect l="0" t="0" r="r" b="b"/>
              <a:pathLst>
                <a:path w="20690" h="19506">
                  <a:moveTo>
                    <a:pt x="404" y="11927"/>
                  </a:moveTo>
                  <a:cubicBezTo>
                    <a:pt x="5077" y="14380"/>
                    <a:pt x="9266" y="18652"/>
                    <a:pt x="13944" y="19506"/>
                  </a:cubicBezTo>
                  <a:cubicBezTo>
                    <a:pt x="18303" y="17161"/>
                    <a:pt x="19129" y="12978"/>
                    <a:pt x="20690" y="8290"/>
                  </a:cubicBezTo>
                  <a:cubicBezTo>
                    <a:pt x="17563" y="5180"/>
                    <a:pt x="13204" y="-2094"/>
                    <a:pt x="7218" y="578"/>
                  </a:cubicBezTo>
                  <a:cubicBezTo>
                    <a:pt x="887" y="-802"/>
                    <a:pt x="-910" y="5617"/>
                    <a:pt x="404" y="11927"/>
                  </a:cubicBezTo>
                  <a:close/>
                  <a:moveTo>
                    <a:pt x="404" y="119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69" name="AutoShape 971"/>
            <p:cNvSpPr>
              <a:spLocks/>
            </p:cNvSpPr>
            <p:nvPr/>
          </p:nvSpPr>
          <p:spPr bwMode="auto">
            <a:xfrm>
              <a:off x="5638800" y="1638300"/>
              <a:ext cx="3175" cy="1588"/>
            </a:xfrm>
            <a:custGeom>
              <a:avLst/>
              <a:gdLst/>
              <a:ahLst/>
              <a:cxnLst/>
              <a:rect l="0" t="0" r="r" b="b"/>
              <a:pathLst>
                <a:path w="20371" h="19437">
                  <a:moveTo>
                    <a:pt x="0" y="16625"/>
                  </a:moveTo>
                  <a:cubicBezTo>
                    <a:pt x="0" y="20039"/>
                    <a:pt x="4501" y="20530"/>
                    <a:pt x="10326" y="17065"/>
                  </a:cubicBezTo>
                  <a:cubicBezTo>
                    <a:pt x="16278" y="14778"/>
                    <a:pt x="21600" y="7219"/>
                    <a:pt x="20122" y="3364"/>
                  </a:cubicBezTo>
                  <a:cubicBezTo>
                    <a:pt x="20122" y="-1020"/>
                    <a:pt x="14989" y="-1070"/>
                    <a:pt x="9822" y="2925"/>
                  </a:cubicBezTo>
                  <a:cubicBezTo>
                    <a:pt x="4468" y="6680"/>
                    <a:pt x="0" y="13260"/>
                    <a:pt x="0" y="16625"/>
                  </a:cubicBezTo>
                  <a:close/>
                  <a:moveTo>
                    <a:pt x="0" y="166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0" name="AutoShape 972"/>
            <p:cNvSpPr>
              <a:spLocks/>
            </p:cNvSpPr>
            <p:nvPr/>
          </p:nvSpPr>
          <p:spPr bwMode="auto">
            <a:xfrm>
              <a:off x="6680200" y="1435100"/>
              <a:ext cx="15875" cy="12700"/>
            </a:xfrm>
            <a:custGeom>
              <a:avLst/>
              <a:gdLst/>
              <a:ahLst/>
              <a:cxnLst/>
              <a:rect l="0" t="0" r="r" b="b"/>
              <a:pathLst>
                <a:path w="21302" h="21259">
                  <a:moveTo>
                    <a:pt x="7892" y="0"/>
                  </a:moveTo>
                  <a:cubicBezTo>
                    <a:pt x="6025" y="65"/>
                    <a:pt x="3683" y="955"/>
                    <a:pt x="2464" y="2077"/>
                  </a:cubicBezTo>
                  <a:cubicBezTo>
                    <a:pt x="1284" y="3235"/>
                    <a:pt x="242" y="6303"/>
                    <a:pt x="0" y="8714"/>
                  </a:cubicBezTo>
                  <a:cubicBezTo>
                    <a:pt x="0" y="11124"/>
                    <a:pt x="354" y="14266"/>
                    <a:pt x="1155" y="15796"/>
                  </a:cubicBezTo>
                  <a:cubicBezTo>
                    <a:pt x="2100" y="17214"/>
                    <a:pt x="4557" y="19365"/>
                    <a:pt x="6786" y="20301"/>
                  </a:cubicBezTo>
                  <a:cubicBezTo>
                    <a:pt x="8990" y="21294"/>
                    <a:pt x="11980" y="21600"/>
                    <a:pt x="13353" y="20812"/>
                  </a:cubicBezTo>
                  <a:cubicBezTo>
                    <a:pt x="14743" y="20079"/>
                    <a:pt x="16091" y="18207"/>
                    <a:pt x="16471" y="16686"/>
                  </a:cubicBezTo>
                  <a:cubicBezTo>
                    <a:pt x="16811" y="15147"/>
                    <a:pt x="18136" y="13072"/>
                    <a:pt x="19355" y="11967"/>
                  </a:cubicBezTo>
                  <a:cubicBezTo>
                    <a:pt x="20591" y="10892"/>
                    <a:pt x="21600" y="8676"/>
                    <a:pt x="21221" y="7072"/>
                  </a:cubicBezTo>
                  <a:cubicBezTo>
                    <a:pt x="20866" y="5451"/>
                    <a:pt x="18627" y="3188"/>
                    <a:pt x="16010" y="2142"/>
                  </a:cubicBezTo>
                  <a:cubicBezTo>
                    <a:pt x="13401" y="1056"/>
                    <a:pt x="9741" y="139"/>
                    <a:pt x="7892" y="0"/>
                  </a:cubicBezTo>
                  <a:close/>
                  <a:moveTo>
                    <a:pt x="7892"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1" name="AutoShape 973"/>
            <p:cNvSpPr>
              <a:spLocks/>
            </p:cNvSpPr>
            <p:nvPr/>
          </p:nvSpPr>
          <p:spPr bwMode="auto">
            <a:xfrm>
              <a:off x="6680200" y="1346200"/>
              <a:ext cx="6350" cy="3175"/>
            </a:xfrm>
            <a:custGeom>
              <a:avLst/>
              <a:gdLst/>
              <a:ahLst/>
              <a:cxnLst/>
              <a:rect l="0" t="0" r="r" b="b"/>
              <a:pathLst>
                <a:path w="19598" h="19876">
                  <a:moveTo>
                    <a:pt x="849" y="4223"/>
                  </a:moveTo>
                  <a:cubicBezTo>
                    <a:pt x="-896" y="5688"/>
                    <a:pt x="145" y="11063"/>
                    <a:pt x="3087" y="15009"/>
                  </a:cubicBezTo>
                  <a:cubicBezTo>
                    <a:pt x="5797" y="19547"/>
                    <a:pt x="11565" y="21220"/>
                    <a:pt x="15396" y="18704"/>
                  </a:cubicBezTo>
                  <a:cubicBezTo>
                    <a:pt x="19376" y="17032"/>
                    <a:pt x="20704" y="11449"/>
                    <a:pt x="18620" y="6982"/>
                  </a:cubicBezTo>
                  <a:cubicBezTo>
                    <a:pt x="16249" y="3036"/>
                    <a:pt x="12250" y="-380"/>
                    <a:pt x="9251" y="34"/>
                  </a:cubicBezTo>
                  <a:cubicBezTo>
                    <a:pt x="6271" y="663"/>
                    <a:pt x="2572" y="2650"/>
                    <a:pt x="849" y="4223"/>
                  </a:cubicBezTo>
                  <a:close/>
                  <a:moveTo>
                    <a:pt x="849" y="42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2" name="AutoShape 974"/>
            <p:cNvSpPr>
              <a:spLocks/>
            </p:cNvSpPr>
            <p:nvPr/>
          </p:nvSpPr>
          <p:spPr bwMode="auto">
            <a:xfrm>
              <a:off x="5626100" y="1638300"/>
              <a:ext cx="4763" cy="3175"/>
            </a:xfrm>
            <a:custGeom>
              <a:avLst/>
              <a:gdLst/>
              <a:ahLst/>
              <a:cxnLst/>
              <a:rect l="0" t="0" r="r" b="b"/>
              <a:pathLst>
                <a:path w="19712" h="21041">
                  <a:moveTo>
                    <a:pt x="198" y="14554"/>
                  </a:moveTo>
                  <a:cubicBezTo>
                    <a:pt x="-476" y="17984"/>
                    <a:pt x="622" y="20261"/>
                    <a:pt x="2667" y="21041"/>
                  </a:cubicBezTo>
                  <a:cubicBezTo>
                    <a:pt x="4758" y="21041"/>
                    <a:pt x="10487" y="17427"/>
                    <a:pt x="14921" y="11826"/>
                  </a:cubicBezTo>
                  <a:cubicBezTo>
                    <a:pt x="19457" y="6156"/>
                    <a:pt x="21124" y="1419"/>
                    <a:pt x="18384" y="265"/>
                  </a:cubicBezTo>
                  <a:cubicBezTo>
                    <a:pt x="15518" y="-559"/>
                    <a:pt x="10660" y="564"/>
                    <a:pt x="7350" y="3245"/>
                  </a:cubicBezTo>
                  <a:cubicBezTo>
                    <a:pt x="4258" y="6416"/>
                    <a:pt x="1518" y="11566"/>
                    <a:pt x="198" y="14554"/>
                  </a:cubicBezTo>
                  <a:close/>
                  <a:moveTo>
                    <a:pt x="198" y="145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3" name="AutoShape 975"/>
            <p:cNvSpPr>
              <a:spLocks/>
            </p:cNvSpPr>
            <p:nvPr/>
          </p:nvSpPr>
          <p:spPr bwMode="auto">
            <a:xfrm>
              <a:off x="5778500" y="2159000"/>
              <a:ext cx="1588" cy="4763"/>
            </a:xfrm>
            <a:custGeom>
              <a:avLst/>
              <a:gdLst/>
              <a:ahLst/>
              <a:cxnLst/>
              <a:rect l="0" t="0" r="r" b="b"/>
              <a:pathLst>
                <a:path w="19587" h="18772">
                  <a:moveTo>
                    <a:pt x="10919" y="1149"/>
                  </a:moveTo>
                  <a:cubicBezTo>
                    <a:pt x="5967" y="2855"/>
                    <a:pt x="1442" y="8975"/>
                    <a:pt x="248" y="13937"/>
                  </a:cubicBezTo>
                  <a:cubicBezTo>
                    <a:pt x="-1018" y="18882"/>
                    <a:pt x="2668" y="20290"/>
                    <a:pt x="8725" y="16965"/>
                  </a:cubicBezTo>
                  <a:cubicBezTo>
                    <a:pt x="15019" y="13834"/>
                    <a:pt x="20582" y="7925"/>
                    <a:pt x="19436" y="4199"/>
                  </a:cubicBezTo>
                  <a:cubicBezTo>
                    <a:pt x="19436" y="395"/>
                    <a:pt x="14753" y="-1310"/>
                    <a:pt x="10919" y="1149"/>
                  </a:cubicBezTo>
                  <a:close/>
                  <a:moveTo>
                    <a:pt x="10919" y="11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4" name="AutoShape 976"/>
            <p:cNvSpPr>
              <a:spLocks/>
            </p:cNvSpPr>
            <p:nvPr/>
          </p:nvSpPr>
          <p:spPr bwMode="auto">
            <a:xfrm>
              <a:off x="5626100" y="1624013"/>
              <a:ext cx="9525" cy="4762"/>
            </a:xfrm>
            <a:custGeom>
              <a:avLst/>
              <a:gdLst/>
              <a:ahLst/>
              <a:cxnLst/>
              <a:rect l="0" t="0" r="r" b="b"/>
              <a:pathLst>
                <a:path w="20962" h="20151">
                  <a:moveTo>
                    <a:pt x="13459" y="1353"/>
                  </a:moveTo>
                  <a:cubicBezTo>
                    <a:pt x="9264" y="4145"/>
                    <a:pt x="4157" y="8496"/>
                    <a:pt x="2017" y="11523"/>
                  </a:cubicBezTo>
                  <a:cubicBezTo>
                    <a:pt x="70" y="15074"/>
                    <a:pt x="-638" y="18926"/>
                    <a:pt x="656" y="19895"/>
                  </a:cubicBezTo>
                  <a:cubicBezTo>
                    <a:pt x="1936" y="20924"/>
                    <a:pt x="5763" y="18722"/>
                    <a:pt x="9401" y="15520"/>
                  </a:cubicBezTo>
                  <a:cubicBezTo>
                    <a:pt x="12996" y="12023"/>
                    <a:pt x="17001" y="8581"/>
                    <a:pt x="18307" y="7582"/>
                  </a:cubicBezTo>
                  <a:cubicBezTo>
                    <a:pt x="19671" y="7316"/>
                    <a:pt x="20745" y="4235"/>
                    <a:pt x="20962" y="1822"/>
                  </a:cubicBezTo>
                  <a:cubicBezTo>
                    <a:pt x="20962" y="-676"/>
                    <a:pt x="17777" y="-381"/>
                    <a:pt x="13459" y="1353"/>
                  </a:cubicBezTo>
                  <a:close/>
                  <a:moveTo>
                    <a:pt x="13459" y="13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5" name="AutoShape 977"/>
            <p:cNvSpPr>
              <a:spLocks/>
            </p:cNvSpPr>
            <p:nvPr/>
          </p:nvSpPr>
          <p:spPr bwMode="auto">
            <a:xfrm>
              <a:off x="6629400" y="1460500"/>
              <a:ext cx="44450" cy="19050"/>
            </a:xfrm>
            <a:custGeom>
              <a:avLst/>
              <a:gdLst/>
              <a:ahLst/>
              <a:cxnLst/>
              <a:rect l="0" t="0" r="r" b="b"/>
              <a:pathLst>
                <a:path w="21600" h="21133">
                  <a:moveTo>
                    <a:pt x="11393" y="150"/>
                  </a:moveTo>
                  <a:cubicBezTo>
                    <a:pt x="9965" y="736"/>
                    <a:pt x="7568" y="1505"/>
                    <a:pt x="6085" y="1993"/>
                  </a:cubicBezTo>
                  <a:cubicBezTo>
                    <a:pt x="4612" y="2526"/>
                    <a:pt x="2633" y="4538"/>
                    <a:pt x="1707" y="6550"/>
                  </a:cubicBezTo>
                  <a:cubicBezTo>
                    <a:pt x="807" y="8607"/>
                    <a:pt x="0" y="11107"/>
                    <a:pt x="0" y="12220"/>
                  </a:cubicBezTo>
                  <a:cubicBezTo>
                    <a:pt x="39" y="13340"/>
                    <a:pt x="544" y="14779"/>
                    <a:pt x="1264" y="15267"/>
                  </a:cubicBezTo>
                  <a:cubicBezTo>
                    <a:pt x="1955" y="15917"/>
                    <a:pt x="3162" y="16556"/>
                    <a:pt x="3927" y="16737"/>
                  </a:cubicBezTo>
                  <a:cubicBezTo>
                    <a:pt x="4683" y="17011"/>
                    <a:pt x="6103" y="18060"/>
                    <a:pt x="7051" y="19230"/>
                  </a:cubicBezTo>
                  <a:cubicBezTo>
                    <a:pt x="7989" y="20416"/>
                    <a:pt x="9393" y="21249"/>
                    <a:pt x="10126" y="21120"/>
                  </a:cubicBezTo>
                  <a:cubicBezTo>
                    <a:pt x="10861" y="21014"/>
                    <a:pt x="12445" y="20982"/>
                    <a:pt x="13638" y="21086"/>
                  </a:cubicBezTo>
                  <a:cubicBezTo>
                    <a:pt x="14830" y="21034"/>
                    <a:pt x="16570" y="20618"/>
                    <a:pt x="17481" y="19772"/>
                  </a:cubicBezTo>
                  <a:cubicBezTo>
                    <a:pt x="18408" y="19056"/>
                    <a:pt x="19329" y="17265"/>
                    <a:pt x="19591" y="15983"/>
                  </a:cubicBezTo>
                  <a:cubicBezTo>
                    <a:pt x="19821" y="14675"/>
                    <a:pt x="20342" y="12832"/>
                    <a:pt x="20790" y="12024"/>
                  </a:cubicBezTo>
                  <a:cubicBezTo>
                    <a:pt x="21211" y="11159"/>
                    <a:pt x="21558" y="9036"/>
                    <a:pt x="21600" y="7338"/>
                  </a:cubicBezTo>
                  <a:cubicBezTo>
                    <a:pt x="21558" y="5631"/>
                    <a:pt x="19929" y="3093"/>
                    <a:pt x="17825" y="1732"/>
                  </a:cubicBezTo>
                  <a:cubicBezTo>
                    <a:pt x="15712" y="456"/>
                    <a:pt x="12828" y="-351"/>
                    <a:pt x="11393" y="150"/>
                  </a:cubicBezTo>
                  <a:close/>
                  <a:moveTo>
                    <a:pt x="11393" y="1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6" name="AutoShape 978"/>
            <p:cNvSpPr>
              <a:spLocks/>
            </p:cNvSpPr>
            <p:nvPr/>
          </p:nvSpPr>
          <p:spPr bwMode="auto">
            <a:xfrm>
              <a:off x="5626100" y="2324100"/>
              <a:ext cx="14288" cy="7938"/>
            </a:xfrm>
            <a:custGeom>
              <a:avLst/>
              <a:gdLst/>
              <a:ahLst/>
              <a:cxnLst/>
              <a:rect l="0" t="0" r="r" b="b"/>
              <a:pathLst>
                <a:path w="20324" h="20516">
                  <a:moveTo>
                    <a:pt x="15531" y="5683"/>
                  </a:moveTo>
                  <a:cubicBezTo>
                    <a:pt x="11151" y="2737"/>
                    <a:pt x="5964" y="-600"/>
                    <a:pt x="3975" y="92"/>
                  </a:cubicBezTo>
                  <a:cubicBezTo>
                    <a:pt x="1971" y="197"/>
                    <a:pt x="210" y="1447"/>
                    <a:pt x="0" y="2829"/>
                  </a:cubicBezTo>
                  <a:cubicBezTo>
                    <a:pt x="0" y="4242"/>
                    <a:pt x="1665" y="9112"/>
                    <a:pt x="4347" y="13215"/>
                  </a:cubicBezTo>
                  <a:cubicBezTo>
                    <a:pt x="6876" y="17663"/>
                    <a:pt x="10456" y="21000"/>
                    <a:pt x="12120" y="20458"/>
                  </a:cubicBezTo>
                  <a:cubicBezTo>
                    <a:pt x="13802" y="20040"/>
                    <a:pt x="17001" y="17814"/>
                    <a:pt x="19305" y="15666"/>
                  </a:cubicBezTo>
                  <a:cubicBezTo>
                    <a:pt x="21600" y="13425"/>
                    <a:pt x="19879" y="8946"/>
                    <a:pt x="15531" y="5683"/>
                  </a:cubicBezTo>
                  <a:close/>
                  <a:moveTo>
                    <a:pt x="15531" y="56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7" name="AutoShape 979"/>
            <p:cNvSpPr>
              <a:spLocks/>
            </p:cNvSpPr>
            <p:nvPr/>
          </p:nvSpPr>
          <p:spPr bwMode="auto">
            <a:xfrm>
              <a:off x="5613400" y="1651000"/>
              <a:ext cx="19050" cy="11113"/>
            </a:xfrm>
            <a:custGeom>
              <a:avLst/>
              <a:gdLst/>
              <a:ahLst/>
              <a:cxnLst/>
              <a:rect l="0" t="0" r="r" b="b"/>
              <a:pathLst>
                <a:path w="21088" h="21039">
                  <a:moveTo>
                    <a:pt x="7810" y="15299"/>
                  </a:moveTo>
                  <a:cubicBezTo>
                    <a:pt x="9624" y="12709"/>
                    <a:pt x="12959" y="9354"/>
                    <a:pt x="15185" y="8112"/>
                  </a:cubicBezTo>
                  <a:cubicBezTo>
                    <a:pt x="17365" y="6603"/>
                    <a:pt x="19942" y="4543"/>
                    <a:pt x="20513" y="3014"/>
                  </a:cubicBezTo>
                  <a:cubicBezTo>
                    <a:pt x="21304" y="1750"/>
                    <a:pt x="21238" y="433"/>
                    <a:pt x="20567" y="52"/>
                  </a:cubicBezTo>
                  <a:cubicBezTo>
                    <a:pt x="19863" y="-183"/>
                    <a:pt x="18374" y="402"/>
                    <a:pt x="17211" y="1327"/>
                  </a:cubicBezTo>
                  <a:cubicBezTo>
                    <a:pt x="16063" y="2248"/>
                    <a:pt x="13325" y="3843"/>
                    <a:pt x="11126" y="4786"/>
                  </a:cubicBezTo>
                  <a:cubicBezTo>
                    <a:pt x="8920" y="5541"/>
                    <a:pt x="6515" y="7770"/>
                    <a:pt x="5744" y="9343"/>
                  </a:cubicBezTo>
                  <a:cubicBezTo>
                    <a:pt x="4927" y="10808"/>
                    <a:pt x="3532" y="12794"/>
                    <a:pt x="2588" y="13718"/>
                  </a:cubicBezTo>
                  <a:cubicBezTo>
                    <a:pt x="1651" y="14631"/>
                    <a:pt x="315" y="16669"/>
                    <a:pt x="103" y="18559"/>
                  </a:cubicBezTo>
                  <a:cubicBezTo>
                    <a:pt x="-296" y="20397"/>
                    <a:pt x="501" y="21417"/>
                    <a:pt x="1896" y="20908"/>
                  </a:cubicBezTo>
                  <a:cubicBezTo>
                    <a:pt x="3265" y="20356"/>
                    <a:pt x="5936" y="17848"/>
                    <a:pt x="7810" y="15299"/>
                  </a:cubicBezTo>
                  <a:close/>
                  <a:moveTo>
                    <a:pt x="7810" y="152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8" name="AutoShape 980"/>
            <p:cNvSpPr>
              <a:spLocks/>
            </p:cNvSpPr>
            <p:nvPr/>
          </p:nvSpPr>
          <p:spPr bwMode="auto">
            <a:xfrm>
              <a:off x="5740400" y="2197100"/>
              <a:ext cx="1588" cy="3175"/>
            </a:xfrm>
            <a:custGeom>
              <a:avLst/>
              <a:gdLst/>
              <a:ahLst/>
              <a:cxnLst/>
              <a:rect l="0" t="0" r="r" b="b"/>
              <a:pathLst>
                <a:path w="19004" h="19123">
                  <a:moveTo>
                    <a:pt x="13387" y="579"/>
                  </a:moveTo>
                  <a:cubicBezTo>
                    <a:pt x="9450" y="2883"/>
                    <a:pt x="1204" y="7821"/>
                    <a:pt x="1204" y="13208"/>
                  </a:cubicBezTo>
                  <a:cubicBezTo>
                    <a:pt x="-1780" y="18116"/>
                    <a:pt x="1081" y="20506"/>
                    <a:pt x="6509" y="18294"/>
                  </a:cubicBezTo>
                  <a:cubicBezTo>
                    <a:pt x="11821" y="16107"/>
                    <a:pt x="18058" y="10426"/>
                    <a:pt x="18699" y="5640"/>
                  </a:cubicBezTo>
                  <a:cubicBezTo>
                    <a:pt x="19820" y="941"/>
                    <a:pt x="17811" y="-1094"/>
                    <a:pt x="13387" y="579"/>
                  </a:cubicBezTo>
                  <a:close/>
                  <a:moveTo>
                    <a:pt x="13387" y="57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79" name="AutoShape 981"/>
            <p:cNvSpPr>
              <a:spLocks/>
            </p:cNvSpPr>
            <p:nvPr/>
          </p:nvSpPr>
          <p:spPr bwMode="auto">
            <a:xfrm>
              <a:off x="5664200" y="1536700"/>
              <a:ext cx="1588" cy="0"/>
            </a:xfrm>
            <a:custGeom>
              <a:avLst/>
              <a:gdLst/>
              <a:ahLst/>
              <a:cxnLst/>
              <a:rect l="0" t="0" r="r" b="b"/>
              <a:pathLst>
                <a:path w="18860" h="19873">
                  <a:moveTo>
                    <a:pt x="901" y="16795"/>
                  </a:moveTo>
                  <a:cubicBezTo>
                    <a:pt x="3268" y="20601"/>
                    <a:pt x="8329" y="19803"/>
                    <a:pt x="12352" y="19803"/>
                  </a:cubicBezTo>
                  <a:cubicBezTo>
                    <a:pt x="16062" y="17139"/>
                    <a:pt x="19928" y="10326"/>
                    <a:pt x="18588" y="5018"/>
                  </a:cubicBezTo>
                  <a:cubicBezTo>
                    <a:pt x="19050" y="-999"/>
                    <a:pt x="13381" y="-999"/>
                    <a:pt x="7292" y="1846"/>
                  </a:cubicBezTo>
                  <a:cubicBezTo>
                    <a:pt x="1512" y="7155"/>
                    <a:pt x="-1672" y="13787"/>
                    <a:pt x="901" y="16795"/>
                  </a:cubicBezTo>
                  <a:close/>
                  <a:moveTo>
                    <a:pt x="901" y="167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0" name="AutoShape 982"/>
            <p:cNvSpPr>
              <a:spLocks/>
            </p:cNvSpPr>
            <p:nvPr/>
          </p:nvSpPr>
          <p:spPr bwMode="auto">
            <a:xfrm>
              <a:off x="5740400" y="2184400"/>
              <a:ext cx="3175" cy="1588"/>
            </a:xfrm>
            <a:custGeom>
              <a:avLst/>
              <a:gdLst/>
              <a:ahLst/>
              <a:cxnLst/>
              <a:rect l="0" t="0" r="r" b="b"/>
              <a:pathLst>
                <a:path w="20033" h="19748">
                  <a:moveTo>
                    <a:pt x="2428" y="5358"/>
                  </a:moveTo>
                  <a:cubicBezTo>
                    <a:pt x="200" y="7133"/>
                    <a:pt x="0" y="11444"/>
                    <a:pt x="0" y="14993"/>
                  </a:cubicBezTo>
                  <a:cubicBezTo>
                    <a:pt x="624" y="18413"/>
                    <a:pt x="4230" y="20655"/>
                    <a:pt x="7514" y="19392"/>
                  </a:cubicBezTo>
                  <a:cubicBezTo>
                    <a:pt x="10839" y="17911"/>
                    <a:pt x="16624" y="13687"/>
                    <a:pt x="18700" y="8145"/>
                  </a:cubicBezTo>
                  <a:cubicBezTo>
                    <a:pt x="21600" y="3029"/>
                    <a:pt x="19524" y="-945"/>
                    <a:pt x="14830" y="198"/>
                  </a:cubicBezTo>
                  <a:cubicBezTo>
                    <a:pt x="9903" y="579"/>
                    <a:pt x="4543" y="3583"/>
                    <a:pt x="2428" y="5358"/>
                  </a:cubicBezTo>
                  <a:close/>
                  <a:moveTo>
                    <a:pt x="2428" y="53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1" name="AutoShape 983"/>
            <p:cNvSpPr>
              <a:spLocks/>
            </p:cNvSpPr>
            <p:nvPr/>
          </p:nvSpPr>
          <p:spPr bwMode="auto">
            <a:xfrm>
              <a:off x="6731000" y="1409700"/>
              <a:ext cx="42863" cy="25400"/>
            </a:xfrm>
            <a:custGeom>
              <a:avLst/>
              <a:gdLst/>
              <a:ahLst/>
              <a:cxnLst/>
              <a:rect l="0" t="0" r="r" b="b"/>
              <a:pathLst>
                <a:path w="21406" h="21269">
                  <a:moveTo>
                    <a:pt x="3172" y="3488"/>
                  </a:moveTo>
                  <a:cubicBezTo>
                    <a:pt x="2302" y="3684"/>
                    <a:pt x="1465" y="5477"/>
                    <a:pt x="1416" y="7555"/>
                  </a:cubicBezTo>
                  <a:cubicBezTo>
                    <a:pt x="1283" y="9633"/>
                    <a:pt x="910" y="12270"/>
                    <a:pt x="436" y="13345"/>
                  </a:cubicBezTo>
                  <a:cubicBezTo>
                    <a:pt x="-18" y="14448"/>
                    <a:pt x="-151" y="16092"/>
                    <a:pt x="200" y="16902"/>
                  </a:cubicBezTo>
                  <a:cubicBezTo>
                    <a:pt x="497" y="17781"/>
                    <a:pt x="1537" y="18985"/>
                    <a:pt x="2450" y="19654"/>
                  </a:cubicBezTo>
                  <a:cubicBezTo>
                    <a:pt x="3372" y="20318"/>
                    <a:pt x="5085" y="20683"/>
                    <a:pt x="6239" y="20333"/>
                  </a:cubicBezTo>
                  <a:cubicBezTo>
                    <a:pt x="7405" y="20038"/>
                    <a:pt x="9290" y="19744"/>
                    <a:pt x="10450" y="19673"/>
                  </a:cubicBezTo>
                  <a:cubicBezTo>
                    <a:pt x="11601" y="19559"/>
                    <a:pt x="12915" y="19264"/>
                    <a:pt x="13365" y="18900"/>
                  </a:cubicBezTo>
                  <a:cubicBezTo>
                    <a:pt x="13804" y="18505"/>
                    <a:pt x="14263" y="18850"/>
                    <a:pt x="14486" y="19489"/>
                  </a:cubicBezTo>
                  <a:cubicBezTo>
                    <a:pt x="14612" y="20188"/>
                    <a:pt x="15417" y="20877"/>
                    <a:pt x="16143" y="21243"/>
                  </a:cubicBezTo>
                  <a:cubicBezTo>
                    <a:pt x="16914" y="21392"/>
                    <a:pt x="17963" y="20903"/>
                    <a:pt x="18518" y="19848"/>
                  </a:cubicBezTo>
                  <a:cubicBezTo>
                    <a:pt x="19074" y="18800"/>
                    <a:pt x="19931" y="17685"/>
                    <a:pt x="20413" y="17361"/>
                  </a:cubicBezTo>
                  <a:cubicBezTo>
                    <a:pt x="20903" y="17076"/>
                    <a:pt x="21354" y="15597"/>
                    <a:pt x="21403" y="14154"/>
                  </a:cubicBezTo>
                  <a:cubicBezTo>
                    <a:pt x="21449" y="12710"/>
                    <a:pt x="20952" y="11256"/>
                    <a:pt x="20302" y="10877"/>
                  </a:cubicBezTo>
                  <a:cubicBezTo>
                    <a:pt x="19651" y="10502"/>
                    <a:pt x="18861" y="10782"/>
                    <a:pt x="18555" y="11446"/>
                  </a:cubicBezTo>
                  <a:cubicBezTo>
                    <a:pt x="18240" y="12095"/>
                    <a:pt x="17963" y="13150"/>
                    <a:pt x="17963" y="13764"/>
                  </a:cubicBezTo>
                  <a:cubicBezTo>
                    <a:pt x="17914" y="14374"/>
                    <a:pt x="17377" y="14584"/>
                    <a:pt x="16713" y="14294"/>
                  </a:cubicBezTo>
                  <a:cubicBezTo>
                    <a:pt x="16069" y="13914"/>
                    <a:pt x="14976" y="12975"/>
                    <a:pt x="14356" y="12010"/>
                  </a:cubicBezTo>
                  <a:cubicBezTo>
                    <a:pt x="13721" y="11092"/>
                    <a:pt x="13304" y="9787"/>
                    <a:pt x="13396" y="9134"/>
                  </a:cubicBezTo>
                  <a:cubicBezTo>
                    <a:pt x="13480" y="8479"/>
                    <a:pt x="13048" y="7310"/>
                    <a:pt x="12351" y="6600"/>
                  </a:cubicBezTo>
                  <a:cubicBezTo>
                    <a:pt x="11694" y="5831"/>
                    <a:pt x="11583" y="4932"/>
                    <a:pt x="12085" y="4412"/>
                  </a:cubicBezTo>
                  <a:cubicBezTo>
                    <a:pt x="12631" y="4008"/>
                    <a:pt x="13470" y="3474"/>
                    <a:pt x="13989" y="3518"/>
                  </a:cubicBezTo>
                  <a:cubicBezTo>
                    <a:pt x="14501" y="3448"/>
                    <a:pt x="15038" y="2824"/>
                    <a:pt x="15127" y="2029"/>
                  </a:cubicBezTo>
                  <a:cubicBezTo>
                    <a:pt x="15223" y="1236"/>
                    <a:pt x="14767" y="272"/>
                    <a:pt x="14060" y="97"/>
                  </a:cubicBezTo>
                  <a:cubicBezTo>
                    <a:pt x="13365" y="-208"/>
                    <a:pt x="11971" y="227"/>
                    <a:pt x="11015" y="1116"/>
                  </a:cubicBezTo>
                  <a:cubicBezTo>
                    <a:pt x="10040" y="1980"/>
                    <a:pt x="8556" y="2499"/>
                    <a:pt x="7735" y="2424"/>
                  </a:cubicBezTo>
                  <a:cubicBezTo>
                    <a:pt x="6914" y="2249"/>
                    <a:pt x="5911" y="2435"/>
                    <a:pt x="5498" y="2689"/>
                  </a:cubicBezTo>
                  <a:cubicBezTo>
                    <a:pt x="5088" y="2959"/>
                    <a:pt x="4045" y="3344"/>
                    <a:pt x="3172" y="3488"/>
                  </a:cubicBezTo>
                  <a:close/>
                  <a:moveTo>
                    <a:pt x="3172" y="34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2" name="AutoShape 984"/>
            <p:cNvSpPr>
              <a:spLocks/>
            </p:cNvSpPr>
            <p:nvPr/>
          </p:nvSpPr>
          <p:spPr bwMode="auto">
            <a:xfrm>
              <a:off x="6527800" y="1549400"/>
              <a:ext cx="69850" cy="36513"/>
            </a:xfrm>
            <a:custGeom>
              <a:avLst/>
              <a:gdLst/>
              <a:ahLst/>
              <a:cxnLst/>
              <a:rect l="0" t="0" r="r" b="b"/>
              <a:pathLst>
                <a:path w="21504" h="21481">
                  <a:moveTo>
                    <a:pt x="13948" y="10588"/>
                  </a:moveTo>
                  <a:cubicBezTo>
                    <a:pt x="14187" y="10222"/>
                    <a:pt x="14663" y="9995"/>
                    <a:pt x="15038" y="10048"/>
                  </a:cubicBezTo>
                  <a:cubicBezTo>
                    <a:pt x="15402" y="10180"/>
                    <a:pt x="16137" y="10539"/>
                    <a:pt x="16666" y="10972"/>
                  </a:cubicBezTo>
                  <a:cubicBezTo>
                    <a:pt x="17187" y="11413"/>
                    <a:pt x="18209" y="11761"/>
                    <a:pt x="18934" y="11790"/>
                  </a:cubicBezTo>
                  <a:cubicBezTo>
                    <a:pt x="19656" y="11790"/>
                    <a:pt x="20429" y="12024"/>
                    <a:pt x="20655" y="12237"/>
                  </a:cubicBezTo>
                  <a:cubicBezTo>
                    <a:pt x="20869" y="12493"/>
                    <a:pt x="21220" y="12411"/>
                    <a:pt x="21409" y="12130"/>
                  </a:cubicBezTo>
                  <a:cubicBezTo>
                    <a:pt x="21578" y="11814"/>
                    <a:pt x="21521" y="11018"/>
                    <a:pt x="21250" y="10279"/>
                  </a:cubicBezTo>
                  <a:cubicBezTo>
                    <a:pt x="20994" y="9516"/>
                    <a:pt x="19431" y="8314"/>
                    <a:pt x="17822" y="7625"/>
                  </a:cubicBezTo>
                  <a:cubicBezTo>
                    <a:pt x="16215" y="6922"/>
                    <a:pt x="14526" y="5436"/>
                    <a:pt x="14036" y="4410"/>
                  </a:cubicBezTo>
                  <a:cubicBezTo>
                    <a:pt x="13537" y="3393"/>
                    <a:pt x="12893" y="2405"/>
                    <a:pt x="12573" y="2207"/>
                  </a:cubicBezTo>
                  <a:cubicBezTo>
                    <a:pt x="12246" y="2043"/>
                    <a:pt x="11491" y="1975"/>
                    <a:pt x="10894" y="2061"/>
                  </a:cubicBezTo>
                  <a:cubicBezTo>
                    <a:pt x="10291" y="2114"/>
                    <a:pt x="9146" y="1755"/>
                    <a:pt x="8326" y="1243"/>
                  </a:cubicBezTo>
                  <a:cubicBezTo>
                    <a:pt x="7513" y="746"/>
                    <a:pt x="6427" y="366"/>
                    <a:pt x="5902" y="420"/>
                  </a:cubicBezTo>
                  <a:cubicBezTo>
                    <a:pt x="5383" y="469"/>
                    <a:pt x="4712" y="426"/>
                    <a:pt x="4407" y="313"/>
                  </a:cubicBezTo>
                  <a:cubicBezTo>
                    <a:pt x="4104" y="185"/>
                    <a:pt x="3247" y="28"/>
                    <a:pt x="2497" y="3"/>
                  </a:cubicBezTo>
                  <a:cubicBezTo>
                    <a:pt x="1744" y="-25"/>
                    <a:pt x="861" y="124"/>
                    <a:pt x="586" y="522"/>
                  </a:cubicBezTo>
                  <a:cubicBezTo>
                    <a:pt x="292" y="877"/>
                    <a:pt x="35" y="1528"/>
                    <a:pt x="4" y="2036"/>
                  </a:cubicBezTo>
                  <a:cubicBezTo>
                    <a:pt x="-22" y="2551"/>
                    <a:pt x="77" y="3187"/>
                    <a:pt x="221" y="3404"/>
                  </a:cubicBezTo>
                  <a:cubicBezTo>
                    <a:pt x="359" y="3638"/>
                    <a:pt x="446" y="4349"/>
                    <a:pt x="334" y="4925"/>
                  </a:cubicBezTo>
                  <a:cubicBezTo>
                    <a:pt x="274" y="5525"/>
                    <a:pt x="518" y="6787"/>
                    <a:pt x="940" y="7686"/>
                  </a:cubicBezTo>
                  <a:cubicBezTo>
                    <a:pt x="1318" y="8648"/>
                    <a:pt x="1907" y="10013"/>
                    <a:pt x="2159" y="10830"/>
                  </a:cubicBezTo>
                  <a:cubicBezTo>
                    <a:pt x="2434" y="11619"/>
                    <a:pt x="3359" y="12362"/>
                    <a:pt x="4225" y="12624"/>
                  </a:cubicBezTo>
                  <a:cubicBezTo>
                    <a:pt x="5094" y="12809"/>
                    <a:pt x="6393" y="13555"/>
                    <a:pt x="7143" y="14153"/>
                  </a:cubicBezTo>
                  <a:cubicBezTo>
                    <a:pt x="7869" y="14834"/>
                    <a:pt x="8875" y="15989"/>
                    <a:pt x="9351" y="16803"/>
                  </a:cubicBezTo>
                  <a:cubicBezTo>
                    <a:pt x="9844" y="17578"/>
                    <a:pt x="10751" y="18494"/>
                    <a:pt x="11396" y="18824"/>
                  </a:cubicBezTo>
                  <a:cubicBezTo>
                    <a:pt x="12048" y="19091"/>
                    <a:pt x="12887" y="19311"/>
                    <a:pt x="13272" y="19390"/>
                  </a:cubicBezTo>
                  <a:cubicBezTo>
                    <a:pt x="13660" y="19390"/>
                    <a:pt x="14088" y="19727"/>
                    <a:pt x="14232" y="20132"/>
                  </a:cubicBezTo>
                  <a:cubicBezTo>
                    <a:pt x="14401" y="20505"/>
                    <a:pt x="15051" y="21117"/>
                    <a:pt x="15741" y="21330"/>
                  </a:cubicBezTo>
                  <a:cubicBezTo>
                    <a:pt x="16431" y="21575"/>
                    <a:pt x="17132" y="21511"/>
                    <a:pt x="17318" y="21213"/>
                  </a:cubicBezTo>
                  <a:cubicBezTo>
                    <a:pt x="17513" y="20943"/>
                    <a:pt x="17695" y="20243"/>
                    <a:pt x="17638" y="19766"/>
                  </a:cubicBezTo>
                  <a:cubicBezTo>
                    <a:pt x="17638" y="19279"/>
                    <a:pt x="17947" y="18551"/>
                    <a:pt x="18347" y="18203"/>
                  </a:cubicBezTo>
                  <a:cubicBezTo>
                    <a:pt x="18720" y="17741"/>
                    <a:pt x="18724" y="16849"/>
                    <a:pt x="18269" y="16138"/>
                  </a:cubicBezTo>
                  <a:cubicBezTo>
                    <a:pt x="17820" y="15399"/>
                    <a:pt x="16897" y="14547"/>
                    <a:pt x="16179" y="14319"/>
                  </a:cubicBezTo>
                  <a:cubicBezTo>
                    <a:pt x="15470" y="14056"/>
                    <a:pt x="14659" y="13889"/>
                    <a:pt x="14386" y="13943"/>
                  </a:cubicBezTo>
                  <a:cubicBezTo>
                    <a:pt x="14111" y="13943"/>
                    <a:pt x="13600" y="13616"/>
                    <a:pt x="13274" y="13115"/>
                  </a:cubicBezTo>
                  <a:cubicBezTo>
                    <a:pt x="12931" y="12645"/>
                    <a:pt x="12846" y="11971"/>
                    <a:pt x="13092" y="11761"/>
                  </a:cubicBezTo>
                  <a:cubicBezTo>
                    <a:pt x="13334" y="11505"/>
                    <a:pt x="13723" y="10990"/>
                    <a:pt x="13948" y="10588"/>
                  </a:cubicBezTo>
                  <a:close/>
                  <a:moveTo>
                    <a:pt x="13948" y="105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3" name="AutoShape 985"/>
            <p:cNvSpPr>
              <a:spLocks/>
            </p:cNvSpPr>
            <p:nvPr/>
          </p:nvSpPr>
          <p:spPr bwMode="auto">
            <a:xfrm>
              <a:off x="5740400" y="2171700"/>
              <a:ext cx="15875" cy="4763"/>
            </a:xfrm>
            <a:custGeom>
              <a:avLst/>
              <a:gdLst/>
              <a:ahLst/>
              <a:cxnLst/>
              <a:rect l="0" t="0" r="r" b="b"/>
              <a:pathLst>
                <a:path w="21110" h="20003">
                  <a:moveTo>
                    <a:pt x="19623" y="6268"/>
                  </a:moveTo>
                  <a:cubicBezTo>
                    <a:pt x="18590" y="4037"/>
                    <a:pt x="15567" y="3472"/>
                    <a:pt x="13134" y="4037"/>
                  </a:cubicBezTo>
                  <a:cubicBezTo>
                    <a:pt x="10693" y="4506"/>
                    <a:pt x="7663" y="3692"/>
                    <a:pt x="6403" y="1765"/>
                  </a:cubicBezTo>
                  <a:cubicBezTo>
                    <a:pt x="5144" y="-158"/>
                    <a:pt x="2906" y="-790"/>
                    <a:pt x="1653" y="1300"/>
                  </a:cubicBezTo>
                  <a:cubicBezTo>
                    <a:pt x="278" y="2820"/>
                    <a:pt x="-235" y="6778"/>
                    <a:pt x="99" y="10081"/>
                  </a:cubicBezTo>
                  <a:cubicBezTo>
                    <a:pt x="512" y="13350"/>
                    <a:pt x="2369" y="15780"/>
                    <a:pt x="4055" y="15963"/>
                  </a:cubicBezTo>
                  <a:cubicBezTo>
                    <a:pt x="5758" y="16108"/>
                    <a:pt x="7708" y="17142"/>
                    <a:pt x="8323" y="18762"/>
                  </a:cubicBezTo>
                  <a:cubicBezTo>
                    <a:pt x="9123" y="19655"/>
                    <a:pt x="11952" y="20810"/>
                    <a:pt x="14899" y="19190"/>
                  </a:cubicBezTo>
                  <a:cubicBezTo>
                    <a:pt x="17884" y="17832"/>
                    <a:pt x="20704" y="15315"/>
                    <a:pt x="20992" y="13267"/>
                  </a:cubicBezTo>
                  <a:cubicBezTo>
                    <a:pt x="21365" y="11298"/>
                    <a:pt x="20836" y="7688"/>
                    <a:pt x="19623" y="6268"/>
                  </a:cubicBezTo>
                  <a:close/>
                  <a:moveTo>
                    <a:pt x="19623" y="62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4" name="AutoShape 986"/>
            <p:cNvSpPr>
              <a:spLocks/>
            </p:cNvSpPr>
            <p:nvPr/>
          </p:nvSpPr>
          <p:spPr bwMode="auto">
            <a:xfrm>
              <a:off x="6629400" y="1536700"/>
              <a:ext cx="6350" cy="3175"/>
            </a:xfrm>
            <a:custGeom>
              <a:avLst/>
              <a:gdLst/>
              <a:ahLst/>
              <a:cxnLst/>
              <a:rect l="0" t="0" r="r" b="b"/>
              <a:pathLst>
                <a:path w="20842" h="19816">
                  <a:moveTo>
                    <a:pt x="12449" y="718"/>
                  </a:moveTo>
                  <a:cubicBezTo>
                    <a:pt x="8080" y="3253"/>
                    <a:pt x="2824" y="6853"/>
                    <a:pt x="969" y="9836"/>
                  </a:cubicBezTo>
                  <a:cubicBezTo>
                    <a:pt x="-758" y="13095"/>
                    <a:pt x="-185" y="17568"/>
                    <a:pt x="2752" y="18959"/>
                  </a:cubicBezTo>
                  <a:cubicBezTo>
                    <a:pt x="5631" y="20479"/>
                    <a:pt x="10831" y="19961"/>
                    <a:pt x="14509" y="17533"/>
                  </a:cubicBezTo>
                  <a:cubicBezTo>
                    <a:pt x="18075" y="14486"/>
                    <a:pt x="20842" y="9146"/>
                    <a:pt x="20842" y="4879"/>
                  </a:cubicBezTo>
                  <a:cubicBezTo>
                    <a:pt x="20580" y="683"/>
                    <a:pt x="16921" y="-1121"/>
                    <a:pt x="12449" y="718"/>
                  </a:cubicBezTo>
                  <a:close/>
                  <a:moveTo>
                    <a:pt x="12449" y="7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5" name="AutoShape 987"/>
            <p:cNvSpPr>
              <a:spLocks/>
            </p:cNvSpPr>
            <p:nvPr/>
          </p:nvSpPr>
          <p:spPr bwMode="auto">
            <a:xfrm>
              <a:off x="5651500" y="1625600"/>
              <a:ext cx="4763" cy="3175"/>
            </a:xfrm>
            <a:custGeom>
              <a:avLst/>
              <a:gdLst/>
              <a:ahLst/>
              <a:cxnLst/>
              <a:rect l="0" t="0" r="r" b="b"/>
              <a:pathLst>
                <a:path w="19108" h="19483">
                  <a:moveTo>
                    <a:pt x="486" y="19445"/>
                  </a:moveTo>
                  <a:cubicBezTo>
                    <a:pt x="2401" y="18889"/>
                    <a:pt x="7055" y="16290"/>
                    <a:pt x="10531" y="12617"/>
                  </a:cubicBezTo>
                  <a:cubicBezTo>
                    <a:pt x="14342" y="9944"/>
                    <a:pt x="18152" y="4334"/>
                    <a:pt x="18898" y="1141"/>
                  </a:cubicBezTo>
                  <a:cubicBezTo>
                    <a:pt x="20214" y="-1607"/>
                    <a:pt x="15157" y="593"/>
                    <a:pt x="8901" y="7923"/>
                  </a:cubicBezTo>
                  <a:cubicBezTo>
                    <a:pt x="2306" y="14601"/>
                    <a:pt x="-1386" y="19993"/>
                    <a:pt x="486" y="19445"/>
                  </a:cubicBezTo>
                  <a:close/>
                  <a:moveTo>
                    <a:pt x="486" y="194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6" name="AutoShape 988"/>
            <p:cNvSpPr>
              <a:spLocks/>
            </p:cNvSpPr>
            <p:nvPr/>
          </p:nvSpPr>
          <p:spPr bwMode="auto">
            <a:xfrm>
              <a:off x="5664200" y="1511300"/>
              <a:ext cx="4763" cy="3175"/>
            </a:xfrm>
            <a:custGeom>
              <a:avLst/>
              <a:gdLst/>
              <a:ahLst/>
              <a:cxnLst/>
              <a:rect l="0" t="0" r="r" b="b"/>
              <a:pathLst>
                <a:path w="19618" h="20645">
                  <a:moveTo>
                    <a:pt x="14249" y="12596"/>
                  </a:moveTo>
                  <a:cubicBezTo>
                    <a:pt x="18932" y="7898"/>
                    <a:pt x="20932" y="2133"/>
                    <a:pt x="18712" y="1025"/>
                  </a:cubicBezTo>
                  <a:cubicBezTo>
                    <a:pt x="16543" y="-176"/>
                    <a:pt x="12804" y="-536"/>
                    <a:pt x="10340" y="1125"/>
                  </a:cubicBezTo>
                  <a:cubicBezTo>
                    <a:pt x="7825" y="2560"/>
                    <a:pt x="3607" y="7084"/>
                    <a:pt x="1677" y="11682"/>
                  </a:cubicBezTo>
                  <a:cubicBezTo>
                    <a:pt x="-473" y="16239"/>
                    <a:pt x="-668" y="20317"/>
                    <a:pt x="1751" y="20610"/>
                  </a:cubicBezTo>
                  <a:cubicBezTo>
                    <a:pt x="4092" y="21064"/>
                    <a:pt x="9414" y="16993"/>
                    <a:pt x="14249" y="12596"/>
                  </a:cubicBezTo>
                  <a:close/>
                  <a:moveTo>
                    <a:pt x="14249" y="125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7" name="AutoShape 989"/>
            <p:cNvSpPr>
              <a:spLocks/>
            </p:cNvSpPr>
            <p:nvPr/>
          </p:nvSpPr>
          <p:spPr bwMode="auto">
            <a:xfrm>
              <a:off x="6527800" y="1549400"/>
              <a:ext cx="76200" cy="17463"/>
            </a:xfrm>
            <a:custGeom>
              <a:avLst/>
              <a:gdLst/>
              <a:ahLst/>
              <a:cxnLst/>
              <a:rect l="0" t="0" r="r" b="b"/>
              <a:pathLst>
                <a:path w="21331" h="21429">
                  <a:moveTo>
                    <a:pt x="21251" y="9434"/>
                  </a:moveTo>
                  <a:cubicBezTo>
                    <a:pt x="21500" y="8879"/>
                    <a:pt x="21147" y="7775"/>
                    <a:pt x="20446" y="6408"/>
                  </a:cubicBezTo>
                  <a:cubicBezTo>
                    <a:pt x="19730" y="5170"/>
                    <a:pt x="18750" y="3900"/>
                    <a:pt x="18251" y="3848"/>
                  </a:cubicBezTo>
                  <a:cubicBezTo>
                    <a:pt x="17751" y="3736"/>
                    <a:pt x="16741" y="2699"/>
                    <a:pt x="15994" y="1657"/>
                  </a:cubicBezTo>
                  <a:cubicBezTo>
                    <a:pt x="15255" y="493"/>
                    <a:pt x="14058" y="-56"/>
                    <a:pt x="13345" y="4"/>
                  </a:cubicBezTo>
                  <a:cubicBezTo>
                    <a:pt x="12627" y="275"/>
                    <a:pt x="11146" y="1123"/>
                    <a:pt x="10065" y="2227"/>
                  </a:cubicBezTo>
                  <a:cubicBezTo>
                    <a:pt x="8980" y="3345"/>
                    <a:pt x="7588" y="3676"/>
                    <a:pt x="6974" y="3405"/>
                  </a:cubicBezTo>
                  <a:cubicBezTo>
                    <a:pt x="6361" y="3067"/>
                    <a:pt x="5125" y="3135"/>
                    <a:pt x="4212" y="3579"/>
                  </a:cubicBezTo>
                  <a:cubicBezTo>
                    <a:pt x="3304" y="4082"/>
                    <a:pt x="2126" y="4584"/>
                    <a:pt x="1592" y="4644"/>
                  </a:cubicBezTo>
                  <a:cubicBezTo>
                    <a:pt x="1058" y="4532"/>
                    <a:pt x="406" y="5447"/>
                    <a:pt x="145" y="6259"/>
                  </a:cubicBezTo>
                  <a:cubicBezTo>
                    <a:pt x="-100" y="7166"/>
                    <a:pt x="-30" y="8270"/>
                    <a:pt x="319" y="9096"/>
                  </a:cubicBezTo>
                  <a:cubicBezTo>
                    <a:pt x="685" y="9734"/>
                    <a:pt x="1772" y="10426"/>
                    <a:pt x="2752" y="10027"/>
                  </a:cubicBezTo>
                  <a:cubicBezTo>
                    <a:pt x="3728" y="9757"/>
                    <a:pt x="4982" y="10117"/>
                    <a:pt x="5530" y="10869"/>
                  </a:cubicBezTo>
                  <a:cubicBezTo>
                    <a:pt x="6075" y="11634"/>
                    <a:pt x="7177" y="12377"/>
                    <a:pt x="7973" y="12489"/>
                  </a:cubicBezTo>
                  <a:cubicBezTo>
                    <a:pt x="8770" y="12767"/>
                    <a:pt x="9971" y="13466"/>
                    <a:pt x="10644" y="14262"/>
                  </a:cubicBezTo>
                  <a:cubicBezTo>
                    <a:pt x="11310" y="15111"/>
                    <a:pt x="12250" y="15583"/>
                    <a:pt x="12722" y="15366"/>
                  </a:cubicBezTo>
                  <a:cubicBezTo>
                    <a:pt x="13195" y="15192"/>
                    <a:pt x="13775" y="15208"/>
                    <a:pt x="14013" y="15463"/>
                  </a:cubicBezTo>
                  <a:cubicBezTo>
                    <a:pt x="14255" y="15733"/>
                    <a:pt x="14458" y="16762"/>
                    <a:pt x="14434" y="17723"/>
                  </a:cubicBezTo>
                  <a:cubicBezTo>
                    <a:pt x="14410" y="18684"/>
                    <a:pt x="14693" y="19990"/>
                    <a:pt x="15037" y="20591"/>
                  </a:cubicBezTo>
                  <a:cubicBezTo>
                    <a:pt x="15386" y="21138"/>
                    <a:pt x="16144" y="21432"/>
                    <a:pt x="16728" y="21198"/>
                  </a:cubicBezTo>
                  <a:cubicBezTo>
                    <a:pt x="17316" y="21086"/>
                    <a:pt x="18088" y="20861"/>
                    <a:pt x="18435" y="21266"/>
                  </a:cubicBezTo>
                  <a:cubicBezTo>
                    <a:pt x="18786" y="21544"/>
                    <a:pt x="19422" y="21453"/>
                    <a:pt x="19860" y="21086"/>
                  </a:cubicBezTo>
                  <a:cubicBezTo>
                    <a:pt x="20292" y="20614"/>
                    <a:pt x="20693" y="19599"/>
                    <a:pt x="20720" y="18669"/>
                  </a:cubicBezTo>
                  <a:cubicBezTo>
                    <a:pt x="20768" y="17760"/>
                    <a:pt x="20687" y="16281"/>
                    <a:pt x="20495" y="15703"/>
                  </a:cubicBezTo>
                  <a:cubicBezTo>
                    <a:pt x="20360" y="14869"/>
                    <a:pt x="20335" y="13466"/>
                    <a:pt x="20485" y="12257"/>
                  </a:cubicBezTo>
                  <a:cubicBezTo>
                    <a:pt x="20653" y="11085"/>
                    <a:pt x="20982" y="9666"/>
                    <a:pt x="21251" y="9434"/>
                  </a:cubicBezTo>
                  <a:close/>
                  <a:moveTo>
                    <a:pt x="21251" y="94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8" name="AutoShape 990"/>
            <p:cNvSpPr>
              <a:spLocks/>
            </p:cNvSpPr>
            <p:nvPr/>
          </p:nvSpPr>
          <p:spPr bwMode="auto">
            <a:xfrm>
              <a:off x="6718300" y="1447800"/>
              <a:ext cx="9525" cy="4763"/>
            </a:xfrm>
            <a:custGeom>
              <a:avLst/>
              <a:gdLst/>
              <a:ahLst/>
              <a:cxnLst/>
              <a:rect l="0" t="0" r="r" b="b"/>
              <a:pathLst>
                <a:path w="20915" h="21043">
                  <a:moveTo>
                    <a:pt x="16152" y="39"/>
                  </a:moveTo>
                  <a:cubicBezTo>
                    <a:pt x="13611" y="531"/>
                    <a:pt x="9147" y="2695"/>
                    <a:pt x="6144" y="4666"/>
                  </a:cubicBezTo>
                  <a:cubicBezTo>
                    <a:pt x="3212" y="7067"/>
                    <a:pt x="304" y="11289"/>
                    <a:pt x="106" y="14634"/>
                  </a:cubicBezTo>
                  <a:cubicBezTo>
                    <a:pt x="-495" y="17786"/>
                    <a:pt x="1560" y="20849"/>
                    <a:pt x="3998" y="21021"/>
                  </a:cubicBezTo>
                  <a:cubicBezTo>
                    <a:pt x="6408" y="21319"/>
                    <a:pt x="11386" y="18729"/>
                    <a:pt x="14739" y="14761"/>
                  </a:cubicBezTo>
                  <a:cubicBezTo>
                    <a:pt x="18196" y="11096"/>
                    <a:pt x="21105" y="6167"/>
                    <a:pt x="20905" y="3810"/>
                  </a:cubicBezTo>
                  <a:cubicBezTo>
                    <a:pt x="20905" y="1409"/>
                    <a:pt x="18706" y="-281"/>
                    <a:pt x="16152" y="39"/>
                  </a:cubicBezTo>
                  <a:close/>
                  <a:moveTo>
                    <a:pt x="16152" y="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89" name="AutoShape 991"/>
            <p:cNvSpPr>
              <a:spLocks/>
            </p:cNvSpPr>
            <p:nvPr/>
          </p:nvSpPr>
          <p:spPr bwMode="auto">
            <a:xfrm>
              <a:off x="6692900" y="1358900"/>
              <a:ext cx="12700" cy="4763"/>
            </a:xfrm>
            <a:custGeom>
              <a:avLst/>
              <a:gdLst/>
              <a:ahLst/>
              <a:cxnLst/>
              <a:rect l="0" t="0" r="r" b="b"/>
              <a:pathLst>
                <a:path w="20683" h="20884">
                  <a:moveTo>
                    <a:pt x="12166" y="75"/>
                  </a:moveTo>
                  <a:cubicBezTo>
                    <a:pt x="9404" y="-283"/>
                    <a:pt x="6070" y="649"/>
                    <a:pt x="4911" y="2517"/>
                  </a:cubicBezTo>
                  <a:cubicBezTo>
                    <a:pt x="3734" y="4263"/>
                    <a:pt x="1667" y="7976"/>
                    <a:pt x="739" y="11522"/>
                  </a:cubicBezTo>
                  <a:cubicBezTo>
                    <a:pt x="-333" y="14804"/>
                    <a:pt x="-227" y="18345"/>
                    <a:pt x="981" y="19546"/>
                  </a:cubicBezTo>
                  <a:cubicBezTo>
                    <a:pt x="2227" y="20621"/>
                    <a:pt x="5965" y="21317"/>
                    <a:pt x="9327" y="20576"/>
                  </a:cubicBezTo>
                  <a:cubicBezTo>
                    <a:pt x="12698" y="20312"/>
                    <a:pt x="17035" y="17388"/>
                    <a:pt x="18900" y="14446"/>
                  </a:cubicBezTo>
                  <a:cubicBezTo>
                    <a:pt x="20852" y="11738"/>
                    <a:pt x="21267" y="7260"/>
                    <a:pt x="19818" y="5009"/>
                  </a:cubicBezTo>
                  <a:cubicBezTo>
                    <a:pt x="18417" y="2493"/>
                    <a:pt x="14940" y="409"/>
                    <a:pt x="12166" y="75"/>
                  </a:cubicBezTo>
                  <a:close/>
                  <a:moveTo>
                    <a:pt x="12166" y="7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0" name="AutoShape 992"/>
            <p:cNvSpPr>
              <a:spLocks/>
            </p:cNvSpPr>
            <p:nvPr/>
          </p:nvSpPr>
          <p:spPr bwMode="auto">
            <a:xfrm>
              <a:off x="5981700" y="1981200"/>
              <a:ext cx="3175" cy="6350"/>
            </a:xfrm>
            <a:custGeom>
              <a:avLst/>
              <a:gdLst/>
              <a:ahLst/>
              <a:cxnLst/>
              <a:rect l="0" t="0" r="r" b="b"/>
              <a:pathLst>
                <a:path w="19124" h="20414">
                  <a:moveTo>
                    <a:pt x="182" y="11136"/>
                  </a:moveTo>
                  <a:cubicBezTo>
                    <a:pt x="-616" y="14034"/>
                    <a:pt x="1242" y="17994"/>
                    <a:pt x="5055" y="19160"/>
                  </a:cubicBezTo>
                  <a:cubicBezTo>
                    <a:pt x="8426" y="20785"/>
                    <a:pt x="12916" y="20729"/>
                    <a:pt x="15223" y="19578"/>
                  </a:cubicBezTo>
                  <a:cubicBezTo>
                    <a:pt x="17408" y="18267"/>
                    <a:pt x="17262" y="14983"/>
                    <a:pt x="15018" y="12230"/>
                  </a:cubicBezTo>
                  <a:cubicBezTo>
                    <a:pt x="13152" y="9346"/>
                    <a:pt x="13862" y="5024"/>
                    <a:pt x="17347" y="2252"/>
                  </a:cubicBezTo>
                  <a:cubicBezTo>
                    <a:pt x="20984" y="-411"/>
                    <a:pt x="18830" y="-815"/>
                    <a:pt x="12772" y="1594"/>
                  </a:cubicBezTo>
                  <a:cubicBezTo>
                    <a:pt x="6623" y="3873"/>
                    <a:pt x="623" y="8214"/>
                    <a:pt x="182" y="11136"/>
                  </a:cubicBezTo>
                  <a:close/>
                  <a:moveTo>
                    <a:pt x="182" y="1113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1" name="AutoShape 993"/>
            <p:cNvSpPr>
              <a:spLocks/>
            </p:cNvSpPr>
            <p:nvPr/>
          </p:nvSpPr>
          <p:spPr bwMode="auto">
            <a:xfrm>
              <a:off x="5600700" y="1676400"/>
              <a:ext cx="4763" cy="3175"/>
            </a:xfrm>
            <a:custGeom>
              <a:avLst/>
              <a:gdLst/>
              <a:ahLst/>
              <a:cxnLst/>
              <a:rect l="0" t="0" r="r" b="b"/>
              <a:pathLst>
                <a:path w="20033" h="20707">
                  <a:moveTo>
                    <a:pt x="18082" y="14276"/>
                  </a:moveTo>
                  <a:cubicBezTo>
                    <a:pt x="21038" y="10717"/>
                    <a:pt x="20659" y="4760"/>
                    <a:pt x="16781" y="2854"/>
                  </a:cubicBezTo>
                  <a:cubicBezTo>
                    <a:pt x="13134" y="136"/>
                    <a:pt x="7744" y="-675"/>
                    <a:pt x="4682" y="569"/>
                  </a:cubicBezTo>
                  <a:cubicBezTo>
                    <a:pt x="1598" y="1641"/>
                    <a:pt x="-562" y="7076"/>
                    <a:pt x="129" y="11789"/>
                  </a:cubicBezTo>
                  <a:cubicBezTo>
                    <a:pt x="129" y="16615"/>
                    <a:pt x="3672" y="20865"/>
                    <a:pt x="6903" y="20694"/>
                  </a:cubicBezTo>
                  <a:cubicBezTo>
                    <a:pt x="10093" y="20925"/>
                    <a:pt x="15290" y="18148"/>
                    <a:pt x="18082" y="14276"/>
                  </a:cubicBezTo>
                  <a:close/>
                  <a:moveTo>
                    <a:pt x="18082" y="142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2" name="AutoShape 994"/>
            <p:cNvSpPr>
              <a:spLocks/>
            </p:cNvSpPr>
            <p:nvPr/>
          </p:nvSpPr>
          <p:spPr bwMode="auto">
            <a:xfrm>
              <a:off x="5549900" y="1765300"/>
              <a:ext cx="76200" cy="57150"/>
            </a:xfrm>
            <a:custGeom>
              <a:avLst/>
              <a:gdLst/>
              <a:ahLst/>
              <a:cxnLst/>
              <a:rect l="0" t="0" r="r" b="b"/>
              <a:pathLst>
                <a:path w="21476" h="21499">
                  <a:moveTo>
                    <a:pt x="1507" y="13505"/>
                  </a:moveTo>
                  <a:cubicBezTo>
                    <a:pt x="993" y="13757"/>
                    <a:pt x="408" y="14175"/>
                    <a:pt x="219" y="14425"/>
                  </a:cubicBezTo>
                  <a:cubicBezTo>
                    <a:pt x="26" y="14679"/>
                    <a:pt x="-81" y="15202"/>
                    <a:pt x="76" y="15570"/>
                  </a:cubicBezTo>
                  <a:cubicBezTo>
                    <a:pt x="179" y="15967"/>
                    <a:pt x="1331" y="16242"/>
                    <a:pt x="2590" y="16195"/>
                  </a:cubicBezTo>
                  <a:cubicBezTo>
                    <a:pt x="3845" y="16161"/>
                    <a:pt x="4983" y="16303"/>
                    <a:pt x="5149" y="16483"/>
                  </a:cubicBezTo>
                  <a:cubicBezTo>
                    <a:pt x="5281" y="16704"/>
                    <a:pt x="5695" y="16858"/>
                    <a:pt x="6031" y="16892"/>
                  </a:cubicBezTo>
                  <a:cubicBezTo>
                    <a:pt x="6369" y="16908"/>
                    <a:pt x="7445" y="16306"/>
                    <a:pt x="8423" y="15545"/>
                  </a:cubicBezTo>
                  <a:cubicBezTo>
                    <a:pt x="9404" y="14795"/>
                    <a:pt x="9530" y="14879"/>
                    <a:pt x="8777" y="15858"/>
                  </a:cubicBezTo>
                  <a:cubicBezTo>
                    <a:pt x="7990" y="16794"/>
                    <a:pt x="6956" y="17619"/>
                    <a:pt x="6495" y="17814"/>
                  </a:cubicBezTo>
                  <a:cubicBezTo>
                    <a:pt x="6030" y="17946"/>
                    <a:pt x="5055" y="18021"/>
                    <a:pt x="4330" y="17919"/>
                  </a:cubicBezTo>
                  <a:cubicBezTo>
                    <a:pt x="3609" y="17835"/>
                    <a:pt x="2748" y="17917"/>
                    <a:pt x="2404" y="18066"/>
                  </a:cubicBezTo>
                  <a:cubicBezTo>
                    <a:pt x="2060" y="18216"/>
                    <a:pt x="1654" y="18768"/>
                    <a:pt x="1529" y="19282"/>
                  </a:cubicBezTo>
                  <a:cubicBezTo>
                    <a:pt x="1352" y="19770"/>
                    <a:pt x="1495" y="20270"/>
                    <a:pt x="1734" y="20449"/>
                  </a:cubicBezTo>
                  <a:cubicBezTo>
                    <a:pt x="2002" y="20545"/>
                    <a:pt x="2859" y="20581"/>
                    <a:pt x="3662" y="20475"/>
                  </a:cubicBezTo>
                  <a:cubicBezTo>
                    <a:pt x="4469" y="20343"/>
                    <a:pt x="5159" y="20554"/>
                    <a:pt x="5238" y="20904"/>
                  </a:cubicBezTo>
                  <a:cubicBezTo>
                    <a:pt x="5319" y="21260"/>
                    <a:pt x="5742" y="21481"/>
                    <a:pt x="6226" y="21499"/>
                  </a:cubicBezTo>
                  <a:cubicBezTo>
                    <a:pt x="6711" y="21431"/>
                    <a:pt x="7438" y="21149"/>
                    <a:pt x="7832" y="20804"/>
                  </a:cubicBezTo>
                  <a:cubicBezTo>
                    <a:pt x="8207" y="20415"/>
                    <a:pt x="9832" y="19666"/>
                    <a:pt x="11377" y="18982"/>
                  </a:cubicBezTo>
                  <a:cubicBezTo>
                    <a:pt x="12932" y="18351"/>
                    <a:pt x="14910" y="17673"/>
                    <a:pt x="15753" y="17405"/>
                  </a:cubicBezTo>
                  <a:cubicBezTo>
                    <a:pt x="16613" y="17192"/>
                    <a:pt x="18262" y="16144"/>
                    <a:pt x="19393" y="15038"/>
                  </a:cubicBezTo>
                  <a:cubicBezTo>
                    <a:pt x="20555" y="13982"/>
                    <a:pt x="21469" y="12444"/>
                    <a:pt x="21469" y="11678"/>
                  </a:cubicBezTo>
                  <a:cubicBezTo>
                    <a:pt x="21519" y="10915"/>
                    <a:pt x="21286" y="9804"/>
                    <a:pt x="21127" y="9193"/>
                  </a:cubicBezTo>
                  <a:cubicBezTo>
                    <a:pt x="20955" y="8577"/>
                    <a:pt x="20340" y="8132"/>
                    <a:pt x="19805" y="8282"/>
                  </a:cubicBezTo>
                  <a:cubicBezTo>
                    <a:pt x="19268" y="8400"/>
                    <a:pt x="18424" y="8439"/>
                    <a:pt x="17951" y="8291"/>
                  </a:cubicBezTo>
                  <a:cubicBezTo>
                    <a:pt x="17474" y="8168"/>
                    <a:pt x="16996" y="7139"/>
                    <a:pt x="16898" y="5953"/>
                  </a:cubicBezTo>
                  <a:cubicBezTo>
                    <a:pt x="16768" y="4774"/>
                    <a:pt x="16453" y="3193"/>
                    <a:pt x="16096" y="2473"/>
                  </a:cubicBezTo>
                  <a:cubicBezTo>
                    <a:pt x="15786" y="1719"/>
                    <a:pt x="14801" y="1205"/>
                    <a:pt x="13975" y="1221"/>
                  </a:cubicBezTo>
                  <a:cubicBezTo>
                    <a:pt x="13153" y="1272"/>
                    <a:pt x="12156" y="946"/>
                    <a:pt x="11751" y="535"/>
                  </a:cubicBezTo>
                  <a:cubicBezTo>
                    <a:pt x="11352" y="110"/>
                    <a:pt x="10358" y="-101"/>
                    <a:pt x="9557" y="47"/>
                  </a:cubicBezTo>
                  <a:cubicBezTo>
                    <a:pt x="8754" y="187"/>
                    <a:pt x="7650" y="228"/>
                    <a:pt x="7099" y="194"/>
                  </a:cubicBezTo>
                  <a:cubicBezTo>
                    <a:pt x="6555" y="99"/>
                    <a:pt x="6021" y="356"/>
                    <a:pt x="5902" y="683"/>
                  </a:cubicBezTo>
                  <a:cubicBezTo>
                    <a:pt x="5785" y="1015"/>
                    <a:pt x="5076" y="1900"/>
                    <a:pt x="4316" y="2652"/>
                  </a:cubicBezTo>
                  <a:cubicBezTo>
                    <a:pt x="3547" y="3395"/>
                    <a:pt x="2805" y="4545"/>
                    <a:pt x="2676" y="5204"/>
                  </a:cubicBezTo>
                  <a:cubicBezTo>
                    <a:pt x="2540" y="5856"/>
                    <a:pt x="2847" y="6530"/>
                    <a:pt x="3376" y="6685"/>
                  </a:cubicBezTo>
                  <a:cubicBezTo>
                    <a:pt x="3910" y="6808"/>
                    <a:pt x="4397" y="7376"/>
                    <a:pt x="4574" y="7778"/>
                  </a:cubicBezTo>
                  <a:cubicBezTo>
                    <a:pt x="4681" y="8230"/>
                    <a:pt x="4430" y="8503"/>
                    <a:pt x="3992" y="8271"/>
                  </a:cubicBezTo>
                  <a:cubicBezTo>
                    <a:pt x="3537" y="8105"/>
                    <a:pt x="2750" y="8202"/>
                    <a:pt x="2260" y="8543"/>
                  </a:cubicBezTo>
                  <a:cubicBezTo>
                    <a:pt x="1752" y="8848"/>
                    <a:pt x="1245" y="9447"/>
                    <a:pt x="1188" y="9865"/>
                  </a:cubicBezTo>
                  <a:cubicBezTo>
                    <a:pt x="1074" y="10258"/>
                    <a:pt x="828" y="10994"/>
                    <a:pt x="545" y="11437"/>
                  </a:cubicBezTo>
                  <a:cubicBezTo>
                    <a:pt x="290" y="11903"/>
                    <a:pt x="602" y="12400"/>
                    <a:pt x="1246" y="12641"/>
                  </a:cubicBezTo>
                  <a:cubicBezTo>
                    <a:pt x="1890" y="12887"/>
                    <a:pt x="2021" y="13250"/>
                    <a:pt x="1507" y="13505"/>
                  </a:cubicBezTo>
                  <a:close/>
                  <a:moveTo>
                    <a:pt x="1507" y="135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3" name="AutoShape 995"/>
            <p:cNvSpPr>
              <a:spLocks/>
            </p:cNvSpPr>
            <p:nvPr/>
          </p:nvSpPr>
          <p:spPr bwMode="auto">
            <a:xfrm>
              <a:off x="6261100" y="1104900"/>
              <a:ext cx="15875" cy="7938"/>
            </a:xfrm>
            <a:custGeom>
              <a:avLst/>
              <a:gdLst/>
              <a:ahLst/>
              <a:cxnLst/>
              <a:rect l="0" t="0" r="r" b="b"/>
              <a:pathLst>
                <a:path w="21487" h="21111">
                  <a:moveTo>
                    <a:pt x="1746" y="18259"/>
                  </a:moveTo>
                  <a:cubicBezTo>
                    <a:pt x="2829" y="19573"/>
                    <a:pt x="4264" y="21346"/>
                    <a:pt x="5050" y="21086"/>
                  </a:cubicBezTo>
                  <a:cubicBezTo>
                    <a:pt x="5850" y="21216"/>
                    <a:pt x="9169" y="20434"/>
                    <a:pt x="12385" y="19121"/>
                  </a:cubicBezTo>
                  <a:cubicBezTo>
                    <a:pt x="15626" y="18209"/>
                    <a:pt x="18985" y="16067"/>
                    <a:pt x="19879" y="14913"/>
                  </a:cubicBezTo>
                  <a:cubicBezTo>
                    <a:pt x="20703" y="13566"/>
                    <a:pt x="21487" y="11454"/>
                    <a:pt x="21487" y="9864"/>
                  </a:cubicBezTo>
                  <a:cubicBezTo>
                    <a:pt x="21487" y="8254"/>
                    <a:pt x="20311" y="6581"/>
                    <a:pt x="18866" y="6355"/>
                  </a:cubicBezTo>
                  <a:cubicBezTo>
                    <a:pt x="17431" y="6159"/>
                    <a:pt x="16223" y="4423"/>
                    <a:pt x="16631" y="3235"/>
                  </a:cubicBezTo>
                  <a:cubicBezTo>
                    <a:pt x="16740" y="1792"/>
                    <a:pt x="16190" y="441"/>
                    <a:pt x="15202" y="119"/>
                  </a:cubicBezTo>
                  <a:cubicBezTo>
                    <a:pt x="14222" y="-254"/>
                    <a:pt x="11609" y="282"/>
                    <a:pt x="9427" y="1353"/>
                  </a:cubicBezTo>
                  <a:cubicBezTo>
                    <a:pt x="7215" y="2018"/>
                    <a:pt x="4242" y="4875"/>
                    <a:pt x="2791" y="7070"/>
                  </a:cubicBezTo>
                  <a:cubicBezTo>
                    <a:pt x="1284" y="9099"/>
                    <a:pt x="263" y="12119"/>
                    <a:pt x="13" y="13273"/>
                  </a:cubicBezTo>
                  <a:cubicBezTo>
                    <a:pt x="-113" y="14507"/>
                    <a:pt x="758" y="16666"/>
                    <a:pt x="1746" y="18259"/>
                  </a:cubicBezTo>
                  <a:close/>
                  <a:moveTo>
                    <a:pt x="1746" y="182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4" name="AutoShape 996"/>
            <p:cNvSpPr>
              <a:spLocks/>
            </p:cNvSpPr>
            <p:nvPr/>
          </p:nvSpPr>
          <p:spPr bwMode="auto">
            <a:xfrm>
              <a:off x="6261100" y="1079500"/>
              <a:ext cx="11113" cy="7938"/>
            </a:xfrm>
            <a:custGeom>
              <a:avLst/>
              <a:gdLst/>
              <a:ahLst/>
              <a:cxnLst/>
              <a:rect l="0" t="0" r="r" b="b"/>
              <a:pathLst>
                <a:path w="20831" h="21128">
                  <a:moveTo>
                    <a:pt x="2456" y="14667"/>
                  </a:moveTo>
                  <a:cubicBezTo>
                    <a:pt x="1850" y="16789"/>
                    <a:pt x="2520" y="19379"/>
                    <a:pt x="3804" y="19863"/>
                  </a:cubicBezTo>
                  <a:cubicBezTo>
                    <a:pt x="5012" y="20609"/>
                    <a:pt x="7169" y="21355"/>
                    <a:pt x="8519" y="21063"/>
                  </a:cubicBezTo>
                  <a:cubicBezTo>
                    <a:pt x="9900" y="20934"/>
                    <a:pt x="12748" y="20526"/>
                    <a:pt x="14765" y="19604"/>
                  </a:cubicBezTo>
                  <a:cubicBezTo>
                    <a:pt x="16816" y="18762"/>
                    <a:pt x="19361" y="17144"/>
                    <a:pt x="20245" y="15688"/>
                  </a:cubicBezTo>
                  <a:cubicBezTo>
                    <a:pt x="21239" y="14392"/>
                    <a:pt x="20915" y="12223"/>
                    <a:pt x="19675" y="10910"/>
                  </a:cubicBezTo>
                  <a:cubicBezTo>
                    <a:pt x="18400" y="9696"/>
                    <a:pt x="16816" y="7170"/>
                    <a:pt x="16049" y="5405"/>
                  </a:cubicBezTo>
                  <a:cubicBezTo>
                    <a:pt x="15510" y="3479"/>
                    <a:pt x="13190" y="1261"/>
                    <a:pt x="11226" y="806"/>
                  </a:cubicBezTo>
                  <a:cubicBezTo>
                    <a:pt x="9361" y="-99"/>
                    <a:pt x="6338" y="-245"/>
                    <a:pt x="4657" y="385"/>
                  </a:cubicBezTo>
                  <a:cubicBezTo>
                    <a:pt x="2995" y="1131"/>
                    <a:pt x="997" y="2587"/>
                    <a:pt x="319" y="4125"/>
                  </a:cubicBezTo>
                  <a:cubicBezTo>
                    <a:pt x="-361" y="5664"/>
                    <a:pt x="91" y="7687"/>
                    <a:pt x="1247" y="8804"/>
                  </a:cubicBezTo>
                  <a:cubicBezTo>
                    <a:pt x="2358" y="9988"/>
                    <a:pt x="2962" y="12482"/>
                    <a:pt x="2456" y="14667"/>
                  </a:cubicBezTo>
                  <a:close/>
                  <a:moveTo>
                    <a:pt x="2456" y="1466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5" name="AutoShape 997"/>
            <p:cNvSpPr>
              <a:spLocks/>
            </p:cNvSpPr>
            <p:nvPr/>
          </p:nvSpPr>
          <p:spPr bwMode="auto">
            <a:xfrm>
              <a:off x="6807200" y="1219200"/>
              <a:ext cx="12700" cy="12700"/>
            </a:xfrm>
            <a:custGeom>
              <a:avLst/>
              <a:gdLst/>
              <a:ahLst/>
              <a:cxnLst/>
              <a:rect l="0" t="0" r="r" b="b"/>
              <a:pathLst>
                <a:path w="20509" h="21100">
                  <a:moveTo>
                    <a:pt x="13053" y="758"/>
                  </a:moveTo>
                  <a:cubicBezTo>
                    <a:pt x="10974" y="1487"/>
                    <a:pt x="8517" y="3053"/>
                    <a:pt x="7719" y="4386"/>
                  </a:cubicBezTo>
                  <a:cubicBezTo>
                    <a:pt x="6773" y="5624"/>
                    <a:pt x="4298" y="8513"/>
                    <a:pt x="2175" y="10839"/>
                  </a:cubicBezTo>
                  <a:cubicBezTo>
                    <a:pt x="-25" y="13047"/>
                    <a:pt x="-636" y="16006"/>
                    <a:pt x="709" y="17280"/>
                  </a:cubicBezTo>
                  <a:cubicBezTo>
                    <a:pt x="1998" y="18663"/>
                    <a:pt x="3333" y="20142"/>
                    <a:pt x="3333" y="20803"/>
                  </a:cubicBezTo>
                  <a:cubicBezTo>
                    <a:pt x="3593" y="21405"/>
                    <a:pt x="5791" y="21066"/>
                    <a:pt x="8694" y="20014"/>
                  </a:cubicBezTo>
                  <a:cubicBezTo>
                    <a:pt x="11531" y="18808"/>
                    <a:pt x="15103" y="16463"/>
                    <a:pt x="16421" y="14438"/>
                  </a:cubicBezTo>
                  <a:cubicBezTo>
                    <a:pt x="17930" y="12591"/>
                    <a:pt x="18812" y="9564"/>
                    <a:pt x="18673" y="7987"/>
                  </a:cubicBezTo>
                  <a:cubicBezTo>
                    <a:pt x="18534" y="6411"/>
                    <a:pt x="19146" y="4231"/>
                    <a:pt x="19989" y="3083"/>
                  </a:cubicBezTo>
                  <a:cubicBezTo>
                    <a:pt x="20964" y="2071"/>
                    <a:pt x="20500" y="562"/>
                    <a:pt x="19156" y="241"/>
                  </a:cubicBezTo>
                  <a:cubicBezTo>
                    <a:pt x="17856" y="-195"/>
                    <a:pt x="15056" y="-49"/>
                    <a:pt x="13053" y="758"/>
                  </a:cubicBezTo>
                  <a:close/>
                  <a:moveTo>
                    <a:pt x="13053" y="7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6" name="AutoShape 998"/>
            <p:cNvSpPr>
              <a:spLocks/>
            </p:cNvSpPr>
            <p:nvPr/>
          </p:nvSpPr>
          <p:spPr bwMode="auto">
            <a:xfrm>
              <a:off x="6299200" y="1054100"/>
              <a:ext cx="14288" cy="3175"/>
            </a:xfrm>
            <a:custGeom>
              <a:avLst/>
              <a:gdLst/>
              <a:ahLst/>
              <a:cxnLst/>
              <a:rect l="0" t="0" r="r" b="b"/>
              <a:pathLst>
                <a:path w="21354" h="20801">
                  <a:moveTo>
                    <a:pt x="5814" y="20359"/>
                  </a:moveTo>
                  <a:cubicBezTo>
                    <a:pt x="8731" y="19204"/>
                    <a:pt x="11799" y="19144"/>
                    <a:pt x="12645" y="19885"/>
                  </a:cubicBezTo>
                  <a:cubicBezTo>
                    <a:pt x="13482" y="20985"/>
                    <a:pt x="15739" y="20809"/>
                    <a:pt x="17607" y="19915"/>
                  </a:cubicBezTo>
                  <a:cubicBezTo>
                    <a:pt x="19458" y="18816"/>
                    <a:pt x="21241" y="17248"/>
                    <a:pt x="21335" y="15553"/>
                  </a:cubicBezTo>
                  <a:cubicBezTo>
                    <a:pt x="21496" y="13924"/>
                    <a:pt x="20651" y="12114"/>
                    <a:pt x="19458" y="10959"/>
                  </a:cubicBezTo>
                  <a:cubicBezTo>
                    <a:pt x="18224" y="10242"/>
                    <a:pt x="16271" y="9325"/>
                    <a:pt x="15071" y="9416"/>
                  </a:cubicBezTo>
                  <a:cubicBezTo>
                    <a:pt x="13863" y="9890"/>
                    <a:pt x="13059" y="7575"/>
                    <a:pt x="12915" y="5169"/>
                  </a:cubicBezTo>
                  <a:cubicBezTo>
                    <a:pt x="12915" y="2708"/>
                    <a:pt x="11851" y="782"/>
                    <a:pt x="10488" y="41"/>
                  </a:cubicBezTo>
                  <a:cubicBezTo>
                    <a:pt x="9144" y="-287"/>
                    <a:pt x="6414" y="1372"/>
                    <a:pt x="4462" y="4343"/>
                  </a:cubicBezTo>
                  <a:cubicBezTo>
                    <a:pt x="2517" y="7162"/>
                    <a:pt x="631" y="10601"/>
                    <a:pt x="344" y="12205"/>
                  </a:cubicBezTo>
                  <a:cubicBezTo>
                    <a:pt x="-45" y="13420"/>
                    <a:pt x="-104" y="16713"/>
                    <a:pt x="168" y="18609"/>
                  </a:cubicBezTo>
                  <a:cubicBezTo>
                    <a:pt x="285" y="20717"/>
                    <a:pt x="2907" y="21313"/>
                    <a:pt x="5814" y="20359"/>
                  </a:cubicBezTo>
                  <a:close/>
                  <a:moveTo>
                    <a:pt x="5814" y="203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7" name="AutoShape 999"/>
            <p:cNvSpPr>
              <a:spLocks/>
            </p:cNvSpPr>
            <p:nvPr/>
          </p:nvSpPr>
          <p:spPr bwMode="auto">
            <a:xfrm>
              <a:off x="5664200" y="1739900"/>
              <a:ext cx="3175" cy="3175"/>
            </a:xfrm>
            <a:custGeom>
              <a:avLst/>
              <a:gdLst/>
              <a:ahLst/>
              <a:cxnLst/>
              <a:rect l="0" t="0" r="r" b="b"/>
              <a:pathLst>
                <a:path w="19901" h="20152">
                  <a:moveTo>
                    <a:pt x="227" y="7725"/>
                  </a:moveTo>
                  <a:cubicBezTo>
                    <a:pt x="227" y="12155"/>
                    <a:pt x="3331" y="17342"/>
                    <a:pt x="6489" y="19311"/>
                  </a:cubicBezTo>
                  <a:cubicBezTo>
                    <a:pt x="9647" y="21202"/>
                    <a:pt x="14449" y="19770"/>
                    <a:pt x="17628" y="16341"/>
                  </a:cubicBezTo>
                  <a:cubicBezTo>
                    <a:pt x="20630" y="12774"/>
                    <a:pt x="20496" y="7996"/>
                    <a:pt x="18178" y="5110"/>
                  </a:cubicBezTo>
                  <a:cubicBezTo>
                    <a:pt x="15336" y="2704"/>
                    <a:pt x="10223" y="248"/>
                    <a:pt x="6489" y="33"/>
                  </a:cubicBezTo>
                  <a:cubicBezTo>
                    <a:pt x="2787" y="-398"/>
                    <a:pt x="-970" y="3434"/>
                    <a:pt x="227" y="7725"/>
                  </a:cubicBezTo>
                  <a:close/>
                  <a:moveTo>
                    <a:pt x="227" y="77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8" name="AutoShape 1000"/>
            <p:cNvSpPr>
              <a:spLocks/>
            </p:cNvSpPr>
            <p:nvPr/>
          </p:nvSpPr>
          <p:spPr bwMode="auto">
            <a:xfrm>
              <a:off x="5461000" y="1003300"/>
              <a:ext cx="1522413" cy="1328738"/>
            </a:xfrm>
            <a:custGeom>
              <a:avLst/>
              <a:gdLst/>
              <a:ahLst/>
              <a:cxnLst/>
              <a:rect l="0" t="0" r="r" b="b"/>
              <a:pathLst>
                <a:path w="21595" h="21594">
                  <a:moveTo>
                    <a:pt x="13669" y="12588"/>
                  </a:moveTo>
                  <a:cubicBezTo>
                    <a:pt x="13686" y="12580"/>
                    <a:pt x="13700" y="12563"/>
                    <a:pt x="13701" y="12551"/>
                  </a:cubicBezTo>
                  <a:cubicBezTo>
                    <a:pt x="13701" y="12539"/>
                    <a:pt x="13695" y="12515"/>
                    <a:pt x="13685" y="12498"/>
                  </a:cubicBezTo>
                  <a:cubicBezTo>
                    <a:pt x="13676" y="12481"/>
                    <a:pt x="13668" y="12456"/>
                    <a:pt x="13672" y="12444"/>
                  </a:cubicBezTo>
                  <a:cubicBezTo>
                    <a:pt x="13675" y="12432"/>
                    <a:pt x="13688" y="12419"/>
                    <a:pt x="13701" y="12416"/>
                  </a:cubicBezTo>
                  <a:cubicBezTo>
                    <a:pt x="13715" y="12411"/>
                    <a:pt x="13742" y="12417"/>
                    <a:pt x="13761" y="12423"/>
                  </a:cubicBezTo>
                  <a:cubicBezTo>
                    <a:pt x="13780" y="12430"/>
                    <a:pt x="13799" y="12448"/>
                    <a:pt x="13808" y="12457"/>
                  </a:cubicBezTo>
                  <a:cubicBezTo>
                    <a:pt x="13814" y="12469"/>
                    <a:pt x="13830" y="12479"/>
                    <a:pt x="13842" y="12481"/>
                  </a:cubicBezTo>
                  <a:cubicBezTo>
                    <a:pt x="13854" y="12483"/>
                    <a:pt x="13893" y="12471"/>
                    <a:pt x="13927" y="12450"/>
                  </a:cubicBezTo>
                  <a:cubicBezTo>
                    <a:pt x="13961" y="12431"/>
                    <a:pt x="13992" y="12401"/>
                    <a:pt x="13993" y="12384"/>
                  </a:cubicBezTo>
                  <a:cubicBezTo>
                    <a:pt x="13994" y="12368"/>
                    <a:pt x="13987" y="12348"/>
                    <a:pt x="13975" y="12341"/>
                  </a:cubicBezTo>
                  <a:cubicBezTo>
                    <a:pt x="13964" y="12333"/>
                    <a:pt x="13957" y="12318"/>
                    <a:pt x="13962" y="12308"/>
                  </a:cubicBezTo>
                  <a:cubicBezTo>
                    <a:pt x="13967" y="12298"/>
                    <a:pt x="13987" y="12283"/>
                    <a:pt x="14007" y="12273"/>
                  </a:cubicBezTo>
                  <a:cubicBezTo>
                    <a:pt x="14027" y="12264"/>
                    <a:pt x="14049" y="12268"/>
                    <a:pt x="14053" y="12281"/>
                  </a:cubicBezTo>
                  <a:cubicBezTo>
                    <a:pt x="14059" y="12293"/>
                    <a:pt x="14078" y="12307"/>
                    <a:pt x="14096" y="12315"/>
                  </a:cubicBezTo>
                  <a:cubicBezTo>
                    <a:pt x="14115" y="12321"/>
                    <a:pt x="14145" y="12309"/>
                    <a:pt x="14162" y="12287"/>
                  </a:cubicBezTo>
                  <a:cubicBezTo>
                    <a:pt x="14179" y="12265"/>
                    <a:pt x="14189" y="12234"/>
                    <a:pt x="14185" y="12217"/>
                  </a:cubicBezTo>
                  <a:cubicBezTo>
                    <a:pt x="14178" y="12201"/>
                    <a:pt x="14177" y="12172"/>
                    <a:pt x="14178" y="12154"/>
                  </a:cubicBezTo>
                  <a:cubicBezTo>
                    <a:pt x="14179" y="12135"/>
                    <a:pt x="14192" y="12121"/>
                    <a:pt x="14204" y="12119"/>
                  </a:cubicBezTo>
                  <a:cubicBezTo>
                    <a:pt x="14216" y="12118"/>
                    <a:pt x="14230" y="12125"/>
                    <a:pt x="14234" y="12134"/>
                  </a:cubicBezTo>
                  <a:cubicBezTo>
                    <a:pt x="14237" y="12144"/>
                    <a:pt x="14258" y="12157"/>
                    <a:pt x="14280" y="12163"/>
                  </a:cubicBezTo>
                  <a:cubicBezTo>
                    <a:pt x="14301" y="12171"/>
                    <a:pt x="14333" y="12165"/>
                    <a:pt x="14350" y="12151"/>
                  </a:cubicBezTo>
                  <a:cubicBezTo>
                    <a:pt x="14367" y="12137"/>
                    <a:pt x="14393" y="12122"/>
                    <a:pt x="14407" y="12116"/>
                  </a:cubicBezTo>
                  <a:cubicBezTo>
                    <a:pt x="14421" y="12110"/>
                    <a:pt x="14447" y="12102"/>
                    <a:pt x="14465" y="12102"/>
                  </a:cubicBezTo>
                  <a:cubicBezTo>
                    <a:pt x="14483" y="12098"/>
                    <a:pt x="14499" y="12085"/>
                    <a:pt x="14503" y="12067"/>
                  </a:cubicBezTo>
                  <a:cubicBezTo>
                    <a:pt x="14506" y="12049"/>
                    <a:pt x="14505" y="12025"/>
                    <a:pt x="14502" y="12013"/>
                  </a:cubicBezTo>
                  <a:cubicBezTo>
                    <a:pt x="14498" y="12002"/>
                    <a:pt x="14502" y="11986"/>
                    <a:pt x="14511" y="11980"/>
                  </a:cubicBezTo>
                  <a:cubicBezTo>
                    <a:pt x="14520" y="11973"/>
                    <a:pt x="14536" y="11971"/>
                    <a:pt x="14546" y="11978"/>
                  </a:cubicBezTo>
                  <a:cubicBezTo>
                    <a:pt x="14556" y="11985"/>
                    <a:pt x="14574" y="11997"/>
                    <a:pt x="14586" y="12004"/>
                  </a:cubicBezTo>
                  <a:cubicBezTo>
                    <a:pt x="14598" y="12010"/>
                    <a:pt x="14624" y="12014"/>
                    <a:pt x="14646" y="12006"/>
                  </a:cubicBezTo>
                  <a:cubicBezTo>
                    <a:pt x="14668" y="11999"/>
                    <a:pt x="14701" y="11984"/>
                    <a:pt x="14719" y="11974"/>
                  </a:cubicBezTo>
                  <a:cubicBezTo>
                    <a:pt x="14736" y="11962"/>
                    <a:pt x="14754" y="11941"/>
                    <a:pt x="14752" y="11927"/>
                  </a:cubicBezTo>
                  <a:cubicBezTo>
                    <a:pt x="14750" y="11912"/>
                    <a:pt x="14744" y="11898"/>
                    <a:pt x="14736" y="11892"/>
                  </a:cubicBezTo>
                  <a:cubicBezTo>
                    <a:pt x="14728" y="11888"/>
                    <a:pt x="14717" y="11875"/>
                    <a:pt x="14716" y="11863"/>
                  </a:cubicBezTo>
                  <a:cubicBezTo>
                    <a:pt x="14712" y="11852"/>
                    <a:pt x="14717" y="11836"/>
                    <a:pt x="14723" y="11829"/>
                  </a:cubicBezTo>
                  <a:cubicBezTo>
                    <a:pt x="14730" y="11822"/>
                    <a:pt x="14759" y="11815"/>
                    <a:pt x="14789" y="11812"/>
                  </a:cubicBezTo>
                  <a:cubicBezTo>
                    <a:pt x="14819" y="11812"/>
                    <a:pt x="14854" y="11813"/>
                    <a:pt x="14868" y="11818"/>
                  </a:cubicBezTo>
                  <a:cubicBezTo>
                    <a:pt x="14882" y="11825"/>
                    <a:pt x="14899" y="11822"/>
                    <a:pt x="14904" y="11810"/>
                  </a:cubicBezTo>
                  <a:cubicBezTo>
                    <a:pt x="14911" y="11800"/>
                    <a:pt x="14921" y="11778"/>
                    <a:pt x="14930" y="11764"/>
                  </a:cubicBezTo>
                  <a:cubicBezTo>
                    <a:pt x="14940" y="11751"/>
                    <a:pt x="14957" y="11740"/>
                    <a:pt x="14971" y="11744"/>
                  </a:cubicBezTo>
                  <a:cubicBezTo>
                    <a:pt x="14984" y="11745"/>
                    <a:pt x="15004" y="11757"/>
                    <a:pt x="15015" y="11766"/>
                  </a:cubicBezTo>
                  <a:cubicBezTo>
                    <a:pt x="15027" y="11774"/>
                    <a:pt x="15048" y="11782"/>
                    <a:pt x="15064" y="11785"/>
                  </a:cubicBezTo>
                  <a:cubicBezTo>
                    <a:pt x="15080" y="11787"/>
                    <a:pt x="15101" y="11782"/>
                    <a:pt x="15112" y="11777"/>
                  </a:cubicBezTo>
                  <a:cubicBezTo>
                    <a:pt x="15123" y="11769"/>
                    <a:pt x="15128" y="11756"/>
                    <a:pt x="15128" y="11745"/>
                  </a:cubicBezTo>
                  <a:cubicBezTo>
                    <a:pt x="15127" y="11733"/>
                    <a:pt x="15111" y="11718"/>
                    <a:pt x="15095" y="11709"/>
                  </a:cubicBezTo>
                  <a:cubicBezTo>
                    <a:pt x="15079" y="11702"/>
                    <a:pt x="15068" y="11686"/>
                    <a:pt x="15068" y="11676"/>
                  </a:cubicBezTo>
                  <a:cubicBezTo>
                    <a:pt x="15070" y="11665"/>
                    <a:pt x="15090" y="11643"/>
                    <a:pt x="15117" y="11628"/>
                  </a:cubicBezTo>
                  <a:cubicBezTo>
                    <a:pt x="15142" y="11612"/>
                    <a:pt x="15175" y="11603"/>
                    <a:pt x="15189" y="11606"/>
                  </a:cubicBezTo>
                  <a:cubicBezTo>
                    <a:pt x="15203" y="11609"/>
                    <a:pt x="15243" y="11606"/>
                    <a:pt x="15278" y="11599"/>
                  </a:cubicBezTo>
                  <a:cubicBezTo>
                    <a:pt x="15313" y="11591"/>
                    <a:pt x="15368" y="11574"/>
                    <a:pt x="15400" y="11555"/>
                  </a:cubicBezTo>
                  <a:cubicBezTo>
                    <a:pt x="15431" y="11539"/>
                    <a:pt x="15470" y="11504"/>
                    <a:pt x="15488" y="11483"/>
                  </a:cubicBezTo>
                  <a:cubicBezTo>
                    <a:pt x="15504" y="11459"/>
                    <a:pt x="15520" y="11436"/>
                    <a:pt x="15520" y="11429"/>
                  </a:cubicBezTo>
                  <a:cubicBezTo>
                    <a:pt x="15522" y="11423"/>
                    <a:pt x="15486" y="11428"/>
                    <a:pt x="15445" y="11443"/>
                  </a:cubicBezTo>
                  <a:cubicBezTo>
                    <a:pt x="15402" y="11456"/>
                    <a:pt x="15337" y="11466"/>
                    <a:pt x="15299" y="11467"/>
                  </a:cubicBezTo>
                  <a:cubicBezTo>
                    <a:pt x="15262" y="11467"/>
                    <a:pt x="15222" y="11464"/>
                    <a:pt x="15211" y="11459"/>
                  </a:cubicBezTo>
                  <a:cubicBezTo>
                    <a:pt x="15200" y="11455"/>
                    <a:pt x="15154" y="11453"/>
                    <a:pt x="15109" y="11454"/>
                  </a:cubicBezTo>
                  <a:cubicBezTo>
                    <a:pt x="15064" y="11455"/>
                    <a:pt x="15007" y="11455"/>
                    <a:pt x="14984" y="11461"/>
                  </a:cubicBezTo>
                  <a:cubicBezTo>
                    <a:pt x="14961" y="11462"/>
                    <a:pt x="14909" y="11463"/>
                    <a:pt x="14869" y="11458"/>
                  </a:cubicBezTo>
                  <a:cubicBezTo>
                    <a:pt x="14828" y="11455"/>
                    <a:pt x="14767" y="11441"/>
                    <a:pt x="14732" y="11431"/>
                  </a:cubicBezTo>
                  <a:cubicBezTo>
                    <a:pt x="14696" y="11420"/>
                    <a:pt x="14630" y="11411"/>
                    <a:pt x="14584" y="11409"/>
                  </a:cubicBezTo>
                  <a:cubicBezTo>
                    <a:pt x="14539" y="11409"/>
                    <a:pt x="14468" y="11387"/>
                    <a:pt x="14428" y="11364"/>
                  </a:cubicBezTo>
                  <a:cubicBezTo>
                    <a:pt x="14387" y="11342"/>
                    <a:pt x="14346" y="11314"/>
                    <a:pt x="14336" y="11305"/>
                  </a:cubicBezTo>
                  <a:cubicBezTo>
                    <a:pt x="14327" y="11294"/>
                    <a:pt x="14308" y="11290"/>
                    <a:pt x="14297" y="11288"/>
                  </a:cubicBezTo>
                  <a:cubicBezTo>
                    <a:pt x="14286" y="11290"/>
                    <a:pt x="14260" y="11302"/>
                    <a:pt x="14239" y="11317"/>
                  </a:cubicBezTo>
                  <a:cubicBezTo>
                    <a:pt x="14218" y="11332"/>
                    <a:pt x="14196" y="11340"/>
                    <a:pt x="14188" y="11338"/>
                  </a:cubicBezTo>
                  <a:cubicBezTo>
                    <a:pt x="14181" y="11332"/>
                    <a:pt x="14180" y="11321"/>
                    <a:pt x="14185" y="11308"/>
                  </a:cubicBezTo>
                  <a:cubicBezTo>
                    <a:pt x="14190" y="11295"/>
                    <a:pt x="14193" y="11280"/>
                    <a:pt x="14191" y="11273"/>
                  </a:cubicBezTo>
                  <a:cubicBezTo>
                    <a:pt x="14186" y="11267"/>
                    <a:pt x="14170" y="11268"/>
                    <a:pt x="14155" y="11283"/>
                  </a:cubicBezTo>
                  <a:cubicBezTo>
                    <a:pt x="14138" y="11294"/>
                    <a:pt x="14087" y="11328"/>
                    <a:pt x="14040" y="11358"/>
                  </a:cubicBezTo>
                  <a:cubicBezTo>
                    <a:pt x="13992" y="11386"/>
                    <a:pt x="13935" y="11419"/>
                    <a:pt x="13913" y="11430"/>
                  </a:cubicBezTo>
                  <a:cubicBezTo>
                    <a:pt x="13890" y="11441"/>
                    <a:pt x="13835" y="11454"/>
                    <a:pt x="13791" y="11457"/>
                  </a:cubicBezTo>
                  <a:cubicBezTo>
                    <a:pt x="13747" y="11462"/>
                    <a:pt x="13695" y="11471"/>
                    <a:pt x="13676" y="11478"/>
                  </a:cubicBezTo>
                  <a:cubicBezTo>
                    <a:pt x="13657" y="11483"/>
                    <a:pt x="13632" y="11483"/>
                    <a:pt x="13620" y="11478"/>
                  </a:cubicBezTo>
                  <a:cubicBezTo>
                    <a:pt x="13609" y="11469"/>
                    <a:pt x="13583" y="11463"/>
                    <a:pt x="13565" y="11458"/>
                  </a:cubicBezTo>
                  <a:cubicBezTo>
                    <a:pt x="13547" y="11454"/>
                    <a:pt x="13504" y="11466"/>
                    <a:pt x="13468" y="11482"/>
                  </a:cubicBezTo>
                  <a:cubicBezTo>
                    <a:pt x="13468" y="11482"/>
                    <a:pt x="13468" y="11482"/>
                    <a:pt x="13457" y="11483"/>
                  </a:cubicBezTo>
                  <a:cubicBezTo>
                    <a:pt x="13447" y="11484"/>
                    <a:pt x="13447" y="11484"/>
                    <a:pt x="13447" y="11484"/>
                  </a:cubicBezTo>
                  <a:cubicBezTo>
                    <a:pt x="13407" y="11484"/>
                    <a:pt x="13338" y="11510"/>
                    <a:pt x="13295" y="11542"/>
                  </a:cubicBezTo>
                  <a:cubicBezTo>
                    <a:pt x="13252" y="11574"/>
                    <a:pt x="13207" y="11615"/>
                    <a:pt x="13193" y="11631"/>
                  </a:cubicBezTo>
                  <a:cubicBezTo>
                    <a:pt x="13182" y="11649"/>
                    <a:pt x="13159" y="11651"/>
                    <a:pt x="13146" y="11638"/>
                  </a:cubicBezTo>
                  <a:cubicBezTo>
                    <a:pt x="13132" y="11625"/>
                    <a:pt x="13111" y="11609"/>
                    <a:pt x="13097" y="11603"/>
                  </a:cubicBezTo>
                  <a:cubicBezTo>
                    <a:pt x="13084" y="11596"/>
                    <a:pt x="13030" y="11595"/>
                    <a:pt x="12976" y="11599"/>
                  </a:cubicBezTo>
                  <a:cubicBezTo>
                    <a:pt x="12923" y="11606"/>
                    <a:pt x="12863" y="11602"/>
                    <a:pt x="12844" y="11596"/>
                  </a:cubicBezTo>
                  <a:cubicBezTo>
                    <a:pt x="12825" y="11588"/>
                    <a:pt x="12795" y="11591"/>
                    <a:pt x="12777" y="11598"/>
                  </a:cubicBezTo>
                  <a:cubicBezTo>
                    <a:pt x="12760" y="11608"/>
                    <a:pt x="12735" y="11606"/>
                    <a:pt x="12723" y="11597"/>
                  </a:cubicBezTo>
                  <a:cubicBezTo>
                    <a:pt x="12712" y="11588"/>
                    <a:pt x="12718" y="11568"/>
                    <a:pt x="12737" y="11551"/>
                  </a:cubicBezTo>
                  <a:cubicBezTo>
                    <a:pt x="12756" y="11535"/>
                    <a:pt x="12796" y="11515"/>
                    <a:pt x="12825" y="11512"/>
                  </a:cubicBezTo>
                  <a:cubicBezTo>
                    <a:pt x="12855" y="11506"/>
                    <a:pt x="12893" y="11511"/>
                    <a:pt x="12909" y="11522"/>
                  </a:cubicBezTo>
                  <a:cubicBezTo>
                    <a:pt x="12925" y="11534"/>
                    <a:pt x="12956" y="11543"/>
                    <a:pt x="12976" y="11549"/>
                  </a:cubicBezTo>
                  <a:cubicBezTo>
                    <a:pt x="12996" y="11554"/>
                    <a:pt x="13034" y="11544"/>
                    <a:pt x="13061" y="11534"/>
                  </a:cubicBezTo>
                  <a:cubicBezTo>
                    <a:pt x="13088" y="11522"/>
                    <a:pt x="13140" y="11504"/>
                    <a:pt x="13178" y="11499"/>
                  </a:cubicBezTo>
                  <a:cubicBezTo>
                    <a:pt x="13216" y="11491"/>
                    <a:pt x="13268" y="11471"/>
                    <a:pt x="13293" y="11452"/>
                  </a:cubicBezTo>
                  <a:cubicBezTo>
                    <a:pt x="13318" y="11433"/>
                    <a:pt x="13360" y="11413"/>
                    <a:pt x="13386" y="11409"/>
                  </a:cubicBezTo>
                  <a:cubicBezTo>
                    <a:pt x="13413" y="11407"/>
                    <a:pt x="13460" y="11404"/>
                    <a:pt x="13492" y="11408"/>
                  </a:cubicBezTo>
                  <a:cubicBezTo>
                    <a:pt x="13523" y="11411"/>
                    <a:pt x="13571" y="11408"/>
                    <a:pt x="13599" y="11401"/>
                  </a:cubicBezTo>
                  <a:cubicBezTo>
                    <a:pt x="13626" y="11394"/>
                    <a:pt x="13658" y="11379"/>
                    <a:pt x="13667" y="11365"/>
                  </a:cubicBezTo>
                  <a:cubicBezTo>
                    <a:pt x="13678" y="11354"/>
                    <a:pt x="13681" y="11333"/>
                    <a:pt x="13673" y="11322"/>
                  </a:cubicBezTo>
                  <a:cubicBezTo>
                    <a:pt x="13666" y="11311"/>
                    <a:pt x="13648" y="11301"/>
                    <a:pt x="13634" y="11302"/>
                  </a:cubicBezTo>
                  <a:cubicBezTo>
                    <a:pt x="13619" y="11301"/>
                    <a:pt x="13601" y="11296"/>
                    <a:pt x="13593" y="11289"/>
                  </a:cubicBezTo>
                  <a:cubicBezTo>
                    <a:pt x="13583" y="11283"/>
                    <a:pt x="13567" y="11275"/>
                    <a:pt x="13554" y="11275"/>
                  </a:cubicBezTo>
                  <a:cubicBezTo>
                    <a:pt x="13540" y="11273"/>
                    <a:pt x="13506" y="11281"/>
                    <a:pt x="13478" y="11287"/>
                  </a:cubicBezTo>
                  <a:cubicBezTo>
                    <a:pt x="13450" y="11294"/>
                    <a:pt x="13409" y="11295"/>
                    <a:pt x="13387" y="11288"/>
                  </a:cubicBezTo>
                  <a:cubicBezTo>
                    <a:pt x="13365" y="11283"/>
                    <a:pt x="13308" y="11281"/>
                    <a:pt x="13259" y="11284"/>
                  </a:cubicBezTo>
                  <a:cubicBezTo>
                    <a:pt x="13211" y="11285"/>
                    <a:pt x="13145" y="11297"/>
                    <a:pt x="13113" y="11309"/>
                  </a:cubicBezTo>
                  <a:cubicBezTo>
                    <a:pt x="13081" y="11320"/>
                    <a:pt x="13033" y="11330"/>
                    <a:pt x="13006" y="11332"/>
                  </a:cubicBezTo>
                  <a:cubicBezTo>
                    <a:pt x="12980" y="11337"/>
                    <a:pt x="12930" y="11335"/>
                    <a:pt x="12897" y="11332"/>
                  </a:cubicBezTo>
                  <a:cubicBezTo>
                    <a:pt x="12863" y="11328"/>
                    <a:pt x="12828" y="11319"/>
                    <a:pt x="12818" y="11311"/>
                  </a:cubicBezTo>
                  <a:cubicBezTo>
                    <a:pt x="12808" y="11302"/>
                    <a:pt x="12788" y="11290"/>
                    <a:pt x="12772" y="11287"/>
                  </a:cubicBezTo>
                  <a:cubicBezTo>
                    <a:pt x="12756" y="11282"/>
                    <a:pt x="12721" y="11287"/>
                    <a:pt x="12695" y="11297"/>
                  </a:cubicBezTo>
                  <a:cubicBezTo>
                    <a:pt x="12668" y="11305"/>
                    <a:pt x="12617" y="11316"/>
                    <a:pt x="12580" y="11319"/>
                  </a:cubicBezTo>
                  <a:cubicBezTo>
                    <a:pt x="12543" y="11323"/>
                    <a:pt x="12469" y="11347"/>
                    <a:pt x="12413" y="11370"/>
                  </a:cubicBezTo>
                  <a:cubicBezTo>
                    <a:pt x="12357" y="11395"/>
                    <a:pt x="12307" y="11412"/>
                    <a:pt x="12301" y="11406"/>
                  </a:cubicBezTo>
                  <a:cubicBezTo>
                    <a:pt x="12296" y="11399"/>
                    <a:pt x="12298" y="11382"/>
                    <a:pt x="12311" y="11367"/>
                  </a:cubicBezTo>
                  <a:cubicBezTo>
                    <a:pt x="12323" y="11351"/>
                    <a:pt x="12357" y="11320"/>
                    <a:pt x="12384" y="11298"/>
                  </a:cubicBezTo>
                  <a:cubicBezTo>
                    <a:pt x="12412" y="11276"/>
                    <a:pt x="12450" y="11258"/>
                    <a:pt x="12468" y="11258"/>
                  </a:cubicBezTo>
                  <a:cubicBezTo>
                    <a:pt x="12487" y="11258"/>
                    <a:pt x="12524" y="11260"/>
                    <a:pt x="12551" y="11258"/>
                  </a:cubicBezTo>
                  <a:cubicBezTo>
                    <a:pt x="12578" y="11258"/>
                    <a:pt x="12648" y="11238"/>
                    <a:pt x="12707" y="11213"/>
                  </a:cubicBezTo>
                  <a:cubicBezTo>
                    <a:pt x="12765" y="11190"/>
                    <a:pt x="12829" y="11157"/>
                    <a:pt x="12851" y="11144"/>
                  </a:cubicBezTo>
                  <a:cubicBezTo>
                    <a:pt x="12871" y="11131"/>
                    <a:pt x="12891" y="11109"/>
                    <a:pt x="12892" y="11092"/>
                  </a:cubicBezTo>
                  <a:cubicBezTo>
                    <a:pt x="12893" y="11076"/>
                    <a:pt x="12903" y="11053"/>
                    <a:pt x="12913" y="11044"/>
                  </a:cubicBezTo>
                  <a:cubicBezTo>
                    <a:pt x="12923" y="11032"/>
                    <a:pt x="12947" y="11025"/>
                    <a:pt x="12966" y="11021"/>
                  </a:cubicBezTo>
                  <a:cubicBezTo>
                    <a:pt x="12985" y="11021"/>
                    <a:pt x="13011" y="11011"/>
                    <a:pt x="13025" y="11004"/>
                  </a:cubicBezTo>
                  <a:cubicBezTo>
                    <a:pt x="13038" y="10997"/>
                    <a:pt x="13062" y="10977"/>
                    <a:pt x="13078" y="10963"/>
                  </a:cubicBezTo>
                  <a:cubicBezTo>
                    <a:pt x="13094" y="10948"/>
                    <a:pt x="13104" y="10925"/>
                    <a:pt x="13101" y="10912"/>
                  </a:cubicBezTo>
                  <a:cubicBezTo>
                    <a:pt x="13099" y="10899"/>
                    <a:pt x="13085" y="10882"/>
                    <a:pt x="13074" y="10872"/>
                  </a:cubicBezTo>
                  <a:cubicBezTo>
                    <a:pt x="13062" y="10862"/>
                    <a:pt x="13031" y="10853"/>
                    <a:pt x="13006" y="10851"/>
                  </a:cubicBezTo>
                  <a:cubicBezTo>
                    <a:pt x="12981" y="10850"/>
                    <a:pt x="12956" y="10840"/>
                    <a:pt x="12950" y="10834"/>
                  </a:cubicBezTo>
                  <a:cubicBezTo>
                    <a:pt x="12944" y="10827"/>
                    <a:pt x="12958" y="10811"/>
                    <a:pt x="12982" y="10797"/>
                  </a:cubicBezTo>
                  <a:cubicBezTo>
                    <a:pt x="13006" y="10784"/>
                    <a:pt x="13034" y="10772"/>
                    <a:pt x="13045" y="10776"/>
                  </a:cubicBezTo>
                  <a:cubicBezTo>
                    <a:pt x="13055" y="10777"/>
                    <a:pt x="13065" y="10784"/>
                    <a:pt x="13069" y="10788"/>
                  </a:cubicBezTo>
                  <a:cubicBezTo>
                    <a:pt x="13072" y="10792"/>
                    <a:pt x="13094" y="10796"/>
                    <a:pt x="13118" y="10800"/>
                  </a:cubicBezTo>
                  <a:cubicBezTo>
                    <a:pt x="13141" y="10800"/>
                    <a:pt x="13169" y="10796"/>
                    <a:pt x="13180" y="10789"/>
                  </a:cubicBezTo>
                  <a:cubicBezTo>
                    <a:pt x="13190" y="10780"/>
                    <a:pt x="13196" y="10766"/>
                    <a:pt x="13193" y="10754"/>
                  </a:cubicBezTo>
                  <a:cubicBezTo>
                    <a:pt x="13190" y="10742"/>
                    <a:pt x="13181" y="10726"/>
                    <a:pt x="13173" y="10719"/>
                  </a:cubicBezTo>
                  <a:cubicBezTo>
                    <a:pt x="13165" y="10712"/>
                    <a:pt x="13158" y="10687"/>
                    <a:pt x="13165" y="10665"/>
                  </a:cubicBezTo>
                  <a:cubicBezTo>
                    <a:pt x="13168" y="10642"/>
                    <a:pt x="13186" y="10626"/>
                    <a:pt x="13202" y="10630"/>
                  </a:cubicBezTo>
                  <a:cubicBezTo>
                    <a:pt x="13219" y="10634"/>
                    <a:pt x="13240" y="10644"/>
                    <a:pt x="13249" y="10651"/>
                  </a:cubicBezTo>
                  <a:cubicBezTo>
                    <a:pt x="13258" y="10660"/>
                    <a:pt x="13265" y="10680"/>
                    <a:pt x="13260" y="10694"/>
                  </a:cubicBezTo>
                  <a:cubicBezTo>
                    <a:pt x="13257" y="10709"/>
                    <a:pt x="13268" y="10738"/>
                    <a:pt x="13282" y="10758"/>
                  </a:cubicBezTo>
                  <a:cubicBezTo>
                    <a:pt x="13296" y="10779"/>
                    <a:pt x="13324" y="10803"/>
                    <a:pt x="13342" y="10811"/>
                  </a:cubicBezTo>
                  <a:cubicBezTo>
                    <a:pt x="13360" y="10822"/>
                    <a:pt x="13400" y="10820"/>
                    <a:pt x="13429" y="10808"/>
                  </a:cubicBezTo>
                  <a:cubicBezTo>
                    <a:pt x="13458" y="10799"/>
                    <a:pt x="13515" y="10786"/>
                    <a:pt x="13555" y="10780"/>
                  </a:cubicBezTo>
                  <a:cubicBezTo>
                    <a:pt x="13596" y="10776"/>
                    <a:pt x="13696" y="10744"/>
                    <a:pt x="13777" y="10706"/>
                  </a:cubicBezTo>
                  <a:cubicBezTo>
                    <a:pt x="13859" y="10670"/>
                    <a:pt x="13945" y="10638"/>
                    <a:pt x="13968" y="10638"/>
                  </a:cubicBezTo>
                  <a:cubicBezTo>
                    <a:pt x="13990" y="10635"/>
                    <a:pt x="14025" y="10627"/>
                    <a:pt x="14045" y="10619"/>
                  </a:cubicBezTo>
                  <a:cubicBezTo>
                    <a:pt x="14064" y="10610"/>
                    <a:pt x="14095" y="10590"/>
                    <a:pt x="14113" y="10575"/>
                  </a:cubicBezTo>
                  <a:cubicBezTo>
                    <a:pt x="14131" y="10559"/>
                    <a:pt x="14164" y="10538"/>
                    <a:pt x="14186" y="10531"/>
                  </a:cubicBezTo>
                  <a:cubicBezTo>
                    <a:pt x="14208" y="10522"/>
                    <a:pt x="14237" y="10499"/>
                    <a:pt x="14251" y="10477"/>
                  </a:cubicBezTo>
                  <a:cubicBezTo>
                    <a:pt x="14264" y="10455"/>
                    <a:pt x="14267" y="10419"/>
                    <a:pt x="14253" y="10397"/>
                  </a:cubicBezTo>
                  <a:cubicBezTo>
                    <a:pt x="14241" y="10374"/>
                    <a:pt x="14225" y="10342"/>
                    <a:pt x="14218" y="10327"/>
                  </a:cubicBezTo>
                  <a:cubicBezTo>
                    <a:pt x="14213" y="10311"/>
                    <a:pt x="14194" y="10300"/>
                    <a:pt x="14179" y="10302"/>
                  </a:cubicBezTo>
                  <a:cubicBezTo>
                    <a:pt x="14164" y="10306"/>
                    <a:pt x="14129" y="10299"/>
                    <a:pt x="14102" y="10292"/>
                  </a:cubicBezTo>
                  <a:cubicBezTo>
                    <a:pt x="14076" y="10282"/>
                    <a:pt x="13997" y="10268"/>
                    <a:pt x="13927" y="10259"/>
                  </a:cubicBezTo>
                  <a:cubicBezTo>
                    <a:pt x="13858" y="10248"/>
                    <a:pt x="13791" y="10241"/>
                    <a:pt x="13779" y="10239"/>
                  </a:cubicBezTo>
                  <a:cubicBezTo>
                    <a:pt x="13766" y="10238"/>
                    <a:pt x="13728" y="10250"/>
                    <a:pt x="13695" y="10263"/>
                  </a:cubicBezTo>
                  <a:cubicBezTo>
                    <a:pt x="13661" y="10277"/>
                    <a:pt x="13624" y="10282"/>
                    <a:pt x="13614" y="10272"/>
                  </a:cubicBezTo>
                  <a:cubicBezTo>
                    <a:pt x="13604" y="10263"/>
                    <a:pt x="13595" y="10243"/>
                    <a:pt x="13598" y="10229"/>
                  </a:cubicBezTo>
                  <a:cubicBezTo>
                    <a:pt x="13599" y="10214"/>
                    <a:pt x="13595" y="10196"/>
                    <a:pt x="13587" y="10190"/>
                  </a:cubicBezTo>
                  <a:cubicBezTo>
                    <a:pt x="13580" y="10183"/>
                    <a:pt x="13547" y="10189"/>
                    <a:pt x="13513" y="10200"/>
                  </a:cubicBezTo>
                  <a:cubicBezTo>
                    <a:pt x="13481" y="10213"/>
                    <a:pt x="13438" y="10223"/>
                    <a:pt x="13419" y="10225"/>
                  </a:cubicBezTo>
                  <a:cubicBezTo>
                    <a:pt x="13401" y="10227"/>
                    <a:pt x="13360" y="10248"/>
                    <a:pt x="13327" y="10267"/>
                  </a:cubicBezTo>
                  <a:cubicBezTo>
                    <a:pt x="13295" y="10290"/>
                    <a:pt x="13251" y="10308"/>
                    <a:pt x="13230" y="10313"/>
                  </a:cubicBezTo>
                  <a:cubicBezTo>
                    <a:pt x="13209" y="10316"/>
                    <a:pt x="13177" y="10314"/>
                    <a:pt x="13159" y="10305"/>
                  </a:cubicBezTo>
                  <a:cubicBezTo>
                    <a:pt x="13141" y="10295"/>
                    <a:pt x="13125" y="10278"/>
                    <a:pt x="13124" y="10265"/>
                  </a:cubicBezTo>
                  <a:cubicBezTo>
                    <a:pt x="13124" y="10252"/>
                    <a:pt x="13136" y="10250"/>
                    <a:pt x="13153" y="10259"/>
                  </a:cubicBezTo>
                  <a:cubicBezTo>
                    <a:pt x="13169" y="10272"/>
                    <a:pt x="13203" y="10269"/>
                    <a:pt x="13226" y="10257"/>
                  </a:cubicBezTo>
                  <a:cubicBezTo>
                    <a:pt x="13249" y="10245"/>
                    <a:pt x="13281" y="10226"/>
                    <a:pt x="13297" y="10215"/>
                  </a:cubicBezTo>
                  <a:cubicBezTo>
                    <a:pt x="13313" y="10203"/>
                    <a:pt x="13354" y="10193"/>
                    <a:pt x="13387" y="10193"/>
                  </a:cubicBezTo>
                  <a:cubicBezTo>
                    <a:pt x="13420" y="10195"/>
                    <a:pt x="13456" y="10184"/>
                    <a:pt x="13462" y="10172"/>
                  </a:cubicBezTo>
                  <a:cubicBezTo>
                    <a:pt x="13471" y="10162"/>
                    <a:pt x="13465" y="10139"/>
                    <a:pt x="13451" y="10123"/>
                  </a:cubicBezTo>
                  <a:cubicBezTo>
                    <a:pt x="13436" y="10107"/>
                    <a:pt x="13410" y="10078"/>
                    <a:pt x="13394" y="10058"/>
                  </a:cubicBezTo>
                  <a:cubicBezTo>
                    <a:pt x="13378" y="10037"/>
                    <a:pt x="13350" y="10017"/>
                    <a:pt x="13334" y="10012"/>
                  </a:cubicBezTo>
                  <a:cubicBezTo>
                    <a:pt x="13319" y="10005"/>
                    <a:pt x="13284" y="10001"/>
                    <a:pt x="13257" y="10002"/>
                  </a:cubicBezTo>
                  <a:cubicBezTo>
                    <a:pt x="13229" y="10002"/>
                    <a:pt x="13216" y="9998"/>
                    <a:pt x="13227" y="9988"/>
                  </a:cubicBezTo>
                  <a:cubicBezTo>
                    <a:pt x="13239" y="9980"/>
                    <a:pt x="13273" y="9961"/>
                    <a:pt x="13304" y="9948"/>
                  </a:cubicBezTo>
                  <a:cubicBezTo>
                    <a:pt x="13335" y="9933"/>
                    <a:pt x="13363" y="9915"/>
                    <a:pt x="13365" y="9906"/>
                  </a:cubicBezTo>
                  <a:cubicBezTo>
                    <a:pt x="13368" y="9897"/>
                    <a:pt x="13369" y="9873"/>
                    <a:pt x="13366" y="9854"/>
                  </a:cubicBezTo>
                  <a:cubicBezTo>
                    <a:pt x="13364" y="9836"/>
                    <a:pt x="13373" y="9811"/>
                    <a:pt x="13383" y="9799"/>
                  </a:cubicBezTo>
                  <a:cubicBezTo>
                    <a:pt x="13393" y="9787"/>
                    <a:pt x="13414" y="9786"/>
                    <a:pt x="13426" y="9799"/>
                  </a:cubicBezTo>
                  <a:cubicBezTo>
                    <a:pt x="13440" y="9811"/>
                    <a:pt x="13459" y="9840"/>
                    <a:pt x="13465" y="9865"/>
                  </a:cubicBezTo>
                  <a:cubicBezTo>
                    <a:pt x="13472" y="9889"/>
                    <a:pt x="13488" y="9919"/>
                    <a:pt x="13501" y="9930"/>
                  </a:cubicBezTo>
                  <a:cubicBezTo>
                    <a:pt x="13514" y="9940"/>
                    <a:pt x="13522" y="9960"/>
                    <a:pt x="13524" y="9971"/>
                  </a:cubicBezTo>
                  <a:cubicBezTo>
                    <a:pt x="13524" y="9983"/>
                    <a:pt x="13551" y="10010"/>
                    <a:pt x="13586" y="10031"/>
                  </a:cubicBezTo>
                  <a:cubicBezTo>
                    <a:pt x="13621" y="10051"/>
                    <a:pt x="13647" y="10079"/>
                    <a:pt x="13646" y="10090"/>
                  </a:cubicBezTo>
                  <a:cubicBezTo>
                    <a:pt x="13645" y="10101"/>
                    <a:pt x="13659" y="10124"/>
                    <a:pt x="13678" y="10139"/>
                  </a:cubicBezTo>
                  <a:cubicBezTo>
                    <a:pt x="13696" y="10156"/>
                    <a:pt x="13724" y="10171"/>
                    <a:pt x="13737" y="10177"/>
                  </a:cubicBezTo>
                  <a:cubicBezTo>
                    <a:pt x="13751" y="10180"/>
                    <a:pt x="13777" y="10179"/>
                    <a:pt x="13796" y="10170"/>
                  </a:cubicBezTo>
                  <a:cubicBezTo>
                    <a:pt x="13816" y="10162"/>
                    <a:pt x="13841" y="10149"/>
                    <a:pt x="13853" y="10143"/>
                  </a:cubicBezTo>
                  <a:cubicBezTo>
                    <a:pt x="13866" y="10139"/>
                    <a:pt x="13896" y="10136"/>
                    <a:pt x="13920" y="10144"/>
                  </a:cubicBezTo>
                  <a:cubicBezTo>
                    <a:pt x="13945" y="10151"/>
                    <a:pt x="13990" y="10149"/>
                    <a:pt x="14020" y="10144"/>
                  </a:cubicBezTo>
                  <a:cubicBezTo>
                    <a:pt x="14051" y="10137"/>
                    <a:pt x="14093" y="10126"/>
                    <a:pt x="14113" y="10117"/>
                  </a:cubicBezTo>
                  <a:cubicBezTo>
                    <a:pt x="14133" y="10107"/>
                    <a:pt x="14158" y="10108"/>
                    <a:pt x="14170" y="10115"/>
                  </a:cubicBezTo>
                  <a:cubicBezTo>
                    <a:pt x="14181" y="10122"/>
                    <a:pt x="14189" y="10145"/>
                    <a:pt x="14192" y="10162"/>
                  </a:cubicBezTo>
                  <a:cubicBezTo>
                    <a:pt x="14195" y="10180"/>
                    <a:pt x="14233" y="10233"/>
                    <a:pt x="14282" y="10278"/>
                  </a:cubicBezTo>
                  <a:cubicBezTo>
                    <a:pt x="14329" y="10325"/>
                    <a:pt x="14385" y="10371"/>
                    <a:pt x="14404" y="10382"/>
                  </a:cubicBezTo>
                  <a:cubicBezTo>
                    <a:pt x="14424" y="10392"/>
                    <a:pt x="14449" y="10392"/>
                    <a:pt x="14461" y="10382"/>
                  </a:cubicBezTo>
                  <a:cubicBezTo>
                    <a:pt x="14471" y="10370"/>
                    <a:pt x="14509" y="10358"/>
                    <a:pt x="14540" y="10348"/>
                  </a:cubicBezTo>
                  <a:cubicBezTo>
                    <a:pt x="14573" y="10341"/>
                    <a:pt x="14607" y="10331"/>
                    <a:pt x="14616" y="10329"/>
                  </a:cubicBezTo>
                  <a:cubicBezTo>
                    <a:pt x="14625" y="10327"/>
                    <a:pt x="14638" y="10336"/>
                    <a:pt x="14646" y="10346"/>
                  </a:cubicBezTo>
                  <a:cubicBezTo>
                    <a:pt x="14653" y="10356"/>
                    <a:pt x="14648" y="10378"/>
                    <a:pt x="14637" y="10395"/>
                  </a:cubicBezTo>
                  <a:cubicBezTo>
                    <a:pt x="14625" y="10412"/>
                    <a:pt x="14608" y="10445"/>
                    <a:pt x="14601" y="10469"/>
                  </a:cubicBezTo>
                  <a:cubicBezTo>
                    <a:pt x="14593" y="10493"/>
                    <a:pt x="14591" y="10534"/>
                    <a:pt x="14594" y="10561"/>
                  </a:cubicBezTo>
                  <a:cubicBezTo>
                    <a:pt x="14598" y="10587"/>
                    <a:pt x="14613" y="10621"/>
                    <a:pt x="14629" y="10635"/>
                  </a:cubicBezTo>
                  <a:cubicBezTo>
                    <a:pt x="14645" y="10651"/>
                    <a:pt x="14669" y="10676"/>
                    <a:pt x="14682" y="10695"/>
                  </a:cubicBezTo>
                  <a:cubicBezTo>
                    <a:pt x="14696" y="10713"/>
                    <a:pt x="14709" y="10760"/>
                    <a:pt x="14714" y="10799"/>
                  </a:cubicBezTo>
                  <a:cubicBezTo>
                    <a:pt x="14718" y="10838"/>
                    <a:pt x="14735" y="10879"/>
                    <a:pt x="14748" y="10892"/>
                  </a:cubicBezTo>
                  <a:cubicBezTo>
                    <a:pt x="14762" y="10904"/>
                    <a:pt x="14790" y="10927"/>
                    <a:pt x="14809" y="10946"/>
                  </a:cubicBezTo>
                  <a:cubicBezTo>
                    <a:pt x="14829" y="10963"/>
                    <a:pt x="14864" y="11005"/>
                    <a:pt x="14887" y="11040"/>
                  </a:cubicBezTo>
                  <a:cubicBezTo>
                    <a:pt x="14909" y="11074"/>
                    <a:pt x="14958" y="11120"/>
                    <a:pt x="14995" y="11140"/>
                  </a:cubicBezTo>
                  <a:cubicBezTo>
                    <a:pt x="15032" y="11161"/>
                    <a:pt x="15075" y="11188"/>
                    <a:pt x="15092" y="11198"/>
                  </a:cubicBezTo>
                  <a:cubicBezTo>
                    <a:pt x="15108" y="11208"/>
                    <a:pt x="15138" y="11209"/>
                    <a:pt x="15160" y="11205"/>
                  </a:cubicBezTo>
                  <a:cubicBezTo>
                    <a:pt x="15181" y="11197"/>
                    <a:pt x="15216" y="11188"/>
                    <a:pt x="15237" y="11183"/>
                  </a:cubicBezTo>
                  <a:cubicBezTo>
                    <a:pt x="15258" y="11177"/>
                    <a:pt x="15291" y="11175"/>
                    <a:pt x="15311" y="11173"/>
                  </a:cubicBezTo>
                  <a:cubicBezTo>
                    <a:pt x="15330" y="11171"/>
                    <a:pt x="15355" y="11165"/>
                    <a:pt x="15366" y="11159"/>
                  </a:cubicBezTo>
                  <a:cubicBezTo>
                    <a:pt x="15378" y="11153"/>
                    <a:pt x="15387" y="11135"/>
                    <a:pt x="15389" y="11120"/>
                  </a:cubicBezTo>
                  <a:cubicBezTo>
                    <a:pt x="15390" y="11105"/>
                    <a:pt x="15395" y="11070"/>
                    <a:pt x="15400" y="11042"/>
                  </a:cubicBezTo>
                  <a:cubicBezTo>
                    <a:pt x="15404" y="11013"/>
                    <a:pt x="15410" y="10965"/>
                    <a:pt x="15410" y="10934"/>
                  </a:cubicBezTo>
                  <a:cubicBezTo>
                    <a:pt x="15410" y="10904"/>
                    <a:pt x="15418" y="10860"/>
                    <a:pt x="15425" y="10835"/>
                  </a:cubicBezTo>
                  <a:cubicBezTo>
                    <a:pt x="15434" y="10812"/>
                    <a:pt x="15448" y="10780"/>
                    <a:pt x="15457" y="10766"/>
                  </a:cubicBezTo>
                  <a:cubicBezTo>
                    <a:pt x="15466" y="10751"/>
                    <a:pt x="15482" y="10740"/>
                    <a:pt x="15491" y="10740"/>
                  </a:cubicBezTo>
                  <a:cubicBezTo>
                    <a:pt x="15500" y="10742"/>
                    <a:pt x="15516" y="10748"/>
                    <a:pt x="15524" y="10758"/>
                  </a:cubicBezTo>
                  <a:cubicBezTo>
                    <a:pt x="15532" y="10768"/>
                    <a:pt x="15533" y="10791"/>
                    <a:pt x="15523" y="10810"/>
                  </a:cubicBezTo>
                  <a:cubicBezTo>
                    <a:pt x="15514" y="10829"/>
                    <a:pt x="15507" y="10859"/>
                    <a:pt x="15504" y="10876"/>
                  </a:cubicBezTo>
                  <a:cubicBezTo>
                    <a:pt x="15503" y="10894"/>
                    <a:pt x="15510" y="10926"/>
                    <a:pt x="15519" y="10947"/>
                  </a:cubicBezTo>
                  <a:cubicBezTo>
                    <a:pt x="15527" y="10969"/>
                    <a:pt x="15523" y="11003"/>
                    <a:pt x="15508" y="11023"/>
                  </a:cubicBezTo>
                  <a:cubicBezTo>
                    <a:pt x="15491" y="11042"/>
                    <a:pt x="15477" y="11073"/>
                    <a:pt x="15474" y="11088"/>
                  </a:cubicBezTo>
                  <a:cubicBezTo>
                    <a:pt x="15470" y="11104"/>
                    <a:pt x="15481" y="11120"/>
                    <a:pt x="15496" y="11124"/>
                  </a:cubicBezTo>
                  <a:cubicBezTo>
                    <a:pt x="15511" y="11128"/>
                    <a:pt x="15533" y="11125"/>
                    <a:pt x="15545" y="11115"/>
                  </a:cubicBezTo>
                  <a:cubicBezTo>
                    <a:pt x="15557" y="11106"/>
                    <a:pt x="15582" y="11093"/>
                    <a:pt x="15602" y="11086"/>
                  </a:cubicBezTo>
                  <a:cubicBezTo>
                    <a:pt x="15621" y="11078"/>
                    <a:pt x="15648" y="11079"/>
                    <a:pt x="15662" y="11086"/>
                  </a:cubicBezTo>
                  <a:cubicBezTo>
                    <a:pt x="15675" y="11094"/>
                    <a:pt x="15693" y="11107"/>
                    <a:pt x="15701" y="11117"/>
                  </a:cubicBezTo>
                  <a:cubicBezTo>
                    <a:pt x="15708" y="11128"/>
                    <a:pt x="15707" y="11147"/>
                    <a:pt x="15699" y="11160"/>
                  </a:cubicBezTo>
                  <a:cubicBezTo>
                    <a:pt x="15690" y="11173"/>
                    <a:pt x="15687" y="11190"/>
                    <a:pt x="15694" y="11194"/>
                  </a:cubicBezTo>
                  <a:cubicBezTo>
                    <a:pt x="15699" y="11201"/>
                    <a:pt x="15714" y="11202"/>
                    <a:pt x="15726" y="11200"/>
                  </a:cubicBezTo>
                  <a:cubicBezTo>
                    <a:pt x="15737" y="11195"/>
                    <a:pt x="15761" y="11195"/>
                    <a:pt x="15779" y="11195"/>
                  </a:cubicBezTo>
                  <a:cubicBezTo>
                    <a:pt x="15797" y="11196"/>
                    <a:pt x="15824" y="11187"/>
                    <a:pt x="15841" y="11179"/>
                  </a:cubicBezTo>
                  <a:cubicBezTo>
                    <a:pt x="15857" y="11169"/>
                    <a:pt x="15872" y="11147"/>
                    <a:pt x="15876" y="11130"/>
                  </a:cubicBezTo>
                  <a:cubicBezTo>
                    <a:pt x="15880" y="11113"/>
                    <a:pt x="15880" y="11086"/>
                    <a:pt x="15877" y="11070"/>
                  </a:cubicBezTo>
                  <a:cubicBezTo>
                    <a:pt x="15875" y="11054"/>
                    <a:pt x="15874" y="11010"/>
                    <a:pt x="15878" y="10972"/>
                  </a:cubicBezTo>
                  <a:cubicBezTo>
                    <a:pt x="15881" y="10934"/>
                    <a:pt x="15891" y="10891"/>
                    <a:pt x="15900" y="10876"/>
                  </a:cubicBezTo>
                  <a:cubicBezTo>
                    <a:pt x="15909" y="10862"/>
                    <a:pt x="15916" y="10829"/>
                    <a:pt x="15921" y="10806"/>
                  </a:cubicBezTo>
                  <a:cubicBezTo>
                    <a:pt x="15924" y="10783"/>
                    <a:pt x="15931" y="10755"/>
                    <a:pt x="15938" y="10747"/>
                  </a:cubicBezTo>
                  <a:cubicBezTo>
                    <a:pt x="15944" y="10737"/>
                    <a:pt x="15943" y="10719"/>
                    <a:pt x="15934" y="10708"/>
                  </a:cubicBezTo>
                  <a:cubicBezTo>
                    <a:pt x="15925" y="10695"/>
                    <a:pt x="15906" y="10684"/>
                    <a:pt x="15893" y="10684"/>
                  </a:cubicBezTo>
                  <a:cubicBezTo>
                    <a:pt x="15879" y="10682"/>
                    <a:pt x="15877" y="10671"/>
                    <a:pt x="15886" y="10656"/>
                  </a:cubicBezTo>
                  <a:cubicBezTo>
                    <a:pt x="15898" y="10644"/>
                    <a:pt x="15909" y="10621"/>
                    <a:pt x="15913" y="10609"/>
                  </a:cubicBezTo>
                  <a:cubicBezTo>
                    <a:pt x="15919" y="10597"/>
                    <a:pt x="15916" y="10583"/>
                    <a:pt x="15910" y="10574"/>
                  </a:cubicBezTo>
                  <a:cubicBezTo>
                    <a:pt x="15904" y="10568"/>
                    <a:pt x="15872" y="10571"/>
                    <a:pt x="15839" y="10582"/>
                  </a:cubicBezTo>
                  <a:cubicBezTo>
                    <a:pt x="15807" y="10595"/>
                    <a:pt x="15781" y="10594"/>
                    <a:pt x="15779" y="10584"/>
                  </a:cubicBezTo>
                  <a:cubicBezTo>
                    <a:pt x="15776" y="10574"/>
                    <a:pt x="15785" y="10557"/>
                    <a:pt x="15793" y="10547"/>
                  </a:cubicBezTo>
                  <a:cubicBezTo>
                    <a:pt x="15801" y="10537"/>
                    <a:pt x="15830" y="10525"/>
                    <a:pt x="15859" y="10520"/>
                  </a:cubicBezTo>
                  <a:cubicBezTo>
                    <a:pt x="15887" y="10515"/>
                    <a:pt x="15923" y="10502"/>
                    <a:pt x="15938" y="10490"/>
                  </a:cubicBezTo>
                  <a:cubicBezTo>
                    <a:pt x="15953" y="10479"/>
                    <a:pt x="15970" y="10452"/>
                    <a:pt x="15974" y="10429"/>
                  </a:cubicBezTo>
                  <a:cubicBezTo>
                    <a:pt x="15978" y="10407"/>
                    <a:pt x="15972" y="10386"/>
                    <a:pt x="15966" y="10375"/>
                  </a:cubicBezTo>
                  <a:cubicBezTo>
                    <a:pt x="15957" y="10366"/>
                    <a:pt x="15936" y="10366"/>
                    <a:pt x="15919" y="10371"/>
                  </a:cubicBezTo>
                  <a:cubicBezTo>
                    <a:pt x="15902" y="10376"/>
                    <a:pt x="15887" y="10375"/>
                    <a:pt x="15882" y="10367"/>
                  </a:cubicBezTo>
                  <a:cubicBezTo>
                    <a:pt x="15879" y="10358"/>
                    <a:pt x="15888" y="10336"/>
                    <a:pt x="15899" y="10316"/>
                  </a:cubicBezTo>
                  <a:cubicBezTo>
                    <a:pt x="15912" y="10298"/>
                    <a:pt x="15936" y="10264"/>
                    <a:pt x="15952" y="10241"/>
                  </a:cubicBezTo>
                  <a:cubicBezTo>
                    <a:pt x="15970" y="10220"/>
                    <a:pt x="15983" y="10193"/>
                    <a:pt x="15984" y="10184"/>
                  </a:cubicBezTo>
                  <a:cubicBezTo>
                    <a:pt x="15984" y="10174"/>
                    <a:pt x="15976" y="10167"/>
                    <a:pt x="15964" y="10170"/>
                  </a:cubicBezTo>
                  <a:cubicBezTo>
                    <a:pt x="15953" y="10174"/>
                    <a:pt x="15922" y="10182"/>
                    <a:pt x="15897" y="10192"/>
                  </a:cubicBezTo>
                  <a:cubicBezTo>
                    <a:pt x="15871" y="10203"/>
                    <a:pt x="15832" y="10234"/>
                    <a:pt x="15808" y="10260"/>
                  </a:cubicBezTo>
                  <a:cubicBezTo>
                    <a:pt x="15785" y="10286"/>
                    <a:pt x="15757" y="10331"/>
                    <a:pt x="15750" y="10362"/>
                  </a:cubicBezTo>
                  <a:cubicBezTo>
                    <a:pt x="15741" y="10392"/>
                    <a:pt x="15722" y="10420"/>
                    <a:pt x="15708" y="10424"/>
                  </a:cubicBezTo>
                  <a:cubicBezTo>
                    <a:pt x="15694" y="10428"/>
                    <a:pt x="15679" y="10426"/>
                    <a:pt x="15679" y="10418"/>
                  </a:cubicBezTo>
                  <a:cubicBezTo>
                    <a:pt x="15676" y="10410"/>
                    <a:pt x="15684" y="10381"/>
                    <a:pt x="15695" y="10355"/>
                  </a:cubicBezTo>
                  <a:cubicBezTo>
                    <a:pt x="15706" y="10330"/>
                    <a:pt x="15715" y="10298"/>
                    <a:pt x="15718" y="10286"/>
                  </a:cubicBezTo>
                  <a:cubicBezTo>
                    <a:pt x="15722" y="10275"/>
                    <a:pt x="15717" y="10258"/>
                    <a:pt x="15710" y="10251"/>
                  </a:cubicBezTo>
                  <a:cubicBezTo>
                    <a:pt x="15703" y="10244"/>
                    <a:pt x="15697" y="10226"/>
                    <a:pt x="15697" y="10213"/>
                  </a:cubicBezTo>
                  <a:cubicBezTo>
                    <a:pt x="15695" y="10200"/>
                    <a:pt x="15705" y="10176"/>
                    <a:pt x="15713" y="10160"/>
                  </a:cubicBezTo>
                  <a:cubicBezTo>
                    <a:pt x="15723" y="10145"/>
                    <a:pt x="15749" y="10119"/>
                    <a:pt x="15774" y="10102"/>
                  </a:cubicBezTo>
                  <a:cubicBezTo>
                    <a:pt x="15798" y="10086"/>
                    <a:pt x="15838" y="10061"/>
                    <a:pt x="15863" y="10049"/>
                  </a:cubicBezTo>
                  <a:cubicBezTo>
                    <a:pt x="15887" y="10036"/>
                    <a:pt x="15917" y="10013"/>
                    <a:pt x="15928" y="9997"/>
                  </a:cubicBezTo>
                  <a:cubicBezTo>
                    <a:pt x="15940" y="9983"/>
                    <a:pt x="15936" y="9959"/>
                    <a:pt x="15922" y="9950"/>
                  </a:cubicBezTo>
                  <a:cubicBezTo>
                    <a:pt x="15907" y="9940"/>
                    <a:pt x="15880" y="9929"/>
                    <a:pt x="15861" y="9930"/>
                  </a:cubicBezTo>
                  <a:cubicBezTo>
                    <a:pt x="15841" y="9930"/>
                    <a:pt x="15816" y="9937"/>
                    <a:pt x="15804" y="9947"/>
                  </a:cubicBezTo>
                  <a:cubicBezTo>
                    <a:pt x="15793" y="9958"/>
                    <a:pt x="15775" y="9976"/>
                    <a:pt x="15766" y="9988"/>
                  </a:cubicBezTo>
                  <a:cubicBezTo>
                    <a:pt x="15757" y="10001"/>
                    <a:pt x="15741" y="10017"/>
                    <a:pt x="15730" y="10023"/>
                  </a:cubicBezTo>
                  <a:cubicBezTo>
                    <a:pt x="15719" y="10028"/>
                    <a:pt x="15720" y="10018"/>
                    <a:pt x="15732" y="9999"/>
                  </a:cubicBezTo>
                  <a:cubicBezTo>
                    <a:pt x="15744" y="9979"/>
                    <a:pt x="15763" y="9953"/>
                    <a:pt x="15772" y="9938"/>
                  </a:cubicBezTo>
                  <a:cubicBezTo>
                    <a:pt x="15783" y="9925"/>
                    <a:pt x="15784" y="9912"/>
                    <a:pt x="15775" y="9909"/>
                  </a:cubicBezTo>
                  <a:cubicBezTo>
                    <a:pt x="15767" y="9907"/>
                    <a:pt x="15745" y="9907"/>
                    <a:pt x="15728" y="9916"/>
                  </a:cubicBezTo>
                  <a:cubicBezTo>
                    <a:pt x="15711" y="9922"/>
                    <a:pt x="15675" y="9943"/>
                    <a:pt x="15647" y="9960"/>
                  </a:cubicBezTo>
                  <a:cubicBezTo>
                    <a:pt x="15621" y="9979"/>
                    <a:pt x="15578" y="10005"/>
                    <a:pt x="15557" y="10025"/>
                  </a:cubicBezTo>
                  <a:cubicBezTo>
                    <a:pt x="15534" y="10043"/>
                    <a:pt x="15517" y="10054"/>
                    <a:pt x="15515" y="10050"/>
                  </a:cubicBezTo>
                  <a:cubicBezTo>
                    <a:pt x="15513" y="10045"/>
                    <a:pt x="15518" y="10027"/>
                    <a:pt x="15527" y="10011"/>
                  </a:cubicBezTo>
                  <a:cubicBezTo>
                    <a:pt x="15535" y="9996"/>
                    <a:pt x="15552" y="9971"/>
                    <a:pt x="15565" y="9954"/>
                  </a:cubicBezTo>
                  <a:cubicBezTo>
                    <a:pt x="15580" y="9939"/>
                    <a:pt x="15606" y="9918"/>
                    <a:pt x="15624" y="9909"/>
                  </a:cubicBezTo>
                  <a:cubicBezTo>
                    <a:pt x="15643" y="9901"/>
                    <a:pt x="15669" y="9872"/>
                    <a:pt x="15686" y="9849"/>
                  </a:cubicBezTo>
                  <a:cubicBezTo>
                    <a:pt x="15701" y="9824"/>
                    <a:pt x="15716" y="9800"/>
                    <a:pt x="15719" y="9793"/>
                  </a:cubicBezTo>
                  <a:cubicBezTo>
                    <a:pt x="15722" y="9787"/>
                    <a:pt x="15713" y="9775"/>
                    <a:pt x="15701" y="9768"/>
                  </a:cubicBezTo>
                  <a:cubicBezTo>
                    <a:pt x="15689" y="9759"/>
                    <a:pt x="15672" y="9744"/>
                    <a:pt x="15662" y="9733"/>
                  </a:cubicBezTo>
                  <a:cubicBezTo>
                    <a:pt x="15653" y="9720"/>
                    <a:pt x="15635" y="9713"/>
                    <a:pt x="15623" y="9713"/>
                  </a:cubicBezTo>
                  <a:cubicBezTo>
                    <a:pt x="15611" y="9713"/>
                    <a:pt x="15592" y="9706"/>
                    <a:pt x="15580" y="9696"/>
                  </a:cubicBezTo>
                  <a:cubicBezTo>
                    <a:pt x="15568" y="9687"/>
                    <a:pt x="15552" y="9668"/>
                    <a:pt x="15548" y="9653"/>
                  </a:cubicBezTo>
                  <a:cubicBezTo>
                    <a:pt x="15541" y="9640"/>
                    <a:pt x="15524" y="9625"/>
                    <a:pt x="15507" y="9620"/>
                  </a:cubicBezTo>
                  <a:cubicBezTo>
                    <a:pt x="15491" y="9615"/>
                    <a:pt x="15460" y="9600"/>
                    <a:pt x="15439" y="9587"/>
                  </a:cubicBezTo>
                  <a:cubicBezTo>
                    <a:pt x="15417" y="9574"/>
                    <a:pt x="15390" y="9563"/>
                    <a:pt x="15379" y="9563"/>
                  </a:cubicBezTo>
                  <a:cubicBezTo>
                    <a:pt x="15367" y="9565"/>
                    <a:pt x="15350" y="9559"/>
                    <a:pt x="15339" y="9554"/>
                  </a:cubicBezTo>
                  <a:cubicBezTo>
                    <a:pt x="15330" y="9549"/>
                    <a:pt x="15307" y="9545"/>
                    <a:pt x="15290" y="9547"/>
                  </a:cubicBezTo>
                  <a:cubicBezTo>
                    <a:pt x="15272" y="9551"/>
                    <a:pt x="15256" y="9543"/>
                    <a:pt x="15253" y="9533"/>
                  </a:cubicBezTo>
                  <a:cubicBezTo>
                    <a:pt x="15251" y="9522"/>
                    <a:pt x="15244" y="9507"/>
                    <a:pt x="15237" y="9500"/>
                  </a:cubicBezTo>
                  <a:cubicBezTo>
                    <a:pt x="15232" y="9491"/>
                    <a:pt x="15188" y="9467"/>
                    <a:pt x="15143" y="9444"/>
                  </a:cubicBezTo>
                  <a:cubicBezTo>
                    <a:pt x="15097" y="9421"/>
                    <a:pt x="15053" y="9395"/>
                    <a:pt x="15045" y="9386"/>
                  </a:cubicBezTo>
                  <a:cubicBezTo>
                    <a:pt x="15036" y="9379"/>
                    <a:pt x="15010" y="9362"/>
                    <a:pt x="14983" y="9354"/>
                  </a:cubicBezTo>
                  <a:cubicBezTo>
                    <a:pt x="14956" y="9344"/>
                    <a:pt x="14909" y="9341"/>
                    <a:pt x="14879" y="9344"/>
                  </a:cubicBezTo>
                  <a:cubicBezTo>
                    <a:pt x="14849" y="9347"/>
                    <a:pt x="14802" y="9356"/>
                    <a:pt x="14775" y="9361"/>
                  </a:cubicBezTo>
                  <a:cubicBezTo>
                    <a:pt x="14748" y="9368"/>
                    <a:pt x="14705" y="9390"/>
                    <a:pt x="14678" y="9410"/>
                  </a:cubicBezTo>
                  <a:cubicBezTo>
                    <a:pt x="14653" y="9432"/>
                    <a:pt x="14634" y="9440"/>
                    <a:pt x="14638" y="9429"/>
                  </a:cubicBezTo>
                  <a:cubicBezTo>
                    <a:pt x="14641" y="9418"/>
                    <a:pt x="14639" y="9400"/>
                    <a:pt x="14635" y="9386"/>
                  </a:cubicBezTo>
                  <a:cubicBezTo>
                    <a:pt x="14630" y="9373"/>
                    <a:pt x="14589" y="9355"/>
                    <a:pt x="14546" y="9350"/>
                  </a:cubicBezTo>
                  <a:cubicBezTo>
                    <a:pt x="14503" y="9342"/>
                    <a:pt x="14442" y="9339"/>
                    <a:pt x="14410" y="9340"/>
                  </a:cubicBezTo>
                  <a:cubicBezTo>
                    <a:pt x="14379" y="9343"/>
                    <a:pt x="14328" y="9350"/>
                    <a:pt x="14298" y="9359"/>
                  </a:cubicBezTo>
                  <a:cubicBezTo>
                    <a:pt x="14266" y="9367"/>
                    <a:pt x="14233" y="9373"/>
                    <a:pt x="14225" y="9368"/>
                  </a:cubicBezTo>
                  <a:cubicBezTo>
                    <a:pt x="14216" y="9365"/>
                    <a:pt x="14228" y="9349"/>
                    <a:pt x="14251" y="9334"/>
                  </a:cubicBezTo>
                  <a:cubicBezTo>
                    <a:pt x="14275" y="9318"/>
                    <a:pt x="14303" y="9306"/>
                    <a:pt x="14314" y="9309"/>
                  </a:cubicBezTo>
                  <a:cubicBezTo>
                    <a:pt x="14325" y="9310"/>
                    <a:pt x="14377" y="9307"/>
                    <a:pt x="14430" y="9303"/>
                  </a:cubicBezTo>
                  <a:cubicBezTo>
                    <a:pt x="14482" y="9298"/>
                    <a:pt x="14543" y="9299"/>
                    <a:pt x="14565" y="9305"/>
                  </a:cubicBezTo>
                  <a:cubicBezTo>
                    <a:pt x="14587" y="9311"/>
                    <a:pt x="14625" y="9314"/>
                    <a:pt x="14651" y="9315"/>
                  </a:cubicBezTo>
                  <a:cubicBezTo>
                    <a:pt x="14677" y="9314"/>
                    <a:pt x="14725" y="9311"/>
                    <a:pt x="14758" y="9304"/>
                  </a:cubicBezTo>
                  <a:cubicBezTo>
                    <a:pt x="14790" y="9297"/>
                    <a:pt x="14833" y="9282"/>
                    <a:pt x="14850" y="9265"/>
                  </a:cubicBezTo>
                  <a:cubicBezTo>
                    <a:pt x="14868" y="9250"/>
                    <a:pt x="14891" y="9209"/>
                    <a:pt x="14900" y="9174"/>
                  </a:cubicBezTo>
                  <a:cubicBezTo>
                    <a:pt x="14909" y="9139"/>
                    <a:pt x="14916" y="9099"/>
                    <a:pt x="14912" y="9085"/>
                  </a:cubicBezTo>
                  <a:cubicBezTo>
                    <a:pt x="14909" y="9071"/>
                    <a:pt x="14898" y="9059"/>
                    <a:pt x="14890" y="9054"/>
                  </a:cubicBezTo>
                  <a:cubicBezTo>
                    <a:pt x="14881" y="9052"/>
                    <a:pt x="14863" y="9051"/>
                    <a:pt x="14849" y="9051"/>
                  </a:cubicBezTo>
                  <a:cubicBezTo>
                    <a:pt x="14835" y="9051"/>
                    <a:pt x="14793" y="9040"/>
                    <a:pt x="14757" y="9024"/>
                  </a:cubicBezTo>
                  <a:cubicBezTo>
                    <a:pt x="14719" y="9010"/>
                    <a:pt x="14679" y="8991"/>
                    <a:pt x="14665" y="8987"/>
                  </a:cubicBezTo>
                  <a:cubicBezTo>
                    <a:pt x="14651" y="8984"/>
                    <a:pt x="14631" y="8981"/>
                    <a:pt x="14620" y="8981"/>
                  </a:cubicBezTo>
                  <a:cubicBezTo>
                    <a:pt x="14609" y="8982"/>
                    <a:pt x="14577" y="8997"/>
                    <a:pt x="14548" y="9015"/>
                  </a:cubicBezTo>
                  <a:cubicBezTo>
                    <a:pt x="14519" y="9034"/>
                    <a:pt x="14484" y="9051"/>
                    <a:pt x="14471" y="9052"/>
                  </a:cubicBezTo>
                  <a:cubicBezTo>
                    <a:pt x="14457" y="9054"/>
                    <a:pt x="14428" y="9060"/>
                    <a:pt x="14407" y="9064"/>
                  </a:cubicBezTo>
                  <a:cubicBezTo>
                    <a:pt x="14386" y="9068"/>
                    <a:pt x="14354" y="9088"/>
                    <a:pt x="14335" y="9107"/>
                  </a:cubicBezTo>
                  <a:cubicBezTo>
                    <a:pt x="14316" y="9126"/>
                    <a:pt x="14295" y="9142"/>
                    <a:pt x="14288" y="9141"/>
                  </a:cubicBezTo>
                  <a:cubicBezTo>
                    <a:pt x="14281" y="9139"/>
                    <a:pt x="14276" y="9129"/>
                    <a:pt x="14277" y="9115"/>
                  </a:cubicBezTo>
                  <a:cubicBezTo>
                    <a:pt x="14278" y="9101"/>
                    <a:pt x="14271" y="9083"/>
                    <a:pt x="14265" y="9073"/>
                  </a:cubicBezTo>
                  <a:cubicBezTo>
                    <a:pt x="14258" y="9064"/>
                    <a:pt x="14241" y="9058"/>
                    <a:pt x="14229" y="9058"/>
                  </a:cubicBezTo>
                  <a:cubicBezTo>
                    <a:pt x="14217" y="9059"/>
                    <a:pt x="14179" y="9066"/>
                    <a:pt x="14144" y="9076"/>
                  </a:cubicBezTo>
                  <a:cubicBezTo>
                    <a:pt x="14109" y="9084"/>
                    <a:pt x="14068" y="9100"/>
                    <a:pt x="14052" y="9106"/>
                  </a:cubicBezTo>
                  <a:cubicBezTo>
                    <a:pt x="14037" y="9115"/>
                    <a:pt x="14013" y="9119"/>
                    <a:pt x="14000" y="9119"/>
                  </a:cubicBezTo>
                  <a:cubicBezTo>
                    <a:pt x="13987" y="9119"/>
                    <a:pt x="13981" y="9111"/>
                    <a:pt x="13987" y="9105"/>
                  </a:cubicBezTo>
                  <a:cubicBezTo>
                    <a:pt x="13993" y="9098"/>
                    <a:pt x="14022" y="9082"/>
                    <a:pt x="14051" y="9070"/>
                  </a:cubicBezTo>
                  <a:cubicBezTo>
                    <a:pt x="14080" y="9058"/>
                    <a:pt x="14126" y="9044"/>
                    <a:pt x="14154" y="9037"/>
                  </a:cubicBezTo>
                  <a:cubicBezTo>
                    <a:pt x="14182" y="9030"/>
                    <a:pt x="14212" y="9018"/>
                    <a:pt x="14221" y="9009"/>
                  </a:cubicBezTo>
                  <a:cubicBezTo>
                    <a:pt x="14230" y="8999"/>
                    <a:pt x="14233" y="8985"/>
                    <a:pt x="14226" y="8978"/>
                  </a:cubicBezTo>
                  <a:cubicBezTo>
                    <a:pt x="14219" y="8970"/>
                    <a:pt x="14200" y="8962"/>
                    <a:pt x="14184" y="8960"/>
                  </a:cubicBezTo>
                  <a:cubicBezTo>
                    <a:pt x="14168" y="8957"/>
                    <a:pt x="14143" y="8962"/>
                    <a:pt x="14129" y="8968"/>
                  </a:cubicBezTo>
                  <a:cubicBezTo>
                    <a:pt x="14115" y="8976"/>
                    <a:pt x="14079" y="8982"/>
                    <a:pt x="14050" y="8986"/>
                  </a:cubicBezTo>
                  <a:cubicBezTo>
                    <a:pt x="14022" y="8988"/>
                    <a:pt x="13984" y="8992"/>
                    <a:pt x="13967" y="8991"/>
                  </a:cubicBezTo>
                  <a:cubicBezTo>
                    <a:pt x="13951" y="8991"/>
                    <a:pt x="13938" y="8984"/>
                    <a:pt x="13938" y="8977"/>
                  </a:cubicBezTo>
                  <a:cubicBezTo>
                    <a:pt x="13940" y="8971"/>
                    <a:pt x="13952" y="8961"/>
                    <a:pt x="13968" y="8959"/>
                  </a:cubicBezTo>
                  <a:cubicBezTo>
                    <a:pt x="13983" y="8955"/>
                    <a:pt x="14003" y="8957"/>
                    <a:pt x="14011" y="8959"/>
                  </a:cubicBezTo>
                  <a:cubicBezTo>
                    <a:pt x="14019" y="8962"/>
                    <a:pt x="14041" y="8960"/>
                    <a:pt x="14060" y="8958"/>
                  </a:cubicBezTo>
                  <a:cubicBezTo>
                    <a:pt x="14078" y="8953"/>
                    <a:pt x="14105" y="8942"/>
                    <a:pt x="14118" y="8931"/>
                  </a:cubicBezTo>
                  <a:cubicBezTo>
                    <a:pt x="14131" y="8919"/>
                    <a:pt x="14155" y="8909"/>
                    <a:pt x="14169" y="8906"/>
                  </a:cubicBezTo>
                  <a:cubicBezTo>
                    <a:pt x="14184" y="8903"/>
                    <a:pt x="14208" y="8906"/>
                    <a:pt x="14225" y="8909"/>
                  </a:cubicBezTo>
                  <a:cubicBezTo>
                    <a:pt x="14241" y="8913"/>
                    <a:pt x="14275" y="8932"/>
                    <a:pt x="14301" y="8950"/>
                  </a:cubicBezTo>
                  <a:cubicBezTo>
                    <a:pt x="14327" y="8968"/>
                    <a:pt x="14367" y="8985"/>
                    <a:pt x="14390" y="8985"/>
                  </a:cubicBezTo>
                  <a:cubicBezTo>
                    <a:pt x="14413" y="8985"/>
                    <a:pt x="14450" y="8980"/>
                    <a:pt x="14473" y="8972"/>
                  </a:cubicBezTo>
                  <a:cubicBezTo>
                    <a:pt x="14495" y="8962"/>
                    <a:pt x="14537" y="8941"/>
                    <a:pt x="14565" y="8925"/>
                  </a:cubicBezTo>
                  <a:cubicBezTo>
                    <a:pt x="14593" y="8908"/>
                    <a:pt x="14634" y="8890"/>
                    <a:pt x="14656" y="8886"/>
                  </a:cubicBezTo>
                  <a:cubicBezTo>
                    <a:pt x="14678" y="8881"/>
                    <a:pt x="14717" y="8879"/>
                    <a:pt x="14744" y="8878"/>
                  </a:cubicBezTo>
                  <a:cubicBezTo>
                    <a:pt x="14769" y="8877"/>
                    <a:pt x="14805" y="8866"/>
                    <a:pt x="14821" y="8849"/>
                  </a:cubicBezTo>
                  <a:cubicBezTo>
                    <a:pt x="14836" y="8833"/>
                    <a:pt x="14862" y="8818"/>
                    <a:pt x="14876" y="8814"/>
                  </a:cubicBezTo>
                  <a:cubicBezTo>
                    <a:pt x="14890" y="8810"/>
                    <a:pt x="14908" y="8797"/>
                    <a:pt x="14915" y="8784"/>
                  </a:cubicBezTo>
                  <a:cubicBezTo>
                    <a:pt x="14923" y="8772"/>
                    <a:pt x="14924" y="8750"/>
                    <a:pt x="14919" y="8737"/>
                  </a:cubicBezTo>
                  <a:cubicBezTo>
                    <a:pt x="14915" y="8722"/>
                    <a:pt x="14893" y="8706"/>
                    <a:pt x="14873" y="8699"/>
                  </a:cubicBezTo>
                  <a:cubicBezTo>
                    <a:pt x="14853" y="8693"/>
                    <a:pt x="14809" y="8685"/>
                    <a:pt x="14776" y="8681"/>
                  </a:cubicBezTo>
                  <a:cubicBezTo>
                    <a:pt x="14742" y="8677"/>
                    <a:pt x="14699" y="8668"/>
                    <a:pt x="14680" y="8662"/>
                  </a:cubicBezTo>
                  <a:cubicBezTo>
                    <a:pt x="14660" y="8655"/>
                    <a:pt x="14637" y="8642"/>
                    <a:pt x="14625" y="8636"/>
                  </a:cubicBezTo>
                  <a:cubicBezTo>
                    <a:pt x="14615" y="8630"/>
                    <a:pt x="14583" y="8626"/>
                    <a:pt x="14555" y="8630"/>
                  </a:cubicBezTo>
                  <a:cubicBezTo>
                    <a:pt x="14527" y="8634"/>
                    <a:pt x="14480" y="8634"/>
                    <a:pt x="14451" y="8636"/>
                  </a:cubicBezTo>
                  <a:cubicBezTo>
                    <a:pt x="14422" y="8635"/>
                    <a:pt x="14383" y="8641"/>
                    <a:pt x="14364" y="8645"/>
                  </a:cubicBezTo>
                  <a:cubicBezTo>
                    <a:pt x="14345" y="8652"/>
                    <a:pt x="14323" y="8665"/>
                    <a:pt x="14319" y="8678"/>
                  </a:cubicBezTo>
                  <a:cubicBezTo>
                    <a:pt x="14314" y="8691"/>
                    <a:pt x="14293" y="8709"/>
                    <a:pt x="14272" y="8719"/>
                  </a:cubicBezTo>
                  <a:cubicBezTo>
                    <a:pt x="14251" y="8728"/>
                    <a:pt x="14200" y="8733"/>
                    <a:pt x="14161" y="8724"/>
                  </a:cubicBezTo>
                  <a:cubicBezTo>
                    <a:pt x="14161" y="8724"/>
                    <a:pt x="14161" y="8724"/>
                    <a:pt x="14156" y="8722"/>
                  </a:cubicBezTo>
                  <a:cubicBezTo>
                    <a:pt x="14151" y="8720"/>
                    <a:pt x="14151" y="8720"/>
                    <a:pt x="14151" y="8720"/>
                  </a:cubicBezTo>
                  <a:cubicBezTo>
                    <a:pt x="14110" y="8716"/>
                    <a:pt x="14053" y="8713"/>
                    <a:pt x="14025" y="8717"/>
                  </a:cubicBezTo>
                  <a:cubicBezTo>
                    <a:pt x="13997" y="8719"/>
                    <a:pt x="13968" y="8733"/>
                    <a:pt x="13962" y="8746"/>
                  </a:cubicBezTo>
                  <a:cubicBezTo>
                    <a:pt x="13957" y="8760"/>
                    <a:pt x="13942" y="8778"/>
                    <a:pt x="13934" y="8789"/>
                  </a:cubicBezTo>
                  <a:cubicBezTo>
                    <a:pt x="13924" y="8800"/>
                    <a:pt x="13908" y="8806"/>
                    <a:pt x="13896" y="8804"/>
                  </a:cubicBezTo>
                  <a:cubicBezTo>
                    <a:pt x="13884" y="8801"/>
                    <a:pt x="13866" y="8792"/>
                    <a:pt x="13857" y="8781"/>
                  </a:cubicBezTo>
                  <a:cubicBezTo>
                    <a:pt x="13847" y="8770"/>
                    <a:pt x="13831" y="8761"/>
                    <a:pt x="13821" y="8761"/>
                  </a:cubicBezTo>
                  <a:cubicBezTo>
                    <a:pt x="13811" y="8760"/>
                    <a:pt x="13799" y="8754"/>
                    <a:pt x="13793" y="8747"/>
                  </a:cubicBezTo>
                  <a:cubicBezTo>
                    <a:pt x="13788" y="8740"/>
                    <a:pt x="13799" y="8723"/>
                    <a:pt x="13818" y="8711"/>
                  </a:cubicBezTo>
                  <a:cubicBezTo>
                    <a:pt x="13838" y="8698"/>
                    <a:pt x="13874" y="8682"/>
                    <a:pt x="13900" y="8673"/>
                  </a:cubicBezTo>
                  <a:cubicBezTo>
                    <a:pt x="13925" y="8665"/>
                    <a:pt x="13973" y="8661"/>
                    <a:pt x="14006" y="8662"/>
                  </a:cubicBezTo>
                  <a:cubicBezTo>
                    <a:pt x="14039" y="8662"/>
                    <a:pt x="14104" y="8662"/>
                    <a:pt x="14151" y="8658"/>
                  </a:cubicBezTo>
                  <a:cubicBezTo>
                    <a:pt x="14198" y="8656"/>
                    <a:pt x="14251" y="8645"/>
                    <a:pt x="14267" y="8634"/>
                  </a:cubicBezTo>
                  <a:cubicBezTo>
                    <a:pt x="14284" y="8625"/>
                    <a:pt x="14298" y="8609"/>
                    <a:pt x="14297" y="8599"/>
                  </a:cubicBezTo>
                  <a:cubicBezTo>
                    <a:pt x="14297" y="8590"/>
                    <a:pt x="14281" y="8569"/>
                    <a:pt x="14268" y="8551"/>
                  </a:cubicBezTo>
                  <a:cubicBezTo>
                    <a:pt x="14253" y="8535"/>
                    <a:pt x="14221" y="8509"/>
                    <a:pt x="14195" y="8496"/>
                  </a:cubicBezTo>
                  <a:cubicBezTo>
                    <a:pt x="14170" y="8483"/>
                    <a:pt x="14129" y="8467"/>
                    <a:pt x="14104" y="8460"/>
                  </a:cubicBezTo>
                  <a:cubicBezTo>
                    <a:pt x="14080" y="8452"/>
                    <a:pt x="14051" y="8439"/>
                    <a:pt x="14043" y="8425"/>
                  </a:cubicBezTo>
                  <a:cubicBezTo>
                    <a:pt x="14034" y="8412"/>
                    <a:pt x="14030" y="8388"/>
                    <a:pt x="14034" y="8370"/>
                  </a:cubicBezTo>
                  <a:cubicBezTo>
                    <a:pt x="14038" y="8352"/>
                    <a:pt x="14047" y="8333"/>
                    <a:pt x="14053" y="8328"/>
                  </a:cubicBezTo>
                  <a:cubicBezTo>
                    <a:pt x="14060" y="8323"/>
                    <a:pt x="14073" y="8319"/>
                    <a:pt x="14083" y="8322"/>
                  </a:cubicBezTo>
                  <a:cubicBezTo>
                    <a:pt x="14093" y="8325"/>
                    <a:pt x="14105" y="8335"/>
                    <a:pt x="14111" y="8345"/>
                  </a:cubicBezTo>
                  <a:cubicBezTo>
                    <a:pt x="14114" y="8356"/>
                    <a:pt x="14120" y="8373"/>
                    <a:pt x="14117" y="8384"/>
                  </a:cubicBezTo>
                  <a:cubicBezTo>
                    <a:pt x="14116" y="8395"/>
                    <a:pt x="14130" y="8409"/>
                    <a:pt x="14147" y="8416"/>
                  </a:cubicBezTo>
                  <a:cubicBezTo>
                    <a:pt x="14164" y="8422"/>
                    <a:pt x="14204" y="8440"/>
                    <a:pt x="14236" y="8456"/>
                  </a:cubicBezTo>
                  <a:cubicBezTo>
                    <a:pt x="14268" y="8471"/>
                    <a:pt x="14297" y="8492"/>
                    <a:pt x="14302" y="8499"/>
                  </a:cubicBezTo>
                  <a:cubicBezTo>
                    <a:pt x="14307" y="8507"/>
                    <a:pt x="14323" y="8518"/>
                    <a:pt x="14339" y="8522"/>
                  </a:cubicBezTo>
                  <a:cubicBezTo>
                    <a:pt x="14356" y="8527"/>
                    <a:pt x="14381" y="8531"/>
                    <a:pt x="14395" y="8529"/>
                  </a:cubicBezTo>
                  <a:cubicBezTo>
                    <a:pt x="14409" y="8528"/>
                    <a:pt x="14436" y="8538"/>
                    <a:pt x="14455" y="8551"/>
                  </a:cubicBezTo>
                  <a:cubicBezTo>
                    <a:pt x="14473" y="8563"/>
                    <a:pt x="14508" y="8575"/>
                    <a:pt x="14530" y="8571"/>
                  </a:cubicBezTo>
                  <a:cubicBezTo>
                    <a:pt x="14553" y="8571"/>
                    <a:pt x="14594" y="8562"/>
                    <a:pt x="14620" y="8555"/>
                  </a:cubicBezTo>
                  <a:cubicBezTo>
                    <a:pt x="14647" y="8547"/>
                    <a:pt x="14685" y="8532"/>
                    <a:pt x="14704" y="8522"/>
                  </a:cubicBezTo>
                  <a:cubicBezTo>
                    <a:pt x="14725" y="8513"/>
                    <a:pt x="14760" y="8498"/>
                    <a:pt x="14784" y="8492"/>
                  </a:cubicBezTo>
                  <a:cubicBezTo>
                    <a:pt x="14807" y="8485"/>
                    <a:pt x="14838" y="8470"/>
                    <a:pt x="14852" y="8458"/>
                  </a:cubicBezTo>
                  <a:cubicBezTo>
                    <a:pt x="14865" y="8445"/>
                    <a:pt x="14893" y="8425"/>
                    <a:pt x="14912" y="8412"/>
                  </a:cubicBezTo>
                  <a:cubicBezTo>
                    <a:pt x="14931" y="8398"/>
                    <a:pt x="14968" y="8381"/>
                    <a:pt x="14992" y="8372"/>
                  </a:cubicBezTo>
                  <a:cubicBezTo>
                    <a:pt x="15017" y="8363"/>
                    <a:pt x="15050" y="8355"/>
                    <a:pt x="15066" y="8355"/>
                  </a:cubicBezTo>
                  <a:cubicBezTo>
                    <a:pt x="15082" y="8356"/>
                    <a:pt x="15098" y="8344"/>
                    <a:pt x="15103" y="8333"/>
                  </a:cubicBezTo>
                  <a:cubicBezTo>
                    <a:pt x="15109" y="8322"/>
                    <a:pt x="15106" y="8304"/>
                    <a:pt x="15101" y="8294"/>
                  </a:cubicBezTo>
                  <a:cubicBezTo>
                    <a:pt x="15096" y="8284"/>
                    <a:pt x="15076" y="8266"/>
                    <a:pt x="15057" y="8255"/>
                  </a:cubicBezTo>
                  <a:cubicBezTo>
                    <a:pt x="15038" y="8243"/>
                    <a:pt x="15021" y="8225"/>
                    <a:pt x="15018" y="8215"/>
                  </a:cubicBezTo>
                  <a:cubicBezTo>
                    <a:pt x="15016" y="8204"/>
                    <a:pt x="14991" y="8165"/>
                    <a:pt x="14960" y="8128"/>
                  </a:cubicBezTo>
                  <a:cubicBezTo>
                    <a:pt x="14932" y="8091"/>
                    <a:pt x="14888" y="8054"/>
                    <a:pt x="14866" y="8046"/>
                  </a:cubicBezTo>
                  <a:cubicBezTo>
                    <a:pt x="14843" y="8038"/>
                    <a:pt x="14825" y="8024"/>
                    <a:pt x="14824" y="8014"/>
                  </a:cubicBezTo>
                  <a:cubicBezTo>
                    <a:pt x="14823" y="8004"/>
                    <a:pt x="14828" y="7991"/>
                    <a:pt x="14832" y="7985"/>
                  </a:cubicBezTo>
                  <a:cubicBezTo>
                    <a:pt x="14837" y="7980"/>
                    <a:pt x="14850" y="7974"/>
                    <a:pt x="14861" y="7974"/>
                  </a:cubicBezTo>
                  <a:cubicBezTo>
                    <a:pt x="14872" y="7973"/>
                    <a:pt x="14890" y="7978"/>
                    <a:pt x="14900" y="7986"/>
                  </a:cubicBezTo>
                  <a:cubicBezTo>
                    <a:pt x="14909" y="7994"/>
                    <a:pt x="14918" y="8008"/>
                    <a:pt x="14922" y="8016"/>
                  </a:cubicBezTo>
                  <a:cubicBezTo>
                    <a:pt x="14925" y="8026"/>
                    <a:pt x="14935" y="8042"/>
                    <a:pt x="14947" y="8053"/>
                  </a:cubicBezTo>
                  <a:cubicBezTo>
                    <a:pt x="14958" y="8064"/>
                    <a:pt x="14990" y="8101"/>
                    <a:pt x="15018" y="8135"/>
                  </a:cubicBezTo>
                  <a:cubicBezTo>
                    <a:pt x="15048" y="8169"/>
                    <a:pt x="15107" y="8228"/>
                    <a:pt x="15153" y="8264"/>
                  </a:cubicBezTo>
                  <a:cubicBezTo>
                    <a:pt x="15200" y="8300"/>
                    <a:pt x="15244" y="8331"/>
                    <a:pt x="15251" y="8335"/>
                  </a:cubicBezTo>
                  <a:cubicBezTo>
                    <a:pt x="15257" y="8339"/>
                    <a:pt x="15268" y="8334"/>
                    <a:pt x="15274" y="8326"/>
                  </a:cubicBezTo>
                  <a:cubicBezTo>
                    <a:pt x="15281" y="8318"/>
                    <a:pt x="15284" y="8298"/>
                    <a:pt x="15286" y="8284"/>
                  </a:cubicBezTo>
                  <a:cubicBezTo>
                    <a:pt x="15286" y="8270"/>
                    <a:pt x="15293" y="8232"/>
                    <a:pt x="15302" y="8199"/>
                  </a:cubicBezTo>
                  <a:cubicBezTo>
                    <a:pt x="15311" y="8167"/>
                    <a:pt x="15321" y="8124"/>
                    <a:pt x="15326" y="8107"/>
                  </a:cubicBezTo>
                  <a:cubicBezTo>
                    <a:pt x="15327" y="8088"/>
                    <a:pt x="15346" y="8065"/>
                    <a:pt x="15359" y="8054"/>
                  </a:cubicBezTo>
                  <a:cubicBezTo>
                    <a:pt x="15373" y="8043"/>
                    <a:pt x="15394" y="8032"/>
                    <a:pt x="15408" y="8030"/>
                  </a:cubicBezTo>
                  <a:cubicBezTo>
                    <a:pt x="15421" y="8028"/>
                    <a:pt x="15442" y="8028"/>
                    <a:pt x="15455" y="8031"/>
                  </a:cubicBezTo>
                  <a:cubicBezTo>
                    <a:pt x="15468" y="8034"/>
                    <a:pt x="15477" y="8047"/>
                    <a:pt x="15474" y="8059"/>
                  </a:cubicBezTo>
                  <a:cubicBezTo>
                    <a:pt x="15471" y="8072"/>
                    <a:pt x="15474" y="8088"/>
                    <a:pt x="15480" y="8096"/>
                  </a:cubicBezTo>
                  <a:cubicBezTo>
                    <a:pt x="15486" y="8104"/>
                    <a:pt x="15506" y="8109"/>
                    <a:pt x="15523" y="8110"/>
                  </a:cubicBezTo>
                  <a:cubicBezTo>
                    <a:pt x="15541" y="8109"/>
                    <a:pt x="15595" y="8119"/>
                    <a:pt x="15644" y="8130"/>
                  </a:cubicBezTo>
                  <a:cubicBezTo>
                    <a:pt x="15693" y="8141"/>
                    <a:pt x="15770" y="8164"/>
                    <a:pt x="15814" y="8184"/>
                  </a:cubicBezTo>
                  <a:cubicBezTo>
                    <a:pt x="15858" y="8202"/>
                    <a:pt x="15915" y="8221"/>
                    <a:pt x="15939" y="8227"/>
                  </a:cubicBezTo>
                  <a:cubicBezTo>
                    <a:pt x="15964" y="8232"/>
                    <a:pt x="15997" y="8229"/>
                    <a:pt x="16013" y="8222"/>
                  </a:cubicBezTo>
                  <a:cubicBezTo>
                    <a:pt x="16029" y="8214"/>
                    <a:pt x="16052" y="8206"/>
                    <a:pt x="16065" y="8204"/>
                  </a:cubicBezTo>
                  <a:cubicBezTo>
                    <a:pt x="16078" y="8202"/>
                    <a:pt x="16098" y="8203"/>
                    <a:pt x="16109" y="8210"/>
                  </a:cubicBezTo>
                  <a:cubicBezTo>
                    <a:pt x="16121" y="8215"/>
                    <a:pt x="16128" y="8230"/>
                    <a:pt x="16123" y="8239"/>
                  </a:cubicBezTo>
                  <a:cubicBezTo>
                    <a:pt x="16122" y="8250"/>
                    <a:pt x="16083" y="8264"/>
                    <a:pt x="16041" y="8271"/>
                  </a:cubicBezTo>
                  <a:cubicBezTo>
                    <a:pt x="16000" y="8281"/>
                    <a:pt x="15957" y="8289"/>
                    <a:pt x="15946" y="8292"/>
                  </a:cubicBezTo>
                  <a:cubicBezTo>
                    <a:pt x="15936" y="8297"/>
                    <a:pt x="15904" y="8286"/>
                    <a:pt x="15875" y="8269"/>
                  </a:cubicBezTo>
                  <a:cubicBezTo>
                    <a:pt x="15848" y="8252"/>
                    <a:pt x="15782" y="8227"/>
                    <a:pt x="15730" y="8214"/>
                  </a:cubicBezTo>
                  <a:cubicBezTo>
                    <a:pt x="15678" y="8199"/>
                    <a:pt x="15622" y="8185"/>
                    <a:pt x="15607" y="8180"/>
                  </a:cubicBezTo>
                  <a:cubicBezTo>
                    <a:pt x="15591" y="8175"/>
                    <a:pt x="15573" y="8168"/>
                    <a:pt x="15566" y="8164"/>
                  </a:cubicBezTo>
                  <a:cubicBezTo>
                    <a:pt x="15559" y="8161"/>
                    <a:pt x="15539" y="8159"/>
                    <a:pt x="15523" y="8160"/>
                  </a:cubicBezTo>
                  <a:cubicBezTo>
                    <a:pt x="15506" y="8162"/>
                    <a:pt x="15485" y="8170"/>
                    <a:pt x="15474" y="8176"/>
                  </a:cubicBezTo>
                  <a:cubicBezTo>
                    <a:pt x="15463" y="8182"/>
                    <a:pt x="15455" y="8198"/>
                    <a:pt x="15453" y="8210"/>
                  </a:cubicBezTo>
                  <a:cubicBezTo>
                    <a:pt x="15453" y="8222"/>
                    <a:pt x="15461" y="8243"/>
                    <a:pt x="15468" y="8260"/>
                  </a:cubicBezTo>
                  <a:cubicBezTo>
                    <a:pt x="15477" y="8277"/>
                    <a:pt x="15534" y="8320"/>
                    <a:pt x="15593" y="8355"/>
                  </a:cubicBezTo>
                  <a:cubicBezTo>
                    <a:pt x="15654" y="8391"/>
                    <a:pt x="15722" y="8436"/>
                    <a:pt x="15747" y="8454"/>
                  </a:cubicBezTo>
                  <a:cubicBezTo>
                    <a:pt x="15772" y="8471"/>
                    <a:pt x="15826" y="8496"/>
                    <a:pt x="15868" y="8511"/>
                  </a:cubicBezTo>
                  <a:cubicBezTo>
                    <a:pt x="15909" y="8526"/>
                    <a:pt x="15964" y="8545"/>
                    <a:pt x="15989" y="8558"/>
                  </a:cubicBezTo>
                  <a:cubicBezTo>
                    <a:pt x="16014" y="8569"/>
                    <a:pt x="16047" y="8582"/>
                    <a:pt x="16064" y="8582"/>
                  </a:cubicBezTo>
                  <a:cubicBezTo>
                    <a:pt x="16080" y="8585"/>
                    <a:pt x="16111" y="8582"/>
                    <a:pt x="16132" y="8577"/>
                  </a:cubicBezTo>
                  <a:cubicBezTo>
                    <a:pt x="16153" y="8572"/>
                    <a:pt x="16173" y="8560"/>
                    <a:pt x="16179" y="8551"/>
                  </a:cubicBezTo>
                  <a:cubicBezTo>
                    <a:pt x="16183" y="8542"/>
                    <a:pt x="16198" y="8521"/>
                    <a:pt x="16212" y="8506"/>
                  </a:cubicBezTo>
                  <a:cubicBezTo>
                    <a:pt x="16226" y="8491"/>
                    <a:pt x="16248" y="8480"/>
                    <a:pt x="16261" y="8479"/>
                  </a:cubicBezTo>
                  <a:cubicBezTo>
                    <a:pt x="16273" y="8480"/>
                    <a:pt x="16300" y="8477"/>
                    <a:pt x="16321" y="8472"/>
                  </a:cubicBezTo>
                  <a:cubicBezTo>
                    <a:pt x="16341" y="8469"/>
                    <a:pt x="16371" y="8458"/>
                    <a:pt x="16386" y="8448"/>
                  </a:cubicBezTo>
                  <a:cubicBezTo>
                    <a:pt x="16402" y="8438"/>
                    <a:pt x="16417" y="8420"/>
                    <a:pt x="16417" y="8407"/>
                  </a:cubicBezTo>
                  <a:cubicBezTo>
                    <a:pt x="16420" y="8394"/>
                    <a:pt x="16436" y="8374"/>
                    <a:pt x="16455" y="8363"/>
                  </a:cubicBezTo>
                  <a:cubicBezTo>
                    <a:pt x="16474" y="8351"/>
                    <a:pt x="16504" y="8342"/>
                    <a:pt x="16520" y="8341"/>
                  </a:cubicBezTo>
                  <a:cubicBezTo>
                    <a:pt x="16537" y="8338"/>
                    <a:pt x="16566" y="8341"/>
                    <a:pt x="16585" y="8346"/>
                  </a:cubicBezTo>
                  <a:cubicBezTo>
                    <a:pt x="16603" y="8351"/>
                    <a:pt x="16636" y="8357"/>
                    <a:pt x="16659" y="8360"/>
                  </a:cubicBezTo>
                  <a:cubicBezTo>
                    <a:pt x="16681" y="8363"/>
                    <a:pt x="16724" y="8359"/>
                    <a:pt x="16754" y="8350"/>
                  </a:cubicBezTo>
                  <a:cubicBezTo>
                    <a:pt x="16785" y="8343"/>
                    <a:pt x="16833" y="8337"/>
                    <a:pt x="16860" y="8338"/>
                  </a:cubicBezTo>
                  <a:cubicBezTo>
                    <a:pt x="16888" y="8339"/>
                    <a:pt x="16917" y="8331"/>
                    <a:pt x="16927" y="8325"/>
                  </a:cubicBezTo>
                  <a:cubicBezTo>
                    <a:pt x="16935" y="8316"/>
                    <a:pt x="16948" y="8290"/>
                    <a:pt x="16953" y="8264"/>
                  </a:cubicBezTo>
                  <a:cubicBezTo>
                    <a:pt x="16959" y="8238"/>
                    <a:pt x="16965" y="8202"/>
                    <a:pt x="16967" y="8182"/>
                  </a:cubicBezTo>
                  <a:cubicBezTo>
                    <a:pt x="16968" y="8163"/>
                    <a:pt x="16979" y="8134"/>
                    <a:pt x="16992" y="8119"/>
                  </a:cubicBezTo>
                  <a:cubicBezTo>
                    <a:pt x="17006" y="8105"/>
                    <a:pt x="17034" y="8071"/>
                    <a:pt x="17056" y="8044"/>
                  </a:cubicBezTo>
                  <a:cubicBezTo>
                    <a:pt x="17079" y="8017"/>
                    <a:pt x="17098" y="7984"/>
                    <a:pt x="17102" y="7970"/>
                  </a:cubicBezTo>
                  <a:cubicBezTo>
                    <a:pt x="17103" y="7956"/>
                    <a:pt x="17101" y="7936"/>
                    <a:pt x="17094" y="7929"/>
                  </a:cubicBezTo>
                  <a:cubicBezTo>
                    <a:pt x="17086" y="7921"/>
                    <a:pt x="17064" y="7912"/>
                    <a:pt x="17042" y="7911"/>
                  </a:cubicBezTo>
                  <a:cubicBezTo>
                    <a:pt x="17021" y="7909"/>
                    <a:pt x="16982" y="7915"/>
                    <a:pt x="16955" y="7922"/>
                  </a:cubicBezTo>
                  <a:cubicBezTo>
                    <a:pt x="16929" y="7928"/>
                    <a:pt x="16900" y="7942"/>
                    <a:pt x="16891" y="7948"/>
                  </a:cubicBezTo>
                  <a:cubicBezTo>
                    <a:pt x="16882" y="7954"/>
                    <a:pt x="16867" y="7955"/>
                    <a:pt x="16857" y="7951"/>
                  </a:cubicBezTo>
                  <a:cubicBezTo>
                    <a:pt x="16847" y="7946"/>
                    <a:pt x="16828" y="7944"/>
                    <a:pt x="16815" y="7944"/>
                  </a:cubicBezTo>
                  <a:cubicBezTo>
                    <a:pt x="16801" y="7945"/>
                    <a:pt x="16782" y="7950"/>
                    <a:pt x="16771" y="7956"/>
                  </a:cubicBezTo>
                  <a:cubicBezTo>
                    <a:pt x="16761" y="7961"/>
                    <a:pt x="16735" y="7959"/>
                    <a:pt x="16716" y="7948"/>
                  </a:cubicBezTo>
                  <a:cubicBezTo>
                    <a:pt x="16696" y="7939"/>
                    <a:pt x="16672" y="7919"/>
                    <a:pt x="16660" y="7906"/>
                  </a:cubicBezTo>
                  <a:cubicBezTo>
                    <a:pt x="16650" y="7892"/>
                    <a:pt x="16629" y="7876"/>
                    <a:pt x="16616" y="7868"/>
                  </a:cubicBezTo>
                  <a:cubicBezTo>
                    <a:pt x="16602" y="7860"/>
                    <a:pt x="16584" y="7845"/>
                    <a:pt x="16575" y="7833"/>
                  </a:cubicBezTo>
                  <a:cubicBezTo>
                    <a:pt x="16567" y="7819"/>
                    <a:pt x="16551" y="7810"/>
                    <a:pt x="16541" y="7810"/>
                  </a:cubicBezTo>
                  <a:cubicBezTo>
                    <a:pt x="16531" y="7810"/>
                    <a:pt x="16511" y="7821"/>
                    <a:pt x="16501" y="7837"/>
                  </a:cubicBezTo>
                  <a:cubicBezTo>
                    <a:pt x="16489" y="7852"/>
                    <a:pt x="16478" y="7880"/>
                    <a:pt x="16477" y="7899"/>
                  </a:cubicBezTo>
                  <a:cubicBezTo>
                    <a:pt x="16473" y="7918"/>
                    <a:pt x="16481" y="7939"/>
                    <a:pt x="16492" y="7944"/>
                  </a:cubicBezTo>
                  <a:cubicBezTo>
                    <a:pt x="16502" y="7950"/>
                    <a:pt x="16513" y="7967"/>
                    <a:pt x="16513" y="7982"/>
                  </a:cubicBezTo>
                  <a:cubicBezTo>
                    <a:pt x="16515" y="7996"/>
                    <a:pt x="16506" y="8018"/>
                    <a:pt x="16495" y="8033"/>
                  </a:cubicBezTo>
                  <a:cubicBezTo>
                    <a:pt x="16483" y="8046"/>
                    <a:pt x="16464" y="8071"/>
                    <a:pt x="16454" y="8089"/>
                  </a:cubicBezTo>
                  <a:cubicBezTo>
                    <a:pt x="16443" y="8107"/>
                    <a:pt x="16431" y="8116"/>
                    <a:pt x="16428" y="8108"/>
                  </a:cubicBezTo>
                  <a:cubicBezTo>
                    <a:pt x="16425" y="8100"/>
                    <a:pt x="16428" y="8074"/>
                    <a:pt x="16438" y="8049"/>
                  </a:cubicBezTo>
                  <a:cubicBezTo>
                    <a:pt x="16448" y="8024"/>
                    <a:pt x="16450" y="7987"/>
                    <a:pt x="16446" y="7967"/>
                  </a:cubicBezTo>
                  <a:cubicBezTo>
                    <a:pt x="16443" y="7947"/>
                    <a:pt x="16424" y="7927"/>
                    <a:pt x="16408" y="7922"/>
                  </a:cubicBezTo>
                  <a:cubicBezTo>
                    <a:pt x="16391" y="7919"/>
                    <a:pt x="16372" y="7895"/>
                    <a:pt x="16362" y="7874"/>
                  </a:cubicBezTo>
                  <a:cubicBezTo>
                    <a:pt x="16356" y="7851"/>
                    <a:pt x="16335" y="7829"/>
                    <a:pt x="16320" y="7824"/>
                  </a:cubicBezTo>
                  <a:cubicBezTo>
                    <a:pt x="16305" y="7817"/>
                    <a:pt x="16287" y="7808"/>
                    <a:pt x="16280" y="7800"/>
                  </a:cubicBezTo>
                  <a:cubicBezTo>
                    <a:pt x="16273" y="7793"/>
                    <a:pt x="16269" y="7780"/>
                    <a:pt x="16273" y="7775"/>
                  </a:cubicBezTo>
                  <a:cubicBezTo>
                    <a:pt x="16276" y="7769"/>
                    <a:pt x="16292" y="7759"/>
                    <a:pt x="16308" y="7751"/>
                  </a:cubicBezTo>
                  <a:cubicBezTo>
                    <a:pt x="16325" y="7744"/>
                    <a:pt x="16359" y="7719"/>
                    <a:pt x="16384" y="7695"/>
                  </a:cubicBezTo>
                  <a:cubicBezTo>
                    <a:pt x="16409" y="7672"/>
                    <a:pt x="16430" y="7643"/>
                    <a:pt x="16432" y="7631"/>
                  </a:cubicBezTo>
                  <a:cubicBezTo>
                    <a:pt x="16433" y="7619"/>
                    <a:pt x="16426" y="7603"/>
                    <a:pt x="16417" y="7595"/>
                  </a:cubicBezTo>
                  <a:cubicBezTo>
                    <a:pt x="16408" y="7587"/>
                    <a:pt x="16388" y="7578"/>
                    <a:pt x="16372" y="7575"/>
                  </a:cubicBezTo>
                  <a:cubicBezTo>
                    <a:pt x="16356" y="7571"/>
                    <a:pt x="16354" y="7565"/>
                    <a:pt x="16368" y="7559"/>
                  </a:cubicBezTo>
                  <a:cubicBezTo>
                    <a:pt x="16382" y="7554"/>
                    <a:pt x="16412" y="7546"/>
                    <a:pt x="16435" y="7546"/>
                  </a:cubicBezTo>
                  <a:cubicBezTo>
                    <a:pt x="16457" y="7543"/>
                    <a:pt x="16490" y="7535"/>
                    <a:pt x="16509" y="7529"/>
                  </a:cubicBezTo>
                  <a:cubicBezTo>
                    <a:pt x="16527" y="7520"/>
                    <a:pt x="16551" y="7502"/>
                    <a:pt x="16563" y="7487"/>
                  </a:cubicBezTo>
                  <a:cubicBezTo>
                    <a:pt x="16574" y="7472"/>
                    <a:pt x="16580" y="7443"/>
                    <a:pt x="16581" y="7421"/>
                  </a:cubicBezTo>
                  <a:cubicBezTo>
                    <a:pt x="16580" y="7400"/>
                    <a:pt x="16572" y="7374"/>
                    <a:pt x="16565" y="7362"/>
                  </a:cubicBezTo>
                  <a:cubicBezTo>
                    <a:pt x="16557" y="7351"/>
                    <a:pt x="16550" y="7335"/>
                    <a:pt x="16552" y="7327"/>
                  </a:cubicBezTo>
                  <a:cubicBezTo>
                    <a:pt x="16554" y="7319"/>
                    <a:pt x="16562" y="7312"/>
                    <a:pt x="16572" y="7311"/>
                  </a:cubicBezTo>
                  <a:cubicBezTo>
                    <a:pt x="16583" y="7311"/>
                    <a:pt x="16604" y="7318"/>
                    <a:pt x="16619" y="7329"/>
                  </a:cubicBezTo>
                  <a:cubicBezTo>
                    <a:pt x="16634" y="7339"/>
                    <a:pt x="16655" y="7358"/>
                    <a:pt x="16664" y="7373"/>
                  </a:cubicBezTo>
                  <a:cubicBezTo>
                    <a:pt x="16673" y="7386"/>
                    <a:pt x="16690" y="7402"/>
                    <a:pt x="16701" y="7407"/>
                  </a:cubicBezTo>
                  <a:cubicBezTo>
                    <a:pt x="16712" y="7413"/>
                    <a:pt x="16738" y="7415"/>
                    <a:pt x="16759" y="7413"/>
                  </a:cubicBezTo>
                  <a:cubicBezTo>
                    <a:pt x="16780" y="7412"/>
                    <a:pt x="16814" y="7401"/>
                    <a:pt x="16836" y="7391"/>
                  </a:cubicBezTo>
                  <a:cubicBezTo>
                    <a:pt x="16857" y="7380"/>
                    <a:pt x="16892" y="7375"/>
                    <a:pt x="16913" y="7375"/>
                  </a:cubicBezTo>
                  <a:cubicBezTo>
                    <a:pt x="16935" y="7376"/>
                    <a:pt x="16971" y="7384"/>
                    <a:pt x="16995" y="7394"/>
                  </a:cubicBezTo>
                  <a:cubicBezTo>
                    <a:pt x="17019" y="7402"/>
                    <a:pt x="17058" y="7415"/>
                    <a:pt x="17084" y="7419"/>
                  </a:cubicBezTo>
                  <a:cubicBezTo>
                    <a:pt x="17109" y="7422"/>
                    <a:pt x="17157" y="7437"/>
                    <a:pt x="17189" y="7452"/>
                  </a:cubicBezTo>
                  <a:cubicBezTo>
                    <a:pt x="17222" y="7467"/>
                    <a:pt x="17249" y="7492"/>
                    <a:pt x="17245" y="7507"/>
                  </a:cubicBezTo>
                  <a:cubicBezTo>
                    <a:pt x="17244" y="7522"/>
                    <a:pt x="17248" y="7547"/>
                    <a:pt x="17258" y="7561"/>
                  </a:cubicBezTo>
                  <a:cubicBezTo>
                    <a:pt x="17266" y="7576"/>
                    <a:pt x="17288" y="7592"/>
                    <a:pt x="17305" y="7600"/>
                  </a:cubicBezTo>
                  <a:cubicBezTo>
                    <a:pt x="17321" y="7606"/>
                    <a:pt x="17339" y="7622"/>
                    <a:pt x="17342" y="7635"/>
                  </a:cubicBezTo>
                  <a:cubicBezTo>
                    <a:pt x="17345" y="7648"/>
                    <a:pt x="17361" y="7660"/>
                    <a:pt x="17376" y="7663"/>
                  </a:cubicBezTo>
                  <a:cubicBezTo>
                    <a:pt x="17391" y="7665"/>
                    <a:pt x="17433" y="7658"/>
                    <a:pt x="17469" y="7643"/>
                  </a:cubicBezTo>
                  <a:cubicBezTo>
                    <a:pt x="17506" y="7629"/>
                    <a:pt x="17560" y="7592"/>
                    <a:pt x="17590" y="7561"/>
                  </a:cubicBezTo>
                  <a:cubicBezTo>
                    <a:pt x="17619" y="7530"/>
                    <a:pt x="17654" y="7491"/>
                    <a:pt x="17666" y="7473"/>
                  </a:cubicBezTo>
                  <a:cubicBezTo>
                    <a:pt x="17678" y="7455"/>
                    <a:pt x="17677" y="7433"/>
                    <a:pt x="17665" y="7421"/>
                  </a:cubicBezTo>
                  <a:cubicBezTo>
                    <a:pt x="17653" y="7409"/>
                    <a:pt x="17641" y="7388"/>
                    <a:pt x="17637" y="7371"/>
                  </a:cubicBezTo>
                  <a:cubicBezTo>
                    <a:pt x="17635" y="7355"/>
                    <a:pt x="17642" y="7332"/>
                    <a:pt x="17653" y="7320"/>
                  </a:cubicBezTo>
                  <a:cubicBezTo>
                    <a:pt x="17664" y="7307"/>
                    <a:pt x="17672" y="7291"/>
                    <a:pt x="17671" y="7284"/>
                  </a:cubicBezTo>
                  <a:cubicBezTo>
                    <a:pt x="17670" y="7276"/>
                    <a:pt x="17645" y="7267"/>
                    <a:pt x="17616" y="7267"/>
                  </a:cubicBezTo>
                  <a:cubicBezTo>
                    <a:pt x="17588" y="7265"/>
                    <a:pt x="17548" y="7273"/>
                    <a:pt x="17526" y="7281"/>
                  </a:cubicBezTo>
                  <a:cubicBezTo>
                    <a:pt x="17504" y="7291"/>
                    <a:pt x="17478" y="7304"/>
                    <a:pt x="17467" y="7312"/>
                  </a:cubicBezTo>
                  <a:cubicBezTo>
                    <a:pt x="17456" y="7320"/>
                    <a:pt x="17420" y="7318"/>
                    <a:pt x="17386" y="7308"/>
                  </a:cubicBezTo>
                  <a:cubicBezTo>
                    <a:pt x="17352" y="7298"/>
                    <a:pt x="17306" y="7276"/>
                    <a:pt x="17285" y="7259"/>
                  </a:cubicBezTo>
                  <a:cubicBezTo>
                    <a:pt x="17263" y="7241"/>
                    <a:pt x="17218" y="7227"/>
                    <a:pt x="17185" y="7223"/>
                  </a:cubicBezTo>
                  <a:cubicBezTo>
                    <a:pt x="17153" y="7221"/>
                    <a:pt x="17113" y="7224"/>
                    <a:pt x="17097" y="7231"/>
                  </a:cubicBezTo>
                  <a:cubicBezTo>
                    <a:pt x="17081" y="7240"/>
                    <a:pt x="17057" y="7238"/>
                    <a:pt x="17044" y="7232"/>
                  </a:cubicBezTo>
                  <a:cubicBezTo>
                    <a:pt x="17032" y="7224"/>
                    <a:pt x="17020" y="7213"/>
                    <a:pt x="17019" y="7204"/>
                  </a:cubicBezTo>
                  <a:cubicBezTo>
                    <a:pt x="17016" y="7197"/>
                    <a:pt x="17028" y="7189"/>
                    <a:pt x="17044" y="7187"/>
                  </a:cubicBezTo>
                  <a:cubicBezTo>
                    <a:pt x="17059" y="7186"/>
                    <a:pt x="17081" y="7173"/>
                    <a:pt x="17094" y="7161"/>
                  </a:cubicBezTo>
                  <a:cubicBezTo>
                    <a:pt x="17106" y="7148"/>
                    <a:pt x="17124" y="7111"/>
                    <a:pt x="17133" y="7076"/>
                  </a:cubicBezTo>
                  <a:cubicBezTo>
                    <a:pt x="17141" y="7041"/>
                    <a:pt x="17155" y="7008"/>
                    <a:pt x="17162" y="7002"/>
                  </a:cubicBezTo>
                  <a:cubicBezTo>
                    <a:pt x="17168" y="6996"/>
                    <a:pt x="17176" y="6980"/>
                    <a:pt x="17179" y="6967"/>
                  </a:cubicBezTo>
                  <a:cubicBezTo>
                    <a:pt x="17183" y="6954"/>
                    <a:pt x="17155" y="6935"/>
                    <a:pt x="17120" y="6926"/>
                  </a:cubicBezTo>
                  <a:cubicBezTo>
                    <a:pt x="17084" y="6917"/>
                    <a:pt x="17042" y="6910"/>
                    <a:pt x="17026" y="6913"/>
                  </a:cubicBezTo>
                  <a:cubicBezTo>
                    <a:pt x="17010" y="6915"/>
                    <a:pt x="16974" y="6935"/>
                    <a:pt x="16947" y="6956"/>
                  </a:cubicBezTo>
                  <a:cubicBezTo>
                    <a:pt x="16919" y="6977"/>
                    <a:pt x="16873" y="7000"/>
                    <a:pt x="16842" y="7006"/>
                  </a:cubicBezTo>
                  <a:cubicBezTo>
                    <a:pt x="16811" y="7010"/>
                    <a:pt x="16763" y="7015"/>
                    <a:pt x="16736" y="7013"/>
                  </a:cubicBezTo>
                  <a:cubicBezTo>
                    <a:pt x="16709" y="7012"/>
                    <a:pt x="16681" y="7000"/>
                    <a:pt x="16673" y="6990"/>
                  </a:cubicBezTo>
                  <a:cubicBezTo>
                    <a:pt x="16666" y="6978"/>
                    <a:pt x="16656" y="6954"/>
                    <a:pt x="16652" y="6935"/>
                  </a:cubicBezTo>
                  <a:cubicBezTo>
                    <a:pt x="16649" y="6915"/>
                    <a:pt x="16637" y="6892"/>
                    <a:pt x="16629" y="6882"/>
                  </a:cubicBezTo>
                  <a:cubicBezTo>
                    <a:pt x="16620" y="6873"/>
                    <a:pt x="16613" y="6855"/>
                    <a:pt x="16614" y="6843"/>
                  </a:cubicBezTo>
                  <a:cubicBezTo>
                    <a:pt x="16615" y="6831"/>
                    <a:pt x="16631" y="6828"/>
                    <a:pt x="16650" y="6836"/>
                  </a:cubicBezTo>
                  <a:cubicBezTo>
                    <a:pt x="16670" y="6845"/>
                    <a:pt x="16689" y="6857"/>
                    <a:pt x="16695" y="6864"/>
                  </a:cubicBezTo>
                  <a:cubicBezTo>
                    <a:pt x="16701" y="6870"/>
                    <a:pt x="16698" y="6882"/>
                    <a:pt x="16692" y="6890"/>
                  </a:cubicBezTo>
                  <a:cubicBezTo>
                    <a:pt x="16685" y="6897"/>
                    <a:pt x="16685" y="6915"/>
                    <a:pt x="16694" y="6926"/>
                  </a:cubicBezTo>
                  <a:cubicBezTo>
                    <a:pt x="16700" y="6939"/>
                    <a:pt x="16725" y="6952"/>
                    <a:pt x="16748" y="6959"/>
                  </a:cubicBezTo>
                  <a:cubicBezTo>
                    <a:pt x="16771" y="6961"/>
                    <a:pt x="16805" y="6966"/>
                    <a:pt x="16825" y="6964"/>
                  </a:cubicBezTo>
                  <a:cubicBezTo>
                    <a:pt x="16844" y="6962"/>
                    <a:pt x="16883" y="6942"/>
                    <a:pt x="16913" y="6924"/>
                  </a:cubicBezTo>
                  <a:cubicBezTo>
                    <a:pt x="16942" y="6905"/>
                    <a:pt x="16981" y="6883"/>
                    <a:pt x="17001" y="6875"/>
                  </a:cubicBezTo>
                  <a:cubicBezTo>
                    <a:pt x="17021" y="6867"/>
                    <a:pt x="17059" y="6860"/>
                    <a:pt x="17087" y="6858"/>
                  </a:cubicBezTo>
                  <a:cubicBezTo>
                    <a:pt x="17113" y="6855"/>
                    <a:pt x="17150" y="6859"/>
                    <a:pt x="17166" y="6867"/>
                  </a:cubicBezTo>
                  <a:cubicBezTo>
                    <a:pt x="17184" y="6872"/>
                    <a:pt x="17208" y="6879"/>
                    <a:pt x="17222" y="6880"/>
                  </a:cubicBezTo>
                  <a:cubicBezTo>
                    <a:pt x="17235" y="6880"/>
                    <a:pt x="17253" y="6873"/>
                    <a:pt x="17262" y="6864"/>
                  </a:cubicBezTo>
                  <a:cubicBezTo>
                    <a:pt x="17271" y="6853"/>
                    <a:pt x="17274" y="6838"/>
                    <a:pt x="17269" y="6827"/>
                  </a:cubicBezTo>
                  <a:cubicBezTo>
                    <a:pt x="17265" y="6816"/>
                    <a:pt x="17216" y="6780"/>
                    <a:pt x="17162" y="6746"/>
                  </a:cubicBezTo>
                  <a:cubicBezTo>
                    <a:pt x="17109" y="6712"/>
                    <a:pt x="17032" y="6669"/>
                    <a:pt x="16992" y="6651"/>
                  </a:cubicBezTo>
                  <a:cubicBezTo>
                    <a:pt x="16951" y="6632"/>
                    <a:pt x="16886" y="6617"/>
                    <a:pt x="16847" y="6621"/>
                  </a:cubicBezTo>
                  <a:cubicBezTo>
                    <a:pt x="16808" y="6621"/>
                    <a:pt x="16740" y="6617"/>
                    <a:pt x="16696" y="6607"/>
                  </a:cubicBezTo>
                  <a:cubicBezTo>
                    <a:pt x="16653" y="6598"/>
                    <a:pt x="16598" y="6578"/>
                    <a:pt x="16576" y="6560"/>
                  </a:cubicBezTo>
                  <a:cubicBezTo>
                    <a:pt x="16553" y="6543"/>
                    <a:pt x="16534" y="6520"/>
                    <a:pt x="16533" y="6508"/>
                  </a:cubicBezTo>
                  <a:cubicBezTo>
                    <a:pt x="16534" y="6497"/>
                    <a:pt x="16535" y="6479"/>
                    <a:pt x="16536" y="6467"/>
                  </a:cubicBezTo>
                  <a:cubicBezTo>
                    <a:pt x="16540" y="6457"/>
                    <a:pt x="16550" y="6455"/>
                    <a:pt x="16561" y="6464"/>
                  </a:cubicBezTo>
                  <a:cubicBezTo>
                    <a:pt x="16573" y="6473"/>
                    <a:pt x="16594" y="6494"/>
                    <a:pt x="16606" y="6511"/>
                  </a:cubicBezTo>
                  <a:cubicBezTo>
                    <a:pt x="16621" y="6527"/>
                    <a:pt x="16646" y="6547"/>
                    <a:pt x="16662" y="6557"/>
                  </a:cubicBezTo>
                  <a:cubicBezTo>
                    <a:pt x="16679" y="6566"/>
                    <a:pt x="16722" y="6572"/>
                    <a:pt x="16758" y="6571"/>
                  </a:cubicBezTo>
                  <a:cubicBezTo>
                    <a:pt x="16794" y="6571"/>
                    <a:pt x="16829" y="6561"/>
                    <a:pt x="16838" y="6555"/>
                  </a:cubicBezTo>
                  <a:cubicBezTo>
                    <a:pt x="16846" y="6546"/>
                    <a:pt x="16853" y="6532"/>
                    <a:pt x="16854" y="6521"/>
                  </a:cubicBezTo>
                  <a:cubicBezTo>
                    <a:pt x="16854" y="6511"/>
                    <a:pt x="16836" y="6488"/>
                    <a:pt x="16811" y="6473"/>
                  </a:cubicBezTo>
                  <a:cubicBezTo>
                    <a:pt x="16787" y="6456"/>
                    <a:pt x="16762" y="6437"/>
                    <a:pt x="16755" y="6430"/>
                  </a:cubicBezTo>
                  <a:cubicBezTo>
                    <a:pt x="16748" y="6424"/>
                    <a:pt x="16745" y="6412"/>
                    <a:pt x="16747" y="6406"/>
                  </a:cubicBezTo>
                  <a:cubicBezTo>
                    <a:pt x="16749" y="6399"/>
                    <a:pt x="16756" y="6394"/>
                    <a:pt x="16761" y="6393"/>
                  </a:cubicBezTo>
                  <a:cubicBezTo>
                    <a:pt x="16767" y="6393"/>
                    <a:pt x="16783" y="6395"/>
                    <a:pt x="16797" y="6401"/>
                  </a:cubicBezTo>
                  <a:cubicBezTo>
                    <a:pt x="16810" y="6407"/>
                    <a:pt x="16850" y="6428"/>
                    <a:pt x="16883" y="6451"/>
                  </a:cubicBezTo>
                  <a:cubicBezTo>
                    <a:pt x="16916" y="6473"/>
                    <a:pt x="16951" y="6505"/>
                    <a:pt x="16960" y="6520"/>
                  </a:cubicBezTo>
                  <a:cubicBezTo>
                    <a:pt x="16970" y="6534"/>
                    <a:pt x="16976" y="6556"/>
                    <a:pt x="16978" y="6566"/>
                  </a:cubicBezTo>
                  <a:cubicBezTo>
                    <a:pt x="16979" y="6577"/>
                    <a:pt x="16998" y="6597"/>
                    <a:pt x="17024" y="6610"/>
                  </a:cubicBezTo>
                  <a:cubicBezTo>
                    <a:pt x="17049" y="6622"/>
                    <a:pt x="17093" y="6644"/>
                    <a:pt x="17121" y="6656"/>
                  </a:cubicBezTo>
                  <a:cubicBezTo>
                    <a:pt x="17148" y="6670"/>
                    <a:pt x="17198" y="6699"/>
                    <a:pt x="17232" y="6723"/>
                  </a:cubicBezTo>
                  <a:cubicBezTo>
                    <a:pt x="17264" y="6747"/>
                    <a:pt x="17306" y="6768"/>
                    <a:pt x="17323" y="6770"/>
                  </a:cubicBezTo>
                  <a:cubicBezTo>
                    <a:pt x="17341" y="6771"/>
                    <a:pt x="17366" y="6769"/>
                    <a:pt x="17378" y="6764"/>
                  </a:cubicBezTo>
                  <a:cubicBezTo>
                    <a:pt x="17390" y="6758"/>
                    <a:pt x="17414" y="6755"/>
                    <a:pt x="17430" y="6758"/>
                  </a:cubicBezTo>
                  <a:cubicBezTo>
                    <a:pt x="17446" y="6757"/>
                    <a:pt x="17464" y="6769"/>
                    <a:pt x="17470" y="6778"/>
                  </a:cubicBezTo>
                  <a:cubicBezTo>
                    <a:pt x="17476" y="6787"/>
                    <a:pt x="17464" y="6800"/>
                    <a:pt x="17446" y="6814"/>
                  </a:cubicBezTo>
                  <a:cubicBezTo>
                    <a:pt x="17427" y="6826"/>
                    <a:pt x="17419" y="6849"/>
                    <a:pt x="17431" y="6863"/>
                  </a:cubicBezTo>
                  <a:cubicBezTo>
                    <a:pt x="17442" y="6879"/>
                    <a:pt x="17463" y="6899"/>
                    <a:pt x="17477" y="6905"/>
                  </a:cubicBezTo>
                  <a:cubicBezTo>
                    <a:pt x="17491" y="6914"/>
                    <a:pt x="17517" y="6918"/>
                    <a:pt x="17533" y="6915"/>
                  </a:cubicBezTo>
                  <a:cubicBezTo>
                    <a:pt x="17549" y="6913"/>
                    <a:pt x="17577" y="6900"/>
                    <a:pt x="17596" y="6888"/>
                  </a:cubicBezTo>
                  <a:cubicBezTo>
                    <a:pt x="17614" y="6875"/>
                    <a:pt x="17644" y="6837"/>
                    <a:pt x="17663" y="6804"/>
                  </a:cubicBezTo>
                  <a:cubicBezTo>
                    <a:pt x="17682" y="6771"/>
                    <a:pt x="17706" y="6736"/>
                    <a:pt x="17715" y="6724"/>
                  </a:cubicBezTo>
                  <a:cubicBezTo>
                    <a:pt x="17724" y="6712"/>
                    <a:pt x="17738" y="6695"/>
                    <a:pt x="17742" y="6683"/>
                  </a:cubicBezTo>
                  <a:cubicBezTo>
                    <a:pt x="17747" y="6672"/>
                    <a:pt x="17746" y="6649"/>
                    <a:pt x="17743" y="6632"/>
                  </a:cubicBezTo>
                  <a:cubicBezTo>
                    <a:pt x="17738" y="6615"/>
                    <a:pt x="17737" y="6594"/>
                    <a:pt x="17741" y="6585"/>
                  </a:cubicBezTo>
                  <a:cubicBezTo>
                    <a:pt x="17747" y="6578"/>
                    <a:pt x="17747" y="6551"/>
                    <a:pt x="17747" y="6528"/>
                  </a:cubicBezTo>
                  <a:cubicBezTo>
                    <a:pt x="17747" y="6505"/>
                    <a:pt x="17737" y="6475"/>
                    <a:pt x="17726" y="6461"/>
                  </a:cubicBezTo>
                  <a:cubicBezTo>
                    <a:pt x="17715" y="6448"/>
                    <a:pt x="17709" y="6428"/>
                    <a:pt x="17712" y="6417"/>
                  </a:cubicBezTo>
                  <a:cubicBezTo>
                    <a:pt x="17714" y="6407"/>
                    <a:pt x="17719" y="6393"/>
                    <a:pt x="17724" y="6387"/>
                  </a:cubicBezTo>
                  <a:cubicBezTo>
                    <a:pt x="17729" y="6381"/>
                    <a:pt x="17739" y="6379"/>
                    <a:pt x="17750" y="6382"/>
                  </a:cubicBezTo>
                  <a:cubicBezTo>
                    <a:pt x="17760" y="6387"/>
                    <a:pt x="17784" y="6390"/>
                    <a:pt x="17802" y="6393"/>
                  </a:cubicBezTo>
                  <a:cubicBezTo>
                    <a:pt x="17820" y="6394"/>
                    <a:pt x="17841" y="6396"/>
                    <a:pt x="17848" y="6395"/>
                  </a:cubicBezTo>
                  <a:cubicBezTo>
                    <a:pt x="17856" y="6395"/>
                    <a:pt x="17859" y="6386"/>
                    <a:pt x="17854" y="6378"/>
                  </a:cubicBezTo>
                  <a:cubicBezTo>
                    <a:pt x="17848" y="6371"/>
                    <a:pt x="17827" y="6354"/>
                    <a:pt x="17806" y="6338"/>
                  </a:cubicBezTo>
                  <a:cubicBezTo>
                    <a:pt x="17783" y="6325"/>
                    <a:pt x="17753" y="6302"/>
                    <a:pt x="17738" y="6286"/>
                  </a:cubicBezTo>
                  <a:cubicBezTo>
                    <a:pt x="17725" y="6269"/>
                    <a:pt x="17698" y="6249"/>
                    <a:pt x="17683" y="6240"/>
                  </a:cubicBezTo>
                  <a:cubicBezTo>
                    <a:pt x="17668" y="6229"/>
                    <a:pt x="17638" y="6215"/>
                    <a:pt x="17617" y="6215"/>
                  </a:cubicBezTo>
                  <a:cubicBezTo>
                    <a:pt x="17596" y="6210"/>
                    <a:pt x="17564" y="6210"/>
                    <a:pt x="17545" y="6211"/>
                  </a:cubicBezTo>
                  <a:cubicBezTo>
                    <a:pt x="17527" y="6212"/>
                    <a:pt x="17500" y="6202"/>
                    <a:pt x="17484" y="6194"/>
                  </a:cubicBezTo>
                  <a:cubicBezTo>
                    <a:pt x="17469" y="6182"/>
                    <a:pt x="17439" y="6169"/>
                    <a:pt x="17419" y="6164"/>
                  </a:cubicBezTo>
                  <a:cubicBezTo>
                    <a:pt x="17399" y="6156"/>
                    <a:pt x="17343" y="6155"/>
                    <a:pt x="17294" y="6157"/>
                  </a:cubicBezTo>
                  <a:cubicBezTo>
                    <a:pt x="17245" y="6160"/>
                    <a:pt x="17186" y="6166"/>
                    <a:pt x="17163" y="6171"/>
                  </a:cubicBezTo>
                  <a:cubicBezTo>
                    <a:pt x="17141" y="6175"/>
                    <a:pt x="17108" y="6180"/>
                    <a:pt x="17090" y="6182"/>
                  </a:cubicBezTo>
                  <a:cubicBezTo>
                    <a:pt x="17072" y="6182"/>
                    <a:pt x="17052" y="6179"/>
                    <a:pt x="17048" y="6171"/>
                  </a:cubicBezTo>
                  <a:cubicBezTo>
                    <a:pt x="17041" y="6166"/>
                    <a:pt x="17033" y="6155"/>
                    <a:pt x="17027" y="6152"/>
                  </a:cubicBezTo>
                  <a:cubicBezTo>
                    <a:pt x="17021" y="6148"/>
                    <a:pt x="17022" y="6138"/>
                    <a:pt x="17027" y="6128"/>
                  </a:cubicBezTo>
                  <a:cubicBezTo>
                    <a:pt x="17033" y="6120"/>
                    <a:pt x="17042" y="6117"/>
                    <a:pt x="17047" y="6124"/>
                  </a:cubicBezTo>
                  <a:cubicBezTo>
                    <a:pt x="17053" y="6130"/>
                    <a:pt x="17071" y="6137"/>
                    <a:pt x="17086" y="6139"/>
                  </a:cubicBezTo>
                  <a:cubicBezTo>
                    <a:pt x="17102" y="6141"/>
                    <a:pt x="17143" y="6138"/>
                    <a:pt x="17176" y="6131"/>
                  </a:cubicBezTo>
                  <a:cubicBezTo>
                    <a:pt x="17209" y="6125"/>
                    <a:pt x="17269" y="6115"/>
                    <a:pt x="17310" y="6109"/>
                  </a:cubicBezTo>
                  <a:cubicBezTo>
                    <a:pt x="17350" y="6102"/>
                    <a:pt x="17395" y="6103"/>
                    <a:pt x="17408" y="6111"/>
                  </a:cubicBezTo>
                  <a:cubicBezTo>
                    <a:pt x="17423" y="6117"/>
                    <a:pt x="17448" y="6122"/>
                    <a:pt x="17464" y="6116"/>
                  </a:cubicBezTo>
                  <a:cubicBezTo>
                    <a:pt x="17482" y="6111"/>
                    <a:pt x="17512" y="6101"/>
                    <a:pt x="17532" y="6094"/>
                  </a:cubicBezTo>
                  <a:cubicBezTo>
                    <a:pt x="17552" y="6086"/>
                    <a:pt x="17584" y="6084"/>
                    <a:pt x="17604" y="6087"/>
                  </a:cubicBezTo>
                  <a:cubicBezTo>
                    <a:pt x="17624" y="6091"/>
                    <a:pt x="17650" y="6098"/>
                    <a:pt x="17662" y="6102"/>
                  </a:cubicBezTo>
                  <a:cubicBezTo>
                    <a:pt x="17675" y="6106"/>
                    <a:pt x="17699" y="6106"/>
                    <a:pt x="17716" y="6099"/>
                  </a:cubicBezTo>
                  <a:cubicBezTo>
                    <a:pt x="17734" y="6092"/>
                    <a:pt x="17753" y="6081"/>
                    <a:pt x="17759" y="6075"/>
                  </a:cubicBezTo>
                  <a:cubicBezTo>
                    <a:pt x="17766" y="6068"/>
                    <a:pt x="17769" y="6055"/>
                    <a:pt x="17767" y="6045"/>
                  </a:cubicBezTo>
                  <a:cubicBezTo>
                    <a:pt x="17762" y="6036"/>
                    <a:pt x="17760" y="6012"/>
                    <a:pt x="17763" y="5994"/>
                  </a:cubicBezTo>
                  <a:cubicBezTo>
                    <a:pt x="17764" y="5976"/>
                    <a:pt x="17764" y="5953"/>
                    <a:pt x="17764" y="5943"/>
                  </a:cubicBezTo>
                  <a:cubicBezTo>
                    <a:pt x="17762" y="5933"/>
                    <a:pt x="17754" y="5921"/>
                    <a:pt x="17743" y="5919"/>
                  </a:cubicBezTo>
                  <a:cubicBezTo>
                    <a:pt x="17733" y="5916"/>
                    <a:pt x="17713" y="5920"/>
                    <a:pt x="17700" y="5926"/>
                  </a:cubicBezTo>
                  <a:cubicBezTo>
                    <a:pt x="17686" y="5933"/>
                    <a:pt x="17661" y="5942"/>
                    <a:pt x="17644" y="5947"/>
                  </a:cubicBezTo>
                  <a:cubicBezTo>
                    <a:pt x="17626" y="5952"/>
                    <a:pt x="17594" y="5953"/>
                    <a:pt x="17571" y="5951"/>
                  </a:cubicBezTo>
                  <a:cubicBezTo>
                    <a:pt x="17548" y="5948"/>
                    <a:pt x="17503" y="5947"/>
                    <a:pt x="17470" y="5948"/>
                  </a:cubicBezTo>
                  <a:cubicBezTo>
                    <a:pt x="17438" y="5949"/>
                    <a:pt x="17401" y="5942"/>
                    <a:pt x="17388" y="5937"/>
                  </a:cubicBezTo>
                  <a:cubicBezTo>
                    <a:pt x="17376" y="5930"/>
                    <a:pt x="17344" y="5922"/>
                    <a:pt x="17318" y="5919"/>
                  </a:cubicBezTo>
                  <a:cubicBezTo>
                    <a:pt x="17292" y="5916"/>
                    <a:pt x="17246" y="5917"/>
                    <a:pt x="17215" y="5922"/>
                  </a:cubicBezTo>
                  <a:cubicBezTo>
                    <a:pt x="17184" y="5928"/>
                    <a:pt x="17151" y="5939"/>
                    <a:pt x="17140" y="5948"/>
                  </a:cubicBezTo>
                  <a:cubicBezTo>
                    <a:pt x="17130" y="5957"/>
                    <a:pt x="17115" y="5965"/>
                    <a:pt x="17107" y="5962"/>
                  </a:cubicBezTo>
                  <a:cubicBezTo>
                    <a:pt x="17099" y="5961"/>
                    <a:pt x="17094" y="5946"/>
                    <a:pt x="17093" y="5930"/>
                  </a:cubicBezTo>
                  <a:cubicBezTo>
                    <a:pt x="17093" y="5913"/>
                    <a:pt x="17096" y="5889"/>
                    <a:pt x="17100" y="5877"/>
                  </a:cubicBezTo>
                  <a:cubicBezTo>
                    <a:pt x="17103" y="5865"/>
                    <a:pt x="17103" y="5850"/>
                    <a:pt x="17099" y="5844"/>
                  </a:cubicBezTo>
                  <a:cubicBezTo>
                    <a:pt x="17094" y="5839"/>
                    <a:pt x="17060" y="5836"/>
                    <a:pt x="17021" y="5839"/>
                  </a:cubicBezTo>
                  <a:cubicBezTo>
                    <a:pt x="16983" y="5844"/>
                    <a:pt x="16937" y="5847"/>
                    <a:pt x="16918" y="5848"/>
                  </a:cubicBezTo>
                  <a:cubicBezTo>
                    <a:pt x="16900" y="5848"/>
                    <a:pt x="16871" y="5844"/>
                    <a:pt x="16854" y="5837"/>
                  </a:cubicBezTo>
                  <a:cubicBezTo>
                    <a:pt x="16838" y="5829"/>
                    <a:pt x="16829" y="5815"/>
                    <a:pt x="16839" y="5808"/>
                  </a:cubicBezTo>
                  <a:cubicBezTo>
                    <a:pt x="16847" y="5797"/>
                    <a:pt x="16867" y="5789"/>
                    <a:pt x="16884" y="5789"/>
                  </a:cubicBezTo>
                  <a:cubicBezTo>
                    <a:pt x="16900" y="5789"/>
                    <a:pt x="16936" y="5791"/>
                    <a:pt x="16965" y="5795"/>
                  </a:cubicBezTo>
                  <a:cubicBezTo>
                    <a:pt x="16994" y="5800"/>
                    <a:pt x="17027" y="5800"/>
                    <a:pt x="17038" y="5795"/>
                  </a:cubicBezTo>
                  <a:cubicBezTo>
                    <a:pt x="17050" y="5790"/>
                    <a:pt x="17060" y="5779"/>
                    <a:pt x="17058" y="5768"/>
                  </a:cubicBezTo>
                  <a:cubicBezTo>
                    <a:pt x="17057" y="5758"/>
                    <a:pt x="17051" y="5747"/>
                    <a:pt x="17043" y="5741"/>
                  </a:cubicBezTo>
                  <a:cubicBezTo>
                    <a:pt x="17035" y="5734"/>
                    <a:pt x="17037" y="5725"/>
                    <a:pt x="17048" y="5715"/>
                  </a:cubicBezTo>
                  <a:cubicBezTo>
                    <a:pt x="17060" y="5706"/>
                    <a:pt x="17066" y="5690"/>
                    <a:pt x="17063" y="5679"/>
                  </a:cubicBezTo>
                  <a:cubicBezTo>
                    <a:pt x="17060" y="5669"/>
                    <a:pt x="17053" y="5654"/>
                    <a:pt x="17045" y="5647"/>
                  </a:cubicBezTo>
                  <a:cubicBezTo>
                    <a:pt x="17039" y="5639"/>
                    <a:pt x="17042" y="5626"/>
                    <a:pt x="17053" y="5618"/>
                  </a:cubicBezTo>
                  <a:cubicBezTo>
                    <a:pt x="17063" y="5608"/>
                    <a:pt x="17070" y="5592"/>
                    <a:pt x="17064" y="5582"/>
                  </a:cubicBezTo>
                  <a:cubicBezTo>
                    <a:pt x="17060" y="5571"/>
                    <a:pt x="17054" y="5553"/>
                    <a:pt x="17052" y="5540"/>
                  </a:cubicBezTo>
                  <a:cubicBezTo>
                    <a:pt x="17054" y="5528"/>
                    <a:pt x="17064" y="5513"/>
                    <a:pt x="17080" y="5508"/>
                  </a:cubicBezTo>
                  <a:cubicBezTo>
                    <a:pt x="17097" y="5503"/>
                    <a:pt x="17115" y="5502"/>
                    <a:pt x="17121" y="5506"/>
                  </a:cubicBezTo>
                  <a:cubicBezTo>
                    <a:pt x="17127" y="5511"/>
                    <a:pt x="17131" y="5524"/>
                    <a:pt x="17128" y="5535"/>
                  </a:cubicBezTo>
                  <a:cubicBezTo>
                    <a:pt x="17126" y="5547"/>
                    <a:pt x="17132" y="5564"/>
                    <a:pt x="17142" y="5572"/>
                  </a:cubicBezTo>
                  <a:cubicBezTo>
                    <a:pt x="17152" y="5582"/>
                    <a:pt x="17173" y="5589"/>
                    <a:pt x="17190" y="5591"/>
                  </a:cubicBezTo>
                  <a:cubicBezTo>
                    <a:pt x="17206" y="5591"/>
                    <a:pt x="17239" y="5582"/>
                    <a:pt x="17263" y="5570"/>
                  </a:cubicBezTo>
                  <a:cubicBezTo>
                    <a:pt x="17288" y="5560"/>
                    <a:pt x="17337" y="5529"/>
                    <a:pt x="17375" y="5508"/>
                  </a:cubicBezTo>
                  <a:cubicBezTo>
                    <a:pt x="17412" y="5485"/>
                    <a:pt x="17460" y="5464"/>
                    <a:pt x="17481" y="5460"/>
                  </a:cubicBezTo>
                  <a:cubicBezTo>
                    <a:pt x="17502" y="5456"/>
                    <a:pt x="17519" y="5446"/>
                    <a:pt x="17522" y="5442"/>
                  </a:cubicBezTo>
                  <a:cubicBezTo>
                    <a:pt x="17525" y="5437"/>
                    <a:pt x="17520" y="5428"/>
                    <a:pt x="17513" y="5423"/>
                  </a:cubicBezTo>
                  <a:cubicBezTo>
                    <a:pt x="17505" y="5419"/>
                    <a:pt x="17479" y="5411"/>
                    <a:pt x="17453" y="5409"/>
                  </a:cubicBezTo>
                  <a:cubicBezTo>
                    <a:pt x="17428" y="5405"/>
                    <a:pt x="17391" y="5404"/>
                    <a:pt x="17371" y="5406"/>
                  </a:cubicBezTo>
                  <a:cubicBezTo>
                    <a:pt x="17351" y="5406"/>
                    <a:pt x="17329" y="5405"/>
                    <a:pt x="17323" y="5401"/>
                  </a:cubicBezTo>
                  <a:cubicBezTo>
                    <a:pt x="17318" y="5395"/>
                    <a:pt x="17328" y="5389"/>
                    <a:pt x="17348" y="5383"/>
                  </a:cubicBezTo>
                  <a:cubicBezTo>
                    <a:pt x="17367" y="5378"/>
                    <a:pt x="17406" y="5372"/>
                    <a:pt x="17434" y="5372"/>
                  </a:cubicBezTo>
                  <a:cubicBezTo>
                    <a:pt x="17462" y="5373"/>
                    <a:pt x="17494" y="5375"/>
                    <a:pt x="17505" y="5377"/>
                  </a:cubicBezTo>
                  <a:cubicBezTo>
                    <a:pt x="17517" y="5381"/>
                    <a:pt x="17538" y="5384"/>
                    <a:pt x="17553" y="5383"/>
                  </a:cubicBezTo>
                  <a:cubicBezTo>
                    <a:pt x="17568" y="5383"/>
                    <a:pt x="17578" y="5375"/>
                    <a:pt x="17578" y="5366"/>
                  </a:cubicBezTo>
                  <a:cubicBezTo>
                    <a:pt x="17577" y="5357"/>
                    <a:pt x="17571" y="5344"/>
                    <a:pt x="17563" y="5340"/>
                  </a:cubicBezTo>
                  <a:cubicBezTo>
                    <a:pt x="17555" y="5336"/>
                    <a:pt x="17568" y="5325"/>
                    <a:pt x="17590" y="5319"/>
                  </a:cubicBezTo>
                  <a:cubicBezTo>
                    <a:pt x="17612" y="5311"/>
                    <a:pt x="17652" y="5306"/>
                    <a:pt x="17680" y="5306"/>
                  </a:cubicBezTo>
                  <a:cubicBezTo>
                    <a:pt x="17707" y="5306"/>
                    <a:pt x="17744" y="5316"/>
                    <a:pt x="17763" y="5327"/>
                  </a:cubicBezTo>
                  <a:cubicBezTo>
                    <a:pt x="17780" y="5339"/>
                    <a:pt x="17808" y="5348"/>
                    <a:pt x="17821" y="5353"/>
                  </a:cubicBezTo>
                  <a:cubicBezTo>
                    <a:pt x="17835" y="5355"/>
                    <a:pt x="17856" y="5352"/>
                    <a:pt x="17867" y="5349"/>
                  </a:cubicBezTo>
                  <a:cubicBezTo>
                    <a:pt x="17879" y="5343"/>
                    <a:pt x="17899" y="5340"/>
                    <a:pt x="17913" y="5343"/>
                  </a:cubicBezTo>
                  <a:cubicBezTo>
                    <a:pt x="17927" y="5343"/>
                    <a:pt x="17950" y="5355"/>
                    <a:pt x="17965" y="5365"/>
                  </a:cubicBezTo>
                  <a:cubicBezTo>
                    <a:pt x="17981" y="5375"/>
                    <a:pt x="17990" y="5396"/>
                    <a:pt x="17982" y="5407"/>
                  </a:cubicBezTo>
                  <a:cubicBezTo>
                    <a:pt x="17976" y="5419"/>
                    <a:pt x="17975" y="5436"/>
                    <a:pt x="17981" y="5443"/>
                  </a:cubicBezTo>
                  <a:cubicBezTo>
                    <a:pt x="17986" y="5450"/>
                    <a:pt x="18009" y="5456"/>
                    <a:pt x="18032" y="5460"/>
                  </a:cubicBezTo>
                  <a:cubicBezTo>
                    <a:pt x="18056" y="5461"/>
                    <a:pt x="18083" y="5461"/>
                    <a:pt x="18093" y="5458"/>
                  </a:cubicBezTo>
                  <a:cubicBezTo>
                    <a:pt x="18102" y="5455"/>
                    <a:pt x="18121" y="5456"/>
                    <a:pt x="18135" y="5457"/>
                  </a:cubicBezTo>
                  <a:cubicBezTo>
                    <a:pt x="18148" y="5460"/>
                    <a:pt x="18172" y="5469"/>
                    <a:pt x="18184" y="5481"/>
                  </a:cubicBezTo>
                  <a:cubicBezTo>
                    <a:pt x="18198" y="5491"/>
                    <a:pt x="18234" y="5506"/>
                    <a:pt x="18265" y="5511"/>
                  </a:cubicBezTo>
                  <a:cubicBezTo>
                    <a:pt x="18297" y="5515"/>
                    <a:pt x="18333" y="5531"/>
                    <a:pt x="18347" y="5544"/>
                  </a:cubicBezTo>
                  <a:cubicBezTo>
                    <a:pt x="18360" y="5558"/>
                    <a:pt x="18379" y="5573"/>
                    <a:pt x="18389" y="5575"/>
                  </a:cubicBezTo>
                  <a:cubicBezTo>
                    <a:pt x="18399" y="5579"/>
                    <a:pt x="18411" y="5574"/>
                    <a:pt x="18418" y="5567"/>
                  </a:cubicBezTo>
                  <a:cubicBezTo>
                    <a:pt x="18425" y="5558"/>
                    <a:pt x="18433" y="5538"/>
                    <a:pt x="18439" y="5523"/>
                  </a:cubicBezTo>
                  <a:cubicBezTo>
                    <a:pt x="18443" y="5507"/>
                    <a:pt x="18461" y="5485"/>
                    <a:pt x="18476" y="5472"/>
                  </a:cubicBezTo>
                  <a:cubicBezTo>
                    <a:pt x="18492" y="5462"/>
                    <a:pt x="18513" y="5430"/>
                    <a:pt x="18527" y="5406"/>
                  </a:cubicBezTo>
                  <a:cubicBezTo>
                    <a:pt x="18539" y="5381"/>
                    <a:pt x="18549" y="5354"/>
                    <a:pt x="18546" y="5346"/>
                  </a:cubicBezTo>
                  <a:cubicBezTo>
                    <a:pt x="18542" y="5337"/>
                    <a:pt x="18548" y="5312"/>
                    <a:pt x="18557" y="5291"/>
                  </a:cubicBezTo>
                  <a:cubicBezTo>
                    <a:pt x="18567" y="5270"/>
                    <a:pt x="18578" y="5232"/>
                    <a:pt x="18583" y="5208"/>
                  </a:cubicBezTo>
                  <a:cubicBezTo>
                    <a:pt x="18589" y="5184"/>
                    <a:pt x="18601" y="5159"/>
                    <a:pt x="18611" y="5151"/>
                  </a:cubicBezTo>
                  <a:cubicBezTo>
                    <a:pt x="18621" y="5145"/>
                    <a:pt x="18630" y="5128"/>
                    <a:pt x="18633" y="5115"/>
                  </a:cubicBezTo>
                  <a:cubicBezTo>
                    <a:pt x="18635" y="5103"/>
                    <a:pt x="18633" y="5080"/>
                    <a:pt x="18625" y="5067"/>
                  </a:cubicBezTo>
                  <a:cubicBezTo>
                    <a:pt x="18620" y="5053"/>
                    <a:pt x="18593" y="5038"/>
                    <a:pt x="18570" y="5033"/>
                  </a:cubicBezTo>
                  <a:cubicBezTo>
                    <a:pt x="18547" y="5028"/>
                    <a:pt x="18515" y="5017"/>
                    <a:pt x="18498" y="5009"/>
                  </a:cubicBezTo>
                  <a:cubicBezTo>
                    <a:pt x="18482" y="5000"/>
                    <a:pt x="18459" y="4995"/>
                    <a:pt x="18447" y="4996"/>
                  </a:cubicBezTo>
                  <a:cubicBezTo>
                    <a:pt x="18436" y="4996"/>
                    <a:pt x="18419" y="4993"/>
                    <a:pt x="18412" y="4985"/>
                  </a:cubicBezTo>
                  <a:cubicBezTo>
                    <a:pt x="18405" y="4977"/>
                    <a:pt x="18396" y="4966"/>
                    <a:pt x="18395" y="4959"/>
                  </a:cubicBezTo>
                  <a:cubicBezTo>
                    <a:pt x="18393" y="4952"/>
                    <a:pt x="18383" y="4950"/>
                    <a:pt x="18372" y="4953"/>
                  </a:cubicBezTo>
                  <a:cubicBezTo>
                    <a:pt x="18360" y="4957"/>
                    <a:pt x="18341" y="4969"/>
                    <a:pt x="18328" y="4981"/>
                  </a:cubicBezTo>
                  <a:cubicBezTo>
                    <a:pt x="18315" y="4993"/>
                    <a:pt x="18282" y="5019"/>
                    <a:pt x="18254" y="5036"/>
                  </a:cubicBezTo>
                  <a:cubicBezTo>
                    <a:pt x="18225" y="5054"/>
                    <a:pt x="18188" y="5072"/>
                    <a:pt x="18170" y="5078"/>
                  </a:cubicBezTo>
                  <a:cubicBezTo>
                    <a:pt x="18152" y="5084"/>
                    <a:pt x="18129" y="5083"/>
                    <a:pt x="18119" y="5077"/>
                  </a:cubicBezTo>
                  <a:cubicBezTo>
                    <a:pt x="18108" y="5072"/>
                    <a:pt x="18103" y="5061"/>
                    <a:pt x="18107" y="5054"/>
                  </a:cubicBezTo>
                  <a:cubicBezTo>
                    <a:pt x="18113" y="5049"/>
                    <a:pt x="18118" y="5032"/>
                    <a:pt x="18118" y="5019"/>
                  </a:cubicBezTo>
                  <a:cubicBezTo>
                    <a:pt x="18119" y="5006"/>
                    <a:pt x="18113" y="4989"/>
                    <a:pt x="18104" y="4983"/>
                  </a:cubicBezTo>
                  <a:cubicBezTo>
                    <a:pt x="18094" y="4976"/>
                    <a:pt x="18064" y="4967"/>
                    <a:pt x="18038" y="4963"/>
                  </a:cubicBezTo>
                  <a:cubicBezTo>
                    <a:pt x="18011" y="4960"/>
                    <a:pt x="17973" y="4956"/>
                    <a:pt x="17956" y="4960"/>
                  </a:cubicBezTo>
                  <a:cubicBezTo>
                    <a:pt x="17937" y="4962"/>
                    <a:pt x="17914" y="4960"/>
                    <a:pt x="17905" y="4954"/>
                  </a:cubicBezTo>
                  <a:cubicBezTo>
                    <a:pt x="17896" y="4949"/>
                    <a:pt x="17898" y="4941"/>
                    <a:pt x="17909" y="4937"/>
                  </a:cubicBezTo>
                  <a:cubicBezTo>
                    <a:pt x="17920" y="4933"/>
                    <a:pt x="17930" y="4924"/>
                    <a:pt x="17933" y="4919"/>
                  </a:cubicBezTo>
                  <a:cubicBezTo>
                    <a:pt x="17935" y="4913"/>
                    <a:pt x="17921" y="4902"/>
                    <a:pt x="17902" y="4896"/>
                  </a:cubicBezTo>
                  <a:cubicBezTo>
                    <a:pt x="17883" y="4889"/>
                    <a:pt x="17860" y="4880"/>
                    <a:pt x="17853" y="4872"/>
                  </a:cubicBezTo>
                  <a:cubicBezTo>
                    <a:pt x="17845" y="4866"/>
                    <a:pt x="17845" y="4855"/>
                    <a:pt x="17853" y="4850"/>
                  </a:cubicBezTo>
                  <a:cubicBezTo>
                    <a:pt x="17861" y="4844"/>
                    <a:pt x="17872" y="4841"/>
                    <a:pt x="17879" y="4843"/>
                  </a:cubicBezTo>
                  <a:cubicBezTo>
                    <a:pt x="17886" y="4845"/>
                    <a:pt x="17909" y="4846"/>
                    <a:pt x="17929" y="4850"/>
                  </a:cubicBezTo>
                  <a:cubicBezTo>
                    <a:pt x="17950" y="4851"/>
                    <a:pt x="17968" y="4846"/>
                    <a:pt x="17968" y="4838"/>
                  </a:cubicBezTo>
                  <a:cubicBezTo>
                    <a:pt x="17969" y="4830"/>
                    <a:pt x="17959" y="4814"/>
                    <a:pt x="17947" y="4804"/>
                  </a:cubicBezTo>
                  <a:cubicBezTo>
                    <a:pt x="17935" y="4793"/>
                    <a:pt x="17919" y="4776"/>
                    <a:pt x="17914" y="4764"/>
                  </a:cubicBezTo>
                  <a:cubicBezTo>
                    <a:pt x="17908" y="4754"/>
                    <a:pt x="17909" y="4739"/>
                    <a:pt x="17914" y="4732"/>
                  </a:cubicBezTo>
                  <a:cubicBezTo>
                    <a:pt x="17920" y="4725"/>
                    <a:pt x="17933" y="4714"/>
                    <a:pt x="17945" y="4708"/>
                  </a:cubicBezTo>
                  <a:cubicBezTo>
                    <a:pt x="17957" y="4704"/>
                    <a:pt x="17973" y="4703"/>
                    <a:pt x="17983" y="4706"/>
                  </a:cubicBezTo>
                  <a:cubicBezTo>
                    <a:pt x="17992" y="4711"/>
                    <a:pt x="18012" y="4716"/>
                    <a:pt x="18028" y="4719"/>
                  </a:cubicBezTo>
                  <a:cubicBezTo>
                    <a:pt x="18044" y="4723"/>
                    <a:pt x="18061" y="4731"/>
                    <a:pt x="18063" y="4740"/>
                  </a:cubicBezTo>
                  <a:cubicBezTo>
                    <a:pt x="18067" y="4749"/>
                    <a:pt x="18093" y="4772"/>
                    <a:pt x="18124" y="4788"/>
                  </a:cubicBezTo>
                  <a:cubicBezTo>
                    <a:pt x="18154" y="4806"/>
                    <a:pt x="18197" y="4827"/>
                    <a:pt x="18218" y="4834"/>
                  </a:cubicBezTo>
                  <a:cubicBezTo>
                    <a:pt x="18240" y="4841"/>
                    <a:pt x="18272" y="4844"/>
                    <a:pt x="18290" y="4842"/>
                  </a:cubicBezTo>
                  <a:cubicBezTo>
                    <a:pt x="18308" y="4839"/>
                    <a:pt x="18331" y="4828"/>
                    <a:pt x="18342" y="4818"/>
                  </a:cubicBezTo>
                  <a:cubicBezTo>
                    <a:pt x="18352" y="4808"/>
                    <a:pt x="18353" y="4783"/>
                    <a:pt x="18340" y="4763"/>
                  </a:cubicBezTo>
                  <a:cubicBezTo>
                    <a:pt x="18328" y="4742"/>
                    <a:pt x="18294" y="4713"/>
                    <a:pt x="18265" y="4698"/>
                  </a:cubicBezTo>
                  <a:cubicBezTo>
                    <a:pt x="18237" y="4683"/>
                    <a:pt x="18194" y="4667"/>
                    <a:pt x="18170" y="4662"/>
                  </a:cubicBezTo>
                  <a:cubicBezTo>
                    <a:pt x="18147" y="4656"/>
                    <a:pt x="18106" y="4645"/>
                    <a:pt x="18079" y="4644"/>
                  </a:cubicBezTo>
                  <a:cubicBezTo>
                    <a:pt x="18053" y="4637"/>
                    <a:pt x="18024" y="4621"/>
                    <a:pt x="18017" y="4601"/>
                  </a:cubicBezTo>
                  <a:cubicBezTo>
                    <a:pt x="18011" y="4582"/>
                    <a:pt x="17994" y="4557"/>
                    <a:pt x="17979" y="4548"/>
                  </a:cubicBezTo>
                  <a:cubicBezTo>
                    <a:pt x="17966" y="4538"/>
                    <a:pt x="17941" y="4523"/>
                    <a:pt x="17927" y="4511"/>
                  </a:cubicBezTo>
                  <a:cubicBezTo>
                    <a:pt x="17912" y="4500"/>
                    <a:pt x="17884" y="4488"/>
                    <a:pt x="17865" y="4484"/>
                  </a:cubicBezTo>
                  <a:cubicBezTo>
                    <a:pt x="17846" y="4480"/>
                    <a:pt x="17817" y="4470"/>
                    <a:pt x="17801" y="4461"/>
                  </a:cubicBezTo>
                  <a:cubicBezTo>
                    <a:pt x="17784" y="4452"/>
                    <a:pt x="17771" y="4438"/>
                    <a:pt x="17771" y="4429"/>
                  </a:cubicBezTo>
                  <a:cubicBezTo>
                    <a:pt x="17772" y="4420"/>
                    <a:pt x="17782" y="4407"/>
                    <a:pt x="17795" y="4401"/>
                  </a:cubicBezTo>
                  <a:cubicBezTo>
                    <a:pt x="17807" y="4393"/>
                    <a:pt x="17821" y="4381"/>
                    <a:pt x="17826" y="4372"/>
                  </a:cubicBezTo>
                  <a:cubicBezTo>
                    <a:pt x="17830" y="4363"/>
                    <a:pt x="17826" y="4352"/>
                    <a:pt x="17817" y="4349"/>
                  </a:cubicBezTo>
                  <a:cubicBezTo>
                    <a:pt x="17808" y="4345"/>
                    <a:pt x="17797" y="4338"/>
                    <a:pt x="17796" y="4331"/>
                  </a:cubicBezTo>
                  <a:cubicBezTo>
                    <a:pt x="17791" y="4325"/>
                    <a:pt x="17800" y="4313"/>
                    <a:pt x="17812" y="4305"/>
                  </a:cubicBezTo>
                  <a:cubicBezTo>
                    <a:pt x="17825" y="4300"/>
                    <a:pt x="17847" y="4292"/>
                    <a:pt x="17864" y="4289"/>
                  </a:cubicBezTo>
                  <a:cubicBezTo>
                    <a:pt x="17880" y="4289"/>
                    <a:pt x="17905" y="4283"/>
                    <a:pt x="17919" y="4277"/>
                  </a:cubicBezTo>
                  <a:cubicBezTo>
                    <a:pt x="17934" y="4271"/>
                    <a:pt x="17961" y="4267"/>
                    <a:pt x="17978" y="4271"/>
                  </a:cubicBezTo>
                  <a:cubicBezTo>
                    <a:pt x="17996" y="4275"/>
                    <a:pt x="18019" y="4282"/>
                    <a:pt x="18030" y="4289"/>
                  </a:cubicBezTo>
                  <a:cubicBezTo>
                    <a:pt x="18041" y="4293"/>
                    <a:pt x="18030" y="4308"/>
                    <a:pt x="18008" y="4318"/>
                  </a:cubicBezTo>
                  <a:cubicBezTo>
                    <a:pt x="17986" y="4327"/>
                    <a:pt x="17977" y="4336"/>
                    <a:pt x="17989" y="4337"/>
                  </a:cubicBezTo>
                  <a:cubicBezTo>
                    <a:pt x="18001" y="4337"/>
                    <a:pt x="18025" y="4342"/>
                    <a:pt x="18042" y="4350"/>
                  </a:cubicBezTo>
                  <a:cubicBezTo>
                    <a:pt x="18059" y="4354"/>
                    <a:pt x="18071" y="4368"/>
                    <a:pt x="18072" y="4378"/>
                  </a:cubicBezTo>
                  <a:cubicBezTo>
                    <a:pt x="18071" y="4387"/>
                    <a:pt x="18075" y="4403"/>
                    <a:pt x="18080" y="4413"/>
                  </a:cubicBezTo>
                  <a:cubicBezTo>
                    <a:pt x="18085" y="4423"/>
                    <a:pt x="18106" y="4432"/>
                    <a:pt x="18125" y="4433"/>
                  </a:cubicBezTo>
                  <a:cubicBezTo>
                    <a:pt x="18145" y="4436"/>
                    <a:pt x="18182" y="4423"/>
                    <a:pt x="18209" y="4412"/>
                  </a:cubicBezTo>
                  <a:cubicBezTo>
                    <a:pt x="18235" y="4399"/>
                    <a:pt x="18266" y="4371"/>
                    <a:pt x="18279" y="4352"/>
                  </a:cubicBezTo>
                  <a:cubicBezTo>
                    <a:pt x="18292" y="4332"/>
                    <a:pt x="18307" y="4300"/>
                    <a:pt x="18313" y="4280"/>
                  </a:cubicBezTo>
                  <a:cubicBezTo>
                    <a:pt x="18318" y="4261"/>
                    <a:pt x="18337" y="4235"/>
                    <a:pt x="18352" y="4222"/>
                  </a:cubicBezTo>
                  <a:cubicBezTo>
                    <a:pt x="18369" y="4211"/>
                    <a:pt x="18385" y="4191"/>
                    <a:pt x="18391" y="4183"/>
                  </a:cubicBezTo>
                  <a:cubicBezTo>
                    <a:pt x="18398" y="4175"/>
                    <a:pt x="18396" y="4151"/>
                    <a:pt x="18391" y="4132"/>
                  </a:cubicBezTo>
                  <a:cubicBezTo>
                    <a:pt x="18387" y="4113"/>
                    <a:pt x="18396" y="4088"/>
                    <a:pt x="18414" y="4078"/>
                  </a:cubicBezTo>
                  <a:cubicBezTo>
                    <a:pt x="18432" y="4067"/>
                    <a:pt x="18464" y="4047"/>
                    <a:pt x="18487" y="4041"/>
                  </a:cubicBezTo>
                  <a:cubicBezTo>
                    <a:pt x="18508" y="4031"/>
                    <a:pt x="18534" y="4005"/>
                    <a:pt x="18543" y="3982"/>
                  </a:cubicBezTo>
                  <a:cubicBezTo>
                    <a:pt x="18553" y="3958"/>
                    <a:pt x="18559" y="3925"/>
                    <a:pt x="18554" y="3909"/>
                  </a:cubicBezTo>
                  <a:cubicBezTo>
                    <a:pt x="18552" y="3893"/>
                    <a:pt x="18539" y="3871"/>
                    <a:pt x="18527" y="3862"/>
                  </a:cubicBezTo>
                  <a:cubicBezTo>
                    <a:pt x="18515" y="3851"/>
                    <a:pt x="18518" y="3820"/>
                    <a:pt x="18534" y="3791"/>
                  </a:cubicBezTo>
                  <a:cubicBezTo>
                    <a:pt x="18549" y="3762"/>
                    <a:pt x="18575" y="3720"/>
                    <a:pt x="18589" y="3697"/>
                  </a:cubicBezTo>
                  <a:cubicBezTo>
                    <a:pt x="18604" y="3675"/>
                    <a:pt x="18617" y="3638"/>
                    <a:pt x="18620" y="3618"/>
                  </a:cubicBezTo>
                  <a:cubicBezTo>
                    <a:pt x="18624" y="3597"/>
                    <a:pt x="18641" y="3570"/>
                    <a:pt x="18661" y="3558"/>
                  </a:cubicBezTo>
                  <a:cubicBezTo>
                    <a:pt x="18681" y="3547"/>
                    <a:pt x="18701" y="3527"/>
                    <a:pt x="18702" y="3517"/>
                  </a:cubicBezTo>
                  <a:cubicBezTo>
                    <a:pt x="18705" y="3506"/>
                    <a:pt x="18715" y="3483"/>
                    <a:pt x="18727" y="3467"/>
                  </a:cubicBezTo>
                  <a:cubicBezTo>
                    <a:pt x="18738" y="3450"/>
                    <a:pt x="18748" y="3420"/>
                    <a:pt x="18747" y="3400"/>
                  </a:cubicBezTo>
                  <a:cubicBezTo>
                    <a:pt x="18746" y="3380"/>
                    <a:pt x="18765" y="3356"/>
                    <a:pt x="18786" y="3343"/>
                  </a:cubicBezTo>
                  <a:cubicBezTo>
                    <a:pt x="18807" y="3334"/>
                    <a:pt x="18840" y="3308"/>
                    <a:pt x="18860" y="3292"/>
                  </a:cubicBezTo>
                  <a:cubicBezTo>
                    <a:pt x="18879" y="3274"/>
                    <a:pt x="18937" y="3232"/>
                    <a:pt x="18986" y="3196"/>
                  </a:cubicBezTo>
                  <a:cubicBezTo>
                    <a:pt x="19034" y="3160"/>
                    <a:pt x="19094" y="3113"/>
                    <a:pt x="19119" y="3093"/>
                  </a:cubicBezTo>
                  <a:cubicBezTo>
                    <a:pt x="19143" y="3072"/>
                    <a:pt x="19197" y="3040"/>
                    <a:pt x="19239" y="3023"/>
                  </a:cubicBezTo>
                  <a:cubicBezTo>
                    <a:pt x="19281" y="3006"/>
                    <a:pt x="19325" y="2982"/>
                    <a:pt x="19335" y="2968"/>
                  </a:cubicBezTo>
                  <a:cubicBezTo>
                    <a:pt x="19345" y="2954"/>
                    <a:pt x="19372" y="2934"/>
                    <a:pt x="19393" y="2922"/>
                  </a:cubicBezTo>
                  <a:cubicBezTo>
                    <a:pt x="19414" y="2910"/>
                    <a:pt x="19446" y="2885"/>
                    <a:pt x="19462" y="2867"/>
                  </a:cubicBezTo>
                  <a:cubicBezTo>
                    <a:pt x="19479" y="2849"/>
                    <a:pt x="19519" y="2822"/>
                    <a:pt x="19552" y="2807"/>
                  </a:cubicBezTo>
                  <a:cubicBezTo>
                    <a:pt x="19585" y="2791"/>
                    <a:pt x="19619" y="2774"/>
                    <a:pt x="19628" y="2769"/>
                  </a:cubicBezTo>
                  <a:cubicBezTo>
                    <a:pt x="19636" y="2763"/>
                    <a:pt x="19641" y="2755"/>
                    <a:pt x="19637" y="2750"/>
                  </a:cubicBezTo>
                  <a:cubicBezTo>
                    <a:pt x="19634" y="2745"/>
                    <a:pt x="19617" y="2734"/>
                    <a:pt x="19600" y="2727"/>
                  </a:cubicBezTo>
                  <a:cubicBezTo>
                    <a:pt x="19582" y="2721"/>
                    <a:pt x="19546" y="2713"/>
                    <a:pt x="19520" y="2709"/>
                  </a:cubicBezTo>
                  <a:cubicBezTo>
                    <a:pt x="19493" y="2707"/>
                    <a:pt x="19462" y="2700"/>
                    <a:pt x="19450" y="2696"/>
                  </a:cubicBezTo>
                  <a:cubicBezTo>
                    <a:pt x="19439" y="2691"/>
                    <a:pt x="19419" y="2682"/>
                    <a:pt x="19407" y="2678"/>
                  </a:cubicBezTo>
                  <a:cubicBezTo>
                    <a:pt x="19394" y="2675"/>
                    <a:pt x="19367" y="2672"/>
                    <a:pt x="19345" y="2674"/>
                  </a:cubicBezTo>
                  <a:cubicBezTo>
                    <a:pt x="19324" y="2678"/>
                    <a:pt x="19275" y="2686"/>
                    <a:pt x="19237" y="2693"/>
                  </a:cubicBezTo>
                  <a:cubicBezTo>
                    <a:pt x="19199" y="2701"/>
                    <a:pt x="19133" y="2713"/>
                    <a:pt x="19091" y="2720"/>
                  </a:cubicBezTo>
                  <a:cubicBezTo>
                    <a:pt x="19050" y="2727"/>
                    <a:pt x="18989" y="2742"/>
                    <a:pt x="18956" y="2749"/>
                  </a:cubicBezTo>
                  <a:cubicBezTo>
                    <a:pt x="18923" y="2757"/>
                    <a:pt x="18879" y="2775"/>
                    <a:pt x="18859" y="2788"/>
                  </a:cubicBezTo>
                  <a:cubicBezTo>
                    <a:pt x="18839" y="2803"/>
                    <a:pt x="18797" y="2820"/>
                    <a:pt x="18767" y="2829"/>
                  </a:cubicBezTo>
                  <a:cubicBezTo>
                    <a:pt x="18737" y="2838"/>
                    <a:pt x="18707" y="2854"/>
                    <a:pt x="18698" y="2861"/>
                  </a:cubicBezTo>
                  <a:cubicBezTo>
                    <a:pt x="18692" y="2869"/>
                    <a:pt x="18672" y="2876"/>
                    <a:pt x="18657" y="2880"/>
                  </a:cubicBezTo>
                  <a:cubicBezTo>
                    <a:pt x="18642" y="2882"/>
                    <a:pt x="18609" y="2882"/>
                    <a:pt x="18584" y="2878"/>
                  </a:cubicBezTo>
                  <a:cubicBezTo>
                    <a:pt x="18559" y="2874"/>
                    <a:pt x="18529" y="2866"/>
                    <a:pt x="18519" y="2858"/>
                  </a:cubicBezTo>
                  <a:cubicBezTo>
                    <a:pt x="18508" y="2852"/>
                    <a:pt x="18501" y="2838"/>
                    <a:pt x="18500" y="2831"/>
                  </a:cubicBezTo>
                  <a:cubicBezTo>
                    <a:pt x="18502" y="2823"/>
                    <a:pt x="18516" y="2816"/>
                    <a:pt x="18534" y="2816"/>
                  </a:cubicBezTo>
                  <a:cubicBezTo>
                    <a:pt x="18552" y="2815"/>
                    <a:pt x="18576" y="2812"/>
                    <a:pt x="18587" y="2807"/>
                  </a:cubicBezTo>
                  <a:cubicBezTo>
                    <a:pt x="18598" y="2802"/>
                    <a:pt x="18606" y="2788"/>
                    <a:pt x="18607" y="2777"/>
                  </a:cubicBezTo>
                  <a:cubicBezTo>
                    <a:pt x="18608" y="2765"/>
                    <a:pt x="18602" y="2750"/>
                    <a:pt x="18599" y="2741"/>
                  </a:cubicBezTo>
                  <a:cubicBezTo>
                    <a:pt x="18593" y="2735"/>
                    <a:pt x="18573" y="2726"/>
                    <a:pt x="18553" y="2728"/>
                  </a:cubicBezTo>
                  <a:cubicBezTo>
                    <a:pt x="18533" y="2727"/>
                    <a:pt x="18506" y="2725"/>
                    <a:pt x="18491" y="2723"/>
                  </a:cubicBezTo>
                  <a:cubicBezTo>
                    <a:pt x="18477" y="2719"/>
                    <a:pt x="18482" y="2716"/>
                    <a:pt x="18501" y="2712"/>
                  </a:cubicBezTo>
                  <a:cubicBezTo>
                    <a:pt x="18520" y="2709"/>
                    <a:pt x="18547" y="2701"/>
                    <a:pt x="18559" y="2692"/>
                  </a:cubicBezTo>
                  <a:cubicBezTo>
                    <a:pt x="18572" y="2684"/>
                    <a:pt x="18607" y="2669"/>
                    <a:pt x="18636" y="2658"/>
                  </a:cubicBezTo>
                  <a:cubicBezTo>
                    <a:pt x="18667" y="2649"/>
                    <a:pt x="18708" y="2627"/>
                    <a:pt x="18725" y="2608"/>
                  </a:cubicBezTo>
                  <a:cubicBezTo>
                    <a:pt x="18745" y="2589"/>
                    <a:pt x="18781" y="2567"/>
                    <a:pt x="18805" y="2555"/>
                  </a:cubicBezTo>
                  <a:cubicBezTo>
                    <a:pt x="18829" y="2543"/>
                    <a:pt x="18867" y="2533"/>
                    <a:pt x="18888" y="2534"/>
                  </a:cubicBezTo>
                  <a:cubicBezTo>
                    <a:pt x="18909" y="2532"/>
                    <a:pt x="18955" y="2534"/>
                    <a:pt x="18991" y="2533"/>
                  </a:cubicBezTo>
                  <a:cubicBezTo>
                    <a:pt x="19027" y="2534"/>
                    <a:pt x="19101" y="2549"/>
                    <a:pt x="19155" y="2569"/>
                  </a:cubicBezTo>
                  <a:cubicBezTo>
                    <a:pt x="19209" y="2588"/>
                    <a:pt x="19267" y="2609"/>
                    <a:pt x="19283" y="2617"/>
                  </a:cubicBezTo>
                  <a:cubicBezTo>
                    <a:pt x="19300" y="2624"/>
                    <a:pt x="19355" y="2632"/>
                    <a:pt x="19407" y="2630"/>
                  </a:cubicBezTo>
                  <a:cubicBezTo>
                    <a:pt x="19458" y="2630"/>
                    <a:pt x="19523" y="2623"/>
                    <a:pt x="19551" y="2621"/>
                  </a:cubicBezTo>
                  <a:cubicBezTo>
                    <a:pt x="19577" y="2612"/>
                    <a:pt x="19620" y="2613"/>
                    <a:pt x="19645" y="2615"/>
                  </a:cubicBezTo>
                  <a:cubicBezTo>
                    <a:pt x="19669" y="2616"/>
                    <a:pt x="19732" y="2611"/>
                    <a:pt x="19785" y="2604"/>
                  </a:cubicBezTo>
                  <a:cubicBezTo>
                    <a:pt x="19837" y="2595"/>
                    <a:pt x="19901" y="2582"/>
                    <a:pt x="19925" y="2574"/>
                  </a:cubicBezTo>
                  <a:cubicBezTo>
                    <a:pt x="19950" y="2566"/>
                    <a:pt x="19971" y="2550"/>
                    <a:pt x="19973" y="2539"/>
                  </a:cubicBezTo>
                  <a:cubicBezTo>
                    <a:pt x="19975" y="2528"/>
                    <a:pt x="19971" y="2516"/>
                    <a:pt x="19967" y="2508"/>
                  </a:cubicBezTo>
                  <a:cubicBezTo>
                    <a:pt x="19962" y="2501"/>
                    <a:pt x="19966" y="2496"/>
                    <a:pt x="19977" y="2495"/>
                  </a:cubicBezTo>
                  <a:cubicBezTo>
                    <a:pt x="19988" y="2495"/>
                    <a:pt x="20016" y="2493"/>
                    <a:pt x="20038" y="2490"/>
                  </a:cubicBezTo>
                  <a:cubicBezTo>
                    <a:pt x="20061" y="2488"/>
                    <a:pt x="20097" y="2477"/>
                    <a:pt x="20119" y="2466"/>
                  </a:cubicBezTo>
                  <a:cubicBezTo>
                    <a:pt x="20141" y="2454"/>
                    <a:pt x="20159" y="2438"/>
                    <a:pt x="20159" y="2428"/>
                  </a:cubicBezTo>
                  <a:cubicBezTo>
                    <a:pt x="20159" y="2419"/>
                    <a:pt x="20147" y="2404"/>
                    <a:pt x="20134" y="2395"/>
                  </a:cubicBezTo>
                  <a:cubicBezTo>
                    <a:pt x="20121" y="2386"/>
                    <a:pt x="20089" y="2376"/>
                    <a:pt x="20064" y="2372"/>
                  </a:cubicBezTo>
                  <a:cubicBezTo>
                    <a:pt x="20038" y="2369"/>
                    <a:pt x="20009" y="2361"/>
                    <a:pt x="19999" y="2353"/>
                  </a:cubicBezTo>
                  <a:cubicBezTo>
                    <a:pt x="19989" y="2347"/>
                    <a:pt x="19969" y="2339"/>
                    <a:pt x="19954" y="2335"/>
                  </a:cubicBezTo>
                  <a:cubicBezTo>
                    <a:pt x="19939" y="2332"/>
                    <a:pt x="19908" y="2330"/>
                    <a:pt x="19885" y="2333"/>
                  </a:cubicBezTo>
                  <a:cubicBezTo>
                    <a:pt x="19863" y="2336"/>
                    <a:pt x="19830" y="2342"/>
                    <a:pt x="19813" y="2353"/>
                  </a:cubicBezTo>
                  <a:cubicBezTo>
                    <a:pt x="19796" y="2361"/>
                    <a:pt x="19773" y="2369"/>
                    <a:pt x="19762" y="2370"/>
                  </a:cubicBezTo>
                  <a:cubicBezTo>
                    <a:pt x="19750" y="2370"/>
                    <a:pt x="19725" y="2366"/>
                    <a:pt x="19705" y="2358"/>
                  </a:cubicBezTo>
                  <a:cubicBezTo>
                    <a:pt x="19686" y="2352"/>
                    <a:pt x="19623" y="2346"/>
                    <a:pt x="19565" y="2349"/>
                  </a:cubicBezTo>
                  <a:cubicBezTo>
                    <a:pt x="19506" y="2352"/>
                    <a:pt x="19433" y="2352"/>
                    <a:pt x="19401" y="2350"/>
                  </a:cubicBezTo>
                  <a:cubicBezTo>
                    <a:pt x="19370" y="2348"/>
                    <a:pt x="19326" y="2339"/>
                    <a:pt x="19303" y="2336"/>
                  </a:cubicBezTo>
                  <a:cubicBezTo>
                    <a:pt x="19280" y="2329"/>
                    <a:pt x="19244" y="2325"/>
                    <a:pt x="19222" y="2326"/>
                  </a:cubicBezTo>
                  <a:cubicBezTo>
                    <a:pt x="19201" y="2326"/>
                    <a:pt x="19169" y="2332"/>
                    <a:pt x="19151" y="2336"/>
                  </a:cubicBezTo>
                  <a:cubicBezTo>
                    <a:pt x="19133" y="2340"/>
                    <a:pt x="19073" y="2347"/>
                    <a:pt x="19016" y="2351"/>
                  </a:cubicBezTo>
                  <a:cubicBezTo>
                    <a:pt x="18960" y="2354"/>
                    <a:pt x="18897" y="2358"/>
                    <a:pt x="18877" y="2359"/>
                  </a:cubicBezTo>
                  <a:cubicBezTo>
                    <a:pt x="18856" y="2358"/>
                    <a:pt x="18820" y="2356"/>
                    <a:pt x="18797" y="2352"/>
                  </a:cubicBezTo>
                  <a:cubicBezTo>
                    <a:pt x="18773" y="2348"/>
                    <a:pt x="18773" y="2343"/>
                    <a:pt x="18796" y="2341"/>
                  </a:cubicBezTo>
                  <a:cubicBezTo>
                    <a:pt x="18820" y="2338"/>
                    <a:pt x="18858" y="2338"/>
                    <a:pt x="18882" y="2340"/>
                  </a:cubicBezTo>
                  <a:cubicBezTo>
                    <a:pt x="18906" y="2342"/>
                    <a:pt x="18944" y="2335"/>
                    <a:pt x="18967" y="2328"/>
                  </a:cubicBezTo>
                  <a:cubicBezTo>
                    <a:pt x="18991" y="2320"/>
                    <a:pt x="19035" y="2308"/>
                    <a:pt x="19066" y="2304"/>
                  </a:cubicBezTo>
                  <a:cubicBezTo>
                    <a:pt x="19097" y="2300"/>
                    <a:pt x="19140" y="2300"/>
                    <a:pt x="19163" y="2302"/>
                  </a:cubicBezTo>
                  <a:cubicBezTo>
                    <a:pt x="19185" y="2306"/>
                    <a:pt x="19224" y="2309"/>
                    <a:pt x="19248" y="2310"/>
                  </a:cubicBezTo>
                  <a:cubicBezTo>
                    <a:pt x="19272" y="2310"/>
                    <a:pt x="19305" y="2311"/>
                    <a:pt x="19319" y="2307"/>
                  </a:cubicBezTo>
                  <a:cubicBezTo>
                    <a:pt x="19335" y="2304"/>
                    <a:pt x="19359" y="2296"/>
                    <a:pt x="19373" y="2292"/>
                  </a:cubicBezTo>
                  <a:cubicBezTo>
                    <a:pt x="19388" y="2286"/>
                    <a:pt x="19411" y="2283"/>
                    <a:pt x="19425" y="2284"/>
                  </a:cubicBezTo>
                  <a:cubicBezTo>
                    <a:pt x="19440" y="2287"/>
                    <a:pt x="19464" y="2283"/>
                    <a:pt x="19479" y="2285"/>
                  </a:cubicBezTo>
                  <a:cubicBezTo>
                    <a:pt x="19494" y="2284"/>
                    <a:pt x="19517" y="2278"/>
                    <a:pt x="19530" y="2269"/>
                  </a:cubicBezTo>
                  <a:cubicBezTo>
                    <a:pt x="19543" y="2262"/>
                    <a:pt x="19562" y="2253"/>
                    <a:pt x="19571" y="2248"/>
                  </a:cubicBezTo>
                  <a:cubicBezTo>
                    <a:pt x="19582" y="2246"/>
                    <a:pt x="19604" y="2242"/>
                    <a:pt x="19621" y="2244"/>
                  </a:cubicBezTo>
                  <a:cubicBezTo>
                    <a:pt x="19638" y="2245"/>
                    <a:pt x="19661" y="2247"/>
                    <a:pt x="19672" y="2246"/>
                  </a:cubicBezTo>
                  <a:cubicBezTo>
                    <a:pt x="19684" y="2246"/>
                    <a:pt x="19698" y="2240"/>
                    <a:pt x="19703" y="2234"/>
                  </a:cubicBezTo>
                  <a:cubicBezTo>
                    <a:pt x="19709" y="2229"/>
                    <a:pt x="19721" y="2221"/>
                    <a:pt x="19730" y="2220"/>
                  </a:cubicBezTo>
                  <a:cubicBezTo>
                    <a:pt x="19739" y="2216"/>
                    <a:pt x="19758" y="2216"/>
                    <a:pt x="19771" y="2216"/>
                  </a:cubicBezTo>
                  <a:cubicBezTo>
                    <a:pt x="19784" y="2218"/>
                    <a:pt x="19797" y="2219"/>
                    <a:pt x="19801" y="2222"/>
                  </a:cubicBezTo>
                  <a:cubicBezTo>
                    <a:pt x="19805" y="2223"/>
                    <a:pt x="19820" y="2227"/>
                    <a:pt x="19836" y="2229"/>
                  </a:cubicBezTo>
                  <a:cubicBezTo>
                    <a:pt x="19852" y="2229"/>
                    <a:pt x="19874" y="2234"/>
                    <a:pt x="19885" y="2237"/>
                  </a:cubicBezTo>
                  <a:cubicBezTo>
                    <a:pt x="19896" y="2242"/>
                    <a:pt x="19925" y="2245"/>
                    <a:pt x="19949" y="2244"/>
                  </a:cubicBezTo>
                  <a:cubicBezTo>
                    <a:pt x="19973" y="2245"/>
                    <a:pt x="20011" y="2248"/>
                    <a:pt x="20034" y="2251"/>
                  </a:cubicBezTo>
                  <a:cubicBezTo>
                    <a:pt x="20056" y="2255"/>
                    <a:pt x="20088" y="2263"/>
                    <a:pt x="20104" y="2268"/>
                  </a:cubicBezTo>
                  <a:cubicBezTo>
                    <a:pt x="20121" y="2273"/>
                    <a:pt x="20150" y="2275"/>
                    <a:pt x="20169" y="2274"/>
                  </a:cubicBezTo>
                  <a:cubicBezTo>
                    <a:pt x="20188" y="2273"/>
                    <a:pt x="20224" y="2271"/>
                    <a:pt x="20248" y="2270"/>
                  </a:cubicBezTo>
                  <a:cubicBezTo>
                    <a:pt x="20271" y="2270"/>
                    <a:pt x="20312" y="2261"/>
                    <a:pt x="20339" y="2251"/>
                  </a:cubicBezTo>
                  <a:cubicBezTo>
                    <a:pt x="20366" y="2241"/>
                    <a:pt x="20422" y="2221"/>
                    <a:pt x="20466" y="2211"/>
                  </a:cubicBezTo>
                  <a:cubicBezTo>
                    <a:pt x="20509" y="2199"/>
                    <a:pt x="20559" y="2189"/>
                    <a:pt x="20576" y="2187"/>
                  </a:cubicBezTo>
                  <a:cubicBezTo>
                    <a:pt x="20593" y="2185"/>
                    <a:pt x="20624" y="2184"/>
                    <a:pt x="20645" y="2185"/>
                  </a:cubicBezTo>
                  <a:cubicBezTo>
                    <a:pt x="20666" y="2186"/>
                    <a:pt x="20690" y="2179"/>
                    <a:pt x="20700" y="2171"/>
                  </a:cubicBezTo>
                  <a:cubicBezTo>
                    <a:pt x="20710" y="2163"/>
                    <a:pt x="20718" y="2150"/>
                    <a:pt x="20718" y="2142"/>
                  </a:cubicBezTo>
                  <a:cubicBezTo>
                    <a:pt x="20716" y="2134"/>
                    <a:pt x="20711" y="2124"/>
                    <a:pt x="20701" y="2121"/>
                  </a:cubicBezTo>
                  <a:cubicBezTo>
                    <a:pt x="20691" y="2119"/>
                    <a:pt x="20670" y="2107"/>
                    <a:pt x="20655" y="2095"/>
                  </a:cubicBezTo>
                  <a:cubicBezTo>
                    <a:pt x="20640" y="2085"/>
                    <a:pt x="20627" y="2071"/>
                    <a:pt x="20627" y="2064"/>
                  </a:cubicBezTo>
                  <a:cubicBezTo>
                    <a:pt x="20627" y="2056"/>
                    <a:pt x="20619" y="2048"/>
                    <a:pt x="20611" y="2044"/>
                  </a:cubicBezTo>
                  <a:cubicBezTo>
                    <a:pt x="20602" y="2041"/>
                    <a:pt x="20596" y="2033"/>
                    <a:pt x="20594" y="2028"/>
                  </a:cubicBezTo>
                  <a:cubicBezTo>
                    <a:pt x="20594" y="2023"/>
                    <a:pt x="20605" y="2010"/>
                    <a:pt x="20619" y="1997"/>
                  </a:cubicBezTo>
                  <a:cubicBezTo>
                    <a:pt x="20634" y="1984"/>
                    <a:pt x="20663" y="1969"/>
                    <a:pt x="20683" y="1961"/>
                  </a:cubicBezTo>
                  <a:cubicBezTo>
                    <a:pt x="20704" y="1954"/>
                    <a:pt x="20733" y="1947"/>
                    <a:pt x="20748" y="1946"/>
                  </a:cubicBezTo>
                  <a:cubicBezTo>
                    <a:pt x="20764" y="1946"/>
                    <a:pt x="20809" y="1954"/>
                    <a:pt x="20847" y="1965"/>
                  </a:cubicBezTo>
                  <a:cubicBezTo>
                    <a:pt x="20886" y="1976"/>
                    <a:pt x="20934" y="1986"/>
                    <a:pt x="20954" y="1990"/>
                  </a:cubicBezTo>
                  <a:cubicBezTo>
                    <a:pt x="20974" y="1991"/>
                    <a:pt x="21000" y="1992"/>
                    <a:pt x="21011" y="1990"/>
                  </a:cubicBezTo>
                  <a:cubicBezTo>
                    <a:pt x="21021" y="1987"/>
                    <a:pt x="21042" y="1978"/>
                    <a:pt x="21056" y="1969"/>
                  </a:cubicBezTo>
                  <a:cubicBezTo>
                    <a:pt x="21070" y="1960"/>
                    <a:pt x="21107" y="1938"/>
                    <a:pt x="21135" y="1916"/>
                  </a:cubicBezTo>
                  <a:cubicBezTo>
                    <a:pt x="21165" y="1898"/>
                    <a:pt x="21208" y="1873"/>
                    <a:pt x="21232" y="1866"/>
                  </a:cubicBezTo>
                  <a:cubicBezTo>
                    <a:pt x="21257" y="1858"/>
                    <a:pt x="21290" y="1850"/>
                    <a:pt x="21307" y="1845"/>
                  </a:cubicBezTo>
                  <a:cubicBezTo>
                    <a:pt x="21323" y="1841"/>
                    <a:pt x="21343" y="1835"/>
                    <a:pt x="21351" y="1828"/>
                  </a:cubicBezTo>
                  <a:cubicBezTo>
                    <a:pt x="21359" y="1822"/>
                    <a:pt x="21384" y="1809"/>
                    <a:pt x="21407" y="1801"/>
                  </a:cubicBezTo>
                  <a:cubicBezTo>
                    <a:pt x="21431" y="1793"/>
                    <a:pt x="21472" y="1781"/>
                    <a:pt x="21499" y="1777"/>
                  </a:cubicBezTo>
                  <a:cubicBezTo>
                    <a:pt x="21527" y="1772"/>
                    <a:pt x="21557" y="1759"/>
                    <a:pt x="21568" y="1752"/>
                  </a:cubicBezTo>
                  <a:cubicBezTo>
                    <a:pt x="21579" y="1743"/>
                    <a:pt x="21590" y="1725"/>
                    <a:pt x="21594" y="1711"/>
                  </a:cubicBezTo>
                  <a:cubicBezTo>
                    <a:pt x="21598" y="1697"/>
                    <a:pt x="21591" y="1670"/>
                    <a:pt x="21578" y="1652"/>
                  </a:cubicBezTo>
                  <a:cubicBezTo>
                    <a:pt x="21565" y="1635"/>
                    <a:pt x="21540" y="1610"/>
                    <a:pt x="21521" y="1603"/>
                  </a:cubicBezTo>
                  <a:cubicBezTo>
                    <a:pt x="21501" y="1594"/>
                    <a:pt x="21480" y="1580"/>
                    <a:pt x="21473" y="1573"/>
                  </a:cubicBezTo>
                  <a:cubicBezTo>
                    <a:pt x="21466" y="1565"/>
                    <a:pt x="21427" y="1545"/>
                    <a:pt x="21385" y="1531"/>
                  </a:cubicBezTo>
                  <a:cubicBezTo>
                    <a:pt x="21344" y="1515"/>
                    <a:pt x="21308" y="1497"/>
                    <a:pt x="21306" y="1490"/>
                  </a:cubicBezTo>
                  <a:cubicBezTo>
                    <a:pt x="21304" y="1484"/>
                    <a:pt x="21294" y="1469"/>
                    <a:pt x="21284" y="1460"/>
                  </a:cubicBezTo>
                  <a:cubicBezTo>
                    <a:pt x="21274" y="1450"/>
                    <a:pt x="21243" y="1439"/>
                    <a:pt x="21216" y="1433"/>
                  </a:cubicBezTo>
                  <a:cubicBezTo>
                    <a:pt x="21188" y="1429"/>
                    <a:pt x="21154" y="1423"/>
                    <a:pt x="21138" y="1421"/>
                  </a:cubicBezTo>
                  <a:cubicBezTo>
                    <a:pt x="21123" y="1419"/>
                    <a:pt x="21098" y="1413"/>
                    <a:pt x="21082" y="1405"/>
                  </a:cubicBezTo>
                  <a:cubicBezTo>
                    <a:pt x="21066" y="1397"/>
                    <a:pt x="21033" y="1388"/>
                    <a:pt x="21009" y="1382"/>
                  </a:cubicBezTo>
                  <a:cubicBezTo>
                    <a:pt x="20986" y="1376"/>
                    <a:pt x="20942" y="1372"/>
                    <a:pt x="20914" y="1371"/>
                  </a:cubicBezTo>
                  <a:cubicBezTo>
                    <a:pt x="20885" y="1370"/>
                    <a:pt x="20829" y="1367"/>
                    <a:pt x="20790" y="1361"/>
                  </a:cubicBezTo>
                  <a:cubicBezTo>
                    <a:pt x="20751" y="1357"/>
                    <a:pt x="20690" y="1348"/>
                    <a:pt x="20654" y="1339"/>
                  </a:cubicBezTo>
                  <a:cubicBezTo>
                    <a:pt x="20617" y="1333"/>
                    <a:pt x="20561" y="1323"/>
                    <a:pt x="20527" y="1320"/>
                  </a:cubicBezTo>
                  <a:cubicBezTo>
                    <a:pt x="20494" y="1318"/>
                    <a:pt x="20454" y="1317"/>
                    <a:pt x="20437" y="1319"/>
                  </a:cubicBezTo>
                  <a:cubicBezTo>
                    <a:pt x="20421" y="1323"/>
                    <a:pt x="20381" y="1325"/>
                    <a:pt x="20348" y="1327"/>
                  </a:cubicBezTo>
                  <a:cubicBezTo>
                    <a:pt x="20315" y="1328"/>
                    <a:pt x="20257" y="1334"/>
                    <a:pt x="20219" y="1341"/>
                  </a:cubicBezTo>
                  <a:cubicBezTo>
                    <a:pt x="20182" y="1348"/>
                    <a:pt x="20140" y="1359"/>
                    <a:pt x="20126" y="1366"/>
                  </a:cubicBezTo>
                  <a:cubicBezTo>
                    <a:pt x="20113" y="1376"/>
                    <a:pt x="20078" y="1383"/>
                    <a:pt x="20051" y="1391"/>
                  </a:cubicBezTo>
                  <a:cubicBezTo>
                    <a:pt x="20023" y="1395"/>
                    <a:pt x="19980" y="1397"/>
                    <a:pt x="19955" y="1393"/>
                  </a:cubicBezTo>
                  <a:cubicBezTo>
                    <a:pt x="19930" y="1390"/>
                    <a:pt x="19905" y="1380"/>
                    <a:pt x="19898" y="1375"/>
                  </a:cubicBezTo>
                  <a:cubicBezTo>
                    <a:pt x="19892" y="1371"/>
                    <a:pt x="19874" y="1368"/>
                    <a:pt x="19858" y="1371"/>
                  </a:cubicBezTo>
                  <a:cubicBezTo>
                    <a:pt x="19842" y="1372"/>
                    <a:pt x="19822" y="1381"/>
                    <a:pt x="19814" y="1389"/>
                  </a:cubicBezTo>
                  <a:cubicBezTo>
                    <a:pt x="19805" y="1396"/>
                    <a:pt x="19802" y="1411"/>
                    <a:pt x="19805" y="1420"/>
                  </a:cubicBezTo>
                  <a:cubicBezTo>
                    <a:pt x="19808" y="1430"/>
                    <a:pt x="19810" y="1449"/>
                    <a:pt x="19804" y="1460"/>
                  </a:cubicBezTo>
                  <a:cubicBezTo>
                    <a:pt x="19802" y="1473"/>
                    <a:pt x="19790" y="1491"/>
                    <a:pt x="19778" y="1498"/>
                  </a:cubicBezTo>
                  <a:cubicBezTo>
                    <a:pt x="19767" y="1506"/>
                    <a:pt x="19747" y="1515"/>
                    <a:pt x="19733" y="1515"/>
                  </a:cubicBezTo>
                  <a:cubicBezTo>
                    <a:pt x="19719" y="1515"/>
                    <a:pt x="19706" y="1521"/>
                    <a:pt x="19705" y="1527"/>
                  </a:cubicBezTo>
                  <a:cubicBezTo>
                    <a:pt x="19703" y="1534"/>
                    <a:pt x="19709" y="1542"/>
                    <a:pt x="19716" y="1548"/>
                  </a:cubicBezTo>
                  <a:cubicBezTo>
                    <a:pt x="19724" y="1552"/>
                    <a:pt x="19725" y="1563"/>
                    <a:pt x="19718" y="1571"/>
                  </a:cubicBezTo>
                  <a:cubicBezTo>
                    <a:pt x="19713" y="1580"/>
                    <a:pt x="19684" y="1590"/>
                    <a:pt x="19656" y="1596"/>
                  </a:cubicBezTo>
                  <a:cubicBezTo>
                    <a:pt x="19628" y="1602"/>
                    <a:pt x="19586" y="1610"/>
                    <a:pt x="19561" y="1610"/>
                  </a:cubicBezTo>
                  <a:cubicBezTo>
                    <a:pt x="19537" y="1611"/>
                    <a:pt x="19505" y="1605"/>
                    <a:pt x="19490" y="1599"/>
                  </a:cubicBezTo>
                  <a:cubicBezTo>
                    <a:pt x="19475" y="1591"/>
                    <a:pt x="19460" y="1579"/>
                    <a:pt x="19460" y="1570"/>
                  </a:cubicBezTo>
                  <a:cubicBezTo>
                    <a:pt x="19458" y="1562"/>
                    <a:pt x="19449" y="1553"/>
                    <a:pt x="19438" y="1550"/>
                  </a:cubicBezTo>
                  <a:cubicBezTo>
                    <a:pt x="19427" y="1547"/>
                    <a:pt x="19409" y="1551"/>
                    <a:pt x="19397" y="1557"/>
                  </a:cubicBezTo>
                  <a:cubicBezTo>
                    <a:pt x="19385" y="1562"/>
                    <a:pt x="19376" y="1576"/>
                    <a:pt x="19375" y="1587"/>
                  </a:cubicBezTo>
                  <a:cubicBezTo>
                    <a:pt x="19375" y="1598"/>
                    <a:pt x="19378" y="1610"/>
                    <a:pt x="19384" y="1614"/>
                  </a:cubicBezTo>
                  <a:cubicBezTo>
                    <a:pt x="19389" y="1619"/>
                    <a:pt x="19385" y="1629"/>
                    <a:pt x="19373" y="1638"/>
                  </a:cubicBezTo>
                  <a:cubicBezTo>
                    <a:pt x="19361" y="1647"/>
                    <a:pt x="19345" y="1665"/>
                    <a:pt x="19335" y="1675"/>
                  </a:cubicBezTo>
                  <a:cubicBezTo>
                    <a:pt x="19328" y="1687"/>
                    <a:pt x="19311" y="1700"/>
                    <a:pt x="19303" y="1708"/>
                  </a:cubicBezTo>
                  <a:cubicBezTo>
                    <a:pt x="19296" y="1716"/>
                    <a:pt x="19289" y="1713"/>
                    <a:pt x="19287" y="1706"/>
                  </a:cubicBezTo>
                  <a:cubicBezTo>
                    <a:pt x="19287" y="1698"/>
                    <a:pt x="19291" y="1686"/>
                    <a:pt x="19298" y="1681"/>
                  </a:cubicBezTo>
                  <a:cubicBezTo>
                    <a:pt x="19303" y="1673"/>
                    <a:pt x="19307" y="1658"/>
                    <a:pt x="19302" y="1645"/>
                  </a:cubicBezTo>
                  <a:cubicBezTo>
                    <a:pt x="19298" y="1631"/>
                    <a:pt x="19286" y="1613"/>
                    <a:pt x="19276" y="1605"/>
                  </a:cubicBezTo>
                  <a:cubicBezTo>
                    <a:pt x="19265" y="1597"/>
                    <a:pt x="19262" y="1583"/>
                    <a:pt x="19269" y="1574"/>
                  </a:cubicBezTo>
                  <a:cubicBezTo>
                    <a:pt x="19276" y="1565"/>
                    <a:pt x="19282" y="1551"/>
                    <a:pt x="19282" y="1542"/>
                  </a:cubicBezTo>
                  <a:cubicBezTo>
                    <a:pt x="19284" y="1533"/>
                    <a:pt x="19274" y="1520"/>
                    <a:pt x="19264" y="1511"/>
                  </a:cubicBezTo>
                  <a:cubicBezTo>
                    <a:pt x="19253" y="1503"/>
                    <a:pt x="19245" y="1489"/>
                    <a:pt x="19248" y="1482"/>
                  </a:cubicBezTo>
                  <a:cubicBezTo>
                    <a:pt x="19250" y="1475"/>
                    <a:pt x="19240" y="1475"/>
                    <a:pt x="19225" y="1477"/>
                  </a:cubicBezTo>
                  <a:cubicBezTo>
                    <a:pt x="19210" y="1482"/>
                    <a:pt x="19190" y="1491"/>
                    <a:pt x="19181" y="1498"/>
                  </a:cubicBezTo>
                  <a:cubicBezTo>
                    <a:pt x="19172" y="1506"/>
                    <a:pt x="19149" y="1518"/>
                    <a:pt x="19133" y="1527"/>
                  </a:cubicBezTo>
                  <a:cubicBezTo>
                    <a:pt x="19115" y="1535"/>
                    <a:pt x="19101" y="1550"/>
                    <a:pt x="19101" y="1558"/>
                  </a:cubicBezTo>
                  <a:cubicBezTo>
                    <a:pt x="19100" y="1566"/>
                    <a:pt x="19091" y="1584"/>
                    <a:pt x="19081" y="1598"/>
                  </a:cubicBezTo>
                  <a:cubicBezTo>
                    <a:pt x="19071" y="1611"/>
                    <a:pt x="19031" y="1636"/>
                    <a:pt x="18992" y="1655"/>
                  </a:cubicBezTo>
                  <a:cubicBezTo>
                    <a:pt x="18954" y="1675"/>
                    <a:pt x="18905" y="1697"/>
                    <a:pt x="18885" y="1706"/>
                  </a:cubicBezTo>
                  <a:cubicBezTo>
                    <a:pt x="18864" y="1716"/>
                    <a:pt x="18832" y="1725"/>
                    <a:pt x="18813" y="1729"/>
                  </a:cubicBezTo>
                  <a:cubicBezTo>
                    <a:pt x="18793" y="1732"/>
                    <a:pt x="18763" y="1737"/>
                    <a:pt x="18749" y="1746"/>
                  </a:cubicBezTo>
                  <a:cubicBezTo>
                    <a:pt x="18733" y="1754"/>
                    <a:pt x="18700" y="1766"/>
                    <a:pt x="18676" y="1776"/>
                  </a:cubicBezTo>
                  <a:cubicBezTo>
                    <a:pt x="18651" y="1785"/>
                    <a:pt x="18613" y="1795"/>
                    <a:pt x="18589" y="1795"/>
                  </a:cubicBezTo>
                  <a:cubicBezTo>
                    <a:pt x="18566" y="1796"/>
                    <a:pt x="18525" y="1807"/>
                    <a:pt x="18500" y="1821"/>
                  </a:cubicBezTo>
                  <a:cubicBezTo>
                    <a:pt x="18474" y="1834"/>
                    <a:pt x="18422" y="1855"/>
                    <a:pt x="18383" y="1866"/>
                  </a:cubicBezTo>
                  <a:cubicBezTo>
                    <a:pt x="18345" y="1879"/>
                    <a:pt x="18281" y="1887"/>
                    <a:pt x="18243" y="1890"/>
                  </a:cubicBezTo>
                  <a:cubicBezTo>
                    <a:pt x="18204" y="1893"/>
                    <a:pt x="18149" y="1896"/>
                    <a:pt x="18120" y="1898"/>
                  </a:cubicBezTo>
                  <a:cubicBezTo>
                    <a:pt x="18092" y="1899"/>
                    <a:pt x="18065" y="1907"/>
                    <a:pt x="18062" y="1913"/>
                  </a:cubicBezTo>
                  <a:cubicBezTo>
                    <a:pt x="18057" y="1919"/>
                    <a:pt x="18040" y="1931"/>
                    <a:pt x="18022" y="1940"/>
                  </a:cubicBezTo>
                  <a:cubicBezTo>
                    <a:pt x="18004" y="1948"/>
                    <a:pt x="17968" y="1958"/>
                    <a:pt x="17943" y="1958"/>
                  </a:cubicBezTo>
                  <a:cubicBezTo>
                    <a:pt x="17917" y="1959"/>
                    <a:pt x="17883" y="1962"/>
                    <a:pt x="17867" y="1960"/>
                  </a:cubicBezTo>
                  <a:cubicBezTo>
                    <a:pt x="17851" y="1959"/>
                    <a:pt x="17821" y="1965"/>
                    <a:pt x="17799" y="1969"/>
                  </a:cubicBezTo>
                  <a:cubicBezTo>
                    <a:pt x="17779" y="1978"/>
                    <a:pt x="17734" y="1995"/>
                    <a:pt x="17701" y="2012"/>
                  </a:cubicBezTo>
                  <a:cubicBezTo>
                    <a:pt x="17667" y="2029"/>
                    <a:pt x="17599" y="2061"/>
                    <a:pt x="17549" y="2083"/>
                  </a:cubicBezTo>
                  <a:cubicBezTo>
                    <a:pt x="17498" y="2103"/>
                    <a:pt x="17453" y="2132"/>
                    <a:pt x="17448" y="2143"/>
                  </a:cubicBezTo>
                  <a:cubicBezTo>
                    <a:pt x="17442" y="2154"/>
                    <a:pt x="17425" y="2164"/>
                    <a:pt x="17410" y="2170"/>
                  </a:cubicBezTo>
                  <a:cubicBezTo>
                    <a:pt x="17394" y="2171"/>
                    <a:pt x="17339" y="2192"/>
                    <a:pt x="17288" y="2214"/>
                  </a:cubicBezTo>
                  <a:cubicBezTo>
                    <a:pt x="17236" y="2235"/>
                    <a:pt x="17175" y="2265"/>
                    <a:pt x="17151" y="2280"/>
                  </a:cubicBezTo>
                  <a:cubicBezTo>
                    <a:pt x="17127" y="2295"/>
                    <a:pt x="17101" y="2302"/>
                    <a:pt x="17095" y="2297"/>
                  </a:cubicBezTo>
                  <a:cubicBezTo>
                    <a:pt x="17089" y="2292"/>
                    <a:pt x="17076" y="2288"/>
                    <a:pt x="17066" y="2289"/>
                  </a:cubicBezTo>
                  <a:cubicBezTo>
                    <a:pt x="17057" y="2290"/>
                    <a:pt x="17026" y="2298"/>
                    <a:pt x="16997" y="2310"/>
                  </a:cubicBezTo>
                  <a:cubicBezTo>
                    <a:pt x="16968" y="2321"/>
                    <a:pt x="16928" y="2344"/>
                    <a:pt x="16906" y="2359"/>
                  </a:cubicBezTo>
                  <a:cubicBezTo>
                    <a:pt x="16884" y="2374"/>
                    <a:pt x="16845" y="2403"/>
                    <a:pt x="16815" y="2419"/>
                  </a:cubicBezTo>
                  <a:cubicBezTo>
                    <a:pt x="16787" y="2438"/>
                    <a:pt x="16758" y="2459"/>
                    <a:pt x="16751" y="2469"/>
                  </a:cubicBezTo>
                  <a:cubicBezTo>
                    <a:pt x="16745" y="2480"/>
                    <a:pt x="16732" y="2495"/>
                    <a:pt x="16723" y="2503"/>
                  </a:cubicBezTo>
                  <a:cubicBezTo>
                    <a:pt x="16714" y="2511"/>
                    <a:pt x="16702" y="2511"/>
                    <a:pt x="16697" y="2505"/>
                  </a:cubicBezTo>
                  <a:cubicBezTo>
                    <a:pt x="16692" y="2499"/>
                    <a:pt x="16700" y="2482"/>
                    <a:pt x="16713" y="2465"/>
                  </a:cubicBezTo>
                  <a:cubicBezTo>
                    <a:pt x="16728" y="2450"/>
                    <a:pt x="16738" y="2426"/>
                    <a:pt x="16738" y="2415"/>
                  </a:cubicBezTo>
                  <a:cubicBezTo>
                    <a:pt x="16738" y="2403"/>
                    <a:pt x="16738" y="2384"/>
                    <a:pt x="16740" y="2372"/>
                  </a:cubicBezTo>
                  <a:cubicBezTo>
                    <a:pt x="16740" y="2360"/>
                    <a:pt x="16761" y="2348"/>
                    <a:pt x="16784" y="2346"/>
                  </a:cubicBezTo>
                  <a:cubicBezTo>
                    <a:pt x="16807" y="2344"/>
                    <a:pt x="16831" y="2337"/>
                    <a:pt x="16838" y="2330"/>
                  </a:cubicBezTo>
                  <a:cubicBezTo>
                    <a:pt x="16845" y="2322"/>
                    <a:pt x="16881" y="2305"/>
                    <a:pt x="16917" y="2289"/>
                  </a:cubicBezTo>
                  <a:cubicBezTo>
                    <a:pt x="16953" y="2272"/>
                    <a:pt x="17000" y="2259"/>
                    <a:pt x="17021" y="2254"/>
                  </a:cubicBezTo>
                  <a:cubicBezTo>
                    <a:pt x="17042" y="2250"/>
                    <a:pt x="17083" y="2235"/>
                    <a:pt x="17112" y="2221"/>
                  </a:cubicBezTo>
                  <a:cubicBezTo>
                    <a:pt x="17141" y="2207"/>
                    <a:pt x="17198" y="2181"/>
                    <a:pt x="17237" y="2162"/>
                  </a:cubicBezTo>
                  <a:cubicBezTo>
                    <a:pt x="17277" y="2144"/>
                    <a:pt x="17319" y="2121"/>
                    <a:pt x="17330" y="2111"/>
                  </a:cubicBezTo>
                  <a:cubicBezTo>
                    <a:pt x="17342" y="2104"/>
                    <a:pt x="17371" y="2087"/>
                    <a:pt x="17396" y="2079"/>
                  </a:cubicBezTo>
                  <a:cubicBezTo>
                    <a:pt x="17422" y="2071"/>
                    <a:pt x="17464" y="2048"/>
                    <a:pt x="17490" y="2030"/>
                  </a:cubicBezTo>
                  <a:cubicBezTo>
                    <a:pt x="17516" y="2009"/>
                    <a:pt x="17549" y="1988"/>
                    <a:pt x="17559" y="1977"/>
                  </a:cubicBezTo>
                  <a:cubicBezTo>
                    <a:pt x="17571" y="1967"/>
                    <a:pt x="17577" y="1952"/>
                    <a:pt x="17574" y="1944"/>
                  </a:cubicBezTo>
                  <a:cubicBezTo>
                    <a:pt x="17572" y="1936"/>
                    <a:pt x="17577" y="1926"/>
                    <a:pt x="17584" y="1917"/>
                  </a:cubicBezTo>
                  <a:cubicBezTo>
                    <a:pt x="17593" y="1911"/>
                    <a:pt x="17604" y="1908"/>
                    <a:pt x="17609" y="1912"/>
                  </a:cubicBezTo>
                  <a:cubicBezTo>
                    <a:pt x="17614" y="1916"/>
                    <a:pt x="17630" y="1921"/>
                    <a:pt x="17645" y="1921"/>
                  </a:cubicBezTo>
                  <a:cubicBezTo>
                    <a:pt x="17659" y="1925"/>
                    <a:pt x="17687" y="1913"/>
                    <a:pt x="17705" y="1904"/>
                  </a:cubicBezTo>
                  <a:cubicBezTo>
                    <a:pt x="17723" y="1892"/>
                    <a:pt x="17758" y="1879"/>
                    <a:pt x="17782" y="1872"/>
                  </a:cubicBezTo>
                  <a:cubicBezTo>
                    <a:pt x="17806" y="1865"/>
                    <a:pt x="17828" y="1853"/>
                    <a:pt x="17832" y="1844"/>
                  </a:cubicBezTo>
                  <a:cubicBezTo>
                    <a:pt x="17835" y="1835"/>
                    <a:pt x="17854" y="1814"/>
                    <a:pt x="17875" y="1799"/>
                  </a:cubicBezTo>
                  <a:cubicBezTo>
                    <a:pt x="17897" y="1786"/>
                    <a:pt x="17922" y="1769"/>
                    <a:pt x="17932" y="1767"/>
                  </a:cubicBezTo>
                  <a:cubicBezTo>
                    <a:pt x="17942" y="1763"/>
                    <a:pt x="17965" y="1764"/>
                    <a:pt x="17981" y="1767"/>
                  </a:cubicBezTo>
                  <a:cubicBezTo>
                    <a:pt x="17998" y="1769"/>
                    <a:pt x="18027" y="1765"/>
                    <a:pt x="18045" y="1754"/>
                  </a:cubicBezTo>
                  <a:cubicBezTo>
                    <a:pt x="18064" y="1746"/>
                    <a:pt x="18097" y="1733"/>
                    <a:pt x="18120" y="1726"/>
                  </a:cubicBezTo>
                  <a:cubicBezTo>
                    <a:pt x="18142" y="1721"/>
                    <a:pt x="18166" y="1718"/>
                    <a:pt x="18173" y="1720"/>
                  </a:cubicBezTo>
                  <a:cubicBezTo>
                    <a:pt x="18181" y="1720"/>
                    <a:pt x="18199" y="1722"/>
                    <a:pt x="18215" y="1722"/>
                  </a:cubicBezTo>
                  <a:cubicBezTo>
                    <a:pt x="18232" y="1721"/>
                    <a:pt x="18312" y="1689"/>
                    <a:pt x="18395" y="1653"/>
                  </a:cubicBezTo>
                  <a:cubicBezTo>
                    <a:pt x="18477" y="1617"/>
                    <a:pt x="18554" y="1576"/>
                    <a:pt x="18568" y="1566"/>
                  </a:cubicBezTo>
                  <a:cubicBezTo>
                    <a:pt x="18580" y="1553"/>
                    <a:pt x="18596" y="1531"/>
                    <a:pt x="18604" y="1517"/>
                  </a:cubicBezTo>
                  <a:cubicBezTo>
                    <a:pt x="18611" y="1501"/>
                    <a:pt x="18636" y="1473"/>
                    <a:pt x="18658" y="1451"/>
                  </a:cubicBezTo>
                  <a:cubicBezTo>
                    <a:pt x="18681" y="1431"/>
                    <a:pt x="18720" y="1400"/>
                    <a:pt x="18746" y="1386"/>
                  </a:cubicBezTo>
                  <a:cubicBezTo>
                    <a:pt x="18772" y="1370"/>
                    <a:pt x="18794" y="1347"/>
                    <a:pt x="18792" y="1332"/>
                  </a:cubicBezTo>
                  <a:cubicBezTo>
                    <a:pt x="18792" y="1318"/>
                    <a:pt x="18794" y="1289"/>
                    <a:pt x="18798" y="1269"/>
                  </a:cubicBezTo>
                  <a:cubicBezTo>
                    <a:pt x="18801" y="1248"/>
                    <a:pt x="18803" y="1222"/>
                    <a:pt x="18797" y="1211"/>
                  </a:cubicBezTo>
                  <a:cubicBezTo>
                    <a:pt x="18794" y="1199"/>
                    <a:pt x="18774" y="1192"/>
                    <a:pt x="18755" y="1188"/>
                  </a:cubicBezTo>
                  <a:cubicBezTo>
                    <a:pt x="18737" y="1189"/>
                    <a:pt x="18698" y="1190"/>
                    <a:pt x="18668" y="1194"/>
                  </a:cubicBezTo>
                  <a:cubicBezTo>
                    <a:pt x="18638" y="1197"/>
                    <a:pt x="18585" y="1205"/>
                    <a:pt x="18549" y="1206"/>
                  </a:cubicBezTo>
                  <a:cubicBezTo>
                    <a:pt x="18514" y="1208"/>
                    <a:pt x="18460" y="1209"/>
                    <a:pt x="18429" y="1205"/>
                  </a:cubicBezTo>
                  <a:cubicBezTo>
                    <a:pt x="18398" y="1202"/>
                    <a:pt x="18348" y="1203"/>
                    <a:pt x="18318" y="1203"/>
                  </a:cubicBezTo>
                  <a:cubicBezTo>
                    <a:pt x="18288" y="1205"/>
                    <a:pt x="18246" y="1212"/>
                    <a:pt x="18225" y="1218"/>
                  </a:cubicBezTo>
                  <a:cubicBezTo>
                    <a:pt x="18204" y="1223"/>
                    <a:pt x="18184" y="1237"/>
                    <a:pt x="18179" y="1246"/>
                  </a:cubicBezTo>
                  <a:cubicBezTo>
                    <a:pt x="18175" y="1257"/>
                    <a:pt x="18173" y="1268"/>
                    <a:pt x="18178" y="1272"/>
                  </a:cubicBezTo>
                  <a:cubicBezTo>
                    <a:pt x="18183" y="1276"/>
                    <a:pt x="18178" y="1286"/>
                    <a:pt x="18171" y="1294"/>
                  </a:cubicBezTo>
                  <a:cubicBezTo>
                    <a:pt x="18162" y="1301"/>
                    <a:pt x="18153" y="1321"/>
                    <a:pt x="18150" y="1338"/>
                  </a:cubicBezTo>
                  <a:cubicBezTo>
                    <a:pt x="18147" y="1356"/>
                    <a:pt x="18134" y="1384"/>
                    <a:pt x="18121" y="1402"/>
                  </a:cubicBezTo>
                  <a:cubicBezTo>
                    <a:pt x="18109" y="1421"/>
                    <a:pt x="18077" y="1446"/>
                    <a:pt x="18052" y="1462"/>
                  </a:cubicBezTo>
                  <a:cubicBezTo>
                    <a:pt x="18026" y="1477"/>
                    <a:pt x="17994" y="1486"/>
                    <a:pt x="17981" y="1482"/>
                  </a:cubicBezTo>
                  <a:cubicBezTo>
                    <a:pt x="17968" y="1477"/>
                    <a:pt x="17944" y="1473"/>
                    <a:pt x="17928" y="1471"/>
                  </a:cubicBezTo>
                  <a:cubicBezTo>
                    <a:pt x="17912" y="1469"/>
                    <a:pt x="17893" y="1471"/>
                    <a:pt x="17885" y="1471"/>
                  </a:cubicBezTo>
                  <a:cubicBezTo>
                    <a:pt x="17877" y="1474"/>
                    <a:pt x="17860" y="1478"/>
                    <a:pt x="17849" y="1486"/>
                  </a:cubicBezTo>
                  <a:cubicBezTo>
                    <a:pt x="17838" y="1493"/>
                    <a:pt x="17819" y="1501"/>
                    <a:pt x="17808" y="1507"/>
                  </a:cubicBezTo>
                  <a:cubicBezTo>
                    <a:pt x="17797" y="1511"/>
                    <a:pt x="17772" y="1512"/>
                    <a:pt x="17752" y="1507"/>
                  </a:cubicBezTo>
                  <a:cubicBezTo>
                    <a:pt x="17732" y="1503"/>
                    <a:pt x="17703" y="1499"/>
                    <a:pt x="17687" y="1500"/>
                  </a:cubicBezTo>
                  <a:cubicBezTo>
                    <a:pt x="17672" y="1501"/>
                    <a:pt x="17588" y="1495"/>
                    <a:pt x="17501" y="1487"/>
                  </a:cubicBezTo>
                  <a:cubicBezTo>
                    <a:pt x="17501" y="1487"/>
                    <a:pt x="17501" y="1487"/>
                    <a:pt x="17492" y="1486"/>
                  </a:cubicBezTo>
                  <a:cubicBezTo>
                    <a:pt x="17483" y="1488"/>
                    <a:pt x="17483" y="1486"/>
                    <a:pt x="17483" y="1486"/>
                  </a:cubicBezTo>
                  <a:cubicBezTo>
                    <a:pt x="17391" y="1494"/>
                    <a:pt x="17294" y="1506"/>
                    <a:pt x="17267" y="1513"/>
                  </a:cubicBezTo>
                  <a:cubicBezTo>
                    <a:pt x="17240" y="1519"/>
                    <a:pt x="17186" y="1531"/>
                    <a:pt x="17147" y="1538"/>
                  </a:cubicBezTo>
                  <a:cubicBezTo>
                    <a:pt x="17108" y="1544"/>
                    <a:pt x="17050" y="1557"/>
                    <a:pt x="17019" y="1564"/>
                  </a:cubicBezTo>
                  <a:cubicBezTo>
                    <a:pt x="16988" y="1570"/>
                    <a:pt x="16954" y="1577"/>
                    <a:pt x="16944" y="1575"/>
                  </a:cubicBezTo>
                  <a:cubicBezTo>
                    <a:pt x="16934" y="1575"/>
                    <a:pt x="16923" y="1568"/>
                    <a:pt x="16923" y="1561"/>
                  </a:cubicBezTo>
                  <a:cubicBezTo>
                    <a:pt x="16920" y="1555"/>
                    <a:pt x="16927" y="1541"/>
                    <a:pt x="16935" y="1531"/>
                  </a:cubicBezTo>
                  <a:cubicBezTo>
                    <a:pt x="16943" y="1521"/>
                    <a:pt x="16948" y="1506"/>
                    <a:pt x="16947" y="1499"/>
                  </a:cubicBezTo>
                  <a:cubicBezTo>
                    <a:pt x="16947" y="1491"/>
                    <a:pt x="16953" y="1477"/>
                    <a:pt x="16962" y="1467"/>
                  </a:cubicBezTo>
                  <a:cubicBezTo>
                    <a:pt x="16970" y="1457"/>
                    <a:pt x="16983" y="1448"/>
                    <a:pt x="16990" y="1447"/>
                  </a:cubicBezTo>
                  <a:cubicBezTo>
                    <a:pt x="16996" y="1445"/>
                    <a:pt x="17010" y="1445"/>
                    <a:pt x="17021" y="1448"/>
                  </a:cubicBezTo>
                  <a:cubicBezTo>
                    <a:pt x="17032" y="1448"/>
                    <a:pt x="17051" y="1448"/>
                    <a:pt x="17064" y="1448"/>
                  </a:cubicBezTo>
                  <a:cubicBezTo>
                    <a:pt x="17076" y="1446"/>
                    <a:pt x="17113" y="1440"/>
                    <a:pt x="17144" y="1431"/>
                  </a:cubicBezTo>
                  <a:cubicBezTo>
                    <a:pt x="17176" y="1425"/>
                    <a:pt x="17257" y="1410"/>
                    <a:pt x="17324" y="1402"/>
                  </a:cubicBezTo>
                  <a:cubicBezTo>
                    <a:pt x="17390" y="1393"/>
                    <a:pt x="17458" y="1384"/>
                    <a:pt x="17474" y="1379"/>
                  </a:cubicBezTo>
                  <a:cubicBezTo>
                    <a:pt x="17490" y="1375"/>
                    <a:pt x="17517" y="1362"/>
                    <a:pt x="17533" y="1347"/>
                  </a:cubicBezTo>
                  <a:cubicBezTo>
                    <a:pt x="17549" y="1333"/>
                    <a:pt x="17567" y="1316"/>
                    <a:pt x="17572" y="1306"/>
                  </a:cubicBezTo>
                  <a:cubicBezTo>
                    <a:pt x="17575" y="1296"/>
                    <a:pt x="17596" y="1284"/>
                    <a:pt x="17614" y="1277"/>
                  </a:cubicBezTo>
                  <a:cubicBezTo>
                    <a:pt x="17633" y="1269"/>
                    <a:pt x="17653" y="1259"/>
                    <a:pt x="17657" y="1252"/>
                  </a:cubicBezTo>
                  <a:cubicBezTo>
                    <a:pt x="17663" y="1246"/>
                    <a:pt x="17659" y="1237"/>
                    <a:pt x="17650" y="1233"/>
                  </a:cubicBezTo>
                  <a:cubicBezTo>
                    <a:pt x="17641" y="1229"/>
                    <a:pt x="17632" y="1222"/>
                    <a:pt x="17630" y="1216"/>
                  </a:cubicBezTo>
                  <a:cubicBezTo>
                    <a:pt x="17630" y="1210"/>
                    <a:pt x="17609" y="1206"/>
                    <a:pt x="17586" y="1208"/>
                  </a:cubicBezTo>
                  <a:cubicBezTo>
                    <a:pt x="17564" y="1209"/>
                    <a:pt x="17503" y="1213"/>
                    <a:pt x="17452" y="1215"/>
                  </a:cubicBezTo>
                  <a:cubicBezTo>
                    <a:pt x="17401" y="1216"/>
                    <a:pt x="17325" y="1217"/>
                    <a:pt x="17283" y="1216"/>
                  </a:cubicBezTo>
                  <a:cubicBezTo>
                    <a:pt x="17241" y="1215"/>
                    <a:pt x="17185" y="1210"/>
                    <a:pt x="17159" y="1207"/>
                  </a:cubicBezTo>
                  <a:cubicBezTo>
                    <a:pt x="17132" y="1203"/>
                    <a:pt x="17094" y="1199"/>
                    <a:pt x="17073" y="1199"/>
                  </a:cubicBezTo>
                  <a:cubicBezTo>
                    <a:pt x="17053" y="1198"/>
                    <a:pt x="16985" y="1205"/>
                    <a:pt x="16924" y="1212"/>
                  </a:cubicBezTo>
                  <a:cubicBezTo>
                    <a:pt x="16862" y="1220"/>
                    <a:pt x="16787" y="1225"/>
                    <a:pt x="16757" y="1227"/>
                  </a:cubicBezTo>
                  <a:cubicBezTo>
                    <a:pt x="16727" y="1227"/>
                    <a:pt x="16683" y="1226"/>
                    <a:pt x="16660" y="1221"/>
                  </a:cubicBezTo>
                  <a:cubicBezTo>
                    <a:pt x="16636" y="1218"/>
                    <a:pt x="16589" y="1216"/>
                    <a:pt x="16554" y="1219"/>
                  </a:cubicBezTo>
                  <a:cubicBezTo>
                    <a:pt x="16519" y="1222"/>
                    <a:pt x="16467" y="1228"/>
                    <a:pt x="16437" y="1233"/>
                  </a:cubicBezTo>
                  <a:cubicBezTo>
                    <a:pt x="16407" y="1241"/>
                    <a:pt x="16370" y="1243"/>
                    <a:pt x="16355" y="1241"/>
                  </a:cubicBezTo>
                  <a:cubicBezTo>
                    <a:pt x="16340" y="1241"/>
                    <a:pt x="16307" y="1238"/>
                    <a:pt x="16282" y="1240"/>
                  </a:cubicBezTo>
                  <a:cubicBezTo>
                    <a:pt x="16256" y="1240"/>
                    <a:pt x="16222" y="1241"/>
                    <a:pt x="16207" y="1244"/>
                  </a:cubicBezTo>
                  <a:cubicBezTo>
                    <a:pt x="16190" y="1245"/>
                    <a:pt x="16163" y="1258"/>
                    <a:pt x="16145" y="1270"/>
                  </a:cubicBezTo>
                  <a:cubicBezTo>
                    <a:pt x="16126" y="1281"/>
                    <a:pt x="16108" y="1301"/>
                    <a:pt x="16105" y="1311"/>
                  </a:cubicBezTo>
                  <a:cubicBezTo>
                    <a:pt x="16102" y="1322"/>
                    <a:pt x="16081" y="1336"/>
                    <a:pt x="16060" y="1345"/>
                  </a:cubicBezTo>
                  <a:cubicBezTo>
                    <a:pt x="16039" y="1352"/>
                    <a:pt x="16017" y="1360"/>
                    <a:pt x="16010" y="1360"/>
                  </a:cubicBezTo>
                  <a:cubicBezTo>
                    <a:pt x="16004" y="1360"/>
                    <a:pt x="16003" y="1353"/>
                    <a:pt x="16007" y="1344"/>
                  </a:cubicBezTo>
                  <a:cubicBezTo>
                    <a:pt x="16013" y="1336"/>
                    <a:pt x="16016" y="1326"/>
                    <a:pt x="16017" y="1323"/>
                  </a:cubicBezTo>
                  <a:cubicBezTo>
                    <a:pt x="16017" y="1320"/>
                    <a:pt x="16003" y="1319"/>
                    <a:pt x="15985" y="1319"/>
                  </a:cubicBezTo>
                  <a:cubicBezTo>
                    <a:pt x="15967" y="1321"/>
                    <a:pt x="15905" y="1333"/>
                    <a:pt x="15848" y="1347"/>
                  </a:cubicBezTo>
                  <a:cubicBezTo>
                    <a:pt x="15791" y="1363"/>
                    <a:pt x="15714" y="1379"/>
                    <a:pt x="15678" y="1386"/>
                  </a:cubicBezTo>
                  <a:cubicBezTo>
                    <a:pt x="15642" y="1393"/>
                    <a:pt x="15599" y="1408"/>
                    <a:pt x="15581" y="1416"/>
                  </a:cubicBezTo>
                  <a:cubicBezTo>
                    <a:pt x="15563" y="1425"/>
                    <a:pt x="15539" y="1437"/>
                    <a:pt x="15528" y="1444"/>
                  </a:cubicBezTo>
                  <a:cubicBezTo>
                    <a:pt x="15516" y="1450"/>
                    <a:pt x="15488" y="1458"/>
                    <a:pt x="15465" y="1460"/>
                  </a:cubicBezTo>
                  <a:cubicBezTo>
                    <a:pt x="15443" y="1464"/>
                    <a:pt x="15405" y="1467"/>
                    <a:pt x="15380" y="1470"/>
                  </a:cubicBezTo>
                  <a:cubicBezTo>
                    <a:pt x="15356" y="1473"/>
                    <a:pt x="15321" y="1483"/>
                    <a:pt x="15300" y="1489"/>
                  </a:cubicBezTo>
                  <a:cubicBezTo>
                    <a:pt x="15281" y="1498"/>
                    <a:pt x="15246" y="1506"/>
                    <a:pt x="15222" y="1509"/>
                  </a:cubicBezTo>
                  <a:cubicBezTo>
                    <a:pt x="15199" y="1514"/>
                    <a:pt x="15164" y="1523"/>
                    <a:pt x="15146" y="1534"/>
                  </a:cubicBezTo>
                  <a:cubicBezTo>
                    <a:pt x="15127" y="1543"/>
                    <a:pt x="15109" y="1559"/>
                    <a:pt x="15103" y="1567"/>
                  </a:cubicBezTo>
                  <a:cubicBezTo>
                    <a:pt x="15097" y="1575"/>
                    <a:pt x="15085" y="1591"/>
                    <a:pt x="15072" y="1599"/>
                  </a:cubicBezTo>
                  <a:cubicBezTo>
                    <a:pt x="15060" y="1607"/>
                    <a:pt x="15038" y="1617"/>
                    <a:pt x="15023" y="1618"/>
                  </a:cubicBezTo>
                  <a:cubicBezTo>
                    <a:pt x="15009" y="1620"/>
                    <a:pt x="14990" y="1614"/>
                    <a:pt x="14980" y="1608"/>
                  </a:cubicBezTo>
                  <a:cubicBezTo>
                    <a:pt x="14971" y="1600"/>
                    <a:pt x="14967" y="1588"/>
                    <a:pt x="14967" y="1578"/>
                  </a:cubicBezTo>
                  <a:cubicBezTo>
                    <a:pt x="14970" y="1568"/>
                    <a:pt x="14967" y="1555"/>
                    <a:pt x="14966" y="1547"/>
                  </a:cubicBezTo>
                  <a:cubicBezTo>
                    <a:pt x="14964" y="1540"/>
                    <a:pt x="14951" y="1531"/>
                    <a:pt x="14939" y="1526"/>
                  </a:cubicBezTo>
                  <a:cubicBezTo>
                    <a:pt x="14926" y="1520"/>
                    <a:pt x="14918" y="1510"/>
                    <a:pt x="14920" y="1500"/>
                  </a:cubicBezTo>
                  <a:cubicBezTo>
                    <a:pt x="14920" y="1491"/>
                    <a:pt x="14936" y="1477"/>
                    <a:pt x="14951" y="1468"/>
                  </a:cubicBezTo>
                  <a:cubicBezTo>
                    <a:pt x="14964" y="1458"/>
                    <a:pt x="14993" y="1450"/>
                    <a:pt x="15012" y="1446"/>
                  </a:cubicBezTo>
                  <a:cubicBezTo>
                    <a:pt x="15031" y="1443"/>
                    <a:pt x="15071" y="1433"/>
                    <a:pt x="15100" y="1424"/>
                  </a:cubicBezTo>
                  <a:cubicBezTo>
                    <a:pt x="15129" y="1414"/>
                    <a:pt x="15173" y="1404"/>
                    <a:pt x="15198" y="1402"/>
                  </a:cubicBezTo>
                  <a:cubicBezTo>
                    <a:pt x="15223" y="1400"/>
                    <a:pt x="15259" y="1392"/>
                    <a:pt x="15279" y="1389"/>
                  </a:cubicBezTo>
                  <a:cubicBezTo>
                    <a:pt x="15298" y="1387"/>
                    <a:pt x="15323" y="1375"/>
                    <a:pt x="15335" y="1369"/>
                  </a:cubicBezTo>
                  <a:cubicBezTo>
                    <a:pt x="15346" y="1363"/>
                    <a:pt x="15371" y="1350"/>
                    <a:pt x="15391" y="1346"/>
                  </a:cubicBezTo>
                  <a:cubicBezTo>
                    <a:pt x="15411" y="1339"/>
                    <a:pt x="15459" y="1332"/>
                    <a:pt x="15496" y="1326"/>
                  </a:cubicBezTo>
                  <a:cubicBezTo>
                    <a:pt x="15534" y="1322"/>
                    <a:pt x="15587" y="1309"/>
                    <a:pt x="15615" y="1303"/>
                  </a:cubicBezTo>
                  <a:cubicBezTo>
                    <a:pt x="15643" y="1294"/>
                    <a:pt x="15684" y="1285"/>
                    <a:pt x="15705" y="1275"/>
                  </a:cubicBezTo>
                  <a:cubicBezTo>
                    <a:pt x="15727" y="1268"/>
                    <a:pt x="15762" y="1259"/>
                    <a:pt x="15783" y="1257"/>
                  </a:cubicBezTo>
                  <a:cubicBezTo>
                    <a:pt x="15804" y="1254"/>
                    <a:pt x="15831" y="1253"/>
                    <a:pt x="15844" y="1252"/>
                  </a:cubicBezTo>
                  <a:cubicBezTo>
                    <a:pt x="15856" y="1254"/>
                    <a:pt x="15882" y="1244"/>
                    <a:pt x="15901" y="1240"/>
                  </a:cubicBezTo>
                  <a:cubicBezTo>
                    <a:pt x="15919" y="1232"/>
                    <a:pt x="15941" y="1222"/>
                    <a:pt x="15950" y="1214"/>
                  </a:cubicBezTo>
                  <a:cubicBezTo>
                    <a:pt x="15957" y="1205"/>
                    <a:pt x="15961" y="1195"/>
                    <a:pt x="15955" y="1191"/>
                  </a:cubicBezTo>
                  <a:cubicBezTo>
                    <a:pt x="15950" y="1184"/>
                    <a:pt x="15935" y="1180"/>
                    <a:pt x="15924" y="1175"/>
                  </a:cubicBezTo>
                  <a:cubicBezTo>
                    <a:pt x="15912" y="1175"/>
                    <a:pt x="15880" y="1171"/>
                    <a:pt x="15852" y="1174"/>
                  </a:cubicBezTo>
                  <a:cubicBezTo>
                    <a:pt x="15824" y="1176"/>
                    <a:pt x="15794" y="1178"/>
                    <a:pt x="15786" y="1179"/>
                  </a:cubicBezTo>
                  <a:cubicBezTo>
                    <a:pt x="15778" y="1179"/>
                    <a:pt x="15774" y="1175"/>
                    <a:pt x="15778" y="1170"/>
                  </a:cubicBezTo>
                  <a:cubicBezTo>
                    <a:pt x="15782" y="1167"/>
                    <a:pt x="15800" y="1160"/>
                    <a:pt x="15820" y="1159"/>
                  </a:cubicBezTo>
                  <a:cubicBezTo>
                    <a:pt x="15839" y="1158"/>
                    <a:pt x="15861" y="1156"/>
                    <a:pt x="15869" y="1157"/>
                  </a:cubicBezTo>
                  <a:cubicBezTo>
                    <a:pt x="15877" y="1159"/>
                    <a:pt x="15900" y="1159"/>
                    <a:pt x="15920" y="1156"/>
                  </a:cubicBezTo>
                  <a:cubicBezTo>
                    <a:pt x="15941" y="1155"/>
                    <a:pt x="15968" y="1152"/>
                    <a:pt x="15981" y="1156"/>
                  </a:cubicBezTo>
                  <a:cubicBezTo>
                    <a:pt x="15995" y="1156"/>
                    <a:pt x="16007" y="1168"/>
                    <a:pt x="16011" y="1177"/>
                  </a:cubicBezTo>
                  <a:cubicBezTo>
                    <a:pt x="16013" y="1187"/>
                    <a:pt x="16024" y="1193"/>
                    <a:pt x="16033" y="1194"/>
                  </a:cubicBezTo>
                  <a:cubicBezTo>
                    <a:pt x="16042" y="1193"/>
                    <a:pt x="16052" y="1188"/>
                    <a:pt x="16057" y="1185"/>
                  </a:cubicBezTo>
                  <a:cubicBezTo>
                    <a:pt x="16061" y="1180"/>
                    <a:pt x="16085" y="1171"/>
                    <a:pt x="16109" y="1164"/>
                  </a:cubicBezTo>
                  <a:cubicBezTo>
                    <a:pt x="16132" y="1155"/>
                    <a:pt x="16176" y="1150"/>
                    <a:pt x="16205" y="1148"/>
                  </a:cubicBezTo>
                  <a:cubicBezTo>
                    <a:pt x="16235" y="1147"/>
                    <a:pt x="16277" y="1144"/>
                    <a:pt x="16298" y="1139"/>
                  </a:cubicBezTo>
                  <a:cubicBezTo>
                    <a:pt x="16320" y="1132"/>
                    <a:pt x="16351" y="1124"/>
                    <a:pt x="16368" y="1116"/>
                  </a:cubicBezTo>
                  <a:cubicBezTo>
                    <a:pt x="16385" y="1108"/>
                    <a:pt x="16414" y="1099"/>
                    <a:pt x="16432" y="1096"/>
                  </a:cubicBezTo>
                  <a:cubicBezTo>
                    <a:pt x="16450" y="1093"/>
                    <a:pt x="16484" y="1092"/>
                    <a:pt x="16508" y="1093"/>
                  </a:cubicBezTo>
                  <a:cubicBezTo>
                    <a:pt x="16531" y="1095"/>
                    <a:pt x="16569" y="1098"/>
                    <a:pt x="16592" y="1094"/>
                  </a:cubicBezTo>
                  <a:cubicBezTo>
                    <a:pt x="16614" y="1095"/>
                    <a:pt x="16655" y="1090"/>
                    <a:pt x="16681" y="1084"/>
                  </a:cubicBezTo>
                  <a:cubicBezTo>
                    <a:pt x="16708" y="1078"/>
                    <a:pt x="16743" y="1075"/>
                    <a:pt x="16759" y="1075"/>
                  </a:cubicBezTo>
                  <a:cubicBezTo>
                    <a:pt x="16775" y="1075"/>
                    <a:pt x="16805" y="1078"/>
                    <a:pt x="16825" y="1081"/>
                  </a:cubicBezTo>
                  <a:cubicBezTo>
                    <a:pt x="16845" y="1083"/>
                    <a:pt x="16892" y="1084"/>
                    <a:pt x="16929" y="1081"/>
                  </a:cubicBezTo>
                  <a:cubicBezTo>
                    <a:pt x="16966" y="1077"/>
                    <a:pt x="17002" y="1079"/>
                    <a:pt x="17009" y="1079"/>
                  </a:cubicBezTo>
                  <a:cubicBezTo>
                    <a:pt x="17017" y="1081"/>
                    <a:pt x="17033" y="1082"/>
                    <a:pt x="17046" y="1080"/>
                  </a:cubicBezTo>
                  <a:cubicBezTo>
                    <a:pt x="17059" y="1079"/>
                    <a:pt x="17095" y="1083"/>
                    <a:pt x="17125" y="1093"/>
                  </a:cubicBezTo>
                  <a:cubicBezTo>
                    <a:pt x="17156" y="1101"/>
                    <a:pt x="17196" y="1108"/>
                    <a:pt x="17214" y="1110"/>
                  </a:cubicBezTo>
                  <a:cubicBezTo>
                    <a:pt x="17232" y="1112"/>
                    <a:pt x="17269" y="1108"/>
                    <a:pt x="17298" y="1105"/>
                  </a:cubicBezTo>
                  <a:cubicBezTo>
                    <a:pt x="17326" y="1101"/>
                    <a:pt x="17358" y="1093"/>
                    <a:pt x="17370" y="1088"/>
                  </a:cubicBezTo>
                  <a:cubicBezTo>
                    <a:pt x="17381" y="1082"/>
                    <a:pt x="17406" y="1079"/>
                    <a:pt x="17424" y="1079"/>
                  </a:cubicBezTo>
                  <a:cubicBezTo>
                    <a:pt x="17442" y="1078"/>
                    <a:pt x="17475" y="1079"/>
                    <a:pt x="17496" y="1082"/>
                  </a:cubicBezTo>
                  <a:cubicBezTo>
                    <a:pt x="17517" y="1082"/>
                    <a:pt x="17552" y="1083"/>
                    <a:pt x="17573" y="1082"/>
                  </a:cubicBezTo>
                  <a:cubicBezTo>
                    <a:pt x="17594" y="1082"/>
                    <a:pt x="17622" y="1080"/>
                    <a:pt x="17634" y="1085"/>
                  </a:cubicBezTo>
                  <a:cubicBezTo>
                    <a:pt x="17646" y="1087"/>
                    <a:pt x="17673" y="1090"/>
                    <a:pt x="17693" y="1089"/>
                  </a:cubicBezTo>
                  <a:cubicBezTo>
                    <a:pt x="17714" y="1087"/>
                    <a:pt x="17760" y="1080"/>
                    <a:pt x="17796" y="1071"/>
                  </a:cubicBezTo>
                  <a:cubicBezTo>
                    <a:pt x="17832" y="1063"/>
                    <a:pt x="17878" y="1051"/>
                    <a:pt x="17896" y="1043"/>
                  </a:cubicBezTo>
                  <a:cubicBezTo>
                    <a:pt x="17914" y="1035"/>
                    <a:pt x="17952" y="1029"/>
                    <a:pt x="17978" y="1027"/>
                  </a:cubicBezTo>
                  <a:cubicBezTo>
                    <a:pt x="18005" y="1025"/>
                    <a:pt x="18041" y="1030"/>
                    <a:pt x="18057" y="1032"/>
                  </a:cubicBezTo>
                  <a:cubicBezTo>
                    <a:pt x="18073" y="1037"/>
                    <a:pt x="18096" y="1039"/>
                    <a:pt x="18107" y="1038"/>
                  </a:cubicBezTo>
                  <a:cubicBezTo>
                    <a:pt x="18118" y="1037"/>
                    <a:pt x="18145" y="1032"/>
                    <a:pt x="18167" y="1025"/>
                  </a:cubicBezTo>
                  <a:cubicBezTo>
                    <a:pt x="18189" y="1018"/>
                    <a:pt x="18227" y="1013"/>
                    <a:pt x="18250" y="1016"/>
                  </a:cubicBezTo>
                  <a:cubicBezTo>
                    <a:pt x="18275" y="1018"/>
                    <a:pt x="18315" y="1017"/>
                    <a:pt x="18340" y="1017"/>
                  </a:cubicBezTo>
                  <a:cubicBezTo>
                    <a:pt x="18364" y="1016"/>
                    <a:pt x="18388" y="1011"/>
                    <a:pt x="18391" y="1006"/>
                  </a:cubicBezTo>
                  <a:cubicBezTo>
                    <a:pt x="18395" y="1002"/>
                    <a:pt x="18387" y="995"/>
                    <a:pt x="18373" y="993"/>
                  </a:cubicBezTo>
                  <a:cubicBezTo>
                    <a:pt x="18359" y="991"/>
                    <a:pt x="18349" y="983"/>
                    <a:pt x="18349" y="977"/>
                  </a:cubicBezTo>
                  <a:cubicBezTo>
                    <a:pt x="18351" y="971"/>
                    <a:pt x="18358" y="963"/>
                    <a:pt x="18367" y="962"/>
                  </a:cubicBezTo>
                  <a:cubicBezTo>
                    <a:pt x="18376" y="958"/>
                    <a:pt x="18392" y="962"/>
                    <a:pt x="18402" y="965"/>
                  </a:cubicBezTo>
                  <a:cubicBezTo>
                    <a:pt x="18411" y="970"/>
                    <a:pt x="18431" y="978"/>
                    <a:pt x="18444" y="983"/>
                  </a:cubicBezTo>
                  <a:cubicBezTo>
                    <a:pt x="18457" y="989"/>
                    <a:pt x="18485" y="993"/>
                    <a:pt x="18505" y="992"/>
                  </a:cubicBezTo>
                  <a:cubicBezTo>
                    <a:pt x="18526" y="991"/>
                    <a:pt x="18552" y="988"/>
                    <a:pt x="18562" y="985"/>
                  </a:cubicBezTo>
                  <a:cubicBezTo>
                    <a:pt x="18573" y="982"/>
                    <a:pt x="18610" y="977"/>
                    <a:pt x="18645" y="975"/>
                  </a:cubicBezTo>
                  <a:cubicBezTo>
                    <a:pt x="18680" y="972"/>
                    <a:pt x="18748" y="961"/>
                    <a:pt x="18797" y="951"/>
                  </a:cubicBezTo>
                  <a:cubicBezTo>
                    <a:pt x="18845" y="939"/>
                    <a:pt x="18905" y="926"/>
                    <a:pt x="18929" y="918"/>
                  </a:cubicBezTo>
                  <a:cubicBezTo>
                    <a:pt x="18953" y="912"/>
                    <a:pt x="18980" y="902"/>
                    <a:pt x="18988" y="896"/>
                  </a:cubicBezTo>
                  <a:cubicBezTo>
                    <a:pt x="18996" y="890"/>
                    <a:pt x="19003" y="883"/>
                    <a:pt x="19003" y="877"/>
                  </a:cubicBezTo>
                  <a:cubicBezTo>
                    <a:pt x="19004" y="872"/>
                    <a:pt x="19011" y="865"/>
                    <a:pt x="19021" y="862"/>
                  </a:cubicBezTo>
                  <a:cubicBezTo>
                    <a:pt x="19030" y="860"/>
                    <a:pt x="19048" y="857"/>
                    <a:pt x="19059" y="861"/>
                  </a:cubicBezTo>
                  <a:cubicBezTo>
                    <a:pt x="19070" y="863"/>
                    <a:pt x="19096" y="860"/>
                    <a:pt x="19116" y="858"/>
                  </a:cubicBezTo>
                  <a:cubicBezTo>
                    <a:pt x="19136" y="853"/>
                    <a:pt x="19174" y="844"/>
                    <a:pt x="19200" y="835"/>
                  </a:cubicBezTo>
                  <a:cubicBezTo>
                    <a:pt x="19226" y="825"/>
                    <a:pt x="19261" y="815"/>
                    <a:pt x="19277" y="811"/>
                  </a:cubicBezTo>
                  <a:cubicBezTo>
                    <a:pt x="19293" y="807"/>
                    <a:pt x="19310" y="797"/>
                    <a:pt x="19308" y="789"/>
                  </a:cubicBezTo>
                  <a:cubicBezTo>
                    <a:pt x="19311" y="782"/>
                    <a:pt x="19313" y="770"/>
                    <a:pt x="19317" y="764"/>
                  </a:cubicBezTo>
                  <a:cubicBezTo>
                    <a:pt x="19320" y="757"/>
                    <a:pt x="19334" y="749"/>
                    <a:pt x="19345" y="746"/>
                  </a:cubicBezTo>
                  <a:cubicBezTo>
                    <a:pt x="19356" y="742"/>
                    <a:pt x="19366" y="731"/>
                    <a:pt x="19367" y="720"/>
                  </a:cubicBezTo>
                  <a:cubicBezTo>
                    <a:pt x="19369" y="709"/>
                    <a:pt x="19366" y="696"/>
                    <a:pt x="19362" y="691"/>
                  </a:cubicBezTo>
                  <a:cubicBezTo>
                    <a:pt x="19358" y="687"/>
                    <a:pt x="19335" y="676"/>
                    <a:pt x="19309" y="668"/>
                  </a:cubicBezTo>
                  <a:cubicBezTo>
                    <a:pt x="19284" y="662"/>
                    <a:pt x="19237" y="651"/>
                    <a:pt x="19205" y="647"/>
                  </a:cubicBezTo>
                  <a:cubicBezTo>
                    <a:pt x="19174" y="641"/>
                    <a:pt x="19127" y="632"/>
                    <a:pt x="19102" y="626"/>
                  </a:cubicBezTo>
                  <a:cubicBezTo>
                    <a:pt x="19076" y="617"/>
                    <a:pt x="19055" y="605"/>
                    <a:pt x="19051" y="600"/>
                  </a:cubicBezTo>
                  <a:cubicBezTo>
                    <a:pt x="19048" y="593"/>
                    <a:pt x="19034" y="583"/>
                    <a:pt x="19020" y="580"/>
                  </a:cubicBezTo>
                  <a:cubicBezTo>
                    <a:pt x="19007" y="575"/>
                    <a:pt x="18965" y="569"/>
                    <a:pt x="18928" y="570"/>
                  </a:cubicBezTo>
                  <a:cubicBezTo>
                    <a:pt x="18892" y="567"/>
                    <a:pt x="18849" y="563"/>
                    <a:pt x="18833" y="558"/>
                  </a:cubicBezTo>
                  <a:cubicBezTo>
                    <a:pt x="18818" y="551"/>
                    <a:pt x="18801" y="540"/>
                    <a:pt x="18795" y="534"/>
                  </a:cubicBezTo>
                  <a:cubicBezTo>
                    <a:pt x="18789" y="528"/>
                    <a:pt x="18774" y="520"/>
                    <a:pt x="18762" y="519"/>
                  </a:cubicBezTo>
                  <a:cubicBezTo>
                    <a:pt x="18749" y="518"/>
                    <a:pt x="18733" y="520"/>
                    <a:pt x="18726" y="522"/>
                  </a:cubicBezTo>
                  <a:cubicBezTo>
                    <a:pt x="18718" y="525"/>
                    <a:pt x="18700" y="531"/>
                    <a:pt x="18684" y="533"/>
                  </a:cubicBezTo>
                  <a:cubicBezTo>
                    <a:pt x="18668" y="536"/>
                    <a:pt x="18645" y="537"/>
                    <a:pt x="18632" y="533"/>
                  </a:cubicBezTo>
                  <a:cubicBezTo>
                    <a:pt x="18620" y="530"/>
                    <a:pt x="18606" y="524"/>
                    <a:pt x="18604" y="517"/>
                  </a:cubicBezTo>
                  <a:cubicBezTo>
                    <a:pt x="18602" y="510"/>
                    <a:pt x="18587" y="504"/>
                    <a:pt x="18574" y="501"/>
                  </a:cubicBezTo>
                  <a:cubicBezTo>
                    <a:pt x="18560" y="497"/>
                    <a:pt x="18504" y="498"/>
                    <a:pt x="18448" y="499"/>
                  </a:cubicBezTo>
                  <a:cubicBezTo>
                    <a:pt x="18392" y="502"/>
                    <a:pt x="18329" y="508"/>
                    <a:pt x="18308" y="509"/>
                  </a:cubicBezTo>
                  <a:cubicBezTo>
                    <a:pt x="18287" y="511"/>
                    <a:pt x="18268" y="520"/>
                    <a:pt x="18267" y="527"/>
                  </a:cubicBezTo>
                  <a:cubicBezTo>
                    <a:pt x="18265" y="534"/>
                    <a:pt x="18262" y="544"/>
                    <a:pt x="18260" y="548"/>
                  </a:cubicBezTo>
                  <a:cubicBezTo>
                    <a:pt x="18257" y="552"/>
                    <a:pt x="18247" y="553"/>
                    <a:pt x="18237" y="549"/>
                  </a:cubicBezTo>
                  <a:cubicBezTo>
                    <a:pt x="18227" y="546"/>
                    <a:pt x="18208" y="543"/>
                    <a:pt x="18193" y="544"/>
                  </a:cubicBezTo>
                  <a:cubicBezTo>
                    <a:pt x="18178" y="544"/>
                    <a:pt x="18133" y="553"/>
                    <a:pt x="18092" y="564"/>
                  </a:cubicBezTo>
                  <a:cubicBezTo>
                    <a:pt x="18051" y="574"/>
                    <a:pt x="18001" y="585"/>
                    <a:pt x="17980" y="588"/>
                  </a:cubicBezTo>
                  <a:cubicBezTo>
                    <a:pt x="17959" y="590"/>
                    <a:pt x="17920" y="590"/>
                    <a:pt x="17893" y="586"/>
                  </a:cubicBezTo>
                  <a:cubicBezTo>
                    <a:pt x="17866" y="583"/>
                    <a:pt x="17822" y="581"/>
                    <a:pt x="17795" y="581"/>
                  </a:cubicBezTo>
                  <a:cubicBezTo>
                    <a:pt x="17769" y="582"/>
                    <a:pt x="17732" y="580"/>
                    <a:pt x="17713" y="579"/>
                  </a:cubicBezTo>
                  <a:cubicBezTo>
                    <a:pt x="17694" y="575"/>
                    <a:pt x="17670" y="571"/>
                    <a:pt x="17661" y="564"/>
                  </a:cubicBezTo>
                  <a:cubicBezTo>
                    <a:pt x="17651" y="559"/>
                    <a:pt x="17645" y="548"/>
                    <a:pt x="17647" y="542"/>
                  </a:cubicBezTo>
                  <a:cubicBezTo>
                    <a:pt x="17650" y="536"/>
                    <a:pt x="17663" y="531"/>
                    <a:pt x="17677" y="528"/>
                  </a:cubicBezTo>
                  <a:cubicBezTo>
                    <a:pt x="17691" y="527"/>
                    <a:pt x="17713" y="531"/>
                    <a:pt x="17727" y="535"/>
                  </a:cubicBezTo>
                  <a:cubicBezTo>
                    <a:pt x="17740" y="540"/>
                    <a:pt x="17772" y="544"/>
                    <a:pt x="17796" y="548"/>
                  </a:cubicBezTo>
                  <a:cubicBezTo>
                    <a:pt x="17821" y="549"/>
                    <a:pt x="17845" y="549"/>
                    <a:pt x="17850" y="546"/>
                  </a:cubicBezTo>
                  <a:cubicBezTo>
                    <a:pt x="17854" y="543"/>
                    <a:pt x="17857" y="536"/>
                    <a:pt x="17853" y="534"/>
                  </a:cubicBezTo>
                  <a:cubicBezTo>
                    <a:pt x="17851" y="530"/>
                    <a:pt x="17831" y="521"/>
                    <a:pt x="17809" y="514"/>
                  </a:cubicBezTo>
                  <a:cubicBezTo>
                    <a:pt x="17787" y="507"/>
                    <a:pt x="17768" y="496"/>
                    <a:pt x="17768" y="490"/>
                  </a:cubicBezTo>
                  <a:cubicBezTo>
                    <a:pt x="17766" y="483"/>
                    <a:pt x="17775" y="475"/>
                    <a:pt x="17784" y="471"/>
                  </a:cubicBezTo>
                  <a:cubicBezTo>
                    <a:pt x="17793" y="467"/>
                    <a:pt x="17812" y="469"/>
                    <a:pt x="17826" y="474"/>
                  </a:cubicBezTo>
                  <a:cubicBezTo>
                    <a:pt x="17840" y="478"/>
                    <a:pt x="17868" y="486"/>
                    <a:pt x="17890" y="491"/>
                  </a:cubicBezTo>
                  <a:cubicBezTo>
                    <a:pt x="17911" y="495"/>
                    <a:pt x="17945" y="498"/>
                    <a:pt x="17965" y="500"/>
                  </a:cubicBezTo>
                  <a:cubicBezTo>
                    <a:pt x="17985" y="501"/>
                    <a:pt x="18034" y="495"/>
                    <a:pt x="18075" y="489"/>
                  </a:cubicBezTo>
                  <a:cubicBezTo>
                    <a:pt x="18115" y="483"/>
                    <a:pt x="18179" y="463"/>
                    <a:pt x="18217" y="450"/>
                  </a:cubicBezTo>
                  <a:cubicBezTo>
                    <a:pt x="18255" y="436"/>
                    <a:pt x="18288" y="418"/>
                    <a:pt x="18287" y="411"/>
                  </a:cubicBezTo>
                  <a:cubicBezTo>
                    <a:pt x="18289" y="404"/>
                    <a:pt x="18285" y="394"/>
                    <a:pt x="18279" y="391"/>
                  </a:cubicBezTo>
                  <a:cubicBezTo>
                    <a:pt x="18274" y="386"/>
                    <a:pt x="18259" y="381"/>
                    <a:pt x="18247" y="379"/>
                  </a:cubicBezTo>
                  <a:cubicBezTo>
                    <a:pt x="18235" y="375"/>
                    <a:pt x="18226" y="370"/>
                    <a:pt x="18228" y="365"/>
                  </a:cubicBezTo>
                  <a:cubicBezTo>
                    <a:pt x="18231" y="360"/>
                    <a:pt x="18243" y="350"/>
                    <a:pt x="18256" y="344"/>
                  </a:cubicBezTo>
                  <a:cubicBezTo>
                    <a:pt x="18269" y="339"/>
                    <a:pt x="18281" y="330"/>
                    <a:pt x="18280" y="327"/>
                  </a:cubicBezTo>
                  <a:cubicBezTo>
                    <a:pt x="18282" y="325"/>
                    <a:pt x="18263" y="316"/>
                    <a:pt x="18241" y="312"/>
                  </a:cubicBezTo>
                  <a:cubicBezTo>
                    <a:pt x="18220" y="306"/>
                    <a:pt x="18188" y="297"/>
                    <a:pt x="18172" y="290"/>
                  </a:cubicBezTo>
                  <a:cubicBezTo>
                    <a:pt x="18154" y="282"/>
                    <a:pt x="18132" y="275"/>
                    <a:pt x="18121" y="273"/>
                  </a:cubicBezTo>
                  <a:cubicBezTo>
                    <a:pt x="18110" y="271"/>
                    <a:pt x="18090" y="273"/>
                    <a:pt x="18075" y="274"/>
                  </a:cubicBezTo>
                  <a:cubicBezTo>
                    <a:pt x="18061" y="278"/>
                    <a:pt x="18032" y="284"/>
                    <a:pt x="18011" y="295"/>
                  </a:cubicBezTo>
                  <a:cubicBezTo>
                    <a:pt x="17990" y="305"/>
                    <a:pt x="17943" y="320"/>
                    <a:pt x="17907" y="330"/>
                  </a:cubicBezTo>
                  <a:cubicBezTo>
                    <a:pt x="17870" y="340"/>
                    <a:pt x="17821" y="350"/>
                    <a:pt x="17797" y="349"/>
                  </a:cubicBezTo>
                  <a:cubicBezTo>
                    <a:pt x="17773" y="351"/>
                    <a:pt x="17740" y="351"/>
                    <a:pt x="17723" y="352"/>
                  </a:cubicBezTo>
                  <a:cubicBezTo>
                    <a:pt x="17706" y="351"/>
                    <a:pt x="17673" y="361"/>
                    <a:pt x="17649" y="371"/>
                  </a:cubicBezTo>
                  <a:cubicBezTo>
                    <a:pt x="17626" y="380"/>
                    <a:pt x="17596" y="388"/>
                    <a:pt x="17583" y="390"/>
                  </a:cubicBezTo>
                  <a:cubicBezTo>
                    <a:pt x="17569" y="393"/>
                    <a:pt x="17550" y="391"/>
                    <a:pt x="17543" y="384"/>
                  </a:cubicBezTo>
                  <a:cubicBezTo>
                    <a:pt x="17534" y="381"/>
                    <a:pt x="17519" y="375"/>
                    <a:pt x="17508" y="372"/>
                  </a:cubicBezTo>
                  <a:cubicBezTo>
                    <a:pt x="17496" y="372"/>
                    <a:pt x="17470" y="371"/>
                    <a:pt x="17450" y="375"/>
                  </a:cubicBezTo>
                  <a:cubicBezTo>
                    <a:pt x="17430" y="378"/>
                    <a:pt x="17400" y="382"/>
                    <a:pt x="17385" y="388"/>
                  </a:cubicBezTo>
                  <a:cubicBezTo>
                    <a:pt x="17368" y="389"/>
                    <a:pt x="17343" y="394"/>
                    <a:pt x="17328" y="393"/>
                  </a:cubicBezTo>
                  <a:cubicBezTo>
                    <a:pt x="17313" y="390"/>
                    <a:pt x="17285" y="386"/>
                    <a:pt x="17267" y="382"/>
                  </a:cubicBezTo>
                  <a:cubicBezTo>
                    <a:pt x="17248" y="377"/>
                    <a:pt x="17213" y="372"/>
                    <a:pt x="17188" y="373"/>
                  </a:cubicBezTo>
                  <a:cubicBezTo>
                    <a:pt x="17164" y="369"/>
                    <a:pt x="17128" y="370"/>
                    <a:pt x="17111" y="367"/>
                  </a:cubicBezTo>
                  <a:cubicBezTo>
                    <a:pt x="17093" y="364"/>
                    <a:pt x="17059" y="362"/>
                    <a:pt x="17036" y="362"/>
                  </a:cubicBezTo>
                  <a:cubicBezTo>
                    <a:pt x="17013" y="361"/>
                    <a:pt x="16972" y="361"/>
                    <a:pt x="16947" y="354"/>
                  </a:cubicBezTo>
                  <a:cubicBezTo>
                    <a:pt x="16921" y="351"/>
                    <a:pt x="16872" y="348"/>
                    <a:pt x="16837" y="347"/>
                  </a:cubicBezTo>
                  <a:cubicBezTo>
                    <a:pt x="16801" y="347"/>
                    <a:pt x="16734" y="351"/>
                    <a:pt x="16686" y="357"/>
                  </a:cubicBezTo>
                  <a:cubicBezTo>
                    <a:pt x="16638" y="361"/>
                    <a:pt x="16578" y="372"/>
                    <a:pt x="16552" y="377"/>
                  </a:cubicBezTo>
                  <a:cubicBezTo>
                    <a:pt x="16526" y="383"/>
                    <a:pt x="16472" y="394"/>
                    <a:pt x="16434" y="403"/>
                  </a:cubicBezTo>
                  <a:cubicBezTo>
                    <a:pt x="16395" y="411"/>
                    <a:pt x="16336" y="421"/>
                    <a:pt x="16303" y="426"/>
                  </a:cubicBezTo>
                  <a:cubicBezTo>
                    <a:pt x="16270" y="430"/>
                    <a:pt x="16217" y="439"/>
                    <a:pt x="16185" y="443"/>
                  </a:cubicBezTo>
                  <a:cubicBezTo>
                    <a:pt x="16154" y="449"/>
                    <a:pt x="16110" y="451"/>
                    <a:pt x="16088" y="453"/>
                  </a:cubicBezTo>
                  <a:cubicBezTo>
                    <a:pt x="16067" y="454"/>
                    <a:pt x="16026" y="458"/>
                    <a:pt x="15996" y="462"/>
                  </a:cubicBezTo>
                  <a:cubicBezTo>
                    <a:pt x="15967" y="468"/>
                    <a:pt x="15936" y="473"/>
                    <a:pt x="15927" y="477"/>
                  </a:cubicBezTo>
                  <a:cubicBezTo>
                    <a:pt x="15918" y="479"/>
                    <a:pt x="15917" y="493"/>
                    <a:pt x="15922" y="505"/>
                  </a:cubicBezTo>
                  <a:cubicBezTo>
                    <a:pt x="15929" y="516"/>
                    <a:pt x="15932" y="532"/>
                    <a:pt x="15930" y="538"/>
                  </a:cubicBezTo>
                  <a:cubicBezTo>
                    <a:pt x="15929" y="545"/>
                    <a:pt x="15918" y="552"/>
                    <a:pt x="15908" y="553"/>
                  </a:cubicBezTo>
                  <a:cubicBezTo>
                    <a:pt x="15897" y="555"/>
                    <a:pt x="15879" y="553"/>
                    <a:pt x="15868" y="551"/>
                  </a:cubicBezTo>
                  <a:cubicBezTo>
                    <a:pt x="15857" y="548"/>
                    <a:pt x="15838" y="537"/>
                    <a:pt x="15825" y="526"/>
                  </a:cubicBezTo>
                  <a:cubicBezTo>
                    <a:pt x="15813" y="514"/>
                    <a:pt x="15797" y="499"/>
                    <a:pt x="15790" y="494"/>
                  </a:cubicBezTo>
                  <a:cubicBezTo>
                    <a:pt x="15786" y="486"/>
                    <a:pt x="15772" y="483"/>
                    <a:pt x="15762" y="482"/>
                  </a:cubicBezTo>
                  <a:cubicBezTo>
                    <a:pt x="15753" y="482"/>
                    <a:pt x="15729" y="484"/>
                    <a:pt x="15710" y="490"/>
                  </a:cubicBezTo>
                  <a:cubicBezTo>
                    <a:pt x="15691" y="495"/>
                    <a:pt x="15656" y="501"/>
                    <a:pt x="15632" y="503"/>
                  </a:cubicBezTo>
                  <a:cubicBezTo>
                    <a:pt x="15608" y="506"/>
                    <a:pt x="15562" y="511"/>
                    <a:pt x="15529" y="516"/>
                  </a:cubicBezTo>
                  <a:cubicBezTo>
                    <a:pt x="15496" y="521"/>
                    <a:pt x="15456" y="523"/>
                    <a:pt x="15440" y="525"/>
                  </a:cubicBezTo>
                  <a:cubicBezTo>
                    <a:pt x="15424" y="524"/>
                    <a:pt x="15387" y="534"/>
                    <a:pt x="15357" y="542"/>
                  </a:cubicBezTo>
                  <a:cubicBezTo>
                    <a:pt x="15329" y="553"/>
                    <a:pt x="15282" y="569"/>
                    <a:pt x="15265" y="581"/>
                  </a:cubicBezTo>
                  <a:cubicBezTo>
                    <a:pt x="15247" y="592"/>
                    <a:pt x="15220" y="613"/>
                    <a:pt x="15209" y="630"/>
                  </a:cubicBezTo>
                  <a:cubicBezTo>
                    <a:pt x="15196" y="647"/>
                    <a:pt x="15173" y="665"/>
                    <a:pt x="15159" y="675"/>
                  </a:cubicBezTo>
                  <a:cubicBezTo>
                    <a:pt x="15145" y="684"/>
                    <a:pt x="15126" y="692"/>
                    <a:pt x="15118" y="691"/>
                  </a:cubicBezTo>
                  <a:cubicBezTo>
                    <a:pt x="15111" y="691"/>
                    <a:pt x="15105" y="689"/>
                    <a:pt x="15101" y="687"/>
                  </a:cubicBezTo>
                  <a:cubicBezTo>
                    <a:pt x="15101" y="683"/>
                    <a:pt x="15107" y="670"/>
                    <a:pt x="15120" y="662"/>
                  </a:cubicBezTo>
                  <a:cubicBezTo>
                    <a:pt x="15132" y="652"/>
                    <a:pt x="15149" y="638"/>
                    <a:pt x="15156" y="630"/>
                  </a:cubicBezTo>
                  <a:cubicBezTo>
                    <a:pt x="15164" y="622"/>
                    <a:pt x="15167" y="612"/>
                    <a:pt x="15163" y="611"/>
                  </a:cubicBezTo>
                  <a:cubicBezTo>
                    <a:pt x="15159" y="608"/>
                    <a:pt x="15141" y="608"/>
                    <a:pt x="15125" y="612"/>
                  </a:cubicBezTo>
                  <a:cubicBezTo>
                    <a:pt x="15108" y="615"/>
                    <a:pt x="15072" y="620"/>
                    <a:pt x="15045" y="623"/>
                  </a:cubicBezTo>
                  <a:cubicBezTo>
                    <a:pt x="15017" y="626"/>
                    <a:pt x="14983" y="634"/>
                    <a:pt x="14968" y="640"/>
                  </a:cubicBezTo>
                  <a:cubicBezTo>
                    <a:pt x="14954" y="645"/>
                    <a:pt x="14941" y="655"/>
                    <a:pt x="14940" y="659"/>
                  </a:cubicBezTo>
                  <a:cubicBezTo>
                    <a:pt x="14938" y="663"/>
                    <a:pt x="14932" y="672"/>
                    <a:pt x="14924" y="679"/>
                  </a:cubicBezTo>
                  <a:cubicBezTo>
                    <a:pt x="14916" y="685"/>
                    <a:pt x="14908" y="700"/>
                    <a:pt x="14903" y="710"/>
                  </a:cubicBezTo>
                  <a:cubicBezTo>
                    <a:pt x="14899" y="720"/>
                    <a:pt x="14880" y="734"/>
                    <a:pt x="14859" y="739"/>
                  </a:cubicBezTo>
                  <a:cubicBezTo>
                    <a:pt x="14839" y="744"/>
                    <a:pt x="14817" y="744"/>
                    <a:pt x="14810" y="742"/>
                  </a:cubicBezTo>
                  <a:cubicBezTo>
                    <a:pt x="14804" y="739"/>
                    <a:pt x="14803" y="732"/>
                    <a:pt x="14805" y="726"/>
                  </a:cubicBezTo>
                  <a:cubicBezTo>
                    <a:pt x="14810" y="720"/>
                    <a:pt x="14821" y="705"/>
                    <a:pt x="14835" y="697"/>
                  </a:cubicBezTo>
                  <a:cubicBezTo>
                    <a:pt x="14847" y="686"/>
                    <a:pt x="14860" y="668"/>
                    <a:pt x="14862" y="655"/>
                  </a:cubicBezTo>
                  <a:cubicBezTo>
                    <a:pt x="14862" y="641"/>
                    <a:pt x="14870" y="623"/>
                    <a:pt x="14877" y="615"/>
                  </a:cubicBezTo>
                  <a:cubicBezTo>
                    <a:pt x="14883" y="606"/>
                    <a:pt x="14930" y="584"/>
                    <a:pt x="14982" y="567"/>
                  </a:cubicBezTo>
                  <a:cubicBezTo>
                    <a:pt x="15034" y="549"/>
                    <a:pt x="15105" y="528"/>
                    <a:pt x="15139" y="516"/>
                  </a:cubicBezTo>
                  <a:cubicBezTo>
                    <a:pt x="15174" y="506"/>
                    <a:pt x="15230" y="496"/>
                    <a:pt x="15263" y="492"/>
                  </a:cubicBezTo>
                  <a:cubicBezTo>
                    <a:pt x="15297" y="488"/>
                    <a:pt x="15346" y="485"/>
                    <a:pt x="15373" y="487"/>
                  </a:cubicBezTo>
                  <a:cubicBezTo>
                    <a:pt x="15400" y="486"/>
                    <a:pt x="15445" y="484"/>
                    <a:pt x="15471" y="480"/>
                  </a:cubicBezTo>
                  <a:cubicBezTo>
                    <a:pt x="15498" y="476"/>
                    <a:pt x="15526" y="469"/>
                    <a:pt x="15535" y="466"/>
                  </a:cubicBezTo>
                  <a:cubicBezTo>
                    <a:pt x="15543" y="461"/>
                    <a:pt x="15574" y="456"/>
                    <a:pt x="15603" y="453"/>
                  </a:cubicBezTo>
                  <a:cubicBezTo>
                    <a:pt x="15633" y="451"/>
                    <a:pt x="15673" y="442"/>
                    <a:pt x="15693" y="443"/>
                  </a:cubicBezTo>
                  <a:cubicBezTo>
                    <a:pt x="15713" y="441"/>
                    <a:pt x="15740" y="438"/>
                    <a:pt x="15754" y="439"/>
                  </a:cubicBezTo>
                  <a:cubicBezTo>
                    <a:pt x="15767" y="438"/>
                    <a:pt x="15794" y="433"/>
                    <a:pt x="15814" y="426"/>
                  </a:cubicBezTo>
                  <a:cubicBezTo>
                    <a:pt x="15833" y="419"/>
                    <a:pt x="15855" y="407"/>
                    <a:pt x="15863" y="401"/>
                  </a:cubicBezTo>
                  <a:cubicBezTo>
                    <a:pt x="15870" y="393"/>
                    <a:pt x="15864" y="390"/>
                    <a:pt x="15850" y="389"/>
                  </a:cubicBezTo>
                  <a:cubicBezTo>
                    <a:pt x="15835" y="390"/>
                    <a:pt x="15811" y="387"/>
                    <a:pt x="15798" y="378"/>
                  </a:cubicBezTo>
                  <a:cubicBezTo>
                    <a:pt x="15784" y="372"/>
                    <a:pt x="15774" y="359"/>
                    <a:pt x="15772" y="351"/>
                  </a:cubicBezTo>
                  <a:cubicBezTo>
                    <a:pt x="15770" y="343"/>
                    <a:pt x="15791" y="328"/>
                    <a:pt x="15816" y="317"/>
                  </a:cubicBezTo>
                  <a:cubicBezTo>
                    <a:pt x="15841" y="308"/>
                    <a:pt x="15878" y="296"/>
                    <a:pt x="15898" y="291"/>
                  </a:cubicBezTo>
                  <a:cubicBezTo>
                    <a:pt x="15918" y="287"/>
                    <a:pt x="15950" y="285"/>
                    <a:pt x="15969" y="283"/>
                  </a:cubicBezTo>
                  <a:cubicBezTo>
                    <a:pt x="15988" y="284"/>
                    <a:pt x="16009" y="283"/>
                    <a:pt x="16016" y="287"/>
                  </a:cubicBezTo>
                  <a:cubicBezTo>
                    <a:pt x="16022" y="291"/>
                    <a:pt x="16023" y="296"/>
                    <a:pt x="16018" y="303"/>
                  </a:cubicBezTo>
                  <a:cubicBezTo>
                    <a:pt x="16011" y="308"/>
                    <a:pt x="15996" y="315"/>
                    <a:pt x="15983" y="317"/>
                  </a:cubicBezTo>
                  <a:cubicBezTo>
                    <a:pt x="15970" y="319"/>
                    <a:pt x="15947" y="325"/>
                    <a:pt x="15933" y="329"/>
                  </a:cubicBezTo>
                  <a:cubicBezTo>
                    <a:pt x="15918" y="334"/>
                    <a:pt x="15906" y="345"/>
                    <a:pt x="15907" y="355"/>
                  </a:cubicBezTo>
                  <a:cubicBezTo>
                    <a:pt x="15908" y="365"/>
                    <a:pt x="15919" y="379"/>
                    <a:pt x="15932" y="384"/>
                  </a:cubicBezTo>
                  <a:cubicBezTo>
                    <a:pt x="15945" y="391"/>
                    <a:pt x="15985" y="392"/>
                    <a:pt x="16020" y="391"/>
                  </a:cubicBezTo>
                  <a:cubicBezTo>
                    <a:pt x="16056" y="388"/>
                    <a:pt x="16112" y="380"/>
                    <a:pt x="16145" y="372"/>
                  </a:cubicBezTo>
                  <a:cubicBezTo>
                    <a:pt x="16177" y="364"/>
                    <a:pt x="16220" y="354"/>
                    <a:pt x="16241" y="352"/>
                  </a:cubicBezTo>
                  <a:cubicBezTo>
                    <a:pt x="16262" y="351"/>
                    <a:pt x="16297" y="350"/>
                    <a:pt x="16319" y="351"/>
                  </a:cubicBezTo>
                  <a:cubicBezTo>
                    <a:pt x="16341" y="354"/>
                    <a:pt x="16374" y="349"/>
                    <a:pt x="16392" y="345"/>
                  </a:cubicBezTo>
                  <a:cubicBezTo>
                    <a:pt x="16410" y="339"/>
                    <a:pt x="16459" y="328"/>
                    <a:pt x="16500" y="317"/>
                  </a:cubicBezTo>
                  <a:cubicBezTo>
                    <a:pt x="16541" y="307"/>
                    <a:pt x="16597" y="296"/>
                    <a:pt x="16624" y="293"/>
                  </a:cubicBezTo>
                  <a:cubicBezTo>
                    <a:pt x="16652" y="290"/>
                    <a:pt x="16681" y="290"/>
                    <a:pt x="16690" y="294"/>
                  </a:cubicBezTo>
                  <a:cubicBezTo>
                    <a:pt x="16698" y="296"/>
                    <a:pt x="16719" y="297"/>
                    <a:pt x="16736" y="296"/>
                  </a:cubicBezTo>
                  <a:cubicBezTo>
                    <a:pt x="16753" y="294"/>
                    <a:pt x="16778" y="290"/>
                    <a:pt x="16792" y="284"/>
                  </a:cubicBezTo>
                  <a:cubicBezTo>
                    <a:pt x="16806" y="279"/>
                    <a:pt x="16840" y="274"/>
                    <a:pt x="16869" y="270"/>
                  </a:cubicBezTo>
                  <a:cubicBezTo>
                    <a:pt x="16898" y="269"/>
                    <a:pt x="16939" y="268"/>
                    <a:pt x="16961" y="271"/>
                  </a:cubicBezTo>
                  <a:cubicBezTo>
                    <a:pt x="16982" y="273"/>
                    <a:pt x="17013" y="272"/>
                    <a:pt x="17029" y="271"/>
                  </a:cubicBezTo>
                  <a:cubicBezTo>
                    <a:pt x="17045" y="269"/>
                    <a:pt x="17078" y="267"/>
                    <a:pt x="17102" y="271"/>
                  </a:cubicBezTo>
                  <a:cubicBezTo>
                    <a:pt x="17126" y="269"/>
                    <a:pt x="17186" y="277"/>
                    <a:pt x="17236" y="283"/>
                  </a:cubicBezTo>
                  <a:cubicBezTo>
                    <a:pt x="17285" y="289"/>
                    <a:pt x="17349" y="291"/>
                    <a:pt x="17378" y="291"/>
                  </a:cubicBezTo>
                  <a:cubicBezTo>
                    <a:pt x="17407" y="289"/>
                    <a:pt x="17451" y="284"/>
                    <a:pt x="17476" y="280"/>
                  </a:cubicBezTo>
                  <a:cubicBezTo>
                    <a:pt x="17502" y="275"/>
                    <a:pt x="17530" y="271"/>
                    <a:pt x="17539" y="273"/>
                  </a:cubicBezTo>
                  <a:cubicBezTo>
                    <a:pt x="17548" y="272"/>
                    <a:pt x="17573" y="273"/>
                    <a:pt x="17595" y="271"/>
                  </a:cubicBezTo>
                  <a:cubicBezTo>
                    <a:pt x="17617" y="270"/>
                    <a:pt x="17647" y="261"/>
                    <a:pt x="17663" y="255"/>
                  </a:cubicBezTo>
                  <a:cubicBezTo>
                    <a:pt x="17678" y="247"/>
                    <a:pt x="17707" y="239"/>
                    <a:pt x="17725" y="232"/>
                  </a:cubicBezTo>
                  <a:cubicBezTo>
                    <a:pt x="17744" y="228"/>
                    <a:pt x="17776" y="223"/>
                    <a:pt x="17798" y="222"/>
                  </a:cubicBezTo>
                  <a:cubicBezTo>
                    <a:pt x="17819" y="220"/>
                    <a:pt x="17855" y="222"/>
                    <a:pt x="17877" y="222"/>
                  </a:cubicBezTo>
                  <a:cubicBezTo>
                    <a:pt x="17899" y="221"/>
                    <a:pt x="17930" y="212"/>
                    <a:pt x="17946" y="204"/>
                  </a:cubicBezTo>
                  <a:cubicBezTo>
                    <a:pt x="17962" y="195"/>
                    <a:pt x="17977" y="183"/>
                    <a:pt x="17979" y="177"/>
                  </a:cubicBezTo>
                  <a:cubicBezTo>
                    <a:pt x="17981" y="171"/>
                    <a:pt x="17955" y="160"/>
                    <a:pt x="17919" y="154"/>
                  </a:cubicBezTo>
                  <a:cubicBezTo>
                    <a:pt x="17884" y="146"/>
                    <a:pt x="17838" y="139"/>
                    <a:pt x="17818" y="137"/>
                  </a:cubicBezTo>
                  <a:cubicBezTo>
                    <a:pt x="17799" y="133"/>
                    <a:pt x="17775" y="123"/>
                    <a:pt x="17764" y="116"/>
                  </a:cubicBezTo>
                  <a:cubicBezTo>
                    <a:pt x="17754" y="107"/>
                    <a:pt x="17725" y="95"/>
                    <a:pt x="17699" y="90"/>
                  </a:cubicBezTo>
                  <a:cubicBezTo>
                    <a:pt x="17673" y="84"/>
                    <a:pt x="17618" y="79"/>
                    <a:pt x="17577" y="76"/>
                  </a:cubicBezTo>
                  <a:cubicBezTo>
                    <a:pt x="17536" y="74"/>
                    <a:pt x="17487" y="68"/>
                    <a:pt x="17468" y="62"/>
                  </a:cubicBezTo>
                  <a:cubicBezTo>
                    <a:pt x="17448" y="59"/>
                    <a:pt x="17416" y="52"/>
                    <a:pt x="17394" y="51"/>
                  </a:cubicBezTo>
                  <a:cubicBezTo>
                    <a:pt x="17373" y="51"/>
                    <a:pt x="17335" y="55"/>
                    <a:pt x="17309" y="60"/>
                  </a:cubicBezTo>
                  <a:cubicBezTo>
                    <a:pt x="17283" y="65"/>
                    <a:pt x="17254" y="66"/>
                    <a:pt x="17245" y="61"/>
                  </a:cubicBezTo>
                  <a:cubicBezTo>
                    <a:pt x="17236" y="56"/>
                    <a:pt x="17221" y="52"/>
                    <a:pt x="17212" y="48"/>
                  </a:cubicBezTo>
                  <a:cubicBezTo>
                    <a:pt x="17204" y="46"/>
                    <a:pt x="17173" y="47"/>
                    <a:pt x="17143" y="51"/>
                  </a:cubicBezTo>
                  <a:cubicBezTo>
                    <a:pt x="17114" y="56"/>
                    <a:pt x="17078" y="57"/>
                    <a:pt x="17064" y="55"/>
                  </a:cubicBezTo>
                  <a:cubicBezTo>
                    <a:pt x="17051" y="54"/>
                    <a:pt x="16997" y="55"/>
                    <a:pt x="16946" y="56"/>
                  </a:cubicBezTo>
                  <a:cubicBezTo>
                    <a:pt x="16895" y="61"/>
                    <a:pt x="16831" y="55"/>
                    <a:pt x="16805" y="47"/>
                  </a:cubicBezTo>
                  <a:cubicBezTo>
                    <a:pt x="16779" y="38"/>
                    <a:pt x="16744" y="35"/>
                    <a:pt x="16727" y="35"/>
                  </a:cubicBezTo>
                  <a:cubicBezTo>
                    <a:pt x="16711" y="36"/>
                    <a:pt x="16665" y="33"/>
                    <a:pt x="16626" y="26"/>
                  </a:cubicBezTo>
                  <a:cubicBezTo>
                    <a:pt x="16587" y="19"/>
                    <a:pt x="16544" y="16"/>
                    <a:pt x="16531" y="18"/>
                  </a:cubicBezTo>
                  <a:cubicBezTo>
                    <a:pt x="16518" y="19"/>
                    <a:pt x="16505" y="23"/>
                    <a:pt x="16503" y="27"/>
                  </a:cubicBezTo>
                  <a:cubicBezTo>
                    <a:pt x="16501" y="30"/>
                    <a:pt x="16486" y="36"/>
                    <a:pt x="16471" y="40"/>
                  </a:cubicBezTo>
                  <a:cubicBezTo>
                    <a:pt x="16455" y="44"/>
                    <a:pt x="16415" y="42"/>
                    <a:pt x="16382" y="36"/>
                  </a:cubicBezTo>
                  <a:cubicBezTo>
                    <a:pt x="16348" y="30"/>
                    <a:pt x="16315" y="22"/>
                    <a:pt x="16310" y="15"/>
                  </a:cubicBezTo>
                  <a:cubicBezTo>
                    <a:pt x="16304" y="10"/>
                    <a:pt x="16288" y="5"/>
                    <a:pt x="16275" y="1"/>
                  </a:cubicBezTo>
                  <a:cubicBezTo>
                    <a:pt x="16262" y="-1"/>
                    <a:pt x="16237" y="1"/>
                    <a:pt x="16219" y="4"/>
                  </a:cubicBezTo>
                  <a:cubicBezTo>
                    <a:pt x="16201" y="8"/>
                    <a:pt x="16174" y="14"/>
                    <a:pt x="16157" y="15"/>
                  </a:cubicBezTo>
                  <a:cubicBezTo>
                    <a:pt x="16141" y="17"/>
                    <a:pt x="16118" y="15"/>
                    <a:pt x="16107" y="13"/>
                  </a:cubicBezTo>
                  <a:cubicBezTo>
                    <a:pt x="16096" y="9"/>
                    <a:pt x="16048" y="9"/>
                    <a:pt x="16002" y="14"/>
                  </a:cubicBezTo>
                  <a:cubicBezTo>
                    <a:pt x="15956" y="18"/>
                    <a:pt x="15899" y="21"/>
                    <a:pt x="15876" y="18"/>
                  </a:cubicBezTo>
                  <a:cubicBezTo>
                    <a:pt x="15852" y="16"/>
                    <a:pt x="15819" y="20"/>
                    <a:pt x="15802" y="27"/>
                  </a:cubicBezTo>
                  <a:cubicBezTo>
                    <a:pt x="15785" y="32"/>
                    <a:pt x="15762" y="40"/>
                    <a:pt x="15752" y="41"/>
                  </a:cubicBezTo>
                  <a:cubicBezTo>
                    <a:pt x="15741" y="43"/>
                    <a:pt x="15729" y="41"/>
                    <a:pt x="15724" y="39"/>
                  </a:cubicBezTo>
                  <a:cubicBezTo>
                    <a:pt x="15719" y="36"/>
                    <a:pt x="15699" y="34"/>
                    <a:pt x="15680" y="31"/>
                  </a:cubicBezTo>
                  <a:cubicBezTo>
                    <a:pt x="15661" y="32"/>
                    <a:pt x="15611" y="31"/>
                    <a:pt x="15569" y="38"/>
                  </a:cubicBezTo>
                  <a:cubicBezTo>
                    <a:pt x="15527" y="42"/>
                    <a:pt x="15470" y="49"/>
                    <a:pt x="15441" y="49"/>
                  </a:cubicBezTo>
                  <a:cubicBezTo>
                    <a:pt x="15413" y="47"/>
                    <a:pt x="15375" y="54"/>
                    <a:pt x="15359" y="56"/>
                  </a:cubicBezTo>
                  <a:cubicBezTo>
                    <a:pt x="15342" y="59"/>
                    <a:pt x="15319" y="66"/>
                    <a:pt x="15308" y="71"/>
                  </a:cubicBezTo>
                  <a:cubicBezTo>
                    <a:pt x="15297" y="77"/>
                    <a:pt x="15286" y="86"/>
                    <a:pt x="15285" y="93"/>
                  </a:cubicBezTo>
                  <a:cubicBezTo>
                    <a:pt x="15282" y="99"/>
                    <a:pt x="15287" y="110"/>
                    <a:pt x="15293" y="118"/>
                  </a:cubicBezTo>
                  <a:cubicBezTo>
                    <a:pt x="15299" y="124"/>
                    <a:pt x="15305" y="137"/>
                    <a:pt x="15302" y="142"/>
                  </a:cubicBezTo>
                  <a:cubicBezTo>
                    <a:pt x="15300" y="149"/>
                    <a:pt x="15288" y="159"/>
                    <a:pt x="15273" y="163"/>
                  </a:cubicBezTo>
                  <a:cubicBezTo>
                    <a:pt x="15259" y="169"/>
                    <a:pt x="15237" y="170"/>
                    <a:pt x="15225" y="168"/>
                  </a:cubicBezTo>
                  <a:cubicBezTo>
                    <a:pt x="15214" y="164"/>
                    <a:pt x="15199" y="155"/>
                    <a:pt x="15194" y="145"/>
                  </a:cubicBezTo>
                  <a:cubicBezTo>
                    <a:pt x="15188" y="134"/>
                    <a:pt x="15175" y="122"/>
                    <a:pt x="15165" y="116"/>
                  </a:cubicBezTo>
                  <a:cubicBezTo>
                    <a:pt x="15155" y="109"/>
                    <a:pt x="15139" y="107"/>
                    <a:pt x="15130" y="106"/>
                  </a:cubicBezTo>
                  <a:cubicBezTo>
                    <a:pt x="15121" y="106"/>
                    <a:pt x="15104" y="106"/>
                    <a:pt x="15095" y="102"/>
                  </a:cubicBezTo>
                  <a:cubicBezTo>
                    <a:pt x="15085" y="101"/>
                    <a:pt x="15065" y="98"/>
                    <a:pt x="15051" y="97"/>
                  </a:cubicBezTo>
                  <a:cubicBezTo>
                    <a:pt x="15037" y="98"/>
                    <a:pt x="15017" y="100"/>
                    <a:pt x="15008" y="105"/>
                  </a:cubicBezTo>
                  <a:cubicBezTo>
                    <a:pt x="14999" y="110"/>
                    <a:pt x="14986" y="123"/>
                    <a:pt x="14978" y="132"/>
                  </a:cubicBezTo>
                  <a:cubicBezTo>
                    <a:pt x="14971" y="143"/>
                    <a:pt x="14955" y="158"/>
                    <a:pt x="14942" y="163"/>
                  </a:cubicBezTo>
                  <a:cubicBezTo>
                    <a:pt x="14929" y="170"/>
                    <a:pt x="14906" y="176"/>
                    <a:pt x="14890" y="175"/>
                  </a:cubicBezTo>
                  <a:cubicBezTo>
                    <a:pt x="14874" y="176"/>
                    <a:pt x="14848" y="178"/>
                    <a:pt x="14832" y="180"/>
                  </a:cubicBezTo>
                  <a:cubicBezTo>
                    <a:pt x="14816" y="185"/>
                    <a:pt x="14793" y="193"/>
                    <a:pt x="14785" y="204"/>
                  </a:cubicBezTo>
                  <a:cubicBezTo>
                    <a:pt x="14775" y="213"/>
                    <a:pt x="14774" y="226"/>
                    <a:pt x="14782" y="231"/>
                  </a:cubicBezTo>
                  <a:cubicBezTo>
                    <a:pt x="14790" y="235"/>
                    <a:pt x="14802" y="241"/>
                    <a:pt x="14807" y="246"/>
                  </a:cubicBezTo>
                  <a:cubicBezTo>
                    <a:pt x="14814" y="249"/>
                    <a:pt x="14801" y="258"/>
                    <a:pt x="14780" y="268"/>
                  </a:cubicBezTo>
                  <a:cubicBezTo>
                    <a:pt x="14759" y="276"/>
                    <a:pt x="14721" y="296"/>
                    <a:pt x="14696" y="309"/>
                  </a:cubicBezTo>
                  <a:cubicBezTo>
                    <a:pt x="14671" y="323"/>
                    <a:pt x="14649" y="338"/>
                    <a:pt x="14650" y="342"/>
                  </a:cubicBezTo>
                  <a:cubicBezTo>
                    <a:pt x="14649" y="347"/>
                    <a:pt x="14663" y="351"/>
                    <a:pt x="14680" y="352"/>
                  </a:cubicBezTo>
                  <a:cubicBezTo>
                    <a:pt x="14697" y="353"/>
                    <a:pt x="14717" y="355"/>
                    <a:pt x="14724" y="360"/>
                  </a:cubicBezTo>
                  <a:cubicBezTo>
                    <a:pt x="14731" y="365"/>
                    <a:pt x="14728" y="373"/>
                    <a:pt x="14717" y="377"/>
                  </a:cubicBezTo>
                  <a:cubicBezTo>
                    <a:pt x="14706" y="382"/>
                    <a:pt x="14677" y="390"/>
                    <a:pt x="14651" y="393"/>
                  </a:cubicBezTo>
                  <a:cubicBezTo>
                    <a:pt x="14626" y="397"/>
                    <a:pt x="14578" y="395"/>
                    <a:pt x="14546" y="391"/>
                  </a:cubicBezTo>
                  <a:cubicBezTo>
                    <a:pt x="14513" y="388"/>
                    <a:pt x="14467" y="387"/>
                    <a:pt x="14443" y="389"/>
                  </a:cubicBezTo>
                  <a:cubicBezTo>
                    <a:pt x="14419" y="392"/>
                    <a:pt x="14379" y="398"/>
                    <a:pt x="14354" y="401"/>
                  </a:cubicBezTo>
                  <a:cubicBezTo>
                    <a:pt x="14329" y="405"/>
                    <a:pt x="14300" y="420"/>
                    <a:pt x="14289" y="434"/>
                  </a:cubicBezTo>
                  <a:cubicBezTo>
                    <a:pt x="14278" y="448"/>
                    <a:pt x="14270" y="471"/>
                    <a:pt x="14271" y="484"/>
                  </a:cubicBezTo>
                  <a:cubicBezTo>
                    <a:pt x="14274" y="497"/>
                    <a:pt x="14286" y="519"/>
                    <a:pt x="14303" y="530"/>
                  </a:cubicBezTo>
                  <a:cubicBezTo>
                    <a:pt x="14319" y="543"/>
                    <a:pt x="14357" y="551"/>
                    <a:pt x="14385" y="553"/>
                  </a:cubicBezTo>
                  <a:cubicBezTo>
                    <a:pt x="14413" y="555"/>
                    <a:pt x="14448" y="558"/>
                    <a:pt x="14461" y="562"/>
                  </a:cubicBezTo>
                  <a:cubicBezTo>
                    <a:pt x="14474" y="565"/>
                    <a:pt x="14484" y="571"/>
                    <a:pt x="14484" y="575"/>
                  </a:cubicBezTo>
                  <a:cubicBezTo>
                    <a:pt x="14481" y="578"/>
                    <a:pt x="14458" y="584"/>
                    <a:pt x="14428" y="584"/>
                  </a:cubicBezTo>
                  <a:cubicBezTo>
                    <a:pt x="14399" y="585"/>
                    <a:pt x="14351" y="585"/>
                    <a:pt x="14321" y="582"/>
                  </a:cubicBezTo>
                  <a:cubicBezTo>
                    <a:pt x="14292" y="578"/>
                    <a:pt x="14251" y="565"/>
                    <a:pt x="14228" y="554"/>
                  </a:cubicBezTo>
                  <a:cubicBezTo>
                    <a:pt x="14207" y="541"/>
                    <a:pt x="14161" y="523"/>
                    <a:pt x="14125" y="518"/>
                  </a:cubicBezTo>
                  <a:cubicBezTo>
                    <a:pt x="14090" y="510"/>
                    <a:pt x="14049" y="502"/>
                    <a:pt x="14035" y="499"/>
                  </a:cubicBezTo>
                  <a:cubicBezTo>
                    <a:pt x="14022" y="496"/>
                    <a:pt x="14005" y="499"/>
                    <a:pt x="13998" y="502"/>
                  </a:cubicBezTo>
                  <a:cubicBezTo>
                    <a:pt x="13993" y="508"/>
                    <a:pt x="13992" y="511"/>
                    <a:pt x="13994" y="517"/>
                  </a:cubicBezTo>
                  <a:cubicBezTo>
                    <a:pt x="13999" y="521"/>
                    <a:pt x="14002" y="532"/>
                    <a:pt x="13999" y="541"/>
                  </a:cubicBezTo>
                  <a:cubicBezTo>
                    <a:pt x="13997" y="551"/>
                    <a:pt x="14001" y="562"/>
                    <a:pt x="14006" y="568"/>
                  </a:cubicBezTo>
                  <a:cubicBezTo>
                    <a:pt x="14012" y="574"/>
                    <a:pt x="14024" y="581"/>
                    <a:pt x="14032" y="589"/>
                  </a:cubicBezTo>
                  <a:cubicBezTo>
                    <a:pt x="14040" y="595"/>
                    <a:pt x="14042" y="610"/>
                    <a:pt x="14037" y="624"/>
                  </a:cubicBezTo>
                  <a:cubicBezTo>
                    <a:pt x="14033" y="637"/>
                    <a:pt x="14013" y="656"/>
                    <a:pt x="13994" y="666"/>
                  </a:cubicBezTo>
                  <a:cubicBezTo>
                    <a:pt x="13977" y="676"/>
                    <a:pt x="13965" y="671"/>
                    <a:pt x="13971" y="656"/>
                  </a:cubicBezTo>
                  <a:cubicBezTo>
                    <a:pt x="13977" y="641"/>
                    <a:pt x="13974" y="619"/>
                    <a:pt x="13969" y="607"/>
                  </a:cubicBezTo>
                  <a:cubicBezTo>
                    <a:pt x="13961" y="597"/>
                    <a:pt x="13947" y="577"/>
                    <a:pt x="13934" y="566"/>
                  </a:cubicBezTo>
                  <a:cubicBezTo>
                    <a:pt x="13921" y="555"/>
                    <a:pt x="13911" y="540"/>
                    <a:pt x="13914" y="532"/>
                  </a:cubicBezTo>
                  <a:cubicBezTo>
                    <a:pt x="13915" y="525"/>
                    <a:pt x="13903" y="513"/>
                    <a:pt x="13886" y="508"/>
                  </a:cubicBezTo>
                  <a:cubicBezTo>
                    <a:pt x="13869" y="501"/>
                    <a:pt x="13834" y="497"/>
                    <a:pt x="13809" y="495"/>
                  </a:cubicBezTo>
                  <a:cubicBezTo>
                    <a:pt x="13783" y="495"/>
                    <a:pt x="13746" y="505"/>
                    <a:pt x="13724" y="519"/>
                  </a:cubicBezTo>
                  <a:cubicBezTo>
                    <a:pt x="13703" y="531"/>
                    <a:pt x="13675" y="550"/>
                    <a:pt x="13663" y="559"/>
                  </a:cubicBezTo>
                  <a:cubicBezTo>
                    <a:pt x="13651" y="566"/>
                    <a:pt x="13635" y="567"/>
                    <a:pt x="13627" y="564"/>
                  </a:cubicBezTo>
                  <a:cubicBezTo>
                    <a:pt x="13620" y="558"/>
                    <a:pt x="13625" y="547"/>
                    <a:pt x="13640" y="538"/>
                  </a:cubicBezTo>
                  <a:cubicBezTo>
                    <a:pt x="13654" y="529"/>
                    <a:pt x="13669" y="518"/>
                    <a:pt x="13672" y="512"/>
                  </a:cubicBezTo>
                  <a:cubicBezTo>
                    <a:pt x="13676" y="507"/>
                    <a:pt x="13666" y="499"/>
                    <a:pt x="13650" y="497"/>
                  </a:cubicBezTo>
                  <a:cubicBezTo>
                    <a:pt x="13635" y="493"/>
                    <a:pt x="13621" y="486"/>
                    <a:pt x="13620" y="478"/>
                  </a:cubicBezTo>
                  <a:cubicBezTo>
                    <a:pt x="13618" y="471"/>
                    <a:pt x="13611" y="463"/>
                    <a:pt x="13604" y="460"/>
                  </a:cubicBezTo>
                  <a:cubicBezTo>
                    <a:pt x="13597" y="457"/>
                    <a:pt x="13572" y="456"/>
                    <a:pt x="13548" y="460"/>
                  </a:cubicBezTo>
                  <a:cubicBezTo>
                    <a:pt x="13525" y="463"/>
                    <a:pt x="13488" y="471"/>
                    <a:pt x="13468" y="478"/>
                  </a:cubicBezTo>
                  <a:cubicBezTo>
                    <a:pt x="13446" y="484"/>
                    <a:pt x="13427" y="487"/>
                    <a:pt x="13423" y="486"/>
                  </a:cubicBezTo>
                  <a:cubicBezTo>
                    <a:pt x="13420" y="482"/>
                    <a:pt x="13423" y="474"/>
                    <a:pt x="13432" y="467"/>
                  </a:cubicBezTo>
                  <a:cubicBezTo>
                    <a:pt x="13440" y="458"/>
                    <a:pt x="13464" y="444"/>
                    <a:pt x="13485" y="437"/>
                  </a:cubicBezTo>
                  <a:cubicBezTo>
                    <a:pt x="13506" y="430"/>
                    <a:pt x="13501" y="427"/>
                    <a:pt x="13475" y="431"/>
                  </a:cubicBezTo>
                  <a:cubicBezTo>
                    <a:pt x="13450" y="436"/>
                    <a:pt x="13409" y="452"/>
                    <a:pt x="13384" y="462"/>
                  </a:cubicBezTo>
                  <a:cubicBezTo>
                    <a:pt x="13360" y="475"/>
                    <a:pt x="13333" y="491"/>
                    <a:pt x="13326" y="498"/>
                  </a:cubicBezTo>
                  <a:cubicBezTo>
                    <a:pt x="13319" y="506"/>
                    <a:pt x="13290" y="516"/>
                    <a:pt x="13265" y="527"/>
                  </a:cubicBezTo>
                  <a:cubicBezTo>
                    <a:pt x="13239" y="534"/>
                    <a:pt x="13201" y="544"/>
                    <a:pt x="13180" y="552"/>
                  </a:cubicBezTo>
                  <a:cubicBezTo>
                    <a:pt x="13160" y="556"/>
                    <a:pt x="13119" y="577"/>
                    <a:pt x="13090" y="596"/>
                  </a:cubicBezTo>
                  <a:cubicBezTo>
                    <a:pt x="13061" y="614"/>
                    <a:pt x="13031" y="631"/>
                    <a:pt x="13022" y="633"/>
                  </a:cubicBezTo>
                  <a:cubicBezTo>
                    <a:pt x="13013" y="635"/>
                    <a:pt x="12997" y="630"/>
                    <a:pt x="12986" y="621"/>
                  </a:cubicBezTo>
                  <a:cubicBezTo>
                    <a:pt x="12976" y="613"/>
                    <a:pt x="12953" y="601"/>
                    <a:pt x="12935" y="597"/>
                  </a:cubicBezTo>
                  <a:cubicBezTo>
                    <a:pt x="12918" y="593"/>
                    <a:pt x="12895" y="589"/>
                    <a:pt x="12884" y="591"/>
                  </a:cubicBezTo>
                  <a:cubicBezTo>
                    <a:pt x="12873" y="593"/>
                    <a:pt x="12858" y="602"/>
                    <a:pt x="12849" y="610"/>
                  </a:cubicBezTo>
                  <a:cubicBezTo>
                    <a:pt x="12842" y="621"/>
                    <a:pt x="12827" y="633"/>
                    <a:pt x="12819" y="643"/>
                  </a:cubicBezTo>
                  <a:cubicBezTo>
                    <a:pt x="12811" y="651"/>
                    <a:pt x="12807" y="667"/>
                    <a:pt x="12808" y="677"/>
                  </a:cubicBezTo>
                  <a:cubicBezTo>
                    <a:pt x="12809" y="687"/>
                    <a:pt x="12837" y="700"/>
                    <a:pt x="12868" y="705"/>
                  </a:cubicBezTo>
                  <a:cubicBezTo>
                    <a:pt x="12900" y="711"/>
                    <a:pt x="12924" y="720"/>
                    <a:pt x="12921" y="725"/>
                  </a:cubicBezTo>
                  <a:cubicBezTo>
                    <a:pt x="12918" y="729"/>
                    <a:pt x="12900" y="737"/>
                    <a:pt x="12878" y="741"/>
                  </a:cubicBezTo>
                  <a:cubicBezTo>
                    <a:pt x="12857" y="744"/>
                    <a:pt x="12827" y="759"/>
                    <a:pt x="12812" y="772"/>
                  </a:cubicBezTo>
                  <a:cubicBezTo>
                    <a:pt x="12795" y="784"/>
                    <a:pt x="12780" y="805"/>
                    <a:pt x="12778" y="817"/>
                  </a:cubicBezTo>
                  <a:cubicBezTo>
                    <a:pt x="12776" y="830"/>
                    <a:pt x="12793" y="841"/>
                    <a:pt x="12818" y="846"/>
                  </a:cubicBezTo>
                  <a:cubicBezTo>
                    <a:pt x="12843" y="847"/>
                    <a:pt x="12878" y="849"/>
                    <a:pt x="12894" y="844"/>
                  </a:cubicBezTo>
                  <a:cubicBezTo>
                    <a:pt x="12911" y="841"/>
                    <a:pt x="12941" y="830"/>
                    <a:pt x="12963" y="824"/>
                  </a:cubicBezTo>
                  <a:cubicBezTo>
                    <a:pt x="12984" y="818"/>
                    <a:pt x="13021" y="809"/>
                    <a:pt x="13046" y="805"/>
                  </a:cubicBezTo>
                  <a:cubicBezTo>
                    <a:pt x="13070" y="802"/>
                    <a:pt x="13103" y="799"/>
                    <a:pt x="13119" y="797"/>
                  </a:cubicBezTo>
                  <a:cubicBezTo>
                    <a:pt x="13134" y="797"/>
                    <a:pt x="13166" y="806"/>
                    <a:pt x="13190" y="816"/>
                  </a:cubicBezTo>
                  <a:cubicBezTo>
                    <a:pt x="13214" y="828"/>
                    <a:pt x="13250" y="839"/>
                    <a:pt x="13271" y="840"/>
                  </a:cubicBezTo>
                  <a:cubicBezTo>
                    <a:pt x="13292" y="841"/>
                    <a:pt x="13316" y="849"/>
                    <a:pt x="13327" y="853"/>
                  </a:cubicBezTo>
                  <a:cubicBezTo>
                    <a:pt x="13337" y="858"/>
                    <a:pt x="13340" y="867"/>
                    <a:pt x="13333" y="873"/>
                  </a:cubicBezTo>
                  <a:cubicBezTo>
                    <a:pt x="13326" y="880"/>
                    <a:pt x="13316" y="889"/>
                    <a:pt x="13314" y="897"/>
                  </a:cubicBezTo>
                  <a:cubicBezTo>
                    <a:pt x="13309" y="903"/>
                    <a:pt x="13311" y="919"/>
                    <a:pt x="13309" y="930"/>
                  </a:cubicBezTo>
                  <a:cubicBezTo>
                    <a:pt x="13309" y="941"/>
                    <a:pt x="13295" y="962"/>
                    <a:pt x="13280" y="981"/>
                  </a:cubicBezTo>
                  <a:cubicBezTo>
                    <a:pt x="13262" y="996"/>
                    <a:pt x="13247" y="1018"/>
                    <a:pt x="13246" y="1025"/>
                  </a:cubicBezTo>
                  <a:cubicBezTo>
                    <a:pt x="13243" y="1033"/>
                    <a:pt x="13252" y="1047"/>
                    <a:pt x="13266" y="1056"/>
                  </a:cubicBezTo>
                  <a:cubicBezTo>
                    <a:pt x="13278" y="1066"/>
                    <a:pt x="13287" y="1083"/>
                    <a:pt x="13281" y="1095"/>
                  </a:cubicBezTo>
                  <a:cubicBezTo>
                    <a:pt x="13276" y="1107"/>
                    <a:pt x="13277" y="1123"/>
                    <a:pt x="13277" y="1130"/>
                  </a:cubicBezTo>
                  <a:cubicBezTo>
                    <a:pt x="13278" y="1137"/>
                    <a:pt x="13300" y="1144"/>
                    <a:pt x="13324" y="1148"/>
                  </a:cubicBezTo>
                  <a:cubicBezTo>
                    <a:pt x="13347" y="1153"/>
                    <a:pt x="13384" y="1152"/>
                    <a:pt x="13404" y="1149"/>
                  </a:cubicBezTo>
                  <a:cubicBezTo>
                    <a:pt x="13424" y="1147"/>
                    <a:pt x="13451" y="1150"/>
                    <a:pt x="13465" y="1156"/>
                  </a:cubicBezTo>
                  <a:cubicBezTo>
                    <a:pt x="13478" y="1162"/>
                    <a:pt x="13511" y="1170"/>
                    <a:pt x="13538" y="1173"/>
                  </a:cubicBezTo>
                  <a:cubicBezTo>
                    <a:pt x="13565" y="1176"/>
                    <a:pt x="13586" y="1183"/>
                    <a:pt x="13585" y="1187"/>
                  </a:cubicBezTo>
                  <a:cubicBezTo>
                    <a:pt x="13584" y="1191"/>
                    <a:pt x="13586" y="1201"/>
                    <a:pt x="13591" y="1208"/>
                  </a:cubicBezTo>
                  <a:cubicBezTo>
                    <a:pt x="13594" y="1216"/>
                    <a:pt x="13576" y="1218"/>
                    <a:pt x="13548" y="1210"/>
                  </a:cubicBezTo>
                  <a:cubicBezTo>
                    <a:pt x="13520" y="1204"/>
                    <a:pt x="13471" y="1195"/>
                    <a:pt x="13440" y="1192"/>
                  </a:cubicBezTo>
                  <a:cubicBezTo>
                    <a:pt x="13409" y="1185"/>
                    <a:pt x="13354" y="1186"/>
                    <a:pt x="13320" y="1193"/>
                  </a:cubicBezTo>
                  <a:cubicBezTo>
                    <a:pt x="13285" y="1197"/>
                    <a:pt x="13242" y="1201"/>
                    <a:pt x="13223" y="1197"/>
                  </a:cubicBezTo>
                  <a:cubicBezTo>
                    <a:pt x="13204" y="1194"/>
                    <a:pt x="13185" y="1186"/>
                    <a:pt x="13179" y="1180"/>
                  </a:cubicBezTo>
                  <a:cubicBezTo>
                    <a:pt x="13174" y="1173"/>
                    <a:pt x="13171" y="1158"/>
                    <a:pt x="13175" y="1146"/>
                  </a:cubicBezTo>
                  <a:cubicBezTo>
                    <a:pt x="13176" y="1133"/>
                    <a:pt x="13174" y="1109"/>
                    <a:pt x="13166" y="1090"/>
                  </a:cubicBezTo>
                  <a:cubicBezTo>
                    <a:pt x="13157" y="1071"/>
                    <a:pt x="13159" y="1046"/>
                    <a:pt x="13172" y="1038"/>
                  </a:cubicBezTo>
                  <a:cubicBezTo>
                    <a:pt x="13184" y="1027"/>
                    <a:pt x="13197" y="1011"/>
                    <a:pt x="13200" y="1000"/>
                  </a:cubicBezTo>
                  <a:cubicBezTo>
                    <a:pt x="13202" y="990"/>
                    <a:pt x="13188" y="975"/>
                    <a:pt x="13168" y="967"/>
                  </a:cubicBezTo>
                  <a:cubicBezTo>
                    <a:pt x="13147" y="960"/>
                    <a:pt x="13132" y="948"/>
                    <a:pt x="13132" y="941"/>
                  </a:cubicBezTo>
                  <a:cubicBezTo>
                    <a:pt x="13133" y="934"/>
                    <a:pt x="13126" y="918"/>
                    <a:pt x="13118" y="904"/>
                  </a:cubicBezTo>
                  <a:cubicBezTo>
                    <a:pt x="13109" y="891"/>
                    <a:pt x="13093" y="877"/>
                    <a:pt x="13083" y="873"/>
                  </a:cubicBezTo>
                  <a:cubicBezTo>
                    <a:pt x="13072" y="871"/>
                    <a:pt x="13047" y="870"/>
                    <a:pt x="13028" y="869"/>
                  </a:cubicBezTo>
                  <a:cubicBezTo>
                    <a:pt x="13009" y="869"/>
                    <a:pt x="12979" y="869"/>
                    <a:pt x="12963" y="864"/>
                  </a:cubicBezTo>
                  <a:cubicBezTo>
                    <a:pt x="12947" y="862"/>
                    <a:pt x="12914" y="861"/>
                    <a:pt x="12890" y="861"/>
                  </a:cubicBezTo>
                  <a:cubicBezTo>
                    <a:pt x="12867" y="864"/>
                    <a:pt x="12827" y="870"/>
                    <a:pt x="12803" y="880"/>
                  </a:cubicBezTo>
                  <a:cubicBezTo>
                    <a:pt x="12778" y="889"/>
                    <a:pt x="12734" y="902"/>
                    <a:pt x="12705" y="908"/>
                  </a:cubicBezTo>
                  <a:cubicBezTo>
                    <a:pt x="12676" y="915"/>
                    <a:pt x="12637" y="920"/>
                    <a:pt x="12617" y="920"/>
                  </a:cubicBezTo>
                  <a:cubicBezTo>
                    <a:pt x="12597" y="922"/>
                    <a:pt x="12569" y="924"/>
                    <a:pt x="12555" y="925"/>
                  </a:cubicBezTo>
                  <a:cubicBezTo>
                    <a:pt x="12541" y="927"/>
                    <a:pt x="12515" y="944"/>
                    <a:pt x="12498" y="962"/>
                  </a:cubicBezTo>
                  <a:cubicBezTo>
                    <a:pt x="12480" y="979"/>
                    <a:pt x="12474" y="996"/>
                    <a:pt x="12484" y="1000"/>
                  </a:cubicBezTo>
                  <a:cubicBezTo>
                    <a:pt x="12494" y="1002"/>
                    <a:pt x="12496" y="1014"/>
                    <a:pt x="12492" y="1026"/>
                  </a:cubicBezTo>
                  <a:cubicBezTo>
                    <a:pt x="12487" y="1037"/>
                    <a:pt x="12470" y="1051"/>
                    <a:pt x="12454" y="1058"/>
                  </a:cubicBezTo>
                  <a:cubicBezTo>
                    <a:pt x="12439" y="1065"/>
                    <a:pt x="12398" y="1069"/>
                    <a:pt x="12365" y="1065"/>
                  </a:cubicBezTo>
                  <a:cubicBezTo>
                    <a:pt x="12332" y="1063"/>
                    <a:pt x="12276" y="1050"/>
                    <a:pt x="12242" y="1037"/>
                  </a:cubicBezTo>
                  <a:cubicBezTo>
                    <a:pt x="12207" y="1026"/>
                    <a:pt x="12170" y="1014"/>
                    <a:pt x="12158" y="1016"/>
                  </a:cubicBezTo>
                  <a:cubicBezTo>
                    <a:pt x="12146" y="1018"/>
                    <a:pt x="12126" y="1024"/>
                    <a:pt x="12116" y="1032"/>
                  </a:cubicBezTo>
                  <a:cubicBezTo>
                    <a:pt x="12103" y="1036"/>
                    <a:pt x="12085" y="1045"/>
                    <a:pt x="12073" y="1048"/>
                  </a:cubicBezTo>
                  <a:cubicBezTo>
                    <a:pt x="12061" y="1050"/>
                    <a:pt x="12046" y="1045"/>
                    <a:pt x="12038" y="1041"/>
                  </a:cubicBezTo>
                  <a:cubicBezTo>
                    <a:pt x="12030" y="1036"/>
                    <a:pt x="11990" y="1032"/>
                    <a:pt x="11948" y="1038"/>
                  </a:cubicBezTo>
                  <a:cubicBezTo>
                    <a:pt x="11906" y="1041"/>
                    <a:pt x="11863" y="1051"/>
                    <a:pt x="11852" y="1056"/>
                  </a:cubicBezTo>
                  <a:cubicBezTo>
                    <a:pt x="11841" y="1063"/>
                    <a:pt x="11830" y="1077"/>
                    <a:pt x="11830" y="1087"/>
                  </a:cubicBezTo>
                  <a:cubicBezTo>
                    <a:pt x="11830" y="1097"/>
                    <a:pt x="11835" y="1114"/>
                    <a:pt x="11844" y="1123"/>
                  </a:cubicBezTo>
                  <a:cubicBezTo>
                    <a:pt x="11852" y="1132"/>
                    <a:pt x="11849" y="1148"/>
                    <a:pt x="11836" y="1158"/>
                  </a:cubicBezTo>
                  <a:cubicBezTo>
                    <a:pt x="11823" y="1168"/>
                    <a:pt x="11819" y="1184"/>
                    <a:pt x="11827" y="1192"/>
                  </a:cubicBezTo>
                  <a:cubicBezTo>
                    <a:pt x="11836" y="1202"/>
                    <a:pt x="11851" y="1218"/>
                    <a:pt x="11861" y="1230"/>
                  </a:cubicBezTo>
                  <a:cubicBezTo>
                    <a:pt x="11869" y="1243"/>
                    <a:pt x="11870" y="1260"/>
                    <a:pt x="11864" y="1274"/>
                  </a:cubicBezTo>
                  <a:cubicBezTo>
                    <a:pt x="11857" y="1286"/>
                    <a:pt x="11856" y="1302"/>
                    <a:pt x="11863" y="1303"/>
                  </a:cubicBezTo>
                  <a:cubicBezTo>
                    <a:pt x="11869" y="1308"/>
                    <a:pt x="11877" y="1322"/>
                    <a:pt x="11880" y="1335"/>
                  </a:cubicBezTo>
                  <a:cubicBezTo>
                    <a:pt x="11882" y="1349"/>
                    <a:pt x="11879" y="1365"/>
                    <a:pt x="11873" y="1370"/>
                  </a:cubicBezTo>
                  <a:cubicBezTo>
                    <a:pt x="11866" y="1376"/>
                    <a:pt x="11859" y="1390"/>
                    <a:pt x="11854" y="1399"/>
                  </a:cubicBezTo>
                  <a:cubicBezTo>
                    <a:pt x="11849" y="1410"/>
                    <a:pt x="11858" y="1427"/>
                    <a:pt x="11872" y="1439"/>
                  </a:cubicBezTo>
                  <a:cubicBezTo>
                    <a:pt x="11887" y="1452"/>
                    <a:pt x="11902" y="1468"/>
                    <a:pt x="11903" y="1478"/>
                  </a:cubicBezTo>
                  <a:cubicBezTo>
                    <a:pt x="11905" y="1487"/>
                    <a:pt x="11898" y="1507"/>
                    <a:pt x="11888" y="1524"/>
                  </a:cubicBezTo>
                  <a:cubicBezTo>
                    <a:pt x="11875" y="1538"/>
                    <a:pt x="11866" y="1559"/>
                    <a:pt x="11863" y="1566"/>
                  </a:cubicBezTo>
                  <a:cubicBezTo>
                    <a:pt x="11860" y="1573"/>
                    <a:pt x="11868" y="1586"/>
                    <a:pt x="11881" y="1593"/>
                  </a:cubicBezTo>
                  <a:cubicBezTo>
                    <a:pt x="11892" y="1602"/>
                    <a:pt x="11906" y="1618"/>
                    <a:pt x="11910" y="1632"/>
                  </a:cubicBezTo>
                  <a:cubicBezTo>
                    <a:pt x="11915" y="1645"/>
                    <a:pt x="11916" y="1662"/>
                    <a:pt x="11912" y="1669"/>
                  </a:cubicBezTo>
                  <a:cubicBezTo>
                    <a:pt x="11910" y="1676"/>
                    <a:pt x="11929" y="1687"/>
                    <a:pt x="11953" y="1692"/>
                  </a:cubicBezTo>
                  <a:cubicBezTo>
                    <a:pt x="11978" y="1699"/>
                    <a:pt x="12005" y="1708"/>
                    <a:pt x="12014" y="1716"/>
                  </a:cubicBezTo>
                  <a:cubicBezTo>
                    <a:pt x="12022" y="1723"/>
                    <a:pt x="12027" y="1739"/>
                    <a:pt x="12022" y="1750"/>
                  </a:cubicBezTo>
                  <a:cubicBezTo>
                    <a:pt x="12017" y="1762"/>
                    <a:pt x="12020" y="1777"/>
                    <a:pt x="12029" y="1779"/>
                  </a:cubicBezTo>
                  <a:cubicBezTo>
                    <a:pt x="12037" y="1783"/>
                    <a:pt x="12059" y="1785"/>
                    <a:pt x="12076" y="1782"/>
                  </a:cubicBezTo>
                  <a:cubicBezTo>
                    <a:pt x="12094" y="1782"/>
                    <a:pt x="12107" y="1783"/>
                    <a:pt x="12105" y="1789"/>
                  </a:cubicBezTo>
                  <a:cubicBezTo>
                    <a:pt x="12103" y="1794"/>
                    <a:pt x="12108" y="1804"/>
                    <a:pt x="12114" y="1811"/>
                  </a:cubicBezTo>
                  <a:cubicBezTo>
                    <a:pt x="12121" y="1817"/>
                    <a:pt x="12145" y="1825"/>
                    <a:pt x="12168" y="1829"/>
                  </a:cubicBezTo>
                  <a:cubicBezTo>
                    <a:pt x="12191" y="1829"/>
                    <a:pt x="12217" y="1834"/>
                    <a:pt x="12225" y="1837"/>
                  </a:cubicBezTo>
                  <a:cubicBezTo>
                    <a:pt x="12232" y="1839"/>
                    <a:pt x="12233" y="1845"/>
                    <a:pt x="12225" y="1848"/>
                  </a:cubicBezTo>
                  <a:cubicBezTo>
                    <a:pt x="12217" y="1853"/>
                    <a:pt x="12189" y="1860"/>
                    <a:pt x="12162" y="1864"/>
                  </a:cubicBezTo>
                  <a:cubicBezTo>
                    <a:pt x="12135" y="1868"/>
                    <a:pt x="12102" y="1871"/>
                    <a:pt x="12089" y="1870"/>
                  </a:cubicBezTo>
                  <a:cubicBezTo>
                    <a:pt x="12075" y="1869"/>
                    <a:pt x="12048" y="1872"/>
                    <a:pt x="12029" y="1874"/>
                  </a:cubicBezTo>
                  <a:cubicBezTo>
                    <a:pt x="12010" y="1876"/>
                    <a:pt x="11988" y="1875"/>
                    <a:pt x="11979" y="1871"/>
                  </a:cubicBezTo>
                  <a:cubicBezTo>
                    <a:pt x="11970" y="1866"/>
                    <a:pt x="11965" y="1855"/>
                    <a:pt x="11970" y="1847"/>
                  </a:cubicBezTo>
                  <a:cubicBezTo>
                    <a:pt x="11973" y="1839"/>
                    <a:pt x="11972" y="1828"/>
                    <a:pt x="11967" y="1823"/>
                  </a:cubicBezTo>
                  <a:cubicBezTo>
                    <a:pt x="11962" y="1817"/>
                    <a:pt x="11944" y="1812"/>
                    <a:pt x="11927" y="1811"/>
                  </a:cubicBezTo>
                  <a:cubicBezTo>
                    <a:pt x="11911" y="1811"/>
                    <a:pt x="11884" y="1812"/>
                    <a:pt x="11868" y="1819"/>
                  </a:cubicBezTo>
                  <a:cubicBezTo>
                    <a:pt x="11852" y="1825"/>
                    <a:pt x="11829" y="1832"/>
                    <a:pt x="11818" y="1833"/>
                  </a:cubicBezTo>
                  <a:cubicBezTo>
                    <a:pt x="11807" y="1835"/>
                    <a:pt x="11794" y="1833"/>
                    <a:pt x="11791" y="1827"/>
                  </a:cubicBezTo>
                  <a:cubicBezTo>
                    <a:pt x="11788" y="1821"/>
                    <a:pt x="11787" y="1808"/>
                    <a:pt x="11793" y="1798"/>
                  </a:cubicBezTo>
                  <a:cubicBezTo>
                    <a:pt x="11796" y="1787"/>
                    <a:pt x="11798" y="1779"/>
                    <a:pt x="11795" y="1776"/>
                  </a:cubicBezTo>
                  <a:cubicBezTo>
                    <a:pt x="11791" y="1775"/>
                    <a:pt x="11777" y="1780"/>
                    <a:pt x="11764" y="1788"/>
                  </a:cubicBezTo>
                  <a:cubicBezTo>
                    <a:pt x="11750" y="1795"/>
                    <a:pt x="11719" y="1816"/>
                    <a:pt x="11696" y="1836"/>
                  </a:cubicBezTo>
                  <a:cubicBezTo>
                    <a:pt x="11671" y="1853"/>
                    <a:pt x="11628" y="1878"/>
                    <a:pt x="11598" y="1887"/>
                  </a:cubicBezTo>
                  <a:cubicBezTo>
                    <a:pt x="11568" y="1896"/>
                    <a:pt x="11526" y="1909"/>
                    <a:pt x="11505" y="1910"/>
                  </a:cubicBezTo>
                  <a:cubicBezTo>
                    <a:pt x="11484" y="1913"/>
                    <a:pt x="11446" y="1911"/>
                    <a:pt x="11421" y="1906"/>
                  </a:cubicBezTo>
                  <a:cubicBezTo>
                    <a:pt x="11396" y="1901"/>
                    <a:pt x="11357" y="1900"/>
                    <a:pt x="11335" y="1902"/>
                  </a:cubicBezTo>
                  <a:cubicBezTo>
                    <a:pt x="11313" y="1905"/>
                    <a:pt x="11288" y="1902"/>
                    <a:pt x="11280" y="1895"/>
                  </a:cubicBezTo>
                  <a:cubicBezTo>
                    <a:pt x="11272" y="1888"/>
                    <a:pt x="11265" y="1874"/>
                    <a:pt x="11267" y="1863"/>
                  </a:cubicBezTo>
                  <a:cubicBezTo>
                    <a:pt x="11267" y="1853"/>
                    <a:pt x="11276" y="1833"/>
                    <a:pt x="11285" y="1819"/>
                  </a:cubicBezTo>
                  <a:cubicBezTo>
                    <a:pt x="11293" y="1805"/>
                    <a:pt x="11293" y="1780"/>
                    <a:pt x="11282" y="1763"/>
                  </a:cubicBezTo>
                  <a:cubicBezTo>
                    <a:pt x="11273" y="1745"/>
                    <a:pt x="11254" y="1731"/>
                    <a:pt x="11243" y="1727"/>
                  </a:cubicBezTo>
                  <a:cubicBezTo>
                    <a:pt x="11232" y="1723"/>
                    <a:pt x="11221" y="1711"/>
                    <a:pt x="11221" y="1700"/>
                  </a:cubicBezTo>
                  <a:cubicBezTo>
                    <a:pt x="11219" y="1689"/>
                    <a:pt x="11223" y="1672"/>
                    <a:pt x="11228" y="1662"/>
                  </a:cubicBezTo>
                  <a:cubicBezTo>
                    <a:pt x="11233" y="1654"/>
                    <a:pt x="11247" y="1637"/>
                    <a:pt x="11263" y="1630"/>
                  </a:cubicBezTo>
                  <a:cubicBezTo>
                    <a:pt x="11277" y="1620"/>
                    <a:pt x="11294" y="1609"/>
                    <a:pt x="11299" y="1603"/>
                  </a:cubicBezTo>
                  <a:cubicBezTo>
                    <a:pt x="11304" y="1597"/>
                    <a:pt x="11311" y="1570"/>
                    <a:pt x="11316" y="1544"/>
                  </a:cubicBezTo>
                  <a:cubicBezTo>
                    <a:pt x="11319" y="1517"/>
                    <a:pt x="11315" y="1488"/>
                    <a:pt x="11304" y="1477"/>
                  </a:cubicBezTo>
                  <a:cubicBezTo>
                    <a:pt x="11293" y="1467"/>
                    <a:pt x="11268" y="1449"/>
                    <a:pt x="11250" y="1436"/>
                  </a:cubicBezTo>
                  <a:cubicBezTo>
                    <a:pt x="11231" y="1424"/>
                    <a:pt x="11218" y="1405"/>
                    <a:pt x="11220" y="1395"/>
                  </a:cubicBezTo>
                  <a:cubicBezTo>
                    <a:pt x="11222" y="1385"/>
                    <a:pt x="11215" y="1361"/>
                    <a:pt x="11200" y="1343"/>
                  </a:cubicBezTo>
                  <a:cubicBezTo>
                    <a:pt x="11189" y="1323"/>
                    <a:pt x="11169" y="1303"/>
                    <a:pt x="11161" y="1296"/>
                  </a:cubicBezTo>
                  <a:cubicBezTo>
                    <a:pt x="11153" y="1287"/>
                    <a:pt x="11132" y="1279"/>
                    <a:pt x="11115" y="1279"/>
                  </a:cubicBezTo>
                  <a:cubicBezTo>
                    <a:pt x="11097" y="1276"/>
                    <a:pt x="11079" y="1272"/>
                    <a:pt x="11075" y="1266"/>
                  </a:cubicBezTo>
                  <a:cubicBezTo>
                    <a:pt x="11071" y="1260"/>
                    <a:pt x="11054" y="1256"/>
                    <a:pt x="11038" y="1257"/>
                  </a:cubicBezTo>
                  <a:cubicBezTo>
                    <a:pt x="11022" y="1258"/>
                    <a:pt x="10992" y="1258"/>
                    <a:pt x="10971" y="1262"/>
                  </a:cubicBezTo>
                  <a:cubicBezTo>
                    <a:pt x="10951" y="1263"/>
                    <a:pt x="10924" y="1264"/>
                    <a:pt x="10910" y="1262"/>
                  </a:cubicBezTo>
                  <a:cubicBezTo>
                    <a:pt x="10897" y="1259"/>
                    <a:pt x="10869" y="1263"/>
                    <a:pt x="10847" y="1267"/>
                  </a:cubicBezTo>
                  <a:cubicBezTo>
                    <a:pt x="10826" y="1273"/>
                    <a:pt x="10795" y="1282"/>
                    <a:pt x="10779" y="1291"/>
                  </a:cubicBezTo>
                  <a:cubicBezTo>
                    <a:pt x="10763" y="1298"/>
                    <a:pt x="10747" y="1317"/>
                    <a:pt x="10743" y="1331"/>
                  </a:cubicBezTo>
                  <a:cubicBezTo>
                    <a:pt x="10740" y="1345"/>
                    <a:pt x="10728" y="1361"/>
                    <a:pt x="10720" y="1367"/>
                  </a:cubicBezTo>
                  <a:cubicBezTo>
                    <a:pt x="10713" y="1376"/>
                    <a:pt x="10706" y="1385"/>
                    <a:pt x="10709" y="1389"/>
                  </a:cubicBezTo>
                  <a:cubicBezTo>
                    <a:pt x="10712" y="1395"/>
                    <a:pt x="10710" y="1406"/>
                    <a:pt x="10704" y="1413"/>
                  </a:cubicBezTo>
                  <a:cubicBezTo>
                    <a:pt x="10698" y="1421"/>
                    <a:pt x="10671" y="1446"/>
                    <a:pt x="10645" y="1470"/>
                  </a:cubicBezTo>
                  <a:cubicBezTo>
                    <a:pt x="10619" y="1492"/>
                    <a:pt x="10593" y="1523"/>
                    <a:pt x="10587" y="1535"/>
                  </a:cubicBezTo>
                  <a:cubicBezTo>
                    <a:pt x="10582" y="1549"/>
                    <a:pt x="10578" y="1570"/>
                    <a:pt x="10580" y="1584"/>
                  </a:cubicBezTo>
                  <a:cubicBezTo>
                    <a:pt x="10582" y="1597"/>
                    <a:pt x="10591" y="1613"/>
                    <a:pt x="10601" y="1616"/>
                  </a:cubicBezTo>
                  <a:cubicBezTo>
                    <a:pt x="10610" y="1622"/>
                    <a:pt x="10611" y="1639"/>
                    <a:pt x="10600" y="1655"/>
                  </a:cubicBezTo>
                  <a:cubicBezTo>
                    <a:pt x="10589" y="1671"/>
                    <a:pt x="10569" y="1700"/>
                    <a:pt x="10554" y="1717"/>
                  </a:cubicBezTo>
                  <a:cubicBezTo>
                    <a:pt x="10538" y="1734"/>
                    <a:pt x="10527" y="1756"/>
                    <a:pt x="10529" y="1766"/>
                  </a:cubicBezTo>
                  <a:cubicBezTo>
                    <a:pt x="10530" y="1775"/>
                    <a:pt x="10527" y="1799"/>
                    <a:pt x="10521" y="1819"/>
                  </a:cubicBezTo>
                  <a:cubicBezTo>
                    <a:pt x="10518" y="1840"/>
                    <a:pt x="10501" y="1859"/>
                    <a:pt x="10489" y="1864"/>
                  </a:cubicBezTo>
                  <a:cubicBezTo>
                    <a:pt x="10478" y="1871"/>
                    <a:pt x="10461" y="1872"/>
                    <a:pt x="10454" y="1868"/>
                  </a:cubicBezTo>
                  <a:cubicBezTo>
                    <a:pt x="10446" y="1866"/>
                    <a:pt x="10433" y="1864"/>
                    <a:pt x="10425" y="1863"/>
                  </a:cubicBezTo>
                  <a:cubicBezTo>
                    <a:pt x="10416" y="1864"/>
                    <a:pt x="10400" y="1869"/>
                    <a:pt x="10388" y="1875"/>
                  </a:cubicBezTo>
                  <a:cubicBezTo>
                    <a:pt x="10375" y="1880"/>
                    <a:pt x="10351" y="1887"/>
                    <a:pt x="10333" y="1890"/>
                  </a:cubicBezTo>
                  <a:cubicBezTo>
                    <a:pt x="10314" y="1891"/>
                    <a:pt x="10297" y="1891"/>
                    <a:pt x="10295" y="1887"/>
                  </a:cubicBezTo>
                  <a:cubicBezTo>
                    <a:pt x="10291" y="1887"/>
                    <a:pt x="10278" y="1882"/>
                    <a:pt x="10264" y="1881"/>
                  </a:cubicBezTo>
                  <a:cubicBezTo>
                    <a:pt x="10250" y="1881"/>
                    <a:pt x="10216" y="1881"/>
                    <a:pt x="10190" y="1885"/>
                  </a:cubicBezTo>
                  <a:cubicBezTo>
                    <a:pt x="10163" y="1888"/>
                    <a:pt x="10129" y="1886"/>
                    <a:pt x="10113" y="1885"/>
                  </a:cubicBezTo>
                  <a:cubicBezTo>
                    <a:pt x="10098" y="1880"/>
                    <a:pt x="10075" y="1879"/>
                    <a:pt x="10064" y="1882"/>
                  </a:cubicBezTo>
                  <a:cubicBezTo>
                    <a:pt x="10052" y="1884"/>
                    <a:pt x="10038" y="1890"/>
                    <a:pt x="10033" y="1893"/>
                  </a:cubicBezTo>
                  <a:cubicBezTo>
                    <a:pt x="10029" y="1897"/>
                    <a:pt x="10026" y="1904"/>
                    <a:pt x="10027" y="1911"/>
                  </a:cubicBezTo>
                  <a:cubicBezTo>
                    <a:pt x="10030" y="1918"/>
                    <a:pt x="10043" y="1926"/>
                    <a:pt x="10057" y="1930"/>
                  </a:cubicBezTo>
                  <a:cubicBezTo>
                    <a:pt x="10072" y="1933"/>
                    <a:pt x="10084" y="1941"/>
                    <a:pt x="10085" y="1946"/>
                  </a:cubicBezTo>
                  <a:cubicBezTo>
                    <a:pt x="10085" y="1952"/>
                    <a:pt x="10080" y="1962"/>
                    <a:pt x="10072" y="1967"/>
                  </a:cubicBezTo>
                  <a:cubicBezTo>
                    <a:pt x="10064" y="1974"/>
                    <a:pt x="10053" y="1984"/>
                    <a:pt x="10047" y="1988"/>
                  </a:cubicBezTo>
                  <a:cubicBezTo>
                    <a:pt x="10041" y="1992"/>
                    <a:pt x="10028" y="1999"/>
                    <a:pt x="10017" y="2001"/>
                  </a:cubicBezTo>
                  <a:cubicBezTo>
                    <a:pt x="10005" y="2004"/>
                    <a:pt x="9990" y="2007"/>
                    <a:pt x="9983" y="2003"/>
                  </a:cubicBezTo>
                  <a:cubicBezTo>
                    <a:pt x="9976" y="2002"/>
                    <a:pt x="9956" y="2002"/>
                    <a:pt x="9939" y="2004"/>
                  </a:cubicBezTo>
                  <a:cubicBezTo>
                    <a:pt x="9922" y="2008"/>
                    <a:pt x="9898" y="2005"/>
                    <a:pt x="9886" y="2004"/>
                  </a:cubicBezTo>
                  <a:cubicBezTo>
                    <a:pt x="9874" y="2002"/>
                    <a:pt x="9868" y="1988"/>
                    <a:pt x="9870" y="1973"/>
                  </a:cubicBezTo>
                  <a:cubicBezTo>
                    <a:pt x="9875" y="1958"/>
                    <a:pt x="9863" y="1938"/>
                    <a:pt x="9847" y="1930"/>
                  </a:cubicBezTo>
                  <a:cubicBezTo>
                    <a:pt x="9831" y="1923"/>
                    <a:pt x="9818" y="1904"/>
                    <a:pt x="9819" y="1892"/>
                  </a:cubicBezTo>
                  <a:cubicBezTo>
                    <a:pt x="9817" y="1879"/>
                    <a:pt x="9816" y="1862"/>
                    <a:pt x="9812" y="1854"/>
                  </a:cubicBezTo>
                  <a:cubicBezTo>
                    <a:pt x="9809" y="1846"/>
                    <a:pt x="9795" y="1836"/>
                    <a:pt x="9783" y="1832"/>
                  </a:cubicBezTo>
                  <a:cubicBezTo>
                    <a:pt x="9771" y="1828"/>
                    <a:pt x="9763" y="1816"/>
                    <a:pt x="9768" y="1807"/>
                  </a:cubicBezTo>
                  <a:cubicBezTo>
                    <a:pt x="9769" y="1797"/>
                    <a:pt x="9769" y="1787"/>
                    <a:pt x="9764" y="1779"/>
                  </a:cubicBezTo>
                  <a:cubicBezTo>
                    <a:pt x="9757" y="1775"/>
                    <a:pt x="9738" y="1776"/>
                    <a:pt x="9720" y="1787"/>
                  </a:cubicBezTo>
                  <a:cubicBezTo>
                    <a:pt x="9701" y="1797"/>
                    <a:pt x="9677" y="1816"/>
                    <a:pt x="9664" y="1827"/>
                  </a:cubicBezTo>
                  <a:cubicBezTo>
                    <a:pt x="9652" y="1840"/>
                    <a:pt x="9628" y="1854"/>
                    <a:pt x="9612" y="1863"/>
                  </a:cubicBezTo>
                  <a:cubicBezTo>
                    <a:pt x="9596" y="1869"/>
                    <a:pt x="9581" y="1884"/>
                    <a:pt x="9577" y="1892"/>
                  </a:cubicBezTo>
                  <a:cubicBezTo>
                    <a:pt x="9574" y="1900"/>
                    <a:pt x="9562" y="1914"/>
                    <a:pt x="9550" y="1924"/>
                  </a:cubicBezTo>
                  <a:cubicBezTo>
                    <a:pt x="9539" y="1933"/>
                    <a:pt x="9519" y="1947"/>
                    <a:pt x="9506" y="1953"/>
                  </a:cubicBezTo>
                  <a:cubicBezTo>
                    <a:pt x="9493" y="1960"/>
                    <a:pt x="9469" y="1971"/>
                    <a:pt x="9453" y="1977"/>
                  </a:cubicBezTo>
                  <a:cubicBezTo>
                    <a:pt x="9436" y="1982"/>
                    <a:pt x="9410" y="1997"/>
                    <a:pt x="9396" y="2010"/>
                  </a:cubicBezTo>
                  <a:cubicBezTo>
                    <a:pt x="9382" y="2022"/>
                    <a:pt x="9345" y="2047"/>
                    <a:pt x="9316" y="2069"/>
                  </a:cubicBezTo>
                  <a:cubicBezTo>
                    <a:pt x="9286" y="2088"/>
                    <a:pt x="9244" y="2118"/>
                    <a:pt x="9221" y="2131"/>
                  </a:cubicBezTo>
                  <a:cubicBezTo>
                    <a:pt x="9198" y="2144"/>
                    <a:pt x="9178" y="2161"/>
                    <a:pt x="9175" y="2167"/>
                  </a:cubicBezTo>
                  <a:cubicBezTo>
                    <a:pt x="9173" y="2173"/>
                    <a:pt x="9159" y="2186"/>
                    <a:pt x="9143" y="2194"/>
                  </a:cubicBezTo>
                  <a:cubicBezTo>
                    <a:pt x="9128" y="2201"/>
                    <a:pt x="9097" y="2225"/>
                    <a:pt x="9073" y="2239"/>
                  </a:cubicBezTo>
                  <a:cubicBezTo>
                    <a:pt x="9051" y="2258"/>
                    <a:pt x="9019" y="2274"/>
                    <a:pt x="9004" y="2277"/>
                  </a:cubicBezTo>
                  <a:cubicBezTo>
                    <a:pt x="8989" y="2281"/>
                    <a:pt x="8974" y="2282"/>
                    <a:pt x="8971" y="2278"/>
                  </a:cubicBezTo>
                  <a:cubicBezTo>
                    <a:pt x="8968" y="2275"/>
                    <a:pt x="8973" y="2261"/>
                    <a:pt x="8983" y="2249"/>
                  </a:cubicBezTo>
                  <a:cubicBezTo>
                    <a:pt x="8992" y="2236"/>
                    <a:pt x="9017" y="2215"/>
                    <a:pt x="9036" y="2201"/>
                  </a:cubicBezTo>
                  <a:cubicBezTo>
                    <a:pt x="9056" y="2186"/>
                    <a:pt x="9078" y="2164"/>
                    <a:pt x="9087" y="2151"/>
                  </a:cubicBezTo>
                  <a:cubicBezTo>
                    <a:pt x="9096" y="2139"/>
                    <a:pt x="9113" y="2123"/>
                    <a:pt x="9123" y="2114"/>
                  </a:cubicBezTo>
                  <a:cubicBezTo>
                    <a:pt x="9135" y="2107"/>
                    <a:pt x="9165" y="2091"/>
                    <a:pt x="9191" y="2080"/>
                  </a:cubicBezTo>
                  <a:cubicBezTo>
                    <a:pt x="9217" y="2069"/>
                    <a:pt x="9253" y="2047"/>
                    <a:pt x="9270" y="2031"/>
                  </a:cubicBezTo>
                  <a:cubicBezTo>
                    <a:pt x="9287" y="2015"/>
                    <a:pt x="9320" y="1991"/>
                    <a:pt x="9343" y="1978"/>
                  </a:cubicBezTo>
                  <a:cubicBezTo>
                    <a:pt x="9366" y="1966"/>
                    <a:pt x="9394" y="1946"/>
                    <a:pt x="9406" y="1935"/>
                  </a:cubicBezTo>
                  <a:cubicBezTo>
                    <a:pt x="9419" y="1925"/>
                    <a:pt x="9427" y="1911"/>
                    <a:pt x="9427" y="1905"/>
                  </a:cubicBezTo>
                  <a:cubicBezTo>
                    <a:pt x="9425" y="1899"/>
                    <a:pt x="9417" y="1893"/>
                    <a:pt x="9405" y="1889"/>
                  </a:cubicBezTo>
                  <a:cubicBezTo>
                    <a:pt x="9393" y="1887"/>
                    <a:pt x="9391" y="1879"/>
                    <a:pt x="9401" y="1872"/>
                  </a:cubicBezTo>
                  <a:cubicBezTo>
                    <a:pt x="9411" y="1866"/>
                    <a:pt x="9433" y="1856"/>
                    <a:pt x="9450" y="1849"/>
                  </a:cubicBezTo>
                  <a:cubicBezTo>
                    <a:pt x="9468" y="1844"/>
                    <a:pt x="9490" y="1830"/>
                    <a:pt x="9501" y="1822"/>
                  </a:cubicBezTo>
                  <a:cubicBezTo>
                    <a:pt x="9511" y="1813"/>
                    <a:pt x="9521" y="1799"/>
                    <a:pt x="9525" y="1792"/>
                  </a:cubicBezTo>
                  <a:cubicBezTo>
                    <a:pt x="9528" y="1784"/>
                    <a:pt x="9542" y="1765"/>
                    <a:pt x="9558" y="1754"/>
                  </a:cubicBezTo>
                  <a:cubicBezTo>
                    <a:pt x="9573" y="1740"/>
                    <a:pt x="9606" y="1713"/>
                    <a:pt x="9631" y="1691"/>
                  </a:cubicBezTo>
                  <a:cubicBezTo>
                    <a:pt x="9656" y="1671"/>
                    <a:pt x="9680" y="1645"/>
                    <a:pt x="9682" y="1634"/>
                  </a:cubicBezTo>
                  <a:cubicBezTo>
                    <a:pt x="9688" y="1625"/>
                    <a:pt x="9704" y="1602"/>
                    <a:pt x="9720" y="1585"/>
                  </a:cubicBezTo>
                  <a:cubicBezTo>
                    <a:pt x="9738" y="1568"/>
                    <a:pt x="9765" y="1533"/>
                    <a:pt x="9777" y="1505"/>
                  </a:cubicBezTo>
                  <a:cubicBezTo>
                    <a:pt x="9792" y="1479"/>
                    <a:pt x="9798" y="1453"/>
                    <a:pt x="9795" y="1447"/>
                  </a:cubicBezTo>
                  <a:cubicBezTo>
                    <a:pt x="9791" y="1441"/>
                    <a:pt x="9759" y="1443"/>
                    <a:pt x="9723" y="1447"/>
                  </a:cubicBezTo>
                  <a:cubicBezTo>
                    <a:pt x="9687" y="1451"/>
                    <a:pt x="9638" y="1462"/>
                    <a:pt x="9614" y="1469"/>
                  </a:cubicBezTo>
                  <a:cubicBezTo>
                    <a:pt x="9590" y="1476"/>
                    <a:pt x="9552" y="1492"/>
                    <a:pt x="9528" y="1501"/>
                  </a:cubicBezTo>
                  <a:cubicBezTo>
                    <a:pt x="9504" y="1511"/>
                    <a:pt x="9468" y="1521"/>
                    <a:pt x="9448" y="1521"/>
                  </a:cubicBezTo>
                  <a:cubicBezTo>
                    <a:pt x="9427" y="1520"/>
                    <a:pt x="9395" y="1523"/>
                    <a:pt x="9375" y="1526"/>
                  </a:cubicBezTo>
                  <a:cubicBezTo>
                    <a:pt x="9356" y="1529"/>
                    <a:pt x="9331" y="1534"/>
                    <a:pt x="9321" y="1541"/>
                  </a:cubicBezTo>
                  <a:cubicBezTo>
                    <a:pt x="9310" y="1545"/>
                    <a:pt x="9305" y="1555"/>
                    <a:pt x="9306" y="1561"/>
                  </a:cubicBezTo>
                  <a:cubicBezTo>
                    <a:pt x="9307" y="1568"/>
                    <a:pt x="9323" y="1575"/>
                    <a:pt x="9339" y="1579"/>
                  </a:cubicBezTo>
                  <a:cubicBezTo>
                    <a:pt x="9354" y="1580"/>
                    <a:pt x="9362" y="1597"/>
                    <a:pt x="9356" y="1612"/>
                  </a:cubicBezTo>
                  <a:cubicBezTo>
                    <a:pt x="9350" y="1627"/>
                    <a:pt x="9338" y="1646"/>
                    <a:pt x="9330" y="1656"/>
                  </a:cubicBezTo>
                  <a:cubicBezTo>
                    <a:pt x="9323" y="1666"/>
                    <a:pt x="9308" y="1668"/>
                    <a:pt x="9298" y="1668"/>
                  </a:cubicBezTo>
                  <a:cubicBezTo>
                    <a:pt x="9288" y="1664"/>
                    <a:pt x="9280" y="1653"/>
                    <a:pt x="9280" y="1640"/>
                  </a:cubicBezTo>
                  <a:cubicBezTo>
                    <a:pt x="9281" y="1628"/>
                    <a:pt x="9268" y="1617"/>
                    <a:pt x="9255" y="1612"/>
                  </a:cubicBezTo>
                  <a:cubicBezTo>
                    <a:pt x="9241" y="1608"/>
                    <a:pt x="9215" y="1606"/>
                    <a:pt x="9198" y="1607"/>
                  </a:cubicBezTo>
                  <a:cubicBezTo>
                    <a:pt x="9180" y="1606"/>
                    <a:pt x="9132" y="1624"/>
                    <a:pt x="9092" y="1644"/>
                  </a:cubicBezTo>
                  <a:cubicBezTo>
                    <a:pt x="9053" y="1665"/>
                    <a:pt x="9014" y="1688"/>
                    <a:pt x="9008" y="1699"/>
                  </a:cubicBezTo>
                  <a:cubicBezTo>
                    <a:pt x="9000" y="1708"/>
                    <a:pt x="9003" y="1721"/>
                    <a:pt x="9014" y="1724"/>
                  </a:cubicBezTo>
                  <a:cubicBezTo>
                    <a:pt x="9024" y="1728"/>
                    <a:pt x="9020" y="1740"/>
                    <a:pt x="9005" y="1751"/>
                  </a:cubicBezTo>
                  <a:cubicBezTo>
                    <a:pt x="8991" y="1762"/>
                    <a:pt x="8961" y="1776"/>
                    <a:pt x="8940" y="1781"/>
                  </a:cubicBezTo>
                  <a:cubicBezTo>
                    <a:pt x="8919" y="1787"/>
                    <a:pt x="8903" y="1788"/>
                    <a:pt x="8904" y="1783"/>
                  </a:cubicBezTo>
                  <a:cubicBezTo>
                    <a:pt x="8906" y="1779"/>
                    <a:pt x="8911" y="1768"/>
                    <a:pt x="8916" y="1759"/>
                  </a:cubicBezTo>
                  <a:cubicBezTo>
                    <a:pt x="8920" y="1749"/>
                    <a:pt x="8925" y="1734"/>
                    <a:pt x="8924" y="1725"/>
                  </a:cubicBezTo>
                  <a:cubicBezTo>
                    <a:pt x="8924" y="1716"/>
                    <a:pt x="8913" y="1706"/>
                    <a:pt x="8901" y="1703"/>
                  </a:cubicBezTo>
                  <a:cubicBezTo>
                    <a:pt x="8889" y="1701"/>
                    <a:pt x="8840" y="1706"/>
                    <a:pt x="8792" y="1717"/>
                  </a:cubicBezTo>
                  <a:cubicBezTo>
                    <a:pt x="8745" y="1726"/>
                    <a:pt x="8665" y="1751"/>
                    <a:pt x="8616" y="1770"/>
                  </a:cubicBezTo>
                  <a:cubicBezTo>
                    <a:pt x="8567" y="1789"/>
                    <a:pt x="8483" y="1814"/>
                    <a:pt x="8431" y="1826"/>
                  </a:cubicBezTo>
                  <a:cubicBezTo>
                    <a:pt x="8379" y="1839"/>
                    <a:pt x="8311" y="1851"/>
                    <a:pt x="8281" y="1854"/>
                  </a:cubicBezTo>
                  <a:cubicBezTo>
                    <a:pt x="8251" y="1858"/>
                    <a:pt x="8210" y="1863"/>
                    <a:pt x="8191" y="1867"/>
                  </a:cubicBezTo>
                  <a:cubicBezTo>
                    <a:pt x="8171" y="1872"/>
                    <a:pt x="8140" y="1884"/>
                    <a:pt x="8120" y="1890"/>
                  </a:cubicBezTo>
                  <a:cubicBezTo>
                    <a:pt x="8100" y="1897"/>
                    <a:pt x="8072" y="1906"/>
                    <a:pt x="8056" y="1906"/>
                  </a:cubicBezTo>
                  <a:cubicBezTo>
                    <a:pt x="8041" y="1908"/>
                    <a:pt x="8009" y="1912"/>
                    <a:pt x="7985" y="1919"/>
                  </a:cubicBezTo>
                  <a:cubicBezTo>
                    <a:pt x="7960" y="1924"/>
                    <a:pt x="7919" y="1941"/>
                    <a:pt x="7893" y="1954"/>
                  </a:cubicBezTo>
                  <a:cubicBezTo>
                    <a:pt x="7867" y="1967"/>
                    <a:pt x="7838" y="1983"/>
                    <a:pt x="7830" y="1990"/>
                  </a:cubicBezTo>
                  <a:cubicBezTo>
                    <a:pt x="7821" y="1996"/>
                    <a:pt x="7820" y="2008"/>
                    <a:pt x="7828" y="2012"/>
                  </a:cubicBezTo>
                  <a:cubicBezTo>
                    <a:pt x="7834" y="2019"/>
                    <a:pt x="7838" y="2030"/>
                    <a:pt x="7834" y="2038"/>
                  </a:cubicBezTo>
                  <a:cubicBezTo>
                    <a:pt x="7831" y="2047"/>
                    <a:pt x="7834" y="2059"/>
                    <a:pt x="7839" y="2068"/>
                  </a:cubicBezTo>
                  <a:cubicBezTo>
                    <a:pt x="7845" y="2076"/>
                    <a:pt x="7854" y="2085"/>
                    <a:pt x="7858" y="2089"/>
                  </a:cubicBezTo>
                  <a:cubicBezTo>
                    <a:pt x="7862" y="2093"/>
                    <a:pt x="7859" y="2102"/>
                    <a:pt x="7852" y="2113"/>
                  </a:cubicBezTo>
                  <a:cubicBezTo>
                    <a:pt x="7844" y="2123"/>
                    <a:pt x="7822" y="2148"/>
                    <a:pt x="7801" y="2166"/>
                  </a:cubicBezTo>
                  <a:cubicBezTo>
                    <a:pt x="7779" y="2184"/>
                    <a:pt x="7762" y="2213"/>
                    <a:pt x="7757" y="2227"/>
                  </a:cubicBezTo>
                  <a:cubicBezTo>
                    <a:pt x="7753" y="2242"/>
                    <a:pt x="7768" y="2265"/>
                    <a:pt x="7788" y="2277"/>
                  </a:cubicBezTo>
                  <a:cubicBezTo>
                    <a:pt x="7810" y="2288"/>
                    <a:pt x="7824" y="2310"/>
                    <a:pt x="7819" y="2319"/>
                  </a:cubicBezTo>
                  <a:cubicBezTo>
                    <a:pt x="7815" y="2330"/>
                    <a:pt x="7810" y="2355"/>
                    <a:pt x="7806" y="2374"/>
                  </a:cubicBezTo>
                  <a:cubicBezTo>
                    <a:pt x="7805" y="2393"/>
                    <a:pt x="7797" y="2413"/>
                    <a:pt x="7790" y="2418"/>
                  </a:cubicBezTo>
                  <a:cubicBezTo>
                    <a:pt x="7784" y="2422"/>
                    <a:pt x="7772" y="2423"/>
                    <a:pt x="7762" y="2422"/>
                  </a:cubicBezTo>
                  <a:cubicBezTo>
                    <a:pt x="7753" y="2419"/>
                    <a:pt x="7738" y="2412"/>
                    <a:pt x="7731" y="2404"/>
                  </a:cubicBezTo>
                  <a:cubicBezTo>
                    <a:pt x="7725" y="2395"/>
                    <a:pt x="7698" y="2384"/>
                    <a:pt x="7674" y="2377"/>
                  </a:cubicBezTo>
                  <a:cubicBezTo>
                    <a:pt x="7649" y="2370"/>
                    <a:pt x="7621" y="2362"/>
                    <a:pt x="7609" y="2360"/>
                  </a:cubicBezTo>
                  <a:cubicBezTo>
                    <a:pt x="7598" y="2360"/>
                    <a:pt x="7597" y="2339"/>
                    <a:pt x="7607" y="2317"/>
                  </a:cubicBezTo>
                  <a:cubicBezTo>
                    <a:pt x="7620" y="2297"/>
                    <a:pt x="7636" y="2259"/>
                    <a:pt x="7650" y="2238"/>
                  </a:cubicBezTo>
                  <a:cubicBezTo>
                    <a:pt x="7663" y="2217"/>
                    <a:pt x="7677" y="2192"/>
                    <a:pt x="7679" y="2182"/>
                  </a:cubicBezTo>
                  <a:cubicBezTo>
                    <a:pt x="7683" y="2173"/>
                    <a:pt x="7670" y="2156"/>
                    <a:pt x="7651" y="2147"/>
                  </a:cubicBezTo>
                  <a:cubicBezTo>
                    <a:pt x="7633" y="2137"/>
                    <a:pt x="7623" y="2122"/>
                    <a:pt x="7629" y="2112"/>
                  </a:cubicBezTo>
                  <a:cubicBezTo>
                    <a:pt x="7634" y="2102"/>
                    <a:pt x="7639" y="2090"/>
                    <a:pt x="7637" y="2085"/>
                  </a:cubicBezTo>
                  <a:cubicBezTo>
                    <a:pt x="7636" y="2079"/>
                    <a:pt x="7629" y="2074"/>
                    <a:pt x="7621" y="2074"/>
                  </a:cubicBezTo>
                  <a:cubicBezTo>
                    <a:pt x="7613" y="2075"/>
                    <a:pt x="7581" y="2082"/>
                    <a:pt x="7550" y="2095"/>
                  </a:cubicBezTo>
                  <a:cubicBezTo>
                    <a:pt x="7518" y="2106"/>
                    <a:pt x="7466" y="2126"/>
                    <a:pt x="7433" y="2140"/>
                  </a:cubicBezTo>
                  <a:cubicBezTo>
                    <a:pt x="7401" y="2155"/>
                    <a:pt x="7345" y="2175"/>
                    <a:pt x="7311" y="2185"/>
                  </a:cubicBezTo>
                  <a:cubicBezTo>
                    <a:pt x="7275" y="2196"/>
                    <a:pt x="7232" y="2213"/>
                    <a:pt x="7214" y="2223"/>
                  </a:cubicBezTo>
                  <a:cubicBezTo>
                    <a:pt x="7195" y="2233"/>
                    <a:pt x="7168" y="2254"/>
                    <a:pt x="7154" y="2270"/>
                  </a:cubicBezTo>
                  <a:cubicBezTo>
                    <a:pt x="7139" y="2285"/>
                    <a:pt x="7126" y="2306"/>
                    <a:pt x="7127" y="2314"/>
                  </a:cubicBezTo>
                  <a:cubicBezTo>
                    <a:pt x="7126" y="2323"/>
                    <a:pt x="7119" y="2340"/>
                    <a:pt x="7110" y="2353"/>
                  </a:cubicBezTo>
                  <a:cubicBezTo>
                    <a:pt x="7101" y="2367"/>
                    <a:pt x="7075" y="2389"/>
                    <a:pt x="7053" y="2404"/>
                  </a:cubicBezTo>
                  <a:cubicBezTo>
                    <a:pt x="7031" y="2418"/>
                    <a:pt x="7007" y="2436"/>
                    <a:pt x="7000" y="2443"/>
                  </a:cubicBezTo>
                  <a:cubicBezTo>
                    <a:pt x="6994" y="2450"/>
                    <a:pt x="6989" y="2458"/>
                    <a:pt x="6990" y="2462"/>
                  </a:cubicBezTo>
                  <a:cubicBezTo>
                    <a:pt x="6992" y="2466"/>
                    <a:pt x="7000" y="2467"/>
                    <a:pt x="7010" y="2465"/>
                  </a:cubicBezTo>
                  <a:cubicBezTo>
                    <a:pt x="7019" y="2461"/>
                    <a:pt x="7036" y="2461"/>
                    <a:pt x="7047" y="2459"/>
                  </a:cubicBezTo>
                  <a:cubicBezTo>
                    <a:pt x="7059" y="2459"/>
                    <a:pt x="7063" y="2469"/>
                    <a:pt x="7059" y="2483"/>
                  </a:cubicBezTo>
                  <a:cubicBezTo>
                    <a:pt x="7053" y="2497"/>
                    <a:pt x="7037" y="2519"/>
                    <a:pt x="7021" y="2531"/>
                  </a:cubicBezTo>
                  <a:cubicBezTo>
                    <a:pt x="7005" y="2543"/>
                    <a:pt x="6961" y="2569"/>
                    <a:pt x="6923" y="2586"/>
                  </a:cubicBezTo>
                  <a:cubicBezTo>
                    <a:pt x="6884" y="2605"/>
                    <a:pt x="6834" y="2624"/>
                    <a:pt x="6811" y="2630"/>
                  </a:cubicBezTo>
                  <a:cubicBezTo>
                    <a:pt x="6789" y="2639"/>
                    <a:pt x="6762" y="2645"/>
                    <a:pt x="6755" y="2651"/>
                  </a:cubicBezTo>
                  <a:cubicBezTo>
                    <a:pt x="6747" y="2655"/>
                    <a:pt x="6732" y="2670"/>
                    <a:pt x="6723" y="2684"/>
                  </a:cubicBezTo>
                  <a:cubicBezTo>
                    <a:pt x="6713" y="2696"/>
                    <a:pt x="6692" y="2711"/>
                    <a:pt x="6679" y="2720"/>
                  </a:cubicBezTo>
                  <a:cubicBezTo>
                    <a:pt x="6665" y="2727"/>
                    <a:pt x="6646" y="2740"/>
                    <a:pt x="6636" y="2750"/>
                  </a:cubicBezTo>
                  <a:cubicBezTo>
                    <a:pt x="6627" y="2759"/>
                    <a:pt x="6621" y="2770"/>
                    <a:pt x="6625" y="2776"/>
                  </a:cubicBezTo>
                  <a:cubicBezTo>
                    <a:pt x="6629" y="2781"/>
                    <a:pt x="6627" y="2792"/>
                    <a:pt x="6620" y="2799"/>
                  </a:cubicBezTo>
                  <a:cubicBezTo>
                    <a:pt x="6614" y="2807"/>
                    <a:pt x="6593" y="2816"/>
                    <a:pt x="6575" y="2820"/>
                  </a:cubicBezTo>
                  <a:cubicBezTo>
                    <a:pt x="6556" y="2823"/>
                    <a:pt x="6534" y="2831"/>
                    <a:pt x="6525" y="2836"/>
                  </a:cubicBezTo>
                  <a:cubicBezTo>
                    <a:pt x="6516" y="2840"/>
                    <a:pt x="6479" y="2855"/>
                    <a:pt x="6441" y="2864"/>
                  </a:cubicBezTo>
                  <a:cubicBezTo>
                    <a:pt x="6404" y="2874"/>
                    <a:pt x="6360" y="2884"/>
                    <a:pt x="6342" y="2883"/>
                  </a:cubicBezTo>
                  <a:cubicBezTo>
                    <a:pt x="6325" y="2882"/>
                    <a:pt x="6309" y="2878"/>
                    <a:pt x="6307" y="2872"/>
                  </a:cubicBezTo>
                  <a:cubicBezTo>
                    <a:pt x="6303" y="2868"/>
                    <a:pt x="6305" y="2854"/>
                    <a:pt x="6312" y="2848"/>
                  </a:cubicBezTo>
                  <a:cubicBezTo>
                    <a:pt x="6315" y="2838"/>
                    <a:pt x="6315" y="2831"/>
                    <a:pt x="6308" y="2830"/>
                  </a:cubicBezTo>
                  <a:cubicBezTo>
                    <a:pt x="6300" y="2831"/>
                    <a:pt x="6285" y="2832"/>
                    <a:pt x="6274" y="2833"/>
                  </a:cubicBezTo>
                  <a:cubicBezTo>
                    <a:pt x="6264" y="2836"/>
                    <a:pt x="6250" y="2837"/>
                    <a:pt x="6246" y="2832"/>
                  </a:cubicBezTo>
                  <a:cubicBezTo>
                    <a:pt x="6241" y="2829"/>
                    <a:pt x="6237" y="2820"/>
                    <a:pt x="6237" y="2814"/>
                  </a:cubicBezTo>
                  <a:cubicBezTo>
                    <a:pt x="6237" y="2807"/>
                    <a:pt x="6229" y="2802"/>
                    <a:pt x="6221" y="2806"/>
                  </a:cubicBezTo>
                  <a:cubicBezTo>
                    <a:pt x="6212" y="2808"/>
                    <a:pt x="6194" y="2817"/>
                    <a:pt x="6179" y="2824"/>
                  </a:cubicBezTo>
                  <a:cubicBezTo>
                    <a:pt x="6165" y="2833"/>
                    <a:pt x="6146" y="2843"/>
                    <a:pt x="6139" y="2851"/>
                  </a:cubicBezTo>
                  <a:cubicBezTo>
                    <a:pt x="6130" y="2856"/>
                    <a:pt x="6113" y="2868"/>
                    <a:pt x="6098" y="2870"/>
                  </a:cubicBezTo>
                  <a:cubicBezTo>
                    <a:pt x="6084" y="2874"/>
                    <a:pt x="6060" y="2882"/>
                    <a:pt x="6046" y="2890"/>
                  </a:cubicBezTo>
                  <a:cubicBezTo>
                    <a:pt x="6031" y="2896"/>
                    <a:pt x="6013" y="2914"/>
                    <a:pt x="6008" y="2930"/>
                  </a:cubicBezTo>
                  <a:cubicBezTo>
                    <a:pt x="6002" y="2945"/>
                    <a:pt x="5992" y="2966"/>
                    <a:pt x="5984" y="2975"/>
                  </a:cubicBezTo>
                  <a:cubicBezTo>
                    <a:pt x="5976" y="2985"/>
                    <a:pt x="5964" y="3001"/>
                    <a:pt x="5961" y="3012"/>
                  </a:cubicBezTo>
                  <a:cubicBezTo>
                    <a:pt x="5957" y="3023"/>
                    <a:pt x="5955" y="3045"/>
                    <a:pt x="5958" y="3059"/>
                  </a:cubicBezTo>
                  <a:cubicBezTo>
                    <a:pt x="5958" y="3075"/>
                    <a:pt x="5950" y="3104"/>
                    <a:pt x="5935" y="3125"/>
                  </a:cubicBezTo>
                  <a:cubicBezTo>
                    <a:pt x="5922" y="3147"/>
                    <a:pt x="5899" y="3173"/>
                    <a:pt x="5886" y="3183"/>
                  </a:cubicBezTo>
                  <a:cubicBezTo>
                    <a:pt x="5874" y="3194"/>
                    <a:pt x="5854" y="3203"/>
                    <a:pt x="5844" y="3208"/>
                  </a:cubicBezTo>
                  <a:cubicBezTo>
                    <a:pt x="5833" y="3212"/>
                    <a:pt x="5838" y="3195"/>
                    <a:pt x="5854" y="3168"/>
                  </a:cubicBezTo>
                  <a:cubicBezTo>
                    <a:pt x="5869" y="3143"/>
                    <a:pt x="5888" y="3109"/>
                    <a:pt x="5895" y="3092"/>
                  </a:cubicBezTo>
                  <a:cubicBezTo>
                    <a:pt x="5899" y="3075"/>
                    <a:pt x="5902" y="3057"/>
                    <a:pt x="5902" y="3049"/>
                  </a:cubicBezTo>
                  <a:cubicBezTo>
                    <a:pt x="5900" y="3041"/>
                    <a:pt x="5907" y="3018"/>
                    <a:pt x="5917" y="2996"/>
                  </a:cubicBezTo>
                  <a:cubicBezTo>
                    <a:pt x="5929" y="2975"/>
                    <a:pt x="5936" y="2949"/>
                    <a:pt x="5936" y="2938"/>
                  </a:cubicBezTo>
                  <a:cubicBezTo>
                    <a:pt x="5935" y="2928"/>
                    <a:pt x="5930" y="2919"/>
                    <a:pt x="5925" y="2916"/>
                  </a:cubicBezTo>
                  <a:cubicBezTo>
                    <a:pt x="5920" y="2912"/>
                    <a:pt x="5904" y="2915"/>
                    <a:pt x="5892" y="2923"/>
                  </a:cubicBezTo>
                  <a:cubicBezTo>
                    <a:pt x="5878" y="2928"/>
                    <a:pt x="5854" y="2939"/>
                    <a:pt x="5836" y="2943"/>
                  </a:cubicBezTo>
                  <a:cubicBezTo>
                    <a:pt x="5819" y="2947"/>
                    <a:pt x="5788" y="2967"/>
                    <a:pt x="5765" y="2979"/>
                  </a:cubicBezTo>
                  <a:cubicBezTo>
                    <a:pt x="5743" y="2992"/>
                    <a:pt x="5710" y="3011"/>
                    <a:pt x="5691" y="3018"/>
                  </a:cubicBezTo>
                  <a:cubicBezTo>
                    <a:pt x="5671" y="3025"/>
                    <a:pt x="5633" y="3044"/>
                    <a:pt x="5605" y="3057"/>
                  </a:cubicBezTo>
                  <a:cubicBezTo>
                    <a:pt x="5578" y="3071"/>
                    <a:pt x="5544" y="3090"/>
                    <a:pt x="5533" y="3103"/>
                  </a:cubicBezTo>
                  <a:cubicBezTo>
                    <a:pt x="5521" y="3114"/>
                    <a:pt x="5509" y="3130"/>
                    <a:pt x="5508" y="3137"/>
                  </a:cubicBezTo>
                  <a:cubicBezTo>
                    <a:pt x="5505" y="3145"/>
                    <a:pt x="5476" y="3170"/>
                    <a:pt x="5440" y="3193"/>
                  </a:cubicBezTo>
                  <a:cubicBezTo>
                    <a:pt x="5404" y="3217"/>
                    <a:pt x="5366" y="3240"/>
                    <a:pt x="5355" y="3245"/>
                  </a:cubicBezTo>
                  <a:cubicBezTo>
                    <a:pt x="5344" y="3249"/>
                    <a:pt x="5331" y="3250"/>
                    <a:pt x="5332" y="3246"/>
                  </a:cubicBezTo>
                  <a:cubicBezTo>
                    <a:pt x="5331" y="3242"/>
                    <a:pt x="5312" y="3245"/>
                    <a:pt x="5289" y="3249"/>
                  </a:cubicBezTo>
                  <a:cubicBezTo>
                    <a:pt x="5267" y="3257"/>
                    <a:pt x="5236" y="3265"/>
                    <a:pt x="5222" y="3271"/>
                  </a:cubicBezTo>
                  <a:cubicBezTo>
                    <a:pt x="5208" y="3277"/>
                    <a:pt x="5192" y="3286"/>
                    <a:pt x="5188" y="3294"/>
                  </a:cubicBezTo>
                  <a:cubicBezTo>
                    <a:pt x="5184" y="3300"/>
                    <a:pt x="5190" y="3304"/>
                    <a:pt x="5203" y="3303"/>
                  </a:cubicBezTo>
                  <a:cubicBezTo>
                    <a:pt x="5217" y="3302"/>
                    <a:pt x="5229" y="3303"/>
                    <a:pt x="5233" y="3303"/>
                  </a:cubicBezTo>
                  <a:cubicBezTo>
                    <a:pt x="5236" y="3305"/>
                    <a:pt x="5225" y="3311"/>
                    <a:pt x="5209" y="3318"/>
                  </a:cubicBezTo>
                  <a:cubicBezTo>
                    <a:pt x="5193" y="3325"/>
                    <a:pt x="5151" y="3338"/>
                    <a:pt x="5116" y="3346"/>
                  </a:cubicBezTo>
                  <a:cubicBezTo>
                    <a:pt x="5081" y="3355"/>
                    <a:pt x="5038" y="3369"/>
                    <a:pt x="5020" y="3377"/>
                  </a:cubicBezTo>
                  <a:cubicBezTo>
                    <a:pt x="5001" y="3385"/>
                    <a:pt x="4972" y="3402"/>
                    <a:pt x="4955" y="3415"/>
                  </a:cubicBezTo>
                  <a:cubicBezTo>
                    <a:pt x="4938" y="3428"/>
                    <a:pt x="4891" y="3451"/>
                    <a:pt x="4851" y="3467"/>
                  </a:cubicBezTo>
                  <a:cubicBezTo>
                    <a:pt x="4811" y="3485"/>
                    <a:pt x="4774" y="3504"/>
                    <a:pt x="4768" y="3511"/>
                  </a:cubicBezTo>
                  <a:cubicBezTo>
                    <a:pt x="4764" y="3521"/>
                    <a:pt x="4745" y="3534"/>
                    <a:pt x="4729" y="3543"/>
                  </a:cubicBezTo>
                  <a:cubicBezTo>
                    <a:pt x="4713" y="3552"/>
                    <a:pt x="4680" y="3569"/>
                    <a:pt x="4655" y="3582"/>
                  </a:cubicBezTo>
                  <a:cubicBezTo>
                    <a:pt x="4630" y="3592"/>
                    <a:pt x="4595" y="3609"/>
                    <a:pt x="4577" y="3614"/>
                  </a:cubicBezTo>
                  <a:cubicBezTo>
                    <a:pt x="4559" y="3621"/>
                    <a:pt x="4536" y="3632"/>
                    <a:pt x="4526" y="3638"/>
                  </a:cubicBezTo>
                  <a:cubicBezTo>
                    <a:pt x="4516" y="3646"/>
                    <a:pt x="4508" y="3658"/>
                    <a:pt x="4505" y="3664"/>
                  </a:cubicBezTo>
                  <a:cubicBezTo>
                    <a:pt x="4504" y="3671"/>
                    <a:pt x="4508" y="3678"/>
                    <a:pt x="4514" y="3682"/>
                  </a:cubicBezTo>
                  <a:cubicBezTo>
                    <a:pt x="4519" y="3685"/>
                    <a:pt x="4518" y="3691"/>
                    <a:pt x="4513" y="3700"/>
                  </a:cubicBezTo>
                  <a:cubicBezTo>
                    <a:pt x="4506" y="3708"/>
                    <a:pt x="4490" y="3720"/>
                    <a:pt x="4476" y="3726"/>
                  </a:cubicBezTo>
                  <a:cubicBezTo>
                    <a:pt x="4462" y="3732"/>
                    <a:pt x="4441" y="3745"/>
                    <a:pt x="4429" y="3753"/>
                  </a:cubicBezTo>
                  <a:cubicBezTo>
                    <a:pt x="4417" y="3762"/>
                    <a:pt x="4392" y="3778"/>
                    <a:pt x="4376" y="3793"/>
                  </a:cubicBezTo>
                  <a:cubicBezTo>
                    <a:pt x="4358" y="3805"/>
                    <a:pt x="4329" y="3823"/>
                    <a:pt x="4310" y="3832"/>
                  </a:cubicBezTo>
                  <a:cubicBezTo>
                    <a:pt x="4291" y="3841"/>
                    <a:pt x="4268" y="3856"/>
                    <a:pt x="4259" y="3866"/>
                  </a:cubicBezTo>
                  <a:cubicBezTo>
                    <a:pt x="4251" y="3876"/>
                    <a:pt x="4242" y="3888"/>
                    <a:pt x="4242" y="3894"/>
                  </a:cubicBezTo>
                  <a:cubicBezTo>
                    <a:pt x="4242" y="3901"/>
                    <a:pt x="4245" y="3906"/>
                    <a:pt x="4250" y="3907"/>
                  </a:cubicBezTo>
                  <a:cubicBezTo>
                    <a:pt x="4255" y="3905"/>
                    <a:pt x="4257" y="3916"/>
                    <a:pt x="4251" y="3922"/>
                  </a:cubicBezTo>
                  <a:cubicBezTo>
                    <a:pt x="4247" y="3930"/>
                    <a:pt x="4240" y="3942"/>
                    <a:pt x="4237" y="3950"/>
                  </a:cubicBezTo>
                  <a:cubicBezTo>
                    <a:pt x="4235" y="3957"/>
                    <a:pt x="4240" y="3964"/>
                    <a:pt x="4249" y="3961"/>
                  </a:cubicBezTo>
                  <a:cubicBezTo>
                    <a:pt x="4259" y="3959"/>
                    <a:pt x="4279" y="3954"/>
                    <a:pt x="4294" y="3949"/>
                  </a:cubicBezTo>
                  <a:cubicBezTo>
                    <a:pt x="4309" y="3942"/>
                    <a:pt x="4331" y="3940"/>
                    <a:pt x="4343" y="3941"/>
                  </a:cubicBezTo>
                  <a:cubicBezTo>
                    <a:pt x="4355" y="3942"/>
                    <a:pt x="4373" y="3941"/>
                    <a:pt x="4384" y="3939"/>
                  </a:cubicBezTo>
                  <a:cubicBezTo>
                    <a:pt x="4396" y="3938"/>
                    <a:pt x="4418" y="3929"/>
                    <a:pt x="4433" y="3917"/>
                  </a:cubicBezTo>
                  <a:cubicBezTo>
                    <a:pt x="4448" y="3908"/>
                    <a:pt x="4472" y="3895"/>
                    <a:pt x="4486" y="3891"/>
                  </a:cubicBezTo>
                  <a:cubicBezTo>
                    <a:pt x="4500" y="3884"/>
                    <a:pt x="4527" y="3883"/>
                    <a:pt x="4545" y="3887"/>
                  </a:cubicBezTo>
                  <a:cubicBezTo>
                    <a:pt x="4563" y="3888"/>
                    <a:pt x="4582" y="3896"/>
                    <a:pt x="4586" y="3902"/>
                  </a:cubicBezTo>
                  <a:cubicBezTo>
                    <a:pt x="4592" y="3905"/>
                    <a:pt x="4610" y="3906"/>
                    <a:pt x="4629" y="3901"/>
                  </a:cubicBezTo>
                  <a:cubicBezTo>
                    <a:pt x="4649" y="3898"/>
                    <a:pt x="4687" y="3878"/>
                    <a:pt x="4715" y="3861"/>
                  </a:cubicBezTo>
                  <a:cubicBezTo>
                    <a:pt x="4743" y="3845"/>
                    <a:pt x="4775" y="3828"/>
                    <a:pt x="4787" y="3824"/>
                  </a:cubicBezTo>
                  <a:cubicBezTo>
                    <a:pt x="4799" y="3819"/>
                    <a:pt x="4825" y="3818"/>
                    <a:pt x="4843" y="3814"/>
                  </a:cubicBezTo>
                  <a:cubicBezTo>
                    <a:pt x="4862" y="3814"/>
                    <a:pt x="4908" y="3803"/>
                    <a:pt x="4947" y="3793"/>
                  </a:cubicBezTo>
                  <a:cubicBezTo>
                    <a:pt x="4985" y="3782"/>
                    <a:pt x="5028" y="3766"/>
                    <a:pt x="5043" y="3760"/>
                  </a:cubicBezTo>
                  <a:cubicBezTo>
                    <a:pt x="5059" y="3753"/>
                    <a:pt x="5074" y="3735"/>
                    <a:pt x="5082" y="3725"/>
                  </a:cubicBezTo>
                  <a:cubicBezTo>
                    <a:pt x="5088" y="3714"/>
                    <a:pt x="5108" y="3694"/>
                    <a:pt x="5128" y="3683"/>
                  </a:cubicBezTo>
                  <a:cubicBezTo>
                    <a:pt x="5147" y="3669"/>
                    <a:pt x="5171" y="3659"/>
                    <a:pt x="5179" y="3656"/>
                  </a:cubicBezTo>
                  <a:cubicBezTo>
                    <a:pt x="5187" y="3655"/>
                    <a:pt x="5189" y="3661"/>
                    <a:pt x="5185" y="3673"/>
                  </a:cubicBezTo>
                  <a:cubicBezTo>
                    <a:pt x="5178" y="3684"/>
                    <a:pt x="5178" y="3695"/>
                    <a:pt x="5181" y="3698"/>
                  </a:cubicBezTo>
                  <a:cubicBezTo>
                    <a:pt x="5185" y="3698"/>
                    <a:pt x="5182" y="3707"/>
                    <a:pt x="5175" y="3715"/>
                  </a:cubicBezTo>
                  <a:cubicBezTo>
                    <a:pt x="5168" y="3723"/>
                    <a:pt x="5135" y="3743"/>
                    <a:pt x="5102" y="3757"/>
                  </a:cubicBezTo>
                  <a:cubicBezTo>
                    <a:pt x="5068" y="3772"/>
                    <a:pt x="5016" y="3795"/>
                    <a:pt x="4988" y="3811"/>
                  </a:cubicBezTo>
                  <a:cubicBezTo>
                    <a:pt x="4959" y="3826"/>
                    <a:pt x="4911" y="3842"/>
                    <a:pt x="4881" y="3847"/>
                  </a:cubicBezTo>
                  <a:cubicBezTo>
                    <a:pt x="4851" y="3853"/>
                    <a:pt x="4808" y="3863"/>
                    <a:pt x="4786" y="3872"/>
                  </a:cubicBezTo>
                  <a:cubicBezTo>
                    <a:pt x="4764" y="3881"/>
                    <a:pt x="4741" y="3895"/>
                    <a:pt x="4732" y="3903"/>
                  </a:cubicBezTo>
                  <a:cubicBezTo>
                    <a:pt x="4725" y="3912"/>
                    <a:pt x="4717" y="3923"/>
                    <a:pt x="4717" y="3930"/>
                  </a:cubicBezTo>
                  <a:cubicBezTo>
                    <a:pt x="4717" y="3936"/>
                    <a:pt x="4731" y="3944"/>
                    <a:pt x="4748" y="3945"/>
                  </a:cubicBezTo>
                  <a:cubicBezTo>
                    <a:pt x="4765" y="3949"/>
                    <a:pt x="4802" y="3943"/>
                    <a:pt x="4829" y="3936"/>
                  </a:cubicBezTo>
                  <a:cubicBezTo>
                    <a:pt x="4856" y="3931"/>
                    <a:pt x="4882" y="3924"/>
                    <a:pt x="4887" y="3926"/>
                  </a:cubicBezTo>
                  <a:cubicBezTo>
                    <a:pt x="4891" y="3928"/>
                    <a:pt x="4887" y="3938"/>
                    <a:pt x="4876" y="3950"/>
                  </a:cubicBezTo>
                  <a:cubicBezTo>
                    <a:pt x="4865" y="3960"/>
                    <a:pt x="4833" y="3986"/>
                    <a:pt x="4802" y="4000"/>
                  </a:cubicBezTo>
                  <a:cubicBezTo>
                    <a:pt x="4772" y="4016"/>
                    <a:pt x="4723" y="4036"/>
                    <a:pt x="4694" y="4042"/>
                  </a:cubicBezTo>
                  <a:cubicBezTo>
                    <a:pt x="4665" y="4049"/>
                    <a:pt x="4622" y="4061"/>
                    <a:pt x="4599" y="4068"/>
                  </a:cubicBezTo>
                  <a:cubicBezTo>
                    <a:pt x="4576" y="4076"/>
                    <a:pt x="4537" y="4096"/>
                    <a:pt x="4513" y="4114"/>
                  </a:cubicBezTo>
                  <a:cubicBezTo>
                    <a:pt x="4487" y="4129"/>
                    <a:pt x="4464" y="4155"/>
                    <a:pt x="4461" y="4166"/>
                  </a:cubicBezTo>
                  <a:cubicBezTo>
                    <a:pt x="4456" y="4177"/>
                    <a:pt x="4466" y="4186"/>
                    <a:pt x="4481" y="4187"/>
                  </a:cubicBezTo>
                  <a:cubicBezTo>
                    <a:pt x="4496" y="4187"/>
                    <a:pt x="4497" y="4200"/>
                    <a:pt x="4483" y="4216"/>
                  </a:cubicBezTo>
                  <a:cubicBezTo>
                    <a:pt x="4469" y="4232"/>
                    <a:pt x="4440" y="4250"/>
                    <a:pt x="4419" y="4259"/>
                  </a:cubicBezTo>
                  <a:cubicBezTo>
                    <a:pt x="4398" y="4268"/>
                    <a:pt x="4356" y="4295"/>
                    <a:pt x="4326" y="4320"/>
                  </a:cubicBezTo>
                  <a:cubicBezTo>
                    <a:pt x="4296" y="4345"/>
                    <a:pt x="4260" y="4373"/>
                    <a:pt x="4248" y="4386"/>
                  </a:cubicBezTo>
                  <a:cubicBezTo>
                    <a:pt x="4234" y="4396"/>
                    <a:pt x="4199" y="4418"/>
                    <a:pt x="4168" y="4431"/>
                  </a:cubicBezTo>
                  <a:cubicBezTo>
                    <a:pt x="4137" y="4446"/>
                    <a:pt x="4089" y="4474"/>
                    <a:pt x="4062" y="4496"/>
                  </a:cubicBezTo>
                  <a:cubicBezTo>
                    <a:pt x="4034" y="4516"/>
                    <a:pt x="3994" y="4550"/>
                    <a:pt x="3973" y="4570"/>
                  </a:cubicBezTo>
                  <a:cubicBezTo>
                    <a:pt x="3949" y="4586"/>
                    <a:pt x="3911" y="4619"/>
                    <a:pt x="3885" y="4637"/>
                  </a:cubicBezTo>
                  <a:cubicBezTo>
                    <a:pt x="3859" y="4654"/>
                    <a:pt x="3835" y="4675"/>
                    <a:pt x="3830" y="4680"/>
                  </a:cubicBezTo>
                  <a:cubicBezTo>
                    <a:pt x="3828" y="4686"/>
                    <a:pt x="3810" y="4696"/>
                    <a:pt x="3793" y="4704"/>
                  </a:cubicBezTo>
                  <a:cubicBezTo>
                    <a:pt x="3777" y="4712"/>
                    <a:pt x="3748" y="4724"/>
                    <a:pt x="3729" y="4729"/>
                  </a:cubicBezTo>
                  <a:cubicBezTo>
                    <a:pt x="3711" y="4737"/>
                    <a:pt x="3678" y="4738"/>
                    <a:pt x="3657" y="4734"/>
                  </a:cubicBezTo>
                  <a:cubicBezTo>
                    <a:pt x="3636" y="4732"/>
                    <a:pt x="3612" y="4727"/>
                    <a:pt x="3602" y="4724"/>
                  </a:cubicBezTo>
                  <a:cubicBezTo>
                    <a:pt x="3593" y="4722"/>
                    <a:pt x="3569" y="4723"/>
                    <a:pt x="3548" y="4728"/>
                  </a:cubicBezTo>
                  <a:cubicBezTo>
                    <a:pt x="3527" y="4731"/>
                    <a:pt x="3505" y="4733"/>
                    <a:pt x="3500" y="4728"/>
                  </a:cubicBezTo>
                  <a:cubicBezTo>
                    <a:pt x="3495" y="4723"/>
                    <a:pt x="3467" y="4724"/>
                    <a:pt x="3438" y="4730"/>
                  </a:cubicBezTo>
                  <a:cubicBezTo>
                    <a:pt x="3410" y="4736"/>
                    <a:pt x="3363" y="4747"/>
                    <a:pt x="3336" y="4758"/>
                  </a:cubicBezTo>
                  <a:cubicBezTo>
                    <a:pt x="3308" y="4766"/>
                    <a:pt x="3265" y="4789"/>
                    <a:pt x="3239" y="4801"/>
                  </a:cubicBezTo>
                  <a:cubicBezTo>
                    <a:pt x="3214" y="4816"/>
                    <a:pt x="3176" y="4830"/>
                    <a:pt x="3155" y="4834"/>
                  </a:cubicBezTo>
                  <a:cubicBezTo>
                    <a:pt x="3134" y="4840"/>
                    <a:pt x="3107" y="4841"/>
                    <a:pt x="3095" y="4841"/>
                  </a:cubicBezTo>
                  <a:cubicBezTo>
                    <a:pt x="3083" y="4842"/>
                    <a:pt x="3052" y="4847"/>
                    <a:pt x="3026" y="4858"/>
                  </a:cubicBezTo>
                  <a:cubicBezTo>
                    <a:pt x="3000" y="4866"/>
                    <a:pt x="2947" y="4883"/>
                    <a:pt x="2909" y="4896"/>
                  </a:cubicBezTo>
                  <a:cubicBezTo>
                    <a:pt x="2871" y="4908"/>
                    <a:pt x="2811" y="4932"/>
                    <a:pt x="2776" y="4950"/>
                  </a:cubicBezTo>
                  <a:cubicBezTo>
                    <a:pt x="2740" y="4969"/>
                    <a:pt x="2703" y="4993"/>
                    <a:pt x="2692" y="5002"/>
                  </a:cubicBezTo>
                  <a:cubicBezTo>
                    <a:pt x="2682" y="5013"/>
                    <a:pt x="2678" y="5022"/>
                    <a:pt x="2685" y="5027"/>
                  </a:cubicBezTo>
                  <a:cubicBezTo>
                    <a:pt x="2693" y="5030"/>
                    <a:pt x="2690" y="5041"/>
                    <a:pt x="2680" y="5051"/>
                  </a:cubicBezTo>
                  <a:cubicBezTo>
                    <a:pt x="2671" y="5060"/>
                    <a:pt x="2658" y="5065"/>
                    <a:pt x="2653" y="5060"/>
                  </a:cubicBezTo>
                  <a:cubicBezTo>
                    <a:pt x="2648" y="5058"/>
                    <a:pt x="2629" y="5058"/>
                    <a:pt x="2610" y="5065"/>
                  </a:cubicBezTo>
                  <a:cubicBezTo>
                    <a:pt x="2591" y="5073"/>
                    <a:pt x="2495" y="5109"/>
                    <a:pt x="2399" y="5152"/>
                  </a:cubicBezTo>
                  <a:cubicBezTo>
                    <a:pt x="2302" y="5193"/>
                    <a:pt x="2208" y="5233"/>
                    <a:pt x="2189" y="5238"/>
                  </a:cubicBezTo>
                  <a:cubicBezTo>
                    <a:pt x="2170" y="5244"/>
                    <a:pt x="2148" y="5251"/>
                    <a:pt x="2140" y="5253"/>
                  </a:cubicBezTo>
                  <a:cubicBezTo>
                    <a:pt x="2132" y="5255"/>
                    <a:pt x="2113" y="5266"/>
                    <a:pt x="2097" y="5274"/>
                  </a:cubicBezTo>
                  <a:cubicBezTo>
                    <a:pt x="2081" y="5281"/>
                    <a:pt x="2062" y="5289"/>
                    <a:pt x="2057" y="5294"/>
                  </a:cubicBezTo>
                  <a:cubicBezTo>
                    <a:pt x="2050" y="5294"/>
                    <a:pt x="2033" y="5302"/>
                    <a:pt x="2018" y="5303"/>
                  </a:cubicBezTo>
                  <a:cubicBezTo>
                    <a:pt x="2003" y="5308"/>
                    <a:pt x="1974" y="5316"/>
                    <a:pt x="1956" y="5329"/>
                  </a:cubicBezTo>
                  <a:cubicBezTo>
                    <a:pt x="1937" y="5339"/>
                    <a:pt x="1913" y="5357"/>
                    <a:pt x="1903" y="5368"/>
                  </a:cubicBezTo>
                  <a:cubicBezTo>
                    <a:pt x="1893" y="5378"/>
                    <a:pt x="1870" y="5392"/>
                    <a:pt x="1853" y="5399"/>
                  </a:cubicBezTo>
                  <a:cubicBezTo>
                    <a:pt x="1836" y="5406"/>
                    <a:pt x="1817" y="5410"/>
                    <a:pt x="1811" y="5413"/>
                  </a:cubicBezTo>
                  <a:cubicBezTo>
                    <a:pt x="1804" y="5413"/>
                    <a:pt x="1800" y="5410"/>
                    <a:pt x="1802" y="5406"/>
                  </a:cubicBezTo>
                  <a:cubicBezTo>
                    <a:pt x="1804" y="5402"/>
                    <a:pt x="1792" y="5399"/>
                    <a:pt x="1777" y="5403"/>
                  </a:cubicBezTo>
                  <a:cubicBezTo>
                    <a:pt x="1761" y="5404"/>
                    <a:pt x="1737" y="5410"/>
                    <a:pt x="1723" y="5416"/>
                  </a:cubicBezTo>
                  <a:cubicBezTo>
                    <a:pt x="1709" y="5421"/>
                    <a:pt x="1683" y="5435"/>
                    <a:pt x="1664" y="5444"/>
                  </a:cubicBezTo>
                  <a:cubicBezTo>
                    <a:pt x="1645" y="5454"/>
                    <a:pt x="1616" y="5470"/>
                    <a:pt x="1598" y="5477"/>
                  </a:cubicBezTo>
                  <a:cubicBezTo>
                    <a:pt x="1580" y="5484"/>
                    <a:pt x="1557" y="5490"/>
                    <a:pt x="1548" y="5491"/>
                  </a:cubicBezTo>
                  <a:cubicBezTo>
                    <a:pt x="1539" y="5493"/>
                    <a:pt x="1518" y="5495"/>
                    <a:pt x="1503" y="5502"/>
                  </a:cubicBezTo>
                  <a:cubicBezTo>
                    <a:pt x="1487" y="5505"/>
                    <a:pt x="1461" y="5518"/>
                    <a:pt x="1445" y="5529"/>
                  </a:cubicBezTo>
                  <a:cubicBezTo>
                    <a:pt x="1429" y="5538"/>
                    <a:pt x="1400" y="5555"/>
                    <a:pt x="1379" y="5564"/>
                  </a:cubicBezTo>
                  <a:cubicBezTo>
                    <a:pt x="1359" y="5573"/>
                    <a:pt x="1341" y="5587"/>
                    <a:pt x="1340" y="5594"/>
                  </a:cubicBezTo>
                  <a:cubicBezTo>
                    <a:pt x="1337" y="5601"/>
                    <a:pt x="1332" y="5614"/>
                    <a:pt x="1326" y="5622"/>
                  </a:cubicBezTo>
                  <a:cubicBezTo>
                    <a:pt x="1321" y="5631"/>
                    <a:pt x="1283" y="5655"/>
                    <a:pt x="1241" y="5675"/>
                  </a:cubicBezTo>
                  <a:cubicBezTo>
                    <a:pt x="1199" y="5697"/>
                    <a:pt x="1150" y="5719"/>
                    <a:pt x="1130" y="5724"/>
                  </a:cubicBezTo>
                  <a:cubicBezTo>
                    <a:pt x="1112" y="5734"/>
                    <a:pt x="1088" y="5742"/>
                    <a:pt x="1077" y="5750"/>
                  </a:cubicBezTo>
                  <a:cubicBezTo>
                    <a:pt x="1068" y="5758"/>
                    <a:pt x="1061" y="5771"/>
                    <a:pt x="1067" y="5775"/>
                  </a:cubicBezTo>
                  <a:cubicBezTo>
                    <a:pt x="1070" y="5782"/>
                    <a:pt x="1090" y="5780"/>
                    <a:pt x="1108" y="5776"/>
                  </a:cubicBezTo>
                  <a:cubicBezTo>
                    <a:pt x="1127" y="5770"/>
                    <a:pt x="1152" y="5763"/>
                    <a:pt x="1162" y="5766"/>
                  </a:cubicBezTo>
                  <a:cubicBezTo>
                    <a:pt x="1174" y="5764"/>
                    <a:pt x="1182" y="5770"/>
                    <a:pt x="1180" y="5776"/>
                  </a:cubicBezTo>
                  <a:cubicBezTo>
                    <a:pt x="1179" y="5782"/>
                    <a:pt x="1166" y="5791"/>
                    <a:pt x="1152" y="5795"/>
                  </a:cubicBezTo>
                  <a:cubicBezTo>
                    <a:pt x="1138" y="5800"/>
                    <a:pt x="1122" y="5803"/>
                    <a:pt x="1117" y="5802"/>
                  </a:cubicBezTo>
                  <a:cubicBezTo>
                    <a:pt x="1111" y="5802"/>
                    <a:pt x="1100" y="5807"/>
                    <a:pt x="1090" y="5814"/>
                  </a:cubicBezTo>
                  <a:cubicBezTo>
                    <a:pt x="1082" y="5823"/>
                    <a:pt x="1059" y="5838"/>
                    <a:pt x="1043" y="5852"/>
                  </a:cubicBezTo>
                  <a:cubicBezTo>
                    <a:pt x="1026" y="5865"/>
                    <a:pt x="993" y="5887"/>
                    <a:pt x="969" y="5902"/>
                  </a:cubicBezTo>
                  <a:cubicBezTo>
                    <a:pt x="945" y="5915"/>
                    <a:pt x="913" y="5933"/>
                    <a:pt x="897" y="5941"/>
                  </a:cubicBezTo>
                  <a:cubicBezTo>
                    <a:pt x="882" y="5949"/>
                    <a:pt x="871" y="5961"/>
                    <a:pt x="877" y="5965"/>
                  </a:cubicBezTo>
                  <a:cubicBezTo>
                    <a:pt x="879" y="5972"/>
                    <a:pt x="901" y="5975"/>
                    <a:pt x="919" y="5973"/>
                  </a:cubicBezTo>
                  <a:cubicBezTo>
                    <a:pt x="937" y="5975"/>
                    <a:pt x="960" y="5976"/>
                    <a:pt x="970" y="5980"/>
                  </a:cubicBezTo>
                  <a:cubicBezTo>
                    <a:pt x="980" y="5983"/>
                    <a:pt x="992" y="6007"/>
                    <a:pt x="1005" y="6026"/>
                  </a:cubicBezTo>
                  <a:cubicBezTo>
                    <a:pt x="1014" y="6049"/>
                    <a:pt x="1028" y="6071"/>
                    <a:pt x="1036" y="6072"/>
                  </a:cubicBezTo>
                  <a:cubicBezTo>
                    <a:pt x="1044" y="6074"/>
                    <a:pt x="1066" y="6072"/>
                    <a:pt x="1085" y="6067"/>
                  </a:cubicBezTo>
                  <a:cubicBezTo>
                    <a:pt x="1105" y="6060"/>
                    <a:pt x="1128" y="6059"/>
                    <a:pt x="1135" y="6058"/>
                  </a:cubicBezTo>
                  <a:cubicBezTo>
                    <a:pt x="1143" y="6059"/>
                    <a:pt x="1153" y="6061"/>
                    <a:pt x="1156" y="6065"/>
                  </a:cubicBezTo>
                  <a:cubicBezTo>
                    <a:pt x="1159" y="6069"/>
                    <a:pt x="1150" y="6078"/>
                    <a:pt x="1137" y="6090"/>
                  </a:cubicBezTo>
                  <a:cubicBezTo>
                    <a:pt x="1123" y="6099"/>
                    <a:pt x="1099" y="6117"/>
                    <a:pt x="1083" y="6128"/>
                  </a:cubicBezTo>
                  <a:cubicBezTo>
                    <a:pt x="1069" y="6141"/>
                    <a:pt x="1047" y="6156"/>
                    <a:pt x="1038" y="6166"/>
                  </a:cubicBezTo>
                  <a:cubicBezTo>
                    <a:pt x="1030" y="6177"/>
                    <a:pt x="1027" y="6189"/>
                    <a:pt x="1031" y="6197"/>
                  </a:cubicBezTo>
                  <a:cubicBezTo>
                    <a:pt x="1035" y="6205"/>
                    <a:pt x="1056" y="6206"/>
                    <a:pt x="1075" y="6202"/>
                  </a:cubicBezTo>
                  <a:cubicBezTo>
                    <a:pt x="1095" y="6197"/>
                    <a:pt x="1134" y="6183"/>
                    <a:pt x="1164" y="6172"/>
                  </a:cubicBezTo>
                  <a:cubicBezTo>
                    <a:pt x="1193" y="6159"/>
                    <a:pt x="1241" y="6136"/>
                    <a:pt x="1268" y="6118"/>
                  </a:cubicBezTo>
                  <a:cubicBezTo>
                    <a:pt x="1297" y="6103"/>
                    <a:pt x="1329" y="6076"/>
                    <a:pt x="1343" y="6066"/>
                  </a:cubicBezTo>
                  <a:cubicBezTo>
                    <a:pt x="1356" y="6054"/>
                    <a:pt x="1375" y="6043"/>
                    <a:pt x="1382" y="6035"/>
                  </a:cubicBezTo>
                  <a:cubicBezTo>
                    <a:pt x="1390" y="6031"/>
                    <a:pt x="1406" y="6026"/>
                    <a:pt x="1417" y="6024"/>
                  </a:cubicBezTo>
                  <a:cubicBezTo>
                    <a:pt x="1429" y="6024"/>
                    <a:pt x="1440" y="6028"/>
                    <a:pt x="1439" y="6035"/>
                  </a:cubicBezTo>
                  <a:cubicBezTo>
                    <a:pt x="1442" y="6040"/>
                    <a:pt x="1421" y="6065"/>
                    <a:pt x="1398" y="6086"/>
                  </a:cubicBezTo>
                  <a:cubicBezTo>
                    <a:pt x="1375" y="6108"/>
                    <a:pt x="1337" y="6137"/>
                    <a:pt x="1313" y="6152"/>
                  </a:cubicBezTo>
                  <a:cubicBezTo>
                    <a:pt x="1289" y="6166"/>
                    <a:pt x="1249" y="6190"/>
                    <a:pt x="1223" y="6200"/>
                  </a:cubicBezTo>
                  <a:cubicBezTo>
                    <a:pt x="1198" y="6214"/>
                    <a:pt x="1169" y="6230"/>
                    <a:pt x="1158" y="6238"/>
                  </a:cubicBezTo>
                  <a:cubicBezTo>
                    <a:pt x="1148" y="6247"/>
                    <a:pt x="1136" y="6261"/>
                    <a:pt x="1139" y="6268"/>
                  </a:cubicBezTo>
                  <a:cubicBezTo>
                    <a:pt x="1138" y="6277"/>
                    <a:pt x="1155" y="6284"/>
                    <a:pt x="1174" y="6279"/>
                  </a:cubicBezTo>
                  <a:cubicBezTo>
                    <a:pt x="1194" y="6278"/>
                    <a:pt x="1228" y="6265"/>
                    <a:pt x="1249" y="6251"/>
                  </a:cubicBezTo>
                  <a:cubicBezTo>
                    <a:pt x="1270" y="6239"/>
                    <a:pt x="1314" y="6217"/>
                    <a:pt x="1345" y="6201"/>
                  </a:cubicBezTo>
                  <a:cubicBezTo>
                    <a:pt x="1377" y="6187"/>
                    <a:pt x="1409" y="6173"/>
                    <a:pt x="1417" y="6173"/>
                  </a:cubicBezTo>
                  <a:cubicBezTo>
                    <a:pt x="1425" y="6173"/>
                    <a:pt x="1432" y="6176"/>
                    <a:pt x="1430" y="6180"/>
                  </a:cubicBezTo>
                  <a:cubicBezTo>
                    <a:pt x="1428" y="6184"/>
                    <a:pt x="1393" y="6207"/>
                    <a:pt x="1350" y="6230"/>
                  </a:cubicBezTo>
                  <a:cubicBezTo>
                    <a:pt x="1306" y="6253"/>
                    <a:pt x="1247" y="6283"/>
                    <a:pt x="1219" y="6298"/>
                  </a:cubicBezTo>
                  <a:cubicBezTo>
                    <a:pt x="1191" y="6312"/>
                    <a:pt x="1162" y="6329"/>
                    <a:pt x="1156" y="6337"/>
                  </a:cubicBezTo>
                  <a:cubicBezTo>
                    <a:pt x="1148" y="6343"/>
                    <a:pt x="1167" y="6360"/>
                    <a:pt x="1194" y="6373"/>
                  </a:cubicBezTo>
                  <a:cubicBezTo>
                    <a:pt x="1223" y="6385"/>
                    <a:pt x="1268" y="6393"/>
                    <a:pt x="1295" y="6390"/>
                  </a:cubicBezTo>
                  <a:cubicBezTo>
                    <a:pt x="1321" y="6388"/>
                    <a:pt x="1371" y="6373"/>
                    <a:pt x="1405" y="6363"/>
                  </a:cubicBezTo>
                  <a:cubicBezTo>
                    <a:pt x="1439" y="6350"/>
                    <a:pt x="1477" y="6333"/>
                    <a:pt x="1489" y="6325"/>
                  </a:cubicBezTo>
                  <a:cubicBezTo>
                    <a:pt x="1502" y="6315"/>
                    <a:pt x="1521" y="6291"/>
                    <a:pt x="1533" y="6273"/>
                  </a:cubicBezTo>
                  <a:cubicBezTo>
                    <a:pt x="1543" y="6253"/>
                    <a:pt x="1549" y="6235"/>
                    <a:pt x="1541" y="6233"/>
                  </a:cubicBezTo>
                  <a:cubicBezTo>
                    <a:pt x="1534" y="6226"/>
                    <a:pt x="1526" y="6222"/>
                    <a:pt x="1523" y="6217"/>
                  </a:cubicBezTo>
                  <a:cubicBezTo>
                    <a:pt x="1520" y="6214"/>
                    <a:pt x="1528" y="6202"/>
                    <a:pt x="1537" y="6196"/>
                  </a:cubicBezTo>
                  <a:cubicBezTo>
                    <a:pt x="1546" y="6190"/>
                    <a:pt x="1562" y="6181"/>
                    <a:pt x="1573" y="6178"/>
                  </a:cubicBezTo>
                  <a:cubicBezTo>
                    <a:pt x="1584" y="6174"/>
                    <a:pt x="1602" y="6182"/>
                    <a:pt x="1614" y="6191"/>
                  </a:cubicBezTo>
                  <a:cubicBezTo>
                    <a:pt x="1624" y="6203"/>
                    <a:pt x="1637" y="6212"/>
                    <a:pt x="1642" y="6213"/>
                  </a:cubicBezTo>
                  <a:cubicBezTo>
                    <a:pt x="1646" y="6216"/>
                    <a:pt x="1646" y="6224"/>
                    <a:pt x="1642" y="6230"/>
                  </a:cubicBezTo>
                  <a:cubicBezTo>
                    <a:pt x="1640" y="6238"/>
                    <a:pt x="1648" y="6245"/>
                    <a:pt x="1666" y="6245"/>
                  </a:cubicBezTo>
                  <a:cubicBezTo>
                    <a:pt x="1683" y="6246"/>
                    <a:pt x="1725" y="6241"/>
                    <a:pt x="1761" y="6236"/>
                  </a:cubicBezTo>
                  <a:cubicBezTo>
                    <a:pt x="1795" y="6227"/>
                    <a:pt x="1846" y="6216"/>
                    <a:pt x="1872" y="6206"/>
                  </a:cubicBezTo>
                  <a:cubicBezTo>
                    <a:pt x="1898" y="6197"/>
                    <a:pt x="1942" y="6175"/>
                    <a:pt x="1968" y="6157"/>
                  </a:cubicBezTo>
                  <a:cubicBezTo>
                    <a:pt x="1995" y="6140"/>
                    <a:pt x="2029" y="6121"/>
                    <a:pt x="2043" y="6113"/>
                  </a:cubicBezTo>
                  <a:cubicBezTo>
                    <a:pt x="2058" y="6107"/>
                    <a:pt x="2082" y="6099"/>
                    <a:pt x="2097" y="6099"/>
                  </a:cubicBezTo>
                  <a:cubicBezTo>
                    <a:pt x="2112" y="6097"/>
                    <a:pt x="2119" y="6105"/>
                    <a:pt x="2114" y="6116"/>
                  </a:cubicBezTo>
                  <a:cubicBezTo>
                    <a:pt x="2107" y="6125"/>
                    <a:pt x="2111" y="6135"/>
                    <a:pt x="2119" y="6140"/>
                  </a:cubicBezTo>
                  <a:cubicBezTo>
                    <a:pt x="2127" y="6142"/>
                    <a:pt x="2143" y="6141"/>
                    <a:pt x="2155" y="6138"/>
                  </a:cubicBezTo>
                  <a:cubicBezTo>
                    <a:pt x="2166" y="6134"/>
                    <a:pt x="2187" y="6131"/>
                    <a:pt x="2199" y="6131"/>
                  </a:cubicBezTo>
                  <a:cubicBezTo>
                    <a:pt x="2212" y="6131"/>
                    <a:pt x="2218" y="6147"/>
                    <a:pt x="2211" y="6168"/>
                  </a:cubicBezTo>
                  <a:cubicBezTo>
                    <a:pt x="2205" y="6189"/>
                    <a:pt x="2193" y="6208"/>
                    <a:pt x="2184" y="6213"/>
                  </a:cubicBezTo>
                  <a:cubicBezTo>
                    <a:pt x="2175" y="6218"/>
                    <a:pt x="2140" y="6234"/>
                    <a:pt x="2108" y="6256"/>
                  </a:cubicBezTo>
                  <a:cubicBezTo>
                    <a:pt x="2074" y="6274"/>
                    <a:pt x="2043" y="6300"/>
                    <a:pt x="2043" y="6311"/>
                  </a:cubicBezTo>
                  <a:cubicBezTo>
                    <a:pt x="2038" y="6321"/>
                    <a:pt x="2043" y="6332"/>
                    <a:pt x="2045" y="6339"/>
                  </a:cubicBezTo>
                  <a:cubicBezTo>
                    <a:pt x="2048" y="6345"/>
                    <a:pt x="2049" y="6354"/>
                    <a:pt x="2046" y="6363"/>
                  </a:cubicBezTo>
                  <a:cubicBezTo>
                    <a:pt x="2040" y="6369"/>
                    <a:pt x="2025" y="6376"/>
                    <a:pt x="2008" y="6375"/>
                  </a:cubicBezTo>
                  <a:cubicBezTo>
                    <a:pt x="1991" y="6374"/>
                    <a:pt x="1973" y="6370"/>
                    <a:pt x="1968" y="6368"/>
                  </a:cubicBezTo>
                  <a:cubicBezTo>
                    <a:pt x="1962" y="6366"/>
                    <a:pt x="1946" y="6365"/>
                    <a:pt x="1933" y="6365"/>
                  </a:cubicBezTo>
                  <a:cubicBezTo>
                    <a:pt x="1919" y="6367"/>
                    <a:pt x="1899" y="6359"/>
                    <a:pt x="1886" y="6355"/>
                  </a:cubicBezTo>
                  <a:cubicBezTo>
                    <a:pt x="1874" y="6348"/>
                    <a:pt x="1835" y="6342"/>
                    <a:pt x="1801" y="6345"/>
                  </a:cubicBezTo>
                  <a:cubicBezTo>
                    <a:pt x="1766" y="6348"/>
                    <a:pt x="1696" y="6360"/>
                    <a:pt x="1646" y="6375"/>
                  </a:cubicBezTo>
                  <a:cubicBezTo>
                    <a:pt x="1595" y="6389"/>
                    <a:pt x="1529" y="6408"/>
                    <a:pt x="1497" y="6415"/>
                  </a:cubicBezTo>
                  <a:cubicBezTo>
                    <a:pt x="1466" y="6424"/>
                    <a:pt x="1403" y="6446"/>
                    <a:pt x="1356" y="6465"/>
                  </a:cubicBezTo>
                  <a:cubicBezTo>
                    <a:pt x="1310" y="6485"/>
                    <a:pt x="1268" y="6508"/>
                    <a:pt x="1262" y="6517"/>
                  </a:cubicBezTo>
                  <a:cubicBezTo>
                    <a:pt x="1256" y="6525"/>
                    <a:pt x="1266" y="6536"/>
                    <a:pt x="1284" y="6540"/>
                  </a:cubicBezTo>
                  <a:cubicBezTo>
                    <a:pt x="1301" y="6548"/>
                    <a:pt x="1344" y="6542"/>
                    <a:pt x="1378" y="6536"/>
                  </a:cubicBezTo>
                  <a:cubicBezTo>
                    <a:pt x="1410" y="6527"/>
                    <a:pt x="1459" y="6518"/>
                    <a:pt x="1484" y="6512"/>
                  </a:cubicBezTo>
                  <a:cubicBezTo>
                    <a:pt x="1508" y="6505"/>
                    <a:pt x="1549" y="6507"/>
                    <a:pt x="1574" y="6514"/>
                  </a:cubicBezTo>
                  <a:cubicBezTo>
                    <a:pt x="1599" y="6519"/>
                    <a:pt x="1647" y="6526"/>
                    <a:pt x="1681" y="6526"/>
                  </a:cubicBezTo>
                  <a:cubicBezTo>
                    <a:pt x="1715" y="6525"/>
                    <a:pt x="1760" y="6520"/>
                    <a:pt x="1782" y="6514"/>
                  </a:cubicBezTo>
                  <a:cubicBezTo>
                    <a:pt x="1804" y="6508"/>
                    <a:pt x="1837" y="6499"/>
                    <a:pt x="1855" y="6497"/>
                  </a:cubicBezTo>
                  <a:cubicBezTo>
                    <a:pt x="1874" y="6496"/>
                    <a:pt x="1863" y="6504"/>
                    <a:pt x="1832" y="6520"/>
                  </a:cubicBezTo>
                  <a:cubicBezTo>
                    <a:pt x="1799" y="6533"/>
                    <a:pt x="1763" y="6550"/>
                    <a:pt x="1750" y="6552"/>
                  </a:cubicBezTo>
                  <a:cubicBezTo>
                    <a:pt x="1738" y="6555"/>
                    <a:pt x="1713" y="6562"/>
                    <a:pt x="1696" y="6566"/>
                  </a:cubicBezTo>
                  <a:cubicBezTo>
                    <a:pt x="1679" y="6573"/>
                    <a:pt x="1634" y="6573"/>
                    <a:pt x="1596" y="6569"/>
                  </a:cubicBezTo>
                  <a:cubicBezTo>
                    <a:pt x="1557" y="6567"/>
                    <a:pt x="1514" y="6564"/>
                    <a:pt x="1498" y="6563"/>
                  </a:cubicBezTo>
                  <a:cubicBezTo>
                    <a:pt x="1483" y="6563"/>
                    <a:pt x="1441" y="6568"/>
                    <a:pt x="1407" y="6580"/>
                  </a:cubicBezTo>
                  <a:cubicBezTo>
                    <a:pt x="1373" y="6589"/>
                    <a:pt x="1314" y="6599"/>
                    <a:pt x="1277" y="6596"/>
                  </a:cubicBezTo>
                  <a:cubicBezTo>
                    <a:pt x="1240" y="6596"/>
                    <a:pt x="1175" y="6607"/>
                    <a:pt x="1132" y="6618"/>
                  </a:cubicBezTo>
                  <a:cubicBezTo>
                    <a:pt x="1089" y="6633"/>
                    <a:pt x="1035" y="6637"/>
                    <a:pt x="1013" y="6634"/>
                  </a:cubicBezTo>
                  <a:cubicBezTo>
                    <a:pt x="991" y="6631"/>
                    <a:pt x="942" y="6630"/>
                    <a:pt x="904" y="6639"/>
                  </a:cubicBezTo>
                  <a:cubicBezTo>
                    <a:pt x="866" y="6644"/>
                    <a:pt x="798" y="6668"/>
                    <a:pt x="754" y="6692"/>
                  </a:cubicBezTo>
                  <a:cubicBezTo>
                    <a:pt x="709" y="6714"/>
                    <a:pt x="667" y="6747"/>
                    <a:pt x="662" y="6765"/>
                  </a:cubicBezTo>
                  <a:cubicBezTo>
                    <a:pt x="656" y="6783"/>
                    <a:pt x="643" y="6795"/>
                    <a:pt x="634" y="6791"/>
                  </a:cubicBezTo>
                  <a:cubicBezTo>
                    <a:pt x="624" y="6789"/>
                    <a:pt x="605" y="6789"/>
                    <a:pt x="589" y="6793"/>
                  </a:cubicBezTo>
                  <a:cubicBezTo>
                    <a:pt x="574" y="6797"/>
                    <a:pt x="552" y="6809"/>
                    <a:pt x="540" y="6818"/>
                  </a:cubicBezTo>
                  <a:cubicBezTo>
                    <a:pt x="528" y="6828"/>
                    <a:pt x="510" y="6838"/>
                    <a:pt x="500" y="6843"/>
                  </a:cubicBezTo>
                  <a:cubicBezTo>
                    <a:pt x="491" y="6847"/>
                    <a:pt x="472" y="6861"/>
                    <a:pt x="457" y="6873"/>
                  </a:cubicBezTo>
                  <a:cubicBezTo>
                    <a:pt x="444" y="6887"/>
                    <a:pt x="429" y="6908"/>
                    <a:pt x="422" y="6919"/>
                  </a:cubicBezTo>
                  <a:cubicBezTo>
                    <a:pt x="418" y="6932"/>
                    <a:pt x="410" y="6951"/>
                    <a:pt x="404" y="6961"/>
                  </a:cubicBezTo>
                  <a:cubicBezTo>
                    <a:pt x="399" y="6972"/>
                    <a:pt x="404" y="6977"/>
                    <a:pt x="414" y="6970"/>
                  </a:cubicBezTo>
                  <a:cubicBezTo>
                    <a:pt x="424" y="6962"/>
                    <a:pt x="444" y="6955"/>
                    <a:pt x="457" y="6949"/>
                  </a:cubicBezTo>
                  <a:cubicBezTo>
                    <a:pt x="471" y="6945"/>
                    <a:pt x="485" y="6944"/>
                    <a:pt x="490" y="6946"/>
                  </a:cubicBezTo>
                  <a:cubicBezTo>
                    <a:pt x="492" y="6951"/>
                    <a:pt x="484" y="6959"/>
                    <a:pt x="467" y="6972"/>
                  </a:cubicBezTo>
                  <a:cubicBezTo>
                    <a:pt x="449" y="6983"/>
                    <a:pt x="425" y="7004"/>
                    <a:pt x="414" y="7018"/>
                  </a:cubicBezTo>
                  <a:cubicBezTo>
                    <a:pt x="403" y="7032"/>
                    <a:pt x="393" y="7055"/>
                    <a:pt x="394" y="7067"/>
                  </a:cubicBezTo>
                  <a:cubicBezTo>
                    <a:pt x="392" y="7079"/>
                    <a:pt x="414" y="7089"/>
                    <a:pt x="437" y="7087"/>
                  </a:cubicBezTo>
                  <a:cubicBezTo>
                    <a:pt x="460" y="7086"/>
                    <a:pt x="494" y="7073"/>
                    <a:pt x="513" y="7057"/>
                  </a:cubicBezTo>
                  <a:cubicBezTo>
                    <a:pt x="531" y="7040"/>
                    <a:pt x="557" y="7022"/>
                    <a:pt x="568" y="7014"/>
                  </a:cubicBezTo>
                  <a:cubicBezTo>
                    <a:pt x="580" y="7006"/>
                    <a:pt x="601" y="6997"/>
                    <a:pt x="614" y="6992"/>
                  </a:cubicBezTo>
                  <a:cubicBezTo>
                    <a:pt x="627" y="6987"/>
                    <a:pt x="657" y="6965"/>
                    <a:pt x="680" y="6941"/>
                  </a:cubicBezTo>
                  <a:cubicBezTo>
                    <a:pt x="703" y="6919"/>
                    <a:pt x="732" y="6889"/>
                    <a:pt x="746" y="6882"/>
                  </a:cubicBezTo>
                  <a:cubicBezTo>
                    <a:pt x="760" y="6873"/>
                    <a:pt x="785" y="6864"/>
                    <a:pt x="800" y="6856"/>
                  </a:cubicBezTo>
                  <a:cubicBezTo>
                    <a:pt x="816" y="6851"/>
                    <a:pt x="817" y="6854"/>
                    <a:pt x="805" y="6868"/>
                  </a:cubicBezTo>
                  <a:cubicBezTo>
                    <a:pt x="791" y="6877"/>
                    <a:pt x="768" y="6908"/>
                    <a:pt x="749" y="6928"/>
                  </a:cubicBezTo>
                  <a:cubicBezTo>
                    <a:pt x="732" y="6951"/>
                    <a:pt x="701" y="6978"/>
                    <a:pt x="680" y="6990"/>
                  </a:cubicBezTo>
                  <a:cubicBezTo>
                    <a:pt x="660" y="7003"/>
                    <a:pt x="629" y="7023"/>
                    <a:pt x="611" y="7035"/>
                  </a:cubicBezTo>
                  <a:cubicBezTo>
                    <a:pt x="593" y="7049"/>
                    <a:pt x="573" y="7075"/>
                    <a:pt x="569" y="7095"/>
                  </a:cubicBezTo>
                  <a:cubicBezTo>
                    <a:pt x="563" y="7115"/>
                    <a:pt x="581" y="7142"/>
                    <a:pt x="607" y="7154"/>
                  </a:cubicBezTo>
                  <a:cubicBezTo>
                    <a:pt x="634" y="7166"/>
                    <a:pt x="664" y="7166"/>
                    <a:pt x="678" y="7157"/>
                  </a:cubicBezTo>
                  <a:cubicBezTo>
                    <a:pt x="689" y="7146"/>
                    <a:pt x="710" y="7135"/>
                    <a:pt x="721" y="7130"/>
                  </a:cubicBezTo>
                  <a:cubicBezTo>
                    <a:pt x="733" y="7128"/>
                    <a:pt x="765" y="7124"/>
                    <a:pt x="793" y="7125"/>
                  </a:cubicBezTo>
                  <a:cubicBezTo>
                    <a:pt x="820" y="7127"/>
                    <a:pt x="864" y="7120"/>
                    <a:pt x="890" y="7109"/>
                  </a:cubicBezTo>
                  <a:cubicBezTo>
                    <a:pt x="915" y="7100"/>
                    <a:pt x="933" y="7098"/>
                    <a:pt x="933" y="7106"/>
                  </a:cubicBezTo>
                  <a:cubicBezTo>
                    <a:pt x="933" y="7114"/>
                    <a:pt x="916" y="7130"/>
                    <a:pt x="903" y="7143"/>
                  </a:cubicBezTo>
                  <a:cubicBezTo>
                    <a:pt x="888" y="7156"/>
                    <a:pt x="862" y="7179"/>
                    <a:pt x="842" y="7191"/>
                  </a:cubicBezTo>
                  <a:cubicBezTo>
                    <a:pt x="823" y="7205"/>
                    <a:pt x="802" y="7213"/>
                    <a:pt x="796" y="7209"/>
                  </a:cubicBezTo>
                  <a:cubicBezTo>
                    <a:pt x="791" y="7206"/>
                    <a:pt x="759" y="7212"/>
                    <a:pt x="727" y="7222"/>
                  </a:cubicBezTo>
                  <a:cubicBezTo>
                    <a:pt x="695" y="7232"/>
                    <a:pt x="651" y="7249"/>
                    <a:pt x="630" y="7259"/>
                  </a:cubicBezTo>
                  <a:cubicBezTo>
                    <a:pt x="610" y="7270"/>
                    <a:pt x="578" y="7288"/>
                    <a:pt x="560" y="7302"/>
                  </a:cubicBezTo>
                  <a:cubicBezTo>
                    <a:pt x="543" y="7316"/>
                    <a:pt x="501" y="7337"/>
                    <a:pt x="468" y="7348"/>
                  </a:cubicBezTo>
                  <a:cubicBezTo>
                    <a:pt x="435" y="7359"/>
                    <a:pt x="396" y="7381"/>
                    <a:pt x="381" y="7392"/>
                  </a:cubicBezTo>
                  <a:cubicBezTo>
                    <a:pt x="368" y="7407"/>
                    <a:pt x="348" y="7430"/>
                    <a:pt x="340" y="7448"/>
                  </a:cubicBezTo>
                  <a:cubicBezTo>
                    <a:pt x="331" y="7467"/>
                    <a:pt x="336" y="7489"/>
                    <a:pt x="349" y="7499"/>
                  </a:cubicBezTo>
                  <a:cubicBezTo>
                    <a:pt x="362" y="7508"/>
                    <a:pt x="378" y="7525"/>
                    <a:pt x="388" y="7529"/>
                  </a:cubicBezTo>
                  <a:cubicBezTo>
                    <a:pt x="395" y="7537"/>
                    <a:pt x="408" y="7559"/>
                    <a:pt x="414" y="7580"/>
                  </a:cubicBezTo>
                  <a:cubicBezTo>
                    <a:pt x="423" y="7599"/>
                    <a:pt x="445" y="7616"/>
                    <a:pt x="469" y="7614"/>
                  </a:cubicBezTo>
                  <a:cubicBezTo>
                    <a:pt x="492" y="7611"/>
                    <a:pt x="501" y="7616"/>
                    <a:pt x="490" y="7625"/>
                  </a:cubicBezTo>
                  <a:cubicBezTo>
                    <a:pt x="477" y="7632"/>
                    <a:pt x="467" y="7643"/>
                    <a:pt x="465" y="7647"/>
                  </a:cubicBezTo>
                  <a:cubicBezTo>
                    <a:pt x="464" y="7652"/>
                    <a:pt x="473" y="7653"/>
                    <a:pt x="485" y="7658"/>
                  </a:cubicBezTo>
                  <a:cubicBezTo>
                    <a:pt x="498" y="7658"/>
                    <a:pt x="520" y="7667"/>
                    <a:pt x="534" y="7676"/>
                  </a:cubicBezTo>
                  <a:cubicBezTo>
                    <a:pt x="549" y="7683"/>
                    <a:pt x="575" y="7694"/>
                    <a:pt x="593" y="7700"/>
                  </a:cubicBezTo>
                  <a:cubicBezTo>
                    <a:pt x="612" y="7703"/>
                    <a:pt x="646" y="7707"/>
                    <a:pt x="668" y="7708"/>
                  </a:cubicBezTo>
                  <a:cubicBezTo>
                    <a:pt x="691" y="7706"/>
                    <a:pt x="721" y="7715"/>
                    <a:pt x="737" y="7723"/>
                  </a:cubicBezTo>
                  <a:cubicBezTo>
                    <a:pt x="752" y="7731"/>
                    <a:pt x="776" y="7742"/>
                    <a:pt x="792" y="7743"/>
                  </a:cubicBezTo>
                  <a:cubicBezTo>
                    <a:pt x="807" y="7744"/>
                    <a:pt x="826" y="7741"/>
                    <a:pt x="833" y="7733"/>
                  </a:cubicBezTo>
                  <a:cubicBezTo>
                    <a:pt x="840" y="7725"/>
                    <a:pt x="851" y="7710"/>
                    <a:pt x="858" y="7699"/>
                  </a:cubicBezTo>
                  <a:cubicBezTo>
                    <a:pt x="861" y="7687"/>
                    <a:pt x="870" y="7660"/>
                    <a:pt x="877" y="7639"/>
                  </a:cubicBezTo>
                  <a:cubicBezTo>
                    <a:pt x="879" y="7617"/>
                    <a:pt x="889" y="7590"/>
                    <a:pt x="893" y="7577"/>
                  </a:cubicBezTo>
                  <a:cubicBezTo>
                    <a:pt x="899" y="7565"/>
                    <a:pt x="913" y="7545"/>
                    <a:pt x="927" y="7536"/>
                  </a:cubicBezTo>
                  <a:cubicBezTo>
                    <a:pt x="941" y="7527"/>
                    <a:pt x="962" y="7502"/>
                    <a:pt x="975" y="7482"/>
                  </a:cubicBezTo>
                  <a:cubicBezTo>
                    <a:pt x="988" y="7463"/>
                    <a:pt x="1005" y="7438"/>
                    <a:pt x="1012" y="7427"/>
                  </a:cubicBezTo>
                  <a:cubicBezTo>
                    <a:pt x="1018" y="7416"/>
                    <a:pt x="1035" y="7402"/>
                    <a:pt x="1048" y="7394"/>
                  </a:cubicBezTo>
                  <a:cubicBezTo>
                    <a:pt x="1060" y="7387"/>
                    <a:pt x="1078" y="7379"/>
                    <a:pt x="1086" y="7377"/>
                  </a:cubicBezTo>
                  <a:cubicBezTo>
                    <a:pt x="1094" y="7376"/>
                    <a:pt x="1102" y="7383"/>
                    <a:pt x="1101" y="7396"/>
                  </a:cubicBezTo>
                  <a:cubicBezTo>
                    <a:pt x="1101" y="7408"/>
                    <a:pt x="1103" y="7429"/>
                    <a:pt x="1106" y="7443"/>
                  </a:cubicBezTo>
                  <a:cubicBezTo>
                    <a:pt x="1111" y="7455"/>
                    <a:pt x="1109" y="7476"/>
                    <a:pt x="1104" y="7485"/>
                  </a:cubicBezTo>
                  <a:cubicBezTo>
                    <a:pt x="1102" y="7496"/>
                    <a:pt x="1097" y="7509"/>
                    <a:pt x="1099" y="7517"/>
                  </a:cubicBezTo>
                  <a:cubicBezTo>
                    <a:pt x="1100" y="7524"/>
                    <a:pt x="1109" y="7526"/>
                    <a:pt x="1117" y="7519"/>
                  </a:cubicBezTo>
                  <a:cubicBezTo>
                    <a:pt x="1125" y="7512"/>
                    <a:pt x="1141" y="7499"/>
                    <a:pt x="1151" y="7488"/>
                  </a:cubicBezTo>
                  <a:cubicBezTo>
                    <a:pt x="1162" y="7477"/>
                    <a:pt x="1184" y="7464"/>
                    <a:pt x="1201" y="7457"/>
                  </a:cubicBezTo>
                  <a:cubicBezTo>
                    <a:pt x="1219" y="7454"/>
                    <a:pt x="1256" y="7432"/>
                    <a:pt x="1284" y="7414"/>
                  </a:cubicBezTo>
                  <a:cubicBezTo>
                    <a:pt x="1312" y="7397"/>
                    <a:pt x="1339" y="7384"/>
                    <a:pt x="1344" y="7387"/>
                  </a:cubicBezTo>
                  <a:cubicBezTo>
                    <a:pt x="1350" y="7389"/>
                    <a:pt x="1368" y="7386"/>
                    <a:pt x="1385" y="7380"/>
                  </a:cubicBezTo>
                  <a:cubicBezTo>
                    <a:pt x="1402" y="7373"/>
                    <a:pt x="1419" y="7372"/>
                    <a:pt x="1420" y="7378"/>
                  </a:cubicBezTo>
                  <a:cubicBezTo>
                    <a:pt x="1423" y="7383"/>
                    <a:pt x="1405" y="7402"/>
                    <a:pt x="1382" y="7416"/>
                  </a:cubicBezTo>
                  <a:cubicBezTo>
                    <a:pt x="1359" y="7433"/>
                    <a:pt x="1326" y="7460"/>
                    <a:pt x="1309" y="7479"/>
                  </a:cubicBezTo>
                  <a:cubicBezTo>
                    <a:pt x="1291" y="7497"/>
                    <a:pt x="1273" y="7526"/>
                    <a:pt x="1272" y="7543"/>
                  </a:cubicBezTo>
                  <a:cubicBezTo>
                    <a:pt x="1267" y="7558"/>
                    <a:pt x="1278" y="7571"/>
                    <a:pt x="1294" y="7571"/>
                  </a:cubicBezTo>
                  <a:cubicBezTo>
                    <a:pt x="1309" y="7571"/>
                    <a:pt x="1331" y="7563"/>
                    <a:pt x="1342" y="7556"/>
                  </a:cubicBezTo>
                  <a:cubicBezTo>
                    <a:pt x="1353" y="7549"/>
                    <a:pt x="1381" y="7516"/>
                    <a:pt x="1404" y="7483"/>
                  </a:cubicBezTo>
                  <a:cubicBezTo>
                    <a:pt x="1426" y="7450"/>
                    <a:pt x="1453" y="7415"/>
                    <a:pt x="1460" y="7402"/>
                  </a:cubicBezTo>
                  <a:cubicBezTo>
                    <a:pt x="1466" y="7390"/>
                    <a:pt x="1484" y="7378"/>
                    <a:pt x="1498" y="7380"/>
                  </a:cubicBezTo>
                  <a:cubicBezTo>
                    <a:pt x="1511" y="7378"/>
                    <a:pt x="1527" y="7393"/>
                    <a:pt x="1534" y="7410"/>
                  </a:cubicBezTo>
                  <a:cubicBezTo>
                    <a:pt x="1541" y="7426"/>
                    <a:pt x="1555" y="7443"/>
                    <a:pt x="1566" y="7444"/>
                  </a:cubicBezTo>
                  <a:cubicBezTo>
                    <a:pt x="1577" y="7444"/>
                    <a:pt x="1601" y="7436"/>
                    <a:pt x="1622" y="7424"/>
                  </a:cubicBezTo>
                  <a:cubicBezTo>
                    <a:pt x="1642" y="7411"/>
                    <a:pt x="1662" y="7391"/>
                    <a:pt x="1668" y="7382"/>
                  </a:cubicBezTo>
                  <a:cubicBezTo>
                    <a:pt x="1674" y="7371"/>
                    <a:pt x="1692" y="7351"/>
                    <a:pt x="1708" y="7335"/>
                  </a:cubicBezTo>
                  <a:cubicBezTo>
                    <a:pt x="1725" y="7320"/>
                    <a:pt x="1759" y="7301"/>
                    <a:pt x="1782" y="7296"/>
                  </a:cubicBezTo>
                  <a:cubicBezTo>
                    <a:pt x="1806" y="7290"/>
                    <a:pt x="1829" y="7289"/>
                    <a:pt x="1835" y="7291"/>
                  </a:cubicBezTo>
                  <a:cubicBezTo>
                    <a:pt x="1838" y="7297"/>
                    <a:pt x="1842" y="7309"/>
                    <a:pt x="1840" y="7324"/>
                  </a:cubicBezTo>
                  <a:cubicBezTo>
                    <a:pt x="1835" y="7338"/>
                    <a:pt x="1819" y="7365"/>
                    <a:pt x="1802" y="7383"/>
                  </a:cubicBezTo>
                  <a:cubicBezTo>
                    <a:pt x="1785" y="7401"/>
                    <a:pt x="1767" y="7429"/>
                    <a:pt x="1762" y="7444"/>
                  </a:cubicBezTo>
                  <a:cubicBezTo>
                    <a:pt x="1760" y="7460"/>
                    <a:pt x="1764" y="7463"/>
                    <a:pt x="1777" y="7451"/>
                  </a:cubicBezTo>
                  <a:cubicBezTo>
                    <a:pt x="1792" y="7441"/>
                    <a:pt x="1825" y="7416"/>
                    <a:pt x="1852" y="7397"/>
                  </a:cubicBezTo>
                  <a:cubicBezTo>
                    <a:pt x="1879" y="7380"/>
                    <a:pt x="1918" y="7346"/>
                    <a:pt x="1938" y="7325"/>
                  </a:cubicBezTo>
                  <a:cubicBezTo>
                    <a:pt x="1959" y="7304"/>
                    <a:pt x="1993" y="7275"/>
                    <a:pt x="2013" y="7258"/>
                  </a:cubicBezTo>
                  <a:cubicBezTo>
                    <a:pt x="2033" y="7242"/>
                    <a:pt x="2073" y="7221"/>
                    <a:pt x="2101" y="7212"/>
                  </a:cubicBezTo>
                  <a:cubicBezTo>
                    <a:pt x="2128" y="7201"/>
                    <a:pt x="2168" y="7192"/>
                    <a:pt x="2188" y="7192"/>
                  </a:cubicBezTo>
                  <a:cubicBezTo>
                    <a:pt x="2209" y="7192"/>
                    <a:pt x="2236" y="7196"/>
                    <a:pt x="2249" y="7205"/>
                  </a:cubicBezTo>
                  <a:cubicBezTo>
                    <a:pt x="2263" y="7210"/>
                    <a:pt x="2295" y="7216"/>
                    <a:pt x="2321" y="7215"/>
                  </a:cubicBezTo>
                  <a:cubicBezTo>
                    <a:pt x="2348" y="7211"/>
                    <a:pt x="2393" y="7220"/>
                    <a:pt x="2421" y="7232"/>
                  </a:cubicBezTo>
                  <a:cubicBezTo>
                    <a:pt x="2449" y="7242"/>
                    <a:pt x="2487" y="7252"/>
                    <a:pt x="2506" y="7252"/>
                  </a:cubicBezTo>
                  <a:cubicBezTo>
                    <a:pt x="2524" y="7253"/>
                    <a:pt x="2554" y="7242"/>
                    <a:pt x="2570" y="7228"/>
                  </a:cubicBezTo>
                  <a:cubicBezTo>
                    <a:pt x="2587" y="7216"/>
                    <a:pt x="2607" y="7200"/>
                    <a:pt x="2617" y="7198"/>
                  </a:cubicBezTo>
                  <a:cubicBezTo>
                    <a:pt x="2627" y="7195"/>
                    <a:pt x="2650" y="7199"/>
                    <a:pt x="2667" y="7211"/>
                  </a:cubicBezTo>
                  <a:cubicBezTo>
                    <a:pt x="2685" y="7220"/>
                    <a:pt x="2720" y="7235"/>
                    <a:pt x="2744" y="7243"/>
                  </a:cubicBezTo>
                  <a:cubicBezTo>
                    <a:pt x="2769" y="7250"/>
                    <a:pt x="2783" y="7272"/>
                    <a:pt x="2771" y="7287"/>
                  </a:cubicBezTo>
                  <a:cubicBezTo>
                    <a:pt x="2762" y="7304"/>
                    <a:pt x="2753" y="7321"/>
                    <a:pt x="2753" y="7327"/>
                  </a:cubicBezTo>
                  <a:cubicBezTo>
                    <a:pt x="2753" y="7332"/>
                    <a:pt x="2762" y="7332"/>
                    <a:pt x="2773" y="7328"/>
                  </a:cubicBezTo>
                  <a:cubicBezTo>
                    <a:pt x="2785" y="7322"/>
                    <a:pt x="2801" y="7315"/>
                    <a:pt x="2808" y="7309"/>
                  </a:cubicBezTo>
                  <a:cubicBezTo>
                    <a:pt x="2816" y="7305"/>
                    <a:pt x="2830" y="7299"/>
                    <a:pt x="2840" y="7299"/>
                  </a:cubicBezTo>
                  <a:cubicBezTo>
                    <a:pt x="2850" y="7299"/>
                    <a:pt x="2865" y="7304"/>
                    <a:pt x="2874" y="7311"/>
                  </a:cubicBezTo>
                  <a:cubicBezTo>
                    <a:pt x="2882" y="7319"/>
                    <a:pt x="2902" y="7327"/>
                    <a:pt x="2918" y="7330"/>
                  </a:cubicBezTo>
                  <a:cubicBezTo>
                    <a:pt x="2933" y="7333"/>
                    <a:pt x="2955" y="7340"/>
                    <a:pt x="2965" y="7345"/>
                  </a:cubicBezTo>
                  <a:cubicBezTo>
                    <a:pt x="2976" y="7350"/>
                    <a:pt x="2986" y="7364"/>
                    <a:pt x="2986" y="7376"/>
                  </a:cubicBezTo>
                  <a:cubicBezTo>
                    <a:pt x="2987" y="7388"/>
                    <a:pt x="2991" y="7399"/>
                    <a:pt x="2996" y="7402"/>
                  </a:cubicBezTo>
                  <a:cubicBezTo>
                    <a:pt x="3001" y="7405"/>
                    <a:pt x="3015" y="7404"/>
                    <a:pt x="3026" y="7400"/>
                  </a:cubicBezTo>
                  <a:cubicBezTo>
                    <a:pt x="3037" y="7397"/>
                    <a:pt x="3052" y="7386"/>
                    <a:pt x="3057" y="7376"/>
                  </a:cubicBezTo>
                  <a:cubicBezTo>
                    <a:pt x="3062" y="7367"/>
                    <a:pt x="3075" y="7355"/>
                    <a:pt x="3085" y="7352"/>
                  </a:cubicBezTo>
                  <a:cubicBezTo>
                    <a:pt x="3095" y="7347"/>
                    <a:pt x="3113" y="7344"/>
                    <a:pt x="3122" y="7349"/>
                  </a:cubicBezTo>
                  <a:cubicBezTo>
                    <a:pt x="3133" y="7351"/>
                    <a:pt x="3144" y="7362"/>
                    <a:pt x="3146" y="7374"/>
                  </a:cubicBezTo>
                  <a:cubicBezTo>
                    <a:pt x="3149" y="7386"/>
                    <a:pt x="3171" y="7403"/>
                    <a:pt x="3195" y="7409"/>
                  </a:cubicBezTo>
                  <a:cubicBezTo>
                    <a:pt x="3219" y="7417"/>
                    <a:pt x="3250" y="7434"/>
                    <a:pt x="3265" y="7446"/>
                  </a:cubicBezTo>
                  <a:cubicBezTo>
                    <a:pt x="3280" y="7458"/>
                    <a:pt x="3302" y="7466"/>
                    <a:pt x="3314" y="7467"/>
                  </a:cubicBezTo>
                  <a:cubicBezTo>
                    <a:pt x="3326" y="7465"/>
                    <a:pt x="3343" y="7470"/>
                    <a:pt x="3351" y="7476"/>
                  </a:cubicBezTo>
                  <a:cubicBezTo>
                    <a:pt x="3360" y="7481"/>
                    <a:pt x="3356" y="7497"/>
                    <a:pt x="3344" y="7511"/>
                  </a:cubicBezTo>
                  <a:cubicBezTo>
                    <a:pt x="3332" y="7524"/>
                    <a:pt x="3327" y="7537"/>
                    <a:pt x="3329" y="7541"/>
                  </a:cubicBezTo>
                  <a:cubicBezTo>
                    <a:pt x="3333" y="7544"/>
                    <a:pt x="3334" y="7553"/>
                    <a:pt x="3331" y="7562"/>
                  </a:cubicBezTo>
                  <a:cubicBezTo>
                    <a:pt x="3327" y="7570"/>
                    <a:pt x="3312" y="7587"/>
                    <a:pt x="3297" y="7601"/>
                  </a:cubicBezTo>
                  <a:cubicBezTo>
                    <a:pt x="3281" y="7615"/>
                    <a:pt x="3253" y="7641"/>
                    <a:pt x="3236" y="7662"/>
                  </a:cubicBezTo>
                  <a:cubicBezTo>
                    <a:pt x="3218" y="7681"/>
                    <a:pt x="3190" y="7710"/>
                    <a:pt x="3171" y="7721"/>
                  </a:cubicBezTo>
                  <a:cubicBezTo>
                    <a:pt x="3154" y="7735"/>
                    <a:pt x="3136" y="7747"/>
                    <a:pt x="3135" y="7753"/>
                  </a:cubicBezTo>
                  <a:cubicBezTo>
                    <a:pt x="3135" y="7759"/>
                    <a:pt x="3149" y="7758"/>
                    <a:pt x="3170" y="7753"/>
                  </a:cubicBezTo>
                  <a:cubicBezTo>
                    <a:pt x="3192" y="7748"/>
                    <a:pt x="3213" y="7745"/>
                    <a:pt x="3217" y="7749"/>
                  </a:cubicBezTo>
                  <a:cubicBezTo>
                    <a:pt x="3223" y="7751"/>
                    <a:pt x="3217" y="7763"/>
                    <a:pt x="3207" y="7776"/>
                  </a:cubicBezTo>
                  <a:cubicBezTo>
                    <a:pt x="3196" y="7789"/>
                    <a:pt x="3173" y="7807"/>
                    <a:pt x="3156" y="7815"/>
                  </a:cubicBezTo>
                  <a:cubicBezTo>
                    <a:pt x="3139" y="7825"/>
                    <a:pt x="3099" y="7851"/>
                    <a:pt x="3068" y="7874"/>
                  </a:cubicBezTo>
                  <a:cubicBezTo>
                    <a:pt x="3036" y="7898"/>
                    <a:pt x="3002" y="7921"/>
                    <a:pt x="2992" y="7926"/>
                  </a:cubicBezTo>
                  <a:cubicBezTo>
                    <a:pt x="2982" y="7931"/>
                    <a:pt x="2969" y="7942"/>
                    <a:pt x="2969" y="7950"/>
                  </a:cubicBezTo>
                  <a:cubicBezTo>
                    <a:pt x="2966" y="7958"/>
                    <a:pt x="2971" y="7966"/>
                    <a:pt x="2979" y="7971"/>
                  </a:cubicBezTo>
                  <a:cubicBezTo>
                    <a:pt x="2987" y="7976"/>
                    <a:pt x="3000" y="7987"/>
                    <a:pt x="3006" y="7997"/>
                  </a:cubicBezTo>
                  <a:cubicBezTo>
                    <a:pt x="3013" y="8005"/>
                    <a:pt x="3017" y="8020"/>
                    <a:pt x="3015" y="8025"/>
                  </a:cubicBezTo>
                  <a:cubicBezTo>
                    <a:pt x="3015" y="8032"/>
                    <a:pt x="3043" y="8049"/>
                    <a:pt x="3080" y="8065"/>
                  </a:cubicBezTo>
                  <a:cubicBezTo>
                    <a:pt x="3117" y="8081"/>
                    <a:pt x="3152" y="8103"/>
                    <a:pt x="3158" y="8114"/>
                  </a:cubicBezTo>
                  <a:cubicBezTo>
                    <a:pt x="3163" y="8127"/>
                    <a:pt x="3163" y="8150"/>
                    <a:pt x="3158" y="8168"/>
                  </a:cubicBezTo>
                  <a:cubicBezTo>
                    <a:pt x="3151" y="8184"/>
                    <a:pt x="3150" y="8205"/>
                    <a:pt x="3153" y="8212"/>
                  </a:cubicBezTo>
                  <a:cubicBezTo>
                    <a:pt x="3154" y="8219"/>
                    <a:pt x="3148" y="8230"/>
                    <a:pt x="3140" y="8240"/>
                  </a:cubicBezTo>
                  <a:cubicBezTo>
                    <a:pt x="3130" y="8248"/>
                    <a:pt x="3118" y="8267"/>
                    <a:pt x="3113" y="8280"/>
                  </a:cubicBezTo>
                  <a:cubicBezTo>
                    <a:pt x="3109" y="8294"/>
                    <a:pt x="3114" y="8312"/>
                    <a:pt x="3123" y="8322"/>
                  </a:cubicBezTo>
                  <a:cubicBezTo>
                    <a:pt x="3133" y="8333"/>
                    <a:pt x="3151" y="8338"/>
                    <a:pt x="3161" y="8335"/>
                  </a:cubicBezTo>
                  <a:cubicBezTo>
                    <a:pt x="3172" y="8333"/>
                    <a:pt x="3185" y="8334"/>
                    <a:pt x="3190" y="8334"/>
                  </a:cubicBezTo>
                  <a:cubicBezTo>
                    <a:pt x="3195" y="8338"/>
                    <a:pt x="3201" y="8350"/>
                    <a:pt x="3203" y="8363"/>
                  </a:cubicBezTo>
                  <a:cubicBezTo>
                    <a:pt x="3205" y="8377"/>
                    <a:pt x="3215" y="8398"/>
                    <a:pt x="3227" y="8409"/>
                  </a:cubicBezTo>
                  <a:cubicBezTo>
                    <a:pt x="3238" y="8421"/>
                    <a:pt x="3255" y="8436"/>
                    <a:pt x="3264" y="8444"/>
                  </a:cubicBezTo>
                  <a:cubicBezTo>
                    <a:pt x="3273" y="8452"/>
                    <a:pt x="3279" y="8468"/>
                    <a:pt x="3278" y="8481"/>
                  </a:cubicBezTo>
                  <a:cubicBezTo>
                    <a:pt x="3275" y="8493"/>
                    <a:pt x="3266" y="8516"/>
                    <a:pt x="3254" y="8531"/>
                  </a:cubicBezTo>
                  <a:cubicBezTo>
                    <a:pt x="3243" y="8546"/>
                    <a:pt x="3214" y="8567"/>
                    <a:pt x="3191" y="8580"/>
                  </a:cubicBezTo>
                  <a:cubicBezTo>
                    <a:pt x="3167" y="8592"/>
                    <a:pt x="3129" y="8616"/>
                    <a:pt x="3104" y="8632"/>
                  </a:cubicBezTo>
                  <a:cubicBezTo>
                    <a:pt x="3080" y="8649"/>
                    <a:pt x="3052" y="8677"/>
                    <a:pt x="3040" y="8693"/>
                  </a:cubicBezTo>
                  <a:cubicBezTo>
                    <a:pt x="3029" y="8709"/>
                    <a:pt x="3006" y="8736"/>
                    <a:pt x="2989" y="8752"/>
                  </a:cubicBezTo>
                  <a:cubicBezTo>
                    <a:pt x="2970" y="8766"/>
                    <a:pt x="2945" y="8784"/>
                    <a:pt x="2931" y="8788"/>
                  </a:cubicBezTo>
                  <a:cubicBezTo>
                    <a:pt x="2917" y="8793"/>
                    <a:pt x="2884" y="8812"/>
                    <a:pt x="2855" y="8830"/>
                  </a:cubicBezTo>
                  <a:cubicBezTo>
                    <a:pt x="2827" y="8848"/>
                    <a:pt x="2794" y="8871"/>
                    <a:pt x="2785" y="8884"/>
                  </a:cubicBezTo>
                  <a:cubicBezTo>
                    <a:pt x="2776" y="8895"/>
                    <a:pt x="2775" y="8905"/>
                    <a:pt x="2786" y="8905"/>
                  </a:cubicBezTo>
                  <a:cubicBezTo>
                    <a:pt x="2796" y="8909"/>
                    <a:pt x="2816" y="8901"/>
                    <a:pt x="2830" y="8895"/>
                  </a:cubicBezTo>
                  <a:cubicBezTo>
                    <a:pt x="2844" y="8887"/>
                    <a:pt x="2865" y="8872"/>
                    <a:pt x="2879" y="8863"/>
                  </a:cubicBezTo>
                  <a:cubicBezTo>
                    <a:pt x="2892" y="8853"/>
                    <a:pt x="2914" y="8837"/>
                    <a:pt x="2930" y="8836"/>
                  </a:cubicBezTo>
                  <a:cubicBezTo>
                    <a:pt x="2944" y="8829"/>
                    <a:pt x="2980" y="8808"/>
                    <a:pt x="3008" y="8785"/>
                  </a:cubicBezTo>
                  <a:cubicBezTo>
                    <a:pt x="3037" y="8763"/>
                    <a:pt x="3072" y="8742"/>
                    <a:pt x="3085" y="8736"/>
                  </a:cubicBezTo>
                  <a:cubicBezTo>
                    <a:pt x="3098" y="8731"/>
                    <a:pt x="3117" y="8727"/>
                    <a:pt x="3127" y="8727"/>
                  </a:cubicBezTo>
                  <a:cubicBezTo>
                    <a:pt x="3137" y="8725"/>
                    <a:pt x="3133" y="8745"/>
                    <a:pt x="3117" y="8768"/>
                  </a:cubicBezTo>
                  <a:cubicBezTo>
                    <a:pt x="3104" y="8792"/>
                    <a:pt x="3081" y="8821"/>
                    <a:pt x="3070" y="8834"/>
                  </a:cubicBezTo>
                  <a:cubicBezTo>
                    <a:pt x="3058" y="8847"/>
                    <a:pt x="3051" y="8865"/>
                    <a:pt x="3054" y="8875"/>
                  </a:cubicBezTo>
                  <a:cubicBezTo>
                    <a:pt x="3058" y="8885"/>
                    <a:pt x="3053" y="8903"/>
                    <a:pt x="3049" y="8916"/>
                  </a:cubicBezTo>
                  <a:cubicBezTo>
                    <a:pt x="3043" y="8928"/>
                    <a:pt x="3044" y="8949"/>
                    <a:pt x="3052" y="8962"/>
                  </a:cubicBezTo>
                  <a:cubicBezTo>
                    <a:pt x="3061" y="8973"/>
                    <a:pt x="3065" y="8999"/>
                    <a:pt x="3065" y="9016"/>
                  </a:cubicBezTo>
                  <a:cubicBezTo>
                    <a:pt x="3065" y="9033"/>
                    <a:pt x="3052" y="9064"/>
                    <a:pt x="3034" y="9083"/>
                  </a:cubicBezTo>
                  <a:cubicBezTo>
                    <a:pt x="3017" y="9104"/>
                    <a:pt x="2998" y="9128"/>
                    <a:pt x="2998" y="9138"/>
                  </a:cubicBezTo>
                  <a:cubicBezTo>
                    <a:pt x="2994" y="9147"/>
                    <a:pt x="2996" y="9163"/>
                    <a:pt x="3000" y="9174"/>
                  </a:cubicBezTo>
                  <a:cubicBezTo>
                    <a:pt x="3005" y="9184"/>
                    <a:pt x="3006" y="9197"/>
                    <a:pt x="3004" y="9203"/>
                  </a:cubicBezTo>
                  <a:cubicBezTo>
                    <a:pt x="3003" y="9210"/>
                    <a:pt x="2993" y="9209"/>
                    <a:pt x="2984" y="9200"/>
                  </a:cubicBezTo>
                  <a:cubicBezTo>
                    <a:pt x="2975" y="9192"/>
                    <a:pt x="2958" y="9190"/>
                    <a:pt x="2946" y="9196"/>
                  </a:cubicBezTo>
                  <a:cubicBezTo>
                    <a:pt x="2934" y="9203"/>
                    <a:pt x="2924" y="9224"/>
                    <a:pt x="2924" y="9243"/>
                  </a:cubicBezTo>
                  <a:cubicBezTo>
                    <a:pt x="2924" y="9263"/>
                    <a:pt x="2933" y="9289"/>
                    <a:pt x="2942" y="9304"/>
                  </a:cubicBezTo>
                  <a:cubicBezTo>
                    <a:pt x="2952" y="9317"/>
                    <a:pt x="2958" y="9335"/>
                    <a:pt x="2955" y="9343"/>
                  </a:cubicBezTo>
                  <a:cubicBezTo>
                    <a:pt x="2954" y="9351"/>
                    <a:pt x="2946" y="9358"/>
                    <a:pt x="2942" y="9357"/>
                  </a:cubicBezTo>
                  <a:cubicBezTo>
                    <a:pt x="2937" y="9356"/>
                    <a:pt x="2921" y="9367"/>
                    <a:pt x="2904" y="9377"/>
                  </a:cubicBezTo>
                  <a:cubicBezTo>
                    <a:pt x="2888" y="9390"/>
                    <a:pt x="2877" y="9409"/>
                    <a:pt x="2875" y="9420"/>
                  </a:cubicBezTo>
                  <a:cubicBezTo>
                    <a:pt x="2875" y="9431"/>
                    <a:pt x="2882" y="9445"/>
                    <a:pt x="2885" y="9453"/>
                  </a:cubicBezTo>
                  <a:cubicBezTo>
                    <a:pt x="2892" y="9458"/>
                    <a:pt x="2908" y="9462"/>
                    <a:pt x="2925" y="9461"/>
                  </a:cubicBezTo>
                  <a:cubicBezTo>
                    <a:pt x="2942" y="9459"/>
                    <a:pt x="2961" y="9463"/>
                    <a:pt x="2969" y="9467"/>
                  </a:cubicBezTo>
                  <a:cubicBezTo>
                    <a:pt x="2978" y="9471"/>
                    <a:pt x="2979" y="9487"/>
                    <a:pt x="2979" y="9498"/>
                  </a:cubicBezTo>
                  <a:cubicBezTo>
                    <a:pt x="2977" y="9510"/>
                    <a:pt x="2961" y="9532"/>
                    <a:pt x="2943" y="9546"/>
                  </a:cubicBezTo>
                  <a:cubicBezTo>
                    <a:pt x="2925" y="9562"/>
                    <a:pt x="2905" y="9585"/>
                    <a:pt x="2902" y="9600"/>
                  </a:cubicBezTo>
                  <a:cubicBezTo>
                    <a:pt x="2898" y="9615"/>
                    <a:pt x="2876" y="9642"/>
                    <a:pt x="2855" y="9660"/>
                  </a:cubicBezTo>
                  <a:cubicBezTo>
                    <a:pt x="2833" y="9677"/>
                    <a:pt x="2805" y="9699"/>
                    <a:pt x="2794" y="9708"/>
                  </a:cubicBezTo>
                  <a:cubicBezTo>
                    <a:pt x="2780" y="9715"/>
                    <a:pt x="2754" y="9726"/>
                    <a:pt x="2735" y="9727"/>
                  </a:cubicBezTo>
                  <a:cubicBezTo>
                    <a:pt x="2715" y="9730"/>
                    <a:pt x="2689" y="9736"/>
                    <a:pt x="2677" y="9743"/>
                  </a:cubicBezTo>
                  <a:cubicBezTo>
                    <a:pt x="2665" y="9747"/>
                    <a:pt x="2651" y="9761"/>
                    <a:pt x="2647" y="9771"/>
                  </a:cubicBezTo>
                  <a:cubicBezTo>
                    <a:pt x="2642" y="9780"/>
                    <a:pt x="2651" y="9790"/>
                    <a:pt x="2667" y="9790"/>
                  </a:cubicBezTo>
                  <a:cubicBezTo>
                    <a:pt x="2681" y="9790"/>
                    <a:pt x="2710" y="9788"/>
                    <a:pt x="2729" y="9784"/>
                  </a:cubicBezTo>
                  <a:cubicBezTo>
                    <a:pt x="2748" y="9779"/>
                    <a:pt x="2773" y="9784"/>
                    <a:pt x="2784" y="9792"/>
                  </a:cubicBezTo>
                  <a:cubicBezTo>
                    <a:pt x="2794" y="9799"/>
                    <a:pt x="2814" y="9801"/>
                    <a:pt x="2829" y="9800"/>
                  </a:cubicBezTo>
                  <a:cubicBezTo>
                    <a:pt x="2843" y="9796"/>
                    <a:pt x="2867" y="9793"/>
                    <a:pt x="2882" y="9795"/>
                  </a:cubicBezTo>
                  <a:cubicBezTo>
                    <a:pt x="2897" y="9796"/>
                    <a:pt x="2911" y="9803"/>
                    <a:pt x="2914" y="9811"/>
                  </a:cubicBezTo>
                  <a:cubicBezTo>
                    <a:pt x="2918" y="9818"/>
                    <a:pt x="2911" y="9844"/>
                    <a:pt x="2902" y="9866"/>
                  </a:cubicBezTo>
                  <a:cubicBezTo>
                    <a:pt x="2893" y="9888"/>
                    <a:pt x="2886" y="9922"/>
                    <a:pt x="2890" y="9942"/>
                  </a:cubicBezTo>
                  <a:cubicBezTo>
                    <a:pt x="2891" y="9962"/>
                    <a:pt x="2868" y="10000"/>
                    <a:pt x="2835" y="10026"/>
                  </a:cubicBezTo>
                  <a:cubicBezTo>
                    <a:pt x="2801" y="10050"/>
                    <a:pt x="2770" y="10088"/>
                    <a:pt x="2762" y="10103"/>
                  </a:cubicBezTo>
                  <a:cubicBezTo>
                    <a:pt x="2756" y="10119"/>
                    <a:pt x="2753" y="10139"/>
                    <a:pt x="2761" y="10144"/>
                  </a:cubicBezTo>
                  <a:cubicBezTo>
                    <a:pt x="2770" y="10150"/>
                    <a:pt x="2754" y="10182"/>
                    <a:pt x="2731" y="10216"/>
                  </a:cubicBezTo>
                  <a:cubicBezTo>
                    <a:pt x="2706" y="10248"/>
                    <a:pt x="2663" y="10288"/>
                    <a:pt x="2634" y="10303"/>
                  </a:cubicBezTo>
                  <a:cubicBezTo>
                    <a:pt x="2604" y="10317"/>
                    <a:pt x="2567" y="10338"/>
                    <a:pt x="2548" y="10342"/>
                  </a:cubicBezTo>
                  <a:cubicBezTo>
                    <a:pt x="2530" y="10348"/>
                    <a:pt x="2505" y="10346"/>
                    <a:pt x="2492" y="10341"/>
                  </a:cubicBezTo>
                  <a:cubicBezTo>
                    <a:pt x="2479" y="10334"/>
                    <a:pt x="2457" y="10332"/>
                    <a:pt x="2443" y="10335"/>
                  </a:cubicBezTo>
                  <a:cubicBezTo>
                    <a:pt x="2429" y="10338"/>
                    <a:pt x="2392" y="10358"/>
                    <a:pt x="2360" y="10378"/>
                  </a:cubicBezTo>
                  <a:cubicBezTo>
                    <a:pt x="2329" y="10399"/>
                    <a:pt x="2295" y="10428"/>
                    <a:pt x="2284" y="10441"/>
                  </a:cubicBezTo>
                  <a:cubicBezTo>
                    <a:pt x="2273" y="10455"/>
                    <a:pt x="2271" y="10471"/>
                    <a:pt x="2274" y="10477"/>
                  </a:cubicBezTo>
                  <a:cubicBezTo>
                    <a:pt x="2280" y="10481"/>
                    <a:pt x="2291" y="10482"/>
                    <a:pt x="2302" y="10479"/>
                  </a:cubicBezTo>
                  <a:cubicBezTo>
                    <a:pt x="2312" y="10474"/>
                    <a:pt x="2350" y="10469"/>
                    <a:pt x="2386" y="10461"/>
                  </a:cubicBezTo>
                  <a:cubicBezTo>
                    <a:pt x="2421" y="10456"/>
                    <a:pt x="2462" y="10441"/>
                    <a:pt x="2478" y="10431"/>
                  </a:cubicBezTo>
                  <a:cubicBezTo>
                    <a:pt x="2492" y="10419"/>
                    <a:pt x="2512" y="10406"/>
                    <a:pt x="2521" y="10401"/>
                  </a:cubicBezTo>
                  <a:cubicBezTo>
                    <a:pt x="2529" y="10396"/>
                    <a:pt x="2540" y="10397"/>
                    <a:pt x="2545" y="10398"/>
                  </a:cubicBezTo>
                  <a:cubicBezTo>
                    <a:pt x="2546" y="10404"/>
                    <a:pt x="2552" y="10410"/>
                    <a:pt x="2552" y="10419"/>
                  </a:cubicBezTo>
                  <a:cubicBezTo>
                    <a:pt x="2552" y="10427"/>
                    <a:pt x="2555" y="10439"/>
                    <a:pt x="2562" y="10442"/>
                  </a:cubicBezTo>
                  <a:cubicBezTo>
                    <a:pt x="2568" y="10447"/>
                    <a:pt x="2561" y="10458"/>
                    <a:pt x="2550" y="10469"/>
                  </a:cubicBezTo>
                  <a:cubicBezTo>
                    <a:pt x="2537" y="10479"/>
                    <a:pt x="2515" y="10491"/>
                    <a:pt x="2500" y="10496"/>
                  </a:cubicBezTo>
                  <a:cubicBezTo>
                    <a:pt x="2486" y="10501"/>
                    <a:pt x="2466" y="10512"/>
                    <a:pt x="2458" y="10522"/>
                  </a:cubicBezTo>
                  <a:cubicBezTo>
                    <a:pt x="2449" y="10530"/>
                    <a:pt x="2438" y="10548"/>
                    <a:pt x="2438" y="10561"/>
                  </a:cubicBezTo>
                  <a:cubicBezTo>
                    <a:pt x="2436" y="10574"/>
                    <a:pt x="2429" y="10592"/>
                    <a:pt x="2421" y="10599"/>
                  </a:cubicBezTo>
                  <a:cubicBezTo>
                    <a:pt x="2415" y="10608"/>
                    <a:pt x="2394" y="10622"/>
                    <a:pt x="2375" y="10626"/>
                  </a:cubicBezTo>
                  <a:cubicBezTo>
                    <a:pt x="2356" y="10634"/>
                    <a:pt x="2312" y="10660"/>
                    <a:pt x="2278" y="10688"/>
                  </a:cubicBezTo>
                  <a:cubicBezTo>
                    <a:pt x="2245" y="10716"/>
                    <a:pt x="2194" y="10751"/>
                    <a:pt x="2167" y="10768"/>
                  </a:cubicBezTo>
                  <a:cubicBezTo>
                    <a:pt x="2140" y="10785"/>
                    <a:pt x="2114" y="10809"/>
                    <a:pt x="2111" y="10821"/>
                  </a:cubicBezTo>
                  <a:cubicBezTo>
                    <a:pt x="2108" y="10833"/>
                    <a:pt x="2117" y="10850"/>
                    <a:pt x="2132" y="10859"/>
                  </a:cubicBezTo>
                  <a:cubicBezTo>
                    <a:pt x="2147" y="10868"/>
                    <a:pt x="2186" y="10872"/>
                    <a:pt x="2216" y="10871"/>
                  </a:cubicBezTo>
                  <a:cubicBezTo>
                    <a:pt x="2247" y="10866"/>
                    <a:pt x="2297" y="10855"/>
                    <a:pt x="2327" y="10842"/>
                  </a:cubicBezTo>
                  <a:cubicBezTo>
                    <a:pt x="2356" y="10827"/>
                    <a:pt x="2405" y="10797"/>
                    <a:pt x="2432" y="10771"/>
                  </a:cubicBezTo>
                  <a:cubicBezTo>
                    <a:pt x="2460" y="10745"/>
                    <a:pt x="2497" y="10705"/>
                    <a:pt x="2516" y="10684"/>
                  </a:cubicBezTo>
                  <a:cubicBezTo>
                    <a:pt x="2534" y="10661"/>
                    <a:pt x="2563" y="10634"/>
                    <a:pt x="2580" y="10624"/>
                  </a:cubicBezTo>
                  <a:cubicBezTo>
                    <a:pt x="2596" y="10611"/>
                    <a:pt x="2616" y="10604"/>
                    <a:pt x="2623" y="10604"/>
                  </a:cubicBezTo>
                  <a:cubicBezTo>
                    <a:pt x="2629" y="10604"/>
                    <a:pt x="2635" y="10613"/>
                    <a:pt x="2630" y="10621"/>
                  </a:cubicBezTo>
                  <a:cubicBezTo>
                    <a:pt x="2630" y="10630"/>
                    <a:pt x="2600" y="10666"/>
                    <a:pt x="2571" y="10703"/>
                  </a:cubicBezTo>
                  <a:cubicBezTo>
                    <a:pt x="2540" y="10739"/>
                    <a:pt x="2484" y="10796"/>
                    <a:pt x="2446" y="10830"/>
                  </a:cubicBezTo>
                  <a:cubicBezTo>
                    <a:pt x="2407" y="10863"/>
                    <a:pt x="2365" y="10891"/>
                    <a:pt x="2352" y="10892"/>
                  </a:cubicBezTo>
                  <a:cubicBezTo>
                    <a:pt x="2340" y="10893"/>
                    <a:pt x="2295" y="10902"/>
                    <a:pt x="2255" y="10917"/>
                  </a:cubicBezTo>
                  <a:cubicBezTo>
                    <a:pt x="2214" y="10929"/>
                    <a:pt x="2168" y="10947"/>
                    <a:pt x="2153" y="10955"/>
                  </a:cubicBezTo>
                  <a:cubicBezTo>
                    <a:pt x="2138" y="10962"/>
                    <a:pt x="2112" y="10985"/>
                    <a:pt x="2094" y="11005"/>
                  </a:cubicBezTo>
                  <a:cubicBezTo>
                    <a:pt x="2077" y="11025"/>
                    <a:pt x="2057" y="11040"/>
                    <a:pt x="2051" y="11035"/>
                  </a:cubicBezTo>
                  <a:cubicBezTo>
                    <a:pt x="2045" y="11031"/>
                    <a:pt x="2021" y="11037"/>
                    <a:pt x="1998" y="11040"/>
                  </a:cubicBezTo>
                  <a:cubicBezTo>
                    <a:pt x="1975" y="11047"/>
                    <a:pt x="1933" y="11066"/>
                    <a:pt x="1904" y="11084"/>
                  </a:cubicBezTo>
                  <a:cubicBezTo>
                    <a:pt x="1875" y="11102"/>
                    <a:pt x="1848" y="11127"/>
                    <a:pt x="1845" y="11139"/>
                  </a:cubicBezTo>
                  <a:cubicBezTo>
                    <a:pt x="1843" y="11151"/>
                    <a:pt x="1847" y="11163"/>
                    <a:pt x="1853" y="11170"/>
                  </a:cubicBezTo>
                  <a:cubicBezTo>
                    <a:pt x="1860" y="11174"/>
                    <a:pt x="1868" y="11187"/>
                    <a:pt x="1870" y="11198"/>
                  </a:cubicBezTo>
                  <a:cubicBezTo>
                    <a:pt x="1870" y="11208"/>
                    <a:pt x="1867" y="11232"/>
                    <a:pt x="1855" y="11248"/>
                  </a:cubicBezTo>
                  <a:cubicBezTo>
                    <a:pt x="1845" y="11267"/>
                    <a:pt x="1836" y="11301"/>
                    <a:pt x="1840" y="11324"/>
                  </a:cubicBezTo>
                  <a:cubicBezTo>
                    <a:pt x="1842" y="11348"/>
                    <a:pt x="1852" y="11366"/>
                    <a:pt x="1860" y="11363"/>
                  </a:cubicBezTo>
                  <a:cubicBezTo>
                    <a:pt x="1868" y="11359"/>
                    <a:pt x="1880" y="11345"/>
                    <a:pt x="1890" y="11331"/>
                  </a:cubicBezTo>
                  <a:cubicBezTo>
                    <a:pt x="1897" y="11315"/>
                    <a:pt x="1914" y="11302"/>
                    <a:pt x="1926" y="11299"/>
                  </a:cubicBezTo>
                  <a:cubicBezTo>
                    <a:pt x="1939" y="11297"/>
                    <a:pt x="1955" y="11298"/>
                    <a:pt x="1964" y="11303"/>
                  </a:cubicBezTo>
                  <a:cubicBezTo>
                    <a:pt x="1971" y="11311"/>
                    <a:pt x="1980" y="11323"/>
                    <a:pt x="1985" y="11332"/>
                  </a:cubicBezTo>
                  <a:cubicBezTo>
                    <a:pt x="1988" y="11342"/>
                    <a:pt x="1985" y="11363"/>
                    <a:pt x="1981" y="11379"/>
                  </a:cubicBezTo>
                  <a:cubicBezTo>
                    <a:pt x="1973" y="11394"/>
                    <a:pt x="1978" y="11416"/>
                    <a:pt x="1989" y="11422"/>
                  </a:cubicBezTo>
                  <a:cubicBezTo>
                    <a:pt x="1999" y="11429"/>
                    <a:pt x="2036" y="11428"/>
                    <a:pt x="2071" y="11422"/>
                  </a:cubicBezTo>
                  <a:cubicBezTo>
                    <a:pt x="2106" y="11415"/>
                    <a:pt x="2153" y="11396"/>
                    <a:pt x="2175" y="11379"/>
                  </a:cubicBezTo>
                  <a:cubicBezTo>
                    <a:pt x="2197" y="11364"/>
                    <a:pt x="2223" y="11344"/>
                    <a:pt x="2232" y="11335"/>
                  </a:cubicBezTo>
                  <a:cubicBezTo>
                    <a:pt x="2241" y="11327"/>
                    <a:pt x="2259" y="11321"/>
                    <a:pt x="2270" y="11318"/>
                  </a:cubicBezTo>
                  <a:cubicBezTo>
                    <a:pt x="2282" y="11317"/>
                    <a:pt x="2310" y="11309"/>
                    <a:pt x="2334" y="11302"/>
                  </a:cubicBezTo>
                  <a:cubicBezTo>
                    <a:pt x="2356" y="11293"/>
                    <a:pt x="2388" y="11275"/>
                    <a:pt x="2403" y="11259"/>
                  </a:cubicBezTo>
                  <a:cubicBezTo>
                    <a:pt x="2417" y="11243"/>
                    <a:pt x="2441" y="11216"/>
                    <a:pt x="2451" y="11195"/>
                  </a:cubicBezTo>
                  <a:cubicBezTo>
                    <a:pt x="2463" y="11175"/>
                    <a:pt x="2471" y="11147"/>
                    <a:pt x="2469" y="11135"/>
                  </a:cubicBezTo>
                  <a:cubicBezTo>
                    <a:pt x="2466" y="11122"/>
                    <a:pt x="2458" y="11105"/>
                    <a:pt x="2447" y="11102"/>
                  </a:cubicBezTo>
                  <a:cubicBezTo>
                    <a:pt x="2437" y="11097"/>
                    <a:pt x="2440" y="11092"/>
                    <a:pt x="2454" y="11088"/>
                  </a:cubicBezTo>
                  <a:cubicBezTo>
                    <a:pt x="2467" y="11084"/>
                    <a:pt x="2488" y="11082"/>
                    <a:pt x="2500" y="11080"/>
                  </a:cubicBezTo>
                  <a:cubicBezTo>
                    <a:pt x="2511" y="11078"/>
                    <a:pt x="2526" y="11072"/>
                    <a:pt x="2530" y="11063"/>
                  </a:cubicBezTo>
                  <a:cubicBezTo>
                    <a:pt x="2536" y="11054"/>
                    <a:pt x="2551" y="11022"/>
                    <a:pt x="2561" y="10991"/>
                  </a:cubicBezTo>
                  <a:cubicBezTo>
                    <a:pt x="2574" y="10961"/>
                    <a:pt x="2589" y="10944"/>
                    <a:pt x="2597" y="10955"/>
                  </a:cubicBezTo>
                  <a:cubicBezTo>
                    <a:pt x="2606" y="10965"/>
                    <a:pt x="2623" y="10981"/>
                    <a:pt x="2635" y="10991"/>
                  </a:cubicBezTo>
                  <a:cubicBezTo>
                    <a:pt x="2648" y="10999"/>
                    <a:pt x="2669" y="11003"/>
                    <a:pt x="2682" y="10997"/>
                  </a:cubicBezTo>
                  <a:cubicBezTo>
                    <a:pt x="2695" y="10990"/>
                    <a:pt x="2717" y="10973"/>
                    <a:pt x="2732" y="10958"/>
                  </a:cubicBezTo>
                  <a:cubicBezTo>
                    <a:pt x="2744" y="10940"/>
                    <a:pt x="2763" y="10902"/>
                    <a:pt x="2774" y="10872"/>
                  </a:cubicBezTo>
                  <a:cubicBezTo>
                    <a:pt x="2784" y="10841"/>
                    <a:pt x="2795" y="10798"/>
                    <a:pt x="2803" y="10778"/>
                  </a:cubicBezTo>
                  <a:cubicBezTo>
                    <a:pt x="2809" y="10757"/>
                    <a:pt x="2810" y="10727"/>
                    <a:pt x="2807" y="10709"/>
                  </a:cubicBezTo>
                  <a:cubicBezTo>
                    <a:pt x="2802" y="10692"/>
                    <a:pt x="2794" y="10666"/>
                    <a:pt x="2792" y="10651"/>
                  </a:cubicBezTo>
                  <a:cubicBezTo>
                    <a:pt x="2789" y="10636"/>
                    <a:pt x="2800" y="10592"/>
                    <a:pt x="2818" y="10552"/>
                  </a:cubicBezTo>
                  <a:cubicBezTo>
                    <a:pt x="2836" y="10512"/>
                    <a:pt x="2857" y="10472"/>
                    <a:pt x="2865" y="10463"/>
                  </a:cubicBezTo>
                  <a:cubicBezTo>
                    <a:pt x="2872" y="10453"/>
                    <a:pt x="2885" y="10441"/>
                    <a:pt x="2892" y="10439"/>
                  </a:cubicBezTo>
                  <a:cubicBezTo>
                    <a:pt x="2899" y="10434"/>
                    <a:pt x="2903" y="10446"/>
                    <a:pt x="2901" y="10461"/>
                  </a:cubicBezTo>
                  <a:cubicBezTo>
                    <a:pt x="2899" y="10476"/>
                    <a:pt x="2886" y="10504"/>
                    <a:pt x="2872" y="10522"/>
                  </a:cubicBezTo>
                  <a:cubicBezTo>
                    <a:pt x="2859" y="10540"/>
                    <a:pt x="2844" y="10572"/>
                    <a:pt x="2844" y="10594"/>
                  </a:cubicBezTo>
                  <a:cubicBezTo>
                    <a:pt x="2842" y="10614"/>
                    <a:pt x="2849" y="10646"/>
                    <a:pt x="2854" y="10666"/>
                  </a:cubicBezTo>
                  <a:cubicBezTo>
                    <a:pt x="2862" y="10685"/>
                    <a:pt x="2862" y="10723"/>
                    <a:pt x="2853" y="10749"/>
                  </a:cubicBezTo>
                  <a:cubicBezTo>
                    <a:pt x="2844" y="10775"/>
                    <a:pt x="2827" y="10820"/>
                    <a:pt x="2814" y="10848"/>
                  </a:cubicBezTo>
                  <a:cubicBezTo>
                    <a:pt x="2800" y="10876"/>
                    <a:pt x="2783" y="10913"/>
                    <a:pt x="2777" y="10931"/>
                  </a:cubicBezTo>
                  <a:cubicBezTo>
                    <a:pt x="2771" y="10950"/>
                    <a:pt x="2774" y="10961"/>
                    <a:pt x="2784" y="10961"/>
                  </a:cubicBezTo>
                  <a:cubicBezTo>
                    <a:pt x="2794" y="10959"/>
                    <a:pt x="2810" y="10952"/>
                    <a:pt x="2818" y="10945"/>
                  </a:cubicBezTo>
                  <a:cubicBezTo>
                    <a:pt x="2827" y="10938"/>
                    <a:pt x="2853" y="10918"/>
                    <a:pt x="2877" y="10901"/>
                  </a:cubicBezTo>
                  <a:cubicBezTo>
                    <a:pt x="2902" y="10885"/>
                    <a:pt x="2924" y="10864"/>
                    <a:pt x="2928" y="10854"/>
                  </a:cubicBezTo>
                  <a:cubicBezTo>
                    <a:pt x="2932" y="10845"/>
                    <a:pt x="2960" y="10809"/>
                    <a:pt x="2992" y="10777"/>
                  </a:cubicBezTo>
                  <a:cubicBezTo>
                    <a:pt x="3023" y="10744"/>
                    <a:pt x="3070" y="10707"/>
                    <a:pt x="3095" y="10695"/>
                  </a:cubicBezTo>
                  <a:cubicBezTo>
                    <a:pt x="3120" y="10682"/>
                    <a:pt x="3149" y="10670"/>
                    <a:pt x="3158" y="10667"/>
                  </a:cubicBezTo>
                  <a:cubicBezTo>
                    <a:pt x="3168" y="10665"/>
                    <a:pt x="3173" y="10669"/>
                    <a:pt x="3176" y="10674"/>
                  </a:cubicBezTo>
                  <a:cubicBezTo>
                    <a:pt x="3178" y="10679"/>
                    <a:pt x="3158" y="10695"/>
                    <a:pt x="3136" y="10707"/>
                  </a:cubicBezTo>
                  <a:cubicBezTo>
                    <a:pt x="3114" y="10721"/>
                    <a:pt x="3083" y="10740"/>
                    <a:pt x="3068" y="10753"/>
                  </a:cubicBezTo>
                  <a:cubicBezTo>
                    <a:pt x="3054" y="10766"/>
                    <a:pt x="3027" y="10797"/>
                    <a:pt x="3009" y="10823"/>
                  </a:cubicBezTo>
                  <a:cubicBezTo>
                    <a:pt x="2992" y="10849"/>
                    <a:pt x="2960" y="10886"/>
                    <a:pt x="2937" y="10903"/>
                  </a:cubicBezTo>
                  <a:cubicBezTo>
                    <a:pt x="2915" y="10921"/>
                    <a:pt x="2893" y="10942"/>
                    <a:pt x="2892" y="10950"/>
                  </a:cubicBezTo>
                  <a:cubicBezTo>
                    <a:pt x="2889" y="10958"/>
                    <a:pt x="2894" y="10968"/>
                    <a:pt x="2903" y="10970"/>
                  </a:cubicBezTo>
                  <a:cubicBezTo>
                    <a:pt x="2913" y="10972"/>
                    <a:pt x="2938" y="10971"/>
                    <a:pt x="2960" y="10963"/>
                  </a:cubicBezTo>
                  <a:cubicBezTo>
                    <a:pt x="2982" y="10958"/>
                    <a:pt x="3008" y="10953"/>
                    <a:pt x="3018" y="10957"/>
                  </a:cubicBezTo>
                  <a:cubicBezTo>
                    <a:pt x="3028" y="10962"/>
                    <a:pt x="3043" y="10972"/>
                    <a:pt x="3052" y="10983"/>
                  </a:cubicBezTo>
                  <a:cubicBezTo>
                    <a:pt x="3061" y="10994"/>
                    <a:pt x="3081" y="11005"/>
                    <a:pt x="3097" y="11004"/>
                  </a:cubicBezTo>
                  <a:cubicBezTo>
                    <a:pt x="3114" y="11006"/>
                    <a:pt x="3147" y="10995"/>
                    <a:pt x="3173" y="10984"/>
                  </a:cubicBezTo>
                  <a:cubicBezTo>
                    <a:pt x="3198" y="10972"/>
                    <a:pt x="3238" y="10950"/>
                    <a:pt x="3261" y="10936"/>
                  </a:cubicBezTo>
                  <a:cubicBezTo>
                    <a:pt x="3284" y="10921"/>
                    <a:pt x="3314" y="10907"/>
                    <a:pt x="3327" y="10904"/>
                  </a:cubicBezTo>
                  <a:cubicBezTo>
                    <a:pt x="3341" y="10901"/>
                    <a:pt x="3358" y="10902"/>
                    <a:pt x="3365" y="10903"/>
                  </a:cubicBezTo>
                  <a:cubicBezTo>
                    <a:pt x="3373" y="10904"/>
                    <a:pt x="3377" y="10917"/>
                    <a:pt x="3370" y="10925"/>
                  </a:cubicBezTo>
                  <a:cubicBezTo>
                    <a:pt x="3366" y="10935"/>
                    <a:pt x="3332" y="10959"/>
                    <a:pt x="3297" y="10980"/>
                  </a:cubicBezTo>
                  <a:cubicBezTo>
                    <a:pt x="3263" y="11003"/>
                    <a:pt x="3194" y="11032"/>
                    <a:pt x="3146" y="11052"/>
                  </a:cubicBezTo>
                  <a:cubicBezTo>
                    <a:pt x="3098" y="11070"/>
                    <a:pt x="3030" y="11094"/>
                    <a:pt x="2995" y="11104"/>
                  </a:cubicBezTo>
                  <a:cubicBezTo>
                    <a:pt x="2959" y="11113"/>
                    <a:pt x="2915" y="11135"/>
                    <a:pt x="2895" y="11150"/>
                  </a:cubicBezTo>
                  <a:cubicBezTo>
                    <a:pt x="2875" y="11166"/>
                    <a:pt x="2844" y="11186"/>
                    <a:pt x="2827" y="11199"/>
                  </a:cubicBezTo>
                  <a:cubicBezTo>
                    <a:pt x="2810" y="11211"/>
                    <a:pt x="2793" y="11230"/>
                    <a:pt x="2790" y="11243"/>
                  </a:cubicBezTo>
                  <a:cubicBezTo>
                    <a:pt x="2786" y="11255"/>
                    <a:pt x="2793" y="11266"/>
                    <a:pt x="2799" y="11272"/>
                  </a:cubicBezTo>
                  <a:cubicBezTo>
                    <a:pt x="2806" y="11275"/>
                    <a:pt x="2838" y="11271"/>
                    <a:pt x="2870" y="11260"/>
                  </a:cubicBezTo>
                  <a:cubicBezTo>
                    <a:pt x="2902" y="11252"/>
                    <a:pt x="2939" y="11242"/>
                    <a:pt x="2953" y="11243"/>
                  </a:cubicBezTo>
                  <a:cubicBezTo>
                    <a:pt x="2968" y="11244"/>
                    <a:pt x="2992" y="11238"/>
                    <a:pt x="3009" y="11233"/>
                  </a:cubicBezTo>
                  <a:cubicBezTo>
                    <a:pt x="3025" y="11226"/>
                    <a:pt x="3057" y="11209"/>
                    <a:pt x="3078" y="11191"/>
                  </a:cubicBezTo>
                  <a:cubicBezTo>
                    <a:pt x="3101" y="11176"/>
                    <a:pt x="3145" y="11158"/>
                    <a:pt x="3178" y="11151"/>
                  </a:cubicBezTo>
                  <a:cubicBezTo>
                    <a:pt x="3211" y="11147"/>
                    <a:pt x="3244" y="11140"/>
                    <a:pt x="3246" y="11146"/>
                  </a:cubicBezTo>
                  <a:cubicBezTo>
                    <a:pt x="3250" y="11149"/>
                    <a:pt x="3245" y="11159"/>
                    <a:pt x="3234" y="11169"/>
                  </a:cubicBezTo>
                  <a:cubicBezTo>
                    <a:pt x="3222" y="11177"/>
                    <a:pt x="3198" y="11193"/>
                    <a:pt x="3178" y="11200"/>
                  </a:cubicBezTo>
                  <a:cubicBezTo>
                    <a:pt x="3159" y="11207"/>
                    <a:pt x="3124" y="11225"/>
                    <a:pt x="3103" y="11242"/>
                  </a:cubicBezTo>
                  <a:cubicBezTo>
                    <a:pt x="3081" y="11259"/>
                    <a:pt x="3050" y="11276"/>
                    <a:pt x="3033" y="11277"/>
                  </a:cubicBezTo>
                  <a:cubicBezTo>
                    <a:pt x="3017" y="11281"/>
                    <a:pt x="2994" y="11287"/>
                    <a:pt x="2981" y="11288"/>
                  </a:cubicBezTo>
                  <a:cubicBezTo>
                    <a:pt x="2968" y="11290"/>
                    <a:pt x="2941" y="11311"/>
                    <a:pt x="2921" y="11333"/>
                  </a:cubicBezTo>
                  <a:cubicBezTo>
                    <a:pt x="2901" y="11355"/>
                    <a:pt x="2874" y="11387"/>
                    <a:pt x="2863" y="11405"/>
                  </a:cubicBezTo>
                  <a:cubicBezTo>
                    <a:pt x="2851" y="11423"/>
                    <a:pt x="2827" y="11450"/>
                    <a:pt x="2809" y="11463"/>
                  </a:cubicBezTo>
                  <a:cubicBezTo>
                    <a:pt x="2792" y="11478"/>
                    <a:pt x="2776" y="11495"/>
                    <a:pt x="2774" y="11504"/>
                  </a:cubicBezTo>
                  <a:cubicBezTo>
                    <a:pt x="2774" y="11513"/>
                    <a:pt x="2782" y="11518"/>
                    <a:pt x="2794" y="11515"/>
                  </a:cubicBezTo>
                  <a:cubicBezTo>
                    <a:pt x="2807" y="11512"/>
                    <a:pt x="2853" y="11483"/>
                    <a:pt x="2897" y="11448"/>
                  </a:cubicBezTo>
                  <a:cubicBezTo>
                    <a:pt x="2942" y="11415"/>
                    <a:pt x="2989" y="11380"/>
                    <a:pt x="3002" y="11370"/>
                  </a:cubicBezTo>
                  <a:cubicBezTo>
                    <a:pt x="3015" y="11360"/>
                    <a:pt x="3040" y="11348"/>
                    <a:pt x="3059" y="11344"/>
                  </a:cubicBezTo>
                  <a:cubicBezTo>
                    <a:pt x="3077" y="11339"/>
                    <a:pt x="3100" y="11329"/>
                    <a:pt x="3110" y="11321"/>
                  </a:cubicBezTo>
                  <a:cubicBezTo>
                    <a:pt x="3119" y="11312"/>
                    <a:pt x="3136" y="11300"/>
                    <a:pt x="3148" y="11298"/>
                  </a:cubicBezTo>
                  <a:cubicBezTo>
                    <a:pt x="3159" y="11293"/>
                    <a:pt x="3177" y="11302"/>
                    <a:pt x="3191" y="11311"/>
                  </a:cubicBezTo>
                  <a:cubicBezTo>
                    <a:pt x="3204" y="11321"/>
                    <a:pt x="3212" y="11342"/>
                    <a:pt x="3213" y="11353"/>
                  </a:cubicBezTo>
                  <a:cubicBezTo>
                    <a:pt x="3211" y="11364"/>
                    <a:pt x="3205" y="11381"/>
                    <a:pt x="3201" y="11393"/>
                  </a:cubicBezTo>
                  <a:cubicBezTo>
                    <a:pt x="3194" y="11402"/>
                    <a:pt x="3174" y="11407"/>
                    <a:pt x="3156" y="11401"/>
                  </a:cubicBezTo>
                  <a:cubicBezTo>
                    <a:pt x="3138" y="11394"/>
                    <a:pt x="3114" y="11390"/>
                    <a:pt x="3104" y="11390"/>
                  </a:cubicBezTo>
                  <a:cubicBezTo>
                    <a:pt x="3093" y="11389"/>
                    <a:pt x="3056" y="11406"/>
                    <a:pt x="3020" y="11426"/>
                  </a:cubicBezTo>
                  <a:cubicBezTo>
                    <a:pt x="2986" y="11447"/>
                    <a:pt x="2947" y="11473"/>
                    <a:pt x="2935" y="11485"/>
                  </a:cubicBezTo>
                  <a:cubicBezTo>
                    <a:pt x="2923" y="11498"/>
                    <a:pt x="2915" y="11516"/>
                    <a:pt x="2919" y="11525"/>
                  </a:cubicBezTo>
                  <a:cubicBezTo>
                    <a:pt x="2922" y="11534"/>
                    <a:pt x="2946" y="11539"/>
                    <a:pt x="2973" y="11535"/>
                  </a:cubicBezTo>
                  <a:cubicBezTo>
                    <a:pt x="3000" y="11531"/>
                    <a:pt x="3039" y="11523"/>
                    <a:pt x="3059" y="11516"/>
                  </a:cubicBezTo>
                  <a:cubicBezTo>
                    <a:pt x="3079" y="11508"/>
                    <a:pt x="3113" y="11495"/>
                    <a:pt x="3131" y="11482"/>
                  </a:cubicBezTo>
                  <a:cubicBezTo>
                    <a:pt x="3151" y="11470"/>
                    <a:pt x="3177" y="11460"/>
                    <a:pt x="3189" y="11457"/>
                  </a:cubicBezTo>
                  <a:cubicBezTo>
                    <a:pt x="3201" y="11458"/>
                    <a:pt x="3226" y="11466"/>
                    <a:pt x="3241" y="11485"/>
                  </a:cubicBezTo>
                  <a:cubicBezTo>
                    <a:pt x="3258" y="11500"/>
                    <a:pt x="3265" y="11527"/>
                    <a:pt x="3260" y="11541"/>
                  </a:cubicBezTo>
                  <a:cubicBezTo>
                    <a:pt x="3254" y="11555"/>
                    <a:pt x="3235" y="11573"/>
                    <a:pt x="3218" y="11582"/>
                  </a:cubicBezTo>
                  <a:cubicBezTo>
                    <a:pt x="3202" y="11592"/>
                    <a:pt x="3147" y="11597"/>
                    <a:pt x="3097" y="11594"/>
                  </a:cubicBezTo>
                  <a:cubicBezTo>
                    <a:pt x="3046" y="11595"/>
                    <a:pt x="2985" y="11586"/>
                    <a:pt x="2959" y="11585"/>
                  </a:cubicBezTo>
                  <a:cubicBezTo>
                    <a:pt x="2934" y="11581"/>
                    <a:pt x="2907" y="11590"/>
                    <a:pt x="2899" y="11598"/>
                  </a:cubicBezTo>
                  <a:cubicBezTo>
                    <a:pt x="2890" y="11607"/>
                    <a:pt x="2890" y="11624"/>
                    <a:pt x="2891" y="11637"/>
                  </a:cubicBezTo>
                  <a:cubicBezTo>
                    <a:pt x="2895" y="11649"/>
                    <a:pt x="2915" y="11666"/>
                    <a:pt x="2935" y="11675"/>
                  </a:cubicBezTo>
                  <a:cubicBezTo>
                    <a:pt x="2956" y="11682"/>
                    <a:pt x="2992" y="11704"/>
                    <a:pt x="3014" y="11724"/>
                  </a:cubicBezTo>
                  <a:cubicBezTo>
                    <a:pt x="3036" y="11742"/>
                    <a:pt x="3061" y="11771"/>
                    <a:pt x="3068" y="11789"/>
                  </a:cubicBezTo>
                  <a:cubicBezTo>
                    <a:pt x="3072" y="11809"/>
                    <a:pt x="3068" y="11824"/>
                    <a:pt x="3052" y="11828"/>
                  </a:cubicBezTo>
                  <a:cubicBezTo>
                    <a:pt x="3036" y="11828"/>
                    <a:pt x="3013" y="11818"/>
                    <a:pt x="2998" y="11803"/>
                  </a:cubicBezTo>
                  <a:cubicBezTo>
                    <a:pt x="2987" y="11785"/>
                    <a:pt x="2967" y="11773"/>
                    <a:pt x="2958" y="11773"/>
                  </a:cubicBezTo>
                  <a:cubicBezTo>
                    <a:pt x="2949" y="11773"/>
                    <a:pt x="2936" y="11781"/>
                    <a:pt x="2930" y="11790"/>
                  </a:cubicBezTo>
                  <a:cubicBezTo>
                    <a:pt x="2924" y="11800"/>
                    <a:pt x="2920" y="11819"/>
                    <a:pt x="2926" y="11831"/>
                  </a:cubicBezTo>
                  <a:cubicBezTo>
                    <a:pt x="2928" y="11844"/>
                    <a:pt x="2956" y="11865"/>
                    <a:pt x="2982" y="11880"/>
                  </a:cubicBezTo>
                  <a:cubicBezTo>
                    <a:pt x="3008" y="11896"/>
                    <a:pt x="3056" y="11916"/>
                    <a:pt x="3087" y="11927"/>
                  </a:cubicBezTo>
                  <a:cubicBezTo>
                    <a:pt x="3118" y="11938"/>
                    <a:pt x="3138" y="11955"/>
                    <a:pt x="3135" y="11967"/>
                  </a:cubicBezTo>
                  <a:cubicBezTo>
                    <a:pt x="3129" y="11977"/>
                    <a:pt x="3112" y="11990"/>
                    <a:pt x="3096" y="11994"/>
                  </a:cubicBezTo>
                  <a:cubicBezTo>
                    <a:pt x="3079" y="11999"/>
                    <a:pt x="3062" y="12011"/>
                    <a:pt x="3059" y="12021"/>
                  </a:cubicBezTo>
                  <a:cubicBezTo>
                    <a:pt x="3056" y="12032"/>
                    <a:pt x="3041" y="12044"/>
                    <a:pt x="3026" y="12044"/>
                  </a:cubicBezTo>
                  <a:cubicBezTo>
                    <a:pt x="3012" y="12047"/>
                    <a:pt x="2983" y="12037"/>
                    <a:pt x="2962" y="12021"/>
                  </a:cubicBezTo>
                  <a:cubicBezTo>
                    <a:pt x="2941" y="12006"/>
                    <a:pt x="2919" y="11995"/>
                    <a:pt x="2913" y="11997"/>
                  </a:cubicBezTo>
                  <a:cubicBezTo>
                    <a:pt x="2908" y="12001"/>
                    <a:pt x="2898" y="12009"/>
                    <a:pt x="2896" y="12019"/>
                  </a:cubicBezTo>
                  <a:cubicBezTo>
                    <a:pt x="2892" y="12029"/>
                    <a:pt x="2907" y="12054"/>
                    <a:pt x="2929" y="12076"/>
                  </a:cubicBezTo>
                  <a:cubicBezTo>
                    <a:pt x="2952" y="12096"/>
                    <a:pt x="2980" y="12122"/>
                    <a:pt x="2994" y="12129"/>
                  </a:cubicBezTo>
                  <a:cubicBezTo>
                    <a:pt x="3008" y="12135"/>
                    <a:pt x="3029" y="12138"/>
                    <a:pt x="3042" y="12134"/>
                  </a:cubicBezTo>
                  <a:cubicBezTo>
                    <a:pt x="3055" y="12130"/>
                    <a:pt x="3080" y="12119"/>
                    <a:pt x="3096" y="12109"/>
                  </a:cubicBezTo>
                  <a:cubicBezTo>
                    <a:pt x="3113" y="12099"/>
                    <a:pt x="3131" y="12095"/>
                    <a:pt x="3138" y="12097"/>
                  </a:cubicBezTo>
                  <a:cubicBezTo>
                    <a:pt x="3144" y="12101"/>
                    <a:pt x="3133" y="12119"/>
                    <a:pt x="3115" y="12140"/>
                  </a:cubicBezTo>
                  <a:cubicBezTo>
                    <a:pt x="3095" y="12159"/>
                    <a:pt x="3069" y="12185"/>
                    <a:pt x="3054" y="12192"/>
                  </a:cubicBezTo>
                  <a:cubicBezTo>
                    <a:pt x="3038" y="12199"/>
                    <a:pt x="3006" y="12203"/>
                    <a:pt x="2981" y="12201"/>
                  </a:cubicBezTo>
                  <a:cubicBezTo>
                    <a:pt x="2956" y="12198"/>
                    <a:pt x="2922" y="12185"/>
                    <a:pt x="2903" y="12176"/>
                  </a:cubicBezTo>
                  <a:cubicBezTo>
                    <a:pt x="2885" y="12165"/>
                    <a:pt x="2852" y="12148"/>
                    <a:pt x="2829" y="12140"/>
                  </a:cubicBezTo>
                  <a:cubicBezTo>
                    <a:pt x="2807" y="12133"/>
                    <a:pt x="2775" y="12114"/>
                    <a:pt x="2761" y="12098"/>
                  </a:cubicBezTo>
                  <a:cubicBezTo>
                    <a:pt x="2745" y="12085"/>
                    <a:pt x="2728" y="12038"/>
                    <a:pt x="2722" y="11997"/>
                  </a:cubicBezTo>
                  <a:cubicBezTo>
                    <a:pt x="2715" y="11957"/>
                    <a:pt x="2700" y="11915"/>
                    <a:pt x="2691" y="11903"/>
                  </a:cubicBezTo>
                  <a:cubicBezTo>
                    <a:pt x="2682" y="11891"/>
                    <a:pt x="2659" y="11883"/>
                    <a:pt x="2642" y="11884"/>
                  </a:cubicBezTo>
                  <a:cubicBezTo>
                    <a:pt x="2624" y="11885"/>
                    <a:pt x="2598" y="11883"/>
                    <a:pt x="2583" y="11879"/>
                  </a:cubicBezTo>
                  <a:cubicBezTo>
                    <a:pt x="2569" y="11875"/>
                    <a:pt x="2540" y="11870"/>
                    <a:pt x="2519" y="11867"/>
                  </a:cubicBezTo>
                  <a:cubicBezTo>
                    <a:pt x="2498" y="11865"/>
                    <a:pt x="2460" y="11869"/>
                    <a:pt x="2435" y="11872"/>
                  </a:cubicBezTo>
                  <a:cubicBezTo>
                    <a:pt x="2409" y="11878"/>
                    <a:pt x="2381" y="11875"/>
                    <a:pt x="2372" y="11872"/>
                  </a:cubicBezTo>
                  <a:cubicBezTo>
                    <a:pt x="2363" y="11867"/>
                    <a:pt x="2340" y="11866"/>
                    <a:pt x="2322" y="11868"/>
                  </a:cubicBezTo>
                  <a:cubicBezTo>
                    <a:pt x="2303" y="11872"/>
                    <a:pt x="2265" y="11874"/>
                    <a:pt x="2238" y="11878"/>
                  </a:cubicBezTo>
                  <a:cubicBezTo>
                    <a:pt x="2211" y="11881"/>
                    <a:pt x="2172" y="11872"/>
                    <a:pt x="2151" y="11860"/>
                  </a:cubicBezTo>
                  <a:cubicBezTo>
                    <a:pt x="2131" y="11848"/>
                    <a:pt x="2094" y="11841"/>
                    <a:pt x="2069" y="11844"/>
                  </a:cubicBezTo>
                  <a:cubicBezTo>
                    <a:pt x="2044" y="11847"/>
                    <a:pt x="2011" y="11849"/>
                    <a:pt x="1995" y="11847"/>
                  </a:cubicBezTo>
                  <a:cubicBezTo>
                    <a:pt x="1979" y="11845"/>
                    <a:pt x="1953" y="11848"/>
                    <a:pt x="1940" y="11858"/>
                  </a:cubicBezTo>
                  <a:cubicBezTo>
                    <a:pt x="1926" y="11865"/>
                    <a:pt x="1893" y="11880"/>
                    <a:pt x="1867" y="11888"/>
                  </a:cubicBezTo>
                  <a:cubicBezTo>
                    <a:pt x="1840" y="11897"/>
                    <a:pt x="1789" y="11927"/>
                    <a:pt x="1754" y="11955"/>
                  </a:cubicBezTo>
                  <a:cubicBezTo>
                    <a:pt x="1720" y="11984"/>
                    <a:pt x="1688" y="12016"/>
                    <a:pt x="1685" y="12027"/>
                  </a:cubicBezTo>
                  <a:cubicBezTo>
                    <a:pt x="1681" y="12039"/>
                    <a:pt x="1689" y="12053"/>
                    <a:pt x="1699" y="12060"/>
                  </a:cubicBezTo>
                  <a:cubicBezTo>
                    <a:pt x="1710" y="12065"/>
                    <a:pt x="1730" y="12080"/>
                    <a:pt x="1741" y="12095"/>
                  </a:cubicBezTo>
                  <a:cubicBezTo>
                    <a:pt x="1753" y="12108"/>
                    <a:pt x="1767" y="12140"/>
                    <a:pt x="1770" y="12164"/>
                  </a:cubicBezTo>
                  <a:cubicBezTo>
                    <a:pt x="1777" y="12188"/>
                    <a:pt x="1774" y="12221"/>
                    <a:pt x="1767" y="12234"/>
                  </a:cubicBezTo>
                  <a:cubicBezTo>
                    <a:pt x="1761" y="12249"/>
                    <a:pt x="1772" y="12275"/>
                    <a:pt x="1794" y="12289"/>
                  </a:cubicBezTo>
                  <a:cubicBezTo>
                    <a:pt x="1813" y="12307"/>
                    <a:pt x="1862" y="12320"/>
                    <a:pt x="1898" y="12321"/>
                  </a:cubicBezTo>
                  <a:cubicBezTo>
                    <a:pt x="1934" y="12323"/>
                    <a:pt x="2001" y="12331"/>
                    <a:pt x="2047" y="12337"/>
                  </a:cubicBezTo>
                  <a:cubicBezTo>
                    <a:pt x="2093" y="12344"/>
                    <a:pt x="2153" y="12357"/>
                    <a:pt x="2179" y="12367"/>
                  </a:cubicBezTo>
                  <a:cubicBezTo>
                    <a:pt x="2207" y="12376"/>
                    <a:pt x="2235" y="12399"/>
                    <a:pt x="2238" y="12420"/>
                  </a:cubicBezTo>
                  <a:cubicBezTo>
                    <a:pt x="2247" y="12438"/>
                    <a:pt x="2246" y="12465"/>
                    <a:pt x="2244" y="12476"/>
                  </a:cubicBezTo>
                  <a:cubicBezTo>
                    <a:pt x="2244" y="12487"/>
                    <a:pt x="2253" y="12501"/>
                    <a:pt x="2268" y="12503"/>
                  </a:cubicBezTo>
                  <a:cubicBezTo>
                    <a:pt x="2282" y="12508"/>
                    <a:pt x="2313" y="12507"/>
                    <a:pt x="2336" y="12501"/>
                  </a:cubicBezTo>
                  <a:cubicBezTo>
                    <a:pt x="2359" y="12496"/>
                    <a:pt x="2388" y="12503"/>
                    <a:pt x="2402" y="12516"/>
                  </a:cubicBezTo>
                  <a:cubicBezTo>
                    <a:pt x="2415" y="12530"/>
                    <a:pt x="2445" y="12539"/>
                    <a:pt x="2467" y="12537"/>
                  </a:cubicBezTo>
                  <a:cubicBezTo>
                    <a:pt x="2489" y="12535"/>
                    <a:pt x="2519" y="12528"/>
                    <a:pt x="2534" y="12519"/>
                  </a:cubicBezTo>
                  <a:cubicBezTo>
                    <a:pt x="2549" y="12512"/>
                    <a:pt x="2571" y="12511"/>
                    <a:pt x="2579" y="12523"/>
                  </a:cubicBezTo>
                  <a:cubicBezTo>
                    <a:pt x="2592" y="12530"/>
                    <a:pt x="2617" y="12537"/>
                    <a:pt x="2640" y="12533"/>
                  </a:cubicBezTo>
                  <a:cubicBezTo>
                    <a:pt x="2663" y="12529"/>
                    <a:pt x="2696" y="12517"/>
                    <a:pt x="2713" y="12506"/>
                  </a:cubicBezTo>
                  <a:cubicBezTo>
                    <a:pt x="2731" y="12495"/>
                    <a:pt x="2756" y="12493"/>
                    <a:pt x="2767" y="12504"/>
                  </a:cubicBezTo>
                  <a:cubicBezTo>
                    <a:pt x="2777" y="12518"/>
                    <a:pt x="2811" y="12520"/>
                    <a:pt x="2835" y="12515"/>
                  </a:cubicBezTo>
                  <a:cubicBezTo>
                    <a:pt x="2860" y="12510"/>
                    <a:pt x="2902" y="12491"/>
                    <a:pt x="2929" y="12471"/>
                  </a:cubicBezTo>
                  <a:cubicBezTo>
                    <a:pt x="2954" y="12450"/>
                    <a:pt x="2997" y="12429"/>
                    <a:pt x="3023" y="12422"/>
                  </a:cubicBezTo>
                  <a:cubicBezTo>
                    <a:pt x="3048" y="12414"/>
                    <a:pt x="3081" y="12411"/>
                    <a:pt x="3094" y="12413"/>
                  </a:cubicBezTo>
                  <a:cubicBezTo>
                    <a:pt x="3108" y="12415"/>
                    <a:pt x="3118" y="12430"/>
                    <a:pt x="3118" y="12446"/>
                  </a:cubicBezTo>
                  <a:cubicBezTo>
                    <a:pt x="3118" y="12462"/>
                    <a:pt x="3101" y="12478"/>
                    <a:pt x="3083" y="12480"/>
                  </a:cubicBezTo>
                  <a:cubicBezTo>
                    <a:pt x="3064" y="12485"/>
                    <a:pt x="3033" y="12494"/>
                    <a:pt x="3012" y="12503"/>
                  </a:cubicBezTo>
                  <a:cubicBezTo>
                    <a:pt x="2992" y="12512"/>
                    <a:pt x="2974" y="12528"/>
                    <a:pt x="2972" y="12538"/>
                  </a:cubicBezTo>
                  <a:cubicBezTo>
                    <a:pt x="2969" y="12548"/>
                    <a:pt x="2981" y="12553"/>
                    <a:pt x="2998" y="12551"/>
                  </a:cubicBezTo>
                  <a:cubicBezTo>
                    <a:pt x="3015" y="12546"/>
                    <a:pt x="3037" y="12553"/>
                    <a:pt x="3047" y="12564"/>
                  </a:cubicBezTo>
                  <a:cubicBezTo>
                    <a:pt x="3058" y="12575"/>
                    <a:pt x="3049" y="12595"/>
                    <a:pt x="3028" y="12609"/>
                  </a:cubicBezTo>
                  <a:cubicBezTo>
                    <a:pt x="3007" y="12622"/>
                    <a:pt x="2988" y="12640"/>
                    <a:pt x="2985" y="12648"/>
                  </a:cubicBezTo>
                  <a:cubicBezTo>
                    <a:pt x="2981" y="12655"/>
                    <a:pt x="2962" y="12671"/>
                    <a:pt x="2941" y="12682"/>
                  </a:cubicBezTo>
                  <a:cubicBezTo>
                    <a:pt x="2919" y="12691"/>
                    <a:pt x="2890" y="12713"/>
                    <a:pt x="2875" y="12728"/>
                  </a:cubicBezTo>
                  <a:cubicBezTo>
                    <a:pt x="2859" y="12743"/>
                    <a:pt x="2823" y="12771"/>
                    <a:pt x="2793" y="12786"/>
                  </a:cubicBezTo>
                  <a:cubicBezTo>
                    <a:pt x="2764" y="12802"/>
                    <a:pt x="2730" y="12823"/>
                    <a:pt x="2719" y="12834"/>
                  </a:cubicBezTo>
                  <a:cubicBezTo>
                    <a:pt x="2708" y="12844"/>
                    <a:pt x="2703" y="12859"/>
                    <a:pt x="2710" y="12863"/>
                  </a:cubicBezTo>
                  <a:cubicBezTo>
                    <a:pt x="2716" y="12869"/>
                    <a:pt x="2740" y="12868"/>
                    <a:pt x="2763" y="12864"/>
                  </a:cubicBezTo>
                  <a:cubicBezTo>
                    <a:pt x="2787" y="12860"/>
                    <a:pt x="2819" y="12856"/>
                    <a:pt x="2835" y="12857"/>
                  </a:cubicBezTo>
                  <a:cubicBezTo>
                    <a:pt x="2851" y="12859"/>
                    <a:pt x="2865" y="12868"/>
                    <a:pt x="2866" y="12878"/>
                  </a:cubicBezTo>
                  <a:cubicBezTo>
                    <a:pt x="2867" y="12888"/>
                    <a:pt x="2854" y="12901"/>
                    <a:pt x="2837" y="12903"/>
                  </a:cubicBezTo>
                  <a:cubicBezTo>
                    <a:pt x="2819" y="12908"/>
                    <a:pt x="2791" y="12915"/>
                    <a:pt x="2774" y="12922"/>
                  </a:cubicBezTo>
                  <a:cubicBezTo>
                    <a:pt x="2757" y="12928"/>
                    <a:pt x="2738" y="12931"/>
                    <a:pt x="2732" y="12931"/>
                  </a:cubicBezTo>
                  <a:cubicBezTo>
                    <a:pt x="2726" y="12929"/>
                    <a:pt x="2707" y="12939"/>
                    <a:pt x="2689" y="12952"/>
                  </a:cubicBezTo>
                  <a:cubicBezTo>
                    <a:pt x="2672" y="12965"/>
                    <a:pt x="2635" y="13000"/>
                    <a:pt x="2609" y="13032"/>
                  </a:cubicBezTo>
                  <a:cubicBezTo>
                    <a:pt x="2582" y="13063"/>
                    <a:pt x="2549" y="13091"/>
                    <a:pt x="2535" y="13095"/>
                  </a:cubicBezTo>
                  <a:cubicBezTo>
                    <a:pt x="2522" y="13099"/>
                    <a:pt x="2499" y="13116"/>
                    <a:pt x="2483" y="13130"/>
                  </a:cubicBezTo>
                  <a:cubicBezTo>
                    <a:pt x="2467" y="13146"/>
                    <a:pt x="2453" y="13168"/>
                    <a:pt x="2449" y="13178"/>
                  </a:cubicBezTo>
                  <a:cubicBezTo>
                    <a:pt x="2445" y="13189"/>
                    <a:pt x="2461" y="13196"/>
                    <a:pt x="2483" y="13195"/>
                  </a:cubicBezTo>
                  <a:cubicBezTo>
                    <a:pt x="2505" y="13193"/>
                    <a:pt x="2534" y="13189"/>
                    <a:pt x="2547" y="13189"/>
                  </a:cubicBezTo>
                  <a:cubicBezTo>
                    <a:pt x="2560" y="13188"/>
                    <a:pt x="2581" y="13179"/>
                    <a:pt x="2593" y="13170"/>
                  </a:cubicBezTo>
                  <a:cubicBezTo>
                    <a:pt x="2606" y="13164"/>
                    <a:pt x="2623" y="13156"/>
                    <a:pt x="2631" y="13158"/>
                  </a:cubicBezTo>
                  <a:cubicBezTo>
                    <a:pt x="2640" y="13161"/>
                    <a:pt x="2649" y="13172"/>
                    <a:pt x="2656" y="13179"/>
                  </a:cubicBezTo>
                  <a:cubicBezTo>
                    <a:pt x="2661" y="13189"/>
                    <a:pt x="2677" y="13193"/>
                    <a:pt x="2691" y="13190"/>
                  </a:cubicBezTo>
                  <a:cubicBezTo>
                    <a:pt x="2705" y="13187"/>
                    <a:pt x="2728" y="13185"/>
                    <a:pt x="2739" y="13190"/>
                  </a:cubicBezTo>
                  <a:cubicBezTo>
                    <a:pt x="2751" y="13193"/>
                    <a:pt x="2758" y="13204"/>
                    <a:pt x="2759" y="13213"/>
                  </a:cubicBezTo>
                  <a:cubicBezTo>
                    <a:pt x="2759" y="13222"/>
                    <a:pt x="2734" y="13236"/>
                    <a:pt x="2705" y="13249"/>
                  </a:cubicBezTo>
                  <a:cubicBezTo>
                    <a:pt x="2675" y="13258"/>
                    <a:pt x="2632" y="13274"/>
                    <a:pt x="2609" y="13282"/>
                  </a:cubicBezTo>
                  <a:cubicBezTo>
                    <a:pt x="2585" y="13289"/>
                    <a:pt x="2563" y="13302"/>
                    <a:pt x="2563" y="13310"/>
                  </a:cubicBezTo>
                  <a:cubicBezTo>
                    <a:pt x="2559" y="13316"/>
                    <a:pt x="2589" y="13318"/>
                    <a:pt x="2625" y="13314"/>
                  </a:cubicBezTo>
                  <a:cubicBezTo>
                    <a:pt x="2660" y="13308"/>
                    <a:pt x="2701" y="13309"/>
                    <a:pt x="2715" y="13314"/>
                  </a:cubicBezTo>
                  <a:cubicBezTo>
                    <a:pt x="2730" y="13318"/>
                    <a:pt x="2741" y="13334"/>
                    <a:pt x="2742" y="13347"/>
                  </a:cubicBezTo>
                  <a:cubicBezTo>
                    <a:pt x="2741" y="13359"/>
                    <a:pt x="2732" y="13372"/>
                    <a:pt x="2719" y="13375"/>
                  </a:cubicBezTo>
                  <a:cubicBezTo>
                    <a:pt x="2705" y="13378"/>
                    <a:pt x="2685" y="13379"/>
                    <a:pt x="2674" y="13377"/>
                  </a:cubicBezTo>
                  <a:cubicBezTo>
                    <a:pt x="2663" y="13375"/>
                    <a:pt x="2648" y="13380"/>
                    <a:pt x="2644" y="13387"/>
                  </a:cubicBezTo>
                  <a:cubicBezTo>
                    <a:pt x="2639" y="13394"/>
                    <a:pt x="2620" y="13401"/>
                    <a:pt x="2604" y="13405"/>
                  </a:cubicBezTo>
                  <a:cubicBezTo>
                    <a:pt x="2588" y="13407"/>
                    <a:pt x="2567" y="13404"/>
                    <a:pt x="2559" y="13397"/>
                  </a:cubicBezTo>
                  <a:cubicBezTo>
                    <a:pt x="2550" y="13391"/>
                    <a:pt x="2528" y="13387"/>
                    <a:pt x="2509" y="13393"/>
                  </a:cubicBezTo>
                  <a:cubicBezTo>
                    <a:pt x="2491" y="13398"/>
                    <a:pt x="2456" y="13401"/>
                    <a:pt x="2433" y="13404"/>
                  </a:cubicBezTo>
                  <a:cubicBezTo>
                    <a:pt x="2410" y="13404"/>
                    <a:pt x="2392" y="13397"/>
                    <a:pt x="2395" y="13385"/>
                  </a:cubicBezTo>
                  <a:cubicBezTo>
                    <a:pt x="2396" y="13374"/>
                    <a:pt x="2405" y="13357"/>
                    <a:pt x="2413" y="13350"/>
                  </a:cubicBezTo>
                  <a:cubicBezTo>
                    <a:pt x="2421" y="13342"/>
                    <a:pt x="2421" y="13317"/>
                    <a:pt x="2410" y="13299"/>
                  </a:cubicBezTo>
                  <a:cubicBezTo>
                    <a:pt x="2400" y="13281"/>
                    <a:pt x="2386" y="13261"/>
                    <a:pt x="2378" y="13258"/>
                  </a:cubicBezTo>
                  <a:cubicBezTo>
                    <a:pt x="2369" y="13257"/>
                    <a:pt x="2352" y="13257"/>
                    <a:pt x="2340" y="13265"/>
                  </a:cubicBezTo>
                  <a:cubicBezTo>
                    <a:pt x="2327" y="13271"/>
                    <a:pt x="2317" y="13295"/>
                    <a:pt x="2313" y="13316"/>
                  </a:cubicBezTo>
                  <a:cubicBezTo>
                    <a:pt x="2312" y="13338"/>
                    <a:pt x="2287" y="13396"/>
                    <a:pt x="2260" y="13446"/>
                  </a:cubicBezTo>
                  <a:cubicBezTo>
                    <a:pt x="2233" y="13496"/>
                    <a:pt x="2197" y="13556"/>
                    <a:pt x="2177" y="13577"/>
                  </a:cubicBezTo>
                  <a:cubicBezTo>
                    <a:pt x="2158" y="13600"/>
                    <a:pt x="2145" y="13628"/>
                    <a:pt x="2152" y="13634"/>
                  </a:cubicBezTo>
                  <a:cubicBezTo>
                    <a:pt x="2156" y="13644"/>
                    <a:pt x="2170" y="13649"/>
                    <a:pt x="2183" y="13646"/>
                  </a:cubicBezTo>
                  <a:cubicBezTo>
                    <a:pt x="2196" y="13645"/>
                    <a:pt x="2226" y="13626"/>
                    <a:pt x="2250" y="13608"/>
                  </a:cubicBezTo>
                  <a:cubicBezTo>
                    <a:pt x="2275" y="13589"/>
                    <a:pt x="2300" y="13578"/>
                    <a:pt x="2306" y="13576"/>
                  </a:cubicBezTo>
                  <a:cubicBezTo>
                    <a:pt x="2312" y="13577"/>
                    <a:pt x="2306" y="13588"/>
                    <a:pt x="2297" y="13604"/>
                  </a:cubicBezTo>
                  <a:cubicBezTo>
                    <a:pt x="2286" y="13619"/>
                    <a:pt x="2261" y="13643"/>
                    <a:pt x="2240" y="13656"/>
                  </a:cubicBezTo>
                  <a:cubicBezTo>
                    <a:pt x="2219" y="13671"/>
                    <a:pt x="2193" y="13695"/>
                    <a:pt x="2179" y="13705"/>
                  </a:cubicBezTo>
                  <a:cubicBezTo>
                    <a:pt x="2165" y="13717"/>
                    <a:pt x="2143" y="13737"/>
                    <a:pt x="2127" y="13746"/>
                  </a:cubicBezTo>
                  <a:cubicBezTo>
                    <a:pt x="2112" y="13756"/>
                    <a:pt x="2094" y="13773"/>
                    <a:pt x="2093" y="13787"/>
                  </a:cubicBezTo>
                  <a:cubicBezTo>
                    <a:pt x="2091" y="13800"/>
                    <a:pt x="2061" y="13813"/>
                    <a:pt x="2031" y="13817"/>
                  </a:cubicBezTo>
                  <a:cubicBezTo>
                    <a:pt x="2000" y="13820"/>
                    <a:pt x="1954" y="13827"/>
                    <a:pt x="1929" y="13833"/>
                  </a:cubicBezTo>
                  <a:cubicBezTo>
                    <a:pt x="1903" y="13838"/>
                    <a:pt x="1863" y="13853"/>
                    <a:pt x="1838" y="13858"/>
                  </a:cubicBezTo>
                  <a:cubicBezTo>
                    <a:pt x="1813" y="13867"/>
                    <a:pt x="1787" y="13869"/>
                    <a:pt x="1779" y="13866"/>
                  </a:cubicBezTo>
                  <a:cubicBezTo>
                    <a:pt x="1772" y="13861"/>
                    <a:pt x="1739" y="13862"/>
                    <a:pt x="1707" y="13867"/>
                  </a:cubicBezTo>
                  <a:cubicBezTo>
                    <a:pt x="1675" y="13871"/>
                    <a:pt x="1634" y="13887"/>
                    <a:pt x="1615" y="13899"/>
                  </a:cubicBezTo>
                  <a:cubicBezTo>
                    <a:pt x="1597" y="13911"/>
                    <a:pt x="1547" y="13939"/>
                    <a:pt x="1506" y="13963"/>
                  </a:cubicBezTo>
                  <a:cubicBezTo>
                    <a:pt x="1465" y="13986"/>
                    <a:pt x="1401" y="14019"/>
                    <a:pt x="1364" y="14035"/>
                  </a:cubicBezTo>
                  <a:cubicBezTo>
                    <a:pt x="1327" y="14052"/>
                    <a:pt x="1303" y="14066"/>
                    <a:pt x="1306" y="14071"/>
                  </a:cubicBezTo>
                  <a:cubicBezTo>
                    <a:pt x="1311" y="14074"/>
                    <a:pt x="1338" y="14069"/>
                    <a:pt x="1366" y="14057"/>
                  </a:cubicBezTo>
                  <a:cubicBezTo>
                    <a:pt x="1395" y="14047"/>
                    <a:pt x="1432" y="14034"/>
                    <a:pt x="1447" y="14030"/>
                  </a:cubicBezTo>
                  <a:cubicBezTo>
                    <a:pt x="1463" y="14025"/>
                    <a:pt x="1463" y="14031"/>
                    <a:pt x="1451" y="14045"/>
                  </a:cubicBezTo>
                  <a:cubicBezTo>
                    <a:pt x="1437" y="14057"/>
                    <a:pt x="1413" y="14077"/>
                    <a:pt x="1396" y="14088"/>
                  </a:cubicBezTo>
                  <a:cubicBezTo>
                    <a:pt x="1381" y="14100"/>
                    <a:pt x="1368" y="14117"/>
                    <a:pt x="1372" y="14125"/>
                  </a:cubicBezTo>
                  <a:cubicBezTo>
                    <a:pt x="1373" y="14135"/>
                    <a:pt x="1393" y="14143"/>
                    <a:pt x="1413" y="14148"/>
                  </a:cubicBezTo>
                  <a:cubicBezTo>
                    <a:pt x="1432" y="14148"/>
                    <a:pt x="1456" y="14164"/>
                    <a:pt x="1466" y="14177"/>
                  </a:cubicBezTo>
                  <a:cubicBezTo>
                    <a:pt x="1476" y="14190"/>
                    <a:pt x="1505" y="14192"/>
                    <a:pt x="1532" y="14179"/>
                  </a:cubicBezTo>
                  <a:cubicBezTo>
                    <a:pt x="1559" y="14168"/>
                    <a:pt x="1598" y="14157"/>
                    <a:pt x="1619" y="14157"/>
                  </a:cubicBezTo>
                  <a:cubicBezTo>
                    <a:pt x="1640" y="14156"/>
                    <a:pt x="1667" y="14150"/>
                    <a:pt x="1679" y="14144"/>
                  </a:cubicBezTo>
                  <a:cubicBezTo>
                    <a:pt x="1691" y="14137"/>
                    <a:pt x="1728" y="14126"/>
                    <a:pt x="1761" y="14120"/>
                  </a:cubicBezTo>
                  <a:cubicBezTo>
                    <a:pt x="1794" y="14113"/>
                    <a:pt x="1830" y="14098"/>
                    <a:pt x="1842" y="14089"/>
                  </a:cubicBezTo>
                  <a:cubicBezTo>
                    <a:pt x="1851" y="14076"/>
                    <a:pt x="1848" y="14061"/>
                    <a:pt x="1829" y="14052"/>
                  </a:cubicBezTo>
                  <a:cubicBezTo>
                    <a:pt x="1812" y="14041"/>
                    <a:pt x="1795" y="14027"/>
                    <a:pt x="1788" y="14024"/>
                  </a:cubicBezTo>
                  <a:cubicBezTo>
                    <a:pt x="1785" y="14017"/>
                    <a:pt x="1791" y="14005"/>
                    <a:pt x="1802" y="13992"/>
                  </a:cubicBezTo>
                  <a:cubicBezTo>
                    <a:pt x="1814" y="13980"/>
                    <a:pt x="1855" y="13966"/>
                    <a:pt x="1893" y="13956"/>
                  </a:cubicBezTo>
                  <a:cubicBezTo>
                    <a:pt x="1931" y="13948"/>
                    <a:pt x="1979" y="13933"/>
                    <a:pt x="1999" y="13923"/>
                  </a:cubicBezTo>
                  <a:cubicBezTo>
                    <a:pt x="2018" y="13911"/>
                    <a:pt x="2050" y="13904"/>
                    <a:pt x="2068" y="13901"/>
                  </a:cubicBezTo>
                  <a:cubicBezTo>
                    <a:pt x="2087" y="13899"/>
                    <a:pt x="2104" y="13902"/>
                    <a:pt x="2101" y="13907"/>
                  </a:cubicBezTo>
                  <a:cubicBezTo>
                    <a:pt x="2101" y="13911"/>
                    <a:pt x="2090" y="13922"/>
                    <a:pt x="2077" y="13930"/>
                  </a:cubicBezTo>
                  <a:cubicBezTo>
                    <a:pt x="2064" y="13939"/>
                    <a:pt x="2043" y="13959"/>
                    <a:pt x="2030" y="13978"/>
                  </a:cubicBezTo>
                  <a:cubicBezTo>
                    <a:pt x="2016" y="13996"/>
                    <a:pt x="2001" y="14024"/>
                    <a:pt x="1996" y="14040"/>
                  </a:cubicBezTo>
                  <a:cubicBezTo>
                    <a:pt x="1989" y="14055"/>
                    <a:pt x="1956" y="14084"/>
                    <a:pt x="1919" y="14100"/>
                  </a:cubicBezTo>
                  <a:cubicBezTo>
                    <a:pt x="1884" y="14119"/>
                    <a:pt x="1850" y="14140"/>
                    <a:pt x="1846" y="14150"/>
                  </a:cubicBezTo>
                  <a:cubicBezTo>
                    <a:pt x="1842" y="14160"/>
                    <a:pt x="1838" y="14177"/>
                    <a:pt x="1843" y="14186"/>
                  </a:cubicBezTo>
                  <a:cubicBezTo>
                    <a:pt x="1844" y="14197"/>
                    <a:pt x="1889" y="14230"/>
                    <a:pt x="1939" y="14257"/>
                  </a:cubicBezTo>
                  <a:cubicBezTo>
                    <a:pt x="1988" y="14287"/>
                    <a:pt x="2046" y="14320"/>
                    <a:pt x="2066" y="14336"/>
                  </a:cubicBezTo>
                  <a:cubicBezTo>
                    <a:pt x="2085" y="14351"/>
                    <a:pt x="2099" y="14369"/>
                    <a:pt x="2100" y="14377"/>
                  </a:cubicBezTo>
                  <a:cubicBezTo>
                    <a:pt x="2099" y="14384"/>
                    <a:pt x="2082" y="14394"/>
                    <a:pt x="2062" y="14399"/>
                  </a:cubicBezTo>
                  <a:cubicBezTo>
                    <a:pt x="2041" y="14402"/>
                    <a:pt x="2020" y="14403"/>
                    <a:pt x="2018" y="14397"/>
                  </a:cubicBezTo>
                  <a:cubicBezTo>
                    <a:pt x="2015" y="14392"/>
                    <a:pt x="1992" y="14387"/>
                    <a:pt x="1970" y="14380"/>
                  </a:cubicBezTo>
                  <a:cubicBezTo>
                    <a:pt x="1947" y="14378"/>
                    <a:pt x="1906" y="14366"/>
                    <a:pt x="1880" y="14355"/>
                  </a:cubicBezTo>
                  <a:cubicBezTo>
                    <a:pt x="1853" y="14346"/>
                    <a:pt x="1822" y="14331"/>
                    <a:pt x="1812" y="14321"/>
                  </a:cubicBezTo>
                  <a:cubicBezTo>
                    <a:pt x="1801" y="14313"/>
                    <a:pt x="1770" y="14310"/>
                    <a:pt x="1742" y="14318"/>
                  </a:cubicBezTo>
                  <a:cubicBezTo>
                    <a:pt x="1715" y="14326"/>
                    <a:pt x="1681" y="14336"/>
                    <a:pt x="1669" y="14346"/>
                  </a:cubicBezTo>
                  <a:cubicBezTo>
                    <a:pt x="1656" y="14355"/>
                    <a:pt x="1630" y="14369"/>
                    <a:pt x="1610" y="14374"/>
                  </a:cubicBezTo>
                  <a:cubicBezTo>
                    <a:pt x="1590" y="14381"/>
                    <a:pt x="1539" y="14374"/>
                    <a:pt x="1494" y="14360"/>
                  </a:cubicBezTo>
                  <a:cubicBezTo>
                    <a:pt x="1450" y="14343"/>
                    <a:pt x="1413" y="14319"/>
                    <a:pt x="1407" y="14307"/>
                  </a:cubicBezTo>
                  <a:cubicBezTo>
                    <a:pt x="1403" y="14293"/>
                    <a:pt x="1389" y="14273"/>
                    <a:pt x="1379" y="14259"/>
                  </a:cubicBezTo>
                  <a:cubicBezTo>
                    <a:pt x="1366" y="14248"/>
                    <a:pt x="1350" y="14240"/>
                    <a:pt x="1343" y="14236"/>
                  </a:cubicBezTo>
                  <a:cubicBezTo>
                    <a:pt x="1336" y="14238"/>
                    <a:pt x="1330" y="14251"/>
                    <a:pt x="1333" y="14271"/>
                  </a:cubicBezTo>
                  <a:cubicBezTo>
                    <a:pt x="1335" y="14290"/>
                    <a:pt x="1343" y="14317"/>
                    <a:pt x="1347" y="14332"/>
                  </a:cubicBezTo>
                  <a:cubicBezTo>
                    <a:pt x="1355" y="14345"/>
                    <a:pt x="1354" y="14364"/>
                    <a:pt x="1348" y="14371"/>
                  </a:cubicBezTo>
                  <a:cubicBezTo>
                    <a:pt x="1344" y="14380"/>
                    <a:pt x="1317" y="14377"/>
                    <a:pt x="1297" y="14357"/>
                  </a:cubicBezTo>
                  <a:cubicBezTo>
                    <a:pt x="1275" y="14344"/>
                    <a:pt x="1242" y="14309"/>
                    <a:pt x="1222" y="14285"/>
                  </a:cubicBezTo>
                  <a:cubicBezTo>
                    <a:pt x="1205" y="14257"/>
                    <a:pt x="1161" y="14241"/>
                    <a:pt x="1131" y="14237"/>
                  </a:cubicBezTo>
                  <a:cubicBezTo>
                    <a:pt x="1101" y="14238"/>
                    <a:pt x="1065" y="14239"/>
                    <a:pt x="1052" y="14248"/>
                  </a:cubicBezTo>
                  <a:cubicBezTo>
                    <a:pt x="1039" y="14255"/>
                    <a:pt x="1030" y="14270"/>
                    <a:pt x="1031" y="14279"/>
                  </a:cubicBezTo>
                  <a:cubicBezTo>
                    <a:pt x="1035" y="14287"/>
                    <a:pt x="1046" y="14297"/>
                    <a:pt x="1061" y="14301"/>
                  </a:cubicBezTo>
                  <a:cubicBezTo>
                    <a:pt x="1076" y="14303"/>
                    <a:pt x="1090" y="14319"/>
                    <a:pt x="1091" y="14336"/>
                  </a:cubicBezTo>
                  <a:cubicBezTo>
                    <a:pt x="1091" y="14354"/>
                    <a:pt x="1117" y="14386"/>
                    <a:pt x="1148" y="14405"/>
                  </a:cubicBezTo>
                  <a:cubicBezTo>
                    <a:pt x="1178" y="14424"/>
                    <a:pt x="1213" y="14448"/>
                    <a:pt x="1226" y="14454"/>
                  </a:cubicBezTo>
                  <a:cubicBezTo>
                    <a:pt x="1239" y="14461"/>
                    <a:pt x="1262" y="14463"/>
                    <a:pt x="1276" y="14459"/>
                  </a:cubicBezTo>
                  <a:cubicBezTo>
                    <a:pt x="1289" y="14454"/>
                    <a:pt x="1315" y="14453"/>
                    <a:pt x="1333" y="14452"/>
                  </a:cubicBezTo>
                  <a:cubicBezTo>
                    <a:pt x="1350" y="14453"/>
                    <a:pt x="1364" y="14460"/>
                    <a:pt x="1368" y="14466"/>
                  </a:cubicBezTo>
                  <a:cubicBezTo>
                    <a:pt x="1368" y="14475"/>
                    <a:pt x="1339" y="14488"/>
                    <a:pt x="1298" y="14497"/>
                  </a:cubicBezTo>
                  <a:cubicBezTo>
                    <a:pt x="1257" y="14507"/>
                    <a:pt x="1203" y="14509"/>
                    <a:pt x="1178" y="14506"/>
                  </a:cubicBezTo>
                  <a:cubicBezTo>
                    <a:pt x="1152" y="14504"/>
                    <a:pt x="1117" y="14489"/>
                    <a:pt x="1098" y="14480"/>
                  </a:cubicBezTo>
                  <a:cubicBezTo>
                    <a:pt x="1079" y="14471"/>
                    <a:pt x="1055" y="14464"/>
                    <a:pt x="1044" y="14465"/>
                  </a:cubicBezTo>
                  <a:cubicBezTo>
                    <a:pt x="1033" y="14466"/>
                    <a:pt x="1015" y="14481"/>
                    <a:pt x="1001" y="14498"/>
                  </a:cubicBezTo>
                  <a:cubicBezTo>
                    <a:pt x="990" y="14515"/>
                    <a:pt x="978" y="14539"/>
                    <a:pt x="974" y="14551"/>
                  </a:cubicBezTo>
                  <a:cubicBezTo>
                    <a:pt x="972" y="14563"/>
                    <a:pt x="954" y="14585"/>
                    <a:pt x="936" y="14602"/>
                  </a:cubicBezTo>
                  <a:cubicBezTo>
                    <a:pt x="918" y="14618"/>
                    <a:pt x="895" y="14634"/>
                    <a:pt x="885" y="14638"/>
                  </a:cubicBezTo>
                  <a:cubicBezTo>
                    <a:pt x="876" y="14641"/>
                    <a:pt x="867" y="14653"/>
                    <a:pt x="865" y="14663"/>
                  </a:cubicBezTo>
                  <a:cubicBezTo>
                    <a:pt x="862" y="14672"/>
                    <a:pt x="851" y="14690"/>
                    <a:pt x="839" y="14702"/>
                  </a:cubicBezTo>
                  <a:cubicBezTo>
                    <a:pt x="828" y="14715"/>
                    <a:pt x="806" y="14730"/>
                    <a:pt x="792" y="14737"/>
                  </a:cubicBezTo>
                  <a:cubicBezTo>
                    <a:pt x="778" y="14745"/>
                    <a:pt x="736" y="14786"/>
                    <a:pt x="696" y="14825"/>
                  </a:cubicBezTo>
                  <a:cubicBezTo>
                    <a:pt x="658" y="14869"/>
                    <a:pt x="623" y="14910"/>
                    <a:pt x="621" y="14921"/>
                  </a:cubicBezTo>
                  <a:cubicBezTo>
                    <a:pt x="616" y="14931"/>
                    <a:pt x="624" y="14942"/>
                    <a:pt x="632" y="14946"/>
                  </a:cubicBezTo>
                  <a:cubicBezTo>
                    <a:pt x="641" y="14946"/>
                    <a:pt x="666" y="14943"/>
                    <a:pt x="686" y="14932"/>
                  </a:cubicBezTo>
                  <a:cubicBezTo>
                    <a:pt x="708" y="14924"/>
                    <a:pt x="753" y="14887"/>
                    <a:pt x="786" y="14852"/>
                  </a:cubicBezTo>
                  <a:cubicBezTo>
                    <a:pt x="821" y="14819"/>
                    <a:pt x="866" y="14776"/>
                    <a:pt x="887" y="14757"/>
                  </a:cubicBezTo>
                  <a:cubicBezTo>
                    <a:pt x="910" y="14741"/>
                    <a:pt x="945" y="14721"/>
                    <a:pt x="966" y="14714"/>
                  </a:cubicBezTo>
                  <a:cubicBezTo>
                    <a:pt x="988" y="14708"/>
                    <a:pt x="1036" y="14693"/>
                    <a:pt x="1072" y="14681"/>
                  </a:cubicBezTo>
                  <a:cubicBezTo>
                    <a:pt x="1108" y="14668"/>
                    <a:pt x="1149" y="14647"/>
                    <a:pt x="1163" y="14633"/>
                  </a:cubicBezTo>
                  <a:cubicBezTo>
                    <a:pt x="1176" y="14618"/>
                    <a:pt x="1197" y="14606"/>
                    <a:pt x="1207" y="14601"/>
                  </a:cubicBezTo>
                  <a:cubicBezTo>
                    <a:pt x="1217" y="14598"/>
                    <a:pt x="1225" y="14604"/>
                    <a:pt x="1224" y="14615"/>
                  </a:cubicBezTo>
                  <a:cubicBezTo>
                    <a:pt x="1223" y="14627"/>
                    <a:pt x="1234" y="14643"/>
                    <a:pt x="1247" y="14647"/>
                  </a:cubicBezTo>
                  <a:cubicBezTo>
                    <a:pt x="1260" y="14650"/>
                    <a:pt x="1289" y="14651"/>
                    <a:pt x="1312" y="14647"/>
                  </a:cubicBezTo>
                  <a:cubicBezTo>
                    <a:pt x="1335" y="14642"/>
                    <a:pt x="1371" y="14659"/>
                    <a:pt x="1393" y="14681"/>
                  </a:cubicBezTo>
                  <a:cubicBezTo>
                    <a:pt x="1415" y="14704"/>
                    <a:pt x="1443" y="14726"/>
                    <a:pt x="1456" y="14728"/>
                  </a:cubicBezTo>
                  <a:cubicBezTo>
                    <a:pt x="1469" y="14729"/>
                    <a:pt x="1499" y="14721"/>
                    <a:pt x="1522" y="14706"/>
                  </a:cubicBezTo>
                  <a:cubicBezTo>
                    <a:pt x="1545" y="14690"/>
                    <a:pt x="1581" y="14665"/>
                    <a:pt x="1600" y="14644"/>
                  </a:cubicBezTo>
                  <a:cubicBezTo>
                    <a:pt x="1621" y="14628"/>
                    <a:pt x="1639" y="14596"/>
                    <a:pt x="1641" y="14579"/>
                  </a:cubicBezTo>
                  <a:cubicBezTo>
                    <a:pt x="1644" y="14561"/>
                    <a:pt x="1644" y="14538"/>
                    <a:pt x="1641" y="14525"/>
                  </a:cubicBezTo>
                  <a:cubicBezTo>
                    <a:pt x="1639" y="14513"/>
                    <a:pt x="1639" y="14495"/>
                    <a:pt x="1638" y="14486"/>
                  </a:cubicBezTo>
                  <a:cubicBezTo>
                    <a:pt x="1640" y="14476"/>
                    <a:pt x="1653" y="14468"/>
                    <a:pt x="1665" y="14461"/>
                  </a:cubicBezTo>
                  <a:cubicBezTo>
                    <a:pt x="1678" y="14456"/>
                    <a:pt x="1702" y="14455"/>
                    <a:pt x="1717" y="14453"/>
                  </a:cubicBezTo>
                  <a:cubicBezTo>
                    <a:pt x="1732" y="14456"/>
                    <a:pt x="1750" y="14447"/>
                    <a:pt x="1757" y="14440"/>
                  </a:cubicBezTo>
                  <a:cubicBezTo>
                    <a:pt x="1765" y="14434"/>
                    <a:pt x="1783" y="14421"/>
                    <a:pt x="1799" y="14420"/>
                  </a:cubicBezTo>
                  <a:cubicBezTo>
                    <a:pt x="1815" y="14416"/>
                    <a:pt x="1837" y="14421"/>
                    <a:pt x="1844" y="14434"/>
                  </a:cubicBezTo>
                  <a:cubicBezTo>
                    <a:pt x="1853" y="14445"/>
                    <a:pt x="1852" y="14463"/>
                    <a:pt x="1844" y="14475"/>
                  </a:cubicBezTo>
                  <a:cubicBezTo>
                    <a:pt x="1835" y="14485"/>
                    <a:pt x="1818" y="14497"/>
                    <a:pt x="1805" y="14497"/>
                  </a:cubicBezTo>
                  <a:cubicBezTo>
                    <a:pt x="1791" y="14499"/>
                    <a:pt x="1767" y="14506"/>
                    <a:pt x="1750" y="14514"/>
                  </a:cubicBezTo>
                  <a:cubicBezTo>
                    <a:pt x="1735" y="14525"/>
                    <a:pt x="1723" y="14543"/>
                    <a:pt x="1723" y="14559"/>
                  </a:cubicBezTo>
                  <a:cubicBezTo>
                    <a:pt x="1722" y="14574"/>
                    <a:pt x="1737" y="14593"/>
                    <a:pt x="1752" y="14597"/>
                  </a:cubicBezTo>
                  <a:cubicBezTo>
                    <a:pt x="1767" y="14604"/>
                    <a:pt x="1810" y="14600"/>
                    <a:pt x="1847" y="14591"/>
                  </a:cubicBezTo>
                  <a:cubicBezTo>
                    <a:pt x="1884" y="14580"/>
                    <a:pt x="1921" y="14567"/>
                    <a:pt x="1931" y="14564"/>
                  </a:cubicBezTo>
                  <a:cubicBezTo>
                    <a:pt x="1939" y="14558"/>
                    <a:pt x="1938" y="14551"/>
                    <a:pt x="1935" y="14541"/>
                  </a:cubicBezTo>
                  <a:cubicBezTo>
                    <a:pt x="1928" y="14534"/>
                    <a:pt x="1925" y="14518"/>
                    <a:pt x="1928" y="14508"/>
                  </a:cubicBezTo>
                  <a:cubicBezTo>
                    <a:pt x="1931" y="14498"/>
                    <a:pt x="1945" y="14483"/>
                    <a:pt x="1960" y="14477"/>
                  </a:cubicBezTo>
                  <a:cubicBezTo>
                    <a:pt x="1975" y="14470"/>
                    <a:pt x="2015" y="14463"/>
                    <a:pt x="2048" y="14464"/>
                  </a:cubicBezTo>
                  <a:cubicBezTo>
                    <a:pt x="2081" y="14461"/>
                    <a:pt x="2111" y="14473"/>
                    <a:pt x="2116" y="14483"/>
                  </a:cubicBezTo>
                  <a:cubicBezTo>
                    <a:pt x="2121" y="14493"/>
                    <a:pt x="2111" y="14515"/>
                    <a:pt x="2095" y="14531"/>
                  </a:cubicBezTo>
                  <a:cubicBezTo>
                    <a:pt x="2078" y="14546"/>
                    <a:pt x="2032" y="14576"/>
                    <a:pt x="1993" y="14597"/>
                  </a:cubicBezTo>
                  <a:cubicBezTo>
                    <a:pt x="1952" y="14616"/>
                    <a:pt x="1886" y="14643"/>
                    <a:pt x="1843" y="14650"/>
                  </a:cubicBezTo>
                  <a:cubicBezTo>
                    <a:pt x="1800" y="14657"/>
                    <a:pt x="1753" y="14669"/>
                    <a:pt x="1738" y="14671"/>
                  </a:cubicBezTo>
                  <a:cubicBezTo>
                    <a:pt x="1723" y="14676"/>
                    <a:pt x="1708" y="14686"/>
                    <a:pt x="1704" y="14696"/>
                  </a:cubicBezTo>
                  <a:cubicBezTo>
                    <a:pt x="1702" y="14707"/>
                    <a:pt x="1716" y="14737"/>
                    <a:pt x="1734" y="14767"/>
                  </a:cubicBezTo>
                  <a:cubicBezTo>
                    <a:pt x="1753" y="14797"/>
                    <a:pt x="1794" y="14830"/>
                    <a:pt x="1822" y="14842"/>
                  </a:cubicBezTo>
                  <a:cubicBezTo>
                    <a:pt x="1850" y="14854"/>
                    <a:pt x="1889" y="14864"/>
                    <a:pt x="1909" y="14862"/>
                  </a:cubicBezTo>
                  <a:cubicBezTo>
                    <a:pt x="1929" y="14861"/>
                    <a:pt x="1955" y="14852"/>
                    <a:pt x="1965" y="14841"/>
                  </a:cubicBezTo>
                  <a:cubicBezTo>
                    <a:pt x="1977" y="14832"/>
                    <a:pt x="2006" y="14815"/>
                    <a:pt x="2031" y="14804"/>
                  </a:cubicBezTo>
                  <a:cubicBezTo>
                    <a:pt x="2057" y="14796"/>
                    <a:pt x="2077" y="14797"/>
                    <a:pt x="2082" y="14807"/>
                  </a:cubicBezTo>
                  <a:cubicBezTo>
                    <a:pt x="2085" y="14818"/>
                    <a:pt x="2080" y="14833"/>
                    <a:pt x="2074" y="14841"/>
                  </a:cubicBezTo>
                  <a:cubicBezTo>
                    <a:pt x="2067" y="14850"/>
                    <a:pt x="2051" y="14859"/>
                    <a:pt x="2037" y="14861"/>
                  </a:cubicBezTo>
                  <a:cubicBezTo>
                    <a:pt x="2024" y="14864"/>
                    <a:pt x="1998" y="14876"/>
                    <a:pt x="1979" y="14888"/>
                  </a:cubicBezTo>
                  <a:cubicBezTo>
                    <a:pt x="1960" y="14899"/>
                    <a:pt x="1914" y="14909"/>
                    <a:pt x="1876" y="14904"/>
                  </a:cubicBezTo>
                  <a:cubicBezTo>
                    <a:pt x="1839" y="14903"/>
                    <a:pt x="1786" y="14892"/>
                    <a:pt x="1759" y="14882"/>
                  </a:cubicBezTo>
                  <a:cubicBezTo>
                    <a:pt x="1732" y="14874"/>
                    <a:pt x="1690" y="14849"/>
                    <a:pt x="1665" y="14829"/>
                  </a:cubicBezTo>
                  <a:cubicBezTo>
                    <a:pt x="1641" y="14808"/>
                    <a:pt x="1599" y="14788"/>
                    <a:pt x="1571" y="14784"/>
                  </a:cubicBezTo>
                  <a:cubicBezTo>
                    <a:pt x="1544" y="14780"/>
                    <a:pt x="1499" y="14785"/>
                    <a:pt x="1472" y="14792"/>
                  </a:cubicBezTo>
                  <a:cubicBezTo>
                    <a:pt x="1445" y="14800"/>
                    <a:pt x="1406" y="14792"/>
                    <a:pt x="1383" y="14777"/>
                  </a:cubicBezTo>
                  <a:cubicBezTo>
                    <a:pt x="1361" y="14760"/>
                    <a:pt x="1320" y="14745"/>
                    <a:pt x="1292" y="14741"/>
                  </a:cubicBezTo>
                  <a:cubicBezTo>
                    <a:pt x="1264" y="14737"/>
                    <a:pt x="1237" y="14729"/>
                    <a:pt x="1230" y="14725"/>
                  </a:cubicBezTo>
                  <a:cubicBezTo>
                    <a:pt x="1224" y="14721"/>
                    <a:pt x="1206" y="14718"/>
                    <a:pt x="1189" y="14722"/>
                  </a:cubicBezTo>
                  <a:cubicBezTo>
                    <a:pt x="1172" y="14725"/>
                    <a:pt x="1142" y="14735"/>
                    <a:pt x="1124" y="14747"/>
                  </a:cubicBezTo>
                  <a:cubicBezTo>
                    <a:pt x="1106" y="14757"/>
                    <a:pt x="1070" y="14769"/>
                    <a:pt x="1046" y="14777"/>
                  </a:cubicBezTo>
                  <a:cubicBezTo>
                    <a:pt x="1021" y="14782"/>
                    <a:pt x="997" y="14782"/>
                    <a:pt x="991" y="14777"/>
                  </a:cubicBezTo>
                  <a:cubicBezTo>
                    <a:pt x="987" y="14769"/>
                    <a:pt x="969" y="14773"/>
                    <a:pt x="953" y="14776"/>
                  </a:cubicBezTo>
                  <a:cubicBezTo>
                    <a:pt x="938" y="14782"/>
                    <a:pt x="904" y="14804"/>
                    <a:pt x="876" y="14824"/>
                  </a:cubicBezTo>
                  <a:cubicBezTo>
                    <a:pt x="848" y="14844"/>
                    <a:pt x="813" y="14880"/>
                    <a:pt x="799" y="14904"/>
                  </a:cubicBezTo>
                  <a:cubicBezTo>
                    <a:pt x="782" y="14927"/>
                    <a:pt x="748" y="14963"/>
                    <a:pt x="717" y="14979"/>
                  </a:cubicBezTo>
                  <a:cubicBezTo>
                    <a:pt x="688" y="14997"/>
                    <a:pt x="645" y="15022"/>
                    <a:pt x="624" y="15040"/>
                  </a:cubicBezTo>
                  <a:cubicBezTo>
                    <a:pt x="602" y="15056"/>
                    <a:pt x="563" y="15083"/>
                    <a:pt x="536" y="15098"/>
                  </a:cubicBezTo>
                  <a:cubicBezTo>
                    <a:pt x="509" y="15114"/>
                    <a:pt x="471" y="15147"/>
                    <a:pt x="451" y="15171"/>
                  </a:cubicBezTo>
                  <a:cubicBezTo>
                    <a:pt x="432" y="15196"/>
                    <a:pt x="410" y="15232"/>
                    <a:pt x="403" y="15251"/>
                  </a:cubicBezTo>
                  <a:cubicBezTo>
                    <a:pt x="398" y="15270"/>
                    <a:pt x="395" y="15289"/>
                    <a:pt x="401" y="15291"/>
                  </a:cubicBezTo>
                  <a:cubicBezTo>
                    <a:pt x="408" y="15293"/>
                    <a:pt x="430" y="15284"/>
                    <a:pt x="452" y="15267"/>
                  </a:cubicBezTo>
                  <a:cubicBezTo>
                    <a:pt x="474" y="15251"/>
                    <a:pt x="517" y="15227"/>
                    <a:pt x="546" y="15212"/>
                  </a:cubicBezTo>
                  <a:cubicBezTo>
                    <a:pt x="576" y="15199"/>
                    <a:pt x="613" y="15187"/>
                    <a:pt x="627" y="15189"/>
                  </a:cubicBezTo>
                  <a:cubicBezTo>
                    <a:pt x="641" y="15189"/>
                    <a:pt x="658" y="15193"/>
                    <a:pt x="661" y="15199"/>
                  </a:cubicBezTo>
                  <a:cubicBezTo>
                    <a:pt x="664" y="15205"/>
                    <a:pt x="692" y="15200"/>
                    <a:pt x="720" y="15194"/>
                  </a:cubicBezTo>
                  <a:cubicBezTo>
                    <a:pt x="747" y="15185"/>
                    <a:pt x="812" y="15162"/>
                    <a:pt x="864" y="15140"/>
                  </a:cubicBezTo>
                  <a:cubicBezTo>
                    <a:pt x="916" y="15118"/>
                    <a:pt x="992" y="15093"/>
                    <a:pt x="1034" y="15084"/>
                  </a:cubicBezTo>
                  <a:cubicBezTo>
                    <a:pt x="1076" y="15075"/>
                    <a:pt x="1137" y="15075"/>
                    <a:pt x="1169" y="15078"/>
                  </a:cubicBezTo>
                  <a:cubicBezTo>
                    <a:pt x="1202" y="15085"/>
                    <a:pt x="1227" y="15097"/>
                    <a:pt x="1230" y="15107"/>
                  </a:cubicBezTo>
                  <a:cubicBezTo>
                    <a:pt x="1230" y="15117"/>
                    <a:pt x="1219" y="15131"/>
                    <a:pt x="1204" y="15139"/>
                  </a:cubicBezTo>
                  <a:cubicBezTo>
                    <a:pt x="1189" y="15148"/>
                    <a:pt x="1149" y="15156"/>
                    <a:pt x="1115" y="15159"/>
                  </a:cubicBezTo>
                  <a:cubicBezTo>
                    <a:pt x="1082" y="15162"/>
                    <a:pt x="1038" y="15173"/>
                    <a:pt x="1018" y="15183"/>
                  </a:cubicBezTo>
                  <a:cubicBezTo>
                    <a:pt x="997" y="15192"/>
                    <a:pt x="904" y="15212"/>
                    <a:pt x="811" y="15229"/>
                  </a:cubicBezTo>
                  <a:cubicBezTo>
                    <a:pt x="719" y="15243"/>
                    <a:pt x="620" y="15265"/>
                    <a:pt x="592" y="15272"/>
                  </a:cubicBezTo>
                  <a:cubicBezTo>
                    <a:pt x="564" y="15282"/>
                    <a:pt x="532" y="15295"/>
                    <a:pt x="522" y="15304"/>
                  </a:cubicBezTo>
                  <a:cubicBezTo>
                    <a:pt x="512" y="15314"/>
                    <a:pt x="471" y="15330"/>
                    <a:pt x="431" y="15339"/>
                  </a:cubicBezTo>
                  <a:cubicBezTo>
                    <a:pt x="391" y="15347"/>
                    <a:pt x="358" y="15367"/>
                    <a:pt x="352" y="15379"/>
                  </a:cubicBezTo>
                  <a:cubicBezTo>
                    <a:pt x="349" y="15392"/>
                    <a:pt x="350" y="15410"/>
                    <a:pt x="358" y="15414"/>
                  </a:cubicBezTo>
                  <a:cubicBezTo>
                    <a:pt x="365" y="15421"/>
                    <a:pt x="389" y="15422"/>
                    <a:pt x="412" y="15417"/>
                  </a:cubicBezTo>
                  <a:cubicBezTo>
                    <a:pt x="435" y="15412"/>
                    <a:pt x="460" y="15411"/>
                    <a:pt x="465" y="15417"/>
                  </a:cubicBezTo>
                  <a:cubicBezTo>
                    <a:pt x="472" y="15421"/>
                    <a:pt x="468" y="15432"/>
                    <a:pt x="455" y="15439"/>
                  </a:cubicBezTo>
                  <a:cubicBezTo>
                    <a:pt x="443" y="15447"/>
                    <a:pt x="419" y="15453"/>
                    <a:pt x="402" y="15452"/>
                  </a:cubicBezTo>
                  <a:cubicBezTo>
                    <a:pt x="385" y="15452"/>
                    <a:pt x="348" y="15456"/>
                    <a:pt x="320" y="15463"/>
                  </a:cubicBezTo>
                  <a:cubicBezTo>
                    <a:pt x="293" y="15469"/>
                    <a:pt x="267" y="15482"/>
                    <a:pt x="264" y="15490"/>
                  </a:cubicBezTo>
                  <a:cubicBezTo>
                    <a:pt x="260" y="15498"/>
                    <a:pt x="267" y="15515"/>
                    <a:pt x="279" y="15520"/>
                  </a:cubicBezTo>
                  <a:cubicBezTo>
                    <a:pt x="290" y="15529"/>
                    <a:pt x="322" y="15532"/>
                    <a:pt x="348" y="15526"/>
                  </a:cubicBezTo>
                  <a:cubicBezTo>
                    <a:pt x="374" y="15523"/>
                    <a:pt x="444" y="15521"/>
                    <a:pt x="503" y="15525"/>
                  </a:cubicBezTo>
                  <a:cubicBezTo>
                    <a:pt x="562" y="15530"/>
                    <a:pt x="630" y="15526"/>
                    <a:pt x="652" y="15518"/>
                  </a:cubicBezTo>
                  <a:cubicBezTo>
                    <a:pt x="674" y="15510"/>
                    <a:pt x="703" y="15496"/>
                    <a:pt x="715" y="15485"/>
                  </a:cubicBezTo>
                  <a:cubicBezTo>
                    <a:pt x="726" y="15473"/>
                    <a:pt x="750" y="15464"/>
                    <a:pt x="766" y="15461"/>
                  </a:cubicBezTo>
                  <a:cubicBezTo>
                    <a:pt x="783" y="15460"/>
                    <a:pt x="799" y="15460"/>
                    <a:pt x="803" y="15463"/>
                  </a:cubicBezTo>
                  <a:cubicBezTo>
                    <a:pt x="806" y="15468"/>
                    <a:pt x="808" y="15483"/>
                    <a:pt x="803" y="15499"/>
                  </a:cubicBezTo>
                  <a:cubicBezTo>
                    <a:pt x="801" y="15515"/>
                    <a:pt x="798" y="15541"/>
                    <a:pt x="799" y="15557"/>
                  </a:cubicBezTo>
                  <a:cubicBezTo>
                    <a:pt x="800" y="15573"/>
                    <a:pt x="791" y="15594"/>
                    <a:pt x="779" y="15601"/>
                  </a:cubicBezTo>
                  <a:cubicBezTo>
                    <a:pt x="767" y="15609"/>
                    <a:pt x="740" y="15615"/>
                    <a:pt x="720" y="15611"/>
                  </a:cubicBezTo>
                  <a:cubicBezTo>
                    <a:pt x="701" y="15608"/>
                    <a:pt x="676" y="15613"/>
                    <a:pt x="665" y="15619"/>
                  </a:cubicBezTo>
                  <a:cubicBezTo>
                    <a:pt x="655" y="15627"/>
                    <a:pt x="639" y="15631"/>
                    <a:pt x="633" y="15627"/>
                  </a:cubicBezTo>
                  <a:cubicBezTo>
                    <a:pt x="626" y="15622"/>
                    <a:pt x="598" y="15632"/>
                    <a:pt x="573" y="15644"/>
                  </a:cubicBezTo>
                  <a:cubicBezTo>
                    <a:pt x="547" y="15655"/>
                    <a:pt x="522" y="15676"/>
                    <a:pt x="518" y="15690"/>
                  </a:cubicBezTo>
                  <a:cubicBezTo>
                    <a:pt x="512" y="15702"/>
                    <a:pt x="515" y="15714"/>
                    <a:pt x="521" y="15719"/>
                  </a:cubicBezTo>
                  <a:cubicBezTo>
                    <a:pt x="528" y="15723"/>
                    <a:pt x="542" y="15721"/>
                    <a:pt x="552" y="15717"/>
                  </a:cubicBezTo>
                  <a:cubicBezTo>
                    <a:pt x="563" y="15714"/>
                    <a:pt x="586" y="15710"/>
                    <a:pt x="604" y="15712"/>
                  </a:cubicBezTo>
                  <a:cubicBezTo>
                    <a:pt x="622" y="15717"/>
                    <a:pt x="639" y="15722"/>
                    <a:pt x="642" y="15728"/>
                  </a:cubicBezTo>
                  <a:cubicBezTo>
                    <a:pt x="645" y="15735"/>
                    <a:pt x="622" y="15755"/>
                    <a:pt x="592" y="15771"/>
                  </a:cubicBezTo>
                  <a:cubicBezTo>
                    <a:pt x="562" y="15788"/>
                    <a:pt x="520" y="15803"/>
                    <a:pt x="499" y="15807"/>
                  </a:cubicBezTo>
                  <a:cubicBezTo>
                    <a:pt x="478" y="15809"/>
                    <a:pt x="443" y="15803"/>
                    <a:pt x="420" y="15797"/>
                  </a:cubicBezTo>
                  <a:cubicBezTo>
                    <a:pt x="398" y="15788"/>
                    <a:pt x="358" y="15790"/>
                    <a:pt x="332" y="15799"/>
                  </a:cubicBezTo>
                  <a:cubicBezTo>
                    <a:pt x="305" y="15808"/>
                    <a:pt x="279" y="15827"/>
                    <a:pt x="275" y="15840"/>
                  </a:cubicBezTo>
                  <a:cubicBezTo>
                    <a:pt x="271" y="15853"/>
                    <a:pt x="270" y="15876"/>
                    <a:pt x="272" y="15893"/>
                  </a:cubicBezTo>
                  <a:cubicBezTo>
                    <a:pt x="278" y="15909"/>
                    <a:pt x="292" y="15924"/>
                    <a:pt x="308" y="15923"/>
                  </a:cubicBezTo>
                  <a:cubicBezTo>
                    <a:pt x="323" y="15923"/>
                    <a:pt x="351" y="15912"/>
                    <a:pt x="369" y="15900"/>
                  </a:cubicBezTo>
                  <a:cubicBezTo>
                    <a:pt x="386" y="15887"/>
                    <a:pt x="422" y="15872"/>
                    <a:pt x="446" y="15867"/>
                  </a:cubicBezTo>
                  <a:cubicBezTo>
                    <a:pt x="471" y="15861"/>
                    <a:pt x="504" y="15864"/>
                    <a:pt x="521" y="15870"/>
                  </a:cubicBezTo>
                  <a:cubicBezTo>
                    <a:pt x="537" y="15877"/>
                    <a:pt x="556" y="15888"/>
                    <a:pt x="561" y="15897"/>
                  </a:cubicBezTo>
                  <a:cubicBezTo>
                    <a:pt x="565" y="15906"/>
                    <a:pt x="549" y="15918"/>
                    <a:pt x="523" y="15925"/>
                  </a:cubicBezTo>
                  <a:cubicBezTo>
                    <a:pt x="497" y="15934"/>
                    <a:pt x="448" y="15944"/>
                    <a:pt x="416" y="15953"/>
                  </a:cubicBezTo>
                  <a:cubicBezTo>
                    <a:pt x="383" y="15959"/>
                    <a:pt x="343" y="15973"/>
                    <a:pt x="326" y="15981"/>
                  </a:cubicBezTo>
                  <a:cubicBezTo>
                    <a:pt x="308" y="15990"/>
                    <a:pt x="279" y="15989"/>
                    <a:pt x="259" y="15981"/>
                  </a:cubicBezTo>
                  <a:cubicBezTo>
                    <a:pt x="239" y="15973"/>
                    <a:pt x="211" y="15966"/>
                    <a:pt x="197" y="15972"/>
                  </a:cubicBezTo>
                  <a:cubicBezTo>
                    <a:pt x="182" y="15975"/>
                    <a:pt x="154" y="15995"/>
                    <a:pt x="135" y="16016"/>
                  </a:cubicBezTo>
                  <a:cubicBezTo>
                    <a:pt x="115" y="16037"/>
                    <a:pt x="91" y="16091"/>
                    <a:pt x="84" y="16137"/>
                  </a:cubicBezTo>
                  <a:cubicBezTo>
                    <a:pt x="75" y="16183"/>
                    <a:pt x="58" y="16231"/>
                    <a:pt x="48" y="16245"/>
                  </a:cubicBezTo>
                  <a:cubicBezTo>
                    <a:pt x="39" y="16260"/>
                    <a:pt x="26" y="16280"/>
                    <a:pt x="32" y="16289"/>
                  </a:cubicBezTo>
                  <a:cubicBezTo>
                    <a:pt x="34" y="16300"/>
                    <a:pt x="53" y="16304"/>
                    <a:pt x="73" y="16300"/>
                  </a:cubicBezTo>
                  <a:cubicBezTo>
                    <a:pt x="94" y="16294"/>
                    <a:pt x="161" y="16262"/>
                    <a:pt x="222" y="16227"/>
                  </a:cubicBezTo>
                  <a:cubicBezTo>
                    <a:pt x="284" y="16192"/>
                    <a:pt x="347" y="16151"/>
                    <a:pt x="365" y="16140"/>
                  </a:cubicBezTo>
                  <a:cubicBezTo>
                    <a:pt x="382" y="16127"/>
                    <a:pt x="437" y="16099"/>
                    <a:pt x="488" y="16079"/>
                  </a:cubicBezTo>
                  <a:cubicBezTo>
                    <a:pt x="538" y="16057"/>
                    <a:pt x="604" y="16027"/>
                    <a:pt x="633" y="16008"/>
                  </a:cubicBezTo>
                  <a:cubicBezTo>
                    <a:pt x="662" y="15988"/>
                    <a:pt x="710" y="15945"/>
                    <a:pt x="740" y="15910"/>
                  </a:cubicBezTo>
                  <a:cubicBezTo>
                    <a:pt x="769" y="15873"/>
                    <a:pt x="825" y="15814"/>
                    <a:pt x="864" y="15776"/>
                  </a:cubicBezTo>
                  <a:cubicBezTo>
                    <a:pt x="903" y="15738"/>
                    <a:pt x="1002" y="15670"/>
                    <a:pt x="1082" y="15620"/>
                  </a:cubicBezTo>
                  <a:cubicBezTo>
                    <a:pt x="1162" y="15573"/>
                    <a:pt x="1258" y="15519"/>
                    <a:pt x="1294" y="15503"/>
                  </a:cubicBezTo>
                  <a:cubicBezTo>
                    <a:pt x="1331" y="15487"/>
                    <a:pt x="1376" y="15475"/>
                    <a:pt x="1395" y="15476"/>
                  </a:cubicBezTo>
                  <a:cubicBezTo>
                    <a:pt x="1414" y="15479"/>
                    <a:pt x="1429" y="15486"/>
                    <a:pt x="1429" y="15495"/>
                  </a:cubicBezTo>
                  <a:cubicBezTo>
                    <a:pt x="1427" y="15505"/>
                    <a:pt x="1417" y="15522"/>
                    <a:pt x="1403" y="15533"/>
                  </a:cubicBezTo>
                  <a:cubicBezTo>
                    <a:pt x="1388" y="15544"/>
                    <a:pt x="1360" y="15558"/>
                    <a:pt x="1339" y="15563"/>
                  </a:cubicBezTo>
                  <a:cubicBezTo>
                    <a:pt x="1318" y="15569"/>
                    <a:pt x="1269" y="15590"/>
                    <a:pt x="1229" y="15609"/>
                  </a:cubicBezTo>
                  <a:cubicBezTo>
                    <a:pt x="1190" y="15630"/>
                    <a:pt x="1115" y="15670"/>
                    <a:pt x="1066" y="15702"/>
                  </a:cubicBezTo>
                  <a:cubicBezTo>
                    <a:pt x="1015" y="15732"/>
                    <a:pt x="928" y="15804"/>
                    <a:pt x="871" y="15861"/>
                  </a:cubicBezTo>
                  <a:cubicBezTo>
                    <a:pt x="813" y="15916"/>
                    <a:pt x="746" y="15988"/>
                    <a:pt x="718" y="16017"/>
                  </a:cubicBezTo>
                  <a:cubicBezTo>
                    <a:pt x="691" y="16046"/>
                    <a:pt x="634" y="16084"/>
                    <a:pt x="590" y="16100"/>
                  </a:cubicBezTo>
                  <a:cubicBezTo>
                    <a:pt x="547" y="16115"/>
                    <a:pt x="494" y="16140"/>
                    <a:pt x="472" y="16152"/>
                  </a:cubicBezTo>
                  <a:cubicBezTo>
                    <a:pt x="450" y="16164"/>
                    <a:pt x="395" y="16200"/>
                    <a:pt x="350" y="16231"/>
                  </a:cubicBezTo>
                  <a:cubicBezTo>
                    <a:pt x="306" y="16264"/>
                    <a:pt x="234" y="16305"/>
                    <a:pt x="192" y="16328"/>
                  </a:cubicBezTo>
                  <a:cubicBezTo>
                    <a:pt x="149" y="16349"/>
                    <a:pt x="99" y="16374"/>
                    <a:pt x="81" y="16384"/>
                  </a:cubicBezTo>
                  <a:cubicBezTo>
                    <a:pt x="63" y="16393"/>
                    <a:pt x="41" y="16408"/>
                    <a:pt x="33" y="16419"/>
                  </a:cubicBezTo>
                  <a:cubicBezTo>
                    <a:pt x="24" y="16429"/>
                    <a:pt x="34" y="16436"/>
                    <a:pt x="53" y="16435"/>
                  </a:cubicBezTo>
                  <a:cubicBezTo>
                    <a:pt x="72" y="16431"/>
                    <a:pt x="100" y="16426"/>
                    <a:pt x="113" y="16417"/>
                  </a:cubicBezTo>
                  <a:cubicBezTo>
                    <a:pt x="127" y="16410"/>
                    <a:pt x="150" y="16404"/>
                    <a:pt x="164" y="16403"/>
                  </a:cubicBezTo>
                  <a:cubicBezTo>
                    <a:pt x="179" y="16403"/>
                    <a:pt x="186" y="16412"/>
                    <a:pt x="182" y="16425"/>
                  </a:cubicBezTo>
                  <a:cubicBezTo>
                    <a:pt x="178" y="16436"/>
                    <a:pt x="202" y="16430"/>
                    <a:pt x="233" y="16406"/>
                  </a:cubicBezTo>
                  <a:cubicBezTo>
                    <a:pt x="265" y="16385"/>
                    <a:pt x="302" y="16354"/>
                    <a:pt x="317" y="16338"/>
                  </a:cubicBezTo>
                  <a:cubicBezTo>
                    <a:pt x="331" y="16323"/>
                    <a:pt x="352" y="16308"/>
                    <a:pt x="363" y="16306"/>
                  </a:cubicBezTo>
                  <a:cubicBezTo>
                    <a:pt x="374" y="16303"/>
                    <a:pt x="394" y="16315"/>
                    <a:pt x="409" y="16329"/>
                  </a:cubicBezTo>
                  <a:cubicBezTo>
                    <a:pt x="424" y="16344"/>
                    <a:pt x="446" y="16357"/>
                    <a:pt x="457" y="16355"/>
                  </a:cubicBezTo>
                  <a:cubicBezTo>
                    <a:pt x="469" y="16355"/>
                    <a:pt x="496" y="16338"/>
                    <a:pt x="519" y="16322"/>
                  </a:cubicBezTo>
                  <a:cubicBezTo>
                    <a:pt x="540" y="16304"/>
                    <a:pt x="584" y="16273"/>
                    <a:pt x="615" y="16252"/>
                  </a:cubicBezTo>
                  <a:cubicBezTo>
                    <a:pt x="645" y="16229"/>
                    <a:pt x="686" y="16212"/>
                    <a:pt x="705" y="16209"/>
                  </a:cubicBezTo>
                  <a:cubicBezTo>
                    <a:pt x="724" y="16208"/>
                    <a:pt x="742" y="16212"/>
                    <a:pt x="748" y="16216"/>
                  </a:cubicBezTo>
                  <a:cubicBezTo>
                    <a:pt x="752" y="16222"/>
                    <a:pt x="748" y="16240"/>
                    <a:pt x="738" y="16257"/>
                  </a:cubicBezTo>
                  <a:cubicBezTo>
                    <a:pt x="727" y="16273"/>
                    <a:pt x="704" y="16287"/>
                    <a:pt x="686" y="16292"/>
                  </a:cubicBezTo>
                  <a:cubicBezTo>
                    <a:pt x="667" y="16293"/>
                    <a:pt x="631" y="16315"/>
                    <a:pt x="605" y="16335"/>
                  </a:cubicBezTo>
                  <a:cubicBezTo>
                    <a:pt x="580" y="16356"/>
                    <a:pt x="539" y="16383"/>
                    <a:pt x="514" y="16396"/>
                  </a:cubicBezTo>
                  <a:cubicBezTo>
                    <a:pt x="490" y="16409"/>
                    <a:pt x="451" y="16424"/>
                    <a:pt x="428" y="16424"/>
                  </a:cubicBezTo>
                  <a:cubicBezTo>
                    <a:pt x="405" y="16426"/>
                    <a:pt x="378" y="16423"/>
                    <a:pt x="372" y="16412"/>
                  </a:cubicBezTo>
                  <a:cubicBezTo>
                    <a:pt x="364" y="16404"/>
                    <a:pt x="346" y="16403"/>
                    <a:pt x="331" y="16410"/>
                  </a:cubicBezTo>
                  <a:cubicBezTo>
                    <a:pt x="316" y="16417"/>
                    <a:pt x="288" y="16438"/>
                    <a:pt x="270" y="16456"/>
                  </a:cubicBezTo>
                  <a:cubicBezTo>
                    <a:pt x="251" y="16475"/>
                    <a:pt x="207" y="16507"/>
                    <a:pt x="170" y="16527"/>
                  </a:cubicBezTo>
                  <a:cubicBezTo>
                    <a:pt x="134" y="16546"/>
                    <a:pt x="100" y="16571"/>
                    <a:pt x="94" y="16580"/>
                  </a:cubicBezTo>
                  <a:cubicBezTo>
                    <a:pt x="88" y="16588"/>
                    <a:pt x="98" y="16607"/>
                    <a:pt x="117" y="16613"/>
                  </a:cubicBezTo>
                  <a:cubicBezTo>
                    <a:pt x="134" y="16624"/>
                    <a:pt x="159" y="16628"/>
                    <a:pt x="171" y="16626"/>
                  </a:cubicBezTo>
                  <a:cubicBezTo>
                    <a:pt x="183" y="16624"/>
                    <a:pt x="209" y="16630"/>
                    <a:pt x="231" y="16637"/>
                  </a:cubicBezTo>
                  <a:cubicBezTo>
                    <a:pt x="251" y="16647"/>
                    <a:pt x="251" y="16673"/>
                    <a:pt x="229" y="16695"/>
                  </a:cubicBezTo>
                  <a:cubicBezTo>
                    <a:pt x="207" y="16718"/>
                    <a:pt x="183" y="16746"/>
                    <a:pt x="180" y="16758"/>
                  </a:cubicBezTo>
                  <a:cubicBezTo>
                    <a:pt x="175" y="16769"/>
                    <a:pt x="185" y="16779"/>
                    <a:pt x="202" y="16779"/>
                  </a:cubicBezTo>
                  <a:cubicBezTo>
                    <a:pt x="219" y="16778"/>
                    <a:pt x="228" y="16793"/>
                    <a:pt x="219" y="16807"/>
                  </a:cubicBezTo>
                  <a:cubicBezTo>
                    <a:pt x="211" y="16823"/>
                    <a:pt x="209" y="16844"/>
                    <a:pt x="214" y="16854"/>
                  </a:cubicBezTo>
                  <a:cubicBezTo>
                    <a:pt x="220" y="16863"/>
                    <a:pt x="231" y="16870"/>
                    <a:pt x="242" y="16867"/>
                  </a:cubicBezTo>
                  <a:cubicBezTo>
                    <a:pt x="253" y="16863"/>
                    <a:pt x="280" y="16841"/>
                    <a:pt x="303" y="16819"/>
                  </a:cubicBezTo>
                  <a:cubicBezTo>
                    <a:pt x="326" y="16794"/>
                    <a:pt x="366" y="16766"/>
                    <a:pt x="391" y="16754"/>
                  </a:cubicBezTo>
                  <a:cubicBezTo>
                    <a:pt x="416" y="16743"/>
                    <a:pt x="451" y="16723"/>
                    <a:pt x="469" y="16711"/>
                  </a:cubicBezTo>
                  <a:cubicBezTo>
                    <a:pt x="486" y="16697"/>
                    <a:pt x="510" y="16670"/>
                    <a:pt x="519" y="16648"/>
                  </a:cubicBezTo>
                  <a:cubicBezTo>
                    <a:pt x="529" y="16628"/>
                    <a:pt x="549" y="16599"/>
                    <a:pt x="566" y="16587"/>
                  </a:cubicBezTo>
                  <a:cubicBezTo>
                    <a:pt x="581" y="16574"/>
                    <a:pt x="609" y="16563"/>
                    <a:pt x="625" y="16559"/>
                  </a:cubicBezTo>
                  <a:cubicBezTo>
                    <a:pt x="641" y="16556"/>
                    <a:pt x="705" y="16519"/>
                    <a:pt x="767" y="16479"/>
                  </a:cubicBezTo>
                  <a:cubicBezTo>
                    <a:pt x="830" y="16439"/>
                    <a:pt x="893" y="16406"/>
                    <a:pt x="908" y="16404"/>
                  </a:cubicBezTo>
                  <a:cubicBezTo>
                    <a:pt x="922" y="16401"/>
                    <a:pt x="940" y="16414"/>
                    <a:pt x="940" y="16430"/>
                  </a:cubicBezTo>
                  <a:cubicBezTo>
                    <a:pt x="946" y="16445"/>
                    <a:pt x="966" y="16459"/>
                    <a:pt x="989" y="16460"/>
                  </a:cubicBezTo>
                  <a:cubicBezTo>
                    <a:pt x="1013" y="16462"/>
                    <a:pt x="1036" y="16473"/>
                    <a:pt x="1039" y="16487"/>
                  </a:cubicBezTo>
                  <a:cubicBezTo>
                    <a:pt x="1043" y="16501"/>
                    <a:pt x="1029" y="16516"/>
                    <a:pt x="1008" y="16521"/>
                  </a:cubicBezTo>
                  <a:cubicBezTo>
                    <a:pt x="987" y="16524"/>
                    <a:pt x="962" y="16524"/>
                    <a:pt x="951" y="16519"/>
                  </a:cubicBezTo>
                  <a:cubicBezTo>
                    <a:pt x="940" y="16512"/>
                    <a:pt x="892" y="16520"/>
                    <a:pt x="844" y="16531"/>
                  </a:cubicBezTo>
                  <a:cubicBezTo>
                    <a:pt x="797" y="16542"/>
                    <a:pt x="748" y="16566"/>
                    <a:pt x="733" y="16579"/>
                  </a:cubicBezTo>
                  <a:cubicBezTo>
                    <a:pt x="719" y="16593"/>
                    <a:pt x="700" y="16599"/>
                    <a:pt x="694" y="16590"/>
                  </a:cubicBezTo>
                  <a:cubicBezTo>
                    <a:pt x="686" y="16582"/>
                    <a:pt x="671" y="16580"/>
                    <a:pt x="659" y="16587"/>
                  </a:cubicBezTo>
                  <a:cubicBezTo>
                    <a:pt x="647" y="16593"/>
                    <a:pt x="628" y="16618"/>
                    <a:pt x="617" y="16644"/>
                  </a:cubicBezTo>
                  <a:cubicBezTo>
                    <a:pt x="603" y="16668"/>
                    <a:pt x="581" y="16698"/>
                    <a:pt x="565" y="16708"/>
                  </a:cubicBezTo>
                  <a:cubicBezTo>
                    <a:pt x="548" y="16719"/>
                    <a:pt x="519" y="16739"/>
                    <a:pt x="503" y="16755"/>
                  </a:cubicBezTo>
                  <a:cubicBezTo>
                    <a:pt x="487" y="16772"/>
                    <a:pt x="443" y="16795"/>
                    <a:pt x="407" y="16811"/>
                  </a:cubicBezTo>
                  <a:cubicBezTo>
                    <a:pt x="371" y="16826"/>
                    <a:pt x="325" y="16853"/>
                    <a:pt x="304" y="16870"/>
                  </a:cubicBezTo>
                  <a:cubicBezTo>
                    <a:pt x="284" y="16889"/>
                    <a:pt x="243" y="16911"/>
                    <a:pt x="214" y="16919"/>
                  </a:cubicBezTo>
                  <a:cubicBezTo>
                    <a:pt x="186" y="16927"/>
                    <a:pt x="144" y="16950"/>
                    <a:pt x="123" y="16971"/>
                  </a:cubicBezTo>
                  <a:cubicBezTo>
                    <a:pt x="101" y="16992"/>
                    <a:pt x="86" y="17022"/>
                    <a:pt x="86" y="17038"/>
                  </a:cubicBezTo>
                  <a:cubicBezTo>
                    <a:pt x="88" y="17053"/>
                    <a:pt x="100" y="17065"/>
                    <a:pt x="115" y="17065"/>
                  </a:cubicBezTo>
                  <a:cubicBezTo>
                    <a:pt x="130" y="17063"/>
                    <a:pt x="159" y="17050"/>
                    <a:pt x="173" y="17031"/>
                  </a:cubicBezTo>
                  <a:cubicBezTo>
                    <a:pt x="191" y="17015"/>
                    <a:pt x="211" y="16996"/>
                    <a:pt x="219" y="16995"/>
                  </a:cubicBezTo>
                  <a:cubicBezTo>
                    <a:pt x="227" y="16991"/>
                    <a:pt x="240" y="17007"/>
                    <a:pt x="244" y="17029"/>
                  </a:cubicBezTo>
                  <a:cubicBezTo>
                    <a:pt x="249" y="17050"/>
                    <a:pt x="248" y="17083"/>
                    <a:pt x="240" y="17102"/>
                  </a:cubicBezTo>
                  <a:cubicBezTo>
                    <a:pt x="233" y="17121"/>
                    <a:pt x="212" y="17152"/>
                    <a:pt x="190" y="17167"/>
                  </a:cubicBezTo>
                  <a:cubicBezTo>
                    <a:pt x="170" y="17185"/>
                    <a:pt x="148" y="17226"/>
                    <a:pt x="143" y="17261"/>
                  </a:cubicBezTo>
                  <a:cubicBezTo>
                    <a:pt x="138" y="17297"/>
                    <a:pt x="139" y="17339"/>
                    <a:pt x="148" y="17354"/>
                  </a:cubicBezTo>
                  <a:cubicBezTo>
                    <a:pt x="156" y="17370"/>
                    <a:pt x="179" y="17384"/>
                    <a:pt x="199" y="17379"/>
                  </a:cubicBezTo>
                  <a:cubicBezTo>
                    <a:pt x="219" y="17376"/>
                    <a:pt x="251" y="17361"/>
                    <a:pt x="271" y="17346"/>
                  </a:cubicBezTo>
                  <a:cubicBezTo>
                    <a:pt x="291" y="17332"/>
                    <a:pt x="314" y="17302"/>
                    <a:pt x="326" y="17285"/>
                  </a:cubicBezTo>
                  <a:cubicBezTo>
                    <a:pt x="337" y="17266"/>
                    <a:pt x="358" y="17251"/>
                    <a:pt x="374" y="17252"/>
                  </a:cubicBezTo>
                  <a:cubicBezTo>
                    <a:pt x="390" y="17252"/>
                    <a:pt x="417" y="17242"/>
                    <a:pt x="434" y="17225"/>
                  </a:cubicBezTo>
                  <a:cubicBezTo>
                    <a:pt x="452" y="17211"/>
                    <a:pt x="479" y="17194"/>
                    <a:pt x="494" y="17191"/>
                  </a:cubicBezTo>
                  <a:cubicBezTo>
                    <a:pt x="509" y="17187"/>
                    <a:pt x="527" y="17194"/>
                    <a:pt x="536" y="17202"/>
                  </a:cubicBezTo>
                  <a:cubicBezTo>
                    <a:pt x="543" y="17212"/>
                    <a:pt x="543" y="17225"/>
                    <a:pt x="533" y="17232"/>
                  </a:cubicBezTo>
                  <a:cubicBezTo>
                    <a:pt x="527" y="17242"/>
                    <a:pt x="494" y="17266"/>
                    <a:pt x="466" y="17291"/>
                  </a:cubicBezTo>
                  <a:cubicBezTo>
                    <a:pt x="439" y="17317"/>
                    <a:pt x="400" y="17339"/>
                    <a:pt x="381" y="17343"/>
                  </a:cubicBezTo>
                  <a:cubicBezTo>
                    <a:pt x="361" y="17346"/>
                    <a:pt x="310" y="17367"/>
                    <a:pt x="266" y="17387"/>
                  </a:cubicBezTo>
                  <a:cubicBezTo>
                    <a:pt x="222" y="17410"/>
                    <a:pt x="168" y="17438"/>
                    <a:pt x="145" y="17453"/>
                  </a:cubicBezTo>
                  <a:cubicBezTo>
                    <a:pt x="123" y="17467"/>
                    <a:pt x="103" y="17493"/>
                    <a:pt x="97" y="17509"/>
                  </a:cubicBezTo>
                  <a:cubicBezTo>
                    <a:pt x="91" y="17525"/>
                    <a:pt x="81" y="17555"/>
                    <a:pt x="74" y="17575"/>
                  </a:cubicBezTo>
                  <a:cubicBezTo>
                    <a:pt x="67" y="17596"/>
                    <a:pt x="72" y="17621"/>
                    <a:pt x="86" y="17633"/>
                  </a:cubicBezTo>
                  <a:cubicBezTo>
                    <a:pt x="101" y="17645"/>
                    <a:pt x="102" y="17669"/>
                    <a:pt x="86" y="17685"/>
                  </a:cubicBezTo>
                  <a:cubicBezTo>
                    <a:pt x="74" y="17703"/>
                    <a:pt x="54" y="17737"/>
                    <a:pt x="43" y="17763"/>
                  </a:cubicBezTo>
                  <a:cubicBezTo>
                    <a:pt x="35" y="17789"/>
                    <a:pt x="26" y="17836"/>
                    <a:pt x="32" y="17865"/>
                  </a:cubicBezTo>
                  <a:cubicBezTo>
                    <a:pt x="33" y="17896"/>
                    <a:pt x="46" y="17919"/>
                    <a:pt x="56" y="17917"/>
                  </a:cubicBezTo>
                  <a:cubicBezTo>
                    <a:pt x="67" y="17915"/>
                    <a:pt x="100" y="17878"/>
                    <a:pt x="129" y="17835"/>
                  </a:cubicBezTo>
                  <a:cubicBezTo>
                    <a:pt x="156" y="17791"/>
                    <a:pt x="195" y="17752"/>
                    <a:pt x="210" y="17743"/>
                  </a:cubicBezTo>
                  <a:cubicBezTo>
                    <a:pt x="225" y="17735"/>
                    <a:pt x="270" y="17698"/>
                    <a:pt x="308" y="17661"/>
                  </a:cubicBezTo>
                  <a:cubicBezTo>
                    <a:pt x="348" y="17625"/>
                    <a:pt x="388" y="17590"/>
                    <a:pt x="399" y="17586"/>
                  </a:cubicBezTo>
                  <a:cubicBezTo>
                    <a:pt x="411" y="17582"/>
                    <a:pt x="435" y="17561"/>
                    <a:pt x="452" y="17538"/>
                  </a:cubicBezTo>
                  <a:cubicBezTo>
                    <a:pt x="470" y="17517"/>
                    <a:pt x="499" y="17489"/>
                    <a:pt x="518" y="17478"/>
                  </a:cubicBezTo>
                  <a:cubicBezTo>
                    <a:pt x="537" y="17465"/>
                    <a:pt x="554" y="17460"/>
                    <a:pt x="557" y="17463"/>
                  </a:cubicBezTo>
                  <a:cubicBezTo>
                    <a:pt x="557" y="17467"/>
                    <a:pt x="547" y="17479"/>
                    <a:pt x="532" y="17493"/>
                  </a:cubicBezTo>
                  <a:cubicBezTo>
                    <a:pt x="517" y="17506"/>
                    <a:pt x="500" y="17528"/>
                    <a:pt x="494" y="17543"/>
                  </a:cubicBezTo>
                  <a:cubicBezTo>
                    <a:pt x="488" y="17557"/>
                    <a:pt x="489" y="17574"/>
                    <a:pt x="497" y="17578"/>
                  </a:cubicBezTo>
                  <a:cubicBezTo>
                    <a:pt x="504" y="17584"/>
                    <a:pt x="530" y="17576"/>
                    <a:pt x="552" y="17563"/>
                  </a:cubicBezTo>
                  <a:cubicBezTo>
                    <a:pt x="575" y="17551"/>
                    <a:pt x="625" y="17507"/>
                    <a:pt x="666" y="17468"/>
                  </a:cubicBezTo>
                  <a:cubicBezTo>
                    <a:pt x="705" y="17427"/>
                    <a:pt x="745" y="17384"/>
                    <a:pt x="756" y="17372"/>
                  </a:cubicBezTo>
                  <a:cubicBezTo>
                    <a:pt x="765" y="17359"/>
                    <a:pt x="782" y="17361"/>
                    <a:pt x="793" y="17376"/>
                  </a:cubicBezTo>
                  <a:cubicBezTo>
                    <a:pt x="805" y="17391"/>
                    <a:pt x="826" y="17400"/>
                    <a:pt x="839" y="17396"/>
                  </a:cubicBezTo>
                  <a:cubicBezTo>
                    <a:pt x="853" y="17391"/>
                    <a:pt x="880" y="17374"/>
                    <a:pt x="898" y="17355"/>
                  </a:cubicBezTo>
                  <a:cubicBezTo>
                    <a:pt x="915" y="17336"/>
                    <a:pt x="945" y="17322"/>
                    <a:pt x="963" y="17320"/>
                  </a:cubicBezTo>
                  <a:cubicBezTo>
                    <a:pt x="980" y="17318"/>
                    <a:pt x="993" y="17324"/>
                    <a:pt x="991" y="17333"/>
                  </a:cubicBezTo>
                  <a:cubicBezTo>
                    <a:pt x="994" y="17341"/>
                    <a:pt x="970" y="17366"/>
                    <a:pt x="948" y="17385"/>
                  </a:cubicBezTo>
                  <a:cubicBezTo>
                    <a:pt x="926" y="17405"/>
                    <a:pt x="900" y="17458"/>
                    <a:pt x="896" y="17503"/>
                  </a:cubicBezTo>
                  <a:cubicBezTo>
                    <a:pt x="889" y="17548"/>
                    <a:pt x="894" y="17589"/>
                    <a:pt x="906" y="17596"/>
                  </a:cubicBezTo>
                  <a:cubicBezTo>
                    <a:pt x="919" y="17602"/>
                    <a:pt x="934" y="17624"/>
                    <a:pt x="942" y="17644"/>
                  </a:cubicBezTo>
                  <a:cubicBezTo>
                    <a:pt x="949" y="17664"/>
                    <a:pt x="947" y="17683"/>
                    <a:pt x="939" y="17690"/>
                  </a:cubicBezTo>
                  <a:cubicBezTo>
                    <a:pt x="931" y="17696"/>
                    <a:pt x="911" y="17693"/>
                    <a:pt x="895" y="17689"/>
                  </a:cubicBezTo>
                  <a:cubicBezTo>
                    <a:pt x="879" y="17683"/>
                    <a:pt x="851" y="17660"/>
                    <a:pt x="831" y="17638"/>
                  </a:cubicBezTo>
                  <a:cubicBezTo>
                    <a:pt x="812" y="17615"/>
                    <a:pt x="791" y="17583"/>
                    <a:pt x="782" y="17567"/>
                  </a:cubicBezTo>
                  <a:cubicBezTo>
                    <a:pt x="772" y="17551"/>
                    <a:pt x="758" y="17534"/>
                    <a:pt x="748" y="17536"/>
                  </a:cubicBezTo>
                  <a:cubicBezTo>
                    <a:pt x="738" y="17538"/>
                    <a:pt x="719" y="17544"/>
                    <a:pt x="708" y="17556"/>
                  </a:cubicBezTo>
                  <a:cubicBezTo>
                    <a:pt x="695" y="17567"/>
                    <a:pt x="671" y="17582"/>
                    <a:pt x="653" y="17584"/>
                  </a:cubicBezTo>
                  <a:cubicBezTo>
                    <a:pt x="635" y="17589"/>
                    <a:pt x="615" y="17601"/>
                    <a:pt x="609" y="17613"/>
                  </a:cubicBezTo>
                  <a:cubicBezTo>
                    <a:pt x="602" y="17624"/>
                    <a:pt x="604" y="17644"/>
                    <a:pt x="614" y="17650"/>
                  </a:cubicBezTo>
                  <a:cubicBezTo>
                    <a:pt x="623" y="17660"/>
                    <a:pt x="641" y="17662"/>
                    <a:pt x="653" y="17662"/>
                  </a:cubicBezTo>
                  <a:cubicBezTo>
                    <a:pt x="666" y="17661"/>
                    <a:pt x="691" y="17676"/>
                    <a:pt x="709" y="17696"/>
                  </a:cubicBezTo>
                  <a:cubicBezTo>
                    <a:pt x="729" y="17714"/>
                    <a:pt x="753" y="17733"/>
                    <a:pt x="765" y="17734"/>
                  </a:cubicBezTo>
                  <a:cubicBezTo>
                    <a:pt x="778" y="17735"/>
                    <a:pt x="781" y="17745"/>
                    <a:pt x="773" y="17757"/>
                  </a:cubicBezTo>
                  <a:cubicBezTo>
                    <a:pt x="766" y="17768"/>
                    <a:pt x="747" y="17781"/>
                    <a:pt x="732" y="17783"/>
                  </a:cubicBezTo>
                  <a:cubicBezTo>
                    <a:pt x="717" y="17787"/>
                    <a:pt x="689" y="17779"/>
                    <a:pt x="671" y="17767"/>
                  </a:cubicBezTo>
                  <a:cubicBezTo>
                    <a:pt x="652" y="17755"/>
                    <a:pt x="629" y="17742"/>
                    <a:pt x="619" y="17740"/>
                  </a:cubicBezTo>
                  <a:cubicBezTo>
                    <a:pt x="609" y="17738"/>
                    <a:pt x="581" y="17738"/>
                    <a:pt x="557" y="17749"/>
                  </a:cubicBezTo>
                  <a:cubicBezTo>
                    <a:pt x="533" y="17756"/>
                    <a:pt x="488" y="17796"/>
                    <a:pt x="455" y="17835"/>
                  </a:cubicBezTo>
                  <a:cubicBezTo>
                    <a:pt x="422" y="17873"/>
                    <a:pt x="376" y="17918"/>
                    <a:pt x="354" y="17936"/>
                  </a:cubicBezTo>
                  <a:cubicBezTo>
                    <a:pt x="330" y="17951"/>
                    <a:pt x="274" y="17973"/>
                    <a:pt x="227" y="17981"/>
                  </a:cubicBezTo>
                  <a:cubicBezTo>
                    <a:pt x="180" y="17988"/>
                    <a:pt x="135" y="18001"/>
                    <a:pt x="130" y="18010"/>
                  </a:cubicBezTo>
                  <a:cubicBezTo>
                    <a:pt x="122" y="18017"/>
                    <a:pt x="127" y="18029"/>
                    <a:pt x="138" y="18036"/>
                  </a:cubicBezTo>
                  <a:cubicBezTo>
                    <a:pt x="149" y="18042"/>
                    <a:pt x="179" y="18043"/>
                    <a:pt x="205" y="18037"/>
                  </a:cubicBezTo>
                  <a:cubicBezTo>
                    <a:pt x="231" y="18032"/>
                    <a:pt x="269" y="18015"/>
                    <a:pt x="292" y="18004"/>
                  </a:cubicBezTo>
                  <a:cubicBezTo>
                    <a:pt x="315" y="17991"/>
                    <a:pt x="368" y="17969"/>
                    <a:pt x="411" y="17953"/>
                  </a:cubicBezTo>
                  <a:cubicBezTo>
                    <a:pt x="453" y="17936"/>
                    <a:pt x="512" y="17909"/>
                    <a:pt x="541" y="17887"/>
                  </a:cubicBezTo>
                  <a:cubicBezTo>
                    <a:pt x="570" y="17867"/>
                    <a:pt x="610" y="17853"/>
                    <a:pt x="632" y="17853"/>
                  </a:cubicBezTo>
                  <a:cubicBezTo>
                    <a:pt x="653" y="17858"/>
                    <a:pt x="690" y="17852"/>
                    <a:pt x="714" y="17847"/>
                  </a:cubicBezTo>
                  <a:cubicBezTo>
                    <a:pt x="738" y="17842"/>
                    <a:pt x="753" y="17844"/>
                    <a:pt x="747" y="17851"/>
                  </a:cubicBezTo>
                  <a:cubicBezTo>
                    <a:pt x="741" y="17858"/>
                    <a:pt x="715" y="17882"/>
                    <a:pt x="690" y="17906"/>
                  </a:cubicBezTo>
                  <a:cubicBezTo>
                    <a:pt x="663" y="17927"/>
                    <a:pt x="613" y="17951"/>
                    <a:pt x="578" y="17961"/>
                  </a:cubicBezTo>
                  <a:cubicBezTo>
                    <a:pt x="542" y="17969"/>
                    <a:pt x="485" y="17989"/>
                    <a:pt x="450" y="18005"/>
                  </a:cubicBezTo>
                  <a:cubicBezTo>
                    <a:pt x="416" y="18021"/>
                    <a:pt x="341" y="18039"/>
                    <a:pt x="285" y="18050"/>
                  </a:cubicBezTo>
                  <a:cubicBezTo>
                    <a:pt x="229" y="18060"/>
                    <a:pt x="162" y="18078"/>
                    <a:pt x="135" y="18087"/>
                  </a:cubicBezTo>
                  <a:cubicBezTo>
                    <a:pt x="110" y="18100"/>
                    <a:pt x="76" y="18122"/>
                    <a:pt x="68" y="18145"/>
                  </a:cubicBezTo>
                  <a:cubicBezTo>
                    <a:pt x="56" y="18166"/>
                    <a:pt x="51" y="18199"/>
                    <a:pt x="52" y="18218"/>
                  </a:cubicBezTo>
                  <a:cubicBezTo>
                    <a:pt x="55" y="18237"/>
                    <a:pt x="76" y="18252"/>
                    <a:pt x="101" y="18250"/>
                  </a:cubicBezTo>
                  <a:cubicBezTo>
                    <a:pt x="126" y="18248"/>
                    <a:pt x="171" y="18239"/>
                    <a:pt x="199" y="18227"/>
                  </a:cubicBezTo>
                  <a:cubicBezTo>
                    <a:pt x="227" y="18216"/>
                    <a:pt x="256" y="18211"/>
                    <a:pt x="262" y="18215"/>
                  </a:cubicBezTo>
                  <a:cubicBezTo>
                    <a:pt x="269" y="18217"/>
                    <a:pt x="251" y="18238"/>
                    <a:pt x="225" y="18257"/>
                  </a:cubicBezTo>
                  <a:cubicBezTo>
                    <a:pt x="199" y="18277"/>
                    <a:pt x="153" y="18301"/>
                    <a:pt x="123" y="18309"/>
                  </a:cubicBezTo>
                  <a:cubicBezTo>
                    <a:pt x="93" y="18317"/>
                    <a:pt x="53" y="18345"/>
                    <a:pt x="34" y="18368"/>
                  </a:cubicBezTo>
                  <a:cubicBezTo>
                    <a:pt x="15" y="18392"/>
                    <a:pt x="-2" y="18425"/>
                    <a:pt x="1" y="18441"/>
                  </a:cubicBezTo>
                  <a:cubicBezTo>
                    <a:pt x="-2" y="18457"/>
                    <a:pt x="16" y="18478"/>
                    <a:pt x="34" y="18489"/>
                  </a:cubicBezTo>
                  <a:cubicBezTo>
                    <a:pt x="51" y="18499"/>
                    <a:pt x="80" y="18497"/>
                    <a:pt x="98" y="18484"/>
                  </a:cubicBezTo>
                  <a:cubicBezTo>
                    <a:pt x="117" y="18471"/>
                    <a:pt x="142" y="18445"/>
                    <a:pt x="154" y="18426"/>
                  </a:cubicBezTo>
                  <a:cubicBezTo>
                    <a:pt x="167" y="18409"/>
                    <a:pt x="196" y="18385"/>
                    <a:pt x="219" y="18380"/>
                  </a:cubicBezTo>
                  <a:cubicBezTo>
                    <a:pt x="242" y="18373"/>
                    <a:pt x="270" y="18368"/>
                    <a:pt x="281" y="18373"/>
                  </a:cubicBezTo>
                  <a:cubicBezTo>
                    <a:pt x="291" y="18377"/>
                    <a:pt x="314" y="18378"/>
                    <a:pt x="331" y="18376"/>
                  </a:cubicBezTo>
                  <a:cubicBezTo>
                    <a:pt x="348" y="18374"/>
                    <a:pt x="377" y="18366"/>
                    <a:pt x="395" y="18355"/>
                  </a:cubicBezTo>
                  <a:cubicBezTo>
                    <a:pt x="414" y="18345"/>
                    <a:pt x="442" y="18331"/>
                    <a:pt x="457" y="18323"/>
                  </a:cubicBezTo>
                  <a:cubicBezTo>
                    <a:pt x="472" y="18317"/>
                    <a:pt x="490" y="18314"/>
                    <a:pt x="494" y="18321"/>
                  </a:cubicBezTo>
                  <a:cubicBezTo>
                    <a:pt x="501" y="18325"/>
                    <a:pt x="491" y="18344"/>
                    <a:pt x="475" y="18359"/>
                  </a:cubicBezTo>
                  <a:cubicBezTo>
                    <a:pt x="460" y="18375"/>
                    <a:pt x="419" y="18402"/>
                    <a:pt x="384" y="18421"/>
                  </a:cubicBezTo>
                  <a:cubicBezTo>
                    <a:pt x="350" y="18441"/>
                    <a:pt x="312" y="18453"/>
                    <a:pt x="299" y="18451"/>
                  </a:cubicBezTo>
                  <a:cubicBezTo>
                    <a:pt x="287" y="18447"/>
                    <a:pt x="261" y="18443"/>
                    <a:pt x="241" y="18445"/>
                  </a:cubicBezTo>
                  <a:cubicBezTo>
                    <a:pt x="221" y="18443"/>
                    <a:pt x="196" y="18450"/>
                    <a:pt x="185" y="18456"/>
                  </a:cubicBezTo>
                  <a:cubicBezTo>
                    <a:pt x="176" y="18463"/>
                    <a:pt x="177" y="18475"/>
                    <a:pt x="192" y="18483"/>
                  </a:cubicBezTo>
                  <a:cubicBezTo>
                    <a:pt x="206" y="18493"/>
                    <a:pt x="232" y="18495"/>
                    <a:pt x="251" y="18496"/>
                  </a:cubicBezTo>
                  <a:cubicBezTo>
                    <a:pt x="269" y="18494"/>
                    <a:pt x="292" y="18495"/>
                    <a:pt x="304" y="18495"/>
                  </a:cubicBezTo>
                  <a:cubicBezTo>
                    <a:pt x="315" y="18495"/>
                    <a:pt x="312" y="18507"/>
                    <a:pt x="298" y="18517"/>
                  </a:cubicBezTo>
                  <a:cubicBezTo>
                    <a:pt x="283" y="18527"/>
                    <a:pt x="243" y="18545"/>
                    <a:pt x="207" y="18552"/>
                  </a:cubicBezTo>
                  <a:cubicBezTo>
                    <a:pt x="172" y="18562"/>
                    <a:pt x="117" y="18588"/>
                    <a:pt x="85" y="18613"/>
                  </a:cubicBezTo>
                  <a:cubicBezTo>
                    <a:pt x="53" y="18636"/>
                    <a:pt x="38" y="18666"/>
                    <a:pt x="52" y="18675"/>
                  </a:cubicBezTo>
                  <a:cubicBezTo>
                    <a:pt x="66" y="18685"/>
                    <a:pt x="89" y="18694"/>
                    <a:pt x="104" y="18693"/>
                  </a:cubicBezTo>
                  <a:cubicBezTo>
                    <a:pt x="119" y="18694"/>
                    <a:pt x="143" y="18685"/>
                    <a:pt x="157" y="18674"/>
                  </a:cubicBezTo>
                  <a:cubicBezTo>
                    <a:pt x="170" y="18664"/>
                    <a:pt x="209" y="18648"/>
                    <a:pt x="243" y="18639"/>
                  </a:cubicBezTo>
                  <a:cubicBezTo>
                    <a:pt x="277" y="18631"/>
                    <a:pt x="316" y="18623"/>
                    <a:pt x="327" y="18630"/>
                  </a:cubicBezTo>
                  <a:cubicBezTo>
                    <a:pt x="339" y="18634"/>
                    <a:pt x="360" y="18635"/>
                    <a:pt x="372" y="18637"/>
                  </a:cubicBezTo>
                  <a:cubicBezTo>
                    <a:pt x="385" y="18635"/>
                    <a:pt x="384" y="18646"/>
                    <a:pt x="371" y="18660"/>
                  </a:cubicBezTo>
                  <a:cubicBezTo>
                    <a:pt x="357" y="18673"/>
                    <a:pt x="316" y="18698"/>
                    <a:pt x="277" y="18710"/>
                  </a:cubicBezTo>
                  <a:cubicBezTo>
                    <a:pt x="238" y="18725"/>
                    <a:pt x="189" y="18733"/>
                    <a:pt x="167" y="18732"/>
                  </a:cubicBezTo>
                  <a:cubicBezTo>
                    <a:pt x="145" y="18729"/>
                    <a:pt x="109" y="18738"/>
                    <a:pt x="88" y="18748"/>
                  </a:cubicBezTo>
                  <a:cubicBezTo>
                    <a:pt x="66" y="18757"/>
                    <a:pt x="41" y="18780"/>
                    <a:pt x="32" y="18797"/>
                  </a:cubicBezTo>
                  <a:cubicBezTo>
                    <a:pt x="25" y="18815"/>
                    <a:pt x="20" y="18839"/>
                    <a:pt x="27" y="18851"/>
                  </a:cubicBezTo>
                  <a:cubicBezTo>
                    <a:pt x="31" y="18864"/>
                    <a:pt x="50" y="18871"/>
                    <a:pt x="65" y="18870"/>
                  </a:cubicBezTo>
                  <a:cubicBezTo>
                    <a:pt x="80" y="18868"/>
                    <a:pt x="113" y="18852"/>
                    <a:pt x="137" y="18835"/>
                  </a:cubicBezTo>
                  <a:cubicBezTo>
                    <a:pt x="161" y="18817"/>
                    <a:pt x="199" y="18799"/>
                    <a:pt x="221" y="18794"/>
                  </a:cubicBezTo>
                  <a:cubicBezTo>
                    <a:pt x="242" y="18789"/>
                    <a:pt x="276" y="18791"/>
                    <a:pt x="296" y="18798"/>
                  </a:cubicBezTo>
                  <a:cubicBezTo>
                    <a:pt x="315" y="18806"/>
                    <a:pt x="326" y="18820"/>
                    <a:pt x="323" y="18831"/>
                  </a:cubicBezTo>
                  <a:cubicBezTo>
                    <a:pt x="318" y="18841"/>
                    <a:pt x="281" y="18868"/>
                    <a:pt x="239" y="18889"/>
                  </a:cubicBezTo>
                  <a:cubicBezTo>
                    <a:pt x="199" y="18911"/>
                    <a:pt x="157" y="18941"/>
                    <a:pt x="149" y="18957"/>
                  </a:cubicBezTo>
                  <a:cubicBezTo>
                    <a:pt x="141" y="18974"/>
                    <a:pt x="144" y="19008"/>
                    <a:pt x="148" y="19035"/>
                  </a:cubicBezTo>
                  <a:cubicBezTo>
                    <a:pt x="156" y="19061"/>
                    <a:pt x="170" y="19081"/>
                    <a:pt x="181" y="19080"/>
                  </a:cubicBezTo>
                  <a:cubicBezTo>
                    <a:pt x="192" y="19076"/>
                    <a:pt x="209" y="19068"/>
                    <a:pt x="217" y="19057"/>
                  </a:cubicBezTo>
                  <a:cubicBezTo>
                    <a:pt x="224" y="19045"/>
                    <a:pt x="248" y="19032"/>
                    <a:pt x="268" y="19025"/>
                  </a:cubicBezTo>
                  <a:cubicBezTo>
                    <a:pt x="288" y="19020"/>
                    <a:pt x="312" y="19028"/>
                    <a:pt x="322" y="19045"/>
                  </a:cubicBezTo>
                  <a:cubicBezTo>
                    <a:pt x="328" y="19065"/>
                    <a:pt x="344" y="19066"/>
                    <a:pt x="351" y="19053"/>
                  </a:cubicBezTo>
                  <a:cubicBezTo>
                    <a:pt x="359" y="19040"/>
                    <a:pt x="373" y="19025"/>
                    <a:pt x="383" y="19017"/>
                  </a:cubicBezTo>
                  <a:cubicBezTo>
                    <a:pt x="394" y="19012"/>
                    <a:pt x="409" y="19009"/>
                    <a:pt x="417" y="19017"/>
                  </a:cubicBezTo>
                  <a:cubicBezTo>
                    <a:pt x="427" y="19021"/>
                    <a:pt x="423" y="19041"/>
                    <a:pt x="411" y="19056"/>
                  </a:cubicBezTo>
                  <a:cubicBezTo>
                    <a:pt x="398" y="19071"/>
                    <a:pt x="384" y="19097"/>
                    <a:pt x="377" y="19113"/>
                  </a:cubicBezTo>
                  <a:cubicBezTo>
                    <a:pt x="372" y="19130"/>
                    <a:pt x="375" y="19150"/>
                    <a:pt x="386" y="19163"/>
                  </a:cubicBezTo>
                  <a:cubicBezTo>
                    <a:pt x="396" y="19176"/>
                    <a:pt x="381" y="19218"/>
                    <a:pt x="347" y="19254"/>
                  </a:cubicBezTo>
                  <a:cubicBezTo>
                    <a:pt x="315" y="19294"/>
                    <a:pt x="279" y="19325"/>
                    <a:pt x="270" y="19330"/>
                  </a:cubicBezTo>
                  <a:cubicBezTo>
                    <a:pt x="261" y="19332"/>
                    <a:pt x="237" y="19352"/>
                    <a:pt x="219" y="19373"/>
                  </a:cubicBezTo>
                  <a:cubicBezTo>
                    <a:pt x="199" y="19393"/>
                    <a:pt x="170" y="19432"/>
                    <a:pt x="153" y="19458"/>
                  </a:cubicBezTo>
                  <a:cubicBezTo>
                    <a:pt x="136" y="19484"/>
                    <a:pt x="121" y="19510"/>
                    <a:pt x="123" y="19518"/>
                  </a:cubicBezTo>
                  <a:cubicBezTo>
                    <a:pt x="125" y="19526"/>
                    <a:pt x="144" y="19529"/>
                    <a:pt x="166" y="19522"/>
                  </a:cubicBezTo>
                  <a:cubicBezTo>
                    <a:pt x="188" y="19515"/>
                    <a:pt x="217" y="19502"/>
                    <a:pt x="229" y="19490"/>
                  </a:cubicBezTo>
                  <a:cubicBezTo>
                    <a:pt x="242" y="19479"/>
                    <a:pt x="265" y="19467"/>
                    <a:pt x="282" y="19471"/>
                  </a:cubicBezTo>
                  <a:cubicBezTo>
                    <a:pt x="299" y="19473"/>
                    <a:pt x="315" y="19488"/>
                    <a:pt x="315" y="19507"/>
                  </a:cubicBezTo>
                  <a:cubicBezTo>
                    <a:pt x="315" y="19526"/>
                    <a:pt x="307" y="19553"/>
                    <a:pt x="293" y="19567"/>
                  </a:cubicBezTo>
                  <a:cubicBezTo>
                    <a:pt x="280" y="19582"/>
                    <a:pt x="270" y="19600"/>
                    <a:pt x="267" y="19606"/>
                  </a:cubicBezTo>
                  <a:cubicBezTo>
                    <a:pt x="267" y="19612"/>
                    <a:pt x="283" y="19615"/>
                    <a:pt x="305" y="19611"/>
                  </a:cubicBezTo>
                  <a:cubicBezTo>
                    <a:pt x="326" y="19606"/>
                    <a:pt x="354" y="19607"/>
                    <a:pt x="365" y="19613"/>
                  </a:cubicBezTo>
                  <a:cubicBezTo>
                    <a:pt x="376" y="19619"/>
                    <a:pt x="383" y="19632"/>
                    <a:pt x="383" y="19644"/>
                  </a:cubicBezTo>
                  <a:cubicBezTo>
                    <a:pt x="382" y="19656"/>
                    <a:pt x="366" y="19675"/>
                    <a:pt x="350" y="19692"/>
                  </a:cubicBezTo>
                  <a:cubicBezTo>
                    <a:pt x="333" y="19706"/>
                    <a:pt x="327" y="19725"/>
                    <a:pt x="338" y="19733"/>
                  </a:cubicBezTo>
                  <a:cubicBezTo>
                    <a:pt x="346" y="19744"/>
                    <a:pt x="349" y="19764"/>
                    <a:pt x="343" y="19785"/>
                  </a:cubicBezTo>
                  <a:cubicBezTo>
                    <a:pt x="335" y="19805"/>
                    <a:pt x="311" y="19832"/>
                    <a:pt x="290" y="19849"/>
                  </a:cubicBezTo>
                  <a:cubicBezTo>
                    <a:pt x="268" y="19865"/>
                    <a:pt x="240" y="19889"/>
                    <a:pt x="230" y="19903"/>
                  </a:cubicBezTo>
                  <a:cubicBezTo>
                    <a:pt x="221" y="19919"/>
                    <a:pt x="232" y="19922"/>
                    <a:pt x="259" y="19915"/>
                  </a:cubicBezTo>
                  <a:cubicBezTo>
                    <a:pt x="287" y="19907"/>
                    <a:pt x="320" y="19888"/>
                    <a:pt x="334" y="19872"/>
                  </a:cubicBezTo>
                  <a:cubicBezTo>
                    <a:pt x="347" y="19856"/>
                    <a:pt x="368" y="19834"/>
                    <a:pt x="378" y="19820"/>
                  </a:cubicBezTo>
                  <a:cubicBezTo>
                    <a:pt x="387" y="19805"/>
                    <a:pt x="428" y="19779"/>
                    <a:pt x="467" y="19758"/>
                  </a:cubicBezTo>
                  <a:cubicBezTo>
                    <a:pt x="506" y="19738"/>
                    <a:pt x="544" y="19727"/>
                    <a:pt x="552" y="19734"/>
                  </a:cubicBezTo>
                  <a:cubicBezTo>
                    <a:pt x="561" y="19739"/>
                    <a:pt x="556" y="19760"/>
                    <a:pt x="542" y="19775"/>
                  </a:cubicBezTo>
                  <a:cubicBezTo>
                    <a:pt x="528" y="19790"/>
                    <a:pt x="521" y="19815"/>
                    <a:pt x="521" y="19829"/>
                  </a:cubicBezTo>
                  <a:cubicBezTo>
                    <a:pt x="521" y="19842"/>
                    <a:pt x="506" y="19869"/>
                    <a:pt x="484" y="19885"/>
                  </a:cubicBezTo>
                  <a:cubicBezTo>
                    <a:pt x="462" y="19903"/>
                    <a:pt x="432" y="19931"/>
                    <a:pt x="419" y="19950"/>
                  </a:cubicBezTo>
                  <a:cubicBezTo>
                    <a:pt x="404" y="19967"/>
                    <a:pt x="379" y="19982"/>
                    <a:pt x="362" y="19982"/>
                  </a:cubicBezTo>
                  <a:cubicBezTo>
                    <a:pt x="344" y="19981"/>
                    <a:pt x="313" y="19989"/>
                    <a:pt x="292" y="19998"/>
                  </a:cubicBezTo>
                  <a:cubicBezTo>
                    <a:pt x="272" y="20005"/>
                    <a:pt x="243" y="20028"/>
                    <a:pt x="227" y="20045"/>
                  </a:cubicBezTo>
                  <a:cubicBezTo>
                    <a:pt x="211" y="20063"/>
                    <a:pt x="208" y="20091"/>
                    <a:pt x="224" y="20099"/>
                  </a:cubicBezTo>
                  <a:cubicBezTo>
                    <a:pt x="239" y="20111"/>
                    <a:pt x="271" y="20109"/>
                    <a:pt x="294" y="20093"/>
                  </a:cubicBezTo>
                  <a:cubicBezTo>
                    <a:pt x="317" y="20078"/>
                    <a:pt x="352" y="20053"/>
                    <a:pt x="370" y="20037"/>
                  </a:cubicBezTo>
                  <a:cubicBezTo>
                    <a:pt x="387" y="20019"/>
                    <a:pt x="425" y="20008"/>
                    <a:pt x="452" y="20010"/>
                  </a:cubicBezTo>
                  <a:cubicBezTo>
                    <a:pt x="479" y="20010"/>
                    <a:pt x="504" y="20018"/>
                    <a:pt x="508" y="20025"/>
                  </a:cubicBezTo>
                  <a:cubicBezTo>
                    <a:pt x="515" y="20029"/>
                    <a:pt x="504" y="20050"/>
                    <a:pt x="491" y="20064"/>
                  </a:cubicBezTo>
                  <a:cubicBezTo>
                    <a:pt x="476" y="20077"/>
                    <a:pt x="437" y="20104"/>
                    <a:pt x="403" y="20126"/>
                  </a:cubicBezTo>
                  <a:cubicBezTo>
                    <a:pt x="368" y="20146"/>
                    <a:pt x="335" y="20182"/>
                    <a:pt x="335" y="20207"/>
                  </a:cubicBezTo>
                  <a:cubicBezTo>
                    <a:pt x="331" y="20232"/>
                    <a:pt x="315" y="20265"/>
                    <a:pt x="297" y="20281"/>
                  </a:cubicBezTo>
                  <a:cubicBezTo>
                    <a:pt x="279" y="20296"/>
                    <a:pt x="246" y="20317"/>
                    <a:pt x="222" y="20330"/>
                  </a:cubicBezTo>
                  <a:cubicBezTo>
                    <a:pt x="199" y="20342"/>
                    <a:pt x="173" y="20363"/>
                    <a:pt x="168" y="20378"/>
                  </a:cubicBezTo>
                  <a:cubicBezTo>
                    <a:pt x="162" y="20394"/>
                    <a:pt x="171" y="20415"/>
                    <a:pt x="190" y="20424"/>
                  </a:cubicBezTo>
                  <a:cubicBezTo>
                    <a:pt x="208" y="20435"/>
                    <a:pt x="254" y="20427"/>
                    <a:pt x="291" y="20412"/>
                  </a:cubicBezTo>
                  <a:cubicBezTo>
                    <a:pt x="327" y="20393"/>
                    <a:pt x="377" y="20366"/>
                    <a:pt x="401" y="20346"/>
                  </a:cubicBezTo>
                  <a:cubicBezTo>
                    <a:pt x="425" y="20327"/>
                    <a:pt x="468" y="20297"/>
                    <a:pt x="498" y="20284"/>
                  </a:cubicBezTo>
                  <a:cubicBezTo>
                    <a:pt x="529" y="20271"/>
                    <a:pt x="568" y="20258"/>
                    <a:pt x="585" y="20256"/>
                  </a:cubicBezTo>
                  <a:cubicBezTo>
                    <a:pt x="603" y="20255"/>
                    <a:pt x="621" y="20265"/>
                    <a:pt x="625" y="20278"/>
                  </a:cubicBezTo>
                  <a:cubicBezTo>
                    <a:pt x="628" y="20291"/>
                    <a:pt x="621" y="20313"/>
                    <a:pt x="610" y="20327"/>
                  </a:cubicBezTo>
                  <a:cubicBezTo>
                    <a:pt x="598" y="20341"/>
                    <a:pt x="571" y="20353"/>
                    <a:pt x="551" y="20358"/>
                  </a:cubicBezTo>
                  <a:cubicBezTo>
                    <a:pt x="531" y="20361"/>
                    <a:pt x="486" y="20383"/>
                    <a:pt x="451" y="20405"/>
                  </a:cubicBezTo>
                  <a:cubicBezTo>
                    <a:pt x="417" y="20427"/>
                    <a:pt x="387" y="20453"/>
                    <a:pt x="382" y="20463"/>
                  </a:cubicBezTo>
                  <a:cubicBezTo>
                    <a:pt x="379" y="20473"/>
                    <a:pt x="392" y="20479"/>
                    <a:pt x="412" y="20477"/>
                  </a:cubicBezTo>
                  <a:cubicBezTo>
                    <a:pt x="432" y="20475"/>
                    <a:pt x="454" y="20480"/>
                    <a:pt x="461" y="20492"/>
                  </a:cubicBezTo>
                  <a:cubicBezTo>
                    <a:pt x="471" y="20500"/>
                    <a:pt x="453" y="20532"/>
                    <a:pt x="427" y="20557"/>
                  </a:cubicBezTo>
                  <a:cubicBezTo>
                    <a:pt x="402" y="20582"/>
                    <a:pt x="384" y="20618"/>
                    <a:pt x="386" y="20639"/>
                  </a:cubicBezTo>
                  <a:cubicBezTo>
                    <a:pt x="387" y="20659"/>
                    <a:pt x="408" y="20680"/>
                    <a:pt x="428" y="20684"/>
                  </a:cubicBezTo>
                  <a:cubicBezTo>
                    <a:pt x="448" y="20689"/>
                    <a:pt x="499" y="20666"/>
                    <a:pt x="539" y="20630"/>
                  </a:cubicBezTo>
                  <a:cubicBezTo>
                    <a:pt x="581" y="20596"/>
                    <a:pt x="628" y="20560"/>
                    <a:pt x="645" y="20550"/>
                  </a:cubicBezTo>
                  <a:cubicBezTo>
                    <a:pt x="663" y="20542"/>
                    <a:pt x="680" y="20540"/>
                    <a:pt x="685" y="20547"/>
                  </a:cubicBezTo>
                  <a:cubicBezTo>
                    <a:pt x="691" y="20555"/>
                    <a:pt x="710" y="20574"/>
                    <a:pt x="730" y="20588"/>
                  </a:cubicBezTo>
                  <a:cubicBezTo>
                    <a:pt x="749" y="20602"/>
                    <a:pt x="761" y="20638"/>
                    <a:pt x="757" y="20668"/>
                  </a:cubicBezTo>
                  <a:cubicBezTo>
                    <a:pt x="751" y="20698"/>
                    <a:pt x="768" y="20730"/>
                    <a:pt x="790" y="20736"/>
                  </a:cubicBezTo>
                  <a:cubicBezTo>
                    <a:pt x="811" y="20746"/>
                    <a:pt x="832" y="20756"/>
                    <a:pt x="834" y="20765"/>
                  </a:cubicBezTo>
                  <a:cubicBezTo>
                    <a:pt x="836" y="20773"/>
                    <a:pt x="820" y="20795"/>
                    <a:pt x="802" y="20814"/>
                  </a:cubicBezTo>
                  <a:cubicBezTo>
                    <a:pt x="783" y="20832"/>
                    <a:pt x="748" y="20853"/>
                    <a:pt x="725" y="20861"/>
                  </a:cubicBezTo>
                  <a:cubicBezTo>
                    <a:pt x="702" y="20870"/>
                    <a:pt x="667" y="20891"/>
                    <a:pt x="653" y="20915"/>
                  </a:cubicBezTo>
                  <a:cubicBezTo>
                    <a:pt x="636" y="20936"/>
                    <a:pt x="625" y="20967"/>
                    <a:pt x="626" y="20982"/>
                  </a:cubicBezTo>
                  <a:cubicBezTo>
                    <a:pt x="629" y="20997"/>
                    <a:pt x="665" y="21011"/>
                    <a:pt x="707" y="21014"/>
                  </a:cubicBezTo>
                  <a:cubicBezTo>
                    <a:pt x="750" y="21016"/>
                    <a:pt x="796" y="21012"/>
                    <a:pt x="809" y="21001"/>
                  </a:cubicBezTo>
                  <a:cubicBezTo>
                    <a:pt x="823" y="20994"/>
                    <a:pt x="830" y="20974"/>
                    <a:pt x="823" y="20963"/>
                  </a:cubicBezTo>
                  <a:cubicBezTo>
                    <a:pt x="818" y="20950"/>
                    <a:pt x="815" y="20929"/>
                    <a:pt x="820" y="20916"/>
                  </a:cubicBezTo>
                  <a:cubicBezTo>
                    <a:pt x="825" y="20904"/>
                    <a:pt x="838" y="20885"/>
                    <a:pt x="853" y="20873"/>
                  </a:cubicBezTo>
                  <a:cubicBezTo>
                    <a:pt x="869" y="20864"/>
                    <a:pt x="893" y="20860"/>
                    <a:pt x="909" y="20866"/>
                  </a:cubicBezTo>
                  <a:cubicBezTo>
                    <a:pt x="924" y="20874"/>
                    <a:pt x="954" y="20860"/>
                    <a:pt x="975" y="20841"/>
                  </a:cubicBezTo>
                  <a:cubicBezTo>
                    <a:pt x="995" y="20820"/>
                    <a:pt x="1033" y="20798"/>
                    <a:pt x="1057" y="20790"/>
                  </a:cubicBezTo>
                  <a:cubicBezTo>
                    <a:pt x="1080" y="20781"/>
                    <a:pt x="1111" y="20783"/>
                    <a:pt x="1121" y="20795"/>
                  </a:cubicBezTo>
                  <a:cubicBezTo>
                    <a:pt x="1134" y="20803"/>
                    <a:pt x="1156" y="20814"/>
                    <a:pt x="1172" y="20817"/>
                  </a:cubicBezTo>
                  <a:cubicBezTo>
                    <a:pt x="1189" y="20817"/>
                    <a:pt x="1215" y="20813"/>
                    <a:pt x="1232" y="20806"/>
                  </a:cubicBezTo>
                  <a:cubicBezTo>
                    <a:pt x="1248" y="20799"/>
                    <a:pt x="1274" y="20771"/>
                    <a:pt x="1289" y="20747"/>
                  </a:cubicBezTo>
                  <a:cubicBezTo>
                    <a:pt x="1304" y="20722"/>
                    <a:pt x="1333" y="20691"/>
                    <a:pt x="1352" y="20678"/>
                  </a:cubicBezTo>
                  <a:cubicBezTo>
                    <a:pt x="1369" y="20663"/>
                    <a:pt x="1400" y="20648"/>
                    <a:pt x="1419" y="20646"/>
                  </a:cubicBezTo>
                  <a:cubicBezTo>
                    <a:pt x="1438" y="20643"/>
                    <a:pt x="1471" y="20633"/>
                    <a:pt x="1492" y="20623"/>
                  </a:cubicBezTo>
                  <a:cubicBezTo>
                    <a:pt x="1513" y="20614"/>
                    <a:pt x="1546" y="20610"/>
                    <a:pt x="1564" y="20618"/>
                  </a:cubicBezTo>
                  <a:cubicBezTo>
                    <a:pt x="1582" y="20624"/>
                    <a:pt x="1613" y="20614"/>
                    <a:pt x="1632" y="20597"/>
                  </a:cubicBezTo>
                  <a:cubicBezTo>
                    <a:pt x="1652" y="20579"/>
                    <a:pt x="1673" y="20554"/>
                    <a:pt x="1676" y="20539"/>
                  </a:cubicBezTo>
                  <a:cubicBezTo>
                    <a:pt x="1680" y="20524"/>
                    <a:pt x="1678" y="20503"/>
                    <a:pt x="1668" y="20493"/>
                  </a:cubicBezTo>
                  <a:cubicBezTo>
                    <a:pt x="1657" y="20483"/>
                    <a:pt x="1651" y="20459"/>
                    <a:pt x="1655" y="20442"/>
                  </a:cubicBezTo>
                  <a:cubicBezTo>
                    <a:pt x="1658" y="20425"/>
                    <a:pt x="1672" y="20401"/>
                    <a:pt x="1687" y="20392"/>
                  </a:cubicBezTo>
                  <a:cubicBezTo>
                    <a:pt x="1703" y="20382"/>
                    <a:pt x="1725" y="20376"/>
                    <a:pt x="1739" y="20381"/>
                  </a:cubicBezTo>
                  <a:cubicBezTo>
                    <a:pt x="1752" y="20385"/>
                    <a:pt x="1771" y="20406"/>
                    <a:pt x="1779" y="20429"/>
                  </a:cubicBezTo>
                  <a:cubicBezTo>
                    <a:pt x="1787" y="20451"/>
                    <a:pt x="1789" y="20493"/>
                    <a:pt x="1782" y="20524"/>
                  </a:cubicBezTo>
                  <a:cubicBezTo>
                    <a:pt x="1776" y="20554"/>
                    <a:pt x="1747" y="20600"/>
                    <a:pt x="1721" y="20627"/>
                  </a:cubicBezTo>
                  <a:cubicBezTo>
                    <a:pt x="1694" y="20654"/>
                    <a:pt x="1657" y="20683"/>
                    <a:pt x="1639" y="20692"/>
                  </a:cubicBezTo>
                  <a:cubicBezTo>
                    <a:pt x="1621" y="20701"/>
                    <a:pt x="1591" y="20719"/>
                    <a:pt x="1575" y="20734"/>
                  </a:cubicBezTo>
                  <a:cubicBezTo>
                    <a:pt x="1559" y="20749"/>
                    <a:pt x="1545" y="20769"/>
                    <a:pt x="1550" y="20777"/>
                  </a:cubicBezTo>
                  <a:cubicBezTo>
                    <a:pt x="1551" y="20787"/>
                    <a:pt x="1584" y="20779"/>
                    <a:pt x="1620" y="20764"/>
                  </a:cubicBezTo>
                  <a:cubicBezTo>
                    <a:pt x="1654" y="20747"/>
                    <a:pt x="1726" y="20702"/>
                    <a:pt x="1778" y="20665"/>
                  </a:cubicBezTo>
                  <a:cubicBezTo>
                    <a:pt x="1829" y="20625"/>
                    <a:pt x="1901" y="20560"/>
                    <a:pt x="1936" y="20514"/>
                  </a:cubicBezTo>
                  <a:cubicBezTo>
                    <a:pt x="1970" y="20469"/>
                    <a:pt x="2010" y="20431"/>
                    <a:pt x="2023" y="20429"/>
                  </a:cubicBezTo>
                  <a:cubicBezTo>
                    <a:pt x="2036" y="20428"/>
                    <a:pt x="2054" y="20439"/>
                    <a:pt x="2059" y="20458"/>
                  </a:cubicBezTo>
                  <a:cubicBezTo>
                    <a:pt x="2067" y="20476"/>
                    <a:pt x="2069" y="20511"/>
                    <a:pt x="2064" y="20537"/>
                  </a:cubicBezTo>
                  <a:cubicBezTo>
                    <a:pt x="2061" y="20563"/>
                    <a:pt x="2037" y="20591"/>
                    <a:pt x="2015" y="20603"/>
                  </a:cubicBezTo>
                  <a:cubicBezTo>
                    <a:pt x="1993" y="20614"/>
                    <a:pt x="1954" y="20639"/>
                    <a:pt x="1928" y="20657"/>
                  </a:cubicBezTo>
                  <a:cubicBezTo>
                    <a:pt x="1902" y="20676"/>
                    <a:pt x="1857" y="20710"/>
                    <a:pt x="1830" y="20734"/>
                  </a:cubicBezTo>
                  <a:cubicBezTo>
                    <a:pt x="1803" y="20757"/>
                    <a:pt x="1758" y="20785"/>
                    <a:pt x="1732" y="20798"/>
                  </a:cubicBezTo>
                  <a:cubicBezTo>
                    <a:pt x="1705" y="20809"/>
                    <a:pt x="1675" y="20826"/>
                    <a:pt x="1666" y="20836"/>
                  </a:cubicBezTo>
                  <a:cubicBezTo>
                    <a:pt x="1657" y="20845"/>
                    <a:pt x="1655" y="20855"/>
                    <a:pt x="1659" y="20863"/>
                  </a:cubicBezTo>
                  <a:cubicBezTo>
                    <a:pt x="1665" y="20868"/>
                    <a:pt x="1691" y="20861"/>
                    <a:pt x="1720" y="20848"/>
                  </a:cubicBezTo>
                  <a:cubicBezTo>
                    <a:pt x="1747" y="20833"/>
                    <a:pt x="1801" y="20799"/>
                    <a:pt x="1837" y="20771"/>
                  </a:cubicBezTo>
                  <a:cubicBezTo>
                    <a:pt x="1874" y="20744"/>
                    <a:pt x="1907" y="20724"/>
                    <a:pt x="1909" y="20731"/>
                  </a:cubicBezTo>
                  <a:cubicBezTo>
                    <a:pt x="1913" y="20737"/>
                    <a:pt x="1887" y="20769"/>
                    <a:pt x="1851" y="20798"/>
                  </a:cubicBezTo>
                  <a:cubicBezTo>
                    <a:pt x="1817" y="20829"/>
                    <a:pt x="1771" y="20860"/>
                    <a:pt x="1750" y="20870"/>
                  </a:cubicBezTo>
                  <a:cubicBezTo>
                    <a:pt x="1730" y="20880"/>
                    <a:pt x="1710" y="20909"/>
                    <a:pt x="1703" y="20935"/>
                  </a:cubicBezTo>
                  <a:cubicBezTo>
                    <a:pt x="1695" y="20961"/>
                    <a:pt x="1652" y="21015"/>
                    <a:pt x="1604" y="21054"/>
                  </a:cubicBezTo>
                  <a:cubicBezTo>
                    <a:pt x="1556" y="21093"/>
                    <a:pt x="1510" y="21136"/>
                    <a:pt x="1504" y="21151"/>
                  </a:cubicBezTo>
                  <a:cubicBezTo>
                    <a:pt x="1499" y="21166"/>
                    <a:pt x="1502" y="21175"/>
                    <a:pt x="1514" y="21173"/>
                  </a:cubicBezTo>
                  <a:cubicBezTo>
                    <a:pt x="1525" y="21171"/>
                    <a:pt x="1549" y="21153"/>
                    <a:pt x="1569" y="21137"/>
                  </a:cubicBezTo>
                  <a:cubicBezTo>
                    <a:pt x="1587" y="21118"/>
                    <a:pt x="1612" y="21102"/>
                    <a:pt x="1622" y="21100"/>
                  </a:cubicBezTo>
                  <a:cubicBezTo>
                    <a:pt x="1632" y="21098"/>
                    <a:pt x="1641" y="21105"/>
                    <a:pt x="1642" y="21114"/>
                  </a:cubicBezTo>
                  <a:cubicBezTo>
                    <a:pt x="1642" y="21123"/>
                    <a:pt x="1649" y="21152"/>
                    <a:pt x="1654" y="21178"/>
                  </a:cubicBezTo>
                  <a:cubicBezTo>
                    <a:pt x="1662" y="21203"/>
                    <a:pt x="1671" y="21207"/>
                    <a:pt x="1683" y="21186"/>
                  </a:cubicBezTo>
                  <a:cubicBezTo>
                    <a:pt x="1692" y="21165"/>
                    <a:pt x="1718" y="21136"/>
                    <a:pt x="1738" y="21121"/>
                  </a:cubicBezTo>
                  <a:cubicBezTo>
                    <a:pt x="1757" y="21107"/>
                    <a:pt x="1783" y="21079"/>
                    <a:pt x="1797" y="21062"/>
                  </a:cubicBezTo>
                  <a:cubicBezTo>
                    <a:pt x="1808" y="21042"/>
                    <a:pt x="1831" y="21021"/>
                    <a:pt x="1846" y="21018"/>
                  </a:cubicBezTo>
                  <a:cubicBezTo>
                    <a:pt x="1860" y="21010"/>
                    <a:pt x="1877" y="21013"/>
                    <a:pt x="1884" y="21018"/>
                  </a:cubicBezTo>
                  <a:cubicBezTo>
                    <a:pt x="1887" y="21025"/>
                    <a:pt x="1874" y="21046"/>
                    <a:pt x="1851" y="21070"/>
                  </a:cubicBezTo>
                  <a:cubicBezTo>
                    <a:pt x="1828" y="21094"/>
                    <a:pt x="1797" y="21132"/>
                    <a:pt x="1786" y="21158"/>
                  </a:cubicBezTo>
                  <a:cubicBezTo>
                    <a:pt x="1772" y="21183"/>
                    <a:pt x="1766" y="21212"/>
                    <a:pt x="1772" y="21220"/>
                  </a:cubicBezTo>
                  <a:cubicBezTo>
                    <a:pt x="1773" y="21230"/>
                    <a:pt x="1798" y="21229"/>
                    <a:pt x="1821" y="21219"/>
                  </a:cubicBezTo>
                  <a:cubicBezTo>
                    <a:pt x="1844" y="21210"/>
                    <a:pt x="1875" y="21179"/>
                    <a:pt x="1891" y="21153"/>
                  </a:cubicBezTo>
                  <a:cubicBezTo>
                    <a:pt x="1907" y="21127"/>
                    <a:pt x="1930" y="21101"/>
                    <a:pt x="1942" y="21100"/>
                  </a:cubicBezTo>
                  <a:cubicBezTo>
                    <a:pt x="1955" y="21098"/>
                    <a:pt x="1982" y="21087"/>
                    <a:pt x="2002" y="21079"/>
                  </a:cubicBezTo>
                  <a:cubicBezTo>
                    <a:pt x="2022" y="21068"/>
                    <a:pt x="2020" y="21088"/>
                    <a:pt x="1998" y="21121"/>
                  </a:cubicBezTo>
                  <a:cubicBezTo>
                    <a:pt x="1974" y="21152"/>
                    <a:pt x="1950" y="21206"/>
                    <a:pt x="1940" y="21238"/>
                  </a:cubicBezTo>
                  <a:cubicBezTo>
                    <a:pt x="1932" y="21270"/>
                    <a:pt x="1895" y="21318"/>
                    <a:pt x="1864" y="21348"/>
                  </a:cubicBezTo>
                  <a:cubicBezTo>
                    <a:pt x="1832" y="21377"/>
                    <a:pt x="1801" y="21418"/>
                    <a:pt x="1795" y="21439"/>
                  </a:cubicBezTo>
                  <a:cubicBezTo>
                    <a:pt x="1790" y="21461"/>
                    <a:pt x="1792" y="21483"/>
                    <a:pt x="1802" y="21486"/>
                  </a:cubicBezTo>
                  <a:cubicBezTo>
                    <a:pt x="1809" y="21494"/>
                    <a:pt x="1842" y="21473"/>
                    <a:pt x="1871" y="21447"/>
                  </a:cubicBezTo>
                  <a:cubicBezTo>
                    <a:pt x="1899" y="21420"/>
                    <a:pt x="1947" y="21352"/>
                    <a:pt x="1976" y="21294"/>
                  </a:cubicBezTo>
                  <a:cubicBezTo>
                    <a:pt x="2005" y="21236"/>
                    <a:pt x="2048" y="21175"/>
                    <a:pt x="2071" y="21156"/>
                  </a:cubicBezTo>
                  <a:cubicBezTo>
                    <a:pt x="2093" y="21137"/>
                    <a:pt x="2115" y="21130"/>
                    <a:pt x="2121" y="21134"/>
                  </a:cubicBezTo>
                  <a:cubicBezTo>
                    <a:pt x="2124" y="21140"/>
                    <a:pt x="2099" y="21180"/>
                    <a:pt x="2065" y="21226"/>
                  </a:cubicBezTo>
                  <a:cubicBezTo>
                    <a:pt x="2031" y="21273"/>
                    <a:pt x="2001" y="21329"/>
                    <a:pt x="1999" y="21352"/>
                  </a:cubicBezTo>
                  <a:cubicBezTo>
                    <a:pt x="1998" y="21376"/>
                    <a:pt x="1984" y="21412"/>
                    <a:pt x="1972" y="21435"/>
                  </a:cubicBezTo>
                  <a:cubicBezTo>
                    <a:pt x="1959" y="21456"/>
                    <a:pt x="1936" y="21497"/>
                    <a:pt x="1925" y="21528"/>
                  </a:cubicBezTo>
                  <a:cubicBezTo>
                    <a:pt x="1912" y="21558"/>
                    <a:pt x="1914" y="21587"/>
                    <a:pt x="1930" y="21591"/>
                  </a:cubicBezTo>
                  <a:cubicBezTo>
                    <a:pt x="1944" y="21599"/>
                    <a:pt x="1968" y="21590"/>
                    <a:pt x="1982" y="21576"/>
                  </a:cubicBezTo>
                  <a:cubicBezTo>
                    <a:pt x="1994" y="21561"/>
                    <a:pt x="2009" y="21532"/>
                    <a:pt x="2009" y="21510"/>
                  </a:cubicBezTo>
                  <a:cubicBezTo>
                    <a:pt x="2012" y="21488"/>
                    <a:pt x="2020" y="21456"/>
                    <a:pt x="2028" y="21439"/>
                  </a:cubicBezTo>
                  <a:cubicBezTo>
                    <a:pt x="2038" y="21425"/>
                    <a:pt x="2051" y="21409"/>
                    <a:pt x="2062" y="21406"/>
                  </a:cubicBezTo>
                  <a:cubicBezTo>
                    <a:pt x="2073" y="21407"/>
                    <a:pt x="2097" y="21411"/>
                    <a:pt x="2117" y="21415"/>
                  </a:cubicBezTo>
                  <a:cubicBezTo>
                    <a:pt x="2137" y="21423"/>
                    <a:pt x="2156" y="21393"/>
                    <a:pt x="2166" y="21353"/>
                  </a:cubicBezTo>
                  <a:cubicBezTo>
                    <a:pt x="2173" y="21312"/>
                    <a:pt x="2189" y="21277"/>
                    <a:pt x="2200" y="21272"/>
                  </a:cubicBezTo>
                  <a:cubicBezTo>
                    <a:pt x="2212" y="21270"/>
                    <a:pt x="2235" y="21248"/>
                    <a:pt x="2252" y="21227"/>
                  </a:cubicBezTo>
                  <a:cubicBezTo>
                    <a:pt x="2269" y="21207"/>
                    <a:pt x="2294" y="21192"/>
                    <a:pt x="2307" y="21190"/>
                  </a:cubicBezTo>
                  <a:cubicBezTo>
                    <a:pt x="2320" y="21190"/>
                    <a:pt x="2331" y="21201"/>
                    <a:pt x="2331" y="21215"/>
                  </a:cubicBezTo>
                  <a:cubicBezTo>
                    <a:pt x="2331" y="21228"/>
                    <a:pt x="2323" y="21240"/>
                    <a:pt x="2314" y="21244"/>
                  </a:cubicBezTo>
                  <a:cubicBezTo>
                    <a:pt x="2305" y="21248"/>
                    <a:pt x="2289" y="21270"/>
                    <a:pt x="2282" y="21296"/>
                  </a:cubicBezTo>
                  <a:cubicBezTo>
                    <a:pt x="2274" y="21323"/>
                    <a:pt x="2269" y="21353"/>
                    <a:pt x="2270" y="21365"/>
                  </a:cubicBezTo>
                  <a:cubicBezTo>
                    <a:pt x="2272" y="21376"/>
                    <a:pt x="2306" y="21382"/>
                    <a:pt x="2346" y="21376"/>
                  </a:cubicBezTo>
                  <a:cubicBezTo>
                    <a:pt x="2386" y="21372"/>
                    <a:pt x="2473" y="21389"/>
                    <a:pt x="2541" y="21414"/>
                  </a:cubicBezTo>
                  <a:cubicBezTo>
                    <a:pt x="2607" y="21441"/>
                    <a:pt x="2670" y="21461"/>
                    <a:pt x="2679" y="21461"/>
                  </a:cubicBezTo>
                  <a:cubicBezTo>
                    <a:pt x="2688" y="21463"/>
                    <a:pt x="2698" y="21452"/>
                    <a:pt x="2698" y="21441"/>
                  </a:cubicBezTo>
                  <a:cubicBezTo>
                    <a:pt x="2700" y="21430"/>
                    <a:pt x="2717" y="21406"/>
                    <a:pt x="2737" y="21389"/>
                  </a:cubicBezTo>
                  <a:cubicBezTo>
                    <a:pt x="2757" y="21373"/>
                    <a:pt x="2786" y="21350"/>
                    <a:pt x="2802" y="21345"/>
                  </a:cubicBezTo>
                  <a:cubicBezTo>
                    <a:pt x="2817" y="21337"/>
                    <a:pt x="2833" y="21324"/>
                    <a:pt x="2834" y="21312"/>
                  </a:cubicBezTo>
                  <a:cubicBezTo>
                    <a:pt x="2836" y="21301"/>
                    <a:pt x="2828" y="21290"/>
                    <a:pt x="2815" y="21285"/>
                  </a:cubicBezTo>
                  <a:cubicBezTo>
                    <a:pt x="2803" y="21282"/>
                    <a:pt x="2786" y="21275"/>
                    <a:pt x="2778" y="21268"/>
                  </a:cubicBezTo>
                  <a:cubicBezTo>
                    <a:pt x="2771" y="21261"/>
                    <a:pt x="2747" y="21259"/>
                    <a:pt x="2726" y="21262"/>
                  </a:cubicBezTo>
                  <a:cubicBezTo>
                    <a:pt x="2705" y="21265"/>
                    <a:pt x="2679" y="21273"/>
                    <a:pt x="2667" y="21279"/>
                  </a:cubicBezTo>
                  <a:cubicBezTo>
                    <a:pt x="2656" y="21286"/>
                    <a:pt x="2646" y="21281"/>
                    <a:pt x="2646" y="21268"/>
                  </a:cubicBezTo>
                  <a:cubicBezTo>
                    <a:pt x="2646" y="21255"/>
                    <a:pt x="2652" y="21231"/>
                    <a:pt x="2666" y="21222"/>
                  </a:cubicBezTo>
                  <a:cubicBezTo>
                    <a:pt x="2675" y="21207"/>
                    <a:pt x="2688" y="21189"/>
                    <a:pt x="2690" y="21176"/>
                  </a:cubicBezTo>
                  <a:cubicBezTo>
                    <a:pt x="2690" y="21162"/>
                    <a:pt x="2672" y="21141"/>
                    <a:pt x="2648" y="21127"/>
                  </a:cubicBezTo>
                  <a:cubicBezTo>
                    <a:pt x="2622" y="21117"/>
                    <a:pt x="2565" y="21091"/>
                    <a:pt x="2519" y="21078"/>
                  </a:cubicBezTo>
                  <a:cubicBezTo>
                    <a:pt x="2473" y="21062"/>
                    <a:pt x="2432" y="21041"/>
                    <a:pt x="2423" y="21032"/>
                  </a:cubicBezTo>
                  <a:cubicBezTo>
                    <a:pt x="2418" y="21020"/>
                    <a:pt x="2419" y="21005"/>
                    <a:pt x="2428" y="20997"/>
                  </a:cubicBezTo>
                  <a:cubicBezTo>
                    <a:pt x="2438" y="20990"/>
                    <a:pt x="2464" y="20983"/>
                    <a:pt x="2488" y="20985"/>
                  </a:cubicBezTo>
                  <a:cubicBezTo>
                    <a:pt x="2512" y="20986"/>
                    <a:pt x="2541" y="20981"/>
                    <a:pt x="2554" y="20973"/>
                  </a:cubicBezTo>
                  <a:cubicBezTo>
                    <a:pt x="2568" y="20966"/>
                    <a:pt x="2584" y="20956"/>
                    <a:pt x="2593" y="20954"/>
                  </a:cubicBezTo>
                  <a:cubicBezTo>
                    <a:pt x="2603" y="20953"/>
                    <a:pt x="2615" y="20962"/>
                    <a:pt x="2619" y="20976"/>
                  </a:cubicBezTo>
                  <a:cubicBezTo>
                    <a:pt x="2623" y="20990"/>
                    <a:pt x="2644" y="21017"/>
                    <a:pt x="2665" y="21036"/>
                  </a:cubicBezTo>
                  <a:cubicBezTo>
                    <a:pt x="2685" y="21054"/>
                    <a:pt x="2716" y="21081"/>
                    <a:pt x="2735" y="21091"/>
                  </a:cubicBezTo>
                  <a:cubicBezTo>
                    <a:pt x="2754" y="21101"/>
                    <a:pt x="2783" y="21110"/>
                    <a:pt x="2802" y="21107"/>
                  </a:cubicBezTo>
                  <a:cubicBezTo>
                    <a:pt x="2820" y="21102"/>
                    <a:pt x="2859" y="21089"/>
                    <a:pt x="2889" y="21073"/>
                  </a:cubicBezTo>
                  <a:cubicBezTo>
                    <a:pt x="2918" y="21055"/>
                    <a:pt x="2961" y="21029"/>
                    <a:pt x="2984" y="21012"/>
                  </a:cubicBezTo>
                  <a:cubicBezTo>
                    <a:pt x="3006" y="20994"/>
                    <a:pt x="3030" y="20969"/>
                    <a:pt x="3036" y="20957"/>
                  </a:cubicBezTo>
                  <a:cubicBezTo>
                    <a:pt x="3042" y="20944"/>
                    <a:pt x="3031" y="20935"/>
                    <a:pt x="3011" y="20933"/>
                  </a:cubicBezTo>
                  <a:cubicBezTo>
                    <a:pt x="2992" y="20933"/>
                    <a:pt x="2952" y="20939"/>
                    <a:pt x="2923" y="20945"/>
                  </a:cubicBezTo>
                  <a:cubicBezTo>
                    <a:pt x="2894" y="20950"/>
                    <a:pt x="2858" y="20956"/>
                    <a:pt x="2841" y="20951"/>
                  </a:cubicBezTo>
                  <a:cubicBezTo>
                    <a:pt x="2825" y="20949"/>
                    <a:pt x="2815" y="20935"/>
                    <a:pt x="2819" y="20923"/>
                  </a:cubicBezTo>
                  <a:cubicBezTo>
                    <a:pt x="2822" y="20911"/>
                    <a:pt x="2836" y="20902"/>
                    <a:pt x="2849" y="20901"/>
                  </a:cubicBezTo>
                  <a:cubicBezTo>
                    <a:pt x="2863" y="20902"/>
                    <a:pt x="2892" y="20899"/>
                    <a:pt x="2914" y="20895"/>
                  </a:cubicBezTo>
                  <a:cubicBezTo>
                    <a:pt x="2937" y="20892"/>
                    <a:pt x="2973" y="20879"/>
                    <a:pt x="2992" y="20863"/>
                  </a:cubicBezTo>
                  <a:cubicBezTo>
                    <a:pt x="3012" y="20848"/>
                    <a:pt x="3030" y="20828"/>
                    <a:pt x="3027" y="20819"/>
                  </a:cubicBezTo>
                  <a:cubicBezTo>
                    <a:pt x="3026" y="20809"/>
                    <a:pt x="3006" y="20793"/>
                    <a:pt x="2983" y="20788"/>
                  </a:cubicBezTo>
                  <a:cubicBezTo>
                    <a:pt x="2960" y="20782"/>
                    <a:pt x="2922" y="20772"/>
                    <a:pt x="2899" y="20770"/>
                  </a:cubicBezTo>
                  <a:cubicBezTo>
                    <a:pt x="2875" y="20768"/>
                    <a:pt x="2860" y="20760"/>
                    <a:pt x="2863" y="20754"/>
                  </a:cubicBezTo>
                  <a:cubicBezTo>
                    <a:pt x="2867" y="20747"/>
                    <a:pt x="2881" y="20741"/>
                    <a:pt x="2894" y="20737"/>
                  </a:cubicBezTo>
                  <a:cubicBezTo>
                    <a:pt x="2906" y="20733"/>
                    <a:pt x="2919" y="20724"/>
                    <a:pt x="2925" y="20718"/>
                  </a:cubicBezTo>
                  <a:cubicBezTo>
                    <a:pt x="2929" y="20710"/>
                    <a:pt x="2930" y="20698"/>
                    <a:pt x="2925" y="20690"/>
                  </a:cubicBezTo>
                  <a:cubicBezTo>
                    <a:pt x="2921" y="20681"/>
                    <a:pt x="2892" y="20672"/>
                    <a:pt x="2861" y="20671"/>
                  </a:cubicBezTo>
                  <a:cubicBezTo>
                    <a:pt x="2830" y="20671"/>
                    <a:pt x="2798" y="20656"/>
                    <a:pt x="2789" y="20641"/>
                  </a:cubicBezTo>
                  <a:cubicBezTo>
                    <a:pt x="2778" y="20627"/>
                    <a:pt x="2778" y="20608"/>
                    <a:pt x="2785" y="20602"/>
                  </a:cubicBezTo>
                  <a:cubicBezTo>
                    <a:pt x="2792" y="20596"/>
                    <a:pt x="2817" y="20598"/>
                    <a:pt x="2840" y="20602"/>
                  </a:cubicBezTo>
                  <a:cubicBezTo>
                    <a:pt x="2863" y="20609"/>
                    <a:pt x="2906" y="20616"/>
                    <a:pt x="2935" y="20619"/>
                  </a:cubicBezTo>
                  <a:cubicBezTo>
                    <a:pt x="2964" y="20622"/>
                    <a:pt x="3023" y="20616"/>
                    <a:pt x="3064" y="20599"/>
                  </a:cubicBezTo>
                  <a:cubicBezTo>
                    <a:pt x="3107" y="20586"/>
                    <a:pt x="3162" y="20560"/>
                    <a:pt x="3189" y="20546"/>
                  </a:cubicBezTo>
                  <a:cubicBezTo>
                    <a:pt x="3215" y="20533"/>
                    <a:pt x="3242" y="20510"/>
                    <a:pt x="3246" y="20499"/>
                  </a:cubicBezTo>
                  <a:cubicBezTo>
                    <a:pt x="3253" y="20488"/>
                    <a:pt x="3251" y="20468"/>
                    <a:pt x="3248" y="20454"/>
                  </a:cubicBezTo>
                  <a:cubicBezTo>
                    <a:pt x="3243" y="20440"/>
                    <a:pt x="3219" y="20425"/>
                    <a:pt x="3195" y="20419"/>
                  </a:cubicBezTo>
                  <a:cubicBezTo>
                    <a:pt x="3171" y="20412"/>
                    <a:pt x="3108" y="20408"/>
                    <a:pt x="3055" y="20414"/>
                  </a:cubicBezTo>
                  <a:cubicBezTo>
                    <a:pt x="3002" y="20416"/>
                    <a:pt x="2941" y="20413"/>
                    <a:pt x="2918" y="20407"/>
                  </a:cubicBezTo>
                  <a:cubicBezTo>
                    <a:pt x="2895" y="20401"/>
                    <a:pt x="2877" y="20388"/>
                    <a:pt x="2879" y="20380"/>
                  </a:cubicBezTo>
                  <a:cubicBezTo>
                    <a:pt x="2879" y="20372"/>
                    <a:pt x="2890" y="20363"/>
                    <a:pt x="2902" y="20361"/>
                  </a:cubicBezTo>
                  <a:cubicBezTo>
                    <a:pt x="2914" y="20361"/>
                    <a:pt x="2937" y="20364"/>
                    <a:pt x="2955" y="20370"/>
                  </a:cubicBezTo>
                  <a:cubicBezTo>
                    <a:pt x="2972" y="20379"/>
                    <a:pt x="3019" y="20381"/>
                    <a:pt x="3059" y="20378"/>
                  </a:cubicBezTo>
                  <a:cubicBezTo>
                    <a:pt x="3099" y="20374"/>
                    <a:pt x="3149" y="20360"/>
                    <a:pt x="3169" y="20345"/>
                  </a:cubicBezTo>
                  <a:cubicBezTo>
                    <a:pt x="3190" y="20329"/>
                    <a:pt x="3214" y="20300"/>
                    <a:pt x="3218" y="20276"/>
                  </a:cubicBezTo>
                  <a:cubicBezTo>
                    <a:pt x="3223" y="20253"/>
                    <a:pt x="3215" y="20224"/>
                    <a:pt x="3196" y="20215"/>
                  </a:cubicBezTo>
                  <a:cubicBezTo>
                    <a:pt x="3178" y="20205"/>
                    <a:pt x="3148" y="20191"/>
                    <a:pt x="3129" y="20187"/>
                  </a:cubicBezTo>
                  <a:cubicBezTo>
                    <a:pt x="3111" y="20181"/>
                    <a:pt x="3094" y="20166"/>
                    <a:pt x="3089" y="20153"/>
                  </a:cubicBezTo>
                  <a:cubicBezTo>
                    <a:pt x="3086" y="20139"/>
                    <a:pt x="3096" y="20125"/>
                    <a:pt x="3113" y="20124"/>
                  </a:cubicBezTo>
                  <a:cubicBezTo>
                    <a:pt x="3131" y="20120"/>
                    <a:pt x="3155" y="20125"/>
                    <a:pt x="3169" y="20130"/>
                  </a:cubicBezTo>
                  <a:cubicBezTo>
                    <a:pt x="3183" y="20136"/>
                    <a:pt x="3201" y="20149"/>
                    <a:pt x="3207" y="20162"/>
                  </a:cubicBezTo>
                  <a:cubicBezTo>
                    <a:pt x="3214" y="20174"/>
                    <a:pt x="3238" y="20173"/>
                    <a:pt x="3260" y="20160"/>
                  </a:cubicBezTo>
                  <a:cubicBezTo>
                    <a:pt x="3282" y="20147"/>
                    <a:pt x="3315" y="20123"/>
                    <a:pt x="3331" y="20104"/>
                  </a:cubicBezTo>
                  <a:cubicBezTo>
                    <a:pt x="3348" y="20086"/>
                    <a:pt x="3363" y="20060"/>
                    <a:pt x="3364" y="20045"/>
                  </a:cubicBezTo>
                  <a:cubicBezTo>
                    <a:pt x="3368" y="20032"/>
                    <a:pt x="3358" y="20018"/>
                    <a:pt x="3350" y="20009"/>
                  </a:cubicBezTo>
                  <a:cubicBezTo>
                    <a:pt x="3340" y="20003"/>
                    <a:pt x="3315" y="19993"/>
                    <a:pt x="3295" y="19985"/>
                  </a:cubicBezTo>
                  <a:cubicBezTo>
                    <a:pt x="3275" y="19977"/>
                    <a:pt x="3262" y="19963"/>
                    <a:pt x="3267" y="19955"/>
                  </a:cubicBezTo>
                  <a:cubicBezTo>
                    <a:pt x="3272" y="19946"/>
                    <a:pt x="3285" y="19935"/>
                    <a:pt x="3296" y="19928"/>
                  </a:cubicBezTo>
                  <a:cubicBezTo>
                    <a:pt x="3307" y="19922"/>
                    <a:pt x="3324" y="19926"/>
                    <a:pt x="3333" y="19935"/>
                  </a:cubicBezTo>
                  <a:cubicBezTo>
                    <a:pt x="3341" y="19946"/>
                    <a:pt x="3363" y="19953"/>
                    <a:pt x="3380" y="19955"/>
                  </a:cubicBezTo>
                  <a:cubicBezTo>
                    <a:pt x="3398" y="19954"/>
                    <a:pt x="3430" y="19935"/>
                    <a:pt x="3452" y="19908"/>
                  </a:cubicBezTo>
                  <a:cubicBezTo>
                    <a:pt x="3473" y="19880"/>
                    <a:pt x="3492" y="19853"/>
                    <a:pt x="3492" y="19845"/>
                  </a:cubicBezTo>
                  <a:cubicBezTo>
                    <a:pt x="3494" y="19838"/>
                    <a:pt x="3468" y="19830"/>
                    <a:pt x="3438" y="19832"/>
                  </a:cubicBezTo>
                  <a:cubicBezTo>
                    <a:pt x="3407" y="19828"/>
                    <a:pt x="3364" y="19825"/>
                    <a:pt x="3343" y="19814"/>
                  </a:cubicBezTo>
                  <a:cubicBezTo>
                    <a:pt x="3322" y="19802"/>
                    <a:pt x="3297" y="19788"/>
                    <a:pt x="3294" y="19775"/>
                  </a:cubicBezTo>
                  <a:cubicBezTo>
                    <a:pt x="3289" y="19764"/>
                    <a:pt x="3296" y="19751"/>
                    <a:pt x="3310" y="19749"/>
                  </a:cubicBezTo>
                  <a:cubicBezTo>
                    <a:pt x="3324" y="19745"/>
                    <a:pt x="3349" y="19753"/>
                    <a:pt x="3366" y="19761"/>
                  </a:cubicBezTo>
                  <a:cubicBezTo>
                    <a:pt x="3382" y="19772"/>
                    <a:pt x="3416" y="19778"/>
                    <a:pt x="3439" y="19776"/>
                  </a:cubicBezTo>
                  <a:cubicBezTo>
                    <a:pt x="3463" y="19774"/>
                    <a:pt x="3496" y="19781"/>
                    <a:pt x="3511" y="19789"/>
                  </a:cubicBezTo>
                  <a:cubicBezTo>
                    <a:pt x="3527" y="19796"/>
                    <a:pt x="3554" y="19801"/>
                    <a:pt x="3572" y="19798"/>
                  </a:cubicBezTo>
                  <a:cubicBezTo>
                    <a:pt x="3589" y="19794"/>
                    <a:pt x="3614" y="19773"/>
                    <a:pt x="3625" y="19747"/>
                  </a:cubicBezTo>
                  <a:cubicBezTo>
                    <a:pt x="3638" y="19722"/>
                    <a:pt x="3651" y="19690"/>
                    <a:pt x="3654" y="19676"/>
                  </a:cubicBezTo>
                  <a:cubicBezTo>
                    <a:pt x="3656" y="19662"/>
                    <a:pt x="3674" y="19637"/>
                    <a:pt x="3692" y="19622"/>
                  </a:cubicBezTo>
                  <a:cubicBezTo>
                    <a:pt x="3709" y="19606"/>
                    <a:pt x="3726" y="19583"/>
                    <a:pt x="3729" y="19572"/>
                  </a:cubicBezTo>
                  <a:cubicBezTo>
                    <a:pt x="3733" y="19560"/>
                    <a:pt x="3729" y="19541"/>
                    <a:pt x="3724" y="19530"/>
                  </a:cubicBezTo>
                  <a:cubicBezTo>
                    <a:pt x="3716" y="19520"/>
                    <a:pt x="3723" y="19488"/>
                    <a:pt x="3733" y="19459"/>
                  </a:cubicBezTo>
                  <a:cubicBezTo>
                    <a:pt x="3744" y="19432"/>
                    <a:pt x="3759" y="19397"/>
                    <a:pt x="3761" y="19380"/>
                  </a:cubicBezTo>
                  <a:cubicBezTo>
                    <a:pt x="3764" y="19363"/>
                    <a:pt x="3756" y="19335"/>
                    <a:pt x="3741" y="19312"/>
                  </a:cubicBezTo>
                  <a:cubicBezTo>
                    <a:pt x="3724" y="19292"/>
                    <a:pt x="3687" y="19255"/>
                    <a:pt x="3658" y="19231"/>
                  </a:cubicBezTo>
                  <a:cubicBezTo>
                    <a:pt x="3629" y="19207"/>
                    <a:pt x="3583" y="19188"/>
                    <a:pt x="3559" y="19184"/>
                  </a:cubicBezTo>
                  <a:cubicBezTo>
                    <a:pt x="3534" y="19184"/>
                    <a:pt x="3503" y="19170"/>
                    <a:pt x="3488" y="19162"/>
                  </a:cubicBezTo>
                  <a:cubicBezTo>
                    <a:pt x="3475" y="19151"/>
                    <a:pt x="3465" y="19137"/>
                    <a:pt x="3466" y="19128"/>
                  </a:cubicBezTo>
                  <a:cubicBezTo>
                    <a:pt x="3469" y="19118"/>
                    <a:pt x="3483" y="19105"/>
                    <a:pt x="3502" y="19102"/>
                  </a:cubicBezTo>
                  <a:cubicBezTo>
                    <a:pt x="3521" y="19096"/>
                    <a:pt x="3548" y="19100"/>
                    <a:pt x="3563" y="19105"/>
                  </a:cubicBezTo>
                  <a:cubicBezTo>
                    <a:pt x="3578" y="19109"/>
                    <a:pt x="3616" y="19134"/>
                    <a:pt x="3647" y="19155"/>
                  </a:cubicBezTo>
                  <a:cubicBezTo>
                    <a:pt x="3679" y="19177"/>
                    <a:pt x="3720" y="19206"/>
                    <a:pt x="3737" y="19222"/>
                  </a:cubicBezTo>
                  <a:cubicBezTo>
                    <a:pt x="3755" y="19237"/>
                    <a:pt x="3785" y="19247"/>
                    <a:pt x="3805" y="19245"/>
                  </a:cubicBezTo>
                  <a:cubicBezTo>
                    <a:pt x="3825" y="19241"/>
                    <a:pt x="3851" y="19235"/>
                    <a:pt x="3861" y="19228"/>
                  </a:cubicBezTo>
                  <a:cubicBezTo>
                    <a:pt x="3872" y="19223"/>
                    <a:pt x="3875" y="19190"/>
                    <a:pt x="3870" y="19157"/>
                  </a:cubicBezTo>
                  <a:cubicBezTo>
                    <a:pt x="3866" y="19124"/>
                    <a:pt x="3851" y="19078"/>
                    <a:pt x="3841" y="19055"/>
                  </a:cubicBezTo>
                  <a:cubicBezTo>
                    <a:pt x="3832" y="19031"/>
                    <a:pt x="3793" y="19010"/>
                    <a:pt x="3758" y="19009"/>
                  </a:cubicBezTo>
                  <a:cubicBezTo>
                    <a:pt x="3724" y="19007"/>
                    <a:pt x="3660" y="18996"/>
                    <a:pt x="3617" y="18983"/>
                  </a:cubicBezTo>
                  <a:cubicBezTo>
                    <a:pt x="3575" y="18971"/>
                    <a:pt x="3530" y="18955"/>
                    <a:pt x="3520" y="18947"/>
                  </a:cubicBezTo>
                  <a:cubicBezTo>
                    <a:pt x="3509" y="18940"/>
                    <a:pt x="3502" y="18919"/>
                    <a:pt x="3506" y="18903"/>
                  </a:cubicBezTo>
                  <a:cubicBezTo>
                    <a:pt x="3507" y="18887"/>
                    <a:pt x="3524" y="18872"/>
                    <a:pt x="3539" y="18869"/>
                  </a:cubicBezTo>
                  <a:cubicBezTo>
                    <a:pt x="3554" y="18865"/>
                    <a:pt x="3578" y="18870"/>
                    <a:pt x="3593" y="18875"/>
                  </a:cubicBezTo>
                  <a:cubicBezTo>
                    <a:pt x="3607" y="18883"/>
                    <a:pt x="3631" y="18893"/>
                    <a:pt x="3643" y="18904"/>
                  </a:cubicBezTo>
                  <a:cubicBezTo>
                    <a:pt x="3656" y="18911"/>
                    <a:pt x="3686" y="18915"/>
                    <a:pt x="3712" y="18914"/>
                  </a:cubicBezTo>
                  <a:cubicBezTo>
                    <a:pt x="3737" y="18912"/>
                    <a:pt x="3771" y="18892"/>
                    <a:pt x="3786" y="18871"/>
                  </a:cubicBezTo>
                  <a:cubicBezTo>
                    <a:pt x="3800" y="18849"/>
                    <a:pt x="3821" y="18819"/>
                    <a:pt x="3829" y="18803"/>
                  </a:cubicBezTo>
                  <a:cubicBezTo>
                    <a:pt x="3839" y="18787"/>
                    <a:pt x="3849" y="18755"/>
                    <a:pt x="3851" y="18732"/>
                  </a:cubicBezTo>
                  <a:cubicBezTo>
                    <a:pt x="3854" y="18709"/>
                    <a:pt x="3866" y="18689"/>
                    <a:pt x="3875" y="18685"/>
                  </a:cubicBezTo>
                  <a:cubicBezTo>
                    <a:pt x="3883" y="18681"/>
                    <a:pt x="3903" y="18684"/>
                    <a:pt x="3918" y="18692"/>
                  </a:cubicBezTo>
                  <a:cubicBezTo>
                    <a:pt x="3934" y="18697"/>
                    <a:pt x="3942" y="18710"/>
                    <a:pt x="3939" y="18719"/>
                  </a:cubicBezTo>
                  <a:cubicBezTo>
                    <a:pt x="3936" y="18727"/>
                    <a:pt x="3931" y="18746"/>
                    <a:pt x="3931" y="18760"/>
                  </a:cubicBezTo>
                  <a:cubicBezTo>
                    <a:pt x="3931" y="18774"/>
                    <a:pt x="3952" y="18790"/>
                    <a:pt x="3979" y="18797"/>
                  </a:cubicBezTo>
                  <a:cubicBezTo>
                    <a:pt x="4006" y="18805"/>
                    <a:pt x="4042" y="18807"/>
                    <a:pt x="4059" y="18804"/>
                  </a:cubicBezTo>
                  <a:cubicBezTo>
                    <a:pt x="4076" y="18802"/>
                    <a:pt x="4101" y="18808"/>
                    <a:pt x="4117" y="18813"/>
                  </a:cubicBezTo>
                  <a:cubicBezTo>
                    <a:pt x="4131" y="18821"/>
                    <a:pt x="4158" y="18824"/>
                    <a:pt x="4175" y="18819"/>
                  </a:cubicBezTo>
                  <a:cubicBezTo>
                    <a:pt x="4193" y="18814"/>
                    <a:pt x="4218" y="18798"/>
                    <a:pt x="4229" y="18783"/>
                  </a:cubicBezTo>
                  <a:cubicBezTo>
                    <a:pt x="4240" y="18766"/>
                    <a:pt x="4266" y="18745"/>
                    <a:pt x="4279" y="18728"/>
                  </a:cubicBezTo>
                  <a:cubicBezTo>
                    <a:pt x="4294" y="18712"/>
                    <a:pt x="4315" y="18696"/>
                    <a:pt x="4321" y="18687"/>
                  </a:cubicBezTo>
                  <a:cubicBezTo>
                    <a:pt x="4330" y="18681"/>
                    <a:pt x="4334" y="18662"/>
                    <a:pt x="4331" y="18647"/>
                  </a:cubicBezTo>
                  <a:cubicBezTo>
                    <a:pt x="4328" y="18631"/>
                    <a:pt x="4310" y="18614"/>
                    <a:pt x="4291" y="18612"/>
                  </a:cubicBezTo>
                  <a:cubicBezTo>
                    <a:pt x="4272" y="18609"/>
                    <a:pt x="4221" y="18610"/>
                    <a:pt x="4177" y="18614"/>
                  </a:cubicBezTo>
                  <a:cubicBezTo>
                    <a:pt x="4133" y="18619"/>
                    <a:pt x="4089" y="18619"/>
                    <a:pt x="4083" y="18611"/>
                  </a:cubicBezTo>
                  <a:cubicBezTo>
                    <a:pt x="4076" y="18605"/>
                    <a:pt x="4072" y="18596"/>
                    <a:pt x="4074" y="18589"/>
                  </a:cubicBezTo>
                  <a:cubicBezTo>
                    <a:pt x="4078" y="18584"/>
                    <a:pt x="4080" y="18564"/>
                    <a:pt x="4077" y="18548"/>
                  </a:cubicBezTo>
                  <a:cubicBezTo>
                    <a:pt x="4076" y="18532"/>
                    <a:pt x="4068" y="18505"/>
                    <a:pt x="4055" y="18493"/>
                  </a:cubicBezTo>
                  <a:cubicBezTo>
                    <a:pt x="4044" y="18478"/>
                    <a:pt x="4035" y="18457"/>
                    <a:pt x="4036" y="18444"/>
                  </a:cubicBezTo>
                  <a:cubicBezTo>
                    <a:pt x="4039" y="18431"/>
                    <a:pt x="4051" y="18408"/>
                    <a:pt x="4065" y="18392"/>
                  </a:cubicBezTo>
                  <a:cubicBezTo>
                    <a:pt x="4080" y="18376"/>
                    <a:pt x="4100" y="18364"/>
                    <a:pt x="4110" y="18362"/>
                  </a:cubicBezTo>
                  <a:cubicBezTo>
                    <a:pt x="4119" y="18360"/>
                    <a:pt x="4138" y="18369"/>
                    <a:pt x="4151" y="18380"/>
                  </a:cubicBezTo>
                  <a:cubicBezTo>
                    <a:pt x="4162" y="18392"/>
                    <a:pt x="4173" y="18414"/>
                    <a:pt x="4176" y="18432"/>
                  </a:cubicBezTo>
                  <a:cubicBezTo>
                    <a:pt x="4176" y="18451"/>
                    <a:pt x="4189" y="18477"/>
                    <a:pt x="4202" y="18492"/>
                  </a:cubicBezTo>
                  <a:cubicBezTo>
                    <a:pt x="4214" y="18508"/>
                    <a:pt x="4253" y="18514"/>
                    <a:pt x="4286" y="18513"/>
                  </a:cubicBezTo>
                  <a:cubicBezTo>
                    <a:pt x="4318" y="18510"/>
                    <a:pt x="4355" y="18499"/>
                    <a:pt x="4368" y="18490"/>
                  </a:cubicBezTo>
                  <a:cubicBezTo>
                    <a:pt x="4381" y="18482"/>
                    <a:pt x="4394" y="18464"/>
                    <a:pt x="4394" y="18452"/>
                  </a:cubicBezTo>
                  <a:cubicBezTo>
                    <a:pt x="4396" y="18441"/>
                    <a:pt x="4393" y="18423"/>
                    <a:pt x="4389" y="18412"/>
                  </a:cubicBezTo>
                  <a:cubicBezTo>
                    <a:pt x="4384" y="18402"/>
                    <a:pt x="4357" y="18384"/>
                    <a:pt x="4327" y="18375"/>
                  </a:cubicBezTo>
                  <a:cubicBezTo>
                    <a:pt x="4297" y="18366"/>
                    <a:pt x="4258" y="18346"/>
                    <a:pt x="4239" y="18334"/>
                  </a:cubicBezTo>
                  <a:cubicBezTo>
                    <a:pt x="4222" y="18319"/>
                    <a:pt x="4204" y="18292"/>
                    <a:pt x="4203" y="18268"/>
                  </a:cubicBezTo>
                  <a:cubicBezTo>
                    <a:pt x="4202" y="18244"/>
                    <a:pt x="4207" y="18223"/>
                    <a:pt x="4214" y="18224"/>
                  </a:cubicBezTo>
                  <a:cubicBezTo>
                    <a:pt x="4222" y="18225"/>
                    <a:pt x="4237" y="18236"/>
                    <a:pt x="4251" y="18249"/>
                  </a:cubicBezTo>
                  <a:cubicBezTo>
                    <a:pt x="4263" y="18262"/>
                    <a:pt x="4292" y="18285"/>
                    <a:pt x="4318" y="18295"/>
                  </a:cubicBezTo>
                  <a:cubicBezTo>
                    <a:pt x="4341" y="18310"/>
                    <a:pt x="4377" y="18317"/>
                    <a:pt x="4394" y="18318"/>
                  </a:cubicBezTo>
                  <a:cubicBezTo>
                    <a:pt x="4411" y="18318"/>
                    <a:pt x="4439" y="18334"/>
                    <a:pt x="4456" y="18349"/>
                  </a:cubicBezTo>
                  <a:cubicBezTo>
                    <a:pt x="4474" y="18363"/>
                    <a:pt x="4494" y="18367"/>
                    <a:pt x="4505" y="18358"/>
                  </a:cubicBezTo>
                  <a:cubicBezTo>
                    <a:pt x="4515" y="18347"/>
                    <a:pt x="4525" y="18327"/>
                    <a:pt x="4528" y="18314"/>
                  </a:cubicBezTo>
                  <a:cubicBezTo>
                    <a:pt x="4531" y="18300"/>
                    <a:pt x="4527" y="18279"/>
                    <a:pt x="4525" y="18266"/>
                  </a:cubicBezTo>
                  <a:cubicBezTo>
                    <a:pt x="4519" y="18254"/>
                    <a:pt x="4493" y="18234"/>
                    <a:pt x="4464" y="18224"/>
                  </a:cubicBezTo>
                  <a:cubicBezTo>
                    <a:pt x="4435" y="18213"/>
                    <a:pt x="4399" y="18191"/>
                    <a:pt x="4380" y="18180"/>
                  </a:cubicBezTo>
                  <a:cubicBezTo>
                    <a:pt x="4363" y="18167"/>
                    <a:pt x="4351" y="18138"/>
                    <a:pt x="4352" y="18116"/>
                  </a:cubicBezTo>
                  <a:cubicBezTo>
                    <a:pt x="4355" y="18094"/>
                    <a:pt x="4365" y="18064"/>
                    <a:pt x="4379" y="18051"/>
                  </a:cubicBezTo>
                  <a:cubicBezTo>
                    <a:pt x="4391" y="18036"/>
                    <a:pt x="4414" y="18018"/>
                    <a:pt x="4422" y="18005"/>
                  </a:cubicBezTo>
                  <a:cubicBezTo>
                    <a:pt x="4434" y="17995"/>
                    <a:pt x="4455" y="17984"/>
                    <a:pt x="4471" y="17983"/>
                  </a:cubicBezTo>
                  <a:cubicBezTo>
                    <a:pt x="4486" y="17983"/>
                    <a:pt x="4504" y="17994"/>
                    <a:pt x="4513" y="18005"/>
                  </a:cubicBezTo>
                  <a:cubicBezTo>
                    <a:pt x="4521" y="18017"/>
                    <a:pt x="4551" y="18044"/>
                    <a:pt x="4580" y="18066"/>
                  </a:cubicBezTo>
                  <a:cubicBezTo>
                    <a:pt x="4608" y="18089"/>
                    <a:pt x="4648" y="18104"/>
                    <a:pt x="4667" y="18104"/>
                  </a:cubicBezTo>
                  <a:cubicBezTo>
                    <a:pt x="4686" y="18104"/>
                    <a:pt x="4711" y="18093"/>
                    <a:pt x="4725" y="18085"/>
                  </a:cubicBezTo>
                  <a:cubicBezTo>
                    <a:pt x="4739" y="18074"/>
                    <a:pt x="4766" y="18065"/>
                    <a:pt x="4785" y="18064"/>
                  </a:cubicBezTo>
                  <a:cubicBezTo>
                    <a:pt x="4804" y="18062"/>
                    <a:pt x="4840" y="18052"/>
                    <a:pt x="4865" y="18038"/>
                  </a:cubicBezTo>
                  <a:cubicBezTo>
                    <a:pt x="4890" y="18024"/>
                    <a:pt x="4922" y="17996"/>
                    <a:pt x="4932" y="17971"/>
                  </a:cubicBezTo>
                  <a:cubicBezTo>
                    <a:pt x="4944" y="17948"/>
                    <a:pt x="4950" y="17922"/>
                    <a:pt x="4945" y="17916"/>
                  </a:cubicBezTo>
                  <a:cubicBezTo>
                    <a:pt x="4940" y="17908"/>
                    <a:pt x="4920" y="17898"/>
                    <a:pt x="4901" y="17895"/>
                  </a:cubicBezTo>
                  <a:cubicBezTo>
                    <a:pt x="4882" y="17891"/>
                    <a:pt x="4849" y="17882"/>
                    <a:pt x="4829" y="17870"/>
                  </a:cubicBezTo>
                  <a:cubicBezTo>
                    <a:pt x="4808" y="17859"/>
                    <a:pt x="4768" y="17845"/>
                    <a:pt x="4742" y="17831"/>
                  </a:cubicBezTo>
                  <a:cubicBezTo>
                    <a:pt x="4715" y="17821"/>
                    <a:pt x="4682" y="17808"/>
                    <a:pt x="4669" y="17810"/>
                  </a:cubicBezTo>
                  <a:cubicBezTo>
                    <a:pt x="4656" y="17810"/>
                    <a:pt x="4625" y="17811"/>
                    <a:pt x="4600" y="17809"/>
                  </a:cubicBezTo>
                  <a:cubicBezTo>
                    <a:pt x="4576" y="17810"/>
                    <a:pt x="4563" y="17798"/>
                    <a:pt x="4568" y="17782"/>
                  </a:cubicBezTo>
                  <a:cubicBezTo>
                    <a:pt x="4574" y="17766"/>
                    <a:pt x="4588" y="17746"/>
                    <a:pt x="4594" y="17735"/>
                  </a:cubicBezTo>
                  <a:cubicBezTo>
                    <a:pt x="4601" y="17725"/>
                    <a:pt x="4623" y="17714"/>
                    <a:pt x="4642" y="17713"/>
                  </a:cubicBezTo>
                  <a:cubicBezTo>
                    <a:pt x="4660" y="17708"/>
                    <a:pt x="4688" y="17722"/>
                    <a:pt x="4705" y="17736"/>
                  </a:cubicBezTo>
                  <a:cubicBezTo>
                    <a:pt x="4721" y="17751"/>
                    <a:pt x="4745" y="17765"/>
                    <a:pt x="4757" y="17770"/>
                  </a:cubicBezTo>
                  <a:cubicBezTo>
                    <a:pt x="4769" y="17774"/>
                    <a:pt x="4792" y="17775"/>
                    <a:pt x="4807" y="17773"/>
                  </a:cubicBezTo>
                  <a:cubicBezTo>
                    <a:pt x="4822" y="17770"/>
                    <a:pt x="4848" y="17789"/>
                    <a:pt x="4866" y="17812"/>
                  </a:cubicBezTo>
                  <a:cubicBezTo>
                    <a:pt x="4883" y="17836"/>
                    <a:pt x="4912" y="17857"/>
                    <a:pt x="4930" y="17863"/>
                  </a:cubicBezTo>
                  <a:cubicBezTo>
                    <a:pt x="4947" y="17868"/>
                    <a:pt x="4972" y="17864"/>
                    <a:pt x="4985" y="17859"/>
                  </a:cubicBezTo>
                  <a:cubicBezTo>
                    <a:pt x="4997" y="17853"/>
                    <a:pt x="5015" y="17839"/>
                    <a:pt x="5021" y="17827"/>
                  </a:cubicBezTo>
                  <a:cubicBezTo>
                    <a:pt x="5030" y="17817"/>
                    <a:pt x="5036" y="17794"/>
                    <a:pt x="5040" y="17780"/>
                  </a:cubicBezTo>
                  <a:cubicBezTo>
                    <a:pt x="5040" y="17764"/>
                    <a:pt x="5053" y="17734"/>
                    <a:pt x="5056" y="17708"/>
                  </a:cubicBezTo>
                  <a:cubicBezTo>
                    <a:pt x="5065" y="17685"/>
                    <a:pt x="5065" y="17652"/>
                    <a:pt x="5059" y="17639"/>
                  </a:cubicBezTo>
                  <a:cubicBezTo>
                    <a:pt x="5053" y="17625"/>
                    <a:pt x="5038" y="17611"/>
                    <a:pt x="5025" y="17605"/>
                  </a:cubicBezTo>
                  <a:cubicBezTo>
                    <a:pt x="5012" y="17602"/>
                    <a:pt x="5003" y="17589"/>
                    <a:pt x="5006" y="17581"/>
                  </a:cubicBezTo>
                  <a:cubicBezTo>
                    <a:pt x="5006" y="17572"/>
                    <a:pt x="5022" y="17563"/>
                    <a:pt x="5037" y="17560"/>
                  </a:cubicBezTo>
                  <a:cubicBezTo>
                    <a:pt x="5053" y="17557"/>
                    <a:pt x="5080" y="17551"/>
                    <a:pt x="5096" y="17544"/>
                  </a:cubicBezTo>
                  <a:cubicBezTo>
                    <a:pt x="5113" y="17539"/>
                    <a:pt x="5134" y="17516"/>
                    <a:pt x="5145" y="17494"/>
                  </a:cubicBezTo>
                  <a:cubicBezTo>
                    <a:pt x="5156" y="17473"/>
                    <a:pt x="5163" y="17443"/>
                    <a:pt x="5168" y="17431"/>
                  </a:cubicBezTo>
                  <a:cubicBezTo>
                    <a:pt x="5168" y="17419"/>
                    <a:pt x="5157" y="17409"/>
                    <a:pt x="5140" y="17409"/>
                  </a:cubicBezTo>
                  <a:cubicBezTo>
                    <a:pt x="5123" y="17410"/>
                    <a:pt x="5099" y="17416"/>
                    <a:pt x="5086" y="17423"/>
                  </a:cubicBezTo>
                  <a:cubicBezTo>
                    <a:pt x="5073" y="17430"/>
                    <a:pt x="5054" y="17430"/>
                    <a:pt x="5045" y="17421"/>
                  </a:cubicBezTo>
                  <a:cubicBezTo>
                    <a:pt x="5035" y="17413"/>
                    <a:pt x="5017" y="17396"/>
                    <a:pt x="5001" y="17388"/>
                  </a:cubicBezTo>
                  <a:cubicBezTo>
                    <a:pt x="4985" y="17379"/>
                    <a:pt x="4954" y="17371"/>
                    <a:pt x="4931" y="17374"/>
                  </a:cubicBezTo>
                  <a:cubicBezTo>
                    <a:pt x="4908" y="17376"/>
                    <a:pt x="4863" y="17364"/>
                    <a:pt x="4830" y="17352"/>
                  </a:cubicBezTo>
                  <a:cubicBezTo>
                    <a:pt x="4798" y="17339"/>
                    <a:pt x="4769" y="17320"/>
                    <a:pt x="4763" y="17312"/>
                  </a:cubicBezTo>
                  <a:cubicBezTo>
                    <a:pt x="4758" y="17303"/>
                    <a:pt x="4768" y="17285"/>
                    <a:pt x="4780" y="17268"/>
                  </a:cubicBezTo>
                  <a:cubicBezTo>
                    <a:pt x="4795" y="17255"/>
                    <a:pt x="4828" y="17232"/>
                    <a:pt x="4857" y="17228"/>
                  </a:cubicBezTo>
                  <a:cubicBezTo>
                    <a:pt x="4885" y="17220"/>
                    <a:pt x="4933" y="17219"/>
                    <a:pt x="4962" y="17221"/>
                  </a:cubicBezTo>
                  <a:cubicBezTo>
                    <a:pt x="4992" y="17223"/>
                    <a:pt x="5036" y="17220"/>
                    <a:pt x="5061" y="17215"/>
                  </a:cubicBezTo>
                  <a:cubicBezTo>
                    <a:pt x="5086" y="17208"/>
                    <a:pt x="5115" y="17191"/>
                    <a:pt x="5125" y="17175"/>
                  </a:cubicBezTo>
                  <a:cubicBezTo>
                    <a:pt x="5134" y="17158"/>
                    <a:pt x="5154" y="17141"/>
                    <a:pt x="5166" y="17141"/>
                  </a:cubicBezTo>
                  <a:cubicBezTo>
                    <a:pt x="5178" y="17139"/>
                    <a:pt x="5204" y="17144"/>
                    <a:pt x="5223" y="17154"/>
                  </a:cubicBezTo>
                  <a:cubicBezTo>
                    <a:pt x="5242" y="17163"/>
                    <a:pt x="5265" y="17151"/>
                    <a:pt x="5275" y="17127"/>
                  </a:cubicBezTo>
                  <a:cubicBezTo>
                    <a:pt x="5284" y="17102"/>
                    <a:pt x="5292" y="17050"/>
                    <a:pt x="5292" y="17010"/>
                  </a:cubicBezTo>
                  <a:cubicBezTo>
                    <a:pt x="5292" y="16971"/>
                    <a:pt x="5288" y="16916"/>
                    <a:pt x="5282" y="16888"/>
                  </a:cubicBezTo>
                  <a:cubicBezTo>
                    <a:pt x="5280" y="16860"/>
                    <a:pt x="5261" y="16828"/>
                    <a:pt x="5247" y="16817"/>
                  </a:cubicBezTo>
                  <a:cubicBezTo>
                    <a:pt x="5232" y="16806"/>
                    <a:pt x="5214" y="16781"/>
                    <a:pt x="5211" y="16762"/>
                  </a:cubicBezTo>
                  <a:cubicBezTo>
                    <a:pt x="5203" y="16745"/>
                    <a:pt x="5202" y="16719"/>
                    <a:pt x="5205" y="16708"/>
                  </a:cubicBezTo>
                  <a:cubicBezTo>
                    <a:pt x="5206" y="16696"/>
                    <a:pt x="5220" y="16674"/>
                    <a:pt x="5235" y="16659"/>
                  </a:cubicBezTo>
                  <a:cubicBezTo>
                    <a:pt x="5250" y="16645"/>
                    <a:pt x="5261" y="16611"/>
                    <a:pt x="5254" y="16589"/>
                  </a:cubicBezTo>
                  <a:cubicBezTo>
                    <a:pt x="5251" y="16565"/>
                    <a:pt x="5247" y="16538"/>
                    <a:pt x="5247" y="16528"/>
                  </a:cubicBezTo>
                  <a:cubicBezTo>
                    <a:pt x="5245" y="16517"/>
                    <a:pt x="5254" y="16499"/>
                    <a:pt x="5259" y="16486"/>
                  </a:cubicBezTo>
                  <a:cubicBezTo>
                    <a:pt x="5265" y="16474"/>
                    <a:pt x="5278" y="16466"/>
                    <a:pt x="5287" y="16470"/>
                  </a:cubicBezTo>
                  <a:cubicBezTo>
                    <a:pt x="5296" y="16472"/>
                    <a:pt x="5305" y="16489"/>
                    <a:pt x="5313" y="16502"/>
                  </a:cubicBezTo>
                  <a:cubicBezTo>
                    <a:pt x="5319" y="16517"/>
                    <a:pt x="5341" y="16534"/>
                    <a:pt x="5365" y="16538"/>
                  </a:cubicBezTo>
                  <a:cubicBezTo>
                    <a:pt x="5389" y="16544"/>
                    <a:pt x="5412" y="16537"/>
                    <a:pt x="5415" y="16524"/>
                  </a:cubicBezTo>
                  <a:cubicBezTo>
                    <a:pt x="5420" y="16512"/>
                    <a:pt x="5433" y="16493"/>
                    <a:pt x="5449" y="16485"/>
                  </a:cubicBezTo>
                  <a:cubicBezTo>
                    <a:pt x="5463" y="16477"/>
                    <a:pt x="5487" y="16474"/>
                    <a:pt x="5502" y="16479"/>
                  </a:cubicBezTo>
                  <a:cubicBezTo>
                    <a:pt x="5517" y="16485"/>
                    <a:pt x="5534" y="16512"/>
                    <a:pt x="5539" y="16540"/>
                  </a:cubicBezTo>
                  <a:cubicBezTo>
                    <a:pt x="5544" y="16569"/>
                    <a:pt x="5558" y="16599"/>
                    <a:pt x="5570" y="16605"/>
                  </a:cubicBezTo>
                  <a:cubicBezTo>
                    <a:pt x="5581" y="16614"/>
                    <a:pt x="5606" y="16615"/>
                    <a:pt x="5624" y="16610"/>
                  </a:cubicBezTo>
                  <a:cubicBezTo>
                    <a:pt x="5643" y="16605"/>
                    <a:pt x="5685" y="16571"/>
                    <a:pt x="5719" y="16538"/>
                  </a:cubicBezTo>
                  <a:cubicBezTo>
                    <a:pt x="5753" y="16504"/>
                    <a:pt x="5796" y="16447"/>
                    <a:pt x="5815" y="16412"/>
                  </a:cubicBezTo>
                  <a:cubicBezTo>
                    <a:pt x="5835" y="16377"/>
                    <a:pt x="5854" y="16324"/>
                    <a:pt x="5860" y="16292"/>
                  </a:cubicBezTo>
                  <a:cubicBezTo>
                    <a:pt x="5864" y="16261"/>
                    <a:pt x="5865" y="16220"/>
                    <a:pt x="5860" y="16201"/>
                  </a:cubicBezTo>
                  <a:cubicBezTo>
                    <a:pt x="5853" y="16183"/>
                    <a:pt x="5851" y="16159"/>
                    <a:pt x="5848" y="16149"/>
                  </a:cubicBezTo>
                  <a:cubicBezTo>
                    <a:pt x="5847" y="16139"/>
                    <a:pt x="5855" y="16123"/>
                    <a:pt x="5869" y="16112"/>
                  </a:cubicBezTo>
                  <a:cubicBezTo>
                    <a:pt x="5882" y="16102"/>
                    <a:pt x="5907" y="16090"/>
                    <a:pt x="5925" y="16087"/>
                  </a:cubicBezTo>
                  <a:cubicBezTo>
                    <a:pt x="5942" y="16086"/>
                    <a:pt x="5964" y="16071"/>
                    <a:pt x="5974" y="16058"/>
                  </a:cubicBezTo>
                  <a:cubicBezTo>
                    <a:pt x="5984" y="16045"/>
                    <a:pt x="6001" y="16031"/>
                    <a:pt x="6012" y="16025"/>
                  </a:cubicBezTo>
                  <a:cubicBezTo>
                    <a:pt x="6023" y="16021"/>
                    <a:pt x="6038" y="16027"/>
                    <a:pt x="6046" y="16040"/>
                  </a:cubicBezTo>
                  <a:cubicBezTo>
                    <a:pt x="6054" y="16054"/>
                    <a:pt x="6069" y="16079"/>
                    <a:pt x="6076" y="16099"/>
                  </a:cubicBezTo>
                  <a:cubicBezTo>
                    <a:pt x="6083" y="16119"/>
                    <a:pt x="6106" y="16134"/>
                    <a:pt x="6125" y="16135"/>
                  </a:cubicBezTo>
                  <a:cubicBezTo>
                    <a:pt x="6144" y="16136"/>
                    <a:pt x="6174" y="16121"/>
                    <a:pt x="6191" y="16103"/>
                  </a:cubicBezTo>
                  <a:cubicBezTo>
                    <a:pt x="6208" y="16085"/>
                    <a:pt x="6223" y="16060"/>
                    <a:pt x="6226" y="16048"/>
                  </a:cubicBezTo>
                  <a:cubicBezTo>
                    <a:pt x="6229" y="16035"/>
                    <a:pt x="6234" y="16015"/>
                    <a:pt x="6237" y="16002"/>
                  </a:cubicBezTo>
                  <a:cubicBezTo>
                    <a:pt x="6241" y="15989"/>
                    <a:pt x="6252" y="15978"/>
                    <a:pt x="6262" y="15977"/>
                  </a:cubicBezTo>
                  <a:cubicBezTo>
                    <a:pt x="6272" y="15977"/>
                    <a:pt x="6284" y="15987"/>
                    <a:pt x="6291" y="16000"/>
                  </a:cubicBezTo>
                  <a:cubicBezTo>
                    <a:pt x="6296" y="16014"/>
                    <a:pt x="6307" y="16044"/>
                    <a:pt x="6315" y="16066"/>
                  </a:cubicBezTo>
                  <a:cubicBezTo>
                    <a:pt x="6322" y="16088"/>
                    <a:pt x="6334" y="16113"/>
                    <a:pt x="6343" y="16120"/>
                  </a:cubicBezTo>
                  <a:cubicBezTo>
                    <a:pt x="6352" y="16127"/>
                    <a:pt x="6381" y="16122"/>
                    <a:pt x="6407" y="16109"/>
                  </a:cubicBezTo>
                  <a:cubicBezTo>
                    <a:pt x="6434" y="16095"/>
                    <a:pt x="6468" y="16071"/>
                    <a:pt x="6483" y="16054"/>
                  </a:cubicBezTo>
                  <a:cubicBezTo>
                    <a:pt x="6498" y="16036"/>
                    <a:pt x="6523" y="16020"/>
                    <a:pt x="6536" y="16012"/>
                  </a:cubicBezTo>
                  <a:cubicBezTo>
                    <a:pt x="6550" y="16008"/>
                    <a:pt x="6568" y="16007"/>
                    <a:pt x="6578" y="16016"/>
                  </a:cubicBezTo>
                  <a:cubicBezTo>
                    <a:pt x="6589" y="16024"/>
                    <a:pt x="6614" y="16032"/>
                    <a:pt x="6636" y="16031"/>
                  </a:cubicBezTo>
                  <a:cubicBezTo>
                    <a:pt x="6658" y="16030"/>
                    <a:pt x="6695" y="16017"/>
                    <a:pt x="6717" y="16001"/>
                  </a:cubicBezTo>
                  <a:cubicBezTo>
                    <a:pt x="6739" y="15986"/>
                    <a:pt x="6765" y="15959"/>
                    <a:pt x="6774" y="15941"/>
                  </a:cubicBezTo>
                  <a:cubicBezTo>
                    <a:pt x="6782" y="15923"/>
                    <a:pt x="6798" y="15903"/>
                    <a:pt x="6808" y="15899"/>
                  </a:cubicBezTo>
                  <a:cubicBezTo>
                    <a:pt x="6817" y="15893"/>
                    <a:pt x="6829" y="15879"/>
                    <a:pt x="6834" y="15869"/>
                  </a:cubicBezTo>
                  <a:cubicBezTo>
                    <a:pt x="6835" y="15857"/>
                    <a:pt x="6831" y="15836"/>
                    <a:pt x="6818" y="15821"/>
                  </a:cubicBezTo>
                  <a:cubicBezTo>
                    <a:pt x="6805" y="15805"/>
                    <a:pt x="6784" y="15771"/>
                    <a:pt x="6772" y="15744"/>
                  </a:cubicBezTo>
                  <a:cubicBezTo>
                    <a:pt x="6759" y="15717"/>
                    <a:pt x="6750" y="15681"/>
                    <a:pt x="6747" y="15665"/>
                  </a:cubicBezTo>
                  <a:cubicBezTo>
                    <a:pt x="6746" y="15649"/>
                    <a:pt x="6758" y="15623"/>
                    <a:pt x="6774" y="15606"/>
                  </a:cubicBezTo>
                  <a:cubicBezTo>
                    <a:pt x="6791" y="15590"/>
                    <a:pt x="6812" y="15581"/>
                    <a:pt x="6822" y="15584"/>
                  </a:cubicBezTo>
                  <a:cubicBezTo>
                    <a:pt x="6832" y="15588"/>
                    <a:pt x="6842" y="15609"/>
                    <a:pt x="6842" y="15632"/>
                  </a:cubicBezTo>
                  <a:cubicBezTo>
                    <a:pt x="6842" y="15654"/>
                    <a:pt x="6856" y="15668"/>
                    <a:pt x="6871" y="15667"/>
                  </a:cubicBezTo>
                  <a:cubicBezTo>
                    <a:pt x="6885" y="15663"/>
                    <a:pt x="6919" y="15644"/>
                    <a:pt x="6944" y="15620"/>
                  </a:cubicBezTo>
                  <a:cubicBezTo>
                    <a:pt x="6970" y="15597"/>
                    <a:pt x="6995" y="15560"/>
                    <a:pt x="7005" y="15541"/>
                  </a:cubicBezTo>
                  <a:cubicBezTo>
                    <a:pt x="7013" y="15521"/>
                    <a:pt x="7031" y="15489"/>
                    <a:pt x="7046" y="15470"/>
                  </a:cubicBezTo>
                  <a:cubicBezTo>
                    <a:pt x="7061" y="15452"/>
                    <a:pt x="7079" y="15423"/>
                    <a:pt x="7085" y="15408"/>
                  </a:cubicBezTo>
                  <a:cubicBezTo>
                    <a:pt x="7094" y="15393"/>
                    <a:pt x="7084" y="15367"/>
                    <a:pt x="7068" y="15351"/>
                  </a:cubicBezTo>
                  <a:cubicBezTo>
                    <a:pt x="7051" y="15335"/>
                    <a:pt x="7036" y="15313"/>
                    <a:pt x="7036" y="15303"/>
                  </a:cubicBezTo>
                  <a:cubicBezTo>
                    <a:pt x="7035" y="15292"/>
                    <a:pt x="7046" y="15269"/>
                    <a:pt x="7060" y="15253"/>
                  </a:cubicBezTo>
                  <a:cubicBezTo>
                    <a:pt x="7073" y="15236"/>
                    <a:pt x="7097" y="15218"/>
                    <a:pt x="7112" y="15210"/>
                  </a:cubicBezTo>
                  <a:cubicBezTo>
                    <a:pt x="7127" y="15203"/>
                    <a:pt x="7145" y="15201"/>
                    <a:pt x="7152" y="15201"/>
                  </a:cubicBezTo>
                  <a:cubicBezTo>
                    <a:pt x="7159" y="15205"/>
                    <a:pt x="7163" y="15211"/>
                    <a:pt x="7163" y="15219"/>
                  </a:cubicBezTo>
                  <a:cubicBezTo>
                    <a:pt x="7160" y="15225"/>
                    <a:pt x="7172" y="15245"/>
                    <a:pt x="7188" y="15260"/>
                  </a:cubicBezTo>
                  <a:cubicBezTo>
                    <a:pt x="7203" y="15276"/>
                    <a:pt x="7235" y="15289"/>
                    <a:pt x="7260" y="15291"/>
                  </a:cubicBezTo>
                  <a:cubicBezTo>
                    <a:pt x="7285" y="15292"/>
                    <a:pt x="7314" y="15300"/>
                    <a:pt x="7325" y="15307"/>
                  </a:cubicBezTo>
                  <a:cubicBezTo>
                    <a:pt x="7336" y="15314"/>
                    <a:pt x="7328" y="15332"/>
                    <a:pt x="7309" y="15347"/>
                  </a:cubicBezTo>
                  <a:cubicBezTo>
                    <a:pt x="7290" y="15362"/>
                    <a:pt x="7255" y="15389"/>
                    <a:pt x="7231" y="15407"/>
                  </a:cubicBezTo>
                  <a:cubicBezTo>
                    <a:pt x="7210" y="15428"/>
                    <a:pt x="7176" y="15464"/>
                    <a:pt x="7160" y="15493"/>
                  </a:cubicBezTo>
                  <a:cubicBezTo>
                    <a:pt x="7144" y="15521"/>
                    <a:pt x="7131" y="15562"/>
                    <a:pt x="7126" y="15581"/>
                  </a:cubicBezTo>
                  <a:cubicBezTo>
                    <a:pt x="7123" y="15602"/>
                    <a:pt x="7146" y="15645"/>
                    <a:pt x="7176" y="15678"/>
                  </a:cubicBezTo>
                  <a:cubicBezTo>
                    <a:pt x="7205" y="15711"/>
                    <a:pt x="7241" y="15741"/>
                    <a:pt x="7253" y="15745"/>
                  </a:cubicBezTo>
                  <a:cubicBezTo>
                    <a:pt x="7265" y="15747"/>
                    <a:pt x="7283" y="15738"/>
                    <a:pt x="7291" y="15720"/>
                  </a:cubicBezTo>
                  <a:cubicBezTo>
                    <a:pt x="7301" y="15703"/>
                    <a:pt x="7307" y="15676"/>
                    <a:pt x="7311" y="15662"/>
                  </a:cubicBezTo>
                  <a:cubicBezTo>
                    <a:pt x="7312" y="15647"/>
                    <a:pt x="7323" y="15617"/>
                    <a:pt x="7333" y="15594"/>
                  </a:cubicBezTo>
                  <a:cubicBezTo>
                    <a:pt x="7345" y="15572"/>
                    <a:pt x="7359" y="15528"/>
                    <a:pt x="7370" y="15500"/>
                  </a:cubicBezTo>
                  <a:cubicBezTo>
                    <a:pt x="7381" y="15472"/>
                    <a:pt x="7394" y="15447"/>
                    <a:pt x="7402" y="15446"/>
                  </a:cubicBezTo>
                  <a:cubicBezTo>
                    <a:pt x="7410" y="15445"/>
                    <a:pt x="7422" y="15455"/>
                    <a:pt x="7427" y="15467"/>
                  </a:cubicBezTo>
                  <a:cubicBezTo>
                    <a:pt x="7435" y="15478"/>
                    <a:pt x="7428" y="15505"/>
                    <a:pt x="7417" y="15525"/>
                  </a:cubicBezTo>
                  <a:cubicBezTo>
                    <a:pt x="7406" y="15545"/>
                    <a:pt x="7393" y="15573"/>
                    <a:pt x="7390" y="15589"/>
                  </a:cubicBezTo>
                  <a:cubicBezTo>
                    <a:pt x="7385" y="15605"/>
                    <a:pt x="7392" y="15636"/>
                    <a:pt x="7403" y="15658"/>
                  </a:cubicBezTo>
                  <a:cubicBezTo>
                    <a:pt x="7414" y="15680"/>
                    <a:pt x="7441" y="15701"/>
                    <a:pt x="7462" y="15706"/>
                  </a:cubicBezTo>
                  <a:cubicBezTo>
                    <a:pt x="7483" y="15710"/>
                    <a:pt x="7522" y="15704"/>
                    <a:pt x="7547" y="15689"/>
                  </a:cubicBezTo>
                  <a:cubicBezTo>
                    <a:pt x="7571" y="15673"/>
                    <a:pt x="7608" y="15664"/>
                    <a:pt x="7627" y="15660"/>
                  </a:cubicBezTo>
                  <a:cubicBezTo>
                    <a:pt x="7646" y="15657"/>
                    <a:pt x="7665" y="15643"/>
                    <a:pt x="7673" y="15629"/>
                  </a:cubicBezTo>
                  <a:cubicBezTo>
                    <a:pt x="7679" y="15615"/>
                    <a:pt x="7684" y="15593"/>
                    <a:pt x="7682" y="15581"/>
                  </a:cubicBezTo>
                  <a:cubicBezTo>
                    <a:pt x="7679" y="15568"/>
                    <a:pt x="7689" y="15545"/>
                    <a:pt x="7699" y="15528"/>
                  </a:cubicBezTo>
                  <a:cubicBezTo>
                    <a:pt x="7709" y="15509"/>
                    <a:pt x="7729" y="15495"/>
                    <a:pt x="7739" y="15495"/>
                  </a:cubicBezTo>
                  <a:cubicBezTo>
                    <a:pt x="7749" y="15493"/>
                    <a:pt x="7765" y="15495"/>
                    <a:pt x="7773" y="15501"/>
                  </a:cubicBezTo>
                  <a:cubicBezTo>
                    <a:pt x="7781" y="15506"/>
                    <a:pt x="7781" y="15520"/>
                    <a:pt x="7773" y="15534"/>
                  </a:cubicBezTo>
                  <a:cubicBezTo>
                    <a:pt x="7765" y="15546"/>
                    <a:pt x="7759" y="15570"/>
                    <a:pt x="7753" y="15583"/>
                  </a:cubicBezTo>
                  <a:cubicBezTo>
                    <a:pt x="7751" y="15597"/>
                    <a:pt x="7759" y="15614"/>
                    <a:pt x="7774" y="15621"/>
                  </a:cubicBezTo>
                  <a:cubicBezTo>
                    <a:pt x="7790" y="15628"/>
                    <a:pt x="7820" y="15630"/>
                    <a:pt x="7843" y="15627"/>
                  </a:cubicBezTo>
                  <a:cubicBezTo>
                    <a:pt x="7865" y="15621"/>
                    <a:pt x="7907" y="15598"/>
                    <a:pt x="7934" y="15571"/>
                  </a:cubicBezTo>
                  <a:cubicBezTo>
                    <a:pt x="7962" y="15546"/>
                    <a:pt x="8021" y="15501"/>
                    <a:pt x="8065" y="15472"/>
                  </a:cubicBezTo>
                  <a:cubicBezTo>
                    <a:pt x="8108" y="15443"/>
                    <a:pt x="8155" y="15418"/>
                    <a:pt x="8167" y="15417"/>
                  </a:cubicBezTo>
                  <a:cubicBezTo>
                    <a:pt x="8180" y="15416"/>
                    <a:pt x="8203" y="15404"/>
                    <a:pt x="8220" y="15393"/>
                  </a:cubicBezTo>
                  <a:cubicBezTo>
                    <a:pt x="8235" y="15379"/>
                    <a:pt x="8252" y="15357"/>
                    <a:pt x="8256" y="15340"/>
                  </a:cubicBezTo>
                  <a:cubicBezTo>
                    <a:pt x="8259" y="15322"/>
                    <a:pt x="8252" y="15292"/>
                    <a:pt x="8242" y="15272"/>
                  </a:cubicBezTo>
                  <a:cubicBezTo>
                    <a:pt x="8230" y="15253"/>
                    <a:pt x="8211" y="15234"/>
                    <a:pt x="8199" y="15230"/>
                  </a:cubicBezTo>
                  <a:cubicBezTo>
                    <a:pt x="8187" y="15226"/>
                    <a:pt x="8170" y="15212"/>
                    <a:pt x="8160" y="15198"/>
                  </a:cubicBezTo>
                  <a:cubicBezTo>
                    <a:pt x="8152" y="15184"/>
                    <a:pt x="8151" y="15172"/>
                    <a:pt x="8156" y="15165"/>
                  </a:cubicBezTo>
                  <a:cubicBezTo>
                    <a:pt x="8164" y="15161"/>
                    <a:pt x="8179" y="15157"/>
                    <a:pt x="8192" y="15157"/>
                  </a:cubicBezTo>
                  <a:cubicBezTo>
                    <a:pt x="8204" y="15157"/>
                    <a:pt x="8223" y="15166"/>
                    <a:pt x="8229" y="15179"/>
                  </a:cubicBezTo>
                  <a:cubicBezTo>
                    <a:pt x="8237" y="15190"/>
                    <a:pt x="8266" y="15209"/>
                    <a:pt x="8295" y="15217"/>
                  </a:cubicBezTo>
                  <a:cubicBezTo>
                    <a:pt x="8324" y="15227"/>
                    <a:pt x="8358" y="15233"/>
                    <a:pt x="8371" y="15232"/>
                  </a:cubicBezTo>
                  <a:cubicBezTo>
                    <a:pt x="8383" y="15230"/>
                    <a:pt x="8397" y="15215"/>
                    <a:pt x="8401" y="15199"/>
                  </a:cubicBezTo>
                  <a:cubicBezTo>
                    <a:pt x="8405" y="15183"/>
                    <a:pt x="8419" y="15164"/>
                    <a:pt x="8434" y="15161"/>
                  </a:cubicBezTo>
                  <a:cubicBezTo>
                    <a:pt x="8448" y="15157"/>
                    <a:pt x="8467" y="15161"/>
                    <a:pt x="8475" y="15170"/>
                  </a:cubicBezTo>
                  <a:cubicBezTo>
                    <a:pt x="8484" y="15178"/>
                    <a:pt x="8491" y="15199"/>
                    <a:pt x="8489" y="15215"/>
                  </a:cubicBezTo>
                  <a:cubicBezTo>
                    <a:pt x="8487" y="15230"/>
                    <a:pt x="8493" y="15246"/>
                    <a:pt x="8501" y="15250"/>
                  </a:cubicBezTo>
                  <a:cubicBezTo>
                    <a:pt x="8509" y="15255"/>
                    <a:pt x="8530" y="15250"/>
                    <a:pt x="8547" y="15241"/>
                  </a:cubicBezTo>
                  <a:cubicBezTo>
                    <a:pt x="8564" y="15233"/>
                    <a:pt x="8615" y="15194"/>
                    <a:pt x="8660" y="15156"/>
                  </a:cubicBezTo>
                  <a:cubicBezTo>
                    <a:pt x="8705" y="15119"/>
                    <a:pt x="8748" y="15082"/>
                    <a:pt x="8752" y="15071"/>
                  </a:cubicBezTo>
                  <a:cubicBezTo>
                    <a:pt x="8756" y="15061"/>
                    <a:pt x="8763" y="15048"/>
                    <a:pt x="8763" y="15041"/>
                  </a:cubicBezTo>
                  <a:cubicBezTo>
                    <a:pt x="8763" y="15033"/>
                    <a:pt x="8768" y="15011"/>
                    <a:pt x="8775" y="14991"/>
                  </a:cubicBezTo>
                  <a:cubicBezTo>
                    <a:pt x="8783" y="14972"/>
                    <a:pt x="8796" y="14946"/>
                    <a:pt x="8807" y="14934"/>
                  </a:cubicBezTo>
                  <a:cubicBezTo>
                    <a:pt x="8818" y="14922"/>
                    <a:pt x="8840" y="14905"/>
                    <a:pt x="8855" y="14899"/>
                  </a:cubicBezTo>
                  <a:cubicBezTo>
                    <a:pt x="8870" y="14891"/>
                    <a:pt x="8877" y="14895"/>
                    <a:pt x="8869" y="14907"/>
                  </a:cubicBezTo>
                  <a:cubicBezTo>
                    <a:pt x="8861" y="14919"/>
                    <a:pt x="8861" y="14936"/>
                    <a:pt x="8866" y="14947"/>
                  </a:cubicBezTo>
                  <a:cubicBezTo>
                    <a:pt x="8871" y="14957"/>
                    <a:pt x="8883" y="14968"/>
                    <a:pt x="8890" y="14973"/>
                  </a:cubicBezTo>
                  <a:cubicBezTo>
                    <a:pt x="8898" y="14976"/>
                    <a:pt x="8918" y="14972"/>
                    <a:pt x="8936" y="14961"/>
                  </a:cubicBezTo>
                  <a:cubicBezTo>
                    <a:pt x="8954" y="14950"/>
                    <a:pt x="8989" y="14919"/>
                    <a:pt x="9014" y="14893"/>
                  </a:cubicBezTo>
                  <a:cubicBezTo>
                    <a:pt x="9040" y="14867"/>
                    <a:pt x="9069" y="14828"/>
                    <a:pt x="9080" y="14807"/>
                  </a:cubicBezTo>
                  <a:cubicBezTo>
                    <a:pt x="9091" y="14787"/>
                    <a:pt x="9097" y="14756"/>
                    <a:pt x="9096" y="14738"/>
                  </a:cubicBezTo>
                  <a:cubicBezTo>
                    <a:pt x="9093" y="14721"/>
                    <a:pt x="9098" y="14692"/>
                    <a:pt x="9102" y="14674"/>
                  </a:cubicBezTo>
                  <a:cubicBezTo>
                    <a:pt x="9108" y="14657"/>
                    <a:pt x="9144" y="14611"/>
                    <a:pt x="9184" y="14573"/>
                  </a:cubicBezTo>
                  <a:cubicBezTo>
                    <a:pt x="9223" y="14534"/>
                    <a:pt x="9279" y="14497"/>
                    <a:pt x="9306" y="14486"/>
                  </a:cubicBezTo>
                  <a:cubicBezTo>
                    <a:pt x="9332" y="14475"/>
                    <a:pt x="9368" y="14454"/>
                    <a:pt x="9383" y="14437"/>
                  </a:cubicBezTo>
                  <a:cubicBezTo>
                    <a:pt x="9400" y="14420"/>
                    <a:pt x="9408" y="14397"/>
                    <a:pt x="9406" y="14384"/>
                  </a:cubicBezTo>
                  <a:cubicBezTo>
                    <a:pt x="9401" y="14372"/>
                    <a:pt x="9396" y="14354"/>
                    <a:pt x="9392" y="14344"/>
                  </a:cubicBezTo>
                  <a:cubicBezTo>
                    <a:pt x="9388" y="14334"/>
                    <a:pt x="9387" y="14321"/>
                    <a:pt x="9391" y="14315"/>
                  </a:cubicBezTo>
                  <a:cubicBezTo>
                    <a:pt x="9395" y="14309"/>
                    <a:pt x="9410" y="14308"/>
                    <a:pt x="9425" y="14309"/>
                  </a:cubicBezTo>
                  <a:cubicBezTo>
                    <a:pt x="9439" y="14313"/>
                    <a:pt x="9462" y="14317"/>
                    <a:pt x="9474" y="14324"/>
                  </a:cubicBezTo>
                  <a:cubicBezTo>
                    <a:pt x="9486" y="14327"/>
                    <a:pt x="9505" y="14329"/>
                    <a:pt x="9517" y="14329"/>
                  </a:cubicBezTo>
                  <a:cubicBezTo>
                    <a:pt x="9529" y="14327"/>
                    <a:pt x="9545" y="14311"/>
                    <a:pt x="9553" y="14294"/>
                  </a:cubicBezTo>
                  <a:cubicBezTo>
                    <a:pt x="9562" y="14277"/>
                    <a:pt x="9566" y="14254"/>
                    <a:pt x="9563" y="14244"/>
                  </a:cubicBezTo>
                  <a:cubicBezTo>
                    <a:pt x="9560" y="14234"/>
                    <a:pt x="9549" y="14216"/>
                    <a:pt x="9538" y="14207"/>
                  </a:cubicBezTo>
                  <a:cubicBezTo>
                    <a:pt x="9527" y="14196"/>
                    <a:pt x="9530" y="14189"/>
                    <a:pt x="9544" y="14191"/>
                  </a:cubicBezTo>
                  <a:cubicBezTo>
                    <a:pt x="9558" y="14191"/>
                    <a:pt x="9581" y="14206"/>
                    <a:pt x="9596" y="14217"/>
                  </a:cubicBezTo>
                  <a:cubicBezTo>
                    <a:pt x="9611" y="14229"/>
                    <a:pt x="9626" y="14227"/>
                    <a:pt x="9630" y="14213"/>
                  </a:cubicBezTo>
                  <a:cubicBezTo>
                    <a:pt x="9634" y="14199"/>
                    <a:pt x="9637" y="14175"/>
                    <a:pt x="9639" y="14160"/>
                  </a:cubicBezTo>
                  <a:cubicBezTo>
                    <a:pt x="9642" y="14145"/>
                    <a:pt x="9647" y="14119"/>
                    <a:pt x="9655" y="14103"/>
                  </a:cubicBezTo>
                  <a:cubicBezTo>
                    <a:pt x="9661" y="14086"/>
                    <a:pt x="9684" y="14070"/>
                    <a:pt x="9705" y="14065"/>
                  </a:cubicBezTo>
                  <a:cubicBezTo>
                    <a:pt x="9726" y="14062"/>
                    <a:pt x="9760" y="14046"/>
                    <a:pt x="9782" y="14034"/>
                  </a:cubicBezTo>
                  <a:cubicBezTo>
                    <a:pt x="9802" y="14020"/>
                    <a:pt x="9821" y="13997"/>
                    <a:pt x="9826" y="13982"/>
                  </a:cubicBezTo>
                  <a:cubicBezTo>
                    <a:pt x="9830" y="13966"/>
                    <a:pt x="9830" y="13948"/>
                    <a:pt x="9827" y="13942"/>
                  </a:cubicBezTo>
                  <a:cubicBezTo>
                    <a:pt x="9825" y="13936"/>
                    <a:pt x="9828" y="13923"/>
                    <a:pt x="9837" y="13913"/>
                  </a:cubicBezTo>
                  <a:cubicBezTo>
                    <a:pt x="9844" y="13902"/>
                    <a:pt x="9869" y="13894"/>
                    <a:pt x="9890" y="13894"/>
                  </a:cubicBezTo>
                  <a:cubicBezTo>
                    <a:pt x="9910" y="13893"/>
                    <a:pt x="9939" y="13888"/>
                    <a:pt x="9952" y="13881"/>
                  </a:cubicBezTo>
                  <a:cubicBezTo>
                    <a:pt x="9966" y="13874"/>
                    <a:pt x="9998" y="13846"/>
                    <a:pt x="10024" y="13819"/>
                  </a:cubicBezTo>
                  <a:cubicBezTo>
                    <a:pt x="10050" y="13791"/>
                    <a:pt x="10092" y="13758"/>
                    <a:pt x="10117" y="13745"/>
                  </a:cubicBezTo>
                  <a:cubicBezTo>
                    <a:pt x="10141" y="13732"/>
                    <a:pt x="10172" y="13720"/>
                    <a:pt x="10185" y="13719"/>
                  </a:cubicBezTo>
                  <a:cubicBezTo>
                    <a:pt x="10198" y="13718"/>
                    <a:pt x="10217" y="13720"/>
                    <a:pt x="10223" y="13729"/>
                  </a:cubicBezTo>
                  <a:cubicBezTo>
                    <a:pt x="10231" y="13736"/>
                    <a:pt x="10253" y="13733"/>
                    <a:pt x="10274" y="13726"/>
                  </a:cubicBezTo>
                  <a:cubicBezTo>
                    <a:pt x="10294" y="13715"/>
                    <a:pt x="10326" y="13694"/>
                    <a:pt x="10345" y="13675"/>
                  </a:cubicBezTo>
                  <a:cubicBezTo>
                    <a:pt x="10363" y="13655"/>
                    <a:pt x="10389" y="13615"/>
                    <a:pt x="10398" y="13581"/>
                  </a:cubicBezTo>
                  <a:cubicBezTo>
                    <a:pt x="10409" y="13549"/>
                    <a:pt x="10415" y="13500"/>
                    <a:pt x="10413" y="13472"/>
                  </a:cubicBezTo>
                  <a:cubicBezTo>
                    <a:pt x="10410" y="13445"/>
                    <a:pt x="10393" y="13422"/>
                    <a:pt x="10376" y="13423"/>
                  </a:cubicBezTo>
                  <a:cubicBezTo>
                    <a:pt x="10360" y="13424"/>
                    <a:pt x="10340" y="13420"/>
                    <a:pt x="10334" y="13416"/>
                  </a:cubicBezTo>
                  <a:cubicBezTo>
                    <a:pt x="10328" y="13411"/>
                    <a:pt x="10332" y="13394"/>
                    <a:pt x="10342" y="13375"/>
                  </a:cubicBezTo>
                  <a:cubicBezTo>
                    <a:pt x="10354" y="13358"/>
                    <a:pt x="10366" y="13322"/>
                    <a:pt x="10369" y="13297"/>
                  </a:cubicBezTo>
                  <a:cubicBezTo>
                    <a:pt x="10372" y="13272"/>
                    <a:pt x="10370" y="13239"/>
                    <a:pt x="10364" y="13223"/>
                  </a:cubicBezTo>
                  <a:cubicBezTo>
                    <a:pt x="10358" y="13207"/>
                    <a:pt x="10342" y="13186"/>
                    <a:pt x="10329" y="13177"/>
                  </a:cubicBezTo>
                  <a:cubicBezTo>
                    <a:pt x="10315" y="13169"/>
                    <a:pt x="10299" y="13144"/>
                    <a:pt x="10290" y="13124"/>
                  </a:cubicBezTo>
                  <a:cubicBezTo>
                    <a:pt x="10283" y="13104"/>
                    <a:pt x="10272" y="13079"/>
                    <a:pt x="10265" y="13069"/>
                  </a:cubicBezTo>
                  <a:cubicBezTo>
                    <a:pt x="10258" y="13060"/>
                    <a:pt x="10256" y="13034"/>
                    <a:pt x="10264" y="13015"/>
                  </a:cubicBezTo>
                  <a:cubicBezTo>
                    <a:pt x="10271" y="12995"/>
                    <a:pt x="10286" y="12974"/>
                    <a:pt x="10301" y="12972"/>
                  </a:cubicBezTo>
                  <a:cubicBezTo>
                    <a:pt x="10315" y="12967"/>
                    <a:pt x="10336" y="12970"/>
                    <a:pt x="10345" y="12977"/>
                  </a:cubicBezTo>
                  <a:cubicBezTo>
                    <a:pt x="10354" y="12986"/>
                    <a:pt x="10370" y="13008"/>
                    <a:pt x="10375" y="13032"/>
                  </a:cubicBezTo>
                  <a:cubicBezTo>
                    <a:pt x="10382" y="13055"/>
                    <a:pt x="10398" y="13086"/>
                    <a:pt x="10407" y="13103"/>
                  </a:cubicBezTo>
                  <a:cubicBezTo>
                    <a:pt x="10418" y="13119"/>
                    <a:pt x="10425" y="13147"/>
                    <a:pt x="10421" y="13165"/>
                  </a:cubicBezTo>
                  <a:cubicBezTo>
                    <a:pt x="10418" y="13184"/>
                    <a:pt x="10425" y="13218"/>
                    <a:pt x="10439" y="13241"/>
                  </a:cubicBezTo>
                  <a:cubicBezTo>
                    <a:pt x="10449" y="13265"/>
                    <a:pt x="10476" y="13283"/>
                    <a:pt x="10492" y="13287"/>
                  </a:cubicBezTo>
                  <a:cubicBezTo>
                    <a:pt x="10508" y="13290"/>
                    <a:pt x="10533" y="13296"/>
                    <a:pt x="10544" y="13306"/>
                  </a:cubicBezTo>
                  <a:cubicBezTo>
                    <a:pt x="10556" y="13315"/>
                    <a:pt x="10559" y="13337"/>
                    <a:pt x="10549" y="13356"/>
                  </a:cubicBezTo>
                  <a:cubicBezTo>
                    <a:pt x="10539" y="13376"/>
                    <a:pt x="10538" y="13407"/>
                    <a:pt x="10546" y="13427"/>
                  </a:cubicBezTo>
                  <a:cubicBezTo>
                    <a:pt x="10554" y="13446"/>
                    <a:pt x="10578" y="13469"/>
                    <a:pt x="10600" y="13478"/>
                  </a:cubicBezTo>
                  <a:cubicBezTo>
                    <a:pt x="10621" y="13488"/>
                    <a:pt x="10653" y="13498"/>
                    <a:pt x="10669" y="13496"/>
                  </a:cubicBezTo>
                  <a:cubicBezTo>
                    <a:pt x="10686" y="13495"/>
                    <a:pt x="10704" y="13489"/>
                    <a:pt x="10708" y="13478"/>
                  </a:cubicBezTo>
                  <a:cubicBezTo>
                    <a:pt x="10710" y="13467"/>
                    <a:pt x="10724" y="13447"/>
                    <a:pt x="10736" y="13432"/>
                  </a:cubicBezTo>
                  <a:cubicBezTo>
                    <a:pt x="10748" y="13417"/>
                    <a:pt x="10769" y="13402"/>
                    <a:pt x="10783" y="13404"/>
                  </a:cubicBezTo>
                  <a:cubicBezTo>
                    <a:pt x="10797" y="13402"/>
                    <a:pt x="10820" y="13414"/>
                    <a:pt x="10832" y="13430"/>
                  </a:cubicBezTo>
                  <a:cubicBezTo>
                    <a:pt x="10845" y="13445"/>
                    <a:pt x="10875" y="13457"/>
                    <a:pt x="10899" y="13458"/>
                  </a:cubicBezTo>
                  <a:cubicBezTo>
                    <a:pt x="10924" y="13459"/>
                    <a:pt x="10966" y="13454"/>
                    <a:pt x="10992" y="13449"/>
                  </a:cubicBezTo>
                  <a:cubicBezTo>
                    <a:pt x="11018" y="13443"/>
                    <a:pt x="11052" y="13429"/>
                    <a:pt x="11063" y="13412"/>
                  </a:cubicBezTo>
                  <a:cubicBezTo>
                    <a:pt x="11076" y="13397"/>
                    <a:pt x="11094" y="13388"/>
                    <a:pt x="11102" y="13393"/>
                  </a:cubicBezTo>
                  <a:cubicBezTo>
                    <a:pt x="11111" y="13399"/>
                    <a:pt x="11133" y="13402"/>
                    <a:pt x="11151" y="13399"/>
                  </a:cubicBezTo>
                  <a:cubicBezTo>
                    <a:pt x="11169" y="13399"/>
                    <a:pt x="11200" y="13381"/>
                    <a:pt x="11223" y="13369"/>
                  </a:cubicBezTo>
                  <a:cubicBezTo>
                    <a:pt x="11245" y="13355"/>
                    <a:pt x="11269" y="13329"/>
                    <a:pt x="11278" y="13312"/>
                  </a:cubicBezTo>
                  <a:cubicBezTo>
                    <a:pt x="11285" y="13294"/>
                    <a:pt x="11303" y="13278"/>
                    <a:pt x="11318" y="13275"/>
                  </a:cubicBezTo>
                  <a:cubicBezTo>
                    <a:pt x="11332" y="13271"/>
                    <a:pt x="11345" y="13262"/>
                    <a:pt x="11346" y="13252"/>
                  </a:cubicBezTo>
                  <a:cubicBezTo>
                    <a:pt x="11347" y="13242"/>
                    <a:pt x="11363" y="13228"/>
                    <a:pt x="11380" y="13219"/>
                  </a:cubicBezTo>
                  <a:cubicBezTo>
                    <a:pt x="11398" y="13211"/>
                    <a:pt x="11423" y="13206"/>
                    <a:pt x="11436" y="13210"/>
                  </a:cubicBezTo>
                  <a:cubicBezTo>
                    <a:pt x="11448" y="13215"/>
                    <a:pt x="11482" y="13239"/>
                    <a:pt x="11510" y="13265"/>
                  </a:cubicBezTo>
                  <a:cubicBezTo>
                    <a:pt x="11539" y="13293"/>
                    <a:pt x="11567" y="13326"/>
                    <a:pt x="11575" y="13336"/>
                  </a:cubicBezTo>
                  <a:cubicBezTo>
                    <a:pt x="11582" y="13348"/>
                    <a:pt x="11600" y="13355"/>
                    <a:pt x="11616" y="13353"/>
                  </a:cubicBezTo>
                  <a:cubicBezTo>
                    <a:pt x="11631" y="13347"/>
                    <a:pt x="11654" y="13336"/>
                    <a:pt x="11668" y="13325"/>
                  </a:cubicBezTo>
                  <a:cubicBezTo>
                    <a:pt x="11681" y="13313"/>
                    <a:pt x="11706" y="13298"/>
                    <a:pt x="11724" y="13291"/>
                  </a:cubicBezTo>
                  <a:cubicBezTo>
                    <a:pt x="11742" y="13284"/>
                    <a:pt x="11760" y="13260"/>
                    <a:pt x="11767" y="13238"/>
                  </a:cubicBezTo>
                  <a:cubicBezTo>
                    <a:pt x="11774" y="13216"/>
                    <a:pt x="11786" y="13196"/>
                    <a:pt x="11795" y="13193"/>
                  </a:cubicBezTo>
                  <a:cubicBezTo>
                    <a:pt x="11804" y="13192"/>
                    <a:pt x="11816" y="13195"/>
                    <a:pt x="11824" y="13202"/>
                  </a:cubicBezTo>
                  <a:cubicBezTo>
                    <a:pt x="11831" y="13210"/>
                    <a:pt x="11848" y="13215"/>
                    <a:pt x="11860" y="13215"/>
                  </a:cubicBezTo>
                  <a:cubicBezTo>
                    <a:pt x="11871" y="13211"/>
                    <a:pt x="11882" y="13202"/>
                    <a:pt x="11888" y="13189"/>
                  </a:cubicBezTo>
                  <a:cubicBezTo>
                    <a:pt x="11891" y="13174"/>
                    <a:pt x="11905" y="13159"/>
                    <a:pt x="11919" y="13157"/>
                  </a:cubicBezTo>
                  <a:cubicBezTo>
                    <a:pt x="11933" y="13154"/>
                    <a:pt x="11950" y="13154"/>
                    <a:pt x="11957" y="13159"/>
                  </a:cubicBezTo>
                  <a:cubicBezTo>
                    <a:pt x="11965" y="13163"/>
                    <a:pt x="11988" y="13167"/>
                    <a:pt x="12008" y="13166"/>
                  </a:cubicBezTo>
                  <a:cubicBezTo>
                    <a:pt x="12028" y="13168"/>
                    <a:pt x="12050" y="13155"/>
                    <a:pt x="12055" y="13142"/>
                  </a:cubicBezTo>
                  <a:cubicBezTo>
                    <a:pt x="12062" y="13130"/>
                    <a:pt x="12067" y="13109"/>
                    <a:pt x="12065" y="13098"/>
                  </a:cubicBezTo>
                  <a:cubicBezTo>
                    <a:pt x="12065" y="13086"/>
                    <a:pt x="12080" y="13072"/>
                    <a:pt x="12098" y="13065"/>
                  </a:cubicBezTo>
                  <a:cubicBezTo>
                    <a:pt x="12116" y="13060"/>
                    <a:pt x="12151" y="13054"/>
                    <a:pt x="12176" y="13054"/>
                  </a:cubicBezTo>
                  <a:cubicBezTo>
                    <a:pt x="12201" y="13053"/>
                    <a:pt x="12231" y="13049"/>
                    <a:pt x="12241" y="13042"/>
                  </a:cubicBezTo>
                  <a:cubicBezTo>
                    <a:pt x="12253" y="13037"/>
                    <a:pt x="12263" y="13020"/>
                    <a:pt x="12263" y="13006"/>
                  </a:cubicBezTo>
                  <a:cubicBezTo>
                    <a:pt x="12264" y="12991"/>
                    <a:pt x="12273" y="12981"/>
                    <a:pt x="12282" y="12981"/>
                  </a:cubicBezTo>
                  <a:cubicBezTo>
                    <a:pt x="12291" y="12982"/>
                    <a:pt x="12299" y="12992"/>
                    <a:pt x="12303" y="13001"/>
                  </a:cubicBezTo>
                  <a:cubicBezTo>
                    <a:pt x="12307" y="13010"/>
                    <a:pt x="12320" y="13024"/>
                    <a:pt x="12336" y="13029"/>
                  </a:cubicBezTo>
                  <a:cubicBezTo>
                    <a:pt x="12351" y="13034"/>
                    <a:pt x="12376" y="13028"/>
                    <a:pt x="12392" y="13016"/>
                  </a:cubicBezTo>
                  <a:cubicBezTo>
                    <a:pt x="12407" y="13003"/>
                    <a:pt x="12427" y="12977"/>
                    <a:pt x="12437" y="12957"/>
                  </a:cubicBezTo>
                  <a:cubicBezTo>
                    <a:pt x="12444" y="12937"/>
                    <a:pt x="12461" y="12922"/>
                    <a:pt x="12470" y="12922"/>
                  </a:cubicBezTo>
                  <a:cubicBezTo>
                    <a:pt x="12480" y="12922"/>
                    <a:pt x="12498" y="12934"/>
                    <a:pt x="12511" y="12950"/>
                  </a:cubicBezTo>
                  <a:cubicBezTo>
                    <a:pt x="12524" y="12966"/>
                    <a:pt x="12544" y="12982"/>
                    <a:pt x="12554" y="12988"/>
                  </a:cubicBezTo>
                  <a:cubicBezTo>
                    <a:pt x="12564" y="12994"/>
                    <a:pt x="12589" y="12975"/>
                    <a:pt x="12609" y="12948"/>
                  </a:cubicBezTo>
                  <a:cubicBezTo>
                    <a:pt x="12629" y="12922"/>
                    <a:pt x="12652" y="12897"/>
                    <a:pt x="12662" y="12897"/>
                  </a:cubicBezTo>
                  <a:cubicBezTo>
                    <a:pt x="12672" y="12897"/>
                    <a:pt x="12687" y="12901"/>
                    <a:pt x="12694" y="12910"/>
                  </a:cubicBezTo>
                  <a:cubicBezTo>
                    <a:pt x="12702" y="12919"/>
                    <a:pt x="12721" y="12931"/>
                    <a:pt x="12738" y="12934"/>
                  </a:cubicBezTo>
                  <a:cubicBezTo>
                    <a:pt x="12755" y="12936"/>
                    <a:pt x="12784" y="12939"/>
                    <a:pt x="12802" y="12935"/>
                  </a:cubicBezTo>
                  <a:cubicBezTo>
                    <a:pt x="12821" y="12933"/>
                    <a:pt x="12845" y="12914"/>
                    <a:pt x="12859" y="12898"/>
                  </a:cubicBezTo>
                  <a:cubicBezTo>
                    <a:pt x="12871" y="12881"/>
                    <a:pt x="12891" y="12861"/>
                    <a:pt x="12904" y="12855"/>
                  </a:cubicBezTo>
                  <a:cubicBezTo>
                    <a:pt x="12916" y="12846"/>
                    <a:pt x="12946" y="12838"/>
                    <a:pt x="12969" y="12838"/>
                  </a:cubicBezTo>
                  <a:cubicBezTo>
                    <a:pt x="12992" y="12836"/>
                    <a:pt x="13035" y="12820"/>
                    <a:pt x="13066" y="12805"/>
                  </a:cubicBezTo>
                  <a:cubicBezTo>
                    <a:pt x="13095" y="12788"/>
                    <a:pt x="13135" y="12775"/>
                    <a:pt x="13154" y="12773"/>
                  </a:cubicBezTo>
                  <a:cubicBezTo>
                    <a:pt x="13172" y="12773"/>
                    <a:pt x="13194" y="12782"/>
                    <a:pt x="13203" y="12796"/>
                  </a:cubicBezTo>
                  <a:cubicBezTo>
                    <a:pt x="13212" y="12810"/>
                    <a:pt x="13230" y="12821"/>
                    <a:pt x="13242" y="12819"/>
                  </a:cubicBezTo>
                  <a:cubicBezTo>
                    <a:pt x="13254" y="12818"/>
                    <a:pt x="13274" y="12802"/>
                    <a:pt x="13285" y="12785"/>
                  </a:cubicBezTo>
                  <a:cubicBezTo>
                    <a:pt x="13296" y="12766"/>
                    <a:pt x="13321" y="12738"/>
                    <a:pt x="13341" y="12722"/>
                  </a:cubicBezTo>
                  <a:cubicBezTo>
                    <a:pt x="13361" y="12706"/>
                    <a:pt x="13404" y="12688"/>
                    <a:pt x="13436" y="12685"/>
                  </a:cubicBezTo>
                  <a:cubicBezTo>
                    <a:pt x="13469" y="12680"/>
                    <a:pt x="13503" y="12666"/>
                    <a:pt x="13514" y="12655"/>
                  </a:cubicBezTo>
                  <a:cubicBezTo>
                    <a:pt x="13523" y="12643"/>
                    <a:pt x="13555" y="12626"/>
                    <a:pt x="13585" y="12619"/>
                  </a:cubicBezTo>
                  <a:cubicBezTo>
                    <a:pt x="13614" y="12611"/>
                    <a:pt x="13652" y="12598"/>
                    <a:pt x="13669" y="12588"/>
                  </a:cubicBezTo>
                  <a:close/>
                  <a:moveTo>
                    <a:pt x="13669" y="125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999" name="AutoShape 1001"/>
            <p:cNvSpPr>
              <a:spLocks/>
            </p:cNvSpPr>
            <p:nvPr/>
          </p:nvSpPr>
          <p:spPr bwMode="auto">
            <a:xfrm>
              <a:off x="6159500" y="1092200"/>
              <a:ext cx="15875" cy="25400"/>
            </a:xfrm>
            <a:custGeom>
              <a:avLst/>
              <a:gdLst/>
              <a:ahLst/>
              <a:cxnLst/>
              <a:rect l="0" t="0" r="r" b="b"/>
              <a:pathLst>
                <a:path w="20941" h="21352">
                  <a:moveTo>
                    <a:pt x="4942" y="17095"/>
                  </a:moveTo>
                  <a:cubicBezTo>
                    <a:pt x="4830" y="17908"/>
                    <a:pt x="6017" y="19094"/>
                    <a:pt x="7347" y="19849"/>
                  </a:cubicBezTo>
                  <a:cubicBezTo>
                    <a:pt x="8755" y="20553"/>
                    <a:pt x="10671" y="21238"/>
                    <a:pt x="11605" y="21347"/>
                  </a:cubicBezTo>
                  <a:cubicBezTo>
                    <a:pt x="12555" y="21407"/>
                    <a:pt x="14375" y="20946"/>
                    <a:pt x="15761" y="20251"/>
                  </a:cubicBezTo>
                  <a:cubicBezTo>
                    <a:pt x="17043" y="19486"/>
                    <a:pt x="18435" y="18410"/>
                    <a:pt x="18562" y="17750"/>
                  </a:cubicBezTo>
                  <a:cubicBezTo>
                    <a:pt x="18562" y="17070"/>
                    <a:pt x="17145" y="16152"/>
                    <a:pt x="14913" y="15785"/>
                  </a:cubicBezTo>
                  <a:cubicBezTo>
                    <a:pt x="12681" y="15417"/>
                    <a:pt x="11240" y="14286"/>
                    <a:pt x="11715" y="13383"/>
                  </a:cubicBezTo>
                  <a:cubicBezTo>
                    <a:pt x="12261" y="12505"/>
                    <a:pt x="13987" y="11086"/>
                    <a:pt x="15506" y="10114"/>
                  </a:cubicBezTo>
                  <a:cubicBezTo>
                    <a:pt x="17153" y="9220"/>
                    <a:pt x="19147" y="7732"/>
                    <a:pt x="20129" y="6888"/>
                  </a:cubicBezTo>
                  <a:cubicBezTo>
                    <a:pt x="21079" y="6034"/>
                    <a:pt x="21230" y="4878"/>
                    <a:pt x="20398" y="4477"/>
                  </a:cubicBezTo>
                  <a:cubicBezTo>
                    <a:pt x="19662" y="4010"/>
                    <a:pt x="19542" y="2983"/>
                    <a:pt x="20066" y="2144"/>
                  </a:cubicBezTo>
                  <a:cubicBezTo>
                    <a:pt x="20730" y="1341"/>
                    <a:pt x="20691" y="442"/>
                    <a:pt x="20398" y="90"/>
                  </a:cubicBezTo>
                  <a:cubicBezTo>
                    <a:pt x="19962" y="-193"/>
                    <a:pt x="17414" y="219"/>
                    <a:pt x="14597" y="969"/>
                  </a:cubicBezTo>
                  <a:cubicBezTo>
                    <a:pt x="11772" y="1688"/>
                    <a:pt x="8676" y="3479"/>
                    <a:pt x="7917" y="4878"/>
                  </a:cubicBezTo>
                  <a:cubicBezTo>
                    <a:pt x="6976" y="6248"/>
                    <a:pt x="5090" y="7910"/>
                    <a:pt x="3659" y="8546"/>
                  </a:cubicBezTo>
                  <a:cubicBezTo>
                    <a:pt x="2186" y="9150"/>
                    <a:pt x="596" y="10247"/>
                    <a:pt x="153" y="10947"/>
                  </a:cubicBezTo>
                  <a:cubicBezTo>
                    <a:pt x="-370" y="11617"/>
                    <a:pt x="477" y="13026"/>
                    <a:pt x="2186" y="13904"/>
                  </a:cubicBezTo>
                  <a:cubicBezTo>
                    <a:pt x="3659" y="14921"/>
                    <a:pt x="4942" y="16286"/>
                    <a:pt x="4942" y="17095"/>
                  </a:cubicBezTo>
                  <a:close/>
                  <a:moveTo>
                    <a:pt x="4942" y="170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0" name="AutoShape 1002"/>
            <p:cNvSpPr>
              <a:spLocks/>
            </p:cNvSpPr>
            <p:nvPr/>
          </p:nvSpPr>
          <p:spPr bwMode="auto">
            <a:xfrm>
              <a:off x="6261100" y="1117600"/>
              <a:ext cx="12700" cy="7938"/>
            </a:xfrm>
            <a:custGeom>
              <a:avLst/>
              <a:gdLst/>
              <a:ahLst/>
              <a:cxnLst/>
              <a:rect l="0" t="0" r="r" b="b"/>
              <a:pathLst>
                <a:path w="20635" h="20899">
                  <a:moveTo>
                    <a:pt x="6185" y="1478"/>
                  </a:moveTo>
                  <a:cubicBezTo>
                    <a:pt x="4467" y="2275"/>
                    <a:pt x="2511" y="4091"/>
                    <a:pt x="1795" y="5623"/>
                  </a:cubicBezTo>
                  <a:cubicBezTo>
                    <a:pt x="1136" y="7213"/>
                    <a:pt x="974" y="9227"/>
                    <a:pt x="1099" y="10309"/>
                  </a:cubicBezTo>
                  <a:cubicBezTo>
                    <a:pt x="1547" y="11201"/>
                    <a:pt x="841" y="13486"/>
                    <a:pt x="153" y="15390"/>
                  </a:cubicBezTo>
                  <a:cubicBezTo>
                    <a:pt x="-658" y="17163"/>
                    <a:pt x="1834" y="19334"/>
                    <a:pt x="5728" y="20299"/>
                  </a:cubicBezTo>
                  <a:cubicBezTo>
                    <a:pt x="9593" y="21334"/>
                    <a:pt x="14280" y="20953"/>
                    <a:pt x="16121" y="19747"/>
                  </a:cubicBezTo>
                  <a:cubicBezTo>
                    <a:pt x="17935" y="18453"/>
                    <a:pt x="19892" y="14396"/>
                    <a:pt x="20521" y="10649"/>
                  </a:cubicBezTo>
                  <a:cubicBezTo>
                    <a:pt x="20942" y="6844"/>
                    <a:pt x="20160" y="3309"/>
                    <a:pt x="18727" y="1920"/>
                  </a:cubicBezTo>
                  <a:cubicBezTo>
                    <a:pt x="17067" y="1153"/>
                    <a:pt x="14403" y="-83"/>
                    <a:pt x="12619" y="74"/>
                  </a:cubicBezTo>
                  <a:cubicBezTo>
                    <a:pt x="10844" y="-266"/>
                    <a:pt x="7903" y="626"/>
                    <a:pt x="6185" y="1478"/>
                  </a:cubicBezTo>
                  <a:close/>
                  <a:moveTo>
                    <a:pt x="6185" y="14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1" name="AutoShape 1003"/>
            <p:cNvSpPr>
              <a:spLocks/>
            </p:cNvSpPr>
            <p:nvPr/>
          </p:nvSpPr>
          <p:spPr bwMode="auto">
            <a:xfrm>
              <a:off x="6184900" y="1092200"/>
              <a:ext cx="4763" cy="3175"/>
            </a:xfrm>
            <a:custGeom>
              <a:avLst/>
              <a:gdLst/>
              <a:ahLst/>
              <a:cxnLst/>
              <a:rect l="0" t="0" r="r" b="b"/>
              <a:pathLst>
                <a:path w="20025" h="20358">
                  <a:moveTo>
                    <a:pt x="5761" y="18422"/>
                  </a:moveTo>
                  <a:cubicBezTo>
                    <a:pt x="9821" y="20745"/>
                    <a:pt x="15586" y="21130"/>
                    <a:pt x="17691" y="18742"/>
                  </a:cubicBezTo>
                  <a:cubicBezTo>
                    <a:pt x="20255" y="17242"/>
                    <a:pt x="20712" y="14599"/>
                    <a:pt x="19038" y="14091"/>
                  </a:cubicBezTo>
                  <a:cubicBezTo>
                    <a:pt x="17666" y="12779"/>
                    <a:pt x="16855" y="10777"/>
                    <a:pt x="17614" y="8161"/>
                  </a:cubicBezTo>
                  <a:cubicBezTo>
                    <a:pt x="18351" y="5519"/>
                    <a:pt x="18326" y="2524"/>
                    <a:pt x="17593" y="1030"/>
                  </a:cubicBezTo>
                  <a:cubicBezTo>
                    <a:pt x="16751" y="-405"/>
                    <a:pt x="12821" y="-470"/>
                    <a:pt x="9213" y="1663"/>
                  </a:cubicBezTo>
                  <a:cubicBezTo>
                    <a:pt x="5407" y="2746"/>
                    <a:pt x="1825" y="7241"/>
                    <a:pt x="302" y="9759"/>
                  </a:cubicBezTo>
                  <a:cubicBezTo>
                    <a:pt x="-888" y="12525"/>
                    <a:pt x="1550" y="16348"/>
                    <a:pt x="5761" y="18422"/>
                  </a:cubicBezTo>
                  <a:close/>
                  <a:moveTo>
                    <a:pt x="5761" y="184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2" name="AutoShape 1004"/>
            <p:cNvSpPr>
              <a:spLocks/>
            </p:cNvSpPr>
            <p:nvPr/>
          </p:nvSpPr>
          <p:spPr bwMode="auto">
            <a:xfrm>
              <a:off x="6743700" y="1346200"/>
              <a:ext cx="12700" cy="36513"/>
            </a:xfrm>
            <a:custGeom>
              <a:avLst/>
              <a:gdLst/>
              <a:ahLst/>
              <a:cxnLst/>
              <a:rect l="0" t="0" r="r" b="b"/>
              <a:pathLst>
                <a:path w="21158" h="21357">
                  <a:moveTo>
                    <a:pt x="15806" y="1716"/>
                  </a:moveTo>
                  <a:cubicBezTo>
                    <a:pt x="15061" y="1236"/>
                    <a:pt x="13479" y="530"/>
                    <a:pt x="11937" y="212"/>
                  </a:cubicBezTo>
                  <a:cubicBezTo>
                    <a:pt x="10414" y="-116"/>
                    <a:pt x="6843" y="-78"/>
                    <a:pt x="4276" y="431"/>
                  </a:cubicBezTo>
                  <a:cubicBezTo>
                    <a:pt x="1708" y="929"/>
                    <a:pt x="-301" y="1423"/>
                    <a:pt x="37" y="1663"/>
                  </a:cubicBezTo>
                  <a:cubicBezTo>
                    <a:pt x="427" y="1893"/>
                    <a:pt x="2107" y="2320"/>
                    <a:pt x="3888" y="2637"/>
                  </a:cubicBezTo>
                  <a:cubicBezTo>
                    <a:pt x="5697" y="2930"/>
                    <a:pt x="7430" y="3481"/>
                    <a:pt x="7867" y="3845"/>
                  </a:cubicBezTo>
                  <a:cubicBezTo>
                    <a:pt x="8146" y="4226"/>
                    <a:pt x="7111" y="4752"/>
                    <a:pt x="5628" y="5148"/>
                  </a:cubicBezTo>
                  <a:cubicBezTo>
                    <a:pt x="3967" y="5420"/>
                    <a:pt x="2653" y="6475"/>
                    <a:pt x="2207" y="7333"/>
                  </a:cubicBezTo>
                  <a:cubicBezTo>
                    <a:pt x="1768" y="8188"/>
                    <a:pt x="3181" y="9497"/>
                    <a:pt x="5251" y="10168"/>
                  </a:cubicBezTo>
                  <a:cubicBezTo>
                    <a:pt x="7340" y="10835"/>
                    <a:pt x="8783" y="12298"/>
                    <a:pt x="8941" y="13342"/>
                  </a:cubicBezTo>
                  <a:cubicBezTo>
                    <a:pt x="8941" y="14387"/>
                    <a:pt x="7826" y="15824"/>
                    <a:pt x="6642" y="16576"/>
                  </a:cubicBezTo>
                  <a:cubicBezTo>
                    <a:pt x="5289" y="17293"/>
                    <a:pt x="3937" y="18511"/>
                    <a:pt x="3788" y="19266"/>
                  </a:cubicBezTo>
                  <a:cubicBezTo>
                    <a:pt x="3329" y="19997"/>
                    <a:pt x="4216" y="20887"/>
                    <a:pt x="5448" y="21166"/>
                  </a:cubicBezTo>
                  <a:cubicBezTo>
                    <a:pt x="6802" y="21392"/>
                    <a:pt x="9003" y="21484"/>
                    <a:pt x="10315" y="21060"/>
                  </a:cubicBezTo>
                  <a:cubicBezTo>
                    <a:pt x="11799" y="20700"/>
                    <a:pt x="13766" y="19626"/>
                    <a:pt x="14346" y="18652"/>
                  </a:cubicBezTo>
                  <a:cubicBezTo>
                    <a:pt x="15219" y="17702"/>
                    <a:pt x="17000" y="16576"/>
                    <a:pt x="18742" y="16297"/>
                  </a:cubicBezTo>
                  <a:cubicBezTo>
                    <a:pt x="20354" y="15951"/>
                    <a:pt x="21299" y="14924"/>
                    <a:pt x="21141" y="13981"/>
                  </a:cubicBezTo>
                  <a:cubicBezTo>
                    <a:pt x="20820" y="13046"/>
                    <a:pt x="18971" y="11739"/>
                    <a:pt x="17041" y="11044"/>
                  </a:cubicBezTo>
                  <a:cubicBezTo>
                    <a:pt x="15091" y="10380"/>
                    <a:pt x="13418" y="8763"/>
                    <a:pt x="12993" y="7499"/>
                  </a:cubicBezTo>
                  <a:cubicBezTo>
                    <a:pt x="12831" y="6228"/>
                    <a:pt x="13479" y="4622"/>
                    <a:pt x="14663" y="3916"/>
                  </a:cubicBezTo>
                  <a:cubicBezTo>
                    <a:pt x="15965" y="3238"/>
                    <a:pt x="16275" y="2242"/>
                    <a:pt x="15806" y="1716"/>
                  </a:cubicBezTo>
                  <a:close/>
                  <a:moveTo>
                    <a:pt x="15806" y="17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3" name="AutoShape 1005"/>
            <p:cNvSpPr>
              <a:spLocks/>
            </p:cNvSpPr>
            <p:nvPr/>
          </p:nvSpPr>
          <p:spPr bwMode="auto">
            <a:xfrm>
              <a:off x="6489700" y="1016000"/>
              <a:ext cx="9525" cy="3175"/>
            </a:xfrm>
            <a:custGeom>
              <a:avLst/>
              <a:gdLst/>
              <a:ahLst/>
              <a:cxnLst/>
              <a:rect l="0" t="0" r="r" b="b"/>
              <a:pathLst>
                <a:path w="20970" h="21111">
                  <a:moveTo>
                    <a:pt x="229" y="14453"/>
                  </a:moveTo>
                  <a:cubicBezTo>
                    <a:pt x="-347" y="16438"/>
                    <a:pt x="270" y="19178"/>
                    <a:pt x="899" y="20412"/>
                  </a:cubicBezTo>
                  <a:cubicBezTo>
                    <a:pt x="1651" y="21198"/>
                    <a:pt x="4463" y="21366"/>
                    <a:pt x="7211" y="20686"/>
                  </a:cubicBezTo>
                  <a:cubicBezTo>
                    <a:pt x="9958" y="19655"/>
                    <a:pt x="13991" y="16641"/>
                    <a:pt x="16297" y="13941"/>
                  </a:cubicBezTo>
                  <a:cubicBezTo>
                    <a:pt x="18386" y="10415"/>
                    <a:pt x="20718" y="6440"/>
                    <a:pt x="20932" y="3636"/>
                  </a:cubicBezTo>
                  <a:cubicBezTo>
                    <a:pt x="21253" y="929"/>
                    <a:pt x="19499" y="-234"/>
                    <a:pt x="17032" y="39"/>
                  </a:cubicBezTo>
                  <a:cubicBezTo>
                    <a:pt x="14582" y="277"/>
                    <a:pt x="9878" y="2914"/>
                    <a:pt x="6741" y="5795"/>
                  </a:cubicBezTo>
                  <a:cubicBezTo>
                    <a:pt x="3525" y="8291"/>
                    <a:pt x="430" y="12056"/>
                    <a:pt x="229" y="14453"/>
                  </a:cubicBezTo>
                  <a:close/>
                  <a:moveTo>
                    <a:pt x="229" y="144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4" name="AutoShape 1006"/>
            <p:cNvSpPr>
              <a:spLocks/>
            </p:cNvSpPr>
            <p:nvPr/>
          </p:nvSpPr>
          <p:spPr bwMode="auto">
            <a:xfrm>
              <a:off x="6489700" y="1016000"/>
              <a:ext cx="6350" cy="3175"/>
            </a:xfrm>
            <a:custGeom>
              <a:avLst/>
              <a:gdLst/>
              <a:ahLst/>
              <a:cxnLst/>
              <a:rect l="0" t="0" r="r" b="b"/>
              <a:pathLst>
                <a:path w="20526" h="21190">
                  <a:moveTo>
                    <a:pt x="7071" y="21164"/>
                  </a:moveTo>
                  <a:cubicBezTo>
                    <a:pt x="8839" y="21395"/>
                    <a:pt x="11724" y="20034"/>
                    <a:pt x="13455" y="18571"/>
                  </a:cubicBezTo>
                  <a:cubicBezTo>
                    <a:pt x="15006" y="16577"/>
                    <a:pt x="17801" y="13249"/>
                    <a:pt x="19459" y="10296"/>
                  </a:cubicBezTo>
                  <a:cubicBezTo>
                    <a:pt x="21117" y="7438"/>
                    <a:pt x="20703" y="3879"/>
                    <a:pt x="19171" y="1857"/>
                  </a:cubicBezTo>
                  <a:cubicBezTo>
                    <a:pt x="17314" y="1122"/>
                    <a:pt x="13725" y="-205"/>
                    <a:pt x="10840" y="27"/>
                  </a:cubicBezTo>
                  <a:cubicBezTo>
                    <a:pt x="7953" y="727"/>
                    <a:pt x="3807" y="3450"/>
                    <a:pt x="1754" y="6539"/>
                  </a:cubicBezTo>
                  <a:cubicBezTo>
                    <a:pt x="-321" y="9629"/>
                    <a:pt x="-483" y="13583"/>
                    <a:pt x="887" y="16611"/>
                  </a:cubicBezTo>
                  <a:cubicBezTo>
                    <a:pt x="2673" y="18735"/>
                    <a:pt x="5325" y="21028"/>
                    <a:pt x="7071" y="21164"/>
                  </a:cubicBezTo>
                  <a:close/>
                  <a:moveTo>
                    <a:pt x="7071" y="211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5" name="AutoShape 1007"/>
            <p:cNvSpPr>
              <a:spLocks/>
            </p:cNvSpPr>
            <p:nvPr/>
          </p:nvSpPr>
          <p:spPr bwMode="auto">
            <a:xfrm>
              <a:off x="5626100" y="1625600"/>
              <a:ext cx="23813" cy="15875"/>
            </a:xfrm>
            <a:custGeom>
              <a:avLst/>
              <a:gdLst/>
              <a:ahLst/>
              <a:cxnLst/>
              <a:rect l="0" t="0" r="r" b="b"/>
              <a:pathLst>
                <a:path w="21339" h="21305">
                  <a:moveTo>
                    <a:pt x="1960" y="14318"/>
                  </a:moveTo>
                  <a:cubicBezTo>
                    <a:pt x="1245" y="15023"/>
                    <a:pt x="440" y="16220"/>
                    <a:pt x="526" y="17104"/>
                  </a:cubicBezTo>
                  <a:cubicBezTo>
                    <a:pt x="457" y="17972"/>
                    <a:pt x="86" y="19262"/>
                    <a:pt x="86" y="20076"/>
                  </a:cubicBezTo>
                  <a:cubicBezTo>
                    <a:pt x="-139" y="20803"/>
                    <a:pt x="97" y="21305"/>
                    <a:pt x="543" y="21305"/>
                  </a:cubicBezTo>
                  <a:cubicBezTo>
                    <a:pt x="967" y="21101"/>
                    <a:pt x="1729" y="20843"/>
                    <a:pt x="2137" y="20397"/>
                  </a:cubicBezTo>
                  <a:cubicBezTo>
                    <a:pt x="2524" y="19905"/>
                    <a:pt x="5524" y="17189"/>
                    <a:pt x="8750" y="14296"/>
                  </a:cubicBezTo>
                  <a:cubicBezTo>
                    <a:pt x="11987" y="11455"/>
                    <a:pt x="16013" y="7450"/>
                    <a:pt x="17859" y="5729"/>
                  </a:cubicBezTo>
                  <a:cubicBezTo>
                    <a:pt x="19696" y="3992"/>
                    <a:pt x="21327" y="1833"/>
                    <a:pt x="21327" y="988"/>
                  </a:cubicBezTo>
                  <a:cubicBezTo>
                    <a:pt x="21461" y="160"/>
                    <a:pt x="20388" y="-295"/>
                    <a:pt x="19062" y="214"/>
                  </a:cubicBezTo>
                  <a:cubicBezTo>
                    <a:pt x="17709" y="621"/>
                    <a:pt x="15180" y="2342"/>
                    <a:pt x="13452" y="4063"/>
                  </a:cubicBezTo>
                  <a:cubicBezTo>
                    <a:pt x="11734" y="5808"/>
                    <a:pt x="9394" y="7490"/>
                    <a:pt x="8298" y="7967"/>
                  </a:cubicBezTo>
                  <a:cubicBezTo>
                    <a:pt x="7214" y="8420"/>
                    <a:pt x="5706" y="9875"/>
                    <a:pt x="4810" y="10963"/>
                  </a:cubicBezTo>
                  <a:cubicBezTo>
                    <a:pt x="3924" y="12081"/>
                    <a:pt x="2706" y="13716"/>
                    <a:pt x="1960" y="14318"/>
                  </a:cubicBezTo>
                  <a:close/>
                  <a:moveTo>
                    <a:pt x="1960" y="143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6" name="AutoShape 1008"/>
            <p:cNvSpPr>
              <a:spLocks/>
            </p:cNvSpPr>
            <p:nvPr/>
          </p:nvSpPr>
          <p:spPr bwMode="auto">
            <a:xfrm>
              <a:off x="6464300" y="1028700"/>
              <a:ext cx="14288" cy="6350"/>
            </a:xfrm>
            <a:custGeom>
              <a:avLst/>
              <a:gdLst/>
              <a:ahLst/>
              <a:cxnLst/>
              <a:rect l="0" t="0" r="r" b="b"/>
              <a:pathLst>
                <a:path w="20546" h="20932">
                  <a:moveTo>
                    <a:pt x="3158" y="14753"/>
                  </a:moveTo>
                  <a:cubicBezTo>
                    <a:pt x="4259" y="16419"/>
                    <a:pt x="5562" y="18505"/>
                    <a:pt x="6027" y="19539"/>
                  </a:cubicBezTo>
                  <a:cubicBezTo>
                    <a:pt x="6462" y="20555"/>
                    <a:pt x="8133" y="21345"/>
                    <a:pt x="9708" y="20695"/>
                  </a:cubicBezTo>
                  <a:cubicBezTo>
                    <a:pt x="11325" y="20365"/>
                    <a:pt x="13737" y="18451"/>
                    <a:pt x="15167" y="17155"/>
                  </a:cubicBezTo>
                  <a:cubicBezTo>
                    <a:pt x="16558" y="15751"/>
                    <a:pt x="18736" y="13805"/>
                    <a:pt x="20030" y="12861"/>
                  </a:cubicBezTo>
                  <a:cubicBezTo>
                    <a:pt x="21365" y="12423"/>
                    <a:pt x="20006" y="10265"/>
                    <a:pt x="17144" y="8707"/>
                  </a:cubicBezTo>
                  <a:cubicBezTo>
                    <a:pt x="14267" y="7357"/>
                    <a:pt x="11694" y="5163"/>
                    <a:pt x="11582" y="3903"/>
                  </a:cubicBezTo>
                  <a:cubicBezTo>
                    <a:pt x="11269" y="2779"/>
                    <a:pt x="10360" y="1095"/>
                    <a:pt x="9276" y="449"/>
                  </a:cubicBezTo>
                  <a:cubicBezTo>
                    <a:pt x="8214" y="-130"/>
                    <a:pt x="6646" y="-255"/>
                    <a:pt x="5866" y="711"/>
                  </a:cubicBezTo>
                  <a:cubicBezTo>
                    <a:pt x="4990" y="1307"/>
                    <a:pt x="3881" y="3324"/>
                    <a:pt x="3238" y="4621"/>
                  </a:cubicBezTo>
                  <a:cubicBezTo>
                    <a:pt x="2612" y="5917"/>
                    <a:pt x="1518" y="7547"/>
                    <a:pt x="771" y="8039"/>
                  </a:cubicBezTo>
                  <a:cubicBezTo>
                    <a:pt x="24" y="8599"/>
                    <a:pt x="-235" y="9723"/>
                    <a:pt x="239" y="10495"/>
                  </a:cubicBezTo>
                  <a:cubicBezTo>
                    <a:pt x="666" y="11403"/>
                    <a:pt x="1976" y="13349"/>
                    <a:pt x="3158" y="14753"/>
                  </a:cubicBezTo>
                  <a:close/>
                  <a:moveTo>
                    <a:pt x="3158" y="147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7" name="AutoShape 1009"/>
            <p:cNvSpPr>
              <a:spLocks/>
            </p:cNvSpPr>
            <p:nvPr/>
          </p:nvSpPr>
          <p:spPr bwMode="auto">
            <a:xfrm>
              <a:off x="5613400" y="2336800"/>
              <a:ext cx="12700" cy="7938"/>
            </a:xfrm>
            <a:custGeom>
              <a:avLst/>
              <a:gdLst/>
              <a:ahLst/>
              <a:cxnLst/>
              <a:rect l="0" t="0" r="r" b="b"/>
              <a:pathLst>
                <a:path w="20359" h="20580">
                  <a:moveTo>
                    <a:pt x="13147" y="728"/>
                  </a:moveTo>
                  <a:cubicBezTo>
                    <a:pt x="10565" y="1618"/>
                    <a:pt x="6262" y="6314"/>
                    <a:pt x="3322" y="10718"/>
                  </a:cubicBezTo>
                  <a:cubicBezTo>
                    <a:pt x="498" y="15383"/>
                    <a:pt x="-819" y="19925"/>
                    <a:pt x="536" y="20170"/>
                  </a:cubicBezTo>
                  <a:cubicBezTo>
                    <a:pt x="1694" y="21304"/>
                    <a:pt x="4139" y="19882"/>
                    <a:pt x="5717" y="18381"/>
                  </a:cubicBezTo>
                  <a:cubicBezTo>
                    <a:pt x="7129" y="16608"/>
                    <a:pt x="10352" y="15261"/>
                    <a:pt x="12562" y="14390"/>
                  </a:cubicBezTo>
                  <a:cubicBezTo>
                    <a:pt x="14764" y="13350"/>
                    <a:pt x="17744" y="10857"/>
                    <a:pt x="19097" y="8087"/>
                  </a:cubicBezTo>
                  <a:cubicBezTo>
                    <a:pt x="20510" y="5334"/>
                    <a:pt x="20781" y="1890"/>
                    <a:pt x="19682" y="1035"/>
                  </a:cubicBezTo>
                  <a:cubicBezTo>
                    <a:pt x="18777" y="-280"/>
                    <a:pt x="15727" y="-296"/>
                    <a:pt x="13147" y="728"/>
                  </a:cubicBezTo>
                  <a:close/>
                  <a:moveTo>
                    <a:pt x="13147" y="7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8" name="AutoShape 1010"/>
            <p:cNvSpPr>
              <a:spLocks/>
            </p:cNvSpPr>
            <p:nvPr/>
          </p:nvSpPr>
          <p:spPr bwMode="auto">
            <a:xfrm>
              <a:off x="6438900" y="1028700"/>
              <a:ext cx="4763" cy="1588"/>
            </a:xfrm>
            <a:custGeom>
              <a:avLst/>
              <a:gdLst/>
              <a:ahLst/>
              <a:cxnLst/>
              <a:rect l="0" t="0" r="r" b="b"/>
              <a:pathLst>
                <a:path w="21045" h="19261">
                  <a:moveTo>
                    <a:pt x="4289" y="18627"/>
                  </a:moveTo>
                  <a:cubicBezTo>
                    <a:pt x="6847" y="20454"/>
                    <a:pt x="11703" y="17978"/>
                    <a:pt x="14892" y="15723"/>
                  </a:cubicBezTo>
                  <a:cubicBezTo>
                    <a:pt x="18075" y="13687"/>
                    <a:pt x="20736" y="9869"/>
                    <a:pt x="21028" y="7503"/>
                  </a:cubicBezTo>
                  <a:cubicBezTo>
                    <a:pt x="21302" y="5082"/>
                    <a:pt x="18034" y="1594"/>
                    <a:pt x="13824" y="1000"/>
                  </a:cubicBezTo>
                  <a:cubicBezTo>
                    <a:pt x="9734" y="-1146"/>
                    <a:pt x="5022" y="571"/>
                    <a:pt x="3431" y="2342"/>
                  </a:cubicBezTo>
                  <a:cubicBezTo>
                    <a:pt x="2007" y="4763"/>
                    <a:pt x="874" y="9010"/>
                    <a:pt x="37" y="11695"/>
                  </a:cubicBezTo>
                  <a:cubicBezTo>
                    <a:pt x="-298" y="14974"/>
                    <a:pt x="1651" y="18253"/>
                    <a:pt x="4289" y="18627"/>
                  </a:cubicBezTo>
                  <a:close/>
                  <a:moveTo>
                    <a:pt x="4289" y="186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09" name="AutoShape 1011"/>
            <p:cNvSpPr>
              <a:spLocks/>
            </p:cNvSpPr>
            <p:nvPr/>
          </p:nvSpPr>
          <p:spPr bwMode="auto">
            <a:xfrm>
              <a:off x="6337300" y="1054100"/>
              <a:ext cx="23813" cy="9525"/>
            </a:xfrm>
            <a:custGeom>
              <a:avLst/>
              <a:gdLst/>
              <a:ahLst/>
              <a:cxnLst/>
              <a:rect l="0" t="0" r="r" b="b"/>
              <a:pathLst>
                <a:path w="21362" h="21385">
                  <a:moveTo>
                    <a:pt x="8225" y="19470"/>
                  </a:moveTo>
                  <a:cubicBezTo>
                    <a:pt x="9808" y="20734"/>
                    <a:pt x="12146" y="21559"/>
                    <a:pt x="13383" y="21354"/>
                  </a:cubicBezTo>
                  <a:cubicBezTo>
                    <a:pt x="14609" y="21145"/>
                    <a:pt x="16235" y="19537"/>
                    <a:pt x="17049" y="17873"/>
                  </a:cubicBezTo>
                  <a:cubicBezTo>
                    <a:pt x="17760" y="15894"/>
                    <a:pt x="18677" y="13379"/>
                    <a:pt x="18926" y="11811"/>
                  </a:cubicBezTo>
                  <a:cubicBezTo>
                    <a:pt x="19165" y="10271"/>
                    <a:pt x="19827" y="8702"/>
                    <a:pt x="20326" y="8029"/>
                  </a:cubicBezTo>
                  <a:cubicBezTo>
                    <a:pt x="20858" y="7562"/>
                    <a:pt x="21270" y="6283"/>
                    <a:pt x="21362" y="5405"/>
                  </a:cubicBezTo>
                  <a:cubicBezTo>
                    <a:pt x="21362" y="4481"/>
                    <a:pt x="20591" y="3794"/>
                    <a:pt x="19550" y="4070"/>
                  </a:cubicBezTo>
                  <a:cubicBezTo>
                    <a:pt x="18498" y="4112"/>
                    <a:pt x="16762" y="3313"/>
                    <a:pt x="15682" y="2048"/>
                  </a:cubicBezTo>
                  <a:cubicBezTo>
                    <a:pt x="14587" y="866"/>
                    <a:pt x="12927" y="-41"/>
                    <a:pt x="11940" y="1"/>
                  </a:cubicBezTo>
                  <a:cubicBezTo>
                    <a:pt x="10963" y="359"/>
                    <a:pt x="9493" y="1100"/>
                    <a:pt x="8653" y="1995"/>
                  </a:cubicBezTo>
                  <a:cubicBezTo>
                    <a:pt x="7871" y="3135"/>
                    <a:pt x="7254" y="4619"/>
                    <a:pt x="7254" y="5788"/>
                  </a:cubicBezTo>
                  <a:cubicBezTo>
                    <a:pt x="7329" y="6931"/>
                    <a:pt x="7595" y="8221"/>
                    <a:pt x="7764" y="8950"/>
                  </a:cubicBezTo>
                  <a:cubicBezTo>
                    <a:pt x="7975" y="9612"/>
                    <a:pt x="7530" y="10572"/>
                    <a:pt x="6808" y="11687"/>
                  </a:cubicBezTo>
                  <a:cubicBezTo>
                    <a:pt x="6038" y="12554"/>
                    <a:pt x="4878" y="12746"/>
                    <a:pt x="4189" y="12250"/>
                  </a:cubicBezTo>
                  <a:cubicBezTo>
                    <a:pt x="3527" y="11495"/>
                    <a:pt x="2171" y="11467"/>
                    <a:pt x="1238" y="11949"/>
                  </a:cubicBezTo>
                  <a:cubicBezTo>
                    <a:pt x="289" y="12402"/>
                    <a:pt x="-238" y="13723"/>
                    <a:pt x="104" y="14849"/>
                  </a:cubicBezTo>
                  <a:cubicBezTo>
                    <a:pt x="451" y="15950"/>
                    <a:pt x="1737" y="16924"/>
                    <a:pt x="3011" y="17144"/>
                  </a:cubicBezTo>
                  <a:cubicBezTo>
                    <a:pt x="4281" y="17144"/>
                    <a:pt x="6624" y="18397"/>
                    <a:pt x="8225" y="19470"/>
                  </a:cubicBezTo>
                  <a:close/>
                  <a:moveTo>
                    <a:pt x="8225" y="194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0" name="AutoShape 1012"/>
            <p:cNvSpPr>
              <a:spLocks/>
            </p:cNvSpPr>
            <p:nvPr/>
          </p:nvSpPr>
          <p:spPr bwMode="auto">
            <a:xfrm>
              <a:off x="5651500" y="1600200"/>
              <a:ext cx="3175" cy="1588"/>
            </a:xfrm>
            <a:custGeom>
              <a:avLst/>
              <a:gdLst/>
              <a:ahLst/>
              <a:cxnLst/>
              <a:rect l="0" t="0" r="r" b="b"/>
              <a:pathLst>
                <a:path w="19563" h="18906">
                  <a:moveTo>
                    <a:pt x="19096" y="3809"/>
                  </a:moveTo>
                  <a:cubicBezTo>
                    <a:pt x="20724" y="720"/>
                    <a:pt x="17915" y="-1255"/>
                    <a:pt x="13470" y="917"/>
                  </a:cubicBezTo>
                  <a:cubicBezTo>
                    <a:pt x="8783" y="2506"/>
                    <a:pt x="3470" y="8825"/>
                    <a:pt x="483" y="13692"/>
                  </a:cubicBezTo>
                  <a:cubicBezTo>
                    <a:pt x="-876" y="19713"/>
                    <a:pt x="518" y="20345"/>
                    <a:pt x="6109" y="16485"/>
                  </a:cubicBezTo>
                  <a:cubicBezTo>
                    <a:pt x="11627" y="12625"/>
                    <a:pt x="17844" y="7324"/>
                    <a:pt x="19096" y="3809"/>
                  </a:cubicBezTo>
                  <a:close/>
                  <a:moveTo>
                    <a:pt x="19096" y="38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1" name="AutoShape 1013"/>
            <p:cNvSpPr>
              <a:spLocks/>
            </p:cNvSpPr>
            <p:nvPr/>
          </p:nvSpPr>
          <p:spPr bwMode="auto">
            <a:xfrm>
              <a:off x="5638800" y="1600200"/>
              <a:ext cx="1588" cy="1588"/>
            </a:xfrm>
            <a:custGeom>
              <a:avLst/>
              <a:gdLst/>
              <a:ahLst/>
              <a:cxnLst/>
              <a:rect l="0" t="0" r="r" b="b"/>
              <a:pathLst>
                <a:path w="19476" h="18938">
                  <a:moveTo>
                    <a:pt x="7890" y="5109"/>
                  </a:moveTo>
                  <a:cubicBezTo>
                    <a:pt x="3966" y="10902"/>
                    <a:pt x="-1113" y="16245"/>
                    <a:pt x="215" y="18084"/>
                  </a:cubicBezTo>
                  <a:cubicBezTo>
                    <a:pt x="1283" y="20015"/>
                    <a:pt x="5932" y="18626"/>
                    <a:pt x="11484" y="14405"/>
                  </a:cubicBezTo>
                  <a:cubicBezTo>
                    <a:pt x="17112" y="10093"/>
                    <a:pt x="20487" y="4391"/>
                    <a:pt x="19204" y="1385"/>
                  </a:cubicBezTo>
                  <a:cubicBezTo>
                    <a:pt x="17971" y="-1585"/>
                    <a:pt x="13146" y="484"/>
                    <a:pt x="7890" y="5109"/>
                  </a:cubicBezTo>
                  <a:close/>
                  <a:moveTo>
                    <a:pt x="7890" y="51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2" name="AutoShape 1014"/>
            <p:cNvSpPr>
              <a:spLocks/>
            </p:cNvSpPr>
            <p:nvPr/>
          </p:nvSpPr>
          <p:spPr bwMode="auto">
            <a:xfrm>
              <a:off x="6832600" y="1079500"/>
              <a:ext cx="11113" cy="7938"/>
            </a:xfrm>
            <a:custGeom>
              <a:avLst/>
              <a:gdLst/>
              <a:ahLst/>
              <a:cxnLst/>
              <a:rect l="0" t="0" r="r" b="b"/>
              <a:pathLst>
                <a:path w="20766" h="21105">
                  <a:moveTo>
                    <a:pt x="929" y="16263"/>
                  </a:moveTo>
                  <a:cubicBezTo>
                    <a:pt x="750" y="18342"/>
                    <a:pt x="1253" y="20424"/>
                    <a:pt x="2373" y="20946"/>
                  </a:cubicBezTo>
                  <a:cubicBezTo>
                    <a:pt x="3515" y="21366"/>
                    <a:pt x="6662" y="20972"/>
                    <a:pt x="9338" y="19523"/>
                  </a:cubicBezTo>
                  <a:cubicBezTo>
                    <a:pt x="12115" y="18483"/>
                    <a:pt x="14914" y="15600"/>
                    <a:pt x="15316" y="13576"/>
                  </a:cubicBezTo>
                  <a:cubicBezTo>
                    <a:pt x="15887" y="11606"/>
                    <a:pt x="17176" y="9483"/>
                    <a:pt x="18174" y="8850"/>
                  </a:cubicBezTo>
                  <a:cubicBezTo>
                    <a:pt x="19056" y="7980"/>
                    <a:pt x="20470" y="6419"/>
                    <a:pt x="20648" y="4731"/>
                  </a:cubicBezTo>
                  <a:cubicBezTo>
                    <a:pt x="21129" y="3156"/>
                    <a:pt x="20086" y="1356"/>
                    <a:pt x="18699" y="567"/>
                  </a:cubicBezTo>
                  <a:cubicBezTo>
                    <a:pt x="17320" y="-234"/>
                    <a:pt x="14108" y="-50"/>
                    <a:pt x="11622" y="287"/>
                  </a:cubicBezTo>
                  <a:cubicBezTo>
                    <a:pt x="9215" y="1102"/>
                    <a:pt x="5294" y="2761"/>
                    <a:pt x="2979" y="4576"/>
                  </a:cubicBezTo>
                  <a:cubicBezTo>
                    <a:pt x="862" y="6741"/>
                    <a:pt x="-471" y="8893"/>
                    <a:pt x="156" y="10258"/>
                  </a:cubicBezTo>
                  <a:cubicBezTo>
                    <a:pt x="1029" y="11352"/>
                    <a:pt x="1274" y="14224"/>
                    <a:pt x="929" y="16263"/>
                  </a:cubicBezTo>
                  <a:close/>
                  <a:moveTo>
                    <a:pt x="929" y="162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3" name="AutoShape 1015"/>
            <p:cNvSpPr>
              <a:spLocks/>
            </p:cNvSpPr>
            <p:nvPr/>
          </p:nvSpPr>
          <p:spPr bwMode="auto">
            <a:xfrm>
              <a:off x="6870700" y="1079500"/>
              <a:ext cx="6350" cy="11113"/>
            </a:xfrm>
            <a:custGeom>
              <a:avLst/>
              <a:gdLst/>
              <a:ahLst/>
              <a:cxnLst/>
              <a:rect l="0" t="0" r="r" b="b"/>
              <a:pathLst>
                <a:path w="20349" h="20779">
                  <a:moveTo>
                    <a:pt x="11168" y="20537"/>
                  </a:moveTo>
                  <a:cubicBezTo>
                    <a:pt x="13891" y="20053"/>
                    <a:pt x="16649" y="18194"/>
                    <a:pt x="18033" y="16850"/>
                  </a:cubicBezTo>
                  <a:cubicBezTo>
                    <a:pt x="18954" y="15354"/>
                    <a:pt x="19587" y="12470"/>
                    <a:pt x="18852" y="10358"/>
                  </a:cubicBezTo>
                  <a:cubicBezTo>
                    <a:pt x="18353" y="8213"/>
                    <a:pt x="18300" y="5802"/>
                    <a:pt x="19355" y="5110"/>
                  </a:cubicBezTo>
                  <a:cubicBezTo>
                    <a:pt x="20340" y="4350"/>
                    <a:pt x="20808" y="2568"/>
                    <a:pt x="19737" y="1423"/>
                  </a:cubicBezTo>
                  <a:cubicBezTo>
                    <a:pt x="19019" y="159"/>
                    <a:pt x="14978" y="-283"/>
                    <a:pt x="10669" y="179"/>
                  </a:cubicBezTo>
                  <a:cubicBezTo>
                    <a:pt x="6426" y="785"/>
                    <a:pt x="2616" y="1941"/>
                    <a:pt x="1914" y="2721"/>
                  </a:cubicBezTo>
                  <a:cubicBezTo>
                    <a:pt x="1582" y="3602"/>
                    <a:pt x="1983" y="4427"/>
                    <a:pt x="3050" y="4977"/>
                  </a:cubicBezTo>
                  <a:cubicBezTo>
                    <a:pt x="4355" y="5274"/>
                    <a:pt x="5407" y="6728"/>
                    <a:pt x="5205" y="7893"/>
                  </a:cubicBezTo>
                  <a:cubicBezTo>
                    <a:pt x="5205" y="9083"/>
                    <a:pt x="3455" y="11084"/>
                    <a:pt x="1415" y="12339"/>
                  </a:cubicBezTo>
                  <a:cubicBezTo>
                    <a:pt x="-792" y="13473"/>
                    <a:pt x="-289" y="16145"/>
                    <a:pt x="2031" y="18103"/>
                  </a:cubicBezTo>
                  <a:cubicBezTo>
                    <a:pt x="4186" y="20141"/>
                    <a:pt x="8648" y="21317"/>
                    <a:pt x="11168" y="20537"/>
                  </a:cubicBezTo>
                  <a:close/>
                  <a:moveTo>
                    <a:pt x="11168" y="205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4" name="AutoShape 1016"/>
            <p:cNvSpPr>
              <a:spLocks/>
            </p:cNvSpPr>
            <p:nvPr/>
          </p:nvSpPr>
          <p:spPr bwMode="auto">
            <a:xfrm>
              <a:off x="6845300" y="1092200"/>
              <a:ext cx="6350" cy="6350"/>
            </a:xfrm>
            <a:custGeom>
              <a:avLst/>
              <a:gdLst/>
              <a:ahLst/>
              <a:cxnLst/>
              <a:rect l="0" t="0" r="r" b="b"/>
              <a:pathLst>
                <a:path w="20327" h="21151">
                  <a:moveTo>
                    <a:pt x="2427" y="15931"/>
                  </a:moveTo>
                  <a:cubicBezTo>
                    <a:pt x="5065" y="18381"/>
                    <a:pt x="8631" y="21149"/>
                    <a:pt x="10789" y="21149"/>
                  </a:cubicBezTo>
                  <a:cubicBezTo>
                    <a:pt x="12870" y="21199"/>
                    <a:pt x="15760" y="20300"/>
                    <a:pt x="16963" y="18594"/>
                  </a:cubicBezTo>
                  <a:cubicBezTo>
                    <a:pt x="18449" y="17183"/>
                    <a:pt x="19438" y="12550"/>
                    <a:pt x="20141" y="8883"/>
                  </a:cubicBezTo>
                  <a:cubicBezTo>
                    <a:pt x="20813" y="5221"/>
                    <a:pt x="19566" y="1378"/>
                    <a:pt x="17857" y="566"/>
                  </a:cubicBezTo>
                  <a:cubicBezTo>
                    <a:pt x="16192" y="-401"/>
                    <a:pt x="12227" y="-83"/>
                    <a:pt x="9159" y="1165"/>
                  </a:cubicBezTo>
                  <a:cubicBezTo>
                    <a:pt x="6186" y="2717"/>
                    <a:pt x="2219" y="5044"/>
                    <a:pt x="700" y="7191"/>
                  </a:cubicBezTo>
                  <a:cubicBezTo>
                    <a:pt x="-787" y="9396"/>
                    <a:pt x="236" y="12990"/>
                    <a:pt x="2427" y="15931"/>
                  </a:cubicBezTo>
                  <a:close/>
                  <a:moveTo>
                    <a:pt x="2427" y="159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5" name="AutoShape 1017"/>
            <p:cNvSpPr>
              <a:spLocks/>
            </p:cNvSpPr>
            <p:nvPr/>
          </p:nvSpPr>
          <p:spPr bwMode="auto">
            <a:xfrm>
              <a:off x="5638800" y="1612900"/>
              <a:ext cx="6350" cy="1588"/>
            </a:xfrm>
            <a:custGeom>
              <a:avLst/>
              <a:gdLst/>
              <a:ahLst/>
              <a:cxnLst/>
              <a:rect l="0" t="0" r="r" b="b"/>
              <a:pathLst>
                <a:path w="20468" h="19508">
                  <a:moveTo>
                    <a:pt x="88" y="15704"/>
                  </a:moveTo>
                  <a:cubicBezTo>
                    <a:pt x="-219" y="19692"/>
                    <a:pt x="4583" y="20785"/>
                    <a:pt x="9003" y="17825"/>
                  </a:cubicBezTo>
                  <a:cubicBezTo>
                    <a:pt x="13541" y="14982"/>
                    <a:pt x="18248" y="8871"/>
                    <a:pt x="19921" y="5243"/>
                  </a:cubicBezTo>
                  <a:cubicBezTo>
                    <a:pt x="21054" y="267"/>
                    <a:pt x="20476" y="-815"/>
                    <a:pt x="17728" y="533"/>
                  </a:cubicBezTo>
                  <a:cubicBezTo>
                    <a:pt x="15001" y="1869"/>
                    <a:pt x="9755" y="5604"/>
                    <a:pt x="6007" y="6017"/>
                  </a:cubicBezTo>
                  <a:cubicBezTo>
                    <a:pt x="2315" y="7779"/>
                    <a:pt x="-546" y="11979"/>
                    <a:pt x="88" y="15704"/>
                  </a:cubicBezTo>
                  <a:close/>
                  <a:moveTo>
                    <a:pt x="88" y="157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6" name="AutoShape 1018"/>
            <p:cNvSpPr>
              <a:spLocks/>
            </p:cNvSpPr>
            <p:nvPr/>
          </p:nvSpPr>
          <p:spPr bwMode="auto">
            <a:xfrm>
              <a:off x="5473700" y="1968500"/>
              <a:ext cx="3175" cy="1588"/>
            </a:xfrm>
            <a:custGeom>
              <a:avLst/>
              <a:gdLst/>
              <a:ahLst/>
              <a:cxnLst/>
              <a:rect l="0" t="0" r="r" b="b"/>
              <a:pathLst>
                <a:path w="20532" h="19846">
                  <a:moveTo>
                    <a:pt x="2976" y="2906"/>
                  </a:moveTo>
                  <a:cubicBezTo>
                    <a:pt x="131" y="4260"/>
                    <a:pt x="-595" y="9803"/>
                    <a:pt x="462" y="14988"/>
                  </a:cubicBezTo>
                  <a:cubicBezTo>
                    <a:pt x="2643" y="19608"/>
                    <a:pt x="7279" y="21600"/>
                    <a:pt x="12306" y="17976"/>
                  </a:cubicBezTo>
                  <a:cubicBezTo>
                    <a:pt x="17666" y="15266"/>
                    <a:pt x="21005" y="9126"/>
                    <a:pt x="20478" y="5893"/>
                  </a:cubicBezTo>
                  <a:cubicBezTo>
                    <a:pt x="19353" y="2783"/>
                    <a:pt x="16838" y="0"/>
                    <a:pt x="13695" y="0"/>
                  </a:cubicBezTo>
                  <a:cubicBezTo>
                    <a:pt x="10619" y="1110"/>
                    <a:pt x="5625" y="1314"/>
                    <a:pt x="2976" y="2906"/>
                  </a:cubicBezTo>
                  <a:close/>
                  <a:moveTo>
                    <a:pt x="2976" y="29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7" name="AutoShape 1019"/>
            <p:cNvSpPr>
              <a:spLocks/>
            </p:cNvSpPr>
            <p:nvPr/>
          </p:nvSpPr>
          <p:spPr bwMode="auto">
            <a:xfrm>
              <a:off x="5651500" y="1574800"/>
              <a:ext cx="7938" cy="1588"/>
            </a:xfrm>
            <a:custGeom>
              <a:avLst/>
              <a:gdLst/>
              <a:ahLst/>
              <a:cxnLst/>
              <a:rect l="0" t="0" r="r" b="b"/>
              <a:pathLst>
                <a:path w="20060" h="20218">
                  <a:moveTo>
                    <a:pt x="16284" y="405"/>
                  </a:moveTo>
                  <a:cubicBezTo>
                    <a:pt x="12098" y="691"/>
                    <a:pt x="7596" y="2120"/>
                    <a:pt x="6230" y="1565"/>
                  </a:cubicBezTo>
                  <a:cubicBezTo>
                    <a:pt x="4850" y="1565"/>
                    <a:pt x="2585" y="2438"/>
                    <a:pt x="1439" y="5753"/>
                  </a:cubicBezTo>
                  <a:cubicBezTo>
                    <a:pt x="27" y="8299"/>
                    <a:pt x="-261" y="13246"/>
                    <a:pt x="209" y="16275"/>
                  </a:cubicBezTo>
                  <a:cubicBezTo>
                    <a:pt x="1105" y="18389"/>
                    <a:pt x="3758" y="20218"/>
                    <a:pt x="6781" y="20218"/>
                  </a:cubicBezTo>
                  <a:cubicBezTo>
                    <a:pt x="9794" y="18708"/>
                    <a:pt x="14944" y="14520"/>
                    <a:pt x="18092" y="8536"/>
                  </a:cubicBezTo>
                  <a:cubicBezTo>
                    <a:pt x="21339" y="3001"/>
                    <a:pt x="20453" y="-1382"/>
                    <a:pt x="16284" y="405"/>
                  </a:cubicBezTo>
                  <a:close/>
                  <a:moveTo>
                    <a:pt x="16284" y="4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8" name="AutoShape 1020"/>
            <p:cNvSpPr>
              <a:spLocks/>
            </p:cNvSpPr>
            <p:nvPr/>
          </p:nvSpPr>
          <p:spPr bwMode="auto">
            <a:xfrm>
              <a:off x="5461000" y="2044700"/>
              <a:ext cx="6350" cy="4763"/>
            </a:xfrm>
            <a:custGeom>
              <a:avLst/>
              <a:gdLst/>
              <a:ahLst/>
              <a:cxnLst/>
              <a:rect l="0" t="0" r="r" b="b"/>
              <a:pathLst>
                <a:path w="20603" h="21091">
                  <a:moveTo>
                    <a:pt x="20593" y="4890"/>
                  </a:moveTo>
                  <a:cubicBezTo>
                    <a:pt x="20094" y="2341"/>
                    <a:pt x="18425" y="-309"/>
                    <a:pt x="16673" y="30"/>
                  </a:cubicBezTo>
                  <a:cubicBezTo>
                    <a:pt x="14953" y="583"/>
                    <a:pt x="12056" y="530"/>
                    <a:pt x="10552" y="1895"/>
                  </a:cubicBezTo>
                  <a:cubicBezTo>
                    <a:pt x="8883" y="2341"/>
                    <a:pt x="5607" y="7932"/>
                    <a:pt x="2813" y="12577"/>
                  </a:cubicBezTo>
                  <a:cubicBezTo>
                    <a:pt x="-33" y="17119"/>
                    <a:pt x="-778" y="21243"/>
                    <a:pt x="845" y="21081"/>
                  </a:cubicBezTo>
                  <a:cubicBezTo>
                    <a:pt x="2481" y="21291"/>
                    <a:pt x="7741" y="18302"/>
                    <a:pt x="12520" y="15227"/>
                  </a:cubicBezTo>
                  <a:cubicBezTo>
                    <a:pt x="17317" y="12002"/>
                    <a:pt x="20822" y="7513"/>
                    <a:pt x="20593" y="4890"/>
                  </a:cubicBezTo>
                  <a:close/>
                  <a:moveTo>
                    <a:pt x="20593" y="489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19" name="AutoShape 1021"/>
            <p:cNvSpPr>
              <a:spLocks/>
            </p:cNvSpPr>
            <p:nvPr/>
          </p:nvSpPr>
          <p:spPr bwMode="auto">
            <a:xfrm>
              <a:off x="5486400" y="1409700"/>
              <a:ext cx="20638" cy="6350"/>
            </a:xfrm>
            <a:custGeom>
              <a:avLst/>
              <a:gdLst/>
              <a:ahLst/>
              <a:cxnLst/>
              <a:rect l="0" t="0" r="r" b="b"/>
              <a:pathLst>
                <a:path w="20586" h="20616">
                  <a:moveTo>
                    <a:pt x="13231" y="307"/>
                  </a:moveTo>
                  <a:cubicBezTo>
                    <a:pt x="11131" y="761"/>
                    <a:pt x="7779" y="3243"/>
                    <a:pt x="5704" y="5084"/>
                  </a:cubicBezTo>
                  <a:cubicBezTo>
                    <a:pt x="3645" y="7151"/>
                    <a:pt x="1288" y="10320"/>
                    <a:pt x="502" y="12235"/>
                  </a:cubicBezTo>
                  <a:cubicBezTo>
                    <a:pt x="-341" y="13921"/>
                    <a:pt x="-78" y="17013"/>
                    <a:pt x="959" y="19098"/>
                  </a:cubicBezTo>
                  <a:cubicBezTo>
                    <a:pt x="2052" y="20920"/>
                    <a:pt x="4469" y="21091"/>
                    <a:pt x="6398" y="19669"/>
                  </a:cubicBezTo>
                  <a:cubicBezTo>
                    <a:pt x="8317" y="18170"/>
                    <a:pt x="10886" y="16655"/>
                    <a:pt x="12095" y="17071"/>
                  </a:cubicBezTo>
                  <a:cubicBezTo>
                    <a:pt x="13311" y="17354"/>
                    <a:pt x="16125" y="14302"/>
                    <a:pt x="18396" y="10794"/>
                  </a:cubicBezTo>
                  <a:cubicBezTo>
                    <a:pt x="20655" y="7131"/>
                    <a:pt x="21259" y="3208"/>
                    <a:pt x="19770" y="1728"/>
                  </a:cubicBezTo>
                  <a:cubicBezTo>
                    <a:pt x="18273" y="419"/>
                    <a:pt x="15325" y="-509"/>
                    <a:pt x="13231" y="307"/>
                  </a:cubicBezTo>
                  <a:close/>
                  <a:moveTo>
                    <a:pt x="13231" y="3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0" name="AutoShape 1022"/>
            <p:cNvSpPr>
              <a:spLocks/>
            </p:cNvSpPr>
            <p:nvPr/>
          </p:nvSpPr>
          <p:spPr bwMode="auto">
            <a:xfrm>
              <a:off x="6769100" y="1270000"/>
              <a:ext cx="6350" cy="6350"/>
            </a:xfrm>
            <a:custGeom>
              <a:avLst/>
              <a:gdLst/>
              <a:ahLst/>
              <a:cxnLst/>
              <a:rect l="0" t="0" r="r" b="b"/>
              <a:pathLst>
                <a:path w="20679" h="20671">
                  <a:moveTo>
                    <a:pt x="5046" y="10884"/>
                  </a:moveTo>
                  <a:cubicBezTo>
                    <a:pt x="1062" y="15311"/>
                    <a:pt x="-921" y="19306"/>
                    <a:pt x="414" y="20051"/>
                  </a:cubicBezTo>
                  <a:cubicBezTo>
                    <a:pt x="1612" y="20970"/>
                    <a:pt x="5441" y="20894"/>
                    <a:pt x="8151" y="19638"/>
                  </a:cubicBezTo>
                  <a:cubicBezTo>
                    <a:pt x="10998" y="18933"/>
                    <a:pt x="15338" y="15467"/>
                    <a:pt x="17299" y="11942"/>
                  </a:cubicBezTo>
                  <a:cubicBezTo>
                    <a:pt x="19263" y="8397"/>
                    <a:pt x="20679" y="4110"/>
                    <a:pt x="20679" y="2073"/>
                  </a:cubicBezTo>
                  <a:cubicBezTo>
                    <a:pt x="20404" y="56"/>
                    <a:pt x="18342" y="-630"/>
                    <a:pt x="16222" y="645"/>
                  </a:cubicBezTo>
                  <a:cubicBezTo>
                    <a:pt x="14042" y="1800"/>
                    <a:pt x="8858" y="6304"/>
                    <a:pt x="5046" y="10884"/>
                  </a:cubicBezTo>
                  <a:close/>
                  <a:moveTo>
                    <a:pt x="5046" y="108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1" name="AutoShape 1023"/>
            <p:cNvSpPr>
              <a:spLocks/>
            </p:cNvSpPr>
            <p:nvPr/>
          </p:nvSpPr>
          <p:spPr bwMode="auto">
            <a:xfrm>
              <a:off x="6337300" y="1054100"/>
              <a:ext cx="4763" cy="3175"/>
            </a:xfrm>
            <a:custGeom>
              <a:avLst/>
              <a:gdLst/>
              <a:ahLst/>
              <a:cxnLst/>
              <a:rect l="0" t="0" r="r" b="b"/>
              <a:pathLst>
                <a:path w="19794" h="20832">
                  <a:moveTo>
                    <a:pt x="11833" y="20819"/>
                  </a:moveTo>
                  <a:cubicBezTo>
                    <a:pt x="14499" y="21083"/>
                    <a:pt x="17871" y="16804"/>
                    <a:pt x="19354" y="11981"/>
                  </a:cubicBezTo>
                  <a:cubicBezTo>
                    <a:pt x="20860" y="7113"/>
                    <a:pt x="18364" y="1656"/>
                    <a:pt x="13809" y="992"/>
                  </a:cubicBezTo>
                  <a:cubicBezTo>
                    <a:pt x="9341" y="-517"/>
                    <a:pt x="3750" y="-185"/>
                    <a:pt x="1514" y="1181"/>
                  </a:cubicBezTo>
                  <a:cubicBezTo>
                    <a:pt x="-740" y="2434"/>
                    <a:pt x="-463" y="7589"/>
                    <a:pt x="2245" y="12275"/>
                  </a:cubicBezTo>
                  <a:cubicBezTo>
                    <a:pt x="4934" y="16955"/>
                    <a:pt x="9252" y="21083"/>
                    <a:pt x="11833" y="20819"/>
                  </a:cubicBezTo>
                  <a:close/>
                  <a:moveTo>
                    <a:pt x="11833" y="208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2" name="AutoShape 1024"/>
            <p:cNvSpPr>
              <a:spLocks/>
            </p:cNvSpPr>
            <p:nvPr/>
          </p:nvSpPr>
          <p:spPr bwMode="auto">
            <a:xfrm>
              <a:off x="6769100" y="1257300"/>
              <a:ext cx="3175" cy="1588"/>
            </a:xfrm>
            <a:custGeom>
              <a:avLst/>
              <a:gdLst/>
              <a:ahLst/>
              <a:cxnLst/>
              <a:rect l="0" t="0" r="r" b="b"/>
              <a:pathLst>
                <a:path w="19700" h="20241">
                  <a:moveTo>
                    <a:pt x="19521" y="6853"/>
                  </a:moveTo>
                  <a:cubicBezTo>
                    <a:pt x="20527" y="2809"/>
                    <a:pt x="17174" y="-500"/>
                    <a:pt x="12676" y="63"/>
                  </a:cubicBezTo>
                  <a:cubicBezTo>
                    <a:pt x="8231" y="856"/>
                    <a:pt x="2950" y="3992"/>
                    <a:pt x="914" y="7416"/>
                  </a:cubicBezTo>
                  <a:cubicBezTo>
                    <a:pt x="-1073" y="11115"/>
                    <a:pt x="299" y="15551"/>
                    <a:pt x="3876" y="18411"/>
                  </a:cubicBezTo>
                  <a:cubicBezTo>
                    <a:pt x="7504" y="21100"/>
                    <a:pt x="12117" y="20433"/>
                    <a:pt x="14433" y="18917"/>
                  </a:cubicBezTo>
                  <a:cubicBezTo>
                    <a:pt x="16252" y="15551"/>
                    <a:pt x="19074" y="11230"/>
                    <a:pt x="19521" y="6853"/>
                  </a:cubicBezTo>
                  <a:close/>
                  <a:moveTo>
                    <a:pt x="19521" y="68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3" name="AutoShape 1025"/>
            <p:cNvSpPr>
              <a:spLocks/>
            </p:cNvSpPr>
            <p:nvPr/>
          </p:nvSpPr>
          <p:spPr bwMode="auto">
            <a:xfrm>
              <a:off x="5575300" y="2324100"/>
              <a:ext cx="7938" cy="12700"/>
            </a:xfrm>
            <a:custGeom>
              <a:avLst/>
              <a:gdLst/>
              <a:ahLst/>
              <a:cxnLst/>
              <a:rect l="0" t="0" r="r" b="b"/>
              <a:pathLst>
                <a:path w="21236" h="21214">
                  <a:moveTo>
                    <a:pt x="17659" y="41"/>
                  </a:moveTo>
                  <a:cubicBezTo>
                    <a:pt x="15318" y="248"/>
                    <a:pt x="12568" y="1649"/>
                    <a:pt x="11130" y="2999"/>
                  </a:cubicBezTo>
                  <a:cubicBezTo>
                    <a:pt x="9878" y="4461"/>
                    <a:pt x="6649" y="6686"/>
                    <a:pt x="4394" y="8292"/>
                  </a:cubicBezTo>
                  <a:cubicBezTo>
                    <a:pt x="1952" y="9796"/>
                    <a:pt x="205" y="13361"/>
                    <a:pt x="0" y="16287"/>
                  </a:cubicBezTo>
                  <a:cubicBezTo>
                    <a:pt x="0" y="19211"/>
                    <a:pt x="1746" y="21312"/>
                    <a:pt x="3828" y="21211"/>
                  </a:cubicBezTo>
                  <a:cubicBezTo>
                    <a:pt x="5937" y="21065"/>
                    <a:pt x="7841" y="19808"/>
                    <a:pt x="8466" y="18635"/>
                  </a:cubicBezTo>
                  <a:cubicBezTo>
                    <a:pt x="8845" y="17430"/>
                    <a:pt x="12118" y="14597"/>
                    <a:pt x="14883" y="11907"/>
                  </a:cubicBezTo>
                  <a:cubicBezTo>
                    <a:pt x="18082" y="9498"/>
                    <a:pt x="20933" y="5655"/>
                    <a:pt x="21165" y="3535"/>
                  </a:cubicBezTo>
                  <a:cubicBezTo>
                    <a:pt x="21600" y="1433"/>
                    <a:pt x="19974" y="-288"/>
                    <a:pt x="17659" y="41"/>
                  </a:cubicBezTo>
                  <a:close/>
                  <a:moveTo>
                    <a:pt x="17659" y="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4" name="AutoShape 1026"/>
            <p:cNvSpPr>
              <a:spLocks/>
            </p:cNvSpPr>
            <p:nvPr/>
          </p:nvSpPr>
          <p:spPr bwMode="auto">
            <a:xfrm>
              <a:off x="5575300" y="1752600"/>
              <a:ext cx="6350" cy="6350"/>
            </a:xfrm>
            <a:custGeom>
              <a:avLst/>
              <a:gdLst/>
              <a:ahLst/>
              <a:cxnLst/>
              <a:rect l="0" t="0" r="r" b="b"/>
              <a:pathLst>
                <a:path w="20563" h="20879">
                  <a:moveTo>
                    <a:pt x="19508" y="16352"/>
                  </a:moveTo>
                  <a:cubicBezTo>
                    <a:pt x="21015" y="13727"/>
                    <a:pt x="20881" y="9094"/>
                    <a:pt x="19271" y="5324"/>
                  </a:cubicBezTo>
                  <a:cubicBezTo>
                    <a:pt x="16941" y="2114"/>
                    <a:pt x="13626" y="-582"/>
                    <a:pt x="10877" y="108"/>
                  </a:cubicBezTo>
                  <a:cubicBezTo>
                    <a:pt x="8162" y="784"/>
                    <a:pt x="4175" y="3371"/>
                    <a:pt x="1961" y="5779"/>
                  </a:cubicBezTo>
                  <a:cubicBezTo>
                    <a:pt x="-201" y="8258"/>
                    <a:pt x="-585" y="12521"/>
                    <a:pt x="856" y="15530"/>
                  </a:cubicBezTo>
                  <a:cubicBezTo>
                    <a:pt x="2297" y="18558"/>
                    <a:pt x="6553" y="21018"/>
                    <a:pt x="10022" y="20872"/>
                  </a:cubicBezTo>
                  <a:cubicBezTo>
                    <a:pt x="13475" y="20746"/>
                    <a:pt x="17898" y="18976"/>
                    <a:pt x="19508" y="16352"/>
                  </a:cubicBezTo>
                  <a:close/>
                  <a:moveTo>
                    <a:pt x="19508" y="1635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5" name="AutoShape 1027"/>
            <p:cNvSpPr>
              <a:spLocks/>
            </p:cNvSpPr>
            <p:nvPr/>
          </p:nvSpPr>
          <p:spPr bwMode="auto">
            <a:xfrm>
              <a:off x="5537200" y="2286000"/>
              <a:ext cx="4763" cy="4763"/>
            </a:xfrm>
            <a:custGeom>
              <a:avLst/>
              <a:gdLst/>
              <a:ahLst/>
              <a:cxnLst/>
              <a:rect l="0" t="0" r="r" b="b"/>
              <a:pathLst>
                <a:path w="20877" h="20328">
                  <a:moveTo>
                    <a:pt x="5445" y="2244"/>
                  </a:moveTo>
                  <a:cubicBezTo>
                    <a:pt x="1914" y="4056"/>
                    <a:pt x="0" y="9879"/>
                    <a:pt x="0" y="14223"/>
                  </a:cubicBezTo>
                  <a:cubicBezTo>
                    <a:pt x="709" y="18466"/>
                    <a:pt x="4601" y="20713"/>
                    <a:pt x="9593" y="20273"/>
                  </a:cubicBezTo>
                  <a:cubicBezTo>
                    <a:pt x="14559" y="19346"/>
                    <a:pt x="19821" y="15230"/>
                    <a:pt x="20549" y="11171"/>
                  </a:cubicBezTo>
                  <a:cubicBezTo>
                    <a:pt x="21600" y="7187"/>
                    <a:pt x="20051" y="2350"/>
                    <a:pt x="16952" y="978"/>
                  </a:cubicBezTo>
                  <a:cubicBezTo>
                    <a:pt x="14036" y="-887"/>
                    <a:pt x="8843" y="125"/>
                    <a:pt x="5445" y="2244"/>
                  </a:cubicBezTo>
                  <a:close/>
                  <a:moveTo>
                    <a:pt x="5445" y="22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6" name="AutoShape 1028"/>
            <p:cNvSpPr>
              <a:spLocks/>
            </p:cNvSpPr>
            <p:nvPr/>
          </p:nvSpPr>
          <p:spPr bwMode="auto">
            <a:xfrm>
              <a:off x="5499100" y="2298700"/>
              <a:ext cx="9525" cy="6350"/>
            </a:xfrm>
            <a:custGeom>
              <a:avLst/>
              <a:gdLst/>
              <a:ahLst/>
              <a:cxnLst/>
              <a:rect l="0" t="0" r="r" b="b"/>
              <a:pathLst>
                <a:path w="20592" h="20139">
                  <a:moveTo>
                    <a:pt x="12807" y="194"/>
                  </a:moveTo>
                  <a:cubicBezTo>
                    <a:pt x="9618" y="-678"/>
                    <a:pt x="5421" y="1585"/>
                    <a:pt x="3223" y="3187"/>
                  </a:cubicBezTo>
                  <a:cubicBezTo>
                    <a:pt x="1235" y="5151"/>
                    <a:pt x="-189" y="8071"/>
                    <a:pt x="20" y="9874"/>
                  </a:cubicBezTo>
                  <a:cubicBezTo>
                    <a:pt x="451" y="11600"/>
                    <a:pt x="1889" y="13400"/>
                    <a:pt x="3643" y="13312"/>
                  </a:cubicBezTo>
                  <a:cubicBezTo>
                    <a:pt x="5421" y="13097"/>
                    <a:pt x="7355" y="15629"/>
                    <a:pt x="8139" y="18159"/>
                  </a:cubicBezTo>
                  <a:cubicBezTo>
                    <a:pt x="9133" y="20546"/>
                    <a:pt x="12258" y="20922"/>
                    <a:pt x="15659" y="18480"/>
                  </a:cubicBezTo>
                  <a:cubicBezTo>
                    <a:pt x="19033" y="15914"/>
                    <a:pt x="21411" y="10994"/>
                    <a:pt x="20327" y="7395"/>
                  </a:cubicBezTo>
                  <a:cubicBezTo>
                    <a:pt x="19515" y="3650"/>
                    <a:pt x="16076" y="603"/>
                    <a:pt x="12807" y="194"/>
                  </a:cubicBezTo>
                  <a:close/>
                  <a:moveTo>
                    <a:pt x="12807" y="19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7" name="AutoShape 1029"/>
            <p:cNvSpPr>
              <a:spLocks/>
            </p:cNvSpPr>
            <p:nvPr/>
          </p:nvSpPr>
          <p:spPr bwMode="auto">
            <a:xfrm>
              <a:off x="5549900" y="2286000"/>
              <a:ext cx="9525" cy="4763"/>
            </a:xfrm>
            <a:custGeom>
              <a:avLst/>
              <a:gdLst/>
              <a:ahLst/>
              <a:cxnLst/>
              <a:rect l="0" t="0" r="r" b="b"/>
              <a:pathLst>
                <a:path w="20958" h="20554">
                  <a:moveTo>
                    <a:pt x="14502" y="548"/>
                  </a:moveTo>
                  <a:cubicBezTo>
                    <a:pt x="11308" y="1791"/>
                    <a:pt x="6603" y="6598"/>
                    <a:pt x="3622" y="10283"/>
                  </a:cubicBezTo>
                  <a:cubicBezTo>
                    <a:pt x="797" y="14236"/>
                    <a:pt x="-353" y="18104"/>
                    <a:pt x="93" y="19758"/>
                  </a:cubicBezTo>
                  <a:cubicBezTo>
                    <a:pt x="985" y="20587"/>
                    <a:pt x="3733" y="20908"/>
                    <a:pt x="6344" y="20036"/>
                  </a:cubicBezTo>
                  <a:cubicBezTo>
                    <a:pt x="8981" y="19207"/>
                    <a:pt x="13510" y="15894"/>
                    <a:pt x="16331" y="12398"/>
                  </a:cubicBezTo>
                  <a:cubicBezTo>
                    <a:pt x="19156" y="8855"/>
                    <a:pt x="21247" y="4600"/>
                    <a:pt x="20925" y="2437"/>
                  </a:cubicBezTo>
                  <a:cubicBezTo>
                    <a:pt x="20542" y="274"/>
                    <a:pt x="17683" y="-692"/>
                    <a:pt x="14502" y="548"/>
                  </a:cubicBezTo>
                  <a:close/>
                  <a:moveTo>
                    <a:pt x="14502" y="5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8" name="AutoShape 1030"/>
            <p:cNvSpPr>
              <a:spLocks/>
            </p:cNvSpPr>
            <p:nvPr/>
          </p:nvSpPr>
          <p:spPr bwMode="auto">
            <a:xfrm>
              <a:off x="5461000" y="2032000"/>
              <a:ext cx="6350" cy="4763"/>
            </a:xfrm>
            <a:custGeom>
              <a:avLst/>
              <a:gdLst/>
              <a:ahLst/>
              <a:cxnLst/>
              <a:rect l="0" t="0" r="r" b="b"/>
              <a:pathLst>
                <a:path w="19822" h="20307">
                  <a:moveTo>
                    <a:pt x="10098" y="20111"/>
                  </a:moveTo>
                  <a:cubicBezTo>
                    <a:pt x="14183" y="20111"/>
                    <a:pt x="18160" y="15139"/>
                    <a:pt x="19381" y="10139"/>
                  </a:cubicBezTo>
                  <a:cubicBezTo>
                    <a:pt x="20586" y="5168"/>
                    <a:pt x="19207" y="122"/>
                    <a:pt x="16677" y="122"/>
                  </a:cubicBezTo>
                  <a:cubicBezTo>
                    <a:pt x="14201" y="-598"/>
                    <a:pt x="9069" y="2001"/>
                    <a:pt x="5092" y="4601"/>
                  </a:cubicBezTo>
                  <a:cubicBezTo>
                    <a:pt x="1323" y="7666"/>
                    <a:pt x="-1014" y="12490"/>
                    <a:pt x="434" y="15363"/>
                  </a:cubicBezTo>
                  <a:cubicBezTo>
                    <a:pt x="941" y="18772"/>
                    <a:pt x="6086" y="21002"/>
                    <a:pt x="10098" y="20111"/>
                  </a:cubicBezTo>
                  <a:close/>
                  <a:moveTo>
                    <a:pt x="10098" y="201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29" name="AutoShape 1031"/>
            <p:cNvSpPr>
              <a:spLocks/>
            </p:cNvSpPr>
            <p:nvPr/>
          </p:nvSpPr>
          <p:spPr bwMode="auto">
            <a:xfrm>
              <a:off x="6515100" y="1739900"/>
              <a:ext cx="6350" cy="3175"/>
            </a:xfrm>
            <a:custGeom>
              <a:avLst/>
              <a:gdLst/>
              <a:ahLst/>
              <a:cxnLst/>
              <a:rect l="0" t="0" r="r" b="b"/>
              <a:pathLst>
                <a:path w="20734" h="19866">
                  <a:moveTo>
                    <a:pt x="93" y="13385"/>
                  </a:moveTo>
                  <a:cubicBezTo>
                    <a:pt x="-396" y="16685"/>
                    <a:pt x="1092" y="20173"/>
                    <a:pt x="3556" y="19732"/>
                  </a:cubicBezTo>
                  <a:cubicBezTo>
                    <a:pt x="6020" y="20427"/>
                    <a:pt x="11381" y="18367"/>
                    <a:pt x="14971" y="14814"/>
                  </a:cubicBezTo>
                  <a:cubicBezTo>
                    <a:pt x="18778" y="12209"/>
                    <a:pt x="21204" y="6629"/>
                    <a:pt x="20658" y="3043"/>
                  </a:cubicBezTo>
                  <a:cubicBezTo>
                    <a:pt x="19879" y="-380"/>
                    <a:pt x="15424" y="-1173"/>
                    <a:pt x="10387" y="1997"/>
                  </a:cubicBezTo>
                  <a:cubicBezTo>
                    <a:pt x="5330" y="4881"/>
                    <a:pt x="929" y="10306"/>
                    <a:pt x="93" y="13385"/>
                  </a:cubicBezTo>
                  <a:close/>
                  <a:moveTo>
                    <a:pt x="93" y="133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0" name="AutoShape 1032"/>
            <p:cNvSpPr>
              <a:spLocks/>
            </p:cNvSpPr>
            <p:nvPr/>
          </p:nvSpPr>
          <p:spPr bwMode="auto">
            <a:xfrm>
              <a:off x="6464300" y="1663700"/>
              <a:ext cx="4763" cy="4763"/>
            </a:xfrm>
            <a:custGeom>
              <a:avLst/>
              <a:gdLst/>
              <a:ahLst/>
              <a:cxnLst/>
              <a:rect l="0" t="0" r="r" b="b"/>
              <a:pathLst>
                <a:path w="20991" h="20328">
                  <a:moveTo>
                    <a:pt x="17187" y="18949"/>
                  </a:moveTo>
                  <a:cubicBezTo>
                    <a:pt x="19511" y="16933"/>
                    <a:pt x="20586" y="12619"/>
                    <a:pt x="20991" y="9271"/>
                  </a:cubicBezTo>
                  <a:cubicBezTo>
                    <a:pt x="20638" y="5951"/>
                    <a:pt x="17187" y="2261"/>
                    <a:pt x="13517" y="824"/>
                  </a:cubicBezTo>
                  <a:cubicBezTo>
                    <a:pt x="9815" y="-617"/>
                    <a:pt x="5591" y="-37"/>
                    <a:pt x="4066" y="1553"/>
                  </a:cubicBezTo>
                  <a:cubicBezTo>
                    <a:pt x="2463" y="3117"/>
                    <a:pt x="1342" y="7365"/>
                    <a:pt x="139" y="10348"/>
                  </a:cubicBezTo>
                  <a:cubicBezTo>
                    <a:pt x="-609" y="13541"/>
                    <a:pt x="1716" y="17702"/>
                    <a:pt x="5714" y="19270"/>
                  </a:cubicBezTo>
                  <a:cubicBezTo>
                    <a:pt x="9712" y="20983"/>
                    <a:pt x="14438" y="20425"/>
                    <a:pt x="17187" y="18949"/>
                  </a:cubicBezTo>
                  <a:close/>
                  <a:moveTo>
                    <a:pt x="17187" y="189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1" name="AutoShape 1033"/>
            <p:cNvSpPr>
              <a:spLocks/>
            </p:cNvSpPr>
            <p:nvPr/>
          </p:nvSpPr>
          <p:spPr bwMode="auto">
            <a:xfrm>
              <a:off x="5651500" y="1587500"/>
              <a:ext cx="3175" cy="4763"/>
            </a:xfrm>
            <a:custGeom>
              <a:avLst/>
              <a:gdLst/>
              <a:ahLst/>
              <a:cxnLst/>
              <a:rect l="0" t="0" r="r" b="b"/>
              <a:pathLst>
                <a:path w="19687" h="20642">
                  <a:moveTo>
                    <a:pt x="8385" y="1250"/>
                  </a:moveTo>
                  <a:cubicBezTo>
                    <a:pt x="5856" y="2967"/>
                    <a:pt x="3600" y="8665"/>
                    <a:pt x="857" y="12981"/>
                  </a:cubicBezTo>
                  <a:cubicBezTo>
                    <a:pt x="-994" y="17547"/>
                    <a:pt x="208" y="20752"/>
                    <a:pt x="3941" y="20628"/>
                  </a:cubicBezTo>
                  <a:cubicBezTo>
                    <a:pt x="7677" y="20838"/>
                    <a:pt x="13256" y="18658"/>
                    <a:pt x="16315" y="17002"/>
                  </a:cubicBezTo>
                  <a:cubicBezTo>
                    <a:pt x="19582" y="15496"/>
                    <a:pt x="20606" y="12145"/>
                    <a:pt x="18811" y="10008"/>
                  </a:cubicBezTo>
                  <a:cubicBezTo>
                    <a:pt x="17086" y="7850"/>
                    <a:pt x="15202" y="4078"/>
                    <a:pt x="13908" y="1877"/>
                  </a:cubicBezTo>
                  <a:cubicBezTo>
                    <a:pt x="12151" y="-196"/>
                    <a:pt x="10356" y="-762"/>
                    <a:pt x="8385" y="1250"/>
                  </a:cubicBezTo>
                  <a:close/>
                  <a:moveTo>
                    <a:pt x="8385" y="12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2" name="AutoShape 1034"/>
            <p:cNvSpPr>
              <a:spLocks/>
            </p:cNvSpPr>
            <p:nvPr/>
          </p:nvSpPr>
          <p:spPr bwMode="auto">
            <a:xfrm>
              <a:off x="5511800" y="1905000"/>
              <a:ext cx="9525" cy="6350"/>
            </a:xfrm>
            <a:custGeom>
              <a:avLst/>
              <a:gdLst/>
              <a:ahLst/>
              <a:cxnLst/>
              <a:rect l="0" t="0" r="r" b="b"/>
              <a:pathLst>
                <a:path w="20618" h="20752">
                  <a:moveTo>
                    <a:pt x="5445" y="20173"/>
                  </a:moveTo>
                  <a:cubicBezTo>
                    <a:pt x="7282" y="18922"/>
                    <a:pt x="11154" y="15422"/>
                    <a:pt x="14159" y="12246"/>
                  </a:cubicBezTo>
                  <a:cubicBezTo>
                    <a:pt x="16859" y="8662"/>
                    <a:pt x="20155" y="4610"/>
                    <a:pt x="20368" y="2551"/>
                  </a:cubicBezTo>
                  <a:cubicBezTo>
                    <a:pt x="21198" y="836"/>
                    <a:pt x="19854" y="-552"/>
                    <a:pt x="17954" y="218"/>
                  </a:cubicBezTo>
                  <a:cubicBezTo>
                    <a:pt x="15968" y="699"/>
                    <a:pt x="11895" y="3960"/>
                    <a:pt x="8839" y="7221"/>
                  </a:cubicBezTo>
                  <a:cubicBezTo>
                    <a:pt x="5685" y="10306"/>
                    <a:pt x="2201" y="14256"/>
                    <a:pt x="1120" y="15883"/>
                  </a:cubicBezTo>
                  <a:cubicBezTo>
                    <a:pt x="51" y="17478"/>
                    <a:pt x="-402" y="19435"/>
                    <a:pt x="430" y="20226"/>
                  </a:cubicBezTo>
                  <a:cubicBezTo>
                    <a:pt x="1285" y="21048"/>
                    <a:pt x="3422" y="20809"/>
                    <a:pt x="5445" y="20173"/>
                  </a:cubicBezTo>
                  <a:close/>
                  <a:moveTo>
                    <a:pt x="5445" y="201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3" name="AutoShape 1035"/>
            <p:cNvSpPr>
              <a:spLocks/>
            </p:cNvSpPr>
            <p:nvPr/>
          </p:nvSpPr>
          <p:spPr bwMode="auto">
            <a:xfrm>
              <a:off x="5651500" y="1600200"/>
              <a:ext cx="1588" cy="1588"/>
            </a:xfrm>
            <a:custGeom>
              <a:avLst/>
              <a:gdLst/>
              <a:ahLst/>
              <a:cxnLst/>
              <a:rect l="0" t="0" r="r" b="b"/>
              <a:pathLst>
                <a:path w="19378" h="19751">
                  <a:moveTo>
                    <a:pt x="2746" y="19391"/>
                  </a:moveTo>
                  <a:cubicBezTo>
                    <a:pt x="6224" y="20792"/>
                    <a:pt x="12985" y="18044"/>
                    <a:pt x="16709" y="12067"/>
                  </a:cubicBezTo>
                  <a:cubicBezTo>
                    <a:pt x="20782" y="6970"/>
                    <a:pt x="20069" y="2875"/>
                    <a:pt x="15415" y="263"/>
                  </a:cubicBezTo>
                  <a:cubicBezTo>
                    <a:pt x="10674" y="-808"/>
                    <a:pt x="3711" y="1336"/>
                    <a:pt x="1535" y="7573"/>
                  </a:cubicBezTo>
                  <a:cubicBezTo>
                    <a:pt x="-569" y="13743"/>
                    <a:pt x="-818" y="18717"/>
                    <a:pt x="2746" y="19391"/>
                  </a:cubicBezTo>
                  <a:close/>
                  <a:moveTo>
                    <a:pt x="2746" y="193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4" name="AutoShape 1036"/>
            <p:cNvSpPr>
              <a:spLocks/>
            </p:cNvSpPr>
            <p:nvPr/>
          </p:nvSpPr>
          <p:spPr bwMode="auto">
            <a:xfrm>
              <a:off x="5803900" y="1206500"/>
              <a:ext cx="6350" cy="3175"/>
            </a:xfrm>
            <a:custGeom>
              <a:avLst/>
              <a:gdLst/>
              <a:ahLst/>
              <a:cxnLst/>
              <a:rect l="0" t="0" r="r" b="b"/>
              <a:pathLst>
                <a:path w="19671" h="20525">
                  <a:moveTo>
                    <a:pt x="5095" y="2903"/>
                  </a:moveTo>
                  <a:cubicBezTo>
                    <a:pt x="746" y="5282"/>
                    <a:pt x="-1194" y="8589"/>
                    <a:pt x="763" y="9370"/>
                  </a:cubicBezTo>
                  <a:cubicBezTo>
                    <a:pt x="2689" y="10563"/>
                    <a:pt x="3818" y="13221"/>
                    <a:pt x="4049" y="15949"/>
                  </a:cubicBezTo>
                  <a:cubicBezTo>
                    <a:pt x="3567" y="18538"/>
                    <a:pt x="6505" y="21196"/>
                    <a:pt x="9740" y="20373"/>
                  </a:cubicBezTo>
                  <a:cubicBezTo>
                    <a:pt x="12992" y="20924"/>
                    <a:pt x="16940" y="15810"/>
                    <a:pt x="18731" y="11351"/>
                  </a:cubicBezTo>
                  <a:cubicBezTo>
                    <a:pt x="20406" y="6684"/>
                    <a:pt x="19778" y="1808"/>
                    <a:pt x="17372" y="447"/>
                  </a:cubicBezTo>
                  <a:cubicBezTo>
                    <a:pt x="14899" y="-404"/>
                    <a:pt x="9356" y="-271"/>
                    <a:pt x="5095" y="2903"/>
                  </a:cubicBezTo>
                  <a:close/>
                  <a:moveTo>
                    <a:pt x="5095" y="29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5" name="AutoShape 1037"/>
            <p:cNvSpPr>
              <a:spLocks/>
            </p:cNvSpPr>
            <p:nvPr/>
          </p:nvSpPr>
          <p:spPr bwMode="auto">
            <a:xfrm>
              <a:off x="5486400" y="2095500"/>
              <a:ext cx="14288" cy="11113"/>
            </a:xfrm>
            <a:custGeom>
              <a:avLst/>
              <a:gdLst/>
              <a:ahLst/>
              <a:cxnLst/>
              <a:rect l="0" t="0" r="r" b="b"/>
              <a:pathLst>
                <a:path w="19968" h="20739">
                  <a:moveTo>
                    <a:pt x="404" y="20726"/>
                  </a:moveTo>
                  <a:cubicBezTo>
                    <a:pt x="1592" y="20103"/>
                    <a:pt x="4701" y="17780"/>
                    <a:pt x="7377" y="15582"/>
                  </a:cubicBezTo>
                  <a:cubicBezTo>
                    <a:pt x="9796" y="12991"/>
                    <a:pt x="14341" y="8542"/>
                    <a:pt x="16984" y="5047"/>
                  </a:cubicBezTo>
                  <a:cubicBezTo>
                    <a:pt x="19585" y="1521"/>
                    <a:pt x="20722" y="-666"/>
                    <a:pt x="19439" y="183"/>
                  </a:cubicBezTo>
                  <a:cubicBezTo>
                    <a:pt x="18018" y="744"/>
                    <a:pt x="15625" y="3223"/>
                    <a:pt x="13946" y="5172"/>
                  </a:cubicBezTo>
                  <a:cubicBezTo>
                    <a:pt x="12352" y="7245"/>
                    <a:pt x="7920" y="11507"/>
                    <a:pt x="4528" y="15189"/>
                  </a:cubicBezTo>
                  <a:cubicBezTo>
                    <a:pt x="998" y="18693"/>
                    <a:pt x="-878" y="20934"/>
                    <a:pt x="404" y="20726"/>
                  </a:cubicBezTo>
                  <a:close/>
                  <a:moveTo>
                    <a:pt x="404" y="207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6" name="AutoShape 1038"/>
            <p:cNvSpPr>
              <a:spLocks/>
            </p:cNvSpPr>
            <p:nvPr/>
          </p:nvSpPr>
          <p:spPr bwMode="auto">
            <a:xfrm>
              <a:off x="5524500" y="1409700"/>
              <a:ext cx="17463" cy="4763"/>
            </a:xfrm>
            <a:custGeom>
              <a:avLst/>
              <a:gdLst/>
              <a:ahLst/>
              <a:cxnLst/>
              <a:rect l="0" t="0" r="r" b="b"/>
              <a:pathLst>
                <a:path w="20961" h="20261">
                  <a:moveTo>
                    <a:pt x="295" y="11264"/>
                  </a:moveTo>
                  <a:cubicBezTo>
                    <a:pt x="-263" y="12706"/>
                    <a:pt x="37" y="16214"/>
                    <a:pt x="643" y="18497"/>
                  </a:cubicBezTo>
                  <a:cubicBezTo>
                    <a:pt x="1290" y="20632"/>
                    <a:pt x="3979" y="21021"/>
                    <a:pt x="6584" y="18590"/>
                  </a:cubicBezTo>
                  <a:cubicBezTo>
                    <a:pt x="9252" y="16765"/>
                    <a:pt x="12491" y="14462"/>
                    <a:pt x="13828" y="14556"/>
                  </a:cubicBezTo>
                  <a:cubicBezTo>
                    <a:pt x="15166" y="14364"/>
                    <a:pt x="17520" y="13065"/>
                    <a:pt x="19073" y="11648"/>
                  </a:cubicBezTo>
                  <a:cubicBezTo>
                    <a:pt x="20620" y="10305"/>
                    <a:pt x="21337" y="7347"/>
                    <a:pt x="20765" y="5138"/>
                  </a:cubicBezTo>
                  <a:cubicBezTo>
                    <a:pt x="20146" y="3072"/>
                    <a:pt x="18759" y="2181"/>
                    <a:pt x="17631" y="3264"/>
                  </a:cubicBezTo>
                  <a:cubicBezTo>
                    <a:pt x="16524" y="4420"/>
                    <a:pt x="14686" y="3938"/>
                    <a:pt x="13780" y="1295"/>
                  </a:cubicBezTo>
                  <a:cubicBezTo>
                    <a:pt x="12741" y="-579"/>
                    <a:pt x="10465" y="-461"/>
                    <a:pt x="8583" y="1920"/>
                  </a:cubicBezTo>
                  <a:cubicBezTo>
                    <a:pt x="6703" y="4297"/>
                    <a:pt x="4258" y="6437"/>
                    <a:pt x="3150" y="7230"/>
                  </a:cubicBezTo>
                  <a:cubicBezTo>
                    <a:pt x="2022" y="7323"/>
                    <a:pt x="684" y="9320"/>
                    <a:pt x="295" y="11264"/>
                  </a:cubicBezTo>
                  <a:close/>
                  <a:moveTo>
                    <a:pt x="295" y="112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7" name="AutoShape 1039"/>
            <p:cNvSpPr>
              <a:spLocks/>
            </p:cNvSpPr>
            <p:nvPr/>
          </p:nvSpPr>
          <p:spPr bwMode="auto">
            <a:xfrm>
              <a:off x="5486400" y="1968500"/>
              <a:ext cx="6350" cy="3175"/>
            </a:xfrm>
            <a:custGeom>
              <a:avLst/>
              <a:gdLst/>
              <a:ahLst/>
              <a:cxnLst/>
              <a:rect l="0" t="0" r="r" b="b"/>
              <a:pathLst>
                <a:path w="19641" h="20232">
                  <a:moveTo>
                    <a:pt x="3719" y="20184"/>
                  </a:moveTo>
                  <a:cubicBezTo>
                    <a:pt x="8707" y="20768"/>
                    <a:pt x="14827" y="15897"/>
                    <a:pt x="17640" y="11026"/>
                  </a:cubicBezTo>
                  <a:cubicBezTo>
                    <a:pt x="20344" y="5916"/>
                    <a:pt x="20292" y="413"/>
                    <a:pt x="17585" y="143"/>
                  </a:cubicBezTo>
                  <a:cubicBezTo>
                    <a:pt x="14935" y="-832"/>
                    <a:pt x="8600" y="3305"/>
                    <a:pt x="3663" y="9230"/>
                  </a:cubicBezTo>
                  <a:cubicBezTo>
                    <a:pt x="-1204" y="15313"/>
                    <a:pt x="-1256" y="20184"/>
                    <a:pt x="3719" y="20184"/>
                  </a:cubicBezTo>
                  <a:close/>
                  <a:moveTo>
                    <a:pt x="3719" y="201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8" name="AutoShape 1040"/>
            <p:cNvSpPr>
              <a:spLocks/>
            </p:cNvSpPr>
            <p:nvPr/>
          </p:nvSpPr>
          <p:spPr bwMode="auto">
            <a:xfrm>
              <a:off x="5486400" y="1968500"/>
              <a:ext cx="9525" cy="3175"/>
            </a:xfrm>
            <a:custGeom>
              <a:avLst/>
              <a:gdLst/>
              <a:ahLst/>
              <a:cxnLst/>
              <a:rect l="0" t="0" r="r" b="b"/>
              <a:pathLst>
                <a:path w="20147" h="20352">
                  <a:moveTo>
                    <a:pt x="9407" y="19053"/>
                  </a:moveTo>
                  <a:cubicBezTo>
                    <a:pt x="12210" y="17790"/>
                    <a:pt x="16326" y="12467"/>
                    <a:pt x="18742" y="8818"/>
                  </a:cubicBezTo>
                  <a:cubicBezTo>
                    <a:pt x="21135" y="4878"/>
                    <a:pt x="20383" y="1360"/>
                    <a:pt x="17145" y="138"/>
                  </a:cubicBezTo>
                  <a:cubicBezTo>
                    <a:pt x="13908" y="-610"/>
                    <a:pt x="9099" y="1810"/>
                    <a:pt x="6352" y="4560"/>
                  </a:cubicBezTo>
                  <a:cubicBezTo>
                    <a:pt x="3639" y="7562"/>
                    <a:pt x="710" y="11562"/>
                    <a:pt x="277" y="14081"/>
                  </a:cubicBezTo>
                  <a:cubicBezTo>
                    <a:pt x="-465" y="15985"/>
                    <a:pt x="368" y="18179"/>
                    <a:pt x="1746" y="19859"/>
                  </a:cubicBezTo>
                  <a:cubicBezTo>
                    <a:pt x="3217" y="20309"/>
                    <a:pt x="6659" y="20990"/>
                    <a:pt x="9407" y="19053"/>
                  </a:cubicBezTo>
                  <a:close/>
                  <a:moveTo>
                    <a:pt x="9407" y="190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39" name="AutoShape 1041"/>
            <p:cNvSpPr>
              <a:spLocks/>
            </p:cNvSpPr>
            <p:nvPr/>
          </p:nvSpPr>
          <p:spPr bwMode="auto">
            <a:xfrm>
              <a:off x="6743700" y="1282700"/>
              <a:ext cx="14288" cy="6350"/>
            </a:xfrm>
            <a:custGeom>
              <a:avLst/>
              <a:gdLst/>
              <a:ahLst/>
              <a:cxnLst/>
              <a:rect l="0" t="0" r="r" b="b"/>
              <a:pathLst>
                <a:path w="21117" h="21532">
                  <a:moveTo>
                    <a:pt x="9664" y="5402"/>
                  </a:moveTo>
                  <a:cubicBezTo>
                    <a:pt x="7653" y="2513"/>
                    <a:pt x="4972" y="-48"/>
                    <a:pt x="3711" y="7"/>
                  </a:cubicBezTo>
                  <a:cubicBezTo>
                    <a:pt x="2416" y="-68"/>
                    <a:pt x="749" y="488"/>
                    <a:pt x="178" y="1645"/>
                  </a:cubicBezTo>
                  <a:cubicBezTo>
                    <a:pt x="-483" y="2493"/>
                    <a:pt x="775" y="6116"/>
                    <a:pt x="2688" y="10027"/>
                  </a:cubicBezTo>
                  <a:cubicBezTo>
                    <a:pt x="4717" y="13651"/>
                    <a:pt x="8170" y="17948"/>
                    <a:pt x="10427" y="19049"/>
                  </a:cubicBezTo>
                  <a:cubicBezTo>
                    <a:pt x="12609" y="20743"/>
                    <a:pt x="16007" y="21477"/>
                    <a:pt x="17838" y="21532"/>
                  </a:cubicBezTo>
                  <a:cubicBezTo>
                    <a:pt x="19696" y="21457"/>
                    <a:pt x="21117" y="20068"/>
                    <a:pt x="21117" y="18102"/>
                  </a:cubicBezTo>
                  <a:cubicBezTo>
                    <a:pt x="20846" y="16216"/>
                    <a:pt x="19332" y="13382"/>
                    <a:pt x="17176" y="12612"/>
                  </a:cubicBezTo>
                  <a:cubicBezTo>
                    <a:pt x="15067" y="11338"/>
                    <a:pt x="11704" y="8161"/>
                    <a:pt x="9664" y="5402"/>
                  </a:cubicBezTo>
                  <a:close/>
                  <a:moveTo>
                    <a:pt x="9664" y="540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0" name="AutoShape 1042"/>
            <p:cNvSpPr>
              <a:spLocks/>
            </p:cNvSpPr>
            <p:nvPr/>
          </p:nvSpPr>
          <p:spPr bwMode="auto">
            <a:xfrm>
              <a:off x="4775200" y="3136900"/>
              <a:ext cx="58738" cy="84138"/>
            </a:xfrm>
            <a:custGeom>
              <a:avLst/>
              <a:gdLst/>
              <a:ahLst/>
              <a:cxnLst/>
              <a:rect l="0" t="0" r="r" b="b"/>
              <a:pathLst>
                <a:path w="21405" h="21433">
                  <a:moveTo>
                    <a:pt x="19898" y="10603"/>
                  </a:moveTo>
                  <a:cubicBezTo>
                    <a:pt x="19263" y="10457"/>
                    <a:pt x="18382" y="10477"/>
                    <a:pt x="17972" y="10624"/>
                  </a:cubicBezTo>
                  <a:cubicBezTo>
                    <a:pt x="17539" y="10747"/>
                    <a:pt x="17139" y="11229"/>
                    <a:pt x="17044" y="11659"/>
                  </a:cubicBezTo>
                  <a:cubicBezTo>
                    <a:pt x="16989" y="12096"/>
                    <a:pt x="16491" y="12657"/>
                    <a:pt x="16054" y="12947"/>
                  </a:cubicBezTo>
                  <a:cubicBezTo>
                    <a:pt x="15599" y="13223"/>
                    <a:pt x="15015" y="13291"/>
                    <a:pt x="14869" y="13057"/>
                  </a:cubicBezTo>
                  <a:cubicBezTo>
                    <a:pt x="14654" y="12851"/>
                    <a:pt x="14882" y="12345"/>
                    <a:pt x="15235" y="11913"/>
                  </a:cubicBezTo>
                  <a:cubicBezTo>
                    <a:pt x="15624" y="11499"/>
                    <a:pt x="15721" y="10857"/>
                    <a:pt x="15588" y="10452"/>
                  </a:cubicBezTo>
                  <a:cubicBezTo>
                    <a:pt x="15401" y="10061"/>
                    <a:pt x="14656" y="9677"/>
                    <a:pt x="14001" y="9505"/>
                  </a:cubicBezTo>
                  <a:cubicBezTo>
                    <a:pt x="13337" y="9360"/>
                    <a:pt x="13189" y="8915"/>
                    <a:pt x="13737" y="8526"/>
                  </a:cubicBezTo>
                  <a:cubicBezTo>
                    <a:pt x="14267" y="8124"/>
                    <a:pt x="15477" y="6842"/>
                    <a:pt x="16424" y="5681"/>
                  </a:cubicBezTo>
                  <a:cubicBezTo>
                    <a:pt x="17374" y="4522"/>
                    <a:pt x="18176" y="3266"/>
                    <a:pt x="18258" y="2896"/>
                  </a:cubicBezTo>
                  <a:cubicBezTo>
                    <a:pt x="18329" y="2522"/>
                    <a:pt x="17881" y="2194"/>
                    <a:pt x="17290" y="2239"/>
                  </a:cubicBezTo>
                  <a:cubicBezTo>
                    <a:pt x="16700" y="2264"/>
                    <a:pt x="16534" y="1904"/>
                    <a:pt x="16924" y="1463"/>
                  </a:cubicBezTo>
                  <a:cubicBezTo>
                    <a:pt x="17308" y="1022"/>
                    <a:pt x="17639" y="473"/>
                    <a:pt x="17598" y="238"/>
                  </a:cubicBezTo>
                  <a:cubicBezTo>
                    <a:pt x="17598" y="8"/>
                    <a:pt x="17144" y="-61"/>
                    <a:pt x="16613" y="57"/>
                  </a:cubicBezTo>
                  <a:cubicBezTo>
                    <a:pt x="16076" y="158"/>
                    <a:pt x="15346" y="686"/>
                    <a:pt x="14962" y="1165"/>
                  </a:cubicBezTo>
                  <a:cubicBezTo>
                    <a:pt x="14558" y="1643"/>
                    <a:pt x="13548" y="2576"/>
                    <a:pt x="12609" y="3168"/>
                  </a:cubicBezTo>
                  <a:cubicBezTo>
                    <a:pt x="11719" y="3804"/>
                    <a:pt x="10583" y="4822"/>
                    <a:pt x="10146" y="5465"/>
                  </a:cubicBezTo>
                  <a:cubicBezTo>
                    <a:pt x="9668" y="6097"/>
                    <a:pt x="9020" y="6893"/>
                    <a:pt x="8643" y="7211"/>
                  </a:cubicBezTo>
                  <a:cubicBezTo>
                    <a:pt x="8279" y="7528"/>
                    <a:pt x="7254" y="8594"/>
                    <a:pt x="6355" y="9566"/>
                  </a:cubicBezTo>
                  <a:cubicBezTo>
                    <a:pt x="5485" y="10550"/>
                    <a:pt x="3896" y="11801"/>
                    <a:pt x="2866" y="12372"/>
                  </a:cubicBezTo>
                  <a:cubicBezTo>
                    <a:pt x="1836" y="12942"/>
                    <a:pt x="722" y="13770"/>
                    <a:pt x="374" y="14213"/>
                  </a:cubicBezTo>
                  <a:cubicBezTo>
                    <a:pt x="30" y="14653"/>
                    <a:pt x="-86" y="15307"/>
                    <a:pt x="65" y="15661"/>
                  </a:cubicBezTo>
                  <a:cubicBezTo>
                    <a:pt x="198" y="16017"/>
                    <a:pt x="285" y="16932"/>
                    <a:pt x="234" y="17712"/>
                  </a:cubicBezTo>
                  <a:cubicBezTo>
                    <a:pt x="163" y="18490"/>
                    <a:pt x="886" y="19414"/>
                    <a:pt x="1878" y="19682"/>
                  </a:cubicBezTo>
                  <a:cubicBezTo>
                    <a:pt x="2840" y="20011"/>
                    <a:pt x="3845" y="20544"/>
                    <a:pt x="3969" y="20940"/>
                  </a:cubicBezTo>
                  <a:cubicBezTo>
                    <a:pt x="4211" y="21302"/>
                    <a:pt x="4484" y="21539"/>
                    <a:pt x="4679" y="21386"/>
                  </a:cubicBezTo>
                  <a:cubicBezTo>
                    <a:pt x="4877" y="21236"/>
                    <a:pt x="5249" y="20686"/>
                    <a:pt x="5474" y="20133"/>
                  </a:cubicBezTo>
                  <a:cubicBezTo>
                    <a:pt x="5671" y="19575"/>
                    <a:pt x="6098" y="19023"/>
                    <a:pt x="6377" y="18911"/>
                  </a:cubicBezTo>
                  <a:cubicBezTo>
                    <a:pt x="6644" y="18776"/>
                    <a:pt x="7014" y="18927"/>
                    <a:pt x="7238" y="19198"/>
                  </a:cubicBezTo>
                  <a:cubicBezTo>
                    <a:pt x="7460" y="19466"/>
                    <a:pt x="8099" y="19655"/>
                    <a:pt x="8714" y="19584"/>
                  </a:cubicBezTo>
                  <a:cubicBezTo>
                    <a:pt x="9324" y="19536"/>
                    <a:pt x="10774" y="18820"/>
                    <a:pt x="11966" y="18056"/>
                  </a:cubicBezTo>
                  <a:cubicBezTo>
                    <a:pt x="13135" y="17271"/>
                    <a:pt x="14911" y="16456"/>
                    <a:pt x="15903" y="16265"/>
                  </a:cubicBezTo>
                  <a:cubicBezTo>
                    <a:pt x="16884" y="16041"/>
                    <a:pt x="18033" y="15669"/>
                    <a:pt x="18411" y="15378"/>
                  </a:cubicBezTo>
                  <a:cubicBezTo>
                    <a:pt x="18842" y="15125"/>
                    <a:pt x="19703" y="14682"/>
                    <a:pt x="20378" y="14419"/>
                  </a:cubicBezTo>
                  <a:cubicBezTo>
                    <a:pt x="21052" y="14156"/>
                    <a:pt x="21514" y="13786"/>
                    <a:pt x="21383" y="13560"/>
                  </a:cubicBezTo>
                  <a:cubicBezTo>
                    <a:pt x="21203" y="13354"/>
                    <a:pt x="21108" y="12630"/>
                    <a:pt x="21108" y="11992"/>
                  </a:cubicBezTo>
                  <a:cubicBezTo>
                    <a:pt x="21090" y="11355"/>
                    <a:pt x="20551" y="10715"/>
                    <a:pt x="19898" y="10603"/>
                  </a:cubicBezTo>
                  <a:close/>
                  <a:moveTo>
                    <a:pt x="19898" y="106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1" name="AutoShape 1043"/>
            <p:cNvSpPr>
              <a:spLocks/>
            </p:cNvSpPr>
            <p:nvPr/>
          </p:nvSpPr>
          <p:spPr bwMode="auto">
            <a:xfrm>
              <a:off x="4699000" y="3149600"/>
              <a:ext cx="63500" cy="52388"/>
            </a:xfrm>
            <a:custGeom>
              <a:avLst/>
              <a:gdLst/>
              <a:ahLst/>
              <a:cxnLst/>
              <a:rect l="0" t="0" r="r" b="b"/>
              <a:pathLst>
                <a:path w="21306" h="21098">
                  <a:moveTo>
                    <a:pt x="20141" y="9538"/>
                  </a:moveTo>
                  <a:cubicBezTo>
                    <a:pt x="19246" y="9618"/>
                    <a:pt x="18102" y="9712"/>
                    <a:pt x="17598" y="9553"/>
                  </a:cubicBezTo>
                  <a:cubicBezTo>
                    <a:pt x="17085" y="9481"/>
                    <a:pt x="16414" y="9672"/>
                    <a:pt x="16168" y="10160"/>
                  </a:cubicBezTo>
                  <a:cubicBezTo>
                    <a:pt x="15862" y="10585"/>
                    <a:pt x="14921" y="11101"/>
                    <a:pt x="14041" y="11364"/>
                  </a:cubicBezTo>
                  <a:cubicBezTo>
                    <a:pt x="13142" y="11516"/>
                    <a:pt x="12174" y="11509"/>
                    <a:pt x="11982" y="11113"/>
                  </a:cubicBezTo>
                  <a:cubicBezTo>
                    <a:pt x="11750" y="10752"/>
                    <a:pt x="11272" y="10563"/>
                    <a:pt x="10937" y="10600"/>
                  </a:cubicBezTo>
                  <a:cubicBezTo>
                    <a:pt x="10611" y="10678"/>
                    <a:pt x="9791" y="10108"/>
                    <a:pt x="9118" y="9376"/>
                  </a:cubicBezTo>
                  <a:cubicBezTo>
                    <a:pt x="8466" y="8615"/>
                    <a:pt x="7539" y="8154"/>
                    <a:pt x="7081" y="8231"/>
                  </a:cubicBezTo>
                  <a:cubicBezTo>
                    <a:pt x="6627" y="8311"/>
                    <a:pt x="6141" y="8908"/>
                    <a:pt x="5984" y="9498"/>
                  </a:cubicBezTo>
                  <a:cubicBezTo>
                    <a:pt x="5825" y="10080"/>
                    <a:pt x="5349" y="10339"/>
                    <a:pt x="4930" y="10033"/>
                  </a:cubicBezTo>
                  <a:cubicBezTo>
                    <a:pt x="4501" y="9749"/>
                    <a:pt x="4192" y="8874"/>
                    <a:pt x="4297" y="8117"/>
                  </a:cubicBezTo>
                  <a:cubicBezTo>
                    <a:pt x="4373" y="7355"/>
                    <a:pt x="4293" y="6395"/>
                    <a:pt x="4112" y="5989"/>
                  </a:cubicBezTo>
                  <a:cubicBezTo>
                    <a:pt x="3943" y="5576"/>
                    <a:pt x="3897" y="4987"/>
                    <a:pt x="3880" y="4655"/>
                  </a:cubicBezTo>
                  <a:cubicBezTo>
                    <a:pt x="3937" y="4330"/>
                    <a:pt x="4346" y="3541"/>
                    <a:pt x="4778" y="2881"/>
                  </a:cubicBezTo>
                  <a:cubicBezTo>
                    <a:pt x="5233" y="2244"/>
                    <a:pt x="5608" y="1087"/>
                    <a:pt x="5543" y="338"/>
                  </a:cubicBezTo>
                  <a:cubicBezTo>
                    <a:pt x="5543" y="-411"/>
                    <a:pt x="4479" y="127"/>
                    <a:pt x="3217" y="1520"/>
                  </a:cubicBezTo>
                  <a:cubicBezTo>
                    <a:pt x="1970" y="2916"/>
                    <a:pt x="682" y="4683"/>
                    <a:pt x="366" y="5452"/>
                  </a:cubicBezTo>
                  <a:cubicBezTo>
                    <a:pt x="67" y="6226"/>
                    <a:pt x="-71" y="7052"/>
                    <a:pt x="35" y="7366"/>
                  </a:cubicBezTo>
                  <a:cubicBezTo>
                    <a:pt x="165" y="7651"/>
                    <a:pt x="572" y="7796"/>
                    <a:pt x="892" y="7582"/>
                  </a:cubicBezTo>
                  <a:cubicBezTo>
                    <a:pt x="1223" y="7398"/>
                    <a:pt x="1701" y="7530"/>
                    <a:pt x="1925" y="7858"/>
                  </a:cubicBezTo>
                  <a:cubicBezTo>
                    <a:pt x="2175" y="8147"/>
                    <a:pt x="2269" y="8990"/>
                    <a:pt x="2202" y="9670"/>
                  </a:cubicBezTo>
                  <a:cubicBezTo>
                    <a:pt x="2100" y="10349"/>
                    <a:pt x="2328" y="10994"/>
                    <a:pt x="2655" y="11113"/>
                  </a:cubicBezTo>
                  <a:cubicBezTo>
                    <a:pt x="2993" y="11175"/>
                    <a:pt x="3288" y="11780"/>
                    <a:pt x="3538" y="12228"/>
                  </a:cubicBezTo>
                  <a:cubicBezTo>
                    <a:pt x="3699" y="12731"/>
                    <a:pt x="4017" y="13129"/>
                    <a:pt x="4257" y="13089"/>
                  </a:cubicBezTo>
                  <a:cubicBezTo>
                    <a:pt x="4495" y="13057"/>
                    <a:pt x="4904" y="13333"/>
                    <a:pt x="5093" y="13761"/>
                  </a:cubicBezTo>
                  <a:cubicBezTo>
                    <a:pt x="5306" y="14171"/>
                    <a:pt x="5524" y="14898"/>
                    <a:pt x="5500" y="15391"/>
                  </a:cubicBezTo>
                  <a:cubicBezTo>
                    <a:pt x="5447" y="15881"/>
                    <a:pt x="5793" y="16418"/>
                    <a:pt x="6139" y="16648"/>
                  </a:cubicBezTo>
                  <a:cubicBezTo>
                    <a:pt x="6472" y="16896"/>
                    <a:pt x="7883" y="16991"/>
                    <a:pt x="9234" y="16953"/>
                  </a:cubicBezTo>
                  <a:cubicBezTo>
                    <a:pt x="10584" y="16916"/>
                    <a:pt x="11769" y="17638"/>
                    <a:pt x="11814" y="18541"/>
                  </a:cubicBezTo>
                  <a:cubicBezTo>
                    <a:pt x="11875" y="19442"/>
                    <a:pt x="12467" y="20487"/>
                    <a:pt x="13140" y="20818"/>
                  </a:cubicBezTo>
                  <a:cubicBezTo>
                    <a:pt x="13799" y="21184"/>
                    <a:pt x="14746" y="21189"/>
                    <a:pt x="15211" y="20846"/>
                  </a:cubicBezTo>
                  <a:cubicBezTo>
                    <a:pt x="15687" y="20517"/>
                    <a:pt x="16363" y="19494"/>
                    <a:pt x="16648" y="18546"/>
                  </a:cubicBezTo>
                  <a:cubicBezTo>
                    <a:pt x="16977" y="17626"/>
                    <a:pt x="17219" y="16411"/>
                    <a:pt x="17179" y="15879"/>
                  </a:cubicBezTo>
                  <a:cubicBezTo>
                    <a:pt x="17193" y="15333"/>
                    <a:pt x="17348" y="14174"/>
                    <a:pt x="17639" y="13303"/>
                  </a:cubicBezTo>
                  <a:cubicBezTo>
                    <a:pt x="17925" y="12427"/>
                    <a:pt x="18729" y="11491"/>
                    <a:pt x="19405" y="11146"/>
                  </a:cubicBezTo>
                  <a:cubicBezTo>
                    <a:pt x="20095" y="10842"/>
                    <a:pt x="20892" y="10270"/>
                    <a:pt x="21207" y="9939"/>
                  </a:cubicBezTo>
                  <a:cubicBezTo>
                    <a:pt x="21529" y="9618"/>
                    <a:pt x="21026" y="9391"/>
                    <a:pt x="20141" y="9538"/>
                  </a:cubicBezTo>
                  <a:close/>
                  <a:moveTo>
                    <a:pt x="20141" y="95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2" name="AutoShape 1044"/>
            <p:cNvSpPr>
              <a:spLocks/>
            </p:cNvSpPr>
            <p:nvPr/>
          </p:nvSpPr>
          <p:spPr bwMode="auto">
            <a:xfrm>
              <a:off x="4749800" y="2997200"/>
              <a:ext cx="73025" cy="42863"/>
            </a:xfrm>
            <a:custGeom>
              <a:avLst/>
              <a:gdLst/>
              <a:ahLst/>
              <a:cxnLst/>
              <a:rect l="0" t="0" r="r" b="b"/>
              <a:pathLst>
                <a:path w="21381" h="21272">
                  <a:moveTo>
                    <a:pt x="10946" y="19000"/>
                  </a:moveTo>
                  <a:cubicBezTo>
                    <a:pt x="11711" y="18735"/>
                    <a:pt x="12776" y="18702"/>
                    <a:pt x="13299" y="18747"/>
                  </a:cubicBezTo>
                  <a:cubicBezTo>
                    <a:pt x="13813" y="18933"/>
                    <a:pt x="14532" y="19330"/>
                    <a:pt x="14894" y="19807"/>
                  </a:cubicBezTo>
                  <a:cubicBezTo>
                    <a:pt x="15182" y="20405"/>
                    <a:pt x="15835" y="20729"/>
                    <a:pt x="16204" y="20688"/>
                  </a:cubicBezTo>
                  <a:cubicBezTo>
                    <a:pt x="16570" y="20603"/>
                    <a:pt x="17261" y="20904"/>
                    <a:pt x="17732" y="21171"/>
                  </a:cubicBezTo>
                  <a:cubicBezTo>
                    <a:pt x="18208" y="21435"/>
                    <a:pt x="19154" y="21165"/>
                    <a:pt x="19842" y="20562"/>
                  </a:cubicBezTo>
                  <a:cubicBezTo>
                    <a:pt x="20543" y="19978"/>
                    <a:pt x="21203" y="18919"/>
                    <a:pt x="21330" y="18279"/>
                  </a:cubicBezTo>
                  <a:cubicBezTo>
                    <a:pt x="21462" y="17642"/>
                    <a:pt x="21323" y="16762"/>
                    <a:pt x="21084" y="16263"/>
                  </a:cubicBezTo>
                  <a:cubicBezTo>
                    <a:pt x="20836" y="15783"/>
                    <a:pt x="20553" y="15026"/>
                    <a:pt x="20445" y="14572"/>
                  </a:cubicBezTo>
                  <a:cubicBezTo>
                    <a:pt x="20344" y="14110"/>
                    <a:pt x="20050" y="13452"/>
                    <a:pt x="19819" y="13050"/>
                  </a:cubicBezTo>
                  <a:cubicBezTo>
                    <a:pt x="19572" y="12681"/>
                    <a:pt x="19082" y="12278"/>
                    <a:pt x="18736" y="12143"/>
                  </a:cubicBezTo>
                  <a:cubicBezTo>
                    <a:pt x="18392" y="12014"/>
                    <a:pt x="17874" y="11140"/>
                    <a:pt x="17475" y="10338"/>
                  </a:cubicBezTo>
                  <a:cubicBezTo>
                    <a:pt x="17127" y="9470"/>
                    <a:pt x="16385" y="8230"/>
                    <a:pt x="15871" y="7491"/>
                  </a:cubicBezTo>
                  <a:cubicBezTo>
                    <a:pt x="15342" y="6782"/>
                    <a:pt x="14711" y="6209"/>
                    <a:pt x="14487" y="6209"/>
                  </a:cubicBezTo>
                  <a:cubicBezTo>
                    <a:pt x="14257" y="6166"/>
                    <a:pt x="13730" y="5416"/>
                    <a:pt x="13299" y="4478"/>
                  </a:cubicBezTo>
                  <a:cubicBezTo>
                    <a:pt x="12879" y="3532"/>
                    <a:pt x="12037" y="2565"/>
                    <a:pt x="11438" y="2250"/>
                  </a:cubicBezTo>
                  <a:cubicBezTo>
                    <a:pt x="10832" y="1974"/>
                    <a:pt x="9761" y="1848"/>
                    <a:pt x="9056" y="1937"/>
                  </a:cubicBezTo>
                  <a:cubicBezTo>
                    <a:pt x="8347" y="2028"/>
                    <a:pt x="6819" y="1721"/>
                    <a:pt x="5643" y="1316"/>
                  </a:cubicBezTo>
                  <a:cubicBezTo>
                    <a:pt x="4468" y="907"/>
                    <a:pt x="3167" y="277"/>
                    <a:pt x="2721" y="60"/>
                  </a:cubicBezTo>
                  <a:cubicBezTo>
                    <a:pt x="2278" y="-165"/>
                    <a:pt x="1460" y="265"/>
                    <a:pt x="852" y="980"/>
                  </a:cubicBezTo>
                  <a:cubicBezTo>
                    <a:pt x="293" y="1803"/>
                    <a:pt x="-138" y="3064"/>
                    <a:pt x="41" y="3880"/>
                  </a:cubicBezTo>
                  <a:cubicBezTo>
                    <a:pt x="191" y="4710"/>
                    <a:pt x="683" y="5686"/>
                    <a:pt x="1172" y="5962"/>
                  </a:cubicBezTo>
                  <a:cubicBezTo>
                    <a:pt x="1639" y="6319"/>
                    <a:pt x="2633" y="7467"/>
                    <a:pt x="3436" y="8443"/>
                  </a:cubicBezTo>
                  <a:cubicBezTo>
                    <a:pt x="4200" y="9515"/>
                    <a:pt x="4857" y="11122"/>
                    <a:pt x="4870" y="12047"/>
                  </a:cubicBezTo>
                  <a:cubicBezTo>
                    <a:pt x="4883" y="12960"/>
                    <a:pt x="5029" y="14014"/>
                    <a:pt x="5093" y="14438"/>
                  </a:cubicBezTo>
                  <a:cubicBezTo>
                    <a:pt x="5223" y="14810"/>
                    <a:pt x="5515" y="15170"/>
                    <a:pt x="5790" y="15131"/>
                  </a:cubicBezTo>
                  <a:cubicBezTo>
                    <a:pt x="6066" y="15131"/>
                    <a:pt x="7058" y="16008"/>
                    <a:pt x="7914" y="17257"/>
                  </a:cubicBezTo>
                  <a:cubicBezTo>
                    <a:pt x="8810" y="18447"/>
                    <a:pt x="10177" y="19255"/>
                    <a:pt x="10946" y="19000"/>
                  </a:cubicBezTo>
                  <a:close/>
                  <a:moveTo>
                    <a:pt x="10946" y="190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3" name="AutoShape 1045"/>
            <p:cNvSpPr>
              <a:spLocks/>
            </p:cNvSpPr>
            <p:nvPr/>
          </p:nvSpPr>
          <p:spPr bwMode="auto">
            <a:xfrm>
              <a:off x="4787900" y="3111500"/>
              <a:ext cx="11113" cy="17463"/>
            </a:xfrm>
            <a:custGeom>
              <a:avLst/>
              <a:gdLst/>
              <a:ahLst/>
              <a:cxnLst/>
              <a:rect l="0" t="0" r="r" b="b"/>
              <a:pathLst>
                <a:path w="21000" h="21423">
                  <a:moveTo>
                    <a:pt x="7777" y="11143"/>
                  </a:moveTo>
                  <a:cubicBezTo>
                    <a:pt x="8642" y="9443"/>
                    <a:pt x="12053" y="6642"/>
                    <a:pt x="14876" y="4724"/>
                  </a:cubicBezTo>
                  <a:cubicBezTo>
                    <a:pt x="17862" y="2915"/>
                    <a:pt x="19930" y="1584"/>
                    <a:pt x="20149" y="1881"/>
                  </a:cubicBezTo>
                  <a:cubicBezTo>
                    <a:pt x="20214" y="2199"/>
                    <a:pt x="20619" y="1910"/>
                    <a:pt x="20881" y="1200"/>
                  </a:cubicBezTo>
                  <a:cubicBezTo>
                    <a:pt x="21121" y="505"/>
                    <a:pt x="21012" y="-95"/>
                    <a:pt x="20411" y="13"/>
                  </a:cubicBezTo>
                  <a:cubicBezTo>
                    <a:pt x="19777" y="13"/>
                    <a:pt x="16473" y="1780"/>
                    <a:pt x="13247" y="4029"/>
                  </a:cubicBezTo>
                  <a:cubicBezTo>
                    <a:pt x="9932" y="6215"/>
                    <a:pt x="5338" y="9891"/>
                    <a:pt x="3087" y="12242"/>
                  </a:cubicBezTo>
                  <a:cubicBezTo>
                    <a:pt x="811" y="14574"/>
                    <a:pt x="-479" y="17489"/>
                    <a:pt x="166" y="18734"/>
                  </a:cubicBezTo>
                  <a:cubicBezTo>
                    <a:pt x="823" y="19986"/>
                    <a:pt x="2321" y="21043"/>
                    <a:pt x="3206" y="21404"/>
                  </a:cubicBezTo>
                  <a:cubicBezTo>
                    <a:pt x="4212" y="21505"/>
                    <a:pt x="5448" y="21209"/>
                    <a:pt x="6302" y="20694"/>
                  </a:cubicBezTo>
                  <a:cubicBezTo>
                    <a:pt x="7034" y="20087"/>
                    <a:pt x="6532" y="19494"/>
                    <a:pt x="5230" y="19595"/>
                  </a:cubicBezTo>
                  <a:cubicBezTo>
                    <a:pt x="3960" y="19710"/>
                    <a:pt x="2507" y="18842"/>
                    <a:pt x="2048" y="17945"/>
                  </a:cubicBezTo>
                  <a:cubicBezTo>
                    <a:pt x="1707" y="17041"/>
                    <a:pt x="2298" y="15882"/>
                    <a:pt x="3546" y="15232"/>
                  </a:cubicBezTo>
                  <a:cubicBezTo>
                    <a:pt x="4825" y="14624"/>
                    <a:pt x="6563" y="12742"/>
                    <a:pt x="7777" y="11143"/>
                  </a:cubicBezTo>
                  <a:close/>
                  <a:moveTo>
                    <a:pt x="7777" y="111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4" name="AutoShape 1046"/>
            <p:cNvSpPr>
              <a:spLocks/>
            </p:cNvSpPr>
            <p:nvPr/>
          </p:nvSpPr>
          <p:spPr bwMode="auto">
            <a:xfrm>
              <a:off x="4914900" y="1905000"/>
              <a:ext cx="20638" cy="12700"/>
            </a:xfrm>
            <a:custGeom>
              <a:avLst/>
              <a:gdLst/>
              <a:ahLst/>
              <a:cxnLst/>
              <a:rect l="0" t="0" r="r" b="b"/>
              <a:pathLst>
                <a:path w="20967" h="21129">
                  <a:moveTo>
                    <a:pt x="1913" y="20634"/>
                  </a:moveTo>
                  <a:cubicBezTo>
                    <a:pt x="2000" y="21404"/>
                    <a:pt x="2927" y="21254"/>
                    <a:pt x="3947" y="20334"/>
                  </a:cubicBezTo>
                  <a:cubicBezTo>
                    <a:pt x="4981" y="19441"/>
                    <a:pt x="6182" y="17457"/>
                    <a:pt x="6695" y="16030"/>
                  </a:cubicBezTo>
                  <a:cubicBezTo>
                    <a:pt x="7134" y="14546"/>
                    <a:pt x="8293" y="13520"/>
                    <a:pt x="9131" y="13389"/>
                  </a:cubicBezTo>
                  <a:cubicBezTo>
                    <a:pt x="9957" y="13484"/>
                    <a:pt x="11742" y="12600"/>
                    <a:pt x="13032" y="11529"/>
                  </a:cubicBezTo>
                  <a:cubicBezTo>
                    <a:pt x="14346" y="10505"/>
                    <a:pt x="15861" y="9631"/>
                    <a:pt x="16374" y="9443"/>
                  </a:cubicBezTo>
                  <a:cubicBezTo>
                    <a:pt x="16900" y="9321"/>
                    <a:pt x="18283" y="7930"/>
                    <a:pt x="19467" y="6362"/>
                  </a:cubicBezTo>
                  <a:cubicBezTo>
                    <a:pt x="20581" y="4680"/>
                    <a:pt x="21152" y="2819"/>
                    <a:pt x="20913" y="1776"/>
                  </a:cubicBezTo>
                  <a:cubicBezTo>
                    <a:pt x="20470" y="893"/>
                    <a:pt x="18698" y="535"/>
                    <a:pt x="16832" y="1203"/>
                  </a:cubicBezTo>
                  <a:cubicBezTo>
                    <a:pt x="14972" y="1842"/>
                    <a:pt x="12837" y="1672"/>
                    <a:pt x="12067" y="903"/>
                  </a:cubicBezTo>
                  <a:cubicBezTo>
                    <a:pt x="11460" y="-140"/>
                    <a:pt x="9613" y="-196"/>
                    <a:pt x="8304" y="310"/>
                  </a:cubicBezTo>
                  <a:cubicBezTo>
                    <a:pt x="6965" y="772"/>
                    <a:pt x="5513" y="2105"/>
                    <a:pt x="5081" y="3252"/>
                  </a:cubicBezTo>
                  <a:cubicBezTo>
                    <a:pt x="4649" y="4417"/>
                    <a:pt x="2946" y="6681"/>
                    <a:pt x="1474" y="8598"/>
                  </a:cubicBezTo>
                  <a:cubicBezTo>
                    <a:pt x="-97" y="10309"/>
                    <a:pt x="-448" y="11707"/>
                    <a:pt x="592" y="11303"/>
                  </a:cubicBezTo>
                  <a:cubicBezTo>
                    <a:pt x="1631" y="10965"/>
                    <a:pt x="2414" y="11511"/>
                    <a:pt x="2532" y="12366"/>
                  </a:cubicBezTo>
                  <a:cubicBezTo>
                    <a:pt x="2620" y="13220"/>
                    <a:pt x="2757" y="14321"/>
                    <a:pt x="2977" y="14752"/>
                  </a:cubicBezTo>
                  <a:cubicBezTo>
                    <a:pt x="3215" y="15194"/>
                    <a:pt x="2996" y="16407"/>
                    <a:pt x="2551" y="17411"/>
                  </a:cubicBezTo>
                  <a:cubicBezTo>
                    <a:pt x="2119" y="18435"/>
                    <a:pt x="1819" y="19863"/>
                    <a:pt x="1913" y="20634"/>
                  </a:cubicBezTo>
                  <a:close/>
                  <a:moveTo>
                    <a:pt x="1913" y="206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5" name="AutoShape 1047"/>
            <p:cNvSpPr>
              <a:spLocks/>
            </p:cNvSpPr>
            <p:nvPr/>
          </p:nvSpPr>
          <p:spPr bwMode="auto">
            <a:xfrm>
              <a:off x="4648200" y="1585913"/>
              <a:ext cx="187325" cy="141287"/>
            </a:xfrm>
            <a:custGeom>
              <a:avLst/>
              <a:gdLst/>
              <a:ahLst/>
              <a:cxnLst/>
              <a:rect l="0" t="0" r="r" b="b"/>
              <a:pathLst>
                <a:path w="21550" h="21574">
                  <a:moveTo>
                    <a:pt x="127" y="21526"/>
                  </a:moveTo>
                  <a:cubicBezTo>
                    <a:pt x="224" y="21453"/>
                    <a:pt x="410" y="21284"/>
                    <a:pt x="549" y="21163"/>
                  </a:cubicBezTo>
                  <a:cubicBezTo>
                    <a:pt x="678" y="21025"/>
                    <a:pt x="892" y="20813"/>
                    <a:pt x="1000" y="20653"/>
                  </a:cubicBezTo>
                  <a:cubicBezTo>
                    <a:pt x="1109" y="20499"/>
                    <a:pt x="1286" y="20287"/>
                    <a:pt x="1397" y="20184"/>
                  </a:cubicBezTo>
                  <a:cubicBezTo>
                    <a:pt x="1510" y="20087"/>
                    <a:pt x="1642" y="19950"/>
                    <a:pt x="1712" y="19930"/>
                  </a:cubicBezTo>
                  <a:cubicBezTo>
                    <a:pt x="1783" y="19910"/>
                    <a:pt x="1832" y="19943"/>
                    <a:pt x="1818" y="20025"/>
                  </a:cubicBezTo>
                  <a:cubicBezTo>
                    <a:pt x="1832" y="20107"/>
                    <a:pt x="1734" y="20277"/>
                    <a:pt x="1665" y="20410"/>
                  </a:cubicBezTo>
                  <a:cubicBezTo>
                    <a:pt x="1589" y="20537"/>
                    <a:pt x="1588" y="20600"/>
                    <a:pt x="1665" y="20573"/>
                  </a:cubicBezTo>
                  <a:cubicBezTo>
                    <a:pt x="1731" y="20512"/>
                    <a:pt x="1864" y="20420"/>
                    <a:pt x="1949" y="20330"/>
                  </a:cubicBezTo>
                  <a:cubicBezTo>
                    <a:pt x="2029" y="20234"/>
                    <a:pt x="2165" y="20043"/>
                    <a:pt x="2252" y="19912"/>
                  </a:cubicBezTo>
                  <a:cubicBezTo>
                    <a:pt x="2337" y="19775"/>
                    <a:pt x="2450" y="19639"/>
                    <a:pt x="2485" y="19582"/>
                  </a:cubicBezTo>
                  <a:cubicBezTo>
                    <a:pt x="2529" y="19541"/>
                    <a:pt x="2692" y="19323"/>
                    <a:pt x="2846" y="19103"/>
                  </a:cubicBezTo>
                  <a:cubicBezTo>
                    <a:pt x="3010" y="18897"/>
                    <a:pt x="3190" y="18651"/>
                    <a:pt x="3263" y="18582"/>
                  </a:cubicBezTo>
                  <a:cubicBezTo>
                    <a:pt x="3331" y="18506"/>
                    <a:pt x="3550" y="18317"/>
                    <a:pt x="3719" y="18116"/>
                  </a:cubicBezTo>
                  <a:cubicBezTo>
                    <a:pt x="3901" y="17930"/>
                    <a:pt x="4087" y="17762"/>
                    <a:pt x="4128" y="17729"/>
                  </a:cubicBezTo>
                  <a:cubicBezTo>
                    <a:pt x="4175" y="17713"/>
                    <a:pt x="4154" y="17766"/>
                    <a:pt x="4090" y="17872"/>
                  </a:cubicBezTo>
                  <a:cubicBezTo>
                    <a:pt x="4019" y="17968"/>
                    <a:pt x="3841" y="18194"/>
                    <a:pt x="3690" y="18368"/>
                  </a:cubicBezTo>
                  <a:cubicBezTo>
                    <a:pt x="3532" y="18530"/>
                    <a:pt x="3280" y="18860"/>
                    <a:pt x="3108" y="19070"/>
                  </a:cubicBezTo>
                  <a:cubicBezTo>
                    <a:pt x="2946" y="19295"/>
                    <a:pt x="2798" y="19516"/>
                    <a:pt x="2785" y="19573"/>
                  </a:cubicBezTo>
                  <a:cubicBezTo>
                    <a:pt x="2767" y="19627"/>
                    <a:pt x="2663" y="19787"/>
                    <a:pt x="2543" y="19932"/>
                  </a:cubicBezTo>
                  <a:cubicBezTo>
                    <a:pt x="2427" y="20079"/>
                    <a:pt x="2229" y="20299"/>
                    <a:pt x="2130" y="20452"/>
                  </a:cubicBezTo>
                  <a:cubicBezTo>
                    <a:pt x="2030" y="20609"/>
                    <a:pt x="1956" y="20753"/>
                    <a:pt x="1942" y="20782"/>
                  </a:cubicBezTo>
                  <a:cubicBezTo>
                    <a:pt x="1942" y="20818"/>
                    <a:pt x="2034" y="20750"/>
                    <a:pt x="2135" y="20623"/>
                  </a:cubicBezTo>
                  <a:cubicBezTo>
                    <a:pt x="2241" y="20504"/>
                    <a:pt x="2372" y="20341"/>
                    <a:pt x="2447" y="20299"/>
                  </a:cubicBezTo>
                  <a:cubicBezTo>
                    <a:pt x="2516" y="20243"/>
                    <a:pt x="2544" y="20281"/>
                    <a:pt x="2486" y="20359"/>
                  </a:cubicBezTo>
                  <a:cubicBezTo>
                    <a:pt x="2447" y="20455"/>
                    <a:pt x="2429" y="20492"/>
                    <a:pt x="2468" y="20466"/>
                  </a:cubicBezTo>
                  <a:cubicBezTo>
                    <a:pt x="2506" y="20440"/>
                    <a:pt x="2772" y="20185"/>
                    <a:pt x="3037" y="19867"/>
                  </a:cubicBezTo>
                  <a:cubicBezTo>
                    <a:pt x="3319" y="19578"/>
                    <a:pt x="3664" y="19186"/>
                    <a:pt x="3801" y="18996"/>
                  </a:cubicBezTo>
                  <a:cubicBezTo>
                    <a:pt x="3939" y="18810"/>
                    <a:pt x="4113" y="18608"/>
                    <a:pt x="4187" y="18576"/>
                  </a:cubicBezTo>
                  <a:cubicBezTo>
                    <a:pt x="4257" y="18528"/>
                    <a:pt x="4442" y="18338"/>
                    <a:pt x="4581" y="18142"/>
                  </a:cubicBezTo>
                  <a:cubicBezTo>
                    <a:pt x="4732" y="17961"/>
                    <a:pt x="4918" y="17695"/>
                    <a:pt x="4993" y="17557"/>
                  </a:cubicBezTo>
                  <a:cubicBezTo>
                    <a:pt x="5070" y="17419"/>
                    <a:pt x="5187" y="17236"/>
                    <a:pt x="5269" y="17190"/>
                  </a:cubicBezTo>
                  <a:cubicBezTo>
                    <a:pt x="5344" y="17124"/>
                    <a:pt x="5520" y="16924"/>
                    <a:pt x="5666" y="16753"/>
                  </a:cubicBezTo>
                  <a:cubicBezTo>
                    <a:pt x="5816" y="16588"/>
                    <a:pt x="6019" y="16310"/>
                    <a:pt x="6115" y="16140"/>
                  </a:cubicBezTo>
                  <a:cubicBezTo>
                    <a:pt x="6222" y="15984"/>
                    <a:pt x="6365" y="15770"/>
                    <a:pt x="6447" y="15684"/>
                  </a:cubicBezTo>
                  <a:cubicBezTo>
                    <a:pt x="6526" y="15592"/>
                    <a:pt x="6613" y="15531"/>
                    <a:pt x="6634" y="15519"/>
                  </a:cubicBezTo>
                  <a:cubicBezTo>
                    <a:pt x="6649" y="15539"/>
                    <a:pt x="6592" y="15630"/>
                    <a:pt x="6493" y="15770"/>
                  </a:cubicBezTo>
                  <a:cubicBezTo>
                    <a:pt x="6392" y="15905"/>
                    <a:pt x="6276" y="16067"/>
                    <a:pt x="6263" y="16138"/>
                  </a:cubicBezTo>
                  <a:cubicBezTo>
                    <a:pt x="6237" y="16201"/>
                    <a:pt x="6119" y="16416"/>
                    <a:pt x="5980" y="16586"/>
                  </a:cubicBezTo>
                  <a:cubicBezTo>
                    <a:pt x="5857" y="16773"/>
                    <a:pt x="5708" y="16982"/>
                    <a:pt x="5700" y="17072"/>
                  </a:cubicBezTo>
                  <a:cubicBezTo>
                    <a:pt x="5676" y="17155"/>
                    <a:pt x="5697" y="17183"/>
                    <a:pt x="5753" y="17142"/>
                  </a:cubicBezTo>
                  <a:cubicBezTo>
                    <a:pt x="5798" y="17081"/>
                    <a:pt x="6022" y="16883"/>
                    <a:pt x="6209" y="16633"/>
                  </a:cubicBezTo>
                  <a:cubicBezTo>
                    <a:pt x="6414" y="16414"/>
                    <a:pt x="6630" y="16084"/>
                    <a:pt x="6724" y="15952"/>
                  </a:cubicBezTo>
                  <a:cubicBezTo>
                    <a:pt x="6815" y="15817"/>
                    <a:pt x="6947" y="15632"/>
                    <a:pt x="7010" y="15534"/>
                  </a:cubicBezTo>
                  <a:cubicBezTo>
                    <a:pt x="7083" y="15450"/>
                    <a:pt x="7220" y="15278"/>
                    <a:pt x="7332" y="15181"/>
                  </a:cubicBezTo>
                  <a:cubicBezTo>
                    <a:pt x="7432" y="15064"/>
                    <a:pt x="7725" y="14756"/>
                    <a:pt x="7966" y="14462"/>
                  </a:cubicBezTo>
                  <a:cubicBezTo>
                    <a:pt x="8212" y="14174"/>
                    <a:pt x="8489" y="13789"/>
                    <a:pt x="8608" y="13640"/>
                  </a:cubicBezTo>
                  <a:cubicBezTo>
                    <a:pt x="8711" y="13471"/>
                    <a:pt x="8846" y="13251"/>
                    <a:pt x="8910" y="13152"/>
                  </a:cubicBezTo>
                  <a:cubicBezTo>
                    <a:pt x="8963" y="13040"/>
                    <a:pt x="9114" y="12838"/>
                    <a:pt x="9228" y="12679"/>
                  </a:cubicBezTo>
                  <a:cubicBezTo>
                    <a:pt x="9346" y="12527"/>
                    <a:pt x="9442" y="12456"/>
                    <a:pt x="9436" y="12520"/>
                  </a:cubicBezTo>
                  <a:cubicBezTo>
                    <a:pt x="9431" y="12584"/>
                    <a:pt x="9679" y="12381"/>
                    <a:pt x="9976" y="12058"/>
                  </a:cubicBezTo>
                  <a:cubicBezTo>
                    <a:pt x="10281" y="11748"/>
                    <a:pt x="10660" y="11296"/>
                    <a:pt x="10830" y="11076"/>
                  </a:cubicBezTo>
                  <a:cubicBezTo>
                    <a:pt x="11000" y="10854"/>
                    <a:pt x="11215" y="10576"/>
                    <a:pt x="11293" y="10439"/>
                  </a:cubicBezTo>
                  <a:cubicBezTo>
                    <a:pt x="11383" y="10318"/>
                    <a:pt x="11548" y="10096"/>
                    <a:pt x="11687" y="9990"/>
                  </a:cubicBezTo>
                  <a:cubicBezTo>
                    <a:pt x="11820" y="9874"/>
                    <a:pt x="12006" y="9690"/>
                    <a:pt x="12102" y="9589"/>
                  </a:cubicBezTo>
                  <a:cubicBezTo>
                    <a:pt x="12197" y="9487"/>
                    <a:pt x="12310" y="9399"/>
                    <a:pt x="12351" y="9399"/>
                  </a:cubicBezTo>
                  <a:cubicBezTo>
                    <a:pt x="12393" y="9399"/>
                    <a:pt x="12559" y="9233"/>
                    <a:pt x="12734" y="9053"/>
                  </a:cubicBezTo>
                  <a:cubicBezTo>
                    <a:pt x="12897" y="8854"/>
                    <a:pt x="13066" y="8702"/>
                    <a:pt x="13098" y="8702"/>
                  </a:cubicBezTo>
                  <a:cubicBezTo>
                    <a:pt x="13128" y="8697"/>
                    <a:pt x="12995" y="8914"/>
                    <a:pt x="12801" y="9183"/>
                  </a:cubicBezTo>
                  <a:cubicBezTo>
                    <a:pt x="12604" y="9447"/>
                    <a:pt x="12241" y="9928"/>
                    <a:pt x="11972" y="10216"/>
                  </a:cubicBezTo>
                  <a:cubicBezTo>
                    <a:pt x="11711" y="10520"/>
                    <a:pt x="11403" y="10903"/>
                    <a:pt x="11284" y="11064"/>
                  </a:cubicBezTo>
                  <a:cubicBezTo>
                    <a:pt x="11179" y="11241"/>
                    <a:pt x="10968" y="11488"/>
                    <a:pt x="10837" y="11634"/>
                  </a:cubicBezTo>
                  <a:cubicBezTo>
                    <a:pt x="10705" y="11774"/>
                    <a:pt x="10556" y="11960"/>
                    <a:pt x="10504" y="12038"/>
                  </a:cubicBezTo>
                  <a:cubicBezTo>
                    <a:pt x="10451" y="12116"/>
                    <a:pt x="10293" y="12281"/>
                    <a:pt x="10167" y="12427"/>
                  </a:cubicBezTo>
                  <a:cubicBezTo>
                    <a:pt x="10030" y="12556"/>
                    <a:pt x="9676" y="12994"/>
                    <a:pt x="9360" y="13369"/>
                  </a:cubicBezTo>
                  <a:cubicBezTo>
                    <a:pt x="9048" y="13753"/>
                    <a:pt x="8756" y="14131"/>
                    <a:pt x="8707" y="14206"/>
                  </a:cubicBezTo>
                  <a:cubicBezTo>
                    <a:pt x="8658" y="14281"/>
                    <a:pt x="8608" y="14397"/>
                    <a:pt x="8608" y="14459"/>
                  </a:cubicBezTo>
                  <a:cubicBezTo>
                    <a:pt x="8603" y="14521"/>
                    <a:pt x="8528" y="14689"/>
                    <a:pt x="8430" y="14806"/>
                  </a:cubicBezTo>
                  <a:cubicBezTo>
                    <a:pt x="8342" y="14939"/>
                    <a:pt x="8332" y="14991"/>
                    <a:pt x="8416" y="14950"/>
                  </a:cubicBezTo>
                  <a:cubicBezTo>
                    <a:pt x="8500" y="14900"/>
                    <a:pt x="8637" y="14819"/>
                    <a:pt x="8723" y="14774"/>
                  </a:cubicBezTo>
                  <a:cubicBezTo>
                    <a:pt x="8809" y="14729"/>
                    <a:pt x="8977" y="14591"/>
                    <a:pt x="9085" y="14452"/>
                  </a:cubicBezTo>
                  <a:cubicBezTo>
                    <a:pt x="9198" y="14317"/>
                    <a:pt x="9419" y="14066"/>
                    <a:pt x="9586" y="13908"/>
                  </a:cubicBezTo>
                  <a:cubicBezTo>
                    <a:pt x="9735" y="13722"/>
                    <a:pt x="9962" y="13507"/>
                    <a:pt x="10050" y="13368"/>
                  </a:cubicBezTo>
                  <a:cubicBezTo>
                    <a:pt x="10146" y="13240"/>
                    <a:pt x="10274" y="13038"/>
                    <a:pt x="10333" y="12919"/>
                  </a:cubicBezTo>
                  <a:cubicBezTo>
                    <a:pt x="10394" y="12800"/>
                    <a:pt x="10567" y="12583"/>
                    <a:pt x="10709" y="12418"/>
                  </a:cubicBezTo>
                  <a:cubicBezTo>
                    <a:pt x="10852" y="12261"/>
                    <a:pt x="11071" y="11993"/>
                    <a:pt x="11205" y="11838"/>
                  </a:cubicBezTo>
                  <a:cubicBezTo>
                    <a:pt x="11339" y="11683"/>
                    <a:pt x="11518" y="11475"/>
                    <a:pt x="11619" y="11398"/>
                  </a:cubicBezTo>
                  <a:cubicBezTo>
                    <a:pt x="11717" y="11314"/>
                    <a:pt x="11867" y="11180"/>
                    <a:pt x="11949" y="11093"/>
                  </a:cubicBezTo>
                  <a:cubicBezTo>
                    <a:pt x="12028" y="11002"/>
                    <a:pt x="12122" y="10940"/>
                    <a:pt x="12137" y="10967"/>
                  </a:cubicBezTo>
                  <a:cubicBezTo>
                    <a:pt x="12163" y="10962"/>
                    <a:pt x="12278" y="10919"/>
                    <a:pt x="12398" y="10820"/>
                  </a:cubicBezTo>
                  <a:cubicBezTo>
                    <a:pt x="12521" y="10728"/>
                    <a:pt x="12716" y="10525"/>
                    <a:pt x="12840" y="10392"/>
                  </a:cubicBezTo>
                  <a:cubicBezTo>
                    <a:pt x="12951" y="10242"/>
                    <a:pt x="13226" y="10009"/>
                    <a:pt x="13428" y="9845"/>
                  </a:cubicBezTo>
                  <a:cubicBezTo>
                    <a:pt x="13630" y="9687"/>
                    <a:pt x="13904" y="9397"/>
                    <a:pt x="14053" y="9237"/>
                  </a:cubicBezTo>
                  <a:cubicBezTo>
                    <a:pt x="14196" y="9069"/>
                    <a:pt x="14471" y="8714"/>
                    <a:pt x="14661" y="8444"/>
                  </a:cubicBezTo>
                  <a:cubicBezTo>
                    <a:pt x="14856" y="8184"/>
                    <a:pt x="15200" y="7733"/>
                    <a:pt x="15431" y="7450"/>
                  </a:cubicBezTo>
                  <a:cubicBezTo>
                    <a:pt x="15667" y="7178"/>
                    <a:pt x="15911" y="6829"/>
                    <a:pt x="15996" y="6709"/>
                  </a:cubicBezTo>
                  <a:cubicBezTo>
                    <a:pt x="16069" y="6575"/>
                    <a:pt x="16184" y="6430"/>
                    <a:pt x="16231" y="6360"/>
                  </a:cubicBezTo>
                  <a:cubicBezTo>
                    <a:pt x="16276" y="6292"/>
                    <a:pt x="16334" y="6293"/>
                    <a:pt x="16363" y="6345"/>
                  </a:cubicBezTo>
                  <a:cubicBezTo>
                    <a:pt x="16371" y="6409"/>
                    <a:pt x="16475" y="6394"/>
                    <a:pt x="16563" y="6346"/>
                  </a:cubicBezTo>
                  <a:cubicBezTo>
                    <a:pt x="16649" y="6294"/>
                    <a:pt x="16783" y="6170"/>
                    <a:pt x="16863" y="6078"/>
                  </a:cubicBezTo>
                  <a:cubicBezTo>
                    <a:pt x="16942" y="5980"/>
                    <a:pt x="17044" y="5850"/>
                    <a:pt x="17084" y="5775"/>
                  </a:cubicBezTo>
                  <a:cubicBezTo>
                    <a:pt x="17121" y="5697"/>
                    <a:pt x="17164" y="5561"/>
                    <a:pt x="17142" y="5477"/>
                  </a:cubicBezTo>
                  <a:cubicBezTo>
                    <a:pt x="17153" y="5389"/>
                    <a:pt x="17164" y="5238"/>
                    <a:pt x="17227" y="5160"/>
                  </a:cubicBezTo>
                  <a:cubicBezTo>
                    <a:pt x="17281" y="5078"/>
                    <a:pt x="17495" y="4820"/>
                    <a:pt x="17704" y="4598"/>
                  </a:cubicBezTo>
                  <a:cubicBezTo>
                    <a:pt x="17914" y="4374"/>
                    <a:pt x="18187" y="4084"/>
                    <a:pt x="18327" y="3991"/>
                  </a:cubicBezTo>
                  <a:cubicBezTo>
                    <a:pt x="18456" y="3876"/>
                    <a:pt x="18706" y="3644"/>
                    <a:pt x="18884" y="3480"/>
                  </a:cubicBezTo>
                  <a:cubicBezTo>
                    <a:pt x="19055" y="3299"/>
                    <a:pt x="19244" y="3126"/>
                    <a:pt x="19304" y="3126"/>
                  </a:cubicBezTo>
                  <a:cubicBezTo>
                    <a:pt x="19358" y="3100"/>
                    <a:pt x="19483" y="3021"/>
                    <a:pt x="19574" y="2939"/>
                  </a:cubicBezTo>
                  <a:cubicBezTo>
                    <a:pt x="19670" y="2862"/>
                    <a:pt x="19904" y="2614"/>
                    <a:pt x="20096" y="2394"/>
                  </a:cubicBezTo>
                  <a:cubicBezTo>
                    <a:pt x="20289" y="2177"/>
                    <a:pt x="20472" y="1927"/>
                    <a:pt x="20514" y="1852"/>
                  </a:cubicBezTo>
                  <a:cubicBezTo>
                    <a:pt x="20554" y="1775"/>
                    <a:pt x="20688" y="1526"/>
                    <a:pt x="20813" y="1299"/>
                  </a:cubicBezTo>
                  <a:cubicBezTo>
                    <a:pt x="20937" y="1073"/>
                    <a:pt x="21110" y="810"/>
                    <a:pt x="21195" y="720"/>
                  </a:cubicBezTo>
                  <a:cubicBezTo>
                    <a:pt x="21281" y="632"/>
                    <a:pt x="21379" y="500"/>
                    <a:pt x="21355" y="484"/>
                  </a:cubicBezTo>
                  <a:cubicBezTo>
                    <a:pt x="21366" y="451"/>
                    <a:pt x="21422" y="317"/>
                    <a:pt x="21488" y="191"/>
                  </a:cubicBezTo>
                  <a:cubicBezTo>
                    <a:pt x="21555" y="65"/>
                    <a:pt x="21571" y="-10"/>
                    <a:pt x="21520" y="2"/>
                  </a:cubicBezTo>
                  <a:cubicBezTo>
                    <a:pt x="21475" y="26"/>
                    <a:pt x="21334" y="145"/>
                    <a:pt x="21203" y="261"/>
                  </a:cubicBezTo>
                  <a:cubicBezTo>
                    <a:pt x="21078" y="384"/>
                    <a:pt x="20815" y="634"/>
                    <a:pt x="20622" y="817"/>
                  </a:cubicBezTo>
                  <a:cubicBezTo>
                    <a:pt x="20428" y="996"/>
                    <a:pt x="20183" y="1285"/>
                    <a:pt x="20074" y="1452"/>
                  </a:cubicBezTo>
                  <a:cubicBezTo>
                    <a:pt x="19966" y="1618"/>
                    <a:pt x="19823" y="1832"/>
                    <a:pt x="19755" y="1924"/>
                  </a:cubicBezTo>
                  <a:cubicBezTo>
                    <a:pt x="19683" y="2013"/>
                    <a:pt x="19607" y="2139"/>
                    <a:pt x="19590" y="2200"/>
                  </a:cubicBezTo>
                  <a:cubicBezTo>
                    <a:pt x="19558" y="2248"/>
                    <a:pt x="19441" y="2389"/>
                    <a:pt x="19316" y="2505"/>
                  </a:cubicBezTo>
                  <a:cubicBezTo>
                    <a:pt x="19185" y="2606"/>
                    <a:pt x="19120" y="2642"/>
                    <a:pt x="19149" y="2553"/>
                  </a:cubicBezTo>
                  <a:cubicBezTo>
                    <a:pt x="19178" y="2465"/>
                    <a:pt x="19183" y="2440"/>
                    <a:pt x="19138" y="2460"/>
                  </a:cubicBezTo>
                  <a:cubicBezTo>
                    <a:pt x="19095" y="2489"/>
                    <a:pt x="19005" y="2591"/>
                    <a:pt x="18944" y="2686"/>
                  </a:cubicBezTo>
                  <a:cubicBezTo>
                    <a:pt x="18877" y="2776"/>
                    <a:pt x="18759" y="2909"/>
                    <a:pt x="18691" y="3000"/>
                  </a:cubicBezTo>
                  <a:cubicBezTo>
                    <a:pt x="18616" y="3079"/>
                    <a:pt x="18550" y="3122"/>
                    <a:pt x="18534" y="3091"/>
                  </a:cubicBezTo>
                  <a:cubicBezTo>
                    <a:pt x="18516" y="3065"/>
                    <a:pt x="18578" y="2899"/>
                    <a:pt x="18671" y="2747"/>
                  </a:cubicBezTo>
                  <a:cubicBezTo>
                    <a:pt x="18761" y="2594"/>
                    <a:pt x="18796" y="2435"/>
                    <a:pt x="18750" y="2415"/>
                  </a:cubicBezTo>
                  <a:cubicBezTo>
                    <a:pt x="18722" y="2363"/>
                    <a:pt x="18620" y="2415"/>
                    <a:pt x="18552" y="2464"/>
                  </a:cubicBezTo>
                  <a:cubicBezTo>
                    <a:pt x="18488" y="2516"/>
                    <a:pt x="18367" y="2631"/>
                    <a:pt x="18288" y="2723"/>
                  </a:cubicBezTo>
                  <a:cubicBezTo>
                    <a:pt x="18203" y="2804"/>
                    <a:pt x="18024" y="2972"/>
                    <a:pt x="17885" y="3088"/>
                  </a:cubicBezTo>
                  <a:cubicBezTo>
                    <a:pt x="17746" y="3200"/>
                    <a:pt x="17544" y="3330"/>
                    <a:pt x="17446" y="3393"/>
                  </a:cubicBezTo>
                  <a:cubicBezTo>
                    <a:pt x="17342" y="3436"/>
                    <a:pt x="17185" y="3565"/>
                    <a:pt x="17090" y="3649"/>
                  </a:cubicBezTo>
                  <a:cubicBezTo>
                    <a:pt x="16993" y="3727"/>
                    <a:pt x="16710" y="3976"/>
                    <a:pt x="16447" y="4164"/>
                  </a:cubicBezTo>
                  <a:cubicBezTo>
                    <a:pt x="16189" y="4366"/>
                    <a:pt x="15822" y="4670"/>
                    <a:pt x="15641" y="4857"/>
                  </a:cubicBezTo>
                  <a:cubicBezTo>
                    <a:pt x="15460" y="5045"/>
                    <a:pt x="15219" y="5316"/>
                    <a:pt x="15103" y="5458"/>
                  </a:cubicBezTo>
                  <a:cubicBezTo>
                    <a:pt x="14990" y="5603"/>
                    <a:pt x="14810" y="5836"/>
                    <a:pt x="14696" y="5958"/>
                  </a:cubicBezTo>
                  <a:cubicBezTo>
                    <a:pt x="14585" y="6085"/>
                    <a:pt x="14463" y="6203"/>
                    <a:pt x="14428" y="6226"/>
                  </a:cubicBezTo>
                  <a:cubicBezTo>
                    <a:pt x="14390" y="6240"/>
                    <a:pt x="14299" y="6302"/>
                    <a:pt x="14229" y="6372"/>
                  </a:cubicBezTo>
                  <a:cubicBezTo>
                    <a:pt x="14156" y="6430"/>
                    <a:pt x="13733" y="6865"/>
                    <a:pt x="13292" y="7341"/>
                  </a:cubicBezTo>
                  <a:cubicBezTo>
                    <a:pt x="12850" y="7817"/>
                    <a:pt x="12370" y="8320"/>
                    <a:pt x="12237" y="8479"/>
                  </a:cubicBezTo>
                  <a:cubicBezTo>
                    <a:pt x="12102" y="8634"/>
                    <a:pt x="11900" y="8841"/>
                    <a:pt x="11787" y="8927"/>
                  </a:cubicBezTo>
                  <a:cubicBezTo>
                    <a:pt x="11677" y="9022"/>
                    <a:pt x="11400" y="9297"/>
                    <a:pt x="11174" y="9544"/>
                  </a:cubicBezTo>
                  <a:cubicBezTo>
                    <a:pt x="10950" y="9796"/>
                    <a:pt x="10660" y="10080"/>
                    <a:pt x="10538" y="10194"/>
                  </a:cubicBezTo>
                  <a:cubicBezTo>
                    <a:pt x="10414" y="10300"/>
                    <a:pt x="10194" y="10530"/>
                    <a:pt x="10047" y="10697"/>
                  </a:cubicBezTo>
                  <a:cubicBezTo>
                    <a:pt x="9894" y="10855"/>
                    <a:pt x="9719" y="11073"/>
                    <a:pt x="9650" y="11172"/>
                  </a:cubicBezTo>
                  <a:cubicBezTo>
                    <a:pt x="9578" y="11261"/>
                    <a:pt x="9353" y="11479"/>
                    <a:pt x="9154" y="11661"/>
                  </a:cubicBezTo>
                  <a:cubicBezTo>
                    <a:pt x="8945" y="11828"/>
                    <a:pt x="8716" y="12064"/>
                    <a:pt x="8625" y="12151"/>
                  </a:cubicBezTo>
                  <a:cubicBezTo>
                    <a:pt x="8542" y="12250"/>
                    <a:pt x="8379" y="12382"/>
                    <a:pt x="8277" y="12468"/>
                  </a:cubicBezTo>
                  <a:cubicBezTo>
                    <a:pt x="8171" y="12549"/>
                    <a:pt x="8011" y="12710"/>
                    <a:pt x="7911" y="12808"/>
                  </a:cubicBezTo>
                  <a:cubicBezTo>
                    <a:pt x="7817" y="12921"/>
                    <a:pt x="7668" y="13064"/>
                    <a:pt x="7584" y="13135"/>
                  </a:cubicBezTo>
                  <a:cubicBezTo>
                    <a:pt x="7499" y="13203"/>
                    <a:pt x="7186" y="13550"/>
                    <a:pt x="6878" y="13880"/>
                  </a:cubicBezTo>
                  <a:cubicBezTo>
                    <a:pt x="6576" y="14221"/>
                    <a:pt x="6174" y="14652"/>
                    <a:pt x="5993" y="14851"/>
                  </a:cubicBezTo>
                  <a:cubicBezTo>
                    <a:pt x="5813" y="15050"/>
                    <a:pt x="5567" y="15255"/>
                    <a:pt x="5464" y="15339"/>
                  </a:cubicBezTo>
                  <a:cubicBezTo>
                    <a:pt x="5355" y="15405"/>
                    <a:pt x="5140" y="15590"/>
                    <a:pt x="4995" y="15756"/>
                  </a:cubicBezTo>
                  <a:cubicBezTo>
                    <a:pt x="4842" y="15911"/>
                    <a:pt x="4463" y="16272"/>
                    <a:pt x="4161" y="16579"/>
                  </a:cubicBezTo>
                  <a:cubicBezTo>
                    <a:pt x="3850" y="16869"/>
                    <a:pt x="3404" y="17350"/>
                    <a:pt x="3173" y="17651"/>
                  </a:cubicBezTo>
                  <a:cubicBezTo>
                    <a:pt x="2935" y="17943"/>
                    <a:pt x="2670" y="18273"/>
                    <a:pt x="2568" y="18351"/>
                  </a:cubicBezTo>
                  <a:cubicBezTo>
                    <a:pt x="2475" y="18448"/>
                    <a:pt x="2243" y="18669"/>
                    <a:pt x="2055" y="18844"/>
                  </a:cubicBezTo>
                  <a:cubicBezTo>
                    <a:pt x="1877" y="19035"/>
                    <a:pt x="1587" y="19316"/>
                    <a:pt x="1454" y="19524"/>
                  </a:cubicBezTo>
                  <a:cubicBezTo>
                    <a:pt x="1305" y="19711"/>
                    <a:pt x="1284" y="19793"/>
                    <a:pt x="1394" y="19682"/>
                  </a:cubicBezTo>
                  <a:cubicBezTo>
                    <a:pt x="1513" y="19588"/>
                    <a:pt x="1609" y="19523"/>
                    <a:pt x="1625" y="19517"/>
                  </a:cubicBezTo>
                  <a:cubicBezTo>
                    <a:pt x="1634" y="19535"/>
                    <a:pt x="1560" y="19615"/>
                    <a:pt x="1461" y="19720"/>
                  </a:cubicBezTo>
                  <a:cubicBezTo>
                    <a:pt x="1359" y="19814"/>
                    <a:pt x="1229" y="19983"/>
                    <a:pt x="1153" y="20056"/>
                  </a:cubicBezTo>
                  <a:cubicBezTo>
                    <a:pt x="1092" y="20151"/>
                    <a:pt x="1061" y="20205"/>
                    <a:pt x="1080" y="20231"/>
                  </a:cubicBezTo>
                  <a:cubicBezTo>
                    <a:pt x="1109" y="20231"/>
                    <a:pt x="1069" y="20346"/>
                    <a:pt x="982" y="20449"/>
                  </a:cubicBezTo>
                  <a:cubicBezTo>
                    <a:pt x="900" y="20559"/>
                    <a:pt x="664" y="20822"/>
                    <a:pt x="459" y="21040"/>
                  </a:cubicBezTo>
                  <a:cubicBezTo>
                    <a:pt x="249" y="21250"/>
                    <a:pt x="55" y="21483"/>
                    <a:pt x="16" y="21540"/>
                  </a:cubicBezTo>
                  <a:cubicBezTo>
                    <a:pt x="-29" y="21590"/>
                    <a:pt x="26" y="21586"/>
                    <a:pt x="127" y="21526"/>
                  </a:cubicBezTo>
                  <a:close/>
                  <a:moveTo>
                    <a:pt x="127" y="2152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6" name="AutoShape 1048"/>
            <p:cNvSpPr>
              <a:spLocks/>
            </p:cNvSpPr>
            <p:nvPr/>
          </p:nvSpPr>
          <p:spPr bwMode="auto">
            <a:xfrm>
              <a:off x="3695700" y="3048000"/>
              <a:ext cx="1588" cy="4763"/>
            </a:xfrm>
            <a:custGeom>
              <a:avLst/>
              <a:gdLst/>
              <a:ahLst/>
              <a:cxnLst/>
              <a:rect l="0" t="0" r="r" b="b"/>
              <a:pathLst>
                <a:path w="19544" h="19290">
                  <a:moveTo>
                    <a:pt x="2011" y="15662"/>
                  </a:moveTo>
                  <a:cubicBezTo>
                    <a:pt x="-786" y="19925"/>
                    <a:pt x="-1080" y="20422"/>
                    <a:pt x="3812" y="17206"/>
                  </a:cubicBezTo>
                  <a:cubicBezTo>
                    <a:pt x="6755" y="13642"/>
                    <a:pt x="14299" y="7761"/>
                    <a:pt x="17722" y="3641"/>
                  </a:cubicBezTo>
                  <a:cubicBezTo>
                    <a:pt x="20520" y="-582"/>
                    <a:pt x="20238" y="-1178"/>
                    <a:pt x="15874" y="2097"/>
                  </a:cubicBezTo>
                  <a:cubicBezTo>
                    <a:pt x="11501" y="5334"/>
                    <a:pt x="5619" y="11522"/>
                    <a:pt x="2011" y="15662"/>
                  </a:cubicBezTo>
                  <a:close/>
                  <a:moveTo>
                    <a:pt x="2011" y="1566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7" name="AutoShape 1049"/>
            <p:cNvSpPr>
              <a:spLocks/>
            </p:cNvSpPr>
            <p:nvPr/>
          </p:nvSpPr>
          <p:spPr bwMode="auto">
            <a:xfrm>
              <a:off x="4648200" y="1714500"/>
              <a:ext cx="3175" cy="3175"/>
            </a:xfrm>
            <a:custGeom>
              <a:avLst/>
              <a:gdLst/>
              <a:ahLst/>
              <a:cxnLst/>
              <a:rect l="0" t="0" r="r" b="b"/>
              <a:pathLst>
                <a:path w="21227" h="20335">
                  <a:moveTo>
                    <a:pt x="4997" y="18557"/>
                  </a:moveTo>
                  <a:cubicBezTo>
                    <a:pt x="8079" y="17111"/>
                    <a:pt x="12497" y="13280"/>
                    <a:pt x="14885" y="10379"/>
                  </a:cubicBezTo>
                  <a:cubicBezTo>
                    <a:pt x="17295" y="7593"/>
                    <a:pt x="19684" y="3055"/>
                    <a:pt x="21156" y="1494"/>
                  </a:cubicBezTo>
                  <a:cubicBezTo>
                    <a:pt x="21600" y="-919"/>
                    <a:pt x="19962" y="-218"/>
                    <a:pt x="16273" y="2240"/>
                  </a:cubicBezTo>
                  <a:cubicBezTo>
                    <a:pt x="12605" y="4692"/>
                    <a:pt x="7578" y="9413"/>
                    <a:pt x="4968" y="12428"/>
                  </a:cubicBezTo>
                  <a:cubicBezTo>
                    <a:pt x="2530" y="15695"/>
                    <a:pt x="557" y="19113"/>
                    <a:pt x="0" y="19858"/>
                  </a:cubicBezTo>
                  <a:cubicBezTo>
                    <a:pt x="557" y="20605"/>
                    <a:pt x="2223" y="20681"/>
                    <a:pt x="4997" y="18557"/>
                  </a:cubicBezTo>
                  <a:close/>
                  <a:moveTo>
                    <a:pt x="4997" y="185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8" name="AutoShape 1050"/>
            <p:cNvSpPr>
              <a:spLocks/>
            </p:cNvSpPr>
            <p:nvPr/>
          </p:nvSpPr>
          <p:spPr bwMode="auto">
            <a:xfrm>
              <a:off x="4902200" y="1676400"/>
              <a:ext cx="4763" cy="6350"/>
            </a:xfrm>
            <a:custGeom>
              <a:avLst/>
              <a:gdLst/>
              <a:ahLst/>
              <a:cxnLst/>
              <a:rect l="0" t="0" r="r" b="b"/>
              <a:pathLst>
                <a:path w="21206" h="21190">
                  <a:moveTo>
                    <a:pt x="17998" y="0"/>
                  </a:moveTo>
                  <a:cubicBezTo>
                    <a:pt x="16464" y="182"/>
                    <a:pt x="12205" y="1959"/>
                    <a:pt x="9032" y="4573"/>
                  </a:cubicBezTo>
                  <a:cubicBezTo>
                    <a:pt x="5767" y="7097"/>
                    <a:pt x="2079" y="11309"/>
                    <a:pt x="885" y="14142"/>
                  </a:cubicBezTo>
                  <a:cubicBezTo>
                    <a:pt x="-70" y="17045"/>
                    <a:pt x="-48" y="19841"/>
                    <a:pt x="38" y="20804"/>
                  </a:cubicBezTo>
                  <a:cubicBezTo>
                    <a:pt x="661" y="21600"/>
                    <a:pt x="3080" y="21127"/>
                    <a:pt x="5258" y="19730"/>
                  </a:cubicBezTo>
                  <a:cubicBezTo>
                    <a:pt x="7562" y="18369"/>
                    <a:pt x="12427" y="14722"/>
                    <a:pt x="15492" y="11290"/>
                  </a:cubicBezTo>
                  <a:cubicBezTo>
                    <a:pt x="18752" y="8004"/>
                    <a:pt x="21530" y="4138"/>
                    <a:pt x="21175" y="2613"/>
                  </a:cubicBezTo>
                  <a:cubicBezTo>
                    <a:pt x="21061" y="1071"/>
                    <a:pt x="19465" y="361"/>
                    <a:pt x="17998" y="0"/>
                  </a:cubicBezTo>
                  <a:close/>
                  <a:moveTo>
                    <a:pt x="17998"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49" name="AutoShape 1051"/>
            <p:cNvSpPr>
              <a:spLocks/>
            </p:cNvSpPr>
            <p:nvPr/>
          </p:nvSpPr>
          <p:spPr bwMode="auto">
            <a:xfrm>
              <a:off x="4940300" y="1624013"/>
              <a:ext cx="4763" cy="4762"/>
            </a:xfrm>
            <a:custGeom>
              <a:avLst/>
              <a:gdLst/>
              <a:ahLst/>
              <a:cxnLst/>
              <a:rect l="0" t="0" r="r" b="b"/>
              <a:pathLst>
                <a:path w="20450" h="20262">
                  <a:moveTo>
                    <a:pt x="7473" y="10131"/>
                  </a:moveTo>
                  <a:cubicBezTo>
                    <a:pt x="3330" y="14249"/>
                    <a:pt x="407" y="18563"/>
                    <a:pt x="0" y="19771"/>
                  </a:cubicBezTo>
                  <a:cubicBezTo>
                    <a:pt x="504" y="20914"/>
                    <a:pt x="2156" y="19959"/>
                    <a:pt x="4790" y="17965"/>
                  </a:cubicBezTo>
                  <a:cubicBezTo>
                    <a:pt x="7325" y="15711"/>
                    <a:pt x="12666" y="10286"/>
                    <a:pt x="16308" y="5655"/>
                  </a:cubicBezTo>
                  <a:cubicBezTo>
                    <a:pt x="20521" y="1848"/>
                    <a:pt x="21600" y="-686"/>
                    <a:pt x="19177" y="165"/>
                  </a:cubicBezTo>
                  <a:cubicBezTo>
                    <a:pt x="16927" y="1659"/>
                    <a:pt x="11758" y="6382"/>
                    <a:pt x="7473" y="10131"/>
                  </a:cubicBezTo>
                  <a:close/>
                  <a:moveTo>
                    <a:pt x="7473" y="101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0" name="AutoShape 1052"/>
            <p:cNvSpPr>
              <a:spLocks/>
            </p:cNvSpPr>
            <p:nvPr/>
          </p:nvSpPr>
          <p:spPr bwMode="auto">
            <a:xfrm>
              <a:off x="4927600" y="1625600"/>
              <a:ext cx="11113" cy="9525"/>
            </a:xfrm>
            <a:custGeom>
              <a:avLst/>
              <a:gdLst/>
              <a:ahLst/>
              <a:cxnLst/>
              <a:rect l="0" t="0" r="r" b="b"/>
              <a:pathLst>
                <a:path w="21221" h="20979">
                  <a:moveTo>
                    <a:pt x="14495" y="1937"/>
                  </a:moveTo>
                  <a:cubicBezTo>
                    <a:pt x="13061" y="3188"/>
                    <a:pt x="10534" y="4774"/>
                    <a:pt x="9238" y="6078"/>
                  </a:cubicBezTo>
                  <a:cubicBezTo>
                    <a:pt x="7868" y="7279"/>
                    <a:pt x="5841" y="9261"/>
                    <a:pt x="4641" y="10321"/>
                  </a:cubicBezTo>
                  <a:cubicBezTo>
                    <a:pt x="3420" y="11357"/>
                    <a:pt x="1698" y="14258"/>
                    <a:pt x="681" y="16647"/>
                  </a:cubicBezTo>
                  <a:cubicBezTo>
                    <a:pt x="-222" y="19100"/>
                    <a:pt x="-244" y="21236"/>
                    <a:pt x="722" y="20953"/>
                  </a:cubicBezTo>
                  <a:cubicBezTo>
                    <a:pt x="1730" y="20877"/>
                    <a:pt x="3345" y="20278"/>
                    <a:pt x="4323" y="19561"/>
                  </a:cubicBezTo>
                  <a:cubicBezTo>
                    <a:pt x="5234" y="18757"/>
                    <a:pt x="6966" y="17171"/>
                    <a:pt x="8125" y="15969"/>
                  </a:cubicBezTo>
                  <a:cubicBezTo>
                    <a:pt x="9208" y="14679"/>
                    <a:pt x="11385" y="12750"/>
                    <a:pt x="12966" y="11792"/>
                  </a:cubicBezTo>
                  <a:cubicBezTo>
                    <a:pt x="14568" y="10831"/>
                    <a:pt x="16184" y="8787"/>
                    <a:pt x="16895" y="7625"/>
                  </a:cubicBezTo>
                  <a:cubicBezTo>
                    <a:pt x="17426" y="6321"/>
                    <a:pt x="18818" y="4340"/>
                    <a:pt x="19912" y="3188"/>
                  </a:cubicBezTo>
                  <a:cubicBezTo>
                    <a:pt x="20930" y="1937"/>
                    <a:pt x="21356" y="979"/>
                    <a:pt x="21184" y="557"/>
                  </a:cubicBezTo>
                  <a:cubicBezTo>
                    <a:pt x="20899" y="212"/>
                    <a:pt x="19836" y="-173"/>
                    <a:pt x="18966" y="84"/>
                  </a:cubicBezTo>
                  <a:cubicBezTo>
                    <a:pt x="18148" y="-364"/>
                    <a:pt x="16130" y="1081"/>
                    <a:pt x="14495" y="1937"/>
                  </a:cubicBezTo>
                  <a:close/>
                  <a:moveTo>
                    <a:pt x="14495" y="19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1" name="AutoShape 1053"/>
            <p:cNvSpPr>
              <a:spLocks/>
            </p:cNvSpPr>
            <p:nvPr/>
          </p:nvSpPr>
          <p:spPr bwMode="auto">
            <a:xfrm>
              <a:off x="4940300" y="1625600"/>
              <a:ext cx="6350" cy="6350"/>
            </a:xfrm>
            <a:custGeom>
              <a:avLst/>
              <a:gdLst/>
              <a:ahLst/>
              <a:cxnLst/>
              <a:rect l="0" t="0" r="r" b="b"/>
              <a:pathLst>
                <a:path w="20422" h="20748">
                  <a:moveTo>
                    <a:pt x="1223" y="18251"/>
                  </a:moveTo>
                  <a:cubicBezTo>
                    <a:pt x="-395" y="20538"/>
                    <a:pt x="-482" y="21293"/>
                    <a:pt x="1415" y="20353"/>
                  </a:cubicBezTo>
                  <a:cubicBezTo>
                    <a:pt x="3211" y="19247"/>
                    <a:pt x="8232" y="15522"/>
                    <a:pt x="12742" y="12190"/>
                  </a:cubicBezTo>
                  <a:cubicBezTo>
                    <a:pt x="17053" y="8540"/>
                    <a:pt x="21118" y="4468"/>
                    <a:pt x="20321" y="3380"/>
                  </a:cubicBezTo>
                  <a:cubicBezTo>
                    <a:pt x="20321" y="2014"/>
                    <a:pt x="18795" y="1022"/>
                    <a:pt x="17995" y="172"/>
                  </a:cubicBezTo>
                  <a:cubicBezTo>
                    <a:pt x="16948" y="-307"/>
                    <a:pt x="14745" y="282"/>
                    <a:pt x="13131" y="1074"/>
                  </a:cubicBezTo>
                  <a:cubicBezTo>
                    <a:pt x="11518" y="1924"/>
                    <a:pt x="8678" y="5056"/>
                    <a:pt x="6457" y="7638"/>
                  </a:cubicBezTo>
                  <a:cubicBezTo>
                    <a:pt x="4592" y="10457"/>
                    <a:pt x="3070" y="12907"/>
                    <a:pt x="3564" y="13405"/>
                  </a:cubicBezTo>
                  <a:cubicBezTo>
                    <a:pt x="3920" y="14012"/>
                    <a:pt x="2767" y="15930"/>
                    <a:pt x="1223" y="18251"/>
                  </a:cubicBezTo>
                  <a:close/>
                  <a:moveTo>
                    <a:pt x="1223" y="182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2" name="AutoShape 1054"/>
            <p:cNvSpPr>
              <a:spLocks/>
            </p:cNvSpPr>
            <p:nvPr/>
          </p:nvSpPr>
          <p:spPr bwMode="auto">
            <a:xfrm>
              <a:off x="4851400" y="1689100"/>
              <a:ext cx="11113" cy="7938"/>
            </a:xfrm>
            <a:custGeom>
              <a:avLst/>
              <a:gdLst/>
              <a:ahLst/>
              <a:cxnLst/>
              <a:rect l="0" t="0" r="r" b="b"/>
              <a:pathLst>
                <a:path w="20574" h="20731">
                  <a:moveTo>
                    <a:pt x="12531" y="4840"/>
                  </a:moveTo>
                  <a:cubicBezTo>
                    <a:pt x="9485" y="7685"/>
                    <a:pt x="4936" y="12734"/>
                    <a:pt x="2401" y="16031"/>
                  </a:cubicBezTo>
                  <a:cubicBezTo>
                    <a:pt x="-94" y="19368"/>
                    <a:pt x="-718" y="21518"/>
                    <a:pt x="877" y="20458"/>
                  </a:cubicBezTo>
                  <a:cubicBezTo>
                    <a:pt x="2544" y="19496"/>
                    <a:pt x="5497" y="16807"/>
                    <a:pt x="7604" y="14800"/>
                  </a:cubicBezTo>
                  <a:cubicBezTo>
                    <a:pt x="9667" y="12650"/>
                    <a:pt x="12663" y="10020"/>
                    <a:pt x="14227" y="8829"/>
                  </a:cubicBezTo>
                  <a:cubicBezTo>
                    <a:pt x="15872" y="7812"/>
                    <a:pt x="18305" y="5492"/>
                    <a:pt x="19460" y="3554"/>
                  </a:cubicBezTo>
                  <a:cubicBezTo>
                    <a:pt x="20800" y="1813"/>
                    <a:pt x="20882" y="584"/>
                    <a:pt x="19971" y="2"/>
                  </a:cubicBezTo>
                  <a:cubicBezTo>
                    <a:pt x="18949" y="-82"/>
                    <a:pt x="15649" y="2126"/>
                    <a:pt x="12531" y="4840"/>
                  </a:cubicBezTo>
                  <a:close/>
                  <a:moveTo>
                    <a:pt x="12531" y="484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3" name="AutoShape 1055"/>
            <p:cNvSpPr>
              <a:spLocks/>
            </p:cNvSpPr>
            <p:nvPr/>
          </p:nvSpPr>
          <p:spPr bwMode="auto">
            <a:xfrm>
              <a:off x="4800600" y="1727200"/>
              <a:ext cx="41275" cy="20638"/>
            </a:xfrm>
            <a:custGeom>
              <a:avLst/>
              <a:gdLst/>
              <a:ahLst/>
              <a:cxnLst/>
              <a:rect l="0" t="0" r="r" b="b"/>
              <a:pathLst>
                <a:path w="21372" h="21465">
                  <a:moveTo>
                    <a:pt x="37" y="21152"/>
                  </a:moveTo>
                  <a:cubicBezTo>
                    <a:pt x="78" y="21557"/>
                    <a:pt x="739" y="21600"/>
                    <a:pt x="1460" y="21097"/>
                  </a:cubicBezTo>
                  <a:cubicBezTo>
                    <a:pt x="2190" y="20778"/>
                    <a:pt x="3207" y="20577"/>
                    <a:pt x="3763" y="20669"/>
                  </a:cubicBezTo>
                  <a:cubicBezTo>
                    <a:pt x="4319" y="20753"/>
                    <a:pt x="5148" y="20360"/>
                    <a:pt x="5602" y="19538"/>
                  </a:cubicBezTo>
                  <a:cubicBezTo>
                    <a:pt x="6091" y="18781"/>
                    <a:pt x="6866" y="17880"/>
                    <a:pt x="7375" y="17668"/>
                  </a:cubicBezTo>
                  <a:cubicBezTo>
                    <a:pt x="7895" y="17469"/>
                    <a:pt x="9115" y="16108"/>
                    <a:pt x="10138" y="14771"/>
                  </a:cubicBezTo>
                  <a:cubicBezTo>
                    <a:pt x="11123" y="13338"/>
                    <a:pt x="12308" y="12018"/>
                    <a:pt x="12737" y="11958"/>
                  </a:cubicBezTo>
                  <a:cubicBezTo>
                    <a:pt x="13159" y="11789"/>
                    <a:pt x="13943" y="11124"/>
                    <a:pt x="14490" y="10512"/>
                  </a:cubicBezTo>
                  <a:cubicBezTo>
                    <a:pt x="14995" y="9792"/>
                    <a:pt x="16047" y="8378"/>
                    <a:pt x="16767" y="7186"/>
                  </a:cubicBezTo>
                  <a:cubicBezTo>
                    <a:pt x="17486" y="5988"/>
                    <a:pt x="18724" y="4379"/>
                    <a:pt x="19550" y="3750"/>
                  </a:cubicBezTo>
                  <a:cubicBezTo>
                    <a:pt x="20360" y="3049"/>
                    <a:pt x="21176" y="1941"/>
                    <a:pt x="21338" y="1240"/>
                  </a:cubicBezTo>
                  <a:cubicBezTo>
                    <a:pt x="21500" y="539"/>
                    <a:pt x="21075" y="0"/>
                    <a:pt x="20373" y="0"/>
                  </a:cubicBezTo>
                  <a:cubicBezTo>
                    <a:pt x="19674" y="97"/>
                    <a:pt x="18498" y="768"/>
                    <a:pt x="17819" y="1821"/>
                  </a:cubicBezTo>
                  <a:cubicBezTo>
                    <a:pt x="17101" y="2782"/>
                    <a:pt x="15862" y="4391"/>
                    <a:pt x="14998" y="5208"/>
                  </a:cubicBezTo>
                  <a:cubicBezTo>
                    <a:pt x="14156" y="6097"/>
                    <a:pt x="13264" y="6847"/>
                    <a:pt x="13022" y="6847"/>
                  </a:cubicBezTo>
                  <a:cubicBezTo>
                    <a:pt x="12781" y="6878"/>
                    <a:pt x="11885" y="7900"/>
                    <a:pt x="11018" y="9097"/>
                  </a:cubicBezTo>
                  <a:cubicBezTo>
                    <a:pt x="10164" y="10301"/>
                    <a:pt x="8893" y="11510"/>
                    <a:pt x="8200" y="11601"/>
                  </a:cubicBezTo>
                  <a:cubicBezTo>
                    <a:pt x="7524" y="11867"/>
                    <a:pt x="6177" y="13035"/>
                    <a:pt x="5253" y="14456"/>
                  </a:cubicBezTo>
                  <a:cubicBezTo>
                    <a:pt x="4306" y="15811"/>
                    <a:pt x="2962" y="17511"/>
                    <a:pt x="2222" y="18080"/>
                  </a:cubicBezTo>
                  <a:cubicBezTo>
                    <a:pt x="1482" y="18617"/>
                    <a:pt x="697" y="19494"/>
                    <a:pt x="411" y="19791"/>
                  </a:cubicBezTo>
                  <a:cubicBezTo>
                    <a:pt x="173" y="20197"/>
                    <a:pt x="-100" y="20837"/>
                    <a:pt x="37" y="21152"/>
                  </a:cubicBezTo>
                  <a:close/>
                  <a:moveTo>
                    <a:pt x="37" y="2115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4" name="AutoShape 1056"/>
            <p:cNvSpPr>
              <a:spLocks/>
            </p:cNvSpPr>
            <p:nvPr/>
          </p:nvSpPr>
          <p:spPr bwMode="auto">
            <a:xfrm>
              <a:off x="4635500" y="1612900"/>
              <a:ext cx="215900" cy="173038"/>
            </a:xfrm>
            <a:custGeom>
              <a:avLst/>
              <a:gdLst/>
              <a:ahLst/>
              <a:cxnLst/>
              <a:rect l="0" t="0" r="r" b="b"/>
              <a:pathLst>
                <a:path w="21541" h="21559">
                  <a:moveTo>
                    <a:pt x="7564" y="14517"/>
                  </a:moveTo>
                  <a:cubicBezTo>
                    <a:pt x="7491" y="14607"/>
                    <a:pt x="7203" y="14860"/>
                    <a:pt x="6915" y="15072"/>
                  </a:cubicBezTo>
                  <a:cubicBezTo>
                    <a:pt x="6623" y="15275"/>
                    <a:pt x="6276" y="15578"/>
                    <a:pt x="6139" y="15730"/>
                  </a:cubicBezTo>
                  <a:cubicBezTo>
                    <a:pt x="5991" y="15868"/>
                    <a:pt x="5841" y="16023"/>
                    <a:pt x="5784" y="16040"/>
                  </a:cubicBezTo>
                  <a:cubicBezTo>
                    <a:pt x="5729" y="16062"/>
                    <a:pt x="5570" y="16164"/>
                    <a:pt x="5429" y="16262"/>
                  </a:cubicBezTo>
                  <a:cubicBezTo>
                    <a:pt x="5284" y="16354"/>
                    <a:pt x="5066" y="16496"/>
                    <a:pt x="4931" y="16555"/>
                  </a:cubicBezTo>
                  <a:cubicBezTo>
                    <a:pt x="4798" y="16614"/>
                    <a:pt x="4541" y="16771"/>
                    <a:pt x="4362" y="16904"/>
                  </a:cubicBezTo>
                  <a:cubicBezTo>
                    <a:pt x="4186" y="17042"/>
                    <a:pt x="3873" y="17296"/>
                    <a:pt x="3682" y="17494"/>
                  </a:cubicBezTo>
                  <a:cubicBezTo>
                    <a:pt x="3484" y="17683"/>
                    <a:pt x="3234" y="17922"/>
                    <a:pt x="3118" y="18017"/>
                  </a:cubicBezTo>
                  <a:cubicBezTo>
                    <a:pt x="3002" y="18111"/>
                    <a:pt x="2818" y="18237"/>
                    <a:pt x="2709" y="18305"/>
                  </a:cubicBezTo>
                  <a:cubicBezTo>
                    <a:pt x="2600" y="18371"/>
                    <a:pt x="2415" y="18515"/>
                    <a:pt x="2302" y="18635"/>
                  </a:cubicBezTo>
                  <a:cubicBezTo>
                    <a:pt x="2188" y="18754"/>
                    <a:pt x="1982" y="18921"/>
                    <a:pt x="1839" y="18991"/>
                  </a:cubicBezTo>
                  <a:cubicBezTo>
                    <a:pt x="1704" y="19076"/>
                    <a:pt x="1431" y="19257"/>
                    <a:pt x="1247" y="19423"/>
                  </a:cubicBezTo>
                  <a:cubicBezTo>
                    <a:pt x="1063" y="19588"/>
                    <a:pt x="802" y="19873"/>
                    <a:pt x="682" y="20073"/>
                  </a:cubicBezTo>
                  <a:cubicBezTo>
                    <a:pt x="563" y="20273"/>
                    <a:pt x="440" y="20509"/>
                    <a:pt x="390" y="20578"/>
                  </a:cubicBezTo>
                  <a:cubicBezTo>
                    <a:pt x="366" y="20666"/>
                    <a:pt x="235" y="20849"/>
                    <a:pt x="130" y="20999"/>
                  </a:cubicBezTo>
                  <a:cubicBezTo>
                    <a:pt x="28" y="21153"/>
                    <a:pt x="-21" y="21298"/>
                    <a:pt x="8" y="21348"/>
                  </a:cubicBezTo>
                  <a:cubicBezTo>
                    <a:pt x="56" y="21368"/>
                    <a:pt x="59" y="21483"/>
                    <a:pt x="92" y="21523"/>
                  </a:cubicBezTo>
                  <a:cubicBezTo>
                    <a:pt x="99" y="21580"/>
                    <a:pt x="216" y="21570"/>
                    <a:pt x="339" y="21482"/>
                  </a:cubicBezTo>
                  <a:cubicBezTo>
                    <a:pt x="467" y="21403"/>
                    <a:pt x="661" y="21289"/>
                    <a:pt x="778" y="21276"/>
                  </a:cubicBezTo>
                  <a:cubicBezTo>
                    <a:pt x="892" y="21244"/>
                    <a:pt x="1116" y="21103"/>
                    <a:pt x="1287" y="20990"/>
                  </a:cubicBezTo>
                  <a:cubicBezTo>
                    <a:pt x="1454" y="20870"/>
                    <a:pt x="1736" y="20638"/>
                    <a:pt x="1910" y="20476"/>
                  </a:cubicBezTo>
                  <a:cubicBezTo>
                    <a:pt x="2090" y="20320"/>
                    <a:pt x="2357" y="20089"/>
                    <a:pt x="2513" y="19977"/>
                  </a:cubicBezTo>
                  <a:cubicBezTo>
                    <a:pt x="2673" y="19872"/>
                    <a:pt x="2776" y="19811"/>
                    <a:pt x="2800" y="19833"/>
                  </a:cubicBezTo>
                  <a:cubicBezTo>
                    <a:pt x="2792" y="19868"/>
                    <a:pt x="2909" y="19825"/>
                    <a:pt x="3036" y="19730"/>
                  </a:cubicBezTo>
                  <a:cubicBezTo>
                    <a:pt x="3164" y="19639"/>
                    <a:pt x="3391" y="19447"/>
                    <a:pt x="3541" y="19305"/>
                  </a:cubicBezTo>
                  <a:cubicBezTo>
                    <a:pt x="3695" y="19170"/>
                    <a:pt x="3862" y="19000"/>
                    <a:pt x="3862" y="19035"/>
                  </a:cubicBezTo>
                  <a:cubicBezTo>
                    <a:pt x="3886" y="19020"/>
                    <a:pt x="4031" y="18930"/>
                    <a:pt x="4164" y="18795"/>
                  </a:cubicBezTo>
                  <a:cubicBezTo>
                    <a:pt x="4307" y="18677"/>
                    <a:pt x="4462" y="18493"/>
                    <a:pt x="4531" y="18422"/>
                  </a:cubicBezTo>
                  <a:cubicBezTo>
                    <a:pt x="4590" y="18335"/>
                    <a:pt x="4758" y="18195"/>
                    <a:pt x="4892" y="18092"/>
                  </a:cubicBezTo>
                  <a:cubicBezTo>
                    <a:pt x="5029" y="17993"/>
                    <a:pt x="5215" y="17841"/>
                    <a:pt x="5297" y="17745"/>
                  </a:cubicBezTo>
                  <a:cubicBezTo>
                    <a:pt x="5386" y="17657"/>
                    <a:pt x="5520" y="17499"/>
                    <a:pt x="5581" y="17385"/>
                  </a:cubicBezTo>
                  <a:cubicBezTo>
                    <a:pt x="5659" y="17288"/>
                    <a:pt x="5798" y="17121"/>
                    <a:pt x="5896" y="17016"/>
                  </a:cubicBezTo>
                  <a:cubicBezTo>
                    <a:pt x="6004" y="16929"/>
                    <a:pt x="6152" y="16792"/>
                    <a:pt x="6235" y="16737"/>
                  </a:cubicBezTo>
                  <a:cubicBezTo>
                    <a:pt x="6318" y="16681"/>
                    <a:pt x="6452" y="16545"/>
                    <a:pt x="6541" y="16449"/>
                  </a:cubicBezTo>
                  <a:cubicBezTo>
                    <a:pt x="6625" y="16346"/>
                    <a:pt x="6731" y="16261"/>
                    <a:pt x="6772" y="16266"/>
                  </a:cubicBezTo>
                  <a:cubicBezTo>
                    <a:pt x="6815" y="16266"/>
                    <a:pt x="6986" y="16177"/>
                    <a:pt x="7139" y="16044"/>
                  </a:cubicBezTo>
                  <a:cubicBezTo>
                    <a:pt x="7300" y="15923"/>
                    <a:pt x="7450" y="15819"/>
                    <a:pt x="7464" y="15840"/>
                  </a:cubicBezTo>
                  <a:cubicBezTo>
                    <a:pt x="7485" y="15832"/>
                    <a:pt x="7592" y="15776"/>
                    <a:pt x="7720" y="15707"/>
                  </a:cubicBezTo>
                  <a:cubicBezTo>
                    <a:pt x="7840" y="15618"/>
                    <a:pt x="8007" y="15481"/>
                    <a:pt x="8091" y="15397"/>
                  </a:cubicBezTo>
                  <a:cubicBezTo>
                    <a:pt x="8174" y="15316"/>
                    <a:pt x="8431" y="15066"/>
                    <a:pt x="8665" y="14852"/>
                  </a:cubicBezTo>
                  <a:cubicBezTo>
                    <a:pt x="8905" y="14648"/>
                    <a:pt x="9159" y="14412"/>
                    <a:pt x="9246" y="14355"/>
                  </a:cubicBezTo>
                  <a:cubicBezTo>
                    <a:pt x="9332" y="14294"/>
                    <a:pt x="9482" y="14173"/>
                    <a:pt x="9576" y="14077"/>
                  </a:cubicBezTo>
                  <a:cubicBezTo>
                    <a:pt x="9676" y="13990"/>
                    <a:pt x="9787" y="13841"/>
                    <a:pt x="9837" y="13768"/>
                  </a:cubicBezTo>
                  <a:cubicBezTo>
                    <a:pt x="9883" y="13689"/>
                    <a:pt x="9973" y="13594"/>
                    <a:pt x="10037" y="13583"/>
                  </a:cubicBezTo>
                  <a:cubicBezTo>
                    <a:pt x="10095" y="13547"/>
                    <a:pt x="10126" y="13585"/>
                    <a:pt x="10121" y="13651"/>
                  </a:cubicBezTo>
                  <a:cubicBezTo>
                    <a:pt x="10101" y="13711"/>
                    <a:pt x="10024" y="13845"/>
                    <a:pt x="9939" y="13940"/>
                  </a:cubicBezTo>
                  <a:cubicBezTo>
                    <a:pt x="9858" y="14038"/>
                    <a:pt x="9746" y="14165"/>
                    <a:pt x="9715" y="14242"/>
                  </a:cubicBezTo>
                  <a:cubicBezTo>
                    <a:pt x="9669" y="14306"/>
                    <a:pt x="9745" y="14321"/>
                    <a:pt x="9871" y="14263"/>
                  </a:cubicBezTo>
                  <a:cubicBezTo>
                    <a:pt x="9999" y="14219"/>
                    <a:pt x="10187" y="14069"/>
                    <a:pt x="10303" y="13979"/>
                  </a:cubicBezTo>
                  <a:cubicBezTo>
                    <a:pt x="10412" y="13876"/>
                    <a:pt x="10554" y="13717"/>
                    <a:pt x="10627" y="13636"/>
                  </a:cubicBezTo>
                  <a:cubicBezTo>
                    <a:pt x="10684" y="13535"/>
                    <a:pt x="10884" y="13365"/>
                    <a:pt x="11036" y="13210"/>
                  </a:cubicBezTo>
                  <a:cubicBezTo>
                    <a:pt x="11199" y="13076"/>
                    <a:pt x="11352" y="12938"/>
                    <a:pt x="11385" y="12918"/>
                  </a:cubicBezTo>
                  <a:cubicBezTo>
                    <a:pt x="11419" y="12897"/>
                    <a:pt x="11425" y="12937"/>
                    <a:pt x="11396" y="12999"/>
                  </a:cubicBezTo>
                  <a:cubicBezTo>
                    <a:pt x="11364" y="13060"/>
                    <a:pt x="11232" y="13222"/>
                    <a:pt x="11116" y="13377"/>
                  </a:cubicBezTo>
                  <a:cubicBezTo>
                    <a:pt x="10986" y="13517"/>
                    <a:pt x="10884" y="13690"/>
                    <a:pt x="10867" y="13746"/>
                  </a:cubicBezTo>
                  <a:cubicBezTo>
                    <a:pt x="10852" y="13801"/>
                    <a:pt x="10936" y="13819"/>
                    <a:pt x="11046" y="13782"/>
                  </a:cubicBezTo>
                  <a:cubicBezTo>
                    <a:pt x="11155" y="13739"/>
                    <a:pt x="11403" y="13594"/>
                    <a:pt x="11595" y="13451"/>
                  </a:cubicBezTo>
                  <a:cubicBezTo>
                    <a:pt x="11787" y="13308"/>
                    <a:pt x="12148" y="12999"/>
                    <a:pt x="12399" y="12770"/>
                  </a:cubicBezTo>
                  <a:cubicBezTo>
                    <a:pt x="12652" y="12543"/>
                    <a:pt x="12920" y="12326"/>
                    <a:pt x="12995" y="12280"/>
                  </a:cubicBezTo>
                  <a:cubicBezTo>
                    <a:pt x="13071" y="12241"/>
                    <a:pt x="13240" y="12111"/>
                    <a:pt x="13371" y="11998"/>
                  </a:cubicBezTo>
                  <a:cubicBezTo>
                    <a:pt x="13501" y="11880"/>
                    <a:pt x="13648" y="11801"/>
                    <a:pt x="13695" y="11812"/>
                  </a:cubicBezTo>
                  <a:cubicBezTo>
                    <a:pt x="13740" y="11833"/>
                    <a:pt x="13836" y="11769"/>
                    <a:pt x="13916" y="11713"/>
                  </a:cubicBezTo>
                  <a:cubicBezTo>
                    <a:pt x="13987" y="11637"/>
                    <a:pt x="14077" y="11535"/>
                    <a:pt x="14116" y="11471"/>
                  </a:cubicBezTo>
                  <a:cubicBezTo>
                    <a:pt x="14151" y="11408"/>
                    <a:pt x="14237" y="11294"/>
                    <a:pt x="14313" y="11229"/>
                  </a:cubicBezTo>
                  <a:cubicBezTo>
                    <a:pt x="14387" y="11162"/>
                    <a:pt x="14503" y="11059"/>
                    <a:pt x="14577" y="11013"/>
                  </a:cubicBezTo>
                  <a:cubicBezTo>
                    <a:pt x="14650" y="10962"/>
                    <a:pt x="14769" y="10844"/>
                    <a:pt x="14850" y="10759"/>
                  </a:cubicBezTo>
                  <a:cubicBezTo>
                    <a:pt x="14928" y="10673"/>
                    <a:pt x="15035" y="10523"/>
                    <a:pt x="15081" y="10425"/>
                  </a:cubicBezTo>
                  <a:cubicBezTo>
                    <a:pt x="15132" y="10331"/>
                    <a:pt x="15303" y="10126"/>
                    <a:pt x="15463" y="9969"/>
                  </a:cubicBezTo>
                  <a:cubicBezTo>
                    <a:pt x="15628" y="9819"/>
                    <a:pt x="15838" y="9632"/>
                    <a:pt x="15936" y="9559"/>
                  </a:cubicBezTo>
                  <a:cubicBezTo>
                    <a:pt x="16037" y="9489"/>
                    <a:pt x="16295" y="9215"/>
                    <a:pt x="16526" y="8972"/>
                  </a:cubicBezTo>
                  <a:cubicBezTo>
                    <a:pt x="16744" y="8713"/>
                    <a:pt x="16965" y="8454"/>
                    <a:pt x="16989" y="8374"/>
                  </a:cubicBezTo>
                  <a:cubicBezTo>
                    <a:pt x="17020" y="8297"/>
                    <a:pt x="17094" y="8175"/>
                    <a:pt x="17154" y="8106"/>
                  </a:cubicBezTo>
                  <a:cubicBezTo>
                    <a:pt x="17210" y="8031"/>
                    <a:pt x="17340" y="7934"/>
                    <a:pt x="17426" y="7861"/>
                  </a:cubicBezTo>
                  <a:cubicBezTo>
                    <a:pt x="17518" y="7802"/>
                    <a:pt x="17702" y="7636"/>
                    <a:pt x="17851" y="7517"/>
                  </a:cubicBezTo>
                  <a:cubicBezTo>
                    <a:pt x="18003" y="7402"/>
                    <a:pt x="18285" y="7113"/>
                    <a:pt x="18496" y="6906"/>
                  </a:cubicBezTo>
                  <a:cubicBezTo>
                    <a:pt x="18704" y="6697"/>
                    <a:pt x="19134" y="6228"/>
                    <a:pt x="19440" y="5849"/>
                  </a:cubicBezTo>
                  <a:cubicBezTo>
                    <a:pt x="19747" y="5475"/>
                    <a:pt x="20113" y="5032"/>
                    <a:pt x="20235" y="4842"/>
                  </a:cubicBezTo>
                  <a:cubicBezTo>
                    <a:pt x="20365" y="4663"/>
                    <a:pt x="20456" y="4468"/>
                    <a:pt x="20456" y="4416"/>
                  </a:cubicBezTo>
                  <a:cubicBezTo>
                    <a:pt x="20451" y="4365"/>
                    <a:pt x="20475" y="4215"/>
                    <a:pt x="20504" y="4083"/>
                  </a:cubicBezTo>
                  <a:cubicBezTo>
                    <a:pt x="20528" y="3946"/>
                    <a:pt x="20478" y="3853"/>
                    <a:pt x="20377" y="3859"/>
                  </a:cubicBezTo>
                  <a:cubicBezTo>
                    <a:pt x="20278" y="3887"/>
                    <a:pt x="20134" y="3934"/>
                    <a:pt x="20051" y="3974"/>
                  </a:cubicBezTo>
                  <a:cubicBezTo>
                    <a:pt x="19979" y="4040"/>
                    <a:pt x="19695" y="4281"/>
                    <a:pt x="19428" y="4528"/>
                  </a:cubicBezTo>
                  <a:cubicBezTo>
                    <a:pt x="19162" y="4777"/>
                    <a:pt x="18874" y="5082"/>
                    <a:pt x="18795" y="5213"/>
                  </a:cubicBezTo>
                  <a:cubicBezTo>
                    <a:pt x="18706" y="5333"/>
                    <a:pt x="18545" y="5580"/>
                    <a:pt x="18404" y="5718"/>
                  </a:cubicBezTo>
                  <a:cubicBezTo>
                    <a:pt x="18278" y="5880"/>
                    <a:pt x="18167" y="6019"/>
                    <a:pt x="18182" y="6017"/>
                  </a:cubicBezTo>
                  <a:cubicBezTo>
                    <a:pt x="18189" y="6032"/>
                    <a:pt x="18151" y="6103"/>
                    <a:pt x="18090" y="6183"/>
                  </a:cubicBezTo>
                  <a:cubicBezTo>
                    <a:pt x="18031" y="6264"/>
                    <a:pt x="17909" y="6373"/>
                    <a:pt x="17816" y="6423"/>
                  </a:cubicBezTo>
                  <a:cubicBezTo>
                    <a:pt x="17725" y="6469"/>
                    <a:pt x="17500" y="6668"/>
                    <a:pt x="17322" y="6866"/>
                  </a:cubicBezTo>
                  <a:cubicBezTo>
                    <a:pt x="17138" y="7052"/>
                    <a:pt x="17006" y="7178"/>
                    <a:pt x="17010" y="7133"/>
                  </a:cubicBezTo>
                  <a:cubicBezTo>
                    <a:pt x="17019" y="7089"/>
                    <a:pt x="17179" y="6868"/>
                    <a:pt x="17366" y="6643"/>
                  </a:cubicBezTo>
                  <a:cubicBezTo>
                    <a:pt x="17557" y="6423"/>
                    <a:pt x="17790" y="6109"/>
                    <a:pt x="17888" y="5951"/>
                  </a:cubicBezTo>
                  <a:cubicBezTo>
                    <a:pt x="17985" y="5794"/>
                    <a:pt x="17972" y="5701"/>
                    <a:pt x="17850" y="5734"/>
                  </a:cubicBezTo>
                  <a:cubicBezTo>
                    <a:pt x="17731" y="5775"/>
                    <a:pt x="17553" y="5859"/>
                    <a:pt x="17465" y="5940"/>
                  </a:cubicBezTo>
                  <a:cubicBezTo>
                    <a:pt x="17372" y="6017"/>
                    <a:pt x="17203" y="6193"/>
                    <a:pt x="17078" y="6311"/>
                  </a:cubicBezTo>
                  <a:cubicBezTo>
                    <a:pt x="16961" y="6445"/>
                    <a:pt x="16637" y="6723"/>
                    <a:pt x="16379" y="6960"/>
                  </a:cubicBezTo>
                  <a:cubicBezTo>
                    <a:pt x="16114" y="7187"/>
                    <a:pt x="15809" y="7504"/>
                    <a:pt x="15686" y="7643"/>
                  </a:cubicBezTo>
                  <a:cubicBezTo>
                    <a:pt x="15576" y="7796"/>
                    <a:pt x="15457" y="7887"/>
                    <a:pt x="15444" y="7860"/>
                  </a:cubicBezTo>
                  <a:cubicBezTo>
                    <a:pt x="15428" y="7837"/>
                    <a:pt x="15502" y="7715"/>
                    <a:pt x="15597" y="7581"/>
                  </a:cubicBezTo>
                  <a:cubicBezTo>
                    <a:pt x="15700" y="7459"/>
                    <a:pt x="15972" y="7135"/>
                    <a:pt x="16224" y="6892"/>
                  </a:cubicBezTo>
                  <a:cubicBezTo>
                    <a:pt x="16466" y="6636"/>
                    <a:pt x="16877" y="6247"/>
                    <a:pt x="17132" y="6019"/>
                  </a:cubicBezTo>
                  <a:cubicBezTo>
                    <a:pt x="17385" y="5793"/>
                    <a:pt x="17720" y="5450"/>
                    <a:pt x="17882" y="5267"/>
                  </a:cubicBezTo>
                  <a:cubicBezTo>
                    <a:pt x="18047" y="5088"/>
                    <a:pt x="18196" y="4898"/>
                    <a:pt x="18180" y="4868"/>
                  </a:cubicBezTo>
                  <a:cubicBezTo>
                    <a:pt x="18189" y="4834"/>
                    <a:pt x="18045" y="4895"/>
                    <a:pt x="17873" y="5002"/>
                  </a:cubicBezTo>
                  <a:cubicBezTo>
                    <a:pt x="17705" y="5120"/>
                    <a:pt x="17461" y="5279"/>
                    <a:pt x="17341" y="5380"/>
                  </a:cubicBezTo>
                  <a:cubicBezTo>
                    <a:pt x="17222" y="5481"/>
                    <a:pt x="17073" y="5593"/>
                    <a:pt x="17014" y="5626"/>
                  </a:cubicBezTo>
                  <a:cubicBezTo>
                    <a:pt x="16954" y="5663"/>
                    <a:pt x="16939" y="5670"/>
                    <a:pt x="16949" y="5621"/>
                  </a:cubicBezTo>
                  <a:cubicBezTo>
                    <a:pt x="16983" y="5594"/>
                    <a:pt x="17103" y="5445"/>
                    <a:pt x="17236" y="5314"/>
                  </a:cubicBezTo>
                  <a:cubicBezTo>
                    <a:pt x="17369" y="5183"/>
                    <a:pt x="17691" y="4878"/>
                    <a:pt x="17941" y="4618"/>
                  </a:cubicBezTo>
                  <a:cubicBezTo>
                    <a:pt x="18192" y="4360"/>
                    <a:pt x="18453" y="4123"/>
                    <a:pt x="18513" y="4081"/>
                  </a:cubicBezTo>
                  <a:cubicBezTo>
                    <a:pt x="18577" y="4046"/>
                    <a:pt x="18694" y="3936"/>
                    <a:pt x="18780" y="3852"/>
                  </a:cubicBezTo>
                  <a:cubicBezTo>
                    <a:pt x="18867" y="3766"/>
                    <a:pt x="19065" y="3478"/>
                    <a:pt x="19223" y="3212"/>
                  </a:cubicBezTo>
                  <a:cubicBezTo>
                    <a:pt x="19381" y="2947"/>
                    <a:pt x="19502" y="2719"/>
                    <a:pt x="19490" y="2703"/>
                  </a:cubicBezTo>
                  <a:cubicBezTo>
                    <a:pt x="19474" y="2710"/>
                    <a:pt x="19534" y="2566"/>
                    <a:pt x="19614" y="2434"/>
                  </a:cubicBezTo>
                  <a:cubicBezTo>
                    <a:pt x="19693" y="2300"/>
                    <a:pt x="19839" y="2084"/>
                    <a:pt x="19940" y="1957"/>
                  </a:cubicBezTo>
                  <a:cubicBezTo>
                    <a:pt x="20043" y="1835"/>
                    <a:pt x="20171" y="1661"/>
                    <a:pt x="20214" y="1569"/>
                  </a:cubicBezTo>
                  <a:cubicBezTo>
                    <a:pt x="20270" y="1488"/>
                    <a:pt x="20394" y="1320"/>
                    <a:pt x="20504" y="1216"/>
                  </a:cubicBezTo>
                  <a:cubicBezTo>
                    <a:pt x="20612" y="1107"/>
                    <a:pt x="20788" y="944"/>
                    <a:pt x="20905" y="878"/>
                  </a:cubicBezTo>
                  <a:cubicBezTo>
                    <a:pt x="21019" y="808"/>
                    <a:pt x="21173" y="671"/>
                    <a:pt x="21246" y="577"/>
                  </a:cubicBezTo>
                  <a:cubicBezTo>
                    <a:pt x="21318" y="486"/>
                    <a:pt x="21388" y="372"/>
                    <a:pt x="21388" y="319"/>
                  </a:cubicBezTo>
                  <a:cubicBezTo>
                    <a:pt x="21393" y="268"/>
                    <a:pt x="21449" y="164"/>
                    <a:pt x="21510" y="82"/>
                  </a:cubicBezTo>
                  <a:cubicBezTo>
                    <a:pt x="21579" y="8"/>
                    <a:pt x="21525" y="-20"/>
                    <a:pt x="21397" y="15"/>
                  </a:cubicBezTo>
                  <a:cubicBezTo>
                    <a:pt x="21275" y="70"/>
                    <a:pt x="21108" y="129"/>
                    <a:pt x="21034" y="172"/>
                  </a:cubicBezTo>
                  <a:cubicBezTo>
                    <a:pt x="20959" y="212"/>
                    <a:pt x="20564" y="578"/>
                    <a:pt x="20159" y="986"/>
                  </a:cubicBezTo>
                  <a:cubicBezTo>
                    <a:pt x="19751" y="1387"/>
                    <a:pt x="19288" y="1838"/>
                    <a:pt x="19120" y="1971"/>
                  </a:cubicBezTo>
                  <a:cubicBezTo>
                    <a:pt x="18954" y="2105"/>
                    <a:pt x="18736" y="2330"/>
                    <a:pt x="18622" y="2452"/>
                  </a:cubicBezTo>
                  <a:cubicBezTo>
                    <a:pt x="18514" y="2580"/>
                    <a:pt x="18416" y="2717"/>
                    <a:pt x="18411" y="2760"/>
                  </a:cubicBezTo>
                  <a:cubicBezTo>
                    <a:pt x="18403" y="2801"/>
                    <a:pt x="18298" y="2894"/>
                    <a:pt x="18182" y="2978"/>
                  </a:cubicBezTo>
                  <a:cubicBezTo>
                    <a:pt x="18065" y="3061"/>
                    <a:pt x="17928" y="3169"/>
                    <a:pt x="17878" y="3160"/>
                  </a:cubicBezTo>
                  <a:cubicBezTo>
                    <a:pt x="17830" y="3185"/>
                    <a:pt x="17686" y="3301"/>
                    <a:pt x="17557" y="3417"/>
                  </a:cubicBezTo>
                  <a:cubicBezTo>
                    <a:pt x="17428" y="3537"/>
                    <a:pt x="17165" y="3802"/>
                    <a:pt x="16977" y="4016"/>
                  </a:cubicBezTo>
                  <a:cubicBezTo>
                    <a:pt x="16787" y="4228"/>
                    <a:pt x="16614" y="4473"/>
                    <a:pt x="16589" y="4564"/>
                  </a:cubicBezTo>
                  <a:cubicBezTo>
                    <a:pt x="16569" y="4655"/>
                    <a:pt x="16481" y="4832"/>
                    <a:pt x="16398" y="4960"/>
                  </a:cubicBezTo>
                  <a:cubicBezTo>
                    <a:pt x="16316" y="5089"/>
                    <a:pt x="16271" y="5201"/>
                    <a:pt x="16290" y="5225"/>
                  </a:cubicBezTo>
                  <a:cubicBezTo>
                    <a:pt x="16307" y="5250"/>
                    <a:pt x="16300" y="5342"/>
                    <a:pt x="16295" y="5455"/>
                  </a:cubicBezTo>
                  <a:cubicBezTo>
                    <a:pt x="16267" y="5562"/>
                    <a:pt x="16135" y="5816"/>
                    <a:pt x="15981" y="6012"/>
                  </a:cubicBezTo>
                  <a:cubicBezTo>
                    <a:pt x="15830" y="6212"/>
                    <a:pt x="15603" y="6425"/>
                    <a:pt x="15487" y="6504"/>
                  </a:cubicBezTo>
                  <a:cubicBezTo>
                    <a:pt x="15371" y="6582"/>
                    <a:pt x="15090" y="6768"/>
                    <a:pt x="14891" y="6969"/>
                  </a:cubicBezTo>
                  <a:cubicBezTo>
                    <a:pt x="14673" y="7136"/>
                    <a:pt x="14454" y="7353"/>
                    <a:pt x="14377" y="7392"/>
                  </a:cubicBezTo>
                  <a:cubicBezTo>
                    <a:pt x="14305" y="7441"/>
                    <a:pt x="14171" y="7560"/>
                    <a:pt x="14082" y="7656"/>
                  </a:cubicBezTo>
                  <a:cubicBezTo>
                    <a:pt x="13995" y="7752"/>
                    <a:pt x="13921" y="7872"/>
                    <a:pt x="13946" y="7910"/>
                  </a:cubicBezTo>
                  <a:cubicBezTo>
                    <a:pt x="13949" y="7958"/>
                    <a:pt x="13924" y="8062"/>
                    <a:pt x="13869" y="8149"/>
                  </a:cubicBezTo>
                  <a:cubicBezTo>
                    <a:pt x="13812" y="8237"/>
                    <a:pt x="13789" y="8373"/>
                    <a:pt x="13840" y="8379"/>
                  </a:cubicBezTo>
                  <a:cubicBezTo>
                    <a:pt x="13873" y="8429"/>
                    <a:pt x="13846" y="8571"/>
                    <a:pt x="13801" y="8734"/>
                  </a:cubicBezTo>
                  <a:cubicBezTo>
                    <a:pt x="13729" y="8881"/>
                    <a:pt x="13489" y="9171"/>
                    <a:pt x="13269" y="9398"/>
                  </a:cubicBezTo>
                  <a:cubicBezTo>
                    <a:pt x="13030" y="9595"/>
                    <a:pt x="12873" y="9771"/>
                    <a:pt x="12884" y="9791"/>
                  </a:cubicBezTo>
                  <a:cubicBezTo>
                    <a:pt x="12893" y="9814"/>
                    <a:pt x="12880" y="9847"/>
                    <a:pt x="12874" y="9916"/>
                  </a:cubicBezTo>
                  <a:cubicBezTo>
                    <a:pt x="12843" y="9975"/>
                    <a:pt x="12752" y="10093"/>
                    <a:pt x="12660" y="10171"/>
                  </a:cubicBezTo>
                  <a:cubicBezTo>
                    <a:pt x="12569" y="10250"/>
                    <a:pt x="12481" y="10257"/>
                    <a:pt x="12472" y="10188"/>
                  </a:cubicBezTo>
                  <a:cubicBezTo>
                    <a:pt x="12467" y="10119"/>
                    <a:pt x="12304" y="10154"/>
                    <a:pt x="12117" y="10237"/>
                  </a:cubicBezTo>
                  <a:cubicBezTo>
                    <a:pt x="11936" y="10335"/>
                    <a:pt x="11725" y="10467"/>
                    <a:pt x="11645" y="10526"/>
                  </a:cubicBezTo>
                  <a:cubicBezTo>
                    <a:pt x="11570" y="10594"/>
                    <a:pt x="11399" y="10693"/>
                    <a:pt x="11282" y="10779"/>
                  </a:cubicBezTo>
                  <a:cubicBezTo>
                    <a:pt x="11160" y="10855"/>
                    <a:pt x="11078" y="10864"/>
                    <a:pt x="11102" y="10800"/>
                  </a:cubicBezTo>
                  <a:cubicBezTo>
                    <a:pt x="11130" y="10741"/>
                    <a:pt x="11127" y="10659"/>
                    <a:pt x="11102" y="10659"/>
                  </a:cubicBezTo>
                  <a:cubicBezTo>
                    <a:pt x="11089" y="10634"/>
                    <a:pt x="10971" y="10741"/>
                    <a:pt x="10857" y="10863"/>
                  </a:cubicBezTo>
                  <a:cubicBezTo>
                    <a:pt x="10742" y="10986"/>
                    <a:pt x="10526" y="11188"/>
                    <a:pt x="10379" y="11317"/>
                  </a:cubicBezTo>
                  <a:cubicBezTo>
                    <a:pt x="10226" y="11436"/>
                    <a:pt x="10068" y="11546"/>
                    <a:pt x="10027" y="11567"/>
                  </a:cubicBezTo>
                  <a:cubicBezTo>
                    <a:pt x="9981" y="11567"/>
                    <a:pt x="10056" y="11421"/>
                    <a:pt x="10180" y="11208"/>
                  </a:cubicBezTo>
                  <a:cubicBezTo>
                    <a:pt x="10305" y="10994"/>
                    <a:pt x="10521" y="10716"/>
                    <a:pt x="10653" y="10581"/>
                  </a:cubicBezTo>
                  <a:cubicBezTo>
                    <a:pt x="10787" y="10450"/>
                    <a:pt x="11067" y="10096"/>
                    <a:pt x="11286" y="9813"/>
                  </a:cubicBezTo>
                  <a:cubicBezTo>
                    <a:pt x="11499" y="9525"/>
                    <a:pt x="11615" y="9342"/>
                    <a:pt x="11534" y="9397"/>
                  </a:cubicBezTo>
                  <a:cubicBezTo>
                    <a:pt x="11453" y="9448"/>
                    <a:pt x="11309" y="9537"/>
                    <a:pt x="11210" y="9572"/>
                  </a:cubicBezTo>
                  <a:cubicBezTo>
                    <a:pt x="11112" y="9613"/>
                    <a:pt x="10939" y="9729"/>
                    <a:pt x="10819" y="9818"/>
                  </a:cubicBezTo>
                  <a:cubicBezTo>
                    <a:pt x="10705" y="9918"/>
                    <a:pt x="10611" y="9948"/>
                    <a:pt x="10629" y="9904"/>
                  </a:cubicBezTo>
                  <a:cubicBezTo>
                    <a:pt x="10634" y="9856"/>
                    <a:pt x="10755" y="9723"/>
                    <a:pt x="10884" y="9610"/>
                  </a:cubicBezTo>
                  <a:cubicBezTo>
                    <a:pt x="11013" y="9498"/>
                    <a:pt x="11199" y="9372"/>
                    <a:pt x="11291" y="9315"/>
                  </a:cubicBezTo>
                  <a:cubicBezTo>
                    <a:pt x="11388" y="9277"/>
                    <a:pt x="11532" y="9138"/>
                    <a:pt x="11624" y="9037"/>
                  </a:cubicBezTo>
                  <a:cubicBezTo>
                    <a:pt x="11703" y="8922"/>
                    <a:pt x="11880" y="8669"/>
                    <a:pt x="12001" y="8456"/>
                  </a:cubicBezTo>
                  <a:cubicBezTo>
                    <a:pt x="12124" y="8243"/>
                    <a:pt x="12204" y="8020"/>
                    <a:pt x="12172" y="7974"/>
                  </a:cubicBezTo>
                  <a:cubicBezTo>
                    <a:pt x="12142" y="7927"/>
                    <a:pt x="12199" y="7800"/>
                    <a:pt x="12284" y="7693"/>
                  </a:cubicBezTo>
                  <a:cubicBezTo>
                    <a:pt x="12368" y="7583"/>
                    <a:pt x="12519" y="7433"/>
                    <a:pt x="12612" y="7348"/>
                  </a:cubicBezTo>
                  <a:cubicBezTo>
                    <a:pt x="12704" y="7260"/>
                    <a:pt x="12824" y="7124"/>
                    <a:pt x="12879" y="7045"/>
                  </a:cubicBezTo>
                  <a:cubicBezTo>
                    <a:pt x="12932" y="6964"/>
                    <a:pt x="12945" y="6901"/>
                    <a:pt x="12926" y="6872"/>
                  </a:cubicBezTo>
                  <a:cubicBezTo>
                    <a:pt x="12895" y="6863"/>
                    <a:pt x="12889" y="6802"/>
                    <a:pt x="12914" y="6754"/>
                  </a:cubicBezTo>
                  <a:cubicBezTo>
                    <a:pt x="12928" y="6700"/>
                    <a:pt x="12963" y="6628"/>
                    <a:pt x="12963" y="6585"/>
                  </a:cubicBezTo>
                  <a:cubicBezTo>
                    <a:pt x="12966" y="6541"/>
                    <a:pt x="12918" y="6554"/>
                    <a:pt x="12845" y="6598"/>
                  </a:cubicBezTo>
                  <a:cubicBezTo>
                    <a:pt x="12775" y="6651"/>
                    <a:pt x="12677" y="6685"/>
                    <a:pt x="12636" y="6706"/>
                  </a:cubicBezTo>
                  <a:cubicBezTo>
                    <a:pt x="12593" y="6706"/>
                    <a:pt x="12476" y="6797"/>
                    <a:pt x="12379" y="6892"/>
                  </a:cubicBezTo>
                  <a:cubicBezTo>
                    <a:pt x="12281" y="6982"/>
                    <a:pt x="12018" y="7202"/>
                    <a:pt x="11789" y="7374"/>
                  </a:cubicBezTo>
                  <a:cubicBezTo>
                    <a:pt x="11561" y="7548"/>
                    <a:pt x="11397" y="7632"/>
                    <a:pt x="11421" y="7561"/>
                  </a:cubicBezTo>
                  <a:cubicBezTo>
                    <a:pt x="11438" y="7489"/>
                    <a:pt x="11608" y="7274"/>
                    <a:pt x="11779" y="7078"/>
                  </a:cubicBezTo>
                  <a:cubicBezTo>
                    <a:pt x="11956" y="6883"/>
                    <a:pt x="12189" y="6621"/>
                    <a:pt x="12313" y="6515"/>
                  </a:cubicBezTo>
                  <a:cubicBezTo>
                    <a:pt x="12435" y="6408"/>
                    <a:pt x="12575" y="6212"/>
                    <a:pt x="12624" y="6085"/>
                  </a:cubicBezTo>
                  <a:cubicBezTo>
                    <a:pt x="12677" y="5961"/>
                    <a:pt x="12671" y="5860"/>
                    <a:pt x="12614" y="5846"/>
                  </a:cubicBezTo>
                  <a:cubicBezTo>
                    <a:pt x="12562" y="5816"/>
                    <a:pt x="12360" y="5948"/>
                    <a:pt x="12174" y="6086"/>
                  </a:cubicBezTo>
                  <a:cubicBezTo>
                    <a:pt x="11989" y="6228"/>
                    <a:pt x="11768" y="6379"/>
                    <a:pt x="11685" y="6430"/>
                  </a:cubicBezTo>
                  <a:cubicBezTo>
                    <a:pt x="11599" y="6472"/>
                    <a:pt x="11252" y="6746"/>
                    <a:pt x="10915" y="7035"/>
                  </a:cubicBezTo>
                  <a:cubicBezTo>
                    <a:pt x="10575" y="7318"/>
                    <a:pt x="10211" y="7636"/>
                    <a:pt x="10110" y="7750"/>
                  </a:cubicBezTo>
                  <a:cubicBezTo>
                    <a:pt x="10004" y="7855"/>
                    <a:pt x="9937" y="7966"/>
                    <a:pt x="9957" y="7966"/>
                  </a:cubicBezTo>
                  <a:cubicBezTo>
                    <a:pt x="9968" y="7987"/>
                    <a:pt x="9955" y="8039"/>
                    <a:pt x="9925" y="8114"/>
                  </a:cubicBezTo>
                  <a:cubicBezTo>
                    <a:pt x="9880" y="8179"/>
                    <a:pt x="9913" y="8241"/>
                    <a:pt x="9981" y="8235"/>
                  </a:cubicBezTo>
                  <a:cubicBezTo>
                    <a:pt x="10049" y="8235"/>
                    <a:pt x="10107" y="8283"/>
                    <a:pt x="10079" y="8340"/>
                  </a:cubicBezTo>
                  <a:cubicBezTo>
                    <a:pt x="10084" y="8407"/>
                    <a:pt x="10007" y="8469"/>
                    <a:pt x="9955" y="8501"/>
                  </a:cubicBezTo>
                  <a:cubicBezTo>
                    <a:pt x="9899" y="8516"/>
                    <a:pt x="9807" y="8548"/>
                    <a:pt x="9750" y="8525"/>
                  </a:cubicBezTo>
                  <a:cubicBezTo>
                    <a:pt x="9691" y="8525"/>
                    <a:pt x="9566" y="8568"/>
                    <a:pt x="9468" y="8639"/>
                  </a:cubicBezTo>
                  <a:cubicBezTo>
                    <a:pt x="9371" y="8710"/>
                    <a:pt x="9276" y="8751"/>
                    <a:pt x="9280" y="8726"/>
                  </a:cubicBezTo>
                  <a:cubicBezTo>
                    <a:pt x="9270" y="8706"/>
                    <a:pt x="9187" y="8738"/>
                    <a:pt x="9093" y="8816"/>
                  </a:cubicBezTo>
                  <a:cubicBezTo>
                    <a:pt x="8993" y="8883"/>
                    <a:pt x="8786" y="9088"/>
                    <a:pt x="8613" y="9236"/>
                  </a:cubicBezTo>
                  <a:cubicBezTo>
                    <a:pt x="8450" y="9401"/>
                    <a:pt x="8247" y="9562"/>
                    <a:pt x="8177" y="9622"/>
                  </a:cubicBezTo>
                  <a:cubicBezTo>
                    <a:pt x="8104" y="9673"/>
                    <a:pt x="7957" y="9805"/>
                    <a:pt x="7853" y="9918"/>
                  </a:cubicBezTo>
                  <a:cubicBezTo>
                    <a:pt x="7747" y="10027"/>
                    <a:pt x="7554" y="10221"/>
                    <a:pt x="7437" y="10372"/>
                  </a:cubicBezTo>
                  <a:cubicBezTo>
                    <a:pt x="7310" y="10506"/>
                    <a:pt x="7068" y="10791"/>
                    <a:pt x="6877" y="10973"/>
                  </a:cubicBezTo>
                  <a:cubicBezTo>
                    <a:pt x="6694" y="11168"/>
                    <a:pt x="6541" y="11356"/>
                    <a:pt x="6562" y="11388"/>
                  </a:cubicBezTo>
                  <a:cubicBezTo>
                    <a:pt x="6562" y="11431"/>
                    <a:pt x="6726" y="11340"/>
                    <a:pt x="6921" y="11264"/>
                  </a:cubicBezTo>
                  <a:cubicBezTo>
                    <a:pt x="7103" y="11149"/>
                    <a:pt x="7353" y="11008"/>
                    <a:pt x="7462" y="10916"/>
                  </a:cubicBezTo>
                  <a:cubicBezTo>
                    <a:pt x="7574" y="10828"/>
                    <a:pt x="7731" y="10730"/>
                    <a:pt x="7811" y="10708"/>
                  </a:cubicBezTo>
                  <a:cubicBezTo>
                    <a:pt x="7889" y="10676"/>
                    <a:pt x="8007" y="10617"/>
                    <a:pt x="8072" y="10565"/>
                  </a:cubicBezTo>
                  <a:cubicBezTo>
                    <a:pt x="8137" y="10517"/>
                    <a:pt x="8178" y="10508"/>
                    <a:pt x="8178" y="10548"/>
                  </a:cubicBezTo>
                  <a:cubicBezTo>
                    <a:pt x="8167" y="10585"/>
                    <a:pt x="8106" y="10669"/>
                    <a:pt x="8036" y="10737"/>
                  </a:cubicBezTo>
                  <a:cubicBezTo>
                    <a:pt x="7970" y="10812"/>
                    <a:pt x="7812" y="10903"/>
                    <a:pt x="7701" y="10972"/>
                  </a:cubicBezTo>
                  <a:cubicBezTo>
                    <a:pt x="7588" y="11033"/>
                    <a:pt x="7303" y="11203"/>
                    <a:pt x="7083" y="11375"/>
                  </a:cubicBezTo>
                  <a:cubicBezTo>
                    <a:pt x="6853" y="11521"/>
                    <a:pt x="6484" y="11823"/>
                    <a:pt x="6251" y="12019"/>
                  </a:cubicBezTo>
                  <a:cubicBezTo>
                    <a:pt x="6014" y="12208"/>
                    <a:pt x="5783" y="12405"/>
                    <a:pt x="5725" y="12434"/>
                  </a:cubicBezTo>
                  <a:cubicBezTo>
                    <a:pt x="5668" y="12458"/>
                    <a:pt x="5531" y="12585"/>
                    <a:pt x="5403" y="12672"/>
                  </a:cubicBezTo>
                  <a:cubicBezTo>
                    <a:pt x="5289" y="12785"/>
                    <a:pt x="5003" y="13056"/>
                    <a:pt x="4785" y="13304"/>
                  </a:cubicBezTo>
                  <a:cubicBezTo>
                    <a:pt x="4563" y="13546"/>
                    <a:pt x="4186" y="13980"/>
                    <a:pt x="3931" y="14245"/>
                  </a:cubicBezTo>
                  <a:cubicBezTo>
                    <a:pt x="3682" y="14522"/>
                    <a:pt x="3480" y="14753"/>
                    <a:pt x="3488" y="14768"/>
                  </a:cubicBezTo>
                  <a:cubicBezTo>
                    <a:pt x="3498" y="14780"/>
                    <a:pt x="3594" y="14716"/>
                    <a:pt x="3715" y="14630"/>
                  </a:cubicBezTo>
                  <a:cubicBezTo>
                    <a:pt x="3831" y="14536"/>
                    <a:pt x="4045" y="14413"/>
                    <a:pt x="4181" y="14340"/>
                  </a:cubicBezTo>
                  <a:cubicBezTo>
                    <a:pt x="4319" y="14271"/>
                    <a:pt x="4533" y="14110"/>
                    <a:pt x="4670" y="14004"/>
                  </a:cubicBezTo>
                  <a:cubicBezTo>
                    <a:pt x="4800" y="13887"/>
                    <a:pt x="5003" y="13712"/>
                    <a:pt x="5125" y="13627"/>
                  </a:cubicBezTo>
                  <a:cubicBezTo>
                    <a:pt x="5245" y="13537"/>
                    <a:pt x="5365" y="13477"/>
                    <a:pt x="5392" y="13472"/>
                  </a:cubicBezTo>
                  <a:cubicBezTo>
                    <a:pt x="5418" y="13476"/>
                    <a:pt x="5478" y="13466"/>
                    <a:pt x="5525" y="13473"/>
                  </a:cubicBezTo>
                  <a:cubicBezTo>
                    <a:pt x="5570" y="13473"/>
                    <a:pt x="5454" y="13608"/>
                    <a:pt x="5276" y="13800"/>
                  </a:cubicBezTo>
                  <a:cubicBezTo>
                    <a:pt x="5089" y="13975"/>
                    <a:pt x="4825" y="14220"/>
                    <a:pt x="4690" y="14338"/>
                  </a:cubicBezTo>
                  <a:cubicBezTo>
                    <a:pt x="4550" y="14450"/>
                    <a:pt x="4338" y="14644"/>
                    <a:pt x="4219" y="14766"/>
                  </a:cubicBezTo>
                  <a:cubicBezTo>
                    <a:pt x="4098" y="14890"/>
                    <a:pt x="3901" y="15068"/>
                    <a:pt x="3776" y="15151"/>
                  </a:cubicBezTo>
                  <a:cubicBezTo>
                    <a:pt x="3645" y="15227"/>
                    <a:pt x="3482" y="15338"/>
                    <a:pt x="3401" y="15338"/>
                  </a:cubicBezTo>
                  <a:cubicBezTo>
                    <a:pt x="3321" y="15358"/>
                    <a:pt x="3094" y="15505"/>
                    <a:pt x="2888" y="15656"/>
                  </a:cubicBezTo>
                  <a:cubicBezTo>
                    <a:pt x="2685" y="15813"/>
                    <a:pt x="2494" y="15967"/>
                    <a:pt x="2459" y="15967"/>
                  </a:cubicBezTo>
                  <a:cubicBezTo>
                    <a:pt x="2422" y="15974"/>
                    <a:pt x="2285" y="16091"/>
                    <a:pt x="2146" y="16209"/>
                  </a:cubicBezTo>
                  <a:cubicBezTo>
                    <a:pt x="2015" y="16343"/>
                    <a:pt x="1647" y="16680"/>
                    <a:pt x="1353" y="16996"/>
                  </a:cubicBezTo>
                  <a:cubicBezTo>
                    <a:pt x="1053" y="17301"/>
                    <a:pt x="823" y="17588"/>
                    <a:pt x="815" y="17623"/>
                  </a:cubicBezTo>
                  <a:cubicBezTo>
                    <a:pt x="833" y="17651"/>
                    <a:pt x="765" y="17771"/>
                    <a:pt x="704" y="17878"/>
                  </a:cubicBezTo>
                  <a:cubicBezTo>
                    <a:pt x="650" y="17991"/>
                    <a:pt x="489" y="18170"/>
                    <a:pt x="353" y="18262"/>
                  </a:cubicBezTo>
                  <a:cubicBezTo>
                    <a:pt x="228" y="18375"/>
                    <a:pt x="96" y="18494"/>
                    <a:pt x="65" y="18542"/>
                  </a:cubicBezTo>
                  <a:cubicBezTo>
                    <a:pt x="35" y="18589"/>
                    <a:pt x="106" y="18627"/>
                    <a:pt x="216" y="18584"/>
                  </a:cubicBezTo>
                  <a:cubicBezTo>
                    <a:pt x="328" y="18566"/>
                    <a:pt x="431" y="18604"/>
                    <a:pt x="442" y="18682"/>
                  </a:cubicBezTo>
                  <a:cubicBezTo>
                    <a:pt x="453" y="18761"/>
                    <a:pt x="510" y="18793"/>
                    <a:pt x="567" y="18751"/>
                  </a:cubicBezTo>
                  <a:cubicBezTo>
                    <a:pt x="621" y="18703"/>
                    <a:pt x="745" y="18579"/>
                    <a:pt x="826" y="18447"/>
                  </a:cubicBezTo>
                  <a:cubicBezTo>
                    <a:pt x="910" y="18322"/>
                    <a:pt x="1018" y="18203"/>
                    <a:pt x="1067" y="18173"/>
                  </a:cubicBezTo>
                  <a:cubicBezTo>
                    <a:pt x="1114" y="18148"/>
                    <a:pt x="1084" y="18223"/>
                    <a:pt x="998" y="18338"/>
                  </a:cubicBezTo>
                  <a:cubicBezTo>
                    <a:pt x="912" y="18449"/>
                    <a:pt x="896" y="18553"/>
                    <a:pt x="960" y="18543"/>
                  </a:cubicBezTo>
                  <a:cubicBezTo>
                    <a:pt x="1021" y="18566"/>
                    <a:pt x="999" y="18649"/>
                    <a:pt x="920" y="18793"/>
                  </a:cubicBezTo>
                  <a:cubicBezTo>
                    <a:pt x="829" y="18926"/>
                    <a:pt x="826" y="19029"/>
                    <a:pt x="896" y="18991"/>
                  </a:cubicBezTo>
                  <a:cubicBezTo>
                    <a:pt x="971" y="18971"/>
                    <a:pt x="1106" y="18831"/>
                    <a:pt x="1221" y="18732"/>
                  </a:cubicBezTo>
                  <a:cubicBezTo>
                    <a:pt x="1324" y="18616"/>
                    <a:pt x="1508" y="18404"/>
                    <a:pt x="1602" y="18235"/>
                  </a:cubicBezTo>
                  <a:cubicBezTo>
                    <a:pt x="1708" y="18077"/>
                    <a:pt x="1812" y="17941"/>
                    <a:pt x="1832" y="17954"/>
                  </a:cubicBezTo>
                  <a:cubicBezTo>
                    <a:pt x="1855" y="17954"/>
                    <a:pt x="1959" y="17899"/>
                    <a:pt x="2057" y="17814"/>
                  </a:cubicBezTo>
                  <a:cubicBezTo>
                    <a:pt x="2155" y="17729"/>
                    <a:pt x="2153" y="17766"/>
                    <a:pt x="2049" y="17894"/>
                  </a:cubicBezTo>
                  <a:cubicBezTo>
                    <a:pt x="1944" y="18019"/>
                    <a:pt x="1816" y="18207"/>
                    <a:pt x="1747" y="18297"/>
                  </a:cubicBezTo>
                  <a:cubicBezTo>
                    <a:pt x="1694" y="18402"/>
                    <a:pt x="1695" y="18453"/>
                    <a:pt x="1769" y="18463"/>
                  </a:cubicBezTo>
                  <a:cubicBezTo>
                    <a:pt x="1839" y="18434"/>
                    <a:pt x="1990" y="18367"/>
                    <a:pt x="2104" y="18276"/>
                  </a:cubicBezTo>
                  <a:cubicBezTo>
                    <a:pt x="2210" y="18171"/>
                    <a:pt x="2374" y="18026"/>
                    <a:pt x="2443" y="17919"/>
                  </a:cubicBezTo>
                  <a:cubicBezTo>
                    <a:pt x="2523" y="17825"/>
                    <a:pt x="2784" y="17551"/>
                    <a:pt x="3023" y="17305"/>
                  </a:cubicBezTo>
                  <a:cubicBezTo>
                    <a:pt x="3266" y="17068"/>
                    <a:pt x="3527" y="16773"/>
                    <a:pt x="3609" y="16657"/>
                  </a:cubicBezTo>
                  <a:cubicBezTo>
                    <a:pt x="3687" y="16536"/>
                    <a:pt x="3814" y="16378"/>
                    <a:pt x="3880" y="16295"/>
                  </a:cubicBezTo>
                  <a:cubicBezTo>
                    <a:pt x="3952" y="16219"/>
                    <a:pt x="3995" y="16218"/>
                    <a:pt x="3977" y="16297"/>
                  </a:cubicBezTo>
                  <a:cubicBezTo>
                    <a:pt x="3968" y="16380"/>
                    <a:pt x="4055" y="16333"/>
                    <a:pt x="4176" y="16182"/>
                  </a:cubicBezTo>
                  <a:cubicBezTo>
                    <a:pt x="4305" y="16039"/>
                    <a:pt x="4511" y="15813"/>
                    <a:pt x="4654" y="15708"/>
                  </a:cubicBezTo>
                  <a:cubicBezTo>
                    <a:pt x="4790" y="15596"/>
                    <a:pt x="4958" y="15465"/>
                    <a:pt x="5025" y="15416"/>
                  </a:cubicBezTo>
                  <a:cubicBezTo>
                    <a:pt x="5092" y="15367"/>
                    <a:pt x="4995" y="15491"/>
                    <a:pt x="4807" y="15687"/>
                  </a:cubicBezTo>
                  <a:cubicBezTo>
                    <a:pt x="4612" y="15872"/>
                    <a:pt x="4328" y="16199"/>
                    <a:pt x="4147" y="16371"/>
                  </a:cubicBezTo>
                  <a:cubicBezTo>
                    <a:pt x="3968" y="16547"/>
                    <a:pt x="3773" y="16775"/>
                    <a:pt x="3723" y="16881"/>
                  </a:cubicBezTo>
                  <a:cubicBezTo>
                    <a:pt x="3657" y="16973"/>
                    <a:pt x="3708" y="17010"/>
                    <a:pt x="3822" y="16951"/>
                  </a:cubicBezTo>
                  <a:cubicBezTo>
                    <a:pt x="3934" y="16888"/>
                    <a:pt x="4127" y="16756"/>
                    <a:pt x="4247" y="16653"/>
                  </a:cubicBezTo>
                  <a:cubicBezTo>
                    <a:pt x="4370" y="16554"/>
                    <a:pt x="4493" y="16463"/>
                    <a:pt x="4525" y="16463"/>
                  </a:cubicBezTo>
                  <a:cubicBezTo>
                    <a:pt x="4558" y="16458"/>
                    <a:pt x="4674" y="16395"/>
                    <a:pt x="4775" y="16297"/>
                  </a:cubicBezTo>
                  <a:cubicBezTo>
                    <a:pt x="4877" y="16202"/>
                    <a:pt x="5068" y="16035"/>
                    <a:pt x="5207" y="15936"/>
                  </a:cubicBezTo>
                  <a:cubicBezTo>
                    <a:pt x="5336" y="15826"/>
                    <a:pt x="5547" y="15642"/>
                    <a:pt x="5667" y="15512"/>
                  </a:cubicBezTo>
                  <a:cubicBezTo>
                    <a:pt x="5785" y="15382"/>
                    <a:pt x="5919" y="15291"/>
                    <a:pt x="5958" y="15291"/>
                  </a:cubicBezTo>
                  <a:cubicBezTo>
                    <a:pt x="5999" y="15297"/>
                    <a:pt x="5988" y="15372"/>
                    <a:pt x="5935" y="15464"/>
                  </a:cubicBezTo>
                  <a:cubicBezTo>
                    <a:pt x="5878" y="15552"/>
                    <a:pt x="5952" y="15544"/>
                    <a:pt x="6094" y="15445"/>
                  </a:cubicBezTo>
                  <a:cubicBezTo>
                    <a:pt x="6231" y="15335"/>
                    <a:pt x="6517" y="15095"/>
                    <a:pt x="6729" y="14906"/>
                  </a:cubicBezTo>
                  <a:cubicBezTo>
                    <a:pt x="6935" y="14704"/>
                    <a:pt x="7082" y="14599"/>
                    <a:pt x="7055" y="14662"/>
                  </a:cubicBezTo>
                  <a:cubicBezTo>
                    <a:pt x="7025" y="14723"/>
                    <a:pt x="7125" y="14671"/>
                    <a:pt x="7287" y="14565"/>
                  </a:cubicBezTo>
                  <a:cubicBezTo>
                    <a:pt x="7446" y="14451"/>
                    <a:pt x="7676" y="14246"/>
                    <a:pt x="7801" y="14108"/>
                  </a:cubicBezTo>
                  <a:cubicBezTo>
                    <a:pt x="7923" y="13972"/>
                    <a:pt x="8023" y="13887"/>
                    <a:pt x="8039" y="13911"/>
                  </a:cubicBezTo>
                  <a:cubicBezTo>
                    <a:pt x="8036" y="13941"/>
                    <a:pt x="7970" y="14048"/>
                    <a:pt x="7870" y="14156"/>
                  </a:cubicBezTo>
                  <a:cubicBezTo>
                    <a:pt x="7768" y="14261"/>
                    <a:pt x="7632" y="14426"/>
                    <a:pt x="7564" y="14517"/>
                  </a:cubicBezTo>
                  <a:close/>
                  <a:moveTo>
                    <a:pt x="7564" y="145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5" name="AutoShape 1057"/>
            <p:cNvSpPr>
              <a:spLocks/>
            </p:cNvSpPr>
            <p:nvPr/>
          </p:nvSpPr>
          <p:spPr bwMode="auto">
            <a:xfrm>
              <a:off x="4800600" y="1663700"/>
              <a:ext cx="25400" cy="22225"/>
            </a:xfrm>
            <a:custGeom>
              <a:avLst/>
              <a:gdLst/>
              <a:ahLst/>
              <a:cxnLst/>
              <a:rect l="0" t="0" r="r" b="b"/>
              <a:pathLst>
                <a:path w="21222" h="21237">
                  <a:moveTo>
                    <a:pt x="1575" y="20879"/>
                  </a:moveTo>
                  <a:cubicBezTo>
                    <a:pt x="1434" y="21349"/>
                    <a:pt x="2048" y="21361"/>
                    <a:pt x="2847" y="20889"/>
                  </a:cubicBezTo>
                  <a:cubicBezTo>
                    <a:pt x="3642" y="20407"/>
                    <a:pt x="4808" y="19530"/>
                    <a:pt x="5457" y="18970"/>
                  </a:cubicBezTo>
                  <a:cubicBezTo>
                    <a:pt x="6136" y="18459"/>
                    <a:pt x="7322" y="17481"/>
                    <a:pt x="8217" y="17028"/>
                  </a:cubicBezTo>
                  <a:cubicBezTo>
                    <a:pt x="9097" y="16557"/>
                    <a:pt x="10862" y="15073"/>
                    <a:pt x="12199" y="13831"/>
                  </a:cubicBezTo>
                  <a:cubicBezTo>
                    <a:pt x="13501" y="12553"/>
                    <a:pt x="15165" y="10705"/>
                    <a:pt x="15940" y="9763"/>
                  </a:cubicBezTo>
                  <a:cubicBezTo>
                    <a:pt x="16679" y="8804"/>
                    <a:pt x="17820" y="7008"/>
                    <a:pt x="18504" y="5849"/>
                  </a:cubicBezTo>
                  <a:cubicBezTo>
                    <a:pt x="19117" y="4642"/>
                    <a:pt x="19932" y="3423"/>
                    <a:pt x="19932" y="3010"/>
                  </a:cubicBezTo>
                  <a:cubicBezTo>
                    <a:pt x="19977" y="2598"/>
                    <a:pt x="20516" y="1586"/>
                    <a:pt x="21008" y="756"/>
                  </a:cubicBezTo>
                  <a:cubicBezTo>
                    <a:pt x="21506" y="-57"/>
                    <a:pt x="21103" y="-239"/>
                    <a:pt x="20128" y="332"/>
                  </a:cubicBezTo>
                  <a:cubicBezTo>
                    <a:pt x="19183" y="986"/>
                    <a:pt x="17956" y="1780"/>
                    <a:pt x="17523" y="2322"/>
                  </a:cubicBezTo>
                  <a:cubicBezTo>
                    <a:pt x="17076" y="2845"/>
                    <a:pt x="15130" y="4648"/>
                    <a:pt x="13154" y="6219"/>
                  </a:cubicBezTo>
                  <a:cubicBezTo>
                    <a:pt x="11254" y="7932"/>
                    <a:pt x="9474" y="9616"/>
                    <a:pt x="9177" y="9998"/>
                  </a:cubicBezTo>
                  <a:cubicBezTo>
                    <a:pt x="8916" y="10417"/>
                    <a:pt x="8051" y="11477"/>
                    <a:pt x="7307" y="12430"/>
                  </a:cubicBezTo>
                  <a:cubicBezTo>
                    <a:pt x="6537" y="13331"/>
                    <a:pt x="4913" y="14891"/>
                    <a:pt x="3667" y="15804"/>
                  </a:cubicBezTo>
                  <a:cubicBezTo>
                    <a:pt x="2455" y="16780"/>
                    <a:pt x="1092" y="17905"/>
                    <a:pt x="675" y="18335"/>
                  </a:cubicBezTo>
                  <a:cubicBezTo>
                    <a:pt x="208" y="18700"/>
                    <a:pt x="-94" y="19353"/>
                    <a:pt x="26" y="19530"/>
                  </a:cubicBezTo>
                  <a:cubicBezTo>
                    <a:pt x="-44" y="19742"/>
                    <a:pt x="509" y="19830"/>
                    <a:pt x="926" y="19966"/>
                  </a:cubicBezTo>
                  <a:cubicBezTo>
                    <a:pt x="1369" y="19860"/>
                    <a:pt x="1691" y="20407"/>
                    <a:pt x="1575" y="20879"/>
                  </a:cubicBezTo>
                  <a:close/>
                  <a:moveTo>
                    <a:pt x="1575" y="2087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6" name="AutoShape 1058"/>
            <p:cNvSpPr>
              <a:spLocks/>
            </p:cNvSpPr>
            <p:nvPr/>
          </p:nvSpPr>
          <p:spPr bwMode="auto">
            <a:xfrm>
              <a:off x="4648200" y="1727200"/>
              <a:ext cx="4763" cy="4763"/>
            </a:xfrm>
            <a:custGeom>
              <a:avLst/>
              <a:gdLst/>
              <a:ahLst/>
              <a:cxnLst/>
              <a:rect l="0" t="0" r="r" b="b"/>
              <a:pathLst>
                <a:path w="20135" h="19445">
                  <a:moveTo>
                    <a:pt x="19988" y="385"/>
                  </a:moveTo>
                  <a:cubicBezTo>
                    <a:pt x="20934" y="-1129"/>
                    <a:pt x="17237" y="1947"/>
                    <a:pt x="11804" y="7337"/>
                  </a:cubicBezTo>
                  <a:cubicBezTo>
                    <a:pt x="6367" y="12774"/>
                    <a:pt x="1058" y="17996"/>
                    <a:pt x="112" y="19167"/>
                  </a:cubicBezTo>
                  <a:cubicBezTo>
                    <a:pt x="-666" y="20471"/>
                    <a:pt x="2691" y="17016"/>
                    <a:pt x="8275" y="12215"/>
                  </a:cubicBezTo>
                  <a:cubicBezTo>
                    <a:pt x="13566" y="7055"/>
                    <a:pt x="19231" y="2043"/>
                    <a:pt x="19988" y="385"/>
                  </a:cubicBezTo>
                  <a:close/>
                  <a:moveTo>
                    <a:pt x="19988" y="38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7" name="AutoShape 1059"/>
            <p:cNvSpPr>
              <a:spLocks/>
            </p:cNvSpPr>
            <p:nvPr/>
          </p:nvSpPr>
          <p:spPr bwMode="auto">
            <a:xfrm>
              <a:off x="4787900" y="1624013"/>
              <a:ext cx="15875" cy="11112"/>
            </a:xfrm>
            <a:custGeom>
              <a:avLst/>
              <a:gdLst/>
              <a:ahLst/>
              <a:cxnLst/>
              <a:rect l="0" t="0" r="r" b="b"/>
              <a:pathLst>
                <a:path w="21377" h="21037">
                  <a:moveTo>
                    <a:pt x="4377" y="20560"/>
                  </a:moveTo>
                  <a:cubicBezTo>
                    <a:pt x="5365" y="19740"/>
                    <a:pt x="6861" y="18635"/>
                    <a:pt x="7748" y="18363"/>
                  </a:cubicBezTo>
                  <a:cubicBezTo>
                    <a:pt x="8580" y="17848"/>
                    <a:pt x="10700" y="16014"/>
                    <a:pt x="12474" y="14192"/>
                  </a:cubicBezTo>
                  <a:cubicBezTo>
                    <a:pt x="14263" y="12419"/>
                    <a:pt x="16891" y="9232"/>
                    <a:pt x="18355" y="7271"/>
                  </a:cubicBezTo>
                  <a:cubicBezTo>
                    <a:pt x="19961" y="5567"/>
                    <a:pt x="20944" y="3569"/>
                    <a:pt x="20823" y="3228"/>
                  </a:cubicBezTo>
                  <a:cubicBezTo>
                    <a:pt x="20642" y="2958"/>
                    <a:pt x="21062" y="2029"/>
                    <a:pt x="21221" y="1042"/>
                  </a:cubicBezTo>
                  <a:cubicBezTo>
                    <a:pt x="21600" y="186"/>
                    <a:pt x="21260" y="-250"/>
                    <a:pt x="20532" y="150"/>
                  </a:cubicBezTo>
                  <a:cubicBezTo>
                    <a:pt x="19804" y="631"/>
                    <a:pt x="18173" y="1772"/>
                    <a:pt x="16985" y="2946"/>
                  </a:cubicBezTo>
                  <a:cubicBezTo>
                    <a:pt x="15774" y="4027"/>
                    <a:pt x="13542" y="5625"/>
                    <a:pt x="12015" y="6436"/>
                  </a:cubicBezTo>
                  <a:cubicBezTo>
                    <a:pt x="10486" y="7329"/>
                    <a:pt x="8270" y="9032"/>
                    <a:pt x="7043" y="10303"/>
                  </a:cubicBezTo>
                  <a:cubicBezTo>
                    <a:pt x="5840" y="11548"/>
                    <a:pt x="3838" y="13757"/>
                    <a:pt x="2532" y="15027"/>
                  </a:cubicBezTo>
                  <a:cubicBezTo>
                    <a:pt x="1186" y="16166"/>
                    <a:pt x="149" y="17637"/>
                    <a:pt x="0" y="17894"/>
                  </a:cubicBezTo>
                  <a:cubicBezTo>
                    <a:pt x="229" y="17894"/>
                    <a:pt x="412" y="18248"/>
                    <a:pt x="1068" y="17718"/>
                  </a:cubicBezTo>
                  <a:cubicBezTo>
                    <a:pt x="1757" y="17259"/>
                    <a:pt x="2699" y="17095"/>
                    <a:pt x="2960" y="17564"/>
                  </a:cubicBezTo>
                  <a:cubicBezTo>
                    <a:pt x="3371" y="17718"/>
                    <a:pt x="3094" y="18941"/>
                    <a:pt x="3094" y="20079"/>
                  </a:cubicBezTo>
                  <a:cubicBezTo>
                    <a:pt x="2793" y="21138"/>
                    <a:pt x="3380" y="21350"/>
                    <a:pt x="4377" y="20560"/>
                  </a:cubicBezTo>
                  <a:close/>
                  <a:moveTo>
                    <a:pt x="4377" y="205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8" name="AutoShape 1060"/>
            <p:cNvSpPr>
              <a:spLocks/>
            </p:cNvSpPr>
            <p:nvPr/>
          </p:nvSpPr>
          <p:spPr bwMode="auto">
            <a:xfrm>
              <a:off x="4648200" y="1689100"/>
              <a:ext cx="58738" cy="46038"/>
            </a:xfrm>
            <a:custGeom>
              <a:avLst/>
              <a:gdLst/>
              <a:ahLst/>
              <a:cxnLst/>
              <a:rect l="0" t="0" r="r" b="b"/>
              <a:pathLst>
                <a:path w="21445" h="21528">
                  <a:moveTo>
                    <a:pt x="1725" y="21076"/>
                  </a:moveTo>
                  <a:cubicBezTo>
                    <a:pt x="1899" y="20916"/>
                    <a:pt x="2360" y="20498"/>
                    <a:pt x="2674" y="20048"/>
                  </a:cubicBezTo>
                  <a:cubicBezTo>
                    <a:pt x="3038" y="19668"/>
                    <a:pt x="3491" y="19170"/>
                    <a:pt x="3713" y="18967"/>
                  </a:cubicBezTo>
                  <a:cubicBezTo>
                    <a:pt x="3961" y="18838"/>
                    <a:pt x="4425" y="18332"/>
                    <a:pt x="4803" y="17996"/>
                  </a:cubicBezTo>
                  <a:cubicBezTo>
                    <a:pt x="5176" y="17642"/>
                    <a:pt x="6047" y="16695"/>
                    <a:pt x="6739" y="15891"/>
                  </a:cubicBezTo>
                  <a:cubicBezTo>
                    <a:pt x="7433" y="15095"/>
                    <a:pt x="9387" y="12912"/>
                    <a:pt x="11126" y="11091"/>
                  </a:cubicBezTo>
                  <a:cubicBezTo>
                    <a:pt x="12861" y="9272"/>
                    <a:pt x="14966" y="7022"/>
                    <a:pt x="15844" y="6144"/>
                  </a:cubicBezTo>
                  <a:cubicBezTo>
                    <a:pt x="16717" y="5268"/>
                    <a:pt x="18134" y="3780"/>
                    <a:pt x="19003" y="2870"/>
                  </a:cubicBezTo>
                  <a:cubicBezTo>
                    <a:pt x="19869" y="1963"/>
                    <a:pt x="20849" y="941"/>
                    <a:pt x="21118" y="535"/>
                  </a:cubicBezTo>
                  <a:cubicBezTo>
                    <a:pt x="21411" y="163"/>
                    <a:pt x="21529" y="-72"/>
                    <a:pt x="21382" y="19"/>
                  </a:cubicBezTo>
                  <a:cubicBezTo>
                    <a:pt x="21240" y="120"/>
                    <a:pt x="20486" y="787"/>
                    <a:pt x="19691" y="1468"/>
                  </a:cubicBezTo>
                  <a:cubicBezTo>
                    <a:pt x="18906" y="2174"/>
                    <a:pt x="18128" y="2881"/>
                    <a:pt x="17936" y="2984"/>
                  </a:cubicBezTo>
                  <a:cubicBezTo>
                    <a:pt x="17755" y="3121"/>
                    <a:pt x="17293" y="3571"/>
                    <a:pt x="16879" y="3940"/>
                  </a:cubicBezTo>
                  <a:cubicBezTo>
                    <a:pt x="16477" y="4341"/>
                    <a:pt x="15618" y="5116"/>
                    <a:pt x="14970" y="5688"/>
                  </a:cubicBezTo>
                  <a:cubicBezTo>
                    <a:pt x="14333" y="6272"/>
                    <a:pt x="13166" y="7363"/>
                    <a:pt x="12413" y="8158"/>
                  </a:cubicBezTo>
                  <a:cubicBezTo>
                    <a:pt x="11644" y="8931"/>
                    <a:pt x="10807" y="9763"/>
                    <a:pt x="10565" y="10007"/>
                  </a:cubicBezTo>
                  <a:cubicBezTo>
                    <a:pt x="10310" y="10233"/>
                    <a:pt x="9692" y="10862"/>
                    <a:pt x="9190" y="11386"/>
                  </a:cubicBezTo>
                  <a:cubicBezTo>
                    <a:pt x="8704" y="11936"/>
                    <a:pt x="7777" y="12886"/>
                    <a:pt x="7116" y="13464"/>
                  </a:cubicBezTo>
                  <a:cubicBezTo>
                    <a:pt x="6472" y="14064"/>
                    <a:pt x="5004" y="15662"/>
                    <a:pt x="3790" y="16915"/>
                  </a:cubicBezTo>
                  <a:cubicBezTo>
                    <a:pt x="2615" y="18228"/>
                    <a:pt x="1195" y="19733"/>
                    <a:pt x="747" y="20403"/>
                  </a:cubicBezTo>
                  <a:cubicBezTo>
                    <a:pt x="220" y="20975"/>
                    <a:pt x="-71" y="21528"/>
                    <a:pt x="15" y="21528"/>
                  </a:cubicBezTo>
                  <a:cubicBezTo>
                    <a:pt x="94" y="21479"/>
                    <a:pt x="379" y="21339"/>
                    <a:pt x="621" y="21101"/>
                  </a:cubicBezTo>
                  <a:cubicBezTo>
                    <a:pt x="878" y="20896"/>
                    <a:pt x="1224" y="20538"/>
                    <a:pt x="1442" y="20446"/>
                  </a:cubicBezTo>
                  <a:cubicBezTo>
                    <a:pt x="1634" y="20277"/>
                    <a:pt x="1749" y="20475"/>
                    <a:pt x="1607" y="20778"/>
                  </a:cubicBezTo>
                  <a:cubicBezTo>
                    <a:pt x="1523" y="21104"/>
                    <a:pt x="1555" y="21244"/>
                    <a:pt x="1725" y="21076"/>
                  </a:cubicBezTo>
                  <a:close/>
                  <a:moveTo>
                    <a:pt x="1725" y="210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59" name="AutoShape 1061"/>
            <p:cNvSpPr>
              <a:spLocks/>
            </p:cNvSpPr>
            <p:nvPr/>
          </p:nvSpPr>
          <p:spPr bwMode="auto">
            <a:xfrm>
              <a:off x="4826000" y="1600200"/>
              <a:ext cx="6350" cy="3175"/>
            </a:xfrm>
            <a:custGeom>
              <a:avLst/>
              <a:gdLst/>
              <a:ahLst/>
              <a:cxnLst/>
              <a:rect l="0" t="0" r="r" b="b"/>
              <a:pathLst>
                <a:path w="19670" h="20670">
                  <a:moveTo>
                    <a:pt x="3121" y="15213"/>
                  </a:moveTo>
                  <a:cubicBezTo>
                    <a:pt x="676" y="18497"/>
                    <a:pt x="-642" y="20670"/>
                    <a:pt x="312" y="20670"/>
                  </a:cubicBezTo>
                  <a:cubicBezTo>
                    <a:pt x="1247" y="20209"/>
                    <a:pt x="4208" y="17902"/>
                    <a:pt x="6978" y="15296"/>
                  </a:cubicBezTo>
                  <a:cubicBezTo>
                    <a:pt x="9821" y="12879"/>
                    <a:pt x="14558" y="7155"/>
                    <a:pt x="17731" y="3060"/>
                  </a:cubicBezTo>
                  <a:cubicBezTo>
                    <a:pt x="20958" y="-930"/>
                    <a:pt x="20097" y="-930"/>
                    <a:pt x="15591" y="2543"/>
                  </a:cubicBezTo>
                  <a:cubicBezTo>
                    <a:pt x="11292" y="6617"/>
                    <a:pt x="5600" y="12068"/>
                    <a:pt x="3121" y="15213"/>
                  </a:cubicBezTo>
                  <a:close/>
                  <a:moveTo>
                    <a:pt x="3121" y="152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0" name="AutoShape 1062"/>
            <p:cNvSpPr>
              <a:spLocks/>
            </p:cNvSpPr>
            <p:nvPr/>
          </p:nvSpPr>
          <p:spPr bwMode="auto">
            <a:xfrm>
              <a:off x="3670300" y="3098800"/>
              <a:ext cx="3175" cy="17463"/>
            </a:xfrm>
            <a:custGeom>
              <a:avLst/>
              <a:gdLst/>
              <a:ahLst/>
              <a:cxnLst/>
              <a:rect l="0" t="0" r="r" b="b"/>
              <a:pathLst>
                <a:path w="20467" h="20717">
                  <a:moveTo>
                    <a:pt x="18278" y="434"/>
                  </a:moveTo>
                  <a:cubicBezTo>
                    <a:pt x="16547" y="1637"/>
                    <a:pt x="13440" y="3670"/>
                    <a:pt x="12118" y="4975"/>
                  </a:cubicBezTo>
                  <a:cubicBezTo>
                    <a:pt x="11151" y="6314"/>
                    <a:pt x="8741" y="8851"/>
                    <a:pt x="8741" y="10666"/>
                  </a:cubicBezTo>
                  <a:cubicBezTo>
                    <a:pt x="7538" y="12460"/>
                    <a:pt x="5808" y="15439"/>
                    <a:pt x="3253" y="17220"/>
                  </a:cubicBezTo>
                  <a:cubicBezTo>
                    <a:pt x="1054" y="19029"/>
                    <a:pt x="-677" y="20592"/>
                    <a:pt x="260" y="20701"/>
                  </a:cubicBezTo>
                  <a:cubicBezTo>
                    <a:pt x="1023" y="20871"/>
                    <a:pt x="4137" y="19647"/>
                    <a:pt x="6980" y="18097"/>
                  </a:cubicBezTo>
                  <a:cubicBezTo>
                    <a:pt x="10093" y="16574"/>
                    <a:pt x="13290" y="13705"/>
                    <a:pt x="15081" y="11795"/>
                  </a:cubicBezTo>
                  <a:cubicBezTo>
                    <a:pt x="16872" y="9898"/>
                    <a:pt x="19571" y="6076"/>
                    <a:pt x="19978" y="3295"/>
                  </a:cubicBezTo>
                  <a:cubicBezTo>
                    <a:pt x="20923" y="521"/>
                    <a:pt x="20569" y="-729"/>
                    <a:pt x="18278" y="434"/>
                  </a:cubicBezTo>
                  <a:close/>
                  <a:moveTo>
                    <a:pt x="18278" y="4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1" name="AutoShape 1063"/>
            <p:cNvSpPr>
              <a:spLocks/>
            </p:cNvSpPr>
            <p:nvPr/>
          </p:nvSpPr>
          <p:spPr bwMode="auto">
            <a:xfrm>
              <a:off x="4914900" y="1611313"/>
              <a:ext cx="63500" cy="52387"/>
            </a:xfrm>
            <a:custGeom>
              <a:avLst/>
              <a:gdLst/>
              <a:ahLst/>
              <a:cxnLst/>
              <a:rect l="0" t="0" r="r" b="b"/>
              <a:pathLst>
                <a:path w="21525" h="21437">
                  <a:moveTo>
                    <a:pt x="20037" y="6032"/>
                  </a:moveTo>
                  <a:cubicBezTo>
                    <a:pt x="20290" y="5511"/>
                    <a:pt x="20695" y="4873"/>
                    <a:pt x="20962" y="4654"/>
                  </a:cubicBezTo>
                  <a:cubicBezTo>
                    <a:pt x="21227" y="4435"/>
                    <a:pt x="21441" y="3940"/>
                    <a:pt x="21519" y="3625"/>
                  </a:cubicBezTo>
                  <a:cubicBezTo>
                    <a:pt x="21556" y="3294"/>
                    <a:pt x="21422" y="3025"/>
                    <a:pt x="21246" y="2860"/>
                  </a:cubicBezTo>
                  <a:cubicBezTo>
                    <a:pt x="21023" y="2830"/>
                    <a:pt x="20997" y="2326"/>
                    <a:pt x="21227" y="1942"/>
                  </a:cubicBezTo>
                  <a:cubicBezTo>
                    <a:pt x="21428" y="1538"/>
                    <a:pt x="21496" y="1141"/>
                    <a:pt x="21424" y="1020"/>
                  </a:cubicBezTo>
                  <a:cubicBezTo>
                    <a:pt x="21354" y="902"/>
                    <a:pt x="21258" y="590"/>
                    <a:pt x="21373" y="346"/>
                  </a:cubicBezTo>
                  <a:cubicBezTo>
                    <a:pt x="21383" y="69"/>
                    <a:pt x="21077" y="-58"/>
                    <a:pt x="20588" y="26"/>
                  </a:cubicBezTo>
                  <a:cubicBezTo>
                    <a:pt x="20106" y="119"/>
                    <a:pt x="19264" y="514"/>
                    <a:pt x="18744" y="938"/>
                  </a:cubicBezTo>
                  <a:cubicBezTo>
                    <a:pt x="18191" y="1307"/>
                    <a:pt x="17502" y="1810"/>
                    <a:pt x="17148" y="1899"/>
                  </a:cubicBezTo>
                  <a:cubicBezTo>
                    <a:pt x="16797" y="1996"/>
                    <a:pt x="16030" y="2375"/>
                    <a:pt x="15463" y="2763"/>
                  </a:cubicBezTo>
                  <a:cubicBezTo>
                    <a:pt x="14885" y="3122"/>
                    <a:pt x="14213" y="3632"/>
                    <a:pt x="13983" y="3902"/>
                  </a:cubicBezTo>
                  <a:cubicBezTo>
                    <a:pt x="13732" y="4158"/>
                    <a:pt x="13656" y="4494"/>
                    <a:pt x="13754" y="4659"/>
                  </a:cubicBezTo>
                  <a:cubicBezTo>
                    <a:pt x="13904" y="4736"/>
                    <a:pt x="13917" y="5112"/>
                    <a:pt x="13800" y="5290"/>
                  </a:cubicBezTo>
                  <a:cubicBezTo>
                    <a:pt x="13723" y="5503"/>
                    <a:pt x="13495" y="5735"/>
                    <a:pt x="13323" y="5806"/>
                  </a:cubicBezTo>
                  <a:cubicBezTo>
                    <a:pt x="13160" y="5915"/>
                    <a:pt x="12815" y="5910"/>
                    <a:pt x="12570" y="5862"/>
                  </a:cubicBezTo>
                  <a:cubicBezTo>
                    <a:pt x="12328" y="5885"/>
                    <a:pt x="11863" y="5920"/>
                    <a:pt x="11526" y="6083"/>
                  </a:cubicBezTo>
                  <a:cubicBezTo>
                    <a:pt x="11193" y="6263"/>
                    <a:pt x="10724" y="6700"/>
                    <a:pt x="10416" y="6965"/>
                  </a:cubicBezTo>
                  <a:cubicBezTo>
                    <a:pt x="10165" y="7311"/>
                    <a:pt x="10227" y="7320"/>
                    <a:pt x="10636" y="7135"/>
                  </a:cubicBezTo>
                  <a:cubicBezTo>
                    <a:pt x="11043" y="6929"/>
                    <a:pt x="11454" y="6769"/>
                    <a:pt x="11499" y="6871"/>
                  </a:cubicBezTo>
                  <a:cubicBezTo>
                    <a:pt x="11567" y="6954"/>
                    <a:pt x="11497" y="7132"/>
                    <a:pt x="11382" y="7356"/>
                  </a:cubicBezTo>
                  <a:cubicBezTo>
                    <a:pt x="11220" y="7526"/>
                    <a:pt x="10609" y="8004"/>
                    <a:pt x="10002" y="8426"/>
                  </a:cubicBezTo>
                  <a:cubicBezTo>
                    <a:pt x="9380" y="8817"/>
                    <a:pt x="8672" y="9334"/>
                    <a:pt x="8418" y="9547"/>
                  </a:cubicBezTo>
                  <a:cubicBezTo>
                    <a:pt x="8148" y="9735"/>
                    <a:pt x="7936" y="10178"/>
                    <a:pt x="7969" y="10449"/>
                  </a:cubicBezTo>
                  <a:cubicBezTo>
                    <a:pt x="8004" y="10724"/>
                    <a:pt x="8045" y="10963"/>
                    <a:pt x="8122" y="10930"/>
                  </a:cubicBezTo>
                  <a:cubicBezTo>
                    <a:pt x="8189" y="10889"/>
                    <a:pt x="8175" y="11031"/>
                    <a:pt x="8095" y="11200"/>
                  </a:cubicBezTo>
                  <a:cubicBezTo>
                    <a:pt x="7990" y="11347"/>
                    <a:pt x="7598" y="11583"/>
                    <a:pt x="7196" y="11702"/>
                  </a:cubicBezTo>
                  <a:cubicBezTo>
                    <a:pt x="6795" y="11832"/>
                    <a:pt x="5994" y="12252"/>
                    <a:pt x="5416" y="12666"/>
                  </a:cubicBezTo>
                  <a:cubicBezTo>
                    <a:pt x="4841" y="13088"/>
                    <a:pt x="3965" y="13815"/>
                    <a:pt x="3475" y="14295"/>
                  </a:cubicBezTo>
                  <a:cubicBezTo>
                    <a:pt x="3005" y="14801"/>
                    <a:pt x="2293" y="15614"/>
                    <a:pt x="1884" y="16082"/>
                  </a:cubicBezTo>
                  <a:cubicBezTo>
                    <a:pt x="1533" y="16628"/>
                    <a:pt x="1021" y="17178"/>
                    <a:pt x="817" y="17376"/>
                  </a:cubicBezTo>
                  <a:cubicBezTo>
                    <a:pt x="626" y="17595"/>
                    <a:pt x="470" y="17813"/>
                    <a:pt x="507" y="17864"/>
                  </a:cubicBezTo>
                  <a:cubicBezTo>
                    <a:pt x="544" y="17917"/>
                    <a:pt x="708" y="17912"/>
                    <a:pt x="885" y="17834"/>
                  </a:cubicBezTo>
                  <a:cubicBezTo>
                    <a:pt x="1060" y="17750"/>
                    <a:pt x="1048" y="17920"/>
                    <a:pt x="838" y="18179"/>
                  </a:cubicBezTo>
                  <a:cubicBezTo>
                    <a:pt x="663" y="18471"/>
                    <a:pt x="322" y="18873"/>
                    <a:pt x="178" y="19161"/>
                  </a:cubicBezTo>
                  <a:cubicBezTo>
                    <a:pt x="3" y="19430"/>
                    <a:pt x="-44" y="19643"/>
                    <a:pt x="42" y="19602"/>
                  </a:cubicBezTo>
                  <a:cubicBezTo>
                    <a:pt x="143" y="19602"/>
                    <a:pt x="599" y="19185"/>
                    <a:pt x="1021" y="18685"/>
                  </a:cubicBezTo>
                  <a:cubicBezTo>
                    <a:pt x="1485" y="18253"/>
                    <a:pt x="1893" y="17859"/>
                    <a:pt x="1967" y="17834"/>
                  </a:cubicBezTo>
                  <a:cubicBezTo>
                    <a:pt x="2038" y="17821"/>
                    <a:pt x="1794" y="18255"/>
                    <a:pt x="1416" y="18776"/>
                  </a:cubicBezTo>
                  <a:cubicBezTo>
                    <a:pt x="1039" y="19303"/>
                    <a:pt x="675" y="19849"/>
                    <a:pt x="661" y="20004"/>
                  </a:cubicBezTo>
                  <a:cubicBezTo>
                    <a:pt x="647" y="20159"/>
                    <a:pt x="789" y="20337"/>
                    <a:pt x="1015" y="20296"/>
                  </a:cubicBezTo>
                  <a:cubicBezTo>
                    <a:pt x="1239" y="20334"/>
                    <a:pt x="1605" y="20126"/>
                    <a:pt x="1856" y="19956"/>
                  </a:cubicBezTo>
                  <a:cubicBezTo>
                    <a:pt x="2080" y="19740"/>
                    <a:pt x="2353" y="19623"/>
                    <a:pt x="2450" y="19623"/>
                  </a:cubicBezTo>
                  <a:cubicBezTo>
                    <a:pt x="2542" y="19636"/>
                    <a:pt x="2489" y="19923"/>
                    <a:pt x="2371" y="20279"/>
                  </a:cubicBezTo>
                  <a:cubicBezTo>
                    <a:pt x="2209" y="20607"/>
                    <a:pt x="2246" y="20785"/>
                    <a:pt x="2419" y="20713"/>
                  </a:cubicBezTo>
                  <a:cubicBezTo>
                    <a:pt x="2579" y="20607"/>
                    <a:pt x="2910" y="20225"/>
                    <a:pt x="3210" y="19945"/>
                  </a:cubicBezTo>
                  <a:cubicBezTo>
                    <a:pt x="3479" y="19613"/>
                    <a:pt x="3917" y="19257"/>
                    <a:pt x="4180" y="19183"/>
                  </a:cubicBezTo>
                  <a:cubicBezTo>
                    <a:pt x="4431" y="19056"/>
                    <a:pt x="4386" y="19440"/>
                    <a:pt x="4113" y="20014"/>
                  </a:cubicBezTo>
                  <a:cubicBezTo>
                    <a:pt x="3794" y="20550"/>
                    <a:pt x="3570" y="21168"/>
                    <a:pt x="3529" y="21329"/>
                  </a:cubicBezTo>
                  <a:cubicBezTo>
                    <a:pt x="3541" y="21496"/>
                    <a:pt x="3850" y="21321"/>
                    <a:pt x="4341" y="21039"/>
                  </a:cubicBezTo>
                  <a:cubicBezTo>
                    <a:pt x="4806" y="20706"/>
                    <a:pt x="5116" y="20736"/>
                    <a:pt x="5030" y="21094"/>
                  </a:cubicBezTo>
                  <a:cubicBezTo>
                    <a:pt x="4995" y="21461"/>
                    <a:pt x="5215" y="21542"/>
                    <a:pt x="5640" y="21298"/>
                  </a:cubicBezTo>
                  <a:cubicBezTo>
                    <a:pt x="6080" y="21084"/>
                    <a:pt x="6750" y="20889"/>
                    <a:pt x="7161" y="20871"/>
                  </a:cubicBezTo>
                  <a:cubicBezTo>
                    <a:pt x="7564" y="20937"/>
                    <a:pt x="8241" y="20645"/>
                    <a:pt x="8679" y="20439"/>
                  </a:cubicBezTo>
                  <a:cubicBezTo>
                    <a:pt x="9104" y="20187"/>
                    <a:pt x="9540" y="20009"/>
                    <a:pt x="9583" y="20101"/>
                  </a:cubicBezTo>
                  <a:cubicBezTo>
                    <a:pt x="9669" y="20085"/>
                    <a:pt x="9914" y="20083"/>
                    <a:pt x="10076" y="19836"/>
                  </a:cubicBezTo>
                  <a:cubicBezTo>
                    <a:pt x="10288" y="19659"/>
                    <a:pt x="10391" y="19257"/>
                    <a:pt x="10473" y="19051"/>
                  </a:cubicBezTo>
                  <a:cubicBezTo>
                    <a:pt x="10473" y="18820"/>
                    <a:pt x="10887" y="18387"/>
                    <a:pt x="11320" y="18044"/>
                  </a:cubicBezTo>
                  <a:cubicBezTo>
                    <a:pt x="11762" y="17716"/>
                    <a:pt x="12537" y="16888"/>
                    <a:pt x="13045" y="16204"/>
                  </a:cubicBezTo>
                  <a:cubicBezTo>
                    <a:pt x="13528" y="15493"/>
                    <a:pt x="14065" y="14659"/>
                    <a:pt x="14151" y="14278"/>
                  </a:cubicBezTo>
                  <a:cubicBezTo>
                    <a:pt x="14291" y="13924"/>
                    <a:pt x="14838" y="12991"/>
                    <a:pt x="15446" y="12234"/>
                  </a:cubicBezTo>
                  <a:cubicBezTo>
                    <a:pt x="16075" y="11497"/>
                    <a:pt x="16756" y="10656"/>
                    <a:pt x="17013" y="10417"/>
                  </a:cubicBezTo>
                  <a:cubicBezTo>
                    <a:pt x="17243" y="10150"/>
                    <a:pt x="17946" y="9303"/>
                    <a:pt x="18509" y="8462"/>
                  </a:cubicBezTo>
                  <a:cubicBezTo>
                    <a:pt x="19079" y="7621"/>
                    <a:pt x="19840" y="6583"/>
                    <a:pt x="20037" y="6032"/>
                  </a:cubicBezTo>
                  <a:close/>
                  <a:moveTo>
                    <a:pt x="20037" y="60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2" name="AutoShape 1064"/>
            <p:cNvSpPr>
              <a:spLocks/>
            </p:cNvSpPr>
            <p:nvPr/>
          </p:nvSpPr>
          <p:spPr bwMode="auto">
            <a:xfrm>
              <a:off x="4864100" y="1651000"/>
              <a:ext cx="1588" cy="1588"/>
            </a:xfrm>
            <a:custGeom>
              <a:avLst/>
              <a:gdLst/>
              <a:ahLst/>
              <a:cxnLst/>
              <a:rect l="0" t="0" r="r" b="b"/>
              <a:pathLst>
                <a:path w="19534" h="20175">
                  <a:moveTo>
                    <a:pt x="19125" y="0"/>
                  </a:moveTo>
                  <a:cubicBezTo>
                    <a:pt x="16782" y="0"/>
                    <a:pt x="11023" y="1635"/>
                    <a:pt x="6446" y="7200"/>
                  </a:cubicBezTo>
                  <a:cubicBezTo>
                    <a:pt x="1442" y="12384"/>
                    <a:pt x="-952" y="17729"/>
                    <a:pt x="350" y="19688"/>
                  </a:cubicBezTo>
                  <a:cubicBezTo>
                    <a:pt x="1822" y="21600"/>
                    <a:pt x="7215" y="17613"/>
                    <a:pt x="13086" y="12442"/>
                  </a:cubicBezTo>
                  <a:cubicBezTo>
                    <a:pt x="17765" y="6082"/>
                    <a:pt x="20648" y="1867"/>
                    <a:pt x="19125" y="0"/>
                  </a:cubicBezTo>
                  <a:close/>
                  <a:moveTo>
                    <a:pt x="19125"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3" name="AutoShape 1065"/>
            <p:cNvSpPr>
              <a:spLocks/>
            </p:cNvSpPr>
            <p:nvPr/>
          </p:nvSpPr>
          <p:spPr bwMode="auto">
            <a:xfrm>
              <a:off x="3670300" y="3136900"/>
              <a:ext cx="1588" cy="4763"/>
            </a:xfrm>
            <a:custGeom>
              <a:avLst/>
              <a:gdLst/>
              <a:ahLst/>
              <a:cxnLst/>
              <a:rect l="0" t="0" r="r" b="b"/>
              <a:pathLst>
                <a:path w="19292" h="19438">
                  <a:moveTo>
                    <a:pt x="8630" y="6750"/>
                  </a:moveTo>
                  <a:cubicBezTo>
                    <a:pt x="2159" y="12662"/>
                    <a:pt x="-1323" y="18130"/>
                    <a:pt x="468" y="19336"/>
                  </a:cubicBezTo>
                  <a:cubicBezTo>
                    <a:pt x="3318" y="19926"/>
                    <a:pt x="7522" y="17909"/>
                    <a:pt x="10946" y="13747"/>
                  </a:cubicBezTo>
                  <a:cubicBezTo>
                    <a:pt x="14618" y="9606"/>
                    <a:pt x="18199" y="3890"/>
                    <a:pt x="19108" y="1111"/>
                  </a:cubicBezTo>
                  <a:cubicBezTo>
                    <a:pt x="20277" y="-1674"/>
                    <a:pt x="15735" y="985"/>
                    <a:pt x="8630" y="6750"/>
                  </a:cubicBezTo>
                  <a:close/>
                  <a:moveTo>
                    <a:pt x="8630" y="67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4" name="AutoShape 1066"/>
            <p:cNvSpPr>
              <a:spLocks/>
            </p:cNvSpPr>
            <p:nvPr/>
          </p:nvSpPr>
          <p:spPr bwMode="auto">
            <a:xfrm>
              <a:off x="4851400" y="1562100"/>
              <a:ext cx="141288" cy="115888"/>
            </a:xfrm>
            <a:custGeom>
              <a:avLst/>
              <a:gdLst/>
              <a:ahLst/>
              <a:cxnLst/>
              <a:rect l="0" t="0" r="r" b="b"/>
              <a:pathLst>
                <a:path w="21568" h="21544">
                  <a:moveTo>
                    <a:pt x="490" y="21375"/>
                  </a:moveTo>
                  <a:cubicBezTo>
                    <a:pt x="680" y="21256"/>
                    <a:pt x="890" y="21163"/>
                    <a:pt x="927" y="21218"/>
                  </a:cubicBezTo>
                  <a:cubicBezTo>
                    <a:pt x="982" y="21246"/>
                    <a:pt x="1100" y="21233"/>
                    <a:pt x="1184" y="21159"/>
                  </a:cubicBezTo>
                  <a:cubicBezTo>
                    <a:pt x="1277" y="21099"/>
                    <a:pt x="1449" y="20887"/>
                    <a:pt x="1600" y="20734"/>
                  </a:cubicBezTo>
                  <a:cubicBezTo>
                    <a:pt x="1727" y="20549"/>
                    <a:pt x="2103" y="20239"/>
                    <a:pt x="2397" y="19989"/>
                  </a:cubicBezTo>
                  <a:cubicBezTo>
                    <a:pt x="2695" y="19748"/>
                    <a:pt x="2751" y="19764"/>
                    <a:pt x="2508" y="20011"/>
                  </a:cubicBezTo>
                  <a:cubicBezTo>
                    <a:pt x="2283" y="20279"/>
                    <a:pt x="2062" y="20556"/>
                    <a:pt x="2018" y="20644"/>
                  </a:cubicBezTo>
                  <a:cubicBezTo>
                    <a:pt x="1979" y="20734"/>
                    <a:pt x="2080" y="20771"/>
                    <a:pt x="2216" y="20688"/>
                  </a:cubicBezTo>
                  <a:cubicBezTo>
                    <a:pt x="2362" y="20636"/>
                    <a:pt x="2637" y="20372"/>
                    <a:pt x="2856" y="20165"/>
                  </a:cubicBezTo>
                  <a:cubicBezTo>
                    <a:pt x="3070" y="19951"/>
                    <a:pt x="3251" y="19810"/>
                    <a:pt x="3279" y="19851"/>
                  </a:cubicBezTo>
                  <a:cubicBezTo>
                    <a:pt x="3306" y="19892"/>
                    <a:pt x="3270" y="20041"/>
                    <a:pt x="3223" y="20179"/>
                  </a:cubicBezTo>
                  <a:cubicBezTo>
                    <a:pt x="3173" y="20316"/>
                    <a:pt x="3546" y="20182"/>
                    <a:pt x="4070" y="19915"/>
                  </a:cubicBezTo>
                  <a:cubicBezTo>
                    <a:pt x="4591" y="19633"/>
                    <a:pt x="5214" y="19199"/>
                    <a:pt x="5444" y="18937"/>
                  </a:cubicBezTo>
                  <a:cubicBezTo>
                    <a:pt x="5686" y="18690"/>
                    <a:pt x="5903" y="18400"/>
                    <a:pt x="5896" y="18309"/>
                  </a:cubicBezTo>
                  <a:cubicBezTo>
                    <a:pt x="5933" y="18232"/>
                    <a:pt x="6006" y="18016"/>
                    <a:pt x="6112" y="17852"/>
                  </a:cubicBezTo>
                  <a:cubicBezTo>
                    <a:pt x="6219" y="17689"/>
                    <a:pt x="6403" y="17452"/>
                    <a:pt x="6520" y="17319"/>
                  </a:cubicBezTo>
                  <a:cubicBezTo>
                    <a:pt x="6638" y="17192"/>
                    <a:pt x="6733" y="17144"/>
                    <a:pt x="6727" y="17214"/>
                  </a:cubicBezTo>
                  <a:cubicBezTo>
                    <a:pt x="6720" y="17286"/>
                    <a:pt x="6659" y="17482"/>
                    <a:pt x="6584" y="17646"/>
                  </a:cubicBezTo>
                  <a:cubicBezTo>
                    <a:pt x="6512" y="17811"/>
                    <a:pt x="6467" y="18038"/>
                    <a:pt x="6489" y="18149"/>
                  </a:cubicBezTo>
                  <a:cubicBezTo>
                    <a:pt x="6511" y="18261"/>
                    <a:pt x="6623" y="18268"/>
                    <a:pt x="6721" y="18149"/>
                  </a:cubicBezTo>
                  <a:cubicBezTo>
                    <a:pt x="6830" y="18040"/>
                    <a:pt x="6990" y="17802"/>
                    <a:pt x="7089" y="17634"/>
                  </a:cubicBezTo>
                  <a:cubicBezTo>
                    <a:pt x="7187" y="17463"/>
                    <a:pt x="7291" y="17263"/>
                    <a:pt x="7324" y="17189"/>
                  </a:cubicBezTo>
                  <a:cubicBezTo>
                    <a:pt x="7346" y="17108"/>
                    <a:pt x="7496" y="16920"/>
                    <a:pt x="7644" y="16771"/>
                  </a:cubicBezTo>
                  <a:cubicBezTo>
                    <a:pt x="7781" y="16606"/>
                    <a:pt x="7980" y="16398"/>
                    <a:pt x="8056" y="16274"/>
                  </a:cubicBezTo>
                  <a:cubicBezTo>
                    <a:pt x="8143" y="16160"/>
                    <a:pt x="8049" y="16154"/>
                    <a:pt x="7863" y="16284"/>
                  </a:cubicBezTo>
                  <a:cubicBezTo>
                    <a:pt x="7676" y="16412"/>
                    <a:pt x="7449" y="16521"/>
                    <a:pt x="7360" y="16542"/>
                  </a:cubicBezTo>
                  <a:cubicBezTo>
                    <a:pt x="7275" y="16580"/>
                    <a:pt x="7321" y="16406"/>
                    <a:pt x="7479" y="16213"/>
                  </a:cubicBezTo>
                  <a:cubicBezTo>
                    <a:pt x="7632" y="16010"/>
                    <a:pt x="7935" y="15719"/>
                    <a:pt x="8156" y="15583"/>
                  </a:cubicBezTo>
                  <a:cubicBezTo>
                    <a:pt x="8367" y="15427"/>
                    <a:pt x="8682" y="15174"/>
                    <a:pt x="8847" y="15001"/>
                  </a:cubicBezTo>
                  <a:cubicBezTo>
                    <a:pt x="9016" y="14830"/>
                    <a:pt x="9276" y="14575"/>
                    <a:pt x="9426" y="14437"/>
                  </a:cubicBezTo>
                  <a:cubicBezTo>
                    <a:pt x="9585" y="14312"/>
                    <a:pt x="9768" y="14091"/>
                    <a:pt x="9850" y="13967"/>
                  </a:cubicBezTo>
                  <a:cubicBezTo>
                    <a:pt x="9920" y="13837"/>
                    <a:pt x="10096" y="13653"/>
                    <a:pt x="10224" y="13546"/>
                  </a:cubicBezTo>
                  <a:cubicBezTo>
                    <a:pt x="10358" y="13449"/>
                    <a:pt x="10545" y="13334"/>
                    <a:pt x="10645" y="13304"/>
                  </a:cubicBezTo>
                  <a:cubicBezTo>
                    <a:pt x="10746" y="13279"/>
                    <a:pt x="10765" y="13333"/>
                    <a:pt x="10724" y="13453"/>
                  </a:cubicBezTo>
                  <a:cubicBezTo>
                    <a:pt x="10671" y="13563"/>
                    <a:pt x="10595" y="13743"/>
                    <a:pt x="10537" y="13842"/>
                  </a:cubicBezTo>
                  <a:cubicBezTo>
                    <a:pt x="10509" y="13962"/>
                    <a:pt x="10539" y="13900"/>
                    <a:pt x="10681" y="13787"/>
                  </a:cubicBezTo>
                  <a:cubicBezTo>
                    <a:pt x="10790" y="13627"/>
                    <a:pt x="11249" y="13173"/>
                    <a:pt x="11654" y="12725"/>
                  </a:cubicBezTo>
                  <a:cubicBezTo>
                    <a:pt x="12066" y="12283"/>
                    <a:pt x="12446" y="11826"/>
                    <a:pt x="12518" y="11738"/>
                  </a:cubicBezTo>
                  <a:cubicBezTo>
                    <a:pt x="12581" y="11636"/>
                    <a:pt x="12488" y="11576"/>
                    <a:pt x="12306" y="11601"/>
                  </a:cubicBezTo>
                  <a:cubicBezTo>
                    <a:pt x="12127" y="11642"/>
                    <a:pt x="12016" y="11590"/>
                    <a:pt x="12038" y="11509"/>
                  </a:cubicBezTo>
                  <a:cubicBezTo>
                    <a:pt x="12084" y="11447"/>
                    <a:pt x="12206" y="11263"/>
                    <a:pt x="12349" y="11150"/>
                  </a:cubicBezTo>
                  <a:cubicBezTo>
                    <a:pt x="12484" y="11020"/>
                    <a:pt x="12678" y="10881"/>
                    <a:pt x="12780" y="10851"/>
                  </a:cubicBezTo>
                  <a:cubicBezTo>
                    <a:pt x="12879" y="10807"/>
                    <a:pt x="13081" y="10709"/>
                    <a:pt x="13226" y="10620"/>
                  </a:cubicBezTo>
                  <a:cubicBezTo>
                    <a:pt x="13372" y="10528"/>
                    <a:pt x="13603" y="10306"/>
                    <a:pt x="13750" y="10134"/>
                  </a:cubicBezTo>
                  <a:cubicBezTo>
                    <a:pt x="13891" y="9956"/>
                    <a:pt x="14060" y="9735"/>
                    <a:pt x="14106" y="9634"/>
                  </a:cubicBezTo>
                  <a:cubicBezTo>
                    <a:pt x="14166" y="9543"/>
                    <a:pt x="14451" y="9224"/>
                    <a:pt x="14746" y="8920"/>
                  </a:cubicBezTo>
                  <a:cubicBezTo>
                    <a:pt x="15046" y="8626"/>
                    <a:pt x="15383" y="8264"/>
                    <a:pt x="15505" y="8132"/>
                  </a:cubicBezTo>
                  <a:cubicBezTo>
                    <a:pt x="15623" y="7991"/>
                    <a:pt x="15996" y="7591"/>
                    <a:pt x="16346" y="7261"/>
                  </a:cubicBezTo>
                  <a:cubicBezTo>
                    <a:pt x="16681" y="6909"/>
                    <a:pt x="17155" y="6475"/>
                    <a:pt x="17392" y="6293"/>
                  </a:cubicBezTo>
                  <a:cubicBezTo>
                    <a:pt x="17619" y="6093"/>
                    <a:pt x="17903" y="5812"/>
                    <a:pt x="18034" y="5677"/>
                  </a:cubicBezTo>
                  <a:cubicBezTo>
                    <a:pt x="18144" y="5518"/>
                    <a:pt x="18313" y="5265"/>
                    <a:pt x="18393" y="5091"/>
                  </a:cubicBezTo>
                  <a:cubicBezTo>
                    <a:pt x="18475" y="4921"/>
                    <a:pt x="18794" y="4476"/>
                    <a:pt x="19117" y="4119"/>
                  </a:cubicBezTo>
                  <a:cubicBezTo>
                    <a:pt x="19422" y="3740"/>
                    <a:pt x="19907" y="3282"/>
                    <a:pt x="20166" y="3070"/>
                  </a:cubicBezTo>
                  <a:cubicBezTo>
                    <a:pt x="20423" y="2851"/>
                    <a:pt x="20766" y="2531"/>
                    <a:pt x="20895" y="2324"/>
                  </a:cubicBezTo>
                  <a:cubicBezTo>
                    <a:pt x="21054" y="2148"/>
                    <a:pt x="21151" y="1885"/>
                    <a:pt x="21158" y="1780"/>
                  </a:cubicBezTo>
                  <a:cubicBezTo>
                    <a:pt x="21143" y="1676"/>
                    <a:pt x="21027" y="1624"/>
                    <a:pt x="20867" y="1682"/>
                  </a:cubicBezTo>
                  <a:cubicBezTo>
                    <a:pt x="20704" y="1722"/>
                    <a:pt x="20553" y="1699"/>
                    <a:pt x="20546" y="1603"/>
                  </a:cubicBezTo>
                  <a:cubicBezTo>
                    <a:pt x="20552" y="1509"/>
                    <a:pt x="20610" y="1398"/>
                    <a:pt x="20712" y="1336"/>
                  </a:cubicBezTo>
                  <a:cubicBezTo>
                    <a:pt x="20820" y="1296"/>
                    <a:pt x="20971" y="1148"/>
                    <a:pt x="21064" y="1052"/>
                  </a:cubicBezTo>
                  <a:cubicBezTo>
                    <a:pt x="21146" y="945"/>
                    <a:pt x="21217" y="829"/>
                    <a:pt x="21221" y="782"/>
                  </a:cubicBezTo>
                  <a:cubicBezTo>
                    <a:pt x="21199" y="743"/>
                    <a:pt x="21302" y="598"/>
                    <a:pt x="21392" y="461"/>
                  </a:cubicBezTo>
                  <a:cubicBezTo>
                    <a:pt x="21496" y="342"/>
                    <a:pt x="21568" y="159"/>
                    <a:pt x="21568" y="74"/>
                  </a:cubicBezTo>
                  <a:cubicBezTo>
                    <a:pt x="21568" y="-10"/>
                    <a:pt x="21445" y="-33"/>
                    <a:pt x="21310" y="59"/>
                  </a:cubicBezTo>
                  <a:cubicBezTo>
                    <a:pt x="21165" y="128"/>
                    <a:pt x="21085" y="229"/>
                    <a:pt x="21068" y="261"/>
                  </a:cubicBezTo>
                  <a:cubicBezTo>
                    <a:pt x="21086" y="292"/>
                    <a:pt x="21037" y="444"/>
                    <a:pt x="20964" y="581"/>
                  </a:cubicBezTo>
                  <a:cubicBezTo>
                    <a:pt x="20895" y="723"/>
                    <a:pt x="20697" y="944"/>
                    <a:pt x="20519" y="1061"/>
                  </a:cubicBezTo>
                  <a:cubicBezTo>
                    <a:pt x="20342" y="1179"/>
                    <a:pt x="20120" y="1274"/>
                    <a:pt x="20017" y="1265"/>
                  </a:cubicBezTo>
                  <a:cubicBezTo>
                    <a:pt x="19920" y="1232"/>
                    <a:pt x="19663" y="1393"/>
                    <a:pt x="19461" y="1584"/>
                  </a:cubicBezTo>
                  <a:cubicBezTo>
                    <a:pt x="19253" y="1763"/>
                    <a:pt x="18963" y="2130"/>
                    <a:pt x="18811" y="2388"/>
                  </a:cubicBezTo>
                  <a:cubicBezTo>
                    <a:pt x="18656" y="2643"/>
                    <a:pt x="18410" y="2971"/>
                    <a:pt x="18260" y="3115"/>
                  </a:cubicBezTo>
                  <a:cubicBezTo>
                    <a:pt x="18116" y="3268"/>
                    <a:pt x="17916" y="3410"/>
                    <a:pt x="17828" y="3439"/>
                  </a:cubicBezTo>
                  <a:cubicBezTo>
                    <a:pt x="17740" y="3471"/>
                    <a:pt x="17565" y="3617"/>
                    <a:pt x="17437" y="3747"/>
                  </a:cubicBezTo>
                  <a:cubicBezTo>
                    <a:pt x="17321" y="3895"/>
                    <a:pt x="17112" y="4040"/>
                    <a:pt x="17005" y="4105"/>
                  </a:cubicBezTo>
                  <a:cubicBezTo>
                    <a:pt x="16893" y="4161"/>
                    <a:pt x="16840" y="4127"/>
                    <a:pt x="16894" y="4021"/>
                  </a:cubicBezTo>
                  <a:cubicBezTo>
                    <a:pt x="16930" y="3905"/>
                    <a:pt x="17156" y="3667"/>
                    <a:pt x="17352" y="3455"/>
                  </a:cubicBezTo>
                  <a:cubicBezTo>
                    <a:pt x="17556" y="3253"/>
                    <a:pt x="17931" y="2785"/>
                    <a:pt x="18179" y="2408"/>
                  </a:cubicBezTo>
                  <a:cubicBezTo>
                    <a:pt x="18435" y="2042"/>
                    <a:pt x="18585" y="1722"/>
                    <a:pt x="18552" y="1671"/>
                  </a:cubicBezTo>
                  <a:cubicBezTo>
                    <a:pt x="18497" y="1671"/>
                    <a:pt x="18335" y="1706"/>
                    <a:pt x="18176" y="1824"/>
                  </a:cubicBezTo>
                  <a:cubicBezTo>
                    <a:pt x="18015" y="1936"/>
                    <a:pt x="17787" y="2033"/>
                    <a:pt x="17672" y="2076"/>
                  </a:cubicBezTo>
                  <a:cubicBezTo>
                    <a:pt x="17556" y="2086"/>
                    <a:pt x="17490" y="2045"/>
                    <a:pt x="17490" y="1954"/>
                  </a:cubicBezTo>
                  <a:cubicBezTo>
                    <a:pt x="17490" y="1862"/>
                    <a:pt x="17339" y="1876"/>
                    <a:pt x="17119" y="1985"/>
                  </a:cubicBezTo>
                  <a:cubicBezTo>
                    <a:pt x="17119" y="1985"/>
                    <a:pt x="17117" y="1977"/>
                    <a:pt x="17053" y="2023"/>
                  </a:cubicBezTo>
                  <a:cubicBezTo>
                    <a:pt x="16990" y="2069"/>
                    <a:pt x="16987" y="2060"/>
                    <a:pt x="16987" y="2060"/>
                  </a:cubicBezTo>
                  <a:cubicBezTo>
                    <a:pt x="16489" y="2504"/>
                    <a:pt x="15927" y="2925"/>
                    <a:pt x="15755" y="3008"/>
                  </a:cubicBezTo>
                  <a:cubicBezTo>
                    <a:pt x="15582" y="3104"/>
                    <a:pt x="15336" y="3273"/>
                    <a:pt x="15220" y="3408"/>
                  </a:cubicBezTo>
                  <a:cubicBezTo>
                    <a:pt x="15089" y="3524"/>
                    <a:pt x="14852" y="3732"/>
                    <a:pt x="14673" y="3849"/>
                  </a:cubicBezTo>
                  <a:cubicBezTo>
                    <a:pt x="14491" y="3958"/>
                    <a:pt x="14225" y="4178"/>
                    <a:pt x="14065" y="4304"/>
                  </a:cubicBezTo>
                  <a:cubicBezTo>
                    <a:pt x="13912" y="4443"/>
                    <a:pt x="13666" y="4748"/>
                    <a:pt x="13512" y="4975"/>
                  </a:cubicBezTo>
                  <a:cubicBezTo>
                    <a:pt x="13360" y="5209"/>
                    <a:pt x="13156" y="5496"/>
                    <a:pt x="13063" y="5616"/>
                  </a:cubicBezTo>
                  <a:cubicBezTo>
                    <a:pt x="12968" y="5734"/>
                    <a:pt x="12837" y="5982"/>
                    <a:pt x="12769" y="6158"/>
                  </a:cubicBezTo>
                  <a:cubicBezTo>
                    <a:pt x="12715" y="6344"/>
                    <a:pt x="12719" y="6540"/>
                    <a:pt x="12807" y="6601"/>
                  </a:cubicBezTo>
                  <a:cubicBezTo>
                    <a:pt x="12894" y="6666"/>
                    <a:pt x="12943" y="6807"/>
                    <a:pt x="12904" y="6912"/>
                  </a:cubicBezTo>
                  <a:cubicBezTo>
                    <a:pt x="12867" y="7017"/>
                    <a:pt x="12733" y="7107"/>
                    <a:pt x="12604" y="7130"/>
                  </a:cubicBezTo>
                  <a:cubicBezTo>
                    <a:pt x="12477" y="7164"/>
                    <a:pt x="12240" y="7199"/>
                    <a:pt x="12099" y="7292"/>
                  </a:cubicBezTo>
                  <a:cubicBezTo>
                    <a:pt x="11949" y="7363"/>
                    <a:pt x="11771" y="7527"/>
                    <a:pt x="11676" y="7612"/>
                  </a:cubicBezTo>
                  <a:cubicBezTo>
                    <a:pt x="11606" y="7729"/>
                    <a:pt x="11696" y="7799"/>
                    <a:pt x="11908" y="7799"/>
                  </a:cubicBezTo>
                  <a:cubicBezTo>
                    <a:pt x="12119" y="7799"/>
                    <a:pt x="12240" y="7922"/>
                    <a:pt x="12155" y="8052"/>
                  </a:cubicBezTo>
                  <a:cubicBezTo>
                    <a:pt x="12077" y="8188"/>
                    <a:pt x="11853" y="8388"/>
                    <a:pt x="11676" y="8534"/>
                  </a:cubicBezTo>
                  <a:cubicBezTo>
                    <a:pt x="11483" y="8646"/>
                    <a:pt x="11171" y="8996"/>
                    <a:pt x="10981" y="9288"/>
                  </a:cubicBezTo>
                  <a:cubicBezTo>
                    <a:pt x="10774" y="9564"/>
                    <a:pt x="10643" y="9864"/>
                    <a:pt x="10680" y="9922"/>
                  </a:cubicBezTo>
                  <a:cubicBezTo>
                    <a:pt x="10718" y="9978"/>
                    <a:pt x="10511" y="10236"/>
                    <a:pt x="10236" y="10481"/>
                  </a:cubicBezTo>
                  <a:cubicBezTo>
                    <a:pt x="9962" y="10725"/>
                    <a:pt x="9639" y="10942"/>
                    <a:pt x="9514" y="10942"/>
                  </a:cubicBezTo>
                  <a:cubicBezTo>
                    <a:pt x="9392" y="10931"/>
                    <a:pt x="9329" y="10896"/>
                    <a:pt x="9348" y="10813"/>
                  </a:cubicBezTo>
                  <a:cubicBezTo>
                    <a:pt x="9382" y="10737"/>
                    <a:pt x="9513" y="10524"/>
                    <a:pt x="9648" y="10339"/>
                  </a:cubicBezTo>
                  <a:cubicBezTo>
                    <a:pt x="9791" y="10173"/>
                    <a:pt x="10046" y="9643"/>
                    <a:pt x="10264" y="9211"/>
                  </a:cubicBezTo>
                  <a:cubicBezTo>
                    <a:pt x="10468" y="8774"/>
                    <a:pt x="10602" y="8362"/>
                    <a:pt x="10540" y="8339"/>
                  </a:cubicBezTo>
                  <a:cubicBezTo>
                    <a:pt x="10502" y="8276"/>
                    <a:pt x="10455" y="8178"/>
                    <a:pt x="10479" y="8088"/>
                  </a:cubicBezTo>
                  <a:cubicBezTo>
                    <a:pt x="10487" y="7992"/>
                    <a:pt x="10574" y="7829"/>
                    <a:pt x="10670" y="7750"/>
                  </a:cubicBezTo>
                  <a:cubicBezTo>
                    <a:pt x="10758" y="7660"/>
                    <a:pt x="10874" y="7483"/>
                    <a:pt x="10934" y="7357"/>
                  </a:cubicBezTo>
                  <a:cubicBezTo>
                    <a:pt x="11004" y="7241"/>
                    <a:pt x="10984" y="7138"/>
                    <a:pt x="10952" y="7086"/>
                  </a:cubicBezTo>
                  <a:cubicBezTo>
                    <a:pt x="10901" y="7100"/>
                    <a:pt x="10908" y="6936"/>
                    <a:pt x="10965" y="6806"/>
                  </a:cubicBezTo>
                  <a:cubicBezTo>
                    <a:pt x="11020" y="6674"/>
                    <a:pt x="11021" y="6571"/>
                    <a:pt x="10968" y="6556"/>
                  </a:cubicBezTo>
                  <a:cubicBezTo>
                    <a:pt x="10917" y="6566"/>
                    <a:pt x="10676" y="6722"/>
                    <a:pt x="10420" y="6899"/>
                  </a:cubicBezTo>
                  <a:cubicBezTo>
                    <a:pt x="10175" y="7102"/>
                    <a:pt x="9900" y="7339"/>
                    <a:pt x="9808" y="7433"/>
                  </a:cubicBezTo>
                  <a:cubicBezTo>
                    <a:pt x="9722" y="7530"/>
                    <a:pt x="9433" y="7794"/>
                    <a:pt x="9183" y="8042"/>
                  </a:cubicBezTo>
                  <a:cubicBezTo>
                    <a:pt x="8927" y="8286"/>
                    <a:pt x="8638" y="8564"/>
                    <a:pt x="8560" y="8685"/>
                  </a:cubicBezTo>
                  <a:cubicBezTo>
                    <a:pt x="8463" y="8786"/>
                    <a:pt x="8475" y="8882"/>
                    <a:pt x="8556" y="8842"/>
                  </a:cubicBezTo>
                  <a:cubicBezTo>
                    <a:pt x="8639" y="8811"/>
                    <a:pt x="8792" y="8735"/>
                    <a:pt x="8895" y="8670"/>
                  </a:cubicBezTo>
                  <a:cubicBezTo>
                    <a:pt x="9007" y="8620"/>
                    <a:pt x="9122" y="8589"/>
                    <a:pt x="9161" y="8647"/>
                  </a:cubicBezTo>
                  <a:cubicBezTo>
                    <a:pt x="9191" y="8710"/>
                    <a:pt x="9054" y="8903"/>
                    <a:pt x="8813" y="9059"/>
                  </a:cubicBezTo>
                  <a:cubicBezTo>
                    <a:pt x="8588" y="9249"/>
                    <a:pt x="8306" y="9488"/>
                    <a:pt x="8201" y="9614"/>
                  </a:cubicBezTo>
                  <a:cubicBezTo>
                    <a:pt x="8105" y="9752"/>
                    <a:pt x="7832" y="10009"/>
                    <a:pt x="7599" y="10173"/>
                  </a:cubicBezTo>
                  <a:cubicBezTo>
                    <a:pt x="7377" y="10364"/>
                    <a:pt x="7033" y="10711"/>
                    <a:pt x="6846" y="10964"/>
                  </a:cubicBezTo>
                  <a:cubicBezTo>
                    <a:pt x="6667" y="11228"/>
                    <a:pt x="6618" y="11389"/>
                    <a:pt x="6755" y="11357"/>
                  </a:cubicBezTo>
                  <a:cubicBezTo>
                    <a:pt x="6889" y="11322"/>
                    <a:pt x="6952" y="11373"/>
                    <a:pt x="6875" y="11466"/>
                  </a:cubicBezTo>
                  <a:cubicBezTo>
                    <a:pt x="6813" y="11574"/>
                    <a:pt x="6546" y="11790"/>
                    <a:pt x="6309" y="11991"/>
                  </a:cubicBezTo>
                  <a:cubicBezTo>
                    <a:pt x="6064" y="12176"/>
                    <a:pt x="5743" y="12475"/>
                    <a:pt x="5603" y="12661"/>
                  </a:cubicBezTo>
                  <a:cubicBezTo>
                    <a:pt x="5458" y="12845"/>
                    <a:pt x="5361" y="13046"/>
                    <a:pt x="5399" y="13101"/>
                  </a:cubicBezTo>
                  <a:cubicBezTo>
                    <a:pt x="5435" y="13160"/>
                    <a:pt x="5414" y="13341"/>
                    <a:pt x="5339" y="13491"/>
                  </a:cubicBezTo>
                  <a:cubicBezTo>
                    <a:pt x="5268" y="13639"/>
                    <a:pt x="5107" y="13889"/>
                    <a:pt x="4967" y="14034"/>
                  </a:cubicBezTo>
                  <a:cubicBezTo>
                    <a:pt x="4830" y="14183"/>
                    <a:pt x="4670" y="14289"/>
                    <a:pt x="4622" y="14309"/>
                  </a:cubicBezTo>
                  <a:cubicBezTo>
                    <a:pt x="4570" y="14323"/>
                    <a:pt x="4627" y="14119"/>
                    <a:pt x="4759" y="13888"/>
                  </a:cubicBezTo>
                  <a:cubicBezTo>
                    <a:pt x="4891" y="13657"/>
                    <a:pt x="4930" y="13464"/>
                    <a:pt x="4858" y="13477"/>
                  </a:cubicBezTo>
                  <a:cubicBezTo>
                    <a:pt x="4786" y="13467"/>
                    <a:pt x="4805" y="13394"/>
                    <a:pt x="4842" y="13243"/>
                  </a:cubicBezTo>
                  <a:cubicBezTo>
                    <a:pt x="4907" y="13108"/>
                    <a:pt x="4858" y="13065"/>
                    <a:pt x="4748" y="13163"/>
                  </a:cubicBezTo>
                  <a:cubicBezTo>
                    <a:pt x="4629" y="13246"/>
                    <a:pt x="4373" y="13421"/>
                    <a:pt x="4182" y="13555"/>
                  </a:cubicBezTo>
                  <a:cubicBezTo>
                    <a:pt x="3989" y="13682"/>
                    <a:pt x="3704" y="13893"/>
                    <a:pt x="3554" y="14031"/>
                  </a:cubicBezTo>
                  <a:cubicBezTo>
                    <a:pt x="3401" y="14161"/>
                    <a:pt x="3188" y="14410"/>
                    <a:pt x="3063" y="14553"/>
                  </a:cubicBezTo>
                  <a:cubicBezTo>
                    <a:pt x="2957" y="14714"/>
                    <a:pt x="2866" y="14859"/>
                    <a:pt x="2890" y="14908"/>
                  </a:cubicBezTo>
                  <a:cubicBezTo>
                    <a:pt x="2919" y="14952"/>
                    <a:pt x="2831" y="15090"/>
                    <a:pt x="2690" y="15188"/>
                  </a:cubicBezTo>
                  <a:cubicBezTo>
                    <a:pt x="2556" y="15296"/>
                    <a:pt x="2381" y="15391"/>
                    <a:pt x="2302" y="15391"/>
                  </a:cubicBezTo>
                  <a:cubicBezTo>
                    <a:pt x="2225" y="15411"/>
                    <a:pt x="2028" y="15542"/>
                    <a:pt x="1857" y="15698"/>
                  </a:cubicBezTo>
                  <a:cubicBezTo>
                    <a:pt x="1681" y="15852"/>
                    <a:pt x="1431" y="16025"/>
                    <a:pt x="1306" y="16115"/>
                  </a:cubicBezTo>
                  <a:cubicBezTo>
                    <a:pt x="1169" y="16168"/>
                    <a:pt x="974" y="16396"/>
                    <a:pt x="862" y="16590"/>
                  </a:cubicBezTo>
                  <a:cubicBezTo>
                    <a:pt x="740" y="16776"/>
                    <a:pt x="690" y="16990"/>
                    <a:pt x="732" y="16990"/>
                  </a:cubicBezTo>
                  <a:cubicBezTo>
                    <a:pt x="755" y="17036"/>
                    <a:pt x="907" y="16970"/>
                    <a:pt x="1025" y="16881"/>
                  </a:cubicBezTo>
                  <a:cubicBezTo>
                    <a:pt x="1152" y="16813"/>
                    <a:pt x="1308" y="16708"/>
                    <a:pt x="1386" y="16693"/>
                  </a:cubicBezTo>
                  <a:cubicBezTo>
                    <a:pt x="1459" y="16653"/>
                    <a:pt x="1629" y="16569"/>
                    <a:pt x="1743" y="16454"/>
                  </a:cubicBezTo>
                  <a:cubicBezTo>
                    <a:pt x="1865" y="16356"/>
                    <a:pt x="2101" y="16167"/>
                    <a:pt x="2280" y="16063"/>
                  </a:cubicBezTo>
                  <a:cubicBezTo>
                    <a:pt x="2454" y="15944"/>
                    <a:pt x="2685" y="15829"/>
                    <a:pt x="2788" y="15820"/>
                  </a:cubicBezTo>
                  <a:cubicBezTo>
                    <a:pt x="2888" y="15791"/>
                    <a:pt x="3087" y="15701"/>
                    <a:pt x="3218" y="15595"/>
                  </a:cubicBezTo>
                  <a:cubicBezTo>
                    <a:pt x="3340" y="15471"/>
                    <a:pt x="3592" y="15381"/>
                    <a:pt x="3748" y="15363"/>
                  </a:cubicBezTo>
                  <a:cubicBezTo>
                    <a:pt x="3904" y="15336"/>
                    <a:pt x="4266" y="15162"/>
                    <a:pt x="4548" y="14966"/>
                  </a:cubicBezTo>
                  <a:cubicBezTo>
                    <a:pt x="4832" y="14775"/>
                    <a:pt x="5159" y="14585"/>
                    <a:pt x="5277" y="14573"/>
                  </a:cubicBezTo>
                  <a:cubicBezTo>
                    <a:pt x="5394" y="14545"/>
                    <a:pt x="5665" y="14439"/>
                    <a:pt x="5867" y="14299"/>
                  </a:cubicBezTo>
                  <a:cubicBezTo>
                    <a:pt x="6079" y="14192"/>
                    <a:pt x="6850" y="13785"/>
                    <a:pt x="7599" y="13438"/>
                  </a:cubicBezTo>
                  <a:cubicBezTo>
                    <a:pt x="8349" y="13100"/>
                    <a:pt x="9019" y="12815"/>
                    <a:pt x="9087" y="12833"/>
                  </a:cubicBezTo>
                  <a:cubicBezTo>
                    <a:pt x="9155" y="12854"/>
                    <a:pt x="9063" y="13021"/>
                    <a:pt x="8855" y="13176"/>
                  </a:cubicBezTo>
                  <a:cubicBezTo>
                    <a:pt x="8660" y="13349"/>
                    <a:pt x="8323" y="13552"/>
                    <a:pt x="8125" y="13676"/>
                  </a:cubicBezTo>
                  <a:cubicBezTo>
                    <a:pt x="7916" y="13772"/>
                    <a:pt x="7547" y="13979"/>
                    <a:pt x="7297" y="14122"/>
                  </a:cubicBezTo>
                  <a:cubicBezTo>
                    <a:pt x="7044" y="14252"/>
                    <a:pt x="6642" y="14561"/>
                    <a:pt x="6393" y="14769"/>
                  </a:cubicBezTo>
                  <a:cubicBezTo>
                    <a:pt x="6139" y="14974"/>
                    <a:pt x="5668" y="15322"/>
                    <a:pt x="5344" y="15549"/>
                  </a:cubicBezTo>
                  <a:cubicBezTo>
                    <a:pt x="5020" y="15770"/>
                    <a:pt x="4661" y="16007"/>
                    <a:pt x="4548" y="16088"/>
                  </a:cubicBezTo>
                  <a:cubicBezTo>
                    <a:pt x="4430" y="16150"/>
                    <a:pt x="4481" y="16174"/>
                    <a:pt x="4629" y="16072"/>
                  </a:cubicBezTo>
                  <a:cubicBezTo>
                    <a:pt x="4790" y="15998"/>
                    <a:pt x="4963" y="15949"/>
                    <a:pt x="5029" y="15949"/>
                  </a:cubicBezTo>
                  <a:cubicBezTo>
                    <a:pt x="5090" y="15974"/>
                    <a:pt x="5044" y="16075"/>
                    <a:pt x="4920" y="16180"/>
                  </a:cubicBezTo>
                  <a:cubicBezTo>
                    <a:pt x="4802" y="16295"/>
                    <a:pt x="4472" y="16478"/>
                    <a:pt x="4195" y="16590"/>
                  </a:cubicBezTo>
                  <a:cubicBezTo>
                    <a:pt x="3917" y="16704"/>
                    <a:pt x="3587" y="16827"/>
                    <a:pt x="3466" y="16876"/>
                  </a:cubicBezTo>
                  <a:cubicBezTo>
                    <a:pt x="3340" y="16888"/>
                    <a:pt x="3113" y="17046"/>
                    <a:pt x="2968" y="17185"/>
                  </a:cubicBezTo>
                  <a:cubicBezTo>
                    <a:pt x="2819" y="17321"/>
                    <a:pt x="2669" y="17479"/>
                    <a:pt x="2665" y="17550"/>
                  </a:cubicBezTo>
                  <a:cubicBezTo>
                    <a:pt x="2645" y="17615"/>
                    <a:pt x="2563" y="17763"/>
                    <a:pt x="2463" y="17852"/>
                  </a:cubicBezTo>
                  <a:cubicBezTo>
                    <a:pt x="2365" y="17940"/>
                    <a:pt x="2238" y="18029"/>
                    <a:pt x="2202" y="17975"/>
                  </a:cubicBezTo>
                  <a:cubicBezTo>
                    <a:pt x="2149" y="17947"/>
                    <a:pt x="2035" y="17939"/>
                    <a:pt x="1971" y="18008"/>
                  </a:cubicBezTo>
                  <a:cubicBezTo>
                    <a:pt x="1896" y="18059"/>
                    <a:pt x="1833" y="18138"/>
                    <a:pt x="1822" y="18185"/>
                  </a:cubicBezTo>
                  <a:cubicBezTo>
                    <a:pt x="1840" y="18230"/>
                    <a:pt x="1769" y="18346"/>
                    <a:pt x="1720" y="18437"/>
                  </a:cubicBezTo>
                  <a:cubicBezTo>
                    <a:pt x="1678" y="18532"/>
                    <a:pt x="1677" y="18634"/>
                    <a:pt x="1737" y="18651"/>
                  </a:cubicBezTo>
                  <a:cubicBezTo>
                    <a:pt x="1796" y="18682"/>
                    <a:pt x="1959" y="18684"/>
                    <a:pt x="2075" y="18603"/>
                  </a:cubicBezTo>
                  <a:cubicBezTo>
                    <a:pt x="2209" y="18603"/>
                    <a:pt x="2208" y="18608"/>
                    <a:pt x="2110" y="18752"/>
                  </a:cubicBezTo>
                  <a:cubicBezTo>
                    <a:pt x="2005" y="18887"/>
                    <a:pt x="1949" y="19049"/>
                    <a:pt x="1986" y="19116"/>
                  </a:cubicBezTo>
                  <a:cubicBezTo>
                    <a:pt x="1996" y="19196"/>
                    <a:pt x="1972" y="19279"/>
                    <a:pt x="1885" y="19355"/>
                  </a:cubicBezTo>
                  <a:cubicBezTo>
                    <a:pt x="1790" y="19416"/>
                    <a:pt x="1693" y="19418"/>
                    <a:pt x="1659" y="19358"/>
                  </a:cubicBezTo>
                  <a:cubicBezTo>
                    <a:pt x="1622" y="19301"/>
                    <a:pt x="1556" y="19274"/>
                    <a:pt x="1492" y="19287"/>
                  </a:cubicBezTo>
                  <a:cubicBezTo>
                    <a:pt x="1431" y="19316"/>
                    <a:pt x="1230" y="19516"/>
                    <a:pt x="1051" y="19743"/>
                  </a:cubicBezTo>
                  <a:cubicBezTo>
                    <a:pt x="874" y="19976"/>
                    <a:pt x="704" y="20226"/>
                    <a:pt x="671" y="20302"/>
                  </a:cubicBezTo>
                  <a:cubicBezTo>
                    <a:pt x="648" y="20385"/>
                    <a:pt x="542" y="20536"/>
                    <a:pt x="445" y="20639"/>
                  </a:cubicBezTo>
                  <a:cubicBezTo>
                    <a:pt x="351" y="20752"/>
                    <a:pt x="192" y="20981"/>
                    <a:pt x="96" y="21157"/>
                  </a:cubicBezTo>
                  <a:cubicBezTo>
                    <a:pt x="1" y="21335"/>
                    <a:pt x="-32" y="21529"/>
                    <a:pt x="36" y="21536"/>
                  </a:cubicBezTo>
                  <a:cubicBezTo>
                    <a:pt x="99" y="21567"/>
                    <a:pt x="308" y="21504"/>
                    <a:pt x="490" y="21375"/>
                  </a:cubicBezTo>
                  <a:close/>
                  <a:moveTo>
                    <a:pt x="490" y="2137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5" name="AutoShape 1067"/>
            <p:cNvSpPr>
              <a:spLocks/>
            </p:cNvSpPr>
            <p:nvPr/>
          </p:nvSpPr>
          <p:spPr bwMode="auto">
            <a:xfrm>
              <a:off x="4914900" y="1638300"/>
              <a:ext cx="3175" cy="3175"/>
            </a:xfrm>
            <a:custGeom>
              <a:avLst/>
              <a:gdLst/>
              <a:ahLst/>
              <a:cxnLst/>
              <a:rect l="0" t="0" r="r" b="b"/>
              <a:pathLst>
                <a:path w="20500" h="19694">
                  <a:moveTo>
                    <a:pt x="14944" y="8679"/>
                  </a:moveTo>
                  <a:cubicBezTo>
                    <a:pt x="18527" y="5232"/>
                    <a:pt x="19759" y="1146"/>
                    <a:pt x="20500" y="286"/>
                  </a:cubicBezTo>
                  <a:cubicBezTo>
                    <a:pt x="19759" y="-647"/>
                    <a:pt x="16846" y="822"/>
                    <a:pt x="12591" y="3012"/>
                  </a:cubicBezTo>
                  <a:cubicBezTo>
                    <a:pt x="8900" y="5990"/>
                    <a:pt x="3262" y="10906"/>
                    <a:pt x="1399" y="15102"/>
                  </a:cubicBezTo>
                  <a:cubicBezTo>
                    <a:pt x="-1100" y="18947"/>
                    <a:pt x="-53" y="20953"/>
                    <a:pt x="2964" y="18836"/>
                  </a:cubicBezTo>
                  <a:cubicBezTo>
                    <a:pt x="6175" y="16970"/>
                    <a:pt x="11735" y="12449"/>
                    <a:pt x="14944" y="8679"/>
                  </a:cubicBezTo>
                  <a:close/>
                  <a:moveTo>
                    <a:pt x="14944" y="867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6" name="AutoShape 1068"/>
            <p:cNvSpPr>
              <a:spLocks/>
            </p:cNvSpPr>
            <p:nvPr/>
          </p:nvSpPr>
          <p:spPr bwMode="auto">
            <a:xfrm>
              <a:off x="4864100" y="1625600"/>
              <a:ext cx="28575" cy="14288"/>
            </a:xfrm>
            <a:custGeom>
              <a:avLst/>
              <a:gdLst/>
              <a:ahLst/>
              <a:cxnLst/>
              <a:rect l="0" t="0" r="r" b="b"/>
              <a:pathLst>
                <a:path w="21455" h="21068">
                  <a:moveTo>
                    <a:pt x="9701" y="11361"/>
                  </a:moveTo>
                  <a:cubicBezTo>
                    <a:pt x="8687" y="12519"/>
                    <a:pt x="7714" y="13325"/>
                    <a:pt x="7612" y="13051"/>
                  </a:cubicBezTo>
                  <a:cubicBezTo>
                    <a:pt x="7507" y="12802"/>
                    <a:pt x="6469" y="13489"/>
                    <a:pt x="5335" y="14424"/>
                  </a:cubicBezTo>
                  <a:cubicBezTo>
                    <a:pt x="4252" y="15556"/>
                    <a:pt x="2564" y="17101"/>
                    <a:pt x="1679" y="18183"/>
                  </a:cubicBezTo>
                  <a:cubicBezTo>
                    <a:pt x="785" y="19247"/>
                    <a:pt x="51" y="20517"/>
                    <a:pt x="1" y="20937"/>
                  </a:cubicBezTo>
                  <a:cubicBezTo>
                    <a:pt x="-36" y="21366"/>
                    <a:pt x="1458" y="20705"/>
                    <a:pt x="3329" y="19496"/>
                  </a:cubicBezTo>
                  <a:cubicBezTo>
                    <a:pt x="5196" y="18260"/>
                    <a:pt x="7595" y="16209"/>
                    <a:pt x="8650" y="14904"/>
                  </a:cubicBezTo>
                  <a:cubicBezTo>
                    <a:pt x="9692" y="13540"/>
                    <a:pt x="11232" y="11831"/>
                    <a:pt x="12072" y="11085"/>
                  </a:cubicBezTo>
                  <a:cubicBezTo>
                    <a:pt x="12892" y="10271"/>
                    <a:pt x="13777" y="9833"/>
                    <a:pt x="13994" y="9756"/>
                  </a:cubicBezTo>
                  <a:cubicBezTo>
                    <a:pt x="14220" y="9756"/>
                    <a:pt x="15086" y="9060"/>
                    <a:pt x="15861" y="7979"/>
                  </a:cubicBezTo>
                  <a:cubicBezTo>
                    <a:pt x="16659" y="6975"/>
                    <a:pt x="18120" y="5446"/>
                    <a:pt x="19038" y="4357"/>
                  </a:cubicBezTo>
                  <a:cubicBezTo>
                    <a:pt x="20011" y="3448"/>
                    <a:pt x="21007" y="1843"/>
                    <a:pt x="21357" y="1019"/>
                  </a:cubicBezTo>
                  <a:cubicBezTo>
                    <a:pt x="21564" y="49"/>
                    <a:pt x="21463" y="-234"/>
                    <a:pt x="20878" y="195"/>
                  </a:cubicBezTo>
                  <a:cubicBezTo>
                    <a:pt x="20273" y="564"/>
                    <a:pt x="17973" y="2907"/>
                    <a:pt x="15672" y="5079"/>
                  </a:cubicBezTo>
                  <a:cubicBezTo>
                    <a:pt x="13441" y="7455"/>
                    <a:pt x="10715" y="10149"/>
                    <a:pt x="9701" y="11361"/>
                  </a:cubicBezTo>
                  <a:close/>
                  <a:moveTo>
                    <a:pt x="9701" y="113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7" name="AutoShape 1069"/>
            <p:cNvSpPr>
              <a:spLocks/>
            </p:cNvSpPr>
            <p:nvPr/>
          </p:nvSpPr>
          <p:spPr bwMode="auto">
            <a:xfrm>
              <a:off x="4864100" y="1625600"/>
              <a:ext cx="33338" cy="20638"/>
            </a:xfrm>
            <a:custGeom>
              <a:avLst/>
              <a:gdLst/>
              <a:ahLst/>
              <a:cxnLst/>
              <a:rect l="0" t="0" r="r" b="b"/>
              <a:pathLst>
                <a:path w="21490" h="21385">
                  <a:moveTo>
                    <a:pt x="1226" y="20392"/>
                  </a:moveTo>
                  <a:cubicBezTo>
                    <a:pt x="1712" y="19909"/>
                    <a:pt x="2598" y="18931"/>
                    <a:pt x="3291" y="18454"/>
                  </a:cubicBezTo>
                  <a:cubicBezTo>
                    <a:pt x="3995" y="17989"/>
                    <a:pt x="5014" y="17438"/>
                    <a:pt x="5578" y="17295"/>
                  </a:cubicBezTo>
                  <a:cubicBezTo>
                    <a:pt x="6147" y="17110"/>
                    <a:pt x="7598" y="15988"/>
                    <a:pt x="8754" y="14589"/>
                  </a:cubicBezTo>
                  <a:cubicBezTo>
                    <a:pt x="9897" y="13153"/>
                    <a:pt x="11197" y="11505"/>
                    <a:pt x="11640" y="10936"/>
                  </a:cubicBezTo>
                  <a:cubicBezTo>
                    <a:pt x="12033" y="10266"/>
                    <a:pt x="13215" y="9189"/>
                    <a:pt x="14165" y="8272"/>
                  </a:cubicBezTo>
                  <a:cubicBezTo>
                    <a:pt x="15130" y="7455"/>
                    <a:pt x="16445" y="6192"/>
                    <a:pt x="17130" y="5666"/>
                  </a:cubicBezTo>
                  <a:cubicBezTo>
                    <a:pt x="17756" y="4953"/>
                    <a:pt x="19005" y="3714"/>
                    <a:pt x="19861" y="2798"/>
                  </a:cubicBezTo>
                  <a:cubicBezTo>
                    <a:pt x="20689" y="1826"/>
                    <a:pt x="21429" y="699"/>
                    <a:pt x="21487" y="296"/>
                  </a:cubicBezTo>
                  <a:cubicBezTo>
                    <a:pt x="21522" y="-106"/>
                    <a:pt x="21219" y="-76"/>
                    <a:pt x="20728" y="247"/>
                  </a:cubicBezTo>
                  <a:cubicBezTo>
                    <a:pt x="20266" y="661"/>
                    <a:pt x="19328" y="1318"/>
                    <a:pt x="18795" y="2030"/>
                  </a:cubicBezTo>
                  <a:cubicBezTo>
                    <a:pt x="18208" y="2655"/>
                    <a:pt x="17461" y="3460"/>
                    <a:pt x="17098" y="3510"/>
                  </a:cubicBezTo>
                  <a:cubicBezTo>
                    <a:pt x="16768" y="3770"/>
                    <a:pt x="14955" y="5275"/>
                    <a:pt x="13114" y="7003"/>
                  </a:cubicBezTo>
                  <a:cubicBezTo>
                    <a:pt x="11263" y="8687"/>
                    <a:pt x="8773" y="11269"/>
                    <a:pt x="7586" y="12688"/>
                  </a:cubicBezTo>
                  <a:cubicBezTo>
                    <a:pt x="6427" y="14130"/>
                    <a:pt x="4902" y="15636"/>
                    <a:pt x="4283" y="16168"/>
                  </a:cubicBezTo>
                  <a:cubicBezTo>
                    <a:pt x="3614" y="16558"/>
                    <a:pt x="2598" y="17661"/>
                    <a:pt x="1953" y="18360"/>
                  </a:cubicBezTo>
                  <a:cubicBezTo>
                    <a:pt x="1350" y="19159"/>
                    <a:pt x="536" y="19989"/>
                    <a:pt x="261" y="20484"/>
                  </a:cubicBezTo>
                  <a:cubicBezTo>
                    <a:pt x="3" y="20993"/>
                    <a:pt x="-78" y="21494"/>
                    <a:pt x="82" y="21363"/>
                  </a:cubicBezTo>
                  <a:cubicBezTo>
                    <a:pt x="261" y="21425"/>
                    <a:pt x="821" y="20993"/>
                    <a:pt x="1226" y="20392"/>
                  </a:cubicBezTo>
                  <a:close/>
                  <a:moveTo>
                    <a:pt x="1226" y="203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8" name="AutoShape 1070"/>
            <p:cNvSpPr>
              <a:spLocks/>
            </p:cNvSpPr>
            <p:nvPr/>
          </p:nvSpPr>
          <p:spPr bwMode="auto">
            <a:xfrm>
              <a:off x="3670300" y="3124200"/>
              <a:ext cx="3175" cy="11113"/>
            </a:xfrm>
            <a:custGeom>
              <a:avLst/>
              <a:gdLst/>
              <a:ahLst/>
              <a:cxnLst/>
              <a:rect l="0" t="0" r="r" b="b"/>
              <a:pathLst>
                <a:path w="19851" h="19669">
                  <a:moveTo>
                    <a:pt x="19699" y="566"/>
                  </a:moveTo>
                  <a:cubicBezTo>
                    <a:pt x="20727" y="-1123"/>
                    <a:pt x="16402" y="1091"/>
                    <a:pt x="11555" y="5582"/>
                  </a:cubicBezTo>
                  <a:cubicBezTo>
                    <a:pt x="5991" y="9975"/>
                    <a:pt x="3038" y="14128"/>
                    <a:pt x="3038" y="14684"/>
                  </a:cubicBezTo>
                  <a:cubicBezTo>
                    <a:pt x="4141" y="15160"/>
                    <a:pt x="2905" y="17148"/>
                    <a:pt x="533" y="18778"/>
                  </a:cubicBezTo>
                  <a:cubicBezTo>
                    <a:pt x="-873" y="20477"/>
                    <a:pt x="533" y="19671"/>
                    <a:pt x="4416" y="17009"/>
                  </a:cubicBezTo>
                  <a:cubicBezTo>
                    <a:pt x="8018" y="14307"/>
                    <a:pt x="12794" y="10234"/>
                    <a:pt x="14959" y="7908"/>
                  </a:cubicBezTo>
                  <a:cubicBezTo>
                    <a:pt x="17082" y="5582"/>
                    <a:pt x="19699" y="2273"/>
                    <a:pt x="19699" y="566"/>
                  </a:cubicBezTo>
                  <a:close/>
                  <a:moveTo>
                    <a:pt x="19699" y="56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69" name="AutoShape 1071"/>
            <p:cNvSpPr>
              <a:spLocks/>
            </p:cNvSpPr>
            <p:nvPr/>
          </p:nvSpPr>
          <p:spPr bwMode="auto">
            <a:xfrm>
              <a:off x="3670300" y="3124200"/>
              <a:ext cx="3175" cy="7938"/>
            </a:xfrm>
            <a:custGeom>
              <a:avLst/>
              <a:gdLst/>
              <a:ahLst/>
              <a:cxnLst/>
              <a:rect l="0" t="0" r="r" b="b"/>
              <a:pathLst>
                <a:path w="19193" h="19865">
                  <a:moveTo>
                    <a:pt x="14745" y="2977"/>
                  </a:moveTo>
                  <a:cubicBezTo>
                    <a:pt x="10521" y="6359"/>
                    <a:pt x="5716" y="12107"/>
                    <a:pt x="2916" y="15553"/>
                  </a:cubicBezTo>
                  <a:cubicBezTo>
                    <a:pt x="367" y="19050"/>
                    <a:pt x="-1184" y="20651"/>
                    <a:pt x="1141" y="19492"/>
                  </a:cubicBezTo>
                  <a:cubicBezTo>
                    <a:pt x="3041" y="18206"/>
                    <a:pt x="5780" y="16307"/>
                    <a:pt x="5780" y="15255"/>
                  </a:cubicBezTo>
                  <a:cubicBezTo>
                    <a:pt x="6910" y="14304"/>
                    <a:pt x="9135" y="11989"/>
                    <a:pt x="11359" y="10194"/>
                  </a:cubicBezTo>
                  <a:cubicBezTo>
                    <a:pt x="14000" y="8503"/>
                    <a:pt x="17128" y="4695"/>
                    <a:pt x="18581" y="1858"/>
                  </a:cubicBezTo>
                  <a:cubicBezTo>
                    <a:pt x="20416" y="-949"/>
                    <a:pt x="17835" y="-573"/>
                    <a:pt x="14745" y="2977"/>
                  </a:cubicBezTo>
                  <a:close/>
                  <a:moveTo>
                    <a:pt x="14745" y="29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0" name="AutoShape 1072"/>
            <p:cNvSpPr>
              <a:spLocks/>
            </p:cNvSpPr>
            <p:nvPr/>
          </p:nvSpPr>
          <p:spPr bwMode="auto">
            <a:xfrm>
              <a:off x="3670300" y="3111500"/>
              <a:ext cx="0" cy="3175"/>
            </a:xfrm>
            <a:custGeom>
              <a:avLst/>
              <a:gdLst/>
              <a:ahLst/>
              <a:cxnLst/>
              <a:rect l="0" t="0" r="r" b="b"/>
              <a:pathLst>
                <a:path w="21600" h="19189">
                  <a:moveTo>
                    <a:pt x="9158" y="15321"/>
                  </a:moveTo>
                  <a:cubicBezTo>
                    <a:pt x="14282" y="10885"/>
                    <a:pt x="20008" y="4863"/>
                    <a:pt x="21600" y="1863"/>
                  </a:cubicBezTo>
                  <a:cubicBezTo>
                    <a:pt x="21600" y="-1160"/>
                    <a:pt x="19126" y="-401"/>
                    <a:pt x="12514" y="3392"/>
                  </a:cubicBezTo>
                  <a:cubicBezTo>
                    <a:pt x="4662" y="6924"/>
                    <a:pt x="1322" y="13288"/>
                    <a:pt x="0" y="16850"/>
                  </a:cubicBezTo>
                  <a:cubicBezTo>
                    <a:pt x="0" y="20440"/>
                    <a:pt x="4320" y="19873"/>
                    <a:pt x="9158" y="15321"/>
                  </a:cubicBezTo>
                  <a:close/>
                  <a:moveTo>
                    <a:pt x="9158" y="153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1" name="AutoShape 1073"/>
            <p:cNvSpPr>
              <a:spLocks/>
            </p:cNvSpPr>
            <p:nvPr/>
          </p:nvSpPr>
          <p:spPr bwMode="auto">
            <a:xfrm>
              <a:off x="3670300" y="3111500"/>
              <a:ext cx="0" cy="3175"/>
            </a:xfrm>
            <a:custGeom>
              <a:avLst/>
              <a:gdLst/>
              <a:ahLst/>
              <a:cxnLst/>
              <a:rect l="0" t="0" r="r" b="b"/>
              <a:pathLst>
                <a:path w="18234" h="17198">
                  <a:moveTo>
                    <a:pt x="3906" y="15654"/>
                  </a:moveTo>
                  <a:cubicBezTo>
                    <a:pt x="8527" y="11696"/>
                    <a:pt x="18007" y="5634"/>
                    <a:pt x="18007" y="1697"/>
                  </a:cubicBezTo>
                  <a:cubicBezTo>
                    <a:pt x="19212" y="-2240"/>
                    <a:pt x="15622" y="933"/>
                    <a:pt x="7336" y="8524"/>
                  </a:cubicBezTo>
                  <a:cubicBezTo>
                    <a:pt x="-954" y="16166"/>
                    <a:pt x="-2388" y="19360"/>
                    <a:pt x="3906" y="15654"/>
                  </a:cubicBezTo>
                  <a:close/>
                  <a:moveTo>
                    <a:pt x="3906" y="156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2" name="AutoShape 1074"/>
            <p:cNvSpPr>
              <a:spLocks/>
            </p:cNvSpPr>
            <p:nvPr/>
          </p:nvSpPr>
          <p:spPr bwMode="auto">
            <a:xfrm>
              <a:off x="4953000" y="1689100"/>
              <a:ext cx="6350" cy="3175"/>
            </a:xfrm>
            <a:custGeom>
              <a:avLst/>
              <a:gdLst/>
              <a:ahLst/>
              <a:cxnLst/>
              <a:rect l="0" t="0" r="r" b="b"/>
              <a:pathLst>
                <a:path w="20998" h="20359">
                  <a:moveTo>
                    <a:pt x="1589" y="10032"/>
                  </a:moveTo>
                  <a:cubicBezTo>
                    <a:pt x="-160" y="12686"/>
                    <a:pt x="-602" y="17189"/>
                    <a:pt x="959" y="18215"/>
                  </a:cubicBezTo>
                  <a:cubicBezTo>
                    <a:pt x="2403" y="19726"/>
                    <a:pt x="4764" y="20845"/>
                    <a:pt x="6444" y="20146"/>
                  </a:cubicBezTo>
                  <a:cubicBezTo>
                    <a:pt x="8109" y="19391"/>
                    <a:pt x="11946" y="15463"/>
                    <a:pt x="15155" y="11783"/>
                  </a:cubicBezTo>
                  <a:cubicBezTo>
                    <a:pt x="18366" y="8128"/>
                    <a:pt x="20504" y="2993"/>
                    <a:pt x="20998" y="1298"/>
                  </a:cubicBezTo>
                  <a:cubicBezTo>
                    <a:pt x="20334" y="-149"/>
                    <a:pt x="17364" y="-755"/>
                    <a:pt x="12895" y="1453"/>
                  </a:cubicBezTo>
                  <a:cubicBezTo>
                    <a:pt x="8277" y="2690"/>
                    <a:pt x="3421" y="7552"/>
                    <a:pt x="1589" y="10032"/>
                  </a:cubicBezTo>
                  <a:close/>
                  <a:moveTo>
                    <a:pt x="1589" y="100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3" name="AutoShape 1075"/>
            <p:cNvSpPr>
              <a:spLocks/>
            </p:cNvSpPr>
            <p:nvPr/>
          </p:nvSpPr>
          <p:spPr bwMode="auto">
            <a:xfrm>
              <a:off x="3670300" y="3111500"/>
              <a:ext cx="6350" cy="19050"/>
            </a:xfrm>
            <a:custGeom>
              <a:avLst/>
              <a:gdLst/>
              <a:ahLst/>
              <a:cxnLst/>
              <a:rect l="0" t="0" r="r" b="b"/>
              <a:pathLst>
                <a:path w="20784" h="20789">
                  <a:moveTo>
                    <a:pt x="16479" y="1024"/>
                  </a:moveTo>
                  <a:cubicBezTo>
                    <a:pt x="14800" y="1929"/>
                    <a:pt x="11132" y="4320"/>
                    <a:pt x="8683" y="6382"/>
                  </a:cubicBezTo>
                  <a:cubicBezTo>
                    <a:pt x="5992" y="8411"/>
                    <a:pt x="4629" y="9930"/>
                    <a:pt x="5452" y="9772"/>
                  </a:cubicBezTo>
                  <a:cubicBezTo>
                    <a:pt x="6253" y="9573"/>
                    <a:pt x="5852" y="10366"/>
                    <a:pt x="4822" y="11535"/>
                  </a:cubicBezTo>
                  <a:cubicBezTo>
                    <a:pt x="3477" y="12653"/>
                    <a:pt x="1991" y="14588"/>
                    <a:pt x="889" y="15752"/>
                  </a:cubicBezTo>
                  <a:cubicBezTo>
                    <a:pt x="-332" y="16875"/>
                    <a:pt x="-161" y="17787"/>
                    <a:pt x="592" y="17595"/>
                  </a:cubicBezTo>
                  <a:cubicBezTo>
                    <a:pt x="1343" y="17410"/>
                    <a:pt x="4071" y="15640"/>
                    <a:pt x="6726" y="13630"/>
                  </a:cubicBezTo>
                  <a:cubicBezTo>
                    <a:pt x="9156" y="11595"/>
                    <a:pt x="9557" y="11655"/>
                    <a:pt x="7427" y="13724"/>
                  </a:cubicBezTo>
                  <a:cubicBezTo>
                    <a:pt x="5223" y="15798"/>
                    <a:pt x="2270" y="18613"/>
                    <a:pt x="1482" y="20047"/>
                  </a:cubicBezTo>
                  <a:cubicBezTo>
                    <a:pt x="262" y="21441"/>
                    <a:pt x="2009" y="20827"/>
                    <a:pt x="4596" y="18586"/>
                  </a:cubicBezTo>
                  <a:cubicBezTo>
                    <a:pt x="7707" y="16426"/>
                    <a:pt x="12599" y="11483"/>
                    <a:pt x="15746" y="7684"/>
                  </a:cubicBezTo>
                  <a:cubicBezTo>
                    <a:pt x="19081" y="3898"/>
                    <a:pt x="21268" y="515"/>
                    <a:pt x="20691" y="91"/>
                  </a:cubicBezTo>
                  <a:cubicBezTo>
                    <a:pt x="19674" y="-159"/>
                    <a:pt x="18032" y="91"/>
                    <a:pt x="16479" y="1024"/>
                  </a:cubicBezTo>
                  <a:close/>
                  <a:moveTo>
                    <a:pt x="16479" y="10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4" name="AutoShape 1076"/>
            <p:cNvSpPr>
              <a:spLocks/>
            </p:cNvSpPr>
            <p:nvPr/>
          </p:nvSpPr>
          <p:spPr bwMode="auto">
            <a:xfrm>
              <a:off x="4876800" y="1612900"/>
              <a:ext cx="31750" cy="17463"/>
            </a:xfrm>
            <a:custGeom>
              <a:avLst/>
              <a:gdLst/>
              <a:ahLst/>
              <a:cxnLst/>
              <a:rect l="0" t="0" r="r" b="b"/>
              <a:pathLst>
                <a:path w="21327" h="21246">
                  <a:moveTo>
                    <a:pt x="19461" y="4707"/>
                  </a:moveTo>
                  <a:cubicBezTo>
                    <a:pt x="20688" y="2719"/>
                    <a:pt x="21551" y="511"/>
                    <a:pt x="21274" y="222"/>
                  </a:cubicBezTo>
                  <a:cubicBezTo>
                    <a:pt x="21072" y="-240"/>
                    <a:pt x="20242" y="49"/>
                    <a:pt x="19461" y="801"/>
                  </a:cubicBezTo>
                  <a:cubicBezTo>
                    <a:pt x="18697" y="1582"/>
                    <a:pt x="17358" y="2436"/>
                    <a:pt x="16528" y="2827"/>
                  </a:cubicBezTo>
                  <a:cubicBezTo>
                    <a:pt x="15693" y="3166"/>
                    <a:pt x="14111" y="4332"/>
                    <a:pt x="13005" y="5366"/>
                  </a:cubicBezTo>
                  <a:cubicBezTo>
                    <a:pt x="11902" y="6400"/>
                    <a:pt x="10489" y="7782"/>
                    <a:pt x="9787" y="8021"/>
                  </a:cubicBezTo>
                  <a:cubicBezTo>
                    <a:pt x="9138" y="8520"/>
                    <a:pt x="8076" y="9178"/>
                    <a:pt x="7490" y="9684"/>
                  </a:cubicBezTo>
                  <a:cubicBezTo>
                    <a:pt x="6878" y="10126"/>
                    <a:pt x="5800" y="11153"/>
                    <a:pt x="5234" y="12159"/>
                  </a:cubicBezTo>
                  <a:cubicBezTo>
                    <a:pt x="4565" y="12954"/>
                    <a:pt x="3540" y="14407"/>
                    <a:pt x="2884" y="15175"/>
                  </a:cubicBezTo>
                  <a:cubicBezTo>
                    <a:pt x="2222" y="15963"/>
                    <a:pt x="1364" y="17403"/>
                    <a:pt x="884" y="18241"/>
                  </a:cubicBezTo>
                  <a:cubicBezTo>
                    <a:pt x="525" y="19262"/>
                    <a:pt x="91" y="20166"/>
                    <a:pt x="9" y="20462"/>
                  </a:cubicBezTo>
                  <a:cubicBezTo>
                    <a:pt x="-49" y="20781"/>
                    <a:pt x="182" y="20919"/>
                    <a:pt x="463" y="20665"/>
                  </a:cubicBezTo>
                  <a:cubicBezTo>
                    <a:pt x="761" y="20499"/>
                    <a:pt x="881" y="20693"/>
                    <a:pt x="1017" y="20991"/>
                  </a:cubicBezTo>
                  <a:cubicBezTo>
                    <a:pt x="947" y="21360"/>
                    <a:pt x="1509" y="21310"/>
                    <a:pt x="2116" y="20954"/>
                  </a:cubicBezTo>
                  <a:cubicBezTo>
                    <a:pt x="2711" y="20527"/>
                    <a:pt x="3569" y="20007"/>
                    <a:pt x="4036" y="20065"/>
                  </a:cubicBezTo>
                  <a:cubicBezTo>
                    <a:pt x="4503" y="20007"/>
                    <a:pt x="5610" y="19276"/>
                    <a:pt x="6548" y="18625"/>
                  </a:cubicBezTo>
                  <a:cubicBezTo>
                    <a:pt x="7448" y="17800"/>
                    <a:pt x="9547" y="16252"/>
                    <a:pt x="11178" y="14994"/>
                  </a:cubicBezTo>
                  <a:cubicBezTo>
                    <a:pt x="12814" y="13735"/>
                    <a:pt x="14818" y="11659"/>
                    <a:pt x="15698" y="10545"/>
                  </a:cubicBezTo>
                  <a:cubicBezTo>
                    <a:pt x="16528" y="9308"/>
                    <a:pt x="18242" y="6726"/>
                    <a:pt x="19461" y="4707"/>
                  </a:cubicBezTo>
                  <a:close/>
                  <a:moveTo>
                    <a:pt x="19461" y="47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5" name="AutoShape 1077"/>
            <p:cNvSpPr>
              <a:spLocks/>
            </p:cNvSpPr>
            <p:nvPr/>
          </p:nvSpPr>
          <p:spPr bwMode="auto">
            <a:xfrm>
              <a:off x="4648200" y="1803400"/>
              <a:ext cx="7938" cy="4763"/>
            </a:xfrm>
            <a:custGeom>
              <a:avLst/>
              <a:gdLst/>
              <a:ahLst/>
              <a:cxnLst/>
              <a:rect l="0" t="0" r="r" b="b"/>
              <a:pathLst>
                <a:path w="21349" h="20697">
                  <a:moveTo>
                    <a:pt x="5839" y="9042"/>
                  </a:moveTo>
                  <a:cubicBezTo>
                    <a:pt x="4322" y="10912"/>
                    <a:pt x="1845" y="13676"/>
                    <a:pt x="1197" y="15989"/>
                  </a:cubicBezTo>
                  <a:cubicBezTo>
                    <a:pt x="230" y="18105"/>
                    <a:pt x="-251" y="20221"/>
                    <a:pt x="131" y="20600"/>
                  </a:cubicBezTo>
                  <a:cubicBezTo>
                    <a:pt x="396" y="21133"/>
                    <a:pt x="2625" y="19400"/>
                    <a:pt x="4990" y="17124"/>
                  </a:cubicBezTo>
                  <a:cubicBezTo>
                    <a:pt x="7318" y="14812"/>
                    <a:pt x="10631" y="12472"/>
                    <a:pt x="12328" y="11715"/>
                  </a:cubicBezTo>
                  <a:cubicBezTo>
                    <a:pt x="14043" y="11068"/>
                    <a:pt x="16806" y="8664"/>
                    <a:pt x="18619" y="6547"/>
                  </a:cubicBezTo>
                  <a:cubicBezTo>
                    <a:pt x="20367" y="4345"/>
                    <a:pt x="21349" y="1672"/>
                    <a:pt x="21349" y="445"/>
                  </a:cubicBezTo>
                  <a:cubicBezTo>
                    <a:pt x="20797" y="-467"/>
                    <a:pt x="18053" y="-20"/>
                    <a:pt x="14758" y="2182"/>
                  </a:cubicBezTo>
                  <a:cubicBezTo>
                    <a:pt x="11414" y="4254"/>
                    <a:pt x="7352" y="7305"/>
                    <a:pt x="5839" y="9042"/>
                  </a:cubicBezTo>
                  <a:close/>
                  <a:moveTo>
                    <a:pt x="5839" y="90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6" name="AutoShape 1078"/>
            <p:cNvSpPr>
              <a:spLocks/>
            </p:cNvSpPr>
            <p:nvPr/>
          </p:nvSpPr>
          <p:spPr bwMode="auto">
            <a:xfrm>
              <a:off x="4610100" y="1993900"/>
              <a:ext cx="15875" cy="14288"/>
            </a:xfrm>
            <a:custGeom>
              <a:avLst/>
              <a:gdLst/>
              <a:ahLst/>
              <a:cxnLst/>
              <a:rect l="0" t="0" r="r" b="b"/>
              <a:pathLst>
                <a:path w="20474" h="20948">
                  <a:moveTo>
                    <a:pt x="18333" y="46"/>
                  </a:moveTo>
                  <a:cubicBezTo>
                    <a:pt x="16679" y="423"/>
                    <a:pt x="13319" y="2825"/>
                    <a:pt x="10719" y="5310"/>
                  </a:cubicBezTo>
                  <a:cubicBezTo>
                    <a:pt x="8177" y="7880"/>
                    <a:pt x="4568" y="12735"/>
                    <a:pt x="2343" y="15833"/>
                  </a:cubicBezTo>
                  <a:cubicBezTo>
                    <a:pt x="475" y="19192"/>
                    <a:pt x="-645" y="21199"/>
                    <a:pt x="403" y="20922"/>
                  </a:cubicBezTo>
                  <a:cubicBezTo>
                    <a:pt x="1420" y="20452"/>
                    <a:pt x="3002" y="19328"/>
                    <a:pt x="3543" y="18093"/>
                  </a:cubicBezTo>
                  <a:cubicBezTo>
                    <a:pt x="4281" y="16992"/>
                    <a:pt x="5729" y="15145"/>
                    <a:pt x="6650" y="13893"/>
                  </a:cubicBezTo>
                  <a:cubicBezTo>
                    <a:pt x="7723" y="12768"/>
                    <a:pt x="8144" y="12995"/>
                    <a:pt x="7437" y="14364"/>
                  </a:cubicBezTo>
                  <a:cubicBezTo>
                    <a:pt x="6865" y="15817"/>
                    <a:pt x="5522" y="18067"/>
                    <a:pt x="4855" y="19613"/>
                  </a:cubicBezTo>
                  <a:cubicBezTo>
                    <a:pt x="3995" y="21041"/>
                    <a:pt x="4527" y="21376"/>
                    <a:pt x="5880" y="20150"/>
                  </a:cubicBezTo>
                  <a:cubicBezTo>
                    <a:pt x="7270" y="19016"/>
                    <a:pt x="10878" y="15136"/>
                    <a:pt x="13740" y="11425"/>
                  </a:cubicBezTo>
                  <a:cubicBezTo>
                    <a:pt x="16687" y="7804"/>
                    <a:pt x="19723" y="3647"/>
                    <a:pt x="20224" y="2129"/>
                  </a:cubicBezTo>
                  <a:cubicBezTo>
                    <a:pt x="20955" y="717"/>
                    <a:pt x="20009" y="-224"/>
                    <a:pt x="18333" y="46"/>
                  </a:cubicBezTo>
                  <a:close/>
                  <a:moveTo>
                    <a:pt x="18333" y="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7" name="AutoShape 1079"/>
            <p:cNvSpPr>
              <a:spLocks/>
            </p:cNvSpPr>
            <p:nvPr/>
          </p:nvSpPr>
          <p:spPr bwMode="auto">
            <a:xfrm>
              <a:off x="4787900" y="1778000"/>
              <a:ext cx="11113" cy="12700"/>
            </a:xfrm>
            <a:custGeom>
              <a:avLst/>
              <a:gdLst/>
              <a:ahLst/>
              <a:cxnLst/>
              <a:rect l="0" t="0" r="r" b="b"/>
              <a:pathLst>
                <a:path w="21139" h="21055">
                  <a:moveTo>
                    <a:pt x="18110" y="937"/>
                  </a:moveTo>
                  <a:cubicBezTo>
                    <a:pt x="16157" y="2196"/>
                    <a:pt x="13298" y="4470"/>
                    <a:pt x="11761" y="6036"/>
                  </a:cubicBezTo>
                  <a:cubicBezTo>
                    <a:pt x="10224" y="7650"/>
                    <a:pt x="7700" y="9904"/>
                    <a:pt x="6041" y="10976"/>
                  </a:cubicBezTo>
                  <a:cubicBezTo>
                    <a:pt x="4438" y="12098"/>
                    <a:pt x="2229" y="14529"/>
                    <a:pt x="1152" y="16407"/>
                  </a:cubicBezTo>
                  <a:cubicBezTo>
                    <a:pt x="97" y="18288"/>
                    <a:pt x="-284" y="20227"/>
                    <a:pt x="221" y="20749"/>
                  </a:cubicBezTo>
                  <a:cubicBezTo>
                    <a:pt x="713" y="21269"/>
                    <a:pt x="2362" y="21132"/>
                    <a:pt x="3641" y="20295"/>
                  </a:cubicBezTo>
                  <a:cubicBezTo>
                    <a:pt x="4965" y="19517"/>
                    <a:pt x="8777" y="16851"/>
                    <a:pt x="11828" y="14096"/>
                  </a:cubicBezTo>
                  <a:cubicBezTo>
                    <a:pt x="15169" y="11605"/>
                    <a:pt x="18502" y="8221"/>
                    <a:pt x="19499" y="6872"/>
                  </a:cubicBezTo>
                  <a:cubicBezTo>
                    <a:pt x="20576" y="5572"/>
                    <a:pt x="21316" y="4047"/>
                    <a:pt x="20969" y="3664"/>
                  </a:cubicBezTo>
                  <a:cubicBezTo>
                    <a:pt x="20611" y="3281"/>
                    <a:pt x="20947" y="1950"/>
                    <a:pt x="21125" y="800"/>
                  </a:cubicBezTo>
                  <a:cubicBezTo>
                    <a:pt x="21284" y="-331"/>
                    <a:pt x="20082" y="-242"/>
                    <a:pt x="18110" y="937"/>
                  </a:cubicBezTo>
                  <a:close/>
                  <a:moveTo>
                    <a:pt x="18110" y="9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8" name="AutoShape 1080"/>
            <p:cNvSpPr>
              <a:spLocks/>
            </p:cNvSpPr>
            <p:nvPr/>
          </p:nvSpPr>
          <p:spPr bwMode="auto">
            <a:xfrm>
              <a:off x="4660900" y="1739900"/>
              <a:ext cx="169863" cy="169863"/>
            </a:xfrm>
            <a:custGeom>
              <a:avLst/>
              <a:gdLst/>
              <a:ahLst/>
              <a:cxnLst/>
              <a:rect l="0" t="0" r="r" b="b"/>
              <a:pathLst>
                <a:path w="21575" h="21542">
                  <a:moveTo>
                    <a:pt x="13545" y="10289"/>
                  </a:moveTo>
                  <a:cubicBezTo>
                    <a:pt x="13613" y="10158"/>
                    <a:pt x="13847" y="9834"/>
                    <a:pt x="14075" y="9576"/>
                  </a:cubicBezTo>
                  <a:cubicBezTo>
                    <a:pt x="14297" y="9316"/>
                    <a:pt x="14562" y="8945"/>
                    <a:pt x="14650" y="8744"/>
                  </a:cubicBezTo>
                  <a:cubicBezTo>
                    <a:pt x="14750" y="8547"/>
                    <a:pt x="14940" y="8270"/>
                    <a:pt x="15090" y="8141"/>
                  </a:cubicBezTo>
                  <a:cubicBezTo>
                    <a:pt x="15233" y="8005"/>
                    <a:pt x="15269" y="7921"/>
                    <a:pt x="15179" y="7972"/>
                  </a:cubicBezTo>
                  <a:cubicBezTo>
                    <a:pt x="15082" y="8007"/>
                    <a:pt x="14934" y="8124"/>
                    <a:pt x="14833" y="8208"/>
                  </a:cubicBezTo>
                  <a:cubicBezTo>
                    <a:pt x="14745" y="8306"/>
                    <a:pt x="14479" y="8482"/>
                    <a:pt x="14268" y="8631"/>
                  </a:cubicBezTo>
                  <a:cubicBezTo>
                    <a:pt x="14049" y="8769"/>
                    <a:pt x="13721" y="9056"/>
                    <a:pt x="13536" y="9263"/>
                  </a:cubicBezTo>
                  <a:cubicBezTo>
                    <a:pt x="13336" y="9456"/>
                    <a:pt x="13196" y="9598"/>
                    <a:pt x="13170" y="9566"/>
                  </a:cubicBezTo>
                  <a:cubicBezTo>
                    <a:pt x="13170" y="9525"/>
                    <a:pt x="13213" y="9379"/>
                    <a:pt x="13295" y="9236"/>
                  </a:cubicBezTo>
                  <a:cubicBezTo>
                    <a:pt x="13370" y="9090"/>
                    <a:pt x="13584" y="8871"/>
                    <a:pt x="13748" y="8736"/>
                  </a:cubicBezTo>
                  <a:cubicBezTo>
                    <a:pt x="13919" y="8608"/>
                    <a:pt x="14139" y="8385"/>
                    <a:pt x="14226" y="8239"/>
                  </a:cubicBezTo>
                  <a:cubicBezTo>
                    <a:pt x="14333" y="8111"/>
                    <a:pt x="14410" y="7899"/>
                    <a:pt x="14456" y="7806"/>
                  </a:cubicBezTo>
                  <a:cubicBezTo>
                    <a:pt x="14469" y="7706"/>
                    <a:pt x="14439" y="7640"/>
                    <a:pt x="14343" y="7654"/>
                  </a:cubicBezTo>
                  <a:cubicBezTo>
                    <a:pt x="14248" y="7654"/>
                    <a:pt x="14261" y="7607"/>
                    <a:pt x="14386" y="7553"/>
                  </a:cubicBezTo>
                  <a:cubicBezTo>
                    <a:pt x="14495" y="7474"/>
                    <a:pt x="14681" y="7364"/>
                    <a:pt x="14780" y="7285"/>
                  </a:cubicBezTo>
                  <a:cubicBezTo>
                    <a:pt x="14883" y="7212"/>
                    <a:pt x="14982" y="7037"/>
                    <a:pt x="15025" y="6916"/>
                  </a:cubicBezTo>
                  <a:cubicBezTo>
                    <a:pt x="15061" y="6794"/>
                    <a:pt x="14939" y="6695"/>
                    <a:pt x="14754" y="6695"/>
                  </a:cubicBezTo>
                  <a:cubicBezTo>
                    <a:pt x="14572" y="6675"/>
                    <a:pt x="14330" y="6754"/>
                    <a:pt x="14224" y="6832"/>
                  </a:cubicBezTo>
                  <a:cubicBezTo>
                    <a:pt x="14110" y="6896"/>
                    <a:pt x="13806" y="7105"/>
                    <a:pt x="13532" y="7263"/>
                  </a:cubicBezTo>
                  <a:cubicBezTo>
                    <a:pt x="13262" y="7431"/>
                    <a:pt x="12970" y="7626"/>
                    <a:pt x="12896" y="7708"/>
                  </a:cubicBezTo>
                  <a:cubicBezTo>
                    <a:pt x="12811" y="7780"/>
                    <a:pt x="12663" y="7910"/>
                    <a:pt x="12549" y="7967"/>
                  </a:cubicBezTo>
                  <a:cubicBezTo>
                    <a:pt x="12435" y="8029"/>
                    <a:pt x="12381" y="8021"/>
                    <a:pt x="12416" y="7941"/>
                  </a:cubicBezTo>
                  <a:cubicBezTo>
                    <a:pt x="12453" y="7862"/>
                    <a:pt x="12687" y="7615"/>
                    <a:pt x="12910" y="7375"/>
                  </a:cubicBezTo>
                  <a:cubicBezTo>
                    <a:pt x="13149" y="7149"/>
                    <a:pt x="13404" y="6881"/>
                    <a:pt x="13516" y="6847"/>
                  </a:cubicBezTo>
                  <a:cubicBezTo>
                    <a:pt x="13612" y="6781"/>
                    <a:pt x="13925" y="6567"/>
                    <a:pt x="14188" y="6340"/>
                  </a:cubicBezTo>
                  <a:cubicBezTo>
                    <a:pt x="14458" y="6118"/>
                    <a:pt x="14969" y="5763"/>
                    <a:pt x="15322" y="5548"/>
                  </a:cubicBezTo>
                  <a:cubicBezTo>
                    <a:pt x="15683" y="5343"/>
                    <a:pt x="16045" y="5064"/>
                    <a:pt x="16159" y="4972"/>
                  </a:cubicBezTo>
                  <a:cubicBezTo>
                    <a:pt x="16253" y="4860"/>
                    <a:pt x="16504" y="4681"/>
                    <a:pt x="16704" y="4567"/>
                  </a:cubicBezTo>
                  <a:cubicBezTo>
                    <a:pt x="16907" y="4460"/>
                    <a:pt x="17166" y="4298"/>
                    <a:pt x="17292" y="4229"/>
                  </a:cubicBezTo>
                  <a:cubicBezTo>
                    <a:pt x="17420" y="4160"/>
                    <a:pt x="17560" y="4113"/>
                    <a:pt x="17583" y="4142"/>
                  </a:cubicBezTo>
                  <a:cubicBezTo>
                    <a:pt x="17622" y="4142"/>
                    <a:pt x="17726" y="4117"/>
                    <a:pt x="17833" y="4044"/>
                  </a:cubicBezTo>
                  <a:cubicBezTo>
                    <a:pt x="17941" y="3971"/>
                    <a:pt x="18150" y="3765"/>
                    <a:pt x="18265" y="3567"/>
                  </a:cubicBezTo>
                  <a:cubicBezTo>
                    <a:pt x="18408" y="3387"/>
                    <a:pt x="18592" y="3129"/>
                    <a:pt x="18707" y="3021"/>
                  </a:cubicBezTo>
                  <a:cubicBezTo>
                    <a:pt x="18813" y="2905"/>
                    <a:pt x="18801" y="2815"/>
                    <a:pt x="18675" y="2804"/>
                  </a:cubicBezTo>
                  <a:cubicBezTo>
                    <a:pt x="18546" y="2809"/>
                    <a:pt x="18456" y="2747"/>
                    <a:pt x="18456" y="2690"/>
                  </a:cubicBezTo>
                  <a:cubicBezTo>
                    <a:pt x="18456" y="2634"/>
                    <a:pt x="18569" y="2527"/>
                    <a:pt x="18687" y="2446"/>
                  </a:cubicBezTo>
                  <a:cubicBezTo>
                    <a:pt x="18813" y="2370"/>
                    <a:pt x="19016" y="2219"/>
                    <a:pt x="19138" y="2105"/>
                  </a:cubicBezTo>
                  <a:cubicBezTo>
                    <a:pt x="19274" y="2009"/>
                    <a:pt x="19366" y="1948"/>
                    <a:pt x="19354" y="1996"/>
                  </a:cubicBezTo>
                  <a:cubicBezTo>
                    <a:pt x="19354" y="2045"/>
                    <a:pt x="19427" y="2086"/>
                    <a:pt x="19525" y="2056"/>
                  </a:cubicBezTo>
                  <a:cubicBezTo>
                    <a:pt x="19629" y="2045"/>
                    <a:pt x="19932" y="1851"/>
                    <a:pt x="20211" y="1655"/>
                  </a:cubicBezTo>
                  <a:cubicBezTo>
                    <a:pt x="20484" y="1447"/>
                    <a:pt x="20831" y="1168"/>
                    <a:pt x="20973" y="1021"/>
                  </a:cubicBezTo>
                  <a:cubicBezTo>
                    <a:pt x="21125" y="884"/>
                    <a:pt x="21251" y="695"/>
                    <a:pt x="21262" y="618"/>
                  </a:cubicBezTo>
                  <a:cubicBezTo>
                    <a:pt x="21293" y="545"/>
                    <a:pt x="21360" y="418"/>
                    <a:pt x="21413" y="324"/>
                  </a:cubicBezTo>
                  <a:cubicBezTo>
                    <a:pt x="21487" y="245"/>
                    <a:pt x="21569" y="118"/>
                    <a:pt x="21569" y="48"/>
                  </a:cubicBezTo>
                  <a:cubicBezTo>
                    <a:pt x="21600" y="-16"/>
                    <a:pt x="21504" y="-20"/>
                    <a:pt x="21389" y="57"/>
                  </a:cubicBezTo>
                  <a:cubicBezTo>
                    <a:pt x="21269" y="128"/>
                    <a:pt x="21130" y="139"/>
                    <a:pt x="21061" y="99"/>
                  </a:cubicBezTo>
                  <a:cubicBezTo>
                    <a:pt x="21010" y="37"/>
                    <a:pt x="20621" y="163"/>
                    <a:pt x="20219" y="353"/>
                  </a:cubicBezTo>
                  <a:cubicBezTo>
                    <a:pt x="19816" y="541"/>
                    <a:pt x="19399" y="730"/>
                    <a:pt x="19287" y="768"/>
                  </a:cubicBezTo>
                  <a:cubicBezTo>
                    <a:pt x="19180" y="819"/>
                    <a:pt x="18978" y="916"/>
                    <a:pt x="18859" y="1023"/>
                  </a:cubicBezTo>
                  <a:cubicBezTo>
                    <a:pt x="18730" y="1118"/>
                    <a:pt x="18474" y="1273"/>
                    <a:pt x="18285" y="1368"/>
                  </a:cubicBezTo>
                  <a:cubicBezTo>
                    <a:pt x="18095" y="1459"/>
                    <a:pt x="17828" y="1547"/>
                    <a:pt x="17697" y="1558"/>
                  </a:cubicBezTo>
                  <a:cubicBezTo>
                    <a:pt x="17573" y="1600"/>
                    <a:pt x="17328" y="1668"/>
                    <a:pt x="17180" y="1779"/>
                  </a:cubicBezTo>
                  <a:cubicBezTo>
                    <a:pt x="17027" y="1883"/>
                    <a:pt x="16890" y="1891"/>
                    <a:pt x="16835" y="1830"/>
                  </a:cubicBezTo>
                  <a:cubicBezTo>
                    <a:pt x="16816" y="1751"/>
                    <a:pt x="16711" y="1693"/>
                    <a:pt x="16635" y="1683"/>
                  </a:cubicBezTo>
                  <a:cubicBezTo>
                    <a:pt x="16561" y="1669"/>
                    <a:pt x="16545" y="1611"/>
                    <a:pt x="16579" y="1529"/>
                  </a:cubicBezTo>
                  <a:cubicBezTo>
                    <a:pt x="16635" y="1459"/>
                    <a:pt x="16735" y="1310"/>
                    <a:pt x="16842" y="1236"/>
                  </a:cubicBezTo>
                  <a:cubicBezTo>
                    <a:pt x="16943" y="1153"/>
                    <a:pt x="17034" y="1046"/>
                    <a:pt x="17008" y="1015"/>
                  </a:cubicBezTo>
                  <a:cubicBezTo>
                    <a:pt x="17014" y="975"/>
                    <a:pt x="16823" y="1006"/>
                    <a:pt x="16623" y="1102"/>
                  </a:cubicBezTo>
                  <a:cubicBezTo>
                    <a:pt x="16417" y="1176"/>
                    <a:pt x="16133" y="1350"/>
                    <a:pt x="15977" y="1457"/>
                  </a:cubicBezTo>
                  <a:cubicBezTo>
                    <a:pt x="15829" y="1574"/>
                    <a:pt x="15608" y="1737"/>
                    <a:pt x="15488" y="1825"/>
                  </a:cubicBezTo>
                  <a:cubicBezTo>
                    <a:pt x="15369" y="1912"/>
                    <a:pt x="15312" y="2012"/>
                    <a:pt x="15338" y="2043"/>
                  </a:cubicBezTo>
                  <a:cubicBezTo>
                    <a:pt x="15381" y="2043"/>
                    <a:pt x="15524" y="2028"/>
                    <a:pt x="15683" y="1957"/>
                  </a:cubicBezTo>
                  <a:cubicBezTo>
                    <a:pt x="15840" y="1883"/>
                    <a:pt x="15850" y="1943"/>
                    <a:pt x="15705" y="2091"/>
                  </a:cubicBezTo>
                  <a:cubicBezTo>
                    <a:pt x="15553" y="2232"/>
                    <a:pt x="15298" y="2400"/>
                    <a:pt x="15129" y="2467"/>
                  </a:cubicBezTo>
                  <a:cubicBezTo>
                    <a:pt x="14957" y="2527"/>
                    <a:pt x="14794" y="2503"/>
                    <a:pt x="14765" y="2419"/>
                  </a:cubicBezTo>
                  <a:cubicBezTo>
                    <a:pt x="14742" y="2333"/>
                    <a:pt x="14637" y="2310"/>
                    <a:pt x="14551" y="2369"/>
                  </a:cubicBezTo>
                  <a:cubicBezTo>
                    <a:pt x="14460" y="2423"/>
                    <a:pt x="14344" y="2497"/>
                    <a:pt x="14294" y="2486"/>
                  </a:cubicBezTo>
                  <a:cubicBezTo>
                    <a:pt x="14240" y="2486"/>
                    <a:pt x="14045" y="2595"/>
                    <a:pt x="13866" y="2724"/>
                  </a:cubicBezTo>
                  <a:cubicBezTo>
                    <a:pt x="13673" y="2832"/>
                    <a:pt x="13423" y="3074"/>
                    <a:pt x="13300" y="3235"/>
                  </a:cubicBezTo>
                  <a:cubicBezTo>
                    <a:pt x="13169" y="3391"/>
                    <a:pt x="12985" y="3573"/>
                    <a:pt x="12898" y="3646"/>
                  </a:cubicBezTo>
                  <a:cubicBezTo>
                    <a:pt x="12814" y="3724"/>
                    <a:pt x="12681" y="3859"/>
                    <a:pt x="12651" y="3976"/>
                  </a:cubicBezTo>
                  <a:cubicBezTo>
                    <a:pt x="12585" y="4075"/>
                    <a:pt x="12529" y="4278"/>
                    <a:pt x="12462" y="4390"/>
                  </a:cubicBezTo>
                  <a:cubicBezTo>
                    <a:pt x="12416" y="4513"/>
                    <a:pt x="12424" y="4603"/>
                    <a:pt x="12509" y="4592"/>
                  </a:cubicBezTo>
                  <a:cubicBezTo>
                    <a:pt x="12593" y="4587"/>
                    <a:pt x="12587" y="4689"/>
                    <a:pt x="12518" y="4832"/>
                  </a:cubicBezTo>
                  <a:cubicBezTo>
                    <a:pt x="12442" y="4971"/>
                    <a:pt x="12294" y="5159"/>
                    <a:pt x="12196" y="5251"/>
                  </a:cubicBezTo>
                  <a:cubicBezTo>
                    <a:pt x="12104" y="5349"/>
                    <a:pt x="11930" y="5556"/>
                    <a:pt x="11800" y="5708"/>
                  </a:cubicBezTo>
                  <a:cubicBezTo>
                    <a:pt x="11682" y="5869"/>
                    <a:pt x="11552" y="6005"/>
                    <a:pt x="11521" y="6020"/>
                  </a:cubicBezTo>
                  <a:cubicBezTo>
                    <a:pt x="11489" y="6033"/>
                    <a:pt x="11540" y="5845"/>
                    <a:pt x="11658" y="5612"/>
                  </a:cubicBezTo>
                  <a:cubicBezTo>
                    <a:pt x="11753" y="5372"/>
                    <a:pt x="11844" y="5123"/>
                    <a:pt x="11831" y="5048"/>
                  </a:cubicBezTo>
                  <a:cubicBezTo>
                    <a:pt x="11812" y="4975"/>
                    <a:pt x="11739" y="4919"/>
                    <a:pt x="11652" y="4919"/>
                  </a:cubicBezTo>
                  <a:cubicBezTo>
                    <a:pt x="11566" y="4919"/>
                    <a:pt x="11415" y="5029"/>
                    <a:pt x="11313" y="5150"/>
                  </a:cubicBezTo>
                  <a:cubicBezTo>
                    <a:pt x="11222" y="5282"/>
                    <a:pt x="11032" y="5406"/>
                    <a:pt x="10923" y="5462"/>
                  </a:cubicBezTo>
                  <a:cubicBezTo>
                    <a:pt x="10805" y="5499"/>
                    <a:pt x="10601" y="5663"/>
                    <a:pt x="10446" y="5789"/>
                  </a:cubicBezTo>
                  <a:cubicBezTo>
                    <a:pt x="10292" y="5915"/>
                    <a:pt x="10108" y="6158"/>
                    <a:pt x="10012" y="6306"/>
                  </a:cubicBezTo>
                  <a:cubicBezTo>
                    <a:pt x="9913" y="6452"/>
                    <a:pt x="9904" y="6634"/>
                    <a:pt x="9933" y="6713"/>
                  </a:cubicBezTo>
                  <a:cubicBezTo>
                    <a:pt x="9986" y="6779"/>
                    <a:pt x="9971" y="6916"/>
                    <a:pt x="9918" y="7004"/>
                  </a:cubicBezTo>
                  <a:cubicBezTo>
                    <a:pt x="9861" y="7090"/>
                    <a:pt x="9858" y="7241"/>
                    <a:pt x="9893" y="7339"/>
                  </a:cubicBezTo>
                  <a:cubicBezTo>
                    <a:pt x="9934" y="7436"/>
                    <a:pt x="10116" y="7420"/>
                    <a:pt x="10312" y="7323"/>
                  </a:cubicBezTo>
                  <a:cubicBezTo>
                    <a:pt x="10501" y="7216"/>
                    <a:pt x="10784" y="7002"/>
                    <a:pt x="10932" y="6838"/>
                  </a:cubicBezTo>
                  <a:cubicBezTo>
                    <a:pt x="11075" y="6671"/>
                    <a:pt x="11248" y="6534"/>
                    <a:pt x="11289" y="6503"/>
                  </a:cubicBezTo>
                  <a:cubicBezTo>
                    <a:pt x="11337" y="6479"/>
                    <a:pt x="11339" y="6548"/>
                    <a:pt x="11300" y="6660"/>
                  </a:cubicBezTo>
                  <a:cubicBezTo>
                    <a:pt x="11247" y="6766"/>
                    <a:pt x="11257" y="6944"/>
                    <a:pt x="11263" y="7050"/>
                  </a:cubicBezTo>
                  <a:cubicBezTo>
                    <a:pt x="11300" y="7149"/>
                    <a:pt x="11274" y="7300"/>
                    <a:pt x="11242" y="7376"/>
                  </a:cubicBezTo>
                  <a:cubicBezTo>
                    <a:pt x="11213" y="7453"/>
                    <a:pt x="11092" y="7558"/>
                    <a:pt x="10979" y="7615"/>
                  </a:cubicBezTo>
                  <a:cubicBezTo>
                    <a:pt x="10867" y="7669"/>
                    <a:pt x="10775" y="7633"/>
                    <a:pt x="10786" y="7533"/>
                  </a:cubicBezTo>
                  <a:cubicBezTo>
                    <a:pt x="10780" y="7432"/>
                    <a:pt x="10728" y="7378"/>
                    <a:pt x="10642" y="7385"/>
                  </a:cubicBezTo>
                  <a:cubicBezTo>
                    <a:pt x="10556" y="7400"/>
                    <a:pt x="10348" y="7496"/>
                    <a:pt x="10188" y="7605"/>
                  </a:cubicBezTo>
                  <a:cubicBezTo>
                    <a:pt x="10020" y="7703"/>
                    <a:pt x="9819" y="7870"/>
                    <a:pt x="9718" y="7953"/>
                  </a:cubicBezTo>
                  <a:cubicBezTo>
                    <a:pt x="9627" y="8047"/>
                    <a:pt x="9530" y="8187"/>
                    <a:pt x="9523" y="8277"/>
                  </a:cubicBezTo>
                  <a:cubicBezTo>
                    <a:pt x="9507" y="8365"/>
                    <a:pt x="9434" y="8530"/>
                    <a:pt x="9352" y="8641"/>
                  </a:cubicBezTo>
                  <a:cubicBezTo>
                    <a:pt x="9283" y="8760"/>
                    <a:pt x="9068" y="8962"/>
                    <a:pt x="8903" y="9108"/>
                  </a:cubicBezTo>
                  <a:cubicBezTo>
                    <a:pt x="8740" y="9253"/>
                    <a:pt x="8570" y="9430"/>
                    <a:pt x="8561" y="9507"/>
                  </a:cubicBezTo>
                  <a:cubicBezTo>
                    <a:pt x="8539" y="9583"/>
                    <a:pt x="8361" y="9812"/>
                    <a:pt x="8165" y="10013"/>
                  </a:cubicBezTo>
                  <a:cubicBezTo>
                    <a:pt x="7974" y="10220"/>
                    <a:pt x="7707" y="10456"/>
                    <a:pt x="7593" y="10564"/>
                  </a:cubicBezTo>
                  <a:cubicBezTo>
                    <a:pt x="7475" y="10664"/>
                    <a:pt x="7343" y="10825"/>
                    <a:pt x="7304" y="10926"/>
                  </a:cubicBezTo>
                  <a:cubicBezTo>
                    <a:pt x="7261" y="11025"/>
                    <a:pt x="7163" y="11193"/>
                    <a:pt x="7054" y="11266"/>
                  </a:cubicBezTo>
                  <a:cubicBezTo>
                    <a:pt x="6954" y="11354"/>
                    <a:pt x="6760" y="11477"/>
                    <a:pt x="6617" y="11524"/>
                  </a:cubicBezTo>
                  <a:cubicBezTo>
                    <a:pt x="6484" y="11596"/>
                    <a:pt x="6329" y="11574"/>
                    <a:pt x="6317" y="11502"/>
                  </a:cubicBezTo>
                  <a:cubicBezTo>
                    <a:pt x="6293" y="11432"/>
                    <a:pt x="6328" y="11281"/>
                    <a:pt x="6391" y="11162"/>
                  </a:cubicBezTo>
                  <a:cubicBezTo>
                    <a:pt x="6460" y="11047"/>
                    <a:pt x="6452" y="10863"/>
                    <a:pt x="6351" y="10794"/>
                  </a:cubicBezTo>
                  <a:cubicBezTo>
                    <a:pt x="6267" y="10706"/>
                    <a:pt x="6260" y="10534"/>
                    <a:pt x="6354" y="10408"/>
                  </a:cubicBezTo>
                  <a:cubicBezTo>
                    <a:pt x="6429" y="10274"/>
                    <a:pt x="6522" y="10121"/>
                    <a:pt x="6548" y="10058"/>
                  </a:cubicBezTo>
                  <a:cubicBezTo>
                    <a:pt x="6540" y="9992"/>
                    <a:pt x="6480" y="9974"/>
                    <a:pt x="6362" y="10028"/>
                  </a:cubicBezTo>
                  <a:cubicBezTo>
                    <a:pt x="6237" y="10068"/>
                    <a:pt x="6190" y="10061"/>
                    <a:pt x="6228" y="9985"/>
                  </a:cubicBezTo>
                  <a:cubicBezTo>
                    <a:pt x="6286" y="9920"/>
                    <a:pt x="6383" y="9810"/>
                    <a:pt x="6461" y="9753"/>
                  </a:cubicBezTo>
                  <a:cubicBezTo>
                    <a:pt x="6554" y="9720"/>
                    <a:pt x="6698" y="9579"/>
                    <a:pt x="6794" y="9478"/>
                  </a:cubicBezTo>
                  <a:cubicBezTo>
                    <a:pt x="6902" y="9387"/>
                    <a:pt x="6979" y="9252"/>
                    <a:pt x="6945" y="9214"/>
                  </a:cubicBezTo>
                  <a:cubicBezTo>
                    <a:pt x="6941" y="9162"/>
                    <a:pt x="6817" y="9155"/>
                    <a:pt x="6699" y="9192"/>
                  </a:cubicBezTo>
                  <a:cubicBezTo>
                    <a:pt x="6582" y="9230"/>
                    <a:pt x="6266" y="9416"/>
                    <a:pt x="5988" y="9595"/>
                  </a:cubicBezTo>
                  <a:cubicBezTo>
                    <a:pt x="5716" y="9783"/>
                    <a:pt x="5474" y="9899"/>
                    <a:pt x="5477" y="9859"/>
                  </a:cubicBezTo>
                  <a:cubicBezTo>
                    <a:pt x="5448" y="9830"/>
                    <a:pt x="5388" y="9834"/>
                    <a:pt x="5297" y="9898"/>
                  </a:cubicBezTo>
                  <a:cubicBezTo>
                    <a:pt x="5201" y="9949"/>
                    <a:pt x="5033" y="10104"/>
                    <a:pt x="4920" y="10228"/>
                  </a:cubicBezTo>
                  <a:cubicBezTo>
                    <a:pt x="4797" y="10344"/>
                    <a:pt x="4553" y="10549"/>
                    <a:pt x="4374" y="10683"/>
                  </a:cubicBezTo>
                  <a:cubicBezTo>
                    <a:pt x="4186" y="10804"/>
                    <a:pt x="3784" y="11168"/>
                    <a:pt x="3471" y="11473"/>
                  </a:cubicBezTo>
                  <a:cubicBezTo>
                    <a:pt x="3156" y="11776"/>
                    <a:pt x="2891" y="12083"/>
                    <a:pt x="2903" y="12146"/>
                  </a:cubicBezTo>
                  <a:cubicBezTo>
                    <a:pt x="2908" y="12211"/>
                    <a:pt x="2792" y="12458"/>
                    <a:pt x="2648" y="12689"/>
                  </a:cubicBezTo>
                  <a:cubicBezTo>
                    <a:pt x="2518" y="12930"/>
                    <a:pt x="2329" y="13205"/>
                    <a:pt x="2234" y="13299"/>
                  </a:cubicBezTo>
                  <a:cubicBezTo>
                    <a:pt x="2150" y="13403"/>
                    <a:pt x="2077" y="13536"/>
                    <a:pt x="2117" y="13580"/>
                  </a:cubicBezTo>
                  <a:cubicBezTo>
                    <a:pt x="2129" y="13637"/>
                    <a:pt x="2045" y="13859"/>
                    <a:pt x="1884" y="14067"/>
                  </a:cubicBezTo>
                  <a:cubicBezTo>
                    <a:pt x="1724" y="14275"/>
                    <a:pt x="1438" y="14579"/>
                    <a:pt x="1239" y="14746"/>
                  </a:cubicBezTo>
                  <a:cubicBezTo>
                    <a:pt x="1032" y="14898"/>
                    <a:pt x="793" y="15147"/>
                    <a:pt x="728" y="15300"/>
                  </a:cubicBezTo>
                  <a:cubicBezTo>
                    <a:pt x="651" y="15447"/>
                    <a:pt x="606" y="15615"/>
                    <a:pt x="651" y="15615"/>
                  </a:cubicBezTo>
                  <a:cubicBezTo>
                    <a:pt x="676" y="15651"/>
                    <a:pt x="815" y="15597"/>
                    <a:pt x="944" y="15521"/>
                  </a:cubicBezTo>
                  <a:cubicBezTo>
                    <a:pt x="1069" y="15442"/>
                    <a:pt x="1205" y="15388"/>
                    <a:pt x="1226" y="15419"/>
                  </a:cubicBezTo>
                  <a:cubicBezTo>
                    <a:pt x="1254" y="15447"/>
                    <a:pt x="1402" y="15346"/>
                    <a:pt x="1569" y="15229"/>
                  </a:cubicBezTo>
                  <a:cubicBezTo>
                    <a:pt x="1725" y="15096"/>
                    <a:pt x="1910" y="15004"/>
                    <a:pt x="1972" y="14989"/>
                  </a:cubicBezTo>
                  <a:cubicBezTo>
                    <a:pt x="2032" y="14995"/>
                    <a:pt x="1997" y="15117"/>
                    <a:pt x="1896" y="15282"/>
                  </a:cubicBezTo>
                  <a:cubicBezTo>
                    <a:pt x="1790" y="15444"/>
                    <a:pt x="1732" y="15611"/>
                    <a:pt x="1732" y="15652"/>
                  </a:cubicBezTo>
                  <a:cubicBezTo>
                    <a:pt x="1762" y="15682"/>
                    <a:pt x="1828" y="15702"/>
                    <a:pt x="1901" y="15650"/>
                  </a:cubicBezTo>
                  <a:cubicBezTo>
                    <a:pt x="1983" y="15613"/>
                    <a:pt x="2058" y="15670"/>
                    <a:pt x="2058" y="15787"/>
                  </a:cubicBezTo>
                  <a:cubicBezTo>
                    <a:pt x="2048" y="15903"/>
                    <a:pt x="1949" y="16180"/>
                    <a:pt x="1818" y="16412"/>
                  </a:cubicBezTo>
                  <a:cubicBezTo>
                    <a:pt x="1663" y="16631"/>
                    <a:pt x="1614" y="16889"/>
                    <a:pt x="1650" y="16979"/>
                  </a:cubicBezTo>
                  <a:cubicBezTo>
                    <a:pt x="1717" y="17046"/>
                    <a:pt x="1697" y="17231"/>
                    <a:pt x="1618" y="17337"/>
                  </a:cubicBezTo>
                  <a:cubicBezTo>
                    <a:pt x="1581" y="17463"/>
                    <a:pt x="1498" y="17619"/>
                    <a:pt x="1498" y="17708"/>
                  </a:cubicBezTo>
                  <a:cubicBezTo>
                    <a:pt x="1486" y="17799"/>
                    <a:pt x="1568" y="17880"/>
                    <a:pt x="1653" y="17861"/>
                  </a:cubicBezTo>
                  <a:cubicBezTo>
                    <a:pt x="1741" y="17861"/>
                    <a:pt x="1728" y="17946"/>
                    <a:pt x="1626" y="18060"/>
                  </a:cubicBezTo>
                  <a:cubicBezTo>
                    <a:pt x="1517" y="18169"/>
                    <a:pt x="1369" y="18431"/>
                    <a:pt x="1278" y="18626"/>
                  </a:cubicBezTo>
                  <a:cubicBezTo>
                    <a:pt x="1186" y="18820"/>
                    <a:pt x="962" y="19150"/>
                    <a:pt x="781" y="19365"/>
                  </a:cubicBezTo>
                  <a:cubicBezTo>
                    <a:pt x="586" y="19564"/>
                    <a:pt x="492" y="19786"/>
                    <a:pt x="541" y="19840"/>
                  </a:cubicBezTo>
                  <a:cubicBezTo>
                    <a:pt x="591" y="19891"/>
                    <a:pt x="572" y="20036"/>
                    <a:pt x="543" y="20180"/>
                  </a:cubicBezTo>
                  <a:cubicBezTo>
                    <a:pt x="489" y="20316"/>
                    <a:pt x="360" y="20569"/>
                    <a:pt x="235" y="20728"/>
                  </a:cubicBezTo>
                  <a:cubicBezTo>
                    <a:pt x="114" y="20892"/>
                    <a:pt x="8" y="21078"/>
                    <a:pt x="0" y="21142"/>
                  </a:cubicBezTo>
                  <a:cubicBezTo>
                    <a:pt x="0" y="21206"/>
                    <a:pt x="104" y="21153"/>
                    <a:pt x="244" y="21020"/>
                  </a:cubicBezTo>
                  <a:cubicBezTo>
                    <a:pt x="394" y="20898"/>
                    <a:pt x="533" y="20807"/>
                    <a:pt x="557" y="20843"/>
                  </a:cubicBezTo>
                  <a:cubicBezTo>
                    <a:pt x="585" y="20877"/>
                    <a:pt x="548" y="21033"/>
                    <a:pt x="468" y="21193"/>
                  </a:cubicBezTo>
                  <a:cubicBezTo>
                    <a:pt x="392" y="21354"/>
                    <a:pt x="367" y="21520"/>
                    <a:pt x="430" y="21532"/>
                  </a:cubicBezTo>
                  <a:cubicBezTo>
                    <a:pt x="473" y="21580"/>
                    <a:pt x="739" y="21441"/>
                    <a:pt x="991" y="21277"/>
                  </a:cubicBezTo>
                  <a:cubicBezTo>
                    <a:pt x="1242" y="21109"/>
                    <a:pt x="1576" y="20813"/>
                    <a:pt x="1741" y="20621"/>
                  </a:cubicBezTo>
                  <a:cubicBezTo>
                    <a:pt x="1902" y="20429"/>
                    <a:pt x="2232" y="20101"/>
                    <a:pt x="2483" y="19906"/>
                  </a:cubicBezTo>
                  <a:cubicBezTo>
                    <a:pt x="2729" y="19704"/>
                    <a:pt x="3019" y="19410"/>
                    <a:pt x="3142" y="19262"/>
                  </a:cubicBezTo>
                  <a:cubicBezTo>
                    <a:pt x="3265" y="19113"/>
                    <a:pt x="3309" y="18960"/>
                    <a:pt x="3273" y="18920"/>
                  </a:cubicBezTo>
                  <a:cubicBezTo>
                    <a:pt x="3221" y="18906"/>
                    <a:pt x="3226" y="18679"/>
                    <a:pt x="3260" y="18460"/>
                  </a:cubicBezTo>
                  <a:cubicBezTo>
                    <a:pt x="3278" y="18241"/>
                    <a:pt x="3395" y="17936"/>
                    <a:pt x="3502" y="17793"/>
                  </a:cubicBezTo>
                  <a:cubicBezTo>
                    <a:pt x="3582" y="17634"/>
                    <a:pt x="4004" y="17218"/>
                    <a:pt x="4411" y="16859"/>
                  </a:cubicBezTo>
                  <a:cubicBezTo>
                    <a:pt x="4805" y="16485"/>
                    <a:pt x="5085" y="16287"/>
                    <a:pt x="5011" y="16396"/>
                  </a:cubicBezTo>
                  <a:cubicBezTo>
                    <a:pt x="4947" y="16511"/>
                    <a:pt x="4697" y="16812"/>
                    <a:pt x="4446" y="17050"/>
                  </a:cubicBezTo>
                  <a:cubicBezTo>
                    <a:pt x="4220" y="17314"/>
                    <a:pt x="3916" y="17706"/>
                    <a:pt x="3838" y="17964"/>
                  </a:cubicBezTo>
                  <a:cubicBezTo>
                    <a:pt x="3747" y="18220"/>
                    <a:pt x="3742" y="18410"/>
                    <a:pt x="3830" y="18392"/>
                  </a:cubicBezTo>
                  <a:cubicBezTo>
                    <a:pt x="3921" y="18385"/>
                    <a:pt x="4168" y="18236"/>
                    <a:pt x="4365" y="18067"/>
                  </a:cubicBezTo>
                  <a:cubicBezTo>
                    <a:pt x="4569" y="17908"/>
                    <a:pt x="4845" y="17780"/>
                    <a:pt x="4966" y="17824"/>
                  </a:cubicBezTo>
                  <a:cubicBezTo>
                    <a:pt x="5095" y="17824"/>
                    <a:pt x="5409" y="17722"/>
                    <a:pt x="5673" y="17553"/>
                  </a:cubicBezTo>
                  <a:cubicBezTo>
                    <a:pt x="5937" y="17381"/>
                    <a:pt x="6199" y="17138"/>
                    <a:pt x="6273" y="17028"/>
                  </a:cubicBezTo>
                  <a:cubicBezTo>
                    <a:pt x="6327" y="16906"/>
                    <a:pt x="6588" y="16679"/>
                    <a:pt x="6825" y="16506"/>
                  </a:cubicBezTo>
                  <a:cubicBezTo>
                    <a:pt x="7057" y="16330"/>
                    <a:pt x="7379" y="16138"/>
                    <a:pt x="7532" y="16066"/>
                  </a:cubicBezTo>
                  <a:cubicBezTo>
                    <a:pt x="7685" y="15993"/>
                    <a:pt x="7938" y="15840"/>
                    <a:pt x="8078" y="15706"/>
                  </a:cubicBezTo>
                  <a:cubicBezTo>
                    <a:pt x="8222" y="15575"/>
                    <a:pt x="8383" y="15488"/>
                    <a:pt x="8413" y="15525"/>
                  </a:cubicBezTo>
                  <a:cubicBezTo>
                    <a:pt x="8459" y="15533"/>
                    <a:pt x="8690" y="15392"/>
                    <a:pt x="8948" y="15170"/>
                  </a:cubicBezTo>
                  <a:cubicBezTo>
                    <a:pt x="9205" y="14944"/>
                    <a:pt x="9401" y="14691"/>
                    <a:pt x="9372" y="14606"/>
                  </a:cubicBezTo>
                  <a:cubicBezTo>
                    <a:pt x="9343" y="14521"/>
                    <a:pt x="9460" y="14370"/>
                    <a:pt x="9634" y="14290"/>
                  </a:cubicBezTo>
                  <a:cubicBezTo>
                    <a:pt x="9801" y="14196"/>
                    <a:pt x="10009" y="14050"/>
                    <a:pt x="10094" y="13958"/>
                  </a:cubicBezTo>
                  <a:cubicBezTo>
                    <a:pt x="10170" y="13858"/>
                    <a:pt x="10116" y="13802"/>
                    <a:pt x="9958" y="13789"/>
                  </a:cubicBezTo>
                  <a:cubicBezTo>
                    <a:pt x="9801" y="13777"/>
                    <a:pt x="9692" y="13739"/>
                    <a:pt x="9726" y="13682"/>
                  </a:cubicBezTo>
                  <a:cubicBezTo>
                    <a:pt x="9746" y="13619"/>
                    <a:pt x="9893" y="13489"/>
                    <a:pt x="10028" y="13383"/>
                  </a:cubicBezTo>
                  <a:cubicBezTo>
                    <a:pt x="10171" y="13283"/>
                    <a:pt x="10290" y="13228"/>
                    <a:pt x="10293" y="13271"/>
                  </a:cubicBezTo>
                  <a:cubicBezTo>
                    <a:pt x="10321" y="13304"/>
                    <a:pt x="10392" y="13293"/>
                    <a:pt x="10495" y="13232"/>
                  </a:cubicBezTo>
                  <a:cubicBezTo>
                    <a:pt x="10592" y="13161"/>
                    <a:pt x="10828" y="12928"/>
                    <a:pt x="11010" y="12700"/>
                  </a:cubicBezTo>
                  <a:cubicBezTo>
                    <a:pt x="11197" y="12478"/>
                    <a:pt x="11326" y="12243"/>
                    <a:pt x="11317" y="12190"/>
                  </a:cubicBezTo>
                  <a:cubicBezTo>
                    <a:pt x="11312" y="12137"/>
                    <a:pt x="11385" y="12034"/>
                    <a:pt x="11454" y="11930"/>
                  </a:cubicBezTo>
                  <a:cubicBezTo>
                    <a:pt x="11549" y="11851"/>
                    <a:pt x="11721" y="11704"/>
                    <a:pt x="11859" y="11641"/>
                  </a:cubicBezTo>
                  <a:cubicBezTo>
                    <a:pt x="11994" y="11571"/>
                    <a:pt x="12405" y="11297"/>
                    <a:pt x="12759" y="11021"/>
                  </a:cubicBezTo>
                  <a:cubicBezTo>
                    <a:pt x="13118" y="10746"/>
                    <a:pt x="13464" y="10415"/>
                    <a:pt x="13545" y="10289"/>
                  </a:cubicBezTo>
                  <a:close/>
                  <a:moveTo>
                    <a:pt x="13545" y="102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79" name="AutoShape 1081"/>
            <p:cNvSpPr>
              <a:spLocks/>
            </p:cNvSpPr>
            <p:nvPr/>
          </p:nvSpPr>
          <p:spPr bwMode="auto">
            <a:xfrm>
              <a:off x="4686300" y="1892300"/>
              <a:ext cx="3175" cy="3175"/>
            </a:xfrm>
            <a:custGeom>
              <a:avLst/>
              <a:gdLst/>
              <a:ahLst/>
              <a:cxnLst/>
              <a:rect l="0" t="0" r="r" b="b"/>
              <a:pathLst>
                <a:path w="19790" h="20006">
                  <a:moveTo>
                    <a:pt x="4793" y="11113"/>
                  </a:moveTo>
                  <a:cubicBezTo>
                    <a:pt x="1745" y="15203"/>
                    <a:pt x="-849" y="18784"/>
                    <a:pt x="262" y="19562"/>
                  </a:cubicBezTo>
                  <a:cubicBezTo>
                    <a:pt x="1127" y="20525"/>
                    <a:pt x="4699" y="19912"/>
                    <a:pt x="7318" y="17826"/>
                  </a:cubicBezTo>
                  <a:cubicBezTo>
                    <a:pt x="10245" y="16112"/>
                    <a:pt x="14743" y="10473"/>
                    <a:pt x="17918" y="5742"/>
                  </a:cubicBezTo>
                  <a:cubicBezTo>
                    <a:pt x="20291" y="688"/>
                    <a:pt x="20751" y="-1075"/>
                    <a:pt x="17273" y="634"/>
                  </a:cubicBezTo>
                  <a:cubicBezTo>
                    <a:pt x="14038" y="2774"/>
                    <a:pt x="8643" y="7587"/>
                    <a:pt x="4793" y="11113"/>
                  </a:cubicBezTo>
                  <a:close/>
                  <a:moveTo>
                    <a:pt x="4793" y="111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0" name="AutoShape 1082"/>
            <p:cNvSpPr>
              <a:spLocks/>
            </p:cNvSpPr>
            <p:nvPr/>
          </p:nvSpPr>
          <p:spPr bwMode="auto">
            <a:xfrm>
              <a:off x="4305300" y="1816100"/>
              <a:ext cx="341313" cy="341313"/>
            </a:xfrm>
            <a:custGeom>
              <a:avLst/>
              <a:gdLst/>
              <a:ahLst/>
              <a:cxnLst/>
              <a:rect l="0" t="0" r="r" b="b"/>
              <a:pathLst>
                <a:path w="21590" h="21573">
                  <a:moveTo>
                    <a:pt x="21470" y="344"/>
                  </a:moveTo>
                  <a:cubicBezTo>
                    <a:pt x="21512" y="298"/>
                    <a:pt x="21569" y="195"/>
                    <a:pt x="21586" y="111"/>
                  </a:cubicBezTo>
                  <a:cubicBezTo>
                    <a:pt x="21600" y="27"/>
                    <a:pt x="21573" y="-18"/>
                    <a:pt x="21513" y="6"/>
                  </a:cubicBezTo>
                  <a:cubicBezTo>
                    <a:pt x="21452" y="30"/>
                    <a:pt x="21392" y="46"/>
                    <a:pt x="21384" y="32"/>
                  </a:cubicBezTo>
                  <a:cubicBezTo>
                    <a:pt x="21372" y="21"/>
                    <a:pt x="21338" y="32"/>
                    <a:pt x="21304" y="50"/>
                  </a:cubicBezTo>
                  <a:cubicBezTo>
                    <a:pt x="21274" y="76"/>
                    <a:pt x="21190" y="166"/>
                    <a:pt x="21121" y="257"/>
                  </a:cubicBezTo>
                  <a:cubicBezTo>
                    <a:pt x="21057" y="353"/>
                    <a:pt x="20971" y="444"/>
                    <a:pt x="20937" y="459"/>
                  </a:cubicBezTo>
                  <a:cubicBezTo>
                    <a:pt x="20906" y="480"/>
                    <a:pt x="20882" y="423"/>
                    <a:pt x="20882" y="341"/>
                  </a:cubicBezTo>
                  <a:cubicBezTo>
                    <a:pt x="20882" y="259"/>
                    <a:pt x="20849" y="206"/>
                    <a:pt x="20808" y="229"/>
                  </a:cubicBezTo>
                  <a:cubicBezTo>
                    <a:pt x="20764" y="248"/>
                    <a:pt x="20720" y="243"/>
                    <a:pt x="20698" y="223"/>
                  </a:cubicBezTo>
                  <a:cubicBezTo>
                    <a:pt x="20682" y="199"/>
                    <a:pt x="20611" y="219"/>
                    <a:pt x="20553" y="274"/>
                  </a:cubicBezTo>
                  <a:cubicBezTo>
                    <a:pt x="20487" y="323"/>
                    <a:pt x="20408" y="430"/>
                    <a:pt x="20366" y="503"/>
                  </a:cubicBezTo>
                  <a:cubicBezTo>
                    <a:pt x="20335" y="583"/>
                    <a:pt x="20262" y="666"/>
                    <a:pt x="20226" y="698"/>
                  </a:cubicBezTo>
                  <a:cubicBezTo>
                    <a:pt x="20185" y="725"/>
                    <a:pt x="20124" y="772"/>
                    <a:pt x="20080" y="786"/>
                  </a:cubicBezTo>
                  <a:cubicBezTo>
                    <a:pt x="20037" y="801"/>
                    <a:pt x="19932" y="899"/>
                    <a:pt x="19844" y="998"/>
                  </a:cubicBezTo>
                  <a:cubicBezTo>
                    <a:pt x="19754" y="1094"/>
                    <a:pt x="19662" y="1211"/>
                    <a:pt x="19639" y="1253"/>
                  </a:cubicBezTo>
                  <a:cubicBezTo>
                    <a:pt x="19609" y="1290"/>
                    <a:pt x="19545" y="1370"/>
                    <a:pt x="19483" y="1417"/>
                  </a:cubicBezTo>
                  <a:cubicBezTo>
                    <a:pt x="19427" y="1471"/>
                    <a:pt x="19237" y="1660"/>
                    <a:pt x="19084" y="1859"/>
                  </a:cubicBezTo>
                  <a:cubicBezTo>
                    <a:pt x="18920" y="2050"/>
                    <a:pt x="18756" y="2266"/>
                    <a:pt x="18716" y="2336"/>
                  </a:cubicBezTo>
                  <a:cubicBezTo>
                    <a:pt x="18678" y="2406"/>
                    <a:pt x="18578" y="2519"/>
                    <a:pt x="18506" y="2596"/>
                  </a:cubicBezTo>
                  <a:cubicBezTo>
                    <a:pt x="18432" y="2671"/>
                    <a:pt x="18329" y="2803"/>
                    <a:pt x="18273" y="2886"/>
                  </a:cubicBezTo>
                  <a:cubicBezTo>
                    <a:pt x="18218" y="2969"/>
                    <a:pt x="18145" y="3066"/>
                    <a:pt x="18108" y="3097"/>
                  </a:cubicBezTo>
                  <a:cubicBezTo>
                    <a:pt x="18075" y="3134"/>
                    <a:pt x="18009" y="3206"/>
                    <a:pt x="17970" y="3266"/>
                  </a:cubicBezTo>
                  <a:cubicBezTo>
                    <a:pt x="17924" y="3320"/>
                    <a:pt x="17831" y="3417"/>
                    <a:pt x="17766" y="3486"/>
                  </a:cubicBezTo>
                  <a:cubicBezTo>
                    <a:pt x="17692" y="3547"/>
                    <a:pt x="17564" y="3720"/>
                    <a:pt x="17466" y="3857"/>
                  </a:cubicBezTo>
                  <a:cubicBezTo>
                    <a:pt x="17376" y="4001"/>
                    <a:pt x="17232" y="4167"/>
                    <a:pt x="17159" y="4236"/>
                  </a:cubicBezTo>
                  <a:cubicBezTo>
                    <a:pt x="17082" y="4302"/>
                    <a:pt x="16999" y="4360"/>
                    <a:pt x="16976" y="4368"/>
                  </a:cubicBezTo>
                  <a:cubicBezTo>
                    <a:pt x="16952" y="4368"/>
                    <a:pt x="16835" y="4492"/>
                    <a:pt x="16719" y="4633"/>
                  </a:cubicBezTo>
                  <a:cubicBezTo>
                    <a:pt x="16602" y="4774"/>
                    <a:pt x="16503" y="4909"/>
                    <a:pt x="16503" y="4936"/>
                  </a:cubicBezTo>
                  <a:cubicBezTo>
                    <a:pt x="16503" y="4961"/>
                    <a:pt x="16450" y="5044"/>
                    <a:pt x="16392" y="5123"/>
                  </a:cubicBezTo>
                  <a:cubicBezTo>
                    <a:pt x="16334" y="5201"/>
                    <a:pt x="16240" y="5322"/>
                    <a:pt x="16192" y="5398"/>
                  </a:cubicBezTo>
                  <a:cubicBezTo>
                    <a:pt x="16141" y="5472"/>
                    <a:pt x="16024" y="5611"/>
                    <a:pt x="15934" y="5707"/>
                  </a:cubicBezTo>
                  <a:cubicBezTo>
                    <a:pt x="15843" y="5803"/>
                    <a:pt x="15770" y="5907"/>
                    <a:pt x="15776" y="5939"/>
                  </a:cubicBezTo>
                  <a:cubicBezTo>
                    <a:pt x="15782" y="5969"/>
                    <a:pt x="15750" y="6042"/>
                    <a:pt x="15711" y="6099"/>
                  </a:cubicBezTo>
                  <a:cubicBezTo>
                    <a:pt x="15672" y="6157"/>
                    <a:pt x="15574" y="6236"/>
                    <a:pt x="15499" y="6281"/>
                  </a:cubicBezTo>
                  <a:cubicBezTo>
                    <a:pt x="15424" y="6324"/>
                    <a:pt x="15364" y="6379"/>
                    <a:pt x="15378" y="6390"/>
                  </a:cubicBezTo>
                  <a:cubicBezTo>
                    <a:pt x="15392" y="6403"/>
                    <a:pt x="15433" y="6416"/>
                    <a:pt x="15479" y="6404"/>
                  </a:cubicBezTo>
                  <a:cubicBezTo>
                    <a:pt x="15524" y="6394"/>
                    <a:pt x="15531" y="6439"/>
                    <a:pt x="15496" y="6500"/>
                  </a:cubicBezTo>
                  <a:cubicBezTo>
                    <a:pt x="15460" y="6561"/>
                    <a:pt x="15403" y="6612"/>
                    <a:pt x="15371" y="6621"/>
                  </a:cubicBezTo>
                  <a:cubicBezTo>
                    <a:pt x="15338" y="6621"/>
                    <a:pt x="15271" y="6666"/>
                    <a:pt x="15217" y="6698"/>
                  </a:cubicBezTo>
                  <a:cubicBezTo>
                    <a:pt x="15169" y="6742"/>
                    <a:pt x="15059" y="6829"/>
                    <a:pt x="14975" y="6895"/>
                  </a:cubicBezTo>
                  <a:cubicBezTo>
                    <a:pt x="14896" y="6968"/>
                    <a:pt x="14802" y="7044"/>
                    <a:pt x="14766" y="7044"/>
                  </a:cubicBezTo>
                  <a:cubicBezTo>
                    <a:pt x="14733" y="7061"/>
                    <a:pt x="14658" y="7103"/>
                    <a:pt x="14610" y="7156"/>
                  </a:cubicBezTo>
                  <a:cubicBezTo>
                    <a:pt x="14556" y="7203"/>
                    <a:pt x="14488" y="7303"/>
                    <a:pt x="14454" y="7369"/>
                  </a:cubicBezTo>
                  <a:cubicBezTo>
                    <a:pt x="14418" y="7435"/>
                    <a:pt x="14346" y="7527"/>
                    <a:pt x="14299" y="7577"/>
                  </a:cubicBezTo>
                  <a:cubicBezTo>
                    <a:pt x="14250" y="7627"/>
                    <a:pt x="14183" y="7668"/>
                    <a:pt x="14150" y="7668"/>
                  </a:cubicBezTo>
                  <a:cubicBezTo>
                    <a:pt x="14119" y="7661"/>
                    <a:pt x="14119" y="7613"/>
                    <a:pt x="14155" y="7546"/>
                  </a:cubicBezTo>
                  <a:cubicBezTo>
                    <a:pt x="14188" y="7479"/>
                    <a:pt x="14260" y="7372"/>
                    <a:pt x="14313" y="7307"/>
                  </a:cubicBezTo>
                  <a:cubicBezTo>
                    <a:pt x="14363" y="7239"/>
                    <a:pt x="14387" y="7172"/>
                    <a:pt x="14387" y="7146"/>
                  </a:cubicBezTo>
                  <a:cubicBezTo>
                    <a:pt x="14369" y="7128"/>
                    <a:pt x="14418" y="7021"/>
                    <a:pt x="14475" y="6918"/>
                  </a:cubicBezTo>
                  <a:cubicBezTo>
                    <a:pt x="14535" y="6817"/>
                    <a:pt x="14680" y="6627"/>
                    <a:pt x="14790" y="6491"/>
                  </a:cubicBezTo>
                  <a:cubicBezTo>
                    <a:pt x="14909" y="6363"/>
                    <a:pt x="15044" y="6169"/>
                    <a:pt x="15114" y="6080"/>
                  </a:cubicBezTo>
                  <a:cubicBezTo>
                    <a:pt x="15179" y="5988"/>
                    <a:pt x="15291" y="5856"/>
                    <a:pt x="15365" y="5787"/>
                  </a:cubicBezTo>
                  <a:cubicBezTo>
                    <a:pt x="15443" y="5725"/>
                    <a:pt x="15535" y="5615"/>
                    <a:pt x="15571" y="5553"/>
                  </a:cubicBezTo>
                  <a:cubicBezTo>
                    <a:pt x="15614" y="5495"/>
                    <a:pt x="15684" y="5385"/>
                    <a:pt x="15741" y="5320"/>
                  </a:cubicBezTo>
                  <a:cubicBezTo>
                    <a:pt x="15792" y="5252"/>
                    <a:pt x="15944" y="5064"/>
                    <a:pt x="16067" y="4896"/>
                  </a:cubicBezTo>
                  <a:cubicBezTo>
                    <a:pt x="16199" y="4733"/>
                    <a:pt x="16388" y="4523"/>
                    <a:pt x="16495" y="4430"/>
                  </a:cubicBezTo>
                  <a:cubicBezTo>
                    <a:pt x="16604" y="4340"/>
                    <a:pt x="16741" y="4197"/>
                    <a:pt x="16799" y="4111"/>
                  </a:cubicBezTo>
                  <a:cubicBezTo>
                    <a:pt x="16856" y="4025"/>
                    <a:pt x="16863" y="3976"/>
                    <a:pt x="16820" y="4013"/>
                  </a:cubicBezTo>
                  <a:cubicBezTo>
                    <a:pt x="16772" y="4041"/>
                    <a:pt x="16715" y="4088"/>
                    <a:pt x="16684" y="4093"/>
                  </a:cubicBezTo>
                  <a:cubicBezTo>
                    <a:pt x="16658" y="4111"/>
                    <a:pt x="16659" y="4073"/>
                    <a:pt x="16696" y="4022"/>
                  </a:cubicBezTo>
                  <a:cubicBezTo>
                    <a:pt x="16731" y="3969"/>
                    <a:pt x="16818" y="3866"/>
                    <a:pt x="16893" y="3797"/>
                  </a:cubicBezTo>
                  <a:cubicBezTo>
                    <a:pt x="16965" y="3724"/>
                    <a:pt x="17107" y="3551"/>
                    <a:pt x="17198" y="3406"/>
                  </a:cubicBezTo>
                  <a:cubicBezTo>
                    <a:pt x="17293" y="3264"/>
                    <a:pt x="17351" y="3142"/>
                    <a:pt x="17326" y="3145"/>
                  </a:cubicBezTo>
                  <a:cubicBezTo>
                    <a:pt x="17304" y="3149"/>
                    <a:pt x="17299" y="3095"/>
                    <a:pt x="17316" y="3037"/>
                  </a:cubicBezTo>
                  <a:cubicBezTo>
                    <a:pt x="17335" y="2978"/>
                    <a:pt x="17378" y="2894"/>
                    <a:pt x="17421" y="2857"/>
                  </a:cubicBezTo>
                  <a:cubicBezTo>
                    <a:pt x="17465" y="2820"/>
                    <a:pt x="17536" y="2714"/>
                    <a:pt x="17595" y="2635"/>
                  </a:cubicBezTo>
                  <a:cubicBezTo>
                    <a:pt x="17648" y="2551"/>
                    <a:pt x="17665" y="2503"/>
                    <a:pt x="17625" y="2521"/>
                  </a:cubicBezTo>
                  <a:cubicBezTo>
                    <a:pt x="17584" y="2537"/>
                    <a:pt x="17539" y="2523"/>
                    <a:pt x="17528" y="2482"/>
                  </a:cubicBezTo>
                  <a:cubicBezTo>
                    <a:pt x="17512" y="2442"/>
                    <a:pt x="17403" y="2480"/>
                    <a:pt x="17286" y="2573"/>
                  </a:cubicBezTo>
                  <a:cubicBezTo>
                    <a:pt x="17167" y="2664"/>
                    <a:pt x="17011" y="2804"/>
                    <a:pt x="16946" y="2888"/>
                  </a:cubicBezTo>
                  <a:cubicBezTo>
                    <a:pt x="16879" y="2971"/>
                    <a:pt x="16853" y="3042"/>
                    <a:pt x="16888" y="3053"/>
                  </a:cubicBezTo>
                  <a:cubicBezTo>
                    <a:pt x="16923" y="3064"/>
                    <a:pt x="16919" y="3114"/>
                    <a:pt x="16882" y="3175"/>
                  </a:cubicBezTo>
                  <a:cubicBezTo>
                    <a:pt x="16846" y="3237"/>
                    <a:pt x="16815" y="3300"/>
                    <a:pt x="16829" y="3317"/>
                  </a:cubicBezTo>
                  <a:cubicBezTo>
                    <a:pt x="16833" y="3339"/>
                    <a:pt x="16820" y="3393"/>
                    <a:pt x="16789" y="3444"/>
                  </a:cubicBezTo>
                  <a:cubicBezTo>
                    <a:pt x="16755" y="3494"/>
                    <a:pt x="16692" y="3561"/>
                    <a:pt x="16643" y="3591"/>
                  </a:cubicBezTo>
                  <a:cubicBezTo>
                    <a:pt x="16596" y="3620"/>
                    <a:pt x="16565" y="3603"/>
                    <a:pt x="16587" y="3556"/>
                  </a:cubicBezTo>
                  <a:cubicBezTo>
                    <a:pt x="16608" y="3509"/>
                    <a:pt x="16578" y="3493"/>
                    <a:pt x="16529" y="3521"/>
                  </a:cubicBezTo>
                  <a:cubicBezTo>
                    <a:pt x="16480" y="3548"/>
                    <a:pt x="16382" y="3643"/>
                    <a:pt x="16311" y="3732"/>
                  </a:cubicBezTo>
                  <a:cubicBezTo>
                    <a:pt x="16240" y="3820"/>
                    <a:pt x="16197" y="3897"/>
                    <a:pt x="16215" y="3893"/>
                  </a:cubicBezTo>
                  <a:cubicBezTo>
                    <a:pt x="16226" y="3907"/>
                    <a:pt x="16231" y="3930"/>
                    <a:pt x="16217" y="3976"/>
                  </a:cubicBezTo>
                  <a:cubicBezTo>
                    <a:pt x="16197" y="4019"/>
                    <a:pt x="16167" y="4111"/>
                    <a:pt x="16140" y="4176"/>
                  </a:cubicBezTo>
                  <a:cubicBezTo>
                    <a:pt x="16119" y="4241"/>
                    <a:pt x="16053" y="4329"/>
                    <a:pt x="16002" y="4376"/>
                  </a:cubicBezTo>
                  <a:cubicBezTo>
                    <a:pt x="15954" y="4425"/>
                    <a:pt x="15922" y="4444"/>
                    <a:pt x="15922" y="4422"/>
                  </a:cubicBezTo>
                  <a:cubicBezTo>
                    <a:pt x="15929" y="4401"/>
                    <a:pt x="15925" y="4374"/>
                    <a:pt x="15912" y="4364"/>
                  </a:cubicBezTo>
                  <a:cubicBezTo>
                    <a:pt x="15900" y="4353"/>
                    <a:pt x="15833" y="4416"/>
                    <a:pt x="15768" y="4506"/>
                  </a:cubicBezTo>
                  <a:cubicBezTo>
                    <a:pt x="15701" y="4594"/>
                    <a:pt x="15609" y="4676"/>
                    <a:pt x="15590" y="4651"/>
                  </a:cubicBezTo>
                  <a:cubicBezTo>
                    <a:pt x="15558" y="4645"/>
                    <a:pt x="15561" y="4588"/>
                    <a:pt x="15598" y="4533"/>
                  </a:cubicBezTo>
                  <a:cubicBezTo>
                    <a:pt x="15626" y="4474"/>
                    <a:pt x="15623" y="4461"/>
                    <a:pt x="15575" y="4492"/>
                  </a:cubicBezTo>
                  <a:cubicBezTo>
                    <a:pt x="15528" y="4526"/>
                    <a:pt x="15425" y="4630"/>
                    <a:pt x="15341" y="4718"/>
                  </a:cubicBezTo>
                  <a:cubicBezTo>
                    <a:pt x="15262" y="4811"/>
                    <a:pt x="15169" y="4909"/>
                    <a:pt x="15157" y="4891"/>
                  </a:cubicBezTo>
                  <a:cubicBezTo>
                    <a:pt x="15139" y="4902"/>
                    <a:pt x="15159" y="4844"/>
                    <a:pt x="15201" y="4772"/>
                  </a:cubicBezTo>
                  <a:cubicBezTo>
                    <a:pt x="15248" y="4703"/>
                    <a:pt x="15337" y="4585"/>
                    <a:pt x="15410" y="4518"/>
                  </a:cubicBezTo>
                  <a:cubicBezTo>
                    <a:pt x="15480" y="4448"/>
                    <a:pt x="15527" y="4394"/>
                    <a:pt x="15517" y="4388"/>
                  </a:cubicBezTo>
                  <a:cubicBezTo>
                    <a:pt x="15508" y="4393"/>
                    <a:pt x="15406" y="4457"/>
                    <a:pt x="15293" y="4545"/>
                  </a:cubicBezTo>
                  <a:cubicBezTo>
                    <a:pt x="15182" y="4636"/>
                    <a:pt x="14987" y="4805"/>
                    <a:pt x="14864" y="4925"/>
                  </a:cubicBezTo>
                  <a:cubicBezTo>
                    <a:pt x="14741" y="5046"/>
                    <a:pt x="14637" y="5101"/>
                    <a:pt x="14644" y="5051"/>
                  </a:cubicBezTo>
                  <a:cubicBezTo>
                    <a:pt x="14644" y="5000"/>
                    <a:pt x="14612" y="4990"/>
                    <a:pt x="14562" y="5018"/>
                  </a:cubicBezTo>
                  <a:cubicBezTo>
                    <a:pt x="14514" y="5051"/>
                    <a:pt x="14419" y="5133"/>
                    <a:pt x="14350" y="5199"/>
                  </a:cubicBezTo>
                  <a:cubicBezTo>
                    <a:pt x="14280" y="5264"/>
                    <a:pt x="14163" y="5366"/>
                    <a:pt x="14082" y="5412"/>
                  </a:cubicBezTo>
                  <a:cubicBezTo>
                    <a:pt x="14004" y="5463"/>
                    <a:pt x="13954" y="5482"/>
                    <a:pt x="13954" y="5453"/>
                  </a:cubicBezTo>
                  <a:cubicBezTo>
                    <a:pt x="13963" y="5427"/>
                    <a:pt x="13896" y="5447"/>
                    <a:pt x="13815" y="5513"/>
                  </a:cubicBezTo>
                  <a:cubicBezTo>
                    <a:pt x="13729" y="5570"/>
                    <a:pt x="13649" y="5616"/>
                    <a:pt x="13637" y="5605"/>
                  </a:cubicBezTo>
                  <a:cubicBezTo>
                    <a:pt x="13621" y="5610"/>
                    <a:pt x="13679" y="5519"/>
                    <a:pt x="13767" y="5440"/>
                  </a:cubicBezTo>
                  <a:cubicBezTo>
                    <a:pt x="13852" y="5357"/>
                    <a:pt x="13995" y="5235"/>
                    <a:pt x="14090" y="5176"/>
                  </a:cubicBezTo>
                  <a:cubicBezTo>
                    <a:pt x="14185" y="5113"/>
                    <a:pt x="14291" y="5059"/>
                    <a:pt x="14319" y="5039"/>
                  </a:cubicBezTo>
                  <a:cubicBezTo>
                    <a:pt x="14355" y="5039"/>
                    <a:pt x="14449" y="4958"/>
                    <a:pt x="14542" y="4896"/>
                  </a:cubicBezTo>
                  <a:cubicBezTo>
                    <a:pt x="14629" y="4826"/>
                    <a:pt x="14734" y="4741"/>
                    <a:pt x="14762" y="4695"/>
                  </a:cubicBezTo>
                  <a:cubicBezTo>
                    <a:pt x="14792" y="4650"/>
                    <a:pt x="14861" y="4578"/>
                    <a:pt x="14917" y="4539"/>
                  </a:cubicBezTo>
                  <a:cubicBezTo>
                    <a:pt x="14972" y="4498"/>
                    <a:pt x="15049" y="4454"/>
                    <a:pt x="15086" y="4436"/>
                  </a:cubicBezTo>
                  <a:cubicBezTo>
                    <a:pt x="15123" y="4417"/>
                    <a:pt x="15244" y="4327"/>
                    <a:pt x="15350" y="4226"/>
                  </a:cubicBezTo>
                  <a:cubicBezTo>
                    <a:pt x="15459" y="4127"/>
                    <a:pt x="15572" y="3997"/>
                    <a:pt x="15609" y="3944"/>
                  </a:cubicBezTo>
                  <a:cubicBezTo>
                    <a:pt x="15648" y="3891"/>
                    <a:pt x="15708" y="3810"/>
                    <a:pt x="15741" y="3761"/>
                  </a:cubicBezTo>
                  <a:cubicBezTo>
                    <a:pt x="15775" y="3712"/>
                    <a:pt x="15788" y="3675"/>
                    <a:pt x="15771" y="3658"/>
                  </a:cubicBezTo>
                  <a:cubicBezTo>
                    <a:pt x="15748" y="3656"/>
                    <a:pt x="15742" y="3579"/>
                    <a:pt x="15757" y="3505"/>
                  </a:cubicBezTo>
                  <a:cubicBezTo>
                    <a:pt x="15763" y="3431"/>
                    <a:pt x="15730" y="3393"/>
                    <a:pt x="15667" y="3415"/>
                  </a:cubicBezTo>
                  <a:cubicBezTo>
                    <a:pt x="15604" y="3434"/>
                    <a:pt x="15569" y="3427"/>
                    <a:pt x="15590" y="3389"/>
                  </a:cubicBezTo>
                  <a:cubicBezTo>
                    <a:pt x="15614" y="3353"/>
                    <a:pt x="15592" y="3291"/>
                    <a:pt x="15544" y="3270"/>
                  </a:cubicBezTo>
                  <a:cubicBezTo>
                    <a:pt x="15509" y="3232"/>
                    <a:pt x="15479" y="3202"/>
                    <a:pt x="15479" y="3175"/>
                  </a:cubicBezTo>
                  <a:cubicBezTo>
                    <a:pt x="15493" y="3152"/>
                    <a:pt x="15448" y="3158"/>
                    <a:pt x="15391" y="3192"/>
                  </a:cubicBezTo>
                  <a:cubicBezTo>
                    <a:pt x="15331" y="3222"/>
                    <a:pt x="15200" y="3337"/>
                    <a:pt x="15091" y="3434"/>
                  </a:cubicBezTo>
                  <a:cubicBezTo>
                    <a:pt x="14983" y="3531"/>
                    <a:pt x="14859" y="3643"/>
                    <a:pt x="14809" y="3671"/>
                  </a:cubicBezTo>
                  <a:cubicBezTo>
                    <a:pt x="14762" y="3703"/>
                    <a:pt x="14578" y="3871"/>
                    <a:pt x="14400" y="4045"/>
                  </a:cubicBezTo>
                  <a:cubicBezTo>
                    <a:pt x="14227" y="4222"/>
                    <a:pt x="14091" y="4362"/>
                    <a:pt x="14099" y="4373"/>
                  </a:cubicBezTo>
                  <a:cubicBezTo>
                    <a:pt x="14107" y="4384"/>
                    <a:pt x="14087" y="4416"/>
                    <a:pt x="14065" y="4464"/>
                  </a:cubicBezTo>
                  <a:cubicBezTo>
                    <a:pt x="14031" y="4505"/>
                    <a:pt x="13971" y="4581"/>
                    <a:pt x="13918" y="4617"/>
                  </a:cubicBezTo>
                  <a:cubicBezTo>
                    <a:pt x="13869" y="4659"/>
                    <a:pt x="13777" y="4733"/>
                    <a:pt x="13716" y="4783"/>
                  </a:cubicBezTo>
                  <a:cubicBezTo>
                    <a:pt x="13656" y="4833"/>
                    <a:pt x="13619" y="4853"/>
                    <a:pt x="13636" y="4826"/>
                  </a:cubicBezTo>
                  <a:cubicBezTo>
                    <a:pt x="13645" y="4796"/>
                    <a:pt x="13616" y="4809"/>
                    <a:pt x="13561" y="4853"/>
                  </a:cubicBezTo>
                  <a:cubicBezTo>
                    <a:pt x="13504" y="4896"/>
                    <a:pt x="13429" y="4943"/>
                    <a:pt x="13408" y="4926"/>
                  </a:cubicBezTo>
                  <a:cubicBezTo>
                    <a:pt x="13382" y="4932"/>
                    <a:pt x="13304" y="4962"/>
                    <a:pt x="13235" y="5006"/>
                  </a:cubicBezTo>
                  <a:cubicBezTo>
                    <a:pt x="13165" y="5049"/>
                    <a:pt x="13073" y="5127"/>
                    <a:pt x="13028" y="5172"/>
                  </a:cubicBezTo>
                  <a:cubicBezTo>
                    <a:pt x="12981" y="5216"/>
                    <a:pt x="12889" y="5285"/>
                    <a:pt x="12824" y="5327"/>
                  </a:cubicBezTo>
                  <a:cubicBezTo>
                    <a:pt x="12762" y="5375"/>
                    <a:pt x="12691" y="5401"/>
                    <a:pt x="12684" y="5390"/>
                  </a:cubicBezTo>
                  <a:cubicBezTo>
                    <a:pt x="12674" y="5382"/>
                    <a:pt x="12694" y="5343"/>
                    <a:pt x="12736" y="5307"/>
                  </a:cubicBezTo>
                  <a:cubicBezTo>
                    <a:pt x="12775" y="5268"/>
                    <a:pt x="12894" y="5164"/>
                    <a:pt x="13008" y="5085"/>
                  </a:cubicBezTo>
                  <a:cubicBezTo>
                    <a:pt x="13114" y="4996"/>
                    <a:pt x="13263" y="4879"/>
                    <a:pt x="13320" y="4804"/>
                  </a:cubicBezTo>
                  <a:cubicBezTo>
                    <a:pt x="13381" y="4731"/>
                    <a:pt x="13488" y="4626"/>
                    <a:pt x="13558" y="4570"/>
                  </a:cubicBezTo>
                  <a:cubicBezTo>
                    <a:pt x="13630" y="4516"/>
                    <a:pt x="13711" y="4446"/>
                    <a:pt x="13748" y="4436"/>
                  </a:cubicBezTo>
                  <a:cubicBezTo>
                    <a:pt x="13782" y="4417"/>
                    <a:pt x="13887" y="4330"/>
                    <a:pt x="13976" y="4234"/>
                  </a:cubicBezTo>
                  <a:cubicBezTo>
                    <a:pt x="14064" y="4139"/>
                    <a:pt x="14186" y="4000"/>
                    <a:pt x="14239" y="3923"/>
                  </a:cubicBezTo>
                  <a:cubicBezTo>
                    <a:pt x="14295" y="3845"/>
                    <a:pt x="14376" y="3737"/>
                    <a:pt x="14429" y="3687"/>
                  </a:cubicBezTo>
                  <a:cubicBezTo>
                    <a:pt x="14480" y="3636"/>
                    <a:pt x="14564" y="3565"/>
                    <a:pt x="14618" y="3531"/>
                  </a:cubicBezTo>
                  <a:cubicBezTo>
                    <a:pt x="14672" y="3500"/>
                    <a:pt x="14804" y="3370"/>
                    <a:pt x="14913" y="3249"/>
                  </a:cubicBezTo>
                  <a:cubicBezTo>
                    <a:pt x="15021" y="3126"/>
                    <a:pt x="15156" y="2954"/>
                    <a:pt x="15214" y="2865"/>
                  </a:cubicBezTo>
                  <a:cubicBezTo>
                    <a:pt x="15262" y="2770"/>
                    <a:pt x="15353" y="2647"/>
                    <a:pt x="15409" y="2590"/>
                  </a:cubicBezTo>
                  <a:cubicBezTo>
                    <a:pt x="15455" y="2525"/>
                    <a:pt x="15524" y="2444"/>
                    <a:pt x="15537" y="2398"/>
                  </a:cubicBezTo>
                  <a:cubicBezTo>
                    <a:pt x="15562" y="2356"/>
                    <a:pt x="15526" y="2343"/>
                    <a:pt x="15473" y="2376"/>
                  </a:cubicBezTo>
                  <a:cubicBezTo>
                    <a:pt x="15415" y="2402"/>
                    <a:pt x="15275" y="2517"/>
                    <a:pt x="15151" y="2610"/>
                  </a:cubicBezTo>
                  <a:cubicBezTo>
                    <a:pt x="15030" y="2706"/>
                    <a:pt x="14815" y="2868"/>
                    <a:pt x="14674" y="2972"/>
                  </a:cubicBezTo>
                  <a:cubicBezTo>
                    <a:pt x="14536" y="3078"/>
                    <a:pt x="14291" y="3270"/>
                    <a:pt x="14129" y="3398"/>
                  </a:cubicBezTo>
                  <a:cubicBezTo>
                    <a:pt x="13967" y="3525"/>
                    <a:pt x="13622" y="3795"/>
                    <a:pt x="13355" y="3987"/>
                  </a:cubicBezTo>
                  <a:cubicBezTo>
                    <a:pt x="13092" y="4183"/>
                    <a:pt x="12574" y="4587"/>
                    <a:pt x="12209" y="4891"/>
                  </a:cubicBezTo>
                  <a:cubicBezTo>
                    <a:pt x="11842" y="5192"/>
                    <a:pt x="11445" y="5532"/>
                    <a:pt x="11332" y="5651"/>
                  </a:cubicBezTo>
                  <a:cubicBezTo>
                    <a:pt x="11213" y="5764"/>
                    <a:pt x="10953" y="5993"/>
                    <a:pt x="10748" y="6150"/>
                  </a:cubicBezTo>
                  <a:cubicBezTo>
                    <a:pt x="10545" y="6311"/>
                    <a:pt x="10130" y="6661"/>
                    <a:pt x="9825" y="6926"/>
                  </a:cubicBezTo>
                  <a:cubicBezTo>
                    <a:pt x="9526" y="7199"/>
                    <a:pt x="9170" y="7519"/>
                    <a:pt x="9040" y="7647"/>
                  </a:cubicBezTo>
                  <a:cubicBezTo>
                    <a:pt x="8909" y="7774"/>
                    <a:pt x="8777" y="7930"/>
                    <a:pt x="8733" y="7980"/>
                  </a:cubicBezTo>
                  <a:cubicBezTo>
                    <a:pt x="8699" y="8037"/>
                    <a:pt x="8702" y="8053"/>
                    <a:pt x="8750" y="8020"/>
                  </a:cubicBezTo>
                  <a:cubicBezTo>
                    <a:pt x="8800" y="7992"/>
                    <a:pt x="8851" y="7973"/>
                    <a:pt x="8865" y="7971"/>
                  </a:cubicBezTo>
                  <a:cubicBezTo>
                    <a:pt x="8876" y="7981"/>
                    <a:pt x="8817" y="8052"/>
                    <a:pt x="8724" y="8140"/>
                  </a:cubicBezTo>
                  <a:cubicBezTo>
                    <a:pt x="8633" y="8231"/>
                    <a:pt x="8508" y="8335"/>
                    <a:pt x="8450" y="8376"/>
                  </a:cubicBezTo>
                  <a:cubicBezTo>
                    <a:pt x="8390" y="8416"/>
                    <a:pt x="8213" y="8585"/>
                    <a:pt x="8050" y="8745"/>
                  </a:cubicBezTo>
                  <a:cubicBezTo>
                    <a:pt x="7893" y="8913"/>
                    <a:pt x="7691" y="9104"/>
                    <a:pt x="7597" y="9158"/>
                  </a:cubicBezTo>
                  <a:cubicBezTo>
                    <a:pt x="7510" y="9224"/>
                    <a:pt x="7383" y="9332"/>
                    <a:pt x="7314" y="9397"/>
                  </a:cubicBezTo>
                  <a:cubicBezTo>
                    <a:pt x="7251" y="9469"/>
                    <a:pt x="7145" y="9575"/>
                    <a:pt x="7093" y="9647"/>
                  </a:cubicBezTo>
                  <a:cubicBezTo>
                    <a:pt x="7041" y="9719"/>
                    <a:pt x="6889" y="9876"/>
                    <a:pt x="6765" y="10001"/>
                  </a:cubicBezTo>
                  <a:cubicBezTo>
                    <a:pt x="6641" y="10127"/>
                    <a:pt x="6479" y="10290"/>
                    <a:pt x="6408" y="10367"/>
                  </a:cubicBezTo>
                  <a:cubicBezTo>
                    <a:pt x="6337" y="10444"/>
                    <a:pt x="6238" y="10578"/>
                    <a:pt x="6178" y="10660"/>
                  </a:cubicBezTo>
                  <a:cubicBezTo>
                    <a:pt x="6120" y="10743"/>
                    <a:pt x="6121" y="10765"/>
                    <a:pt x="6182" y="10713"/>
                  </a:cubicBezTo>
                  <a:cubicBezTo>
                    <a:pt x="6241" y="10659"/>
                    <a:pt x="6300" y="10630"/>
                    <a:pt x="6318" y="10632"/>
                  </a:cubicBezTo>
                  <a:cubicBezTo>
                    <a:pt x="6331" y="10645"/>
                    <a:pt x="6305" y="10698"/>
                    <a:pt x="6255" y="10756"/>
                  </a:cubicBezTo>
                  <a:cubicBezTo>
                    <a:pt x="6206" y="10815"/>
                    <a:pt x="6170" y="10874"/>
                    <a:pt x="6178" y="10869"/>
                  </a:cubicBezTo>
                  <a:cubicBezTo>
                    <a:pt x="6182" y="10876"/>
                    <a:pt x="6224" y="10847"/>
                    <a:pt x="6266" y="10815"/>
                  </a:cubicBezTo>
                  <a:cubicBezTo>
                    <a:pt x="6308" y="10783"/>
                    <a:pt x="6411" y="10703"/>
                    <a:pt x="6479" y="10623"/>
                  </a:cubicBezTo>
                  <a:cubicBezTo>
                    <a:pt x="6558" y="10553"/>
                    <a:pt x="6665" y="10467"/>
                    <a:pt x="6716" y="10428"/>
                  </a:cubicBezTo>
                  <a:cubicBezTo>
                    <a:pt x="6770" y="10394"/>
                    <a:pt x="6836" y="10365"/>
                    <a:pt x="6861" y="10367"/>
                  </a:cubicBezTo>
                  <a:cubicBezTo>
                    <a:pt x="6886" y="10365"/>
                    <a:pt x="6860" y="10419"/>
                    <a:pt x="6813" y="10486"/>
                  </a:cubicBezTo>
                  <a:cubicBezTo>
                    <a:pt x="6758" y="10548"/>
                    <a:pt x="6646" y="10670"/>
                    <a:pt x="6553" y="10749"/>
                  </a:cubicBezTo>
                  <a:cubicBezTo>
                    <a:pt x="6462" y="10831"/>
                    <a:pt x="6354" y="10902"/>
                    <a:pt x="6312" y="10907"/>
                  </a:cubicBezTo>
                  <a:cubicBezTo>
                    <a:pt x="6272" y="10919"/>
                    <a:pt x="6184" y="10965"/>
                    <a:pt x="6121" y="11027"/>
                  </a:cubicBezTo>
                  <a:cubicBezTo>
                    <a:pt x="6057" y="11086"/>
                    <a:pt x="5990" y="11181"/>
                    <a:pt x="5959" y="11229"/>
                  </a:cubicBezTo>
                  <a:cubicBezTo>
                    <a:pt x="5941" y="11283"/>
                    <a:pt x="5968" y="11309"/>
                    <a:pt x="6035" y="11296"/>
                  </a:cubicBezTo>
                  <a:cubicBezTo>
                    <a:pt x="6104" y="11291"/>
                    <a:pt x="6198" y="11227"/>
                    <a:pt x="6252" y="11181"/>
                  </a:cubicBezTo>
                  <a:cubicBezTo>
                    <a:pt x="6304" y="11132"/>
                    <a:pt x="6386" y="11046"/>
                    <a:pt x="6426" y="10985"/>
                  </a:cubicBezTo>
                  <a:cubicBezTo>
                    <a:pt x="6477" y="10932"/>
                    <a:pt x="6539" y="10861"/>
                    <a:pt x="6572" y="10833"/>
                  </a:cubicBezTo>
                  <a:cubicBezTo>
                    <a:pt x="6607" y="10808"/>
                    <a:pt x="6637" y="10802"/>
                    <a:pt x="6637" y="10820"/>
                  </a:cubicBezTo>
                  <a:cubicBezTo>
                    <a:pt x="6647" y="10835"/>
                    <a:pt x="6594" y="10906"/>
                    <a:pt x="6540" y="10969"/>
                  </a:cubicBezTo>
                  <a:cubicBezTo>
                    <a:pt x="6484" y="11032"/>
                    <a:pt x="6484" y="11052"/>
                    <a:pt x="6538" y="11012"/>
                  </a:cubicBezTo>
                  <a:cubicBezTo>
                    <a:pt x="6591" y="10970"/>
                    <a:pt x="6710" y="10898"/>
                    <a:pt x="6800" y="10846"/>
                  </a:cubicBezTo>
                  <a:cubicBezTo>
                    <a:pt x="6893" y="10799"/>
                    <a:pt x="7060" y="10673"/>
                    <a:pt x="7175" y="10578"/>
                  </a:cubicBezTo>
                  <a:cubicBezTo>
                    <a:pt x="7293" y="10483"/>
                    <a:pt x="7437" y="10370"/>
                    <a:pt x="7498" y="10329"/>
                  </a:cubicBezTo>
                  <a:cubicBezTo>
                    <a:pt x="7562" y="10293"/>
                    <a:pt x="7659" y="10235"/>
                    <a:pt x="7723" y="10219"/>
                  </a:cubicBezTo>
                  <a:cubicBezTo>
                    <a:pt x="7787" y="10202"/>
                    <a:pt x="7901" y="10134"/>
                    <a:pt x="7979" y="10075"/>
                  </a:cubicBezTo>
                  <a:cubicBezTo>
                    <a:pt x="8053" y="10011"/>
                    <a:pt x="8154" y="9953"/>
                    <a:pt x="8199" y="9943"/>
                  </a:cubicBezTo>
                  <a:cubicBezTo>
                    <a:pt x="8241" y="9924"/>
                    <a:pt x="8281" y="9946"/>
                    <a:pt x="8281" y="9977"/>
                  </a:cubicBezTo>
                  <a:cubicBezTo>
                    <a:pt x="8287" y="10008"/>
                    <a:pt x="8320" y="10011"/>
                    <a:pt x="8365" y="9986"/>
                  </a:cubicBezTo>
                  <a:cubicBezTo>
                    <a:pt x="8406" y="9954"/>
                    <a:pt x="8414" y="9980"/>
                    <a:pt x="8368" y="10028"/>
                  </a:cubicBezTo>
                  <a:cubicBezTo>
                    <a:pt x="8332" y="10083"/>
                    <a:pt x="8253" y="10145"/>
                    <a:pt x="8206" y="10174"/>
                  </a:cubicBezTo>
                  <a:cubicBezTo>
                    <a:pt x="8160" y="10206"/>
                    <a:pt x="8081" y="10222"/>
                    <a:pt x="8031" y="10225"/>
                  </a:cubicBezTo>
                  <a:cubicBezTo>
                    <a:pt x="7982" y="10223"/>
                    <a:pt x="7840" y="10281"/>
                    <a:pt x="7723" y="10365"/>
                  </a:cubicBezTo>
                  <a:cubicBezTo>
                    <a:pt x="7596" y="10432"/>
                    <a:pt x="7471" y="10540"/>
                    <a:pt x="7435" y="10582"/>
                  </a:cubicBezTo>
                  <a:cubicBezTo>
                    <a:pt x="7395" y="10621"/>
                    <a:pt x="7412" y="10630"/>
                    <a:pt x="7473" y="10613"/>
                  </a:cubicBezTo>
                  <a:cubicBezTo>
                    <a:pt x="7533" y="10592"/>
                    <a:pt x="7579" y="10591"/>
                    <a:pt x="7572" y="10615"/>
                  </a:cubicBezTo>
                  <a:cubicBezTo>
                    <a:pt x="7572" y="10641"/>
                    <a:pt x="7475" y="10711"/>
                    <a:pt x="7376" y="10786"/>
                  </a:cubicBezTo>
                  <a:cubicBezTo>
                    <a:pt x="7272" y="10855"/>
                    <a:pt x="7175" y="10895"/>
                    <a:pt x="7153" y="10893"/>
                  </a:cubicBezTo>
                  <a:cubicBezTo>
                    <a:pt x="7138" y="10877"/>
                    <a:pt x="6998" y="10968"/>
                    <a:pt x="6846" y="11076"/>
                  </a:cubicBezTo>
                  <a:cubicBezTo>
                    <a:pt x="6698" y="11190"/>
                    <a:pt x="6529" y="11332"/>
                    <a:pt x="6466" y="11391"/>
                  </a:cubicBezTo>
                  <a:cubicBezTo>
                    <a:pt x="6408" y="11453"/>
                    <a:pt x="6339" y="11501"/>
                    <a:pt x="6316" y="11505"/>
                  </a:cubicBezTo>
                  <a:cubicBezTo>
                    <a:pt x="6293" y="11505"/>
                    <a:pt x="6248" y="11534"/>
                    <a:pt x="6208" y="11551"/>
                  </a:cubicBezTo>
                  <a:cubicBezTo>
                    <a:pt x="6173" y="11578"/>
                    <a:pt x="6098" y="11638"/>
                    <a:pt x="6040" y="11682"/>
                  </a:cubicBezTo>
                  <a:cubicBezTo>
                    <a:pt x="5985" y="11731"/>
                    <a:pt x="5901" y="11792"/>
                    <a:pt x="5858" y="11819"/>
                  </a:cubicBezTo>
                  <a:cubicBezTo>
                    <a:pt x="5809" y="11838"/>
                    <a:pt x="5655" y="11960"/>
                    <a:pt x="5502" y="12070"/>
                  </a:cubicBezTo>
                  <a:cubicBezTo>
                    <a:pt x="5351" y="12179"/>
                    <a:pt x="5198" y="12303"/>
                    <a:pt x="5159" y="12342"/>
                  </a:cubicBezTo>
                  <a:cubicBezTo>
                    <a:pt x="5117" y="12378"/>
                    <a:pt x="4987" y="12505"/>
                    <a:pt x="4853" y="12604"/>
                  </a:cubicBezTo>
                  <a:cubicBezTo>
                    <a:pt x="4724" y="12711"/>
                    <a:pt x="4563" y="12864"/>
                    <a:pt x="4499" y="12950"/>
                  </a:cubicBezTo>
                  <a:cubicBezTo>
                    <a:pt x="4430" y="13032"/>
                    <a:pt x="4299" y="13249"/>
                    <a:pt x="4197" y="13426"/>
                  </a:cubicBezTo>
                  <a:cubicBezTo>
                    <a:pt x="4092" y="13600"/>
                    <a:pt x="4005" y="13769"/>
                    <a:pt x="3997" y="13797"/>
                  </a:cubicBezTo>
                  <a:cubicBezTo>
                    <a:pt x="3988" y="13824"/>
                    <a:pt x="3946" y="13909"/>
                    <a:pt x="3897" y="13980"/>
                  </a:cubicBezTo>
                  <a:cubicBezTo>
                    <a:pt x="3851" y="14054"/>
                    <a:pt x="3785" y="14141"/>
                    <a:pt x="3751" y="14175"/>
                  </a:cubicBezTo>
                  <a:cubicBezTo>
                    <a:pt x="3720" y="14211"/>
                    <a:pt x="3669" y="14272"/>
                    <a:pt x="3646" y="14317"/>
                  </a:cubicBezTo>
                  <a:cubicBezTo>
                    <a:pt x="3621" y="14360"/>
                    <a:pt x="3613" y="14403"/>
                    <a:pt x="3622" y="14412"/>
                  </a:cubicBezTo>
                  <a:cubicBezTo>
                    <a:pt x="3635" y="14419"/>
                    <a:pt x="3688" y="14391"/>
                    <a:pt x="3746" y="14345"/>
                  </a:cubicBezTo>
                  <a:cubicBezTo>
                    <a:pt x="3803" y="14300"/>
                    <a:pt x="3877" y="14244"/>
                    <a:pt x="3910" y="14220"/>
                  </a:cubicBezTo>
                  <a:cubicBezTo>
                    <a:pt x="3944" y="14200"/>
                    <a:pt x="3988" y="14175"/>
                    <a:pt x="4000" y="14188"/>
                  </a:cubicBezTo>
                  <a:cubicBezTo>
                    <a:pt x="4018" y="14185"/>
                    <a:pt x="4074" y="14168"/>
                    <a:pt x="4128" y="14133"/>
                  </a:cubicBezTo>
                  <a:cubicBezTo>
                    <a:pt x="4182" y="14102"/>
                    <a:pt x="4250" y="14036"/>
                    <a:pt x="4283" y="13998"/>
                  </a:cubicBezTo>
                  <a:cubicBezTo>
                    <a:pt x="4312" y="13957"/>
                    <a:pt x="4354" y="13913"/>
                    <a:pt x="4372" y="13899"/>
                  </a:cubicBezTo>
                  <a:cubicBezTo>
                    <a:pt x="4388" y="13881"/>
                    <a:pt x="4426" y="13870"/>
                    <a:pt x="4450" y="13863"/>
                  </a:cubicBezTo>
                  <a:cubicBezTo>
                    <a:pt x="4476" y="13863"/>
                    <a:pt x="4503" y="13861"/>
                    <a:pt x="4511" y="13868"/>
                  </a:cubicBezTo>
                  <a:cubicBezTo>
                    <a:pt x="4518" y="13878"/>
                    <a:pt x="4558" y="13853"/>
                    <a:pt x="4599" y="13821"/>
                  </a:cubicBezTo>
                  <a:cubicBezTo>
                    <a:pt x="4637" y="13785"/>
                    <a:pt x="4678" y="13771"/>
                    <a:pt x="4691" y="13784"/>
                  </a:cubicBezTo>
                  <a:cubicBezTo>
                    <a:pt x="4691" y="13802"/>
                    <a:pt x="4697" y="13838"/>
                    <a:pt x="4679" y="13874"/>
                  </a:cubicBezTo>
                  <a:cubicBezTo>
                    <a:pt x="4659" y="13908"/>
                    <a:pt x="4671" y="13926"/>
                    <a:pt x="4702" y="13913"/>
                  </a:cubicBezTo>
                  <a:cubicBezTo>
                    <a:pt x="4733" y="13901"/>
                    <a:pt x="4809" y="13851"/>
                    <a:pt x="4866" y="13797"/>
                  </a:cubicBezTo>
                  <a:cubicBezTo>
                    <a:pt x="4928" y="13748"/>
                    <a:pt x="5004" y="13686"/>
                    <a:pt x="5040" y="13663"/>
                  </a:cubicBezTo>
                  <a:cubicBezTo>
                    <a:pt x="5074" y="13637"/>
                    <a:pt x="5110" y="13633"/>
                    <a:pt x="5119" y="13642"/>
                  </a:cubicBezTo>
                  <a:cubicBezTo>
                    <a:pt x="5129" y="13652"/>
                    <a:pt x="5197" y="13636"/>
                    <a:pt x="5255" y="13583"/>
                  </a:cubicBezTo>
                  <a:cubicBezTo>
                    <a:pt x="5320" y="13536"/>
                    <a:pt x="5421" y="13475"/>
                    <a:pt x="5468" y="13433"/>
                  </a:cubicBezTo>
                  <a:cubicBezTo>
                    <a:pt x="5518" y="13393"/>
                    <a:pt x="5594" y="13354"/>
                    <a:pt x="5634" y="13341"/>
                  </a:cubicBezTo>
                  <a:cubicBezTo>
                    <a:pt x="5675" y="13329"/>
                    <a:pt x="5765" y="13268"/>
                    <a:pt x="5834" y="13206"/>
                  </a:cubicBezTo>
                  <a:cubicBezTo>
                    <a:pt x="5901" y="13141"/>
                    <a:pt x="5980" y="13082"/>
                    <a:pt x="6008" y="13078"/>
                  </a:cubicBezTo>
                  <a:cubicBezTo>
                    <a:pt x="6036" y="13070"/>
                    <a:pt x="6118" y="13031"/>
                    <a:pt x="6189" y="12986"/>
                  </a:cubicBezTo>
                  <a:cubicBezTo>
                    <a:pt x="6262" y="12946"/>
                    <a:pt x="6383" y="12859"/>
                    <a:pt x="6459" y="12794"/>
                  </a:cubicBezTo>
                  <a:cubicBezTo>
                    <a:pt x="6536" y="12733"/>
                    <a:pt x="6627" y="12674"/>
                    <a:pt x="6664" y="12666"/>
                  </a:cubicBezTo>
                  <a:cubicBezTo>
                    <a:pt x="6700" y="12662"/>
                    <a:pt x="6704" y="12680"/>
                    <a:pt x="6712" y="12716"/>
                  </a:cubicBezTo>
                  <a:cubicBezTo>
                    <a:pt x="6702" y="12752"/>
                    <a:pt x="6740" y="12735"/>
                    <a:pt x="6799" y="12683"/>
                  </a:cubicBezTo>
                  <a:cubicBezTo>
                    <a:pt x="6855" y="12628"/>
                    <a:pt x="6880" y="12626"/>
                    <a:pt x="6853" y="12679"/>
                  </a:cubicBezTo>
                  <a:cubicBezTo>
                    <a:pt x="6823" y="12730"/>
                    <a:pt x="6833" y="12778"/>
                    <a:pt x="6854" y="12798"/>
                  </a:cubicBezTo>
                  <a:cubicBezTo>
                    <a:pt x="6882" y="12804"/>
                    <a:pt x="6890" y="12844"/>
                    <a:pt x="6874" y="12871"/>
                  </a:cubicBezTo>
                  <a:cubicBezTo>
                    <a:pt x="6854" y="12893"/>
                    <a:pt x="6841" y="12938"/>
                    <a:pt x="6853" y="12950"/>
                  </a:cubicBezTo>
                  <a:cubicBezTo>
                    <a:pt x="6849" y="12967"/>
                    <a:pt x="6906" y="12947"/>
                    <a:pt x="6968" y="12910"/>
                  </a:cubicBezTo>
                  <a:cubicBezTo>
                    <a:pt x="7026" y="12868"/>
                    <a:pt x="7099" y="12831"/>
                    <a:pt x="7126" y="12831"/>
                  </a:cubicBezTo>
                  <a:cubicBezTo>
                    <a:pt x="7154" y="12831"/>
                    <a:pt x="7162" y="12854"/>
                    <a:pt x="7150" y="12893"/>
                  </a:cubicBezTo>
                  <a:cubicBezTo>
                    <a:pt x="7144" y="12934"/>
                    <a:pt x="7148" y="12957"/>
                    <a:pt x="7176" y="12943"/>
                  </a:cubicBezTo>
                  <a:cubicBezTo>
                    <a:pt x="7202" y="12927"/>
                    <a:pt x="7238" y="12940"/>
                    <a:pt x="7247" y="12963"/>
                  </a:cubicBezTo>
                  <a:cubicBezTo>
                    <a:pt x="7263" y="12982"/>
                    <a:pt x="7243" y="13026"/>
                    <a:pt x="7223" y="13059"/>
                  </a:cubicBezTo>
                  <a:cubicBezTo>
                    <a:pt x="7204" y="13093"/>
                    <a:pt x="7151" y="13161"/>
                    <a:pt x="7115" y="13215"/>
                  </a:cubicBezTo>
                  <a:cubicBezTo>
                    <a:pt x="7082" y="13272"/>
                    <a:pt x="7074" y="13337"/>
                    <a:pt x="7084" y="13371"/>
                  </a:cubicBezTo>
                  <a:cubicBezTo>
                    <a:pt x="7099" y="13404"/>
                    <a:pt x="7163" y="13417"/>
                    <a:pt x="7209" y="13437"/>
                  </a:cubicBezTo>
                  <a:cubicBezTo>
                    <a:pt x="7259" y="13434"/>
                    <a:pt x="7281" y="13479"/>
                    <a:pt x="7260" y="13517"/>
                  </a:cubicBezTo>
                  <a:cubicBezTo>
                    <a:pt x="7235" y="13555"/>
                    <a:pt x="7195" y="13613"/>
                    <a:pt x="7167" y="13646"/>
                  </a:cubicBezTo>
                  <a:cubicBezTo>
                    <a:pt x="7139" y="13677"/>
                    <a:pt x="7101" y="13726"/>
                    <a:pt x="7101" y="13757"/>
                  </a:cubicBezTo>
                  <a:cubicBezTo>
                    <a:pt x="7087" y="13784"/>
                    <a:pt x="7071" y="13807"/>
                    <a:pt x="7051" y="13813"/>
                  </a:cubicBezTo>
                  <a:cubicBezTo>
                    <a:pt x="7031" y="13818"/>
                    <a:pt x="6932" y="13848"/>
                    <a:pt x="6836" y="13893"/>
                  </a:cubicBezTo>
                  <a:cubicBezTo>
                    <a:pt x="6740" y="13939"/>
                    <a:pt x="6598" y="14003"/>
                    <a:pt x="6518" y="14027"/>
                  </a:cubicBezTo>
                  <a:cubicBezTo>
                    <a:pt x="6440" y="14055"/>
                    <a:pt x="6326" y="14119"/>
                    <a:pt x="6271" y="14171"/>
                  </a:cubicBezTo>
                  <a:cubicBezTo>
                    <a:pt x="6212" y="14219"/>
                    <a:pt x="6134" y="14272"/>
                    <a:pt x="6095" y="14285"/>
                  </a:cubicBezTo>
                  <a:cubicBezTo>
                    <a:pt x="6057" y="14301"/>
                    <a:pt x="6004" y="14330"/>
                    <a:pt x="5982" y="14355"/>
                  </a:cubicBezTo>
                  <a:cubicBezTo>
                    <a:pt x="5958" y="14379"/>
                    <a:pt x="5900" y="14423"/>
                    <a:pt x="5856" y="14453"/>
                  </a:cubicBezTo>
                  <a:cubicBezTo>
                    <a:pt x="5810" y="14484"/>
                    <a:pt x="5775" y="14475"/>
                    <a:pt x="5751" y="14454"/>
                  </a:cubicBezTo>
                  <a:cubicBezTo>
                    <a:pt x="5736" y="14427"/>
                    <a:pt x="5698" y="14421"/>
                    <a:pt x="5659" y="14446"/>
                  </a:cubicBezTo>
                  <a:cubicBezTo>
                    <a:pt x="5616" y="14463"/>
                    <a:pt x="5592" y="14459"/>
                    <a:pt x="5585" y="14423"/>
                  </a:cubicBezTo>
                  <a:cubicBezTo>
                    <a:pt x="5595" y="14388"/>
                    <a:pt x="5564" y="14358"/>
                    <a:pt x="5544" y="14370"/>
                  </a:cubicBezTo>
                  <a:cubicBezTo>
                    <a:pt x="5522" y="14381"/>
                    <a:pt x="5446" y="14434"/>
                    <a:pt x="5370" y="14483"/>
                  </a:cubicBezTo>
                  <a:cubicBezTo>
                    <a:pt x="5295" y="14538"/>
                    <a:pt x="5209" y="14590"/>
                    <a:pt x="5181" y="14606"/>
                  </a:cubicBezTo>
                  <a:cubicBezTo>
                    <a:pt x="5152" y="14623"/>
                    <a:pt x="5118" y="14619"/>
                    <a:pt x="5107" y="14608"/>
                  </a:cubicBezTo>
                  <a:cubicBezTo>
                    <a:pt x="5098" y="14595"/>
                    <a:pt x="5044" y="14597"/>
                    <a:pt x="4994" y="14615"/>
                  </a:cubicBezTo>
                  <a:cubicBezTo>
                    <a:pt x="4941" y="14625"/>
                    <a:pt x="4922" y="14608"/>
                    <a:pt x="4938" y="14559"/>
                  </a:cubicBezTo>
                  <a:cubicBezTo>
                    <a:pt x="4968" y="14519"/>
                    <a:pt x="4956" y="14488"/>
                    <a:pt x="4932" y="14504"/>
                  </a:cubicBezTo>
                  <a:cubicBezTo>
                    <a:pt x="4905" y="14513"/>
                    <a:pt x="4868" y="14542"/>
                    <a:pt x="4842" y="14546"/>
                  </a:cubicBezTo>
                  <a:cubicBezTo>
                    <a:pt x="4817" y="14556"/>
                    <a:pt x="4737" y="14600"/>
                    <a:pt x="4667" y="14650"/>
                  </a:cubicBezTo>
                  <a:cubicBezTo>
                    <a:pt x="4590" y="14689"/>
                    <a:pt x="4523" y="14738"/>
                    <a:pt x="4506" y="14743"/>
                  </a:cubicBezTo>
                  <a:cubicBezTo>
                    <a:pt x="4492" y="14732"/>
                    <a:pt x="4356" y="14826"/>
                    <a:pt x="4215" y="14926"/>
                  </a:cubicBezTo>
                  <a:cubicBezTo>
                    <a:pt x="4070" y="15024"/>
                    <a:pt x="3891" y="15143"/>
                    <a:pt x="3816" y="15195"/>
                  </a:cubicBezTo>
                  <a:cubicBezTo>
                    <a:pt x="3746" y="15250"/>
                    <a:pt x="3637" y="15295"/>
                    <a:pt x="3590" y="15318"/>
                  </a:cubicBezTo>
                  <a:cubicBezTo>
                    <a:pt x="3539" y="15331"/>
                    <a:pt x="3302" y="15484"/>
                    <a:pt x="3067" y="15653"/>
                  </a:cubicBezTo>
                  <a:cubicBezTo>
                    <a:pt x="2827" y="15813"/>
                    <a:pt x="2592" y="15986"/>
                    <a:pt x="2543" y="16032"/>
                  </a:cubicBezTo>
                  <a:cubicBezTo>
                    <a:pt x="2494" y="16079"/>
                    <a:pt x="2383" y="16174"/>
                    <a:pt x="2300" y="16245"/>
                  </a:cubicBezTo>
                  <a:cubicBezTo>
                    <a:pt x="2213" y="16312"/>
                    <a:pt x="2095" y="16437"/>
                    <a:pt x="2030" y="16515"/>
                  </a:cubicBezTo>
                  <a:cubicBezTo>
                    <a:pt x="1965" y="16591"/>
                    <a:pt x="1852" y="16746"/>
                    <a:pt x="1782" y="16861"/>
                  </a:cubicBezTo>
                  <a:cubicBezTo>
                    <a:pt x="1714" y="16976"/>
                    <a:pt x="1567" y="17180"/>
                    <a:pt x="1453" y="17311"/>
                  </a:cubicBezTo>
                  <a:cubicBezTo>
                    <a:pt x="1351" y="17451"/>
                    <a:pt x="1212" y="17634"/>
                    <a:pt x="1166" y="17732"/>
                  </a:cubicBezTo>
                  <a:cubicBezTo>
                    <a:pt x="1109" y="17825"/>
                    <a:pt x="1043" y="17958"/>
                    <a:pt x="996" y="18014"/>
                  </a:cubicBezTo>
                  <a:cubicBezTo>
                    <a:pt x="953" y="18072"/>
                    <a:pt x="906" y="18140"/>
                    <a:pt x="900" y="18168"/>
                  </a:cubicBezTo>
                  <a:cubicBezTo>
                    <a:pt x="895" y="18196"/>
                    <a:pt x="908" y="18207"/>
                    <a:pt x="938" y="18204"/>
                  </a:cubicBezTo>
                  <a:cubicBezTo>
                    <a:pt x="965" y="18190"/>
                    <a:pt x="962" y="18226"/>
                    <a:pt x="929" y="18274"/>
                  </a:cubicBezTo>
                  <a:cubicBezTo>
                    <a:pt x="897" y="18323"/>
                    <a:pt x="836" y="18388"/>
                    <a:pt x="803" y="18428"/>
                  </a:cubicBezTo>
                  <a:cubicBezTo>
                    <a:pt x="766" y="18462"/>
                    <a:pt x="702" y="18594"/>
                    <a:pt x="655" y="18715"/>
                  </a:cubicBezTo>
                  <a:cubicBezTo>
                    <a:pt x="611" y="18836"/>
                    <a:pt x="590" y="18944"/>
                    <a:pt x="607" y="18960"/>
                  </a:cubicBezTo>
                  <a:cubicBezTo>
                    <a:pt x="625" y="18976"/>
                    <a:pt x="636" y="19008"/>
                    <a:pt x="628" y="19035"/>
                  </a:cubicBezTo>
                  <a:cubicBezTo>
                    <a:pt x="628" y="19062"/>
                    <a:pt x="658" y="19093"/>
                    <a:pt x="710" y="19083"/>
                  </a:cubicBezTo>
                  <a:cubicBezTo>
                    <a:pt x="763" y="19083"/>
                    <a:pt x="814" y="19095"/>
                    <a:pt x="818" y="19112"/>
                  </a:cubicBezTo>
                  <a:cubicBezTo>
                    <a:pt x="827" y="19126"/>
                    <a:pt x="876" y="19099"/>
                    <a:pt x="935" y="19052"/>
                  </a:cubicBezTo>
                  <a:cubicBezTo>
                    <a:pt x="992" y="19001"/>
                    <a:pt x="1055" y="18978"/>
                    <a:pt x="1055" y="19001"/>
                  </a:cubicBezTo>
                  <a:cubicBezTo>
                    <a:pt x="1060" y="19022"/>
                    <a:pt x="1097" y="19021"/>
                    <a:pt x="1134" y="19006"/>
                  </a:cubicBezTo>
                  <a:cubicBezTo>
                    <a:pt x="1167" y="18986"/>
                    <a:pt x="1266" y="18913"/>
                    <a:pt x="1347" y="18835"/>
                  </a:cubicBezTo>
                  <a:cubicBezTo>
                    <a:pt x="1430" y="18758"/>
                    <a:pt x="1527" y="18675"/>
                    <a:pt x="1565" y="18653"/>
                  </a:cubicBezTo>
                  <a:cubicBezTo>
                    <a:pt x="1602" y="18630"/>
                    <a:pt x="1631" y="18640"/>
                    <a:pt x="1654" y="18657"/>
                  </a:cubicBezTo>
                  <a:cubicBezTo>
                    <a:pt x="1659" y="18684"/>
                    <a:pt x="1736" y="18669"/>
                    <a:pt x="1802" y="18617"/>
                  </a:cubicBezTo>
                  <a:cubicBezTo>
                    <a:pt x="1873" y="18576"/>
                    <a:pt x="1912" y="18578"/>
                    <a:pt x="1912" y="18635"/>
                  </a:cubicBezTo>
                  <a:cubicBezTo>
                    <a:pt x="1906" y="18692"/>
                    <a:pt x="1921" y="18732"/>
                    <a:pt x="1948" y="18723"/>
                  </a:cubicBezTo>
                  <a:cubicBezTo>
                    <a:pt x="1976" y="18720"/>
                    <a:pt x="1996" y="18737"/>
                    <a:pt x="1980" y="18766"/>
                  </a:cubicBezTo>
                  <a:cubicBezTo>
                    <a:pt x="1966" y="18795"/>
                    <a:pt x="1888" y="18872"/>
                    <a:pt x="1816" y="18952"/>
                  </a:cubicBezTo>
                  <a:cubicBezTo>
                    <a:pt x="1733" y="19020"/>
                    <a:pt x="1650" y="19110"/>
                    <a:pt x="1636" y="19150"/>
                  </a:cubicBezTo>
                  <a:cubicBezTo>
                    <a:pt x="1615" y="19186"/>
                    <a:pt x="1562" y="19267"/>
                    <a:pt x="1512" y="19325"/>
                  </a:cubicBezTo>
                  <a:cubicBezTo>
                    <a:pt x="1465" y="19386"/>
                    <a:pt x="1400" y="19456"/>
                    <a:pt x="1389" y="19492"/>
                  </a:cubicBezTo>
                  <a:cubicBezTo>
                    <a:pt x="1365" y="19523"/>
                    <a:pt x="1320" y="19610"/>
                    <a:pt x="1267" y="19671"/>
                  </a:cubicBezTo>
                  <a:cubicBezTo>
                    <a:pt x="1225" y="19741"/>
                    <a:pt x="1091" y="19865"/>
                    <a:pt x="991" y="19964"/>
                  </a:cubicBezTo>
                  <a:cubicBezTo>
                    <a:pt x="890" y="20061"/>
                    <a:pt x="793" y="20176"/>
                    <a:pt x="764" y="20212"/>
                  </a:cubicBezTo>
                  <a:cubicBezTo>
                    <a:pt x="742" y="20253"/>
                    <a:pt x="676" y="20331"/>
                    <a:pt x="632" y="20397"/>
                  </a:cubicBezTo>
                  <a:cubicBezTo>
                    <a:pt x="584" y="20461"/>
                    <a:pt x="561" y="20529"/>
                    <a:pt x="587" y="20529"/>
                  </a:cubicBezTo>
                  <a:cubicBezTo>
                    <a:pt x="613" y="20533"/>
                    <a:pt x="596" y="20619"/>
                    <a:pt x="547" y="20706"/>
                  </a:cubicBezTo>
                  <a:cubicBezTo>
                    <a:pt x="508" y="20798"/>
                    <a:pt x="460" y="20924"/>
                    <a:pt x="434" y="20987"/>
                  </a:cubicBezTo>
                  <a:cubicBezTo>
                    <a:pt x="428" y="21056"/>
                    <a:pt x="381" y="21148"/>
                    <a:pt x="350" y="21198"/>
                  </a:cubicBezTo>
                  <a:cubicBezTo>
                    <a:pt x="324" y="21250"/>
                    <a:pt x="225" y="21343"/>
                    <a:pt x="142" y="21413"/>
                  </a:cubicBezTo>
                  <a:cubicBezTo>
                    <a:pt x="60" y="21484"/>
                    <a:pt x="0" y="21551"/>
                    <a:pt x="0" y="21567"/>
                  </a:cubicBezTo>
                  <a:cubicBezTo>
                    <a:pt x="9" y="21582"/>
                    <a:pt x="82" y="21562"/>
                    <a:pt x="171" y="21518"/>
                  </a:cubicBezTo>
                  <a:cubicBezTo>
                    <a:pt x="260" y="21476"/>
                    <a:pt x="365" y="21390"/>
                    <a:pt x="424" y="21360"/>
                  </a:cubicBezTo>
                  <a:cubicBezTo>
                    <a:pt x="470" y="21312"/>
                    <a:pt x="536" y="21266"/>
                    <a:pt x="565" y="21256"/>
                  </a:cubicBezTo>
                  <a:cubicBezTo>
                    <a:pt x="591" y="21243"/>
                    <a:pt x="611" y="21248"/>
                    <a:pt x="624" y="21254"/>
                  </a:cubicBezTo>
                  <a:cubicBezTo>
                    <a:pt x="634" y="21265"/>
                    <a:pt x="680" y="21232"/>
                    <a:pt x="725" y="21168"/>
                  </a:cubicBezTo>
                  <a:cubicBezTo>
                    <a:pt x="778" y="21111"/>
                    <a:pt x="845" y="21033"/>
                    <a:pt x="884" y="21005"/>
                  </a:cubicBezTo>
                  <a:cubicBezTo>
                    <a:pt x="924" y="20978"/>
                    <a:pt x="970" y="20946"/>
                    <a:pt x="981" y="20957"/>
                  </a:cubicBezTo>
                  <a:cubicBezTo>
                    <a:pt x="994" y="20966"/>
                    <a:pt x="1071" y="20916"/>
                    <a:pt x="1154" y="20869"/>
                  </a:cubicBezTo>
                  <a:cubicBezTo>
                    <a:pt x="1236" y="20819"/>
                    <a:pt x="1358" y="20764"/>
                    <a:pt x="1429" y="20756"/>
                  </a:cubicBezTo>
                  <a:cubicBezTo>
                    <a:pt x="1499" y="20747"/>
                    <a:pt x="1612" y="20672"/>
                    <a:pt x="1681" y="20592"/>
                  </a:cubicBezTo>
                  <a:cubicBezTo>
                    <a:pt x="1747" y="20508"/>
                    <a:pt x="1873" y="20407"/>
                    <a:pt x="1952" y="20356"/>
                  </a:cubicBezTo>
                  <a:cubicBezTo>
                    <a:pt x="2034" y="20312"/>
                    <a:pt x="2099" y="20289"/>
                    <a:pt x="2092" y="20314"/>
                  </a:cubicBezTo>
                  <a:cubicBezTo>
                    <a:pt x="2092" y="20340"/>
                    <a:pt x="2099" y="20361"/>
                    <a:pt x="2112" y="20352"/>
                  </a:cubicBezTo>
                  <a:cubicBezTo>
                    <a:pt x="2125" y="20348"/>
                    <a:pt x="2161" y="20314"/>
                    <a:pt x="2199" y="20282"/>
                  </a:cubicBezTo>
                  <a:cubicBezTo>
                    <a:pt x="2235" y="20251"/>
                    <a:pt x="2301" y="20180"/>
                    <a:pt x="2359" y="20140"/>
                  </a:cubicBezTo>
                  <a:cubicBezTo>
                    <a:pt x="2412" y="20093"/>
                    <a:pt x="2477" y="20056"/>
                    <a:pt x="2498" y="20051"/>
                  </a:cubicBezTo>
                  <a:cubicBezTo>
                    <a:pt x="2520" y="20048"/>
                    <a:pt x="2530" y="20077"/>
                    <a:pt x="2509" y="20115"/>
                  </a:cubicBezTo>
                  <a:cubicBezTo>
                    <a:pt x="2496" y="20156"/>
                    <a:pt x="2520" y="20169"/>
                    <a:pt x="2555" y="20133"/>
                  </a:cubicBezTo>
                  <a:cubicBezTo>
                    <a:pt x="2599" y="20109"/>
                    <a:pt x="2653" y="20048"/>
                    <a:pt x="2689" y="20018"/>
                  </a:cubicBezTo>
                  <a:cubicBezTo>
                    <a:pt x="2721" y="19984"/>
                    <a:pt x="2765" y="19965"/>
                    <a:pt x="2784" y="19963"/>
                  </a:cubicBezTo>
                  <a:cubicBezTo>
                    <a:pt x="2795" y="19979"/>
                    <a:pt x="2805" y="20010"/>
                    <a:pt x="2784" y="20059"/>
                  </a:cubicBezTo>
                  <a:cubicBezTo>
                    <a:pt x="2761" y="20108"/>
                    <a:pt x="2775" y="20131"/>
                    <a:pt x="2809" y="20111"/>
                  </a:cubicBezTo>
                  <a:cubicBezTo>
                    <a:pt x="2844" y="20093"/>
                    <a:pt x="2903" y="20028"/>
                    <a:pt x="2951" y="19979"/>
                  </a:cubicBezTo>
                  <a:cubicBezTo>
                    <a:pt x="2993" y="19926"/>
                    <a:pt x="3105" y="19836"/>
                    <a:pt x="3192" y="19775"/>
                  </a:cubicBezTo>
                  <a:cubicBezTo>
                    <a:pt x="3279" y="19712"/>
                    <a:pt x="3407" y="19609"/>
                    <a:pt x="3465" y="19534"/>
                  </a:cubicBezTo>
                  <a:cubicBezTo>
                    <a:pt x="3528" y="19463"/>
                    <a:pt x="3635" y="19363"/>
                    <a:pt x="3697" y="19306"/>
                  </a:cubicBezTo>
                  <a:cubicBezTo>
                    <a:pt x="3765" y="19255"/>
                    <a:pt x="3854" y="19180"/>
                    <a:pt x="3904" y="19152"/>
                  </a:cubicBezTo>
                  <a:cubicBezTo>
                    <a:pt x="3948" y="19118"/>
                    <a:pt x="4078" y="18999"/>
                    <a:pt x="4188" y="18882"/>
                  </a:cubicBezTo>
                  <a:cubicBezTo>
                    <a:pt x="4301" y="18767"/>
                    <a:pt x="4470" y="18592"/>
                    <a:pt x="4571" y="18502"/>
                  </a:cubicBezTo>
                  <a:cubicBezTo>
                    <a:pt x="4677" y="18416"/>
                    <a:pt x="4811" y="18300"/>
                    <a:pt x="4873" y="18248"/>
                  </a:cubicBezTo>
                  <a:cubicBezTo>
                    <a:pt x="4934" y="18195"/>
                    <a:pt x="5021" y="18125"/>
                    <a:pt x="5051" y="18080"/>
                  </a:cubicBezTo>
                  <a:cubicBezTo>
                    <a:pt x="5087" y="18038"/>
                    <a:pt x="5148" y="17976"/>
                    <a:pt x="5194" y="17953"/>
                  </a:cubicBezTo>
                  <a:cubicBezTo>
                    <a:pt x="5237" y="17926"/>
                    <a:pt x="5324" y="17882"/>
                    <a:pt x="5385" y="17855"/>
                  </a:cubicBezTo>
                  <a:cubicBezTo>
                    <a:pt x="5448" y="17830"/>
                    <a:pt x="5535" y="17771"/>
                    <a:pt x="5587" y="17738"/>
                  </a:cubicBezTo>
                  <a:cubicBezTo>
                    <a:pt x="5636" y="17702"/>
                    <a:pt x="5704" y="17670"/>
                    <a:pt x="5735" y="17672"/>
                  </a:cubicBezTo>
                  <a:cubicBezTo>
                    <a:pt x="5767" y="17676"/>
                    <a:pt x="5900" y="17605"/>
                    <a:pt x="6031" y="17527"/>
                  </a:cubicBezTo>
                  <a:cubicBezTo>
                    <a:pt x="6162" y="17446"/>
                    <a:pt x="6422" y="17231"/>
                    <a:pt x="6615" y="17053"/>
                  </a:cubicBezTo>
                  <a:cubicBezTo>
                    <a:pt x="6807" y="16873"/>
                    <a:pt x="6997" y="16672"/>
                    <a:pt x="7046" y="16614"/>
                  </a:cubicBezTo>
                  <a:cubicBezTo>
                    <a:pt x="7096" y="16557"/>
                    <a:pt x="7150" y="16484"/>
                    <a:pt x="7180" y="16473"/>
                  </a:cubicBezTo>
                  <a:cubicBezTo>
                    <a:pt x="7205" y="16453"/>
                    <a:pt x="7230" y="16458"/>
                    <a:pt x="7244" y="16465"/>
                  </a:cubicBezTo>
                  <a:cubicBezTo>
                    <a:pt x="7255" y="16476"/>
                    <a:pt x="7290" y="16442"/>
                    <a:pt x="7336" y="16392"/>
                  </a:cubicBezTo>
                  <a:cubicBezTo>
                    <a:pt x="7375" y="16336"/>
                    <a:pt x="7473" y="16241"/>
                    <a:pt x="7544" y="16174"/>
                  </a:cubicBezTo>
                  <a:cubicBezTo>
                    <a:pt x="7614" y="16106"/>
                    <a:pt x="7691" y="16014"/>
                    <a:pt x="7715" y="15970"/>
                  </a:cubicBezTo>
                  <a:cubicBezTo>
                    <a:pt x="7741" y="15926"/>
                    <a:pt x="7792" y="15857"/>
                    <a:pt x="7822" y="15813"/>
                  </a:cubicBezTo>
                  <a:cubicBezTo>
                    <a:pt x="7860" y="15772"/>
                    <a:pt x="7905" y="15733"/>
                    <a:pt x="7927" y="15728"/>
                  </a:cubicBezTo>
                  <a:cubicBezTo>
                    <a:pt x="7948" y="15719"/>
                    <a:pt x="8006" y="15695"/>
                    <a:pt x="8049" y="15661"/>
                  </a:cubicBezTo>
                  <a:cubicBezTo>
                    <a:pt x="8096" y="15631"/>
                    <a:pt x="8169" y="15560"/>
                    <a:pt x="8214" y="15507"/>
                  </a:cubicBezTo>
                  <a:cubicBezTo>
                    <a:pt x="8254" y="15449"/>
                    <a:pt x="8306" y="15380"/>
                    <a:pt x="8324" y="15345"/>
                  </a:cubicBezTo>
                  <a:cubicBezTo>
                    <a:pt x="8341" y="15310"/>
                    <a:pt x="8371" y="15274"/>
                    <a:pt x="8393" y="15274"/>
                  </a:cubicBezTo>
                  <a:cubicBezTo>
                    <a:pt x="8414" y="15267"/>
                    <a:pt x="8460" y="15243"/>
                    <a:pt x="8499" y="15220"/>
                  </a:cubicBezTo>
                  <a:cubicBezTo>
                    <a:pt x="8533" y="15191"/>
                    <a:pt x="8567" y="15197"/>
                    <a:pt x="8562" y="15227"/>
                  </a:cubicBezTo>
                  <a:cubicBezTo>
                    <a:pt x="8562" y="15258"/>
                    <a:pt x="8548" y="15316"/>
                    <a:pt x="8523" y="15350"/>
                  </a:cubicBezTo>
                  <a:cubicBezTo>
                    <a:pt x="8509" y="15390"/>
                    <a:pt x="8493" y="15438"/>
                    <a:pt x="8493" y="15461"/>
                  </a:cubicBezTo>
                  <a:cubicBezTo>
                    <a:pt x="8499" y="15484"/>
                    <a:pt x="8441" y="15555"/>
                    <a:pt x="8373" y="15623"/>
                  </a:cubicBezTo>
                  <a:cubicBezTo>
                    <a:pt x="8303" y="15690"/>
                    <a:pt x="8223" y="15782"/>
                    <a:pt x="8199" y="15829"/>
                  </a:cubicBezTo>
                  <a:cubicBezTo>
                    <a:pt x="8176" y="15878"/>
                    <a:pt x="8112" y="15974"/>
                    <a:pt x="8052" y="16036"/>
                  </a:cubicBezTo>
                  <a:cubicBezTo>
                    <a:pt x="7994" y="16099"/>
                    <a:pt x="7919" y="16198"/>
                    <a:pt x="7867" y="16237"/>
                  </a:cubicBezTo>
                  <a:cubicBezTo>
                    <a:pt x="7828" y="16288"/>
                    <a:pt x="7764" y="16336"/>
                    <a:pt x="7764" y="16362"/>
                  </a:cubicBezTo>
                  <a:cubicBezTo>
                    <a:pt x="7747" y="16383"/>
                    <a:pt x="7779" y="16392"/>
                    <a:pt x="7821" y="16374"/>
                  </a:cubicBezTo>
                  <a:cubicBezTo>
                    <a:pt x="7860" y="16353"/>
                    <a:pt x="7927" y="16347"/>
                    <a:pt x="7948" y="16372"/>
                  </a:cubicBezTo>
                  <a:cubicBezTo>
                    <a:pt x="7980" y="16377"/>
                    <a:pt x="8020" y="16374"/>
                    <a:pt x="8054" y="16347"/>
                  </a:cubicBezTo>
                  <a:cubicBezTo>
                    <a:pt x="8084" y="16317"/>
                    <a:pt x="8143" y="16259"/>
                    <a:pt x="8192" y="16236"/>
                  </a:cubicBezTo>
                  <a:cubicBezTo>
                    <a:pt x="8238" y="16204"/>
                    <a:pt x="8311" y="16180"/>
                    <a:pt x="8352" y="16175"/>
                  </a:cubicBezTo>
                  <a:cubicBezTo>
                    <a:pt x="8393" y="16167"/>
                    <a:pt x="8417" y="16218"/>
                    <a:pt x="8398" y="16274"/>
                  </a:cubicBezTo>
                  <a:cubicBezTo>
                    <a:pt x="8380" y="16331"/>
                    <a:pt x="8378" y="16392"/>
                    <a:pt x="8393" y="16404"/>
                  </a:cubicBezTo>
                  <a:cubicBezTo>
                    <a:pt x="8407" y="16418"/>
                    <a:pt x="8429" y="16395"/>
                    <a:pt x="8457" y="16364"/>
                  </a:cubicBezTo>
                  <a:cubicBezTo>
                    <a:pt x="8476" y="16326"/>
                    <a:pt x="8522" y="16268"/>
                    <a:pt x="8557" y="16233"/>
                  </a:cubicBezTo>
                  <a:cubicBezTo>
                    <a:pt x="8589" y="16198"/>
                    <a:pt x="8641" y="16165"/>
                    <a:pt x="8672" y="16165"/>
                  </a:cubicBezTo>
                  <a:cubicBezTo>
                    <a:pt x="8701" y="16153"/>
                    <a:pt x="8710" y="16203"/>
                    <a:pt x="8683" y="16250"/>
                  </a:cubicBezTo>
                  <a:cubicBezTo>
                    <a:pt x="8654" y="16296"/>
                    <a:pt x="8583" y="16398"/>
                    <a:pt x="8514" y="16469"/>
                  </a:cubicBezTo>
                  <a:cubicBezTo>
                    <a:pt x="8445" y="16541"/>
                    <a:pt x="8344" y="16620"/>
                    <a:pt x="8294" y="16655"/>
                  </a:cubicBezTo>
                  <a:cubicBezTo>
                    <a:pt x="8241" y="16684"/>
                    <a:pt x="8147" y="16774"/>
                    <a:pt x="8078" y="16846"/>
                  </a:cubicBezTo>
                  <a:cubicBezTo>
                    <a:pt x="8018" y="16925"/>
                    <a:pt x="7945" y="17006"/>
                    <a:pt x="7940" y="17039"/>
                  </a:cubicBezTo>
                  <a:cubicBezTo>
                    <a:pt x="7924" y="17069"/>
                    <a:pt x="7948" y="17075"/>
                    <a:pt x="7986" y="17060"/>
                  </a:cubicBezTo>
                  <a:cubicBezTo>
                    <a:pt x="8019" y="17033"/>
                    <a:pt x="8086" y="17018"/>
                    <a:pt x="8121" y="16997"/>
                  </a:cubicBezTo>
                  <a:cubicBezTo>
                    <a:pt x="8156" y="16979"/>
                    <a:pt x="8209" y="16995"/>
                    <a:pt x="8241" y="17007"/>
                  </a:cubicBezTo>
                  <a:cubicBezTo>
                    <a:pt x="8264" y="17033"/>
                    <a:pt x="8335" y="17005"/>
                    <a:pt x="8391" y="16967"/>
                  </a:cubicBezTo>
                  <a:cubicBezTo>
                    <a:pt x="8443" y="16923"/>
                    <a:pt x="8562" y="16801"/>
                    <a:pt x="8657" y="16695"/>
                  </a:cubicBezTo>
                  <a:cubicBezTo>
                    <a:pt x="8746" y="16585"/>
                    <a:pt x="8842" y="16489"/>
                    <a:pt x="8864" y="16479"/>
                  </a:cubicBezTo>
                  <a:cubicBezTo>
                    <a:pt x="8881" y="16462"/>
                    <a:pt x="8869" y="16513"/>
                    <a:pt x="8832" y="16581"/>
                  </a:cubicBezTo>
                  <a:cubicBezTo>
                    <a:pt x="8793" y="16647"/>
                    <a:pt x="8761" y="16748"/>
                    <a:pt x="8761" y="16802"/>
                  </a:cubicBezTo>
                  <a:cubicBezTo>
                    <a:pt x="8761" y="16857"/>
                    <a:pt x="8789" y="16894"/>
                    <a:pt x="8825" y="16884"/>
                  </a:cubicBezTo>
                  <a:cubicBezTo>
                    <a:pt x="8858" y="16870"/>
                    <a:pt x="8936" y="16822"/>
                    <a:pt x="8993" y="16768"/>
                  </a:cubicBezTo>
                  <a:cubicBezTo>
                    <a:pt x="9045" y="16710"/>
                    <a:pt x="9137" y="16660"/>
                    <a:pt x="9184" y="16642"/>
                  </a:cubicBezTo>
                  <a:cubicBezTo>
                    <a:pt x="9235" y="16635"/>
                    <a:pt x="9269" y="16642"/>
                    <a:pt x="9280" y="16673"/>
                  </a:cubicBezTo>
                  <a:cubicBezTo>
                    <a:pt x="9280" y="16707"/>
                    <a:pt x="9332" y="16706"/>
                    <a:pt x="9387" y="16679"/>
                  </a:cubicBezTo>
                  <a:cubicBezTo>
                    <a:pt x="9437" y="16644"/>
                    <a:pt x="9484" y="16650"/>
                    <a:pt x="9503" y="16668"/>
                  </a:cubicBezTo>
                  <a:cubicBezTo>
                    <a:pt x="9503" y="16694"/>
                    <a:pt x="9543" y="16703"/>
                    <a:pt x="9566" y="16689"/>
                  </a:cubicBezTo>
                  <a:cubicBezTo>
                    <a:pt x="9591" y="16677"/>
                    <a:pt x="9630" y="16613"/>
                    <a:pt x="9665" y="16554"/>
                  </a:cubicBezTo>
                  <a:cubicBezTo>
                    <a:pt x="9688" y="16489"/>
                    <a:pt x="9749" y="16432"/>
                    <a:pt x="9779" y="16408"/>
                  </a:cubicBezTo>
                  <a:cubicBezTo>
                    <a:pt x="9813" y="16391"/>
                    <a:pt x="9888" y="16338"/>
                    <a:pt x="9948" y="16290"/>
                  </a:cubicBezTo>
                  <a:cubicBezTo>
                    <a:pt x="10006" y="16241"/>
                    <a:pt x="10072" y="16210"/>
                    <a:pt x="10084" y="16222"/>
                  </a:cubicBezTo>
                  <a:cubicBezTo>
                    <a:pt x="10100" y="16232"/>
                    <a:pt x="10084" y="16281"/>
                    <a:pt x="10057" y="16340"/>
                  </a:cubicBezTo>
                  <a:cubicBezTo>
                    <a:pt x="10024" y="16396"/>
                    <a:pt x="10019" y="16456"/>
                    <a:pt x="10032" y="16446"/>
                  </a:cubicBezTo>
                  <a:cubicBezTo>
                    <a:pt x="10044" y="16458"/>
                    <a:pt x="10119" y="16413"/>
                    <a:pt x="10181" y="16361"/>
                  </a:cubicBezTo>
                  <a:cubicBezTo>
                    <a:pt x="10246" y="16313"/>
                    <a:pt x="10360" y="16212"/>
                    <a:pt x="10424" y="16128"/>
                  </a:cubicBezTo>
                  <a:cubicBezTo>
                    <a:pt x="10496" y="16050"/>
                    <a:pt x="10571" y="15974"/>
                    <a:pt x="10582" y="15989"/>
                  </a:cubicBezTo>
                  <a:cubicBezTo>
                    <a:pt x="10601" y="15985"/>
                    <a:pt x="10601" y="16027"/>
                    <a:pt x="10595" y="16070"/>
                  </a:cubicBezTo>
                  <a:cubicBezTo>
                    <a:pt x="10582" y="16111"/>
                    <a:pt x="10596" y="16125"/>
                    <a:pt x="10630" y="16113"/>
                  </a:cubicBezTo>
                  <a:cubicBezTo>
                    <a:pt x="10658" y="16093"/>
                    <a:pt x="10719" y="16043"/>
                    <a:pt x="10760" y="15995"/>
                  </a:cubicBezTo>
                  <a:cubicBezTo>
                    <a:pt x="10802" y="15947"/>
                    <a:pt x="10852" y="15891"/>
                    <a:pt x="10876" y="15875"/>
                  </a:cubicBezTo>
                  <a:cubicBezTo>
                    <a:pt x="10892" y="15851"/>
                    <a:pt x="10971" y="15787"/>
                    <a:pt x="11035" y="15717"/>
                  </a:cubicBezTo>
                  <a:cubicBezTo>
                    <a:pt x="11102" y="15652"/>
                    <a:pt x="11188" y="15570"/>
                    <a:pt x="11235" y="15554"/>
                  </a:cubicBezTo>
                  <a:cubicBezTo>
                    <a:pt x="11282" y="15536"/>
                    <a:pt x="11320" y="15533"/>
                    <a:pt x="11320" y="15551"/>
                  </a:cubicBezTo>
                  <a:cubicBezTo>
                    <a:pt x="11336" y="15563"/>
                    <a:pt x="11343" y="15594"/>
                    <a:pt x="11363" y="15582"/>
                  </a:cubicBezTo>
                  <a:cubicBezTo>
                    <a:pt x="11387" y="15579"/>
                    <a:pt x="11435" y="15548"/>
                    <a:pt x="11475" y="15519"/>
                  </a:cubicBezTo>
                  <a:cubicBezTo>
                    <a:pt x="11513" y="15487"/>
                    <a:pt x="11573" y="15440"/>
                    <a:pt x="11586" y="15401"/>
                  </a:cubicBezTo>
                  <a:cubicBezTo>
                    <a:pt x="11616" y="15374"/>
                    <a:pt x="11637" y="15309"/>
                    <a:pt x="11643" y="15272"/>
                  </a:cubicBezTo>
                  <a:cubicBezTo>
                    <a:pt x="11654" y="15234"/>
                    <a:pt x="11719" y="15137"/>
                    <a:pt x="11794" y="15059"/>
                  </a:cubicBezTo>
                  <a:cubicBezTo>
                    <a:pt x="11863" y="14975"/>
                    <a:pt x="11947" y="14890"/>
                    <a:pt x="11959" y="14855"/>
                  </a:cubicBezTo>
                  <a:cubicBezTo>
                    <a:pt x="11978" y="14823"/>
                    <a:pt x="12040" y="14744"/>
                    <a:pt x="12097" y="14677"/>
                  </a:cubicBezTo>
                  <a:cubicBezTo>
                    <a:pt x="12158" y="14615"/>
                    <a:pt x="12227" y="14520"/>
                    <a:pt x="12244" y="14470"/>
                  </a:cubicBezTo>
                  <a:cubicBezTo>
                    <a:pt x="12267" y="14421"/>
                    <a:pt x="12240" y="14408"/>
                    <a:pt x="12180" y="14435"/>
                  </a:cubicBezTo>
                  <a:cubicBezTo>
                    <a:pt x="12125" y="14469"/>
                    <a:pt x="12088" y="14445"/>
                    <a:pt x="12110" y="14393"/>
                  </a:cubicBezTo>
                  <a:cubicBezTo>
                    <a:pt x="12127" y="14339"/>
                    <a:pt x="12190" y="14236"/>
                    <a:pt x="12244" y="14160"/>
                  </a:cubicBezTo>
                  <a:cubicBezTo>
                    <a:pt x="12299" y="14084"/>
                    <a:pt x="12393" y="13980"/>
                    <a:pt x="12462" y="13946"/>
                  </a:cubicBezTo>
                  <a:cubicBezTo>
                    <a:pt x="12522" y="13896"/>
                    <a:pt x="12615" y="13811"/>
                    <a:pt x="12654" y="13739"/>
                  </a:cubicBezTo>
                  <a:cubicBezTo>
                    <a:pt x="12701" y="13674"/>
                    <a:pt x="12686" y="13604"/>
                    <a:pt x="12632" y="13608"/>
                  </a:cubicBezTo>
                  <a:cubicBezTo>
                    <a:pt x="12580" y="13605"/>
                    <a:pt x="12492" y="13639"/>
                    <a:pt x="12435" y="13680"/>
                  </a:cubicBezTo>
                  <a:cubicBezTo>
                    <a:pt x="12383" y="13729"/>
                    <a:pt x="12305" y="13798"/>
                    <a:pt x="12277" y="13850"/>
                  </a:cubicBezTo>
                  <a:cubicBezTo>
                    <a:pt x="12247" y="13902"/>
                    <a:pt x="12185" y="13976"/>
                    <a:pt x="12145" y="14021"/>
                  </a:cubicBezTo>
                  <a:cubicBezTo>
                    <a:pt x="12107" y="14068"/>
                    <a:pt x="12046" y="14096"/>
                    <a:pt x="12017" y="14093"/>
                  </a:cubicBezTo>
                  <a:cubicBezTo>
                    <a:pt x="11989" y="14100"/>
                    <a:pt x="11891" y="14122"/>
                    <a:pt x="11804" y="14172"/>
                  </a:cubicBezTo>
                  <a:cubicBezTo>
                    <a:pt x="11712" y="14209"/>
                    <a:pt x="11533" y="14375"/>
                    <a:pt x="11396" y="14516"/>
                  </a:cubicBezTo>
                  <a:cubicBezTo>
                    <a:pt x="11264" y="14662"/>
                    <a:pt x="11066" y="14846"/>
                    <a:pt x="10973" y="14937"/>
                  </a:cubicBezTo>
                  <a:cubicBezTo>
                    <a:pt x="10876" y="15024"/>
                    <a:pt x="10807" y="15066"/>
                    <a:pt x="10832" y="15035"/>
                  </a:cubicBezTo>
                  <a:cubicBezTo>
                    <a:pt x="10843" y="14997"/>
                    <a:pt x="10958" y="14898"/>
                    <a:pt x="11059" y="14797"/>
                  </a:cubicBezTo>
                  <a:cubicBezTo>
                    <a:pt x="11168" y="14706"/>
                    <a:pt x="11310" y="14560"/>
                    <a:pt x="11378" y="14481"/>
                  </a:cubicBezTo>
                  <a:cubicBezTo>
                    <a:pt x="11444" y="14401"/>
                    <a:pt x="11537" y="14268"/>
                    <a:pt x="11583" y="14184"/>
                  </a:cubicBezTo>
                  <a:cubicBezTo>
                    <a:pt x="11627" y="14099"/>
                    <a:pt x="11613" y="14081"/>
                    <a:pt x="11560" y="14150"/>
                  </a:cubicBezTo>
                  <a:cubicBezTo>
                    <a:pt x="11503" y="14216"/>
                    <a:pt x="11439" y="14270"/>
                    <a:pt x="11416" y="14273"/>
                  </a:cubicBezTo>
                  <a:cubicBezTo>
                    <a:pt x="11394" y="14281"/>
                    <a:pt x="11408" y="14229"/>
                    <a:pt x="11428" y="14165"/>
                  </a:cubicBezTo>
                  <a:cubicBezTo>
                    <a:pt x="11462" y="14107"/>
                    <a:pt x="11555" y="13991"/>
                    <a:pt x="11639" y="13908"/>
                  </a:cubicBezTo>
                  <a:cubicBezTo>
                    <a:pt x="11726" y="13827"/>
                    <a:pt x="11789" y="13703"/>
                    <a:pt x="11800" y="13635"/>
                  </a:cubicBezTo>
                  <a:cubicBezTo>
                    <a:pt x="11800" y="13566"/>
                    <a:pt x="11862" y="13441"/>
                    <a:pt x="11938" y="13362"/>
                  </a:cubicBezTo>
                  <a:cubicBezTo>
                    <a:pt x="12017" y="13283"/>
                    <a:pt x="12109" y="13184"/>
                    <a:pt x="12162" y="13166"/>
                  </a:cubicBezTo>
                  <a:cubicBezTo>
                    <a:pt x="12212" y="13144"/>
                    <a:pt x="12225" y="13160"/>
                    <a:pt x="12191" y="13207"/>
                  </a:cubicBezTo>
                  <a:cubicBezTo>
                    <a:pt x="12155" y="13252"/>
                    <a:pt x="12106" y="13365"/>
                    <a:pt x="12087" y="13454"/>
                  </a:cubicBezTo>
                  <a:cubicBezTo>
                    <a:pt x="12060" y="13541"/>
                    <a:pt x="12059" y="13637"/>
                    <a:pt x="12083" y="13658"/>
                  </a:cubicBezTo>
                  <a:cubicBezTo>
                    <a:pt x="12093" y="13689"/>
                    <a:pt x="12159" y="13674"/>
                    <a:pt x="12202" y="13636"/>
                  </a:cubicBezTo>
                  <a:cubicBezTo>
                    <a:pt x="12242" y="13596"/>
                    <a:pt x="12342" y="13530"/>
                    <a:pt x="12421" y="13491"/>
                  </a:cubicBezTo>
                  <a:cubicBezTo>
                    <a:pt x="12496" y="13444"/>
                    <a:pt x="12636" y="13331"/>
                    <a:pt x="12706" y="13219"/>
                  </a:cubicBezTo>
                  <a:cubicBezTo>
                    <a:pt x="12794" y="13118"/>
                    <a:pt x="12840" y="13008"/>
                    <a:pt x="12815" y="13001"/>
                  </a:cubicBezTo>
                  <a:cubicBezTo>
                    <a:pt x="12793" y="12986"/>
                    <a:pt x="12790" y="12947"/>
                    <a:pt x="12811" y="12916"/>
                  </a:cubicBezTo>
                  <a:cubicBezTo>
                    <a:pt x="12831" y="12884"/>
                    <a:pt x="12892" y="12838"/>
                    <a:pt x="12941" y="12801"/>
                  </a:cubicBezTo>
                  <a:cubicBezTo>
                    <a:pt x="12995" y="12774"/>
                    <a:pt x="13054" y="12755"/>
                    <a:pt x="13054" y="12772"/>
                  </a:cubicBezTo>
                  <a:cubicBezTo>
                    <a:pt x="13068" y="12783"/>
                    <a:pt x="13108" y="12775"/>
                    <a:pt x="13150" y="12741"/>
                  </a:cubicBezTo>
                  <a:cubicBezTo>
                    <a:pt x="13193" y="12708"/>
                    <a:pt x="13304" y="12608"/>
                    <a:pt x="13394" y="12518"/>
                  </a:cubicBezTo>
                  <a:cubicBezTo>
                    <a:pt x="13486" y="12429"/>
                    <a:pt x="13615" y="12277"/>
                    <a:pt x="13681" y="12182"/>
                  </a:cubicBezTo>
                  <a:cubicBezTo>
                    <a:pt x="13746" y="12086"/>
                    <a:pt x="13783" y="12059"/>
                    <a:pt x="13764" y="12119"/>
                  </a:cubicBezTo>
                  <a:cubicBezTo>
                    <a:pt x="13744" y="12180"/>
                    <a:pt x="13743" y="12209"/>
                    <a:pt x="13771" y="12206"/>
                  </a:cubicBezTo>
                  <a:cubicBezTo>
                    <a:pt x="13797" y="12193"/>
                    <a:pt x="13889" y="12102"/>
                    <a:pt x="13988" y="12016"/>
                  </a:cubicBezTo>
                  <a:cubicBezTo>
                    <a:pt x="14077" y="11920"/>
                    <a:pt x="14064" y="11977"/>
                    <a:pt x="13941" y="12124"/>
                  </a:cubicBezTo>
                  <a:cubicBezTo>
                    <a:pt x="13822" y="12277"/>
                    <a:pt x="13679" y="12476"/>
                    <a:pt x="13641" y="12573"/>
                  </a:cubicBezTo>
                  <a:cubicBezTo>
                    <a:pt x="13593" y="12667"/>
                    <a:pt x="13585" y="12716"/>
                    <a:pt x="13627" y="12686"/>
                  </a:cubicBezTo>
                  <a:cubicBezTo>
                    <a:pt x="13667" y="12653"/>
                    <a:pt x="13716" y="12630"/>
                    <a:pt x="13739" y="12630"/>
                  </a:cubicBezTo>
                  <a:cubicBezTo>
                    <a:pt x="13761" y="12630"/>
                    <a:pt x="13726" y="12698"/>
                    <a:pt x="13661" y="12778"/>
                  </a:cubicBezTo>
                  <a:cubicBezTo>
                    <a:pt x="13598" y="12858"/>
                    <a:pt x="13586" y="12909"/>
                    <a:pt x="13627" y="12877"/>
                  </a:cubicBezTo>
                  <a:cubicBezTo>
                    <a:pt x="13673" y="12851"/>
                    <a:pt x="13778" y="12751"/>
                    <a:pt x="13851" y="12646"/>
                  </a:cubicBezTo>
                  <a:cubicBezTo>
                    <a:pt x="13926" y="12543"/>
                    <a:pt x="14040" y="12426"/>
                    <a:pt x="14087" y="12373"/>
                  </a:cubicBezTo>
                  <a:cubicBezTo>
                    <a:pt x="14145" y="12331"/>
                    <a:pt x="14284" y="12169"/>
                    <a:pt x="14398" y="12021"/>
                  </a:cubicBezTo>
                  <a:cubicBezTo>
                    <a:pt x="14520" y="11879"/>
                    <a:pt x="14658" y="11719"/>
                    <a:pt x="14716" y="11676"/>
                  </a:cubicBezTo>
                  <a:cubicBezTo>
                    <a:pt x="14769" y="11627"/>
                    <a:pt x="14766" y="11665"/>
                    <a:pt x="14711" y="11758"/>
                  </a:cubicBezTo>
                  <a:cubicBezTo>
                    <a:pt x="14652" y="11847"/>
                    <a:pt x="14527" y="12010"/>
                    <a:pt x="14425" y="12112"/>
                  </a:cubicBezTo>
                  <a:cubicBezTo>
                    <a:pt x="14327" y="12217"/>
                    <a:pt x="14212" y="12396"/>
                    <a:pt x="14161" y="12506"/>
                  </a:cubicBezTo>
                  <a:cubicBezTo>
                    <a:pt x="14118" y="12619"/>
                    <a:pt x="14123" y="12693"/>
                    <a:pt x="14174" y="12662"/>
                  </a:cubicBezTo>
                  <a:cubicBezTo>
                    <a:pt x="14229" y="12638"/>
                    <a:pt x="14297" y="12619"/>
                    <a:pt x="14327" y="12626"/>
                  </a:cubicBezTo>
                  <a:cubicBezTo>
                    <a:pt x="14358" y="12633"/>
                    <a:pt x="14432" y="12577"/>
                    <a:pt x="14494" y="12508"/>
                  </a:cubicBezTo>
                  <a:cubicBezTo>
                    <a:pt x="14549" y="12431"/>
                    <a:pt x="14711" y="12282"/>
                    <a:pt x="14833" y="12157"/>
                  </a:cubicBezTo>
                  <a:cubicBezTo>
                    <a:pt x="14955" y="12032"/>
                    <a:pt x="15138" y="11838"/>
                    <a:pt x="15218" y="11706"/>
                  </a:cubicBezTo>
                  <a:cubicBezTo>
                    <a:pt x="15305" y="11581"/>
                    <a:pt x="15435" y="11391"/>
                    <a:pt x="15517" y="11294"/>
                  </a:cubicBezTo>
                  <a:cubicBezTo>
                    <a:pt x="15592" y="11192"/>
                    <a:pt x="15681" y="11053"/>
                    <a:pt x="15705" y="10979"/>
                  </a:cubicBezTo>
                  <a:cubicBezTo>
                    <a:pt x="15728" y="10906"/>
                    <a:pt x="15785" y="10806"/>
                    <a:pt x="15832" y="10759"/>
                  </a:cubicBezTo>
                  <a:cubicBezTo>
                    <a:pt x="15878" y="10713"/>
                    <a:pt x="15922" y="10645"/>
                    <a:pt x="15931" y="10612"/>
                  </a:cubicBezTo>
                  <a:cubicBezTo>
                    <a:pt x="15941" y="10579"/>
                    <a:pt x="15913" y="10583"/>
                    <a:pt x="15862" y="10605"/>
                  </a:cubicBezTo>
                  <a:cubicBezTo>
                    <a:pt x="15819" y="10639"/>
                    <a:pt x="15751" y="10663"/>
                    <a:pt x="15720" y="10663"/>
                  </a:cubicBezTo>
                  <a:cubicBezTo>
                    <a:pt x="15689" y="10670"/>
                    <a:pt x="15610" y="10711"/>
                    <a:pt x="15551" y="10770"/>
                  </a:cubicBezTo>
                  <a:cubicBezTo>
                    <a:pt x="15483" y="10821"/>
                    <a:pt x="15476" y="10807"/>
                    <a:pt x="15518" y="10722"/>
                  </a:cubicBezTo>
                  <a:cubicBezTo>
                    <a:pt x="15560" y="10639"/>
                    <a:pt x="15635" y="10538"/>
                    <a:pt x="15680" y="10500"/>
                  </a:cubicBezTo>
                  <a:cubicBezTo>
                    <a:pt x="15726" y="10462"/>
                    <a:pt x="15764" y="10405"/>
                    <a:pt x="15759" y="10379"/>
                  </a:cubicBezTo>
                  <a:cubicBezTo>
                    <a:pt x="15759" y="10352"/>
                    <a:pt x="15695" y="10370"/>
                    <a:pt x="15618" y="10415"/>
                  </a:cubicBezTo>
                  <a:cubicBezTo>
                    <a:pt x="15542" y="10461"/>
                    <a:pt x="15484" y="10477"/>
                    <a:pt x="15491" y="10450"/>
                  </a:cubicBezTo>
                  <a:cubicBezTo>
                    <a:pt x="15491" y="10422"/>
                    <a:pt x="15473" y="10383"/>
                    <a:pt x="15433" y="10367"/>
                  </a:cubicBezTo>
                  <a:cubicBezTo>
                    <a:pt x="15394" y="10347"/>
                    <a:pt x="15378" y="10283"/>
                    <a:pt x="15414" y="10232"/>
                  </a:cubicBezTo>
                  <a:cubicBezTo>
                    <a:pt x="15434" y="10173"/>
                    <a:pt x="15479" y="10060"/>
                    <a:pt x="15485" y="9973"/>
                  </a:cubicBezTo>
                  <a:cubicBezTo>
                    <a:pt x="15496" y="9887"/>
                    <a:pt x="15538" y="9744"/>
                    <a:pt x="15579" y="9657"/>
                  </a:cubicBezTo>
                  <a:cubicBezTo>
                    <a:pt x="15615" y="9568"/>
                    <a:pt x="15712" y="9412"/>
                    <a:pt x="15797" y="9318"/>
                  </a:cubicBezTo>
                  <a:cubicBezTo>
                    <a:pt x="15876" y="9218"/>
                    <a:pt x="15960" y="9064"/>
                    <a:pt x="15987" y="8975"/>
                  </a:cubicBezTo>
                  <a:cubicBezTo>
                    <a:pt x="16014" y="8887"/>
                    <a:pt x="15958" y="8903"/>
                    <a:pt x="15867" y="9012"/>
                  </a:cubicBezTo>
                  <a:cubicBezTo>
                    <a:pt x="15773" y="9120"/>
                    <a:pt x="15673" y="9269"/>
                    <a:pt x="15638" y="9339"/>
                  </a:cubicBezTo>
                  <a:cubicBezTo>
                    <a:pt x="15598" y="9406"/>
                    <a:pt x="15549" y="9429"/>
                    <a:pt x="15549" y="9380"/>
                  </a:cubicBezTo>
                  <a:cubicBezTo>
                    <a:pt x="15525" y="9338"/>
                    <a:pt x="15479" y="9298"/>
                    <a:pt x="15424" y="9295"/>
                  </a:cubicBezTo>
                  <a:cubicBezTo>
                    <a:pt x="15369" y="9295"/>
                    <a:pt x="15380" y="9181"/>
                    <a:pt x="15439" y="9039"/>
                  </a:cubicBezTo>
                  <a:cubicBezTo>
                    <a:pt x="15499" y="8896"/>
                    <a:pt x="15529" y="8778"/>
                    <a:pt x="15499" y="8781"/>
                  </a:cubicBezTo>
                  <a:cubicBezTo>
                    <a:pt x="15468" y="8775"/>
                    <a:pt x="15495" y="8691"/>
                    <a:pt x="15539" y="8575"/>
                  </a:cubicBezTo>
                  <a:cubicBezTo>
                    <a:pt x="15595" y="8464"/>
                    <a:pt x="15620" y="8342"/>
                    <a:pt x="15612" y="8303"/>
                  </a:cubicBezTo>
                  <a:cubicBezTo>
                    <a:pt x="15601" y="8264"/>
                    <a:pt x="15615" y="8176"/>
                    <a:pt x="15656" y="8108"/>
                  </a:cubicBezTo>
                  <a:cubicBezTo>
                    <a:pt x="15688" y="8036"/>
                    <a:pt x="15724" y="7955"/>
                    <a:pt x="15724" y="7923"/>
                  </a:cubicBezTo>
                  <a:cubicBezTo>
                    <a:pt x="15724" y="7891"/>
                    <a:pt x="15746" y="7822"/>
                    <a:pt x="15776" y="7773"/>
                  </a:cubicBezTo>
                  <a:cubicBezTo>
                    <a:pt x="15802" y="7722"/>
                    <a:pt x="15896" y="7647"/>
                    <a:pt x="15972" y="7593"/>
                  </a:cubicBezTo>
                  <a:cubicBezTo>
                    <a:pt x="16054" y="7546"/>
                    <a:pt x="16170" y="7427"/>
                    <a:pt x="16239" y="7341"/>
                  </a:cubicBezTo>
                  <a:cubicBezTo>
                    <a:pt x="16303" y="7249"/>
                    <a:pt x="16403" y="7159"/>
                    <a:pt x="16450" y="7129"/>
                  </a:cubicBezTo>
                  <a:cubicBezTo>
                    <a:pt x="16499" y="7105"/>
                    <a:pt x="16530" y="7097"/>
                    <a:pt x="16541" y="7105"/>
                  </a:cubicBezTo>
                  <a:cubicBezTo>
                    <a:pt x="16537" y="7118"/>
                    <a:pt x="16601" y="7084"/>
                    <a:pt x="16665" y="7024"/>
                  </a:cubicBezTo>
                  <a:cubicBezTo>
                    <a:pt x="16735" y="6971"/>
                    <a:pt x="16817" y="6866"/>
                    <a:pt x="16855" y="6802"/>
                  </a:cubicBezTo>
                  <a:cubicBezTo>
                    <a:pt x="16890" y="6735"/>
                    <a:pt x="17047" y="6541"/>
                    <a:pt x="17195" y="6363"/>
                  </a:cubicBezTo>
                  <a:cubicBezTo>
                    <a:pt x="17348" y="6190"/>
                    <a:pt x="17513" y="5967"/>
                    <a:pt x="17563" y="5872"/>
                  </a:cubicBezTo>
                  <a:cubicBezTo>
                    <a:pt x="17621" y="5782"/>
                    <a:pt x="17690" y="5663"/>
                    <a:pt x="17731" y="5617"/>
                  </a:cubicBezTo>
                  <a:cubicBezTo>
                    <a:pt x="17772" y="5572"/>
                    <a:pt x="17807" y="5460"/>
                    <a:pt x="17825" y="5376"/>
                  </a:cubicBezTo>
                  <a:cubicBezTo>
                    <a:pt x="17842" y="5292"/>
                    <a:pt x="17907" y="5139"/>
                    <a:pt x="17986" y="5046"/>
                  </a:cubicBezTo>
                  <a:cubicBezTo>
                    <a:pt x="18062" y="4950"/>
                    <a:pt x="18165" y="4846"/>
                    <a:pt x="18214" y="4811"/>
                  </a:cubicBezTo>
                  <a:cubicBezTo>
                    <a:pt x="18264" y="4779"/>
                    <a:pt x="18358" y="4665"/>
                    <a:pt x="18425" y="4561"/>
                  </a:cubicBezTo>
                  <a:cubicBezTo>
                    <a:pt x="18478" y="4450"/>
                    <a:pt x="18652" y="4259"/>
                    <a:pt x="18784" y="4121"/>
                  </a:cubicBezTo>
                  <a:cubicBezTo>
                    <a:pt x="18912" y="3978"/>
                    <a:pt x="19066" y="3823"/>
                    <a:pt x="19104" y="3757"/>
                  </a:cubicBezTo>
                  <a:cubicBezTo>
                    <a:pt x="19148" y="3697"/>
                    <a:pt x="19232" y="3584"/>
                    <a:pt x="19304" y="3521"/>
                  </a:cubicBezTo>
                  <a:cubicBezTo>
                    <a:pt x="19365" y="3447"/>
                    <a:pt x="19493" y="3291"/>
                    <a:pt x="19572" y="3158"/>
                  </a:cubicBezTo>
                  <a:cubicBezTo>
                    <a:pt x="19650" y="3024"/>
                    <a:pt x="19765" y="2885"/>
                    <a:pt x="19820" y="2840"/>
                  </a:cubicBezTo>
                  <a:cubicBezTo>
                    <a:pt x="19879" y="2802"/>
                    <a:pt x="19958" y="2711"/>
                    <a:pt x="19994" y="2645"/>
                  </a:cubicBezTo>
                  <a:cubicBezTo>
                    <a:pt x="20035" y="2583"/>
                    <a:pt x="20174" y="2425"/>
                    <a:pt x="20306" y="2293"/>
                  </a:cubicBezTo>
                  <a:cubicBezTo>
                    <a:pt x="20437" y="2162"/>
                    <a:pt x="20577" y="2003"/>
                    <a:pt x="20614" y="1933"/>
                  </a:cubicBezTo>
                  <a:cubicBezTo>
                    <a:pt x="20654" y="1865"/>
                    <a:pt x="20710" y="1765"/>
                    <a:pt x="20747" y="1714"/>
                  </a:cubicBezTo>
                  <a:cubicBezTo>
                    <a:pt x="20779" y="1660"/>
                    <a:pt x="20866" y="1596"/>
                    <a:pt x="20918" y="1550"/>
                  </a:cubicBezTo>
                  <a:cubicBezTo>
                    <a:pt x="20976" y="1515"/>
                    <a:pt x="21058" y="1422"/>
                    <a:pt x="21104" y="1354"/>
                  </a:cubicBezTo>
                  <a:cubicBezTo>
                    <a:pt x="21152" y="1286"/>
                    <a:pt x="21191" y="1188"/>
                    <a:pt x="21197" y="1138"/>
                  </a:cubicBezTo>
                  <a:cubicBezTo>
                    <a:pt x="21203" y="1089"/>
                    <a:pt x="21233" y="1006"/>
                    <a:pt x="21274" y="962"/>
                  </a:cubicBezTo>
                  <a:cubicBezTo>
                    <a:pt x="21299" y="909"/>
                    <a:pt x="21363" y="833"/>
                    <a:pt x="21397" y="784"/>
                  </a:cubicBezTo>
                  <a:cubicBezTo>
                    <a:pt x="21429" y="733"/>
                    <a:pt x="21416" y="693"/>
                    <a:pt x="21372" y="701"/>
                  </a:cubicBezTo>
                  <a:cubicBezTo>
                    <a:pt x="21326" y="704"/>
                    <a:pt x="21316" y="646"/>
                    <a:pt x="21340" y="567"/>
                  </a:cubicBezTo>
                  <a:cubicBezTo>
                    <a:pt x="21369" y="490"/>
                    <a:pt x="21426" y="388"/>
                    <a:pt x="21470" y="344"/>
                  </a:cubicBezTo>
                  <a:close/>
                  <a:moveTo>
                    <a:pt x="21470" y="3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1" name="AutoShape 1083"/>
            <p:cNvSpPr>
              <a:spLocks/>
            </p:cNvSpPr>
            <p:nvPr/>
          </p:nvSpPr>
          <p:spPr bwMode="auto">
            <a:xfrm>
              <a:off x="4775200" y="1790700"/>
              <a:ext cx="7938" cy="6350"/>
            </a:xfrm>
            <a:custGeom>
              <a:avLst/>
              <a:gdLst/>
              <a:ahLst/>
              <a:cxnLst/>
              <a:rect l="0" t="0" r="r" b="b"/>
              <a:pathLst>
                <a:path w="20169" h="20546">
                  <a:moveTo>
                    <a:pt x="8717" y="8253"/>
                  </a:moveTo>
                  <a:cubicBezTo>
                    <a:pt x="5540" y="11206"/>
                    <a:pt x="1928" y="15253"/>
                    <a:pt x="779" y="17305"/>
                  </a:cubicBezTo>
                  <a:cubicBezTo>
                    <a:pt x="-474" y="19271"/>
                    <a:pt x="-170" y="20546"/>
                    <a:pt x="1360" y="20546"/>
                  </a:cubicBezTo>
                  <a:cubicBezTo>
                    <a:pt x="2846" y="20305"/>
                    <a:pt x="5629" y="18627"/>
                    <a:pt x="7625" y="16965"/>
                  </a:cubicBezTo>
                  <a:cubicBezTo>
                    <a:pt x="9489" y="15141"/>
                    <a:pt x="13769" y="10172"/>
                    <a:pt x="17135" y="5897"/>
                  </a:cubicBezTo>
                  <a:cubicBezTo>
                    <a:pt x="20413" y="1526"/>
                    <a:pt x="21126" y="-1054"/>
                    <a:pt x="18823" y="413"/>
                  </a:cubicBezTo>
                  <a:cubicBezTo>
                    <a:pt x="16479" y="1883"/>
                    <a:pt x="11849" y="5157"/>
                    <a:pt x="8717" y="8253"/>
                  </a:cubicBezTo>
                  <a:close/>
                  <a:moveTo>
                    <a:pt x="8717" y="82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2" name="AutoShape 1084"/>
            <p:cNvSpPr>
              <a:spLocks/>
            </p:cNvSpPr>
            <p:nvPr/>
          </p:nvSpPr>
          <p:spPr bwMode="auto">
            <a:xfrm>
              <a:off x="4648200" y="1778000"/>
              <a:ext cx="57150" cy="57150"/>
            </a:xfrm>
            <a:custGeom>
              <a:avLst/>
              <a:gdLst/>
              <a:ahLst/>
              <a:cxnLst/>
              <a:rect l="0" t="0" r="r" b="b"/>
              <a:pathLst>
                <a:path w="21484" h="21477">
                  <a:moveTo>
                    <a:pt x="6097" y="16448"/>
                  </a:moveTo>
                  <a:cubicBezTo>
                    <a:pt x="6969" y="15618"/>
                    <a:pt x="8296" y="14408"/>
                    <a:pt x="9077" y="13798"/>
                  </a:cubicBezTo>
                  <a:cubicBezTo>
                    <a:pt x="9856" y="13191"/>
                    <a:pt x="11299" y="11997"/>
                    <a:pt x="12241" y="11098"/>
                  </a:cubicBezTo>
                  <a:cubicBezTo>
                    <a:pt x="13226" y="10249"/>
                    <a:pt x="14196" y="9430"/>
                    <a:pt x="14426" y="9302"/>
                  </a:cubicBezTo>
                  <a:cubicBezTo>
                    <a:pt x="14640" y="9152"/>
                    <a:pt x="15539" y="8506"/>
                    <a:pt x="16323" y="7749"/>
                  </a:cubicBezTo>
                  <a:cubicBezTo>
                    <a:pt x="17146" y="7031"/>
                    <a:pt x="17975" y="6176"/>
                    <a:pt x="18168" y="5870"/>
                  </a:cubicBezTo>
                  <a:cubicBezTo>
                    <a:pt x="18342" y="5548"/>
                    <a:pt x="18787" y="5104"/>
                    <a:pt x="19082" y="4844"/>
                  </a:cubicBezTo>
                  <a:cubicBezTo>
                    <a:pt x="19352" y="4561"/>
                    <a:pt x="19726" y="4168"/>
                    <a:pt x="19895" y="3940"/>
                  </a:cubicBezTo>
                  <a:cubicBezTo>
                    <a:pt x="20086" y="3735"/>
                    <a:pt x="20200" y="3298"/>
                    <a:pt x="20135" y="3059"/>
                  </a:cubicBezTo>
                  <a:cubicBezTo>
                    <a:pt x="20153" y="2808"/>
                    <a:pt x="20307" y="2429"/>
                    <a:pt x="20516" y="2187"/>
                  </a:cubicBezTo>
                  <a:cubicBezTo>
                    <a:pt x="20740" y="1964"/>
                    <a:pt x="21039" y="1513"/>
                    <a:pt x="21272" y="1254"/>
                  </a:cubicBezTo>
                  <a:cubicBezTo>
                    <a:pt x="21448" y="957"/>
                    <a:pt x="21546" y="517"/>
                    <a:pt x="21439" y="255"/>
                  </a:cubicBezTo>
                  <a:cubicBezTo>
                    <a:pt x="21360" y="-16"/>
                    <a:pt x="21007" y="-62"/>
                    <a:pt x="20669" y="76"/>
                  </a:cubicBezTo>
                  <a:cubicBezTo>
                    <a:pt x="20353" y="241"/>
                    <a:pt x="19823" y="522"/>
                    <a:pt x="19528" y="752"/>
                  </a:cubicBezTo>
                  <a:cubicBezTo>
                    <a:pt x="19228" y="968"/>
                    <a:pt x="18689" y="1205"/>
                    <a:pt x="18342" y="1288"/>
                  </a:cubicBezTo>
                  <a:cubicBezTo>
                    <a:pt x="18015" y="1426"/>
                    <a:pt x="17483" y="1649"/>
                    <a:pt x="17159" y="1828"/>
                  </a:cubicBezTo>
                  <a:cubicBezTo>
                    <a:pt x="16862" y="2049"/>
                    <a:pt x="16399" y="2178"/>
                    <a:pt x="16153" y="2197"/>
                  </a:cubicBezTo>
                  <a:cubicBezTo>
                    <a:pt x="15902" y="2226"/>
                    <a:pt x="15467" y="2337"/>
                    <a:pt x="15153" y="2463"/>
                  </a:cubicBezTo>
                  <a:cubicBezTo>
                    <a:pt x="14861" y="2627"/>
                    <a:pt x="14454" y="2709"/>
                    <a:pt x="14263" y="2657"/>
                  </a:cubicBezTo>
                  <a:cubicBezTo>
                    <a:pt x="14077" y="2601"/>
                    <a:pt x="13412" y="2905"/>
                    <a:pt x="12766" y="3271"/>
                  </a:cubicBezTo>
                  <a:cubicBezTo>
                    <a:pt x="12133" y="3659"/>
                    <a:pt x="11106" y="4453"/>
                    <a:pt x="10444" y="5007"/>
                  </a:cubicBezTo>
                  <a:cubicBezTo>
                    <a:pt x="9795" y="5575"/>
                    <a:pt x="8919" y="6265"/>
                    <a:pt x="8531" y="6587"/>
                  </a:cubicBezTo>
                  <a:cubicBezTo>
                    <a:pt x="8105" y="6861"/>
                    <a:pt x="6957" y="7800"/>
                    <a:pt x="5976" y="8669"/>
                  </a:cubicBezTo>
                  <a:cubicBezTo>
                    <a:pt x="4976" y="9509"/>
                    <a:pt x="4016" y="10369"/>
                    <a:pt x="3896" y="10606"/>
                  </a:cubicBezTo>
                  <a:cubicBezTo>
                    <a:pt x="3754" y="10831"/>
                    <a:pt x="3772" y="11088"/>
                    <a:pt x="3979" y="11139"/>
                  </a:cubicBezTo>
                  <a:cubicBezTo>
                    <a:pt x="4177" y="11222"/>
                    <a:pt x="4393" y="11487"/>
                    <a:pt x="4460" y="11735"/>
                  </a:cubicBezTo>
                  <a:cubicBezTo>
                    <a:pt x="4570" y="11970"/>
                    <a:pt x="4370" y="12575"/>
                    <a:pt x="4056" y="13005"/>
                  </a:cubicBezTo>
                  <a:cubicBezTo>
                    <a:pt x="3793" y="13463"/>
                    <a:pt x="3407" y="14123"/>
                    <a:pt x="3254" y="14500"/>
                  </a:cubicBezTo>
                  <a:cubicBezTo>
                    <a:pt x="3084" y="14875"/>
                    <a:pt x="2787" y="15392"/>
                    <a:pt x="2577" y="15654"/>
                  </a:cubicBezTo>
                  <a:cubicBezTo>
                    <a:pt x="2347" y="15898"/>
                    <a:pt x="1982" y="16351"/>
                    <a:pt x="1827" y="16682"/>
                  </a:cubicBezTo>
                  <a:cubicBezTo>
                    <a:pt x="1629" y="16993"/>
                    <a:pt x="1445" y="17458"/>
                    <a:pt x="1482" y="17708"/>
                  </a:cubicBezTo>
                  <a:cubicBezTo>
                    <a:pt x="1482" y="17961"/>
                    <a:pt x="1180" y="18847"/>
                    <a:pt x="664" y="19594"/>
                  </a:cubicBezTo>
                  <a:cubicBezTo>
                    <a:pt x="204" y="20383"/>
                    <a:pt x="-54" y="21158"/>
                    <a:pt x="9" y="21356"/>
                  </a:cubicBezTo>
                  <a:cubicBezTo>
                    <a:pt x="151" y="21510"/>
                    <a:pt x="399" y="21538"/>
                    <a:pt x="620" y="21319"/>
                  </a:cubicBezTo>
                  <a:cubicBezTo>
                    <a:pt x="857" y="21119"/>
                    <a:pt x="1187" y="20740"/>
                    <a:pt x="1310" y="20462"/>
                  </a:cubicBezTo>
                  <a:cubicBezTo>
                    <a:pt x="1476" y="20199"/>
                    <a:pt x="1910" y="19730"/>
                    <a:pt x="2277" y="19388"/>
                  </a:cubicBezTo>
                  <a:cubicBezTo>
                    <a:pt x="2640" y="19047"/>
                    <a:pt x="3324" y="18626"/>
                    <a:pt x="3742" y="18387"/>
                  </a:cubicBezTo>
                  <a:cubicBezTo>
                    <a:pt x="4179" y="18189"/>
                    <a:pt x="5220" y="17281"/>
                    <a:pt x="6097" y="16448"/>
                  </a:cubicBezTo>
                  <a:close/>
                  <a:moveTo>
                    <a:pt x="6097" y="164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3" name="AutoShape 1085"/>
            <p:cNvSpPr>
              <a:spLocks/>
            </p:cNvSpPr>
            <p:nvPr/>
          </p:nvSpPr>
          <p:spPr bwMode="auto">
            <a:xfrm>
              <a:off x="4800600" y="1765300"/>
              <a:ext cx="1588" cy="1588"/>
            </a:xfrm>
            <a:custGeom>
              <a:avLst/>
              <a:gdLst/>
              <a:ahLst/>
              <a:cxnLst/>
              <a:rect l="0" t="0" r="r" b="b"/>
              <a:pathLst>
                <a:path w="18966" h="19355">
                  <a:moveTo>
                    <a:pt x="3613" y="18719"/>
                  </a:moveTo>
                  <a:cubicBezTo>
                    <a:pt x="7251" y="16923"/>
                    <a:pt x="13221" y="11173"/>
                    <a:pt x="16711" y="5633"/>
                  </a:cubicBezTo>
                  <a:cubicBezTo>
                    <a:pt x="20500" y="545"/>
                    <a:pt x="19385" y="-1041"/>
                    <a:pt x="14334" y="651"/>
                  </a:cubicBezTo>
                  <a:cubicBezTo>
                    <a:pt x="9621" y="3784"/>
                    <a:pt x="3072" y="8807"/>
                    <a:pt x="1274" y="13685"/>
                  </a:cubicBezTo>
                  <a:cubicBezTo>
                    <a:pt x="-1100" y="18257"/>
                    <a:pt x="-66" y="20559"/>
                    <a:pt x="3613" y="18719"/>
                  </a:cubicBezTo>
                  <a:close/>
                  <a:moveTo>
                    <a:pt x="3613" y="187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4" name="AutoShape 1086"/>
            <p:cNvSpPr>
              <a:spLocks/>
            </p:cNvSpPr>
            <p:nvPr/>
          </p:nvSpPr>
          <p:spPr bwMode="auto">
            <a:xfrm>
              <a:off x="4864100" y="1917700"/>
              <a:ext cx="7938" cy="3175"/>
            </a:xfrm>
            <a:custGeom>
              <a:avLst/>
              <a:gdLst/>
              <a:ahLst/>
              <a:cxnLst/>
              <a:rect l="0" t="0" r="r" b="b"/>
              <a:pathLst>
                <a:path w="20855" h="20214">
                  <a:moveTo>
                    <a:pt x="16037" y="18080"/>
                  </a:moveTo>
                  <a:cubicBezTo>
                    <a:pt x="18262" y="16816"/>
                    <a:pt x="20138" y="12249"/>
                    <a:pt x="20745" y="9717"/>
                  </a:cubicBezTo>
                  <a:cubicBezTo>
                    <a:pt x="21265" y="7127"/>
                    <a:pt x="19892" y="4762"/>
                    <a:pt x="17756" y="4059"/>
                  </a:cubicBezTo>
                  <a:cubicBezTo>
                    <a:pt x="15601" y="3885"/>
                    <a:pt x="13551" y="1832"/>
                    <a:pt x="13883" y="707"/>
                  </a:cubicBezTo>
                  <a:cubicBezTo>
                    <a:pt x="13883" y="-590"/>
                    <a:pt x="11628" y="-83"/>
                    <a:pt x="8912" y="2057"/>
                  </a:cubicBezTo>
                  <a:cubicBezTo>
                    <a:pt x="6195" y="4422"/>
                    <a:pt x="2917" y="8816"/>
                    <a:pt x="1429" y="11942"/>
                  </a:cubicBezTo>
                  <a:cubicBezTo>
                    <a:pt x="171" y="15404"/>
                    <a:pt x="-335" y="18449"/>
                    <a:pt x="229" y="19516"/>
                  </a:cubicBezTo>
                  <a:cubicBezTo>
                    <a:pt x="996" y="19885"/>
                    <a:pt x="3177" y="20110"/>
                    <a:pt x="5242" y="18980"/>
                  </a:cubicBezTo>
                  <a:cubicBezTo>
                    <a:pt x="7337" y="18137"/>
                    <a:pt x="9548" y="18870"/>
                    <a:pt x="10646" y="19320"/>
                  </a:cubicBezTo>
                  <a:cubicBezTo>
                    <a:pt x="11382" y="21010"/>
                    <a:pt x="14013" y="20139"/>
                    <a:pt x="16037" y="18080"/>
                  </a:cubicBezTo>
                  <a:close/>
                  <a:moveTo>
                    <a:pt x="16037" y="180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5" name="AutoShape 1087"/>
            <p:cNvSpPr>
              <a:spLocks/>
            </p:cNvSpPr>
            <p:nvPr/>
          </p:nvSpPr>
          <p:spPr bwMode="auto">
            <a:xfrm>
              <a:off x="4749800" y="1689100"/>
              <a:ext cx="188913" cy="144463"/>
            </a:xfrm>
            <a:custGeom>
              <a:avLst/>
              <a:gdLst/>
              <a:ahLst/>
              <a:cxnLst/>
              <a:rect l="0" t="0" r="r" b="b"/>
              <a:pathLst>
                <a:path w="21516" h="21524">
                  <a:moveTo>
                    <a:pt x="3928" y="18284"/>
                  </a:moveTo>
                  <a:cubicBezTo>
                    <a:pt x="4058" y="18139"/>
                    <a:pt x="4289" y="17944"/>
                    <a:pt x="4443" y="17863"/>
                  </a:cubicBezTo>
                  <a:cubicBezTo>
                    <a:pt x="4594" y="17768"/>
                    <a:pt x="4831" y="17574"/>
                    <a:pt x="4961" y="17412"/>
                  </a:cubicBezTo>
                  <a:cubicBezTo>
                    <a:pt x="5099" y="17264"/>
                    <a:pt x="5308" y="17014"/>
                    <a:pt x="5439" y="16880"/>
                  </a:cubicBezTo>
                  <a:cubicBezTo>
                    <a:pt x="5570" y="16746"/>
                    <a:pt x="5791" y="16475"/>
                    <a:pt x="5927" y="16278"/>
                  </a:cubicBezTo>
                  <a:cubicBezTo>
                    <a:pt x="6057" y="16073"/>
                    <a:pt x="6247" y="15782"/>
                    <a:pt x="6302" y="15595"/>
                  </a:cubicBezTo>
                  <a:cubicBezTo>
                    <a:pt x="6379" y="15425"/>
                    <a:pt x="6395" y="15219"/>
                    <a:pt x="6344" y="15199"/>
                  </a:cubicBezTo>
                  <a:cubicBezTo>
                    <a:pt x="6308" y="15145"/>
                    <a:pt x="6390" y="14967"/>
                    <a:pt x="6553" y="14782"/>
                  </a:cubicBezTo>
                  <a:cubicBezTo>
                    <a:pt x="6713" y="14595"/>
                    <a:pt x="6924" y="14314"/>
                    <a:pt x="7026" y="14166"/>
                  </a:cubicBezTo>
                  <a:cubicBezTo>
                    <a:pt x="7133" y="14022"/>
                    <a:pt x="6980" y="14039"/>
                    <a:pt x="6687" y="14181"/>
                  </a:cubicBezTo>
                  <a:cubicBezTo>
                    <a:pt x="6405" y="14358"/>
                    <a:pt x="6142" y="14437"/>
                    <a:pt x="6114" y="14395"/>
                  </a:cubicBezTo>
                  <a:cubicBezTo>
                    <a:pt x="6087" y="14352"/>
                    <a:pt x="6133" y="14239"/>
                    <a:pt x="6177" y="14111"/>
                  </a:cubicBezTo>
                  <a:cubicBezTo>
                    <a:pt x="6246" y="14002"/>
                    <a:pt x="6383" y="13836"/>
                    <a:pt x="6502" y="13781"/>
                  </a:cubicBezTo>
                  <a:cubicBezTo>
                    <a:pt x="6614" y="13705"/>
                    <a:pt x="6779" y="13661"/>
                    <a:pt x="6859" y="13668"/>
                  </a:cubicBezTo>
                  <a:cubicBezTo>
                    <a:pt x="6939" y="13668"/>
                    <a:pt x="7111" y="13605"/>
                    <a:pt x="7244" y="13524"/>
                  </a:cubicBezTo>
                  <a:cubicBezTo>
                    <a:pt x="7379" y="13448"/>
                    <a:pt x="7591" y="13339"/>
                    <a:pt x="7722" y="13292"/>
                  </a:cubicBezTo>
                  <a:cubicBezTo>
                    <a:pt x="7856" y="13251"/>
                    <a:pt x="8076" y="13104"/>
                    <a:pt x="8211" y="12970"/>
                  </a:cubicBezTo>
                  <a:cubicBezTo>
                    <a:pt x="8354" y="12846"/>
                    <a:pt x="8533" y="12713"/>
                    <a:pt x="8621" y="12713"/>
                  </a:cubicBezTo>
                  <a:cubicBezTo>
                    <a:pt x="8710" y="12720"/>
                    <a:pt x="8747" y="12798"/>
                    <a:pt x="8714" y="12929"/>
                  </a:cubicBezTo>
                  <a:cubicBezTo>
                    <a:pt x="8668" y="13055"/>
                    <a:pt x="8756" y="13202"/>
                    <a:pt x="8885" y="13271"/>
                  </a:cubicBezTo>
                  <a:cubicBezTo>
                    <a:pt x="9013" y="13344"/>
                    <a:pt x="9210" y="13310"/>
                    <a:pt x="9319" y="13245"/>
                  </a:cubicBezTo>
                  <a:cubicBezTo>
                    <a:pt x="9422" y="13165"/>
                    <a:pt x="9511" y="13159"/>
                    <a:pt x="9511" y="13218"/>
                  </a:cubicBezTo>
                  <a:cubicBezTo>
                    <a:pt x="9511" y="13276"/>
                    <a:pt x="9570" y="13318"/>
                    <a:pt x="9644" y="13318"/>
                  </a:cubicBezTo>
                  <a:cubicBezTo>
                    <a:pt x="9716" y="13304"/>
                    <a:pt x="9955" y="13144"/>
                    <a:pt x="10177" y="12954"/>
                  </a:cubicBezTo>
                  <a:cubicBezTo>
                    <a:pt x="10396" y="12753"/>
                    <a:pt x="10883" y="12298"/>
                    <a:pt x="11250" y="11933"/>
                  </a:cubicBezTo>
                  <a:cubicBezTo>
                    <a:pt x="11624" y="11571"/>
                    <a:pt x="12153" y="11000"/>
                    <a:pt x="12441" y="10681"/>
                  </a:cubicBezTo>
                  <a:cubicBezTo>
                    <a:pt x="12723" y="10358"/>
                    <a:pt x="13215" y="9828"/>
                    <a:pt x="13537" y="9506"/>
                  </a:cubicBezTo>
                  <a:cubicBezTo>
                    <a:pt x="13852" y="9172"/>
                    <a:pt x="14230" y="8785"/>
                    <a:pt x="14358" y="8616"/>
                  </a:cubicBezTo>
                  <a:cubicBezTo>
                    <a:pt x="14495" y="8458"/>
                    <a:pt x="14557" y="8316"/>
                    <a:pt x="14532" y="8277"/>
                  </a:cubicBezTo>
                  <a:cubicBezTo>
                    <a:pt x="14495" y="8264"/>
                    <a:pt x="14502" y="8146"/>
                    <a:pt x="14571" y="8071"/>
                  </a:cubicBezTo>
                  <a:cubicBezTo>
                    <a:pt x="14604" y="7965"/>
                    <a:pt x="14822" y="7834"/>
                    <a:pt x="14997" y="7723"/>
                  </a:cubicBezTo>
                  <a:cubicBezTo>
                    <a:pt x="15177" y="7623"/>
                    <a:pt x="15538" y="7255"/>
                    <a:pt x="15813" y="6932"/>
                  </a:cubicBezTo>
                  <a:cubicBezTo>
                    <a:pt x="16082" y="6602"/>
                    <a:pt x="16660" y="5960"/>
                    <a:pt x="17103" y="5516"/>
                  </a:cubicBezTo>
                  <a:cubicBezTo>
                    <a:pt x="17542" y="5066"/>
                    <a:pt x="17936" y="4656"/>
                    <a:pt x="17955" y="4587"/>
                  </a:cubicBezTo>
                  <a:cubicBezTo>
                    <a:pt x="17977" y="4518"/>
                    <a:pt x="18138" y="4378"/>
                    <a:pt x="18292" y="4251"/>
                  </a:cubicBezTo>
                  <a:cubicBezTo>
                    <a:pt x="18451" y="4134"/>
                    <a:pt x="18736" y="3827"/>
                    <a:pt x="18938" y="3590"/>
                  </a:cubicBezTo>
                  <a:cubicBezTo>
                    <a:pt x="19135" y="3341"/>
                    <a:pt x="19567" y="2864"/>
                    <a:pt x="19891" y="2514"/>
                  </a:cubicBezTo>
                  <a:cubicBezTo>
                    <a:pt x="20220" y="2172"/>
                    <a:pt x="20621" y="1714"/>
                    <a:pt x="20763" y="1480"/>
                  </a:cubicBezTo>
                  <a:cubicBezTo>
                    <a:pt x="20929" y="1271"/>
                    <a:pt x="21111" y="1047"/>
                    <a:pt x="21180" y="982"/>
                  </a:cubicBezTo>
                  <a:cubicBezTo>
                    <a:pt x="21261" y="950"/>
                    <a:pt x="21355" y="901"/>
                    <a:pt x="21402" y="901"/>
                  </a:cubicBezTo>
                  <a:cubicBezTo>
                    <a:pt x="21449" y="917"/>
                    <a:pt x="21528" y="823"/>
                    <a:pt x="21514" y="718"/>
                  </a:cubicBezTo>
                  <a:cubicBezTo>
                    <a:pt x="21523" y="612"/>
                    <a:pt x="21476" y="536"/>
                    <a:pt x="21410" y="501"/>
                  </a:cubicBezTo>
                  <a:cubicBezTo>
                    <a:pt x="21340" y="507"/>
                    <a:pt x="21332" y="377"/>
                    <a:pt x="21371" y="248"/>
                  </a:cubicBezTo>
                  <a:cubicBezTo>
                    <a:pt x="21423" y="127"/>
                    <a:pt x="21330" y="21"/>
                    <a:pt x="21170" y="0"/>
                  </a:cubicBezTo>
                  <a:cubicBezTo>
                    <a:pt x="21011" y="-7"/>
                    <a:pt x="20597" y="109"/>
                    <a:pt x="20250" y="265"/>
                  </a:cubicBezTo>
                  <a:cubicBezTo>
                    <a:pt x="19900" y="419"/>
                    <a:pt x="19441" y="635"/>
                    <a:pt x="19225" y="746"/>
                  </a:cubicBezTo>
                  <a:cubicBezTo>
                    <a:pt x="19009" y="842"/>
                    <a:pt x="18733" y="1043"/>
                    <a:pt x="18593" y="1142"/>
                  </a:cubicBezTo>
                  <a:cubicBezTo>
                    <a:pt x="18467" y="1265"/>
                    <a:pt x="18321" y="1326"/>
                    <a:pt x="18279" y="1319"/>
                  </a:cubicBezTo>
                  <a:cubicBezTo>
                    <a:pt x="18237" y="1307"/>
                    <a:pt x="18259" y="1174"/>
                    <a:pt x="18337" y="1043"/>
                  </a:cubicBezTo>
                  <a:cubicBezTo>
                    <a:pt x="18407" y="906"/>
                    <a:pt x="18456" y="713"/>
                    <a:pt x="18430" y="616"/>
                  </a:cubicBezTo>
                  <a:cubicBezTo>
                    <a:pt x="18408" y="517"/>
                    <a:pt x="18335" y="485"/>
                    <a:pt x="18256" y="512"/>
                  </a:cubicBezTo>
                  <a:cubicBezTo>
                    <a:pt x="18187" y="570"/>
                    <a:pt x="18103" y="577"/>
                    <a:pt x="18090" y="554"/>
                  </a:cubicBezTo>
                  <a:cubicBezTo>
                    <a:pt x="18077" y="528"/>
                    <a:pt x="17949" y="558"/>
                    <a:pt x="17815" y="596"/>
                  </a:cubicBezTo>
                  <a:cubicBezTo>
                    <a:pt x="17679" y="636"/>
                    <a:pt x="17551" y="577"/>
                    <a:pt x="17525" y="461"/>
                  </a:cubicBezTo>
                  <a:cubicBezTo>
                    <a:pt x="17489" y="350"/>
                    <a:pt x="17319" y="339"/>
                    <a:pt x="17122" y="449"/>
                  </a:cubicBezTo>
                  <a:cubicBezTo>
                    <a:pt x="16925" y="557"/>
                    <a:pt x="16645" y="777"/>
                    <a:pt x="16494" y="927"/>
                  </a:cubicBezTo>
                  <a:cubicBezTo>
                    <a:pt x="16350" y="1087"/>
                    <a:pt x="16223" y="1130"/>
                    <a:pt x="16244" y="1042"/>
                  </a:cubicBezTo>
                  <a:cubicBezTo>
                    <a:pt x="16253" y="952"/>
                    <a:pt x="16139" y="954"/>
                    <a:pt x="15992" y="1060"/>
                  </a:cubicBezTo>
                  <a:cubicBezTo>
                    <a:pt x="15844" y="1160"/>
                    <a:pt x="15682" y="1216"/>
                    <a:pt x="15634" y="1216"/>
                  </a:cubicBezTo>
                  <a:cubicBezTo>
                    <a:pt x="15586" y="1200"/>
                    <a:pt x="15426" y="1297"/>
                    <a:pt x="15273" y="1411"/>
                  </a:cubicBezTo>
                  <a:cubicBezTo>
                    <a:pt x="15126" y="1539"/>
                    <a:pt x="14814" y="1744"/>
                    <a:pt x="14585" y="1870"/>
                  </a:cubicBezTo>
                  <a:cubicBezTo>
                    <a:pt x="14353" y="1990"/>
                    <a:pt x="13862" y="2344"/>
                    <a:pt x="13483" y="2620"/>
                  </a:cubicBezTo>
                  <a:cubicBezTo>
                    <a:pt x="13113" y="2915"/>
                    <a:pt x="12608" y="3371"/>
                    <a:pt x="12378" y="3670"/>
                  </a:cubicBezTo>
                  <a:cubicBezTo>
                    <a:pt x="12139" y="3955"/>
                    <a:pt x="12006" y="4269"/>
                    <a:pt x="12056" y="4355"/>
                  </a:cubicBezTo>
                  <a:cubicBezTo>
                    <a:pt x="12106" y="4439"/>
                    <a:pt x="12043" y="4577"/>
                    <a:pt x="11918" y="4694"/>
                  </a:cubicBezTo>
                  <a:cubicBezTo>
                    <a:pt x="11780" y="4783"/>
                    <a:pt x="11634" y="4951"/>
                    <a:pt x="11587" y="5037"/>
                  </a:cubicBezTo>
                  <a:cubicBezTo>
                    <a:pt x="11535" y="5123"/>
                    <a:pt x="11526" y="5257"/>
                    <a:pt x="11590" y="5309"/>
                  </a:cubicBezTo>
                  <a:cubicBezTo>
                    <a:pt x="11640" y="5386"/>
                    <a:pt x="11655" y="5560"/>
                    <a:pt x="11605" y="5716"/>
                  </a:cubicBezTo>
                  <a:cubicBezTo>
                    <a:pt x="11557" y="5873"/>
                    <a:pt x="11393" y="6076"/>
                    <a:pt x="11235" y="6143"/>
                  </a:cubicBezTo>
                  <a:cubicBezTo>
                    <a:pt x="11086" y="6239"/>
                    <a:pt x="10992" y="6187"/>
                    <a:pt x="11004" y="6058"/>
                  </a:cubicBezTo>
                  <a:cubicBezTo>
                    <a:pt x="11037" y="5935"/>
                    <a:pt x="11019" y="5735"/>
                    <a:pt x="10985" y="5617"/>
                  </a:cubicBezTo>
                  <a:cubicBezTo>
                    <a:pt x="10949" y="5501"/>
                    <a:pt x="10845" y="5405"/>
                    <a:pt x="10771" y="5450"/>
                  </a:cubicBezTo>
                  <a:cubicBezTo>
                    <a:pt x="10692" y="5457"/>
                    <a:pt x="10467" y="5705"/>
                    <a:pt x="10268" y="5965"/>
                  </a:cubicBezTo>
                  <a:cubicBezTo>
                    <a:pt x="10074" y="6231"/>
                    <a:pt x="9909" y="6479"/>
                    <a:pt x="9928" y="6512"/>
                  </a:cubicBezTo>
                  <a:cubicBezTo>
                    <a:pt x="9948" y="6545"/>
                    <a:pt x="9904" y="6687"/>
                    <a:pt x="9832" y="6791"/>
                  </a:cubicBezTo>
                  <a:cubicBezTo>
                    <a:pt x="9774" y="6908"/>
                    <a:pt x="9602" y="7073"/>
                    <a:pt x="9468" y="7181"/>
                  </a:cubicBezTo>
                  <a:cubicBezTo>
                    <a:pt x="9326" y="7272"/>
                    <a:pt x="9110" y="7574"/>
                    <a:pt x="8959" y="7810"/>
                  </a:cubicBezTo>
                  <a:cubicBezTo>
                    <a:pt x="8832" y="8071"/>
                    <a:pt x="8459" y="8529"/>
                    <a:pt x="8172" y="8872"/>
                  </a:cubicBezTo>
                  <a:cubicBezTo>
                    <a:pt x="7875" y="9202"/>
                    <a:pt x="7538" y="9624"/>
                    <a:pt x="7462" y="9829"/>
                  </a:cubicBezTo>
                  <a:cubicBezTo>
                    <a:pt x="7343" y="9997"/>
                    <a:pt x="7216" y="10301"/>
                    <a:pt x="7108" y="10419"/>
                  </a:cubicBezTo>
                  <a:cubicBezTo>
                    <a:pt x="7017" y="10560"/>
                    <a:pt x="6803" y="10829"/>
                    <a:pt x="6667" y="11054"/>
                  </a:cubicBezTo>
                  <a:cubicBezTo>
                    <a:pt x="6514" y="11259"/>
                    <a:pt x="6261" y="11585"/>
                    <a:pt x="6091" y="11764"/>
                  </a:cubicBezTo>
                  <a:cubicBezTo>
                    <a:pt x="5922" y="11945"/>
                    <a:pt x="5734" y="12211"/>
                    <a:pt x="5665" y="12354"/>
                  </a:cubicBezTo>
                  <a:cubicBezTo>
                    <a:pt x="5593" y="12497"/>
                    <a:pt x="5433" y="12738"/>
                    <a:pt x="5297" y="12880"/>
                  </a:cubicBezTo>
                  <a:cubicBezTo>
                    <a:pt x="5154" y="13013"/>
                    <a:pt x="4817" y="13478"/>
                    <a:pt x="4533" y="13892"/>
                  </a:cubicBezTo>
                  <a:cubicBezTo>
                    <a:pt x="4248" y="14306"/>
                    <a:pt x="3938" y="14803"/>
                    <a:pt x="3863" y="15006"/>
                  </a:cubicBezTo>
                  <a:cubicBezTo>
                    <a:pt x="3761" y="15189"/>
                    <a:pt x="3596" y="15488"/>
                    <a:pt x="3475" y="15653"/>
                  </a:cubicBezTo>
                  <a:cubicBezTo>
                    <a:pt x="3343" y="15806"/>
                    <a:pt x="3315" y="15952"/>
                    <a:pt x="3385" y="15998"/>
                  </a:cubicBezTo>
                  <a:cubicBezTo>
                    <a:pt x="3465" y="16014"/>
                    <a:pt x="3484" y="16126"/>
                    <a:pt x="3450" y="16227"/>
                  </a:cubicBezTo>
                  <a:cubicBezTo>
                    <a:pt x="3406" y="16321"/>
                    <a:pt x="3295" y="16477"/>
                    <a:pt x="3199" y="16576"/>
                  </a:cubicBezTo>
                  <a:cubicBezTo>
                    <a:pt x="3102" y="16669"/>
                    <a:pt x="2982" y="16875"/>
                    <a:pt x="2914" y="17018"/>
                  </a:cubicBezTo>
                  <a:cubicBezTo>
                    <a:pt x="2857" y="17167"/>
                    <a:pt x="2644" y="17555"/>
                    <a:pt x="2444" y="17886"/>
                  </a:cubicBezTo>
                  <a:cubicBezTo>
                    <a:pt x="2243" y="18217"/>
                    <a:pt x="1832" y="18816"/>
                    <a:pt x="1523" y="19206"/>
                  </a:cubicBezTo>
                  <a:cubicBezTo>
                    <a:pt x="1222" y="19605"/>
                    <a:pt x="1002" y="19955"/>
                    <a:pt x="993" y="19994"/>
                  </a:cubicBezTo>
                  <a:cubicBezTo>
                    <a:pt x="1013" y="20026"/>
                    <a:pt x="1122" y="19978"/>
                    <a:pt x="1261" y="19907"/>
                  </a:cubicBezTo>
                  <a:cubicBezTo>
                    <a:pt x="1396" y="19821"/>
                    <a:pt x="1496" y="19797"/>
                    <a:pt x="1491" y="19858"/>
                  </a:cubicBezTo>
                  <a:cubicBezTo>
                    <a:pt x="1477" y="19919"/>
                    <a:pt x="1419" y="20046"/>
                    <a:pt x="1342" y="20124"/>
                  </a:cubicBezTo>
                  <a:cubicBezTo>
                    <a:pt x="1270" y="20212"/>
                    <a:pt x="1153" y="20286"/>
                    <a:pt x="1082" y="20299"/>
                  </a:cubicBezTo>
                  <a:cubicBezTo>
                    <a:pt x="1011" y="20305"/>
                    <a:pt x="837" y="20431"/>
                    <a:pt x="689" y="20563"/>
                  </a:cubicBezTo>
                  <a:cubicBezTo>
                    <a:pt x="545" y="20703"/>
                    <a:pt x="282" y="21013"/>
                    <a:pt x="100" y="21252"/>
                  </a:cubicBezTo>
                  <a:cubicBezTo>
                    <a:pt x="-72" y="21503"/>
                    <a:pt x="-19" y="21593"/>
                    <a:pt x="228" y="21470"/>
                  </a:cubicBezTo>
                  <a:cubicBezTo>
                    <a:pt x="475" y="21342"/>
                    <a:pt x="793" y="21160"/>
                    <a:pt x="918" y="21032"/>
                  </a:cubicBezTo>
                  <a:cubicBezTo>
                    <a:pt x="1052" y="20921"/>
                    <a:pt x="1273" y="20885"/>
                    <a:pt x="1411" y="20972"/>
                  </a:cubicBezTo>
                  <a:cubicBezTo>
                    <a:pt x="1549" y="21062"/>
                    <a:pt x="1722" y="21046"/>
                    <a:pt x="1795" y="20958"/>
                  </a:cubicBezTo>
                  <a:cubicBezTo>
                    <a:pt x="1868" y="20872"/>
                    <a:pt x="1995" y="20668"/>
                    <a:pt x="2056" y="20499"/>
                  </a:cubicBezTo>
                  <a:cubicBezTo>
                    <a:pt x="2140" y="20349"/>
                    <a:pt x="2272" y="20153"/>
                    <a:pt x="2383" y="20103"/>
                  </a:cubicBezTo>
                  <a:cubicBezTo>
                    <a:pt x="2489" y="20038"/>
                    <a:pt x="2709" y="19834"/>
                    <a:pt x="2879" y="19649"/>
                  </a:cubicBezTo>
                  <a:cubicBezTo>
                    <a:pt x="3044" y="19455"/>
                    <a:pt x="3299" y="19133"/>
                    <a:pt x="3434" y="18922"/>
                  </a:cubicBezTo>
                  <a:cubicBezTo>
                    <a:pt x="3566" y="18705"/>
                    <a:pt x="3796" y="18425"/>
                    <a:pt x="3928" y="18284"/>
                  </a:cubicBezTo>
                  <a:close/>
                  <a:moveTo>
                    <a:pt x="3928" y="182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6" name="AutoShape 1088"/>
            <p:cNvSpPr>
              <a:spLocks/>
            </p:cNvSpPr>
            <p:nvPr/>
          </p:nvSpPr>
          <p:spPr bwMode="auto">
            <a:xfrm>
              <a:off x="4876800" y="1930400"/>
              <a:ext cx="1588" cy="1588"/>
            </a:xfrm>
            <a:custGeom>
              <a:avLst/>
              <a:gdLst/>
              <a:ahLst/>
              <a:cxnLst/>
              <a:rect l="0" t="0" r="r" b="b"/>
              <a:pathLst>
                <a:path w="19247" h="19381">
                  <a:moveTo>
                    <a:pt x="19247" y="6764"/>
                  </a:moveTo>
                  <a:cubicBezTo>
                    <a:pt x="18835" y="3579"/>
                    <a:pt x="14739" y="-344"/>
                    <a:pt x="8625" y="24"/>
                  </a:cubicBezTo>
                  <a:cubicBezTo>
                    <a:pt x="2507" y="345"/>
                    <a:pt x="-2353" y="5053"/>
                    <a:pt x="1209" y="11377"/>
                  </a:cubicBezTo>
                  <a:cubicBezTo>
                    <a:pt x="2570" y="18259"/>
                    <a:pt x="8210" y="21256"/>
                    <a:pt x="11712" y="18165"/>
                  </a:cubicBezTo>
                  <a:cubicBezTo>
                    <a:pt x="15626" y="15159"/>
                    <a:pt x="19247" y="9950"/>
                    <a:pt x="19247" y="6764"/>
                  </a:cubicBezTo>
                  <a:close/>
                  <a:moveTo>
                    <a:pt x="19247" y="67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7" name="AutoShape 1089"/>
            <p:cNvSpPr>
              <a:spLocks/>
            </p:cNvSpPr>
            <p:nvPr/>
          </p:nvSpPr>
          <p:spPr bwMode="auto">
            <a:xfrm>
              <a:off x="4864100" y="1917700"/>
              <a:ext cx="1588" cy="0"/>
            </a:xfrm>
            <a:custGeom>
              <a:avLst/>
              <a:gdLst/>
              <a:ahLst/>
              <a:cxnLst/>
              <a:rect l="0" t="0" r="r" b="b"/>
              <a:pathLst>
                <a:path w="18110" h="18404">
                  <a:moveTo>
                    <a:pt x="4367" y="6721"/>
                  </a:moveTo>
                  <a:cubicBezTo>
                    <a:pt x="-2328" y="14085"/>
                    <a:pt x="-1090" y="18961"/>
                    <a:pt x="6470" y="18353"/>
                  </a:cubicBezTo>
                  <a:cubicBezTo>
                    <a:pt x="13947" y="17200"/>
                    <a:pt x="19272" y="10285"/>
                    <a:pt x="17891" y="3979"/>
                  </a:cubicBezTo>
                  <a:cubicBezTo>
                    <a:pt x="17065" y="-2639"/>
                    <a:pt x="11018" y="-505"/>
                    <a:pt x="4367" y="6721"/>
                  </a:cubicBezTo>
                  <a:close/>
                  <a:moveTo>
                    <a:pt x="4367" y="67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8" name="AutoShape 1090"/>
            <p:cNvSpPr>
              <a:spLocks/>
            </p:cNvSpPr>
            <p:nvPr/>
          </p:nvSpPr>
          <p:spPr bwMode="auto">
            <a:xfrm>
              <a:off x="4343400" y="1816100"/>
              <a:ext cx="234950" cy="225425"/>
            </a:xfrm>
            <a:custGeom>
              <a:avLst/>
              <a:gdLst/>
              <a:ahLst/>
              <a:cxnLst/>
              <a:rect l="0" t="0" r="r" b="b"/>
              <a:pathLst>
                <a:path w="21538" h="21569">
                  <a:moveTo>
                    <a:pt x="232" y="21416"/>
                  </a:moveTo>
                  <a:cubicBezTo>
                    <a:pt x="256" y="21407"/>
                    <a:pt x="373" y="21299"/>
                    <a:pt x="484" y="21168"/>
                  </a:cubicBezTo>
                  <a:cubicBezTo>
                    <a:pt x="604" y="21047"/>
                    <a:pt x="778" y="20858"/>
                    <a:pt x="881" y="20757"/>
                  </a:cubicBezTo>
                  <a:cubicBezTo>
                    <a:pt x="987" y="20661"/>
                    <a:pt x="1130" y="20552"/>
                    <a:pt x="1189" y="20503"/>
                  </a:cubicBezTo>
                  <a:cubicBezTo>
                    <a:pt x="1260" y="20478"/>
                    <a:pt x="1410" y="20333"/>
                    <a:pt x="1535" y="20217"/>
                  </a:cubicBezTo>
                  <a:cubicBezTo>
                    <a:pt x="1664" y="20107"/>
                    <a:pt x="1936" y="19822"/>
                    <a:pt x="2142" y="19589"/>
                  </a:cubicBezTo>
                  <a:cubicBezTo>
                    <a:pt x="2347" y="19357"/>
                    <a:pt x="2584" y="19121"/>
                    <a:pt x="2648" y="19046"/>
                  </a:cubicBezTo>
                  <a:cubicBezTo>
                    <a:pt x="2719" y="18979"/>
                    <a:pt x="2798" y="18886"/>
                    <a:pt x="2822" y="18841"/>
                  </a:cubicBezTo>
                  <a:cubicBezTo>
                    <a:pt x="2845" y="18794"/>
                    <a:pt x="2968" y="18656"/>
                    <a:pt x="3084" y="18525"/>
                  </a:cubicBezTo>
                  <a:cubicBezTo>
                    <a:pt x="3205" y="18399"/>
                    <a:pt x="3316" y="18306"/>
                    <a:pt x="3316" y="18330"/>
                  </a:cubicBezTo>
                  <a:cubicBezTo>
                    <a:pt x="3334" y="18344"/>
                    <a:pt x="3271" y="18462"/>
                    <a:pt x="3206" y="18582"/>
                  </a:cubicBezTo>
                  <a:cubicBezTo>
                    <a:pt x="3127" y="18694"/>
                    <a:pt x="2996" y="18889"/>
                    <a:pt x="2890" y="18996"/>
                  </a:cubicBezTo>
                  <a:cubicBezTo>
                    <a:pt x="2788" y="19108"/>
                    <a:pt x="2704" y="19242"/>
                    <a:pt x="2689" y="19293"/>
                  </a:cubicBezTo>
                  <a:cubicBezTo>
                    <a:pt x="2699" y="19344"/>
                    <a:pt x="2732" y="19337"/>
                    <a:pt x="2808" y="19283"/>
                  </a:cubicBezTo>
                  <a:cubicBezTo>
                    <a:pt x="2880" y="19223"/>
                    <a:pt x="3066" y="19057"/>
                    <a:pt x="3215" y="18905"/>
                  </a:cubicBezTo>
                  <a:cubicBezTo>
                    <a:pt x="3371" y="18760"/>
                    <a:pt x="3595" y="18569"/>
                    <a:pt x="3709" y="18477"/>
                  </a:cubicBezTo>
                  <a:cubicBezTo>
                    <a:pt x="3837" y="18401"/>
                    <a:pt x="4046" y="18186"/>
                    <a:pt x="4190" y="18022"/>
                  </a:cubicBezTo>
                  <a:cubicBezTo>
                    <a:pt x="4337" y="17864"/>
                    <a:pt x="4625" y="17538"/>
                    <a:pt x="4833" y="17305"/>
                  </a:cubicBezTo>
                  <a:cubicBezTo>
                    <a:pt x="5048" y="17077"/>
                    <a:pt x="5240" y="16840"/>
                    <a:pt x="5268" y="16782"/>
                  </a:cubicBezTo>
                  <a:cubicBezTo>
                    <a:pt x="5301" y="16730"/>
                    <a:pt x="5465" y="16517"/>
                    <a:pt x="5643" y="16316"/>
                  </a:cubicBezTo>
                  <a:cubicBezTo>
                    <a:pt x="5825" y="16117"/>
                    <a:pt x="6025" y="15875"/>
                    <a:pt x="6097" y="15786"/>
                  </a:cubicBezTo>
                  <a:cubicBezTo>
                    <a:pt x="6170" y="15698"/>
                    <a:pt x="6375" y="15442"/>
                    <a:pt x="6571" y="15237"/>
                  </a:cubicBezTo>
                  <a:cubicBezTo>
                    <a:pt x="6762" y="15025"/>
                    <a:pt x="7026" y="14757"/>
                    <a:pt x="7154" y="14640"/>
                  </a:cubicBezTo>
                  <a:cubicBezTo>
                    <a:pt x="7286" y="14526"/>
                    <a:pt x="7459" y="14342"/>
                    <a:pt x="7526" y="14228"/>
                  </a:cubicBezTo>
                  <a:cubicBezTo>
                    <a:pt x="7608" y="14126"/>
                    <a:pt x="7774" y="13907"/>
                    <a:pt x="7895" y="13744"/>
                  </a:cubicBezTo>
                  <a:cubicBezTo>
                    <a:pt x="8026" y="13587"/>
                    <a:pt x="8125" y="13512"/>
                    <a:pt x="8117" y="13582"/>
                  </a:cubicBezTo>
                  <a:cubicBezTo>
                    <a:pt x="8108" y="13651"/>
                    <a:pt x="8205" y="13650"/>
                    <a:pt x="8316" y="13565"/>
                  </a:cubicBezTo>
                  <a:cubicBezTo>
                    <a:pt x="8435" y="13493"/>
                    <a:pt x="8654" y="13275"/>
                    <a:pt x="8822" y="13108"/>
                  </a:cubicBezTo>
                  <a:cubicBezTo>
                    <a:pt x="8981" y="12933"/>
                    <a:pt x="9226" y="12699"/>
                    <a:pt x="9363" y="12590"/>
                  </a:cubicBezTo>
                  <a:cubicBezTo>
                    <a:pt x="9491" y="12470"/>
                    <a:pt x="9709" y="12256"/>
                    <a:pt x="9826" y="12093"/>
                  </a:cubicBezTo>
                  <a:cubicBezTo>
                    <a:pt x="9952" y="11937"/>
                    <a:pt x="10092" y="11772"/>
                    <a:pt x="10144" y="11726"/>
                  </a:cubicBezTo>
                  <a:cubicBezTo>
                    <a:pt x="10202" y="11690"/>
                    <a:pt x="10359" y="11525"/>
                    <a:pt x="10501" y="11372"/>
                  </a:cubicBezTo>
                  <a:cubicBezTo>
                    <a:pt x="10642" y="11217"/>
                    <a:pt x="10862" y="10966"/>
                    <a:pt x="10985" y="10810"/>
                  </a:cubicBezTo>
                  <a:cubicBezTo>
                    <a:pt x="11097" y="10644"/>
                    <a:pt x="11354" y="10407"/>
                    <a:pt x="11531" y="10261"/>
                  </a:cubicBezTo>
                  <a:cubicBezTo>
                    <a:pt x="11706" y="10112"/>
                    <a:pt x="11912" y="9939"/>
                    <a:pt x="11986" y="9873"/>
                  </a:cubicBezTo>
                  <a:cubicBezTo>
                    <a:pt x="12064" y="9809"/>
                    <a:pt x="12128" y="9767"/>
                    <a:pt x="12143" y="9783"/>
                  </a:cubicBezTo>
                  <a:cubicBezTo>
                    <a:pt x="12160" y="9798"/>
                    <a:pt x="12240" y="9743"/>
                    <a:pt x="12333" y="9654"/>
                  </a:cubicBezTo>
                  <a:cubicBezTo>
                    <a:pt x="12420" y="9559"/>
                    <a:pt x="12633" y="9391"/>
                    <a:pt x="12797" y="9272"/>
                  </a:cubicBezTo>
                  <a:cubicBezTo>
                    <a:pt x="12964" y="9158"/>
                    <a:pt x="13209" y="8935"/>
                    <a:pt x="13358" y="8800"/>
                  </a:cubicBezTo>
                  <a:cubicBezTo>
                    <a:pt x="13503" y="8658"/>
                    <a:pt x="13684" y="8487"/>
                    <a:pt x="13772" y="8435"/>
                  </a:cubicBezTo>
                  <a:cubicBezTo>
                    <a:pt x="13851" y="8369"/>
                    <a:pt x="14137" y="8128"/>
                    <a:pt x="14404" y="7892"/>
                  </a:cubicBezTo>
                  <a:cubicBezTo>
                    <a:pt x="14668" y="7653"/>
                    <a:pt x="15029" y="7356"/>
                    <a:pt x="15203" y="7224"/>
                  </a:cubicBezTo>
                  <a:cubicBezTo>
                    <a:pt x="15373" y="7090"/>
                    <a:pt x="15800" y="6754"/>
                    <a:pt x="16130" y="6451"/>
                  </a:cubicBezTo>
                  <a:cubicBezTo>
                    <a:pt x="16469" y="6159"/>
                    <a:pt x="16855" y="5849"/>
                    <a:pt x="16988" y="5758"/>
                  </a:cubicBezTo>
                  <a:cubicBezTo>
                    <a:pt x="17126" y="5681"/>
                    <a:pt x="17408" y="5466"/>
                    <a:pt x="17630" y="5309"/>
                  </a:cubicBezTo>
                  <a:cubicBezTo>
                    <a:pt x="17846" y="5142"/>
                    <a:pt x="18111" y="4937"/>
                    <a:pt x="18211" y="4841"/>
                  </a:cubicBezTo>
                  <a:cubicBezTo>
                    <a:pt x="18316" y="4751"/>
                    <a:pt x="18567" y="4538"/>
                    <a:pt x="18774" y="4371"/>
                  </a:cubicBezTo>
                  <a:cubicBezTo>
                    <a:pt x="18984" y="4208"/>
                    <a:pt x="19284" y="3942"/>
                    <a:pt x="19438" y="3772"/>
                  </a:cubicBezTo>
                  <a:cubicBezTo>
                    <a:pt x="19599" y="3612"/>
                    <a:pt x="19749" y="3407"/>
                    <a:pt x="19790" y="3334"/>
                  </a:cubicBezTo>
                  <a:cubicBezTo>
                    <a:pt x="19833" y="3263"/>
                    <a:pt x="19906" y="3118"/>
                    <a:pt x="19972" y="3025"/>
                  </a:cubicBezTo>
                  <a:cubicBezTo>
                    <a:pt x="20040" y="2933"/>
                    <a:pt x="20089" y="2824"/>
                    <a:pt x="20071" y="2801"/>
                  </a:cubicBezTo>
                  <a:cubicBezTo>
                    <a:pt x="20071" y="2771"/>
                    <a:pt x="20104" y="2685"/>
                    <a:pt x="20176" y="2621"/>
                  </a:cubicBezTo>
                  <a:cubicBezTo>
                    <a:pt x="20229" y="2539"/>
                    <a:pt x="20379" y="2381"/>
                    <a:pt x="20474" y="2238"/>
                  </a:cubicBezTo>
                  <a:cubicBezTo>
                    <a:pt x="20569" y="2097"/>
                    <a:pt x="20678" y="1897"/>
                    <a:pt x="20712" y="1789"/>
                  </a:cubicBezTo>
                  <a:cubicBezTo>
                    <a:pt x="20740" y="1681"/>
                    <a:pt x="20855" y="1502"/>
                    <a:pt x="20955" y="1386"/>
                  </a:cubicBezTo>
                  <a:cubicBezTo>
                    <a:pt x="21055" y="1271"/>
                    <a:pt x="21248" y="1005"/>
                    <a:pt x="21379" y="792"/>
                  </a:cubicBezTo>
                  <a:cubicBezTo>
                    <a:pt x="21505" y="578"/>
                    <a:pt x="21581" y="349"/>
                    <a:pt x="21512" y="309"/>
                  </a:cubicBezTo>
                  <a:cubicBezTo>
                    <a:pt x="21458" y="249"/>
                    <a:pt x="21439" y="160"/>
                    <a:pt x="21460" y="91"/>
                  </a:cubicBezTo>
                  <a:cubicBezTo>
                    <a:pt x="21497" y="28"/>
                    <a:pt x="21484" y="-14"/>
                    <a:pt x="21441" y="4"/>
                  </a:cubicBezTo>
                  <a:cubicBezTo>
                    <a:pt x="21400" y="25"/>
                    <a:pt x="21240" y="136"/>
                    <a:pt x="21090" y="263"/>
                  </a:cubicBezTo>
                  <a:cubicBezTo>
                    <a:pt x="20947" y="395"/>
                    <a:pt x="20717" y="550"/>
                    <a:pt x="20596" y="628"/>
                  </a:cubicBezTo>
                  <a:cubicBezTo>
                    <a:pt x="20470" y="698"/>
                    <a:pt x="20283" y="850"/>
                    <a:pt x="20177" y="961"/>
                  </a:cubicBezTo>
                  <a:cubicBezTo>
                    <a:pt x="20066" y="1066"/>
                    <a:pt x="19919" y="1239"/>
                    <a:pt x="19847" y="1344"/>
                  </a:cubicBezTo>
                  <a:cubicBezTo>
                    <a:pt x="19765" y="1442"/>
                    <a:pt x="19503" y="1733"/>
                    <a:pt x="19239" y="1971"/>
                  </a:cubicBezTo>
                  <a:cubicBezTo>
                    <a:pt x="18972" y="2201"/>
                    <a:pt x="18785" y="2372"/>
                    <a:pt x="18811" y="2331"/>
                  </a:cubicBezTo>
                  <a:cubicBezTo>
                    <a:pt x="18844" y="2297"/>
                    <a:pt x="19034" y="2073"/>
                    <a:pt x="19255" y="1853"/>
                  </a:cubicBezTo>
                  <a:cubicBezTo>
                    <a:pt x="19470" y="1625"/>
                    <a:pt x="19753" y="1338"/>
                    <a:pt x="19867" y="1195"/>
                  </a:cubicBezTo>
                  <a:cubicBezTo>
                    <a:pt x="19980" y="1052"/>
                    <a:pt x="20028" y="947"/>
                    <a:pt x="19969" y="965"/>
                  </a:cubicBezTo>
                  <a:cubicBezTo>
                    <a:pt x="19911" y="980"/>
                    <a:pt x="19770" y="1065"/>
                    <a:pt x="19666" y="1164"/>
                  </a:cubicBezTo>
                  <a:cubicBezTo>
                    <a:pt x="19556" y="1261"/>
                    <a:pt x="19398" y="1393"/>
                    <a:pt x="19316" y="1458"/>
                  </a:cubicBezTo>
                  <a:cubicBezTo>
                    <a:pt x="19238" y="1530"/>
                    <a:pt x="19252" y="1490"/>
                    <a:pt x="19357" y="1381"/>
                  </a:cubicBezTo>
                  <a:cubicBezTo>
                    <a:pt x="19463" y="1273"/>
                    <a:pt x="19578" y="1141"/>
                    <a:pt x="19608" y="1084"/>
                  </a:cubicBezTo>
                  <a:cubicBezTo>
                    <a:pt x="19636" y="1026"/>
                    <a:pt x="19535" y="1016"/>
                    <a:pt x="19381" y="1071"/>
                  </a:cubicBezTo>
                  <a:cubicBezTo>
                    <a:pt x="19223" y="1110"/>
                    <a:pt x="19104" y="1110"/>
                    <a:pt x="19122" y="1051"/>
                  </a:cubicBezTo>
                  <a:cubicBezTo>
                    <a:pt x="19136" y="992"/>
                    <a:pt x="19122" y="938"/>
                    <a:pt x="19094" y="938"/>
                  </a:cubicBezTo>
                  <a:cubicBezTo>
                    <a:pt x="19077" y="913"/>
                    <a:pt x="19122" y="843"/>
                    <a:pt x="19215" y="725"/>
                  </a:cubicBezTo>
                  <a:cubicBezTo>
                    <a:pt x="19317" y="619"/>
                    <a:pt x="19221" y="609"/>
                    <a:pt x="19019" y="720"/>
                  </a:cubicBezTo>
                  <a:cubicBezTo>
                    <a:pt x="18822" y="839"/>
                    <a:pt x="18429" y="1112"/>
                    <a:pt x="18162" y="1349"/>
                  </a:cubicBezTo>
                  <a:cubicBezTo>
                    <a:pt x="17891" y="1583"/>
                    <a:pt x="17429" y="1962"/>
                    <a:pt x="17125" y="2176"/>
                  </a:cubicBezTo>
                  <a:cubicBezTo>
                    <a:pt x="16830" y="2402"/>
                    <a:pt x="16548" y="2590"/>
                    <a:pt x="16506" y="2605"/>
                  </a:cubicBezTo>
                  <a:cubicBezTo>
                    <a:pt x="16465" y="2624"/>
                    <a:pt x="16195" y="2812"/>
                    <a:pt x="15913" y="3035"/>
                  </a:cubicBezTo>
                  <a:cubicBezTo>
                    <a:pt x="15633" y="3258"/>
                    <a:pt x="15347" y="3453"/>
                    <a:pt x="15296" y="3496"/>
                  </a:cubicBezTo>
                  <a:cubicBezTo>
                    <a:pt x="15236" y="3522"/>
                    <a:pt x="15063" y="3671"/>
                    <a:pt x="14901" y="3808"/>
                  </a:cubicBezTo>
                  <a:cubicBezTo>
                    <a:pt x="14742" y="3949"/>
                    <a:pt x="14541" y="4137"/>
                    <a:pt x="14460" y="4231"/>
                  </a:cubicBezTo>
                  <a:cubicBezTo>
                    <a:pt x="14383" y="4331"/>
                    <a:pt x="14309" y="4420"/>
                    <a:pt x="14321" y="4432"/>
                  </a:cubicBezTo>
                  <a:cubicBezTo>
                    <a:pt x="14335" y="4440"/>
                    <a:pt x="14242" y="4551"/>
                    <a:pt x="14143" y="4672"/>
                  </a:cubicBezTo>
                  <a:cubicBezTo>
                    <a:pt x="14039" y="4790"/>
                    <a:pt x="13881" y="4983"/>
                    <a:pt x="13795" y="5106"/>
                  </a:cubicBezTo>
                  <a:cubicBezTo>
                    <a:pt x="13712" y="5232"/>
                    <a:pt x="13510" y="5490"/>
                    <a:pt x="13358" y="5691"/>
                  </a:cubicBezTo>
                  <a:cubicBezTo>
                    <a:pt x="13212" y="5897"/>
                    <a:pt x="13086" y="6085"/>
                    <a:pt x="13086" y="6122"/>
                  </a:cubicBezTo>
                  <a:cubicBezTo>
                    <a:pt x="13086" y="6159"/>
                    <a:pt x="13000" y="6277"/>
                    <a:pt x="12897" y="6398"/>
                  </a:cubicBezTo>
                  <a:cubicBezTo>
                    <a:pt x="12787" y="6509"/>
                    <a:pt x="12623" y="6675"/>
                    <a:pt x="12518" y="6745"/>
                  </a:cubicBezTo>
                  <a:cubicBezTo>
                    <a:pt x="12427" y="6835"/>
                    <a:pt x="12173" y="7051"/>
                    <a:pt x="11978" y="7255"/>
                  </a:cubicBezTo>
                  <a:cubicBezTo>
                    <a:pt x="11785" y="7462"/>
                    <a:pt x="11544" y="7722"/>
                    <a:pt x="11446" y="7833"/>
                  </a:cubicBezTo>
                  <a:cubicBezTo>
                    <a:pt x="11350" y="7949"/>
                    <a:pt x="11085" y="8199"/>
                    <a:pt x="10867" y="8403"/>
                  </a:cubicBezTo>
                  <a:cubicBezTo>
                    <a:pt x="10647" y="8603"/>
                    <a:pt x="10327" y="8918"/>
                    <a:pt x="10161" y="9108"/>
                  </a:cubicBezTo>
                  <a:cubicBezTo>
                    <a:pt x="9992" y="9294"/>
                    <a:pt x="9616" y="9700"/>
                    <a:pt x="9316" y="9996"/>
                  </a:cubicBezTo>
                  <a:cubicBezTo>
                    <a:pt x="9026" y="10304"/>
                    <a:pt x="8683" y="10622"/>
                    <a:pt x="8578" y="10726"/>
                  </a:cubicBezTo>
                  <a:cubicBezTo>
                    <a:pt x="8465" y="10822"/>
                    <a:pt x="8340" y="10969"/>
                    <a:pt x="8286" y="11039"/>
                  </a:cubicBezTo>
                  <a:cubicBezTo>
                    <a:pt x="8235" y="11111"/>
                    <a:pt x="8161" y="11249"/>
                    <a:pt x="8114" y="11343"/>
                  </a:cubicBezTo>
                  <a:cubicBezTo>
                    <a:pt x="8084" y="11443"/>
                    <a:pt x="7957" y="11622"/>
                    <a:pt x="7869" y="11758"/>
                  </a:cubicBezTo>
                  <a:cubicBezTo>
                    <a:pt x="7785" y="11899"/>
                    <a:pt x="7523" y="12116"/>
                    <a:pt x="7317" y="12269"/>
                  </a:cubicBezTo>
                  <a:cubicBezTo>
                    <a:pt x="7111" y="12419"/>
                    <a:pt x="6960" y="12512"/>
                    <a:pt x="6960" y="12475"/>
                  </a:cubicBezTo>
                  <a:cubicBezTo>
                    <a:pt x="6980" y="12443"/>
                    <a:pt x="6885" y="12545"/>
                    <a:pt x="6769" y="12711"/>
                  </a:cubicBezTo>
                  <a:cubicBezTo>
                    <a:pt x="6654" y="12878"/>
                    <a:pt x="6423" y="13153"/>
                    <a:pt x="6273" y="13336"/>
                  </a:cubicBezTo>
                  <a:cubicBezTo>
                    <a:pt x="6110" y="13507"/>
                    <a:pt x="5931" y="13719"/>
                    <a:pt x="5859" y="13790"/>
                  </a:cubicBezTo>
                  <a:cubicBezTo>
                    <a:pt x="5782" y="13854"/>
                    <a:pt x="5706" y="13971"/>
                    <a:pt x="5655" y="14009"/>
                  </a:cubicBezTo>
                  <a:cubicBezTo>
                    <a:pt x="5622" y="14064"/>
                    <a:pt x="5432" y="14236"/>
                    <a:pt x="5248" y="14401"/>
                  </a:cubicBezTo>
                  <a:cubicBezTo>
                    <a:pt x="5064" y="14566"/>
                    <a:pt x="4809" y="14844"/>
                    <a:pt x="4672" y="15010"/>
                  </a:cubicBezTo>
                  <a:cubicBezTo>
                    <a:pt x="4537" y="15178"/>
                    <a:pt x="4358" y="15370"/>
                    <a:pt x="4283" y="15448"/>
                  </a:cubicBezTo>
                  <a:cubicBezTo>
                    <a:pt x="4199" y="15516"/>
                    <a:pt x="4032" y="15693"/>
                    <a:pt x="3908" y="15835"/>
                  </a:cubicBezTo>
                  <a:cubicBezTo>
                    <a:pt x="3780" y="15974"/>
                    <a:pt x="3640" y="16122"/>
                    <a:pt x="3595" y="16163"/>
                  </a:cubicBezTo>
                  <a:cubicBezTo>
                    <a:pt x="3542" y="16194"/>
                    <a:pt x="3458" y="16303"/>
                    <a:pt x="3395" y="16387"/>
                  </a:cubicBezTo>
                  <a:cubicBezTo>
                    <a:pt x="3339" y="16476"/>
                    <a:pt x="3155" y="16655"/>
                    <a:pt x="3014" y="16811"/>
                  </a:cubicBezTo>
                  <a:cubicBezTo>
                    <a:pt x="2861" y="16953"/>
                    <a:pt x="2637" y="17196"/>
                    <a:pt x="2504" y="17339"/>
                  </a:cubicBezTo>
                  <a:cubicBezTo>
                    <a:pt x="2374" y="17484"/>
                    <a:pt x="2225" y="17620"/>
                    <a:pt x="2179" y="17644"/>
                  </a:cubicBezTo>
                  <a:cubicBezTo>
                    <a:pt x="2127" y="17651"/>
                    <a:pt x="2046" y="17748"/>
                    <a:pt x="2005" y="17832"/>
                  </a:cubicBezTo>
                  <a:cubicBezTo>
                    <a:pt x="1954" y="17909"/>
                    <a:pt x="1994" y="17924"/>
                    <a:pt x="2095" y="17876"/>
                  </a:cubicBezTo>
                  <a:cubicBezTo>
                    <a:pt x="2199" y="17831"/>
                    <a:pt x="2393" y="17685"/>
                    <a:pt x="2534" y="17568"/>
                  </a:cubicBezTo>
                  <a:cubicBezTo>
                    <a:pt x="2682" y="17463"/>
                    <a:pt x="2747" y="17428"/>
                    <a:pt x="2693" y="17512"/>
                  </a:cubicBezTo>
                  <a:cubicBezTo>
                    <a:pt x="2639" y="17596"/>
                    <a:pt x="2538" y="17704"/>
                    <a:pt x="2462" y="17740"/>
                  </a:cubicBezTo>
                  <a:cubicBezTo>
                    <a:pt x="2400" y="17796"/>
                    <a:pt x="2238" y="17978"/>
                    <a:pt x="2143" y="18189"/>
                  </a:cubicBezTo>
                  <a:cubicBezTo>
                    <a:pt x="2035" y="18393"/>
                    <a:pt x="1967" y="18579"/>
                    <a:pt x="1986" y="18589"/>
                  </a:cubicBezTo>
                  <a:cubicBezTo>
                    <a:pt x="2001" y="18605"/>
                    <a:pt x="1951" y="18716"/>
                    <a:pt x="1863" y="18836"/>
                  </a:cubicBezTo>
                  <a:cubicBezTo>
                    <a:pt x="1778" y="18958"/>
                    <a:pt x="1612" y="19186"/>
                    <a:pt x="1499" y="19346"/>
                  </a:cubicBezTo>
                  <a:cubicBezTo>
                    <a:pt x="1382" y="19505"/>
                    <a:pt x="1257" y="19711"/>
                    <a:pt x="1210" y="19803"/>
                  </a:cubicBezTo>
                  <a:cubicBezTo>
                    <a:pt x="1163" y="19891"/>
                    <a:pt x="1000" y="20150"/>
                    <a:pt x="824" y="20360"/>
                  </a:cubicBezTo>
                  <a:cubicBezTo>
                    <a:pt x="666" y="20585"/>
                    <a:pt x="409" y="20898"/>
                    <a:pt x="299" y="21090"/>
                  </a:cubicBezTo>
                  <a:cubicBezTo>
                    <a:pt x="180" y="21276"/>
                    <a:pt x="53" y="21474"/>
                    <a:pt x="16" y="21527"/>
                  </a:cubicBezTo>
                  <a:cubicBezTo>
                    <a:pt x="-19" y="21581"/>
                    <a:pt x="7" y="21586"/>
                    <a:pt x="67" y="21527"/>
                  </a:cubicBezTo>
                  <a:cubicBezTo>
                    <a:pt x="134" y="21478"/>
                    <a:pt x="211" y="21399"/>
                    <a:pt x="232" y="21416"/>
                  </a:cubicBezTo>
                  <a:close/>
                  <a:moveTo>
                    <a:pt x="232" y="214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89" name="AutoShape 1091"/>
            <p:cNvSpPr>
              <a:spLocks/>
            </p:cNvSpPr>
            <p:nvPr/>
          </p:nvSpPr>
          <p:spPr bwMode="auto">
            <a:xfrm>
              <a:off x="4787900" y="1917700"/>
              <a:ext cx="15875" cy="9525"/>
            </a:xfrm>
            <a:custGeom>
              <a:avLst/>
              <a:gdLst/>
              <a:ahLst/>
              <a:cxnLst/>
              <a:rect l="0" t="0" r="r" b="b"/>
              <a:pathLst>
                <a:path w="21176" h="20823">
                  <a:moveTo>
                    <a:pt x="18508" y="2171"/>
                  </a:moveTo>
                  <a:cubicBezTo>
                    <a:pt x="16739" y="2896"/>
                    <a:pt x="15145" y="2294"/>
                    <a:pt x="14534" y="1236"/>
                  </a:cubicBezTo>
                  <a:cubicBezTo>
                    <a:pt x="14234" y="-128"/>
                    <a:pt x="12642" y="-287"/>
                    <a:pt x="11223" y="388"/>
                  </a:cubicBezTo>
                  <a:cubicBezTo>
                    <a:pt x="9831" y="1262"/>
                    <a:pt x="8252" y="2712"/>
                    <a:pt x="7692" y="3696"/>
                  </a:cubicBezTo>
                  <a:cubicBezTo>
                    <a:pt x="7142" y="4691"/>
                    <a:pt x="5027" y="6979"/>
                    <a:pt x="3044" y="8895"/>
                  </a:cubicBezTo>
                  <a:cubicBezTo>
                    <a:pt x="1015" y="10703"/>
                    <a:pt x="3" y="12105"/>
                    <a:pt x="356" y="12780"/>
                  </a:cubicBezTo>
                  <a:cubicBezTo>
                    <a:pt x="877" y="13040"/>
                    <a:pt x="792" y="15129"/>
                    <a:pt x="240" y="17330"/>
                  </a:cubicBezTo>
                  <a:cubicBezTo>
                    <a:pt x="-273" y="19555"/>
                    <a:pt x="64" y="21313"/>
                    <a:pt x="999" y="20699"/>
                  </a:cubicBezTo>
                  <a:cubicBezTo>
                    <a:pt x="2025" y="20699"/>
                    <a:pt x="3374" y="18976"/>
                    <a:pt x="4025" y="17675"/>
                  </a:cubicBezTo>
                  <a:cubicBezTo>
                    <a:pt x="4690" y="16383"/>
                    <a:pt x="5755" y="15867"/>
                    <a:pt x="6284" y="16801"/>
                  </a:cubicBezTo>
                  <a:cubicBezTo>
                    <a:pt x="6972" y="17403"/>
                    <a:pt x="8391" y="17675"/>
                    <a:pt x="9685" y="16849"/>
                  </a:cubicBezTo>
                  <a:cubicBezTo>
                    <a:pt x="10971" y="16013"/>
                    <a:pt x="11975" y="16260"/>
                    <a:pt x="12328" y="16937"/>
                  </a:cubicBezTo>
                  <a:cubicBezTo>
                    <a:pt x="12381" y="17834"/>
                    <a:pt x="13644" y="17710"/>
                    <a:pt x="14831" y="16481"/>
                  </a:cubicBezTo>
                  <a:cubicBezTo>
                    <a:pt x="16080" y="15522"/>
                    <a:pt x="17781" y="12856"/>
                    <a:pt x="18830" y="11096"/>
                  </a:cubicBezTo>
                  <a:cubicBezTo>
                    <a:pt x="19757" y="9180"/>
                    <a:pt x="20607" y="6007"/>
                    <a:pt x="21158" y="4237"/>
                  </a:cubicBezTo>
                  <a:cubicBezTo>
                    <a:pt x="21327" y="2269"/>
                    <a:pt x="20278" y="1410"/>
                    <a:pt x="18508" y="2171"/>
                  </a:cubicBezTo>
                  <a:close/>
                  <a:moveTo>
                    <a:pt x="18508" y="21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0" name="AutoShape 1092"/>
            <p:cNvSpPr>
              <a:spLocks/>
            </p:cNvSpPr>
            <p:nvPr/>
          </p:nvSpPr>
          <p:spPr bwMode="auto">
            <a:xfrm>
              <a:off x="4851400" y="1917700"/>
              <a:ext cx="4763" cy="3175"/>
            </a:xfrm>
            <a:custGeom>
              <a:avLst/>
              <a:gdLst/>
              <a:ahLst/>
              <a:cxnLst/>
              <a:rect l="0" t="0" r="r" b="b"/>
              <a:pathLst>
                <a:path w="21119" h="19656">
                  <a:moveTo>
                    <a:pt x="15605" y="528"/>
                  </a:moveTo>
                  <a:cubicBezTo>
                    <a:pt x="12420" y="2421"/>
                    <a:pt x="7371" y="3814"/>
                    <a:pt x="4652" y="3582"/>
                  </a:cubicBezTo>
                  <a:cubicBezTo>
                    <a:pt x="1886" y="3582"/>
                    <a:pt x="0" y="7857"/>
                    <a:pt x="0" y="12799"/>
                  </a:cubicBezTo>
                  <a:cubicBezTo>
                    <a:pt x="395" y="17770"/>
                    <a:pt x="3372" y="20967"/>
                    <a:pt x="6766" y="19134"/>
                  </a:cubicBezTo>
                  <a:cubicBezTo>
                    <a:pt x="10138" y="17276"/>
                    <a:pt x="14953" y="14776"/>
                    <a:pt x="16881" y="12364"/>
                  </a:cubicBezTo>
                  <a:cubicBezTo>
                    <a:pt x="18954" y="10209"/>
                    <a:pt x="21600" y="5880"/>
                    <a:pt x="21043" y="2998"/>
                  </a:cubicBezTo>
                  <a:cubicBezTo>
                    <a:pt x="21558" y="93"/>
                    <a:pt x="18977" y="-633"/>
                    <a:pt x="15605" y="528"/>
                  </a:cubicBezTo>
                  <a:close/>
                  <a:moveTo>
                    <a:pt x="15605" y="5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1" name="AutoShape 1093"/>
            <p:cNvSpPr>
              <a:spLocks/>
            </p:cNvSpPr>
            <p:nvPr/>
          </p:nvSpPr>
          <p:spPr bwMode="auto">
            <a:xfrm>
              <a:off x="4356100" y="2146300"/>
              <a:ext cx="3175" cy="3175"/>
            </a:xfrm>
            <a:custGeom>
              <a:avLst/>
              <a:gdLst/>
              <a:ahLst/>
              <a:cxnLst/>
              <a:rect l="0" t="0" r="r" b="b"/>
              <a:pathLst>
                <a:path w="19339" h="18756">
                  <a:moveTo>
                    <a:pt x="3361" y="13446"/>
                  </a:moveTo>
                  <a:cubicBezTo>
                    <a:pt x="-712" y="17735"/>
                    <a:pt x="-922" y="20268"/>
                    <a:pt x="1864" y="17767"/>
                  </a:cubicBezTo>
                  <a:cubicBezTo>
                    <a:pt x="4863" y="15575"/>
                    <a:pt x="10943" y="9875"/>
                    <a:pt x="15526" y="5304"/>
                  </a:cubicBezTo>
                  <a:cubicBezTo>
                    <a:pt x="19899" y="514"/>
                    <a:pt x="20678" y="-1332"/>
                    <a:pt x="16992" y="1015"/>
                  </a:cubicBezTo>
                  <a:cubicBezTo>
                    <a:pt x="13336" y="3393"/>
                    <a:pt x="7195" y="8997"/>
                    <a:pt x="3361" y="13446"/>
                  </a:cubicBezTo>
                  <a:close/>
                  <a:moveTo>
                    <a:pt x="3361" y="134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2" name="AutoShape 1094"/>
            <p:cNvSpPr>
              <a:spLocks/>
            </p:cNvSpPr>
            <p:nvPr/>
          </p:nvSpPr>
          <p:spPr bwMode="auto">
            <a:xfrm>
              <a:off x="4470400" y="2082800"/>
              <a:ext cx="11113" cy="12700"/>
            </a:xfrm>
            <a:custGeom>
              <a:avLst/>
              <a:gdLst/>
              <a:ahLst/>
              <a:cxnLst/>
              <a:rect l="0" t="0" r="r" b="b"/>
              <a:pathLst>
                <a:path w="21171" h="21087">
                  <a:moveTo>
                    <a:pt x="11841" y="7596"/>
                  </a:moveTo>
                  <a:cubicBezTo>
                    <a:pt x="11009" y="8419"/>
                    <a:pt x="8856" y="10021"/>
                    <a:pt x="6753" y="10875"/>
                  </a:cubicBezTo>
                  <a:cubicBezTo>
                    <a:pt x="4729" y="11860"/>
                    <a:pt x="2255" y="13535"/>
                    <a:pt x="1215" y="14636"/>
                  </a:cubicBezTo>
                  <a:cubicBezTo>
                    <a:pt x="104" y="15705"/>
                    <a:pt x="-230" y="17637"/>
                    <a:pt x="152" y="18767"/>
                  </a:cubicBezTo>
                  <a:cubicBezTo>
                    <a:pt x="682" y="19844"/>
                    <a:pt x="1456" y="21017"/>
                    <a:pt x="2162" y="21017"/>
                  </a:cubicBezTo>
                  <a:cubicBezTo>
                    <a:pt x="2638" y="21448"/>
                    <a:pt x="5297" y="19844"/>
                    <a:pt x="7460" y="17976"/>
                  </a:cubicBezTo>
                  <a:cubicBezTo>
                    <a:pt x="9934" y="16454"/>
                    <a:pt x="12466" y="13546"/>
                    <a:pt x="13669" y="12098"/>
                  </a:cubicBezTo>
                  <a:cubicBezTo>
                    <a:pt x="14697" y="10566"/>
                    <a:pt x="16477" y="8655"/>
                    <a:pt x="16685" y="7504"/>
                  </a:cubicBezTo>
                  <a:cubicBezTo>
                    <a:pt x="17311" y="6488"/>
                    <a:pt x="18421" y="4410"/>
                    <a:pt x="19518" y="2952"/>
                  </a:cubicBezTo>
                  <a:cubicBezTo>
                    <a:pt x="20595" y="1523"/>
                    <a:pt x="21370" y="126"/>
                    <a:pt x="21126" y="14"/>
                  </a:cubicBezTo>
                  <a:cubicBezTo>
                    <a:pt x="20930" y="-152"/>
                    <a:pt x="19172" y="1184"/>
                    <a:pt x="16963" y="2849"/>
                  </a:cubicBezTo>
                  <a:cubicBezTo>
                    <a:pt x="14812" y="4513"/>
                    <a:pt x="12489" y="6683"/>
                    <a:pt x="11841" y="7596"/>
                  </a:cubicBezTo>
                  <a:close/>
                  <a:moveTo>
                    <a:pt x="11841" y="75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3" name="AutoShape 1095"/>
            <p:cNvSpPr>
              <a:spLocks/>
            </p:cNvSpPr>
            <p:nvPr/>
          </p:nvSpPr>
          <p:spPr bwMode="auto">
            <a:xfrm>
              <a:off x="4330700" y="2159000"/>
              <a:ext cx="3175" cy="1588"/>
            </a:xfrm>
            <a:custGeom>
              <a:avLst/>
              <a:gdLst/>
              <a:ahLst/>
              <a:cxnLst/>
              <a:rect l="0" t="0" r="r" b="b"/>
              <a:pathLst>
                <a:path w="18893" h="19528">
                  <a:moveTo>
                    <a:pt x="14287" y="4"/>
                  </a:moveTo>
                  <a:cubicBezTo>
                    <a:pt x="11497" y="1783"/>
                    <a:pt x="6047" y="8028"/>
                    <a:pt x="1941" y="14028"/>
                  </a:cubicBezTo>
                  <a:cubicBezTo>
                    <a:pt x="-1827" y="20366"/>
                    <a:pt x="53" y="21400"/>
                    <a:pt x="6180" y="16222"/>
                  </a:cubicBezTo>
                  <a:cubicBezTo>
                    <a:pt x="12435" y="11181"/>
                    <a:pt x="18560" y="5012"/>
                    <a:pt x="18560" y="2198"/>
                  </a:cubicBezTo>
                  <a:cubicBezTo>
                    <a:pt x="19773" y="-200"/>
                    <a:pt x="17519" y="4"/>
                    <a:pt x="14287" y="4"/>
                  </a:cubicBezTo>
                  <a:close/>
                  <a:moveTo>
                    <a:pt x="14287" y="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4" name="AutoShape 1096"/>
            <p:cNvSpPr>
              <a:spLocks/>
            </p:cNvSpPr>
            <p:nvPr/>
          </p:nvSpPr>
          <p:spPr bwMode="auto">
            <a:xfrm>
              <a:off x="4330700" y="2171700"/>
              <a:ext cx="0" cy="1588"/>
            </a:xfrm>
            <a:custGeom>
              <a:avLst/>
              <a:gdLst/>
              <a:ahLst/>
              <a:cxnLst/>
              <a:rect l="0" t="0" r="r" b="b"/>
              <a:pathLst>
                <a:path w="19317" h="18965">
                  <a:moveTo>
                    <a:pt x="15731" y="1080"/>
                  </a:moveTo>
                  <a:cubicBezTo>
                    <a:pt x="11186" y="3627"/>
                    <a:pt x="5433" y="9158"/>
                    <a:pt x="1877" y="13169"/>
                  </a:cubicBezTo>
                  <a:cubicBezTo>
                    <a:pt x="-1319" y="17346"/>
                    <a:pt x="-249" y="20053"/>
                    <a:pt x="3695" y="18542"/>
                  </a:cubicBezTo>
                  <a:cubicBezTo>
                    <a:pt x="8160" y="17426"/>
                    <a:pt x="14149" y="11824"/>
                    <a:pt x="17705" y="6374"/>
                  </a:cubicBezTo>
                  <a:cubicBezTo>
                    <a:pt x="19983" y="772"/>
                    <a:pt x="20281" y="-1547"/>
                    <a:pt x="15731" y="1080"/>
                  </a:cubicBezTo>
                  <a:close/>
                  <a:moveTo>
                    <a:pt x="15731" y="10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5" name="AutoShape 1097"/>
            <p:cNvSpPr>
              <a:spLocks/>
            </p:cNvSpPr>
            <p:nvPr/>
          </p:nvSpPr>
          <p:spPr bwMode="auto">
            <a:xfrm>
              <a:off x="4495800" y="2108200"/>
              <a:ext cx="3175" cy="4763"/>
            </a:xfrm>
            <a:custGeom>
              <a:avLst/>
              <a:gdLst/>
              <a:ahLst/>
              <a:cxnLst/>
              <a:rect l="0" t="0" r="r" b="b"/>
              <a:pathLst>
                <a:path w="20233" h="19896">
                  <a:moveTo>
                    <a:pt x="2781" y="10923"/>
                  </a:moveTo>
                  <a:cubicBezTo>
                    <a:pt x="769" y="14454"/>
                    <a:pt x="0" y="18355"/>
                    <a:pt x="0" y="19588"/>
                  </a:cubicBezTo>
                  <a:cubicBezTo>
                    <a:pt x="1112" y="20476"/>
                    <a:pt x="3920" y="19415"/>
                    <a:pt x="7861" y="16726"/>
                  </a:cubicBezTo>
                  <a:cubicBezTo>
                    <a:pt x="11727" y="13913"/>
                    <a:pt x="16888" y="8429"/>
                    <a:pt x="19219" y="4444"/>
                  </a:cubicBezTo>
                  <a:cubicBezTo>
                    <a:pt x="21600" y="500"/>
                    <a:pt x="19643" y="-1124"/>
                    <a:pt x="14849" y="824"/>
                  </a:cubicBezTo>
                  <a:cubicBezTo>
                    <a:pt x="10220" y="2904"/>
                    <a:pt x="4553" y="7302"/>
                    <a:pt x="2781" y="10923"/>
                  </a:cubicBezTo>
                  <a:close/>
                  <a:moveTo>
                    <a:pt x="2781" y="109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6" name="AutoShape 1098"/>
            <p:cNvSpPr>
              <a:spLocks/>
            </p:cNvSpPr>
            <p:nvPr/>
          </p:nvSpPr>
          <p:spPr bwMode="auto">
            <a:xfrm>
              <a:off x="4330700" y="2184400"/>
              <a:ext cx="1588" cy="3175"/>
            </a:xfrm>
            <a:custGeom>
              <a:avLst/>
              <a:gdLst/>
              <a:ahLst/>
              <a:cxnLst/>
              <a:rect l="0" t="0" r="r" b="b"/>
              <a:pathLst>
                <a:path w="19760" h="19385">
                  <a:moveTo>
                    <a:pt x="10695" y="2217"/>
                  </a:moveTo>
                  <a:cubicBezTo>
                    <a:pt x="3709" y="6198"/>
                    <a:pt x="0" y="11933"/>
                    <a:pt x="0" y="14320"/>
                  </a:cubicBezTo>
                  <a:cubicBezTo>
                    <a:pt x="0" y="16777"/>
                    <a:pt x="4436" y="19164"/>
                    <a:pt x="8518" y="19385"/>
                  </a:cubicBezTo>
                  <a:cubicBezTo>
                    <a:pt x="12736" y="19087"/>
                    <a:pt x="17173" y="14245"/>
                    <a:pt x="19123" y="7205"/>
                  </a:cubicBezTo>
                  <a:cubicBezTo>
                    <a:pt x="21600" y="279"/>
                    <a:pt x="16445" y="-2215"/>
                    <a:pt x="10695" y="2217"/>
                  </a:cubicBezTo>
                  <a:close/>
                  <a:moveTo>
                    <a:pt x="10695" y="22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7" name="AutoShape 1099"/>
            <p:cNvSpPr>
              <a:spLocks/>
            </p:cNvSpPr>
            <p:nvPr/>
          </p:nvSpPr>
          <p:spPr bwMode="auto">
            <a:xfrm>
              <a:off x="4330700" y="2184400"/>
              <a:ext cx="6350" cy="9525"/>
            </a:xfrm>
            <a:custGeom>
              <a:avLst/>
              <a:gdLst/>
              <a:ahLst/>
              <a:cxnLst/>
              <a:rect l="0" t="0" r="r" b="b"/>
              <a:pathLst>
                <a:path w="20659" h="20682">
                  <a:moveTo>
                    <a:pt x="13032" y="5348"/>
                  </a:moveTo>
                  <a:cubicBezTo>
                    <a:pt x="11095" y="7280"/>
                    <a:pt x="9389" y="8437"/>
                    <a:pt x="9189" y="7864"/>
                  </a:cubicBezTo>
                  <a:cubicBezTo>
                    <a:pt x="9189" y="7280"/>
                    <a:pt x="7632" y="7814"/>
                    <a:pt x="5912" y="8832"/>
                  </a:cubicBezTo>
                  <a:cubicBezTo>
                    <a:pt x="4487" y="10077"/>
                    <a:pt x="1834" y="13040"/>
                    <a:pt x="1023" y="15862"/>
                  </a:cubicBezTo>
                  <a:cubicBezTo>
                    <a:pt x="-385" y="18557"/>
                    <a:pt x="-168" y="20960"/>
                    <a:pt x="644" y="20656"/>
                  </a:cubicBezTo>
                  <a:cubicBezTo>
                    <a:pt x="1522" y="20564"/>
                    <a:pt x="5114" y="17653"/>
                    <a:pt x="8744" y="14363"/>
                  </a:cubicBezTo>
                  <a:cubicBezTo>
                    <a:pt x="12520" y="11144"/>
                    <a:pt x="15088" y="7864"/>
                    <a:pt x="14922" y="7294"/>
                  </a:cubicBezTo>
                  <a:cubicBezTo>
                    <a:pt x="14922" y="6708"/>
                    <a:pt x="16526" y="4674"/>
                    <a:pt x="18664" y="2563"/>
                  </a:cubicBezTo>
                  <a:cubicBezTo>
                    <a:pt x="21018" y="581"/>
                    <a:pt x="21215" y="-640"/>
                    <a:pt x="19641" y="352"/>
                  </a:cubicBezTo>
                  <a:cubicBezTo>
                    <a:pt x="17772" y="935"/>
                    <a:pt x="14837" y="3351"/>
                    <a:pt x="13032" y="5348"/>
                  </a:cubicBezTo>
                  <a:close/>
                  <a:moveTo>
                    <a:pt x="13032" y="53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8" name="AutoShape 1100"/>
            <p:cNvSpPr>
              <a:spLocks/>
            </p:cNvSpPr>
            <p:nvPr/>
          </p:nvSpPr>
          <p:spPr bwMode="auto">
            <a:xfrm>
              <a:off x="4521200" y="2019300"/>
              <a:ext cx="1588" cy="3175"/>
            </a:xfrm>
            <a:custGeom>
              <a:avLst/>
              <a:gdLst/>
              <a:ahLst/>
              <a:cxnLst/>
              <a:rect l="0" t="0" r="r" b="b"/>
              <a:pathLst>
                <a:path w="20109" h="19830">
                  <a:moveTo>
                    <a:pt x="13827" y="3003"/>
                  </a:moveTo>
                  <a:cubicBezTo>
                    <a:pt x="9519" y="6172"/>
                    <a:pt x="4210" y="11351"/>
                    <a:pt x="2010" y="14370"/>
                  </a:cubicBezTo>
                  <a:cubicBezTo>
                    <a:pt x="-147" y="17478"/>
                    <a:pt x="-725" y="20036"/>
                    <a:pt x="1051" y="19699"/>
                  </a:cubicBezTo>
                  <a:cubicBezTo>
                    <a:pt x="2386" y="20647"/>
                    <a:pt x="7438" y="16254"/>
                    <a:pt x="11336" y="12330"/>
                  </a:cubicBezTo>
                  <a:cubicBezTo>
                    <a:pt x="15032" y="8275"/>
                    <a:pt x="19924" y="3433"/>
                    <a:pt x="19924" y="1206"/>
                  </a:cubicBezTo>
                  <a:cubicBezTo>
                    <a:pt x="20875" y="-953"/>
                    <a:pt x="18055" y="-130"/>
                    <a:pt x="13827" y="3003"/>
                  </a:cubicBezTo>
                  <a:close/>
                  <a:moveTo>
                    <a:pt x="13827" y="30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099" name="AutoShape 1101"/>
            <p:cNvSpPr>
              <a:spLocks/>
            </p:cNvSpPr>
            <p:nvPr/>
          </p:nvSpPr>
          <p:spPr bwMode="auto">
            <a:xfrm>
              <a:off x="4533900" y="1993900"/>
              <a:ext cx="74613" cy="82550"/>
            </a:xfrm>
            <a:custGeom>
              <a:avLst/>
              <a:gdLst/>
              <a:ahLst/>
              <a:cxnLst/>
              <a:rect l="0" t="0" r="r" b="b"/>
              <a:pathLst>
                <a:path w="21421" h="21398">
                  <a:moveTo>
                    <a:pt x="20633" y="289"/>
                  </a:moveTo>
                  <a:cubicBezTo>
                    <a:pt x="20047" y="677"/>
                    <a:pt x="18923" y="1470"/>
                    <a:pt x="18183" y="2109"/>
                  </a:cubicBezTo>
                  <a:cubicBezTo>
                    <a:pt x="17413" y="2703"/>
                    <a:pt x="16346" y="3763"/>
                    <a:pt x="15836" y="4449"/>
                  </a:cubicBezTo>
                  <a:cubicBezTo>
                    <a:pt x="15250" y="5088"/>
                    <a:pt x="14664" y="5994"/>
                    <a:pt x="14577" y="6438"/>
                  </a:cubicBezTo>
                  <a:cubicBezTo>
                    <a:pt x="14399" y="6858"/>
                    <a:pt x="14112" y="7208"/>
                    <a:pt x="13893" y="7286"/>
                  </a:cubicBezTo>
                  <a:cubicBezTo>
                    <a:pt x="13653" y="7272"/>
                    <a:pt x="13532" y="7050"/>
                    <a:pt x="13659" y="6692"/>
                  </a:cubicBezTo>
                  <a:cubicBezTo>
                    <a:pt x="13747" y="6328"/>
                    <a:pt x="13724" y="6062"/>
                    <a:pt x="13590" y="6123"/>
                  </a:cubicBezTo>
                  <a:cubicBezTo>
                    <a:pt x="13445" y="6091"/>
                    <a:pt x="13085" y="6534"/>
                    <a:pt x="12807" y="6951"/>
                  </a:cubicBezTo>
                  <a:cubicBezTo>
                    <a:pt x="12526" y="7362"/>
                    <a:pt x="12076" y="7782"/>
                    <a:pt x="11839" y="7926"/>
                  </a:cubicBezTo>
                  <a:cubicBezTo>
                    <a:pt x="11600" y="8064"/>
                    <a:pt x="11390" y="8341"/>
                    <a:pt x="11415" y="8561"/>
                  </a:cubicBezTo>
                  <a:cubicBezTo>
                    <a:pt x="11441" y="8783"/>
                    <a:pt x="11117" y="9256"/>
                    <a:pt x="10772" y="9647"/>
                  </a:cubicBezTo>
                  <a:cubicBezTo>
                    <a:pt x="10400" y="10016"/>
                    <a:pt x="9875" y="10426"/>
                    <a:pt x="9595" y="10563"/>
                  </a:cubicBezTo>
                  <a:cubicBezTo>
                    <a:pt x="9315" y="10699"/>
                    <a:pt x="8789" y="11111"/>
                    <a:pt x="8418" y="11481"/>
                  </a:cubicBezTo>
                  <a:cubicBezTo>
                    <a:pt x="8062" y="11861"/>
                    <a:pt x="7326" y="12357"/>
                    <a:pt x="6775" y="12547"/>
                  </a:cubicBezTo>
                  <a:cubicBezTo>
                    <a:pt x="6267" y="12807"/>
                    <a:pt x="5570" y="13095"/>
                    <a:pt x="5285" y="13292"/>
                  </a:cubicBezTo>
                  <a:cubicBezTo>
                    <a:pt x="5021" y="13507"/>
                    <a:pt x="4605" y="13699"/>
                    <a:pt x="4402" y="13761"/>
                  </a:cubicBezTo>
                  <a:cubicBezTo>
                    <a:pt x="4195" y="13801"/>
                    <a:pt x="3166" y="14512"/>
                    <a:pt x="2146" y="15339"/>
                  </a:cubicBezTo>
                  <a:cubicBezTo>
                    <a:pt x="1115" y="16157"/>
                    <a:pt x="146" y="17048"/>
                    <a:pt x="70" y="17349"/>
                  </a:cubicBezTo>
                  <a:cubicBezTo>
                    <a:pt x="-61" y="17639"/>
                    <a:pt x="17" y="18087"/>
                    <a:pt x="93" y="18361"/>
                  </a:cubicBezTo>
                  <a:cubicBezTo>
                    <a:pt x="212" y="18626"/>
                    <a:pt x="633" y="18586"/>
                    <a:pt x="1031" y="18285"/>
                  </a:cubicBezTo>
                  <a:cubicBezTo>
                    <a:pt x="1435" y="17981"/>
                    <a:pt x="1863" y="17594"/>
                    <a:pt x="1803" y="17449"/>
                  </a:cubicBezTo>
                  <a:cubicBezTo>
                    <a:pt x="1856" y="17300"/>
                    <a:pt x="2067" y="16948"/>
                    <a:pt x="2278" y="16651"/>
                  </a:cubicBezTo>
                  <a:cubicBezTo>
                    <a:pt x="2491" y="16355"/>
                    <a:pt x="2849" y="16235"/>
                    <a:pt x="3044" y="16333"/>
                  </a:cubicBezTo>
                  <a:cubicBezTo>
                    <a:pt x="3244" y="16422"/>
                    <a:pt x="3084" y="16946"/>
                    <a:pt x="2704" y="17455"/>
                  </a:cubicBezTo>
                  <a:cubicBezTo>
                    <a:pt x="2330" y="17968"/>
                    <a:pt x="2214" y="18461"/>
                    <a:pt x="2435" y="18585"/>
                  </a:cubicBezTo>
                  <a:cubicBezTo>
                    <a:pt x="2679" y="18666"/>
                    <a:pt x="3168" y="18437"/>
                    <a:pt x="3557" y="18010"/>
                  </a:cubicBezTo>
                  <a:cubicBezTo>
                    <a:pt x="3943" y="17582"/>
                    <a:pt x="4283" y="17362"/>
                    <a:pt x="4283" y="17518"/>
                  </a:cubicBezTo>
                  <a:cubicBezTo>
                    <a:pt x="4283" y="17674"/>
                    <a:pt x="4056" y="18076"/>
                    <a:pt x="3786" y="18430"/>
                  </a:cubicBezTo>
                  <a:cubicBezTo>
                    <a:pt x="3460" y="18745"/>
                    <a:pt x="3410" y="19260"/>
                    <a:pt x="3589" y="19502"/>
                  </a:cubicBezTo>
                  <a:cubicBezTo>
                    <a:pt x="3761" y="19754"/>
                    <a:pt x="4159" y="19861"/>
                    <a:pt x="4460" y="19805"/>
                  </a:cubicBezTo>
                  <a:cubicBezTo>
                    <a:pt x="4750" y="19707"/>
                    <a:pt x="4963" y="19995"/>
                    <a:pt x="4862" y="20392"/>
                  </a:cubicBezTo>
                  <a:cubicBezTo>
                    <a:pt x="4787" y="20794"/>
                    <a:pt x="4839" y="21219"/>
                    <a:pt x="4913" y="21374"/>
                  </a:cubicBezTo>
                  <a:cubicBezTo>
                    <a:pt x="5051" y="21485"/>
                    <a:pt x="5547" y="21203"/>
                    <a:pt x="6026" y="20642"/>
                  </a:cubicBezTo>
                  <a:cubicBezTo>
                    <a:pt x="6554" y="20124"/>
                    <a:pt x="6832" y="19913"/>
                    <a:pt x="6689" y="20216"/>
                  </a:cubicBezTo>
                  <a:cubicBezTo>
                    <a:pt x="6575" y="20525"/>
                    <a:pt x="6653" y="20902"/>
                    <a:pt x="6938" y="21051"/>
                  </a:cubicBezTo>
                  <a:cubicBezTo>
                    <a:pt x="7168" y="21260"/>
                    <a:pt x="7665" y="21219"/>
                    <a:pt x="7945" y="21082"/>
                  </a:cubicBezTo>
                  <a:cubicBezTo>
                    <a:pt x="8216" y="20936"/>
                    <a:pt x="8719" y="20692"/>
                    <a:pt x="9069" y="20556"/>
                  </a:cubicBezTo>
                  <a:cubicBezTo>
                    <a:pt x="9418" y="20417"/>
                    <a:pt x="10138" y="19870"/>
                    <a:pt x="10694" y="19373"/>
                  </a:cubicBezTo>
                  <a:cubicBezTo>
                    <a:pt x="11229" y="18856"/>
                    <a:pt x="11930" y="18319"/>
                    <a:pt x="12227" y="18160"/>
                  </a:cubicBezTo>
                  <a:cubicBezTo>
                    <a:pt x="12514" y="17995"/>
                    <a:pt x="13211" y="17461"/>
                    <a:pt x="13806" y="17000"/>
                  </a:cubicBezTo>
                  <a:cubicBezTo>
                    <a:pt x="14369" y="16507"/>
                    <a:pt x="14871" y="16298"/>
                    <a:pt x="14894" y="16499"/>
                  </a:cubicBezTo>
                  <a:cubicBezTo>
                    <a:pt x="14960" y="16688"/>
                    <a:pt x="15135" y="16662"/>
                    <a:pt x="15392" y="16423"/>
                  </a:cubicBezTo>
                  <a:cubicBezTo>
                    <a:pt x="15661" y="16205"/>
                    <a:pt x="16404" y="15542"/>
                    <a:pt x="17100" y="15013"/>
                  </a:cubicBezTo>
                  <a:cubicBezTo>
                    <a:pt x="17795" y="14479"/>
                    <a:pt x="18443" y="13805"/>
                    <a:pt x="18624" y="13563"/>
                  </a:cubicBezTo>
                  <a:cubicBezTo>
                    <a:pt x="18762" y="13300"/>
                    <a:pt x="18463" y="13341"/>
                    <a:pt x="17976" y="13686"/>
                  </a:cubicBezTo>
                  <a:cubicBezTo>
                    <a:pt x="17473" y="14018"/>
                    <a:pt x="17022" y="14141"/>
                    <a:pt x="16963" y="13970"/>
                  </a:cubicBezTo>
                  <a:cubicBezTo>
                    <a:pt x="16941" y="13793"/>
                    <a:pt x="17486" y="12961"/>
                    <a:pt x="18224" y="12095"/>
                  </a:cubicBezTo>
                  <a:cubicBezTo>
                    <a:pt x="18994" y="11259"/>
                    <a:pt x="19815" y="10241"/>
                    <a:pt x="20089" y="9871"/>
                  </a:cubicBezTo>
                  <a:cubicBezTo>
                    <a:pt x="20367" y="9501"/>
                    <a:pt x="20153" y="9512"/>
                    <a:pt x="19636" y="9918"/>
                  </a:cubicBezTo>
                  <a:cubicBezTo>
                    <a:pt x="19116" y="10314"/>
                    <a:pt x="18252" y="11122"/>
                    <a:pt x="17730" y="11720"/>
                  </a:cubicBezTo>
                  <a:cubicBezTo>
                    <a:pt x="17206" y="12316"/>
                    <a:pt x="16896" y="12560"/>
                    <a:pt x="17041" y="12260"/>
                  </a:cubicBezTo>
                  <a:cubicBezTo>
                    <a:pt x="17171" y="11959"/>
                    <a:pt x="17891" y="11021"/>
                    <a:pt x="18533" y="10113"/>
                  </a:cubicBezTo>
                  <a:cubicBezTo>
                    <a:pt x="19219" y="9240"/>
                    <a:pt x="20146" y="7704"/>
                    <a:pt x="20510" y="6680"/>
                  </a:cubicBezTo>
                  <a:cubicBezTo>
                    <a:pt x="20937" y="5682"/>
                    <a:pt x="20985" y="4774"/>
                    <a:pt x="20645" y="4706"/>
                  </a:cubicBezTo>
                  <a:cubicBezTo>
                    <a:pt x="20318" y="4608"/>
                    <a:pt x="20176" y="4278"/>
                    <a:pt x="20371" y="3956"/>
                  </a:cubicBezTo>
                  <a:cubicBezTo>
                    <a:pt x="20555" y="3628"/>
                    <a:pt x="20465" y="3432"/>
                    <a:pt x="20196" y="3552"/>
                  </a:cubicBezTo>
                  <a:cubicBezTo>
                    <a:pt x="19912" y="3630"/>
                    <a:pt x="19286" y="4097"/>
                    <a:pt x="18836" y="4571"/>
                  </a:cubicBezTo>
                  <a:cubicBezTo>
                    <a:pt x="18358" y="5019"/>
                    <a:pt x="18164" y="5080"/>
                    <a:pt x="18404" y="4696"/>
                  </a:cubicBezTo>
                  <a:cubicBezTo>
                    <a:pt x="18645" y="4314"/>
                    <a:pt x="19151" y="3737"/>
                    <a:pt x="19523" y="3405"/>
                  </a:cubicBezTo>
                  <a:cubicBezTo>
                    <a:pt x="19920" y="3094"/>
                    <a:pt x="20235" y="2603"/>
                    <a:pt x="20259" y="2346"/>
                  </a:cubicBezTo>
                  <a:cubicBezTo>
                    <a:pt x="20311" y="2096"/>
                    <a:pt x="20463" y="1655"/>
                    <a:pt x="20661" y="1378"/>
                  </a:cubicBezTo>
                  <a:cubicBezTo>
                    <a:pt x="20836" y="1089"/>
                    <a:pt x="21160" y="579"/>
                    <a:pt x="21374" y="242"/>
                  </a:cubicBezTo>
                  <a:cubicBezTo>
                    <a:pt x="21539" y="-115"/>
                    <a:pt x="21252" y="-59"/>
                    <a:pt x="20633" y="289"/>
                  </a:cubicBezTo>
                  <a:close/>
                  <a:moveTo>
                    <a:pt x="20633" y="2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0" name="AutoShape 1102"/>
            <p:cNvSpPr>
              <a:spLocks/>
            </p:cNvSpPr>
            <p:nvPr/>
          </p:nvSpPr>
          <p:spPr bwMode="auto">
            <a:xfrm>
              <a:off x="4584700" y="1955800"/>
              <a:ext cx="7938" cy="12700"/>
            </a:xfrm>
            <a:custGeom>
              <a:avLst/>
              <a:gdLst/>
              <a:ahLst/>
              <a:cxnLst/>
              <a:rect l="0" t="0" r="r" b="b"/>
              <a:pathLst>
                <a:path w="21159" h="20831">
                  <a:moveTo>
                    <a:pt x="21159" y="138"/>
                  </a:moveTo>
                  <a:cubicBezTo>
                    <a:pt x="20620" y="-258"/>
                    <a:pt x="18623" y="227"/>
                    <a:pt x="16284" y="1227"/>
                  </a:cubicBezTo>
                  <a:cubicBezTo>
                    <a:pt x="14120" y="2337"/>
                    <a:pt x="9830" y="5162"/>
                    <a:pt x="7134" y="7717"/>
                  </a:cubicBezTo>
                  <a:cubicBezTo>
                    <a:pt x="4518" y="10315"/>
                    <a:pt x="2404" y="12632"/>
                    <a:pt x="2860" y="12979"/>
                  </a:cubicBezTo>
                  <a:cubicBezTo>
                    <a:pt x="3379" y="13296"/>
                    <a:pt x="2192" y="15357"/>
                    <a:pt x="1006" y="17636"/>
                  </a:cubicBezTo>
                  <a:cubicBezTo>
                    <a:pt x="-441" y="19846"/>
                    <a:pt x="-261" y="21342"/>
                    <a:pt x="1120" y="20668"/>
                  </a:cubicBezTo>
                  <a:cubicBezTo>
                    <a:pt x="2698" y="20183"/>
                    <a:pt x="5636" y="18103"/>
                    <a:pt x="7457" y="16051"/>
                  </a:cubicBezTo>
                  <a:cubicBezTo>
                    <a:pt x="9361" y="14020"/>
                    <a:pt x="13049" y="10958"/>
                    <a:pt x="15794" y="9422"/>
                  </a:cubicBezTo>
                  <a:cubicBezTo>
                    <a:pt x="18297" y="7707"/>
                    <a:pt x="20134" y="5944"/>
                    <a:pt x="19368" y="5459"/>
                  </a:cubicBezTo>
                  <a:cubicBezTo>
                    <a:pt x="18640" y="4953"/>
                    <a:pt x="18996" y="3665"/>
                    <a:pt x="20020" y="2715"/>
                  </a:cubicBezTo>
                  <a:cubicBezTo>
                    <a:pt x="21159" y="1783"/>
                    <a:pt x="20946" y="633"/>
                    <a:pt x="21159" y="138"/>
                  </a:cubicBezTo>
                  <a:close/>
                  <a:moveTo>
                    <a:pt x="21159" y="1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1" name="AutoShape 1103"/>
            <p:cNvSpPr>
              <a:spLocks/>
            </p:cNvSpPr>
            <p:nvPr/>
          </p:nvSpPr>
          <p:spPr bwMode="auto">
            <a:xfrm>
              <a:off x="4521200" y="2044700"/>
              <a:ext cx="7938" cy="11113"/>
            </a:xfrm>
            <a:custGeom>
              <a:avLst/>
              <a:gdLst/>
              <a:ahLst/>
              <a:cxnLst/>
              <a:rect l="0" t="0" r="r" b="b"/>
              <a:pathLst>
                <a:path w="21198" h="20734">
                  <a:moveTo>
                    <a:pt x="18175" y="423"/>
                  </a:moveTo>
                  <a:cubicBezTo>
                    <a:pt x="16639" y="1167"/>
                    <a:pt x="11527" y="4779"/>
                    <a:pt x="7509" y="8772"/>
                  </a:cubicBezTo>
                  <a:cubicBezTo>
                    <a:pt x="3250" y="12613"/>
                    <a:pt x="483" y="15916"/>
                    <a:pt x="483" y="16466"/>
                  </a:cubicBezTo>
                  <a:cubicBezTo>
                    <a:pt x="1115" y="16793"/>
                    <a:pt x="752" y="18269"/>
                    <a:pt x="182" y="19571"/>
                  </a:cubicBezTo>
                  <a:cubicBezTo>
                    <a:pt x="-402" y="20842"/>
                    <a:pt x="451" y="21093"/>
                    <a:pt x="2301" y="20217"/>
                  </a:cubicBezTo>
                  <a:cubicBezTo>
                    <a:pt x="4029" y="19276"/>
                    <a:pt x="7032" y="16968"/>
                    <a:pt x="8806" y="14978"/>
                  </a:cubicBezTo>
                  <a:cubicBezTo>
                    <a:pt x="10895" y="13138"/>
                    <a:pt x="14124" y="9756"/>
                    <a:pt x="16781" y="7854"/>
                  </a:cubicBezTo>
                  <a:cubicBezTo>
                    <a:pt x="19251" y="5884"/>
                    <a:pt x="21198" y="3137"/>
                    <a:pt x="21198" y="1660"/>
                  </a:cubicBezTo>
                  <a:cubicBezTo>
                    <a:pt x="20942" y="183"/>
                    <a:pt x="19536" y="-507"/>
                    <a:pt x="18175" y="423"/>
                  </a:cubicBezTo>
                  <a:close/>
                  <a:moveTo>
                    <a:pt x="18175" y="4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2" name="AutoShape 1104"/>
            <p:cNvSpPr>
              <a:spLocks/>
            </p:cNvSpPr>
            <p:nvPr/>
          </p:nvSpPr>
          <p:spPr bwMode="auto">
            <a:xfrm>
              <a:off x="4521200" y="2032000"/>
              <a:ext cx="9525" cy="12700"/>
            </a:xfrm>
            <a:custGeom>
              <a:avLst/>
              <a:gdLst/>
              <a:ahLst/>
              <a:cxnLst/>
              <a:rect l="0" t="0" r="r" b="b"/>
              <a:pathLst>
                <a:path w="21074" h="21197">
                  <a:moveTo>
                    <a:pt x="10154" y="15288"/>
                  </a:moveTo>
                  <a:cubicBezTo>
                    <a:pt x="11112" y="15189"/>
                    <a:pt x="13346" y="13598"/>
                    <a:pt x="15171" y="12018"/>
                  </a:cubicBezTo>
                  <a:cubicBezTo>
                    <a:pt x="16958" y="10427"/>
                    <a:pt x="19162" y="8268"/>
                    <a:pt x="19918" y="7158"/>
                  </a:cubicBezTo>
                  <a:cubicBezTo>
                    <a:pt x="20542" y="5990"/>
                    <a:pt x="20785" y="4861"/>
                    <a:pt x="20176" y="4419"/>
                  </a:cubicBezTo>
                  <a:cubicBezTo>
                    <a:pt x="19581" y="3987"/>
                    <a:pt x="19581" y="2593"/>
                    <a:pt x="20636" y="1375"/>
                  </a:cubicBezTo>
                  <a:cubicBezTo>
                    <a:pt x="21339" y="19"/>
                    <a:pt x="21284" y="-284"/>
                    <a:pt x="19811" y="247"/>
                  </a:cubicBezTo>
                  <a:cubicBezTo>
                    <a:pt x="18390" y="826"/>
                    <a:pt x="16051" y="2672"/>
                    <a:pt x="14359" y="4124"/>
                  </a:cubicBezTo>
                  <a:cubicBezTo>
                    <a:pt x="12697" y="5608"/>
                    <a:pt x="11680" y="7512"/>
                    <a:pt x="12032" y="8356"/>
                  </a:cubicBezTo>
                  <a:cubicBezTo>
                    <a:pt x="12492" y="9181"/>
                    <a:pt x="11046" y="10840"/>
                    <a:pt x="8949" y="11920"/>
                  </a:cubicBezTo>
                  <a:cubicBezTo>
                    <a:pt x="6988" y="13098"/>
                    <a:pt x="4121" y="14994"/>
                    <a:pt x="2863" y="16349"/>
                  </a:cubicBezTo>
                  <a:cubicBezTo>
                    <a:pt x="1620" y="17703"/>
                    <a:pt x="119" y="19371"/>
                    <a:pt x="119" y="20137"/>
                  </a:cubicBezTo>
                  <a:cubicBezTo>
                    <a:pt x="-261" y="20883"/>
                    <a:pt x="321" y="21316"/>
                    <a:pt x="1146" y="21169"/>
                  </a:cubicBezTo>
                  <a:cubicBezTo>
                    <a:pt x="1889" y="20894"/>
                    <a:pt x="3811" y="19589"/>
                    <a:pt x="5528" y="18253"/>
                  </a:cubicBezTo>
                  <a:cubicBezTo>
                    <a:pt x="7218" y="16878"/>
                    <a:pt x="9370" y="15710"/>
                    <a:pt x="10154" y="15288"/>
                  </a:cubicBezTo>
                  <a:close/>
                  <a:moveTo>
                    <a:pt x="10154" y="152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3" name="AutoShape 1105"/>
            <p:cNvSpPr>
              <a:spLocks/>
            </p:cNvSpPr>
            <p:nvPr/>
          </p:nvSpPr>
          <p:spPr bwMode="auto">
            <a:xfrm>
              <a:off x="4508500" y="2057400"/>
              <a:ext cx="14288" cy="19050"/>
            </a:xfrm>
            <a:custGeom>
              <a:avLst/>
              <a:gdLst/>
              <a:ahLst/>
              <a:cxnLst/>
              <a:rect l="0" t="0" r="r" b="b"/>
              <a:pathLst>
                <a:path w="21330" h="21283">
                  <a:moveTo>
                    <a:pt x="16185" y="2364"/>
                  </a:moveTo>
                  <a:cubicBezTo>
                    <a:pt x="14914" y="3385"/>
                    <a:pt x="13422" y="4937"/>
                    <a:pt x="12874" y="5842"/>
                  </a:cubicBezTo>
                  <a:cubicBezTo>
                    <a:pt x="12433" y="6766"/>
                    <a:pt x="9519" y="9520"/>
                    <a:pt x="6623" y="12016"/>
                  </a:cubicBezTo>
                  <a:cubicBezTo>
                    <a:pt x="3762" y="14524"/>
                    <a:pt x="1025" y="17188"/>
                    <a:pt x="486" y="17905"/>
                  </a:cubicBezTo>
                  <a:cubicBezTo>
                    <a:pt x="-9" y="18630"/>
                    <a:pt x="0" y="19890"/>
                    <a:pt x="0" y="20704"/>
                  </a:cubicBezTo>
                  <a:cubicBezTo>
                    <a:pt x="239" y="21520"/>
                    <a:pt x="1378" y="21494"/>
                    <a:pt x="2385" y="20498"/>
                  </a:cubicBezTo>
                  <a:cubicBezTo>
                    <a:pt x="3586" y="19625"/>
                    <a:pt x="4980" y="18067"/>
                    <a:pt x="5828" y="17233"/>
                  </a:cubicBezTo>
                  <a:cubicBezTo>
                    <a:pt x="6570" y="16360"/>
                    <a:pt x="9017" y="14602"/>
                    <a:pt x="11064" y="13205"/>
                  </a:cubicBezTo>
                  <a:cubicBezTo>
                    <a:pt x="13238" y="11913"/>
                    <a:pt x="16601" y="9437"/>
                    <a:pt x="18305" y="7659"/>
                  </a:cubicBezTo>
                  <a:cubicBezTo>
                    <a:pt x="20319" y="6055"/>
                    <a:pt x="21334" y="4077"/>
                    <a:pt x="20954" y="3430"/>
                  </a:cubicBezTo>
                  <a:cubicBezTo>
                    <a:pt x="20550" y="2790"/>
                    <a:pt x="20636" y="1665"/>
                    <a:pt x="21104" y="909"/>
                  </a:cubicBezTo>
                  <a:cubicBezTo>
                    <a:pt x="21591" y="146"/>
                    <a:pt x="21281" y="-80"/>
                    <a:pt x="20249" y="23"/>
                  </a:cubicBezTo>
                  <a:cubicBezTo>
                    <a:pt x="19321" y="328"/>
                    <a:pt x="17484" y="1362"/>
                    <a:pt x="16185" y="2364"/>
                  </a:cubicBezTo>
                  <a:close/>
                  <a:moveTo>
                    <a:pt x="16185" y="23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4" name="AutoShape 1106"/>
            <p:cNvSpPr>
              <a:spLocks/>
            </p:cNvSpPr>
            <p:nvPr/>
          </p:nvSpPr>
          <p:spPr bwMode="auto">
            <a:xfrm>
              <a:off x="4610100" y="2006600"/>
              <a:ext cx="4763" cy="7938"/>
            </a:xfrm>
            <a:custGeom>
              <a:avLst/>
              <a:gdLst/>
              <a:ahLst/>
              <a:cxnLst/>
              <a:rect l="0" t="0" r="r" b="b"/>
              <a:pathLst>
                <a:path w="20721" h="20877">
                  <a:moveTo>
                    <a:pt x="12284" y="13428"/>
                  </a:moveTo>
                  <a:cubicBezTo>
                    <a:pt x="17047" y="9523"/>
                    <a:pt x="20426" y="4254"/>
                    <a:pt x="20721" y="1764"/>
                  </a:cubicBezTo>
                  <a:cubicBezTo>
                    <a:pt x="20426" y="-723"/>
                    <a:pt x="18087" y="-498"/>
                    <a:pt x="14408" y="1919"/>
                  </a:cubicBezTo>
                  <a:cubicBezTo>
                    <a:pt x="11155" y="4576"/>
                    <a:pt x="6030" y="9958"/>
                    <a:pt x="3058" y="13921"/>
                  </a:cubicBezTo>
                  <a:cubicBezTo>
                    <a:pt x="249" y="17967"/>
                    <a:pt x="-879" y="20877"/>
                    <a:pt x="758" y="20877"/>
                  </a:cubicBezTo>
                  <a:cubicBezTo>
                    <a:pt x="2313" y="20581"/>
                    <a:pt x="7499" y="17322"/>
                    <a:pt x="12284" y="13428"/>
                  </a:cubicBezTo>
                  <a:close/>
                  <a:moveTo>
                    <a:pt x="12284" y="134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5" name="AutoShape 1107"/>
            <p:cNvSpPr>
              <a:spLocks/>
            </p:cNvSpPr>
            <p:nvPr/>
          </p:nvSpPr>
          <p:spPr bwMode="auto">
            <a:xfrm>
              <a:off x="4940300" y="1562100"/>
              <a:ext cx="7938" cy="4763"/>
            </a:xfrm>
            <a:custGeom>
              <a:avLst/>
              <a:gdLst/>
              <a:ahLst/>
              <a:cxnLst/>
              <a:rect l="0" t="0" r="r" b="b"/>
              <a:pathLst>
                <a:path w="19814" h="20756">
                  <a:moveTo>
                    <a:pt x="19003" y="2370"/>
                  </a:moveTo>
                  <a:cubicBezTo>
                    <a:pt x="20912" y="-821"/>
                    <a:pt x="19343" y="-844"/>
                    <a:pt x="15453" y="2635"/>
                  </a:cubicBezTo>
                  <a:cubicBezTo>
                    <a:pt x="11487" y="5804"/>
                    <a:pt x="6106" y="11400"/>
                    <a:pt x="3317" y="14677"/>
                  </a:cubicBezTo>
                  <a:cubicBezTo>
                    <a:pt x="593" y="18110"/>
                    <a:pt x="-688" y="20317"/>
                    <a:pt x="371" y="20756"/>
                  </a:cubicBezTo>
                  <a:cubicBezTo>
                    <a:pt x="1497" y="20362"/>
                    <a:pt x="5411" y="17998"/>
                    <a:pt x="8895" y="14350"/>
                  </a:cubicBezTo>
                  <a:cubicBezTo>
                    <a:pt x="12469" y="11006"/>
                    <a:pt x="16947" y="5473"/>
                    <a:pt x="19003" y="2370"/>
                  </a:cubicBezTo>
                  <a:close/>
                  <a:moveTo>
                    <a:pt x="19003" y="23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6" name="AutoShape 1108"/>
            <p:cNvSpPr>
              <a:spLocks/>
            </p:cNvSpPr>
            <p:nvPr/>
          </p:nvSpPr>
          <p:spPr bwMode="auto">
            <a:xfrm>
              <a:off x="5143500" y="1485900"/>
              <a:ext cx="23813" cy="19050"/>
            </a:xfrm>
            <a:custGeom>
              <a:avLst/>
              <a:gdLst/>
              <a:ahLst/>
              <a:cxnLst/>
              <a:rect l="0" t="0" r="r" b="b"/>
              <a:pathLst>
                <a:path w="21300" h="21410">
                  <a:moveTo>
                    <a:pt x="21202" y="1038"/>
                  </a:moveTo>
                  <a:cubicBezTo>
                    <a:pt x="20992" y="593"/>
                    <a:pt x="19982" y="627"/>
                    <a:pt x="19040" y="1093"/>
                  </a:cubicBezTo>
                  <a:cubicBezTo>
                    <a:pt x="18110" y="1592"/>
                    <a:pt x="17189" y="1346"/>
                    <a:pt x="17110" y="641"/>
                  </a:cubicBezTo>
                  <a:cubicBezTo>
                    <a:pt x="17079" y="-71"/>
                    <a:pt x="16195" y="-147"/>
                    <a:pt x="15269" y="202"/>
                  </a:cubicBezTo>
                  <a:cubicBezTo>
                    <a:pt x="14407" y="736"/>
                    <a:pt x="12230" y="2147"/>
                    <a:pt x="10546" y="3639"/>
                  </a:cubicBezTo>
                  <a:cubicBezTo>
                    <a:pt x="8879" y="5146"/>
                    <a:pt x="6859" y="7125"/>
                    <a:pt x="6233" y="8267"/>
                  </a:cubicBezTo>
                  <a:cubicBezTo>
                    <a:pt x="5476" y="9295"/>
                    <a:pt x="4162" y="11259"/>
                    <a:pt x="3210" y="12554"/>
                  </a:cubicBezTo>
                  <a:cubicBezTo>
                    <a:pt x="2221" y="13793"/>
                    <a:pt x="1353" y="15525"/>
                    <a:pt x="1196" y="16353"/>
                  </a:cubicBezTo>
                  <a:cubicBezTo>
                    <a:pt x="1042" y="17182"/>
                    <a:pt x="575" y="18503"/>
                    <a:pt x="259" y="19379"/>
                  </a:cubicBezTo>
                  <a:cubicBezTo>
                    <a:pt x="-193" y="20166"/>
                    <a:pt x="-5" y="21002"/>
                    <a:pt x="442" y="21398"/>
                  </a:cubicBezTo>
                  <a:cubicBezTo>
                    <a:pt x="990" y="21453"/>
                    <a:pt x="2458" y="21324"/>
                    <a:pt x="3835" y="20666"/>
                  </a:cubicBezTo>
                  <a:cubicBezTo>
                    <a:pt x="5187" y="19906"/>
                    <a:pt x="7622" y="18408"/>
                    <a:pt x="9242" y="17277"/>
                  </a:cubicBezTo>
                  <a:cubicBezTo>
                    <a:pt x="10836" y="16066"/>
                    <a:pt x="13886" y="13197"/>
                    <a:pt x="16006" y="10849"/>
                  </a:cubicBezTo>
                  <a:cubicBezTo>
                    <a:pt x="18120" y="8486"/>
                    <a:pt x="20161" y="5968"/>
                    <a:pt x="20629" y="5344"/>
                  </a:cubicBezTo>
                  <a:cubicBezTo>
                    <a:pt x="21091" y="4700"/>
                    <a:pt x="21144" y="4057"/>
                    <a:pt x="20813" y="3926"/>
                  </a:cubicBezTo>
                  <a:cubicBezTo>
                    <a:pt x="20493" y="3748"/>
                    <a:pt x="20518" y="3270"/>
                    <a:pt x="20934" y="2762"/>
                  </a:cubicBezTo>
                  <a:cubicBezTo>
                    <a:pt x="21276" y="2202"/>
                    <a:pt x="21407" y="1503"/>
                    <a:pt x="21202" y="1038"/>
                  </a:cubicBezTo>
                  <a:close/>
                  <a:moveTo>
                    <a:pt x="21202" y="10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7" name="AutoShape 1109"/>
            <p:cNvSpPr>
              <a:spLocks/>
            </p:cNvSpPr>
            <p:nvPr/>
          </p:nvSpPr>
          <p:spPr bwMode="auto">
            <a:xfrm>
              <a:off x="4699000" y="1981200"/>
              <a:ext cx="4763" cy="7938"/>
            </a:xfrm>
            <a:custGeom>
              <a:avLst/>
              <a:gdLst/>
              <a:ahLst/>
              <a:cxnLst/>
              <a:rect l="0" t="0" r="r" b="b"/>
              <a:pathLst>
                <a:path w="20340" h="21024">
                  <a:moveTo>
                    <a:pt x="15052" y="758"/>
                  </a:moveTo>
                  <a:cubicBezTo>
                    <a:pt x="12998" y="1468"/>
                    <a:pt x="9177" y="4531"/>
                    <a:pt x="5583" y="6888"/>
                  </a:cubicBezTo>
                  <a:cubicBezTo>
                    <a:pt x="2161" y="9315"/>
                    <a:pt x="642" y="11983"/>
                    <a:pt x="1555" y="12991"/>
                  </a:cubicBezTo>
                  <a:cubicBezTo>
                    <a:pt x="3001" y="13814"/>
                    <a:pt x="2240" y="15758"/>
                    <a:pt x="1404" y="17304"/>
                  </a:cubicBezTo>
                  <a:cubicBezTo>
                    <a:pt x="138" y="18737"/>
                    <a:pt x="-447" y="20426"/>
                    <a:pt x="393" y="20894"/>
                  </a:cubicBezTo>
                  <a:cubicBezTo>
                    <a:pt x="1229" y="21350"/>
                    <a:pt x="3732" y="20583"/>
                    <a:pt x="6112" y="19008"/>
                  </a:cubicBezTo>
                  <a:cubicBezTo>
                    <a:pt x="8771" y="17615"/>
                    <a:pt x="13200" y="13003"/>
                    <a:pt x="15984" y="8960"/>
                  </a:cubicBezTo>
                  <a:cubicBezTo>
                    <a:pt x="19454" y="5101"/>
                    <a:pt x="21153" y="970"/>
                    <a:pt x="19962" y="404"/>
                  </a:cubicBezTo>
                  <a:cubicBezTo>
                    <a:pt x="18950" y="-250"/>
                    <a:pt x="17026" y="-93"/>
                    <a:pt x="15052" y="758"/>
                  </a:cubicBezTo>
                  <a:close/>
                  <a:moveTo>
                    <a:pt x="15052" y="7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8" name="AutoShape 1110"/>
            <p:cNvSpPr>
              <a:spLocks/>
            </p:cNvSpPr>
            <p:nvPr/>
          </p:nvSpPr>
          <p:spPr bwMode="auto">
            <a:xfrm>
              <a:off x="4699000" y="1955800"/>
              <a:ext cx="6350" cy="4763"/>
            </a:xfrm>
            <a:custGeom>
              <a:avLst/>
              <a:gdLst/>
              <a:ahLst/>
              <a:cxnLst/>
              <a:rect l="0" t="0" r="r" b="b"/>
              <a:pathLst>
                <a:path w="21097" h="20641">
                  <a:moveTo>
                    <a:pt x="13612" y="2209"/>
                  </a:moveTo>
                  <a:cubicBezTo>
                    <a:pt x="10833" y="3711"/>
                    <a:pt x="6519" y="7513"/>
                    <a:pt x="4180" y="10787"/>
                  </a:cubicBezTo>
                  <a:cubicBezTo>
                    <a:pt x="1632" y="13845"/>
                    <a:pt x="-94" y="17956"/>
                    <a:pt x="4" y="19673"/>
                  </a:cubicBezTo>
                  <a:cubicBezTo>
                    <a:pt x="177" y="21347"/>
                    <a:pt x="2072" y="20652"/>
                    <a:pt x="4718" y="19101"/>
                  </a:cubicBezTo>
                  <a:cubicBezTo>
                    <a:pt x="6999" y="16757"/>
                    <a:pt x="10696" y="14702"/>
                    <a:pt x="12462" y="13483"/>
                  </a:cubicBezTo>
                  <a:cubicBezTo>
                    <a:pt x="14358" y="12695"/>
                    <a:pt x="17079" y="8824"/>
                    <a:pt x="19244" y="6103"/>
                  </a:cubicBezTo>
                  <a:cubicBezTo>
                    <a:pt x="21144" y="3138"/>
                    <a:pt x="21506" y="1083"/>
                    <a:pt x="20682" y="55"/>
                  </a:cubicBezTo>
                  <a:cubicBezTo>
                    <a:pt x="19551" y="-253"/>
                    <a:pt x="16407" y="774"/>
                    <a:pt x="13612" y="2209"/>
                  </a:cubicBezTo>
                  <a:close/>
                  <a:moveTo>
                    <a:pt x="13612" y="22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09" name="AutoShape 1111"/>
            <p:cNvSpPr>
              <a:spLocks/>
            </p:cNvSpPr>
            <p:nvPr/>
          </p:nvSpPr>
          <p:spPr bwMode="auto">
            <a:xfrm>
              <a:off x="5105400" y="1422400"/>
              <a:ext cx="73025" cy="60325"/>
            </a:xfrm>
            <a:custGeom>
              <a:avLst/>
              <a:gdLst/>
              <a:ahLst/>
              <a:cxnLst/>
              <a:rect l="0" t="0" r="r" b="b"/>
              <a:pathLst>
                <a:path w="21396" h="21475">
                  <a:moveTo>
                    <a:pt x="12289" y="5783"/>
                  </a:moveTo>
                  <a:cubicBezTo>
                    <a:pt x="11927" y="6064"/>
                    <a:pt x="11395" y="6348"/>
                    <a:pt x="11147" y="6519"/>
                  </a:cubicBezTo>
                  <a:cubicBezTo>
                    <a:pt x="10871" y="6616"/>
                    <a:pt x="10290" y="7150"/>
                    <a:pt x="9838" y="7649"/>
                  </a:cubicBezTo>
                  <a:cubicBezTo>
                    <a:pt x="9378" y="8144"/>
                    <a:pt x="8778" y="8962"/>
                    <a:pt x="8444" y="9412"/>
                  </a:cubicBezTo>
                  <a:cubicBezTo>
                    <a:pt x="8169" y="9914"/>
                    <a:pt x="7540" y="10593"/>
                    <a:pt x="7130" y="11000"/>
                  </a:cubicBezTo>
                  <a:cubicBezTo>
                    <a:pt x="6712" y="11400"/>
                    <a:pt x="6407" y="11879"/>
                    <a:pt x="6490" y="12024"/>
                  </a:cubicBezTo>
                  <a:cubicBezTo>
                    <a:pt x="6561" y="12178"/>
                    <a:pt x="6277" y="12502"/>
                    <a:pt x="5872" y="12713"/>
                  </a:cubicBezTo>
                  <a:cubicBezTo>
                    <a:pt x="5474" y="12946"/>
                    <a:pt x="5046" y="13225"/>
                    <a:pt x="5097" y="13328"/>
                  </a:cubicBezTo>
                  <a:cubicBezTo>
                    <a:pt x="5084" y="13449"/>
                    <a:pt x="5303" y="13520"/>
                    <a:pt x="5597" y="13471"/>
                  </a:cubicBezTo>
                  <a:cubicBezTo>
                    <a:pt x="5891" y="13427"/>
                    <a:pt x="6197" y="13656"/>
                    <a:pt x="6397" y="13817"/>
                  </a:cubicBezTo>
                  <a:cubicBezTo>
                    <a:pt x="6521" y="14063"/>
                    <a:pt x="6509" y="14459"/>
                    <a:pt x="6313" y="14724"/>
                  </a:cubicBezTo>
                  <a:cubicBezTo>
                    <a:pt x="6134" y="15002"/>
                    <a:pt x="5833" y="15248"/>
                    <a:pt x="5684" y="15349"/>
                  </a:cubicBezTo>
                  <a:cubicBezTo>
                    <a:pt x="5539" y="15453"/>
                    <a:pt x="5184" y="15444"/>
                    <a:pt x="4915" y="15428"/>
                  </a:cubicBezTo>
                  <a:cubicBezTo>
                    <a:pt x="4651" y="15444"/>
                    <a:pt x="4060" y="15521"/>
                    <a:pt x="3621" y="15749"/>
                  </a:cubicBezTo>
                  <a:cubicBezTo>
                    <a:pt x="3179" y="15956"/>
                    <a:pt x="2615" y="16373"/>
                    <a:pt x="2342" y="16635"/>
                  </a:cubicBezTo>
                  <a:cubicBezTo>
                    <a:pt x="2090" y="16925"/>
                    <a:pt x="1662" y="17354"/>
                    <a:pt x="1423" y="17627"/>
                  </a:cubicBezTo>
                  <a:cubicBezTo>
                    <a:pt x="1171" y="17882"/>
                    <a:pt x="1193" y="18060"/>
                    <a:pt x="1464" y="18044"/>
                  </a:cubicBezTo>
                  <a:cubicBezTo>
                    <a:pt x="1731" y="17976"/>
                    <a:pt x="1802" y="18243"/>
                    <a:pt x="1638" y="18583"/>
                  </a:cubicBezTo>
                  <a:cubicBezTo>
                    <a:pt x="1477" y="18920"/>
                    <a:pt x="1405" y="19262"/>
                    <a:pt x="1524" y="19280"/>
                  </a:cubicBezTo>
                  <a:cubicBezTo>
                    <a:pt x="1635" y="19324"/>
                    <a:pt x="1432" y="19680"/>
                    <a:pt x="1051" y="20014"/>
                  </a:cubicBezTo>
                  <a:cubicBezTo>
                    <a:pt x="687" y="20377"/>
                    <a:pt x="210" y="20896"/>
                    <a:pt x="54" y="21235"/>
                  </a:cubicBezTo>
                  <a:cubicBezTo>
                    <a:pt x="-116" y="21558"/>
                    <a:pt x="131" y="21556"/>
                    <a:pt x="602" y="21224"/>
                  </a:cubicBezTo>
                  <a:cubicBezTo>
                    <a:pt x="1069" y="20868"/>
                    <a:pt x="1606" y="20393"/>
                    <a:pt x="1827" y="20181"/>
                  </a:cubicBezTo>
                  <a:cubicBezTo>
                    <a:pt x="2006" y="19920"/>
                    <a:pt x="2436" y="19606"/>
                    <a:pt x="2749" y="19469"/>
                  </a:cubicBezTo>
                  <a:cubicBezTo>
                    <a:pt x="3052" y="19293"/>
                    <a:pt x="3228" y="19467"/>
                    <a:pt x="3065" y="19757"/>
                  </a:cubicBezTo>
                  <a:cubicBezTo>
                    <a:pt x="2947" y="20076"/>
                    <a:pt x="3034" y="20146"/>
                    <a:pt x="3330" y="20076"/>
                  </a:cubicBezTo>
                  <a:cubicBezTo>
                    <a:pt x="3598" y="19891"/>
                    <a:pt x="4397" y="19509"/>
                    <a:pt x="5042" y="19049"/>
                  </a:cubicBezTo>
                  <a:cubicBezTo>
                    <a:pt x="5689" y="18596"/>
                    <a:pt x="6449" y="18183"/>
                    <a:pt x="6719" y="18159"/>
                  </a:cubicBezTo>
                  <a:cubicBezTo>
                    <a:pt x="6984" y="18108"/>
                    <a:pt x="7718" y="17655"/>
                    <a:pt x="8336" y="17145"/>
                  </a:cubicBezTo>
                  <a:cubicBezTo>
                    <a:pt x="8970" y="16671"/>
                    <a:pt x="9576" y="16261"/>
                    <a:pt x="9708" y="16261"/>
                  </a:cubicBezTo>
                  <a:cubicBezTo>
                    <a:pt x="9838" y="16261"/>
                    <a:pt x="9877" y="16481"/>
                    <a:pt x="9750" y="16690"/>
                  </a:cubicBezTo>
                  <a:cubicBezTo>
                    <a:pt x="9654" y="16919"/>
                    <a:pt x="9746" y="17031"/>
                    <a:pt x="9980" y="16921"/>
                  </a:cubicBezTo>
                  <a:cubicBezTo>
                    <a:pt x="10216" y="16820"/>
                    <a:pt x="10667" y="16547"/>
                    <a:pt x="10953" y="16272"/>
                  </a:cubicBezTo>
                  <a:cubicBezTo>
                    <a:pt x="11259" y="16031"/>
                    <a:pt x="12244" y="15202"/>
                    <a:pt x="13175" y="14500"/>
                  </a:cubicBezTo>
                  <a:cubicBezTo>
                    <a:pt x="14109" y="13801"/>
                    <a:pt x="15044" y="12937"/>
                    <a:pt x="15289" y="12620"/>
                  </a:cubicBezTo>
                  <a:cubicBezTo>
                    <a:pt x="15524" y="12301"/>
                    <a:pt x="15849" y="11706"/>
                    <a:pt x="16019" y="11297"/>
                  </a:cubicBezTo>
                  <a:cubicBezTo>
                    <a:pt x="16125" y="10857"/>
                    <a:pt x="16141" y="10646"/>
                    <a:pt x="15920" y="10741"/>
                  </a:cubicBezTo>
                  <a:cubicBezTo>
                    <a:pt x="15691" y="10809"/>
                    <a:pt x="15434" y="10888"/>
                    <a:pt x="15330" y="10859"/>
                  </a:cubicBezTo>
                  <a:cubicBezTo>
                    <a:pt x="15225" y="10826"/>
                    <a:pt x="15374" y="10620"/>
                    <a:pt x="15668" y="10415"/>
                  </a:cubicBezTo>
                  <a:cubicBezTo>
                    <a:pt x="15943" y="10180"/>
                    <a:pt x="16491" y="9868"/>
                    <a:pt x="16866" y="9712"/>
                  </a:cubicBezTo>
                  <a:cubicBezTo>
                    <a:pt x="17226" y="9507"/>
                    <a:pt x="17826" y="9162"/>
                    <a:pt x="18158" y="8854"/>
                  </a:cubicBezTo>
                  <a:cubicBezTo>
                    <a:pt x="18508" y="8577"/>
                    <a:pt x="19242" y="7986"/>
                    <a:pt x="19784" y="7533"/>
                  </a:cubicBezTo>
                  <a:cubicBezTo>
                    <a:pt x="20353" y="7128"/>
                    <a:pt x="20928" y="6363"/>
                    <a:pt x="21063" y="5886"/>
                  </a:cubicBezTo>
                  <a:cubicBezTo>
                    <a:pt x="21198" y="5407"/>
                    <a:pt x="21297" y="4905"/>
                    <a:pt x="21279" y="4740"/>
                  </a:cubicBezTo>
                  <a:cubicBezTo>
                    <a:pt x="21203" y="4602"/>
                    <a:pt x="21303" y="4347"/>
                    <a:pt x="21372" y="4199"/>
                  </a:cubicBezTo>
                  <a:cubicBezTo>
                    <a:pt x="21484" y="4105"/>
                    <a:pt x="21207" y="4105"/>
                    <a:pt x="20815" y="4270"/>
                  </a:cubicBezTo>
                  <a:cubicBezTo>
                    <a:pt x="20436" y="4459"/>
                    <a:pt x="20112" y="4402"/>
                    <a:pt x="20112" y="4177"/>
                  </a:cubicBezTo>
                  <a:cubicBezTo>
                    <a:pt x="20094" y="3953"/>
                    <a:pt x="20179" y="3665"/>
                    <a:pt x="20226" y="3514"/>
                  </a:cubicBezTo>
                  <a:cubicBezTo>
                    <a:pt x="20286" y="3370"/>
                    <a:pt x="20184" y="3267"/>
                    <a:pt x="20000" y="3329"/>
                  </a:cubicBezTo>
                  <a:cubicBezTo>
                    <a:pt x="19813" y="3375"/>
                    <a:pt x="19776" y="3151"/>
                    <a:pt x="19945" y="2863"/>
                  </a:cubicBezTo>
                  <a:cubicBezTo>
                    <a:pt x="20086" y="2553"/>
                    <a:pt x="20076" y="2438"/>
                    <a:pt x="19867" y="2438"/>
                  </a:cubicBezTo>
                  <a:cubicBezTo>
                    <a:pt x="19677" y="2533"/>
                    <a:pt x="19550" y="2421"/>
                    <a:pt x="19490" y="2322"/>
                  </a:cubicBezTo>
                  <a:cubicBezTo>
                    <a:pt x="19537" y="2209"/>
                    <a:pt x="19632" y="1904"/>
                    <a:pt x="19802" y="1662"/>
                  </a:cubicBezTo>
                  <a:cubicBezTo>
                    <a:pt x="19974" y="1420"/>
                    <a:pt x="20177" y="1046"/>
                    <a:pt x="20154" y="824"/>
                  </a:cubicBezTo>
                  <a:cubicBezTo>
                    <a:pt x="20168" y="598"/>
                    <a:pt x="20007" y="231"/>
                    <a:pt x="19759" y="94"/>
                  </a:cubicBezTo>
                  <a:cubicBezTo>
                    <a:pt x="19507" y="-42"/>
                    <a:pt x="19023" y="-33"/>
                    <a:pt x="18620" y="134"/>
                  </a:cubicBezTo>
                  <a:cubicBezTo>
                    <a:pt x="18236" y="334"/>
                    <a:pt x="17357" y="950"/>
                    <a:pt x="16668" y="1495"/>
                  </a:cubicBezTo>
                  <a:cubicBezTo>
                    <a:pt x="15981" y="2045"/>
                    <a:pt x="15113" y="2775"/>
                    <a:pt x="14727" y="3105"/>
                  </a:cubicBezTo>
                  <a:cubicBezTo>
                    <a:pt x="14343" y="3434"/>
                    <a:pt x="13806" y="4083"/>
                    <a:pt x="13487" y="4490"/>
                  </a:cubicBezTo>
                  <a:cubicBezTo>
                    <a:pt x="13212" y="4940"/>
                    <a:pt x="12648" y="5501"/>
                    <a:pt x="12289" y="5783"/>
                  </a:cubicBezTo>
                  <a:close/>
                  <a:moveTo>
                    <a:pt x="12289" y="57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0" name="AutoShape 1112"/>
            <p:cNvSpPr>
              <a:spLocks/>
            </p:cNvSpPr>
            <p:nvPr/>
          </p:nvSpPr>
          <p:spPr bwMode="auto">
            <a:xfrm>
              <a:off x="5334000" y="1371600"/>
              <a:ext cx="25400" cy="12700"/>
            </a:xfrm>
            <a:custGeom>
              <a:avLst/>
              <a:gdLst/>
              <a:ahLst/>
              <a:cxnLst/>
              <a:rect l="0" t="0" r="r" b="b"/>
              <a:pathLst>
                <a:path w="21335" h="21407">
                  <a:moveTo>
                    <a:pt x="17502" y="89"/>
                  </a:moveTo>
                  <a:cubicBezTo>
                    <a:pt x="16595" y="438"/>
                    <a:pt x="14657" y="1854"/>
                    <a:pt x="13234" y="3549"/>
                  </a:cubicBezTo>
                  <a:cubicBezTo>
                    <a:pt x="11777" y="5164"/>
                    <a:pt x="9982" y="7151"/>
                    <a:pt x="9177" y="7613"/>
                  </a:cubicBezTo>
                  <a:cubicBezTo>
                    <a:pt x="8437" y="8396"/>
                    <a:pt x="5944" y="11073"/>
                    <a:pt x="3869" y="14375"/>
                  </a:cubicBezTo>
                  <a:cubicBezTo>
                    <a:pt x="1760" y="17574"/>
                    <a:pt x="-80" y="20563"/>
                    <a:pt x="3" y="21046"/>
                  </a:cubicBezTo>
                  <a:cubicBezTo>
                    <a:pt x="-55" y="21537"/>
                    <a:pt x="636" y="21397"/>
                    <a:pt x="1451" y="21356"/>
                  </a:cubicBezTo>
                  <a:cubicBezTo>
                    <a:pt x="2226" y="20915"/>
                    <a:pt x="4266" y="19530"/>
                    <a:pt x="5969" y="18176"/>
                  </a:cubicBezTo>
                  <a:cubicBezTo>
                    <a:pt x="7661" y="16762"/>
                    <a:pt x="10095" y="14124"/>
                    <a:pt x="11415" y="12408"/>
                  </a:cubicBezTo>
                  <a:cubicBezTo>
                    <a:pt x="12734" y="10683"/>
                    <a:pt x="15089" y="8244"/>
                    <a:pt x="16703" y="7120"/>
                  </a:cubicBezTo>
                  <a:cubicBezTo>
                    <a:pt x="18307" y="5918"/>
                    <a:pt x="20176" y="4001"/>
                    <a:pt x="20917" y="2947"/>
                  </a:cubicBezTo>
                  <a:cubicBezTo>
                    <a:pt x="21520" y="1593"/>
                    <a:pt x="21501" y="570"/>
                    <a:pt x="20662" y="208"/>
                  </a:cubicBezTo>
                  <a:cubicBezTo>
                    <a:pt x="19818" y="-63"/>
                    <a:pt x="18410" y="-32"/>
                    <a:pt x="17502" y="89"/>
                  </a:cubicBezTo>
                  <a:close/>
                  <a:moveTo>
                    <a:pt x="17502" y="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1" name="AutoShape 1113"/>
            <p:cNvSpPr>
              <a:spLocks/>
            </p:cNvSpPr>
            <p:nvPr/>
          </p:nvSpPr>
          <p:spPr bwMode="auto">
            <a:xfrm>
              <a:off x="5257800" y="1422400"/>
              <a:ext cx="12700" cy="9525"/>
            </a:xfrm>
            <a:custGeom>
              <a:avLst/>
              <a:gdLst/>
              <a:ahLst/>
              <a:cxnLst/>
              <a:rect l="0" t="0" r="r" b="b"/>
              <a:pathLst>
                <a:path w="20941" h="21012">
                  <a:moveTo>
                    <a:pt x="11885" y="6642"/>
                  </a:moveTo>
                  <a:cubicBezTo>
                    <a:pt x="11168" y="7914"/>
                    <a:pt x="8721" y="10272"/>
                    <a:pt x="6709" y="12259"/>
                  </a:cubicBezTo>
                  <a:cubicBezTo>
                    <a:pt x="4659" y="14173"/>
                    <a:pt x="1995" y="17036"/>
                    <a:pt x="872" y="18763"/>
                  </a:cubicBezTo>
                  <a:cubicBezTo>
                    <a:pt x="-243" y="20492"/>
                    <a:pt x="-270" y="21541"/>
                    <a:pt x="684" y="20737"/>
                  </a:cubicBezTo>
                  <a:cubicBezTo>
                    <a:pt x="1808" y="20416"/>
                    <a:pt x="5216" y="17492"/>
                    <a:pt x="8276" y="14592"/>
                  </a:cubicBezTo>
                  <a:cubicBezTo>
                    <a:pt x="11545" y="12087"/>
                    <a:pt x="14634" y="8728"/>
                    <a:pt x="15303" y="7631"/>
                  </a:cubicBezTo>
                  <a:cubicBezTo>
                    <a:pt x="16088" y="6607"/>
                    <a:pt x="17825" y="4420"/>
                    <a:pt x="19251" y="2866"/>
                  </a:cubicBezTo>
                  <a:cubicBezTo>
                    <a:pt x="20696" y="1349"/>
                    <a:pt x="21330" y="-59"/>
                    <a:pt x="20696" y="2"/>
                  </a:cubicBezTo>
                  <a:cubicBezTo>
                    <a:pt x="20063" y="212"/>
                    <a:pt x="18108" y="904"/>
                    <a:pt x="16409" y="2188"/>
                  </a:cubicBezTo>
                  <a:cubicBezTo>
                    <a:pt x="14699" y="3470"/>
                    <a:pt x="12669" y="5434"/>
                    <a:pt x="11885" y="6642"/>
                  </a:cubicBezTo>
                  <a:close/>
                  <a:moveTo>
                    <a:pt x="11885" y="664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2" name="AutoShape 1114"/>
            <p:cNvSpPr>
              <a:spLocks/>
            </p:cNvSpPr>
            <p:nvPr/>
          </p:nvSpPr>
          <p:spPr bwMode="auto">
            <a:xfrm>
              <a:off x="5168900" y="1447800"/>
              <a:ext cx="6350" cy="6350"/>
            </a:xfrm>
            <a:custGeom>
              <a:avLst/>
              <a:gdLst/>
              <a:ahLst/>
              <a:cxnLst/>
              <a:rect l="0" t="0" r="r" b="b"/>
              <a:pathLst>
                <a:path w="20694" h="20597">
                  <a:moveTo>
                    <a:pt x="11358" y="14865"/>
                  </a:moveTo>
                  <a:cubicBezTo>
                    <a:pt x="13733" y="12741"/>
                    <a:pt x="17236" y="8200"/>
                    <a:pt x="19358" y="4825"/>
                  </a:cubicBezTo>
                  <a:cubicBezTo>
                    <a:pt x="21347" y="1416"/>
                    <a:pt x="21073" y="-758"/>
                    <a:pt x="18808" y="247"/>
                  </a:cubicBezTo>
                  <a:cubicBezTo>
                    <a:pt x="16489" y="1170"/>
                    <a:pt x="13003" y="3244"/>
                    <a:pt x="10939" y="4791"/>
                  </a:cubicBezTo>
                  <a:cubicBezTo>
                    <a:pt x="9096" y="6585"/>
                    <a:pt x="5716" y="9764"/>
                    <a:pt x="3891" y="12299"/>
                  </a:cubicBezTo>
                  <a:cubicBezTo>
                    <a:pt x="2155" y="14932"/>
                    <a:pt x="38" y="18010"/>
                    <a:pt x="38" y="19375"/>
                  </a:cubicBezTo>
                  <a:cubicBezTo>
                    <a:pt x="-253" y="20741"/>
                    <a:pt x="1135" y="20842"/>
                    <a:pt x="3306" y="20265"/>
                  </a:cubicBezTo>
                  <a:cubicBezTo>
                    <a:pt x="5277" y="19295"/>
                    <a:pt x="8912" y="16938"/>
                    <a:pt x="11358" y="14865"/>
                  </a:cubicBezTo>
                  <a:close/>
                  <a:moveTo>
                    <a:pt x="11358" y="1486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3" name="AutoShape 1115"/>
            <p:cNvSpPr>
              <a:spLocks/>
            </p:cNvSpPr>
            <p:nvPr/>
          </p:nvSpPr>
          <p:spPr bwMode="auto">
            <a:xfrm>
              <a:off x="5207000" y="1257300"/>
              <a:ext cx="238125" cy="184150"/>
            </a:xfrm>
            <a:custGeom>
              <a:avLst/>
              <a:gdLst/>
              <a:ahLst/>
              <a:cxnLst/>
              <a:rect l="0" t="0" r="r" b="b"/>
              <a:pathLst>
                <a:path w="21550" h="21542">
                  <a:moveTo>
                    <a:pt x="83" y="21347"/>
                  </a:moveTo>
                  <a:cubicBezTo>
                    <a:pt x="192" y="21252"/>
                    <a:pt x="355" y="21161"/>
                    <a:pt x="440" y="21127"/>
                  </a:cubicBezTo>
                  <a:cubicBezTo>
                    <a:pt x="527" y="21105"/>
                    <a:pt x="533" y="21197"/>
                    <a:pt x="457" y="21344"/>
                  </a:cubicBezTo>
                  <a:cubicBezTo>
                    <a:pt x="374" y="21484"/>
                    <a:pt x="445" y="21585"/>
                    <a:pt x="596" y="21524"/>
                  </a:cubicBezTo>
                  <a:cubicBezTo>
                    <a:pt x="750" y="21473"/>
                    <a:pt x="1038" y="21446"/>
                    <a:pt x="1232" y="21446"/>
                  </a:cubicBezTo>
                  <a:cubicBezTo>
                    <a:pt x="1429" y="21441"/>
                    <a:pt x="1705" y="21380"/>
                    <a:pt x="1843" y="21280"/>
                  </a:cubicBezTo>
                  <a:cubicBezTo>
                    <a:pt x="1984" y="21186"/>
                    <a:pt x="2180" y="21007"/>
                    <a:pt x="2282" y="20886"/>
                  </a:cubicBezTo>
                  <a:cubicBezTo>
                    <a:pt x="2380" y="20761"/>
                    <a:pt x="2473" y="20607"/>
                    <a:pt x="2496" y="20540"/>
                  </a:cubicBezTo>
                  <a:cubicBezTo>
                    <a:pt x="2509" y="20469"/>
                    <a:pt x="2669" y="20345"/>
                    <a:pt x="2848" y="20264"/>
                  </a:cubicBezTo>
                  <a:cubicBezTo>
                    <a:pt x="3024" y="20179"/>
                    <a:pt x="3151" y="20172"/>
                    <a:pt x="3151" y="20243"/>
                  </a:cubicBezTo>
                  <a:cubicBezTo>
                    <a:pt x="3137" y="20311"/>
                    <a:pt x="3064" y="20447"/>
                    <a:pt x="2989" y="20555"/>
                  </a:cubicBezTo>
                  <a:cubicBezTo>
                    <a:pt x="2906" y="20651"/>
                    <a:pt x="2818" y="20812"/>
                    <a:pt x="2800" y="20905"/>
                  </a:cubicBezTo>
                  <a:cubicBezTo>
                    <a:pt x="2765" y="20989"/>
                    <a:pt x="2809" y="21027"/>
                    <a:pt x="2876" y="20976"/>
                  </a:cubicBezTo>
                  <a:cubicBezTo>
                    <a:pt x="2943" y="20924"/>
                    <a:pt x="3198" y="20647"/>
                    <a:pt x="3433" y="20345"/>
                  </a:cubicBezTo>
                  <a:cubicBezTo>
                    <a:pt x="3673" y="20054"/>
                    <a:pt x="3939" y="19650"/>
                    <a:pt x="4033" y="19458"/>
                  </a:cubicBezTo>
                  <a:cubicBezTo>
                    <a:pt x="4120" y="19257"/>
                    <a:pt x="4306" y="18977"/>
                    <a:pt x="4426" y="18812"/>
                  </a:cubicBezTo>
                  <a:cubicBezTo>
                    <a:pt x="4548" y="18650"/>
                    <a:pt x="4822" y="18375"/>
                    <a:pt x="5029" y="18189"/>
                  </a:cubicBezTo>
                  <a:cubicBezTo>
                    <a:pt x="5235" y="18005"/>
                    <a:pt x="5505" y="17748"/>
                    <a:pt x="5623" y="17612"/>
                  </a:cubicBezTo>
                  <a:cubicBezTo>
                    <a:pt x="5741" y="17477"/>
                    <a:pt x="5798" y="17484"/>
                    <a:pt x="5718" y="17594"/>
                  </a:cubicBezTo>
                  <a:cubicBezTo>
                    <a:pt x="5664" y="17730"/>
                    <a:pt x="5388" y="18036"/>
                    <a:pt x="5135" y="18297"/>
                  </a:cubicBezTo>
                  <a:cubicBezTo>
                    <a:pt x="4883" y="18563"/>
                    <a:pt x="4587" y="18897"/>
                    <a:pt x="4484" y="19049"/>
                  </a:cubicBezTo>
                  <a:cubicBezTo>
                    <a:pt x="4383" y="19205"/>
                    <a:pt x="4302" y="19378"/>
                    <a:pt x="4287" y="19438"/>
                  </a:cubicBezTo>
                  <a:cubicBezTo>
                    <a:pt x="4287" y="19501"/>
                    <a:pt x="4147" y="19710"/>
                    <a:pt x="4010" y="19931"/>
                  </a:cubicBezTo>
                  <a:cubicBezTo>
                    <a:pt x="3856" y="20134"/>
                    <a:pt x="3764" y="20363"/>
                    <a:pt x="3764" y="20430"/>
                  </a:cubicBezTo>
                  <a:cubicBezTo>
                    <a:pt x="3791" y="20489"/>
                    <a:pt x="3742" y="20606"/>
                    <a:pt x="3695" y="20680"/>
                  </a:cubicBezTo>
                  <a:cubicBezTo>
                    <a:pt x="3642" y="20749"/>
                    <a:pt x="3614" y="20826"/>
                    <a:pt x="3630" y="20846"/>
                  </a:cubicBezTo>
                  <a:cubicBezTo>
                    <a:pt x="3638" y="20871"/>
                    <a:pt x="3755" y="20799"/>
                    <a:pt x="3873" y="20698"/>
                  </a:cubicBezTo>
                  <a:cubicBezTo>
                    <a:pt x="3992" y="20600"/>
                    <a:pt x="4194" y="20391"/>
                    <a:pt x="4330" y="20248"/>
                  </a:cubicBezTo>
                  <a:cubicBezTo>
                    <a:pt x="4467" y="20105"/>
                    <a:pt x="4819" y="19761"/>
                    <a:pt x="5118" y="19492"/>
                  </a:cubicBezTo>
                  <a:cubicBezTo>
                    <a:pt x="5416" y="19216"/>
                    <a:pt x="5844" y="18756"/>
                    <a:pt x="6074" y="18471"/>
                  </a:cubicBezTo>
                  <a:cubicBezTo>
                    <a:pt x="6298" y="18177"/>
                    <a:pt x="6563" y="17882"/>
                    <a:pt x="6659" y="17808"/>
                  </a:cubicBezTo>
                  <a:cubicBezTo>
                    <a:pt x="6756" y="17735"/>
                    <a:pt x="6827" y="17735"/>
                    <a:pt x="6803" y="17801"/>
                  </a:cubicBezTo>
                  <a:cubicBezTo>
                    <a:pt x="6792" y="17872"/>
                    <a:pt x="6672" y="18052"/>
                    <a:pt x="6545" y="18195"/>
                  </a:cubicBezTo>
                  <a:cubicBezTo>
                    <a:pt x="6419" y="18341"/>
                    <a:pt x="6297" y="18518"/>
                    <a:pt x="6261" y="18574"/>
                  </a:cubicBezTo>
                  <a:cubicBezTo>
                    <a:pt x="6227" y="18632"/>
                    <a:pt x="6289" y="18651"/>
                    <a:pt x="6393" y="18617"/>
                  </a:cubicBezTo>
                  <a:cubicBezTo>
                    <a:pt x="6497" y="18579"/>
                    <a:pt x="6737" y="18406"/>
                    <a:pt x="6935" y="18246"/>
                  </a:cubicBezTo>
                  <a:cubicBezTo>
                    <a:pt x="7131" y="18080"/>
                    <a:pt x="7412" y="17849"/>
                    <a:pt x="7560" y="17728"/>
                  </a:cubicBezTo>
                  <a:cubicBezTo>
                    <a:pt x="7708" y="17612"/>
                    <a:pt x="7857" y="17440"/>
                    <a:pt x="7896" y="17350"/>
                  </a:cubicBezTo>
                  <a:cubicBezTo>
                    <a:pt x="7926" y="17254"/>
                    <a:pt x="7862" y="17218"/>
                    <a:pt x="7740" y="17260"/>
                  </a:cubicBezTo>
                  <a:cubicBezTo>
                    <a:pt x="7617" y="17293"/>
                    <a:pt x="7564" y="17309"/>
                    <a:pt x="7546" y="17286"/>
                  </a:cubicBezTo>
                  <a:cubicBezTo>
                    <a:pt x="7564" y="17260"/>
                    <a:pt x="7711" y="17141"/>
                    <a:pt x="7881" y="17029"/>
                  </a:cubicBezTo>
                  <a:cubicBezTo>
                    <a:pt x="8051" y="16920"/>
                    <a:pt x="8260" y="16726"/>
                    <a:pt x="8315" y="16584"/>
                  </a:cubicBezTo>
                  <a:cubicBezTo>
                    <a:pt x="8389" y="16455"/>
                    <a:pt x="8429" y="16316"/>
                    <a:pt x="8410" y="16287"/>
                  </a:cubicBezTo>
                  <a:cubicBezTo>
                    <a:pt x="8393" y="16256"/>
                    <a:pt x="8419" y="16156"/>
                    <a:pt x="8467" y="16066"/>
                  </a:cubicBezTo>
                  <a:cubicBezTo>
                    <a:pt x="8511" y="15974"/>
                    <a:pt x="8739" y="15765"/>
                    <a:pt x="8958" y="15578"/>
                  </a:cubicBezTo>
                  <a:cubicBezTo>
                    <a:pt x="9183" y="15403"/>
                    <a:pt x="9480" y="15100"/>
                    <a:pt x="9622" y="14916"/>
                  </a:cubicBezTo>
                  <a:cubicBezTo>
                    <a:pt x="9764" y="14731"/>
                    <a:pt x="10005" y="14507"/>
                    <a:pt x="10153" y="14409"/>
                  </a:cubicBezTo>
                  <a:cubicBezTo>
                    <a:pt x="10303" y="14321"/>
                    <a:pt x="10505" y="14146"/>
                    <a:pt x="10612" y="14048"/>
                  </a:cubicBezTo>
                  <a:cubicBezTo>
                    <a:pt x="10713" y="13937"/>
                    <a:pt x="10767" y="13945"/>
                    <a:pt x="10701" y="14020"/>
                  </a:cubicBezTo>
                  <a:cubicBezTo>
                    <a:pt x="10648" y="14111"/>
                    <a:pt x="10589" y="14215"/>
                    <a:pt x="10600" y="14248"/>
                  </a:cubicBezTo>
                  <a:cubicBezTo>
                    <a:pt x="10593" y="14283"/>
                    <a:pt x="10510" y="14366"/>
                    <a:pt x="10405" y="14438"/>
                  </a:cubicBezTo>
                  <a:cubicBezTo>
                    <a:pt x="10303" y="14514"/>
                    <a:pt x="10073" y="14729"/>
                    <a:pt x="9894" y="14922"/>
                  </a:cubicBezTo>
                  <a:cubicBezTo>
                    <a:pt x="9715" y="15117"/>
                    <a:pt x="9434" y="15421"/>
                    <a:pt x="9257" y="15581"/>
                  </a:cubicBezTo>
                  <a:cubicBezTo>
                    <a:pt x="9085" y="15749"/>
                    <a:pt x="8866" y="16007"/>
                    <a:pt x="8763" y="16151"/>
                  </a:cubicBezTo>
                  <a:cubicBezTo>
                    <a:pt x="8669" y="16305"/>
                    <a:pt x="8590" y="16477"/>
                    <a:pt x="8613" y="16528"/>
                  </a:cubicBezTo>
                  <a:cubicBezTo>
                    <a:pt x="8632" y="16582"/>
                    <a:pt x="8632" y="16704"/>
                    <a:pt x="8617" y="16795"/>
                  </a:cubicBezTo>
                  <a:cubicBezTo>
                    <a:pt x="8600" y="16886"/>
                    <a:pt x="8677" y="16888"/>
                    <a:pt x="8780" y="16795"/>
                  </a:cubicBezTo>
                  <a:cubicBezTo>
                    <a:pt x="8882" y="16704"/>
                    <a:pt x="9113" y="16451"/>
                    <a:pt x="9304" y="16254"/>
                  </a:cubicBezTo>
                  <a:cubicBezTo>
                    <a:pt x="9488" y="16045"/>
                    <a:pt x="9921" y="15651"/>
                    <a:pt x="10263" y="15376"/>
                  </a:cubicBezTo>
                  <a:cubicBezTo>
                    <a:pt x="10606" y="15100"/>
                    <a:pt x="11001" y="14758"/>
                    <a:pt x="11139" y="14609"/>
                  </a:cubicBezTo>
                  <a:cubicBezTo>
                    <a:pt x="11282" y="14467"/>
                    <a:pt x="11447" y="14240"/>
                    <a:pt x="11517" y="14120"/>
                  </a:cubicBezTo>
                  <a:cubicBezTo>
                    <a:pt x="11590" y="14002"/>
                    <a:pt x="11749" y="13783"/>
                    <a:pt x="11886" y="13654"/>
                  </a:cubicBezTo>
                  <a:cubicBezTo>
                    <a:pt x="12014" y="13510"/>
                    <a:pt x="12216" y="13362"/>
                    <a:pt x="12315" y="13291"/>
                  </a:cubicBezTo>
                  <a:cubicBezTo>
                    <a:pt x="12421" y="13234"/>
                    <a:pt x="12473" y="13209"/>
                    <a:pt x="12473" y="13264"/>
                  </a:cubicBezTo>
                  <a:cubicBezTo>
                    <a:pt x="12452" y="13312"/>
                    <a:pt x="12397" y="13392"/>
                    <a:pt x="12343" y="13446"/>
                  </a:cubicBezTo>
                  <a:cubicBezTo>
                    <a:pt x="12282" y="13482"/>
                    <a:pt x="12201" y="13636"/>
                    <a:pt x="12133" y="13740"/>
                  </a:cubicBezTo>
                  <a:cubicBezTo>
                    <a:pt x="12085" y="13861"/>
                    <a:pt x="12129" y="13880"/>
                    <a:pt x="12253" y="13798"/>
                  </a:cubicBezTo>
                  <a:cubicBezTo>
                    <a:pt x="12382" y="13723"/>
                    <a:pt x="12652" y="13475"/>
                    <a:pt x="12872" y="13285"/>
                  </a:cubicBezTo>
                  <a:cubicBezTo>
                    <a:pt x="13088" y="13088"/>
                    <a:pt x="13367" y="12867"/>
                    <a:pt x="13500" y="12808"/>
                  </a:cubicBezTo>
                  <a:cubicBezTo>
                    <a:pt x="13631" y="12747"/>
                    <a:pt x="13892" y="12646"/>
                    <a:pt x="14076" y="12562"/>
                  </a:cubicBezTo>
                  <a:cubicBezTo>
                    <a:pt x="14266" y="12506"/>
                    <a:pt x="14623" y="12313"/>
                    <a:pt x="14871" y="12153"/>
                  </a:cubicBezTo>
                  <a:cubicBezTo>
                    <a:pt x="15130" y="12018"/>
                    <a:pt x="15430" y="11817"/>
                    <a:pt x="15558" y="11762"/>
                  </a:cubicBezTo>
                  <a:cubicBezTo>
                    <a:pt x="15684" y="11700"/>
                    <a:pt x="15896" y="11557"/>
                    <a:pt x="16028" y="11449"/>
                  </a:cubicBezTo>
                  <a:cubicBezTo>
                    <a:pt x="16161" y="11341"/>
                    <a:pt x="16392" y="11178"/>
                    <a:pt x="16538" y="11082"/>
                  </a:cubicBezTo>
                  <a:cubicBezTo>
                    <a:pt x="16690" y="11003"/>
                    <a:pt x="16884" y="10816"/>
                    <a:pt x="16993" y="10716"/>
                  </a:cubicBezTo>
                  <a:cubicBezTo>
                    <a:pt x="17093" y="10605"/>
                    <a:pt x="17205" y="10469"/>
                    <a:pt x="17234" y="10409"/>
                  </a:cubicBezTo>
                  <a:cubicBezTo>
                    <a:pt x="17272" y="10360"/>
                    <a:pt x="17341" y="10244"/>
                    <a:pt x="17394" y="10162"/>
                  </a:cubicBezTo>
                  <a:cubicBezTo>
                    <a:pt x="17444" y="10077"/>
                    <a:pt x="17454" y="9993"/>
                    <a:pt x="17395" y="9980"/>
                  </a:cubicBezTo>
                  <a:cubicBezTo>
                    <a:pt x="17341" y="9946"/>
                    <a:pt x="17387" y="9823"/>
                    <a:pt x="17506" y="9684"/>
                  </a:cubicBezTo>
                  <a:cubicBezTo>
                    <a:pt x="17626" y="9544"/>
                    <a:pt x="17804" y="9252"/>
                    <a:pt x="17915" y="9045"/>
                  </a:cubicBezTo>
                  <a:cubicBezTo>
                    <a:pt x="18022" y="8836"/>
                    <a:pt x="18065" y="8685"/>
                    <a:pt x="18010" y="8713"/>
                  </a:cubicBezTo>
                  <a:cubicBezTo>
                    <a:pt x="17955" y="8739"/>
                    <a:pt x="17786" y="8901"/>
                    <a:pt x="17630" y="9067"/>
                  </a:cubicBezTo>
                  <a:cubicBezTo>
                    <a:pt x="17474" y="9233"/>
                    <a:pt x="17162" y="9542"/>
                    <a:pt x="16925" y="9732"/>
                  </a:cubicBezTo>
                  <a:cubicBezTo>
                    <a:pt x="16692" y="9930"/>
                    <a:pt x="16440" y="10122"/>
                    <a:pt x="16364" y="10155"/>
                  </a:cubicBezTo>
                  <a:cubicBezTo>
                    <a:pt x="16290" y="10192"/>
                    <a:pt x="16253" y="10167"/>
                    <a:pt x="16285" y="10108"/>
                  </a:cubicBezTo>
                  <a:cubicBezTo>
                    <a:pt x="16318" y="10049"/>
                    <a:pt x="16472" y="9895"/>
                    <a:pt x="16620" y="9754"/>
                  </a:cubicBezTo>
                  <a:cubicBezTo>
                    <a:pt x="16775" y="9626"/>
                    <a:pt x="17033" y="9405"/>
                    <a:pt x="17206" y="9291"/>
                  </a:cubicBezTo>
                  <a:cubicBezTo>
                    <a:pt x="17374" y="9170"/>
                    <a:pt x="17556" y="9012"/>
                    <a:pt x="17609" y="8938"/>
                  </a:cubicBezTo>
                  <a:cubicBezTo>
                    <a:pt x="17661" y="8862"/>
                    <a:pt x="17615" y="8796"/>
                    <a:pt x="17511" y="8763"/>
                  </a:cubicBezTo>
                  <a:cubicBezTo>
                    <a:pt x="17407" y="8735"/>
                    <a:pt x="17336" y="8681"/>
                    <a:pt x="17336" y="8626"/>
                  </a:cubicBezTo>
                  <a:cubicBezTo>
                    <a:pt x="17351" y="8574"/>
                    <a:pt x="17301" y="8565"/>
                    <a:pt x="17235" y="8572"/>
                  </a:cubicBezTo>
                  <a:cubicBezTo>
                    <a:pt x="17172" y="8597"/>
                    <a:pt x="17044" y="8665"/>
                    <a:pt x="16958" y="8732"/>
                  </a:cubicBezTo>
                  <a:cubicBezTo>
                    <a:pt x="16871" y="8799"/>
                    <a:pt x="16745" y="8901"/>
                    <a:pt x="16690" y="8973"/>
                  </a:cubicBezTo>
                  <a:cubicBezTo>
                    <a:pt x="16632" y="9042"/>
                    <a:pt x="16532" y="9108"/>
                    <a:pt x="16470" y="9096"/>
                  </a:cubicBezTo>
                  <a:cubicBezTo>
                    <a:pt x="16408" y="9091"/>
                    <a:pt x="16253" y="9135"/>
                    <a:pt x="16131" y="9202"/>
                  </a:cubicBezTo>
                  <a:cubicBezTo>
                    <a:pt x="16005" y="9256"/>
                    <a:pt x="15785" y="9387"/>
                    <a:pt x="15647" y="9499"/>
                  </a:cubicBezTo>
                  <a:cubicBezTo>
                    <a:pt x="15502" y="9595"/>
                    <a:pt x="15312" y="9713"/>
                    <a:pt x="15218" y="9749"/>
                  </a:cubicBezTo>
                  <a:cubicBezTo>
                    <a:pt x="15121" y="9776"/>
                    <a:pt x="15095" y="9749"/>
                    <a:pt x="15165" y="9698"/>
                  </a:cubicBezTo>
                  <a:cubicBezTo>
                    <a:pt x="15232" y="9639"/>
                    <a:pt x="15593" y="9392"/>
                    <a:pt x="15964" y="9142"/>
                  </a:cubicBezTo>
                  <a:cubicBezTo>
                    <a:pt x="16342" y="8905"/>
                    <a:pt x="16773" y="8642"/>
                    <a:pt x="16921" y="8552"/>
                  </a:cubicBezTo>
                  <a:cubicBezTo>
                    <a:pt x="17071" y="8475"/>
                    <a:pt x="17451" y="8196"/>
                    <a:pt x="17760" y="7930"/>
                  </a:cubicBezTo>
                  <a:cubicBezTo>
                    <a:pt x="18071" y="7670"/>
                    <a:pt x="18399" y="7400"/>
                    <a:pt x="18492" y="7335"/>
                  </a:cubicBezTo>
                  <a:cubicBezTo>
                    <a:pt x="18586" y="7272"/>
                    <a:pt x="18855" y="7004"/>
                    <a:pt x="19109" y="6773"/>
                  </a:cubicBezTo>
                  <a:cubicBezTo>
                    <a:pt x="19357" y="6531"/>
                    <a:pt x="19682" y="6198"/>
                    <a:pt x="19824" y="6023"/>
                  </a:cubicBezTo>
                  <a:cubicBezTo>
                    <a:pt x="19967" y="5846"/>
                    <a:pt x="20061" y="5721"/>
                    <a:pt x="20028" y="5708"/>
                  </a:cubicBezTo>
                  <a:cubicBezTo>
                    <a:pt x="19996" y="5724"/>
                    <a:pt x="19868" y="5764"/>
                    <a:pt x="19747" y="5828"/>
                  </a:cubicBezTo>
                  <a:cubicBezTo>
                    <a:pt x="19628" y="5900"/>
                    <a:pt x="19456" y="6007"/>
                    <a:pt x="19366" y="6068"/>
                  </a:cubicBezTo>
                  <a:cubicBezTo>
                    <a:pt x="19273" y="6125"/>
                    <a:pt x="19184" y="6157"/>
                    <a:pt x="19153" y="6147"/>
                  </a:cubicBezTo>
                  <a:cubicBezTo>
                    <a:pt x="19123" y="6135"/>
                    <a:pt x="19169" y="6055"/>
                    <a:pt x="19245" y="5979"/>
                  </a:cubicBezTo>
                  <a:cubicBezTo>
                    <a:pt x="19326" y="5914"/>
                    <a:pt x="19467" y="5799"/>
                    <a:pt x="19562" y="5732"/>
                  </a:cubicBezTo>
                  <a:cubicBezTo>
                    <a:pt x="19658" y="5667"/>
                    <a:pt x="19813" y="5574"/>
                    <a:pt x="19908" y="5549"/>
                  </a:cubicBezTo>
                  <a:cubicBezTo>
                    <a:pt x="20001" y="5514"/>
                    <a:pt x="20161" y="5424"/>
                    <a:pt x="20245" y="5327"/>
                  </a:cubicBezTo>
                  <a:cubicBezTo>
                    <a:pt x="20343" y="5255"/>
                    <a:pt x="20450" y="5104"/>
                    <a:pt x="20495" y="5018"/>
                  </a:cubicBezTo>
                  <a:cubicBezTo>
                    <a:pt x="20515" y="4919"/>
                    <a:pt x="20724" y="4752"/>
                    <a:pt x="20898" y="4603"/>
                  </a:cubicBezTo>
                  <a:cubicBezTo>
                    <a:pt x="21068" y="4450"/>
                    <a:pt x="21266" y="4269"/>
                    <a:pt x="21316" y="4169"/>
                  </a:cubicBezTo>
                  <a:cubicBezTo>
                    <a:pt x="21371" y="4075"/>
                    <a:pt x="21397" y="3974"/>
                    <a:pt x="21375" y="3973"/>
                  </a:cubicBezTo>
                  <a:cubicBezTo>
                    <a:pt x="21375" y="3943"/>
                    <a:pt x="21369" y="3890"/>
                    <a:pt x="21417" y="3824"/>
                  </a:cubicBezTo>
                  <a:cubicBezTo>
                    <a:pt x="21453" y="3749"/>
                    <a:pt x="21401" y="3719"/>
                    <a:pt x="21292" y="3760"/>
                  </a:cubicBezTo>
                  <a:cubicBezTo>
                    <a:pt x="21183" y="3800"/>
                    <a:pt x="20977" y="3891"/>
                    <a:pt x="20840" y="3978"/>
                  </a:cubicBezTo>
                  <a:cubicBezTo>
                    <a:pt x="20703" y="4069"/>
                    <a:pt x="20387" y="4346"/>
                    <a:pt x="20130" y="4587"/>
                  </a:cubicBezTo>
                  <a:cubicBezTo>
                    <a:pt x="19885" y="4847"/>
                    <a:pt x="19600" y="5121"/>
                    <a:pt x="19523" y="5231"/>
                  </a:cubicBezTo>
                  <a:cubicBezTo>
                    <a:pt x="19435" y="5332"/>
                    <a:pt x="19407" y="5442"/>
                    <a:pt x="19450" y="5463"/>
                  </a:cubicBezTo>
                  <a:cubicBezTo>
                    <a:pt x="19491" y="5488"/>
                    <a:pt x="19412" y="5591"/>
                    <a:pt x="19280" y="5716"/>
                  </a:cubicBezTo>
                  <a:cubicBezTo>
                    <a:pt x="19144" y="5835"/>
                    <a:pt x="18963" y="5985"/>
                    <a:pt x="18876" y="6043"/>
                  </a:cubicBezTo>
                  <a:cubicBezTo>
                    <a:pt x="18792" y="6108"/>
                    <a:pt x="18696" y="6163"/>
                    <a:pt x="18667" y="6160"/>
                  </a:cubicBezTo>
                  <a:cubicBezTo>
                    <a:pt x="18638" y="6157"/>
                    <a:pt x="18639" y="6121"/>
                    <a:pt x="18672" y="6070"/>
                  </a:cubicBezTo>
                  <a:cubicBezTo>
                    <a:pt x="18701" y="6016"/>
                    <a:pt x="18701" y="5979"/>
                    <a:pt x="18684" y="5950"/>
                  </a:cubicBezTo>
                  <a:cubicBezTo>
                    <a:pt x="18655" y="5947"/>
                    <a:pt x="18670" y="5860"/>
                    <a:pt x="18710" y="5786"/>
                  </a:cubicBezTo>
                  <a:cubicBezTo>
                    <a:pt x="18749" y="5710"/>
                    <a:pt x="18958" y="5485"/>
                    <a:pt x="19169" y="5279"/>
                  </a:cubicBezTo>
                  <a:cubicBezTo>
                    <a:pt x="19384" y="5081"/>
                    <a:pt x="19551" y="4862"/>
                    <a:pt x="19558" y="4805"/>
                  </a:cubicBezTo>
                  <a:cubicBezTo>
                    <a:pt x="19566" y="4750"/>
                    <a:pt x="19596" y="4648"/>
                    <a:pt x="19650" y="4601"/>
                  </a:cubicBezTo>
                  <a:cubicBezTo>
                    <a:pt x="19692" y="4537"/>
                    <a:pt x="19771" y="4501"/>
                    <a:pt x="19811" y="4505"/>
                  </a:cubicBezTo>
                  <a:cubicBezTo>
                    <a:pt x="19850" y="4514"/>
                    <a:pt x="19970" y="4446"/>
                    <a:pt x="20078" y="4378"/>
                  </a:cubicBezTo>
                  <a:cubicBezTo>
                    <a:pt x="20185" y="4304"/>
                    <a:pt x="20281" y="4179"/>
                    <a:pt x="20298" y="4096"/>
                  </a:cubicBezTo>
                  <a:cubicBezTo>
                    <a:pt x="20319" y="4016"/>
                    <a:pt x="20282" y="3919"/>
                    <a:pt x="20265" y="3860"/>
                  </a:cubicBezTo>
                  <a:cubicBezTo>
                    <a:pt x="20246" y="3802"/>
                    <a:pt x="20108" y="3807"/>
                    <a:pt x="19990" y="3872"/>
                  </a:cubicBezTo>
                  <a:cubicBezTo>
                    <a:pt x="19866" y="3912"/>
                    <a:pt x="19637" y="4052"/>
                    <a:pt x="19473" y="4147"/>
                  </a:cubicBezTo>
                  <a:cubicBezTo>
                    <a:pt x="19304" y="4226"/>
                    <a:pt x="19090" y="4410"/>
                    <a:pt x="18979" y="4508"/>
                  </a:cubicBezTo>
                  <a:cubicBezTo>
                    <a:pt x="18872" y="4616"/>
                    <a:pt x="18799" y="4661"/>
                    <a:pt x="18783" y="4632"/>
                  </a:cubicBezTo>
                  <a:cubicBezTo>
                    <a:pt x="18794" y="4601"/>
                    <a:pt x="18758" y="4570"/>
                    <a:pt x="18727" y="4567"/>
                  </a:cubicBezTo>
                  <a:cubicBezTo>
                    <a:pt x="18696" y="4564"/>
                    <a:pt x="18745" y="4457"/>
                    <a:pt x="18836" y="4327"/>
                  </a:cubicBezTo>
                  <a:cubicBezTo>
                    <a:pt x="18922" y="4192"/>
                    <a:pt x="18988" y="4031"/>
                    <a:pt x="18988" y="3954"/>
                  </a:cubicBezTo>
                  <a:cubicBezTo>
                    <a:pt x="18980" y="3878"/>
                    <a:pt x="19077" y="3659"/>
                    <a:pt x="19214" y="3480"/>
                  </a:cubicBezTo>
                  <a:cubicBezTo>
                    <a:pt x="19349" y="3296"/>
                    <a:pt x="19519" y="3052"/>
                    <a:pt x="19576" y="2925"/>
                  </a:cubicBezTo>
                  <a:cubicBezTo>
                    <a:pt x="19643" y="2807"/>
                    <a:pt x="19799" y="2594"/>
                    <a:pt x="19934" y="2474"/>
                  </a:cubicBezTo>
                  <a:cubicBezTo>
                    <a:pt x="20057" y="2338"/>
                    <a:pt x="20250" y="2132"/>
                    <a:pt x="20347" y="1995"/>
                  </a:cubicBezTo>
                  <a:cubicBezTo>
                    <a:pt x="20444" y="1857"/>
                    <a:pt x="20577" y="1687"/>
                    <a:pt x="20603" y="1591"/>
                  </a:cubicBezTo>
                  <a:cubicBezTo>
                    <a:pt x="20645" y="1503"/>
                    <a:pt x="20834" y="1294"/>
                    <a:pt x="21016" y="1119"/>
                  </a:cubicBezTo>
                  <a:cubicBezTo>
                    <a:pt x="21201" y="949"/>
                    <a:pt x="21417" y="724"/>
                    <a:pt x="21484" y="609"/>
                  </a:cubicBezTo>
                  <a:cubicBezTo>
                    <a:pt x="21567" y="514"/>
                    <a:pt x="21569" y="383"/>
                    <a:pt x="21504" y="362"/>
                  </a:cubicBezTo>
                  <a:cubicBezTo>
                    <a:pt x="21438" y="344"/>
                    <a:pt x="21399" y="255"/>
                    <a:pt x="21420" y="194"/>
                  </a:cubicBezTo>
                  <a:cubicBezTo>
                    <a:pt x="21430" y="127"/>
                    <a:pt x="21332" y="84"/>
                    <a:pt x="21186" y="102"/>
                  </a:cubicBezTo>
                  <a:cubicBezTo>
                    <a:pt x="21041" y="107"/>
                    <a:pt x="20912" y="83"/>
                    <a:pt x="20928" y="40"/>
                  </a:cubicBezTo>
                  <a:cubicBezTo>
                    <a:pt x="20936" y="-6"/>
                    <a:pt x="20809" y="-15"/>
                    <a:pt x="20654" y="27"/>
                  </a:cubicBezTo>
                  <a:cubicBezTo>
                    <a:pt x="20499" y="58"/>
                    <a:pt x="20316" y="153"/>
                    <a:pt x="20238" y="197"/>
                  </a:cubicBezTo>
                  <a:cubicBezTo>
                    <a:pt x="20167" y="261"/>
                    <a:pt x="20081" y="335"/>
                    <a:pt x="20050" y="375"/>
                  </a:cubicBezTo>
                  <a:cubicBezTo>
                    <a:pt x="20026" y="423"/>
                    <a:pt x="19950" y="481"/>
                    <a:pt x="19896" y="520"/>
                  </a:cubicBezTo>
                  <a:cubicBezTo>
                    <a:pt x="19837" y="548"/>
                    <a:pt x="19697" y="576"/>
                    <a:pt x="19580" y="576"/>
                  </a:cubicBezTo>
                  <a:cubicBezTo>
                    <a:pt x="19462" y="576"/>
                    <a:pt x="19241" y="634"/>
                    <a:pt x="19089" y="721"/>
                  </a:cubicBezTo>
                  <a:cubicBezTo>
                    <a:pt x="18934" y="800"/>
                    <a:pt x="18771" y="948"/>
                    <a:pt x="18709" y="1022"/>
                  </a:cubicBezTo>
                  <a:cubicBezTo>
                    <a:pt x="18659" y="1109"/>
                    <a:pt x="18477" y="1283"/>
                    <a:pt x="18323" y="1431"/>
                  </a:cubicBezTo>
                  <a:cubicBezTo>
                    <a:pt x="18169" y="1580"/>
                    <a:pt x="18079" y="1709"/>
                    <a:pt x="18128" y="1714"/>
                  </a:cubicBezTo>
                  <a:cubicBezTo>
                    <a:pt x="18172" y="1742"/>
                    <a:pt x="18334" y="1676"/>
                    <a:pt x="18479" y="1602"/>
                  </a:cubicBezTo>
                  <a:cubicBezTo>
                    <a:pt x="18623" y="1531"/>
                    <a:pt x="18847" y="1410"/>
                    <a:pt x="18974" y="1334"/>
                  </a:cubicBezTo>
                  <a:cubicBezTo>
                    <a:pt x="19101" y="1252"/>
                    <a:pt x="19315" y="1178"/>
                    <a:pt x="19442" y="1137"/>
                  </a:cubicBezTo>
                  <a:cubicBezTo>
                    <a:pt x="19572" y="1114"/>
                    <a:pt x="19682" y="1113"/>
                    <a:pt x="19693" y="1150"/>
                  </a:cubicBezTo>
                  <a:cubicBezTo>
                    <a:pt x="19702" y="1189"/>
                    <a:pt x="19795" y="1189"/>
                    <a:pt x="19898" y="1144"/>
                  </a:cubicBezTo>
                  <a:cubicBezTo>
                    <a:pt x="20001" y="1102"/>
                    <a:pt x="20062" y="1120"/>
                    <a:pt x="20019" y="1164"/>
                  </a:cubicBezTo>
                  <a:cubicBezTo>
                    <a:pt x="19978" y="1214"/>
                    <a:pt x="19729" y="1430"/>
                    <a:pt x="19455" y="1640"/>
                  </a:cubicBezTo>
                  <a:cubicBezTo>
                    <a:pt x="19188" y="1863"/>
                    <a:pt x="18876" y="2065"/>
                    <a:pt x="18775" y="2108"/>
                  </a:cubicBezTo>
                  <a:cubicBezTo>
                    <a:pt x="18675" y="2161"/>
                    <a:pt x="18518" y="2184"/>
                    <a:pt x="18427" y="2196"/>
                  </a:cubicBezTo>
                  <a:cubicBezTo>
                    <a:pt x="18338" y="2196"/>
                    <a:pt x="18161" y="2240"/>
                    <a:pt x="18039" y="2315"/>
                  </a:cubicBezTo>
                  <a:cubicBezTo>
                    <a:pt x="17913" y="2379"/>
                    <a:pt x="17713" y="2478"/>
                    <a:pt x="17589" y="2521"/>
                  </a:cubicBezTo>
                  <a:cubicBezTo>
                    <a:pt x="17470" y="2578"/>
                    <a:pt x="17393" y="2630"/>
                    <a:pt x="17410" y="2671"/>
                  </a:cubicBezTo>
                  <a:cubicBezTo>
                    <a:pt x="17441" y="2693"/>
                    <a:pt x="17525" y="2714"/>
                    <a:pt x="17608" y="2670"/>
                  </a:cubicBezTo>
                  <a:cubicBezTo>
                    <a:pt x="17696" y="2650"/>
                    <a:pt x="17641" y="2686"/>
                    <a:pt x="17505" y="2805"/>
                  </a:cubicBezTo>
                  <a:cubicBezTo>
                    <a:pt x="17358" y="2904"/>
                    <a:pt x="17147" y="3062"/>
                    <a:pt x="17029" y="3137"/>
                  </a:cubicBezTo>
                  <a:cubicBezTo>
                    <a:pt x="16910" y="3211"/>
                    <a:pt x="16725" y="3243"/>
                    <a:pt x="16614" y="3225"/>
                  </a:cubicBezTo>
                  <a:cubicBezTo>
                    <a:pt x="16507" y="3193"/>
                    <a:pt x="16226" y="3301"/>
                    <a:pt x="15996" y="3459"/>
                  </a:cubicBezTo>
                  <a:cubicBezTo>
                    <a:pt x="15762" y="3606"/>
                    <a:pt x="15467" y="3845"/>
                    <a:pt x="15342" y="3983"/>
                  </a:cubicBezTo>
                  <a:cubicBezTo>
                    <a:pt x="15215" y="4120"/>
                    <a:pt x="15015" y="4314"/>
                    <a:pt x="14889" y="4397"/>
                  </a:cubicBezTo>
                  <a:cubicBezTo>
                    <a:pt x="14769" y="4487"/>
                    <a:pt x="14661" y="4603"/>
                    <a:pt x="14640" y="4641"/>
                  </a:cubicBezTo>
                  <a:cubicBezTo>
                    <a:pt x="14629" y="4685"/>
                    <a:pt x="14686" y="4684"/>
                    <a:pt x="14782" y="4660"/>
                  </a:cubicBezTo>
                  <a:cubicBezTo>
                    <a:pt x="14874" y="4620"/>
                    <a:pt x="14937" y="4670"/>
                    <a:pt x="14908" y="4742"/>
                  </a:cubicBezTo>
                  <a:cubicBezTo>
                    <a:pt x="14878" y="4814"/>
                    <a:pt x="14958" y="4864"/>
                    <a:pt x="15071" y="4843"/>
                  </a:cubicBezTo>
                  <a:cubicBezTo>
                    <a:pt x="15186" y="4824"/>
                    <a:pt x="15252" y="4834"/>
                    <a:pt x="15235" y="4880"/>
                  </a:cubicBezTo>
                  <a:cubicBezTo>
                    <a:pt x="15206" y="4917"/>
                    <a:pt x="15113" y="4995"/>
                    <a:pt x="15015" y="5032"/>
                  </a:cubicBezTo>
                  <a:cubicBezTo>
                    <a:pt x="14919" y="5078"/>
                    <a:pt x="14791" y="5177"/>
                    <a:pt x="14724" y="5247"/>
                  </a:cubicBezTo>
                  <a:cubicBezTo>
                    <a:pt x="14665" y="5329"/>
                    <a:pt x="14644" y="5398"/>
                    <a:pt x="14688" y="5401"/>
                  </a:cubicBezTo>
                  <a:cubicBezTo>
                    <a:pt x="14732" y="5417"/>
                    <a:pt x="14742" y="5469"/>
                    <a:pt x="14698" y="5522"/>
                  </a:cubicBezTo>
                  <a:cubicBezTo>
                    <a:pt x="14660" y="5581"/>
                    <a:pt x="14560" y="5664"/>
                    <a:pt x="14475" y="5698"/>
                  </a:cubicBezTo>
                  <a:cubicBezTo>
                    <a:pt x="14395" y="5747"/>
                    <a:pt x="14268" y="5765"/>
                    <a:pt x="14202" y="5768"/>
                  </a:cubicBezTo>
                  <a:cubicBezTo>
                    <a:pt x="14135" y="5760"/>
                    <a:pt x="13986" y="5828"/>
                    <a:pt x="13862" y="5860"/>
                  </a:cubicBezTo>
                  <a:cubicBezTo>
                    <a:pt x="13745" y="5924"/>
                    <a:pt x="13561" y="5965"/>
                    <a:pt x="13463" y="5965"/>
                  </a:cubicBezTo>
                  <a:cubicBezTo>
                    <a:pt x="13363" y="5978"/>
                    <a:pt x="13213" y="5998"/>
                    <a:pt x="13133" y="6037"/>
                  </a:cubicBezTo>
                  <a:cubicBezTo>
                    <a:pt x="13049" y="6066"/>
                    <a:pt x="12862" y="6181"/>
                    <a:pt x="12714" y="6282"/>
                  </a:cubicBezTo>
                  <a:cubicBezTo>
                    <a:pt x="12566" y="6385"/>
                    <a:pt x="12397" y="6535"/>
                    <a:pt x="12336" y="6613"/>
                  </a:cubicBezTo>
                  <a:cubicBezTo>
                    <a:pt x="12272" y="6688"/>
                    <a:pt x="12249" y="6786"/>
                    <a:pt x="12272" y="6827"/>
                  </a:cubicBezTo>
                  <a:cubicBezTo>
                    <a:pt x="12291" y="6870"/>
                    <a:pt x="12241" y="6983"/>
                    <a:pt x="12138" y="7071"/>
                  </a:cubicBezTo>
                  <a:cubicBezTo>
                    <a:pt x="12040" y="7168"/>
                    <a:pt x="11925" y="7252"/>
                    <a:pt x="11886" y="7249"/>
                  </a:cubicBezTo>
                  <a:cubicBezTo>
                    <a:pt x="11846" y="7259"/>
                    <a:pt x="11838" y="7207"/>
                    <a:pt x="11872" y="7156"/>
                  </a:cubicBezTo>
                  <a:cubicBezTo>
                    <a:pt x="11894" y="7094"/>
                    <a:pt x="11875" y="7051"/>
                    <a:pt x="11808" y="7070"/>
                  </a:cubicBezTo>
                  <a:cubicBezTo>
                    <a:pt x="11739" y="7077"/>
                    <a:pt x="11578" y="7106"/>
                    <a:pt x="11455" y="7156"/>
                  </a:cubicBezTo>
                  <a:cubicBezTo>
                    <a:pt x="11330" y="7193"/>
                    <a:pt x="11188" y="7278"/>
                    <a:pt x="11127" y="7294"/>
                  </a:cubicBezTo>
                  <a:cubicBezTo>
                    <a:pt x="11072" y="7334"/>
                    <a:pt x="10987" y="7344"/>
                    <a:pt x="10941" y="7321"/>
                  </a:cubicBezTo>
                  <a:cubicBezTo>
                    <a:pt x="10897" y="7298"/>
                    <a:pt x="10793" y="7294"/>
                    <a:pt x="10722" y="7337"/>
                  </a:cubicBezTo>
                  <a:cubicBezTo>
                    <a:pt x="10645" y="7356"/>
                    <a:pt x="10532" y="7440"/>
                    <a:pt x="10471" y="7503"/>
                  </a:cubicBezTo>
                  <a:cubicBezTo>
                    <a:pt x="10407" y="7567"/>
                    <a:pt x="10362" y="7670"/>
                    <a:pt x="10362" y="7738"/>
                  </a:cubicBezTo>
                  <a:cubicBezTo>
                    <a:pt x="10362" y="7806"/>
                    <a:pt x="10308" y="7942"/>
                    <a:pt x="10227" y="8043"/>
                  </a:cubicBezTo>
                  <a:cubicBezTo>
                    <a:pt x="10146" y="8143"/>
                    <a:pt x="10092" y="8297"/>
                    <a:pt x="10062" y="8366"/>
                  </a:cubicBezTo>
                  <a:cubicBezTo>
                    <a:pt x="10071" y="8444"/>
                    <a:pt x="10104" y="8508"/>
                    <a:pt x="10176" y="8501"/>
                  </a:cubicBezTo>
                  <a:cubicBezTo>
                    <a:pt x="10247" y="8499"/>
                    <a:pt x="10425" y="8432"/>
                    <a:pt x="10575" y="8381"/>
                  </a:cubicBezTo>
                  <a:cubicBezTo>
                    <a:pt x="10721" y="8309"/>
                    <a:pt x="10886" y="8257"/>
                    <a:pt x="10897" y="8294"/>
                  </a:cubicBezTo>
                  <a:cubicBezTo>
                    <a:pt x="10928" y="8297"/>
                    <a:pt x="10913" y="8360"/>
                    <a:pt x="10862" y="8379"/>
                  </a:cubicBezTo>
                  <a:cubicBezTo>
                    <a:pt x="10821" y="8423"/>
                    <a:pt x="10648" y="8483"/>
                    <a:pt x="10504" y="8571"/>
                  </a:cubicBezTo>
                  <a:cubicBezTo>
                    <a:pt x="10354" y="8640"/>
                    <a:pt x="10332" y="8680"/>
                    <a:pt x="10456" y="8668"/>
                  </a:cubicBezTo>
                  <a:cubicBezTo>
                    <a:pt x="10578" y="8659"/>
                    <a:pt x="10706" y="8667"/>
                    <a:pt x="10700" y="8708"/>
                  </a:cubicBezTo>
                  <a:cubicBezTo>
                    <a:pt x="10717" y="8747"/>
                    <a:pt x="10788" y="8770"/>
                    <a:pt x="10871" y="8770"/>
                  </a:cubicBezTo>
                  <a:cubicBezTo>
                    <a:pt x="10953" y="8749"/>
                    <a:pt x="11167" y="8685"/>
                    <a:pt x="11345" y="8594"/>
                  </a:cubicBezTo>
                  <a:cubicBezTo>
                    <a:pt x="11525" y="8514"/>
                    <a:pt x="11752" y="8355"/>
                    <a:pt x="11857" y="8268"/>
                  </a:cubicBezTo>
                  <a:cubicBezTo>
                    <a:pt x="11964" y="8183"/>
                    <a:pt x="12100" y="8081"/>
                    <a:pt x="12164" y="8050"/>
                  </a:cubicBezTo>
                  <a:cubicBezTo>
                    <a:pt x="12229" y="8023"/>
                    <a:pt x="12266" y="8037"/>
                    <a:pt x="12246" y="8088"/>
                  </a:cubicBezTo>
                  <a:cubicBezTo>
                    <a:pt x="12223" y="8136"/>
                    <a:pt x="12094" y="8267"/>
                    <a:pt x="11953" y="8372"/>
                  </a:cubicBezTo>
                  <a:cubicBezTo>
                    <a:pt x="11812" y="8477"/>
                    <a:pt x="11598" y="8692"/>
                    <a:pt x="11472" y="8839"/>
                  </a:cubicBezTo>
                  <a:cubicBezTo>
                    <a:pt x="11353" y="9000"/>
                    <a:pt x="11174" y="9150"/>
                    <a:pt x="11093" y="9207"/>
                  </a:cubicBezTo>
                  <a:cubicBezTo>
                    <a:pt x="11008" y="9256"/>
                    <a:pt x="10845" y="9284"/>
                    <a:pt x="10730" y="9284"/>
                  </a:cubicBezTo>
                  <a:cubicBezTo>
                    <a:pt x="10614" y="9290"/>
                    <a:pt x="10249" y="9379"/>
                    <a:pt x="9918" y="9510"/>
                  </a:cubicBezTo>
                  <a:cubicBezTo>
                    <a:pt x="9590" y="9649"/>
                    <a:pt x="9278" y="9702"/>
                    <a:pt x="9224" y="9651"/>
                  </a:cubicBezTo>
                  <a:cubicBezTo>
                    <a:pt x="9172" y="9598"/>
                    <a:pt x="9065" y="9574"/>
                    <a:pt x="8987" y="9596"/>
                  </a:cubicBezTo>
                  <a:cubicBezTo>
                    <a:pt x="8907" y="9616"/>
                    <a:pt x="8828" y="9621"/>
                    <a:pt x="8817" y="9595"/>
                  </a:cubicBezTo>
                  <a:cubicBezTo>
                    <a:pt x="8794" y="9588"/>
                    <a:pt x="8752" y="9570"/>
                    <a:pt x="8706" y="9595"/>
                  </a:cubicBezTo>
                  <a:cubicBezTo>
                    <a:pt x="8659" y="9622"/>
                    <a:pt x="8533" y="9746"/>
                    <a:pt x="8417" y="9856"/>
                  </a:cubicBezTo>
                  <a:cubicBezTo>
                    <a:pt x="8305" y="9976"/>
                    <a:pt x="8216" y="10101"/>
                    <a:pt x="8204" y="10127"/>
                  </a:cubicBezTo>
                  <a:cubicBezTo>
                    <a:pt x="8197" y="10157"/>
                    <a:pt x="8120" y="10242"/>
                    <a:pt x="8032" y="10321"/>
                  </a:cubicBezTo>
                  <a:cubicBezTo>
                    <a:pt x="7945" y="10400"/>
                    <a:pt x="7867" y="10544"/>
                    <a:pt x="7840" y="10638"/>
                  </a:cubicBezTo>
                  <a:cubicBezTo>
                    <a:pt x="7824" y="10737"/>
                    <a:pt x="7710" y="10897"/>
                    <a:pt x="7584" y="10980"/>
                  </a:cubicBezTo>
                  <a:cubicBezTo>
                    <a:pt x="7462" y="11070"/>
                    <a:pt x="7311" y="11162"/>
                    <a:pt x="7247" y="11168"/>
                  </a:cubicBezTo>
                  <a:cubicBezTo>
                    <a:pt x="7185" y="11185"/>
                    <a:pt x="7077" y="11285"/>
                    <a:pt x="7008" y="11399"/>
                  </a:cubicBezTo>
                  <a:cubicBezTo>
                    <a:pt x="6935" y="11511"/>
                    <a:pt x="6806" y="11661"/>
                    <a:pt x="6714" y="11729"/>
                  </a:cubicBezTo>
                  <a:cubicBezTo>
                    <a:pt x="6624" y="11798"/>
                    <a:pt x="6465" y="12001"/>
                    <a:pt x="6356" y="12179"/>
                  </a:cubicBezTo>
                  <a:cubicBezTo>
                    <a:pt x="6253" y="12362"/>
                    <a:pt x="6214" y="12491"/>
                    <a:pt x="6263" y="12522"/>
                  </a:cubicBezTo>
                  <a:cubicBezTo>
                    <a:pt x="6317" y="12527"/>
                    <a:pt x="6517" y="12455"/>
                    <a:pt x="6711" y="12369"/>
                  </a:cubicBezTo>
                  <a:cubicBezTo>
                    <a:pt x="6902" y="12278"/>
                    <a:pt x="7136" y="12206"/>
                    <a:pt x="7222" y="12175"/>
                  </a:cubicBezTo>
                  <a:cubicBezTo>
                    <a:pt x="7313" y="12175"/>
                    <a:pt x="7495" y="12077"/>
                    <a:pt x="7627" y="11990"/>
                  </a:cubicBezTo>
                  <a:cubicBezTo>
                    <a:pt x="7758" y="11903"/>
                    <a:pt x="7852" y="11867"/>
                    <a:pt x="7828" y="11905"/>
                  </a:cubicBezTo>
                  <a:cubicBezTo>
                    <a:pt x="7804" y="11939"/>
                    <a:pt x="7698" y="12039"/>
                    <a:pt x="7588" y="12118"/>
                  </a:cubicBezTo>
                  <a:cubicBezTo>
                    <a:pt x="7474" y="12194"/>
                    <a:pt x="7292" y="12310"/>
                    <a:pt x="7171" y="12333"/>
                  </a:cubicBezTo>
                  <a:cubicBezTo>
                    <a:pt x="7053" y="12376"/>
                    <a:pt x="6793" y="12490"/>
                    <a:pt x="6592" y="12591"/>
                  </a:cubicBezTo>
                  <a:cubicBezTo>
                    <a:pt x="6388" y="12678"/>
                    <a:pt x="6186" y="12787"/>
                    <a:pt x="6134" y="12801"/>
                  </a:cubicBezTo>
                  <a:cubicBezTo>
                    <a:pt x="6080" y="12813"/>
                    <a:pt x="5935" y="12882"/>
                    <a:pt x="5808" y="12947"/>
                  </a:cubicBezTo>
                  <a:cubicBezTo>
                    <a:pt x="5682" y="13013"/>
                    <a:pt x="5368" y="13267"/>
                    <a:pt x="5109" y="13507"/>
                  </a:cubicBezTo>
                  <a:cubicBezTo>
                    <a:pt x="4850" y="13747"/>
                    <a:pt x="4590" y="14005"/>
                    <a:pt x="4533" y="14082"/>
                  </a:cubicBezTo>
                  <a:cubicBezTo>
                    <a:pt x="4483" y="14167"/>
                    <a:pt x="4454" y="14244"/>
                    <a:pt x="4490" y="14266"/>
                  </a:cubicBezTo>
                  <a:cubicBezTo>
                    <a:pt x="4527" y="14283"/>
                    <a:pt x="4514" y="14359"/>
                    <a:pt x="4467" y="14418"/>
                  </a:cubicBezTo>
                  <a:cubicBezTo>
                    <a:pt x="4421" y="14477"/>
                    <a:pt x="4313" y="14580"/>
                    <a:pt x="4221" y="14634"/>
                  </a:cubicBezTo>
                  <a:cubicBezTo>
                    <a:pt x="4134" y="14697"/>
                    <a:pt x="4018" y="14806"/>
                    <a:pt x="3968" y="14883"/>
                  </a:cubicBezTo>
                  <a:cubicBezTo>
                    <a:pt x="3921" y="14964"/>
                    <a:pt x="3913" y="15023"/>
                    <a:pt x="3957" y="15037"/>
                  </a:cubicBezTo>
                  <a:cubicBezTo>
                    <a:pt x="3998" y="15058"/>
                    <a:pt x="4121" y="14989"/>
                    <a:pt x="4228" y="14910"/>
                  </a:cubicBezTo>
                  <a:cubicBezTo>
                    <a:pt x="4332" y="14831"/>
                    <a:pt x="4548" y="14709"/>
                    <a:pt x="4704" y="14628"/>
                  </a:cubicBezTo>
                  <a:cubicBezTo>
                    <a:pt x="4863" y="14566"/>
                    <a:pt x="5116" y="14386"/>
                    <a:pt x="5267" y="14249"/>
                  </a:cubicBezTo>
                  <a:cubicBezTo>
                    <a:pt x="5417" y="14110"/>
                    <a:pt x="5592" y="13993"/>
                    <a:pt x="5609" y="14033"/>
                  </a:cubicBezTo>
                  <a:cubicBezTo>
                    <a:pt x="5646" y="14043"/>
                    <a:pt x="5620" y="14124"/>
                    <a:pt x="5562" y="14211"/>
                  </a:cubicBezTo>
                  <a:cubicBezTo>
                    <a:pt x="5496" y="14290"/>
                    <a:pt x="5351" y="14416"/>
                    <a:pt x="5231" y="14480"/>
                  </a:cubicBezTo>
                  <a:cubicBezTo>
                    <a:pt x="5111" y="14545"/>
                    <a:pt x="4909" y="14696"/>
                    <a:pt x="4789" y="14826"/>
                  </a:cubicBezTo>
                  <a:cubicBezTo>
                    <a:pt x="4663" y="14951"/>
                    <a:pt x="4584" y="15078"/>
                    <a:pt x="4615" y="15088"/>
                  </a:cubicBezTo>
                  <a:cubicBezTo>
                    <a:pt x="4641" y="15105"/>
                    <a:pt x="4746" y="15089"/>
                    <a:pt x="4835" y="15030"/>
                  </a:cubicBezTo>
                  <a:cubicBezTo>
                    <a:pt x="4932" y="14986"/>
                    <a:pt x="5127" y="14828"/>
                    <a:pt x="5281" y="14710"/>
                  </a:cubicBezTo>
                  <a:cubicBezTo>
                    <a:pt x="5427" y="14575"/>
                    <a:pt x="5612" y="14442"/>
                    <a:pt x="5688" y="14415"/>
                  </a:cubicBezTo>
                  <a:cubicBezTo>
                    <a:pt x="5758" y="14368"/>
                    <a:pt x="5955" y="14254"/>
                    <a:pt x="6111" y="14125"/>
                  </a:cubicBezTo>
                  <a:cubicBezTo>
                    <a:pt x="6275" y="14010"/>
                    <a:pt x="6369" y="13934"/>
                    <a:pt x="6356" y="13990"/>
                  </a:cubicBezTo>
                  <a:cubicBezTo>
                    <a:pt x="6332" y="14041"/>
                    <a:pt x="6237" y="14156"/>
                    <a:pt x="6137" y="14231"/>
                  </a:cubicBezTo>
                  <a:cubicBezTo>
                    <a:pt x="6047" y="14321"/>
                    <a:pt x="6023" y="14382"/>
                    <a:pt x="6086" y="14354"/>
                  </a:cubicBezTo>
                  <a:cubicBezTo>
                    <a:pt x="6151" y="14336"/>
                    <a:pt x="6361" y="14255"/>
                    <a:pt x="6547" y="14152"/>
                  </a:cubicBezTo>
                  <a:cubicBezTo>
                    <a:pt x="6738" y="14066"/>
                    <a:pt x="6904" y="13999"/>
                    <a:pt x="6921" y="14029"/>
                  </a:cubicBezTo>
                  <a:cubicBezTo>
                    <a:pt x="6948" y="14046"/>
                    <a:pt x="6852" y="14129"/>
                    <a:pt x="6731" y="14201"/>
                  </a:cubicBezTo>
                  <a:cubicBezTo>
                    <a:pt x="6606" y="14262"/>
                    <a:pt x="6480" y="14392"/>
                    <a:pt x="6429" y="14459"/>
                  </a:cubicBezTo>
                  <a:cubicBezTo>
                    <a:pt x="6408" y="14549"/>
                    <a:pt x="6427" y="14559"/>
                    <a:pt x="6524" y="14523"/>
                  </a:cubicBezTo>
                  <a:cubicBezTo>
                    <a:pt x="6617" y="14477"/>
                    <a:pt x="6828" y="14385"/>
                    <a:pt x="6981" y="14279"/>
                  </a:cubicBezTo>
                  <a:cubicBezTo>
                    <a:pt x="7135" y="14177"/>
                    <a:pt x="7357" y="14105"/>
                    <a:pt x="7468" y="14105"/>
                  </a:cubicBezTo>
                  <a:cubicBezTo>
                    <a:pt x="7579" y="14105"/>
                    <a:pt x="7908" y="14033"/>
                    <a:pt x="8193" y="13918"/>
                  </a:cubicBezTo>
                  <a:cubicBezTo>
                    <a:pt x="8487" y="13830"/>
                    <a:pt x="8728" y="13764"/>
                    <a:pt x="8751" y="13769"/>
                  </a:cubicBezTo>
                  <a:cubicBezTo>
                    <a:pt x="8759" y="13798"/>
                    <a:pt x="8560" y="13920"/>
                    <a:pt x="8286" y="14040"/>
                  </a:cubicBezTo>
                  <a:cubicBezTo>
                    <a:pt x="8014" y="14166"/>
                    <a:pt x="7677" y="14335"/>
                    <a:pt x="7538" y="14411"/>
                  </a:cubicBezTo>
                  <a:cubicBezTo>
                    <a:pt x="7399" y="14493"/>
                    <a:pt x="7171" y="14559"/>
                    <a:pt x="7034" y="14564"/>
                  </a:cubicBezTo>
                  <a:cubicBezTo>
                    <a:pt x="6898" y="14580"/>
                    <a:pt x="6635" y="14678"/>
                    <a:pt x="6447" y="14804"/>
                  </a:cubicBezTo>
                  <a:cubicBezTo>
                    <a:pt x="6262" y="14931"/>
                    <a:pt x="6071" y="15072"/>
                    <a:pt x="6036" y="15135"/>
                  </a:cubicBezTo>
                  <a:cubicBezTo>
                    <a:pt x="5995" y="15191"/>
                    <a:pt x="6080" y="15225"/>
                    <a:pt x="6220" y="15187"/>
                  </a:cubicBezTo>
                  <a:cubicBezTo>
                    <a:pt x="6362" y="15162"/>
                    <a:pt x="6681" y="15039"/>
                    <a:pt x="6934" y="14938"/>
                  </a:cubicBezTo>
                  <a:cubicBezTo>
                    <a:pt x="7185" y="14823"/>
                    <a:pt x="7613" y="14647"/>
                    <a:pt x="7875" y="14507"/>
                  </a:cubicBezTo>
                  <a:cubicBezTo>
                    <a:pt x="8141" y="14375"/>
                    <a:pt x="8415" y="14277"/>
                    <a:pt x="8483" y="14266"/>
                  </a:cubicBezTo>
                  <a:cubicBezTo>
                    <a:pt x="8552" y="14273"/>
                    <a:pt x="8355" y="14418"/>
                    <a:pt x="8042" y="14589"/>
                  </a:cubicBezTo>
                  <a:cubicBezTo>
                    <a:pt x="7736" y="14780"/>
                    <a:pt x="7419" y="14922"/>
                    <a:pt x="7350" y="14937"/>
                  </a:cubicBezTo>
                  <a:cubicBezTo>
                    <a:pt x="7279" y="14946"/>
                    <a:pt x="7019" y="15044"/>
                    <a:pt x="6772" y="15151"/>
                  </a:cubicBezTo>
                  <a:cubicBezTo>
                    <a:pt x="6524" y="15254"/>
                    <a:pt x="6181" y="15410"/>
                    <a:pt x="6008" y="15490"/>
                  </a:cubicBezTo>
                  <a:cubicBezTo>
                    <a:pt x="5838" y="15582"/>
                    <a:pt x="5663" y="15608"/>
                    <a:pt x="5621" y="15587"/>
                  </a:cubicBezTo>
                  <a:cubicBezTo>
                    <a:pt x="5580" y="15560"/>
                    <a:pt x="5458" y="15571"/>
                    <a:pt x="5346" y="15598"/>
                  </a:cubicBezTo>
                  <a:cubicBezTo>
                    <a:pt x="5237" y="15648"/>
                    <a:pt x="5046" y="15640"/>
                    <a:pt x="4928" y="15622"/>
                  </a:cubicBezTo>
                  <a:cubicBezTo>
                    <a:pt x="4811" y="15615"/>
                    <a:pt x="4634" y="15642"/>
                    <a:pt x="4537" y="15726"/>
                  </a:cubicBezTo>
                  <a:cubicBezTo>
                    <a:pt x="4437" y="15800"/>
                    <a:pt x="4256" y="15962"/>
                    <a:pt x="4126" y="16073"/>
                  </a:cubicBezTo>
                  <a:cubicBezTo>
                    <a:pt x="4000" y="16189"/>
                    <a:pt x="3727" y="16360"/>
                    <a:pt x="3526" y="16473"/>
                  </a:cubicBezTo>
                  <a:cubicBezTo>
                    <a:pt x="3321" y="16571"/>
                    <a:pt x="3054" y="16739"/>
                    <a:pt x="2940" y="16851"/>
                  </a:cubicBezTo>
                  <a:cubicBezTo>
                    <a:pt x="2821" y="16950"/>
                    <a:pt x="2616" y="17182"/>
                    <a:pt x="2485" y="17366"/>
                  </a:cubicBezTo>
                  <a:cubicBezTo>
                    <a:pt x="2361" y="17557"/>
                    <a:pt x="2328" y="17697"/>
                    <a:pt x="2419" y="17735"/>
                  </a:cubicBezTo>
                  <a:cubicBezTo>
                    <a:pt x="2511" y="17759"/>
                    <a:pt x="2533" y="17854"/>
                    <a:pt x="2474" y="17967"/>
                  </a:cubicBezTo>
                  <a:cubicBezTo>
                    <a:pt x="2404" y="18067"/>
                    <a:pt x="2302" y="18222"/>
                    <a:pt x="2228" y="18288"/>
                  </a:cubicBezTo>
                  <a:cubicBezTo>
                    <a:pt x="2150" y="18341"/>
                    <a:pt x="2102" y="18320"/>
                    <a:pt x="2111" y="18210"/>
                  </a:cubicBezTo>
                  <a:cubicBezTo>
                    <a:pt x="2101" y="18100"/>
                    <a:pt x="2063" y="18043"/>
                    <a:pt x="1985" y="18073"/>
                  </a:cubicBezTo>
                  <a:cubicBezTo>
                    <a:pt x="1908" y="18104"/>
                    <a:pt x="1686" y="18333"/>
                    <a:pt x="1499" y="18583"/>
                  </a:cubicBezTo>
                  <a:cubicBezTo>
                    <a:pt x="1305" y="18826"/>
                    <a:pt x="1112" y="19122"/>
                    <a:pt x="1064" y="19233"/>
                  </a:cubicBezTo>
                  <a:cubicBezTo>
                    <a:pt x="1015" y="19343"/>
                    <a:pt x="1044" y="19401"/>
                    <a:pt x="1129" y="19384"/>
                  </a:cubicBezTo>
                  <a:cubicBezTo>
                    <a:pt x="1213" y="19356"/>
                    <a:pt x="1335" y="19286"/>
                    <a:pt x="1397" y="19224"/>
                  </a:cubicBezTo>
                  <a:cubicBezTo>
                    <a:pt x="1460" y="19162"/>
                    <a:pt x="1575" y="19100"/>
                    <a:pt x="1643" y="19057"/>
                  </a:cubicBezTo>
                  <a:cubicBezTo>
                    <a:pt x="1718" y="19029"/>
                    <a:pt x="1784" y="19069"/>
                    <a:pt x="1832" y="19109"/>
                  </a:cubicBezTo>
                  <a:cubicBezTo>
                    <a:pt x="1862" y="19172"/>
                    <a:pt x="1958" y="19192"/>
                    <a:pt x="2043" y="19169"/>
                  </a:cubicBezTo>
                  <a:cubicBezTo>
                    <a:pt x="2128" y="19146"/>
                    <a:pt x="2106" y="19190"/>
                    <a:pt x="1988" y="19248"/>
                  </a:cubicBezTo>
                  <a:cubicBezTo>
                    <a:pt x="1877" y="19327"/>
                    <a:pt x="1706" y="19443"/>
                    <a:pt x="1612" y="19512"/>
                  </a:cubicBezTo>
                  <a:cubicBezTo>
                    <a:pt x="1518" y="19582"/>
                    <a:pt x="1400" y="19604"/>
                    <a:pt x="1336" y="19585"/>
                  </a:cubicBezTo>
                  <a:cubicBezTo>
                    <a:pt x="1272" y="19564"/>
                    <a:pt x="1076" y="19602"/>
                    <a:pt x="899" y="19715"/>
                  </a:cubicBezTo>
                  <a:cubicBezTo>
                    <a:pt x="718" y="19817"/>
                    <a:pt x="468" y="20041"/>
                    <a:pt x="367" y="20233"/>
                  </a:cubicBezTo>
                  <a:cubicBezTo>
                    <a:pt x="249" y="20405"/>
                    <a:pt x="185" y="20584"/>
                    <a:pt x="200" y="20620"/>
                  </a:cubicBezTo>
                  <a:cubicBezTo>
                    <a:pt x="217" y="20655"/>
                    <a:pt x="323" y="20619"/>
                    <a:pt x="427" y="20535"/>
                  </a:cubicBezTo>
                  <a:cubicBezTo>
                    <a:pt x="531" y="20458"/>
                    <a:pt x="540" y="20471"/>
                    <a:pt x="447" y="20566"/>
                  </a:cubicBezTo>
                  <a:cubicBezTo>
                    <a:pt x="358" y="20666"/>
                    <a:pt x="189" y="20915"/>
                    <a:pt x="82" y="21128"/>
                  </a:cubicBezTo>
                  <a:cubicBezTo>
                    <a:pt x="-31" y="21340"/>
                    <a:pt x="-24" y="21443"/>
                    <a:pt x="83" y="21347"/>
                  </a:cubicBezTo>
                  <a:close/>
                  <a:moveTo>
                    <a:pt x="83" y="213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4" name="AutoShape 1116"/>
            <p:cNvSpPr>
              <a:spLocks/>
            </p:cNvSpPr>
            <p:nvPr/>
          </p:nvSpPr>
          <p:spPr bwMode="auto">
            <a:xfrm>
              <a:off x="5080000" y="1485900"/>
              <a:ext cx="58738" cy="23813"/>
            </a:xfrm>
            <a:custGeom>
              <a:avLst/>
              <a:gdLst/>
              <a:ahLst/>
              <a:cxnLst/>
              <a:rect l="0" t="0" r="r" b="b"/>
              <a:pathLst>
                <a:path w="21412" h="21256">
                  <a:moveTo>
                    <a:pt x="18943" y="6254"/>
                  </a:moveTo>
                  <a:cubicBezTo>
                    <a:pt x="19449" y="5943"/>
                    <a:pt x="20096" y="5193"/>
                    <a:pt x="20416" y="4714"/>
                  </a:cubicBezTo>
                  <a:cubicBezTo>
                    <a:pt x="20717" y="4176"/>
                    <a:pt x="21009" y="3543"/>
                    <a:pt x="20954" y="3332"/>
                  </a:cubicBezTo>
                  <a:cubicBezTo>
                    <a:pt x="20994" y="3100"/>
                    <a:pt x="21078" y="2441"/>
                    <a:pt x="21275" y="1945"/>
                  </a:cubicBezTo>
                  <a:cubicBezTo>
                    <a:pt x="21495" y="1529"/>
                    <a:pt x="21428" y="1080"/>
                    <a:pt x="21230" y="890"/>
                  </a:cubicBezTo>
                  <a:cubicBezTo>
                    <a:pt x="21018" y="854"/>
                    <a:pt x="20693" y="585"/>
                    <a:pt x="20590" y="205"/>
                  </a:cubicBezTo>
                  <a:cubicBezTo>
                    <a:pt x="20414" y="14"/>
                    <a:pt x="19966" y="184"/>
                    <a:pt x="19503" y="837"/>
                  </a:cubicBezTo>
                  <a:cubicBezTo>
                    <a:pt x="19035" y="1454"/>
                    <a:pt x="18379" y="2309"/>
                    <a:pt x="18027" y="2672"/>
                  </a:cubicBezTo>
                  <a:cubicBezTo>
                    <a:pt x="17666" y="2984"/>
                    <a:pt x="17249" y="3142"/>
                    <a:pt x="17296" y="2937"/>
                  </a:cubicBezTo>
                  <a:cubicBezTo>
                    <a:pt x="17245" y="2736"/>
                    <a:pt x="17423" y="2083"/>
                    <a:pt x="17733" y="1666"/>
                  </a:cubicBezTo>
                  <a:cubicBezTo>
                    <a:pt x="18023" y="1159"/>
                    <a:pt x="18029" y="932"/>
                    <a:pt x="17740" y="885"/>
                  </a:cubicBezTo>
                  <a:cubicBezTo>
                    <a:pt x="17458" y="1027"/>
                    <a:pt x="16995" y="737"/>
                    <a:pt x="16752" y="300"/>
                  </a:cubicBezTo>
                  <a:cubicBezTo>
                    <a:pt x="16471" y="20"/>
                    <a:pt x="15994" y="-127"/>
                    <a:pt x="15624" y="142"/>
                  </a:cubicBezTo>
                  <a:cubicBezTo>
                    <a:pt x="15272" y="506"/>
                    <a:pt x="14721" y="742"/>
                    <a:pt x="14425" y="817"/>
                  </a:cubicBezTo>
                  <a:cubicBezTo>
                    <a:pt x="14133" y="949"/>
                    <a:pt x="13661" y="1185"/>
                    <a:pt x="13446" y="1660"/>
                  </a:cubicBezTo>
                  <a:cubicBezTo>
                    <a:pt x="13190" y="2024"/>
                    <a:pt x="12666" y="2741"/>
                    <a:pt x="12236" y="3036"/>
                  </a:cubicBezTo>
                  <a:cubicBezTo>
                    <a:pt x="11831" y="3475"/>
                    <a:pt x="11532" y="3427"/>
                    <a:pt x="11588" y="3074"/>
                  </a:cubicBezTo>
                  <a:cubicBezTo>
                    <a:pt x="11632" y="2710"/>
                    <a:pt x="11507" y="2636"/>
                    <a:pt x="11258" y="2762"/>
                  </a:cubicBezTo>
                  <a:cubicBezTo>
                    <a:pt x="11008" y="2921"/>
                    <a:pt x="10480" y="3433"/>
                    <a:pt x="10088" y="3938"/>
                  </a:cubicBezTo>
                  <a:cubicBezTo>
                    <a:pt x="9707" y="4481"/>
                    <a:pt x="9103" y="5019"/>
                    <a:pt x="8768" y="5173"/>
                  </a:cubicBezTo>
                  <a:cubicBezTo>
                    <a:pt x="8443" y="5389"/>
                    <a:pt x="7856" y="5969"/>
                    <a:pt x="7449" y="6406"/>
                  </a:cubicBezTo>
                  <a:cubicBezTo>
                    <a:pt x="7048" y="6881"/>
                    <a:pt x="6325" y="7767"/>
                    <a:pt x="5815" y="8173"/>
                  </a:cubicBezTo>
                  <a:cubicBezTo>
                    <a:pt x="5329" y="8727"/>
                    <a:pt x="4473" y="9987"/>
                    <a:pt x="3880" y="10884"/>
                  </a:cubicBezTo>
                  <a:cubicBezTo>
                    <a:pt x="3341" y="11959"/>
                    <a:pt x="2389" y="13942"/>
                    <a:pt x="1747" y="15292"/>
                  </a:cubicBezTo>
                  <a:cubicBezTo>
                    <a:pt x="1159" y="16774"/>
                    <a:pt x="432" y="18731"/>
                    <a:pt x="183" y="19759"/>
                  </a:cubicBezTo>
                  <a:cubicBezTo>
                    <a:pt x="-105" y="20729"/>
                    <a:pt x="-31" y="21473"/>
                    <a:pt x="252" y="21199"/>
                  </a:cubicBezTo>
                  <a:cubicBezTo>
                    <a:pt x="541" y="21040"/>
                    <a:pt x="1217" y="20228"/>
                    <a:pt x="1776" y="19642"/>
                  </a:cubicBezTo>
                  <a:cubicBezTo>
                    <a:pt x="2322" y="18994"/>
                    <a:pt x="2928" y="18709"/>
                    <a:pt x="3033" y="19089"/>
                  </a:cubicBezTo>
                  <a:cubicBezTo>
                    <a:pt x="3220" y="19210"/>
                    <a:pt x="3606" y="19527"/>
                    <a:pt x="3994" y="19443"/>
                  </a:cubicBezTo>
                  <a:cubicBezTo>
                    <a:pt x="4380" y="19373"/>
                    <a:pt x="5166" y="18788"/>
                    <a:pt x="5728" y="18182"/>
                  </a:cubicBezTo>
                  <a:cubicBezTo>
                    <a:pt x="6296" y="17612"/>
                    <a:pt x="7170" y="17085"/>
                    <a:pt x="7656" y="17202"/>
                  </a:cubicBezTo>
                  <a:cubicBezTo>
                    <a:pt x="8151" y="17202"/>
                    <a:pt x="9194" y="16800"/>
                    <a:pt x="9918" y="15946"/>
                  </a:cubicBezTo>
                  <a:cubicBezTo>
                    <a:pt x="10676" y="15276"/>
                    <a:pt x="11664" y="14575"/>
                    <a:pt x="12123" y="14575"/>
                  </a:cubicBezTo>
                  <a:cubicBezTo>
                    <a:pt x="12584" y="14502"/>
                    <a:pt x="13348" y="13958"/>
                    <a:pt x="13859" y="13446"/>
                  </a:cubicBezTo>
                  <a:cubicBezTo>
                    <a:pt x="14338" y="12766"/>
                    <a:pt x="15493" y="11100"/>
                    <a:pt x="16393" y="9602"/>
                  </a:cubicBezTo>
                  <a:cubicBezTo>
                    <a:pt x="17291" y="8068"/>
                    <a:pt x="18442" y="6570"/>
                    <a:pt x="18943" y="6254"/>
                  </a:cubicBezTo>
                  <a:close/>
                  <a:moveTo>
                    <a:pt x="18943" y="62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5" name="AutoShape 1117"/>
            <p:cNvSpPr>
              <a:spLocks/>
            </p:cNvSpPr>
            <p:nvPr/>
          </p:nvSpPr>
          <p:spPr bwMode="auto">
            <a:xfrm>
              <a:off x="4267200" y="2095500"/>
              <a:ext cx="6350" cy="6350"/>
            </a:xfrm>
            <a:custGeom>
              <a:avLst/>
              <a:gdLst/>
              <a:ahLst/>
              <a:cxnLst/>
              <a:rect l="0" t="0" r="r" b="b"/>
              <a:pathLst>
                <a:path w="19919" h="20261">
                  <a:moveTo>
                    <a:pt x="15675" y="3253"/>
                  </a:moveTo>
                  <a:cubicBezTo>
                    <a:pt x="11375" y="6812"/>
                    <a:pt x="6127" y="12469"/>
                    <a:pt x="3512" y="15374"/>
                  </a:cubicBezTo>
                  <a:cubicBezTo>
                    <a:pt x="839" y="18211"/>
                    <a:pt x="-597" y="20425"/>
                    <a:pt x="236" y="20251"/>
                  </a:cubicBezTo>
                  <a:cubicBezTo>
                    <a:pt x="933" y="19787"/>
                    <a:pt x="4576" y="17088"/>
                    <a:pt x="8178" y="13889"/>
                  </a:cubicBezTo>
                  <a:cubicBezTo>
                    <a:pt x="11685" y="10514"/>
                    <a:pt x="16429" y="5187"/>
                    <a:pt x="18853" y="2059"/>
                  </a:cubicBezTo>
                  <a:cubicBezTo>
                    <a:pt x="21003" y="-1175"/>
                    <a:pt x="19880" y="-467"/>
                    <a:pt x="15675" y="3253"/>
                  </a:cubicBezTo>
                  <a:close/>
                  <a:moveTo>
                    <a:pt x="15675" y="32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6" name="AutoShape 1118"/>
            <p:cNvSpPr>
              <a:spLocks/>
            </p:cNvSpPr>
            <p:nvPr/>
          </p:nvSpPr>
          <p:spPr bwMode="auto">
            <a:xfrm>
              <a:off x="5143500" y="1498600"/>
              <a:ext cx="4763" cy="4763"/>
            </a:xfrm>
            <a:custGeom>
              <a:avLst/>
              <a:gdLst/>
              <a:ahLst/>
              <a:cxnLst/>
              <a:rect l="0" t="0" r="r" b="b"/>
              <a:pathLst>
                <a:path w="20322" h="21009">
                  <a:moveTo>
                    <a:pt x="3333" y="21009"/>
                  </a:moveTo>
                  <a:cubicBezTo>
                    <a:pt x="5944" y="20809"/>
                    <a:pt x="10175" y="18854"/>
                    <a:pt x="13229" y="17124"/>
                  </a:cubicBezTo>
                  <a:cubicBezTo>
                    <a:pt x="15604" y="14620"/>
                    <a:pt x="19316" y="11915"/>
                    <a:pt x="19814" y="9960"/>
                  </a:cubicBezTo>
                  <a:cubicBezTo>
                    <a:pt x="21120" y="8354"/>
                    <a:pt x="19708" y="6978"/>
                    <a:pt x="17850" y="6527"/>
                  </a:cubicBezTo>
                  <a:cubicBezTo>
                    <a:pt x="15947" y="6527"/>
                    <a:pt x="15604" y="4849"/>
                    <a:pt x="15921" y="2544"/>
                  </a:cubicBezTo>
                  <a:cubicBezTo>
                    <a:pt x="16706" y="338"/>
                    <a:pt x="15921" y="-591"/>
                    <a:pt x="14037" y="389"/>
                  </a:cubicBezTo>
                  <a:cubicBezTo>
                    <a:pt x="12160" y="1190"/>
                    <a:pt x="8453" y="4069"/>
                    <a:pt x="6254" y="6778"/>
                  </a:cubicBezTo>
                  <a:cubicBezTo>
                    <a:pt x="3934" y="9385"/>
                    <a:pt x="1343" y="13645"/>
                    <a:pt x="173" y="16247"/>
                  </a:cubicBezTo>
                  <a:cubicBezTo>
                    <a:pt x="-480" y="18956"/>
                    <a:pt x="744" y="20809"/>
                    <a:pt x="3333" y="21009"/>
                  </a:cubicBezTo>
                  <a:close/>
                  <a:moveTo>
                    <a:pt x="3333" y="210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7" name="AutoShape 1119"/>
            <p:cNvSpPr>
              <a:spLocks/>
            </p:cNvSpPr>
            <p:nvPr/>
          </p:nvSpPr>
          <p:spPr bwMode="auto">
            <a:xfrm>
              <a:off x="4267200" y="2108200"/>
              <a:ext cx="3175" cy="4763"/>
            </a:xfrm>
            <a:custGeom>
              <a:avLst/>
              <a:gdLst/>
              <a:ahLst/>
              <a:cxnLst/>
              <a:rect l="0" t="0" r="r" b="b"/>
              <a:pathLst>
                <a:path w="20183" h="20686">
                  <a:moveTo>
                    <a:pt x="4469" y="13247"/>
                  </a:moveTo>
                  <a:cubicBezTo>
                    <a:pt x="1320" y="16796"/>
                    <a:pt x="-601" y="20173"/>
                    <a:pt x="170" y="20686"/>
                  </a:cubicBezTo>
                  <a:cubicBezTo>
                    <a:pt x="1133" y="20581"/>
                    <a:pt x="3270" y="19612"/>
                    <a:pt x="5754" y="17592"/>
                  </a:cubicBezTo>
                  <a:cubicBezTo>
                    <a:pt x="7996" y="15288"/>
                    <a:pt x="11090" y="11969"/>
                    <a:pt x="12238" y="9948"/>
                  </a:cubicBezTo>
                  <a:cubicBezTo>
                    <a:pt x="13043" y="7776"/>
                    <a:pt x="16405" y="4247"/>
                    <a:pt x="19047" y="1923"/>
                  </a:cubicBezTo>
                  <a:cubicBezTo>
                    <a:pt x="20999" y="-914"/>
                    <a:pt x="20545" y="-407"/>
                    <a:pt x="16832" y="2101"/>
                  </a:cubicBezTo>
                  <a:cubicBezTo>
                    <a:pt x="13069" y="4556"/>
                    <a:pt x="7728" y="9745"/>
                    <a:pt x="4469" y="13247"/>
                  </a:cubicBezTo>
                  <a:close/>
                  <a:moveTo>
                    <a:pt x="4469" y="132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8" name="AutoShape 1120"/>
            <p:cNvSpPr>
              <a:spLocks/>
            </p:cNvSpPr>
            <p:nvPr/>
          </p:nvSpPr>
          <p:spPr bwMode="auto">
            <a:xfrm>
              <a:off x="4318000" y="2197100"/>
              <a:ext cx="11113" cy="17463"/>
            </a:xfrm>
            <a:custGeom>
              <a:avLst/>
              <a:gdLst/>
              <a:ahLst/>
              <a:cxnLst/>
              <a:rect l="0" t="0" r="r" b="b"/>
              <a:pathLst>
                <a:path w="21037" h="20690">
                  <a:moveTo>
                    <a:pt x="16648" y="2803"/>
                  </a:moveTo>
                  <a:cubicBezTo>
                    <a:pt x="14055" y="4762"/>
                    <a:pt x="11300" y="7383"/>
                    <a:pt x="10310" y="8498"/>
                  </a:cubicBezTo>
                  <a:cubicBezTo>
                    <a:pt x="9255" y="9593"/>
                    <a:pt x="7335" y="11437"/>
                    <a:pt x="5797" y="12511"/>
                  </a:cubicBezTo>
                  <a:cubicBezTo>
                    <a:pt x="4283" y="13572"/>
                    <a:pt x="2008" y="16092"/>
                    <a:pt x="911" y="18126"/>
                  </a:cubicBezTo>
                  <a:cubicBezTo>
                    <a:pt x="-330" y="20132"/>
                    <a:pt x="-265" y="21200"/>
                    <a:pt x="877" y="20450"/>
                  </a:cubicBezTo>
                  <a:cubicBezTo>
                    <a:pt x="2249" y="19822"/>
                    <a:pt x="4074" y="18383"/>
                    <a:pt x="4985" y="17355"/>
                  </a:cubicBezTo>
                  <a:cubicBezTo>
                    <a:pt x="6070" y="16396"/>
                    <a:pt x="8126" y="14727"/>
                    <a:pt x="9861" y="13835"/>
                  </a:cubicBezTo>
                  <a:cubicBezTo>
                    <a:pt x="11354" y="12801"/>
                    <a:pt x="12946" y="11552"/>
                    <a:pt x="13090" y="10889"/>
                  </a:cubicBezTo>
                  <a:cubicBezTo>
                    <a:pt x="13364" y="10235"/>
                    <a:pt x="14187" y="8836"/>
                    <a:pt x="15494" y="7938"/>
                  </a:cubicBezTo>
                  <a:cubicBezTo>
                    <a:pt x="16560" y="6944"/>
                    <a:pt x="17251" y="5944"/>
                    <a:pt x="17129" y="5593"/>
                  </a:cubicBezTo>
                  <a:cubicBezTo>
                    <a:pt x="16725" y="5344"/>
                    <a:pt x="17536" y="4093"/>
                    <a:pt x="18767" y="3066"/>
                  </a:cubicBezTo>
                  <a:cubicBezTo>
                    <a:pt x="19921" y="2006"/>
                    <a:pt x="21018" y="688"/>
                    <a:pt x="21018" y="127"/>
                  </a:cubicBezTo>
                  <a:cubicBezTo>
                    <a:pt x="21270" y="-400"/>
                    <a:pt x="19063" y="755"/>
                    <a:pt x="16648" y="2803"/>
                  </a:cubicBezTo>
                  <a:close/>
                  <a:moveTo>
                    <a:pt x="16648" y="28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19" name="AutoShape 1121"/>
            <p:cNvSpPr>
              <a:spLocks/>
            </p:cNvSpPr>
            <p:nvPr/>
          </p:nvSpPr>
          <p:spPr bwMode="auto">
            <a:xfrm>
              <a:off x="5105400" y="1524000"/>
              <a:ext cx="17463" cy="17463"/>
            </a:xfrm>
            <a:custGeom>
              <a:avLst/>
              <a:gdLst/>
              <a:ahLst/>
              <a:cxnLst/>
              <a:rect l="0" t="0" r="r" b="b"/>
              <a:pathLst>
                <a:path w="20884" h="21023">
                  <a:moveTo>
                    <a:pt x="15562" y="8206"/>
                  </a:moveTo>
                  <a:cubicBezTo>
                    <a:pt x="17865" y="5575"/>
                    <a:pt x="20210" y="2615"/>
                    <a:pt x="20816" y="1575"/>
                  </a:cubicBezTo>
                  <a:cubicBezTo>
                    <a:pt x="21178" y="438"/>
                    <a:pt x="20056" y="-267"/>
                    <a:pt x="18081" y="96"/>
                  </a:cubicBezTo>
                  <a:cubicBezTo>
                    <a:pt x="16097" y="340"/>
                    <a:pt x="12988" y="1631"/>
                    <a:pt x="11011" y="2615"/>
                  </a:cubicBezTo>
                  <a:cubicBezTo>
                    <a:pt x="9146" y="3802"/>
                    <a:pt x="7650" y="4744"/>
                    <a:pt x="7726" y="4911"/>
                  </a:cubicBezTo>
                  <a:cubicBezTo>
                    <a:pt x="7823" y="5064"/>
                    <a:pt x="7198" y="6049"/>
                    <a:pt x="6676" y="7277"/>
                  </a:cubicBezTo>
                  <a:cubicBezTo>
                    <a:pt x="6049" y="8450"/>
                    <a:pt x="5687" y="9567"/>
                    <a:pt x="5904" y="9880"/>
                  </a:cubicBezTo>
                  <a:cubicBezTo>
                    <a:pt x="6112" y="10194"/>
                    <a:pt x="5131" y="12107"/>
                    <a:pt x="3663" y="14172"/>
                  </a:cubicBezTo>
                  <a:cubicBezTo>
                    <a:pt x="2341" y="16336"/>
                    <a:pt x="594" y="18730"/>
                    <a:pt x="156" y="19721"/>
                  </a:cubicBezTo>
                  <a:cubicBezTo>
                    <a:pt x="-422" y="20650"/>
                    <a:pt x="671" y="21333"/>
                    <a:pt x="2293" y="20880"/>
                  </a:cubicBezTo>
                  <a:cubicBezTo>
                    <a:pt x="3913" y="20461"/>
                    <a:pt x="5952" y="19798"/>
                    <a:pt x="6877" y="19595"/>
                  </a:cubicBezTo>
                  <a:cubicBezTo>
                    <a:pt x="7664" y="19072"/>
                    <a:pt x="8687" y="18346"/>
                    <a:pt x="8875" y="17621"/>
                  </a:cubicBezTo>
                  <a:cubicBezTo>
                    <a:pt x="9105" y="16902"/>
                    <a:pt x="9013" y="16210"/>
                    <a:pt x="8832" y="15953"/>
                  </a:cubicBezTo>
                  <a:cubicBezTo>
                    <a:pt x="8666" y="15701"/>
                    <a:pt x="9063" y="15010"/>
                    <a:pt x="9793" y="14215"/>
                  </a:cubicBezTo>
                  <a:cubicBezTo>
                    <a:pt x="10594" y="13510"/>
                    <a:pt x="13085" y="10683"/>
                    <a:pt x="15562" y="8206"/>
                  </a:cubicBezTo>
                  <a:close/>
                  <a:moveTo>
                    <a:pt x="15562" y="820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0" name="AutoShape 1122"/>
            <p:cNvSpPr>
              <a:spLocks/>
            </p:cNvSpPr>
            <p:nvPr/>
          </p:nvSpPr>
          <p:spPr bwMode="auto">
            <a:xfrm>
              <a:off x="4483100" y="2692400"/>
              <a:ext cx="6350" cy="12700"/>
            </a:xfrm>
            <a:custGeom>
              <a:avLst/>
              <a:gdLst/>
              <a:ahLst/>
              <a:cxnLst/>
              <a:rect l="0" t="0" r="r" b="b"/>
              <a:pathLst>
                <a:path w="20131" h="21249">
                  <a:moveTo>
                    <a:pt x="19290" y="14"/>
                  </a:moveTo>
                  <a:cubicBezTo>
                    <a:pt x="17989" y="345"/>
                    <a:pt x="15178" y="2821"/>
                    <a:pt x="13845" y="5558"/>
                  </a:cubicBezTo>
                  <a:cubicBezTo>
                    <a:pt x="11895" y="8117"/>
                    <a:pt x="7750" y="12830"/>
                    <a:pt x="4227" y="15959"/>
                  </a:cubicBezTo>
                  <a:cubicBezTo>
                    <a:pt x="785" y="19108"/>
                    <a:pt x="-961" y="21387"/>
                    <a:pt x="544" y="21243"/>
                  </a:cubicBezTo>
                  <a:cubicBezTo>
                    <a:pt x="2085" y="21243"/>
                    <a:pt x="6070" y="19047"/>
                    <a:pt x="9545" y="16779"/>
                  </a:cubicBezTo>
                  <a:cubicBezTo>
                    <a:pt x="13003" y="14508"/>
                    <a:pt x="16989" y="9620"/>
                    <a:pt x="18656" y="5930"/>
                  </a:cubicBezTo>
                  <a:cubicBezTo>
                    <a:pt x="20321" y="2231"/>
                    <a:pt x="20639" y="-213"/>
                    <a:pt x="19290" y="14"/>
                  </a:cubicBezTo>
                  <a:close/>
                  <a:moveTo>
                    <a:pt x="19290" y="1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1" name="AutoShape 1123"/>
            <p:cNvSpPr>
              <a:spLocks/>
            </p:cNvSpPr>
            <p:nvPr/>
          </p:nvSpPr>
          <p:spPr bwMode="auto">
            <a:xfrm>
              <a:off x="4495800" y="2679700"/>
              <a:ext cx="1588" cy="1588"/>
            </a:xfrm>
            <a:custGeom>
              <a:avLst/>
              <a:gdLst/>
              <a:ahLst/>
              <a:cxnLst/>
              <a:rect l="0" t="0" r="r" b="b"/>
              <a:pathLst>
                <a:path w="19327" h="18706">
                  <a:moveTo>
                    <a:pt x="11737" y="16263"/>
                  </a:moveTo>
                  <a:cubicBezTo>
                    <a:pt x="16843" y="12439"/>
                    <a:pt x="20047" y="6711"/>
                    <a:pt x="19188" y="3443"/>
                  </a:cubicBezTo>
                  <a:cubicBezTo>
                    <a:pt x="19188" y="219"/>
                    <a:pt x="12915" y="-1138"/>
                    <a:pt x="8062" y="1114"/>
                  </a:cubicBezTo>
                  <a:cubicBezTo>
                    <a:pt x="2310" y="2340"/>
                    <a:pt x="-1553" y="8962"/>
                    <a:pt x="607" y="13882"/>
                  </a:cubicBezTo>
                  <a:cubicBezTo>
                    <a:pt x="607" y="18975"/>
                    <a:pt x="8062" y="20462"/>
                    <a:pt x="11737" y="16263"/>
                  </a:cubicBezTo>
                  <a:close/>
                  <a:moveTo>
                    <a:pt x="11737" y="162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2" name="AutoShape 1124"/>
            <p:cNvSpPr>
              <a:spLocks/>
            </p:cNvSpPr>
            <p:nvPr/>
          </p:nvSpPr>
          <p:spPr bwMode="auto">
            <a:xfrm>
              <a:off x="4394200" y="2870200"/>
              <a:ext cx="3175" cy="9525"/>
            </a:xfrm>
            <a:custGeom>
              <a:avLst/>
              <a:gdLst/>
              <a:ahLst/>
              <a:cxnLst/>
              <a:rect l="0" t="0" r="r" b="b"/>
              <a:pathLst>
                <a:path w="20339" h="20259">
                  <a:moveTo>
                    <a:pt x="18541" y="214"/>
                  </a:moveTo>
                  <a:cubicBezTo>
                    <a:pt x="15349" y="909"/>
                    <a:pt x="11867" y="2391"/>
                    <a:pt x="9437" y="2830"/>
                  </a:cubicBezTo>
                  <a:cubicBezTo>
                    <a:pt x="7578" y="3512"/>
                    <a:pt x="4258" y="6989"/>
                    <a:pt x="1863" y="10870"/>
                  </a:cubicBezTo>
                  <a:cubicBezTo>
                    <a:pt x="237" y="14810"/>
                    <a:pt x="-629" y="18822"/>
                    <a:pt x="536" y="19869"/>
                  </a:cubicBezTo>
                  <a:cubicBezTo>
                    <a:pt x="2393" y="20768"/>
                    <a:pt x="5121" y="20088"/>
                    <a:pt x="8110" y="18093"/>
                  </a:cubicBezTo>
                  <a:cubicBezTo>
                    <a:pt x="11431" y="16185"/>
                    <a:pt x="16016" y="10905"/>
                    <a:pt x="18446" y="6503"/>
                  </a:cubicBezTo>
                  <a:cubicBezTo>
                    <a:pt x="20971" y="2065"/>
                    <a:pt x="20938" y="-832"/>
                    <a:pt x="18541" y="214"/>
                  </a:cubicBezTo>
                  <a:close/>
                  <a:moveTo>
                    <a:pt x="18541" y="21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3" name="AutoShape 1125"/>
            <p:cNvSpPr>
              <a:spLocks/>
            </p:cNvSpPr>
            <p:nvPr/>
          </p:nvSpPr>
          <p:spPr bwMode="auto">
            <a:xfrm>
              <a:off x="4343400" y="2882900"/>
              <a:ext cx="28575" cy="25400"/>
            </a:xfrm>
            <a:custGeom>
              <a:avLst/>
              <a:gdLst/>
              <a:ahLst/>
              <a:cxnLst/>
              <a:rect l="0" t="0" r="r" b="b"/>
              <a:pathLst>
                <a:path w="21170" h="21215">
                  <a:moveTo>
                    <a:pt x="21109" y="7140"/>
                  </a:moveTo>
                  <a:cubicBezTo>
                    <a:pt x="21299" y="5547"/>
                    <a:pt x="20628" y="3224"/>
                    <a:pt x="19700" y="2140"/>
                  </a:cubicBezTo>
                  <a:cubicBezTo>
                    <a:pt x="18798" y="1009"/>
                    <a:pt x="17384" y="403"/>
                    <a:pt x="16531" y="866"/>
                  </a:cubicBezTo>
                  <a:cubicBezTo>
                    <a:pt x="15661" y="1287"/>
                    <a:pt x="15055" y="1112"/>
                    <a:pt x="14767" y="613"/>
                  </a:cubicBezTo>
                  <a:cubicBezTo>
                    <a:pt x="14692" y="33"/>
                    <a:pt x="13734" y="-209"/>
                    <a:pt x="12762" y="212"/>
                  </a:cubicBezTo>
                  <a:cubicBezTo>
                    <a:pt x="11758" y="552"/>
                    <a:pt x="10429" y="1538"/>
                    <a:pt x="9788" y="2356"/>
                  </a:cubicBezTo>
                  <a:cubicBezTo>
                    <a:pt x="9085" y="3110"/>
                    <a:pt x="8427" y="4802"/>
                    <a:pt x="8122" y="5937"/>
                  </a:cubicBezTo>
                  <a:cubicBezTo>
                    <a:pt x="7857" y="7089"/>
                    <a:pt x="6972" y="7993"/>
                    <a:pt x="6200" y="8142"/>
                  </a:cubicBezTo>
                  <a:cubicBezTo>
                    <a:pt x="5426" y="8280"/>
                    <a:pt x="3623" y="10116"/>
                    <a:pt x="2266" y="12444"/>
                  </a:cubicBezTo>
                  <a:cubicBezTo>
                    <a:pt x="940" y="14792"/>
                    <a:pt x="-301" y="17213"/>
                    <a:pt x="66" y="17639"/>
                  </a:cubicBezTo>
                  <a:cubicBezTo>
                    <a:pt x="190" y="18215"/>
                    <a:pt x="1126" y="18236"/>
                    <a:pt x="2046" y="17808"/>
                  </a:cubicBezTo>
                  <a:cubicBezTo>
                    <a:pt x="2925" y="17295"/>
                    <a:pt x="3742" y="17582"/>
                    <a:pt x="3592" y="18281"/>
                  </a:cubicBezTo>
                  <a:cubicBezTo>
                    <a:pt x="3592" y="19006"/>
                    <a:pt x="3884" y="20039"/>
                    <a:pt x="4198" y="20712"/>
                  </a:cubicBezTo>
                  <a:cubicBezTo>
                    <a:pt x="4622" y="21298"/>
                    <a:pt x="4856" y="21391"/>
                    <a:pt x="4949" y="20887"/>
                  </a:cubicBezTo>
                  <a:cubicBezTo>
                    <a:pt x="5015" y="20373"/>
                    <a:pt x="5130" y="19113"/>
                    <a:pt x="5390" y="18122"/>
                  </a:cubicBezTo>
                  <a:cubicBezTo>
                    <a:pt x="5651" y="17136"/>
                    <a:pt x="6513" y="15912"/>
                    <a:pt x="7419" y="15830"/>
                  </a:cubicBezTo>
                  <a:cubicBezTo>
                    <a:pt x="8312" y="15553"/>
                    <a:pt x="9566" y="15830"/>
                    <a:pt x="10256" y="16339"/>
                  </a:cubicBezTo>
                  <a:cubicBezTo>
                    <a:pt x="10972" y="16796"/>
                    <a:pt x="13309" y="17248"/>
                    <a:pt x="15572" y="17172"/>
                  </a:cubicBezTo>
                  <a:cubicBezTo>
                    <a:pt x="17848" y="17095"/>
                    <a:pt x="20071" y="15963"/>
                    <a:pt x="20522" y="14684"/>
                  </a:cubicBezTo>
                  <a:cubicBezTo>
                    <a:pt x="20963" y="13399"/>
                    <a:pt x="21277" y="11852"/>
                    <a:pt x="21136" y="11216"/>
                  </a:cubicBezTo>
                  <a:cubicBezTo>
                    <a:pt x="20888" y="10635"/>
                    <a:pt x="20972" y="8738"/>
                    <a:pt x="21109" y="7140"/>
                  </a:cubicBezTo>
                  <a:close/>
                  <a:moveTo>
                    <a:pt x="21109" y="714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4" name="AutoShape 1126"/>
            <p:cNvSpPr>
              <a:spLocks/>
            </p:cNvSpPr>
            <p:nvPr/>
          </p:nvSpPr>
          <p:spPr bwMode="auto">
            <a:xfrm>
              <a:off x="4381500" y="2933700"/>
              <a:ext cx="7938" cy="9525"/>
            </a:xfrm>
            <a:custGeom>
              <a:avLst/>
              <a:gdLst/>
              <a:ahLst/>
              <a:cxnLst/>
              <a:rect l="0" t="0" r="r" b="b"/>
              <a:pathLst>
                <a:path w="20942" h="20752">
                  <a:moveTo>
                    <a:pt x="17977" y="659"/>
                  </a:moveTo>
                  <a:cubicBezTo>
                    <a:pt x="16705" y="2340"/>
                    <a:pt x="12634" y="4072"/>
                    <a:pt x="10209" y="5740"/>
                  </a:cubicBezTo>
                  <a:cubicBezTo>
                    <a:pt x="7545" y="7108"/>
                    <a:pt x="3486" y="10812"/>
                    <a:pt x="1570" y="14213"/>
                  </a:cubicBezTo>
                  <a:cubicBezTo>
                    <a:pt x="-180" y="17714"/>
                    <a:pt x="-658" y="20552"/>
                    <a:pt x="1122" y="20752"/>
                  </a:cubicBezTo>
                  <a:cubicBezTo>
                    <a:pt x="2889" y="20601"/>
                    <a:pt x="8023" y="18241"/>
                    <a:pt x="12692" y="14878"/>
                  </a:cubicBezTo>
                  <a:cubicBezTo>
                    <a:pt x="17048" y="11226"/>
                    <a:pt x="20942" y="6231"/>
                    <a:pt x="20942" y="3255"/>
                  </a:cubicBezTo>
                  <a:cubicBezTo>
                    <a:pt x="20702" y="319"/>
                    <a:pt x="19550" y="-848"/>
                    <a:pt x="17977" y="659"/>
                  </a:cubicBezTo>
                  <a:close/>
                  <a:moveTo>
                    <a:pt x="17977" y="6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5" name="AutoShape 1127"/>
            <p:cNvSpPr>
              <a:spLocks/>
            </p:cNvSpPr>
            <p:nvPr/>
          </p:nvSpPr>
          <p:spPr bwMode="auto">
            <a:xfrm>
              <a:off x="4699000" y="1981200"/>
              <a:ext cx="4763" cy="6350"/>
            </a:xfrm>
            <a:custGeom>
              <a:avLst/>
              <a:gdLst/>
              <a:ahLst/>
              <a:cxnLst/>
              <a:rect l="0" t="0" r="r" b="b"/>
              <a:pathLst>
                <a:path w="19910" h="19884">
                  <a:moveTo>
                    <a:pt x="10708" y="3658"/>
                  </a:moveTo>
                  <a:cubicBezTo>
                    <a:pt x="7552" y="6059"/>
                    <a:pt x="3530" y="11587"/>
                    <a:pt x="1092" y="15684"/>
                  </a:cubicBezTo>
                  <a:cubicBezTo>
                    <a:pt x="-1236" y="19833"/>
                    <a:pt x="390" y="21261"/>
                    <a:pt x="3796" y="18357"/>
                  </a:cubicBezTo>
                  <a:cubicBezTo>
                    <a:pt x="7552" y="15770"/>
                    <a:pt x="11473" y="13080"/>
                    <a:pt x="12670" y="12392"/>
                  </a:cubicBezTo>
                  <a:cubicBezTo>
                    <a:pt x="13844" y="11822"/>
                    <a:pt x="16341" y="9035"/>
                    <a:pt x="18137" y="6145"/>
                  </a:cubicBezTo>
                  <a:cubicBezTo>
                    <a:pt x="20321" y="3407"/>
                    <a:pt x="20364" y="301"/>
                    <a:pt x="18939" y="63"/>
                  </a:cubicBezTo>
                  <a:cubicBezTo>
                    <a:pt x="17579" y="-339"/>
                    <a:pt x="13844" y="1223"/>
                    <a:pt x="10708" y="3658"/>
                  </a:cubicBezTo>
                  <a:close/>
                  <a:moveTo>
                    <a:pt x="10708" y="36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6" name="AutoShape 1128"/>
            <p:cNvSpPr>
              <a:spLocks/>
            </p:cNvSpPr>
            <p:nvPr/>
          </p:nvSpPr>
          <p:spPr bwMode="auto">
            <a:xfrm>
              <a:off x="4699000" y="2057400"/>
              <a:ext cx="9525" cy="6350"/>
            </a:xfrm>
            <a:custGeom>
              <a:avLst/>
              <a:gdLst/>
              <a:ahLst/>
              <a:cxnLst/>
              <a:rect l="0" t="0" r="r" b="b"/>
              <a:pathLst>
                <a:path w="21168" h="20614">
                  <a:moveTo>
                    <a:pt x="16673" y="704"/>
                  </a:moveTo>
                  <a:cubicBezTo>
                    <a:pt x="14234" y="1733"/>
                    <a:pt x="10320" y="3315"/>
                    <a:pt x="8137" y="4668"/>
                  </a:cubicBezTo>
                  <a:cubicBezTo>
                    <a:pt x="5941" y="6022"/>
                    <a:pt x="2972" y="9828"/>
                    <a:pt x="1673" y="13324"/>
                  </a:cubicBezTo>
                  <a:cubicBezTo>
                    <a:pt x="286" y="16724"/>
                    <a:pt x="-302" y="19854"/>
                    <a:pt x="150" y="20449"/>
                  </a:cubicBezTo>
                  <a:cubicBezTo>
                    <a:pt x="618" y="21046"/>
                    <a:pt x="3537" y="19950"/>
                    <a:pt x="6517" y="18401"/>
                  </a:cubicBezTo>
                  <a:cubicBezTo>
                    <a:pt x="9536" y="16903"/>
                    <a:pt x="14086" y="12872"/>
                    <a:pt x="16503" y="9472"/>
                  </a:cubicBezTo>
                  <a:cubicBezTo>
                    <a:pt x="19017" y="6183"/>
                    <a:pt x="21162" y="2476"/>
                    <a:pt x="21162" y="1251"/>
                  </a:cubicBezTo>
                  <a:cubicBezTo>
                    <a:pt x="21298" y="27"/>
                    <a:pt x="19115" y="-554"/>
                    <a:pt x="16673" y="704"/>
                  </a:cubicBezTo>
                  <a:close/>
                  <a:moveTo>
                    <a:pt x="16673" y="7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7" name="AutoShape 1129"/>
            <p:cNvSpPr>
              <a:spLocks/>
            </p:cNvSpPr>
            <p:nvPr/>
          </p:nvSpPr>
          <p:spPr bwMode="auto">
            <a:xfrm>
              <a:off x="4711700" y="2032000"/>
              <a:ext cx="17463" cy="20638"/>
            </a:xfrm>
            <a:custGeom>
              <a:avLst/>
              <a:gdLst/>
              <a:ahLst/>
              <a:cxnLst/>
              <a:rect l="0" t="0" r="r" b="b"/>
              <a:pathLst>
                <a:path w="20739" h="20972">
                  <a:moveTo>
                    <a:pt x="17717" y="1788"/>
                  </a:moveTo>
                  <a:cubicBezTo>
                    <a:pt x="16108" y="3038"/>
                    <a:pt x="12729" y="5731"/>
                    <a:pt x="10179" y="7774"/>
                  </a:cubicBezTo>
                  <a:cubicBezTo>
                    <a:pt x="7650" y="9818"/>
                    <a:pt x="4996" y="12599"/>
                    <a:pt x="4394" y="14004"/>
                  </a:cubicBezTo>
                  <a:cubicBezTo>
                    <a:pt x="3793" y="15410"/>
                    <a:pt x="2104" y="17766"/>
                    <a:pt x="706" y="19264"/>
                  </a:cubicBezTo>
                  <a:cubicBezTo>
                    <a:pt x="-629" y="20770"/>
                    <a:pt x="-34" y="21364"/>
                    <a:pt x="2177" y="20708"/>
                  </a:cubicBezTo>
                  <a:cubicBezTo>
                    <a:pt x="4379" y="20027"/>
                    <a:pt x="7489" y="18722"/>
                    <a:pt x="9091" y="17816"/>
                  </a:cubicBezTo>
                  <a:cubicBezTo>
                    <a:pt x="10745" y="16990"/>
                    <a:pt x="12440" y="15066"/>
                    <a:pt x="13172" y="13779"/>
                  </a:cubicBezTo>
                  <a:cubicBezTo>
                    <a:pt x="13861" y="12473"/>
                    <a:pt x="15223" y="10124"/>
                    <a:pt x="16282" y="8581"/>
                  </a:cubicBezTo>
                  <a:cubicBezTo>
                    <a:pt x="17303" y="7005"/>
                    <a:pt x="18920" y="4656"/>
                    <a:pt x="19485" y="3201"/>
                  </a:cubicBezTo>
                  <a:cubicBezTo>
                    <a:pt x="20262" y="1827"/>
                    <a:pt x="20971" y="245"/>
                    <a:pt x="20667" y="65"/>
                  </a:cubicBezTo>
                  <a:cubicBezTo>
                    <a:pt x="20754" y="-236"/>
                    <a:pt x="19319" y="546"/>
                    <a:pt x="17717" y="1788"/>
                  </a:cubicBezTo>
                  <a:close/>
                  <a:moveTo>
                    <a:pt x="17717" y="17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8" name="AutoShape 1130"/>
            <p:cNvSpPr>
              <a:spLocks/>
            </p:cNvSpPr>
            <p:nvPr/>
          </p:nvSpPr>
          <p:spPr bwMode="auto">
            <a:xfrm>
              <a:off x="5029200" y="1409700"/>
              <a:ext cx="111125" cy="90488"/>
            </a:xfrm>
            <a:custGeom>
              <a:avLst/>
              <a:gdLst/>
              <a:ahLst/>
              <a:cxnLst/>
              <a:rect l="0" t="0" r="r" b="b"/>
              <a:pathLst>
                <a:path w="21500" h="21549">
                  <a:moveTo>
                    <a:pt x="892" y="17174"/>
                  </a:moveTo>
                  <a:cubicBezTo>
                    <a:pt x="1166" y="16946"/>
                    <a:pt x="1545" y="16610"/>
                    <a:pt x="1764" y="16495"/>
                  </a:cubicBezTo>
                  <a:cubicBezTo>
                    <a:pt x="1968" y="16345"/>
                    <a:pt x="2422" y="16172"/>
                    <a:pt x="2746" y="16030"/>
                  </a:cubicBezTo>
                  <a:cubicBezTo>
                    <a:pt x="3074" y="15905"/>
                    <a:pt x="3669" y="15615"/>
                    <a:pt x="4064" y="15370"/>
                  </a:cubicBezTo>
                  <a:cubicBezTo>
                    <a:pt x="4466" y="15144"/>
                    <a:pt x="4822" y="14952"/>
                    <a:pt x="4843" y="14990"/>
                  </a:cubicBezTo>
                  <a:cubicBezTo>
                    <a:pt x="4859" y="15029"/>
                    <a:pt x="5261" y="14797"/>
                    <a:pt x="5702" y="14484"/>
                  </a:cubicBezTo>
                  <a:cubicBezTo>
                    <a:pt x="6143" y="14176"/>
                    <a:pt x="6427" y="14070"/>
                    <a:pt x="6310" y="14214"/>
                  </a:cubicBezTo>
                  <a:cubicBezTo>
                    <a:pt x="6214" y="14379"/>
                    <a:pt x="5913" y="14630"/>
                    <a:pt x="5666" y="14800"/>
                  </a:cubicBezTo>
                  <a:cubicBezTo>
                    <a:pt x="5426" y="14982"/>
                    <a:pt x="5090" y="15216"/>
                    <a:pt x="4951" y="15381"/>
                  </a:cubicBezTo>
                  <a:cubicBezTo>
                    <a:pt x="4802" y="15524"/>
                    <a:pt x="4615" y="15793"/>
                    <a:pt x="4534" y="15963"/>
                  </a:cubicBezTo>
                  <a:cubicBezTo>
                    <a:pt x="4449" y="16135"/>
                    <a:pt x="4701" y="16071"/>
                    <a:pt x="5090" y="15828"/>
                  </a:cubicBezTo>
                  <a:cubicBezTo>
                    <a:pt x="5482" y="15584"/>
                    <a:pt x="5937" y="15401"/>
                    <a:pt x="6103" y="15401"/>
                  </a:cubicBezTo>
                  <a:cubicBezTo>
                    <a:pt x="6268" y="15427"/>
                    <a:pt x="6397" y="15598"/>
                    <a:pt x="6368" y="15805"/>
                  </a:cubicBezTo>
                  <a:cubicBezTo>
                    <a:pt x="6407" y="16012"/>
                    <a:pt x="6468" y="16112"/>
                    <a:pt x="6634" y="16018"/>
                  </a:cubicBezTo>
                  <a:cubicBezTo>
                    <a:pt x="6804" y="15925"/>
                    <a:pt x="6989" y="15864"/>
                    <a:pt x="7050" y="15883"/>
                  </a:cubicBezTo>
                  <a:cubicBezTo>
                    <a:pt x="7109" y="15903"/>
                    <a:pt x="7024" y="16068"/>
                    <a:pt x="6853" y="16243"/>
                  </a:cubicBezTo>
                  <a:cubicBezTo>
                    <a:pt x="6685" y="16428"/>
                    <a:pt x="6441" y="16751"/>
                    <a:pt x="6305" y="16964"/>
                  </a:cubicBezTo>
                  <a:cubicBezTo>
                    <a:pt x="6187" y="17191"/>
                    <a:pt x="5404" y="18052"/>
                    <a:pt x="4605" y="18914"/>
                  </a:cubicBezTo>
                  <a:cubicBezTo>
                    <a:pt x="3810" y="19783"/>
                    <a:pt x="3102" y="20658"/>
                    <a:pt x="3063" y="20878"/>
                  </a:cubicBezTo>
                  <a:cubicBezTo>
                    <a:pt x="3032" y="21101"/>
                    <a:pt x="3051" y="21354"/>
                    <a:pt x="3044" y="21462"/>
                  </a:cubicBezTo>
                  <a:cubicBezTo>
                    <a:pt x="3094" y="21555"/>
                    <a:pt x="3228" y="21587"/>
                    <a:pt x="3367" y="21490"/>
                  </a:cubicBezTo>
                  <a:cubicBezTo>
                    <a:pt x="3521" y="21425"/>
                    <a:pt x="3833" y="21207"/>
                    <a:pt x="4079" y="21054"/>
                  </a:cubicBezTo>
                  <a:cubicBezTo>
                    <a:pt x="4329" y="20904"/>
                    <a:pt x="4593" y="20813"/>
                    <a:pt x="4673" y="20800"/>
                  </a:cubicBezTo>
                  <a:cubicBezTo>
                    <a:pt x="4753" y="20823"/>
                    <a:pt x="4960" y="20744"/>
                    <a:pt x="5129" y="20650"/>
                  </a:cubicBezTo>
                  <a:cubicBezTo>
                    <a:pt x="5300" y="20562"/>
                    <a:pt x="5854" y="20123"/>
                    <a:pt x="6371" y="19709"/>
                  </a:cubicBezTo>
                  <a:cubicBezTo>
                    <a:pt x="6882" y="19275"/>
                    <a:pt x="7356" y="18850"/>
                    <a:pt x="7423" y="18744"/>
                  </a:cubicBezTo>
                  <a:cubicBezTo>
                    <a:pt x="7482" y="18632"/>
                    <a:pt x="7751" y="18381"/>
                    <a:pt x="8005" y="18166"/>
                  </a:cubicBezTo>
                  <a:cubicBezTo>
                    <a:pt x="8263" y="17953"/>
                    <a:pt x="8764" y="17523"/>
                    <a:pt x="9099" y="17175"/>
                  </a:cubicBezTo>
                  <a:cubicBezTo>
                    <a:pt x="9449" y="16852"/>
                    <a:pt x="9862" y="16366"/>
                    <a:pt x="10020" y="16108"/>
                  </a:cubicBezTo>
                  <a:cubicBezTo>
                    <a:pt x="10176" y="15852"/>
                    <a:pt x="10543" y="15351"/>
                    <a:pt x="10832" y="14993"/>
                  </a:cubicBezTo>
                  <a:cubicBezTo>
                    <a:pt x="11106" y="14620"/>
                    <a:pt x="11615" y="14041"/>
                    <a:pt x="11959" y="13702"/>
                  </a:cubicBezTo>
                  <a:cubicBezTo>
                    <a:pt x="12299" y="13358"/>
                    <a:pt x="12498" y="13086"/>
                    <a:pt x="12415" y="13061"/>
                  </a:cubicBezTo>
                  <a:cubicBezTo>
                    <a:pt x="12330" y="13038"/>
                    <a:pt x="12298" y="12957"/>
                    <a:pt x="12372" y="12864"/>
                  </a:cubicBezTo>
                  <a:cubicBezTo>
                    <a:pt x="12435" y="12757"/>
                    <a:pt x="12648" y="12496"/>
                    <a:pt x="12877" y="12333"/>
                  </a:cubicBezTo>
                  <a:cubicBezTo>
                    <a:pt x="13089" y="12142"/>
                    <a:pt x="13530" y="11711"/>
                    <a:pt x="13851" y="11366"/>
                  </a:cubicBezTo>
                  <a:cubicBezTo>
                    <a:pt x="14172" y="11029"/>
                    <a:pt x="14588" y="10639"/>
                    <a:pt x="14782" y="10528"/>
                  </a:cubicBezTo>
                  <a:cubicBezTo>
                    <a:pt x="14969" y="10397"/>
                    <a:pt x="15361" y="10086"/>
                    <a:pt x="15660" y="9839"/>
                  </a:cubicBezTo>
                  <a:cubicBezTo>
                    <a:pt x="15957" y="9586"/>
                    <a:pt x="16513" y="9105"/>
                    <a:pt x="16907" y="8789"/>
                  </a:cubicBezTo>
                  <a:cubicBezTo>
                    <a:pt x="17306" y="8477"/>
                    <a:pt x="17804" y="7978"/>
                    <a:pt x="18018" y="7686"/>
                  </a:cubicBezTo>
                  <a:cubicBezTo>
                    <a:pt x="18226" y="7386"/>
                    <a:pt x="18445" y="7032"/>
                    <a:pt x="18535" y="6921"/>
                  </a:cubicBezTo>
                  <a:cubicBezTo>
                    <a:pt x="18588" y="6778"/>
                    <a:pt x="18910" y="6474"/>
                    <a:pt x="19218" y="6221"/>
                  </a:cubicBezTo>
                  <a:cubicBezTo>
                    <a:pt x="19539" y="5997"/>
                    <a:pt x="19865" y="5678"/>
                    <a:pt x="19930" y="5533"/>
                  </a:cubicBezTo>
                  <a:cubicBezTo>
                    <a:pt x="20021" y="5418"/>
                    <a:pt x="20090" y="5210"/>
                    <a:pt x="20108" y="5097"/>
                  </a:cubicBezTo>
                  <a:cubicBezTo>
                    <a:pt x="20108" y="4980"/>
                    <a:pt x="20200" y="4740"/>
                    <a:pt x="20264" y="4553"/>
                  </a:cubicBezTo>
                  <a:cubicBezTo>
                    <a:pt x="20334" y="4368"/>
                    <a:pt x="20267" y="4295"/>
                    <a:pt x="20111" y="4380"/>
                  </a:cubicBezTo>
                  <a:cubicBezTo>
                    <a:pt x="19950" y="4462"/>
                    <a:pt x="19664" y="4558"/>
                    <a:pt x="19482" y="4646"/>
                  </a:cubicBezTo>
                  <a:cubicBezTo>
                    <a:pt x="19290" y="4691"/>
                    <a:pt x="18914" y="4870"/>
                    <a:pt x="18641" y="5022"/>
                  </a:cubicBezTo>
                  <a:cubicBezTo>
                    <a:pt x="18358" y="5142"/>
                    <a:pt x="18136" y="5241"/>
                    <a:pt x="18102" y="5198"/>
                  </a:cubicBezTo>
                  <a:cubicBezTo>
                    <a:pt x="18079" y="5148"/>
                    <a:pt x="18218" y="4922"/>
                    <a:pt x="18429" y="4737"/>
                  </a:cubicBezTo>
                  <a:cubicBezTo>
                    <a:pt x="18618" y="4522"/>
                    <a:pt x="19187" y="4093"/>
                    <a:pt x="19652" y="3720"/>
                  </a:cubicBezTo>
                  <a:cubicBezTo>
                    <a:pt x="20122" y="3361"/>
                    <a:pt x="20572" y="2986"/>
                    <a:pt x="20639" y="2882"/>
                  </a:cubicBezTo>
                  <a:cubicBezTo>
                    <a:pt x="20722" y="2789"/>
                    <a:pt x="20725" y="2641"/>
                    <a:pt x="20658" y="2607"/>
                  </a:cubicBezTo>
                  <a:cubicBezTo>
                    <a:pt x="20588" y="2586"/>
                    <a:pt x="20670" y="2349"/>
                    <a:pt x="20803" y="2120"/>
                  </a:cubicBezTo>
                  <a:cubicBezTo>
                    <a:pt x="20951" y="1902"/>
                    <a:pt x="21178" y="1544"/>
                    <a:pt x="21355" y="1381"/>
                  </a:cubicBezTo>
                  <a:cubicBezTo>
                    <a:pt x="21511" y="1187"/>
                    <a:pt x="21550" y="1005"/>
                    <a:pt x="21428" y="961"/>
                  </a:cubicBezTo>
                  <a:cubicBezTo>
                    <a:pt x="21299" y="961"/>
                    <a:pt x="21052" y="953"/>
                    <a:pt x="20876" y="1072"/>
                  </a:cubicBezTo>
                  <a:cubicBezTo>
                    <a:pt x="20692" y="1172"/>
                    <a:pt x="20213" y="1514"/>
                    <a:pt x="19817" y="1830"/>
                  </a:cubicBezTo>
                  <a:cubicBezTo>
                    <a:pt x="19414" y="2142"/>
                    <a:pt x="18762" y="2616"/>
                    <a:pt x="18358" y="2863"/>
                  </a:cubicBezTo>
                  <a:cubicBezTo>
                    <a:pt x="17957" y="3117"/>
                    <a:pt x="17513" y="3459"/>
                    <a:pt x="17375" y="3629"/>
                  </a:cubicBezTo>
                  <a:cubicBezTo>
                    <a:pt x="17241" y="3806"/>
                    <a:pt x="16884" y="4136"/>
                    <a:pt x="16602" y="4394"/>
                  </a:cubicBezTo>
                  <a:cubicBezTo>
                    <a:pt x="16315" y="4650"/>
                    <a:pt x="15931" y="4930"/>
                    <a:pt x="15754" y="5023"/>
                  </a:cubicBezTo>
                  <a:cubicBezTo>
                    <a:pt x="15580" y="5124"/>
                    <a:pt x="15497" y="5086"/>
                    <a:pt x="15539" y="4940"/>
                  </a:cubicBezTo>
                  <a:cubicBezTo>
                    <a:pt x="15592" y="4798"/>
                    <a:pt x="15906" y="4468"/>
                    <a:pt x="16242" y="4237"/>
                  </a:cubicBezTo>
                  <a:cubicBezTo>
                    <a:pt x="16563" y="3976"/>
                    <a:pt x="17039" y="3629"/>
                    <a:pt x="17257" y="3396"/>
                  </a:cubicBezTo>
                  <a:cubicBezTo>
                    <a:pt x="17492" y="3186"/>
                    <a:pt x="17815" y="2822"/>
                    <a:pt x="17964" y="2576"/>
                  </a:cubicBezTo>
                  <a:cubicBezTo>
                    <a:pt x="18102" y="2325"/>
                    <a:pt x="18488" y="1842"/>
                    <a:pt x="18797" y="1483"/>
                  </a:cubicBezTo>
                  <a:cubicBezTo>
                    <a:pt x="19091" y="1107"/>
                    <a:pt x="19355" y="705"/>
                    <a:pt x="19411" y="586"/>
                  </a:cubicBezTo>
                  <a:cubicBezTo>
                    <a:pt x="19457" y="463"/>
                    <a:pt x="19395" y="360"/>
                    <a:pt x="19316" y="316"/>
                  </a:cubicBezTo>
                  <a:cubicBezTo>
                    <a:pt x="19233" y="287"/>
                    <a:pt x="19158" y="187"/>
                    <a:pt x="19200" y="96"/>
                  </a:cubicBezTo>
                  <a:cubicBezTo>
                    <a:pt x="19200" y="-13"/>
                    <a:pt x="19051" y="-10"/>
                    <a:pt x="18809" y="13"/>
                  </a:cubicBezTo>
                  <a:cubicBezTo>
                    <a:pt x="18571" y="68"/>
                    <a:pt x="18171" y="290"/>
                    <a:pt x="17899" y="458"/>
                  </a:cubicBezTo>
                  <a:cubicBezTo>
                    <a:pt x="17648" y="667"/>
                    <a:pt x="17210" y="893"/>
                    <a:pt x="16949" y="1000"/>
                  </a:cubicBezTo>
                  <a:cubicBezTo>
                    <a:pt x="16685" y="1089"/>
                    <a:pt x="16113" y="1506"/>
                    <a:pt x="15665" y="1876"/>
                  </a:cubicBezTo>
                  <a:cubicBezTo>
                    <a:pt x="15215" y="2247"/>
                    <a:pt x="14735" y="2626"/>
                    <a:pt x="14585" y="2666"/>
                  </a:cubicBezTo>
                  <a:cubicBezTo>
                    <a:pt x="14438" y="2731"/>
                    <a:pt x="14440" y="2595"/>
                    <a:pt x="14566" y="2349"/>
                  </a:cubicBezTo>
                  <a:cubicBezTo>
                    <a:pt x="14714" y="2124"/>
                    <a:pt x="14786" y="1887"/>
                    <a:pt x="14801" y="1855"/>
                  </a:cubicBezTo>
                  <a:cubicBezTo>
                    <a:pt x="14780" y="1827"/>
                    <a:pt x="14547" y="1990"/>
                    <a:pt x="14252" y="2235"/>
                  </a:cubicBezTo>
                  <a:cubicBezTo>
                    <a:pt x="13959" y="2479"/>
                    <a:pt x="13599" y="2836"/>
                    <a:pt x="13433" y="2999"/>
                  </a:cubicBezTo>
                  <a:cubicBezTo>
                    <a:pt x="13268" y="3162"/>
                    <a:pt x="12877" y="3524"/>
                    <a:pt x="12546" y="3779"/>
                  </a:cubicBezTo>
                  <a:cubicBezTo>
                    <a:pt x="12221" y="4045"/>
                    <a:pt x="11768" y="4431"/>
                    <a:pt x="11556" y="4668"/>
                  </a:cubicBezTo>
                  <a:cubicBezTo>
                    <a:pt x="11336" y="4897"/>
                    <a:pt x="10835" y="5409"/>
                    <a:pt x="10426" y="5781"/>
                  </a:cubicBezTo>
                  <a:cubicBezTo>
                    <a:pt x="10020" y="6161"/>
                    <a:pt x="9620" y="6592"/>
                    <a:pt x="9525" y="6724"/>
                  </a:cubicBezTo>
                  <a:cubicBezTo>
                    <a:pt x="9433" y="6863"/>
                    <a:pt x="9476" y="6981"/>
                    <a:pt x="9608" y="6944"/>
                  </a:cubicBezTo>
                  <a:cubicBezTo>
                    <a:pt x="9742" y="6956"/>
                    <a:pt x="9987" y="6791"/>
                    <a:pt x="10155" y="6653"/>
                  </a:cubicBezTo>
                  <a:cubicBezTo>
                    <a:pt x="10323" y="6518"/>
                    <a:pt x="10723" y="6239"/>
                    <a:pt x="11036" y="6013"/>
                  </a:cubicBezTo>
                  <a:cubicBezTo>
                    <a:pt x="11368" y="5827"/>
                    <a:pt x="11641" y="5649"/>
                    <a:pt x="11660" y="5685"/>
                  </a:cubicBezTo>
                  <a:cubicBezTo>
                    <a:pt x="11676" y="5725"/>
                    <a:pt x="11364" y="6042"/>
                    <a:pt x="10954" y="6395"/>
                  </a:cubicBezTo>
                  <a:cubicBezTo>
                    <a:pt x="10554" y="6768"/>
                    <a:pt x="9873" y="7282"/>
                    <a:pt x="9475" y="7589"/>
                  </a:cubicBezTo>
                  <a:cubicBezTo>
                    <a:pt x="9070" y="7891"/>
                    <a:pt x="8419" y="8472"/>
                    <a:pt x="8009" y="8856"/>
                  </a:cubicBezTo>
                  <a:cubicBezTo>
                    <a:pt x="7602" y="9246"/>
                    <a:pt x="7254" y="9626"/>
                    <a:pt x="7274" y="9664"/>
                  </a:cubicBezTo>
                  <a:cubicBezTo>
                    <a:pt x="7290" y="9705"/>
                    <a:pt x="7629" y="9508"/>
                    <a:pt x="8037" y="9166"/>
                  </a:cubicBezTo>
                  <a:cubicBezTo>
                    <a:pt x="8467" y="8861"/>
                    <a:pt x="9198" y="8237"/>
                    <a:pt x="9690" y="7831"/>
                  </a:cubicBezTo>
                  <a:cubicBezTo>
                    <a:pt x="10179" y="7422"/>
                    <a:pt x="10677" y="7037"/>
                    <a:pt x="10789" y="6954"/>
                  </a:cubicBezTo>
                  <a:cubicBezTo>
                    <a:pt x="10904" y="6878"/>
                    <a:pt x="11184" y="6671"/>
                    <a:pt x="11422" y="6507"/>
                  </a:cubicBezTo>
                  <a:cubicBezTo>
                    <a:pt x="11654" y="6330"/>
                    <a:pt x="11899" y="6217"/>
                    <a:pt x="11936" y="6291"/>
                  </a:cubicBezTo>
                  <a:cubicBezTo>
                    <a:pt x="12005" y="6307"/>
                    <a:pt x="11865" y="6617"/>
                    <a:pt x="11634" y="6846"/>
                  </a:cubicBezTo>
                  <a:cubicBezTo>
                    <a:pt x="11415" y="7094"/>
                    <a:pt x="11115" y="7373"/>
                    <a:pt x="10961" y="7463"/>
                  </a:cubicBezTo>
                  <a:cubicBezTo>
                    <a:pt x="10806" y="7542"/>
                    <a:pt x="10338" y="7897"/>
                    <a:pt x="9930" y="8264"/>
                  </a:cubicBezTo>
                  <a:cubicBezTo>
                    <a:pt x="9502" y="8586"/>
                    <a:pt x="9023" y="9068"/>
                    <a:pt x="8838" y="9275"/>
                  </a:cubicBezTo>
                  <a:cubicBezTo>
                    <a:pt x="8659" y="9487"/>
                    <a:pt x="8528" y="9689"/>
                    <a:pt x="8554" y="9743"/>
                  </a:cubicBezTo>
                  <a:cubicBezTo>
                    <a:pt x="8587" y="9793"/>
                    <a:pt x="8901" y="9614"/>
                    <a:pt x="9283" y="9391"/>
                  </a:cubicBezTo>
                  <a:cubicBezTo>
                    <a:pt x="9640" y="9115"/>
                    <a:pt x="10080" y="8912"/>
                    <a:pt x="10226" y="8884"/>
                  </a:cubicBezTo>
                  <a:cubicBezTo>
                    <a:pt x="10371" y="8848"/>
                    <a:pt x="10207" y="9075"/>
                    <a:pt x="9847" y="9359"/>
                  </a:cubicBezTo>
                  <a:cubicBezTo>
                    <a:pt x="9502" y="9669"/>
                    <a:pt x="8864" y="10142"/>
                    <a:pt x="8443" y="10432"/>
                  </a:cubicBezTo>
                  <a:cubicBezTo>
                    <a:pt x="8036" y="10751"/>
                    <a:pt x="7545" y="11045"/>
                    <a:pt x="7376" y="11105"/>
                  </a:cubicBezTo>
                  <a:cubicBezTo>
                    <a:pt x="7204" y="11174"/>
                    <a:pt x="6977" y="11321"/>
                    <a:pt x="6899" y="11456"/>
                  </a:cubicBezTo>
                  <a:cubicBezTo>
                    <a:pt x="6804" y="11573"/>
                    <a:pt x="6909" y="11571"/>
                    <a:pt x="7145" y="11510"/>
                  </a:cubicBezTo>
                  <a:cubicBezTo>
                    <a:pt x="7369" y="11410"/>
                    <a:pt x="7482" y="11430"/>
                    <a:pt x="7418" y="11557"/>
                  </a:cubicBezTo>
                  <a:cubicBezTo>
                    <a:pt x="7347" y="11682"/>
                    <a:pt x="6821" y="12161"/>
                    <a:pt x="6278" y="12654"/>
                  </a:cubicBezTo>
                  <a:cubicBezTo>
                    <a:pt x="5719" y="13126"/>
                    <a:pt x="5191" y="13605"/>
                    <a:pt x="5078" y="13652"/>
                  </a:cubicBezTo>
                  <a:cubicBezTo>
                    <a:pt x="4980" y="13740"/>
                    <a:pt x="4948" y="13628"/>
                    <a:pt x="4935" y="13452"/>
                  </a:cubicBezTo>
                  <a:cubicBezTo>
                    <a:pt x="4968" y="13282"/>
                    <a:pt x="4851" y="13167"/>
                    <a:pt x="4686" y="13224"/>
                  </a:cubicBezTo>
                  <a:cubicBezTo>
                    <a:pt x="4518" y="13268"/>
                    <a:pt x="4327" y="13238"/>
                    <a:pt x="4269" y="13138"/>
                  </a:cubicBezTo>
                  <a:cubicBezTo>
                    <a:pt x="4217" y="13033"/>
                    <a:pt x="3664" y="13330"/>
                    <a:pt x="3068" y="13802"/>
                  </a:cubicBezTo>
                  <a:cubicBezTo>
                    <a:pt x="2473" y="14275"/>
                    <a:pt x="1928" y="14733"/>
                    <a:pt x="1854" y="14834"/>
                  </a:cubicBezTo>
                  <a:cubicBezTo>
                    <a:pt x="1780" y="14937"/>
                    <a:pt x="1358" y="15413"/>
                    <a:pt x="900" y="15875"/>
                  </a:cubicBezTo>
                  <a:cubicBezTo>
                    <a:pt x="445" y="16341"/>
                    <a:pt x="112" y="16820"/>
                    <a:pt x="174" y="16928"/>
                  </a:cubicBezTo>
                  <a:cubicBezTo>
                    <a:pt x="233" y="17038"/>
                    <a:pt x="174" y="17268"/>
                    <a:pt x="73" y="17456"/>
                  </a:cubicBezTo>
                  <a:cubicBezTo>
                    <a:pt x="-50" y="17622"/>
                    <a:pt x="-11" y="17727"/>
                    <a:pt x="136" y="17698"/>
                  </a:cubicBezTo>
                  <a:cubicBezTo>
                    <a:pt x="284" y="17660"/>
                    <a:pt x="619" y="17410"/>
                    <a:pt x="892" y="17174"/>
                  </a:cubicBezTo>
                  <a:close/>
                  <a:moveTo>
                    <a:pt x="892" y="171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29" name="AutoShape 1131"/>
            <p:cNvSpPr>
              <a:spLocks/>
            </p:cNvSpPr>
            <p:nvPr/>
          </p:nvSpPr>
          <p:spPr bwMode="auto">
            <a:xfrm>
              <a:off x="4660900" y="2159000"/>
              <a:ext cx="12700" cy="22225"/>
            </a:xfrm>
            <a:custGeom>
              <a:avLst/>
              <a:gdLst/>
              <a:ahLst/>
              <a:cxnLst/>
              <a:rect l="0" t="0" r="r" b="b"/>
              <a:pathLst>
                <a:path w="20802" h="20923">
                  <a:moveTo>
                    <a:pt x="1540" y="20709"/>
                  </a:moveTo>
                  <a:cubicBezTo>
                    <a:pt x="3029" y="20124"/>
                    <a:pt x="6898" y="17701"/>
                    <a:pt x="10013" y="15201"/>
                  </a:cubicBezTo>
                  <a:cubicBezTo>
                    <a:pt x="13330" y="12783"/>
                    <a:pt x="15148" y="10136"/>
                    <a:pt x="14997" y="9419"/>
                  </a:cubicBezTo>
                  <a:cubicBezTo>
                    <a:pt x="14736" y="8719"/>
                    <a:pt x="14656" y="7560"/>
                    <a:pt x="15018" y="6778"/>
                  </a:cubicBezTo>
                  <a:cubicBezTo>
                    <a:pt x="15580" y="6039"/>
                    <a:pt x="16656" y="4863"/>
                    <a:pt x="17922" y="4321"/>
                  </a:cubicBezTo>
                  <a:cubicBezTo>
                    <a:pt x="18916" y="3621"/>
                    <a:pt x="20495" y="2456"/>
                    <a:pt x="20746" y="1456"/>
                  </a:cubicBezTo>
                  <a:cubicBezTo>
                    <a:pt x="21049" y="454"/>
                    <a:pt x="20063" y="-311"/>
                    <a:pt x="18807" y="126"/>
                  </a:cubicBezTo>
                  <a:cubicBezTo>
                    <a:pt x="17379" y="317"/>
                    <a:pt x="14886" y="1543"/>
                    <a:pt x="13519" y="2790"/>
                  </a:cubicBezTo>
                  <a:cubicBezTo>
                    <a:pt x="11992" y="3994"/>
                    <a:pt x="9771" y="6466"/>
                    <a:pt x="8454" y="8260"/>
                  </a:cubicBezTo>
                  <a:cubicBezTo>
                    <a:pt x="7330" y="10092"/>
                    <a:pt x="5320" y="12324"/>
                    <a:pt x="4264" y="13265"/>
                  </a:cubicBezTo>
                  <a:cubicBezTo>
                    <a:pt x="3200" y="14206"/>
                    <a:pt x="2415" y="15485"/>
                    <a:pt x="2415" y="16092"/>
                  </a:cubicBezTo>
                  <a:cubicBezTo>
                    <a:pt x="2607" y="16694"/>
                    <a:pt x="1571" y="18193"/>
                    <a:pt x="585" y="19435"/>
                  </a:cubicBezTo>
                  <a:cubicBezTo>
                    <a:pt x="-551" y="20638"/>
                    <a:pt x="73" y="21289"/>
                    <a:pt x="1540" y="20709"/>
                  </a:cubicBezTo>
                  <a:close/>
                  <a:moveTo>
                    <a:pt x="1540" y="207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0" name="AutoShape 1132"/>
            <p:cNvSpPr>
              <a:spLocks/>
            </p:cNvSpPr>
            <p:nvPr/>
          </p:nvSpPr>
          <p:spPr bwMode="auto">
            <a:xfrm>
              <a:off x="5880100" y="1092200"/>
              <a:ext cx="6350" cy="1588"/>
            </a:xfrm>
            <a:custGeom>
              <a:avLst/>
              <a:gdLst/>
              <a:ahLst/>
              <a:cxnLst/>
              <a:rect l="0" t="0" r="r" b="b"/>
              <a:pathLst>
                <a:path w="19924" h="20459">
                  <a:moveTo>
                    <a:pt x="13840" y="12448"/>
                  </a:moveTo>
                  <a:cubicBezTo>
                    <a:pt x="18248" y="8208"/>
                    <a:pt x="20827" y="4066"/>
                    <a:pt x="19633" y="1709"/>
                  </a:cubicBezTo>
                  <a:cubicBezTo>
                    <a:pt x="18595" y="-901"/>
                    <a:pt x="15139" y="-174"/>
                    <a:pt x="12302" y="1578"/>
                  </a:cubicBezTo>
                  <a:cubicBezTo>
                    <a:pt x="9657" y="4320"/>
                    <a:pt x="4986" y="8726"/>
                    <a:pt x="2304" y="13254"/>
                  </a:cubicBezTo>
                  <a:cubicBezTo>
                    <a:pt x="-462" y="17537"/>
                    <a:pt x="-773" y="20699"/>
                    <a:pt x="1564" y="20445"/>
                  </a:cubicBezTo>
                  <a:cubicBezTo>
                    <a:pt x="3916" y="19797"/>
                    <a:pt x="9430" y="16250"/>
                    <a:pt x="13840" y="12448"/>
                  </a:cubicBezTo>
                  <a:close/>
                  <a:moveTo>
                    <a:pt x="13840" y="124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1" name="AutoShape 1133"/>
            <p:cNvSpPr>
              <a:spLocks/>
            </p:cNvSpPr>
            <p:nvPr/>
          </p:nvSpPr>
          <p:spPr bwMode="auto">
            <a:xfrm>
              <a:off x="3657600" y="3136900"/>
              <a:ext cx="11113" cy="20638"/>
            </a:xfrm>
            <a:custGeom>
              <a:avLst/>
              <a:gdLst/>
              <a:ahLst/>
              <a:cxnLst/>
              <a:rect l="0" t="0" r="r" b="b"/>
              <a:pathLst>
                <a:path w="20726" h="20906">
                  <a:moveTo>
                    <a:pt x="143" y="20872"/>
                  </a:moveTo>
                  <a:cubicBezTo>
                    <a:pt x="694" y="20514"/>
                    <a:pt x="2592" y="18670"/>
                    <a:pt x="4397" y="16791"/>
                  </a:cubicBezTo>
                  <a:cubicBezTo>
                    <a:pt x="6052" y="14887"/>
                    <a:pt x="8374" y="13008"/>
                    <a:pt x="9016" y="12477"/>
                  </a:cubicBezTo>
                  <a:cubicBezTo>
                    <a:pt x="9869" y="12029"/>
                    <a:pt x="12397" y="9410"/>
                    <a:pt x="14914" y="6784"/>
                  </a:cubicBezTo>
                  <a:cubicBezTo>
                    <a:pt x="17453" y="4153"/>
                    <a:pt x="19822" y="1272"/>
                    <a:pt x="20547" y="448"/>
                  </a:cubicBezTo>
                  <a:cubicBezTo>
                    <a:pt x="21098" y="-400"/>
                    <a:pt x="20352" y="1"/>
                    <a:pt x="18661" y="1272"/>
                  </a:cubicBezTo>
                  <a:cubicBezTo>
                    <a:pt x="16994" y="2524"/>
                    <a:pt x="14833" y="4952"/>
                    <a:pt x="13202" y="6457"/>
                  </a:cubicBezTo>
                  <a:cubicBezTo>
                    <a:pt x="12145" y="8092"/>
                    <a:pt x="10076" y="9601"/>
                    <a:pt x="9430" y="10019"/>
                  </a:cubicBezTo>
                  <a:cubicBezTo>
                    <a:pt x="8868" y="10460"/>
                    <a:pt x="6144" y="13163"/>
                    <a:pt x="3625" y="16129"/>
                  </a:cubicBezTo>
                  <a:cubicBezTo>
                    <a:pt x="1097" y="19088"/>
                    <a:pt x="-502" y="21200"/>
                    <a:pt x="143" y="20872"/>
                  </a:cubicBezTo>
                  <a:close/>
                  <a:moveTo>
                    <a:pt x="143" y="208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2" name="AutoShape 1134"/>
            <p:cNvSpPr>
              <a:spLocks/>
            </p:cNvSpPr>
            <p:nvPr/>
          </p:nvSpPr>
          <p:spPr bwMode="auto">
            <a:xfrm>
              <a:off x="4457700" y="2692400"/>
              <a:ext cx="17463" cy="17463"/>
            </a:xfrm>
            <a:custGeom>
              <a:avLst/>
              <a:gdLst/>
              <a:ahLst/>
              <a:cxnLst/>
              <a:rect l="0" t="0" r="r" b="b"/>
              <a:pathLst>
                <a:path w="20886" h="20720">
                  <a:moveTo>
                    <a:pt x="3446" y="19316"/>
                  </a:moveTo>
                  <a:cubicBezTo>
                    <a:pt x="4958" y="18282"/>
                    <a:pt x="8400" y="15358"/>
                    <a:pt x="11148" y="12944"/>
                  </a:cubicBezTo>
                  <a:cubicBezTo>
                    <a:pt x="13853" y="10450"/>
                    <a:pt x="17663" y="6305"/>
                    <a:pt x="19146" y="3463"/>
                  </a:cubicBezTo>
                  <a:cubicBezTo>
                    <a:pt x="20897" y="794"/>
                    <a:pt x="21351" y="-697"/>
                    <a:pt x="20397" y="322"/>
                  </a:cubicBezTo>
                  <a:cubicBezTo>
                    <a:pt x="19435" y="1354"/>
                    <a:pt x="17330" y="3109"/>
                    <a:pt x="15942" y="4446"/>
                  </a:cubicBezTo>
                  <a:cubicBezTo>
                    <a:pt x="14540" y="5791"/>
                    <a:pt x="12790" y="6914"/>
                    <a:pt x="12190" y="7108"/>
                  </a:cubicBezTo>
                  <a:cubicBezTo>
                    <a:pt x="11581" y="7254"/>
                    <a:pt x="10577" y="8065"/>
                    <a:pt x="9897" y="8813"/>
                  </a:cubicBezTo>
                  <a:cubicBezTo>
                    <a:pt x="9181" y="9500"/>
                    <a:pt x="7735" y="10554"/>
                    <a:pt x="6527" y="10914"/>
                  </a:cubicBezTo>
                  <a:cubicBezTo>
                    <a:pt x="5284" y="11150"/>
                    <a:pt x="3353" y="13617"/>
                    <a:pt x="1913" y="15891"/>
                  </a:cubicBezTo>
                  <a:cubicBezTo>
                    <a:pt x="656" y="18296"/>
                    <a:pt x="-249" y="20369"/>
                    <a:pt x="62" y="20674"/>
                  </a:cubicBezTo>
                  <a:cubicBezTo>
                    <a:pt x="431" y="20903"/>
                    <a:pt x="1841" y="20237"/>
                    <a:pt x="3446" y="19316"/>
                  </a:cubicBezTo>
                  <a:close/>
                  <a:moveTo>
                    <a:pt x="3446" y="193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3" name="AutoShape 1135"/>
            <p:cNvSpPr>
              <a:spLocks/>
            </p:cNvSpPr>
            <p:nvPr/>
          </p:nvSpPr>
          <p:spPr bwMode="auto">
            <a:xfrm>
              <a:off x="4457700" y="2679700"/>
              <a:ext cx="34925" cy="41275"/>
            </a:xfrm>
            <a:custGeom>
              <a:avLst/>
              <a:gdLst/>
              <a:ahLst/>
              <a:cxnLst/>
              <a:rect l="0" t="0" r="r" b="b"/>
              <a:pathLst>
                <a:path w="21449" h="21390">
                  <a:moveTo>
                    <a:pt x="13811" y="9718"/>
                  </a:moveTo>
                  <a:cubicBezTo>
                    <a:pt x="12940" y="10973"/>
                    <a:pt x="11631" y="12752"/>
                    <a:pt x="10923" y="13695"/>
                  </a:cubicBezTo>
                  <a:cubicBezTo>
                    <a:pt x="10149" y="14596"/>
                    <a:pt x="9323" y="15539"/>
                    <a:pt x="8982" y="15656"/>
                  </a:cubicBezTo>
                  <a:cubicBezTo>
                    <a:pt x="8681" y="15839"/>
                    <a:pt x="8674" y="15348"/>
                    <a:pt x="9019" y="14609"/>
                  </a:cubicBezTo>
                  <a:cubicBezTo>
                    <a:pt x="9290" y="13852"/>
                    <a:pt x="10857" y="11913"/>
                    <a:pt x="12475" y="10339"/>
                  </a:cubicBezTo>
                  <a:cubicBezTo>
                    <a:pt x="13968" y="8683"/>
                    <a:pt x="14676" y="8472"/>
                    <a:pt x="13811" y="9718"/>
                  </a:cubicBezTo>
                  <a:close/>
                  <a:moveTo>
                    <a:pt x="20918" y="5735"/>
                  </a:moveTo>
                  <a:cubicBezTo>
                    <a:pt x="21417" y="4688"/>
                    <a:pt x="21600" y="3486"/>
                    <a:pt x="21314" y="3186"/>
                  </a:cubicBezTo>
                  <a:cubicBezTo>
                    <a:pt x="21064" y="2864"/>
                    <a:pt x="20675" y="2587"/>
                    <a:pt x="20459" y="2700"/>
                  </a:cubicBezTo>
                  <a:cubicBezTo>
                    <a:pt x="20213" y="2754"/>
                    <a:pt x="20202" y="2275"/>
                    <a:pt x="20382" y="1603"/>
                  </a:cubicBezTo>
                  <a:cubicBezTo>
                    <a:pt x="20540" y="925"/>
                    <a:pt x="20228" y="348"/>
                    <a:pt x="19754" y="58"/>
                  </a:cubicBezTo>
                  <a:cubicBezTo>
                    <a:pt x="19222" y="-128"/>
                    <a:pt x="18393" y="149"/>
                    <a:pt x="17975" y="710"/>
                  </a:cubicBezTo>
                  <a:cubicBezTo>
                    <a:pt x="17535" y="1256"/>
                    <a:pt x="16555" y="2852"/>
                    <a:pt x="15766" y="4256"/>
                  </a:cubicBezTo>
                  <a:cubicBezTo>
                    <a:pt x="15047" y="5681"/>
                    <a:pt x="13671" y="7494"/>
                    <a:pt x="12845" y="8346"/>
                  </a:cubicBezTo>
                  <a:cubicBezTo>
                    <a:pt x="11991" y="9175"/>
                    <a:pt x="10706" y="10465"/>
                    <a:pt x="9844" y="11077"/>
                  </a:cubicBezTo>
                  <a:cubicBezTo>
                    <a:pt x="9044" y="11758"/>
                    <a:pt x="8659" y="11749"/>
                    <a:pt x="8982" y="11083"/>
                  </a:cubicBezTo>
                  <a:cubicBezTo>
                    <a:pt x="9338" y="10424"/>
                    <a:pt x="10347" y="9163"/>
                    <a:pt x="11253" y="8286"/>
                  </a:cubicBezTo>
                  <a:cubicBezTo>
                    <a:pt x="12188" y="7435"/>
                    <a:pt x="13319" y="5965"/>
                    <a:pt x="13814" y="5069"/>
                  </a:cubicBezTo>
                  <a:cubicBezTo>
                    <a:pt x="14298" y="4183"/>
                    <a:pt x="14647" y="3265"/>
                    <a:pt x="14577" y="3032"/>
                  </a:cubicBezTo>
                  <a:cubicBezTo>
                    <a:pt x="14353" y="2890"/>
                    <a:pt x="13840" y="3079"/>
                    <a:pt x="13179" y="3700"/>
                  </a:cubicBezTo>
                  <a:cubicBezTo>
                    <a:pt x="12482" y="4296"/>
                    <a:pt x="11220" y="5832"/>
                    <a:pt x="10343" y="7107"/>
                  </a:cubicBezTo>
                  <a:cubicBezTo>
                    <a:pt x="9437" y="8349"/>
                    <a:pt x="7686" y="10440"/>
                    <a:pt x="6454" y="11771"/>
                  </a:cubicBezTo>
                  <a:cubicBezTo>
                    <a:pt x="5140" y="13035"/>
                    <a:pt x="3896" y="14559"/>
                    <a:pt x="3640" y="15095"/>
                  </a:cubicBezTo>
                  <a:cubicBezTo>
                    <a:pt x="3338" y="15609"/>
                    <a:pt x="2447" y="16906"/>
                    <a:pt x="1541" y="17902"/>
                  </a:cubicBezTo>
                  <a:cubicBezTo>
                    <a:pt x="708" y="18952"/>
                    <a:pt x="0" y="20182"/>
                    <a:pt x="0" y="20705"/>
                  </a:cubicBezTo>
                  <a:cubicBezTo>
                    <a:pt x="47" y="21236"/>
                    <a:pt x="316" y="21472"/>
                    <a:pt x="690" y="21365"/>
                  </a:cubicBezTo>
                  <a:cubicBezTo>
                    <a:pt x="1041" y="21214"/>
                    <a:pt x="2296" y="19826"/>
                    <a:pt x="3541" y="18340"/>
                  </a:cubicBezTo>
                  <a:cubicBezTo>
                    <a:pt x="4766" y="16852"/>
                    <a:pt x="6171" y="15417"/>
                    <a:pt x="6659" y="15161"/>
                  </a:cubicBezTo>
                  <a:cubicBezTo>
                    <a:pt x="7169" y="14944"/>
                    <a:pt x="7290" y="15268"/>
                    <a:pt x="6817" y="15899"/>
                  </a:cubicBezTo>
                  <a:cubicBezTo>
                    <a:pt x="6428" y="16568"/>
                    <a:pt x="5338" y="18003"/>
                    <a:pt x="4527" y="19167"/>
                  </a:cubicBezTo>
                  <a:cubicBezTo>
                    <a:pt x="3676" y="20308"/>
                    <a:pt x="3177" y="21245"/>
                    <a:pt x="3434" y="21280"/>
                  </a:cubicBezTo>
                  <a:cubicBezTo>
                    <a:pt x="3647" y="21403"/>
                    <a:pt x="4443" y="20847"/>
                    <a:pt x="5176" y="20318"/>
                  </a:cubicBezTo>
                  <a:cubicBezTo>
                    <a:pt x="5933" y="19817"/>
                    <a:pt x="6824" y="19082"/>
                    <a:pt x="7308" y="19082"/>
                  </a:cubicBezTo>
                  <a:cubicBezTo>
                    <a:pt x="7774" y="18961"/>
                    <a:pt x="8923" y="18009"/>
                    <a:pt x="9811" y="16934"/>
                  </a:cubicBezTo>
                  <a:cubicBezTo>
                    <a:pt x="10816" y="15934"/>
                    <a:pt x="12695" y="13562"/>
                    <a:pt x="14152" y="11755"/>
                  </a:cubicBezTo>
                  <a:cubicBezTo>
                    <a:pt x="15645" y="9976"/>
                    <a:pt x="17109" y="7917"/>
                    <a:pt x="17572" y="7267"/>
                  </a:cubicBezTo>
                  <a:cubicBezTo>
                    <a:pt x="17902" y="6558"/>
                    <a:pt x="18591" y="5924"/>
                    <a:pt x="18907" y="5763"/>
                  </a:cubicBezTo>
                  <a:cubicBezTo>
                    <a:pt x="19241" y="5618"/>
                    <a:pt x="19222" y="5968"/>
                    <a:pt x="19065" y="6608"/>
                  </a:cubicBezTo>
                  <a:cubicBezTo>
                    <a:pt x="18830" y="7223"/>
                    <a:pt x="17340" y="9132"/>
                    <a:pt x="15810" y="10881"/>
                  </a:cubicBezTo>
                  <a:cubicBezTo>
                    <a:pt x="14284" y="12619"/>
                    <a:pt x="12566" y="14657"/>
                    <a:pt x="12104" y="15452"/>
                  </a:cubicBezTo>
                  <a:cubicBezTo>
                    <a:pt x="11620" y="16240"/>
                    <a:pt x="11656" y="16413"/>
                    <a:pt x="12317" y="15943"/>
                  </a:cubicBezTo>
                  <a:cubicBezTo>
                    <a:pt x="12889" y="15407"/>
                    <a:pt x="14566" y="13739"/>
                    <a:pt x="15924" y="12152"/>
                  </a:cubicBezTo>
                  <a:cubicBezTo>
                    <a:pt x="17281" y="10560"/>
                    <a:pt x="18866" y="8961"/>
                    <a:pt x="19270" y="8488"/>
                  </a:cubicBezTo>
                  <a:cubicBezTo>
                    <a:pt x="19733" y="8043"/>
                    <a:pt x="20544" y="6832"/>
                    <a:pt x="20918" y="5735"/>
                  </a:cubicBezTo>
                  <a:close/>
                  <a:moveTo>
                    <a:pt x="20918" y="573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4" name="AutoShape 1136"/>
            <p:cNvSpPr>
              <a:spLocks/>
            </p:cNvSpPr>
            <p:nvPr/>
          </p:nvSpPr>
          <p:spPr bwMode="auto">
            <a:xfrm>
              <a:off x="5232400" y="1346200"/>
              <a:ext cx="30163" cy="22225"/>
            </a:xfrm>
            <a:custGeom>
              <a:avLst/>
              <a:gdLst/>
              <a:ahLst/>
              <a:cxnLst/>
              <a:rect l="0" t="0" r="r" b="b"/>
              <a:pathLst>
                <a:path w="21313" h="21163">
                  <a:moveTo>
                    <a:pt x="1353" y="15429"/>
                  </a:moveTo>
                  <a:cubicBezTo>
                    <a:pt x="2356" y="15055"/>
                    <a:pt x="3957" y="14088"/>
                    <a:pt x="4930" y="13395"/>
                  </a:cubicBezTo>
                  <a:cubicBezTo>
                    <a:pt x="5904" y="12701"/>
                    <a:pt x="6409" y="12624"/>
                    <a:pt x="6043" y="13219"/>
                  </a:cubicBezTo>
                  <a:cubicBezTo>
                    <a:pt x="5697" y="13849"/>
                    <a:pt x="4459" y="15294"/>
                    <a:pt x="3237" y="16275"/>
                  </a:cubicBezTo>
                  <a:cubicBezTo>
                    <a:pt x="2073" y="17383"/>
                    <a:pt x="796" y="18635"/>
                    <a:pt x="498" y="19207"/>
                  </a:cubicBezTo>
                  <a:cubicBezTo>
                    <a:pt x="253" y="19824"/>
                    <a:pt x="110" y="20251"/>
                    <a:pt x="366" y="20273"/>
                  </a:cubicBezTo>
                  <a:cubicBezTo>
                    <a:pt x="632" y="20303"/>
                    <a:pt x="834" y="20694"/>
                    <a:pt x="780" y="21084"/>
                  </a:cubicBezTo>
                  <a:cubicBezTo>
                    <a:pt x="923" y="21416"/>
                    <a:pt x="1871" y="20676"/>
                    <a:pt x="3325" y="19387"/>
                  </a:cubicBezTo>
                  <a:cubicBezTo>
                    <a:pt x="4749" y="18046"/>
                    <a:pt x="6852" y="15848"/>
                    <a:pt x="8053" y="14618"/>
                  </a:cubicBezTo>
                  <a:cubicBezTo>
                    <a:pt x="9233" y="13336"/>
                    <a:pt x="10513" y="11832"/>
                    <a:pt x="10872" y="11255"/>
                  </a:cubicBezTo>
                  <a:cubicBezTo>
                    <a:pt x="11226" y="10666"/>
                    <a:pt x="12852" y="9178"/>
                    <a:pt x="14412" y="7849"/>
                  </a:cubicBezTo>
                  <a:cubicBezTo>
                    <a:pt x="16000" y="6585"/>
                    <a:pt x="18158" y="4427"/>
                    <a:pt x="19275" y="3220"/>
                  </a:cubicBezTo>
                  <a:cubicBezTo>
                    <a:pt x="20387" y="2002"/>
                    <a:pt x="21381" y="731"/>
                    <a:pt x="21305" y="457"/>
                  </a:cubicBezTo>
                  <a:cubicBezTo>
                    <a:pt x="21415" y="206"/>
                    <a:pt x="20399" y="421"/>
                    <a:pt x="19291" y="1005"/>
                  </a:cubicBezTo>
                  <a:cubicBezTo>
                    <a:pt x="18174" y="1594"/>
                    <a:pt x="16767" y="2235"/>
                    <a:pt x="16182" y="2514"/>
                  </a:cubicBezTo>
                  <a:cubicBezTo>
                    <a:pt x="15571" y="2684"/>
                    <a:pt x="15777" y="2195"/>
                    <a:pt x="16569" y="1267"/>
                  </a:cubicBezTo>
                  <a:cubicBezTo>
                    <a:pt x="17407" y="381"/>
                    <a:pt x="17740" y="-184"/>
                    <a:pt x="17362" y="55"/>
                  </a:cubicBezTo>
                  <a:cubicBezTo>
                    <a:pt x="16974" y="276"/>
                    <a:pt x="15372" y="1553"/>
                    <a:pt x="13826" y="2953"/>
                  </a:cubicBezTo>
                  <a:cubicBezTo>
                    <a:pt x="12246" y="4258"/>
                    <a:pt x="9692" y="6351"/>
                    <a:pt x="8091" y="7459"/>
                  </a:cubicBezTo>
                  <a:cubicBezTo>
                    <a:pt x="6481" y="8549"/>
                    <a:pt x="4766" y="9977"/>
                    <a:pt x="4328" y="10642"/>
                  </a:cubicBezTo>
                  <a:cubicBezTo>
                    <a:pt x="3806" y="11202"/>
                    <a:pt x="2790" y="12321"/>
                    <a:pt x="2018" y="13055"/>
                  </a:cubicBezTo>
                  <a:cubicBezTo>
                    <a:pt x="1230" y="13779"/>
                    <a:pt x="366" y="14788"/>
                    <a:pt x="59" y="15260"/>
                  </a:cubicBezTo>
                  <a:cubicBezTo>
                    <a:pt x="-185" y="15802"/>
                    <a:pt x="346" y="15808"/>
                    <a:pt x="1353" y="15429"/>
                  </a:cubicBezTo>
                  <a:close/>
                  <a:moveTo>
                    <a:pt x="1353" y="1542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5" name="AutoShape 1137"/>
            <p:cNvSpPr>
              <a:spLocks/>
            </p:cNvSpPr>
            <p:nvPr/>
          </p:nvSpPr>
          <p:spPr bwMode="auto">
            <a:xfrm>
              <a:off x="5346700" y="1308100"/>
              <a:ext cx="9525" cy="3175"/>
            </a:xfrm>
            <a:custGeom>
              <a:avLst/>
              <a:gdLst/>
              <a:ahLst/>
              <a:cxnLst/>
              <a:rect l="0" t="0" r="r" b="b"/>
              <a:pathLst>
                <a:path w="20900" h="20910">
                  <a:moveTo>
                    <a:pt x="11914" y="13990"/>
                  </a:moveTo>
                  <a:cubicBezTo>
                    <a:pt x="12818" y="13896"/>
                    <a:pt x="14900" y="12603"/>
                    <a:pt x="16466" y="10689"/>
                  </a:cubicBezTo>
                  <a:cubicBezTo>
                    <a:pt x="18136" y="9465"/>
                    <a:pt x="20081" y="5305"/>
                    <a:pt x="20695" y="2200"/>
                  </a:cubicBezTo>
                  <a:cubicBezTo>
                    <a:pt x="21435" y="-574"/>
                    <a:pt x="20117" y="-540"/>
                    <a:pt x="17735" y="1273"/>
                  </a:cubicBezTo>
                  <a:cubicBezTo>
                    <a:pt x="15439" y="3918"/>
                    <a:pt x="12742" y="6563"/>
                    <a:pt x="11876" y="5967"/>
                  </a:cubicBezTo>
                  <a:cubicBezTo>
                    <a:pt x="11036" y="6428"/>
                    <a:pt x="8791" y="7882"/>
                    <a:pt x="6971" y="9729"/>
                  </a:cubicBezTo>
                  <a:cubicBezTo>
                    <a:pt x="5078" y="11183"/>
                    <a:pt x="2569" y="14126"/>
                    <a:pt x="1490" y="16372"/>
                  </a:cubicBezTo>
                  <a:cubicBezTo>
                    <a:pt x="223" y="17921"/>
                    <a:pt x="-165" y="19774"/>
                    <a:pt x="62" y="20897"/>
                  </a:cubicBezTo>
                  <a:cubicBezTo>
                    <a:pt x="549" y="21026"/>
                    <a:pt x="2908" y="20133"/>
                    <a:pt x="5554" y="18090"/>
                  </a:cubicBezTo>
                  <a:cubicBezTo>
                    <a:pt x="8126" y="15546"/>
                    <a:pt x="11061" y="14423"/>
                    <a:pt x="11914" y="13990"/>
                  </a:cubicBezTo>
                  <a:close/>
                  <a:moveTo>
                    <a:pt x="11914" y="1399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6" name="AutoShape 1138"/>
            <p:cNvSpPr>
              <a:spLocks/>
            </p:cNvSpPr>
            <p:nvPr/>
          </p:nvSpPr>
          <p:spPr bwMode="auto">
            <a:xfrm>
              <a:off x="4978400" y="1562100"/>
              <a:ext cx="3175" cy="3175"/>
            </a:xfrm>
            <a:custGeom>
              <a:avLst/>
              <a:gdLst/>
              <a:ahLst/>
              <a:cxnLst/>
              <a:rect l="0" t="0" r="r" b="b"/>
              <a:pathLst>
                <a:path w="20135" h="20164">
                  <a:moveTo>
                    <a:pt x="9107" y="1034"/>
                  </a:moveTo>
                  <a:cubicBezTo>
                    <a:pt x="6302" y="1945"/>
                    <a:pt x="2968" y="4511"/>
                    <a:pt x="1387" y="6311"/>
                  </a:cubicBezTo>
                  <a:cubicBezTo>
                    <a:pt x="39" y="8222"/>
                    <a:pt x="-593" y="11249"/>
                    <a:pt x="730" y="12985"/>
                  </a:cubicBezTo>
                  <a:cubicBezTo>
                    <a:pt x="2149" y="14697"/>
                    <a:pt x="2554" y="17608"/>
                    <a:pt x="2336" y="19238"/>
                  </a:cubicBezTo>
                  <a:cubicBezTo>
                    <a:pt x="1800" y="20775"/>
                    <a:pt x="5200" y="20436"/>
                    <a:pt x="9107" y="17952"/>
                  </a:cubicBezTo>
                  <a:cubicBezTo>
                    <a:pt x="13262" y="15784"/>
                    <a:pt x="17576" y="11191"/>
                    <a:pt x="19027" y="8111"/>
                  </a:cubicBezTo>
                  <a:cubicBezTo>
                    <a:pt x="21007" y="5224"/>
                    <a:pt x="20163" y="1262"/>
                    <a:pt x="17860" y="829"/>
                  </a:cubicBezTo>
                  <a:cubicBezTo>
                    <a:pt x="16383" y="-825"/>
                    <a:pt x="11939" y="402"/>
                    <a:pt x="9107" y="1034"/>
                  </a:cubicBezTo>
                  <a:close/>
                  <a:moveTo>
                    <a:pt x="9107" y="10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7" name="AutoShape 1139"/>
            <p:cNvSpPr>
              <a:spLocks/>
            </p:cNvSpPr>
            <p:nvPr/>
          </p:nvSpPr>
          <p:spPr bwMode="auto">
            <a:xfrm>
              <a:off x="3657600" y="3162300"/>
              <a:ext cx="1588" cy="4763"/>
            </a:xfrm>
            <a:custGeom>
              <a:avLst/>
              <a:gdLst/>
              <a:ahLst/>
              <a:cxnLst/>
              <a:rect l="0" t="0" r="r" b="b"/>
              <a:pathLst>
                <a:path w="19875" h="20400">
                  <a:moveTo>
                    <a:pt x="14841" y="2078"/>
                  </a:moveTo>
                  <a:cubicBezTo>
                    <a:pt x="10694" y="4060"/>
                    <a:pt x="6984" y="9623"/>
                    <a:pt x="3458" y="13762"/>
                  </a:cubicBezTo>
                  <a:cubicBezTo>
                    <a:pt x="1606" y="18080"/>
                    <a:pt x="-704" y="20977"/>
                    <a:pt x="204" y="20303"/>
                  </a:cubicBezTo>
                  <a:cubicBezTo>
                    <a:pt x="1379" y="19629"/>
                    <a:pt x="6925" y="15901"/>
                    <a:pt x="10638" y="11583"/>
                  </a:cubicBezTo>
                  <a:cubicBezTo>
                    <a:pt x="15230" y="7395"/>
                    <a:pt x="19550" y="2623"/>
                    <a:pt x="19550" y="944"/>
                  </a:cubicBezTo>
                  <a:cubicBezTo>
                    <a:pt x="20896" y="-623"/>
                    <a:pt x="17818" y="-235"/>
                    <a:pt x="14841" y="2078"/>
                  </a:cubicBezTo>
                  <a:close/>
                  <a:moveTo>
                    <a:pt x="14841" y="20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8" name="AutoShape 1140"/>
            <p:cNvSpPr>
              <a:spLocks/>
            </p:cNvSpPr>
            <p:nvPr/>
          </p:nvSpPr>
          <p:spPr bwMode="auto">
            <a:xfrm>
              <a:off x="4927600" y="1485900"/>
              <a:ext cx="69850" cy="41275"/>
            </a:xfrm>
            <a:custGeom>
              <a:avLst/>
              <a:gdLst/>
              <a:ahLst/>
              <a:cxnLst/>
              <a:rect l="0" t="0" r="r" b="b"/>
              <a:pathLst>
                <a:path w="21412" h="21378">
                  <a:moveTo>
                    <a:pt x="499" y="21022"/>
                  </a:moveTo>
                  <a:cubicBezTo>
                    <a:pt x="897" y="20591"/>
                    <a:pt x="1529" y="19992"/>
                    <a:pt x="1908" y="19689"/>
                  </a:cubicBezTo>
                  <a:cubicBezTo>
                    <a:pt x="2278" y="19352"/>
                    <a:pt x="2832" y="18853"/>
                    <a:pt x="3128" y="18531"/>
                  </a:cubicBezTo>
                  <a:cubicBezTo>
                    <a:pt x="3421" y="18207"/>
                    <a:pt x="3817" y="17894"/>
                    <a:pt x="3984" y="17757"/>
                  </a:cubicBezTo>
                  <a:cubicBezTo>
                    <a:pt x="4166" y="17682"/>
                    <a:pt x="4594" y="17267"/>
                    <a:pt x="4960" y="16930"/>
                  </a:cubicBezTo>
                  <a:cubicBezTo>
                    <a:pt x="5316" y="16568"/>
                    <a:pt x="5732" y="16309"/>
                    <a:pt x="5870" y="16290"/>
                  </a:cubicBezTo>
                  <a:cubicBezTo>
                    <a:pt x="6012" y="16290"/>
                    <a:pt x="5858" y="16581"/>
                    <a:pt x="5566" y="17011"/>
                  </a:cubicBezTo>
                  <a:cubicBezTo>
                    <a:pt x="5267" y="17426"/>
                    <a:pt x="4860" y="17979"/>
                    <a:pt x="4794" y="18350"/>
                  </a:cubicBezTo>
                  <a:cubicBezTo>
                    <a:pt x="4661" y="18672"/>
                    <a:pt x="4633" y="19109"/>
                    <a:pt x="4740" y="19168"/>
                  </a:cubicBezTo>
                  <a:cubicBezTo>
                    <a:pt x="4798" y="19330"/>
                    <a:pt x="5269" y="18918"/>
                    <a:pt x="5721" y="18372"/>
                  </a:cubicBezTo>
                  <a:cubicBezTo>
                    <a:pt x="6168" y="17820"/>
                    <a:pt x="6643" y="17111"/>
                    <a:pt x="6795" y="16840"/>
                  </a:cubicBezTo>
                  <a:cubicBezTo>
                    <a:pt x="6888" y="16490"/>
                    <a:pt x="7260" y="16025"/>
                    <a:pt x="7513" y="15716"/>
                  </a:cubicBezTo>
                  <a:cubicBezTo>
                    <a:pt x="7759" y="15376"/>
                    <a:pt x="8010" y="15294"/>
                    <a:pt x="8089" y="15463"/>
                  </a:cubicBezTo>
                  <a:cubicBezTo>
                    <a:pt x="8157" y="15644"/>
                    <a:pt x="7984" y="16184"/>
                    <a:pt x="7731" y="16684"/>
                  </a:cubicBezTo>
                  <a:cubicBezTo>
                    <a:pt x="7494" y="17205"/>
                    <a:pt x="7425" y="17660"/>
                    <a:pt x="7613" y="17820"/>
                  </a:cubicBezTo>
                  <a:cubicBezTo>
                    <a:pt x="7808" y="17976"/>
                    <a:pt x="8337" y="17729"/>
                    <a:pt x="8767" y="17264"/>
                  </a:cubicBezTo>
                  <a:cubicBezTo>
                    <a:pt x="9213" y="16861"/>
                    <a:pt x="9577" y="16568"/>
                    <a:pt x="9623" y="16671"/>
                  </a:cubicBezTo>
                  <a:cubicBezTo>
                    <a:pt x="9658" y="16787"/>
                    <a:pt x="9979" y="16649"/>
                    <a:pt x="10321" y="16321"/>
                  </a:cubicBezTo>
                  <a:cubicBezTo>
                    <a:pt x="10681" y="16065"/>
                    <a:pt x="11173" y="15588"/>
                    <a:pt x="11456" y="15404"/>
                  </a:cubicBezTo>
                  <a:cubicBezTo>
                    <a:pt x="11737" y="15220"/>
                    <a:pt x="12375" y="14467"/>
                    <a:pt x="12916" y="13843"/>
                  </a:cubicBezTo>
                  <a:cubicBezTo>
                    <a:pt x="13439" y="13178"/>
                    <a:pt x="14315" y="12188"/>
                    <a:pt x="14843" y="11580"/>
                  </a:cubicBezTo>
                  <a:cubicBezTo>
                    <a:pt x="15368" y="10974"/>
                    <a:pt x="16376" y="9673"/>
                    <a:pt x="17052" y="8646"/>
                  </a:cubicBezTo>
                  <a:cubicBezTo>
                    <a:pt x="17736" y="7622"/>
                    <a:pt x="18309" y="6508"/>
                    <a:pt x="18350" y="6180"/>
                  </a:cubicBezTo>
                  <a:cubicBezTo>
                    <a:pt x="18408" y="5862"/>
                    <a:pt x="18896" y="5000"/>
                    <a:pt x="19438" y="4195"/>
                  </a:cubicBezTo>
                  <a:cubicBezTo>
                    <a:pt x="20013" y="3455"/>
                    <a:pt x="20566" y="2518"/>
                    <a:pt x="20746" y="2259"/>
                  </a:cubicBezTo>
                  <a:cubicBezTo>
                    <a:pt x="20846" y="1904"/>
                    <a:pt x="21020" y="1517"/>
                    <a:pt x="21020" y="1279"/>
                  </a:cubicBezTo>
                  <a:cubicBezTo>
                    <a:pt x="21011" y="1045"/>
                    <a:pt x="21161" y="639"/>
                    <a:pt x="21309" y="340"/>
                  </a:cubicBezTo>
                  <a:cubicBezTo>
                    <a:pt x="21491" y="99"/>
                    <a:pt x="21416" y="-97"/>
                    <a:pt x="21204" y="53"/>
                  </a:cubicBezTo>
                  <a:cubicBezTo>
                    <a:pt x="20977" y="109"/>
                    <a:pt x="20572" y="536"/>
                    <a:pt x="20303" y="893"/>
                  </a:cubicBezTo>
                  <a:cubicBezTo>
                    <a:pt x="20018" y="1223"/>
                    <a:pt x="19656" y="1595"/>
                    <a:pt x="19495" y="1710"/>
                  </a:cubicBezTo>
                  <a:cubicBezTo>
                    <a:pt x="19331" y="1819"/>
                    <a:pt x="18691" y="2369"/>
                    <a:pt x="18065" y="2909"/>
                  </a:cubicBezTo>
                  <a:cubicBezTo>
                    <a:pt x="17427" y="3414"/>
                    <a:pt x="16419" y="4544"/>
                    <a:pt x="15773" y="5253"/>
                  </a:cubicBezTo>
                  <a:cubicBezTo>
                    <a:pt x="15147" y="6014"/>
                    <a:pt x="14265" y="6923"/>
                    <a:pt x="13824" y="7304"/>
                  </a:cubicBezTo>
                  <a:cubicBezTo>
                    <a:pt x="13383" y="7678"/>
                    <a:pt x="12835" y="8196"/>
                    <a:pt x="12599" y="8424"/>
                  </a:cubicBezTo>
                  <a:cubicBezTo>
                    <a:pt x="12357" y="8637"/>
                    <a:pt x="11994" y="8871"/>
                    <a:pt x="11781" y="8949"/>
                  </a:cubicBezTo>
                  <a:cubicBezTo>
                    <a:pt x="11557" y="8949"/>
                    <a:pt x="11139" y="9227"/>
                    <a:pt x="10842" y="9473"/>
                  </a:cubicBezTo>
                  <a:cubicBezTo>
                    <a:pt x="10525" y="9610"/>
                    <a:pt x="9285" y="10893"/>
                    <a:pt x="8063" y="12167"/>
                  </a:cubicBezTo>
                  <a:cubicBezTo>
                    <a:pt x="6823" y="13368"/>
                    <a:pt x="5521" y="14720"/>
                    <a:pt x="5138" y="15069"/>
                  </a:cubicBezTo>
                  <a:cubicBezTo>
                    <a:pt x="4742" y="15376"/>
                    <a:pt x="4089" y="15959"/>
                    <a:pt x="3693" y="16387"/>
                  </a:cubicBezTo>
                  <a:cubicBezTo>
                    <a:pt x="3267" y="16721"/>
                    <a:pt x="2762" y="17329"/>
                    <a:pt x="2560" y="17685"/>
                  </a:cubicBezTo>
                  <a:cubicBezTo>
                    <a:pt x="2336" y="18004"/>
                    <a:pt x="1764" y="18828"/>
                    <a:pt x="1257" y="19455"/>
                  </a:cubicBezTo>
                  <a:cubicBezTo>
                    <a:pt x="764" y="20107"/>
                    <a:pt x="221" y="20891"/>
                    <a:pt x="60" y="21203"/>
                  </a:cubicBezTo>
                  <a:cubicBezTo>
                    <a:pt x="-109" y="21503"/>
                    <a:pt x="88" y="21403"/>
                    <a:pt x="499" y="21022"/>
                  </a:cubicBezTo>
                  <a:close/>
                  <a:moveTo>
                    <a:pt x="499" y="210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39" name="AutoShape 1141"/>
            <p:cNvSpPr>
              <a:spLocks/>
            </p:cNvSpPr>
            <p:nvPr/>
          </p:nvSpPr>
          <p:spPr bwMode="auto">
            <a:xfrm>
              <a:off x="4991100" y="1587500"/>
              <a:ext cx="3175" cy="1588"/>
            </a:xfrm>
            <a:custGeom>
              <a:avLst/>
              <a:gdLst/>
              <a:ahLst/>
              <a:cxnLst/>
              <a:rect l="0" t="0" r="r" b="b"/>
              <a:pathLst>
                <a:path w="19233" h="19880">
                  <a:moveTo>
                    <a:pt x="2627" y="19880"/>
                  </a:moveTo>
                  <a:cubicBezTo>
                    <a:pt x="5606" y="19599"/>
                    <a:pt x="11617" y="13995"/>
                    <a:pt x="16123" y="7268"/>
                  </a:cubicBezTo>
                  <a:cubicBezTo>
                    <a:pt x="20628" y="541"/>
                    <a:pt x="20204" y="-1720"/>
                    <a:pt x="15073" y="1342"/>
                  </a:cubicBezTo>
                  <a:cubicBezTo>
                    <a:pt x="9997" y="4685"/>
                    <a:pt x="3336" y="9810"/>
                    <a:pt x="1576" y="13962"/>
                  </a:cubicBezTo>
                  <a:cubicBezTo>
                    <a:pt x="-972" y="17099"/>
                    <a:pt x="-293" y="19558"/>
                    <a:pt x="2627" y="19880"/>
                  </a:cubicBezTo>
                  <a:close/>
                  <a:moveTo>
                    <a:pt x="2627" y="198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0" name="AutoShape 1142"/>
            <p:cNvSpPr>
              <a:spLocks/>
            </p:cNvSpPr>
            <p:nvPr/>
          </p:nvSpPr>
          <p:spPr bwMode="auto">
            <a:xfrm>
              <a:off x="5041900" y="1485900"/>
              <a:ext cx="12700" cy="7938"/>
            </a:xfrm>
            <a:custGeom>
              <a:avLst/>
              <a:gdLst/>
              <a:ahLst/>
              <a:cxnLst/>
              <a:rect l="0" t="0" r="r" b="b"/>
              <a:pathLst>
                <a:path w="20728" h="20875">
                  <a:moveTo>
                    <a:pt x="19593" y="1428"/>
                  </a:moveTo>
                  <a:cubicBezTo>
                    <a:pt x="21207" y="-230"/>
                    <a:pt x="21106" y="-408"/>
                    <a:pt x="19253" y="708"/>
                  </a:cubicBezTo>
                  <a:cubicBezTo>
                    <a:pt x="17469" y="2032"/>
                    <a:pt x="13218" y="5514"/>
                    <a:pt x="9821" y="8526"/>
                  </a:cubicBezTo>
                  <a:cubicBezTo>
                    <a:pt x="6543" y="11845"/>
                    <a:pt x="2534" y="15739"/>
                    <a:pt x="1282" y="17915"/>
                  </a:cubicBezTo>
                  <a:cubicBezTo>
                    <a:pt x="-122" y="19868"/>
                    <a:pt x="-393" y="21192"/>
                    <a:pt x="570" y="20810"/>
                  </a:cubicBezTo>
                  <a:cubicBezTo>
                    <a:pt x="1442" y="20163"/>
                    <a:pt x="4640" y="17665"/>
                    <a:pt x="7536" y="14888"/>
                  </a:cubicBezTo>
                  <a:cubicBezTo>
                    <a:pt x="10443" y="12068"/>
                    <a:pt x="13690" y="8599"/>
                    <a:pt x="14723" y="7085"/>
                  </a:cubicBezTo>
                  <a:cubicBezTo>
                    <a:pt x="15784" y="5616"/>
                    <a:pt x="17929" y="2986"/>
                    <a:pt x="19593" y="1428"/>
                  </a:cubicBezTo>
                  <a:close/>
                  <a:moveTo>
                    <a:pt x="19593" y="14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1" name="AutoShape 1143"/>
            <p:cNvSpPr>
              <a:spLocks/>
            </p:cNvSpPr>
            <p:nvPr/>
          </p:nvSpPr>
          <p:spPr bwMode="auto">
            <a:xfrm>
              <a:off x="5156200" y="1765300"/>
              <a:ext cx="11113" cy="11113"/>
            </a:xfrm>
            <a:custGeom>
              <a:avLst/>
              <a:gdLst/>
              <a:ahLst/>
              <a:cxnLst/>
              <a:rect l="0" t="0" r="r" b="b"/>
              <a:pathLst>
                <a:path w="20510" h="20779">
                  <a:moveTo>
                    <a:pt x="15776" y="2367"/>
                  </a:moveTo>
                  <a:cubicBezTo>
                    <a:pt x="14609" y="2582"/>
                    <a:pt x="13378" y="2310"/>
                    <a:pt x="13126" y="979"/>
                  </a:cubicBezTo>
                  <a:cubicBezTo>
                    <a:pt x="12730" y="-305"/>
                    <a:pt x="10862" y="-386"/>
                    <a:pt x="9202" y="1092"/>
                  </a:cubicBezTo>
                  <a:cubicBezTo>
                    <a:pt x="7387" y="2367"/>
                    <a:pt x="5454" y="5389"/>
                    <a:pt x="4707" y="7622"/>
                  </a:cubicBezTo>
                  <a:cubicBezTo>
                    <a:pt x="4101" y="9891"/>
                    <a:pt x="2541" y="12732"/>
                    <a:pt x="1474" y="14030"/>
                  </a:cubicBezTo>
                  <a:cubicBezTo>
                    <a:pt x="342" y="15282"/>
                    <a:pt x="-318" y="17615"/>
                    <a:pt x="155" y="19082"/>
                  </a:cubicBezTo>
                  <a:cubicBezTo>
                    <a:pt x="616" y="20560"/>
                    <a:pt x="1748" y="21214"/>
                    <a:pt x="2881" y="20470"/>
                  </a:cubicBezTo>
                  <a:cubicBezTo>
                    <a:pt x="4002" y="19646"/>
                    <a:pt x="6663" y="17086"/>
                    <a:pt x="8619" y="14527"/>
                  </a:cubicBezTo>
                  <a:cubicBezTo>
                    <a:pt x="10652" y="12044"/>
                    <a:pt x="14686" y="8526"/>
                    <a:pt x="17260" y="6236"/>
                  </a:cubicBezTo>
                  <a:cubicBezTo>
                    <a:pt x="20104" y="4319"/>
                    <a:pt x="21282" y="2176"/>
                    <a:pt x="19985" y="1984"/>
                  </a:cubicBezTo>
                  <a:cubicBezTo>
                    <a:pt x="18743" y="1691"/>
                    <a:pt x="16742" y="1667"/>
                    <a:pt x="15776" y="2367"/>
                  </a:cubicBezTo>
                  <a:close/>
                  <a:moveTo>
                    <a:pt x="15776" y="236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2" name="AutoShape 1144"/>
            <p:cNvSpPr>
              <a:spLocks/>
            </p:cNvSpPr>
            <p:nvPr/>
          </p:nvSpPr>
          <p:spPr bwMode="auto">
            <a:xfrm>
              <a:off x="5080000" y="1739900"/>
              <a:ext cx="4763" cy="1588"/>
            </a:xfrm>
            <a:custGeom>
              <a:avLst/>
              <a:gdLst/>
              <a:ahLst/>
              <a:cxnLst/>
              <a:rect l="0" t="0" r="r" b="b"/>
              <a:pathLst>
                <a:path w="20165" h="19649">
                  <a:moveTo>
                    <a:pt x="6527" y="1745"/>
                  </a:moveTo>
                  <a:cubicBezTo>
                    <a:pt x="3388" y="3131"/>
                    <a:pt x="-363" y="9183"/>
                    <a:pt x="100" y="13340"/>
                  </a:cubicBezTo>
                  <a:cubicBezTo>
                    <a:pt x="-584" y="17374"/>
                    <a:pt x="2334" y="21012"/>
                    <a:pt x="6110" y="19148"/>
                  </a:cubicBezTo>
                  <a:cubicBezTo>
                    <a:pt x="10107" y="19148"/>
                    <a:pt x="15868" y="15194"/>
                    <a:pt x="18268" y="11006"/>
                  </a:cubicBezTo>
                  <a:cubicBezTo>
                    <a:pt x="21016" y="7522"/>
                    <a:pt x="20775" y="2613"/>
                    <a:pt x="17560" y="1113"/>
                  </a:cubicBezTo>
                  <a:cubicBezTo>
                    <a:pt x="14322" y="-353"/>
                    <a:pt x="9445" y="-588"/>
                    <a:pt x="6527" y="1745"/>
                  </a:cubicBezTo>
                  <a:close/>
                  <a:moveTo>
                    <a:pt x="6527" y="17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3" name="AutoShape 1145"/>
            <p:cNvSpPr>
              <a:spLocks/>
            </p:cNvSpPr>
            <p:nvPr/>
          </p:nvSpPr>
          <p:spPr bwMode="auto">
            <a:xfrm>
              <a:off x="4940300" y="1562100"/>
              <a:ext cx="30163" cy="17463"/>
            </a:xfrm>
            <a:custGeom>
              <a:avLst/>
              <a:gdLst/>
              <a:ahLst/>
              <a:cxnLst/>
              <a:rect l="0" t="0" r="r" b="b"/>
              <a:pathLst>
                <a:path w="21416" h="21369">
                  <a:moveTo>
                    <a:pt x="1983" y="19837"/>
                  </a:moveTo>
                  <a:cubicBezTo>
                    <a:pt x="2774" y="18839"/>
                    <a:pt x="4297" y="17277"/>
                    <a:pt x="5333" y="16279"/>
                  </a:cubicBezTo>
                  <a:cubicBezTo>
                    <a:pt x="6364" y="15296"/>
                    <a:pt x="7669" y="14220"/>
                    <a:pt x="8229" y="13922"/>
                  </a:cubicBezTo>
                  <a:cubicBezTo>
                    <a:pt x="8793" y="13656"/>
                    <a:pt x="10659" y="11768"/>
                    <a:pt x="12361" y="9752"/>
                  </a:cubicBezTo>
                  <a:cubicBezTo>
                    <a:pt x="14069" y="7721"/>
                    <a:pt x="16066" y="5609"/>
                    <a:pt x="16811" y="5068"/>
                  </a:cubicBezTo>
                  <a:cubicBezTo>
                    <a:pt x="17517" y="4410"/>
                    <a:pt x="18937" y="3159"/>
                    <a:pt x="19909" y="2089"/>
                  </a:cubicBezTo>
                  <a:cubicBezTo>
                    <a:pt x="20884" y="1056"/>
                    <a:pt x="21504" y="231"/>
                    <a:pt x="21406" y="0"/>
                  </a:cubicBezTo>
                  <a:cubicBezTo>
                    <a:pt x="21234" y="0"/>
                    <a:pt x="20088" y="600"/>
                    <a:pt x="18805" y="1439"/>
                  </a:cubicBezTo>
                  <a:cubicBezTo>
                    <a:pt x="17543" y="2349"/>
                    <a:pt x="15612" y="3983"/>
                    <a:pt x="14479" y="4973"/>
                  </a:cubicBezTo>
                  <a:cubicBezTo>
                    <a:pt x="13367" y="6036"/>
                    <a:pt x="10945" y="8523"/>
                    <a:pt x="9230" y="10815"/>
                  </a:cubicBezTo>
                  <a:cubicBezTo>
                    <a:pt x="9230" y="10815"/>
                    <a:pt x="9247" y="10873"/>
                    <a:pt x="8743" y="11198"/>
                  </a:cubicBezTo>
                  <a:cubicBezTo>
                    <a:pt x="8297" y="11690"/>
                    <a:pt x="8259" y="11588"/>
                    <a:pt x="8259" y="11588"/>
                  </a:cubicBezTo>
                  <a:cubicBezTo>
                    <a:pt x="7356" y="12116"/>
                    <a:pt x="5769" y="13258"/>
                    <a:pt x="4819" y="14328"/>
                  </a:cubicBezTo>
                  <a:cubicBezTo>
                    <a:pt x="3822" y="15274"/>
                    <a:pt x="2509" y="16763"/>
                    <a:pt x="1867" y="17523"/>
                  </a:cubicBezTo>
                  <a:cubicBezTo>
                    <a:pt x="1243" y="18325"/>
                    <a:pt x="456" y="19344"/>
                    <a:pt x="254" y="19973"/>
                  </a:cubicBezTo>
                  <a:cubicBezTo>
                    <a:pt x="-96" y="20386"/>
                    <a:pt x="-45" y="21231"/>
                    <a:pt x="169" y="21311"/>
                  </a:cubicBezTo>
                  <a:cubicBezTo>
                    <a:pt x="297" y="21600"/>
                    <a:pt x="1157" y="20755"/>
                    <a:pt x="1983" y="19837"/>
                  </a:cubicBezTo>
                  <a:close/>
                  <a:moveTo>
                    <a:pt x="1983" y="198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4" name="AutoShape 1146"/>
            <p:cNvSpPr>
              <a:spLocks/>
            </p:cNvSpPr>
            <p:nvPr/>
          </p:nvSpPr>
          <p:spPr bwMode="auto">
            <a:xfrm>
              <a:off x="4864100" y="1524000"/>
              <a:ext cx="84138" cy="58738"/>
            </a:xfrm>
            <a:custGeom>
              <a:avLst/>
              <a:gdLst/>
              <a:ahLst/>
              <a:cxnLst/>
              <a:rect l="0" t="0" r="r" b="b"/>
              <a:pathLst>
                <a:path w="21536" h="21517">
                  <a:moveTo>
                    <a:pt x="803" y="19570"/>
                  </a:moveTo>
                  <a:cubicBezTo>
                    <a:pt x="976" y="19486"/>
                    <a:pt x="1156" y="19668"/>
                    <a:pt x="1156" y="19862"/>
                  </a:cubicBezTo>
                  <a:cubicBezTo>
                    <a:pt x="1184" y="20048"/>
                    <a:pt x="944" y="20466"/>
                    <a:pt x="668" y="20813"/>
                  </a:cubicBezTo>
                  <a:cubicBezTo>
                    <a:pt x="391" y="21159"/>
                    <a:pt x="169" y="21458"/>
                    <a:pt x="188" y="21510"/>
                  </a:cubicBezTo>
                  <a:cubicBezTo>
                    <a:pt x="210" y="21560"/>
                    <a:pt x="502" y="21363"/>
                    <a:pt x="849" y="21087"/>
                  </a:cubicBezTo>
                  <a:cubicBezTo>
                    <a:pt x="1194" y="20808"/>
                    <a:pt x="1698" y="20414"/>
                    <a:pt x="1978" y="20231"/>
                  </a:cubicBezTo>
                  <a:cubicBezTo>
                    <a:pt x="2258" y="20048"/>
                    <a:pt x="2661" y="19686"/>
                    <a:pt x="2894" y="19480"/>
                  </a:cubicBezTo>
                  <a:cubicBezTo>
                    <a:pt x="3124" y="19271"/>
                    <a:pt x="3445" y="19077"/>
                    <a:pt x="3617" y="19058"/>
                  </a:cubicBezTo>
                  <a:cubicBezTo>
                    <a:pt x="3785" y="19088"/>
                    <a:pt x="4223" y="18830"/>
                    <a:pt x="4575" y="18545"/>
                  </a:cubicBezTo>
                  <a:cubicBezTo>
                    <a:pt x="4929" y="18264"/>
                    <a:pt x="5551" y="17703"/>
                    <a:pt x="5964" y="17311"/>
                  </a:cubicBezTo>
                  <a:cubicBezTo>
                    <a:pt x="6370" y="16906"/>
                    <a:pt x="6957" y="16371"/>
                    <a:pt x="7273" y="16143"/>
                  </a:cubicBezTo>
                  <a:cubicBezTo>
                    <a:pt x="7572" y="15873"/>
                    <a:pt x="8092" y="15348"/>
                    <a:pt x="8438" y="14988"/>
                  </a:cubicBezTo>
                  <a:cubicBezTo>
                    <a:pt x="8747" y="14561"/>
                    <a:pt x="9085" y="14126"/>
                    <a:pt x="9178" y="13993"/>
                  </a:cubicBezTo>
                  <a:cubicBezTo>
                    <a:pt x="9214" y="13809"/>
                    <a:pt x="9573" y="13506"/>
                    <a:pt x="9874" y="13223"/>
                  </a:cubicBezTo>
                  <a:cubicBezTo>
                    <a:pt x="10176" y="12940"/>
                    <a:pt x="10589" y="12469"/>
                    <a:pt x="10819" y="12220"/>
                  </a:cubicBezTo>
                  <a:cubicBezTo>
                    <a:pt x="11031" y="11932"/>
                    <a:pt x="11722" y="11113"/>
                    <a:pt x="12347" y="10384"/>
                  </a:cubicBezTo>
                  <a:cubicBezTo>
                    <a:pt x="12993" y="9685"/>
                    <a:pt x="13534" y="8901"/>
                    <a:pt x="13613" y="8729"/>
                  </a:cubicBezTo>
                  <a:cubicBezTo>
                    <a:pt x="13688" y="8551"/>
                    <a:pt x="13622" y="8512"/>
                    <a:pt x="13482" y="8655"/>
                  </a:cubicBezTo>
                  <a:cubicBezTo>
                    <a:pt x="13331" y="8777"/>
                    <a:pt x="12966" y="9130"/>
                    <a:pt x="12632" y="9336"/>
                  </a:cubicBezTo>
                  <a:cubicBezTo>
                    <a:pt x="12306" y="9571"/>
                    <a:pt x="12112" y="9617"/>
                    <a:pt x="12217" y="9458"/>
                  </a:cubicBezTo>
                  <a:cubicBezTo>
                    <a:pt x="12325" y="9304"/>
                    <a:pt x="12846" y="8657"/>
                    <a:pt x="13399" y="8041"/>
                  </a:cubicBezTo>
                  <a:cubicBezTo>
                    <a:pt x="13949" y="7428"/>
                    <a:pt x="14642" y="6735"/>
                    <a:pt x="14942" y="6504"/>
                  </a:cubicBezTo>
                  <a:cubicBezTo>
                    <a:pt x="15236" y="6283"/>
                    <a:pt x="16182" y="5377"/>
                    <a:pt x="17086" y="4614"/>
                  </a:cubicBezTo>
                  <a:cubicBezTo>
                    <a:pt x="17969" y="3804"/>
                    <a:pt x="18872" y="3057"/>
                    <a:pt x="19085" y="2930"/>
                  </a:cubicBezTo>
                  <a:cubicBezTo>
                    <a:pt x="19297" y="2794"/>
                    <a:pt x="19962" y="2158"/>
                    <a:pt x="20508" y="1425"/>
                  </a:cubicBezTo>
                  <a:cubicBezTo>
                    <a:pt x="21081" y="730"/>
                    <a:pt x="21519" y="82"/>
                    <a:pt x="21536" y="12"/>
                  </a:cubicBezTo>
                  <a:cubicBezTo>
                    <a:pt x="21501" y="-40"/>
                    <a:pt x="21246" y="87"/>
                    <a:pt x="20884" y="309"/>
                  </a:cubicBezTo>
                  <a:cubicBezTo>
                    <a:pt x="20536" y="576"/>
                    <a:pt x="20192" y="730"/>
                    <a:pt x="20171" y="673"/>
                  </a:cubicBezTo>
                  <a:cubicBezTo>
                    <a:pt x="20140" y="628"/>
                    <a:pt x="19850" y="734"/>
                    <a:pt x="19557" y="936"/>
                  </a:cubicBezTo>
                  <a:cubicBezTo>
                    <a:pt x="19250" y="1112"/>
                    <a:pt x="18633" y="1583"/>
                    <a:pt x="18167" y="1927"/>
                  </a:cubicBezTo>
                  <a:cubicBezTo>
                    <a:pt x="17704" y="2287"/>
                    <a:pt x="17337" y="2518"/>
                    <a:pt x="17374" y="2445"/>
                  </a:cubicBezTo>
                  <a:cubicBezTo>
                    <a:pt x="17347" y="2368"/>
                    <a:pt x="17075" y="2495"/>
                    <a:pt x="16663" y="2792"/>
                  </a:cubicBezTo>
                  <a:cubicBezTo>
                    <a:pt x="16248" y="3055"/>
                    <a:pt x="15719" y="3412"/>
                    <a:pt x="15519" y="3641"/>
                  </a:cubicBezTo>
                  <a:cubicBezTo>
                    <a:pt x="15308" y="3849"/>
                    <a:pt x="14845" y="4184"/>
                    <a:pt x="14521" y="4469"/>
                  </a:cubicBezTo>
                  <a:cubicBezTo>
                    <a:pt x="14173" y="4686"/>
                    <a:pt x="13788" y="5024"/>
                    <a:pt x="13621" y="5065"/>
                  </a:cubicBezTo>
                  <a:cubicBezTo>
                    <a:pt x="13454" y="5112"/>
                    <a:pt x="13096" y="5354"/>
                    <a:pt x="12821" y="5581"/>
                  </a:cubicBezTo>
                  <a:cubicBezTo>
                    <a:pt x="12549" y="5812"/>
                    <a:pt x="12232" y="6036"/>
                    <a:pt x="12135" y="5999"/>
                  </a:cubicBezTo>
                  <a:cubicBezTo>
                    <a:pt x="12039" y="6040"/>
                    <a:pt x="11286" y="6611"/>
                    <a:pt x="10479" y="7328"/>
                  </a:cubicBezTo>
                  <a:cubicBezTo>
                    <a:pt x="9662" y="8016"/>
                    <a:pt x="8819" y="8780"/>
                    <a:pt x="8586" y="8958"/>
                  </a:cubicBezTo>
                  <a:cubicBezTo>
                    <a:pt x="8358" y="9137"/>
                    <a:pt x="7872" y="9596"/>
                    <a:pt x="7516" y="9988"/>
                  </a:cubicBezTo>
                  <a:cubicBezTo>
                    <a:pt x="7155" y="10368"/>
                    <a:pt x="6521" y="11000"/>
                    <a:pt x="6115" y="11403"/>
                  </a:cubicBezTo>
                  <a:cubicBezTo>
                    <a:pt x="5690" y="11765"/>
                    <a:pt x="5209" y="12394"/>
                    <a:pt x="5000" y="12714"/>
                  </a:cubicBezTo>
                  <a:cubicBezTo>
                    <a:pt x="4808" y="13058"/>
                    <a:pt x="4216" y="13780"/>
                    <a:pt x="3709" y="14357"/>
                  </a:cubicBezTo>
                  <a:cubicBezTo>
                    <a:pt x="3185" y="14903"/>
                    <a:pt x="2681" y="15604"/>
                    <a:pt x="2524" y="15815"/>
                  </a:cubicBezTo>
                  <a:cubicBezTo>
                    <a:pt x="2410" y="16073"/>
                    <a:pt x="1932" y="16634"/>
                    <a:pt x="1516" y="17105"/>
                  </a:cubicBezTo>
                  <a:cubicBezTo>
                    <a:pt x="1096" y="17585"/>
                    <a:pt x="646" y="18176"/>
                    <a:pt x="570" y="18457"/>
                  </a:cubicBezTo>
                  <a:cubicBezTo>
                    <a:pt x="466" y="18710"/>
                    <a:pt x="255" y="19181"/>
                    <a:pt x="104" y="19502"/>
                  </a:cubicBezTo>
                  <a:cubicBezTo>
                    <a:pt x="-64" y="19801"/>
                    <a:pt x="-15" y="20000"/>
                    <a:pt x="153" y="19853"/>
                  </a:cubicBezTo>
                  <a:cubicBezTo>
                    <a:pt x="334" y="19738"/>
                    <a:pt x="625" y="19588"/>
                    <a:pt x="803" y="19570"/>
                  </a:cubicBezTo>
                  <a:close/>
                  <a:moveTo>
                    <a:pt x="803" y="195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5" name="AutoShape 1147"/>
            <p:cNvSpPr>
              <a:spLocks/>
            </p:cNvSpPr>
            <p:nvPr/>
          </p:nvSpPr>
          <p:spPr bwMode="auto">
            <a:xfrm>
              <a:off x="4864100" y="1549400"/>
              <a:ext cx="23813" cy="20638"/>
            </a:xfrm>
            <a:custGeom>
              <a:avLst/>
              <a:gdLst/>
              <a:ahLst/>
              <a:cxnLst/>
              <a:rect l="0" t="0" r="r" b="b"/>
              <a:pathLst>
                <a:path w="21253" h="21090">
                  <a:moveTo>
                    <a:pt x="808" y="21052"/>
                  </a:moveTo>
                  <a:cubicBezTo>
                    <a:pt x="1315" y="20926"/>
                    <a:pt x="2948" y="19728"/>
                    <a:pt x="4512" y="18593"/>
                  </a:cubicBezTo>
                  <a:cubicBezTo>
                    <a:pt x="6000" y="17294"/>
                    <a:pt x="8438" y="15211"/>
                    <a:pt x="9922" y="13906"/>
                  </a:cubicBezTo>
                  <a:cubicBezTo>
                    <a:pt x="11314" y="12463"/>
                    <a:pt x="13108" y="10594"/>
                    <a:pt x="13802" y="9621"/>
                  </a:cubicBezTo>
                  <a:cubicBezTo>
                    <a:pt x="14522" y="8661"/>
                    <a:pt x="15599" y="7357"/>
                    <a:pt x="16143" y="6667"/>
                  </a:cubicBezTo>
                  <a:cubicBezTo>
                    <a:pt x="16693" y="5977"/>
                    <a:pt x="17446" y="4985"/>
                    <a:pt x="17824" y="4478"/>
                  </a:cubicBezTo>
                  <a:cubicBezTo>
                    <a:pt x="18150" y="3888"/>
                    <a:pt x="19329" y="2433"/>
                    <a:pt x="20417" y="1234"/>
                  </a:cubicBezTo>
                  <a:cubicBezTo>
                    <a:pt x="21501" y="17"/>
                    <a:pt x="21522" y="-385"/>
                    <a:pt x="20530" y="413"/>
                  </a:cubicBezTo>
                  <a:cubicBezTo>
                    <a:pt x="19516" y="1190"/>
                    <a:pt x="18192" y="2176"/>
                    <a:pt x="17589" y="2576"/>
                  </a:cubicBezTo>
                  <a:cubicBezTo>
                    <a:pt x="16960" y="2972"/>
                    <a:pt x="15999" y="3430"/>
                    <a:pt x="15460" y="3680"/>
                  </a:cubicBezTo>
                  <a:cubicBezTo>
                    <a:pt x="14927" y="3945"/>
                    <a:pt x="13604" y="4703"/>
                    <a:pt x="12649" y="5645"/>
                  </a:cubicBezTo>
                  <a:cubicBezTo>
                    <a:pt x="11683" y="6541"/>
                    <a:pt x="10311" y="7627"/>
                    <a:pt x="9656" y="8097"/>
                  </a:cubicBezTo>
                  <a:cubicBezTo>
                    <a:pt x="8973" y="8517"/>
                    <a:pt x="7771" y="9766"/>
                    <a:pt x="6854" y="10669"/>
                  </a:cubicBezTo>
                  <a:cubicBezTo>
                    <a:pt x="6000" y="11629"/>
                    <a:pt x="4757" y="13116"/>
                    <a:pt x="4133" y="14001"/>
                  </a:cubicBezTo>
                  <a:cubicBezTo>
                    <a:pt x="3503" y="14860"/>
                    <a:pt x="2324" y="16334"/>
                    <a:pt x="1560" y="17319"/>
                  </a:cubicBezTo>
                  <a:cubicBezTo>
                    <a:pt x="782" y="18279"/>
                    <a:pt x="13" y="19552"/>
                    <a:pt x="13" y="20199"/>
                  </a:cubicBezTo>
                  <a:cubicBezTo>
                    <a:pt x="-78" y="20832"/>
                    <a:pt x="323" y="21215"/>
                    <a:pt x="808" y="21052"/>
                  </a:cubicBezTo>
                  <a:close/>
                  <a:moveTo>
                    <a:pt x="808" y="2105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6" name="AutoShape 1148"/>
            <p:cNvSpPr>
              <a:spLocks/>
            </p:cNvSpPr>
            <p:nvPr/>
          </p:nvSpPr>
          <p:spPr bwMode="auto">
            <a:xfrm>
              <a:off x="4889500" y="1587500"/>
              <a:ext cx="23813" cy="19050"/>
            </a:xfrm>
            <a:custGeom>
              <a:avLst/>
              <a:gdLst/>
              <a:ahLst/>
              <a:cxnLst/>
              <a:rect l="0" t="0" r="r" b="b"/>
              <a:pathLst>
                <a:path w="21292" h="21266">
                  <a:moveTo>
                    <a:pt x="19650" y="2320"/>
                  </a:moveTo>
                  <a:cubicBezTo>
                    <a:pt x="20563" y="1669"/>
                    <a:pt x="21182" y="780"/>
                    <a:pt x="21292" y="525"/>
                  </a:cubicBezTo>
                  <a:cubicBezTo>
                    <a:pt x="21144" y="301"/>
                    <a:pt x="21072" y="-51"/>
                    <a:pt x="20799" y="38"/>
                  </a:cubicBezTo>
                  <a:cubicBezTo>
                    <a:pt x="20525" y="-45"/>
                    <a:pt x="20039" y="26"/>
                    <a:pt x="19765" y="71"/>
                  </a:cubicBezTo>
                  <a:cubicBezTo>
                    <a:pt x="19464" y="71"/>
                    <a:pt x="17991" y="685"/>
                    <a:pt x="16558" y="1636"/>
                  </a:cubicBezTo>
                  <a:cubicBezTo>
                    <a:pt x="15037" y="2378"/>
                    <a:pt x="13122" y="3853"/>
                    <a:pt x="12196" y="4671"/>
                  </a:cubicBezTo>
                  <a:cubicBezTo>
                    <a:pt x="11288" y="5515"/>
                    <a:pt x="9893" y="6934"/>
                    <a:pt x="9204" y="7943"/>
                  </a:cubicBezTo>
                  <a:cubicBezTo>
                    <a:pt x="8596" y="9031"/>
                    <a:pt x="7621" y="10097"/>
                    <a:pt x="7813" y="10372"/>
                  </a:cubicBezTo>
                  <a:cubicBezTo>
                    <a:pt x="7676" y="10678"/>
                    <a:pt x="7277" y="11605"/>
                    <a:pt x="6713" y="12334"/>
                  </a:cubicBezTo>
                  <a:cubicBezTo>
                    <a:pt x="6237" y="13172"/>
                    <a:pt x="4612" y="14641"/>
                    <a:pt x="3337" y="15855"/>
                  </a:cubicBezTo>
                  <a:cubicBezTo>
                    <a:pt x="1996" y="16960"/>
                    <a:pt x="491" y="18801"/>
                    <a:pt x="206" y="19913"/>
                  </a:cubicBezTo>
                  <a:cubicBezTo>
                    <a:pt x="-308" y="20910"/>
                    <a:pt x="191" y="21549"/>
                    <a:pt x="1121" y="21141"/>
                  </a:cubicBezTo>
                  <a:cubicBezTo>
                    <a:pt x="2045" y="20718"/>
                    <a:pt x="4075" y="19824"/>
                    <a:pt x="5580" y="18999"/>
                  </a:cubicBezTo>
                  <a:cubicBezTo>
                    <a:pt x="7129" y="18290"/>
                    <a:pt x="8519" y="17811"/>
                    <a:pt x="8815" y="17925"/>
                  </a:cubicBezTo>
                  <a:cubicBezTo>
                    <a:pt x="8979" y="18239"/>
                    <a:pt x="9969" y="17676"/>
                    <a:pt x="10888" y="17063"/>
                  </a:cubicBezTo>
                  <a:cubicBezTo>
                    <a:pt x="11792" y="16392"/>
                    <a:pt x="13175" y="15012"/>
                    <a:pt x="14008" y="14079"/>
                  </a:cubicBezTo>
                  <a:cubicBezTo>
                    <a:pt x="14895" y="13209"/>
                    <a:pt x="15939" y="11574"/>
                    <a:pt x="16514" y="10685"/>
                  </a:cubicBezTo>
                  <a:cubicBezTo>
                    <a:pt x="16990" y="9733"/>
                    <a:pt x="17477" y="8692"/>
                    <a:pt x="17477" y="8275"/>
                  </a:cubicBezTo>
                  <a:cubicBezTo>
                    <a:pt x="17253" y="7963"/>
                    <a:pt x="18085" y="6960"/>
                    <a:pt x="18775" y="6154"/>
                  </a:cubicBezTo>
                  <a:cubicBezTo>
                    <a:pt x="19470" y="5342"/>
                    <a:pt x="20312" y="4371"/>
                    <a:pt x="20651" y="3975"/>
                  </a:cubicBezTo>
                  <a:cubicBezTo>
                    <a:pt x="20876" y="3476"/>
                    <a:pt x="20290" y="3617"/>
                    <a:pt x="19261" y="4314"/>
                  </a:cubicBezTo>
                  <a:cubicBezTo>
                    <a:pt x="18183" y="4895"/>
                    <a:pt x="17002" y="5509"/>
                    <a:pt x="16640" y="5719"/>
                  </a:cubicBezTo>
                  <a:cubicBezTo>
                    <a:pt x="16241" y="5770"/>
                    <a:pt x="16334" y="5318"/>
                    <a:pt x="16990" y="4799"/>
                  </a:cubicBezTo>
                  <a:cubicBezTo>
                    <a:pt x="17532" y="4096"/>
                    <a:pt x="18790" y="3061"/>
                    <a:pt x="19650" y="2320"/>
                  </a:cubicBezTo>
                  <a:close/>
                  <a:moveTo>
                    <a:pt x="19650" y="23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7" name="AutoShape 1149"/>
            <p:cNvSpPr>
              <a:spLocks/>
            </p:cNvSpPr>
            <p:nvPr/>
          </p:nvSpPr>
          <p:spPr bwMode="auto">
            <a:xfrm>
              <a:off x="3657600" y="3162300"/>
              <a:ext cx="4763" cy="9525"/>
            </a:xfrm>
            <a:custGeom>
              <a:avLst/>
              <a:gdLst/>
              <a:ahLst/>
              <a:cxnLst/>
              <a:rect l="0" t="0" r="r" b="b"/>
              <a:pathLst>
                <a:path w="20906" h="20473">
                  <a:moveTo>
                    <a:pt x="14152" y="4289"/>
                  </a:moveTo>
                  <a:cubicBezTo>
                    <a:pt x="10663" y="7524"/>
                    <a:pt x="4960" y="12586"/>
                    <a:pt x="2956" y="15785"/>
                  </a:cubicBezTo>
                  <a:cubicBezTo>
                    <a:pt x="365" y="18892"/>
                    <a:pt x="-694" y="20923"/>
                    <a:pt x="470" y="20386"/>
                  </a:cubicBezTo>
                  <a:cubicBezTo>
                    <a:pt x="1416" y="19734"/>
                    <a:pt x="3581" y="18982"/>
                    <a:pt x="4744" y="18443"/>
                  </a:cubicBezTo>
                  <a:cubicBezTo>
                    <a:pt x="5852" y="17917"/>
                    <a:pt x="9933" y="14068"/>
                    <a:pt x="13963" y="9780"/>
                  </a:cubicBezTo>
                  <a:cubicBezTo>
                    <a:pt x="18126" y="5554"/>
                    <a:pt x="20906" y="1167"/>
                    <a:pt x="20906" y="227"/>
                  </a:cubicBezTo>
                  <a:cubicBezTo>
                    <a:pt x="20446" y="-677"/>
                    <a:pt x="18316" y="1205"/>
                    <a:pt x="14152" y="4289"/>
                  </a:cubicBezTo>
                  <a:close/>
                  <a:moveTo>
                    <a:pt x="14152" y="42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8" name="AutoShape 1150"/>
            <p:cNvSpPr>
              <a:spLocks/>
            </p:cNvSpPr>
            <p:nvPr/>
          </p:nvSpPr>
          <p:spPr bwMode="auto">
            <a:xfrm>
              <a:off x="4940300" y="1524000"/>
              <a:ext cx="36513" cy="34925"/>
            </a:xfrm>
            <a:custGeom>
              <a:avLst/>
              <a:gdLst/>
              <a:ahLst/>
              <a:cxnLst/>
              <a:rect l="0" t="0" r="r" b="b"/>
              <a:pathLst>
                <a:path w="21484" h="21454">
                  <a:moveTo>
                    <a:pt x="21226" y="1093"/>
                  </a:moveTo>
                  <a:cubicBezTo>
                    <a:pt x="21510" y="462"/>
                    <a:pt x="21600" y="75"/>
                    <a:pt x="21285" y="0"/>
                  </a:cubicBezTo>
                  <a:cubicBezTo>
                    <a:pt x="20954" y="-18"/>
                    <a:pt x="20229" y="320"/>
                    <a:pt x="19687" y="759"/>
                  </a:cubicBezTo>
                  <a:cubicBezTo>
                    <a:pt x="19145" y="1183"/>
                    <a:pt x="18395" y="1919"/>
                    <a:pt x="18040" y="2401"/>
                  </a:cubicBezTo>
                  <a:cubicBezTo>
                    <a:pt x="17659" y="2863"/>
                    <a:pt x="16518" y="4059"/>
                    <a:pt x="15466" y="5048"/>
                  </a:cubicBezTo>
                  <a:cubicBezTo>
                    <a:pt x="14407" y="6022"/>
                    <a:pt x="13385" y="7123"/>
                    <a:pt x="13105" y="7409"/>
                  </a:cubicBezTo>
                  <a:cubicBezTo>
                    <a:pt x="12911" y="7761"/>
                    <a:pt x="12369" y="8197"/>
                    <a:pt x="12060" y="8494"/>
                  </a:cubicBezTo>
                  <a:cubicBezTo>
                    <a:pt x="11783" y="8821"/>
                    <a:pt x="11277" y="9308"/>
                    <a:pt x="10968" y="9605"/>
                  </a:cubicBezTo>
                  <a:cubicBezTo>
                    <a:pt x="10685" y="9932"/>
                    <a:pt x="9583" y="10910"/>
                    <a:pt x="8463" y="11731"/>
                  </a:cubicBezTo>
                  <a:cubicBezTo>
                    <a:pt x="7351" y="12560"/>
                    <a:pt x="6101" y="13660"/>
                    <a:pt x="5714" y="14199"/>
                  </a:cubicBezTo>
                  <a:cubicBezTo>
                    <a:pt x="5287" y="14694"/>
                    <a:pt x="4458" y="15854"/>
                    <a:pt x="3697" y="16582"/>
                  </a:cubicBezTo>
                  <a:cubicBezTo>
                    <a:pt x="3054" y="17419"/>
                    <a:pt x="1863" y="18519"/>
                    <a:pt x="1220" y="19154"/>
                  </a:cubicBezTo>
                  <a:cubicBezTo>
                    <a:pt x="531" y="19738"/>
                    <a:pt x="93" y="20660"/>
                    <a:pt x="0" y="21087"/>
                  </a:cubicBezTo>
                  <a:cubicBezTo>
                    <a:pt x="93" y="21511"/>
                    <a:pt x="649" y="21582"/>
                    <a:pt x="1468" y="21221"/>
                  </a:cubicBezTo>
                  <a:cubicBezTo>
                    <a:pt x="2300" y="20872"/>
                    <a:pt x="3884" y="19894"/>
                    <a:pt x="5028" y="19114"/>
                  </a:cubicBezTo>
                  <a:cubicBezTo>
                    <a:pt x="6173" y="18359"/>
                    <a:pt x="8255" y="16412"/>
                    <a:pt x="9734" y="14906"/>
                  </a:cubicBezTo>
                  <a:cubicBezTo>
                    <a:pt x="11170" y="13363"/>
                    <a:pt x="12311" y="11970"/>
                    <a:pt x="12131" y="11899"/>
                  </a:cubicBezTo>
                  <a:cubicBezTo>
                    <a:pt x="12035" y="11727"/>
                    <a:pt x="12602" y="10988"/>
                    <a:pt x="13492" y="10207"/>
                  </a:cubicBezTo>
                  <a:cubicBezTo>
                    <a:pt x="14382" y="9423"/>
                    <a:pt x="15254" y="8464"/>
                    <a:pt x="15455" y="8104"/>
                  </a:cubicBezTo>
                  <a:cubicBezTo>
                    <a:pt x="15699" y="7773"/>
                    <a:pt x="16884" y="6416"/>
                    <a:pt x="18176" y="5159"/>
                  </a:cubicBezTo>
                  <a:cubicBezTo>
                    <a:pt x="19447" y="3870"/>
                    <a:pt x="20538" y="2710"/>
                    <a:pt x="20555" y="2521"/>
                  </a:cubicBezTo>
                  <a:cubicBezTo>
                    <a:pt x="20610" y="2335"/>
                    <a:pt x="20864" y="1677"/>
                    <a:pt x="21226" y="1093"/>
                  </a:cubicBezTo>
                  <a:close/>
                  <a:moveTo>
                    <a:pt x="21226" y="109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49" name="AutoShape 1151"/>
            <p:cNvSpPr>
              <a:spLocks/>
            </p:cNvSpPr>
            <p:nvPr/>
          </p:nvSpPr>
          <p:spPr bwMode="auto">
            <a:xfrm>
              <a:off x="4876800" y="1930400"/>
              <a:ext cx="6350" cy="3175"/>
            </a:xfrm>
            <a:custGeom>
              <a:avLst/>
              <a:gdLst/>
              <a:ahLst/>
              <a:cxnLst/>
              <a:rect l="0" t="0" r="r" b="b"/>
              <a:pathLst>
                <a:path w="20545" h="20336">
                  <a:moveTo>
                    <a:pt x="19951" y="8696"/>
                  </a:moveTo>
                  <a:cubicBezTo>
                    <a:pt x="21144" y="4986"/>
                    <a:pt x="20416" y="1831"/>
                    <a:pt x="18860" y="282"/>
                  </a:cubicBezTo>
                  <a:cubicBezTo>
                    <a:pt x="17206" y="-629"/>
                    <a:pt x="13165" y="777"/>
                    <a:pt x="9873" y="2968"/>
                  </a:cubicBezTo>
                  <a:cubicBezTo>
                    <a:pt x="6676" y="5542"/>
                    <a:pt x="2703" y="8696"/>
                    <a:pt x="1560" y="11090"/>
                  </a:cubicBezTo>
                  <a:cubicBezTo>
                    <a:pt x="89" y="12993"/>
                    <a:pt x="-456" y="16848"/>
                    <a:pt x="421" y="18631"/>
                  </a:cubicBezTo>
                  <a:cubicBezTo>
                    <a:pt x="567" y="20971"/>
                    <a:pt x="3679" y="20797"/>
                    <a:pt x="5883" y="18751"/>
                  </a:cubicBezTo>
                  <a:cubicBezTo>
                    <a:pt x="8100" y="16674"/>
                    <a:pt x="11843" y="14921"/>
                    <a:pt x="14025" y="15387"/>
                  </a:cubicBezTo>
                  <a:cubicBezTo>
                    <a:pt x="16212" y="15040"/>
                    <a:pt x="18659" y="12203"/>
                    <a:pt x="19951" y="8696"/>
                  </a:cubicBezTo>
                  <a:close/>
                  <a:moveTo>
                    <a:pt x="19951" y="86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0" name="AutoShape 1152"/>
            <p:cNvSpPr>
              <a:spLocks/>
            </p:cNvSpPr>
            <p:nvPr/>
          </p:nvSpPr>
          <p:spPr bwMode="auto">
            <a:xfrm>
              <a:off x="4978400" y="1600200"/>
              <a:ext cx="12700" cy="12700"/>
            </a:xfrm>
            <a:custGeom>
              <a:avLst/>
              <a:gdLst/>
              <a:ahLst/>
              <a:cxnLst/>
              <a:rect l="0" t="0" r="r" b="b"/>
              <a:pathLst>
                <a:path w="20437" h="20470">
                  <a:moveTo>
                    <a:pt x="1922" y="19881"/>
                  </a:moveTo>
                  <a:cubicBezTo>
                    <a:pt x="2967" y="19014"/>
                    <a:pt x="5605" y="16891"/>
                    <a:pt x="7590" y="14984"/>
                  </a:cubicBezTo>
                  <a:cubicBezTo>
                    <a:pt x="9584" y="13064"/>
                    <a:pt x="14080" y="8506"/>
                    <a:pt x="17569" y="4812"/>
                  </a:cubicBezTo>
                  <a:cubicBezTo>
                    <a:pt x="20960" y="1016"/>
                    <a:pt x="21468" y="-780"/>
                    <a:pt x="18430" y="319"/>
                  </a:cubicBezTo>
                  <a:cubicBezTo>
                    <a:pt x="15409" y="1486"/>
                    <a:pt x="12202" y="3403"/>
                    <a:pt x="11138" y="4286"/>
                  </a:cubicBezTo>
                  <a:cubicBezTo>
                    <a:pt x="10171" y="5274"/>
                    <a:pt x="8391" y="7191"/>
                    <a:pt x="7520" y="8799"/>
                  </a:cubicBezTo>
                  <a:cubicBezTo>
                    <a:pt x="6476" y="10312"/>
                    <a:pt x="4804" y="12398"/>
                    <a:pt x="3583" y="13253"/>
                  </a:cubicBezTo>
                  <a:cubicBezTo>
                    <a:pt x="2322" y="14042"/>
                    <a:pt x="905" y="15405"/>
                    <a:pt x="407" y="16177"/>
                  </a:cubicBezTo>
                  <a:cubicBezTo>
                    <a:pt x="-132" y="16891"/>
                    <a:pt x="-132" y="17625"/>
                    <a:pt x="387" y="17625"/>
                  </a:cubicBezTo>
                  <a:cubicBezTo>
                    <a:pt x="905" y="17726"/>
                    <a:pt x="933" y="18525"/>
                    <a:pt x="671" y="19578"/>
                  </a:cubicBezTo>
                  <a:cubicBezTo>
                    <a:pt x="258" y="20575"/>
                    <a:pt x="933" y="20820"/>
                    <a:pt x="1922" y="19881"/>
                  </a:cubicBezTo>
                  <a:close/>
                  <a:moveTo>
                    <a:pt x="1922" y="1988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1" name="AutoShape 1153"/>
            <p:cNvSpPr>
              <a:spLocks/>
            </p:cNvSpPr>
            <p:nvPr/>
          </p:nvSpPr>
          <p:spPr bwMode="auto">
            <a:xfrm>
              <a:off x="5029200" y="1536700"/>
              <a:ext cx="4763" cy="1588"/>
            </a:xfrm>
            <a:custGeom>
              <a:avLst/>
              <a:gdLst/>
              <a:ahLst/>
              <a:cxnLst/>
              <a:rect l="0" t="0" r="r" b="b"/>
              <a:pathLst>
                <a:path w="20093" h="20751">
                  <a:moveTo>
                    <a:pt x="4597" y="11341"/>
                  </a:moveTo>
                  <a:cubicBezTo>
                    <a:pt x="901" y="15808"/>
                    <a:pt x="-899" y="20198"/>
                    <a:pt x="444" y="20726"/>
                  </a:cubicBezTo>
                  <a:cubicBezTo>
                    <a:pt x="1860" y="21012"/>
                    <a:pt x="6327" y="18804"/>
                    <a:pt x="10383" y="14783"/>
                  </a:cubicBezTo>
                  <a:cubicBezTo>
                    <a:pt x="14680" y="11425"/>
                    <a:pt x="18616" y="5440"/>
                    <a:pt x="19816" y="2854"/>
                  </a:cubicBezTo>
                  <a:cubicBezTo>
                    <a:pt x="20701" y="25"/>
                    <a:pt x="19433" y="-588"/>
                    <a:pt x="16502" y="520"/>
                  </a:cubicBezTo>
                  <a:cubicBezTo>
                    <a:pt x="13622" y="2157"/>
                    <a:pt x="8078" y="6422"/>
                    <a:pt x="4597" y="11341"/>
                  </a:cubicBezTo>
                  <a:close/>
                  <a:moveTo>
                    <a:pt x="4597" y="113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2" name="AutoShape 1154"/>
            <p:cNvSpPr>
              <a:spLocks/>
            </p:cNvSpPr>
            <p:nvPr/>
          </p:nvSpPr>
          <p:spPr bwMode="auto">
            <a:xfrm>
              <a:off x="3644900" y="3263900"/>
              <a:ext cx="1588" cy="9525"/>
            </a:xfrm>
            <a:custGeom>
              <a:avLst/>
              <a:gdLst/>
              <a:ahLst/>
              <a:cxnLst/>
              <a:rect l="0" t="0" r="r" b="b"/>
              <a:pathLst>
                <a:path w="19715" h="19674">
                  <a:moveTo>
                    <a:pt x="5536" y="4699"/>
                  </a:moveTo>
                  <a:cubicBezTo>
                    <a:pt x="1733" y="8597"/>
                    <a:pt x="-842" y="14070"/>
                    <a:pt x="254" y="16868"/>
                  </a:cubicBezTo>
                  <a:cubicBezTo>
                    <a:pt x="1999" y="19690"/>
                    <a:pt x="6632" y="20521"/>
                    <a:pt x="10250" y="18727"/>
                  </a:cubicBezTo>
                  <a:cubicBezTo>
                    <a:pt x="14183" y="16917"/>
                    <a:pt x="17986" y="12764"/>
                    <a:pt x="18949" y="9501"/>
                  </a:cubicBezTo>
                  <a:cubicBezTo>
                    <a:pt x="20758" y="6263"/>
                    <a:pt x="19017" y="2257"/>
                    <a:pt x="17273" y="617"/>
                  </a:cubicBezTo>
                  <a:cubicBezTo>
                    <a:pt x="16427" y="-1079"/>
                    <a:pt x="11531" y="862"/>
                    <a:pt x="5536" y="4699"/>
                  </a:cubicBezTo>
                  <a:close/>
                  <a:moveTo>
                    <a:pt x="5536" y="46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3" name="AutoShape 1155"/>
            <p:cNvSpPr>
              <a:spLocks/>
            </p:cNvSpPr>
            <p:nvPr/>
          </p:nvSpPr>
          <p:spPr bwMode="auto">
            <a:xfrm>
              <a:off x="3644900" y="3238500"/>
              <a:ext cx="1588" cy="6350"/>
            </a:xfrm>
            <a:custGeom>
              <a:avLst/>
              <a:gdLst/>
              <a:ahLst/>
              <a:cxnLst/>
              <a:rect l="0" t="0" r="r" b="b"/>
              <a:pathLst>
                <a:path w="17133" h="18004">
                  <a:moveTo>
                    <a:pt x="8077" y="11120"/>
                  </a:moveTo>
                  <a:cubicBezTo>
                    <a:pt x="16347" y="3483"/>
                    <a:pt x="19315" y="-1353"/>
                    <a:pt x="15469" y="337"/>
                  </a:cubicBezTo>
                  <a:cubicBezTo>
                    <a:pt x="12212" y="2185"/>
                    <a:pt x="5259" y="8404"/>
                    <a:pt x="1662" y="14368"/>
                  </a:cubicBezTo>
                  <a:cubicBezTo>
                    <a:pt x="-2285" y="20247"/>
                    <a:pt x="1172" y="18878"/>
                    <a:pt x="8077" y="11120"/>
                  </a:cubicBezTo>
                  <a:close/>
                  <a:moveTo>
                    <a:pt x="8077" y="111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4" name="AutoShape 1156"/>
            <p:cNvSpPr>
              <a:spLocks/>
            </p:cNvSpPr>
            <p:nvPr/>
          </p:nvSpPr>
          <p:spPr bwMode="auto">
            <a:xfrm>
              <a:off x="5168900" y="1752600"/>
              <a:ext cx="1588" cy="3175"/>
            </a:xfrm>
            <a:custGeom>
              <a:avLst/>
              <a:gdLst/>
              <a:ahLst/>
              <a:cxnLst/>
              <a:rect l="0" t="0" r="r" b="b"/>
              <a:pathLst>
                <a:path w="18663" h="18894">
                  <a:moveTo>
                    <a:pt x="12850" y="1638"/>
                  </a:moveTo>
                  <a:cubicBezTo>
                    <a:pt x="7729" y="4695"/>
                    <a:pt x="2235" y="10509"/>
                    <a:pt x="628" y="14373"/>
                  </a:cubicBezTo>
                  <a:cubicBezTo>
                    <a:pt x="-1126" y="18211"/>
                    <a:pt x="925" y="19805"/>
                    <a:pt x="5151" y="18377"/>
                  </a:cubicBezTo>
                  <a:cubicBezTo>
                    <a:pt x="8963" y="16428"/>
                    <a:pt x="15172" y="11018"/>
                    <a:pt x="17374" y="5586"/>
                  </a:cubicBezTo>
                  <a:cubicBezTo>
                    <a:pt x="20474" y="475"/>
                    <a:pt x="17596" y="-1795"/>
                    <a:pt x="12850" y="1638"/>
                  </a:cubicBezTo>
                  <a:close/>
                  <a:moveTo>
                    <a:pt x="12850" y="16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5" name="AutoShape 1157"/>
            <p:cNvSpPr>
              <a:spLocks/>
            </p:cNvSpPr>
            <p:nvPr/>
          </p:nvSpPr>
          <p:spPr bwMode="auto">
            <a:xfrm>
              <a:off x="5054600" y="1485900"/>
              <a:ext cx="4763" cy="3175"/>
            </a:xfrm>
            <a:custGeom>
              <a:avLst/>
              <a:gdLst/>
              <a:ahLst/>
              <a:cxnLst/>
              <a:rect l="0" t="0" r="r" b="b"/>
              <a:pathLst>
                <a:path w="20594" h="20426">
                  <a:moveTo>
                    <a:pt x="20439" y="174"/>
                  </a:moveTo>
                  <a:cubicBezTo>
                    <a:pt x="20082" y="-716"/>
                    <a:pt x="16025" y="1935"/>
                    <a:pt x="12547" y="5417"/>
                  </a:cubicBezTo>
                  <a:cubicBezTo>
                    <a:pt x="8956" y="8611"/>
                    <a:pt x="4238" y="12899"/>
                    <a:pt x="2546" y="15419"/>
                  </a:cubicBezTo>
                  <a:cubicBezTo>
                    <a:pt x="599" y="17566"/>
                    <a:pt x="-436" y="20184"/>
                    <a:pt x="174" y="20282"/>
                  </a:cubicBezTo>
                  <a:cubicBezTo>
                    <a:pt x="599" y="20884"/>
                    <a:pt x="3252" y="19510"/>
                    <a:pt x="5811" y="18011"/>
                  </a:cubicBezTo>
                  <a:cubicBezTo>
                    <a:pt x="8321" y="16093"/>
                    <a:pt x="13134" y="11904"/>
                    <a:pt x="16116" y="7878"/>
                  </a:cubicBezTo>
                  <a:cubicBezTo>
                    <a:pt x="19265" y="4075"/>
                    <a:pt x="21164" y="174"/>
                    <a:pt x="20439" y="174"/>
                  </a:cubicBezTo>
                  <a:close/>
                  <a:moveTo>
                    <a:pt x="20439" y="1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6" name="AutoShape 1158"/>
            <p:cNvSpPr>
              <a:spLocks/>
            </p:cNvSpPr>
            <p:nvPr/>
          </p:nvSpPr>
          <p:spPr bwMode="auto">
            <a:xfrm>
              <a:off x="5003800" y="1562100"/>
              <a:ext cx="4763" cy="4763"/>
            </a:xfrm>
            <a:custGeom>
              <a:avLst/>
              <a:gdLst/>
              <a:ahLst/>
              <a:cxnLst/>
              <a:rect l="0" t="0" r="r" b="b"/>
              <a:pathLst>
                <a:path w="19724" h="19673">
                  <a:moveTo>
                    <a:pt x="10905" y="11407"/>
                  </a:moveTo>
                  <a:cubicBezTo>
                    <a:pt x="14077" y="8361"/>
                    <a:pt x="17718" y="3928"/>
                    <a:pt x="19187" y="1585"/>
                  </a:cubicBezTo>
                  <a:cubicBezTo>
                    <a:pt x="20441" y="-916"/>
                    <a:pt x="19458" y="-348"/>
                    <a:pt x="16659" y="2516"/>
                  </a:cubicBezTo>
                  <a:cubicBezTo>
                    <a:pt x="14096" y="5655"/>
                    <a:pt x="8534" y="11179"/>
                    <a:pt x="4403" y="14821"/>
                  </a:cubicBezTo>
                  <a:cubicBezTo>
                    <a:pt x="310" y="18593"/>
                    <a:pt x="-1159" y="20684"/>
                    <a:pt x="975" y="19184"/>
                  </a:cubicBezTo>
                  <a:cubicBezTo>
                    <a:pt x="3304" y="18141"/>
                    <a:pt x="7475" y="14048"/>
                    <a:pt x="10905" y="11407"/>
                  </a:cubicBezTo>
                  <a:close/>
                  <a:moveTo>
                    <a:pt x="10905" y="114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7" name="AutoShape 1159"/>
            <p:cNvSpPr>
              <a:spLocks/>
            </p:cNvSpPr>
            <p:nvPr/>
          </p:nvSpPr>
          <p:spPr bwMode="auto">
            <a:xfrm>
              <a:off x="3683000" y="3086100"/>
              <a:ext cx="4763" cy="9525"/>
            </a:xfrm>
            <a:custGeom>
              <a:avLst/>
              <a:gdLst/>
              <a:ahLst/>
              <a:cxnLst/>
              <a:rect l="0" t="0" r="r" b="b"/>
              <a:pathLst>
                <a:path w="20143" h="20285">
                  <a:moveTo>
                    <a:pt x="9313" y="12419"/>
                  </a:moveTo>
                  <a:cubicBezTo>
                    <a:pt x="11980" y="10606"/>
                    <a:pt x="15336" y="6836"/>
                    <a:pt x="17549" y="4277"/>
                  </a:cubicBezTo>
                  <a:cubicBezTo>
                    <a:pt x="19744" y="1715"/>
                    <a:pt x="20481" y="-324"/>
                    <a:pt x="20003" y="43"/>
                  </a:cubicBezTo>
                  <a:cubicBezTo>
                    <a:pt x="19363" y="363"/>
                    <a:pt x="15906" y="2534"/>
                    <a:pt x="13243" y="5178"/>
                  </a:cubicBezTo>
                  <a:cubicBezTo>
                    <a:pt x="10313" y="7748"/>
                    <a:pt x="5977" y="12871"/>
                    <a:pt x="2739" y="16415"/>
                  </a:cubicBezTo>
                  <a:cubicBezTo>
                    <a:pt x="145" y="20076"/>
                    <a:pt x="-1119" y="21276"/>
                    <a:pt x="1265" y="19426"/>
                  </a:cubicBezTo>
                  <a:cubicBezTo>
                    <a:pt x="3075" y="17423"/>
                    <a:pt x="7312" y="14446"/>
                    <a:pt x="9313" y="12419"/>
                  </a:cubicBezTo>
                  <a:close/>
                  <a:moveTo>
                    <a:pt x="9313" y="124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8" name="AutoShape 1160"/>
            <p:cNvSpPr>
              <a:spLocks/>
            </p:cNvSpPr>
            <p:nvPr/>
          </p:nvSpPr>
          <p:spPr bwMode="auto">
            <a:xfrm>
              <a:off x="5016500" y="1498600"/>
              <a:ext cx="22225" cy="14288"/>
            </a:xfrm>
            <a:custGeom>
              <a:avLst/>
              <a:gdLst/>
              <a:ahLst/>
              <a:cxnLst/>
              <a:rect l="0" t="0" r="r" b="b"/>
              <a:pathLst>
                <a:path w="21067" h="21162">
                  <a:moveTo>
                    <a:pt x="2545" y="20428"/>
                  </a:moveTo>
                  <a:cubicBezTo>
                    <a:pt x="2650" y="21248"/>
                    <a:pt x="3527" y="21390"/>
                    <a:pt x="4343" y="20805"/>
                  </a:cubicBezTo>
                  <a:cubicBezTo>
                    <a:pt x="5165" y="20245"/>
                    <a:pt x="6841" y="18741"/>
                    <a:pt x="8138" y="17629"/>
                  </a:cubicBezTo>
                  <a:cubicBezTo>
                    <a:pt x="9416" y="16468"/>
                    <a:pt x="11159" y="15240"/>
                    <a:pt x="12025" y="15240"/>
                  </a:cubicBezTo>
                  <a:cubicBezTo>
                    <a:pt x="12880" y="15048"/>
                    <a:pt x="14352" y="14420"/>
                    <a:pt x="15229" y="13626"/>
                  </a:cubicBezTo>
                  <a:cubicBezTo>
                    <a:pt x="16149" y="12933"/>
                    <a:pt x="17451" y="10860"/>
                    <a:pt x="18190" y="9147"/>
                  </a:cubicBezTo>
                  <a:cubicBezTo>
                    <a:pt x="18884" y="7393"/>
                    <a:pt x="20004" y="5037"/>
                    <a:pt x="20677" y="3959"/>
                  </a:cubicBezTo>
                  <a:cubicBezTo>
                    <a:pt x="21317" y="2797"/>
                    <a:pt x="21124" y="1443"/>
                    <a:pt x="20423" y="524"/>
                  </a:cubicBezTo>
                  <a:cubicBezTo>
                    <a:pt x="19613" y="-102"/>
                    <a:pt x="17903" y="-210"/>
                    <a:pt x="16524" y="433"/>
                  </a:cubicBezTo>
                  <a:cubicBezTo>
                    <a:pt x="15185" y="1176"/>
                    <a:pt x="12323" y="3098"/>
                    <a:pt x="10144" y="4677"/>
                  </a:cubicBezTo>
                  <a:cubicBezTo>
                    <a:pt x="8004" y="6332"/>
                    <a:pt x="5408" y="8930"/>
                    <a:pt x="4343" y="10335"/>
                  </a:cubicBezTo>
                  <a:cubicBezTo>
                    <a:pt x="3301" y="11805"/>
                    <a:pt x="1608" y="14220"/>
                    <a:pt x="758" y="15916"/>
                  </a:cubicBezTo>
                  <a:cubicBezTo>
                    <a:pt x="-283" y="17329"/>
                    <a:pt x="-189" y="18799"/>
                    <a:pt x="659" y="18941"/>
                  </a:cubicBezTo>
                  <a:cubicBezTo>
                    <a:pt x="1520" y="19008"/>
                    <a:pt x="2237" y="19752"/>
                    <a:pt x="2545" y="20428"/>
                  </a:cubicBezTo>
                  <a:close/>
                  <a:moveTo>
                    <a:pt x="2545" y="204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59" name="AutoShape 1161"/>
            <p:cNvSpPr>
              <a:spLocks/>
            </p:cNvSpPr>
            <p:nvPr/>
          </p:nvSpPr>
          <p:spPr bwMode="auto">
            <a:xfrm>
              <a:off x="5168900" y="1752600"/>
              <a:ext cx="4763" cy="6350"/>
            </a:xfrm>
            <a:custGeom>
              <a:avLst/>
              <a:gdLst/>
              <a:ahLst/>
              <a:cxnLst/>
              <a:rect l="0" t="0" r="r" b="b"/>
              <a:pathLst>
                <a:path w="20226" h="20344">
                  <a:moveTo>
                    <a:pt x="2022" y="10339"/>
                  </a:moveTo>
                  <a:cubicBezTo>
                    <a:pt x="413" y="12879"/>
                    <a:pt x="-408" y="16714"/>
                    <a:pt x="201" y="18476"/>
                  </a:cubicBezTo>
                  <a:cubicBezTo>
                    <a:pt x="352" y="20314"/>
                    <a:pt x="2994" y="20960"/>
                    <a:pt x="5753" y="19665"/>
                  </a:cubicBezTo>
                  <a:cubicBezTo>
                    <a:pt x="8507" y="18386"/>
                    <a:pt x="12887" y="14398"/>
                    <a:pt x="16293" y="11189"/>
                  </a:cubicBezTo>
                  <a:cubicBezTo>
                    <a:pt x="19109" y="7631"/>
                    <a:pt x="21192" y="3161"/>
                    <a:pt x="19762" y="1437"/>
                  </a:cubicBezTo>
                  <a:cubicBezTo>
                    <a:pt x="19153" y="-640"/>
                    <a:pt x="14752" y="-401"/>
                    <a:pt x="11088" y="1733"/>
                  </a:cubicBezTo>
                  <a:cubicBezTo>
                    <a:pt x="7401" y="3830"/>
                    <a:pt x="2932" y="7574"/>
                    <a:pt x="2022" y="10339"/>
                  </a:cubicBezTo>
                  <a:close/>
                  <a:moveTo>
                    <a:pt x="2022" y="103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0" name="AutoShape 1162"/>
            <p:cNvSpPr>
              <a:spLocks/>
            </p:cNvSpPr>
            <p:nvPr/>
          </p:nvSpPr>
          <p:spPr bwMode="auto">
            <a:xfrm>
              <a:off x="3644900" y="3187700"/>
              <a:ext cx="3175" cy="9525"/>
            </a:xfrm>
            <a:custGeom>
              <a:avLst/>
              <a:gdLst/>
              <a:ahLst/>
              <a:cxnLst/>
              <a:rect l="0" t="0" r="r" b="b"/>
              <a:pathLst>
                <a:path w="20048" h="19836">
                  <a:moveTo>
                    <a:pt x="4515" y="12190"/>
                  </a:moveTo>
                  <a:cubicBezTo>
                    <a:pt x="1902" y="14808"/>
                    <a:pt x="76" y="18129"/>
                    <a:pt x="76" y="19480"/>
                  </a:cubicBezTo>
                  <a:cubicBezTo>
                    <a:pt x="-521" y="20821"/>
                    <a:pt x="2421" y="18228"/>
                    <a:pt x="7982" y="13987"/>
                  </a:cubicBezTo>
                  <a:cubicBezTo>
                    <a:pt x="12049" y="9523"/>
                    <a:pt x="17083" y="3970"/>
                    <a:pt x="19435" y="1626"/>
                  </a:cubicBezTo>
                  <a:cubicBezTo>
                    <a:pt x="21079" y="-779"/>
                    <a:pt x="19284" y="-495"/>
                    <a:pt x="15630" y="2332"/>
                  </a:cubicBezTo>
                  <a:cubicBezTo>
                    <a:pt x="11932" y="5161"/>
                    <a:pt x="6600" y="9549"/>
                    <a:pt x="4515" y="12190"/>
                  </a:cubicBezTo>
                  <a:close/>
                  <a:moveTo>
                    <a:pt x="4515" y="1219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1" name="AutoShape 1163"/>
            <p:cNvSpPr>
              <a:spLocks/>
            </p:cNvSpPr>
            <p:nvPr/>
          </p:nvSpPr>
          <p:spPr bwMode="auto">
            <a:xfrm>
              <a:off x="5080000" y="1663700"/>
              <a:ext cx="90488" cy="61913"/>
            </a:xfrm>
            <a:custGeom>
              <a:avLst/>
              <a:gdLst/>
              <a:ahLst/>
              <a:cxnLst/>
              <a:rect l="0" t="0" r="r" b="b"/>
              <a:pathLst>
                <a:path w="21487" h="21474">
                  <a:moveTo>
                    <a:pt x="21470" y="2161"/>
                  </a:moveTo>
                  <a:cubicBezTo>
                    <a:pt x="21481" y="1837"/>
                    <a:pt x="21026" y="1575"/>
                    <a:pt x="20605" y="1433"/>
                  </a:cubicBezTo>
                  <a:cubicBezTo>
                    <a:pt x="20180" y="1368"/>
                    <a:pt x="19858" y="1031"/>
                    <a:pt x="19871" y="720"/>
                  </a:cubicBezTo>
                  <a:cubicBezTo>
                    <a:pt x="19941" y="426"/>
                    <a:pt x="19767" y="87"/>
                    <a:pt x="19593" y="26"/>
                  </a:cubicBezTo>
                  <a:cubicBezTo>
                    <a:pt x="19426" y="-72"/>
                    <a:pt x="18824" y="125"/>
                    <a:pt x="18273" y="421"/>
                  </a:cubicBezTo>
                  <a:cubicBezTo>
                    <a:pt x="17726" y="724"/>
                    <a:pt x="16780" y="1016"/>
                    <a:pt x="16178" y="1120"/>
                  </a:cubicBezTo>
                  <a:cubicBezTo>
                    <a:pt x="15577" y="1188"/>
                    <a:pt x="14922" y="1488"/>
                    <a:pt x="14722" y="1725"/>
                  </a:cubicBezTo>
                  <a:cubicBezTo>
                    <a:pt x="14524" y="1964"/>
                    <a:pt x="14041" y="2219"/>
                    <a:pt x="13660" y="2326"/>
                  </a:cubicBezTo>
                  <a:cubicBezTo>
                    <a:pt x="13279" y="2430"/>
                    <a:pt x="12809" y="2404"/>
                    <a:pt x="12653" y="2212"/>
                  </a:cubicBezTo>
                  <a:cubicBezTo>
                    <a:pt x="12467" y="2094"/>
                    <a:pt x="11825" y="2009"/>
                    <a:pt x="11197" y="2121"/>
                  </a:cubicBezTo>
                  <a:cubicBezTo>
                    <a:pt x="10570" y="2229"/>
                    <a:pt x="10072" y="2089"/>
                    <a:pt x="10108" y="1810"/>
                  </a:cubicBezTo>
                  <a:cubicBezTo>
                    <a:pt x="10140" y="1526"/>
                    <a:pt x="10042" y="1143"/>
                    <a:pt x="9869" y="1084"/>
                  </a:cubicBezTo>
                  <a:cubicBezTo>
                    <a:pt x="9727" y="925"/>
                    <a:pt x="9267" y="1092"/>
                    <a:pt x="8914" y="1410"/>
                  </a:cubicBezTo>
                  <a:cubicBezTo>
                    <a:pt x="8551" y="1702"/>
                    <a:pt x="8010" y="2419"/>
                    <a:pt x="7714" y="3004"/>
                  </a:cubicBezTo>
                  <a:cubicBezTo>
                    <a:pt x="7427" y="3600"/>
                    <a:pt x="6913" y="4377"/>
                    <a:pt x="6615" y="4788"/>
                  </a:cubicBezTo>
                  <a:cubicBezTo>
                    <a:pt x="6289" y="5158"/>
                    <a:pt x="5959" y="5772"/>
                    <a:pt x="5946" y="6115"/>
                  </a:cubicBezTo>
                  <a:cubicBezTo>
                    <a:pt x="5893" y="6454"/>
                    <a:pt x="5678" y="6978"/>
                    <a:pt x="5489" y="7296"/>
                  </a:cubicBezTo>
                  <a:cubicBezTo>
                    <a:pt x="5292" y="7601"/>
                    <a:pt x="4954" y="7944"/>
                    <a:pt x="4728" y="8014"/>
                  </a:cubicBezTo>
                  <a:cubicBezTo>
                    <a:pt x="4502" y="8100"/>
                    <a:pt x="3822" y="8993"/>
                    <a:pt x="3189" y="9980"/>
                  </a:cubicBezTo>
                  <a:cubicBezTo>
                    <a:pt x="2576" y="10989"/>
                    <a:pt x="2256" y="11946"/>
                    <a:pt x="2512" y="12020"/>
                  </a:cubicBezTo>
                  <a:cubicBezTo>
                    <a:pt x="2753" y="12171"/>
                    <a:pt x="3205" y="12130"/>
                    <a:pt x="3511" y="12044"/>
                  </a:cubicBezTo>
                  <a:cubicBezTo>
                    <a:pt x="3809" y="11898"/>
                    <a:pt x="4019" y="12071"/>
                    <a:pt x="3994" y="12359"/>
                  </a:cubicBezTo>
                  <a:cubicBezTo>
                    <a:pt x="3961" y="12644"/>
                    <a:pt x="3688" y="13186"/>
                    <a:pt x="3395" y="13567"/>
                  </a:cubicBezTo>
                  <a:cubicBezTo>
                    <a:pt x="3112" y="13963"/>
                    <a:pt x="2769" y="14482"/>
                    <a:pt x="2757" y="14776"/>
                  </a:cubicBezTo>
                  <a:cubicBezTo>
                    <a:pt x="2680" y="15053"/>
                    <a:pt x="2277" y="15658"/>
                    <a:pt x="1819" y="16099"/>
                  </a:cubicBezTo>
                  <a:cubicBezTo>
                    <a:pt x="1355" y="16528"/>
                    <a:pt x="754" y="17375"/>
                    <a:pt x="466" y="17949"/>
                  </a:cubicBezTo>
                  <a:cubicBezTo>
                    <a:pt x="164" y="18510"/>
                    <a:pt x="-52" y="19252"/>
                    <a:pt x="10" y="19541"/>
                  </a:cubicBezTo>
                  <a:cubicBezTo>
                    <a:pt x="73" y="19830"/>
                    <a:pt x="234" y="20048"/>
                    <a:pt x="415" y="20112"/>
                  </a:cubicBezTo>
                  <a:cubicBezTo>
                    <a:pt x="601" y="20091"/>
                    <a:pt x="715" y="20476"/>
                    <a:pt x="763" y="20874"/>
                  </a:cubicBezTo>
                  <a:cubicBezTo>
                    <a:pt x="802" y="21276"/>
                    <a:pt x="1057" y="21528"/>
                    <a:pt x="1413" y="21464"/>
                  </a:cubicBezTo>
                  <a:cubicBezTo>
                    <a:pt x="1770" y="21401"/>
                    <a:pt x="2390" y="21348"/>
                    <a:pt x="2802" y="21363"/>
                  </a:cubicBezTo>
                  <a:cubicBezTo>
                    <a:pt x="3212" y="21431"/>
                    <a:pt x="3725" y="21272"/>
                    <a:pt x="3948" y="21149"/>
                  </a:cubicBezTo>
                  <a:cubicBezTo>
                    <a:pt x="4173" y="21028"/>
                    <a:pt x="4761" y="20461"/>
                    <a:pt x="5223" y="19866"/>
                  </a:cubicBezTo>
                  <a:cubicBezTo>
                    <a:pt x="5730" y="19345"/>
                    <a:pt x="6376" y="18662"/>
                    <a:pt x="6721" y="18495"/>
                  </a:cubicBezTo>
                  <a:cubicBezTo>
                    <a:pt x="7057" y="18306"/>
                    <a:pt x="7808" y="17767"/>
                    <a:pt x="8403" y="17333"/>
                  </a:cubicBezTo>
                  <a:cubicBezTo>
                    <a:pt x="8989" y="16890"/>
                    <a:pt x="9673" y="16526"/>
                    <a:pt x="9903" y="16630"/>
                  </a:cubicBezTo>
                  <a:cubicBezTo>
                    <a:pt x="10138" y="16662"/>
                    <a:pt x="10504" y="16715"/>
                    <a:pt x="10677" y="16564"/>
                  </a:cubicBezTo>
                  <a:cubicBezTo>
                    <a:pt x="10877" y="16518"/>
                    <a:pt x="11405" y="16279"/>
                    <a:pt x="11868" y="16135"/>
                  </a:cubicBezTo>
                  <a:cubicBezTo>
                    <a:pt x="12324" y="15972"/>
                    <a:pt x="12828" y="15986"/>
                    <a:pt x="12990" y="16061"/>
                  </a:cubicBezTo>
                  <a:cubicBezTo>
                    <a:pt x="13135" y="16190"/>
                    <a:pt x="13805" y="16111"/>
                    <a:pt x="14452" y="15942"/>
                  </a:cubicBezTo>
                  <a:cubicBezTo>
                    <a:pt x="15103" y="15788"/>
                    <a:pt x="15695" y="15712"/>
                    <a:pt x="15751" y="15815"/>
                  </a:cubicBezTo>
                  <a:cubicBezTo>
                    <a:pt x="15798" y="15931"/>
                    <a:pt x="16421" y="15851"/>
                    <a:pt x="17093" y="15654"/>
                  </a:cubicBezTo>
                  <a:cubicBezTo>
                    <a:pt x="17763" y="15447"/>
                    <a:pt x="18462" y="15064"/>
                    <a:pt x="18669" y="14799"/>
                  </a:cubicBezTo>
                  <a:cubicBezTo>
                    <a:pt x="18848" y="14488"/>
                    <a:pt x="19283" y="14056"/>
                    <a:pt x="19565" y="13718"/>
                  </a:cubicBezTo>
                  <a:cubicBezTo>
                    <a:pt x="19857" y="13404"/>
                    <a:pt x="20159" y="12989"/>
                    <a:pt x="20221" y="12780"/>
                  </a:cubicBezTo>
                  <a:cubicBezTo>
                    <a:pt x="20251" y="12558"/>
                    <a:pt x="19974" y="12384"/>
                    <a:pt x="19557" y="12543"/>
                  </a:cubicBezTo>
                  <a:cubicBezTo>
                    <a:pt x="19126" y="12594"/>
                    <a:pt x="19000" y="12389"/>
                    <a:pt x="19265" y="12016"/>
                  </a:cubicBezTo>
                  <a:cubicBezTo>
                    <a:pt x="19535" y="11643"/>
                    <a:pt x="19877" y="11064"/>
                    <a:pt x="20050" y="10742"/>
                  </a:cubicBezTo>
                  <a:cubicBezTo>
                    <a:pt x="20211" y="10414"/>
                    <a:pt x="20337" y="9829"/>
                    <a:pt x="20250" y="9480"/>
                  </a:cubicBezTo>
                  <a:cubicBezTo>
                    <a:pt x="20199" y="9116"/>
                    <a:pt x="20254" y="8613"/>
                    <a:pt x="20347" y="8340"/>
                  </a:cubicBezTo>
                  <a:cubicBezTo>
                    <a:pt x="20446" y="8071"/>
                    <a:pt x="20547" y="7601"/>
                    <a:pt x="20591" y="7292"/>
                  </a:cubicBezTo>
                  <a:cubicBezTo>
                    <a:pt x="20601" y="6978"/>
                    <a:pt x="20762" y="6511"/>
                    <a:pt x="20917" y="6255"/>
                  </a:cubicBezTo>
                  <a:cubicBezTo>
                    <a:pt x="21056" y="5979"/>
                    <a:pt x="20998" y="5689"/>
                    <a:pt x="20758" y="5611"/>
                  </a:cubicBezTo>
                  <a:cubicBezTo>
                    <a:pt x="20518" y="5518"/>
                    <a:pt x="20380" y="5258"/>
                    <a:pt x="20414" y="5014"/>
                  </a:cubicBezTo>
                  <a:cubicBezTo>
                    <a:pt x="20492" y="4799"/>
                    <a:pt x="20759" y="4193"/>
                    <a:pt x="21036" y="3660"/>
                  </a:cubicBezTo>
                  <a:cubicBezTo>
                    <a:pt x="21345" y="3177"/>
                    <a:pt x="21548" y="2464"/>
                    <a:pt x="21470" y="2161"/>
                  </a:cubicBezTo>
                  <a:close/>
                  <a:moveTo>
                    <a:pt x="21470" y="21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2" name="AutoShape 1164"/>
            <p:cNvSpPr>
              <a:spLocks/>
            </p:cNvSpPr>
            <p:nvPr/>
          </p:nvSpPr>
          <p:spPr bwMode="auto">
            <a:xfrm>
              <a:off x="3644900" y="3225800"/>
              <a:ext cx="3175" cy="6350"/>
            </a:xfrm>
            <a:custGeom>
              <a:avLst/>
              <a:gdLst/>
              <a:ahLst/>
              <a:cxnLst/>
              <a:rect l="0" t="0" r="r" b="b"/>
              <a:pathLst>
                <a:path w="20086" h="20026">
                  <a:moveTo>
                    <a:pt x="14026" y="9765"/>
                  </a:moveTo>
                  <a:cubicBezTo>
                    <a:pt x="18032" y="5827"/>
                    <a:pt x="20695" y="1643"/>
                    <a:pt x="19964" y="542"/>
                  </a:cubicBezTo>
                  <a:cubicBezTo>
                    <a:pt x="19598" y="-627"/>
                    <a:pt x="17046" y="154"/>
                    <a:pt x="15592" y="2315"/>
                  </a:cubicBezTo>
                  <a:cubicBezTo>
                    <a:pt x="13446" y="4338"/>
                    <a:pt x="10200" y="6732"/>
                    <a:pt x="8784" y="7887"/>
                  </a:cubicBezTo>
                  <a:cubicBezTo>
                    <a:pt x="7039" y="8933"/>
                    <a:pt x="3324" y="12427"/>
                    <a:pt x="1392" y="15866"/>
                  </a:cubicBezTo>
                  <a:cubicBezTo>
                    <a:pt x="-905" y="19219"/>
                    <a:pt x="-174" y="20973"/>
                    <a:pt x="2229" y="19502"/>
                  </a:cubicBezTo>
                  <a:cubicBezTo>
                    <a:pt x="4995" y="18173"/>
                    <a:pt x="10566" y="13807"/>
                    <a:pt x="14026" y="9765"/>
                  </a:cubicBezTo>
                  <a:close/>
                  <a:moveTo>
                    <a:pt x="14026" y="976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3" name="AutoShape 1165"/>
            <p:cNvSpPr>
              <a:spLocks/>
            </p:cNvSpPr>
            <p:nvPr/>
          </p:nvSpPr>
          <p:spPr bwMode="auto">
            <a:xfrm>
              <a:off x="4978400" y="1524000"/>
              <a:ext cx="255588" cy="128588"/>
            </a:xfrm>
            <a:custGeom>
              <a:avLst/>
              <a:gdLst/>
              <a:ahLst/>
              <a:cxnLst/>
              <a:rect l="0" t="0" r="r" b="b"/>
              <a:pathLst>
                <a:path w="21571" h="21541">
                  <a:moveTo>
                    <a:pt x="2000" y="15720"/>
                  </a:moveTo>
                  <a:cubicBezTo>
                    <a:pt x="1866" y="15907"/>
                    <a:pt x="1666" y="16208"/>
                    <a:pt x="1562" y="16413"/>
                  </a:cubicBezTo>
                  <a:cubicBezTo>
                    <a:pt x="1456" y="16609"/>
                    <a:pt x="1325" y="16910"/>
                    <a:pt x="1282" y="17089"/>
                  </a:cubicBezTo>
                  <a:cubicBezTo>
                    <a:pt x="1236" y="17266"/>
                    <a:pt x="1258" y="17399"/>
                    <a:pt x="1327" y="17351"/>
                  </a:cubicBezTo>
                  <a:cubicBezTo>
                    <a:pt x="1398" y="17321"/>
                    <a:pt x="1415" y="17370"/>
                    <a:pt x="1395" y="17492"/>
                  </a:cubicBezTo>
                  <a:cubicBezTo>
                    <a:pt x="1355" y="17594"/>
                    <a:pt x="1229" y="17821"/>
                    <a:pt x="1101" y="17984"/>
                  </a:cubicBezTo>
                  <a:cubicBezTo>
                    <a:pt x="968" y="18134"/>
                    <a:pt x="822" y="18397"/>
                    <a:pt x="760" y="18534"/>
                  </a:cubicBezTo>
                  <a:cubicBezTo>
                    <a:pt x="701" y="18675"/>
                    <a:pt x="678" y="18838"/>
                    <a:pt x="712" y="18852"/>
                  </a:cubicBezTo>
                  <a:cubicBezTo>
                    <a:pt x="749" y="18862"/>
                    <a:pt x="669" y="19125"/>
                    <a:pt x="526" y="19340"/>
                  </a:cubicBezTo>
                  <a:cubicBezTo>
                    <a:pt x="397" y="19585"/>
                    <a:pt x="218" y="19916"/>
                    <a:pt x="142" y="20099"/>
                  </a:cubicBezTo>
                  <a:cubicBezTo>
                    <a:pt x="64" y="20278"/>
                    <a:pt x="7" y="20543"/>
                    <a:pt x="0" y="20681"/>
                  </a:cubicBezTo>
                  <a:cubicBezTo>
                    <a:pt x="4" y="20817"/>
                    <a:pt x="49" y="20895"/>
                    <a:pt x="115" y="20873"/>
                  </a:cubicBezTo>
                  <a:cubicBezTo>
                    <a:pt x="178" y="20831"/>
                    <a:pt x="208" y="20914"/>
                    <a:pt x="171" y="21023"/>
                  </a:cubicBezTo>
                  <a:cubicBezTo>
                    <a:pt x="138" y="21136"/>
                    <a:pt x="164" y="21251"/>
                    <a:pt x="219" y="21312"/>
                  </a:cubicBezTo>
                  <a:cubicBezTo>
                    <a:pt x="273" y="21375"/>
                    <a:pt x="381" y="21322"/>
                    <a:pt x="454" y="21262"/>
                  </a:cubicBezTo>
                  <a:cubicBezTo>
                    <a:pt x="525" y="21183"/>
                    <a:pt x="624" y="20977"/>
                    <a:pt x="690" y="20820"/>
                  </a:cubicBezTo>
                  <a:cubicBezTo>
                    <a:pt x="743" y="20643"/>
                    <a:pt x="853" y="20418"/>
                    <a:pt x="917" y="20292"/>
                  </a:cubicBezTo>
                  <a:cubicBezTo>
                    <a:pt x="977" y="20163"/>
                    <a:pt x="1067" y="20082"/>
                    <a:pt x="1105" y="20099"/>
                  </a:cubicBezTo>
                  <a:cubicBezTo>
                    <a:pt x="1144" y="20115"/>
                    <a:pt x="1221" y="20094"/>
                    <a:pt x="1273" y="20037"/>
                  </a:cubicBezTo>
                  <a:cubicBezTo>
                    <a:pt x="1325" y="19975"/>
                    <a:pt x="1516" y="19710"/>
                    <a:pt x="1682" y="19401"/>
                  </a:cubicBezTo>
                  <a:cubicBezTo>
                    <a:pt x="1855" y="19110"/>
                    <a:pt x="2009" y="18885"/>
                    <a:pt x="2026" y="18925"/>
                  </a:cubicBezTo>
                  <a:cubicBezTo>
                    <a:pt x="2039" y="18970"/>
                    <a:pt x="1957" y="19218"/>
                    <a:pt x="1830" y="19496"/>
                  </a:cubicBezTo>
                  <a:cubicBezTo>
                    <a:pt x="1694" y="19756"/>
                    <a:pt x="1497" y="20087"/>
                    <a:pt x="1386" y="20229"/>
                  </a:cubicBezTo>
                  <a:cubicBezTo>
                    <a:pt x="1268" y="20343"/>
                    <a:pt x="1137" y="20531"/>
                    <a:pt x="1100" y="20633"/>
                  </a:cubicBezTo>
                  <a:cubicBezTo>
                    <a:pt x="1065" y="20738"/>
                    <a:pt x="1034" y="20865"/>
                    <a:pt x="1061" y="20892"/>
                  </a:cubicBezTo>
                  <a:cubicBezTo>
                    <a:pt x="1079" y="20942"/>
                    <a:pt x="1077" y="21041"/>
                    <a:pt x="1071" y="21130"/>
                  </a:cubicBezTo>
                  <a:cubicBezTo>
                    <a:pt x="1059" y="21215"/>
                    <a:pt x="1099" y="21355"/>
                    <a:pt x="1146" y="21480"/>
                  </a:cubicBezTo>
                  <a:cubicBezTo>
                    <a:pt x="1206" y="21578"/>
                    <a:pt x="1353" y="21560"/>
                    <a:pt x="1481" y="21414"/>
                  </a:cubicBezTo>
                  <a:cubicBezTo>
                    <a:pt x="1611" y="21269"/>
                    <a:pt x="1721" y="21190"/>
                    <a:pt x="1736" y="21230"/>
                  </a:cubicBezTo>
                  <a:cubicBezTo>
                    <a:pt x="1752" y="21269"/>
                    <a:pt x="1873" y="21230"/>
                    <a:pt x="2016" y="21133"/>
                  </a:cubicBezTo>
                  <a:cubicBezTo>
                    <a:pt x="2157" y="21022"/>
                    <a:pt x="2354" y="20823"/>
                    <a:pt x="2455" y="20675"/>
                  </a:cubicBezTo>
                  <a:cubicBezTo>
                    <a:pt x="2555" y="20525"/>
                    <a:pt x="2768" y="20237"/>
                    <a:pt x="2931" y="20046"/>
                  </a:cubicBezTo>
                  <a:cubicBezTo>
                    <a:pt x="3096" y="19858"/>
                    <a:pt x="3261" y="19526"/>
                    <a:pt x="3320" y="19338"/>
                  </a:cubicBezTo>
                  <a:cubicBezTo>
                    <a:pt x="3367" y="19142"/>
                    <a:pt x="3468" y="18929"/>
                    <a:pt x="3542" y="18866"/>
                  </a:cubicBezTo>
                  <a:cubicBezTo>
                    <a:pt x="3618" y="18823"/>
                    <a:pt x="3734" y="18646"/>
                    <a:pt x="3811" y="18532"/>
                  </a:cubicBezTo>
                  <a:cubicBezTo>
                    <a:pt x="3886" y="18416"/>
                    <a:pt x="3935" y="18382"/>
                    <a:pt x="3935" y="18466"/>
                  </a:cubicBezTo>
                  <a:cubicBezTo>
                    <a:pt x="3935" y="18551"/>
                    <a:pt x="3889" y="18685"/>
                    <a:pt x="3845" y="18762"/>
                  </a:cubicBezTo>
                  <a:cubicBezTo>
                    <a:pt x="3809" y="18854"/>
                    <a:pt x="3743" y="19015"/>
                    <a:pt x="3711" y="19146"/>
                  </a:cubicBezTo>
                  <a:cubicBezTo>
                    <a:pt x="3692" y="19288"/>
                    <a:pt x="3713" y="19310"/>
                    <a:pt x="3787" y="19226"/>
                  </a:cubicBezTo>
                  <a:cubicBezTo>
                    <a:pt x="3860" y="19137"/>
                    <a:pt x="4039" y="18812"/>
                    <a:pt x="4181" y="18497"/>
                  </a:cubicBezTo>
                  <a:cubicBezTo>
                    <a:pt x="4319" y="18175"/>
                    <a:pt x="4515" y="17859"/>
                    <a:pt x="4596" y="17746"/>
                  </a:cubicBezTo>
                  <a:cubicBezTo>
                    <a:pt x="4679" y="17638"/>
                    <a:pt x="4756" y="17608"/>
                    <a:pt x="4771" y="17657"/>
                  </a:cubicBezTo>
                  <a:cubicBezTo>
                    <a:pt x="4788" y="17706"/>
                    <a:pt x="4721" y="17927"/>
                    <a:pt x="4639" y="18147"/>
                  </a:cubicBezTo>
                  <a:cubicBezTo>
                    <a:pt x="4556" y="18369"/>
                    <a:pt x="4281" y="18892"/>
                    <a:pt x="4036" y="19320"/>
                  </a:cubicBezTo>
                  <a:cubicBezTo>
                    <a:pt x="3787" y="19745"/>
                    <a:pt x="3501" y="20231"/>
                    <a:pt x="3402" y="20408"/>
                  </a:cubicBezTo>
                  <a:cubicBezTo>
                    <a:pt x="3294" y="20559"/>
                    <a:pt x="3180" y="20822"/>
                    <a:pt x="3139" y="20962"/>
                  </a:cubicBezTo>
                  <a:cubicBezTo>
                    <a:pt x="3088" y="21089"/>
                    <a:pt x="3158" y="21191"/>
                    <a:pt x="3273" y="21134"/>
                  </a:cubicBezTo>
                  <a:cubicBezTo>
                    <a:pt x="3388" y="21091"/>
                    <a:pt x="3539" y="21098"/>
                    <a:pt x="3609" y="21128"/>
                  </a:cubicBezTo>
                  <a:cubicBezTo>
                    <a:pt x="3678" y="21161"/>
                    <a:pt x="3826" y="21124"/>
                    <a:pt x="3936" y="21021"/>
                  </a:cubicBezTo>
                  <a:cubicBezTo>
                    <a:pt x="4048" y="20922"/>
                    <a:pt x="4150" y="20894"/>
                    <a:pt x="4175" y="20894"/>
                  </a:cubicBezTo>
                  <a:cubicBezTo>
                    <a:pt x="4189" y="20935"/>
                    <a:pt x="4313" y="20881"/>
                    <a:pt x="4438" y="20795"/>
                  </a:cubicBezTo>
                  <a:cubicBezTo>
                    <a:pt x="4565" y="20712"/>
                    <a:pt x="4718" y="20497"/>
                    <a:pt x="4798" y="20353"/>
                  </a:cubicBezTo>
                  <a:cubicBezTo>
                    <a:pt x="4867" y="20191"/>
                    <a:pt x="5030" y="20013"/>
                    <a:pt x="5149" y="19920"/>
                  </a:cubicBezTo>
                  <a:cubicBezTo>
                    <a:pt x="5272" y="19843"/>
                    <a:pt x="5320" y="19872"/>
                    <a:pt x="5254" y="19983"/>
                  </a:cubicBezTo>
                  <a:cubicBezTo>
                    <a:pt x="5192" y="20106"/>
                    <a:pt x="5120" y="20258"/>
                    <a:pt x="5116" y="20342"/>
                  </a:cubicBezTo>
                  <a:cubicBezTo>
                    <a:pt x="5100" y="20418"/>
                    <a:pt x="5161" y="20467"/>
                    <a:pt x="5240" y="20428"/>
                  </a:cubicBezTo>
                  <a:cubicBezTo>
                    <a:pt x="5320" y="20395"/>
                    <a:pt x="5435" y="20389"/>
                    <a:pt x="5497" y="20412"/>
                  </a:cubicBezTo>
                  <a:cubicBezTo>
                    <a:pt x="5558" y="20441"/>
                    <a:pt x="5688" y="20347"/>
                    <a:pt x="5784" y="20216"/>
                  </a:cubicBezTo>
                  <a:cubicBezTo>
                    <a:pt x="5884" y="20089"/>
                    <a:pt x="5963" y="19907"/>
                    <a:pt x="5963" y="19825"/>
                  </a:cubicBezTo>
                  <a:cubicBezTo>
                    <a:pt x="5963" y="19742"/>
                    <a:pt x="5995" y="19561"/>
                    <a:pt x="6029" y="19421"/>
                  </a:cubicBezTo>
                  <a:cubicBezTo>
                    <a:pt x="6057" y="19277"/>
                    <a:pt x="6203" y="19015"/>
                    <a:pt x="6311" y="18776"/>
                  </a:cubicBezTo>
                  <a:cubicBezTo>
                    <a:pt x="6434" y="18568"/>
                    <a:pt x="6515" y="18470"/>
                    <a:pt x="6523" y="18573"/>
                  </a:cubicBezTo>
                  <a:cubicBezTo>
                    <a:pt x="6523" y="18678"/>
                    <a:pt x="6449" y="18901"/>
                    <a:pt x="6380" y="19091"/>
                  </a:cubicBezTo>
                  <a:cubicBezTo>
                    <a:pt x="6298" y="19261"/>
                    <a:pt x="6222" y="19556"/>
                    <a:pt x="6199" y="19724"/>
                  </a:cubicBezTo>
                  <a:cubicBezTo>
                    <a:pt x="6172" y="19890"/>
                    <a:pt x="6229" y="19974"/>
                    <a:pt x="6315" y="19895"/>
                  </a:cubicBezTo>
                  <a:cubicBezTo>
                    <a:pt x="6405" y="19825"/>
                    <a:pt x="6545" y="19599"/>
                    <a:pt x="6623" y="19394"/>
                  </a:cubicBezTo>
                  <a:cubicBezTo>
                    <a:pt x="6711" y="19209"/>
                    <a:pt x="6823" y="18922"/>
                    <a:pt x="6892" y="18794"/>
                  </a:cubicBezTo>
                  <a:cubicBezTo>
                    <a:pt x="6958" y="18664"/>
                    <a:pt x="7094" y="18486"/>
                    <a:pt x="7191" y="18396"/>
                  </a:cubicBezTo>
                  <a:cubicBezTo>
                    <a:pt x="7292" y="18323"/>
                    <a:pt x="7343" y="18320"/>
                    <a:pt x="7308" y="18426"/>
                  </a:cubicBezTo>
                  <a:cubicBezTo>
                    <a:pt x="7275" y="18536"/>
                    <a:pt x="7187" y="18733"/>
                    <a:pt x="7102" y="18837"/>
                  </a:cubicBezTo>
                  <a:cubicBezTo>
                    <a:pt x="7023" y="18952"/>
                    <a:pt x="6930" y="19164"/>
                    <a:pt x="6897" y="19304"/>
                  </a:cubicBezTo>
                  <a:cubicBezTo>
                    <a:pt x="6881" y="19457"/>
                    <a:pt x="6965" y="19443"/>
                    <a:pt x="7130" y="19338"/>
                  </a:cubicBezTo>
                  <a:cubicBezTo>
                    <a:pt x="7291" y="19207"/>
                    <a:pt x="7528" y="18978"/>
                    <a:pt x="7652" y="18807"/>
                  </a:cubicBezTo>
                  <a:cubicBezTo>
                    <a:pt x="7776" y="18635"/>
                    <a:pt x="8005" y="18210"/>
                    <a:pt x="8170" y="17875"/>
                  </a:cubicBezTo>
                  <a:cubicBezTo>
                    <a:pt x="8329" y="17530"/>
                    <a:pt x="8450" y="17363"/>
                    <a:pt x="8427" y="17491"/>
                  </a:cubicBezTo>
                  <a:cubicBezTo>
                    <a:pt x="8404" y="17619"/>
                    <a:pt x="8318" y="17846"/>
                    <a:pt x="8235" y="18003"/>
                  </a:cubicBezTo>
                  <a:cubicBezTo>
                    <a:pt x="8148" y="18153"/>
                    <a:pt x="8053" y="18389"/>
                    <a:pt x="8015" y="18517"/>
                  </a:cubicBezTo>
                  <a:cubicBezTo>
                    <a:pt x="7983" y="18652"/>
                    <a:pt x="8084" y="18644"/>
                    <a:pt x="8239" y="18478"/>
                  </a:cubicBezTo>
                  <a:cubicBezTo>
                    <a:pt x="8396" y="18326"/>
                    <a:pt x="8621" y="17966"/>
                    <a:pt x="8741" y="17682"/>
                  </a:cubicBezTo>
                  <a:cubicBezTo>
                    <a:pt x="8859" y="17397"/>
                    <a:pt x="9021" y="17051"/>
                    <a:pt x="9099" y="16905"/>
                  </a:cubicBezTo>
                  <a:cubicBezTo>
                    <a:pt x="9178" y="16763"/>
                    <a:pt x="9142" y="16981"/>
                    <a:pt x="9000" y="17363"/>
                  </a:cubicBezTo>
                  <a:cubicBezTo>
                    <a:pt x="8867" y="17758"/>
                    <a:pt x="8754" y="18172"/>
                    <a:pt x="8740" y="18276"/>
                  </a:cubicBezTo>
                  <a:cubicBezTo>
                    <a:pt x="8726" y="18381"/>
                    <a:pt x="8818" y="18394"/>
                    <a:pt x="8937" y="18318"/>
                  </a:cubicBezTo>
                  <a:cubicBezTo>
                    <a:pt x="9059" y="18251"/>
                    <a:pt x="9266" y="18169"/>
                    <a:pt x="9405" y="18184"/>
                  </a:cubicBezTo>
                  <a:cubicBezTo>
                    <a:pt x="9543" y="18176"/>
                    <a:pt x="9758" y="18078"/>
                    <a:pt x="9888" y="17946"/>
                  </a:cubicBezTo>
                  <a:cubicBezTo>
                    <a:pt x="10018" y="17809"/>
                    <a:pt x="10199" y="17608"/>
                    <a:pt x="10292" y="17500"/>
                  </a:cubicBezTo>
                  <a:cubicBezTo>
                    <a:pt x="10390" y="17411"/>
                    <a:pt x="10469" y="17381"/>
                    <a:pt x="10473" y="17462"/>
                  </a:cubicBezTo>
                  <a:cubicBezTo>
                    <a:pt x="10497" y="17527"/>
                    <a:pt x="10621" y="17484"/>
                    <a:pt x="10782" y="17299"/>
                  </a:cubicBezTo>
                  <a:cubicBezTo>
                    <a:pt x="10950" y="17136"/>
                    <a:pt x="11173" y="16879"/>
                    <a:pt x="11281" y="16739"/>
                  </a:cubicBezTo>
                  <a:cubicBezTo>
                    <a:pt x="11394" y="16616"/>
                    <a:pt x="11520" y="16333"/>
                    <a:pt x="11570" y="16142"/>
                  </a:cubicBezTo>
                  <a:cubicBezTo>
                    <a:pt x="11626" y="15958"/>
                    <a:pt x="11800" y="15605"/>
                    <a:pt x="11959" y="15350"/>
                  </a:cubicBezTo>
                  <a:cubicBezTo>
                    <a:pt x="12131" y="15124"/>
                    <a:pt x="12320" y="14772"/>
                    <a:pt x="12401" y="14625"/>
                  </a:cubicBezTo>
                  <a:cubicBezTo>
                    <a:pt x="12483" y="14482"/>
                    <a:pt x="12531" y="14242"/>
                    <a:pt x="12517" y="14114"/>
                  </a:cubicBezTo>
                  <a:cubicBezTo>
                    <a:pt x="12517" y="13981"/>
                    <a:pt x="12568" y="13718"/>
                    <a:pt x="12666" y="13532"/>
                  </a:cubicBezTo>
                  <a:cubicBezTo>
                    <a:pt x="12771" y="13363"/>
                    <a:pt x="12877" y="13178"/>
                    <a:pt x="12924" y="13165"/>
                  </a:cubicBezTo>
                  <a:cubicBezTo>
                    <a:pt x="12968" y="13151"/>
                    <a:pt x="12957" y="13305"/>
                    <a:pt x="12917" y="13518"/>
                  </a:cubicBezTo>
                  <a:cubicBezTo>
                    <a:pt x="12867" y="13722"/>
                    <a:pt x="12888" y="13869"/>
                    <a:pt x="12957" y="13828"/>
                  </a:cubicBezTo>
                  <a:cubicBezTo>
                    <a:pt x="13028" y="13796"/>
                    <a:pt x="13082" y="13840"/>
                    <a:pt x="13059" y="13915"/>
                  </a:cubicBezTo>
                  <a:cubicBezTo>
                    <a:pt x="13053" y="14003"/>
                    <a:pt x="12926" y="14213"/>
                    <a:pt x="12803" y="14406"/>
                  </a:cubicBezTo>
                  <a:cubicBezTo>
                    <a:pt x="12675" y="14584"/>
                    <a:pt x="12474" y="14992"/>
                    <a:pt x="12339" y="15271"/>
                  </a:cubicBezTo>
                  <a:cubicBezTo>
                    <a:pt x="12204" y="15553"/>
                    <a:pt x="12046" y="16101"/>
                    <a:pt x="11962" y="16459"/>
                  </a:cubicBezTo>
                  <a:cubicBezTo>
                    <a:pt x="11887" y="16827"/>
                    <a:pt x="11918" y="17106"/>
                    <a:pt x="12034" y="17054"/>
                  </a:cubicBezTo>
                  <a:cubicBezTo>
                    <a:pt x="12151" y="17012"/>
                    <a:pt x="12366" y="16836"/>
                    <a:pt x="12516" y="16669"/>
                  </a:cubicBezTo>
                  <a:cubicBezTo>
                    <a:pt x="12666" y="16503"/>
                    <a:pt x="12769" y="16492"/>
                    <a:pt x="12743" y="16655"/>
                  </a:cubicBezTo>
                  <a:cubicBezTo>
                    <a:pt x="12724" y="16826"/>
                    <a:pt x="12803" y="16894"/>
                    <a:pt x="12923" y="16801"/>
                  </a:cubicBezTo>
                  <a:cubicBezTo>
                    <a:pt x="13047" y="16724"/>
                    <a:pt x="13148" y="16690"/>
                    <a:pt x="13151" y="16749"/>
                  </a:cubicBezTo>
                  <a:cubicBezTo>
                    <a:pt x="13146" y="16807"/>
                    <a:pt x="13259" y="16786"/>
                    <a:pt x="13382" y="16707"/>
                  </a:cubicBezTo>
                  <a:cubicBezTo>
                    <a:pt x="13505" y="16631"/>
                    <a:pt x="13837" y="16246"/>
                    <a:pt x="14123" y="15871"/>
                  </a:cubicBezTo>
                  <a:cubicBezTo>
                    <a:pt x="14409" y="15497"/>
                    <a:pt x="14739" y="15109"/>
                    <a:pt x="14858" y="15008"/>
                  </a:cubicBezTo>
                  <a:cubicBezTo>
                    <a:pt x="14980" y="14921"/>
                    <a:pt x="15215" y="14807"/>
                    <a:pt x="15385" y="14807"/>
                  </a:cubicBezTo>
                  <a:cubicBezTo>
                    <a:pt x="15555" y="14769"/>
                    <a:pt x="15798" y="14707"/>
                    <a:pt x="15920" y="14599"/>
                  </a:cubicBezTo>
                  <a:cubicBezTo>
                    <a:pt x="16044" y="14497"/>
                    <a:pt x="16195" y="14412"/>
                    <a:pt x="16255" y="14421"/>
                  </a:cubicBezTo>
                  <a:cubicBezTo>
                    <a:pt x="16316" y="14429"/>
                    <a:pt x="16450" y="14317"/>
                    <a:pt x="16545" y="14164"/>
                  </a:cubicBezTo>
                  <a:cubicBezTo>
                    <a:pt x="16645" y="14027"/>
                    <a:pt x="16734" y="13823"/>
                    <a:pt x="16757" y="13737"/>
                  </a:cubicBezTo>
                  <a:cubicBezTo>
                    <a:pt x="16757" y="13641"/>
                    <a:pt x="16915" y="13340"/>
                    <a:pt x="17059" y="13045"/>
                  </a:cubicBezTo>
                  <a:cubicBezTo>
                    <a:pt x="17207" y="12758"/>
                    <a:pt x="17389" y="12429"/>
                    <a:pt x="17477" y="12400"/>
                  </a:cubicBezTo>
                  <a:cubicBezTo>
                    <a:pt x="17559" y="12326"/>
                    <a:pt x="17651" y="12189"/>
                    <a:pt x="17688" y="12087"/>
                  </a:cubicBezTo>
                  <a:cubicBezTo>
                    <a:pt x="17716" y="11974"/>
                    <a:pt x="17739" y="11764"/>
                    <a:pt x="17714" y="11616"/>
                  </a:cubicBezTo>
                  <a:cubicBezTo>
                    <a:pt x="17694" y="11469"/>
                    <a:pt x="17717" y="11171"/>
                    <a:pt x="17778" y="10977"/>
                  </a:cubicBezTo>
                  <a:cubicBezTo>
                    <a:pt x="17825" y="10770"/>
                    <a:pt x="17918" y="10646"/>
                    <a:pt x="17962" y="10714"/>
                  </a:cubicBezTo>
                  <a:cubicBezTo>
                    <a:pt x="18010" y="10775"/>
                    <a:pt x="18010" y="10898"/>
                    <a:pt x="17990" y="11025"/>
                  </a:cubicBezTo>
                  <a:cubicBezTo>
                    <a:pt x="17952" y="11135"/>
                    <a:pt x="17982" y="11337"/>
                    <a:pt x="18030" y="11485"/>
                  </a:cubicBezTo>
                  <a:cubicBezTo>
                    <a:pt x="18099" y="11601"/>
                    <a:pt x="18208" y="11606"/>
                    <a:pt x="18296" y="11440"/>
                  </a:cubicBezTo>
                  <a:cubicBezTo>
                    <a:pt x="18388" y="11277"/>
                    <a:pt x="18524" y="11114"/>
                    <a:pt x="18601" y="11072"/>
                  </a:cubicBezTo>
                  <a:cubicBezTo>
                    <a:pt x="18681" y="11055"/>
                    <a:pt x="18818" y="10925"/>
                    <a:pt x="18913" y="10847"/>
                  </a:cubicBezTo>
                  <a:cubicBezTo>
                    <a:pt x="19007" y="10759"/>
                    <a:pt x="19131" y="10657"/>
                    <a:pt x="19180" y="10695"/>
                  </a:cubicBezTo>
                  <a:cubicBezTo>
                    <a:pt x="19230" y="10702"/>
                    <a:pt x="19314" y="10606"/>
                    <a:pt x="19363" y="10490"/>
                  </a:cubicBezTo>
                  <a:cubicBezTo>
                    <a:pt x="19413" y="10374"/>
                    <a:pt x="19457" y="10141"/>
                    <a:pt x="19474" y="9973"/>
                  </a:cubicBezTo>
                  <a:cubicBezTo>
                    <a:pt x="19488" y="9805"/>
                    <a:pt x="19528" y="9556"/>
                    <a:pt x="19576" y="9435"/>
                  </a:cubicBezTo>
                  <a:cubicBezTo>
                    <a:pt x="19619" y="9306"/>
                    <a:pt x="19608" y="9177"/>
                    <a:pt x="19547" y="9153"/>
                  </a:cubicBezTo>
                  <a:cubicBezTo>
                    <a:pt x="19485" y="9130"/>
                    <a:pt x="19299" y="9222"/>
                    <a:pt x="19141" y="9403"/>
                  </a:cubicBezTo>
                  <a:cubicBezTo>
                    <a:pt x="18975" y="9557"/>
                    <a:pt x="18715" y="9802"/>
                    <a:pt x="18557" y="9922"/>
                  </a:cubicBezTo>
                  <a:cubicBezTo>
                    <a:pt x="18401" y="10053"/>
                    <a:pt x="18270" y="10039"/>
                    <a:pt x="18278" y="9913"/>
                  </a:cubicBezTo>
                  <a:cubicBezTo>
                    <a:pt x="18288" y="9789"/>
                    <a:pt x="18352" y="9613"/>
                    <a:pt x="18426" y="9511"/>
                  </a:cubicBezTo>
                  <a:cubicBezTo>
                    <a:pt x="18504" y="9422"/>
                    <a:pt x="18622" y="9316"/>
                    <a:pt x="18693" y="9316"/>
                  </a:cubicBezTo>
                  <a:cubicBezTo>
                    <a:pt x="18764" y="9295"/>
                    <a:pt x="18947" y="9152"/>
                    <a:pt x="19107" y="9001"/>
                  </a:cubicBezTo>
                  <a:cubicBezTo>
                    <a:pt x="19261" y="8825"/>
                    <a:pt x="19491" y="8538"/>
                    <a:pt x="19608" y="8327"/>
                  </a:cubicBezTo>
                  <a:cubicBezTo>
                    <a:pt x="19723" y="8112"/>
                    <a:pt x="19860" y="8003"/>
                    <a:pt x="19912" y="8021"/>
                  </a:cubicBezTo>
                  <a:cubicBezTo>
                    <a:pt x="19960" y="8069"/>
                    <a:pt x="20072" y="8023"/>
                    <a:pt x="20161" y="7958"/>
                  </a:cubicBezTo>
                  <a:cubicBezTo>
                    <a:pt x="20252" y="7895"/>
                    <a:pt x="20417" y="7645"/>
                    <a:pt x="20533" y="7424"/>
                  </a:cubicBezTo>
                  <a:cubicBezTo>
                    <a:pt x="20646" y="7199"/>
                    <a:pt x="20742" y="6951"/>
                    <a:pt x="20758" y="6866"/>
                  </a:cubicBezTo>
                  <a:cubicBezTo>
                    <a:pt x="20754" y="6775"/>
                    <a:pt x="20868" y="6529"/>
                    <a:pt x="20978" y="6303"/>
                  </a:cubicBezTo>
                  <a:cubicBezTo>
                    <a:pt x="21097" y="6098"/>
                    <a:pt x="21164" y="5826"/>
                    <a:pt x="21181" y="5745"/>
                  </a:cubicBezTo>
                  <a:cubicBezTo>
                    <a:pt x="21186" y="5657"/>
                    <a:pt x="21254" y="5536"/>
                    <a:pt x="21335" y="5440"/>
                  </a:cubicBezTo>
                  <a:cubicBezTo>
                    <a:pt x="21422" y="5377"/>
                    <a:pt x="21529" y="5230"/>
                    <a:pt x="21562" y="5124"/>
                  </a:cubicBezTo>
                  <a:cubicBezTo>
                    <a:pt x="21600" y="5023"/>
                    <a:pt x="21516" y="4974"/>
                    <a:pt x="21373" y="5044"/>
                  </a:cubicBezTo>
                  <a:cubicBezTo>
                    <a:pt x="21228" y="5101"/>
                    <a:pt x="20995" y="5231"/>
                    <a:pt x="20861" y="5367"/>
                  </a:cubicBezTo>
                  <a:cubicBezTo>
                    <a:pt x="20727" y="5498"/>
                    <a:pt x="20690" y="5463"/>
                    <a:pt x="20770" y="5280"/>
                  </a:cubicBezTo>
                  <a:cubicBezTo>
                    <a:pt x="20856" y="5109"/>
                    <a:pt x="20999" y="4904"/>
                    <a:pt x="21083" y="4800"/>
                  </a:cubicBezTo>
                  <a:cubicBezTo>
                    <a:pt x="21175" y="4720"/>
                    <a:pt x="21284" y="4490"/>
                    <a:pt x="21340" y="4323"/>
                  </a:cubicBezTo>
                  <a:cubicBezTo>
                    <a:pt x="21390" y="4149"/>
                    <a:pt x="21364" y="3992"/>
                    <a:pt x="21274" y="3977"/>
                  </a:cubicBezTo>
                  <a:cubicBezTo>
                    <a:pt x="21185" y="3954"/>
                    <a:pt x="20898" y="4102"/>
                    <a:pt x="20634" y="4281"/>
                  </a:cubicBezTo>
                  <a:cubicBezTo>
                    <a:pt x="20369" y="4451"/>
                    <a:pt x="20140" y="4562"/>
                    <a:pt x="20115" y="4492"/>
                  </a:cubicBezTo>
                  <a:cubicBezTo>
                    <a:pt x="20078" y="4450"/>
                    <a:pt x="20107" y="4280"/>
                    <a:pt x="20146" y="4166"/>
                  </a:cubicBezTo>
                  <a:cubicBezTo>
                    <a:pt x="20190" y="4063"/>
                    <a:pt x="20283" y="3892"/>
                    <a:pt x="20362" y="3813"/>
                  </a:cubicBezTo>
                  <a:cubicBezTo>
                    <a:pt x="20438" y="3726"/>
                    <a:pt x="20491" y="3556"/>
                    <a:pt x="20501" y="3431"/>
                  </a:cubicBezTo>
                  <a:cubicBezTo>
                    <a:pt x="20488" y="3308"/>
                    <a:pt x="20375" y="3149"/>
                    <a:pt x="20226" y="3067"/>
                  </a:cubicBezTo>
                  <a:cubicBezTo>
                    <a:pt x="20074" y="3007"/>
                    <a:pt x="19867" y="2990"/>
                    <a:pt x="19762" y="3066"/>
                  </a:cubicBezTo>
                  <a:cubicBezTo>
                    <a:pt x="19659" y="3147"/>
                    <a:pt x="19472" y="3327"/>
                    <a:pt x="19349" y="3477"/>
                  </a:cubicBezTo>
                  <a:cubicBezTo>
                    <a:pt x="19228" y="3632"/>
                    <a:pt x="18984" y="3837"/>
                    <a:pt x="18816" y="3974"/>
                  </a:cubicBezTo>
                  <a:cubicBezTo>
                    <a:pt x="18643" y="4086"/>
                    <a:pt x="18323" y="4372"/>
                    <a:pt x="18104" y="4591"/>
                  </a:cubicBezTo>
                  <a:cubicBezTo>
                    <a:pt x="17889" y="4826"/>
                    <a:pt x="17569" y="4949"/>
                    <a:pt x="17403" y="4906"/>
                  </a:cubicBezTo>
                  <a:cubicBezTo>
                    <a:pt x="17239" y="4848"/>
                    <a:pt x="17109" y="4743"/>
                    <a:pt x="17109" y="4638"/>
                  </a:cubicBezTo>
                  <a:cubicBezTo>
                    <a:pt x="17101" y="4533"/>
                    <a:pt x="17068" y="4442"/>
                    <a:pt x="17012" y="4449"/>
                  </a:cubicBezTo>
                  <a:cubicBezTo>
                    <a:pt x="16955" y="4442"/>
                    <a:pt x="16791" y="4607"/>
                    <a:pt x="16644" y="4789"/>
                  </a:cubicBezTo>
                  <a:cubicBezTo>
                    <a:pt x="16498" y="4970"/>
                    <a:pt x="16313" y="5177"/>
                    <a:pt x="16226" y="5220"/>
                  </a:cubicBezTo>
                  <a:cubicBezTo>
                    <a:pt x="16140" y="5272"/>
                    <a:pt x="15999" y="5381"/>
                    <a:pt x="15920" y="5489"/>
                  </a:cubicBezTo>
                  <a:cubicBezTo>
                    <a:pt x="15838" y="5589"/>
                    <a:pt x="15651" y="5757"/>
                    <a:pt x="15503" y="5867"/>
                  </a:cubicBezTo>
                  <a:cubicBezTo>
                    <a:pt x="15354" y="5963"/>
                    <a:pt x="15157" y="6234"/>
                    <a:pt x="15062" y="6434"/>
                  </a:cubicBezTo>
                  <a:cubicBezTo>
                    <a:pt x="14969" y="6640"/>
                    <a:pt x="14847" y="6766"/>
                    <a:pt x="14821" y="6691"/>
                  </a:cubicBezTo>
                  <a:cubicBezTo>
                    <a:pt x="14782" y="6643"/>
                    <a:pt x="14692" y="6584"/>
                    <a:pt x="14615" y="6571"/>
                  </a:cubicBezTo>
                  <a:cubicBezTo>
                    <a:pt x="14537" y="6586"/>
                    <a:pt x="14361" y="6682"/>
                    <a:pt x="14222" y="6829"/>
                  </a:cubicBezTo>
                  <a:cubicBezTo>
                    <a:pt x="14082" y="6978"/>
                    <a:pt x="13845" y="7238"/>
                    <a:pt x="13684" y="7363"/>
                  </a:cubicBezTo>
                  <a:cubicBezTo>
                    <a:pt x="13531" y="7520"/>
                    <a:pt x="13377" y="7705"/>
                    <a:pt x="13353" y="7808"/>
                  </a:cubicBezTo>
                  <a:cubicBezTo>
                    <a:pt x="13338" y="7915"/>
                    <a:pt x="13248" y="8063"/>
                    <a:pt x="13184" y="8173"/>
                  </a:cubicBezTo>
                  <a:cubicBezTo>
                    <a:pt x="13113" y="8268"/>
                    <a:pt x="13079" y="8255"/>
                    <a:pt x="13116" y="8152"/>
                  </a:cubicBezTo>
                  <a:cubicBezTo>
                    <a:pt x="13138" y="8034"/>
                    <a:pt x="13146" y="7921"/>
                    <a:pt x="13111" y="7893"/>
                  </a:cubicBezTo>
                  <a:cubicBezTo>
                    <a:pt x="13076" y="7862"/>
                    <a:pt x="12937" y="7942"/>
                    <a:pt x="12805" y="8089"/>
                  </a:cubicBezTo>
                  <a:cubicBezTo>
                    <a:pt x="12669" y="8224"/>
                    <a:pt x="12348" y="8473"/>
                    <a:pt x="12088" y="8625"/>
                  </a:cubicBezTo>
                  <a:cubicBezTo>
                    <a:pt x="11830" y="8793"/>
                    <a:pt x="11574" y="8975"/>
                    <a:pt x="11523" y="9049"/>
                  </a:cubicBezTo>
                  <a:cubicBezTo>
                    <a:pt x="11478" y="9139"/>
                    <a:pt x="11471" y="9250"/>
                    <a:pt x="11528" y="9282"/>
                  </a:cubicBezTo>
                  <a:cubicBezTo>
                    <a:pt x="11577" y="9349"/>
                    <a:pt x="11600" y="9492"/>
                    <a:pt x="11550" y="9616"/>
                  </a:cubicBezTo>
                  <a:cubicBezTo>
                    <a:pt x="11513" y="9755"/>
                    <a:pt x="11528" y="9903"/>
                    <a:pt x="11598" y="9935"/>
                  </a:cubicBezTo>
                  <a:cubicBezTo>
                    <a:pt x="11663" y="9982"/>
                    <a:pt x="11622" y="10076"/>
                    <a:pt x="11497" y="10125"/>
                  </a:cubicBezTo>
                  <a:cubicBezTo>
                    <a:pt x="11374" y="10189"/>
                    <a:pt x="11264" y="10176"/>
                    <a:pt x="11240" y="10110"/>
                  </a:cubicBezTo>
                  <a:cubicBezTo>
                    <a:pt x="11219" y="10038"/>
                    <a:pt x="11139" y="9989"/>
                    <a:pt x="11063" y="10042"/>
                  </a:cubicBezTo>
                  <a:cubicBezTo>
                    <a:pt x="10985" y="10075"/>
                    <a:pt x="10776" y="10265"/>
                    <a:pt x="10593" y="10439"/>
                  </a:cubicBezTo>
                  <a:cubicBezTo>
                    <a:pt x="10412" y="10624"/>
                    <a:pt x="10216" y="10748"/>
                    <a:pt x="10161" y="10774"/>
                  </a:cubicBezTo>
                  <a:cubicBezTo>
                    <a:pt x="10104" y="10765"/>
                    <a:pt x="10177" y="10620"/>
                    <a:pt x="10334" y="10465"/>
                  </a:cubicBezTo>
                  <a:cubicBezTo>
                    <a:pt x="10483" y="10284"/>
                    <a:pt x="10637" y="10035"/>
                    <a:pt x="10687" y="9912"/>
                  </a:cubicBezTo>
                  <a:cubicBezTo>
                    <a:pt x="10727" y="9777"/>
                    <a:pt x="10708" y="9569"/>
                    <a:pt x="10628" y="9487"/>
                  </a:cubicBezTo>
                  <a:cubicBezTo>
                    <a:pt x="10563" y="9366"/>
                    <a:pt x="10530" y="9210"/>
                    <a:pt x="10575" y="9096"/>
                  </a:cubicBezTo>
                  <a:cubicBezTo>
                    <a:pt x="10619" y="8984"/>
                    <a:pt x="10646" y="8836"/>
                    <a:pt x="10628" y="8780"/>
                  </a:cubicBezTo>
                  <a:cubicBezTo>
                    <a:pt x="10628" y="8713"/>
                    <a:pt x="10454" y="8869"/>
                    <a:pt x="10268" y="9093"/>
                  </a:cubicBezTo>
                  <a:cubicBezTo>
                    <a:pt x="10086" y="9333"/>
                    <a:pt x="9923" y="9595"/>
                    <a:pt x="9923" y="9690"/>
                  </a:cubicBezTo>
                  <a:cubicBezTo>
                    <a:pt x="9908" y="9782"/>
                    <a:pt x="9857" y="9955"/>
                    <a:pt x="9801" y="10088"/>
                  </a:cubicBezTo>
                  <a:cubicBezTo>
                    <a:pt x="9738" y="10206"/>
                    <a:pt x="9617" y="10330"/>
                    <a:pt x="9527" y="10370"/>
                  </a:cubicBezTo>
                  <a:cubicBezTo>
                    <a:pt x="9438" y="10408"/>
                    <a:pt x="9430" y="10325"/>
                    <a:pt x="9501" y="10176"/>
                  </a:cubicBezTo>
                  <a:cubicBezTo>
                    <a:pt x="9580" y="10042"/>
                    <a:pt x="9648" y="9842"/>
                    <a:pt x="9669" y="9752"/>
                  </a:cubicBezTo>
                  <a:cubicBezTo>
                    <a:pt x="9674" y="9653"/>
                    <a:pt x="9615" y="9629"/>
                    <a:pt x="9509" y="9672"/>
                  </a:cubicBezTo>
                  <a:cubicBezTo>
                    <a:pt x="9407" y="9743"/>
                    <a:pt x="9243" y="9873"/>
                    <a:pt x="9147" y="10000"/>
                  </a:cubicBezTo>
                  <a:cubicBezTo>
                    <a:pt x="9054" y="10134"/>
                    <a:pt x="8908" y="10294"/>
                    <a:pt x="8822" y="10360"/>
                  </a:cubicBezTo>
                  <a:cubicBezTo>
                    <a:pt x="8735" y="10418"/>
                    <a:pt x="8734" y="10337"/>
                    <a:pt x="8814" y="10152"/>
                  </a:cubicBezTo>
                  <a:cubicBezTo>
                    <a:pt x="8886" y="9961"/>
                    <a:pt x="8974" y="9772"/>
                    <a:pt x="8979" y="9700"/>
                  </a:cubicBezTo>
                  <a:cubicBezTo>
                    <a:pt x="8987" y="9632"/>
                    <a:pt x="9039" y="9431"/>
                    <a:pt x="9086" y="9251"/>
                  </a:cubicBezTo>
                  <a:cubicBezTo>
                    <a:pt x="9130" y="9067"/>
                    <a:pt x="9057" y="9062"/>
                    <a:pt x="8904" y="9209"/>
                  </a:cubicBezTo>
                  <a:cubicBezTo>
                    <a:pt x="8758" y="9374"/>
                    <a:pt x="8479" y="9721"/>
                    <a:pt x="8300" y="10029"/>
                  </a:cubicBezTo>
                  <a:cubicBezTo>
                    <a:pt x="8114" y="10313"/>
                    <a:pt x="7927" y="10718"/>
                    <a:pt x="7884" y="10911"/>
                  </a:cubicBezTo>
                  <a:cubicBezTo>
                    <a:pt x="7838" y="11101"/>
                    <a:pt x="7732" y="11310"/>
                    <a:pt x="7652" y="11387"/>
                  </a:cubicBezTo>
                  <a:cubicBezTo>
                    <a:pt x="7570" y="11461"/>
                    <a:pt x="7487" y="11421"/>
                    <a:pt x="7495" y="11308"/>
                  </a:cubicBezTo>
                  <a:cubicBezTo>
                    <a:pt x="7483" y="11198"/>
                    <a:pt x="7562" y="10967"/>
                    <a:pt x="7648" y="10787"/>
                  </a:cubicBezTo>
                  <a:cubicBezTo>
                    <a:pt x="7738" y="10616"/>
                    <a:pt x="7848" y="10393"/>
                    <a:pt x="7868" y="10274"/>
                  </a:cubicBezTo>
                  <a:cubicBezTo>
                    <a:pt x="7906" y="10173"/>
                    <a:pt x="8051" y="9836"/>
                    <a:pt x="8191" y="9522"/>
                  </a:cubicBezTo>
                  <a:cubicBezTo>
                    <a:pt x="8339" y="9221"/>
                    <a:pt x="8420" y="8897"/>
                    <a:pt x="8367" y="8872"/>
                  </a:cubicBezTo>
                  <a:cubicBezTo>
                    <a:pt x="8320" y="8817"/>
                    <a:pt x="8145" y="8944"/>
                    <a:pt x="7977" y="9128"/>
                  </a:cubicBezTo>
                  <a:cubicBezTo>
                    <a:pt x="7816" y="9335"/>
                    <a:pt x="7688" y="9391"/>
                    <a:pt x="7726" y="9316"/>
                  </a:cubicBezTo>
                  <a:cubicBezTo>
                    <a:pt x="7753" y="9227"/>
                    <a:pt x="7865" y="9050"/>
                    <a:pt x="7974" y="8917"/>
                  </a:cubicBezTo>
                  <a:cubicBezTo>
                    <a:pt x="8083" y="8787"/>
                    <a:pt x="8271" y="8492"/>
                    <a:pt x="8387" y="8253"/>
                  </a:cubicBezTo>
                  <a:cubicBezTo>
                    <a:pt x="8506" y="8016"/>
                    <a:pt x="8626" y="7735"/>
                    <a:pt x="8648" y="7618"/>
                  </a:cubicBezTo>
                  <a:cubicBezTo>
                    <a:pt x="8672" y="7503"/>
                    <a:pt x="8613" y="7510"/>
                    <a:pt x="8512" y="7622"/>
                  </a:cubicBezTo>
                  <a:cubicBezTo>
                    <a:pt x="8411" y="7729"/>
                    <a:pt x="8257" y="7876"/>
                    <a:pt x="8162" y="7913"/>
                  </a:cubicBezTo>
                  <a:cubicBezTo>
                    <a:pt x="8072" y="7977"/>
                    <a:pt x="7945" y="8064"/>
                    <a:pt x="7884" y="8146"/>
                  </a:cubicBezTo>
                  <a:cubicBezTo>
                    <a:pt x="7828" y="8235"/>
                    <a:pt x="7689" y="8372"/>
                    <a:pt x="7581" y="8467"/>
                  </a:cubicBezTo>
                  <a:cubicBezTo>
                    <a:pt x="7471" y="8549"/>
                    <a:pt x="7456" y="8527"/>
                    <a:pt x="7545" y="8407"/>
                  </a:cubicBezTo>
                  <a:cubicBezTo>
                    <a:pt x="7631" y="8272"/>
                    <a:pt x="7714" y="8128"/>
                    <a:pt x="7717" y="8063"/>
                  </a:cubicBezTo>
                  <a:cubicBezTo>
                    <a:pt x="7727" y="8004"/>
                    <a:pt x="7646" y="8012"/>
                    <a:pt x="7550" y="8095"/>
                  </a:cubicBezTo>
                  <a:cubicBezTo>
                    <a:pt x="7456" y="8186"/>
                    <a:pt x="7289" y="8378"/>
                    <a:pt x="7180" y="8535"/>
                  </a:cubicBezTo>
                  <a:cubicBezTo>
                    <a:pt x="7076" y="8700"/>
                    <a:pt x="6861" y="8956"/>
                    <a:pt x="6705" y="9112"/>
                  </a:cubicBezTo>
                  <a:cubicBezTo>
                    <a:pt x="6552" y="9282"/>
                    <a:pt x="6453" y="9338"/>
                    <a:pt x="6467" y="9244"/>
                  </a:cubicBezTo>
                  <a:cubicBezTo>
                    <a:pt x="6493" y="9160"/>
                    <a:pt x="6588" y="8999"/>
                    <a:pt x="6679" y="8882"/>
                  </a:cubicBezTo>
                  <a:cubicBezTo>
                    <a:pt x="6773" y="8779"/>
                    <a:pt x="6918" y="8514"/>
                    <a:pt x="7021" y="8352"/>
                  </a:cubicBezTo>
                  <a:cubicBezTo>
                    <a:pt x="7121" y="8180"/>
                    <a:pt x="7253" y="7913"/>
                    <a:pt x="7316" y="7765"/>
                  </a:cubicBezTo>
                  <a:cubicBezTo>
                    <a:pt x="7381" y="7620"/>
                    <a:pt x="7498" y="7461"/>
                    <a:pt x="7573" y="7394"/>
                  </a:cubicBezTo>
                  <a:cubicBezTo>
                    <a:pt x="7650" y="7331"/>
                    <a:pt x="7765" y="7321"/>
                    <a:pt x="7820" y="7391"/>
                  </a:cubicBezTo>
                  <a:cubicBezTo>
                    <a:pt x="7881" y="7432"/>
                    <a:pt x="8061" y="7372"/>
                    <a:pt x="8231" y="7248"/>
                  </a:cubicBezTo>
                  <a:cubicBezTo>
                    <a:pt x="8396" y="7096"/>
                    <a:pt x="8541" y="6931"/>
                    <a:pt x="8557" y="6855"/>
                  </a:cubicBezTo>
                  <a:cubicBezTo>
                    <a:pt x="8563" y="6772"/>
                    <a:pt x="8528" y="6658"/>
                    <a:pt x="8474" y="6578"/>
                  </a:cubicBezTo>
                  <a:cubicBezTo>
                    <a:pt x="8408" y="6539"/>
                    <a:pt x="8284" y="6505"/>
                    <a:pt x="8178" y="6578"/>
                  </a:cubicBezTo>
                  <a:cubicBezTo>
                    <a:pt x="8075" y="6659"/>
                    <a:pt x="8053" y="6626"/>
                    <a:pt x="8131" y="6521"/>
                  </a:cubicBezTo>
                  <a:cubicBezTo>
                    <a:pt x="8210" y="6420"/>
                    <a:pt x="8203" y="6272"/>
                    <a:pt x="8120" y="6189"/>
                  </a:cubicBezTo>
                  <a:cubicBezTo>
                    <a:pt x="8036" y="6113"/>
                    <a:pt x="7893" y="6074"/>
                    <a:pt x="7802" y="6066"/>
                  </a:cubicBezTo>
                  <a:cubicBezTo>
                    <a:pt x="7713" y="6101"/>
                    <a:pt x="7695" y="6017"/>
                    <a:pt x="7769" y="5943"/>
                  </a:cubicBezTo>
                  <a:cubicBezTo>
                    <a:pt x="7841" y="5862"/>
                    <a:pt x="7942" y="5711"/>
                    <a:pt x="7986" y="5592"/>
                  </a:cubicBezTo>
                  <a:cubicBezTo>
                    <a:pt x="8029" y="5473"/>
                    <a:pt x="8120" y="5343"/>
                    <a:pt x="8181" y="5290"/>
                  </a:cubicBezTo>
                  <a:cubicBezTo>
                    <a:pt x="8242" y="5241"/>
                    <a:pt x="8298" y="5288"/>
                    <a:pt x="8308" y="5398"/>
                  </a:cubicBezTo>
                  <a:cubicBezTo>
                    <a:pt x="8315" y="5507"/>
                    <a:pt x="8386" y="5625"/>
                    <a:pt x="8446" y="5717"/>
                  </a:cubicBezTo>
                  <a:cubicBezTo>
                    <a:pt x="8517" y="5769"/>
                    <a:pt x="8675" y="5770"/>
                    <a:pt x="8806" y="5715"/>
                  </a:cubicBezTo>
                  <a:cubicBezTo>
                    <a:pt x="8935" y="5648"/>
                    <a:pt x="9089" y="5649"/>
                    <a:pt x="9152" y="5691"/>
                  </a:cubicBezTo>
                  <a:cubicBezTo>
                    <a:pt x="9215" y="5726"/>
                    <a:pt x="9340" y="5674"/>
                    <a:pt x="9427" y="5523"/>
                  </a:cubicBezTo>
                  <a:cubicBezTo>
                    <a:pt x="9525" y="5398"/>
                    <a:pt x="9622" y="5310"/>
                    <a:pt x="9660" y="5359"/>
                  </a:cubicBezTo>
                  <a:cubicBezTo>
                    <a:pt x="9703" y="5393"/>
                    <a:pt x="9872" y="5395"/>
                    <a:pt x="10044" y="5283"/>
                  </a:cubicBezTo>
                  <a:cubicBezTo>
                    <a:pt x="10216" y="5188"/>
                    <a:pt x="10463" y="5016"/>
                    <a:pt x="10595" y="4923"/>
                  </a:cubicBezTo>
                  <a:cubicBezTo>
                    <a:pt x="10725" y="4817"/>
                    <a:pt x="10900" y="4591"/>
                    <a:pt x="10988" y="4425"/>
                  </a:cubicBezTo>
                  <a:cubicBezTo>
                    <a:pt x="11074" y="4255"/>
                    <a:pt x="11153" y="3990"/>
                    <a:pt x="11172" y="3843"/>
                  </a:cubicBezTo>
                  <a:cubicBezTo>
                    <a:pt x="11179" y="3693"/>
                    <a:pt x="11057" y="3506"/>
                    <a:pt x="10881" y="3490"/>
                  </a:cubicBezTo>
                  <a:cubicBezTo>
                    <a:pt x="10710" y="3418"/>
                    <a:pt x="10508" y="3382"/>
                    <a:pt x="10456" y="3294"/>
                  </a:cubicBezTo>
                  <a:cubicBezTo>
                    <a:pt x="10398" y="3224"/>
                    <a:pt x="10282" y="3243"/>
                    <a:pt x="10200" y="3319"/>
                  </a:cubicBezTo>
                  <a:cubicBezTo>
                    <a:pt x="10118" y="3387"/>
                    <a:pt x="10065" y="3364"/>
                    <a:pt x="10084" y="3248"/>
                  </a:cubicBezTo>
                  <a:cubicBezTo>
                    <a:pt x="10103" y="3132"/>
                    <a:pt x="10063" y="2981"/>
                    <a:pt x="9996" y="2939"/>
                  </a:cubicBezTo>
                  <a:cubicBezTo>
                    <a:pt x="9939" y="2856"/>
                    <a:pt x="9833" y="2883"/>
                    <a:pt x="9776" y="2917"/>
                  </a:cubicBezTo>
                  <a:cubicBezTo>
                    <a:pt x="9722" y="2959"/>
                    <a:pt x="9655" y="2956"/>
                    <a:pt x="9626" y="2925"/>
                  </a:cubicBezTo>
                  <a:cubicBezTo>
                    <a:pt x="9594" y="2908"/>
                    <a:pt x="9636" y="2766"/>
                    <a:pt x="9700" y="2632"/>
                  </a:cubicBezTo>
                  <a:cubicBezTo>
                    <a:pt x="9765" y="2502"/>
                    <a:pt x="9887" y="2390"/>
                    <a:pt x="9962" y="2349"/>
                  </a:cubicBezTo>
                  <a:cubicBezTo>
                    <a:pt x="10039" y="2326"/>
                    <a:pt x="10132" y="2347"/>
                    <a:pt x="10176" y="2405"/>
                  </a:cubicBezTo>
                  <a:cubicBezTo>
                    <a:pt x="10219" y="2468"/>
                    <a:pt x="10320" y="2454"/>
                    <a:pt x="10406" y="2397"/>
                  </a:cubicBezTo>
                  <a:cubicBezTo>
                    <a:pt x="10489" y="2322"/>
                    <a:pt x="10547" y="2370"/>
                    <a:pt x="10529" y="2484"/>
                  </a:cubicBezTo>
                  <a:cubicBezTo>
                    <a:pt x="10509" y="2598"/>
                    <a:pt x="10554" y="2665"/>
                    <a:pt x="10621" y="2611"/>
                  </a:cubicBezTo>
                  <a:cubicBezTo>
                    <a:pt x="10687" y="2557"/>
                    <a:pt x="10805" y="2405"/>
                    <a:pt x="10886" y="2264"/>
                  </a:cubicBezTo>
                  <a:cubicBezTo>
                    <a:pt x="10958" y="2105"/>
                    <a:pt x="11054" y="1821"/>
                    <a:pt x="11087" y="1605"/>
                  </a:cubicBezTo>
                  <a:cubicBezTo>
                    <a:pt x="11123" y="1388"/>
                    <a:pt x="11093" y="1112"/>
                    <a:pt x="11028" y="997"/>
                  </a:cubicBezTo>
                  <a:cubicBezTo>
                    <a:pt x="10962" y="883"/>
                    <a:pt x="10826" y="864"/>
                    <a:pt x="10721" y="948"/>
                  </a:cubicBezTo>
                  <a:cubicBezTo>
                    <a:pt x="10621" y="1042"/>
                    <a:pt x="10519" y="1088"/>
                    <a:pt x="10498" y="1093"/>
                  </a:cubicBezTo>
                  <a:cubicBezTo>
                    <a:pt x="10489" y="1057"/>
                    <a:pt x="10357" y="1154"/>
                    <a:pt x="10234" y="1272"/>
                  </a:cubicBezTo>
                  <a:cubicBezTo>
                    <a:pt x="10108" y="1369"/>
                    <a:pt x="9870" y="1652"/>
                    <a:pt x="9698" y="1864"/>
                  </a:cubicBezTo>
                  <a:cubicBezTo>
                    <a:pt x="9529" y="2088"/>
                    <a:pt x="9299" y="2338"/>
                    <a:pt x="9190" y="2428"/>
                  </a:cubicBezTo>
                  <a:cubicBezTo>
                    <a:pt x="9080" y="2518"/>
                    <a:pt x="8932" y="2565"/>
                    <a:pt x="8859" y="2565"/>
                  </a:cubicBezTo>
                  <a:cubicBezTo>
                    <a:pt x="8787" y="2544"/>
                    <a:pt x="8656" y="2618"/>
                    <a:pt x="8565" y="2705"/>
                  </a:cubicBezTo>
                  <a:cubicBezTo>
                    <a:pt x="8474" y="2789"/>
                    <a:pt x="8363" y="2836"/>
                    <a:pt x="8339" y="2758"/>
                  </a:cubicBezTo>
                  <a:cubicBezTo>
                    <a:pt x="8312" y="2685"/>
                    <a:pt x="8110" y="2909"/>
                    <a:pt x="7917" y="3261"/>
                  </a:cubicBezTo>
                  <a:cubicBezTo>
                    <a:pt x="7714" y="3589"/>
                    <a:pt x="7397" y="4100"/>
                    <a:pt x="7190" y="4338"/>
                  </a:cubicBezTo>
                  <a:cubicBezTo>
                    <a:pt x="6993" y="4603"/>
                    <a:pt x="6771" y="4919"/>
                    <a:pt x="6700" y="5061"/>
                  </a:cubicBezTo>
                  <a:cubicBezTo>
                    <a:pt x="6630" y="5206"/>
                    <a:pt x="6484" y="5435"/>
                    <a:pt x="6379" y="5582"/>
                  </a:cubicBezTo>
                  <a:cubicBezTo>
                    <a:pt x="6270" y="5727"/>
                    <a:pt x="6204" y="5751"/>
                    <a:pt x="6236" y="5650"/>
                  </a:cubicBezTo>
                  <a:cubicBezTo>
                    <a:pt x="6256" y="5535"/>
                    <a:pt x="6395" y="5282"/>
                    <a:pt x="6524" y="5073"/>
                  </a:cubicBezTo>
                  <a:cubicBezTo>
                    <a:pt x="6651" y="4855"/>
                    <a:pt x="6822" y="4623"/>
                    <a:pt x="6895" y="4526"/>
                  </a:cubicBezTo>
                  <a:cubicBezTo>
                    <a:pt x="6967" y="4422"/>
                    <a:pt x="7311" y="3930"/>
                    <a:pt x="7662" y="3430"/>
                  </a:cubicBezTo>
                  <a:cubicBezTo>
                    <a:pt x="8005" y="2912"/>
                    <a:pt x="8337" y="2413"/>
                    <a:pt x="8386" y="2294"/>
                  </a:cubicBezTo>
                  <a:cubicBezTo>
                    <a:pt x="8444" y="2190"/>
                    <a:pt x="8478" y="2000"/>
                    <a:pt x="8470" y="1896"/>
                  </a:cubicBezTo>
                  <a:cubicBezTo>
                    <a:pt x="8458" y="1795"/>
                    <a:pt x="8553" y="1426"/>
                    <a:pt x="8668" y="1083"/>
                  </a:cubicBezTo>
                  <a:cubicBezTo>
                    <a:pt x="8783" y="741"/>
                    <a:pt x="8920" y="402"/>
                    <a:pt x="8968" y="329"/>
                  </a:cubicBezTo>
                  <a:cubicBezTo>
                    <a:pt x="9009" y="237"/>
                    <a:pt x="9023" y="143"/>
                    <a:pt x="8980" y="87"/>
                  </a:cubicBezTo>
                  <a:cubicBezTo>
                    <a:pt x="8933" y="45"/>
                    <a:pt x="8843" y="88"/>
                    <a:pt x="8762" y="198"/>
                  </a:cubicBezTo>
                  <a:cubicBezTo>
                    <a:pt x="8687" y="322"/>
                    <a:pt x="8517" y="488"/>
                    <a:pt x="8394" y="595"/>
                  </a:cubicBezTo>
                  <a:cubicBezTo>
                    <a:pt x="8268" y="701"/>
                    <a:pt x="8137" y="751"/>
                    <a:pt x="8103" y="728"/>
                  </a:cubicBezTo>
                  <a:cubicBezTo>
                    <a:pt x="8069" y="697"/>
                    <a:pt x="8072" y="570"/>
                    <a:pt x="8115" y="439"/>
                  </a:cubicBezTo>
                  <a:cubicBezTo>
                    <a:pt x="8140" y="288"/>
                    <a:pt x="8211" y="134"/>
                    <a:pt x="8217" y="53"/>
                  </a:cubicBezTo>
                  <a:cubicBezTo>
                    <a:pt x="8235" y="-22"/>
                    <a:pt x="8108" y="-16"/>
                    <a:pt x="7942" y="60"/>
                  </a:cubicBezTo>
                  <a:cubicBezTo>
                    <a:pt x="7778" y="144"/>
                    <a:pt x="7605" y="144"/>
                    <a:pt x="7548" y="118"/>
                  </a:cubicBezTo>
                  <a:cubicBezTo>
                    <a:pt x="7499" y="58"/>
                    <a:pt x="7362" y="118"/>
                    <a:pt x="7246" y="205"/>
                  </a:cubicBezTo>
                  <a:cubicBezTo>
                    <a:pt x="7137" y="326"/>
                    <a:pt x="6954" y="399"/>
                    <a:pt x="6856" y="439"/>
                  </a:cubicBezTo>
                  <a:cubicBezTo>
                    <a:pt x="6756" y="452"/>
                    <a:pt x="6612" y="581"/>
                    <a:pt x="6539" y="700"/>
                  </a:cubicBezTo>
                  <a:cubicBezTo>
                    <a:pt x="6462" y="809"/>
                    <a:pt x="6222" y="1090"/>
                    <a:pt x="5999" y="1305"/>
                  </a:cubicBezTo>
                  <a:cubicBezTo>
                    <a:pt x="5775" y="1517"/>
                    <a:pt x="5554" y="1752"/>
                    <a:pt x="5516" y="1839"/>
                  </a:cubicBezTo>
                  <a:cubicBezTo>
                    <a:pt x="5477" y="1929"/>
                    <a:pt x="5387" y="2032"/>
                    <a:pt x="5325" y="2084"/>
                  </a:cubicBezTo>
                  <a:cubicBezTo>
                    <a:pt x="5263" y="2137"/>
                    <a:pt x="5135" y="2324"/>
                    <a:pt x="5046" y="2510"/>
                  </a:cubicBezTo>
                  <a:cubicBezTo>
                    <a:pt x="4955" y="2691"/>
                    <a:pt x="4906" y="2881"/>
                    <a:pt x="4930" y="2959"/>
                  </a:cubicBezTo>
                  <a:cubicBezTo>
                    <a:pt x="4956" y="3035"/>
                    <a:pt x="4987" y="3168"/>
                    <a:pt x="4987" y="3266"/>
                  </a:cubicBezTo>
                  <a:cubicBezTo>
                    <a:pt x="4994" y="3364"/>
                    <a:pt x="4926" y="3493"/>
                    <a:pt x="4849" y="3563"/>
                  </a:cubicBezTo>
                  <a:cubicBezTo>
                    <a:pt x="4770" y="3624"/>
                    <a:pt x="4663" y="3583"/>
                    <a:pt x="4619" y="3451"/>
                  </a:cubicBezTo>
                  <a:cubicBezTo>
                    <a:pt x="4575" y="3317"/>
                    <a:pt x="4465" y="3368"/>
                    <a:pt x="4387" y="3550"/>
                  </a:cubicBezTo>
                  <a:cubicBezTo>
                    <a:pt x="4307" y="3732"/>
                    <a:pt x="4234" y="3968"/>
                    <a:pt x="4223" y="4080"/>
                  </a:cubicBezTo>
                  <a:cubicBezTo>
                    <a:pt x="4212" y="4189"/>
                    <a:pt x="4282" y="4249"/>
                    <a:pt x="4377" y="4210"/>
                  </a:cubicBezTo>
                  <a:cubicBezTo>
                    <a:pt x="4472" y="4166"/>
                    <a:pt x="4570" y="4276"/>
                    <a:pt x="4591" y="4442"/>
                  </a:cubicBezTo>
                  <a:cubicBezTo>
                    <a:pt x="4617" y="4604"/>
                    <a:pt x="4717" y="4654"/>
                    <a:pt x="4824" y="4572"/>
                  </a:cubicBezTo>
                  <a:cubicBezTo>
                    <a:pt x="4929" y="4473"/>
                    <a:pt x="4941" y="4526"/>
                    <a:pt x="4844" y="4664"/>
                  </a:cubicBezTo>
                  <a:cubicBezTo>
                    <a:pt x="4748" y="4809"/>
                    <a:pt x="4589" y="4982"/>
                    <a:pt x="4496" y="5069"/>
                  </a:cubicBezTo>
                  <a:cubicBezTo>
                    <a:pt x="4400" y="5144"/>
                    <a:pt x="4271" y="5365"/>
                    <a:pt x="4192" y="5522"/>
                  </a:cubicBezTo>
                  <a:cubicBezTo>
                    <a:pt x="4121" y="5693"/>
                    <a:pt x="4120" y="5919"/>
                    <a:pt x="4172" y="6061"/>
                  </a:cubicBezTo>
                  <a:cubicBezTo>
                    <a:pt x="4236" y="6182"/>
                    <a:pt x="4362" y="6278"/>
                    <a:pt x="4454" y="6224"/>
                  </a:cubicBezTo>
                  <a:cubicBezTo>
                    <a:pt x="4548" y="6187"/>
                    <a:pt x="4588" y="6241"/>
                    <a:pt x="4553" y="6359"/>
                  </a:cubicBezTo>
                  <a:cubicBezTo>
                    <a:pt x="4517" y="6475"/>
                    <a:pt x="4466" y="6531"/>
                    <a:pt x="4441" y="6517"/>
                  </a:cubicBezTo>
                  <a:cubicBezTo>
                    <a:pt x="4416" y="6509"/>
                    <a:pt x="4257" y="6588"/>
                    <a:pt x="4078" y="6729"/>
                  </a:cubicBezTo>
                  <a:cubicBezTo>
                    <a:pt x="3901" y="6866"/>
                    <a:pt x="3732" y="7047"/>
                    <a:pt x="3710" y="7130"/>
                  </a:cubicBezTo>
                  <a:cubicBezTo>
                    <a:pt x="3671" y="7185"/>
                    <a:pt x="3593" y="7372"/>
                    <a:pt x="3510" y="7489"/>
                  </a:cubicBezTo>
                  <a:cubicBezTo>
                    <a:pt x="3425" y="7608"/>
                    <a:pt x="3296" y="7825"/>
                    <a:pt x="3225" y="7975"/>
                  </a:cubicBezTo>
                  <a:cubicBezTo>
                    <a:pt x="3160" y="8138"/>
                    <a:pt x="3237" y="8043"/>
                    <a:pt x="3428" y="7842"/>
                  </a:cubicBezTo>
                  <a:cubicBezTo>
                    <a:pt x="3608" y="7607"/>
                    <a:pt x="3802" y="7465"/>
                    <a:pt x="3852" y="7471"/>
                  </a:cubicBezTo>
                  <a:cubicBezTo>
                    <a:pt x="3894" y="7524"/>
                    <a:pt x="4120" y="7306"/>
                    <a:pt x="4335" y="7046"/>
                  </a:cubicBezTo>
                  <a:cubicBezTo>
                    <a:pt x="4554" y="6797"/>
                    <a:pt x="4722" y="6661"/>
                    <a:pt x="4701" y="6744"/>
                  </a:cubicBezTo>
                  <a:cubicBezTo>
                    <a:pt x="4696" y="6836"/>
                    <a:pt x="4769" y="6843"/>
                    <a:pt x="4885" y="6766"/>
                  </a:cubicBezTo>
                  <a:cubicBezTo>
                    <a:pt x="5001" y="6676"/>
                    <a:pt x="5091" y="6703"/>
                    <a:pt x="5069" y="6788"/>
                  </a:cubicBezTo>
                  <a:cubicBezTo>
                    <a:pt x="5053" y="6875"/>
                    <a:pt x="5126" y="6967"/>
                    <a:pt x="5228" y="7015"/>
                  </a:cubicBezTo>
                  <a:cubicBezTo>
                    <a:pt x="5334" y="7034"/>
                    <a:pt x="5467" y="7026"/>
                    <a:pt x="5530" y="6978"/>
                  </a:cubicBezTo>
                  <a:cubicBezTo>
                    <a:pt x="5592" y="6916"/>
                    <a:pt x="5679" y="6783"/>
                    <a:pt x="5719" y="6672"/>
                  </a:cubicBezTo>
                  <a:cubicBezTo>
                    <a:pt x="5765" y="6567"/>
                    <a:pt x="5817" y="6496"/>
                    <a:pt x="5846" y="6510"/>
                  </a:cubicBezTo>
                  <a:cubicBezTo>
                    <a:pt x="5862" y="6560"/>
                    <a:pt x="6012" y="6415"/>
                    <a:pt x="6150" y="6223"/>
                  </a:cubicBezTo>
                  <a:cubicBezTo>
                    <a:pt x="6291" y="6046"/>
                    <a:pt x="6466" y="5859"/>
                    <a:pt x="6541" y="5809"/>
                  </a:cubicBezTo>
                  <a:cubicBezTo>
                    <a:pt x="6615" y="5760"/>
                    <a:pt x="6664" y="5791"/>
                    <a:pt x="6664" y="5873"/>
                  </a:cubicBezTo>
                  <a:cubicBezTo>
                    <a:pt x="6664" y="5957"/>
                    <a:pt x="6572" y="6169"/>
                    <a:pt x="6481" y="6357"/>
                  </a:cubicBezTo>
                  <a:cubicBezTo>
                    <a:pt x="6388" y="6543"/>
                    <a:pt x="6234" y="6919"/>
                    <a:pt x="6148" y="7209"/>
                  </a:cubicBezTo>
                  <a:cubicBezTo>
                    <a:pt x="6053" y="7488"/>
                    <a:pt x="5897" y="7927"/>
                    <a:pt x="5784" y="8160"/>
                  </a:cubicBezTo>
                  <a:cubicBezTo>
                    <a:pt x="5677" y="8405"/>
                    <a:pt x="5546" y="8707"/>
                    <a:pt x="5504" y="8851"/>
                  </a:cubicBezTo>
                  <a:cubicBezTo>
                    <a:pt x="5458" y="8988"/>
                    <a:pt x="5444" y="9187"/>
                    <a:pt x="5476" y="9277"/>
                  </a:cubicBezTo>
                  <a:cubicBezTo>
                    <a:pt x="5506" y="9368"/>
                    <a:pt x="5447" y="9634"/>
                    <a:pt x="5347" y="9861"/>
                  </a:cubicBezTo>
                  <a:cubicBezTo>
                    <a:pt x="5251" y="10093"/>
                    <a:pt x="5144" y="10378"/>
                    <a:pt x="5103" y="10481"/>
                  </a:cubicBezTo>
                  <a:cubicBezTo>
                    <a:pt x="5068" y="10593"/>
                    <a:pt x="4951" y="10869"/>
                    <a:pt x="4846" y="11106"/>
                  </a:cubicBezTo>
                  <a:cubicBezTo>
                    <a:pt x="4740" y="11339"/>
                    <a:pt x="4477" y="11777"/>
                    <a:pt x="4260" y="12074"/>
                  </a:cubicBezTo>
                  <a:cubicBezTo>
                    <a:pt x="4048" y="12380"/>
                    <a:pt x="3737" y="12765"/>
                    <a:pt x="3575" y="12934"/>
                  </a:cubicBezTo>
                  <a:cubicBezTo>
                    <a:pt x="3407" y="13090"/>
                    <a:pt x="3227" y="13378"/>
                    <a:pt x="3162" y="13534"/>
                  </a:cubicBezTo>
                  <a:cubicBezTo>
                    <a:pt x="3102" y="13695"/>
                    <a:pt x="2886" y="14077"/>
                    <a:pt x="2698" y="14407"/>
                  </a:cubicBezTo>
                  <a:cubicBezTo>
                    <a:pt x="2504" y="14730"/>
                    <a:pt x="2329" y="15088"/>
                    <a:pt x="2295" y="15191"/>
                  </a:cubicBezTo>
                  <a:cubicBezTo>
                    <a:pt x="2263" y="15291"/>
                    <a:pt x="2134" y="15536"/>
                    <a:pt x="2000" y="15720"/>
                  </a:cubicBezTo>
                  <a:close/>
                  <a:moveTo>
                    <a:pt x="2000" y="157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4" name="AutoShape 1166"/>
            <p:cNvSpPr>
              <a:spLocks/>
            </p:cNvSpPr>
            <p:nvPr/>
          </p:nvSpPr>
          <p:spPr bwMode="auto">
            <a:xfrm>
              <a:off x="3644900" y="3213100"/>
              <a:ext cx="0" cy="3175"/>
            </a:xfrm>
            <a:custGeom>
              <a:avLst/>
              <a:gdLst/>
              <a:ahLst/>
              <a:cxnLst/>
              <a:rect l="0" t="0" r="r" b="b"/>
              <a:pathLst>
                <a:path w="17536" h="18076">
                  <a:moveTo>
                    <a:pt x="16769" y="3837"/>
                  </a:moveTo>
                  <a:cubicBezTo>
                    <a:pt x="19211" y="-2266"/>
                    <a:pt x="15772" y="-900"/>
                    <a:pt x="7145" y="6602"/>
                  </a:cubicBezTo>
                  <a:cubicBezTo>
                    <a:pt x="-109" y="14364"/>
                    <a:pt x="-2389" y="19334"/>
                    <a:pt x="2876" y="17798"/>
                  </a:cubicBezTo>
                  <a:cubicBezTo>
                    <a:pt x="8752" y="16801"/>
                    <a:pt x="13412" y="9900"/>
                    <a:pt x="16769" y="3837"/>
                  </a:cubicBezTo>
                  <a:close/>
                  <a:moveTo>
                    <a:pt x="16769" y="38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5" name="AutoShape 1167"/>
            <p:cNvSpPr>
              <a:spLocks/>
            </p:cNvSpPr>
            <p:nvPr/>
          </p:nvSpPr>
          <p:spPr bwMode="auto">
            <a:xfrm>
              <a:off x="4953000" y="1612900"/>
              <a:ext cx="7938" cy="4763"/>
            </a:xfrm>
            <a:custGeom>
              <a:avLst/>
              <a:gdLst/>
              <a:ahLst/>
              <a:cxnLst/>
              <a:rect l="0" t="0" r="r" b="b"/>
              <a:pathLst>
                <a:path w="21015" h="20785">
                  <a:moveTo>
                    <a:pt x="4285" y="19130"/>
                  </a:moveTo>
                  <a:cubicBezTo>
                    <a:pt x="6157" y="17654"/>
                    <a:pt x="9057" y="14964"/>
                    <a:pt x="10430" y="12693"/>
                  </a:cubicBezTo>
                  <a:cubicBezTo>
                    <a:pt x="11896" y="10581"/>
                    <a:pt x="15077" y="7295"/>
                    <a:pt x="17197" y="4956"/>
                  </a:cubicBezTo>
                  <a:cubicBezTo>
                    <a:pt x="19411" y="2753"/>
                    <a:pt x="21254" y="460"/>
                    <a:pt x="20989" y="86"/>
                  </a:cubicBezTo>
                  <a:cubicBezTo>
                    <a:pt x="21066" y="-420"/>
                    <a:pt x="17712" y="1367"/>
                    <a:pt x="14093" y="4229"/>
                  </a:cubicBezTo>
                  <a:cubicBezTo>
                    <a:pt x="10382" y="6852"/>
                    <a:pt x="5703" y="11637"/>
                    <a:pt x="3333" y="14152"/>
                  </a:cubicBezTo>
                  <a:cubicBezTo>
                    <a:pt x="1012" y="16774"/>
                    <a:pt x="-346" y="19595"/>
                    <a:pt x="76" y="20385"/>
                  </a:cubicBezTo>
                  <a:cubicBezTo>
                    <a:pt x="526" y="21180"/>
                    <a:pt x="2554" y="20805"/>
                    <a:pt x="4285" y="19130"/>
                  </a:cubicBezTo>
                  <a:close/>
                  <a:moveTo>
                    <a:pt x="4285" y="191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6" name="AutoShape 1168"/>
            <p:cNvSpPr>
              <a:spLocks/>
            </p:cNvSpPr>
            <p:nvPr/>
          </p:nvSpPr>
          <p:spPr bwMode="auto">
            <a:xfrm>
              <a:off x="4978400" y="1879600"/>
              <a:ext cx="3175" cy="3175"/>
            </a:xfrm>
            <a:custGeom>
              <a:avLst/>
              <a:gdLst/>
              <a:ahLst/>
              <a:cxnLst/>
              <a:rect l="0" t="0" r="r" b="b"/>
              <a:pathLst>
                <a:path w="19621" h="19117">
                  <a:moveTo>
                    <a:pt x="16797" y="5773"/>
                  </a:moveTo>
                  <a:cubicBezTo>
                    <a:pt x="20728" y="461"/>
                    <a:pt x="20664" y="-1304"/>
                    <a:pt x="15921" y="975"/>
                  </a:cubicBezTo>
                  <a:cubicBezTo>
                    <a:pt x="11395" y="3347"/>
                    <a:pt x="5150" y="9110"/>
                    <a:pt x="2062" y="13593"/>
                  </a:cubicBezTo>
                  <a:cubicBezTo>
                    <a:pt x="-872" y="18216"/>
                    <a:pt x="-720" y="20296"/>
                    <a:pt x="2809" y="18443"/>
                  </a:cubicBezTo>
                  <a:cubicBezTo>
                    <a:pt x="6434" y="16643"/>
                    <a:pt x="12080" y="10507"/>
                    <a:pt x="16797" y="5773"/>
                  </a:cubicBezTo>
                  <a:close/>
                  <a:moveTo>
                    <a:pt x="16797" y="57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7" name="AutoShape 1169"/>
            <p:cNvSpPr>
              <a:spLocks/>
            </p:cNvSpPr>
            <p:nvPr/>
          </p:nvSpPr>
          <p:spPr bwMode="auto">
            <a:xfrm>
              <a:off x="5067300" y="1739900"/>
              <a:ext cx="3175" cy="3175"/>
            </a:xfrm>
            <a:custGeom>
              <a:avLst/>
              <a:gdLst/>
              <a:ahLst/>
              <a:cxnLst/>
              <a:rect l="0" t="0" r="r" b="b"/>
              <a:pathLst>
                <a:path w="20161" h="19791">
                  <a:moveTo>
                    <a:pt x="5552" y="7218"/>
                  </a:moveTo>
                  <a:cubicBezTo>
                    <a:pt x="1579" y="10266"/>
                    <a:pt x="-1109" y="15553"/>
                    <a:pt x="449" y="17970"/>
                  </a:cubicBezTo>
                  <a:cubicBezTo>
                    <a:pt x="1127" y="20840"/>
                    <a:pt x="5552" y="19977"/>
                    <a:pt x="10371" y="17731"/>
                  </a:cubicBezTo>
                  <a:cubicBezTo>
                    <a:pt x="14598" y="14414"/>
                    <a:pt x="19557" y="9489"/>
                    <a:pt x="20068" y="5696"/>
                  </a:cubicBezTo>
                  <a:cubicBezTo>
                    <a:pt x="20491" y="1926"/>
                    <a:pt x="19469" y="-760"/>
                    <a:pt x="17061" y="194"/>
                  </a:cubicBezTo>
                  <a:cubicBezTo>
                    <a:pt x="14679" y="1210"/>
                    <a:pt x="9721" y="4465"/>
                    <a:pt x="5552" y="7218"/>
                  </a:cubicBezTo>
                  <a:close/>
                  <a:moveTo>
                    <a:pt x="5552" y="72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8" name="AutoShape 1170"/>
            <p:cNvSpPr>
              <a:spLocks/>
            </p:cNvSpPr>
            <p:nvPr/>
          </p:nvSpPr>
          <p:spPr bwMode="auto">
            <a:xfrm>
              <a:off x="4991100" y="1955800"/>
              <a:ext cx="3175" cy="4763"/>
            </a:xfrm>
            <a:custGeom>
              <a:avLst/>
              <a:gdLst/>
              <a:ahLst/>
              <a:cxnLst/>
              <a:rect l="0" t="0" r="r" b="b"/>
              <a:pathLst>
                <a:path w="20037" h="20305">
                  <a:moveTo>
                    <a:pt x="9294" y="18966"/>
                  </a:moveTo>
                  <a:cubicBezTo>
                    <a:pt x="12532" y="16782"/>
                    <a:pt x="17607" y="12169"/>
                    <a:pt x="18689" y="8117"/>
                  </a:cubicBezTo>
                  <a:cubicBezTo>
                    <a:pt x="20717" y="4299"/>
                    <a:pt x="20280" y="663"/>
                    <a:pt x="18556" y="142"/>
                  </a:cubicBezTo>
                  <a:cubicBezTo>
                    <a:pt x="17166" y="-748"/>
                    <a:pt x="11349" y="2684"/>
                    <a:pt x="6387" y="6777"/>
                  </a:cubicBezTo>
                  <a:cubicBezTo>
                    <a:pt x="1790" y="10986"/>
                    <a:pt x="-883" y="16033"/>
                    <a:pt x="266" y="18441"/>
                  </a:cubicBezTo>
                  <a:cubicBezTo>
                    <a:pt x="1416" y="20806"/>
                    <a:pt x="5709" y="20852"/>
                    <a:pt x="9294" y="18966"/>
                  </a:cubicBezTo>
                  <a:close/>
                  <a:moveTo>
                    <a:pt x="9294" y="1896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69" name="AutoShape 1171"/>
            <p:cNvSpPr>
              <a:spLocks/>
            </p:cNvSpPr>
            <p:nvPr/>
          </p:nvSpPr>
          <p:spPr bwMode="auto">
            <a:xfrm>
              <a:off x="5054600" y="1739900"/>
              <a:ext cx="3175" cy="4763"/>
            </a:xfrm>
            <a:custGeom>
              <a:avLst/>
              <a:gdLst/>
              <a:ahLst/>
              <a:cxnLst/>
              <a:rect l="0" t="0" r="r" b="b"/>
              <a:pathLst>
                <a:path w="19788" h="19522">
                  <a:moveTo>
                    <a:pt x="10689" y="3454"/>
                  </a:moveTo>
                  <a:cubicBezTo>
                    <a:pt x="7043" y="6354"/>
                    <a:pt x="2398" y="11889"/>
                    <a:pt x="576" y="15882"/>
                  </a:cubicBezTo>
                  <a:cubicBezTo>
                    <a:pt x="-1329" y="19838"/>
                    <a:pt x="1711" y="20867"/>
                    <a:pt x="6487" y="17481"/>
                  </a:cubicBezTo>
                  <a:cubicBezTo>
                    <a:pt x="11824" y="14560"/>
                    <a:pt x="17210" y="9804"/>
                    <a:pt x="18475" y="7198"/>
                  </a:cubicBezTo>
                  <a:cubicBezTo>
                    <a:pt x="19665" y="4544"/>
                    <a:pt x="20271" y="1645"/>
                    <a:pt x="19319" y="422"/>
                  </a:cubicBezTo>
                  <a:cubicBezTo>
                    <a:pt x="18211" y="-733"/>
                    <a:pt x="14333" y="551"/>
                    <a:pt x="10689" y="3454"/>
                  </a:cubicBezTo>
                  <a:close/>
                  <a:moveTo>
                    <a:pt x="10689" y="34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0" name="AutoShape 1172"/>
            <p:cNvSpPr>
              <a:spLocks/>
            </p:cNvSpPr>
            <p:nvPr/>
          </p:nvSpPr>
          <p:spPr bwMode="auto">
            <a:xfrm>
              <a:off x="4991100" y="1955800"/>
              <a:ext cx="3175" cy="7938"/>
            </a:xfrm>
            <a:custGeom>
              <a:avLst/>
              <a:gdLst/>
              <a:ahLst/>
              <a:cxnLst/>
              <a:rect l="0" t="0" r="r" b="b"/>
              <a:pathLst>
                <a:path w="20399" h="20076">
                  <a:moveTo>
                    <a:pt x="9610" y="4079"/>
                  </a:moveTo>
                  <a:cubicBezTo>
                    <a:pt x="4244" y="8222"/>
                    <a:pt x="550" y="13804"/>
                    <a:pt x="112" y="16205"/>
                  </a:cubicBezTo>
                  <a:cubicBezTo>
                    <a:pt x="-560" y="18652"/>
                    <a:pt x="1902" y="20379"/>
                    <a:pt x="4627" y="20031"/>
                  </a:cubicBezTo>
                  <a:cubicBezTo>
                    <a:pt x="7442" y="19807"/>
                    <a:pt x="12275" y="17797"/>
                    <a:pt x="15914" y="16042"/>
                  </a:cubicBezTo>
                  <a:cubicBezTo>
                    <a:pt x="19431" y="14148"/>
                    <a:pt x="21040" y="11462"/>
                    <a:pt x="20164" y="9888"/>
                  </a:cubicBezTo>
                  <a:cubicBezTo>
                    <a:pt x="18986" y="8372"/>
                    <a:pt x="17642" y="4650"/>
                    <a:pt x="18405" y="1721"/>
                  </a:cubicBezTo>
                  <a:cubicBezTo>
                    <a:pt x="18200" y="-1221"/>
                    <a:pt x="13860" y="-363"/>
                    <a:pt x="9610" y="4079"/>
                  </a:cubicBezTo>
                  <a:close/>
                  <a:moveTo>
                    <a:pt x="9610" y="407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1" name="AutoShape 1173"/>
            <p:cNvSpPr>
              <a:spLocks/>
            </p:cNvSpPr>
            <p:nvPr/>
          </p:nvSpPr>
          <p:spPr bwMode="auto">
            <a:xfrm>
              <a:off x="5194300" y="1854200"/>
              <a:ext cx="11113" cy="7938"/>
            </a:xfrm>
            <a:custGeom>
              <a:avLst/>
              <a:gdLst/>
              <a:ahLst/>
              <a:cxnLst/>
              <a:rect l="0" t="0" r="r" b="b"/>
              <a:pathLst>
                <a:path w="20907" h="20792">
                  <a:moveTo>
                    <a:pt x="8167" y="7163"/>
                  </a:moveTo>
                  <a:cubicBezTo>
                    <a:pt x="4678" y="9058"/>
                    <a:pt x="1227" y="12245"/>
                    <a:pt x="630" y="14504"/>
                  </a:cubicBezTo>
                  <a:cubicBezTo>
                    <a:pt x="-117" y="16672"/>
                    <a:pt x="-162" y="19266"/>
                    <a:pt x="296" y="20192"/>
                  </a:cubicBezTo>
                  <a:cubicBezTo>
                    <a:pt x="754" y="21087"/>
                    <a:pt x="2935" y="20935"/>
                    <a:pt x="5218" y="20040"/>
                  </a:cubicBezTo>
                  <a:cubicBezTo>
                    <a:pt x="7375" y="18676"/>
                    <a:pt x="12067" y="14687"/>
                    <a:pt x="15553" y="10637"/>
                  </a:cubicBezTo>
                  <a:cubicBezTo>
                    <a:pt x="18983" y="6436"/>
                    <a:pt x="21438" y="1991"/>
                    <a:pt x="20809" y="854"/>
                  </a:cubicBezTo>
                  <a:cubicBezTo>
                    <a:pt x="20555" y="-513"/>
                    <a:pt x="18663" y="-134"/>
                    <a:pt x="17160" y="1248"/>
                  </a:cubicBezTo>
                  <a:cubicBezTo>
                    <a:pt x="15680" y="2674"/>
                    <a:pt x="11665" y="5402"/>
                    <a:pt x="8167" y="7163"/>
                  </a:cubicBezTo>
                  <a:close/>
                  <a:moveTo>
                    <a:pt x="8167" y="71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2" name="AutoShape 1174"/>
            <p:cNvSpPr>
              <a:spLocks/>
            </p:cNvSpPr>
            <p:nvPr/>
          </p:nvSpPr>
          <p:spPr bwMode="auto">
            <a:xfrm>
              <a:off x="5156200" y="1790700"/>
              <a:ext cx="19050" cy="14288"/>
            </a:xfrm>
            <a:custGeom>
              <a:avLst/>
              <a:gdLst/>
              <a:ahLst/>
              <a:cxnLst/>
              <a:rect l="0" t="0" r="r" b="b"/>
              <a:pathLst>
                <a:path w="21114" h="21140">
                  <a:moveTo>
                    <a:pt x="278" y="21050"/>
                  </a:moveTo>
                  <a:cubicBezTo>
                    <a:pt x="592" y="21466"/>
                    <a:pt x="1789" y="20364"/>
                    <a:pt x="2627" y="19184"/>
                  </a:cubicBezTo>
                  <a:cubicBezTo>
                    <a:pt x="3543" y="18107"/>
                    <a:pt x="5218" y="16294"/>
                    <a:pt x="6446" y="15304"/>
                  </a:cubicBezTo>
                  <a:cubicBezTo>
                    <a:pt x="7735" y="14436"/>
                    <a:pt x="9221" y="13621"/>
                    <a:pt x="9809" y="13889"/>
                  </a:cubicBezTo>
                  <a:cubicBezTo>
                    <a:pt x="10372" y="14262"/>
                    <a:pt x="12230" y="13491"/>
                    <a:pt x="13825" y="12440"/>
                  </a:cubicBezTo>
                  <a:cubicBezTo>
                    <a:pt x="15461" y="11538"/>
                    <a:pt x="17868" y="9030"/>
                    <a:pt x="19360" y="7224"/>
                  </a:cubicBezTo>
                  <a:cubicBezTo>
                    <a:pt x="20740" y="5273"/>
                    <a:pt x="21499" y="3509"/>
                    <a:pt x="20916" y="3024"/>
                  </a:cubicBezTo>
                  <a:cubicBezTo>
                    <a:pt x="20249" y="2807"/>
                    <a:pt x="18883" y="2678"/>
                    <a:pt x="17678" y="3076"/>
                  </a:cubicBezTo>
                  <a:cubicBezTo>
                    <a:pt x="16527" y="3666"/>
                    <a:pt x="15670" y="3006"/>
                    <a:pt x="15624" y="1844"/>
                  </a:cubicBezTo>
                  <a:cubicBezTo>
                    <a:pt x="15722" y="698"/>
                    <a:pt x="14715" y="-118"/>
                    <a:pt x="13485" y="14"/>
                  </a:cubicBezTo>
                  <a:cubicBezTo>
                    <a:pt x="12262" y="-134"/>
                    <a:pt x="9763" y="1661"/>
                    <a:pt x="7860" y="3259"/>
                  </a:cubicBezTo>
                  <a:cubicBezTo>
                    <a:pt x="5937" y="4812"/>
                    <a:pt x="3321" y="7736"/>
                    <a:pt x="2044" y="9654"/>
                  </a:cubicBezTo>
                  <a:cubicBezTo>
                    <a:pt x="703" y="11547"/>
                    <a:pt x="49" y="13560"/>
                    <a:pt x="181" y="14367"/>
                  </a:cubicBezTo>
                  <a:cubicBezTo>
                    <a:pt x="533" y="15036"/>
                    <a:pt x="573" y="16866"/>
                    <a:pt x="122" y="18238"/>
                  </a:cubicBezTo>
                  <a:cubicBezTo>
                    <a:pt x="-29" y="19721"/>
                    <a:pt x="-101" y="20797"/>
                    <a:pt x="278" y="21050"/>
                  </a:cubicBezTo>
                  <a:close/>
                  <a:moveTo>
                    <a:pt x="278" y="210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3" name="AutoShape 1175"/>
            <p:cNvSpPr>
              <a:spLocks/>
            </p:cNvSpPr>
            <p:nvPr/>
          </p:nvSpPr>
          <p:spPr bwMode="auto">
            <a:xfrm>
              <a:off x="5181600" y="1930400"/>
              <a:ext cx="6350" cy="3175"/>
            </a:xfrm>
            <a:custGeom>
              <a:avLst/>
              <a:gdLst/>
              <a:ahLst/>
              <a:cxnLst/>
              <a:rect l="0" t="0" r="r" b="b"/>
              <a:pathLst>
                <a:path w="20081" h="19355">
                  <a:moveTo>
                    <a:pt x="2458" y="8432"/>
                  </a:moveTo>
                  <a:cubicBezTo>
                    <a:pt x="-1198" y="11681"/>
                    <a:pt x="-745" y="16314"/>
                    <a:pt x="3612" y="17967"/>
                  </a:cubicBezTo>
                  <a:cubicBezTo>
                    <a:pt x="7756" y="20473"/>
                    <a:pt x="13339" y="19288"/>
                    <a:pt x="15781" y="16783"/>
                  </a:cubicBezTo>
                  <a:cubicBezTo>
                    <a:pt x="18224" y="14080"/>
                    <a:pt x="20402" y="8956"/>
                    <a:pt x="20041" y="5288"/>
                  </a:cubicBezTo>
                  <a:cubicBezTo>
                    <a:pt x="20213" y="1570"/>
                    <a:pt x="17351" y="-1127"/>
                    <a:pt x="14514" y="469"/>
                  </a:cubicBezTo>
                  <a:cubicBezTo>
                    <a:pt x="11506" y="1293"/>
                    <a:pt x="6148" y="5182"/>
                    <a:pt x="2458" y="8432"/>
                  </a:cubicBezTo>
                  <a:close/>
                  <a:moveTo>
                    <a:pt x="2458" y="84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4" name="AutoShape 1176"/>
            <p:cNvSpPr>
              <a:spLocks/>
            </p:cNvSpPr>
            <p:nvPr/>
          </p:nvSpPr>
          <p:spPr bwMode="auto">
            <a:xfrm>
              <a:off x="5207000" y="1854200"/>
              <a:ext cx="6350" cy="3175"/>
            </a:xfrm>
            <a:custGeom>
              <a:avLst/>
              <a:gdLst/>
              <a:ahLst/>
              <a:cxnLst/>
              <a:rect l="0" t="0" r="r" b="b"/>
              <a:pathLst>
                <a:path w="20307" h="21166">
                  <a:moveTo>
                    <a:pt x="56" y="20210"/>
                  </a:moveTo>
                  <a:cubicBezTo>
                    <a:pt x="648" y="21428"/>
                    <a:pt x="3470" y="21600"/>
                    <a:pt x="6364" y="20038"/>
                  </a:cubicBezTo>
                  <a:cubicBezTo>
                    <a:pt x="9234" y="18471"/>
                    <a:pt x="14286" y="13365"/>
                    <a:pt x="17858" y="8787"/>
                  </a:cubicBezTo>
                  <a:cubicBezTo>
                    <a:pt x="21203" y="3918"/>
                    <a:pt x="21132" y="237"/>
                    <a:pt x="17579" y="0"/>
                  </a:cubicBezTo>
                  <a:cubicBezTo>
                    <a:pt x="14061" y="178"/>
                    <a:pt x="8400" y="3948"/>
                    <a:pt x="5090" y="8989"/>
                  </a:cubicBezTo>
                  <a:cubicBezTo>
                    <a:pt x="1953" y="14208"/>
                    <a:pt x="-397" y="18815"/>
                    <a:pt x="56" y="20210"/>
                  </a:cubicBezTo>
                  <a:close/>
                  <a:moveTo>
                    <a:pt x="56" y="2021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5" name="AutoShape 1177"/>
            <p:cNvSpPr>
              <a:spLocks/>
            </p:cNvSpPr>
            <p:nvPr/>
          </p:nvSpPr>
          <p:spPr bwMode="auto">
            <a:xfrm>
              <a:off x="4953000" y="1905000"/>
              <a:ext cx="19050" cy="14288"/>
            </a:xfrm>
            <a:custGeom>
              <a:avLst/>
              <a:gdLst/>
              <a:ahLst/>
              <a:cxnLst/>
              <a:rect l="0" t="0" r="r" b="b"/>
              <a:pathLst>
                <a:path w="21095" h="20914">
                  <a:moveTo>
                    <a:pt x="18918" y="218"/>
                  </a:moveTo>
                  <a:cubicBezTo>
                    <a:pt x="18319" y="708"/>
                    <a:pt x="16690" y="1997"/>
                    <a:pt x="15712" y="3665"/>
                  </a:cubicBezTo>
                  <a:cubicBezTo>
                    <a:pt x="14609" y="5188"/>
                    <a:pt x="12660" y="6756"/>
                    <a:pt x="11449" y="7379"/>
                  </a:cubicBezTo>
                  <a:cubicBezTo>
                    <a:pt x="10259" y="8002"/>
                    <a:pt x="8032" y="9982"/>
                    <a:pt x="6608" y="12020"/>
                  </a:cubicBezTo>
                  <a:cubicBezTo>
                    <a:pt x="5252" y="14152"/>
                    <a:pt x="2737" y="16982"/>
                    <a:pt x="1381" y="18752"/>
                  </a:cubicBezTo>
                  <a:cubicBezTo>
                    <a:pt x="-29" y="20418"/>
                    <a:pt x="-395" y="21414"/>
                    <a:pt x="449" y="20655"/>
                  </a:cubicBezTo>
                  <a:cubicBezTo>
                    <a:pt x="1421" y="20216"/>
                    <a:pt x="3136" y="19121"/>
                    <a:pt x="4347" y="18465"/>
                  </a:cubicBezTo>
                  <a:cubicBezTo>
                    <a:pt x="5550" y="17756"/>
                    <a:pt x="8044" y="15886"/>
                    <a:pt x="9833" y="14092"/>
                  </a:cubicBezTo>
                  <a:cubicBezTo>
                    <a:pt x="11583" y="12256"/>
                    <a:pt x="14589" y="9493"/>
                    <a:pt x="16544" y="8028"/>
                  </a:cubicBezTo>
                  <a:cubicBezTo>
                    <a:pt x="18459" y="6477"/>
                    <a:pt x="20361" y="4507"/>
                    <a:pt x="20760" y="3613"/>
                  </a:cubicBezTo>
                  <a:cubicBezTo>
                    <a:pt x="21205" y="2763"/>
                    <a:pt x="21200" y="1398"/>
                    <a:pt x="20787" y="758"/>
                  </a:cubicBezTo>
                  <a:cubicBezTo>
                    <a:pt x="20647" y="-43"/>
                    <a:pt x="19557" y="-186"/>
                    <a:pt x="18918" y="218"/>
                  </a:cubicBezTo>
                  <a:close/>
                  <a:moveTo>
                    <a:pt x="18918" y="2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6" name="AutoShape 1178"/>
            <p:cNvSpPr>
              <a:spLocks/>
            </p:cNvSpPr>
            <p:nvPr/>
          </p:nvSpPr>
          <p:spPr bwMode="auto">
            <a:xfrm>
              <a:off x="4889500" y="1968500"/>
              <a:ext cx="77788" cy="68263"/>
            </a:xfrm>
            <a:custGeom>
              <a:avLst/>
              <a:gdLst/>
              <a:ahLst/>
              <a:cxnLst/>
              <a:rect l="0" t="0" r="r" b="b"/>
              <a:pathLst>
                <a:path w="21538" h="21494">
                  <a:moveTo>
                    <a:pt x="1249" y="17699"/>
                  </a:moveTo>
                  <a:cubicBezTo>
                    <a:pt x="1017" y="18216"/>
                    <a:pt x="954" y="18746"/>
                    <a:pt x="978" y="18895"/>
                  </a:cubicBezTo>
                  <a:cubicBezTo>
                    <a:pt x="1068" y="19012"/>
                    <a:pt x="866" y="19614"/>
                    <a:pt x="538" y="20163"/>
                  </a:cubicBezTo>
                  <a:cubicBezTo>
                    <a:pt x="242" y="20735"/>
                    <a:pt x="-10" y="21289"/>
                    <a:pt x="0" y="21413"/>
                  </a:cubicBezTo>
                  <a:cubicBezTo>
                    <a:pt x="78" y="21501"/>
                    <a:pt x="252" y="21534"/>
                    <a:pt x="533" y="21421"/>
                  </a:cubicBezTo>
                  <a:cubicBezTo>
                    <a:pt x="796" y="21266"/>
                    <a:pt x="1291" y="21218"/>
                    <a:pt x="1601" y="21201"/>
                  </a:cubicBezTo>
                  <a:cubicBezTo>
                    <a:pt x="1907" y="21163"/>
                    <a:pt x="2708" y="20889"/>
                    <a:pt x="3383" y="20532"/>
                  </a:cubicBezTo>
                  <a:cubicBezTo>
                    <a:pt x="4070" y="20195"/>
                    <a:pt x="4781" y="19901"/>
                    <a:pt x="4971" y="20013"/>
                  </a:cubicBezTo>
                  <a:cubicBezTo>
                    <a:pt x="5181" y="20057"/>
                    <a:pt x="5800" y="19872"/>
                    <a:pt x="6339" y="19453"/>
                  </a:cubicBezTo>
                  <a:cubicBezTo>
                    <a:pt x="6917" y="19092"/>
                    <a:pt x="7626" y="18587"/>
                    <a:pt x="7973" y="18423"/>
                  </a:cubicBezTo>
                  <a:cubicBezTo>
                    <a:pt x="8304" y="18243"/>
                    <a:pt x="8738" y="17956"/>
                    <a:pt x="8913" y="17761"/>
                  </a:cubicBezTo>
                  <a:cubicBezTo>
                    <a:pt x="9097" y="17569"/>
                    <a:pt x="9752" y="16984"/>
                    <a:pt x="10407" y="16517"/>
                  </a:cubicBezTo>
                  <a:cubicBezTo>
                    <a:pt x="11049" y="16026"/>
                    <a:pt x="11898" y="15425"/>
                    <a:pt x="12301" y="15186"/>
                  </a:cubicBezTo>
                  <a:cubicBezTo>
                    <a:pt x="12706" y="14957"/>
                    <a:pt x="13264" y="14389"/>
                    <a:pt x="13578" y="13978"/>
                  </a:cubicBezTo>
                  <a:cubicBezTo>
                    <a:pt x="13866" y="13542"/>
                    <a:pt x="14847" y="12274"/>
                    <a:pt x="15752" y="11155"/>
                  </a:cubicBezTo>
                  <a:cubicBezTo>
                    <a:pt x="16631" y="10015"/>
                    <a:pt x="17518" y="8711"/>
                    <a:pt x="17695" y="8242"/>
                  </a:cubicBezTo>
                  <a:cubicBezTo>
                    <a:pt x="17864" y="7770"/>
                    <a:pt x="18309" y="6970"/>
                    <a:pt x="18648" y="6460"/>
                  </a:cubicBezTo>
                  <a:cubicBezTo>
                    <a:pt x="19013" y="5978"/>
                    <a:pt x="19672" y="5146"/>
                    <a:pt x="20177" y="4681"/>
                  </a:cubicBezTo>
                  <a:cubicBezTo>
                    <a:pt x="20658" y="4192"/>
                    <a:pt x="21204" y="3557"/>
                    <a:pt x="21318" y="3201"/>
                  </a:cubicBezTo>
                  <a:cubicBezTo>
                    <a:pt x="21481" y="2872"/>
                    <a:pt x="21590" y="2254"/>
                    <a:pt x="21513" y="1891"/>
                  </a:cubicBezTo>
                  <a:cubicBezTo>
                    <a:pt x="21503" y="1514"/>
                    <a:pt x="21297" y="1044"/>
                    <a:pt x="21119" y="800"/>
                  </a:cubicBezTo>
                  <a:cubicBezTo>
                    <a:pt x="20889" y="621"/>
                    <a:pt x="20565" y="491"/>
                    <a:pt x="20316" y="556"/>
                  </a:cubicBezTo>
                  <a:cubicBezTo>
                    <a:pt x="20073" y="648"/>
                    <a:pt x="19748" y="565"/>
                    <a:pt x="19660" y="340"/>
                  </a:cubicBezTo>
                  <a:cubicBezTo>
                    <a:pt x="19519" y="152"/>
                    <a:pt x="19097" y="-66"/>
                    <a:pt x="18677" y="18"/>
                  </a:cubicBezTo>
                  <a:cubicBezTo>
                    <a:pt x="18258" y="32"/>
                    <a:pt x="17500" y="403"/>
                    <a:pt x="16978" y="780"/>
                  </a:cubicBezTo>
                  <a:cubicBezTo>
                    <a:pt x="16468" y="1172"/>
                    <a:pt x="15866" y="1483"/>
                    <a:pt x="15653" y="1428"/>
                  </a:cubicBezTo>
                  <a:cubicBezTo>
                    <a:pt x="15437" y="1397"/>
                    <a:pt x="15056" y="1575"/>
                    <a:pt x="14820" y="1843"/>
                  </a:cubicBezTo>
                  <a:cubicBezTo>
                    <a:pt x="14583" y="2107"/>
                    <a:pt x="14219" y="2438"/>
                    <a:pt x="14000" y="2455"/>
                  </a:cubicBezTo>
                  <a:cubicBezTo>
                    <a:pt x="13804" y="2574"/>
                    <a:pt x="13201" y="2977"/>
                    <a:pt x="12660" y="3392"/>
                  </a:cubicBezTo>
                  <a:cubicBezTo>
                    <a:pt x="12129" y="3824"/>
                    <a:pt x="10910" y="5140"/>
                    <a:pt x="9959" y="6326"/>
                  </a:cubicBezTo>
                  <a:cubicBezTo>
                    <a:pt x="8986" y="7490"/>
                    <a:pt x="7883" y="8764"/>
                    <a:pt x="7468" y="9112"/>
                  </a:cubicBezTo>
                  <a:cubicBezTo>
                    <a:pt x="7053" y="9460"/>
                    <a:pt x="6396" y="10254"/>
                    <a:pt x="5973" y="10836"/>
                  </a:cubicBezTo>
                  <a:cubicBezTo>
                    <a:pt x="5587" y="11447"/>
                    <a:pt x="4597" y="12568"/>
                    <a:pt x="3827" y="13377"/>
                  </a:cubicBezTo>
                  <a:cubicBezTo>
                    <a:pt x="3046" y="14171"/>
                    <a:pt x="2266" y="15280"/>
                    <a:pt x="2033" y="15793"/>
                  </a:cubicBezTo>
                  <a:cubicBezTo>
                    <a:pt x="1791" y="16298"/>
                    <a:pt x="1449" y="17170"/>
                    <a:pt x="1249" y="17699"/>
                  </a:cubicBezTo>
                  <a:close/>
                  <a:moveTo>
                    <a:pt x="1249" y="176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7" name="AutoShape 1179"/>
            <p:cNvSpPr>
              <a:spLocks/>
            </p:cNvSpPr>
            <p:nvPr/>
          </p:nvSpPr>
          <p:spPr bwMode="auto">
            <a:xfrm>
              <a:off x="4876800" y="1930400"/>
              <a:ext cx="0" cy="0"/>
            </a:xfrm>
            <a:custGeom>
              <a:avLst/>
              <a:gdLst/>
              <a:ahLst/>
              <a:cxnLst/>
              <a:rect l="0" t="0" r="r" b="b"/>
              <a:pathLst>
                <a:path w="16917" h="17703">
                  <a:moveTo>
                    <a:pt x="14800" y="10313"/>
                  </a:moveTo>
                  <a:cubicBezTo>
                    <a:pt x="19078" y="2844"/>
                    <a:pt x="16694" y="-1200"/>
                    <a:pt x="9255" y="315"/>
                  </a:cubicBezTo>
                  <a:cubicBezTo>
                    <a:pt x="2532" y="4360"/>
                    <a:pt x="-2522" y="9315"/>
                    <a:pt x="1340" y="13929"/>
                  </a:cubicBezTo>
                  <a:cubicBezTo>
                    <a:pt x="2247" y="20400"/>
                    <a:pt x="10877" y="18128"/>
                    <a:pt x="14800" y="10313"/>
                  </a:cubicBezTo>
                  <a:close/>
                  <a:moveTo>
                    <a:pt x="14800" y="103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8" name="AutoShape 1180"/>
            <p:cNvSpPr>
              <a:spLocks/>
            </p:cNvSpPr>
            <p:nvPr/>
          </p:nvSpPr>
          <p:spPr bwMode="auto">
            <a:xfrm>
              <a:off x="4965700" y="1981200"/>
              <a:ext cx="26988" cy="19050"/>
            </a:xfrm>
            <a:custGeom>
              <a:avLst/>
              <a:gdLst/>
              <a:ahLst/>
              <a:cxnLst/>
              <a:rect l="0" t="0" r="r" b="b"/>
              <a:pathLst>
                <a:path w="21102" h="21304">
                  <a:moveTo>
                    <a:pt x="3578" y="6987"/>
                  </a:moveTo>
                  <a:cubicBezTo>
                    <a:pt x="2777" y="7382"/>
                    <a:pt x="1796" y="8125"/>
                    <a:pt x="1406" y="8766"/>
                  </a:cubicBezTo>
                  <a:cubicBezTo>
                    <a:pt x="1039" y="9450"/>
                    <a:pt x="773" y="10977"/>
                    <a:pt x="647" y="12193"/>
                  </a:cubicBezTo>
                  <a:cubicBezTo>
                    <a:pt x="609" y="13421"/>
                    <a:pt x="391" y="15879"/>
                    <a:pt x="135" y="17651"/>
                  </a:cubicBezTo>
                  <a:cubicBezTo>
                    <a:pt x="-135" y="19423"/>
                    <a:pt x="19" y="21052"/>
                    <a:pt x="435" y="21272"/>
                  </a:cubicBezTo>
                  <a:cubicBezTo>
                    <a:pt x="865" y="21402"/>
                    <a:pt x="1855" y="21142"/>
                    <a:pt x="2651" y="20451"/>
                  </a:cubicBezTo>
                  <a:cubicBezTo>
                    <a:pt x="3424" y="19726"/>
                    <a:pt x="4989" y="19274"/>
                    <a:pt x="6056" y="19042"/>
                  </a:cubicBezTo>
                  <a:cubicBezTo>
                    <a:pt x="7138" y="19139"/>
                    <a:pt x="8490" y="18731"/>
                    <a:pt x="8987" y="19009"/>
                  </a:cubicBezTo>
                  <a:cubicBezTo>
                    <a:pt x="9518" y="19139"/>
                    <a:pt x="10919" y="18654"/>
                    <a:pt x="12034" y="17883"/>
                  </a:cubicBezTo>
                  <a:cubicBezTo>
                    <a:pt x="13125" y="17088"/>
                    <a:pt x="14956" y="16422"/>
                    <a:pt x="16013" y="16519"/>
                  </a:cubicBezTo>
                  <a:cubicBezTo>
                    <a:pt x="17080" y="16344"/>
                    <a:pt x="18562" y="15491"/>
                    <a:pt x="19249" y="14300"/>
                  </a:cubicBezTo>
                  <a:cubicBezTo>
                    <a:pt x="19996" y="13163"/>
                    <a:pt x="20450" y="11592"/>
                    <a:pt x="20282" y="10899"/>
                  </a:cubicBezTo>
                  <a:cubicBezTo>
                    <a:pt x="20282" y="10168"/>
                    <a:pt x="20460" y="8326"/>
                    <a:pt x="20909" y="6689"/>
                  </a:cubicBezTo>
                  <a:cubicBezTo>
                    <a:pt x="21465" y="5125"/>
                    <a:pt x="20765" y="4057"/>
                    <a:pt x="19495" y="4575"/>
                  </a:cubicBezTo>
                  <a:cubicBezTo>
                    <a:pt x="18234" y="5008"/>
                    <a:pt x="17123" y="4568"/>
                    <a:pt x="16699" y="3844"/>
                  </a:cubicBezTo>
                  <a:cubicBezTo>
                    <a:pt x="16423" y="3010"/>
                    <a:pt x="15390" y="2498"/>
                    <a:pt x="14433" y="2855"/>
                  </a:cubicBezTo>
                  <a:cubicBezTo>
                    <a:pt x="13453" y="3171"/>
                    <a:pt x="12165" y="3714"/>
                    <a:pt x="11691" y="4297"/>
                  </a:cubicBezTo>
                  <a:cubicBezTo>
                    <a:pt x="11126" y="4697"/>
                    <a:pt x="10870" y="4542"/>
                    <a:pt x="11083" y="3754"/>
                  </a:cubicBezTo>
                  <a:cubicBezTo>
                    <a:pt x="11222" y="2951"/>
                    <a:pt x="11604" y="1691"/>
                    <a:pt x="11720" y="876"/>
                  </a:cubicBezTo>
                  <a:cubicBezTo>
                    <a:pt x="11927" y="93"/>
                    <a:pt x="11609" y="-198"/>
                    <a:pt x="11063" y="138"/>
                  </a:cubicBezTo>
                  <a:cubicBezTo>
                    <a:pt x="10537" y="546"/>
                    <a:pt x="9562" y="1814"/>
                    <a:pt x="8798" y="2880"/>
                  </a:cubicBezTo>
                  <a:cubicBezTo>
                    <a:pt x="8079" y="4006"/>
                    <a:pt x="6977" y="5351"/>
                    <a:pt x="6264" y="5655"/>
                  </a:cubicBezTo>
                  <a:cubicBezTo>
                    <a:pt x="5684" y="6256"/>
                    <a:pt x="4404" y="6696"/>
                    <a:pt x="3578" y="6987"/>
                  </a:cubicBezTo>
                  <a:close/>
                  <a:moveTo>
                    <a:pt x="3578" y="69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79" name="AutoShape 1181"/>
            <p:cNvSpPr>
              <a:spLocks/>
            </p:cNvSpPr>
            <p:nvPr/>
          </p:nvSpPr>
          <p:spPr bwMode="auto">
            <a:xfrm>
              <a:off x="4965700" y="1917700"/>
              <a:ext cx="17463" cy="15875"/>
            </a:xfrm>
            <a:custGeom>
              <a:avLst/>
              <a:gdLst/>
              <a:ahLst/>
              <a:cxnLst/>
              <a:rect l="0" t="0" r="r" b="b"/>
              <a:pathLst>
                <a:path w="20930" h="21082">
                  <a:moveTo>
                    <a:pt x="187" y="17374"/>
                  </a:moveTo>
                  <a:cubicBezTo>
                    <a:pt x="-418" y="19649"/>
                    <a:pt x="523" y="21244"/>
                    <a:pt x="1952" y="21069"/>
                  </a:cubicBezTo>
                  <a:cubicBezTo>
                    <a:pt x="3323" y="20572"/>
                    <a:pt x="5977" y="19054"/>
                    <a:pt x="7654" y="17183"/>
                  </a:cubicBezTo>
                  <a:cubicBezTo>
                    <a:pt x="9369" y="15337"/>
                    <a:pt x="11856" y="13534"/>
                    <a:pt x="13007" y="12840"/>
                  </a:cubicBezTo>
                  <a:cubicBezTo>
                    <a:pt x="14231" y="12337"/>
                    <a:pt x="16406" y="10505"/>
                    <a:pt x="17725" y="8726"/>
                  </a:cubicBezTo>
                  <a:cubicBezTo>
                    <a:pt x="19177" y="7108"/>
                    <a:pt x="20439" y="4108"/>
                    <a:pt x="20889" y="2345"/>
                  </a:cubicBezTo>
                  <a:cubicBezTo>
                    <a:pt x="21182" y="537"/>
                    <a:pt x="19884" y="-356"/>
                    <a:pt x="17798" y="132"/>
                  </a:cubicBezTo>
                  <a:cubicBezTo>
                    <a:pt x="15749" y="759"/>
                    <a:pt x="13226" y="1262"/>
                    <a:pt x="12263" y="1498"/>
                  </a:cubicBezTo>
                  <a:cubicBezTo>
                    <a:pt x="11301" y="1712"/>
                    <a:pt x="9230" y="3696"/>
                    <a:pt x="7487" y="5811"/>
                  </a:cubicBezTo>
                  <a:cubicBezTo>
                    <a:pt x="5802" y="8008"/>
                    <a:pt x="3592" y="10481"/>
                    <a:pt x="2724" y="11498"/>
                  </a:cubicBezTo>
                  <a:cubicBezTo>
                    <a:pt x="1704" y="12337"/>
                    <a:pt x="478" y="15038"/>
                    <a:pt x="187" y="17374"/>
                  </a:cubicBezTo>
                  <a:close/>
                  <a:moveTo>
                    <a:pt x="187" y="173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0" name="AutoShape 1182"/>
            <p:cNvSpPr>
              <a:spLocks/>
            </p:cNvSpPr>
            <p:nvPr/>
          </p:nvSpPr>
          <p:spPr bwMode="auto">
            <a:xfrm>
              <a:off x="4978400" y="1943100"/>
              <a:ext cx="11113" cy="20638"/>
            </a:xfrm>
            <a:custGeom>
              <a:avLst/>
              <a:gdLst/>
              <a:ahLst/>
              <a:cxnLst/>
              <a:rect l="0" t="0" r="r" b="b"/>
              <a:pathLst>
                <a:path w="20791" h="21029">
                  <a:moveTo>
                    <a:pt x="3982" y="20509"/>
                  </a:moveTo>
                  <a:cubicBezTo>
                    <a:pt x="5700" y="19691"/>
                    <a:pt x="8346" y="18665"/>
                    <a:pt x="9772" y="18144"/>
                  </a:cubicBezTo>
                  <a:cubicBezTo>
                    <a:pt x="11154" y="17603"/>
                    <a:pt x="13271" y="15596"/>
                    <a:pt x="13864" y="13551"/>
                  </a:cubicBezTo>
                  <a:cubicBezTo>
                    <a:pt x="14512" y="11514"/>
                    <a:pt x="16898" y="8230"/>
                    <a:pt x="18617" y="6168"/>
                  </a:cubicBezTo>
                  <a:cubicBezTo>
                    <a:pt x="20366" y="4098"/>
                    <a:pt x="21262" y="1752"/>
                    <a:pt x="20539" y="896"/>
                  </a:cubicBezTo>
                  <a:cubicBezTo>
                    <a:pt x="19512" y="154"/>
                    <a:pt x="17872" y="-299"/>
                    <a:pt x="16306" y="229"/>
                  </a:cubicBezTo>
                  <a:cubicBezTo>
                    <a:pt x="14653" y="652"/>
                    <a:pt x="12643" y="2179"/>
                    <a:pt x="11575" y="3438"/>
                  </a:cubicBezTo>
                  <a:cubicBezTo>
                    <a:pt x="10593" y="4708"/>
                    <a:pt x="7914" y="7205"/>
                    <a:pt x="5450" y="8917"/>
                  </a:cubicBezTo>
                  <a:cubicBezTo>
                    <a:pt x="3150" y="10684"/>
                    <a:pt x="733" y="13111"/>
                    <a:pt x="343" y="14389"/>
                  </a:cubicBezTo>
                  <a:cubicBezTo>
                    <a:pt x="29" y="15678"/>
                    <a:pt x="-338" y="17319"/>
                    <a:pt x="591" y="17590"/>
                  </a:cubicBezTo>
                  <a:cubicBezTo>
                    <a:pt x="1294" y="18037"/>
                    <a:pt x="1486" y="19263"/>
                    <a:pt x="1239" y="20225"/>
                  </a:cubicBezTo>
                  <a:cubicBezTo>
                    <a:pt x="947" y="21175"/>
                    <a:pt x="2221" y="21301"/>
                    <a:pt x="3982" y="20509"/>
                  </a:cubicBezTo>
                  <a:close/>
                  <a:moveTo>
                    <a:pt x="3982" y="205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1" name="AutoShape 1183"/>
            <p:cNvSpPr>
              <a:spLocks/>
            </p:cNvSpPr>
            <p:nvPr/>
          </p:nvSpPr>
          <p:spPr bwMode="auto">
            <a:xfrm>
              <a:off x="4889500" y="1981200"/>
              <a:ext cx="7938" cy="9525"/>
            </a:xfrm>
            <a:custGeom>
              <a:avLst/>
              <a:gdLst/>
              <a:ahLst/>
              <a:cxnLst/>
              <a:rect l="0" t="0" r="r" b="b"/>
              <a:pathLst>
                <a:path w="21048" h="20338">
                  <a:moveTo>
                    <a:pt x="17202" y="280"/>
                  </a:moveTo>
                  <a:cubicBezTo>
                    <a:pt x="14344" y="1123"/>
                    <a:pt x="11086" y="1810"/>
                    <a:pt x="10557" y="1214"/>
                  </a:cubicBezTo>
                  <a:cubicBezTo>
                    <a:pt x="9767" y="993"/>
                    <a:pt x="6966" y="2858"/>
                    <a:pt x="4730" y="5733"/>
                  </a:cubicBezTo>
                  <a:cubicBezTo>
                    <a:pt x="2096" y="8298"/>
                    <a:pt x="0" y="13258"/>
                    <a:pt x="0" y="16339"/>
                  </a:cubicBezTo>
                  <a:cubicBezTo>
                    <a:pt x="417" y="19408"/>
                    <a:pt x="861" y="21079"/>
                    <a:pt x="2304" y="20018"/>
                  </a:cubicBezTo>
                  <a:cubicBezTo>
                    <a:pt x="3676" y="18841"/>
                    <a:pt x="6244" y="16509"/>
                    <a:pt x="7005" y="14308"/>
                  </a:cubicBezTo>
                  <a:cubicBezTo>
                    <a:pt x="8242" y="12300"/>
                    <a:pt x="11404" y="9592"/>
                    <a:pt x="14179" y="8245"/>
                  </a:cubicBezTo>
                  <a:cubicBezTo>
                    <a:pt x="17049" y="7017"/>
                    <a:pt x="19853" y="4232"/>
                    <a:pt x="20864" y="2404"/>
                  </a:cubicBezTo>
                  <a:cubicBezTo>
                    <a:pt x="21600" y="463"/>
                    <a:pt x="20075" y="-521"/>
                    <a:pt x="17202" y="280"/>
                  </a:cubicBezTo>
                  <a:close/>
                  <a:moveTo>
                    <a:pt x="17202" y="2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2" name="AutoShape 1184"/>
            <p:cNvSpPr>
              <a:spLocks/>
            </p:cNvSpPr>
            <p:nvPr/>
          </p:nvSpPr>
          <p:spPr bwMode="auto">
            <a:xfrm>
              <a:off x="4813300" y="2476500"/>
              <a:ext cx="3175" cy="9525"/>
            </a:xfrm>
            <a:custGeom>
              <a:avLst/>
              <a:gdLst/>
              <a:ahLst/>
              <a:cxnLst/>
              <a:rect l="0" t="0" r="r" b="b"/>
              <a:pathLst>
                <a:path w="20753" h="20346">
                  <a:moveTo>
                    <a:pt x="10886" y="1408"/>
                  </a:moveTo>
                  <a:cubicBezTo>
                    <a:pt x="6890" y="3565"/>
                    <a:pt x="3040" y="7626"/>
                    <a:pt x="3040" y="10464"/>
                  </a:cubicBezTo>
                  <a:cubicBezTo>
                    <a:pt x="2229" y="13286"/>
                    <a:pt x="2019" y="16936"/>
                    <a:pt x="0" y="18415"/>
                  </a:cubicBezTo>
                  <a:cubicBezTo>
                    <a:pt x="0" y="20039"/>
                    <a:pt x="353" y="20791"/>
                    <a:pt x="3749" y="20076"/>
                  </a:cubicBezTo>
                  <a:cubicBezTo>
                    <a:pt x="7491" y="19748"/>
                    <a:pt x="13080" y="16330"/>
                    <a:pt x="16157" y="13045"/>
                  </a:cubicBezTo>
                  <a:cubicBezTo>
                    <a:pt x="19970" y="9868"/>
                    <a:pt x="21600" y="4973"/>
                    <a:pt x="20325" y="2329"/>
                  </a:cubicBezTo>
                  <a:cubicBezTo>
                    <a:pt x="19298" y="-337"/>
                    <a:pt x="14635" y="-809"/>
                    <a:pt x="10886" y="1408"/>
                  </a:cubicBezTo>
                  <a:close/>
                  <a:moveTo>
                    <a:pt x="10886" y="14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3" name="AutoShape 1185"/>
            <p:cNvSpPr>
              <a:spLocks/>
            </p:cNvSpPr>
            <p:nvPr/>
          </p:nvSpPr>
          <p:spPr bwMode="auto">
            <a:xfrm>
              <a:off x="5156200" y="1917700"/>
              <a:ext cx="4763" cy="1588"/>
            </a:xfrm>
            <a:custGeom>
              <a:avLst/>
              <a:gdLst/>
              <a:ahLst/>
              <a:cxnLst/>
              <a:rect l="0" t="0" r="r" b="b"/>
              <a:pathLst>
                <a:path w="18885" h="18713">
                  <a:moveTo>
                    <a:pt x="1897" y="17008"/>
                  </a:moveTo>
                  <a:cubicBezTo>
                    <a:pt x="5079" y="20775"/>
                    <a:pt x="11000" y="17734"/>
                    <a:pt x="14961" y="13403"/>
                  </a:cubicBezTo>
                  <a:cubicBezTo>
                    <a:pt x="18733" y="8462"/>
                    <a:pt x="20124" y="1318"/>
                    <a:pt x="17627" y="465"/>
                  </a:cubicBezTo>
                  <a:cubicBezTo>
                    <a:pt x="15149" y="-825"/>
                    <a:pt x="9464" y="639"/>
                    <a:pt x="4562" y="4014"/>
                  </a:cubicBezTo>
                  <a:cubicBezTo>
                    <a:pt x="-205" y="8404"/>
                    <a:pt x="-1476" y="14417"/>
                    <a:pt x="1897" y="17008"/>
                  </a:cubicBezTo>
                  <a:close/>
                  <a:moveTo>
                    <a:pt x="1897" y="170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4" name="AutoShape 1186"/>
            <p:cNvSpPr>
              <a:spLocks/>
            </p:cNvSpPr>
            <p:nvPr/>
          </p:nvSpPr>
          <p:spPr bwMode="auto">
            <a:xfrm>
              <a:off x="4711700" y="2133600"/>
              <a:ext cx="4763" cy="3175"/>
            </a:xfrm>
            <a:custGeom>
              <a:avLst/>
              <a:gdLst/>
              <a:ahLst/>
              <a:cxnLst/>
              <a:rect l="0" t="0" r="r" b="b"/>
              <a:pathLst>
                <a:path w="19905" h="20528">
                  <a:moveTo>
                    <a:pt x="12762" y="20436"/>
                  </a:moveTo>
                  <a:cubicBezTo>
                    <a:pt x="15356" y="20163"/>
                    <a:pt x="18408" y="16117"/>
                    <a:pt x="19324" y="12424"/>
                  </a:cubicBezTo>
                  <a:cubicBezTo>
                    <a:pt x="20755" y="9247"/>
                    <a:pt x="19347" y="4492"/>
                    <a:pt x="17205" y="2369"/>
                  </a:cubicBezTo>
                  <a:cubicBezTo>
                    <a:pt x="14881" y="952"/>
                    <a:pt x="11143" y="-809"/>
                    <a:pt x="8843" y="406"/>
                  </a:cubicBezTo>
                  <a:cubicBezTo>
                    <a:pt x="6607" y="2055"/>
                    <a:pt x="2916" y="4251"/>
                    <a:pt x="1026" y="7163"/>
                  </a:cubicBezTo>
                  <a:cubicBezTo>
                    <a:pt x="-845" y="10068"/>
                    <a:pt x="-112" y="14661"/>
                    <a:pt x="2846" y="17098"/>
                  </a:cubicBezTo>
                  <a:cubicBezTo>
                    <a:pt x="5562" y="20203"/>
                    <a:pt x="10140" y="20791"/>
                    <a:pt x="12762" y="20436"/>
                  </a:cubicBezTo>
                  <a:close/>
                  <a:moveTo>
                    <a:pt x="12762" y="2043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5" name="AutoShape 1187"/>
            <p:cNvSpPr>
              <a:spLocks/>
            </p:cNvSpPr>
            <p:nvPr/>
          </p:nvSpPr>
          <p:spPr bwMode="auto">
            <a:xfrm>
              <a:off x="4813300" y="2476500"/>
              <a:ext cx="0" cy="1588"/>
            </a:xfrm>
            <a:custGeom>
              <a:avLst/>
              <a:gdLst/>
              <a:ahLst/>
              <a:cxnLst/>
              <a:rect l="0" t="0" r="r" b="b"/>
              <a:pathLst>
                <a:path w="18532" h="17195">
                  <a:moveTo>
                    <a:pt x="3356" y="9475"/>
                  </a:moveTo>
                  <a:cubicBezTo>
                    <a:pt x="-2100" y="17121"/>
                    <a:pt x="-882" y="19575"/>
                    <a:pt x="6861" y="14619"/>
                  </a:cubicBezTo>
                  <a:cubicBezTo>
                    <a:pt x="15175" y="10057"/>
                    <a:pt x="19500" y="3946"/>
                    <a:pt x="18349" y="1009"/>
                  </a:cubicBezTo>
                  <a:cubicBezTo>
                    <a:pt x="17294" y="-2025"/>
                    <a:pt x="10035" y="2065"/>
                    <a:pt x="3356" y="9475"/>
                  </a:cubicBezTo>
                  <a:close/>
                  <a:moveTo>
                    <a:pt x="3356" y="947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6" name="AutoShape 1188"/>
            <p:cNvSpPr>
              <a:spLocks/>
            </p:cNvSpPr>
            <p:nvPr/>
          </p:nvSpPr>
          <p:spPr bwMode="auto">
            <a:xfrm>
              <a:off x="4699000" y="2324100"/>
              <a:ext cx="4763" cy="1588"/>
            </a:xfrm>
            <a:custGeom>
              <a:avLst/>
              <a:gdLst/>
              <a:ahLst/>
              <a:cxnLst/>
              <a:rect l="0" t="0" r="r" b="b"/>
              <a:pathLst>
                <a:path w="20135" h="20187">
                  <a:moveTo>
                    <a:pt x="13100" y="37"/>
                  </a:moveTo>
                  <a:cubicBezTo>
                    <a:pt x="8162" y="1848"/>
                    <a:pt x="2831" y="4090"/>
                    <a:pt x="1505" y="6545"/>
                  </a:cubicBezTo>
                  <a:cubicBezTo>
                    <a:pt x="302" y="9433"/>
                    <a:pt x="-414" y="13619"/>
                    <a:pt x="260" y="16982"/>
                  </a:cubicBezTo>
                  <a:cubicBezTo>
                    <a:pt x="770" y="20347"/>
                    <a:pt x="5077" y="21293"/>
                    <a:pt x="9446" y="18705"/>
                  </a:cubicBezTo>
                  <a:cubicBezTo>
                    <a:pt x="13631" y="15217"/>
                    <a:pt x="18552" y="10854"/>
                    <a:pt x="19798" y="6244"/>
                  </a:cubicBezTo>
                  <a:cubicBezTo>
                    <a:pt x="21186" y="1759"/>
                    <a:pt x="18163" y="-307"/>
                    <a:pt x="13100" y="37"/>
                  </a:cubicBezTo>
                  <a:close/>
                  <a:moveTo>
                    <a:pt x="13100" y="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7" name="AutoShape 1189"/>
            <p:cNvSpPr>
              <a:spLocks/>
            </p:cNvSpPr>
            <p:nvPr/>
          </p:nvSpPr>
          <p:spPr bwMode="auto">
            <a:xfrm>
              <a:off x="4813300" y="2476500"/>
              <a:ext cx="0" cy="1588"/>
            </a:xfrm>
            <a:custGeom>
              <a:avLst/>
              <a:gdLst/>
              <a:ahLst/>
              <a:cxnLst/>
              <a:rect l="0" t="0" r="r" b="b"/>
              <a:pathLst>
                <a:path w="18136" h="18592">
                  <a:moveTo>
                    <a:pt x="7626" y="6501"/>
                  </a:moveTo>
                  <a:cubicBezTo>
                    <a:pt x="-444" y="14232"/>
                    <a:pt x="-2465" y="19404"/>
                    <a:pt x="3282" y="18486"/>
                  </a:cubicBezTo>
                  <a:cubicBezTo>
                    <a:pt x="9185" y="18486"/>
                    <a:pt x="15093" y="10980"/>
                    <a:pt x="17896" y="4486"/>
                  </a:cubicBezTo>
                  <a:cubicBezTo>
                    <a:pt x="19135" y="-2196"/>
                    <a:pt x="15569" y="-1324"/>
                    <a:pt x="7626" y="6501"/>
                  </a:cubicBezTo>
                  <a:close/>
                  <a:moveTo>
                    <a:pt x="7626" y="65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8" name="AutoShape 1190"/>
            <p:cNvSpPr>
              <a:spLocks/>
            </p:cNvSpPr>
            <p:nvPr/>
          </p:nvSpPr>
          <p:spPr bwMode="auto">
            <a:xfrm>
              <a:off x="3644900" y="1841500"/>
              <a:ext cx="1443038" cy="1644650"/>
            </a:xfrm>
            <a:custGeom>
              <a:avLst/>
              <a:gdLst/>
              <a:ahLst/>
              <a:cxnLst/>
              <a:rect l="0" t="0" r="r" b="b"/>
              <a:pathLst>
                <a:path w="21592" h="21568">
                  <a:moveTo>
                    <a:pt x="1755" y="13068"/>
                  </a:moveTo>
                  <a:cubicBezTo>
                    <a:pt x="1772" y="13049"/>
                    <a:pt x="1793" y="13019"/>
                    <a:pt x="1806" y="13004"/>
                  </a:cubicBezTo>
                  <a:cubicBezTo>
                    <a:pt x="1819" y="12988"/>
                    <a:pt x="1840" y="12958"/>
                    <a:pt x="1854" y="12939"/>
                  </a:cubicBezTo>
                  <a:cubicBezTo>
                    <a:pt x="1868" y="12919"/>
                    <a:pt x="1901" y="12865"/>
                    <a:pt x="1928" y="12819"/>
                  </a:cubicBezTo>
                  <a:cubicBezTo>
                    <a:pt x="1956" y="12774"/>
                    <a:pt x="1992" y="12714"/>
                    <a:pt x="2008" y="12686"/>
                  </a:cubicBezTo>
                  <a:cubicBezTo>
                    <a:pt x="2025" y="12659"/>
                    <a:pt x="2054" y="12617"/>
                    <a:pt x="2071" y="12594"/>
                  </a:cubicBezTo>
                  <a:cubicBezTo>
                    <a:pt x="2088" y="12571"/>
                    <a:pt x="2107" y="12546"/>
                    <a:pt x="2111" y="12539"/>
                  </a:cubicBezTo>
                  <a:cubicBezTo>
                    <a:pt x="2116" y="12531"/>
                    <a:pt x="2133" y="12507"/>
                    <a:pt x="2150" y="12487"/>
                  </a:cubicBezTo>
                  <a:cubicBezTo>
                    <a:pt x="2168" y="12466"/>
                    <a:pt x="2189" y="12436"/>
                    <a:pt x="2201" y="12424"/>
                  </a:cubicBezTo>
                  <a:cubicBezTo>
                    <a:pt x="2214" y="12411"/>
                    <a:pt x="2225" y="12405"/>
                    <a:pt x="2224" y="12411"/>
                  </a:cubicBezTo>
                  <a:cubicBezTo>
                    <a:pt x="2227" y="12417"/>
                    <a:pt x="2218" y="12435"/>
                    <a:pt x="2210" y="12451"/>
                  </a:cubicBezTo>
                  <a:cubicBezTo>
                    <a:pt x="2202" y="12466"/>
                    <a:pt x="2192" y="12489"/>
                    <a:pt x="2188" y="12500"/>
                  </a:cubicBezTo>
                  <a:cubicBezTo>
                    <a:pt x="2185" y="12511"/>
                    <a:pt x="2166" y="12544"/>
                    <a:pt x="2149" y="12572"/>
                  </a:cubicBezTo>
                  <a:cubicBezTo>
                    <a:pt x="2133" y="12601"/>
                    <a:pt x="2111" y="12634"/>
                    <a:pt x="2105" y="12648"/>
                  </a:cubicBezTo>
                  <a:cubicBezTo>
                    <a:pt x="2097" y="12661"/>
                    <a:pt x="2079" y="12707"/>
                    <a:pt x="2061" y="12749"/>
                  </a:cubicBezTo>
                  <a:cubicBezTo>
                    <a:pt x="2045" y="12791"/>
                    <a:pt x="2024" y="12839"/>
                    <a:pt x="2014" y="12856"/>
                  </a:cubicBezTo>
                  <a:cubicBezTo>
                    <a:pt x="2005" y="12872"/>
                    <a:pt x="1987" y="12910"/>
                    <a:pt x="1974" y="12940"/>
                  </a:cubicBezTo>
                  <a:cubicBezTo>
                    <a:pt x="1962" y="12969"/>
                    <a:pt x="1948" y="13004"/>
                    <a:pt x="1947" y="13018"/>
                  </a:cubicBezTo>
                  <a:cubicBezTo>
                    <a:pt x="1944" y="13032"/>
                    <a:pt x="1930" y="13067"/>
                    <a:pt x="1917" y="13098"/>
                  </a:cubicBezTo>
                  <a:cubicBezTo>
                    <a:pt x="1903" y="13128"/>
                    <a:pt x="1889" y="13161"/>
                    <a:pt x="1887" y="13172"/>
                  </a:cubicBezTo>
                  <a:cubicBezTo>
                    <a:pt x="1886" y="13183"/>
                    <a:pt x="1874" y="13203"/>
                    <a:pt x="1869" y="13218"/>
                  </a:cubicBezTo>
                  <a:cubicBezTo>
                    <a:pt x="1862" y="13233"/>
                    <a:pt x="1849" y="13261"/>
                    <a:pt x="1837" y="13281"/>
                  </a:cubicBezTo>
                  <a:cubicBezTo>
                    <a:pt x="1826" y="13301"/>
                    <a:pt x="1811" y="13330"/>
                    <a:pt x="1805" y="13345"/>
                  </a:cubicBezTo>
                  <a:cubicBezTo>
                    <a:pt x="1798" y="13360"/>
                    <a:pt x="1788" y="13383"/>
                    <a:pt x="1784" y="13396"/>
                  </a:cubicBezTo>
                  <a:cubicBezTo>
                    <a:pt x="1777" y="13409"/>
                    <a:pt x="1754" y="13465"/>
                    <a:pt x="1727" y="13518"/>
                  </a:cubicBezTo>
                  <a:cubicBezTo>
                    <a:pt x="1700" y="13571"/>
                    <a:pt x="1656" y="13667"/>
                    <a:pt x="1627" y="13731"/>
                  </a:cubicBezTo>
                  <a:cubicBezTo>
                    <a:pt x="1598" y="13794"/>
                    <a:pt x="1552" y="13899"/>
                    <a:pt x="1523" y="13963"/>
                  </a:cubicBezTo>
                  <a:cubicBezTo>
                    <a:pt x="1497" y="14028"/>
                    <a:pt x="1462" y="14093"/>
                    <a:pt x="1454" y="14109"/>
                  </a:cubicBezTo>
                  <a:cubicBezTo>
                    <a:pt x="1443" y="14125"/>
                    <a:pt x="1431" y="14147"/>
                    <a:pt x="1427" y="14157"/>
                  </a:cubicBezTo>
                  <a:cubicBezTo>
                    <a:pt x="1424" y="14168"/>
                    <a:pt x="1420" y="14173"/>
                    <a:pt x="1425" y="14170"/>
                  </a:cubicBezTo>
                  <a:cubicBezTo>
                    <a:pt x="1428" y="14166"/>
                    <a:pt x="1432" y="14166"/>
                    <a:pt x="1433" y="14169"/>
                  </a:cubicBezTo>
                  <a:cubicBezTo>
                    <a:pt x="1436" y="14171"/>
                    <a:pt x="1436" y="14181"/>
                    <a:pt x="1431" y="14187"/>
                  </a:cubicBezTo>
                  <a:cubicBezTo>
                    <a:pt x="1429" y="14194"/>
                    <a:pt x="1423" y="14203"/>
                    <a:pt x="1420" y="14208"/>
                  </a:cubicBezTo>
                  <a:cubicBezTo>
                    <a:pt x="1416" y="14212"/>
                    <a:pt x="1406" y="14227"/>
                    <a:pt x="1399" y="14240"/>
                  </a:cubicBezTo>
                  <a:cubicBezTo>
                    <a:pt x="1390" y="14252"/>
                    <a:pt x="1379" y="14270"/>
                    <a:pt x="1379" y="14279"/>
                  </a:cubicBezTo>
                  <a:cubicBezTo>
                    <a:pt x="1375" y="14288"/>
                    <a:pt x="1374" y="14299"/>
                    <a:pt x="1374" y="14304"/>
                  </a:cubicBezTo>
                  <a:cubicBezTo>
                    <a:pt x="1374" y="14308"/>
                    <a:pt x="1369" y="14322"/>
                    <a:pt x="1365" y="14334"/>
                  </a:cubicBezTo>
                  <a:cubicBezTo>
                    <a:pt x="1360" y="14346"/>
                    <a:pt x="1351" y="14365"/>
                    <a:pt x="1345" y="14377"/>
                  </a:cubicBezTo>
                  <a:cubicBezTo>
                    <a:pt x="1338" y="14388"/>
                    <a:pt x="1331" y="14402"/>
                    <a:pt x="1329" y="14409"/>
                  </a:cubicBezTo>
                  <a:cubicBezTo>
                    <a:pt x="1326" y="14415"/>
                    <a:pt x="1329" y="14416"/>
                    <a:pt x="1334" y="14410"/>
                  </a:cubicBezTo>
                  <a:cubicBezTo>
                    <a:pt x="1340" y="14404"/>
                    <a:pt x="1348" y="14400"/>
                    <a:pt x="1350" y="14401"/>
                  </a:cubicBezTo>
                  <a:cubicBezTo>
                    <a:pt x="1353" y="14401"/>
                    <a:pt x="1352" y="14414"/>
                    <a:pt x="1349" y="14431"/>
                  </a:cubicBezTo>
                  <a:cubicBezTo>
                    <a:pt x="1348" y="14448"/>
                    <a:pt x="1340" y="14470"/>
                    <a:pt x="1337" y="14481"/>
                  </a:cubicBezTo>
                  <a:cubicBezTo>
                    <a:pt x="1333" y="14492"/>
                    <a:pt x="1327" y="14507"/>
                    <a:pt x="1332" y="14509"/>
                  </a:cubicBezTo>
                  <a:cubicBezTo>
                    <a:pt x="1332" y="14513"/>
                    <a:pt x="1337" y="14522"/>
                    <a:pt x="1337" y="14529"/>
                  </a:cubicBezTo>
                  <a:cubicBezTo>
                    <a:pt x="1340" y="14534"/>
                    <a:pt x="1337" y="14552"/>
                    <a:pt x="1333" y="14566"/>
                  </a:cubicBezTo>
                  <a:cubicBezTo>
                    <a:pt x="1328" y="14581"/>
                    <a:pt x="1318" y="14607"/>
                    <a:pt x="1313" y="14626"/>
                  </a:cubicBezTo>
                  <a:cubicBezTo>
                    <a:pt x="1304" y="14643"/>
                    <a:pt x="1301" y="14660"/>
                    <a:pt x="1303" y="14660"/>
                  </a:cubicBezTo>
                  <a:cubicBezTo>
                    <a:pt x="1305" y="14660"/>
                    <a:pt x="1305" y="14670"/>
                    <a:pt x="1301" y="14678"/>
                  </a:cubicBezTo>
                  <a:cubicBezTo>
                    <a:pt x="1299" y="14687"/>
                    <a:pt x="1294" y="14701"/>
                    <a:pt x="1288" y="14710"/>
                  </a:cubicBezTo>
                  <a:cubicBezTo>
                    <a:pt x="1283" y="14718"/>
                    <a:pt x="1277" y="14733"/>
                    <a:pt x="1273" y="14741"/>
                  </a:cubicBezTo>
                  <a:cubicBezTo>
                    <a:pt x="1272" y="14750"/>
                    <a:pt x="1265" y="14762"/>
                    <a:pt x="1260" y="14766"/>
                  </a:cubicBezTo>
                  <a:cubicBezTo>
                    <a:pt x="1257" y="14772"/>
                    <a:pt x="1248" y="14788"/>
                    <a:pt x="1243" y="14802"/>
                  </a:cubicBezTo>
                  <a:cubicBezTo>
                    <a:pt x="1237" y="14817"/>
                    <a:pt x="1229" y="14833"/>
                    <a:pt x="1227" y="14840"/>
                  </a:cubicBezTo>
                  <a:cubicBezTo>
                    <a:pt x="1222" y="14845"/>
                    <a:pt x="1222" y="14851"/>
                    <a:pt x="1223" y="14852"/>
                  </a:cubicBezTo>
                  <a:cubicBezTo>
                    <a:pt x="1225" y="14852"/>
                    <a:pt x="1215" y="14872"/>
                    <a:pt x="1204" y="14896"/>
                  </a:cubicBezTo>
                  <a:cubicBezTo>
                    <a:pt x="1192" y="14919"/>
                    <a:pt x="1159" y="14983"/>
                    <a:pt x="1131" y="15037"/>
                  </a:cubicBezTo>
                  <a:cubicBezTo>
                    <a:pt x="1102" y="15091"/>
                    <a:pt x="1070" y="15162"/>
                    <a:pt x="1055" y="15193"/>
                  </a:cubicBezTo>
                  <a:cubicBezTo>
                    <a:pt x="1041" y="15225"/>
                    <a:pt x="1016" y="15279"/>
                    <a:pt x="997" y="15311"/>
                  </a:cubicBezTo>
                  <a:cubicBezTo>
                    <a:pt x="979" y="15345"/>
                    <a:pt x="958" y="15383"/>
                    <a:pt x="953" y="15396"/>
                  </a:cubicBezTo>
                  <a:cubicBezTo>
                    <a:pt x="949" y="15410"/>
                    <a:pt x="944" y="15419"/>
                    <a:pt x="947" y="15417"/>
                  </a:cubicBezTo>
                  <a:cubicBezTo>
                    <a:pt x="948" y="15414"/>
                    <a:pt x="973" y="15376"/>
                    <a:pt x="998" y="15330"/>
                  </a:cubicBezTo>
                  <a:cubicBezTo>
                    <a:pt x="1024" y="15283"/>
                    <a:pt x="1053" y="15228"/>
                    <a:pt x="1063" y="15207"/>
                  </a:cubicBezTo>
                  <a:cubicBezTo>
                    <a:pt x="1073" y="15185"/>
                    <a:pt x="1094" y="15145"/>
                    <a:pt x="1111" y="15118"/>
                  </a:cubicBezTo>
                  <a:cubicBezTo>
                    <a:pt x="1126" y="15091"/>
                    <a:pt x="1138" y="15076"/>
                    <a:pt x="1136" y="15084"/>
                  </a:cubicBezTo>
                  <a:cubicBezTo>
                    <a:pt x="1133" y="15092"/>
                    <a:pt x="1135" y="15098"/>
                    <a:pt x="1138" y="15096"/>
                  </a:cubicBezTo>
                  <a:cubicBezTo>
                    <a:pt x="1141" y="15093"/>
                    <a:pt x="1141" y="15100"/>
                    <a:pt x="1137" y="15110"/>
                  </a:cubicBezTo>
                  <a:cubicBezTo>
                    <a:pt x="1132" y="15119"/>
                    <a:pt x="1119" y="15149"/>
                    <a:pt x="1100" y="15171"/>
                  </a:cubicBezTo>
                  <a:cubicBezTo>
                    <a:pt x="1086" y="15196"/>
                    <a:pt x="1063" y="15231"/>
                    <a:pt x="1052" y="15251"/>
                  </a:cubicBezTo>
                  <a:cubicBezTo>
                    <a:pt x="1042" y="15271"/>
                    <a:pt x="1013" y="15318"/>
                    <a:pt x="993" y="15357"/>
                  </a:cubicBezTo>
                  <a:cubicBezTo>
                    <a:pt x="972" y="15395"/>
                    <a:pt x="951" y="15430"/>
                    <a:pt x="951" y="15436"/>
                  </a:cubicBezTo>
                  <a:cubicBezTo>
                    <a:pt x="948" y="15441"/>
                    <a:pt x="951" y="15443"/>
                    <a:pt x="956" y="15440"/>
                  </a:cubicBezTo>
                  <a:cubicBezTo>
                    <a:pt x="959" y="15437"/>
                    <a:pt x="958" y="15445"/>
                    <a:pt x="950" y="15457"/>
                  </a:cubicBezTo>
                  <a:cubicBezTo>
                    <a:pt x="943" y="15470"/>
                    <a:pt x="932" y="15484"/>
                    <a:pt x="925" y="15487"/>
                  </a:cubicBezTo>
                  <a:cubicBezTo>
                    <a:pt x="917" y="15489"/>
                    <a:pt x="906" y="15500"/>
                    <a:pt x="900" y="15509"/>
                  </a:cubicBezTo>
                  <a:cubicBezTo>
                    <a:pt x="893" y="15518"/>
                    <a:pt x="877" y="15548"/>
                    <a:pt x="863" y="15577"/>
                  </a:cubicBezTo>
                  <a:cubicBezTo>
                    <a:pt x="849" y="15605"/>
                    <a:pt x="827" y="15645"/>
                    <a:pt x="815" y="15667"/>
                  </a:cubicBezTo>
                  <a:cubicBezTo>
                    <a:pt x="801" y="15688"/>
                    <a:pt x="786" y="15720"/>
                    <a:pt x="781" y="15739"/>
                  </a:cubicBezTo>
                  <a:cubicBezTo>
                    <a:pt x="775" y="15757"/>
                    <a:pt x="767" y="15770"/>
                    <a:pt x="765" y="15771"/>
                  </a:cubicBezTo>
                  <a:cubicBezTo>
                    <a:pt x="763" y="15771"/>
                    <a:pt x="763" y="15766"/>
                    <a:pt x="761" y="15761"/>
                  </a:cubicBezTo>
                  <a:cubicBezTo>
                    <a:pt x="759" y="15756"/>
                    <a:pt x="756" y="15764"/>
                    <a:pt x="746" y="15776"/>
                  </a:cubicBezTo>
                  <a:cubicBezTo>
                    <a:pt x="738" y="15790"/>
                    <a:pt x="723" y="15823"/>
                    <a:pt x="712" y="15849"/>
                  </a:cubicBezTo>
                  <a:cubicBezTo>
                    <a:pt x="703" y="15875"/>
                    <a:pt x="697" y="15893"/>
                    <a:pt x="703" y="15890"/>
                  </a:cubicBezTo>
                  <a:cubicBezTo>
                    <a:pt x="709" y="15887"/>
                    <a:pt x="710" y="15893"/>
                    <a:pt x="705" y="15904"/>
                  </a:cubicBezTo>
                  <a:cubicBezTo>
                    <a:pt x="702" y="15915"/>
                    <a:pt x="685" y="15951"/>
                    <a:pt x="672" y="15985"/>
                  </a:cubicBezTo>
                  <a:cubicBezTo>
                    <a:pt x="658" y="16018"/>
                    <a:pt x="629" y="16085"/>
                    <a:pt x="609" y="16136"/>
                  </a:cubicBezTo>
                  <a:cubicBezTo>
                    <a:pt x="589" y="16186"/>
                    <a:pt x="568" y="16248"/>
                    <a:pt x="559" y="16273"/>
                  </a:cubicBezTo>
                  <a:cubicBezTo>
                    <a:pt x="552" y="16299"/>
                    <a:pt x="541" y="16338"/>
                    <a:pt x="535" y="16361"/>
                  </a:cubicBezTo>
                  <a:cubicBezTo>
                    <a:pt x="529" y="16384"/>
                    <a:pt x="528" y="16400"/>
                    <a:pt x="530" y="16401"/>
                  </a:cubicBezTo>
                  <a:cubicBezTo>
                    <a:pt x="533" y="16400"/>
                    <a:pt x="542" y="16387"/>
                    <a:pt x="548" y="16372"/>
                  </a:cubicBezTo>
                  <a:cubicBezTo>
                    <a:pt x="555" y="16356"/>
                    <a:pt x="569" y="16327"/>
                    <a:pt x="580" y="16307"/>
                  </a:cubicBezTo>
                  <a:cubicBezTo>
                    <a:pt x="593" y="16287"/>
                    <a:pt x="612" y="16255"/>
                    <a:pt x="626" y="16236"/>
                  </a:cubicBezTo>
                  <a:cubicBezTo>
                    <a:pt x="640" y="16218"/>
                    <a:pt x="661" y="16189"/>
                    <a:pt x="671" y="16171"/>
                  </a:cubicBezTo>
                  <a:cubicBezTo>
                    <a:pt x="684" y="16155"/>
                    <a:pt x="702" y="16118"/>
                    <a:pt x="716" y="16092"/>
                  </a:cubicBezTo>
                  <a:cubicBezTo>
                    <a:pt x="731" y="16065"/>
                    <a:pt x="746" y="16040"/>
                    <a:pt x="749" y="16035"/>
                  </a:cubicBezTo>
                  <a:cubicBezTo>
                    <a:pt x="752" y="16030"/>
                    <a:pt x="751" y="16043"/>
                    <a:pt x="743" y="16062"/>
                  </a:cubicBezTo>
                  <a:cubicBezTo>
                    <a:pt x="737" y="16082"/>
                    <a:pt x="721" y="16114"/>
                    <a:pt x="712" y="16135"/>
                  </a:cubicBezTo>
                  <a:cubicBezTo>
                    <a:pt x="702" y="16155"/>
                    <a:pt x="689" y="16178"/>
                    <a:pt x="684" y="16186"/>
                  </a:cubicBezTo>
                  <a:cubicBezTo>
                    <a:pt x="679" y="16193"/>
                    <a:pt x="664" y="16219"/>
                    <a:pt x="653" y="16242"/>
                  </a:cubicBezTo>
                  <a:cubicBezTo>
                    <a:pt x="642" y="16265"/>
                    <a:pt x="627" y="16291"/>
                    <a:pt x="626" y="16300"/>
                  </a:cubicBezTo>
                  <a:cubicBezTo>
                    <a:pt x="621" y="16308"/>
                    <a:pt x="622" y="16322"/>
                    <a:pt x="622" y="16329"/>
                  </a:cubicBezTo>
                  <a:cubicBezTo>
                    <a:pt x="623" y="16337"/>
                    <a:pt x="622" y="16350"/>
                    <a:pt x="624" y="16360"/>
                  </a:cubicBezTo>
                  <a:cubicBezTo>
                    <a:pt x="622" y="16369"/>
                    <a:pt x="630" y="16373"/>
                    <a:pt x="636" y="16367"/>
                  </a:cubicBezTo>
                  <a:cubicBezTo>
                    <a:pt x="643" y="16361"/>
                    <a:pt x="652" y="16354"/>
                    <a:pt x="655" y="16356"/>
                  </a:cubicBezTo>
                  <a:cubicBezTo>
                    <a:pt x="659" y="16356"/>
                    <a:pt x="660" y="16362"/>
                    <a:pt x="660" y="16370"/>
                  </a:cubicBezTo>
                  <a:cubicBezTo>
                    <a:pt x="659" y="16379"/>
                    <a:pt x="656" y="16380"/>
                    <a:pt x="651" y="16379"/>
                  </a:cubicBezTo>
                  <a:cubicBezTo>
                    <a:pt x="648" y="16374"/>
                    <a:pt x="635" y="16379"/>
                    <a:pt x="626" y="16388"/>
                  </a:cubicBezTo>
                  <a:cubicBezTo>
                    <a:pt x="616" y="16396"/>
                    <a:pt x="604" y="16404"/>
                    <a:pt x="603" y="16401"/>
                  </a:cubicBezTo>
                  <a:cubicBezTo>
                    <a:pt x="599" y="16399"/>
                    <a:pt x="590" y="16402"/>
                    <a:pt x="581" y="16407"/>
                  </a:cubicBezTo>
                  <a:cubicBezTo>
                    <a:pt x="573" y="16413"/>
                    <a:pt x="559" y="16430"/>
                    <a:pt x="552" y="16447"/>
                  </a:cubicBezTo>
                  <a:cubicBezTo>
                    <a:pt x="544" y="16463"/>
                    <a:pt x="535" y="16489"/>
                    <a:pt x="529" y="16503"/>
                  </a:cubicBezTo>
                  <a:cubicBezTo>
                    <a:pt x="523" y="16518"/>
                    <a:pt x="519" y="16539"/>
                    <a:pt x="517" y="16549"/>
                  </a:cubicBezTo>
                  <a:cubicBezTo>
                    <a:pt x="515" y="16559"/>
                    <a:pt x="501" y="16600"/>
                    <a:pt x="489" y="16640"/>
                  </a:cubicBezTo>
                  <a:cubicBezTo>
                    <a:pt x="475" y="16679"/>
                    <a:pt x="459" y="16722"/>
                    <a:pt x="458" y="16736"/>
                  </a:cubicBezTo>
                  <a:cubicBezTo>
                    <a:pt x="455" y="16749"/>
                    <a:pt x="458" y="16758"/>
                    <a:pt x="458" y="16754"/>
                  </a:cubicBezTo>
                  <a:cubicBezTo>
                    <a:pt x="462" y="16752"/>
                    <a:pt x="473" y="16739"/>
                    <a:pt x="480" y="16725"/>
                  </a:cubicBezTo>
                  <a:cubicBezTo>
                    <a:pt x="489" y="16712"/>
                    <a:pt x="496" y="16705"/>
                    <a:pt x="496" y="16710"/>
                  </a:cubicBezTo>
                  <a:cubicBezTo>
                    <a:pt x="495" y="16715"/>
                    <a:pt x="491" y="16729"/>
                    <a:pt x="485" y="16740"/>
                  </a:cubicBezTo>
                  <a:cubicBezTo>
                    <a:pt x="478" y="16751"/>
                    <a:pt x="469" y="16768"/>
                    <a:pt x="466" y="16777"/>
                  </a:cubicBezTo>
                  <a:cubicBezTo>
                    <a:pt x="462" y="16786"/>
                    <a:pt x="462" y="16797"/>
                    <a:pt x="460" y="16802"/>
                  </a:cubicBezTo>
                  <a:cubicBezTo>
                    <a:pt x="461" y="16807"/>
                    <a:pt x="458" y="16818"/>
                    <a:pt x="456" y="16828"/>
                  </a:cubicBezTo>
                  <a:cubicBezTo>
                    <a:pt x="453" y="16837"/>
                    <a:pt x="444" y="16853"/>
                    <a:pt x="440" y="16863"/>
                  </a:cubicBezTo>
                  <a:cubicBezTo>
                    <a:pt x="432" y="16871"/>
                    <a:pt x="427" y="16882"/>
                    <a:pt x="422" y="16884"/>
                  </a:cubicBezTo>
                  <a:cubicBezTo>
                    <a:pt x="417" y="16887"/>
                    <a:pt x="406" y="16899"/>
                    <a:pt x="397" y="16912"/>
                  </a:cubicBezTo>
                  <a:cubicBezTo>
                    <a:pt x="388" y="16925"/>
                    <a:pt x="371" y="16955"/>
                    <a:pt x="355" y="16978"/>
                  </a:cubicBezTo>
                  <a:cubicBezTo>
                    <a:pt x="341" y="17002"/>
                    <a:pt x="325" y="17030"/>
                    <a:pt x="320" y="17040"/>
                  </a:cubicBezTo>
                  <a:cubicBezTo>
                    <a:pt x="316" y="17051"/>
                    <a:pt x="310" y="17065"/>
                    <a:pt x="312" y="17070"/>
                  </a:cubicBezTo>
                  <a:cubicBezTo>
                    <a:pt x="310" y="17076"/>
                    <a:pt x="323" y="17066"/>
                    <a:pt x="337" y="17048"/>
                  </a:cubicBezTo>
                  <a:cubicBezTo>
                    <a:pt x="349" y="17029"/>
                    <a:pt x="365" y="17011"/>
                    <a:pt x="369" y="17012"/>
                  </a:cubicBezTo>
                  <a:cubicBezTo>
                    <a:pt x="373" y="17011"/>
                    <a:pt x="368" y="17017"/>
                    <a:pt x="363" y="17027"/>
                  </a:cubicBezTo>
                  <a:cubicBezTo>
                    <a:pt x="355" y="17035"/>
                    <a:pt x="347" y="17052"/>
                    <a:pt x="342" y="17062"/>
                  </a:cubicBezTo>
                  <a:cubicBezTo>
                    <a:pt x="338" y="17073"/>
                    <a:pt x="331" y="17092"/>
                    <a:pt x="331" y="17105"/>
                  </a:cubicBezTo>
                  <a:cubicBezTo>
                    <a:pt x="329" y="17117"/>
                    <a:pt x="339" y="17112"/>
                    <a:pt x="353" y="17094"/>
                  </a:cubicBezTo>
                  <a:cubicBezTo>
                    <a:pt x="365" y="17075"/>
                    <a:pt x="393" y="17038"/>
                    <a:pt x="409" y="17008"/>
                  </a:cubicBezTo>
                  <a:cubicBezTo>
                    <a:pt x="427" y="16979"/>
                    <a:pt x="454" y="16930"/>
                    <a:pt x="469" y="16900"/>
                  </a:cubicBezTo>
                  <a:cubicBezTo>
                    <a:pt x="486" y="16869"/>
                    <a:pt x="505" y="16838"/>
                    <a:pt x="512" y="16830"/>
                  </a:cubicBezTo>
                  <a:cubicBezTo>
                    <a:pt x="520" y="16823"/>
                    <a:pt x="537" y="16800"/>
                    <a:pt x="547" y="16780"/>
                  </a:cubicBezTo>
                  <a:cubicBezTo>
                    <a:pt x="557" y="16759"/>
                    <a:pt x="574" y="16728"/>
                    <a:pt x="583" y="16710"/>
                  </a:cubicBezTo>
                  <a:cubicBezTo>
                    <a:pt x="591" y="16692"/>
                    <a:pt x="599" y="16671"/>
                    <a:pt x="604" y="16666"/>
                  </a:cubicBezTo>
                  <a:cubicBezTo>
                    <a:pt x="607" y="16660"/>
                    <a:pt x="609" y="16667"/>
                    <a:pt x="605" y="16679"/>
                  </a:cubicBezTo>
                  <a:cubicBezTo>
                    <a:pt x="602" y="16692"/>
                    <a:pt x="586" y="16726"/>
                    <a:pt x="573" y="16755"/>
                  </a:cubicBezTo>
                  <a:cubicBezTo>
                    <a:pt x="557" y="16784"/>
                    <a:pt x="536" y="16825"/>
                    <a:pt x="523" y="16846"/>
                  </a:cubicBezTo>
                  <a:cubicBezTo>
                    <a:pt x="512" y="16867"/>
                    <a:pt x="493" y="16895"/>
                    <a:pt x="482" y="16909"/>
                  </a:cubicBezTo>
                  <a:cubicBezTo>
                    <a:pt x="472" y="16923"/>
                    <a:pt x="458" y="16945"/>
                    <a:pt x="452" y="16960"/>
                  </a:cubicBezTo>
                  <a:cubicBezTo>
                    <a:pt x="445" y="16974"/>
                    <a:pt x="441" y="16993"/>
                    <a:pt x="440" y="17001"/>
                  </a:cubicBezTo>
                  <a:cubicBezTo>
                    <a:pt x="440" y="17010"/>
                    <a:pt x="444" y="17010"/>
                    <a:pt x="450" y="17001"/>
                  </a:cubicBezTo>
                  <a:cubicBezTo>
                    <a:pt x="456" y="16993"/>
                    <a:pt x="470" y="16981"/>
                    <a:pt x="478" y="16973"/>
                  </a:cubicBezTo>
                  <a:cubicBezTo>
                    <a:pt x="487" y="16968"/>
                    <a:pt x="497" y="16959"/>
                    <a:pt x="501" y="16961"/>
                  </a:cubicBezTo>
                  <a:cubicBezTo>
                    <a:pt x="506" y="16959"/>
                    <a:pt x="502" y="16966"/>
                    <a:pt x="495" y="16973"/>
                  </a:cubicBezTo>
                  <a:cubicBezTo>
                    <a:pt x="487" y="16980"/>
                    <a:pt x="472" y="16997"/>
                    <a:pt x="462" y="17011"/>
                  </a:cubicBezTo>
                  <a:cubicBezTo>
                    <a:pt x="454" y="17025"/>
                    <a:pt x="437" y="17058"/>
                    <a:pt x="427" y="17087"/>
                  </a:cubicBezTo>
                  <a:cubicBezTo>
                    <a:pt x="418" y="17116"/>
                    <a:pt x="404" y="17157"/>
                    <a:pt x="397" y="17179"/>
                  </a:cubicBezTo>
                  <a:cubicBezTo>
                    <a:pt x="392" y="17201"/>
                    <a:pt x="382" y="17225"/>
                    <a:pt x="379" y="17232"/>
                  </a:cubicBezTo>
                  <a:cubicBezTo>
                    <a:pt x="373" y="17238"/>
                    <a:pt x="373" y="17235"/>
                    <a:pt x="374" y="17222"/>
                  </a:cubicBezTo>
                  <a:cubicBezTo>
                    <a:pt x="377" y="17210"/>
                    <a:pt x="384" y="17178"/>
                    <a:pt x="394" y="17151"/>
                  </a:cubicBezTo>
                  <a:cubicBezTo>
                    <a:pt x="403" y="17124"/>
                    <a:pt x="412" y="17094"/>
                    <a:pt x="413" y="17085"/>
                  </a:cubicBezTo>
                  <a:cubicBezTo>
                    <a:pt x="413" y="17075"/>
                    <a:pt x="408" y="17076"/>
                    <a:pt x="401" y="17088"/>
                  </a:cubicBezTo>
                  <a:cubicBezTo>
                    <a:pt x="393" y="17099"/>
                    <a:pt x="366" y="17148"/>
                    <a:pt x="336" y="17195"/>
                  </a:cubicBezTo>
                  <a:cubicBezTo>
                    <a:pt x="309" y="17243"/>
                    <a:pt x="277" y="17295"/>
                    <a:pt x="269" y="17311"/>
                  </a:cubicBezTo>
                  <a:cubicBezTo>
                    <a:pt x="260" y="17328"/>
                    <a:pt x="243" y="17358"/>
                    <a:pt x="230" y="17378"/>
                  </a:cubicBezTo>
                  <a:cubicBezTo>
                    <a:pt x="217" y="17397"/>
                    <a:pt x="199" y="17427"/>
                    <a:pt x="192" y="17446"/>
                  </a:cubicBezTo>
                  <a:cubicBezTo>
                    <a:pt x="184" y="17463"/>
                    <a:pt x="174" y="17489"/>
                    <a:pt x="170" y="17502"/>
                  </a:cubicBezTo>
                  <a:cubicBezTo>
                    <a:pt x="168" y="17516"/>
                    <a:pt x="158" y="17538"/>
                    <a:pt x="154" y="17553"/>
                  </a:cubicBezTo>
                  <a:cubicBezTo>
                    <a:pt x="148" y="17568"/>
                    <a:pt x="140" y="17587"/>
                    <a:pt x="144" y="17587"/>
                  </a:cubicBezTo>
                  <a:cubicBezTo>
                    <a:pt x="144" y="17590"/>
                    <a:pt x="152" y="17583"/>
                    <a:pt x="159" y="17570"/>
                  </a:cubicBezTo>
                  <a:cubicBezTo>
                    <a:pt x="167" y="17557"/>
                    <a:pt x="180" y="17534"/>
                    <a:pt x="190" y="17521"/>
                  </a:cubicBezTo>
                  <a:cubicBezTo>
                    <a:pt x="199" y="17507"/>
                    <a:pt x="213" y="17479"/>
                    <a:pt x="223" y="17461"/>
                  </a:cubicBezTo>
                  <a:cubicBezTo>
                    <a:pt x="232" y="17443"/>
                    <a:pt x="242" y="17429"/>
                    <a:pt x="244" y="17427"/>
                  </a:cubicBezTo>
                  <a:cubicBezTo>
                    <a:pt x="246" y="17427"/>
                    <a:pt x="249" y="17434"/>
                    <a:pt x="248" y="17441"/>
                  </a:cubicBezTo>
                  <a:cubicBezTo>
                    <a:pt x="250" y="17447"/>
                    <a:pt x="255" y="17449"/>
                    <a:pt x="265" y="17445"/>
                  </a:cubicBezTo>
                  <a:cubicBezTo>
                    <a:pt x="274" y="17439"/>
                    <a:pt x="280" y="17442"/>
                    <a:pt x="275" y="17449"/>
                  </a:cubicBezTo>
                  <a:cubicBezTo>
                    <a:pt x="270" y="17456"/>
                    <a:pt x="264" y="17464"/>
                    <a:pt x="259" y="17465"/>
                  </a:cubicBezTo>
                  <a:cubicBezTo>
                    <a:pt x="254" y="17464"/>
                    <a:pt x="242" y="17474"/>
                    <a:pt x="233" y="17482"/>
                  </a:cubicBezTo>
                  <a:cubicBezTo>
                    <a:pt x="223" y="17488"/>
                    <a:pt x="213" y="17509"/>
                    <a:pt x="203" y="17521"/>
                  </a:cubicBezTo>
                  <a:cubicBezTo>
                    <a:pt x="196" y="17536"/>
                    <a:pt x="185" y="17555"/>
                    <a:pt x="183" y="17565"/>
                  </a:cubicBezTo>
                  <a:cubicBezTo>
                    <a:pt x="180" y="17575"/>
                    <a:pt x="175" y="17590"/>
                    <a:pt x="173" y="17598"/>
                  </a:cubicBezTo>
                  <a:cubicBezTo>
                    <a:pt x="171" y="17607"/>
                    <a:pt x="165" y="17619"/>
                    <a:pt x="160" y="17627"/>
                  </a:cubicBezTo>
                  <a:cubicBezTo>
                    <a:pt x="154" y="17634"/>
                    <a:pt x="149" y="17636"/>
                    <a:pt x="146" y="17636"/>
                  </a:cubicBezTo>
                  <a:cubicBezTo>
                    <a:pt x="146" y="17634"/>
                    <a:pt x="132" y="17646"/>
                    <a:pt x="119" y="17661"/>
                  </a:cubicBezTo>
                  <a:cubicBezTo>
                    <a:pt x="107" y="17676"/>
                    <a:pt x="95" y="17695"/>
                    <a:pt x="92" y="17703"/>
                  </a:cubicBezTo>
                  <a:cubicBezTo>
                    <a:pt x="89" y="17711"/>
                    <a:pt x="93" y="17713"/>
                    <a:pt x="100" y="17706"/>
                  </a:cubicBezTo>
                  <a:cubicBezTo>
                    <a:pt x="109" y="17700"/>
                    <a:pt x="115" y="17699"/>
                    <a:pt x="119" y="17701"/>
                  </a:cubicBezTo>
                  <a:cubicBezTo>
                    <a:pt x="121" y="17705"/>
                    <a:pt x="129" y="17703"/>
                    <a:pt x="136" y="17697"/>
                  </a:cubicBezTo>
                  <a:cubicBezTo>
                    <a:pt x="142" y="17691"/>
                    <a:pt x="142" y="17698"/>
                    <a:pt x="135" y="17713"/>
                  </a:cubicBezTo>
                  <a:cubicBezTo>
                    <a:pt x="126" y="17726"/>
                    <a:pt x="115" y="17741"/>
                    <a:pt x="109" y="17746"/>
                  </a:cubicBezTo>
                  <a:cubicBezTo>
                    <a:pt x="101" y="17747"/>
                    <a:pt x="95" y="17750"/>
                    <a:pt x="95" y="17745"/>
                  </a:cubicBezTo>
                  <a:cubicBezTo>
                    <a:pt x="92" y="17741"/>
                    <a:pt x="85" y="17743"/>
                    <a:pt x="79" y="17753"/>
                  </a:cubicBezTo>
                  <a:cubicBezTo>
                    <a:pt x="71" y="17763"/>
                    <a:pt x="58" y="17786"/>
                    <a:pt x="51" y="17804"/>
                  </a:cubicBezTo>
                  <a:cubicBezTo>
                    <a:pt x="43" y="17822"/>
                    <a:pt x="37" y="17842"/>
                    <a:pt x="39" y="17847"/>
                  </a:cubicBezTo>
                  <a:cubicBezTo>
                    <a:pt x="39" y="17852"/>
                    <a:pt x="45" y="17854"/>
                    <a:pt x="49" y="17849"/>
                  </a:cubicBezTo>
                  <a:cubicBezTo>
                    <a:pt x="54" y="17846"/>
                    <a:pt x="65" y="17832"/>
                    <a:pt x="74" y="17821"/>
                  </a:cubicBezTo>
                  <a:cubicBezTo>
                    <a:pt x="82" y="17809"/>
                    <a:pt x="95" y="17803"/>
                    <a:pt x="95" y="17808"/>
                  </a:cubicBezTo>
                  <a:cubicBezTo>
                    <a:pt x="97" y="17812"/>
                    <a:pt x="106" y="17809"/>
                    <a:pt x="115" y="17800"/>
                  </a:cubicBezTo>
                  <a:cubicBezTo>
                    <a:pt x="124" y="17792"/>
                    <a:pt x="129" y="17794"/>
                    <a:pt x="124" y="17803"/>
                  </a:cubicBezTo>
                  <a:cubicBezTo>
                    <a:pt x="120" y="17812"/>
                    <a:pt x="110" y="17828"/>
                    <a:pt x="102" y="17838"/>
                  </a:cubicBezTo>
                  <a:cubicBezTo>
                    <a:pt x="92" y="17847"/>
                    <a:pt x="83" y="17859"/>
                    <a:pt x="78" y="17858"/>
                  </a:cubicBezTo>
                  <a:cubicBezTo>
                    <a:pt x="74" y="17860"/>
                    <a:pt x="69" y="17865"/>
                    <a:pt x="65" y="17870"/>
                  </a:cubicBezTo>
                  <a:cubicBezTo>
                    <a:pt x="62" y="17877"/>
                    <a:pt x="60" y="17884"/>
                    <a:pt x="60" y="17887"/>
                  </a:cubicBezTo>
                  <a:cubicBezTo>
                    <a:pt x="62" y="17890"/>
                    <a:pt x="69" y="17887"/>
                    <a:pt x="78" y="17880"/>
                  </a:cubicBezTo>
                  <a:cubicBezTo>
                    <a:pt x="87" y="17872"/>
                    <a:pt x="98" y="17863"/>
                    <a:pt x="103" y="17859"/>
                  </a:cubicBezTo>
                  <a:cubicBezTo>
                    <a:pt x="107" y="17854"/>
                    <a:pt x="107" y="17859"/>
                    <a:pt x="103" y="17870"/>
                  </a:cubicBezTo>
                  <a:cubicBezTo>
                    <a:pt x="99" y="17880"/>
                    <a:pt x="89" y="17898"/>
                    <a:pt x="79" y="17909"/>
                  </a:cubicBezTo>
                  <a:cubicBezTo>
                    <a:pt x="69" y="17920"/>
                    <a:pt x="56" y="17928"/>
                    <a:pt x="50" y="17930"/>
                  </a:cubicBezTo>
                  <a:cubicBezTo>
                    <a:pt x="44" y="17931"/>
                    <a:pt x="39" y="17927"/>
                    <a:pt x="37" y="17922"/>
                  </a:cubicBezTo>
                  <a:cubicBezTo>
                    <a:pt x="34" y="17916"/>
                    <a:pt x="30" y="17918"/>
                    <a:pt x="26" y="17928"/>
                  </a:cubicBezTo>
                  <a:cubicBezTo>
                    <a:pt x="21" y="17937"/>
                    <a:pt x="15" y="17959"/>
                    <a:pt x="11" y="17975"/>
                  </a:cubicBezTo>
                  <a:cubicBezTo>
                    <a:pt x="8" y="17992"/>
                    <a:pt x="8" y="18013"/>
                    <a:pt x="11" y="18022"/>
                  </a:cubicBezTo>
                  <a:cubicBezTo>
                    <a:pt x="14" y="18031"/>
                    <a:pt x="20" y="18026"/>
                    <a:pt x="27" y="18010"/>
                  </a:cubicBezTo>
                  <a:cubicBezTo>
                    <a:pt x="33" y="17993"/>
                    <a:pt x="44" y="17976"/>
                    <a:pt x="48" y="17970"/>
                  </a:cubicBezTo>
                  <a:cubicBezTo>
                    <a:pt x="53" y="17965"/>
                    <a:pt x="60" y="17964"/>
                    <a:pt x="63" y="17968"/>
                  </a:cubicBezTo>
                  <a:cubicBezTo>
                    <a:pt x="65" y="17972"/>
                    <a:pt x="76" y="17965"/>
                    <a:pt x="87" y="17953"/>
                  </a:cubicBezTo>
                  <a:cubicBezTo>
                    <a:pt x="98" y="17940"/>
                    <a:pt x="108" y="17934"/>
                    <a:pt x="107" y="17939"/>
                  </a:cubicBezTo>
                  <a:cubicBezTo>
                    <a:pt x="107" y="17944"/>
                    <a:pt x="102" y="17956"/>
                    <a:pt x="95" y="17966"/>
                  </a:cubicBezTo>
                  <a:cubicBezTo>
                    <a:pt x="87" y="17975"/>
                    <a:pt x="81" y="17990"/>
                    <a:pt x="78" y="17997"/>
                  </a:cubicBezTo>
                  <a:cubicBezTo>
                    <a:pt x="75" y="18004"/>
                    <a:pt x="80" y="18009"/>
                    <a:pt x="84" y="18004"/>
                  </a:cubicBezTo>
                  <a:cubicBezTo>
                    <a:pt x="90" y="18001"/>
                    <a:pt x="93" y="18008"/>
                    <a:pt x="90" y="18021"/>
                  </a:cubicBezTo>
                  <a:cubicBezTo>
                    <a:pt x="87" y="18034"/>
                    <a:pt x="91" y="18044"/>
                    <a:pt x="97" y="18047"/>
                  </a:cubicBezTo>
                  <a:cubicBezTo>
                    <a:pt x="104" y="18049"/>
                    <a:pt x="114" y="18041"/>
                    <a:pt x="121" y="18031"/>
                  </a:cubicBezTo>
                  <a:cubicBezTo>
                    <a:pt x="126" y="18020"/>
                    <a:pt x="140" y="17991"/>
                    <a:pt x="153" y="17968"/>
                  </a:cubicBezTo>
                  <a:cubicBezTo>
                    <a:pt x="162" y="17943"/>
                    <a:pt x="180" y="17908"/>
                    <a:pt x="192" y="17891"/>
                  </a:cubicBezTo>
                  <a:cubicBezTo>
                    <a:pt x="202" y="17873"/>
                    <a:pt x="217" y="17844"/>
                    <a:pt x="224" y="17826"/>
                  </a:cubicBezTo>
                  <a:cubicBezTo>
                    <a:pt x="231" y="17808"/>
                    <a:pt x="233" y="17810"/>
                    <a:pt x="224" y="17831"/>
                  </a:cubicBezTo>
                  <a:cubicBezTo>
                    <a:pt x="218" y="17852"/>
                    <a:pt x="203" y="17886"/>
                    <a:pt x="195" y="17908"/>
                  </a:cubicBezTo>
                  <a:cubicBezTo>
                    <a:pt x="184" y="17929"/>
                    <a:pt x="164" y="17969"/>
                    <a:pt x="148" y="17995"/>
                  </a:cubicBezTo>
                  <a:cubicBezTo>
                    <a:pt x="133" y="18022"/>
                    <a:pt x="110" y="18053"/>
                    <a:pt x="101" y="18067"/>
                  </a:cubicBezTo>
                  <a:cubicBezTo>
                    <a:pt x="88" y="18079"/>
                    <a:pt x="76" y="18096"/>
                    <a:pt x="70" y="18102"/>
                  </a:cubicBezTo>
                  <a:cubicBezTo>
                    <a:pt x="64" y="18108"/>
                    <a:pt x="50" y="18129"/>
                    <a:pt x="40" y="18148"/>
                  </a:cubicBezTo>
                  <a:cubicBezTo>
                    <a:pt x="30" y="18168"/>
                    <a:pt x="20" y="18190"/>
                    <a:pt x="18" y="18197"/>
                  </a:cubicBezTo>
                  <a:cubicBezTo>
                    <a:pt x="16" y="18204"/>
                    <a:pt x="13" y="18216"/>
                    <a:pt x="18" y="18217"/>
                  </a:cubicBezTo>
                  <a:cubicBezTo>
                    <a:pt x="20" y="18221"/>
                    <a:pt x="27" y="18214"/>
                    <a:pt x="34" y="18203"/>
                  </a:cubicBezTo>
                  <a:cubicBezTo>
                    <a:pt x="41" y="18191"/>
                    <a:pt x="50" y="18176"/>
                    <a:pt x="55" y="18170"/>
                  </a:cubicBezTo>
                  <a:cubicBezTo>
                    <a:pt x="59" y="18164"/>
                    <a:pt x="63" y="18167"/>
                    <a:pt x="61" y="18177"/>
                  </a:cubicBezTo>
                  <a:cubicBezTo>
                    <a:pt x="60" y="18187"/>
                    <a:pt x="59" y="18193"/>
                    <a:pt x="62" y="18191"/>
                  </a:cubicBezTo>
                  <a:cubicBezTo>
                    <a:pt x="64" y="18189"/>
                    <a:pt x="70" y="18174"/>
                    <a:pt x="79" y="18160"/>
                  </a:cubicBezTo>
                  <a:cubicBezTo>
                    <a:pt x="85" y="18144"/>
                    <a:pt x="99" y="18120"/>
                    <a:pt x="110" y="18105"/>
                  </a:cubicBezTo>
                  <a:cubicBezTo>
                    <a:pt x="118" y="18089"/>
                    <a:pt x="123" y="18084"/>
                    <a:pt x="121" y="18094"/>
                  </a:cubicBezTo>
                  <a:cubicBezTo>
                    <a:pt x="117" y="18102"/>
                    <a:pt x="112" y="18119"/>
                    <a:pt x="106" y="18130"/>
                  </a:cubicBezTo>
                  <a:cubicBezTo>
                    <a:pt x="102" y="18141"/>
                    <a:pt x="93" y="18158"/>
                    <a:pt x="91" y="18168"/>
                  </a:cubicBezTo>
                  <a:cubicBezTo>
                    <a:pt x="87" y="18178"/>
                    <a:pt x="87" y="18187"/>
                    <a:pt x="90" y="18188"/>
                  </a:cubicBezTo>
                  <a:cubicBezTo>
                    <a:pt x="92" y="18189"/>
                    <a:pt x="96" y="18194"/>
                    <a:pt x="98" y="18198"/>
                  </a:cubicBezTo>
                  <a:cubicBezTo>
                    <a:pt x="99" y="18203"/>
                    <a:pt x="104" y="18201"/>
                    <a:pt x="110" y="18197"/>
                  </a:cubicBezTo>
                  <a:cubicBezTo>
                    <a:pt x="114" y="18190"/>
                    <a:pt x="135" y="18156"/>
                    <a:pt x="152" y="18120"/>
                  </a:cubicBezTo>
                  <a:cubicBezTo>
                    <a:pt x="170" y="18083"/>
                    <a:pt x="194" y="18023"/>
                    <a:pt x="208" y="17987"/>
                  </a:cubicBezTo>
                  <a:cubicBezTo>
                    <a:pt x="218" y="17950"/>
                    <a:pt x="237" y="17906"/>
                    <a:pt x="246" y="17887"/>
                  </a:cubicBezTo>
                  <a:cubicBezTo>
                    <a:pt x="253" y="17867"/>
                    <a:pt x="267" y="17847"/>
                    <a:pt x="272" y="17839"/>
                  </a:cubicBezTo>
                  <a:cubicBezTo>
                    <a:pt x="278" y="17832"/>
                    <a:pt x="280" y="17836"/>
                    <a:pt x="275" y="17848"/>
                  </a:cubicBezTo>
                  <a:cubicBezTo>
                    <a:pt x="272" y="17861"/>
                    <a:pt x="261" y="17881"/>
                    <a:pt x="256" y="17893"/>
                  </a:cubicBezTo>
                  <a:cubicBezTo>
                    <a:pt x="250" y="17906"/>
                    <a:pt x="238" y="17940"/>
                    <a:pt x="227" y="17969"/>
                  </a:cubicBezTo>
                  <a:cubicBezTo>
                    <a:pt x="217" y="17997"/>
                    <a:pt x="198" y="18047"/>
                    <a:pt x="182" y="18079"/>
                  </a:cubicBezTo>
                  <a:cubicBezTo>
                    <a:pt x="166" y="18111"/>
                    <a:pt x="147" y="18154"/>
                    <a:pt x="136" y="18173"/>
                  </a:cubicBezTo>
                  <a:cubicBezTo>
                    <a:pt x="126" y="18193"/>
                    <a:pt x="116" y="18214"/>
                    <a:pt x="116" y="18220"/>
                  </a:cubicBezTo>
                  <a:cubicBezTo>
                    <a:pt x="116" y="18227"/>
                    <a:pt x="120" y="18226"/>
                    <a:pt x="129" y="18221"/>
                  </a:cubicBezTo>
                  <a:cubicBezTo>
                    <a:pt x="137" y="18215"/>
                    <a:pt x="152" y="18201"/>
                    <a:pt x="160" y="18190"/>
                  </a:cubicBezTo>
                  <a:cubicBezTo>
                    <a:pt x="169" y="18178"/>
                    <a:pt x="177" y="18173"/>
                    <a:pt x="177" y="18177"/>
                  </a:cubicBezTo>
                  <a:cubicBezTo>
                    <a:pt x="177" y="18181"/>
                    <a:pt x="169" y="18198"/>
                    <a:pt x="161" y="18215"/>
                  </a:cubicBezTo>
                  <a:cubicBezTo>
                    <a:pt x="151" y="18232"/>
                    <a:pt x="135" y="18268"/>
                    <a:pt x="123" y="18296"/>
                  </a:cubicBezTo>
                  <a:cubicBezTo>
                    <a:pt x="110" y="18323"/>
                    <a:pt x="90" y="18366"/>
                    <a:pt x="74" y="18390"/>
                  </a:cubicBezTo>
                  <a:cubicBezTo>
                    <a:pt x="60" y="18416"/>
                    <a:pt x="45" y="18444"/>
                    <a:pt x="41" y="18453"/>
                  </a:cubicBezTo>
                  <a:cubicBezTo>
                    <a:pt x="39" y="18463"/>
                    <a:pt x="33" y="18490"/>
                    <a:pt x="30" y="18512"/>
                  </a:cubicBezTo>
                  <a:cubicBezTo>
                    <a:pt x="27" y="18535"/>
                    <a:pt x="28" y="18556"/>
                    <a:pt x="33" y="18561"/>
                  </a:cubicBezTo>
                  <a:cubicBezTo>
                    <a:pt x="37" y="18566"/>
                    <a:pt x="46" y="18559"/>
                    <a:pt x="55" y="18547"/>
                  </a:cubicBezTo>
                  <a:cubicBezTo>
                    <a:pt x="61" y="18534"/>
                    <a:pt x="75" y="18522"/>
                    <a:pt x="78" y="18517"/>
                  </a:cubicBezTo>
                  <a:cubicBezTo>
                    <a:pt x="85" y="18514"/>
                    <a:pt x="86" y="18522"/>
                    <a:pt x="82" y="18538"/>
                  </a:cubicBezTo>
                  <a:cubicBezTo>
                    <a:pt x="78" y="18553"/>
                    <a:pt x="76" y="18578"/>
                    <a:pt x="73" y="18592"/>
                  </a:cubicBezTo>
                  <a:cubicBezTo>
                    <a:pt x="70" y="18607"/>
                    <a:pt x="66" y="18629"/>
                    <a:pt x="62" y="18641"/>
                  </a:cubicBezTo>
                  <a:cubicBezTo>
                    <a:pt x="58" y="18653"/>
                    <a:pt x="52" y="18665"/>
                    <a:pt x="49" y="18664"/>
                  </a:cubicBezTo>
                  <a:cubicBezTo>
                    <a:pt x="47" y="18663"/>
                    <a:pt x="47" y="18652"/>
                    <a:pt x="49" y="18637"/>
                  </a:cubicBezTo>
                  <a:cubicBezTo>
                    <a:pt x="52" y="18622"/>
                    <a:pt x="50" y="18610"/>
                    <a:pt x="47" y="18611"/>
                  </a:cubicBezTo>
                  <a:cubicBezTo>
                    <a:pt x="44" y="18610"/>
                    <a:pt x="33" y="18629"/>
                    <a:pt x="29" y="18651"/>
                  </a:cubicBezTo>
                  <a:cubicBezTo>
                    <a:pt x="22" y="18672"/>
                    <a:pt x="17" y="18707"/>
                    <a:pt x="14" y="18728"/>
                  </a:cubicBezTo>
                  <a:cubicBezTo>
                    <a:pt x="13" y="18750"/>
                    <a:pt x="23" y="18751"/>
                    <a:pt x="36" y="18730"/>
                  </a:cubicBezTo>
                  <a:cubicBezTo>
                    <a:pt x="49" y="18709"/>
                    <a:pt x="69" y="18679"/>
                    <a:pt x="82" y="18666"/>
                  </a:cubicBezTo>
                  <a:cubicBezTo>
                    <a:pt x="92" y="18650"/>
                    <a:pt x="109" y="18626"/>
                    <a:pt x="118" y="18611"/>
                  </a:cubicBezTo>
                  <a:cubicBezTo>
                    <a:pt x="125" y="18595"/>
                    <a:pt x="125" y="18606"/>
                    <a:pt x="114" y="18634"/>
                  </a:cubicBezTo>
                  <a:cubicBezTo>
                    <a:pt x="104" y="18661"/>
                    <a:pt x="79" y="18723"/>
                    <a:pt x="59" y="18770"/>
                  </a:cubicBezTo>
                  <a:cubicBezTo>
                    <a:pt x="39" y="18816"/>
                    <a:pt x="17" y="18882"/>
                    <a:pt x="8" y="18916"/>
                  </a:cubicBezTo>
                  <a:cubicBezTo>
                    <a:pt x="0" y="18949"/>
                    <a:pt x="-2" y="18973"/>
                    <a:pt x="3" y="18974"/>
                  </a:cubicBezTo>
                  <a:cubicBezTo>
                    <a:pt x="7" y="18972"/>
                    <a:pt x="12" y="18973"/>
                    <a:pt x="11" y="18973"/>
                  </a:cubicBezTo>
                  <a:cubicBezTo>
                    <a:pt x="12" y="18973"/>
                    <a:pt x="85" y="18939"/>
                    <a:pt x="178" y="18896"/>
                  </a:cubicBezTo>
                  <a:cubicBezTo>
                    <a:pt x="1353" y="18361"/>
                    <a:pt x="2921" y="17913"/>
                    <a:pt x="4859" y="17530"/>
                  </a:cubicBezTo>
                  <a:cubicBezTo>
                    <a:pt x="5050" y="17490"/>
                    <a:pt x="5221" y="17460"/>
                    <a:pt x="5235" y="17458"/>
                  </a:cubicBezTo>
                  <a:cubicBezTo>
                    <a:pt x="5250" y="17455"/>
                    <a:pt x="5277" y="17447"/>
                    <a:pt x="5296" y="17440"/>
                  </a:cubicBezTo>
                  <a:cubicBezTo>
                    <a:pt x="5314" y="17432"/>
                    <a:pt x="5339" y="17442"/>
                    <a:pt x="5352" y="17459"/>
                  </a:cubicBezTo>
                  <a:cubicBezTo>
                    <a:pt x="5366" y="17475"/>
                    <a:pt x="5375" y="17497"/>
                    <a:pt x="5374" y="17506"/>
                  </a:cubicBezTo>
                  <a:cubicBezTo>
                    <a:pt x="5373" y="17514"/>
                    <a:pt x="5376" y="17533"/>
                    <a:pt x="5384" y="17547"/>
                  </a:cubicBezTo>
                  <a:cubicBezTo>
                    <a:pt x="5390" y="17561"/>
                    <a:pt x="5396" y="17575"/>
                    <a:pt x="5400" y="17577"/>
                  </a:cubicBezTo>
                  <a:cubicBezTo>
                    <a:pt x="5401" y="17581"/>
                    <a:pt x="5415" y="17588"/>
                    <a:pt x="5430" y="17589"/>
                  </a:cubicBezTo>
                  <a:cubicBezTo>
                    <a:pt x="5443" y="17594"/>
                    <a:pt x="5458" y="17599"/>
                    <a:pt x="5458" y="17604"/>
                  </a:cubicBezTo>
                  <a:cubicBezTo>
                    <a:pt x="5461" y="17609"/>
                    <a:pt x="5473" y="17618"/>
                    <a:pt x="5488" y="17617"/>
                  </a:cubicBezTo>
                  <a:cubicBezTo>
                    <a:pt x="5504" y="17618"/>
                    <a:pt x="5520" y="17630"/>
                    <a:pt x="5524" y="17644"/>
                  </a:cubicBezTo>
                  <a:cubicBezTo>
                    <a:pt x="5531" y="17656"/>
                    <a:pt x="5539" y="17666"/>
                    <a:pt x="5545" y="17660"/>
                  </a:cubicBezTo>
                  <a:cubicBezTo>
                    <a:pt x="5552" y="17655"/>
                    <a:pt x="5573" y="17642"/>
                    <a:pt x="5589" y="17630"/>
                  </a:cubicBezTo>
                  <a:cubicBezTo>
                    <a:pt x="5607" y="17620"/>
                    <a:pt x="5629" y="17613"/>
                    <a:pt x="5641" y="17614"/>
                  </a:cubicBezTo>
                  <a:cubicBezTo>
                    <a:pt x="5652" y="17618"/>
                    <a:pt x="5674" y="17611"/>
                    <a:pt x="5691" y="17605"/>
                  </a:cubicBezTo>
                  <a:cubicBezTo>
                    <a:pt x="5708" y="17598"/>
                    <a:pt x="5733" y="17605"/>
                    <a:pt x="5747" y="17623"/>
                  </a:cubicBezTo>
                  <a:cubicBezTo>
                    <a:pt x="5762" y="17639"/>
                    <a:pt x="5781" y="17650"/>
                    <a:pt x="5792" y="17647"/>
                  </a:cubicBezTo>
                  <a:cubicBezTo>
                    <a:pt x="5802" y="17643"/>
                    <a:pt x="5813" y="17662"/>
                    <a:pt x="5815" y="17688"/>
                  </a:cubicBezTo>
                  <a:cubicBezTo>
                    <a:pt x="5817" y="17713"/>
                    <a:pt x="5840" y="17737"/>
                    <a:pt x="5865" y="17743"/>
                  </a:cubicBezTo>
                  <a:cubicBezTo>
                    <a:pt x="5892" y="17745"/>
                    <a:pt x="5925" y="17752"/>
                    <a:pt x="5940" y="17754"/>
                  </a:cubicBezTo>
                  <a:cubicBezTo>
                    <a:pt x="5955" y="17757"/>
                    <a:pt x="5973" y="17771"/>
                    <a:pt x="5981" y="17786"/>
                  </a:cubicBezTo>
                  <a:cubicBezTo>
                    <a:pt x="5989" y="17802"/>
                    <a:pt x="6003" y="17819"/>
                    <a:pt x="6015" y="17823"/>
                  </a:cubicBezTo>
                  <a:cubicBezTo>
                    <a:pt x="6026" y="17827"/>
                    <a:pt x="6058" y="17824"/>
                    <a:pt x="6086" y="17815"/>
                  </a:cubicBezTo>
                  <a:cubicBezTo>
                    <a:pt x="6114" y="17805"/>
                    <a:pt x="6152" y="17784"/>
                    <a:pt x="6168" y="17767"/>
                  </a:cubicBezTo>
                  <a:cubicBezTo>
                    <a:pt x="6185" y="17750"/>
                    <a:pt x="6204" y="17744"/>
                    <a:pt x="6211" y="17753"/>
                  </a:cubicBezTo>
                  <a:cubicBezTo>
                    <a:pt x="6217" y="17763"/>
                    <a:pt x="6223" y="17785"/>
                    <a:pt x="6226" y="17804"/>
                  </a:cubicBezTo>
                  <a:cubicBezTo>
                    <a:pt x="6228" y="17822"/>
                    <a:pt x="6264" y="17833"/>
                    <a:pt x="6304" y="17822"/>
                  </a:cubicBezTo>
                  <a:cubicBezTo>
                    <a:pt x="6344" y="17813"/>
                    <a:pt x="6381" y="17817"/>
                    <a:pt x="6390" y="17825"/>
                  </a:cubicBezTo>
                  <a:cubicBezTo>
                    <a:pt x="6396" y="17835"/>
                    <a:pt x="6418" y="17843"/>
                    <a:pt x="6437" y="17844"/>
                  </a:cubicBezTo>
                  <a:cubicBezTo>
                    <a:pt x="6457" y="17844"/>
                    <a:pt x="6484" y="17852"/>
                    <a:pt x="6492" y="17864"/>
                  </a:cubicBezTo>
                  <a:cubicBezTo>
                    <a:pt x="6505" y="17872"/>
                    <a:pt x="6657" y="17947"/>
                    <a:pt x="6835" y="18030"/>
                  </a:cubicBezTo>
                  <a:cubicBezTo>
                    <a:pt x="6997" y="18103"/>
                    <a:pt x="7160" y="18178"/>
                    <a:pt x="7327" y="18254"/>
                  </a:cubicBezTo>
                  <a:cubicBezTo>
                    <a:pt x="7517" y="18341"/>
                    <a:pt x="7689" y="18442"/>
                    <a:pt x="7706" y="18478"/>
                  </a:cubicBezTo>
                  <a:cubicBezTo>
                    <a:pt x="7722" y="18514"/>
                    <a:pt x="7774" y="18585"/>
                    <a:pt x="7822" y="18635"/>
                  </a:cubicBezTo>
                  <a:cubicBezTo>
                    <a:pt x="7867" y="18687"/>
                    <a:pt x="7896" y="18992"/>
                    <a:pt x="7885" y="19317"/>
                  </a:cubicBezTo>
                  <a:cubicBezTo>
                    <a:pt x="7881" y="19408"/>
                    <a:pt x="7878" y="19499"/>
                    <a:pt x="7877" y="19590"/>
                  </a:cubicBezTo>
                  <a:cubicBezTo>
                    <a:pt x="7865" y="19919"/>
                    <a:pt x="7828" y="20341"/>
                    <a:pt x="7788" y="20527"/>
                  </a:cubicBezTo>
                  <a:cubicBezTo>
                    <a:pt x="7748" y="20713"/>
                    <a:pt x="7703" y="20895"/>
                    <a:pt x="7688" y="20930"/>
                  </a:cubicBezTo>
                  <a:cubicBezTo>
                    <a:pt x="7674" y="20966"/>
                    <a:pt x="7647" y="21022"/>
                    <a:pt x="7630" y="21054"/>
                  </a:cubicBezTo>
                  <a:cubicBezTo>
                    <a:pt x="7616" y="21087"/>
                    <a:pt x="7586" y="21140"/>
                    <a:pt x="7564" y="21172"/>
                  </a:cubicBezTo>
                  <a:cubicBezTo>
                    <a:pt x="7544" y="21204"/>
                    <a:pt x="7493" y="21258"/>
                    <a:pt x="7450" y="21291"/>
                  </a:cubicBezTo>
                  <a:cubicBezTo>
                    <a:pt x="7409" y="21325"/>
                    <a:pt x="7354" y="21382"/>
                    <a:pt x="7329" y="21420"/>
                  </a:cubicBezTo>
                  <a:cubicBezTo>
                    <a:pt x="7304" y="21458"/>
                    <a:pt x="7294" y="21519"/>
                    <a:pt x="7302" y="21558"/>
                  </a:cubicBezTo>
                  <a:cubicBezTo>
                    <a:pt x="7314" y="21596"/>
                    <a:pt x="7534" y="21514"/>
                    <a:pt x="7797" y="21374"/>
                  </a:cubicBezTo>
                  <a:cubicBezTo>
                    <a:pt x="7925" y="21307"/>
                    <a:pt x="8052" y="21239"/>
                    <a:pt x="8182" y="21172"/>
                  </a:cubicBezTo>
                  <a:cubicBezTo>
                    <a:pt x="8453" y="21030"/>
                    <a:pt x="8719" y="20893"/>
                    <a:pt x="8768" y="20863"/>
                  </a:cubicBezTo>
                  <a:cubicBezTo>
                    <a:pt x="8818" y="20836"/>
                    <a:pt x="8875" y="20754"/>
                    <a:pt x="8894" y="20683"/>
                  </a:cubicBezTo>
                  <a:cubicBezTo>
                    <a:pt x="8915" y="20612"/>
                    <a:pt x="9106" y="20458"/>
                    <a:pt x="9324" y="20345"/>
                  </a:cubicBezTo>
                  <a:cubicBezTo>
                    <a:pt x="9544" y="20230"/>
                    <a:pt x="9812" y="20048"/>
                    <a:pt x="9920" y="19943"/>
                  </a:cubicBezTo>
                  <a:cubicBezTo>
                    <a:pt x="10028" y="19836"/>
                    <a:pt x="10139" y="19732"/>
                    <a:pt x="10162" y="19708"/>
                  </a:cubicBezTo>
                  <a:cubicBezTo>
                    <a:pt x="10186" y="19684"/>
                    <a:pt x="10233" y="19655"/>
                    <a:pt x="10265" y="19642"/>
                  </a:cubicBezTo>
                  <a:cubicBezTo>
                    <a:pt x="10297" y="19629"/>
                    <a:pt x="10374" y="19563"/>
                    <a:pt x="10434" y="19495"/>
                  </a:cubicBezTo>
                  <a:cubicBezTo>
                    <a:pt x="10495" y="19425"/>
                    <a:pt x="10567" y="19348"/>
                    <a:pt x="10593" y="19321"/>
                  </a:cubicBezTo>
                  <a:cubicBezTo>
                    <a:pt x="10620" y="19294"/>
                    <a:pt x="10666" y="19254"/>
                    <a:pt x="10698" y="19235"/>
                  </a:cubicBezTo>
                  <a:cubicBezTo>
                    <a:pt x="10728" y="19215"/>
                    <a:pt x="10772" y="19176"/>
                    <a:pt x="10797" y="19149"/>
                  </a:cubicBezTo>
                  <a:cubicBezTo>
                    <a:pt x="10821" y="19121"/>
                    <a:pt x="10874" y="19086"/>
                    <a:pt x="10916" y="19072"/>
                  </a:cubicBezTo>
                  <a:cubicBezTo>
                    <a:pt x="10958" y="19057"/>
                    <a:pt x="11236" y="19006"/>
                    <a:pt x="11536" y="18959"/>
                  </a:cubicBezTo>
                  <a:cubicBezTo>
                    <a:pt x="11590" y="18950"/>
                    <a:pt x="11644" y="18942"/>
                    <a:pt x="11697" y="18934"/>
                  </a:cubicBezTo>
                  <a:cubicBezTo>
                    <a:pt x="12003" y="18885"/>
                    <a:pt x="12284" y="18820"/>
                    <a:pt x="12316" y="18784"/>
                  </a:cubicBezTo>
                  <a:cubicBezTo>
                    <a:pt x="12350" y="18750"/>
                    <a:pt x="12384" y="18717"/>
                    <a:pt x="12395" y="18712"/>
                  </a:cubicBezTo>
                  <a:cubicBezTo>
                    <a:pt x="12405" y="18708"/>
                    <a:pt x="12425" y="18695"/>
                    <a:pt x="12437" y="18683"/>
                  </a:cubicBezTo>
                  <a:cubicBezTo>
                    <a:pt x="12451" y="18671"/>
                    <a:pt x="12474" y="18659"/>
                    <a:pt x="12489" y="18655"/>
                  </a:cubicBezTo>
                  <a:cubicBezTo>
                    <a:pt x="12505" y="18649"/>
                    <a:pt x="12536" y="18650"/>
                    <a:pt x="12557" y="18653"/>
                  </a:cubicBezTo>
                  <a:cubicBezTo>
                    <a:pt x="12578" y="18655"/>
                    <a:pt x="12610" y="18646"/>
                    <a:pt x="12625" y="18632"/>
                  </a:cubicBezTo>
                  <a:cubicBezTo>
                    <a:pt x="12643" y="18620"/>
                    <a:pt x="12663" y="18588"/>
                    <a:pt x="12673" y="18566"/>
                  </a:cubicBezTo>
                  <a:cubicBezTo>
                    <a:pt x="12683" y="18543"/>
                    <a:pt x="12731" y="18478"/>
                    <a:pt x="12780" y="18422"/>
                  </a:cubicBezTo>
                  <a:cubicBezTo>
                    <a:pt x="12827" y="18365"/>
                    <a:pt x="12882" y="18312"/>
                    <a:pt x="12899" y="18303"/>
                  </a:cubicBezTo>
                  <a:cubicBezTo>
                    <a:pt x="12916" y="18294"/>
                    <a:pt x="12960" y="18244"/>
                    <a:pt x="13002" y="18194"/>
                  </a:cubicBezTo>
                  <a:cubicBezTo>
                    <a:pt x="13041" y="18143"/>
                    <a:pt x="13089" y="18075"/>
                    <a:pt x="13104" y="18040"/>
                  </a:cubicBezTo>
                  <a:cubicBezTo>
                    <a:pt x="13121" y="18007"/>
                    <a:pt x="13142" y="17952"/>
                    <a:pt x="13151" y="17919"/>
                  </a:cubicBezTo>
                  <a:cubicBezTo>
                    <a:pt x="13164" y="17887"/>
                    <a:pt x="13198" y="17840"/>
                    <a:pt x="13232" y="17815"/>
                  </a:cubicBezTo>
                  <a:cubicBezTo>
                    <a:pt x="13267" y="17790"/>
                    <a:pt x="13299" y="17750"/>
                    <a:pt x="13301" y="17726"/>
                  </a:cubicBezTo>
                  <a:cubicBezTo>
                    <a:pt x="13306" y="17702"/>
                    <a:pt x="13329" y="17653"/>
                    <a:pt x="13357" y="17617"/>
                  </a:cubicBezTo>
                  <a:cubicBezTo>
                    <a:pt x="13383" y="17581"/>
                    <a:pt x="13451" y="17499"/>
                    <a:pt x="13507" y="17434"/>
                  </a:cubicBezTo>
                  <a:cubicBezTo>
                    <a:pt x="13560" y="17369"/>
                    <a:pt x="13618" y="17297"/>
                    <a:pt x="13633" y="17273"/>
                  </a:cubicBezTo>
                  <a:cubicBezTo>
                    <a:pt x="13646" y="17248"/>
                    <a:pt x="13678" y="17206"/>
                    <a:pt x="13705" y="17178"/>
                  </a:cubicBezTo>
                  <a:cubicBezTo>
                    <a:pt x="13730" y="17151"/>
                    <a:pt x="13758" y="17124"/>
                    <a:pt x="13767" y="17121"/>
                  </a:cubicBezTo>
                  <a:cubicBezTo>
                    <a:pt x="13775" y="17117"/>
                    <a:pt x="13792" y="17122"/>
                    <a:pt x="13806" y="17131"/>
                  </a:cubicBezTo>
                  <a:cubicBezTo>
                    <a:pt x="13820" y="17138"/>
                    <a:pt x="13841" y="17161"/>
                    <a:pt x="13856" y="17177"/>
                  </a:cubicBezTo>
                  <a:cubicBezTo>
                    <a:pt x="13873" y="17191"/>
                    <a:pt x="13906" y="17196"/>
                    <a:pt x="13934" y="17182"/>
                  </a:cubicBezTo>
                  <a:cubicBezTo>
                    <a:pt x="13963" y="17170"/>
                    <a:pt x="14013" y="17161"/>
                    <a:pt x="14047" y="17166"/>
                  </a:cubicBezTo>
                  <a:cubicBezTo>
                    <a:pt x="14081" y="17170"/>
                    <a:pt x="14119" y="17164"/>
                    <a:pt x="14132" y="17150"/>
                  </a:cubicBezTo>
                  <a:cubicBezTo>
                    <a:pt x="14146" y="17138"/>
                    <a:pt x="14189" y="17163"/>
                    <a:pt x="14231" y="17208"/>
                  </a:cubicBezTo>
                  <a:cubicBezTo>
                    <a:pt x="14269" y="17255"/>
                    <a:pt x="14301" y="17329"/>
                    <a:pt x="14295" y="17375"/>
                  </a:cubicBezTo>
                  <a:cubicBezTo>
                    <a:pt x="14290" y="17422"/>
                    <a:pt x="14237" y="17612"/>
                    <a:pt x="14177" y="17799"/>
                  </a:cubicBezTo>
                  <a:cubicBezTo>
                    <a:pt x="14117" y="17986"/>
                    <a:pt x="14063" y="18158"/>
                    <a:pt x="14053" y="18180"/>
                  </a:cubicBezTo>
                  <a:cubicBezTo>
                    <a:pt x="14042" y="18202"/>
                    <a:pt x="14043" y="18221"/>
                    <a:pt x="14054" y="18222"/>
                  </a:cubicBezTo>
                  <a:cubicBezTo>
                    <a:pt x="14065" y="18225"/>
                    <a:pt x="14078" y="18238"/>
                    <a:pt x="14084" y="18253"/>
                  </a:cubicBezTo>
                  <a:cubicBezTo>
                    <a:pt x="14090" y="18269"/>
                    <a:pt x="14101" y="18293"/>
                    <a:pt x="14111" y="18307"/>
                  </a:cubicBezTo>
                  <a:cubicBezTo>
                    <a:pt x="14121" y="18320"/>
                    <a:pt x="14123" y="18352"/>
                    <a:pt x="14118" y="18376"/>
                  </a:cubicBezTo>
                  <a:cubicBezTo>
                    <a:pt x="14111" y="18400"/>
                    <a:pt x="14104" y="18433"/>
                    <a:pt x="14100" y="18448"/>
                  </a:cubicBezTo>
                  <a:cubicBezTo>
                    <a:pt x="14093" y="18463"/>
                    <a:pt x="14092" y="18487"/>
                    <a:pt x="14092" y="18500"/>
                  </a:cubicBezTo>
                  <a:cubicBezTo>
                    <a:pt x="14094" y="18513"/>
                    <a:pt x="14087" y="18536"/>
                    <a:pt x="14077" y="18549"/>
                  </a:cubicBezTo>
                  <a:cubicBezTo>
                    <a:pt x="14069" y="18563"/>
                    <a:pt x="14064" y="18582"/>
                    <a:pt x="14070" y="18589"/>
                  </a:cubicBezTo>
                  <a:cubicBezTo>
                    <a:pt x="14075" y="18598"/>
                    <a:pt x="14080" y="18605"/>
                    <a:pt x="14081" y="18606"/>
                  </a:cubicBezTo>
                  <a:cubicBezTo>
                    <a:pt x="14082" y="18606"/>
                    <a:pt x="14114" y="18607"/>
                    <a:pt x="14150" y="18613"/>
                  </a:cubicBezTo>
                  <a:cubicBezTo>
                    <a:pt x="14187" y="18617"/>
                    <a:pt x="14241" y="18611"/>
                    <a:pt x="14271" y="18603"/>
                  </a:cubicBezTo>
                  <a:cubicBezTo>
                    <a:pt x="14302" y="18595"/>
                    <a:pt x="14328" y="18604"/>
                    <a:pt x="14330" y="18625"/>
                  </a:cubicBezTo>
                  <a:cubicBezTo>
                    <a:pt x="14333" y="18645"/>
                    <a:pt x="14347" y="18665"/>
                    <a:pt x="14362" y="18665"/>
                  </a:cubicBezTo>
                  <a:cubicBezTo>
                    <a:pt x="14376" y="18669"/>
                    <a:pt x="14400" y="18650"/>
                    <a:pt x="14418" y="18630"/>
                  </a:cubicBezTo>
                  <a:cubicBezTo>
                    <a:pt x="14435" y="18610"/>
                    <a:pt x="14463" y="18598"/>
                    <a:pt x="14481" y="18606"/>
                  </a:cubicBezTo>
                  <a:cubicBezTo>
                    <a:pt x="14499" y="18614"/>
                    <a:pt x="14541" y="18609"/>
                    <a:pt x="14574" y="18596"/>
                  </a:cubicBezTo>
                  <a:cubicBezTo>
                    <a:pt x="14608" y="18584"/>
                    <a:pt x="14647" y="18546"/>
                    <a:pt x="14666" y="18518"/>
                  </a:cubicBezTo>
                  <a:cubicBezTo>
                    <a:pt x="14685" y="18488"/>
                    <a:pt x="14721" y="18438"/>
                    <a:pt x="14748" y="18407"/>
                  </a:cubicBezTo>
                  <a:cubicBezTo>
                    <a:pt x="14775" y="18376"/>
                    <a:pt x="14781" y="18377"/>
                    <a:pt x="14760" y="18409"/>
                  </a:cubicBezTo>
                  <a:cubicBezTo>
                    <a:pt x="14739" y="18442"/>
                    <a:pt x="14729" y="18466"/>
                    <a:pt x="14737" y="18467"/>
                  </a:cubicBezTo>
                  <a:cubicBezTo>
                    <a:pt x="14746" y="18467"/>
                    <a:pt x="14745" y="18479"/>
                    <a:pt x="14738" y="18496"/>
                  </a:cubicBezTo>
                  <a:cubicBezTo>
                    <a:pt x="14729" y="18511"/>
                    <a:pt x="14733" y="18527"/>
                    <a:pt x="14741" y="18535"/>
                  </a:cubicBezTo>
                  <a:cubicBezTo>
                    <a:pt x="14750" y="18541"/>
                    <a:pt x="14810" y="18525"/>
                    <a:pt x="14872" y="18498"/>
                  </a:cubicBezTo>
                  <a:cubicBezTo>
                    <a:pt x="14934" y="18472"/>
                    <a:pt x="14995" y="18435"/>
                    <a:pt x="15008" y="18416"/>
                  </a:cubicBezTo>
                  <a:cubicBezTo>
                    <a:pt x="15021" y="18397"/>
                    <a:pt x="15059" y="18374"/>
                    <a:pt x="15094" y="18366"/>
                  </a:cubicBezTo>
                  <a:cubicBezTo>
                    <a:pt x="15128" y="18356"/>
                    <a:pt x="15185" y="18322"/>
                    <a:pt x="15217" y="18285"/>
                  </a:cubicBezTo>
                  <a:cubicBezTo>
                    <a:pt x="15250" y="18248"/>
                    <a:pt x="15297" y="18212"/>
                    <a:pt x="15320" y="18202"/>
                  </a:cubicBezTo>
                  <a:cubicBezTo>
                    <a:pt x="15345" y="18193"/>
                    <a:pt x="15392" y="18144"/>
                    <a:pt x="15429" y="18095"/>
                  </a:cubicBezTo>
                  <a:cubicBezTo>
                    <a:pt x="15466" y="18046"/>
                    <a:pt x="15495" y="18020"/>
                    <a:pt x="15496" y="18036"/>
                  </a:cubicBezTo>
                  <a:cubicBezTo>
                    <a:pt x="15497" y="18053"/>
                    <a:pt x="15514" y="18057"/>
                    <a:pt x="15532" y="18042"/>
                  </a:cubicBezTo>
                  <a:cubicBezTo>
                    <a:pt x="15552" y="18030"/>
                    <a:pt x="15565" y="18032"/>
                    <a:pt x="15561" y="18048"/>
                  </a:cubicBezTo>
                  <a:cubicBezTo>
                    <a:pt x="15555" y="18063"/>
                    <a:pt x="15528" y="18107"/>
                    <a:pt x="15494" y="18143"/>
                  </a:cubicBezTo>
                  <a:cubicBezTo>
                    <a:pt x="15461" y="18179"/>
                    <a:pt x="15410" y="18216"/>
                    <a:pt x="15383" y="18227"/>
                  </a:cubicBezTo>
                  <a:cubicBezTo>
                    <a:pt x="15356" y="18237"/>
                    <a:pt x="15308" y="18280"/>
                    <a:pt x="15273" y="18321"/>
                  </a:cubicBezTo>
                  <a:cubicBezTo>
                    <a:pt x="15242" y="18363"/>
                    <a:pt x="15237" y="18400"/>
                    <a:pt x="15267" y="18405"/>
                  </a:cubicBezTo>
                  <a:cubicBezTo>
                    <a:pt x="15297" y="18409"/>
                    <a:pt x="15339" y="18392"/>
                    <a:pt x="15360" y="18365"/>
                  </a:cubicBezTo>
                  <a:cubicBezTo>
                    <a:pt x="15381" y="18338"/>
                    <a:pt x="15420" y="18313"/>
                    <a:pt x="15446" y="18309"/>
                  </a:cubicBezTo>
                  <a:cubicBezTo>
                    <a:pt x="15471" y="18304"/>
                    <a:pt x="15506" y="18311"/>
                    <a:pt x="15524" y="18322"/>
                  </a:cubicBezTo>
                  <a:cubicBezTo>
                    <a:pt x="15542" y="18333"/>
                    <a:pt x="15603" y="18339"/>
                    <a:pt x="15660" y="18337"/>
                  </a:cubicBezTo>
                  <a:cubicBezTo>
                    <a:pt x="15716" y="18334"/>
                    <a:pt x="15797" y="18324"/>
                    <a:pt x="15839" y="18315"/>
                  </a:cubicBezTo>
                  <a:cubicBezTo>
                    <a:pt x="15881" y="18305"/>
                    <a:pt x="15889" y="18316"/>
                    <a:pt x="15856" y="18336"/>
                  </a:cubicBezTo>
                  <a:cubicBezTo>
                    <a:pt x="15822" y="18355"/>
                    <a:pt x="15764" y="18380"/>
                    <a:pt x="15727" y="18392"/>
                  </a:cubicBezTo>
                  <a:cubicBezTo>
                    <a:pt x="15690" y="18403"/>
                    <a:pt x="15636" y="18419"/>
                    <a:pt x="15609" y="18428"/>
                  </a:cubicBezTo>
                  <a:cubicBezTo>
                    <a:pt x="15582" y="18438"/>
                    <a:pt x="15553" y="18459"/>
                    <a:pt x="15547" y="18477"/>
                  </a:cubicBezTo>
                  <a:cubicBezTo>
                    <a:pt x="15542" y="18495"/>
                    <a:pt x="15535" y="18520"/>
                    <a:pt x="15536" y="18533"/>
                  </a:cubicBezTo>
                  <a:cubicBezTo>
                    <a:pt x="15539" y="18547"/>
                    <a:pt x="15525" y="18550"/>
                    <a:pt x="15511" y="18537"/>
                  </a:cubicBezTo>
                  <a:cubicBezTo>
                    <a:pt x="15496" y="18527"/>
                    <a:pt x="15482" y="18495"/>
                    <a:pt x="15483" y="18469"/>
                  </a:cubicBezTo>
                  <a:cubicBezTo>
                    <a:pt x="15480" y="18443"/>
                    <a:pt x="15468" y="18416"/>
                    <a:pt x="15451" y="18412"/>
                  </a:cubicBezTo>
                  <a:cubicBezTo>
                    <a:pt x="15435" y="18406"/>
                    <a:pt x="15384" y="18419"/>
                    <a:pt x="15339" y="18436"/>
                  </a:cubicBezTo>
                  <a:cubicBezTo>
                    <a:pt x="15294" y="18453"/>
                    <a:pt x="15216" y="18502"/>
                    <a:pt x="15166" y="18543"/>
                  </a:cubicBezTo>
                  <a:cubicBezTo>
                    <a:pt x="15116" y="18583"/>
                    <a:pt x="15027" y="18639"/>
                    <a:pt x="14966" y="18661"/>
                  </a:cubicBezTo>
                  <a:cubicBezTo>
                    <a:pt x="14906" y="18685"/>
                    <a:pt x="14813" y="18737"/>
                    <a:pt x="14758" y="18775"/>
                  </a:cubicBezTo>
                  <a:cubicBezTo>
                    <a:pt x="14703" y="18813"/>
                    <a:pt x="14651" y="18864"/>
                    <a:pt x="14643" y="18888"/>
                  </a:cubicBezTo>
                  <a:cubicBezTo>
                    <a:pt x="14634" y="18912"/>
                    <a:pt x="14598" y="18961"/>
                    <a:pt x="14560" y="18993"/>
                  </a:cubicBezTo>
                  <a:cubicBezTo>
                    <a:pt x="14524" y="19027"/>
                    <a:pt x="14472" y="19094"/>
                    <a:pt x="14446" y="19143"/>
                  </a:cubicBezTo>
                  <a:cubicBezTo>
                    <a:pt x="14423" y="19192"/>
                    <a:pt x="14393" y="19259"/>
                    <a:pt x="14386" y="19294"/>
                  </a:cubicBezTo>
                  <a:cubicBezTo>
                    <a:pt x="14379" y="19328"/>
                    <a:pt x="14378" y="19378"/>
                    <a:pt x="14382" y="19405"/>
                  </a:cubicBezTo>
                  <a:cubicBezTo>
                    <a:pt x="14387" y="19431"/>
                    <a:pt x="14389" y="19477"/>
                    <a:pt x="14389" y="19507"/>
                  </a:cubicBezTo>
                  <a:cubicBezTo>
                    <a:pt x="14388" y="19536"/>
                    <a:pt x="14400" y="19551"/>
                    <a:pt x="14415" y="19540"/>
                  </a:cubicBezTo>
                  <a:cubicBezTo>
                    <a:pt x="14430" y="19528"/>
                    <a:pt x="14452" y="19525"/>
                    <a:pt x="14464" y="19533"/>
                  </a:cubicBezTo>
                  <a:cubicBezTo>
                    <a:pt x="14476" y="19541"/>
                    <a:pt x="14485" y="19575"/>
                    <a:pt x="14483" y="19609"/>
                  </a:cubicBezTo>
                  <a:cubicBezTo>
                    <a:pt x="14484" y="19643"/>
                    <a:pt x="14496" y="19681"/>
                    <a:pt x="14513" y="19697"/>
                  </a:cubicBezTo>
                  <a:cubicBezTo>
                    <a:pt x="14533" y="19710"/>
                    <a:pt x="14561" y="19712"/>
                    <a:pt x="14577" y="19698"/>
                  </a:cubicBezTo>
                  <a:cubicBezTo>
                    <a:pt x="14593" y="19683"/>
                    <a:pt x="14615" y="19683"/>
                    <a:pt x="14627" y="19694"/>
                  </a:cubicBezTo>
                  <a:cubicBezTo>
                    <a:pt x="14637" y="19708"/>
                    <a:pt x="14659" y="19705"/>
                    <a:pt x="14673" y="19692"/>
                  </a:cubicBezTo>
                  <a:cubicBezTo>
                    <a:pt x="14685" y="19678"/>
                    <a:pt x="14701" y="19645"/>
                    <a:pt x="14709" y="19618"/>
                  </a:cubicBezTo>
                  <a:cubicBezTo>
                    <a:pt x="14717" y="19591"/>
                    <a:pt x="14730" y="19560"/>
                    <a:pt x="14742" y="19552"/>
                  </a:cubicBezTo>
                  <a:cubicBezTo>
                    <a:pt x="14754" y="19542"/>
                    <a:pt x="14777" y="19537"/>
                    <a:pt x="14792" y="19535"/>
                  </a:cubicBezTo>
                  <a:cubicBezTo>
                    <a:pt x="14807" y="19536"/>
                    <a:pt x="14846" y="19510"/>
                    <a:pt x="14881" y="19481"/>
                  </a:cubicBezTo>
                  <a:cubicBezTo>
                    <a:pt x="14914" y="19450"/>
                    <a:pt x="14965" y="19420"/>
                    <a:pt x="14992" y="19410"/>
                  </a:cubicBezTo>
                  <a:cubicBezTo>
                    <a:pt x="15019" y="19400"/>
                    <a:pt x="15078" y="19346"/>
                    <a:pt x="15121" y="19288"/>
                  </a:cubicBezTo>
                  <a:cubicBezTo>
                    <a:pt x="15166" y="19231"/>
                    <a:pt x="15239" y="19148"/>
                    <a:pt x="15286" y="19106"/>
                  </a:cubicBezTo>
                  <a:cubicBezTo>
                    <a:pt x="15332" y="19064"/>
                    <a:pt x="15364" y="19018"/>
                    <a:pt x="15357" y="19004"/>
                  </a:cubicBezTo>
                  <a:cubicBezTo>
                    <a:pt x="15350" y="18990"/>
                    <a:pt x="15364" y="18949"/>
                    <a:pt x="15389" y="18911"/>
                  </a:cubicBezTo>
                  <a:cubicBezTo>
                    <a:pt x="15414" y="18874"/>
                    <a:pt x="15449" y="18844"/>
                    <a:pt x="15465" y="18844"/>
                  </a:cubicBezTo>
                  <a:cubicBezTo>
                    <a:pt x="15480" y="18845"/>
                    <a:pt x="15503" y="18828"/>
                    <a:pt x="15515" y="18810"/>
                  </a:cubicBezTo>
                  <a:cubicBezTo>
                    <a:pt x="15528" y="18791"/>
                    <a:pt x="15548" y="18777"/>
                    <a:pt x="15561" y="18777"/>
                  </a:cubicBezTo>
                  <a:cubicBezTo>
                    <a:pt x="15573" y="18775"/>
                    <a:pt x="15587" y="18802"/>
                    <a:pt x="15597" y="18831"/>
                  </a:cubicBezTo>
                  <a:cubicBezTo>
                    <a:pt x="15604" y="18861"/>
                    <a:pt x="15640" y="18886"/>
                    <a:pt x="15676" y="18884"/>
                  </a:cubicBezTo>
                  <a:cubicBezTo>
                    <a:pt x="15713" y="18883"/>
                    <a:pt x="15740" y="18871"/>
                    <a:pt x="15740" y="18858"/>
                  </a:cubicBezTo>
                  <a:cubicBezTo>
                    <a:pt x="15738" y="18844"/>
                    <a:pt x="15757" y="18830"/>
                    <a:pt x="15779" y="18827"/>
                  </a:cubicBezTo>
                  <a:cubicBezTo>
                    <a:pt x="15801" y="18825"/>
                    <a:pt x="15857" y="18796"/>
                    <a:pt x="15904" y="18764"/>
                  </a:cubicBezTo>
                  <a:cubicBezTo>
                    <a:pt x="15951" y="18733"/>
                    <a:pt x="16025" y="18692"/>
                    <a:pt x="16070" y="18676"/>
                  </a:cubicBezTo>
                  <a:cubicBezTo>
                    <a:pt x="16115" y="18659"/>
                    <a:pt x="16192" y="18627"/>
                    <a:pt x="16244" y="18608"/>
                  </a:cubicBezTo>
                  <a:cubicBezTo>
                    <a:pt x="16294" y="18587"/>
                    <a:pt x="16357" y="18568"/>
                    <a:pt x="16382" y="18563"/>
                  </a:cubicBezTo>
                  <a:cubicBezTo>
                    <a:pt x="16408" y="18560"/>
                    <a:pt x="16486" y="18517"/>
                    <a:pt x="16555" y="18470"/>
                  </a:cubicBezTo>
                  <a:cubicBezTo>
                    <a:pt x="16625" y="18425"/>
                    <a:pt x="16717" y="18372"/>
                    <a:pt x="16760" y="18354"/>
                  </a:cubicBezTo>
                  <a:cubicBezTo>
                    <a:pt x="16802" y="18337"/>
                    <a:pt x="16860" y="18319"/>
                    <a:pt x="16887" y="18310"/>
                  </a:cubicBezTo>
                  <a:cubicBezTo>
                    <a:pt x="16914" y="18304"/>
                    <a:pt x="16950" y="18303"/>
                    <a:pt x="16966" y="18308"/>
                  </a:cubicBezTo>
                  <a:cubicBezTo>
                    <a:pt x="16981" y="18315"/>
                    <a:pt x="17016" y="18306"/>
                    <a:pt x="17040" y="18292"/>
                  </a:cubicBezTo>
                  <a:cubicBezTo>
                    <a:pt x="17064" y="18278"/>
                    <a:pt x="17075" y="18255"/>
                    <a:pt x="17064" y="18241"/>
                  </a:cubicBezTo>
                  <a:cubicBezTo>
                    <a:pt x="17053" y="18226"/>
                    <a:pt x="17020" y="18218"/>
                    <a:pt x="16993" y="18225"/>
                  </a:cubicBezTo>
                  <a:cubicBezTo>
                    <a:pt x="16964" y="18230"/>
                    <a:pt x="16922" y="18224"/>
                    <a:pt x="16897" y="18213"/>
                  </a:cubicBezTo>
                  <a:cubicBezTo>
                    <a:pt x="16874" y="18198"/>
                    <a:pt x="16864" y="18186"/>
                    <a:pt x="16876" y="18181"/>
                  </a:cubicBezTo>
                  <a:cubicBezTo>
                    <a:pt x="16889" y="18176"/>
                    <a:pt x="16916" y="18164"/>
                    <a:pt x="16936" y="18157"/>
                  </a:cubicBezTo>
                  <a:cubicBezTo>
                    <a:pt x="16956" y="18149"/>
                    <a:pt x="16975" y="18130"/>
                    <a:pt x="16975" y="18115"/>
                  </a:cubicBezTo>
                  <a:cubicBezTo>
                    <a:pt x="16974" y="18100"/>
                    <a:pt x="16940" y="18074"/>
                    <a:pt x="16897" y="18053"/>
                  </a:cubicBezTo>
                  <a:cubicBezTo>
                    <a:pt x="16851" y="18035"/>
                    <a:pt x="16788" y="18018"/>
                    <a:pt x="16754" y="18016"/>
                  </a:cubicBezTo>
                  <a:cubicBezTo>
                    <a:pt x="16720" y="18015"/>
                    <a:pt x="16699" y="18005"/>
                    <a:pt x="16708" y="17992"/>
                  </a:cubicBezTo>
                  <a:cubicBezTo>
                    <a:pt x="16718" y="17979"/>
                    <a:pt x="16724" y="17949"/>
                    <a:pt x="16724" y="17925"/>
                  </a:cubicBezTo>
                  <a:cubicBezTo>
                    <a:pt x="16726" y="17901"/>
                    <a:pt x="16686" y="17910"/>
                    <a:pt x="16641" y="17946"/>
                  </a:cubicBezTo>
                  <a:cubicBezTo>
                    <a:pt x="16596" y="17982"/>
                    <a:pt x="16549" y="18023"/>
                    <a:pt x="16539" y="18038"/>
                  </a:cubicBezTo>
                  <a:cubicBezTo>
                    <a:pt x="16528" y="18054"/>
                    <a:pt x="16480" y="18066"/>
                    <a:pt x="16434" y="18062"/>
                  </a:cubicBezTo>
                  <a:cubicBezTo>
                    <a:pt x="16387" y="18062"/>
                    <a:pt x="16347" y="18046"/>
                    <a:pt x="16341" y="18031"/>
                  </a:cubicBezTo>
                  <a:cubicBezTo>
                    <a:pt x="16337" y="18016"/>
                    <a:pt x="16303" y="17997"/>
                    <a:pt x="16267" y="17986"/>
                  </a:cubicBezTo>
                  <a:cubicBezTo>
                    <a:pt x="16231" y="17976"/>
                    <a:pt x="16191" y="17978"/>
                    <a:pt x="16177" y="17988"/>
                  </a:cubicBezTo>
                  <a:cubicBezTo>
                    <a:pt x="16164" y="17998"/>
                    <a:pt x="16132" y="18000"/>
                    <a:pt x="16109" y="17990"/>
                  </a:cubicBezTo>
                  <a:cubicBezTo>
                    <a:pt x="16085" y="17981"/>
                    <a:pt x="16030" y="17979"/>
                    <a:pt x="15987" y="17984"/>
                  </a:cubicBezTo>
                  <a:cubicBezTo>
                    <a:pt x="15944" y="17990"/>
                    <a:pt x="15882" y="17977"/>
                    <a:pt x="15848" y="17955"/>
                  </a:cubicBezTo>
                  <a:cubicBezTo>
                    <a:pt x="15814" y="17933"/>
                    <a:pt x="15815" y="17904"/>
                    <a:pt x="15846" y="17887"/>
                  </a:cubicBezTo>
                  <a:cubicBezTo>
                    <a:pt x="15878" y="17871"/>
                    <a:pt x="15915" y="17842"/>
                    <a:pt x="15924" y="17819"/>
                  </a:cubicBezTo>
                  <a:cubicBezTo>
                    <a:pt x="15936" y="17797"/>
                    <a:pt x="15910" y="17782"/>
                    <a:pt x="15871" y="17785"/>
                  </a:cubicBezTo>
                  <a:cubicBezTo>
                    <a:pt x="15832" y="17790"/>
                    <a:pt x="15792" y="17783"/>
                    <a:pt x="15781" y="17774"/>
                  </a:cubicBezTo>
                  <a:cubicBezTo>
                    <a:pt x="15771" y="17764"/>
                    <a:pt x="15740" y="17761"/>
                    <a:pt x="15712" y="17763"/>
                  </a:cubicBezTo>
                  <a:cubicBezTo>
                    <a:pt x="15685" y="17769"/>
                    <a:pt x="15653" y="17742"/>
                    <a:pt x="15646" y="17707"/>
                  </a:cubicBezTo>
                  <a:cubicBezTo>
                    <a:pt x="15638" y="17672"/>
                    <a:pt x="15619" y="17638"/>
                    <a:pt x="15609" y="17628"/>
                  </a:cubicBezTo>
                  <a:cubicBezTo>
                    <a:pt x="15598" y="17619"/>
                    <a:pt x="15593" y="17580"/>
                    <a:pt x="15595" y="17540"/>
                  </a:cubicBezTo>
                  <a:cubicBezTo>
                    <a:pt x="15599" y="17500"/>
                    <a:pt x="15607" y="17446"/>
                    <a:pt x="15617" y="17419"/>
                  </a:cubicBezTo>
                  <a:cubicBezTo>
                    <a:pt x="15624" y="17392"/>
                    <a:pt x="15621" y="17353"/>
                    <a:pt x="15604" y="17335"/>
                  </a:cubicBezTo>
                  <a:cubicBezTo>
                    <a:pt x="15588" y="17316"/>
                    <a:pt x="15594" y="17279"/>
                    <a:pt x="15613" y="17252"/>
                  </a:cubicBezTo>
                  <a:cubicBezTo>
                    <a:pt x="15633" y="17225"/>
                    <a:pt x="15650" y="17192"/>
                    <a:pt x="15652" y="17179"/>
                  </a:cubicBezTo>
                  <a:cubicBezTo>
                    <a:pt x="15656" y="17165"/>
                    <a:pt x="15615" y="17160"/>
                    <a:pt x="15564" y="17166"/>
                  </a:cubicBezTo>
                  <a:cubicBezTo>
                    <a:pt x="15513" y="17172"/>
                    <a:pt x="15488" y="17160"/>
                    <a:pt x="15510" y="17139"/>
                  </a:cubicBezTo>
                  <a:cubicBezTo>
                    <a:pt x="15529" y="17117"/>
                    <a:pt x="15562" y="17096"/>
                    <a:pt x="15579" y="17089"/>
                  </a:cubicBezTo>
                  <a:cubicBezTo>
                    <a:pt x="15596" y="17084"/>
                    <a:pt x="15647" y="17014"/>
                    <a:pt x="15694" y="16936"/>
                  </a:cubicBezTo>
                  <a:cubicBezTo>
                    <a:pt x="15739" y="16857"/>
                    <a:pt x="15804" y="16771"/>
                    <a:pt x="15833" y="16744"/>
                  </a:cubicBezTo>
                  <a:cubicBezTo>
                    <a:pt x="15861" y="16717"/>
                    <a:pt x="15885" y="16680"/>
                    <a:pt x="15881" y="16663"/>
                  </a:cubicBezTo>
                  <a:cubicBezTo>
                    <a:pt x="15879" y="16645"/>
                    <a:pt x="15860" y="16634"/>
                    <a:pt x="15840" y="16640"/>
                  </a:cubicBezTo>
                  <a:cubicBezTo>
                    <a:pt x="15820" y="16646"/>
                    <a:pt x="15797" y="16640"/>
                    <a:pt x="15793" y="16629"/>
                  </a:cubicBezTo>
                  <a:cubicBezTo>
                    <a:pt x="15789" y="16617"/>
                    <a:pt x="15761" y="16610"/>
                    <a:pt x="15735" y="16616"/>
                  </a:cubicBezTo>
                  <a:cubicBezTo>
                    <a:pt x="15708" y="16619"/>
                    <a:pt x="15663" y="16644"/>
                    <a:pt x="15633" y="16667"/>
                  </a:cubicBezTo>
                  <a:cubicBezTo>
                    <a:pt x="15603" y="16691"/>
                    <a:pt x="15552" y="16728"/>
                    <a:pt x="15519" y="16746"/>
                  </a:cubicBezTo>
                  <a:cubicBezTo>
                    <a:pt x="15486" y="16766"/>
                    <a:pt x="15455" y="16767"/>
                    <a:pt x="15448" y="16750"/>
                  </a:cubicBezTo>
                  <a:cubicBezTo>
                    <a:pt x="15440" y="16733"/>
                    <a:pt x="15434" y="16698"/>
                    <a:pt x="15430" y="16672"/>
                  </a:cubicBezTo>
                  <a:cubicBezTo>
                    <a:pt x="15429" y="16646"/>
                    <a:pt x="15384" y="16618"/>
                    <a:pt x="15334" y="16612"/>
                  </a:cubicBezTo>
                  <a:cubicBezTo>
                    <a:pt x="15285" y="16605"/>
                    <a:pt x="15215" y="16601"/>
                    <a:pt x="15179" y="16603"/>
                  </a:cubicBezTo>
                  <a:cubicBezTo>
                    <a:pt x="15144" y="16607"/>
                    <a:pt x="15082" y="16614"/>
                    <a:pt x="15044" y="16627"/>
                  </a:cubicBezTo>
                  <a:cubicBezTo>
                    <a:pt x="15007" y="16640"/>
                    <a:pt x="15005" y="16627"/>
                    <a:pt x="15045" y="16605"/>
                  </a:cubicBezTo>
                  <a:cubicBezTo>
                    <a:pt x="15084" y="16582"/>
                    <a:pt x="15138" y="16564"/>
                    <a:pt x="15165" y="16565"/>
                  </a:cubicBezTo>
                  <a:cubicBezTo>
                    <a:pt x="15193" y="16566"/>
                    <a:pt x="15240" y="16557"/>
                    <a:pt x="15271" y="16548"/>
                  </a:cubicBezTo>
                  <a:cubicBezTo>
                    <a:pt x="15301" y="16537"/>
                    <a:pt x="15343" y="16514"/>
                    <a:pt x="15364" y="16498"/>
                  </a:cubicBezTo>
                  <a:cubicBezTo>
                    <a:pt x="15386" y="16480"/>
                    <a:pt x="15426" y="16472"/>
                    <a:pt x="15453" y="16479"/>
                  </a:cubicBezTo>
                  <a:cubicBezTo>
                    <a:pt x="15481" y="16484"/>
                    <a:pt x="15518" y="16505"/>
                    <a:pt x="15537" y="16521"/>
                  </a:cubicBezTo>
                  <a:cubicBezTo>
                    <a:pt x="15554" y="16539"/>
                    <a:pt x="15595" y="16545"/>
                    <a:pt x="15625" y="16543"/>
                  </a:cubicBezTo>
                  <a:cubicBezTo>
                    <a:pt x="15654" y="16540"/>
                    <a:pt x="15711" y="16508"/>
                    <a:pt x="15752" y="16473"/>
                  </a:cubicBezTo>
                  <a:cubicBezTo>
                    <a:pt x="15793" y="16437"/>
                    <a:pt x="15845" y="16405"/>
                    <a:pt x="15867" y="16400"/>
                  </a:cubicBezTo>
                  <a:cubicBezTo>
                    <a:pt x="15888" y="16392"/>
                    <a:pt x="15934" y="16367"/>
                    <a:pt x="15965" y="16338"/>
                  </a:cubicBezTo>
                  <a:cubicBezTo>
                    <a:pt x="15997" y="16310"/>
                    <a:pt x="16047" y="16276"/>
                    <a:pt x="16079" y="16265"/>
                  </a:cubicBezTo>
                  <a:cubicBezTo>
                    <a:pt x="16109" y="16251"/>
                    <a:pt x="16158" y="16199"/>
                    <a:pt x="16188" y="16146"/>
                  </a:cubicBezTo>
                  <a:cubicBezTo>
                    <a:pt x="16216" y="16092"/>
                    <a:pt x="16232" y="16044"/>
                    <a:pt x="16222" y="16035"/>
                  </a:cubicBezTo>
                  <a:cubicBezTo>
                    <a:pt x="16211" y="16026"/>
                    <a:pt x="16216" y="16011"/>
                    <a:pt x="16234" y="16001"/>
                  </a:cubicBezTo>
                  <a:cubicBezTo>
                    <a:pt x="16252" y="15990"/>
                    <a:pt x="16263" y="15970"/>
                    <a:pt x="16253" y="15954"/>
                  </a:cubicBezTo>
                  <a:cubicBezTo>
                    <a:pt x="16247" y="15938"/>
                    <a:pt x="16217" y="15919"/>
                    <a:pt x="16189" y="15912"/>
                  </a:cubicBezTo>
                  <a:cubicBezTo>
                    <a:pt x="16162" y="15904"/>
                    <a:pt x="16121" y="15903"/>
                    <a:pt x="16099" y="15908"/>
                  </a:cubicBezTo>
                  <a:cubicBezTo>
                    <a:pt x="16077" y="15913"/>
                    <a:pt x="16066" y="15911"/>
                    <a:pt x="16070" y="15900"/>
                  </a:cubicBezTo>
                  <a:cubicBezTo>
                    <a:pt x="16075" y="15890"/>
                    <a:pt x="16078" y="15878"/>
                    <a:pt x="16076" y="15872"/>
                  </a:cubicBezTo>
                  <a:cubicBezTo>
                    <a:pt x="16072" y="15867"/>
                    <a:pt x="16105" y="15863"/>
                    <a:pt x="16145" y="15864"/>
                  </a:cubicBezTo>
                  <a:cubicBezTo>
                    <a:pt x="16185" y="15865"/>
                    <a:pt x="16219" y="15856"/>
                    <a:pt x="16222" y="15843"/>
                  </a:cubicBezTo>
                  <a:cubicBezTo>
                    <a:pt x="16223" y="15829"/>
                    <a:pt x="16188" y="15796"/>
                    <a:pt x="16139" y="15772"/>
                  </a:cubicBezTo>
                  <a:cubicBezTo>
                    <a:pt x="16091" y="15747"/>
                    <a:pt x="16014" y="15720"/>
                    <a:pt x="15969" y="15706"/>
                  </a:cubicBezTo>
                  <a:cubicBezTo>
                    <a:pt x="15924" y="15695"/>
                    <a:pt x="15812" y="15697"/>
                    <a:pt x="15721" y="15710"/>
                  </a:cubicBezTo>
                  <a:cubicBezTo>
                    <a:pt x="15630" y="15723"/>
                    <a:pt x="15533" y="15751"/>
                    <a:pt x="15504" y="15770"/>
                  </a:cubicBezTo>
                  <a:cubicBezTo>
                    <a:pt x="15474" y="15789"/>
                    <a:pt x="15428" y="15811"/>
                    <a:pt x="15400" y="15819"/>
                  </a:cubicBezTo>
                  <a:cubicBezTo>
                    <a:pt x="15371" y="15825"/>
                    <a:pt x="15275" y="15867"/>
                    <a:pt x="15186" y="15913"/>
                  </a:cubicBezTo>
                  <a:cubicBezTo>
                    <a:pt x="15097" y="15957"/>
                    <a:pt x="14968" y="16014"/>
                    <a:pt x="14898" y="16038"/>
                  </a:cubicBezTo>
                  <a:cubicBezTo>
                    <a:pt x="14829" y="16063"/>
                    <a:pt x="14741" y="16104"/>
                    <a:pt x="14703" y="16132"/>
                  </a:cubicBezTo>
                  <a:cubicBezTo>
                    <a:pt x="14666" y="16160"/>
                    <a:pt x="14603" y="16193"/>
                    <a:pt x="14564" y="16203"/>
                  </a:cubicBezTo>
                  <a:cubicBezTo>
                    <a:pt x="14527" y="16217"/>
                    <a:pt x="14440" y="16265"/>
                    <a:pt x="14375" y="16317"/>
                  </a:cubicBezTo>
                  <a:cubicBezTo>
                    <a:pt x="14311" y="16369"/>
                    <a:pt x="14175" y="16476"/>
                    <a:pt x="14076" y="16558"/>
                  </a:cubicBezTo>
                  <a:cubicBezTo>
                    <a:pt x="13977" y="16641"/>
                    <a:pt x="13834" y="16769"/>
                    <a:pt x="13759" y="16846"/>
                  </a:cubicBezTo>
                  <a:cubicBezTo>
                    <a:pt x="13682" y="16922"/>
                    <a:pt x="13602" y="16997"/>
                    <a:pt x="13580" y="17013"/>
                  </a:cubicBezTo>
                  <a:cubicBezTo>
                    <a:pt x="13556" y="17027"/>
                    <a:pt x="13510" y="17072"/>
                    <a:pt x="13476" y="17110"/>
                  </a:cubicBezTo>
                  <a:cubicBezTo>
                    <a:pt x="13442" y="17149"/>
                    <a:pt x="13380" y="17226"/>
                    <a:pt x="13336" y="17279"/>
                  </a:cubicBezTo>
                  <a:cubicBezTo>
                    <a:pt x="13295" y="17334"/>
                    <a:pt x="13222" y="17409"/>
                    <a:pt x="13173" y="17445"/>
                  </a:cubicBezTo>
                  <a:cubicBezTo>
                    <a:pt x="13126" y="17483"/>
                    <a:pt x="13035" y="17545"/>
                    <a:pt x="12975" y="17587"/>
                  </a:cubicBezTo>
                  <a:cubicBezTo>
                    <a:pt x="12914" y="17627"/>
                    <a:pt x="12807" y="17697"/>
                    <a:pt x="12738" y="17739"/>
                  </a:cubicBezTo>
                  <a:cubicBezTo>
                    <a:pt x="12667" y="17782"/>
                    <a:pt x="12588" y="17822"/>
                    <a:pt x="12558" y="17826"/>
                  </a:cubicBezTo>
                  <a:cubicBezTo>
                    <a:pt x="12529" y="17829"/>
                    <a:pt x="12536" y="17818"/>
                    <a:pt x="12575" y="17802"/>
                  </a:cubicBezTo>
                  <a:cubicBezTo>
                    <a:pt x="12613" y="17783"/>
                    <a:pt x="12703" y="17734"/>
                    <a:pt x="12775" y="17691"/>
                  </a:cubicBezTo>
                  <a:cubicBezTo>
                    <a:pt x="12847" y="17649"/>
                    <a:pt x="12911" y="17593"/>
                    <a:pt x="12918" y="17570"/>
                  </a:cubicBezTo>
                  <a:cubicBezTo>
                    <a:pt x="12926" y="17548"/>
                    <a:pt x="12984" y="17489"/>
                    <a:pt x="13049" y="17440"/>
                  </a:cubicBezTo>
                  <a:cubicBezTo>
                    <a:pt x="13113" y="17391"/>
                    <a:pt x="13184" y="17324"/>
                    <a:pt x="13207" y="17291"/>
                  </a:cubicBezTo>
                  <a:cubicBezTo>
                    <a:pt x="13229" y="17258"/>
                    <a:pt x="13260" y="17201"/>
                    <a:pt x="13276" y="17164"/>
                  </a:cubicBezTo>
                  <a:cubicBezTo>
                    <a:pt x="13292" y="17127"/>
                    <a:pt x="13326" y="17087"/>
                    <a:pt x="13353" y="17075"/>
                  </a:cubicBezTo>
                  <a:cubicBezTo>
                    <a:pt x="13380" y="17063"/>
                    <a:pt x="13430" y="17023"/>
                    <a:pt x="13463" y="16985"/>
                  </a:cubicBezTo>
                  <a:cubicBezTo>
                    <a:pt x="13498" y="16948"/>
                    <a:pt x="13556" y="16896"/>
                    <a:pt x="13593" y="16870"/>
                  </a:cubicBezTo>
                  <a:cubicBezTo>
                    <a:pt x="13630" y="16844"/>
                    <a:pt x="13679" y="16782"/>
                    <a:pt x="13701" y="16731"/>
                  </a:cubicBezTo>
                  <a:cubicBezTo>
                    <a:pt x="13721" y="16679"/>
                    <a:pt x="13786" y="16607"/>
                    <a:pt x="13842" y="16570"/>
                  </a:cubicBezTo>
                  <a:cubicBezTo>
                    <a:pt x="13896" y="16530"/>
                    <a:pt x="13976" y="16455"/>
                    <a:pt x="14016" y="16399"/>
                  </a:cubicBezTo>
                  <a:cubicBezTo>
                    <a:pt x="14055" y="16343"/>
                    <a:pt x="14102" y="16292"/>
                    <a:pt x="14115" y="16283"/>
                  </a:cubicBezTo>
                  <a:cubicBezTo>
                    <a:pt x="14131" y="16276"/>
                    <a:pt x="14149" y="16256"/>
                    <a:pt x="14159" y="16241"/>
                  </a:cubicBezTo>
                  <a:cubicBezTo>
                    <a:pt x="14167" y="16225"/>
                    <a:pt x="14202" y="16191"/>
                    <a:pt x="14232" y="16164"/>
                  </a:cubicBezTo>
                  <a:cubicBezTo>
                    <a:pt x="14264" y="16137"/>
                    <a:pt x="14310" y="16105"/>
                    <a:pt x="14336" y="16095"/>
                  </a:cubicBezTo>
                  <a:cubicBezTo>
                    <a:pt x="14362" y="16084"/>
                    <a:pt x="14397" y="16051"/>
                    <a:pt x="14412" y="16021"/>
                  </a:cubicBezTo>
                  <a:cubicBezTo>
                    <a:pt x="14428" y="15990"/>
                    <a:pt x="14460" y="15950"/>
                    <a:pt x="14485" y="15933"/>
                  </a:cubicBezTo>
                  <a:cubicBezTo>
                    <a:pt x="14508" y="15914"/>
                    <a:pt x="14533" y="15909"/>
                    <a:pt x="14544" y="15917"/>
                  </a:cubicBezTo>
                  <a:cubicBezTo>
                    <a:pt x="14551" y="15927"/>
                    <a:pt x="14572" y="15929"/>
                    <a:pt x="14587" y="15922"/>
                  </a:cubicBezTo>
                  <a:cubicBezTo>
                    <a:pt x="14604" y="15916"/>
                    <a:pt x="14637" y="15880"/>
                    <a:pt x="14664" y="15845"/>
                  </a:cubicBezTo>
                  <a:cubicBezTo>
                    <a:pt x="14690" y="15810"/>
                    <a:pt x="14750" y="15774"/>
                    <a:pt x="14796" y="15761"/>
                  </a:cubicBezTo>
                  <a:cubicBezTo>
                    <a:pt x="14842" y="15751"/>
                    <a:pt x="14897" y="15728"/>
                    <a:pt x="14921" y="15714"/>
                  </a:cubicBezTo>
                  <a:cubicBezTo>
                    <a:pt x="14943" y="15699"/>
                    <a:pt x="14996" y="15684"/>
                    <a:pt x="15035" y="15674"/>
                  </a:cubicBezTo>
                  <a:cubicBezTo>
                    <a:pt x="15075" y="15668"/>
                    <a:pt x="15125" y="15640"/>
                    <a:pt x="15145" y="15614"/>
                  </a:cubicBezTo>
                  <a:cubicBezTo>
                    <a:pt x="15167" y="15588"/>
                    <a:pt x="15191" y="15537"/>
                    <a:pt x="15201" y="15502"/>
                  </a:cubicBezTo>
                  <a:cubicBezTo>
                    <a:pt x="15213" y="15467"/>
                    <a:pt x="15232" y="15424"/>
                    <a:pt x="15246" y="15407"/>
                  </a:cubicBezTo>
                  <a:cubicBezTo>
                    <a:pt x="15262" y="15391"/>
                    <a:pt x="15278" y="15358"/>
                    <a:pt x="15283" y="15336"/>
                  </a:cubicBezTo>
                  <a:cubicBezTo>
                    <a:pt x="15291" y="15315"/>
                    <a:pt x="15320" y="15279"/>
                    <a:pt x="15355" y="15260"/>
                  </a:cubicBezTo>
                  <a:cubicBezTo>
                    <a:pt x="15388" y="15240"/>
                    <a:pt x="15461" y="15177"/>
                    <a:pt x="15519" y="15122"/>
                  </a:cubicBezTo>
                  <a:cubicBezTo>
                    <a:pt x="15576" y="15067"/>
                    <a:pt x="15643" y="15015"/>
                    <a:pt x="15668" y="15005"/>
                  </a:cubicBezTo>
                  <a:cubicBezTo>
                    <a:pt x="15693" y="14995"/>
                    <a:pt x="15725" y="14976"/>
                    <a:pt x="15739" y="14962"/>
                  </a:cubicBezTo>
                  <a:cubicBezTo>
                    <a:pt x="15753" y="14948"/>
                    <a:pt x="15754" y="14929"/>
                    <a:pt x="15746" y="14917"/>
                  </a:cubicBezTo>
                  <a:cubicBezTo>
                    <a:pt x="15737" y="14905"/>
                    <a:pt x="15742" y="14882"/>
                    <a:pt x="15758" y="14863"/>
                  </a:cubicBezTo>
                  <a:cubicBezTo>
                    <a:pt x="15774" y="14844"/>
                    <a:pt x="15808" y="14817"/>
                    <a:pt x="15831" y="14802"/>
                  </a:cubicBezTo>
                  <a:cubicBezTo>
                    <a:pt x="15854" y="14788"/>
                    <a:pt x="15890" y="14792"/>
                    <a:pt x="15908" y="14813"/>
                  </a:cubicBezTo>
                  <a:cubicBezTo>
                    <a:pt x="15928" y="14834"/>
                    <a:pt x="15969" y="14854"/>
                    <a:pt x="16000" y="14859"/>
                  </a:cubicBezTo>
                  <a:cubicBezTo>
                    <a:pt x="16032" y="14863"/>
                    <a:pt x="16104" y="14853"/>
                    <a:pt x="16161" y="14833"/>
                  </a:cubicBezTo>
                  <a:cubicBezTo>
                    <a:pt x="16218" y="14813"/>
                    <a:pt x="16297" y="14807"/>
                    <a:pt x="16335" y="14817"/>
                  </a:cubicBezTo>
                  <a:cubicBezTo>
                    <a:pt x="16373" y="14826"/>
                    <a:pt x="16418" y="14832"/>
                    <a:pt x="16436" y="14828"/>
                  </a:cubicBezTo>
                  <a:cubicBezTo>
                    <a:pt x="16454" y="14823"/>
                    <a:pt x="16481" y="14823"/>
                    <a:pt x="16496" y="14825"/>
                  </a:cubicBezTo>
                  <a:cubicBezTo>
                    <a:pt x="16511" y="14827"/>
                    <a:pt x="16550" y="14810"/>
                    <a:pt x="16585" y="14789"/>
                  </a:cubicBezTo>
                  <a:cubicBezTo>
                    <a:pt x="16618" y="14766"/>
                    <a:pt x="16660" y="14759"/>
                    <a:pt x="16678" y="14773"/>
                  </a:cubicBezTo>
                  <a:cubicBezTo>
                    <a:pt x="16696" y="14786"/>
                    <a:pt x="16730" y="14793"/>
                    <a:pt x="16756" y="14788"/>
                  </a:cubicBezTo>
                  <a:cubicBezTo>
                    <a:pt x="16780" y="14781"/>
                    <a:pt x="16820" y="14763"/>
                    <a:pt x="16846" y="14746"/>
                  </a:cubicBezTo>
                  <a:cubicBezTo>
                    <a:pt x="16870" y="14727"/>
                    <a:pt x="16915" y="14726"/>
                    <a:pt x="16943" y="14742"/>
                  </a:cubicBezTo>
                  <a:cubicBezTo>
                    <a:pt x="16970" y="14761"/>
                    <a:pt x="17029" y="14770"/>
                    <a:pt x="17069" y="14767"/>
                  </a:cubicBezTo>
                  <a:cubicBezTo>
                    <a:pt x="17110" y="14764"/>
                    <a:pt x="17160" y="14746"/>
                    <a:pt x="17183" y="14728"/>
                  </a:cubicBezTo>
                  <a:cubicBezTo>
                    <a:pt x="17206" y="14710"/>
                    <a:pt x="17235" y="14692"/>
                    <a:pt x="17249" y="14690"/>
                  </a:cubicBezTo>
                  <a:cubicBezTo>
                    <a:pt x="17262" y="14687"/>
                    <a:pt x="17290" y="14698"/>
                    <a:pt x="17311" y="14711"/>
                  </a:cubicBezTo>
                  <a:cubicBezTo>
                    <a:pt x="17332" y="14723"/>
                    <a:pt x="17373" y="14734"/>
                    <a:pt x="17405" y="14733"/>
                  </a:cubicBezTo>
                  <a:cubicBezTo>
                    <a:pt x="17436" y="14732"/>
                    <a:pt x="17473" y="14725"/>
                    <a:pt x="17488" y="14720"/>
                  </a:cubicBezTo>
                  <a:cubicBezTo>
                    <a:pt x="17502" y="14714"/>
                    <a:pt x="17544" y="14718"/>
                    <a:pt x="17581" y="14730"/>
                  </a:cubicBezTo>
                  <a:cubicBezTo>
                    <a:pt x="17618" y="14742"/>
                    <a:pt x="17667" y="14749"/>
                    <a:pt x="17688" y="14744"/>
                  </a:cubicBezTo>
                  <a:cubicBezTo>
                    <a:pt x="17709" y="14737"/>
                    <a:pt x="17750" y="14724"/>
                    <a:pt x="17778" y="14709"/>
                  </a:cubicBezTo>
                  <a:cubicBezTo>
                    <a:pt x="17804" y="14694"/>
                    <a:pt x="17844" y="14682"/>
                    <a:pt x="17863" y="14687"/>
                  </a:cubicBezTo>
                  <a:cubicBezTo>
                    <a:pt x="17883" y="14689"/>
                    <a:pt x="17892" y="14704"/>
                    <a:pt x="17883" y="14720"/>
                  </a:cubicBezTo>
                  <a:cubicBezTo>
                    <a:pt x="17876" y="14737"/>
                    <a:pt x="17887" y="14751"/>
                    <a:pt x="17913" y="14755"/>
                  </a:cubicBezTo>
                  <a:cubicBezTo>
                    <a:pt x="17938" y="14757"/>
                    <a:pt x="18015" y="14734"/>
                    <a:pt x="18084" y="14701"/>
                  </a:cubicBezTo>
                  <a:cubicBezTo>
                    <a:pt x="18154" y="14669"/>
                    <a:pt x="18223" y="14639"/>
                    <a:pt x="18238" y="14639"/>
                  </a:cubicBezTo>
                  <a:cubicBezTo>
                    <a:pt x="18254" y="14639"/>
                    <a:pt x="18294" y="14623"/>
                    <a:pt x="18328" y="14608"/>
                  </a:cubicBezTo>
                  <a:cubicBezTo>
                    <a:pt x="18361" y="14591"/>
                    <a:pt x="18400" y="14585"/>
                    <a:pt x="18408" y="14594"/>
                  </a:cubicBezTo>
                  <a:cubicBezTo>
                    <a:pt x="18419" y="14600"/>
                    <a:pt x="18463" y="14601"/>
                    <a:pt x="18509" y="14597"/>
                  </a:cubicBezTo>
                  <a:cubicBezTo>
                    <a:pt x="18554" y="14591"/>
                    <a:pt x="18606" y="14592"/>
                    <a:pt x="18622" y="14601"/>
                  </a:cubicBezTo>
                  <a:cubicBezTo>
                    <a:pt x="18640" y="14610"/>
                    <a:pt x="18676" y="14603"/>
                    <a:pt x="18704" y="14589"/>
                  </a:cubicBezTo>
                  <a:cubicBezTo>
                    <a:pt x="18733" y="14574"/>
                    <a:pt x="18766" y="14546"/>
                    <a:pt x="18773" y="14525"/>
                  </a:cubicBezTo>
                  <a:cubicBezTo>
                    <a:pt x="18784" y="14506"/>
                    <a:pt x="18815" y="14487"/>
                    <a:pt x="18846" y="14483"/>
                  </a:cubicBezTo>
                  <a:cubicBezTo>
                    <a:pt x="18876" y="14482"/>
                    <a:pt x="18917" y="14467"/>
                    <a:pt x="18935" y="14453"/>
                  </a:cubicBezTo>
                  <a:cubicBezTo>
                    <a:pt x="18954" y="14440"/>
                    <a:pt x="18977" y="14433"/>
                    <a:pt x="18989" y="14434"/>
                  </a:cubicBezTo>
                  <a:cubicBezTo>
                    <a:pt x="18999" y="14437"/>
                    <a:pt x="19029" y="14414"/>
                    <a:pt x="19052" y="14383"/>
                  </a:cubicBezTo>
                  <a:cubicBezTo>
                    <a:pt x="19076" y="14352"/>
                    <a:pt x="19117" y="14311"/>
                    <a:pt x="19146" y="14295"/>
                  </a:cubicBezTo>
                  <a:cubicBezTo>
                    <a:pt x="19175" y="14279"/>
                    <a:pt x="19205" y="14252"/>
                    <a:pt x="19216" y="14239"/>
                  </a:cubicBezTo>
                  <a:cubicBezTo>
                    <a:pt x="19224" y="14224"/>
                    <a:pt x="19254" y="14214"/>
                    <a:pt x="19277" y="14215"/>
                  </a:cubicBezTo>
                  <a:cubicBezTo>
                    <a:pt x="19299" y="14215"/>
                    <a:pt x="19339" y="14181"/>
                    <a:pt x="19367" y="14137"/>
                  </a:cubicBezTo>
                  <a:cubicBezTo>
                    <a:pt x="19395" y="14094"/>
                    <a:pt x="19421" y="14038"/>
                    <a:pt x="19427" y="14013"/>
                  </a:cubicBezTo>
                  <a:cubicBezTo>
                    <a:pt x="19434" y="13989"/>
                    <a:pt x="19451" y="13968"/>
                    <a:pt x="19468" y="13968"/>
                  </a:cubicBezTo>
                  <a:cubicBezTo>
                    <a:pt x="19485" y="13970"/>
                    <a:pt x="19521" y="13950"/>
                    <a:pt x="19546" y="13927"/>
                  </a:cubicBezTo>
                  <a:cubicBezTo>
                    <a:pt x="19571" y="13904"/>
                    <a:pt x="19595" y="13870"/>
                    <a:pt x="19605" y="13853"/>
                  </a:cubicBezTo>
                  <a:cubicBezTo>
                    <a:pt x="19611" y="13835"/>
                    <a:pt x="19609" y="13816"/>
                    <a:pt x="19598" y="13816"/>
                  </a:cubicBezTo>
                  <a:cubicBezTo>
                    <a:pt x="19587" y="13812"/>
                    <a:pt x="19588" y="13802"/>
                    <a:pt x="19599" y="13789"/>
                  </a:cubicBezTo>
                  <a:cubicBezTo>
                    <a:pt x="19611" y="13777"/>
                    <a:pt x="19644" y="13762"/>
                    <a:pt x="19674" y="13761"/>
                  </a:cubicBezTo>
                  <a:cubicBezTo>
                    <a:pt x="19703" y="13759"/>
                    <a:pt x="19751" y="13748"/>
                    <a:pt x="19780" y="13738"/>
                  </a:cubicBezTo>
                  <a:cubicBezTo>
                    <a:pt x="19809" y="13727"/>
                    <a:pt x="19835" y="13705"/>
                    <a:pt x="19832" y="13688"/>
                  </a:cubicBezTo>
                  <a:cubicBezTo>
                    <a:pt x="19832" y="13671"/>
                    <a:pt x="19841" y="13648"/>
                    <a:pt x="19852" y="13639"/>
                  </a:cubicBezTo>
                  <a:cubicBezTo>
                    <a:pt x="19864" y="13630"/>
                    <a:pt x="19879" y="13638"/>
                    <a:pt x="19891" y="13656"/>
                  </a:cubicBezTo>
                  <a:cubicBezTo>
                    <a:pt x="19899" y="13675"/>
                    <a:pt x="19937" y="13689"/>
                    <a:pt x="19969" y="13688"/>
                  </a:cubicBezTo>
                  <a:cubicBezTo>
                    <a:pt x="20002" y="13688"/>
                    <a:pt x="20055" y="13664"/>
                    <a:pt x="20090" y="13641"/>
                  </a:cubicBezTo>
                  <a:cubicBezTo>
                    <a:pt x="20124" y="13616"/>
                    <a:pt x="20156" y="13603"/>
                    <a:pt x="20162" y="13611"/>
                  </a:cubicBezTo>
                  <a:cubicBezTo>
                    <a:pt x="20167" y="13621"/>
                    <a:pt x="20192" y="13626"/>
                    <a:pt x="20215" y="13627"/>
                  </a:cubicBezTo>
                  <a:cubicBezTo>
                    <a:pt x="20238" y="13625"/>
                    <a:pt x="20276" y="13613"/>
                    <a:pt x="20301" y="13598"/>
                  </a:cubicBezTo>
                  <a:cubicBezTo>
                    <a:pt x="20323" y="13582"/>
                    <a:pt x="20354" y="13582"/>
                    <a:pt x="20368" y="13594"/>
                  </a:cubicBezTo>
                  <a:cubicBezTo>
                    <a:pt x="20382" y="13607"/>
                    <a:pt x="20415" y="13611"/>
                    <a:pt x="20442" y="13603"/>
                  </a:cubicBezTo>
                  <a:cubicBezTo>
                    <a:pt x="20469" y="13596"/>
                    <a:pt x="20499" y="13576"/>
                    <a:pt x="20508" y="13559"/>
                  </a:cubicBezTo>
                  <a:cubicBezTo>
                    <a:pt x="20517" y="13543"/>
                    <a:pt x="20539" y="13526"/>
                    <a:pt x="20556" y="13523"/>
                  </a:cubicBezTo>
                  <a:cubicBezTo>
                    <a:pt x="20574" y="13518"/>
                    <a:pt x="20609" y="13494"/>
                    <a:pt x="20637" y="13469"/>
                  </a:cubicBezTo>
                  <a:cubicBezTo>
                    <a:pt x="20664" y="13443"/>
                    <a:pt x="20697" y="13420"/>
                    <a:pt x="20710" y="13418"/>
                  </a:cubicBezTo>
                  <a:cubicBezTo>
                    <a:pt x="20723" y="13417"/>
                    <a:pt x="20761" y="13392"/>
                    <a:pt x="20795" y="13364"/>
                  </a:cubicBezTo>
                  <a:cubicBezTo>
                    <a:pt x="20829" y="13336"/>
                    <a:pt x="20884" y="13306"/>
                    <a:pt x="20919" y="13300"/>
                  </a:cubicBezTo>
                  <a:cubicBezTo>
                    <a:pt x="20953" y="13293"/>
                    <a:pt x="21020" y="13259"/>
                    <a:pt x="21066" y="13224"/>
                  </a:cubicBezTo>
                  <a:cubicBezTo>
                    <a:pt x="21114" y="13191"/>
                    <a:pt x="21164" y="13141"/>
                    <a:pt x="21179" y="13117"/>
                  </a:cubicBezTo>
                  <a:cubicBezTo>
                    <a:pt x="21194" y="13093"/>
                    <a:pt x="21224" y="13070"/>
                    <a:pt x="21246" y="13065"/>
                  </a:cubicBezTo>
                  <a:cubicBezTo>
                    <a:pt x="21268" y="13060"/>
                    <a:pt x="21295" y="13036"/>
                    <a:pt x="21303" y="13010"/>
                  </a:cubicBezTo>
                  <a:cubicBezTo>
                    <a:pt x="21312" y="12983"/>
                    <a:pt x="21336" y="12938"/>
                    <a:pt x="21356" y="12909"/>
                  </a:cubicBezTo>
                  <a:cubicBezTo>
                    <a:pt x="21377" y="12881"/>
                    <a:pt x="21377" y="12853"/>
                    <a:pt x="21361" y="12845"/>
                  </a:cubicBezTo>
                  <a:cubicBezTo>
                    <a:pt x="21344" y="12839"/>
                    <a:pt x="21308" y="12840"/>
                    <a:pt x="21283" y="12851"/>
                  </a:cubicBezTo>
                  <a:cubicBezTo>
                    <a:pt x="21257" y="12862"/>
                    <a:pt x="21220" y="12860"/>
                    <a:pt x="21203" y="12846"/>
                  </a:cubicBezTo>
                  <a:cubicBezTo>
                    <a:pt x="21185" y="12833"/>
                    <a:pt x="21182" y="12820"/>
                    <a:pt x="21197" y="12817"/>
                  </a:cubicBezTo>
                  <a:cubicBezTo>
                    <a:pt x="21212" y="12813"/>
                    <a:pt x="21246" y="12814"/>
                    <a:pt x="21273" y="12811"/>
                  </a:cubicBezTo>
                  <a:cubicBezTo>
                    <a:pt x="21300" y="12811"/>
                    <a:pt x="21341" y="12803"/>
                    <a:pt x="21364" y="12794"/>
                  </a:cubicBezTo>
                  <a:cubicBezTo>
                    <a:pt x="21387" y="12783"/>
                    <a:pt x="21393" y="12759"/>
                    <a:pt x="21375" y="12740"/>
                  </a:cubicBezTo>
                  <a:cubicBezTo>
                    <a:pt x="21357" y="12721"/>
                    <a:pt x="21322" y="12709"/>
                    <a:pt x="21297" y="12715"/>
                  </a:cubicBezTo>
                  <a:cubicBezTo>
                    <a:pt x="21272" y="12721"/>
                    <a:pt x="21220" y="12716"/>
                    <a:pt x="21180" y="12705"/>
                  </a:cubicBezTo>
                  <a:cubicBezTo>
                    <a:pt x="21140" y="12697"/>
                    <a:pt x="21098" y="12669"/>
                    <a:pt x="21088" y="12648"/>
                  </a:cubicBezTo>
                  <a:cubicBezTo>
                    <a:pt x="21076" y="12628"/>
                    <a:pt x="21094" y="12625"/>
                    <a:pt x="21127" y="12641"/>
                  </a:cubicBezTo>
                  <a:cubicBezTo>
                    <a:pt x="21157" y="12660"/>
                    <a:pt x="21206" y="12658"/>
                    <a:pt x="21233" y="12644"/>
                  </a:cubicBezTo>
                  <a:cubicBezTo>
                    <a:pt x="21260" y="12629"/>
                    <a:pt x="21292" y="12594"/>
                    <a:pt x="21306" y="12569"/>
                  </a:cubicBezTo>
                  <a:cubicBezTo>
                    <a:pt x="21322" y="12543"/>
                    <a:pt x="21348" y="12514"/>
                    <a:pt x="21370" y="12505"/>
                  </a:cubicBezTo>
                  <a:cubicBezTo>
                    <a:pt x="21392" y="12498"/>
                    <a:pt x="21421" y="12465"/>
                    <a:pt x="21438" y="12437"/>
                  </a:cubicBezTo>
                  <a:cubicBezTo>
                    <a:pt x="21454" y="12408"/>
                    <a:pt x="21435" y="12378"/>
                    <a:pt x="21391" y="12374"/>
                  </a:cubicBezTo>
                  <a:cubicBezTo>
                    <a:pt x="21349" y="12365"/>
                    <a:pt x="21338" y="12344"/>
                    <a:pt x="21364" y="12319"/>
                  </a:cubicBezTo>
                  <a:cubicBezTo>
                    <a:pt x="21393" y="12296"/>
                    <a:pt x="21434" y="12278"/>
                    <a:pt x="21457" y="12282"/>
                  </a:cubicBezTo>
                  <a:cubicBezTo>
                    <a:pt x="21479" y="12288"/>
                    <a:pt x="21521" y="12271"/>
                    <a:pt x="21549" y="12248"/>
                  </a:cubicBezTo>
                  <a:cubicBezTo>
                    <a:pt x="21576" y="12226"/>
                    <a:pt x="21598" y="12193"/>
                    <a:pt x="21592" y="12174"/>
                  </a:cubicBezTo>
                  <a:cubicBezTo>
                    <a:pt x="21587" y="12155"/>
                    <a:pt x="21552" y="12131"/>
                    <a:pt x="21514" y="12121"/>
                  </a:cubicBezTo>
                  <a:cubicBezTo>
                    <a:pt x="21475" y="12111"/>
                    <a:pt x="21441" y="12083"/>
                    <a:pt x="21438" y="12059"/>
                  </a:cubicBezTo>
                  <a:cubicBezTo>
                    <a:pt x="21433" y="12035"/>
                    <a:pt x="21444" y="12010"/>
                    <a:pt x="21459" y="12004"/>
                  </a:cubicBezTo>
                  <a:cubicBezTo>
                    <a:pt x="21475" y="11999"/>
                    <a:pt x="21508" y="12000"/>
                    <a:pt x="21532" y="12009"/>
                  </a:cubicBezTo>
                  <a:cubicBezTo>
                    <a:pt x="21558" y="12017"/>
                    <a:pt x="21572" y="12014"/>
                    <a:pt x="21571" y="11998"/>
                  </a:cubicBezTo>
                  <a:cubicBezTo>
                    <a:pt x="21568" y="11983"/>
                    <a:pt x="21536" y="11961"/>
                    <a:pt x="21500" y="11952"/>
                  </a:cubicBezTo>
                  <a:cubicBezTo>
                    <a:pt x="21465" y="11942"/>
                    <a:pt x="21402" y="11937"/>
                    <a:pt x="21361" y="11941"/>
                  </a:cubicBezTo>
                  <a:cubicBezTo>
                    <a:pt x="21320" y="11945"/>
                    <a:pt x="21292" y="11934"/>
                    <a:pt x="21300" y="11916"/>
                  </a:cubicBezTo>
                  <a:cubicBezTo>
                    <a:pt x="21308" y="11899"/>
                    <a:pt x="21324" y="11880"/>
                    <a:pt x="21335" y="11874"/>
                  </a:cubicBezTo>
                  <a:cubicBezTo>
                    <a:pt x="21347" y="11869"/>
                    <a:pt x="21353" y="11855"/>
                    <a:pt x="21350" y="11845"/>
                  </a:cubicBezTo>
                  <a:cubicBezTo>
                    <a:pt x="21345" y="11835"/>
                    <a:pt x="21318" y="11831"/>
                    <a:pt x="21285" y="11833"/>
                  </a:cubicBezTo>
                  <a:cubicBezTo>
                    <a:pt x="21253" y="11838"/>
                    <a:pt x="21186" y="11862"/>
                    <a:pt x="21139" y="11891"/>
                  </a:cubicBezTo>
                  <a:cubicBezTo>
                    <a:pt x="21091" y="11919"/>
                    <a:pt x="21041" y="11962"/>
                    <a:pt x="21027" y="11988"/>
                  </a:cubicBezTo>
                  <a:cubicBezTo>
                    <a:pt x="21012" y="12014"/>
                    <a:pt x="20987" y="12048"/>
                    <a:pt x="20968" y="12063"/>
                  </a:cubicBezTo>
                  <a:cubicBezTo>
                    <a:pt x="20952" y="12079"/>
                    <a:pt x="20931" y="12073"/>
                    <a:pt x="20924" y="12052"/>
                  </a:cubicBezTo>
                  <a:cubicBezTo>
                    <a:pt x="20920" y="12030"/>
                    <a:pt x="20882" y="12015"/>
                    <a:pt x="20845" y="12020"/>
                  </a:cubicBezTo>
                  <a:cubicBezTo>
                    <a:pt x="20807" y="12022"/>
                    <a:pt x="20798" y="12008"/>
                    <a:pt x="20823" y="11983"/>
                  </a:cubicBezTo>
                  <a:cubicBezTo>
                    <a:pt x="20849" y="11958"/>
                    <a:pt x="20884" y="11936"/>
                    <a:pt x="20900" y="11932"/>
                  </a:cubicBezTo>
                  <a:cubicBezTo>
                    <a:pt x="20916" y="11929"/>
                    <a:pt x="20963" y="11900"/>
                    <a:pt x="21000" y="11865"/>
                  </a:cubicBezTo>
                  <a:cubicBezTo>
                    <a:pt x="21040" y="11833"/>
                    <a:pt x="21080" y="11784"/>
                    <a:pt x="21088" y="11758"/>
                  </a:cubicBezTo>
                  <a:cubicBezTo>
                    <a:pt x="21097" y="11732"/>
                    <a:pt x="21095" y="11678"/>
                    <a:pt x="21081" y="11638"/>
                  </a:cubicBezTo>
                  <a:cubicBezTo>
                    <a:pt x="21069" y="11597"/>
                    <a:pt x="21017" y="11562"/>
                    <a:pt x="20969" y="11557"/>
                  </a:cubicBezTo>
                  <a:cubicBezTo>
                    <a:pt x="20920" y="11552"/>
                    <a:pt x="20829" y="11564"/>
                    <a:pt x="20765" y="11581"/>
                  </a:cubicBezTo>
                  <a:cubicBezTo>
                    <a:pt x="20701" y="11597"/>
                    <a:pt x="20631" y="11621"/>
                    <a:pt x="20607" y="11632"/>
                  </a:cubicBezTo>
                  <a:cubicBezTo>
                    <a:pt x="20584" y="11643"/>
                    <a:pt x="20570" y="11661"/>
                    <a:pt x="20580" y="11665"/>
                  </a:cubicBezTo>
                  <a:cubicBezTo>
                    <a:pt x="20589" y="11671"/>
                    <a:pt x="20623" y="11673"/>
                    <a:pt x="20657" y="11666"/>
                  </a:cubicBezTo>
                  <a:cubicBezTo>
                    <a:pt x="20692" y="11662"/>
                    <a:pt x="20728" y="11662"/>
                    <a:pt x="20740" y="11667"/>
                  </a:cubicBezTo>
                  <a:cubicBezTo>
                    <a:pt x="20753" y="11669"/>
                    <a:pt x="20734" y="11682"/>
                    <a:pt x="20703" y="11690"/>
                  </a:cubicBezTo>
                  <a:cubicBezTo>
                    <a:pt x="20672" y="11697"/>
                    <a:pt x="20615" y="11705"/>
                    <a:pt x="20577" y="11707"/>
                  </a:cubicBezTo>
                  <a:cubicBezTo>
                    <a:pt x="20540" y="11711"/>
                    <a:pt x="20466" y="11731"/>
                    <a:pt x="20416" y="11759"/>
                  </a:cubicBezTo>
                  <a:cubicBezTo>
                    <a:pt x="20367" y="11787"/>
                    <a:pt x="20295" y="11814"/>
                    <a:pt x="20261" y="11825"/>
                  </a:cubicBezTo>
                  <a:cubicBezTo>
                    <a:pt x="20226" y="11833"/>
                    <a:pt x="20170" y="11870"/>
                    <a:pt x="20135" y="11905"/>
                  </a:cubicBezTo>
                  <a:cubicBezTo>
                    <a:pt x="20100" y="11939"/>
                    <a:pt x="20058" y="11990"/>
                    <a:pt x="20041" y="12018"/>
                  </a:cubicBezTo>
                  <a:cubicBezTo>
                    <a:pt x="20025" y="12046"/>
                    <a:pt x="19992" y="12074"/>
                    <a:pt x="19969" y="12078"/>
                  </a:cubicBezTo>
                  <a:cubicBezTo>
                    <a:pt x="19947" y="12085"/>
                    <a:pt x="19898" y="12112"/>
                    <a:pt x="19864" y="12143"/>
                  </a:cubicBezTo>
                  <a:cubicBezTo>
                    <a:pt x="19828" y="12173"/>
                    <a:pt x="19764" y="12202"/>
                    <a:pt x="19721" y="12207"/>
                  </a:cubicBezTo>
                  <a:cubicBezTo>
                    <a:pt x="19678" y="12212"/>
                    <a:pt x="19615" y="12258"/>
                    <a:pt x="19582" y="12310"/>
                  </a:cubicBezTo>
                  <a:cubicBezTo>
                    <a:pt x="19548" y="12362"/>
                    <a:pt x="19505" y="12406"/>
                    <a:pt x="19487" y="12408"/>
                  </a:cubicBezTo>
                  <a:cubicBezTo>
                    <a:pt x="19468" y="12408"/>
                    <a:pt x="19443" y="12423"/>
                    <a:pt x="19430" y="12437"/>
                  </a:cubicBezTo>
                  <a:cubicBezTo>
                    <a:pt x="19417" y="12451"/>
                    <a:pt x="19395" y="12462"/>
                    <a:pt x="19381" y="12461"/>
                  </a:cubicBezTo>
                  <a:cubicBezTo>
                    <a:pt x="19367" y="12459"/>
                    <a:pt x="19350" y="12444"/>
                    <a:pt x="19342" y="12425"/>
                  </a:cubicBezTo>
                  <a:cubicBezTo>
                    <a:pt x="19335" y="12406"/>
                    <a:pt x="19345" y="12374"/>
                    <a:pt x="19368" y="12356"/>
                  </a:cubicBezTo>
                  <a:cubicBezTo>
                    <a:pt x="19391" y="12337"/>
                    <a:pt x="19421" y="12323"/>
                    <a:pt x="19437" y="12325"/>
                  </a:cubicBezTo>
                  <a:cubicBezTo>
                    <a:pt x="19453" y="12328"/>
                    <a:pt x="19476" y="12315"/>
                    <a:pt x="19487" y="12296"/>
                  </a:cubicBezTo>
                  <a:cubicBezTo>
                    <a:pt x="19499" y="12278"/>
                    <a:pt x="19468" y="12234"/>
                    <a:pt x="19420" y="12197"/>
                  </a:cubicBezTo>
                  <a:cubicBezTo>
                    <a:pt x="19371" y="12162"/>
                    <a:pt x="19329" y="12123"/>
                    <a:pt x="19327" y="12112"/>
                  </a:cubicBezTo>
                  <a:cubicBezTo>
                    <a:pt x="19323" y="12102"/>
                    <a:pt x="19305" y="12089"/>
                    <a:pt x="19286" y="12083"/>
                  </a:cubicBezTo>
                  <a:cubicBezTo>
                    <a:pt x="19267" y="12077"/>
                    <a:pt x="19262" y="12062"/>
                    <a:pt x="19271" y="12046"/>
                  </a:cubicBezTo>
                  <a:cubicBezTo>
                    <a:pt x="19283" y="12031"/>
                    <a:pt x="19290" y="11999"/>
                    <a:pt x="19295" y="11977"/>
                  </a:cubicBezTo>
                  <a:cubicBezTo>
                    <a:pt x="19298" y="11954"/>
                    <a:pt x="19317" y="11972"/>
                    <a:pt x="19336" y="12016"/>
                  </a:cubicBezTo>
                  <a:cubicBezTo>
                    <a:pt x="19357" y="12060"/>
                    <a:pt x="19409" y="12116"/>
                    <a:pt x="19454" y="12141"/>
                  </a:cubicBezTo>
                  <a:cubicBezTo>
                    <a:pt x="19500" y="12164"/>
                    <a:pt x="19547" y="12172"/>
                    <a:pt x="19561" y="12156"/>
                  </a:cubicBezTo>
                  <a:cubicBezTo>
                    <a:pt x="19576" y="12140"/>
                    <a:pt x="19596" y="12107"/>
                    <a:pt x="19604" y="12081"/>
                  </a:cubicBezTo>
                  <a:cubicBezTo>
                    <a:pt x="19613" y="12055"/>
                    <a:pt x="19648" y="12030"/>
                    <a:pt x="19682" y="12023"/>
                  </a:cubicBezTo>
                  <a:cubicBezTo>
                    <a:pt x="19716" y="12017"/>
                    <a:pt x="19762" y="11994"/>
                    <a:pt x="19784" y="11974"/>
                  </a:cubicBezTo>
                  <a:cubicBezTo>
                    <a:pt x="19807" y="11955"/>
                    <a:pt x="19868" y="11911"/>
                    <a:pt x="19921" y="11880"/>
                  </a:cubicBezTo>
                  <a:cubicBezTo>
                    <a:pt x="19975" y="11849"/>
                    <a:pt x="20065" y="11808"/>
                    <a:pt x="20120" y="11788"/>
                  </a:cubicBezTo>
                  <a:cubicBezTo>
                    <a:pt x="20175" y="11766"/>
                    <a:pt x="20270" y="11739"/>
                    <a:pt x="20328" y="11723"/>
                  </a:cubicBezTo>
                  <a:cubicBezTo>
                    <a:pt x="20387" y="11707"/>
                    <a:pt x="20431" y="11683"/>
                    <a:pt x="20430" y="11671"/>
                  </a:cubicBezTo>
                  <a:cubicBezTo>
                    <a:pt x="20428" y="11660"/>
                    <a:pt x="20412" y="11650"/>
                    <a:pt x="20394" y="11648"/>
                  </a:cubicBezTo>
                  <a:cubicBezTo>
                    <a:pt x="20376" y="11645"/>
                    <a:pt x="20312" y="11665"/>
                    <a:pt x="20252" y="11690"/>
                  </a:cubicBezTo>
                  <a:cubicBezTo>
                    <a:pt x="20194" y="11717"/>
                    <a:pt x="20096" y="11753"/>
                    <a:pt x="20038" y="11774"/>
                  </a:cubicBezTo>
                  <a:cubicBezTo>
                    <a:pt x="19980" y="11797"/>
                    <a:pt x="19938" y="11796"/>
                    <a:pt x="19946" y="11777"/>
                  </a:cubicBezTo>
                  <a:cubicBezTo>
                    <a:pt x="19953" y="11757"/>
                    <a:pt x="20025" y="11720"/>
                    <a:pt x="20104" y="11695"/>
                  </a:cubicBezTo>
                  <a:cubicBezTo>
                    <a:pt x="20183" y="11670"/>
                    <a:pt x="20293" y="11639"/>
                    <a:pt x="20351" y="11629"/>
                  </a:cubicBezTo>
                  <a:cubicBezTo>
                    <a:pt x="20407" y="11617"/>
                    <a:pt x="20477" y="11584"/>
                    <a:pt x="20508" y="11556"/>
                  </a:cubicBezTo>
                  <a:cubicBezTo>
                    <a:pt x="20539" y="11528"/>
                    <a:pt x="20602" y="11484"/>
                    <a:pt x="20651" y="11460"/>
                  </a:cubicBezTo>
                  <a:cubicBezTo>
                    <a:pt x="20700" y="11435"/>
                    <a:pt x="20751" y="11420"/>
                    <a:pt x="20759" y="11430"/>
                  </a:cubicBezTo>
                  <a:cubicBezTo>
                    <a:pt x="20769" y="11437"/>
                    <a:pt x="20826" y="11430"/>
                    <a:pt x="20886" y="11410"/>
                  </a:cubicBezTo>
                  <a:cubicBezTo>
                    <a:pt x="20946" y="11390"/>
                    <a:pt x="20997" y="11366"/>
                    <a:pt x="20999" y="11357"/>
                  </a:cubicBezTo>
                  <a:cubicBezTo>
                    <a:pt x="21000" y="11347"/>
                    <a:pt x="21042" y="11328"/>
                    <a:pt x="21091" y="11314"/>
                  </a:cubicBezTo>
                  <a:cubicBezTo>
                    <a:pt x="21140" y="11303"/>
                    <a:pt x="21160" y="11275"/>
                    <a:pt x="21137" y="11256"/>
                  </a:cubicBezTo>
                  <a:cubicBezTo>
                    <a:pt x="21113" y="11238"/>
                    <a:pt x="21038" y="11220"/>
                    <a:pt x="20971" y="11210"/>
                  </a:cubicBezTo>
                  <a:cubicBezTo>
                    <a:pt x="20904" y="11203"/>
                    <a:pt x="20860" y="11187"/>
                    <a:pt x="20873" y="11174"/>
                  </a:cubicBezTo>
                  <a:cubicBezTo>
                    <a:pt x="20886" y="11162"/>
                    <a:pt x="20911" y="11149"/>
                    <a:pt x="20929" y="11146"/>
                  </a:cubicBezTo>
                  <a:cubicBezTo>
                    <a:pt x="20948" y="11144"/>
                    <a:pt x="20977" y="11117"/>
                    <a:pt x="20997" y="11090"/>
                  </a:cubicBezTo>
                  <a:cubicBezTo>
                    <a:pt x="21018" y="11062"/>
                    <a:pt x="21017" y="11036"/>
                    <a:pt x="20999" y="11032"/>
                  </a:cubicBezTo>
                  <a:cubicBezTo>
                    <a:pt x="20981" y="11029"/>
                    <a:pt x="20931" y="11039"/>
                    <a:pt x="20887" y="11056"/>
                  </a:cubicBezTo>
                  <a:cubicBezTo>
                    <a:pt x="20844" y="11074"/>
                    <a:pt x="20784" y="11109"/>
                    <a:pt x="20757" y="11137"/>
                  </a:cubicBezTo>
                  <a:cubicBezTo>
                    <a:pt x="20729" y="11165"/>
                    <a:pt x="20684" y="11175"/>
                    <a:pt x="20653" y="11165"/>
                  </a:cubicBezTo>
                  <a:cubicBezTo>
                    <a:pt x="20624" y="11150"/>
                    <a:pt x="20571" y="11150"/>
                    <a:pt x="20538" y="11158"/>
                  </a:cubicBezTo>
                  <a:cubicBezTo>
                    <a:pt x="20504" y="11166"/>
                    <a:pt x="20478" y="11162"/>
                    <a:pt x="20477" y="11146"/>
                  </a:cubicBezTo>
                  <a:cubicBezTo>
                    <a:pt x="20476" y="11130"/>
                    <a:pt x="20490" y="11110"/>
                    <a:pt x="20508" y="11103"/>
                  </a:cubicBezTo>
                  <a:cubicBezTo>
                    <a:pt x="20526" y="11095"/>
                    <a:pt x="20549" y="11054"/>
                    <a:pt x="20559" y="11010"/>
                  </a:cubicBezTo>
                  <a:cubicBezTo>
                    <a:pt x="20570" y="10967"/>
                    <a:pt x="20583" y="10920"/>
                    <a:pt x="20590" y="10906"/>
                  </a:cubicBezTo>
                  <a:cubicBezTo>
                    <a:pt x="20595" y="10891"/>
                    <a:pt x="20566" y="10906"/>
                    <a:pt x="20520" y="10938"/>
                  </a:cubicBezTo>
                  <a:cubicBezTo>
                    <a:pt x="20474" y="10970"/>
                    <a:pt x="20442" y="10985"/>
                    <a:pt x="20448" y="10971"/>
                  </a:cubicBezTo>
                  <a:cubicBezTo>
                    <a:pt x="20454" y="10957"/>
                    <a:pt x="20474" y="10934"/>
                    <a:pt x="20490" y="10919"/>
                  </a:cubicBezTo>
                  <a:cubicBezTo>
                    <a:pt x="20509" y="10906"/>
                    <a:pt x="20514" y="10889"/>
                    <a:pt x="20504" y="10889"/>
                  </a:cubicBezTo>
                  <a:cubicBezTo>
                    <a:pt x="20495" y="10885"/>
                    <a:pt x="20435" y="10930"/>
                    <a:pt x="20369" y="10982"/>
                  </a:cubicBezTo>
                  <a:cubicBezTo>
                    <a:pt x="20305" y="11035"/>
                    <a:pt x="20231" y="11097"/>
                    <a:pt x="20204" y="11118"/>
                  </a:cubicBezTo>
                  <a:cubicBezTo>
                    <a:pt x="20177" y="11140"/>
                    <a:pt x="20144" y="11156"/>
                    <a:pt x="20131" y="11156"/>
                  </a:cubicBezTo>
                  <a:cubicBezTo>
                    <a:pt x="20118" y="11155"/>
                    <a:pt x="20126" y="11136"/>
                    <a:pt x="20148" y="11112"/>
                  </a:cubicBezTo>
                  <a:cubicBezTo>
                    <a:pt x="20169" y="11088"/>
                    <a:pt x="20227" y="11039"/>
                    <a:pt x="20276" y="11003"/>
                  </a:cubicBezTo>
                  <a:cubicBezTo>
                    <a:pt x="20323" y="10966"/>
                    <a:pt x="20356" y="10929"/>
                    <a:pt x="20345" y="10922"/>
                  </a:cubicBezTo>
                  <a:cubicBezTo>
                    <a:pt x="20335" y="10913"/>
                    <a:pt x="20292" y="10925"/>
                    <a:pt x="20249" y="10946"/>
                  </a:cubicBezTo>
                  <a:cubicBezTo>
                    <a:pt x="20208" y="10970"/>
                    <a:pt x="20166" y="10983"/>
                    <a:pt x="20157" y="10979"/>
                  </a:cubicBezTo>
                  <a:cubicBezTo>
                    <a:pt x="20148" y="10976"/>
                    <a:pt x="20155" y="10960"/>
                    <a:pt x="20170" y="10946"/>
                  </a:cubicBezTo>
                  <a:cubicBezTo>
                    <a:pt x="20186" y="10933"/>
                    <a:pt x="20218" y="10910"/>
                    <a:pt x="20242" y="10893"/>
                  </a:cubicBezTo>
                  <a:cubicBezTo>
                    <a:pt x="20267" y="10878"/>
                    <a:pt x="20290" y="10856"/>
                    <a:pt x="20291" y="10844"/>
                  </a:cubicBezTo>
                  <a:cubicBezTo>
                    <a:pt x="20295" y="10833"/>
                    <a:pt x="20269" y="10831"/>
                    <a:pt x="20236" y="10841"/>
                  </a:cubicBezTo>
                  <a:cubicBezTo>
                    <a:pt x="20203" y="10852"/>
                    <a:pt x="20150" y="10885"/>
                    <a:pt x="20121" y="10917"/>
                  </a:cubicBezTo>
                  <a:cubicBezTo>
                    <a:pt x="20089" y="10949"/>
                    <a:pt x="20035" y="11004"/>
                    <a:pt x="19999" y="11040"/>
                  </a:cubicBezTo>
                  <a:cubicBezTo>
                    <a:pt x="19964" y="11077"/>
                    <a:pt x="19922" y="11104"/>
                    <a:pt x="19909" y="11102"/>
                  </a:cubicBezTo>
                  <a:cubicBezTo>
                    <a:pt x="19896" y="11098"/>
                    <a:pt x="19900" y="11076"/>
                    <a:pt x="19918" y="11049"/>
                  </a:cubicBezTo>
                  <a:cubicBezTo>
                    <a:pt x="19937" y="11022"/>
                    <a:pt x="19973" y="10982"/>
                    <a:pt x="20003" y="10963"/>
                  </a:cubicBezTo>
                  <a:cubicBezTo>
                    <a:pt x="20031" y="10943"/>
                    <a:pt x="20056" y="10914"/>
                    <a:pt x="20056" y="10900"/>
                  </a:cubicBezTo>
                  <a:cubicBezTo>
                    <a:pt x="20058" y="10885"/>
                    <a:pt x="20043" y="10876"/>
                    <a:pt x="20022" y="10880"/>
                  </a:cubicBezTo>
                  <a:cubicBezTo>
                    <a:pt x="20001" y="10883"/>
                    <a:pt x="19933" y="10934"/>
                    <a:pt x="19869" y="10990"/>
                  </a:cubicBezTo>
                  <a:cubicBezTo>
                    <a:pt x="19805" y="11047"/>
                    <a:pt x="19732" y="11104"/>
                    <a:pt x="19705" y="11113"/>
                  </a:cubicBezTo>
                  <a:cubicBezTo>
                    <a:pt x="19679" y="11126"/>
                    <a:pt x="19638" y="11123"/>
                    <a:pt x="19612" y="11115"/>
                  </a:cubicBezTo>
                  <a:cubicBezTo>
                    <a:pt x="19588" y="11104"/>
                    <a:pt x="19591" y="11097"/>
                    <a:pt x="19619" y="11100"/>
                  </a:cubicBezTo>
                  <a:cubicBezTo>
                    <a:pt x="19648" y="11100"/>
                    <a:pt x="19694" y="11085"/>
                    <a:pt x="19724" y="11063"/>
                  </a:cubicBezTo>
                  <a:cubicBezTo>
                    <a:pt x="19752" y="11039"/>
                    <a:pt x="19822" y="10972"/>
                    <a:pt x="19877" y="10910"/>
                  </a:cubicBezTo>
                  <a:cubicBezTo>
                    <a:pt x="19931" y="10849"/>
                    <a:pt x="20009" y="10778"/>
                    <a:pt x="20048" y="10752"/>
                  </a:cubicBezTo>
                  <a:cubicBezTo>
                    <a:pt x="20086" y="10725"/>
                    <a:pt x="20108" y="10693"/>
                    <a:pt x="20095" y="10678"/>
                  </a:cubicBezTo>
                  <a:cubicBezTo>
                    <a:pt x="20081" y="10665"/>
                    <a:pt x="20079" y="10633"/>
                    <a:pt x="20088" y="10610"/>
                  </a:cubicBezTo>
                  <a:cubicBezTo>
                    <a:pt x="20096" y="10587"/>
                    <a:pt x="20100" y="10564"/>
                    <a:pt x="20094" y="10563"/>
                  </a:cubicBezTo>
                  <a:cubicBezTo>
                    <a:pt x="20089" y="10560"/>
                    <a:pt x="20054" y="10591"/>
                    <a:pt x="20019" y="10632"/>
                  </a:cubicBezTo>
                  <a:cubicBezTo>
                    <a:pt x="19984" y="10673"/>
                    <a:pt x="19942" y="10709"/>
                    <a:pt x="19928" y="10714"/>
                  </a:cubicBezTo>
                  <a:cubicBezTo>
                    <a:pt x="19914" y="10719"/>
                    <a:pt x="19906" y="10712"/>
                    <a:pt x="19908" y="10699"/>
                  </a:cubicBezTo>
                  <a:cubicBezTo>
                    <a:pt x="19912" y="10687"/>
                    <a:pt x="19924" y="10662"/>
                    <a:pt x="19938" y="10645"/>
                  </a:cubicBezTo>
                  <a:cubicBezTo>
                    <a:pt x="19952" y="10628"/>
                    <a:pt x="19971" y="10586"/>
                    <a:pt x="19980" y="10552"/>
                  </a:cubicBezTo>
                  <a:cubicBezTo>
                    <a:pt x="19988" y="10518"/>
                    <a:pt x="19983" y="10490"/>
                    <a:pt x="19965" y="10487"/>
                  </a:cubicBezTo>
                  <a:cubicBezTo>
                    <a:pt x="19947" y="10486"/>
                    <a:pt x="19925" y="10484"/>
                    <a:pt x="19918" y="10479"/>
                  </a:cubicBezTo>
                  <a:cubicBezTo>
                    <a:pt x="19909" y="10476"/>
                    <a:pt x="19878" y="10491"/>
                    <a:pt x="19847" y="10512"/>
                  </a:cubicBezTo>
                  <a:cubicBezTo>
                    <a:pt x="19817" y="10534"/>
                    <a:pt x="19786" y="10544"/>
                    <a:pt x="19780" y="10535"/>
                  </a:cubicBezTo>
                  <a:cubicBezTo>
                    <a:pt x="19777" y="10526"/>
                    <a:pt x="19778" y="10504"/>
                    <a:pt x="19787" y="10482"/>
                  </a:cubicBezTo>
                  <a:cubicBezTo>
                    <a:pt x="19798" y="10462"/>
                    <a:pt x="19802" y="10438"/>
                    <a:pt x="19798" y="10432"/>
                  </a:cubicBezTo>
                  <a:cubicBezTo>
                    <a:pt x="19792" y="10427"/>
                    <a:pt x="19777" y="10422"/>
                    <a:pt x="19760" y="10422"/>
                  </a:cubicBezTo>
                  <a:cubicBezTo>
                    <a:pt x="19743" y="10423"/>
                    <a:pt x="19742" y="10413"/>
                    <a:pt x="19758" y="10399"/>
                  </a:cubicBezTo>
                  <a:cubicBezTo>
                    <a:pt x="19772" y="10384"/>
                    <a:pt x="19780" y="10366"/>
                    <a:pt x="19772" y="10355"/>
                  </a:cubicBezTo>
                  <a:cubicBezTo>
                    <a:pt x="19763" y="10345"/>
                    <a:pt x="19759" y="10322"/>
                    <a:pt x="19763" y="10304"/>
                  </a:cubicBezTo>
                  <a:cubicBezTo>
                    <a:pt x="19768" y="10286"/>
                    <a:pt x="19759" y="10271"/>
                    <a:pt x="19744" y="10271"/>
                  </a:cubicBezTo>
                  <a:cubicBezTo>
                    <a:pt x="19729" y="10269"/>
                    <a:pt x="19683" y="10283"/>
                    <a:pt x="19643" y="10297"/>
                  </a:cubicBezTo>
                  <a:cubicBezTo>
                    <a:pt x="19602" y="10312"/>
                    <a:pt x="19565" y="10333"/>
                    <a:pt x="19559" y="10343"/>
                  </a:cubicBezTo>
                  <a:cubicBezTo>
                    <a:pt x="19554" y="10353"/>
                    <a:pt x="19533" y="10367"/>
                    <a:pt x="19514" y="10374"/>
                  </a:cubicBezTo>
                  <a:cubicBezTo>
                    <a:pt x="19495" y="10381"/>
                    <a:pt x="19440" y="10386"/>
                    <a:pt x="19393" y="10380"/>
                  </a:cubicBezTo>
                  <a:cubicBezTo>
                    <a:pt x="19346" y="10376"/>
                    <a:pt x="19339" y="10368"/>
                    <a:pt x="19377" y="10365"/>
                  </a:cubicBezTo>
                  <a:cubicBezTo>
                    <a:pt x="19415" y="10360"/>
                    <a:pt x="19459" y="10343"/>
                    <a:pt x="19473" y="10325"/>
                  </a:cubicBezTo>
                  <a:cubicBezTo>
                    <a:pt x="19488" y="10308"/>
                    <a:pt x="19526" y="10286"/>
                    <a:pt x="19558" y="10277"/>
                  </a:cubicBezTo>
                  <a:cubicBezTo>
                    <a:pt x="19589" y="10267"/>
                    <a:pt x="19622" y="10249"/>
                    <a:pt x="19630" y="10235"/>
                  </a:cubicBezTo>
                  <a:cubicBezTo>
                    <a:pt x="19639" y="10223"/>
                    <a:pt x="19638" y="10200"/>
                    <a:pt x="19628" y="10188"/>
                  </a:cubicBezTo>
                  <a:cubicBezTo>
                    <a:pt x="19620" y="10174"/>
                    <a:pt x="19594" y="10147"/>
                    <a:pt x="19570" y="10129"/>
                  </a:cubicBezTo>
                  <a:cubicBezTo>
                    <a:pt x="19546" y="10110"/>
                    <a:pt x="19532" y="10075"/>
                    <a:pt x="19536" y="10050"/>
                  </a:cubicBezTo>
                  <a:cubicBezTo>
                    <a:pt x="19540" y="10026"/>
                    <a:pt x="19518" y="9997"/>
                    <a:pt x="19486" y="9984"/>
                  </a:cubicBezTo>
                  <a:cubicBezTo>
                    <a:pt x="19453" y="9973"/>
                    <a:pt x="19460" y="9956"/>
                    <a:pt x="19500" y="9947"/>
                  </a:cubicBezTo>
                  <a:cubicBezTo>
                    <a:pt x="19539" y="9937"/>
                    <a:pt x="19598" y="9944"/>
                    <a:pt x="19632" y="9955"/>
                  </a:cubicBezTo>
                  <a:cubicBezTo>
                    <a:pt x="19663" y="9969"/>
                    <a:pt x="19716" y="9974"/>
                    <a:pt x="19746" y="9964"/>
                  </a:cubicBezTo>
                  <a:cubicBezTo>
                    <a:pt x="19777" y="9956"/>
                    <a:pt x="19802" y="9935"/>
                    <a:pt x="19804" y="9920"/>
                  </a:cubicBezTo>
                  <a:cubicBezTo>
                    <a:pt x="19808" y="9904"/>
                    <a:pt x="19788" y="9888"/>
                    <a:pt x="19765" y="9881"/>
                  </a:cubicBezTo>
                  <a:cubicBezTo>
                    <a:pt x="19741" y="9879"/>
                    <a:pt x="19732" y="9861"/>
                    <a:pt x="19742" y="9848"/>
                  </a:cubicBezTo>
                  <a:cubicBezTo>
                    <a:pt x="19753" y="9835"/>
                    <a:pt x="19778" y="9830"/>
                    <a:pt x="19798" y="9831"/>
                  </a:cubicBezTo>
                  <a:cubicBezTo>
                    <a:pt x="19818" y="9835"/>
                    <a:pt x="19868" y="9811"/>
                    <a:pt x="19909" y="9778"/>
                  </a:cubicBezTo>
                  <a:cubicBezTo>
                    <a:pt x="19953" y="9748"/>
                    <a:pt x="20002" y="9705"/>
                    <a:pt x="20027" y="9692"/>
                  </a:cubicBezTo>
                  <a:cubicBezTo>
                    <a:pt x="20052" y="9678"/>
                    <a:pt x="20081" y="9646"/>
                    <a:pt x="20092" y="9623"/>
                  </a:cubicBezTo>
                  <a:cubicBezTo>
                    <a:pt x="20102" y="9598"/>
                    <a:pt x="20092" y="9569"/>
                    <a:pt x="20073" y="9549"/>
                  </a:cubicBezTo>
                  <a:cubicBezTo>
                    <a:pt x="20052" y="9533"/>
                    <a:pt x="20016" y="9525"/>
                    <a:pt x="19995" y="9533"/>
                  </a:cubicBezTo>
                  <a:cubicBezTo>
                    <a:pt x="19972" y="9540"/>
                    <a:pt x="19936" y="9544"/>
                    <a:pt x="19912" y="9541"/>
                  </a:cubicBezTo>
                  <a:cubicBezTo>
                    <a:pt x="19888" y="9538"/>
                    <a:pt x="19888" y="9521"/>
                    <a:pt x="19910" y="9505"/>
                  </a:cubicBezTo>
                  <a:cubicBezTo>
                    <a:pt x="19933" y="9490"/>
                    <a:pt x="19963" y="9459"/>
                    <a:pt x="19975" y="9436"/>
                  </a:cubicBezTo>
                  <a:cubicBezTo>
                    <a:pt x="19988" y="9415"/>
                    <a:pt x="19991" y="9388"/>
                    <a:pt x="19981" y="9380"/>
                  </a:cubicBezTo>
                  <a:cubicBezTo>
                    <a:pt x="19970" y="9372"/>
                    <a:pt x="19938" y="9367"/>
                    <a:pt x="19907" y="9373"/>
                  </a:cubicBezTo>
                  <a:cubicBezTo>
                    <a:pt x="19876" y="9375"/>
                    <a:pt x="19844" y="9377"/>
                    <a:pt x="19833" y="9373"/>
                  </a:cubicBezTo>
                  <a:cubicBezTo>
                    <a:pt x="19822" y="9368"/>
                    <a:pt x="19797" y="9369"/>
                    <a:pt x="19777" y="9377"/>
                  </a:cubicBezTo>
                  <a:cubicBezTo>
                    <a:pt x="19756" y="9383"/>
                    <a:pt x="19728" y="9378"/>
                    <a:pt x="19710" y="9367"/>
                  </a:cubicBezTo>
                  <a:cubicBezTo>
                    <a:pt x="19694" y="9354"/>
                    <a:pt x="19703" y="9340"/>
                    <a:pt x="19730" y="9334"/>
                  </a:cubicBezTo>
                  <a:cubicBezTo>
                    <a:pt x="19758" y="9330"/>
                    <a:pt x="19795" y="9314"/>
                    <a:pt x="19811" y="9300"/>
                  </a:cubicBezTo>
                  <a:cubicBezTo>
                    <a:pt x="19829" y="9286"/>
                    <a:pt x="19857" y="9276"/>
                    <a:pt x="19875" y="9279"/>
                  </a:cubicBezTo>
                  <a:cubicBezTo>
                    <a:pt x="19892" y="9283"/>
                    <a:pt x="19935" y="9262"/>
                    <a:pt x="19969" y="9236"/>
                  </a:cubicBezTo>
                  <a:cubicBezTo>
                    <a:pt x="20002" y="9208"/>
                    <a:pt x="20028" y="9154"/>
                    <a:pt x="20025" y="9114"/>
                  </a:cubicBezTo>
                  <a:cubicBezTo>
                    <a:pt x="20021" y="9074"/>
                    <a:pt x="20001" y="9028"/>
                    <a:pt x="19981" y="9011"/>
                  </a:cubicBezTo>
                  <a:cubicBezTo>
                    <a:pt x="19959" y="8994"/>
                    <a:pt x="19926" y="8995"/>
                    <a:pt x="19907" y="9014"/>
                  </a:cubicBezTo>
                  <a:cubicBezTo>
                    <a:pt x="19887" y="9032"/>
                    <a:pt x="19852" y="9044"/>
                    <a:pt x="19827" y="9043"/>
                  </a:cubicBezTo>
                  <a:cubicBezTo>
                    <a:pt x="19803" y="9041"/>
                    <a:pt x="19766" y="9056"/>
                    <a:pt x="19744" y="9074"/>
                  </a:cubicBezTo>
                  <a:cubicBezTo>
                    <a:pt x="19724" y="9093"/>
                    <a:pt x="19718" y="9087"/>
                    <a:pt x="19732" y="9060"/>
                  </a:cubicBezTo>
                  <a:cubicBezTo>
                    <a:pt x="19746" y="9034"/>
                    <a:pt x="19786" y="8995"/>
                    <a:pt x="19819" y="8970"/>
                  </a:cubicBezTo>
                  <a:cubicBezTo>
                    <a:pt x="19852" y="8946"/>
                    <a:pt x="19900" y="8923"/>
                    <a:pt x="19923" y="8915"/>
                  </a:cubicBezTo>
                  <a:cubicBezTo>
                    <a:pt x="19945" y="8908"/>
                    <a:pt x="19968" y="8883"/>
                    <a:pt x="19975" y="8860"/>
                  </a:cubicBezTo>
                  <a:cubicBezTo>
                    <a:pt x="19980" y="8838"/>
                    <a:pt x="19965" y="8820"/>
                    <a:pt x="19941" y="8820"/>
                  </a:cubicBezTo>
                  <a:cubicBezTo>
                    <a:pt x="19916" y="8820"/>
                    <a:pt x="19878" y="8828"/>
                    <a:pt x="19856" y="8839"/>
                  </a:cubicBezTo>
                  <a:cubicBezTo>
                    <a:pt x="19834" y="8849"/>
                    <a:pt x="19792" y="8863"/>
                    <a:pt x="19761" y="8869"/>
                  </a:cubicBezTo>
                  <a:cubicBezTo>
                    <a:pt x="19731" y="8876"/>
                    <a:pt x="19666" y="8902"/>
                    <a:pt x="19617" y="8929"/>
                  </a:cubicBezTo>
                  <a:cubicBezTo>
                    <a:pt x="19567" y="8956"/>
                    <a:pt x="19570" y="8935"/>
                    <a:pt x="19621" y="8882"/>
                  </a:cubicBezTo>
                  <a:cubicBezTo>
                    <a:pt x="19673" y="8830"/>
                    <a:pt x="19737" y="8781"/>
                    <a:pt x="19763" y="8777"/>
                  </a:cubicBezTo>
                  <a:cubicBezTo>
                    <a:pt x="19789" y="8770"/>
                    <a:pt x="19834" y="8753"/>
                    <a:pt x="19861" y="8734"/>
                  </a:cubicBezTo>
                  <a:cubicBezTo>
                    <a:pt x="19889" y="8715"/>
                    <a:pt x="19916" y="8691"/>
                    <a:pt x="19918" y="8679"/>
                  </a:cubicBezTo>
                  <a:cubicBezTo>
                    <a:pt x="19921" y="8667"/>
                    <a:pt x="19939" y="8641"/>
                    <a:pt x="19960" y="8621"/>
                  </a:cubicBezTo>
                  <a:cubicBezTo>
                    <a:pt x="19981" y="8602"/>
                    <a:pt x="19992" y="8581"/>
                    <a:pt x="19986" y="8576"/>
                  </a:cubicBezTo>
                  <a:cubicBezTo>
                    <a:pt x="19979" y="8570"/>
                    <a:pt x="19947" y="8580"/>
                    <a:pt x="19913" y="8598"/>
                  </a:cubicBezTo>
                  <a:cubicBezTo>
                    <a:pt x="19880" y="8616"/>
                    <a:pt x="19818" y="8638"/>
                    <a:pt x="19774" y="8644"/>
                  </a:cubicBezTo>
                  <a:cubicBezTo>
                    <a:pt x="19731" y="8653"/>
                    <a:pt x="19661" y="8678"/>
                    <a:pt x="19618" y="8700"/>
                  </a:cubicBezTo>
                  <a:cubicBezTo>
                    <a:pt x="19575" y="8722"/>
                    <a:pt x="19553" y="8724"/>
                    <a:pt x="19569" y="8702"/>
                  </a:cubicBezTo>
                  <a:cubicBezTo>
                    <a:pt x="19585" y="8681"/>
                    <a:pt x="19595" y="8649"/>
                    <a:pt x="19594" y="8633"/>
                  </a:cubicBezTo>
                  <a:cubicBezTo>
                    <a:pt x="19593" y="8617"/>
                    <a:pt x="19602" y="8587"/>
                    <a:pt x="19619" y="8569"/>
                  </a:cubicBezTo>
                  <a:cubicBezTo>
                    <a:pt x="19633" y="8549"/>
                    <a:pt x="19661" y="8541"/>
                    <a:pt x="19677" y="8551"/>
                  </a:cubicBezTo>
                  <a:cubicBezTo>
                    <a:pt x="19694" y="8560"/>
                    <a:pt x="19743" y="8561"/>
                    <a:pt x="19787" y="8552"/>
                  </a:cubicBezTo>
                  <a:cubicBezTo>
                    <a:pt x="19830" y="8544"/>
                    <a:pt x="19891" y="8508"/>
                    <a:pt x="19922" y="8474"/>
                  </a:cubicBezTo>
                  <a:cubicBezTo>
                    <a:pt x="19953" y="8439"/>
                    <a:pt x="19985" y="8388"/>
                    <a:pt x="19991" y="8360"/>
                  </a:cubicBezTo>
                  <a:cubicBezTo>
                    <a:pt x="19998" y="8332"/>
                    <a:pt x="19983" y="8324"/>
                    <a:pt x="19956" y="8340"/>
                  </a:cubicBezTo>
                  <a:cubicBezTo>
                    <a:pt x="19930" y="8359"/>
                    <a:pt x="19893" y="8368"/>
                    <a:pt x="19875" y="8364"/>
                  </a:cubicBezTo>
                  <a:cubicBezTo>
                    <a:pt x="19856" y="8361"/>
                    <a:pt x="19867" y="8332"/>
                    <a:pt x="19898" y="8303"/>
                  </a:cubicBezTo>
                  <a:cubicBezTo>
                    <a:pt x="19929" y="8273"/>
                    <a:pt x="19965" y="8229"/>
                    <a:pt x="19979" y="8205"/>
                  </a:cubicBezTo>
                  <a:cubicBezTo>
                    <a:pt x="19990" y="8180"/>
                    <a:pt x="19987" y="8164"/>
                    <a:pt x="19967" y="8162"/>
                  </a:cubicBezTo>
                  <a:cubicBezTo>
                    <a:pt x="19947" y="8162"/>
                    <a:pt x="19874" y="8186"/>
                    <a:pt x="19806" y="8215"/>
                  </a:cubicBezTo>
                  <a:cubicBezTo>
                    <a:pt x="19738" y="8243"/>
                    <a:pt x="19668" y="8262"/>
                    <a:pt x="19649" y="8255"/>
                  </a:cubicBezTo>
                  <a:cubicBezTo>
                    <a:pt x="19632" y="8247"/>
                    <a:pt x="19632" y="8228"/>
                    <a:pt x="19649" y="8209"/>
                  </a:cubicBezTo>
                  <a:cubicBezTo>
                    <a:pt x="19669" y="8192"/>
                    <a:pt x="19705" y="8175"/>
                    <a:pt x="19733" y="8174"/>
                  </a:cubicBezTo>
                  <a:cubicBezTo>
                    <a:pt x="19760" y="8172"/>
                    <a:pt x="19804" y="8161"/>
                    <a:pt x="19832" y="8151"/>
                  </a:cubicBezTo>
                  <a:cubicBezTo>
                    <a:pt x="19858" y="8139"/>
                    <a:pt x="19904" y="8102"/>
                    <a:pt x="19932" y="8066"/>
                  </a:cubicBezTo>
                  <a:cubicBezTo>
                    <a:pt x="19961" y="8032"/>
                    <a:pt x="19972" y="7995"/>
                    <a:pt x="19954" y="7991"/>
                  </a:cubicBezTo>
                  <a:cubicBezTo>
                    <a:pt x="19938" y="7985"/>
                    <a:pt x="19927" y="7967"/>
                    <a:pt x="19927" y="7950"/>
                  </a:cubicBezTo>
                  <a:cubicBezTo>
                    <a:pt x="19930" y="7934"/>
                    <a:pt x="19911" y="7936"/>
                    <a:pt x="19890" y="7955"/>
                  </a:cubicBezTo>
                  <a:cubicBezTo>
                    <a:pt x="19868" y="7974"/>
                    <a:pt x="19841" y="7995"/>
                    <a:pt x="19829" y="7995"/>
                  </a:cubicBezTo>
                  <a:cubicBezTo>
                    <a:pt x="19818" y="7998"/>
                    <a:pt x="19806" y="7988"/>
                    <a:pt x="19804" y="7974"/>
                  </a:cubicBezTo>
                  <a:cubicBezTo>
                    <a:pt x="19799" y="7961"/>
                    <a:pt x="19790" y="7939"/>
                    <a:pt x="19774" y="7930"/>
                  </a:cubicBezTo>
                  <a:cubicBezTo>
                    <a:pt x="19760" y="7918"/>
                    <a:pt x="19764" y="7902"/>
                    <a:pt x="19784" y="7891"/>
                  </a:cubicBezTo>
                  <a:cubicBezTo>
                    <a:pt x="19804" y="7881"/>
                    <a:pt x="19829" y="7878"/>
                    <a:pt x="19841" y="7885"/>
                  </a:cubicBezTo>
                  <a:cubicBezTo>
                    <a:pt x="19850" y="7894"/>
                    <a:pt x="19871" y="7890"/>
                    <a:pt x="19884" y="7878"/>
                  </a:cubicBezTo>
                  <a:cubicBezTo>
                    <a:pt x="19898" y="7867"/>
                    <a:pt x="19914" y="7832"/>
                    <a:pt x="19919" y="7802"/>
                  </a:cubicBezTo>
                  <a:cubicBezTo>
                    <a:pt x="19925" y="7771"/>
                    <a:pt x="19913" y="7735"/>
                    <a:pt x="19894" y="7718"/>
                  </a:cubicBezTo>
                  <a:cubicBezTo>
                    <a:pt x="19872" y="7704"/>
                    <a:pt x="19856" y="7672"/>
                    <a:pt x="19858" y="7649"/>
                  </a:cubicBezTo>
                  <a:cubicBezTo>
                    <a:pt x="19860" y="7626"/>
                    <a:pt x="19875" y="7595"/>
                    <a:pt x="19897" y="7582"/>
                  </a:cubicBezTo>
                  <a:cubicBezTo>
                    <a:pt x="19916" y="7566"/>
                    <a:pt x="19937" y="7539"/>
                    <a:pt x="19942" y="7518"/>
                  </a:cubicBezTo>
                  <a:cubicBezTo>
                    <a:pt x="19946" y="7497"/>
                    <a:pt x="19932" y="7484"/>
                    <a:pt x="19911" y="7489"/>
                  </a:cubicBezTo>
                  <a:cubicBezTo>
                    <a:pt x="19891" y="7494"/>
                    <a:pt x="19884" y="7490"/>
                    <a:pt x="19894" y="7478"/>
                  </a:cubicBezTo>
                  <a:cubicBezTo>
                    <a:pt x="19906" y="7468"/>
                    <a:pt x="19925" y="7440"/>
                    <a:pt x="19938" y="7418"/>
                  </a:cubicBezTo>
                  <a:cubicBezTo>
                    <a:pt x="19951" y="7396"/>
                    <a:pt x="19949" y="7380"/>
                    <a:pt x="19933" y="7380"/>
                  </a:cubicBezTo>
                  <a:cubicBezTo>
                    <a:pt x="19916" y="7380"/>
                    <a:pt x="19890" y="7381"/>
                    <a:pt x="19874" y="7381"/>
                  </a:cubicBezTo>
                  <a:cubicBezTo>
                    <a:pt x="19858" y="7380"/>
                    <a:pt x="19845" y="7376"/>
                    <a:pt x="19849" y="7372"/>
                  </a:cubicBezTo>
                  <a:cubicBezTo>
                    <a:pt x="19852" y="7366"/>
                    <a:pt x="19867" y="7357"/>
                    <a:pt x="19882" y="7351"/>
                  </a:cubicBezTo>
                  <a:cubicBezTo>
                    <a:pt x="19898" y="7345"/>
                    <a:pt x="19927" y="7321"/>
                    <a:pt x="19949" y="7300"/>
                  </a:cubicBezTo>
                  <a:cubicBezTo>
                    <a:pt x="19970" y="7277"/>
                    <a:pt x="19975" y="7255"/>
                    <a:pt x="19961" y="7246"/>
                  </a:cubicBezTo>
                  <a:cubicBezTo>
                    <a:pt x="19945" y="7240"/>
                    <a:pt x="19938" y="7220"/>
                    <a:pt x="19947" y="7203"/>
                  </a:cubicBezTo>
                  <a:cubicBezTo>
                    <a:pt x="19955" y="7186"/>
                    <a:pt x="19976" y="7159"/>
                    <a:pt x="19997" y="7146"/>
                  </a:cubicBezTo>
                  <a:cubicBezTo>
                    <a:pt x="20016" y="7131"/>
                    <a:pt x="20028" y="7114"/>
                    <a:pt x="20022" y="7105"/>
                  </a:cubicBezTo>
                  <a:cubicBezTo>
                    <a:pt x="20014" y="7098"/>
                    <a:pt x="19989" y="7101"/>
                    <a:pt x="19963" y="7115"/>
                  </a:cubicBezTo>
                  <a:cubicBezTo>
                    <a:pt x="19938" y="7130"/>
                    <a:pt x="19938" y="7123"/>
                    <a:pt x="19963" y="7101"/>
                  </a:cubicBezTo>
                  <a:cubicBezTo>
                    <a:pt x="19990" y="7080"/>
                    <a:pt x="20005" y="7057"/>
                    <a:pt x="19996" y="7050"/>
                  </a:cubicBezTo>
                  <a:cubicBezTo>
                    <a:pt x="19988" y="7043"/>
                    <a:pt x="19958" y="7050"/>
                    <a:pt x="19927" y="7062"/>
                  </a:cubicBezTo>
                  <a:cubicBezTo>
                    <a:pt x="19897" y="7076"/>
                    <a:pt x="19845" y="7113"/>
                    <a:pt x="19815" y="7146"/>
                  </a:cubicBezTo>
                  <a:cubicBezTo>
                    <a:pt x="19783" y="7179"/>
                    <a:pt x="19760" y="7219"/>
                    <a:pt x="19760" y="7234"/>
                  </a:cubicBezTo>
                  <a:cubicBezTo>
                    <a:pt x="19759" y="7249"/>
                    <a:pt x="19747" y="7280"/>
                    <a:pt x="19729" y="7303"/>
                  </a:cubicBezTo>
                  <a:cubicBezTo>
                    <a:pt x="19710" y="7326"/>
                    <a:pt x="19664" y="7373"/>
                    <a:pt x="19627" y="7409"/>
                  </a:cubicBezTo>
                  <a:cubicBezTo>
                    <a:pt x="19588" y="7443"/>
                    <a:pt x="19551" y="7488"/>
                    <a:pt x="19543" y="7507"/>
                  </a:cubicBezTo>
                  <a:cubicBezTo>
                    <a:pt x="19534" y="7526"/>
                    <a:pt x="19513" y="7553"/>
                    <a:pt x="19493" y="7567"/>
                  </a:cubicBezTo>
                  <a:cubicBezTo>
                    <a:pt x="19475" y="7583"/>
                    <a:pt x="19452" y="7611"/>
                    <a:pt x="19449" y="7634"/>
                  </a:cubicBezTo>
                  <a:cubicBezTo>
                    <a:pt x="19445" y="7656"/>
                    <a:pt x="19431" y="7666"/>
                    <a:pt x="19420" y="7653"/>
                  </a:cubicBezTo>
                  <a:cubicBezTo>
                    <a:pt x="19407" y="7643"/>
                    <a:pt x="19386" y="7640"/>
                    <a:pt x="19371" y="7649"/>
                  </a:cubicBezTo>
                  <a:cubicBezTo>
                    <a:pt x="19356" y="7659"/>
                    <a:pt x="19319" y="7698"/>
                    <a:pt x="19292" y="7740"/>
                  </a:cubicBezTo>
                  <a:cubicBezTo>
                    <a:pt x="19262" y="7780"/>
                    <a:pt x="19238" y="7826"/>
                    <a:pt x="19236" y="7841"/>
                  </a:cubicBezTo>
                  <a:cubicBezTo>
                    <a:pt x="19233" y="7855"/>
                    <a:pt x="19248" y="7862"/>
                    <a:pt x="19271" y="7860"/>
                  </a:cubicBezTo>
                  <a:cubicBezTo>
                    <a:pt x="19293" y="7856"/>
                    <a:pt x="19318" y="7866"/>
                    <a:pt x="19324" y="7882"/>
                  </a:cubicBezTo>
                  <a:cubicBezTo>
                    <a:pt x="19333" y="7897"/>
                    <a:pt x="19336" y="7925"/>
                    <a:pt x="19327" y="7939"/>
                  </a:cubicBezTo>
                  <a:cubicBezTo>
                    <a:pt x="19323" y="7954"/>
                    <a:pt x="19305" y="7952"/>
                    <a:pt x="19287" y="7937"/>
                  </a:cubicBezTo>
                  <a:cubicBezTo>
                    <a:pt x="19271" y="7920"/>
                    <a:pt x="19244" y="7910"/>
                    <a:pt x="19229" y="7915"/>
                  </a:cubicBezTo>
                  <a:cubicBezTo>
                    <a:pt x="19213" y="7918"/>
                    <a:pt x="19191" y="7937"/>
                    <a:pt x="19178" y="7954"/>
                  </a:cubicBezTo>
                  <a:cubicBezTo>
                    <a:pt x="19165" y="7972"/>
                    <a:pt x="19134" y="8008"/>
                    <a:pt x="19112" y="8035"/>
                  </a:cubicBezTo>
                  <a:cubicBezTo>
                    <a:pt x="19089" y="8061"/>
                    <a:pt x="19049" y="8096"/>
                    <a:pt x="19026" y="8114"/>
                  </a:cubicBezTo>
                  <a:cubicBezTo>
                    <a:pt x="19002" y="8130"/>
                    <a:pt x="18971" y="8172"/>
                    <a:pt x="18955" y="8205"/>
                  </a:cubicBezTo>
                  <a:cubicBezTo>
                    <a:pt x="18940" y="8239"/>
                    <a:pt x="18907" y="8272"/>
                    <a:pt x="18884" y="8281"/>
                  </a:cubicBezTo>
                  <a:cubicBezTo>
                    <a:pt x="18860" y="8290"/>
                    <a:pt x="18822" y="8318"/>
                    <a:pt x="18801" y="8345"/>
                  </a:cubicBezTo>
                  <a:cubicBezTo>
                    <a:pt x="18777" y="8370"/>
                    <a:pt x="18760" y="8402"/>
                    <a:pt x="18761" y="8413"/>
                  </a:cubicBezTo>
                  <a:cubicBezTo>
                    <a:pt x="18763" y="8424"/>
                    <a:pt x="18750" y="8436"/>
                    <a:pt x="18738" y="8442"/>
                  </a:cubicBezTo>
                  <a:cubicBezTo>
                    <a:pt x="18726" y="8448"/>
                    <a:pt x="18709" y="8481"/>
                    <a:pt x="18701" y="8517"/>
                  </a:cubicBezTo>
                  <a:cubicBezTo>
                    <a:pt x="18691" y="8553"/>
                    <a:pt x="18662" y="8617"/>
                    <a:pt x="18634" y="8661"/>
                  </a:cubicBezTo>
                  <a:cubicBezTo>
                    <a:pt x="18604" y="8702"/>
                    <a:pt x="18592" y="8713"/>
                    <a:pt x="18605" y="8684"/>
                  </a:cubicBezTo>
                  <a:cubicBezTo>
                    <a:pt x="18617" y="8654"/>
                    <a:pt x="18628" y="8602"/>
                    <a:pt x="18631" y="8568"/>
                  </a:cubicBezTo>
                  <a:cubicBezTo>
                    <a:pt x="18633" y="8534"/>
                    <a:pt x="18623" y="8495"/>
                    <a:pt x="18609" y="8484"/>
                  </a:cubicBezTo>
                  <a:cubicBezTo>
                    <a:pt x="18598" y="8470"/>
                    <a:pt x="18552" y="8489"/>
                    <a:pt x="18508" y="8519"/>
                  </a:cubicBezTo>
                  <a:cubicBezTo>
                    <a:pt x="18467" y="8552"/>
                    <a:pt x="18412" y="8598"/>
                    <a:pt x="18388" y="8625"/>
                  </a:cubicBezTo>
                  <a:cubicBezTo>
                    <a:pt x="18364" y="8650"/>
                    <a:pt x="18336" y="8691"/>
                    <a:pt x="18327" y="8716"/>
                  </a:cubicBezTo>
                  <a:cubicBezTo>
                    <a:pt x="18317" y="8740"/>
                    <a:pt x="18289" y="8770"/>
                    <a:pt x="18262" y="8779"/>
                  </a:cubicBezTo>
                  <a:cubicBezTo>
                    <a:pt x="18236" y="8790"/>
                    <a:pt x="18203" y="8811"/>
                    <a:pt x="18188" y="8826"/>
                  </a:cubicBezTo>
                  <a:cubicBezTo>
                    <a:pt x="18173" y="8840"/>
                    <a:pt x="18159" y="8844"/>
                    <a:pt x="18159" y="8833"/>
                  </a:cubicBezTo>
                  <a:cubicBezTo>
                    <a:pt x="18158" y="8823"/>
                    <a:pt x="18143" y="8815"/>
                    <a:pt x="18124" y="8816"/>
                  </a:cubicBezTo>
                  <a:cubicBezTo>
                    <a:pt x="18105" y="8815"/>
                    <a:pt x="18068" y="8840"/>
                    <a:pt x="18039" y="8864"/>
                  </a:cubicBezTo>
                  <a:cubicBezTo>
                    <a:pt x="18010" y="8889"/>
                    <a:pt x="17966" y="8915"/>
                    <a:pt x="17942" y="8924"/>
                  </a:cubicBezTo>
                  <a:cubicBezTo>
                    <a:pt x="17917" y="8932"/>
                    <a:pt x="17869" y="8961"/>
                    <a:pt x="17834" y="8989"/>
                  </a:cubicBezTo>
                  <a:cubicBezTo>
                    <a:pt x="17799" y="9016"/>
                    <a:pt x="17762" y="9064"/>
                    <a:pt x="17750" y="9093"/>
                  </a:cubicBezTo>
                  <a:cubicBezTo>
                    <a:pt x="17740" y="9123"/>
                    <a:pt x="17698" y="9178"/>
                    <a:pt x="17660" y="9216"/>
                  </a:cubicBezTo>
                  <a:cubicBezTo>
                    <a:pt x="17622" y="9254"/>
                    <a:pt x="17605" y="9264"/>
                    <a:pt x="17622" y="9237"/>
                  </a:cubicBezTo>
                  <a:cubicBezTo>
                    <a:pt x="17638" y="9210"/>
                    <a:pt x="17655" y="9172"/>
                    <a:pt x="17659" y="9152"/>
                  </a:cubicBezTo>
                  <a:cubicBezTo>
                    <a:pt x="17662" y="9131"/>
                    <a:pt x="17674" y="9105"/>
                    <a:pt x="17684" y="9094"/>
                  </a:cubicBezTo>
                  <a:cubicBezTo>
                    <a:pt x="17693" y="9081"/>
                    <a:pt x="17712" y="9032"/>
                    <a:pt x="17723" y="8983"/>
                  </a:cubicBezTo>
                  <a:cubicBezTo>
                    <a:pt x="17732" y="8933"/>
                    <a:pt x="17751" y="8873"/>
                    <a:pt x="17761" y="8848"/>
                  </a:cubicBezTo>
                  <a:cubicBezTo>
                    <a:pt x="17771" y="8823"/>
                    <a:pt x="17772" y="8805"/>
                    <a:pt x="17767" y="8801"/>
                  </a:cubicBezTo>
                  <a:cubicBezTo>
                    <a:pt x="17760" y="8801"/>
                    <a:pt x="17720" y="8832"/>
                    <a:pt x="17676" y="8871"/>
                  </a:cubicBezTo>
                  <a:cubicBezTo>
                    <a:pt x="17633" y="8911"/>
                    <a:pt x="17556" y="9003"/>
                    <a:pt x="17503" y="9076"/>
                  </a:cubicBezTo>
                  <a:cubicBezTo>
                    <a:pt x="17452" y="9149"/>
                    <a:pt x="17384" y="9225"/>
                    <a:pt x="17353" y="9244"/>
                  </a:cubicBezTo>
                  <a:cubicBezTo>
                    <a:pt x="17321" y="9264"/>
                    <a:pt x="17316" y="9257"/>
                    <a:pt x="17342" y="9230"/>
                  </a:cubicBezTo>
                  <a:cubicBezTo>
                    <a:pt x="17367" y="9202"/>
                    <a:pt x="17400" y="9157"/>
                    <a:pt x="17411" y="9128"/>
                  </a:cubicBezTo>
                  <a:cubicBezTo>
                    <a:pt x="17425" y="9101"/>
                    <a:pt x="17467" y="9038"/>
                    <a:pt x="17508" y="8989"/>
                  </a:cubicBezTo>
                  <a:cubicBezTo>
                    <a:pt x="17547" y="8941"/>
                    <a:pt x="17586" y="8879"/>
                    <a:pt x="17590" y="8852"/>
                  </a:cubicBezTo>
                  <a:cubicBezTo>
                    <a:pt x="17596" y="8825"/>
                    <a:pt x="17610" y="8780"/>
                    <a:pt x="17624" y="8752"/>
                  </a:cubicBezTo>
                  <a:cubicBezTo>
                    <a:pt x="17636" y="8724"/>
                    <a:pt x="17642" y="8684"/>
                    <a:pt x="17635" y="8662"/>
                  </a:cubicBezTo>
                  <a:cubicBezTo>
                    <a:pt x="17628" y="8640"/>
                    <a:pt x="17604" y="8611"/>
                    <a:pt x="17584" y="8595"/>
                  </a:cubicBezTo>
                  <a:cubicBezTo>
                    <a:pt x="17562" y="8582"/>
                    <a:pt x="17527" y="8572"/>
                    <a:pt x="17503" y="8579"/>
                  </a:cubicBezTo>
                  <a:cubicBezTo>
                    <a:pt x="17479" y="8585"/>
                    <a:pt x="17463" y="8610"/>
                    <a:pt x="17462" y="8634"/>
                  </a:cubicBezTo>
                  <a:cubicBezTo>
                    <a:pt x="17464" y="8658"/>
                    <a:pt x="17457" y="8679"/>
                    <a:pt x="17448" y="8682"/>
                  </a:cubicBezTo>
                  <a:cubicBezTo>
                    <a:pt x="17441" y="8687"/>
                    <a:pt x="17417" y="8679"/>
                    <a:pt x="17398" y="8668"/>
                  </a:cubicBezTo>
                  <a:cubicBezTo>
                    <a:pt x="17378" y="8658"/>
                    <a:pt x="17349" y="8620"/>
                    <a:pt x="17330" y="8585"/>
                  </a:cubicBezTo>
                  <a:cubicBezTo>
                    <a:pt x="17310" y="8550"/>
                    <a:pt x="17329" y="8531"/>
                    <a:pt x="17369" y="8539"/>
                  </a:cubicBezTo>
                  <a:cubicBezTo>
                    <a:pt x="17408" y="8549"/>
                    <a:pt x="17452" y="8549"/>
                    <a:pt x="17467" y="8541"/>
                  </a:cubicBezTo>
                  <a:cubicBezTo>
                    <a:pt x="17483" y="8533"/>
                    <a:pt x="17479" y="8525"/>
                    <a:pt x="17459" y="8523"/>
                  </a:cubicBezTo>
                  <a:cubicBezTo>
                    <a:pt x="17439" y="8523"/>
                    <a:pt x="17407" y="8488"/>
                    <a:pt x="17389" y="8448"/>
                  </a:cubicBezTo>
                  <a:cubicBezTo>
                    <a:pt x="17370" y="8409"/>
                    <a:pt x="17347" y="8378"/>
                    <a:pt x="17343" y="8374"/>
                  </a:cubicBezTo>
                  <a:cubicBezTo>
                    <a:pt x="17336" y="8373"/>
                    <a:pt x="17361" y="8339"/>
                    <a:pt x="17397" y="8300"/>
                  </a:cubicBezTo>
                  <a:cubicBezTo>
                    <a:pt x="17433" y="8262"/>
                    <a:pt x="17470" y="8218"/>
                    <a:pt x="17478" y="8202"/>
                  </a:cubicBezTo>
                  <a:cubicBezTo>
                    <a:pt x="17484" y="8186"/>
                    <a:pt x="17518" y="8145"/>
                    <a:pt x="17549" y="8108"/>
                  </a:cubicBezTo>
                  <a:cubicBezTo>
                    <a:pt x="17582" y="8074"/>
                    <a:pt x="17618" y="8009"/>
                    <a:pt x="17633" y="7967"/>
                  </a:cubicBezTo>
                  <a:cubicBezTo>
                    <a:pt x="17648" y="7924"/>
                    <a:pt x="17638" y="7874"/>
                    <a:pt x="17611" y="7856"/>
                  </a:cubicBezTo>
                  <a:cubicBezTo>
                    <a:pt x="17583" y="7838"/>
                    <a:pt x="17524" y="7824"/>
                    <a:pt x="17478" y="7827"/>
                  </a:cubicBezTo>
                  <a:cubicBezTo>
                    <a:pt x="17432" y="7830"/>
                    <a:pt x="17353" y="7820"/>
                    <a:pt x="17302" y="7805"/>
                  </a:cubicBezTo>
                  <a:cubicBezTo>
                    <a:pt x="17252" y="7791"/>
                    <a:pt x="17260" y="7781"/>
                    <a:pt x="17322" y="7783"/>
                  </a:cubicBezTo>
                  <a:cubicBezTo>
                    <a:pt x="17383" y="7784"/>
                    <a:pt x="17477" y="7784"/>
                    <a:pt x="17531" y="7776"/>
                  </a:cubicBezTo>
                  <a:cubicBezTo>
                    <a:pt x="17585" y="7769"/>
                    <a:pt x="17644" y="7734"/>
                    <a:pt x="17662" y="7696"/>
                  </a:cubicBezTo>
                  <a:cubicBezTo>
                    <a:pt x="17681" y="7658"/>
                    <a:pt x="17707" y="7613"/>
                    <a:pt x="17723" y="7597"/>
                  </a:cubicBezTo>
                  <a:cubicBezTo>
                    <a:pt x="17739" y="7581"/>
                    <a:pt x="17750" y="7592"/>
                    <a:pt x="17745" y="7621"/>
                  </a:cubicBezTo>
                  <a:cubicBezTo>
                    <a:pt x="17743" y="7651"/>
                    <a:pt x="17752" y="7655"/>
                    <a:pt x="17770" y="7632"/>
                  </a:cubicBezTo>
                  <a:cubicBezTo>
                    <a:pt x="17788" y="7610"/>
                    <a:pt x="17808" y="7543"/>
                    <a:pt x="17823" y="7487"/>
                  </a:cubicBezTo>
                  <a:cubicBezTo>
                    <a:pt x="17834" y="7430"/>
                    <a:pt x="17873" y="7351"/>
                    <a:pt x="17907" y="7311"/>
                  </a:cubicBezTo>
                  <a:cubicBezTo>
                    <a:pt x="17941" y="7271"/>
                    <a:pt x="17999" y="7225"/>
                    <a:pt x="18036" y="7211"/>
                  </a:cubicBezTo>
                  <a:cubicBezTo>
                    <a:pt x="18072" y="7197"/>
                    <a:pt x="18119" y="7151"/>
                    <a:pt x="18136" y="7110"/>
                  </a:cubicBezTo>
                  <a:cubicBezTo>
                    <a:pt x="18153" y="7069"/>
                    <a:pt x="18179" y="7003"/>
                    <a:pt x="18190" y="6963"/>
                  </a:cubicBezTo>
                  <a:cubicBezTo>
                    <a:pt x="18199" y="6923"/>
                    <a:pt x="18192" y="6895"/>
                    <a:pt x="18171" y="6902"/>
                  </a:cubicBezTo>
                  <a:cubicBezTo>
                    <a:pt x="18149" y="6908"/>
                    <a:pt x="18118" y="6944"/>
                    <a:pt x="18102" y="6981"/>
                  </a:cubicBezTo>
                  <a:cubicBezTo>
                    <a:pt x="18086" y="7018"/>
                    <a:pt x="18043" y="7072"/>
                    <a:pt x="18006" y="7098"/>
                  </a:cubicBezTo>
                  <a:cubicBezTo>
                    <a:pt x="17971" y="7127"/>
                    <a:pt x="17935" y="7135"/>
                    <a:pt x="17927" y="7120"/>
                  </a:cubicBezTo>
                  <a:cubicBezTo>
                    <a:pt x="17919" y="7105"/>
                    <a:pt x="17929" y="7056"/>
                    <a:pt x="17947" y="7013"/>
                  </a:cubicBezTo>
                  <a:cubicBezTo>
                    <a:pt x="17964" y="6969"/>
                    <a:pt x="17956" y="6932"/>
                    <a:pt x="17926" y="6930"/>
                  </a:cubicBezTo>
                  <a:cubicBezTo>
                    <a:pt x="17895" y="6928"/>
                    <a:pt x="17844" y="6943"/>
                    <a:pt x="17813" y="6961"/>
                  </a:cubicBezTo>
                  <a:cubicBezTo>
                    <a:pt x="17781" y="6980"/>
                    <a:pt x="17748" y="6988"/>
                    <a:pt x="17745" y="6978"/>
                  </a:cubicBezTo>
                  <a:cubicBezTo>
                    <a:pt x="17739" y="6969"/>
                    <a:pt x="17721" y="6967"/>
                    <a:pt x="17705" y="6976"/>
                  </a:cubicBezTo>
                  <a:cubicBezTo>
                    <a:pt x="17688" y="6984"/>
                    <a:pt x="17648" y="6976"/>
                    <a:pt x="17619" y="6952"/>
                  </a:cubicBezTo>
                  <a:cubicBezTo>
                    <a:pt x="17589" y="6931"/>
                    <a:pt x="17545" y="6927"/>
                    <a:pt x="17520" y="6944"/>
                  </a:cubicBezTo>
                  <a:cubicBezTo>
                    <a:pt x="17496" y="6960"/>
                    <a:pt x="17482" y="6959"/>
                    <a:pt x="17487" y="6941"/>
                  </a:cubicBezTo>
                  <a:cubicBezTo>
                    <a:pt x="17494" y="6923"/>
                    <a:pt x="17476" y="6928"/>
                    <a:pt x="17447" y="6951"/>
                  </a:cubicBezTo>
                  <a:cubicBezTo>
                    <a:pt x="17419" y="6974"/>
                    <a:pt x="17403" y="6977"/>
                    <a:pt x="17409" y="6955"/>
                  </a:cubicBezTo>
                  <a:cubicBezTo>
                    <a:pt x="17418" y="6934"/>
                    <a:pt x="17404" y="6898"/>
                    <a:pt x="17381" y="6878"/>
                  </a:cubicBezTo>
                  <a:cubicBezTo>
                    <a:pt x="17361" y="6857"/>
                    <a:pt x="17360" y="6839"/>
                    <a:pt x="17381" y="6831"/>
                  </a:cubicBezTo>
                  <a:cubicBezTo>
                    <a:pt x="17403" y="6826"/>
                    <a:pt x="17435" y="6801"/>
                    <a:pt x="17453" y="6777"/>
                  </a:cubicBezTo>
                  <a:cubicBezTo>
                    <a:pt x="17472" y="6753"/>
                    <a:pt x="17501" y="6739"/>
                    <a:pt x="17517" y="6750"/>
                  </a:cubicBezTo>
                  <a:cubicBezTo>
                    <a:pt x="17534" y="6759"/>
                    <a:pt x="17554" y="6755"/>
                    <a:pt x="17563" y="6741"/>
                  </a:cubicBezTo>
                  <a:cubicBezTo>
                    <a:pt x="17571" y="6727"/>
                    <a:pt x="17566" y="6697"/>
                    <a:pt x="17554" y="6674"/>
                  </a:cubicBezTo>
                  <a:cubicBezTo>
                    <a:pt x="17539" y="6652"/>
                    <a:pt x="17511" y="6649"/>
                    <a:pt x="17488" y="6668"/>
                  </a:cubicBezTo>
                  <a:cubicBezTo>
                    <a:pt x="17466" y="6689"/>
                    <a:pt x="17432" y="6697"/>
                    <a:pt x="17415" y="6687"/>
                  </a:cubicBezTo>
                  <a:cubicBezTo>
                    <a:pt x="17398" y="6678"/>
                    <a:pt x="17401" y="6661"/>
                    <a:pt x="17423" y="6652"/>
                  </a:cubicBezTo>
                  <a:cubicBezTo>
                    <a:pt x="17444" y="6641"/>
                    <a:pt x="17460" y="6616"/>
                    <a:pt x="17454" y="6595"/>
                  </a:cubicBezTo>
                  <a:cubicBezTo>
                    <a:pt x="17450" y="6573"/>
                    <a:pt x="17429" y="6543"/>
                    <a:pt x="17409" y="6527"/>
                  </a:cubicBezTo>
                  <a:cubicBezTo>
                    <a:pt x="17388" y="6513"/>
                    <a:pt x="17358" y="6510"/>
                    <a:pt x="17338" y="6523"/>
                  </a:cubicBezTo>
                  <a:cubicBezTo>
                    <a:pt x="17319" y="6538"/>
                    <a:pt x="17306" y="6535"/>
                    <a:pt x="17312" y="6519"/>
                  </a:cubicBezTo>
                  <a:cubicBezTo>
                    <a:pt x="17314" y="6502"/>
                    <a:pt x="17338" y="6471"/>
                    <a:pt x="17359" y="6450"/>
                  </a:cubicBezTo>
                  <a:cubicBezTo>
                    <a:pt x="17379" y="6428"/>
                    <a:pt x="17406" y="6381"/>
                    <a:pt x="17418" y="6345"/>
                  </a:cubicBezTo>
                  <a:cubicBezTo>
                    <a:pt x="17429" y="6309"/>
                    <a:pt x="17422" y="6285"/>
                    <a:pt x="17400" y="6290"/>
                  </a:cubicBezTo>
                  <a:cubicBezTo>
                    <a:pt x="17378" y="6295"/>
                    <a:pt x="17342" y="6290"/>
                    <a:pt x="17320" y="6276"/>
                  </a:cubicBezTo>
                  <a:cubicBezTo>
                    <a:pt x="17299" y="6262"/>
                    <a:pt x="17284" y="6232"/>
                    <a:pt x="17295" y="6210"/>
                  </a:cubicBezTo>
                  <a:cubicBezTo>
                    <a:pt x="17302" y="6187"/>
                    <a:pt x="17282" y="6153"/>
                    <a:pt x="17249" y="6134"/>
                  </a:cubicBezTo>
                  <a:cubicBezTo>
                    <a:pt x="17216" y="6115"/>
                    <a:pt x="17158" y="6121"/>
                    <a:pt x="17120" y="6147"/>
                  </a:cubicBezTo>
                  <a:cubicBezTo>
                    <a:pt x="17081" y="6173"/>
                    <a:pt x="17034" y="6200"/>
                    <a:pt x="17014" y="6208"/>
                  </a:cubicBezTo>
                  <a:cubicBezTo>
                    <a:pt x="16993" y="6214"/>
                    <a:pt x="16965" y="6235"/>
                    <a:pt x="16946" y="6250"/>
                  </a:cubicBezTo>
                  <a:cubicBezTo>
                    <a:pt x="16930" y="6267"/>
                    <a:pt x="16896" y="6276"/>
                    <a:pt x="16871" y="6273"/>
                  </a:cubicBezTo>
                  <a:cubicBezTo>
                    <a:pt x="16847" y="6270"/>
                    <a:pt x="16819" y="6286"/>
                    <a:pt x="16811" y="6310"/>
                  </a:cubicBezTo>
                  <a:cubicBezTo>
                    <a:pt x="16803" y="6335"/>
                    <a:pt x="16789" y="6340"/>
                    <a:pt x="16778" y="6322"/>
                  </a:cubicBezTo>
                  <a:cubicBezTo>
                    <a:pt x="16771" y="6303"/>
                    <a:pt x="16746" y="6295"/>
                    <a:pt x="16728" y="6299"/>
                  </a:cubicBezTo>
                  <a:cubicBezTo>
                    <a:pt x="16711" y="6306"/>
                    <a:pt x="16691" y="6298"/>
                    <a:pt x="16681" y="6290"/>
                  </a:cubicBezTo>
                  <a:cubicBezTo>
                    <a:pt x="16675" y="6280"/>
                    <a:pt x="16649" y="6278"/>
                    <a:pt x="16626" y="6282"/>
                  </a:cubicBezTo>
                  <a:cubicBezTo>
                    <a:pt x="16604" y="6286"/>
                    <a:pt x="16551" y="6315"/>
                    <a:pt x="16511" y="6348"/>
                  </a:cubicBezTo>
                  <a:cubicBezTo>
                    <a:pt x="16469" y="6379"/>
                    <a:pt x="16403" y="6416"/>
                    <a:pt x="16362" y="6429"/>
                  </a:cubicBezTo>
                  <a:cubicBezTo>
                    <a:pt x="16322" y="6442"/>
                    <a:pt x="16316" y="6435"/>
                    <a:pt x="16353" y="6416"/>
                  </a:cubicBezTo>
                  <a:cubicBezTo>
                    <a:pt x="16386" y="6394"/>
                    <a:pt x="16428" y="6361"/>
                    <a:pt x="16443" y="6338"/>
                  </a:cubicBezTo>
                  <a:cubicBezTo>
                    <a:pt x="16459" y="6316"/>
                    <a:pt x="16444" y="6304"/>
                    <a:pt x="16414" y="6312"/>
                  </a:cubicBezTo>
                  <a:cubicBezTo>
                    <a:pt x="16385" y="6321"/>
                    <a:pt x="16324" y="6318"/>
                    <a:pt x="16280" y="6305"/>
                  </a:cubicBezTo>
                  <a:cubicBezTo>
                    <a:pt x="16236" y="6292"/>
                    <a:pt x="16173" y="6273"/>
                    <a:pt x="16139" y="6267"/>
                  </a:cubicBezTo>
                  <a:cubicBezTo>
                    <a:pt x="16106" y="6258"/>
                    <a:pt x="16048" y="6261"/>
                    <a:pt x="16009" y="6268"/>
                  </a:cubicBezTo>
                  <a:cubicBezTo>
                    <a:pt x="15971" y="6279"/>
                    <a:pt x="15930" y="6278"/>
                    <a:pt x="15918" y="6276"/>
                  </a:cubicBezTo>
                  <a:cubicBezTo>
                    <a:pt x="15909" y="6268"/>
                    <a:pt x="15883" y="6275"/>
                    <a:pt x="15867" y="6286"/>
                  </a:cubicBezTo>
                  <a:cubicBezTo>
                    <a:pt x="15852" y="6296"/>
                    <a:pt x="15825" y="6308"/>
                    <a:pt x="15810" y="6314"/>
                  </a:cubicBezTo>
                  <a:cubicBezTo>
                    <a:pt x="15795" y="6319"/>
                    <a:pt x="15765" y="6340"/>
                    <a:pt x="15744" y="6360"/>
                  </a:cubicBezTo>
                  <a:cubicBezTo>
                    <a:pt x="15722" y="6380"/>
                    <a:pt x="15701" y="6407"/>
                    <a:pt x="15696" y="6421"/>
                  </a:cubicBezTo>
                  <a:cubicBezTo>
                    <a:pt x="15691" y="6434"/>
                    <a:pt x="15676" y="6449"/>
                    <a:pt x="15662" y="6454"/>
                  </a:cubicBezTo>
                  <a:cubicBezTo>
                    <a:pt x="15648" y="6458"/>
                    <a:pt x="15632" y="6458"/>
                    <a:pt x="15624" y="6456"/>
                  </a:cubicBezTo>
                  <a:cubicBezTo>
                    <a:pt x="15618" y="6451"/>
                    <a:pt x="15592" y="6461"/>
                    <a:pt x="15571" y="6477"/>
                  </a:cubicBezTo>
                  <a:cubicBezTo>
                    <a:pt x="15550" y="6492"/>
                    <a:pt x="15523" y="6527"/>
                    <a:pt x="15512" y="6555"/>
                  </a:cubicBezTo>
                  <a:cubicBezTo>
                    <a:pt x="15499" y="6582"/>
                    <a:pt x="15471" y="6637"/>
                    <a:pt x="15442" y="6673"/>
                  </a:cubicBezTo>
                  <a:cubicBezTo>
                    <a:pt x="15414" y="6711"/>
                    <a:pt x="15379" y="6776"/>
                    <a:pt x="15363" y="6819"/>
                  </a:cubicBezTo>
                  <a:cubicBezTo>
                    <a:pt x="15347" y="6861"/>
                    <a:pt x="15340" y="6910"/>
                    <a:pt x="15347" y="6928"/>
                  </a:cubicBezTo>
                  <a:cubicBezTo>
                    <a:pt x="15352" y="6946"/>
                    <a:pt x="15368" y="6959"/>
                    <a:pt x="15379" y="6958"/>
                  </a:cubicBezTo>
                  <a:cubicBezTo>
                    <a:pt x="15390" y="6958"/>
                    <a:pt x="15398" y="6964"/>
                    <a:pt x="15396" y="6973"/>
                  </a:cubicBezTo>
                  <a:cubicBezTo>
                    <a:pt x="15396" y="6982"/>
                    <a:pt x="15402" y="6991"/>
                    <a:pt x="15413" y="6991"/>
                  </a:cubicBezTo>
                  <a:cubicBezTo>
                    <a:pt x="15424" y="6994"/>
                    <a:pt x="15426" y="7015"/>
                    <a:pt x="15417" y="7040"/>
                  </a:cubicBezTo>
                  <a:cubicBezTo>
                    <a:pt x="15408" y="7066"/>
                    <a:pt x="15388" y="7099"/>
                    <a:pt x="15375" y="7115"/>
                  </a:cubicBezTo>
                  <a:cubicBezTo>
                    <a:pt x="15360" y="7129"/>
                    <a:pt x="15337" y="7145"/>
                    <a:pt x="15322" y="7146"/>
                  </a:cubicBezTo>
                  <a:cubicBezTo>
                    <a:pt x="15308" y="7148"/>
                    <a:pt x="15284" y="7171"/>
                    <a:pt x="15271" y="7199"/>
                  </a:cubicBezTo>
                  <a:cubicBezTo>
                    <a:pt x="15257" y="7226"/>
                    <a:pt x="15208" y="7292"/>
                    <a:pt x="15162" y="7343"/>
                  </a:cubicBezTo>
                  <a:cubicBezTo>
                    <a:pt x="15116" y="7396"/>
                    <a:pt x="15027" y="7481"/>
                    <a:pt x="14964" y="7534"/>
                  </a:cubicBezTo>
                  <a:cubicBezTo>
                    <a:pt x="14902" y="7587"/>
                    <a:pt x="14844" y="7644"/>
                    <a:pt x="14836" y="7662"/>
                  </a:cubicBezTo>
                  <a:cubicBezTo>
                    <a:pt x="14829" y="7679"/>
                    <a:pt x="14830" y="7698"/>
                    <a:pt x="14840" y="7697"/>
                  </a:cubicBezTo>
                  <a:cubicBezTo>
                    <a:pt x="14849" y="7699"/>
                    <a:pt x="14889" y="7688"/>
                    <a:pt x="14929" y="7674"/>
                  </a:cubicBezTo>
                  <a:cubicBezTo>
                    <a:pt x="14969" y="7660"/>
                    <a:pt x="15012" y="7647"/>
                    <a:pt x="15025" y="7645"/>
                  </a:cubicBezTo>
                  <a:cubicBezTo>
                    <a:pt x="15038" y="7645"/>
                    <a:pt x="15031" y="7656"/>
                    <a:pt x="15009" y="7671"/>
                  </a:cubicBezTo>
                  <a:cubicBezTo>
                    <a:pt x="14988" y="7687"/>
                    <a:pt x="14954" y="7729"/>
                    <a:pt x="14932" y="7763"/>
                  </a:cubicBezTo>
                  <a:cubicBezTo>
                    <a:pt x="14913" y="7799"/>
                    <a:pt x="14891" y="7836"/>
                    <a:pt x="14890" y="7848"/>
                  </a:cubicBezTo>
                  <a:cubicBezTo>
                    <a:pt x="14885" y="7860"/>
                    <a:pt x="14905" y="7867"/>
                    <a:pt x="14929" y="7864"/>
                  </a:cubicBezTo>
                  <a:cubicBezTo>
                    <a:pt x="14953" y="7861"/>
                    <a:pt x="14953" y="7871"/>
                    <a:pt x="14927" y="7884"/>
                  </a:cubicBezTo>
                  <a:cubicBezTo>
                    <a:pt x="14902" y="7898"/>
                    <a:pt x="14863" y="7928"/>
                    <a:pt x="14841" y="7951"/>
                  </a:cubicBezTo>
                  <a:cubicBezTo>
                    <a:pt x="14818" y="7973"/>
                    <a:pt x="14802" y="8004"/>
                    <a:pt x="14805" y="8018"/>
                  </a:cubicBezTo>
                  <a:cubicBezTo>
                    <a:pt x="14807" y="8033"/>
                    <a:pt x="14816" y="8049"/>
                    <a:pt x="14826" y="8056"/>
                  </a:cubicBezTo>
                  <a:cubicBezTo>
                    <a:pt x="14833" y="8064"/>
                    <a:pt x="14818" y="8094"/>
                    <a:pt x="14788" y="8127"/>
                  </a:cubicBezTo>
                  <a:cubicBezTo>
                    <a:pt x="14757" y="8158"/>
                    <a:pt x="14731" y="8194"/>
                    <a:pt x="14733" y="8203"/>
                  </a:cubicBezTo>
                  <a:cubicBezTo>
                    <a:pt x="14731" y="8212"/>
                    <a:pt x="14757" y="8211"/>
                    <a:pt x="14790" y="8203"/>
                  </a:cubicBezTo>
                  <a:cubicBezTo>
                    <a:pt x="14822" y="8193"/>
                    <a:pt x="14846" y="8198"/>
                    <a:pt x="14847" y="8212"/>
                  </a:cubicBezTo>
                  <a:cubicBezTo>
                    <a:pt x="14847" y="8226"/>
                    <a:pt x="14815" y="8279"/>
                    <a:pt x="14775" y="8330"/>
                  </a:cubicBezTo>
                  <a:cubicBezTo>
                    <a:pt x="14736" y="8381"/>
                    <a:pt x="14681" y="8438"/>
                    <a:pt x="14652" y="8456"/>
                  </a:cubicBezTo>
                  <a:cubicBezTo>
                    <a:pt x="14622" y="8472"/>
                    <a:pt x="14590" y="8510"/>
                    <a:pt x="14581" y="8538"/>
                  </a:cubicBezTo>
                  <a:cubicBezTo>
                    <a:pt x="14572" y="8566"/>
                    <a:pt x="14566" y="8596"/>
                    <a:pt x="14570" y="8607"/>
                  </a:cubicBezTo>
                  <a:cubicBezTo>
                    <a:pt x="14576" y="8616"/>
                    <a:pt x="14567" y="8624"/>
                    <a:pt x="14555" y="8619"/>
                  </a:cubicBezTo>
                  <a:cubicBezTo>
                    <a:pt x="14542" y="8619"/>
                    <a:pt x="14526" y="8594"/>
                    <a:pt x="14522" y="8570"/>
                  </a:cubicBezTo>
                  <a:cubicBezTo>
                    <a:pt x="14518" y="8546"/>
                    <a:pt x="14502" y="8531"/>
                    <a:pt x="14489" y="8533"/>
                  </a:cubicBezTo>
                  <a:cubicBezTo>
                    <a:pt x="14476" y="8537"/>
                    <a:pt x="14438" y="8572"/>
                    <a:pt x="14403" y="8610"/>
                  </a:cubicBezTo>
                  <a:cubicBezTo>
                    <a:pt x="14368" y="8649"/>
                    <a:pt x="14338" y="8688"/>
                    <a:pt x="14336" y="8697"/>
                  </a:cubicBezTo>
                  <a:cubicBezTo>
                    <a:pt x="14334" y="8706"/>
                    <a:pt x="14337" y="8717"/>
                    <a:pt x="14345" y="8718"/>
                  </a:cubicBezTo>
                  <a:cubicBezTo>
                    <a:pt x="14350" y="8722"/>
                    <a:pt x="14353" y="8736"/>
                    <a:pt x="14349" y="8752"/>
                  </a:cubicBezTo>
                  <a:cubicBezTo>
                    <a:pt x="14344" y="8768"/>
                    <a:pt x="14324" y="8798"/>
                    <a:pt x="14304" y="8820"/>
                  </a:cubicBezTo>
                  <a:cubicBezTo>
                    <a:pt x="14283" y="8843"/>
                    <a:pt x="14249" y="8865"/>
                    <a:pt x="14230" y="8875"/>
                  </a:cubicBezTo>
                  <a:cubicBezTo>
                    <a:pt x="14210" y="8883"/>
                    <a:pt x="14126" y="8955"/>
                    <a:pt x="14045" y="9037"/>
                  </a:cubicBezTo>
                  <a:cubicBezTo>
                    <a:pt x="13964" y="9118"/>
                    <a:pt x="13875" y="9197"/>
                    <a:pt x="13851" y="9215"/>
                  </a:cubicBezTo>
                  <a:cubicBezTo>
                    <a:pt x="13824" y="9229"/>
                    <a:pt x="13783" y="9286"/>
                    <a:pt x="13754" y="9335"/>
                  </a:cubicBezTo>
                  <a:cubicBezTo>
                    <a:pt x="13728" y="9385"/>
                    <a:pt x="13705" y="9439"/>
                    <a:pt x="13705" y="9456"/>
                  </a:cubicBezTo>
                  <a:cubicBezTo>
                    <a:pt x="13707" y="9473"/>
                    <a:pt x="13724" y="9485"/>
                    <a:pt x="13745" y="9487"/>
                  </a:cubicBezTo>
                  <a:cubicBezTo>
                    <a:pt x="13766" y="9486"/>
                    <a:pt x="13783" y="9507"/>
                    <a:pt x="13782" y="9530"/>
                  </a:cubicBezTo>
                  <a:cubicBezTo>
                    <a:pt x="13780" y="9553"/>
                    <a:pt x="13796" y="9581"/>
                    <a:pt x="13816" y="9590"/>
                  </a:cubicBezTo>
                  <a:cubicBezTo>
                    <a:pt x="13836" y="9600"/>
                    <a:pt x="13868" y="9646"/>
                    <a:pt x="13885" y="9693"/>
                  </a:cubicBezTo>
                  <a:cubicBezTo>
                    <a:pt x="13901" y="9740"/>
                    <a:pt x="13907" y="9828"/>
                    <a:pt x="13896" y="9890"/>
                  </a:cubicBezTo>
                  <a:cubicBezTo>
                    <a:pt x="13885" y="9952"/>
                    <a:pt x="13854" y="10064"/>
                    <a:pt x="13830" y="10138"/>
                  </a:cubicBezTo>
                  <a:cubicBezTo>
                    <a:pt x="13805" y="10212"/>
                    <a:pt x="13791" y="10299"/>
                    <a:pt x="13798" y="10331"/>
                  </a:cubicBezTo>
                  <a:cubicBezTo>
                    <a:pt x="13805" y="10363"/>
                    <a:pt x="13802" y="10414"/>
                    <a:pt x="13791" y="10445"/>
                  </a:cubicBezTo>
                  <a:cubicBezTo>
                    <a:pt x="13779" y="10476"/>
                    <a:pt x="13759" y="10536"/>
                    <a:pt x="13747" y="10578"/>
                  </a:cubicBezTo>
                  <a:cubicBezTo>
                    <a:pt x="13734" y="10621"/>
                    <a:pt x="13715" y="10665"/>
                    <a:pt x="13704" y="10677"/>
                  </a:cubicBezTo>
                  <a:cubicBezTo>
                    <a:pt x="13694" y="10690"/>
                    <a:pt x="13655" y="10753"/>
                    <a:pt x="13615" y="10817"/>
                  </a:cubicBezTo>
                  <a:cubicBezTo>
                    <a:pt x="13576" y="10882"/>
                    <a:pt x="13532" y="10964"/>
                    <a:pt x="13514" y="10998"/>
                  </a:cubicBezTo>
                  <a:cubicBezTo>
                    <a:pt x="13498" y="11032"/>
                    <a:pt x="13491" y="11055"/>
                    <a:pt x="13502" y="11050"/>
                  </a:cubicBezTo>
                  <a:cubicBezTo>
                    <a:pt x="13512" y="11044"/>
                    <a:pt x="13531" y="11019"/>
                    <a:pt x="13544" y="10993"/>
                  </a:cubicBezTo>
                  <a:cubicBezTo>
                    <a:pt x="13554" y="10966"/>
                    <a:pt x="13579" y="10930"/>
                    <a:pt x="13599" y="10914"/>
                  </a:cubicBezTo>
                  <a:cubicBezTo>
                    <a:pt x="13616" y="10896"/>
                    <a:pt x="13626" y="10908"/>
                    <a:pt x="13619" y="10939"/>
                  </a:cubicBezTo>
                  <a:cubicBezTo>
                    <a:pt x="13612" y="10970"/>
                    <a:pt x="13615" y="11015"/>
                    <a:pt x="13630" y="11037"/>
                  </a:cubicBezTo>
                  <a:cubicBezTo>
                    <a:pt x="13643" y="11060"/>
                    <a:pt x="13637" y="11101"/>
                    <a:pt x="13611" y="11125"/>
                  </a:cubicBezTo>
                  <a:cubicBezTo>
                    <a:pt x="13589" y="11151"/>
                    <a:pt x="13549" y="11179"/>
                    <a:pt x="13524" y="11185"/>
                  </a:cubicBezTo>
                  <a:cubicBezTo>
                    <a:pt x="13501" y="11195"/>
                    <a:pt x="13474" y="11192"/>
                    <a:pt x="13466" y="11183"/>
                  </a:cubicBezTo>
                  <a:cubicBezTo>
                    <a:pt x="13458" y="11175"/>
                    <a:pt x="13440" y="11167"/>
                    <a:pt x="13427" y="11171"/>
                  </a:cubicBezTo>
                  <a:cubicBezTo>
                    <a:pt x="13413" y="11171"/>
                    <a:pt x="13362" y="11224"/>
                    <a:pt x="13317" y="11287"/>
                  </a:cubicBezTo>
                  <a:cubicBezTo>
                    <a:pt x="13268" y="11348"/>
                    <a:pt x="13207" y="11417"/>
                    <a:pt x="13176" y="11437"/>
                  </a:cubicBezTo>
                  <a:cubicBezTo>
                    <a:pt x="13146" y="11457"/>
                    <a:pt x="13112" y="11492"/>
                    <a:pt x="13104" y="11515"/>
                  </a:cubicBezTo>
                  <a:cubicBezTo>
                    <a:pt x="13095" y="11537"/>
                    <a:pt x="13037" y="11588"/>
                    <a:pt x="12976" y="11627"/>
                  </a:cubicBezTo>
                  <a:cubicBezTo>
                    <a:pt x="12914" y="11666"/>
                    <a:pt x="12849" y="11714"/>
                    <a:pt x="12830" y="11733"/>
                  </a:cubicBezTo>
                  <a:cubicBezTo>
                    <a:pt x="12811" y="11752"/>
                    <a:pt x="12793" y="11776"/>
                    <a:pt x="12789" y="11785"/>
                  </a:cubicBezTo>
                  <a:cubicBezTo>
                    <a:pt x="12785" y="11794"/>
                    <a:pt x="12717" y="11839"/>
                    <a:pt x="12640" y="11888"/>
                  </a:cubicBezTo>
                  <a:cubicBezTo>
                    <a:pt x="12560" y="11934"/>
                    <a:pt x="12455" y="12003"/>
                    <a:pt x="12404" y="12039"/>
                  </a:cubicBezTo>
                  <a:cubicBezTo>
                    <a:pt x="12354" y="12075"/>
                    <a:pt x="12298" y="12115"/>
                    <a:pt x="12285" y="12130"/>
                  </a:cubicBezTo>
                  <a:cubicBezTo>
                    <a:pt x="12270" y="12145"/>
                    <a:pt x="12237" y="12163"/>
                    <a:pt x="12210" y="12167"/>
                  </a:cubicBezTo>
                  <a:cubicBezTo>
                    <a:pt x="12184" y="12172"/>
                    <a:pt x="12142" y="12198"/>
                    <a:pt x="12114" y="12223"/>
                  </a:cubicBezTo>
                  <a:cubicBezTo>
                    <a:pt x="12089" y="12248"/>
                    <a:pt x="12026" y="12282"/>
                    <a:pt x="11981" y="12304"/>
                  </a:cubicBezTo>
                  <a:cubicBezTo>
                    <a:pt x="11934" y="12324"/>
                    <a:pt x="11868" y="12359"/>
                    <a:pt x="11835" y="12383"/>
                  </a:cubicBezTo>
                  <a:cubicBezTo>
                    <a:pt x="11800" y="12405"/>
                    <a:pt x="11777" y="12434"/>
                    <a:pt x="11780" y="12446"/>
                  </a:cubicBezTo>
                  <a:cubicBezTo>
                    <a:pt x="11785" y="12457"/>
                    <a:pt x="11782" y="12487"/>
                    <a:pt x="11778" y="12512"/>
                  </a:cubicBezTo>
                  <a:cubicBezTo>
                    <a:pt x="11772" y="12536"/>
                    <a:pt x="11772" y="12571"/>
                    <a:pt x="11778" y="12588"/>
                  </a:cubicBezTo>
                  <a:cubicBezTo>
                    <a:pt x="11782" y="12605"/>
                    <a:pt x="11780" y="12638"/>
                    <a:pt x="11773" y="12661"/>
                  </a:cubicBezTo>
                  <a:cubicBezTo>
                    <a:pt x="11767" y="12684"/>
                    <a:pt x="11763" y="12716"/>
                    <a:pt x="11767" y="12733"/>
                  </a:cubicBezTo>
                  <a:cubicBezTo>
                    <a:pt x="11770" y="12750"/>
                    <a:pt x="11763" y="12772"/>
                    <a:pt x="11750" y="12782"/>
                  </a:cubicBezTo>
                  <a:cubicBezTo>
                    <a:pt x="11736" y="12791"/>
                    <a:pt x="11730" y="12812"/>
                    <a:pt x="11731" y="12827"/>
                  </a:cubicBezTo>
                  <a:cubicBezTo>
                    <a:pt x="11736" y="12841"/>
                    <a:pt x="11745" y="12855"/>
                    <a:pt x="11757" y="12854"/>
                  </a:cubicBezTo>
                  <a:cubicBezTo>
                    <a:pt x="11768" y="12855"/>
                    <a:pt x="11763" y="12866"/>
                    <a:pt x="11748" y="12881"/>
                  </a:cubicBezTo>
                  <a:cubicBezTo>
                    <a:pt x="11732" y="12895"/>
                    <a:pt x="11718" y="12923"/>
                    <a:pt x="11724" y="12941"/>
                  </a:cubicBezTo>
                  <a:cubicBezTo>
                    <a:pt x="11725" y="12960"/>
                    <a:pt x="11719" y="12985"/>
                    <a:pt x="11706" y="12995"/>
                  </a:cubicBezTo>
                  <a:cubicBezTo>
                    <a:pt x="11694" y="13007"/>
                    <a:pt x="11681" y="13033"/>
                    <a:pt x="11680" y="13056"/>
                  </a:cubicBezTo>
                  <a:cubicBezTo>
                    <a:pt x="11679" y="13078"/>
                    <a:pt x="11664" y="13110"/>
                    <a:pt x="11649" y="13127"/>
                  </a:cubicBezTo>
                  <a:cubicBezTo>
                    <a:pt x="11634" y="13145"/>
                    <a:pt x="11608" y="13194"/>
                    <a:pt x="11591" y="13237"/>
                  </a:cubicBezTo>
                  <a:cubicBezTo>
                    <a:pt x="11574" y="13281"/>
                    <a:pt x="11560" y="13336"/>
                    <a:pt x="11559" y="13359"/>
                  </a:cubicBezTo>
                  <a:cubicBezTo>
                    <a:pt x="11559" y="13383"/>
                    <a:pt x="11530" y="13457"/>
                    <a:pt x="11496" y="13524"/>
                  </a:cubicBezTo>
                  <a:cubicBezTo>
                    <a:pt x="11463" y="13591"/>
                    <a:pt x="11436" y="13659"/>
                    <a:pt x="11433" y="13675"/>
                  </a:cubicBezTo>
                  <a:cubicBezTo>
                    <a:pt x="11432" y="13691"/>
                    <a:pt x="11440" y="13705"/>
                    <a:pt x="11450" y="13707"/>
                  </a:cubicBezTo>
                  <a:cubicBezTo>
                    <a:pt x="11459" y="13712"/>
                    <a:pt x="11464" y="13722"/>
                    <a:pt x="11460" y="13737"/>
                  </a:cubicBezTo>
                  <a:cubicBezTo>
                    <a:pt x="11455" y="13752"/>
                    <a:pt x="11456" y="13774"/>
                    <a:pt x="11461" y="13786"/>
                  </a:cubicBezTo>
                  <a:cubicBezTo>
                    <a:pt x="11466" y="13798"/>
                    <a:pt x="11449" y="13836"/>
                    <a:pt x="11420" y="13870"/>
                  </a:cubicBezTo>
                  <a:cubicBezTo>
                    <a:pt x="11393" y="13907"/>
                    <a:pt x="11365" y="13957"/>
                    <a:pt x="11355" y="13983"/>
                  </a:cubicBezTo>
                  <a:cubicBezTo>
                    <a:pt x="11347" y="14011"/>
                    <a:pt x="11348" y="14041"/>
                    <a:pt x="11361" y="14042"/>
                  </a:cubicBezTo>
                  <a:cubicBezTo>
                    <a:pt x="11371" y="14048"/>
                    <a:pt x="11375" y="14082"/>
                    <a:pt x="11369" y="14120"/>
                  </a:cubicBezTo>
                  <a:cubicBezTo>
                    <a:pt x="11364" y="14157"/>
                    <a:pt x="11362" y="14195"/>
                    <a:pt x="11368" y="14203"/>
                  </a:cubicBezTo>
                  <a:cubicBezTo>
                    <a:pt x="11374" y="14211"/>
                    <a:pt x="11351" y="14249"/>
                    <a:pt x="11316" y="14284"/>
                  </a:cubicBezTo>
                  <a:cubicBezTo>
                    <a:pt x="11283" y="14321"/>
                    <a:pt x="11238" y="14383"/>
                    <a:pt x="11219" y="14424"/>
                  </a:cubicBezTo>
                  <a:cubicBezTo>
                    <a:pt x="11201" y="14464"/>
                    <a:pt x="11173" y="14503"/>
                    <a:pt x="11160" y="14510"/>
                  </a:cubicBezTo>
                  <a:cubicBezTo>
                    <a:pt x="11147" y="14518"/>
                    <a:pt x="11129" y="14522"/>
                    <a:pt x="11123" y="14518"/>
                  </a:cubicBezTo>
                  <a:cubicBezTo>
                    <a:pt x="11115" y="14514"/>
                    <a:pt x="11106" y="14532"/>
                    <a:pt x="11101" y="14557"/>
                  </a:cubicBezTo>
                  <a:cubicBezTo>
                    <a:pt x="11096" y="14582"/>
                    <a:pt x="11097" y="14614"/>
                    <a:pt x="11106" y="14626"/>
                  </a:cubicBezTo>
                  <a:cubicBezTo>
                    <a:pt x="11115" y="14639"/>
                    <a:pt x="11108" y="14668"/>
                    <a:pt x="11091" y="14688"/>
                  </a:cubicBezTo>
                  <a:cubicBezTo>
                    <a:pt x="11075" y="14708"/>
                    <a:pt x="11052" y="14760"/>
                    <a:pt x="11037" y="14801"/>
                  </a:cubicBezTo>
                  <a:cubicBezTo>
                    <a:pt x="11024" y="14844"/>
                    <a:pt x="11009" y="14902"/>
                    <a:pt x="11005" y="14932"/>
                  </a:cubicBezTo>
                  <a:cubicBezTo>
                    <a:pt x="11001" y="14962"/>
                    <a:pt x="11013" y="15005"/>
                    <a:pt x="11026" y="15029"/>
                  </a:cubicBezTo>
                  <a:cubicBezTo>
                    <a:pt x="11043" y="15052"/>
                    <a:pt x="11070" y="15074"/>
                    <a:pt x="11087" y="15083"/>
                  </a:cubicBezTo>
                  <a:cubicBezTo>
                    <a:pt x="11104" y="15091"/>
                    <a:pt x="11090" y="15098"/>
                    <a:pt x="11053" y="15102"/>
                  </a:cubicBezTo>
                  <a:cubicBezTo>
                    <a:pt x="11017" y="15106"/>
                    <a:pt x="10971" y="15095"/>
                    <a:pt x="10950" y="15078"/>
                  </a:cubicBezTo>
                  <a:cubicBezTo>
                    <a:pt x="10929" y="15061"/>
                    <a:pt x="10924" y="15016"/>
                    <a:pt x="10936" y="14979"/>
                  </a:cubicBezTo>
                  <a:cubicBezTo>
                    <a:pt x="10949" y="14943"/>
                    <a:pt x="10960" y="14876"/>
                    <a:pt x="10964" y="14832"/>
                  </a:cubicBezTo>
                  <a:cubicBezTo>
                    <a:pt x="10967" y="14788"/>
                    <a:pt x="10960" y="14751"/>
                    <a:pt x="10948" y="14751"/>
                  </a:cubicBezTo>
                  <a:cubicBezTo>
                    <a:pt x="10936" y="14752"/>
                    <a:pt x="10926" y="14739"/>
                    <a:pt x="10927" y="14725"/>
                  </a:cubicBezTo>
                  <a:cubicBezTo>
                    <a:pt x="10925" y="14712"/>
                    <a:pt x="10938" y="14683"/>
                    <a:pt x="10945" y="14660"/>
                  </a:cubicBezTo>
                  <a:cubicBezTo>
                    <a:pt x="10954" y="14637"/>
                    <a:pt x="10956" y="14620"/>
                    <a:pt x="10947" y="14624"/>
                  </a:cubicBezTo>
                  <a:cubicBezTo>
                    <a:pt x="10938" y="14626"/>
                    <a:pt x="10889" y="14682"/>
                    <a:pt x="10839" y="14746"/>
                  </a:cubicBezTo>
                  <a:cubicBezTo>
                    <a:pt x="10788" y="14809"/>
                    <a:pt x="10744" y="14880"/>
                    <a:pt x="10738" y="14902"/>
                  </a:cubicBezTo>
                  <a:cubicBezTo>
                    <a:pt x="10733" y="14925"/>
                    <a:pt x="10718" y="14962"/>
                    <a:pt x="10708" y="14986"/>
                  </a:cubicBezTo>
                  <a:cubicBezTo>
                    <a:pt x="10697" y="15009"/>
                    <a:pt x="10672" y="15028"/>
                    <a:pt x="10655" y="15032"/>
                  </a:cubicBezTo>
                  <a:cubicBezTo>
                    <a:pt x="10637" y="15035"/>
                    <a:pt x="10611" y="15024"/>
                    <a:pt x="10598" y="15007"/>
                  </a:cubicBezTo>
                  <a:cubicBezTo>
                    <a:pt x="10584" y="14990"/>
                    <a:pt x="10552" y="14972"/>
                    <a:pt x="10526" y="14967"/>
                  </a:cubicBezTo>
                  <a:cubicBezTo>
                    <a:pt x="10500" y="14962"/>
                    <a:pt x="10450" y="14981"/>
                    <a:pt x="10420" y="15013"/>
                  </a:cubicBezTo>
                  <a:cubicBezTo>
                    <a:pt x="10386" y="15041"/>
                    <a:pt x="10334" y="15091"/>
                    <a:pt x="10297" y="15116"/>
                  </a:cubicBezTo>
                  <a:cubicBezTo>
                    <a:pt x="10263" y="15144"/>
                    <a:pt x="10276" y="15120"/>
                    <a:pt x="10327" y="15065"/>
                  </a:cubicBezTo>
                  <a:cubicBezTo>
                    <a:pt x="10378" y="15010"/>
                    <a:pt x="10434" y="14934"/>
                    <a:pt x="10452" y="14896"/>
                  </a:cubicBezTo>
                  <a:cubicBezTo>
                    <a:pt x="10470" y="14857"/>
                    <a:pt x="10484" y="14813"/>
                    <a:pt x="10481" y="14798"/>
                  </a:cubicBezTo>
                  <a:cubicBezTo>
                    <a:pt x="10480" y="14782"/>
                    <a:pt x="10484" y="14737"/>
                    <a:pt x="10490" y="14697"/>
                  </a:cubicBezTo>
                  <a:cubicBezTo>
                    <a:pt x="10496" y="14657"/>
                    <a:pt x="10495" y="14609"/>
                    <a:pt x="10487" y="14591"/>
                  </a:cubicBezTo>
                  <a:cubicBezTo>
                    <a:pt x="10479" y="14574"/>
                    <a:pt x="10473" y="14545"/>
                    <a:pt x="10474" y="14528"/>
                  </a:cubicBezTo>
                  <a:cubicBezTo>
                    <a:pt x="10476" y="14512"/>
                    <a:pt x="10472" y="14499"/>
                    <a:pt x="10467" y="14500"/>
                  </a:cubicBezTo>
                  <a:cubicBezTo>
                    <a:pt x="10461" y="14502"/>
                    <a:pt x="10440" y="14494"/>
                    <a:pt x="10418" y="14486"/>
                  </a:cubicBezTo>
                  <a:cubicBezTo>
                    <a:pt x="10397" y="14477"/>
                    <a:pt x="10364" y="14468"/>
                    <a:pt x="10347" y="14463"/>
                  </a:cubicBezTo>
                  <a:cubicBezTo>
                    <a:pt x="10329" y="14458"/>
                    <a:pt x="10319" y="14440"/>
                    <a:pt x="10326" y="14421"/>
                  </a:cubicBezTo>
                  <a:cubicBezTo>
                    <a:pt x="10331" y="14402"/>
                    <a:pt x="10336" y="14378"/>
                    <a:pt x="10336" y="14368"/>
                  </a:cubicBezTo>
                  <a:cubicBezTo>
                    <a:pt x="10336" y="14358"/>
                    <a:pt x="10345" y="14332"/>
                    <a:pt x="10354" y="14309"/>
                  </a:cubicBezTo>
                  <a:cubicBezTo>
                    <a:pt x="10363" y="14286"/>
                    <a:pt x="10365" y="14254"/>
                    <a:pt x="10359" y="14236"/>
                  </a:cubicBezTo>
                  <a:cubicBezTo>
                    <a:pt x="10353" y="14218"/>
                    <a:pt x="10337" y="14196"/>
                    <a:pt x="10322" y="14193"/>
                  </a:cubicBezTo>
                  <a:cubicBezTo>
                    <a:pt x="10310" y="14185"/>
                    <a:pt x="10306" y="14157"/>
                    <a:pt x="10313" y="14126"/>
                  </a:cubicBezTo>
                  <a:cubicBezTo>
                    <a:pt x="10320" y="14094"/>
                    <a:pt x="10316" y="14055"/>
                    <a:pt x="10298" y="14043"/>
                  </a:cubicBezTo>
                  <a:cubicBezTo>
                    <a:pt x="10283" y="14028"/>
                    <a:pt x="10267" y="14002"/>
                    <a:pt x="10262" y="13984"/>
                  </a:cubicBezTo>
                  <a:cubicBezTo>
                    <a:pt x="10260" y="13965"/>
                    <a:pt x="10276" y="13907"/>
                    <a:pt x="10300" y="13853"/>
                  </a:cubicBezTo>
                  <a:cubicBezTo>
                    <a:pt x="10325" y="13800"/>
                    <a:pt x="10366" y="13735"/>
                    <a:pt x="10392" y="13708"/>
                  </a:cubicBezTo>
                  <a:cubicBezTo>
                    <a:pt x="10417" y="13681"/>
                    <a:pt x="10452" y="13631"/>
                    <a:pt x="10470" y="13597"/>
                  </a:cubicBezTo>
                  <a:cubicBezTo>
                    <a:pt x="10485" y="13561"/>
                    <a:pt x="10507" y="13515"/>
                    <a:pt x="10512" y="13494"/>
                  </a:cubicBezTo>
                  <a:cubicBezTo>
                    <a:pt x="10518" y="13472"/>
                    <a:pt x="10555" y="13406"/>
                    <a:pt x="10597" y="13348"/>
                  </a:cubicBezTo>
                  <a:cubicBezTo>
                    <a:pt x="10639" y="13291"/>
                    <a:pt x="10684" y="13199"/>
                    <a:pt x="10696" y="13145"/>
                  </a:cubicBezTo>
                  <a:cubicBezTo>
                    <a:pt x="10711" y="13092"/>
                    <a:pt x="10714" y="13044"/>
                    <a:pt x="10711" y="13038"/>
                  </a:cubicBezTo>
                  <a:cubicBezTo>
                    <a:pt x="10705" y="13034"/>
                    <a:pt x="10706" y="13007"/>
                    <a:pt x="10709" y="12980"/>
                  </a:cubicBezTo>
                  <a:cubicBezTo>
                    <a:pt x="10713" y="12954"/>
                    <a:pt x="10738" y="12902"/>
                    <a:pt x="10760" y="12864"/>
                  </a:cubicBezTo>
                  <a:cubicBezTo>
                    <a:pt x="10785" y="12826"/>
                    <a:pt x="10822" y="12773"/>
                    <a:pt x="10843" y="12746"/>
                  </a:cubicBezTo>
                  <a:cubicBezTo>
                    <a:pt x="10864" y="12718"/>
                    <a:pt x="10887" y="12678"/>
                    <a:pt x="10895" y="12657"/>
                  </a:cubicBezTo>
                  <a:cubicBezTo>
                    <a:pt x="10903" y="12635"/>
                    <a:pt x="10945" y="12561"/>
                    <a:pt x="10990" y="12493"/>
                  </a:cubicBezTo>
                  <a:cubicBezTo>
                    <a:pt x="11033" y="12424"/>
                    <a:pt x="11076" y="12340"/>
                    <a:pt x="11083" y="12305"/>
                  </a:cubicBezTo>
                  <a:cubicBezTo>
                    <a:pt x="11089" y="12269"/>
                    <a:pt x="11086" y="12244"/>
                    <a:pt x="11075" y="12246"/>
                  </a:cubicBezTo>
                  <a:cubicBezTo>
                    <a:pt x="11065" y="12251"/>
                    <a:pt x="11049" y="12257"/>
                    <a:pt x="11040" y="12264"/>
                  </a:cubicBezTo>
                  <a:cubicBezTo>
                    <a:pt x="11033" y="12270"/>
                    <a:pt x="11026" y="12267"/>
                    <a:pt x="11032" y="12259"/>
                  </a:cubicBezTo>
                  <a:cubicBezTo>
                    <a:pt x="11034" y="12250"/>
                    <a:pt x="11025" y="12246"/>
                    <a:pt x="11010" y="12250"/>
                  </a:cubicBezTo>
                  <a:cubicBezTo>
                    <a:pt x="10995" y="12256"/>
                    <a:pt x="10957" y="12271"/>
                    <a:pt x="10930" y="12290"/>
                  </a:cubicBezTo>
                  <a:cubicBezTo>
                    <a:pt x="10901" y="12308"/>
                    <a:pt x="10850" y="12321"/>
                    <a:pt x="10817" y="12326"/>
                  </a:cubicBezTo>
                  <a:cubicBezTo>
                    <a:pt x="10783" y="12327"/>
                    <a:pt x="10732" y="12327"/>
                    <a:pt x="10703" y="12327"/>
                  </a:cubicBezTo>
                  <a:cubicBezTo>
                    <a:pt x="10674" y="12327"/>
                    <a:pt x="10643" y="12325"/>
                    <a:pt x="10635" y="12328"/>
                  </a:cubicBezTo>
                  <a:cubicBezTo>
                    <a:pt x="10626" y="12330"/>
                    <a:pt x="10615" y="12325"/>
                    <a:pt x="10607" y="12318"/>
                  </a:cubicBezTo>
                  <a:cubicBezTo>
                    <a:pt x="10599" y="12310"/>
                    <a:pt x="10558" y="12311"/>
                    <a:pt x="10514" y="12323"/>
                  </a:cubicBezTo>
                  <a:cubicBezTo>
                    <a:pt x="10471" y="12334"/>
                    <a:pt x="10415" y="12355"/>
                    <a:pt x="10390" y="12368"/>
                  </a:cubicBezTo>
                  <a:cubicBezTo>
                    <a:pt x="10366" y="12381"/>
                    <a:pt x="10338" y="12390"/>
                    <a:pt x="10330" y="12389"/>
                  </a:cubicBezTo>
                  <a:cubicBezTo>
                    <a:pt x="10321" y="12389"/>
                    <a:pt x="10288" y="12394"/>
                    <a:pt x="10256" y="12403"/>
                  </a:cubicBezTo>
                  <a:cubicBezTo>
                    <a:pt x="10223" y="12409"/>
                    <a:pt x="10195" y="12414"/>
                    <a:pt x="10190" y="12409"/>
                  </a:cubicBezTo>
                  <a:cubicBezTo>
                    <a:pt x="10187" y="12402"/>
                    <a:pt x="10186" y="12387"/>
                    <a:pt x="10195" y="12375"/>
                  </a:cubicBezTo>
                  <a:cubicBezTo>
                    <a:pt x="10202" y="12363"/>
                    <a:pt x="10190" y="12337"/>
                    <a:pt x="10177" y="12313"/>
                  </a:cubicBezTo>
                  <a:cubicBezTo>
                    <a:pt x="10159" y="12292"/>
                    <a:pt x="10147" y="12261"/>
                    <a:pt x="10149" y="12244"/>
                  </a:cubicBezTo>
                  <a:cubicBezTo>
                    <a:pt x="10151" y="12228"/>
                    <a:pt x="10134" y="12193"/>
                    <a:pt x="10109" y="12168"/>
                  </a:cubicBezTo>
                  <a:cubicBezTo>
                    <a:pt x="10086" y="12143"/>
                    <a:pt x="10056" y="12120"/>
                    <a:pt x="10043" y="12120"/>
                  </a:cubicBezTo>
                  <a:cubicBezTo>
                    <a:pt x="10029" y="12117"/>
                    <a:pt x="9999" y="12105"/>
                    <a:pt x="9978" y="12089"/>
                  </a:cubicBezTo>
                  <a:cubicBezTo>
                    <a:pt x="9956" y="12074"/>
                    <a:pt x="9927" y="12060"/>
                    <a:pt x="9914" y="12062"/>
                  </a:cubicBezTo>
                  <a:cubicBezTo>
                    <a:pt x="9901" y="12062"/>
                    <a:pt x="9867" y="12045"/>
                    <a:pt x="9835" y="12027"/>
                  </a:cubicBezTo>
                  <a:cubicBezTo>
                    <a:pt x="9805" y="12007"/>
                    <a:pt x="9772" y="11985"/>
                    <a:pt x="9770" y="11974"/>
                  </a:cubicBezTo>
                  <a:cubicBezTo>
                    <a:pt x="9761" y="11966"/>
                    <a:pt x="9747" y="11965"/>
                    <a:pt x="9732" y="11977"/>
                  </a:cubicBezTo>
                  <a:cubicBezTo>
                    <a:pt x="9716" y="11988"/>
                    <a:pt x="9707" y="11988"/>
                    <a:pt x="9711" y="11976"/>
                  </a:cubicBezTo>
                  <a:cubicBezTo>
                    <a:pt x="9715" y="11965"/>
                    <a:pt x="9717" y="11927"/>
                    <a:pt x="9717" y="11891"/>
                  </a:cubicBezTo>
                  <a:cubicBezTo>
                    <a:pt x="9715" y="11856"/>
                    <a:pt x="9707" y="11817"/>
                    <a:pt x="9702" y="11804"/>
                  </a:cubicBezTo>
                  <a:cubicBezTo>
                    <a:pt x="9694" y="11791"/>
                    <a:pt x="9694" y="11764"/>
                    <a:pt x="9700" y="11744"/>
                  </a:cubicBezTo>
                  <a:cubicBezTo>
                    <a:pt x="9707" y="11724"/>
                    <a:pt x="9703" y="11698"/>
                    <a:pt x="9688" y="11694"/>
                  </a:cubicBezTo>
                  <a:cubicBezTo>
                    <a:pt x="9676" y="11687"/>
                    <a:pt x="9660" y="11657"/>
                    <a:pt x="9657" y="11628"/>
                  </a:cubicBezTo>
                  <a:cubicBezTo>
                    <a:pt x="9652" y="11599"/>
                    <a:pt x="9639" y="11572"/>
                    <a:pt x="9627" y="11570"/>
                  </a:cubicBezTo>
                  <a:cubicBezTo>
                    <a:pt x="9615" y="11567"/>
                    <a:pt x="9590" y="11542"/>
                    <a:pt x="9571" y="11516"/>
                  </a:cubicBezTo>
                  <a:cubicBezTo>
                    <a:pt x="9555" y="11487"/>
                    <a:pt x="9524" y="11465"/>
                    <a:pt x="9507" y="11468"/>
                  </a:cubicBezTo>
                  <a:cubicBezTo>
                    <a:pt x="9491" y="11466"/>
                    <a:pt x="9470" y="11463"/>
                    <a:pt x="9464" y="11454"/>
                  </a:cubicBezTo>
                  <a:cubicBezTo>
                    <a:pt x="9456" y="11447"/>
                    <a:pt x="9421" y="11439"/>
                    <a:pt x="9385" y="11439"/>
                  </a:cubicBezTo>
                  <a:cubicBezTo>
                    <a:pt x="9349" y="11439"/>
                    <a:pt x="9302" y="11422"/>
                    <a:pt x="9287" y="11400"/>
                  </a:cubicBezTo>
                  <a:cubicBezTo>
                    <a:pt x="9270" y="11379"/>
                    <a:pt x="9229" y="11347"/>
                    <a:pt x="9198" y="11329"/>
                  </a:cubicBezTo>
                  <a:cubicBezTo>
                    <a:pt x="9168" y="11309"/>
                    <a:pt x="9113" y="11309"/>
                    <a:pt x="9079" y="11324"/>
                  </a:cubicBezTo>
                  <a:cubicBezTo>
                    <a:pt x="9045" y="11341"/>
                    <a:pt x="8955" y="11396"/>
                    <a:pt x="8879" y="11447"/>
                  </a:cubicBezTo>
                  <a:cubicBezTo>
                    <a:pt x="8804" y="11498"/>
                    <a:pt x="8682" y="11582"/>
                    <a:pt x="8608" y="11631"/>
                  </a:cubicBezTo>
                  <a:cubicBezTo>
                    <a:pt x="8536" y="11682"/>
                    <a:pt x="8453" y="11729"/>
                    <a:pt x="8427" y="11739"/>
                  </a:cubicBezTo>
                  <a:cubicBezTo>
                    <a:pt x="8401" y="11747"/>
                    <a:pt x="8366" y="11755"/>
                    <a:pt x="8350" y="11750"/>
                  </a:cubicBezTo>
                  <a:cubicBezTo>
                    <a:pt x="8333" y="11749"/>
                    <a:pt x="8334" y="11740"/>
                    <a:pt x="8353" y="11739"/>
                  </a:cubicBezTo>
                  <a:cubicBezTo>
                    <a:pt x="8371" y="11736"/>
                    <a:pt x="8410" y="11715"/>
                    <a:pt x="8441" y="11694"/>
                  </a:cubicBezTo>
                  <a:cubicBezTo>
                    <a:pt x="8472" y="11673"/>
                    <a:pt x="8560" y="11584"/>
                    <a:pt x="8637" y="11497"/>
                  </a:cubicBezTo>
                  <a:cubicBezTo>
                    <a:pt x="8716" y="11411"/>
                    <a:pt x="8791" y="11318"/>
                    <a:pt x="8807" y="11293"/>
                  </a:cubicBezTo>
                  <a:cubicBezTo>
                    <a:pt x="8821" y="11267"/>
                    <a:pt x="8841" y="11212"/>
                    <a:pt x="8849" y="11171"/>
                  </a:cubicBezTo>
                  <a:cubicBezTo>
                    <a:pt x="8859" y="11130"/>
                    <a:pt x="8861" y="11084"/>
                    <a:pt x="8857" y="11068"/>
                  </a:cubicBezTo>
                  <a:cubicBezTo>
                    <a:pt x="8852" y="11053"/>
                    <a:pt x="8873" y="11001"/>
                    <a:pt x="8902" y="10952"/>
                  </a:cubicBezTo>
                  <a:cubicBezTo>
                    <a:pt x="8932" y="10903"/>
                    <a:pt x="8968" y="10826"/>
                    <a:pt x="8983" y="10781"/>
                  </a:cubicBezTo>
                  <a:cubicBezTo>
                    <a:pt x="9002" y="10737"/>
                    <a:pt x="9014" y="10679"/>
                    <a:pt x="9013" y="10653"/>
                  </a:cubicBezTo>
                  <a:cubicBezTo>
                    <a:pt x="9013" y="10627"/>
                    <a:pt x="9021" y="10585"/>
                    <a:pt x="9030" y="10559"/>
                  </a:cubicBezTo>
                  <a:cubicBezTo>
                    <a:pt x="9040" y="10532"/>
                    <a:pt x="9060" y="10489"/>
                    <a:pt x="9076" y="10462"/>
                  </a:cubicBezTo>
                  <a:cubicBezTo>
                    <a:pt x="9090" y="10435"/>
                    <a:pt x="9111" y="10397"/>
                    <a:pt x="9118" y="10376"/>
                  </a:cubicBezTo>
                  <a:cubicBezTo>
                    <a:pt x="9126" y="10356"/>
                    <a:pt x="9121" y="10338"/>
                    <a:pt x="9109" y="10334"/>
                  </a:cubicBezTo>
                  <a:cubicBezTo>
                    <a:pt x="9097" y="10332"/>
                    <a:pt x="9043" y="10348"/>
                    <a:pt x="8990" y="10370"/>
                  </a:cubicBezTo>
                  <a:cubicBezTo>
                    <a:pt x="8938" y="10393"/>
                    <a:pt x="8859" y="10463"/>
                    <a:pt x="8818" y="10527"/>
                  </a:cubicBezTo>
                  <a:cubicBezTo>
                    <a:pt x="8773" y="10589"/>
                    <a:pt x="8701" y="10690"/>
                    <a:pt x="8654" y="10750"/>
                  </a:cubicBezTo>
                  <a:cubicBezTo>
                    <a:pt x="8605" y="10808"/>
                    <a:pt x="8533" y="10877"/>
                    <a:pt x="8489" y="10898"/>
                  </a:cubicBezTo>
                  <a:cubicBezTo>
                    <a:pt x="8446" y="10920"/>
                    <a:pt x="8386" y="10967"/>
                    <a:pt x="8353" y="11000"/>
                  </a:cubicBezTo>
                  <a:cubicBezTo>
                    <a:pt x="8322" y="11035"/>
                    <a:pt x="8308" y="11042"/>
                    <a:pt x="8321" y="11016"/>
                  </a:cubicBezTo>
                  <a:cubicBezTo>
                    <a:pt x="8337" y="10992"/>
                    <a:pt x="8391" y="10944"/>
                    <a:pt x="8443" y="10912"/>
                  </a:cubicBezTo>
                  <a:cubicBezTo>
                    <a:pt x="8497" y="10881"/>
                    <a:pt x="8565" y="10823"/>
                    <a:pt x="8599" y="10786"/>
                  </a:cubicBezTo>
                  <a:cubicBezTo>
                    <a:pt x="8633" y="10750"/>
                    <a:pt x="8688" y="10672"/>
                    <a:pt x="8723" y="10613"/>
                  </a:cubicBezTo>
                  <a:cubicBezTo>
                    <a:pt x="8759" y="10556"/>
                    <a:pt x="8783" y="10507"/>
                    <a:pt x="8778" y="10504"/>
                  </a:cubicBezTo>
                  <a:cubicBezTo>
                    <a:pt x="8774" y="10501"/>
                    <a:pt x="8780" y="10478"/>
                    <a:pt x="8788" y="10449"/>
                  </a:cubicBezTo>
                  <a:cubicBezTo>
                    <a:pt x="8800" y="10420"/>
                    <a:pt x="8806" y="10388"/>
                    <a:pt x="8801" y="10379"/>
                  </a:cubicBezTo>
                  <a:cubicBezTo>
                    <a:pt x="8797" y="10369"/>
                    <a:pt x="8803" y="10343"/>
                    <a:pt x="8816" y="10321"/>
                  </a:cubicBezTo>
                  <a:cubicBezTo>
                    <a:pt x="8830" y="10300"/>
                    <a:pt x="8840" y="10270"/>
                    <a:pt x="8842" y="10255"/>
                  </a:cubicBezTo>
                  <a:cubicBezTo>
                    <a:pt x="8844" y="10241"/>
                    <a:pt x="8831" y="10231"/>
                    <a:pt x="8814" y="10234"/>
                  </a:cubicBezTo>
                  <a:cubicBezTo>
                    <a:pt x="8797" y="10236"/>
                    <a:pt x="8792" y="10227"/>
                    <a:pt x="8805" y="10214"/>
                  </a:cubicBezTo>
                  <a:cubicBezTo>
                    <a:pt x="8815" y="10201"/>
                    <a:pt x="8841" y="10181"/>
                    <a:pt x="8859" y="10167"/>
                  </a:cubicBezTo>
                  <a:cubicBezTo>
                    <a:pt x="8878" y="10156"/>
                    <a:pt x="8903" y="10127"/>
                    <a:pt x="8915" y="10106"/>
                  </a:cubicBezTo>
                  <a:cubicBezTo>
                    <a:pt x="8928" y="10085"/>
                    <a:pt x="8961" y="10035"/>
                    <a:pt x="8991" y="9995"/>
                  </a:cubicBezTo>
                  <a:cubicBezTo>
                    <a:pt x="9018" y="9955"/>
                    <a:pt x="9051" y="9897"/>
                    <a:pt x="9064" y="9866"/>
                  </a:cubicBezTo>
                  <a:cubicBezTo>
                    <a:pt x="9075" y="9835"/>
                    <a:pt x="9080" y="9805"/>
                    <a:pt x="9079" y="9798"/>
                  </a:cubicBezTo>
                  <a:cubicBezTo>
                    <a:pt x="9076" y="9791"/>
                    <a:pt x="9096" y="9746"/>
                    <a:pt x="9126" y="9698"/>
                  </a:cubicBezTo>
                  <a:cubicBezTo>
                    <a:pt x="9155" y="9649"/>
                    <a:pt x="9195" y="9597"/>
                    <a:pt x="9212" y="9582"/>
                  </a:cubicBezTo>
                  <a:cubicBezTo>
                    <a:pt x="9231" y="9568"/>
                    <a:pt x="9262" y="9530"/>
                    <a:pt x="9278" y="9499"/>
                  </a:cubicBezTo>
                  <a:cubicBezTo>
                    <a:pt x="9298" y="9468"/>
                    <a:pt x="9327" y="9423"/>
                    <a:pt x="9345" y="9398"/>
                  </a:cubicBezTo>
                  <a:cubicBezTo>
                    <a:pt x="9364" y="9375"/>
                    <a:pt x="9396" y="9321"/>
                    <a:pt x="9417" y="9280"/>
                  </a:cubicBezTo>
                  <a:cubicBezTo>
                    <a:pt x="9438" y="9239"/>
                    <a:pt x="9475" y="9182"/>
                    <a:pt x="9501" y="9157"/>
                  </a:cubicBezTo>
                  <a:cubicBezTo>
                    <a:pt x="9525" y="9130"/>
                    <a:pt x="9547" y="9091"/>
                    <a:pt x="9547" y="9070"/>
                  </a:cubicBezTo>
                  <a:cubicBezTo>
                    <a:pt x="9548" y="9049"/>
                    <a:pt x="9554" y="9022"/>
                    <a:pt x="9559" y="9009"/>
                  </a:cubicBezTo>
                  <a:cubicBezTo>
                    <a:pt x="9564" y="8996"/>
                    <a:pt x="9581" y="8992"/>
                    <a:pt x="9594" y="9000"/>
                  </a:cubicBezTo>
                  <a:cubicBezTo>
                    <a:pt x="9609" y="9004"/>
                    <a:pt x="9640" y="8991"/>
                    <a:pt x="9666" y="8963"/>
                  </a:cubicBezTo>
                  <a:cubicBezTo>
                    <a:pt x="9693" y="8937"/>
                    <a:pt x="9723" y="8899"/>
                    <a:pt x="9729" y="8880"/>
                  </a:cubicBezTo>
                  <a:cubicBezTo>
                    <a:pt x="9739" y="8861"/>
                    <a:pt x="9764" y="8834"/>
                    <a:pt x="9785" y="8820"/>
                  </a:cubicBezTo>
                  <a:cubicBezTo>
                    <a:pt x="9808" y="8807"/>
                    <a:pt x="9858" y="8757"/>
                    <a:pt x="9899" y="8712"/>
                  </a:cubicBezTo>
                  <a:cubicBezTo>
                    <a:pt x="9938" y="8666"/>
                    <a:pt x="9988" y="8618"/>
                    <a:pt x="10007" y="8604"/>
                  </a:cubicBezTo>
                  <a:cubicBezTo>
                    <a:pt x="10026" y="8590"/>
                    <a:pt x="10043" y="8565"/>
                    <a:pt x="10048" y="8549"/>
                  </a:cubicBezTo>
                  <a:cubicBezTo>
                    <a:pt x="10051" y="8533"/>
                    <a:pt x="10068" y="8503"/>
                    <a:pt x="10086" y="8484"/>
                  </a:cubicBezTo>
                  <a:cubicBezTo>
                    <a:pt x="10103" y="8464"/>
                    <a:pt x="10126" y="8443"/>
                    <a:pt x="10138" y="8438"/>
                  </a:cubicBezTo>
                  <a:cubicBezTo>
                    <a:pt x="10149" y="8432"/>
                    <a:pt x="10167" y="8418"/>
                    <a:pt x="10177" y="8404"/>
                  </a:cubicBezTo>
                  <a:cubicBezTo>
                    <a:pt x="10186" y="8390"/>
                    <a:pt x="10193" y="8370"/>
                    <a:pt x="10188" y="8361"/>
                  </a:cubicBezTo>
                  <a:cubicBezTo>
                    <a:pt x="10184" y="8351"/>
                    <a:pt x="10203" y="8324"/>
                    <a:pt x="10232" y="8302"/>
                  </a:cubicBezTo>
                  <a:cubicBezTo>
                    <a:pt x="10259" y="8279"/>
                    <a:pt x="10303" y="8233"/>
                    <a:pt x="10330" y="8201"/>
                  </a:cubicBezTo>
                  <a:cubicBezTo>
                    <a:pt x="10356" y="8168"/>
                    <a:pt x="10390" y="8135"/>
                    <a:pt x="10408" y="8129"/>
                  </a:cubicBezTo>
                  <a:cubicBezTo>
                    <a:pt x="10426" y="8123"/>
                    <a:pt x="10445" y="8108"/>
                    <a:pt x="10449" y="8097"/>
                  </a:cubicBezTo>
                  <a:cubicBezTo>
                    <a:pt x="10454" y="8086"/>
                    <a:pt x="10468" y="8065"/>
                    <a:pt x="10480" y="8050"/>
                  </a:cubicBezTo>
                  <a:cubicBezTo>
                    <a:pt x="10493" y="8036"/>
                    <a:pt x="10491" y="8017"/>
                    <a:pt x="10476" y="8007"/>
                  </a:cubicBezTo>
                  <a:cubicBezTo>
                    <a:pt x="10461" y="7997"/>
                    <a:pt x="10458" y="7981"/>
                    <a:pt x="10470" y="7972"/>
                  </a:cubicBezTo>
                  <a:cubicBezTo>
                    <a:pt x="10483" y="7963"/>
                    <a:pt x="10497" y="7943"/>
                    <a:pt x="10503" y="7930"/>
                  </a:cubicBezTo>
                  <a:cubicBezTo>
                    <a:pt x="10510" y="7917"/>
                    <a:pt x="10526" y="7904"/>
                    <a:pt x="10540" y="7900"/>
                  </a:cubicBezTo>
                  <a:cubicBezTo>
                    <a:pt x="10554" y="7900"/>
                    <a:pt x="10576" y="7903"/>
                    <a:pt x="10589" y="7911"/>
                  </a:cubicBezTo>
                  <a:cubicBezTo>
                    <a:pt x="10603" y="7920"/>
                    <a:pt x="10615" y="7934"/>
                    <a:pt x="10614" y="7941"/>
                  </a:cubicBezTo>
                  <a:cubicBezTo>
                    <a:pt x="10615" y="7949"/>
                    <a:pt x="10622" y="7950"/>
                    <a:pt x="10631" y="7942"/>
                  </a:cubicBezTo>
                  <a:cubicBezTo>
                    <a:pt x="10641" y="7936"/>
                    <a:pt x="10652" y="7919"/>
                    <a:pt x="10653" y="7905"/>
                  </a:cubicBezTo>
                  <a:cubicBezTo>
                    <a:pt x="10657" y="7892"/>
                    <a:pt x="10650" y="7876"/>
                    <a:pt x="10639" y="7872"/>
                  </a:cubicBezTo>
                  <a:cubicBezTo>
                    <a:pt x="10629" y="7866"/>
                    <a:pt x="10647" y="7845"/>
                    <a:pt x="10679" y="7822"/>
                  </a:cubicBezTo>
                  <a:cubicBezTo>
                    <a:pt x="10713" y="7800"/>
                    <a:pt x="10750" y="7766"/>
                    <a:pt x="10764" y="7751"/>
                  </a:cubicBezTo>
                  <a:cubicBezTo>
                    <a:pt x="10778" y="7734"/>
                    <a:pt x="10808" y="7715"/>
                    <a:pt x="10831" y="7707"/>
                  </a:cubicBezTo>
                  <a:cubicBezTo>
                    <a:pt x="10853" y="7700"/>
                    <a:pt x="10874" y="7696"/>
                    <a:pt x="10879" y="7698"/>
                  </a:cubicBezTo>
                  <a:cubicBezTo>
                    <a:pt x="10883" y="7701"/>
                    <a:pt x="10895" y="7690"/>
                    <a:pt x="10904" y="7673"/>
                  </a:cubicBezTo>
                  <a:cubicBezTo>
                    <a:pt x="10914" y="7656"/>
                    <a:pt x="10921" y="7636"/>
                    <a:pt x="10917" y="7630"/>
                  </a:cubicBezTo>
                  <a:cubicBezTo>
                    <a:pt x="10916" y="7623"/>
                    <a:pt x="10921" y="7615"/>
                    <a:pt x="10932" y="7614"/>
                  </a:cubicBezTo>
                  <a:cubicBezTo>
                    <a:pt x="10943" y="7611"/>
                    <a:pt x="10943" y="7627"/>
                    <a:pt x="10940" y="7651"/>
                  </a:cubicBezTo>
                  <a:cubicBezTo>
                    <a:pt x="10931" y="7672"/>
                    <a:pt x="10947" y="7670"/>
                    <a:pt x="10970" y="7644"/>
                  </a:cubicBezTo>
                  <a:cubicBezTo>
                    <a:pt x="10992" y="7618"/>
                    <a:pt x="11016" y="7585"/>
                    <a:pt x="11023" y="7569"/>
                  </a:cubicBezTo>
                  <a:cubicBezTo>
                    <a:pt x="11029" y="7553"/>
                    <a:pt x="11029" y="7535"/>
                    <a:pt x="11022" y="7530"/>
                  </a:cubicBezTo>
                  <a:cubicBezTo>
                    <a:pt x="11015" y="7525"/>
                    <a:pt x="11016" y="7503"/>
                    <a:pt x="11026" y="7485"/>
                  </a:cubicBezTo>
                  <a:cubicBezTo>
                    <a:pt x="11033" y="7466"/>
                    <a:pt x="11046" y="7455"/>
                    <a:pt x="11051" y="7459"/>
                  </a:cubicBezTo>
                  <a:cubicBezTo>
                    <a:pt x="11057" y="7463"/>
                    <a:pt x="11085" y="7463"/>
                    <a:pt x="11115" y="7459"/>
                  </a:cubicBezTo>
                  <a:cubicBezTo>
                    <a:pt x="11145" y="7455"/>
                    <a:pt x="11171" y="7443"/>
                    <a:pt x="11169" y="7432"/>
                  </a:cubicBezTo>
                  <a:cubicBezTo>
                    <a:pt x="11168" y="7422"/>
                    <a:pt x="11158" y="7414"/>
                    <a:pt x="11145" y="7411"/>
                  </a:cubicBezTo>
                  <a:cubicBezTo>
                    <a:pt x="11133" y="7411"/>
                    <a:pt x="11121" y="7401"/>
                    <a:pt x="11121" y="7390"/>
                  </a:cubicBezTo>
                  <a:cubicBezTo>
                    <a:pt x="11119" y="7380"/>
                    <a:pt x="11129" y="7366"/>
                    <a:pt x="11137" y="7356"/>
                  </a:cubicBezTo>
                  <a:cubicBezTo>
                    <a:pt x="11148" y="7348"/>
                    <a:pt x="11163" y="7328"/>
                    <a:pt x="11172" y="7313"/>
                  </a:cubicBezTo>
                  <a:cubicBezTo>
                    <a:pt x="11183" y="7299"/>
                    <a:pt x="11185" y="7306"/>
                    <a:pt x="11179" y="7330"/>
                  </a:cubicBezTo>
                  <a:cubicBezTo>
                    <a:pt x="11174" y="7354"/>
                    <a:pt x="11186" y="7367"/>
                    <a:pt x="11205" y="7356"/>
                  </a:cubicBezTo>
                  <a:cubicBezTo>
                    <a:pt x="11225" y="7347"/>
                    <a:pt x="11247" y="7339"/>
                    <a:pt x="11255" y="7341"/>
                  </a:cubicBezTo>
                  <a:cubicBezTo>
                    <a:pt x="11264" y="7342"/>
                    <a:pt x="11283" y="7331"/>
                    <a:pt x="11299" y="7317"/>
                  </a:cubicBezTo>
                  <a:cubicBezTo>
                    <a:pt x="11314" y="7302"/>
                    <a:pt x="11323" y="7267"/>
                    <a:pt x="11319" y="7239"/>
                  </a:cubicBezTo>
                  <a:cubicBezTo>
                    <a:pt x="11313" y="7212"/>
                    <a:pt x="11315" y="7159"/>
                    <a:pt x="11318" y="7122"/>
                  </a:cubicBezTo>
                  <a:cubicBezTo>
                    <a:pt x="11320" y="7086"/>
                    <a:pt x="11320" y="7043"/>
                    <a:pt x="11312" y="7028"/>
                  </a:cubicBezTo>
                  <a:cubicBezTo>
                    <a:pt x="11305" y="7012"/>
                    <a:pt x="11305" y="6984"/>
                    <a:pt x="11315" y="6964"/>
                  </a:cubicBezTo>
                  <a:cubicBezTo>
                    <a:pt x="11325" y="6944"/>
                    <a:pt x="11334" y="6918"/>
                    <a:pt x="11337" y="6906"/>
                  </a:cubicBezTo>
                  <a:cubicBezTo>
                    <a:pt x="11338" y="6893"/>
                    <a:pt x="11349" y="6876"/>
                    <a:pt x="11357" y="6866"/>
                  </a:cubicBezTo>
                  <a:cubicBezTo>
                    <a:pt x="11367" y="6857"/>
                    <a:pt x="11379" y="6854"/>
                    <a:pt x="11386" y="6863"/>
                  </a:cubicBezTo>
                  <a:cubicBezTo>
                    <a:pt x="11393" y="6872"/>
                    <a:pt x="11398" y="6902"/>
                    <a:pt x="11391" y="6931"/>
                  </a:cubicBezTo>
                  <a:cubicBezTo>
                    <a:pt x="11388" y="6961"/>
                    <a:pt x="11391" y="7005"/>
                    <a:pt x="11400" y="7030"/>
                  </a:cubicBezTo>
                  <a:cubicBezTo>
                    <a:pt x="11410" y="7054"/>
                    <a:pt x="11451" y="7067"/>
                    <a:pt x="11491" y="7060"/>
                  </a:cubicBezTo>
                  <a:cubicBezTo>
                    <a:pt x="11530" y="7053"/>
                    <a:pt x="11572" y="7049"/>
                    <a:pt x="11582" y="7056"/>
                  </a:cubicBezTo>
                  <a:cubicBezTo>
                    <a:pt x="11595" y="7060"/>
                    <a:pt x="11621" y="7061"/>
                    <a:pt x="11643" y="7053"/>
                  </a:cubicBezTo>
                  <a:cubicBezTo>
                    <a:pt x="11664" y="7045"/>
                    <a:pt x="11697" y="7030"/>
                    <a:pt x="11710" y="7014"/>
                  </a:cubicBezTo>
                  <a:cubicBezTo>
                    <a:pt x="11727" y="7002"/>
                    <a:pt x="11751" y="6981"/>
                    <a:pt x="11768" y="6975"/>
                  </a:cubicBezTo>
                  <a:cubicBezTo>
                    <a:pt x="11785" y="6966"/>
                    <a:pt x="11828" y="6929"/>
                    <a:pt x="11867" y="6892"/>
                  </a:cubicBezTo>
                  <a:cubicBezTo>
                    <a:pt x="11902" y="6853"/>
                    <a:pt x="11954" y="6784"/>
                    <a:pt x="11976" y="6736"/>
                  </a:cubicBezTo>
                  <a:cubicBezTo>
                    <a:pt x="11999" y="6689"/>
                    <a:pt x="12004" y="6625"/>
                    <a:pt x="11986" y="6595"/>
                  </a:cubicBezTo>
                  <a:cubicBezTo>
                    <a:pt x="11968" y="6564"/>
                    <a:pt x="11960" y="6520"/>
                    <a:pt x="11966" y="6496"/>
                  </a:cubicBezTo>
                  <a:cubicBezTo>
                    <a:pt x="11973" y="6472"/>
                    <a:pt x="11972" y="6445"/>
                    <a:pt x="11967" y="6435"/>
                  </a:cubicBezTo>
                  <a:cubicBezTo>
                    <a:pt x="11961" y="6425"/>
                    <a:pt x="11949" y="6422"/>
                    <a:pt x="11939" y="6427"/>
                  </a:cubicBezTo>
                  <a:cubicBezTo>
                    <a:pt x="11929" y="6434"/>
                    <a:pt x="11898" y="6463"/>
                    <a:pt x="11867" y="6491"/>
                  </a:cubicBezTo>
                  <a:cubicBezTo>
                    <a:pt x="11839" y="6520"/>
                    <a:pt x="11783" y="6559"/>
                    <a:pt x="11743" y="6575"/>
                  </a:cubicBezTo>
                  <a:cubicBezTo>
                    <a:pt x="11706" y="6595"/>
                    <a:pt x="11663" y="6614"/>
                    <a:pt x="11651" y="6624"/>
                  </a:cubicBezTo>
                  <a:cubicBezTo>
                    <a:pt x="11639" y="6632"/>
                    <a:pt x="11631" y="6634"/>
                    <a:pt x="11635" y="6628"/>
                  </a:cubicBezTo>
                  <a:cubicBezTo>
                    <a:pt x="11638" y="6622"/>
                    <a:pt x="11642" y="6608"/>
                    <a:pt x="11642" y="6597"/>
                  </a:cubicBezTo>
                  <a:cubicBezTo>
                    <a:pt x="11642" y="6586"/>
                    <a:pt x="11653" y="6576"/>
                    <a:pt x="11664" y="6575"/>
                  </a:cubicBezTo>
                  <a:cubicBezTo>
                    <a:pt x="11675" y="6574"/>
                    <a:pt x="11704" y="6562"/>
                    <a:pt x="11728" y="6550"/>
                  </a:cubicBezTo>
                  <a:cubicBezTo>
                    <a:pt x="11752" y="6536"/>
                    <a:pt x="11797" y="6506"/>
                    <a:pt x="11827" y="6481"/>
                  </a:cubicBezTo>
                  <a:cubicBezTo>
                    <a:pt x="11857" y="6456"/>
                    <a:pt x="11881" y="6430"/>
                    <a:pt x="11882" y="6423"/>
                  </a:cubicBezTo>
                  <a:cubicBezTo>
                    <a:pt x="11884" y="6416"/>
                    <a:pt x="11862" y="6402"/>
                    <a:pt x="11837" y="6394"/>
                  </a:cubicBezTo>
                  <a:cubicBezTo>
                    <a:pt x="11812" y="6384"/>
                    <a:pt x="11777" y="6355"/>
                    <a:pt x="11754" y="6331"/>
                  </a:cubicBezTo>
                  <a:cubicBezTo>
                    <a:pt x="11736" y="6304"/>
                    <a:pt x="11712" y="6287"/>
                    <a:pt x="11704" y="6288"/>
                  </a:cubicBezTo>
                  <a:cubicBezTo>
                    <a:pt x="11697" y="6289"/>
                    <a:pt x="11685" y="6300"/>
                    <a:pt x="11678" y="6310"/>
                  </a:cubicBezTo>
                  <a:cubicBezTo>
                    <a:pt x="11671" y="6320"/>
                    <a:pt x="11666" y="6337"/>
                    <a:pt x="11667" y="6349"/>
                  </a:cubicBezTo>
                  <a:cubicBezTo>
                    <a:pt x="11667" y="6360"/>
                    <a:pt x="11661" y="6377"/>
                    <a:pt x="11652" y="6388"/>
                  </a:cubicBezTo>
                  <a:cubicBezTo>
                    <a:pt x="11642" y="6399"/>
                    <a:pt x="11627" y="6399"/>
                    <a:pt x="11616" y="6392"/>
                  </a:cubicBezTo>
                  <a:cubicBezTo>
                    <a:pt x="11605" y="6384"/>
                    <a:pt x="11602" y="6356"/>
                    <a:pt x="11603" y="6332"/>
                  </a:cubicBezTo>
                  <a:cubicBezTo>
                    <a:pt x="11604" y="6308"/>
                    <a:pt x="11619" y="6286"/>
                    <a:pt x="11634" y="6283"/>
                  </a:cubicBezTo>
                  <a:cubicBezTo>
                    <a:pt x="11648" y="6281"/>
                    <a:pt x="11674" y="6255"/>
                    <a:pt x="11686" y="6225"/>
                  </a:cubicBezTo>
                  <a:cubicBezTo>
                    <a:pt x="11701" y="6195"/>
                    <a:pt x="11716" y="6181"/>
                    <a:pt x="11716" y="6193"/>
                  </a:cubicBezTo>
                  <a:cubicBezTo>
                    <a:pt x="11719" y="6205"/>
                    <a:pt x="11734" y="6222"/>
                    <a:pt x="11750" y="6233"/>
                  </a:cubicBezTo>
                  <a:cubicBezTo>
                    <a:pt x="11768" y="6241"/>
                    <a:pt x="11791" y="6251"/>
                    <a:pt x="11804" y="6251"/>
                  </a:cubicBezTo>
                  <a:cubicBezTo>
                    <a:pt x="11817" y="6250"/>
                    <a:pt x="11828" y="6270"/>
                    <a:pt x="11825" y="6295"/>
                  </a:cubicBezTo>
                  <a:cubicBezTo>
                    <a:pt x="11826" y="6320"/>
                    <a:pt x="11845" y="6344"/>
                    <a:pt x="11871" y="6353"/>
                  </a:cubicBezTo>
                  <a:cubicBezTo>
                    <a:pt x="11898" y="6360"/>
                    <a:pt x="11946" y="6365"/>
                    <a:pt x="11979" y="6365"/>
                  </a:cubicBezTo>
                  <a:cubicBezTo>
                    <a:pt x="12011" y="6363"/>
                    <a:pt x="12042" y="6380"/>
                    <a:pt x="12052" y="6398"/>
                  </a:cubicBezTo>
                  <a:cubicBezTo>
                    <a:pt x="12059" y="6416"/>
                    <a:pt x="12075" y="6436"/>
                    <a:pt x="12087" y="6440"/>
                  </a:cubicBezTo>
                  <a:cubicBezTo>
                    <a:pt x="12097" y="6447"/>
                    <a:pt x="12104" y="6460"/>
                    <a:pt x="12102" y="6473"/>
                  </a:cubicBezTo>
                  <a:cubicBezTo>
                    <a:pt x="12097" y="6486"/>
                    <a:pt x="12110" y="6496"/>
                    <a:pt x="12129" y="6496"/>
                  </a:cubicBezTo>
                  <a:cubicBezTo>
                    <a:pt x="12147" y="6494"/>
                    <a:pt x="12164" y="6499"/>
                    <a:pt x="12169" y="6503"/>
                  </a:cubicBezTo>
                  <a:cubicBezTo>
                    <a:pt x="12171" y="6508"/>
                    <a:pt x="12185" y="6492"/>
                    <a:pt x="12197" y="6470"/>
                  </a:cubicBezTo>
                  <a:cubicBezTo>
                    <a:pt x="12208" y="6447"/>
                    <a:pt x="12239" y="6414"/>
                    <a:pt x="12263" y="6395"/>
                  </a:cubicBezTo>
                  <a:cubicBezTo>
                    <a:pt x="12289" y="6377"/>
                    <a:pt x="12300" y="6357"/>
                    <a:pt x="12292" y="6350"/>
                  </a:cubicBezTo>
                  <a:cubicBezTo>
                    <a:pt x="12281" y="6348"/>
                    <a:pt x="12284" y="6323"/>
                    <a:pt x="12299" y="6304"/>
                  </a:cubicBezTo>
                  <a:cubicBezTo>
                    <a:pt x="12309" y="6282"/>
                    <a:pt x="12325" y="6282"/>
                    <a:pt x="12329" y="6301"/>
                  </a:cubicBezTo>
                  <a:cubicBezTo>
                    <a:pt x="12334" y="6319"/>
                    <a:pt x="12333" y="6343"/>
                    <a:pt x="12335" y="6354"/>
                  </a:cubicBezTo>
                  <a:cubicBezTo>
                    <a:pt x="12333" y="6365"/>
                    <a:pt x="12343" y="6373"/>
                    <a:pt x="12354" y="6371"/>
                  </a:cubicBezTo>
                  <a:cubicBezTo>
                    <a:pt x="12365" y="6371"/>
                    <a:pt x="12405" y="6334"/>
                    <a:pt x="12443" y="6292"/>
                  </a:cubicBezTo>
                  <a:cubicBezTo>
                    <a:pt x="12480" y="6249"/>
                    <a:pt x="12526" y="6182"/>
                    <a:pt x="12546" y="6144"/>
                  </a:cubicBezTo>
                  <a:cubicBezTo>
                    <a:pt x="12562" y="6105"/>
                    <a:pt x="12575" y="6067"/>
                    <a:pt x="12571" y="6059"/>
                  </a:cubicBezTo>
                  <a:cubicBezTo>
                    <a:pt x="12565" y="6051"/>
                    <a:pt x="12577" y="6017"/>
                    <a:pt x="12600" y="5986"/>
                  </a:cubicBezTo>
                  <a:cubicBezTo>
                    <a:pt x="12618" y="5954"/>
                    <a:pt x="12636" y="5952"/>
                    <a:pt x="12632" y="5979"/>
                  </a:cubicBezTo>
                  <a:cubicBezTo>
                    <a:pt x="12631" y="6007"/>
                    <a:pt x="12622" y="6044"/>
                    <a:pt x="12615" y="6062"/>
                  </a:cubicBezTo>
                  <a:cubicBezTo>
                    <a:pt x="12610" y="6079"/>
                    <a:pt x="12630" y="6056"/>
                    <a:pt x="12663" y="6010"/>
                  </a:cubicBezTo>
                  <a:cubicBezTo>
                    <a:pt x="12696" y="5965"/>
                    <a:pt x="12742" y="5913"/>
                    <a:pt x="12765" y="5895"/>
                  </a:cubicBezTo>
                  <a:cubicBezTo>
                    <a:pt x="12790" y="5876"/>
                    <a:pt x="12810" y="5868"/>
                    <a:pt x="12810" y="5877"/>
                  </a:cubicBezTo>
                  <a:cubicBezTo>
                    <a:pt x="12808" y="5885"/>
                    <a:pt x="12813" y="5894"/>
                    <a:pt x="12817" y="5897"/>
                  </a:cubicBezTo>
                  <a:cubicBezTo>
                    <a:pt x="12823" y="5897"/>
                    <a:pt x="12806" y="5922"/>
                    <a:pt x="12784" y="5947"/>
                  </a:cubicBezTo>
                  <a:cubicBezTo>
                    <a:pt x="12761" y="5973"/>
                    <a:pt x="12747" y="5993"/>
                    <a:pt x="12753" y="5994"/>
                  </a:cubicBezTo>
                  <a:cubicBezTo>
                    <a:pt x="12760" y="5993"/>
                    <a:pt x="12765" y="6005"/>
                    <a:pt x="12764" y="6017"/>
                  </a:cubicBezTo>
                  <a:cubicBezTo>
                    <a:pt x="12762" y="6028"/>
                    <a:pt x="12777" y="6023"/>
                    <a:pt x="12795" y="6004"/>
                  </a:cubicBezTo>
                  <a:cubicBezTo>
                    <a:pt x="12813" y="5985"/>
                    <a:pt x="12838" y="5972"/>
                    <a:pt x="12850" y="5971"/>
                  </a:cubicBezTo>
                  <a:cubicBezTo>
                    <a:pt x="12863" y="5971"/>
                    <a:pt x="12882" y="5989"/>
                    <a:pt x="12895" y="6009"/>
                  </a:cubicBezTo>
                  <a:cubicBezTo>
                    <a:pt x="12909" y="6028"/>
                    <a:pt x="12927" y="6035"/>
                    <a:pt x="12935" y="6022"/>
                  </a:cubicBezTo>
                  <a:cubicBezTo>
                    <a:pt x="12945" y="6010"/>
                    <a:pt x="12960" y="5995"/>
                    <a:pt x="12973" y="5991"/>
                  </a:cubicBezTo>
                  <a:cubicBezTo>
                    <a:pt x="12985" y="5987"/>
                    <a:pt x="13000" y="5985"/>
                    <a:pt x="13006" y="5990"/>
                  </a:cubicBezTo>
                  <a:cubicBezTo>
                    <a:pt x="13012" y="5994"/>
                    <a:pt x="13034" y="5990"/>
                    <a:pt x="13053" y="5979"/>
                  </a:cubicBezTo>
                  <a:cubicBezTo>
                    <a:pt x="13073" y="5970"/>
                    <a:pt x="13113" y="5930"/>
                    <a:pt x="13144" y="5892"/>
                  </a:cubicBezTo>
                  <a:cubicBezTo>
                    <a:pt x="13174" y="5855"/>
                    <a:pt x="13225" y="5806"/>
                    <a:pt x="13258" y="5785"/>
                  </a:cubicBezTo>
                  <a:cubicBezTo>
                    <a:pt x="13289" y="5762"/>
                    <a:pt x="13392" y="5670"/>
                    <a:pt x="13486" y="5581"/>
                  </a:cubicBezTo>
                  <a:cubicBezTo>
                    <a:pt x="13581" y="5491"/>
                    <a:pt x="13663" y="5406"/>
                    <a:pt x="13673" y="5394"/>
                  </a:cubicBezTo>
                  <a:cubicBezTo>
                    <a:pt x="13681" y="5380"/>
                    <a:pt x="13699" y="5362"/>
                    <a:pt x="13709" y="5352"/>
                  </a:cubicBezTo>
                  <a:cubicBezTo>
                    <a:pt x="13721" y="5342"/>
                    <a:pt x="13731" y="5339"/>
                    <a:pt x="13733" y="5345"/>
                  </a:cubicBezTo>
                  <a:cubicBezTo>
                    <a:pt x="13734" y="5352"/>
                    <a:pt x="13774" y="5317"/>
                    <a:pt x="13819" y="5268"/>
                  </a:cubicBezTo>
                  <a:cubicBezTo>
                    <a:pt x="13865" y="5218"/>
                    <a:pt x="13923" y="5165"/>
                    <a:pt x="13946" y="5149"/>
                  </a:cubicBezTo>
                  <a:cubicBezTo>
                    <a:pt x="13970" y="5134"/>
                    <a:pt x="14011" y="5098"/>
                    <a:pt x="14043" y="5074"/>
                  </a:cubicBezTo>
                  <a:cubicBezTo>
                    <a:pt x="14074" y="5049"/>
                    <a:pt x="14109" y="5020"/>
                    <a:pt x="14121" y="5010"/>
                  </a:cubicBezTo>
                  <a:cubicBezTo>
                    <a:pt x="14134" y="5001"/>
                    <a:pt x="14149" y="4975"/>
                    <a:pt x="14155" y="4954"/>
                  </a:cubicBezTo>
                  <a:cubicBezTo>
                    <a:pt x="14161" y="4934"/>
                    <a:pt x="14112" y="4923"/>
                    <a:pt x="14046" y="4930"/>
                  </a:cubicBezTo>
                  <a:cubicBezTo>
                    <a:pt x="13980" y="4936"/>
                    <a:pt x="13895" y="4949"/>
                    <a:pt x="13858" y="4957"/>
                  </a:cubicBezTo>
                  <a:cubicBezTo>
                    <a:pt x="13821" y="4964"/>
                    <a:pt x="13764" y="4973"/>
                    <a:pt x="13731" y="4975"/>
                  </a:cubicBezTo>
                  <a:cubicBezTo>
                    <a:pt x="13699" y="4978"/>
                    <a:pt x="13673" y="4959"/>
                    <a:pt x="13671" y="4935"/>
                  </a:cubicBezTo>
                  <a:cubicBezTo>
                    <a:pt x="13672" y="4911"/>
                    <a:pt x="13670" y="4865"/>
                    <a:pt x="13664" y="4832"/>
                  </a:cubicBezTo>
                  <a:cubicBezTo>
                    <a:pt x="13661" y="4799"/>
                    <a:pt x="13651" y="4774"/>
                    <a:pt x="13642" y="4777"/>
                  </a:cubicBezTo>
                  <a:cubicBezTo>
                    <a:pt x="13634" y="4777"/>
                    <a:pt x="13638" y="4757"/>
                    <a:pt x="13648" y="4725"/>
                  </a:cubicBezTo>
                  <a:cubicBezTo>
                    <a:pt x="13661" y="4695"/>
                    <a:pt x="13666" y="4667"/>
                    <a:pt x="13663" y="4663"/>
                  </a:cubicBezTo>
                  <a:cubicBezTo>
                    <a:pt x="13660" y="4660"/>
                    <a:pt x="13666" y="4649"/>
                    <a:pt x="13676" y="4639"/>
                  </a:cubicBezTo>
                  <a:cubicBezTo>
                    <a:pt x="13686" y="4628"/>
                    <a:pt x="13701" y="4619"/>
                    <a:pt x="13708" y="4616"/>
                  </a:cubicBezTo>
                  <a:cubicBezTo>
                    <a:pt x="13716" y="4615"/>
                    <a:pt x="13731" y="4602"/>
                    <a:pt x="13740" y="4588"/>
                  </a:cubicBezTo>
                  <a:cubicBezTo>
                    <a:pt x="13749" y="4576"/>
                    <a:pt x="13749" y="4563"/>
                    <a:pt x="13740" y="4559"/>
                  </a:cubicBezTo>
                  <a:cubicBezTo>
                    <a:pt x="13732" y="4553"/>
                    <a:pt x="13688" y="4566"/>
                    <a:pt x="13646" y="4584"/>
                  </a:cubicBezTo>
                  <a:cubicBezTo>
                    <a:pt x="13604" y="4601"/>
                    <a:pt x="13539" y="4614"/>
                    <a:pt x="13501" y="4618"/>
                  </a:cubicBezTo>
                  <a:cubicBezTo>
                    <a:pt x="13463" y="4620"/>
                    <a:pt x="13421" y="4627"/>
                    <a:pt x="13408" y="4635"/>
                  </a:cubicBezTo>
                  <a:cubicBezTo>
                    <a:pt x="13395" y="4642"/>
                    <a:pt x="13375" y="4657"/>
                    <a:pt x="13363" y="4668"/>
                  </a:cubicBezTo>
                  <a:cubicBezTo>
                    <a:pt x="13351" y="4680"/>
                    <a:pt x="13336" y="4684"/>
                    <a:pt x="13331" y="4675"/>
                  </a:cubicBezTo>
                  <a:cubicBezTo>
                    <a:pt x="13326" y="4666"/>
                    <a:pt x="13326" y="4649"/>
                    <a:pt x="13333" y="4635"/>
                  </a:cubicBezTo>
                  <a:cubicBezTo>
                    <a:pt x="13339" y="4622"/>
                    <a:pt x="13357" y="4609"/>
                    <a:pt x="13373" y="4608"/>
                  </a:cubicBezTo>
                  <a:cubicBezTo>
                    <a:pt x="13388" y="4606"/>
                    <a:pt x="13438" y="4594"/>
                    <a:pt x="13483" y="4578"/>
                  </a:cubicBezTo>
                  <a:cubicBezTo>
                    <a:pt x="13528" y="4563"/>
                    <a:pt x="13583" y="4552"/>
                    <a:pt x="13604" y="4560"/>
                  </a:cubicBezTo>
                  <a:cubicBezTo>
                    <a:pt x="13626" y="4563"/>
                    <a:pt x="13676" y="4556"/>
                    <a:pt x="13717" y="4541"/>
                  </a:cubicBezTo>
                  <a:cubicBezTo>
                    <a:pt x="13758" y="4524"/>
                    <a:pt x="13806" y="4520"/>
                    <a:pt x="13822" y="4529"/>
                  </a:cubicBezTo>
                  <a:cubicBezTo>
                    <a:pt x="13839" y="4537"/>
                    <a:pt x="13857" y="4570"/>
                    <a:pt x="13859" y="4601"/>
                  </a:cubicBezTo>
                  <a:cubicBezTo>
                    <a:pt x="13865" y="4631"/>
                    <a:pt x="13881" y="4654"/>
                    <a:pt x="13898" y="4651"/>
                  </a:cubicBezTo>
                  <a:cubicBezTo>
                    <a:pt x="13915" y="4650"/>
                    <a:pt x="13933" y="4653"/>
                    <a:pt x="13939" y="4659"/>
                  </a:cubicBezTo>
                  <a:cubicBezTo>
                    <a:pt x="13943" y="4667"/>
                    <a:pt x="13941" y="4679"/>
                    <a:pt x="13930" y="4688"/>
                  </a:cubicBezTo>
                  <a:cubicBezTo>
                    <a:pt x="13918" y="4697"/>
                    <a:pt x="13902" y="4711"/>
                    <a:pt x="13890" y="4713"/>
                  </a:cubicBezTo>
                  <a:cubicBezTo>
                    <a:pt x="13880" y="4719"/>
                    <a:pt x="13867" y="4730"/>
                    <a:pt x="13862" y="4739"/>
                  </a:cubicBezTo>
                  <a:cubicBezTo>
                    <a:pt x="13856" y="4748"/>
                    <a:pt x="13874" y="4756"/>
                    <a:pt x="13900" y="4759"/>
                  </a:cubicBezTo>
                  <a:cubicBezTo>
                    <a:pt x="13926" y="4760"/>
                    <a:pt x="13947" y="4776"/>
                    <a:pt x="13947" y="4794"/>
                  </a:cubicBezTo>
                  <a:cubicBezTo>
                    <a:pt x="13948" y="4812"/>
                    <a:pt x="13951" y="4837"/>
                    <a:pt x="13957" y="4851"/>
                  </a:cubicBezTo>
                  <a:cubicBezTo>
                    <a:pt x="13964" y="4865"/>
                    <a:pt x="14016" y="4867"/>
                    <a:pt x="14075" y="4858"/>
                  </a:cubicBezTo>
                  <a:cubicBezTo>
                    <a:pt x="14135" y="4847"/>
                    <a:pt x="14203" y="4827"/>
                    <a:pt x="14225" y="4813"/>
                  </a:cubicBezTo>
                  <a:cubicBezTo>
                    <a:pt x="14247" y="4799"/>
                    <a:pt x="14280" y="4767"/>
                    <a:pt x="14299" y="4740"/>
                  </a:cubicBezTo>
                  <a:cubicBezTo>
                    <a:pt x="14318" y="4714"/>
                    <a:pt x="14349" y="4679"/>
                    <a:pt x="14370" y="4663"/>
                  </a:cubicBezTo>
                  <a:cubicBezTo>
                    <a:pt x="14390" y="4648"/>
                    <a:pt x="14417" y="4636"/>
                    <a:pt x="14430" y="4636"/>
                  </a:cubicBezTo>
                  <a:cubicBezTo>
                    <a:pt x="14443" y="4637"/>
                    <a:pt x="14484" y="4605"/>
                    <a:pt x="14521" y="4569"/>
                  </a:cubicBezTo>
                  <a:cubicBezTo>
                    <a:pt x="14559" y="4532"/>
                    <a:pt x="14614" y="4473"/>
                    <a:pt x="14648" y="4441"/>
                  </a:cubicBezTo>
                  <a:cubicBezTo>
                    <a:pt x="14679" y="4407"/>
                    <a:pt x="14760" y="4339"/>
                    <a:pt x="14825" y="4289"/>
                  </a:cubicBezTo>
                  <a:cubicBezTo>
                    <a:pt x="14890" y="4238"/>
                    <a:pt x="14956" y="4189"/>
                    <a:pt x="14972" y="4180"/>
                  </a:cubicBezTo>
                  <a:cubicBezTo>
                    <a:pt x="14988" y="4171"/>
                    <a:pt x="15024" y="4136"/>
                    <a:pt x="15053" y="4104"/>
                  </a:cubicBezTo>
                  <a:cubicBezTo>
                    <a:pt x="15083" y="4071"/>
                    <a:pt x="15103" y="4034"/>
                    <a:pt x="15099" y="4020"/>
                  </a:cubicBezTo>
                  <a:cubicBezTo>
                    <a:pt x="15098" y="4007"/>
                    <a:pt x="15072" y="4001"/>
                    <a:pt x="15047" y="4006"/>
                  </a:cubicBezTo>
                  <a:cubicBezTo>
                    <a:pt x="15023" y="4011"/>
                    <a:pt x="14999" y="4007"/>
                    <a:pt x="14996" y="3996"/>
                  </a:cubicBezTo>
                  <a:cubicBezTo>
                    <a:pt x="14992" y="3986"/>
                    <a:pt x="14995" y="3963"/>
                    <a:pt x="15002" y="3945"/>
                  </a:cubicBezTo>
                  <a:cubicBezTo>
                    <a:pt x="15009" y="3926"/>
                    <a:pt x="15025" y="3904"/>
                    <a:pt x="15038" y="3894"/>
                  </a:cubicBezTo>
                  <a:cubicBezTo>
                    <a:pt x="15051" y="3884"/>
                    <a:pt x="15061" y="3868"/>
                    <a:pt x="15060" y="3859"/>
                  </a:cubicBezTo>
                  <a:cubicBezTo>
                    <a:pt x="15060" y="3849"/>
                    <a:pt x="15068" y="3829"/>
                    <a:pt x="15077" y="3812"/>
                  </a:cubicBezTo>
                  <a:cubicBezTo>
                    <a:pt x="15089" y="3797"/>
                    <a:pt x="15110" y="3788"/>
                    <a:pt x="15127" y="3794"/>
                  </a:cubicBezTo>
                  <a:cubicBezTo>
                    <a:pt x="15144" y="3799"/>
                    <a:pt x="15173" y="3796"/>
                    <a:pt x="15193" y="3787"/>
                  </a:cubicBezTo>
                  <a:cubicBezTo>
                    <a:pt x="15212" y="3779"/>
                    <a:pt x="15236" y="3777"/>
                    <a:pt x="15250" y="3780"/>
                  </a:cubicBezTo>
                  <a:cubicBezTo>
                    <a:pt x="15262" y="3786"/>
                    <a:pt x="15293" y="3783"/>
                    <a:pt x="15318" y="3774"/>
                  </a:cubicBezTo>
                  <a:cubicBezTo>
                    <a:pt x="15343" y="3765"/>
                    <a:pt x="15394" y="3741"/>
                    <a:pt x="15430" y="3718"/>
                  </a:cubicBezTo>
                  <a:cubicBezTo>
                    <a:pt x="15466" y="3697"/>
                    <a:pt x="15494" y="3686"/>
                    <a:pt x="15490" y="3694"/>
                  </a:cubicBezTo>
                  <a:cubicBezTo>
                    <a:pt x="15488" y="3703"/>
                    <a:pt x="15492" y="3709"/>
                    <a:pt x="15501" y="3711"/>
                  </a:cubicBezTo>
                  <a:cubicBezTo>
                    <a:pt x="15511" y="3711"/>
                    <a:pt x="15513" y="3718"/>
                    <a:pt x="15506" y="3724"/>
                  </a:cubicBezTo>
                  <a:cubicBezTo>
                    <a:pt x="15499" y="3731"/>
                    <a:pt x="15474" y="3762"/>
                    <a:pt x="15452" y="3793"/>
                  </a:cubicBezTo>
                  <a:cubicBezTo>
                    <a:pt x="15428" y="3824"/>
                    <a:pt x="15407" y="3861"/>
                    <a:pt x="15402" y="3874"/>
                  </a:cubicBezTo>
                  <a:cubicBezTo>
                    <a:pt x="15400" y="3888"/>
                    <a:pt x="15406" y="3887"/>
                    <a:pt x="15425" y="3877"/>
                  </a:cubicBezTo>
                  <a:cubicBezTo>
                    <a:pt x="15442" y="3864"/>
                    <a:pt x="15457" y="3862"/>
                    <a:pt x="15457" y="3870"/>
                  </a:cubicBezTo>
                  <a:cubicBezTo>
                    <a:pt x="15457" y="3877"/>
                    <a:pt x="15469" y="3881"/>
                    <a:pt x="15484" y="3880"/>
                  </a:cubicBezTo>
                  <a:cubicBezTo>
                    <a:pt x="15499" y="3879"/>
                    <a:pt x="15527" y="3880"/>
                    <a:pt x="15547" y="3883"/>
                  </a:cubicBezTo>
                  <a:cubicBezTo>
                    <a:pt x="15566" y="3889"/>
                    <a:pt x="15592" y="3875"/>
                    <a:pt x="15604" y="3858"/>
                  </a:cubicBezTo>
                  <a:cubicBezTo>
                    <a:pt x="15617" y="3840"/>
                    <a:pt x="15615" y="3818"/>
                    <a:pt x="15602" y="3808"/>
                  </a:cubicBezTo>
                  <a:cubicBezTo>
                    <a:pt x="15588" y="3800"/>
                    <a:pt x="15594" y="3773"/>
                    <a:pt x="15614" y="3753"/>
                  </a:cubicBezTo>
                  <a:cubicBezTo>
                    <a:pt x="15634" y="3733"/>
                    <a:pt x="15647" y="3727"/>
                    <a:pt x="15646" y="3741"/>
                  </a:cubicBezTo>
                  <a:cubicBezTo>
                    <a:pt x="15644" y="3755"/>
                    <a:pt x="15653" y="3763"/>
                    <a:pt x="15666" y="3765"/>
                  </a:cubicBezTo>
                  <a:cubicBezTo>
                    <a:pt x="15679" y="3763"/>
                    <a:pt x="15687" y="3777"/>
                    <a:pt x="15682" y="3792"/>
                  </a:cubicBezTo>
                  <a:cubicBezTo>
                    <a:pt x="15679" y="3807"/>
                    <a:pt x="15694" y="3831"/>
                    <a:pt x="15718" y="3846"/>
                  </a:cubicBezTo>
                  <a:cubicBezTo>
                    <a:pt x="15740" y="3862"/>
                    <a:pt x="15769" y="3869"/>
                    <a:pt x="15781" y="3865"/>
                  </a:cubicBezTo>
                  <a:cubicBezTo>
                    <a:pt x="15792" y="3859"/>
                    <a:pt x="15809" y="3844"/>
                    <a:pt x="15817" y="3828"/>
                  </a:cubicBezTo>
                  <a:cubicBezTo>
                    <a:pt x="15826" y="3812"/>
                    <a:pt x="15827" y="3796"/>
                    <a:pt x="15825" y="3790"/>
                  </a:cubicBezTo>
                  <a:cubicBezTo>
                    <a:pt x="15820" y="3786"/>
                    <a:pt x="15829" y="3770"/>
                    <a:pt x="15843" y="3755"/>
                  </a:cubicBezTo>
                  <a:cubicBezTo>
                    <a:pt x="15857" y="3740"/>
                    <a:pt x="15874" y="3708"/>
                    <a:pt x="15881" y="3683"/>
                  </a:cubicBezTo>
                  <a:cubicBezTo>
                    <a:pt x="15890" y="3658"/>
                    <a:pt x="15887" y="3635"/>
                    <a:pt x="15880" y="3633"/>
                  </a:cubicBezTo>
                  <a:cubicBezTo>
                    <a:pt x="15871" y="3633"/>
                    <a:pt x="15880" y="3606"/>
                    <a:pt x="15898" y="3576"/>
                  </a:cubicBezTo>
                  <a:cubicBezTo>
                    <a:pt x="15915" y="3546"/>
                    <a:pt x="15929" y="3502"/>
                    <a:pt x="15929" y="3478"/>
                  </a:cubicBezTo>
                  <a:cubicBezTo>
                    <a:pt x="15929" y="3453"/>
                    <a:pt x="15916" y="3434"/>
                    <a:pt x="15900" y="3431"/>
                  </a:cubicBezTo>
                  <a:cubicBezTo>
                    <a:pt x="15885" y="3431"/>
                    <a:pt x="15879" y="3415"/>
                    <a:pt x="15888" y="3398"/>
                  </a:cubicBezTo>
                  <a:cubicBezTo>
                    <a:pt x="15897" y="3381"/>
                    <a:pt x="15897" y="3364"/>
                    <a:pt x="15889" y="3366"/>
                  </a:cubicBezTo>
                  <a:cubicBezTo>
                    <a:pt x="15880" y="3363"/>
                    <a:pt x="15845" y="3387"/>
                    <a:pt x="15807" y="3412"/>
                  </a:cubicBezTo>
                  <a:cubicBezTo>
                    <a:pt x="15771" y="3438"/>
                    <a:pt x="15734" y="3460"/>
                    <a:pt x="15725" y="3462"/>
                  </a:cubicBezTo>
                  <a:cubicBezTo>
                    <a:pt x="15715" y="3464"/>
                    <a:pt x="15733" y="3438"/>
                    <a:pt x="15765" y="3405"/>
                  </a:cubicBezTo>
                  <a:cubicBezTo>
                    <a:pt x="15796" y="3371"/>
                    <a:pt x="15839" y="3339"/>
                    <a:pt x="15858" y="3331"/>
                  </a:cubicBezTo>
                  <a:cubicBezTo>
                    <a:pt x="15878" y="3323"/>
                    <a:pt x="15898" y="3319"/>
                    <a:pt x="15902" y="3323"/>
                  </a:cubicBezTo>
                  <a:cubicBezTo>
                    <a:pt x="15906" y="3327"/>
                    <a:pt x="15930" y="3315"/>
                    <a:pt x="15956" y="3298"/>
                  </a:cubicBezTo>
                  <a:cubicBezTo>
                    <a:pt x="15981" y="3280"/>
                    <a:pt x="16007" y="3277"/>
                    <a:pt x="16010" y="3291"/>
                  </a:cubicBezTo>
                  <a:cubicBezTo>
                    <a:pt x="16015" y="3304"/>
                    <a:pt x="16026" y="3317"/>
                    <a:pt x="16035" y="3315"/>
                  </a:cubicBezTo>
                  <a:cubicBezTo>
                    <a:pt x="16043" y="3317"/>
                    <a:pt x="16035" y="3346"/>
                    <a:pt x="16022" y="3386"/>
                  </a:cubicBezTo>
                  <a:cubicBezTo>
                    <a:pt x="16005" y="3425"/>
                    <a:pt x="16001" y="3453"/>
                    <a:pt x="16010" y="3449"/>
                  </a:cubicBezTo>
                  <a:cubicBezTo>
                    <a:pt x="16019" y="3444"/>
                    <a:pt x="16052" y="3418"/>
                    <a:pt x="16084" y="3391"/>
                  </a:cubicBezTo>
                  <a:cubicBezTo>
                    <a:pt x="16116" y="3363"/>
                    <a:pt x="16117" y="3367"/>
                    <a:pt x="16089" y="3400"/>
                  </a:cubicBezTo>
                  <a:cubicBezTo>
                    <a:pt x="16059" y="3432"/>
                    <a:pt x="16027" y="3470"/>
                    <a:pt x="16021" y="3487"/>
                  </a:cubicBezTo>
                  <a:cubicBezTo>
                    <a:pt x="16011" y="3501"/>
                    <a:pt x="15996" y="3523"/>
                    <a:pt x="15981" y="3530"/>
                  </a:cubicBezTo>
                  <a:cubicBezTo>
                    <a:pt x="15965" y="3538"/>
                    <a:pt x="15951" y="3554"/>
                    <a:pt x="15946" y="3565"/>
                  </a:cubicBezTo>
                  <a:cubicBezTo>
                    <a:pt x="15942" y="3575"/>
                    <a:pt x="15943" y="3592"/>
                    <a:pt x="15953" y="3601"/>
                  </a:cubicBezTo>
                  <a:cubicBezTo>
                    <a:pt x="15960" y="3612"/>
                    <a:pt x="15968" y="3635"/>
                    <a:pt x="15964" y="3656"/>
                  </a:cubicBezTo>
                  <a:cubicBezTo>
                    <a:pt x="15959" y="3676"/>
                    <a:pt x="15948" y="3706"/>
                    <a:pt x="15934" y="3720"/>
                  </a:cubicBezTo>
                  <a:cubicBezTo>
                    <a:pt x="15921" y="3734"/>
                    <a:pt x="15916" y="3750"/>
                    <a:pt x="15922" y="3755"/>
                  </a:cubicBezTo>
                  <a:cubicBezTo>
                    <a:pt x="15928" y="3761"/>
                    <a:pt x="15983" y="3739"/>
                    <a:pt x="16043" y="3707"/>
                  </a:cubicBezTo>
                  <a:cubicBezTo>
                    <a:pt x="16103" y="3676"/>
                    <a:pt x="16168" y="3631"/>
                    <a:pt x="16188" y="3609"/>
                  </a:cubicBezTo>
                  <a:cubicBezTo>
                    <a:pt x="16208" y="3587"/>
                    <a:pt x="16239" y="3561"/>
                    <a:pt x="16258" y="3555"/>
                  </a:cubicBezTo>
                  <a:cubicBezTo>
                    <a:pt x="16276" y="3546"/>
                    <a:pt x="16300" y="3541"/>
                    <a:pt x="16310" y="3542"/>
                  </a:cubicBezTo>
                  <a:cubicBezTo>
                    <a:pt x="16320" y="3541"/>
                    <a:pt x="16365" y="3509"/>
                    <a:pt x="16409" y="3469"/>
                  </a:cubicBezTo>
                  <a:cubicBezTo>
                    <a:pt x="16454" y="3429"/>
                    <a:pt x="16506" y="3392"/>
                    <a:pt x="16524" y="3385"/>
                  </a:cubicBezTo>
                  <a:cubicBezTo>
                    <a:pt x="16541" y="3377"/>
                    <a:pt x="16568" y="3358"/>
                    <a:pt x="16586" y="3343"/>
                  </a:cubicBezTo>
                  <a:cubicBezTo>
                    <a:pt x="16601" y="3326"/>
                    <a:pt x="16637" y="3298"/>
                    <a:pt x="16665" y="3281"/>
                  </a:cubicBezTo>
                  <a:cubicBezTo>
                    <a:pt x="16691" y="3262"/>
                    <a:pt x="16726" y="3228"/>
                    <a:pt x="16742" y="3204"/>
                  </a:cubicBezTo>
                  <a:cubicBezTo>
                    <a:pt x="16757" y="3179"/>
                    <a:pt x="16786" y="3148"/>
                    <a:pt x="16806" y="3134"/>
                  </a:cubicBezTo>
                  <a:cubicBezTo>
                    <a:pt x="16826" y="3120"/>
                    <a:pt x="16871" y="3099"/>
                    <a:pt x="16906" y="3086"/>
                  </a:cubicBezTo>
                  <a:cubicBezTo>
                    <a:pt x="16942" y="3074"/>
                    <a:pt x="16986" y="3062"/>
                    <a:pt x="17002" y="3065"/>
                  </a:cubicBezTo>
                  <a:cubicBezTo>
                    <a:pt x="17019" y="3065"/>
                    <a:pt x="17046" y="3053"/>
                    <a:pt x="17062" y="3037"/>
                  </a:cubicBezTo>
                  <a:cubicBezTo>
                    <a:pt x="17079" y="3021"/>
                    <a:pt x="17092" y="2995"/>
                    <a:pt x="17095" y="2980"/>
                  </a:cubicBezTo>
                  <a:cubicBezTo>
                    <a:pt x="17096" y="2964"/>
                    <a:pt x="17131" y="2925"/>
                    <a:pt x="17172" y="2893"/>
                  </a:cubicBezTo>
                  <a:cubicBezTo>
                    <a:pt x="17212" y="2861"/>
                    <a:pt x="17253" y="2823"/>
                    <a:pt x="17262" y="2808"/>
                  </a:cubicBezTo>
                  <a:cubicBezTo>
                    <a:pt x="17271" y="2793"/>
                    <a:pt x="17289" y="2776"/>
                    <a:pt x="17298" y="2768"/>
                  </a:cubicBezTo>
                  <a:cubicBezTo>
                    <a:pt x="17309" y="2761"/>
                    <a:pt x="17328" y="2734"/>
                    <a:pt x="17342" y="2710"/>
                  </a:cubicBezTo>
                  <a:cubicBezTo>
                    <a:pt x="17356" y="2685"/>
                    <a:pt x="17362" y="2639"/>
                    <a:pt x="17355" y="2607"/>
                  </a:cubicBezTo>
                  <a:cubicBezTo>
                    <a:pt x="17349" y="2575"/>
                    <a:pt x="17350" y="2537"/>
                    <a:pt x="17361" y="2523"/>
                  </a:cubicBezTo>
                  <a:cubicBezTo>
                    <a:pt x="17370" y="2508"/>
                    <a:pt x="17364" y="2488"/>
                    <a:pt x="17344" y="2483"/>
                  </a:cubicBezTo>
                  <a:cubicBezTo>
                    <a:pt x="17325" y="2475"/>
                    <a:pt x="17316" y="2454"/>
                    <a:pt x="17318" y="2435"/>
                  </a:cubicBezTo>
                  <a:cubicBezTo>
                    <a:pt x="17325" y="2417"/>
                    <a:pt x="17343" y="2386"/>
                    <a:pt x="17360" y="2365"/>
                  </a:cubicBezTo>
                  <a:cubicBezTo>
                    <a:pt x="17378" y="2345"/>
                    <a:pt x="17418" y="2313"/>
                    <a:pt x="17449" y="2296"/>
                  </a:cubicBezTo>
                  <a:cubicBezTo>
                    <a:pt x="17481" y="2279"/>
                    <a:pt x="17517" y="2251"/>
                    <a:pt x="17527" y="2236"/>
                  </a:cubicBezTo>
                  <a:cubicBezTo>
                    <a:pt x="17541" y="2221"/>
                    <a:pt x="17543" y="2209"/>
                    <a:pt x="17536" y="2211"/>
                  </a:cubicBezTo>
                  <a:cubicBezTo>
                    <a:pt x="17529" y="2212"/>
                    <a:pt x="17507" y="2226"/>
                    <a:pt x="17488" y="2243"/>
                  </a:cubicBezTo>
                  <a:cubicBezTo>
                    <a:pt x="17469" y="2259"/>
                    <a:pt x="17448" y="2272"/>
                    <a:pt x="17441" y="2274"/>
                  </a:cubicBezTo>
                  <a:cubicBezTo>
                    <a:pt x="17434" y="2274"/>
                    <a:pt x="17430" y="2267"/>
                    <a:pt x="17435" y="2256"/>
                  </a:cubicBezTo>
                  <a:cubicBezTo>
                    <a:pt x="17438" y="2245"/>
                    <a:pt x="17460" y="2221"/>
                    <a:pt x="17479" y="2200"/>
                  </a:cubicBezTo>
                  <a:cubicBezTo>
                    <a:pt x="17501" y="2180"/>
                    <a:pt x="17501" y="2166"/>
                    <a:pt x="17483" y="2172"/>
                  </a:cubicBezTo>
                  <a:cubicBezTo>
                    <a:pt x="17465" y="2175"/>
                    <a:pt x="17464" y="2167"/>
                    <a:pt x="17483" y="2152"/>
                  </a:cubicBezTo>
                  <a:cubicBezTo>
                    <a:pt x="17503" y="2137"/>
                    <a:pt x="17528" y="2112"/>
                    <a:pt x="17540" y="2097"/>
                  </a:cubicBezTo>
                  <a:cubicBezTo>
                    <a:pt x="17551" y="2081"/>
                    <a:pt x="17554" y="2066"/>
                    <a:pt x="17545" y="2061"/>
                  </a:cubicBezTo>
                  <a:cubicBezTo>
                    <a:pt x="17535" y="2057"/>
                    <a:pt x="17513" y="2055"/>
                    <a:pt x="17496" y="2058"/>
                  </a:cubicBezTo>
                  <a:cubicBezTo>
                    <a:pt x="17478" y="2061"/>
                    <a:pt x="17474" y="2056"/>
                    <a:pt x="17486" y="2048"/>
                  </a:cubicBezTo>
                  <a:cubicBezTo>
                    <a:pt x="17499" y="2040"/>
                    <a:pt x="17514" y="2020"/>
                    <a:pt x="17523" y="2006"/>
                  </a:cubicBezTo>
                  <a:cubicBezTo>
                    <a:pt x="17531" y="1991"/>
                    <a:pt x="17548" y="1973"/>
                    <a:pt x="17563" y="1968"/>
                  </a:cubicBezTo>
                  <a:cubicBezTo>
                    <a:pt x="17577" y="1961"/>
                    <a:pt x="17592" y="1963"/>
                    <a:pt x="17594" y="1970"/>
                  </a:cubicBezTo>
                  <a:cubicBezTo>
                    <a:pt x="17596" y="1977"/>
                    <a:pt x="17614" y="1977"/>
                    <a:pt x="17635" y="1971"/>
                  </a:cubicBezTo>
                  <a:cubicBezTo>
                    <a:pt x="17655" y="1965"/>
                    <a:pt x="17679" y="1970"/>
                    <a:pt x="17690" y="1981"/>
                  </a:cubicBezTo>
                  <a:cubicBezTo>
                    <a:pt x="17701" y="1992"/>
                    <a:pt x="17721" y="2001"/>
                    <a:pt x="17736" y="1999"/>
                  </a:cubicBezTo>
                  <a:cubicBezTo>
                    <a:pt x="17752" y="1999"/>
                    <a:pt x="17778" y="1986"/>
                    <a:pt x="17793" y="1971"/>
                  </a:cubicBezTo>
                  <a:cubicBezTo>
                    <a:pt x="17809" y="1956"/>
                    <a:pt x="17835" y="1941"/>
                    <a:pt x="17850" y="1939"/>
                  </a:cubicBezTo>
                  <a:cubicBezTo>
                    <a:pt x="17865" y="1935"/>
                    <a:pt x="17907" y="1918"/>
                    <a:pt x="17943" y="1899"/>
                  </a:cubicBezTo>
                  <a:cubicBezTo>
                    <a:pt x="17979" y="1881"/>
                    <a:pt x="18035" y="1845"/>
                    <a:pt x="18070" y="1822"/>
                  </a:cubicBezTo>
                  <a:cubicBezTo>
                    <a:pt x="18103" y="1797"/>
                    <a:pt x="18128" y="1777"/>
                    <a:pt x="18123" y="1773"/>
                  </a:cubicBezTo>
                  <a:cubicBezTo>
                    <a:pt x="18119" y="1768"/>
                    <a:pt x="18133" y="1748"/>
                    <a:pt x="18154" y="1725"/>
                  </a:cubicBezTo>
                  <a:cubicBezTo>
                    <a:pt x="18176" y="1702"/>
                    <a:pt x="18190" y="1683"/>
                    <a:pt x="18186" y="1679"/>
                  </a:cubicBezTo>
                  <a:cubicBezTo>
                    <a:pt x="18180" y="1678"/>
                    <a:pt x="18169" y="1676"/>
                    <a:pt x="18161" y="1680"/>
                  </a:cubicBezTo>
                  <a:cubicBezTo>
                    <a:pt x="18153" y="1683"/>
                    <a:pt x="18149" y="1675"/>
                    <a:pt x="18152" y="1662"/>
                  </a:cubicBezTo>
                  <a:cubicBezTo>
                    <a:pt x="18154" y="1649"/>
                    <a:pt x="18152" y="1638"/>
                    <a:pt x="18144" y="1635"/>
                  </a:cubicBezTo>
                  <a:cubicBezTo>
                    <a:pt x="18136" y="1632"/>
                    <a:pt x="18102" y="1639"/>
                    <a:pt x="18072" y="1649"/>
                  </a:cubicBezTo>
                  <a:cubicBezTo>
                    <a:pt x="18041" y="1659"/>
                    <a:pt x="18032" y="1659"/>
                    <a:pt x="18050" y="1646"/>
                  </a:cubicBezTo>
                  <a:cubicBezTo>
                    <a:pt x="18070" y="1637"/>
                    <a:pt x="18104" y="1617"/>
                    <a:pt x="18127" y="1607"/>
                  </a:cubicBezTo>
                  <a:cubicBezTo>
                    <a:pt x="18150" y="1596"/>
                    <a:pt x="18208" y="1561"/>
                    <a:pt x="18254" y="1527"/>
                  </a:cubicBezTo>
                  <a:cubicBezTo>
                    <a:pt x="18301" y="1495"/>
                    <a:pt x="18358" y="1449"/>
                    <a:pt x="18379" y="1425"/>
                  </a:cubicBezTo>
                  <a:cubicBezTo>
                    <a:pt x="18402" y="1404"/>
                    <a:pt x="18421" y="1379"/>
                    <a:pt x="18420" y="1373"/>
                  </a:cubicBezTo>
                  <a:cubicBezTo>
                    <a:pt x="18419" y="1366"/>
                    <a:pt x="18410" y="1363"/>
                    <a:pt x="18399" y="1362"/>
                  </a:cubicBezTo>
                  <a:cubicBezTo>
                    <a:pt x="18388" y="1364"/>
                    <a:pt x="18378" y="1356"/>
                    <a:pt x="18375" y="1348"/>
                  </a:cubicBezTo>
                  <a:cubicBezTo>
                    <a:pt x="18375" y="1339"/>
                    <a:pt x="18346" y="1335"/>
                    <a:pt x="18315" y="1341"/>
                  </a:cubicBezTo>
                  <a:cubicBezTo>
                    <a:pt x="18284" y="1347"/>
                    <a:pt x="18240" y="1360"/>
                    <a:pt x="18217" y="1371"/>
                  </a:cubicBezTo>
                  <a:cubicBezTo>
                    <a:pt x="18195" y="1384"/>
                    <a:pt x="18169" y="1391"/>
                    <a:pt x="18160" y="1390"/>
                  </a:cubicBezTo>
                  <a:cubicBezTo>
                    <a:pt x="18151" y="1391"/>
                    <a:pt x="18161" y="1378"/>
                    <a:pt x="18183" y="1366"/>
                  </a:cubicBezTo>
                  <a:cubicBezTo>
                    <a:pt x="18206" y="1355"/>
                    <a:pt x="18228" y="1329"/>
                    <a:pt x="18235" y="1311"/>
                  </a:cubicBezTo>
                  <a:cubicBezTo>
                    <a:pt x="18241" y="1293"/>
                    <a:pt x="18217" y="1271"/>
                    <a:pt x="18180" y="1265"/>
                  </a:cubicBezTo>
                  <a:cubicBezTo>
                    <a:pt x="18144" y="1255"/>
                    <a:pt x="18116" y="1243"/>
                    <a:pt x="18119" y="1234"/>
                  </a:cubicBezTo>
                  <a:cubicBezTo>
                    <a:pt x="18120" y="1225"/>
                    <a:pt x="18135" y="1216"/>
                    <a:pt x="18150" y="1211"/>
                  </a:cubicBezTo>
                  <a:cubicBezTo>
                    <a:pt x="18165" y="1209"/>
                    <a:pt x="18185" y="1210"/>
                    <a:pt x="18195" y="1215"/>
                  </a:cubicBezTo>
                  <a:cubicBezTo>
                    <a:pt x="18206" y="1222"/>
                    <a:pt x="18227" y="1217"/>
                    <a:pt x="18244" y="1208"/>
                  </a:cubicBezTo>
                  <a:cubicBezTo>
                    <a:pt x="18260" y="1196"/>
                    <a:pt x="18268" y="1184"/>
                    <a:pt x="18261" y="1176"/>
                  </a:cubicBezTo>
                  <a:cubicBezTo>
                    <a:pt x="18254" y="1169"/>
                    <a:pt x="18259" y="1156"/>
                    <a:pt x="18273" y="1146"/>
                  </a:cubicBezTo>
                  <a:cubicBezTo>
                    <a:pt x="18287" y="1136"/>
                    <a:pt x="18302" y="1120"/>
                    <a:pt x="18308" y="1111"/>
                  </a:cubicBezTo>
                  <a:cubicBezTo>
                    <a:pt x="18313" y="1102"/>
                    <a:pt x="18297" y="1093"/>
                    <a:pt x="18273" y="1094"/>
                  </a:cubicBezTo>
                  <a:cubicBezTo>
                    <a:pt x="18250" y="1093"/>
                    <a:pt x="18217" y="1092"/>
                    <a:pt x="18201" y="1087"/>
                  </a:cubicBezTo>
                  <a:cubicBezTo>
                    <a:pt x="18185" y="1081"/>
                    <a:pt x="18151" y="1092"/>
                    <a:pt x="18126" y="1109"/>
                  </a:cubicBezTo>
                  <a:cubicBezTo>
                    <a:pt x="18101" y="1125"/>
                    <a:pt x="18054" y="1135"/>
                    <a:pt x="18019" y="1135"/>
                  </a:cubicBezTo>
                  <a:cubicBezTo>
                    <a:pt x="17985" y="1133"/>
                    <a:pt x="17955" y="1124"/>
                    <a:pt x="17949" y="1118"/>
                  </a:cubicBezTo>
                  <a:cubicBezTo>
                    <a:pt x="17943" y="1112"/>
                    <a:pt x="17945" y="1098"/>
                    <a:pt x="17944" y="1090"/>
                  </a:cubicBezTo>
                  <a:cubicBezTo>
                    <a:pt x="17946" y="1082"/>
                    <a:pt x="17930" y="1070"/>
                    <a:pt x="17908" y="1063"/>
                  </a:cubicBezTo>
                  <a:cubicBezTo>
                    <a:pt x="17886" y="1056"/>
                    <a:pt x="17841" y="1059"/>
                    <a:pt x="17807" y="1068"/>
                  </a:cubicBezTo>
                  <a:cubicBezTo>
                    <a:pt x="17773" y="1077"/>
                    <a:pt x="17731" y="1097"/>
                    <a:pt x="17712" y="1109"/>
                  </a:cubicBezTo>
                  <a:cubicBezTo>
                    <a:pt x="17694" y="1122"/>
                    <a:pt x="17666" y="1135"/>
                    <a:pt x="17650" y="1140"/>
                  </a:cubicBezTo>
                  <a:cubicBezTo>
                    <a:pt x="17633" y="1143"/>
                    <a:pt x="17618" y="1141"/>
                    <a:pt x="17614" y="1132"/>
                  </a:cubicBezTo>
                  <a:cubicBezTo>
                    <a:pt x="17610" y="1123"/>
                    <a:pt x="17591" y="1120"/>
                    <a:pt x="17570" y="1125"/>
                  </a:cubicBezTo>
                  <a:cubicBezTo>
                    <a:pt x="17549" y="1130"/>
                    <a:pt x="17535" y="1140"/>
                    <a:pt x="17534" y="1147"/>
                  </a:cubicBezTo>
                  <a:cubicBezTo>
                    <a:pt x="17536" y="1153"/>
                    <a:pt x="17546" y="1162"/>
                    <a:pt x="17559" y="1162"/>
                  </a:cubicBezTo>
                  <a:cubicBezTo>
                    <a:pt x="17572" y="1165"/>
                    <a:pt x="17571" y="1180"/>
                    <a:pt x="17555" y="1198"/>
                  </a:cubicBezTo>
                  <a:cubicBezTo>
                    <a:pt x="17540" y="1216"/>
                    <a:pt x="17510" y="1236"/>
                    <a:pt x="17490" y="1245"/>
                  </a:cubicBezTo>
                  <a:cubicBezTo>
                    <a:pt x="17469" y="1251"/>
                    <a:pt x="17450" y="1262"/>
                    <a:pt x="17449" y="1266"/>
                  </a:cubicBezTo>
                  <a:cubicBezTo>
                    <a:pt x="17448" y="1271"/>
                    <a:pt x="17449" y="1278"/>
                    <a:pt x="17453" y="1282"/>
                  </a:cubicBezTo>
                  <a:cubicBezTo>
                    <a:pt x="17457" y="1286"/>
                    <a:pt x="17440" y="1303"/>
                    <a:pt x="17419" y="1323"/>
                  </a:cubicBezTo>
                  <a:cubicBezTo>
                    <a:pt x="17397" y="1342"/>
                    <a:pt x="17371" y="1367"/>
                    <a:pt x="17364" y="1379"/>
                  </a:cubicBezTo>
                  <a:cubicBezTo>
                    <a:pt x="17354" y="1391"/>
                    <a:pt x="17352" y="1410"/>
                    <a:pt x="17356" y="1420"/>
                  </a:cubicBezTo>
                  <a:cubicBezTo>
                    <a:pt x="17361" y="1430"/>
                    <a:pt x="17351" y="1442"/>
                    <a:pt x="17336" y="1449"/>
                  </a:cubicBezTo>
                  <a:cubicBezTo>
                    <a:pt x="17321" y="1456"/>
                    <a:pt x="17300" y="1474"/>
                    <a:pt x="17289" y="1490"/>
                  </a:cubicBezTo>
                  <a:cubicBezTo>
                    <a:pt x="17278" y="1507"/>
                    <a:pt x="17255" y="1534"/>
                    <a:pt x="17236" y="1549"/>
                  </a:cubicBezTo>
                  <a:cubicBezTo>
                    <a:pt x="17218" y="1565"/>
                    <a:pt x="17191" y="1600"/>
                    <a:pt x="17176" y="1627"/>
                  </a:cubicBezTo>
                  <a:cubicBezTo>
                    <a:pt x="17163" y="1654"/>
                    <a:pt x="17159" y="1672"/>
                    <a:pt x="17171" y="1669"/>
                  </a:cubicBezTo>
                  <a:cubicBezTo>
                    <a:pt x="17183" y="1668"/>
                    <a:pt x="17196" y="1672"/>
                    <a:pt x="17197" y="1684"/>
                  </a:cubicBezTo>
                  <a:cubicBezTo>
                    <a:pt x="17203" y="1695"/>
                    <a:pt x="17210" y="1704"/>
                    <a:pt x="17219" y="1702"/>
                  </a:cubicBezTo>
                  <a:cubicBezTo>
                    <a:pt x="17227" y="1699"/>
                    <a:pt x="17237" y="1709"/>
                    <a:pt x="17239" y="1722"/>
                  </a:cubicBezTo>
                  <a:cubicBezTo>
                    <a:pt x="17242" y="1735"/>
                    <a:pt x="17234" y="1753"/>
                    <a:pt x="17222" y="1761"/>
                  </a:cubicBezTo>
                  <a:cubicBezTo>
                    <a:pt x="17211" y="1769"/>
                    <a:pt x="17189" y="1779"/>
                    <a:pt x="17174" y="1784"/>
                  </a:cubicBezTo>
                  <a:cubicBezTo>
                    <a:pt x="17158" y="1786"/>
                    <a:pt x="17135" y="1799"/>
                    <a:pt x="17122" y="1809"/>
                  </a:cubicBezTo>
                  <a:cubicBezTo>
                    <a:pt x="17110" y="1820"/>
                    <a:pt x="17093" y="1823"/>
                    <a:pt x="17085" y="1819"/>
                  </a:cubicBezTo>
                  <a:cubicBezTo>
                    <a:pt x="17078" y="1813"/>
                    <a:pt x="17050" y="1819"/>
                    <a:pt x="17026" y="1831"/>
                  </a:cubicBezTo>
                  <a:cubicBezTo>
                    <a:pt x="17001" y="1841"/>
                    <a:pt x="16970" y="1861"/>
                    <a:pt x="16957" y="1875"/>
                  </a:cubicBezTo>
                  <a:cubicBezTo>
                    <a:pt x="16941" y="1887"/>
                    <a:pt x="16942" y="1905"/>
                    <a:pt x="16951" y="1914"/>
                  </a:cubicBezTo>
                  <a:cubicBezTo>
                    <a:pt x="16964" y="1921"/>
                    <a:pt x="16981" y="1924"/>
                    <a:pt x="16993" y="1923"/>
                  </a:cubicBezTo>
                  <a:cubicBezTo>
                    <a:pt x="17005" y="1920"/>
                    <a:pt x="17011" y="1927"/>
                    <a:pt x="17003" y="1936"/>
                  </a:cubicBezTo>
                  <a:cubicBezTo>
                    <a:pt x="16998" y="1947"/>
                    <a:pt x="16975" y="1965"/>
                    <a:pt x="16953" y="1973"/>
                  </a:cubicBezTo>
                  <a:cubicBezTo>
                    <a:pt x="16931" y="1983"/>
                    <a:pt x="16906" y="1988"/>
                    <a:pt x="16897" y="1986"/>
                  </a:cubicBezTo>
                  <a:cubicBezTo>
                    <a:pt x="16889" y="1982"/>
                    <a:pt x="16867" y="1993"/>
                    <a:pt x="16848" y="2008"/>
                  </a:cubicBezTo>
                  <a:cubicBezTo>
                    <a:pt x="16830" y="2024"/>
                    <a:pt x="16808" y="2025"/>
                    <a:pt x="16802" y="2011"/>
                  </a:cubicBezTo>
                  <a:cubicBezTo>
                    <a:pt x="16794" y="1999"/>
                    <a:pt x="16768" y="2003"/>
                    <a:pt x="16742" y="2023"/>
                  </a:cubicBezTo>
                  <a:cubicBezTo>
                    <a:pt x="16715" y="2042"/>
                    <a:pt x="16666" y="2089"/>
                    <a:pt x="16632" y="2128"/>
                  </a:cubicBezTo>
                  <a:cubicBezTo>
                    <a:pt x="16598" y="2166"/>
                    <a:pt x="16540" y="2235"/>
                    <a:pt x="16502" y="2280"/>
                  </a:cubicBezTo>
                  <a:cubicBezTo>
                    <a:pt x="16465" y="2325"/>
                    <a:pt x="16398" y="2399"/>
                    <a:pt x="16354" y="2446"/>
                  </a:cubicBezTo>
                  <a:cubicBezTo>
                    <a:pt x="16310" y="2492"/>
                    <a:pt x="16233" y="2560"/>
                    <a:pt x="16184" y="2597"/>
                  </a:cubicBezTo>
                  <a:cubicBezTo>
                    <a:pt x="16135" y="2635"/>
                    <a:pt x="16078" y="2682"/>
                    <a:pt x="16058" y="2702"/>
                  </a:cubicBezTo>
                  <a:cubicBezTo>
                    <a:pt x="16040" y="2723"/>
                    <a:pt x="16017" y="2743"/>
                    <a:pt x="16007" y="2746"/>
                  </a:cubicBezTo>
                  <a:cubicBezTo>
                    <a:pt x="15999" y="2750"/>
                    <a:pt x="15966" y="2779"/>
                    <a:pt x="15935" y="2810"/>
                  </a:cubicBezTo>
                  <a:cubicBezTo>
                    <a:pt x="15903" y="2842"/>
                    <a:pt x="15860" y="2877"/>
                    <a:pt x="15840" y="2890"/>
                  </a:cubicBezTo>
                  <a:cubicBezTo>
                    <a:pt x="15820" y="2903"/>
                    <a:pt x="15788" y="2937"/>
                    <a:pt x="15773" y="2967"/>
                  </a:cubicBezTo>
                  <a:cubicBezTo>
                    <a:pt x="15755" y="2997"/>
                    <a:pt x="15723" y="3038"/>
                    <a:pt x="15701" y="3059"/>
                  </a:cubicBezTo>
                  <a:cubicBezTo>
                    <a:pt x="15679" y="3079"/>
                    <a:pt x="15649" y="3114"/>
                    <a:pt x="15634" y="3136"/>
                  </a:cubicBezTo>
                  <a:cubicBezTo>
                    <a:pt x="15620" y="3159"/>
                    <a:pt x="15597" y="3181"/>
                    <a:pt x="15586" y="3188"/>
                  </a:cubicBezTo>
                  <a:cubicBezTo>
                    <a:pt x="15574" y="3193"/>
                    <a:pt x="15564" y="3184"/>
                    <a:pt x="15564" y="3166"/>
                  </a:cubicBezTo>
                  <a:cubicBezTo>
                    <a:pt x="15560" y="3148"/>
                    <a:pt x="15552" y="3138"/>
                    <a:pt x="15538" y="3143"/>
                  </a:cubicBezTo>
                  <a:cubicBezTo>
                    <a:pt x="15526" y="3151"/>
                    <a:pt x="15495" y="3170"/>
                    <a:pt x="15474" y="3189"/>
                  </a:cubicBezTo>
                  <a:cubicBezTo>
                    <a:pt x="15451" y="3207"/>
                    <a:pt x="15439" y="3226"/>
                    <a:pt x="15441" y="3231"/>
                  </a:cubicBezTo>
                  <a:cubicBezTo>
                    <a:pt x="15445" y="3235"/>
                    <a:pt x="15443" y="3257"/>
                    <a:pt x="15435" y="3278"/>
                  </a:cubicBezTo>
                  <a:cubicBezTo>
                    <a:pt x="15429" y="3300"/>
                    <a:pt x="15410" y="3321"/>
                    <a:pt x="15394" y="3327"/>
                  </a:cubicBezTo>
                  <a:cubicBezTo>
                    <a:pt x="15379" y="3332"/>
                    <a:pt x="15359" y="3330"/>
                    <a:pt x="15349" y="3322"/>
                  </a:cubicBezTo>
                  <a:cubicBezTo>
                    <a:pt x="15340" y="3314"/>
                    <a:pt x="15345" y="3291"/>
                    <a:pt x="15359" y="3270"/>
                  </a:cubicBezTo>
                  <a:cubicBezTo>
                    <a:pt x="15373" y="3250"/>
                    <a:pt x="15382" y="3216"/>
                    <a:pt x="15379" y="3195"/>
                  </a:cubicBezTo>
                  <a:cubicBezTo>
                    <a:pt x="15372" y="3175"/>
                    <a:pt x="15386" y="3110"/>
                    <a:pt x="15398" y="3052"/>
                  </a:cubicBezTo>
                  <a:cubicBezTo>
                    <a:pt x="15416" y="2995"/>
                    <a:pt x="15436" y="2923"/>
                    <a:pt x="15449" y="2893"/>
                  </a:cubicBezTo>
                  <a:cubicBezTo>
                    <a:pt x="15463" y="2863"/>
                    <a:pt x="15472" y="2831"/>
                    <a:pt x="15472" y="2821"/>
                  </a:cubicBezTo>
                  <a:cubicBezTo>
                    <a:pt x="15471" y="2812"/>
                    <a:pt x="15488" y="2784"/>
                    <a:pt x="15507" y="2758"/>
                  </a:cubicBezTo>
                  <a:cubicBezTo>
                    <a:pt x="15528" y="2733"/>
                    <a:pt x="15562" y="2693"/>
                    <a:pt x="15586" y="2671"/>
                  </a:cubicBezTo>
                  <a:cubicBezTo>
                    <a:pt x="15608" y="2649"/>
                    <a:pt x="15632" y="2618"/>
                    <a:pt x="15636" y="2601"/>
                  </a:cubicBezTo>
                  <a:cubicBezTo>
                    <a:pt x="15640" y="2584"/>
                    <a:pt x="15657" y="2555"/>
                    <a:pt x="15674" y="2536"/>
                  </a:cubicBezTo>
                  <a:cubicBezTo>
                    <a:pt x="15692" y="2518"/>
                    <a:pt x="15718" y="2490"/>
                    <a:pt x="15735" y="2476"/>
                  </a:cubicBezTo>
                  <a:cubicBezTo>
                    <a:pt x="15752" y="2463"/>
                    <a:pt x="15771" y="2456"/>
                    <a:pt x="15779" y="2460"/>
                  </a:cubicBezTo>
                  <a:cubicBezTo>
                    <a:pt x="15786" y="2466"/>
                    <a:pt x="15807" y="2458"/>
                    <a:pt x="15826" y="2447"/>
                  </a:cubicBezTo>
                  <a:cubicBezTo>
                    <a:pt x="15844" y="2436"/>
                    <a:pt x="15878" y="2408"/>
                    <a:pt x="15900" y="2385"/>
                  </a:cubicBezTo>
                  <a:cubicBezTo>
                    <a:pt x="15922" y="2362"/>
                    <a:pt x="15950" y="2316"/>
                    <a:pt x="15960" y="2282"/>
                  </a:cubicBezTo>
                  <a:cubicBezTo>
                    <a:pt x="15972" y="2249"/>
                    <a:pt x="15993" y="2205"/>
                    <a:pt x="16010" y="2186"/>
                  </a:cubicBezTo>
                  <a:cubicBezTo>
                    <a:pt x="16027" y="2167"/>
                    <a:pt x="16048" y="2135"/>
                    <a:pt x="16056" y="2116"/>
                  </a:cubicBezTo>
                  <a:cubicBezTo>
                    <a:pt x="16067" y="2097"/>
                    <a:pt x="16069" y="2069"/>
                    <a:pt x="16057" y="2058"/>
                  </a:cubicBezTo>
                  <a:cubicBezTo>
                    <a:pt x="16049" y="2045"/>
                    <a:pt x="16047" y="2017"/>
                    <a:pt x="16055" y="1996"/>
                  </a:cubicBezTo>
                  <a:cubicBezTo>
                    <a:pt x="16062" y="1974"/>
                    <a:pt x="16071" y="1938"/>
                    <a:pt x="16068" y="1914"/>
                  </a:cubicBezTo>
                  <a:cubicBezTo>
                    <a:pt x="16070" y="1891"/>
                    <a:pt x="16069" y="1859"/>
                    <a:pt x="16075" y="1845"/>
                  </a:cubicBezTo>
                  <a:cubicBezTo>
                    <a:pt x="16077" y="1831"/>
                    <a:pt x="16078" y="1816"/>
                    <a:pt x="16073" y="1812"/>
                  </a:cubicBezTo>
                  <a:cubicBezTo>
                    <a:pt x="16069" y="1808"/>
                    <a:pt x="16056" y="1809"/>
                    <a:pt x="16046" y="1813"/>
                  </a:cubicBezTo>
                  <a:cubicBezTo>
                    <a:pt x="16036" y="1818"/>
                    <a:pt x="16015" y="1839"/>
                    <a:pt x="15998" y="1859"/>
                  </a:cubicBezTo>
                  <a:cubicBezTo>
                    <a:pt x="15982" y="1880"/>
                    <a:pt x="15936" y="1929"/>
                    <a:pt x="15894" y="1969"/>
                  </a:cubicBezTo>
                  <a:cubicBezTo>
                    <a:pt x="15855" y="2009"/>
                    <a:pt x="15791" y="2064"/>
                    <a:pt x="15756" y="2093"/>
                  </a:cubicBezTo>
                  <a:cubicBezTo>
                    <a:pt x="15720" y="2121"/>
                    <a:pt x="15681" y="2160"/>
                    <a:pt x="15667" y="2179"/>
                  </a:cubicBezTo>
                  <a:cubicBezTo>
                    <a:pt x="15653" y="2197"/>
                    <a:pt x="15629" y="2237"/>
                    <a:pt x="15614" y="2268"/>
                  </a:cubicBezTo>
                  <a:cubicBezTo>
                    <a:pt x="15598" y="2298"/>
                    <a:pt x="15575" y="2334"/>
                    <a:pt x="15560" y="2345"/>
                  </a:cubicBezTo>
                  <a:cubicBezTo>
                    <a:pt x="15546" y="2358"/>
                    <a:pt x="15528" y="2364"/>
                    <a:pt x="15520" y="2361"/>
                  </a:cubicBezTo>
                  <a:cubicBezTo>
                    <a:pt x="15514" y="2355"/>
                    <a:pt x="15491" y="2367"/>
                    <a:pt x="15474" y="2384"/>
                  </a:cubicBezTo>
                  <a:cubicBezTo>
                    <a:pt x="15454" y="2400"/>
                    <a:pt x="15442" y="2417"/>
                    <a:pt x="15442" y="2421"/>
                  </a:cubicBezTo>
                  <a:cubicBezTo>
                    <a:pt x="15445" y="2424"/>
                    <a:pt x="15437" y="2436"/>
                    <a:pt x="15429" y="2445"/>
                  </a:cubicBezTo>
                  <a:cubicBezTo>
                    <a:pt x="15421" y="2455"/>
                    <a:pt x="15387" y="2479"/>
                    <a:pt x="15355" y="2501"/>
                  </a:cubicBezTo>
                  <a:cubicBezTo>
                    <a:pt x="15324" y="2524"/>
                    <a:pt x="15287" y="2553"/>
                    <a:pt x="15272" y="2568"/>
                  </a:cubicBezTo>
                  <a:cubicBezTo>
                    <a:pt x="15259" y="2583"/>
                    <a:pt x="15227" y="2613"/>
                    <a:pt x="15203" y="2636"/>
                  </a:cubicBezTo>
                  <a:cubicBezTo>
                    <a:pt x="15179" y="2659"/>
                    <a:pt x="15148" y="2681"/>
                    <a:pt x="15135" y="2686"/>
                  </a:cubicBezTo>
                  <a:cubicBezTo>
                    <a:pt x="15123" y="2691"/>
                    <a:pt x="15116" y="2686"/>
                    <a:pt x="15120" y="2674"/>
                  </a:cubicBezTo>
                  <a:cubicBezTo>
                    <a:pt x="15126" y="2664"/>
                    <a:pt x="15140" y="2645"/>
                    <a:pt x="15156" y="2636"/>
                  </a:cubicBezTo>
                  <a:cubicBezTo>
                    <a:pt x="15171" y="2626"/>
                    <a:pt x="15191" y="2603"/>
                    <a:pt x="15198" y="2585"/>
                  </a:cubicBezTo>
                  <a:cubicBezTo>
                    <a:pt x="15206" y="2567"/>
                    <a:pt x="15214" y="2546"/>
                    <a:pt x="15212" y="2538"/>
                  </a:cubicBezTo>
                  <a:cubicBezTo>
                    <a:pt x="15210" y="2531"/>
                    <a:pt x="15236" y="2500"/>
                    <a:pt x="15267" y="2472"/>
                  </a:cubicBezTo>
                  <a:cubicBezTo>
                    <a:pt x="15297" y="2443"/>
                    <a:pt x="15332" y="2404"/>
                    <a:pt x="15345" y="2385"/>
                  </a:cubicBezTo>
                  <a:cubicBezTo>
                    <a:pt x="15358" y="2367"/>
                    <a:pt x="15376" y="2337"/>
                    <a:pt x="15385" y="2319"/>
                  </a:cubicBezTo>
                  <a:cubicBezTo>
                    <a:pt x="15394" y="2302"/>
                    <a:pt x="15418" y="2277"/>
                    <a:pt x="15435" y="2265"/>
                  </a:cubicBezTo>
                  <a:cubicBezTo>
                    <a:pt x="15453" y="2251"/>
                    <a:pt x="15477" y="2226"/>
                    <a:pt x="15489" y="2208"/>
                  </a:cubicBezTo>
                  <a:cubicBezTo>
                    <a:pt x="15502" y="2191"/>
                    <a:pt x="15509" y="2172"/>
                    <a:pt x="15507" y="2170"/>
                  </a:cubicBezTo>
                  <a:cubicBezTo>
                    <a:pt x="15505" y="2168"/>
                    <a:pt x="15515" y="2147"/>
                    <a:pt x="15529" y="2126"/>
                  </a:cubicBezTo>
                  <a:cubicBezTo>
                    <a:pt x="15541" y="2103"/>
                    <a:pt x="15547" y="2072"/>
                    <a:pt x="15544" y="2053"/>
                  </a:cubicBezTo>
                  <a:cubicBezTo>
                    <a:pt x="15536" y="2036"/>
                    <a:pt x="15541" y="2010"/>
                    <a:pt x="15547" y="1996"/>
                  </a:cubicBezTo>
                  <a:cubicBezTo>
                    <a:pt x="15555" y="1984"/>
                    <a:pt x="15556" y="1964"/>
                    <a:pt x="15554" y="1952"/>
                  </a:cubicBezTo>
                  <a:cubicBezTo>
                    <a:pt x="15549" y="1942"/>
                    <a:pt x="15551" y="1924"/>
                    <a:pt x="15557" y="1916"/>
                  </a:cubicBezTo>
                  <a:cubicBezTo>
                    <a:pt x="15561" y="1907"/>
                    <a:pt x="15570" y="1901"/>
                    <a:pt x="15577" y="1902"/>
                  </a:cubicBezTo>
                  <a:cubicBezTo>
                    <a:pt x="15583" y="1902"/>
                    <a:pt x="15596" y="1899"/>
                    <a:pt x="15606" y="1895"/>
                  </a:cubicBezTo>
                  <a:cubicBezTo>
                    <a:pt x="15616" y="1891"/>
                    <a:pt x="15620" y="1902"/>
                    <a:pt x="15612" y="1921"/>
                  </a:cubicBezTo>
                  <a:cubicBezTo>
                    <a:pt x="15606" y="1939"/>
                    <a:pt x="15610" y="1948"/>
                    <a:pt x="15620" y="1939"/>
                  </a:cubicBezTo>
                  <a:cubicBezTo>
                    <a:pt x="15630" y="1931"/>
                    <a:pt x="15665" y="1901"/>
                    <a:pt x="15696" y="1873"/>
                  </a:cubicBezTo>
                  <a:cubicBezTo>
                    <a:pt x="15728" y="1846"/>
                    <a:pt x="15769" y="1815"/>
                    <a:pt x="15789" y="1807"/>
                  </a:cubicBezTo>
                  <a:cubicBezTo>
                    <a:pt x="15808" y="1798"/>
                    <a:pt x="15841" y="1778"/>
                    <a:pt x="15861" y="1761"/>
                  </a:cubicBezTo>
                  <a:cubicBezTo>
                    <a:pt x="15881" y="1743"/>
                    <a:pt x="15889" y="1727"/>
                    <a:pt x="15879" y="1726"/>
                  </a:cubicBezTo>
                  <a:cubicBezTo>
                    <a:pt x="15868" y="1723"/>
                    <a:pt x="15839" y="1740"/>
                    <a:pt x="15814" y="1758"/>
                  </a:cubicBezTo>
                  <a:cubicBezTo>
                    <a:pt x="15789" y="1778"/>
                    <a:pt x="15763" y="1788"/>
                    <a:pt x="15756" y="1782"/>
                  </a:cubicBezTo>
                  <a:cubicBezTo>
                    <a:pt x="15750" y="1775"/>
                    <a:pt x="15732" y="1771"/>
                    <a:pt x="15717" y="1773"/>
                  </a:cubicBezTo>
                  <a:cubicBezTo>
                    <a:pt x="15702" y="1771"/>
                    <a:pt x="15693" y="1772"/>
                    <a:pt x="15695" y="1767"/>
                  </a:cubicBezTo>
                  <a:cubicBezTo>
                    <a:pt x="15697" y="1762"/>
                    <a:pt x="15710" y="1749"/>
                    <a:pt x="15724" y="1739"/>
                  </a:cubicBezTo>
                  <a:cubicBezTo>
                    <a:pt x="15737" y="1728"/>
                    <a:pt x="15743" y="1717"/>
                    <a:pt x="15742" y="1712"/>
                  </a:cubicBezTo>
                  <a:cubicBezTo>
                    <a:pt x="15739" y="1708"/>
                    <a:pt x="15722" y="1710"/>
                    <a:pt x="15705" y="1721"/>
                  </a:cubicBezTo>
                  <a:cubicBezTo>
                    <a:pt x="15689" y="1731"/>
                    <a:pt x="15666" y="1750"/>
                    <a:pt x="15655" y="1764"/>
                  </a:cubicBezTo>
                  <a:cubicBezTo>
                    <a:pt x="15645" y="1778"/>
                    <a:pt x="15612" y="1804"/>
                    <a:pt x="15582" y="1820"/>
                  </a:cubicBezTo>
                  <a:cubicBezTo>
                    <a:pt x="15553" y="1838"/>
                    <a:pt x="15522" y="1842"/>
                    <a:pt x="15510" y="1836"/>
                  </a:cubicBezTo>
                  <a:cubicBezTo>
                    <a:pt x="15500" y="1828"/>
                    <a:pt x="15497" y="1810"/>
                    <a:pt x="15503" y="1794"/>
                  </a:cubicBezTo>
                  <a:cubicBezTo>
                    <a:pt x="15508" y="1779"/>
                    <a:pt x="15505" y="1766"/>
                    <a:pt x="15496" y="1769"/>
                  </a:cubicBezTo>
                  <a:cubicBezTo>
                    <a:pt x="15485" y="1771"/>
                    <a:pt x="15459" y="1782"/>
                    <a:pt x="15436" y="1794"/>
                  </a:cubicBezTo>
                  <a:cubicBezTo>
                    <a:pt x="15413" y="1805"/>
                    <a:pt x="15392" y="1811"/>
                    <a:pt x="15387" y="1807"/>
                  </a:cubicBezTo>
                  <a:cubicBezTo>
                    <a:pt x="15381" y="1802"/>
                    <a:pt x="15388" y="1782"/>
                    <a:pt x="15403" y="1764"/>
                  </a:cubicBezTo>
                  <a:cubicBezTo>
                    <a:pt x="15417" y="1745"/>
                    <a:pt x="15440" y="1722"/>
                    <a:pt x="15456" y="1712"/>
                  </a:cubicBezTo>
                  <a:cubicBezTo>
                    <a:pt x="15470" y="1701"/>
                    <a:pt x="15489" y="1686"/>
                    <a:pt x="15498" y="1676"/>
                  </a:cubicBezTo>
                  <a:cubicBezTo>
                    <a:pt x="15505" y="1665"/>
                    <a:pt x="15524" y="1651"/>
                    <a:pt x="15539" y="1644"/>
                  </a:cubicBezTo>
                  <a:cubicBezTo>
                    <a:pt x="15554" y="1636"/>
                    <a:pt x="15625" y="1586"/>
                    <a:pt x="15697" y="1533"/>
                  </a:cubicBezTo>
                  <a:cubicBezTo>
                    <a:pt x="15768" y="1481"/>
                    <a:pt x="15833" y="1429"/>
                    <a:pt x="15841" y="1420"/>
                  </a:cubicBezTo>
                  <a:cubicBezTo>
                    <a:pt x="15848" y="1410"/>
                    <a:pt x="15848" y="1398"/>
                    <a:pt x="15841" y="1392"/>
                  </a:cubicBezTo>
                  <a:cubicBezTo>
                    <a:pt x="15835" y="1386"/>
                    <a:pt x="15804" y="1394"/>
                    <a:pt x="15776" y="1410"/>
                  </a:cubicBezTo>
                  <a:cubicBezTo>
                    <a:pt x="15747" y="1425"/>
                    <a:pt x="15728" y="1433"/>
                    <a:pt x="15731" y="1426"/>
                  </a:cubicBezTo>
                  <a:cubicBezTo>
                    <a:pt x="15736" y="1419"/>
                    <a:pt x="15754" y="1401"/>
                    <a:pt x="15776" y="1389"/>
                  </a:cubicBezTo>
                  <a:cubicBezTo>
                    <a:pt x="15796" y="1374"/>
                    <a:pt x="15830" y="1348"/>
                    <a:pt x="15849" y="1327"/>
                  </a:cubicBezTo>
                  <a:cubicBezTo>
                    <a:pt x="15869" y="1306"/>
                    <a:pt x="15908" y="1274"/>
                    <a:pt x="15936" y="1256"/>
                  </a:cubicBezTo>
                  <a:cubicBezTo>
                    <a:pt x="15965" y="1239"/>
                    <a:pt x="15975" y="1242"/>
                    <a:pt x="15957" y="1261"/>
                  </a:cubicBezTo>
                  <a:cubicBezTo>
                    <a:pt x="15941" y="1283"/>
                    <a:pt x="15929" y="1308"/>
                    <a:pt x="15930" y="1320"/>
                  </a:cubicBezTo>
                  <a:cubicBezTo>
                    <a:pt x="15931" y="1331"/>
                    <a:pt x="15949" y="1333"/>
                    <a:pt x="15968" y="1322"/>
                  </a:cubicBezTo>
                  <a:cubicBezTo>
                    <a:pt x="15988" y="1313"/>
                    <a:pt x="16012" y="1303"/>
                    <a:pt x="16021" y="1305"/>
                  </a:cubicBezTo>
                  <a:cubicBezTo>
                    <a:pt x="16031" y="1305"/>
                    <a:pt x="16056" y="1293"/>
                    <a:pt x="16076" y="1276"/>
                  </a:cubicBezTo>
                  <a:cubicBezTo>
                    <a:pt x="16097" y="1259"/>
                    <a:pt x="16121" y="1233"/>
                    <a:pt x="16132" y="1219"/>
                  </a:cubicBezTo>
                  <a:cubicBezTo>
                    <a:pt x="16142" y="1204"/>
                    <a:pt x="16146" y="1184"/>
                    <a:pt x="16141" y="1174"/>
                  </a:cubicBezTo>
                  <a:cubicBezTo>
                    <a:pt x="16135" y="1165"/>
                    <a:pt x="16122" y="1159"/>
                    <a:pt x="16110" y="1161"/>
                  </a:cubicBezTo>
                  <a:cubicBezTo>
                    <a:pt x="16099" y="1164"/>
                    <a:pt x="16094" y="1155"/>
                    <a:pt x="16101" y="1144"/>
                  </a:cubicBezTo>
                  <a:cubicBezTo>
                    <a:pt x="16106" y="1133"/>
                    <a:pt x="16123" y="1110"/>
                    <a:pt x="16138" y="1093"/>
                  </a:cubicBezTo>
                  <a:cubicBezTo>
                    <a:pt x="16152" y="1075"/>
                    <a:pt x="16165" y="1051"/>
                    <a:pt x="16168" y="1040"/>
                  </a:cubicBezTo>
                  <a:cubicBezTo>
                    <a:pt x="16171" y="1028"/>
                    <a:pt x="16178" y="1010"/>
                    <a:pt x="16188" y="1003"/>
                  </a:cubicBezTo>
                  <a:cubicBezTo>
                    <a:pt x="16198" y="995"/>
                    <a:pt x="16213" y="978"/>
                    <a:pt x="16219" y="964"/>
                  </a:cubicBezTo>
                  <a:cubicBezTo>
                    <a:pt x="16226" y="951"/>
                    <a:pt x="16225" y="931"/>
                    <a:pt x="16214" y="920"/>
                  </a:cubicBezTo>
                  <a:cubicBezTo>
                    <a:pt x="16204" y="910"/>
                    <a:pt x="16209" y="884"/>
                    <a:pt x="16226" y="866"/>
                  </a:cubicBezTo>
                  <a:cubicBezTo>
                    <a:pt x="16242" y="847"/>
                    <a:pt x="16255" y="823"/>
                    <a:pt x="16254" y="812"/>
                  </a:cubicBezTo>
                  <a:cubicBezTo>
                    <a:pt x="16250" y="802"/>
                    <a:pt x="16262" y="785"/>
                    <a:pt x="16276" y="776"/>
                  </a:cubicBezTo>
                  <a:cubicBezTo>
                    <a:pt x="16289" y="765"/>
                    <a:pt x="16310" y="742"/>
                    <a:pt x="16323" y="721"/>
                  </a:cubicBezTo>
                  <a:cubicBezTo>
                    <a:pt x="16335" y="700"/>
                    <a:pt x="16368" y="664"/>
                    <a:pt x="16393" y="639"/>
                  </a:cubicBezTo>
                  <a:cubicBezTo>
                    <a:pt x="16420" y="614"/>
                    <a:pt x="16449" y="584"/>
                    <a:pt x="16455" y="571"/>
                  </a:cubicBezTo>
                  <a:cubicBezTo>
                    <a:pt x="16463" y="559"/>
                    <a:pt x="16488" y="531"/>
                    <a:pt x="16512" y="510"/>
                  </a:cubicBezTo>
                  <a:cubicBezTo>
                    <a:pt x="16535" y="488"/>
                    <a:pt x="16560" y="465"/>
                    <a:pt x="16564" y="457"/>
                  </a:cubicBezTo>
                  <a:cubicBezTo>
                    <a:pt x="16567" y="450"/>
                    <a:pt x="16564" y="444"/>
                    <a:pt x="16556" y="440"/>
                  </a:cubicBezTo>
                  <a:cubicBezTo>
                    <a:pt x="16547" y="439"/>
                    <a:pt x="16556" y="413"/>
                    <a:pt x="16577" y="384"/>
                  </a:cubicBezTo>
                  <a:cubicBezTo>
                    <a:pt x="16597" y="356"/>
                    <a:pt x="16614" y="324"/>
                    <a:pt x="16615" y="314"/>
                  </a:cubicBezTo>
                  <a:cubicBezTo>
                    <a:pt x="16619" y="304"/>
                    <a:pt x="16609" y="292"/>
                    <a:pt x="16601" y="285"/>
                  </a:cubicBezTo>
                  <a:cubicBezTo>
                    <a:pt x="16591" y="280"/>
                    <a:pt x="16592" y="264"/>
                    <a:pt x="16602" y="251"/>
                  </a:cubicBezTo>
                  <a:cubicBezTo>
                    <a:pt x="16612" y="238"/>
                    <a:pt x="16623" y="217"/>
                    <a:pt x="16628" y="205"/>
                  </a:cubicBezTo>
                  <a:cubicBezTo>
                    <a:pt x="16633" y="194"/>
                    <a:pt x="16647" y="179"/>
                    <a:pt x="16657" y="170"/>
                  </a:cubicBezTo>
                  <a:cubicBezTo>
                    <a:pt x="16669" y="164"/>
                    <a:pt x="16691" y="142"/>
                    <a:pt x="16708" y="124"/>
                  </a:cubicBezTo>
                  <a:cubicBezTo>
                    <a:pt x="16724" y="106"/>
                    <a:pt x="16729" y="91"/>
                    <a:pt x="16718" y="89"/>
                  </a:cubicBezTo>
                  <a:cubicBezTo>
                    <a:pt x="16707" y="88"/>
                    <a:pt x="16690" y="83"/>
                    <a:pt x="16683" y="75"/>
                  </a:cubicBezTo>
                  <a:cubicBezTo>
                    <a:pt x="16673" y="71"/>
                    <a:pt x="16659" y="67"/>
                    <a:pt x="16649" y="67"/>
                  </a:cubicBezTo>
                  <a:cubicBezTo>
                    <a:pt x="16639" y="69"/>
                    <a:pt x="16636" y="61"/>
                    <a:pt x="16646" y="53"/>
                  </a:cubicBezTo>
                  <a:cubicBezTo>
                    <a:pt x="16654" y="45"/>
                    <a:pt x="16667" y="27"/>
                    <a:pt x="16674" y="14"/>
                  </a:cubicBezTo>
                  <a:cubicBezTo>
                    <a:pt x="16680" y="0"/>
                    <a:pt x="16662" y="-4"/>
                    <a:pt x="16632" y="3"/>
                  </a:cubicBezTo>
                  <a:cubicBezTo>
                    <a:pt x="16603" y="10"/>
                    <a:pt x="16564" y="21"/>
                    <a:pt x="16545" y="23"/>
                  </a:cubicBezTo>
                  <a:cubicBezTo>
                    <a:pt x="16527" y="27"/>
                    <a:pt x="16497" y="39"/>
                    <a:pt x="16479" y="50"/>
                  </a:cubicBezTo>
                  <a:cubicBezTo>
                    <a:pt x="16462" y="63"/>
                    <a:pt x="16440" y="81"/>
                    <a:pt x="16434" y="93"/>
                  </a:cubicBezTo>
                  <a:cubicBezTo>
                    <a:pt x="16427" y="106"/>
                    <a:pt x="16391" y="136"/>
                    <a:pt x="16355" y="162"/>
                  </a:cubicBezTo>
                  <a:cubicBezTo>
                    <a:pt x="16319" y="186"/>
                    <a:pt x="16280" y="217"/>
                    <a:pt x="16267" y="229"/>
                  </a:cubicBezTo>
                  <a:cubicBezTo>
                    <a:pt x="16255" y="242"/>
                    <a:pt x="16222" y="258"/>
                    <a:pt x="16196" y="271"/>
                  </a:cubicBezTo>
                  <a:cubicBezTo>
                    <a:pt x="16170" y="282"/>
                    <a:pt x="16127" y="306"/>
                    <a:pt x="16103" y="326"/>
                  </a:cubicBezTo>
                  <a:cubicBezTo>
                    <a:pt x="16078" y="345"/>
                    <a:pt x="16062" y="368"/>
                    <a:pt x="16066" y="377"/>
                  </a:cubicBezTo>
                  <a:cubicBezTo>
                    <a:pt x="16070" y="386"/>
                    <a:pt x="16085" y="393"/>
                    <a:pt x="16098" y="390"/>
                  </a:cubicBezTo>
                  <a:cubicBezTo>
                    <a:pt x="16111" y="389"/>
                    <a:pt x="16134" y="384"/>
                    <a:pt x="16148" y="379"/>
                  </a:cubicBezTo>
                  <a:cubicBezTo>
                    <a:pt x="16163" y="374"/>
                    <a:pt x="16171" y="376"/>
                    <a:pt x="16168" y="383"/>
                  </a:cubicBezTo>
                  <a:cubicBezTo>
                    <a:pt x="16164" y="389"/>
                    <a:pt x="16129" y="425"/>
                    <a:pt x="16089" y="461"/>
                  </a:cubicBezTo>
                  <a:cubicBezTo>
                    <a:pt x="16049" y="497"/>
                    <a:pt x="16011" y="537"/>
                    <a:pt x="16001" y="548"/>
                  </a:cubicBezTo>
                  <a:cubicBezTo>
                    <a:pt x="15993" y="560"/>
                    <a:pt x="15964" y="583"/>
                    <a:pt x="15939" y="600"/>
                  </a:cubicBezTo>
                  <a:cubicBezTo>
                    <a:pt x="15914" y="616"/>
                    <a:pt x="15903" y="620"/>
                    <a:pt x="15914" y="606"/>
                  </a:cubicBezTo>
                  <a:cubicBezTo>
                    <a:pt x="15924" y="593"/>
                    <a:pt x="15928" y="580"/>
                    <a:pt x="15924" y="575"/>
                  </a:cubicBezTo>
                  <a:cubicBezTo>
                    <a:pt x="15918" y="571"/>
                    <a:pt x="15927" y="552"/>
                    <a:pt x="15945" y="532"/>
                  </a:cubicBezTo>
                  <a:cubicBezTo>
                    <a:pt x="15962" y="512"/>
                    <a:pt x="15970" y="492"/>
                    <a:pt x="15962" y="490"/>
                  </a:cubicBezTo>
                  <a:cubicBezTo>
                    <a:pt x="15954" y="486"/>
                    <a:pt x="15924" y="499"/>
                    <a:pt x="15896" y="516"/>
                  </a:cubicBezTo>
                  <a:cubicBezTo>
                    <a:pt x="15868" y="534"/>
                    <a:pt x="15824" y="567"/>
                    <a:pt x="15799" y="591"/>
                  </a:cubicBezTo>
                  <a:cubicBezTo>
                    <a:pt x="15775" y="614"/>
                    <a:pt x="15743" y="638"/>
                    <a:pt x="15730" y="644"/>
                  </a:cubicBezTo>
                  <a:cubicBezTo>
                    <a:pt x="15717" y="649"/>
                    <a:pt x="15686" y="676"/>
                    <a:pt x="15660" y="702"/>
                  </a:cubicBezTo>
                  <a:cubicBezTo>
                    <a:pt x="15634" y="728"/>
                    <a:pt x="15601" y="757"/>
                    <a:pt x="15587" y="766"/>
                  </a:cubicBezTo>
                  <a:cubicBezTo>
                    <a:pt x="15572" y="775"/>
                    <a:pt x="15533" y="810"/>
                    <a:pt x="15502" y="845"/>
                  </a:cubicBezTo>
                  <a:cubicBezTo>
                    <a:pt x="15470" y="880"/>
                    <a:pt x="15414" y="936"/>
                    <a:pt x="15375" y="967"/>
                  </a:cubicBezTo>
                  <a:cubicBezTo>
                    <a:pt x="15338" y="1001"/>
                    <a:pt x="15295" y="1042"/>
                    <a:pt x="15283" y="1059"/>
                  </a:cubicBezTo>
                  <a:cubicBezTo>
                    <a:pt x="15272" y="1078"/>
                    <a:pt x="15258" y="1103"/>
                    <a:pt x="15254" y="1116"/>
                  </a:cubicBezTo>
                  <a:cubicBezTo>
                    <a:pt x="15253" y="1130"/>
                    <a:pt x="15244" y="1149"/>
                    <a:pt x="15238" y="1159"/>
                  </a:cubicBezTo>
                  <a:cubicBezTo>
                    <a:pt x="15232" y="1169"/>
                    <a:pt x="15234" y="1179"/>
                    <a:pt x="15241" y="1177"/>
                  </a:cubicBezTo>
                  <a:cubicBezTo>
                    <a:pt x="15249" y="1176"/>
                    <a:pt x="15273" y="1165"/>
                    <a:pt x="15292" y="1149"/>
                  </a:cubicBezTo>
                  <a:cubicBezTo>
                    <a:pt x="15313" y="1135"/>
                    <a:pt x="15337" y="1116"/>
                    <a:pt x="15349" y="1114"/>
                  </a:cubicBezTo>
                  <a:cubicBezTo>
                    <a:pt x="15360" y="1109"/>
                    <a:pt x="15362" y="1113"/>
                    <a:pt x="15355" y="1124"/>
                  </a:cubicBezTo>
                  <a:cubicBezTo>
                    <a:pt x="15349" y="1135"/>
                    <a:pt x="15323" y="1156"/>
                    <a:pt x="15302" y="1173"/>
                  </a:cubicBezTo>
                  <a:cubicBezTo>
                    <a:pt x="15281" y="1190"/>
                    <a:pt x="15259" y="1209"/>
                    <a:pt x="15253" y="1216"/>
                  </a:cubicBezTo>
                  <a:cubicBezTo>
                    <a:pt x="15248" y="1223"/>
                    <a:pt x="15229" y="1231"/>
                    <a:pt x="15215" y="1240"/>
                  </a:cubicBezTo>
                  <a:cubicBezTo>
                    <a:pt x="15198" y="1243"/>
                    <a:pt x="15168" y="1262"/>
                    <a:pt x="15146" y="1277"/>
                  </a:cubicBezTo>
                  <a:cubicBezTo>
                    <a:pt x="15124" y="1291"/>
                    <a:pt x="15066" y="1333"/>
                    <a:pt x="15020" y="1371"/>
                  </a:cubicBezTo>
                  <a:cubicBezTo>
                    <a:pt x="14973" y="1408"/>
                    <a:pt x="14919" y="1455"/>
                    <a:pt x="14898" y="1474"/>
                  </a:cubicBezTo>
                  <a:cubicBezTo>
                    <a:pt x="14877" y="1493"/>
                    <a:pt x="14841" y="1543"/>
                    <a:pt x="14813" y="1582"/>
                  </a:cubicBezTo>
                  <a:cubicBezTo>
                    <a:pt x="14789" y="1623"/>
                    <a:pt x="14763" y="1666"/>
                    <a:pt x="14765" y="1678"/>
                  </a:cubicBezTo>
                  <a:cubicBezTo>
                    <a:pt x="14762" y="1690"/>
                    <a:pt x="14758" y="1711"/>
                    <a:pt x="14750" y="1723"/>
                  </a:cubicBezTo>
                  <a:cubicBezTo>
                    <a:pt x="14744" y="1736"/>
                    <a:pt x="14725" y="1762"/>
                    <a:pt x="14707" y="1778"/>
                  </a:cubicBezTo>
                  <a:cubicBezTo>
                    <a:pt x="14691" y="1796"/>
                    <a:pt x="14679" y="1813"/>
                    <a:pt x="14681" y="1818"/>
                  </a:cubicBezTo>
                  <a:cubicBezTo>
                    <a:pt x="14681" y="1823"/>
                    <a:pt x="14682" y="1836"/>
                    <a:pt x="14678" y="1847"/>
                  </a:cubicBezTo>
                  <a:cubicBezTo>
                    <a:pt x="14674" y="1858"/>
                    <a:pt x="14685" y="1862"/>
                    <a:pt x="14700" y="1853"/>
                  </a:cubicBezTo>
                  <a:cubicBezTo>
                    <a:pt x="14715" y="1846"/>
                    <a:pt x="14733" y="1841"/>
                    <a:pt x="14739" y="1839"/>
                  </a:cubicBezTo>
                  <a:cubicBezTo>
                    <a:pt x="14745" y="1839"/>
                    <a:pt x="14746" y="1853"/>
                    <a:pt x="14741" y="1869"/>
                  </a:cubicBezTo>
                  <a:cubicBezTo>
                    <a:pt x="14734" y="1886"/>
                    <a:pt x="14741" y="1900"/>
                    <a:pt x="14753" y="1902"/>
                  </a:cubicBezTo>
                  <a:cubicBezTo>
                    <a:pt x="14766" y="1903"/>
                    <a:pt x="14774" y="1915"/>
                    <a:pt x="14779" y="1925"/>
                  </a:cubicBezTo>
                  <a:cubicBezTo>
                    <a:pt x="14780" y="1936"/>
                    <a:pt x="14790" y="1942"/>
                    <a:pt x="14801" y="1937"/>
                  </a:cubicBezTo>
                  <a:cubicBezTo>
                    <a:pt x="14811" y="1931"/>
                    <a:pt x="14840" y="1910"/>
                    <a:pt x="14864" y="1886"/>
                  </a:cubicBezTo>
                  <a:cubicBezTo>
                    <a:pt x="14888" y="1863"/>
                    <a:pt x="14894" y="1860"/>
                    <a:pt x="14880" y="1881"/>
                  </a:cubicBezTo>
                  <a:cubicBezTo>
                    <a:pt x="14864" y="1901"/>
                    <a:pt x="14853" y="1935"/>
                    <a:pt x="14848" y="1954"/>
                  </a:cubicBezTo>
                  <a:cubicBezTo>
                    <a:pt x="14848" y="1973"/>
                    <a:pt x="14863" y="1984"/>
                    <a:pt x="14887" y="1978"/>
                  </a:cubicBezTo>
                  <a:cubicBezTo>
                    <a:pt x="14912" y="1971"/>
                    <a:pt x="14939" y="1971"/>
                    <a:pt x="14947" y="1973"/>
                  </a:cubicBezTo>
                  <a:cubicBezTo>
                    <a:pt x="14952" y="1978"/>
                    <a:pt x="14976" y="1972"/>
                    <a:pt x="14993" y="1964"/>
                  </a:cubicBezTo>
                  <a:cubicBezTo>
                    <a:pt x="15010" y="1955"/>
                    <a:pt x="15040" y="1946"/>
                    <a:pt x="15058" y="1942"/>
                  </a:cubicBezTo>
                  <a:cubicBezTo>
                    <a:pt x="15077" y="1938"/>
                    <a:pt x="15087" y="1946"/>
                    <a:pt x="15078" y="1960"/>
                  </a:cubicBezTo>
                  <a:cubicBezTo>
                    <a:pt x="15068" y="1973"/>
                    <a:pt x="15035" y="2017"/>
                    <a:pt x="15000" y="2055"/>
                  </a:cubicBezTo>
                  <a:cubicBezTo>
                    <a:pt x="14966" y="2095"/>
                    <a:pt x="14917" y="2140"/>
                    <a:pt x="14892" y="2157"/>
                  </a:cubicBezTo>
                  <a:cubicBezTo>
                    <a:pt x="14867" y="2174"/>
                    <a:pt x="14843" y="2185"/>
                    <a:pt x="14839" y="2185"/>
                  </a:cubicBezTo>
                  <a:cubicBezTo>
                    <a:pt x="14835" y="2183"/>
                    <a:pt x="14843" y="2170"/>
                    <a:pt x="14853" y="2150"/>
                  </a:cubicBezTo>
                  <a:cubicBezTo>
                    <a:pt x="14865" y="2132"/>
                    <a:pt x="14892" y="2103"/>
                    <a:pt x="14914" y="2088"/>
                  </a:cubicBezTo>
                  <a:cubicBezTo>
                    <a:pt x="14936" y="2072"/>
                    <a:pt x="14937" y="2062"/>
                    <a:pt x="14918" y="2065"/>
                  </a:cubicBezTo>
                  <a:cubicBezTo>
                    <a:pt x="14899" y="2070"/>
                    <a:pt x="14864" y="2083"/>
                    <a:pt x="14839" y="2095"/>
                  </a:cubicBezTo>
                  <a:cubicBezTo>
                    <a:pt x="14817" y="2110"/>
                    <a:pt x="14773" y="2139"/>
                    <a:pt x="14746" y="2164"/>
                  </a:cubicBezTo>
                  <a:cubicBezTo>
                    <a:pt x="14718" y="2190"/>
                    <a:pt x="14703" y="2212"/>
                    <a:pt x="14708" y="2217"/>
                  </a:cubicBezTo>
                  <a:cubicBezTo>
                    <a:pt x="14714" y="2222"/>
                    <a:pt x="14713" y="2233"/>
                    <a:pt x="14706" y="2245"/>
                  </a:cubicBezTo>
                  <a:cubicBezTo>
                    <a:pt x="14698" y="2256"/>
                    <a:pt x="14667" y="2283"/>
                    <a:pt x="14636" y="2303"/>
                  </a:cubicBezTo>
                  <a:cubicBezTo>
                    <a:pt x="14605" y="2324"/>
                    <a:pt x="14565" y="2355"/>
                    <a:pt x="14547" y="2371"/>
                  </a:cubicBezTo>
                  <a:cubicBezTo>
                    <a:pt x="14529" y="2389"/>
                    <a:pt x="14503" y="2405"/>
                    <a:pt x="14492" y="2411"/>
                  </a:cubicBezTo>
                  <a:cubicBezTo>
                    <a:pt x="14479" y="2414"/>
                    <a:pt x="14447" y="2442"/>
                    <a:pt x="14424" y="2471"/>
                  </a:cubicBezTo>
                  <a:cubicBezTo>
                    <a:pt x="14398" y="2498"/>
                    <a:pt x="14379" y="2526"/>
                    <a:pt x="14379" y="2530"/>
                  </a:cubicBezTo>
                  <a:cubicBezTo>
                    <a:pt x="14378" y="2534"/>
                    <a:pt x="14390" y="2532"/>
                    <a:pt x="14404" y="2528"/>
                  </a:cubicBezTo>
                  <a:cubicBezTo>
                    <a:pt x="14416" y="2522"/>
                    <a:pt x="14432" y="2522"/>
                    <a:pt x="14439" y="2524"/>
                  </a:cubicBezTo>
                  <a:cubicBezTo>
                    <a:pt x="14444" y="2528"/>
                    <a:pt x="14466" y="2520"/>
                    <a:pt x="14487" y="2509"/>
                  </a:cubicBezTo>
                  <a:cubicBezTo>
                    <a:pt x="14506" y="2498"/>
                    <a:pt x="14539" y="2476"/>
                    <a:pt x="14554" y="2457"/>
                  </a:cubicBezTo>
                  <a:cubicBezTo>
                    <a:pt x="14571" y="2439"/>
                    <a:pt x="14585" y="2420"/>
                    <a:pt x="14585" y="2414"/>
                  </a:cubicBezTo>
                  <a:cubicBezTo>
                    <a:pt x="14585" y="2409"/>
                    <a:pt x="14600" y="2398"/>
                    <a:pt x="14616" y="2388"/>
                  </a:cubicBezTo>
                  <a:cubicBezTo>
                    <a:pt x="14633" y="2379"/>
                    <a:pt x="14661" y="2363"/>
                    <a:pt x="14675" y="2350"/>
                  </a:cubicBezTo>
                  <a:cubicBezTo>
                    <a:pt x="14692" y="2339"/>
                    <a:pt x="14704" y="2333"/>
                    <a:pt x="14709" y="2337"/>
                  </a:cubicBezTo>
                  <a:cubicBezTo>
                    <a:pt x="14714" y="2341"/>
                    <a:pt x="14703" y="2360"/>
                    <a:pt x="14692" y="2378"/>
                  </a:cubicBezTo>
                  <a:cubicBezTo>
                    <a:pt x="14679" y="2394"/>
                    <a:pt x="14650" y="2430"/>
                    <a:pt x="14626" y="2456"/>
                  </a:cubicBezTo>
                  <a:cubicBezTo>
                    <a:pt x="14601" y="2482"/>
                    <a:pt x="14565" y="2523"/>
                    <a:pt x="14550" y="2548"/>
                  </a:cubicBezTo>
                  <a:cubicBezTo>
                    <a:pt x="14533" y="2573"/>
                    <a:pt x="14516" y="2601"/>
                    <a:pt x="14511" y="2611"/>
                  </a:cubicBezTo>
                  <a:cubicBezTo>
                    <a:pt x="14508" y="2621"/>
                    <a:pt x="14488" y="2646"/>
                    <a:pt x="14466" y="2665"/>
                  </a:cubicBezTo>
                  <a:cubicBezTo>
                    <a:pt x="14445" y="2684"/>
                    <a:pt x="14404" y="2711"/>
                    <a:pt x="14375" y="2725"/>
                  </a:cubicBezTo>
                  <a:cubicBezTo>
                    <a:pt x="14344" y="2737"/>
                    <a:pt x="14300" y="2771"/>
                    <a:pt x="14271" y="2796"/>
                  </a:cubicBezTo>
                  <a:cubicBezTo>
                    <a:pt x="14245" y="2823"/>
                    <a:pt x="14209" y="2848"/>
                    <a:pt x="14196" y="2857"/>
                  </a:cubicBezTo>
                  <a:cubicBezTo>
                    <a:pt x="14182" y="2865"/>
                    <a:pt x="14167" y="2878"/>
                    <a:pt x="14164" y="2887"/>
                  </a:cubicBezTo>
                  <a:cubicBezTo>
                    <a:pt x="14159" y="2896"/>
                    <a:pt x="14143" y="2919"/>
                    <a:pt x="14125" y="2937"/>
                  </a:cubicBezTo>
                  <a:cubicBezTo>
                    <a:pt x="14108" y="2956"/>
                    <a:pt x="14051" y="3001"/>
                    <a:pt x="13997" y="3035"/>
                  </a:cubicBezTo>
                  <a:cubicBezTo>
                    <a:pt x="13945" y="3071"/>
                    <a:pt x="13886" y="3115"/>
                    <a:pt x="13867" y="3134"/>
                  </a:cubicBezTo>
                  <a:cubicBezTo>
                    <a:pt x="13847" y="3153"/>
                    <a:pt x="13817" y="3178"/>
                    <a:pt x="13797" y="3188"/>
                  </a:cubicBezTo>
                  <a:cubicBezTo>
                    <a:pt x="13778" y="3199"/>
                    <a:pt x="13761" y="3202"/>
                    <a:pt x="13761" y="3195"/>
                  </a:cubicBezTo>
                  <a:cubicBezTo>
                    <a:pt x="13762" y="3188"/>
                    <a:pt x="13753" y="3186"/>
                    <a:pt x="13746" y="3188"/>
                  </a:cubicBezTo>
                  <a:cubicBezTo>
                    <a:pt x="13739" y="3191"/>
                    <a:pt x="13731" y="3187"/>
                    <a:pt x="13731" y="3181"/>
                  </a:cubicBezTo>
                  <a:cubicBezTo>
                    <a:pt x="13730" y="3175"/>
                    <a:pt x="13715" y="3185"/>
                    <a:pt x="13698" y="3203"/>
                  </a:cubicBezTo>
                  <a:cubicBezTo>
                    <a:pt x="13680" y="3221"/>
                    <a:pt x="13655" y="3243"/>
                    <a:pt x="13642" y="3251"/>
                  </a:cubicBezTo>
                  <a:cubicBezTo>
                    <a:pt x="13629" y="3258"/>
                    <a:pt x="13627" y="3258"/>
                    <a:pt x="13635" y="3248"/>
                  </a:cubicBezTo>
                  <a:cubicBezTo>
                    <a:pt x="13644" y="3238"/>
                    <a:pt x="13651" y="3225"/>
                    <a:pt x="13648" y="3222"/>
                  </a:cubicBezTo>
                  <a:cubicBezTo>
                    <a:pt x="13648" y="3217"/>
                    <a:pt x="13621" y="3231"/>
                    <a:pt x="13595" y="3254"/>
                  </a:cubicBezTo>
                  <a:cubicBezTo>
                    <a:pt x="13567" y="3277"/>
                    <a:pt x="13531" y="3317"/>
                    <a:pt x="13512" y="3342"/>
                  </a:cubicBezTo>
                  <a:cubicBezTo>
                    <a:pt x="13493" y="3367"/>
                    <a:pt x="13455" y="3411"/>
                    <a:pt x="13428" y="3440"/>
                  </a:cubicBezTo>
                  <a:cubicBezTo>
                    <a:pt x="13400" y="3469"/>
                    <a:pt x="13369" y="3502"/>
                    <a:pt x="13360" y="3512"/>
                  </a:cubicBezTo>
                  <a:cubicBezTo>
                    <a:pt x="13349" y="3522"/>
                    <a:pt x="13343" y="3537"/>
                    <a:pt x="13349" y="3542"/>
                  </a:cubicBezTo>
                  <a:cubicBezTo>
                    <a:pt x="13351" y="3549"/>
                    <a:pt x="13352" y="3563"/>
                    <a:pt x="13347" y="3576"/>
                  </a:cubicBezTo>
                  <a:cubicBezTo>
                    <a:pt x="13342" y="3588"/>
                    <a:pt x="13317" y="3622"/>
                    <a:pt x="13293" y="3653"/>
                  </a:cubicBezTo>
                  <a:cubicBezTo>
                    <a:pt x="13269" y="3684"/>
                    <a:pt x="13244" y="3720"/>
                    <a:pt x="13236" y="3732"/>
                  </a:cubicBezTo>
                  <a:cubicBezTo>
                    <a:pt x="13230" y="3745"/>
                    <a:pt x="13227" y="3761"/>
                    <a:pt x="13226" y="3770"/>
                  </a:cubicBezTo>
                  <a:cubicBezTo>
                    <a:pt x="13229" y="3777"/>
                    <a:pt x="13215" y="3796"/>
                    <a:pt x="13198" y="3810"/>
                  </a:cubicBezTo>
                  <a:cubicBezTo>
                    <a:pt x="13181" y="3824"/>
                    <a:pt x="13151" y="3855"/>
                    <a:pt x="13132" y="3880"/>
                  </a:cubicBezTo>
                  <a:cubicBezTo>
                    <a:pt x="13114" y="3904"/>
                    <a:pt x="13102" y="3920"/>
                    <a:pt x="13109" y="3918"/>
                  </a:cubicBezTo>
                  <a:cubicBezTo>
                    <a:pt x="13115" y="3915"/>
                    <a:pt x="13133" y="3904"/>
                    <a:pt x="13148" y="3894"/>
                  </a:cubicBezTo>
                  <a:cubicBezTo>
                    <a:pt x="13164" y="3885"/>
                    <a:pt x="13190" y="3862"/>
                    <a:pt x="13204" y="3844"/>
                  </a:cubicBezTo>
                  <a:cubicBezTo>
                    <a:pt x="13220" y="3827"/>
                    <a:pt x="13247" y="3810"/>
                    <a:pt x="13265" y="3804"/>
                  </a:cubicBezTo>
                  <a:cubicBezTo>
                    <a:pt x="13281" y="3798"/>
                    <a:pt x="13315" y="3782"/>
                    <a:pt x="13335" y="3764"/>
                  </a:cubicBezTo>
                  <a:cubicBezTo>
                    <a:pt x="13357" y="3748"/>
                    <a:pt x="13355" y="3749"/>
                    <a:pt x="13334" y="3772"/>
                  </a:cubicBezTo>
                  <a:cubicBezTo>
                    <a:pt x="13314" y="3795"/>
                    <a:pt x="13279" y="3817"/>
                    <a:pt x="13261" y="3827"/>
                  </a:cubicBezTo>
                  <a:cubicBezTo>
                    <a:pt x="13241" y="3836"/>
                    <a:pt x="13206" y="3863"/>
                    <a:pt x="13180" y="3887"/>
                  </a:cubicBezTo>
                  <a:cubicBezTo>
                    <a:pt x="13153" y="3912"/>
                    <a:pt x="13110" y="3946"/>
                    <a:pt x="13081" y="3964"/>
                  </a:cubicBezTo>
                  <a:cubicBezTo>
                    <a:pt x="13053" y="3982"/>
                    <a:pt x="13017" y="4012"/>
                    <a:pt x="13007" y="4035"/>
                  </a:cubicBezTo>
                  <a:cubicBezTo>
                    <a:pt x="12994" y="4055"/>
                    <a:pt x="12970" y="4086"/>
                    <a:pt x="12951" y="4102"/>
                  </a:cubicBezTo>
                  <a:cubicBezTo>
                    <a:pt x="12934" y="4119"/>
                    <a:pt x="12910" y="4126"/>
                    <a:pt x="12899" y="4123"/>
                  </a:cubicBezTo>
                  <a:cubicBezTo>
                    <a:pt x="12889" y="4119"/>
                    <a:pt x="12865" y="4121"/>
                    <a:pt x="12845" y="4128"/>
                  </a:cubicBezTo>
                  <a:cubicBezTo>
                    <a:pt x="12825" y="4136"/>
                    <a:pt x="12802" y="4138"/>
                    <a:pt x="12798" y="4131"/>
                  </a:cubicBezTo>
                  <a:cubicBezTo>
                    <a:pt x="12791" y="4125"/>
                    <a:pt x="12774" y="4132"/>
                    <a:pt x="12757" y="4146"/>
                  </a:cubicBezTo>
                  <a:cubicBezTo>
                    <a:pt x="12741" y="4161"/>
                    <a:pt x="12719" y="4194"/>
                    <a:pt x="12711" y="4220"/>
                  </a:cubicBezTo>
                  <a:cubicBezTo>
                    <a:pt x="12701" y="4246"/>
                    <a:pt x="12666" y="4302"/>
                    <a:pt x="12632" y="4346"/>
                  </a:cubicBezTo>
                  <a:cubicBezTo>
                    <a:pt x="12596" y="4388"/>
                    <a:pt x="12592" y="4390"/>
                    <a:pt x="12618" y="4347"/>
                  </a:cubicBezTo>
                  <a:cubicBezTo>
                    <a:pt x="12644" y="4305"/>
                    <a:pt x="12672" y="4253"/>
                    <a:pt x="12674" y="4233"/>
                  </a:cubicBezTo>
                  <a:cubicBezTo>
                    <a:pt x="12680" y="4213"/>
                    <a:pt x="12679" y="4186"/>
                    <a:pt x="12677" y="4173"/>
                  </a:cubicBezTo>
                  <a:cubicBezTo>
                    <a:pt x="12673" y="4161"/>
                    <a:pt x="12686" y="4128"/>
                    <a:pt x="12705" y="4101"/>
                  </a:cubicBezTo>
                  <a:cubicBezTo>
                    <a:pt x="12724" y="4074"/>
                    <a:pt x="12746" y="4050"/>
                    <a:pt x="12753" y="4044"/>
                  </a:cubicBezTo>
                  <a:cubicBezTo>
                    <a:pt x="12761" y="4041"/>
                    <a:pt x="12763" y="4055"/>
                    <a:pt x="12759" y="4076"/>
                  </a:cubicBezTo>
                  <a:cubicBezTo>
                    <a:pt x="12751" y="4096"/>
                    <a:pt x="12773" y="4098"/>
                    <a:pt x="12801" y="4078"/>
                  </a:cubicBezTo>
                  <a:cubicBezTo>
                    <a:pt x="12829" y="4058"/>
                    <a:pt x="12851" y="4052"/>
                    <a:pt x="12853" y="4064"/>
                  </a:cubicBezTo>
                  <a:cubicBezTo>
                    <a:pt x="12852" y="4077"/>
                    <a:pt x="12867" y="4086"/>
                    <a:pt x="12884" y="4086"/>
                  </a:cubicBezTo>
                  <a:cubicBezTo>
                    <a:pt x="12901" y="4085"/>
                    <a:pt x="12929" y="4071"/>
                    <a:pt x="12948" y="4055"/>
                  </a:cubicBezTo>
                  <a:cubicBezTo>
                    <a:pt x="12966" y="4039"/>
                    <a:pt x="12989" y="4014"/>
                    <a:pt x="12998" y="3998"/>
                  </a:cubicBezTo>
                  <a:cubicBezTo>
                    <a:pt x="13007" y="3983"/>
                    <a:pt x="13031" y="3949"/>
                    <a:pt x="13051" y="3923"/>
                  </a:cubicBezTo>
                  <a:cubicBezTo>
                    <a:pt x="13071" y="3897"/>
                    <a:pt x="13072" y="3885"/>
                    <a:pt x="13054" y="3897"/>
                  </a:cubicBezTo>
                  <a:cubicBezTo>
                    <a:pt x="13036" y="3910"/>
                    <a:pt x="13013" y="3921"/>
                    <a:pt x="13003" y="3923"/>
                  </a:cubicBezTo>
                  <a:cubicBezTo>
                    <a:pt x="12993" y="3922"/>
                    <a:pt x="13000" y="3914"/>
                    <a:pt x="13017" y="3899"/>
                  </a:cubicBezTo>
                  <a:cubicBezTo>
                    <a:pt x="13035" y="3885"/>
                    <a:pt x="13068" y="3853"/>
                    <a:pt x="13089" y="3829"/>
                  </a:cubicBezTo>
                  <a:cubicBezTo>
                    <a:pt x="13112" y="3806"/>
                    <a:pt x="13118" y="3788"/>
                    <a:pt x="13106" y="3793"/>
                  </a:cubicBezTo>
                  <a:cubicBezTo>
                    <a:pt x="13092" y="3797"/>
                    <a:pt x="13068" y="3817"/>
                    <a:pt x="13047" y="3833"/>
                  </a:cubicBezTo>
                  <a:cubicBezTo>
                    <a:pt x="13028" y="3850"/>
                    <a:pt x="12990" y="3881"/>
                    <a:pt x="12960" y="3897"/>
                  </a:cubicBezTo>
                  <a:cubicBezTo>
                    <a:pt x="12932" y="3916"/>
                    <a:pt x="12914" y="3921"/>
                    <a:pt x="12920" y="3910"/>
                  </a:cubicBezTo>
                  <a:cubicBezTo>
                    <a:pt x="12925" y="3898"/>
                    <a:pt x="12953" y="3872"/>
                    <a:pt x="12980" y="3851"/>
                  </a:cubicBezTo>
                  <a:cubicBezTo>
                    <a:pt x="13007" y="3830"/>
                    <a:pt x="13036" y="3799"/>
                    <a:pt x="13044" y="3782"/>
                  </a:cubicBezTo>
                  <a:cubicBezTo>
                    <a:pt x="13053" y="3765"/>
                    <a:pt x="13051" y="3756"/>
                    <a:pt x="13040" y="3762"/>
                  </a:cubicBezTo>
                  <a:cubicBezTo>
                    <a:pt x="13029" y="3767"/>
                    <a:pt x="13005" y="3783"/>
                    <a:pt x="12986" y="3796"/>
                  </a:cubicBezTo>
                  <a:cubicBezTo>
                    <a:pt x="12967" y="3810"/>
                    <a:pt x="12955" y="3813"/>
                    <a:pt x="12958" y="3804"/>
                  </a:cubicBezTo>
                  <a:cubicBezTo>
                    <a:pt x="12962" y="3794"/>
                    <a:pt x="12982" y="3759"/>
                    <a:pt x="13005" y="3727"/>
                  </a:cubicBezTo>
                  <a:cubicBezTo>
                    <a:pt x="13029" y="3695"/>
                    <a:pt x="13063" y="3650"/>
                    <a:pt x="13083" y="3629"/>
                  </a:cubicBezTo>
                  <a:cubicBezTo>
                    <a:pt x="13104" y="3609"/>
                    <a:pt x="13116" y="3602"/>
                    <a:pt x="13113" y="3615"/>
                  </a:cubicBezTo>
                  <a:cubicBezTo>
                    <a:pt x="13110" y="3628"/>
                    <a:pt x="13116" y="3627"/>
                    <a:pt x="13129" y="3615"/>
                  </a:cubicBezTo>
                  <a:cubicBezTo>
                    <a:pt x="13141" y="3601"/>
                    <a:pt x="13156" y="3582"/>
                    <a:pt x="13163" y="3571"/>
                  </a:cubicBezTo>
                  <a:cubicBezTo>
                    <a:pt x="13166" y="3559"/>
                    <a:pt x="13208" y="3522"/>
                    <a:pt x="13246" y="3486"/>
                  </a:cubicBezTo>
                  <a:cubicBezTo>
                    <a:pt x="13286" y="3451"/>
                    <a:pt x="13324" y="3411"/>
                    <a:pt x="13333" y="3400"/>
                  </a:cubicBezTo>
                  <a:cubicBezTo>
                    <a:pt x="13340" y="3388"/>
                    <a:pt x="13376" y="3356"/>
                    <a:pt x="13413" y="3328"/>
                  </a:cubicBezTo>
                  <a:cubicBezTo>
                    <a:pt x="13449" y="3300"/>
                    <a:pt x="13489" y="3259"/>
                    <a:pt x="13504" y="3238"/>
                  </a:cubicBezTo>
                  <a:cubicBezTo>
                    <a:pt x="13514" y="3215"/>
                    <a:pt x="13542" y="3188"/>
                    <a:pt x="13558" y="3172"/>
                  </a:cubicBezTo>
                  <a:cubicBezTo>
                    <a:pt x="13574" y="3157"/>
                    <a:pt x="13600" y="3137"/>
                    <a:pt x="13616" y="3129"/>
                  </a:cubicBezTo>
                  <a:cubicBezTo>
                    <a:pt x="13632" y="3121"/>
                    <a:pt x="13646" y="3106"/>
                    <a:pt x="13651" y="3099"/>
                  </a:cubicBezTo>
                  <a:cubicBezTo>
                    <a:pt x="13656" y="3092"/>
                    <a:pt x="13644" y="3091"/>
                    <a:pt x="13626" y="3097"/>
                  </a:cubicBezTo>
                  <a:cubicBezTo>
                    <a:pt x="13607" y="3103"/>
                    <a:pt x="13570" y="3121"/>
                    <a:pt x="13545" y="3137"/>
                  </a:cubicBezTo>
                  <a:cubicBezTo>
                    <a:pt x="13518" y="3153"/>
                    <a:pt x="13478" y="3183"/>
                    <a:pt x="13458" y="3207"/>
                  </a:cubicBezTo>
                  <a:cubicBezTo>
                    <a:pt x="13437" y="3229"/>
                    <a:pt x="13396" y="3266"/>
                    <a:pt x="13369" y="3289"/>
                  </a:cubicBezTo>
                  <a:cubicBezTo>
                    <a:pt x="13339" y="3310"/>
                    <a:pt x="13309" y="3332"/>
                    <a:pt x="13298" y="3330"/>
                  </a:cubicBezTo>
                  <a:cubicBezTo>
                    <a:pt x="13288" y="3331"/>
                    <a:pt x="13286" y="3325"/>
                    <a:pt x="13293" y="3316"/>
                  </a:cubicBezTo>
                  <a:cubicBezTo>
                    <a:pt x="13300" y="3308"/>
                    <a:pt x="13327" y="3286"/>
                    <a:pt x="13353" y="3269"/>
                  </a:cubicBezTo>
                  <a:cubicBezTo>
                    <a:pt x="13380" y="3251"/>
                    <a:pt x="13412" y="3224"/>
                    <a:pt x="13423" y="3208"/>
                  </a:cubicBezTo>
                  <a:cubicBezTo>
                    <a:pt x="13436" y="3192"/>
                    <a:pt x="13438" y="3180"/>
                    <a:pt x="13429" y="3177"/>
                  </a:cubicBezTo>
                  <a:cubicBezTo>
                    <a:pt x="13420" y="3178"/>
                    <a:pt x="13400" y="3186"/>
                    <a:pt x="13382" y="3194"/>
                  </a:cubicBezTo>
                  <a:cubicBezTo>
                    <a:pt x="13365" y="3205"/>
                    <a:pt x="13346" y="3207"/>
                    <a:pt x="13343" y="3200"/>
                  </a:cubicBezTo>
                  <a:cubicBezTo>
                    <a:pt x="13339" y="3192"/>
                    <a:pt x="13343" y="3174"/>
                    <a:pt x="13357" y="3162"/>
                  </a:cubicBezTo>
                  <a:cubicBezTo>
                    <a:pt x="13369" y="3148"/>
                    <a:pt x="13388" y="3119"/>
                    <a:pt x="13403" y="3099"/>
                  </a:cubicBezTo>
                  <a:cubicBezTo>
                    <a:pt x="13416" y="3078"/>
                    <a:pt x="13421" y="3056"/>
                    <a:pt x="13412" y="3053"/>
                  </a:cubicBezTo>
                  <a:cubicBezTo>
                    <a:pt x="13405" y="3047"/>
                    <a:pt x="13389" y="3050"/>
                    <a:pt x="13377" y="3056"/>
                  </a:cubicBezTo>
                  <a:cubicBezTo>
                    <a:pt x="13367" y="3063"/>
                    <a:pt x="13348" y="3078"/>
                    <a:pt x="13338" y="3092"/>
                  </a:cubicBezTo>
                  <a:cubicBezTo>
                    <a:pt x="13327" y="3105"/>
                    <a:pt x="13324" y="3108"/>
                    <a:pt x="13328" y="3098"/>
                  </a:cubicBezTo>
                  <a:cubicBezTo>
                    <a:pt x="13334" y="3088"/>
                    <a:pt x="13346" y="3069"/>
                    <a:pt x="13359" y="3057"/>
                  </a:cubicBezTo>
                  <a:cubicBezTo>
                    <a:pt x="13369" y="3043"/>
                    <a:pt x="13378" y="3026"/>
                    <a:pt x="13378" y="3015"/>
                  </a:cubicBezTo>
                  <a:cubicBezTo>
                    <a:pt x="13377" y="3005"/>
                    <a:pt x="13363" y="3002"/>
                    <a:pt x="13347" y="3009"/>
                  </a:cubicBezTo>
                  <a:cubicBezTo>
                    <a:pt x="13330" y="3015"/>
                    <a:pt x="13304" y="3039"/>
                    <a:pt x="13288" y="3059"/>
                  </a:cubicBezTo>
                  <a:cubicBezTo>
                    <a:pt x="13271" y="3079"/>
                    <a:pt x="13239" y="3111"/>
                    <a:pt x="13214" y="3129"/>
                  </a:cubicBezTo>
                  <a:cubicBezTo>
                    <a:pt x="13191" y="3149"/>
                    <a:pt x="13164" y="3169"/>
                    <a:pt x="13157" y="3177"/>
                  </a:cubicBezTo>
                  <a:cubicBezTo>
                    <a:pt x="13149" y="3185"/>
                    <a:pt x="13138" y="3195"/>
                    <a:pt x="13134" y="3191"/>
                  </a:cubicBezTo>
                  <a:cubicBezTo>
                    <a:pt x="13128" y="3191"/>
                    <a:pt x="13131" y="3181"/>
                    <a:pt x="13136" y="3169"/>
                  </a:cubicBezTo>
                  <a:cubicBezTo>
                    <a:pt x="13143" y="3158"/>
                    <a:pt x="13147" y="3141"/>
                    <a:pt x="13143" y="3133"/>
                  </a:cubicBezTo>
                  <a:cubicBezTo>
                    <a:pt x="13138" y="3125"/>
                    <a:pt x="13127" y="3122"/>
                    <a:pt x="13113" y="3127"/>
                  </a:cubicBezTo>
                  <a:cubicBezTo>
                    <a:pt x="13099" y="3133"/>
                    <a:pt x="13081" y="3148"/>
                    <a:pt x="13072" y="3159"/>
                  </a:cubicBezTo>
                  <a:cubicBezTo>
                    <a:pt x="13062" y="3171"/>
                    <a:pt x="13057" y="3187"/>
                    <a:pt x="13056" y="3194"/>
                  </a:cubicBezTo>
                  <a:cubicBezTo>
                    <a:pt x="13056" y="3201"/>
                    <a:pt x="13046" y="3216"/>
                    <a:pt x="13036" y="3228"/>
                  </a:cubicBezTo>
                  <a:cubicBezTo>
                    <a:pt x="13024" y="3239"/>
                    <a:pt x="13014" y="3259"/>
                    <a:pt x="13016" y="3269"/>
                  </a:cubicBezTo>
                  <a:cubicBezTo>
                    <a:pt x="13016" y="3280"/>
                    <a:pt x="13012" y="3299"/>
                    <a:pt x="13004" y="3310"/>
                  </a:cubicBezTo>
                  <a:cubicBezTo>
                    <a:pt x="13000" y="3323"/>
                    <a:pt x="12981" y="3341"/>
                    <a:pt x="12967" y="3354"/>
                  </a:cubicBezTo>
                  <a:cubicBezTo>
                    <a:pt x="12953" y="3366"/>
                    <a:pt x="12939" y="3372"/>
                    <a:pt x="12935" y="3369"/>
                  </a:cubicBezTo>
                  <a:cubicBezTo>
                    <a:pt x="12931" y="3365"/>
                    <a:pt x="12933" y="3353"/>
                    <a:pt x="12938" y="3342"/>
                  </a:cubicBezTo>
                  <a:cubicBezTo>
                    <a:pt x="12943" y="3331"/>
                    <a:pt x="12943" y="3324"/>
                    <a:pt x="12937" y="3325"/>
                  </a:cubicBezTo>
                  <a:cubicBezTo>
                    <a:pt x="12930" y="3326"/>
                    <a:pt x="12915" y="3339"/>
                    <a:pt x="12905" y="3353"/>
                  </a:cubicBezTo>
                  <a:cubicBezTo>
                    <a:pt x="12893" y="3366"/>
                    <a:pt x="12876" y="3403"/>
                    <a:pt x="12868" y="3433"/>
                  </a:cubicBezTo>
                  <a:cubicBezTo>
                    <a:pt x="12858" y="3463"/>
                    <a:pt x="12846" y="3507"/>
                    <a:pt x="12837" y="3529"/>
                  </a:cubicBezTo>
                  <a:cubicBezTo>
                    <a:pt x="12829" y="3551"/>
                    <a:pt x="12840" y="3567"/>
                    <a:pt x="12860" y="3568"/>
                  </a:cubicBezTo>
                  <a:cubicBezTo>
                    <a:pt x="12880" y="3565"/>
                    <a:pt x="12898" y="3573"/>
                    <a:pt x="12902" y="3580"/>
                  </a:cubicBezTo>
                  <a:cubicBezTo>
                    <a:pt x="12906" y="3588"/>
                    <a:pt x="12891" y="3624"/>
                    <a:pt x="12870" y="3661"/>
                  </a:cubicBezTo>
                  <a:cubicBezTo>
                    <a:pt x="12850" y="3698"/>
                    <a:pt x="12836" y="3714"/>
                    <a:pt x="12841" y="3697"/>
                  </a:cubicBezTo>
                  <a:cubicBezTo>
                    <a:pt x="12844" y="3680"/>
                    <a:pt x="12841" y="3665"/>
                    <a:pt x="12835" y="3659"/>
                  </a:cubicBezTo>
                  <a:cubicBezTo>
                    <a:pt x="12826" y="3656"/>
                    <a:pt x="12812" y="3638"/>
                    <a:pt x="12803" y="3619"/>
                  </a:cubicBezTo>
                  <a:cubicBezTo>
                    <a:pt x="12793" y="3602"/>
                    <a:pt x="12790" y="3570"/>
                    <a:pt x="12799" y="3550"/>
                  </a:cubicBezTo>
                  <a:cubicBezTo>
                    <a:pt x="12804" y="3529"/>
                    <a:pt x="12816" y="3493"/>
                    <a:pt x="12822" y="3469"/>
                  </a:cubicBezTo>
                  <a:cubicBezTo>
                    <a:pt x="12823" y="3445"/>
                    <a:pt x="12823" y="3427"/>
                    <a:pt x="12814" y="3432"/>
                  </a:cubicBezTo>
                  <a:cubicBezTo>
                    <a:pt x="12804" y="3434"/>
                    <a:pt x="12787" y="3445"/>
                    <a:pt x="12777" y="3456"/>
                  </a:cubicBezTo>
                  <a:cubicBezTo>
                    <a:pt x="12767" y="3466"/>
                    <a:pt x="12749" y="3492"/>
                    <a:pt x="12744" y="3514"/>
                  </a:cubicBezTo>
                  <a:cubicBezTo>
                    <a:pt x="12735" y="3535"/>
                    <a:pt x="12736" y="3559"/>
                    <a:pt x="12741" y="3569"/>
                  </a:cubicBezTo>
                  <a:cubicBezTo>
                    <a:pt x="12745" y="3578"/>
                    <a:pt x="12746" y="3599"/>
                    <a:pt x="12738" y="3617"/>
                  </a:cubicBezTo>
                  <a:cubicBezTo>
                    <a:pt x="12731" y="3635"/>
                    <a:pt x="12714" y="3657"/>
                    <a:pt x="12702" y="3667"/>
                  </a:cubicBezTo>
                  <a:cubicBezTo>
                    <a:pt x="12688" y="3676"/>
                    <a:pt x="12677" y="3677"/>
                    <a:pt x="12673" y="3667"/>
                  </a:cubicBezTo>
                  <a:cubicBezTo>
                    <a:pt x="12667" y="3658"/>
                    <a:pt x="12635" y="3666"/>
                    <a:pt x="12599" y="3689"/>
                  </a:cubicBezTo>
                  <a:cubicBezTo>
                    <a:pt x="12561" y="3710"/>
                    <a:pt x="12523" y="3736"/>
                    <a:pt x="12512" y="3746"/>
                  </a:cubicBezTo>
                  <a:cubicBezTo>
                    <a:pt x="12500" y="3755"/>
                    <a:pt x="12486" y="3759"/>
                    <a:pt x="12478" y="3753"/>
                  </a:cubicBezTo>
                  <a:cubicBezTo>
                    <a:pt x="12471" y="3747"/>
                    <a:pt x="12455" y="3741"/>
                    <a:pt x="12444" y="3746"/>
                  </a:cubicBezTo>
                  <a:cubicBezTo>
                    <a:pt x="12432" y="3747"/>
                    <a:pt x="12408" y="3744"/>
                    <a:pt x="12391" y="3734"/>
                  </a:cubicBezTo>
                  <a:cubicBezTo>
                    <a:pt x="12373" y="3726"/>
                    <a:pt x="12329" y="3732"/>
                    <a:pt x="12293" y="3751"/>
                  </a:cubicBezTo>
                  <a:cubicBezTo>
                    <a:pt x="12257" y="3769"/>
                    <a:pt x="12227" y="3777"/>
                    <a:pt x="12229" y="3770"/>
                  </a:cubicBezTo>
                  <a:cubicBezTo>
                    <a:pt x="12230" y="3762"/>
                    <a:pt x="12224" y="3757"/>
                    <a:pt x="12220" y="3760"/>
                  </a:cubicBezTo>
                  <a:cubicBezTo>
                    <a:pt x="12215" y="3762"/>
                    <a:pt x="12185" y="3783"/>
                    <a:pt x="12155" y="3807"/>
                  </a:cubicBezTo>
                  <a:cubicBezTo>
                    <a:pt x="12124" y="3831"/>
                    <a:pt x="12086" y="3864"/>
                    <a:pt x="12069" y="3882"/>
                  </a:cubicBezTo>
                  <a:cubicBezTo>
                    <a:pt x="12053" y="3900"/>
                    <a:pt x="12017" y="3926"/>
                    <a:pt x="11987" y="3938"/>
                  </a:cubicBezTo>
                  <a:cubicBezTo>
                    <a:pt x="11959" y="3950"/>
                    <a:pt x="11914" y="3975"/>
                    <a:pt x="11890" y="3996"/>
                  </a:cubicBezTo>
                  <a:cubicBezTo>
                    <a:pt x="11865" y="4015"/>
                    <a:pt x="11835" y="4026"/>
                    <a:pt x="11826" y="4019"/>
                  </a:cubicBezTo>
                  <a:cubicBezTo>
                    <a:pt x="11814" y="4015"/>
                    <a:pt x="11804" y="4007"/>
                    <a:pt x="11801" y="4008"/>
                  </a:cubicBezTo>
                  <a:cubicBezTo>
                    <a:pt x="11799" y="4006"/>
                    <a:pt x="11800" y="3998"/>
                    <a:pt x="11805" y="3984"/>
                  </a:cubicBezTo>
                  <a:cubicBezTo>
                    <a:pt x="11813" y="3971"/>
                    <a:pt x="11813" y="3957"/>
                    <a:pt x="11809" y="3955"/>
                  </a:cubicBezTo>
                  <a:cubicBezTo>
                    <a:pt x="11807" y="3952"/>
                    <a:pt x="11781" y="3969"/>
                    <a:pt x="11756" y="3992"/>
                  </a:cubicBezTo>
                  <a:cubicBezTo>
                    <a:pt x="11731" y="4015"/>
                    <a:pt x="11714" y="4022"/>
                    <a:pt x="11721" y="4009"/>
                  </a:cubicBezTo>
                  <a:cubicBezTo>
                    <a:pt x="11727" y="3997"/>
                    <a:pt x="11725" y="3977"/>
                    <a:pt x="11712" y="3967"/>
                  </a:cubicBezTo>
                  <a:cubicBezTo>
                    <a:pt x="11702" y="3955"/>
                    <a:pt x="11695" y="3940"/>
                    <a:pt x="11697" y="3931"/>
                  </a:cubicBezTo>
                  <a:cubicBezTo>
                    <a:pt x="11700" y="3922"/>
                    <a:pt x="11697" y="3914"/>
                    <a:pt x="11691" y="3916"/>
                  </a:cubicBezTo>
                  <a:cubicBezTo>
                    <a:pt x="11686" y="3915"/>
                    <a:pt x="11684" y="3907"/>
                    <a:pt x="11692" y="3897"/>
                  </a:cubicBezTo>
                  <a:cubicBezTo>
                    <a:pt x="11696" y="3886"/>
                    <a:pt x="11711" y="3871"/>
                    <a:pt x="11718" y="3860"/>
                  </a:cubicBezTo>
                  <a:cubicBezTo>
                    <a:pt x="11729" y="3851"/>
                    <a:pt x="11732" y="3837"/>
                    <a:pt x="11729" y="3830"/>
                  </a:cubicBezTo>
                  <a:cubicBezTo>
                    <a:pt x="11723" y="3826"/>
                    <a:pt x="11715" y="3824"/>
                    <a:pt x="11706" y="3832"/>
                  </a:cubicBezTo>
                  <a:cubicBezTo>
                    <a:pt x="11697" y="3839"/>
                    <a:pt x="11688" y="3841"/>
                    <a:pt x="11685" y="3840"/>
                  </a:cubicBezTo>
                  <a:cubicBezTo>
                    <a:pt x="11683" y="3837"/>
                    <a:pt x="11688" y="3824"/>
                    <a:pt x="11697" y="3812"/>
                  </a:cubicBezTo>
                  <a:cubicBezTo>
                    <a:pt x="11704" y="3800"/>
                    <a:pt x="11707" y="3788"/>
                    <a:pt x="11704" y="3789"/>
                  </a:cubicBezTo>
                  <a:cubicBezTo>
                    <a:pt x="11700" y="3787"/>
                    <a:pt x="11680" y="3800"/>
                    <a:pt x="11660" y="3816"/>
                  </a:cubicBezTo>
                  <a:cubicBezTo>
                    <a:pt x="11641" y="3833"/>
                    <a:pt x="11611" y="3853"/>
                    <a:pt x="11593" y="3860"/>
                  </a:cubicBezTo>
                  <a:cubicBezTo>
                    <a:pt x="11575" y="3867"/>
                    <a:pt x="11558" y="3869"/>
                    <a:pt x="11553" y="3862"/>
                  </a:cubicBezTo>
                  <a:cubicBezTo>
                    <a:pt x="11551" y="3854"/>
                    <a:pt x="11540" y="3855"/>
                    <a:pt x="11531" y="3859"/>
                  </a:cubicBezTo>
                  <a:cubicBezTo>
                    <a:pt x="11525" y="3865"/>
                    <a:pt x="11516" y="3864"/>
                    <a:pt x="11518" y="3860"/>
                  </a:cubicBezTo>
                  <a:cubicBezTo>
                    <a:pt x="11519" y="3855"/>
                    <a:pt x="11509" y="3853"/>
                    <a:pt x="11498" y="3853"/>
                  </a:cubicBezTo>
                  <a:cubicBezTo>
                    <a:pt x="11486" y="3854"/>
                    <a:pt x="11464" y="3862"/>
                    <a:pt x="11447" y="3871"/>
                  </a:cubicBezTo>
                  <a:cubicBezTo>
                    <a:pt x="11430" y="3880"/>
                    <a:pt x="11426" y="3874"/>
                    <a:pt x="11440" y="3861"/>
                  </a:cubicBezTo>
                  <a:cubicBezTo>
                    <a:pt x="11451" y="3846"/>
                    <a:pt x="11469" y="3823"/>
                    <a:pt x="11479" y="3811"/>
                  </a:cubicBezTo>
                  <a:cubicBezTo>
                    <a:pt x="11488" y="3798"/>
                    <a:pt x="11509" y="3773"/>
                    <a:pt x="11528" y="3757"/>
                  </a:cubicBezTo>
                  <a:cubicBezTo>
                    <a:pt x="11548" y="3741"/>
                    <a:pt x="11566" y="3720"/>
                    <a:pt x="11572" y="3712"/>
                  </a:cubicBezTo>
                  <a:cubicBezTo>
                    <a:pt x="11576" y="3703"/>
                    <a:pt x="11574" y="3695"/>
                    <a:pt x="11567" y="3697"/>
                  </a:cubicBezTo>
                  <a:cubicBezTo>
                    <a:pt x="11559" y="3697"/>
                    <a:pt x="11543" y="3702"/>
                    <a:pt x="11531" y="3708"/>
                  </a:cubicBezTo>
                  <a:cubicBezTo>
                    <a:pt x="11518" y="3713"/>
                    <a:pt x="11520" y="3694"/>
                    <a:pt x="11535" y="3664"/>
                  </a:cubicBezTo>
                  <a:cubicBezTo>
                    <a:pt x="11549" y="3634"/>
                    <a:pt x="11559" y="3605"/>
                    <a:pt x="11555" y="3606"/>
                  </a:cubicBezTo>
                  <a:cubicBezTo>
                    <a:pt x="11552" y="3604"/>
                    <a:pt x="11551" y="3599"/>
                    <a:pt x="11552" y="3594"/>
                  </a:cubicBezTo>
                  <a:cubicBezTo>
                    <a:pt x="11554" y="3589"/>
                    <a:pt x="11570" y="3572"/>
                    <a:pt x="11588" y="3557"/>
                  </a:cubicBezTo>
                  <a:cubicBezTo>
                    <a:pt x="11607" y="3542"/>
                    <a:pt x="11626" y="3523"/>
                    <a:pt x="11633" y="3515"/>
                  </a:cubicBezTo>
                  <a:cubicBezTo>
                    <a:pt x="11640" y="3508"/>
                    <a:pt x="11640" y="3500"/>
                    <a:pt x="11635" y="3500"/>
                  </a:cubicBezTo>
                  <a:cubicBezTo>
                    <a:pt x="11631" y="3497"/>
                    <a:pt x="11635" y="3488"/>
                    <a:pt x="11645" y="3475"/>
                  </a:cubicBezTo>
                  <a:cubicBezTo>
                    <a:pt x="11656" y="3463"/>
                    <a:pt x="11683" y="3424"/>
                    <a:pt x="11705" y="3389"/>
                  </a:cubicBezTo>
                  <a:cubicBezTo>
                    <a:pt x="11728" y="3354"/>
                    <a:pt x="11748" y="3317"/>
                    <a:pt x="11751" y="3307"/>
                  </a:cubicBezTo>
                  <a:cubicBezTo>
                    <a:pt x="11754" y="3296"/>
                    <a:pt x="11749" y="3289"/>
                    <a:pt x="11743" y="3294"/>
                  </a:cubicBezTo>
                  <a:cubicBezTo>
                    <a:pt x="11735" y="3296"/>
                    <a:pt x="11725" y="3298"/>
                    <a:pt x="11720" y="3294"/>
                  </a:cubicBezTo>
                  <a:cubicBezTo>
                    <a:pt x="11715" y="3290"/>
                    <a:pt x="11711" y="3281"/>
                    <a:pt x="11710" y="3273"/>
                  </a:cubicBezTo>
                  <a:cubicBezTo>
                    <a:pt x="11710" y="3265"/>
                    <a:pt x="11688" y="3273"/>
                    <a:pt x="11663" y="3291"/>
                  </a:cubicBezTo>
                  <a:cubicBezTo>
                    <a:pt x="11637" y="3309"/>
                    <a:pt x="11609" y="3327"/>
                    <a:pt x="11599" y="3330"/>
                  </a:cubicBezTo>
                  <a:cubicBezTo>
                    <a:pt x="11589" y="3334"/>
                    <a:pt x="11539" y="3364"/>
                    <a:pt x="11490" y="3400"/>
                  </a:cubicBezTo>
                  <a:cubicBezTo>
                    <a:pt x="11440" y="3434"/>
                    <a:pt x="11350" y="3490"/>
                    <a:pt x="11289" y="3524"/>
                  </a:cubicBezTo>
                  <a:cubicBezTo>
                    <a:pt x="11229" y="3557"/>
                    <a:pt x="11167" y="3588"/>
                    <a:pt x="11153" y="3593"/>
                  </a:cubicBezTo>
                  <a:cubicBezTo>
                    <a:pt x="11139" y="3599"/>
                    <a:pt x="11115" y="3608"/>
                    <a:pt x="11100" y="3616"/>
                  </a:cubicBezTo>
                  <a:cubicBezTo>
                    <a:pt x="11085" y="3623"/>
                    <a:pt x="11042" y="3662"/>
                    <a:pt x="11005" y="3702"/>
                  </a:cubicBezTo>
                  <a:cubicBezTo>
                    <a:pt x="10967" y="3742"/>
                    <a:pt x="10920" y="3789"/>
                    <a:pt x="10901" y="3805"/>
                  </a:cubicBezTo>
                  <a:cubicBezTo>
                    <a:pt x="10882" y="3823"/>
                    <a:pt x="10854" y="3849"/>
                    <a:pt x="10839" y="3865"/>
                  </a:cubicBezTo>
                  <a:cubicBezTo>
                    <a:pt x="10824" y="3881"/>
                    <a:pt x="10821" y="3896"/>
                    <a:pt x="10829" y="3895"/>
                  </a:cubicBezTo>
                  <a:cubicBezTo>
                    <a:pt x="10837" y="3895"/>
                    <a:pt x="10854" y="3886"/>
                    <a:pt x="10867" y="3875"/>
                  </a:cubicBezTo>
                  <a:cubicBezTo>
                    <a:pt x="10880" y="3864"/>
                    <a:pt x="10894" y="3852"/>
                    <a:pt x="10901" y="3850"/>
                  </a:cubicBezTo>
                  <a:cubicBezTo>
                    <a:pt x="10907" y="3849"/>
                    <a:pt x="10900" y="3859"/>
                    <a:pt x="10887" y="3876"/>
                  </a:cubicBezTo>
                  <a:cubicBezTo>
                    <a:pt x="10874" y="3893"/>
                    <a:pt x="10850" y="3919"/>
                    <a:pt x="10835" y="3933"/>
                  </a:cubicBezTo>
                  <a:cubicBezTo>
                    <a:pt x="10819" y="3947"/>
                    <a:pt x="10804" y="3964"/>
                    <a:pt x="10804" y="3971"/>
                  </a:cubicBezTo>
                  <a:cubicBezTo>
                    <a:pt x="10801" y="3978"/>
                    <a:pt x="10817" y="3978"/>
                    <a:pt x="10836" y="3968"/>
                  </a:cubicBezTo>
                  <a:cubicBezTo>
                    <a:pt x="10856" y="3961"/>
                    <a:pt x="10874" y="3957"/>
                    <a:pt x="10872" y="3962"/>
                  </a:cubicBezTo>
                  <a:cubicBezTo>
                    <a:pt x="10873" y="3968"/>
                    <a:pt x="10888" y="3960"/>
                    <a:pt x="10908" y="3946"/>
                  </a:cubicBezTo>
                  <a:cubicBezTo>
                    <a:pt x="10928" y="3931"/>
                    <a:pt x="10948" y="3912"/>
                    <a:pt x="10955" y="3903"/>
                  </a:cubicBezTo>
                  <a:cubicBezTo>
                    <a:pt x="10960" y="3893"/>
                    <a:pt x="10963" y="3880"/>
                    <a:pt x="10957" y="3876"/>
                  </a:cubicBezTo>
                  <a:cubicBezTo>
                    <a:pt x="10955" y="3870"/>
                    <a:pt x="10954" y="3857"/>
                    <a:pt x="10963" y="3847"/>
                  </a:cubicBezTo>
                  <a:cubicBezTo>
                    <a:pt x="10968" y="3836"/>
                    <a:pt x="10987" y="3822"/>
                    <a:pt x="10998" y="3813"/>
                  </a:cubicBezTo>
                  <a:cubicBezTo>
                    <a:pt x="11010" y="3804"/>
                    <a:pt x="11019" y="3803"/>
                    <a:pt x="11016" y="3809"/>
                  </a:cubicBezTo>
                  <a:cubicBezTo>
                    <a:pt x="11015" y="3816"/>
                    <a:pt x="11022" y="3815"/>
                    <a:pt x="11034" y="3809"/>
                  </a:cubicBezTo>
                  <a:cubicBezTo>
                    <a:pt x="11046" y="3802"/>
                    <a:pt x="11064" y="3799"/>
                    <a:pt x="11073" y="3801"/>
                  </a:cubicBezTo>
                  <a:cubicBezTo>
                    <a:pt x="11083" y="3804"/>
                    <a:pt x="11102" y="3796"/>
                    <a:pt x="11116" y="3786"/>
                  </a:cubicBezTo>
                  <a:cubicBezTo>
                    <a:pt x="11129" y="3775"/>
                    <a:pt x="11150" y="3753"/>
                    <a:pt x="11163" y="3737"/>
                  </a:cubicBezTo>
                  <a:cubicBezTo>
                    <a:pt x="11174" y="3721"/>
                    <a:pt x="11194" y="3696"/>
                    <a:pt x="11210" y="3685"/>
                  </a:cubicBezTo>
                  <a:cubicBezTo>
                    <a:pt x="11223" y="3672"/>
                    <a:pt x="11225" y="3673"/>
                    <a:pt x="11218" y="3688"/>
                  </a:cubicBezTo>
                  <a:cubicBezTo>
                    <a:pt x="11207" y="3701"/>
                    <a:pt x="11202" y="3721"/>
                    <a:pt x="11207" y="3730"/>
                  </a:cubicBezTo>
                  <a:cubicBezTo>
                    <a:pt x="11209" y="3740"/>
                    <a:pt x="11221" y="3739"/>
                    <a:pt x="11230" y="3729"/>
                  </a:cubicBezTo>
                  <a:cubicBezTo>
                    <a:pt x="11236" y="3718"/>
                    <a:pt x="11251" y="3703"/>
                    <a:pt x="11256" y="3692"/>
                  </a:cubicBezTo>
                  <a:cubicBezTo>
                    <a:pt x="11262" y="3683"/>
                    <a:pt x="11279" y="3667"/>
                    <a:pt x="11294" y="3658"/>
                  </a:cubicBezTo>
                  <a:cubicBezTo>
                    <a:pt x="11308" y="3649"/>
                    <a:pt x="11330" y="3631"/>
                    <a:pt x="11341" y="3618"/>
                  </a:cubicBezTo>
                  <a:cubicBezTo>
                    <a:pt x="11352" y="3604"/>
                    <a:pt x="11370" y="3592"/>
                    <a:pt x="11378" y="3586"/>
                  </a:cubicBezTo>
                  <a:cubicBezTo>
                    <a:pt x="11387" y="3583"/>
                    <a:pt x="11427" y="3556"/>
                    <a:pt x="11467" y="3527"/>
                  </a:cubicBezTo>
                  <a:cubicBezTo>
                    <a:pt x="11507" y="3497"/>
                    <a:pt x="11552" y="3469"/>
                    <a:pt x="11564" y="3461"/>
                  </a:cubicBezTo>
                  <a:cubicBezTo>
                    <a:pt x="11577" y="3453"/>
                    <a:pt x="11587" y="3452"/>
                    <a:pt x="11586" y="3455"/>
                  </a:cubicBezTo>
                  <a:cubicBezTo>
                    <a:pt x="11586" y="3459"/>
                    <a:pt x="11596" y="3458"/>
                    <a:pt x="11610" y="3450"/>
                  </a:cubicBezTo>
                  <a:cubicBezTo>
                    <a:pt x="11624" y="3444"/>
                    <a:pt x="11622" y="3452"/>
                    <a:pt x="11605" y="3469"/>
                  </a:cubicBezTo>
                  <a:cubicBezTo>
                    <a:pt x="11587" y="3486"/>
                    <a:pt x="11571" y="3506"/>
                    <a:pt x="11572" y="3513"/>
                  </a:cubicBezTo>
                  <a:cubicBezTo>
                    <a:pt x="11570" y="3521"/>
                    <a:pt x="11547" y="3552"/>
                    <a:pt x="11516" y="3581"/>
                  </a:cubicBezTo>
                  <a:cubicBezTo>
                    <a:pt x="11486" y="3611"/>
                    <a:pt x="11456" y="3634"/>
                    <a:pt x="11451" y="3631"/>
                  </a:cubicBezTo>
                  <a:cubicBezTo>
                    <a:pt x="11444" y="3630"/>
                    <a:pt x="11431" y="3635"/>
                    <a:pt x="11418" y="3645"/>
                  </a:cubicBezTo>
                  <a:cubicBezTo>
                    <a:pt x="11405" y="3656"/>
                    <a:pt x="11383" y="3670"/>
                    <a:pt x="11370" y="3678"/>
                  </a:cubicBezTo>
                  <a:cubicBezTo>
                    <a:pt x="11355" y="3686"/>
                    <a:pt x="11340" y="3691"/>
                    <a:pt x="11336" y="3689"/>
                  </a:cubicBezTo>
                  <a:cubicBezTo>
                    <a:pt x="11331" y="3689"/>
                    <a:pt x="11319" y="3690"/>
                    <a:pt x="11307" y="3697"/>
                  </a:cubicBezTo>
                  <a:cubicBezTo>
                    <a:pt x="11296" y="3704"/>
                    <a:pt x="11265" y="3736"/>
                    <a:pt x="11236" y="3766"/>
                  </a:cubicBezTo>
                  <a:cubicBezTo>
                    <a:pt x="11210" y="3799"/>
                    <a:pt x="11181" y="3836"/>
                    <a:pt x="11176" y="3852"/>
                  </a:cubicBezTo>
                  <a:cubicBezTo>
                    <a:pt x="11171" y="3867"/>
                    <a:pt x="11157" y="3896"/>
                    <a:pt x="11146" y="3917"/>
                  </a:cubicBezTo>
                  <a:cubicBezTo>
                    <a:pt x="11134" y="3938"/>
                    <a:pt x="11132" y="3939"/>
                    <a:pt x="11139" y="3920"/>
                  </a:cubicBezTo>
                  <a:cubicBezTo>
                    <a:pt x="11147" y="3901"/>
                    <a:pt x="11149" y="3888"/>
                    <a:pt x="11142" y="3890"/>
                  </a:cubicBezTo>
                  <a:cubicBezTo>
                    <a:pt x="11135" y="3890"/>
                    <a:pt x="11131" y="3886"/>
                    <a:pt x="11134" y="3876"/>
                  </a:cubicBezTo>
                  <a:cubicBezTo>
                    <a:pt x="11135" y="3866"/>
                    <a:pt x="11130" y="3862"/>
                    <a:pt x="11120" y="3867"/>
                  </a:cubicBezTo>
                  <a:cubicBezTo>
                    <a:pt x="11110" y="3871"/>
                    <a:pt x="11088" y="3892"/>
                    <a:pt x="11071" y="3913"/>
                  </a:cubicBezTo>
                  <a:cubicBezTo>
                    <a:pt x="11052" y="3933"/>
                    <a:pt x="11023" y="3960"/>
                    <a:pt x="11004" y="3972"/>
                  </a:cubicBezTo>
                  <a:cubicBezTo>
                    <a:pt x="10985" y="3985"/>
                    <a:pt x="10960" y="4002"/>
                    <a:pt x="10949" y="4010"/>
                  </a:cubicBezTo>
                  <a:cubicBezTo>
                    <a:pt x="10939" y="4019"/>
                    <a:pt x="10937" y="4017"/>
                    <a:pt x="10942" y="4005"/>
                  </a:cubicBezTo>
                  <a:cubicBezTo>
                    <a:pt x="10949" y="3993"/>
                    <a:pt x="10948" y="3990"/>
                    <a:pt x="10940" y="3992"/>
                  </a:cubicBezTo>
                  <a:cubicBezTo>
                    <a:pt x="10932" y="3998"/>
                    <a:pt x="10911" y="4016"/>
                    <a:pt x="10892" y="4035"/>
                  </a:cubicBezTo>
                  <a:cubicBezTo>
                    <a:pt x="10876" y="4055"/>
                    <a:pt x="10848" y="4079"/>
                    <a:pt x="10833" y="4091"/>
                  </a:cubicBezTo>
                  <a:cubicBezTo>
                    <a:pt x="10817" y="4101"/>
                    <a:pt x="10803" y="4108"/>
                    <a:pt x="10803" y="4103"/>
                  </a:cubicBezTo>
                  <a:cubicBezTo>
                    <a:pt x="10801" y="4098"/>
                    <a:pt x="10789" y="4100"/>
                    <a:pt x="10777" y="4108"/>
                  </a:cubicBezTo>
                  <a:cubicBezTo>
                    <a:pt x="10764" y="4115"/>
                    <a:pt x="10744" y="4133"/>
                    <a:pt x="10732" y="4146"/>
                  </a:cubicBezTo>
                  <a:cubicBezTo>
                    <a:pt x="10719" y="4159"/>
                    <a:pt x="10706" y="4175"/>
                    <a:pt x="10702" y="4181"/>
                  </a:cubicBezTo>
                  <a:cubicBezTo>
                    <a:pt x="10696" y="4187"/>
                    <a:pt x="10675" y="4205"/>
                    <a:pt x="10650" y="4218"/>
                  </a:cubicBezTo>
                  <a:cubicBezTo>
                    <a:pt x="10626" y="4232"/>
                    <a:pt x="10595" y="4256"/>
                    <a:pt x="10580" y="4270"/>
                  </a:cubicBezTo>
                  <a:cubicBezTo>
                    <a:pt x="10564" y="4283"/>
                    <a:pt x="10545" y="4305"/>
                    <a:pt x="10538" y="4319"/>
                  </a:cubicBezTo>
                  <a:cubicBezTo>
                    <a:pt x="10530" y="4332"/>
                    <a:pt x="10520" y="4353"/>
                    <a:pt x="10516" y="4365"/>
                  </a:cubicBezTo>
                  <a:cubicBezTo>
                    <a:pt x="10512" y="4377"/>
                    <a:pt x="10476" y="4427"/>
                    <a:pt x="10438" y="4477"/>
                  </a:cubicBezTo>
                  <a:cubicBezTo>
                    <a:pt x="10399" y="4526"/>
                    <a:pt x="10346" y="4595"/>
                    <a:pt x="10322" y="4632"/>
                  </a:cubicBezTo>
                  <a:cubicBezTo>
                    <a:pt x="10297" y="4667"/>
                    <a:pt x="10270" y="4707"/>
                    <a:pt x="10262" y="4719"/>
                  </a:cubicBezTo>
                  <a:cubicBezTo>
                    <a:pt x="10253" y="4731"/>
                    <a:pt x="10254" y="4744"/>
                    <a:pt x="10261" y="4750"/>
                  </a:cubicBezTo>
                  <a:cubicBezTo>
                    <a:pt x="10270" y="4752"/>
                    <a:pt x="10268" y="4767"/>
                    <a:pt x="10259" y="4778"/>
                  </a:cubicBezTo>
                  <a:cubicBezTo>
                    <a:pt x="10251" y="4789"/>
                    <a:pt x="10228" y="4806"/>
                    <a:pt x="10211" y="4819"/>
                  </a:cubicBezTo>
                  <a:cubicBezTo>
                    <a:pt x="10194" y="4832"/>
                    <a:pt x="10177" y="4850"/>
                    <a:pt x="10171" y="4859"/>
                  </a:cubicBezTo>
                  <a:cubicBezTo>
                    <a:pt x="10166" y="4868"/>
                    <a:pt x="10161" y="4885"/>
                    <a:pt x="10162" y="4895"/>
                  </a:cubicBezTo>
                  <a:cubicBezTo>
                    <a:pt x="10162" y="4906"/>
                    <a:pt x="10156" y="4929"/>
                    <a:pt x="10146" y="4946"/>
                  </a:cubicBezTo>
                  <a:cubicBezTo>
                    <a:pt x="10135" y="4963"/>
                    <a:pt x="10118" y="4986"/>
                    <a:pt x="10108" y="4999"/>
                  </a:cubicBezTo>
                  <a:cubicBezTo>
                    <a:pt x="10097" y="5010"/>
                    <a:pt x="10088" y="5016"/>
                    <a:pt x="10086" y="5011"/>
                  </a:cubicBezTo>
                  <a:cubicBezTo>
                    <a:pt x="10088" y="5007"/>
                    <a:pt x="10074" y="5013"/>
                    <a:pt x="10060" y="5026"/>
                  </a:cubicBezTo>
                  <a:cubicBezTo>
                    <a:pt x="10046" y="5039"/>
                    <a:pt x="10031" y="5049"/>
                    <a:pt x="10028" y="5047"/>
                  </a:cubicBezTo>
                  <a:cubicBezTo>
                    <a:pt x="10025" y="5045"/>
                    <a:pt x="10030" y="5032"/>
                    <a:pt x="10040" y="5018"/>
                  </a:cubicBezTo>
                  <a:cubicBezTo>
                    <a:pt x="10050" y="5003"/>
                    <a:pt x="10063" y="4986"/>
                    <a:pt x="10071" y="4981"/>
                  </a:cubicBezTo>
                  <a:cubicBezTo>
                    <a:pt x="10077" y="4975"/>
                    <a:pt x="10091" y="4958"/>
                    <a:pt x="10099" y="4943"/>
                  </a:cubicBezTo>
                  <a:cubicBezTo>
                    <a:pt x="10108" y="4927"/>
                    <a:pt x="10107" y="4920"/>
                    <a:pt x="10096" y="4924"/>
                  </a:cubicBezTo>
                  <a:cubicBezTo>
                    <a:pt x="10085" y="4929"/>
                    <a:pt x="10045" y="4970"/>
                    <a:pt x="10007" y="5016"/>
                  </a:cubicBezTo>
                  <a:cubicBezTo>
                    <a:pt x="9969" y="5061"/>
                    <a:pt x="9918" y="5132"/>
                    <a:pt x="9892" y="5171"/>
                  </a:cubicBezTo>
                  <a:cubicBezTo>
                    <a:pt x="9868" y="5211"/>
                    <a:pt x="9832" y="5273"/>
                    <a:pt x="9819" y="5312"/>
                  </a:cubicBezTo>
                  <a:cubicBezTo>
                    <a:pt x="9803" y="5350"/>
                    <a:pt x="9766" y="5425"/>
                    <a:pt x="9737" y="5480"/>
                  </a:cubicBezTo>
                  <a:cubicBezTo>
                    <a:pt x="9704" y="5535"/>
                    <a:pt x="9702" y="5537"/>
                    <a:pt x="9730" y="5484"/>
                  </a:cubicBezTo>
                  <a:cubicBezTo>
                    <a:pt x="9754" y="5431"/>
                    <a:pt x="9782" y="5371"/>
                    <a:pt x="9788" y="5350"/>
                  </a:cubicBezTo>
                  <a:cubicBezTo>
                    <a:pt x="9794" y="5329"/>
                    <a:pt x="9799" y="5306"/>
                    <a:pt x="9795" y="5303"/>
                  </a:cubicBezTo>
                  <a:cubicBezTo>
                    <a:pt x="9792" y="5298"/>
                    <a:pt x="9804" y="5279"/>
                    <a:pt x="9818" y="5261"/>
                  </a:cubicBezTo>
                  <a:cubicBezTo>
                    <a:pt x="9834" y="5244"/>
                    <a:pt x="9850" y="5220"/>
                    <a:pt x="9855" y="5209"/>
                  </a:cubicBezTo>
                  <a:cubicBezTo>
                    <a:pt x="9862" y="5199"/>
                    <a:pt x="9857" y="5188"/>
                    <a:pt x="9850" y="5182"/>
                  </a:cubicBezTo>
                  <a:cubicBezTo>
                    <a:pt x="9841" y="5177"/>
                    <a:pt x="9847" y="5155"/>
                    <a:pt x="9865" y="5131"/>
                  </a:cubicBezTo>
                  <a:cubicBezTo>
                    <a:pt x="9882" y="5106"/>
                    <a:pt x="9911" y="5064"/>
                    <a:pt x="9926" y="5034"/>
                  </a:cubicBezTo>
                  <a:cubicBezTo>
                    <a:pt x="9941" y="5005"/>
                    <a:pt x="9956" y="4970"/>
                    <a:pt x="9954" y="4958"/>
                  </a:cubicBezTo>
                  <a:cubicBezTo>
                    <a:pt x="9954" y="4945"/>
                    <a:pt x="9968" y="4910"/>
                    <a:pt x="9987" y="4879"/>
                  </a:cubicBezTo>
                  <a:cubicBezTo>
                    <a:pt x="10003" y="4848"/>
                    <a:pt x="10036" y="4803"/>
                    <a:pt x="10059" y="4780"/>
                  </a:cubicBezTo>
                  <a:cubicBezTo>
                    <a:pt x="10081" y="4756"/>
                    <a:pt x="10121" y="4709"/>
                    <a:pt x="10146" y="4676"/>
                  </a:cubicBezTo>
                  <a:cubicBezTo>
                    <a:pt x="10173" y="4643"/>
                    <a:pt x="10207" y="4597"/>
                    <a:pt x="10221" y="4573"/>
                  </a:cubicBezTo>
                  <a:cubicBezTo>
                    <a:pt x="10236" y="4551"/>
                    <a:pt x="10244" y="4534"/>
                    <a:pt x="10239" y="4536"/>
                  </a:cubicBezTo>
                  <a:cubicBezTo>
                    <a:pt x="10234" y="4537"/>
                    <a:pt x="10222" y="4551"/>
                    <a:pt x="10210" y="4564"/>
                  </a:cubicBezTo>
                  <a:cubicBezTo>
                    <a:pt x="10198" y="4577"/>
                    <a:pt x="10177" y="4606"/>
                    <a:pt x="10163" y="4628"/>
                  </a:cubicBezTo>
                  <a:cubicBezTo>
                    <a:pt x="10148" y="4649"/>
                    <a:pt x="10122" y="4682"/>
                    <a:pt x="10105" y="4701"/>
                  </a:cubicBezTo>
                  <a:cubicBezTo>
                    <a:pt x="10087" y="4719"/>
                    <a:pt x="10070" y="4733"/>
                    <a:pt x="10067" y="4732"/>
                  </a:cubicBezTo>
                  <a:cubicBezTo>
                    <a:pt x="10067" y="4729"/>
                    <a:pt x="10071" y="4717"/>
                    <a:pt x="10075" y="4701"/>
                  </a:cubicBezTo>
                  <a:cubicBezTo>
                    <a:pt x="10083" y="4686"/>
                    <a:pt x="10108" y="4646"/>
                    <a:pt x="10134" y="4614"/>
                  </a:cubicBezTo>
                  <a:cubicBezTo>
                    <a:pt x="10160" y="4582"/>
                    <a:pt x="10189" y="4543"/>
                    <a:pt x="10199" y="4528"/>
                  </a:cubicBezTo>
                  <a:cubicBezTo>
                    <a:pt x="10210" y="4512"/>
                    <a:pt x="10216" y="4496"/>
                    <a:pt x="10211" y="4492"/>
                  </a:cubicBezTo>
                  <a:cubicBezTo>
                    <a:pt x="10206" y="4489"/>
                    <a:pt x="10190" y="4497"/>
                    <a:pt x="10176" y="4513"/>
                  </a:cubicBezTo>
                  <a:cubicBezTo>
                    <a:pt x="10162" y="4528"/>
                    <a:pt x="10147" y="4539"/>
                    <a:pt x="10144" y="4539"/>
                  </a:cubicBezTo>
                  <a:cubicBezTo>
                    <a:pt x="10141" y="4538"/>
                    <a:pt x="10141" y="4532"/>
                    <a:pt x="10141" y="4525"/>
                  </a:cubicBezTo>
                  <a:cubicBezTo>
                    <a:pt x="10143" y="4518"/>
                    <a:pt x="10153" y="4502"/>
                    <a:pt x="10161" y="4488"/>
                  </a:cubicBezTo>
                  <a:cubicBezTo>
                    <a:pt x="10171" y="4474"/>
                    <a:pt x="10186" y="4449"/>
                    <a:pt x="10195" y="4432"/>
                  </a:cubicBezTo>
                  <a:cubicBezTo>
                    <a:pt x="10204" y="4416"/>
                    <a:pt x="10206" y="4405"/>
                    <a:pt x="10199" y="4409"/>
                  </a:cubicBezTo>
                  <a:cubicBezTo>
                    <a:pt x="10191" y="4411"/>
                    <a:pt x="10188" y="4409"/>
                    <a:pt x="10193" y="4404"/>
                  </a:cubicBezTo>
                  <a:cubicBezTo>
                    <a:pt x="10193" y="4397"/>
                    <a:pt x="10206" y="4384"/>
                    <a:pt x="10215" y="4374"/>
                  </a:cubicBezTo>
                  <a:cubicBezTo>
                    <a:pt x="10224" y="4364"/>
                    <a:pt x="10240" y="4343"/>
                    <a:pt x="10249" y="4327"/>
                  </a:cubicBezTo>
                  <a:cubicBezTo>
                    <a:pt x="10258" y="4311"/>
                    <a:pt x="10254" y="4306"/>
                    <a:pt x="10240" y="4316"/>
                  </a:cubicBezTo>
                  <a:cubicBezTo>
                    <a:pt x="10224" y="4325"/>
                    <a:pt x="10171" y="4367"/>
                    <a:pt x="10120" y="4407"/>
                  </a:cubicBezTo>
                  <a:cubicBezTo>
                    <a:pt x="10067" y="4446"/>
                    <a:pt x="10000" y="4502"/>
                    <a:pt x="9967" y="4529"/>
                  </a:cubicBezTo>
                  <a:cubicBezTo>
                    <a:pt x="9935" y="4557"/>
                    <a:pt x="9904" y="4580"/>
                    <a:pt x="9898" y="4581"/>
                  </a:cubicBezTo>
                  <a:cubicBezTo>
                    <a:pt x="9892" y="4582"/>
                    <a:pt x="9891" y="4577"/>
                    <a:pt x="9896" y="4568"/>
                  </a:cubicBezTo>
                  <a:cubicBezTo>
                    <a:pt x="9903" y="4561"/>
                    <a:pt x="9901" y="4557"/>
                    <a:pt x="9894" y="4559"/>
                  </a:cubicBezTo>
                  <a:cubicBezTo>
                    <a:pt x="9888" y="4563"/>
                    <a:pt x="9868" y="4580"/>
                    <a:pt x="9850" y="4599"/>
                  </a:cubicBezTo>
                  <a:cubicBezTo>
                    <a:pt x="9831" y="4618"/>
                    <a:pt x="9809" y="4638"/>
                    <a:pt x="9800" y="4645"/>
                  </a:cubicBezTo>
                  <a:cubicBezTo>
                    <a:pt x="9790" y="4652"/>
                    <a:pt x="9783" y="4651"/>
                    <a:pt x="9778" y="4648"/>
                  </a:cubicBezTo>
                  <a:cubicBezTo>
                    <a:pt x="9777" y="4642"/>
                    <a:pt x="9747" y="4663"/>
                    <a:pt x="9715" y="4695"/>
                  </a:cubicBezTo>
                  <a:cubicBezTo>
                    <a:pt x="9681" y="4726"/>
                    <a:pt x="9661" y="4740"/>
                    <a:pt x="9672" y="4727"/>
                  </a:cubicBezTo>
                  <a:cubicBezTo>
                    <a:pt x="9679" y="4713"/>
                    <a:pt x="9680" y="4703"/>
                    <a:pt x="9672" y="4702"/>
                  </a:cubicBezTo>
                  <a:cubicBezTo>
                    <a:pt x="9664" y="4702"/>
                    <a:pt x="9650" y="4705"/>
                    <a:pt x="9642" y="4711"/>
                  </a:cubicBezTo>
                  <a:cubicBezTo>
                    <a:pt x="9635" y="4717"/>
                    <a:pt x="9622" y="4728"/>
                    <a:pt x="9618" y="4737"/>
                  </a:cubicBezTo>
                  <a:cubicBezTo>
                    <a:pt x="9614" y="4746"/>
                    <a:pt x="9594" y="4762"/>
                    <a:pt x="9576" y="4770"/>
                  </a:cubicBezTo>
                  <a:cubicBezTo>
                    <a:pt x="9558" y="4780"/>
                    <a:pt x="9525" y="4790"/>
                    <a:pt x="9504" y="4793"/>
                  </a:cubicBezTo>
                  <a:cubicBezTo>
                    <a:pt x="9483" y="4796"/>
                    <a:pt x="9446" y="4808"/>
                    <a:pt x="9423" y="4820"/>
                  </a:cubicBezTo>
                  <a:cubicBezTo>
                    <a:pt x="9400" y="4833"/>
                    <a:pt x="9370" y="4842"/>
                    <a:pt x="9357" y="4839"/>
                  </a:cubicBezTo>
                  <a:cubicBezTo>
                    <a:pt x="9344" y="4839"/>
                    <a:pt x="9316" y="4844"/>
                    <a:pt x="9298" y="4857"/>
                  </a:cubicBezTo>
                  <a:cubicBezTo>
                    <a:pt x="9278" y="4869"/>
                    <a:pt x="9270" y="4869"/>
                    <a:pt x="9276" y="4854"/>
                  </a:cubicBezTo>
                  <a:cubicBezTo>
                    <a:pt x="9284" y="4842"/>
                    <a:pt x="9285" y="4823"/>
                    <a:pt x="9276" y="4821"/>
                  </a:cubicBezTo>
                  <a:cubicBezTo>
                    <a:pt x="9269" y="4816"/>
                    <a:pt x="9252" y="4820"/>
                    <a:pt x="9240" y="4832"/>
                  </a:cubicBezTo>
                  <a:cubicBezTo>
                    <a:pt x="9227" y="4844"/>
                    <a:pt x="9213" y="4851"/>
                    <a:pt x="9208" y="4847"/>
                  </a:cubicBezTo>
                  <a:cubicBezTo>
                    <a:pt x="9203" y="4843"/>
                    <a:pt x="9206" y="4827"/>
                    <a:pt x="9212" y="4812"/>
                  </a:cubicBezTo>
                  <a:cubicBezTo>
                    <a:pt x="9217" y="4796"/>
                    <a:pt x="9216" y="4783"/>
                    <a:pt x="9207" y="4786"/>
                  </a:cubicBezTo>
                  <a:cubicBezTo>
                    <a:pt x="9198" y="4785"/>
                    <a:pt x="9191" y="4785"/>
                    <a:pt x="9190" y="4780"/>
                  </a:cubicBezTo>
                  <a:cubicBezTo>
                    <a:pt x="9190" y="4775"/>
                    <a:pt x="9202" y="4760"/>
                    <a:pt x="9218" y="4748"/>
                  </a:cubicBezTo>
                  <a:cubicBezTo>
                    <a:pt x="9234" y="4735"/>
                    <a:pt x="9257" y="4716"/>
                    <a:pt x="9272" y="4711"/>
                  </a:cubicBezTo>
                  <a:cubicBezTo>
                    <a:pt x="9286" y="4703"/>
                    <a:pt x="9307" y="4683"/>
                    <a:pt x="9319" y="4665"/>
                  </a:cubicBezTo>
                  <a:cubicBezTo>
                    <a:pt x="9330" y="4648"/>
                    <a:pt x="9356" y="4621"/>
                    <a:pt x="9372" y="4604"/>
                  </a:cubicBezTo>
                  <a:cubicBezTo>
                    <a:pt x="9390" y="4588"/>
                    <a:pt x="9406" y="4566"/>
                    <a:pt x="9411" y="4556"/>
                  </a:cubicBezTo>
                  <a:cubicBezTo>
                    <a:pt x="9412" y="4546"/>
                    <a:pt x="9426" y="4532"/>
                    <a:pt x="9438" y="4526"/>
                  </a:cubicBezTo>
                  <a:cubicBezTo>
                    <a:pt x="9450" y="4520"/>
                    <a:pt x="9470" y="4511"/>
                    <a:pt x="9483" y="4509"/>
                  </a:cubicBezTo>
                  <a:cubicBezTo>
                    <a:pt x="9496" y="4506"/>
                    <a:pt x="9514" y="4496"/>
                    <a:pt x="9524" y="4487"/>
                  </a:cubicBezTo>
                  <a:cubicBezTo>
                    <a:pt x="9532" y="4478"/>
                    <a:pt x="9543" y="4466"/>
                    <a:pt x="9547" y="4460"/>
                  </a:cubicBezTo>
                  <a:cubicBezTo>
                    <a:pt x="9551" y="4454"/>
                    <a:pt x="9567" y="4443"/>
                    <a:pt x="9583" y="4433"/>
                  </a:cubicBezTo>
                  <a:cubicBezTo>
                    <a:pt x="9600" y="4425"/>
                    <a:pt x="9633" y="4412"/>
                    <a:pt x="9657" y="4405"/>
                  </a:cubicBezTo>
                  <a:cubicBezTo>
                    <a:pt x="9681" y="4398"/>
                    <a:pt x="9720" y="4374"/>
                    <a:pt x="9743" y="4350"/>
                  </a:cubicBezTo>
                  <a:cubicBezTo>
                    <a:pt x="9766" y="4327"/>
                    <a:pt x="9793" y="4291"/>
                    <a:pt x="9807" y="4273"/>
                  </a:cubicBezTo>
                  <a:cubicBezTo>
                    <a:pt x="9820" y="4254"/>
                    <a:pt x="9843" y="4222"/>
                    <a:pt x="9860" y="4203"/>
                  </a:cubicBezTo>
                  <a:cubicBezTo>
                    <a:pt x="9877" y="4184"/>
                    <a:pt x="9896" y="4157"/>
                    <a:pt x="9899" y="4142"/>
                  </a:cubicBezTo>
                  <a:cubicBezTo>
                    <a:pt x="9904" y="4128"/>
                    <a:pt x="9917" y="4102"/>
                    <a:pt x="9926" y="4083"/>
                  </a:cubicBezTo>
                  <a:cubicBezTo>
                    <a:pt x="9937" y="4065"/>
                    <a:pt x="9948" y="4042"/>
                    <a:pt x="9948" y="4033"/>
                  </a:cubicBezTo>
                  <a:cubicBezTo>
                    <a:pt x="9949" y="4024"/>
                    <a:pt x="9955" y="4005"/>
                    <a:pt x="9958" y="3989"/>
                  </a:cubicBezTo>
                  <a:cubicBezTo>
                    <a:pt x="9963" y="3974"/>
                    <a:pt x="9962" y="3964"/>
                    <a:pt x="9955" y="3964"/>
                  </a:cubicBezTo>
                  <a:cubicBezTo>
                    <a:pt x="9949" y="3965"/>
                    <a:pt x="9947" y="3960"/>
                    <a:pt x="9950" y="3951"/>
                  </a:cubicBezTo>
                  <a:cubicBezTo>
                    <a:pt x="9954" y="3942"/>
                    <a:pt x="9951" y="3928"/>
                    <a:pt x="9945" y="3919"/>
                  </a:cubicBezTo>
                  <a:cubicBezTo>
                    <a:pt x="9940" y="3911"/>
                    <a:pt x="9928" y="3908"/>
                    <a:pt x="9922" y="3913"/>
                  </a:cubicBezTo>
                  <a:cubicBezTo>
                    <a:pt x="9913" y="3916"/>
                    <a:pt x="9900" y="3934"/>
                    <a:pt x="9888" y="3949"/>
                  </a:cubicBezTo>
                  <a:cubicBezTo>
                    <a:pt x="9876" y="3963"/>
                    <a:pt x="9861" y="3978"/>
                    <a:pt x="9855" y="3982"/>
                  </a:cubicBezTo>
                  <a:cubicBezTo>
                    <a:pt x="9848" y="3986"/>
                    <a:pt x="9845" y="3983"/>
                    <a:pt x="9848" y="3974"/>
                  </a:cubicBezTo>
                  <a:cubicBezTo>
                    <a:pt x="9853" y="3966"/>
                    <a:pt x="9843" y="3957"/>
                    <a:pt x="9830" y="3960"/>
                  </a:cubicBezTo>
                  <a:cubicBezTo>
                    <a:pt x="9817" y="3960"/>
                    <a:pt x="9803" y="3969"/>
                    <a:pt x="9797" y="3976"/>
                  </a:cubicBezTo>
                  <a:cubicBezTo>
                    <a:pt x="9792" y="3985"/>
                    <a:pt x="9791" y="3994"/>
                    <a:pt x="9796" y="3999"/>
                  </a:cubicBezTo>
                  <a:cubicBezTo>
                    <a:pt x="9801" y="4003"/>
                    <a:pt x="9800" y="4014"/>
                    <a:pt x="9790" y="4024"/>
                  </a:cubicBezTo>
                  <a:cubicBezTo>
                    <a:pt x="9781" y="4034"/>
                    <a:pt x="9774" y="4048"/>
                    <a:pt x="9775" y="4053"/>
                  </a:cubicBezTo>
                  <a:cubicBezTo>
                    <a:pt x="9775" y="4059"/>
                    <a:pt x="9762" y="4077"/>
                    <a:pt x="9750" y="4095"/>
                  </a:cubicBezTo>
                  <a:cubicBezTo>
                    <a:pt x="9735" y="4112"/>
                    <a:pt x="9721" y="4119"/>
                    <a:pt x="9722" y="4111"/>
                  </a:cubicBezTo>
                  <a:cubicBezTo>
                    <a:pt x="9722" y="4103"/>
                    <a:pt x="9731" y="4085"/>
                    <a:pt x="9739" y="4069"/>
                  </a:cubicBezTo>
                  <a:cubicBezTo>
                    <a:pt x="9749" y="4055"/>
                    <a:pt x="9747" y="4049"/>
                    <a:pt x="9735" y="4055"/>
                  </a:cubicBezTo>
                  <a:cubicBezTo>
                    <a:pt x="9724" y="4063"/>
                    <a:pt x="9704" y="4068"/>
                    <a:pt x="9693" y="4065"/>
                  </a:cubicBezTo>
                  <a:cubicBezTo>
                    <a:pt x="9682" y="4062"/>
                    <a:pt x="9675" y="4056"/>
                    <a:pt x="9676" y="4049"/>
                  </a:cubicBezTo>
                  <a:cubicBezTo>
                    <a:pt x="9678" y="4042"/>
                    <a:pt x="9670" y="4047"/>
                    <a:pt x="9657" y="4058"/>
                  </a:cubicBezTo>
                  <a:cubicBezTo>
                    <a:pt x="9646" y="4070"/>
                    <a:pt x="9631" y="4080"/>
                    <a:pt x="9627" y="4078"/>
                  </a:cubicBezTo>
                  <a:cubicBezTo>
                    <a:pt x="9623" y="4078"/>
                    <a:pt x="9622" y="4068"/>
                    <a:pt x="9626" y="4058"/>
                  </a:cubicBezTo>
                  <a:cubicBezTo>
                    <a:pt x="9627" y="4048"/>
                    <a:pt x="9626" y="4038"/>
                    <a:pt x="9619" y="4037"/>
                  </a:cubicBezTo>
                  <a:cubicBezTo>
                    <a:pt x="9612" y="4035"/>
                    <a:pt x="9600" y="4038"/>
                    <a:pt x="9593" y="4042"/>
                  </a:cubicBezTo>
                  <a:cubicBezTo>
                    <a:pt x="9586" y="4046"/>
                    <a:pt x="9575" y="4041"/>
                    <a:pt x="9572" y="4030"/>
                  </a:cubicBezTo>
                  <a:cubicBezTo>
                    <a:pt x="9569" y="4018"/>
                    <a:pt x="9554" y="4012"/>
                    <a:pt x="9542" y="4013"/>
                  </a:cubicBezTo>
                  <a:cubicBezTo>
                    <a:pt x="9529" y="4015"/>
                    <a:pt x="9523" y="4007"/>
                    <a:pt x="9529" y="3996"/>
                  </a:cubicBezTo>
                  <a:cubicBezTo>
                    <a:pt x="9535" y="3984"/>
                    <a:pt x="9515" y="3972"/>
                    <a:pt x="9485" y="3970"/>
                  </a:cubicBezTo>
                  <a:cubicBezTo>
                    <a:pt x="9456" y="3968"/>
                    <a:pt x="9432" y="3953"/>
                    <a:pt x="9435" y="3938"/>
                  </a:cubicBezTo>
                  <a:cubicBezTo>
                    <a:pt x="9435" y="3922"/>
                    <a:pt x="9449" y="3893"/>
                    <a:pt x="9463" y="3875"/>
                  </a:cubicBezTo>
                  <a:cubicBezTo>
                    <a:pt x="9476" y="3856"/>
                    <a:pt x="9496" y="3817"/>
                    <a:pt x="9509" y="3790"/>
                  </a:cubicBezTo>
                  <a:cubicBezTo>
                    <a:pt x="9522" y="3762"/>
                    <a:pt x="9543" y="3730"/>
                    <a:pt x="9550" y="3715"/>
                  </a:cubicBezTo>
                  <a:cubicBezTo>
                    <a:pt x="9559" y="3701"/>
                    <a:pt x="9557" y="3696"/>
                    <a:pt x="9546" y="3704"/>
                  </a:cubicBezTo>
                  <a:cubicBezTo>
                    <a:pt x="9534" y="3711"/>
                    <a:pt x="9518" y="3717"/>
                    <a:pt x="9513" y="3713"/>
                  </a:cubicBezTo>
                  <a:cubicBezTo>
                    <a:pt x="9505" y="3711"/>
                    <a:pt x="9492" y="3714"/>
                    <a:pt x="9481" y="3720"/>
                  </a:cubicBezTo>
                  <a:cubicBezTo>
                    <a:pt x="9471" y="3728"/>
                    <a:pt x="9458" y="3730"/>
                    <a:pt x="9454" y="3728"/>
                  </a:cubicBezTo>
                  <a:cubicBezTo>
                    <a:pt x="9451" y="3725"/>
                    <a:pt x="9438" y="3729"/>
                    <a:pt x="9426" y="3736"/>
                  </a:cubicBezTo>
                  <a:cubicBezTo>
                    <a:pt x="9414" y="3743"/>
                    <a:pt x="9403" y="3745"/>
                    <a:pt x="9400" y="3744"/>
                  </a:cubicBezTo>
                  <a:cubicBezTo>
                    <a:pt x="9400" y="3741"/>
                    <a:pt x="9380" y="3751"/>
                    <a:pt x="9363" y="3766"/>
                  </a:cubicBezTo>
                  <a:cubicBezTo>
                    <a:pt x="9345" y="3781"/>
                    <a:pt x="9310" y="3816"/>
                    <a:pt x="9282" y="3842"/>
                  </a:cubicBezTo>
                  <a:cubicBezTo>
                    <a:pt x="9256" y="3870"/>
                    <a:pt x="9207" y="3920"/>
                    <a:pt x="9176" y="3956"/>
                  </a:cubicBezTo>
                  <a:cubicBezTo>
                    <a:pt x="9144" y="3991"/>
                    <a:pt x="9107" y="4030"/>
                    <a:pt x="9092" y="4042"/>
                  </a:cubicBezTo>
                  <a:cubicBezTo>
                    <a:pt x="9078" y="4055"/>
                    <a:pt x="9048" y="4080"/>
                    <a:pt x="9029" y="4099"/>
                  </a:cubicBezTo>
                  <a:cubicBezTo>
                    <a:pt x="9009" y="4118"/>
                    <a:pt x="8982" y="4140"/>
                    <a:pt x="8971" y="4151"/>
                  </a:cubicBezTo>
                  <a:cubicBezTo>
                    <a:pt x="8958" y="4160"/>
                    <a:pt x="8944" y="4169"/>
                    <a:pt x="8941" y="4166"/>
                  </a:cubicBezTo>
                  <a:cubicBezTo>
                    <a:pt x="8936" y="4165"/>
                    <a:pt x="8920" y="4172"/>
                    <a:pt x="8904" y="4181"/>
                  </a:cubicBezTo>
                  <a:cubicBezTo>
                    <a:pt x="8887" y="4190"/>
                    <a:pt x="8875" y="4195"/>
                    <a:pt x="8872" y="4193"/>
                  </a:cubicBezTo>
                  <a:cubicBezTo>
                    <a:pt x="8873" y="4189"/>
                    <a:pt x="8885" y="4170"/>
                    <a:pt x="8903" y="4150"/>
                  </a:cubicBezTo>
                  <a:cubicBezTo>
                    <a:pt x="8922" y="4130"/>
                    <a:pt x="8945" y="4105"/>
                    <a:pt x="8954" y="4095"/>
                  </a:cubicBezTo>
                  <a:cubicBezTo>
                    <a:pt x="8963" y="4086"/>
                    <a:pt x="8975" y="4073"/>
                    <a:pt x="8983" y="4070"/>
                  </a:cubicBezTo>
                  <a:cubicBezTo>
                    <a:pt x="8989" y="4065"/>
                    <a:pt x="9012" y="4046"/>
                    <a:pt x="9032" y="4024"/>
                  </a:cubicBezTo>
                  <a:cubicBezTo>
                    <a:pt x="9054" y="4005"/>
                    <a:pt x="9079" y="3976"/>
                    <a:pt x="9093" y="3964"/>
                  </a:cubicBezTo>
                  <a:cubicBezTo>
                    <a:pt x="9106" y="3952"/>
                    <a:pt x="9123" y="3936"/>
                    <a:pt x="9130" y="3928"/>
                  </a:cubicBezTo>
                  <a:cubicBezTo>
                    <a:pt x="9137" y="3920"/>
                    <a:pt x="9144" y="3909"/>
                    <a:pt x="9147" y="3904"/>
                  </a:cubicBezTo>
                  <a:cubicBezTo>
                    <a:pt x="9149" y="3898"/>
                    <a:pt x="9143" y="3903"/>
                    <a:pt x="9130" y="3912"/>
                  </a:cubicBezTo>
                  <a:cubicBezTo>
                    <a:pt x="9118" y="3921"/>
                    <a:pt x="9110" y="3926"/>
                    <a:pt x="9108" y="3925"/>
                  </a:cubicBezTo>
                  <a:cubicBezTo>
                    <a:pt x="9105" y="3924"/>
                    <a:pt x="9113" y="3913"/>
                    <a:pt x="9120" y="3903"/>
                  </a:cubicBezTo>
                  <a:cubicBezTo>
                    <a:pt x="9128" y="3893"/>
                    <a:pt x="9151" y="3868"/>
                    <a:pt x="9172" y="3848"/>
                  </a:cubicBezTo>
                  <a:cubicBezTo>
                    <a:pt x="9193" y="3828"/>
                    <a:pt x="9214" y="3806"/>
                    <a:pt x="9216" y="3799"/>
                  </a:cubicBezTo>
                  <a:cubicBezTo>
                    <a:pt x="9219" y="3792"/>
                    <a:pt x="9240" y="3770"/>
                    <a:pt x="9262" y="3749"/>
                  </a:cubicBezTo>
                  <a:cubicBezTo>
                    <a:pt x="9281" y="3727"/>
                    <a:pt x="9305" y="3701"/>
                    <a:pt x="9314" y="3691"/>
                  </a:cubicBezTo>
                  <a:cubicBezTo>
                    <a:pt x="9321" y="3680"/>
                    <a:pt x="9337" y="3660"/>
                    <a:pt x="9345" y="3645"/>
                  </a:cubicBezTo>
                  <a:cubicBezTo>
                    <a:pt x="9356" y="3631"/>
                    <a:pt x="9348" y="3631"/>
                    <a:pt x="9330" y="3645"/>
                  </a:cubicBezTo>
                  <a:cubicBezTo>
                    <a:pt x="9312" y="3660"/>
                    <a:pt x="9291" y="3681"/>
                    <a:pt x="9283" y="3692"/>
                  </a:cubicBezTo>
                  <a:cubicBezTo>
                    <a:pt x="9276" y="3704"/>
                    <a:pt x="9239" y="3740"/>
                    <a:pt x="9203" y="3773"/>
                  </a:cubicBezTo>
                  <a:cubicBezTo>
                    <a:pt x="9167" y="3805"/>
                    <a:pt x="9130" y="3838"/>
                    <a:pt x="9120" y="3845"/>
                  </a:cubicBezTo>
                  <a:cubicBezTo>
                    <a:pt x="9110" y="3851"/>
                    <a:pt x="9096" y="3871"/>
                    <a:pt x="9089" y="3889"/>
                  </a:cubicBezTo>
                  <a:cubicBezTo>
                    <a:pt x="9085" y="3907"/>
                    <a:pt x="9062" y="3934"/>
                    <a:pt x="9046" y="3953"/>
                  </a:cubicBezTo>
                  <a:cubicBezTo>
                    <a:pt x="9028" y="3969"/>
                    <a:pt x="9020" y="3976"/>
                    <a:pt x="9026" y="3966"/>
                  </a:cubicBezTo>
                  <a:cubicBezTo>
                    <a:pt x="9033" y="3956"/>
                    <a:pt x="9026" y="3958"/>
                    <a:pt x="9009" y="3967"/>
                  </a:cubicBezTo>
                  <a:cubicBezTo>
                    <a:pt x="8995" y="3979"/>
                    <a:pt x="8964" y="4004"/>
                    <a:pt x="8942" y="4025"/>
                  </a:cubicBezTo>
                  <a:cubicBezTo>
                    <a:pt x="8922" y="4048"/>
                    <a:pt x="8907" y="4062"/>
                    <a:pt x="8912" y="4060"/>
                  </a:cubicBezTo>
                  <a:cubicBezTo>
                    <a:pt x="8917" y="4058"/>
                    <a:pt x="8908" y="4071"/>
                    <a:pt x="8895" y="4090"/>
                  </a:cubicBezTo>
                  <a:cubicBezTo>
                    <a:pt x="8879" y="4107"/>
                    <a:pt x="8861" y="4125"/>
                    <a:pt x="8853" y="4129"/>
                  </a:cubicBezTo>
                  <a:cubicBezTo>
                    <a:pt x="8846" y="4133"/>
                    <a:pt x="8825" y="4148"/>
                    <a:pt x="8807" y="4165"/>
                  </a:cubicBezTo>
                  <a:cubicBezTo>
                    <a:pt x="8790" y="4182"/>
                    <a:pt x="8772" y="4200"/>
                    <a:pt x="8770" y="4207"/>
                  </a:cubicBezTo>
                  <a:cubicBezTo>
                    <a:pt x="8767" y="4214"/>
                    <a:pt x="8774" y="4213"/>
                    <a:pt x="8786" y="4204"/>
                  </a:cubicBezTo>
                  <a:cubicBezTo>
                    <a:pt x="8797" y="4196"/>
                    <a:pt x="8805" y="4194"/>
                    <a:pt x="8805" y="4200"/>
                  </a:cubicBezTo>
                  <a:cubicBezTo>
                    <a:pt x="8801" y="4205"/>
                    <a:pt x="8778" y="4232"/>
                    <a:pt x="8751" y="4259"/>
                  </a:cubicBezTo>
                  <a:cubicBezTo>
                    <a:pt x="8722" y="4285"/>
                    <a:pt x="8706" y="4296"/>
                    <a:pt x="8711" y="4280"/>
                  </a:cubicBezTo>
                  <a:cubicBezTo>
                    <a:pt x="8719" y="4266"/>
                    <a:pt x="8715" y="4256"/>
                    <a:pt x="8706" y="4261"/>
                  </a:cubicBezTo>
                  <a:cubicBezTo>
                    <a:pt x="8696" y="4265"/>
                    <a:pt x="8694" y="4258"/>
                    <a:pt x="8701" y="4244"/>
                  </a:cubicBezTo>
                  <a:cubicBezTo>
                    <a:pt x="8708" y="4230"/>
                    <a:pt x="8751" y="4165"/>
                    <a:pt x="8799" y="4101"/>
                  </a:cubicBezTo>
                  <a:cubicBezTo>
                    <a:pt x="8845" y="4037"/>
                    <a:pt x="8906" y="3957"/>
                    <a:pt x="8936" y="3924"/>
                  </a:cubicBezTo>
                  <a:cubicBezTo>
                    <a:pt x="8964" y="3890"/>
                    <a:pt x="9013" y="3828"/>
                    <a:pt x="9044" y="3786"/>
                  </a:cubicBezTo>
                  <a:cubicBezTo>
                    <a:pt x="9073" y="3744"/>
                    <a:pt x="9113" y="3694"/>
                    <a:pt x="9131" y="3673"/>
                  </a:cubicBezTo>
                  <a:cubicBezTo>
                    <a:pt x="9150" y="3653"/>
                    <a:pt x="9193" y="3595"/>
                    <a:pt x="9229" y="3544"/>
                  </a:cubicBezTo>
                  <a:cubicBezTo>
                    <a:pt x="9266" y="3494"/>
                    <a:pt x="9306" y="3439"/>
                    <a:pt x="9319" y="3421"/>
                  </a:cubicBezTo>
                  <a:cubicBezTo>
                    <a:pt x="9333" y="3404"/>
                    <a:pt x="9325" y="3407"/>
                    <a:pt x="9300" y="3427"/>
                  </a:cubicBezTo>
                  <a:cubicBezTo>
                    <a:pt x="9278" y="3449"/>
                    <a:pt x="9237" y="3486"/>
                    <a:pt x="9213" y="3511"/>
                  </a:cubicBezTo>
                  <a:cubicBezTo>
                    <a:pt x="9189" y="3536"/>
                    <a:pt x="9172" y="3561"/>
                    <a:pt x="9171" y="3565"/>
                  </a:cubicBezTo>
                  <a:cubicBezTo>
                    <a:pt x="9174" y="3567"/>
                    <a:pt x="9161" y="3581"/>
                    <a:pt x="9149" y="3594"/>
                  </a:cubicBezTo>
                  <a:cubicBezTo>
                    <a:pt x="9138" y="3607"/>
                    <a:pt x="9123" y="3626"/>
                    <a:pt x="9117" y="3637"/>
                  </a:cubicBezTo>
                  <a:cubicBezTo>
                    <a:pt x="9110" y="3648"/>
                    <a:pt x="9091" y="3676"/>
                    <a:pt x="9073" y="3699"/>
                  </a:cubicBezTo>
                  <a:cubicBezTo>
                    <a:pt x="9054" y="3722"/>
                    <a:pt x="9034" y="3744"/>
                    <a:pt x="9026" y="3748"/>
                  </a:cubicBezTo>
                  <a:cubicBezTo>
                    <a:pt x="9019" y="3753"/>
                    <a:pt x="9013" y="3753"/>
                    <a:pt x="9011" y="3750"/>
                  </a:cubicBezTo>
                  <a:cubicBezTo>
                    <a:pt x="9010" y="3747"/>
                    <a:pt x="9001" y="3753"/>
                    <a:pt x="8991" y="3764"/>
                  </a:cubicBezTo>
                  <a:cubicBezTo>
                    <a:pt x="8983" y="3775"/>
                    <a:pt x="8967" y="3793"/>
                    <a:pt x="8958" y="3804"/>
                  </a:cubicBezTo>
                  <a:cubicBezTo>
                    <a:pt x="8949" y="3816"/>
                    <a:pt x="8936" y="3827"/>
                    <a:pt x="8931" y="3829"/>
                  </a:cubicBezTo>
                  <a:cubicBezTo>
                    <a:pt x="8925" y="3831"/>
                    <a:pt x="8904" y="3848"/>
                    <a:pt x="8886" y="3867"/>
                  </a:cubicBezTo>
                  <a:cubicBezTo>
                    <a:pt x="8866" y="3885"/>
                    <a:pt x="8847" y="3907"/>
                    <a:pt x="8841" y="3916"/>
                  </a:cubicBezTo>
                  <a:cubicBezTo>
                    <a:pt x="8836" y="3924"/>
                    <a:pt x="8826" y="3933"/>
                    <a:pt x="8821" y="3937"/>
                  </a:cubicBezTo>
                  <a:cubicBezTo>
                    <a:pt x="8816" y="3941"/>
                    <a:pt x="8779" y="3972"/>
                    <a:pt x="8741" y="4009"/>
                  </a:cubicBezTo>
                  <a:cubicBezTo>
                    <a:pt x="8702" y="4044"/>
                    <a:pt x="8648" y="4099"/>
                    <a:pt x="8619" y="4129"/>
                  </a:cubicBezTo>
                  <a:cubicBezTo>
                    <a:pt x="8591" y="4160"/>
                    <a:pt x="8563" y="4185"/>
                    <a:pt x="8561" y="4182"/>
                  </a:cubicBezTo>
                  <a:cubicBezTo>
                    <a:pt x="8557" y="4181"/>
                    <a:pt x="8562" y="4172"/>
                    <a:pt x="8569" y="4160"/>
                  </a:cubicBezTo>
                  <a:cubicBezTo>
                    <a:pt x="8576" y="4149"/>
                    <a:pt x="8601" y="4126"/>
                    <a:pt x="8620" y="4108"/>
                  </a:cubicBezTo>
                  <a:cubicBezTo>
                    <a:pt x="8640" y="4090"/>
                    <a:pt x="8667" y="4062"/>
                    <a:pt x="8681" y="4045"/>
                  </a:cubicBezTo>
                  <a:cubicBezTo>
                    <a:pt x="8694" y="4028"/>
                    <a:pt x="8697" y="4020"/>
                    <a:pt x="8687" y="4029"/>
                  </a:cubicBezTo>
                  <a:cubicBezTo>
                    <a:pt x="8676" y="4036"/>
                    <a:pt x="8657" y="4056"/>
                    <a:pt x="8641" y="4070"/>
                  </a:cubicBezTo>
                  <a:cubicBezTo>
                    <a:pt x="8625" y="4085"/>
                    <a:pt x="8594" y="4110"/>
                    <a:pt x="8573" y="4129"/>
                  </a:cubicBezTo>
                  <a:cubicBezTo>
                    <a:pt x="8551" y="4146"/>
                    <a:pt x="8516" y="4176"/>
                    <a:pt x="8495" y="4197"/>
                  </a:cubicBezTo>
                  <a:cubicBezTo>
                    <a:pt x="8475" y="4218"/>
                    <a:pt x="8443" y="4245"/>
                    <a:pt x="8426" y="4259"/>
                  </a:cubicBezTo>
                  <a:cubicBezTo>
                    <a:pt x="8408" y="4272"/>
                    <a:pt x="8349" y="4330"/>
                    <a:pt x="8293" y="4385"/>
                  </a:cubicBezTo>
                  <a:cubicBezTo>
                    <a:pt x="8238" y="4442"/>
                    <a:pt x="8176" y="4504"/>
                    <a:pt x="8154" y="4523"/>
                  </a:cubicBezTo>
                  <a:cubicBezTo>
                    <a:pt x="8133" y="4542"/>
                    <a:pt x="8089" y="4585"/>
                    <a:pt x="8060" y="4619"/>
                  </a:cubicBezTo>
                  <a:cubicBezTo>
                    <a:pt x="8029" y="4653"/>
                    <a:pt x="8012" y="4674"/>
                    <a:pt x="8018" y="4663"/>
                  </a:cubicBezTo>
                  <a:cubicBezTo>
                    <a:pt x="8024" y="4653"/>
                    <a:pt x="8054" y="4618"/>
                    <a:pt x="8084" y="4585"/>
                  </a:cubicBezTo>
                  <a:cubicBezTo>
                    <a:pt x="8114" y="4551"/>
                    <a:pt x="8138" y="4520"/>
                    <a:pt x="8142" y="4516"/>
                  </a:cubicBezTo>
                  <a:cubicBezTo>
                    <a:pt x="8142" y="4511"/>
                    <a:pt x="8123" y="4530"/>
                    <a:pt x="8095" y="4557"/>
                  </a:cubicBezTo>
                  <a:cubicBezTo>
                    <a:pt x="8068" y="4585"/>
                    <a:pt x="8051" y="4604"/>
                    <a:pt x="8051" y="4599"/>
                  </a:cubicBezTo>
                  <a:cubicBezTo>
                    <a:pt x="8054" y="4594"/>
                    <a:pt x="8049" y="4598"/>
                    <a:pt x="8039" y="4606"/>
                  </a:cubicBezTo>
                  <a:cubicBezTo>
                    <a:pt x="8030" y="4615"/>
                    <a:pt x="8011" y="4631"/>
                    <a:pt x="7999" y="4645"/>
                  </a:cubicBezTo>
                  <a:cubicBezTo>
                    <a:pt x="7985" y="4656"/>
                    <a:pt x="7979" y="4664"/>
                    <a:pt x="7976" y="4660"/>
                  </a:cubicBezTo>
                  <a:cubicBezTo>
                    <a:pt x="7976" y="4656"/>
                    <a:pt x="7968" y="4661"/>
                    <a:pt x="7957" y="4671"/>
                  </a:cubicBezTo>
                  <a:cubicBezTo>
                    <a:pt x="7946" y="4681"/>
                    <a:pt x="7928" y="4700"/>
                    <a:pt x="7918" y="4713"/>
                  </a:cubicBezTo>
                  <a:cubicBezTo>
                    <a:pt x="7907" y="4726"/>
                    <a:pt x="7862" y="4775"/>
                    <a:pt x="7816" y="4821"/>
                  </a:cubicBezTo>
                  <a:cubicBezTo>
                    <a:pt x="7770" y="4867"/>
                    <a:pt x="7724" y="4911"/>
                    <a:pt x="7715" y="4921"/>
                  </a:cubicBezTo>
                  <a:cubicBezTo>
                    <a:pt x="7704" y="4928"/>
                    <a:pt x="7678" y="4953"/>
                    <a:pt x="7656" y="4974"/>
                  </a:cubicBezTo>
                  <a:cubicBezTo>
                    <a:pt x="7632" y="4994"/>
                    <a:pt x="7592" y="5035"/>
                    <a:pt x="7567" y="5065"/>
                  </a:cubicBezTo>
                  <a:cubicBezTo>
                    <a:pt x="7540" y="5093"/>
                    <a:pt x="7516" y="5125"/>
                    <a:pt x="7510" y="5134"/>
                  </a:cubicBezTo>
                  <a:cubicBezTo>
                    <a:pt x="7506" y="5143"/>
                    <a:pt x="7496" y="5154"/>
                    <a:pt x="7490" y="5157"/>
                  </a:cubicBezTo>
                  <a:cubicBezTo>
                    <a:pt x="7484" y="5161"/>
                    <a:pt x="7470" y="5171"/>
                    <a:pt x="7462" y="5181"/>
                  </a:cubicBezTo>
                  <a:cubicBezTo>
                    <a:pt x="7451" y="5189"/>
                    <a:pt x="7440" y="5203"/>
                    <a:pt x="7433" y="5206"/>
                  </a:cubicBezTo>
                  <a:cubicBezTo>
                    <a:pt x="7426" y="5211"/>
                    <a:pt x="7416" y="5220"/>
                    <a:pt x="7411" y="5226"/>
                  </a:cubicBezTo>
                  <a:cubicBezTo>
                    <a:pt x="7406" y="5233"/>
                    <a:pt x="7399" y="5243"/>
                    <a:pt x="7399" y="5251"/>
                  </a:cubicBezTo>
                  <a:cubicBezTo>
                    <a:pt x="7399" y="5259"/>
                    <a:pt x="7393" y="5267"/>
                    <a:pt x="7388" y="5267"/>
                  </a:cubicBezTo>
                  <a:cubicBezTo>
                    <a:pt x="7382" y="5268"/>
                    <a:pt x="7381" y="5264"/>
                    <a:pt x="7382" y="5255"/>
                  </a:cubicBezTo>
                  <a:cubicBezTo>
                    <a:pt x="7382" y="5247"/>
                    <a:pt x="7398" y="5228"/>
                    <a:pt x="7411" y="5211"/>
                  </a:cubicBezTo>
                  <a:cubicBezTo>
                    <a:pt x="7425" y="5195"/>
                    <a:pt x="7444" y="5178"/>
                    <a:pt x="7450" y="5170"/>
                  </a:cubicBezTo>
                  <a:cubicBezTo>
                    <a:pt x="7458" y="5164"/>
                    <a:pt x="7477" y="5142"/>
                    <a:pt x="7494" y="5123"/>
                  </a:cubicBezTo>
                  <a:cubicBezTo>
                    <a:pt x="7510" y="5104"/>
                    <a:pt x="7537" y="5072"/>
                    <a:pt x="7556" y="5053"/>
                  </a:cubicBezTo>
                  <a:cubicBezTo>
                    <a:pt x="7573" y="5033"/>
                    <a:pt x="7589" y="5020"/>
                    <a:pt x="7589" y="5022"/>
                  </a:cubicBezTo>
                  <a:cubicBezTo>
                    <a:pt x="7592" y="5024"/>
                    <a:pt x="7599" y="5017"/>
                    <a:pt x="7611" y="5006"/>
                  </a:cubicBezTo>
                  <a:cubicBezTo>
                    <a:pt x="7622" y="4993"/>
                    <a:pt x="7640" y="4974"/>
                    <a:pt x="7650" y="4963"/>
                  </a:cubicBezTo>
                  <a:cubicBezTo>
                    <a:pt x="7658" y="4951"/>
                    <a:pt x="7684" y="4923"/>
                    <a:pt x="7706" y="4900"/>
                  </a:cubicBezTo>
                  <a:cubicBezTo>
                    <a:pt x="7726" y="4876"/>
                    <a:pt x="7742" y="4863"/>
                    <a:pt x="7740" y="4868"/>
                  </a:cubicBezTo>
                  <a:cubicBezTo>
                    <a:pt x="7737" y="4873"/>
                    <a:pt x="7764" y="4848"/>
                    <a:pt x="7799" y="4813"/>
                  </a:cubicBezTo>
                  <a:cubicBezTo>
                    <a:pt x="7834" y="4778"/>
                    <a:pt x="7880" y="4732"/>
                    <a:pt x="7900" y="4709"/>
                  </a:cubicBezTo>
                  <a:cubicBezTo>
                    <a:pt x="7920" y="4686"/>
                    <a:pt x="7949" y="4654"/>
                    <a:pt x="7966" y="4639"/>
                  </a:cubicBezTo>
                  <a:cubicBezTo>
                    <a:pt x="7982" y="4622"/>
                    <a:pt x="8011" y="4599"/>
                    <a:pt x="8029" y="4585"/>
                  </a:cubicBezTo>
                  <a:cubicBezTo>
                    <a:pt x="8048" y="4573"/>
                    <a:pt x="8068" y="4554"/>
                    <a:pt x="8074" y="4546"/>
                  </a:cubicBezTo>
                  <a:cubicBezTo>
                    <a:pt x="8082" y="4539"/>
                    <a:pt x="8101" y="4523"/>
                    <a:pt x="8116" y="4510"/>
                  </a:cubicBezTo>
                  <a:cubicBezTo>
                    <a:pt x="8133" y="4497"/>
                    <a:pt x="8166" y="4467"/>
                    <a:pt x="8191" y="4443"/>
                  </a:cubicBezTo>
                  <a:cubicBezTo>
                    <a:pt x="8215" y="4419"/>
                    <a:pt x="8233" y="4405"/>
                    <a:pt x="8231" y="4411"/>
                  </a:cubicBezTo>
                  <a:cubicBezTo>
                    <a:pt x="8228" y="4418"/>
                    <a:pt x="8230" y="4419"/>
                    <a:pt x="8236" y="4415"/>
                  </a:cubicBezTo>
                  <a:cubicBezTo>
                    <a:pt x="8242" y="4411"/>
                    <a:pt x="8258" y="4395"/>
                    <a:pt x="8271" y="4381"/>
                  </a:cubicBezTo>
                  <a:cubicBezTo>
                    <a:pt x="8284" y="4366"/>
                    <a:pt x="8304" y="4352"/>
                    <a:pt x="8311" y="4345"/>
                  </a:cubicBezTo>
                  <a:cubicBezTo>
                    <a:pt x="8320" y="4341"/>
                    <a:pt x="8337" y="4321"/>
                    <a:pt x="8356" y="4307"/>
                  </a:cubicBezTo>
                  <a:cubicBezTo>
                    <a:pt x="8373" y="4292"/>
                    <a:pt x="8401" y="4266"/>
                    <a:pt x="8417" y="4247"/>
                  </a:cubicBezTo>
                  <a:cubicBezTo>
                    <a:pt x="8433" y="4230"/>
                    <a:pt x="8470" y="4195"/>
                    <a:pt x="8498" y="4169"/>
                  </a:cubicBezTo>
                  <a:cubicBezTo>
                    <a:pt x="8527" y="4143"/>
                    <a:pt x="8576" y="4099"/>
                    <a:pt x="8608" y="4070"/>
                  </a:cubicBezTo>
                  <a:cubicBezTo>
                    <a:pt x="8642" y="4042"/>
                    <a:pt x="8677" y="4005"/>
                    <a:pt x="8690" y="3991"/>
                  </a:cubicBezTo>
                  <a:cubicBezTo>
                    <a:pt x="8703" y="3975"/>
                    <a:pt x="8718" y="3960"/>
                    <a:pt x="8723" y="3955"/>
                  </a:cubicBezTo>
                  <a:cubicBezTo>
                    <a:pt x="8728" y="3951"/>
                    <a:pt x="8741" y="3939"/>
                    <a:pt x="8751" y="3929"/>
                  </a:cubicBezTo>
                  <a:cubicBezTo>
                    <a:pt x="8760" y="3919"/>
                    <a:pt x="8767" y="3909"/>
                    <a:pt x="8766" y="3908"/>
                  </a:cubicBezTo>
                  <a:cubicBezTo>
                    <a:pt x="8764" y="3906"/>
                    <a:pt x="8771" y="3894"/>
                    <a:pt x="8781" y="3881"/>
                  </a:cubicBezTo>
                  <a:cubicBezTo>
                    <a:pt x="8791" y="3868"/>
                    <a:pt x="8795" y="3858"/>
                    <a:pt x="8791" y="3858"/>
                  </a:cubicBezTo>
                  <a:cubicBezTo>
                    <a:pt x="8788" y="3860"/>
                    <a:pt x="8777" y="3868"/>
                    <a:pt x="8767" y="3877"/>
                  </a:cubicBezTo>
                  <a:cubicBezTo>
                    <a:pt x="8759" y="3887"/>
                    <a:pt x="8745" y="3903"/>
                    <a:pt x="8738" y="3913"/>
                  </a:cubicBezTo>
                  <a:cubicBezTo>
                    <a:pt x="8729" y="3922"/>
                    <a:pt x="8713" y="3937"/>
                    <a:pt x="8703" y="3949"/>
                  </a:cubicBezTo>
                  <a:cubicBezTo>
                    <a:pt x="8690" y="3957"/>
                    <a:pt x="8683" y="3962"/>
                    <a:pt x="8687" y="3957"/>
                  </a:cubicBezTo>
                  <a:cubicBezTo>
                    <a:pt x="8690" y="3953"/>
                    <a:pt x="8686" y="3951"/>
                    <a:pt x="8681" y="3956"/>
                  </a:cubicBezTo>
                  <a:cubicBezTo>
                    <a:pt x="8674" y="3960"/>
                    <a:pt x="8674" y="3961"/>
                    <a:pt x="8671" y="3959"/>
                  </a:cubicBezTo>
                  <a:cubicBezTo>
                    <a:pt x="8673" y="3957"/>
                    <a:pt x="8663" y="3962"/>
                    <a:pt x="8651" y="3971"/>
                  </a:cubicBezTo>
                  <a:cubicBezTo>
                    <a:pt x="8639" y="3981"/>
                    <a:pt x="8608" y="4009"/>
                    <a:pt x="8580" y="4034"/>
                  </a:cubicBezTo>
                  <a:cubicBezTo>
                    <a:pt x="8554" y="4058"/>
                    <a:pt x="8520" y="4093"/>
                    <a:pt x="8506" y="4110"/>
                  </a:cubicBezTo>
                  <a:cubicBezTo>
                    <a:pt x="8491" y="4126"/>
                    <a:pt x="8471" y="4150"/>
                    <a:pt x="8459" y="4161"/>
                  </a:cubicBezTo>
                  <a:cubicBezTo>
                    <a:pt x="8448" y="4172"/>
                    <a:pt x="8443" y="4175"/>
                    <a:pt x="8443" y="4169"/>
                  </a:cubicBezTo>
                  <a:cubicBezTo>
                    <a:pt x="8446" y="4162"/>
                    <a:pt x="8443" y="4161"/>
                    <a:pt x="8437" y="4165"/>
                  </a:cubicBezTo>
                  <a:cubicBezTo>
                    <a:pt x="8432" y="4170"/>
                    <a:pt x="8414" y="4187"/>
                    <a:pt x="8398" y="4203"/>
                  </a:cubicBezTo>
                  <a:cubicBezTo>
                    <a:pt x="8383" y="4219"/>
                    <a:pt x="8342" y="4257"/>
                    <a:pt x="8307" y="4288"/>
                  </a:cubicBezTo>
                  <a:cubicBezTo>
                    <a:pt x="8274" y="4321"/>
                    <a:pt x="8217" y="4370"/>
                    <a:pt x="8183" y="4398"/>
                  </a:cubicBezTo>
                  <a:cubicBezTo>
                    <a:pt x="8147" y="4427"/>
                    <a:pt x="8121" y="4449"/>
                    <a:pt x="8121" y="4445"/>
                  </a:cubicBezTo>
                  <a:cubicBezTo>
                    <a:pt x="8118" y="4443"/>
                    <a:pt x="8114" y="4445"/>
                    <a:pt x="8107" y="4452"/>
                  </a:cubicBezTo>
                  <a:cubicBezTo>
                    <a:pt x="8098" y="4459"/>
                    <a:pt x="8089" y="4468"/>
                    <a:pt x="8087" y="4472"/>
                  </a:cubicBezTo>
                  <a:cubicBezTo>
                    <a:pt x="8085" y="4477"/>
                    <a:pt x="8076" y="4489"/>
                    <a:pt x="8065" y="4498"/>
                  </a:cubicBezTo>
                  <a:cubicBezTo>
                    <a:pt x="8056" y="4508"/>
                    <a:pt x="8040" y="4518"/>
                    <a:pt x="8034" y="4524"/>
                  </a:cubicBezTo>
                  <a:cubicBezTo>
                    <a:pt x="8026" y="4528"/>
                    <a:pt x="8014" y="4539"/>
                    <a:pt x="8006" y="4546"/>
                  </a:cubicBezTo>
                  <a:cubicBezTo>
                    <a:pt x="7999" y="4554"/>
                    <a:pt x="7978" y="4575"/>
                    <a:pt x="7962" y="4594"/>
                  </a:cubicBezTo>
                  <a:cubicBezTo>
                    <a:pt x="7946" y="4614"/>
                    <a:pt x="7909" y="4654"/>
                    <a:pt x="7881" y="4685"/>
                  </a:cubicBezTo>
                  <a:cubicBezTo>
                    <a:pt x="7854" y="4716"/>
                    <a:pt x="7829" y="4740"/>
                    <a:pt x="7829" y="4739"/>
                  </a:cubicBezTo>
                  <a:cubicBezTo>
                    <a:pt x="7827" y="4738"/>
                    <a:pt x="7819" y="4745"/>
                    <a:pt x="7807" y="4753"/>
                  </a:cubicBezTo>
                  <a:cubicBezTo>
                    <a:pt x="7796" y="4762"/>
                    <a:pt x="7786" y="4770"/>
                    <a:pt x="7785" y="4770"/>
                  </a:cubicBezTo>
                  <a:cubicBezTo>
                    <a:pt x="7786" y="4770"/>
                    <a:pt x="7772" y="4779"/>
                    <a:pt x="7760" y="4789"/>
                  </a:cubicBezTo>
                  <a:cubicBezTo>
                    <a:pt x="7747" y="4799"/>
                    <a:pt x="7729" y="4818"/>
                    <a:pt x="7717" y="4829"/>
                  </a:cubicBezTo>
                  <a:cubicBezTo>
                    <a:pt x="7706" y="4840"/>
                    <a:pt x="7689" y="4856"/>
                    <a:pt x="7681" y="4863"/>
                  </a:cubicBezTo>
                  <a:cubicBezTo>
                    <a:pt x="7674" y="4872"/>
                    <a:pt x="7657" y="4888"/>
                    <a:pt x="7645" y="4901"/>
                  </a:cubicBezTo>
                  <a:cubicBezTo>
                    <a:pt x="7635" y="4914"/>
                    <a:pt x="7615" y="4930"/>
                    <a:pt x="7604" y="4943"/>
                  </a:cubicBezTo>
                  <a:cubicBezTo>
                    <a:pt x="7471" y="5093"/>
                    <a:pt x="7338" y="5244"/>
                    <a:pt x="7206" y="5395"/>
                  </a:cubicBezTo>
                  <a:cubicBezTo>
                    <a:pt x="7203" y="5399"/>
                    <a:pt x="7199" y="5404"/>
                    <a:pt x="7196" y="5408"/>
                  </a:cubicBezTo>
                  <a:cubicBezTo>
                    <a:pt x="7170" y="5446"/>
                    <a:pt x="7137" y="5495"/>
                    <a:pt x="7119" y="5515"/>
                  </a:cubicBezTo>
                  <a:cubicBezTo>
                    <a:pt x="7104" y="5536"/>
                    <a:pt x="7087" y="5558"/>
                    <a:pt x="7085" y="5556"/>
                  </a:cubicBezTo>
                  <a:cubicBezTo>
                    <a:pt x="7082" y="5557"/>
                    <a:pt x="7071" y="5570"/>
                    <a:pt x="7058" y="5581"/>
                  </a:cubicBezTo>
                  <a:cubicBezTo>
                    <a:pt x="7046" y="5593"/>
                    <a:pt x="7003" y="5639"/>
                    <a:pt x="6965" y="5684"/>
                  </a:cubicBezTo>
                  <a:cubicBezTo>
                    <a:pt x="6925" y="5727"/>
                    <a:pt x="6905" y="5749"/>
                    <a:pt x="6921" y="5731"/>
                  </a:cubicBezTo>
                  <a:cubicBezTo>
                    <a:pt x="6936" y="5712"/>
                    <a:pt x="6967" y="5677"/>
                    <a:pt x="6988" y="5652"/>
                  </a:cubicBezTo>
                  <a:cubicBezTo>
                    <a:pt x="7009" y="5627"/>
                    <a:pt x="7034" y="5596"/>
                    <a:pt x="7044" y="5584"/>
                  </a:cubicBezTo>
                  <a:cubicBezTo>
                    <a:pt x="7047" y="5580"/>
                    <a:pt x="7049" y="5577"/>
                    <a:pt x="7051" y="5574"/>
                  </a:cubicBezTo>
                  <a:cubicBezTo>
                    <a:pt x="5024" y="7924"/>
                    <a:pt x="3238" y="10442"/>
                    <a:pt x="1728" y="13103"/>
                  </a:cubicBezTo>
                  <a:cubicBezTo>
                    <a:pt x="1734" y="13095"/>
                    <a:pt x="1744" y="13083"/>
                    <a:pt x="1755" y="13068"/>
                  </a:cubicBezTo>
                  <a:close/>
                  <a:moveTo>
                    <a:pt x="1755" y="130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89" name="AutoShape 1191"/>
            <p:cNvSpPr>
              <a:spLocks/>
            </p:cNvSpPr>
            <p:nvPr/>
          </p:nvSpPr>
          <p:spPr bwMode="auto">
            <a:xfrm>
              <a:off x="4902200" y="1968500"/>
              <a:ext cx="7938" cy="9525"/>
            </a:xfrm>
            <a:custGeom>
              <a:avLst/>
              <a:gdLst/>
              <a:ahLst/>
              <a:cxnLst/>
              <a:rect l="0" t="0" r="r" b="b"/>
              <a:pathLst>
                <a:path w="20521" h="20970">
                  <a:moveTo>
                    <a:pt x="144" y="19383"/>
                  </a:moveTo>
                  <a:cubicBezTo>
                    <a:pt x="-604" y="20962"/>
                    <a:pt x="1659" y="21600"/>
                    <a:pt x="4779" y="20185"/>
                  </a:cubicBezTo>
                  <a:cubicBezTo>
                    <a:pt x="8090" y="19124"/>
                    <a:pt x="11804" y="16254"/>
                    <a:pt x="13239" y="14065"/>
                  </a:cubicBezTo>
                  <a:cubicBezTo>
                    <a:pt x="14425" y="11781"/>
                    <a:pt x="17126" y="8190"/>
                    <a:pt x="19028" y="6025"/>
                  </a:cubicBezTo>
                  <a:cubicBezTo>
                    <a:pt x="20996" y="3958"/>
                    <a:pt x="20933" y="1646"/>
                    <a:pt x="19341" y="1008"/>
                  </a:cubicBezTo>
                  <a:cubicBezTo>
                    <a:pt x="17749" y="434"/>
                    <a:pt x="15064" y="178"/>
                    <a:pt x="13456" y="0"/>
                  </a:cubicBezTo>
                  <a:cubicBezTo>
                    <a:pt x="11849" y="108"/>
                    <a:pt x="10056" y="2164"/>
                    <a:pt x="9947" y="4775"/>
                  </a:cubicBezTo>
                  <a:cubicBezTo>
                    <a:pt x="9806" y="7374"/>
                    <a:pt x="7668" y="11154"/>
                    <a:pt x="5405" y="13018"/>
                  </a:cubicBezTo>
                  <a:cubicBezTo>
                    <a:pt x="3360" y="15084"/>
                    <a:pt x="1128" y="17956"/>
                    <a:pt x="144" y="19383"/>
                  </a:cubicBezTo>
                  <a:close/>
                  <a:moveTo>
                    <a:pt x="144" y="193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0" name="AutoShape 1192"/>
            <p:cNvSpPr>
              <a:spLocks/>
            </p:cNvSpPr>
            <p:nvPr/>
          </p:nvSpPr>
          <p:spPr bwMode="auto">
            <a:xfrm>
              <a:off x="4711700" y="2273300"/>
              <a:ext cx="22225" cy="23813"/>
            </a:xfrm>
            <a:custGeom>
              <a:avLst/>
              <a:gdLst/>
              <a:ahLst/>
              <a:cxnLst/>
              <a:rect l="0" t="0" r="r" b="b"/>
              <a:pathLst>
                <a:path w="21369" h="21288">
                  <a:moveTo>
                    <a:pt x="17347" y="2534"/>
                  </a:moveTo>
                  <a:cubicBezTo>
                    <a:pt x="15944" y="2993"/>
                    <a:pt x="14446" y="2631"/>
                    <a:pt x="13828" y="2377"/>
                  </a:cubicBezTo>
                  <a:cubicBezTo>
                    <a:pt x="13325" y="1936"/>
                    <a:pt x="12363" y="1137"/>
                    <a:pt x="11882" y="452"/>
                  </a:cubicBezTo>
                  <a:cubicBezTo>
                    <a:pt x="11270" y="-126"/>
                    <a:pt x="10383" y="-147"/>
                    <a:pt x="9731" y="371"/>
                  </a:cubicBezTo>
                  <a:cubicBezTo>
                    <a:pt x="9132" y="942"/>
                    <a:pt x="7603" y="1844"/>
                    <a:pt x="6313" y="2269"/>
                  </a:cubicBezTo>
                  <a:cubicBezTo>
                    <a:pt x="5108" y="2842"/>
                    <a:pt x="3585" y="3019"/>
                    <a:pt x="3077" y="2868"/>
                  </a:cubicBezTo>
                  <a:cubicBezTo>
                    <a:pt x="2556" y="2712"/>
                    <a:pt x="1787" y="3295"/>
                    <a:pt x="1210" y="4050"/>
                  </a:cubicBezTo>
                  <a:cubicBezTo>
                    <a:pt x="774" y="4891"/>
                    <a:pt x="100" y="6423"/>
                    <a:pt x="9" y="7546"/>
                  </a:cubicBezTo>
                  <a:cubicBezTo>
                    <a:pt x="-70" y="8678"/>
                    <a:pt x="405" y="9908"/>
                    <a:pt x="1090" y="10475"/>
                  </a:cubicBezTo>
                  <a:cubicBezTo>
                    <a:pt x="1899" y="10879"/>
                    <a:pt x="2613" y="12368"/>
                    <a:pt x="2658" y="13598"/>
                  </a:cubicBezTo>
                  <a:cubicBezTo>
                    <a:pt x="2737" y="14833"/>
                    <a:pt x="3145" y="16064"/>
                    <a:pt x="3483" y="16349"/>
                  </a:cubicBezTo>
                  <a:cubicBezTo>
                    <a:pt x="3603" y="16764"/>
                    <a:pt x="3936" y="17687"/>
                    <a:pt x="3818" y="18712"/>
                  </a:cubicBezTo>
                  <a:cubicBezTo>
                    <a:pt x="3614" y="19721"/>
                    <a:pt x="3915" y="20772"/>
                    <a:pt x="4310" y="21113"/>
                  </a:cubicBezTo>
                  <a:cubicBezTo>
                    <a:pt x="4718" y="21453"/>
                    <a:pt x="6070" y="21290"/>
                    <a:pt x="7202" y="20692"/>
                  </a:cubicBezTo>
                  <a:cubicBezTo>
                    <a:pt x="8402" y="20287"/>
                    <a:pt x="10014" y="19246"/>
                    <a:pt x="10795" y="18540"/>
                  </a:cubicBezTo>
                  <a:cubicBezTo>
                    <a:pt x="11604" y="17870"/>
                    <a:pt x="12951" y="16986"/>
                    <a:pt x="13794" y="16657"/>
                  </a:cubicBezTo>
                  <a:cubicBezTo>
                    <a:pt x="14649" y="16311"/>
                    <a:pt x="15922" y="15411"/>
                    <a:pt x="16709" y="14801"/>
                  </a:cubicBezTo>
                  <a:cubicBezTo>
                    <a:pt x="17461" y="14133"/>
                    <a:pt x="18309" y="13048"/>
                    <a:pt x="18519" y="12341"/>
                  </a:cubicBezTo>
                  <a:cubicBezTo>
                    <a:pt x="18841" y="11650"/>
                    <a:pt x="19238" y="10604"/>
                    <a:pt x="19476" y="10005"/>
                  </a:cubicBezTo>
                  <a:cubicBezTo>
                    <a:pt x="19854" y="9493"/>
                    <a:pt x="20433" y="7503"/>
                    <a:pt x="21010" y="5712"/>
                  </a:cubicBezTo>
                  <a:cubicBezTo>
                    <a:pt x="21456" y="3867"/>
                    <a:pt x="21530" y="2334"/>
                    <a:pt x="20987" y="2162"/>
                  </a:cubicBezTo>
                  <a:cubicBezTo>
                    <a:pt x="20427" y="2016"/>
                    <a:pt x="18786" y="2151"/>
                    <a:pt x="17347" y="2534"/>
                  </a:cubicBezTo>
                  <a:close/>
                  <a:moveTo>
                    <a:pt x="17347" y="25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1" name="AutoShape 1193"/>
            <p:cNvSpPr>
              <a:spLocks/>
            </p:cNvSpPr>
            <p:nvPr/>
          </p:nvSpPr>
          <p:spPr bwMode="auto">
            <a:xfrm>
              <a:off x="5245100" y="1524000"/>
              <a:ext cx="6350" cy="3175"/>
            </a:xfrm>
            <a:custGeom>
              <a:avLst/>
              <a:gdLst/>
              <a:ahLst/>
              <a:cxnLst/>
              <a:rect l="0" t="0" r="r" b="b"/>
              <a:pathLst>
                <a:path w="20087" h="19949">
                  <a:moveTo>
                    <a:pt x="6754" y="19208"/>
                  </a:moveTo>
                  <a:cubicBezTo>
                    <a:pt x="9068" y="17993"/>
                    <a:pt x="13369" y="14006"/>
                    <a:pt x="16210" y="9963"/>
                  </a:cubicBezTo>
                  <a:cubicBezTo>
                    <a:pt x="18800" y="5371"/>
                    <a:pt x="20570" y="1720"/>
                    <a:pt x="19969" y="349"/>
                  </a:cubicBezTo>
                  <a:cubicBezTo>
                    <a:pt x="19578" y="-1202"/>
                    <a:pt x="14050" y="2661"/>
                    <a:pt x="8291" y="7196"/>
                  </a:cubicBezTo>
                  <a:cubicBezTo>
                    <a:pt x="2709" y="12211"/>
                    <a:pt x="-1030" y="17296"/>
                    <a:pt x="253" y="18479"/>
                  </a:cubicBezTo>
                  <a:cubicBezTo>
                    <a:pt x="1055" y="20398"/>
                    <a:pt x="4402" y="20211"/>
                    <a:pt x="6754" y="19208"/>
                  </a:cubicBezTo>
                  <a:close/>
                  <a:moveTo>
                    <a:pt x="6754" y="192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2" name="AutoShape 1194"/>
            <p:cNvSpPr>
              <a:spLocks/>
            </p:cNvSpPr>
            <p:nvPr/>
          </p:nvSpPr>
          <p:spPr bwMode="auto">
            <a:xfrm>
              <a:off x="5537200" y="1346200"/>
              <a:ext cx="7938" cy="3175"/>
            </a:xfrm>
            <a:custGeom>
              <a:avLst/>
              <a:gdLst/>
              <a:ahLst/>
              <a:cxnLst/>
              <a:rect l="0" t="0" r="r" b="b"/>
              <a:pathLst>
                <a:path w="20113" h="20780">
                  <a:moveTo>
                    <a:pt x="9736" y="2869"/>
                  </a:moveTo>
                  <a:cubicBezTo>
                    <a:pt x="7807" y="4786"/>
                    <a:pt x="4436" y="8476"/>
                    <a:pt x="2305" y="11345"/>
                  </a:cubicBezTo>
                  <a:cubicBezTo>
                    <a:pt x="143" y="14112"/>
                    <a:pt x="-704" y="19080"/>
                    <a:pt x="661" y="19857"/>
                  </a:cubicBezTo>
                  <a:cubicBezTo>
                    <a:pt x="1803" y="21600"/>
                    <a:pt x="6163" y="20779"/>
                    <a:pt x="10253" y="18194"/>
                  </a:cubicBezTo>
                  <a:cubicBezTo>
                    <a:pt x="14327" y="15746"/>
                    <a:pt x="18671" y="10713"/>
                    <a:pt x="19564" y="6806"/>
                  </a:cubicBezTo>
                  <a:cubicBezTo>
                    <a:pt x="20896" y="3581"/>
                    <a:pt x="19660" y="356"/>
                    <a:pt x="17432" y="0"/>
                  </a:cubicBezTo>
                  <a:cubicBezTo>
                    <a:pt x="15175" y="0"/>
                    <a:pt x="11759" y="1315"/>
                    <a:pt x="9736" y="2869"/>
                  </a:cubicBezTo>
                  <a:close/>
                  <a:moveTo>
                    <a:pt x="9736" y="28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3" name="AutoShape 1195"/>
            <p:cNvSpPr>
              <a:spLocks/>
            </p:cNvSpPr>
            <p:nvPr/>
          </p:nvSpPr>
          <p:spPr bwMode="auto">
            <a:xfrm>
              <a:off x="5257800" y="1511300"/>
              <a:ext cx="28575" cy="20638"/>
            </a:xfrm>
            <a:custGeom>
              <a:avLst/>
              <a:gdLst/>
              <a:ahLst/>
              <a:cxnLst/>
              <a:rect l="0" t="0" r="r" b="b"/>
              <a:pathLst>
                <a:path w="21157" h="21056">
                  <a:moveTo>
                    <a:pt x="20366" y="302"/>
                  </a:moveTo>
                  <a:cubicBezTo>
                    <a:pt x="19271" y="872"/>
                    <a:pt x="15819" y="3460"/>
                    <a:pt x="12776" y="6154"/>
                  </a:cubicBezTo>
                  <a:cubicBezTo>
                    <a:pt x="9667" y="8724"/>
                    <a:pt x="6277" y="11810"/>
                    <a:pt x="5256" y="13035"/>
                  </a:cubicBezTo>
                  <a:cubicBezTo>
                    <a:pt x="4258" y="14272"/>
                    <a:pt x="2846" y="15747"/>
                    <a:pt x="2117" y="16247"/>
                  </a:cubicBezTo>
                  <a:cubicBezTo>
                    <a:pt x="1433" y="16829"/>
                    <a:pt x="614" y="18209"/>
                    <a:pt x="230" y="19309"/>
                  </a:cubicBezTo>
                  <a:cubicBezTo>
                    <a:pt x="-171" y="20398"/>
                    <a:pt x="-14" y="21224"/>
                    <a:pt x="448" y="21028"/>
                  </a:cubicBezTo>
                  <a:cubicBezTo>
                    <a:pt x="910" y="20820"/>
                    <a:pt x="1769" y="20184"/>
                    <a:pt x="2327" y="19511"/>
                  </a:cubicBezTo>
                  <a:cubicBezTo>
                    <a:pt x="2881" y="18876"/>
                    <a:pt x="3827" y="17834"/>
                    <a:pt x="4476" y="17347"/>
                  </a:cubicBezTo>
                  <a:cubicBezTo>
                    <a:pt x="5099" y="16788"/>
                    <a:pt x="5661" y="16865"/>
                    <a:pt x="5967" y="17145"/>
                  </a:cubicBezTo>
                  <a:cubicBezTo>
                    <a:pt x="6133" y="17585"/>
                    <a:pt x="6729" y="17781"/>
                    <a:pt x="7270" y="17667"/>
                  </a:cubicBezTo>
                  <a:cubicBezTo>
                    <a:pt x="7780" y="17496"/>
                    <a:pt x="8477" y="16906"/>
                    <a:pt x="8852" y="16353"/>
                  </a:cubicBezTo>
                  <a:cubicBezTo>
                    <a:pt x="9215" y="15783"/>
                    <a:pt x="9433" y="14760"/>
                    <a:pt x="9106" y="14575"/>
                  </a:cubicBezTo>
                  <a:cubicBezTo>
                    <a:pt x="8940" y="14147"/>
                    <a:pt x="9276" y="13136"/>
                    <a:pt x="9899" y="12202"/>
                  </a:cubicBezTo>
                  <a:cubicBezTo>
                    <a:pt x="10553" y="11311"/>
                    <a:pt x="12693" y="8938"/>
                    <a:pt x="14795" y="7195"/>
                  </a:cubicBezTo>
                  <a:cubicBezTo>
                    <a:pt x="16839" y="5345"/>
                    <a:pt x="19359" y="2758"/>
                    <a:pt x="20426" y="1491"/>
                  </a:cubicBezTo>
                  <a:cubicBezTo>
                    <a:pt x="21394" y="117"/>
                    <a:pt x="21429" y="-376"/>
                    <a:pt x="20366" y="302"/>
                  </a:cubicBezTo>
                  <a:close/>
                  <a:moveTo>
                    <a:pt x="20366" y="30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4" name="AutoShape 1196"/>
            <p:cNvSpPr>
              <a:spLocks/>
            </p:cNvSpPr>
            <p:nvPr/>
          </p:nvSpPr>
          <p:spPr bwMode="auto">
            <a:xfrm>
              <a:off x="5232400" y="1981200"/>
              <a:ext cx="11113" cy="9525"/>
            </a:xfrm>
            <a:custGeom>
              <a:avLst/>
              <a:gdLst/>
              <a:ahLst/>
              <a:cxnLst/>
              <a:rect l="0" t="0" r="r" b="b"/>
              <a:pathLst>
                <a:path w="20536" h="20637">
                  <a:moveTo>
                    <a:pt x="532" y="16590"/>
                  </a:moveTo>
                  <a:cubicBezTo>
                    <a:pt x="-253" y="19815"/>
                    <a:pt x="-296" y="21281"/>
                    <a:pt x="1272" y="20372"/>
                  </a:cubicBezTo>
                  <a:cubicBezTo>
                    <a:pt x="2728" y="19323"/>
                    <a:pt x="5911" y="17235"/>
                    <a:pt x="8473" y="16085"/>
                  </a:cubicBezTo>
                  <a:cubicBezTo>
                    <a:pt x="10979" y="14769"/>
                    <a:pt x="14910" y="10620"/>
                    <a:pt x="17683" y="7356"/>
                  </a:cubicBezTo>
                  <a:cubicBezTo>
                    <a:pt x="20200" y="3802"/>
                    <a:pt x="21304" y="515"/>
                    <a:pt x="19958" y="186"/>
                  </a:cubicBezTo>
                  <a:cubicBezTo>
                    <a:pt x="18644" y="-319"/>
                    <a:pt x="16369" y="235"/>
                    <a:pt x="15021" y="1489"/>
                  </a:cubicBezTo>
                  <a:cubicBezTo>
                    <a:pt x="13641" y="2639"/>
                    <a:pt x="10405" y="5548"/>
                    <a:pt x="7512" y="7307"/>
                  </a:cubicBezTo>
                  <a:cubicBezTo>
                    <a:pt x="4773" y="9394"/>
                    <a:pt x="1702" y="13554"/>
                    <a:pt x="532" y="16590"/>
                  </a:cubicBezTo>
                  <a:close/>
                  <a:moveTo>
                    <a:pt x="532" y="1659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5" name="AutoShape 1197"/>
            <p:cNvSpPr>
              <a:spLocks/>
            </p:cNvSpPr>
            <p:nvPr/>
          </p:nvSpPr>
          <p:spPr bwMode="auto">
            <a:xfrm>
              <a:off x="5270500" y="1447800"/>
              <a:ext cx="4763" cy="4763"/>
            </a:xfrm>
            <a:custGeom>
              <a:avLst/>
              <a:gdLst/>
              <a:ahLst/>
              <a:cxnLst/>
              <a:rect l="0" t="0" r="r" b="b"/>
              <a:pathLst>
                <a:path w="20879" h="20628">
                  <a:moveTo>
                    <a:pt x="11376" y="15919"/>
                  </a:moveTo>
                  <a:cubicBezTo>
                    <a:pt x="14021" y="14319"/>
                    <a:pt x="17271" y="10193"/>
                    <a:pt x="19317" y="7446"/>
                  </a:cubicBezTo>
                  <a:cubicBezTo>
                    <a:pt x="20770" y="4353"/>
                    <a:pt x="21600" y="1301"/>
                    <a:pt x="20034" y="555"/>
                  </a:cubicBezTo>
                  <a:cubicBezTo>
                    <a:pt x="18511" y="-192"/>
                    <a:pt x="14530" y="-367"/>
                    <a:pt x="11281" y="1193"/>
                  </a:cubicBezTo>
                  <a:cubicBezTo>
                    <a:pt x="7829" y="2267"/>
                    <a:pt x="3958" y="5122"/>
                    <a:pt x="2463" y="7073"/>
                  </a:cubicBezTo>
                  <a:cubicBezTo>
                    <a:pt x="874" y="8983"/>
                    <a:pt x="689" y="13263"/>
                    <a:pt x="0" y="16248"/>
                  </a:cubicBezTo>
                  <a:cubicBezTo>
                    <a:pt x="689" y="19210"/>
                    <a:pt x="1609" y="21233"/>
                    <a:pt x="3500" y="20464"/>
                  </a:cubicBezTo>
                  <a:cubicBezTo>
                    <a:pt x="5203" y="19475"/>
                    <a:pt x="8843" y="17587"/>
                    <a:pt x="11376" y="15919"/>
                  </a:cubicBezTo>
                  <a:close/>
                  <a:moveTo>
                    <a:pt x="11376" y="159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6" name="AutoShape 1198"/>
            <p:cNvSpPr>
              <a:spLocks/>
            </p:cNvSpPr>
            <p:nvPr/>
          </p:nvSpPr>
          <p:spPr bwMode="auto">
            <a:xfrm>
              <a:off x="5118100" y="1079500"/>
              <a:ext cx="917575" cy="457200"/>
            </a:xfrm>
            <a:custGeom>
              <a:avLst/>
              <a:gdLst/>
              <a:ahLst/>
              <a:cxnLst/>
              <a:rect l="0" t="0" r="r" b="b"/>
              <a:pathLst>
                <a:path w="21597" h="21582">
                  <a:moveTo>
                    <a:pt x="8352" y="14247"/>
                  </a:moveTo>
                  <a:cubicBezTo>
                    <a:pt x="8389" y="14209"/>
                    <a:pt x="8426" y="14159"/>
                    <a:pt x="8433" y="14132"/>
                  </a:cubicBezTo>
                  <a:cubicBezTo>
                    <a:pt x="8438" y="14105"/>
                    <a:pt x="8410" y="14099"/>
                    <a:pt x="8368" y="14125"/>
                  </a:cubicBezTo>
                  <a:cubicBezTo>
                    <a:pt x="8325" y="14148"/>
                    <a:pt x="8210" y="14164"/>
                    <a:pt x="8114" y="14171"/>
                  </a:cubicBezTo>
                  <a:cubicBezTo>
                    <a:pt x="8018" y="14173"/>
                    <a:pt x="7939" y="14157"/>
                    <a:pt x="7939" y="14134"/>
                  </a:cubicBezTo>
                  <a:cubicBezTo>
                    <a:pt x="7941" y="14111"/>
                    <a:pt x="7961" y="14064"/>
                    <a:pt x="7991" y="14036"/>
                  </a:cubicBezTo>
                  <a:cubicBezTo>
                    <a:pt x="8020" y="14009"/>
                    <a:pt x="8074" y="13968"/>
                    <a:pt x="8110" y="13945"/>
                  </a:cubicBezTo>
                  <a:cubicBezTo>
                    <a:pt x="8147" y="13929"/>
                    <a:pt x="8188" y="13916"/>
                    <a:pt x="8199" y="13930"/>
                  </a:cubicBezTo>
                  <a:cubicBezTo>
                    <a:pt x="8211" y="13944"/>
                    <a:pt x="8253" y="13923"/>
                    <a:pt x="8291" y="13890"/>
                  </a:cubicBezTo>
                  <a:cubicBezTo>
                    <a:pt x="8329" y="13856"/>
                    <a:pt x="8395" y="13850"/>
                    <a:pt x="8440" y="13865"/>
                  </a:cubicBezTo>
                  <a:cubicBezTo>
                    <a:pt x="8484" y="13881"/>
                    <a:pt x="8541" y="13879"/>
                    <a:pt x="8568" y="13863"/>
                  </a:cubicBezTo>
                  <a:cubicBezTo>
                    <a:pt x="8595" y="13844"/>
                    <a:pt x="8661" y="13770"/>
                    <a:pt x="8714" y="13703"/>
                  </a:cubicBezTo>
                  <a:cubicBezTo>
                    <a:pt x="8768" y="13639"/>
                    <a:pt x="8840" y="13565"/>
                    <a:pt x="8873" y="13536"/>
                  </a:cubicBezTo>
                  <a:cubicBezTo>
                    <a:pt x="8907" y="13513"/>
                    <a:pt x="8955" y="13466"/>
                    <a:pt x="8975" y="13427"/>
                  </a:cubicBezTo>
                  <a:cubicBezTo>
                    <a:pt x="8998" y="13396"/>
                    <a:pt x="9024" y="13327"/>
                    <a:pt x="9029" y="13277"/>
                  </a:cubicBezTo>
                  <a:cubicBezTo>
                    <a:pt x="9037" y="13229"/>
                    <a:pt x="9011" y="13191"/>
                    <a:pt x="8971" y="13182"/>
                  </a:cubicBezTo>
                  <a:cubicBezTo>
                    <a:pt x="8932" y="13182"/>
                    <a:pt x="8879" y="13184"/>
                    <a:pt x="8854" y="13190"/>
                  </a:cubicBezTo>
                  <a:cubicBezTo>
                    <a:pt x="8829" y="13201"/>
                    <a:pt x="8804" y="13190"/>
                    <a:pt x="8808" y="13175"/>
                  </a:cubicBezTo>
                  <a:cubicBezTo>
                    <a:pt x="8810" y="13157"/>
                    <a:pt x="8778" y="13144"/>
                    <a:pt x="8742" y="13155"/>
                  </a:cubicBezTo>
                  <a:cubicBezTo>
                    <a:pt x="8705" y="13156"/>
                    <a:pt x="8675" y="13154"/>
                    <a:pt x="8675" y="13138"/>
                  </a:cubicBezTo>
                  <a:cubicBezTo>
                    <a:pt x="8672" y="13123"/>
                    <a:pt x="8712" y="13084"/>
                    <a:pt x="8757" y="13060"/>
                  </a:cubicBezTo>
                  <a:cubicBezTo>
                    <a:pt x="8802" y="13035"/>
                    <a:pt x="8859" y="13010"/>
                    <a:pt x="8882" y="13014"/>
                  </a:cubicBezTo>
                  <a:cubicBezTo>
                    <a:pt x="8906" y="13014"/>
                    <a:pt x="8927" y="13030"/>
                    <a:pt x="8925" y="13047"/>
                  </a:cubicBezTo>
                  <a:cubicBezTo>
                    <a:pt x="8921" y="13062"/>
                    <a:pt x="8944" y="13084"/>
                    <a:pt x="8968" y="13078"/>
                  </a:cubicBezTo>
                  <a:cubicBezTo>
                    <a:pt x="8993" y="13083"/>
                    <a:pt x="9040" y="13061"/>
                    <a:pt x="9073" y="13039"/>
                  </a:cubicBezTo>
                  <a:cubicBezTo>
                    <a:pt x="9107" y="13018"/>
                    <a:pt x="9151" y="12997"/>
                    <a:pt x="9173" y="13001"/>
                  </a:cubicBezTo>
                  <a:cubicBezTo>
                    <a:pt x="9194" y="13000"/>
                    <a:pt x="9267" y="12940"/>
                    <a:pt x="9333" y="12861"/>
                  </a:cubicBezTo>
                  <a:cubicBezTo>
                    <a:pt x="9399" y="12782"/>
                    <a:pt x="9470" y="12707"/>
                    <a:pt x="9489" y="12693"/>
                  </a:cubicBezTo>
                  <a:cubicBezTo>
                    <a:pt x="9508" y="12680"/>
                    <a:pt x="9550" y="12604"/>
                    <a:pt x="9584" y="12533"/>
                  </a:cubicBezTo>
                  <a:cubicBezTo>
                    <a:pt x="9617" y="12459"/>
                    <a:pt x="9700" y="12316"/>
                    <a:pt x="9768" y="12213"/>
                  </a:cubicBezTo>
                  <a:cubicBezTo>
                    <a:pt x="9834" y="12109"/>
                    <a:pt x="9895" y="11993"/>
                    <a:pt x="9907" y="11960"/>
                  </a:cubicBezTo>
                  <a:cubicBezTo>
                    <a:pt x="9919" y="11928"/>
                    <a:pt x="9901" y="11894"/>
                    <a:pt x="9873" y="11893"/>
                  </a:cubicBezTo>
                  <a:cubicBezTo>
                    <a:pt x="9845" y="11892"/>
                    <a:pt x="9800" y="11882"/>
                    <a:pt x="9775" y="11863"/>
                  </a:cubicBezTo>
                  <a:cubicBezTo>
                    <a:pt x="9749" y="11850"/>
                    <a:pt x="9700" y="11859"/>
                    <a:pt x="9665" y="11885"/>
                  </a:cubicBezTo>
                  <a:cubicBezTo>
                    <a:pt x="9630" y="11909"/>
                    <a:pt x="9572" y="11943"/>
                    <a:pt x="9539" y="11970"/>
                  </a:cubicBezTo>
                  <a:cubicBezTo>
                    <a:pt x="9504" y="11989"/>
                    <a:pt x="9444" y="12039"/>
                    <a:pt x="9403" y="12067"/>
                  </a:cubicBezTo>
                  <a:cubicBezTo>
                    <a:pt x="9365" y="12107"/>
                    <a:pt x="9344" y="12112"/>
                    <a:pt x="9353" y="12082"/>
                  </a:cubicBezTo>
                  <a:cubicBezTo>
                    <a:pt x="9366" y="12058"/>
                    <a:pt x="9414" y="12003"/>
                    <a:pt x="9459" y="11958"/>
                  </a:cubicBezTo>
                  <a:cubicBezTo>
                    <a:pt x="9504" y="11915"/>
                    <a:pt x="9581" y="11853"/>
                    <a:pt x="9630" y="11824"/>
                  </a:cubicBezTo>
                  <a:cubicBezTo>
                    <a:pt x="9678" y="11791"/>
                    <a:pt x="9723" y="11750"/>
                    <a:pt x="9731" y="11730"/>
                  </a:cubicBezTo>
                  <a:cubicBezTo>
                    <a:pt x="9740" y="11712"/>
                    <a:pt x="9710" y="11678"/>
                    <a:pt x="9670" y="11656"/>
                  </a:cubicBezTo>
                  <a:cubicBezTo>
                    <a:pt x="9629" y="11637"/>
                    <a:pt x="9575" y="11621"/>
                    <a:pt x="9551" y="11631"/>
                  </a:cubicBezTo>
                  <a:cubicBezTo>
                    <a:pt x="9526" y="11640"/>
                    <a:pt x="9476" y="11658"/>
                    <a:pt x="9441" y="11687"/>
                  </a:cubicBezTo>
                  <a:cubicBezTo>
                    <a:pt x="9407" y="11715"/>
                    <a:pt x="9362" y="11728"/>
                    <a:pt x="9346" y="11735"/>
                  </a:cubicBezTo>
                  <a:cubicBezTo>
                    <a:pt x="9329" y="11730"/>
                    <a:pt x="9304" y="11751"/>
                    <a:pt x="9292" y="11767"/>
                  </a:cubicBezTo>
                  <a:cubicBezTo>
                    <a:pt x="9281" y="11785"/>
                    <a:pt x="9243" y="11821"/>
                    <a:pt x="9208" y="11852"/>
                  </a:cubicBezTo>
                  <a:cubicBezTo>
                    <a:pt x="9174" y="11883"/>
                    <a:pt x="9137" y="11905"/>
                    <a:pt x="9126" y="11905"/>
                  </a:cubicBezTo>
                  <a:cubicBezTo>
                    <a:pt x="9115" y="11906"/>
                    <a:pt x="9098" y="11915"/>
                    <a:pt x="9087" y="11923"/>
                  </a:cubicBezTo>
                  <a:cubicBezTo>
                    <a:pt x="9077" y="11938"/>
                    <a:pt x="9041" y="11957"/>
                    <a:pt x="9011" y="11977"/>
                  </a:cubicBezTo>
                  <a:cubicBezTo>
                    <a:pt x="8980" y="11994"/>
                    <a:pt x="8963" y="11987"/>
                    <a:pt x="8970" y="11957"/>
                  </a:cubicBezTo>
                  <a:cubicBezTo>
                    <a:pt x="8978" y="11929"/>
                    <a:pt x="8995" y="11883"/>
                    <a:pt x="9011" y="11863"/>
                  </a:cubicBezTo>
                  <a:cubicBezTo>
                    <a:pt x="9022" y="11833"/>
                    <a:pt x="8988" y="11833"/>
                    <a:pt x="8928" y="11839"/>
                  </a:cubicBezTo>
                  <a:cubicBezTo>
                    <a:pt x="8868" y="11852"/>
                    <a:pt x="8814" y="11843"/>
                    <a:pt x="8818" y="11827"/>
                  </a:cubicBezTo>
                  <a:cubicBezTo>
                    <a:pt x="8812" y="11814"/>
                    <a:pt x="8837" y="11792"/>
                    <a:pt x="8862" y="11795"/>
                  </a:cubicBezTo>
                  <a:cubicBezTo>
                    <a:pt x="8887" y="11789"/>
                    <a:pt x="8958" y="11772"/>
                    <a:pt x="9019" y="11740"/>
                  </a:cubicBezTo>
                  <a:cubicBezTo>
                    <a:pt x="9080" y="11712"/>
                    <a:pt x="9144" y="11689"/>
                    <a:pt x="9156" y="11705"/>
                  </a:cubicBezTo>
                  <a:cubicBezTo>
                    <a:pt x="9171" y="11711"/>
                    <a:pt x="9176" y="11741"/>
                    <a:pt x="9169" y="11763"/>
                  </a:cubicBezTo>
                  <a:cubicBezTo>
                    <a:pt x="9162" y="11785"/>
                    <a:pt x="9207" y="11759"/>
                    <a:pt x="9270" y="11710"/>
                  </a:cubicBezTo>
                  <a:cubicBezTo>
                    <a:pt x="9332" y="11656"/>
                    <a:pt x="9441" y="11584"/>
                    <a:pt x="9511" y="11542"/>
                  </a:cubicBezTo>
                  <a:cubicBezTo>
                    <a:pt x="9580" y="11498"/>
                    <a:pt x="9665" y="11466"/>
                    <a:pt x="9698" y="11477"/>
                  </a:cubicBezTo>
                  <a:cubicBezTo>
                    <a:pt x="9730" y="11482"/>
                    <a:pt x="9770" y="11476"/>
                    <a:pt x="9786" y="11461"/>
                  </a:cubicBezTo>
                  <a:cubicBezTo>
                    <a:pt x="9802" y="11447"/>
                    <a:pt x="9823" y="11396"/>
                    <a:pt x="9840" y="11359"/>
                  </a:cubicBezTo>
                  <a:cubicBezTo>
                    <a:pt x="9852" y="11315"/>
                    <a:pt x="9806" y="11296"/>
                    <a:pt x="9735" y="11313"/>
                  </a:cubicBezTo>
                  <a:cubicBezTo>
                    <a:pt x="9663" y="11331"/>
                    <a:pt x="9544" y="11374"/>
                    <a:pt x="9470" y="11418"/>
                  </a:cubicBezTo>
                  <a:cubicBezTo>
                    <a:pt x="9397" y="11461"/>
                    <a:pt x="9300" y="11500"/>
                    <a:pt x="9257" y="11509"/>
                  </a:cubicBezTo>
                  <a:cubicBezTo>
                    <a:pt x="9214" y="11523"/>
                    <a:pt x="9190" y="11514"/>
                    <a:pt x="9199" y="11488"/>
                  </a:cubicBezTo>
                  <a:cubicBezTo>
                    <a:pt x="9212" y="11470"/>
                    <a:pt x="9251" y="11427"/>
                    <a:pt x="9288" y="11399"/>
                  </a:cubicBezTo>
                  <a:cubicBezTo>
                    <a:pt x="9326" y="11373"/>
                    <a:pt x="9377" y="11360"/>
                    <a:pt x="9402" y="11357"/>
                  </a:cubicBezTo>
                  <a:cubicBezTo>
                    <a:pt x="9427" y="11368"/>
                    <a:pt x="9515" y="11333"/>
                    <a:pt x="9596" y="11294"/>
                  </a:cubicBezTo>
                  <a:cubicBezTo>
                    <a:pt x="9678" y="11256"/>
                    <a:pt x="9792" y="11199"/>
                    <a:pt x="9849" y="11166"/>
                  </a:cubicBezTo>
                  <a:cubicBezTo>
                    <a:pt x="9905" y="11130"/>
                    <a:pt x="9967" y="11117"/>
                    <a:pt x="9972" y="11147"/>
                  </a:cubicBezTo>
                  <a:cubicBezTo>
                    <a:pt x="9984" y="11166"/>
                    <a:pt x="9973" y="11228"/>
                    <a:pt x="9954" y="11283"/>
                  </a:cubicBezTo>
                  <a:cubicBezTo>
                    <a:pt x="9931" y="11334"/>
                    <a:pt x="9921" y="11395"/>
                    <a:pt x="9926" y="11414"/>
                  </a:cubicBezTo>
                  <a:cubicBezTo>
                    <a:pt x="9929" y="11434"/>
                    <a:pt x="9967" y="11454"/>
                    <a:pt x="10006" y="11467"/>
                  </a:cubicBezTo>
                  <a:cubicBezTo>
                    <a:pt x="10045" y="11478"/>
                    <a:pt x="10117" y="11472"/>
                    <a:pt x="10166" y="11456"/>
                  </a:cubicBezTo>
                  <a:cubicBezTo>
                    <a:pt x="10215" y="11443"/>
                    <a:pt x="10271" y="11431"/>
                    <a:pt x="10288" y="11445"/>
                  </a:cubicBezTo>
                  <a:cubicBezTo>
                    <a:pt x="10307" y="11456"/>
                    <a:pt x="10334" y="11456"/>
                    <a:pt x="10349" y="11455"/>
                  </a:cubicBezTo>
                  <a:cubicBezTo>
                    <a:pt x="10364" y="11453"/>
                    <a:pt x="10404" y="11411"/>
                    <a:pt x="10437" y="11372"/>
                  </a:cubicBezTo>
                  <a:cubicBezTo>
                    <a:pt x="10469" y="11326"/>
                    <a:pt x="10496" y="11267"/>
                    <a:pt x="10503" y="11236"/>
                  </a:cubicBezTo>
                  <a:cubicBezTo>
                    <a:pt x="10503" y="11203"/>
                    <a:pt x="10517" y="11140"/>
                    <a:pt x="10533" y="11105"/>
                  </a:cubicBezTo>
                  <a:cubicBezTo>
                    <a:pt x="10547" y="11066"/>
                    <a:pt x="10558" y="11015"/>
                    <a:pt x="10549" y="11010"/>
                  </a:cubicBezTo>
                  <a:cubicBezTo>
                    <a:pt x="10545" y="10993"/>
                    <a:pt x="10573" y="10945"/>
                    <a:pt x="10617" y="10898"/>
                  </a:cubicBezTo>
                  <a:cubicBezTo>
                    <a:pt x="10661" y="10850"/>
                    <a:pt x="10685" y="10800"/>
                    <a:pt x="10670" y="10792"/>
                  </a:cubicBezTo>
                  <a:cubicBezTo>
                    <a:pt x="10655" y="10785"/>
                    <a:pt x="10560" y="10808"/>
                    <a:pt x="10458" y="10844"/>
                  </a:cubicBezTo>
                  <a:cubicBezTo>
                    <a:pt x="10357" y="10887"/>
                    <a:pt x="10246" y="10940"/>
                    <a:pt x="10211" y="10968"/>
                  </a:cubicBezTo>
                  <a:cubicBezTo>
                    <a:pt x="10176" y="10996"/>
                    <a:pt x="10130" y="11030"/>
                    <a:pt x="10109" y="11044"/>
                  </a:cubicBezTo>
                  <a:cubicBezTo>
                    <a:pt x="10087" y="11058"/>
                    <a:pt x="10049" y="11056"/>
                    <a:pt x="10024" y="11044"/>
                  </a:cubicBezTo>
                  <a:cubicBezTo>
                    <a:pt x="9999" y="11037"/>
                    <a:pt x="9948" y="11027"/>
                    <a:pt x="9911" y="11039"/>
                  </a:cubicBezTo>
                  <a:cubicBezTo>
                    <a:pt x="9874" y="11049"/>
                    <a:pt x="9825" y="11048"/>
                    <a:pt x="9805" y="11038"/>
                  </a:cubicBezTo>
                  <a:cubicBezTo>
                    <a:pt x="9783" y="11035"/>
                    <a:pt x="9743" y="11032"/>
                    <a:pt x="9715" y="11049"/>
                  </a:cubicBezTo>
                  <a:cubicBezTo>
                    <a:pt x="9687" y="11065"/>
                    <a:pt x="9647" y="11100"/>
                    <a:pt x="9626" y="11123"/>
                  </a:cubicBezTo>
                  <a:cubicBezTo>
                    <a:pt x="9604" y="11146"/>
                    <a:pt x="9570" y="11185"/>
                    <a:pt x="9548" y="11191"/>
                  </a:cubicBezTo>
                  <a:cubicBezTo>
                    <a:pt x="9527" y="11208"/>
                    <a:pt x="9520" y="11187"/>
                    <a:pt x="9531" y="11150"/>
                  </a:cubicBezTo>
                  <a:cubicBezTo>
                    <a:pt x="9545" y="11116"/>
                    <a:pt x="9517" y="11090"/>
                    <a:pt x="9472" y="11104"/>
                  </a:cubicBezTo>
                  <a:cubicBezTo>
                    <a:pt x="9427" y="11115"/>
                    <a:pt x="9393" y="11107"/>
                    <a:pt x="9396" y="11084"/>
                  </a:cubicBezTo>
                  <a:cubicBezTo>
                    <a:pt x="9396" y="11061"/>
                    <a:pt x="9433" y="11022"/>
                    <a:pt x="9469" y="10988"/>
                  </a:cubicBezTo>
                  <a:cubicBezTo>
                    <a:pt x="9506" y="10957"/>
                    <a:pt x="9547" y="10942"/>
                    <a:pt x="9560" y="10951"/>
                  </a:cubicBezTo>
                  <a:cubicBezTo>
                    <a:pt x="9574" y="10962"/>
                    <a:pt x="9610" y="10961"/>
                    <a:pt x="9642" y="10949"/>
                  </a:cubicBezTo>
                  <a:cubicBezTo>
                    <a:pt x="9674" y="10936"/>
                    <a:pt x="9716" y="10901"/>
                    <a:pt x="9736" y="10868"/>
                  </a:cubicBezTo>
                  <a:cubicBezTo>
                    <a:pt x="9755" y="10835"/>
                    <a:pt x="9772" y="10795"/>
                    <a:pt x="9768" y="10783"/>
                  </a:cubicBezTo>
                  <a:cubicBezTo>
                    <a:pt x="9764" y="10771"/>
                    <a:pt x="9781" y="10741"/>
                    <a:pt x="9798" y="10710"/>
                  </a:cubicBezTo>
                  <a:cubicBezTo>
                    <a:pt x="9816" y="10681"/>
                    <a:pt x="9847" y="10668"/>
                    <a:pt x="9864" y="10680"/>
                  </a:cubicBezTo>
                  <a:cubicBezTo>
                    <a:pt x="9881" y="10690"/>
                    <a:pt x="9886" y="10729"/>
                    <a:pt x="9878" y="10769"/>
                  </a:cubicBezTo>
                  <a:cubicBezTo>
                    <a:pt x="9866" y="10804"/>
                    <a:pt x="9879" y="10851"/>
                    <a:pt x="9901" y="10852"/>
                  </a:cubicBezTo>
                  <a:cubicBezTo>
                    <a:pt x="9924" y="10858"/>
                    <a:pt x="10022" y="10835"/>
                    <a:pt x="10118" y="10794"/>
                  </a:cubicBezTo>
                  <a:cubicBezTo>
                    <a:pt x="10217" y="10761"/>
                    <a:pt x="10315" y="10701"/>
                    <a:pt x="10336" y="10668"/>
                  </a:cubicBezTo>
                  <a:cubicBezTo>
                    <a:pt x="10358" y="10635"/>
                    <a:pt x="10360" y="10573"/>
                    <a:pt x="10337" y="10529"/>
                  </a:cubicBezTo>
                  <a:cubicBezTo>
                    <a:pt x="10317" y="10479"/>
                    <a:pt x="10261" y="10460"/>
                    <a:pt x="10217" y="10474"/>
                  </a:cubicBezTo>
                  <a:cubicBezTo>
                    <a:pt x="10173" y="10497"/>
                    <a:pt x="10113" y="10506"/>
                    <a:pt x="10085" y="10500"/>
                  </a:cubicBezTo>
                  <a:cubicBezTo>
                    <a:pt x="10056" y="10492"/>
                    <a:pt x="10036" y="10477"/>
                    <a:pt x="10039" y="10453"/>
                  </a:cubicBezTo>
                  <a:cubicBezTo>
                    <a:pt x="10039" y="10429"/>
                    <a:pt x="10058" y="10389"/>
                    <a:pt x="10077" y="10371"/>
                  </a:cubicBezTo>
                  <a:cubicBezTo>
                    <a:pt x="10094" y="10347"/>
                    <a:pt x="10121" y="10345"/>
                    <a:pt x="10133" y="10364"/>
                  </a:cubicBezTo>
                  <a:cubicBezTo>
                    <a:pt x="10147" y="10379"/>
                    <a:pt x="10202" y="10379"/>
                    <a:pt x="10256" y="10345"/>
                  </a:cubicBezTo>
                  <a:cubicBezTo>
                    <a:pt x="10311" y="10318"/>
                    <a:pt x="10370" y="10292"/>
                    <a:pt x="10387" y="10294"/>
                  </a:cubicBezTo>
                  <a:cubicBezTo>
                    <a:pt x="10404" y="10293"/>
                    <a:pt x="10418" y="10325"/>
                    <a:pt x="10414" y="10360"/>
                  </a:cubicBezTo>
                  <a:cubicBezTo>
                    <a:pt x="10414" y="10397"/>
                    <a:pt x="10430" y="10408"/>
                    <a:pt x="10454" y="10379"/>
                  </a:cubicBezTo>
                  <a:cubicBezTo>
                    <a:pt x="10479" y="10355"/>
                    <a:pt x="10508" y="10355"/>
                    <a:pt x="10522" y="10378"/>
                  </a:cubicBezTo>
                  <a:cubicBezTo>
                    <a:pt x="10536" y="10403"/>
                    <a:pt x="10577" y="10419"/>
                    <a:pt x="10612" y="10403"/>
                  </a:cubicBezTo>
                  <a:cubicBezTo>
                    <a:pt x="10649" y="10397"/>
                    <a:pt x="10687" y="10393"/>
                    <a:pt x="10698" y="10405"/>
                  </a:cubicBezTo>
                  <a:cubicBezTo>
                    <a:pt x="10709" y="10418"/>
                    <a:pt x="10732" y="10422"/>
                    <a:pt x="10749" y="10416"/>
                  </a:cubicBezTo>
                  <a:cubicBezTo>
                    <a:pt x="10766" y="10411"/>
                    <a:pt x="10809" y="10364"/>
                    <a:pt x="10844" y="10319"/>
                  </a:cubicBezTo>
                  <a:cubicBezTo>
                    <a:pt x="10879" y="10272"/>
                    <a:pt x="10935" y="10219"/>
                    <a:pt x="10968" y="10196"/>
                  </a:cubicBezTo>
                  <a:cubicBezTo>
                    <a:pt x="11000" y="10176"/>
                    <a:pt x="11049" y="10167"/>
                    <a:pt x="11074" y="10188"/>
                  </a:cubicBezTo>
                  <a:cubicBezTo>
                    <a:pt x="11100" y="10205"/>
                    <a:pt x="11136" y="10201"/>
                    <a:pt x="11154" y="10183"/>
                  </a:cubicBezTo>
                  <a:cubicBezTo>
                    <a:pt x="11172" y="10165"/>
                    <a:pt x="11192" y="10113"/>
                    <a:pt x="11207" y="10088"/>
                  </a:cubicBezTo>
                  <a:cubicBezTo>
                    <a:pt x="11216" y="10053"/>
                    <a:pt x="11247" y="10016"/>
                    <a:pt x="11270" y="9999"/>
                  </a:cubicBezTo>
                  <a:cubicBezTo>
                    <a:pt x="11294" y="9983"/>
                    <a:pt x="11334" y="9979"/>
                    <a:pt x="11359" y="9993"/>
                  </a:cubicBezTo>
                  <a:cubicBezTo>
                    <a:pt x="11383" y="10007"/>
                    <a:pt x="11437" y="9998"/>
                    <a:pt x="11478" y="9982"/>
                  </a:cubicBezTo>
                  <a:cubicBezTo>
                    <a:pt x="11518" y="9965"/>
                    <a:pt x="11569" y="9932"/>
                    <a:pt x="11587" y="9900"/>
                  </a:cubicBezTo>
                  <a:cubicBezTo>
                    <a:pt x="11608" y="9879"/>
                    <a:pt x="11648" y="9761"/>
                    <a:pt x="11682" y="9654"/>
                  </a:cubicBezTo>
                  <a:cubicBezTo>
                    <a:pt x="11717" y="9547"/>
                    <a:pt x="11693" y="9427"/>
                    <a:pt x="11631" y="9395"/>
                  </a:cubicBezTo>
                  <a:cubicBezTo>
                    <a:pt x="11570" y="9365"/>
                    <a:pt x="11495" y="9344"/>
                    <a:pt x="11465" y="9361"/>
                  </a:cubicBezTo>
                  <a:cubicBezTo>
                    <a:pt x="11433" y="9374"/>
                    <a:pt x="11397" y="9409"/>
                    <a:pt x="11379" y="9421"/>
                  </a:cubicBezTo>
                  <a:cubicBezTo>
                    <a:pt x="11366" y="9447"/>
                    <a:pt x="11333" y="9452"/>
                    <a:pt x="11311" y="9456"/>
                  </a:cubicBezTo>
                  <a:cubicBezTo>
                    <a:pt x="11290" y="9456"/>
                    <a:pt x="11279" y="9438"/>
                    <a:pt x="11289" y="9420"/>
                  </a:cubicBezTo>
                  <a:cubicBezTo>
                    <a:pt x="11297" y="9398"/>
                    <a:pt x="11359" y="9346"/>
                    <a:pt x="11424" y="9304"/>
                  </a:cubicBezTo>
                  <a:cubicBezTo>
                    <a:pt x="11489" y="9261"/>
                    <a:pt x="11562" y="9220"/>
                    <a:pt x="11586" y="9214"/>
                  </a:cubicBezTo>
                  <a:cubicBezTo>
                    <a:pt x="11610" y="9210"/>
                    <a:pt x="11650" y="9181"/>
                    <a:pt x="11677" y="9160"/>
                  </a:cubicBezTo>
                  <a:cubicBezTo>
                    <a:pt x="11702" y="9134"/>
                    <a:pt x="11738" y="9123"/>
                    <a:pt x="11757" y="9129"/>
                  </a:cubicBezTo>
                  <a:cubicBezTo>
                    <a:pt x="11776" y="9133"/>
                    <a:pt x="11779" y="9171"/>
                    <a:pt x="11767" y="9208"/>
                  </a:cubicBezTo>
                  <a:cubicBezTo>
                    <a:pt x="11753" y="9242"/>
                    <a:pt x="11754" y="9279"/>
                    <a:pt x="11765" y="9288"/>
                  </a:cubicBezTo>
                  <a:cubicBezTo>
                    <a:pt x="11777" y="9298"/>
                    <a:pt x="11830" y="9288"/>
                    <a:pt x="11881" y="9265"/>
                  </a:cubicBezTo>
                  <a:cubicBezTo>
                    <a:pt x="11933" y="9243"/>
                    <a:pt x="11965" y="9275"/>
                    <a:pt x="11952" y="9336"/>
                  </a:cubicBezTo>
                  <a:cubicBezTo>
                    <a:pt x="11939" y="9396"/>
                    <a:pt x="11933" y="9457"/>
                    <a:pt x="11941" y="9468"/>
                  </a:cubicBezTo>
                  <a:cubicBezTo>
                    <a:pt x="11949" y="9477"/>
                    <a:pt x="11986" y="9478"/>
                    <a:pt x="12025" y="9458"/>
                  </a:cubicBezTo>
                  <a:cubicBezTo>
                    <a:pt x="12063" y="9442"/>
                    <a:pt x="12102" y="9434"/>
                    <a:pt x="12109" y="9449"/>
                  </a:cubicBezTo>
                  <a:cubicBezTo>
                    <a:pt x="12117" y="9463"/>
                    <a:pt x="12204" y="9424"/>
                    <a:pt x="12303" y="9375"/>
                  </a:cubicBezTo>
                  <a:cubicBezTo>
                    <a:pt x="12402" y="9322"/>
                    <a:pt x="12527" y="9262"/>
                    <a:pt x="12580" y="9232"/>
                  </a:cubicBezTo>
                  <a:cubicBezTo>
                    <a:pt x="12634" y="9207"/>
                    <a:pt x="12743" y="9105"/>
                    <a:pt x="12825" y="9012"/>
                  </a:cubicBezTo>
                  <a:cubicBezTo>
                    <a:pt x="12906" y="8919"/>
                    <a:pt x="12985" y="8816"/>
                    <a:pt x="12997" y="8780"/>
                  </a:cubicBezTo>
                  <a:cubicBezTo>
                    <a:pt x="13011" y="8748"/>
                    <a:pt x="13002" y="8714"/>
                    <a:pt x="12980" y="8717"/>
                  </a:cubicBezTo>
                  <a:cubicBezTo>
                    <a:pt x="12957" y="8713"/>
                    <a:pt x="12921" y="8736"/>
                    <a:pt x="12899" y="8753"/>
                  </a:cubicBezTo>
                  <a:cubicBezTo>
                    <a:pt x="12878" y="8777"/>
                    <a:pt x="12847" y="8787"/>
                    <a:pt x="12833" y="8782"/>
                  </a:cubicBezTo>
                  <a:cubicBezTo>
                    <a:pt x="12818" y="8778"/>
                    <a:pt x="12821" y="8754"/>
                    <a:pt x="12840" y="8733"/>
                  </a:cubicBezTo>
                  <a:cubicBezTo>
                    <a:pt x="12859" y="8713"/>
                    <a:pt x="12919" y="8656"/>
                    <a:pt x="12976" y="8619"/>
                  </a:cubicBezTo>
                  <a:cubicBezTo>
                    <a:pt x="13032" y="8575"/>
                    <a:pt x="13119" y="8527"/>
                    <a:pt x="13168" y="8511"/>
                  </a:cubicBezTo>
                  <a:cubicBezTo>
                    <a:pt x="13217" y="8493"/>
                    <a:pt x="13296" y="8441"/>
                    <a:pt x="13342" y="8394"/>
                  </a:cubicBezTo>
                  <a:cubicBezTo>
                    <a:pt x="13389" y="8349"/>
                    <a:pt x="13442" y="8285"/>
                    <a:pt x="13458" y="8247"/>
                  </a:cubicBezTo>
                  <a:cubicBezTo>
                    <a:pt x="13476" y="8211"/>
                    <a:pt x="13476" y="8169"/>
                    <a:pt x="13462" y="8149"/>
                  </a:cubicBezTo>
                  <a:cubicBezTo>
                    <a:pt x="13446" y="8135"/>
                    <a:pt x="13349" y="8163"/>
                    <a:pt x="13245" y="8216"/>
                  </a:cubicBezTo>
                  <a:cubicBezTo>
                    <a:pt x="13141" y="8269"/>
                    <a:pt x="12997" y="8340"/>
                    <a:pt x="12925" y="8363"/>
                  </a:cubicBezTo>
                  <a:cubicBezTo>
                    <a:pt x="12852" y="8392"/>
                    <a:pt x="12804" y="8389"/>
                    <a:pt x="12819" y="8366"/>
                  </a:cubicBezTo>
                  <a:cubicBezTo>
                    <a:pt x="12831" y="8338"/>
                    <a:pt x="12872" y="8303"/>
                    <a:pt x="12907" y="8282"/>
                  </a:cubicBezTo>
                  <a:cubicBezTo>
                    <a:pt x="12942" y="8261"/>
                    <a:pt x="12992" y="8213"/>
                    <a:pt x="13015" y="8169"/>
                  </a:cubicBezTo>
                  <a:cubicBezTo>
                    <a:pt x="13042" y="8133"/>
                    <a:pt x="13070" y="8098"/>
                    <a:pt x="13083" y="8100"/>
                  </a:cubicBezTo>
                  <a:cubicBezTo>
                    <a:pt x="13096" y="8106"/>
                    <a:pt x="13103" y="8130"/>
                    <a:pt x="13098" y="8161"/>
                  </a:cubicBezTo>
                  <a:cubicBezTo>
                    <a:pt x="13091" y="8189"/>
                    <a:pt x="13111" y="8202"/>
                    <a:pt x="13137" y="8185"/>
                  </a:cubicBezTo>
                  <a:cubicBezTo>
                    <a:pt x="13164" y="8168"/>
                    <a:pt x="13207" y="8131"/>
                    <a:pt x="13234" y="8106"/>
                  </a:cubicBezTo>
                  <a:cubicBezTo>
                    <a:pt x="13261" y="8079"/>
                    <a:pt x="13333" y="8041"/>
                    <a:pt x="13396" y="8030"/>
                  </a:cubicBezTo>
                  <a:cubicBezTo>
                    <a:pt x="13459" y="8016"/>
                    <a:pt x="13534" y="7979"/>
                    <a:pt x="13564" y="7952"/>
                  </a:cubicBezTo>
                  <a:cubicBezTo>
                    <a:pt x="13593" y="7923"/>
                    <a:pt x="13645" y="7907"/>
                    <a:pt x="13678" y="7910"/>
                  </a:cubicBezTo>
                  <a:cubicBezTo>
                    <a:pt x="13712" y="7916"/>
                    <a:pt x="13754" y="7906"/>
                    <a:pt x="13774" y="7898"/>
                  </a:cubicBezTo>
                  <a:cubicBezTo>
                    <a:pt x="13793" y="7886"/>
                    <a:pt x="13850" y="7827"/>
                    <a:pt x="13900" y="7766"/>
                  </a:cubicBezTo>
                  <a:cubicBezTo>
                    <a:pt x="13951" y="7706"/>
                    <a:pt x="13990" y="7639"/>
                    <a:pt x="13990" y="7616"/>
                  </a:cubicBezTo>
                  <a:cubicBezTo>
                    <a:pt x="13990" y="7593"/>
                    <a:pt x="13956" y="7571"/>
                    <a:pt x="13918" y="7569"/>
                  </a:cubicBezTo>
                  <a:cubicBezTo>
                    <a:pt x="13880" y="7567"/>
                    <a:pt x="13865" y="7532"/>
                    <a:pt x="13887" y="7500"/>
                  </a:cubicBezTo>
                  <a:cubicBezTo>
                    <a:pt x="13909" y="7468"/>
                    <a:pt x="13945" y="7412"/>
                    <a:pt x="13970" y="7384"/>
                  </a:cubicBezTo>
                  <a:cubicBezTo>
                    <a:pt x="13995" y="7355"/>
                    <a:pt x="14024" y="7294"/>
                    <a:pt x="14029" y="7246"/>
                  </a:cubicBezTo>
                  <a:cubicBezTo>
                    <a:pt x="14037" y="7200"/>
                    <a:pt x="14059" y="7174"/>
                    <a:pt x="14080" y="7174"/>
                  </a:cubicBezTo>
                  <a:cubicBezTo>
                    <a:pt x="14100" y="7183"/>
                    <a:pt x="14111" y="7212"/>
                    <a:pt x="14102" y="7241"/>
                  </a:cubicBezTo>
                  <a:cubicBezTo>
                    <a:pt x="14095" y="7274"/>
                    <a:pt x="14065" y="7326"/>
                    <a:pt x="14040" y="7359"/>
                  </a:cubicBezTo>
                  <a:cubicBezTo>
                    <a:pt x="14015" y="7392"/>
                    <a:pt x="13997" y="7434"/>
                    <a:pt x="13997" y="7452"/>
                  </a:cubicBezTo>
                  <a:cubicBezTo>
                    <a:pt x="14000" y="7468"/>
                    <a:pt x="14022" y="7477"/>
                    <a:pt x="14050" y="7471"/>
                  </a:cubicBezTo>
                  <a:cubicBezTo>
                    <a:pt x="14077" y="7463"/>
                    <a:pt x="14126" y="7434"/>
                    <a:pt x="14158" y="7400"/>
                  </a:cubicBezTo>
                  <a:cubicBezTo>
                    <a:pt x="14191" y="7371"/>
                    <a:pt x="14294" y="7301"/>
                    <a:pt x="14388" y="7250"/>
                  </a:cubicBezTo>
                  <a:cubicBezTo>
                    <a:pt x="14483" y="7202"/>
                    <a:pt x="14586" y="7119"/>
                    <a:pt x="14620" y="7080"/>
                  </a:cubicBezTo>
                  <a:cubicBezTo>
                    <a:pt x="14651" y="7033"/>
                    <a:pt x="14719" y="6962"/>
                    <a:pt x="14766" y="6912"/>
                  </a:cubicBezTo>
                  <a:cubicBezTo>
                    <a:pt x="14815" y="6867"/>
                    <a:pt x="14863" y="6792"/>
                    <a:pt x="14871" y="6751"/>
                  </a:cubicBezTo>
                  <a:cubicBezTo>
                    <a:pt x="14880" y="6711"/>
                    <a:pt x="14905" y="6663"/>
                    <a:pt x="14923" y="6640"/>
                  </a:cubicBezTo>
                  <a:cubicBezTo>
                    <a:pt x="14942" y="6620"/>
                    <a:pt x="14983" y="6585"/>
                    <a:pt x="15016" y="6574"/>
                  </a:cubicBezTo>
                  <a:cubicBezTo>
                    <a:pt x="15049" y="6558"/>
                    <a:pt x="15109" y="6508"/>
                    <a:pt x="15152" y="6466"/>
                  </a:cubicBezTo>
                  <a:cubicBezTo>
                    <a:pt x="15194" y="6420"/>
                    <a:pt x="15251" y="6378"/>
                    <a:pt x="15278" y="6370"/>
                  </a:cubicBezTo>
                  <a:cubicBezTo>
                    <a:pt x="15306" y="6363"/>
                    <a:pt x="15362" y="6334"/>
                    <a:pt x="15400" y="6293"/>
                  </a:cubicBezTo>
                  <a:cubicBezTo>
                    <a:pt x="15439" y="6260"/>
                    <a:pt x="15540" y="6186"/>
                    <a:pt x="15625" y="6134"/>
                  </a:cubicBezTo>
                  <a:cubicBezTo>
                    <a:pt x="15710" y="6081"/>
                    <a:pt x="15807" y="5998"/>
                    <a:pt x="15841" y="5949"/>
                  </a:cubicBezTo>
                  <a:cubicBezTo>
                    <a:pt x="15875" y="5898"/>
                    <a:pt x="15968" y="5821"/>
                    <a:pt x="16046" y="5769"/>
                  </a:cubicBezTo>
                  <a:cubicBezTo>
                    <a:pt x="16124" y="5714"/>
                    <a:pt x="16229" y="5640"/>
                    <a:pt x="16276" y="5587"/>
                  </a:cubicBezTo>
                  <a:cubicBezTo>
                    <a:pt x="16323" y="5532"/>
                    <a:pt x="16398" y="5482"/>
                    <a:pt x="16441" y="5468"/>
                  </a:cubicBezTo>
                  <a:cubicBezTo>
                    <a:pt x="16483" y="5455"/>
                    <a:pt x="16543" y="5421"/>
                    <a:pt x="16575" y="5397"/>
                  </a:cubicBezTo>
                  <a:cubicBezTo>
                    <a:pt x="16606" y="5374"/>
                    <a:pt x="16667" y="5339"/>
                    <a:pt x="16708" y="5312"/>
                  </a:cubicBezTo>
                  <a:cubicBezTo>
                    <a:pt x="16750" y="5292"/>
                    <a:pt x="16842" y="5231"/>
                    <a:pt x="16910" y="5172"/>
                  </a:cubicBezTo>
                  <a:cubicBezTo>
                    <a:pt x="16980" y="5122"/>
                    <a:pt x="17083" y="5024"/>
                    <a:pt x="17140" y="4962"/>
                  </a:cubicBezTo>
                  <a:cubicBezTo>
                    <a:pt x="17196" y="4900"/>
                    <a:pt x="17268" y="4831"/>
                    <a:pt x="17300" y="4820"/>
                  </a:cubicBezTo>
                  <a:cubicBezTo>
                    <a:pt x="17331" y="4797"/>
                    <a:pt x="17390" y="4744"/>
                    <a:pt x="17431" y="4694"/>
                  </a:cubicBezTo>
                  <a:cubicBezTo>
                    <a:pt x="17474" y="4646"/>
                    <a:pt x="17573" y="4556"/>
                    <a:pt x="17656" y="4512"/>
                  </a:cubicBezTo>
                  <a:cubicBezTo>
                    <a:pt x="17738" y="4459"/>
                    <a:pt x="17827" y="4407"/>
                    <a:pt x="17852" y="4379"/>
                  </a:cubicBezTo>
                  <a:cubicBezTo>
                    <a:pt x="17877" y="4356"/>
                    <a:pt x="17961" y="4280"/>
                    <a:pt x="18040" y="4222"/>
                  </a:cubicBezTo>
                  <a:cubicBezTo>
                    <a:pt x="18117" y="4158"/>
                    <a:pt x="18217" y="4058"/>
                    <a:pt x="18261" y="3996"/>
                  </a:cubicBezTo>
                  <a:cubicBezTo>
                    <a:pt x="18304" y="3932"/>
                    <a:pt x="18372" y="3836"/>
                    <a:pt x="18410" y="3776"/>
                  </a:cubicBezTo>
                  <a:cubicBezTo>
                    <a:pt x="18449" y="3718"/>
                    <a:pt x="18426" y="3694"/>
                    <a:pt x="18361" y="3722"/>
                  </a:cubicBezTo>
                  <a:cubicBezTo>
                    <a:pt x="18296" y="3755"/>
                    <a:pt x="18202" y="3794"/>
                    <a:pt x="18153" y="3827"/>
                  </a:cubicBezTo>
                  <a:cubicBezTo>
                    <a:pt x="18104" y="3854"/>
                    <a:pt x="18040" y="3885"/>
                    <a:pt x="18010" y="3888"/>
                  </a:cubicBezTo>
                  <a:cubicBezTo>
                    <a:pt x="17980" y="3896"/>
                    <a:pt x="17919" y="3913"/>
                    <a:pt x="17875" y="3937"/>
                  </a:cubicBezTo>
                  <a:cubicBezTo>
                    <a:pt x="17831" y="3954"/>
                    <a:pt x="17729" y="4044"/>
                    <a:pt x="17650" y="4128"/>
                  </a:cubicBezTo>
                  <a:cubicBezTo>
                    <a:pt x="17570" y="4209"/>
                    <a:pt x="17418" y="4334"/>
                    <a:pt x="17312" y="4395"/>
                  </a:cubicBezTo>
                  <a:cubicBezTo>
                    <a:pt x="17205" y="4457"/>
                    <a:pt x="16993" y="4578"/>
                    <a:pt x="16840" y="4657"/>
                  </a:cubicBezTo>
                  <a:cubicBezTo>
                    <a:pt x="16686" y="4736"/>
                    <a:pt x="16521" y="4823"/>
                    <a:pt x="16472" y="4839"/>
                  </a:cubicBezTo>
                  <a:cubicBezTo>
                    <a:pt x="16422" y="4857"/>
                    <a:pt x="16291" y="4918"/>
                    <a:pt x="16179" y="4970"/>
                  </a:cubicBezTo>
                  <a:cubicBezTo>
                    <a:pt x="16067" y="5023"/>
                    <a:pt x="15924" y="5117"/>
                    <a:pt x="15860" y="5170"/>
                  </a:cubicBezTo>
                  <a:cubicBezTo>
                    <a:pt x="15796" y="5229"/>
                    <a:pt x="15742" y="5246"/>
                    <a:pt x="15747" y="5219"/>
                  </a:cubicBezTo>
                  <a:cubicBezTo>
                    <a:pt x="15747" y="5190"/>
                    <a:pt x="15717" y="5184"/>
                    <a:pt x="15677" y="5209"/>
                  </a:cubicBezTo>
                  <a:cubicBezTo>
                    <a:pt x="15637" y="5234"/>
                    <a:pt x="15627" y="5216"/>
                    <a:pt x="15657" y="5175"/>
                  </a:cubicBezTo>
                  <a:cubicBezTo>
                    <a:pt x="15686" y="5134"/>
                    <a:pt x="15744" y="5077"/>
                    <a:pt x="15785" y="5052"/>
                  </a:cubicBezTo>
                  <a:cubicBezTo>
                    <a:pt x="15826" y="5022"/>
                    <a:pt x="15883" y="4994"/>
                    <a:pt x="15911" y="4991"/>
                  </a:cubicBezTo>
                  <a:cubicBezTo>
                    <a:pt x="15938" y="4983"/>
                    <a:pt x="15995" y="4950"/>
                    <a:pt x="16037" y="4918"/>
                  </a:cubicBezTo>
                  <a:cubicBezTo>
                    <a:pt x="16079" y="4882"/>
                    <a:pt x="16113" y="4875"/>
                    <a:pt x="16117" y="4891"/>
                  </a:cubicBezTo>
                  <a:cubicBezTo>
                    <a:pt x="16117" y="4909"/>
                    <a:pt x="16160" y="4904"/>
                    <a:pt x="16210" y="4889"/>
                  </a:cubicBezTo>
                  <a:cubicBezTo>
                    <a:pt x="16259" y="4866"/>
                    <a:pt x="16355" y="4827"/>
                    <a:pt x="16418" y="4778"/>
                  </a:cubicBezTo>
                  <a:cubicBezTo>
                    <a:pt x="16484" y="4736"/>
                    <a:pt x="16575" y="4684"/>
                    <a:pt x="16620" y="4661"/>
                  </a:cubicBezTo>
                  <a:cubicBezTo>
                    <a:pt x="16666" y="4639"/>
                    <a:pt x="16798" y="4566"/>
                    <a:pt x="16914" y="4497"/>
                  </a:cubicBezTo>
                  <a:cubicBezTo>
                    <a:pt x="17030" y="4428"/>
                    <a:pt x="17284" y="4248"/>
                    <a:pt x="17480" y="4110"/>
                  </a:cubicBezTo>
                  <a:cubicBezTo>
                    <a:pt x="17676" y="3966"/>
                    <a:pt x="17862" y="3825"/>
                    <a:pt x="17893" y="3792"/>
                  </a:cubicBezTo>
                  <a:cubicBezTo>
                    <a:pt x="17925" y="3761"/>
                    <a:pt x="17936" y="3729"/>
                    <a:pt x="17919" y="3718"/>
                  </a:cubicBezTo>
                  <a:cubicBezTo>
                    <a:pt x="17901" y="3709"/>
                    <a:pt x="17826" y="3720"/>
                    <a:pt x="17751" y="3744"/>
                  </a:cubicBezTo>
                  <a:cubicBezTo>
                    <a:pt x="17676" y="3770"/>
                    <a:pt x="17511" y="3822"/>
                    <a:pt x="17384" y="3868"/>
                  </a:cubicBezTo>
                  <a:cubicBezTo>
                    <a:pt x="17258" y="3912"/>
                    <a:pt x="17143" y="3939"/>
                    <a:pt x="17130" y="3921"/>
                  </a:cubicBezTo>
                  <a:cubicBezTo>
                    <a:pt x="17117" y="3902"/>
                    <a:pt x="17147" y="3881"/>
                    <a:pt x="17198" y="3874"/>
                  </a:cubicBezTo>
                  <a:cubicBezTo>
                    <a:pt x="17249" y="3859"/>
                    <a:pt x="17322" y="3843"/>
                    <a:pt x="17358" y="3822"/>
                  </a:cubicBezTo>
                  <a:cubicBezTo>
                    <a:pt x="17394" y="3802"/>
                    <a:pt x="17421" y="3773"/>
                    <a:pt x="17421" y="3756"/>
                  </a:cubicBezTo>
                  <a:cubicBezTo>
                    <a:pt x="17419" y="3739"/>
                    <a:pt x="17391" y="3718"/>
                    <a:pt x="17359" y="3699"/>
                  </a:cubicBezTo>
                  <a:cubicBezTo>
                    <a:pt x="17326" y="3687"/>
                    <a:pt x="17301" y="3647"/>
                    <a:pt x="17303" y="3615"/>
                  </a:cubicBezTo>
                  <a:cubicBezTo>
                    <a:pt x="17303" y="3582"/>
                    <a:pt x="17332" y="3570"/>
                    <a:pt x="17363" y="3583"/>
                  </a:cubicBezTo>
                  <a:cubicBezTo>
                    <a:pt x="17393" y="3595"/>
                    <a:pt x="17454" y="3632"/>
                    <a:pt x="17497" y="3666"/>
                  </a:cubicBezTo>
                  <a:cubicBezTo>
                    <a:pt x="17540" y="3694"/>
                    <a:pt x="17594" y="3718"/>
                    <a:pt x="17615" y="3702"/>
                  </a:cubicBezTo>
                  <a:cubicBezTo>
                    <a:pt x="17638" y="3696"/>
                    <a:pt x="17678" y="3665"/>
                    <a:pt x="17704" y="3642"/>
                  </a:cubicBezTo>
                  <a:cubicBezTo>
                    <a:pt x="17731" y="3623"/>
                    <a:pt x="17766" y="3608"/>
                    <a:pt x="17783" y="3618"/>
                  </a:cubicBezTo>
                  <a:cubicBezTo>
                    <a:pt x="17800" y="3624"/>
                    <a:pt x="17874" y="3609"/>
                    <a:pt x="17947" y="3578"/>
                  </a:cubicBezTo>
                  <a:cubicBezTo>
                    <a:pt x="18020" y="3550"/>
                    <a:pt x="18097" y="3531"/>
                    <a:pt x="18119" y="3531"/>
                  </a:cubicBezTo>
                  <a:cubicBezTo>
                    <a:pt x="18140" y="3538"/>
                    <a:pt x="18182" y="3530"/>
                    <a:pt x="18210" y="3510"/>
                  </a:cubicBezTo>
                  <a:cubicBezTo>
                    <a:pt x="18240" y="3495"/>
                    <a:pt x="18304" y="3470"/>
                    <a:pt x="18354" y="3455"/>
                  </a:cubicBezTo>
                  <a:cubicBezTo>
                    <a:pt x="18404" y="3439"/>
                    <a:pt x="18474" y="3404"/>
                    <a:pt x="18510" y="3377"/>
                  </a:cubicBezTo>
                  <a:cubicBezTo>
                    <a:pt x="18546" y="3352"/>
                    <a:pt x="18555" y="3322"/>
                    <a:pt x="18532" y="3327"/>
                  </a:cubicBezTo>
                  <a:cubicBezTo>
                    <a:pt x="18509" y="3319"/>
                    <a:pt x="18452" y="3340"/>
                    <a:pt x="18405" y="3353"/>
                  </a:cubicBezTo>
                  <a:cubicBezTo>
                    <a:pt x="18360" y="3370"/>
                    <a:pt x="18326" y="3360"/>
                    <a:pt x="18333" y="3337"/>
                  </a:cubicBezTo>
                  <a:cubicBezTo>
                    <a:pt x="18339" y="3312"/>
                    <a:pt x="18394" y="3277"/>
                    <a:pt x="18455" y="3260"/>
                  </a:cubicBezTo>
                  <a:cubicBezTo>
                    <a:pt x="18515" y="3238"/>
                    <a:pt x="18599" y="3229"/>
                    <a:pt x="18639" y="3219"/>
                  </a:cubicBezTo>
                  <a:cubicBezTo>
                    <a:pt x="18679" y="3218"/>
                    <a:pt x="18745" y="3219"/>
                    <a:pt x="18784" y="3226"/>
                  </a:cubicBezTo>
                  <a:cubicBezTo>
                    <a:pt x="18823" y="3232"/>
                    <a:pt x="18874" y="3223"/>
                    <a:pt x="18898" y="3204"/>
                  </a:cubicBezTo>
                  <a:cubicBezTo>
                    <a:pt x="18922" y="3186"/>
                    <a:pt x="18965" y="3137"/>
                    <a:pt x="18993" y="3094"/>
                  </a:cubicBezTo>
                  <a:cubicBezTo>
                    <a:pt x="19022" y="3055"/>
                    <a:pt x="19063" y="3028"/>
                    <a:pt x="19085" y="3037"/>
                  </a:cubicBezTo>
                  <a:cubicBezTo>
                    <a:pt x="19108" y="3048"/>
                    <a:pt x="19176" y="3038"/>
                    <a:pt x="19235" y="3007"/>
                  </a:cubicBezTo>
                  <a:cubicBezTo>
                    <a:pt x="19294" y="2983"/>
                    <a:pt x="19392" y="2925"/>
                    <a:pt x="19454" y="2882"/>
                  </a:cubicBezTo>
                  <a:cubicBezTo>
                    <a:pt x="19515" y="2840"/>
                    <a:pt x="19599" y="2781"/>
                    <a:pt x="19641" y="2761"/>
                  </a:cubicBezTo>
                  <a:cubicBezTo>
                    <a:pt x="19683" y="2733"/>
                    <a:pt x="19761" y="2678"/>
                    <a:pt x="19814" y="2631"/>
                  </a:cubicBezTo>
                  <a:cubicBezTo>
                    <a:pt x="19868" y="2587"/>
                    <a:pt x="20023" y="2464"/>
                    <a:pt x="20160" y="2363"/>
                  </a:cubicBezTo>
                  <a:cubicBezTo>
                    <a:pt x="20296" y="2265"/>
                    <a:pt x="20433" y="2158"/>
                    <a:pt x="20463" y="2131"/>
                  </a:cubicBezTo>
                  <a:cubicBezTo>
                    <a:pt x="20493" y="2105"/>
                    <a:pt x="20519" y="2065"/>
                    <a:pt x="20524" y="2050"/>
                  </a:cubicBezTo>
                  <a:cubicBezTo>
                    <a:pt x="20528" y="2034"/>
                    <a:pt x="20564" y="2002"/>
                    <a:pt x="20603" y="1973"/>
                  </a:cubicBezTo>
                  <a:cubicBezTo>
                    <a:pt x="20643" y="1946"/>
                    <a:pt x="20707" y="1915"/>
                    <a:pt x="20745" y="1910"/>
                  </a:cubicBezTo>
                  <a:cubicBezTo>
                    <a:pt x="20784" y="1901"/>
                    <a:pt x="20833" y="1872"/>
                    <a:pt x="20856" y="1852"/>
                  </a:cubicBezTo>
                  <a:cubicBezTo>
                    <a:pt x="20878" y="1828"/>
                    <a:pt x="20967" y="1752"/>
                    <a:pt x="21054" y="1693"/>
                  </a:cubicBezTo>
                  <a:cubicBezTo>
                    <a:pt x="21140" y="1627"/>
                    <a:pt x="21264" y="1496"/>
                    <a:pt x="21333" y="1412"/>
                  </a:cubicBezTo>
                  <a:cubicBezTo>
                    <a:pt x="21400" y="1320"/>
                    <a:pt x="21483" y="1182"/>
                    <a:pt x="21519" y="1105"/>
                  </a:cubicBezTo>
                  <a:cubicBezTo>
                    <a:pt x="21554" y="1025"/>
                    <a:pt x="21585" y="922"/>
                    <a:pt x="21595" y="879"/>
                  </a:cubicBezTo>
                  <a:cubicBezTo>
                    <a:pt x="21599" y="834"/>
                    <a:pt x="21597" y="778"/>
                    <a:pt x="21588" y="749"/>
                  </a:cubicBezTo>
                  <a:cubicBezTo>
                    <a:pt x="21577" y="723"/>
                    <a:pt x="21532" y="697"/>
                    <a:pt x="21488" y="694"/>
                  </a:cubicBezTo>
                  <a:cubicBezTo>
                    <a:pt x="21445" y="691"/>
                    <a:pt x="21385" y="691"/>
                    <a:pt x="21358" y="709"/>
                  </a:cubicBezTo>
                  <a:cubicBezTo>
                    <a:pt x="21329" y="716"/>
                    <a:pt x="21297" y="736"/>
                    <a:pt x="21287" y="750"/>
                  </a:cubicBezTo>
                  <a:cubicBezTo>
                    <a:pt x="21277" y="763"/>
                    <a:pt x="21237" y="782"/>
                    <a:pt x="21199" y="800"/>
                  </a:cubicBezTo>
                  <a:cubicBezTo>
                    <a:pt x="21163" y="822"/>
                    <a:pt x="21105" y="864"/>
                    <a:pt x="21071" y="903"/>
                  </a:cubicBezTo>
                  <a:cubicBezTo>
                    <a:pt x="21037" y="940"/>
                    <a:pt x="20986" y="989"/>
                    <a:pt x="20957" y="1011"/>
                  </a:cubicBezTo>
                  <a:cubicBezTo>
                    <a:pt x="20927" y="1029"/>
                    <a:pt x="20892" y="1046"/>
                    <a:pt x="20879" y="1039"/>
                  </a:cubicBezTo>
                  <a:cubicBezTo>
                    <a:pt x="20867" y="1031"/>
                    <a:pt x="20904" y="972"/>
                    <a:pt x="20966" y="908"/>
                  </a:cubicBezTo>
                  <a:cubicBezTo>
                    <a:pt x="21026" y="839"/>
                    <a:pt x="21088" y="760"/>
                    <a:pt x="21106" y="736"/>
                  </a:cubicBezTo>
                  <a:cubicBezTo>
                    <a:pt x="21121" y="706"/>
                    <a:pt x="21167" y="660"/>
                    <a:pt x="21206" y="632"/>
                  </a:cubicBezTo>
                  <a:cubicBezTo>
                    <a:pt x="21244" y="602"/>
                    <a:pt x="21288" y="535"/>
                    <a:pt x="21309" y="498"/>
                  </a:cubicBezTo>
                  <a:cubicBezTo>
                    <a:pt x="21328" y="453"/>
                    <a:pt x="21339" y="399"/>
                    <a:pt x="21334" y="372"/>
                  </a:cubicBezTo>
                  <a:cubicBezTo>
                    <a:pt x="21329" y="346"/>
                    <a:pt x="21311" y="320"/>
                    <a:pt x="21295" y="325"/>
                  </a:cubicBezTo>
                  <a:cubicBezTo>
                    <a:pt x="21279" y="323"/>
                    <a:pt x="21291" y="308"/>
                    <a:pt x="21321" y="285"/>
                  </a:cubicBezTo>
                  <a:cubicBezTo>
                    <a:pt x="21350" y="259"/>
                    <a:pt x="21408" y="186"/>
                    <a:pt x="21449" y="116"/>
                  </a:cubicBezTo>
                  <a:cubicBezTo>
                    <a:pt x="21486" y="42"/>
                    <a:pt x="21495" y="-9"/>
                    <a:pt x="21464" y="2"/>
                  </a:cubicBezTo>
                  <a:cubicBezTo>
                    <a:pt x="21432" y="6"/>
                    <a:pt x="21367" y="30"/>
                    <a:pt x="21320" y="61"/>
                  </a:cubicBezTo>
                  <a:cubicBezTo>
                    <a:pt x="21273" y="87"/>
                    <a:pt x="21223" y="131"/>
                    <a:pt x="21210" y="158"/>
                  </a:cubicBezTo>
                  <a:cubicBezTo>
                    <a:pt x="21198" y="188"/>
                    <a:pt x="21166" y="228"/>
                    <a:pt x="21140" y="251"/>
                  </a:cubicBezTo>
                  <a:cubicBezTo>
                    <a:pt x="21116" y="276"/>
                    <a:pt x="21068" y="308"/>
                    <a:pt x="21036" y="330"/>
                  </a:cubicBezTo>
                  <a:cubicBezTo>
                    <a:pt x="21004" y="350"/>
                    <a:pt x="20966" y="367"/>
                    <a:pt x="20956" y="353"/>
                  </a:cubicBezTo>
                  <a:cubicBezTo>
                    <a:pt x="20944" y="347"/>
                    <a:pt x="20955" y="319"/>
                    <a:pt x="20980" y="289"/>
                  </a:cubicBezTo>
                  <a:cubicBezTo>
                    <a:pt x="21005" y="261"/>
                    <a:pt x="21030" y="224"/>
                    <a:pt x="21037" y="210"/>
                  </a:cubicBezTo>
                  <a:cubicBezTo>
                    <a:pt x="21043" y="195"/>
                    <a:pt x="21070" y="154"/>
                    <a:pt x="21097" y="120"/>
                  </a:cubicBezTo>
                  <a:cubicBezTo>
                    <a:pt x="21123" y="85"/>
                    <a:pt x="21135" y="54"/>
                    <a:pt x="21123" y="50"/>
                  </a:cubicBezTo>
                  <a:cubicBezTo>
                    <a:pt x="21111" y="43"/>
                    <a:pt x="21061" y="69"/>
                    <a:pt x="21015" y="109"/>
                  </a:cubicBezTo>
                  <a:cubicBezTo>
                    <a:pt x="20968" y="145"/>
                    <a:pt x="20906" y="214"/>
                    <a:pt x="20876" y="251"/>
                  </a:cubicBezTo>
                  <a:cubicBezTo>
                    <a:pt x="20846" y="290"/>
                    <a:pt x="20805" y="337"/>
                    <a:pt x="20784" y="352"/>
                  </a:cubicBezTo>
                  <a:cubicBezTo>
                    <a:pt x="20762" y="365"/>
                    <a:pt x="20736" y="371"/>
                    <a:pt x="20724" y="365"/>
                  </a:cubicBezTo>
                  <a:cubicBezTo>
                    <a:pt x="20714" y="352"/>
                    <a:pt x="20728" y="318"/>
                    <a:pt x="20757" y="277"/>
                  </a:cubicBezTo>
                  <a:cubicBezTo>
                    <a:pt x="20787" y="237"/>
                    <a:pt x="20809" y="189"/>
                    <a:pt x="20806" y="172"/>
                  </a:cubicBezTo>
                  <a:cubicBezTo>
                    <a:pt x="20803" y="155"/>
                    <a:pt x="20761" y="152"/>
                    <a:pt x="20716" y="180"/>
                  </a:cubicBezTo>
                  <a:cubicBezTo>
                    <a:pt x="20669" y="195"/>
                    <a:pt x="20582" y="259"/>
                    <a:pt x="20519" y="301"/>
                  </a:cubicBezTo>
                  <a:cubicBezTo>
                    <a:pt x="20458" y="349"/>
                    <a:pt x="20382" y="414"/>
                    <a:pt x="20351" y="450"/>
                  </a:cubicBezTo>
                  <a:cubicBezTo>
                    <a:pt x="20322" y="491"/>
                    <a:pt x="20262" y="527"/>
                    <a:pt x="20222" y="550"/>
                  </a:cubicBezTo>
                  <a:cubicBezTo>
                    <a:pt x="20181" y="567"/>
                    <a:pt x="20129" y="596"/>
                    <a:pt x="20108" y="616"/>
                  </a:cubicBezTo>
                  <a:cubicBezTo>
                    <a:pt x="20087" y="639"/>
                    <a:pt x="20043" y="681"/>
                    <a:pt x="20013" y="715"/>
                  </a:cubicBezTo>
                  <a:cubicBezTo>
                    <a:pt x="19983" y="752"/>
                    <a:pt x="19934" y="791"/>
                    <a:pt x="19904" y="804"/>
                  </a:cubicBezTo>
                  <a:cubicBezTo>
                    <a:pt x="19874" y="820"/>
                    <a:pt x="19829" y="826"/>
                    <a:pt x="19803" y="829"/>
                  </a:cubicBezTo>
                  <a:cubicBezTo>
                    <a:pt x="19777" y="830"/>
                    <a:pt x="19694" y="854"/>
                    <a:pt x="19619" y="879"/>
                  </a:cubicBezTo>
                  <a:cubicBezTo>
                    <a:pt x="19543" y="908"/>
                    <a:pt x="19412" y="962"/>
                    <a:pt x="19327" y="1003"/>
                  </a:cubicBezTo>
                  <a:cubicBezTo>
                    <a:pt x="19242" y="1043"/>
                    <a:pt x="19222" y="1042"/>
                    <a:pt x="19284" y="1007"/>
                  </a:cubicBezTo>
                  <a:cubicBezTo>
                    <a:pt x="19345" y="968"/>
                    <a:pt x="19414" y="917"/>
                    <a:pt x="19437" y="892"/>
                  </a:cubicBezTo>
                  <a:cubicBezTo>
                    <a:pt x="19460" y="865"/>
                    <a:pt x="19502" y="844"/>
                    <a:pt x="19529" y="841"/>
                  </a:cubicBezTo>
                  <a:cubicBezTo>
                    <a:pt x="19557" y="836"/>
                    <a:pt x="19605" y="823"/>
                    <a:pt x="19636" y="808"/>
                  </a:cubicBezTo>
                  <a:cubicBezTo>
                    <a:pt x="19666" y="793"/>
                    <a:pt x="19743" y="746"/>
                    <a:pt x="19804" y="697"/>
                  </a:cubicBezTo>
                  <a:cubicBezTo>
                    <a:pt x="19867" y="653"/>
                    <a:pt x="19955" y="588"/>
                    <a:pt x="20004" y="567"/>
                  </a:cubicBezTo>
                  <a:cubicBezTo>
                    <a:pt x="20051" y="546"/>
                    <a:pt x="20129" y="476"/>
                    <a:pt x="20179" y="427"/>
                  </a:cubicBezTo>
                  <a:cubicBezTo>
                    <a:pt x="20228" y="374"/>
                    <a:pt x="20335" y="283"/>
                    <a:pt x="20417" y="231"/>
                  </a:cubicBezTo>
                  <a:cubicBezTo>
                    <a:pt x="20498" y="169"/>
                    <a:pt x="20586" y="109"/>
                    <a:pt x="20611" y="85"/>
                  </a:cubicBezTo>
                  <a:cubicBezTo>
                    <a:pt x="20635" y="57"/>
                    <a:pt x="20647" y="39"/>
                    <a:pt x="20642" y="25"/>
                  </a:cubicBezTo>
                  <a:cubicBezTo>
                    <a:pt x="20634" y="17"/>
                    <a:pt x="20596" y="27"/>
                    <a:pt x="20557" y="41"/>
                  </a:cubicBezTo>
                  <a:cubicBezTo>
                    <a:pt x="20518" y="61"/>
                    <a:pt x="20437" y="71"/>
                    <a:pt x="20378" y="73"/>
                  </a:cubicBezTo>
                  <a:cubicBezTo>
                    <a:pt x="20318" y="69"/>
                    <a:pt x="20265" y="59"/>
                    <a:pt x="20256" y="45"/>
                  </a:cubicBezTo>
                  <a:cubicBezTo>
                    <a:pt x="20250" y="27"/>
                    <a:pt x="20229" y="22"/>
                    <a:pt x="20211" y="30"/>
                  </a:cubicBezTo>
                  <a:cubicBezTo>
                    <a:pt x="20194" y="37"/>
                    <a:pt x="20148" y="66"/>
                    <a:pt x="20109" y="101"/>
                  </a:cubicBezTo>
                  <a:cubicBezTo>
                    <a:pt x="20069" y="130"/>
                    <a:pt x="20021" y="176"/>
                    <a:pt x="20001" y="195"/>
                  </a:cubicBezTo>
                  <a:cubicBezTo>
                    <a:pt x="19981" y="216"/>
                    <a:pt x="19944" y="240"/>
                    <a:pt x="19918" y="245"/>
                  </a:cubicBezTo>
                  <a:cubicBezTo>
                    <a:pt x="19893" y="249"/>
                    <a:pt x="19869" y="243"/>
                    <a:pt x="19869" y="225"/>
                  </a:cubicBezTo>
                  <a:cubicBezTo>
                    <a:pt x="19869" y="207"/>
                    <a:pt x="19889" y="179"/>
                    <a:pt x="19914" y="145"/>
                  </a:cubicBezTo>
                  <a:cubicBezTo>
                    <a:pt x="19942" y="124"/>
                    <a:pt x="19967" y="81"/>
                    <a:pt x="19969" y="60"/>
                  </a:cubicBezTo>
                  <a:cubicBezTo>
                    <a:pt x="19974" y="41"/>
                    <a:pt x="19926" y="50"/>
                    <a:pt x="19864" y="84"/>
                  </a:cubicBezTo>
                  <a:cubicBezTo>
                    <a:pt x="19803" y="121"/>
                    <a:pt x="19727" y="170"/>
                    <a:pt x="19697" y="205"/>
                  </a:cubicBezTo>
                  <a:cubicBezTo>
                    <a:pt x="19666" y="237"/>
                    <a:pt x="19624" y="265"/>
                    <a:pt x="19602" y="273"/>
                  </a:cubicBezTo>
                  <a:cubicBezTo>
                    <a:pt x="19580" y="274"/>
                    <a:pt x="19567" y="259"/>
                    <a:pt x="19567" y="231"/>
                  </a:cubicBezTo>
                  <a:cubicBezTo>
                    <a:pt x="19571" y="205"/>
                    <a:pt x="19538" y="203"/>
                    <a:pt x="19497" y="235"/>
                  </a:cubicBezTo>
                  <a:cubicBezTo>
                    <a:pt x="19456" y="262"/>
                    <a:pt x="19400" y="310"/>
                    <a:pt x="19371" y="333"/>
                  </a:cubicBezTo>
                  <a:cubicBezTo>
                    <a:pt x="19343" y="362"/>
                    <a:pt x="19307" y="373"/>
                    <a:pt x="19293" y="363"/>
                  </a:cubicBezTo>
                  <a:cubicBezTo>
                    <a:pt x="19280" y="353"/>
                    <a:pt x="19295" y="320"/>
                    <a:pt x="19330" y="292"/>
                  </a:cubicBezTo>
                  <a:cubicBezTo>
                    <a:pt x="19363" y="260"/>
                    <a:pt x="19385" y="226"/>
                    <a:pt x="19383" y="208"/>
                  </a:cubicBezTo>
                  <a:cubicBezTo>
                    <a:pt x="19379" y="192"/>
                    <a:pt x="19392" y="173"/>
                    <a:pt x="19412" y="159"/>
                  </a:cubicBezTo>
                  <a:cubicBezTo>
                    <a:pt x="19432" y="147"/>
                    <a:pt x="19468" y="114"/>
                    <a:pt x="19494" y="95"/>
                  </a:cubicBezTo>
                  <a:cubicBezTo>
                    <a:pt x="19519" y="70"/>
                    <a:pt x="19525" y="41"/>
                    <a:pt x="19506" y="38"/>
                  </a:cubicBezTo>
                  <a:cubicBezTo>
                    <a:pt x="19489" y="27"/>
                    <a:pt x="19416" y="41"/>
                    <a:pt x="19346" y="68"/>
                  </a:cubicBezTo>
                  <a:cubicBezTo>
                    <a:pt x="19276" y="89"/>
                    <a:pt x="19174" y="116"/>
                    <a:pt x="19120" y="129"/>
                  </a:cubicBezTo>
                  <a:cubicBezTo>
                    <a:pt x="19066" y="137"/>
                    <a:pt x="18988" y="171"/>
                    <a:pt x="18946" y="198"/>
                  </a:cubicBezTo>
                  <a:cubicBezTo>
                    <a:pt x="18905" y="224"/>
                    <a:pt x="18830" y="281"/>
                    <a:pt x="18781" y="326"/>
                  </a:cubicBezTo>
                  <a:cubicBezTo>
                    <a:pt x="18730" y="365"/>
                    <a:pt x="18674" y="425"/>
                    <a:pt x="18657" y="457"/>
                  </a:cubicBezTo>
                  <a:cubicBezTo>
                    <a:pt x="18639" y="488"/>
                    <a:pt x="18607" y="527"/>
                    <a:pt x="18586" y="541"/>
                  </a:cubicBezTo>
                  <a:cubicBezTo>
                    <a:pt x="18565" y="558"/>
                    <a:pt x="18536" y="559"/>
                    <a:pt x="18523" y="544"/>
                  </a:cubicBezTo>
                  <a:cubicBezTo>
                    <a:pt x="18509" y="528"/>
                    <a:pt x="18540" y="476"/>
                    <a:pt x="18593" y="426"/>
                  </a:cubicBezTo>
                  <a:cubicBezTo>
                    <a:pt x="18645" y="378"/>
                    <a:pt x="18698" y="321"/>
                    <a:pt x="18709" y="298"/>
                  </a:cubicBezTo>
                  <a:cubicBezTo>
                    <a:pt x="18721" y="280"/>
                    <a:pt x="18690" y="280"/>
                    <a:pt x="18641" y="302"/>
                  </a:cubicBezTo>
                  <a:cubicBezTo>
                    <a:pt x="18592" y="324"/>
                    <a:pt x="18521" y="343"/>
                    <a:pt x="18483" y="349"/>
                  </a:cubicBezTo>
                  <a:cubicBezTo>
                    <a:pt x="18444" y="352"/>
                    <a:pt x="18382" y="374"/>
                    <a:pt x="18344" y="389"/>
                  </a:cubicBezTo>
                  <a:cubicBezTo>
                    <a:pt x="18306" y="411"/>
                    <a:pt x="18248" y="453"/>
                    <a:pt x="18214" y="488"/>
                  </a:cubicBezTo>
                  <a:cubicBezTo>
                    <a:pt x="18181" y="523"/>
                    <a:pt x="18097" y="598"/>
                    <a:pt x="18028" y="658"/>
                  </a:cubicBezTo>
                  <a:cubicBezTo>
                    <a:pt x="17959" y="718"/>
                    <a:pt x="17858" y="809"/>
                    <a:pt x="17805" y="865"/>
                  </a:cubicBezTo>
                  <a:cubicBezTo>
                    <a:pt x="17750" y="915"/>
                    <a:pt x="17680" y="982"/>
                    <a:pt x="17648" y="1003"/>
                  </a:cubicBezTo>
                  <a:cubicBezTo>
                    <a:pt x="17615" y="1025"/>
                    <a:pt x="17586" y="1031"/>
                    <a:pt x="17582" y="1021"/>
                  </a:cubicBezTo>
                  <a:cubicBezTo>
                    <a:pt x="17578" y="1010"/>
                    <a:pt x="17602" y="969"/>
                    <a:pt x="17632" y="925"/>
                  </a:cubicBezTo>
                  <a:cubicBezTo>
                    <a:pt x="17664" y="886"/>
                    <a:pt x="17694" y="825"/>
                    <a:pt x="17700" y="794"/>
                  </a:cubicBezTo>
                  <a:cubicBezTo>
                    <a:pt x="17707" y="763"/>
                    <a:pt x="17703" y="734"/>
                    <a:pt x="17694" y="725"/>
                  </a:cubicBezTo>
                  <a:cubicBezTo>
                    <a:pt x="17684" y="721"/>
                    <a:pt x="17676" y="699"/>
                    <a:pt x="17672" y="683"/>
                  </a:cubicBezTo>
                  <a:cubicBezTo>
                    <a:pt x="17670" y="667"/>
                    <a:pt x="17637" y="656"/>
                    <a:pt x="17599" y="654"/>
                  </a:cubicBezTo>
                  <a:cubicBezTo>
                    <a:pt x="17561" y="656"/>
                    <a:pt x="17489" y="682"/>
                    <a:pt x="17439" y="716"/>
                  </a:cubicBezTo>
                  <a:cubicBezTo>
                    <a:pt x="17390" y="752"/>
                    <a:pt x="17312" y="782"/>
                    <a:pt x="17268" y="802"/>
                  </a:cubicBezTo>
                  <a:cubicBezTo>
                    <a:pt x="17223" y="815"/>
                    <a:pt x="17179" y="818"/>
                    <a:pt x="17173" y="802"/>
                  </a:cubicBezTo>
                  <a:cubicBezTo>
                    <a:pt x="17167" y="786"/>
                    <a:pt x="17126" y="789"/>
                    <a:pt x="17085" y="804"/>
                  </a:cubicBezTo>
                  <a:cubicBezTo>
                    <a:pt x="17044" y="817"/>
                    <a:pt x="16968" y="862"/>
                    <a:pt x="16917" y="899"/>
                  </a:cubicBezTo>
                  <a:cubicBezTo>
                    <a:pt x="16865" y="935"/>
                    <a:pt x="16796" y="974"/>
                    <a:pt x="16764" y="986"/>
                  </a:cubicBezTo>
                  <a:cubicBezTo>
                    <a:pt x="16731" y="994"/>
                    <a:pt x="16683" y="1015"/>
                    <a:pt x="16656" y="1029"/>
                  </a:cubicBezTo>
                  <a:cubicBezTo>
                    <a:pt x="16630" y="1042"/>
                    <a:pt x="16591" y="1054"/>
                    <a:pt x="16570" y="1055"/>
                  </a:cubicBezTo>
                  <a:cubicBezTo>
                    <a:pt x="16549" y="1052"/>
                    <a:pt x="16508" y="1074"/>
                    <a:pt x="16479" y="1098"/>
                  </a:cubicBezTo>
                  <a:cubicBezTo>
                    <a:pt x="16451" y="1123"/>
                    <a:pt x="16408" y="1171"/>
                    <a:pt x="16387" y="1213"/>
                  </a:cubicBezTo>
                  <a:cubicBezTo>
                    <a:pt x="16365" y="1252"/>
                    <a:pt x="16353" y="1324"/>
                    <a:pt x="16361" y="1367"/>
                  </a:cubicBezTo>
                  <a:cubicBezTo>
                    <a:pt x="16369" y="1411"/>
                    <a:pt x="16343" y="1495"/>
                    <a:pt x="16304" y="1554"/>
                  </a:cubicBezTo>
                  <a:cubicBezTo>
                    <a:pt x="16263" y="1611"/>
                    <a:pt x="16220" y="1699"/>
                    <a:pt x="16202" y="1737"/>
                  </a:cubicBezTo>
                  <a:cubicBezTo>
                    <a:pt x="16185" y="1778"/>
                    <a:pt x="16154" y="1828"/>
                    <a:pt x="16134" y="1849"/>
                  </a:cubicBezTo>
                  <a:cubicBezTo>
                    <a:pt x="16114" y="1869"/>
                    <a:pt x="16078" y="1892"/>
                    <a:pt x="16055" y="1900"/>
                  </a:cubicBezTo>
                  <a:cubicBezTo>
                    <a:pt x="16032" y="1908"/>
                    <a:pt x="15978" y="1940"/>
                    <a:pt x="15933" y="1967"/>
                  </a:cubicBezTo>
                  <a:cubicBezTo>
                    <a:pt x="15889" y="1996"/>
                    <a:pt x="15842" y="2020"/>
                    <a:pt x="15830" y="2013"/>
                  </a:cubicBezTo>
                  <a:cubicBezTo>
                    <a:pt x="15817" y="2015"/>
                    <a:pt x="15830" y="1980"/>
                    <a:pt x="15859" y="1950"/>
                  </a:cubicBezTo>
                  <a:cubicBezTo>
                    <a:pt x="15887" y="1918"/>
                    <a:pt x="15912" y="1860"/>
                    <a:pt x="15917" y="1822"/>
                  </a:cubicBezTo>
                  <a:cubicBezTo>
                    <a:pt x="15919" y="1783"/>
                    <a:pt x="15944" y="1727"/>
                    <a:pt x="15969" y="1694"/>
                  </a:cubicBezTo>
                  <a:cubicBezTo>
                    <a:pt x="15994" y="1662"/>
                    <a:pt x="16028" y="1607"/>
                    <a:pt x="16045" y="1573"/>
                  </a:cubicBezTo>
                  <a:cubicBezTo>
                    <a:pt x="16063" y="1540"/>
                    <a:pt x="16067" y="1509"/>
                    <a:pt x="16058" y="1501"/>
                  </a:cubicBezTo>
                  <a:cubicBezTo>
                    <a:pt x="16049" y="1497"/>
                    <a:pt x="15993" y="1539"/>
                    <a:pt x="15934" y="1596"/>
                  </a:cubicBezTo>
                  <a:cubicBezTo>
                    <a:pt x="15875" y="1655"/>
                    <a:pt x="15816" y="1715"/>
                    <a:pt x="15804" y="1732"/>
                  </a:cubicBezTo>
                  <a:cubicBezTo>
                    <a:pt x="15791" y="1746"/>
                    <a:pt x="15761" y="1775"/>
                    <a:pt x="15737" y="1791"/>
                  </a:cubicBezTo>
                  <a:cubicBezTo>
                    <a:pt x="15713" y="1810"/>
                    <a:pt x="15679" y="1822"/>
                    <a:pt x="15663" y="1824"/>
                  </a:cubicBezTo>
                  <a:cubicBezTo>
                    <a:pt x="15646" y="1828"/>
                    <a:pt x="15657" y="1784"/>
                    <a:pt x="15691" y="1739"/>
                  </a:cubicBezTo>
                  <a:cubicBezTo>
                    <a:pt x="15721" y="1687"/>
                    <a:pt x="15741" y="1647"/>
                    <a:pt x="15734" y="1637"/>
                  </a:cubicBezTo>
                  <a:cubicBezTo>
                    <a:pt x="15726" y="1632"/>
                    <a:pt x="15702" y="1637"/>
                    <a:pt x="15681" y="1659"/>
                  </a:cubicBezTo>
                  <a:cubicBezTo>
                    <a:pt x="15659" y="1678"/>
                    <a:pt x="15610" y="1736"/>
                    <a:pt x="15570" y="1782"/>
                  </a:cubicBezTo>
                  <a:cubicBezTo>
                    <a:pt x="15532" y="1832"/>
                    <a:pt x="15477" y="1878"/>
                    <a:pt x="15453" y="1898"/>
                  </a:cubicBezTo>
                  <a:cubicBezTo>
                    <a:pt x="15428" y="1910"/>
                    <a:pt x="15405" y="1918"/>
                    <a:pt x="15399" y="1912"/>
                  </a:cubicBezTo>
                  <a:cubicBezTo>
                    <a:pt x="15394" y="1905"/>
                    <a:pt x="15415" y="1865"/>
                    <a:pt x="15446" y="1832"/>
                  </a:cubicBezTo>
                  <a:cubicBezTo>
                    <a:pt x="15477" y="1795"/>
                    <a:pt x="15509" y="1737"/>
                    <a:pt x="15524" y="1712"/>
                  </a:cubicBezTo>
                  <a:cubicBezTo>
                    <a:pt x="15535" y="1681"/>
                    <a:pt x="15539" y="1655"/>
                    <a:pt x="15529" y="1648"/>
                  </a:cubicBezTo>
                  <a:cubicBezTo>
                    <a:pt x="15520" y="1640"/>
                    <a:pt x="15450" y="1666"/>
                    <a:pt x="15375" y="1700"/>
                  </a:cubicBezTo>
                  <a:cubicBezTo>
                    <a:pt x="15299" y="1733"/>
                    <a:pt x="15200" y="1805"/>
                    <a:pt x="15151" y="1846"/>
                  </a:cubicBezTo>
                  <a:cubicBezTo>
                    <a:pt x="15103" y="1894"/>
                    <a:pt x="15036" y="1939"/>
                    <a:pt x="15005" y="1963"/>
                  </a:cubicBezTo>
                  <a:cubicBezTo>
                    <a:pt x="14972" y="1979"/>
                    <a:pt x="14926" y="2016"/>
                    <a:pt x="14901" y="2034"/>
                  </a:cubicBezTo>
                  <a:cubicBezTo>
                    <a:pt x="14876" y="2054"/>
                    <a:pt x="14868" y="2074"/>
                    <a:pt x="14881" y="2086"/>
                  </a:cubicBezTo>
                  <a:cubicBezTo>
                    <a:pt x="14895" y="2097"/>
                    <a:pt x="14929" y="2091"/>
                    <a:pt x="14957" y="2079"/>
                  </a:cubicBezTo>
                  <a:cubicBezTo>
                    <a:pt x="14985" y="2063"/>
                    <a:pt x="15019" y="2057"/>
                    <a:pt x="15033" y="2059"/>
                  </a:cubicBezTo>
                  <a:cubicBezTo>
                    <a:pt x="15047" y="2061"/>
                    <a:pt x="15023" y="2083"/>
                    <a:pt x="14980" y="2111"/>
                  </a:cubicBezTo>
                  <a:cubicBezTo>
                    <a:pt x="14937" y="2140"/>
                    <a:pt x="14890" y="2180"/>
                    <a:pt x="14873" y="2191"/>
                  </a:cubicBezTo>
                  <a:cubicBezTo>
                    <a:pt x="14859" y="2214"/>
                    <a:pt x="14848" y="2236"/>
                    <a:pt x="14853" y="2246"/>
                  </a:cubicBezTo>
                  <a:cubicBezTo>
                    <a:pt x="14856" y="2262"/>
                    <a:pt x="14888" y="2274"/>
                    <a:pt x="14921" y="2275"/>
                  </a:cubicBezTo>
                  <a:cubicBezTo>
                    <a:pt x="14953" y="2273"/>
                    <a:pt x="14970" y="2292"/>
                    <a:pt x="14961" y="2314"/>
                  </a:cubicBezTo>
                  <a:cubicBezTo>
                    <a:pt x="14951" y="2332"/>
                    <a:pt x="14929" y="2356"/>
                    <a:pt x="14916" y="2378"/>
                  </a:cubicBezTo>
                  <a:cubicBezTo>
                    <a:pt x="14901" y="2392"/>
                    <a:pt x="14906" y="2423"/>
                    <a:pt x="14927" y="2430"/>
                  </a:cubicBezTo>
                  <a:cubicBezTo>
                    <a:pt x="14947" y="2446"/>
                    <a:pt x="14984" y="2443"/>
                    <a:pt x="15008" y="2435"/>
                  </a:cubicBezTo>
                  <a:cubicBezTo>
                    <a:pt x="15033" y="2424"/>
                    <a:pt x="15047" y="2428"/>
                    <a:pt x="15041" y="2443"/>
                  </a:cubicBezTo>
                  <a:cubicBezTo>
                    <a:pt x="15034" y="2457"/>
                    <a:pt x="15003" y="2484"/>
                    <a:pt x="14971" y="2509"/>
                  </a:cubicBezTo>
                  <a:cubicBezTo>
                    <a:pt x="14940" y="2532"/>
                    <a:pt x="14904" y="2556"/>
                    <a:pt x="14895" y="2574"/>
                  </a:cubicBezTo>
                  <a:cubicBezTo>
                    <a:pt x="14884" y="2583"/>
                    <a:pt x="14839" y="2587"/>
                    <a:pt x="14795" y="2563"/>
                  </a:cubicBezTo>
                  <a:cubicBezTo>
                    <a:pt x="14750" y="2545"/>
                    <a:pt x="14702" y="2537"/>
                    <a:pt x="14687" y="2545"/>
                  </a:cubicBezTo>
                  <a:cubicBezTo>
                    <a:pt x="14672" y="2554"/>
                    <a:pt x="14644" y="2586"/>
                    <a:pt x="14622" y="2611"/>
                  </a:cubicBezTo>
                  <a:cubicBezTo>
                    <a:pt x="14602" y="2640"/>
                    <a:pt x="14578" y="2677"/>
                    <a:pt x="14572" y="2701"/>
                  </a:cubicBezTo>
                  <a:cubicBezTo>
                    <a:pt x="14565" y="2722"/>
                    <a:pt x="14547" y="2743"/>
                    <a:pt x="14532" y="2749"/>
                  </a:cubicBezTo>
                  <a:cubicBezTo>
                    <a:pt x="14516" y="2752"/>
                    <a:pt x="14513" y="2724"/>
                    <a:pt x="14522" y="2683"/>
                  </a:cubicBezTo>
                  <a:cubicBezTo>
                    <a:pt x="14533" y="2642"/>
                    <a:pt x="14556" y="2580"/>
                    <a:pt x="14575" y="2542"/>
                  </a:cubicBezTo>
                  <a:cubicBezTo>
                    <a:pt x="14593" y="2506"/>
                    <a:pt x="14600" y="2463"/>
                    <a:pt x="14591" y="2445"/>
                  </a:cubicBezTo>
                  <a:cubicBezTo>
                    <a:pt x="14580" y="2429"/>
                    <a:pt x="14583" y="2384"/>
                    <a:pt x="14596" y="2347"/>
                  </a:cubicBezTo>
                  <a:cubicBezTo>
                    <a:pt x="14610" y="2312"/>
                    <a:pt x="14611" y="2280"/>
                    <a:pt x="14601" y="2278"/>
                  </a:cubicBezTo>
                  <a:cubicBezTo>
                    <a:pt x="14591" y="2280"/>
                    <a:pt x="14563" y="2286"/>
                    <a:pt x="14539" y="2301"/>
                  </a:cubicBezTo>
                  <a:cubicBezTo>
                    <a:pt x="14516" y="2317"/>
                    <a:pt x="14475" y="2327"/>
                    <a:pt x="14449" y="2320"/>
                  </a:cubicBezTo>
                  <a:cubicBezTo>
                    <a:pt x="14423" y="2315"/>
                    <a:pt x="14383" y="2324"/>
                    <a:pt x="14359" y="2336"/>
                  </a:cubicBezTo>
                  <a:cubicBezTo>
                    <a:pt x="14336" y="2350"/>
                    <a:pt x="14296" y="2386"/>
                    <a:pt x="14273" y="2425"/>
                  </a:cubicBezTo>
                  <a:cubicBezTo>
                    <a:pt x="14248" y="2460"/>
                    <a:pt x="14216" y="2528"/>
                    <a:pt x="14202" y="2575"/>
                  </a:cubicBezTo>
                  <a:cubicBezTo>
                    <a:pt x="14189" y="2624"/>
                    <a:pt x="14156" y="2705"/>
                    <a:pt x="14129" y="2754"/>
                  </a:cubicBezTo>
                  <a:cubicBezTo>
                    <a:pt x="14104" y="2806"/>
                    <a:pt x="14086" y="2871"/>
                    <a:pt x="14090" y="2901"/>
                  </a:cubicBezTo>
                  <a:cubicBezTo>
                    <a:pt x="14095" y="2929"/>
                    <a:pt x="14086" y="2979"/>
                    <a:pt x="14080" y="3015"/>
                  </a:cubicBezTo>
                  <a:cubicBezTo>
                    <a:pt x="14071" y="3048"/>
                    <a:pt x="14064" y="3093"/>
                    <a:pt x="14060" y="3110"/>
                  </a:cubicBezTo>
                  <a:cubicBezTo>
                    <a:pt x="14057" y="3129"/>
                    <a:pt x="14043" y="3170"/>
                    <a:pt x="14030" y="3206"/>
                  </a:cubicBezTo>
                  <a:cubicBezTo>
                    <a:pt x="14016" y="3240"/>
                    <a:pt x="13989" y="3286"/>
                    <a:pt x="13968" y="3306"/>
                  </a:cubicBezTo>
                  <a:cubicBezTo>
                    <a:pt x="13947" y="3326"/>
                    <a:pt x="13925" y="3330"/>
                    <a:pt x="13917" y="3317"/>
                  </a:cubicBezTo>
                  <a:cubicBezTo>
                    <a:pt x="13910" y="3300"/>
                    <a:pt x="13905" y="3263"/>
                    <a:pt x="13910" y="3232"/>
                  </a:cubicBezTo>
                  <a:cubicBezTo>
                    <a:pt x="13914" y="3200"/>
                    <a:pt x="13910" y="3165"/>
                    <a:pt x="13901" y="3155"/>
                  </a:cubicBezTo>
                  <a:cubicBezTo>
                    <a:pt x="13891" y="3144"/>
                    <a:pt x="13896" y="3104"/>
                    <a:pt x="13914" y="3070"/>
                  </a:cubicBezTo>
                  <a:cubicBezTo>
                    <a:pt x="13931" y="3034"/>
                    <a:pt x="13948" y="2985"/>
                    <a:pt x="13948" y="2961"/>
                  </a:cubicBezTo>
                  <a:cubicBezTo>
                    <a:pt x="13948" y="2937"/>
                    <a:pt x="13955" y="2884"/>
                    <a:pt x="13966" y="2851"/>
                  </a:cubicBezTo>
                  <a:cubicBezTo>
                    <a:pt x="13973" y="2814"/>
                    <a:pt x="13932" y="2790"/>
                    <a:pt x="13875" y="2807"/>
                  </a:cubicBezTo>
                  <a:cubicBezTo>
                    <a:pt x="13816" y="2819"/>
                    <a:pt x="13749" y="2845"/>
                    <a:pt x="13725" y="2859"/>
                  </a:cubicBezTo>
                  <a:cubicBezTo>
                    <a:pt x="13701" y="2875"/>
                    <a:pt x="13664" y="2914"/>
                    <a:pt x="13643" y="2948"/>
                  </a:cubicBezTo>
                  <a:cubicBezTo>
                    <a:pt x="13623" y="2983"/>
                    <a:pt x="13591" y="3026"/>
                    <a:pt x="13574" y="3047"/>
                  </a:cubicBezTo>
                  <a:cubicBezTo>
                    <a:pt x="13557" y="3067"/>
                    <a:pt x="13540" y="3109"/>
                    <a:pt x="13536" y="3138"/>
                  </a:cubicBezTo>
                  <a:cubicBezTo>
                    <a:pt x="13530" y="3165"/>
                    <a:pt x="13568" y="3189"/>
                    <a:pt x="13614" y="3186"/>
                  </a:cubicBezTo>
                  <a:cubicBezTo>
                    <a:pt x="13660" y="3186"/>
                    <a:pt x="13693" y="3198"/>
                    <a:pt x="13687" y="3217"/>
                  </a:cubicBezTo>
                  <a:cubicBezTo>
                    <a:pt x="13684" y="3238"/>
                    <a:pt x="13628" y="3282"/>
                    <a:pt x="13568" y="3310"/>
                  </a:cubicBezTo>
                  <a:cubicBezTo>
                    <a:pt x="13508" y="3344"/>
                    <a:pt x="13449" y="3369"/>
                    <a:pt x="13436" y="3367"/>
                  </a:cubicBezTo>
                  <a:cubicBezTo>
                    <a:pt x="13424" y="3368"/>
                    <a:pt x="13392" y="3380"/>
                    <a:pt x="13365" y="3396"/>
                  </a:cubicBezTo>
                  <a:cubicBezTo>
                    <a:pt x="13338" y="3413"/>
                    <a:pt x="13294" y="3459"/>
                    <a:pt x="13263" y="3486"/>
                  </a:cubicBezTo>
                  <a:cubicBezTo>
                    <a:pt x="13235" y="3524"/>
                    <a:pt x="13211" y="3579"/>
                    <a:pt x="13213" y="3619"/>
                  </a:cubicBezTo>
                  <a:cubicBezTo>
                    <a:pt x="13216" y="3659"/>
                    <a:pt x="13206" y="3713"/>
                    <a:pt x="13190" y="3730"/>
                  </a:cubicBezTo>
                  <a:cubicBezTo>
                    <a:pt x="13175" y="3754"/>
                    <a:pt x="13126" y="3799"/>
                    <a:pt x="13082" y="3836"/>
                  </a:cubicBezTo>
                  <a:cubicBezTo>
                    <a:pt x="13038" y="3874"/>
                    <a:pt x="12983" y="3933"/>
                    <a:pt x="12958" y="3960"/>
                  </a:cubicBezTo>
                  <a:cubicBezTo>
                    <a:pt x="12934" y="3993"/>
                    <a:pt x="12885" y="4044"/>
                    <a:pt x="12850" y="4074"/>
                  </a:cubicBezTo>
                  <a:cubicBezTo>
                    <a:pt x="12816" y="4105"/>
                    <a:pt x="12781" y="4122"/>
                    <a:pt x="12773" y="4117"/>
                  </a:cubicBezTo>
                  <a:cubicBezTo>
                    <a:pt x="12764" y="4108"/>
                    <a:pt x="12764" y="4084"/>
                    <a:pt x="12772" y="4058"/>
                  </a:cubicBezTo>
                  <a:cubicBezTo>
                    <a:pt x="12780" y="4035"/>
                    <a:pt x="12774" y="4024"/>
                    <a:pt x="12760" y="4029"/>
                  </a:cubicBezTo>
                  <a:cubicBezTo>
                    <a:pt x="12745" y="4038"/>
                    <a:pt x="12706" y="4083"/>
                    <a:pt x="12672" y="4129"/>
                  </a:cubicBezTo>
                  <a:cubicBezTo>
                    <a:pt x="12637" y="4172"/>
                    <a:pt x="12584" y="4238"/>
                    <a:pt x="12550" y="4263"/>
                  </a:cubicBezTo>
                  <a:cubicBezTo>
                    <a:pt x="12517" y="4290"/>
                    <a:pt x="12506" y="4266"/>
                    <a:pt x="12522" y="4204"/>
                  </a:cubicBezTo>
                  <a:cubicBezTo>
                    <a:pt x="12540" y="4146"/>
                    <a:pt x="12577" y="4064"/>
                    <a:pt x="12601" y="4015"/>
                  </a:cubicBezTo>
                  <a:cubicBezTo>
                    <a:pt x="12626" y="3968"/>
                    <a:pt x="12651" y="3918"/>
                    <a:pt x="12657" y="3903"/>
                  </a:cubicBezTo>
                  <a:cubicBezTo>
                    <a:pt x="12661" y="3886"/>
                    <a:pt x="12617" y="3895"/>
                    <a:pt x="12556" y="3914"/>
                  </a:cubicBezTo>
                  <a:cubicBezTo>
                    <a:pt x="12496" y="3936"/>
                    <a:pt x="12444" y="3947"/>
                    <a:pt x="12444" y="3936"/>
                  </a:cubicBezTo>
                  <a:cubicBezTo>
                    <a:pt x="12444" y="3925"/>
                    <a:pt x="12470" y="3894"/>
                    <a:pt x="12501" y="3854"/>
                  </a:cubicBezTo>
                  <a:cubicBezTo>
                    <a:pt x="12535" y="3823"/>
                    <a:pt x="12572" y="3774"/>
                    <a:pt x="12583" y="3749"/>
                  </a:cubicBezTo>
                  <a:cubicBezTo>
                    <a:pt x="12593" y="3723"/>
                    <a:pt x="12586" y="3708"/>
                    <a:pt x="12564" y="3711"/>
                  </a:cubicBezTo>
                  <a:cubicBezTo>
                    <a:pt x="12541" y="3711"/>
                    <a:pt x="12472" y="3741"/>
                    <a:pt x="12410" y="3776"/>
                  </a:cubicBezTo>
                  <a:cubicBezTo>
                    <a:pt x="12348" y="3808"/>
                    <a:pt x="12289" y="3836"/>
                    <a:pt x="12279" y="3838"/>
                  </a:cubicBezTo>
                  <a:cubicBezTo>
                    <a:pt x="12269" y="3837"/>
                    <a:pt x="12222" y="3873"/>
                    <a:pt x="12173" y="3907"/>
                  </a:cubicBezTo>
                  <a:cubicBezTo>
                    <a:pt x="12125" y="3943"/>
                    <a:pt x="12068" y="4001"/>
                    <a:pt x="12046" y="4033"/>
                  </a:cubicBezTo>
                  <a:cubicBezTo>
                    <a:pt x="12024" y="4065"/>
                    <a:pt x="12021" y="4093"/>
                    <a:pt x="12039" y="4099"/>
                  </a:cubicBezTo>
                  <a:cubicBezTo>
                    <a:pt x="12058" y="4102"/>
                    <a:pt x="12053" y="4149"/>
                    <a:pt x="12030" y="4203"/>
                  </a:cubicBezTo>
                  <a:cubicBezTo>
                    <a:pt x="12006" y="4257"/>
                    <a:pt x="11968" y="4315"/>
                    <a:pt x="11950" y="4343"/>
                  </a:cubicBezTo>
                  <a:cubicBezTo>
                    <a:pt x="11929" y="4364"/>
                    <a:pt x="11891" y="4393"/>
                    <a:pt x="11863" y="4405"/>
                  </a:cubicBezTo>
                  <a:cubicBezTo>
                    <a:pt x="11836" y="4412"/>
                    <a:pt x="11780" y="4455"/>
                    <a:pt x="11738" y="4485"/>
                  </a:cubicBezTo>
                  <a:cubicBezTo>
                    <a:pt x="11696" y="4521"/>
                    <a:pt x="11647" y="4546"/>
                    <a:pt x="11628" y="4543"/>
                  </a:cubicBezTo>
                  <a:cubicBezTo>
                    <a:pt x="11610" y="4544"/>
                    <a:pt x="11567" y="4560"/>
                    <a:pt x="11533" y="4577"/>
                  </a:cubicBezTo>
                  <a:cubicBezTo>
                    <a:pt x="11499" y="4602"/>
                    <a:pt x="11452" y="4644"/>
                    <a:pt x="11431" y="4683"/>
                  </a:cubicBezTo>
                  <a:cubicBezTo>
                    <a:pt x="11410" y="4721"/>
                    <a:pt x="11402" y="4755"/>
                    <a:pt x="11415" y="4756"/>
                  </a:cubicBezTo>
                  <a:cubicBezTo>
                    <a:pt x="11427" y="4764"/>
                    <a:pt x="11441" y="4776"/>
                    <a:pt x="11449" y="4789"/>
                  </a:cubicBezTo>
                  <a:cubicBezTo>
                    <a:pt x="11454" y="4805"/>
                    <a:pt x="11472" y="4817"/>
                    <a:pt x="11485" y="4829"/>
                  </a:cubicBezTo>
                  <a:cubicBezTo>
                    <a:pt x="11498" y="4839"/>
                    <a:pt x="11501" y="4865"/>
                    <a:pt x="11491" y="4896"/>
                  </a:cubicBezTo>
                  <a:cubicBezTo>
                    <a:pt x="11482" y="4929"/>
                    <a:pt x="11481" y="4955"/>
                    <a:pt x="11488" y="4969"/>
                  </a:cubicBezTo>
                  <a:cubicBezTo>
                    <a:pt x="11496" y="4982"/>
                    <a:pt x="11519" y="4977"/>
                    <a:pt x="11536" y="4968"/>
                  </a:cubicBezTo>
                  <a:cubicBezTo>
                    <a:pt x="11553" y="4957"/>
                    <a:pt x="11578" y="4970"/>
                    <a:pt x="11594" y="4988"/>
                  </a:cubicBezTo>
                  <a:cubicBezTo>
                    <a:pt x="11606" y="5017"/>
                    <a:pt x="11609" y="5052"/>
                    <a:pt x="11600" y="5089"/>
                  </a:cubicBezTo>
                  <a:cubicBezTo>
                    <a:pt x="11589" y="5124"/>
                    <a:pt x="11558" y="5178"/>
                    <a:pt x="11531" y="5204"/>
                  </a:cubicBezTo>
                  <a:cubicBezTo>
                    <a:pt x="11506" y="5237"/>
                    <a:pt x="11496" y="5221"/>
                    <a:pt x="11517" y="5191"/>
                  </a:cubicBezTo>
                  <a:cubicBezTo>
                    <a:pt x="11532" y="5151"/>
                    <a:pt x="11535" y="5132"/>
                    <a:pt x="11518" y="5146"/>
                  </a:cubicBezTo>
                  <a:cubicBezTo>
                    <a:pt x="11500" y="5155"/>
                    <a:pt x="11454" y="5199"/>
                    <a:pt x="11418" y="5249"/>
                  </a:cubicBezTo>
                  <a:cubicBezTo>
                    <a:pt x="11381" y="5294"/>
                    <a:pt x="11341" y="5333"/>
                    <a:pt x="11331" y="5322"/>
                  </a:cubicBezTo>
                  <a:cubicBezTo>
                    <a:pt x="11320" y="5321"/>
                    <a:pt x="11317" y="5292"/>
                    <a:pt x="11324" y="5268"/>
                  </a:cubicBezTo>
                  <a:cubicBezTo>
                    <a:pt x="11328" y="5241"/>
                    <a:pt x="11349" y="5209"/>
                    <a:pt x="11365" y="5190"/>
                  </a:cubicBezTo>
                  <a:cubicBezTo>
                    <a:pt x="11382" y="5175"/>
                    <a:pt x="11392" y="5146"/>
                    <a:pt x="11392" y="5132"/>
                  </a:cubicBezTo>
                  <a:cubicBezTo>
                    <a:pt x="11392" y="5119"/>
                    <a:pt x="11369" y="5131"/>
                    <a:pt x="11342" y="5156"/>
                  </a:cubicBezTo>
                  <a:cubicBezTo>
                    <a:pt x="11317" y="5187"/>
                    <a:pt x="11276" y="5215"/>
                    <a:pt x="11253" y="5235"/>
                  </a:cubicBezTo>
                  <a:cubicBezTo>
                    <a:pt x="11230" y="5254"/>
                    <a:pt x="11197" y="5294"/>
                    <a:pt x="11187" y="5337"/>
                  </a:cubicBezTo>
                  <a:cubicBezTo>
                    <a:pt x="11173" y="5375"/>
                    <a:pt x="11142" y="5429"/>
                    <a:pt x="11118" y="5459"/>
                  </a:cubicBezTo>
                  <a:cubicBezTo>
                    <a:pt x="11094" y="5487"/>
                    <a:pt x="11076" y="5498"/>
                    <a:pt x="11074" y="5484"/>
                  </a:cubicBezTo>
                  <a:cubicBezTo>
                    <a:pt x="11077" y="5471"/>
                    <a:pt x="11062" y="5454"/>
                    <a:pt x="11051" y="5449"/>
                  </a:cubicBezTo>
                  <a:cubicBezTo>
                    <a:pt x="11038" y="5447"/>
                    <a:pt x="11045" y="5411"/>
                    <a:pt x="11068" y="5376"/>
                  </a:cubicBezTo>
                  <a:cubicBezTo>
                    <a:pt x="11089" y="5340"/>
                    <a:pt x="11116" y="5279"/>
                    <a:pt x="11130" y="5245"/>
                  </a:cubicBezTo>
                  <a:cubicBezTo>
                    <a:pt x="11142" y="5209"/>
                    <a:pt x="11140" y="5164"/>
                    <a:pt x="11124" y="5146"/>
                  </a:cubicBezTo>
                  <a:cubicBezTo>
                    <a:pt x="11108" y="5126"/>
                    <a:pt x="11080" y="5126"/>
                    <a:pt x="11059" y="5135"/>
                  </a:cubicBezTo>
                  <a:cubicBezTo>
                    <a:pt x="11040" y="5153"/>
                    <a:pt x="10978" y="5219"/>
                    <a:pt x="10921" y="5289"/>
                  </a:cubicBezTo>
                  <a:cubicBezTo>
                    <a:pt x="10866" y="5363"/>
                    <a:pt x="10800" y="5440"/>
                    <a:pt x="10774" y="5460"/>
                  </a:cubicBezTo>
                  <a:cubicBezTo>
                    <a:pt x="10750" y="5484"/>
                    <a:pt x="10721" y="5530"/>
                    <a:pt x="10708" y="5561"/>
                  </a:cubicBezTo>
                  <a:cubicBezTo>
                    <a:pt x="10698" y="5597"/>
                    <a:pt x="10692" y="5631"/>
                    <a:pt x="10699" y="5642"/>
                  </a:cubicBezTo>
                  <a:cubicBezTo>
                    <a:pt x="10703" y="5657"/>
                    <a:pt x="10696" y="5676"/>
                    <a:pt x="10678" y="5697"/>
                  </a:cubicBezTo>
                  <a:cubicBezTo>
                    <a:pt x="10659" y="5714"/>
                    <a:pt x="10630" y="5728"/>
                    <a:pt x="10611" y="5733"/>
                  </a:cubicBezTo>
                  <a:cubicBezTo>
                    <a:pt x="10593" y="5734"/>
                    <a:pt x="10587" y="5708"/>
                    <a:pt x="10602" y="5686"/>
                  </a:cubicBezTo>
                  <a:cubicBezTo>
                    <a:pt x="10614" y="5659"/>
                    <a:pt x="10625" y="5626"/>
                    <a:pt x="10621" y="5613"/>
                  </a:cubicBezTo>
                  <a:cubicBezTo>
                    <a:pt x="10621" y="5597"/>
                    <a:pt x="10630" y="5568"/>
                    <a:pt x="10647" y="5537"/>
                  </a:cubicBezTo>
                  <a:cubicBezTo>
                    <a:pt x="10664" y="5508"/>
                    <a:pt x="10687" y="5461"/>
                    <a:pt x="10693" y="5427"/>
                  </a:cubicBezTo>
                  <a:cubicBezTo>
                    <a:pt x="10700" y="5393"/>
                    <a:pt x="10686" y="5374"/>
                    <a:pt x="10660" y="5380"/>
                  </a:cubicBezTo>
                  <a:cubicBezTo>
                    <a:pt x="10634" y="5385"/>
                    <a:pt x="10621" y="5357"/>
                    <a:pt x="10638" y="5328"/>
                  </a:cubicBezTo>
                  <a:cubicBezTo>
                    <a:pt x="10652" y="5291"/>
                    <a:pt x="10670" y="5246"/>
                    <a:pt x="10675" y="5224"/>
                  </a:cubicBezTo>
                  <a:cubicBezTo>
                    <a:pt x="10679" y="5200"/>
                    <a:pt x="10672" y="5194"/>
                    <a:pt x="10656" y="5199"/>
                  </a:cubicBezTo>
                  <a:cubicBezTo>
                    <a:pt x="10640" y="5209"/>
                    <a:pt x="10577" y="5261"/>
                    <a:pt x="10519" y="5328"/>
                  </a:cubicBezTo>
                  <a:cubicBezTo>
                    <a:pt x="10459" y="5388"/>
                    <a:pt x="10392" y="5455"/>
                    <a:pt x="10369" y="5476"/>
                  </a:cubicBezTo>
                  <a:cubicBezTo>
                    <a:pt x="10346" y="5494"/>
                    <a:pt x="10308" y="5539"/>
                    <a:pt x="10288" y="5580"/>
                  </a:cubicBezTo>
                  <a:cubicBezTo>
                    <a:pt x="10268" y="5621"/>
                    <a:pt x="10251" y="5669"/>
                    <a:pt x="10244" y="5682"/>
                  </a:cubicBezTo>
                  <a:cubicBezTo>
                    <a:pt x="10242" y="5700"/>
                    <a:pt x="10225" y="5732"/>
                    <a:pt x="10208" y="5752"/>
                  </a:cubicBezTo>
                  <a:cubicBezTo>
                    <a:pt x="10191" y="5772"/>
                    <a:pt x="10171" y="5812"/>
                    <a:pt x="10161" y="5833"/>
                  </a:cubicBezTo>
                  <a:cubicBezTo>
                    <a:pt x="10152" y="5858"/>
                    <a:pt x="10122" y="5894"/>
                    <a:pt x="10097" y="5923"/>
                  </a:cubicBezTo>
                  <a:cubicBezTo>
                    <a:pt x="10072" y="5948"/>
                    <a:pt x="10053" y="5953"/>
                    <a:pt x="10059" y="5936"/>
                  </a:cubicBezTo>
                  <a:cubicBezTo>
                    <a:pt x="10064" y="5918"/>
                    <a:pt x="10080" y="5886"/>
                    <a:pt x="10096" y="5866"/>
                  </a:cubicBezTo>
                  <a:cubicBezTo>
                    <a:pt x="10113" y="5846"/>
                    <a:pt x="10120" y="5828"/>
                    <a:pt x="10115" y="5818"/>
                  </a:cubicBezTo>
                  <a:cubicBezTo>
                    <a:pt x="10110" y="5812"/>
                    <a:pt x="10080" y="5834"/>
                    <a:pt x="10050" y="5866"/>
                  </a:cubicBezTo>
                  <a:cubicBezTo>
                    <a:pt x="10020" y="5900"/>
                    <a:pt x="9967" y="5973"/>
                    <a:pt x="9931" y="6027"/>
                  </a:cubicBezTo>
                  <a:cubicBezTo>
                    <a:pt x="9896" y="6083"/>
                    <a:pt x="9844" y="6144"/>
                    <a:pt x="9817" y="6172"/>
                  </a:cubicBezTo>
                  <a:cubicBezTo>
                    <a:pt x="9789" y="6196"/>
                    <a:pt x="9792" y="6159"/>
                    <a:pt x="9822" y="6085"/>
                  </a:cubicBezTo>
                  <a:cubicBezTo>
                    <a:pt x="9854" y="6017"/>
                    <a:pt x="9892" y="5931"/>
                    <a:pt x="9913" y="5912"/>
                  </a:cubicBezTo>
                  <a:cubicBezTo>
                    <a:pt x="9932" y="5888"/>
                    <a:pt x="9951" y="5854"/>
                    <a:pt x="9956" y="5835"/>
                  </a:cubicBezTo>
                  <a:cubicBezTo>
                    <a:pt x="9958" y="5816"/>
                    <a:pt x="9945" y="5812"/>
                    <a:pt x="9920" y="5821"/>
                  </a:cubicBezTo>
                  <a:cubicBezTo>
                    <a:pt x="9896" y="5835"/>
                    <a:pt x="9858" y="5857"/>
                    <a:pt x="9836" y="5882"/>
                  </a:cubicBezTo>
                  <a:cubicBezTo>
                    <a:pt x="9815" y="5907"/>
                    <a:pt x="9735" y="5969"/>
                    <a:pt x="9659" y="6024"/>
                  </a:cubicBezTo>
                  <a:cubicBezTo>
                    <a:pt x="9583" y="6072"/>
                    <a:pt x="9472" y="6173"/>
                    <a:pt x="9410" y="6231"/>
                  </a:cubicBezTo>
                  <a:cubicBezTo>
                    <a:pt x="9349" y="6293"/>
                    <a:pt x="9276" y="6356"/>
                    <a:pt x="9248" y="6369"/>
                  </a:cubicBezTo>
                  <a:cubicBezTo>
                    <a:pt x="9221" y="6384"/>
                    <a:pt x="9159" y="6437"/>
                    <a:pt x="9109" y="6483"/>
                  </a:cubicBezTo>
                  <a:cubicBezTo>
                    <a:pt x="9061" y="6535"/>
                    <a:pt x="8996" y="6601"/>
                    <a:pt x="8968" y="6640"/>
                  </a:cubicBezTo>
                  <a:cubicBezTo>
                    <a:pt x="8941" y="6683"/>
                    <a:pt x="8883" y="6730"/>
                    <a:pt x="8844" y="6760"/>
                  </a:cubicBezTo>
                  <a:cubicBezTo>
                    <a:pt x="8804" y="6785"/>
                    <a:pt x="8745" y="6836"/>
                    <a:pt x="8711" y="6866"/>
                  </a:cubicBezTo>
                  <a:cubicBezTo>
                    <a:pt x="8678" y="6898"/>
                    <a:pt x="8636" y="6957"/>
                    <a:pt x="8616" y="6992"/>
                  </a:cubicBezTo>
                  <a:cubicBezTo>
                    <a:pt x="8597" y="7032"/>
                    <a:pt x="8563" y="7063"/>
                    <a:pt x="8543" y="7075"/>
                  </a:cubicBezTo>
                  <a:cubicBezTo>
                    <a:pt x="8522" y="7079"/>
                    <a:pt x="8493" y="7101"/>
                    <a:pt x="8479" y="7118"/>
                  </a:cubicBezTo>
                  <a:cubicBezTo>
                    <a:pt x="8466" y="7136"/>
                    <a:pt x="8449" y="7164"/>
                    <a:pt x="8449" y="7185"/>
                  </a:cubicBezTo>
                  <a:cubicBezTo>
                    <a:pt x="8445" y="7206"/>
                    <a:pt x="8455" y="7221"/>
                    <a:pt x="8467" y="7211"/>
                  </a:cubicBezTo>
                  <a:cubicBezTo>
                    <a:pt x="8480" y="7210"/>
                    <a:pt x="8474" y="7225"/>
                    <a:pt x="8459" y="7262"/>
                  </a:cubicBezTo>
                  <a:cubicBezTo>
                    <a:pt x="8441" y="7292"/>
                    <a:pt x="8421" y="7344"/>
                    <a:pt x="8415" y="7371"/>
                  </a:cubicBezTo>
                  <a:cubicBezTo>
                    <a:pt x="8406" y="7395"/>
                    <a:pt x="8441" y="7381"/>
                    <a:pt x="8491" y="7339"/>
                  </a:cubicBezTo>
                  <a:cubicBezTo>
                    <a:pt x="8541" y="7296"/>
                    <a:pt x="8599" y="7240"/>
                    <a:pt x="8619" y="7210"/>
                  </a:cubicBezTo>
                  <a:cubicBezTo>
                    <a:pt x="8641" y="7186"/>
                    <a:pt x="8668" y="7140"/>
                    <a:pt x="8677" y="7113"/>
                  </a:cubicBezTo>
                  <a:cubicBezTo>
                    <a:pt x="8687" y="7085"/>
                    <a:pt x="8727" y="7042"/>
                    <a:pt x="8764" y="7015"/>
                  </a:cubicBezTo>
                  <a:cubicBezTo>
                    <a:pt x="8800" y="6980"/>
                    <a:pt x="8849" y="6937"/>
                    <a:pt x="8873" y="6915"/>
                  </a:cubicBezTo>
                  <a:cubicBezTo>
                    <a:pt x="8894" y="6884"/>
                    <a:pt x="8931" y="6853"/>
                    <a:pt x="8952" y="6836"/>
                  </a:cubicBezTo>
                  <a:cubicBezTo>
                    <a:pt x="8973" y="6819"/>
                    <a:pt x="8989" y="6824"/>
                    <a:pt x="8987" y="6846"/>
                  </a:cubicBezTo>
                  <a:cubicBezTo>
                    <a:pt x="8985" y="6867"/>
                    <a:pt x="9003" y="6868"/>
                    <a:pt x="9025" y="6844"/>
                  </a:cubicBezTo>
                  <a:cubicBezTo>
                    <a:pt x="9048" y="6822"/>
                    <a:pt x="9082" y="6775"/>
                    <a:pt x="9102" y="6740"/>
                  </a:cubicBezTo>
                  <a:cubicBezTo>
                    <a:pt x="9120" y="6701"/>
                    <a:pt x="9153" y="6666"/>
                    <a:pt x="9171" y="6646"/>
                  </a:cubicBezTo>
                  <a:cubicBezTo>
                    <a:pt x="9190" y="6633"/>
                    <a:pt x="9187" y="6655"/>
                    <a:pt x="9163" y="6697"/>
                  </a:cubicBezTo>
                  <a:cubicBezTo>
                    <a:pt x="9141" y="6743"/>
                    <a:pt x="9131" y="6780"/>
                    <a:pt x="9141" y="6785"/>
                  </a:cubicBezTo>
                  <a:cubicBezTo>
                    <a:pt x="9151" y="6791"/>
                    <a:pt x="9190" y="6772"/>
                    <a:pt x="9228" y="6747"/>
                  </a:cubicBezTo>
                  <a:cubicBezTo>
                    <a:pt x="9265" y="6726"/>
                    <a:pt x="9269" y="6731"/>
                    <a:pt x="9235" y="6760"/>
                  </a:cubicBezTo>
                  <a:cubicBezTo>
                    <a:pt x="9203" y="6791"/>
                    <a:pt x="9129" y="6849"/>
                    <a:pt x="9074" y="6892"/>
                  </a:cubicBezTo>
                  <a:cubicBezTo>
                    <a:pt x="9018" y="6936"/>
                    <a:pt x="8918" y="7022"/>
                    <a:pt x="8853" y="7095"/>
                  </a:cubicBezTo>
                  <a:cubicBezTo>
                    <a:pt x="8788" y="7163"/>
                    <a:pt x="8696" y="7256"/>
                    <a:pt x="8648" y="7302"/>
                  </a:cubicBezTo>
                  <a:cubicBezTo>
                    <a:pt x="8600" y="7349"/>
                    <a:pt x="8555" y="7401"/>
                    <a:pt x="8555" y="7426"/>
                  </a:cubicBezTo>
                  <a:cubicBezTo>
                    <a:pt x="8549" y="7447"/>
                    <a:pt x="8540" y="7486"/>
                    <a:pt x="8532" y="7511"/>
                  </a:cubicBezTo>
                  <a:cubicBezTo>
                    <a:pt x="8521" y="7532"/>
                    <a:pt x="8538" y="7533"/>
                    <a:pt x="8567" y="7516"/>
                  </a:cubicBezTo>
                  <a:cubicBezTo>
                    <a:pt x="8597" y="7497"/>
                    <a:pt x="8644" y="7449"/>
                    <a:pt x="8675" y="7415"/>
                  </a:cubicBezTo>
                  <a:cubicBezTo>
                    <a:pt x="8704" y="7380"/>
                    <a:pt x="8757" y="7328"/>
                    <a:pt x="8792" y="7301"/>
                  </a:cubicBezTo>
                  <a:cubicBezTo>
                    <a:pt x="8828" y="7276"/>
                    <a:pt x="8900" y="7212"/>
                    <a:pt x="8954" y="7162"/>
                  </a:cubicBezTo>
                  <a:cubicBezTo>
                    <a:pt x="9008" y="7113"/>
                    <a:pt x="9104" y="7038"/>
                    <a:pt x="9166" y="6989"/>
                  </a:cubicBezTo>
                  <a:cubicBezTo>
                    <a:pt x="9229" y="6944"/>
                    <a:pt x="9346" y="6858"/>
                    <a:pt x="9425" y="6794"/>
                  </a:cubicBezTo>
                  <a:cubicBezTo>
                    <a:pt x="9504" y="6731"/>
                    <a:pt x="9583" y="6667"/>
                    <a:pt x="9594" y="6684"/>
                  </a:cubicBezTo>
                  <a:cubicBezTo>
                    <a:pt x="9607" y="6678"/>
                    <a:pt x="9610" y="6697"/>
                    <a:pt x="9604" y="6719"/>
                  </a:cubicBezTo>
                  <a:cubicBezTo>
                    <a:pt x="9596" y="6736"/>
                    <a:pt x="9564" y="6773"/>
                    <a:pt x="9532" y="6800"/>
                  </a:cubicBezTo>
                  <a:cubicBezTo>
                    <a:pt x="9500" y="6828"/>
                    <a:pt x="9459" y="6851"/>
                    <a:pt x="9440" y="6855"/>
                  </a:cubicBezTo>
                  <a:cubicBezTo>
                    <a:pt x="9422" y="6856"/>
                    <a:pt x="9379" y="6885"/>
                    <a:pt x="9344" y="6908"/>
                  </a:cubicBezTo>
                  <a:cubicBezTo>
                    <a:pt x="9309" y="6929"/>
                    <a:pt x="9253" y="6978"/>
                    <a:pt x="9220" y="7018"/>
                  </a:cubicBezTo>
                  <a:cubicBezTo>
                    <a:pt x="9188" y="7057"/>
                    <a:pt x="9110" y="7116"/>
                    <a:pt x="9050" y="7159"/>
                  </a:cubicBezTo>
                  <a:cubicBezTo>
                    <a:pt x="8990" y="7200"/>
                    <a:pt x="8893" y="7287"/>
                    <a:pt x="8834" y="7353"/>
                  </a:cubicBezTo>
                  <a:cubicBezTo>
                    <a:pt x="8774" y="7418"/>
                    <a:pt x="8685" y="7494"/>
                    <a:pt x="8637" y="7533"/>
                  </a:cubicBezTo>
                  <a:cubicBezTo>
                    <a:pt x="8588" y="7564"/>
                    <a:pt x="8535" y="7609"/>
                    <a:pt x="8520" y="7632"/>
                  </a:cubicBezTo>
                  <a:cubicBezTo>
                    <a:pt x="8503" y="7652"/>
                    <a:pt x="8503" y="7678"/>
                    <a:pt x="8517" y="7689"/>
                  </a:cubicBezTo>
                  <a:cubicBezTo>
                    <a:pt x="8529" y="7707"/>
                    <a:pt x="8566" y="7689"/>
                    <a:pt x="8596" y="7671"/>
                  </a:cubicBezTo>
                  <a:cubicBezTo>
                    <a:pt x="8624" y="7648"/>
                    <a:pt x="8667" y="7641"/>
                    <a:pt x="8690" y="7635"/>
                  </a:cubicBezTo>
                  <a:cubicBezTo>
                    <a:pt x="8712" y="7634"/>
                    <a:pt x="8710" y="7653"/>
                    <a:pt x="8685" y="7678"/>
                  </a:cubicBezTo>
                  <a:cubicBezTo>
                    <a:pt x="8659" y="7698"/>
                    <a:pt x="8595" y="7756"/>
                    <a:pt x="8540" y="7793"/>
                  </a:cubicBezTo>
                  <a:cubicBezTo>
                    <a:pt x="8486" y="7836"/>
                    <a:pt x="8429" y="7859"/>
                    <a:pt x="8415" y="7850"/>
                  </a:cubicBezTo>
                  <a:cubicBezTo>
                    <a:pt x="8401" y="7842"/>
                    <a:pt x="8374" y="7849"/>
                    <a:pt x="8355" y="7858"/>
                  </a:cubicBezTo>
                  <a:cubicBezTo>
                    <a:pt x="8336" y="7871"/>
                    <a:pt x="8295" y="7912"/>
                    <a:pt x="8263" y="7943"/>
                  </a:cubicBezTo>
                  <a:cubicBezTo>
                    <a:pt x="8232" y="7982"/>
                    <a:pt x="8188" y="8032"/>
                    <a:pt x="8178" y="8075"/>
                  </a:cubicBezTo>
                  <a:cubicBezTo>
                    <a:pt x="8159" y="8108"/>
                    <a:pt x="8130" y="8163"/>
                    <a:pt x="8109" y="8196"/>
                  </a:cubicBezTo>
                  <a:cubicBezTo>
                    <a:pt x="8086" y="8222"/>
                    <a:pt x="8067" y="8260"/>
                    <a:pt x="8071" y="8274"/>
                  </a:cubicBezTo>
                  <a:cubicBezTo>
                    <a:pt x="8067" y="8288"/>
                    <a:pt x="8098" y="8299"/>
                    <a:pt x="8126" y="8287"/>
                  </a:cubicBezTo>
                  <a:cubicBezTo>
                    <a:pt x="8156" y="8279"/>
                    <a:pt x="8218" y="8238"/>
                    <a:pt x="8264" y="8192"/>
                  </a:cubicBezTo>
                  <a:cubicBezTo>
                    <a:pt x="8312" y="8152"/>
                    <a:pt x="8387" y="8100"/>
                    <a:pt x="8433" y="8090"/>
                  </a:cubicBezTo>
                  <a:cubicBezTo>
                    <a:pt x="8479" y="8079"/>
                    <a:pt x="8550" y="8038"/>
                    <a:pt x="8594" y="8015"/>
                  </a:cubicBezTo>
                  <a:cubicBezTo>
                    <a:pt x="8636" y="7984"/>
                    <a:pt x="8681" y="7960"/>
                    <a:pt x="8693" y="7958"/>
                  </a:cubicBezTo>
                  <a:cubicBezTo>
                    <a:pt x="8704" y="7953"/>
                    <a:pt x="8735" y="7940"/>
                    <a:pt x="8760" y="7925"/>
                  </a:cubicBezTo>
                  <a:cubicBezTo>
                    <a:pt x="8785" y="7910"/>
                    <a:pt x="8829" y="7896"/>
                    <a:pt x="8858" y="7903"/>
                  </a:cubicBezTo>
                  <a:cubicBezTo>
                    <a:pt x="8887" y="7908"/>
                    <a:pt x="8935" y="7891"/>
                    <a:pt x="8966" y="7876"/>
                  </a:cubicBezTo>
                  <a:cubicBezTo>
                    <a:pt x="8995" y="7851"/>
                    <a:pt x="9039" y="7824"/>
                    <a:pt x="9060" y="7803"/>
                  </a:cubicBezTo>
                  <a:cubicBezTo>
                    <a:pt x="9081" y="7782"/>
                    <a:pt x="9136" y="7738"/>
                    <a:pt x="9183" y="7718"/>
                  </a:cubicBezTo>
                  <a:cubicBezTo>
                    <a:pt x="9229" y="7690"/>
                    <a:pt x="9290" y="7655"/>
                    <a:pt x="9316" y="7633"/>
                  </a:cubicBezTo>
                  <a:cubicBezTo>
                    <a:pt x="9343" y="7612"/>
                    <a:pt x="9420" y="7540"/>
                    <a:pt x="9487" y="7472"/>
                  </a:cubicBezTo>
                  <a:cubicBezTo>
                    <a:pt x="9555" y="7409"/>
                    <a:pt x="9668" y="7314"/>
                    <a:pt x="9740" y="7270"/>
                  </a:cubicBezTo>
                  <a:cubicBezTo>
                    <a:pt x="9811" y="7222"/>
                    <a:pt x="9909" y="7158"/>
                    <a:pt x="9958" y="7121"/>
                  </a:cubicBezTo>
                  <a:cubicBezTo>
                    <a:pt x="10006" y="7083"/>
                    <a:pt x="10070" y="7026"/>
                    <a:pt x="10100" y="6997"/>
                  </a:cubicBezTo>
                  <a:cubicBezTo>
                    <a:pt x="10131" y="6970"/>
                    <a:pt x="10172" y="6927"/>
                    <a:pt x="10194" y="6910"/>
                  </a:cubicBezTo>
                  <a:cubicBezTo>
                    <a:pt x="10217" y="6898"/>
                    <a:pt x="10253" y="6859"/>
                    <a:pt x="10277" y="6840"/>
                  </a:cubicBezTo>
                  <a:cubicBezTo>
                    <a:pt x="10301" y="6816"/>
                    <a:pt x="10319" y="6820"/>
                    <a:pt x="10313" y="6835"/>
                  </a:cubicBezTo>
                  <a:cubicBezTo>
                    <a:pt x="10311" y="6855"/>
                    <a:pt x="10291" y="6887"/>
                    <a:pt x="10276" y="6911"/>
                  </a:cubicBezTo>
                  <a:cubicBezTo>
                    <a:pt x="10259" y="6932"/>
                    <a:pt x="10188" y="7001"/>
                    <a:pt x="10116" y="7054"/>
                  </a:cubicBezTo>
                  <a:cubicBezTo>
                    <a:pt x="10045" y="7113"/>
                    <a:pt x="9921" y="7204"/>
                    <a:pt x="9842" y="7268"/>
                  </a:cubicBezTo>
                  <a:cubicBezTo>
                    <a:pt x="9763" y="7332"/>
                    <a:pt x="9678" y="7408"/>
                    <a:pt x="9651" y="7431"/>
                  </a:cubicBezTo>
                  <a:cubicBezTo>
                    <a:pt x="9626" y="7459"/>
                    <a:pt x="9573" y="7506"/>
                    <a:pt x="9534" y="7537"/>
                  </a:cubicBezTo>
                  <a:cubicBezTo>
                    <a:pt x="9496" y="7571"/>
                    <a:pt x="9452" y="7607"/>
                    <a:pt x="9438" y="7625"/>
                  </a:cubicBezTo>
                  <a:cubicBezTo>
                    <a:pt x="9424" y="7639"/>
                    <a:pt x="9380" y="7669"/>
                    <a:pt x="9340" y="7686"/>
                  </a:cubicBezTo>
                  <a:cubicBezTo>
                    <a:pt x="9301" y="7706"/>
                    <a:pt x="9226" y="7751"/>
                    <a:pt x="9176" y="7805"/>
                  </a:cubicBezTo>
                  <a:cubicBezTo>
                    <a:pt x="9125" y="7853"/>
                    <a:pt x="9057" y="7910"/>
                    <a:pt x="9025" y="7931"/>
                  </a:cubicBezTo>
                  <a:cubicBezTo>
                    <a:pt x="8992" y="7949"/>
                    <a:pt x="8954" y="7972"/>
                    <a:pt x="8939" y="7970"/>
                  </a:cubicBezTo>
                  <a:cubicBezTo>
                    <a:pt x="8925" y="7976"/>
                    <a:pt x="8887" y="7989"/>
                    <a:pt x="8855" y="8012"/>
                  </a:cubicBezTo>
                  <a:cubicBezTo>
                    <a:pt x="8823" y="8032"/>
                    <a:pt x="8763" y="8049"/>
                    <a:pt x="8722" y="8057"/>
                  </a:cubicBezTo>
                  <a:cubicBezTo>
                    <a:pt x="8681" y="8052"/>
                    <a:pt x="8559" y="8120"/>
                    <a:pt x="8454" y="8199"/>
                  </a:cubicBezTo>
                  <a:cubicBezTo>
                    <a:pt x="8347" y="8267"/>
                    <a:pt x="8248" y="8334"/>
                    <a:pt x="8232" y="8336"/>
                  </a:cubicBezTo>
                  <a:cubicBezTo>
                    <a:pt x="8216" y="8328"/>
                    <a:pt x="8171" y="8364"/>
                    <a:pt x="8132" y="8397"/>
                  </a:cubicBezTo>
                  <a:cubicBezTo>
                    <a:pt x="8094" y="8433"/>
                    <a:pt x="8035" y="8474"/>
                    <a:pt x="8003" y="8487"/>
                  </a:cubicBezTo>
                  <a:cubicBezTo>
                    <a:pt x="7972" y="8505"/>
                    <a:pt x="7929" y="8533"/>
                    <a:pt x="7911" y="8560"/>
                  </a:cubicBezTo>
                  <a:cubicBezTo>
                    <a:pt x="7891" y="8582"/>
                    <a:pt x="7865" y="8634"/>
                    <a:pt x="7854" y="8674"/>
                  </a:cubicBezTo>
                  <a:cubicBezTo>
                    <a:pt x="7839" y="8710"/>
                    <a:pt x="7840" y="8752"/>
                    <a:pt x="7851" y="8758"/>
                  </a:cubicBezTo>
                  <a:cubicBezTo>
                    <a:pt x="7861" y="8764"/>
                    <a:pt x="7857" y="8807"/>
                    <a:pt x="7840" y="8852"/>
                  </a:cubicBezTo>
                  <a:cubicBezTo>
                    <a:pt x="7825" y="8901"/>
                    <a:pt x="7806" y="8962"/>
                    <a:pt x="7806" y="8994"/>
                  </a:cubicBezTo>
                  <a:cubicBezTo>
                    <a:pt x="7803" y="9025"/>
                    <a:pt x="7815" y="9056"/>
                    <a:pt x="7829" y="9058"/>
                  </a:cubicBezTo>
                  <a:cubicBezTo>
                    <a:pt x="7843" y="9060"/>
                    <a:pt x="7871" y="9052"/>
                    <a:pt x="7891" y="9045"/>
                  </a:cubicBezTo>
                  <a:cubicBezTo>
                    <a:pt x="7910" y="9030"/>
                    <a:pt x="7948" y="9052"/>
                    <a:pt x="7974" y="9074"/>
                  </a:cubicBezTo>
                  <a:cubicBezTo>
                    <a:pt x="8001" y="9096"/>
                    <a:pt x="8042" y="9112"/>
                    <a:pt x="8068" y="9107"/>
                  </a:cubicBezTo>
                  <a:cubicBezTo>
                    <a:pt x="8093" y="9096"/>
                    <a:pt x="8128" y="9079"/>
                    <a:pt x="8143" y="9063"/>
                  </a:cubicBezTo>
                  <a:cubicBezTo>
                    <a:pt x="8159" y="9048"/>
                    <a:pt x="8222" y="8970"/>
                    <a:pt x="8283" y="8889"/>
                  </a:cubicBezTo>
                  <a:cubicBezTo>
                    <a:pt x="8344" y="8811"/>
                    <a:pt x="8457" y="8685"/>
                    <a:pt x="8534" y="8608"/>
                  </a:cubicBezTo>
                  <a:cubicBezTo>
                    <a:pt x="8612" y="8535"/>
                    <a:pt x="8736" y="8408"/>
                    <a:pt x="8812" y="8332"/>
                  </a:cubicBezTo>
                  <a:cubicBezTo>
                    <a:pt x="8887" y="8255"/>
                    <a:pt x="8990" y="8140"/>
                    <a:pt x="9041" y="8080"/>
                  </a:cubicBezTo>
                  <a:cubicBezTo>
                    <a:pt x="9092" y="8018"/>
                    <a:pt x="9158" y="7946"/>
                    <a:pt x="9182" y="7907"/>
                  </a:cubicBezTo>
                  <a:cubicBezTo>
                    <a:pt x="9210" y="7880"/>
                    <a:pt x="9247" y="7838"/>
                    <a:pt x="9267" y="7824"/>
                  </a:cubicBezTo>
                  <a:cubicBezTo>
                    <a:pt x="9287" y="7816"/>
                    <a:pt x="9362" y="7774"/>
                    <a:pt x="9434" y="7735"/>
                  </a:cubicBezTo>
                  <a:cubicBezTo>
                    <a:pt x="9506" y="7703"/>
                    <a:pt x="9625" y="7626"/>
                    <a:pt x="9697" y="7573"/>
                  </a:cubicBezTo>
                  <a:cubicBezTo>
                    <a:pt x="9769" y="7521"/>
                    <a:pt x="9867" y="7453"/>
                    <a:pt x="9915" y="7423"/>
                  </a:cubicBezTo>
                  <a:cubicBezTo>
                    <a:pt x="9963" y="7394"/>
                    <a:pt x="10033" y="7358"/>
                    <a:pt x="10070" y="7359"/>
                  </a:cubicBezTo>
                  <a:cubicBezTo>
                    <a:pt x="10108" y="7357"/>
                    <a:pt x="10198" y="7319"/>
                    <a:pt x="10270" y="7283"/>
                  </a:cubicBezTo>
                  <a:cubicBezTo>
                    <a:pt x="10343" y="7247"/>
                    <a:pt x="10462" y="7180"/>
                    <a:pt x="10534" y="7128"/>
                  </a:cubicBezTo>
                  <a:cubicBezTo>
                    <a:pt x="10607" y="7082"/>
                    <a:pt x="10683" y="7040"/>
                    <a:pt x="10705" y="7035"/>
                  </a:cubicBezTo>
                  <a:cubicBezTo>
                    <a:pt x="10727" y="7035"/>
                    <a:pt x="10736" y="7047"/>
                    <a:pt x="10724" y="7059"/>
                  </a:cubicBezTo>
                  <a:cubicBezTo>
                    <a:pt x="10713" y="7077"/>
                    <a:pt x="10650" y="7121"/>
                    <a:pt x="10588" y="7168"/>
                  </a:cubicBezTo>
                  <a:cubicBezTo>
                    <a:pt x="10527" y="7215"/>
                    <a:pt x="10452" y="7261"/>
                    <a:pt x="10422" y="7269"/>
                  </a:cubicBezTo>
                  <a:cubicBezTo>
                    <a:pt x="10394" y="7286"/>
                    <a:pt x="10319" y="7321"/>
                    <a:pt x="10257" y="7357"/>
                  </a:cubicBezTo>
                  <a:cubicBezTo>
                    <a:pt x="10195" y="7397"/>
                    <a:pt x="10099" y="7436"/>
                    <a:pt x="10043" y="7444"/>
                  </a:cubicBezTo>
                  <a:cubicBezTo>
                    <a:pt x="9988" y="7458"/>
                    <a:pt x="9914" y="7478"/>
                    <a:pt x="9879" y="7499"/>
                  </a:cubicBezTo>
                  <a:cubicBezTo>
                    <a:pt x="9845" y="7522"/>
                    <a:pt x="9794" y="7558"/>
                    <a:pt x="9768" y="7583"/>
                  </a:cubicBezTo>
                  <a:cubicBezTo>
                    <a:pt x="9742" y="7609"/>
                    <a:pt x="9661" y="7669"/>
                    <a:pt x="9589" y="7708"/>
                  </a:cubicBezTo>
                  <a:cubicBezTo>
                    <a:pt x="9517" y="7752"/>
                    <a:pt x="9429" y="7799"/>
                    <a:pt x="9395" y="7817"/>
                  </a:cubicBezTo>
                  <a:cubicBezTo>
                    <a:pt x="9362" y="7837"/>
                    <a:pt x="9310" y="7874"/>
                    <a:pt x="9282" y="7910"/>
                  </a:cubicBezTo>
                  <a:cubicBezTo>
                    <a:pt x="9254" y="7946"/>
                    <a:pt x="9181" y="8018"/>
                    <a:pt x="9122" y="8080"/>
                  </a:cubicBezTo>
                  <a:cubicBezTo>
                    <a:pt x="9061" y="8136"/>
                    <a:pt x="8974" y="8237"/>
                    <a:pt x="8928" y="8297"/>
                  </a:cubicBezTo>
                  <a:cubicBezTo>
                    <a:pt x="8882" y="8358"/>
                    <a:pt x="8790" y="8456"/>
                    <a:pt x="8726" y="8524"/>
                  </a:cubicBezTo>
                  <a:cubicBezTo>
                    <a:pt x="8661" y="8587"/>
                    <a:pt x="8576" y="8690"/>
                    <a:pt x="8536" y="8747"/>
                  </a:cubicBezTo>
                  <a:cubicBezTo>
                    <a:pt x="8496" y="8803"/>
                    <a:pt x="8432" y="8887"/>
                    <a:pt x="8394" y="8930"/>
                  </a:cubicBezTo>
                  <a:cubicBezTo>
                    <a:pt x="8356" y="8977"/>
                    <a:pt x="8313" y="9023"/>
                    <a:pt x="8306" y="9047"/>
                  </a:cubicBezTo>
                  <a:cubicBezTo>
                    <a:pt x="8295" y="9068"/>
                    <a:pt x="8311" y="9078"/>
                    <a:pt x="8338" y="9091"/>
                  </a:cubicBezTo>
                  <a:cubicBezTo>
                    <a:pt x="8366" y="9091"/>
                    <a:pt x="8424" y="9075"/>
                    <a:pt x="8465" y="9047"/>
                  </a:cubicBezTo>
                  <a:cubicBezTo>
                    <a:pt x="8507" y="9022"/>
                    <a:pt x="8531" y="9011"/>
                    <a:pt x="8528" y="9036"/>
                  </a:cubicBezTo>
                  <a:cubicBezTo>
                    <a:pt x="8521" y="9058"/>
                    <a:pt x="8530" y="9080"/>
                    <a:pt x="8549" y="9095"/>
                  </a:cubicBezTo>
                  <a:cubicBezTo>
                    <a:pt x="8570" y="9102"/>
                    <a:pt x="8641" y="9079"/>
                    <a:pt x="8711" y="9038"/>
                  </a:cubicBezTo>
                  <a:cubicBezTo>
                    <a:pt x="8780" y="8995"/>
                    <a:pt x="8894" y="8931"/>
                    <a:pt x="8965" y="8905"/>
                  </a:cubicBezTo>
                  <a:cubicBezTo>
                    <a:pt x="9037" y="8879"/>
                    <a:pt x="9142" y="8821"/>
                    <a:pt x="9200" y="8780"/>
                  </a:cubicBezTo>
                  <a:cubicBezTo>
                    <a:pt x="9258" y="8742"/>
                    <a:pt x="9363" y="8637"/>
                    <a:pt x="9434" y="8555"/>
                  </a:cubicBezTo>
                  <a:cubicBezTo>
                    <a:pt x="9505" y="8473"/>
                    <a:pt x="9580" y="8358"/>
                    <a:pt x="9603" y="8307"/>
                  </a:cubicBezTo>
                  <a:cubicBezTo>
                    <a:pt x="9626" y="8256"/>
                    <a:pt x="9696" y="8171"/>
                    <a:pt x="9760" y="8117"/>
                  </a:cubicBezTo>
                  <a:cubicBezTo>
                    <a:pt x="9824" y="8069"/>
                    <a:pt x="9901" y="8012"/>
                    <a:pt x="9931" y="7991"/>
                  </a:cubicBezTo>
                  <a:cubicBezTo>
                    <a:pt x="9962" y="7977"/>
                    <a:pt x="9946" y="8003"/>
                    <a:pt x="9894" y="8049"/>
                  </a:cubicBezTo>
                  <a:cubicBezTo>
                    <a:pt x="9844" y="8101"/>
                    <a:pt x="9792" y="8160"/>
                    <a:pt x="9783" y="8189"/>
                  </a:cubicBezTo>
                  <a:cubicBezTo>
                    <a:pt x="9772" y="8216"/>
                    <a:pt x="9791" y="8230"/>
                    <a:pt x="9823" y="8216"/>
                  </a:cubicBezTo>
                  <a:cubicBezTo>
                    <a:pt x="9855" y="8206"/>
                    <a:pt x="9927" y="8156"/>
                    <a:pt x="9982" y="8100"/>
                  </a:cubicBezTo>
                  <a:cubicBezTo>
                    <a:pt x="10039" y="8055"/>
                    <a:pt x="10116" y="7992"/>
                    <a:pt x="10156" y="7970"/>
                  </a:cubicBezTo>
                  <a:cubicBezTo>
                    <a:pt x="10196" y="7948"/>
                    <a:pt x="10271" y="7895"/>
                    <a:pt x="10322" y="7850"/>
                  </a:cubicBezTo>
                  <a:cubicBezTo>
                    <a:pt x="10373" y="7807"/>
                    <a:pt x="10436" y="7757"/>
                    <a:pt x="10462" y="7743"/>
                  </a:cubicBezTo>
                  <a:cubicBezTo>
                    <a:pt x="10489" y="7728"/>
                    <a:pt x="10474" y="7754"/>
                    <a:pt x="10433" y="7807"/>
                  </a:cubicBezTo>
                  <a:cubicBezTo>
                    <a:pt x="10391" y="7858"/>
                    <a:pt x="10298" y="7937"/>
                    <a:pt x="10229" y="7987"/>
                  </a:cubicBezTo>
                  <a:cubicBezTo>
                    <a:pt x="10159" y="8040"/>
                    <a:pt x="10072" y="8105"/>
                    <a:pt x="10036" y="8137"/>
                  </a:cubicBezTo>
                  <a:cubicBezTo>
                    <a:pt x="9999" y="8171"/>
                    <a:pt x="9929" y="8220"/>
                    <a:pt x="9881" y="8255"/>
                  </a:cubicBezTo>
                  <a:cubicBezTo>
                    <a:pt x="9832" y="8285"/>
                    <a:pt x="9740" y="8373"/>
                    <a:pt x="9676" y="8447"/>
                  </a:cubicBezTo>
                  <a:cubicBezTo>
                    <a:pt x="9612" y="8521"/>
                    <a:pt x="9552" y="8601"/>
                    <a:pt x="9549" y="8629"/>
                  </a:cubicBezTo>
                  <a:cubicBezTo>
                    <a:pt x="9543" y="8655"/>
                    <a:pt x="9561" y="8665"/>
                    <a:pt x="9589" y="8651"/>
                  </a:cubicBezTo>
                  <a:cubicBezTo>
                    <a:pt x="9616" y="8633"/>
                    <a:pt x="9684" y="8592"/>
                    <a:pt x="9738" y="8554"/>
                  </a:cubicBezTo>
                  <a:cubicBezTo>
                    <a:pt x="9793" y="8512"/>
                    <a:pt x="9864" y="8494"/>
                    <a:pt x="9898" y="8507"/>
                  </a:cubicBezTo>
                  <a:cubicBezTo>
                    <a:pt x="9931" y="8521"/>
                    <a:pt x="10048" y="8476"/>
                    <a:pt x="10158" y="8404"/>
                  </a:cubicBezTo>
                  <a:cubicBezTo>
                    <a:pt x="10269" y="8335"/>
                    <a:pt x="10386" y="8263"/>
                    <a:pt x="10419" y="8247"/>
                  </a:cubicBezTo>
                  <a:cubicBezTo>
                    <a:pt x="10452" y="8232"/>
                    <a:pt x="10515" y="8195"/>
                    <a:pt x="10558" y="8159"/>
                  </a:cubicBezTo>
                  <a:cubicBezTo>
                    <a:pt x="10601" y="8126"/>
                    <a:pt x="10761" y="7991"/>
                    <a:pt x="10912" y="7859"/>
                  </a:cubicBezTo>
                  <a:cubicBezTo>
                    <a:pt x="11063" y="7724"/>
                    <a:pt x="11222" y="7595"/>
                    <a:pt x="11264" y="7564"/>
                  </a:cubicBezTo>
                  <a:cubicBezTo>
                    <a:pt x="11305" y="7533"/>
                    <a:pt x="11408" y="7436"/>
                    <a:pt x="11492" y="7350"/>
                  </a:cubicBezTo>
                  <a:cubicBezTo>
                    <a:pt x="11576" y="7263"/>
                    <a:pt x="11642" y="7181"/>
                    <a:pt x="11642" y="7168"/>
                  </a:cubicBezTo>
                  <a:cubicBezTo>
                    <a:pt x="11638" y="7159"/>
                    <a:pt x="11623" y="7157"/>
                    <a:pt x="11602" y="7167"/>
                  </a:cubicBezTo>
                  <a:cubicBezTo>
                    <a:pt x="11583" y="7180"/>
                    <a:pt x="11620" y="7117"/>
                    <a:pt x="11687" y="7037"/>
                  </a:cubicBezTo>
                  <a:cubicBezTo>
                    <a:pt x="11754" y="6955"/>
                    <a:pt x="11837" y="6870"/>
                    <a:pt x="11873" y="6846"/>
                  </a:cubicBezTo>
                  <a:cubicBezTo>
                    <a:pt x="11909" y="6825"/>
                    <a:pt x="11967" y="6764"/>
                    <a:pt x="12002" y="6716"/>
                  </a:cubicBezTo>
                  <a:cubicBezTo>
                    <a:pt x="12037" y="6667"/>
                    <a:pt x="12079" y="6626"/>
                    <a:pt x="12093" y="6618"/>
                  </a:cubicBezTo>
                  <a:cubicBezTo>
                    <a:pt x="12107" y="6616"/>
                    <a:pt x="12119" y="6629"/>
                    <a:pt x="12123" y="6654"/>
                  </a:cubicBezTo>
                  <a:cubicBezTo>
                    <a:pt x="12126" y="6679"/>
                    <a:pt x="12144" y="6694"/>
                    <a:pt x="12163" y="6680"/>
                  </a:cubicBezTo>
                  <a:cubicBezTo>
                    <a:pt x="12182" y="6673"/>
                    <a:pt x="12208" y="6631"/>
                    <a:pt x="12221" y="6594"/>
                  </a:cubicBezTo>
                  <a:cubicBezTo>
                    <a:pt x="12233" y="6557"/>
                    <a:pt x="12346" y="6424"/>
                    <a:pt x="12470" y="6300"/>
                  </a:cubicBezTo>
                  <a:cubicBezTo>
                    <a:pt x="12593" y="6174"/>
                    <a:pt x="12754" y="6029"/>
                    <a:pt x="12829" y="5988"/>
                  </a:cubicBezTo>
                  <a:cubicBezTo>
                    <a:pt x="12902" y="5940"/>
                    <a:pt x="13061" y="5814"/>
                    <a:pt x="13184" y="5719"/>
                  </a:cubicBezTo>
                  <a:cubicBezTo>
                    <a:pt x="13305" y="5617"/>
                    <a:pt x="13400" y="5557"/>
                    <a:pt x="13391" y="5576"/>
                  </a:cubicBezTo>
                  <a:cubicBezTo>
                    <a:pt x="13384" y="5598"/>
                    <a:pt x="13292" y="5688"/>
                    <a:pt x="13188" y="5777"/>
                  </a:cubicBezTo>
                  <a:cubicBezTo>
                    <a:pt x="13083" y="5864"/>
                    <a:pt x="12951" y="5966"/>
                    <a:pt x="12894" y="6004"/>
                  </a:cubicBezTo>
                  <a:cubicBezTo>
                    <a:pt x="12836" y="6033"/>
                    <a:pt x="12693" y="6156"/>
                    <a:pt x="12575" y="6270"/>
                  </a:cubicBezTo>
                  <a:cubicBezTo>
                    <a:pt x="12457" y="6378"/>
                    <a:pt x="12334" y="6519"/>
                    <a:pt x="12299" y="6572"/>
                  </a:cubicBezTo>
                  <a:cubicBezTo>
                    <a:pt x="12265" y="6624"/>
                    <a:pt x="12198" y="6718"/>
                    <a:pt x="12147" y="6769"/>
                  </a:cubicBezTo>
                  <a:cubicBezTo>
                    <a:pt x="12099" y="6828"/>
                    <a:pt x="12020" y="6894"/>
                    <a:pt x="11976" y="6922"/>
                  </a:cubicBezTo>
                  <a:cubicBezTo>
                    <a:pt x="11932" y="6955"/>
                    <a:pt x="11865" y="7027"/>
                    <a:pt x="11826" y="7084"/>
                  </a:cubicBezTo>
                  <a:cubicBezTo>
                    <a:pt x="11789" y="7147"/>
                    <a:pt x="11738" y="7219"/>
                    <a:pt x="11712" y="7242"/>
                  </a:cubicBezTo>
                  <a:cubicBezTo>
                    <a:pt x="11687" y="7271"/>
                    <a:pt x="11665" y="7303"/>
                    <a:pt x="11661" y="7315"/>
                  </a:cubicBezTo>
                  <a:cubicBezTo>
                    <a:pt x="11661" y="7330"/>
                    <a:pt x="11739" y="7281"/>
                    <a:pt x="11841" y="7217"/>
                  </a:cubicBezTo>
                  <a:cubicBezTo>
                    <a:pt x="11943" y="7148"/>
                    <a:pt x="12043" y="7095"/>
                    <a:pt x="12063" y="7095"/>
                  </a:cubicBezTo>
                  <a:cubicBezTo>
                    <a:pt x="12083" y="7091"/>
                    <a:pt x="12138" y="7075"/>
                    <a:pt x="12184" y="7049"/>
                  </a:cubicBezTo>
                  <a:cubicBezTo>
                    <a:pt x="12230" y="7021"/>
                    <a:pt x="12294" y="7001"/>
                    <a:pt x="12325" y="6998"/>
                  </a:cubicBezTo>
                  <a:cubicBezTo>
                    <a:pt x="12356" y="6999"/>
                    <a:pt x="12376" y="7011"/>
                    <a:pt x="12368" y="7030"/>
                  </a:cubicBezTo>
                  <a:cubicBezTo>
                    <a:pt x="12361" y="7049"/>
                    <a:pt x="12378" y="7061"/>
                    <a:pt x="12407" y="7058"/>
                  </a:cubicBezTo>
                  <a:cubicBezTo>
                    <a:pt x="12435" y="7052"/>
                    <a:pt x="12475" y="7034"/>
                    <a:pt x="12497" y="7026"/>
                  </a:cubicBezTo>
                  <a:cubicBezTo>
                    <a:pt x="12518" y="7011"/>
                    <a:pt x="12550" y="7007"/>
                    <a:pt x="12567" y="7017"/>
                  </a:cubicBezTo>
                  <a:cubicBezTo>
                    <a:pt x="12583" y="7029"/>
                    <a:pt x="12557" y="7059"/>
                    <a:pt x="12507" y="7096"/>
                  </a:cubicBezTo>
                  <a:cubicBezTo>
                    <a:pt x="12457" y="7133"/>
                    <a:pt x="12386" y="7191"/>
                    <a:pt x="12349" y="7222"/>
                  </a:cubicBezTo>
                  <a:cubicBezTo>
                    <a:pt x="12312" y="7256"/>
                    <a:pt x="12255" y="7274"/>
                    <a:pt x="12222" y="7269"/>
                  </a:cubicBezTo>
                  <a:cubicBezTo>
                    <a:pt x="12190" y="7262"/>
                    <a:pt x="12111" y="7271"/>
                    <a:pt x="12048" y="7288"/>
                  </a:cubicBezTo>
                  <a:cubicBezTo>
                    <a:pt x="11984" y="7305"/>
                    <a:pt x="11858" y="7366"/>
                    <a:pt x="11768" y="7428"/>
                  </a:cubicBezTo>
                  <a:cubicBezTo>
                    <a:pt x="11678" y="7483"/>
                    <a:pt x="11494" y="7607"/>
                    <a:pt x="11359" y="7698"/>
                  </a:cubicBezTo>
                  <a:cubicBezTo>
                    <a:pt x="11225" y="7788"/>
                    <a:pt x="11065" y="7907"/>
                    <a:pt x="11003" y="7960"/>
                  </a:cubicBezTo>
                  <a:cubicBezTo>
                    <a:pt x="10942" y="8015"/>
                    <a:pt x="10867" y="8069"/>
                    <a:pt x="10839" y="8089"/>
                  </a:cubicBezTo>
                  <a:cubicBezTo>
                    <a:pt x="10810" y="8107"/>
                    <a:pt x="10779" y="8134"/>
                    <a:pt x="10770" y="8149"/>
                  </a:cubicBezTo>
                  <a:cubicBezTo>
                    <a:pt x="10760" y="8162"/>
                    <a:pt x="10760" y="8186"/>
                    <a:pt x="10769" y="8195"/>
                  </a:cubicBezTo>
                  <a:cubicBezTo>
                    <a:pt x="10778" y="8204"/>
                    <a:pt x="10829" y="8192"/>
                    <a:pt x="10883" y="8171"/>
                  </a:cubicBezTo>
                  <a:cubicBezTo>
                    <a:pt x="10938" y="8146"/>
                    <a:pt x="11024" y="8101"/>
                    <a:pt x="11075" y="8072"/>
                  </a:cubicBezTo>
                  <a:cubicBezTo>
                    <a:pt x="11125" y="8038"/>
                    <a:pt x="11190" y="8013"/>
                    <a:pt x="11217" y="8017"/>
                  </a:cubicBezTo>
                  <a:cubicBezTo>
                    <a:pt x="11243" y="8015"/>
                    <a:pt x="11264" y="8036"/>
                    <a:pt x="11256" y="8051"/>
                  </a:cubicBezTo>
                  <a:cubicBezTo>
                    <a:pt x="11252" y="8070"/>
                    <a:pt x="11212" y="8113"/>
                    <a:pt x="11168" y="8147"/>
                  </a:cubicBezTo>
                  <a:cubicBezTo>
                    <a:pt x="11123" y="8179"/>
                    <a:pt x="11064" y="8219"/>
                    <a:pt x="11036" y="8211"/>
                  </a:cubicBezTo>
                  <a:cubicBezTo>
                    <a:pt x="11007" y="8215"/>
                    <a:pt x="10925" y="8242"/>
                    <a:pt x="10852" y="8279"/>
                  </a:cubicBezTo>
                  <a:cubicBezTo>
                    <a:pt x="10780" y="8316"/>
                    <a:pt x="10699" y="8349"/>
                    <a:pt x="10674" y="8337"/>
                  </a:cubicBezTo>
                  <a:cubicBezTo>
                    <a:pt x="10648" y="8332"/>
                    <a:pt x="10600" y="8340"/>
                    <a:pt x="10566" y="8355"/>
                  </a:cubicBezTo>
                  <a:cubicBezTo>
                    <a:pt x="10533" y="8370"/>
                    <a:pt x="10451" y="8433"/>
                    <a:pt x="10385" y="8496"/>
                  </a:cubicBezTo>
                  <a:cubicBezTo>
                    <a:pt x="10319" y="8555"/>
                    <a:pt x="10206" y="8644"/>
                    <a:pt x="10134" y="8692"/>
                  </a:cubicBezTo>
                  <a:cubicBezTo>
                    <a:pt x="10061" y="8736"/>
                    <a:pt x="9960" y="8792"/>
                    <a:pt x="9907" y="8807"/>
                  </a:cubicBezTo>
                  <a:cubicBezTo>
                    <a:pt x="9854" y="8819"/>
                    <a:pt x="9768" y="8858"/>
                    <a:pt x="9717" y="8893"/>
                  </a:cubicBezTo>
                  <a:cubicBezTo>
                    <a:pt x="9666" y="8920"/>
                    <a:pt x="9585" y="8966"/>
                    <a:pt x="9536" y="8983"/>
                  </a:cubicBezTo>
                  <a:cubicBezTo>
                    <a:pt x="9487" y="9004"/>
                    <a:pt x="9432" y="9020"/>
                    <a:pt x="9413" y="9021"/>
                  </a:cubicBezTo>
                  <a:cubicBezTo>
                    <a:pt x="9395" y="9029"/>
                    <a:pt x="9321" y="9061"/>
                    <a:pt x="9250" y="9110"/>
                  </a:cubicBezTo>
                  <a:cubicBezTo>
                    <a:pt x="9179" y="9160"/>
                    <a:pt x="9100" y="9237"/>
                    <a:pt x="9075" y="9284"/>
                  </a:cubicBezTo>
                  <a:cubicBezTo>
                    <a:pt x="9048" y="9328"/>
                    <a:pt x="9029" y="9392"/>
                    <a:pt x="9029" y="9419"/>
                  </a:cubicBezTo>
                  <a:cubicBezTo>
                    <a:pt x="9029" y="9446"/>
                    <a:pt x="8996" y="9567"/>
                    <a:pt x="8959" y="9694"/>
                  </a:cubicBezTo>
                  <a:cubicBezTo>
                    <a:pt x="8920" y="9820"/>
                    <a:pt x="8882" y="9939"/>
                    <a:pt x="8882" y="9961"/>
                  </a:cubicBezTo>
                  <a:cubicBezTo>
                    <a:pt x="8877" y="9982"/>
                    <a:pt x="8835" y="10052"/>
                    <a:pt x="8786" y="10112"/>
                  </a:cubicBezTo>
                  <a:cubicBezTo>
                    <a:pt x="8739" y="10179"/>
                    <a:pt x="8694" y="10243"/>
                    <a:pt x="8687" y="10261"/>
                  </a:cubicBezTo>
                  <a:cubicBezTo>
                    <a:pt x="8682" y="10282"/>
                    <a:pt x="8694" y="10297"/>
                    <a:pt x="8715" y="10297"/>
                  </a:cubicBezTo>
                  <a:cubicBezTo>
                    <a:pt x="8737" y="10296"/>
                    <a:pt x="8766" y="10309"/>
                    <a:pt x="8781" y="10327"/>
                  </a:cubicBezTo>
                  <a:cubicBezTo>
                    <a:pt x="8797" y="10338"/>
                    <a:pt x="8844" y="10339"/>
                    <a:pt x="8887" y="10316"/>
                  </a:cubicBezTo>
                  <a:cubicBezTo>
                    <a:pt x="8931" y="10293"/>
                    <a:pt x="8987" y="10270"/>
                    <a:pt x="9010" y="10274"/>
                  </a:cubicBezTo>
                  <a:cubicBezTo>
                    <a:pt x="9034" y="10273"/>
                    <a:pt x="9021" y="10291"/>
                    <a:pt x="8982" y="10313"/>
                  </a:cubicBezTo>
                  <a:cubicBezTo>
                    <a:pt x="8942" y="10331"/>
                    <a:pt x="8886" y="10380"/>
                    <a:pt x="8855" y="10410"/>
                  </a:cubicBezTo>
                  <a:cubicBezTo>
                    <a:pt x="8825" y="10441"/>
                    <a:pt x="8784" y="10488"/>
                    <a:pt x="8768" y="10521"/>
                  </a:cubicBezTo>
                  <a:cubicBezTo>
                    <a:pt x="8749" y="10548"/>
                    <a:pt x="8744" y="10553"/>
                    <a:pt x="8744" y="10523"/>
                  </a:cubicBezTo>
                  <a:cubicBezTo>
                    <a:pt x="8753" y="10498"/>
                    <a:pt x="8731" y="10468"/>
                    <a:pt x="8707" y="10453"/>
                  </a:cubicBezTo>
                  <a:cubicBezTo>
                    <a:pt x="8682" y="10445"/>
                    <a:pt x="8650" y="10448"/>
                    <a:pt x="8633" y="10458"/>
                  </a:cubicBezTo>
                  <a:cubicBezTo>
                    <a:pt x="8617" y="10469"/>
                    <a:pt x="8589" y="10500"/>
                    <a:pt x="8572" y="10529"/>
                  </a:cubicBezTo>
                  <a:cubicBezTo>
                    <a:pt x="8553" y="10555"/>
                    <a:pt x="8527" y="10559"/>
                    <a:pt x="8511" y="10543"/>
                  </a:cubicBezTo>
                  <a:cubicBezTo>
                    <a:pt x="8498" y="10521"/>
                    <a:pt x="8492" y="10462"/>
                    <a:pt x="8507" y="10406"/>
                  </a:cubicBezTo>
                  <a:cubicBezTo>
                    <a:pt x="8521" y="10351"/>
                    <a:pt x="8548" y="10242"/>
                    <a:pt x="8578" y="10180"/>
                  </a:cubicBezTo>
                  <a:cubicBezTo>
                    <a:pt x="8600" y="10106"/>
                    <a:pt x="8639" y="9998"/>
                    <a:pt x="8643" y="9922"/>
                  </a:cubicBezTo>
                  <a:cubicBezTo>
                    <a:pt x="8656" y="9851"/>
                    <a:pt x="8638" y="9773"/>
                    <a:pt x="8612" y="9753"/>
                  </a:cubicBezTo>
                  <a:cubicBezTo>
                    <a:pt x="8586" y="9731"/>
                    <a:pt x="8573" y="9685"/>
                    <a:pt x="8588" y="9649"/>
                  </a:cubicBezTo>
                  <a:cubicBezTo>
                    <a:pt x="8600" y="9610"/>
                    <a:pt x="8561" y="9578"/>
                    <a:pt x="8499" y="9583"/>
                  </a:cubicBezTo>
                  <a:cubicBezTo>
                    <a:pt x="8437" y="9587"/>
                    <a:pt x="8361" y="9606"/>
                    <a:pt x="8330" y="9626"/>
                  </a:cubicBezTo>
                  <a:cubicBezTo>
                    <a:pt x="8297" y="9643"/>
                    <a:pt x="8246" y="9664"/>
                    <a:pt x="8215" y="9659"/>
                  </a:cubicBezTo>
                  <a:cubicBezTo>
                    <a:pt x="8185" y="9655"/>
                    <a:pt x="8156" y="9634"/>
                    <a:pt x="8156" y="9610"/>
                  </a:cubicBezTo>
                  <a:cubicBezTo>
                    <a:pt x="8150" y="9590"/>
                    <a:pt x="8129" y="9577"/>
                    <a:pt x="8100" y="9584"/>
                  </a:cubicBezTo>
                  <a:cubicBezTo>
                    <a:pt x="8071" y="9593"/>
                    <a:pt x="8004" y="9648"/>
                    <a:pt x="7947" y="9685"/>
                  </a:cubicBezTo>
                  <a:cubicBezTo>
                    <a:pt x="7893" y="9736"/>
                    <a:pt x="7721" y="9928"/>
                    <a:pt x="7567" y="10124"/>
                  </a:cubicBezTo>
                  <a:cubicBezTo>
                    <a:pt x="7411" y="10318"/>
                    <a:pt x="7264" y="10524"/>
                    <a:pt x="7236" y="10573"/>
                  </a:cubicBezTo>
                  <a:cubicBezTo>
                    <a:pt x="7208" y="10624"/>
                    <a:pt x="7177" y="10689"/>
                    <a:pt x="7168" y="10721"/>
                  </a:cubicBezTo>
                  <a:cubicBezTo>
                    <a:pt x="7158" y="10750"/>
                    <a:pt x="7165" y="10776"/>
                    <a:pt x="7180" y="10783"/>
                  </a:cubicBezTo>
                  <a:cubicBezTo>
                    <a:pt x="7195" y="10781"/>
                    <a:pt x="7236" y="10776"/>
                    <a:pt x="7270" y="10761"/>
                  </a:cubicBezTo>
                  <a:cubicBezTo>
                    <a:pt x="7304" y="10744"/>
                    <a:pt x="7338" y="10758"/>
                    <a:pt x="7338" y="10789"/>
                  </a:cubicBezTo>
                  <a:cubicBezTo>
                    <a:pt x="7347" y="10813"/>
                    <a:pt x="7337" y="10867"/>
                    <a:pt x="7327" y="10895"/>
                  </a:cubicBezTo>
                  <a:cubicBezTo>
                    <a:pt x="7316" y="10921"/>
                    <a:pt x="7299" y="10957"/>
                    <a:pt x="7284" y="10970"/>
                  </a:cubicBezTo>
                  <a:cubicBezTo>
                    <a:pt x="7270" y="10982"/>
                    <a:pt x="7253" y="10974"/>
                    <a:pt x="7245" y="10948"/>
                  </a:cubicBezTo>
                  <a:cubicBezTo>
                    <a:pt x="7240" y="10921"/>
                    <a:pt x="7212" y="10914"/>
                    <a:pt x="7186" y="10924"/>
                  </a:cubicBezTo>
                  <a:cubicBezTo>
                    <a:pt x="7160" y="10936"/>
                    <a:pt x="7129" y="10940"/>
                    <a:pt x="7116" y="10936"/>
                  </a:cubicBezTo>
                  <a:cubicBezTo>
                    <a:pt x="7104" y="10924"/>
                    <a:pt x="7074" y="10941"/>
                    <a:pt x="7052" y="10965"/>
                  </a:cubicBezTo>
                  <a:cubicBezTo>
                    <a:pt x="7030" y="10988"/>
                    <a:pt x="6993" y="11027"/>
                    <a:pt x="6967" y="11049"/>
                  </a:cubicBezTo>
                  <a:cubicBezTo>
                    <a:pt x="6943" y="11070"/>
                    <a:pt x="6911" y="11119"/>
                    <a:pt x="6894" y="11148"/>
                  </a:cubicBezTo>
                  <a:cubicBezTo>
                    <a:pt x="6880" y="11183"/>
                    <a:pt x="6869" y="11227"/>
                    <a:pt x="6869" y="11254"/>
                  </a:cubicBezTo>
                  <a:cubicBezTo>
                    <a:pt x="6869" y="11282"/>
                    <a:pt x="6884" y="11311"/>
                    <a:pt x="6897" y="11310"/>
                  </a:cubicBezTo>
                  <a:cubicBezTo>
                    <a:pt x="6910" y="11320"/>
                    <a:pt x="6925" y="11349"/>
                    <a:pt x="6922" y="11388"/>
                  </a:cubicBezTo>
                  <a:cubicBezTo>
                    <a:pt x="6919" y="11427"/>
                    <a:pt x="6903" y="11535"/>
                    <a:pt x="6879" y="11625"/>
                  </a:cubicBezTo>
                  <a:cubicBezTo>
                    <a:pt x="6856" y="11717"/>
                    <a:pt x="6801" y="11853"/>
                    <a:pt x="6757" y="11926"/>
                  </a:cubicBezTo>
                  <a:cubicBezTo>
                    <a:pt x="6714" y="12002"/>
                    <a:pt x="6666" y="12103"/>
                    <a:pt x="6649" y="12151"/>
                  </a:cubicBezTo>
                  <a:cubicBezTo>
                    <a:pt x="6639" y="12205"/>
                    <a:pt x="6580" y="12308"/>
                    <a:pt x="6529" y="12388"/>
                  </a:cubicBezTo>
                  <a:cubicBezTo>
                    <a:pt x="6481" y="12473"/>
                    <a:pt x="6427" y="12563"/>
                    <a:pt x="6419" y="12602"/>
                  </a:cubicBezTo>
                  <a:cubicBezTo>
                    <a:pt x="6407" y="12636"/>
                    <a:pt x="6408" y="12673"/>
                    <a:pt x="6416" y="12675"/>
                  </a:cubicBezTo>
                  <a:cubicBezTo>
                    <a:pt x="6425" y="12676"/>
                    <a:pt x="6454" y="12659"/>
                    <a:pt x="6483" y="12634"/>
                  </a:cubicBezTo>
                  <a:cubicBezTo>
                    <a:pt x="6510" y="12601"/>
                    <a:pt x="6509" y="12633"/>
                    <a:pt x="6483" y="12697"/>
                  </a:cubicBezTo>
                  <a:cubicBezTo>
                    <a:pt x="6452" y="12752"/>
                    <a:pt x="6399" y="12858"/>
                    <a:pt x="6359" y="12917"/>
                  </a:cubicBezTo>
                  <a:cubicBezTo>
                    <a:pt x="6319" y="12979"/>
                    <a:pt x="6283" y="13010"/>
                    <a:pt x="6273" y="13002"/>
                  </a:cubicBezTo>
                  <a:cubicBezTo>
                    <a:pt x="6269" y="12983"/>
                    <a:pt x="6265" y="12947"/>
                    <a:pt x="6269" y="12915"/>
                  </a:cubicBezTo>
                  <a:cubicBezTo>
                    <a:pt x="6275" y="12885"/>
                    <a:pt x="6252" y="12859"/>
                    <a:pt x="6222" y="12866"/>
                  </a:cubicBezTo>
                  <a:cubicBezTo>
                    <a:pt x="6192" y="12866"/>
                    <a:pt x="6147" y="12906"/>
                    <a:pt x="6120" y="12935"/>
                  </a:cubicBezTo>
                  <a:cubicBezTo>
                    <a:pt x="6093" y="12966"/>
                    <a:pt x="6051" y="13043"/>
                    <a:pt x="6036" y="13112"/>
                  </a:cubicBezTo>
                  <a:cubicBezTo>
                    <a:pt x="6014" y="13175"/>
                    <a:pt x="6013" y="13275"/>
                    <a:pt x="6027" y="13333"/>
                  </a:cubicBezTo>
                  <a:cubicBezTo>
                    <a:pt x="6036" y="13395"/>
                    <a:pt x="6100" y="13397"/>
                    <a:pt x="6157" y="13357"/>
                  </a:cubicBezTo>
                  <a:cubicBezTo>
                    <a:pt x="6214" y="13313"/>
                    <a:pt x="6278" y="13268"/>
                    <a:pt x="6300" y="13272"/>
                  </a:cubicBezTo>
                  <a:cubicBezTo>
                    <a:pt x="6322" y="13259"/>
                    <a:pt x="6353" y="13276"/>
                    <a:pt x="6365" y="13294"/>
                  </a:cubicBezTo>
                  <a:cubicBezTo>
                    <a:pt x="6378" y="13309"/>
                    <a:pt x="6433" y="13291"/>
                    <a:pt x="6487" y="13255"/>
                  </a:cubicBezTo>
                  <a:cubicBezTo>
                    <a:pt x="6542" y="13221"/>
                    <a:pt x="6636" y="13174"/>
                    <a:pt x="6697" y="13154"/>
                  </a:cubicBezTo>
                  <a:cubicBezTo>
                    <a:pt x="6758" y="13131"/>
                    <a:pt x="6837" y="13080"/>
                    <a:pt x="6872" y="13036"/>
                  </a:cubicBezTo>
                  <a:cubicBezTo>
                    <a:pt x="6908" y="12993"/>
                    <a:pt x="6973" y="12909"/>
                    <a:pt x="7020" y="12859"/>
                  </a:cubicBezTo>
                  <a:cubicBezTo>
                    <a:pt x="7067" y="12809"/>
                    <a:pt x="7117" y="12737"/>
                    <a:pt x="7132" y="12701"/>
                  </a:cubicBezTo>
                  <a:cubicBezTo>
                    <a:pt x="7146" y="12666"/>
                    <a:pt x="7180" y="12620"/>
                    <a:pt x="7204" y="12594"/>
                  </a:cubicBezTo>
                  <a:cubicBezTo>
                    <a:pt x="7230" y="12575"/>
                    <a:pt x="7238" y="12568"/>
                    <a:pt x="7238" y="12596"/>
                  </a:cubicBezTo>
                  <a:cubicBezTo>
                    <a:pt x="7231" y="12619"/>
                    <a:pt x="7203" y="12685"/>
                    <a:pt x="7172" y="12734"/>
                  </a:cubicBezTo>
                  <a:cubicBezTo>
                    <a:pt x="7141" y="12785"/>
                    <a:pt x="7102" y="12866"/>
                    <a:pt x="7085" y="12913"/>
                  </a:cubicBezTo>
                  <a:cubicBezTo>
                    <a:pt x="7067" y="12959"/>
                    <a:pt x="7041" y="13023"/>
                    <a:pt x="7022" y="13045"/>
                  </a:cubicBezTo>
                  <a:cubicBezTo>
                    <a:pt x="7006" y="13073"/>
                    <a:pt x="6966" y="13095"/>
                    <a:pt x="6936" y="13098"/>
                  </a:cubicBezTo>
                  <a:cubicBezTo>
                    <a:pt x="6906" y="13102"/>
                    <a:pt x="6818" y="13149"/>
                    <a:pt x="6740" y="13201"/>
                  </a:cubicBezTo>
                  <a:cubicBezTo>
                    <a:pt x="6663" y="13257"/>
                    <a:pt x="6567" y="13327"/>
                    <a:pt x="6528" y="13362"/>
                  </a:cubicBezTo>
                  <a:cubicBezTo>
                    <a:pt x="6489" y="13400"/>
                    <a:pt x="6448" y="13453"/>
                    <a:pt x="6441" y="13487"/>
                  </a:cubicBezTo>
                  <a:cubicBezTo>
                    <a:pt x="6434" y="13521"/>
                    <a:pt x="6437" y="13547"/>
                    <a:pt x="6452" y="13537"/>
                  </a:cubicBezTo>
                  <a:cubicBezTo>
                    <a:pt x="6467" y="13536"/>
                    <a:pt x="6514" y="13508"/>
                    <a:pt x="6557" y="13482"/>
                  </a:cubicBezTo>
                  <a:cubicBezTo>
                    <a:pt x="6600" y="13459"/>
                    <a:pt x="6635" y="13453"/>
                    <a:pt x="6633" y="13475"/>
                  </a:cubicBezTo>
                  <a:cubicBezTo>
                    <a:pt x="6638" y="13493"/>
                    <a:pt x="6600" y="13540"/>
                    <a:pt x="6562" y="13564"/>
                  </a:cubicBezTo>
                  <a:cubicBezTo>
                    <a:pt x="6525" y="13590"/>
                    <a:pt x="6480" y="13659"/>
                    <a:pt x="6465" y="13717"/>
                  </a:cubicBezTo>
                  <a:cubicBezTo>
                    <a:pt x="6448" y="13774"/>
                    <a:pt x="6412" y="13785"/>
                    <a:pt x="6391" y="13731"/>
                  </a:cubicBezTo>
                  <a:cubicBezTo>
                    <a:pt x="6364" y="13689"/>
                    <a:pt x="6330" y="13655"/>
                    <a:pt x="6308" y="13672"/>
                  </a:cubicBezTo>
                  <a:cubicBezTo>
                    <a:pt x="6286" y="13685"/>
                    <a:pt x="6260" y="13683"/>
                    <a:pt x="6249" y="13667"/>
                  </a:cubicBezTo>
                  <a:cubicBezTo>
                    <a:pt x="6237" y="13649"/>
                    <a:pt x="6227" y="13614"/>
                    <a:pt x="6223" y="13593"/>
                  </a:cubicBezTo>
                  <a:cubicBezTo>
                    <a:pt x="6218" y="13571"/>
                    <a:pt x="6166" y="13555"/>
                    <a:pt x="6103" y="13546"/>
                  </a:cubicBezTo>
                  <a:cubicBezTo>
                    <a:pt x="6041" y="13544"/>
                    <a:pt x="5972" y="13554"/>
                    <a:pt x="5948" y="13569"/>
                  </a:cubicBezTo>
                  <a:cubicBezTo>
                    <a:pt x="5925" y="13583"/>
                    <a:pt x="5883" y="13578"/>
                    <a:pt x="5854" y="13560"/>
                  </a:cubicBezTo>
                  <a:cubicBezTo>
                    <a:pt x="5825" y="13549"/>
                    <a:pt x="5799" y="13515"/>
                    <a:pt x="5802" y="13506"/>
                  </a:cubicBezTo>
                  <a:cubicBezTo>
                    <a:pt x="5802" y="13496"/>
                    <a:pt x="5776" y="13502"/>
                    <a:pt x="5748" y="13530"/>
                  </a:cubicBezTo>
                  <a:cubicBezTo>
                    <a:pt x="5718" y="13550"/>
                    <a:pt x="5658" y="13615"/>
                    <a:pt x="5612" y="13669"/>
                  </a:cubicBezTo>
                  <a:cubicBezTo>
                    <a:pt x="5566" y="13720"/>
                    <a:pt x="5507" y="13784"/>
                    <a:pt x="5478" y="13799"/>
                  </a:cubicBezTo>
                  <a:cubicBezTo>
                    <a:pt x="5451" y="13823"/>
                    <a:pt x="5400" y="13863"/>
                    <a:pt x="5367" y="13900"/>
                  </a:cubicBezTo>
                  <a:cubicBezTo>
                    <a:pt x="5333" y="13935"/>
                    <a:pt x="5268" y="13988"/>
                    <a:pt x="5220" y="14009"/>
                  </a:cubicBezTo>
                  <a:cubicBezTo>
                    <a:pt x="5173" y="14031"/>
                    <a:pt x="5071" y="14102"/>
                    <a:pt x="4996" y="14173"/>
                  </a:cubicBezTo>
                  <a:cubicBezTo>
                    <a:pt x="4920" y="14243"/>
                    <a:pt x="4837" y="14302"/>
                    <a:pt x="4813" y="14313"/>
                  </a:cubicBezTo>
                  <a:cubicBezTo>
                    <a:pt x="4788" y="14320"/>
                    <a:pt x="4710" y="14411"/>
                    <a:pt x="4639" y="14514"/>
                  </a:cubicBezTo>
                  <a:cubicBezTo>
                    <a:pt x="4568" y="14613"/>
                    <a:pt x="4477" y="14757"/>
                    <a:pt x="4435" y="14825"/>
                  </a:cubicBezTo>
                  <a:cubicBezTo>
                    <a:pt x="4393" y="14894"/>
                    <a:pt x="4344" y="14991"/>
                    <a:pt x="4326" y="15042"/>
                  </a:cubicBezTo>
                  <a:cubicBezTo>
                    <a:pt x="4307" y="15089"/>
                    <a:pt x="4261" y="15156"/>
                    <a:pt x="4224" y="15191"/>
                  </a:cubicBezTo>
                  <a:cubicBezTo>
                    <a:pt x="4186" y="15222"/>
                    <a:pt x="4121" y="15288"/>
                    <a:pt x="4081" y="15340"/>
                  </a:cubicBezTo>
                  <a:cubicBezTo>
                    <a:pt x="4039" y="15388"/>
                    <a:pt x="3970" y="15466"/>
                    <a:pt x="3926" y="15514"/>
                  </a:cubicBezTo>
                  <a:cubicBezTo>
                    <a:pt x="3880" y="15556"/>
                    <a:pt x="3831" y="15624"/>
                    <a:pt x="3817" y="15661"/>
                  </a:cubicBezTo>
                  <a:cubicBezTo>
                    <a:pt x="3802" y="15694"/>
                    <a:pt x="3745" y="15782"/>
                    <a:pt x="3689" y="15853"/>
                  </a:cubicBezTo>
                  <a:cubicBezTo>
                    <a:pt x="3633" y="15920"/>
                    <a:pt x="3573" y="16025"/>
                    <a:pt x="3551" y="16071"/>
                  </a:cubicBezTo>
                  <a:cubicBezTo>
                    <a:pt x="3530" y="16120"/>
                    <a:pt x="3530" y="16148"/>
                    <a:pt x="3550" y="16135"/>
                  </a:cubicBezTo>
                  <a:cubicBezTo>
                    <a:pt x="3570" y="16120"/>
                    <a:pt x="3592" y="16118"/>
                    <a:pt x="3595" y="16131"/>
                  </a:cubicBezTo>
                  <a:cubicBezTo>
                    <a:pt x="3598" y="16146"/>
                    <a:pt x="3577" y="16177"/>
                    <a:pt x="3543" y="16205"/>
                  </a:cubicBezTo>
                  <a:cubicBezTo>
                    <a:pt x="3509" y="16231"/>
                    <a:pt x="3456" y="16285"/>
                    <a:pt x="3428" y="16326"/>
                  </a:cubicBezTo>
                  <a:cubicBezTo>
                    <a:pt x="3398" y="16364"/>
                    <a:pt x="3398" y="16404"/>
                    <a:pt x="3427" y="16421"/>
                  </a:cubicBezTo>
                  <a:cubicBezTo>
                    <a:pt x="3458" y="16431"/>
                    <a:pt x="3520" y="16424"/>
                    <a:pt x="3566" y="16390"/>
                  </a:cubicBezTo>
                  <a:cubicBezTo>
                    <a:pt x="3613" y="16363"/>
                    <a:pt x="3682" y="16298"/>
                    <a:pt x="3718" y="16251"/>
                  </a:cubicBezTo>
                  <a:cubicBezTo>
                    <a:pt x="3756" y="16206"/>
                    <a:pt x="3793" y="16144"/>
                    <a:pt x="3801" y="16115"/>
                  </a:cubicBezTo>
                  <a:cubicBezTo>
                    <a:pt x="3808" y="16085"/>
                    <a:pt x="3854" y="16042"/>
                    <a:pt x="3898" y="16012"/>
                  </a:cubicBezTo>
                  <a:cubicBezTo>
                    <a:pt x="3943" y="15984"/>
                    <a:pt x="4036" y="15895"/>
                    <a:pt x="4102" y="15809"/>
                  </a:cubicBezTo>
                  <a:cubicBezTo>
                    <a:pt x="4170" y="15727"/>
                    <a:pt x="4213" y="15689"/>
                    <a:pt x="4202" y="15730"/>
                  </a:cubicBezTo>
                  <a:cubicBezTo>
                    <a:pt x="4190" y="15771"/>
                    <a:pt x="4143" y="15842"/>
                    <a:pt x="4099" y="15888"/>
                  </a:cubicBezTo>
                  <a:cubicBezTo>
                    <a:pt x="4054" y="15933"/>
                    <a:pt x="3986" y="16028"/>
                    <a:pt x="3943" y="16090"/>
                  </a:cubicBezTo>
                  <a:cubicBezTo>
                    <a:pt x="3903" y="16159"/>
                    <a:pt x="3861" y="16229"/>
                    <a:pt x="3855" y="16255"/>
                  </a:cubicBezTo>
                  <a:cubicBezTo>
                    <a:pt x="3847" y="16280"/>
                    <a:pt x="3885" y="16268"/>
                    <a:pt x="3939" y="16229"/>
                  </a:cubicBezTo>
                  <a:cubicBezTo>
                    <a:pt x="3993" y="16185"/>
                    <a:pt x="4058" y="16148"/>
                    <a:pt x="4084" y="16137"/>
                  </a:cubicBezTo>
                  <a:cubicBezTo>
                    <a:pt x="4109" y="16127"/>
                    <a:pt x="4180" y="16055"/>
                    <a:pt x="4238" y="15969"/>
                  </a:cubicBezTo>
                  <a:cubicBezTo>
                    <a:pt x="4297" y="15888"/>
                    <a:pt x="4401" y="15746"/>
                    <a:pt x="4471" y="15661"/>
                  </a:cubicBezTo>
                  <a:cubicBezTo>
                    <a:pt x="4540" y="15571"/>
                    <a:pt x="4651" y="15410"/>
                    <a:pt x="4717" y="15297"/>
                  </a:cubicBezTo>
                  <a:cubicBezTo>
                    <a:pt x="4785" y="15190"/>
                    <a:pt x="4896" y="15008"/>
                    <a:pt x="4968" y="14904"/>
                  </a:cubicBezTo>
                  <a:cubicBezTo>
                    <a:pt x="5041" y="14803"/>
                    <a:pt x="5125" y="14691"/>
                    <a:pt x="5159" y="14664"/>
                  </a:cubicBezTo>
                  <a:cubicBezTo>
                    <a:pt x="5193" y="14636"/>
                    <a:pt x="5206" y="14638"/>
                    <a:pt x="5190" y="14671"/>
                  </a:cubicBezTo>
                  <a:cubicBezTo>
                    <a:pt x="5174" y="14703"/>
                    <a:pt x="5132" y="14767"/>
                    <a:pt x="5094" y="14804"/>
                  </a:cubicBezTo>
                  <a:cubicBezTo>
                    <a:pt x="5059" y="14851"/>
                    <a:pt x="4973" y="14973"/>
                    <a:pt x="4902" y="15074"/>
                  </a:cubicBezTo>
                  <a:cubicBezTo>
                    <a:pt x="4833" y="15178"/>
                    <a:pt x="4780" y="15288"/>
                    <a:pt x="4786" y="15309"/>
                  </a:cubicBezTo>
                  <a:cubicBezTo>
                    <a:pt x="4792" y="15329"/>
                    <a:pt x="4765" y="15368"/>
                    <a:pt x="4733" y="15401"/>
                  </a:cubicBezTo>
                  <a:cubicBezTo>
                    <a:pt x="4699" y="15428"/>
                    <a:pt x="4645" y="15501"/>
                    <a:pt x="4609" y="15552"/>
                  </a:cubicBezTo>
                  <a:cubicBezTo>
                    <a:pt x="4578" y="15613"/>
                    <a:pt x="4540" y="15666"/>
                    <a:pt x="4537" y="15688"/>
                  </a:cubicBezTo>
                  <a:cubicBezTo>
                    <a:pt x="4535" y="15709"/>
                    <a:pt x="4550" y="15704"/>
                    <a:pt x="4578" y="15688"/>
                  </a:cubicBezTo>
                  <a:cubicBezTo>
                    <a:pt x="4605" y="15666"/>
                    <a:pt x="4614" y="15673"/>
                    <a:pt x="4596" y="15700"/>
                  </a:cubicBezTo>
                  <a:cubicBezTo>
                    <a:pt x="4580" y="15729"/>
                    <a:pt x="4542" y="15762"/>
                    <a:pt x="4516" y="15785"/>
                  </a:cubicBezTo>
                  <a:cubicBezTo>
                    <a:pt x="4489" y="15807"/>
                    <a:pt x="4430" y="15865"/>
                    <a:pt x="4389" y="15931"/>
                  </a:cubicBezTo>
                  <a:cubicBezTo>
                    <a:pt x="4345" y="15990"/>
                    <a:pt x="4306" y="16056"/>
                    <a:pt x="4309" y="16073"/>
                  </a:cubicBezTo>
                  <a:cubicBezTo>
                    <a:pt x="4309" y="16091"/>
                    <a:pt x="4342" y="16084"/>
                    <a:pt x="4382" y="16052"/>
                  </a:cubicBezTo>
                  <a:cubicBezTo>
                    <a:pt x="4423" y="16023"/>
                    <a:pt x="4430" y="16032"/>
                    <a:pt x="4395" y="16071"/>
                  </a:cubicBezTo>
                  <a:cubicBezTo>
                    <a:pt x="4361" y="16108"/>
                    <a:pt x="4307" y="16143"/>
                    <a:pt x="4276" y="16160"/>
                  </a:cubicBezTo>
                  <a:cubicBezTo>
                    <a:pt x="4245" y="16162"/>
                    <a:pt x="4190" y="16198"/>
                    <a:pt x="4154" y="16220"/>
                  </a:cubicBezTo>
                  <a:cubicBezTo>
                    <a:pt x="4118" y="16243"/>
                    <a:pt x="4065" y="16291"/>
                    <a:pt x="4037" y="16326"/>
                  </a:cubicBezTo>
                  <a:cubicBezTo>
                    <a:pt x="4008" y="16360"/>
                    <a:pt x="3960" y="16418"/>
                    <a:pt x="3926" y="16445"/>
                  </a:cubicBezTo>
                  <a:cubicBezTo>
                    <a:pt x="3894" y="16477"/>
                    <a:pt x="3850" y="16522"/>
                    <a:pt x="3832" y="16556"/>
                  </a:cubicBezTo>
                  <a:cubicBezTo>
                    <a:pt x="3813" y="16587"/>
                    <a:pt x="3800" y="16632"/>
                    <a:pt x="3805" y="16652"/>
                  </a:cubicBezTo>
                  <a:cubicBezTo>
                    <a:pt x="3810" y="16673"/>
                    <a:pt x="3834" y="16672"/>
                    <a:pt x="3862" y="16658"/>
                  </a:cubicBezTo>
                  <a:cubicBezTo>
                    <a:pt x="3889" y="16634"/>
                    <a:pt x="3928" y="16596"/>
                    <a:pt x="3949" y="16568"/>
                  </a:cubicBezTo>
                  <a:cubicBezTo>
                    <a:pt x="3970" y="16537"/>
                    <a:pt x="4000" y="16508"/>
                    <a:pt x="4015" y="16512"/>
                  </a:cubicBezTo>
                  <a:cubicBezTo>
                    <a:pt x="4031" y="16507"/>
                    <a:pt x="4069" y="16499"/>
                    <a:pt x="4099" y="16474"/>
                  </a:cubicBezTo>
                  <a:cubicBezTo>
                    <a:pt x="4129" y="16455"/>
                    <a:pt x="4146" y="16461"/>
                    <a:pt x="4133" y="16484"/>
                  </a:cubicBezTo>
                  <a:cubicBezTo>
                    <a:pt x="4121" y="16511"/>
                    <a:pt x="4090" y="16547"/>
                    <a:pt x="4065" y="16572"/>
                  </a:cubicBezTo>
                  <a:cubicBezTo>
                    <a:pt x="4037" y="16586"/>
                    <a:pt x="3999" y="16618"/>
                    <a:pt x="3976" y="16622"/>
                  </a:cubicBezTo>
                  <a:cubicBezTo>
                    <a:pt x="3954" y="16627"/>
                    <a:pt x="3916" y="16657"/>
                    <a:pt x="3893" y="16688"/>
                  </a:cubicBezTo>
                  <a:cubicBezTo>
                    <a:pt x="3869" y="16716"/>
                    <a:pt x="3847" y="16758"/>
                    <a:pt x="3840" y="16776"/>
                  </a:cubicBezTo>
                  <a:cubicBezTo>
                    <a:pt x="3834" y="16795"/>
                    <a:pt x="3854" y="16795"/>
                    <a:pt x="3884" y="16773"/>
                  </a:cubicBezTo>
                  <a:cubicBezTo>
                    <a:pt x="3914" y="16752"/>
                    <a:pt x="3934" y="16754"/>
                    <a:pt x="3924" y="16767"/>
                  </a:cubicBezTo>
                  <a:cubicBezTo>
                    <a:pt x="3915" y="16782"/>
                    <a:pt x="3880" y="16832"/>
                    <a:pt x="3843" y="16872"/>
                  </a:cubicBezTo>
                  <a:cubicBezTo>
                    <a:pt x="3807" y="16912"/>
                    <a:pt x="3757" y="16960"/>
                    <a:pt x="3734" y="16981"/>
                  </a:cubicBezTo>
                  <a:cubicBezTo>
                    <a:pt x="3710" y="16999"/>
                    <a:pt x="3683" y="17030"/>
                    <a:pt x="3681" y="17052"/>
                  </a:cubicBezTo>
                  <a:cubicBezTo>
                    <a:pt x="3673" y="17069"/>
                    <a:pt x="3675" y="17116"/>
                    <a:pt x="3681" y="17152"/>
                  </a:cubicBezTo>
                  <a:cubicBezTo>
                    <a:pt x="3681" y="17189"/>
                    <a:pt x="3715" y="17200"/>
                    <a:pt x="3744" y="17181"/>
                  </a:cubicBezTo>
                  <a:cubicBezTo>
                    <a:pt x="3772" y="17159"/>
                    <a:pt x="3813" y="17113"/>
                    <a:pt x="3837" y="17078"/>
                  </a:cubicBezTo>
                  <a:cubicBezTo>
                    <a:pt x="3859" y="17040"/>
                    <a:pt x="3919" y="16956"/>
                    <a:pt x="3970" y="16894"/>
                  </a:cubicBezTo>
                  <a:cubicBezTo>
                    <a:pt x="4020" y="16834"/>
                    <a:pt x="4046" y="16812"/>
                    <a:pt x="4032" y="16855"/>
                  </a:cubicBezTo>
                  <a:cubicBezTo>
                    <a:pt x="4015" y="16894"/>
                    <a:pt x="3969" y="16971"/>
                    <a:pt x="3928" y="17023"/>
                  </a:cubicBezTo>
                  <a:cubicBezTo>
                    <a:pt x="3885" y="17069"/>
                    <a:pt x="3820" y="17150"/>
                    <a:pt x="3784" y="17204"/>
                  </a:cubicBezTo>
                  <a:cubicBezTo>
                    <a:pt x="3747" y="17252"/>
                    <a:pt x="3705" y="17313"/>
                    <a:pt x="3697" y="17345"/>
                  </a:cubicBezTo>
                  <a:cubicBezTo>
                    <a:pt x="3685" y="17372"/>
                    <a:pt x="3708" y="17395"/>
                    <a:pt x="3746" y="17393"/>
                  </a:cubicBezTo>
                  <a:cubicBezTo>
                    <a:pt x="3785" y="17390"/>
                    <a:pt x="3850" y="17367"/>
                    <a:pt x="3892" y="17336"/>
                  </a:cubicBezTo>
                  <a:cubicBezTo>
                    <a:pt x="3934" y="17308"/>
                    <a:pt x="3974" y="17268"/>
                    <a:pt x="3983" y="17253"/>
                  </a:cubicBezTo>
                  <a:cubicBezTo>
                    <a:pt x="3991" y="17236"/>
                    <a:pt x="4015" y="17213"/>
                    <a:pt x="4035" y="17199"/>
                  </a:cubicBezTo>
                  <a:cubicBezTo>
                    <a:pt x="4056" y="17186"/>
                    <a:pt x="4085" y="17177"/>
                    <a:pt x="4101" y="17179"/>
                  </a:cubicBezTo>
                  <a:cubicBezTo>
                    <a:pt x="4117" y="17182"/>
                    <a:pt x="4187" y="17125"/>
                    <a:pt x="4257" y="17056"/>
                  </a:cubicBezTo>
                  <a:cubicBezTo>
                    <a:pt x="4328" y="16989"/>
                    <a:pt x="4443" y="16850"/>
                    <a:pt x="4514" y="16756"/>
                  </a:cubicBezTo>
                  <a:cubicBezTo>
                    <a:pt x="4587" y="16665"/>
                    <a:pt x="4648" y="16575"/>
                    <a:pt x="4652" y="16561"/>
                  </a:cubicBezTo>
                  <a:cubicBezTo>
                    <a:pt x="4657" y="16549"/>
                    <a:pt x="4701" y="16492"/>
                    <a:pt x="4749" y="16433"/>
                  </a:cubicBezTo>
                  <a:cubicBezTo>
                    <a:pt x="4799" y="16380"/>
                    <a:pt x="4905" y="16236"/>
                    <a:pt x="4987" y="16123"/>
                  </a:cubicBezTo>
                  <a:cubicBezTo>
                    <a:pt x="5066" y="16002"/>
                    <a:pt x="5147" y="15889"/>
                    <a:pt x="5159" y="15851"/>
                  </a:cubicBezTo>
                  <a:cubicBezTo>
                    <a:pt x="5171" y="15814"/>
                    <a:pt x="5207" y="15753"/>
                    <a:pt x="5237" y="15711"/>
                  </a:cubicBezTo>
                  <a:cubicBezTo>
                    <a:pt x="5269" y="15672"/>
                    <a:pt x="5315" y="15623"/>
                    <a:pt x="5341" y="15605"/>
                  </a:cubicBezTo>
                  <a:cubicBezTo>
                    <a:pt x="5367" y="15585"/>
                    <a:pt x="5360" y="15604"/>
                    <a:pt x="5329" y="15650"/>
                  </a:cubicBezTo>
                  <a:cubicBezTo>
                    <a:pt x="5294" y="15685"/>
                    <a:pt x="5256" y="15759"/>
                    <a:pt x="5243" y="15802"/>
                  </a:cubicBezTo>
                  <a:cubicBezTo>
                    <a:pt x="5225" y="15839"/>
                    <a:pt x="5147" y="15971"/>
                    <a:pt x="5063" y="16091"/>
                  </a:cubicBezTo>
                  <a:cubicBezTo>
                    <a:pt x="4977" y="16204"/>
                    <a:pt x="4841" y="16384"/>
                    <a:pt x="4757" y="16484"/>
                  </a:cubicBezTo>
                  <a:cubicBezTo>
                    <a:pt x="4673" y="16583"/>
                    <a:pt x="4558" y="16735"/>
                    <a:pt x="4502" y="16822"/>
                  </a:cubicBezTo>
                  <a:cubicBezTo>
                    <a:pt x="4446" y="16911"/>
                    <a:pt x="4347" y="17034"/>
                    <a:pt x="4285" y="17107"/>
                  </a:cubicBezTo>
                  <a:cubicBezTo>
                    <a:pt x="4222" y="17177"/>
                    <a:pt x="4140" y="17269"/>
                    <a:pt x="4104" y="17318"/>
                  </a:cubicBezTo>
                  <a:cubicBezTo>
                    <a:pt x="4067" y="17365"/>
                    <a:pt x="4049" y="17415"/>
                    <a:pt x="4063" y="17424"/>
                  </a:cubicBezTo>
                  <a:cubicBezTo>
                    <a:pt x="4076" y="17436"/>
                    <a:pt x="4070" y="17467"/>
                    <a:pt x="4047" y="17497"/>
                  </a:cubicBezTo>
                  <a:cubicBezTo>
                    <a:pt x="4024" y="17524"/>
                    <a:pt x="3980" y="17533"/>
                    <a:pt x="3947" y="17517"/>
                  </a:cubicBezTo>
                  <a:cubicBezTo>
                    <a:pt x="3915" y="17500"/>
                    <a:pt x="3827" y="17528"/>
                    <a:pt x="3751" y="17584"/>
                  </a:cubicBezTo>
                  <a:cubicBezTo>
                    <a:pt x="3674" y="17638"/>
                    <a:pt x="3607" y="17710"/>
                    <a:pt x="3598" y="17737"/>
                  </a:cubicBezTo>
                  <a:cubicBezTo>
                    <a:pt x="3587" y="17763"/>
                    <a:pt x="3566" y="17797"/>
                    <a:pt x="3546" y="17803"/>
                  </a:cubicBezTo>
                  <a:cubicBezTo>
                    <a:pt x="3525" y="17811"/>
                    <a:pt x="3504" y="17787"/>
                    <a:pt x="3494" y="17755"/>
                  </a:cubicBezTo>
                  <a:cubicBezTo>
                    <a:pt x="3490" y="17717"/>
                    <a:pt x="3436" y="17694"/>
                    <a:pt x="3384" y="17701"/>
                  </a:cubicBezTo>
                  <a:cubicBezTo>
                    <a:pt x="3331" y="17707"/>
                    <a:pt x="3266" y="17735"/>
                    <a:pt x="3240" y="17765"/>
                  </a:cubicBezTo>
                  <a:cubicBezTo>
                    <a:pt x="3213" y="17796"/>
                    <a:pt x="3184" y="17809"/>
                    <a:pt x="3173" y="17807"/>
                  </a:cubicBezTo>
                  <a:cubicBezTo>
                    <a:pt x="3163" y="17801"/>
                    <a:pt x="3183" y="17743"/>
                    <a:pt x="3213" y="17673"/>
                  </a:cubicBezTo>
                  <a:cubicBezTo>
                    <a:pt x="3244" y="17607"/>
                    <a:pt x="3301" y="17457"/>
                    <a:pt x="3335" y="17335"/>
                  </a:cubicBezTo>
                  <a:cubicBezTo>
                    <a:pt x="3369" y="17213"/>
                    <a:pt x="3403" y="17057"/>
                    <a:pt x="3417" y="16989"/>
                  </a:cubicBezTo>
                  <a:cubicBezTo>
                    <a:pt x="3425" y="16917"/>
                    <a:pt x="3417" y="16841"/>
                    <a:pt x="3401" y="16810"/>
                  </a:cubicBezTo>
                  <a:cubicBezTo>
                    <a:pt x="3380" y="16791"/>
                    <a:pt x="3344" y="16783"/>
                    <a:pt x="3313" y="16801"/>
                  </a:cubicBezTo>
                  <a:cubicBezTo>
                    <a:pt x="3285" y="16827"/>
                    <a:pt x="3234" y="16854"/>
                    <a:pt x="3202" y="16862"/>
                  </a:cubicBezTo>
                  <a:cubicBezTo>
                    <a:pt x="3171" y="16876"/>
                    <a:pt x="3125" y="16906"/>
                    <a:pt x="3098" y="16928"/>
                  </a:cubicBezTo>
                  <a:cubicBezTo>
                    <a:pt x="3073" y="16958"/>
                    <a:pt x="3018" y="16992"/>
                    <a:pt x="2980" y="17022"/>
                  </a:cubicBezTo>
                  <a:cubicBezTo>
                    <a:pt x="2942" y="17049"/>
                    <a:pt x="2882" y="17097"/>
                    <a:pt x="2848" y="17136"/>
                  </a:cubicBezTo>
                  <a:cubicBezTo>
                    <a:pt x="2813" y="17167"/>
                    <a:pt x="2762" y="17221"/>
                    <a:pt x="2734" y="17244"/>
                  </a:cubicBezTo>
                  <a:cubicBezTo>
                    <a:pt x="2705" y="17266"/>
                    <a:pt x="2672" y="17325"/>
                    <a:pt x="2654" y="17359"/>
                  </a:cubicBezTo>
                  <a:cubicBezTo>
                    <a:pt x="2639" y="17398"/>
                    <a:pt x="2619" y="17455"/>
                    <a:pt x="2619" y="17486"/>
                  </a:cubicBezTo>
                  <a:cubicBezTo>
                    <a:pt x="2614" y="17516"/>
                    <a:pt x="2601" y="17564"/>
                    <a:pt x="2586" y="17582"/>
                  </a:cubicBezTo>
                  <a:cubicBezTo>
                    <a:pt x="2574" y="17609"/>
                    <a:pt x="2542" y="17684"/>
                    <a:pt x="2516" y="17753"/>
                  </a:cubicBezTo>
                  <a:cubicBezTo>
                    <a:pt x="2495" y="17829"/>
                    <a:pt x="2473" y="17905"/>
                    <a:pt x="2479" y="17923"/>
                  </a:cubicBezTo>
                  <a:cubicBezTo>
                    <a:pt x="2484" y="17942"/>
                    <a:pt x="2497" y="17955"/>
                    <a:pt x="2512" y="17943"/>
                  </a:cubicBezTo>
                  <a:cubicBezTo>
                    <a:pt x="2527" y="17935"/>
                    <a:pt x="2531" y="17944"/>
                    <a:pt x="2523" y="17969"/>
                  </a:cubicBezTo>
                  <a:cubicBezTo>
                    <a:pt x="2513" y="17991"/>
                    <a:pt x="2475" y="18054"/>
                    <a:pt x="2436" y="18107"/>
                  </a:cubicBezTo>
                  <a:cubicBezTo>
                    <a:pt x="2397" y="18158"/>
                    <a:pt x="2354" y="18225"/>
                    <a:pt x="2339" y="18253"/>
                  </a:cubicBezTo>
                  <a:cubicBezTo>
                    <a:pt x="2326" y="18283"/>
                    <a:pt x="2319" y="18330"/>
                    <a:pt x="2331" y="18344"/>
                  </a:cubicBezTo>
                  <a:cubicBezTo>
                    <a:pt x="2338" y="18369"/>
                    <a:pt x="2369" y="18367"/>
                    <a:pt x="2394" y="18342"/>
                  </a:cubicBezTo>
                  <a:cubicBezTo>
                    <a:pt x="2420" y="18320"/>
                    <a:pt x="2452" y="18289"/>
                    <a:pt x="2464" y="18266"/>
                  </a:cubicBezTo>
                  <a:cubicBezTo>
                    <a:pt x="2477" y="18247"/>
                    <a:pt x="2513" y="18218"/>
                    <a:pt x="2546" y="18210"/>
                  </a:cubicBezTo>
                  <a:cubicBezTo>
                    <a:pt x="2579" y="18193"/>
                    <a:pt x="2595" y="18201"/>
                    <a:pt x="2585" y="18222"/>
                  </a:cubicBezTo>
                  <a:cubicBezTo>
                    <a:pt x="2573" y="18240"/>
                    <a:pt x="2536" y="18279"/>
                    <a:pt x="2501" y="18301"/>
                  </a:cubicBezTo>
                  <a:cubicBezTo>
                    <a:pt x="2467" y="18325"/>
                    <a:pt x="2432" y="18360"/>
                    <a:pt x="2422" y="18373"/>
                  </a:cubicBezTo>
                  <a:cubicBezTo>
                    <a:pt x="2412" y="18388"/>
                    <a:pt x="2424" y="18388"/>
                    <a:pt x="2448" y="18388"/>
                  </a:cubicBezTo>
                  <a:cubicBezTo>
                    <a:pt x="2472" y="18382"/>
                    <a:pt x="2484" y="18393"/>
                    <a:pt x="2474" y="18418"/>
                  </a:cubicBezTo>
                  <a:cubicBezTo>
                    <a:pt x="2463" y="18438"/>
                    <a:pt x="2434" y="18492"/>
                    <a:pt x="2405" y="18528"/>
                  </a:cubicBezTo>
                  <a:cubicBezTo>
                    <a:pt x="2377" y="18565"/>
                    <a:pt x="2345" y="18606"/>
                    <a:pt x="2338" y="18627"/>
                  </a:cubicBezTo>
                  <a:cubicBezTo>
                    <a:pt x="2330" y="18646"/>
                    <a:pt x="2337" y="18646"/>
                    <a:pt x="2355" y="18640"/>
                  </a:cubicBezTo>
                  <a:cubicBezTo>
                    <a:pt x="2372" y="18628"/>
                    <a:pt x="2398" y="18626"/>
                    <a:pt x="2410" y="18640"/>
                  </a:cubicBezTo>
                  <a:cubicBezTo>
                    <a:pt x="2423" y="18654"/>
                    <a:pt x="2458" y="18639"/>
                    <a:pt x="2486" y="18611"/>
                  </a:cubicBezTo>
                  <a:cubicBezTo>
                    <a:pt x="2514" y="18588"/>
                    <a:pt x="2545" y="18566"/>
                    <a:pt x="2554" y="18571"/>
                  </a:cubicBezTo>
                  <a:cubicBezTo>
                    <a:pt x="2564" y="18579"/>
                    <a:pt x="2554" y="18602"/>
                    <a:pt x="2534" y="18636"/>
                  </a:cubicBezTo>
                  <a:cubicBezTo>
                    <a:pt x="2512" y="18664"/>
                    <a:pt x="2469" y="18704"/>
                    <a:pt x="2439" y="18729"/>
                  </a:cubicBezTo>
                  <a:cubicBezTo>
                    <a:pt x="2407" y="18746"/>
                    <a:pt x="2367" y="18782"/>
                    <a:pt x="2349" y="18805"/>
                  </a:cubicBezTo>
                  <a:cubicBezTo>
                    <a:pt x="2332" y="18828"/>
                    <a:pt x="2297" y="18836"/>
                    <a:pt x="2273" y="18830"/>
                  </a:cubicBezTo>
                  <a:cubicBezTo>
                    <a:pt x="2248" y="18823"/>
                    <a:pt x="2211" y="18833"/>
                    <a:pt x="2188" y="18851"/>
                  </a:cubicBezTo>
                  <a:cubicBezTo>
                    <a:pt x="2167" y="18876"/>
                    <a:pt x="2135" y="18904"/>
                    <a:pt x="2128" y="18935"/>
                  </a:cubicBezTo>
                  <a:cubicBezTo>
                    <a:pt x="2118" y="18963"/>
                    <a:pt x="2087" y="19002"/>
                    <a:pt x="2060" y="19023"/>
                  </a:cubicBezTo>
                  <a:cubicBezTo>
                    <a:pt x="2034" y="19045"/>
                    <a:pt x="2012" y="19035"/>
                    <a:pt x="2010" y="19004"/>
                  </a:cubicBezTo>
                  <a:cubicBezTo>
                    <a:pt x="2009" y="18972"/>
                    <a:pt x="1989" y="18962"/>
                    <a:pt x="1964" y="18967"/>
                  </a:cubicBezTo>
                  <a:cubicBezTo>
                    <a:pt x="1940" y="18976"/>
                    <a:pt x="1897" y="19017"/>
                    <a:pt x="1868" y="19052"/>
                  </a:cubicBezTo>
                  <a:cubicBezTo>
                    <a:pt x="1840" y="19089"/>
                    <a:pt x="1771" y="19146"/>
                    <a:pt x="1716" y="19189"/>
                  </a:cubicBezTo>
                  <a:cubicBezTo>
                    <a:pt x="1662" y="19229"/>
                    <a:pt x="1586" y="19278"/>
                    <a:pt x="1547" y="19281"/>
                  </a:cubicBezTo>
                  <a:cubicBezTo>
                    <a:pt x="1509" y="19299"/>
                    <a:pt x="1453" y="19324"/>
                    <a:pt x="1421" y="19346"/>
                  </a:cubicBezTo>
                  <a:cubicBezTo>
                    <a:pt x="1391" y="19375"/>
                    <a:pt x="1348" y="19418"/>
                    <a:pt x="1326" y="19447"/>
                  </a:cubicBezTo>
                  <a:cubicBezTo>
                    <a:pt x="1305" y="19475"/>
                    <a:pt x="1281" y="19523"/>
                    <a:pt x="1273" y="19549"/>
                  </a:cubicBezTo>
                  <a:cubicBezTo>
                    <a:pt x="1264" y="19575"/>
                    <a:pt x="1238" y="19620"/>
                    <a:pt x="1212" y="19643"/>
                  </a:cubicBezTo>
                  <a:cubicBezTo>
                    <a:pt x="1187" y="19670"/>
                    <a:pt x="1136" y="19717"/>
                    <a:pt x="1101" y="19761"/>
                  </a:cubicBezTo>
                  <a:cubicBezTo>
                    <a:pt x="1064" y="19798"/>
                    <a:pt x="1014" y="19872"/>
                    <a:pt x="986" y="19913"/>
                  </a:cubicBezTo>
                  <a:cubicBezTo>
                    <a:pt x="960" y="19962"/>
                    <a:pt x="895" y="20029"/>
                    <a:pt x="845" y="20070"/>
                  </a:cubicBezTo>
                  <a:cubicBezTo>
                    <a:pt x="796" y="20113"/>
                    <a:pt x="737" y="20173"/>
                    <a:pt x="714" y="20202"/>
                  </a:cubicBezTo>
                  <a:cubicBezTo>
                    <a:pt x="693" y="20235"/>
                    <a:pt x="652" y="20282"/>
                    <a:pt x="625" y="20306"/>
                  </a:cubicBezTo>
                  <a:cubicBezTo>
                    <a:pt x="600" y="20340"/>
                    <a:pt x="547" y="20396"/>
                    <a:pt x="513" y="20447"/>
                  </a:cubicBezTo>
                  <a:cubicBezTo>
                    <a:pt x="478" y="20498"/>
                    <a:pt x="432" y="20577"/>
                    <a:pt x="410" y="20620"/>
                  </a:cubicBezTo>
                  <a:cubicBezTo>
                    <a:pt x="390" y="20667"/>
                    <a:pt x="368" y="20717"/>
                    <a:pt x="364" y="20736"/>
                  </a:cubicBezTo>
                  <a:cubicBezTo>
                    <a:pt x="358" y="20753"/>
                    <a:pt x="339" y="20798"/>
                    <a:pt x="323" y="20841"/>
                  </a:cubicBezTo>
                  <a:cubicBezTo>
                    <a:pt x="305" y="20880"/>
                    <a:pt x="250" y="20961"/>
                    <a:pt x="202" y="21024"/>
                  </a:cubicBezTo>
                  <a:cubicBezTo>
                    <a:pt x="154" y="21086"/>
                    <a:pt x="99" y="21163"/>
                    <a:pt x="86" y="21202"/>
                  </a:cubicBezTo>
                  <a:cubicBezTo>
                    <a:pt x="70" y="21238"/>
                    <a:pt x="56" y="21284"/>
                    <a:pt x="61" y="21299"/>
                  </a:cubicBezTo>
                  <a:cubicBezTo>
                    <a:pt x="59" y="21316"/>
                    <a:pt x="49" y="21375"/>
                    <a:pt x="31" y="21431"/>
                  </a:cubicBezTo>
                  <a:cubicBezTo>
                    <a:pt x="14" y="21488"/>
                    <a:pt x="0" y="21550"/>
                    <a:pt x="0" y="21570"/>
                  </a:cubicBezTo>
                  <a:cubicBezTo>
                    <a:pt x="-1" y="21591"/>
                    <a:pt x="34" y="21584"/>
                    <a:pt x="73" y="21551"/>
                  </a:cubicBezTo>
                  <a:cubicBezTo>
                    <a:pt x="113" y="21523"/>
                    <a:pt x="174" y="21430"/>
                    <a:pt x="214" y="21356"/>
                  </a:cubicBezTo>
                  <a:cubicBezTo>
                    <a:pt x="252" y="21280"/>
                    <a:pt x="291" y="21213"/>
                    <a:pt x="301" y="21210"/>
                  </a:cubicBezTo>
                  <a:cubicBezTo>
                    <a:pt x="310" y="21207"/>
                    <a:pt x="315" y="21214"/>
                    <a:pt x="307" y="21225"/>
                  </a:cubicBezTo>
                  <a:cubicBezTo>
                    <a:pt x="303" y="21241"/>
                    <a:pt x="274" y="21297"/>
                    <a:pt x="243" y="21349"/>
                  </a:cubicBezTo>
                  <a:cubicBezTo>
                    <a:pt x="213" y="21404"/>
                    <a:pt x="196" y="21449"/>
                    <a:pt x="204" y="21453"/>
                  </a:cubicBezTo>
                  <a:cubicBezTo>
                    <a:pt x="212" y="21456"/>
                    <a:pt x="245" y="21413"/>
                    <a:pt x="280" y="21363"/>
                  </a:cubicBezTo>
                  <a:cubicBezTo>
                    <a:pt x="312" y="21307"/>
                    <a:pt x="360" y="21220"/>
                    <a:pt x="378" y="21154"/>
                  </a:cubicBezTo>
                  <a:cubicBezTo>
                    <a:pt x="401" y="21096"/>
                    <a:pt x="450" y="20957"/>
                    <a:pt x="493" y="20858"/>
                  </a:cubicBezTo>
                  <a:cubicBezTo>
                    <a:pt x="535" y="20758"/>
                    <a:pt x="595" y="20652"/>
                    <a:pt x="623" y="20616"/>
                  </a:cubicBezTo>
                  <a:cubicBezTo>
                    <a:pt x="652" y="20587"/>
                    <a:pt x="696" y="20524"/>
                    <a:pt x="725" y="20493"/>
                  </a:cubicBezTo>
                  <a:cubicBezTo>
                    <a:pt x="753" y="20458"/>
                    <a:pt x="724" y="20524"/>
                    <a:pt x="661" y="20640"/>
                  </a:cubicBezTo>
                  <a:cubicBezTo>
                    <a:pt x="598" y="20756"/>
                    <a:pt x="535" y="20883"/>
                    <a:pt x="523" y="20925"/>
                  </a:cubicBezTo>
                  <a:cubicBezTo>
                    <a:pt x="511" y="20967"/>
                    <a:pt x="488" y="21020"/>
                    <a:pt x="472" y="21043"/>
                  </a:cubicBezTo>
                  <a:cubicBezTo>
                    <a:pt x="459" y="21072"/>
                    <a:pt x="430" y="21137"/>
                    <a:pt x="408" y="21189"/>
                  </a:cubicBezTo>
                  <a:cubicBezTo>
                    <a:pt x="387" y="21245"/>
                    <a:pt x="350" y="21332"/>
                    <a:pt x="323" y="21381"/>
                  </a:cubicBezTo>
                  <a:cubicBezTo>
                    <a:pt x="299" y="21435"/>
                    <a:pt x="278" y="21482"/>
                    <a:pt x="282" y="21495"/>
                  </a:cubicBezTo>
                  <a:cubicBezTo>
                    <a:pt x="286" y="21508"/>
                    <a:pt x="304" y="21511"/>
                    <a:pt x="323" y="21494"/>
                  </a:cubicBezTo>
                  <a:cubicBezTo>
                    <a:pt x="342" y="21478"/>
                    <a:pt x="371" y="21467"/>
                    <a:pt x="383" y="21481"/>
                  </a:cubicBezTo>
                  <a:cubicBezTo>
                    <a:pt x="397" y="21491"/>
                    <a:pt x="437" y="21478"/>
                    <a:pt x="471" y="21450"/>
                  </a:cubicBezTo>
                  <a:cubicBezTo>
                    <a:pt x="505" y="21427"/>
                    <a:pt x="547" y="21377"/>
                    <a:pt x="561" y="21334"/>
                  </a:cubicBezTo>
                  <a:cubicBezTo>
                    <a:pt x="576" y="21293"/>
                    <a:pt x="589" y="21248"/>
                    <a:pt x="592" y="21233"/>
                  </a:cubicBezTo>
                  <a:cubicBezTo>
                    <a:pt x="595" y="21220"/>
                    <a:pt x="618" y="21165"/>
                    <a:pt x="645" y="21115"/>
                  </a:cubicBezTo>
                  <a:cubicBezTo>
                    <a:pt x="674" y="21069"/>
                    <a:pt x="713" y="20990"/>
                    <a:pt x="732" y="20943"/>
                  </a:cubicBezTo>
                  <a:cubicBezTo>
                    <a:pt x="754" y="20901"/>
                    <a:pt x="791" y="20840"/>
                    <a:pt x="811" y="20799"/>
                  </a:cubicBezTo>
                  <a:cubicBezTo>
                    <a:pt x="835" y="20767"/>
                    <a:pt x="844" y="20762"/>
                    <a:pt x="833" y="20793"/>
                  </a:cubicBezTo>
                  <a:cubicBezTo>
                    <a:pt x="824" y="20827"/>
                    <a:pt x="813" y="20862"/>
                    <a:pt x="812" y="20878"/>
                  </a:cubicBezTo>
                  <a:cubicBezTo>
                    <a:pt x="811" y="20894"/>
                    <a:pt x="783" y="20963"/>
                    <a:pt x="749" y="21031"/>
                  </a:cubicBezTo>
                  <a:cubicBezTo>
                    <a:pt x="716" y="21102"/>
                    <a:pt x="684" y="21174"/>
                    <a:pt x="684" y="21197"/>
                  </a:cubicBezTo>
                  <a:cubicBezTo>
                    <a:pt x="682" y="21219"/>
                    <a:pt x="670" y="21257"/>
                    <a:pt x="665" y="21289"/>
                  </a:cubicBezTo>
                  <a:cubicBezTo>
                    <a:pt x="657" y="21317"/>
                    <a:pt x="655" y="21366"/>
                    <a:pt x="665" y="21394"/>
                  </a:cubicBezTo>
                  <a:cubicBezTo>
                    <a:pt x="674" y="21424"/>
                    <a:pt x="693" y="21442"/>
                    <a:pt x="709" y="21433"/>
                  </a:cubicBezTo>
                  <a:cubicBezTo>
                    <a:pt x="725" y="21420"/>
                    <a:pt x="761" y="21377"/>
                    <a:pt x="791" y="21334"/>
                  </a:cubicBezTo>
                  <a:cubicBezTo>
                    <a:pt x="822" y="21292"/>
                    <a:pt x="848" y="21230"/>
                    <a:pt x="854" y="21203"/>
                  </a:cubicBezTo>
                  <a:cubicBezTo>
                    <a:pt x="859" y="21177"/>
                    <a:pt x="860" y="21152"/>
                    <a:pt x="858" y="21146"/>
                  </a:cubicBezTo>
                  <a:cubicBezTo>
                    <a:pt x="856" y="21140"/>
                    <a:pt x="865" y="21121"/>
                    <a:pt x="879" y="21099"/>
                  </a:cubicBezTo>
                  <a:cubicBezTo>
                    <a:pt x="893" y="21074"/>
                    <a:pt x="928" y="21043"/>
                    <a:pt x="955" y="21023"/>
                  </a:cubicBezTo>
                  <a:cubicBezTo>
                    <a:pt x="983" y="21007"/>
                    <a:pt x="1018" y="20958"/>
                    <a:pt x="1038" y="20927"/>
                  </a:cubicBezTo>
                  <a:cubicBezTo>
                    <a:pt x="1055" y="20892"/>
                    <a:pt x="1075" y="20836"/>
                    <a:pt x="1086" y="20805"/>
                  </a:cubicBezTo>
                  <a:cubicBezTo>
                    <a:pt x="1093" y="20771"/>
                    <a:pt x="1092" y="20739"/>
                    <a:pt x="1082" y="20732"/>
                  </a:cubicBezTo>
                  <a:cubicBezTo>
                    <a:pt x="1072" y="20727"/>
                    <a:pt x="1072" y="20691"/>
                    <a:pt x="1082" y="20658"/>
                  </a:cubicBezTo>
                  <a:cubicBezTo>
                    <a:pt x="1091" y="20625"/>
                    <a:pt x="1107" y="20600"/>
                    <a:pt x="1116" y="20604"/>
                  </a:cubicBezTo>
                  <a:cubicBezTo>
                    <a:pt x="1125" y="20608"/>
                    <a:pt x="1135" y="20647"/>
                    <a:pt x="1146" y="20684"/>
                  </a:cubicBezTo>
                  <a:cubicBezTo>
                    <a:pt x="1151" y="20726"/>
                    <a:pt x="1155" y="20783"/>
                    <a:pt x="1146" y="20812"/>
                  </a:cubicBezTo>
                  <a:cubicBezTo>
                    <a:pt x="1139" y="20842"/>
                    <a:pt x="1109" y="20907"/>
                    <a:pt x="1081" y="20960"/>
                  </a:cubicBezTo>
                  <a:cubicBezTo>
                    <a:pt x="1052" y="21010"/>
                    <a:pt x="1016" y="21067"/>
                    <a:pt x="1000" y="21080"/>
                  </a:cubicBezTo>
                  <a:cubicBezTo>
                    <a:pt x="985" y="21097"/>
                    <a:pt x="948" y="21151"/>
                    <a:pt x="917" y="21199"/>
                  </a:cubicBezTo>
                  <a:cubicBezTo>
                    <a:pt x="887" y="21247"/>
                    <a:pt x="858" y="21307"/>
                    <a:pt x="858" y="21329"/>
                  </a:cubicBezTo>
                  <a:cubicBezTo>
                    <a:pt x="853" y="21348"/>
                    <a:pt x="868" y="21354"/>
                    <a:pt x="886" y="21342"/>
                  </a:cubicBezTo>
                  <a:cubicBezTo>
                    <a:pt x="906" y="21335"/>
                    <a:pt x="928" y="21323"/>
                    <a:pt x="938" y="21323"/>
                  </a:cubicBezTo>
                  <a:cubicBezTo>
                    <a:pt x="947" y="21332"/>
                    <a:pt x="958" y="21339"/>
                    <a:pt x="961" y="21349"/>
                  </a:cubicBezTo>
                  <a:cubicBezTo>
                    <a:pt x="964" y="21359"/>
                    <a:pt x="984" y="21354"/>
                    <a:pt x="1007" y="21334"/>
                  </a:cubicBezTo>
                  <a:cubicBezTo>
                    <a:pt x="1030" y="21316"/>
                    <a:pt x="1081" y="21302"/>
                    <a:pt x="1120" y="21309"/>
                  </a:cubicBezTo>
                  <a:cubicBezTo>
                    <a:pt x="1159" y="21316"/>
                    <a:pt x="1203" y="21313"/>
                    <a:pt x="1218" y="21306"/>
                  </a:cubicBezTo>
                  <a:cubicBezTo>
                    <a:pt x="1233" y="21301"/>
                    <a:pt x="1238" y="21321"/>
                    <a:pt x="1232" y="21355"/>
                  </a:cubicBezTo>
                  <a:cubicBezTo>
                    <a:pt x="1227" y="21390"/>
                    <a:pt x="1272" y="21374"/>
                    <a:pt x="1339" y="21331"/>
                  </a:cubicBezTo>
                  <a:cubicBezTo>
                    <a:pt x="1404" y="21281"/>
                    <a:pt x="1477" y="21239"/>
                    <a:pt x="1499" y="21239"/>
                  </a:cubicBezTo>
                  <a:cubicBezTo>
                    <a:pt x="1521" y="21235"/>
                    <a:pt x="1553" y="21223"/>
                    <a:pt x="1569" y="21205"/>
                  </a:cubicBezTo>
                  <a:cubicBezTo>
                    <a:pt x="1586" y="21196"/>
                    <a:pt x="1615" y="21147"/>
                    <a:pt x="1634" y="21104"/>
                  </a:cubicBezTo>
                  <a:cubicBezTo>
                    <a:pt x="1653" y="21063"/>
                    <a:pt x="1658" y="21004"/>
                    <a:pt x="1653" y="20966"/>
                  </a:cubicBezTo>
                  <a:cubicBezTo>
                    <a:pt x="1643" y="20933"/>
                    <a:pt x="1643" y="20843"/>
                    <a:pt x="1659" y="20778"/>
                  </a:cubicBezTo>
                  <a:cubicBezTo>
                    <a:pt x="1667" y="20707"/>
                    <a:pt x="1704" y="20600"/>
                    <a:pt x="1734" y="20537"/>
                  </a:cubicBezTo>
                  <a:cubicBezTo>
                    <a:pt x="1765" y="20477"/>
                    <a:pt x="1801" y="20402"/>
                    <a:pt x="1817" y="20379"/>
                  </a:cubicBezTo>
                  <a:cubicBezTo>
                    <a:pt x="1831" y="20352"/>
                    <a:pt x="1849" y="20347"/>
                    <a:pt x="1855" y="20349"/>
                  </a:cubicBezTo>
                  <a:cubicBezTo>
                    <a:pt x="1858" y="20359"/>
                    <a:pt x="1859" y="20400"/>
                    <a:pt x="1858" y="20448"/>
                  </a:cubicBezTo>
                  <a:cubicBezTo>
                    <a:pt x="1852" y="20494"/>
                    <a:pt x="1840" y="20564"/>
                    <a:pt x="1830" y="20606"/>
                  </a:cubicBezTo>
                  <a:cubicBezTo>
                    <a:pt x="1818" y="20645"/>
                    <a:pt x="1804" y="20695"/>
                    <a:pt x="1810" y="20710"/>
                  </a:cubicBezTo>
                  <a:cubicBezTo>
                    <a:pt x="1809" y="20728"/>
                    <a:pt x="1832" y="20729"/>
                    <a:pt x="1856" y="20703"/>
                  </a:cubicBezTo>
                  <a:cubicBezTo>
                    <a:pt x="1881" y="20684"/>
                    <a:pt x="1909" y="20647"/>
                    <a:pt x="1920" y="20629"/>
                  </a:cubicBezTo>
                  <a:cubicBezTo>
                    <a:pt x="1930" y="20610"/>
                    <a:pt x="1964" y="20577"/>
                    <a:pt x="1994" y="20551"/>
                  </a:cubicBezTo>
                  <a:cubicBezTo>
                    <a:pt x="2024" y="20533"/>
                    <a:pt x="2061" y="20488"/>
                    <a:pt x="2076" y="20460"/>
                  </a:cubicBezTo>
                  <a:cubicBezTo>
                    <a:pt x="2092" y="20435"/>
                    <a:pt x="2112" y="20382"/>
                    <a:pt x="2125" y="20351"/>
                  </a:cubicBezTo>
                  <a:cubicBezTo>
                    <a:pt x="2136" y="20317"/>
                    <a:pt x="2167" y="20252"/>
                    <a:pt x="2196" y="20214"/>
                  </a:cubicBezTo>
                  <a:cubicBezTo>
                    <a:pt x="2223" y="20169"/>
                    <a:pt x="2263" y="20096"/>
                    <a:pt x="2284" y="20044"/>
                  </a:cubicBezTo>
                  <a:cubicBezTo>
                    <a:pt x="2304" y="19991"/>
                    <a:pt x="2332" y="19927"/>
                    <a:pt x="2345" y="19900"/>
                  </a:cubicBezTo>
                  <a:cubicBezTo>
                    <a:pt x="2358" y="19874"/>
                    <a:pt x="2378" y="19844"/>
                    <a:pt x="2391" y="19843"/>
                  </a:cubicBezTo>
                  <a:cubicBezTo>
                    <a:pt x="2402" y="19834"/>
                    <a:pt x="2409" y="19865"/>
                    <a:pt x="2406" y="19906"/>
                  </a:cubicBezTo>
                  <a:cubicBezTo>
                    <a:pt x="2405" y="19946"/>
                    <a:pt x="2387" y="20004"/>
                    <a:pt x="2372" y="20035"/>
                  </a:cubicBezTo>
                  <a:cubicBezTo>
                    <a:pt x="2359" y="20069"/>
                    <a:pt x="2323" y="20127"/>
                    <a:pt x="2299" y="20178"/>
                  </a:cubicBezTo>
                  <a:cubicBezTo>
                    <a:pt x="2272" y="20224"/>
                    <a:pt x="2241" y="20291"/>
                    <a:pt x="2231" y="20325"/>
                  </a:cubicBezTo>
                  <a:cubicBezTo>
                    <a:pt x="2222" y="20361"/>
                    <a:pt x="2219" y="20385"/>
                    <a:pt x="2223" y="20400"/>
                  </a:cubicBezTo>
                  <a:cubicBezTo>
                    <a:pt x="2231" y="20407"/>
                    <a:pt x="2225" y="20447"/>
                    <a:pt x="2213" y="20490"/>
                  </a:cubicBezTo>
                  <a:cubicBezTo>
                    <a:pt x="2197" y="20526"/>
                    <a:pt x="2210" y="20560"/>
                    <a:pt x="2236" y="20567"/>
                  </a:cubicBezTo>
                  <a:cubicBezTo>
                    <a:pt x="2262" y="20561"/>
                    <a:pt x="2311" y="20538"/>
                    <a:pt x="2346" y="20506"/>
                  </a:cubicBezTo>
                  <a:cubicBezTo>
                    <a:pt x="2381" y="20470"/>
                    <a:pt x="2450" y="20365"/>
                    <a:pt x="2502" y="20273"/>
                  </a:cubicBezTo>
                  <a:cubicBezTo>
                    <a:pt x="2553" y="20183"/>
                    <a:pt x="2591" y="20077"/>
                    <a:pt x="2591" y="20042"/>
                  </a:cubicBezTo>
                  <a:cubicBezTo>
                    <a:pt x="2587" y="20009"/>
                    <a:pt x="2608" y="19929"/>
                    <a:pt x="2632" y="19869"/>
                  </a:cubicBezTo>
                  <a:cubicBezTo>
                    <a:pt x="2657" y="19811"/>
                    <a:pt x="2705" y="19714"/>
                    <a:pt x="2741" y="19659"/>
                  </a:cubicBezTo>
                  <a:cubicBezTo>
                    <a:pt x="2778" y="19605"/>
                    <a:pt x="2840" y="19529"/>
                    <a:pt x="2881" y="19493"/>
                  </a:cubicBezTo>
                  <a:cubicBezTo>
                    <a:pt x="2921" y="19457"/>
                    <a:pt x="2916" y="19488"/>
                    <a:pt x="2868" y="19555"/>
                  </a:cubicBezTo>
                  <a:cubicBezTo>
                    <a:pt x="2822" y="19630"/>
                    <a:pt x="2766" y="19723"/>
                    <a:pt x="2746" y="19768"/>
                  </a:cubicBezTo>
                  <a:cubicBezTo>
                    <a:pt x="2727" y="19816"/>
                    <a:pt x="2717" y="19881"/>
                    <a:pt x="2713" y="19913"/>
                  </a:cubicBezTo>
                  <a:cubicBezTo>
                    <a:pt x="2715" y="19945"/>
                    <a:pt x="2674" y="20056"/>
                    <a:pt x="2625" y="20156"/>
                  </a:cubicBezTo>
                  <a:cubicBezTo>
                    <a:pt x="2574" y="20254"/>
                    <a:pt x="2534" y="20363"/>
                    <a:pt x="2529" y="20389"/>
                  </a:cubicBezTo>
                  <a:cubicBezTo>
                    <a:pt x="2528" y="20416"/>
                    <a:pt x="2536" y="20450"/>
                    <a:pt x="2553" y="20462"/>
                  </a:cubicBezTo>
                  <a:cubicBezTo>
                    <a:pt x="2568" y="20483"/>
                    <a:pt x="2612" y="20459"/>
                    <a:pt x="2647" y="20427"/>
                  </a:cubicBezTo>
                  <a:cubicBezTo>
                    <a:pt x="2681" y="20390"/>
                    <a:pt x="2730" y="20362"/>
                    <a:pt x="2754" y="20357"/>
                  </a:cubicBezTo>
                  <a:cubicBezTo>
                    <a:pt x="2778" y="20361"/>
                    <a:pt x="2822" y="20318"/>
                    <a:pt x="2851" y="20284"/>
                  </a:cubicBezTo>
                  <a:cubicBezTo>
                    <a:pt x="2880" y="20247"/>
                    <a:pt x="2915" y="20173"/>
                    <a:pt x="2933" y="20123"/>
                  </a:cubicBezTo>
                  <a:cubicBezTo>
                    <a:pt x="2948" y="20069"/>
                    <a:pt x="2986" y="20001"/>
                    <a:pt x="3010" y="19957"/>
                  </a:cubicBezTo>
                  <a:cubicBezTo>
                    <a:pt x="3039" y="19924"/>
                    <a:pt x="3063" y="19863"/>
                    <a:pt x="3067" y="19833"/>
                  </a:cubicBezTo>
                  <a:cubicBezTo>
                    <a:pt x="3074" y="19805"/>
                    <a:pt x="3070" y="19739"/>
                    <a:pt x="3056" y="19695"/>
                  </a:cubicBezTo>
                  <a:cubicBezTo>
                    <a:pt x="3048" y="19646"/>
                    <a:pt x="3077" y="19541"/>
                    <a:pt x="3120" y="19444"/>
                  </a:cubicBezTo>
                  <a:cubicBezTo>
                    <a:pt x="3168" y="19354"/>
                    <a:pt x="3215" y="19235"/>
                    <a:pt x="3231" y="19189"/>
                  </a:cubicBezTo>
                  <a:cubicBezTo>
                    <a:pt x="3246" y="19141"/>
                    <a:pt x="3262" y="19119"/>
                    <a:pt x="3267" y="19145"/>
                  </a:cubicBezTo>
                  <a:cubicBezTo>
                    <a:pt x="3274" y="19168"/>
                    <a:pt x="3265" y="19224"/>
                    <a:pt x="3253" y="19267"/>
                  </a:cubicBezTo>
                  <a:cubicBezTo>
                    <a:pt x="3240" y="19310"/>
                    <a:pt x="3211" y="19382"/>
                    <a:pt x="3189" y="19426"/>
                  </a:cubicBezTo>
                  <a:cubicBezTo>
                    <a:pt x="3168" y="19470"/>
                    <a:pt x="3150" y="19548"/>
                    <a:pt x="3156" y="19595"/>
                  </a:cubicBezTo>
                  <a:cubicBezTo>
                    <a:pt x="3156" y="19644"/>
                    <a:pt x="3182" y="19667"/>
                    <a:pt x="3206" y="19665"/>
                  </a:cubicBezTo>
                  <a:cubicBezTo>
                    <a:pt x="3229" y="19648"/>
                    <a:pt x="3264" y="19638"/>
                    <a:pt x="3282" y="19644"/>
                  </a:cubicBezTo>
                  <a:cubicBezTo>
                    <a:pt x="3300" y="19637"/>
                    <a:pt x="3290" y="19664"/>
                    <a:pt x="3261" y="19694"/>
                  </a:cubicBezTo>
                  <a:cubicBezTo>
                    <a:pt x="3230" y="19718"/>
                    <a:pt x="3176" y="19799"/>
                    <a:pt x="3143" y="19871"/>
                  </a:cubicBezTo>
                  <a:cubicBezTo>
                    <a:pt x="3107" y="19936"/>
                    <a:pt x="3079" y="20015"/>
                    <a:pt x="3079" y="20038"/>
                  </a:cubicBezTo>
                  <a:cubicBezTo>
                    <a:pt x="3077" y="20061"/>
                    <a:pt x="3113" y="20075"/>
                    <a:pt x="3157" y="20060"/>
                  </a:cubicBezTo>
                  <a:cubicBezTo>
                    <a:pt x="3202" y="20056"/>
                    <a:pt x="3266" y="20002"/>
                    <a:pt x="3299" y="19953"/>
                  </a:cubicBezTo>
                  <a:cubicBezTo>
                    <a:pt x="3332" y="19905"/>
                    <a:pt x="3375" y="19902"/>
                    <a:pt x="3394" y="19945"/>
                  </a:cubicBezTo>
                  <a:cubicBezTo>
                    <a:pt x="3411" y="19993"/>
                    <a:pt x="3420" y="20055"/>
                    <a:pt x="3410" y="20094"/>
                  </a:cubicBezTo>
                  <a:cubicBezTo>
                    <a:pt x="3400" y="20134"/>
                    <a:pt x="3359" y="20211"/>
                    <a:pt x="3323" y="20273"/>
                  </a:cubicBezTo>
                  <a:cubicBezTo>
                    <a:pt x="3287" y="20333"/>
                    <a:pt x="3223" y="20427"/>
                    <a:pt x="3183" y="20483"/>
                  </a:cubicBezTo>
                  <a:cubicBezTo>
                    <a:pt x="3141" y="20535"/>
                    <a:pt x="3118" y="20589"/>
                    <a:pt x="3130" y="20588"/>
                  </a:cubicBezTo>
                  <a:cubicBezTo>
                    <a:pt x="3141" y="20599"/>
                    <a:pt x="3158" y="20614"/>
                    <a:pt x="3158" y="20640"/>
                  </a:cubicBezTo>
                  <a:cubicBezTo>
                    <a:pt x="3161" y="20665"/>
                    <a:pt x="3193" y="20670"/>
                    <a:pt x="3227" y="20645"/>
                  </a:cubicBezTo>
                  <a:cubicBezTo>
                    <a:pt x="3263" y="20628"/>
                    <a:pt x="3324" y="20570"/>
                    <a:pt x="3363" y="20528"/>
                  </a:cubicBezTo>
                  <a:cubicBezTo>
                    <a:pt x="3402" y="20485"/>
                    <a:pt x="3445" y="20452"/>
                    <a:pt x="3459" y="20452"/>
                  </a:cubicBezTo>
                  <a:cubicBezTo>
                    <a:pt x="3473" y="20448"/>
                    <a:pt x="3546" y="20374"/>
                    <a:pt x="3620" y="20273"/>
                  </a:cubicBezTo>
                  <a:cubicBezTo>
                    <a:pt x="3693" y="20173"/>
                    <a:pt x="3784" y="20072"/>
                    <a:pt x="3820" y="20052"/>
                  </a:cubicBezTo>
                  <a:cubicBezTo>
                    <a:pt x="3856" y="20028"/>
                    <a:pt x="3895" y="20016"/>
                    <a:pt x="3907" y="20016"/>
                  </a:cubicBezTo>
                  <a:cubicBezTo>
                    <a:pt x="3919" y="20021"/>
                    <a:pt x="3986" y="19946"/>
                    <a:pt x="4054" y="19847"/>
                  </a:cubicBezTo>
                  <a:cubicBezTo>
                    <a:pt x="4123" y="19754"/>
                    <a:pt x="4207" y="19648"/>
                    <a:pt x="4241" y="19615"/>
                  </a:cubicBezTo>
                  <a:cubicBezTo>
                    <a:pt x="4274" y="19578"/>
                    <a:pt x="4337" y="19487"/>
                    <a:pt x="4383" y="19410"/>
                  </a:cubicBezTo>
                  <a:cubicBezTo>
                    <a:pt x="4426" y="19326"/>
                    <a:pt x="4490" y="19233"/>
                    <a:pt x="4522" y="19192"/>
                  </a:cubicBezTo>
                  <a:cubicBezTo>
                    <a:pt x="4554" y="19151"/>
                    <a:pt x="4586" y="19132"/>
                    <a:pt x="4593" y="19129"/>
                  </a:cubicBezTo>
                  <a:cubicBezTo>
                    <a:pt x="4599" y="19130"/>
                    <a:pt x="4586" y="19184"/>
                    <a:pt x="4566" y="19246"/>
                  </a:cubicBezTo>
                  <a:cubicBezTo>
                    <a:pt x="4546" y="19305"/>
                    <a:pt x="4505" y="19403"/>
                    <a:pt x="4479" y="19469"/>
                  </a:cubicBezTo>
                  <a:cubicBezTo>
                    <a:pt x="4453" y="19534"/>
                    <a:pt x="4437" y="19585"/>
                    <a:pt x="4446" y="19594"/>
                  </a:cubicBezTo>
                  <a:cubicBezTo>
                    <a:pt x="4455" y="19594"/>
                    <a:pt x="4499" y="19556"/>
                    <a:pt x="4544" y="19500"/>
                  </a:cubicBezTo>
                  <a:cubicBezTo>
                    <a:pt x="4589" y="19444"/>
                    <a:pt x="4656" y="19345"/>
                    <a:pt x="4691" y="19277"/>
                  </a:cubicBezTo>
                  <a:cubicBezTo>
                    <a:pt x="4729" y="19214"/>
                    <a:pt x="4797" y="19117"/>
                    <a:pt x="4842" y="19057"/>
                  </a:cubicBezTo>
                  <a:cubicBezTo>
                    <a:pt x="4888" y="19004"/>
                    <a:pt x="4955" y="18936"/>
                    <a:pt x="4992" y="18912"/>
                  </a:cubicBezTo>
                  <a:cubicBezTo>
                    <a:pt x="5030" y="18890"/>
                    <a:pt x="5115" y="18771"/>
                    <a:pt x="5180" y="18649"/>
                  </a:cubicBezTo>
                  <a:cubicBezTo>
                    <a:pt x="5248" y="18533"/>
                    <a:pt x="5329" y="18361"/>
                    <a:pt x="5364" y="18275"/>
                  </a:cubicBezTo>
                  <a:cubicBezTo>
                    <a:pt x="5400" y="18192"/>
                    <a:pt x="5427" y="18097"/>
                    <a:pt x="5421" y="18077"/>
                  </a:cubicBezTo>
                  <a:cubicBezTo>
                    <a:pt x="5421" y="18053"/>
                    <a:pt x="5432" y="17990"/>
                    <a:pt x="5455" y="17941"/>
                  </a:cubicBezTo>
                  <a:cubicBezTo>
                    <a:pt x="5476" y="17889"/>
                    <a:pt x="5480" y="17850"/>
                    <a:pt x="5464" y="17848"/>
                  </a:cubicBezTo>
                  <a:cubicBezTo>
                    <a:pt x="5447" y="17846"/>
                    <a:pt x="5416" y="17866"/>
                    <a:pt x="5396" y="17889"/>
                  </a:cubicBezTo>
                  <a:cubicBezTo>
                    <a:pt x="5374" y="17903"/>
                    <a:pt x="5338" y="17944"/>
                    <a:pt x="5312" y="17963"/>
                  </a:cubicBezTo>
                  <a:cubicBezTo>
                    <a:pt x="5286" y="17980"/>
                    <a:pt x="5219" y="18046"/>
                    <a:pt x="5165" y="18111"/>
                  </a:cubicBezTo>
                  <a:cubicBezTo>
                    <a:pt x="5110" y="18175"/>
                    <a:pt x="5046" y="18265"/>
                    <a:pt x="5018" y="18302"/>
                  </a:cubicBezTo>
                  <a:cubicBezTo>
                    <a:pt x="4996" y="18352"/>
                    <a:pt x="4941" y="18400"/>
                    <a:pt x="4905" y="18427"/>
                  </a:cubicBezTo>
                  <a:cubicBezTo>
                    <a:pt x="4868" y="18453"/>
                    <a:pt x="4874" y="18426"/>
                    <a:pt x="4916" y="18361"/>
                  </a:cubicBezTo>
                  <a:cubicBezTo>
                    <a:pt x="4959" y="18304"/>
                    <a:pt x="5005" y="18220"/>
                    <a:pt x="5018" y="18184"/>
                  </a:cubicBezTo>
                  <a:cubicBezTo>
                    <a:pt x="5033" y="18150"/>
                    <a:pt x="5015" y="18144"/>
                    <a:pt x="4980" y="18168"/>
                  </a:cubicBezTo>
                  <a:cubicBezTo>
                    <a:pt x="4946" y="18198"/>
                    <a:pt x="4909" y="18209"/>
                    <a:pt x="4901" y="18205"/>
                  </a:cubicBezTo>
                  <a:cubicBezTo>
                    <a:pt x="4893" y="18199"/>
                    <a:pt x="4903" y="18165"/>
                    <a:pt x="4922" y="18126"/>
                  </a:cubicBezTo>
                  <a:cubicBezTo>
                    <a:pt x="4942" y="18089"/>
                    <a:pt x="4976" y="18040"/>
                    <a:pt x="5000" y="18019"/>
                  </a:cubicBezTo>
                  <a:cubicBezTo>
                    <a:pt x="5022" y="17998"/>
                    <a:pt x="5078" y="17911"/>
                    <a:pt x="5119" y="17820"/>
                  </a:cubicBezTo>
                  <a:cubicBezTo>
                    <a:pt x="5163" y="17733"/>
                    <a:pt x="5221" y="17633"/>
                    <a:pt x="5246" y="17588"/>
                  </a:cubicBezTo>
                  <a:cubicBezTo>
                    <a:pt x="5273" y="17549"/>
                    <a:pt x="5299" y="17483"/>
                    <a:pt x="5303" y="17444"/>
                  </a:cubicBezTo>
                  <a:cubicBezTo>
                    <a:pt x="5308" y="17405"/>
                    <a:pt x="5280" y="17378"/>
                    <a:pt x="5240" y="17382"/>
                  </a:cubicBezTo>
                  <a:cubicBezTo>
                    <a:pt x="5201" y="17382"/>
                    <a:pt x="5107" y="17448"/>
                    <a:pt x="5033" y="17514"/>
                  </a:cubicBezTo>
                  <a:cubicBezTo>
                    <a:pt x="4959" y="17587"/>
                    <a:pt x="4852" y="17688"/>
                    <a:pt x="4799" y="17757"/>
                  </a:cubicBezTo>
                  <a:cubicBezTo>
                    <a:pt x="4744" y="17819"/>
                    <a:pt x="4725" y="17830"/>
                    <a:pt x="4755" y="17775"/>
                  </a:cubicBezTo>
                  <a:cubicBezTo>
                    <a:pt x="4784" y="17718"/>
                    <a:pt x="4796" y="17648"/>
                    <a:pt x="4785" y="17614"/>
                  </a:cubicBezTo>
                  <a:cubicBezTo>
                    <a:pt x="4771" y="17583"/>
                    <a:pt x="4734" y="17554"/>
                    <a:pt x="4702" y="17543"/>
                  </a:cubicBezTo>
                  <a:cubicBezTo>
                    <a:pt x="4670" y="17534"/>
                    <a:pt x="4620" y="17553"/>
                    <a:pt x="4592" y="17581"/>
                  </a:cubicBezTo>
                  <a:cubicBezTo>
                    <a:pt x="4564" y="17612"/>
                    <a:pt x="4521" y="17652"/>
                    <a:pt x="4502" y="17687"/>
                  </a:cubicBezTo>
                  <a:cubicBezTo>
                    <a:pt x="4480" y="17715"/>
                    <a:pt x="4446" y="17748"/>
                    <a:pt x="4426" y="17763"/>
                  </a:cubicBezTo>
                  <a:cubicBezTo>
                    <a:pt x="4406" y="17774"/>
                    <a:pt x="4345" y="17866"/>
                    <a:pt x="4283" y="17947"/>
                  </a:cubicBezTo>
                  <a:cubicBezTo>
                    <a:pt x="4226" y="18041"/>
                    <a:pt x="4154" y="18125"/>
                    <a:pt x="4128" y="18142"/>
                  </a:cubicBezTo>
                  <a:cubicBezTo>
                    <a:pt x="4101" y="18155"/>
                    <a:pt x="4113" y="18109"/>
                    <a:pt x="4151" y="18026"/>
                  </a:cubicBezTo>
                  <a:cubicBezTo>
                    <a:pt x="4192" y="17949"/>
                    <a:pt x="4202" y="17872"/>
                    <a:pt x="4180" y="17856"/>
                  </a:cubicBezTo>
                  <a:cubicBezTo>
                    <a:pt x="4157" y="17848"/>
                    <a:pt x="4169" y="17810"/>
                    <a:pt x="4206" y="17779"/>
                  </a:cubicBezTo>
                  <a:cubicBezTo>
                    <a:pt x="4243" y="17749"/>
                    <a:pt x="4279" y="17719"/>
                    <a:pt x="4284" y="17725"/>
                  </a:cubicBezTo>
                  <a:cubicBezTo>
                    <a:pt x="4290" y="17727"/>
                    <a:pt x="4339" y="17692"/>
                    <a:pt x="4393" y="17648"/>
                  </a:cubicBezTo>
                  <a:cubicBezTo>
                    <a:pt x="4447" y="17608"/>
                    <a:pt x="4504" y="17559"/>
                    <a:pt x="4522" y="17555"/>
                  </a:cubicBezTo>
                  <a:cubicBezTo>
                    <a:pt x="4539" y="17547"/>
                    <a:pt x="4564" y="17520"/>
                    <a:pt x="4576" y="17492"/>
                  </a:cubicBezTo>
                  <a:cubicBezTo>
                    <a:pt x="4588" y="17463"/>
                    <a:pt x="4584" y="17424"/>
                    <a:pt x="4569" y="17394"/>
                  </a:cubicBezTo>
                  <a:cubicBezTo>
                    <a:pt x="4550" y="17375"/>
                    <a:pt x="4562" y="17310"/>
                    <a:pt x="4588" y="17263"/>
                  </a:cubicBezTo>
                  <a:cubicBezTo>
                    <a:pt x="4614" y="17215"/>
                    <a:pt x="4661" y="17112"/>
                    <a:pt x="4698" y="17046"/>
                  </a:cubicBezTo>
                  <a:cubicBezTo>
                    <a:pt x="4729" y="16968"/>
                    <a:pt x="4765" y="16888"/>
                    <a:pt x="4774" y="16859"/>
                  </a:cubicBezTo>
                  <a:cubicBezTo>
                    <a:pt x="4784" y="16832"/>
                    <a:pt x="4828" y="16746"/>
                    <a:pt x="4877" y="16675"/>
                  </a:cubicBezTo>
                  <a:cubicBezTo>
                    <a:pt x="4925" y="16603"/>
                    <a:pt x="4956" y="16571"/>
                    <a:pt x="4944" y="16601"/>
                  </a:cubicBezTo>
                  <a:cubicBezTo>
                    <a:pt x="4932" y="16632"/>
                    <a:pt x="4927" y="16670"/>
                    <a:pt x="4929" y="16689"/>
                  </a:cubicBezTo>
                  <a:cubicBezTo>
                    <a:pt x="4935" y="16706"/>
                    <a:pt x="4922" y="16754"/>
                    <a:pt x="4906" y="16795"/>
                  </a:cubicBezTo>
                  <a:cubicBezTo>
                    <a:pt x="4890" y="16834"/>
                    <a:pt x="4854" y="16890"/>
                    <a:pt x="4829" y="16926"/>
                  </a:cubicBezTo>
                  <a:cubicBezTo>
                    <a:pt x="4802" y="16957"/>
                    <a:pt x="4775" y="17055"/>
                    <a:pt x="4761" y="17137"/>
                  </a:cubicBezTo>
                  <a:cubicBezTo>
                    <a:pt x="4752" y="17223"/>
                    <a:pt x="4783" y="17333"/>
                    <a:pt x="4828" y="17398"/>
                  </a:cubicBezTo>
                  <a:cubicBezTo>
                    <a:pt x="4878" y="17448"/>
                    <a:pt x="4950" y="17489"/>
                    <a:pt x="4993" y="17471"/>
                  </a:cubicBezTo>
                  <a:cubicBezTo>
                    <a:pt x="5037" y="17454"/>
                    <a:pt x="5080" y="17414"/>
                    <a:pt x="5093" y="17395"/>
                  </a:cubicBezTo>
                  <a:cubicBezTo>
                    <a:pt x="5103" y="17370"/>
                    <a:pt x="5156" y="17326"/>
                    <a:pt x="5207" y="17295"/>
                  </a:cubicBezTo>
                  <a:cubicBezTo>
                    <a:pt x="5257" y="17258"/>
                    <a:pt x="5359" y="17230"/>
                    <a:pt x="5431" y="17230"/>
                  </a:cubicBezTo>
                  <a:cubicBezTo>
                    <a:pt x="5503" y="17226"/>
                    <a:pt x="5583" y="17203"/>
                    <a:pt x="5607" y="17175"/>
                  </a:cubicBezTo>
                  <a:cubicBezTo>
                    <a:pt x="5631" y="17146"/>
                    <a:pt x="5686" y="17057"/>
                    <a:pt x="5730" y="16980"/>
                  </a:cubicBezTo>
                  <a:cubicBezTo>
                    <a:pt x="5773" y="16900"/>
                    <a:pt x="5832" y="16805"/>
                    <a:pt x="5861" y="16766"/>
                  </a:cubicBezTo>
                  <a:cubicBezTo>
                    <a:pt x="5891" y="16731"/>
                    <a:pt x="5929" y="16684"/>
                    <a:pt x="5947" y="16674"/>
                  </a:cubicBezTo>
                  <a:cubicBezTo>
                    <a:pt x="5966" y="16660"/>
                    <a:pt x="5961" y="16680"/>
                    <a:pt x="5937" y="16718"/>
                  </a:cubicBezTo>
                  <a:cubicBezTo>
                    <a:pt x="5914" y="16756"/>
                    <a:pt x="5913" y="16779"/>
                    <a:pt x="5936" y="16769"/>
                  </a:cubicBezTo>
                  <a:cubicBezTo>
                    <a:pt x="5961" y="16769"/>
                    <a:pt x="6015" y="16717"/>
                    <a:pt x="6058" y="16675"/>
                  </a:cubicBezTo>
                  <a:cubicBezTo>
                    <a:pt x="6101" y="16632"/>
                    <a:pt x="6148" y="16565"/>
                    <a:pt x="6163" y="16534"/>
                  </a:cubicBezTo>
                  <a:cubicBezTo>
                    <a:pt x="6177" y="16497"/>
                    <a:pt x="6202" y="16454"/>
                    <a:pt x="6216" y="16433"/>
                  </a:cubicBezTo>
                  <a:cubicBezTo>
                    <a:pt x="6230" y="16411"/>
                    <a:pt x="6252" y="16397"/>
                    <a:pt x="6262" y="16410"/>
                  </a:cubicBezTo>
                  <a:cubicBezTo>
                    <a:pt x="6273" y="16417"/>
                    <a:pt x="6324" y="16376"/>
                    <a:pt x="6377" y="16322"/>
                  </a:cubicBezTo>
                  <a:cubicBezTo>
                    <a:pt x="6429" y="16265"/>
                    <a:pt x="6485" y="16180"/>
                    <a:pt x="6499" y="16130"/>
                  </a:cubicBezTo>
                  <a:cubicBezTo>
                    <a:pt x="6517" y="16084"/>
                    <a:pt x="6579" y="15983"/>
                    <a:pt x="6644" y="15916"/>
                  </a:cubicBezTo>
                  <a:cubicBezTo>
                    <a:pt x="6708" y="15847"/>
                    <a:pt x="6769" y="15755"/>
                    <a:pt x="6780" y="15713"/>
                  </a:cubicBezTo>
                  <a:cubicBezTo>
                    <a:pt x="6789" y="15668"/>
                    <a:pt x="6793" y="15630"/>
                    <a:pt x="6784" y="15628"/>
                  </a:cubicBezTo>
                  <a:cubicBezTo>
                    <a:pt x="6776" y="15623"/>
                    <a:pt x="6741" y="15646"/>
                    <a:pt x="6705" y="15663"/>
                  </a:cubicBezTo>
                  <a:cubicBezTo>
                    <a:pt x="6671" y="15691"/>
                    <a:pt x="6680" y="15652"/>
                    <a:pt x="6728" y="15591"/>
                  </a:cubicBezTo>
                  <a:cubicBezTo>
                    <a:pt x="6774" y="15521"/>
                    <a:pt x="6839" y="15403"/>
                    <a:pt x="6874" y="15321"/>
                  </a:cubicBezTo>
                  <a:cubicBezTo>
                    <a:pt x="6907" y="15237"/>
                    <a:pt x="6975" y="15129"/>
                    <a:pt x="7027" y="15084"/>
                  </a:cubicBezTo>
                  <a:cubicBezTo>
                    <a:pt x="7079" y="15037"/>
                    <a:pt x="7182" y="14986"/>
                    <a:pt x="7254" y="14950"/>
                  </a:cubicBezTo>
                  <a:cubicBezTo>
                    <a:pt x="7327" y="14928"/>
                    <a:pt x="7398" y="14913"/>
                    <a:pt x="7414" y="14926"/>
                  </a:cubicBezTo>
                  <a:cubicBezTo>
                    <a:pt x="7431" y="14936"/>
                    <a:pt x="7490" y="14926"/>
                    <a:pt x="7549" y="14893"/>
                  </a:cubicBezTo>
                  <a:cubicBezTo>
                    <a:pt x="7607" y="14854"/>
                    <a:pt x="7692" y="14791"/>
                    <a:pt x="7736" y="14736"/>
                  </a:cubicBezTo>
                  <a:cubicBezTo>
                    <a:pt x="7781" y="14684"/>
                    <a:pt x="7841" y="14623"/>
                    <a:pt x="7871" y="14604"/>
                  </a:cubicBezTo>
                  <a:cubicBezTo>
                    <a:pt x="7901" y="14584"/>
                    <a:pt x="7942" y="14584"/>
                    <a:pt x="7961" y="14602"/>
                  </a:cubicBezTo>
                  <a:cubicBezTo>
                    <a:pt x="7981" y="14623"/>
                    <a:pt x="8027" y="14614"/>
                    <a:pt x="8063" y="14583"/>
                  </a:cubicBezTo>
                  <a:cubicBezTo>
                    <a:pt x="8100" y="14555"/>
                    <a:pt x="8165" y="14483"/>
                    <a:pt x="8207" y="14421"/>
                  </a:cubicBezTo>
                  <a:cubicBezTo>
                    <a:pt x="8250" y="14362"/>
                    <a:pt x="8314" y="14278"/>
                    <a:pt x="8352" y="14247"/>
                  </a:cubicBezTo>
                  <a:close/>
                  <a:moveTo>
                    <a:pt x="8352" y="142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7" name="AutoShape 1199"/>
            <p:cNvSpPr>
              <a:spLocks/>
            </p:cNvSpPr>
            <p:nvPr/>
          </p:nvSpPr>
          <p:spPr bwMode="auto">
            <a:xfrm>
              <a:off x="5410200" y="1409700"/>
              <a:ext cx="4763" cy="1588"/>
            </a:xfrm>
            <a:custGeom>
              <a:avLst/>
              <a:gdLst/>
              <a:ahLst/>
              <a:cxnLst/>
              <a:rect l="0" t="0" r="r" b="b"/>
              <a:pathLst>
                <a:path w="19465" h="19052">
                  <a:moveTo>
                    <a:pt x="7447" y="3798"/>
                  </a:moveTo>
                  <a:cubicBezTo>
                    <a:pt x="2497" y="8904"/>
                    <a:pt x="-1197" y="15607"/>
                    <a:pt x="361" y="17203"/>
                  </a:cubicBezTo>
                  <a:cubicBezTo>
                    <a:pt x="1267" y="20302"/>
                    <a:pt x="6876" y="19387"/>
                    <a:pt x="12109" y="15336"/>
                  </a:cubicBezTo>
                  <a:cubicBezTo>
                    <a:pt x="17520" y="12330"/>
                    <a:pt x="20403" y="5852"/>
                    <a:pt x="19190" y="1932"/>
                  </a:cubicBezTo>
                  <a:cubicBezTo>
                    <a:pt x="17542" y="-1298"/>
                    <a:pt x="12592" y="-346"/>
                    <a:pt x="7447" y="3798"/>
                  </a:cubicBezTo>
                  <a:close/>
                  <a:moveTo>
                    <a:pt x="7447" y="37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8" name="AutoShape 1200"/>
            <p:cNvSpPr>
              <a:spLocks/>
            </p:cNvSpPr>
            <p:nvPr/>
          </p:nvSpPr>
          <p:spPr bwMode="auto">
            <a:xfrm>
              <a:off x="5219700" y="1955800"/>
              <a:ext cx="7938" cy="9525"/>
            </a:xfrm>
            <a:custGeom>
              <a:avLst/>
              <a:gdLst/>
              <a:ahLst/>
              <a:cxnLst/>
              <a:rect l="0" t="0" r="r" b="b"/>
              <a:pathLst>
                <a:path w="21137" h="20404">
                  <a:moveTo>
                    <a:pt x="7516" y="3389"/>
                  </a:moveTo>
                  <a:cubicBezTo>
                    <a:pt x="3611" y="6135"/>
                    <a:pt x="0" y="11306"/>
                    <a:pt x="0" y="14891"/>
                  </a:cubicBezTo>
                  <a:cubicBezTo>
                    <a:pt x="0" y="18451"/>
                    <a:pt x="1513" y="20721"/>
                    <a:pt x="4085" y="20369"/>
                  </a:cubicBezTo>
                  <a:cubicBezTo>
                    <a:pt x="6540" y="19737"/>
                    <a:pt x="10997" y="18384"/>
                    <a:pt x="13745" y="16980"/>
                  </a:cubicBezTo>
                  <a:cubicBezTo>
                    <a:pt x="16543" y="15641"/>
                    <a:pt x="19765" y="11924"/>
                    <a:pt x="20788" y="8614"/>
                  </a:cubicBezTo>
                  <a:cubicBezTo>
                    <a:pt x="21600" y="5252"/>
                    <a:pt x="21047" y="1316"/>
                    <a:pt x="18592" y="487"/>
                  </a:cubicBezTo>
                  <a:cubicBezTo>
                    <a:pt x="16561" y="-879"/>
                    <a:pt x="11566" y="802"/>
                    <a:pt x="7516" y="3389"/>
                  </a:cubicBezTo>
                  <a:close/>
                  <a:moveTo>
                    <a:pt x="7516" y="33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199" name="AutoShape 1201"/>
            <p:cNvSpPr>
              <a:spLocks/>
            </p:cNvSpPr>
            <p:nvPr/>
          </p:nvSpPr>
          <p:spPr bwMode="auto">
            <a:xfrm>
              <a:off x="3683000" y="3073400"/>
              <a:ext cx="3175" cy="7938"/>
            </a:xfrm>
            <a:custGeom>
              <a:avLst/>
              <a:gdLst/>
              <a:ahLst/>
              <a:cxnLst/>
              <a:rect l="0" t="0" r="r" b="b"/>
              <a:pathLst>
                <a:path w="20557" h="20400">
                  <a:moveTo>
                    <a:pt x="5278" y="18438"/>
                  </a:moveTo>
                  <a:cubicBezTo>
                    <a:pt x="4160" y="20193"/>
                    <a:pt x="4160" y="20777"/>
                    <a:pt x="5960" y="20164"/>
                  </a:cubicBezTo>
                  <a:cubicBezTo>
                    <a:pt x="7266" y="19294"/>
                    <a:pt x="11657" y="15174"/>
                    <a:pt x="14796" y="10768"/>
                  </a:cubicBezTo>
                  <a:cubicBezTo>
                    <a:pt x="18505" y="6476"/>
                    <a:pt x="20880" y="1758"/>
                    <a:pt x="20522" y="447"/>
                  </a:cubicBezTo>
                  <a:cubicBezTo>
                    <a:pt x="20929" y="-823"/>
                    <a:pt x="17170" y="704"/>
                    <a:pt x="13461" y="3869"/>
                  </a:cubicBezTo>
                  <a:cubicBezTo>
                    <a:pt x="9422" y="6905"/>
                    <a:pt x="4457" y="12193"/>
                    <a:pt x="1837" y="15388"/>
                  </a:cubicBezTo>
                  <a:cubicBezTo>
                    <a:pt x="-671" y="18596"/>
                    <a:pt x="-615" y="19922"/>
                    <a:pt x="2033" y="18196"/>
                  </a:cubicBezTo>
                  <a:cubicBezTo>
                    <a:pt x="5004" y="16628"/>
                    <a:pt x="6859" y="16786"/>
                    <a:pt x="5278" y="18438"/>
                  </a:cubicBezTo>
                  <a:close/>
                  <a:moveTo>
                    <a:pt x="5278" y="184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0" name="AutoShape 1202"/>
            <p:cNvSpPr>
              <a:spLocks/>
            </p:cNvSpPr>
            <p:nvPr/>
          </p:nvSpPr>
          <p:spPr bwMode="auto">
            <a:xfrm>
              <a:off x="4965700" y="3111500"/>
              <a:ext cx="6350" cy="26988"/>
            </a:xfrm>
            <a:custGeom>
              <a:avLst/>
              <a:gdLst/>
              <a:ahLst/>
              <a:cxnLst/>
              <a:rect l="0" t="0" r="r" b="b"/>
              <a:pathLst>
                <a:path w="20736" h="21317">
                  <a:moveTo>
                    <a:pt x="16790" y="419"/>
                  </a:moveTo>
                  <a:cubicBezTo>
                    <a:pt x="18004" y="-160"/>
                    <a:pt x="16023" y="-150"/>
                    <a:pt x="13436" y="515"/>
                  </a:cubicBezTo>
                  <a:cubicBezTo>
                    <a:pt x="10864" y="1176"/>
                    <a:pt x="6922" y="2411"/>
                    <a:pt x="4527" y="3229"/>
                  </a:cubicBezTo>
                  <a:cubicBezTo>
                    <a:pt x="1937" y="4018"/>
                    <a:pt x="1037" y="5639"/>
                    <a:pt x="2526" y="6723"/>
                  </a:cubicBezTo>
                  <a:cubicBezTo>
                    <a:pt x="3603" y="7826"/>
                    <a:pt x="4977" y="9794"/>
                    <a:pt x="5427" y="11106"/>
                  </a:cubicBezTo>
                  <a:cubicBezTo>
                    <a:pt x="6018" y="12423"/>
                    <a:pt x="4194" y="14514"/>
                    <a:pt x="2309" y="15769"/>
                  </a:cubicBezTo>
                  <a:cubicBezTo>
                    <a:pt x="-181" y="16976"/>
                    <a:pt x="-398" y="18802"/>
                    <a:pt x="446" y="19771"/>
                  </a:cubicBezTo>
                  <a:cubicBezTo>
                    <a:pt x="1487" y="20727"/>
                    <a:pt x="3684" y="21440"/>
                    <a:pt x="5291" y="21298"/>
                  </a:cubicBezTo>
                  <a:cubicBezTo>
                    <a:pt x="6781" y="21117"/>
                    <a:pt x="10314" y="20081"/>
                    <a:pt x="13178" y="18887"/>
                  </a:cubicBezTo>
                  <a:cubicBezTo>
                    <a:pt x="15613" y="17637"/>
                    <a:pt x="17357" y="16140"/>
                    <a:pt x="16573" y="15456"/>
                  </a:cubicBezTo>
                  <a:cubicBezTo>
                    <a:pt x="15633" y="14790"/>
                    <a:pt x="13552" y="13916"/>
                    <a:pt x="12101" y="13444"/>
                  </a:cubicBezTo>
                  <a:cubicBezTo>
                    <a:pt x="10510" y="13017"/>
                    <a:pt x="9333" y="12000"/>
                    <a:pt x="9726" y="11210"/>
                  </a:cubicBezTo>
                  <a:cubicBezTo>
                    <a:pt x="9924" y="10412"/>
                    <a:pt x="12177" y="9266"/>
                    <a:pt x="14572" y="8653"/>
                  </a:cubicBezTo>
                  <a:cubicBezTo>
                    <a:pt x="16967" y="8044"/>
                    <a:pt x="19438" y="6690"/>
                    <a:pt x="20418" y="5672"/>
                  </a:cubicBezTo>
                  <a:cubicBezTo>
                    <a:pt x="21202" y="4650"/>
                    <a:pt x="20495" y="3296"/>
                    <a:pt x="18751" y="2678"/>
                  </a:cubicBezTo>
                  <a:cubicBezTo>
                    <a:pt x="16967" y="2079"/>
                    <a:pt x="16316" y="1057"/>
                    <a:pt x="16790" y="419"/>
                  </a:cubicBezTo>
                  <a:close/>
                  <a:moveTo>
                    <a:pt x="16790" y="4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1" name="AutoShape 1203"/>
            <p:cNvSpPr>
              <a:spLocks/>
            </p:cNvSpPr>
            <p:nvPr/>
          </p:nvSpPr>
          <p:spPr bwMode="auto">
            <a:xfrm>
              <a:off x="5080000" y="2959100"/>
              <a:ext cx="7938" cy="9525"/>
            </a:xfrm>
            <a:custGeom>
              <a:avLst/>
              <a:gdLst/>
              <a:ahLst/>
              <a:cxnLst/>
              <a:rect l="0" t="0" r="r" b="b"/>
              <a:pathLst>
                <a:path w="21549" h="21600">
                  <a:moveTo>
                    <a:pt x="5524" y="21600"/>
                  </a:moveTo>
                  <a:cubicBezTo>
                    <a:pt x="8036" y="21216"/>
                    <a:pt x="12853" y="19394"/>
                    <a:pt x="15962" y="16833"/>
                  </a:cubicBezTo>
                  <a:cubicBezTo>
                    <a:pt x="19259" y="14391"/>
                    <a:pt x="21461" y="10654"/>
                    <a:pt x="21549" y="8739"/>
                  </a:cubicBezTo>
                  <a:cubicBezTo>
                    <a:pt x="21312" y="6866"/>
                    <a:pt x="19722" y="4356"/>
                    <a:pt x="17774" y="3142"/>
                  </a:cubicBezTo>
                  <a:cubicBezTo>
                    <a:pt x="15870" y="1834"/>
                    <a:pt x="13152" y="1847"/>
                    <a:pt x="11781" y="2785"/>
                  </a:cubicBezTo>
                  <a:cubicBezTo>
                    <a:pt x="10414" y="3710"/>
                    <a:pt x="8779" y="3564"/>
                    <a:pt x="7887" y="2442"/>
                  </a:cubicBezTo>
                  <a:cubicBezTo>
                    <a:pt x="6964" y="1279"/>
                    <a:pt x="5034" y="0"/>
                    <a:pt x="3369" y="0"/>
                  </a:cubicBezTo>
                  <a:cubicBezTo>
                    <a:pt x="1688" y="0"/>
                    <a:pt x="290" y="738"/>
                    <a:pt x="83" y="1966"/>
                  </a:cubicBezTo>
                  <a:cubicBezTo>
                    <a:pt x="-51" y="3221"/>
                    <a:pt x="-51" y="8172"/>
                    <a:pt x="290" y="13004"/>
                  </a:cubicBezTo>
                  <a:cubicBezTo>
                    <a:pt x="512" y="17823"/>
                    <a:pt x="2936" y="21403"/>
                    <a:pt x="5524" y="21600"/>
                  </a:cubicBezTo>
                  <a:close/>
                  <a:moveTo>
                    <a:pt x="5524"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2" name="AutoShape 1204"/>
            <p:cNvSpPr>
              <a:spLocks/>
            </p:cNvSpPr>
            <p:nvPr/>
          </p:nvSpPr>
          <p:spPr bwMode="auto">
            <a:xfrm>
              <a:off x="5080000" y="2832100"/>
              <a:ext cx="7938" cy="11113"/>
            </a:xfrm>
            <a:custGeom>
              <a:avLst/>
              <a:gdLst/>
              <a:ahLst/>
              <a:cxnLst/>
              <a:rect l="0" t="0" r="r" b="b"/>
              <a:pathLst>
                <a:path w="20331" h="20465">
                  <a:moveTo>
                    <a:pt x="7159" y="18570"/>
                  </a:moveTo>
                  <a:cubicBezTo>
                    <a:pt x="10135" y="17310"/>
                    <a:pt x="13854" y="13743"/>
                    <a:pt x="15650" y="11047"/>
                  </a:cubicBezTo>
                  <a:cubicBezTo>
                    <a:pt x="17477" y="8363"/>
                    <a:pt x="19353" y="4235"/>
                    <a:pt x="20206" y="1875"/>
                  </a:cubicBezTo>
                  <a:cubicBezTo>
                    <a:pt x="20918" y="-487"/>
                    <a:pt x="18499" y="-626"/>
                    <a:pt x="14937" y="1509"/>
                  </a:cubicBezTo>
                  <a:cubicBezTo>
                    <a:pt x="11452" y="3685"/>
                    <a:pt x="6229" y="8460"/>
                    <a:pt x="3520" y="12211"/>
                  </a:cubicBezTo>
                  <a:cubicBezTo>
                    <a:pt x="714" y="15930"/>
                    <a:pt x="-682" y="19541"/>
                    <a:pt x="327" y="20133"/>
                  </a:cubicBezTo>
                  <a:cubicBezTo>
                    <a:pt x="914" y="20974"/>
                    <a:pt x="4477" y="20133"/>
                    <a:pt x="7159" y="18570"/>
                  </a:cubicBezTo>
                  <a:close/>
                  <a:moveTo>
                    <a:pt x="7159" y="185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3" name="AutoShape 1205"/>
            <p:cNvSpPr>
              <a:spLocks/>
            </p:cNvSpPr>
            <p:nvPr/>
          </p:nvSpPr>
          <p:spPr bwMode="auto">
            <a:xfrm>
              <a:off x="3619500" y="3225800"/>
              <a:ext cx="20638" cy="104775"/>
            </a:xfrm>
            <a:custGeom>
              <a:avLst/>
              <a:gdLst/>
              <a:ahLst/>
              <a:cxnLst/>
              <a:rect l="0" t="0" r="r" b="b"/>
              <a:pathLst>
                <a:path w="21272" h="21474">
                  <a:moveTo>
                    <a:pt x="25" y="18958"/>
                  </a:moveTo>
                  <a:cubicBezTo>
                    <a:pt x="113" y="19418"/>
                    <a:pt x="462" y="19778"/>
                    <a:pt x="674" y="19801"/>
                  </a:cubicBezTo>
                  <a:cubicBezTo>
                    <a:pt x="893" y="19822"/>
                    <a:pt x="930" y="19968"/>
                    <a:pt x="930" y="20168"/>
                  </a:cubicBezTo>
                  <a:cubicBezTo>
                    <a:pt x="774" y="20367"/>
                    <a:pt x="1473" y="20783"/>
                    <a:pt x="2153" y="21113"/>
                  </a:cubicBezTo>
                  <a:cubicBezTo>
                    <a:pt x="2976" y="21428"/>
                    <a:pt x="3967" y="21568"/>
                    <a:pt x="4317" y="21405"/>
                  </a:cubicBezTo>
                  <a:cubicBezTo>
                    <a:pt x="4629" y="21238"/>
                    <a:pt x="5341" y="21066"/>
                    <a:pt x="5783" y="21045"/>
                  </a:cubicBezTo>
                  <a:cubicBezTo>
                    <a:pt x="6176" y="21004"/>
                    <a:pt x="7105" y="20338"/>
                    <a:pt x="7797" y="19562"/>
                  </a:cubicBezTo>
                  <a:cubicBezTo>
                    <a:pt x="8590" y="18788"/>
                    <a:pt x="9495" y="17787"/>
                    <a:pt x="10231" y="17358"/>
                  </a:cubicBezTo>
                  <a:cubicBezTo>
                    <a:pt x="10791" y="16918"/>
                    <a:pt x="11384" y="16374"/>
                    <a:pt x="11633" y="16152"/>
                  </a:cubicBezTo>
                  <a:cubicBezTo>
                    <a:pt x="11633" y="15923"/>
                    <a:pt x="12669" y="15212"/>
                    <a:pt x="13574" y="14564"/>
                  </a:cubicBezTo>
                  <a:cubicBezTo>
                    <a:pt x="14472" y="13912"/>
                    <a:pt x="15289" y="13137"/>
                    <a:pt x="15389" y="12837"/>
                  </a:cubicBezTo>
                  <a:cubicBezTo>
                    <a:pt x="15488" y="12536"/>
                    <a:pt x="15239" y="12033"/>
                    <a:pt x="14659" y="11738"/>
                  </a:cubicBezTo>
                  <a:cubicBezTo>
                    <a:pt x="14297" y="11430"/>
                    <a:pt x="14647" y="10444"/>
                    <a:pt x="15844" y="9544"/>
                  </a:cubicBezTo>
                  <a:cubicBezTo>
                    <a:pt x="16873" y="8637"/>
                    <a:pt x="18065" y="7517"/>
                    <a:pt x="18252" y="7047"/>
                  </a:cubicBezTo>
                  <a:cubicBezTo>
                    <a:pt x="18433" y="6580"/>
                    <a:pt x="19237" y="5750"/>
                    <a:pt x="19935" y="5201"/>
                  </a:cubicBezTo>
                  <a:cubicBezTo>
                    <a:pt x="20677" y="4656"/>
                    <a:pt x="21426" y="4093"/>
                    <a:pt x="21246" y="3965"/>
                  </a:cubicBezTo>
                  <a:cubicBezTo>
                    <a:pt x="21320" y="3829"/>
                    <a:pt x="20871" y="3760"/>
                    <a:pt x="20416" y="3808"/>
                  </a:cubicBezTo>
                  <a:cubicBezTo>
                    <a:pt x="19954" y="3844"/>
                    <a:pt x="19162" y="3787"/>
                    <a:pt x="18807" y="3640"/>
                  </a:cubicBezTo>
                  <a:cubicBezTo>
                    <a:pt x="18232" y="3522"/>
                    <a:pt x="17596" y="3457"/>
                    <a:pt x="17141" y="3551"/>
                  </a:cubicBezTo>
                  <a:cubicBezTo>
                    <a:pt x="16730" y="3654"/>
                    <a:pt x="15999" y="3682"/>
                    <a:pt x="15651" y="3647"/>
                  </a:cubicBezTo>
                  <a:cubicBezTo>
                    <a:pt x="15426" y="3585"/>
                    <a:pt x="14989" y="3382"/>
                    <a:pt x="15363" y="3157"/>
                  </a:cubicBezTo>
                  <a:cubicBezTo>
                    <a:pt x="15445" y="2922"/>
                    <a:pt x="15320" y="2635"/>
                    <a:pt x="15021" y="2499"/>
                  </a:cubicBezTo>
                  <a:cubicBezTo>
                    <a:pt x="14515" y="2395"/>
                    <a:pt x="14459" y="2097"/>
                    <a:pt x="14459" y="1891"/>
                  </a:cubicBezTo>
                  <a:cubicBezTo>
                    <a:pt x="14459" y="1686"/>
                    <a:pt x="14753" y="1297"/>
                    <a:pt x="15083" y="1029"/>
                  </a:cubicBezTo>
                  <a:cubicBezTo>
                    <a:pt x="15370" y="758"/>
                    <a:pt x="15157" y="640"/>
                    <a:pt x="14603" y="768"/>
                  </a:cubicBezTo>
                  <a:cubicBezTo>
                    <a:pt x="14011" y="889"/>
                    <a:pt x="13773" y="771"/>
                    <a:pt x="13948" y="488"/>
                  </a:cubicBezTo>
                  <a:cubicBezTo>
                    <a:pt x="14129" y="207"/>
                    <a:pt x="14004" y="-32"/>
                    <a:pt x="13742" y="3"/>
                  </a:cubicBezTo>
                  <a:cubicBezTo>
                    <a:pt x="13448" y="28"/>
                    <a:pt x="12812" y="143"/>
                    <a:pt x="12563" y="298"/>
                  </a:cubicBezTo>
                  <a:cubicBezTo>
                    <a:pt x="12195" y="444"/>
                    <a:pt x="11328" y="630"/>
                    <a:pt x="10810" y="753"/>
                  </a:cubicBezTo>
                  <a:cubicBezTo>
                    <a:pt x="10093" y="827"/>
                    <a:pt x="9382" y="1258"/>
                    <a:pt x="8933" y="1641"/>
                  </a:cubicBezTo>
                  <a:cubicBezTo>
                    <a:pt x="8627" y="2031"/>
                    <a:pt x="8297" y="2314"/>
                    <a:pt x="8478" y="2314"/>
                  </a:cubicBezTo>
                  <a:cubicBezTo>
                    <a:pt x="8640" y="2294"/>
                    <a:pt x="8521" y="2564"/>
                    <a:pt x="8147" y="2907"/>
                  </a:cubicBezTo>
                  <a:cubicBezTo>
                    <a:pt x="7779" y="3247"/>
                    <a:pt x="8359" y="3438"/>
                    <a:pt x="9301" y="3294"/>
                  </a:cubicBezTo>
                  <a:cubicBezTo>
                    <a:pt x="10337" y="3180"/>
                    <a:pt x="10480" y="3276"/>
                    <a:pt x="9807" y="3549"/>
                  </a:cubicBezTo>
                  <a:cubicBezTo>
                    <a:pt x="9014" y="3810"/>
                    <a:pt x="8029" y="4103"/>
                    <a:pt x="7567" y="4200"/>
                  </a:cubicBezTo>
                  <a:cubicBezTo>
                    <a:pt x="7043" y="4288"/>
                    <a:pt x="6033" y="4694"/>
                    <a:pt x="5159" y="5088"/>
                  </a:cubicBezTo>
                  <a:cubicBezTo>
                    <a:pt x="4417" y="5493"/>
                    <a:pt x="3800" y="5869"/>
                    <a:pt x="3900" y="5931"/>
                  </a:cubicBezTo>
                  <a:cubicBezTo>
                    <a:pt x="3980" y="5993"/>
                    <a:pt x="3506" y="6392"/>
                    <a:pt x="2701" y="6813"/>
                  </a:cubicBezTo>
                  <a:cubicBezTo>
                    <a:pt x="1885" y="7237"/>
                    <a:pt x="1448" y="7660"/>
                    <a:pt x="1286" y="7727"/>
                  </a:cubicBezTo>
                  <a:cubicBezTo>
                    <a:pt x="1448" y="7794"/>
                    <a:pt x="1816" y="7679"/>
                    <a:pt x="2521" y="7454"/>
                  </a:cubicBezTo>
                  <a:cubicBezTo>
                    <a:pt x="3201" y="7228"/>
                    <a:pt x="3638" y="7281"/>
                    <a:pt x="3158" y="7553"/>
                  </a:cubicBezTo>
                  <a:cubicBezTo>
                    <a:pt x="2790" y="7834"/>
                    <a:pt x="2876" y="7949"/>
                    <a:pt x="3487" y="7850"/>
                  </a:cubicBezTo>
                  <a:cubicBezTo>
                    <a:pt x="3862" y="7712"/>
                    <a:pt x="4186" y="7891"/>
                    <a:pt x="3699" y="8187"/>
                  </a:cubicBezTo>
                  <a:cubicBezTo>
                    <a:pt x="3288" y="8489"/>
                    <a:pt x="3182" y="8841"/>
                    <a:pt x="3238" y="8975"/>
                  </a:cubicBezTo>
                  <a:cubicBezTo>
                    <a:pt x="3413" y="9103"/>
                    <a:pt x="4073" y="8985"/>
                    <a:pt x="4835" y="8715"/>
                  </a:cubicBezTo>
                  <a:cubicBezTo>
                    <a:pt x="5577" y="8445"/>
                    <a:pt x="5003" y="8703"/>
                    <a:pt x="3837" y="9318"/>
                  </a:cubicBezTo>
                  <a:cubicBezTo>
                    <a:pt x="2621" y="9928"/>
                    <a:pt x="1286" y="10687"/>
                    <a:pt x="1080" y="11023"/>
                  </a:cubicBezTo>
                  <a:cubicBezTo>
                    <a:pt x="812" y="11355"/>
                    <a:pt x="999" y="11515"/>
                    <a:pt x="1448" y="11370"/>
                  </a:cubicBezTo>
                  <a:cubicBezTo>
                    <a:pt x="1885" y="11227"/>
                    <a:pt x="2558" y="10869"/>
                    <a:pt x="3032" y="10578"/>
                  </a:cubicBezTo>
                  <a:cubicBezTo>
                    <a:pt x="3457" y="10282"/>
                    <a:pt x="4423" y="9855"/>
                    <a:pt x="5196" y="9630"/>
                  </a:cubicBezTo>
                  <a:cubicBezTo>
                    <a:pt x="5908" y="9400"/>
                    <a:pt x="6051" y="9552"/>
                    <a:pt x="5365" y="9954"/>
                  </a:cubicBezTo>
                  <a:cubicBezTo>
                    <a:pt x="4685" y="10356"/>
                    <a:pt x="3550" y="10939"/>
                    <a:pt x="2889" y="11254"/>
                  </a:cubicBezTo>
                  <a:cubicBezTo>
                    <a:pt x="2240" y="11573"/>
                    <a:pt x="1280" y="12028"/>
                    <a:pt x="1024" y="12287"/>
                  </a:cubicBezTo>
                  <a:cubicBezTo>
                    <a:pt x="612" y="12538"/>
                    <a:pt x="706" y="12671"/>
                    <a:pt x="1011" y="12570"/>
                  </a:cubicBezTo>
                  <a:cubicBezTo>
                    <a:pt x="1310" y="12467"/>
                    <a:pt x="1198" y="12672"/>
                    <a:pt x="899" y="13026"/>
                  </a:cubicBezTo>
                  <a:cubicBezTo>
                    <a:pt x="518" y="13381"/>
                    <a:pt x="992" y="13509"/>
                    <a:pt x="1841" y="13295"/>
                  </a:cubicBezTo>
                  <a:cubicBezTo>
                    <a:pt x="2790" y="13100"/>
                    <a:pt x="3164" y="13146"/>
                    <a:pt x="2727" y="13415"/>
                  </a:cubicBezTo>
                  <a:cubicBezTo>
                    <a:pt x="2333" y="13691"/>
                    <a:pt x="2271" y="13836"/>
                    <a:pt x="2465" y="13876"/>
                  </a:cubicBezTo>
                  <a:cubicBezTo>
                    <a:pt x="2689" y="13842"/>
                    <a:pt x="2701" y="14054"/>
                    <a:pt x="2526" y="14325"/>
                  </a:cubicBezTo>
                  <a:cubicBezTo>
                    <a:pt x="2314" y="14594"/>
                    <a:pt x="1673" y="15078"/>
                    <a:pt x="1137" y="15406"/>
                  </a:cubicBezTo>
                  <a:cubicBezTo>
                    <a:pt x="488" y="15727"/>
                    <a:pt x="250" y="16187"/>
                    <a:pt x="338" y="16418"/>
                  </a:cubicBezTo>
                  <a:cubicBezTo>
                    <a:pt x="425" y="16646"/>
                    <a:pt x="880" y="16580"/>
                    <a:pt x="1717" y="16317"/>
                  </a:cubicBezTo>
                  <a:cubicBezTo>
                    <a:pt x="2227" y="16022"/>
                    <a:pt x="3101" y="15907"/>
                    <a:pt x="2913" y="16024"/>
                  </a:cubicBezTo>
                  <a:cubicBezTo>
                    <a:pt x="3101" y="16139"/>
                    <a:pt x="3313" y="16187"/>
                    <a:pt x="3719" y="16106"/>
                  </a:cubicBezTo>
                  <a:cubicBezTo>
                    <a:pt x="4130" y="16024"/>
                    <a:pt x="3381" y="16445"/>
                    <a:pt x="2159" y="17046"/>
                  </a:cubicBezTo>
                  <a:cubicBezTo>
                    <a:pt x="856" y="17638"/>
                    <a:pt x="-174" y="18501"/>
                    <a:pt x="25" y="18958"/>
                  </a:cubicBezTo>
                  <a:close/>
                  <a:moveTo>
                    <a:pt x="25" y="189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4" name="AutoShape 1206"/>
            <p:cNvSpPr>
              <a:spLocks/>
            </p:cNvSpPr>
            <p:nvPr/>
          </p:nvSpPr>
          <p:spPr bwMode="auto">
            <a:xfrm>
              <a:off x="3644900" y="3238500"/>
              <a:ext cx="0" cy="1588"/>
            </a:xfrm>
            <a:custGeom>
              <a:avLst/>
              <a:gdLst/>
              <a:ahLst/>
              <a:cxnLst/>
              <a:rect l="0" t="0" r="r" b="b"/>
              <a:pathLst>
                <a:path w="17662" h="17664">
                  <a:moveTo>
                    <a:pt x="1753" y="17004"/>
                  </a:moveTo>
                  <a:cubicBezTo>
                    <a:pt x="5926" y="19492"/>
                    <a:pt x="12872" y="14688"/>
                    <a:pt x="16265" y="6964"/>
                  </a:cubicBezTo>
                  <a:cubicBezTo>
                    <a:pt x="19743" y="-630"/>
                    <a:pt x="16628" y="-2108"/>
                    <a:pt x="7987" y="2998"/>
                  </a:cubicBezTo>
                  <a:cubicBezTo>
                    <a:pt x="54" y="8529"/>
                    <a:pt x="-1857" y="14265"/>
                    <a:pt x="1753" y="17004"/>
                  </a:cubicBezTo>
                  <a:close/>
                  <a:moveTo>
                    <a:pt x="1753" y="170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5" name="AutoShape 1207"/>
            <p:cNvSpPr>
              <a:spLocks/>
            </p:cNvSpPr>
            <p:nvPr/>
          </p:nvSpPr>
          <p:spPr bwMode="auto">
            <a:xfrm>
              <a:off x="4965700" y="3136900"/>
              <a:ext cx="3175" cy="6350"/>
            </a:xfrm>
            <a:custGeom>
              <a:avLst/>
              <a:gdLst/>
              <a:ahLst/>
              <a:cxnLst/>
              <a:rect l="0" t="0" r="r" b="b"/>
              <a:pathLst>
                <a:path w="21016" h="19905">
                  <a:moveTo>
                    <a:pt x="13475" y="399"/>
                  </a:moveTo>
                  <a:cubicBezTo>
                    <a:pt x="9164" y="1766"/>
                    <a:pt x="3500" y="5500"/>
                    <a:pt x="1650" y="9109"/>
                  </a:cubicBezTo>
                  <a:cubicBezTo>
                    <a:pt x="-584" y="12676"/>
                    <a:pt x="-485" y="17262"/>
                    <a:pt x="1557" y="19148"/>
                  </a:cubicBezTo>
                  <a:cubicBezTo>
                    <a:pt x="4211" y="20795"/>
                    <a:pt x="8514" y="19720"/>
                    <a:pt x="12825" y="16281"/>
                  </a:cubicBezTo>
                  <a:cubicBezTo>
                    <a:pt x="16838" y="12638"/>
                    <a:pt x="20498" y="7238"/>
                    <a:pt x="21016" y="4042"/>
                  </a:cubicBezTo>
                  <a:cubicBezTo>
                    <a:pt x="21016" y="804"/>
                    <a:pt x="18004" y="-805"/>
                    <a:pt x="13475" y="399"/>
                  </a:cubicBezTo>
                  <a:close/>
                  <a:moveTo>
                    <a:pt x="13475" y="3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6" name="AutoShape 1208"/>
            <p:cNvSpPr>
              <a:spLocks/>
            </p:cNvSpPr>
            <p:nvPr/>
          </p:nvSpPr>
          <p:spPr bwMode="auto">
            <a:xfrm>
              <a:off x="5080000" y="2133600"/>
              <a:ext cx="9525" cy="9525"/>
            </a:xfrm>
            <a:custGeom>
              <a:avLst/>
              <a:gdLst/>
              <a:ahLst/>
              <a:cxnLst/>
              <a:rect l="0" t="0" r="r" b="b"/>
              <a:pathLst>
                <a:path w="20643" h="21077">
                  <a:moveTo>
                    <a:pt x="15358" y="1664"/>
                  </a:moveTo>
                  <a:cubicBezTo>
                    <a:pt x="12367" y="3670"/>
                    <a:pt x="7389" y="9042"/>
                    <a:pt x="3854" y="13182"/>
                  </a:cubicBezTo>
                  <a:cubicBezTo>
                    <a:pt x="615" y="17595"/>
                    <a:pt x="-957" y="20947"/>
                    <a:pt x="615" y="21077"/>
                  </a:cubicBezTo>
                  <a:cubicBezTo>
                    <a:pt x="2212" y="20973"/>
                    <a:pt x="4825" y="19561"/>
                    <a:pt x="6491" y="17738"/>
                  </a:cubicBezTo>
                  <a:cubicBezTo>
                    <a:pt x="8254" y="15965"/>
                    <a:pt x="12060" y="12252"/>
                    <a:pt x="15016" y="9469"/>
                  </a:cubicBezTo>
                  <a:cubicBezTo>
                    <a:pt x="18052" y="6802"/>
                    <a:pt x="20406" y="3127"/>
                    <a:pt x="20643" y="1330"/>
                  </a:cubicBezTo>
                  <a:cubicBezTo>
                    <a:pt x="20381" y="-470"/>
                    <a:pt x="18219" y="-523"/>
                    <a:pt x="15358" y="1664"/>
                  </a:cubicBezTo>
                  <a:close/>
                  <a:moveTo>
                    <a:pt x="15358" y="16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7" name="AutoShape 1209"/>
            <p:cNvSpPr>
              <a:spLocks/>
            </p:cNvSpPr>
            <p:nvPr/>
          </p:nvSpPr>
          <p:spPr bwMode="auto">
            <a:xfrm>
              <a:off x="3644900" y="3073400"/>
              <a:ext cx="34925" cy="95250"/>
            </a:xfrm>
            <a:custGeom>
              <a:avLst/>
              <a:gdLst/>
              <a:ahLst/>
              <a:cxnLst/>
              <a:rect l="0" t="0" r="r" b="b"/>
              <a:pathLst>
                <a:path w="21373" h="21548">
                  <a:moveTo>
                    <a:pt x="1192" y="20881"/>
                  </a:moveTo>
                  <a:cubicBezTo>
                    <a:pt x="1511" y="20545"/>
                    <a:pt x="1829" y="20150"/>
                    <a:pt x="1967" y="19999"/>
                  </a:cubicBezTo>
                  <a:cubicBezTo>
                    <a:pt x="2014" y="19845"/>
                    <a:pt x="1863" y="19774"/>
                    <a:pt x="1726" y="19875"/>
                  </a:cubicBezTo>
                  <a:cubicBezTo>
                    <a:pt x="1489" y="19946"/>
                    <a:pt x="1659" y="19723"/>
                    <a:pt x="1878" y="19337"/>
                  </a:cubicBezTo>
                  <a:cubicBezTo>
                    <a:pt x="2229" y="18960"/>
                    <a:pt x="2622" y="18231"/>
                    <a:pt x="2992" y="17739"/>
                  </a:cubicBezTo>
                  <a:cubicBezTo>
                    <a:pt x="3270" y="17238"/>
                    <a:pt x="3959" y="16449"/>
                    <a:pt x="4396" y="15974"/>
                  </a:cubicBezTo>
                  <a:cubicBezTo>
                    <a:pt x="4896" y="15507"/>
                    <a:pt x="5362" y="14861"/>
                    <a:pt x="5580" y="14556"/>
                  </a:cubicBezTo>
                  <a:cubicBezTo>
                    <a:pt x="5814" y="14252"/>
                    <a:pt x="6384" y="13627"/>
                    <a:pt x="6872" y="13161"/>
                  </a:cubicBezTo>
                  <a:cubicBezTo>
                    <a:pt x="7399" y="12708"/>
                    <a:pt x="8069" y="12224"/>
                    <a:pt x="8376" y="12088"/>
                  </a:cubicBezTo>
                  <a:cubicBezTo>
                    <a:pt x="8713" y="11963"/>
                    <a:pt x="9258" y="11553"/>
                    <a:pt x="9539" y="11174"/>
                  </a:cubicBezTo>
                  <a:cubicBezTo>
                    <a:pt x="9869" y="10801"/>
                    <a:pt x="9858" y="10535"/>
                    <a:pt x="9657" y="10625"/>
                  </a:cubicBezTo>
                  <a:cubicBezTo>
                    <a:pt x="9354" y="10649"/>
                    <a:pt x="8995" y="10904"/>
                    <a:pt x="8754" y="11086"/>
                  </a:cubicBezTo>
                  <a:cubicBezTo>
                    <a:pt x="8432" y="11253"/>
                    <a:pt x="8054" y="11460"/>
                    <a:pt x="7924" y="11556"/>
                  </a:cubicBezTo>
                  <a:cubicBezTo>
                    <a:pt x="7688" y="11614"/>
                    <a:pt x="7895" y="11410"/>
                    <a:pt x="8325" y="11069"/>
                  </a:cubicBezTo>
                  <a:cubicBezTo>
                    <a:pt x="8658" y="10713"/>
                    <a:pt x="9276" y="10370"/>
                    <a:pt x="9491" y="10269"/>
                  </a:cubicBezTo>
                  <a:cubicBezTo>
                    <a:pt x="9706" y="10169"/>
                    <a:pt x="10431" y="9775"/>
                    <a:pt x="10887" y="9350"/>
                  </a:cubicBezTo>
                  <a:cubicBezTo>
                    <a:pt x="11498" y="8955"/>
                    <a:pt x="12239" y="8151"/>
                    <a:pt x="12782" y="7611"/>
                  </a:cubicBezTo>
                  <a:cubicBezTo>
                    <a:pt x="13290" y="7068"/>
                    <a:pt x="14164" y="6261"/>
                    <a:pt x="14690" y="5810"/>
                  </a:cubicBezTo>
                  <a:cubicBezTo>
                    <a:pt x="15249" y="5369"/>
                    <a:pt x="16119" y="4561"/>
                    <a:pt x="16675" y="4021"/>
                  </a:cubicBezTo>
                  <a:cubicBezTo>
                    <a:pt x="17234" y="3478"/>
                    <a:pt x="18507" y="2340"/>
                    <a:pt x="19600" y="1503"/>
                  </a:cubicBezTo>
                  <a:cubicBezTo>
                    <a:pt x="20626" y="654"/>
                    <a:pt x="21459" y="18"/>
                    <a:pt x="21366" y="0"/>
                  </a:cubicBezTo>
                  <a:cubicBezTo>
                    <a:pt x="21296" y="28"/>
                    <a:pt x="20689" y="369"/>
                    <a:pt x="20059" y="779"/>
                  </a:cubicBezTo>
                  <a:cubicBezTo>
                    <a:pt x="19452" y="1194"/>
                    <a:pt x="18300" y="2020"/>
                    <a:pt x="17563" y="2630"/>
                  </a:cubicBezTo>
                  <a:cubicBezTo>
                    <a:pt x="16815" y="3236"/>
                    <a:pt x="15738" y="4201"/>
                    <a:pt x="15093" y="4762"/>
                  </a:cubicBezTo>
                  <a:cubicBezTo>
                    <a:pt x="14508" y="5333"/>
                    <a:pt x="13734" y="5973"/>
                    <a:pt x="13331" y="6160"/>
                  </a:cubicBezTo>
                  <a:cubicBezTo>
                    <a:pt x="13024" y="6370"/>
                    <a:pt x="12764" y="6395"/>
                    <a:pt x="12902" y="6240"/>
                  </a:cubicBezTo>
                  <a:cubicBezTo>
                    <a:pt x="12998" y="6078"/>
                    <a:pt x="13097" y="5878"/>
                    <a:pt x="13097" y="5792"/>
                  </a:cubicBezTo>
                  <a:cubicBezTo>
                    <a:pt x="13038" y="5708"/>
                    <a:pt x="13645" y="5281"/>
                    <a:pt x="14320" y="4844"/>
                  </a:cubicBezTo>
                  <a:cubicBezTo>
                    <a:pt x="15023" y="4417"/>
                    <a:pt x="15905" y="3757"/>
                    <a:pt x="16404" y="3402"/>
                  </a:cubicBezTo>
                  <a:cubicBezTo>
                    <a:pt x="16856" y="3042"/>
                    <a:pt x="17553" y="2439"/>
                    <a:pt x="17904" y="2060"/>
                  </a:cubicBezTo>
                  <a:cubicBezTo>
                    <a:pt x="18248" y="1675"/>
                    <a:pt x="18663" y="1192"/>
                    <a:pt x="18897" y="997"/>
                  </a:cubicBezTo>
                  <a:cubicBezTo>
                    <a:pt x="19034" y="790"/>
                    <a:pt x="19170" y="595"/>
                    <a:pt x="19070" y="575"/>
                  </a:cubicBezTo>
                  <a:cubicBezTo>
                    <a:pt x="18959" y="575"/>
                    <a:pt x="18682" y="736"/>
                    <a:pt x="18315" y="986"/>
                  </a:cubicBezTo>
                  <a:cubicBezTo>
                    <a:pt x="18063" y="1253"/>
                    <a:pt x="17549" y="1569"/>
                    <a:pt x="17308" y="1709"/>
                  </a:cubicBezTo>
                  <a:cubicBezTo>
                    <a:pt x="17030" y="1841"/>
                    <a:pt x="17282" y="1633"/>
                    <a:pt x="17675" y="1212"/>
                  </a:cubicBezTo>
                  <a:cubicBezTo>
                    <a:pt x="18163" y="804"/>
                    <a:pt x="18226" y="477"/>
                    <a:pt x="17956" y="496"/>
                  </a:cubicBezTo>
                  <a:cubicBezTo>
                    <a:pt x="17689" y="471"/>
                    <a:pt x="16497" y="1348"/>
                    <a:pt x="15397" y="2348"/>
                  </a:cubicBezTo>
                  <a:cubicBezTo>
                    <a:pt x="14235" y="3341"/>
                    <a:pt x="12998" y="4599"/>
                    <a:pt x="12509" y="5127"/>
                  </a:cubicBezTo>
                  <a:cubicBezTo>
                    <a:pt x="12031" y="5660"/>
                    <a:pt x="11320" y="6402"/>
                    <a:pt x="10924" y="6781"/>
                  </a:cubicBezTo>
                  <a:cubicBezTo>
                    <a:pt x="10457" y="7147"/>
                    <a:pt x="9969" y="7687"/>
                    <a:pt x="9720" y="7967"/>
                  </a:cubicBezTo>
                  <a:cubicBezTo>
                    <a:pt x="9472" y="8248"/>
                    <a:pt x="9439" y="8467"/>
                    <a:pt x="9565" y="8418"/>
                  </a:cubicBezTo>
                  <a:cubicBezTo>
                    <a:pt x="9720" y="8447"/>
                    <a:pt x="9832" y="8518"/>
                    <a:pt x="9724" y="8699"/>
                  </a:cubicBezTo>
                  <a:cubicBezTo>
                    <a:pt x="9724" y="8885"/>
                    <a:pt x="9358" y="9254"/>
                    <a:pt x="9173" y="9534"/>
                  </a:cubicBezTo>
                  <a:cubicBezTo>
                    <a:pt x="8928" y="9807"/>
                    <a:pt x="8791" y="9957"/>
                    <a:pt x="8680" y="9957"/>
                  </a:cubicBezTo>
                  <a:cubicBezTo>
                    <a:pt x="8680" y="9911"/>
                    <a:pt x="8458" y="9916"/>
                    <a:pt x="8298" y="9975"/>
                  </a:cubicBezTo>
                  <a:cubicBezTo>
                    <a:pt x="8109" y="10022"/>
                    <a:pt x="7754" y="10219"/>
                    <a:pt x="7639" y="10414"/>
                  </a:cubicBezTo>
                  <a:cubicBezTo>
                    <a:pt x="7421" y="10600"/>
                    <a:pt x="7299" y="10925"/>
                    <a:pt x="7188" y="11117"/>
                  </a:cubicBezTo>
                  <a:cubicBezTo>
                    <a:pt x="7188" y="11314"/>
                    <a:pt x="6710" y="11799"/>
                    <a:pt x="6284" y="12199"/>
                  </a:cubicBezTo>
                  <a:cubicBezTo>
                    <a:pt x="5843" y="12598"/>
                    <a:pt x="5540" y="12955"/>
                    <a:pt x="5633" y="12955"/>
                  </a:cubicBezTo>
                  <a:cubicBezTo>
                    <a:pt x="5710" y="12970"/>
                    <a:pt x="5607" y="13173"/>
                    <a:pt x="5670" y="13404"/>
                  </a:cubicBezTo>
                  <a:cubicBezTo>
                    <a:pt x="5532" y="13628"/>
                    <a:pt x="5336" y="13875"/>
                    <a:pt x="5110" y="13958"/>
                  </a:cubicBezTo>
                  <a:cubicBezTo>
                    <a:pt x="4851" y="14023"/>
                    <a:pt x="4396" y="14313"/>
                    <a:pt x="4118" y="14594"/>
                  </a:cubicBezTo>
                  <a:cubicBezTo>
                    <a:pt x="3825" y="14872"/>
                    <a:pt x="3429" y="15296"/>
                    <a:pt x="3263" y="15547"/>
                  </a:cubicBezTo>
                  <a:cubicBezTo>
                    <a:pt x="3147" y="15799"/>
                    <a:pt x="3122" y="15943"/>
                    <a:pt x="3359" y="15907"/>
                  </a:cubicBezTo>
                  <a:cubicBezTo>
                    <a:pt x="3592" y="15865"/>
                    <a:pt x="3533" y="16020"/>
                    <a:pt x="3288" y="16273"/>
                  </a:cubicBezTo>
                  <a:cubicBezTo>
                    <a:pt x="3015" y="16526"/>
                    <a:pt x="2574" y="17100"/>
                    <a:pt x="2170" y="17534"/>
                  </a:cubicBezTo>
                  <a:cubicBezTo>
                    <a:pt x="1778" y="17973"/>
                    <a:pt x="1129" y="19075"/>
                    <a:pt x="570" y="19972"/>
                  </a:cubicBezTo>
                  <a:cubicBezTo>
                    <a:pt x="118" y="20879"/>
                    <a:pt x="-141" y="21600"/>
                    <a:pt x="81" y="21545"/>
                  </a:cubicBezTo>
                  <a:cubicBezTo>
                    <a:pt x="323" y="21500"/>
                    <a:pt x="834" y="21208"/>
                    <a:pt x="1192" y="20881"/>
                  </a:cubicBezTo>
                  <a:close/>
                  <a:moveTo>
                    <a:pt x="1192" y="2088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8" name="AutoShape 1210"/>
            <p:cNvSpPr>
              <a:spLocks/>
            </p:cNvSpPr>
            <p:nvPr/>
          </p:nvSpPr>
          <p:spPr bwMode="auto">
            <a:xfrm>
              <a:off x="5054600" y="2971800"/>
              <a:ext cx="11113" cy="12700"/>
            </a:xfrm>
            <a:custGeom>
              <a:avLst/>
              <a:gdLst/>
              <a:ahLst/>
              <a:cxnLst/>
              <a:rect l="0" t="0" r="r" b="b"/>
              <a:pathLst>
                <a:path w="20990" h="21298">
                  <a:moveTo>
                    <a:pt x="6905" y="11661"/>
                  </a:moveTo>
                  <a:cubicBezTo>
                    <a:pt x="5116" y="11357"/>
                    <a:pt x="3080" y="11455"/>
                    <a:pt x="2325" y="12443"/>
                  </a:cubicBezTo>
                  <a:cubicBezTo>
                    <a:pt x="1535" y="13432"/>
                    <a:pt x="502" y="15377"/>
                    <a:pt x="182" y="16846"/>
                  </a:cubicBezTo>
                  <a:cubicBezTo>
                    <a:pt x="-436" y="18254"/>
                    <a:pt x="620" y="20142"/>
                    <a:pt x="1888" y="21033"/>
                  </a:cubicBezTo>
                  <a:cubicBezTo>
                    <a:pt x="3368" y="21600"/>
                    <a:pt x="6639" y="21305"/>
                    <a:pt x="9378" y="19693"/>
                  </a:cubicBezTo>
                  <a:cubicBezTo>
                    <a:pt x="12234" y="18234"/>
                    <a:pt x="16112" y="14684"/>
                    <a:pt x="17871" y="11886"/>
                  </a:cubicBezTo>
                  <a:cubicBezTo>
                    <a:pt x="19841" y="9215"/>
                    <a:pt x="21164" y="5439"/>
                    <a:pt x="20972" y="3572"/>
                  </a:cubicBezTo>
                  <a:cubicBezTo>
                    <a:pt x="20822" y="1703"/>
                    <a:pt x="19981" y="343"/>
                    <a:pt x="19438" y="0"/>
                  </a:cubicBezTo>
                  <a:cubicBezTo>
                    <a:pt x="18755" y="0"/>
                    <a:pt x="18159" y="657"/>
                    <a:pt x="18436" y="1635"/>
                  </a:cubicBezTo>
                  <a:cubicBezTo>
                    <a:pt x="18532" y="2632"/>
                    <a:pt x="17816" y="5157"/>
                    <a:pt x="16559" y="7142"/>
                  </a:cubicBezTo>
                  <a:cubicBezTo>
                    <a:pt x="15324" y="9117"/>
                    <a:pt x="13629" y="11553"/>
                    <a:pt x="12276" y="11719"/>
                  </a:cubicBezTo>
                  <a:cubicBezTo>
                    <a:pt x="11093" y="12355"/>
                    <a:pt x="8601" y="12238"/>
                    <a:pt x="6905" y="11661"/>
                  </a:cubicBezTo>
                  <a:close/>
                  <a:moveTo>
                    <a:pt x="6905" y="116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09" name="AutoShape 1211"/>
            <p:cNvSpPr>
              <a:spLocks/>
            </p:cNvSpPr>
            <p:nvPr/>
          </p:nvSpPr>
          <p:spPr bwMode="auto">
            <a:xfrm>
              <a:off x="4876800" y="2387600"/>
              <a:ext cx="23813" cy="25400"/>
            </a:xfrm>
            <a:custGeom>
              <a:avLst/>
              <a:gdLst/>
              <a:ahLst/>
              <a:cxnLst/>
              <a:rect l="0" t="0" r="r" b="b"/>
              <a:pathLst>
                <a:path w="21444" h="21239">
                  <a:moveTo>
                    <a:pt x="17947" y="530"/>
                  </a:moveTo>
                  <a:cubicBezTo>
                    <a:pt x="16113" y="1242"/>
                    <a:pt x="12950" y="3069"/>
                    <a:pt x="10917" y="4706"/>
                  </a:cubicBezTo>
                  <a:cubicBezTo>
                    <a:pt x="8924" y="6350"/>
                    <a:pt x="6940" y="8269"/>
                    <a:pt x="6751" y="9012"/>
                  </a:cubicBezTo>
                  <a:cubicBezTo>
                    <a:pt x="6366" y="9681"/>
                    <a:pt x="5520" y="11013"/>
                    <a:pt x="4635" y="11862"/>
                  </a:cubicBezTo>
                  <a:cubicBezTo>
                    <a:pt x="3854" y="12783"/>
                    <a:pt x="2318" y="14514"/>
                    <a:pt x="1555" y="15917"/>
                  </a:cubicBezTo>
                  <a:cubicBezTo>
                    <a:pt x="736" y="17309"/>
                    <a:pt x="0" y="19085"/>
                    <a:pt x="0" y="19935"/>
                  </a:cubicBezTo>
                  <a:cubicBezTo>
                    <a:pt x="84" y="20779"/>
                    <a:pt x="473" y="21393"/>
                    <a:pt x="1059" y="21204"/>
                  </a:cubicBezTo>
                  <a:cubicBezTo>
                    <a:pt x="1654" y="21029"/>
                    <a:pt x="3599" y="19745"/>
                    <a:pt x="5369" y="18312"/>
                  </a:cubicBezTo>
                  <a:cubicBezTo>
                    <a:pt x="7158" y="16904"/>
                    <a:pt x="9441" y="15466"/>
                    <a:pt x="10483" y="15194"/>
                  </a:cubicBezTo>
                  <a:cubicBezTo>
                    <a:pt x="11569" y="15036"/>
                    <a:pt x="13034" y="13910"/>
                    <a:pt x="13858" y="12952"/>
                  </a:cubicBezTo>
                  <a:cubicBezTo>
                    <a:pt x="14722" y="12041"/>
                    <a:pt x="16542" y="10414"/>
                    <a:pt x="17885" y="9232"/>
                  </a:cubicBezTo>
                  <a:cubicBezTo>
                    <a:pt x="19338" y="8192"/>
                    <a:pt x="20648" y="6672"/>
                    <a:pt x="20881" y="5976"/>
                  </a:cubicBezTo>
                  <a:cubicBezTo>
                    <a:pt x="21177" y="5301"/>
                    <a:pt x="21088" y="4522"/>
                    <a:pt x="20725" y="4451"/>
                  </a:cubicBezTo>
                  <a:cubicBezTo>
                    <a:pt x="20464" y="4211"/>
                    <a:pt x="20425" y="3504"/>
                    <a:pt x="20775" y="2695"/>
                  </a:cubicBezTo>
                  <a:cubicBezTo>
                    <a:pt x="21076" y="1855"/>
                    <a:pt x="21600" y="765"/>
                    <a:pt x="21399" y="294"/>
                  </a:cubicBezTo>
                  <a:cubicBezTo>
                    <a:pt x="21361" y="-207"/>
                    <a:pt x="19856" y="-28"/>
                    <a:pt x="17947" y="530"/>
                  </a:cubicBezTo>
                  <a:close/>
                  <a:moveTo>
                    <a:pt x="17947" y="5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0" name="AutoShape 1212"/>
            <p:cNvSpPr>
              <a:spLocks/>
            </p:cNvSpPr>
            <p:nvPr/>
          </p:nvSpPr>
          <p:spPr bwMode="auto">
            <a:xfrm>
              <a:off x="4775200" y="2298700"/>
              <a:ext cx="14288" cy="4763"/>
            </a:xfrm>
            <a:custGeom>
              <a:avLst/>
              <a:gdLst/>
              <a:ahLst/>
              <a:cxnLst/>
              <a:rect l="0" t="0" r="r" b="b"/>
              <a:pathLst>
                <a:path w="20724" h="20563">
                  <a:moveTo>
                    <a:pt x="16943" y="12455"/>
                  </a:moveTo>
                  <a:cubicBezTo>
                    <a:pt x="15363" y="11591"/>
                    <a:pt x="12467" y="8221"/>
                    <a:pt x="10492" y="5101"/>
                  </a:cubicBezTo>
                  <a:cubicBezTo>
                    <a:pt x="8561" y="1877"/>
                    <a:pt x="5805" y="-419"/>
                    <a:pt x="4487" y="64"/>
                  </a:cubicBezTo>
                  <a:cubicBezTo>
                    <a:pt x="3154" y="569"/>
                    <a:pt x="1293" y="1476"/>
                    <a:pt x="468" y="2740"/>
                  </a:cubicBezTo>
                  <a:cubicBezTo>
                    <a:pt x="-409" y="3690"/>
                    <a:pt x="-41" y="6831"/>
                    <a:pt x="1478" y="7944"/>
                  </a:cubicBezTo>
                  <a:cubicBezTo>
                    <a:pt x="2864" y="9844"/>
                    <a:pt x="5102" y="13132"/>
                    <a:pt x="5945" y="16356"/>
                  </a:cubicBezTo>
                  <a:cubicBezTo>
                    <a:pt x="7069" y="19053"/>
                    <a:pt x="9210" y="21181"/>
                    <a:pt x="10851" y="20400"/>
                  </a:cubicBezTo>
                  <a:cubicBezTo>
                    <a:pt x="12528" y="20210"/>
                    <a:pt x="15548" y="19537"/>
                    <a:pt x="17628" y="19852"/>
                  </a:cubicBezTo>
                  <a:cubicBezTo>
                    <a:pt x="19656" y="20715"/>
                    <a:pt x="21191" y="18756"/>
                    <a:pt x="20594" y="17323"/>
                  </a:cubicBezTo>
                  <a:cubicBezTo>
                    <a:pt x="20146" y="15597"/>
                    <a:pt x="18532" y="13046"/>
                    <a:pt x="16943" y="12455"/>
                  </a:cubicBezTo>
                  <a:close/>
                  <a:moveTo>
                    <a:pt x="16943" y="124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1" name="AutoShape 1213"/>
            <p:cNvSpPr>
              <a:spLocks/>
            </p:cNvSpPr>
            <p:nvPr/>
          </p:nvSpPr>
          <p:spPr bwMode="auto">
            <a:xfrm>
              <a:off x="4876800" y="2273300"/>
              <a:ext cx="15875" cy="12700"/>
            </a:xfrm>
            <a:custGeom>
              <a:avLst/>
              <a:gdLst/>
              <a:ahLst/>
              <a:cxnLst/>
              <a:rect l="0" t="0" r="r" b="b"/>
              <a:pathLst>
                <a:path w="21169" h="21101">
                  <a:moveTo>
                    <a:pt x="6283" y="15446"/>
                  </a:moveTo>
                  <a:cubicBezTo>
                    <a:pt x="5957" y="17116"/>
                    <a:pt x="6928" y="18499"/>
                    <a:pt x="7930" y="19202"/>
                  </a:cubicBezTo>
                  <a:cubicBezTo>
                    <a:pt x="9030" y="19627"/>
                    <a:pt x="10546" y="20121"/>
                    <a:pt x="11108" y="20755"/>
                  </a:cubicBezTo>
                  <a:cubicBezTo>
                    <a:pt x="11766" y="21149"/>
                    <a:pt x="13376" y="21358"/>
                    <a:pt x="14597" y="20526"/>
                  </a:cubicBezTo>
                  <a:cubicBezTo>
                    <a:pt x="15870" y="19854"/>
                    <a:pt x="17327" y="18550"/>
                    <a:pt x="17964" y="17720"/>
                  </a:cubicBezTo>
                  <a:cubicBezTo>
                    <a:pt x="18388" y="16671"/>
                    <a:pt x="19306" y="15574"/>
                    <a:pt x="19791" y="15218"/>
                  </a:cubicBezTo>
                  <a:cubicBezTo>
                    <a:pt x="20164" y="14675"/>
                    <a:pt x="20982" y="13142"/>
                    <a:pt x="21111" y="11510"/>
                  </a:cubicBezTo>
                  <a:cubicBezTo>
                    <a:pt x="21361" y="9891"/>
                    <a:pt x="20769" y="7844"/>
                    <a:pt x="19883" y="6686"/>
                  </a:cubicBezTo>
                  <a:cubicBezTo>
                    <a:pt x="19017" y="5491"/>
                    <a:pt x="17152" y="4591"/>
                    <a:pt x="15976" y="4175"/>
                  </a:cubicBezTo>
                  <a:cubicBezTo>
                    <a:pt x="14755" y="4028"/>
                    <a:pt x="13542" y="3226"/>
                    <a:pt x="13239" y="2742"/>
                  </a:cubicBezTo>
                  <a:cubicBezTo>
                    <a:pt x="13118" y="2121"/>
                    <a:pt x="11335" y="1497"/>
                    <a:pt x="9818" y="647"/>
                  </a:cubicBezTo>
                  <a:cubicBezTo>
                    <a:pt x="8240" y="94"/>
                    <a:pt x="5859" y="-242"/>
                    <a:pt x="4479" y="212"/>
                  </a:cubicBezTo>
                  <a:cubicBezTo>
                    <a:pt x="3076" y="519"/>
                    <a:pt x="1460" y="1388"/>
                    <a:pt x="792" y="1675"/>
                  </a:cubicBezTo>
                  <a:cubicBezTo>
                    <a:pt x="171" y="2080"/>
                    <a:pt x="-239" y="2961"/>
                    <a:pt x="155" y="3475"/>
                  </a:cubicBezTo>
                  <a:cubicBezTo>
                    <a:pt x="269" y="4155"/>
                    <a:pt x="2242" y="4433"/>
                    <a:pt x="4189" y="4651"/>
                  </a:cubicBezTo>
                  <a:cubicBezTo>
                    <a:pt x="6109" y="4651"/>
                    <a:pt x="7680" y="5777"/>
                    <a:pt x="7740" y="7083"/>
                  </a:cubicBezTo>
                  <a:cubicBezTo>
                    <a:pt x="7854" y="8387"/>
                    <a:pt x="7611" y="10156"/>
                    <a:pt x="7231" y="10899"/>
                  </a:cubicBezTo>
                  <a:cubicBezTo>
                    <a:pt x="7049" y="11767"/>
                    <a:pt x="6609" y="13766"/>
                    <a:pt x="6283" y="15446"/>
                  </a:cubicBezTo>
                  <a:close/>
                  <a:moveTo>
                    <a:pt x="6283" y="154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2" name="AutoShape 1214"/>
            <p:cNvSpPr>
              <a:spLocks/>
            </p:cNvSpPr>
            <p:nvPr/>
          </p:nvSpPr>
          <p:spPr bwMode="auto">
            <a:xfrm>
              <a:off x="4749800" y="2260600"/>
              <a:ext cx="19050" cy="17463"/>
            </a:xfrm>
            <a:custGeom>
              <a:avLst/>
              <a:gdLst/>
              <a:ahLst/>
              <a:cxnLst/>
              <a:rect l="0" t="0" r="r" b="b"/>
              <a:pathLst>
                <a:path w="21420" h="21314">
                  <a:moveTo>
                    <a:pt x="19722" y="3464"/>
                  </a:moveTo>
                  <a:cubicBezTo>
                    <a:pt x="18787" y="2438"/>
                    <a:pt x="16726" y="2271"/>
                    <a:pt x="15446" y="2550"/>
                  </a:cubicBezTo>
                  <a:cubicBezTo>
                    <a:pt x="14208" y="3003"/>
                    <a:pt x="13206" y="2679"/>
                    <a:pt x="13206" y="2082"/>
                  </a:cubicBezTo>
                  <a:cubicBezTo>
                    <a:pt x="13335" y="1516"/>
                    <a:pt x="13047" y="678"/>
                    <a:pt x="12731" y="324"/>
                  </a:cubicBezTo>
                  <a:cubicBezTo>
                    <a:pt x="12641" y="-160"/>
                    <a:pt x="11473" y="-69"/>
                    <a:pt x="10640" y="384"/>
                  </a:cubicBezTo>
                  <a:cubicBezTo>
                    <a:pt x="9775" y="799"/>
                    <a:pt x="8565" y="867"/>
                    <a:pt x="7912" y="693"/>
                  </a:cubicBezTo>
                  <a:cubicBezTo>
                    <a:pt x="7292" y="346"/>
                    <a:pt x="5622" y="882"/>
                    <a:pt x="4364" y="1819"/>
                  </a:cubicBezTo>
                  <a:cubicBezTo>
                    <a:pt x="3071" y="2702"/>
                    <a:pt x="1497" y="3880"/>
                    <a:pt x="975" y="4559"/>
                  </a:cubicBezTo>
                  <a:cubicBezTo>
                    <a:pt x="383" y="5208"/>
                    <a:pt x="-180" y="6635"/>
                    <a:pt x="54" y="7639"/>
                  </a:cubicBezTo>
                  <a:cubicBezTo>
                    <a:pt x="116" y="8666"/>
                    <a:pt x="596" y="9435"/>
                    <a:pt x="1077" y="9239"/>
                  </a:cubicBezTo>
                  <a:cubicBezTo>
                    <a:pt x="1552" y="9006"/>
                    <a:pt x="2556" y="8915"/>
                    <a:pt x="3009" y="9354"/>
                  </a:cubicBezTo>
                  <a:cubicBezTo>
                    <a:pt x="3594" y="9527"/>
                    <a:pt x="4480" y="10373"/>
                    <a:pt x="4433" y="11232"/>
                  </a:cubicBezTo>
                  <a:cubicBezTo>
                    <a:pt x="4756" y="12018"/>
                    <a:pt x="5120" y="13453"/>
                    <a:pt x="5711" y="14102"/>
                  </a:cubicBezTo>
                  <a:cubicBezTo>
                    <a:pt x="6109" y="14917"/>
                    <a:pt x="6323" y="16616"/>
                    <a:pt x="6069" y="18020"/>
                  </a:cubicBezTo>
                  <a:cubicBezTo>
                    <a:pt x="5821" y="19432"/>
                    <a:pt x="5732" y="20828"/>
                    <a:pt x="6000" y="21115"/>
                  </a:cubicBezTo>
                  <a:cubicBezTo>
                    <a:pt x="6255" y="21409"/>
                    <a:pt x="7313" y="21388"/>
                    <a:pt x="8324" y="20979"/>
                  </a:cubicBezTo>
                  <a:cubicBezTo>
                    <a:pt x="9335" y="20526"/>
                    <a:pt x="10585" y="20602"/>
                    <a:pt x="10971" y="21024"/>
                  </a:cubicBezTo>
                  <a:cubicBezTo>
                    <a:pt x="11389" y="21440"/>
                    <a:pt x="12503" y="21131"/>
                    <a:pt x="13459" y="20429"/>
                  </a:cubicBezTo>
                  <a:cubicBezTo>
                    <a:pt x="14387" y="19688"/>
                    <a:pt x="15612" y="18609"/>
                    <a:pt x="15789" y="17816"/>
                  </a:cubicBezTo>
                  <a:cubicBezTo>
                    <a:pt x="16161" y="17122"/>
                    <a:pt x="16883" y="16124"/>
                    <a:pt x="17516" y="15838"/>
                  </a:cubicBezTo>
                  <a:cubicBezTo>
                    <a:pt x="18093" y="15430"/>
                    <a:pt x="18911" y="14267"/>
                    <a:pt x="19469" y="13301"/>
                  </a:cubicBezTo>
                  <a:cubicBezTo>
                    <a:pt x="20115" y="12441"/>
                    <a:pt x="19695" y="11187"/>
                    <a:pt x="18911" y="10863"/>
                  </a:cubicBezTo>
                  <a:cubicBezTo>
                    <a:pt x="18155" y="10501"/>
                    <a:pt x="18341" y="9482"/>
                    <a:pt x="19338" y="8529"/>
                  </a:cubicBezTo>
                  <a:cubicBezTo>
                    <a:pt x="20335" y="7594"/>
                    <a:pt x="21181" y="6371"/>
                    <a:pt x="21420" y="5902"/>
                  </a:cubicBezTo>
                  <a:cubicBezTo>
                    <a:pt x="21310" y="5397"/>
                    <a:pt x="20836" y="4234"/>
                    <a:pt x="19722" y="3464"/>
                  </a:cubicBezTo>
                  <a:close/>
                  <a:moveTo>
                    <a:pt x="19722" y="346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3" name="AutoShape 1215"/>
            <p:cNvSpPr>
              <a:spLocks/>
            </p:cNvSpPr>
            <p:nvPr/>
          </p:nvSpPr>
          <p:spPr bwMode="auto">
            <a:xfrm>
              <a:off x="5029200" y="2260600"/>
              <a:ext cx="19050" cy="11113"/>
            </a:xfrm>
            <a:custGeom>
              <a:avLst/>
              <a:gdLst/>
              <a:ahLst/>
              <a:cxnLst/>
              <a:rect l="0" t="0" r="r" b="b"/>
              <a:pathLst>
                <a:path w="21136" h="21060">
                  <a:moveTo>
                    <a:pt x="19852" y="13"/>
                  </a:moveTo>
                  <a:cubicBezTo>
                    <a:pt x="18838" y="-122"/>
                    <a:pt x="16766" y="860"/>
                    <a:pt x="15237" y="2291"/>
                  </a:cubicBezTo>
                  <a:cubicBezTo>
                    <a:pt x="13776" y="3825"/>
                    <a:pt x="10855" y="5872"/>
                    <a:pt x="8983" y="7397"/>
                  </a:cubicBezTo>
                  <a:cubicBezTo>
                    <a:pt x="7022" y="8704"/>
                    <a:pt x="4101" y="11462"/>
                    <a:pt x="2434" y="13362"/>
                  </a:cubicBezTo>
                  <a:cubicBezTo>
                    <a:pt x="843" y="15390"/>
                    <a:pt x="-226" y="16977"/>
                    <a:pt x="41" y="17467"/>
                  </a:cubicBezTo>
                  <a:cubicBezTo>
                    <a:pt x="343" y="17927"/>
                    <a:pt x="1947" y="17614"/>
                    <a:pt x="3538" y="17217"/>
                  </a:cubicBezTo>
                  <a:cubicBezTo>
                    <a:pt x="5115" y="16819"/>
                    <a:pt x="7460" y="17792"/>
                    <a:pt x="8847" y="19503"/>
                  </a:cubicBezTo>
                  <a:cubicBezTo>
                    <a:pt x="10224" y="21206"/>
                    <a:pt x="12103" y="21478"/>
                    <a:pt x="13262" y="20485"/>
                  </a:cubicBezTo>
                  <a:cubicBezTo>
                    <a:pt x="14235" y="19086"/>
                    <a:pt x="15703" y="16495"/>
                    <a:pt x="16437" y="14438"/>
                  </a:cubicBezTo>
                  <a:cubicBezTo>
                    <a:pt x="17226" y="12401"/>
                    <a:pt x="18289" y="9539"/>
                    <a:pt x="19016" y="8172"/>
                  </a:cubicBezTo>
                  <a:cubicBezTo>
                    <a:pt x="19811" y="6886"/>
                    <a:pt x="20551" y="4411"/>
                    <a:pt x="21032" y="3010"/>
                  </a:cubicBezTo>
                  <a:cubicBezTo>
                    <a:pt x="21374" y="1517"/>
                    <a:pt x="20846" y="368"/>
                    <a:pt x="19852" y="13"/>
                  </a:cubicBezTo>
                  <a:close/>
                  <a:moveTo>
                    <a:pt x="19852" y="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4" name="AutoShape 1216"/>
            <p:cNvSpPr>
              <a:spLocks/>
            </p:cNvSpPr>
            <p:nvPr/>
          </p:nvSpPr>
          <p:spPr bwMode="auto">
            <a:xfrm>
              <a:off x="5080000" y="2159000"/>
              <a:ext cx="3175" cy="3175"/>
            </a:xfrm>
            <a:custGeom>
              <a:avLst/>
              <a:gdLst/>
              <a:ahLst/>
              <a:cxnLst/>
              <a:rect l="0" t="0" r="r" b="b"/>
              <a:pathLst>
                <a:path w="19999" h="20936">
                  <a:moveTo>
                    <a:pt x="5746" y="4545"/>
                  </a:moveTo>
                  <a:cubicBezTo>
                    <a:pt x="608" y="8272"/>
                    <a:pt x="-915" y="13319"/>
                    <a:pt x="505" y="16277"/>
                  </a:cubicBezTo>
                  <a:cubicBezTo>
                    <a:pt x="3177" y="18635"/>
                    <a:pt x="6790" y="20936"/>
                    <a:pt x="9872" y="20936"/>
                  </a:cubicBezTo>
                  <a:cubicBezTo>
                    <a:pt x="12980" y="20745"/>
                    <a:pt x="17341" y="16771"/>
                    <a:pt x="18830" y="11809"/>
                  </a:cubicBezTo>
                  <a:cubicBezTo>
                    <a:pt x="20685" y="6959"/>
                    <a:pt x="20144" y="2081"/>
                    <a:pt x="18526" y="324"/>
                  </a:cubicBezTo>
                  <a:cubicBezTo>
                    <a:pt x="16124" y="-664"/>
                    <a:pt x="10578" y="571"/>
                    <a:pt x="5746" y="4545"/>
                  </a:cubicBezTo>
                  <a:close/>
                  <a:moveTo>
                    <a:pt x="5746" y="45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5" name="AutoShape 1217"/>
            <p:cNvSpPr>
              <a:spLocks/>
            </p:cNvSpPr>
            <p:nvPr/>
          </p:nvSpPr>
          <p:spPr bwMode="auto">
            <a:xfrm>
              <a:off x="5067300" y="2197100"/>
              <a:ext cx="7938" cy="19050"/>
            </a:xfrm>
            <a:custGeom>
              <a:avLst/>
              <a:gdLst/>
              <a:ahLst/>
              <a:cxnLst/>
              <a:rect l="0" t="0" r="r" b="b"/>
              <a:pathLst>
                <a:path w="20766" h="20832">
                  <a:moveTo>
                    <a:pt x="12226" y="4651"/>
                  </a:moveTo>
                  <a:cubicBezTo>
                    <a:pt x="9676" y="7552"/>
                    <a:pt x="5378" y="11621"/>
                    <a:pt x="2860" y="13718"/>
                  </a:cubicBezTo>
                  <a:cubicBezTo>
                    <a:pt x="345" y="15806"/>
                    <a:pt x="-608" y="18470"/>
                    <a:pt x="389" y="19704"/>
                  </a:cubicBezTo>
                  <a:cubicBezTo>
                    <a:pt x="1772" y="20854"/>
                    <a:pt x="3982" y="21198"/>
                    <a:pt x="5824" y="20393"/>
                  </a:cubicBezTo>
                  <a:cubicBezTo>
                    <a:pt x="7806" y="19614"/>
                    <a:pt x="9478" y="17978"/>
                    <a:pt x="9372" y="16854"/>
                  </a:cubicBezTo>
                  <a:cubicBezTo>
                    <a:pt x="9877" y="15748"/>
                    <a:pt x="11859" y="13027"/>
                    <a:pt x="14650" y="10855"/>
                  </a:cubicBezTo>
                  <a:cubicBezTo>
                    <a:pt x="17398" y="8663"/>
                    <a:pt x="20177" y="5514"/>
                    <a:pt x="20640" y="3827"/>
                  </a:cubicBezTo>
                  <a:cubicBezTo>
                    <a:pt x="20992" y="2134"/>
                    <a:pt x="20624" y="365"/>
                    <a:pt x="19303" y="64"/>
                  </a:cubicBezTo>
                  <a:cubicBezTo>
                    <a:pt x="18291" y="-402"/>
                    <a:pt x="14942" y="1750"/>
                    <a:pt x="12226" y="4651"/>
                  </a:cubicBezTo>
                  <a:close/>
                  <a:moveTo>
                    <a:pt x="12226" y="46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6" name="AutoShape 1218"/>
            <p:cNvSpPr>
              <a:spLocks/>
            </p:cNvSpPr>
            <p:nvPr/>
          </p:nvSpPr>
          <p:spPr bwMode="auto">
            <a:xfrm>
              <a:off x="5003800" y="2298700"/>
              <a:ext cx="6350" cy="12700"/>
            </a:xfrm>
            <a:custGeom>
              <a:avLst/>
              <a:gdLst/>
              <a:ahLst/>
              <a:cxnLst/>
              <a:rect l="0" t="0" r="r" b="b"/>
              <a:pathLst>
                <a:path w="20835" h="20944">
                  <a:moveTo>
                    <a:pt x="16017" y="5796"/>
                  </a:moveTo>
                  <a:cubicBezTo>
                    <a:pt x="15773" y="4631"/>
                    <a:pt x="14676" y="2465"/>
                    <a:pt x="13154" y="1074"/>
                  </a:cubicBezTo>
                  <a:cubicBezTo>
                    <a:pt x="11660" y="-342"/>
                    <a:pt x="8452" y="-362"/>
                    <a:pt x="5866" y="1036"/>
                  </a:cubicBezTo>
                  <a:cubicBezTo>
                    <a:pt x="3276" y="2435"/>
                    <a:pt x="822" y="4708"/>
                    <a:pt x="134" y="6009"/>
                  </a:cubicBezTo>
                  <a:cubicBezTo>
                    <a:pt x="-358" y="7320"/>
                    <a:pt x="560" y="8836"/>
                    <a:pt x="1969" y="9671"/>
                  </a:cubicBezTo>
                  <a:cubicBezTo>
                    <a:pt x="3656" y="10292"/>
                    <a:pt x="4111" y="12303"/>
                    <a:pt x="3525" y="14002"/>
                  </a:cubicBezTo>
                  <a:cubicBezTo>
                    <a:pt x="2771" y="15682"/>
                    <a:pt x="5490" y="17829"/>
                    <a:pt x="8747" y="19412"/>
                  </a:cubicBezTo>
                  <a:cubicBezTo>
                    <a:pt x="12466" y="20675"/>
                    <a:pt x="16262" y="21238"/>
                    <a:pt x="17624" y="20792"/>
                  </a:cubicBezTo>
                  <a:cubicBezTo>
                    <a:pt x="18704" y="20150"/>
                    <a:pt x="19999" y="18111"/>
                    <a:pt x="20685" y="16120"/>
                  </a:cubicBezTo>
                  <a:cubicBezTo>
                    <a:pt x="21242" y="14099"/>
                    <a:pt x="20162" y="11487"/>
                    <a:pt x="18901" y="10186"/>
                  </a:cubicBezTo>
                  <a:cubicBezTo>
                    <a:pt x="17607" y="8883"/>
                    <a:pt x="16148" y="6952"/>
                    <a:pt x="16017" y="5796"/>
                  </a:cubicBezTo>
                  <a:close/>
                  <a:moveTo>
                    <a:pt x="16017" y="57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7" name="AutoShape 1219"/>
            <p:cNvSpPr>
              <a:spLocks/>
            </p:cNvSpPr>
            <p:nvPr/>
          </p:nvSpPr>
          <p:spPr bwMode="auto">
            <a:xfrm>
              <a:off x="4991100" y="2324100"/>
              <a:ext cx="20638" cy="17463"/>
            </a:xfrm>
            <a:custGeom>
              <a:avLst/>
              <a:gdLst/>
              <a:ahLst/>
              <a:cxnLst/>
              <a:rect l="0" t="0" r="r" b="b"/>
              <a:pathLst>
                <a:path w="21125" h="21337">
                  <a:moveTo>
                    <a:pt x="18605" y="749"/>
                  </a:moveTo>
                  <a:cubicBezTo>
                    <a:pt x="17142" y="70"/>
                    <a:pt x="13901" y="-129"/>
                    <a:pt x="11377" y="78"/>
                  </a:cubicBezTo>
                  <a:cubicBezTo>
                    <a:pt x="8852" y="351"/>
                    <a:pt x="5951" y="1204"/>
                    <a:pt x="5073" y="2154"/>
                  </a:cubicBezTo>
                  <a:cubicBezTo>
                    <a:pt x="4089" y="2928"/>
                    <a:pt x="2686" y="3945"/>
                    <a:pt x="1934" y="4430"/>
                  </a:cubicBezTo>
                  <a:cubicBezTo>
                    <a:pt x="1224" y="4967"/>
                    <a:pt x="269" y="6073"/>
                    <a:pt x="120" y="7222"/>
                  </a:cubicBezTo>
                  <a:cubicBezTo>
                    <a:pt x="-280" y="8259"/>
                    <a:pt x="387" y="10175"/>
                    <a:pt x="1081" y="11434"/>
                  </a:cubicBezTo>
                  <a:cubicBezTo>
                    <a:pt x="1946" y="12553"/>
                    <a:pt x="3199" y="13547"/>
                    <a:pt x="4065" y="13547"/>
                  </a:cubicBezTo>
                  <a:cubicBezTo>
                    <a:pt x="4936" y="13488"/>
                    <a:pt x="6207" y="13879"/>
                    <a:pt x="6888" y="14387"/>
                  </a:cubicBezTo>
                  <a:cubicBezTo>
                    <a:pt x="7431" y="15108"/>
                    <a:pt x="8064" y="16294"/>
                    <a:pt x="7849" y="17450"/>
                  </a:cubicBezTo>
                  <a:cubicBezTo>
                    <a:pt x="7754" y="18628"/>
                    <a:pt x="7986" y="20020"/>
                    <a:pt x="8440" y="20639"/>
                  </a:cubicBezTo>
                  <a:cubicBezTo>
                    <a:pt x="8918" y="21228"/>
                    <a:pt x="9646" y="21471"/>
                    <a:pt x="10058" y="21265"/>
                  </a:cubicBezTo>
                  <a:cubicBezTo>
                    <a:pt x="10416" y="20925"/>
                    <a:pt x="11383" y="19865"/>
                    <a:pt x="11932" y="18577"/>
                  </a:cubicBezTo>
                  <a:cubicBezTo>
                    <a:pt x="12558" y="17361"/>
                    <a:pt x="13632" y="15527"/>
                    <a:pt x="14475" y="14717"/>
                  </a:cubicBezTo>
                  <a:cubicBezTo>
                    <a:pt x="15251" y="13805"/>
                    <a:pt x="16390" y="12125"/>
                    <a:pt x="16630" y="10814"/>
                  </a:cubicBezTo>
                  <a:cubicBezTo>
                    <a:pt x="17017" y="9562"/>
                    <a:pt x="18169" y="7723"/>
                    <a:pt x="19154" y="6757"/>
                  </a:cubicBezTo>
                  <a:cubicBezTo>
                    <a:pt x="20133" y="5748"/>
                    <a:pt x="21100" y="4290"/>
                    <a:pt x="21100" y="3473"/>
                  </a:cubicBezTo>
                  <a:cubicBezTo>
                    <a:pt x="21320" y="2699"/>
                    <a:pt x="20044" y="1447"/>
                    <a:pt x="18605" y="749"/>
                  </a:cubicBezTo>
                  <a:close/>
                  <a:moveTo>
                    <a:pt x="18605" y="7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8" name="AutoShape 1220"/>
            <p:cNvSpPr>
              <a:spLocks/>
            </p:cNvSpPr>
            <p:nvPr/>
          </p:nvSpPr>
          <p:spPr bwMode="auto">
            <a:xfrm>
              <a:off x="4749800" y="2235200"/>
              <a:ext cx="6350" cy="3175"/>
            </a:xfrm>
            <a:custGeom>
              <a:avLst/>
              <a:gdLst/>
              <a:ahLst/>
              <a:cxnLst/>
              <a:rect l="0" t="0" r="r" b="b"/>
              <a:pathLst>
                <a:path w="19568" h="19747">
                  <a:moveTo>
                    <a:pt x="5607" y="19150"/>
                  </a:moveTo>
                  <a:cubicBezTo>
                    <a:pt x="10278" y="17229"/>
                    <a:pt x="15854" y="13784"/>
                    <a:pt x="17699" y="10785"/>
                  </a:cubicBezTo>
                  <a:cubicBezTo>
                    <a:pt x="19615" y="7873"/>
                    <a:pt x="20190" y="3913"/>
                    <a:pt x="18798" y="1627"/>
                  </a:cubicBezTo>
                  <a:cubicBezTo>
                    <a:pt x="17335" y="-521"/>
                    <a:pt x="13624" y="-666"/>
                    <a:pt x="10435" y="1940"/>
                  </a:cubicBezTo>
                  <a:cubicBezTo>
                    <a:pt x="7231" y="4342"/>
                    <a:pt x="2457" y="9512"/>
                    <a:pt x="887" y="14403"/>
                  </a:cubicBezTo>
                  <a:cubicBezTo>
                    <a:pt x="-1410" y="18531"/>
                    <a:pt x="959" y="20934"/>
                    <a:pt x="5607" y="19150"/>
                  </a:cubicBezTo>
                  <a:close/>
                  <a:moveTo>
                    <a:pt x="5607" y="1915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19" name="AutoShape 1221"/>
            <p:cNvSpPr>
              <a:spLocks/>
            </p:cNvSpPr>
            <p:nvPr/>
          </p:nvSpPr>
          <p:spPr bwMode="auto">
            <a:xfrm>
              <a:off x="4991100" y="3086100"/>
              <a:ext cx="1588" cy="3175"/>
            </a:xfrm>
            <a:custGeom>
              <a:avLst/>
              <a:gdLst/>
              <a:ahLst/>
              <a:cxnLst/>
              <a:rect l="0" t="0" r="r" b="b"/>
              <a:pathLst>
                <a:path w="18667" h="18975">
                  <a:moveTo>
                    <a:pt x="16738" y="1820"/>
                  </a:moveTo>
                  <a:cubicBezTo>
                    <a:pt x="14326" y="-1853"/>
                    <a:pt x="8120" y="204"/>
                    <a:pt x="3792" y="6455"/>
                  </a:cubicBezTo>
                  <a:cubicBezTo>
                    <a:pt x="-745" y="12474"/>
                    <a:pt x="-1239" y="18138"/>
                    <a:pt x="2462" y="18719"/>
                  </a:cubicBezTo>
                  <a:cubicBezTo>
                    <a:pt x="6169" y="19747"/>
                    <a:pt x="12365" y="17558"/>
                    <a:pt x="15408" y="14274"/>
                  </a:cubicBezTo>
                  <a:cubicBezTo>
                    <a:pt x="18280" y="10800"/>
                    <a:pt x="20361" y="4939"/>
                    <a:pt x="16738" y="1820"/>
                  </a:cubicBezTo>
                  <a:close/>
                  <a:moveTo>
                    <a:pt x="16738" y="18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0" name="AutoShape 1222"/>
            <p:cNvSpPr>
              <a:spLocks/>
            </p:cNvSpPr>
            <p:nvPr/>
          </p:nvSpPr>
          <p:spPr bwMode="auto">
            <a:xfrm>
              <a:off x="3670300" y="3086100"/>
              <a:ext cx="6350" cy="22225"/>
            </a:xfrm>
            <a:custGeom>
              <a:avLst/>
              <a:gdLst/>
              <a:ahLst/>
              <a:cxnLst/>
              <a:rect l="0" t="0" r="r" b="b"/>
              <a:pathLst>
                <a:path w="20742" h="21105">
                  <a:moveTo>
                    <a:pt x="3330" y="16299"/>
                  </a:moveTo>
                  <a:cubicBezTo>
                    <a:pt x="1489" y="18175"/>
                    <a:pt x="-533" y="20272"/>
                    <a:pt x="128" y="20919"/>
                  </a:cubicBezTo>
                  <a:cubicBezTo>
                    <a:pt x="427" y="21600"/>
                    <a:pt x="2968" y="20359"/>
                    <a:pt x="5392" y="18088"/>
                  </a:cubicBezTo>
                  <a:cubicBezTo>
                    <a:pt x="8336" y="15879"/>
                    <a:pt x="11641" y="12169"/>
                    <a:pt x="13321" y="9908"/>
                  </a:cubicBezTo>
                  <a:cubicBezTo>
                    <a:pt x="15245" y="7671"/>
                    <a:pt x="17705" y="4508"/>
                    <a:pt x="18947" y="2900"/>
                  </a:cubicBezTo>
                  <a:cubicBezTo>
                    <a:pt x="20170" y="1281"/>
                    <a:pt x="21067" y="63"/>
                    <a:pt x="20629" y="0"/>
                  </a:cubicBezTo>
                  <a:cubicBezTo>
                    <a:pt x="20370" y="116"/>
                    <a:pt x="18767" y="483"/>
                    <a:pt x="18086" y="1077"/>
                  </a:cubicBezTo>
                  <a:cubicBezTo>
                    <a:pt x="17107" y="1649"/>
                    <a:pt x="15322" y="3530"/>
                    <a:pt x="13080" y="5161"/>
                  </a:cubicBezTo>
                  <a:cubicBezTo>
                    <a:pt x="11481" y="6850"/>
                    <a:pt x="8898" y="9245"/>
                    <a:pt x="8336" y="10561"/>
                  </a:cubicBezTo>
                  <a:cubicBezTo>
                    <a:pt x="7176" y="11831"/>
                    <a:pt x="5453" y="14453"/>
                    <a:pt x="3330" y="16299"/>
                  </a:cubicBezTo>
                  <a:close/>
                  <a:moveTo>
                    <a:pt x="3330" y="162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1" name="AutoShape 1223"/>
            <p:cNvSpPr>
              <a:spLocks/>
            </p:cNvSpPr>
            <p:nvPr/>
          </p:nvSpPr>
          <p:spPr bwMode="auto">
            <a:xfrm>
              <a:off x="4686300" y="2146300"/>
              <a:ext cx="14288" cy="23813"/>
            </a:xfrm>
            <a:custGeom>
              <a:avLst/>
              <a:gdLst/>
              <a:ahLst/>
              <a:cxnLst/>
              <a:rect l="0" t="0" r="r" b="b"/>
              <a:pathLst>
                <a:path w="20765" h="20952">
                  <a:moveTo>
                    <a:pt x="19549" y="14188"/>
                  </a:moveTo>
                  <a:cubicBezTo>
                    <a:pt x="18137" y="14442"/>
                    <a:pt x="15530" y="14475"/>
                    <a:pt x="13759" y="14329"/>
                  </a:cubicBezTo>
                  <a:cubicBezTo>
                    <a:pt x="12007" y="14210"/>
                    <a:pt x="11719" y="12563"/>
                    <a:pt x="12689" y="10673"/>
                  </a:cubicBezTo>
                  <a:cubicBezTo>
                    <a:pt x="13958" y="8865"/>
                    <a:pt x="13967" y="7170"/>
                    <a:pt x="13247" y="6736"/>
                  </a:cubicBezTo>
                  <a:cubicBezTo>
                    <a:pt x="12330" y="6482"/>
                    <a:pt x="11522" y="5519"/>
                    <a:pt x="11828" y="4809"/>
                  </a:cubicBezTo>
                  <a:cubicBezTo>
                    <a:pt x="11944" y="4067"/>
                    <a:pt x="10631" y="3428"/>
                    <a:pt x="8996" y="3428"/>
                  </a:cubicBezTo>
                  <a:cubicBezTo>
                    <a:pt x="7369" y="3390"/>
                    <a:pt x="6172" y="2431"/>
                    <a:pt x="6443" y="1268"/>
                  </a:cubicBezTo>
                  <a:cubicBezTo>
                    <a:pt x="6730" y="103"/>
                    <a:pt x="6147" y="-319"/>
                    <a:pt x="5174" y="254"/>
                  </a:cubicBezTo>
                  <a:cubicBezTo>
                    <a:pt x="4223" y="840"/>
                    <a:pt x="2677" y="2827"/>
                    <a:pt x="1283" y="4506"/>
                  </a:cubicBezTo>
                  <a:cubicBezTo>
                    <a:pt x="259" y="6276"/>
                    <a:pt x="-92" y="7831"/>
                    <a:pt x="654" y="8286"/>
                  </a:cubicBezTo>
                  <a:cubicBezTo>
                    <a:pt x="1625" y="8572"/>
                    <a:pt x="2290" y="9780"/>
                    <a:pt x="2047" y="10809"/>
                  </a:cubicBezTo>
                  <a:cubicBezTo>
                    <a:pt x="1778" y="11838"/>
                    <a:pt x="1031" y="13376"/>
                    <a:pt x="322" y="14280"/>
                  </a:cubicBezTo>
                  <a:cubicBezTo>
                    <a:pt x="-442" y="15163"/>
                    <a:pt x="204" y="15910"/>
                    <a:pt x="1741" y="16229"/>
                  </a:cubicBezTo>
                  <a:cubicBezTo>
                    <a:pt x="3315" y="16478"/>
                    <a:pt x="5383" y="16917"/>
                    <a:pt x="5876" y="17480"/>
                  </a:cubicBezTo>
                  <a:cubicBezTo>
                    <a:pt x="6631" y="17935"/>
                    <a:pt x="6910" y="19175"/>
                    <a:pt x="6110" y="20015"/>
                  </a:cubicBezTo>
                  <a:cubicBezTo>
                    <a:pt x="5499" y="20908"/>
                    <a:pt x="6524" y="21281"/>
                    <a:pt x="8043" y="20604"/>
                  </a:cubicBezTo>
                  <a:cubicBezTo>
                    <a:pt x="9689" y="20063"/>
                    <a:pt x="12564" y="19365"/>
                    <a:pt x="14470" y="19202"/>
                  </a:cubicBezTo>
                  <a:cubicBezTo>
                    <a:pt x="16331" y="18839"/>
                    <a:pt x="18956" y="17708"/>
                    <a:pt x="20051" y="16289"/>
                  </a:cubicBezTo>
                  <a:cubicBezTo>
                    <a:pt x="21158" y="14881"/>
                    <a:pt x="20970" y="13928"/>
                    <a:pt x="19549" y="14188"/>
                  </a:cubicBezTo>
                  <a:close/>
                  <a:moveTo>
                    <a:pt x="19549" y="141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2" name="AutoShape 1224"/>
            <p:cNvSpPr>
              <a:spLocks/>
            </p:cNvSpPr>
            <p:nvPr/>
          </p:nvSpPr>
          <p:spPr bwMode="auto">
            <a:xfrm>
              <a:off x="5054600" y="2908300"/>
              <a:ext cx="4763" cy="6350"/>
            </a:xfrm>
            <a:custGeom>
              <a:avLst/>
              <a:gdLst/>
              <a:ahLst/>
              <a:cxnLst/>
              <a:rect l="0" t="0" r="r" b="b"/>
              <a:pathLst>
                <a:path w="20857" h="20917">
                  <a:moveTo>
                    <a:pt x="7256" y="2243"/>
                  </a:moveTo>
                  <a:cubicBezTo>
                    <a:pt x="3814" y="3723"/>
                    <a:pt x="871" y="8229"/>
                    <a:pt x="177" y="12051"/>
                  </a:cubicBezTo>
                  <a:cubicBezTo>
                    <a:pt x="-494" y="15917"/>
                    <a:pt x="827" y="19759"/>
                    <a:pt x="2742" y="20378"/>
                  </a:cubicBezTo>
                  <a:cubicBezTo>
                    <a:pt x="4232" y="21600"/>
                    <a:pt x="7489" y="20600"/>
                    <a:pt x="8729" y="18836"/>
                  </a:cubicBezTo>
                  <a:cubicBezTo>
                    <a:pt x="10347" y="17279"/>
                    <a:pt x="13312" y="15376"/>
                    <a:pt x="15623" y="15036"/>
                  </a:cubicBezTo>
                  <a:cubicBezTo>
                    <a:pt x="17891" y="14453"/>
                    <a:pt x="20099" y="11070"/>
                    <a:pt x="20813" y="7327"/>
                  </a:cubicBezTo>
                  <a:cubicBezTo>
                    <a:pt x="21106" y="3563"/>
                    <a:pt x="19932" y="320"/>
                    <a:pt x="17681" y="0"/>
                  </a:cubicBezTo>
                  <a:cubicBezTo>
                    <a:pt x="15348" y="0"/>
                    <a:pt x="10661" y="681"/>
                    <a:pt x="7256" y="2243"/>
                  </a:cubicBezTo>
                  <a:close/>
                  <a:moveTo>
                    <a:pt x="7256" y="22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3" name="AutoShape 1225"/>
            <p:cNvSpPr>
              <a:spLocks/>
            </p:cNvSpPr>
            <p:nvPr/>
          </p:nvSpPr>
          <p:spPr bwMode="auto">
            <a:xfrm>
              <a:off x="4762500" y="1676400"/>
              <a:ext cx="500063" cy="635000"/>
            </a:xfrm>
            <a:custGeom>
              <a:avLst/>
              <a:gdLst/>
              <a:ahLst/>
              <a:cxnLst/>
              <a:rect l="0" t="0" r="r" b="b"/>
              <a:pathLst>
                <a:path w="21591" h="21585">
                  <a:moveTo>
                    <a:pt x="21522" y="11351"/>
                  </a:moveTo>
                  <a:cubicBezTo>
                    <a:pt x="21488" y="11328"/>
                    <a:pt x="21458" y="11289"/>
                    <a:pt x="21466" y="11256"/>
                  </a:cubicBezTo>
                  <a:cubicBezTo>
                    <a:pt x="21475" y="11222"/>
                    <a:pt x="21469" y="11175"/>
                    <a:pt x="21447" y="11157"/>
                  </a:cubicBezTo>
                  <a:cubicBezTo>
                    <a:pt x="21431" y="11136"/>
                    <a:pt x="21359" y="11137"/>
                    <a:pt x="21289" y="11155"/>
                  </a:cubicBezTo>
                  <a:cubicBezTo>
                    <a:pt x="21220" y="11175"/>
                    <a:pt x="21199" y="11138"/>
                    <a:pt x="21252" y="11080"/>
                  </a:cubicBezTo>
                  <a:cubicBezTo>
                    <a:pt x="21296" y="11017"/>
                    <a:pt x="21318" y="10951"/>
                    <a:pt x="21294" y="10924"/>
                  </a:cubicBezTo>
                  <a:cubicBezTo>
                    <a:pt x="21271" y="10897"/>
                    <a:pt x="21192" y="10887"/>
                    <a:pt x="21128" y="10904"/>
                  </a:cubicBezTo>
                  <a:cubicBezTo>
                    <a:pt x="21064" y="10922"/>
                    <a:pt x="20990" y="10934"/>
                    <a:pt x="20970" y="10928"/>
                  </a:cubicBezTo>
                  <a:cubicBezTo>
                    <a:pt x="20950" y="10924"/>
                    <a:pt x="20966" y="10891"/>
                    <a:pt x="21017" y="10857"/>
                  </a:cubicBezTo>
                  <a:cubicBezTo>
                    <a:pt x="21060" y="10817"/>
                    <a:pt x="21096" y="10771"/>
                    <a:pt x="21076" y="10764"/>
                  </a:cubicBezTo>
                  <a:cubicBezTo>
                    <a:pt x="21066" y="10748"/>
                    <a:pt x="20959" y="10785"/>
                    <a:pt x="20846" y="10838"/>
                  </a:cubicBezTo>
                  <a:cubicBezTo>
                    <a:pt x="20733" y="10892"/>
                    <a:pt x="20610" y="10969"/>
                    <a:pt x="20565" y="11006"/>
                  </a:cubicBezTo>
                  <a:cubicBezTo>
                    <a:pt x="20526" y="11046"/>
                    <a:pt x="20473" y="11120"/>
                    <a:pt x="20473" y="11174"/>
                  </a:cubicBezTo>
                  <a:cubicBezTo>
                    <a:pt x="20456" y="11227"/>
                    <a:pt x="20434" y="11277"/>
                    <a:pt x="20408" y="11285"/>
                  </a:cubicBezTo>
                  <a:cubicBezTo>
                    <a:pt x="20380" y="11290"/>
                    <a:pt x="20331" y="11287"/>
                    <a:pt x="20299" y="11270"/>
                  </a:cubicBezTo>
                  <a:cubicBezTo>
                    <a:pt x="20266" y="11256"/>
                    <a:pt x="20253" y="11183"/>
                    <a:pt x="20275" y="11112"/>
                  </a:cubicBezTo>
                  <a:cubicBezTo>
                    <a:pt x="20288" y="11039"/>
                    <a:pt x="20293" y="10977"/>
                    <a:pt x="20274" y="10969"/>
                  </a:cubicBezTo>
                  <a:cubicBezTo>
                    <a:pt x="20262" y="10955"/>
                    <a:pt x="20211" y="10967"/>
                    <a:pt x="20181" y="10984"/>
                  </a:cubicBezTo>
                  <a:cubicBezTo>
                    <a:pt x="20149" y="11000"/>
                    <a:pt x="20100" y="11037"/>
                    <a:pt x="20093" y="11072"/>
                  </a:cubicBezTo>
                  <a:cubicBezTo>
                    <a:pt x="20071" y="11103"/>
                    <a:pt x="20002" y="11197"/>
                    <a:pt x="19920" y="11273"/>
                  </a:cubicBezTo>
                  <a:cubicBezTo>
                    <a:pt x="19840" y="11350"/>
                    <a:pt x="19733" y="11438"/>
                    <a:pt x="19680" y="11467"/>
                  </a:cubicBezTo>
                  <a:cubicBezTo>
                    <a:pt x="19629" y="11498"/>
                    <a:pt x="19620" y="11491"/>
                    <a:pt x="19653" y="11449"/>
                  </a:cubicBezTo>
                  <a:cubicBezTo>
                    <a:pt x="19690" y="11411"/>
                    <a:pt x="19741" y="11330"/>
                    <a:pt x="19773" y="11272"/>
                  </a:cubicBezTo>
                  <a:cubicBezTo>
                    <a:pt x="19808" y="11216"/>
                    <a:pt x="19886" y="11110"/>
                    <a:pt x="19962" y="11043"/>
                  </a:cubicBezTo>
                  <a:cubicBezTo>
                    <a:pt x="20034" y="10974"/>
                    <a:pt x="20114" y="10889"/>
                    <a:pt x="20132" y="10851"/>
                  </a:cubicBezTo>
                  <a:cubicBezTo>
                    <a:pt x="20151" y="10813"/>
                    <a:pt x="20106" y="10808"/>
                    <a:pt x="20030" y="10839"/>
                  </a:cubicBezTo>
                  <a:cubicBezTo>
                    <a:pt x="19953" y="10871"/>
                    <a:pt x="19807" y="10961"/>
                    <a:pt x="19704" y="11039"/>
                  </a:cubicBezTo>
                  <a:cubicBezTo>
                    <a:pt x="19601" y="11118"/>
                    <a:pt x="19511" y="11200"/>
                    <a:pt x="19504" y="11221"/>
                  </a:cubicBezTo>
                  <a:cubicBezTo>
                    <a:pt x="19497" y="11243"/>
                    <a:pt x="19429" y="11303"/>
                    <a:pt x="19355" y="11355"/>
                  </a:cubicBezTo>
                  <a:cubicBezTo>
                    <a:pt x="19281" y="11405"/>
                    <a:pt x="19187" y="11454"/>
                    <a:pt x="19142" y="11456"/>
                  </a:cubicBezTo>
                  <a:cubicBezTo>
                    <a:pt x="19098" y="11461"/>
                    <a:pt x="19079" y="11436"/>
                    <a:pt x="19079" y="11404"/>
                  </a:cubicBezTo>
                  <a:cubicBezTo>
                    <a:pt x="19088" y="11371"/>
                    <a:pt x="19142" y="11301"/>
                    <a:pt x="19197" y="11247"/>
                  </a:cubicBezTo>
                  <a:cubicBezTo>
                    <a:pt x="19254" y="11194"/>
                    <a:pt x="19379" y="11117"/>
                    <a:pt x="19476" y="11075"/>
                  </a:cubicBezTo>
                  <a:cubicBezTo>
                    <a:pt x="19574" y="11034"/>
                    <a:pt x="19701" y="10952"/>
                    <a:pt x="19755" y="10894"/>
                  </a:cubicBezTo>
                  <a:cubicBezTo>
                    <a:pt x="19809" y="10835"/>
                    <a:pt x="19896" y="10748"/>
                    <a:pt x="19945" y="10701"/>
                  </a:cubicBezTo>
                  <a:cubicBezTo>
                    <a:pt x="19995" y="10654"/>
                    <a:pt x="20065" y="10612"/>
                    <a:pt x="20096" y="10600"/>
                  </a:cubicBezTo>
                  <a:cubicBezTo>
                    <a:pt x="20128" y="10590"/>
                    <a:pt x="20202" y="10548"/>
                    <a:pt x="20264" y="10506"/>
                  </a:cubicBezTo>
                  <a:cubicBezTo>
                    <a:pt x="20325" y="10463"/>
                    <a:pt x="20397" y="10406"/>
                    <a:pt x="20416" y="10376"/>
                  </a:cubicBezTo>
                  <a:cubicBezTo>
                    <a:pt x="20441" y="10349"/>
                    <a:pt x="20415" y="10320"/>
                    <a:pt x="20362" y="10326"/>
                  </a:cubicBezTo>
                  <a:cubicBezTo>
                    <a:pt x="20308" y="10324"/>
                    <a:pt x="20189" y="10365"/>
                    <a:pt x="20102" y="10419"/>
                  </a:cubicBezTo>
                  <a:cubicBezTo>
                    <a:pt x="20012" y="10470"/>
                    <a:pt x="19891" y="10548"/>
                    <a:pt x="19831" y="10592"/>
                  </a:cubicBezTo>
                  <a:cubicBezTo>
                    <a:pt x="19774" y="10637"/>
                    <a:pt x="19669" y="10692"/>
                    <a:pt x="19603" y="10718"/>
                  </a:cubicBezTo>
                  <a:cubicBezTo>
                    <a:pt x="19536" y="10742"/>
                    <a:pt x="19412" y="10813"/>
                    <a:pt x="19325" y="10873"/>
                  </a:cubicBezTo>
                  <a:cubicBezTo>
                    <a:pt x="19239" y="10933"/>
                    <a:pt x="19212" y="10936"/>
                    <a:pt x="19261" y="10876"/>
                  </a:cubicBezTo>
                  <a:cubicBezTo>
                    <a:pt x="19316" y="10820"/>
                    <a:pt x="19417" y="10718"/>
                    <a:pt x="19496" y="10656"/>
                  </a:cubicBezTo>
                  <a:cubicBezTo>
                    <a:pt x="19576" y="10594"/>
                    <a:pt x="19624" y="10542"/>
                    <a:pt x="19609" y="10540"/>
                  </a:cubicBezTo>
                  <a:cubicBezTo>
                    <a:pt x="19593" y="10544"/>
                    <a:pt x="19518" y="10561"/>
                    <a:pt x="19441" y="10584"/>
                  </a:cubicBezTo>
                  <a:cubicBezTo>
                    <a:pt x="19364" y="10605"/>
                    <a:pt x="19271" y="10651"/>
                    <a:pt x="19230" y="10680"/>
                  </a:cubicBezTo>
                  <a:cubicBezTo>
                    <a:pt x="19193" y="10713"/>
                    <a:pt x="19076" y="10738"/>
                    <a:pt x="18978" y="10744"/>
                  </a:cubicBezTo>
                  <a:cubicBezTo>
                    <a:pt x="18881" y="10747"/>
                    <a:pt x="18736" y="10764"/>
                    <a:pt x="18662" y="10789"/>
                  </a:cubicBezTo>
                  <a:cubicBezTo>
                    <a:pt x="18585" y="10804"/>
                    <a:pt x="18496" y="10814"/>
                    <a:pt x="18474" y="10792"/>
                  </a:cubicBezTo>
                  <a:cubicBezTo>
                    <a:pt x="18447" y="10775"/>
                    <a:pt x="18483" y="10749"/>
                    <a:pt x="18557" y="10740"/>
                  </a:cubicBezTo>
                  <a:cubicBezTo>
                    <a:pt x="18630" y="10729"/>
                    <a:pt x="18823" y="10679"/>
                    <a:pt x="18982" y="10622"/>
                  </a:cubicBezTo>
                  <a:cubicBezTo>
                    <a:pt x="19145" y="10571"/>
                    <a:pt x="19230" y="10518"/>
                    <a:pt x="19174" y="10513"/>
                  </a:cubicBezTo>
                  <a:cubicBezTo>
                    <a:pt x="19120" y="10501"/>
                    <a:pt x="19040" y="10490"/>
                    <a:pt x="18999" y="10482"/>
                  </a:cubicBezTo>
                  <a:cubicBezTo>
                    <a:pt x="18958" y="10470"/>
                    <a:pt x="18962" y="10454"/>
                    <a:pt x="19009" y="10454"/>
                  </a:cubicBezTo>
                  <a:cubicBezTo>
                    <a:pt x="19056" y="10448"/>
                    <a:pt x="19145" y="10428"/>
                    <a:pt x="19204" y="10404"/>
                  </a:cubicBezTo>
                  <a:cubicBezTo>
                    <a:pt x="19265" y="10381"/>
                    <a:pt x="19306" y="10330"/>
                    <a:pt x="19278" y="10299"/>
                  </a:cubicBezTo>
                  <a:cubicBezTo>
                    <a:pt x="19258" y="10265"/>
                    <a:pt x="19206" y="10240"/>
                    <a:pt x="19163" y="10242"/>
                  </a:cubicBezTo>
                  <a:cubicBezTo>
                    <a:pt x="19120" y="10244"/>
                    <a:pt x="19092" y="10235"/>
                    <a:pt x="19092" y="10219"/>
                  </a:cubicBezTo>
                  <a:cubicBezTo>
                    <a:pt x="19101" y="10206"/>
                    <a:pt x="19157" y="10169"/>
                    <a:pt x="19223" y="10137"/>
                  </a:cubicBezTo>
                  <a:cubicBezTo>
                    <a:pt x="19291" y="10108"/>
                    <a:pt x="19361" y="10056"/>
                    <a:pt x="19378" y="10025"/>
                  </a:cubicBezTo>
                  <a:cubicBezTo>
                    <a:pt x="19395" y="9993"/>
                    <a:pt x="19411" y="9921"/>
                    <a:pt x="19411" y="9863"/>
                  </a:cubicBezTo>
                  <a:cubicBezTo>
                    <a:pt x="19413" y="9806"/>
                    <a:pt x="19394" y="9743"/>
                    <a:pt x="19384" y="9718"/>
                  </a:cubicBezTo>
                  <a:cubicBezTo>
                    <a:pt x="19363" y="9698"/>
                    <a:pt x="19277" y="9707"/>
                    <a:pt x="19179" y="9748"/>
                  </a:cubicBezTo>
                  <a:cubicBezTo>
                    <a:pt x="19080" y="9787"/>
                    <a:pt x="18961" y="9842"/>
                    <a:pt x="18912" y="9870"/>
                  </a:cubicBezTo>
                  <a:cubicBezTo>
                    <a:pt x="18863" y="9897"/>
                    <a:pt x="18800" y="9915"/>
                    <a:pt x="18773" y="9903"/>
                  </a:cubicBezTo>
                  <a:cubicBezTo>
                    <a:pt x="18743" y="9895"/>
                    <a:pt x="18695" y="9904"/>
                    <a:pt x="18664" y="9925"/>
                  </a:cubicBezTo>
                  <a:cubicBezTo>
                    <a:pt x="18637" y="9948"/>
                    <a:pt x="18592" y="9960"/>
                    <a:pt x="18573" y="9955"/>
                  </a:cubicBezTo>
                  <a:cubicBezTo>
                    <a:pt x="18555" y="9950"/>
                    <a:pt x="18574" y="9907"/>
                    <a:pt x="18620" y="9862"/>
                  </a:cubicBezTo>
                  <a:cubicBezTo>
                    <a:pt x="18663" y="9814"/>
                    <a:pt x="18726" y="9741"/>
                    <a:pt x="18753" y="9696"/>
                  </a:cubicBezTo>
                  <a:cubicBezTo>
                    <a:pt x="18778" y="9651"/>
                    <a:pt x="18878" y="9588"/>
                    <a:pt x="18970" y="9560"/>
                  </a:cubicBezTo>
                  <a:cubicBezTo>
                    <a:pt x="19059" y="9526"/>
                    <a:pt x="19170" y="9478"/>
                    <a:pt x="19214" y="9449"/>
                  </a:cubicBezTo>
                  <a:cubicBezTo>
                    <a:pt x="19259" y="9421"/>
                    <a:pt x="19319" y="9349"/>
                    <a:pt x="19342" y="9291"/>
                  </a:cubicBezTo>
                  <a:cubicBezTo>
                    <a:pt x="19372" y="9234"/>
                    <a:pt x="19387" y="9172"/>
                    <a:pt x="19375" y="9158"/>
                  </a:cubicBezTo>
                  <a:cubicBezTo>
                    <a:pt x="19375" y="9142"/>
                    <a:pt x="19300" y="9170"/>
                    <a:pt x="19225" y="9212"/>
                  </a:cubicBezTo>
                  <a:cubicBezTo>
                    <a:pt x="19154" y="9257"/>
                    <a:pt x="19004" y="9349"/>
                    <a:pt x="18891" y="9414"/>
                  </a:cubicBezTo>
                  <a:cubicBezTo>
                    <a:pt x="18783" y="9485"/>
                    <a:pt x="18642" y="9574"/>
                    <a:pt x="18587" y="9620"/>
                  </a:cubicBezTo>
                  <a:cubicBezTo>
                    <a:pt x="18529" y="9665"/>
                    <a:pt x="18437" y="9738"/>
                    <a:pt x="18373" y="9774"/>
                  </a:cubicBezTo>
                  <a:cubicBezTo>
                    <a:pt x="18310" y="9810"/>
                    <a:pt x="18242" y="9884"/>
                    <a:pt x="18212" y="9931"/>
                  </a:cubicBezTo>
                  <a:cubicBezTo>
                    <a:pt x="18184" y="9978"/>
                    <a:pt x="18163" y="10043"/>
                    <a:pt x="18151" y="10072"/>
                  </a:cubicBezTo>
                  <a:cubicBezTo>
                    <a:pt x="18149" y="10102"/>
                    <a:pt x="18107" y="10143"/>
                    <a:pt x="18070" y="10166"/>
                  </a:cubicBezTo>
                  <a:cubicBezTo>
                    <a:pt x="18030" y="10183"/>
                    <a:pt x="18014" y="10168"/>
                    <a:pt x="18021" y="10123"/>
                  </a:cubicBezTo>
                  <a:cubicBezTo>
                    <a:pt x="18031" y="10078"/>
                    <a:pt x="18050" y="9999"/>
                    <a:pt x="18080" y="9954"/>
                  </a:cubicBezTo>
                  <a:cubicBezTo>
                    <a:pt x="18100" y="9906"/>
                    <a:pt x="18158" y="9832"/>
                    <a:pt x="18206" y="9789"/>
                  </a:cubicBezTo>
                  <a:cubicBezTo>
                    <a:pt x="18249" y="9743"/>
                    <a:pt x="18370" y="9646"/>
                    <a:pt x="18468" y="9570"/>
                  </a:cubicBezTo>
                  <a:cubicBezTo>
                    <a:pt x="18565" y="9493"/>
                    <a:pt x="18676" y="9397"/>
                    <a:pt x="18708" y="9355"/>
                  </a:cubicBezTo>
                  <a:cubicBezTo>
                    <a:pt x="18747" y="9315"/>
                    <a:pt x="18764" y="9272"/>
                    <a:pt x="18746" y="9268"/>
                  </a:cubicBezTo>
                  <a:cubicBezTo>
                    <a:pt x="18730" y="9263"/>
                    <a:pt x="18664" y="9286"/>
                    <a:pt x="18599" y="9324"/>
                  </a:cubicBezTo>
                  <a:cubicBezTo>
                    <a:pt x="18533" y="9361"/>
                    <a:pt x="18445" y="9425"/>
                    <a:pt x="18404" y="9465"/>
                  </a:cubicBezTo>
                  <a:cubicBezTo>
                    <a:pt x="18367" y="9507"/>
                    <a:pt x="18331" y="9548"/>
                    <a:pt x="18330" y="9560"/>
                  </a:cubicBezTo>
                  <a:cubicBezTo>
                    <a:pt x="18330" y="9571"/>
                    <a:pt x="18264" y="9613"/>
                    <a:pt x="18182" y="9649"/>
                  </a:cubicBezTo>
                  <a:cubicBezTo>
                    <a:pt x="18102" y="9688"/>
                    <a:pt x="17997" y="9754"/>
                    <a:pt x="17943" y="9792"/>
                  </a:cubicBezTo>
                  <a:cubicBezTo>
                    <a:pt x="17893" y="9831"/>
                    <a:pt x="17839" y="9888"/>
                    <a:pt x="17831" y="9918"/>
                  </a:cubicBezTo>
                  <a:cubicBezTo>
                    <a:pt x="17819" y="9947"/>
                    <a:pt x="17740" y="10028"/>
                    <a:pt x="17665" y="10106"/>
                  </a:cubicBezTo>
                  <a:cubicBezTo>
                    <a:pt x="17582" y="10178"/>
                    <a:pt x="17488" y="10259"/>
                    <a:pt x="17446" y="10280"/>
                  </a:cubicBezTo>
                  <a:cubicBezTo>
                    <a:pt x="17404" y="10301"/>
                    <a:pt x="17382" y="10289"/>
                    <a:pt x="17398" y="10253"/>
                  </a:cubicBezTo>
                  <a:cubicBezTo>
                    <a:pt x="17411" y="10215"/>
                    <a:pt x="17467" y="10143"/>
                    <a:pt x="17516" y="10090"/>
                  </a:cubicBezTo>
                  <a:cubicBezTo>
                    <a:pt x="17564" y="10037"/>
                    <a:pt x="17690" y="9914"/>
                    <a:pt x="17798" y="9819"/>
                  </a:cubicBezTo>
                  <a:cubicBezTo>
                    <a:pt x="17907" y="9724"/>
                    <a:pt x="18025" y="9617"/>
                    <a:pt x="18062" y="9582"/>
                  </a:cubicBezTo>
                  <a:cubicBezTo>
                    <a:pt x="18100" y="9547"/>
                    <a:pt x="18136" y="9490"/>
                    <a:pt x="18142" y="9453"/>
                  </a:cubicBezTo>
                  <a:cubicBezTo>
                    <a:pt x="18153" y="9418"/>
                    <a:pt x="18104" y="9396"/>
                    <a:pt x="18051" y="9415"/>
                  </a:cubicBezTo>
                  <a:cubicBezTo>
                    <a:pt x="17995" y="9429"/>
                    <a:pt x="17895" y="9479"/>
                    <a:pt x="17832" y="9526"/>
                  </a:cubicBezTo>
                  <a:cubicBezTo>
                    <a:pt x="17766" y="9571"/>
                    <a:pt x="17696" y="9640"/>
                    <a:pt x="17671" y="9677"/>
                  </a:cubicBezTo>
                  <a:cubicBezTo>
                    <a:pt x="17646" y="9713"/>
                    <a:pt x="17605" y="9762"/>
                    <a:pt x="17572" y="9781"/>
                  </a:cubicBezTo>
                  <a:cubicBezTo>
                    <a:pt x="17540" y="9799"/>
                    <a:pt x="17523" y="9794"/>
                    <a:pt x="17523" y="9763"/>
                  </a:cubicBezTo>
                  <a:cubicBezTo>
                    <a:pt x="17526" y="9734"/>
                    <a:pt x="17582" y="9657"/>
                    <a:pt x="17641" y="9591"/>
                  </a:cubicBezTo>
                  <a:cubicBezTo>
                    <a:pt x="17704" y="9527"/>
                    <a:pt x="17779" y="9445"/>
                    <a:pt x="17813" y="9413"/>
                  </a:cubicBezTo>
                  <a:cubicBezTo>
                    <a:pt x="17840" y="9378"/>
                    <a:pt x="17869" y="9330"/>
                    <a:pt x="17847" y="9308"/>
                  </a:cubicBezTo>
                  <a:cubicBezTo>
                    <a:pt x="17835" y="9282"/>
                    <a:pt x="17772" y="9258"/>
                    <a:pt x="17714" y="9258"/>
                  </a:cubicBezTo>
                  <a:cubicBezTo>
                    <a:pt x="17657" y="9251"/>
                    <a:pt x="17631" y="9238"/>
                    <a:pt x="17656" y="9218"/>
                  </a:cubicBezTo>
                  <a:cubicBezTo>
                    <a:pt x="17685" y="9202"/>
                    <a:pt x="17684" y="9170"/>
                    <a:pt x="17659" y="9157"/>
                  </a:cubicBezTo>
                  <a:cubicBezTo>
                    <a:pt x="17634" y="9143"/>
                    <a:pt x="17537" y="9146"/>
                    <a:pt x="17443" y="9164"/>
                  </a:cubicBezTo>
                  <a:cubicBezTo>
                    <a:pt x="17347" y="9182"/>
                    <a:pt x="17228" y="9221"/>
                    <a:pt x="17173" y="9244"/>
                  </a:cubicBezTo>
                  <a:cubicBezTo>
                    <a:pt x="17121" y="9271"/>
                    <a:pt x="17106" y="9260"/>
                    <a:pt x="17140" y="9224"/>
                  </a:cubicBezTo>
                  <a:cubicBezTo>
                    <a:pt x="17174" y="9187"/>
                    <a:pt x="17258" y="9142"/>
                    <a:pt x="17322" y="9121"/>
                  </a:cubicBezTo>
                  <a:cubicBezTo>
                    <a:pt x="17386" y="9100"/>
                    <a:pt x="17389" y="9086"/>
                    <a:pt x="17327" y="9086"/>
                  </a:cubicBezTo>
                  <a:cubicBezTo>
                    <a:pt x="17266" y="9089"/>
                    <a:pt x="17141" y="9110"/>
                    <a:pt x="17048" y="9126"/>
                  </a:cubicBezTo>
                  <a:cubicBezTo>
                    <a:pt x="16957" y="9150"/>
                    <a:pt x="16825" y="9198"/>
                    <a:pt x="16762" y="9246"/>
                  </a:cubicBezTo>
                  <a:cubicBezTo>
                    <a:pt x="16699" y="9293"/>
                    <a:pt x="16660" y="9299"/>
                    <a:pt x="16678" y="9261"/>
                  </a:cubicBezTo>
                  <a:cubicBezTo>
                    <a:pt x="16699" y="9225"/>
                    <a:pt x="16817" y="9139"/>
                    <a:pt x="16952" y="9081"/>
                  </a:cubicBezTo>
                  <a:cubicBezTo>
                    <a:pt x="17082" y="9017"/>
                    <a:pt x="17267" y="8945"/>
                    <a:pt x="17357" y="8917"/>
                  </a:cubicBezTo>
                  <a:cubicBezTo>
                    <a:pt x="17448" y="8890"/>
                    <a:pt x="17550" y="8872"/>
                    <a:pt x="17584" y="8883"/>
                  </a:cubicBezTo>
                  <a:cubicBezTo>
                    <a:pt x="17620" y="8889"/>
                    <a:pt x="17696" y="8896"/>
                    <a:pt x="17757" y="8900"/>
                  </a:cubicBezTo>
                  <a:cubicBezTo>
                    <a:pt x="17818" y="8895"/>
                    <a:pt x="17887" y="8881"/>
                    <a:pt x="17906" y="8855"/>
                  </a:cubicBezTo>
                  <a:cubicBezTo>
                    <a:pt x="17927" y="8832"/>
                    <a:pt x="17971" y="8770"/>
                    <a:pt x="18019" y="8728"/>
                  </a:cubicBezTo>
                  <a:cubicBezTo>
                    <a:pt x="18058" y="8681"/>
                    <a:pt x="18048" y="8660"/>
                    <a:pt x="17987" y="8672"/>
                  </a:cubicBezTo>
                  <a:cubicBezTo>
                    <a:pt x="17930" y="8691"/>
                    <a:pt x="17827" y="8698"/>
                    <a:pt x="17762" y="8700"/>
                  </a:cubicBezTo>
                  <a:cubicBezTo>
                    <a:pt x="17699" y="8700"/>
                    <a:pt x="17593" y="8695"/>
                    <a:pt x="17529" y="8684"/>
                  </a:cubicBezTo>
                  <a:cubicBezTo>
                    <a:pt x="17466" y="8671"/>
                    <a:pt x="17369" y="8677"/>
                    <a:pt x="17316" y="8689"/>
                  </a:cubicBezTo>
                  <a:cubicBezTo>
                    <a:pt x="17263" y="8702"/>
                    <a:pt x="17203" y="8748"/>
                    <a:pt x="17179" y="8794"/>
                  </a:cubicBezTo>
                  <a:cubicBezTo>
                    <a:pt x="17156" y="8840"/>
                    <a:pt x="17104" y="8885"/>
                    <a:pt x="17062" y="8898"/>
                  </a:cubicBezTo>
                  <a:cubicBezTo>
                    <a:pt x="17021" y="8912"/>
                    <a:pt x="16992" y="8901"/>
                    <a:pt x="17000" y="8881"/>
                  </a:cubicBezTo>
                  <a:cubicBezTo>
                    <a:pt x="17010" y="8861"/>
                    <a:pt x="17044" y="8824"/>
                    <a:pt x="17077" y="8799"/>
                  </a:cubicBezTo>
                  <a:cubicBezTo>
                    <a:pt x="17115" y="8777"/>
                    <a:pt x="17149" y="8730"/>
                    <a:pt x="17167" y="8704"/>
                  </a:cubicBezTo>
                  <a:cubicBezTo>
                    <a:pt x="17187" y="8679"/>
                    <a:pt x="17145" y="8667"/>
                    <a:pt x="17081" y="8681"/>
                  </a:cubicBezTo>
                  <a:cubicBezTo>
                    <a:pt x="17017" y="8695"/>
                    <a:pt x="16952" y="8732"/>
                    <a:pt x="16929" y="8759"/>
                  </a:cubicBezTo>
                  <a:cubicBezTo>
                    <a:pt x="16909" y="8788"/>
                    <a:pt x="16868" y="8831"/>
                    <a:pt x="16832" y="8847"/>
                  </a:cubicBezTo>
                  <a:cubicBezTo>
                    <a:pt x="16800" y="8866"/>
                    <a:pt x="16767" y="8860"/>
                    <a:pt x="16748" y="8841"/>
                  </a:cubicBezTo>
                  <a:cubicBezTo>
                    <a:pt x="16739" y="8818"/>
                    <a:pt x="16733" y="8776"/>
                    <a:pt x="16739" y="8745"/>
                  </a:cubicBezTo>
                  <a:cubicBezTo>
                    <a:pt x="16748" y="8714"/>
                    <a:pt x="16731" y="8683"/>
                    <a:pt x="16702" y="8682"/>
                  </a:cubicBezTo>
                  <a:cubicBezTo>
                    <a:pt x="16674" y="8683"/>
                    <a:pt x="16626" y="8686"/>
                    <a:pt x="16598" y="8702"/>
                  </a:cubicBezTo>
                  <a:cubicBezTo>
                    <a:pt x="16569" y="8716"/>
                    <a:pt x="16518" y="8719"/>
                    <a:pt x="16489" y="8702"/>
                  </a:cubicBezTo>
                  <a:cubicBezTo>
                    <a:pt x="16456" y="8691"/>
                    <a:pt x="16411" y="8669"/>
                    <a:pt x="16383" y="8664"/>
                  </a:cubicBezTo>
                  <a:cubicBezTo>
                    <a:pt x="16356" y="8660"/>
                    <a:pt x="16292" y="8666"/>
                    <a:pt x="16240" y="8681"/>
                  </a:cubicBezTo>
                  <a:cubicBezTo>
                    <a:pt x="16189" y="8699"/>
                    <a:pt x="16202" y="8670"/>
                    <a:pt x="16271" y="8621"/>
                  </a:cubicBezTo>
                  <a:cubicBezTo>
                    <a:pt x="16339" y="8571"/>
                    <a:pt x="16424" y="8517"/>
                    <a:pt x="16462" y="8505"/>
                  </a:cubicBezTo>
                  <a:cubicBezTo>
                    <a:pt x="16497" y="8489"/>
                    <a:pt x="16601" y="8492"/>
                    <a:pt x="16689" y="8513"/>
                  </a:cubicBezTo>
                  <a:cubicBezTo>
                    <a:pt x="16780" y="8529"/>
                    <a:pt x="16881" y="8538"/>
                    <a:pt x="16916" y="8524"/>
                  </a:cubicBezTo>
                  <a:cubicBezTo>
                    <a:pt x="16952" y="8512"/>
                    <a:pt x="16986" y="8482"/>
                    <a:pt x="16981" y="8460"/>
                  </a:cubicBezTo>
                  <a:cubicBezTo>
                    <a:pt x="16986" y="8437"/>
                    <a:pt x="16842" y="8403"/>
                    <a:pt x="16673" y="8384"/>
                  </a:cubicBezTo>
                  <a:cubicBezTo>
                    <a:pt x="16505" y="8363"/>
                    <a:pt x="16305" y="8351"/>
                    <a:pt x="16228" y="8358"/>
                  </a:cubicBezTo>
                  <a:cubicBezTo>
                    <a:pt x="16153" y="8363"/>
                    <a:pt x="16081" y="8356"/>
                    <a:pt x="16068" y="8344"/>
                  </a:cubicBezTo>
                  <a:cubicBezTo>
                    <a:pt x="16058" y="8332"/>
                    <a:pt x="16097" y="8309"/>
                    <a:pt x="16156" y="8289"/>
                  </a:cubicBezTo>
                  <a:cubicBezTo>
                    <a:pt x="16216" y="8273"/>
                    <a:pt x="16367" y="8257"/>
                    <a:pt x="16492" y="8260"/>
                  </a:cubicBezTo>
                  <a:cubicBezTo>
                    <a:pt x="16617" y="8266"/>
                    <a:pt x="16794" y="8248"/>
                    <a:pt x="16885" y="8231"/>
                  </a:cubicBezTo>
                  <a:cubicBezTo>
                    <a:pt x="16976" y="8214"/>
                    <a:pt x="17159" y="8190"/>
                    <a:pt x="17295" y="8186"/>
                  </a:cubicBezTo>
                  <a:cubicBezTo>
                    <a:pt x="17429" y="8177"/>
                    <a:pt x="17576" y="8168"/>
                    <a:pt x="17616" y="8153"/>
                  </a:cubicBezTo>
                  <a:cubicBezTo>
                    <a:pt x="17660" y="8146"/>
                    <a:pt x="17679" y="8117"/>
                    <a:pt x="17663" y="8100"/>
                  </a:cubicBezTo>
                  <a:cubicBezTo>
                    <a:pt x="17649" y="8084"/>
                    <a:pt x="17659" y="8049"/>
                    <a:pt x="17661" y="8016"/>
                  </a:cubicBezTo>
                  <a:cubicBezTo>
                    <a:pt x="17675" y="7987"/>
                    <a:pt x="17668" y="7951"/>
                    <a:pt x="17651" y="7933"/>
                  </a:cubicBezTo>
                  <a:cubicBezTo>
                    <a:pt x="17629" y="7920"/>
                    <a:pt x="17577" y="7901"/>
                    <a:pt x="17529" y="7900"/>
                  </a:cubicBezTo>
                  <a:cubicBezTo>
                    <a:pt x="17482" y="7895"/>
                    <a:pt x="17404" y="7888"/>
                    <a:pt x="17363" y="7869"/>
                  </a:cubicBezTo>
                  <a:cubicBezTo>
                    <a:pt x="17316" y="7861"/>
                    <a:pt x="17304" y="7833"/>
                    <a:pt x="17326" y="7817"/>
                  </a:cubicBezTo>
                  <a:cubicBezTo>
                    <a:pt x="17351" y="7804"/>
                    <a:pt x="17405" y="7782"/>
                    <a:pt x="17447" y="7770"/>
                  </a:cubicBezTo>
                  <a:cubicBezTo>
                    <a:pt x="17490" y="7757"/>
                    <a:pt x="17534" y="7760"/>
                    <a:pt x="17545" y="7774"/>
                  </a:cubicBezTo>
                  <a:cubicBezTo>
                    <a:pt x="17558" y="7788"/>
                    <a:pt x="17591" y="7799"/>
                    <a:pt x="17614" y="7810"/>
                  </a:cubicBezTo>
                  <a:cubicBezTo>
                    <a:pt x="17641" y="7812"/>
                    <a:pt x="17695" y="7800"/>
                    <a:pt x="17738" y="7777"/>
                  </a:cubicBezTo>
                  <a:cubicBezTo>
                    <a:pt x="17779" y="7752"/>
                    <a:pt x="17872" y="7723"/>
                    <a:pt x="17942" y="7705"/>
                  </a:cubicBezTo>
                  <a:cubicBezTo>
                    <a:pt x="18015" y="7694"/>
                    <a:pt x="18090" y="7669"/>
                    <a:pt x="18110" y="7658"/>
                  </a:cubicBezTo>
                  <a:cubicBezTo>
                    <a:pt x="18132" y="7649"/>
                    <a:pt x="18151" y="7627"/>
                    <a:pt x="18149" y="7611"/>
                  </a:cubicBezTo>
                  <a:cubicBezTo>
                    <a:pt x="18157" y="7598"/>
                    <a:pt x="18117" y="7579"/>
                    <a:pt x="18076" y="7578"/>
                  </a:cubicBezTo>
                  <a:cubicBezTo>
                    <a:pt x="18036" y="7578"/>
                    <a:pt x="18007" y="7557"/>
                    <a:pt x="18015" y="7540"/>
                  </a:cubicBezTo>
                  <a:cubicBezTo>
                    <a:pt x="18022" y="7523"/>
                    <a:pt x="18006" y="7487"/>
                    <a:pt x="17983" y="7462"/>
                  </a:cubicBezTo>
                  <a:cubicBezTo>
                    <a:pt x="17959" y="7437"/>
                    <a:pt x="17891" y="7434"/>
                    <a:pt x="17829" y="7451"/>
                  </a:cubicBezTo>
                  <a:cubicBezTo>
                    <a:pt x="17768" y="7471"/>
                    <a:pt x="17661" y="7513"/>
                    <a:pt x="17594" y="7548"/>
                  </a:cubicBezTo>
                  <a:cubicBezTo>
                    <a:pt x="17525" y="7580"/>
                    <a:pt x="17394" y="7627"/>
                    <a:pt x="17301" y="7647"/>
                  </a:cubicBezTo>
                  <a:cubicBezTo>
                    <a:pt x="17207" y="7666"/>
                    <a:pt x="17110" y="7705"/>
                    <a:pt x="17081" y="7729"/>
                  </a:cubicBezTo>
                  <a:cubicBezTo>
                    <a:pt x="17050" y="7749"/>
                    <a:pt x="17004" y="7788"/>
                    <a:pt x="16964" y="7796"/>
                  </a:cubicBezTo>
                  <a:cubicBezTo>
                    <a:pt x="16926" y="7807"/>
                    <a:pt x="16901" y="7795"/>
                    <a:pt x="16901" y="7766"/>
                  </a:cubicBezTo>
                  <a:cubicBezTo>
                    <a:pt x="16909" y="7739"/>
                    <a:pt x="16964" y="7682"/>
                    <a:pt x="17038" y="7644"/>
                  </a:cubicBezTo>
                  <a:cubicBezTo>
                    <a:pt x="17113" y="7608"/>
                    <a:pt x="17239" y="7557"/>
                    <a:pt x="17322" y="7540"/>
                  </a:cubicBezTo>
                  <a:cubicBezTo>
                    <a:pt x="17405" y="7523"/>
                    <a:pt x="17507" y="7488"/>
                    <a:pt x="17550" y="7468"/>
                  </a:cubicBezTo>
                  <a:cubicBezTo>
                    <a:pt x="17593" y="7446"/>
                    <a:pt x="17705" y="7408"/>
                    <a:pt x="17799" y="7383"/>
                  </a:cubicBezTo>
                  <a:cubicBezTo>
                    <a:pt x="17892" y="7357"/>
                    <a:pt x="17994" y="7318"/>
                    <a:pt x="18021" y="7292"/>
                  </a:cubicBezTo>
                  <a:cubicBezTo>
                    <a:pt x="18052" y="7268"/>
                    <a:pt x="18028" y="7251"/>
                    <a:pt x="17971" y="7257"/>
                  </a:cubicBezTo>
                  <a:cubicBezTo>
                    <a:pt x="17915" y="7264"/>
                    <a:pt x="17814" y="7265"/>
                    <a:pt x="17747" y="7268"/>
                  </a:cubicBezTo>
                  <a:cubicBezTo>
                    <a:pt x="17681" y="7265"/>
                    <a:pt x="17616" y="7258"/>
                    <a:pt x="17603" y="7243"/>
                  </a:cubicBezTo>
                  <a:cubicBezTo>
                    <a:pt x="17588" y="7229"/>
                    <a:pt x="17620" y="7217"/>
                    <a:pt x="17668" y="7224"/>
                  </a:cubicBezTo>
                  <a:cubicBezTo>
                    <a:pt x="17716" y="7232"/>
                    <a:pt x="17810" y="7216"/>
                    <a:pt x="17876" y="7199"/>
                  </a:cubicBezTo>
                  <a:cubicBezTo>
                    <a:pt x="17942" y="7183"/>
                    <a:pt x="18037" y="7152"/>
                    <a:pt x="18090" y="7137"/>
                  </a:cubicBezTo>
                  <a:cubicBezTo>
                    <a:pt x="18144" y="7128"/>
                    <a:pt x="18211" y="7110"/>
                    <a:pt x="18243" y="7109"/>
                  </a:cubicBezTo>
                  <a:cubicBezTo>
                    <a:pt x="18276" y="7109"/>
                    <a:pt x="18350" y="7147"/>
                    <a:pt x="18414" y="7187"/>
                  </a:cubicBezTo>
                  <a:cubicBezTo>
                    <a:pt x="18478" y="7229"/>
                    <a:pt x="18562" y="7262"/>
                    <a:pt x="18606" y="7262"/>
                  </a:cubicBezTo>
                  <a:cubicBezTo>
                    <a:pt x="18650" y="7265"/>
                    <a:pt x="18722" y="7237"/>
                    <a:pt x="18770" y="7217"/>
                  </a:cubicBezTo>
                  <a:cubicBezTo>
                    <a:pt x="18818" y="7197"/>
                    <a:pt x="18862" y="7195"/>
                    <a:pt x="18880" y="7214"/>
                  </a:cubicBezTo>
                  <a:cubicBezTo>
                    <a:pt x="18897" y="7233"/>
                    <a:pt x="18930" y="7252"/>
                    <a:pt x="18960" y="7257"/>
                  </a:cubicBezTo>
                  <a:cubicBezTo>
                    <a:pt x="18991" y="7260"/>
                    <a:pt x="19052" y="7235"/>
                    <a:pt x="19097" y="7203"/>
                  </a:cubicBezTo>
                  <a:cubicBezTo>
                    <a:pt x="19141" y="7171"/>
                    <a:pt x="19202" y="7139"/>
                    <a:pt x="19229" y="7127"/>
                  </a:cubicBezTo>
                  <a:cubicBezTo>
                    <a:pt x="19257" y="7119"/>
                    <a:pt x="19300" y="7135"/>
                    <a:pt x="19316" y="7167"/>
                  </a:cubicBezTo>
                  <a:cubicBezTo>
                    <a:pt x="19341" y="7196"/>
                    <a:pt x="19395" y="7218"/>
                    <a:pt x="19447" y="7205"/>
                  </a:cubicBezTo>
                  <a:cubicBezTo>
                    <a:pt x="19500" y="7193"/>
                    <a:pt x="19574" y="7168"/>
                    <a:pt x="19610" y="7145"/>
                  </a:cubicBezTo>
                  <a:cubicBezTo>
                    <a:pt x="19645" y="7121"/>
                    <a:pt x="19702" y="7064"/>
                    <a:pt x="19713" y="7010"/>
                  </a:cubicBezTo>
                  <a:cubicBezTo>
                    <a:pt x="19734" y="6958"/>
                    <a:pt x="19737" y="6889"/>
                    <a:pt x="19712" y="6861"/>
                  </a:cubicBezTo>
                  <a:cubicBezTo>
                    <a:pt x="19696" y="6829"/>
                    <a:pt x="19680" y="6778"/>
                    <a:pt x="19686" y="6745"/>
                  </a:cubicBezTo>
                  <a:cubicBezTo>
                    <a:pt x="19691" y="6712"/>
                    <a:pt x="19639" y="6686"/>
                    <a:pt x="19571" y="6681"/>
                  </a:cubicBezTo>
                  <a:cubicBezTo>
                    <a:pt x="19502" y="6678"/>
                    <a:pt x="19404" y="6669"/>
                    <a:pt x="19353" y="6658"/>
                  </a:cubicBezTo>
                  <a:cubicBezTo>
                    <a:pt x="19302" y="6646"/>
                    <a:pt x="19233" y="6637"/>
                    <a:pt x="19206" y="6623"/>
                  </a:cubicBezTo>
                  <a:cubicBezTo>
                    <a:pt x="19174" y="6618"/>
                    <a:pt x="19112" y="6624"/>
                    <a:pt x="19065" y="6640"/>
                  </a:cubicBezTo>
                  <a:cubicBezTo>
                    <a:pt x="19017" y="6654"/>
                    <a:pt x="18943" y="6688"/>
                    <a:pt x="18896" y="6710"/>
                  </a:cubicBezTo>
                  <a:cubicBezTo>
                    <a:pt x="18849" y="6731"/>
                    <a:pt x="18776" y="6745"/>
                    <a:pt x="18732" y="6738"/>
                  </a:cubicBezTo>
                  <a:cubicBezTo>
                    <a:pt x="18687" y="6729"/>
                    <a:pt x="18587" y="6696"/>
                    <a:pt x="18513" y="6657"/>
                  </a:cubicBezTo>
                  <a:cubicBezTo>
                    <a:pt x="18433" y="6624"/>
                    <a:pt x="18324" y="6588"/>
                    <a:pt x="18263" y="6592"/>
                  </a:cubicBezTo>
                  <a:cubicBezTo>
                    <a:pt x="18201" y="6592"/>
                    <a:pt x="18037" y="6627"/>
                    <a:pt x="17902" y="6672"/>
                  </a:cubicBezTo>
                  <a:cubicBezTo>
                    <a:pt x="17764" y="6711"/>
                    <a:pt x="17616" y="6748"/>
                    <a:pt x="17571" y="6746"/>
                  </a:cubicBezTo>
                  <a:cubicBezTo>
                    <a:pt x="17526" y="6746"/>
                    <a:pt x="17589" y="6717"/>
                    <a:pt x="17708" y="6677"/>
                  </a:cubicBezTo>
                  <a:cubicBezTo>
                    <a:pt x="17829" y="6640"/>
                    <a:pt x="17978" y="6578"/>
                    <a:pt x="18036" y="6539"/>
                  </a:cubicBezTo>
                  <a:cubicBezTo>
                    <a:pt x="18097" y="6502"/>
                    <a:pt x="18194" y="6456"/>
                    <a:pt x="18254" y="6440"/>
                  </a:cubicBezTo>
                  <a:cubicBezTo>
                    <a:pt x="18315" y="6424"/>
                    <a:pt x="18380" y="6417"/>
                    <a:pt x="18397" y="6424"/>
                  </a:cubicBezTo>
                  <a:cubicBezTo>
                    <a:pt x="18417" y="6428"/>
                    <a:pt x="18468" y="6426"/>
                    <a:pt x="18514" y="6416"/>
                  </a:cubicBezTo>
                  <a:cubicBezTo>
                    <a:pt x="18561" y="6406"/>
                    <a:pt x="18653" y="6362"/>
                    <a:pt x="18727" y="6326"/>
                  </a:cubicBezTo>
                  <a:cubicBezTo>
                    <a:pt x="18796" y="6285"/>
                    <a:pt x="18908" y="6231"/>
                    <a:pt x="18972" y="6200"/>
                  </a:cubicBezTo>
                  <a:cubicBezTo>
                    <a:pt x="19035" y="6169"/>
                    <a:pt x="19171" y="6125"/>
                    <a:pt x="19275" y="6111"/>
                  </a:cubicBezTo>
                  <a:cubicBezTo>
                    <a:pt x="19379" y="6092"/>
                    <a:pt x="19495" y="6092"/>
                    <a:pt x="19536" y="6100"/>
                  </a:cubicBezTo>
                  <a:cubicBezTo>
                    <a:pt x="19575" y="6114"/>
                    <a:pt x="19675" y="6108"/>
                    <a:pt x="19757" y="6093"/>
                  </a:cubicBezTo>
                  <a:cubicBezTo>
                    <a:pt x="19839" y="6080"/>
                    <a:pt x="19944" y="6031"/>
                    <a:pt x="19992" y="5991"/>
                  </a:cubicBezTo>
                  <a:cubicBezTo>
                    <a:pt x="20040" y="5951"/>
                    <a:pt x="20103" y="5885"/>
                    <a:pt x="20135" y="5846"/>
                  </a:cubicBezTo>
                  <a:cubicBezTo>
                    <a:pt x="20167" y="5807"/>
                    <a:pt x="20166" y="5755"/>
                    <a:pt x="20142" y="5728"/>
                  </a:cubicBezTo>
                  <a:cubicBezTo>
                    <a:pt x="20120" y="5700"/>
                    <a:pt x="20103" y="5637"/>
                    <a:pt x="20109" y="5583"/>
                  </a:cubicBezTo>
                  <a:cubicBezTo>
                    <a:pt x="20122" y="5530"/>
                    <a:pt x="20102" y="5421"/>
                    <a:pt x="20074" y="5343"/>
                  </a:cubicBezTo>
                  <a:cubicBezTo>
                    <a:pt x="20043" y="5265"/>
                    <a:pt x="20025" y="5164"/>
                    <a:pt x="20025" y="5119"/>
                  </a:cubicBezTo>
                  <a:cubicBezTo>
                    <a:pt x="20027" y="5075"/>
                    <a:pt x="19998" y="5048"/>
                    <a:pt x="19964" y="5063"/>
                  </a:cubicBezTo>
                  <a:cubicBezTo>
                    <a:pt x="19932" y="5077"/>
                    <a:pt x="19890" y="5085"/>
                    <a:pt x="19882" y="5076"/>
                  </a:cubicBezTo>
                  <a:cubicBezTo>
                    <a:pt x="19874" y="5066"/>
                    <a:pt x="19815" y="5080"/>
                    <a:pt x="19762" y="5100"/>
                  </a:cubicBezTo>
                  <a:cubicBezTo>
                    <a:pt x="19708" y="5119"/>
                    <a:pt x="19654" y="5156"/>
                    <a:pt x="19639" y="5182"/>
                  </a:cubicBezTo>
                  <a:cubicBezTo>
                    <a:pt x="19622" y="5206"/>
                    <a:pt x="19565" y="5269"/>
                    <a:pt x="19503" y="5315"/>
                  </a:cubicBezTo>
                  <a:cubicBezTo>
                    <a:pt x="19444" y="5364"/>
                    <a:pt x="19406" y="5413"/>
                    <a:pt x="19426" y="5419"/>
                  </a:cubicBezTo>
                  <a:cubicBezTo>
                    <a:pt x="19439" y="5432"/>
                    <a:pt x="19447" y="5457"/>
                    <a:pt x="19436" y="5485"/>
                  </a:cubicBezTo>
                  <a:cubicBezTo>
                    <a:pt x="19425" y="5513"/>
                    <a:pt x="19388" y="5552"/>
                    <a:pt x="19354" y="5571"/>
                  </a:cubicBezTo>
                  <a:cubicBezTo>
                    <a:pt x="19322" y="5591"/>
                    <a:pt x="19228" y="5637"/>
                    <a:pt x="19145" y="5674"/>
                  </a:cubicBezTo>
                  <a:cubicBezTo>
                    <a:pt x="19064" y="5714"/>
                    <a:pt x="18943" y="5782"/>
                    <a:pt x="18876" y="5827"/>
                  </a:cubicBezTo>
                  <a:cubicBezTo>
                    <a:pt x="18810" y="5872"/>
                    <a:pt x="18706" y="5916"/>
                    <a:pt x="18643" y="5924"/>
                  </a:cubicBezTo>
                  <a:cubicBezTo>
                    <a:pt x="18579" y="5930"/>
                    <a:pt x="18492" y="5937"/>
                    <a:pt x="18449" y="5934"/>
                  </a:cubicBezTo>
                  <a:cubicBezTo>
                    <a:pt x="18407" y="5938"/>
                    <a:pt x="18312" y="5956"/>
                    <a:pt x="18240" y="5984"/>
                  </a:cubicBezTo>
                  <a:cubicBezTo>
                    <a:pt x="18166" y="6011"/>
                    <a:pt x="18055" y="6083"/>
                    <a:pt x="17985" y="6135"/>
                  </a:cubicBezTo>
                  <a:cubicBezTo>
                    <a:pt x="17918" y="6189"/>
                    <a:pt x="17786" y="6281"/>
                    <a:pt x="17690" y="6336"/>
                  </a:cubicBezTo>
                  <a:cubicBezTo>
                    <a:pt x="17594" y="6391"/>
                    <a:pt x="17494" y="6430"/>
                    <a:pt x="17464" y="6428"/>
                  </a:cubicBezTo>
                  <a:cubicBezTo>
                    <a:pt x="17434" y="6427"/>
                    <a:pt x="17371" y="6418"/>
                    <a:pt x="17323" y="6425"/>
                  </a:cubicBezTo>
                  <a:cubicBezTo>
                    <a:pt x="17275" y="6426"/>
                    <a:pt x="17177" y="6457"/>
                    <a:pt x="17106" y="6486"/>
                  </a:cubicBezTo>
                  <a:cubicBezTo>
                    <a:pt x="17036" y="6516"/>
                    <a:pt x="16943" y="6552"/>
                    <a:pt x="16901" y="6566"/>
                  </a:cubicBezTo>
                  <a:cubicBezTo>
                    <a:pt x="16862" y="6583"/>
                    <a:pt x="16889" y="6545"/>
                    <a:pt x="16974" y="6494"/>
                  </a:cubicBezTo>
                  <a:cubicBezTo>
                    <a:pt x="17056" y="6441"/>
                    <a:pt x="17160" y="6379"/>
                    <a:pt x="17208" y="6360"/>
                  </a:cubicBezTo>
                  <a:cubicBezTo>
                    <a:pt x="17252" y="6337"/>
                    <a:pt x="17332" y="6324"/>
                    <a:pt x="17381" y="6333"/>
                  </a:cubicBezTo>
                  <a:cubicBezTo>
                    <a:pt x="17431" y="6341"/>
                    <a:pt x="17527" y="6320"/>
                    <a:pt x="17595" y="6290"/>
                  </a:cubicBezTo>
                  <a:cubicBezTo>
                    <a:pt x="17662" y="6259"/>
                    <a:pt x="17766" y="6190"/>
                    <a:pt x="17831" y="6140"/>
                  </a:cubicBezTo>
                  <a:cubicBezTo>
                    <a:pt x="17893" y="6088"/>
                    <a:pt x="17997" y="6022"/>
                    <a:pt x="18062" y="5993"/>
                  </a:cubicBezTo>
                  <a:cubicBezTo>
                    <a:pt x="18128" y="5964"/>
                    <a:pt x="18212" y="5927"/>
                    <a:pt x="18254" y="5925"/>
                  </a:cubicBezTo>
                  <a:cubicBezTo>
                    <a:pt x="18294" y="5915"/>
                    <a:pt x="18391" y="5877"/>
                    <a:pt x="18469" y="5837"/>
                  </a:cubicBezTo>
                  <a:cubicBezTo>
                    <a:pt x="18547" y="5795"/>
                    <a:pt x="18658" y="5734"/>
                    <a:pt x="18720" y="5702"/>
                  </a:cubicBezTo>
                  <a:cubicBezTo>
                    <a:pt x="18778" y="5667"/>
                    <a:pt x="18859" y="5602"/>
                    <a:pt x="18882" y="5550"/>
                  </a:cubicBezTo>
                  <a:cubicBezTo>
                    <a:pt x="18915" y="5501"/>
                    <a:pt x="18934" y="5443"/>
                    <a:pt x="18944" y="5428"/>
                  </a:cubicBezTo>
                  <a:cubicBezTo>
                    <a:pt x="18942" y="5411"/>
                    <a:pt x="18915" y="5411"/>
                    <a:pt x="18865" y="5419"/>
                  </a:cubicBezTo>
                  <a:cubicBezTo>
                    <a:pt x="18816" y="5431"/>
                    <a:pt x="18731" y="5463"/>
                    <a:pt x="18671" y="5486"/>
                  </a:cubicBezTo>
                  <a:cubicBezTo>
                    <a:pt x="18612" y="5509"/>
                    <a:pt x="18522" y="5534"/>
                    <a:pt x="18469" y="5536"/>
                  </a:cubicBezTo>
                  <a:cubicBezTo>
                    <a:pt x="18418" y="5542"/>
                    <a:pt x="18308" y="5562"/>
                    <a:pt x="18224" y="5581"/>
                  </a:cubicBezTo>
                  <a:cubicBezTo>
                    <a:pt x="18141" y="5601"/>
                    <a:pt x="17957" y="5686"/>
                    <a:pt x="17824" y="5777"/>
                  </a:cubicBezTo>
                  <a:cubicBezTo>
                    <a:pt x="17688" y="5863"/>
                    <a:pt x="17492" y="5984"/>
                    <a:pt x="17397" y="6051"/>
                  </a:cubicBezTo>
                  <a:cubicBezTo>
                    <a:pt x="17302" y="6119"/>
                    <a:pt x="17112" y="6201"/>
                    <a:pt x="16983" y="6244"/>
                  </a:cubicBezTo>
                  <a:cubicBezTo>
                    <a:pt x="16854" y="6286"/>
                    <a:pt x="16777" y="6295"/>
                    <a:pt x="16814" y="6266"/>
                  </a:cubicBezTo>
                  <a:cubicBezTo>
                    <a:pt x="16852" y="6239"/>
                    <a:pt x="16964" y="6188"/>
                    <a:pt x="17063" y="6151"/>
                  </a:cubicBezTo>
                  <a:cubicBezTo>
                    <a:pt x="17166" y="6119"/>
                    <a:pt x="17273" y="6057"/>
                    <a:pt x="17309" y="6022"/>
                  </a:cubicBezTo>
                  <a:cubicBezTo>
                    <a:pt x="17346" y="5987"/>
                    <a:pt x="17344" y="5962"/>
                    <a:pt x="17318" y="5950"/>
                  </a:cubicBezTo>
                  <a:cubicBezTo>
                    <a:pt x="17288" y="5949"/>
                    <a:pt x="17208" y="5961"/>
                    <a:pt x="17139" y="5981"/>
                  </a:cubicBezTo>
                  <a:cubicBezTo>
                    <a:pt x="17072" y="6004"/>
                    <a:pt x="17112" y="5969"/>
                    <a:pt x="17233" y="5908"/>
                  </a:cubicBezTo>
                  <a:cubicBezTo>
                    <a:pt x="17354" y="5847"/>
                    <a:pt x="17504" y="5782"/>
                    <a:pt x="17569" y="5765"/>
                  </a:cubicBezTo>
                  <a:cubicBezTo>
                    <a:pt x="17632" y="5745"/>
                    <a:pt x="17783" y="5678"/>
                    <a:pt x="17904" y="5614"/>
                  </a:cubicBezTo>
                  <a:cubicBezTo>
                    <a:pt x="18025" y="5549"/>
                    <a:pt x="18188" y="5485"/>
                    <a:pt x="18266" y="5467"/>
                  </a:cubicBezTo>
                  <a:cubicBezTo>
                    <a:pt x="18345" y="5457"/>
                    <a:pt x="18458" y="5418"/>
                    <a:pt x="18518" y="5389"/>
                  </a:cubicBezTo>
                  <a:cubicBezTo>
                    <a:pt x="18581" y="5366"/>
                    <a:pt x="18728" y="5315"/>
                    <a:pt x="18847" y="5281"/>
                  </a:cubicBezTo>
                  <a:cubicBezTo>
                    <a:pt x="18968" y="5250"/>
                    <a:pt x="19118" y="5191"/>
                    <a:pt x="19180" y="5152"/>
                  </a:cubicBezTo>
                  <a:cubicBezTo>
                    <a:pt x="19241" y="5110"/>
                    <a:pt x="19332" y="5055"/>
                    <a:pt x="19376" y="5020"/>
                  </a:cubicBezTo>
                  <a:cubicBezTo>
                    <a:pt x="19423" y="4989"/>
                    <a:pt x="19477" y="4939"/>
                    <a:pt x="19501" y="4915"/>
                  </a:cubicBezTo>
                  <a:cubicBezTo>
                    <a:pt x="19524" y="4889"/>
                    <a:pt x="19582" y="4850"/>
                    <a:pt x="19634" y="4837"/>
                  </a:cubicBezTo>
                  <a:cubicBezTo>
                    <a:pt x="19680" y="4814"/>
                    <a:pt x="19700" y="4843"/>
                    <a:pt x="19672" y="4890"/>
                  </a:cubicBezTo>
                  <a:cubicBezTo>
                    <a:pt x="19649" y="4939"/>
                    <a:pt x="19642" y="4984"/>
                    <a:pt x="19668" y="4982"/>
                  </a:cubicBezTo>
                  <a:cubicBezTo>
                    <a:pt x="19694" y="4985"/>
                    <a:pt x="19790" y="4938"/>
                    <a:pt x="19886" y="4880"/>
                  </a:cubicBezTo>
                  <a:cubicBezTo>
                    <a:pt x="19979" y="4817"/>
                    <a:pt x="20083" y="4738"/>
                    <a:pt x="20109" y="4696"/>
                  </a:cubicBezTo>
                  <a:cubicBezTo>
                    <a:pt x="20140" y="4656"/>
                    <a:pt x="20160" y="4603"/>
                    <a:pt x="20156" y="4581"/>
                  </a:cubicBezTo>
                  <a:cubicBezTo>
                    <a:pt x="20151" y="4559"/>
                    <a:pt x="20112" y="4534"/>
                    <a:pt x="20062" y="4532"/>
                  </a:cubicBezTo>
                  <a:cubicBezTo>
                    <a:pt x="20013" y="4522"/>
                    <a:pt x="19954" y="4497"/>
                    <a:pt x="19928" y="4467"/>
                  </a:cubicBezTo>
                  <a:cubicBezTo>
                    <a:pt x="19902" y="4438"/>
                    <a:pt x="19841" y="4380"/>
                    <a:pt x="19785" y="4345"/>
                  </a:cubicBezTo>
                  <a:cubicBezTo>
                    <a:pt x="19735" y="4304"/>
                    <a:pt x="19678" y="4249"/>
                    <a:pt x="19663" y="4215"/>
                  </a:cubicBezTo>
                  <a:cubicBezTo>
                    <a:pt x="19657" y="4180"/>
                    <a:pt x="19602" y="4160"/>
                    <a:pt x="19551" y="4166"/>
                  </a:cubicBezTo>
                  <a:cubicBezTo>
                    <a:pt x="19502" y="4178"/>
                    <a:pt x="19407" y="4207"/>
                    <a:pt x="19345" y="4241"/>
                  </a:cubicBezTo>
                  <a:cubicBezTo>
                    <a:pt x="19283" y="4275"/>
                    <a:pt x="19192" y="4321"/>
                    <a:pt x="19150" y="4349"/>
                  </a:cubicBezTo>
                  <a:cubicBezTo>
                    <a:pt x="19103" y="4373"/>
                    <a:pt x="19019" y="4414"/>
                    <a:pt x="18961" y="4439"/>
                  </a:cubicBezTo>
                  <a:cubicBezTo>
                    <a:pt x="18902" y="4465"/>
                    <a:pt x="18786" y="4527"/>
                    <a:pt x="18699" y="4575"/>
                  </a:cubicBezTo>
                  <a:cubicBezTo>
                    <a:pt x="18617" y="4628"/>
                    <a:pt x="18484" y="4690"/>
                    <a:pt x="18406" y="4709"/>
                  </a:cubicBezTo>
                  <a:cubicBezTo>
                    <a:pt x="18329" y="4732"/>
                    <a:pt x="18214" y="4786"/>
                    <a:pt x="18150" y="4827"/>
                  </a:cubicBezTo>
                  <a:cubicBezTo>
                    <a:pt x="18086" y="4869"/>
                    <a:pt x="18022" y="4901"/>
                    <a:pt x="18009" y="4897"/>
                  </a:cubicBezTo>
                  <a:cubicBezTo>
                    <a:pt x="17995" y="4897"/>
                    <a:pt x="18005" y="4854"/>
                    <a:pt x="18035" y="4815"/>
                  </a:cubicBezTo>
                  <a:cubicBezTo>
                    <a:pt x="18065" y="4775"/>
                    <a:pt x="18132" y="4715"/>
                    <a:pt x="18185" y="4681"/>
                  </a:cubicBezTo>
                  <a:cubicBezTo>
                    <a:pt x="18242" y="4652"/>
                    <a:pt x="18344" y="4609"/>
                    <a:pt x="18417" y="4591"/>
                  </a:cubicBezTo>
                  <a:cubicBezTo>
                    <a:pt x="18489" y="4572"/>
                    <a:pt x="18633" y="4505"/>
                    <a:pt x="18734" y="4439"/>
                  </a:cubicBezTo>
                  <a:cubicBezTo>
                    <a:pt x="18834" y="4373"/>
                    <a:pt x="18950" y="4291"/>
                    <a:pt x="18990" y="4258"/>
                  </a:cubicBezTo>
                  <a:cubicBezTo>
                    <a:pt x="19031" y="4224"/>
                    <a:pt x="19063" y="4185"/>
                    <a:pt x="19065" y="4171"/>
                  </a:cubicBezTo>
                  <a:cubicBezTo>
                    <a:pt x="19067" y="4157"/>
                    <a:pt x="19022" y="4160"/>
                    <a:pt x="18970" y="4182"/>
                  </a:cubicBezTo>
                  <a:cubicBezTo>
                    <a:pt x="18917" y="4203"/>
                    <a:pt x="18783" y="4258"/>
                    <a:pt x="18675" y="4306"/>
                  </a:cubicBezTo>
                  <a:cubicBezTo>
                    <a:pt x="18565" y="4351"/>
                    <a:pt x="18372" y="4450"/>
                    <a:pt x="18243" y="4520"/>
                  </a:cubicBezTo>
                  <a:cubicBezTo>
                    <a:pt x="18114" y="4591"/>
                    <a:pt x="17975" y="4657"/>
                    <a:pt x="17933" y="4665"/>
                  </a:cubicBezTo>
                  <a:cubicBezTo>
                    <a:pt x="17892" y="4675"/>
                    <a:pt x="17822" y="4706"/>
                    <a:pt x="17782" y="4738"/>
                  </a:cubicBezTo>
                  <a:cubicBezTo>
                    <a:pt x="17741" y="4770"/>
                    <a:pt x="17682" y="4821"/>
                    <a:pt x="17657" y="4856"/>
                  </a:cubicBezTo>
                  <a:cubicBezTo>
                    <a:pt x="17632" y="4891"/>
                    <a:pt x="17541" y="4987"/>
                    <a:pt x="17455" y="5068"/>
                  </a:cubicBezTo>
                  <a:cubicBezTo>
                    <a:pt x="17375" y="5154"/>
                    <a:pt x="17164" y="5312"/>
                    <a:pt x="17003" y="5430"/>
                  </a:cubicBezTo>
                  <a:cubicBezTo>
                    <a:pt x="16840" y="5547"/>
                    <a:pt x="16593" y="5695"/>
                    <a:pt x="16456" y="5762"/>
                  </a:cubicBezTo>
                  <a:cubicBezTo>
                    <a:pt x="16319" y="5827"/>
                    <a:pt x="16214" y="5873"/>
                    <a:pt x="16216" y="5860"/>
                  </a:cubicBezTo>
                  <a:cubicBezTo>
                    <a:pt x="16216" y="5847"/>
                    <a:pt x="16282" y="5797"/>
                    <a:pt x="16356" y="5751"/>
                  </a:cubicBezTo>
                  <a:cubicBezTo>
                    <a:pt x="16428" y="5703"/>
                    <a:pt x="16585" y="5600"/>
                    <a:pt x="16704" y="5522"/>
                  </a:cubicBezTo>
                  <a:cubicBezTo>
                    <a:pt x="16823" y="5444"/>
                    <a:pt x="16975" y="5329"/>
                    <a:pt x="17045" y="5268"/>
                  </a:cubicBezTo>
                  <a:cubicBezTo>
                    <a:pt x="17117" y="5208"/>
                    <a:pt x="17208" y="5131"/>
                    <a:pt x="17253" y="5100"/>
                  </a:cubicBezTo>
                  <a:cubicBezTo>
                    <a:pt x="17298" y="5070"/>
                    <a:pt x="17335" y="5031"/>
                    <a:pt x="17335" y="5014"/>
                  </a:cubicBezTo>
                  <a:cubicBezTo>
                    <a:pt x="17331" y="4998"/>
                    <a:pt x="17315" y="4993"/>
                    <a:pt x="17287" y="4993"/>
                  </a:cubicBezTo>
                  <a:cubicBezTo>
                    <a:pt x="17261" y="5001"/>
                    <a:pt x="17231" y="4989"/>
                    <a:pt x="17215" y="4987"/>
                  </a:cubicBezTo>
                  <a:cubicBezTo>
                    <a:pt x="17205" y="4976"/>
                    <a:pt x="17154" y="4986"/>
                    <a:pt x="17109" y="5008"/>
                  </a:cubicBezTo>
                  <a:cubicBezTo>
                    <a:pt x="17063" y="5028"/>
                    <a:pt x="16961" y="5104"/>
                    <a:pt x="16877" y="5173"/>
                  </a:cubicBezTo>
                  <a:cubicBezTo>
                    <a:pt x="16797" y="5245"/>
                    <a:pt x="16637" y="5365"/>
                    <a:pt x="16524" y="5442"/>
                  </a:cubicBezTo>
                  <a:cubicBezTo>
                    <a:pt x="16414" y="5521"/>
                    <a:pt x="16290" y="5595"/>
                    <a:pt x="16251" y="5606"/>
                  </a:cubicBezTo>
                  <a:cubicBezTo>
                    <a:pt x="16212" y="5618"/>
                    <a:pt x="16210" y="5604"/>
                    <a:pt x="16241" y="5572"/>
                  </a:cubicBezTo>
                  <a:cubicBezTo>
                    <a:pt x="16272" y="5538"/>
                    <a:pt x="16327" y="5493"/>
                    <a:pt x="16343" y="5461"/>
                  </a:cubicBezTo>
                  <a:cubicBezTo>
                    <a:pt x="16370" y="5435"/>
                    <a:pt x="16454" y="5360"/>
                    <a:pt x="16541" y="5304"/>
                  </a:cubicBezTo>
                  <a:cubicBezTo>
                    <a:pt x="16630" y="5249"/>
                    <a:pt x="16721" y="5173"/>
                    <a:pt x="16747" y="5140"/>
                  </a:cubicBezTo>
                  <a:cubicBezTo>
                    <a:pt x="16772" y="5106"/>
                    <a:pt x="16834" y="5045"/>
                    <a:pt x="16887" y="5010"/>
                  </a:cubicBezTo>
                  <a:cubicBezTo>
                    <a:pt x="16940" y="4972"/>
                    <a:pt x="17017" y="4929"/>
                    <a:pt x="17061" y="4920"/>
                  </a:cubicBezTo>
                  <a:cubicBezTo>
                    <a:pt x="17105" y="4909"/>
                    <a:pt x="17169" y="4903"/>
                    <a:pt x="17206" y="4903"/>
                  </a:cubicBezTo>
                  <a:cubicBezTo>
                    <a:pt x="17240" y="4909"/>
                    <a:pt x="17326" y="4895"/>
                    <a:pt x="17393" y="4878"/>
                  </a:cubicBezTo>
                  <a:cubicBezTo>
                    <a:pt x="17458" y="4860"/>
                    <a:pt x="17530" y="4830"/>
                    <a:pt x="17556" y="4810"/>
                  </a:cubicBezTo>
                  <a:cubicBezTo>
                    <a:pt x="17579" y="4788"/>
                    <a:pt x="17652" y="4736"/>
                    <a:pt x="17719" y="4694"/>
                  </a:cubicBezTo>
                  <a:cubicBezTo>
                    <a:pt x="17784" y="4652"/>
                    <a:pt x="17910" y="4591"/>
                    <a:pt x="17993" y="4554"/>
                  </a:cubicBezTo>
                  <a:cubicBezTo>
                    <a:pt x="18077" y="4519"/>
                    <a:pt x="18221" y="4435"/>
                    <a:pt x="18312" y="4365"/>
                  </a:cubicBezTo>
                  <a:cubicBezTo>
                    <a:pt x="18400" y="4293"/>
                    <a:pt x="18521" y="4199"/>
                    <a:pt x="18577" y="4152"/>
                  </a:cubicBezTo>
                  <a:cubicBezTo>
                    <a:pt x="18636" y="4108"/>
                    <a:pt x="18668" y="4039"/>
                    <a:pt x="18670" y="4007"/>
                  </a:cubicBezTo>
                  <a:cubicBezTo>
                    <a:pt x="18664" y="3976"/>
                    <a:pt x="18678" y="3920"/>
                    <a:pt x="18707" y="3891"/>
                  </a:cubicBezTo>
                  <a:cubicBezTo>
                    <a:pt x="18731" y="3860"/>
                    <a:pt x="18741" y="3825"/>
                    <a:pt x="18726" y="3821"/>
                  </a:cubicBezTo>
                  <a:cubicBezTo>
                    <a:pt x="18711" y="3816"/>
                    <a:pt x="18602" y="3853"/>
                    <a:pt x="18481" y="3909"/>
                  </a:cubicBezTo>
                  <a:cubicBezTo>
                    <a:pt x="18359" y="3963"/>
                    <a:pt x="18212" y="4045"/>
                    <a:pt x="18153" y="4089"/>
                  </a:cubicBezTo>
                  <a:cubicBezTo>
                    <a:pt x="18091" y="4129"/>
                    <a:pt x="18034" y="4197"/>
                    <a:pt x="18023" y="4235"/>
                  </a:cubicBezTo>
                  <a:cubicBezTo>
                    <a:pt x="18009" y="4272"/>
                    <a:pt x="17968" y="4348"/>
                    <a:pt x="17920" y="4401"/>
                  </a:cubicBezTo>
                  <a:cubicBezTo>
                    <a:pt x="17880" y="4458"/>
                    <a:pt x="17813" y="4518"/>
                    <a:pt x="17777" y="4535"/>
                  </a:cubicBezTo>
                  <a:cubicBezTo>
                    <a:pt x="17741" y="4553"/>
                    <a:pt x="17729" y="4554"/>
                    <a:pt x="17748" y="4535"/>
                  </a:cubicBezTo>
                  <a:cubicBezTo>
                    <a:pt x="17770" y="4518"/>
                    <a:pt x="17786" y="4485"/>
                    <a:pt x="17791" y="4466"/>
                  </a:cubicBezTo>
                  <a:cubicBezTo>
                    <a:pt x="17798" y="4448"/>
                    <a:pt x="17771" y="4421"/>
                    <a:pt x="17736" y="4414"/>
                  </a:cubicBezTo>
                  <a:cubicBezTo>
                    <a:pt x="17703" y="4405"/>
                    <a:pt x="17622" y="4405"/>
                    <a:pt x="17558" y="4422"/>
                  </a:cubicBezTo>
                  <a:cubicBezTo>
                    <a:pt x="17490" y="4428"/>
                    <a:pt x="17376" y="4489"/>
                    <a:pt x="17293" y="4535"/>
                  </a:cubicBezTo>
                  <a:cubicBezTo>
                    <a:pt x="17216" y="4584"/>
                    <a:pt x="17103" y="4627"/>
                    <a:pt x="17049" y="4634"/>
                  </a:cubicBezTo>
                  <a:cubicBezTo>
                    <a:pt x="16995" y="4644"/>
                    <a:pt x="16881" y="4666"/>
                    <a:pt x="16800" y="4695"/>
                  </a:cubicBezTo>
                  <a:cubicBezTo>
                    <a:pt x="16718" y="4723"/>
                    <a:pt x="16593" y="4775"/>
                    <a:pt x="16521" y="4810"/>
                  </a:cubicBezTo>
                  <a:cubicBezTo>
                    <a:pt x="16447" y="4844"/>
                    <a:pt x="16320" y="4890"/>
                    <a:pt x="16235" y="4913"/>
                  </a:cubicBezTo>
                  <a:cubicBezTo>
                    <a:pt x="16149" y="4930"/>
                    <a:pt x="16136" y="4921"/>
                    <a:pt x="16202" y="4888"/>
                  </a:cubicBezTo>
                  <a:cubicBezTo>
                    <a:pt x="16272" y="4859"/>
                    <a:pt x="16383" y="4803"/>
                    <a:pt x="16452" y="4768"/>
                  </a:cubicBezTo>
                  <a:cubicBezTo>
                    <a:pt x="16525" y="4739"/>
                    <a:pt x="16642" y="4665"/>
                    <a:pt x="16718" y="4612"/>
                  </a:cubicBezTo>
                  <a:cubicBezTo>
                    <a:pt x="16798" y="4564"/>
                    <a:pt x="16846" y="4497"/>
                    <a:pt x="16850" y="4475"/>
                  </a:cubicBezTo>
                  <a:cubicBezTo>
                    <a:pt x="16843" y="4453"/>
                    <a:pt x="16814" y="4442"/>
                    <a:pt x="16776" y="4450"/>
                  </a:cubicBezTo>
                  <a:cubicBezTo>
                    <a:pt x="16740" y="4461"/>
                    <a:pt x="16641" y="4488"/>
                    <a:pt x="16557" y="4514"/>
                  </a:cubicBezTo>
                  <a:cubicBezTo>
                    <a:pt x="16476" y="4542"/>
                    <a:pt x="16454" y="4531"/>
                    <a:pt x="16506" y="4490"/>
                  </a:cubicBezTo>
                  <a:cubicBezTo>
                    <a:pt x="16563" y="4454"/>
                    <a:pt x="16640" y="4410"/>
                    <a:pt x="16683" y="4401"/>
                  </a:cubicBezTo>
                  <a:cubicBezTo>
                    <a:pt x="16726" y="4389"/>
                    <a:pt x="16811" y="4356"/>
                    <a:pt x="16872" y="4327"/>
                  </a:cubicBezTo>
                  <a:cubicBezTo>
                    <a:pt x="16933" y="4296"/>
                    <a:pt x="17027" y="4230"/>
                    <a:pt x="17082" y="4181"/>
                  </a:cubicBezTo>
                  <a:cubicBezTo>
                    <a:pt x="17135" y="4129"/>
                    <a:pt x="17221" y="4074"/>
                    <a:pt x="17269" y="4053"/>
                  </a:cubicBezTo>
                  <a:cubicBezTo>
                    <a:pt x="17320" y="4034"/>
                    <a:pt x="17391" y="3994"/>
                    <a:pt x="17435" y="3971"/>
                  </a:cubicBezTo>
                  <a:cubicBezTo>
                    <a:pt x="17475" y="3946"/>
                    <a:pt x="17540" y="3918"/>
                    <a:pt x="17575" y="3907"/>
                  </a:cubicBezTo>
                  <a:cubicBezTo>
                    <a:pt x="17612" y="3899"/>
                    <a:pt x="17683" y="3896"/>
                    <a:pt x="17727" y="3918"/>
                  </a:cubicBezTo>
                  <a:cubicBezTo>
                    <a:pt x="17775" y="3931"/>
                    <a:pt x="17841" y="3959"/>
                    <a:pt x="17877" y="3972"/>
                  </a:cubicBezTo>
                  <a:cubicBezTo>
                    <a:pt x="17914" y="3984"/>
                    <a:pt x="17979" y="3986"/>
                    <a:pt x="18022" y="3976"/>
                  </a:cubicBezTo>
                  <a:cubicBezTo>
                    <a:pt x="18067" y="3968"/>
                    <a:pt x="18178" y="3895"/>
                    <a:pt x="18279" y="3828"/>
                  </a:cubicBezTo>
                  <a:cubicBezTo>
                    <a:pt x="18376" y="3757"/>
                    <a:pt x="18510" y="3669"/>
                    <a:pt x="18571" y="3627"/>
                  </a:cubicBezTo>
                  <a:cubicBezTo>
                    <a:pt x="18636" y="3588"/>
                    <a:pt x="18685" y="3537"/>
                    <a:pt x="18693" y="3519"/>
                  </a:cubicBezTo>
                  <a:cubicBezTo>
                    <a:pt x="18691" y="3501"/>
                    <a:pt x="18667" y="3459"/>
                    <a:pt x="18618" y="3432"/>
                  </a:cubicBezTo>
                  <a:cubicBezTo>
                    <a:pt x="18577" y="3399"/>
                    <a:pt x="18540" y="3345"/>
                    <a:pt x="18548" y="3306"/>
                  </a:cubicBezTo>
                  <a:cubicBezTo>
                    <a:pt x="18556" y="3267"/>
                    <a:pt x="18566" y="3206"/>
                    <a:pt x="18570" y="3169"/>
                  </a:cubicBezTo>
                  <a:cubicBezTo>
                    <a:pt x="18580" y="3134"/>
                    <a:pt x="18546" y="3081"/>
                    <a:pt x="18500" y="3059"/>
                  </a:cubicBezTo>
                  <a:cubicBezTo>
                    <a:pt x="18459" y="3031"/>
                    <a:pt x="18385" y="3008"/>
                    <a:pt x="18342" y="3004"/>
                  </a:cubicBezTo>
                  <a:cubicBezTo>
                    <a:pt x="18300" y="2998"/>
                    <a:pt x="18250" y="2948"/>
                    <a:pt x="18226" y="2895"/>
                  </a:cubicBezTo>
                  <a:cubicBezTo>
                    <a:pt x="18208" y="2840"/>
                    <a:pt x="18160" y="2810"/>
                    <a:pt x="18127" y="2825"/>
                  </a:cubicBezTo>
                  <a:cubicBezTo>
                    <a:pt x="18095" y="2843"/>
                    <a:pt x="18047" y="2879"/>
                    <a:pt x="18027" y="2912"/>
                  </a:cubicBezTo>
                  <a:cubicBezTo>
                    <a:pt x="18012" y="2945"/>
                    <a:pt x="17950" y="3002"/>
                    <a:pt x="17900" y="3040"/>
                  </a:cubicBezTo>
                  <a:cubicBezTo>
                    <a:pt x="17851" y="3080"/>
                    <a:pt x="17779" y="3124"/>
                    <a:pt x="17742" y="3140"/>
                  </a:cubicBezTo>
                  <a:cubicBezTo>
                    <a:pt x="17705" y="3157"/>
                    <a:pt x="17647" y="3191"/>
                    <a:pt x="17617" y="3219"/>
                  </a:cubicBezTo>
                  <a:cubicBezTo>
                    <a:pt x="17585" y="3246"/>
                    <a:pt x="17537" y="3295"/>
                    <a:pt x="17516" y="3330"/>
                  </a:cubicBezTo>
                  <a:cubicBezTo>
                    <a:pt x="17487" y="3363"/>
                    <a:pt x="17419" y="3420"/>
                    <a:pt x="17354" y="3449"/>
                  </a:cubicBezTo>
                  <a:cubicBezTo>
                    <a:pt x="17288" y="3479"/>
                    <a:pt x="17196" y="3539"/>
                    <a:pt x="17151" y="3581"/>
                  </a:cubicBezTo>
                  <a:cubicBezTo>
                    <a:pt x="17105" y="3622"/>
                    <a:pt x="17056" y="3694"/>
                    <a:pt x="17026" y="3734"/>
                  </a:cubicBezTo>
                  <a:cubicBezTo>
                    <a:pt x="17007" y="3779"/>
                    <a:pt x="16916" y="3846"/>
                    <a:pt x="16829" y="3884"/>
                  </a:cubicBezTo>
                  <a:cubicBezTo>
                    <a:pt x="16742" y="3922"/>
                    <a:pt x="16616" y="4000"/>
                    <a:pt x="16546" y="4055"/>
                  </a:cubicBezTo>
                  <a:cubicBezTo>
                    <a:pt x="16477" y="4112"/>
                    <a:pt x="16397" y="4190"/>
                    <a:pt x="16360" y="4226"/>
                  </a:cubicBezTo>
                  <a:cubicBezTo>
                    <a:pt x="16327" y="4265"/>
                    <a:pt x="16267" y="4327"/>
                    <a:pt x="16224" y="4365"/>
                  </a:cubicBezTo>
                  <a:cubicBezTo>
                    <a:pt x="16181" y="4402"/>
                    <a:pt x="16128" y="4431"/>
                    <a:pt x="16104" y="4432"/>
                  </a:cubicBezTo>
                  <a:cubicBezTo>
                    <a:pt x="16080" y="4432"/>
                    <a:pt x="16093" y="4379"/>
                    <a:pt x="16144" y="4321"/>
                  </a:cubicBezTo>
                  <a:cubicBezTo>
                    <a:pt x="16185" y="4259"/>
                    <a:pt x="16304" y="4150"/>
                    <a:pt x="16399" y="4076"/>
                  </a:cubicBezTo>
                  <a:cubicBezTo>
                    <a:pt x="16496" y="4004"/>
                    <a:pt x="16614" y="3920"/>
                    <a:pt x="16670" y="3898"/>
                  </a:cubicBezTo>
                  <a:cubicBezTo>
                    <a:pt x="16721" y="3870"/>
                    <a:pt x="16782" y="3838"/>
                    <a:pt x="16796" y="3814"/>
                  </a:cubicBezTo>
                  <a:cubicBezTo>
                    <a:pt x="16814" y="3792"/>
                    <a:pt x="16810" y="3769"/>
                    <a:pt x="16795" y="3765"/>
                  </a:cubicBezTo>
                  <a:cubicBezTo>
                    <a:pt x="16780" y="3764"/>
                    <a:pt x="16753" y="3743"/>
                    <a:pt x="16743" y="3719"/>
                  </a:cubicBezTo>
                  <a:cubicBezTo>
                    <a:pt x="16726" y="3699"/>
                    <a:pt x="16664" y="3703"/>
                    <a:pt x="16600" y="3733"/>
                  </a:cubicBezTo>
                  <a:cubicBezTo>
                    <a:pt x="16535" y="3760"/>
                    <a:pt x="16379" y="3865"/>
                    <a:pt x="16251" y="3961"/>
                  </a:cubicBezTo>
                  <a:cubicBezTo>
                    <a:pt x="16123" y="4058"/>
                    <a:pt x="15980" y="4168"/>
                    <a:pt x="15937" y="4210"/>
                  </a:cubicBezTo>
                  <a:cubicBezTo>
                    <a:pt x="15887" y="4247"/>
                    <a:pt x="15797" y="4307"/>
                    <a:pt x="15725" y="4333"/>
                  </a:cubicBezTo>
                  <a:cubicBezTo>
                    <a:pt x="15655" y="4364"/>
                    <a:pt x="15606" y="4374"/>
                    <a:pt x="15599" y="4365"/>
                  </a:cubicBezTo>
                  <a:cubicBezTo>
                    <a:pt x="15601" y="4355"/>
                    <a:pt x="15643" y="4322"/>
                    <a:pt x="15690" y="4292"/>
                  </a:cubicBezTo>
                  <a:cubicBezTo>
                    <a:pt x="15741" y="4265"/>
                    <a:pt x="15847" y="4176"/>
                    <a:pt x="15935" y="4104"/>
                  </a:cubicBezTo>
                  <a:cubicBezTo>
                    <a:pt x="16021" y="4031"/>
                    <a:pt x="16113" y="3946"/>
                    <a:pt x="16136" y="3916"/>
                  </a:cubicBezTo>
                  <a:cubicBezTo>
                    <a:pt x="16160" y="3885"/>
                    <a:pt x="16276" y="3802"/>
                    <a:pt x="16390" y="3728"/>
                  </a:cubicBezTo>
                  <a:cubicBezTo>
                    <a:pt x="16504" y="3654"/>
                    <a:pt x="16638" y="3563"/>
                    <a:pt x="16690" y="3528"/>
                  </a:cubicBezTo>
                  <a:cubicBezTo>
                    <a:pt x="16741" y="3492"/>
                    <a:pt x="16784" y="3441"/>
                    <a:pt x="16788" y="3418"/>
                  </a:cubicBezTo>
                  <a:cubicBezTo>
                    <a:pt x="16796" y="3396"/>
                    <a:pt x="16811" y="3352"/>
                    <a:pt x="16828" y="3323"/>
                  </a:cubicBezTo>
                  <a:cubicBezTo>
                    <a:pt x="16848" y="3294"/>
                    <a:pt x="16782" y="3306"/>
                    <a:pt x="16693" y="3357"/>
                  </a:cubicBezTo>
                  <a:cubicBezTo>
                    <a:pt x="16601" y="3406"/>
                    <a:pt x="16421" y="3504"/>
                    <a:pt x="16299" y="3582"/>
                  </a:cubicBezTo>
                  <a:cubicBezTo>
                    <a:pt x="16175" y="3657"/>
                    <a:pt x="16043" y="3752"/>
                    <a:pt x="16010" y="3795"/>
                  </a:cubicBezTo>
                  <a:cubicBezTo>
                    <a:pt x="15978" y="3838"/>
                    <a:pt x="15896" y="3908"/>
                    <a:pt x="15837" y="3956"/>
                  </a:cubicBezTo>
                  <a:cubicBezTo>
                    <a:pt x="15775" y="4002"/>
                    <a:pt x="15711" y="4040"/>
                    <a:pt x="15691" y="4041"/>
                  </a:cubicBezTo>
                  <a:cubicBezTo>
                    <a:pt x="15672" y="4039"/>
                    <a:pt x="15683" y="4005"/>
                    <a:pt x="15720" y="3962"/>
                  </a:cubicBezTo>
                  <a:cubicBezTo>
                    <a:pt x="15757" y="3920"/>
                    <a:pt x="15829" y="3844"/>
                    <a:pt x="15887" y="3797"/>
                  </a:cubicBezTo>
                  <a:cubicBezTo>
                    <a:pt x="15944" y="3750"/>
                    <a:pt x="15968" y="3706"/>
                    <a:pt x="15942" y="3708"/>
                  </a:cubicBezTo>
                  <a:cubicBezTo>
                    <a:pt x="15916" y="3703"/>
                    <a:pt x="15901" y="3687"/>
                    <a:pt x="15914" y="3667"/>
                  </a:cubicBezTo>
                  <a:cubicBezTo>
                    <a:pt x="15920" y="3645"/>
                    <a:pt x="15977" y="3612"/>
                    <a:pt x="16031" y="3592"/>
                  </a:cubicBezTo>
                  <a:cubicBezTo>
                    <a:pt x="16086" y="3572"/>
                    <a:pt x="16249" y="3488"/>
                    <a:pt x="16400" y="3409"/>
                  </a:cubicBezTo>
                  <a:cubicBezTo>
                    <a:pt x="16549" y="3331"/>
                    <a:pt x="16788" y="3197"/>
                    <a:pt x="16925" y="3111"/>
                  </a:cubicBezTo>
                  <a:cubicBezTo>
                    <a:pt x="17066" y="3027"/>
                    <a:pt x="17197" y="2935"/>
                    <a:pt x="17215" y="2907"/>
                  </a:cubicBezTo>
                  <a:cubicBezTo>
                    <a:pt x="17230" y="2877"/>
                    <a:pt x="17212" y="2860"/>
                    <a:pt x="17167" y="2871"/>
                  </a:cubicBezTo>
                  <a:cubicBezTo>
                    <a:pt x="17122" y="2881"/>
                    <a:pt x="16998" y="2936"/>
                    <a:pt x="16889" y="2990"/>
                  </a:cubicBezTo>
                  <a:cubicBezTo>
                    <a:pt x="16783" y="3048"/>
                    <a:pt x="16675" y="3122"/>
                    <a:pt x="16646" y="3153"/>
                  </a:cubicBezTo>
                  <a:cubicBezTo>
                    <a:pt x="16622" y="3186"/>
                    <a:pt x="16541" y="3238"/>
                    <a:pt x="16472" y="3271"/>
                  </a:cubicBezTo>
                  <a:cubicBezTo>
                    <a:pt x="16403" y="3304"/>
                    <a:pt x="16353" y="3312"/>
                    <a:pt x="16367" y="3290"/>
                  </a:cubicBezTo>
                  <a:cubicBezTo>
                    <a:pt x="16382" y="3269"/>
                    <a:pt x="16380" y="3241"/>
                    <a:pt x="16371" y="3229"/>
                  </a:cubicBezTo>
                  <a:cubicBezTo>
                    <a:pt x="16361" y="3218"/>
                    <a:pt x="16239" y="3270"/>
                    <a:pt x="16106" y="3349"/>
                  </a:cubicBezTo>
                  <a:cubicBezTo>
                    <a:pt x="15969" y="3423"/>
                    <a:pt x="15806" y="3526"/>
                    <a:pt x="15741" y="3573"/>
                  </a:cubicBezTo>
                  <a:cubicBezTo>
                    <a:pt x="15676" y="3620"/>
                    <a:pt x="15548" y="3727"/>
                    <a:pt x="15453" y="3809"/>
                  </a:cubicBezTo>
                  <a:cubicBezTo>
                    <a:pt x="15357" y="3890"/>
                    <a:pt x="15201" y="4004"/>
                    <a:pt x="15100" y="4059"/>
                  </a:cubicBezTo>
                  <a:cubicBezTo>
                    <a:pt x="14998" y="4112"/>
                    <a:pt x="14882" y="4169"/>
                    <a:pt x="14837" y="4171"/>
                  </a:cubicBezTo>
                  <a:cubicBezTo>
                    <a:pt x="14793" y="4179"/>
                    <a:pt x="14811" y="4151"/>
                    <a:pt x="14877" y="4111"/>
                  </a:cubicBezTo>
                  <a:cubicBezTo>
                    <a:pt x="14943" y="4071"/>
                    <a:pt x="15076" y="3990"/>
                    <a:pt x="15172" y="3930"/>
                  </a:cubicBezTo>
                  <a:cubicBezTo>
                    <a:pt x="15268" y="3870"/>
                    <a:pt x="15397" y="3784"/>
                    <a:pt x="15455" y="3735"/>
                  </a:cubicBezTo>
                  <a:cubicBezTo>
                    <a:pt x="15514" y="3687"/>
                    <a:pt x="15549" y="3645"/>
                    <a:pt x="15533" y="3641"/>
                  </a:cubicBezTo>
                  <a:cubicBezTo>
                    <a:pt x="15517" y="3641"/>
                    <a:pt x="15458" y="3645"/>
                    <a:pt x="15406" y="3665"/>
                  </a:cubicBezTo>
                  <a:cubicBezTo>
                    <a:pt x="15351" y="3683"/>
                    <a:pt x="15380" y="3660"/>
                    <a:pt x="15462" y="3607"/>
                  </a:cubicBezTo>
                  <a:cubicBezTo>
                    <a:pt x="15549" y="3558"/>
                    <a:pt x="15680" y="3487"/>
                    <a:pt x="15763" y="3463"/>
                  </a:cubicBezTo>
                  <a:cubicBezTo>
                    <a:pt x="15845" y="3436"/>
                    <a:pt x="15946" y="3388"/>
                    <a:pt x="15984" y="3355"/>
                  </a:cubicBezTo>
                  <a:cubicBezTo>
                    <a:pt x="16028" y="3326"/>
                    <a:pt x="16062" y="3284"/>
                    <a:pt x="16059" y="3266"/>
                  </a:cubicBezTo>
                  <a:cubicBezTo>
                    <a:pt x="16067" y="3249"/>
                    <a:pt x="16020" y="3253"/>
                    <a:pt x="15971" y="3278"/>
                  </a:cubicBezTo>
                  <a:cubicBezTo>
                    <a:pt x="15923" y="3304"/>
                    <a:pt x="15814" y="3354"/>
                    <a:pt x="15727" y="3385"/>
                  </a:cubicBezTo>
                  <a:cubicBezTo>
                    <a:pt x="15640" y="3418"/>
                    <a:pt x="15525" y="3475"/>
                    <a:pt x="15471" y="3512"/>
                  </a:cubicBezTo>
                  <a:cubicBezTo>
                    <a:pt x="15416" y="3549"/>
                    <a:pt x="15336" y="3584"/>
                    <a:pt x="15292" y="3588"/>
                  </a:cubicBezTo>
                  <a:cubicBezTo>
                    <a:pt x="15251" y="3598"/>
                    <a:pt x="15333" y="3538"/>
                    <a:pt x="15480" y="3465"/>
                  </a:cubicBezTo>
                  <a:cubicBezTo>
                    <a:pt x="15627" y="3393"/>
                    <a:pt x="15743" y="3317"/>
                    <a:pt x="15740" y="3297"/>
                  </a:cubicBezTo>
                  <a:cubicBezTo>
                    <a:pt x="15735" y="3278"/>
                    <a:pt x="15676" y="3277"/>
                    <a:pt x="15603" y="3296"/>
                  </a:cubicBezTo>
                  <a:cubicBezTo>
                    <a:pt x="15530" y="3311"/>
                    <a:pt x="15516" y="3301"/>
                    <a:pt x="15565" y="3261"/>
                  </a:cubicBezTo>
                  <a:cubicBezTo>
                    <a:pt x="15617" y="3225"/>
                    <a:pt x="15711" y="3179"/>
                    <a:pt x="15776" y="3163"/>
                  </a:cubicBezTo>
                  <a:cubicBezTo>
                    <a:pt x="15840" y="3145"/>
                    <a:pt x="15917" y="3135"/>
                    <a:pt x="15939" y="3146"/>
                  </a:cubicBezTo>
                  <a:cubicBezTo>
                    <a:pt x="15965" y="3152"/>
                    <a:pt x="16048" y="3137"/>
                    <a:pt x="16126" y="3118"/>
                  </a:cubicBezTo>
                  <a:cubicBezTo>
                    <a:pt x="16203" y="3095"/>
                    <a:pt x="16313" y="3032"/>
                    <a:pt x="16375" y="2981"/>
                  </a:cubicBezTo>
                  <a:cubicBezTo>
                    <a:pt x="16432" y="2925"/>
                    <a:pt x="16556" y="2857"/>
                    <a:pt x="16641" y="2820"/>
                  </a:cubicBezTo>
                  <a:cubicBezTo>
                    <a:pt x="16729" y="2785"/>
                    <a:pt x="16819" y="2731"/>
                    <a:pt x="16821" y="2698"/>
                  </a:cubicBezTo>
                  <a:cubicBezTo>
                    <a:pt x="16837" y="2668"/>
                    <a:pt x="16885" y="2611"/>
                    <a:pt x="16928" y="2568"/>
                  </a:cubicBezTo>
                  <a:cubicBezTo>
                    <a:pt x="16974" y="2529"/>
                    <a:pt x="17023" y="2470"/>
                    <a:pt x="17042" y="2440"/>
                  </a:cubicBezTo>
                  <a:cubicBezTo>
                    <a:pt x="17053" y="2407"/>
                    <a:pt x="17033" y="2389"/>
                    <a:pt x="16985" y="2400"/>
                  </a:cubicBezTo>
                  <a:cubicBezTo>
                    <a:pt x="16937" y="2410"/>
                    <a:pt x="16881" y="2408"/>
                    <a:pt x="16860" y="2398"/>
                  </a:cubicBezTo>
                  <a:cubicBezTo>
                    <a:pt x="16838" y="2389"/>
                    <a:pt x="16767" y="2380"/>
                    <a:pt x="16703" y="2387"/>
                  </a:cubicBezTo>
                  <a:cubicBezTo>
                    <a:pt x="16637" y="2394"/>
                    <a:pt x="16503" y="2446"/>
                    <a:pt x="16405" y="2509"/>
                  </a:cubicBezTo>
                  <a:cubicBezTo>
                    <a:pt x="16308" y="2573"/>
                    <a:pt x="16139" y="2658"/>
                    <a:pt x="16036" y="2702"/>
                  </a:cubicBezTo>
                  <a:cubicBezTo>
                    <a:pt x="15935" y="2750"/>
                    <a:pt x="15778" y="2835"/>
                    <a:pt x="15697" y="2901"/>
                  </a:cubicBezTo>
                  <a:cubicBezTo>
                    <a:pt x="15612" y="2963"/>
                    <a:pt x="15409" y="3114"/>
                    <a:pt x="15236" y="3225"/>
                  </a:cubicBezTo>
                  <a:cubicBezTo>
                    <a:pt x="15063" y="3337"/>
                    <a:pt x="14896" y="3438"/>
                    <a:pt x="14861" y="3443"/>
                  </a:cubicBezTo>
                  <a:cubicBezTo>
                    <a:pt x="14827" y="3450"/>
                    <a:pt x="14821" y="3424"/>
                    <a:pt x="14850" y="3389"/>
                  </a:cubicBezTo>
                  <a:cubicBezTo>
                    <a:pt x="14876" y="3353"/>
                    <a:pt x="14938" y="3320"/>
                    <a:pt x="14974" y="3301"/>
                  </a:cubicBezTo>
                  <a:cubicBezTo>
                    <a:pt x="15015" y="3290"/>
                    <a:pt x="15105" y="3243"/>
                    <a:pt x="15176" y="3202"/>
                  </a:cubicBezTo>
                  <a:cubicBezTo>
                    <a:pt x="15245" y="3159"/>
                    <a:pt x="15403" y="3054"/>
                    <a:pt x="15520" y="2962"/>
                  </a:cubicBezTo>
                  <a:cubicBezTo>
                    <a:pt x="15638" y="2872"/>
                    <a:pt x="15812" y="2759"/>
                    <a:pt x="15904" y="2707"/>
                  </a:cubicBezTo>
                  <a:cubicBezTo>
                    <a:pt x="16001" y="2662"/>
                    <a:pt x="16126" y="2582"/>
                    <a:pt x="16192" y="2541"/>
                  </a:cubicBezTo>
                  <a:cubicBezTo>
                    <a:pt x="16259" y="2501"/>
                    <a:pt x="16303" y="2451"/>
                    <a:pt x="16290" y="2437"/>
                  </a:cubicBezTo>
                  <a:cubicBezTo>
                    <a:pt x="16287" y="2419"/>
                    <a:pt x="16173" y="2439"/>
                    <a:pt x="16053" y="2471"/>
                  </a:cubicBezTo>
                  <a:cubicBezTo>
                    <a:pt x="15934" y="2504"/>
                    <a:pt x="15719" y="2599"/>
                    <a:pt x="15572" y="2675"/>
                  </a:cubicBezTo>
                  <a:cubicBezTo>
                    <a:pt x="15427" y="2754"/>
                    <a:pt x="15423" y="2746"/>
                    <a:pt x="15562" y="2656"/>
                  </a:cubicBezTo>
                  <a:cubicBezTo>
                    <a:pt x="15702" y="2566"/>
                    <a:pt x="15908" y="2462"/>
                    <a:pt x="16018" y="2418"/>
                  </a:cubicBezTo>
                  <a:cubicBezTo>
                    <a:pt x="16126" y="2373"/>
                    <a:pt x="16266" y="2339"/>
                    <a:pt x="16324" y="2329"/>
                  </a:cubicBezTo>
                  <a:cubicBezTo>
                    <a:pt x="16384" y="2331"/>
                    <a:pt x="16475" y="2313"/>
                    <a:pt x="16528" y="2303"/>
                  </a:cubicBezTo>
                  <a:cubicBezTo>
                    <a:pt x="16582" y="2296"/>
                    <a:pt x="16698" y="2241"/>
                    <a:pt x="16782" y="2181"/>
                  </a:cubicBezTo>
                  <a:cubicBezTo>
                    <a:pt x="16867" y="2121"/>
                    <a:pt x="16945" y="2053"/>
                    <a:pt x="16951" y="2027"/>
                  </a:cubicBezTo>
                  <a:cubicBezTo>
                    <a:pt x="16958" y="2002"/>
                    <a:pt x="16956" y="1968"/>
                    <a:pt x="16953" y="1950"/>
                  </a:cubicBezTo>
                  <a:cubicBezTo>
                    <a:pt x="16942" y="1935"/>
                    <a:pt x="16960" y="1896"/>
                    <a:pt x="16979" y="1865"/>
                  </a:cubicBezTo>
                  <a:cubicBezTo>
                    <a:pt x="17006" y="1837"/>
                    <a:pt x="17029" y="1788"/>
                    <a:pt x="17041" y="1761"/>
                  </a:cubicBezTo>
                  <a:cubicBezTo>
                    <a:pt x="17053" y="1734"/>
                    <a:pt x="17010" y="1711"/>
                    <a:pt x="16944" y="1710"/>
                  </a:cubicBezTo>
                  <a:cubicBezTo>
                    <a:pt x="16878" y="1708"/>
                    <a:pt x="16818" y="1686"/>
                    <a:pt x="16811" y="1659"/>
                  </a:cubicBezTo>
                  <a:cubicBezTo>
                    <a:pt x="16801" y="1633"/>
                    <a:pt x="16756" y="1620"/>
                    <a:pt x="16701" y="1626"/>
                  </a:cubicBezTo>
                  <a:cubicBezTo>
                    <a:pt x="16648" y="1635"/>
                    <a:pt x="16586" y="1660"/>
                    <a:pt x="16560" y="1679"/>
                  </a:cubicBezTo>
                  <a:cubicBezTo>
                    <a:pt x="16536" y="1701"/>
                    <a:pt x="16485" y="1727"/>
                    <a:pt x="16448" y="1737"/>
                  </a:cubicBezTo>
                  <a:cubicBezTo>
                    <a:pt x="16410" y="1745"/>
                    <a:pt x="16387" y="1730"/>
                    <a:pt x="16400" y="1700"/>
                  </a:cubicBezTo>
                  <a:cubicBezTo>
                    <a:pt x="16412" y="1668"/>
                    <a:pt x="16390" y="1646"/>
                    <a:pt x="16352" y="1644"/>
                  </a:cubicBezTo>
                  <a:cubicBezTo>
                    <a:pt x="16314" y="1644"/>
                    <a:pt x="16251" y="1635"/>
                    <a:pt x="16211" y="1621"/>
                  </a:cubicBezTo>
                  <a:cubicBezTo>
                    <a:pt x="16171" y="1607"/>
                    <a:pt x="16149" y="1577"/>
                    <a:pt x="16155" y="1551"/>
                  </a:cubicBezTo>
                  <a:cubicBezTo>
                    <a:pt x="16164" y="1527"/>
                    <a:pt x="16105" y="1504"/>
                    <a:pt x="16023" y="1505"/>
                  </a:cubicBezTo>
                  <a:cubicBezTo>
                    <a:pt x="15942" y="1505"/>
                    <a:pt x="15849" y="1516"/>
                    <a:pt x="15813" y="1524"/>
                  </a:cubicBezTo>
                  <a:cubicBezTo>
                    <a:pt x="15780" y="1539"/>
                    <a:pt x="15735" y="1533"/>
                    <a:pt x="15714" y="1525"/>
                  </a:cubicBezTo>
                  <a:cubicBezTo>
                    <a:pt x="15693" y="1517"/>
                    <a:pt x="15610" y="1519"/>
                    <a:pt x="15527" y="1538"/>
                  </a:cubicBezTo>
                  <a:cubicBezTo>
                    <a:pt x="15444" y="1557"/>
                    <a:pt x="15283" y="1600"/>
                    <a:pt x="15176" y="1641"/>
                  </a:cubicBezTo>
                  <a:cubicBezTo>
                    <a:pt x="15065" y="1678"/>
                    <a:pt x="14905" y="1754"/>
                    <a:pt x="14820" y="1808"/>
                  </a:cubicBezTo>
                  <a:cubicBezTo>
                    <a:pt x="14732" y="1860"/>
                    <a:pt x="14601" y="1930"/>
                    <a:pt x="14520" y="1947"/>
                  </a:cubicBezTo>
                  <a:cubicBezTo>
                    <a:pt x="14442" y="1971"/>
                    <a:pt x="14287" y="2053"/>
                    <a:pt x="14183" y="2137"/>
                  </a:cubicBezTo>
                  <a:cubicBezTo>
                    <a:pt x="14077" y="2219"/>
                    <a:pt x="13998" y="2298"/>
                    <a:pt x="14010" y="2311"/>
                  </a:cubicBezTo>
                  <a:cubicBezTo>
                    <a:pt x="14022" y="2324"/>
                    <a:pt x="14065" y="2329"/>
                    <a:pt x="14108" y="2328"/>
                  </a:cubicBezTo>
                  <a:cubicBezTo>
                    <a:pt x="14150" y="2324"/>
                    <a:pt x="14257" y="2347"/>
                    <a:pt x="14345" y="2380"/>
                  </a:cubicBezTo>
                  <a:cubicBezTo>
                    <a:pt x="14432" y="2414"/>
                    <a:pt x="14510" y="2452"/>
                    <a:pt x="14522" y="2465"/>
                  </a:cubicBezTo>
                  <a:cubicBezTo>
                    <a:pt x="14525" y="2481"/>
                    <a:pt x="14574" y="2483"/>
                    <a:pt x="14619" y="2479"/>
                  </a:cubicBezTo>
                  <a:cubicBezTo>
                    <a:pt x="14665" y="2473"/>
                    <a:pt x="14716" y="2494"/>
                    <a:pt x="14717" y="2528"/>
                  </a:cubicBezTo>
                  <a:cubicBezTo>
                    <a:pt x="14725" y="2563"/>
                    <a:pt x="14706" y="2596"/>
                    <a:pt x="14674" y="2606"/>
                  </a:cubicBezTo>
                  <a:cubicBezTo>
                    <a:pt x="14640" y="2614"/>
                    <a:pt x="14581" y="2617"/>
                    <a:pt x="14540" y="2613"/>
                  </a:cubicBezTo>
                  <a:cubicBezTo>
                    <a:pt x="14502" y="2602"/>
                    <a:pt x="14402" y="2623"/>
                    <a:pt x="14324" y="2643"/>
                  </a:cubicBezTo>
                  <a:cubicBezTo>
                    <a:pt x="14246" y="2665"/>
                    <a:pt x="14199" y="2660"/>
                    <a:pt x="14209" y="2631"/>
                  </a:cubicBezTo>
                  <a:cubicBezTo>
                    <a:pt x="14230" y="2606"/>
                    <a:pt x="14174" y="2556"/>
                    <a:pt x="14099" y="2518"/>
                  </a:cubicBezTo>
                  <a:cubicBezTo>
                    <a:pt x="14025" y="2481"/>
                    <a:pt x="13914" y="2477"/>
                    <a:pt x="13854" y="2494"/>
                  </a:cubicBezTo>
                  <a:cubicBezTo>
                    <a:pt x="13796" y="2516"/>
                    <a:pt x="13712" y="2550"/>
                    <a:pt x="13668" y="2570"/>
                  </a:cubicBezTo>
                  <a:cubicBezTo>
                    <a:pt x="13623" y="2590"/>
                    <a:pt x="13627" y="2581"/>
                    <a:pt x="13663" y="2539"/>
                  </a:cubicBezTo>
                  <a:cubicBezTo>
                    <a:pt x="13707" y="2504"/>
                    <a:pt x="13766" y="2434"/>
                    <a:pt x="13805" y="2392"/>
                  </a:cubicBezTo>
                  <a:cubicBezTo>
                    <a:pt x="13839" y="2347"/>
                    <a:pt x="13823" y="2320"/>
                    <a:pt x="13762" y="2314"/>
                  </a:cubicBezTo>
                  <a:cubicBezTo>
                    <a:pt x="13701" y="2320"/>
                    <a:pt x="13623" y="2327"/>
                    <a:pt x="13591" y="2345"/>
                  </a:cubicBezTo>
                  <a:cubicBezTo>
                    <a:pt x="13556" y="2359"/>
                    <a:pt x="13496" y="2437"/>
                    <a:pt x="13456" y="2513"/>
                  </a:cubicBezTo>
                  <a:cubicBezTo>
                    <a:pt x="13420" y="2591"/>
                    <a:pt x="13390" y="2676"/>
                    <a:pt x="13402" y="2706"/>
                  </a:cubicBezTo>
                  <a:cubicBezTo>
                    <a:pt x="13414" y="2736"/>
                    <a:pt x="13411" y="2801"/>
                    <a:pt x="13389" y="2849"/>
                  </a:cubicBezTo>
                  <a:cubicBezTo>
                    <a:pt x="13365" y="2897"/>
                    <a:pt x="13325" y="2963"/>
                    <a:pt x="13294" y="2997"/>
                  </a:cubicBezTo>
                  <a:cubicBezTo>
                    <a:pt x="13258" y="3028"/>
                    <a:pt x="13249" y="3025"/>
                    <a:pt x="13268" y="2987"/>
                  </a:cubicBezTo>
                  <a:cubicBezTo>
                    <a:pt x="13286" y="2949"/>
                    <a:pt x="13293" y="2885"/>
                    <a:pt x="13272" y="2846"/>
                  </a:cubicBezTo>
                  <a:cubicBezTo>
                    <a:pt x="13250" y="2808"/>
                    <a:pt x="13178" y="2819"/>
                    <a:pt x="13100" y="2872"/>
                  </a:cubicBezTo>
                  <a:cubicBezTo>
                    <a:pt x="13021" y="2925"/>
                    <a:pt x="12913" y="3011"/>
                    <a:pt x="12862" y="3061"/>
                  </a:cubicBezTo>
                  <a:cubicBezTo>
                    <a:pt x="12807" y="3110"/>
                    <a:pt x="12778" y="3169"/>
                    <a:pt x="12804" y="3183"/>
                  </a:cubicBezTo>
                  <a:cubicBezTo>
                    <a:pt x="12822" y="3202"/>
                    <a:pt x="12799" y="3240"/>
                    <a:pt x="12743" y="3270"/>
                  </a:cubicBezTo>
                  <a:cubicBezTo>
                    <a:pt x="12689" y="3301"/>
                    <a:pt x="12602" y="3324"/>
                    <a:pt x="12552" y="3322"/>
                  </a:cubicBezTo>
                  <a:cubicBezTo>
                    <a:pt x="12503" y="3327"/>
                    <a:pt x="12414" y="3325"/>
                    <a:pt x="12355" y="3335"/>
                  </a:cubicBezTo>
                  <a:cubicBezTo>
                    <a:pt x="12295" y="3344"/>
                    <a:pt x="12287" y="3320"/>
                    <a:pt x="12336" y="3281"/>
                  </a:cubicBezTo>
                  <a:cubicBezTo>
                    <a:pt x="12385" y="3244"/>
                    <a:pt x="12496" y="3172"/>
                    <a:pt x="12580" y="3120"/>
                  </a:cubicBezTo>
                  <a:cubicBezTo>
                    <a:pt x="12665" y="3069"/>
                    <a:pt x="12839" y="2952"/>
                    <a:pt x="12964" y="2856"/>
                  </a:cubicBezTo>
                  <a:cubicBezTo>
                    <a:pt x="13093" y="2764"/>
                    <a:pt x="13228" y="2653"/>
                    <a:pt x="13265" y="2612"/>
                  </a:cubicBezTo>
                  <a:cubicBezTo>
                    <a:pt x="13306" y="2572"/>
                    <a:pt x="13316" y="2524"/>
                    <a:pt x="13288" y="2506"/>
                  </a:cubicBezTo>
                  <a:cubicBezTo>
                    <a:pt x="13260" y="2489"/>
                    <a:pt x="13235" y="2449"/>
                    <a:pt x="13240" y="2419"/>
                  </a:cubicBezTo>
                  <a:cubicBezTo>
                    <a:pt x="13240" y="2388"/>
                    <a:pt x="13162" y="2417"/>
                    <a:pt x="13063" y="2482"/>
                  </a:cubicBezTo>
                  <a:cubicBezTo>
                    <a:pt x="12964" y="2546"/>
                    <a:pt x="12845" y="2624"/>
                    <a:pt x="12799" y="2656"/>
                  </a:cubicBezTo>
                  <a:cubicBezTo>
                    <a:pt x="12754" y="2688"/>
                    <a:pt x="12713" y="2696"/>
                    <a:pt x="12700" y="2681"/>
                  </a:cubicBezTo>
                  <a:cubicBezTo>
                    <a:pt x="12696" y="2664"/>
                    <a:pt x="12711" y="2610"/>
                    <a:pt x="12751" y="2562"/>
                  </a:cubicBezTo>
                  <a:cubicBezTo>
                    <a:pt x="12788" y="2514"/>
                    <a:pt x="12769" y="2479"/>
                    <a:pt x="12711" y="2488"/>
                  </a:cubicBezTo>
                  <a:cubicBezTo>
                    <a:pt x="12653" y="2493"/>
                    <a:pt x="12576" y="2520"/>
                    <a:pt x="12537" y="2541"/>
                  </a:cubicBezTo>
                  <a:cubicBezTo>
                    <a:pt x="12499" y="2563"/>
                    <a:pt x="12444" y="2610"/>
                    <a:pt x="12410" y="2642"/>
                  </a:cubicBezTo>
                  <a:cubicBezTo>
                    <a:pt x="12384" y="2678"/>
                    <a:pt x="12350" y="2735"/>
                    <a:pt x="12339" y="2773"/>
                  </a:cubicBezTo>
                  <a:cubicBezTo>
                    <a:pt x="12332" y="2811"/>
                    <a:pt x="12303" y="2881"/>
                    <a:pt x="12275" y="2927"/>
                  </a:cubicBezTo>
                  <a:cubicBezTo>
                    <a:pt x="12257" y="2977"/>
                    <a:pt x="12200" y="3013"/>
                    <a:pt x="12172" y="3004"/>
                  </a:cubicBezTo>
                  <a:cubicBezTo>
                    <a:pt x="12143" y="2997"/>
                    <a:pt x="12149" y="2955"/>
                    <a:pt x="12174" y="2900"/>
                  </a:cubicBezTo>
                  <a:cubicBezTo>
                    <a:pt x="12209" y="2849"/>
                    <a:pt x="12220" y="2797"/>
                    <a:pt x="12205" y="2795"/>
                  </a:cubicBezTo>
                  <a:cubicBezTo>
                    <a:pt x="12197" y="2786"/>
                    <a:pt x="12146" y="2821"/>
                    <a:pt x="12099" y="2862"/>
                  </a:cubicBezTo>
                  <a:cubicBezTo>
                    <a:pt x="12051" y="2902"/>
                    <a:pt x="11960" y="2964"/>
                    <a:pt x="11889" y="2995"/>
                  </a:cubicBezTo>
                  <a:cubicBezTo>
                    <a:pt x="11819" y="3027"/>
                    <a:pt x="11744" y="3076"/>
                    <a:pt x="11727" y="3106"/>
                  </a:cubicBezTo>
                  <a:cubicBezTo>
                    <a:pt x="11709" y="3136"/>
                    <a:pt x="11642" y="3203"/>
                    <a:pt x="11574" y="3252"/>
                  </a:cubicBezTo>
                  <a:cubicBezTo>
                    <a:pt x="11509" y="3302"/>
                    <a:pt x="11410" y="3361"/>
                    <a:pt x="11356" y="3388"/>
                  </a:cubicBezTo>
                  <a:cubicBezTo>
                    <a:pt x="11301" y="3412"/>
                    <a:pt x="11223" y="3460"/>
                    <a:pt x="11180" y="3493"/>
                  </a:cubicBezTo>
                  <a:cubicBezTo>
                    <a:pt x="11135" y="3523"/>
                    <a:pt x="11057" y="3563"/>
                    <a:pt x="11002" y="3580"/>
                  </a:cubicBezTo>
                  <a:cubicBezTo>
                    <a:pt x="10947" y="3596"/>
                    <a:pt x="10955" y="3575"/>
                    <a:pt x="11023" y="3538"/>
                  </a:cubicBezTo>
                  <a:cubicBezTo>
                    <a:pt x="11089" y="3498"/>
                    <a:pt x="11167" y="3440"/>
                    <a:pt x="11186" y="3406"/>
                  </a:cubicBezTo>
                  <a:cubicBezTo>
                    <a:pt x="11210" y="3373"/>
                    <a:pt x="11218" y="3334"/>
                    <a:pt x="11200" y="3326"/>
                  </a:cubicBezTo>
                  <a:cubicBezTo>
                    <a:pt x="11187" y="3313"/>
                    <a:pt x="11146" y="3313"/>
                    <a:pt x="11118" y="3320"/>
                  </a:cubicBezTo>
                  <a:cubicBezTo>
                    <a:pt x="11089" y="3324"/>
                    <a:pt x="11077" y="3316"/>
                    <a:pt x="11086" y="3293"/>
                  </a:cubicBezTo>
                  <a:cubicBezTo>
                    <a:pt x="11097" y="3271"/>
                    <a:pt x="11144" y="3241"/>
                    <a:pt x="11189" y="3225"/>
                  </a:cubicBezTo>
                  <a:cubicBezTo>
                    <a:pt x="11234" y="3209"/>
                    <a:pt x="11294" y="3199"/>
                    <a:pt x="11322" y="3200"/>
                  </a:cubicBezTo>
                  <a:cubicBezTo>
                    <a:pt x="11349" y="3200"/>
                    <a:pt x="11392" y="3186"/>
                    <a:pt x="11411" y="3161"/>
                  </a:cubicBezTo>
                  <a:cubicBezTo>
                    <a:pt x="11431" y="3136"/>
                    <a:pt x="11453" y="3101"/>
                    <a:pt x="11464" y="3084"/>
                  </a:cubicBezTo>
                  <a:cubicBezTo>
                    <a:pt x="11466" y="3066"/>
                    <a:pt x="11487" y="3038"/>
                    <a:pt x="11501" y="3021"/>
                  </a:cubicBezTo>
                  <a:cubicBezTo>
                    <a:pt x="11513" y="3004"/>
                    <a:pt x="11588" y="2962"/>
                    <a:pt x="11662" y="2923"/>
                  </a:cubicBezTo>
                  <a:cubicBezTo>
                    <a:pt x="11739" y="2887"/>
                    <a:pt x="11904" y="2790"/>
                    <a:pt x="12031" y="2708"/>
                  </a:cubicBezTo>
                  <a:cubicBezTo>
                    <a:pt x="12160" y="2628"/>
                    <a:pt x="12290" y="2533"/>
                    <a:pt x="12322" y="2499"/>
                  </a:cubicBezTo>
                  <a:cubicBezTo>
                    <a:pt x="12356" y="2466"/>
                    <a:pt x="12433" y="2404"/>
                    <a:pt x="12493" y="2361"/>
                  </a:cubicBezTo>
                  <a:cubicBezTo>
                    <a:pt x="12558" y="2321"/>
                    <a:pt x="12582" y="2297"/>
                    <a:pt x="12549" y="2304"/>
                  </a:cubicBezTo>
                  <a:cubicBezTo>
                    <a:pt x="12519" y="2317"/>
                    <a:pt x="12465" y="2332"/>
                    <a:pt x="12431" y="2340"/>
                  </a:cubicBezTo>
                  <a:cubicBezTo>
                    <a:pt x="12398" y="2347"/>
                    <a:pt x="12280" y="2406"/>
                    <a:pt x="12171" y="2472"/>
                  </a:cubicBezTo>
                  <a:cubicBezTo>
                    <a:pt x="12065" y="2540"/>
                    <a:pt x="11892" y="2641"/>
                    <a:pt x="11796" y="2705"/>
                  </a:cubicBezTo>
                  <a:cubicBezTo>
                    <a:pt x="11699" y="2768"/>
                    <a:pt x="11582" y="2836"/>
                    <a:pt x="11532" y="2850"/>
                  </a:cubicBezTo>
                  <a:cubicBezTo>
                    <a:pt x="11487" y="2870"/>
                    <a:pt x="11498" y="2845"/>
                    <a:pt x="11558" y="2799"/>
                  </a:cubicBezTo>
                  <a:cubicBezTo>
                    <a:pt x="11625" y="2760"/>
                    <a:pt x="11723" y="2680"/>
                    <a:pt x="11787" y="2633"/>
                  </a:cubicBezTo>
                  <a:cubicBezTo>
                    <a:pt x="11849" y="2585"/>
                    <a:pt x="11952" y="2514"/>
                    <a:pt x="12014" y="2474"/>
                  </a:cubicBezTo>
                  <a:cubicBezTo>
                    <a:pt x="12079" y="2437"/>
                    <a:pt x="12178" y="2374"/>
                    <a:pt x="12246" y="2352"/>
                  </a:cubicBezTo>
                  <a:cubicBezTo>
                    <a:pt x="12309" y="2321"/>
                    <a:pt x="12417" y="2264"/>
                    <a:pt x="12484" y="2219"/>
                  </a:cubicBezTo>
                  <a:cubicBezTo>
                    <a:pt x="12552" y="2175"/>
                    <a:pt x="12649" y="2123"/>
                    <a:pt x="12701" y="2104"/>
                  </a:cubicBezTo>
                  <a:cubicBezTo>
                    <a:pt x="12756" y="2088"/>
                    <a:pt x="12855" y="2026"/>
                    <a:pt x="12926" y="1972"/>
                  </a:cubicBezTo>
                  <a:cubicBezTo>
                    <a:pt x="12996" y="1917"/>
                    <a:pt x="13060" y="1853"/>
                    <a:pt x="13078" y="1835"/>
                  </a:cubicBezTo>
                  <a:cubicBezTo>
                    <a:pt x="13093" y="1816"/>
                    <a:pt x="13075" y="1786"/>
                    <a:pt x="13037" y="1774"/>
                  </a:cubicBezTo>
                  <a:cubicBezTo>
                    <a:pt x="12999" y="1763"/>
                    <a:pt x="12996" y="1715"/>
                    <a:pt x="13027" y="1673"/>
                  </a:cubicBezTo>
                  <a:cubicBezTo>
                    <a:pt x="13060" y="1632"/>
                    <a:pt x="13112" y="1574"/>
                    <a:pt x="13143" y="1544"/>
                  </a:cubicBezTo>
                  <a:cubicBezTo>
                    <a:pt x="13175" y="1514"/>
                    <a:pt x="13312" y="1422"/>
                    <a:pt x="13439" y="1330"/>
                  </a:cubicBezTo>
                  <a:cubicBezTo>
                    <a:pt x="13574" y="1246"/>
                    <a:pt x="13696" y="1150"/>
                    <a:pt x="13722" y="1126"/>
                  </a:cubicBezTo>
                  <a:cubicBezTo>
                    <a:pt x="13749" y="1103"/>
                    <a:pt x="13765" y="1061"/>
                    <a:pt x="13756" y="1037"/>
                  </a:cubicBezTo>
                  <a:cubicBezTo>
                    <a:pt x="13749" y="1013"/>
                    <a:pt x="13703" y="991"/>
                    <a:pt x="13654" y="993"/>
                  </a:cubicBezTo>
                  <a:cubicBezTo>
                    <a:pt x="13604" y="995"/>
                    <a:pt x="13559" y="981"/>
                    <a:pt x="13557" y="965"/>
                  </a:cubicBezTo>
                  <a:cubicBezTo>
                    <a:pt x="13555" y="948"/>
                    <a:pt x="13613" y="883"/>
                    <a:pt x="13690" y="821"/>
                  </a:cubicBezTo>
                  <a:cubicBezTo>
                    <a:pt x="13764" y="758"/>
                    <a:pt x="13881" y="676"/>
                    <a:pt x="13941" y="632"/>
                  </a:cubicBezTo>
                  <a:cubicBezTo>
                    <a:pt x="14008" y="595"/>
                    <a:pt x="14078" y="533"/>
                    <a:pt x="14109" y="506"/>
                  </a:cubicBezTo>
                  <a:cubicBezTo>
                    <a:pt x="14141" y="480"/>
                    <a:pt x="14221" y="383"/>
                    <a:pt x="14286" y="293"/>
                  </a:cubicBezTo>
                  <a:cubicBezTo>
                    <a:pt x="14351" y="203"/>
                    <a:pt x="14429" y="113"/>
                    <a:pt x="14459" y="94"/>
                  </a:cubicBezTo>
                  <a:cubicBezTo>
                    <a:pt x="14483" y="71"/>
                    <a:pt x="14511" y="40"/>
                    <a:pt x="14520" y="20"/>
                  </a:cubicBezTo>
                  <a:cubicBezTo>
                    <a:pt x="14530" y="0"/>
                    <a:pt x="14453" y="-8"/>
                    <a:pt x="14360" y="10"/>
                  </a:cubicBezTo>
                  <a:cubicBezTo>
                    <a:pt x="14266" y="25"/>
                    <a:pt x="14102" y="60"/>
                    <a:pt x="13998" y="89"/>
                  </a:cubicBezTo>
                  <a:cubicBezTo>
                    <a:pt x="13892" y="117"/>
                    <a:pt x="13737" y="147"/>
                    <a:pt x="13652" y="155"/>
                  </a:cubicBezTo>
                  <a:cubicBezTo>
                    <a:pt x="13568" y="161"/>
                    <a:pt x="13423" y="216"/>
                    <a:pt x="13327" y="266"/>
                  </a:cubicBezTo>
                  <a:cubicBezTo>
                    <a:pt x="13232" y="319"/>
                    <a:pt x="13084" y="382"/>
                    <a:pt x="13001" y="413"/>
                  </a:cubicBezTo>
                  <a:cubicBezTo>
                    <a:pt x="12917" y="443"/>
                    <a:pt x="12756" y="509"/>
                    <a:pt x="12643" y="562"/>
                  </a:cubicBezTo>
                  <a:cubicBezTo>
                    <a:pt x="12532" y="616"/>
                    <a:pt x="12292" y="719"/>
                    <a:pt x="12112" y="789"/>
                  </a:cubicBezTo>
                  <a:cubicBezTo>
                    <a:pt x="11933" y="861"/>
                    <a:pt x="11759" y="942"/>
                    <a:pt x="11726" y="970"/>
                  </a:cubicBezTo>
                  <a:cubicBezTo>
                    <a:pt x="11694" y="1000"/>
                    <a:pt x="11690" y="1045"/>
                    <a:pt x="11726" y="1067"/>
                  </a:cubicBezTo>
                  <a:cubicBezTo>
                    <a:pt x="11761" y="1092"/>
                    <a:pt x="11773" y="1138"/>
                    <a:pt x="11754" y="1168"/>
                  </a:cubicBezTo>
                  <a:cubicBezTo>
                    <a:pt x="11733" y="1196"/>
                    <a:pt x="11681" y="1244"/>
                    <a:pt x="11639" y="1277"/>
                  </a:cubicBezTo>
                  <a:cubicBezTo>
                    <a:pt x="11597" y="1310"/>
                    <a:pt x="11570" y="1298"/>
                    <a:pt x="11572" y="1255"/>
                  </a:cubicBezTo>
                  <a:cubicBezTo>
                    <a:pt x="11578" y="1213"/>
                    <a:pt x="11571" y="1169"/>
                    <a:pt x="11550" y="1168"/>
                  </a:cubicBezTo>
                  <a:cubicBezTo>
                    <a:pt x="11530" y="1162"/>
                    <a:pt x="11513" y="1131"/>
                    <a:pt x="11499" y="1100"/>
                  </a:cubicBezTo>
                  <a:cubicBezTo>
                    <a:pt x="11499" y="1068"/>
                    <a:pt x="11424" y="1064"/>
                    <a:pt x="11349" y="1083"/>
                  </a:cubicBezTo>
                  <a:cubicBezTo>
                    <a:pt x="11277" y="1107"/>
                    <a:pt x="11171" y="1157"/>
                    <a:pt x="11113" y="1196"/>
                  </a:cubicBezTo>
                  <a:cubicBezTo>
                    <a:pt x="11056" y="1234"/>
                    <a:pt x="10991" y="1287"/>
                    <a:pt x="10984" y="1315"/>
                  </a:cubicBezTo>
                  <a:cubicBezTo>
                    <a:pt x="10966" y="1340"/>
                    <a:pt x="10925" y="1383"/>
                    <a:pt x="10886" y="1409"/>
                  </a:cubicBezTo>
                  <a:cubicBezTo>
                    <a:pt x="10847" y="1435"/>
                    <a:pt x="10821" y="1436"/>
                    <a:pt x="10828" y="1412"/>
                  </a:cubicBezTo>
                  <a:cubicBezTo>
                    <a:pt x="10837" y="1388"/>
                    <a:pt x="10866" y="1337"/>
                    <a:pt x="10899" y="1302"/>
                  </a:cubicBezTo>
                  <a:cubicBezTo>
                    <a:pt x="10929" y="1264"/>
                    <a:pt x="10933" y="1238"/>
                    <a:pt x="10906" y="1238"/>
                  </a:cubicBezTo>
                  <a:cubicBezTo>
                    <a:pt x="10879" y="1243"/>
                    <a:pt x="10770" y="1271"/>
                    <a:pt x="10670" y="1314"/>
                  </a:cubicBezTo>
                  <a:cubicBezTo>
                    <a:pt x="10569" y="1352"/>
                    <a:pt x="10445" y="1421"/>
                    <a:pt x="10398" y="1464"/>
                  </a:cubicBezTo>
                  <a:cubicBezTo>
                    <a:pt x="10349" y="1508"/>
                    <a:pt x="10295" y="1561"/>
                    <a:pt x="10285" y="1585"/>
                  </a:cubicBezTo>
                  <a:cubicBezTo>
                    <a:pt x="10269" y="1608"/>
                    <a:pt x="10306" y="1635"/>
                    <a:pt x="10360" y="1645"/>
                  </a:cubicBezTo>
                  <a:cubicBezTo>
                    <a:pt x="10416" y="1650"/>
                    <a:pt x="10477" y="1695"/>
                    <a:pt x="10496" y="1735"/>
                  </a:cubicBezTo>
                  <a:cubicBezTo>
                    <a:pt x="10519" y="1774"/>
                    <a:pt x="10585" y="1810"/>
                    <a:pt x="10648" y="1815"/>
                  </a:cubicBezTo>
                  <a:cubicBezTo>
                    <a:pt x="10710" y="1823"/>
                    <a:pt x="10736" y="1832"/>
                    <a:pt x="10704" y="1842"/>
                  </a:cubicBezTo>
                  <a:cubicBezTo>
                    <a:pt x="10671" y="1853"/>
                    <a:pt x="10590" y="1859"/>
                    <a:pt x="10520" y="1855"/>
                  </a:cubicBezTo>
                  <a:cubicBezTo>
                    <a:pt x="10451" y="1854"/>
                    <a:pt x="10349" y="1818"/>
                    <a:pt x="10289" y="1783"/>
                  </a:cubicBezTo>
                  <a:cubicBezTo>
                    <a:pt x="10228" y="1750"/>
                    <a:pt x="10158" y="1724"/>
                    <a:pt x="10131" y="1734"/>
                  </a:cubicBezTo>
                  <a:cubicBezTo>
                    <a:pt x="10101" y="1739"/>
                    <a:pt x="10053" y="1769"/>
                    <a:pt x="10024" y="1794"/>
                  </a:cubicBezTo>
                  <a:cubicBezTo>
                    <a:pt x="9993" y="1818"/>
                    <a:pt x="9877" y="1873"/>
                    <a:pt x="9762" y="1907"/>
                  </a:cubicBezTo>
                  <a:cubicBezTo>
                    <a:pt x="9649" y="1944"/>
                    <a:pt x="9536" y="1986"/>
                    <a:pt x="9512" y="1998"/>
                  </a:cubicBezTo>
                  <a:cubicBezTo>
                    <a:pt x="9487" y="2011"/>
                    <a:pt x="9478" y="2032"/>
                    <a:pt x="9496" y="2039"/>
                  </a:cubicBezTo>
                  <a:cubicBezTo>
                    <a:pt x="9508" y="2051"/>
                    <a:pt x="9581" y="2038"/>
                    <a:pt x="9649" y="2018"/>
                  </a:cubicBezTo>
                  <a:cubicBezTo>
                    <a:pt x="9719" y="2000"/>
                    <a:pt x="9774" y="1994"/>
                    <a:pt x="9778" y="2010"/>
                  </a:cubicBezTo>
                  <a:cubicBezTo>
                    <a:pt x="9778" y="2027"/>
                    <a:pt x="9776" y="2069"/>
                    <a:pt x="9767" y="2103"/>
                  </a:cubicBezTo>
                  <a:cubicBezTo>
                    <a:pt x="9756" y="2138"/>
                    <a:pt x="9807" y="2171"/>
                    <a:pt x="9875" y="2184"/>
                  </a:cubicBezTo>
                  <a:cubicBezTo>
                    <a:pt x="9944" y="2187"/>
                    <a:pt x="9992" y="2221"/>
                    <a:pt x="9988" y="2247"/>
                  </a:cubicBezTo>
                  <a:cubicBezTo>
                    <a:pt x="9982" y="2272"/>
                    <a:pt x="10004" y="2300"/>
                    <a:pt x="10038" y="2310"/>
                  </a:cubicBezTo>
                  <a:cubicBezTo>
                    <a:pt x="10073" y="2318"/>
                    <a:pt x="10051" y="2337"/>
                    <a:pt x="9992" y="2356"/>
                  </a:cubicBezTo>
                  <a:cubicBezTo>
                    <a:pt x="9932" y="2371"/>
                    <a:pt x="9861" y="2367"/>
                    <a:pt x="9851" y="2341"/>
                  </a:cubicBezTo>
                  <a:cubicBezTo>
                    <a:pt x="9832" y="2318"/>
                    <a:pt x="9763" y="2295"/>
                    <a:pt x="9694" y="2294"/>
                  </a:cubicBezTo>
                  <a:cubicBezTo>
                    <a:pt x="9625" y="2294"/>
                    <a:pt x="9582" y="2271"/>
                    <a:pt x="9586" y="2247"/>
                  </a:cubicBezTo>
                  <a:cubicBezTo>
                    <a:pt x="9596" y="2223"/>
                    <a:pt x="9578" y="2187"/>
                    <a:pt x="9546" y="2169"/>
                  </a:cubicBezTo>
                  <a:cubicBezTo>
                    <a:pt x="9515" y="2149"/>
                    <a:pt x="9428" y="2150"/>
                    <a:pt x="9354" y="2170"/>
                  </a:cubicBezTo>
                  <a:cubicBezTo>
                    <a:pt x="9280" y="2190"/>
                    <a:pt x="9163" y="2242"/>
                    <a:pt x="9094" y="2287"/>
                  </a:cubicBezTo>
                  <a:cubicBezTo>
                    <a:pt x="9021" y="2328"/>
                    <a:pt x="8951" y="2397"/>
                    <a:pt x="8922" y="2428"/>
                  </a:cubicBezTo>
                  <a:cubicBezTo>
                    <a:pt x="8898" y="2461"/>
                    <a:pt x="8806" y="2540"/>
                    <a:pt x="8727" y="2610"/>
                  </a:cubicBezTo>
                  <a:cubicBezTo>
                    <a:pt x="8644" y="2675"/>
                    <a:pt x="8534" y="2784"/>
                    <a:pt x="8475" y="2846"/>
                  </a:cubicBezTo>
                  <a:cubicBezTo>
                    <a:pt x="8414" y="2906"/>
                    <a:pt x="8383" y="2977"/>
                    <a:pt x="8403" y="2997"/>
                  </a:cubicBezTo>
                  <a:cubicBezTo>
                    <a:pt x="8413" y="3021"/>
                    <a:pt x="8376" y="3067"/>
                    <a:pt x="8297" y="3100"/>
                  </a:cubicBezTo>
                  <a:cubicBezTo>
                    <a:pt x="8220" y="3135"/>
                    <a:pt x="8147" y="3188"/>
                    <a:pt x="8122" y="3210"/>
                  </a:cubicBezTo>
                  <a:cubicBezTo>
                    <a:pt x="8104" y="3235"/>
                    <a:pt x="8102" y="3267"/>
                    <a:pt x="8125" y="3275"/>
                  </a:cubicBezTo>
                  <a:cubicBezTo>
                    <a:pt x="8141" y="3291"/>
                    <a:pt x="8165" y="3323"/>
                    <a:pt x="8153" y="3356"/>
                  </a:cubicBezTo>
                  <a:cubicBezTo>
                    <a:pt x="8145" y="3390"/>
                    <a:pt x="8178" y="3407"/>
                    <a:pt x="8221" y="3395"/>
                  </a:cubicBezTo>
                  <a:cubicBezTo>
                    <a:pt x="8264" y="3381"/>
                    <a:pt x="8410" y="3307"/>
                    <a:pt x="8546" y="3229"/>
                  </a:cubicBezTo>
                  <a:cubicBezTo>
                    <a:pt x="8680" y="3148"/>
                    <a:pt x="8825" y="3076"/>
                    <a:pt x="8867" y="3068"/>
                  </a:cubicBezTo>
                  <a:cubicBezTo>
                    <a:pt x="8909" y="3056"/>
                    <a:pt x="8945" y="3066"/>
                    <a:pt x="8958" y="3079"/>
                  </a:cubicBezTo>
                  <a:cubicBezTo>
                    <a:pt x="8961" y="3095"/>
                    <a:pt x="8917" y="3131"/>
                    <a:pt x="8851" y="3161"/>
                  </a:cubicBezTo>
                  <a:cubicBezTo>
                    <a:pt x="8785" y="3191"/>
                    <a:pt x="8703" y="3232"/>
                    <a:pt x="8669" y="3253"/>
                  </a:cubicBezTo>
                  <a:cubicBezTo>
                    <a:pt x="8635" y="3275"/>
                    <a:pt x="8606" y="3309"/>
                    <a:pt x="8595" y="3328"/>
                  </a:cubicBezTo>
                  <a:cubicBezTo>
                    <a:pt x="8598" y="3349"/>
                    <a:pt x="8548" y="3376"/>
                    <a:pt x="8506" y="3388"/>
                  </a:cubicBezTo>
                  <a:cubicBezTo>
                    <a:pt x="8463" y="3401"/>
                    <a:pt x="8377" y="3452"/>
                    <a:pt x="8309" y="3498"/>
                  </a:cubicBezTo>
                  <a:cubicBezTo>
                    <a:pt x="8242" y="3545"/>
                    <a:pt x="8171" y="3615"/>
                    <a:pt x="8148" y="3652"/>
                  </a:cubicBezTo>
                  <a:cubicBezTo>
                    <a:pt x="8123" y="3688"/>
                    <a:pt x="8060" y="3758"/>
                    <a:pt x="7995" y="3799"/>
                  </a:cubicBezTo>
                  <a:cubicBezTo>
                    <a:pt x="7934" y="3844"/>
                    <a:pt x="7866" y="3875"/>
                    <a:pt x="7844" y="3869"/>
                  </a:cubicBezTo>
                  <a:cubicBezTo>
                    <a:pt x="7823" y="3863"/>
                    <a:pt x="7835" y="3837"/>
                    <a:pt x="7863" y="3806"/>
                  </a:cubicBezTo>
                  <a:cubicBezTo>
                    <a:pt x="7896" y="3778"/>
                    <a:pt x="7918" y="3720"/>
                    <a:pt x="7910" y="3679"/>
                  </a:cubicBezTo>
                  <a:cubicBezTo>
                    <a:pt x="7908" y="3637"/>
                    <a:pt x="7861" y="3606"/>
                    <a:pt x="7819" y="3614"/>
                  </a:cubicBezTo>
                  <a:cubicBezTo>
                    <a:pt x="7776" y="3620"/>
                    <a:pt x="7696" y="3662"/>
                    <a:pt x="7640" y="3706"/>
                  </a:cubicBezTo>
                  <a:cubicBezTo>
                    <a:pt x="7586" y="3750"/>
                    <a:pt x="7543" y="3805"/>
                    <a:pt x="7536" y="3826"/>
                  </a:cubicBezTo>
                  <a:cubicBezTo>
                    <a:pt x="7539" y="3847"/>
                    <a:pt x="7488" y="3899"/>
                    <a:pt x="7433" y="3939"/>
                  </a:cubicBezTo>
                  <a:cubicBezTo>
                    <a:pt x="7379" y="3982"/>
                    <a:pt x="7273" y="4040"/>
                    <a:pt x="7200" y="4074"/>
                  </a:cubicBezTo>
                  <a:cubicBezTo>
                    <a:pt x="7125" y="4104"/>
                    <a:pt x="7037" y="4157"/>
                    <a:pt x="6996" y="4181"/>
                  </a:cubicBezTo>
                  <a:cubicBezTo>
                    <a:pt x="6958" y="4207"/>
                    <a:pt x="6927" y="4207"/>
                    <a:pt x="6921" y="4184"/>
                  </a:cubicBezTo>
                  <a:cubicBezTo>
                    <a:pt x="6926" y="4162"/>
                    <a:pt x="6889" y="4161"/>
                    <a:pt x="6853" y="4177"/>
                  </a:cubicBezTo>
                  <a:cubicBezTo>
                    <a:pt x="6820" y="4198"/>
                    <a:pt x="6771" y="4242"/>
                    <a:pt x="6760" y="4280"/>
                  </a:cubicBezTo>
                  <a:cubicBezTo>
                    <a:pt x="6741" y="4317"/>
                    <a:pt x="6740" y="4373"/>
                    <a:pt x="6747" y="4404"/>
                  </a:cubicBezTo>
                  <a:cubicBezTo>
                    <a:pt x="6761" y="4433"/>
                    <a:pt x="6744" y="4501"/>
                    <a:pt x="6713" y="4551"/>
                  </a:cubicBezTo>
                  <a:cubicBezTo>
                    <a:pt x="6688" y="4603"/>
                    <a:pt x="6662" y="4652"/>
                    <a:pt x="6670" y="4659"/>
                  </a:cubicBezTo>
                  <a:cubicBezTo>
                    <a:pt x="6678" y="4666"/>
                    <a:pt x="6659" y="4718"/>
                    <a:pt x="6627" y="4768"/>
                  </a:cubicBezTo>
                  <a:cubicBezTo>
                    <a:pt x="6596" y="4818"/>
                    <a:pt x="6605" y="4851"/>
                    <a:pt x="6643" y="4848"/>
                  </a:cubicBezTo>
                  <a:cubicBezTo>
                    <a:pt x="6677" y="4837"/>
                    <a:pt x="6732" y="4842"/>
                    <a:pt x="6762" y="4847"/>
                  </a:cubicBezTo>
                  <a:cubicBezTo>
                    <a:pt x="6793" y="4849"/>
                    <a:pt x="6797" y="4886"/>
                    <a:pt x="6766" y="4913"/>
                  </a:cubicBezTo>
                  <a:cubicBezTo>
                    <a:pt x="6738" y="4944"/>
                    <a:pt x="6713" y="4986"/>
                    <a:pt x="6718" y="5006"/>
                  </a:cubicBezTo>
                  <a:cubicBezTo>
                    <a:pt x="6713" y="5026"/>
                    <a:pt x="6702" y="5075"/>
                    <a:pt x="6679" y="5115"/>
                  </a:cubicBezTo>
                  <a:cubicBezTo>
                    <a:pt x="6657" y="5155"/>
                    <a:pt x="6579" y="5223"/>
                    <a:pt x="6506" y="5265"/>
                  </a:cubicBezTo>
                  <a:cubicBezTo>
                    <a:pt x="6436" y="5309"/>
                    <a:pt x="6344" y="5372"/>
                    <a:pt x="6298" y="5405"/>
                  </a:cubicBezTo>
                  <a:cubicBezTo>
                    <a:pt x="6259" y="5441"/>
                    <a:pt x="6169" y="5536"/>
                    <a:pt x="6105" y="5619"/>
                  </a:cubicBezTo>
                  <a:cubicBezTo>
                    <a:pt x="6044" y="5703"/>
                    <a:pt x="5954" y="5795"/>
                    <a:pt x="5910" y="5823"/>
                  </a:cubicBezTo>
                  <a:cubicBezTo>
                    <a:pt x="5867" y="5852"/>
                    <a:pt x="5738" y="5958"/>
                    <a:pt x="5623" y="6058"/>
                  </a:cubicBezTo>
                  <a:cubicBezTo>
                    <a:pt x="5506" y="6157"/>
                    <a:pt x="5400" y="6264"/>
                    <a:pt x="5383" y="6293"/>
                  </a:cubicBezTo>
                  <a:cubicBezTo>
                    <a:pt x="5364" y="6321"/>
                    <a:pt x="5264" y="6409"/>
                    <a:pt x="5153" y="6484"/>
                  </a:cubicBezTo>
                  <a:cubicBezTo>
                    <a:pt x="5043" y="6560"/>
                    <a:pt x="4974" y="6596"/>
                    <a:pt x="5009" y="6569"/>
                  </a:cubicBezTo>
                  <a:cubicBezTo>
                    <a:pt x="5037" y="6538"/>
                    <a:pt x="5081" y="6481"/>
                    <a:pt x="5110" y="6443"/>
                  </a:cubicBezTo>
                  <a:cubicBezTo>
                    <a:pt x="5129" y="6401"/>
                    <a:pt x="5201" y="6311"/>
                    <a:pt x="5265" y="6244"/>
                  </a:cubicBezTo>
                  <a:cubicBezTo>
                    <a:pt x="5323" y="6174"/>
                    <a:pt x="5431" y="6080"/>
                    <a:pt x="5499" y="6033"/>
                  </a:cubicBezTo>
                  <a:cubicBezTo>
                    <a:pt x="5566" y="5986"/>
                    <a:pt x="5611" y="5941"/>
                    <a:pt x="5601" y="5931"/>
                  </a:cubicBezTo>
                  <a:cubicBezTo>
                    <a:pt x="5590" y="5921"/>
                    <a:pt x="5564" y="5925"/>
                    <a:pt x="5547" y="5938"/>
                  </a:cubicBezTo>
                  <a:cubicBezTo>
                    <a:pt x="5528" y="5949"/>
                    <a:pt x="5479" y="5982"/>
                    <a:pt x="5428" y="5993"/>
                  </a:cubicBezTo>
                  <a:cubicBezTo>
                    <a:pt x="5381" y="6013"/>
                    <a:pt x="5326" y="6008"/>
                    <a:pt x="5304" y="5989"/>
                  </a:cubicBezTo>
                  <a:cubicBezTo>
                    <a:pt x="5285" y="5969"/>
                    <a:pt x="5252" y="5951"/>
                    <a:pt x="5234" y="5948"/>
                  </a:cubicBezTo>
                  <a:cubicBezTo>
                    <a:pt x="5216" y="5945"/>
                    <a:pt x="5232" y="5931"/>
                    <a:pt x="5267" y="5911"/>
                  </a:cubicBezTo>
                  <a:cubicBezTo>
                    <a:pt x="5303" y="5892"/>
                    <a:pt x="5374" y="5861"/>
                    <a:pt x="5421" y="5835"/>
                  </a:cubicBezTo>
                  <a:cubicBezTo>
                    <a:pt x="5470" y="5812"/>
                    <a:pt x="5546" y="5783"/>
                    <a:pt x="5583" y="5763"/>
                  </a:cubicBezTo>
                  <a:cubicBezTo>
                    <a:pt x="5626" y="5749"/>
                    <a:pt x="5670" y="5716"/>
                    <a:pt x="5689" y="5696"/>
                  </a:cubicBezTo>
                  <a:cubicBezTo>
                    <a:pt x="5701" y="5673"/>
                    <a:pt x="5747" y="5652"/>
                    <a:pt x="5778" y="5639"/>
                  </a:cubicBezTo>
                  <a:cubicBezTo>
                    <a:pt x="5812" y="5633"/>
                    <a:pt x="5837" y="5644"/>
                    <a:pt x="5837" y="5673"/>
                  </a:cubicBezTo>
                  <a:cubicBezTo>
                    <a:pt x="5837" y="5702"/>
                    <a:pt x="5878" y="5689"/>
                    <a:pt x="5925" y="5641"/>
                  </a:cubicBezTo>
                  <a:cubicBezTo>
                    <a:pt x="5976" y="5596"/>
                    <a:pt x="6037" y="5523"/>
                    <a:pt x="6060" y="5479"/>
                  </a:cubicBezTo>
                  <a:cubicBezTo>
                    <a:pt x="6087" y="5437"/>
                    <a:pt x="6069" y="5399"/>
                    <a:pt x="6022" y="5394"/>
                  </a:cubicBezTo>
                  <a:cubicBezTo>
                    <a:pt x="5975" y="5391"/>
                    <a:pt x="5941" y="5372"/>
                    <a:pt x="5939" y="5355"/>
                  </a:cubicBezTo>
                  <a:cubicBezTo>
                    <a:pt x="5939" y="5337"/>
                    <a:pt x="5914" y="5299"/>
                    <a:pt x="5894" y="5266"/>
                  </a:cubicBezTo>
                  <a:cubicBezTo>
                    <a:pt x="5864" y="5237"/>
                    <a:pt x="5871" y="5164"/>
                    <a:pt x="5906" y="5110"/>
                  </a:cubicBezTo>
                  <a:cubicBezTo>
                    <a:pt x="5934" y="5054"/>
                    <a:pt x="5960" y="4996"/>
                    <a:pt x="5955" y="4976"/>
                  </a:cubicBezTo>
                  <a:cubicBezTo>
                    <a:pt x="5939" y="4960"/>
                    <a:pt x="5964" y="4894"/>
                    <a:pt x="5985" y="4838"/>
                  </a:cubicBezTo>
                  <a:cubicBezTo>
                    <a:pt x="6010" y="4783"/>
                    <a:pt x="6025" y="4715"/>
                    <a:pt x="6013" y="4690"/>
                  </a:cubicBezTo>
                  <a:cubicBezTo>
                    <a:pt x="6011" y="4663"/>
                    <a:pt x="6020" y="4616"/>
                    <a:pt x="6043" y="4582"/>
                  </a:cubicBezTo>
                  <a:cubicBezTo>
                    <a:pt x="6068" y="4550"/>
                    <a:pt x="6119" y="4501"/>
                    <a:pt x="6162" y="4478"/>
                  </a:cubicBezTo>
                  <a:cubicBezTo>
                    <a:pt x="6202" y="4451"/>
                    <a:pt x="6298" y="4381"/>
                    <a:pt x="6368" y="4315"/>
                  </a:cubicBezTo>
                  <a:cubicBezTo>
                    <a:pt x="6438" y="4250"/>
                    <a:pt x="6521" y="4163"/>
                    <a:pt x="6553" y="4120"/>
                  </a:cubicBezTo>
                  <a:cubicBezTo>
                    <a:pt x="6585" y="4079"/>
                    <a:pt x="6679" y="3996"/>
                    <a:pt x="6761" y="3935"/>
                  </a:cubicBezTo>
                  <a:cubicBezTo>
                    <a:pt x="6846" y="3877"/>
                    <a:pt x="6972" y="3784"/>
                    <a:pt x="7041" y="3729"/>
                  </a:cubicBezTo>
                  <a:cubicBezTo>
                    <a:pt x="7113" y="3675"/>
                    <a:pt x="7223" y="3601"/>
                    <a:pt x="7289" y="3568"/>
                  </a:cubicBezTo>
                  <a:cubicBezTo>
                    <a:pt x="7352" y="3533"/>
                    <a:pt x="7421" y="3476"/>
                    <a:pt x="7446" y="3442"/>
                  </a:cubicBezTo>
                  <a:cubicBezTo>
                    <a:pt x="7469" y="3407"/>
                    <a:pt x="7472" y="3365"/>
                    <a:pt x="7455" y="3348"/>
                  </a:cubicBezTo>
                  <a:cubicBezTo>
                    <a:pt x="7439" y="3331"/>
                    <a:pt x="7426" y="3292"/>
                    <a:pt x="7423" y="3262"/>
                  </a:cubicBezTo>
                  <a:cubicBezTo>
                    <a:pt x="7421" y="3231"/>
                    <a:pt x="7452" y="3164"/>
                    <a:pt x="7493" y="3116"/>
                  </a:cubicBezTo>
                  <a:cubicBezTo>
                    <a:pt x="7533" y="3068"/>
                    <a:pt x="7652" y="2949"/>
                    <a:pt x="7762" y="2854"/>
                  </a:cubicBezTo>
                  <a:cubicBezTo>
                    <a:pt x="7871" y="2759"/>
                    <a:pt x="7996" y="2663"/>
                    <a:pt x="8041" y="2640"/>
                  </a:cubicBezTo>
                  <a:cubicBezTo>
                    <a:pt x="8085" y="2616"/>
                    <a:pt x="8223" y="2545"/>
                    <a:pt x="8339" y="2473"/>
                  </a:cubicBezTo>
                  <a:cubicBezTo>
                    <a:pt x="8458" y="2404"/>
                    <a:pt x="8699" y="2251"/>
                    <a:pt x="8867" y="2127"/>
                  </a:cubicBezTo>
                  <a:cubicBezTo>
                    <a:pt x="9037" y="2006"/>
                    <a:pt x="9309" y="1817"/>
                    <a:pt x="9474" y="1713"/>
                  </a:cubicBezTo>
                  <a:cubicBezTo>
                    <a:pt x="9638" y="1608"/>
                    <a:pt x="9836" y="1494"/>
                    <a:pt x="9913" y="1461"/>
                  </a:cubicBezTo>
                  <a:cubicBezTo>
                    <a:pt x="9990" y="1428"/>
                    <a:pt x="10116" y="1351"/>
                    <a:pt x="10200" y="1297"/>
                  </a:cubicBezTo>
                  <a:cubicBezTo>
                    <a:pt x="10281" y="1241"/>
                    <a:pt x="10388" y="1163"/>
                    <a:pt x="10436" y="1123"/>
                  </a:cubicBezTo>
                  <a:cubicBezTo>
                    <a:pt x="10484" y="1083"/>
                    <a:pt x="10577" y="1037"/>
                    <a:pt x="10640" y="1020"/>
                  </a:cubicBezTo>
                  <a:cubicBezTo>
                    <a:pt x="10704" y="1006"/>
                    <a:pt x="10856" y="943"/>
                    <a:pt x="10976" y="882"/>
                  </a:cubicBezTo>
                  <a:cubicBezTo>
                    <a:pt x="11100" y="827"/>
                    <a:pt x="11279" y="743"/>
                    <a:pt x="11374" y="695"/>
                  </a:cubicBezTo>
                  <a:cubicBezTo>
                    <a:pt x="11472" y="651"/>
                    <a:pt x="11577" y="581"/>
                    <a:pt x="11615" y="547"/>
                  </a:cubicBezTo>
                  <a:cubicBezTo>
                    <a:pt x="11653" y="511"/>
                    <a:pt x="11687" y="466"/>
                    <a:pt x="11693" y="445"/>
                  </a:cubicBezTo>
                  <a:cubicBezTo>
                    <a:pt x="11703" y="425"/>
                    <a:pt x="11612" y="410"/>
                    <a:pt x="11501" y="413"/>
                  </a:cubicBezTo>
                  <a:cubicBezTo>
                    <a:pt x="11390" y="418"/>
                    <a:pt x="11259" y="414"/>
                    <a:pt x="11209" y="407"/>
                  </a:cubicBezTo>
                  <a:cubicBezTo>
                    <a:pt x="11159" y="402"/>
                    <a:pt x="11037" y="424"/>
                    <a:pt x="10933" y="451"/>
                  </a:cubicBezTo>
                  <a:cubicBezTo>
                    <a:pt x="10832" y="484"/>
                    <a:pt x="10724" y="509"/>
                    <a:pt x="10694" y="511"/>
                  </a:cubicBezTo>
                  <a:cubicBezTo>
                    <a:pt x="10665" y="513"/>
                    <a:pt x="10597" y="539"/>
                    <a:pt x="10540" y="561"/>
                  </a:cubicBezTo>
                  <a:cubicBezTo>
                    <a:pt x="10489" y="592"/>
                    <a:pt x="10378" y="625"/>
                    <a:pt x="10300" y="636"/>
                  </a:cubicBezTo>
                  <a:cubicBezTo>
                    <a:pt x="10224" y="657"/>
                    <a:pt x="10112" y="686"/>
                    <a:pt x="10058" y="714"/>
                  </a:cubicBezTo>
                  <a:cubicBezTo>
                    <a:pt x="9999" y="737"/>
                    <a:pt x="9859" y="795"/>
                    <a:pt x="9741" y="836"/>
                  </a:cubicBezTo>
                  <a:cubicBezTo>
                    <a:pt x="9623" y="877"/>
                    <a:pt x="9365" y="981"/>
                    <a:pt x="9171" y="1072"/>
                  </a:cubicBezTo>
                  <a:cubicBezTo>
                    <a:pt x="8975" y="1160"/>
                    <a:pt x="8695" y="1307"/>
                    <a:pt x="8552" y="1399"/>
                  </a:cubicBezTo>
                  <a:cubicBezTo>
                    <a:pt x="8408" y="1492"/>
                    <a:pt x="8177" y="1616"/>
                    <a:pt x="8047" y="1685"/>
                  </a:cubicBezTo>
                  <a:cubicBezTo>
                    <a:pt x="7912" y="1748"/>
                    <a:pt x="7776" y="1841"/>
                    <a:pt x="7733" y="1881"/>
                  </a:cubicBezTo>
                  <a:cubicBezTo>
                    <a:pt x="7696" y="1924"/>
                    <a:pt x="7657" y="1979"/>
                    <a:pt x="7655" y="2007"/>
                  </a:cubicBezTo>
                  <a:cubicBezTo>
                    <a:pt x="7653" y="2035"/>
                    <a:pt x="7625" y="2058"/>
                    <a:pt x="7595" y="2058"/>
                  </a:cubicBezTo>
                  <a:cubicBezTo>
                    <a:pt x="7565" y="2054"/>
                    <a:pt x="7502" y="2069"/>
                    <a:pt x="7456" y="2084"/>
                  </a:cubicBezTo>
                  <a:cubicBezTo>
                    <a:pt x="7409" y="2097"/>
                    <a:pt x="7317" y="2144"/>
                    <a:pt x="7260" y="2193"/>
                  </a:cubicBezTo>
                  <a:cubicBezTo>
                    <a:pt x="7196" y="2237"/>
                    <a:pt x="7095" y="2296"/>
                    <a:pt x="7028" y="2318"/>
                  </a:cubicBezTo>
                  <a:cubicBezTo>
                    <a:pt x="6962" y="2342"/>
                    <a:pt x="6841" y="2411"/>
                    <a:pt x="6758" y="2472"/>
                  </a:cubicBezTo>
                  <a:cubicBezTo>
                    <a:pt x="6675" y="2533"/>
                    <a:pt x="6588" y="2610"/>
                    <a:pt x="6575" y="2645"/>
                  </a:cubicBezTo>
                  <a:cubicBezTo>
                    <a:pt x="6554" y="2678"/>
                    <a:pt x="6498" y="2716"/>
                    <a:pt x="6452" y="2733"/>
                  </a:cubicBezTo>
                  <a:cubicBezTo>
                    <a:pt x="6405" y="2750"/>
                    <a:pt x="6268" y="2839"/>
                    <a:pt x="6146" y="2932"/>
                  </a:cubicBezTo>
                  <a:cubicBezTo>
                    <a:pt x="6029" y="3026"/>
                    <a:pt x="5937" y="3118"/>
                    <a:pt x="5941" y="3136"/>
                  </a:cubicBezTo>
                  <a:cubicBezTo>
                    <a:pt x="5945" y="3154"/>
                    <a:pt x="5916" y="3204"/>
                    <a:pt x="5861" y="3236"/>
                  </a:cubicBezTo>
                  <a:cubicBezTo>
                    <a:pt x="5814" y="3276"/>
                    <a:pt x="5761" y="3286"/>
                    <a:pt x="5767" y="3264"/>
                  </a:cubicBezTo>
                  <a:cubicBezTo>
                    <a:pt x="5760" y="3242"/>
                    <a:pt x="5739" y="3229"/>
                    <a:pt x="5712" y="3235"/>
                  </a:cubicBezTo>
                  <a:cubicBezTo>
                    <a:pt x="5685" y="3243"/>
                    <a:pt x="5611" y="3308"/>
                    <a:pt x="5540" y="3375"/>
                  </a:cubicBezTo>
                  <a:cubicBezTo>
                    <a:pt x="5474" y="3446"/>
                    <a:pt x="5401" y="3506"/>
                    <a:pt x="5381" y="3508"/>
                  </a:cubicBezTo>
                  <a:cubicBezTo>
                    <a:pt x="5363" y="3514"/>
                    <a:pt x="5309" y="3526"/>
                    <a:pt x="5264" y="3541"/>
                  </a:cubicBezTo>
                  <a:cubicBezTo>
                    <a:pt x="5221" y="3557"/>
                    <a:pt x="5126" y="3614"/>
                    <a:pt x="5052" y="3667"/>
                  </a:cubicBezTo>
                  <a:cubicBezTo>
                    <a:pt x="4981" y="3722"/>
                    <a:pt x="4895" y="3784"/>
                    <a:pt x="4863" y="3804"/>
                  </a:cubicBezTo>
                  <a:cubicBezTo>
                    <a:pt x="4833" y="3828"/>
                    <a:pt x="4735" y="3904"/>
                    <a:pt x="4651" y="3977"/>
                  </a:cubicBezTo>
                  <a:cubicBezTo>
                    <a:pt x="4570" y="4052"/>
                    <a:pt x="4417" y="4179"/>
                    <a:pt x="4311" y="4258"/>
                  </a:cubicBezTo>
                  <a:cubicBezTo>
                    <a:pt x="4210" y="4339"/>
                    <a:pt x="4109" y="4429"/>
                    <a:pt x="4100" y="4459"/>
                  </a:cubicBezTo>
                  <a:cubicBezTo>
                    <a:pt x="4084" y="4489"/>
                    <a:pt x="4103" y="4501"/>
                    <a:pt x="4135" y="4482"/>
                  </a:cubicBezTo>
                  <a:cubicBezTo>
                    <a:pt x="4169" y="4465"/>
                    <a:pt x="4213" y="4442"/>
                    <a:pt x="4235" y="4436"/>
                  </a:cubicBezTo>
                  <a:cubicBezTo>
                    <a:pt x="4257" y="4431"/>
                    <a:pt x="4247" y="4448"/>
                    <a:pt x="4216" y="4480"/>
                  </a:cubicBezTo>
                  <a:cubicBezTo>
                    <a:pt x="4190" y="4514"/>
                    <a:pt x="4118" y="4556"/>
                    <a:pt x="4067" y="4573"/>
                  </a:cubicBezTo>
                  <a:cubicBezTo>
                    <a:pt x="4017" y="4594"/>
                    <a:pt x="3894" y="4658"/>
                    <a:pt x="3790" y="4712"/>
                  </a:cubicBezTo>
                  <a:cubicBezTo>
                    <a:pt x="3687" y="4766"/>
                    <a:pt x="3576" y="4848"/>
                    <a:pt x="3537" y="4888"/>
                  </a:cubicBezTo>
                  <a:cubicBezTo>
                    <a:pt x="3501" y="4929"/>
                    <a:pt x="3428" y="4982"/>
                    <a:pt x="3376" y="5004"/>
                  </a:cubicBezTo>
                  <a:cubicBezTo>
                    <a:pt x="3330" y="5032"/>
                    <a:pt x="3254" y="5077"/>
                    <a:pt x="3215" y="5112"/>
                  </a:cubicBezTo>
                  <a:cubicBezTo>
                    <a:pt x="3176" y="5149"/>
                    <a:pt x="3106" y="5237"/>
                    <a:pt x="3060" y="5309"/>
                  </a:cubicBezTo>
                  <a:cubicBezTo>
                    <a:pt x="3017" y="5383"/>
                    <a:pt x="2931" y="5482"/>
                    <a:pt x="2872" y="5531"/>
                  </a:cubicBezTo>
                  <a:cubicBezTo>
                    <a:pt x="2817" y="5582"/>
                    <a:pt x="2731" y="5637"/>
                    <a:pt x="2681" y="5653"/>
                  </a:cubicBezTo>
                  <a:cubicBezTo>
                    <a:pt x="2634" y="5671"/>
                    <a:pt x="2551" y="5725"/>
                    <a:pt x="2503" y="5778"/>
                  </a:cubicBezTo>
                  <a:cubicBezTo>
                    <a:pt x="2454" y="5831"/>
                    <a:pt x="2405" y="5898"/>
                    <a:pt x="2387" y="5925"/>
                  </a:cubicBezTo>
                  <a:cubicBezTo>
                    <a:pt x="2371" y="5953"/>
                    <a:pt x="2310" y="6012"/>
                    <a:pt x="2243" y="6049"/>
                  </a:cubicBezTo>
                  <a:cubicBezTo>
                    <a:pt x="2180" y="6091"/>
                    <a:pt x="2072" y="6180"/>
                    <a:pt x="2009" y="6253"/>
                  </a:cubicBezTo>
                  <a:cubicBezTo>
                    <a:pt x="1945" y="6327"/>
                    <a:pt x="1890" y="6411"/>
                    <a:pt x="1902" y="6438"/>
                  </a:cubicBezTo>
                  <a:cubicBezTo>
                    <a:pt x="1905" y="6466"/>
                    <a:pt x="1978" y="6493"/>
                    <a:pt x="2061" y="6496"/>
                  </a:cubicBezTo>
                  <a:cubicBezTo>
                    <a:pt x="2144" y="6497"/>
                    <a:pt x="2261" y="6489"/>
                    <a:pt x="2319" y="6469"/>
                  </a:cubicBezTo>
                  <a:cubicBezTo>
                    <a:pt x="2378" y="6451"/>
                    <a:pt x="2469" y="6444"/>
                    <a:pt x="2521" y="6450"/>
                  </a:cubicBezTo>
                  <a:cubicBezTo>
                    <a:pt x="2573" y="6455"/>
                    <a:pt x="2651" y="6450"/>
                    <a:pt x="2700" y="6437"/>
                  </a:cubicBezTo>
                  <a:cubicBezTo>
                    <a:pt x="2747" y="6420"/>
                    <a:pt x="2828" y="6412"/>
                    <a:pt x="2879" y="6419"/>
                  </a:cubicBezTo>
                  <a:cubicBezTo>
                    <a:pt x="2928" y="6434"/>
                    <a:pt x="3039" y="6408"/>
                    <a:pt x="3120" y="6381"/>
                  </a:cubicBezTo>
                  <a:cubicBezTo>
                    <a:pt x="3199" y="6350"/>
                    <a:pt x="3252" y="6379"/>
                    <a:pt x="3221" y="6430"/>
                  </a:cubicBezTo>
                  <a:cubicBezTo>
                    <a:pt x="3202" y="6485"/>
                    <a:pt x="3224" y="6536"/>
                    <a:pt x="3285" y="6540"/>
                  </a:cubicBezTo>
                  <a:cubicBezTo>
                    <a:pt x="3345" y="6550"/>
                    <a:pt x="3396" y="6575"/>
                    <a:pt x="3382" y="6598"/>
                  </a:cubicBezTo>
                  <a:cubicBezTo>
                    <a:pt x="3378" y="6624"/>
                    <a:pt x="3397" y="6643"/>
                    <a:pt x="3414" y="6660"/>
                  </a:cubicBezTo>
                  <a:cubicBezTo>
                    <a:pt x="3441" y="6667"/>
                    <a:pt x="3387" y="6699"/>
                    <a:pt x="3298" y="6731"/>
                  </a:cubicBezTo>
                  <a:cubicBezTo>
                    <a:pt x="3211" y="6765"/>
                    <a:pt x="3104" y="6802"/>
                    <a:pt x="3069" y="6826"/>
                  </a:cubicBezTo>
                  <a:cubicBezTo>
                    <a:pt x="3033" y="6848"/>
                    <a:pt x="2921" y="6894"/>
                    <a:pt x="2821" y="6924"/>
                  </a:cubicBezTo>
                  <a:cubicBezTo>
                    <a:pt x="2722" y="6958"/>
                    <a:pt x="2565" y="6993"/>
                    <a:pt x="2472" y="6996"/>
                  </a:cubicBezTo>
                  <a:cubicBezTo>
                    <a:pt x="2380" y="6999"/>
                    <a:pt x="2306" y="6980"/>
                    <a:pt x="2317" y="6947"/>
                  </a:cubicBezTo>
                  <a:cubicBezTo>
                    <a:pt x="2322" y="6913"/>
                    <a:pt x="2301" y="6872"/>
                    <a:pt x="2264" y="6865"/>
                  </a:cubicBezTo>
                  <a:cubicBezTo>
                    <a:pt x="2230" y="6850"/>
                    <a:pt x="2119" y="6869"/>
                    <a:pt x="2022" y="6897"/>
                  </a:cubicBezTo>
                  <a:cubicBezTo>
                    <a:pt x="1925" y="6926"/>
                    <a:pt x="1841" y="6936"/>
                    <a:pt x="1829" y="6924"/>
                  </a:cubicBezTo>
                  <a:cubicBezTo>
                    <a:pt x="1817" y="6912"/>
                    <a:pt x="1771" y="6907"/>
                    <a:pt x="1719" y="6915"/>
                  </a:cubicBezTo>
                  <a:cubicBezTo>
                    <a:pt x="1669" y="6925"/>
                    <a:pt x="1613" y="6948"/>
                    <a:pt x="1592" y="6967"/>
                  </a:cubicBezTo>
                  <a:cubicBezTo>
                    <a:pt x="1574" y="6987"/>
                    <a:pt x="1545" y="7036"/>
                    <a:pt x="1543" y="7078"/>
                  </a:cubicBezTo>
                  <a:cubicBezTo>
                    <a:pt x="1529" y="7118"/>
                    <a:pt x="1516" y="7173"/>
                    <a:pt x="1500" y="7197"/>
                  </a:cubicBezTo>
                  <a:cubicBezTo>
                    <a:pt x="1484" y="7221"/>
                    <a:pt x="1442" y="7252"/>
                    <a:pt x="1405" y="7265"/>
                  </a:cubicBezTo>
                  <a:cubicBezTo>
                    <a:pt x="1368" y="7278"/>
                    <a:pt x="1306" y="7318"/>
                    <a:pt x="1269" y="7354"/>
                  </a:cubicBezTo>
                  <a:cubicBezTo>
                    <a:pt x="1231" y="7389"/>
                    <a:pt x="1187" y="7466"/>
                    <a:pt x="1180" y="7521"/>
                  </a:cubicBezTo>
                  <a:cubicBezTo>
                    <a:pt x="1166" y="7576"/>
                    <a:pt x="1138" y="7662"/>
                    <a:pt x="1115" y="7711"/>
                  </a:cubicBezTo>
                  <a:cubicBezTo>
                    <a:pt x="1095" y="7761"/>
                    <a:pt x="1043" y="7842"/>
                    <a:pt x="1004" y="7892"/>
                  </a:cubicBezTo>
                  <a:cubicBezTo>
                    <a:pt x="966" y="7941"/>
                    <a:pt x="930" y="8011"/>
                    <a:pt x="911" y="8043"/>
                  </a:cubicBezTo>
                  <a:cubicBezTo>
                    <a:pt x="895" y="8075"/>
                    <a:pt x="933" y="8106"/>
                    <a:pt x="987" y="8113"/>
                  </a:cubicBezTo>
                  <a:cubicBezTo>
                    <a:pt x="1041" y="8121"/>
                    <a:pt x="1115" y="8139"/>
                    <a:pt x="1150" y="8158"/>
                  </a:cubicBezTo>
                  <a:cubicBezTo>
                    <a:pt x="1187" y="8175"/>
                    <a:pt x="1210" y="8206"/>
                    <a:pt x="1199" y="8221"/>
                  </a:cubicBezTo>
                  <a:cubicBezTo>
                    <a:pt x="1191" y="8237"/>
                    <a:pt x="1166" y="8244"/>
                    <a:pt x="1144" y="8239"/>
                  </a:cubicBezTo>
                  <a:cubicBezTo>
                    <a:pt x="1123" y="8232"/>
                    <a:pt x="1091" y="8234"/>
                    <a:pt x="1074" y="8236"/>
                  </a:cubicBezTo>
                  <a:cubicBezTo>
                    <a:pt x="1057" y="8236"/>
                    <a:pt x="1039" y="8266"/>
                    <a:pt x="1037" y="8295"/>
                  </a:cubicBezTo>
                  <a:cubicBezTo>
                    <a:pt x="1028" y="8324"/>
                    <a:pt x="1044" y="8367"/>
                    <a:pt x="1065" y="8387"/>
                  </a:cubicBezTo>
                  <a:cubicBezTo>
                    <a:pt x="1088" y="8407"/>
                    <a:pt x="1130" y="8419"/>
                    <a:pt x="1162" y="8404"/>
                  </a:cubicBezTo>
                  <a:cubicBezTo>
                    <a:pt x="1194" y="8390"/>
                    <a:pt x="1241" y="8360"/>
                    <a:pt x="1261" y="8331"/>
                  </a:cubicBezTo>
                  <a:cubicBezTo>
                    <a:pt x="1281" y="8302"/>
                    <a:pt x="1340" y="8263"/>
                    <a:pt x="1385" y="8240"/>
                  </a:cubicBezTo>
                  <a:cubicBezTo>
                    <a:pt x="1434" y="8222"/>
                    <a:pt x="1507" y="8193"/>
                    <a:pt x="1552" y="8185"/>
                  </a:cubicBezTo>
                  <a:cubicBezTo>
                    <a:pt x="1599" y="8181"/>
                    <a:pt x="1652" y="8184"/>
                    <a:pt x="1671" y="8202"/>
                  </a:cubicBezTo>
                  <a:cubicBezTo>
                    <a:pt x="1697" y="8214"/>
                    <a:pt x="1740" y="8230"/>
                    <a:pt x="1778" y="8224"/>
                  </a:cubicBezTo>
                  <a:cubicBezTo>
                    <a:pt x="1816" y="8218"/>
                    <a:pt x="1870" y="8190"/>
                    <a:pt x="1901" y="8164"/>
                  </a:cubicBezTo>
                  <a:cubicBezTo>
                    <a:pt x="1930" y="8135"/>
                    <a:pt x="1952" y="8095"/>
                    <a:pt x="1963" y="8076"/>
                  </a:cubicBezTo>
                  <a:cubicBezTo>
                    <a:pt x="1966" y="8056"/>
                    <a:pt x="1997" y="8016"/>
                    <a:pt x="2021" y="7983"/>
                  </a:cubicBezTo>
                  <a:cubicBezTo>
                    <a:pt x="2052" y="7954"/>
                    <a:pt x="2097" y="7910"/>
                    <a:pt x="2133" y="7899"/>
                  </a:cubicBezTo>
                  <a:cubicBezTo>
                    <a:pt x="2167" y="7884"/>
                    <a:pt x="2211" y="7874"/>
                    <a:pt x="2223" y="7885"/>
                  </a:cubicBezTo>
                  <a:cubicBezTo>
                    <a:pt x="2239" y="7891"/>
                    <a:pt x="2223" y="7931"/>
                    <a:pt x="2190" y="7970"/>
                  </a:cubicBezTo>
                  <a:cubicBezTo>
                    <a:pt x="2155" y="8009"/>
                    <a:pt x="2114" y="8063"/>
                    <a:pt x="2114" y="8092"/>
                  </a:cubicBezTo>
                  <a:cubicBezTo>
                    <a:pt x="2106" y="8120"/>
                    <a:pt x="2128" y="8128"/>
                    <a:pt x="2164" y="8116"/>
                  </a:cubicBezTo>
                  <a:cubicBezTo>
                    <a:pt x="2196" y="8098"/>
                    <a:pt x="2268" y="8042"/>
                    <a:pt x="2325" y="7989"/>
                  </a:cubicBezTo>
                  <a:cubicBezTo>
                    <a:pt x="2381" y="7935"/>
                    <a:pt x="2487" y="7862"/>
                    <a:pt x="2567" y="7834"/>
                  </a:cubicBezTo>
                  <a:cubicBezTo>
                    <a:pt x="2646" y="7803"/>
                    <a:pt x="2761" y="7746"/>
                    <a:pt x="2825" y="7705"/>
                  </a:cubicBezTo>
                  <a:cubicBezTo>
                    <a:pt x="2886" y="7663"/>
                    <a:pt x="2951" y="7636"/>
                    <a:pt x="2966" y="7637"/>
                  </a:cubicBezTo>
                  <a:cubicBezTo>
                    <a:pt x="2981" y="7640"/>
                    <a:pt x="2963" y="7673"/>
                    <a:pt x="2919" y="7706"/>
                  </a:cubicBezTo>
                  <a:cubicBezTo>
                    <a:pt x="2878" y="7741"/>
                    <a:pt x="2741" y="7831"/>
                    <a:pt x="2609" y="7901"/>
                  </a:cubicBezTo>
                  <a:cubicBezTo>
                    <a:pt x="2479" y="7972"/>
                    <a:pt x="2354" y="8067"/>
                    <a:pt x="2319" y="8103"/>
                  </a:cubicBezTo>
                  <a:cubicBezTo>
                    <a:pt x="2295" y="8145"/>
                    <a:pt x="2299" y="8178"/>
                    <a:pt x="2333" y="8195"/>
                  </a:cubicBezTo>
                  <a:cubicBezTo>
                    <a:pt x="2373" y="8201"/>
                    <a:pt x="2378" y="8259"/>
                    <a:pt x="2361" y="8316"/>
                  </a:cubicBezTo>
                  <a:cubicBezTo>
                    <a:pt x="2337" y="8371"/>
                    <a:pt x="2359" y="8437"/>
                    <a:pt x="2412" y="8456"/>
                  </a:cubicBezTo>
                  <a:cubicBezTo>
                    <a:pt x="2464" y="8477"/>
                    <a:pt x="2573" y="8479"/>
                    <a:pt x="2652" y="8454"/>
                  </a:cubicBezTo>
                  <a:cubicBezTo>
                    <a:pt x="2733" y="8431"/>
                    <a:pt x="2831" y="8391"/>
                    <a:pt x="2871" y="8367"/>
                  </a:cubicBezTo>
                  <a:cubicBezTo>
                    <a:pt x="2909" y="8340"/>
                    <a:pt x="2910" y="8314"/>
                    <a:pt x="2872" y="8304"/>
                  </a:cubicBezTo>
                  <a:cubicBezTo>
                    <a:pt x="2838" y="8288"/>
                    <a:pt x="2824" y="8271"/>
                    <a:pt x="2856" y="8261"/>
                  </a:cubicBezTo>
                  <a:cubicBezTo>
                    <a:pt x="2884" y="8245"/>
                    <a:pt x="2953" y="8225"/>
                    <a:pt x="3009" y="8215"/>
                  </a:cubicBezTo>
                  <a:cubicBezTo>
                    <a:pt x="3065" y="8207"/>
                    <a:pt x="3139" y="8204"/>
                    <a:pt x="3172" y="8219"/>
                  </a:cubicBezTo>
                  <a:cubicBezTo>
                    <a:pt x="3206" y="8233"/>
                    <a:pt x="3267" y="8230"/>
                    <a:pt x="3302" y="8210"/>
                  </a:cubicBezTo>
                  <a:cubicBezTo>
                    <a:pt x="3339" y="8191"/>
                    <a:pt x="3424" y="8138"/>
                    <a:pt x="3486" y="8088"/>
                  </a:cubicBezTo>
                  <a:cubicBezTo>
                    <a:pt x="3550" y="8039"/>
                    <a:pt x="3665" y="7949"/>
                    <a:pt x="3746" y="7894"/>
                  </a:cubicBezTo>
                  <a:cubicBezTo>
                    <a:pt x="3822" y="7835"/>
                    <a:pt x="3922" y="7774"/>
                    <a:pt x="3966" y="7764"/>
                  </a:cubicBezTo>
                  <a:cubicBezTo>
                    <a:pt x="4009" y="7750"/>
                    <a:pt x="4037" y="7751"/>
                    <a:pt x="4030" y="7768"/>
                  </a:cubicBezTo>
                  <a:cubicBezTo>
                    <a:pt x="4027" y="7786"/>
                    <a:pt x="3980" y="7818"/>
                    <a:pt x="3935" y="7843"/>
                  </a:cubicBezTo>
                  <a:cubicBezTo>
                    <a:pt x="3889" y="7866"/>
                    <a:pt x="3752" y="7957"/>
                    <a:pt x="3630" y="8043"/>
                  </a:cubicBezTo>
                  <a:cubicBezTo>
                    <a:pt x="3505" y="8129"/>
                    <a:pt x="3386" y="8220"/>
                    <a:pt x="3381" y="8248"/>
                  </a:cubicBezTo>
                  <a:cubicBezTo>
                    <a:pt x="3368" y="8275"/>
                    <a:pt x="3402" y="8305"/>
                    <a:pt x="3457" y="8316"/>
                  </a:cubicBezTo>
                  <a:cubicBezTo>
                    <a:pt x="3513" y="8327"/>
                    <a:pt x="3575" y="8351"/>
                    <a:pt x="3586" y="8373"/>
                  </a:cubicBezTo>
                  <a:cubicBezTo>
                    <a:pt x="3605" y="8392"/>
                    <a:pt x="3664" y="8396"/>
                    <a:pt x="3723" y="8372"/>
                  </a:cubicBezTo>
                  <a:cubicBezTo>
                    <a:pt x="3783" y="8350"/>
                    <a:pt x="3885" y="8321"/>
                    <a:pt x="3951" y="8313"/>
                  </a:cubicBezTo>
                  <a:cubicBezTo>
                    <a:pt x="4014" y="8297"/>
                    <a:pt x="4095" y="8301"/>
                    <a:pt x="4126" y="8316"/>
                  </a:cubicBezTo>
                  <a:cubicBezTo>
                    <a:pt x="4160" y="8325"/>
                    <a:pt x="4237" y="8309"/>
                    <a:pt x="4303" y="8272"/>
                  </a:cubicBezTo>
                  <a:cubicBezTo>
                    <a:pt x="4372" y="8237"/>
                    <a:pt x="4512" y="8165"/>
                    <a:pt x="4626" y="8127"/>
                  </a:cubicBezTo>
                  <a:cubicBezTo>
                    <a:pt x="4740" y="8089"/>
                    <a:pt x="4831" y="8076"/>
                    <a:pt x="4835" y="8106"/>
                  </a:cubicBezTo>
                  <a:cubicBezTo>
                    <a:pt x="4833" y="8137"/>
                    <a:pt x="4882" y="8154"/>
                    <a:pt x="4933" y="8156"/>
                  </a:cubicBezTo>
                  <a:cubicBezTo>
                    <a:pt x="4985" y="8150"/>
                    <a:pt x="5035" y="8171"/>
                    <a:pt x="5049" y="8196"/>
                  </a:cubicBezTo>
                  <a:cubicBezTo>
                    <a:pt x="5059" y="8221"/>
                    <a:pt x="5103" y="8227"/>
                    <a:pt x="5143" y="8210"/>
                  </a:cubicBezTo>
                  <a:cubicBezTo>
                    <a:pt x="5183" y="8194"/>
                    <a:pt x="5272" y="8191"/>
                    <a:pt x="5343" y="8203"/>
                  </a:cubicBezTo>
                  <a:cubicBezTo>
                    <a:pt x="5410" y="8226"/>
                    <a:pt x="5509" y="8201"/>
                    <a:pt x="5555" y="8168"/>
                  </a:cubicBezTo>
                  <a:cubicBezTo>
                    <a:pt x="5603" y="8137"/>
                    <a:pt x="5650" y="8119"/>
                    <a:pt x="5669" y="8123"/>
                  </a:cubicBezTo>
                  <a:cubicBezTo>
                    <a:pt x="5679" y="8134"/>
                    <a:pt x="5739" y="8106"/>
                    <a:pt x="5788" y="8065"/>
                  </a:cubicBezTo>
                  <a:cubicBezTo>
                    <a:pt x="5841" y="8028"/>
                    <a:pt x="5874" y="7971"/>
                    <a:pt x="5876" y="7944"/>
                  </a:cubicBezTo>
                  <a:cubicBezTo>
                    <a:pt x="5874" y="7917"/>
                    <a:pt x="5842" y="7890"/>
                    <a:pt x="5805" y="7880"/>
                  </a:cubicBezTo>
                  <a:cubicBezTo>
                    <a:pt x="5766" y="7875"/>
                    <a:pt x="5716" y="7846"/>
                    <a:pt x="5690" y="7822"/>
                  </a:cubicBezTo>
                  <a:cubicBezTo>
                    <a:pt x="5665" y="7798"/>
                    <a:pt x="5642" y="7756"/>
                    <a:pt x="5627" y="7732"/>
                  </a:cubicBezTo>
                  <a:cubicBezTo>
                    <a:pt x="5616" y="7707"/>
                    <a:pt x="5535" y="7663"/>
                    <a:pt x="5449" y="7630"/>
                  </a:cubicBezTo>
                  <a:cubicBezTo>
                    <a:pt x="5361" y="7600"/>
                    <a:pt x="5292" y="7551"/>
                    <a:pt x="5301" y="7521"/>
                  </a:cubicBezTo>
                  <a:cubicBezTo>
                    <a:pt x="5311" y="7490"/>
                    <a:pt x="5349" y="7466"/>
                    <a:pt x="5390" y="7472"/>
                  </a:cubicBezTo>
                  <a:cubicBezTo>
                    <a:pt x="5431" y="7476"/>
                    <a:pt x="5470" y="7490"/>
                    <a:pt x="5482" y="7501"/>
                  </a:cubicBezTo>
                  <a:cubicBezTo>
                    <a:pt x="5483" y="7515"/>
                    <a:pt x="5526" y="7523"/>
                    <a:pt x="5560" y="7521"/>
                  </a:cubicBezTo>
                  <a:cubicBezTo>
                    <a:pt x="5594" y="7525"/>
                    <a:pt x="5644" y="7546"/>
                    <a:pt x="5675" y="7575"/>
                  </a:cubicBezTo>
                  <a:cubicBezTo>
                    <a:pt x="5706" y="7604"/>
                    <a:pt x="5762" y="7628"/>
                    <a:pt x="5803" y="7618"/>
                  </a:cubicBezTo>
                  <a:cubicBezTo>
                    <a:pt x="5845" y="7612"/>
                    <a:pt x="5871" y="7622"/>
                    <a:pt x="5873" y="7642"/>
                  </a:cubicBezTo>
                  <a:cubicBezTo>
                    <a:pt x="5870" y="7661"/>
                    <a:pt x="5896" y="7696"/>
                    <a:pt x="5915" y="7725"/>
                  </a:cubicBezTo>
                  <a:cubicBezTo>
                    <a:pt x="5942" y="7751"/>
                    <a:pt x="5993" y="7795"/>
                    <a:pt x="6034" y="7819"/>
                  </a:cubicBezTo>
                  <a:cubicBezTo>
                    <a:pt x="6076" y="7843"/>
                    <a:pt x="6104" y="7890"/>
                    <a:pt x="6104" y="7918"/>
                  </a:cubicBezTo>
                  <a:cubicBezTo>
                    <a:pt x="6102" y="7947"/>
                    <a:pt x="6118" y="7971"/>
                    <a:pt x="6137" y="7969"/>
                  </a:cubicBezTo>
                  <a:cubicBezTo>
                    <a:pt x="6156" y="7973"/>
                    <a:pt x="6197" y="7992"/>
                    <a:pt x="6233" y="8013"/>
                  </a:cubicBezTo>
                  <a:cubicBezTo>
                    <a:pt x="6264" y="8040"/>
                    <a:pt x="6298" y="8087"/>
                    <a:pt x="6304" y="8123"/>
                  </a:cubicBezTo>
                  <a:cubicBezTo>
                    <a:pt x="6315" y="8159"/>
                    <a:pt x="6357" y="8177"/>
                    <a:pt x="6412" y="8164"/>
                  </a:cubicBezTo>
                  <a:cubicBezTo>
                    <a:pt x="6465" y="8147"/>
                    <a:pt x="6525" y="8126"/>
                    <a:pt x="6544" y="8113"/>
                  </a:cubicBezTo>
                  <a:cubicBezTo>
                    <a:pt x="6563" y="8099"/>
                    <a:pt x="6571" y="8054"/>
                    <a:pt x="6571" y="8013"/>
                  </a:cubicBezTo>
                  <a:cubicBezTo>
                    <a:pt x="6559" y="7974"/>
                    <a:pt x="6557" y="7883"/>
                    <a:pt x="6563" y="7814"/>
                  </a:cubicBezTo>
                  <a:cubicBezTo>
                    <a:pt x="6558" y="7746"/>
                    <a:pt x="6635" y="7674"/>
                    <a:pt x="6725" y="7651"/>
                  </a:cubicBezTo>
                  <a:cubicBezTo>
                    <a:pt x="6816" y="7631"/>
                    <a:pt x="6963" y="7619"/>
                    <a:pt x="7053" y="7623"/>
                  </a:cubicBezTo>
                  <a:cubicBezTo>
                    <a:pt x="7144" y="7624"/>
                    <a:pt x="7304" y="7606"/>
                    <a:pt x="7411" y="7576"/>
                  </a:cubicBezTo>
                  <a:cubicBezTo>
                    <a:pt x="7519" y="7546"/>
                    <a:pt x="7582" y="7552"/>
                    <a:pt x="7566" y="7594"/>
                  </a:cubicBezTo>
                  <a:cubicBezTo>
                    <a:pt x="7541" y="7635"/>
                    <a:pt x="7504" y="7687"/>
                    <a:pt x="7480" y="7709"/>
                  </a:cubicBezTo>
                  <a:cubicBezTo>
                    <a:pt x="7454" y="7731"/>
                    <a:pt x="7476" y="7758"/>
                    <a:pt x="7529" y="7767"/>
                  </a:cubicBezTo>
                  <a:cubicBezTo>
                    <a:pt x="7581" y="7778"/>
                    <a:pt x="7672" y="7766"/>
                    <a:pt x="7735" y="7749"/>
                  </a:cubicBezTo>
                  <a:cubicBezTo>
                    <a:pt x="7794" y="7727"/>
                    <a:pt x="7859" y="7716"/>
                    <a:pt x="7870" y="7726"/>
                  </a:cubicBezTo>
                  <a:cubicBezTo>
                    <a:pt x="7879" y="7735"/>
                    <a:pt x="8016" y="7704"/>
                    <a:pt x="8167" y="7665"/>
                  </a:cubicBezTo>
                  <a:cubicBezTo>
                    <a:pt x="8318" y="7625"/>
                    <a:pt x="8489" y="7563"/>
                    <a:pt x="8545" y="7527"/>
                  </a:cubicBezTo>
                  <a:cubicBezTo>
                    <a:pt x="8607" y="7497"/>
                    <a:pt x="8709" y="7415"/>
                    <a:pt x="8780" y="7354"/>
                  </a:cubicBezTo>
                  <a:cubicBezTo>
                    <a:pt x="8851" y="7294"/>
                    <a:pt x="8933" y="7216"/>
                    <a:pt x="8953" y="7176"/>
                  </a:cubicBezTo>
                  <a:cubicBezTo>
                    <a:pt x="8979" y="7139"/>
                    <a:pt x="9030" y="7066"/>
                    <a:pt x="9077" y="7019"/>
                  </a:cubicBezTo>
                  <a:cubicBezTo>
                    <a:pt x="9119" y="6970"/>
                    <a:pt x="9138" y="6919"/>
                    <a:pt x="9120" y="6902"/>
                  </a:cubicBezTo>
                  <a:cubicBezTo>
                    <a:pt x="9095" y="6891"/>
                    <a:pt x="9072" y="6820"/>
                    <a:pt x="9064" y="6754"/>
                  </a:cubicBezTo>
                  <a:cubicBezTo>
                    <a:pt x="9056" y="6687"/>
                    <a:pt x="9011" y="6645"/>
                    <a:pt x="8971" y="6662"/>
                  </a:cubicBezTo>
                  <a:cubicBezTo>
                    <a:pt x="8932" y="6681"/>
                    <a:pt x="8879" y="6659"/>
                    <a:pt x="8846" y="6628"/>
                  </a:cubicBezTo>
                  <a:cubicBezTo>
                    <a:pt x="8826" y="6590"/>
                    <a:pt x="8825" y="6524"/>
                    <a:pt x="8863" y="6474"/>
                  </a:cubicBezTo>
                  <a:cubicBezTo>
                    <a:pt x="8898" y="6423"/>
                    <a:pt x="8957" y="6365"/>
                    <a:pt x="8995" y="6353"/>
                  </a:cubicBezTo>
                  <a:cubicBezTo>
                    <a:pt x="9027" y="6332"/>
                    <a:pt x="9076" y="6299"/>
                    <a:pt x="9097" y="6271"/>
                  </a:cubicBezTo>
                  <a:cubicBezTo>
                    <a:pt x="9118" y="6243"/>
                    <a:pt x="9151" y="6207"/>
                    <a:pt x="9172" y="6193"/>
                  </a:cubicBezTo>
                  <a:cubicBezTo>
                    <a:pt x="9195" y="6180"/>
                    <a:pt x="9230" y="6173"/>
                    <a:pt x="9254" y="6182"/>
                  </a:cubicBezTo>
                  <a:cubicBezTo>
                    <a:pt x="9278" y="6190"/>
                    <a:pt x="9291" y="6226"/>
                    <a:pt x="9287" y="6261"/>
                  </a:cubicBezTo>
                  <a:cubicBezTo>
                    <a:pt x="9293" y="6296"/>
                    <a:pt x="9328" y="6289"/>
                    <a:pt x="9381" y="6238"/>
                  </a:cubicBezTo>
                  <a:cubicBezTo>
                    <a:pt x="9440" y="6191"/>
                    <a:pt x="9517" y="6100"/>
                    <a:pt x="9552" y="6036"/>
                  </a:cubicBezTo>
                  <a:cubicBezTo>
                    <a:pt x="9586" y="5972"/>
                    <a:pt x="9662" y="5893"/>
                    <a:pt x="9712" y="5857"/>
                  </a:cubicBezTo>
                  <a:cubicBezTo>
                    <a:pt x="9762" y="5820"/>
                    <a:pt x="9837" y="5776"/>
                    <a:pt x="9880" y="5762"/>
                  </a:cubicBezTo>
                  <a:cubicBezTo>
                    <a:pt x="9922" y="5745"/>
                    <a:pt x="9935" y="5766"/>
                    <a:pt x="9921" y="5811"/>
                  </a:cubicBezTo>
                  <a:cubicBezTo>
                    <a:pt x="9900" y="5853"/>
                    <a:pt x="9893" y="5904"/>
                    <a:pt x="9900" y="5923"/>
                  </a:cubicBezTo>
                  <a:cubicBezTo>
                    <a:pt x="9915" y="5940"/>
                    <a:pt x="9892" y="5978"/>
                    <a:pt x="9868" y="6003"/>
                  </a:cubicBezTo>
                  <a:cubicBezTo>
                    <a:pt x="9843" y="6028"/>
                    <a:pt x="9761" y="6076"/>
                    <a:pt x="9689" y="6113"/>
                  </a:cubicBezTo>
                  <a:cubicBezTo>
                    <a:pt x="9617" y="6148"/>
                    <a:pt x="9518" y="6218"/>
                    <a:pt x="9485" y="6274"/>
                  </a:cubicBezTo>
                  <a:cubicBezTo>
                    <a:pt x="9439" y="6323"/>
                    <a:pt x="9434" y="6371"/>
                    <a:pt x="9459" y="6373"/>
                  </a:cubicBezTo>
                  <a:cubicBezTo>
                    <a:pt x="9483" y="6370"/>
                    <a:pt x="9516" y="6391"/>
                    <a:pt x="9534" y="6408"/>
                  </a:cubicBezTo>
                  <a:cubicBezTo>
                    <a:pt x="9551" y="6426"/>
                    <a:pt x="9555" y="6466"/>
                    <a:pt x="9543" y="6496"/>
                  </a:cubicBezTo>
                  <a:cubicBezTo>
                    <a:pt x="9532" y="6526"/>
                    <a:pt x="9568" y="6576"/>
                    <a:pt x="9619" y="6614"/>
                  </a:cubicBezTo>
                  <a:cubicBezTo>
                    <a:pt x="9677" y="6645"/>
                    <a:pt x="9744" y="6678"/>
                    <a:pt x="9776" y="6673"/>
                  </a:cubicBezTo>
                  <a:cubicBezTo>
                    <a:pt x="9809" y="6668"/>
                    <a:pt x="9855" y="6645"/>
                    <a:pt x="9872" y="6616"/>
                  </a:cubicBezTo>
                  <a:cubicBezTo>
                    <a:pt x="9894" y="6589"/>
                    <a:pt x="9934" y="6554"/>
                    <a:pt x="9962" y="6537"/>
                  </a:cubicBezTo>
                  <a:cubicBezTo>
                    <a:pt x="9992" y="6525"/>
                    <a:pt x="10041" y="6508"/>
                    <a:pt x="10066" y="6521"/>
                  </a:cubicBezTo>
                  <a:cubicBezTo>
                    <a:pt x="10095" y="6523"/>
                    <a:pt x="10179" y="6504"/>
                    <a:pt x="10251" y="6463"/>
                  </a:cubicBezTo>
                  <a:cubicBezTo>
                    <a:pt x="10328" y="6430"/>
                    <a:pt x="10386" y="6410"/>
                    <a:pt x="10401" y="6426"/>
                  </a:cubicBezTo>
                  <a:cubicBezTo>
                    <a:pt x="10407" y="6446"/>
                    <a:pt x="10391" y="6484"/>
                    <a:pt x="10357" y="6514"/>
                  </a:cubicBezTo>
                  <a:cubicBezTo>
                    <a:pt x="10324" y="6544"/>
                    <a:pt x="10267" y="6601"/>
                    <a:pt x="10251" y="6648"/>
                  </a:cubicBezTo>
                  <a:cubicBezTo>
                    <a:pt x="10224" y="6691"/>
                    <a:pt x="10152" y="6785"/>
                    <a:pt x="10084" y="6854"/>
                  </a:cubicBezTo>
                  <a:cubicBezTo>
                    <a:pt x="10018" y="6925"/>
                    <a:pt x="9949" y="6997"/>
                    <a:pt x="9935" y="7017"/>
                  </a:cubicBezTo>
                  <a:cubicBezTo>
                    <a:pt x="9918" y="7035"/>
                    <a:pt x="9836" y="7117"/>
                    <a:pt x="9743" y="7192"/>
                  </a:cubicBezTo>
                  <a:cubicBezTo>
                    <a:pt x="9652" y="7268"/>
                    <a:pt x="9509" y="7402"/>
                    <a:pt x="9423" y="7487"/>
                  </a:cubicBezTo>
                  <a:cubicBezTo>
                    <a:pt x="9336" y="7572"/>
                    <a:pt x="9257" y="7665"/>
                    <a:pt x="9243" y="7691"/>
                  </a:cubicBezTo>
                  <a:cubicBezTo>
                    <a:pt x="9231" y="7717"/>
                    <a:pt x="9237" y="7730"/>
                    <a:pt x="9262" y="7720"/>
                  </a:cubicBezTo>
                  <a:cubicBezTo>
                    <a:pt x="9284" y="7708"/>
                    <a:pt x="9345" y="7664"/>
                    <a:pt x="9391" y="7616"/>
                  </a:cubicBezTo>
                  <a:cubicBezTo>
                    <a:pt x="9438" y="7569"/>
                    <a:pt x="9522" y="7528"/>
                    <a:pt x="9574" y="7520"/>
                  </a:cubicBezTo>
                  <a:cubicBezTo>
                    <a:pt x="9625" y="7512"/>
                    <a:pt x="9664" y="7519"/>
                    <a:pt x="9664" y="7533"/>
                  </a:cubicBezTo>
                  <a:cubicBezTo>
                    <a:pt x="9662" y="7546"/>
                    <a:pt x="9695" y="7547"/>
                    <a:pt x="9737" y="7536"/>
                  </a:cubicBezTo>
                  <a:cubicBezTo>
                    <a:pt x="9779" y="7525"/>
                    <a:pt x="9826" y="7539"/>
                    <a:pt x="9855" y="7551"/>
                  </a:cubicBezTo>
                  <a:cubicBezTo>
                    <a:pt x="9875" y="7571"/>
                    <a:pt x="9964" y="7568"/>
                    <a:pt x="10051" y="7561"/>
                  </a:cubicBezTo>
                  <a:cubicBezTo>
                    <a:pt x="10136" y="7545"/>
                    <a:pt x="10148" y="7570"/>
                    <a:pt x="10073" y="7607"/>
                  </a:cubicBezTo>
                  <a:cubicBezTo>
                    <a:pt x="10002" y="7647"/>
                    <a:pt x="9924" y="7701"/>
                    <a:pt x="9898" y="7727"/>
                  </a:cubicBezTo>
                  <a:cubicBezTo>
                    <a:pt x="9876" y="7756"/>
                    <a:pt x="9830" y="7795"/>
                    <a:pt x="9795" y="7812"/>
                  </a:cubicBezTo>
                  <a:cubicBezTo>
                    <a:pt x="9763" y="7833"/>
                    <a:pt x="9724" y="7833"/>
                    <a:pt x="9711" y="7818"/>
                  </a:cubicBezTo>
                  <a:cubicBezTo>
                    <a:pt x="9695" y="7803"/>
                    <a:pt x="9639" y="7813"/>
                    <a:pt x="9579" y="7842"/>
                  </a:cubicBezTo>
                  <a:cubicBezTo>
                    <a:pt x="9522" y="7874"/>
                    <a:pt x="9462" y="7916"/>
                    <a:pt x="9467" y="7941"/>
                  </a:cubicBezTo>
                  <a:cubicBezTo>
                    <a:pt x="9469" y="7967"/>
                    <a:pt x="9489" y="7990"/>
                    <a:pt x="9521" y="7996"/>
                  </a:cubicBezTo>
                  <a:cubicBezTo>
                    <a:pt x="9552" y="8001"/>
                    <a:pt x="9578" y="8014"/>
                    <a:pt x="9586" y="8022"/>
                  </a:cubicBezTo>
                  <a:cubicBezTo>
                    <a:pt x="9584" y="8031"/>
                    <a:pt x="9646" y="8031"/>
                    <a:pt x="9709" y="8015"/>
                  </a:cubicBezTo>
                  <a:cubicBezTo>
                    <a:pt x="9773" y="8007"/>
                    <a:pt x="9810" y="8019"/>
                    <a:pt x="9793" y="8051"/>
                  </a:cubicBezTo>
                  <a:cubicBezTo>
                    <a:pt x="9773" y="8082"/>
                    <a:pt x="9769" y="8122"/>
                    <a:pt x="9783" y="8134"/>
                  </a:cubicBezTo>
                  <a:cubicBezTo>
                    <a:pt x="9795" y="8147"/>
                    <a:pt x="9795" y="8183"/>
                    <a:pt x="9782" y="8212"/>
                  </a:cubicBezTo>
                  <a:cubicBezTo>
                    <a:pt x="9767" y="8241"/>
                    <a:pt x="9779" y="8285"/>
                    <a:pt x="9782" y="8312"/>
                  </a:cubicBezTo>
                  <a:cubicBezTo>
                    <a:pt x="9795" y="8338"/>
                    <a:pt x="9855" y="8356"/>
                    <a:pt x="9915" y="8353"/>
                  </a:cubicBezTo>
                  <a:cubicBezTo>
                    <a:pt x="9976" y="8353"/>
                    <a:pt x="10044" y="8364"/>
                    <a:pt x="10073" y="8378"/>
                  </a:cubicBezTo>
                  <a:cubicBezTo>
                    <a:pt x="10094" y="8399"/>
                    <a:pt x="10133" y="8426"/>
                    <a:pt x="10138" y="8449"/>
                  </a:cubicBezTo>
                  <a:cubicBezTo>
                    <a:pt x="10148" y="8470"/>
                    <a:pt x="10121" y="8526"/>
                    <a:pt x="10081" y="8573"/>
                  </a:cubicBezTo>
                  <a:cubicBezTo>
                    <a:pt x="10044" y="8621"/>
                    <a:pt x="9950" y="8700"/>
                    <a:pt x="9876" y="8747"/>
                  </a:cubicBezTo>
                  <a:cubicBezTo>
                    <a:pt x="9802" y="8795"/>
                    <a:pt x="9708" y="8849"/>
                    <a:pt x="9664" y="8863"/>
                  </a:cubicBezTo>
                  <a:cubicBezTo>
                    <a:pt x="9621" y="8878"/>
                    <a:pt x="9552" y="8910"/>
                    <a:pt x="9508" y="8928"/>
                  </a:cubicBezTo>
                  <a:cubicBezTo>
                    <a:pt x="9467" y="8951"/>
                    <a:pt x="9409" y="8961"/>
                    <a:pt x="9379" y="8957"/>
                  </a:cubicBezTo>
                  <a:cubicBezTo>
                    <a:pt x="9352" y="8946"/>
                    <a:pt x="9295" y="8946"/>
                    <a:pt x="9260" y="8940"/>
                  </a:cubicBezTo>
                  <a:cubicBezTo>
                    <a:pt x="9224" y="8934"/>
                    <a:pt x="9167" y="8952"/>
                    <a:pt x="9128" y="8965"/>
                  </a:cubicBezTo>
                  <a:cubicBezTo>
                    <a:pt x="9093" y="8983"/>
                    <a:pt x="9003" y="9045"/>
                    <a:pt x="8929" y="9106"/>
                  </a:cubicBezTo>
                  <a:cubicBezTo>
                    <a:pt x="8854" y="9166"/>
                    <a:pt x="8816" y="9218"/>
                    <a:pt x="8837" y="9224"/>
                  </a:cubicBezTo>
                  <a:cubicBezTo>
                    <a:pt x="8860" y="9228"/>
                    <a:pt x="8877" y="9249"/>
                    <a:pt x="8869" y="9270"/>
                  </a:cubicBezTo>
                  <a:cubicBezTo>
                    <a:pt x="8863" y="9290"/>
                    <a:pt x="8815" y="9339"/>
                    <a:pt x="8764" y="9383"/>
                  </a:cubicBezTo>
                  <a:cubicBezTo>
                    <a:pt x="8709" y="9423"/>
                    <a:pt x="8658" y="9477"/>
                    <a:pt x="8662" y="9499"/>
                  </a:cubicBezTo>
                  <a:cubicBezTo>
                    <a:pt x="8656" y="9521"/>
                    <a:pt x="8688" y="9531"/>
                    <a:pt x="8725" y="9523"/>
                  </a:cubicBezTo>
                  <a:cubicBezTo>
                    <a:pt x="8763" y="9514"/>
                    <a:pt x="8804" y="9489"/>
                    <a:pt x="8823" y="9472"/>
                  </a:cubicBezTo>
                  <a:cubicBezTo>
                    <a:pt x="8839" y="9454"/>
                    <a:pt x="8894" y="9418"/>
                    <a:pt x="8945" y="9396"/>
                  </a:cubicBezTo>
                  <a:cubicBezTo>
                    <a:pt x="8994" y="9370"/>
                    <a:pt x="9089" y="9340"/>
                    <a:pt x="9153" y="9324"/>
                  </a:cubicBezTo>
                  <a:cubicBezTo>
                    <a:pt x="9216" y="9307"/>
                    <a:pt x="9311" y="9268"/>
                    <a:pt x="9365" y="9237"/>
                  </a:cubicBezTo>
                  <a:cubicBezTo>
                    <a:pt x="9419" y="9207"/>
                    <a:pt x="9506" y="9169"/>
                    <a:pt x="9559" y="9154"/>
                  </a:cubicBezTo>
                  <a:cubicBezTo>
                    <a:pt x="9612" y="9140"/>
                    <a:pt x="9700" y="9086"/>
                    <a:pt x="9755" y="9035"/>
                  </a:cubicBezTo>
                  <a:cubicBezTo>
                    <a:pt x="9808" y="8983"/>
                    <a:pt x="9890" y="8925"/>
                    <a:pt x="9929" y="8900"/>
                  </a:cubicBezTo>
                  <a:cubicBezTo>
                    <a:pt x="9969" y="8876"/>
                    <a:pt x="9987" y="8899"/>
                    <a:pt x="9971" y="8951"/>
                  </a:cubicBezTo>
                  <a:cubicBezTo>
                    <a:pt x="9953" y="9002"/>
                    <a:pt x="9952" y="9057"/>
                    <a:pt x="9972" y="9060"/>
                  </a:cubicBezTo>
                  <a:cubicBezTo>
                    <a:pt x="9984" y="9073"/>
                    <a:pt x="10052" y="9053"/>
                    <a:pt x="10105" y="9018"/>
                  </a:cubicBezTo>
                  <a:cubicBezTo>
                    <a:pt x="10162" y="8987"/>
                    <a:pt x="10266" y="8905"/>
                    <a:pt x="10343" y="8841"/>
                  </a:cubicBezTo>
                  <a:cubicBezTo>
                    <a:pt x="10415" y="8775"/>
                    <a:pt x="10542" y="8685"/>
                    <a:pt x="10619" y="8636"/>
                  </a:cubicBezTo>
                  <a:cubicBezTo>
                    <a:pt x="10696" y="8588"/>
                    <a:pt x="10782" y="8557"/>
                    <a:pt x="10807" y="8569"/>
                  </a:cubicBezTo>
                  <a:cubicBezTo>
                    <a:pt x="10833" y="8578"/>
                    <a:pt x="10834" y="8609"/>
                    <a:pt x="10819" y="8638"/>
                  </a:cubicBezTo>
                  <a:cubicBezTo>
                    <a:pt x="10800" y="8665"/>
                    <a:pt x="10744" y="8707"/>
                    <a:pt x="10695" y="8732"/>
                  </a:cubicBezTo>
                  <a:cubicBezTo>
                    <a:pt x="10645" y="8756"/>
                    <a:pt x="10566" y="8799"/>
                    <a:pt x="10521" y="8828"/>
                  </a:cubicBezTo>
                  <a:cubicBezTo>
                    <a:pt x="10474" y="8856"/>
                    <a:pt x="10464" y="8881"/>
                    <a:pt x="10498" y="8880"/>
                  </a:cubicBezTo>
                  <a:cubicBezTo>
                    <a:pt x="10531" y="8880"/>
                    <a:pt x="10542" y="8896"/>
                    <a:pt x="10532" y="8920"/>
                  </a:cubicBezTo>
                  <a:cubicBezTo>
                    <a:pt x="10515" y="8940"/>
                    <a:pt x="10435" y="8985"/>
                    <a:pt x="10353" y="9024"/>
                  </a:cubicBezTo>
                  <a:cubicBezTo>
                    <a:pt x="10267" y="9055"/>
                    <a:pt x="10189" y="9103"/>
                    <a:pt x="10173" y="9120"/>
                  </a:cubicBezTo>
                  <a:cubicBezTo>
                    <a:pt x="10156" y="9137"/>
                    <a:pt x="10222" y="9124"/>
                    <a:pt x="10321" y="9094"/>
                  </a:cubicBezTo>
                  <a:cubicBezTo>
                    <a:pt x="10417" y="9060"/>
                    <a:pt x="10503" y="9057"/>
                    <a:pt x="10503" y="9083"/>
                  </a:cubicBezTo>
                  <a:cubicBezTo>
                    <a:pt x="10515" y="9108"/>
                    <a:pt x="10448" y="9172"/>
                    <a:pt x="10374" y="9224"/>
                  </a:cubicBezTo>
                  <a:cubicBezTo>
                    <a:pt x="10298" y="9276"/>
                    <a:pt x="10220" y="9363"/>
                    <a:pt x="10208" y="9418"/>
                  </a:cubicBezTo>
                  <a:cubicBezTo>
                    <a:pt x="10190" y="9473"/>
                    <a:pt x="10201" y="9519"/>
                    <a:pt x="10229" y="9519"/>
                  </a:cubicBezTo>
                  <a:cubicBezTo>
                    <a:pt x="10256" y="9519"/>
                    <a:pt x="10284" y="9549"/>
                    <a:pt x="10293" y="9585"/>
                  </a:cubicBezTo>
                  <a:cubicBezTo>
                    <a:pt x="10303" y="9621"/>
                    <a:pt x="10382" y="9621"/>
                    <a:pt x="10472" y="9586"/>
                  </a:cubicBezTo>
                  <a:cubicBezTo>
                    <a:pt x="10564" y="9553"/>
                    <a:pt x="10657" y="9494"/>
                    <a:pt x="10692" y="9466"/>
                  </a:cubicBezTo>
                  <a:cubicBezTo>
                    <a:pt x="10719" y="9433"/>
                    <a:pt x="10741" y="9389"/>
                    <a:pt x="10732" y="9365"/>
                  </a:cubicBezTo>
                  <a:cubicBezTo>
                    <a:pt x="10720" y="9342"/>
                    <a:pt x="10731" y="9297"/>
                    <a:pt x="10749" y="9266"/>
                  </a:cubicBezTo>
                  <a:cubicBezTo>
                    <a:pt x="10770" y="9236"/>
                    <a:pt x="10812" y="9199"/>
                    <a:pt x="10845" y="9182"/>
                  </a:cubicBezTo>
                  <a:cubicBezTo>
                    <a:pt x="10878" y="9165"/>
                    <a:pt x="10955" y="9170"/>
                    <a:pt x="11015" y="9189"/>
                  </a:cubicBezTo>
                  <a:cubicBezTo>
                    <a:pt x="11078" y="9202"/>
                    <a:pt x="11116" y="9252"/>
                    <a:pt x="11097" y="9283"/>
                  </a:cubicBezTo>
                  <a:cubicBezTo>
                    <a:pt x="11083" y="9316"/>
                    <a:pt x="11025" y="9390"/>
                    <a:pt x="10964" y="9442"/>
                  </a:cubicBezTo>
                  <a:cubicBezTo>
                    <a:pt x="10907" y="9497"/>
                    <a:pt x="10891" y="9553"/>
                    <a:pt x="10934" y="9555"/>
                  </a:cubicBezTo>
                  <a:cubicBezTo>
                    <a:pt x="10976" y="9561"/>
                    <a:pt x="11011" y="9582"/>
                    <a:pt x="11017" y="9599"/>
                  </a:cubicBezTo>
                  <a:cubicBezTo>
                    <a:pt x="11020" y="9615"/>
                    <a:pt x="10927" y="9671"/>
                    <a:pt x="10811" y="9728"/>
                  </a:cubicBezTo>
                  <a:cubicBezTo>
                    <a:pt x="10690" y="9779"/>
                    <a:pt x="10578" y="9848"/>
                    <a:pt x="10554" y="9873"/>
                  </a:cubicBezTo>
                  <a:cubicBezTo>
                    <a:pt x="10532" y="9897"/>
                    <a:pt x="10541" y="9930"/>
                    <a:pt x="10566" y="9956"/>
                  </a:cubicBezTo>
                  <a:cubicBezTo>
                    <a:pt x="10599" y="9976"/>
                    <a:pt x="10739" y="9971"/>
                    <a:pt x="10881" y="9936"/>
                  </a:cubicBezTo>
                  <a:cubicBezTo>
                    <a:pt x="11023" y="9903"/>
                    <a:pt x="11158" y="9883"/>
                    <a:pt x="11179" y="9888"/>
                  </a:cubicBezTo>
                  <a:cubicBezTo>
                    <a:pt x="11201" y="9892"/>
                    <a:pt x="11197" y="9933"/>
                    <a:pt x="11172" y="9978"/>
                  </a:cubicBezTo>
                  <a:cubicBezTo>
                    <a:pt x="11142" y="10020"/>
                    <a:pt x="11115" y="10083"/>
                    <a:pt x="11110" y="10114"/>
                  </a:cubicBezTo>
                  <a:cubicBezTo>
                    <a:pt x="11097" y="10143"/>
                    <a:pt x="11120" y="10154"/>
                    <a:pt x="11155" y="10142"/>
                  </a:cubicBezTo>
                  <a:cubicBezTo>
                    <a:pt x="11187" y="10125"/>
                    <a:pt x="11230" y="10092"/>
                    <a:pt x="11242" y="10062"/>
                  </a:cubicBezTo>
                  <a:cubicBezTo>
                    <a:pt x="11257" y="10033"/>
                    <a:pt x="11316" y="9979"/>
                    <a:pt x="11364" y="9936"/>
                  </a:cubicBezTo>
                  <a:cubicBezTo>
                    <a:pt x="11420" y="9900"/>
                    <a:pt x="11491" y="9853"/>
                    <a:pt x="11530" y="9839"/>
                  </a:cubicBezTo>
                  <a:cubicBezTo>
                    <a:pt x="11569" y="9826"/>
                    <a:pt x="11597" y="9838"/>
                    <a:pt x="11587" y="9864"/>
                  </a:cubicBezTo>
                  <a:cubicBezTo>
                    <a:pt x="11578" y="9892"/>
                    <a:pt x="11526" y="9953"/>
                    <a:pt x="11476" y="10005"/>
                  </a:cubicBezTo>
                  <a:cubicBezTo>
                    <a:pt x="11424" y="10056"/>
                    <a:pt x="11361" y="10127"/>
                    <a:pt x="11335" y="10165"/>
                  </a:cubicBezTo>
                  <a:cubicBezTo>
                    <a:pt x="11307" y="10201"/>
                    <a:pt x="11248" y="10250"/>
                    <a:pt x="11194" y="10268"/>
                  </a:cubicBezTo>
                  <a:cubicBezTo>
                    <a:pt x="11141" y="10288"/>
                    <a:pt x="11045" y="10365"/>
                    <a:pt x="10983" y="10441"/>
                  </a:cubicBezTo>
                  <a:cubicBezTo>
                    <a:pt x="10920" y="10518"/>
                    <a:pt x="10862" y="10597"/>
                    <a:pt x="10853" y="10618"/>
                  </a:cubicBezTo>
                  <a:cubicBezTo>
                    <a:pt x="10847" y="10639"/>
                    <a:pt x="10877" y="10651"/>
                    <a:pt x="10923" y="10652"/>
                  </a:cubicBezTo>
                  <a:cubicBezTo>
                    <a:pt x="10970" y="10648"/>
                    <a:pt x="10989" y="10685"/>
                    <a:pt x="10969" y="10731"/>
                  </a:cubicBezTo>
                  <a:cubicBezTo>
                    <a:pt x="10951" y="10777"/>
                    <a:pt x="10881" y="10859"/>
                    <a:pt x="10822" y="10917"/>
                  </a:cubicBezTo>
                  <a:cubicBezTo>
                    <a:pt x="10761" y="10973"/>
                    <a:pt x="10695" y="11052"/>
                    <a:pt x="10681" y="11093"/>
                  </a:cubicBezTo>
                  <a:cubicBezTo>
                    <a:pt x="10661" y="11134"/>
                    <a:pt x="10663" y="11173"/>
                    <a:pt x="10665" y="11187"/>
                  </a:cubicBezTo>
                  <a:cubicBezTo>
                    <a:pt x="10677" y="11196"/>
                    <a:pt x="10668" y="11221"/>
                    <a:pt x="10656" y="11241"/>
                  </a:cubicBezTo>
                  <a:cubicBezTo>
                    <a:pt x="10643" y="11260"/>
                    <a:pt x="10579" y="11352"/>
                    <a:pt x="10526" y="11449"/>
                  </a:cubicBezTo>
                  <a:cubicBezTo>
                    <a:pt x="10472" y="11546"/>
                    <a:pt x="10384" y="11664"/>
                    <a:pt x="10327" y="11707"/>
                  </a:cubicBezTo>
                  <a:cubicBezTo>
                    <a:pt x="10272" y="11753"/>
                    <a:pt x="10239" y="11824"/>
                    <a:pt x="10263" y="11861"/>
                  </a:cubicBezTo>
                  <a:cubicBezTo>
                    <a:pt x="10278" y="11900"/>
                    <a:pt x="10273" y="11960"/>
                    <a:pt x="10247" y="11997"/>
                  </a:cubicBezTo>
                  <a:cubicBezTo>
                    <a:pt x="10218" y="12033"/>
                    <a:pt x="10097" y="12106"/>
                    <a:pt x="9978" y="12159"/>
                  </a:cubicBezTo>
                  <a:cubicBezTo>
                    <a:pt x="9861" y="12214"/>
                    <a:pt x="9680" y="12263"/>
                    <a:pt x="9581" y="12270"/>
                  </a:cubicBezTo>
                  <a:cubicBezTo>
                    <a:pt x="9484" y="12284"/>
                    <a:pt x="9364" y="12307"/>
                    <a:pt x="9318" y="12334"/>
                  </a:cubicBezTo>
                  <a:cubicBezTo>
                    <a:pt x="9270" y="12360"/>
                    <a:pt x="9207" y="12416"/>
                    <a:pt x="9174" y="12457"/>
                  </a:cubicBezTo>
                  <a:cubicBezTo>
                    <a:pt x="9145" y="12499"/>
                    <a:pt x="8984" y="12622"/>
                    <a:pt x="8817" y="12726"/>
                  </a:cubicBezTo>
                  <a:cubicBezTo>
                    <a:pt x="8654" y="12832"/>
                    <a:pt x="8507" y="12952"/>
                    <a:pt x="8493" y="12990"/>
                  </a:cubicBezTo>
                  <a:cubicBezTo>
                    <a:pt x="8477" y="13029"/>
                    <a:pt x="8531" y="13069"/>
                    <a:pt x="8609" y="13087"/>
                  </a:cubicBezTo>
                  <a:cubicBezTo>
                    <a:pt x="8687" y="13101"/>
                    <a:pt x="8722" y="13124"/>
                    <a:pt x="8686" y="13135"/>
                  </a:cubicBezTo>
                  <a:cubicBezTo>
                    <a:pt x="8652" y="13150"/>
                    <a:pt x="8574" y="13177"/>
                    <a:pt x="8517" y="13201"/>
                  </a:cubicBezTo>
                  <a:cubicBezTo>
                    <a:pt x="8459" y="13225"/>
                    <a:pt x="8387" y="13233"/>
                    <a:pt x="8355" y="13219"/>
                  </a:cubicBezTo>
                  <a:cubicBezTo>
                    <a:pt x="8325" y="13203"/>
                    <a:pt x="8267" y="13198"/>
                    <a:pt x="8231" y="13210"/>
                  </a:cubicBezTo>
                  <a:cubicBezTo>
                    <a:pt x="8193" y="13215"/>
                    <a:pt x="8069" y="13298"/>
                    <a:pt x="7951" y="13386"/>
                  </a:cubicBezTo>
                  <a:cubicBezTo>
                    <a:pt x="7830" y="13471"/>
                    <a:pt x="7691" y="13574"/>
                    <a:pt x="7631" y="13605"/>
                  </a:cubicBezTo>
                  <a:cubicBezTo>
                    <a:pt x="7572" y="13638"/>
                    <a:pt x="7402" y="13735"/>
                    <a:pt x="7254" y="13821"/>
                  </a:cubicBezTo>
                  <a:cubicBezTo>
                    <a:pt x="7105" y="13907"/>
                    <a:pt x="6876" y="14047"/>
                    <a:pt x="6747" y="14134"/>
                  </a:cubicBezTo>
                  <a:cubicBezTo>
                    <a:pt x="6621" y="14224"/>
                    <a:pt x="6478" y="14299"/>
                    <a:pt x="6439" y="14312"/>
                  </a:cubicBezTo>
                  <a:cubicBezTo>
                    <a:pt x="6399" y="14324"/>
                    <a:pt x="6333" y="14358"/>
                    <a:pt x="6293" y="14389"/>
                  </a:cubicBezTo>
                  <a:cubicBezTo>
                    <a:pt x="6253" y="14420"/>
                    <a:pt x="6177" y="14497"/>
                    <a:pt x="6133" y="14564"/>
                  </a:cubicBezTo>
                  <a:cubicBezTo>
                    <a:pt x="6090" y="14632"/>
                    <a:pt x="6073" y="14712"/>
                    <a:pt x="6090" y="14751"/>
                  </a:cubicBezTo>
                  <a:cubicBezTo>
                    <a:pt x="6115" y="14787"/>
                    <a:pt x="6121" y="14853"/>
                    <a:pt x="6115" y="14896"/>
                  </a:cubicBezTo>
                  <a:cubicBezTo>
                    <a:pt x="6099" y="14938"/>
                    <a:pt x="6124" y="15018"/>
                    <a:pt x="6156" y="15070"/>
                  </a:cubicBezTo>
                  <a:cubicBezTo>
                    <a:pt x="6196" y="15118"/>
                    <a:pt x="6177" y="15270"/>
                    <a:pt x="6143" y="15399"/>
                  </a:cubicBezTo>
                  <a:cubicBezTo>
                    <a:pt x="6104" y="15527"/>
                    <a:pt x="6039" y="15660"/>
                    <a:pt x="5995" y="15690"/>
                  </a:cubicBezTo>
                  <a:cubicBezTo>
                    <a:pt x="5955" y="15724"/>
                    <a:pt x="5890" y="15748"/>
                    <a:pt x="5865" y="15738"/>
                  </a:cubicBezTo>
                  <a:cubicBezTo>
                    <a:pt x="5838" y="15730"/>
                    <a:pt x="5771" y="15754"/>
                    <a:pt x="5725" y="15789"/>
                  </a:cubicBezTo>
                  <a:cubicBezTo>
                    <a:pt x="5677" y="15823"/>
                    <a:pt x="5607" y="15896"/>
                    <a:pt x="5571" y="15953"/>
                  </a:cubicBezTo>
                  <a:cubicBezTo>
                    <a:pt x="5534" y="16010"/>
                    <a:pt x="5505" y="16026"/>
                    <a:pt x="5503" y="15986"/>
                  </a:cubicBezTo>
                  <a:cubicBezTo>
                    <a:pt x="5500" y="15946"/>
                    <a:pt x="5529" y="15856"/>
                    <a:pt x="5550" y="15781"/>
                  </a:cubicBezTo>
                  <a:cubicBezTo>
                    <a:pt x="5577" y="15708"/>
                    <a:pt x="5585" y="15632"/>
                    <a:pt x="5572" y="15609"/>
                  </a:cubicBezTo>
                  <a:cubicBezTo>
                    <a:pt x="5559" y="15586"/>
                    <a:pt x="5479" y="15607"/>
                    <a:pt x="5398" y="15652"/>
                  </a:cubicBezTo>
                  <a:cubicBezTo>
                    <a:pt x="5320" y="15700"/>
                    <a:pt x="5213" y="15780"/>
                    <a:pt x="5165" y="15836"/>
                  </a:cubicBezTo>
                  <a:cubicBezTo>
                    <a:pt x="5121" y="15894"/>
                    <a:pt x="5008" y="15986"/>
                    <a:pt x="4922" y="16045"/>
                  </a:cubicBezTo>
                  <a:cubicBezTo>
                    <a:pt x="4839" y="16106"/>
                    <a:pt x="4735" y="16144"/>
                    <a:pt x="4695" y="16137"/>
                  </a:cubicBezTo>
                  <a:cubicBezTo>
                    <a:pt x="4656" y="16126"/>
                    <a:pt x="4648" y="16099"/>
                    <a:pt x="4676" y="16072"/>
                  </a:cubicBezTo>
                  <a:cubicBezTo>
                    <a:pt x="4709" y="16048"/>
                    <a:pt x="4740" y="16007"/>
                    <a:pt x="4746" y="15985"/>
                  </a:cubicBezTo>
                  <a:cubicBezTo>
                    <a:pt x="4755" y="15964"/>
                    <a:pt x="4689" y="15965"/>
                    <a:pt x="4600" y="15988"/>
                  </a:cubicBezTo>
                  <a:cubicBezTo>
                    <a:pt x="4510" y="16011"/>
                    <a:pt x="4393" y="16078"/>
                    <a:pt x="4337" y="16136"/>
                  </a:cubicBezTo>
                  <a:cubicBezTo>
                    <a:pt x="4284" y="16196"/>
                    <a:pt x="4183" y="16285"/>
                    <a:pt x="4118" y="16338"/>
                  </a:cubicBezTo>
                  <a:cubicBezTo>
                    <a:pt x="4052" y="16392"/>
                    <a:pt x="3937" y="16442"/>
                    <a:pt x="3864" y="16449"/>
                  </a:cubicBezTo>
                  <a:cubicBezTo>
                    <a:pt x="3789" y="16453"/>
                    <a:pt x="3692" y="16472"/>
                    <a:pt x="3646" y="16483"/>
                  </a:cubicBezTo>
                  <a:cubicBezTo>
                    <a:pt x="3602" y="16496"/>
                    <a:pt x="3552" y="16484"/>
                    <a:pt x="3538" y="16460"/>
                  </a:cubicBezTo>
                  <a:cubicBezTo>
                    <a:pt x="3522" y="16438"/>
                    <a:pt x="3469" y="16423"/>
                    <a:pt x="3420" y="16440"/>
                  </a:cubicBezTo>
                  <a:cubicBezTo>
                    <a:pt x="3367" y="16450"/>
                    <a:pt x="3281" y="16500"/>
                    <a:pt x="3221" y="16540"/>
                  </a:cubicBezTo>
                  <a:cubicBezTo>
                    <a:pt x="3165" y="16583"/>
                    <a:pt x="3065" y="16606"/>
                    <a:pt x="3001" y="16600"/>
                  </a:cubicBezTo>
                  <a:cubicBezTo>
                    <a:pt x="2937" y="16594"/>
                    <a:pt x="2858" y="16590"/>
                    <a:pt x="2825" y="16588"/>
                  </a:cubicBezTo>
                  <a:cubicBezTo>
                    <a:pt x="2791" y="16592"/>
                    <a:pt x="2732" y="16572"/>
                    <a:pt x="2705" y="16538"/>
                  </a:cubicBezTo>
                  <a:cubicBezTo>
                    <a:pt x="2672" y="16509"/>
                    <a:pt x="2597" y="16473"/>
                    <a:pt x="2547" y="16444"/>
                  </a:cubicBezTo>
                  <a:cubicBezTo>
                    <a:pt x="2493" y="16422"/>
                    <a:pt x="2392" y="16414"/>
                    <a:pt x="2325" y="16422"/>
                  </a:cubicBezTo>
                  <a:cubicBezTo>
                    <a:pt x="2258" y="16430"/>
                    <a:pt x="2182" y="16384"/>
                    <a:pt x="2139" y="16323"/>
                  </a:cubicBezTo>
                  <a:cubicBezTo>
                    <a:pt x="2107" y="16259"/>
                    <a:pt x="2051" y="16231"/>
                    <a:pt x="2018" y="16256"/>
                  </a:cubicBezTo>
                  <a:cubicBezTo>
                    <a:pt x="1988" y="16284"/>
                    <a:pt x="1946" y="16327"/>
                    <a:pt x="1949" y="16357"/>
                  </a:cubicBezTo>
                  <a:cubicBezTo>
                    <a:pt x="1945" y="16387"/>
                    <a:pt x="1915" y="16431"/>
                    <a:pt x="1896" y="16460"/>
                  </a:cubicBezTo>
                  <a:cubicBezTo>
                    <a:pt x="1870" y="16486"/>
                    <a:pt x="1826" y="16509"/>
                    <a:pt x="1793" y="16514"/>
                  </a:cubicBezTo>
                  <a:cubicBezTo>
                    <a:pt x="1759" y="16519"/>
                    <a:pt x="1710" y="16527"/>
                    <a:pt x="1694" y="16544"/>
                  </a:cubicBezTo>
                  <a:cubicBezTo>
                    <a:pt x="1675" y="16560"/>
                    <a:pt x="1647" y="16595"/>
                    <a:pt x="1639" y="16627"/>
                  </a:cubicBezTo>
                  <a:cubicBezTo>
                    <a:pt x="1631" y="16658"/>
                    <a:pt x="1626" y="16706"/>
                    <a:pt x="1644" y="16731"/>
                  </a:cubicBezTo>
                  <a:cubicBezTo>
                    <a:pt x="1660" y="16756"/>
                    <a:pt x="1645" y="16815"/>
                    <a:pt x="1618" y="16860"/>
                  </a:cubicBezTo>
                  <a:cubicBezTo>
                    <a:pt x="1591" y="16906"/>
                    <a:pt x="1544" y="16948"/>
                    <a:pt x="1515" y="16949"/>
                  </a:cubicBezTo>
                  <a:cubicBezTo>
                    <a:pt x="1489" y="16958"/>
                    <a:pt x="1409" y="16980"/>
                    <a:pt x="1339" y="17006"/>
                  </a:cubicBezTo>
                  <a:cubicBezTo>
                    <a:pt x="1273" y="17036"/>
                    <a:pt x="1172" y="17093"/>
                    <a:pt x="1115" y="17136"/>
                  </a:cubicBezTo>
                  <a:cubicBezTo>
                    <a:pt x="1062" y="17183"/>
                    <a:pt x="953" y="17239"/>
                    <a:pt x="876" y="17266"/>
                  </a:cubicBezTo>
                  <a:cubicBezTo>
                    <a:pt x="800" y="17291"/>
                    <a:pt x="680" y="17354"/>
                    <a:pt x="616" y="17410"/>
                  </a:cubicBezTo>
                  <a:cubicBezTo>
                    <a:pt x="549" y="17464"/>
                    <a:pt x="471" y="17547"/>
                    <a:pt x="454" y="17599"/>
                  </a:cubicBezTo>
                  <a:cubicBezTo>
                    <a:pt x="428" y="17647"/>
                    <a:pt x="364" y="17724"/>
                    <a:pt x="300" y="17764"/>
                  </a:cubicBezTo>
                  <a:cubicBezTo>
                    <a:pt x="235" y="17805"/>
                    <a:pt x="150" y="17897"/>
                    <a:pt x="92" y="17960"/>
                  </a:cubicBezTo>
                  <a:cubicBezTo>
                    <a:pt x="41" y="18027"/>
                    <a:pt x="8" y="18157"/>
                    <a:pt x="0" y="18248"/>
                  </a:cubicBezTo>
                  <a:cubicBezTo>
                    <a:pt x="4" y="18339"/>
                    <a:pt x="34" y="18437"/>
                    <a:pt x="73" y="18467"/>
                  </a:cubicBezTo>
                  <a:cubicBezTo>
                    <a:pt x="112" y="18497"/>
                    <a:pt x="179" y="18500"/>
                    <a:pt x="218" y="18473"/>
                  </a:cubicBezTo>
                  <a:cubicBezTo>
                    <a:pt x="258" y="18447"/>
                    <a:pt x="316" y="18467"/>
                    <a:pt x="367" y="18506"/>
                  </a:cubicBezTo>
                  <a:cubicBezTo>
                    <a:pt x="408" y="18552"/>
                    <a:pt x="422" y="18616"/>
                    <a:pt x="397" y="18654"/>
                  </a:cubicBezTo>
                  <a:cubicBezTo>
                    <a:pt x="367" y="18688"/>
                    <a:pt x="430" y="18703"/>
                    <a:pt x="530" y="18682"/>
                  </a:cubicBezTo>
                  <a:cubicBezTo>
                    <a:pt x="629" y="18665"/>
                    <a:pt x="755" y="18644"/>
                    <a:pt x="810" y="18647"/>
                  </a:cubicBezTo>
                  <a:cubicBezTo>
                    <a:pt x="866" y="18646"/>
                    <a:pt x="943" y="18622"/>
                    <a:pt x="985" y="18589"/>
                  </a:cubicBezTo>
                  <a:cubicBezTo>
                    <a:pt x="1026" y="18557"/>
                    <a:pt x="1114" y="18519"/>
                    <a:pt x="1178" y="18504"/>
                  </a:cubicBezTo>
                  <a:cubicBezTo>
                    <a:pt x="1244" y="18489"/>
                    <a:pt x="1327" y="18450"/>
                    <a:pt x="1365" y="18417"/>
                  </a:cubicBezTo>
                  <a:cubicBezTo>
                    <a:pt x="1405" y="18385"/>
                    <a:pt x="1491" y="18336"/>
                    <a:pt x="1566" y="18317"/>
                  </a:cubicBezTo>
                  <a:cubicBezTo>
                    <a:pt x="1638" y="18293"/>
                    <a:pt x="1742" y="18261"/>
                    <a:pt x="1788" y="18234"/>
                  </a:cubicBezTo>
                  <a:cubicBezTo>
                    <a:pt x="1836" y="18208"/>
                    <a:pt x="1917" y="18192"/>
                    <a:pt x="1966" y="18192"/>
                  </a:cubicBezTo>
                  <a:cubicBezTo>
                    <a:pt x="2015" y="18193"/>
                    <a:pt x="2090" y="18166"/>
                    <a:pt x="2134" y="18133"/>
                  </a:cubicBezTo>
                  <a:cubicBezTo>
                    <a:pt x="2174" y="18096"/>
                    <a:pt x="2228" y="18026"/>
                    <a:pt x="2253" y="17974"/>
                  </a:cubicBezTo>
                  <a:cubicBezTo>
                    <a:pt x="2273" y="17920"/>
                    <a:pt x="2320" y="17839"/>
                    <a:pt x="2360" y="17796"/>
                  </a:cubicBezTo>
                  <a:cubicBezTo>
                    <a:pt x="2391" y="17749"/>
                    <a:pt x="2448" y="17708"/>
                    <a:pt x="2476" y="17706"/>
                  </a:cubicBezTo>
                  <a:cubicBezTo>
                    <a:pt x="2503" y="17703"/>
                    <a:pt x="2551" y="17755"/>
                    <a:pt x="2583" y="17826"/>
                  </a:cubicBezTo>
                  <a:cubicBezTo>
                    <a:pt x="2620" y="17895"/>
                    <a:pt x="2682" y="17946"/>
                    <a:pt x="2733" y="17932"/>
                  </a:cubicBezTo>
                  <a:cubicBezTo>
                    <a:pt x="2786" y="17924"/>
                    <a:pt x="2853" y="17930"/>
                    <a:pt x="2875" y="17961"/>
                  </a:cubicBezTo>
                  <a:cubicBezTo>
                    <a:pt x="2908" y="17985"/>
                    <a:pt x="2988" y="18006"/>
                    <a:pt x="3067" y="18000"/>
                  </a:cubicBezTo>
                  <a:cubicBezTo>
                    <a:pt x="3146" y="18000"/>
                    <a:pt x="3243" y="17957"/>
                    <a:pt x="3276" y="17918"/>
                  </a:cubicBezTo>
                  <a:cubicBezTo>
                    <a:pt x="3311" y="17880"/>
                    <a:pt x="3389" y="17806"/>
                    <a:pt x="3448" y="17752"/>
                  </a:cubicBezTo>
                  <a:cubicBezTo>
                    <a:pt x="3511" y="17701"/>
                    <a:pt x="3584" y="17647"/>
                    <a:pt x="3617" y="17636"/>
                  </a:cubicBezTo>
                  <a:cubicBezTo>
                    <a:pt x="3650" y="17623"/>
                    <a:pt x="3741" y="17574"/>
                    <a:pt x="3809" y="17518"/>
                  </a:cubicBezTo>
                  <a:cubicBezTo>
                    <a:pt x="3881" y="17463"/>
                    <a:pt x="3989" y="17387"/>
                    <a:pt x="4058" y="17362"/>
                  </a:cubicBezTo>
                  <a:cubicBezTo>
                    <a:pt x="4124" y="17331"/>
                    <a:pt x="4160" y="17339"/>
                    <a:pt x="4129" y="17374"/>
                  </a:cubicBezTo>
                  <a:cubicBezTo>
                    <a:pt x="4102" y="17410"/>
                    <a:pt x="4065" y="17483"/>
                    <a:pt x="4050" y="17535"/>
                  </a:cubicBezTo>
                  <a:cubicBezTo>
                    <a:pt x="4029" y="17586"/>
                    <a:pt x="3968" y="17679"/>
                    <a:pt x="3897" y="17734"/>
                  </a:cubicBezTo>
                  <a:cubicBezTo>
                    <a:pt x="3827" y="17791"/>
                    <a:pt x="3760" y="17886"/>
                    <a:pt x="3741" y="17942"/>
                  </a:cubicBezTo>
                  <a:cubicBezTo>
                    <a:pt x="3718" y="17997"/>
                    <a:pt x="3767" y="18012"/>
                    <a:pt x="3836" y="17967"/>
                  </a:cubicBezTo>
                  <a:cubicBezTo>
                    <a:pt x="3907" y="17925"/>
                    <a:pt x="4027" y="17807"/>
                    <a:pt x="4103" y="17707"/>
                  </a:cubicBezTo>
                  <a:cubicBezTo>
                    <a:pt x="4178" y="17605"/>
                    <a:pt x="4250" y="17532"/>
                    <a:pt x="4263" y="17541"/>
                  </a:cubicBezTo>
                  <a:cubicBezTo>
                    <a:pt x="4275" y="17551"/>
                    <a:pt x="4316" y="17535"/>
                    <a:pt x="4359" y="17514"/>
                  </a:cubicBezTo>
                  <a:cubicBezTo>
                    <a:pt x="4399" y="17489"/>
                    <a:pt x="4472" y="17475"/>
                    <a:pt x="4521" y="17471"/>
                  </a:cubicBezTo>
                  <a:cubicBezTo>
                    <a:pt x="4570" y="17474"/>
                    <a:pt x="4555" y="17532"/>
                    <a:pt x="4487" y="17606"/>
                  </a:cubicBezTo>
                  <a:cubicBezTo>
                    <a:pt x="4419" y="17679"/>
                    <a:pt x="4365" y="17767"/>
                    <a:pt x="4375" y="17799"/>
                  </a:cubicBezTo>
                  <a:cubicBezTo>
                    <a:pt x="4373" y="17832"/>
                    <a:pt x="4404" y="17818"/>
                    <a:pt x="4429" y="17770"/>
                  </a:cubicBezTo>
                  <a:cubicBezTo>
                    <a:pt x="4452" y="17720"/>
                    <a:pt x="4599" y="17591"/>
                    <a:pt x="4754" y="17482"/>
                  </a:cubicBezTo>
                  <a:cubicBezTo>
                    <a:pt x="4909" y="17373"/>
                    <a:pt x="5042" y="17301"/>
                    <a:pt x="5050" y="17322"/>
                  </a:cubicBezTo>
                  <a:cubicBezTo>
                    <a:pt x="5050" y="17345"/>
                    <a:pt x="4985" y="17422"/>
                    <a:pt x="4886" y="17496"/>
                  </a:cubicBezTo>
                  <a:cubicBezTo>
                    <a:pt x="4789" y="17571"/>
                    <a:pt x="4696" y="17666"/>
                    <a:pt x="4672" y="17707"/>
                  </a:cubicBezTo>
                  <a:cubicBezTo>
                    <a:pt x="4655" y="17750"/>
                    <a:pt x="4673" y="17794"/>
                    <a:pt x="4719" y="17804"/>
                  </a:cubicBezTo>
                  <a:cubicBezTo>
                    <a:pt x="4762" y="17819"/>
                    <a:pt x="4806" y="17875"/>
                    <a:pt x="4811" y="17940"/>
                  </a:cubicBezTo>
                  <a:cubicBezTo>
                    <a:pt x="4812" y="18003"/>
                    <a:pt x="4795" y="18094"/>
                    <a:pt x="4776" y="18145"/>
                  </a:cubicBezTo>
                  <a:cubicBezTo>
                    <a:pt x="4745" y="18193"/>
                    <a:pt x="4734" y="18274"/>
                    <a:pt x="4723" y="18320"/>
                  </a:cubicBezTo>
                  <a:cubicBezTo>
                    <a:pt x="4723" y="18367"/>
                    <a:pt x="4764" y="18383"/>
                    <a:pt x="4827" y="18365"/>
                  </a:cubicBezTo>
                  <a:cubicBezTo>
                    <a:pt x="4887" y="18342"/>
                    <a:pt x="4922" y="18376"/>
                    <a:pt x="4894" y="18435"/>
                  </a:cubicBezTo>
                  <a:cubicBezTo>
                    <a:pt x="4873" y="18496"/>
                    <a:pt x="4869" y="18559"/>
                    <a:pt x="4891" y="18576"/>
                  </a:cubicBezTo>
                  <a:cubicBezTo>
                    <a:pt x="4912" y="18593"/>
                    <a:pt x="4985" y="18546"/>
                    <a:pt x="5056" y="18477"/>
                  </a:cubicBezTo>
                  <a:cubicBezTo>
                    <a:pt x="5121" y="18404"/>
                    <a:pt x="5150" y="18422"/>
                    <a:pt x="5096" y="18508"/>
                  </a:cubicBezTo>
                  <a:cubicBezTo>
                    <a:pt x="5051" y="18596"/>
                    <a:pt x="4964" y="18709"/>
                    <a:pt x="4906" y="18760"/>
                  </a:cubicBezTo>
                  <a:cubicBezTo>
                    <a:pt x="4847" y="18810"/>
                    <a:pt x="4839" y="18876"/>
                    <a:pt x="4879" y="18910"/>
                  </a:cubicBezTo>
                  <a:cubicBezTo>
                    <a:pt x="4920" y="18943"/>
                    <a:pt x="4975" y="18935"/>
                    <a:pt x="4999" y="18892"/>
                  </a:cubicBezTo>
                  <a:cubicBezTo>
                    <a:pt x="5026" y="18851"/>
                    <a:pt x="5087" y="18767"/>
                    <a:pt x="5140" y="18708"/>
                  </a:cubicBezTo>
                  <a:cubicBezTo>
                    <a:pt x="5191" y="18648"/>
                    <a:pt x="5273" y="18581"/>
                    <a:pt x="5320" y="18558"/>
                  </a:cubicBezTo>
                  <a:cubicBezTo>
                    <a:pt x="5365" y="18534"/>
                    <a:pt x="5379" y="18535"/>
                    <a:pt x="5358" y="18562"/>
                  </a:cubicBezTo>
                  <a:cubicBezTo>
                    <a:pt x="5334" y="18589"/>
                    <a:pt x="5312" y="18655"/>
                    <a:pt x="5314" y="18711"/>
                  </a:cubicBezTo>
                  <a:cubicBezTo>
                    <a:pt x="5318" y="18766"/>
                    <a:pt x="5337" y="18850"/>
                    <a:pt x="5364" y="18898"/>
                  </a:cubicBezTo>
                  <a:cubicBezTo>
                    <a:pt x="5397" y="18943"/>
                    <a:pt x="5504" y="18954"/>
                    <a:pt x="5615" y="18920"/>
                  </a:cubicBezTo>
                  <a:cubicBezTo>
                    <a:pt x="5725" y="18884"/>
                    <a:pt x="5783" y="18884"/>
                    <a:pt x="5747" y="18920"/>
                  </a:cubicBezTo>
                  <a:cubicBezTo>
                    <a:pt x="5709" y="18954"/>
                    <a:pt x="5549" y="19066"/>
                    <a:pt x="5389" y="19166"/>
                  </a:cubicBezTo>
                  <a:cubicBezTo>
                    <a:pt x="5234" y="19271"/>
                    <a:pt x="5020" y="19362"/>
                    <a:pt x="4924" y="19383"/>
                  </a:cubicBezTo>
                  <a:cubicBezTo>
                    <a:pt x="4828" y="19401"/>
                    <a:pt x="4719" y="19437"/>
                    <a:pt x="4691" y="19468"/>
                  </a:cubicBezTo>
                  <a:cubicBezTo>
                    <a:pt x="4653" y="19493"/>
                    <a:pt x="4678" y="19528"/>
                    <a:pt x="4735" y="19539"/>
                  </a:cubicBezTo>
                  <a:cubicBezTo>
                    <a:pt x="4793" y="19550"/>
                    <a:pt x="4827" y="19613"/>
                    <a:pt x="4805" y="19678"/>
                  </a:cubicBezTo>
                  <a:cubicBezTo>
                    <a:pt x="4786" y="19743"/>
                    <a:pt x="4793" y="19828"/>
                    <a:pt x="4821" y="19865"/>
                  </a:cubicBezTo>
                  <a:cubicBezTo>
                    <a:pt x="4839" y="19905"/>
                    <a:pt x="4896" y="19955"/>
                    <a:pt x="4921" y="19986"/>
                  </a:cubicBezTo>
                  <a:cubicBezTo>
                    <a:pt x="4952" y="20014"/>
                    <a:pt x="5009" y="20039"/>
                    <a:pt x="5053" y="20030"/>
                  </a:cubicBezTo>
                  <a:cubicBezTo>
                    <a:pt x="5098" y="20027"/>
                    <a:pt x="5118" y="20045"/>
                    <a:pt x="5104" y="20077"/>
                  </a:cubicBezTo>
                  <a:cubicBezTo>
                    <a:pt x="5089" y="20109"/>
                    <a:pt x="5117" y="20156"/>
                    <a:pt x="5168" y="20186"/>
                  </a:cubicBezTo>
                  <a:cubicBezTo>
                    <a:pt x="5219" y="20215"/>
                    <a:pt x="5288" y="20250"/>
                    <a:pt x="5313" y="20271"/>
                  </a:cubicBezTo>
                  <a:cubicBezTo>
                    <a:pt x="5344" y="20286"/>
                    <a:pt x="5401" y="20300"/>
                    <a:pt x="5447" y="20290"/>
                  </a:cubicBezTo>
                  <a:cubicBezTo>
                    <a:pt x="5494" y="20285"/>
                    <a:pt x="5608" y="20300"/>
                    <a:pt x="5699" y="20338"/>
                  </a:cubicBezTo>
                  <a:cubicBezTo>
                    <a:pt x="5793" y="20369"/>
                    <a:pt x="5917" y="20392"/>
                    <a:pt x="5977" y="20377"/>
                  </a:cubicBezTo>
                  <a:cubicBezTo>
                    <a:pt x="6038" y="20362"/>
                    <a:pt x="6079" y="20372"/>
                    <a:pt x="6070" y="20397"/>
                  </a:cubicBezTo>
                  <a:cubicBezTo>
                    <a:pt x="6065" y="20422"/>
                    <a:pt x="6080" y="20446"/>
                    <a:pt x="6111" y="20460"/>
                  </a:cubicBezTo>
                  <a:cubicBezTo>
                    <a:pt x="6140" y="20474"/>
                    <a:pt x="6190" y="20458"/>
                    <a:pt x="6217" y="20433"/>
                  </a:cubicBezTo>
                  <a:cubicBezTo>
                    <a:pt x="6246" y="20409"/>
                    <a:pt x="6291" y="20373"/>
                    <a:pt x="6317" y="20353"/>
                  </a:cubicBezTo>
                  <a:cubicBezTo>
                    <a:pt x="6348" y="20338"/>
                    <a:pt x="6417" y="20328"/>
                    <a:pt x="6479" y="20331"/>
                  </a:cubicBezTo>
                  <a:cubicBezTo>
                    <a:pt x="6540" y="20343"/>
                    <a:pt x="6555" y="20365"/>
                    <a:pt x="6512" y="20393"/>
                  </a:cubicBezTo>
                  <a:cubicBezTo>
                    <a:pt x="6470" y="20422"/>
                    <a:pt x="6400" y="20466"/>
                    <a:pt x="6361" y="20495"/>
                  </a:cubicBezTo>
                  <a:cubicBezTo>
                    <a:pt x="6323" y="20524"/>
                    <a:pt x="6302" y="20583"/>
                    <a:pt x="6315" y="20626"/>
                  </a:cubicBezTo>
                  <a:cubicBezTo>
                    <a:pt x="6337" y="20668"/>
                    <a:pt x="6369" y="20724"/>
                    <a:pt x="6408" y="20732"/>
                  </a:cubicBezTo>
                  <a:cubicBezTo>
                    <a:pt x="6443" y="20748"/>
                    <a:pt x="6505" y="20751"/>
                    <a:pt x="6541" y="20738"/>
                  </a:cubicBezTo>
                  <a:cubicBezTo>
                    <a:pt x="6576" y="20726"/>
                    <a:pt x="6593" y="20750"/>
                    <a:pt x="6579" y="20789"/>
                  </a:cubicBezTo>
                  <a:cubicBezTo>
                    <a:pt x="6563" y="20827"/>
                    <a:pt x="6598" y="20900"/>
                    <a:pt x="6649" y="20953"/>
                  </a:cubicBezTo>
                  <a:cubicBezTo>
                    <a:pt x="6709" y="21002"/>
                    <a:pt x="6790" y="21043"/>
                    <a:pt x="6841" y="21029"/>
                  </a:cubicBezTo>
                  <a:cubicBezTo>
                    <a:pt x="6893" y="21016"/>
                    <a:pt x="6964" y="21024"/>
                    <a:pt x="6992" y="21048"/>
                  </a:cubicBezTo>
                  <a:cubicBezTo>
                    <a:pt x="7021" y="21071"/>
                    <a:pt x="7046" y="21112"/>
                    <a:pt x="7052" y="21141"/>
                  </a:cubicBezTo>
                  <a:cubicBezTo>
                    <a:pt x="7056" y="21170"/>
                    <a:pt x="7139" y="21204"/>
                    <a:pt x="7241" y="21216"/>
                  </a:cubicBezTo>
                  <a:cubicBezTo>
                    <a:pt x="7343" y="21227"/>
                    <a:pt x="7455" y="21217"/>
                    <a:pt x="7490" y="21193"/>
                  </a:cubicBezTo>
                  <a:cubicBezTo>
                    <a:pt x="7523" y="21167"/>
                    <a:pt x="7586" y="21154"/>
                    <a:pt x="7624" y="21158"/>
                  </a:cubicBezTo>
                  <a:cubicBezTo>
                    <a:pt x="7662" y="21163"/>
                    <a:pt x="7731" y="21156"/>
                    <a:pt x="7777" y="21140"/>
                  </a:cubicBezTo>
                  <a:cubicBezTo>
                    <a:pt x="7825" y="21128"/>
                    <a:pt x="7900" y="21123"/>
                    <a:pt x="7947" y="21137"/>
                  </a:cubicBezTo>
                  <a:cubicBezTo>
                    <a:pt x="7993" y="21152"/>
                    <a:pt x="8040" y="21186"/>
                    <a:pt x="8046" y="21216"/>
                  </a:cubicBezTo>
                  <a:cubicBezTo>
                    <a:pt x="8055" y="21246"/>
                    <a:pt x="8131" y="21306"/>
                    <a:pt x="8209" y="21358"/>
                  </a:cubicBezTo>
                  <a:cubicBezTo>
                    <a:pt x="8295" y="21404"/>
                    <a:pt x="8400" y="21444"/>
                    <a:pt x="8449" y="21438"/>
                  </a:cubicBezTo>
                  <a:cubicBezTo>
                    <a:pt x="8499" y="21440"/>
                    <a:pt x="8576" y="21446"/>
                    <a:pt x="8619" y="21469"/>
                  </a:cubicBezTo>
                  <a:cubicBezTo>
                    <a:pt x="8665" y="21486"/>
                    <a:pt x="8787" y="21516"/>
                    <a:pt x="8896" y="21521"/>
                  </a:cubicBezTo>
                  <a:cubicBezTo>
                    <a:pt x="9005" y="21529"/>
                    <a:pt x="9142" y="21547"/>
                    <a:pt x="9198" y="21568"/>
                  </a:cubicBezTo>
                  <a:cubicBezTo>
                    <a:pt x="9257" y="21583"/>
                    <a:pt x="9359" y="21592"/>
                    <a:pt x="9427" y="21577"/>
                  </a:cubicBezTo>
                  <a:cubicBezTo>
                    <a:pt x="9498" y="21565"/>
                    <a:pt x="9573" y="21537"/>
                    <a:pt x="9594" y="21517"/>
                  </a:cubicBezTo>
                  <a:cubicBezTo>
                    <a:pt x="9616" y="21498"/>
                    <a:pt x="9644" y="21455"/>
                    <a:pt x="9660" y="21421"/>
                  </a:cubicBezTo>
                  <a:cubicBezTo>
                    <a:pt x="9674" y="21387"/>
                    <a:pt x="9660" y="21332"/>
                    <a:pt x="9625" y="21301"/>
                  </a:cubicBezTo>
                  <a:cubicBezTo>
                    <a:pt x="9596" y="21267"/>
                    <a:pt x="9549" y="21218"/>
                    <a:pt x="9535" y="21185"/>
                  </a:cubicBezTo>
                  <a:cubicBezTo>
                    <a:pt x="9512" y="21156"/>
                    <a:pt x="9543" y="21105"/>
                    <a:pt x="9576" y="21069"/>
                  </a:cubicBezTo>
                  <a:cubicBezTo>
                    <a:pt x="9619" y="21039"/>
                    <a:pt x="9693" y="21015"/>
                    <a:pt x="9747" y="21010"/>
                  </a:cubicBezTo>
                  <a:cubicBezTo>
                    <a:pt x="9801" y="21008"/>
                    <a:pt x="9871" y="20976"/>
                    <a:pt x="9906" y="20935"/>
                  </a:cubicBezTo>
                  <a:cubicBezTo>
                    <a:pt x="9939" y="20894"/>
                    <a:pt x="9955" y="20838"/>
                    <a:pt x="9947" y="20808"/>
                  </a:cubicBezTo>
                  <a:cubicBezTo>
                    <a:pt x="9936" y="20779"/>
                    <a:pt x="9896" y="20771"/>
                    <a:pt x="9861" y="20793"/>
                  </a:cubicBezTo>
                  <a:cubicBezTo>
                    <a:pt x="9830" y="20818"/>
                    <a:pt x="9779" y="20817"/>
                    <a:pt x="9768" y="20797"/>
                  </a:cubicBezTo>
                  <a:cubicBezTo>
                    <a:pt x="9759" y="20777"/>
                    <a:pt x="9763" y="20710"/>
                    <a:pt x="9797" y="20647"/>
                  </a:cubicBezTo>
                  <a:cubicBezTo>
                    <a:pt x="9831" y="20583"/>
                    <a:pt x="9847" y="20517"/>
                    <a:pt x="9830" y="20511"/>
                  </a:cubicBezTo>
                  <a:cubicBezTo>
                    <a:pt x="9816" y="20500"/>
                    <a:pt x="9739" y="20543"/>
                    <a:pt x="9657" y="20605"/>
                  </a:cubicBezTo>
                  <a:cubicBezTo>
                    <a:pt x="9577" y="20668"/>
                    <a:pt x="9519" y="20694"/>
                    <a:pt x="9522" y="20665"/>
                  </a:cubicBezTo>
                  <a:cubicBezTo>
                    <a:pt x="9530" y="20637"/>
                    <a:pt x="9532" y="20585"/>
                    <a:pt x="9522" y="20552"/>
                  </a:cubicBezTo>
                  <a:cubicBezTo>
                    <a:pt x="9510" y="20520"/>
                    <a:pt x="9477" y="20501"/>
                    <a:pt x="9435" y="20509"/>
                  </a:cubicBezTo>
                  <a:cubicBezTo>
                    <a:pt x="9393" y="20516"/>
                    <a:pt x="9424" y="20471"/>
                    <a:pt x="9506" y="20407"/>
                  </a:cubicBezTo>
                  <a:cubicBezTo>
                    <a:pt x="9585" y="20341"/>
                    <a:pt x="9648" y="20237"/>
                    <a:pt x="9659" y="20174"/>
                  </a:cubicBezTo>
                  <a:cubicBezTo>
                    <a:pt x="9655" y="20112"/>
                    <a:pt x="9637" y="20058"/>
                    <a:pt x="9602" y="20053"/>
                  </a:cubicBezTo>
                  <a:cubicBezTo>
                    <a:pt x="9565" y="20048"/>
                    <a:pt x="9481" y="20057"/>
                    <a:pt x="9419" y="20080"/>
                  </a:cubicBezTo>
                  <a:cubicBezTo>
                    <a:pt x="9355" y="20097"/>
                    <a:pt x="9333" y="20073"/>
                    <a:pt x="9359" y="20020"/>
                  </a:cubicBezTo>
                  <a:cubicBezTo>
                    <a:pt x="9396" y="19970"/>
                    <a:pt x="9397" y="19888"/>
                    <a:pt x="9380" y="19840"/>
                  </a:cubicBezTo>
                  <a:cubicBezTo>
                    <a:pt x="9353" y="19795"/>
                    <a:pt x="9335" y="19728"/>
                    <a:pt x="9323" y="19696"/>
                  </a:cubicBezTo>
                  <a:cubicBezTo>
                    <a:pt x="9311" y="19663"/>
                    <a:pt x="9245" y="19646"/>
                    <a:pt x="9176" y="19659"/>
                  </a:cubicBezTo>
                  <a:cubicBezTo>
                    <a:pt x="9106" y="19666"/>
                    <a:pt x="9092" y="19637"/>
                    <a:pt x="9154" y="19590"/>
                  </a:cubicBezTo>
                  <a:cubicBezTo>
                    <a:pt x="9204" y="19535"/>
                    <a:pt x="9217" y="19497"/>
                    <a:pt x="9171" y="19501"/>
                  </a:cubicBezTo>
                  <a:cubicBezTo>
                    <a:pt x="9124" y="19501"/>
                    <a:pt x="9056" y="19512"/>
                    <a:pt x="9022" y="19525"/>
                  </a:cubicBezTo>
                  <a:cubicBezTo>
                    <a:pt x="8986" y="19534"/>
                    <a:pt x="8985" y="19517"/>
                    <a:pt x="9014" y="19481"/>
                  </a:cubicBezTo>
                  <a:cubicBezTo>
                    <a:pt x="9048" y="19447"/>
                    <a:pt x="9037" y="19388"/>
                    <a:pt x="9016" y="19347"/>
                  </a:cubicBezTo>
                  <a:cubicBezTo>
                    <a:pt x="8985" y="19309"/>
                    <a:pt x="8893" y="19286"/>
                    <a:pt x="8808" y="19289"/>
                  </a:cubicBezTo>
                  <a:cubicBezTo>
                    <a:pt x="8726" y="19301"/>
                    <a:pt x="8630" y="19309"/>
                    <a:pt x="8598" y="19320"/>
                  </a:cubicBezTo>
                  <a:cubicBezTo>
                    <a:pt x="8566" y="19331"/>
                    <a:pt x="8561" y="19285"/>
                    <a:pt x="8570" y="19217"/>
                  </a:cubicBezTo>
                  <a:cubicBezTo>
                    <a:pt x="8589" y="19150"/>
                    <a:pt x="8603" y="19064"/>
                    <a:pt x="8612" y="19027"/>
                  </a:cubicBezTo>
                  <a:cubicBezTo>
                    <a:pt x="8617" y="18989"/>
                    <a:pt x="8633" y="18937"/>
                    <a:pt x="8635" y="18910"/>
                  </a:cubicBezTo>
                  <a:cubicBezTo>
                    <a:pt x="8642" y="18883"/>
                    <a:pt x="8582" y="18827"/>
                    <a:pt x="8502" y="18782"/>
                  </a:cubicBezTo>
                  <a:cubicBezTo>
                    <a:pt x="8423" y="18739"/>
                    <a:pt x="8368" y="18650"/>
                    <a:pt x="8370" y="18583"/>
                  </a:cubicBezTo>
                  <a:cubicBezTo>
                    <a:pt x="8382" y="18518"/>
                    <a:pt x="8402" y="18423"/>
                    <a:pt x="8429" y="18374"/>
                  </a:cubicBezTo>
                  <a:cubicBezTo>
                    <a:pt x="8458" y="18326"/>
                    <a:pt x="8509" y="18294"/>
                    <a:pt x="8551" y="18303"/>
                  </a:cubicBezTo>
                  <a:cubicBezTo>
                    <a:pt x="8592" y="18314"/>
                    <a:pt x="8664" y="18285"/>
                    <a:pt x="8706" y="18241"/>
                  </a:cubicBezTo>
                  <a:cubicBezTo>
                    <a:pt x="8749" y="18196"/>
                    <a:pt x="8844" y="18161"/>
                    <a:pt x="8912" y="18155"/>
                  </a:cubicBezTo>
                  <a:cubicBezTo>
                    <a:pt x="8982" y="18152"/>
                    <a:pt x="9034" y="18192"/>
                    <a:pt x="9013" y="18243"/>
                  </a:cubicBezTo>
                  <a:cubicBezTo>
                    <a:pt x="9000" y="18295"/>
                    <a:pt x="9000" y="18390"/>
                    <a:pt x="9029" y="18450"/>
                  </a:cubicBezTo>
                  <a:cubicBezTo>
                    <a:pt x="9057" y="18511"/>
                    <a:pt x="9133" y="18572"/>
                    <a:pt x="9207" y="18585"/>
                  </a:cubicBezTo>
                  <a:cubicBezTo>
                    <a:pt x="9282" y="18594"/>
                    <a:pt x="9372" y="18617"/>
                    <a:pt x="9396" y="18638"/>
                  </a:cubicBezTo>
                  <a:cubicBezTo>
                    <a:pt x="9427" y="18652"/>
                    <a:pt x="9440" y="18698"/>
                    <a:pt x="9435" y="18735"/>
                  </a:cubicBezTo>
                  <a:cubicBezTo>
                    <a:pt x="9424" y="18770"/>
                    <a:pt x="9437" y="18820"/>
                    <a:pt x="9466" y="18833"/>
                  </a:cubicBezTo>
                  <a:cubicBezTo>
                    <a:pt x="9487" y="18853"/>
                    <a:pt x="9518" y="18829"/>
                    <a:pt x="9530" y="18784"/>
                  </a:cubicBezTo>
                  <a:cubicBezTo>
                    <a:pt x="9547" y="18741"/>
                    <a:pt x="9543" y="18654"/>
                    <a:pt x="9527" y="18596"/>
                  </a:cubicBezTo>
                  <a:cubicBezTo>
                    <a:pt x="9516" y="18537"/>
                    <a:pt x="9516" y="18467"/>
                    <a:pt x="9532" y="18442"/>
                  </a:cubicBezTo>
                  <a:cubicBezTo>
                    <a:pt x="9544" y="18415"/>
                    <a:pt x="9596" y="18374"/>
                    <a:pt x="9640" y="18349"/>
                  </a:cubicBezTo>
                  <a:cubicBezTo>
                    <a:pt x="9686" y="18326"/>
                    <a:pt x="9733" y="18333"/>
                    <a:pt x="9755" y="18367"/>
                  </a:cubicBezTo>
                  <a:cubicBezTo>
                    <a:pt x="9779" y="18398"/>
                    <a:pt x="9779" y="18453"/>
                    <a:pt x="9769" y="18482"/>
                  </a:cubicBezTo>
                  <a:cubicBezTo>
                    <a:pt x="9759" y="18511"/>
                    <a:pt x="9767" y="18552"/>
                    <a:pt x="9795" y="18564"/>
                  </a:cubicBezTo>
                  <a:cubicBezTo>
                    <a:pt x="9824" y="18575"/>
                    <a:pt x="9847" y="18659"/>
                    <a:pt x="9849" y="18741"/>
                  </a:cubicBezTo>
                  <a:cubicBezTo>
                    <a:pt x="9849" y="18824"/>
                    <a:pt x="9897" y="18889"/>
                    <a:pt x="9947" y="18885"/>
                  </a:cubicBezTo>
                  <a:cubicBezTo>
                    <a:pt x="9997" y="18882"/>
                    <a:pt x="10033" y="18903"/>
                    <a:pt x="10021" y="18930"/>
                  </a:cubicBezTo>
                  <a:cubicBezTo>
                    <a:pt x="10010" y="18957"/>
                    <a:pt x="10030" y="19007"/>
                    <a:pt x="10074" y="19031"/>
                  </a:cubicBezTo>
                  <a:cubicBezTo>
                    <a:pt x="10110" y="19063"/>
                    <a:pt x="10162" y="19152"/>
                    <a:pt x="10181" y="19236"/>
                  </a:cubicBezTo>
                  <a:cubicBezTo>
                    <a:pt x="10208" y="19318"/>
                    <a:pt x="10264" y="19355"/>
                    <a:pt x="10316" y="19310"/>
                  </a:cubicBezTo>
                  <a:cubicBezTo>
                    <a:pt x="10371" y="19269"/>
                    <a:pt x="10415" y="19192"/>
                    <a:pt x="10413" y="19141"/>
                  </a:cubicBezTo>
                  <a:cubicBezTo>
                    <a:pt x="10413" y="19091"/>
                    <a:pt x="10434" y="18980"/>
                    <a:pt x="10457" y="18895"/>
                  </a:cubicBezTo>
                  <a:cubicBezTo>
                    <a:pt x="10483" y="18810"/>
                    <a:pt x="10534" y="18698"/>
                    <a:pt x="10570" y="18642"/>
                  </a:cubicBezTo>
                  <a:cubicBezTo>
                    <a:pt x="10610" y="18589"/>
                    <a:pt x="10620" y="18572"/>
                    <a:pt x="10615" y="18608"/>
                  </a:cubicBezTo>
                  <a:cubicBezTo>
                    <a:pt x="10598" y="18642"/>
                    <a:pt x="10599" y="18738"/>
                    <a:pt x="10612" y="18817"/>
                  </a:cubicBezTo>
                  <a:cubicBezTo>
                    <a:pt x="10622" y="18896"/>
                    <a:pt x="10612" y="19004"/>
                    <a:pt x="10585" y="19056"/>
                  </a:cubicBezTo>
                  <a:cubicBezTo>
                    <a:pt x="10554" y="19107"/>
                    <a:pt x="10528" y="19188"/>
                    <a:pt x="10524" y="19233"/>
                  </a:cubicBezTo>
                  <a:cubicBezTo>
                    <a:pt x="10515" y="19277"/>
                    <a:pt x="10538" y="19320"/>
                    <a:pt x="10570" y="19315"/>
                  </a:cubicBezTo>
                  <a:cubicBezTo>
                    <a:pt x="10604" y="19320"/>
                    <a:pt x="10666" y="19327"/>
                    <a:pt x="10703" y="19345"/>
                  </a:cubicBezTo>
                  <a:cubicBezTo>
                    <a:pt x="10738" y="19366"/>
                    <a:pt x="10804" y="19343"/>
                    <a:pt x="10837" y="19304"/>
                  </a:cubicBezTo>
                  <a:cubicBezTo>
                    <a:pt x="10864" y="19262"/>
                    <a:pt x="10887" y="19213"/>
                    <a:pt x="10865" y="19194"/>
                  </a:cubicBezTo>
                  <a:cubicBezTo>
                    <a:pt x="10850" y="19171"/>
                    <a:pt x="10841" y="19136"/>
                    <a:pt x="10846" y="19113"/>
                  </a:cubicBezTo>
                  <a:cubicBezTo>
                    <a:pt x="10858" y="19090"/>
                    <a:pt x="10897" y="19070"/>
                    <a:pt x="10943" y="19068"/>
                  </a:cubicBezTo>
                  <a:cubicBezTo>
                    <a:pt x="10987" y="19068"/>
                    <a:pt x="11035" y="19104"/>
                    <a:pt x="11037" y="19152"/>
                  </a:cubicBezTo>
                  <a:cubicBezTo>
                    <a:pt x="11046" y="19199"/>
                    <a:pt x="11043" y="19270"/>
                    <a:pt x="11023" y="19305"/>
                  </a:cubicBezTo>
                  <a:cubicBezTo>
                    <a:pt x="11008" y="19342"/>
                    <a:pt x="10998" y="19387"/>
                    <a:pt x="11014" y="19400"/>
                  </a:cubicBezTo>
                  <a:cubicBezTo>
                    <a:pt x="11020" y="19417"/>
                    <a:pt x="11052" y="19393"/>
                    <a:pt x="11070" y="19349"/>
                  </a:cubicBezTo>
                  <a:cubicBezTo>
                    <a:pt x="11090" y="19305"/>
                    <a:pt x="11146" y="19246"/>
                    <a:pt x="11195" y="19219"/>
                  </a:cubicBezTo>
                  <a:cubicBezTo>
                    <a:pt x="11245" y="19193"/>
                    <a:pt x="11256" y="19237"/>
                    <a:pt x="11232" y="19323"/>
                  </a:cubicBezTo>
                  <a:cubicBezTo>
                    <a:pt x="11201" y="19407"/>
                    <a:pt x="11197" y="19499"/>
                    <a:pt x="11215" y="19528"/>
                  </a:cubicBezTo>
                  <a:cubicBezTo>
                    <a:pt x="11235" y="19555"/>
                    <a:pt x="11297" y="19567"/>
                    <a:pt x="11352" y="19547"/>
                  </a:cubicBezTo>
                  <a:cubicBezTo>
                    <a:pt x="11408" y="19529"/>
                    <a:pt x="11494" y="19485"/>
                    <a:pt x="11536" y="19445"/>
                  </a:cubicBezTo>
                  <a:cubicBezTo>
                    <a:pt x="11587" y="19410"/>
                    <a:pt x="11603" y="19422"/>
                    <a:pt x="11583" y="19479"/>
                  </a:cubicBezTo>
                  <a:cubicBezTo>
                    <a:pt x="11564" y="19536"/>
                    <a:pt x="11517" y="19610"/>
                    <a:pt x="11483" y="19643"/>
                  </a:cubicBezTo>
                  <a:cubicBezTo>
                    <a:pt x="11449" y="19676"/>
                    <a:pt x="11421" y="19773"/>
                    <a:pt x="11415" y="19859"/>
                  </a:cubicBezTo>
                  <a:cubicBezTo>
                    <a:pt x="11419" y="19945"/>
                    <a:pt x="11434" y="20040"/>
                    <a:pt x="11466" y="20067"/>
                  </a:cubicBezTo>
                  <a:cubicBezTo>
                    <a:pt x="11498" y="20094"/>
                    <a:pt x="11578" y="20110"/>
                    <a:pt x="11648" y="20104"/>
                  </a:cubicBezTo>
                  <a:cubicBezTo>
                    <a:pt x="11717" y="20093"/>
                    <a:pt x="11788" y="20059"/>
                    <a:pt x="11798" y="20020"/>
                  </a:cubicBezTo>
                  <a:cubicBezTo>
                    <a:pt x="11813" y="19982"/>
                    <a:pt x="11806" y="19940"/>
                    <a:pt x="11790" y="19927"/>
                  </a:cubicBezTo>
                  <a:cubicBezTo>
                    <a:pt x="11774" y="19912"/>
                    <a:pt x="11784" y="19845"/>
                    <a:pt x="11812" y="19773"/>
                  </a:cubicBezTo>
                  <a:cubicBezTo>
                    <a:pt x="11842" y="19701"/>
                    <a:pt x="11857" y="19561"/>
                    <a:pt x="11855" y="19461"/>
                  </a:cubicBezTo>
                  <a:cubicBezTo>
                    <a:pt x="11851" y="19360"/>
                    <a:pt x="11897" y="19271"/>
                    <a:pt x="11958" y="19256"/>
                  </a:cubicBezTo>
                  <a:cubicBezTo>
                    <a:pt x="12022" y="19245"/>
                    <a:pt x="12082" y="19265"/>
                    <a:pt x="12108" y="19298"/>
                  </a:cubicBezTo>
                  <a:cubicBezTo>
                    <a:pt x="12131" y="19333"/>
                    <a:pt x="12198" y="19359"/>
                    <a:pt x="12263" y="19358"/>
                  </a:cubicBezTo>
                  <a:cubicBezTo>
                    <a:pt x="12329" y="19353"/>
                    <a:pt x="12407" y="19333"/>
                    <a:pt x="12435" y="19309"/>
                  </a:cubicBezTo>
                  <a:cubicBezTo>
                    <a:pt x="12464" y="19285"/>
                    <a:pt x="12469" y="19227"/>
                    <a:pt x="12445" y="19181"/>
                  </a:cubicBezTo>
                  <a:cubicBezTo>
                    <a:pt x="12421" y="19133"/>
                    <a:pt x="12435" y="19053"/>
                    <a:pt x="12477" y="19001"/>
                  </a:cubicBezTo>
                  <a:cubicBezTo>
                    <a:pt x="12515" y="18948"/>
                    <a:pt x="12587" y="18832"/>
                    <a:pt x="12625" y="18739"/>
                  </a:cubicBezTo>
                  <a:cubicBezTo>
                    <a:pt x="12664" y="18646"/>
                    <a:pt x="12683" y="18499"/>
                    <a:pt x="12669" y="18412"/>
                  </a:cubicBezTo>
                  <a:cubicBezTo>
                    <a:pt x="12660" y="18324"/>
                    <a:pt x="12682" y="18186"/>
                    <a:pt x="12719" y="18100"/>
                  </a:cubicBezTo>
                  <a:cubicBezTo>
                    <a:pt x="12768" y="18017"/>
                    <a:pt x="12829" y="17886"/>
                    <a:pt x="12858" y="17810"/>
                  </a:cubicBezTo>
                  <a:cubicBezTo>
                    <a:pt x="12895" y="17736"/>
                    <a:pt x="12919" y="17736"/>
                    <a:pt x="12916" y="17813"/>
                  </a:cubicBezTo>
                  <a:cubicBezTo>
                    <a:pt x="12914" y="17889"/>
                    <a:pt x="12880" y="18000"/>
                    <a:pt x="12853" y="18062"/>
                  </a:cubicBezTo>
                  <a:cubicBezTo>
                    <a:pt x="12822" y="18123"/>
                    <a:pt x="12798" y="18223"/>
                    <a:pt x="12796" y="18283"/>
                  </a:cubicBezTo>
                  <a:cubicBezTo>
                    <a:pt x="12796" y="18344"/>
                    <a:pt x="12855" y="18446"/>
                    <a:pt x="12926" y="18510"/>
                  </a:cubicBezTo>
                  <a:cubicBezTo>
                    <a:pt x="12998" y="18575"/>
                    <a:pt x="13084" y="18608"/>
                    <a:pt x="13111" y="18581"/>
                  </a:cubicBezTo>
                  <a:cubicBezTo>
                    <a:pt x="13144" y="18557"/>
                    <a:pt x="13167" y="18487"/>
                    <a:pt x="13173" y="18429"/>
                  </a:cubicBezTo>
                  <a:cubicBezTo>
                    <a:pt x="13181" y="18372"/>
                    <a:pt x="13224" y="18268"/>
                    <a:pt x="13284" y="18203"/>
                  </a:cubicBezTo>
                  <a:cubicBezTo>
                    <a:pt x="13337" y="18135"/>
                    <a:pt x="13423" y="18017"/>
                    <a:pt x="13455" y="17935"/>
                  </a:cubicBezTo>
                  <a:cubicBezTo>
                    <a:pt x="13491" y="17854"/>
                    <a:pt x="13568" y="17761"/>
                    <a:pt x="13627" y="17730"/>
                  </a:cubicBezTo>
                  <a:cubicBezTo>
                    <a:pt x="13686" y="17698"/>
                    <a:pt x="13715" y="17667"/>
                    <a:pt x="13699" y="17652"/>
                  </a:cubicBezTo>
                  <a:cubicBezTo>
                    <a:pt x="13676" y="17644"/>
                    <a:pt x="13625" y="17562"/>
                    <a:pt x="13567" y="17484"/>
                  </a:cubicBezTo>
                  <a:cubicBezTo>
                    <a:pt x="13517" y="17403"/>
                    <a:pt x="13477" y="17282"/>
                    <a:pt x="13491" y="17215"/>
                  </a:cubicBezTo>
                  <a:cubicBezTo>
                    <a:pt x="13496" y="17148"/>
                    <a:pt x="13480" y="17097"/>
                    <a:pt x="13447" y="17093"/>
                  </a:cubicBezTo>
                  <a:cubicBezTo>
                    <a:pt x="13414" y="17096"/>
                    <a:pt x="13417" y="17058"/>
                    <a:pt x="13445" y="17011"/>
                  </a:cubicBezTo>
                  <a:cubicBezTo>
                    <a:pt x="13472" y="16965"/>
                    <a:pt x="13476" y="16890"/>
                    <a:pt x="13458" y="16837"/>
                  </a:cubicBezTo>
                  <a:cubicBezTo>
                    <a:pt x="13431" y="16788"/>
                    <a:pt x="13388" y="16721"/>
                    <a:pt x="13356" y="16692"/>
                  </a:cubicBezTo>
                  <a:cubicBezTo>
                    <a:pt x="13325" y="16663"/>
                    <a:pt x="13368" y="16614"/>
                    <a:pt x="13458" y="16590"/>
                  </a:cubicBezTo>
                  <a:cubicBezTo>
                    <a:pt x="13544" y="16561"/>
                    <a:pt x="13637" y="16522"/>
                    <a:pt x="13659" y="16499"/>
                  </a:cubicBezTo>
                  <a:cubicBezTo>
                    <a:pt x="13682" y="16476"/>
                    <a:pt x="13761" y="16421"/>
                    <a:pt x="13833" y="16375"/>
                  </a:cubicBezTo>
                  <a:cubicBezTo>
                    <a:pt x="13908" y="16331"/>
                    <a:pt x="13947" y="16279"/>
                    <a:pt x="13921" y="16265"/>
                  </a:cubicBezTo>
                  <a:cubicBezTo>
                    <a:pt x="13901" y="16246"/>
                    <a:pt x="13834" y="16263"/>
                    <a:pt x="13779" y="16285"/>
                  </a:cubicBezTo>
                  <a:cubicBezTo>
                    <a:pt x="13729" y="16315"/>
                    <a:pt x="13604" y="16352"/>
                    <a:pt x="13510" y="16380"/>
                  </a:cubicBezTo>
                  <a:cubicBezTo>
                    <a:pt x="13413" y="16402"/>
                    <a:pt x="13316" y="16410"/>
                    <a:pt x="13285" y="16397"/>
                  </a:cubicBezTo>
                  <a:cubicBezTo>
                    <a:pt x="13262" y="16375"/>
                    <a:pt x="13251" y="16348"/>
                    <a:pt x="13274" y="16328"/>
                  </a:cubicBezTo>
                  <a:cubicBezTo>
                    <a:pt x="13296" y="16308"/>
                    <a:pt x="13337" y="16265"/>
                    <a:pt x="13353" y="16229"/>
                  </a:cubicBezTo>
                  <a:cubicBezTo>
                    <a:pt x="13379" y="16197"/>
                    <a:pt x="13443" y="16130"/>
                    <a:pt x="13506" y="16084"/>
                  </a:cubicBezTo>
                  <a:cubicBezTo>
                    <a:pt x="13569" y="16039"/>
                    <a:pt x="13645" y="15959"/>
                    <a:pt x="13680" y="15909"/>
                  </a:cubicBezTo>
                  <a:cubicBezTo>
                    <a:pt x="13710" y="15858"/>
                    <a:pt x="13729" y="15788"/>
                    <a:pt x="13705" y="15755"/>
                  </a:cubicBezTo>
                  <a:cubicBezTo>
                    <a:pt x="13684" y="15721"/>
                    <a:pt x="13637" y="15695"/>
                    <a:pt x="13596" y="15701"/>
                  </a:cubicBezTo>
                  <a:cubicBezTo>
                    <a:pt x="13556" y="15707"/>
                    <a:pt x="13513" y="15735"/>
                    <a:pt x="13497" y="15764"/>
                  </a:cubicBezTo>
                  <a:cubicBezTo>
                    <a:pt x="13484" y="15794"/>
                    <a:pt x="13433" y="15854"/>
                    <a:pt x="13387" y="15899"/>
                  </a:cubicBezTo>
                  <a:cubicBezTo>
                    <a:pt x="13340" y="15943"/>
                    <a:pt x="13312" y="15952"/>
                    <a:pt x="13316" y="15917"/>
                  </a:cubicBezTo>
                  <a:cubicBezTo>
                    <a:pt x="13330" y="15884"/>
                    <a:pt x="13307" y="15868"/>
                    <a:pt x="13282" y="15887"/>
                  </a:cubicBezTo>
                  <a:cubicBezTo>
                    <a:pt x="13257" y="15905"/>
                    <a:pt x="13154" y="15942"/>
                    <a:pt x="13056" y="15971"/>
                  </a:cubicBezTo>
                  <a:cubicBezTo>
                    <a:pt x="12956" y="15995"/>
                    <a:pt x="12876" y="16009"/>
                    <a:pt x="12868" y="15992"/>
                  </a:cubicBezTo>
                  <a:cubicBezTo>
                    <a:pt x="12865" y="15974"/>
                    <a:pt x="12914" y="15929"/>
                    <a:pt x="12981" y="15892"/>
                  </a:cubicBezTo>
                  <a:cubicBezTo>
                    <a:pt x="13047" y="15853"/>
                    <a:pt x="13119" y="15804"/>
                    <a:pt x="13142" y="15783"/>
                  </a:cubicBezTo>
                  <a:cubicBezTo>
                    <a:pt x="13166" y="15762"/>
                    <a:pt x="13164" y="15727"/>
                    <a:pt x="13144" y="15708"/>
                  </a:cubicBezTo>
                  <a:cubicBezTo>
                    <a:pt x="13123" y="15689"/>
                    <a:pt x="13120" y="15628"/>
                    <a:pt x="13127" y="15574"/>
                  </a:cubicBezTo>
                  <a:cubicBezTo>
                    <a:pt x="13142" y="15520"/>
                    <a:pt x="13118" y="15460"/>
                    <a:pt x="13085" y="15439"/>
                  </a:cubicBezTo>
                  <a:cubicBezTo>
                    <a:pt x="13050" y="15421"/>
                    <a:pt x="12990" y="15420"/>
                    <a:pt x="12952" y="15443"/>
                  </a:cubicBezTo>
                  <a:cubicBezTo>
                    <a:pt x="12909" y="15461"/>
                    <a:pt x="12856" y="15526"/>
                    <a:pt x="12832" y="15580"/>
                  </a:cubicBezTo>
                  <a:cubicBezTo>
                    <a:pt x="12810" y="15634"/>
                    <a:pt x="12754" y="15703"/>
                    <a:pt x="12725" y="15741"/>
                  </a:cubicBezTo>
                  <a:cubicBezTo>
                    <a:pt x="12696" y="15779"/>
                    <a:pt x="12656" y="15798"/>
                    <a:pt x="12641" y="15797"/>
                  </a:cubicBezTo>
                  <a:cubicBezTo>
                    <a:pt x="12631" y="15787"/>
                    <a:pt x="12639" y="15733"/>
                    <a:pt x="12646" y="15667"/>
                  </a:cubicBezTo>
                  <a:cubicBezTo>
                    <a:pt x="12668" y="15601"/>
                    <a:pt x="12676" y="15518"/>
                    <a:pt x="12678" y="15482"/>
                  </a:cubicBezTo>
                  <a:cubicBezTo>
                    <a:pt x="12678" y="15447"/>
                    <a:pt x="12653" y="15417"/>
                    <a:pt x="12623" y="15421"/>
                  </a:cubicBezTo>
                  <a:cubicBezTo>
                    <a:pt x="12593" y="15421"/>
                    <a:pt x="12597" y="15389"/>
                    <a:pt x="12618" y="15342"/>
                  </a:cubicBezTo>
                  <a:cubicBezTo>
                    <a:pt x="12649" y="15297"/>
                    <a:pt x="12646" y="15262"/>
                    <a:pt x="12620" y="15269"/>
                  </a:cubicBezTo>
                  <a:cubicBezTo>
                    <a:pt x="12594" y="15277"/>
                    <a:pt x="12571" y="15266"/>
                    <a:pt x="12569" y="15250"/>
                  </a:cubicBezTo>
                  <a:cubicBezTo>
                    <a:pt x="12563" y="15234"/>
                    <a:pt x="12580" y="15216"/>
                    <a:pt x="12588" y="15206"/>
                  </a:cubicBezTo>
                  <a:cubicBezTo>
                    <a:pt x="12602" y="15200"/>
                    <a:pt x="12605" y="15166"/>
                    <a:pt x="12610" y="15135"/>
                  </a:cubicBezTo>
                  <a:cubicBezTo>
                    <a:pt x="12610" y="15105"/>
                    <a:pt x="12582" y="15076"/>
                    <a:pt x="12547" y="15079"/>
                  </a:cubicBezTo>
                  <a:cubicBezTo>
                    <a:pt x="12513" y="15074"/>
                    <a:pt x="12513" y="15058"/>
                    <a:pt x="12538" y="15029"/>
                  </a:cubicBezTo>
                  <a:cubicBezTo>
                    <a:pt x="12568" y="15003"/>
                    <a:pt x="12651" y="14965"/>
                    <a:pt x="12723" y="14943"/>
                  </a:cubicBezTo>
                  <a:cubicBezTo>
                    <a:pt x="12796" y="14923"/>
                    <a:pt x="12889" y="14884"/>
                    <a:pt x="12932" y="14860"/>
                  </a:cubicBezTo>
                  <a:cubicBezTo>
                    <a:pt x="12973" y="14833"/>
                    <a:pt x="12986" y="14797"/>
                    <a:pt x="12955" y="14776"/>
                  </a:cubicBezTo>
                  <a:cubicBezTo>
                    <a:pt x="12920" y="14759"/>
                    <a:pt x="12846" y="14742"/>
                    <a:pt x="12783" y="14754"/>
                  </a:cubicBezTo>
                  <a:cubicBezTo>
                    <a:pt x="12720" y="14761"/>
                    <a:pt x="12651" y="14760"/>
                    <a:pt x="12628" y="14752"/>
                  </a:cubicBezTo>
                  <a:cubicBezTo>
                    <a:pt x="12606" y="14743"/>
                    <a:pt x="12626" y="14702"/>
                    <a:pt x="12672" y="14661"/>
                  </a:cubicBezTo>
                  <a:cubicBezTo>
                    <a:pt x="12721" y="14623"/>
                    <a:pt x="12821" y="14556"/>
                    <a:pt x="12896" y="14513"/>
                  </a:cubicBezTo>
                  <a:cubicBezTo>
                    <a:pt x="12972" y="14471"/>
                    <a:pt x="13041" y="14425"/>
                    <a:pt x="13049" y="14408"/>
                  </a:cubicBezTo>
                  <a:cubicBezTo>
                    <a:pt x="13057" y="14390"/>
                    <a:pt x="13040" y="14363"/>
                    <a:pt x="13021" y="14343"/>
                  </a:cubicBezTo>
                  <a:cubicBezTo>
                    <a:pt x="13000" y="14324"/>
                    <a:pt x="12893" y="14332"/>
                    <a:pt x="12785" y="14351"/>
                  </a:cubicBezTo>
                  <a:cubicBezTo>
                    <a:pt x="12679" y="14375"/>
                    <a:pt x="12572" y="14413"/>
                    <a:pt x="12549" y="14438"/>
                  </a:cubicBezTo>
                  <a:cubicBezTo>
                    <a:pt x="12526" y="14464"/>
                    <a:pt x="12462" y="14521"/>
                    <a:pt x="12407" y="14566"/>
                  </a:cubicBezTo>
                  <a:cubicBezTo>
                    <a:pt x="12353" y="14612"/>
                    <a:pt x="12189" y="14693"/>
                    <a:pt x="12043" y="14743"/>
                  </a:cubicBezTo>
                  <a:cubicBezTo>
                    <a:pt x="11897" y="14794"/>
                    <a:pt x="11841" y="14795"/>
                    <a:pt x="11921" y="14747"/>
                  </a:cubicBezTo>
                  <a:cubicBezTo>
                    <a:pt x="12000" y="14697"/>
                    <a:pt x="12166" y="14587"/>
                    <a:pt x="12289" y="14502"/>
                  </a:cubicBezTo>
                  <a:cubicBezTo>
                    <a:pt x="12414" y="14418"/>
                    <a:pt x="12562" y="14301"/>
                    <a:pt x="12626" y="14248"/>
                  </a:cubicBezTo>
                  <a:cubicBezTo>
                    <a:pt x="12689" y="14193"/>
                    <a:pt x="12743" y="14127"/>
                    <a:pt x="12747" y="14103"/>
                  </a:cubicBezTo>
                  <a:cubicBezTo>
                    <a:pt x="12755" y="14080"/>
                    <a:pt x="12707" y="14073"/>
                    <a:pt x="12643" y="14085"/>
                  </a:cubicBezTo>
                  <a:cubicBezTo>
                    <a:pt x="12582" y="14103"/>
                    <a:pt x="12506" y="14108"/>
                    <a:pt x="12479" y="14105"/>
                  </a:cubicBezTo>
                  <a:cubicBezTo>
                    <a:pt x="12453" y="14096"/>
                    <a:pt x="12456" y="14068"/>
                    <a:pt x="12498" y="14036"/>
                  </a:cubicBezTo>
                  <a:cubicBezTo>
                    <a:pt x="12534" y="14000"/>
                    <a:pt x="12555" y="13959"/>
                    <a:pt x="12544" y="13938"/>
                  </a:cubicBezTo>
                  <a:cubicBezTo>
                    <a:pt x="12526" y="13921"/>
                    <a:pt x="12481" y="13915"/>
                    <a:pt x="12438" y="13932"/>
                  </a:cubicBezTo>
                  <a:cubicBezTo>
                    <a:pt x="12393" y="13947"/>
                    <a:pt x="12368" y="13937"/>
                    <a:pt x="12376" y="13906"/>
                  </a:cubicBezTo>
                  <a:cubicBezTo>
                    <a:pt x="12386" y="13875"/>
                    <a:pt x="12444" y="13817"/>
                    <a:pt x="12494" y="13768"/>
                  </a:cubicBezTo>
                  <a:cubicBezTo>
                    <a:pt x="12553" y="13724"/>
                    <a:pt x="12617" y="13641"/>
                    <a:pt x="12637" y="13587"/>
                  </a:cubicBezTo>
                  <a:cubicBezTo>
                    <a:pt x="12661" y="13533"/>
                    <a:pt x="12618" y="13490"/>
                    <a:pt x="12545" y="13490"/>
                  </a:cubicBezTo>
                  <a:cubicBezTo>
                    <a:pt x="12472" y="13494"/>
                    <a:pt x="12371" y="13483"/>
                    <a:pt x="12320" y="13482"/>
                  </a:cubicBezTo>
                  <a:cubicBezTo>
                    <a:pt x="12269" y="13483"/>
                    <a:pt x="12154" y="13487"/>
                    <a:pt x="12063" y="13502"/>
                  </a:cubicBezTo>
                  <a:cubicBezTo>
                    <a:pt x="11974" y="13521"/>
                    <a:pt x="11881" y="13515"/>
                    <a:pt x="11860" y="13495"/>
                  </a:cubicBezTo>
                  <a:cubicBezTo>
                    <a:pt x="11833" y="13480"/>
                    <a:pt x="11887" y="13442"/>
                    <a:pt x="11972" y="13431"/>
                  </a:cubicBezTo>
                  <a:cubicBezTo>
                    <a:pt x="12055" y="13414"/>
                    <a:pt x="12180" y="13379"/>
                    <a:pt x="12253" y="13355"/>
                  </a:cubicBezTo>
                  <a:cubicBezTo>
                    <a:pt x="12323" y="13329"/>
                    <a:pt x="12418" y="13285"/>
                    <a:pt x="12463" y="13257"/>
                  </a:cubicBezTo>
                  <a:cubicBezTo>
                    <a:pt x="12506" y="13228"/>
                    <a:pt x="12554" y="13232"/>
                    <a:pt x="12571" y="13261"/>
                  </a:cubicBezTo>
                  <a:cubicBezTo>
                    <a:pt x="12587" y="13290"/>
                    <a:pt x="12597" y="13335"/>
                    <a:pt x="12597" y="13361"/>
                  </a:cubicBezTo>
                  <a:cubicBezTo>
                    <a:pt x="12599" y="13386"/>
                    <a:pt x="12649" y="13398"/>
                    <a:pt x="12708" y="13379"/>
                  </a:cubicBezTo>
                  <a:cubicBezTo>
                    <a:pt x="12770" y="13366"/>
                    <a:pt x="12864" y="13357"/>
                    <a:pt x="12912" y="13376"/>
                  </a:cubicBezTo>
                  <a:cubicBezTo>
                    <a:pt x="12963" y="13387"/>
                    <a:pt x="13001" y="13425"/>
                    <a:pt x="13003" y="13453"/>
                  </a:cubicBezTo>
                  <a:cubicBezTo>
                    <a:pt x="13005" y="13482"/>
                    <a:pt x="12969" y="13533"/>
                    <a:pt x="12935" y="13572"/>
                  </a:cubicBezTo>
                  <a:cubicBezTo>
                    <a:pt x="12898" y="13608"/>
                    <a:pt x="12866" y="13665"/>
                    <a:pt x="12862" y="13698"/>
                  </a:cubicBezTo>
                  <a:cubicBezTo>
                    <a:pt x="12857" y="13731"/>
                    <a:pt x="12900" y="13790"/>
                    <a:pt x="12947" y="13834"/>
                  </a:cubicBezTo>
                  <a:cubicBezTo>
                    <a:pt x="13000" y="13874"/>
                    <a:pt x="13059" y="13909"/>
                    <a:pt x="13083" y="13901"/>
                  </a:cubicBezTo>
                  <a:cubicBezTo>
                    <a:pt x="13108" y="13896"/>
                    <a:pt x="13159" y="13848"/>
                    <a:pt x="13200" y="13797"/>
                  </a:cubicBezTo>
                  <a:cubicBezTo>
                    <a:pt x="13243" y="13747"/>
                    <a:pt x="13286" y="13723"/>
                    <a:pt x="13309" y="13744"/>
                  </a:cubicBezTo>
                  <a:cubicBezTo>
                    <a:pt x="13321" y="13770"/>
                    <a:pt x="13409" y="13775"/>
                    <a:pt x="13487" y="13766"/>
                  </a:cubicBezTo>
                  <a:cubicBezTo>
                    <a:pt x="13563" y="13753"/>
                    <a:pt x="13664" y="13730"/>
                    <a:pt x="13711" y="13711"/>
                  </a:cubicBezTo>
                  <a:cubicBezTo>
                    <a:pt x="13755" y="13689"/>
                    <a:pt x="13804" y="13653"/>
                    <a:pt x="13824" y="13631"/>
                  </a:cubicBezTo>
                  <a:cubicBezTo>
                    <a:pt x="13838" y="13607"/>
                    <a:pt x="13829" y="13585"/>
                    <a:pt x="13801" y="13587"/>
                  </a:cubicBezTo>
                  <a:cubicBezTo>
                    <a:pt x="13773" y="13585"/>
                    <a:pt x="13769" y="13559"/>
                    <a:pt x="13785" y="13522"/>
                  </a:cubicBezTo>
                  <a:cubicBezTo>
                    <a:pt x="13805" y="13487"/>
                    <a:pt x="13809" y="13426"/>
                    <a:pt x="13808" y="13386"/>
                  </a:cubicBezTo>
                  <a:cubicBezTo>
                    <a:pt x="13795" y="13346"/>
                    <a:pt x="13777" y="13283"/>
                    <a:pt x="13739" y="13257"/>
                  </a:cubicBezTo>
                  <a:cubicBezTo>
                    <a:pt x="13716" y="13222"/>
                    <a:pt x="13646" y="13208"/>
                    <a:pt x="13601" y="13208"/>
                  </a:cubicBezTo>
                  <a:cubicBezTo>
                    <a:pt x="13557" y="13206"/>
                    <a:pt x="13548" y="13177"/>
                    <a:pt x="13588" y="13136"/>
                  </a:cubicBezTo>
                  <a:cubicBezTo>
                    <a:pt x="13620" y="13091"/>
                    <a:pt x="13660" y="13031"/>
                    <a:pt x="13668" y="12998"/>
                  </a:cubicBezTo>
                  <a:cubicBezTo>
                    <a:pt x="13678" y="12965"/>
                    <a:pt x="13658" y="12920"/>
                    <a:pt x="13628" y="12902"/>
                  </a:cubicBezTo>
                  <a:cubicBezTo>
                    <a:pt x="13597" y="12885"/>
                    <a:pt x="13599" y="12852"/>
                    <a:pt x="13627" y="12832"/>
                  </a:cubicBezTo>
                  <a:cubicBezTo>
                    <a:pt x="13654" y="12812"/>
                    <a:pt x="13696" y="12805"/>
                    <a:pt x="13722" y="12813"/>
                  </a:cubicBezTo>
                  <a:cubicBezTo>
                    <a:pt x="13745" y="12824"/>
                    <a:pt x="13756" y="12868"/>
                    <a:pt x="13761" y="12917"/>
                  </a:cubicBezTo>
                  <a:cubicBezTo>
                    <a:pt x="13759" y="12965"/>
                    <a:pt x="13774" y="13023"/>
                    <a:pt x="13798" y="13044"/>
                  </a:cubicBezTo>
                  <a:cubicBezTo>
                    <a:pt x="13821" y="13066"/>
                    <a:pt x="13890" y="13067"/>
                    <a:pt x="13950" y="13048"/>
                  </a:cubicBezTo>
                  <a:cubicBezTo>
                    <a:pt x="14008" y="13027"/>
                    <a:pt x="14059" y="13003"/>
                    <a:pt x="14050" y="12994"/>
                  </a:cubicBezTo>
                  <a:cubicBezTo>
                    <a:pt x="14049" y="12983"/>
                    <a:pt x="14055" y="12959"/>
                    <a:pt x="14075" y="12943"/>
                  </a:cubicBezTo>
                  <a:cubicBezTo>
                    <a:pt x="14094" y="12927"/>
                    <a:pt x="14144" y="12908"/>
                    <a:pt x="14189" y="12908"/>
                  </a:cubicBezTo>
                  <a:cubicBezTo>
                    <a:pt x="14233" y="12902"/>
                    <a:pt x="14267" y="12867"/>
                    <a:pt x="14284" y="12825"/>
                  </a:cubicBezTo>
                  <a:cubicBezTo>
                    <a:pt x="14290" y="12783"/>
                    <a:pt x="14284" y="12713"/>
                    <a:pt x="14258" y="12673"/>
                  </a:cubicBezTo>
                  <a:cubicBezTo>
                    <a:pt x="14233" y="12633"/>
                    <a:pt x="14167" y="12592"/>
                    <a:pt x="14109" y="12573"/>
                  </a:cubicBezTo>
                  <a:cubicBezTo>
                    <a:pt x="14049" y="12557"/>
                    <a:pt x="14052" y="12534"/>
                    <a:pt x="14118" y="12519"/>
                  </a:cubicBezTo>
                  <a:cubicBezTo>
                    <a:pt x="14184" y="12504"/>
                    <a:pt x="14261" y="12507"/>
                    <a:pt x="14290" y="12524"/>
                  </a:cubicBezTo>
                  <a:cubicBezTo>
                    <a:pt x="14320" y="12540"/>
                    <a:pt x="14359" y="12573"/>
                    <a:pt x="14388" y="12581"/>
                  </a:cubicBezTo>
                  <a:cubicBezTo>
                    <a:pt x="14413" y="12595"/>
                    <a:pt x="14487" y="12581"/>
                    <a:pt x="14554" y="12553"/>
                  </a:cubicBezTo>
                  <a:cubicBezTo>
                    <a:pt x="14620" y="12522"/>
                    <a:pt x="14673" y="12480"/>
                    <a:pt x="14673" y="12455"/>
                  </a:cubicBezTo>
                  <a:cubicBezTo>
                    <a:pt x="14662" y="12432"/>
                    <a:pt x="14681" y="12381"/>
                    <a:pt x="14698" y="12346"/>
                  </a:cubicBezTo>
                  <a:cubicBezTo>
                    <a:pt x="14705" y="12308"/>
                    <a:pt x="14740" y="12277"/>
                    <a:pt x="14756" y="12271"/>
                  </a:cubicBezTo>
                  <a:cubicBezTo>
                    <a:pt x="14771" y="12265"/>
                    <a:pt x="14800" y="12279"/>
                    <a:pt x="14819" y="12299"/>
                  </a:cubicBezTo>
                  <a:cubicBezTo>
                    <a:pt x="14839" y="12319"/>
                    <a:pt x="14881" y="12345"/>
                    <a:pt x="14916" y="12348"/>
                  </a:cubicBezTo>
                  <a:cubicBezTo>
                    <a:pt x="14950" y="12356"/>
                    <a:pt x="14970" y="12385"/>
                    <a:pt x="14956" y="12414"/>
                  </a:cubicBezTo>
                  <a:cubicBezTo>
                    <a:pt x="14943" y="12443"/>
                    <a:pt x="14907" y="12480"/>
                    <a:pt x="14876" y="12497"/>
                  </a:cubicBezTo>
                  <a:cubicBezTo>
                    <a:pt x="14847" y="12514"/>
                    <a:pt x="14794" y="12568"/>
                    <a:pt x="14768" y="12621"/>
                  </a:cubicBezTo>
                  <a:cubicBezTo>
                    <a:pt x="14734" y="12671"/>
                    <a:pt x="14720" y="12726"/>
                    <a:pt x="14720" y="12739"/>
                  </a:cubicBezTo>
                  <a:cubicBezTo>
                    <a:pt x="14721" y="12750"/>
                    <a:pt x="14756" y="12758"/>
                    <a:pt x="14792" y="12746"/>
                  </a:cubicBezTo>
                  <a:cubicBezTo>
                    <a:pt x="14831" y="12742"/>
                    <a:pt x="14878" y="12739"/>
                    <a:pt x="14902" y="12746"/>
                  </a:cubicBezTo>
                  <a:cubicBezTo>
                    <a:pt x="14926" y="12750"/>
                    <a:pt x="14931" y="12782"/>
                    <a:pt x="14925" y="12808"/>
                  </a:cubicBezTo>
                  <a:cubicBezTo>
                    <a:pt x="14913" y="12833"/>
                    <a:pt x="14873" y="12868"/>
                    <a:pt x="14831" y="12885"/>
                  </a:cubicBezTo>
                  <a:cubicBezTo>
                    <a:pt x="14794" y="12907"/>
                    <a:pt x="14733" y="12933"/>
                    <a:pt x="14709" y="12958"/>
                  </a:cubicBezTo>
                  <a:cubicBezTo>
                    <a:pt x="14681" y="12980"/>
                    <a:pt x="14686" y="13009"/>
                    <a:pt x="14717" y="13015"/>
                  </a:cubicBezTo>
                  <a:cubicBezTo>
                    <a:pt x="14748" y="13020"/>
                    <a:pt x="14808" y="13015"/>
                    <a:pt x="14852" y="12999"/>
                  </a:cubicBezTo>
                  <a:cubicBezTo>
                    <a:pt x="14897" y="12984"/>
                    <a:pt x="14943" y="12980"/>
                    <a:pt x="14956" y="12993"/>
                  </a:cubicBezTo>
                  <a:cubicBezTo>
                    <a:pt x="14968" y="13007"/>
                    <a:pt x="14955" y="13048"/>
                    <a:pt x="14934" y="13089"/>
                  </a:cubicBezTo>
                  <a:cubicBezTo>
                    <a:pt x="14909" y="13128"/>
                    <a:pt x="14897" y="13175"/>
                    <a:pt x="14911" y="13189"/>
                  </a:cubicBezTo>
                  <a:cubicBezTo>
                    <a:pt x="14925" y="13202"/>
                    <a:pt x="14956" y="13218"/>
                    <a:pt x="14988" y="13220"/>
                  </a:cubicBezTo>
                  <a:cubicBezTo>
                    <a:pt x="15019" y="13225"/>
                    <a:pt x="15092" y="13201"/>
                    <a:pt x="15146" y="13172"/>
                  </a:cubicBezTo>
                  <a:cubicBezTo>
                    <a:pt x="15201" y="13145"/>
                    <a:pt x="15385" y="13045"/>
                    <a:pt x="15557" y="12953"/>
                  </a:cubicBezTo>
                  <a:cubicBezTo>
                    <a:pt x="15728" y="12861"/>
                    <a:pt x="15933" y="12730"/>
                    <a:pt x="16009" y="12661"/>
                  </a:cubicBezTo>
                  <a:cubicBezTo>
                    <a:pt x="16088" y="12594"/>
                    <a:pt x="16140" y="12566"/>
                    <a:pt x="16134" y="12602"/>
                  </a:cubicBezTo>
                  <a:cubicBezTo>
                    <a:pt x="16121" y="12637"/>
                    <a:pt x="16090" y="12692"/>
                    <a:pt x="16051" y="12719"/>
                  </a:cubicBezTo>
                  <a:cubicBezTo>
                    <a:pt x="16014" y="12748"/>
                    <a:pt x="15958" y="12795"/>
                    <a:pt x="15927" y="12825"/>
                  </a:cubicBezTo>
                  <a:cubicBezTo>
                    <a:pt x="15897" y="12856"/>
                    <a:pt x="15799" y="12920"/>
                    <a:pt x="15705" y="12963"/>
                  </a:cubicBezTo>
                  <a:cubicBezTo>
                    <a:pt x="15614" y="13008"/>
                    <a:pt x="15430" y="13126"/>
                    <a:pt x="15298" y="13225"/>
                  </a:cubicBezTo>
                  <a:cubicBezTo>
                    <a:pt x="15169" y="13326"/>
                    <a:pt x="15042" y="13419"/>
                    <a:pt x="15038" y="13441"/>
                  </a:cubicBezTo>
                  <a:cubicBezTo>
                    <a:pt x="15021" y="13459"/>
                    <a:pt x="15055" y="13481"/>
                    <a:pt x="15099" y="13484"/>
                  </a:cubicBezTo>
                  <a:cubicBezTo>
                    <a:pt x="15144" y="13488"/>
                    <a:pt x="15242" y="13472"/>
                    <a:pt x="15319" y="13450"/>
                  </a:cubicBezTo>
                  <a:cubicBezTo>
                    <a:pt x="15395" y="13427"/>
                    <a:pt x="15553" y="13348"/>
                    <a:pt x="15677" y="13280"/>
                  </a:cubicBezTo>
                  <a:cubicBezTo>
                    <a:pt x="15797" y="13208"/>
                    <a:pt x="15936" y="13146"/>
                    <a:pt x="15983" y="13134"/>
                  </a:cubicBezTo>
                  <a:cubicBezTo>
                    <a:pt x="16031" y="13123"/>
                    <a:pt x="16157" y="13078"/>
                    <a:pt x="16261" y="13027"/>
                  </a:cubicBezTo>
                  <a:cubicBezTo>
                    <a:pt x="16364" y="12977"/>
                    <a:pt x="16490" y="12899"/>
                    <a:pt x="16538" y="12853"/>
                  </a:cubicBezTo>
                  <a:cubicBezTo>
                    <a:pt x="16582" y="12805"/>
                    <a:pt x="16661" y="12750"/>
                    <a:pt x="16707" y="12728"/>
                  </a:cubicBezTo>
                  <a:cubicBezTo>
                    <a:pt x="16755" y="12708"/>
                    <a:pt x="16864" y="12644"/>
                    <a:pt x="16948" y="12588"/>
                  </a:cubicBezTo>
                  <a:cubicBezTo>
                    <a:pt x="17036" y="12536"/>
                    <a:pt x="17135" y="12484"/>
                    <a:pt x="17168" y="12471"/>
                  </a:cubicBezTo>
                  <a:cubicBezTo>
                    <a:pt x="17203" y="12461"/>
                    <a:pt x="17236" y="12466"/>
                    <a:pt x="17231" y="12483"/>
                  </a:cubicBezTo>
                  <a:cubicBezTo>
                    <a:pt x="17233" y="12500"/>
                    <a:pt x="17197" y="12527"/>
                    <a:pt x="17163" y="12549"/>
                  </a:cubicBezTo>
                  <a:cubicBezTo>
                    <a:pt x="17126" y="12570"/>
                    <a:pt x="17031" y="12628"/>
                    <a:pt x="16960" y="12684"/>
                  </a:cubicBezTo>
                  <a:cubicBezTo>
                    <a:pt x="16883" y="12737"/>
                    <a:pt x="16786" y="12825"/>
                    <a:pt x="16740" y="12876"/>
                  </a:cubicBezTo>
                  <a:cubicBezTo>
                    <a:pt x="16693" y="12927"/>
                    <a:pt x="16605" y="12993"/>
                    <a:pt x="16546" y="13026"/>
                  </a:cubicBezTo>
                  <a:cubicBezTo>
                    <a:pt x="16488" y="13061"/>
                    <a:pt x="16378" y="13127"/>
                    <a:pt x="16300" y="13174"/>
                  </a:cubicBezTo>
                  <a:cubicBezTo>
                    <a:pt x="16224" y="13222"/>
                    <a:pt x="16095" y="13285"/>
                    <a:pt x="16011" y="13311"/>
                  </a:cubicBezTo>
                  <a:cubicBezTo>
                    <a:pt x="15929" y="13341"/>
                    <a:pt x="15827" y="13376"/>
                    <a:pt x="15786" y="13390"/>
                  </a:cubicBezTo>
                  <a:cubicBezTo>
                    <a:pt x="15746" y="13408"/>
                    <a:pt x="15649" y="13481"/>
                    <a:pt x="15563" y="13548"/>
                  </a:cubicBezTo>
                  <a:cubicBezTo>
                    <a:pt x="15479" y="13617"/>
                    <a:pt x="15404" y="13698"/>
                    <a:pt x="15387" y="13722"/>
                  </a:cubicBezTo>
                  <a:cubicBezTo>
                    <a:pt x="15376" y="13748"/>
                    <a:pt x="15377" y="13775"/>
                    <a:pt x="15398" y="13781"/>
                  </a:cubicBezTo>
                  <a:cubicBezTo>
                    <a:pt x="15418" y="13791"/>
                    <a:pt x="15471" y="13771"/>
                    <a:pt x="15519" y="13748"/>
                  </a:cubicBezTo>
                  <a:cubicBezTo>
                    <a:pt x="15560" y="13719"/>
                    <a:pt x="15647" y="13688"/>
                    <a:pt x="15705" y="13678"/>
                  </a:cubicBezTo>
                  <a:cubicBezTo>
                    <a:pt x="15762" y="13666"/>
                    <a:pt x="15843" y="13658"/>
                    <a:pt x="15884" y="13664"/>
                  </a:cubicBezTo>
                  <a:cubicBezTo>
                    <a:pt x="15923" y="13671"/>
                    <a:pt x="15912" y="13691"/>
                    <a:pt x="15854" y="13711"/>
                  </a:cubicBezTo>
                  <a:cubicBezTo>
                    <a:pt x="15798" y="13735"/>
                    <a:pt x="15701" y="13771"/>
                    <a:pt x="15644" y="13798"/>
                  </a:cubicBezTo>
                  <a:cubicBezTo>
                    <a:pt x="15586" y="13826"/>
                    <a:pt x="15503" y="13862"/>
                    <a:pt x="15459" y="13881"/>
                  </a:cubicBezTo>
                  <a:cubicBezTo>
                    <a:pt x="15416" y="13900"/>
                    <a:pt x="15376" y="13937"/>
                    <a:pt x="15374" y="13962"/>
                  </a:cubicBezTo>
                  <a:cubicBezTo>
                    <a:pt x="15370" y="13987"/>
                    <a:pt x="15389" y="14013"/>
                    <a:pt x="15418" y="14015"/>
                  </a:cubicBezTo>
                  <a:cubicBezTo>
                    <a:pt x="15444" y="14027"/>
                    <a:pt x="15514" y="14003"/>
                    <a:pt x="15566" y="13979"/>
                  </a:cubicBezTo>
                  <a:cubicBezTo>
                    <a:pt x="15620" y="13957"/>
                    <a:pt x="15691" y="13924"/>
                    <a:pt x="15728" y="13911"/>
                  </a:cubicBezTo>
                  <a:cubicBezTo>
                    <a:pt x="15765" y="13895"/>
                    <a:pt x="15740" y="13932"/>
                    <a:pt x="15671" y="13988"/>
                  </a:cubicBezTo>
                  <a:cubicBezTo>
                    <a:pt x="15605" y="14046"/>
                    <a:pt x="15495" y="14112"/>
                    <a:pt x="15429" y="14133"/>
                  </a:cubicBezTo>
                  <a:cubicBezTo>
                    <a:pt x="15366" y="14157"/>
                    <a:pt x="15293" y="14198"/>
                    <a:pt x="15269" y="14225"/>
                  </a:cubicBezTo>
                  <a:cubicBezTo>
                    <a:pt x="15249" y="14254"/>
                    <a:pt x="15232" y="14286"/>
                    <a:pt x="15235" y="14302"/>
                  </a:cubicBezTo>
                  <a:cubicBezTo>
                    <a:pt x="15249" y="14313"/>
                    <a:pt x="15285" y="14331"/>
                    <a:pt x="15333" y="14328"/>
                  </a:cubicBezTo>
                  <a:cubicBezTo>
                    <a:pt x="15381" y="14324"/>
                    <a:pt x="15462" y="14305"/>
                    <a:pt x="15515" y="14291"/>
                  </a:cubicBezTo>
                  <a:cubicBezTo>
                    <a:pt x="15567" y="14271"/>
                    <a:pt x="15657" y="14251"/>
                    <a:pt x="15712" y="14242"/>
                  </a:cubicBezTo>
                  <a:cubicBezTo>
                    <a:pt x="15767" y="14233"/>
                    <a:pt x="15820" y="14238"/>
                    <a:pt x="15830" y="14248"/>
                  </a:cubicBezTo>
                  <a:cubicBezTo>
                    <a:pt x="15840" y="14259"/>
                    <a:pt x="15810" y="14280"/>
                    <a:pt x="15770" y="14301"/>
                  </a:cubicBezTo>
                  <a:cubicBezTo>
                    <a:pt x="15726" y="14317"/>
                    <a:pt x="15687" y="14343"/>
                    <a:pt x="15682" y="14356"/>
                  </a:cubicBezTo>
                  <a:cubicBezTo>
                    <a:pt x="15673" y="14367"/>
                    <a:pt x="15607" y="14405"/>
                    <a:pt x="15530" y="14441"/>
                  </a:cubicBezTo>
                  <a:cubicBezTo>
                    <a:pt x="15453" y="14476"/>
                    <a:pt x="15360" y="14524"/>
                    <a:pt x="15327" y="14551"/>
                  </a:cubicBezTo>
                  <a:cubicBezTo>
                    <a:pt x="15293" y="14577"/>
                    <a:pt x="15275" y="14623"/>
                    <a:pt x="15271" y="14652"/>
                  </a:cubicBezTo>
                  <a:cubicBezTo>
                    <a:pt x="15275" y="14682"/>
                    <a:pt x="15291" y="14728"/>
                    <a:pt x="15305" y="14758"/>
                  </a:cubicBezTo>
                  <a:cubicBezTo>
                    <a:pt x="15322" y="14786"/>
                    <a:pt x="15328" y="14837"/>
                    <a:pt x="15315" y="14868"/>
                  </a:cubicBezTo>
                  <a:cubicBezTo>
                    <a:pt x="15301" y="14899"/>
                    <a:pt x="15311" y="14932"/>
                    <a:pt x="15311" y="14944"/>
                  </a:cubicBezTo>
                  <a:cubicBezTo>
                    <a:pt x="15326" y="14946"/>
                    <a:pt x="15371" y="14924"/>
                    <a:pt x="15428" y="14882"/>
                  </a:cubicBezTo>
                  <a:cubicBezTo>
                    <a:pt x="15482" y="14838"/>
                    <a:pt x="15575" y="14757"/>
                    <a:pt x="15624" y="14696"/>
                  </a:cubicBezTo>
                  <a:cubicBezTo>
                    <a:pt x="15680" y="14639"/>
                    <a:pt x="15762" y="14557"/>
                    <a:pt x="15813" y="14518"/>
                  </a:cubicBezTo>
                  <a:cubicBezTo>
                    <a:pt x="15865" y="14481"/>
                    <a:pt x="15915" y="14454"/>
                    <a:pt x="15926" y="14454"/>
                  </a:cubicBezTo>
                  <a:cubicBezTo>
                    <a:pt x="15937" y="14450"/>
                    <a:pt x="15931" y="14480"/>
                    <a:pt x="15912" y="14507"/>
                  </a:cubicBezTo>
                  <a:cubicBezTo>
                    <a:pt x="15894" y="14535"/>
                    <a:pt x="15862" y="14573"/>
                    <a:pt x="15857" y="14596"/>
                  </a:cubicBezTo>
                  <a:cubicBezTo>
                    <a:pt x="15843" y="14617"/>
                    <a:pt x="15809" y="14655"/>
                    <a:pt x="15774" y="14678"/>
                  </a:cubicBezTo>
                  <a:cubicBezTo>
                    <a:pt x="15738" y="14700"/>
                    <a:pt x="15706" y="14734"/>
                    <a:pt x="15701" y="14753"/>
                  </a:cubicBezTo>
                  <a:cubicBezTo>
                    <a:pt x="15693" y="14770"/>
                    <a:pt x="15705" y="14802"/>
                    <a:pt x="15725" y="14821"/>
                  </a:cubicBezTo>
                  <a:cubicBezTo>
                    <a:pt x="15736" y="14844"/>
                    <a:pt x="15731" y="14883"/>
                    <a:pt x="15694" y="14912"/>
                  </a:cubicBezTo>
                  <a:cubicBezTo>
                    <a:pt x="15660" y="14944"/>
                    <a:pt x="15650" y="14988"/>
                    <a:pt x="15674" y="15012"/>
                  </a:cubicBezTo>
                  <a:cubicBezTo>
                    <a:pt x="15699" y="15037"/>
                    <a:pt x="15740" y="15056"/>
                    <a:pt x="15765" y="15052"/>
                  </a:cubicBezTo>
                  <a:cubicBezTo>
                    <a:pt x="15790" y="15052"/>
                    <a:pt x="15831" y="15021"/>
                    <a:pt x="15861" y="14988"/>
                  </a:cubicBezTo>
                  <a:cubicBezTo>
                    <a:pt x="15890" y="14957"/>
                    <a:pt x="15960" y="14905"/>
                    <a:pt x="16022" y="14879"/>
                  </a:cubicBezTo>
                  <a:cubicBezTo>
                    <a:pt x="16083" y="14852"/>
                    <a:pt x="16151" y="14819"/>
                    <a:pt x="16177" y="14816"/>
                  </a:cubicBezTo>
                  <a:cubicBezTo>
                    <a:pt x="16200" y="14806"/>
                    <a:pt x="16213" y="14821"/>
                    <a:pt x="16206" y="14844"/>
                  </a:cubicBezTo>
                  <a:cubicBezTo>
                    <a:pt x="16194" y="14867"/>
                    <a:pt x="16161" y="14916"/>
                    <a:pt x="16122" y="14948"/>
                  </a:cubicBezTo>
                  <a:cubicBezTo>
                    <a:pt x="16084" y="14982"/>
                    <a:pt x="16055" y="15024"/>
                    <a:pt x="16057" y="15040"/>
                  </a:cubicBezTo>
                  <a:cubicBezTo>
                    <a:pt x="16059" y="15057"/>
                    <a:pt x="16093" y="15070"/>
                    <a:pt x="16130" y="15076"/>
                  </a:cubicBezTo>
                  <a:cubicBezTo>
                    <a:pt x="16168" y="15076"/>
                    <a:pt x="16187" y="15099"/>
                    <a:pt x="16179" y="15123"/>
                  </a:cubicBezTo>
                  <a:cubicBezTo>
                    <a:pt x="16166" y="15145"/>
                    <a:pt x="16171" y="15170"/>
                    <a:pt x="16181" y="15180"/>
                  </a:cubicBezTo>
                  <a:cubicBezTo>
                    <a:pt x="16196" y="15183"/>
                    <a:pt x="16207" y="15213"/>
                    <a:pt x="16200" y="15234"/>
                  </a:cubicBezTo>
                  <a:cubicBezTo>
                    <a:pt x="16199" y="15256"/>
                    <a:pt x="16222" y="15277"/>
                    <a:pt x="16251" y="15280"/>
                  </a:cubicBezTo>
                  <a:cubicBezTo>
                    <a:pt x="16279" y="15284"/>
                    <a:pt x="16323" y="15263"/>
                    <a:pt x="16351" y="15237"/>
                  </a:cubicBezTo>
                  <a:cubicBezTo>
                    <a:pt x="16381" y="15213"/>
                    <a:pt x="16467" y="15160"/>
                    <a:pt x="16552" y="15131"/>
                  </a:cubicBezTo>
                  <a:cubicBezTo>
                    <a:pt x="16636" y="15098"/>
                    <a:pt x="16729" y="15036"/>
                    <a:pt x="16750" y="14990"/>
                  </a:cubicBezTo>
                  <a:cubicBezTo>
                    <a:pt x="16776" y="14945"/>
                    <a:pt x="16800" y="14885"/>
                    <a:pt x="16800" y="14856"/>
                  </a:cubicBezTo>
                  <a:cubicBezTo>
                    <a:pt x="16805" y="14827"/>
                    <a:pt x="16770" y="14784"/>
                    <a:pt x="16739" y="14753"/>
                  </a:cubicBezTo>
                  <a:cubicBezTo>
                    <a:pt x="16701" y="14726"/>
                    <a:pt x="16687" y="14695"/>
                    <a:pt x="16705" y="14687"/>
                  </a:cubicBezTo>
                  <a:cubicBezTo>
                    <a:pt x="16724" y="14681"/>
                    <a:pt x="16757" y="14686"/>
                    <a:pt x="16785" y="14690"/>
                  </a:cubicBezTo>
                  <a:cubicBezTo>
                    <a:pt x="16809" y="14703"/>
                    <a:pt x="16853" y="14706"/>
                    <a:pt x="16878" y="14700"/>
                  </a:cubicBezTo>
                  <a:cubicBezTo>
                    <a:pt x="16903" y="14698"/>
                    <a:pt x="16934" y="14667"/>
                    <a:pt x="16942" y="14636"/>
                  </a:cubicBezTo>
                  <a:cubicBezTo>
                    <a:pt x="16953" y="14605"/>
                    <a:pt x="16955" y="14550"/>
                    <a:pt x="16944" y="14515"/>
                  </a:cubicBezTo>
                  <a:cubicBezTo>
                    <a:pt x="16936" y="14479"/>
                    <a:pt x="16940" y="14429"/>
                    <a:pt x="16957" y="14403"/>
                  </a:cubicBezTo>
                  <a:cubicBezTo>
                    <a:pt x="16977" y="14378"/>
                    <a:pt x="17016" y="14342"/>
                    <a:pt x="17052" y="14329"/>
                  </a:cubicBezTo>
                  <a:cubicBezTo>
                    <a:pt x="17088" y="14316"/>
                    <a:pt x="17129" y="14274"/>
                    <a:pt x="17151" y="14240"/>
                  </a:cubicBezTo>
                  <a:cubicBezTo>
                    <a:pt x="17166" y="14204"/>
                    <a:pt x="17182" y="14160"/>
                    <a:pt x="17187" y="14139"/>
                  </a:cubicBezTo>
                  <a:cubicBezTo>
                    <a:pt x="17185" y="14118"/>
                    <a:pt x="17162" y="14108"/>
                    <a:pt x="17128" y="14114"/>
                  </a:cubicBezTo>
                  <a:cubicBezTo>
                    <a:pt x="17095" y="14121"/>
                    <a:pt x="17036" y="14116"/>
                    <a:pt x="17004" y="14097"/>
                  </a:cubicBezTo>
                  <a:cubicBezTo>
                    <a:pt x="16973" y="14078"/>
                    <a:pt x="16945" y="14052"/>
                    <a:pt x="16961" y="14038"/>
                  </a:cubicBezTo>
                  <a:cubicBezTo>
                    <a:pt x="16970" y="14019"/>
                    <a:pt x="16996" y="14017"/>
                    <a:pt x="17014" y="14015"/>
                  </a:cubicBezTo>
                  <a:cubicBezTo>
                    <a:pt x="17025" y="14027"/>
                    <a:pt x="17081" y="14017"/>
                    <a:pt x="17125" y="14021"/>
                  </a:cubicBezTo>
                  <a:cubicBezTo>
                    <a:pt x="17168" y="14018"/>
                    <a:pt x="17242" y="13989"/>
                    <a:pt x="17284" y="13952"/>
                  </a:cubicBezTo>
                  <a:cubicBezTo>
                    <a:pt x="17324" y="13914"/>
                    <a:pt x="17364" y="13870"/>
                    <a:pt x="17358" y="13851"/>
                  </a:cubicBezTo>
                  <a:cubicBezTo>
                    <a:pt x="17351" y="13832"/>
                    <a:pt x="17318" y="13817"/>
                    <a:pt x="17278" y="13821"/>
                  </a:cubicBezTo>
                  <a:cubicBezTo>
                    <a:pt x="17238" y="13822"/>
                    <a:pt x="17198" y="13814"/>
                    <a:pt x="17180" y="13808"/>
                  </a:cubicBezTo>
                  <a:cubicBezTo>
                    <a:pt x="17169" y="13796"/>
                    <a:pt x="17199" y="13783"/>
                    <a:pt x="17248" y="13767"/>
                  </a:cubicBezTo>
                  <a:cubicBezTo>
                    <a:pt x="17300" y="13757"/>
                    <a:pt x="17379" y="13726"/>
                    <a:pt x="17419" y="13696"/>
                  </a:cubicBezTo>
                  <a:cubicBezTo>
                    <a:pt x="17462" y="13671"/>
                    <a:pt x="17521" y="13588"/>
                    <a:pt x="17544" y="13515"/>
                  </a:cubicBezTo>
                  <a:cubicBezTo>
                    <a:pt x="17571" y="13442"/>
                    <a:pt x="17613" y="13357"/>
                    <a:pt x="17634" y="13324"/>
                  </a:cubicBezTo>
                  <a:cubicBezTo>
                    <a:pt x="17659" y="13293"/>
                    <a:pt x="17691" y="13276"/>
                    <a:pt x="17706" y="13293"/>
                  </a:cubicBezTo>
                  <a:cubicBezTo>
                    <a:pt x="17723" y="13308"/>
                    <a:pt x="17728" y="13354"/>
                    <a:pt x="17718" y="13395"/>
                  </a:cubicBezTo>
                  <a:cubicBezTo>
                    <a:pt x="17704" y="13435"/>
                    <a:pt x="17706" y="13498"/>
                    <a:pt x="17706" y="13533"/>
                  </a:cubicBezTo>
                  <a:cubicBezTo>
                    <a:pt x="17713" y="13569"/>
                    <a:pt x="17702" y="13631"/>
                    <a:pt x="17673" y="13667"/>
                  </a:cubicBezTo>
                  <a:cubicBezTo>
                    <a:pt x="17653" y="13706"/>
                    <a:pt x="17656" y="13737"/>
                    <a:pt x="17687" y="13742"/>
                  </a:cubicBezTo>
                  <a:cubicBezTo>
                    <a:pt x="17718" y="13746"/>
                    <a:pt x="17793" y="13735"/>
                    <a:pt x="17848" y="13714"/>
                  </a:cubicBezTo>
                  <a:cubicBezTo>
                    <a:pt x="17906" y="13700"/>
                    <a:pt x="17968" y="13653"/>
                    <a:pt x="17992" y="13621"/>
                  </a:cubicBezTo>
                  <a:cubicBezTo>
                    <a:pt x="18014" y="13589"/>
                    <a:pt x="18059" y="13550"/>
                    <a:pt x="18092" y="13536"/>
                  </a:cubicBezTo>
                  <a:cubicBezTo>
                    <a:pt x="18125" y="13522"/>
                    <a:pt x="18134" y="13550"/>
                    <a:pt x="18113" y="13601"/>
                  </a:cubicBezTo>
                  <a:cubicBezTo>
                    <a:pt x="18091" y="13651"/>
                    <a:pt x="18092" y="13702"/>
                    <a:pt x="18108" y="13717"/>
                  </a:cubicBezTo>
                  <a:cubicBezTo>
                    <a:pt x="18128" y="13728"/>
                    <a:pt x="18173" y="13736"/>
                    <a:pt x="18212" y="13727"/>
                  </a:cubicBezTo>
                  <a:cubicBezTo>
                    <a:pt x="18251" y="13717"/>
                    <a:pt x="18304" y="13701"/>
                    <a:pt x="18329" y="13686"/>
                  </a:cubicBezTo>
                  <a:cubicBezTo>
                    <a:pt x="18354" y="13671"/>
                    <a:pt x="18388" y="13603"/>
                    <a:pt x="18421" y="13539"/>
                  </a:cubicBezTo>
                  <a:cubicBezTo>
                    <a:pt x="18447" y="13473"/>
                    <a:pt x="18483" y="13379"/>
                    <a:pt x="18504" y="13329"/>
                  </a:cubicBezTo>
                  <a:cubicBezTo>
                    <a:pt x="18526" y="13281"/>
                    <a:pt x="18522" y="13230"/>
                    <a:pt x="18500" y="13219"/>
                  </a:cubicBezTo>
                  <a:cubicBezTo>
                    <a:pt x="18478" y="13208"/>
                    <a:pt x="18460" y="13185"/>
                    <a:pt x="18450" y="13175"/>
                  </a:cubicBezTo>
                  <a:cubicBezTo>
                    <a:pt x="18450" y="13161"/>
                    <a:pt x="18479" y="13150"/>
                    <a:pt x="18528" y="13157"/>
                  </a:cubicBezTo>
                  <a:cubicBezTo>
                    <a:pt x="18576" y="13163"/>
                    <a:pt x="18652" y="13171"/>
                    <a:pt x="18687" y="13193"/>
                  </a:cubicBezTo>
                  <a:cubicBezTo>
                    <a:pt x="18728" y="13207"/>
                    <a:pt x="18764" y="13252"/>
                    <a:pt x="18770" y="13285"/>
                  </a:cubicBezTo>
                  <a:cubicBezTo>
                    <a:pt x="18786" y="13316"/>
                    <a:pt x="18812" y="13341"/>
                    <a:pt x="18848" y="13339"/>
                  </a:cubicBezTo>
                  <a:cubicBezTo>
                    <a:pt x="18883" y="13333"/>
                    <a:pt x="18942" y="13304"/>
                    <a:pt x="18980" y="13268"/>
                  </a:cubicBezTo>
                  <a:cubicBezTo>
                    <a:pt x="19018" y="13232"/>
                    <a:pt x="19069" y="13154"/>
                    <a:pt x="19090" y="13094"/>
                  </a:cubicBezTo>
                  <a:cubicBezTo>
                    <a:pt x="19112" y="13035"/>
                    <a:pt x="19121" y="12956"/>
                    <a:pt x="19102" y="12921"/>
                  </a:cubicBezTo>
                  <a:cubicBezTo>
                    <a:pt x="19089" y="12885"/>
                    <a:pt x="19023" y="12832"/>
                    <a:pt x="18957" y="12812"/>
                  </a:cubicBezTo>
                  <a:cubicBezTo>
                    <a:pt x="18893" y="12787"/>
                    <a:pt x="18827" y="12753"/>
                    <a:pt x="18820" y="12733"/>
                  </a:cubicBezTo>
                  <a:cubicBezTo>
                    <a:pt x="18804" y="12717"/>
                    <a:pt x="18819" y="12694"/>
                    <a:pt x="18841" y="12689"/>
                  </a:cubicBezTo>
                  <a:cubicBezTo>
                    <a:pt x="18864" y="12685"/>
                    <a:pt x="18900" y="12696"/>
                    <a:pt x="18927" y="12710"/>
                  </a:cubicBezTo>
                  <a:cubicBezTo>
                    <a:pt x="18948" y="12730"/>
                    <a:pt x="19023" y="12753"/>
                    <a:pt x="19082" y="12774"/>
                  </a:cubicBezTo>
                  <a:cubicBezTo>
                    <a:pt x="19144" y="12787"/>
                    <a:pt x="19205" y="12828"/>
                    <a:pt x="19219" y="12855"/>
                  </a:cubicBezTo>
                  <a:cubicBezTo>
                    <a:pt x="19231" y="12883"/>
                    <a:pt x="19338" y="12887"/>
                    <a:pt x="19452" y="12869"/>
                  </a:cubicBezTo>
                  <a:cubicBezTo>
                    <a:pt x="19565" y="12850"/>
                    <a:pt x="19692" y="12801"/>
                    <a:pt x="19726" y="12757"/>
                  </a:cubicBezTo>
                  <a:cubicBezTo>
                    <a:pt x="19761" y="12714"/>
                    <a:pt x="19788" y="12656"/>
                    <a:pt x="19796" y="12628"/>
                  </a:cubicBezTo>
                  <a:cubicBezTo>
                    <a:pt x="19793" y="12599"/>
                    <a:pt x="19762" y="12571"/>
                    <a:pt x="19720" y="12573"/>
                  </a:cubicBezTo>
                  <a:cubicBezTo>
                    <a:pt x="19678" y="12572"/>
                    <a:pt x="19617" y="12558"/>
                    <a:pt x="19586" y="12540"/>
                  </a:cubicBezTo>
                  <a:cubicBezTo>
                    <a:pt x="19556" y="12522"/>
                    <a:pt x="19460" y="12516"/>
                    <a:pt x="19384" y="12538"/>
                  </a:cubicBezTo>
                  <a:cubicBezTo>
                    <a:pt x="19304" y="12551"/>
                    <a:pt x="19218" y="12545"/>
                    <a:pt x="19184" y="12526"/>
                  </a:cubicBezTo>
                  <a:cubicBezTo>
                    <a:pt x="19152" y="12507"/>
                    <a:pt x="19151" y="12445"/>
                    <a:pt x="19183" y="12396"/>
                  </a:cubicBezTo>
                  <a:cubicBezTo>
                    <a:pt x="19208" y="12346"/>
                    <a:pt x="19229" y="12327"/>
                    <a:pt x="19239" y="12350"/>
                  </a:cubicBezTo>
                  <a:cubicBezTo>
                    <a:pt x="19237" y="12375"/>
                    <a:pt x="19279" y="12413"/>
                    <a:pt x="19329" y="12421"/>
                  </a:cubicBezTo>
                  <a:cubicBezTo>
                    <a:pt x="19377" y="12435"/>
                    <a:pt x="19462" y="12437"/>
                    <a:pt x="19517" y="12421"/>
                  </a:cubicBezTo>
                  <a:cubicBezTo>
                    <a:pt x="19575" y="12413"/>
                    <a:pt x="19641" y="12378"/>
                    <a:pt x="19655" y="12351"/>
                  </a:cubicBezTo>
                  <a:cubicBezTo>
                    <a:pt x="19678" y="12329"/>
                    <a:pt x="19684" y="12276"/>
                    <a:pt x="19686" y="12238"/>
                  </a:cubicBezTo>
                  <a:cubicBezTo>
                    <a:pt x="19684" y="12200"/>
                    <a:pt x="19659" y="12157"/>
                    <a:pt x="19629" y="12149"/>
                  </a:cubicBezTo>
                  <a:cubicBezTo>
                    <a:pt x="19604" y="12134"/>
                    <a:pt x="19579" y="12107"/>
                    <a:pt x="19583" y="12080"/>
                  </a:cubicBezTo>
                  <a:cubicBezTo>
                    <a:pt x="19590" y="12054"/>
                    <a:pt x="19622" y="12024"/>
                    <a:pt x="19655" y="12007"/>
                  </a:cubicBezTo>
                  <a:cubicBezTo>
                    <a:pt x="19693" y="11996"/>
                    <a:pt x="19735" y="11992"/>
                    <a:pt x="19749" y="12007"/>
                  </a:cubicBezTo>
                  <a:cubicBezTo>
                    <a:pt x="19763" y="12021"/>
                    <a:pt x="19815" y="12039"/>
                    <a:pt x="19861" y="12050"/>
                  </a:cubicBezTo>
                  <a:cubicBezTo>
                    <a:pt x="19906" y="12065"/>
                    <a:pt x="19941" y="12087"/>
                    <a:pt x="19939" y="12109"/>
                  </a:cubicBezTo>
                  <a:cubicBezTo>
                    <a:pt x="19938" y="12132"/>
                    <a:pt x="19905" y="12185"/>
                    <a:pt x="19874" y="12227"/>
                  </a:cubicBezTo>
                  <a:cubicBezTo>
                    <a:pt x="19841" y="12269"/>
                    <a:pt x="19866" y="12304"/>
                    <a:pt x="19927" y="12297"/>
                  </a:cubicBezTo>
                  <a:cubicBezTo>
                    <a:pt x="19989" y="12295"/>
                    <a:pt x="20101" y="12286"/>
                    <a:pt x="20176" y="12278"/>
                  </a:cubicBezTo>
                  <a:cubicBezTo>
                    <a:pt x="20252" y="12273"/>
                    <a:pt x="20362" y="12249"/>
                    <a:pt x="20421" y="12229"/>
                  </a:cubicBezTo>
                  <a:cubicBezTo>
                    <a:pt x="20479" y="12208"/>
                    <a:pt x="20580" y="12178"/>
                    <a:pt x="20645" y="12171"/>
                  </a:cubicBezTo>
                  <a:cubicBezTo>
                    <a:pt x="20709" y="12163"/>
                    <a:pt x="20801" y="12118"/>
                    <a:pt x="20851" y="12079"/>
                  </a:cubicBezTo>
                  <a:cubicBezTo>
                    <a:pt x="20899" y="12039"/>
                    <a:pt x="20940" y="11992"/>
                    <a:pt x="20944" y="11974"/>
                  </a:cubicBezTo>
                  <a:cubicBezTo>
                    <a:pt x="20947" y="11955"/>
                    <a:pt x="20914" y="11944"/>
                    <a:pt x="20876" y="11953"/>
                  </a:cubicBezTo>
                  <a:cubicBezTo>
                    <a:pt x="20837" y="11961"/>
                    <a:pt x="20724" y="11979"/>
                    <a:pt x="20625" y="11998"/>
                  </a:cubicBezTo>
                  <a:cubicBezTo>
                    <a:pt x="20524" y="12012"/>
                    <a:pt x="20429" y="12015"/>
                    <a:pt x="20405" y="12011"/>
                  </a:cubicBezTo>
                  <a:cubicBezTo>
                    <a:pt x="20384" y="12001"/>
                    <a:pt x="20410" y="11973"/>
                    <a:pt x="20462" y="11944"/>
                  </a:cubicBezTo>
                  <a:cubicBezTo>
                    <a:pt x="20515" y="11918"/>
                    <a:pt x="20601" y="11893"/>
                    <a:pt x="20655" y="11892"/>
                  </a:cubicBezTo>
                  <a:cubicBezTo>
                    <a:pt x="20710" y="11890"/>
                    <a:pt x="20786" y="11878"/>
                    <a:pt x="20822" y="11860"/>
                  </a:cubicBezTo>
                  <a:cubicBezTo>
                    <a:pt x="20857" y="11840"/>
                    <a:pt x="20883" y="11810"/>
                    <a:pt x="20880" y="11784"/>
                  </a:cubicBezTo>
                  <a:cubicBezTo>
                    <a:pt x="20871" y="11759"/>
                    <a:pt x="20843" y="11731"/>
                    <a:pt x="20811" y="11725"/>
                  </a:cubicBezTo>
                  <a:cubicBezTo>
                    <a:pt x="20781" y="11715"/>
                    <a:pt x="20778" y="11701"/>
                    <a:pt x="20807" y="11686"/>
                  </a:cubicBezTo>
                  <a:cubicBezTo>
                    <a:pt x="20838" y="11671"/>
                    <a:pt x="20852" y="11641"/>
                    <a:pt x="20829" y="11627"/>
                  </a:cubicBezTo>
                  <a:cubicBezTo>
                    <a:pt x="20812" y="11609"/>
                    <a:pt x="20766" y="11597"/>
                    <a:pt x="20728" y="11597"/>
                  </a:cubicBezTo>
                  <a:cubicBezTo>
                    <a:pt x="20691" y="11600"/>
                    <a:pt x="20611" y="11616"/>
                    <a:pt x="20557" y="11644"/>
                  </a:cubicBezTo>
                  <a:cubicBezTo>
                    <a:pt x="20498" y="11669"/>
                    <a:pt x="20494" y="11651"/>
                    <a:pt x="20552" y="11609"/>
                  </a:cubicBezTo>
                  <a:cubicBezTo>
                    <a:pt x="20606" y="11563"/>
                    <a:pt x="20687" y="11503"/>
                    <a:pt x="20732" y="11477"/>
                  </a:cubicBezTo>
                  <a:cubicBezTo>
                    <a:pt x="20779" y="11451"/>
                    <a:pt x="20828" y="11436"/>
                    <a:pt x="20849" y="11444"/>
                  </a:cubicBezTo>
                  <a:cubicBezTo>
                    <a:pt x="20869" y="11454"/>
                    <a:pt x="20915" y="11469"/>
                    <a:pt x="20953" y="11472"/>
                  </a:cubicBezTo>
                  <a:cubicBezTo>
                    <a:pt x="20989" y="11482"/>
                    <a:pt x="21037" y="11508"/>
                    <a:pt x="21063" y="11534"/>
                  </a:cubicBezTo>
                  <a:cubicBezTo>
                    <a:pt x="21086" y="11562"/>
                    <a:pt x="21091" y="11613"/>
                    <a:pt x="21074" y="11647"/>
                  </a:cubicBezTo>
                  <a:cubicBezTo>
                    <a:pt x="21051" y="11677"/>
                    <a:pt x="21114" y="11697"/>
                    <a:pt x="21198" y="11680"/>
                  </a:cubicBezTo>
                  <a:cubicBezTo>
                    <a:pt x="21281" y="11663"/>
                    <a:pt x="21380" y="11630"/>
                    <a:pt x="21421" y="11609"/>
                  </a:cubicBezTo>
                  <a:cubicBezTo>
                    <a:pt x="21457" y="11582"/>
                    <a:pt x="21511" y="11547"/>
                    <a:pt x="21540" y="11530"/>
                  </a:cubicBezTo>
                  <a:cubicBezTo>
                    <a:pt x="21569" y="11512"/>
                    <a:pt x="21594" y="11470"/>
                    <a:pt x="21590" y="11439"/>
                  </a:cubicBezTo>
                  <a:cubicBezTo>
                    <a:pt x="21600" y="11410"/>
                    <a:pt x="21560" y="11368"/>
                    <a:pt x="21522" y="11351"/>
                  </a:cubicBezTo>
                  <a:close/>
                  <a:moveTo>
                    <a:pt x="21522" y="113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4" name="AutoShape 1226"/>
            <p:cNvSpPr>
              <a:spLocks/>
            </p:cNvSpPr>
            <p:nvPr/>
          </p:nvSpPr>
          <p:spPr bwMode="auto">
            <a:xfrm>
              <a:off x="4546600" y="2171700"/>
              <a:ext cx="144463" cy="163513"/>
            </a:xfrm>
            <a:custGeom>
              <a:avLst/>
              <a:gdLst/>
              <a:ahLst/>
              <a:cxnLst/>
              <a:rect l="0" t="0" r="r" b="b"/>
              <a:pathLst>
                <a:path w="21545" h="21556">
                  <a:moveTo>
                    <a:pt x="21210" y="11112"/>
                  </a:moveTo>
                  <a:cubicBezTo>
                    <a:pt x="21177" y="10979"/>
                    <a:pt x="21096" y="10920"/>
                    <a:pt x="20996" y="10976"/>
                  </a:cubicBezTo>
                  <a:cubicBezTo>
                    <a:pt x="20900" y="11036"/>
                    <a:pt x="20808" y="11193"/>
                    <a:pt x="20743" y="11309"/>
                  </a:cubicBezTo>
                  <a:cubicBezTo>
                    <a:pt x="20694" y="11431"/>
                    <a:pt x="20582" y="11611"/>
                    <a:pt x="20466" y="11685"/>
                  </a:cubicBezTo>
                  <a:cubicBezTo>
                    <a:pt x="20360" y="11770"/>
                    <a:pt x="20192" y="11843"/>
                    <a:pt x="20144" y="11793"/>
                  </a:cubicBezTo>
                  <a:cubicBezTo>
                    <a:pt x="20071" y="11777"/>
                    <a:pt x="19885" y="11736"/>
                    <a:pt x="19728" y="11708"/>
                  </a:cubicBezTo>
                  <a:cubicBezTo>
                    <a:pt x="19568" y="11702"/>
                    <a:pt x="19461" y="11561"/>
                    <a:pt x="19510" y="11436"/>
                  </a:cubicBezTo>
                  <a:cubicBezTo>
                    <a:pt x="19541" y="11306"/>
                    <a:pt x="19513" y="11259"/>
                    <a:pt x="19418" y="11310"/>
                  </a:cubicBezTo>
                  <a:cubicBezTo>
                    <a:pt x="19327" y="11370"/>
                    <a:pt x="19074" y="11565"/>
                    <a:pt x="18883" y="11769"/>
                  </a:cubicBezTo>
                  <a:cubicBezTo>
                    <a:pt x="18678" y="11961"/>
                    <a:pt x="18236" y="12206"/>
                    <a:pt x="17895" y="12299"/>
                  </a:cubicBezTo>
                  <a:cubicBezTo>
                    <a:pt x="17551" y="12390"/>
                    <a:pt x="17206" y="12410"/>
                    <a:pt x="17094" y="12360"/>
                  </a:cubicBezTo>
                  <a:cubicBezTo>
                    <a:pt x="16998" y="12288"/>
                    <a:pt x="17092" y="12087"/>
                    <a:pt x="17341" y="11930"/>
                  </a:cubicBezTo>
                  <a:cubicBezTo>
                    <a:pt x="17564" y="11746"/>
                    <a:pt x="17890" y="11588"/>
                    <a:pt x="18030" y="11541"/>
                  </a:cubicBezTo>
                  <a:cubicBezTo>
                    <a:pt x="18180" y="11504"/>
                    <a:pt x="18459" y="11322"/>
                    <a:pt x="18670" y="11161"/>
                  </a:cubicBezTo>
                  <a:cubicBezTo>
                    <a:pt x="18888" y="11008"/>
                    <a:pt x="19086" y="10741"/>
                    <a:pt x="19156" y="10601"/>
                  </a:cubicBezTo>
                  <a:cubicBezTo>
                    <a:pt x="19214" y="10457"/>
                    <a:pt x="19232" y="10305"/>
                    <a:pt x="19183" y="10273"/>
                  </a:cubicBezTo>
                  <a:cubicBezTo>
                    <a:pt x="19137" y="10236"/>
                    <a:pt x="19137" y="10024"/>
                    <a:pt x="19223" y="9815"/>
                  </a:cubicBezTo>
                  <a:cubicBezTo>
                    <a:pt x="19284" y="9599"/>
                    <a:pt x="19434" y="9299"/>
                    <a:pt x="19567" y="9160"/>
                  </a:cubicBezTo>
                  <a:cubicBezTo>
                    <a:pt x="19683" y="9009"/>
                    <a:pt x="19826" y="8809"/>
                    <a:pt x="19866" y="8704"/>
                  </a:cubicBezTo>
                  <a:cubicBezTo>
                    <a:pt x="19907" y="8600"/>
                    <a:pt x="19868" y="8472"/>
                    <a:pt x="19793" y="8406"/>
                  </a:cubicBezTo>
                  <a:cubicBezTo>
                    <a:pt x="19714" y="8342"/>
                    <a:pt x="19677" y="8177"/>
                    <a:pt x="19746" y="8045"/>
                  </a:cubicBezTo>
                  <a:cubicBezTo>
                    <a:pt x="19802" y="7908"/>
                    <a:pt x="19711" y="7627"/>
                    <a:pt x="19532" y="7430"/>
                  </a:cubicBezTo>
                  <a:cubicBezTo>
                    <a:pt x="19387" y="7213"/>
                    <a:pt x="19031" y="7051"/>
                    <a:pt x="18801" y="7040"/>
                  </a:cubicBezTo>
                  <a:cubicBezTo>
                    <a:pt x="18571" y="7028"/>
                    <a:pt x="18379" y="6947"/>
                    <a:pt x="18404" y="6871"/>
                  </a:cubicBezTo>
                  <a:cubicBezTo>
                    <a:pt x="18404" y="6791"/>
                    <a:pt x="18443" y="6554"/>
                    <a:pt x="18471" y="6345"/>
                  </a:cubicBezTo>
                  <a:cubicBezTo>
                    <a:pt x="18484" y="6134"/>
                    <a:pt x="18385" y="5991"/>
                    <a:pt x="18240" y="6055"/>
                  </a:cubicBezTo>
                  <a:cubicBezTo>
                    <a:pt x="18086" y="6100"/>
                    <a:pt x="17941" y="6059"/>
                    <a:pt x="17956" y="5954"/>
                  </a:cubicBezTo>
                  <a:cubicBezTo>
                    <a:pt x="17930" y="5853"/>
                    <a:pt x="18061" y="5562"/>
                    <a:pt x="18197" y="5316"/>
                  </a:cubicBezTo>
                  <a:cubicBezTo>
                    <a:pt x="18328" y="5069"/>
                    <a:pt x="18455" y="4769"/>
                    <a:pt x="18423" y="4651"/>
                  </a:cubicBezTo>
                  <a:cubicBezTo>
                    <a:pt x="18395" y="4532"/>
                    <a:pt x="18182" y="4491"/>
                    <a:pt x="17918" y="4584"/>
                  </a:cubicBezTo>
                  <a:cubicBezTo>
                    <a:pt x="17647" y="4653"/>
                    <a:pt x="17186" y="4713"/>
                    <a:pt x="16882" y="4730"/>
                  </a:cubicBezTo>
                  <a:cubicBezTo>
                    <a:pt x="16579" y="4723"/>
                    <a:pt x="16312" y="4595"/>
                    <a:pt x="16296" y="4435"/>
                  </a:cubicBezTo>
                  <a:cubicBezTo>
                    <a:pt x="16270" y="4277"/>
                    <a:pt x="16358" y="4034"/>
                    <a:pt x="16495" y="3910"/>
                  </a:cubicBezTo>
                  <a:cubicBezTo>
                    <a:pt x="16610" y="3770"/>
                    <a:pt x="16760" y="3585"/>
                    <a:pt x="16820" y="3486"/>
                  </a:cubicBezTo>
                  <a:cubicBezTo>
                    <a:pt x="16875" y="3384"/>
                    <a:pt x="16814" y="3254"/>
                    <a:pt x="16702" y="3192"/>
                  </a:cubicBezTo>
                  <a:cubicBezTo>
                    <a:pt x="16583" y="3140"/>
                    <a:pt x="16498" y="2989"/>
                    <a:pt x="16512" y="2869"/>
                  </a:cubicBezTo>
                  <a:cubicBezTo>
                    <a:pt x="16512" y="2749"/>
                    <a:pt x="16480" y="2671"/>
                    <a:pt x="16415" y="2671"/>
                  </a:cubicBezTo>
                  <a:cubicBezTo>
                    <a:pt x="16357" y="2697"/>
                    <a:pt x="16056" y="2911"/>
                    <a:pt x="15777" y="3200"/>
                  </a:cubicBezTo>
                  <a:cubicBezTo>
                    <a:pt x="15486" y="3480"/>
                    <a:pt x="15157" y="3860"/>
                    <a:pt x="15050" y="4049"/>
                  </a:cubicBezTo>
                  <a:cubicBezTo>
                    <a:pt x="14927" y="4230"/>
                    <a:pt x="14715" y="4493"/>
                    <a:pt x="14560" y="4629"/>
                  </a:cubicBezTo>
                  <a:cubicBezTo>
                    <a:pt x="14398" y="4757"/>
                    <a:pt x="14224" y="4837"/>
                    <a:pt x="14167" y="4788"/>
                  </a:cubicBezTo>
                  <a:cubicBezTo>
                    <a:pt x="14105" y="4744"/>
                    <a:pt x="14173" y="4504"/>
                    <a:pt x="14276" y="4251"/>
                  </a:cubicBezTo>
                  <a:cubicBezTo>
                    <a:pt x="14407" y="4005"/>
                    <a:pt x="14504" y="3671"/>
                    <a:pt x="14469" y="3520"/>
                  </a:cubicBezTo>
                  <a:cubicBezTo>
                    <a:pt x="14443" y="3368"/>
                    <a:pt x="14504" y="3137"/>
                    <a:pt x="14591" y="3016"/>
                  </a:cubicBezTo>
                  <a:cubicBezTo>
                    <a:pt x="14670" y="2891"/>
                    <a:pt x="14818" y="2772"/>
                    <a:pt x="14918" y="2760"/>
                  </a:cubicBezTo>
                  <a:cubicBezTo>
                    <a:pt x="15018" y="2754"/>
                    <a:pt x="15212" y="2670"/>
                    <a:pt x="15367" y="2637"/>
                  </a:cubicBezTo>
                  <a:cubicBezTo>
                    <a:pt x="15516" y="2588"/>
                    <a:pt x="15625" y="2453"/>
                    <a:pt x="15638" y="2344"/>
                  </a:cubicBezTo>
                  <a:cubicBezTo>
                    <a:pt x="15638" y="2237"/>
                    <a:pt x="15718" y="2005"/>
                    <a:pt x="15833" y="1838"/>
                  </a:cubicBezTo>
                  <a:cubicBezTo>
                    <a:pt x="15943" y="1671"/>
                    <a:pt x="16040" y="1400"/>
                    <a:pt x="16067" y="1243"/>
                  </a:cubicBezTo>
                  <a:cubicBezTo>
                    <a:pt x="16067" y="1084"/>
                    <a:pt x="15942" y="1049"/>
                    <a:pt x="15736" y="1151"/>
                  </a:cubicBezTo>
                  <a:cubicBezTo>
                    <a:pt x="15531" y="1260"/>
                    <a:pt x="15422" y="1243"/>
                    <a:pt x="15480" y="1111"/>
                  </a:cubicBezTo>
                  <a:cubicBezTo>
                    <a:pt x="15559" y="989"/>
                    <a:pt x="15782" y="679"/>
                    <a:pt x="16020" y="444"/>
                  </a:cubicBezTo>
                  <a:cubicBezTo>
                    <a:pt x="16260" y="210"/>
                    <a:pt x="16379" y="-15"/>
                    <a:pt x="16300" y="0"/>
                  </a:cubicBezTo>
                  <a:cubicBezTo>
                    <a:pt x="16217" y="-9"/>
                    <a:pt x="15749" y="221"/>
                    <a:pt x="15281" y="530"/>
                  </a:cubicBezTo>
                  <a:cubicBezTo>
                    <a:pt x="14789" y="810"/>
                    <a:pt x="14192" y="1274"/>
                    <a:pt x="13905" y="1502"/>
                  </a:cubicBezTo>
                  <a:cubicBezTo>
                    <a:pt x="13619" y="1730"/>
                    <a:pt x="13152" y="2296"/>
                    <a:pt x="12808" y="2714"/>
                  </a:cubicBezTo>
                  <a:cubicBezTo>
                    <a:pt x="12477" y="3144"/>
                    <a:pt x="11961" y="3766"/>
                    <a:pt x="11661" y="4100"/>
                  </a:cubicBezTo>
                  <a:cubicBezTo>
                    <a:pt x="11345" y="4424"/>
                    <a:pt x="11056" y="4822"/>
                    <a:pt x="10979" y="4965"/>
                  </a:cubicBezTo>
                  <a:cubicBezTo>
                    <a:pt x="10893" y="5104"/>
                    <a:pt x="10698" y="5408"/>
                    <a:pt x="10486" y="5611"/>
                  </a:cubicBezTo>
                  <a:cubicBezTo>
                    <a:pt x="10286" y="5823"/>
                    <a:pt x="10048" y="6092"/>
                    <a:pt x="9998" y="6224"/>
                  </a:cubicBezTo>
                  <a:cubicBezTo>
                    <a:pt x="9930" y="6351"/>
                    <a:pt x="9603" y="6778"/>
                    <a:pt x="9254" y="7159"/>
                  </a:cubicBezTo>
                  <a:cubicBezTo>
                    <a:pt x="8894" y="7535"/>
                    <a:pt x="8654" y="7955"/>
                    <a:pt x="8668" y="8065"/>
                  </a:cubicBezTo>
                  <a:cubicBezTo>
                    <a:pt x="8705" y="8170"/>
                    <a:pt x="8592" y="8352"/>
                    <a:pt x="8446" y="8443"/>
                  </a:cubicBezTo>
                  <a:cubicBezTo>
                    <a:pt x="8312" y="8547"/>
                    <a:pt x="8087" y="8784"/>
                    <a:pt x="7956" y="8984"/>
                  </a:cubicBezTo>
                  <a:cubicBezTo>
                    <a:pt x="7827" y="9184"/>
                    <a:pt x="7623" y="9472"/>
                    <a:pt x="7569" y="9645"/>
                  </a:cubicBezTo>
                  <a:cubicBezTo>
                    <a:pt x="7469" y="9801"/>
                    <a:pt x="7117" y="10198"/>
                    <a:pt x="6762" y="10522"/>
                  </a:cubicBezTo>
                  <a:cubicBezTo>
                    <a:pt x="6390" y="10831"/>
                    <a:pt x="5979" y="11268"/>
                    <a:pt x="5812" y="11463"/>
                  </a:cubicBezTo>
                  <a:cubicBezTo>
                    <a:pt x="5640" y="11654"/>
                    <a:pt x="5424" y="12053"/>
                    <a:pt x="5308" y="12329"/>
                  </a:cubicBezTo>
                  <a:cubicBezTo>
                    <a:pt x="5199" y="12608"/>
                    <a:pt x="5016" y="12936"/>
                    <a:pt x="4918" y="13065"/>
                  </a:cubicBezTo>
                  <a:cubicBezTo>
                    <a:pt x="4808" y="13189"/>
                    <a:pt x="4647" y="13536"/>
                    <a:pt x="4529" y="13826"/>
                  </a:cubicBezTo>
                  <a:cubicBezTo>
                    <a:pt x="4430" y="14119"/>
                    <a:pt x="4187" y="14494"/>
                    <a:pt x="4008" y="14657"/>
                  </a:cubicBezTo>
                  <a:cubicBezTo>
                    <a:pt x="3826" y="14817"/>
                    <a:pt x="3463" y="15033"/>
                    <a:pt x="3207" y="15168"/>
                  </a:cubicBezTo>
                  <a:cubicBezTo>
                    <a:pt x="2939" y="15275"/>
                    <a:pt x="2388" y="15565"/>
                    <a:pt x="2007" y="15831"/>
                  </a:cubicBezTo>
                  <a:cubicBezTo>
                    <a:pt x="1619" y="16091"/>
                    <a:pt x="1224" y="16442"/>
                    <a:pt x="1153" y="16626"/>
                  </a:cubicBezTo>
                  <a:cubicBezTo>
                    <a:pt x="1077" y="16809"/>
                    <a:pt x="810" y="17274"/>
                    <a:pt x="563" y="17659"/>
                  </a:cubicBezTo>
                  <a:cubicBezTo>
                    <a:pt x="311" y="18039"/>
                    <a:pt x="51" y="18518"/>
                    <a:pt x="21" y="18723"/>
                  </a:cubicBezTo>
                  <a:cubicBezTo>
                    <a:pt x="-22" y="18927"/>
                    <a:pt x="-1" y="19044"/>
                    <a:pt x="100" y="19024"/>
                  </a:cubicBezTo>
                  <a:cubicBezTo>
                    <a:pt x="188" y="18980"/>
                    <a:pt x="358" y="18801"/>
                    <a:pt x="474" y="18614"/>
                  </a:cubicBezTo>
                  <a:cubicBezTo>
                    <a:pt x="569" y="18417"/>
                    <a:pt x="769" y="18206"/>
                    <a:pt x="886" y="18140"/>
                  </a:cubicBezTo>
                  <a:cubicBezTo>
                    <a:pt x="988" y="18056"/>
                    <a:pt x="1139" y="18024"/>
                    <a:pt x="1184" y="18057"/>
                  </a:cubicBezTo>
                  <a:cubicBezTo>
                    <a:pt x="1234" y="18086"/>
                    <a:pt x="1361" y="18124"/>
                    <a:pt x="1461" y="18156"/>
                  </a:cubicBezTo>
                  <a:cubicBezTo>
                    <a:pt x="1563" y="18189"/>
                    <a:pt x="1785" y="18167"/>
                    <a:pt x="1943" y="18103"/>
                  </a:cubicBezTo>
                  <a:cubicBezTo>
                    <a:pt x="2107" y="18043"/>
                    <a:pt x="2317" y="17932"/>
                    <a:pt x="2421" y="17866"/>
                  </a:cubicBezTo>
                  <a:cubicBezTo>
                    <a:pt x="2515" y="17790"/>
                    <a:pt x="2688" y="17724"/>
                    <a:pt x="2775" y="17678"/>
                  </a:cubicBezTo>
                  <a:cubicBezTo>
                    <a:pt x="2877" y="17656"/>
                    <a:pt x="3037" y="17630"/>
                    <a:pt x="3107" y="17685"/>
                  </a:cubicBezTo>
                  <a:cubicBezTo>
                    <a:pt x="3195" y="17710"/>
                    <a:pt x="3240" y="17838"/>
                    <a:pt x="3228" y="17947"/>
                  </a:cubicBezTo>
                  <a:cubicBezTo>
                    <a:pt x="3201" y="18053"/>
                    <a:pt x="3008" y="18357"/>
                    <a:pt x="2762" y="18610"/>
                  </a:cubicBezTo>
                  <a:cubicBezTo>
                    <a:pt x="2536" y="18875"/>
                    <a:pt x="2310" y="19203"/>
                    <a:pt x="2270" y="19354"/>
                  </a:cubicBezTo>
                  <a:cubicBezTo>
                    <a:pt x="2270" y="19509"/>
                    <a:pt x="2068" y="19807"/>
                    <a:pt x="1871" y="20010"/>
                  </a:cubicBezTo>
                  <a:cubicBezTo>
                    <a:pt x="1690" y="20224"/>
                    <a:pt x="1448" y="20616"/>
                    <a:pt x="1334" y="20891"/>
                  </a:cubicBezTo>
                  <a:cubicBezTo>
                    <a:pt x="1235" y="21172"/>
                    <a:pt x="1130" y="21455"/>
                    <a:pt x="1163" y="21517"/>
                  </a:cubicBezTo>
                  <a:cubicBezTo>
                    <a:pt x="1151" y="21585"/>
                    <a:pt x="1296" y="21560"/>
                    <a:pt x="1433" y="21465"/>
                  </a:cubicBezTo>
                  <a:cubicBezTo>
                    <a:pt x="1576" y="21375"/>
                    <a:pt x="1717" y="21340"/>
                    <a:pt x="1781" y="21346"/>
                  </a:cubicBezTo>
                  <a:cubicBezTo>
                    <a:pt x="1834" y="21380"/>
                    <a:pt x="2006" y="21368"/>
                    <a:pt x="2154" y="21319"/>
                  </a:cubicBezTo>
                  <a:cubicBezTo>
                    <a:pt x="2306" y="21274"/>
                    <a:pt x="2546" y="21144"/>
                    <a:pt x="2692" y="21028"/>
                  </a:cubicBezTo>
                  <a:cubicBezTo>
                    <a:pt x="2830" y="20907"/>
                    <a:pt x="3104" y="20791"/>
                    <a:pt x="3268" y="20718"/>
                  </a:cubicBezTo>
                  <a:cubicBezTo>
                    <a:pt x="3448" y="20682"/>
                    <a:pt x="3645" y="20532"/>
                    <a:pt x="3732" y="20434"/>
                  </a:cubicBezTo>
                  <a:cubicBezTo>
                    <a:pt x="3810" y="20331"/>
                    <a:pt x="4052" y="20154"/>
                    <a:pt x="4227" y="20000"/>
                  </a:cubicBezTo>
                  <a:cubicBezTo>
                    <a:pt x="4432" y="19879"/>
                    <a:pt x="4696" y="19724"/>
                    <a:pt x="4834" y="19663"/>
                  </a:cubicBezTo>
                  <a:cubicBezTo>
                    <a:pt x="4983" y="19623"/>
                    <a:pt x="5296" y="19401"/>
                    <a:pt x="5531" y="19183"/>
                  </a:cubicBezTo>
                  <a:cubicBezTo>
                    <a:pt x="5770" y="18966"/>
                    <a:pt x="6079" y="18586"/>
                    <a:pt x="6229" y="18346"/>
                  </a:cubicBezTo>
                  <a:cubicBezTo>
                    <a:pt x="6359" y="18098"/>
                    <a:pt x="6648" y="17769"/>
                    <a:pt x="6837" y="17602"/>
                  </a:cubicBezTo>
                  <a:cubicBezTo>
                    <a:pt x="7034" y="17442"/>
                    <a:pt x="7329" y="17146"/>
                    <a:pt x="7486" y="16945"/>
                  </a:cubicBezTo>
                  <a:cubicBezTo>
                    <a:pt x="7666" y="16763"/>
                    <a:pt x="7870" y="16561"/>
                    <a:pt x="7967" y="16524"/>
                  </a:cubicBezTo>
                  <a:cubicBezTo>
                    <a:pt x="8058" y="16478"/>
                    <a:pt x="8184" y="16510"/>
                    <a:pt x="8251" y="16563"/>
                  </a:cubicBezTo>
                  <a:cubicBezTo>
                    <a:pt x="8322" y="16615"/>
                    <a:pt x="8529" y="16546"/>
                    <a:pt x="8726" y="16380"/>
                  </a:cubicBezTo>
                  <a:cubicBezTo>
                    <a:pt x="8921" y="16214"/>
                    <a:pt x="9193" y="16003"/>
                    <a:pt x="9329" y="15906"/>
                  </a:cubicBezTo>
                  <a:cubicBezTo>
                    <a:pt x="9454" y="15802"/>
                    <a:pt x="9671" y="15720"/>
                    <a:pt x="9789" y="15681"/>
                  </a:cubicBezTo>
                  <a:cubicBezTo>
                    <a:pt x="9915" y="15681"/>
                    <a:pt x="10158" y="15395"/>
                    <a:pt x="10347" y="15104"/>
                  </a:cubicBezTo>
                  <a:cubicBezTo>
                    <a:pt x="10520" y="14806"/>
                    <a:pt x="10752" y="14374"/>
                    <a:pt x="10828" y="14130"/>
                  </a:cubicBezTo>
                  <a:cubicBezTo>
                    <a:pt x="10925" y="13891"/>
                    <a:pt x="11168" y="13538"/>
                    <a:pt x="11399" y="13357"/>
                  </a:cubicBezTo>
                  <a:cubicBezTo>
                    <a:pt x="11633" y="13177"/>
                    <a:pt x="11941" y="12911"/>
                    <a:pt x="12050" y="12749"/>
                  </a:cubicBezTo>
                  <a:cubicBezTo>
                    <a:pt x="12174" y="12596"/>
                    <a:pt x="12397" y="12445"/>
                    <a:pt x="12523" y="12373"/>
                  </a:cubicBezTo>
                  <a:cubicBezTo>
                    <a:pt x="12663" y="12332"/>
                    <a:pt x="12823" y="12322"/>
                    <a:pt x="12888" y="12373"/>
                  </a:cubicBezTo>
                  <a:cubicBezTo>
                    <a:pt x="12952" y="12429"/>
                    <a:pt x="13134" y="12364"/>
                    <a:pt x="13269" y="12218"/>
                  </a:cubicBezTo>
                  <a:cubicBezTo>
                    <a:pt x="13411" y="12076"/>
                    <a:pt x="13655" y="11898"/>
                    <a:pt x="13792" y="11804"/>
                  </a:cubicBezTo>
                  <a:cubicBezTo>
                    <a:pt x="13930" y="11709"/>
                    <a:pt x="14125" y="11647"/>
                    <a:pt x="14208" y="11671"/>
                  </a:cubicBezTo>
                  <a:cubicBezTo>
                    <a:pt x="14295" y="11684"/>
                    <a:pt x="14325" y="11827"/>
                    <a:pt x="14297" y="11983"/>
                  </a:cubicBezTo>
                  <a:cubicBezTo>
                    <a:pt x="14254" y="12139"/>
                    <a:pt x="14066" y="12386"/>
                    <a:pt x="13892" y="12553"/>
                  </a:cubicBezTo>
                  <a:cubicBezTo>
                    <a:pt x="13694" y="12697"/>
                    <a:pt x="13433" y="12948"/>
                    <a:pt x="13309" y="13100"/>
                  </a:cubicBezTo>
                  <a:cubicBezTo>
                    <a:pt x="13158" y="13228"/>
                    <a:pt x="13177" y="13379"/>
                    <a:pt x="13299" y="13440"/>
                  </a:cubicBezTo>
                  <a:cubicBezTo>
                    <a:pt x="13439" y="13456"/>
                    <a:pt x="13790" y="13431"/>
                    <a:pt x="14103" y="13334"/>
                  </a:cubicBezTo>
                  <a:cubicBezTo>
                    <a:pt x="14413" y="13232"/>
                    <a:pt x="14774" y="13143"/>
                    <a:pt x="14899" y="13156"/>
                  </a:cubicBezTo>
                  <a:cubicBezTo>
                    <a:pt x="15025" y="13163"/>
                    <a:pt x="15114" y="13271"/>
                    <a:pt x="15114" y="13402"/>
                  </a:cubicBezTo>
                  <a:cubicBezTo>
                    <a:pt x="15099" y="13533"/>
                    <a:pt x="14925" y="13831"/>
                    <a:pt x="14717" y="14068"/>
                  </a:cubicBezTo>
                  <a:cubicBezTo>
                    <a:pt x="14514" y="14307"/>
                    <a:pt x="14218" y="14564"/>
                    <a:pt x="14066" y="14644"/>
                  </a:cubicBezTo>
                  <a:cubicBezTo>
                    <a:pt x="13911" y="14720"/>
                    <a:pt x="13713" y="15000"/>
                    <a:pt x="13594" y="15246"/>
                  </a:cubicBezTo>
                  <a:cubicBezTo>
                    <a:pt x="13479" y="15493"/>
                    <a:pt x="13489" y="15742"/>
                    <a:pt x="13603" y="15730"/>
                  </a:cubicBezTo>
                  <a:cubicBezTo>
                    <a:pt x="13715" y="15736"/>
                    <a:pt x="13907" y="15700"/>
                    <a:pt x="14008" y="15605"/>
                  </a:cubicBezTo>
                  <a:cubicBezTo>
                    <a:pt x="14119" y="15522"/>
                    <a:pt x="14325" y="15402"/>
                    <a:pt x="14472" y="15375"/>
                  </a:cubicBezTo>
                  <a:cubicBezTo>
                    <a:pt x="14621" y="15350"/>
                    <a:pt x="14778" y="15330"/>
                    <a:pt x="14820" y="15373"/>
                  </a:cubicBezTo>
                  <a:cubicBezTo>
                    <a:pt x="14867" y="15409"/>
                    <a:pt x="15025" y="15399"/>
                    <a:pt x="15160" y="15318"/>
                  </a:cubicBezTo>
                  <a:cubicBezTo>
                    <a:pt x="15310" y="15258"/>
                    <a:pt x="15474" y="15282"/>
                    <a:pt x="15447" y="15388"/>
                  </a:cubicBezTo>
                  <a:cubicBezTo>
                    <a:pt x="15473" y="15495"/>
                    <a:pt x="15634" y="15553"/>
                    <a:pt x="15824" y="15491"/>
                  </a:cubicBezTo>
                  <a:cubicBezTo>
                    <a:pt x="16025" y="15466"/>
                    <a:pt x="16263" y="15437"/>
                    <a:pt x="16323" y="15520"/>
                  </a:cubicBezTo>
                  <a:cubicBezTo>
                    <a:pt x="16405" y="15586"/>
                    <a:pt x="16574" y="15613"/>
                    <a:pt x="16698" y="15570"/>
                  </a:cubicBezTo>
                  <a:cubicBezTo>
                    <a:pt x="16825" y="15533"/>
                    <a:pt x="17107" y="15543"/>
                    <a:pt x="17317" y="15618"/>
                  </a:cubicBezTo>
                  <a:cubicBezTo>
                    <a:pt x="17535" y="15676"/>
                    <a:pt x="17799" y="15659"/>
                    <a:pt x="17925" y="15579"/>
                  </a:cubicBezTo>
                  <a:cubicBezTo>
                    <a:pt x="18045" y="15491"/>
                    <a:pt x="18313" y="15188"/>
                    <a:pt x="18533" y="14910"/>
                  </a:cubicBezTo>
                  <a:cubicBezTo>
                    <a:pt x="18742" y="14629"/>
                    <a:pt x="19038" y="14333"/>
                    <a:pt x="19183" y="14256"/>
                  </a:cubicBezTo>
                  <a:cubicBezTo>
                    <a:pt x="19328" y="14175"/>
                    <a:pt x="19637" y="13919"/>
                    <a:pt x="19884" y="13695"/>
                  </a:cubicBezTo>
                  <a:cubicBezTo>
                    <a:pt x="20127" y="13469"/>
                    <a:pt x="20478" y="13225"/>
                    <a:pt x="20673" y="13163"/>
                  </a:cubicBezTo>
                  <a:cubicBezTo>
                    <a:pt x="20859" y="13081"/>
                    <a:pt x="21089" y="12946"/>
                    <a:pt x="21173" y="12835"/>
                  </a:cubicBezTo>
                  <a:cubicBezTo>
                    <a:pt x="21255" y="12722"/>
                    <a:pt x="21231" y="12600"/>
                    <a:pt x="21113" y="12600"/>
                  </a:cubicBezTo>
                  <a:cubicBezTo>
                    <a:pt x="20996" y="12588"/>
                    <a:pt x="20830" y="12499"/>
                    <a:pt x="20798" y="12394"/>
                  </a:cubicBezTo>
                  <a:cubicBezTo>
                    <a:pt x="20741" y="12299"/>
                    <a:pt x="20818" y="12152"/>
                    <a:pt x="20970" y="12068"/>
                  </a:cubicBezTo>
                  <a:cubicBezTo>
                    <a:pt x="21126" y="11993"/>
                    <a:pt x="21340" y="11798"/>
                    <a:pt x="21457" y="11656"/>
                  </a:cubicBezTo>
                  <a:cubicBezTo>
                    <a:pt x="21569" y="11509"/>
                    <a:pt x="21578" y="11389"/>
                    <a:pt x="21462" y="11378"/>
                  </a:cubicBezTo>
                  <a:cubicBezTo>
                    <a:pt x="21346" y="11371"/>
                    <a:pt x="21229" y="11249"/>
                    <a:pt x="21210" y="11112"/>
                  </a:cubicBezTo>
                  <a:close/>
                  <a:moveTo>
                    <a:pt x="21210" y="111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5" name="AutoShape 1227"/>
            <p:cNvSpPr>
              <a:spLocks/>
            </p:cNvSpPr>
            <p:nvPr/>
          </p:nvSpPr>
          <p:spPr bwMode="auto">
            <a:xfrm>
              <a:off x="5067300" y="3048000"/>
              <a:ext cx="9525" cy="3175"/>
            </a:xfrm>
            <a:custGeom>
              <a:avLst/>
              <a:gdLst/>
              <a:ahLst/>
              <a:cxnLst/>
              <a:rect l="0" t="0" r="r" b="b"/>
              <a:pathLst>
                <a:path w="20795" h="20612">
                  <a:moveTo>
                    <a:pt x="3776" y="672"/>
                  </a:moveTo>
                  <a:cubicBezTo>
                    <a:pt x="1952" y="1887"/>
                    <a:pt x="229" y="5610"/>
                    <a:pt x="23" y="9362"/>
                  </a:cubicBezTo>
                  <a:cubicBezTo>
                    <a:pt x="-197" y="13057"/>
                    <a:pt x="1202" y="17831"/>
                    <a:pt x="3272" y="18990"/>
                  </a:cubicBezTo>
                  <a:cubicBezTo>
                    <a:pt x="5188" y="21001"/>
                    <a:pt x="9678" y="20866"/>
                    <a:pt x="13107" y="20063"/>
                  </a:cubicBezTo>
                  <a:cubicBezTo>
                    <a:pt x="16511" y="19266"/>
                    <a:pt x="19886" y="15266"/>
                    <a:pt x="20677" y="11537"/>
                  </a:cubicBezTo>
                  <a:cubicBezTo>
                    <a:pt x="21403" y="7870"/>
                    <a:pt x="18710" y="2960"/>
                    <a:pt x="14594" y="1718"/>
                  </a:cubicBezTo>
                  <a:cubicBezTo>
                    <a:pt x="10518" y="34"/>
                    <a:pt x="5615" y="-599"/>
                    <a:pt x="3776" y="672"/>
                  </a:cubicBezTo>
                  <a:close/>
                  <a:moveTo>
                    <a:pt x="3776" y="6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6" name="AutoShape 1228"/>
            <p:cNvSpPr>
              <a:spLocks/>
            </p:cNvSpPr>
            <p:nvPr/>
          </p:nvSpPr>
          <p:spPr bwMode="auto">
            <a:xfrm>
              <a:off x="4902200" y="1917700"/>
              <a:ext cx="44450" cy="34925"/>
            </a:xfrm>
            <a:custGeom>
              <a:avLst/>
              <a:gdLst/>
              <a:ahLst/>
              <a:cxnLst/>
              <a:rect l="0" t="0" r="r" b="b"/>
              <a:pathLst>
                <a:path w="21405" h="21384">
                  <a:moveTo>
                    <a:pt x="3464" y="15144"/>
                  </a:moveTo>
                  <a:cubicBezTo>
                    <a:pt x="2964" y="15884"/>
                    <a:pt x="2050" y="17073"/>
                    <a:pt x="1381" y="17725"/>
                  </a:cubicBezTo>
                  <a:cubicBezTo>
                    <a:pt x="697" y="18360"/>
                    <a:pt x="101" y="19584"/>
                    <a:pt x="19" y="20408"/>
                  </a:cubicBezTo>
                  <a:cubicBezTo>
                    <a:pt x="-68" y="21224"/>
                    <a:pt x="147" y="21600"/>
                    <a:pt x="502" y="21257"/>
                  </a:cubicBezTo>
                  <a:cubicBezTo>
                    <a:pt x="860" y="20933"/>
                    <a:pt x="1658" y="20553"/>
                    <a:pt x="2288" y="20371"/>
                  </a:cubicBezTo>
                  <a:cubicBezTo>
                    <a:pt x="2926" y="20222"/>
                    <a:pt x="3843" y="19916"/>
                    <a:pt x="4340" y="19744"/>
                  </a:cubicBezTo>
                  <a:cubicBezTo>
                    <a:pt x="4837" y="19584"/>
                    <a:pt x="6717" y="17831"/>
                    <a:pt x="8512" y="15917"/>
                  </a:cubicBezTo>
                  <a:cubicBezTo>
                    <a:pt x="10330" y="14037"/>
                    <a:pt x="12178" y="11897"/>
                    <a:pt x="12676" y="11223"/>
                  </a:cubicBezTo>
                  <a:cubicBezTo>
                    <a:pt x="13164" y="10534"/>
                    <a:pt x="13851" y="9794"/>
                    <a:pt x="14235" y="9659"/>
                  </a:cubicBezTo>
                  <a:cubicBezTo>
                    <a:pt x="14616" y="9528"/>
                    <a:pt x="15596" y="8566"/>
                    <a:pt x="16452" y="7636"/>
                  </a:cubicBezTo>
                  <a:cubicBezTo>
                    <a:pt x="17281" y="6671"/>
                    <a:pt x="18649" y="5238"/>
                    <a:pt x="19443" y="4400"/>
                  </a:cubicBezTo>
                  <a:cubicBezTo>
                    <a:pt x="20249" y="3572"/>
                    <a:pt x="21124" y="2278"/>
                    <a:pt x="21270" y="1491"/>
                  </a:cubicBezTo>
                  <a:cubicBezTo>
                    <a:pt x="21532" y="762"/>
                    <a:pt x="21375" y="149"/>
                    <a:pt x="21110" y="0"/>
                  </a:cubicBezTo>
                  <a:cubicBezTo>
                    <a:pt x="20822" y="0"/>
                    <a:pt x="20077" y="215"/>
                    <a:pt x="19463" y="627"/>
                  </a:cubicBezTo>
                  <a:cubicBezTo>
                    <a:pt x="18832" y="977"/>
                    <a:pt x="18078" y="1932"/>
                    <a:pt x="17723" y="2625"/>
                  </a:cubicBezTo>
                  <a:cubicBezTo>
                    <a:pt x="17357" y="3310"/>
                    <a:pt x="16822" y="4079"/>
                    <a:pt x="16461" y="4181"/>
                  </a:cubicBezTo>
                  <a:cubicBezTo>
                    <a:pt x="16100" y="4305"/>
                    <a:pt x="15105" y="5336"/>
                    <a:pt x="14192" y="6367"/>
                  </a:cubicBezTo>
                  <a:cubicBezTo>
                    <a:pt x="13313" y="7443"/>
                    <a:pt x="12024" y="8726"/>
                    <a:pt x="11361" y="9265"/>
                  </a:cubicBezTo>
                  <a:cubicBezTo>
                    <a:pt x="10712" y="9827"/>
                    <a:pt x="9385" y="10657"/>
                    <a:pt x="8408" y="10978"/>
                  </a:cubicBezTo>
                  <a:cubicBezTo>
                    <a:pt x="7444" y="11346"/>
                    <a:pt x="6121" y="12116"/>
                    <a:pt x="5501" y="12721"/>
                  </a:cubicBezTo>
                  <a:cubicBezTo>
                    <a:pt x="4846" y="13267"/>
                    <a:pt x="3939" y="14372"/>
                    <a:pt x="3464" y="15144"/>
                  </a:cubicBezTo>
                  <a:close/>
                  <a:moveTo>
                    <a:pt x="3464" y="151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7" name="AutoShape 1229"/>
            <p:cNvSpPr>
              <a:spLocks/>
            </p:cNvSpPr>
            <p:nvPr/>
          </p:nvSpPr>
          <p:spPr bwMode="auto">
            <a:xfrm>
              <a:off x="4622800" y="2336800"/>
              <a:ext cx="39688" cy="52388"/>
            </a:xfrm>
            <a:custGeom>
              <a:avLst/>
              <a:gdLst/>
              <a:ahLst/>
              <a:cxnLst/>
              <a:rect l="0" t="0" r="r" b="b"/>
              <a:pathLst>
                <a:path w="21497" h="21458">
                  <a:moveTo>
                    <a:pt x="20218" y="276"/>
                  </a:moveTo>
                  <a:cubicBezTo>
                    <a:pt x="19727" y="497"/>
                    <a:pt x="19060" y="776"/>
                    <a:pt x="18729" y="902"/>
                  </a:cubicBezTo>
                  <a:cubicBezTo>
                    <a:pt x="18360" y="970"/>
                    <a:pt x="17730" y="899"/>
                    <a:pt x="17644" y="577"/>
                  </a:cubicBezTo>
                  <a:cubicBezTo>
                    <a:pt x="17326" y="356"/>
                    <a:pt x="17011" y="45"/>
                    <a:pt x="16765" y="45"/>
                  </a:cubicBezTo>
                  <a:cubicBezTo>
                    <a:pt x="16526" y="45"/>
                    <a:pt x="15926" y="361"/>
                    <a:pt x="15455" y="821"/>
                  </a:cubicBezTo>
                  <a:cubicBezTo>
                    <a:pt x="14957" y="1263"/>
                    <a:pt x="13717" y="2284"/>
                    <a:pt x="12722" y="3113"/>
                  </a:cubicBezTo>
                  <a:cubicBezTo>
                    <a:pt x="11684" y="3917"/>
                    <a:pt x="10582" y="4721"/>
                    <a:pt x="10224" y="4857"/>
                  </a:cubicBezTo>
                  <a:cubicBezTo>
                    <a:pt x="9862" y="4990"/>
                    <a:pt x="9073" y="5550"/>
                    <a:pt x="8426" y="6058"/>
                  </a:cubicBezTo>
                  <a:cubicBezTo>
                    <a:pt x="7783" y="6565"/>
                    <a:pt x="7020" y="7543"/>
                    <a:pt x="6543" y="8154"/>
                  </a:cubicBezTo>
                  <a:cubicBezTo>
                    <a:pt x="6168" y="8797"/>
                    <a:pt x="5770" y="9669"/>
                    <a:pt x="5770" y="10116"/>
                  </a:cubicBezTo>
                  <a:cubicBezTo>
                    <a:pt x="5710" y="10553"/>
                    <a:pt x="5269" y="11287"/>
                    <a:pt x="4625" y="11641"/>
                  </a:cubicBezTo>
                  <a:cubicBezTo>
                    <a:pt x="4041" y="12046"/>
                    <a:pt x="3265" y="12744"/>
                    <a:pt x="2867" y="13177"/>
                  </a:cubicBezTo>
                  <a:cubicBezTo>
                    <a:pt x="2565" y="13649"/>
                    <a:pt x="2048" y="14453"/>
                    <a:pt x="1906" y="15016"/>
                  </a:cubicBezTo>
                  <a:cubicBezTo>
                    <a:pt x="1849" y="15594"/>
                    <a:pt x="1212" y="16443"/>
                    <a:pt x="701" y="16926"/>
                  </a:cubicBezTo>
                  <a:cubicBezTo>
                    <a:pt x="247" y="17428"/>
                    <a:pt x="-55" y="17943"/>
                    <a:pt x="8" y="18147"/>
                  </a:cubicBezTo>
                  <a:cubicBezTo>
                    <a:pt x="160" y="18320"/>
                    <a:pt x="668" y="18421"/>
                    <a:pt x="1226" y="18363"/>
                  </a:cubicBezTo>
                  <a:cubicBezTo>
                    <a:pt x="1783" y="18307"/>
                    <a:pt x="2363" y="18536"/>
                    <a:pt x="2320" y="18896"/>
                  </a:cubicBezTo>
                  <a:cubicBezTo>
                    <a:pt x="2423" y="19250"/>
                    <a:pt x="2635" y="19549"/>
                    <a:pt x="2814" y="19670"/>
                  </a:cubicBezTo>
                  <a:cubicBezTo>
                    <a:pt x="3046" y="19705"/>
                    <a:pt x="3152" y="20177"/>
                    <a:pt x="3099" y="20660"/>
                  </a:cubicBezTo>
                  <a:cubicBezTo>
                    <a:pt x="3053" y="21139"/>
                    <a:pt x="3166" y="21514"/>
                    <a:pt x="3375" y="21451"/>
                  </a:cubicBezTo>
                  <a:cubicBezTo>
                    <a:pt x="3594" y="21411"/>
                    <a:pt x="4045" y="21102"/>
                    <a:pt x="4380" y="20770"/>
                  </a:cubicBezTo>
                  <a:cubicBezTo>
                    <a:pt x="4725" y="20448"/>
                    <a:pt x="5192" y="19949"/>
                    <a:pt x="5365" y="19650"/>
                  </a:cubicBezTo>
                  <a:cubicBezTo>
                    <a:pt x="5597" y="19368"/>
                    <a:pt x="6078" y="18795"/>
                    <a:pt x="6499" y="18403"/>
                  </a:cubicBezTo>
                  <a:cubicBezTo>
                    <a:pt x="6884" y="17993"/>
                    <a:pt x="7481" y="17448"/>
                    <a:pt x="7584" y="17122"/>
                  </a:cubicBezTo>
                  <a:cubicBezTo>
                    <a:pt x="7783" y="16823"/>
                    <a:pt x="7813" y="16473"/>
                    <a:pt x="7680" y="16375"/>
                  </a:cubicBezTo>
                  <a:cubicBezTo>
                    <a:pt x="7494" y="16360"/>
                    <a:pt x="7667" y="15936"/>
                    <a:pt x="7903" y="15599"/>
                  </a:cubicBezTo>
                  <a:cubicBezTo>
                    <a:pt x="8174" y="15275"/>
                    <a:pt x="9086" y="14418"/>
                    <a:pt x="10025" y="13764"/>
                  </a:cubicBezTo>
                  <a:cubicBezTo>
                    <a:pt x="10924" y="13069"/>
                    <a:pt x="12241" y="11960"/>
                    <a:pt x="12973" y="11299"/>
                  </a:cubicBezTo>
                  <a:cubicBezTo>
                    <a:pt x="13653" y="10606"/>
                    <a:pt x="14639" y="9905"/>
                    <a:pt x="15103" y="9711"/>
                  </a:cubicBezTo>
                  <a:cubicBezTo>
                    <a:pt x="15571" y="9500"/>
                    <a:pt x="16125" y="9168"/>
                    <a:pt x="16374" y="8983"/>
                  </a:cubicBezTo>
                  <a:cubicBezTo>
                    <a:pt x="16503" y="8734"/>
                    <a:pt x="16921" y="8425"/>
                    <a:pt x="16921" y="8181"/>
                  </a:cubicBezTo>
                  <a:cubicBezTo>
                    <a:pt x="16974" y="7940"/>
                    <a:pt x="17140" y="7448"/>
                    <a:pt x="17187" y="7078"/>
                  </a:cubicBezTo>
                  <a:cubicBezTo>
                    <a:pt x="17187" y="6703"/>
                    <a:pt x="17740" y="6055"/>
                    <a:pt x="18258" y="5628"/>
                  </a:cubicBezTo>
                  <a:cubicBezTo>
                    <a:pt x="18772" y="5201"/>
                    <a:pt x="19608" y="4432"/>
                    <a:pt x="20135" y="3912"/>
                  </a:cubicBezTo>
                  <a:cubicBezTo>
                    <a:pt x="20629" y="3382"/>
                    <a:pt x="21077" y="2711"/>
                    <a:pt x="21077" y="2399"/>
                  </a:cubicBezTo>
                  <a:cubicBezTo>
                    <a:pt x="20984" y="2095"/>
                    <a:pt x="21220" y="1507"/>
                    <a:pt x="21359" y="1103"/>
                  </a:cubicBezTo>
                  <a:cubicBezTo>
                    <a:pt x="21545" y="711"/>
                    <a:pt x="21545" y="228"/>
                    <a:pt x="21349" y="102"/>
                  </a:cubicBezTo>
                  <a:cubicBezTo>
                    <a:pt x="21273" y="-86"/>
                    <a:pt x="20645" y="-6"/>
                    <a:pt x="20218" y="276"/>
                  </a:cubicBezTo>
                  <a:close/>
                  <a:moveTo>
                    <a:pt x="20218" y="2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8" name="AutoShape 1230"/>
            <p:cNvSpPr>
              <a:spLocks/>
            </p:cNvSpPr>
            <p:nvPr/>
          </p:nvSpPr>
          <p:spPr bwMode="auto">
            <a:xfrm>
              <a:off x="4559300" y="2324100"/>
              <a:ext cx="63500" cy="55563"/>
            </a:xfrm>
            <a:custGeom>
              <a:avLst/>
              <a:gdLst/>
              <a:ahLst/>
              <a:cxnLst/>
              <a:rect l="0" t="0" r="r" b="b"/>
              <a:pathLst>
                <a:path w="21483" h="21487">
                  <a:moveTo>
                    <a:pt x="21450" y="55"/>
                  </a:moveTo>
                  <a:cubicBezTo>
                    <a:pt x="21332" y="-60"/>
                    <a:pt x="20836" y="6"/>
                    <a:pt x="20393" y="243"/>
                  </a:cubicBezTo>
                  <a:cubicBezTo>
                    <a:pt x="19950" y="478"/>
                    <a:pt x="19446" y="514"/>
                    <a:pt x="19275" y="464"/>
                  </a:cubicBezTo>
                  <a:cubicBezTo>
                    <a:pt x="19104" y="398"/>
                    <a:pt x="18720" y="469"/>
                    <a:pt x="18375" y="521"/>
                  </a:cubicBezTo>
                  <a:cubicBezTo>
                    <a:pt x="18058" y="671"/>
                    <a:pt x="17404" y="1050"/>
                    <a:pt x="16962" y="1466"/>
                  </a:cubicBezTo>
                  <a:cubicBezTo>
                    <a:pt x="16494" y="1830"/>
                    <a:pt x="16057" y="2065"/>
                    <a:pt x="15898" y="2020"/>
                  </a:cubicBezTo>
                  <a:cubicBezTo>
                    <a:pt x="15762" y="1905"/>
                    <a:pt x="15421" y="2051"/>
                    <a:pt x="15126" y="2237"/>
                  </a:cubicBezTo>
                  <a:cubicBezTo>
                    <a:pt x="14841" y="2446"/>
                    <a:pt x="14270" y="3104"/>
                    <a:pt x="13830" y="3664"/>
                  </a:cubicBezTo>
                  <a:cubicBezTo>
                    <a:pt x="13410" y="4246"/>
                    <a:pt x="12795" y="4559"/>
                    <a:pt x="12471" y="4559"/>
                  </a:cubicBezTo>
                  <a:cubicBezTo>
                    <a:pt x="12156" y="4479"/>
                    <a:pt x="11875" y="4009"/>
                    <a:pt x="11939" y="3515"/>
                  </a:cubicBezTo>
                  <a:cubicBezTo>
                    <a:pt x="11939" y="3020"/>
                    <a:pt x="11796" y="2780"/>
                    <a:pt x="11590" y="2996"/>
                  </a:cubicBezTo>
                  <a:cubicBezTo>
                    <a:pt x="11359" y="3184"/>
                    <a:pt x="10831" y="3701"/>
                    <a:pt x="10315" y="3995"/>
                  </a:cubicBezTo>
                  <a:cubicBezTo>
                    <a:pt x="9843" y="4364"/>
                    <a:pt x="8836" y="5459"/>
                    <a:pt x="8079" y="6461"/>
                  </a:cubicBezTo>
                  <a:cubicBezTo>
                    <a:pt x="7350" y="7490"/>
                    <a:pt x="6612" y="8551"/>
                    <a:pt x="6509" y="8861"/>
                  </a:cubicBezTo>
                  <a:cubicBezTo>
                    <a:pt x="6383" y="9164"/>
                    <a:pt x="6074" y="9752"/>
                    <a:pt x="5772" y="10130"/>
                  </a:cubicBezTo>
                  <a:cubicBezTo>
                    <a:pt x="5510" y="10542"/>
                    <a:pt x="4499" y="11406"/>
                    <a:pt x="3546" y="12039"/>
                  </a:cubicBezTo>
                  <a:cubicBezTo>
                    <a:pt x="2612" y="12695"/>
                    <a:pt x="1685" y="13574"/>
                    <a:pt x="1481" y="13985"/>
                  </a:cubicBezTo>
                  <a:cubicBezTo>
                    <a:pt x="1254" y="14380"/>
                    <a:pt x="1219" y="14888"/>
                    <a:pt x="1370" y="15027"/>
                  </a:cubicBezTo>
                  <a:cubicBezTo>
                    <a:pt x="1514" y="15170"/>
                    <a:pt x="1576" y="15753"/>
                    <a:pt x="1547" y="16298"/>
                  </a:cubicBezTo>
                  <a:cubicBezTo>
                    <a:pt x="1491" y="16837"/>
                    <a:pt x="1273" y="17708"/>
                    <a:pt x="988" y="18211"/>
                  </a:cubicBezTo>
                  <a:cubicBezTo>
                    <a:pt x="736" y="18729"/>
                    <a:pt x="376" y="19591"/>
                    <a:pt x="202" y="20149"/>
                  </a:cubicBezTo>
                  <a:cubicBezTo>
                    <a:pt x="56" y="20717"/>
                    <a:pt x="0" y="21270"/>
                    <a:pt x="0" y="21418"/>
                  </a:cubicBezTo>
                  <a:cubicBezTo>
                    <a:pt x="97" y="21512"/>
                    <a:pt x="305" y="21540"/>
                    <a:pt x="505" y="21310"/>
                  </a:cubicBezTo>
                  <a:cubicBezTo>
                    <a:pt x="736" y="21124"/>
                    <a:pt x="1440" y="20285"/>
                    <a:pt x="2032" y="19406"/>
                  </a:cubicBezTo>
                  <a:cubicBezTo>
                    <a:pt x="2638" y="18550"/>
                    <a:pt x="3410" y="17673"/>
                    <a:pt x="3759" y="17495"/>
                  </a:cubicBezTo>
                  <a:cubicBezTo>
                    <a:pt x="4056" y="17234"/>
                    <a:pt x="4539" y="17062"/>
                    <a:pt x="4732" y="17119"/>
                  </a:cubicBezTo>
                  <a:cubicBezTo>
                    <a:pt x="4924" y="17072"/>
                    <a:pt x="5085" y="17356"/>
                    <a:pt x="5046" y="17666"/>
                  </a:cubicBezTo>
                  <a:cubicBezTo>
                    <a:pt x="5017" y="17974"/>
                    <a:pt x="5281" y="18127"/>
                    <a:pt x="5624" y="17998"/>
                  </a:cubicBezTo>
                  <a:cubicBezTo>
                    <a:pt x="5981" y="17915"/>
                    <a:pt x="6979" y="16959"/>
                    <a:pt x="7848" y="15948"/>
                  </a:cubicBezTo>
                  <a:cubicBezTo>
                    <a:pt x="8718" y="14937"/>
                    <a:pt x="9758" y="13879"/>
                    <a:pt x="10160" y="13614"/>
                  </a:cubicBezTo>
                  <a:cubicBezTo>
                    <a:pt x="10548" y="13320"/>
                    <a:pt x="11316" y="12664"/>
                    <a:pt x="11838" y="12124"/>
                  </a:cubicBezTo>
                  <a:cubicBezTo>
                    <a:pt x="12380" y="11599"/>
                    <a:pt x="13282" y="10391"/>
                    <a:pt x="13900" y="9510"/>
                  </a:cubicBezTo>
                  <a:cubicBezTo>
                    <a:pt x="14514" y="8612"/>
                    <a:pt x="15353" y="7768"/>
                    <a:pt x="15749" y="7558"/>
                  </a:cubicBezTo>
                  <a:cubicBezTo>
                    <a:pt x="16156" y="7373"/>
                    <a:pt x="17104" y="6658"/>
                    <a:pt x="17802" y="5883"/>
                  </a:cubicBezTo>
                  <a:cubicBezTo>
                    <a:pt x="18538" y="5145"/>
                    <a:pt x="19192" y="4138"/>
                    <a:pt x="19374" y="3727"/>
                  </a:cubicBezTo>
                  <a:cubicBezTo>
                    <a:pt x="19516" y="3295"/>
                    <a:pt x="20090" y="2333"/>
                    <a:pt x="20657" y="1597"/>
                  </a:cubicBezTo>
                  <a:cubicBezTo>
                    <a:pt x="21224" y="857"/>
                    <a:pt x="21600" y="107"/>
                    <a:pt x="21450" y="55"/>
                  </a:cubicBezTo>
                  <a:close/>
                  <a:moveTo>
                    <a:pt x="21450" y="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29" name="AutoShape 1231"/>
            <p:cNvSpPr>
              <a:spLocks/>
            </p:cNvSpPr>
            <p:nvPr/>
          </p:nvSpPr>
          <p:spPr bwMode="auto">
            <a:xfrm>
              <a:off x="4876800" y="2870200"/>
              <a:ext cx="228600" cy="273050"/>
            </a:xfrm>
            <a:custGeom>
              <a:avLst/>
              <a:gdLst/>
              <a:ahLst/>
              <a:cxnLst/>
              <a:rect l="0" t="0" r="r" b="b"/>
              <a:pathLst>
                <a:path w="21569" h="21535">
                  <a:moveTo>
                    <a:pt x="19663" y="16480"/>
                  </a:moveTo>
                  <a:cubicBezTo>
                    <a:pt x="19687" y="16340"/>
                    <a:pt x="19849" y="16108"/>
                    <a:pt x="20038" y="15974"/>
                  </a:cubicBezTo>
                  <a:cubicBezTo>
                    <a:pt x="20230" y="15845"/>
                    <a:pt x="20413" y="15671"/>
                    <a:pt x="20457" y="15604"/>
                  </a:cubicBezTo>
                  <a:cubicBezTo>
                    <a:pt x="20502" y="15538"/>
                    <a:pt x="20675" y="15368"/>
                    <a:pt x="20840" y="15226"/>
                  </a:cubicBezTo>
                  <a:cubicBezTo>
                    <a:pt x="20997" y="15077"/>
                    <a:pt x="21182" y="14959"/>
                    <a:pt x="21233" y="14959"/>
                  </a:cubicBezTo>
                  <a:cubicBezTo>
                    <a:pt x="21283" y="14952"/>
                    <a:pt x="21389" y="14914"/>
                    <a:pt x="21464" y="14869"/>
                  </a:cubicBezTo>
                  <a:cubicBezTo>
                    <a:pt x="21549" y="14834"/>
                    <a:pt x="21589" y="14719"/>
                    <a:pt x="21558" y="14636"/>
                  </a:cubicBezTo>
                  <a:cubicBezTo>
                    <a:pt x="21529" y="14552"/>
                    <a:pt x="21435" y="14552"/>
                    <a:pt x="21334" y="14626"/>
                  </a:cubicBezTo>
                  <a:cubicBezTo>
                    <a:pt x="21239" y="14705"/>
                    <a:pt x="21102" y="14791"/>
                    <a:pt x="21031" y="14807"/>
                  </a:cubicBezTo>
                  <a:cubicBezTo>
                    <a:pt x="20966" y="14836"/>
                    <a:pt x="20796" y="14904"/>
                    <a:pt x="20665" y="14977"/>
                  </a:cubicBezTo>
                  <a:cubicBezTo>
                    <a:pt x="20540" y="15055"/>
                    <a:pt x="20333" y="15133"/>
                    <a:pt x="20221" y="15167"/>
                  </a:cubicBezTo>
                  <a:cubicBezTo>
                    <a:pt x="20107" y="15200"/>
                    <a:pt x="19903" y="15321"/>
                    <a:pt x="19765" y="15436"/>
                  </a:cubicBezTo>
                  <a:cubicBezTo>
                    <a:pt x="19632" y="15554"/>
                    <a:pt x="19482" y="15721"/>
                    <a:pt x="19447" y="15817"/>
                  </a:cubicBezTo>
                  <a:cubicBezTo>
                    <a:pt x="19406" y="15911"/>
                    <a:pt x="19198" y="16123"/>
                    <a:pt x="18980" y="16287"/>
                  </a:cubicBezTo>
                  <a:cubicBezTo>
                    <a:pt x="18768" y="16454"/>
                    <a:pt x="18570" y="16640"/>
                    <a:pt x="18543" y="16706"/>
                  </a:cubicBezTo>
                  <a:cubicBezTo>
                    <a:pt x="18539" y="16776"/>
                    <a:pt x="18400" y="16877"/>
                    <a:pt x="18309" y="16961"/>
                  </a:cubicBezTo>
                  <a:cubicBezTo>
                    <a:pt x="18200" y="17030"/>
                    <a:pt x="18025" y="17012"/>
                    <a:pt x="17900" y="16924"/>
                  </a:cubicBezTo>
                  <a:cubicBezTo>
                    <a:pt x="17777" y="16836"/>
                    <a:pt x="17690" y="16682"/>
                    <a:pt x="17681" y="16592"/>
                  </a:cubicBezTo>
                  <a:cubicBezTo>
                    <a:pt x="17690" y="16503"/>
                    <a:pt x="17661" y="16345"/>
                    <a:pt x="17623" y="16248"/>
                  </a:cubicBezTo>
                  <a:cubicBezTo>
                    <a:pt x="17593" y="16149"/>
                    <a:pt x="17566" y="15982"/>
                    <a:pt x="17571" y="15879"/>
                  </a:cubicBezTo>
                  <a:cubicBezTo>
                    <a:pt x="17584" y="15776"/>
                    <a:pt x="17618" y="15765"/>
                    <a:pt x="17675" y="15855"/>
                  </a:cubicBezTo>
                  <a:cubicBezTo>
                    <a:pt x="17734" y="15945"/>
                    <a:pt x="17831" y="16004"/>
                    <a:pt x="17898" y="15989"/>
                  </a:cubicBezTo>
                  <a:cubicBezTo>
                    <a:pt x="17961" y="15967"/>
                    <a:pt x="18130" y="15816"/>
                    <a:pt x="18268" y="15641"/>
                  </a:cubicBezTo>
                  <a:cubicBezTo>
                    <a:pt x="18416" y="15473"/>
                    <a:pt x="18453" y="15345"/>
                    <a:pt x="18378" y="15371"/>
                  </a:cubicBezTo>
                  <a:cubicBezTo>
                    <a:pt x="18298" y="15389"/>
                    <a:pt x="18125" y="15387"/>
                    <a:pt x="17985" y="15358"/>
                  </a:cubicBezTo>
                  <a:cubicBezTo>
                    <a:pt x="17850" y="15319"/>
                    <a:pt x="17812" y="15292"/>
                    <a:pt x="17907" y="15292"/>
                  </a:cubicBezTo>
                  <a:cubicBezTo>
                    <a:pt x="18002" y="15301"/>
                    <a:pt x="18210" y="15265"/>
                    <a:pt x="18362" y="15227"/>
                  </a:cubicBezTo>
                  <a:cubicBezTo>
                    <a:pt x="18515" y="15194"/>
                    <a:pt x="18516" y="15172"/>
                    <a:pt x="18366" y="15150"/>
                  </a:cubicBezTo>
                  <a:cubicBezTo>
                    <a:pt x="18214" y="15136"/>
                    <a:pt x="18018" y="15096"/>
                    <a:pt x="17965" y="15028"/>
                  </a:cubicBezTo>
                  <a:cubicBezTo>
                    <a:pt x="17900" y="14969"/>
                    <a:pt x="17859" y="14846"/>
                    <a:pt x="17875" y="14747"/>
                  </a:cubicBezTo>
                  <a:cubicBezTo>
                    <a:pt x="17892" y="14649"/>
                    <a:pt x="17952" y="14533"/>
                    <a:pt x="18013" y="14497"/>
                  </a:cubicBezTo>
                  <a:cubicBezTo>
                    <a:pt x="18063" y="14451"/>
                    <a:pt x="18255" y="14417"/>
                    <a:pt x="18422" y="14403"/>
                  </a:cubicBezTo>
                  <a:cubicBezTo>
                    <a:pt x="18588" y="14403"/>
                    <a:pt x="18765" y="14342"/>
                    <a:pt x="18824" y="14304"/>
                  </a:cubicBezTo>
                  <a:cubicBezTo>
                    <a:pt x="18879" y="14262"/>
                    <a:pt x="19055" y="14121"/>
                    <a:pt x="19221" y="13995"/>
                  </a:cubicBezTo>
                  <a:cubicBezTo>
                    <a:pt x="19374" y="13860"/>
                    <a:pt x="19582" y="13633"/>
                    <a:pt x="19675" y="13478"/>
                  </a:cubicBezTo>
                  <a:cubicBezTo>
                    <a:pt x="19755" y="13317"/>
                    <a:pt x="19956" y="13174"/>
                    <a:pt x="20105" y="13160"/>
                  </a:cubicBezTo>
                  <a:cubicBezTo>
                    <a:pt x="20251" y="13126"/>
                    <a:pt x="20407" y="13167"/>
                    <a:pt x="20450" y="13207"/>
                  </a:cubicBezTo>
                  <a:cubicBezTo>
                    <a:pt x="20488" y="13252"/>
                    <a:pt x="20681" y="13187"/>
                    <a:pt x="20873" y="13065"/>
                  </a:cubicBezTo>
                  <a:cubicBezTo>
                    <a:pt x="21065" y="12940"/>
                    <a:pt x="21297" y="12750"/>
                    <a:pt x="21362" y="12626"/>
                  </a:cubicBezTo>
                  <a:cubicBezTo>
                    <a:pt x="21443" y="12507"/>
                    <a:pt x="21514" y="12303"/>
                    <a:pt x="21534" y="12175"/>
                  </a:cubicBezTo>
                  <a:cubicBezTo>
                    <a:pt x="21547" y="12047"/>
                    <a:pt x="21531" y="11877"/>
                    <a:pt x="21503" y="11790"/>
                  </a:cubicBezTo>
                  <a:cubicBezTo>
                    <a:pt x="21459" y="11707"/>
                    <a:pt x="21316" y="11745"/>
                    <a:pt x="21175" y="11885"/>
                  </a:cubicBezTo>
                  <a:cubicBezTo>
                    <a:pt x="21036" y="12027"/>
                    <a:pt x="20825" y="12195"/>
                    <a:pt x="20715" y="12264"/>
                  </a:cubicBezTo>
                  <a:cubicBezTo>
                    <a:pt x="20601" y="12329"/>
                    <a:pt x="20484" y="12349"/>
                    <a:pt x="20479" y="12291"/>
                  </a:cubicBezTo>
                  <a:cubicBezTo>
                    <a:pt x="20455" y="12237"/>
                    <a:pt x="20358" y="12193"/>
                    <a:pt x="20254" y="12185"/>
                  </a:cubicBezTo>
                  <a:cubicBezTo>
                    <a:pt x="20149" y="12177"/>
                    <a:pt x="20050" y="12239"/>
                    <a:pt x="20030" y="12315"/>
                  </a:cubicBezTo>
                  <a:cubicBezTo>
                    <a:pt x="19999" y="12388"/>
                    <a:pt x="19963" y="12549"/>
                    <a:pt x="19931" y="12669"/>
                  </a:cubicBezTo>
                  <a:cubicBezTo>
                    <a:pt x="19907" y="12790"/>
                    <a:pt x="19803" y="12925"/>
                    <a:pt x="19721" y="12966"/>
                  </a:cubicBezTo>
                  <a:cubicBezTo>
                    <a:pt x="19641" y="13011"/>
                    <a:pt x="19511" y="13051"/>
                    <a:pt x="19433" y="13058"/>
                  </a:cubicBezTo>
                  <a:cubicBezTo>
                    <a:pt x="19355" y="13065"/>
                    <a:pt x="19183" y="13153"/>
                    <a:pt x="19042" y="13249"/>
                  </a:cubicBezTo>
                  <a:cubicBezTo>
                    <a:pt x="18903" y="13348"/>
                    <a:pt x="18713" y="13485"/>
                    <a:pt x="18609" y="13544"/>
                  </a:cubicBezTo>
                  <a:cubicBezTo>
                    <a:pt x="18512" y="13609"/>
                    <a:pt x="18416" y="13735"/>
                    <a:pt x="18381" y="13825"/>
                  </a:cubicBezTo>
                  <a:cubicBezTo>
                    <a:pt x="18356" y="13918"/>
                    <a:pt x="18272" y="14016"/>
                    <a:pt x="18206" y="14061"/>
                  </a:cubicBezTo>
                  <a:cubicBezTo>
                    <a:pt x="18137" y="14103"/>
                    <a:pt x="18108" y="14063"/>
                    <a:pt x="18154" y="13985"/>
                  </a:cubicBezTo>
                  <a:cubicBezTo>
                    <a:pt x="18189" y="13903"/>
                    <a:pt x="18261" y="13755"/>
                    <a:pt x="18281" y="13646"/>
                  </a:cubicBezTo>
                  <a:cubicBezTo>
                    <a:pt x="18320" y="13539"/>
                    <a:pt x="18279" y="13508"/>
                    <a:pt x="18199" y="13567"/>
                  </a:cubicBezTo>
                  <a:cubicBezTo>
                    <a:pt x="18132" y="13639"/>
                    <a:pt x="17986" y="13693"/>
                    <a:pt x="17890" y="13686"/>
                  </a:cubicBezTo>
                  <a:cubicBezTo>
                    <a:pt x="17792" y="13686"/>
                    <a:pt x="17795" y="13627"/>
                    <a:pt x="17907" y="13573"/>
                  </a:cubicBezTo>
                  <a:cubicBezTo>
                    <a:pt x="18009" y="13506"/>
                    <a:pt x="18187" y="13377"/>
                    <a:pt x="18300" y="13278"/>
                  </a:cubicBezTo>
                  <a:cubicBezTo>
                    <a:pt x="18398" y="13167"/>
                    <a:pt x="18542" y="13042"/>
                    <a:pt x="18599" y="12987"/>
                  </a:cubicBezTo>
                  <a:cubicBezTo>
                    <a:pt x="18652" y="12928"/>
                    <a:pt x="18649" y="12849"/>
                    <a:pt x="18580" y="12826"/>
                  </a:cubicBezTo>
                  <a:cubicBezTo>
                    <a:pt x="18509" y="12804"/>
                    <a:pt x="18540" y="12713"/>
                    <a:pt x="18629" y="12635"/>
                  </a:cubicBezTo>
                  <a:cubicBezTo>
                    <a:pt x="18716" y="12558"/>
                    <a:pt x="18865" y="12394"/>
                    <a:pt x="18934" y="12257"/>
                  </a:cubicBezTo>
                  <a:cubicBezTo>
                    <a:pt x="19005" y="12123"/>
                    <a:pt x="19020" y="11998"/>
                    <a:pt x="18958" y="11977"/>
                  </a:cubicBezTo>
                  <a:cubicBezTo>
                    <a:pt x="18894" y="11961"/>
                    <a:pt x="18765" y="12004"/>
                    <a:pt x="18686" y="12095"/>
                  </a:cubicBezTo>
                  <a:cubicBezTo>
                    <a:pt x="18596" y="12180"/>
                    <a:pt x="18568" y="12170"/>
                    <a:pt x="18626" y="12074"/>
                  </a:cubicBezTo>
                  <a:cubicBezTo>
                    <a:pt x="18673" y="11972"/>
                    <a:pt x="18759" y="11816"/>
                    <a:pt x="18778" y="11716"/>
                  </a:cubicBezTo>
                  <a:cubicBezTo>
                    <a:pt x="18809" y="11619"/>
                    <a:pt x="18779" y="11536"/>
                    <a:pt x="18722" y="11517"/>
                  </a:cubicBezTo>
                  <a:cubicBezTo>
                    <a:pt x="18666" y="11496"/>
                    <a:pt x="18513" y="11533"/>
                    <a:pt x="18394" y="11588"/>
                  </a:cubicBezTo>
                  <a:cubicBezTo>
                    <a:pt x="18273" y="11638"/>
                    <a:pt x="18029" y="11666"/>
                    <a:pt x="17851" y="11673"/>
                  </a:cubicBezTo>
                  <a:cubicBezTo>
                    <a:pt x="17672" y="11665"/>
                    <a:pt x="17675" y="11647"/>
                    <a:pt x="17854" y="11618"/>
                  </a:cubicBezTo>
                  <a:cubicBezTo>
                    <a:pt x="18035" y="11603"/>
                    <a:pt x="18230" y="11536"/>
                    <a:pt x="18282" y="11483"/>
                  </a:cubicBezTo>
                  <a:cubicBezTo>
                    <a:pt x="18334" y="11433"/>
                    <a:pt x="18524" y="11356"/>
                    <a:pt x="18695" y="11305"/>
                  </a:cubicBezTo>
                  <a:cubicBezTo>
                    <a:pt x="18863" y="11247"/>
                    <a:pt x="19121" y="11160"/>
                    <a:pt x="19254" y="11086"/>
                  </a:cubicBezTo>
                  <a:cubicBezTo>
                    <a:pt x="19381" y="11004"/>
                    <a:pt x="19562" y="10901"/>
                    <a:pt x="19631" y="10828"/>
                  </a:cubicBezTo>
                  <a:cubicBezTo>
                    <a:pt x="19697" y="10752"/>
                    <a:pt x="19836" y="10669"/>
                    <a:pt x="19933" y="10642"/>
                  </a:cubicBezTo>
                  <a:cubicBezTo>
                    <a:pt x="20025" y="10604"/>
                    <a:pt x="20191" y="10528"/>
                    <a:pt x="20299" y="10461"/>
                  </a:cubicBezTo>
                  <a:cubicBezTo>
                    <a:pt x="20400" y="10386"/>
                    <a:pt x="20498" y="10236"/>
                    <a:pt x="20541" y="10126"/>
                  </a:cubicBezTo>
                  <a:cubicBezTo>
                    <a:pt x="20573" y="10012"/>
                    <a:pt x="20650" y="9853"/>
                    <a:pt x="20739" y="9791"/>
                  </a:cubicBezTo>
                  <a:cubicBezTo>
                    <a:pt x="20819" y="9720"/>
                    <a:pt x="20919" y="9591"/>
                    <a:pt x="20950" y="9501"/>
                  </a:cubicBezTo>
                  <a:cubicBezTo>
                    <a:pt x="20991" y="9413"/>
                    <a:pt x="20928" y="9297"/>
                    <a:pt x="20819" y="9252"/>
                  </a:cubicBezTo>
                  <a:cubicBezTo>
                    <a:pt x="20705" y="9214"/>
                    <a:pt x="20518" y="9056"/>
                    <a:pt x="20366" y="8944"/>
                  </a:cubicBezTo>
                  <a:cubicBezTo>
                    <a:pt x="20215" y="8829"/>
                    <a:pt x="19980" y="8727"/>
                    <a:pt x="19821" y="8734"/>
                  </a:cubicBezTo>
                  <a:cubicBezTo>
                    <a:pt x="19665" y="8740"/>
                    <a:pt x="19391" y="8782"/>
                    <a:pt x="19223" y="8846"/>
                  </a:cubicBezTo>
                  <a:cubicBezTo>
                    <a:pt x="19046" y="8891"/>
                    <a:pt x="18847" y="8949"/>
                    <a:pt x="18770" y="8958"/>
                  </a:cubicBezTo>
                  <a:cubicBezTo>
                    <a:pt x="18692" y="8965"/>
                    <a:pt x="18597" y="9041"/>
                    <a:pt x="18591" y="9130"/>
                  </a:cubicBezTo>
                  <a:cubicBezTo>
                    <a:pt x="18560" y="9215"/>
                    <a:pt x="18474" y="9396"/>
                    <a:pt x="18388" y="9533"/>
                  </a:cubicBezTo>
                  <a:cubicBezTo>
                    <a:pt x="18292" y="9664"/>
                    <a:pt x="18164" y="9893"/>
                    <a:pt x="18118" y="10042"/>
                  </a:cubicBezTo>
                  <a:cubicBezTo>
                    <a:pt x="18052" y="10186"/>
                    <a:pt x="17910" y="10371"/>
                    <a:pt x="17799" y="10461"/>
                  </a:cubicBezTo>
                  <a:cubicBezTo>
                    <a:pt x="17682" y="10545"/>
                    <a:pt x="17651" y="10542"/>
                    <a:pt x="17730" y="10457"/>
                  </a:cubicBezTo>
                  <a:cubicBezTo>
                    <a:pt x="17798" y="10365"/>
                    <a:pt x="17916" y="10180"/>
                    <a:pt x="17960" y="10032"/>
                  </a:cubicBezTo>
                  <a:cubicBezTo>
                    <a:pt x="18011" y="9885"/>
                    <a:pt x="18014" y="9725"/>
                    <a:pt x="17988" y="9673"/>
                  </a:cubicBezTo>
                  <a:cubicBezTo>
                    <a:pt x="17964" y="9619"/>
                    <a:pt x="17973" y="9507"/>
                    <a:pt x="18035" y="9414"/>
                  </a:cubicBezTo>
                  <a:cubicBezTo>
                    <a:pt x="18091" y="9321"/>
                    <a:pt x="18225" y="9146"/>
                    <a:pt x="18302" y="9010"/>
                  </a:cubicBezTo>
                  <a:cubicBezTo>
                    <a:pt x="18386" y="8878"/>
                    <a:pt x="18412" y="8770"/>
                    <a:pt x="18354" y="8764"/>
                  </a:cubicBezTo>
                  <a:cubicBezTo>
                    <a:pt x="18296" y="8764"/>
                    <a:pt x="18129" y="8845"/>
                    <a:pt x="17977" y="8953"/>
                  </a:cubicBezTo>
                  <a:cubicBezTo>
                    <a:pt x="17824" y="9059"/>
                    <a:pt x="17646" y="9239"/>
                    <a:pt x="17557" y="9337"/>
                  </a:cubicBezTo>
                  <a:cubicBezTo>
                    <a:pt x="17480" y="9440"/>
                    <a:pt x="17320" y="9590"/>
                    <a:pt x="17199" y="9655"/>
                  </a:cubicBezTo>
                  <a:cubicBezTo>
                    <a:pt x="17087" y="9734"/>
                    <a:pt x="16945" y="9758"/>
                    <a:pt x="16901" y="9709"/>
                  </a:cubicBezTo>
                  <a:cubicBezTo>
                    <a:pt x="16843" y="9674"/>
                    <a:pt x="16761" y="9679"/>
                    <a:pt x="16701" y="9746"/>
                  </a:cubicBezTo>
                  <a:cubicBezTo>
                    <a:pt x="16642" y="9812"/>
                    <a:pt x="16497" y="9899"/>
                    <a:pt x="16392" y="9950"/>
                  </a:cubicBezTo>
                  <a:cubicBezTo>
                    <a:pt x="16283" y="9993"/>
                    <a:pt x="16155" y="9996"/>
                    <a:pt x="16106" y="9945"/>
                  </a:cubicBezTo>
                  <a:cubicBezTo>
                    <a:pt x="16040" y="9909"/>
                    <a:pt x="15896" y="9924"/>
                    <a:pt x="15761" y="10022"/>
                  </a:cubicBezTo>
                  <a:cubicBezTo>
                    <a:pt x="15627" y="10118"/>
                    <a:pt x="15451" y="10330"/>
                    <a:pt x="15410" y="10506"/>
                  </a:cubicBezTo>
                  <a:cubicBezTo>
                    <a:pt x="15347" y="10678"/>
                    <a:pt x="15190" y="10902"/>
                    <a:pt x="15049" y="11002"/>
                  </a:cubicBezTo>
                  <a:cubicBezTo>
                    <a:pt x="14903" y="11100"/>
                    <a:pt x="14873" y="11094"/>
                    <a:pt x="14987" y="10994"/>
                  </a:cubicBezTo>
                  <a:cubicBezTo>
                    <a:pt x="15098" y="10891"/>
                    <a:pt x="15255" y="10625"/>
                    <a:pt x="15320" y="10404"/>
                  </a:cubicBezTo>
                  <a:cubicBezTo>
                    <a:pt x="15394" y="10183"/>
                    <a:pt x="15567" y="9861"/>
                    <a:pt x="15692" y="9682"/>
                  </a:cubicBezTo>
                  <a:cubicBezTo>
                    <a:pt x="15826" y="9505"/>
                    <a:pt x="15895" y="9353"/>
                    <a:pt x="15861" y="9329"/>
                  </a:cubicBezTo>
                  <a:cubicBezTo>
                    <a:pt x="15826" y="9307"/>
                    <a:pt x="15706" y="9351"/>
                    <a:pt x="15589" y="9398"/>
                  </a:cubicBezTo>
                  <a:cubicBezTo>
                    <a:pt x="15490" y="9467"/>
                    <a:pt x="15345" y="9578"/>
                    <a:pt x="15271" y="9666"/>
                  </a:cubicBezTo>
                  <a:cubicBezTo>
                    <a:pt x="15218" y="9762"/>
                    <a:pt x="15062" y="9929"/>
                    <a:pt x="14936" y="10039"/>
                  </a:cubicBezTo>
                  <a:cubicBezTo>
                    <a:pt x="14820" y="10154"/>
                    <a:pt x="14715" y="10188"/>
                    <a:pt x="14671" y="10140"/>
                  </a:cubicBezTo>
                  <a:cubicBezTo>
                    <a:pt x="14646" y="10083"/>
                    <a:pt x="14688" y="9980"/>
                    <a:pt x="14764" y="9912"/>
                  </a:cubicBezTo>
                  <a:cubicBezTo>
                    <a:pt x="14835" y="9838"/>
                    <a:pt x="14926" y="9703"/>
                    <a:pt x="14976" y="9611"/>
                  </a:cubicBezTo>
                  <a:cubicBezTo>
                    <a:pt x="15006" y="9514"/>
                    <a:pt x="15040" y="9409"/>
                    <a:pt x="15025" y="9377"/>
                  </a:cubicBezTo>
                  <a:cubicBezTo>
                    <a:pt x="15029" y="9343"/>
                    <a:pt x="14906" y="9357"/>
                    <a:pt x="14777" y="9386"/>
                  </a:cubicBezTo>
                  <a:cubicBezTo>
                    <a:pt x="14653" y="9430"/>
                    <a:pt x="14411" y="9585"/>
                    <a:pt x="14222" y="9729"/>
                  </a:cubicBezTo>
                  <a:cubicBezTo>
                    <a:pt x="14046" y="9880"/>
                    <a:pt x="13847" y="9981"/>
                    <a:pt x="13783" y="9989"/>
                  </a:cubicBezTo>
                  <a:cubicBezTo>
                    <a:pt x="13720" y="9980"/>
                    <a:pt x="13639" y="9869"/>
                    <a:pt x="13615" y="9737"/>
                  </a:cubicBezTo>
                  <a:cubicBezTo>
                    <a:pt x="13583" y="9607"/>
                    <a:pt x="13528" y="9481"/>
                    <a:pt x="13484" y="9481"/>
                  </a:cubicBezTo>
                  <a:cubicBezTo>
                    <a:pt x="13440" y="9481"/>
                    <a:pt x="13271" y="9561"/>
                    <a:pt x="13115" y="9693"/>
                  </a:cubicBezTo>
                  <a:cubicBezTo>
                    <a:pt x="12952" y="9817"/>
                    <a:pt x="12765" y="9910"/>
                    <a:pt x="12695" y="9917"/>
                  </a:cubicBezTo>
                  <a:cubicBezTo>
                    <a:pt x="12626" y="9909"/>
                    <a:pt x="12557" y="9877"/>
                    <a:pt x="12561" y="9837"/>
                  </a:cubicBezTo>
                  <a:cubicBezTo>
                    <a:pt x="12550" y="9797"/>
                    <a:pt x="12694" y="9667"/>
                    <a:pt x="12867" y="9553"/>
                  </a:cubicBezTo>
                  <a:cubicBezTo>
                    <a:pt x="13044" y="9442"/>
                    <a:pt x="13281" y="9214"/>
                    <a:pt x="13405" y="9059"/>
                  </a:cubicBezTo>
                  <a:cubicBezTo>
                    <a:pt x="13531" y="8903"/>
                    <a:pt x="13691" y="8678"/>
                    <a:pt x="13742" y="8556"/>
                  </a:cubicBezTo>
                  <a:cubicBezTo>
                    <a:pt x="13801" y="8434"/>
                    <a:pt x="13799" y="8352"/>
                    <a:pt x="13736" y="8376"/>
                  </a:cubicBezTo>
                  <a:cubicBezTo>
                    <a:pt x="13672" y="8399"/>
                    <a:pt x="13554" y="8418"/>
                    <a:pt x="13485" y="8441"/>
                  </a:cubicBezTo>
                  <a:cubicBezTo>
                    <a:pt x="13411" y="8458"/>
                    <a:pt x="13235" y="8566"/>
                    <a:pt x="13082" y="8675"/>
                  </a:cubicBezTo>
                  <a:cubicBezTo>
                    <a:pt x="12936" y="8789"/>
                    <a:pt x="12881" y="8781"/>
                    <a:pt x="12971" y="8665"/>
                  </a:cubicBezTo>
                  <a:cubicBezTo>
                    <a:pt x="13059" y="8549"/>
                    <a:pt x="13267" y="8342"/>
                    <a:pt x="13436" y="8210"/>
                  </a:cubicBezTo>
                  <a:cubicBezTo>
                    <a:pt x="13606" y="8076"/>
                    <a:pt x="13874" y="7940"/>
                    <a:pt x="14035" y="7911"/>
                  </a:cubicBezTo>
                  <a:cubicBezTo>
                    <a:pt x="14192" y="7869"/>
                    <a:pt x="14390" y="7812"/>
                    <a:pt x="14475" y="7765"/>
                  </a:cubicBezTo>
                  <a:cubicBezTo>
                    <a:pt x="14554" y="7714"/>
                    <a:pt x="14732" y="7619"/>
                    <a:pt x="14883" y="7588"/>
                  </a:cubicBezTo>
                  <a:cubicBezTo>
                    <a:pt x="15027" y="7544"/>
                    <a:pt x="15216" y="7416"/>
                    <a:pt x="15322" y="7328"/>
                  </a:cubicBezTo>
                  <a:cubicBezTo>
                    <a:pt x="15422" y="7232"/>
                    <a:pt x="15516" y="7095"/>
                    <a:pt x="15529" y="7023"/>
                  </a:cubicBezTo>
                  <a:cubicBezTo>
                    <a:pt x="15535" y="6952"/>
                    <a:pt x="15513" y="6929"/>
                    <a:pt x="15453" y="6954"/>
                  </a:cubicBezTo>
                  <a:cubicBezTo>
                    <a:pt x="15398" y="6987"/>
                    <a:pt x="15210" y="7066"/>
                    <a:pt x="15039" y="7131"/>
                  </a:cubicBezTo>
                  <a:cubicBezTo>
                    <a:pt x="14867" y="7197"/>
                    <a:pt x="14653" y="7222"/>
                    <a:pt x="14558" y="7222"/>
                  </a:cubicBezTo>
                  <a:cubicBezTo>
                    <a:pt x="14467" y="7202"/>
                    <a:pt x="14278" y="7134"/>
                    <a:pt x="14163" y="7041"/>
                  </a:cubicBezTo>
                  <a:cubicBezTo>
                    <a:pt x="14032" y="6966"/>
                    <a:pt x="13874" y="6916"/>
                    <a:pt x="13793" y="6937"/>
                  </a:cubicBezTo>
                  <a:cubicBezTo>
                    <a:pt x="13714" y="6964"/>
                    <a:pt x="13584" y="7037"/>
                    <a:pt x="13495" y="7094"/>
                  </a:cubicBezTo>
                  <a:cubicBezTo>
                    <a:pt x="13408" y="7152"/>
                    <a:pt x="13414" y="7070"/>
                    <a:pt x="13520" y="6916"/>
                  </a:cubicBezTo>
                  <a:cubicBezTo>
                    <a:pt x="13618" y="6758"/>
                    <a:pt x="13757" y="6593"/>
                    <a:pt x="13807" y="6535"/>
                  </a:cubicBezTo>
                  <a:cubicBezTo>
                    <a:pt x="13872" y="6488"/>
                    <a:pt x="13910" y="6414"/>
                    <a:pt x="13907" y="6381"/>
                  </a:cubicBezTo>
                  <a:cubicBezTo>
                    <a:pt x="13893" y="6350"/>
                    <a:pt x="13812" y="6348"/>
                    <a:pt x="13708" y="6384"/>
                  </a:cubicBezTo>
                  <a:cubicBezTo>
                    <a:pt x="13604" y="6417"/>
                    <a:pt x="13411" y="6529"/>
                    <a:pt x="13280" y="6627"/>
                  </a:cubicBezTo>
                  <a:cubicBezTo>
                    <a:pt x="13148" y="6725"/>
                    <a:pt x="12958" y="6898"/>
                    <a:pt x="12869" y="7018"/>
                  </a:cubicBezTo>
                  <a:cubicBezTo>
                    <a:pt x="12780" y="7139"/>
                    <a:pt x="12582" y="7335"/>
                    <a:pt x="12449" y="7468"/>
                  </a:cubicBezTo>
                  <a:cubicBezTo>
                    <a:pt x="12314" y="7598"/>
                    <a:pt x="12112" y="7754"/>
                    <a:pt x="12015" y="7824"/>
                  </a:cubicBezTo>
                  <a:cubicBezTo>
                    <a:pt x="11910" y="7887"/>
                    <a:pt x="11800" y="8030"/>
                    <a:pt x="11737" y="8125"/>
                  </a:cubicBezTo>
                  <a:cubicBezTo>
                    <a:pt x="11683" y="8223"/>
                    <a:pt x="11527" y="8389"/>
                    <a:pt x="11375" y="8484"/>
                  </a:cubicBezTo>
                  <a:cubicBezTo>
                    <a:pt x="11230" y="8583"/>
                    <a:pt x="11011" y="8757"/>
                    <a:pt x="10888" y="8875"/>
                  </a:cubicBezTo>
                  <a:cubicBezTo>
                    <a:pt x="10761" y="8990"/>
                    <a:pt x="10680" y="8976"/>
                    <a:pt x="10704" y="8837"/>
                  </a:cubicBezTo>
                  <a:cubicBezTo>
                    <a:pt x="10731" y="8698"/>
                    <a:pt x="10779" y="8486"/>
                    <a:pt x="10829" y="8368"/>
                  </a:cubicBezTo>
                  <a:cubicBezTo>
                    <a:pt x="10860" y="8248"/>
                    <a:pt x="11012" y="8051"/>
                    <a:pt x="11107" y="7909"/>
                  </a:cubicBezTo>
                  <a:cubicBezTo>
                    <a:pt x="11220" y="7777"/>
                    <a:pt x="11310" y="7594"/>
                    <a:pt x="11341" y="7512"/>
                  </a:cubicBezTo>
                  <a:cubicBezTo>
                    <a:pt x="11361" y="7429"/>
                    <a:pt x="11467" y="7236"/>
                    <a:pt x="11561" y="7078"/>
                  </a:cubicBezTo>
                  <a:cubicBezTo>
                    <a:pt x="11663" y="6923"/>
                    <a:pt x="11854" y="6685"/>
                    <a:pt x="12000" y="6560"/>
                  </a:cubicBezTo>
                  <a:cubicBezTo>
                    <a:pt x="12141" y="6430"/>
                    <a:pt x="12268" y="6264"/>
                    <a:pt x="12295" y="6194"/>
                  </a:cubicBezTo>
                  <a:cubicBezTo>
                    <a:pt x="12322" y="6125"/>
                    <a:pt x="12422" y="5999"/>
                    <a:pt x="12516" y="5907"/>
                  </a:cubicBezTo>
                  <a:cubicBezTo>
                    <a:pt x="12619" y="5823"/>
                    <a:pt x="12755" y="5696"/>
                    <a:pt x="12820" y="5632"/>
                  </a:cubicBezTo>
                  <a:cubicBezTo>
                    <a:pt x="12899" y="5576"/>
                    <a:pt x="13029" y="5384"/>
                    <a:pt x="13141" y="5231"/>
                  </a:cubicBezTo>
                  <a:cubicBezTo>
                    <a:pt x="13254" y="5077"/>
                    <a:pt x="13439" y="4879"/>
                    <a:pt x="13560" y="4794"/>
                  </a:cubicBezTo>
                  <a:cubicBezTo>
                    <a:pt x="13688" y="4715"/>
                    <a:pt x="13858" y="4553"/>
                    <a:pt x="13946" y="4446"/>
                  </a:cubicBezTo>
                  <a:cubicBezTo>
                    <a:pt x="14034" y="4338"/>
                    <a:pt x="14187" y="4215"/>
                    <a:pt x="14286" y="4177"/>
                  </a:cubicBezTo>
                  <a:cubicBezTo>
                    <a:pt x="14383" y="4130"/>
                    <a:pt x="14501" y="4056"/>
                    <a:pt x="14529" y="3993"/>
                  </a:cubicBezTo>
                  <a:cubicBezTo>
                    <a:pt x="14568" y="3935"/>
                    <a:pt x="14587" y="3821"/>
                    <a:pt x="14608" y="3748"/>
                  </a:cubicBezTo>
                  <a:cubicBezTo>
                    <a:pt x="14608" y="3673"/>
                    <a:pt x="14683" y="3527"/>
                    <a:pt x="14764" y="3427"/>
                  </a:cubicBezTo>
                  <a:cubicBezTo>
                    <a:pt x="14850" y="3330"/>
                    <a:pt x="14964" y="3154"/>
                    <a:pt x="15028" y="3040"/>
                  </a:cubicBezTo>
                  <a:cubicBezTo>
                    <a:pt x="15105" y="2932"/>
                    <a:pt x="15134" y="2916"/>
                    <a:pt x="15106" y="3012"/>
                  </a:cubicBezTo>
                  <a:cubicBezTo>
                    <a:pt x="15071" y="3106"/>
                    <a:pt x="15033" y="3253"/>
                    <a:pt x="14989" y="3328"/>
                  </a:cubicBezTo>
                  <a:cubicBezTo>
                    <a:pt x="14952" y="3408"/>
                    <a:pt x="14950" y="3527"/>
                    <a:pt x="14994" y="3591"/>
                  </a:cubicBezTo>
                  <a:cubicBezTo>
                    <a:pt x="15036" y="3655"/>
                    <a:pt x="15175" y="3562"/>
                    <a:pt x="15318" y="3386"/>
                  </a:cubicBezTo>
                  <a:cubicBezTo>
                    <a:pt x="15460" y="3209"/>
                    <a:pt x="15744" y="2916"/>
                    <a:pt x="15945" y="2727"/>
                  </a:cubicBezTo>
                  <a:cubicBezTo>
                    <a:pt x="16156" y="2548"/>
                    <a:pt x="16356" y="2305"/>
                    <a:pt x="16437" y="2216"/>
                  </a:cubicBezTo>
                  <a:cubicBezTo>
                    <a:pt x="16496" y="2117"/>
                    <a:pt x="16512" y="1982"/>
                    <a:pt x="16466" y="1911"/>
                  </a:cubicBezTo>
                  <a:cubicBezTo>
                    <a:pt x="16419" y="1840"/>
                    <a:pt x="16322" y="1787"/>
                    <a:pt x="16256" y="1801"/>
                  </a:cubicBezTo>
                  <a:cubicBezTo>
                    <a:pt x="16190" y="1801"/>
                    <a:pt x="16067" y="1881"/>
                    <a:pt x="15967" y="1946"/>
                  </a:cubicBezTo>
                  <a:cubicBezTo>
                    <a:pt x="15861" y="2004"/>
                    <a:pt x="15789" y="1977"/>
                    <a:pt x="15785" y="1859"/>
                  </a:cubicBezTo>
                  <a:cubicBezTo>
                    <a:pt x="15780" y="1740"/>
                    <a:pt x="15739" y="1604"/>
                    <a:pt x="15682" y="1567"/>
                  </a:cubicBezTo>
                  <a:cubicBezTo>
                    <a:pt x="15628" y="1529"/>
                    <a:pt x="15638" y="1421"/>
                    <a:pt x="15699" y="1337"/>
                  </a:cubicBezTo>
                  <a:cubicBezTo>
                    <a:pt x="15772" y="1262"/>
                    <a:pt x="15892" y="1162"/>
                    <a:pt x="15991" y="1120"/>
                  </a:cubicBezTo>
                  <a:cubicBezTo>
                    <a:pt x="16095" y="1093"/>
                    <a:pt x="16283" y="1060"/>
                    <a:pt x="16417" y="1074"/>
                  </a:cubicBezTo>
                  <a:cubicBezTo>
                    <a:pt x="16551" y="1081"/>
                    <a:pt x="16763" y="1133"/>
                    <a:pt x="16889" y="1188"/>
                  </a:cubicBezTo>
                  <a:cubicBezTo>
                    <a:pt x="17018" y="1238"/>
                    <a:pt x="17180" y="1239"/>
                    <a:pt x="17270" y="1203"/>
                  </a:cubicBezTo>
                  <a:cubicBezTo>
                    <a:pt x="17353" y="1159"/>
                    <a:pt x="17494" y="1042"/>
                    <a:pt x="17571" y="936"/>
                  </a:cubicBezTo>
                  <a:cubicBezTo>
                    <a:pt x="17656" y="835"/>
                    <a:pt x="17749" y="571"/>
                    <a:pt x="17805" y="355"/>
                  </a:cubicBezTo>
                  <a:cubicBezTo>
                    <a:pt x="17835" y="137"/>
                    <a:pt x="17777" y="-30"/>
                    <a:pt x="17650" y="5"/>
                  </a:cubicBezTo>
                  <a:cubicBezTo>
                    <a:pt x="17523" y="33"/>
                    <a:pt x="17320" y="92"/>
                    <a:pt x="17205" y="148"/>
                  </a:cubicBezTo>
                  <a:cubicBezTo>
                    <a:pt x="17090" y="203"/>
                    <a:pt x="17006" y="294"/>
                    <a:pt x="17001" y="353"/>
                  </a:cubicBezTo>
                  <a:cubicBezTo>
                    <a:pt x="17013" y="410"/>
                    <a:pt x="16936" y="452"/>
                    <a:pt x="16857" y="472"/>
                  </a:cubicBezTo>
                  <a:cubicBezTo>
                    <a:pt x="16775" y="472"/>
                    <a:pt x="16728" y="414"/>
                    <a:pt x="16755" y="325"/>
                  </a:cubicBezTo>
                  <a:cubicBezTo>
                    <a:pt x="16777" y="235"/>
                    <a:pt x="16801" y="115"/>
                    <a:pt x="16783" y="61"/>
                  </a:cubicBezTo>
                  <a:cubicBezTo>
                    <a:pt x="16769" y="5"/>
                    <a:pt x="16689" y="5"/>
                    <a:pt x="16598" y="63"/>
                  </a:cubicBezTo>
                  <a:cubicBezTo>
                    <a:pt x="16505" y="120"/>
                    <a:pt x="16350" y="257"/>
                    <a:pt x="16233" y="351"/>
                  </a:cubicBezTo>
                  <a:cubicBezTo>
                    <a:pt x="16131" y="457"/>
                    <a:pt x="15937" y="546"/>
                    <a:pt x="15821" y="562"/>
                  </a:cubicBezTo>
                  <a:cubicBezTo>
                    <a:pt x="15702" y="562"/>
                    <a:pt x="15541" y="659"/>
                    <a:pt x="15462" y="742"/>
                  </a:cubicBezTo>
                  <a:cubicBezTo>
                    <a:pt x="15388" y="830"/>
                    <a:pt x="15208" y="967"/>
                    <a:pt x="15085" y="1066"/>
                  </a:cubicBezTo>
                  <a:cubicBezTo>
                    <a:pt x="14951" y="1154"/>
                    <a:pt x="14728" y="1264"/>
                    <a:pt x="14573" y="1264"/>
                  </a:cubicBezTo>
                  <a:cubicBezTo>
                    <a:pt x="14418" y="1279"/>
                    <a:pt x="14155" y="1391"/>
                    <a:pt x="14000" y="1525"/>
                  </a:cubicBezTo>
                  <a:cubicBezTo>
                    <a:pt x="13843" y="1656"/>
                    <a:pt x="13558" y="1872"/>
                    <a:pt x="13364" y="2004"/>
                  </a:cubicBezTo>
                  <a:cubicBezTo>
                    <a:pt x="13176" y="2140"/>
                    <a:pt x="12978" y="2358"/>
                    <a:pt x="12949" y="2493"/>
                  </a:cubicBezTo>
                  <a:cubicBezTo>
                    <a:pt x="12915" y="2628"/>
                    <a:pt x="12795" y="2767"/>
                    <a:pt x="12692" y="2794"/>
                  </a:cubicBezTo>
                  <a:cubicBezTo>
                    <a:pt x="12597" y="2831"/>
                    <a:pt x="12447" y="2848"/>
                    <a:pt x="12370" y="2833"/>
                  </a:cubicBezTo>
                  <a:cubicBezTo>
                    <a:pt x="12293" y="2820"/>
                    <a:pt x="12215" y="2845"/>
                    <a:pt x="12181" y="2871"/>
                  </a:cubicBezTo>
                  <a:cubicBezTo>
                    <a:pt x="12158" y="2901"/>
                    <a:pt x="12181" y="2959"/>
                    <a:pt x="12205" y="3011"/>
                  </a:cubicBezTo>
                  <a:cubicBezTo>
                    <a:pt x="12242" y="3058"/>
                    <a:pt x="12264" y="3163"/>
                    <a:pt x="12250" y="3243"/>
                  </a:cubicBezTo>
                  <a:cubicBezTo>
                    <a:pt x="12234" y="3323"/>
                    <a:pt x="12139" y="3475"/>
                    <a:pt x="12036" y="3582"/>
                  </a:cubicBezTo>
                  <a:cubicBezTo>
                    <a:pt x="11938" y="3691"/>
                    <a:pt x="11694" y="3884"/>
                    <a:pt x="11508" y="4021"/>
                  </a:cubicBezTo>
                  <a:cubicBezTo>
                    <a:pt x="11318" y="4156"/>
                    <a:pt x="11072" y="4315"/>
                    <a:pt x="10970" y="4385"/>
                  </a:cubicBezTo>
                  <a:cubicBezTo>
                    <a:pt x="10864" y="4450"/>
                    <a:pt x="10792" y="4533"/>
                    <a:pt x="10809" y="4574"/>
                  </a:cubicBezTo>
                  <a:cubicBezTo>
                    <a:pt x="10827" y="4615"/>
                    <a:pt x="10795" y="4701"/>
                    <a:pt x="10737" y="4767"/>
                  </a:cubicBezTo>
                  <a:cubicBezTo>
                    <a:pt x="10676" y="4831"/>
                    <a:pt x="10574" y="4927"/>
                    <a:pt x="10491" y="4934"/>
                  </a:cubicBezTo>
                  <a:cubicBezTo>
                    <a:pt x="10412" y="4962"/>
                    <a:pt x="10330" y="5052"/>
                    <a:pt x="10309" y="5138"/>
                  </a:cubicBezTo>
                  <a:cubicBezTo>
                    <a:pt x="10284" y="5222"/>
                    <a:pt x="10336" y="5308"/>
                    <a:pt x="10398" y="5349"/>
                  </a:cubicBezTo>
                  <a:cubicBezTo>
                    <a:pt x="10462" y="5389"/>
                    <a:pt x="10454" y="5450"/>
                    <a:pt x="10387" y="5523"/>
                  </a:cubicBezTo>
                  <a:cubicBezTo>
                    <a:pt x="10298" y="5579"/>
                    <a:pt x="10144" y="5658"/>
                    <a:pt x="10023" y="5689"/>
                  </a:cubicBezTo>
                  <a:cubicBezTo>
                    <a:pt x="9903" y="5715"/>
                    <a:pt x="9708" y="5843"/>
                    <a:pt x="9603" y="5981"/>
                  </a:cubicBezTo>
                  <a:cubicBezTo>
                    <a:pt x="9487" y="6113"/>
                    <a:pt x="9389" y="6281"/>
                    <a:pt x="9369" y="6349"/>
                  </a:cubicBezTo>
                  <a:cubicBezTo>
                    <a:pt x="9339" y="6412"/>
                    <a:pt x="9378" y="6473"/>
                    <a:pt x="9422" y="6459"/>
                  </a:cubicBezTo>
                  <a:cubicBezTo>
                    <a:pt x="9471" y="6451"/>
                    <a:pt x="9558" y="6453"/>
                    <a:pt x="9599" y="6484"/>
                  </a:cubicBezTo>
                  <a:cubicBezTo>
                    <a:pt x="9647" y="6508"/>
                    <a:pt x="9599" y="6569"/>
                    <a:pt x="9499" y="6637"/>
                  </a:cubicBezTo>
                  <a:cubicBezTo>
                    <a:pt x="9387" y="6688"/>
                    <a:pt x="9223" y="6779"/>
                    <a:pt x="9114" y="6807"/>
                  </a:cubicBezTo>
                  <a:cubicBezTo>
                    <a:pt x="9005" y="6835"/>
                    <a:pt x="8812" y="6996"/>
                    <a:pt x="8678" y="7157"/>
                  </a:cubicBezTo>
                  <a:cubicBezTo>
                    <a:pt x="8542" y="7317"/>
                    <a:pt x="8413" y="7532"/>
                    <a:pt x="8367" y="7625"/>
                  </a:cubicBezTo>
                  <a:cubicBezTo>
                    <a:pt x="8328" y="7719"/>
                    <a:pt x="8097" y="8042"/>
                    <a:pt x="7850" y="8339"/>
                  </a:cubicBezTo>
                  <a:cubicBezTo>
                    <a:pt x="7606" y="8638"/>
                    <a:pt x="7397" y="8955"/>
                    <a:pt x="7373" y="9043"/>
                  </a:cubicBezTo>
                  <a:cubicBezTo>
                    <a:pt x="7359" y="9134"/>
                    <a:pt x="7385" y="9257"/>
                    <a:pt x="7447" y="9315"/>
                  </a:cubicBezTo>
                  <a:cubicBezTo>
                    <a:pt x="7509" y="9372"/>
                    <a:pt x="7535" y="9496"/>
                    <a:pt x="7527" y="9586"/>
                  </a:cubicBezTo>
                  <a:cubicBezTo>
                    <a:pt x="7501" y="9673"/>
                    <a:pt x="7448" y="9763"/>
                    <a:pt x="7385" y="9779"/>
                  </a:cubicBezTo>
                  <a:cubicBezTo>
                    <a:pt x="7324" y="9801"/>
                    <a:pt x="7250" y="9775"/>
                    <a:pt x="7212" y="9735"/>
                  </a:cubicBezTo>
                  <a:cubicBezTo>
                    <a:pt x="7192" y="9687"/>
                    <a:pt x="7105" y="9673"/>
                    <a:pt x="7050" y="9695"/>
                  </a:cubicBezTo>
                  <a:cubicBezTo>
                    <a:pt x="6994" y="9712"/>
                    <a:pt x="6798" y="9813"/>
                    <a:pt x="6615" y="9912"/>
                  </a:cubicBezTo>
                  <a:cubicBezTo>
                    <a:pt x="6441" y="10019"/>
                    <a:pt x="6211" y="10190"/>
                    <a:pt x="6133" y="10314"/>
                  </a:cubicBezTo>
                  <a:cubicBezTo>
                    <a:pt x="6054" y="10439"/>
                    <a:pt x="5973" y="10594"/>
                    <a:pt x="5976" y="10662"/>
                  </a:cubicBezTo>
                  <a:cubicBezTo>
                    <a:pt x="5976" y="10730"/>
                    <a:pt x="6051" y="10799"/>
                    <a:pt x="6145" y="10791"/>
                  </a:cubicBezTo>
                  <a:cubicBezTo>
                    <a:pt x="6241" y="10798"/>
                    <a:pt x="6354" y="10850"/>
                    <a:pt x="6424" y="10890"/>
                  </a:cubicBezTo>
                  <a:cubicBezTo>
                    <a:pt x="6479" y="10942"/>
                    <a:pt x="6476" y="11032"/>
                    <a:pt x="6402" y="11083"/>
                  </a:cubicBezTo>
                  <a:cubicBezTo>
                    <a:pt x="6336" y="11142"/>
                    <a:pt x="6247" y="11260"/>
                    <a:pt x="6214" y="11353"/>
                  </a:cubicBezTo>
                  <a:cubicBezTo>
                    <a:pt x="6176" y="11444"/>
                    <a:pt x="6050" y="11591"/>
                    <a:pt x="5935" y="11684"/>
                  </a:cubicBezTo>
                  <a:cubicBezTo>
                    <a:pt x="5823" y="11778"/>
                    <a:pt x="5565" y="11826"/>
                    <a:pt x="5375" y="11798"/>
                  </a:cubicBezTo>
                  <a:cubicBezTo>
                    <a:pt x="5191" y="11750"/>
                    <a:pt x="4993" y="11799"/>
                    <a:pt x="4933" y="11852"/>
                  </a:cubicBezTo>
                  <a:cubicBezTo>
                    <a:pt x="4881" y="11908"/>
                    <a:pt x="4822" y="12022"/>
                    <a:pt x="4795" y="12102"/>
                  </a:cubicBezTo>
                  <a:cubicBezTo>
                    <a:pt x="4772" y="12182"/>
                    <a:pt x="4655" y="12349"/>
                    <a:pt x="4525" y="12466"/>
                  </a:cubicBezTo>
                  <a:cubicBezTo>
                    <a:pt x="4393" y="12580"/>
                    <a:pt x="4200" y="12842"/>
                    <a:pt x="4071" y="13030"/>
                  </a:cubicBezTo>
                  <a:cubicBezTo>
                    <a:pt x="3943" y="13221"/>
                    <a:pt x="3755" y="13483"/>
                    <a:pt x="3650" y="13614"/>
                  </a:cubicBezTo>
                  <a:cubicBezTo>
                    <a:pt x="3536" y="13739"/>
                    <a:pt x="3405" y="13841"/>
                    <a:pt x="3353" y="13858"/>
                  </a:cubicBezTo>
                  <a:cubicBezTo>
                    <a:pt x="3296" y="13858"/>
                    <a:pt x="3265" y="13762"/>
                    <a:pt x="3270" y="13636"/>
                  </a:cubicBezTo>
                  <a:cubicBezTo>
                    <a:pt x="3283" y="13510"/>
                    <a:pt x="3225" y="13510"/>
                    <a:pt x="3151" y="13641"/>
                  </a:cubicBezTo>
                  <a:cubicBezTo>
                    <a:pt x="3064" y="13764"/>
                    <a:pt x="2962" y="13792"/>
                    <a:pt x="2910" y="13689"/>
                  </a:cubicBezTo>
                  <a:cubicBezTo>
                    <a:pt x="2862" y="13585"/>
                    <a:pt x="2835" y="13441"/>
                    <a:pt x="2875" y="13366"/>
                  </a:cubicBezTo>
                  <a:cubicBezTo>
                    <a:pt x="2908" y="13288"/>
                    <a:pt x="3029" y="13146"/>
                    <a:pt x="3158" y="13067"/>
                  </a:cubicBezTo>
                  <a:cubicBezTo>
                    <a:pt x="3272" y="12975"/>
                    <a:pt x="3416" y="12836"/>
                    <a:pt x="3468" y="12749"/>
                  </a:cubicBezTo>
                  <a:cubicBezTo>
                    <a:pt x="3520" y="12662"/>
                    <a:pt x="3526" y="12640"/>
                    <a:pt x="3466" y="12687"/>
                  </a:cubicBezTo>
                  <a:cubicBezTo>
                    <a:pt x="3421" y="12745"/>
                    <a:pt x="3250" y="12870"/>
                    <a:pt x="3107" y="12978"/>
                  </a:cubicBezTo>
                  <a:cubicBezTo>
                    <a:pt x="2958" y="13081"/>
                    <a:pt x="2652" y="13296"/>
                    <a:pt x="2417" y="13445"/>
                  </a:cubicBezTo>
                  <a:cubicBezTo>
                    <a:pt x="2186" y="13599"/>
                    <a:pt x="1888" y="13902"/>
                    <a:pt x="1762" y="14128"/>
                  </a:cubicBezTo>
                  <a:cubicBezTo>
                    <a:pt x="1625" y="14349"/>
                    <a:pt x="1587" y="14529"/>
                    <a:pt x="1653" y="14516"/>
                  </a:cubicBezTo>
                  <a:cubicBezTo>
                    <a:pt x="1722" y="14516"/>
                    <a:pt x="1891" y="14450"/>
                    <a:pt x="2025" y="14392"/>
                  </a:cubicBezTo>
                  <a:cubicBezTo>
                    <a:pt x="2163" y="14341"/>
                    <a:pt x="2489" y="14242"/>
                    <a:pt x="2750" y="14176"/>
                  </a:cubicBezTo>
                  <a:cubicBezTo>
                    <a:pt x="3015" y="14117"/>
                    <a:pt x="3398" y="14039"/>
                    <a:pt x="3603" y="14000"/>
                  </a:cubicBezTo>
                  <a:cubicBezTo>
                    <a:pt x="3809" y="13964"/>
                    <a:pt x="3859" y="14048"/>
                    <a:pt x="3716" y="14183"/>
                  </a:cubicBezTo>
                  <a:cubicBezTo>
                    <a:pt x="3573" y="14318"/>
                    <a:pt x="3293" y="14618"/>
                    <a:pt x="3081" y="14841"/>
                  </a:cubicBezTo>
                  <a:cubicBezTo>
                    <a:pt x="2885" y="15075"/>
                    <a:pt x="2604" y="15407"/>
                    <a:pt x="2462" y="15583"/>
                  </a:cubicBezTo>
                  <a:cubicBezTo>
                    <a:pt x="2324" y="15762"/>
                    <a:pt x="2042" y="16035"/>
                    <a:pt x="1801" y="16155"/>
                  </a:cubicBezTo>
                  <a:cubicBezTo>
                    <a:pt x="1575" y="16291"/>
                    <a:pt x="1214" y="16532"/>
                    <a:pt x="1027" y="16715"/>
                  </a:cubicBezTo>
                  <a:cubicBezTo>
                    <a:pt x="825" y="16884"/>
                    <a:pt x="580" y="17052"/>
                    <a:pt x="470" y="17067"/>
                  </a:cubicBezTo>
                  <a:cubicBezTo>
                    <a:pt x="368" y="17102"/>
                    <a:pt x="230" y="17180"/>
                    <a:pt x="182" y="17276"/>
                  </a:cubicBezTo>
                  <a:cubicBezTo>
                    <a:pt x="129" y="17370"/>
                    <a:pt x="102" y="17521"/>
                    <a:pt x="133" y="17608"/>
                  </a:cubicBezTo>
                  <a:cubicBezTo>
                    <a:pt x="154" y="17696"/>
                    <a:pt x="134" y="17878"/>
                    <a:pt x="72" y="18009"/>
                  </a:cubicBezTo>
                  <a:cubicBezTo>
                    <a:pt x="24" y="18145"/>
                    <a:pt x="-11" y="18303"/>
                    <a:pt x="3" y="18368"/>
                  </a:cubicBezTo>
                  <a:cubicBezTo>
                    <a:pt x="41" y="18424"/>
                    <a:pt x="118" y="18482"/>
                    <a:pt x="216" y="18482"/>
                  </a:cubicBezTo>
                  <a:cubicBezTo>
                    <a:pt x="313" y="18475"/>
                    <a:pt x="536" y="18502"/>
                    <a:pt x="705" y="18539"/>
                  </a:cubicBezTo>
                  <a:cubicBezTo>
                    <a:pt x="876" y="18573"/>
                    <a:pt x="1189" y="18551"/>
                    <a:pt x="1398" y="18494"/>
                  </a:cubicBezTo>
                  <a:cubicBezTo>
                    <a:pt x="1608" y="18443"/>
                    <a:pt x="1884" y="18292"/>
                    <a:pt x="2036" y="18189"/>
                  </a:cubicBezTo>
                  <a:cubicBezTo>
                    <a:pt x="2183" y="18078"/>
                    <a:pt x="2427" y="17952"/>
                    <a:pt x="2584" y="17911"/>
                  </a:cubicBezTo>
                  <a:cubicBezTo>
                    <a:pt x="2741" y="17868"/>
                    <a:pt x="2983" y="17745"/>
                    <a:pt x="3121" y="17630"/>
                  </a:cubicBezTo>
                  <a:cubicBezTo>
                    <a:pt x="3252" y="17509"/>
                    <a:pt x="3414" y="17361"/>
                    <a:pt x="3453" y="17283"/>
                  </a:cubicBezTo>
                  <a:cubicBezTo>
                    <a:pt x="3502" y="17209"/>
                    <a:pt x="3545" y="17190"/>
                    <a:pt x="3550" y="17242"/>
                  </a:cubicBezTo>
                  <a:cubicBezTo>
                    <a:pt x="3557" y="17295"/>
                    <a:pt x="3471" y="17445"/>
                    <a:pt x="3370" y="17580"/>
                  </a:cubicBezTo>
                  <a:cubicBezTo>
                    <a:pt x="3267" y="17717"/>
                    <a:pt x="3328" y="17829"/>
                    <a:pt x="3515" y="17844"/>
                  </a:cubicBezTo>
                  <a:cubicBezTo>
                    <a:pt x="3700" y="17851"/>
                    <a:pt x="3974" y="17802"/>
                    <a:pt x="4127" y="17737"/>
                  </a:cubicBezTo>
                  <a:cubicBezTo>
                    <a:pt x="4274" y="17662"/>
                    <a:pt x="4431" y="17682"/>
                    <a:pt x="4493" y="17754"/>
                  </a:cubicBezTo>
                  <a:cubicBezTo>
                    <a:pt x="4537" y="17835"/>
                    <a:pt x="4785" y="17900"/>
                    <a:pt x="5026" y="17865"/>
                  </a:cubicBezTo>
                  <a:cubicBezTo>
                    <a:pt x="5267" y="17850"/>
                    <a:pt x="5592" y="17782"/>
                    <a:pt x="5749" y="17728"/>
                  </a:cubicBezTo>
                  <a:cubicBezTo>
                    <a:pt x="5904" y="17668"/>
                    <a:pt x="6036" y="17676"/>
                    <a:pt x="6071" y="17728"/>
                  </a:cubicBezTo>
                  <a:cubicBezTo>
                    <a:pt x="6095" y="17785"/>
                    <a:pt x="6151" y="17888"/>
                    <a:pt x="6212" y="17948"/>
                  </a:cubicBezTo>
                  <a:cubicBezTo>
                    <a:pt x="6268" y="18012"/>
                    <a:pt x="6453" y="18055"/>
                    <a:pt x="6618" y="18041"/>
                  </a:cubicBezTo>
                  <a:cubicBezTo>
                    <a:pt x="6785" y="18028"/>
                    <a:pt x="6965" y="17983"/>
                    <a:pt x="7034" y="17966"/>
                  </a:cubicBezTo>
                  <a:cubicBezTo>
                    <a:pt x="7095" y="17936"/>
                    <a:pt x="7152" y="17959"/>
                    <a:pt x="7192" y="17999"/>
                  </a:cubicBezTo>
                  <a:cubicBezTo>
                    <a:pt x="7214" y="18048"/>
                    <a:pt x="7331" y="18070"/>
                    <a:pt x="7441" y="18055"/>
                  </a:cubicBezTo>
                  <a:cubicBezTo>
                    <a:pt x="7552" y="18041"/>
                    <a:pt x="7715" y="17975"/>
                    <a:pt x="7799" y="17913"/>
                  </a:cubicBezTo>
                  <a:cubicBezTo>
                    <a:pt x="7896" y="17863"/>
                    <a:pt x="7957" y="17756"/>
                    <a:pt x="7966" y="17702"/>
                  </a:cubicBezTo>
                  <a:cubicBezTo>
                    <a:pt x="7970" y="17647"/>
                    <a:pt x="8097" y="17594"/>
                    <a:pt x="8244" y="17580"/>
                  </a:cubicBezTo>
                  <a:cubicBezTo>
                    <a:pt x="8392" y="17587"/>
                    <a:pt x="8553" y="17590"/>
                    <a:pt x="8590" y="17637"/>
                  </a:cubicBezTo>
                  <a:cubicBezTo>
                    <a:pt x="8637" y="17677"/>
                    <a:pt x="8735" y="17694"/>
                    <a:pt x="8818" y="17678"/>
                  </a:cubicBezTo>
                  <a:cubicBezTo>
                    <a:pt x="8900" y="17662"/>
                    <a:pt x="9027" y="17587"/>
                    <a:pt x="9091" y="17511"/>
                  </a:cubicBezTo>
                  <a:cubicBezTo>
                    <a:pt x="9166" y="17445"/>
                    <a:pt x="9288" y="17368"/>
                    <a:pt x="9378" y="17360"/>
                  </a:cubicBezTo>
                  <a:cubicBezTo>
                    <a:pt x="9467" y="17344"/>
                    <a:pt x="9608" y="17371"/>
                    <a:pt x="9692" y="17398"/>
                  </a:cubicBezTo>
                  <a:cubicBezTo>
                    <a:pt x="9765" y="17444"/>
                    <a:pt x="9887" y="17390"/>
                    <a:pt x="9930" y="17305"/>
                  </a:cubicBezTo>
                  <a:cubicBezTo>
                    <a:pt x="9975" y="17222"/>
                    <a:pt x="10011" y="17096"/>
                    <a:pt x="10003" y="17024"/>
                  </a:cubicBezTo>
                  <a:cubicBezTo>
                    <a:pt x="9997" y="16951"/>
                    <a:pt x="10017" y="16781"/>
                    <a:pt x="10048" y="16648"/>
                  </a:cubicBezTo>
                  <a:cubicBezTo>
                    <a:pt x="10071" y="16511"/>
                    <a:pt x="10140" y="16440"/>
                    <a:pt x="10185" y="16486"/>
                  </a:cubicBezTo>
                  <a:cubicBezTo>
                    <a:pt x="10229" y="16531"/>
                    <a:pt x="10336" y="16483"/>
                    <a:pt x="10407" y="16372"/>
                  </a:cubicBezTo>
                  <a:cubicBezTo>
                    <a:pt x="10481" y="16261"/>
                    <a:pt x="10606" y="16152"/>
                    <a:pt x="10675" y="16125"/>
                  </a:cubicBezTo>
                  <a:cubicBezTo>
                    <a:pt x="10740" y="16093"/>
                    <a:pt x="10753" y="16111"/>
                    <a:pt x="10706" y="16161"/>
                  </a:cubicBezTo>
                  <a:cubicBezTo>
                    <a:pt x="10654" y="16209"/>
                    <a:pt x="10539" y="16392"/>
                    <a:pt x="10475" y="16572"/>
                  </a:cubicBezTo>
                  <a:cubicBezTo>
                    <a:pt x="10392" y="16748"/>
                    <a:pt x="10364" y="16922"/>
                    <a:pt x="10390" y="16959"/>
                  </a:cubicBezTo>
                  <a:cubicBezTo>
                    <a:pt x="10419" y="16994"/>
                    <a:pt x="10498" y="16950"/>
                    <a:pt x="10543" y="16854"/>
                  </a:cubicBezTo>
                  <a:cubicBezTo>
                    <a:pt x="10602" y="16763"/>
                    <a:pt x="10750" y="16596"/>
                    <a:pt x="10862" y="16473"/>
                  </a:cubicBezTo>
                  <a:cubicBezTo>
                    <a:pt x="10982" y="16358"/>
                    <a:pt x="11113" y="16248"/>
                    <a:pt x="11158" y="16235"/>
                  </a:cubicBezTo>
                  <a:cubicBezTo>
                    <a:pt x="11201" y="16219"/>
                    <a:pt x="11215" y="16295"/>
                    <a:pt x="11207" y="16403"/>
                  </a:cubicBezTo>
                  <a:cubicBezTo>
                    <a:pt x="11194" y="16510"/>
                    <a:pt x="11119" y="16684"/>
                    <a:pt x="11036" y="16783"/>
                  </a:cubicBezTo>
                  <a:cubicBezTo>
                    <a:pt x="10966" y="16887"/>
                    <a:pt x="10889" y="17023"/>
                    <a:pt x="10889" y="17091"/>
                  </a:cubicBezTo>
                  <a:cubicBezTo>
                    <a:pt x="10895" y="17158"/>
                    <a:pt x="10980" y="17174"/>
                    <a:pt x="11104" y="17141"/>
                  </a:cubicBezTo>
                  <a:cubicBezTo>
                    <a:pt x="11232" y="17112"/>
                    <a:pt x="11367" y="17050"/>
                    <a:pt x="11419" y="17033"/>
                  </a:cubicBezTo>
                  <a:cubicBezTo>
                    <a:pt x="11470" y="17013"/>
                    <a:pt x="11494" y="17028"/>
                    <a:pt x="11483" y="17066"/>
                  </a:cubicBezTo>
                  <a:cubicBezTo>
                    <a:pt x="11465" y="17102"/>
                    <a:pt x="11284" y="17240"/>
                    <a:pt x="11082" y="17376"/>
                  </a:cubicBezTo>
                  <a:cubicBezTo>
                    <a:pt x="10879" y="17513"/>
                    <a:pt x="10553" y="17688"/>
                    <a:pt x="10368" y="17781"/>
                  </a:cubicBezTo>
                  <a:cubicBezTo>
                    <a:pt x="10190" y="17881"/>
                    <a:pt x="10065" y="17970"/>
                    <a:pt x="10113" y="17996"/>
                  </a:cubicBezTo>
                  <a:cubicBezTo>
                    <a:pt x="10150" y="18035"/>
                    <a:pt x="10256" y="18033"/>
                    <a:pt x="10300" y="17986"/>
                  </a:cubicBezTo>
                  <a:cubicBezTo>
                    <a:pt x="10366" y="17963"/>
                    <a:pt x="10489" y="17893"/>
                    <a:pt x="10601" y="17886"/>
                  </a:cubicBezTo>
                  <a:cubicBezTo>
                    <a:pt x="10709" y="17865"/>
                    <a:pt x="10805" y="17899"/>
                    <a:pt x="10847" y="17938"/>
                  </a:cubicBezTo>
                  <a:cubicBezTo>
                    <a:pt x="10863" y="17990"/>
                    <a:pt x="10983" y="18016"/>
                    <a:pt x="11091" y="18009"/>
                  </a:cubicBezTo>
                  <a:cubicBezTo>
                    <a:pt x="11198" y="17995"/>
                    <a:pt x="11313" y="18032"/>
                    <a:pt x="11354" y="18076"/>
                  </a:cubicBezTo>
                  <a:cubicBezTo>
                    <a:pt x="11394" y="18121"/>
                    <a:pt x="11482" y="18112"/>
                    <a:pt x="11562" y="18057"/>
                  </a:cubicBezTo>
                  <a:cubicBezTo>
                    <a:pt x="11648" y="18010"/>
                    <a:pt x="11797" y="17922"/>
                    <a:pt x="11913" y="17881"/>
                  </a:cubicBezTo>
                  <a:cubicBezTo>
                    <a:pt x="12030" y="17848"/>
                    <a:pt x="12187" y="17704"/>
                    <a:pt x="12265" y="17572"/>
                  </a:cubicBezTo>
                  <a:cubicBezTo>
                    <a:pt x="12347" y="17443"/>
                    <a:pt x="12403" y="17258"/>
                    <a:pt x="12395" y="17167"/>
                  </a:cubicBezTo>
                  <a:cubicBezTo>
                    <a:pt x="12383" y="17075"/>
                    <a:pt x="12441" y="17033"/>
                    <a:pt x="12516" y="17070"/>
                  </a:cubicBezTo>
                  <a:cubicBezTo>
                    <a:pt x="12588" y="17111"/>
                    <a:pt x="12765" y="17144"/>
                    <a:pt x="12907" y="17158"/>
                  </a:cubicBezTo>
                  <a:cubicBezTo>
                    <a:pt x="13051" y="17152"/>
                    <a:pt x="13221" y="17231"/>
                    <a:pt x="13286" y="17300"/>
                  </a:cubicBezTo>
                  <a:cubicBezTo>
                    <a:pt x="13345" y="17373"/>
                    <a:pt x="13495" y="17400"/>
                    <a:pt x="13602" y="17361"/>
                  </a:cubicBezTo>
                  <a:cubicBezTo>
                    <a:pt x="13708" y="17320"/>
                    <a:pt x="13890" y="17249"/>
                    <a:pt x="13988" y="17178"/>
                  </a:cubicBezTo>
                  <a:cubicBezTo>
                    <a:pt x="14091" y="17110"/>
                    <a:pt x="14282" y="17072"/>
                    <a:pt x="14407" y="17058"/>
                  </a:cubicBezTo>
                  <a:cubicBezTo>
                    <a:pt x="14535" y="17051"/>
                    <a:pt x="14542" y="17123"/>
                    <a:pt x="14425" y="17202"/>
                  </a:cubicBezTo>
                  <a:cubicBezTo>
                    <a:pt x="14305" y="17281"/>
                    <a:pt x="14199" y="17394"/>
                    <a:pt x="14172" y="17453"/>
                  </a:cubicBezTo>
                  <a:cubicBezTo>
                    <a:pt x="14157" y="17514"/>
                    <a:pt x="13995" y="17635"/>
                    <a:pt x="13820" y="17715"/>
                  </a:cubicBezTo>
                  <a:cubicBezTo>
                    <a:pt x="13647" y="17805"/>
                    <a:pt x="13369" y="17906"/>
                    <a:pt x="13203" y="17936"/>
                  </a:cubicBezTo>
                  <a:cubicBezTo>
                    <a:pt x="13040" y="17972"/>
                    <a:pt x="12804" y="18078"/>
                    <a:pt x="12715" y="18191"/>
                  </a:cubicBezTo>
                  <a:cubicBezTo>
                    <a:pt x="12604" y="18291"/>
                    <a:pt x="12495" y="18436"/>
                    <a:pt x="12486" y="18507"/>
                  </a:cubicBezTo>
                  <a:cubicBezTo>
                    <a:pt x="12455" y="18574"/>
                    <a:pt x="12400" y="18655"/>
                    <a:pt x="12347" y="18687"/>
                  </a:cubicBezTo>
                  <a:cubicBezTo>
                    <a:pt x="12290" y="18717"/>
                    <a:pt x="12210" y="18799"/>
                    <a:pt x="12173" y="18875"/>
                  </a:cubicBezTo>
                  <a:cubicBezTo>
                    <a:pt x="12133" y="18950"/>
                    <a:pt x="12004" y="19029"/>
                    <a:pt x="11885" y="19037"/>
                  </a:cubicBezTo>
                  <a:cubicBezTo>
                    <a:pt x="11769" y="19058"/>
                    <a:pt x="11617" y="19091"/>
                    <a:pt x="11546" y="19120"/>
                  </a:cubicBezTo>
                  <a:cubicBezTo>
                    <a:pt x="11479" y="19156"/>
                    <a:pt x="11379" y="19233"/>
                    <a:pt x="11327" y="19299"/>
                  </a:cubicBezTo>
                  <a:cubicBezTo>
                    <a:pt x="11272" y="19366"/>
                    <a:pt x="11172" y="19475"/>
                    <a:pt x="11098" y="19538"/>
                  </a:cubicBezTo>
                  <a:cubicBezTo>
                    <a:pt x="11034" y="19609"/>
                    <a:pt x="10818" y="19697"/>
                    <a:pt x="10647" y="19760"/>
                  </a:cubicBezTo>
                  <a:cubicBezTo>
                    <a:pt x="10469" y="19808"/>
                    <a:pt x="10207" y="19963"/>
                    <a:pt x="10053" y="20081"/>
                  </a:cubicBezTo>
                  <a:cubicBezTo>
                    <a:pt x="9904" y="20203"/>
                    <a:pt x="9744" y="20354"/>
                    <a:pt x="9711" y="20426"/>
                  </a:cubicBezTo>
                  <a:cubicBezTo>
                    <a:pt x="9676" y="20498"/>
                    <a:pt x="9670" y="20600"/>
                    <a:pt x="9715" y="20642"/>
                  </a:cubicBezTo>
                  <a:cubicBezTo>
                    <a:pt x="9763" y="20682"/>
                    <a:pt x="9813" y="20771"/>
                    <a:pt x="9837" y="20826"/>
                  </a:cubicBezTo>
                  <a:cubicBezTo>
                    <a:pt x="9860" y="20883"/>
                    <a:pt x="9989" y="20915"/>
                    <a:pt x="10111" y="20900"/>
                  </a:cubicBezTo>
                  <a:cubicBezTo>
                    <a:pt x="10233" y="20887"/>
                    <a:pt x="10383" y="20813"/>
                    <a:pt x="10446" y="20739"/>
                  </a:cubicBezTo>
                  <a:cubicBezTo>
                    <a:pt x="10501" y="20661"/>
                    <a:pt x="10603" y="20539"/>
                    <a:pt x="10683" y="20483"/>
                  </a:cubicBezTo>
                  <a:cubicBezTo>
                    <a:pt x="10745" y="20414"/>
                    <a:pt x="10866" y="20364"/>
                    <a:pt x="10934" y="20383"/>
                  </a:cubicBezTo>
                  <a:cubicBezTo>
                    <a:pt x="11005" y="20383"/>
                    <a:pt x="11054" y="20464"/>
                    <a:pt x="11054" y="20539"/>
                  </a:cubicBezTo>
                  <a:cubicBezTo>
                    <a:pt x="11050" y="20613"/>
                    <a:pt x="11078" y="20723"/>
                    <a:pt x="11140" y="20758"/>
                  </a:cubicBezTo>
                  <a:cubicBezTo>
                    <a:pt x="11187" y="20807"/>
                    <a:pt x="11353" y="20786"/>
                    <a:pt x="11501" y="20722"/>
                  </a:cubicBezTo>
                  <a:cubicBezTo>
                    <a:pt x="11646" y="20653"/>
                    <a:pt x="11844" y="20522"/>
                    <a:pt x="11944" y="20430"/>
                  </a:cubicBezTo>
                  <a:cubicBezTo>
                    <a:pt x="12041" y="20335"/>
                    <a:pt x="12184" y="20170"/>
                    <a:pt x="12249" y="20060"/>
                  </a:cubicBezTo>
                  <a:cubicBezTo>
                    <a:pt x="12315" y="19951"/>
                    <a:pt x="12414" y="19867"/>
                    <a:pt x="12453" y="19855"/>
                  </a:cubicBezTo>
                  <a:cubicBezTo>
                    <a:pt x="12497" y="19855"/>
                    <a:pt x="12572" y="19760"/>
                    <a:pt x="12628" y="19658"/>
                  </a:cubicBezTo>
                  <a:cubicBezTo>
                    <a:pt x="12681" y="19555"/>
                    <a:pt x="12762" y="19375"/>
                    <a:pt x="12799" y="19257"/>
                  </a:cubicBezTo>
                  <a:cubicBezTo>
                    <a:pt x="12836" y="19139"/>
                    <a:pt x="12932" y="19013"/>
                    <a:pt x="13009" y="18986"/>
                  </a:cubicBezTo>
                  <a:cubicBezTo>
                    <a:pt x="13085" y="18958"/>
                    <a:pt x="13308" y="18779"/>
                    <a:pt x="13489" y="18580"/>
                  </a:cubicBezTo>
                  <a:cubicBezTo>
                    <a:pt x="13674" y="18383"/>
                    <a:pt x="13902" y="18175"/>
                    <a:pt x="13996" y="18128"/>
                  </a:cubicBezTo>
                  <a:cubicBezTo>
                    <a:pt x="14078" y="18067"/>
                    <a:pt x="14216" y="18066"/>
                    <a:pt x="14288" y="18112"/>
                  </a:cubicBezTo>
                  <a:cubicBezTo>
                    <a:pt x="14354" y="18164"/>
                    <a:pt x="14525" y="18182"/>
                    <a:pt x="14652" y="18153"/>
                  </a:cubicBezTo>
                  <a:cubicBezTo>
                    <a:pt x="14779" y="18124"/>
                    <a:pt x="14797" y="18180"/>
                    <a:pt x="14671" y="18244"/>
                  </a:cubicBezTo>
                  <a:cubicBezTo>
                    <a:pt x="14548" y="18315"/>
                    <a:pt x="14539" y="18357"/>
                    <a:pt x="14644" y="18342"/>
                  </a:cubicBezTo>
                  <a:cubicBezTo>
                    <a:pt x="14746" y="18314"/>
                    <a:pt x="14905" y="18243"/>
                    <a:pt x="15001" y="18183"/>
                  </a:cubicBezTo>
                  <a:cubicBezTo>
                    <a:pt x="15092" y="18116"/>
                    <a:pt x="15252" y="17888"/>
                    <a:pt x="15360" y="17678"/>
                  </a:cubicBezTo>
                  <a:cubicBezTo>
                    <a:pt x="15483" y="17473"/>
                    <a:pt x="15649" y="17141"/>
                    <a:pt x="15765" y="16953"/>
                  </a:cubicBezTo>
                  <a:cubicBezTo>
                    <a:pt x="15878" y="16763"/>
                    <a:pt x="15992" y="16472"/>
                    <a:pt x="16019" y="16304"/>
                  </a:cubicBezTo>
                  <a:cubicBezTo>
                    <a:pt x="16042" y="16134"/>
                    <a:pt x="16100" y="15948"/>
                    <a:pt x="16150" y="15891"/>
                  </a:cubicBezTo>
                  <a:cubicBezTo>
                    <a:pt x="16198" y="15831"/>
                    <a:pt x="16290" y="15790"/>
                    <a:pt x="16346" y="15781"/>
                  </a:cubicBezTo>
                  <a:cubicBezTo>
                    <a:pt x="16400" y="15774"/>
                    <a:pt x="16495" y="15821"/>
                    <a:pt x="16558" y="15874"/>
                  </a:cubicBezTo>
                  <a:cubicBezTo>
                    <a:pt x="16629" y="15917"/>
                    <a:pt x="16720" y="15982"/>
                    <a:pt x="16781" y="15982"/>
                  </a:cubicBezTo>
                  <a:cubicBezTo>
                    <a:pt x="16844" y="15988"/>
                    <a:pt x="16947" y="16032"/>
                    <a:pt x="17008" y="16083"/>
                  </a:cubicBezTo>
                  <a:cubicBezTo>
                    <a:pt x="17079" y="16125"/>
                    <a:pt x="17107" y="16318"/>
                    <a:pt x="17111" y="16493"/>
                  </a:cubicBezTo>
                  <a:cubicBezTo>
                    <a:pt x="17107" y="16667"/>
                    <a:pt x="17055" y="16897"/>
                    <a:pt x="17016" y="17007"/>
                  </a:cubicBezTo>
                  <a:cubicBezTo>
                    <a:pt x="16974" y="17117"/>
                    <a:pt x="16876" y="17309"/>
                    <a:pt x="16844" y="17444"/>
                  </a:cubicBezTo>
                  <a:cubicBezTo>
                    <a:pt x="16797" y="17575"/>
                    <a:pt x="16793" y="17746"/>
                    <a:pt x="16827" y="17827"/>
                  </a:cubicBezTo>
                  <a:cubicBezTo>
                    <a:pt x="16872" y="17904"/>
                    <a:pt x="16850" y="18055"/>
                    <a:pt x="16790" y="18155"/>
                  </a:cubicBezTo>
                  <a:cubicBezTo>
                    <a:pt x="16735" y="18255"/>
                    <a:pt x="16552" y="18439"/>
                    <a:pt x="16394" y="18571"/>
                  </a:cubicBezTo>
                  <a:cubicBezTo>
                    <a:pt x="16234" y="18701"/>
                    <a:pt x="15975" y="19024"/>
                    <a:pt x="15836" y="19299"/>
                  </a:cubicBezTo>
                  <a:cubicBezTo>
                    <a:pt x="15701" y="19572"/>
                    <a:pt x="15554" y="19891"/>
                    <a:pt x="15532" y="20011"/>
                  </a:cubicBezTo>
                  <a:cubicBezTo>
                    <a:pt x="15503" y="20129"/>
                    <a:pt x="15447" y="20284"/>
                    <a:pt x="15372" y="20329"/>
                  </a:cubicBezTo>
                  <a:cubicBezTo>
                    <a:pt x="15324" y="20396"/>
                    <a:pt x="15241" y="20518"/>
                    <a:pt x="15241" y="20622"/>
                  </a:cubicBezTo>
                  <a:cubicBezTo>
                    <a:pt x="15237" y="20727"/>
                    <a:pt x="15302" y="20820"/>
                    <a:pt x="15387" y="20848"/>
                  </a:cubicBezTo>
                  <a:cubicBezTo>
                    <a:pt x="15473" y="20871"/>
                    <a:pt x="15674" y="20808"/>
                    <a:pt x="15825" y="20711"/>
                  </a:cubicBezTo>
                  <a:cubicBezTo>
                    <a:pt x="15976" y="20615"/>
                    <a:pt x="16243" y="20336"/>
                    <a:pt x="16404" y="20086"/>
                  </a:cubicBezTo>
                  <a:cubicBezTo>
                    <a:pt x="16564" y="19834"/>
                    <a:pt x="16766" y="19629"/>
                    <a:pt x="16835" y="19607"/>
                  </a:cubicBezTo>
                  <a:cubicBezTo>
                    <a:pt x="16906" y="19588"/>
                    <a:pt x="17093" y="19445"/>
                    <a:pt x="17251" y="19283"/>
                  </a:cubicBezTo>
                  <a:cubicBezTo>
                    <a:pt x="17407" y="19118"/>
                    <a:pt x="17603" y="18898"/>
                    <a:pt x="17692" y="18797"/>
                  </a:cubicBezTo>
                  <a:cubicBezTo>
                    <a:pt x="17779" y="18694"/>
                    <a:pt x="17871" y="18649"/>
                    <a:pt x="17883" y="18704"/>
                  </a:cubicBezTo>
                  <a:cubicBezTo>
                    <a:pt x="17905" y="18757"/>
                    <a:pt x="18048" y="18777"/>
                    <a:pt x="18207" y="18761"/>
                  </a:cubicBezTo>
                  <a:cubicBezTo>
                    <a:pt x="18366" y="18754"/>
                    <a:pt x="18493" y="18778"/>
                    <a:pt x="18478" y="18840"/>
                  </a:cubicBezTo>
                  <a:cubicBezTo>
                    <a:pt x="18482" y="18902"/>
                    <a:pt x="18362" y="18982"/>
                    <a:pt x="18241" y="19018"/>
                  </a:cubicBezTo>
                  <a:cubicBezTo>
                    <a:pt x="18123" y="19062"/>
                    <a:pt x="17870" y="19237"/>
                    <a:pt x="17674" y="19413"/>
                  </a:cubicBezTo>
                  <a:cubicBezTo>
                    <a:pt x="17492" y="19600"/>
                    <a:pt x="17328" y="19831"/>
                    <a:pt x="17303" y="19938"/>
                  </a:cubicBezTo>
                  <a:cubicBezTo>
                    <a:pt x="17299" y="20048"/>
                    <a:pt x="17234" y="20239"/>
                    <a:pt x="17179" y="20366"/>
                  </a:cubicBezTo>
                  <a:cubicBezTo>
                    <a:pt x="17130" y="20495"/>
                    <a:pt x="17111" y="20640"/>
                    <a:pt x="17139" y="20696"/>
                  </a:cubicBezTo>
                  <a:cubicBezTo>
                    <a:pt x="17159" y="20756"/>
                    <a:pt x="17195" y="20926"/>
                    <a:pt x="17199" y="21087"/>
                  </a:cubicBezTo>
                  <a:cubicBezTo>
                    <a:pt x="17203" y="21248"/>
                    <a:pt x="17281" y="21425"/>
                    <a:pt x="17352" y="21505"/>
                  </a:cubicBezTo>
                  <a:cubicBezTo>
                    <a:pt x="17442" y="21570"/>
                    <a:pt x="17550" y="21529"/>
                    <a:pt x="17590" y="21402"/>
                  </a:cubicBezTo>
                  <a:cubicBezTo>
                    <a:pt x="17636" y="21276"/>
                    <a:pt x="17752" y="21095"/>
                    <a:pt x="17850" y="20999"/>
                  </a:cubicBezTo>
                  <a:cubicBezTo>
                    <a:pt x="17954" y="20908"/>
                    <a:pt x="18146" y="20806"/>
                    <a:pt x="18291" y="20785"/>
                  </a:cubicBezTo>
                  <a:cubicBezTo>
                    <a:pt x="18291" y="20785"/>
                    <a:pt x="18291" y="20786"/>
                    <a:pt x="18356" y="20778"/>
                  </a:cubicBezTo>
                  <a:cubicBezTo>
                    <a:pt x="18422" y="20772"/>
                    <a:pt x="18422" y="20771"/>
                    <a:pt x="18422" y="20771"/>
                  </a:cubicBezTo>
                  <a:cubicBezTo>
                    <a:pt x="18514" y="20997"/>
                    <a:pt x="18662" y="21198"/>
                    <a:pt x="18746" y="21212"/>
                  </a:cubicBezTo>
                  <a:cubicBezTo>
                    <a:pt x="18828" y="21227"/>
                    <a:pt x="19014" y="21167"/>
                    <a:pt x="19158" y="21072"/>
                  </a:cubicBezTo>
                  <a:cubicBezTo>
                    <a:pt x="19293" y="20970"/>
                    <a:pt x="19417" y="20825"/>
                    <a:pt x="19442" y="20738"/>
                  </a:cubicBezTo>
                  <a:cubicBezTo>
                    <a:pt x="19447" y="20648"/>
                    <a:pt x="19517" y="20568"/>
                    <a:pt x="19572" y="20545"/>
                  </a:cubicBezTo>
                  <a:cubicBezTo>
                    <a:pt x="19628" y="20525"/>
                    <a:pt x="19723" y="20441"/>
                    <a:pt x="19768" y="20347"/>
                  </a:cubicBezTo>
                  <a:cubicBezTo>
                    <a:pt x="19829" y="20259"/>
                    <a:pt x="19860" y="20080"/>
                    <a:pt x="19879" y="19965"/>
                  </a:cubicBezTo>
                  <a:cubicBezTo>
                    <a:pt x="19897" y="19852"/>
                    <a:pt x="19935" y="19738"/>
                    <a:pt x="19982" y="19723"/>
                  </a:cubicBezTo>
                  <a:cubicBezTo>
                    <a:pt x="20032" y="19714"/>
                    <a:pt x="20095" y="19620"/>
                    <a:pt x="20143" y="19539"/>
                  </a:cubicBezTo>
                  <a:cubicBezTo>
                    <a:pt x="20192" y="19457"/>
                    <a:pt x="20190" y="19317"/>
                    <a:pt x="20155" y="19229"/>
                  </a:cubicBezTo>
                  <a:cubicBezTo>
                    <a:pt x="20118" y="19142"/>
                    <a:pt x="20128" y="18945"/>
                    <a:pt x="20197" y="18798"/>
                  </a:cubicBezTo>
                  <a:cubicBezTo>
                    <a:pt x="20255" y="18648"/>
                    <a:pt x="20463" y="18338"/>
                    <a:pt x="20661" y="18115"/>
                  </a:cubicBezTo>
                  <a:cubicBezTo>
                    <a:pt x="20850" y="17885"/>
                    <a:pt x="21114" y="17575"/>
                    <a:pt x="21237" y="17419"/>
                  </a:cubicBezTo>
                  <a:cubicBezTo>
                    <a:pt x="21365" y="17265"/>
                    <a:pt x="21485" y="16920"/>
                    <a:pt x="21509" y="16657"/>
                  </a:cubicBezTo>
                  <a:cubicBezTo>
                    <a:pt x="21535" y="16394"/>
                    <a:pt x="21566" y="16102"/>
                    <a:pt x="21543" y="16011"/>
                  </a:cubicBezTo>
                  <a:cubicBezTo>
                    <a:pt x="21530" y="15920"/>
                    <a:pt x="21485" y="15841"/>
                    <a:pt x="21431" y="15848"/>
                  </a:cubicBezTo>
                  <a:cubicBezTo>
                    <a:pt x="21378" y="15856"/>
                    <a:pt x="21313" y="15906"/>
                    <a:pt x="21316" y="15971"/>
                  </a:cubicBezTo>
                  <a:cubicBezTo>
                    <a:pt x="21304" y="16037"/>
                    <a:pt x="21230" y="16212"/>
                    <a:pt x="21139" y="16356"/>
                  </a:cubicBezTo>
                  <a:cubicBezTo>
                    <a:pt x="21062" y="16506"/>
                    <a:pt x="20863" y="16707"/>
                    <a:pt x="20709" y="16798"/>
                  </a:cubicBezTo>
                  <a:cubicBezTo>
                    <a:pt x="20558" y="16894"/>
                    <a:pt x="20323" y="17086"/>
                    <a:pt x="20190" y="17227"/>
                  </a:cubicBezTo>
                  <a:cubicBezTo>
                    <a:pt x="20050" y="17363"/>
                    <a:pt x="19870" y="17502"/>
                    <a:pt x="19785" y="17538"/>
                  </a:cubicBezTo>
                  <a:cubicBezTo>
                    <a:pt x="19696" y="17561"/>
                    <a:pt x="19596" y="17509"/>
                    <a:pt x="19548" y="17405"/>
                  </a:cubicBezTo>
                  <a:cubicBezTo>
                    <a:pt x="19504" y="17299"/>
                    <a:pt x="19506" y="17107"/>
                    <a:pt x="19546" y="16976"/>
                  </a:cubicBezTo>
                  <a:cubicBezTo>
                    <a:pt x="19594" y="16845"/>
                    <a:pt x="19639" y="16620"/>
                    <a:pt x="19663" y="16480"/>
                  </a:cubicBezTo>
                  <a:close/>
                  <a:moveTo>
                    <a:pt x="19663" y="164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0" name="AutoShape 1232"/>
            <p:cNvSpPr>
              <a:spLocks/>
            </p:cNvSpPr>
            <p:nvPr/>
          </p:nvSpPr>
          <p:spPr bwMode="auto">
            <a:xfrm>
              <a:off x="3695700" y="3022600"/>
              <a:ext cx="1588" cy="4763"/>
            </a:xfrm>
            <a:custGeom>
              <a:avLst/>
              <a:gdLst/>
              <a:ahLst/>
              <a:cxnLst/>
              <a:rect l="0" t="0" r="r" b="b"/>
              <a:pathLst>
                <a:path w="19268" h="20130">
                  <a:moveTo>
                    <a:pt x="17317" y="5505"/>
                  </a:moveTo>
                  <a:cubicBezTo>
                    <a:pt x="18801" y="2093"/>
                    <a:pt x="20072" y="24"/>
                    <a:pt x="18643" y="24"/>
                  </a:cubicBezTo>
                  <a:cubicBezTo>
                    <a:pt x="17214" y="-292"/>
                    <a:pt x="14129" y="2531"/>
                    <a:pt x="11216" y="4720"/>
                  </a:cubicBezTo>
                  <a:cubicBezTo>
                    <a:pt x="9403" y="7151"/>
                    <a:pt x="4023" y="12264"/>
                    <a:pt x="1601" y="16517"/>
                  </a:cubicBezTo>
                  <a:cubicBezTo>
                    <a:pt x="-1528" y="20744"/>
                    <a:pt x="59" y="21308"/>
                    <a:pt x="5225" y="17966"/>
                  </a:cubicBezTo>
                  <a:cubicBezTo>
                    <a:pt x="8963" y="14257"/>
                    <a:pt x="14129" y="8701"/>
                    <a:pt x="17317" y="5505"/>
                  </a:cubicBezTo>
                  <a:close/>
                  <a:moveTo>
                    <a:pt x="17317" y="55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1" name="AutoShape 1233"/>
            <p:cNvSpPr>
              <a:spLocks/>
            </p:cNvSpPr>
            <p:nvPr/>
          </p:nvSpPr>
          <p:spPr bwMode="auto">
            <a:xfrm>
              <a:off x="3721100" y="2870200"/>
              <a:ext cx="28575" cy="65088"/>
            </a:xfrm>
            <a:custGeom>
              <a:avLst/>
              <a:gdLst/>
              <a:ahLst/>
              <a:cxnLst/>
              <a:rect l="0" t="0" r="r" b="b"/>
              <a:pathLst>
                <a:path w="21366" h="21341">
                  <a:moveTo>
                    <a:pt x="12531" y="8659"/>
                  </a:moveTo>
                  <a:cubicBezTo>
                    <a:pt x="11737" y="9421"/>
                    <a:pt x="10446" y="10647"/>
                    <a:pt x="9710" y="11395"/>
                  </a:cubicBezTo>
                  <a:cubicBezTo>
                    <a:pt x="8921" y="12129"/>
                    <a:pt x="8491" y="12817"/>
                    <a:pt x="8612" y="12845"/>
                  </a:cubicBezTo>
                  <a:cubicBezTo>
                    <a:pt x="8652" y="12907"/>
                    <a:pt x="8504" y="13220"/>
                    <a:pt x="8087" y="13563"/>
                  </a:cubicBezTo>
                  <a:cubicBezTo>
                    <a:pt x="7675" y="13904"/>
                    <a:pt x="7289" y="14367"/>
                    <a:pt x="7159" y="14572"/>
                  </a:cubicBezTo>
                  <a:cubicBezTo>
                    <a:pt x="6980" y="14768"/>
                    <a:pt x="6621" y="15092"/>
                    <a:pt x="6285" y="15280"/>
                  </a:cubicBezTo>
                  <a:cubicBezTo>
                    <a:pt x="5894" y="15452"/>
                    <a:pt x="5182" y="15910"/>
                    <a:pt x="4813" y="16307"/>
                  </a:cubicBezTo>
                  <a:cubicBezTo>
                    <a:pt x="4312" y="16672"/>
                    <a:pt x="3630" y="17408"/>
                    <a:pt x="3172" y="17910"/>
                  </a:cubicBezTo>
                  <a:cubicBezTo>
                    <a:pt x="2787" y="18423"/>
                    <a:pt x="1876" y="19275"/>
                    <a:pt x="1298" y="19827"/>
                  </a:cubicBezTo>
                  <a:cubicBezTo>
                    <a:pt x="795" y="20391"/>
                    <a:pt x="150" y="21018"/>
                    <a:pt x="43" y="21249"/>
                  </a:cubicBezTo>
                  <a:cubicBezTo>
                    <a:pt x="-132" y="21476"/>
                    <a:pt x="249" y="21269"/>
                    <a:pt x="845" y="20804"/>
                  </a:cubicBezTo>
                  <a:cubicBezTo>
                    <a:pt x="1405" y="20330"/>
                    <a:pt x="2477" y="19436"/>
                    <a:pt x="3284" y="18828"/>
                  </a:cubicBezTo>
                  <a:cubicBezTo>
                    <a:pt x="4060" y="18221"/>
                    <a:pt x="5235" y="17147"/>
                    <a:pt x="5908" y="16457"/>
                  </a:cubicBezTo>
                  <a:cubicBezTo>
                    <a:pt x="6608" y="15767"/>
                    <a:pt x="7226" y="15186"/>
                    <a:pt x="7334" y="15212"/>
                  </a:cubicBezTo>
                  <a:cubicBezTo>
                    <a:pt x="7451" y="15236"/>
                    <a:pt x="7881" y="15011"/>
                    <a:pt x="8168" y="14727"/>
                  </a:cubicBezTo>
                  <a:cubicBezTo>
                    <a:pt x="8535" y="14462"/>
                    <a:pt x="9056" y="13892"/>
                    <a:pt x="9455" y="13497"/>
                  </a:cubicBezTo>
                  <a:cubicBezTo>
                    <a:pt x="9814" y="13094"/>
                    <a:pt x="10464" y="12520"/>
                    <a:pt x="10741" y="12193"/>
                  </a:cubicBezTo>
                  <a:cubicBezTo>
                    <a:pt x="11087" y="11880"/>
                    <a:pt x="12460" y="10376"/>
                    <a:pt x="13823" y="8868"/>
                  </a:cubicBezTo>
                  <a:cubicBezTo>
                    <a:pt x="15199" y="7363"/>
                    <a:pt x="16715" y="5767"/>
                    <a:pt x="17131" y="5311"/>
                  </a:cubicBezTo>
                  <a:cubicBezTo>
                    <a:pt x="17634" y="4866"/>
                    <a:pt x="17482" y="5175"/>
                    <a:pt x="16733" y="5983"/>
                  </a:cubicBezTo>
                  <a:cubicBezTo>
                    <a:pt x="16092" y="6816"/>
                    <a:pt x="14746" y="8320"/>
                    <a:pt x="13778" y="9335"/>
                  </a:cubicBezTo>
                  <a:cubicBezTo>
                    <a:pt x="12701" y="10324"/>
                    <a:pt x="12132" y="11236"/>
                    <a:pt x="12091" y="11301"/>
                  </a:cubicBezTo>
                  <a:cubicBezTo>
                    <a:pt x="12239" y="11301"/>
                    <a:pt x="12858" y="10843"/>
                    <a:pt x="13504" y="10087"/>
                  </a:cubicBezTo>
                  <a:cubicBezTo>
                    <a:pt x="14280" y="9363"/>
                    <a:pt x="15935" y="7484"/>
                    <a:pt x="17321" y="5949"/>
                  </a:cubicBezTo>
                  <a:cubicBezTo>
                    <a:pt x="18652" y="4401"/>
                    <a:pt x="19886" y="2955"/>
                    <a:pt x="19975" y="2718"/>
                  </a:cubicBezTo>
                  <a:cubicBezTo>
                    <a:pt x="20060" y="2481"/>
                    <a:pt x="20069" y="2180"/>
                    <a:pt x="19993" y="2042"/>
                  </a:cubicBezTo>
                  <a:cubicBezTo>
                    <a:pt x="19854" y="1915"/>
                    <a:pt x="20118" y="1462"/>
                    <a:pt x="20504" y="1059"/>
                  </a:cubicBezTo>
                  <a:cubicBezTo>
                    <a:pt x="20881" y="656"/>
                    <a:pt x="21230" y="193"/>
                    <a:pt x="21351" y="32"/>
                  </a:cubicBezTo>
                  <a:cubicBezTo>
                    <a:pt x="21468" y="-124"/>
                    <a:pt x="20890" y="311"/>
                    <a:pt x="20141" y="1007"/>
                  </a:cubicBezTo>
                  <a:cubicBezTo>
                    <a:pt x="19441" y="1719"/>
                    <a:pt x="17751" y="3412"/>
                    <a:pt x="16405" y="4782"/>
                  </a:cubicBezTo>
                  <a:cubicBezTo>
                    <a:pt x="15154" y="6174"/>
                    <a:pt x="13415" y="7925"/>
                    <a:pt x="12531" y="8659"/>
                  </a:cubicBezTo>
                  <a:close/>
                  <a:moveTo>
                    <a:pt x="12531" y="86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2" name="AutoShape 1234"/>
            <p:cNvSpPr>
              <a:spLocks/>
            </p:cNvSpPr>
            <p:nvPr/>
          </p:nvSpPr>
          <p:spPr bwMode="auto">
            <a:xfrm>
              <a:off x="3746500" y="2870200"/>
              <a:ext cx="1588" cy="4763"/>
            </a:xfrm>
            <a:custGeom>
              <a:avLst/>
              <a:gdLst/>
              <a:ahLst/>
              <a:cxnLst/>
              <a:rect l="0" t="0" r="r" b="b"/>
              <a:pathLst>
                <a:path w="20481" h="19688">
                  <a:moveTo>
                    <a:pt x="20191" y="631"/>
                  </a:moveTo>
                  <a:cubicBezTo>
                    <a:pt x="21600" y="-1476"/>
                    <a:pt x="17794" y="1891"/>
                    <a:pt x="10641" y="7772"/>
                  </a:cubicBezTo>
                  <a:cubicBezTo>
                    <a:pt x="4050" y="13826"/>
                    <a:pt x="994" y="19638"/>
                    <a:pt x="0" y="19638"/>
                  </a:cubicBezTo>
                  <a:cubicBezTo>
                    <a:pt x="279" y="20124"/>
                    <a:pt x="5129" y="16976"/>
                    <a:pt x="9503" y="12517"/>
                  </a:cubicBezTo>
                  <a:cubicBezTo>
                    <a:pt x="14688" y="8282"/>
                    <a:pt x="18824" y="2763"/>
                    <a:pt x="20191" y="631"/>
                  </a:cubicBezTo>
                  <a:close/>
                  <a:moveTo>
                    <a:pt x="20191" y="63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3" name="AutoShape 1235"/>
            <p:cNvSpPr>
              <a:spLocks/>
            </p:cNvSpPr>
            <p:nvPr/>
          </p:nvSpPr>
          <p:spPr bwMode="auto">
            <a:xfrm>
              <a:off x="3721100" y="2933700"/>
              <a:ext cx="14288" cy="33338"/>
            </a:xfrm>
            <a:custGeom>
              <a:avLst/>
              <a:gdLst/>
              <a:ahLst/>
              <a:cxnLst/>
              <a:rect l="0" t="0" r="r" b="b"/>
              <a:pathLst>
                <a:path w="21309" h="21270">
                  <a:moveTo>
                    <a:pt x="19775" y="583"/>
                  </a:moveTo>
                  <a:cubicBezTo>
                    <a:pt x="19928" y="-29"/>
                    <a:pt x="19291" y="-211"/>
                    <a:pt x="18637" y="286"/>
                  </a:cubicBezTo>
                  <a:cubicBezTo>
                    <a:pt x="17864" y="742"/>
                    <a:pt x="16760" y="1571"/>
                    <a:pt x="16182" y="2137"/>
                  </a:cubicBezTo>
                  <a:cubicBezTo>
                    <a:pt x="15731" y="2726"/>
                    <a:pt x="15188" y="3493"/>
                    <a:pt x="14882" y="3832"/>
                  </a:cubicBezTo>
                  <a:cubicBezTo>
                    <a:pt x="14661" y="4177"/>
                    <a:pt x="13964" y="5097"/>
                    <a:pt x="13225" y="5864"/>
                  </a:cubicBezTo>
                  <a:cubicBezTo>
                    <a:pt x="12391" y="6609"/>
                    <a:pt x="12179" y="7202"/>
                    <a:pt x="12435" y="7278"/>
                  </a:cubicBezTo>
                  <a:cubicBezTo>
                    <a:pt x="12724" y="7278"/>
                    <a:pt x="12291" y="7882"/>
                    <a:pt x="11542" y="8615"/>
                  </a:cubicBezTo>
                  <a:cubicBezTo>
                    <a:pt x="10838" y="9360"/>
                    <a:pt x="8535" y="11674"/>
                    <a:pt x="6452" y="13767"/>
                  </a:cubicBezTo>
                  <a:cubicBezTo>
                    <a:pt x="4456" y="15884"/>
                    <a:pt x="2051" y="18460"/>
                    <a:pt x="1150" y="19508"/>
                  </a:cubicBezTo>
                  <a:cubicBezTo>
                    <a:pt x="197" y="20545"/>
                    <a:pt x="-142" y="21389"/>
                    <a:pt x="53" y="21256"/>
                  </a:cubicBezTo>
                  <a:cubicBezTo>
                    <a:pt x="368" y="21328"/>
                    <a:pt x="1397" y="20474"/>
                    <a:pt x="2187" y="19661"/>
                  </a:cubicBezTo>
                  <a:cubicBezTo>
                    <a:pt x="3080" y="18862"/>
                    <a:pt x="3793" y="18331"/>
                    <a:pt x="3793" y="18483"/>
                  </a:cubicBezTo>
                  <a:cubicBezTo>
                    <a:pt x="3793" y="18627"/>
                    <a:pt x="4465" y="18293"/>
                    <a:pt x="5119" y="17704"/>
                  </a:cubicBezTo>
                  <a:cubicBezTo>
                    <a:pt x="5832" y="17130"/>
                    <a:pt x="6767" y="16237"/>
                    <a:pt x="6885" y="15702"/>
                  </a:cubicBezTo>
                  <a:cubicBezTo>
                    <a:pt x="7277" y="15189"/>
                    <a:pt x="7948" y="14360"/>
                    <a:pt x="8390" y="13843"/>
                  </a:cubicBezTo>
                  <a:cubicBezTo>
                    <a:pt x="9036" y="13379"/>
                    <a:pt x="9986" y="12194"/>
                    <a:pt x="10811" y="11290"/>
                  </a:cubicBezTo>
                  <a:cubicBezTo>
                    <a:pt x="11653" y="10386"/>
                    <a:pt x="12715" y="9356"/>
                    <a:pt x="13140" y="8980"/>
                  </a:cubicBezTo>
                  <a:cubicBezTo>
                    <a:pt x="13615" y="8619"/>
                    <a:pt x="13319" y="9193"/>
                    <a:pt x="12494" y="10241"/>
                  </a:cubicBezTo>
                  <a:cubicBezTo>
                    <a:pt x="11713" y="11294"/>
                    <a:pt x="11288" y="11920"/>
                    <a:pt x="11687" y="11647"/>
                  </a:cubicBezTo>
                  <a:cubicBezTo>
                    <a:pt x="12138" y="11397"/>
                    <a:pt x="13641" y="10100"/>
                    <a:pt x="14932" y="8778"/>
                  </a:cubicBezTo>
                  <a:cubicBezTo>
                    <a:pt x="16343" y="7464"/>
                    <a:pt x="18221" y="5522"/>
                    <a:pt x="19130" y="4455"/>
                  </a:cubicBezTo>
                  <a:cubicBezTo>
                    <a:pt x="20099" y="3406"/>
                    <a:pt x="21068" y="2092"/>
                    <a:pt x="21195" y="1548"/>
                  </a:cubicBezTo>
                  <a:cubicBezTo>
                    <a:pt x="21458" y="1016"/>
                    <a:pt x="21281" y="910"/>
                    <a:pt x="20523" y="1134"/>
                  </a:cubicBezTo>
                  <a:cubicBezTo>
                    <a:pt x="20057" y="1479"/>
                    <a:pt x="19648" y="1187"/>
                    <a:pt x="19775" y="583"/>
                  </a:cubicBezTo>
                  <a:close/>
                  <a:moveTo>
                    <a:pt x="19775" y="5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4" name="AutoShape 1236"/>
            <p:cNvSpPr>
              <a:spLocks/>
            </p:cNvSpPr>
            <p:nvPr/>
          </p:nvSpPr>
          <p:spPr bwMode="auto">
            <a:xfrm>
              <a:off x="3733800" y="2882900"/>
              <a:ext cx="19050" cy="42863"/>
            </a:xfrm>
            <a:custGeom>
              <a:avLst/>
              <a:gdLst/>
              <a:ahLst/>
              <a:cxnLst/>
              <a:rect l="0" t="0" r="r" b="b"/>
              <a:pathLst>
                <a:path w="21333" h="21481">
                  <a:moveTo>
                    <a:pt x="2381" y="19883"/>
                  </a:moveTo>
                  <a:cubicBezTo>
                    <a:pt x="3055" y="19218"/>
                    <a:pt x="4153" y="18117"/>
                    <a:pt x="4763" y="17422"/>
                  </a:cubicBezTo>
                  <a:cubicBezTo>
                    <a:pt x="5272" y="16709"/>
                    <a:pt x="6209" y="15521"/>
                    <a:pt x="6783" y="14771"/>
                  </a:cubicBezTo>
                  <a:cubicBezTo>
                    <a:pt x="7327" y="14021"/>
                    <a:pt x="8294" y="12843"/>
                    <a:pt x="8909" y="12141"/>
                  </a:cubicBezTo>
                  <a:cubicBezTo>
                    <a:pt x="9642" y="11467"/>
                    <a:pt x="9551" y="11763"/>
                    <a:pt x="8903" y="12839"/>
                  </a:cubicBezTo>
                  <a:cubicBezTo>
                    <a:pt x="8197" y="13903"/>
                    <a:pt x="7379" y="15333"/>
                    <a:pt x="6738" y="15935"/>
                  </a:cubicBezTo>
                  <a:cubicBezTo>
                    <a:pt x="6273" y="16570"/>
                    <a:pt x="5665" y="17449"/>
                    <a:pt x="5469" y="17906"/>
                  </a:cubicBezTo>
                  <a:cubicBezTo>
                    <a:pt x="5253" y="18353"/>
                    <a:pt x="5494" y="18547"/>
                    <a:pt x="5816" y="18311"/>
                  </a:cubicBezTo>
                  <a:cubicBezTo>
                    <a:pt x="6202" y="18090"/>
                    <a:pt x="7091" y="17108"/>
                    <a:pt x="7961" y="16177"/>
                  </a:cubicBezTo>
                  <a:cubicBezTo>
                    <a:pt x="8668" y="15209"/>
                    <a:pt x="9885" y="14082"/>
                    <a:pt x="10427" y="13619"/>
                  </a:cubicBezTo>
                  <a:cubicBezTo>
                    <a:pt x="10899" y="13145"/>
                    <a:pt x="11591" y="12461"/>
                    <a:pt x="11782" y="12072"/>
                  </a:cubicBezTo>
                  <a:cubicBezTo>
                    <a:pt x="11918" y="11682"/>
                    <a:pt x="11807" y="11524"/>
                    <a:pt x="11389" y="11718"/>
                  </a:cubicBezTo>
                  <a:cubicBezTo>
                    <a:pt x="10963" y="11914"/>
                    <a:pt x="10852" y="11615"/>
                    <a:pt x="11435" y="11125"/>
                  </a:cubicBezTo>
                  <a:cubicBezTo>
                    <a:pt x="11820" y="10596"/>
                    <a:pt x="12665" y="9399"/>
                    <a:pt x="13247" y="8462"/>
                  </a:cubicBezTo>
                  <a:cubicBezTo>
                    <a:pt x="13678" y="7509"/>
                    <a:pt x="14312" y="6587"/>
                    <a:pt x="14555" y="6422"/>
                  </a:cubicBezTo>
                  <a:cubicBezTo>
                    <a:pt x="14745" y="6240"/>
                    <a:pt x="14922" y="6400"/>
                    <a:pt x="14771" y="6763"/>
                  </a:cubicBezTo>
                  <a:cubicBezTo>
                    <a:pt x="14888" y="7135"/>
                    <a:pt x="14509" y="7882"/>
                    <a:pt x="14156" y="8381"/>
                  </a:cubicBezTo>
                  <a:cubicBezTo>
                    <a:pt x="13874" y="8894"/>
                    <a:pt x="13862" y="9151"/>
                    <a:pt x="14031" y="9230"/>
                  </a:cubicBezTo>
                  <a:cubicBezTo>
                    <a:pt x="14241" y="9169"/>
                    <a:pt x="14875" y="8731"/>
                    <a:pt x="15458" y="8238"/>
                  </a:cubicBezTo>
                  <a:cubicBezTo>
                    <a:pt x="15961" y="7727"/>
                    <a:pt x="16726" y="7077"/>
                    <a:pt x="16883" y="6745"/>
                  </a:cubicBezTo>
                  <a:cubicBezTo>
                    <a:pt x="17105" y="6424"/>
                    <a:pt x="17681" y="5835"/>
                    <a:pt x="18271" y="5469"/>
                  </a:cubicBezTo>
                  <a:cubicBezTo>
                    <a:pt x="18800" y="5079"/>
                    <a:pt x="19710" y="4384"/>
                    <a:pt x="20076" y="3882"/>
                  </a:cubicBezTo>
                  <a:cubicBezTo>
                    <a:pt x="20514" y="3386"/>
                    <a:pt x="20638" y="2742"/>
                    <a:pt x="20822" y="2482"/>
                  </a:cubicBezTo>
                  <a:cubicBezTo>
                    <a:pt x="20822" y="2204"/>
                    <a:pt x="20214" y="2295"/>
                    <a:pt x="19776" y="2745"/>
                  </a:cubicBezTo>
                  <a:cubicBezTo>
                    <a:pt x="19161" y="3147"/>
                    <a:pt x="18244" y="3861"/>
                    <a:pt x="17852" y="4341"/>
                  </a:cubicBezTo>
                  <a:cubicBezTo>
                    <a:pt x="17250" y="4773"/>
                    <a:pt x="17041" y="4895"/>
                    <a:pt x="17335" y="4590"/>
                  </a:cubicBezTo>
                  <a:cubicBezTo>
                    <a:pt x="17335" y="4251"/>
                    <a:pt x="18224" y="3556"/>
                    <a:pt x="18807" y="3011"/>
                  </a:cubicBezTo>
                  <a:cubicBezTo>
                    <a:pt x="19442" y="2473"/>
                    <a:pt x="20259" y="1594"/>
                    <a:pt x="20729" y="1082"/>
                  </a:cubicBezTo>
                  <a:cubicBezTo>
                    <a:pt x="21188" y="568"/>
                    <a:pt x="21469" y="51"/>
                    <a:pt x="21267" y="0"/>
                  </a:cubicBezTo>
                  <a:cubicBezTo>
                    <a:pt x="21031" y="0"/>
                    <a:pt x="20325" y="321"/>
                    <a:pt x="19501" y="874"/>
                  </a:cubicBezTo>
                  <a:cubicBezTo>
                    <a:pt x="18741" y="1439"/>
                    <a:pt x="17747" y="2207"/>
                    <a:pt x="17341" y="2579"/>
                  </a:cubicBezTo>
                  <a:cubicBezTo>
                    <a:pt x="16976" y="2963"/>
                    <a:pt x="16327" y="3462"/>
                    <a:pt x="16040" y="3728"/>
                  </a:cubicBezTo>
                  <a:cubicBezTo>
                    <a:pt x="15712" y="3982"/>
                    <a:pt x="15830" y="3776"/>
                    <a:pt x="16086" y="3250"/>
                  </a:cubicBezTo>
                  <a:cubicBezTo>
                    <a:pt x="16538" y="2751"/>
                    <a:pt x="16059" y="2987"/>
                    <a:pt x="15215" y="3813"/>
                  </a:cubicBezTo>
                  <a:cubicBezTo>
                    <a:pt x="14503" y="4659"/>
                    <a:pt x="13214" y="5910"/>
                    <a:pt x="12567" y="6636"/>
                  </a:cubicBezTo>
                  <a:cubicBezTo>
                    <a:pt x="12036" y="7382"/>
                    <a:pt x="11310" y="8111"/>
                    <a:pt x="11519" y="8156"/>
                  </a:cubicBezTo>
                  <a:cubicBezTo>
                    <a:pt x="11519" y="8262"/>
                    <a:pt x="11219" y="8746"/>
                    <a:pt x="10656" y="9214"/>
                  </a:cubicBezTo>
                  <a:cubicBezTo>
                    <a:pt x="10100" y="9683"/>
                    <a:pt x="9649" y="9925"/>
                    <a:pt x="9799" y="9752"/>
                  </a:cubicBezTo>
                  <a:cubicBezTo>
                    <a:pt x="9708" y="9571"/>
                    <a:pt x="9204" y="10049"/>
                    <a:pt x="8412" y="10820"/>
                  </a:cubicBezTo>
                  <a:cubicBezTo>
                    <a:pt x="7627" y="11600"/>
                    <a:pt x="6653" y="12779"/>
                    <a:pt x="6182" y="13432"/>
                  </a:cubicBezTo>
                  <a:cubicBezTo>
                    <a:pt x="5705" y="14091"/>
                    <a:pt x="4750" y="15191"/>
                    <a:pt x="4187" y="15914"/>
                  </a:cubicBezTo>
                  <a:cubicBezTo>
                    <a:pt x="3486" y="16606"/>
                    <a:pt x="3003" y="17308"/>
                    <a:pt x="3003" y="17453"/>
                  </a:cubicBezTo>
                  <a:cubicBezTo>
                    <a:pt x="3003" y="17597"/>
                    <a:pt x="2460" y="18244"/>
                    <a:pt x="1766" y="18888"/>
                  </a:cubicBezTo>
                  <a:cubicBezTo>
                    <a:pt x="1151" y="19551"/>
                    <a:pt x="223" y="20436"/>
                    <a:pt x="125" y="20908"/>
                  </a:cubicBezTo>
                  <a:cubicBezTo>
                    <a:pt x="-131" y="21373"/>
                    <a:pt x="26" y="21600"/>
                    <a:pt x="412" y="21419"/>
                  </a:cubicBezTo>
                  <a:cubicBezTo>
                    <a:pt x="759" y="21219"/>
                    <a:pt x="1602" y="20524"/>
                    <a:pt x="2381" y="19883"/>
                  </a:cubicBezTo>
                  <a:close/>
                  <a:moveTo>
                    <a:pt x="2381" y="198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5" name="AutoShape 1237"/>
            <p:cNvSpPr>
              <a:spLocks/>
            </p:cNvSpPr>
            <p:nvPr/>
          </p:nvSpPr>
          <p:spPr bwMode="auto">
            <a:xfrm>
              <a:off x="3721100" y="2933700"/>
              <a:ext cx="4763" cy="12700"/>
            </a:xfrm>
            <a:custGeom>
              <a:avLst/>
              <a:gdLst/>
              <a:ahLst/>
              <a:cxnLst/>
              <a:rect l="0" t="0" r="r" b="b"/>
              <a:pathLst>
                <a:path w="20619" h="20787">
                  <a:moveTo>
                    <a:pt x="2022" y="19659"/>
                  </a:moveTo>
                  <a:cubicBezTo>
                    <a:pt x="3669" y="18443"/>
                    <a:pt x="6780" y="15548"/>
                    <a:pt x="8834" y="13241"/>
                  </a:cubicBezTo>
                  <a:cubicBezTo>
                    <a:pt x="10866" y="10925"/>
                    <a:pt x="14208" y="7770"/>
                    <a:pt x="15542" y="6070"/>
                  </a:cubicBezTo>
                  <a:cubicBezTo>
                    <a:pt x="17297" y="4469"/>
                    <a:pt x="19477" y="2095"/>
                    <a:pt x="20070" y="781"/>
                  </a:cubicBezTo>
                  <a:cubicBezTo>
                    <a:pt x="21357" y="-425"/>
                    <a:pt x="20218" y="-231"/>
                    <a:pt x="18333" y="1342"/>
                  </a:cubicBezTo>
                  <a:cubicBezTo>
                    <a:pt x="16431" y="2923"/>
                    <a:pt x="13575" y="5645"/>
                    <a:pt x="12028" y="7432"/>
                  </a:cubicBezTo>
                  <a:cubicBezTo>
                    <a:pt x="10295" y="9160"/>
                    <a:pt x="9108" y="11041"/>
                    <a:pt x="8622" y="11504"/>
                  </a:cubicBezTo>
                  <a:cubicBezTo>
                    <a:pt x="8622" y="11996"/>
                    <a:pt x="6443" y="13733"/>
                    <a:pt x="4688" y="15480"/>
                  </a:cubicBezTo>
                  <a:cubicBezTo>
                    <a:pt x="2591" y="17151"/>
                    <a:pt x="1048" y="19390"/>
                    <a:pt x="94" y="20238"/>
                  </a:cubicBezTo>
                  <a:cubicBezTo>
                    <a:pt x="-243" y="21175"/>
                    <a:pt x="307" y="20867"/>
                    <a:pt x="2022" y="19659"/>
                  </a:cubicBezTo>
                  <a:close/>
                  <a:moveTo>
                    <a:pt x="2022" y="196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6" name="AutoShape 1238"/>
            <p:cNvSpPr>
              <a:spLocks/>
            </p:cNvSpPr>
            <p:nvPr/>
          </p:nvSpPr>
          <p:spPr bwMode="auto">
            <a:xfrm>
              <a:off x="3683000" y="2971800"/>
              <a:ext cx="26988" cy="74613"/>
            </a:xfrm>
            <a:custGeom>
              <a:avLst/>
              <a:gdLst/>
              <a:ahLst/>
              <a:cxnLst/>
              <a:rect l="0" t="0" r="r" b="b"/>
              <a:pathLst>
                <a:path w="21556" h="21500">
                  <a:moveTo>
                    <a:pt x="560" y="21378"/>
                  </a:moveTo>
                  <a:cubicBezTo>
                    <a:pt x="796" y="21233"/>
                    <a:pt x="1389" y="20904"/>
                    <a:pt x="1799" y="20628"/>
                  </a:cubicBezTo>
                  <a:cubicBezTo>
                    <a:pt x="2152" y="20343"/>
                    <a:pt x="2538" y="19931"/>
                    <a:pt x="2731" y="19716"/>
                  </a:cubicBezTo>
                  <a:cubicBezTo>
                    <a:pt x="2852" y="19497"/>
                    <a:pt x="3252" y="19125"/>
                    <a:pt x="3541" y="18885"/>
                  </a:cubicBezTo>
                  <a:cubicBezTo>
                    <a:pt x="3923" y="18664"/>
                    <a:pt x="4125" y="18330"/>
                    <a:pt x="4236" y="18185"/>
                  </a:cubicBezTo>
                  <a:cubicBezTo>
                    <a:pt x="4304" y="18038"/>
                    <a:pt x="4197" y="17948"/>
                    <a:pt x="4097" y="18003"/>
                  </a:cubicBezTo>
                  <a:cubicBezTo>
                    <a:pt x="3908" y="18003"/>
                    <a:pt x="4236" y="17780"/>
                    <a:pt x="4685" y="17397"/>
                  </a:cubicBezTo>
                  <a:cubicBezTo>
                    <a:pt x="5134" y="17013"/>
                    <a:pt x="5703" y="16582"/>
                    <a:pt x="5993" y="16447"/>
                  </a:cubicBezTo>
                  <a:cubicBezTo>
                    <a:pt x="6200" y="16295"/>
                    <a:pt x="6947" y="15888"/>
                    <a:pt x="7474" y="15507"/>
                  </a:cubicBezTo>
                  <a:cubicBezTo>
                    <a:pt x="8081" y="15142"/>
                    <a:pt x="8646" y="14575"/>
                    <a:pt x="8994" y="14294"/>
                  </a:cubicBezTo>
                  <a:cubicBezTo>
                    <a:pt x="9181" y="13993"/>
                    <a:pt x="9519" y="13711"/>
                    <a:pt x="9417" y="13711"/>
                  </a:cubicBezTo>
                  <a:cubicBezTo>
                    <a:pt x="9345" y="13684"/>
                    <a:pt x="9056" y="13763"/>
                    <a:pt x="8800" y="13917"/>
                  </a:cubicBezTo>
                  <a:cubicBezTo>
                    <a:pt x="8468" y="14039"/>
                    <a:pt x="8453" y="14057"/>
                    <a:pt x="8583" y="13910"/>
                  </a:cubicBezTo>
                  <a:cubicBezTo>
                    <a:pt x="8805" y="13774"/>
                    <a:pt x="9370" y="13322"/>
                    <a:pt x="9978" y="12931"/>
                  </a:cubicBezTo>
                  <a:cubicBezTo>
                    <a:pt x="10523" y="12529"/>
                    <a:pt x="11241" y="11996"/>
                    <a:pt x="11357" y="11718"/>
                  </a:cubicBezTo>
                  <a:cubicBezTo>
                    <a:pt x="11603" y="11451"/>
                    <a:pt x="11512" y="11098"/>
                    <a:pt x="11512" y="10939"/>
                  </a:cubicBezTo>
                  <a:cubicBezTo>
                    <a:pt x="11318" y="10797"/>
                    <a:pt x="11810" y="10300"/>
                    <a:pt x="12327" y="9860"/>
                  </a:cubicBezTo>
                  <a:cubicBezTo>
                    <a:pt x="12881" y="9429"/>
                    <a:pt x="13316" y="9121"/>
                    <a:pt x="13263" y="9181"/>
                  </a:cubicBezTo>
                  <a:cubicBezTo>
                    <a:pt x="13442" y="9181"/>
                    <a:pt x="13427" y="9174"/>
                    <a:pt x="13745" y="9056"/>
                  </a:cubicBezTo>
                  <a:cubicBezTo>
                    <a:pt x="13986" y="8911"/>
                    <a:pt x="14440" y="8566"/>
                    <a:pt x="14782" y="8285"/>
                  </a:cubicBezTo>
                  <a:cubicBezTo>
                    <a:pt x="14971" y="7988"/>
                    <a:pt x="15366" y="7569"/>
                    <a:pt x="15429" y="7330"/>
                  </a:cubicBezTo>
                  <a:cubicBezTo>
                    <a:pt x="15574" y="7095"/>
                    <a:pt x="15767" y="6791"/>
                    <a:pt x="16042" y="6662"/>
                  </a:cubicBezTo>
                  <a:cubicBezTo>
                    <a:pt x="16322" y="6535"/>
                    <a:pt x="16915" y="5934"/>
                    <a:pt x="17591" y="5366"/>
                  </a:cubicBezTo>
                  <a:cubicBezTo>
                    <a:pt x="18145" y="4779"/>
                    <a:pt x="18672" y="4169"/>
                    <a:pt x="18401" y="4137"/>
                  </a:cubicBezTo>
                  <a:cubicBezTo>
                    <a:pt x="18270" y="4042"/>
                    <a:pt x="18102" y="4061"/>
                    <a:pt x="17890" y="4139"/>
                  </a:cubicBezTo>
                  <a:cubicBezTo>
                    <a:pt x="17759" y="4237"/>
                    <a:pt x="17841" y="4173"/>
                    <a:pt x="17711" y="4024"/>
                  </a:cubicBezTo>
                  <a:cubicBezTo>
                    <a:pt x="17904" y="3881"/>
                    <a:pt x="18029" y="3520"/>
                    <a:pt x="18352" y="3261"/>
                  </a:cubicBezTo>
                  <a:cubicBezTo>
                    <a:pt x="18700" y="3008"/>
                    <a:pt x="19405" y="2409"/>
                    <a:pt x="20012" y="1940"/>
                  </a:cubicBezTo>
                  <a:cubicBezTo>
                    <a:pt x="20707" y="1489"/>
                    <a:pt x="21252" y="832"/>
                    <a:pt x="21465" y="519"/>
                  </a:cubicBezTo>
                  <a:cubicBezTo>
                    <a:pt x="21600" y="197"/>
                    <a:pt x="21575" y="-56"/>
                    <a:pt x="21455" y="11"/>
                  </a:cubicBezTo>
                  <a:cubicBezTo>
                    <a:pt x="21267" y="57"/>
                    <a:pt x="20770" y="322"/>
                    <a:pt x="20340" y="609"/>
                  </a:cubicBezTo>
                  <a:cubicBezTo>
                    <a:pt x="19964" y="909"/>
                    <a:pt x="19535" y="1327"/>
                    <a:pt x="19419" y="1548"/>
                  </a:cubicBezTo>
                  <a:cubicBezTo>
                    <a:pt x="19351" y="1776"/>
                    <a:pt x="19057" y="2244"/>
                    <a:pt x="18690" y="2575"/>
                  </a:cubicBezTo>
                  <a:cubicBezTo>
                    <a:pt x="18459" y="2921"/>
                    <a:pt x="17600" y="3708"/>
                    <a:pt x="16848" y="4318"/>
                  </a:cubicBezTo>
                  <a:cubicBezTo>
                    <a:pt x="16115" y="4936"/>
                    <a:pt x="15303" y="5677"/>
                    <a:pt x="15048" y="5960"/>
                  </a:cubicBezTo>
                  <a:cubicBezTo>
                    <a:pt x="14782" y="6245"/>
                    <a:pt x="14093" y="6798"/>
                    <a:pt x="13711" y="7219"/>
                  </a:cubicBezTo>
                  <a:cubicBezTo>
                    <a:pt x="13234" y="7627"/>
                    <a:pt x="12563" y="8166"/>
                    <a:pt x="12100" y="8394"/>
                  </a:cubicBezTo>
                  <a:cubicBezTo>
                    <a:pt x="11700" y="8638"/>
                    <a:pt x="11126" y="9004"/>
                    <a:pt x="10831" y="9215"/>
                  </a:cubicBezTo>
                  <a:cubicBezTo>
                    <a:pt x="10493" y="9413"/>
                    <a:pt x="10320" y="9706"/>
                    <a:pt x="10209" y="9825"/>
                  </a:cubicBezTo>
                  <a:cubicBezTo>
                    <a:pt x="10108" y="9942"/>
                    <a:pt x="10397" y="9932"/>
                    <a:pt x="10575" y="9759"/>
                  </a:cubicBezTo>
                  <a:cubicBezTo>
                    <a:pt x="10933" y="9627"/>
                    <a:pt x="11193" y="9462"/>
                    <a:pt x="11323" y="9429"/>
                  </a:cubicBezTo>
                  <a:cubicBezTo>
                    <a:pt x="11434" y="9471"/>
                    <a:pt x="11444" y="9535"/>
                    <a:pt x="11241" y="9718"/>
                  </a:cubicBezTo>
                  <a:cubicBezTo>
                    <a:pt x="11077" y="9906"/>
                    <a:pt x="10320" y="10415"/>
                    <a:pt x="9727" y="10873"/>
                  </a:cubicBezTo>
                  <a:cubicBezTo>
                    <a:pt x="9051" y="11317"/>
                    <a:pt x="8419" y="11830"/>
                    <a:pt x="8241" y="12003"/>
                  </a:cubicBezTo>
                  <a:cubicBezTo>
                    <a:pt x="8018" y="12165"/>
                    <a:pt x="7638" y="12567"/>
                    <a:pt x="7275" y="12878"/>
                  </a:cubicBezTo>
                  <a:cubicBezTo>
                    <a:pt x="6967" y="13196"/>
                    <a:pt x="6296" y="13482"/>
                    <a:pt x="6296" y="13587"/>
                  </a:cubicBezTo>
                  <a:cubicBezTo>
                    <a:pt x="6093" y="13659"/>
                    <a:pt x="5678" y="13947"/>
                    <a:pt x="5346" y="14213"/>
                  </a:cubicBezTo>
                  <a:cubicBezTo>
                    <a:pt x="4989" y="14478"/>
                    <a:pt x="4627" y="14831"/>
                    <a:pt x="4555" y="14992"/>
                  </a:cubicBezTo>
                  <a:cubicBezTo>
                    <a:pt x="4386" y="15144"/>
                    <a:pt x="4482" y="15157"/>
                    <a:pt x="4820" y="15095"/>
                  </a:cubicBezTo>
                  <a:cubicBezTo>
                    <a:pt x="5018" y="14976"/>
                    <a:pt x="5182" y="15012"/>
                    <a:pt x="5182" y="15144"/>
                  </a:cubicBezTo>
                  <a:cubicBezTo>
                    <a:pt x="5182" y="15275"/>
                    <a:pt x="5375" y="15188"/>
                    <a:pt x="5630" y="14939"/>
                  </a:cubicBezTo>
                  <a:cubicBezTo>
                    <a:pt x="5857" y="14686"/>
                    <a:pt x="6373" y="14364"/>
                    <a:pt x="6677" y="14221"/>
                  </a:cubicBezTo>
                  <a:cubicBezTo>
                    <a:pt x="6996" y="14078"/>
                    <a:pt x="7107" y="14052"/>
                    <a:pt x="7107" y="14183"/>
                  </a:cubicBezTo>
                  <a:cubicBezTo>
                    <a:pt x="6987" y="14306"/>
                    <a:pt x="6667" y="14648"/>
                    <a:pt x="6253" y="14925"/>
                  </a:cubicBezTo>
                  <a:cubicBezTo>
                    <a:pt x="5901" y="15211"/>
                    <a:pt x="5322" y="15636"/>
                    <a:pt x="4994" y="15871"/>
                  </a:cubicBezTo>
                  <a:cubicBezTo>
                    <a:pt x="4766" y="16120"/>
                    <a:pt x="4477" y="16452"/>
                    <a:pt x="4400" y="16617"/>
                  </a:cubicBezTo>
                  <a:cubicBezTo>
                    <a:pt x="4323" y="16783"/>
                    <a:pt x="3894" y="17183"/>
                    <a:pt x="3488" y="17515"/>
                  </a:cubicBezTo>
                  <a:cubicBezTo>
                    <a:pt x="3044" y="17840"/>
                    <a:pt x="2408" y="18376"/>
                    <a:pt x="2041" y="18697"/>
                  </a:cubicBezTo>
                  <a:cubicBezTo>
                    <a:pt x="1742" y="19030"/>
                    <a:pt x="1530" y="19433"/>
                    <a:pt x="1462" y="19603"/>
                  </a:cubicBezTo>
                  <a:cubicBezTo>
                    <a:pt x="1593" y="19765"/>
                    <a:pt x="1240" y="20234"/>
                    <a:pt x="748" y="20598"/>
                  </a:cubicBezTo>
                  <a:cubicBezTo>
                    <a:pt x="338" y="20971"/>
                    <a:pt x="0" y="21355"/>
                    <a:pt x="0" y="21448"/>
                  </a:cubicBezTo>
                  <a:cubicBezTo>
                    <a:pt x="0" y="21544"/>
                    <a:pt x="222" y="21501"/>
                    <a:pt x="560" y="21378"/>
                  </a:cubicBezTo>
                  <a:close/>
                  <a:moveTo>
                    <a:pt x="560" y="213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7" name="AutoShape 1239"/>
            <p:cNvSpPr>
              <a:spLocks/>
            </p:cNvSpPr>
            <p:nvPr/>
          </p:nvSpPr>
          <p:spPr bwMode="auto">
            <a:xfrm>
              <a:off x="3733800" y="2921000"/>
              <a:ext cx="0" cy="1588"/>
            </a:xfrm>
            <a:custGeom>
              <a:avLst/>
              <a:gdLst/>
              <a:ahLst/>
              <a:cxnLst/>
              <a:rect l="0" t="0" r="r" b="b"/>
              <a:pathLst>
                <a:path w="17588" h="17579">
                  <a:moveTo>
                    <a:pt x="15007" y="601"/>
                  </a:moveTo>
                  <a:cubicBezTo>
                    <a:pt x="10579" y="3068"/>
                    <a:pt x="4561" y="9286"/>
                    <a:pt x="596" y="14426"/>
                  </a:cubicBezTo>
                  <a:cubicBezTo>
                    <a:pt x="-1463" y="19954"/>
                    <a:pt x="1891" y="18008"/>
                    <a:pt x="9389" y="10189"/>
                  </a:cubicBezTo>
                  <a:cubicBezTo>
                    <a:pt x="17288" y="2591"/>
                    <a:pt x="20137" y="-1646"/>
                    <a:pt x="15007" y="601"/>
                  </a:cubicBezTo>
                  <a:close/>
                  <a:moveTo>
                    <a:pt x="15007" y="6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8" name="AutoShape 1240"/>
            <p:cNvSpPr>
              <a:spLocks/>
            </p:cNvSpPr>
            <p:nvPr/>
          </p:nvSpPr>
          <p:spPr bwMode="auto">
            <a:xfrm>
              <a:off x="3683000" y="3035300"/>
              <a:ext cx="4763" cy="14288"/>
            </a:xfrm>
            <a:custGeom>
              <a:avLst/>
              <a:gdLst/>
              <a:ahLst/>
              <a:cxnLst/>
              <a:rect l="0" t="0" r="r" b="b"/>
              <a:pathLst>
                <a:path w="20749" h="21030">
                  <a:moveTo>
                    <a:pt x="6134" y="16718"/>
                  </a:moveTo>
                  <a:cubicBezTo>
                    <a:pt x="10018" y="13903"/>
                    <a:pt x="13603" y="10042"/>
                    <a:pt x="14552" y="8228"/>
                  </a:cubicBezTo>
                  <a:cubicBezTo>
                    <a:pt x="15778" y="6445"/>
                    <a:pt x="17606" y="4014"/>
                    <a:pt x="18809" y="2847"/>
                  </a:cubicBezTo>
                  <a:cubicBezTo>
                    <a:pt x="20336" y="1736"/>
                    <a:pt x="21187" y="400"/>
                    <a:pt x="20519" y="164"/>
                  </a:cubicBezTo>
                  <a:cubicBezTo>
                    <a:pt x="20217" y="-148"/>
                    <a:pt x="19061" y="-12"/>
                    <a:pt x="18297" y="551"/>
                  </a:cubicBezTo>
                  <a:cubicBezTo>
                    <a:pt x="17535" y="1106"/>
                    <a:pt x="15062" y="2695"/>
                    <a:pt x="13533" y="4226"/>
                  </a:cubicBezTo>
                  <a:cubicBezTo>
                    <a:pt x="11775" y="5705"/>
                    <a:pt x="9648" y="8403"/>
                    <a:pt x="8516" y="10194"/>
                  </a:cubicBezTo>
                  <a:cubicBezTo>
                    <a:pt x="7218" y="11976"/>
                    <a:pt x="5163" y="14928"/>
                    <a:pt x="3519" y="16718"/>
                  </a:cubicBezTo>
                  <a:cubicBezTo>
                    <a:pt x="1713" y="18502"/>
                    <a:pt x="-413" y="20436"/>
                    <a:pt x="70" y="20948"/>
                  </a:cubicBezTo>
                  <a:cubicBezTo>
                    <a:pt x="-413" y="21452"/>
                    <a:pt x="2709" y="19585"/>
                    <a:pt x="6134" y="16718"/>
                  </a:cubicBezTo>
                  <a:close/>
                  <a:moveTo>
                    <a:pt x="6134" y="167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39" name="AutoShape 1241"/>
            <p:cNvSpPr>
              <a:spLocks/>
            </p:cNvSpPr>
            <p:nvPr/>
          </p:nvSpPr>
          <p:spPr bwMode="auto">
            <a:xfrm>
              <a:off x="3695700" y="2794000"/>
              <a:ext cx="93663" cy="242888"/>
            </a:xfrm>
            <a:custGeom>
              <a:avLst/>
              <a:gdLst/>
              <a:ahLst/>
              <a:cxnLst/>
              <a:rect l="0" t="0" r="r" b="b"/>
              <a:pathLst>
                <a:path w="21526" h="21542">
                  <a:moveTo>
                    <a:pt x="11711" y="6487"/>
                  </a:moveTo>
                  <a:cubicBezTo>
                    <a:pt x="11609" y="6599"/>
                    <a:pt x="11406" y="6752"/>
                    <a:pt x="11331" y="6839"/>
                  </a:cubicBezTo>
                  <a:cubicBezTo>
                    <a:pt x="11249" y="6925"/>
                    <a:pt x="11128" y="7095"/>
                    <a:pt x="11063" y="7220"/>
                  </a:cubicBezTo>
                  <a:cubicBezTo>
                    <a:pt x="11002" y="7345"/>
                    <a:pt x="11004" y="7452"/>
                    <a:pt x="10981" y="7452"/>
                  </a:cubicBezTo>
                  <a:cubicBezTo>
                    <a:pt x="10998" y="7459"/>
                    <a:pt x="10970" y="7503"/>
                    <a:pt x="10916" y="7563"/>
                  </a:cubicBezTo>
                  <a:cubicBezTo>
                    <a:pt x="10858" y="7621"/>
                    <a:pt x="10902" y="7605"/>
                    <a:pt x="11009" y="7528"/>
                  </a:cubicBezTo>
                  <a:cubicBezTo>
                    <a:pt x="11101" y="7449"/>
                    <a:pt x="11180" y="7433"/>
                    <a:pt x="11147" y="7486"/>
                  </a:cubicBezTo>
                  <a:cubicBezTo>
                    <a:pt x="11129" y="7541"/>
                    <a:pt x="11162" y="7528"/>
                    <a:pt x="11279" y="7467"/>
                  </a:cubicBezTo>
                  <a:cubicBezTo>
                    <a:pt x="11382" y="7403"/>
                    <a:pt x="11506" y="7322"/>
                    <a:pt x="11506" y="7287"/>
                  </a:cubicBezTo>
                  <a:cubicBezTo>
                    <a:pt x="11535" y="7254"/>
                    <a:pt x="11614" y="7171"/>
                    <a:pt x="11696" y="7107"/>
                  </a:cubicBezTo>
                  <a:cubicBezTo>
                    <a:pt x="11771" y="7042"/>
                    <a:pt x="11813" y="7019"/>
                    <a:pt x="11813" y="7054"/>
                  </a:cubicBezTo>
                  <a:cubicBezTo>
                    <a:pt x="11785" y="7088"/>
                    <a:pt x="11817" y="7112"/>
                    <a:pt x="11851" y="7099"/>
                  </a:cubicBezTo>
                  <a:cubicBezTo>
                    <a:pt x="11878" y="7083"/>
                    <a:pt x="12037" y="6989"/>
                    <a:pt x="12168" y="6879"/>
                  </a:cubicBezTo>
                  <a:cubicBezTo>
                    <a:pt x="12324" y="6773"/>
                    <a:pt x="12514" y="6568"/>
                    <a:pt x="12631" y="6432"/>
                  </a:cubicBezTo>
                  <a:cubicBezTo>
                    <a:pt x="12766" y="6299"/>
                    <a:pt x="12789" y="6209"/>
                    <a:pt x="12741" y="6241"/>
                  </a:cubicBezTo>
                  <a:cubicBezTo>
                    <a:pt x="12670" y="6269"/>
                    <a:pt x="12597" y="6337"/>
                    <a:pt x="12516" y="6375"/>
                  </a:cubicBezTo>
                  <a:cubicBezTo>
                    <a:pt x="12516" y="6424"/>
                    <a:pt x="12417" y="6435"/>
                    <a:pt x="12417" y="6413"/>
                  </a:cubicBezTo>
                  <a:cubicBezTo>
                    <a:pt x="12363" y="6413"/>
                    <a:pt x="12551" y="6255"/>
                    <a:pt x="12761" y="6123"/>
                  </a:cubicBezTo>
                  <a:cubicBezTo>
                    <a:pt x="12933" y="5983"/>
                    <a:pt x="13165" y="5815"/>
                    <a:pt x="13227" y="5742"/>
                  </a:cubicBezTo>
                  <a:cubicBezTo>
                    <a:pt x="13327" y="5674"/>
                    <a:pt x="13412" y="5559"/>
                    <a:pt x="13467" y="5496"/>
                  </a:cubicBezTo>
                  <a:cubicBezTo>
                    <a:pt x="13521" y="5431"/>
                    <a:pt x="13539" y="5383"/>
                    <a:pt x="13514" y="5377"/>
                  </a:cubicBezTo>
                  <a:cubicBezTo>
                    <a:pt x="13543" y="5377"/>
                    <a:pt x="13523" y="5333"/>
                    <a:pt x="13566" y="5274"/>
                  </a:cubicBezTo>
                  <a:cubicBezTo>
                    <a:pt x="13636" y="5220"/>
                    <a:pt x="13742" y="5111"/>
                    <a:pt x="13849" y="5042"/>
                  </a:cubicBezTo>
                  <a:cubicBezTo>
                    <a:pt x="13931" y="4968"/>
                    <a:pt x="14142" y="4799"/>
                    <a:pt x="14306" y="4665"/>
                  </a:cubicBezTo>
                  <a:cubicBezTo>
                    <a:pt x="14450" y="4528"/>
                    <a:pt x="14639" y="4405"/>
                    <a:pt x="14678" y="4382"/>
                  </a:cubicBezTo>
                  <a:cubicBezTo>
                    <a:pt x="14739" y="4366"/>
                    <a:pt x="14664" y="4436"/>
                    <a:pt x="14549" y="4550"/>
                  </a:cubicBezTo>
                  <a:cubicBezTo>
                    <a:pt x="14406" y="4659"/>
                    <a:pt x="14312" y="4803"/>
                    <a:pt x="14247" y="4854"/>
                  </a:cubicBezTo>
                  <a:cubicBezTo>
                    <a:pt x="14223" y="4911"/>
                    <a:pt x="14312" y="4842"/>
                    <a:pt x="14488" y="4705"/>
                  </a:cubicBezTo>
                  <a:cubicBezTo>
                    <a:pt x="14664" y="4568"/>
                    <a:pt x="14753" y="4498"/>
                    <a:pt x="14730" y="4553"/>
                  </a:cubicBezTo>
                  <a:cubicBezTo>
                    <a:pt x="14652" y="4599"/>
                    <a:pt x="14628" y="4700"/>
                    <a:pt x="14559" y="4760"/>
                  </a:cubicBezTo>
                  <a:cubicBezTo>
                    <a:pt x="14532" y="4823"/>
                    <a:pt x="14336" y="4977"/>
                    <a:pt x="14178" y="5108"/>
                  </a:cubicBezTo>
                  <a:cubicBezTo>
                    <a:pt x="14037" y="5241"/>
                    <a:pt x="13827" y="5407"/>
                    <a:pt x="13753" y="5485"/>
                  </a:cubicBezTo>
                  <a:cubicBezTo>
                    <a:pt x="13711" y="5566"/>
                    <a:pt x="13655" y="5620"/>
                    <a:pt x="13687" y="5607"/>
                  </a:cubicBezTo>
                  <a:cubicBezTo>
                    <a:pt x="13734" y="5607"/>
                    <a:pt x="13906" y="5474"/>
                    <a:pt x="14106" y="5337"/>
                  </a:cubicBezTo>
                  <a:cubicBezTo>
                    <a:pt x="14293" y="5198"/>
                    <a:pt x="14503" y="5061"/>
                    <a:pt x="14554" y="5032"/>
                  </a:cubicBezTo>
                  <a:cubicBezTo>
                    <a:pt x="14602" y="5000"/>
                    <a:pt x="14540" y="5064"/>
                    <a:pt x="14415" y="5171"/>
                  </a:cubicBezTo>
                  <a:cubicBezTo>
                    <a:pt x="14279" y="5276"/>
                    <a:pt x="14057" y="5456"/>
                    <a:pt x="13897" y="5564"/>
                  </a:cubicBezTo>
                  <a:cubicBezTo>
                    <a:pt x="13742" y="5676"/>
                    <a:pt x="13547" y="5838"/>
                    <a:pt x="13449" y="5923"/>
                  </a:cubicBezTo>
                  <a:cubicBezTo>
                    <a:pt x="13371" y="6011"/>
                    <a:pt x="13202" y="6155"/>
                    <a:pt x="13120" y="6248"/>
                  </a:cubicBezTo>
                  <a:cubicBezTo>
                    <a:pt x="13017" y="6338"/>
                    <a:pt x="12789" y="6525"/>
                    <a:pt x="12658" y="6670"/>
                  </a:cubicBezTo>
                  <a:cubicBezTo>
                    <a:pt x="12471" y="6806"/>
                    <a:pt x="12346" y="6963"/>
                    <a:pt x="12292" y="7006"/>
                  </a:cubicBezTo>
                  <a:cubicBezTo>
                    <a:pt x="12271" y="7052"/>
                    <a:pt x="12314" y="7083"/>
                    <a:pt x="12360" y="7056"/>
                  </a:cubicBezTo>
                  <a:cubicBezTo>
                    <a:pt x="12419" y="7034"/>
                    <a:pt x="12512" y="6971"/>
                    <a:pt x="12614" y="6921"/>
                  </a:cubicBezTo>
                  <a:cubicBezTo>
                    <a:pt x="12666" y="6861"/>
                    <a:pt x="12880" y="6724"/>
                    <a:pt x="13013" y="6603"/>
                  </a:cubicBezTo>
                  <a:cubicBezTo>
                    <a:pt x="13193" y="6492"/>
                    <a:pt x="13213" y="6453"/>
                    <a:pt x="13145" y="6534"/>
                  </a:cubicBezTo>
                  <a:cubicBezTo>
                    <a:pt x="13068" y="6613"/>
                    <a:pt x="12952" y="6726"/>
                    <a:pt x="12866" y="6780"/>
                  </a:cubicBezTo>
                  <a:cubicBezTo>
                    <a:pt x="12782" y="6834"/>
                    <a:pt x="12597" y="6986"/>
                    <a:pt x="12504" y="7122"/>
                  </a:cubicBezTo>
                  <a:cubicBezTo>
                    <a:pt x="12360" y="7252"/>
                    <a:pt x="12230" y="7406"/>
                    <a:pt x="12294" y="7406"/>
                  </a:cubicBezTo>
                  <a:cubicBezTo>
                    <a:pt x="12308" y="7429"/>
                    <a:pt x="12563" y="7257"/>
                    <a:pt x="12849" y="7018"/>
                  </a:cubicBezTo>
                  <a:cubicBezTo>
                    <a:pt x="13153" y="6782"/>
                    <a:pt x="13535" y="6463"/>
                    <a:pt x="13700" y="6309"/>
                  </a:cubicBezTo>
                  <a:cubicBezTo>
                    <a:pt x="13875" y="6157"/>
                    <a:pt x="14120" y="5948"/>
                    <a:pt x="14241" y="5844"/>
                  </a:cubicBezTo>
                  <a:cubicBezTo>
                    <a:pt x="14371" y="5743"/>
                    <a:pt x="14721" y="5419"/>
                    <a:pt x="15062" y="5130"/>
                  </a:cubicBezTo>
                  <a:cubicBezTo>
                    <a:pt x="15392" y="4841"/>
                    <a:pt x="15919" y="4369"/>
                    <a:pt x="16279" y="4088"/>
                  </a:cubicBezTo>
                  <a:cubicBezTo>
                    <a:pt x="16623" y="3805"/>
                    <a:pt x="17116" y="3374"/>
                    <a:pt x="17396" y="3133"/>
                  </a:cubicBezTo>
                  <a:cubicBezTo>
                    <a:pt x="17656" y="2891"/>
                    <a:pt x="17985" y="2564"/>
                    <a:pt x="18167" y="2414"/>
                  </a:cubicBezTo>
                  <a:cubicBezTo>
                    <a:pt x="18318" y="2260"/>
                    <a:pt x="18528" y="2085"/>
                    <a:pt x="18552" y="2017"/>
                  </a:cubicBezTo>
                  <a:cubicBezTo>
                    <a:pt x="18625" y="1954"/>
                    <a:pt x="18669" y="1877"/>
                    <a:pt x="18707" y="1855"/>
                  </a:cubicBezTo>
                  <a:cubicBezTo>
                    <a:pt x="18730" y="1829"/>
                    <a:pt x="18780" y="1811"/>
                    <a:pt x="18790" y="1815"/>
                  </a:cubicBezTo>
                  <a:cubicBezTo>
                    <a:pt x="18809" y="1815"/>
                    <a:pt x="18749" y="1919"/>
                    <a:pt x="18622" y="2034"/>
                  </a:cubicBezTo>
                  <a:cubicBezTo>
                    <a:pt x="18521" y="2153"/>
                    <a:pt x="18460" y="2253"/>
                    <a:pt x="18483" y="2245"/>
                  </a:cubicBezTo>
                  <a:cubicBezTo>
                    <a:pt x="18514" y="2245"/>
                    <a:pt x="18691" y="2101"/>
                    <a:pt x="18921" y="1938"/>
                  </a:cubicBezTo>
                  <a:cubicBezTo>
                    <a:pt x="19117" y="1769"/>
                    <a:pt x="19478" y="1522"/>
                    <a:pt x="19688" y="1382"/>
                  </a:cubicBezTo>
                  <a:cubicBezTo>
                    <a:pt x="19899" y="1243"/>
                    <a:pt x="19880" y="1289"/>
                    <a:pt x="19615" y="1478"/>
                  </a:cubicBezTo>
                  <a:cubicBezTo>
                    <a:pt x="19367" y="1670"/>
                    <a:pt x="18942" y="2006"/>
                    <a:pt x="18679" y="2227"/>
                  </a:cubicBezTo>
                  <a:cubicBezTo>
                    <a:pt x="18400" y="2444"/>
                    <a:pt x="18074" y="2747"/>
                    <a:pt x="17927" y="2897"/>
                  </a:cubicBezTo>
                  <a:cubicBezTo>
                    <a:pt x="17792" y="3048"/>
                    <a:pt x="17375" y="3379"/>
                    <a:pt x="17050" y="3640"/>
                  </a:cubicBezTo>
                  <a:cubicBezTo>
                    <a:pt x="16707" y="3898"/>
                    <a:pt x="16303" y="4229"/>
                    <a:pt x="16149" y="4375"/>
                  </a:cubicBezTo>
                  <a:cubicBezTo>
                    <a:pt x="15967" y="4516"/>
                    <a:pt x="15842" y="4686"/>
                    <a:pt x="15776" y="4738"/>
                  </a:cubicBezTo>
                  <a:cubicBezTo>
                    <a:pt x="15728" y="4794"/>
                    <a:pt x="15578" y="4919"/>
                    <a:pt x="15440" y="5020"/>
                  </a:cubicBezTo>
                  <a:cubicBezTo>
                    <a:pt x="15309" y="5121"/>
                    <a:pt x="15034" y="5347"/>
                    <a:pt x="14829" y="5521"/>
                  </a:cubicBezTo>
                  <a:cubicBezTo>
                    <a:pt x="14628" y="5696"/>
                    <a:pt x="14425" y="5918"/>
                    <a:pt x="14324" y="6004"/>
                  </a:cubicBezTo>
                  <a:cubicBezTo>
                    <a:pt x="14247" y="6093"/>
                    <a:pt x="14075" y="6252"/>
                    <a:pt x="13980" y="6361"/>
                  </a:cubicBezTo>
                  <a:cubicBezTo>
                    <a:pt x="13863" y="6467"/>
                    <a:pt x="13770" y="6604"/>
                    <a:pt x="13770" y="6660"/>
                  </a:cubicBezTo>
                  <a:cubicBezTo>
                    <a:pt x="13745" y="6715"/>
                    <a:pt x="13626" y="6864"/>
                    <a:pt x="13514" y="6996"/>
                  </a:cubicBezTo>
                  <a:cubicBezTo>
                    <a:pt x="13381" y="7124"/>
                    <a:pt x="13347" y="7218"/>
                    <a:pt x="13371" y="7190"/>
                  </a:cubicBezTo>
                  <a:cubicBezTo>
                    <a:pt x="13431" y="7172"/>
                    <a:pt x="13371" y="7253"/>
                    <a:pt x="13230" y="7376"/>
                  </a:cubicBezTo>
                  <a:cubicBezTo>
                    <a:pt x="13115" y="7502"/>
                    <a:pt x="13016" y="7634"/>
                    <a:pt x="13002" y="7671"/>
                  </a:cubicBezTo>
                  <a:cubicBezTo>
                    <a:pt x="13002" y="7710"/>
                    <a:pt x="13095" y="7682"/>
                    <a:pt x="13198" y="7608"/>
                  </a:cubicBezTo>
                  <a:cubicBezTo>
                    <a:pt x="13286" y="7531"/>
                    <a:pt x="13394" y="7491"/>
                    <a:pt x="13426" y="7497"/>
                  </a:cubicBezTo>
                  <a:cubicBezTo>
                    <a:pt x="13435" y="7510"/>
                    <a:pt x="13574" y="7452"/>
                    <a:pt x="13703" y="7369"/>
                  </a:cubicBezTo>
                  <a:cubicBezTo>
                    <a:pt x="13838" y="7287"/>
                    <a:pt x="14059" y="7162"/>
                    <a:pt x="14206" y="7095"/>
                  </a:cubicBezTo>
                  <a:cubicBezTo>
                    <a:pt x="14327" y="7020"/>
                    <a:pt x="14425" y="7000"/>
                    <a:pt x="14392" y="7037"/>
                  </a:cubicBezTo>
                  <a:cubicBezTo>
                    <a:pt x="14324" y="7064"/>
                    <a:pt x="14112" y="7239"/>
                    <a:pt x="13861" y="7407"/>
                  </a:cubicBezTo>
                  <a:cubicBezTo>
                    <a:pt x="13636" y="7581"/>
                    <a:pt x="13349" y="7757"/>
                    <a:pt x="13253" y="7803"/>
                  </a:cubicBezTo>
                  <a:cubicBezTo>
                    <a:pt x="13171" y="7854"/>
                    <a:pt x="13053" y="7935"/>
                    <a:pt x="13007" y="7988"/>
                  </a:cubicBezTo>
                  <a:cubicBezTo>
                    <a:pt x="12964" y="8041"/>
                    <a:pt x="12906" y="8106"/>
                    <a:pt x="12924" y="8134"/>
                  </a:cubicBezTo>
                  <a:cubicBezTo>
                    <a:pt x="12950" y="8163"/>
                    <a:pt x="12856" y="8238"/>
                    <a:pt x="12770" y="8304"/>
                  </a:cubicBezTo>
                  <a:cubicBezTo>
                    <a:pt x="12659" y="8362"/>
                    <a:pt x="12536" y="8463"/>
                    <a:pt x="12433" y="8510"/>
                  </a:cubicBezTo>
                  <a:cubicBezTo>
                    <a:pt x="12346" y="8560"/>
                    <a:pt x="12229" y="8652"/>
                    <a:pt x="12154" y="8710"/>
                  </a:cubicBezTo>
                  <a:cubicBezTo>
                    <a:pt x="12099" y="8773"/>
                    <a:pt x="11995" y="8905"/>
                    <a:pt x="11930" y="9005"/>
                  </a:cubicBezTo>
                  <a:cubicBezTo>
                    <a:pt x="11869" y="9107"/>
                    <a:pt x="11724" y="9287"/>
                    <a:pt x="11596" y="9402"/>
                  </a:cubicBezTo>
                  <a:cubicBezTo>
                    <a:pt x="11469" y="9517"/>
                    <a:pt x="11338" y="9651"/>
                    <a:pt x="11260" y="9689"/>
                  </a:cubicBezTo>
                  <a:cubicBezTo>
                    <a:pt x="11195" y="9729"/>
                    <a:pt x="11123" y="9735"/>
                    <a:pt x="11123" y="9701"/>
                  </a:cubicBezTo>
                  <a:cubicBezTo>
                    <a:pt x="11085" y="9672"/>
                    <a:pt x="11147" y="9578"/>
                    <a:pt x="11212" y="9501"/>
                  </a:cubicBezTo>
                  <a:cubicBezTo>
                    <a:pt x="11259" y="9422"/>
                    <a:pt x="11260" y="9404"/>
                    <a:pt x="11193" y="9458"/>
                  </a:cubicBezTo>
                  <a:cubicBezTo>
                    <a:pt x="11120" y="9513"/>
                    <a:pt x="11026" y="9608"/>
                    <a:pt x="10976" y="9668"/>
                  </a:cubicBezTo>
                  <a:cubicBezTo>
                    <a:pt x="10923" y="9730"/>
                    <a:pt x="10764" y="9878"/>
                    <a:pt x="10612" y="9996"/>
                  </a:cubicBezTo>
                  <a:cubicBezTo>
                    <a:pt x="10449" y="10112"/>
                    <a:pt x="10270" y="10323"/>
                    <a:pt x="10105" y="10444"/>
                  </a:cubicBezTo>
                  <a:cubicBezTo>
                    <a:pt x="10015" y="10576"/>
                    <a:pt x="9874" y="10701"/>
                    <a:pt x="9852" y="10729"/>
                  </a:cubicBezTo>
                  <a:cubicBezTo>
                    <a:pt x="9833" y="10756"/>
                    <a:pt x="9741" y="10841"/>
                    <a:pt x="9653" y="10917"/>
                  </a:cubicBezTo>
                  <a:cubicBezTo>
                    <a:pt x="9548" y="10990"/>
                    <a:pt x="9388" y="11085"/>
                    <a:pt x="9326" y="11134"/>
                  </a:cubicBezTo>
                  <a:cubicBezTo>
                    <a:pt x="9224" y="11174"/>
                    <a:pt x="9063" y="11309"/>
                    <a:pt x="8919" y="11421"/>
                  </a:cubicBezTo>
                  <a:cubicBezTo>
                    <a:pt x="8776" y="11533"/>
                    <a:pt x="8642" y="11660"/>
                    <a:pt x="8608" y="11700"/>
                  </a:cubicBezTo>
                  <a:cubicBezTo>
                    <a:pt x="8574" y="11740"/>
                    <a:pt x="8588" y="11755"/>
                    <a:pt x="8646" y="11740"/>
                  </a:cubicBezTo>
                  <a:cubicBezTo>
                    <a:pt x="8668" y="11714"/>
                    <a:pt x="8794" y="11677"/>
                    <a:pt x="8864" y="11642"/>
                  </a:cubicBezTo>
                  <a:cubicBezTo>
                    <a:pt x="8915" y="11603"/>
                    <a:pt x="8912" y="11648"/>
                    <a:pt x="8856" y="11738"/>
                  </a:cubicBezTo>
                  <a:cubicBezTo>
                    <a:pt x="8810" y="11828"/>
                    <a:pt x="8714" y="11935"/>
                    <a:pt x="8714" y="11981"/>
                  </a:cubicBezTo>
                  <a:cubicBezTo>
                    <a:pt x="8695" y="12025"/>
                    <a:pt x="8774" y="12034"/>
                    <a:pt x="8836" y="11993"/>
                  </a:cubicBezTo>
                  <a:cubicBezTo>
                    <a:pt x="8939" y="11967"/>
                    <a:pt x="8963" y="11944"/>
                    <a:pt x="8980" y="11968"/>
                  </a:cubicBezTo>
                  <a:cubicBezTo>
                    <a:pt x="8980" y="11993"/>
                    <a:pt x="8973" y="12045"/>
                    <a:pt x="8928" y="12081"/>
                  </a:cubicBezTo>
                  <a:cubicBezTo>
                    <a:pt x="8928" y="12123"/>
                    <a:pt x="8824" y="12194"/>
                    <a:pt x="8719" y="12204"/>
                  </a:cubicBezTo>
                  <a:cubicBezTo>
                    <a:pt x="8670" y="12242"/>
                    <a:pt x="8497" y="12295"/>
                    <a:pt x="8450" y="12349"/>
                  </a:cubicBezTo>
                  <a:cubicBezTo>
                    <a:pt x="8385" y="12401"/>
                    <a:pt x="8310" y="12491"/>
                    <a:pt x="8241" y="12545"/>
                  </a:cubicBezTo>
                  <a:cubicBezTo>
                    <a:pt x="8217" y="12603"/>
                    <a:pt x="8197" y="12666"/>
                    <a:pt x="8197" y="12691"/>
                  </a:cubicBezTo>
                  <a:cubicBezTo>
                    <a:pt x="8255" y="12702"/>
                    <a:pt x="8181" y="12808"/>
                    <a:pt x="8106" y="12896"/>
                  </a:cubicBezTo>
                  <a:cubicBezTo>
                    <a:pt x="8056" y="12986"/>
                    <a:pt x="8010" y="13097"/>
                    <a:pt x="7989" y="13144"/>
                  </a:cubicBezTo>
                  <a:cubicBezTo>
                    <a:pt x="8024" y="13191"/>
                    <a:pt x="8027" y="13212"/>
                    <a:pt x="8086" y="13195"/>
                  </a:cubicBezTo>
                  <a:cubicBezTo>
                    <a:pt x="8119" y="13169"/>
                    <a:pt x="8100" y="13205"/>
                    <a:pt x="8006" y="13265"/>
                  </a:cubicBezTo>
                  <a:cubicBezTo>
                    <a:pt x="7924" y="13327"/>
                    <a:pt x="7752" y="13398"/>
                    <a:pt x="7698" y="13442"/>
                  </a:cubicBezTo>
                  <a:cubicBezTo>
                    <a:pt x="7607" y="13477"/>
                    <a:pt x="7451" y="13619"/>
                    <a:pt x="7271" y="13740"/>
                  </a:cubicBezTo>
                  <a:cubicBezTo>
                    <a:pt x="7117" y="13867"/>
                    <a:pt x="6887" y="14072"/>
                    <a:pt x="6772" y="14199"/>
                  </a:cubicBezTo>
                  <a:cubicBezTo>
                    <a:pt x="6660" y="14327"/>
                    <a:pt x="6469" y="14542"/>
                    <a:pt x="6410" y="14682"/>
                  </a:cubicBezTo>
                  <a:cubicBezTo>
                    <a:pt x="6317" y="14819"/>
                    <a:pt x="6264" y="14960"/>
                    <a:pt x="6298" y="14987"/>
                  </a:cubicBezTo>
                  <a:cubicBezTo>
                    <a:pt x="6298" y="15017"/>
                    <a:pt x="6435" y="14996"/>
                    <a:pt x="6553" y="14941"/>
                  </a:cubicBezTo>
                  <a:cubicBezTo>
                    <a:pt x="6687" y="14890"/>
                    <a:pt x="6820" y="14855"/>
                    <a:pt x="6841" y="14843"/>
                  </a:cubicBezTo>
                  <a:cubicBezTo>
                    <a:pt x="6875" y="14850"/>
                    <a:pt x="6756" y="14939"/>
                    <a:pt x="6577" y="15060"/>
                  </a:cubicBezTo>
                  <a:cubicBezTo>
                    <a:pt x="6390" y="15177"/>
                    <a:pt x="6180" y="15301"/>
                    <a:pt x="6082" y="15319"/>
                  </a:cubicBezTo>
                  <a:cubicBezTo>
                    <a:pt x="6006" y="15349"/>
                    <a:pt x="5820" y="15401"/>
                    <a:pt x="5747" y="15459"/>
                  </a:cubicBezTo>
                  <a:cubicBezTo>
                    <a:pt x="5627" y="15504"/>
                    <a:pt x="5383" y="15709"/>
                    <a:pt x="5177" y="15898"/>
                  </a:cubicBezTo>
                  <a:cubicBezTo>
                    <a:pt x="4940" y="16083"/>
                    <a:pt x="4516" y="16466"/>
                    <a:pt x="4141" y="16731"/>
                  </a:cubicBezTo>
                  <a:cubicBezTo>
                    <a:pt x="3819" y="17006"/>
                    <a:pt x="3304" y="17351"/>
                    <a:pt x="3101" y="17517"/>
                  </a:cubicBezTo>
                  <a:cubicBezTo>
                    <a:pt x="2876" y="17678"/>
                    <a:pt x="2602" y="17910"/>
                    <a:pt x="2491" y="18031"/>
                  </a:cubicBezTo>
                  <a:cubicBezTo>
                    <a:pt x="2368" y="18150"/>
                    <a:pt x="2271" y="18337"/>
                    <a:pt x="2162" y="18429"/>
                  </a:cubicBezTo>
                  <a:cubicBezTo>
                    <a:pt x="2121" y="18531"/>
                    <a:pt x="2206" y="18477"/>
                    <a:pt x="2427" y="18319"/>
                  </a:cubicBezTo>
                  <a:cubicBezTo>
                    <a:pt x="2626" y="18157"/>
                    <a:pt x="3003" y="17864"/>
                    <a:pt x="3234" y="17661"/>
                  </a:cubicBezTo>
                  <a:cubicBezTo>
                    <a:pt x="3454" y="17458"/>
                    <a:pt x="3701" y="17248"/>
                    <a:pt x="3756" y="17191"/>
                  </a:cubicBezTo>
                  <a:cubicBezTo>
                    <a:pt x="3826" y="17137"/>
                    <a:pt x="3945" y="17038"/>
                    <a:pt x="4052" y="16981"/>
                  </a:cubicBezTo>
                  <a:cubicBezTo>
                    <a:pt x="4162" y="16924"/>
                    <a:pt x="4452" y="16714"/>
                    <a:pt x="4713" y="16518"/>
                  </a:cubicBezTo>
                  <a:cubicBezTo>
                    <a:pt x="4959" y="16321"/>
                    <a:pt x="5109" y="16196"/>
                    <a:pt x="5142" y="16234"/>
                  </a:cubicBezTo>
                  <a:cubicBezTo>
                    <a:pt x="5095" y="16270"/>
                    <a:pt x="5173" y="16270"/>
                    <a:pt x="5262" y="16227"/>
                  </a:cubicBezTo>
                  <a:cubicBezTo>
                    <a:pt x="5365" y="16187"/>
                    <a:pt x="5566" y="16097"/>
                    <a:pt x="5690" y="16022"/>
                  </a:cubicBezTo>
                  <a:cubicBezTo>
                    <a:pt x="5841" y="15953"/>
                    <a:pt x="5821" y="16015"/>
                    <a:pt x="5621" y="16152"/>
                  </a:cubicBezTo>
                  <a:cubicBezTo>
                    <a:pt x="5438" y="16295"/>
                    <a:pt x="5273" y="16439"/>
                    <a:pt x="5245" y="16472"/>
                  </a:cubicBezTo>
                  <a:cubicBezTo>
                    <a:pt x="5205" y="16504"/>
                    <a:pt x="5280" y="16484"/>
                    <a:pt x="5425" y="16446"/>
                  </a:cubicBezTo>
                  <a:cubicBezTo>
                    <a:pt x="5547" y="16399"/>
                    <a:pt x="5580" y="16396"/>
                    <a:pt x="5559" y="16449"/>
                  </a:cubicBezTo>
                  <a:cubicBezTo>
                    <a:pt x="5490" y="16494"/>
                    <a:pt x="5296" y="16672"/>
                    <a:pt x="5076" y="16835"/>
                  </a:cubicBezTo>
                  <a:cubicBezTo>
                    <a:pt x="4863" y="17000"/>
                    <a:pt x="4586" y="17218"/>
                    <a:pt x="4492" y="17328"/>
                  </a:cubicBezTo>
                  <a:cubicBezTo>
                    <a:pt x="4399" y="17437"/>
                    <a:pt x="4248" y="17582"/>
                    <a:pt x="4205" y="17656"/>
                  </a:cubicBezTo>
                  <a:cubicBezTo>
                    <a:pt x="4145" y="17728"/>
                    <a:pt x="3948" y="17934"/>
                    <a:pt x="3725" y="18107"/>
                  </a:cubicBezTo>
                  <a:cubicBezTo>
                    <a:pt x="3527" y="18285"/>
                    <a:pt x="3250" y="18510"/>
                    <a:pt x="3137" y="18613"/>
                  </a:cubicBezTo>
                  <a:cubicBezTo>
                    <a:pt x="3017" y="18714"/>
                    <a:pt x="2866" y="18842"/>
                    <a:pt x="2866" y="18897"/>
                  </a:cubicBezTo>
                  <a:cubicBezTo>
                    <a:pt x="2801" y="18947"/>
                    <a:pt x="2746" y="19035"/>
                    <a:pt x="2746" y="19087"/>
                  </a:cubicBezTo>
                  <a:cubicBezTo>
                    <a:pt x="2705" y="19134"/>
                    <a:pt x="2633" y="19189"/>
                    <a:pt x="2577" y="19211"/>
                  </a:cubicBezTo>
                  <a:cubicBezTo>
                    <a:pt x="2513" y="19230"/>
                    <a:pt x="2372" y="19287"/>
                    <a:pt x="2267" y="19338"/>
                  </a:cubicBezTo>
                  <a:cubicBezTo>
                    <a:pt x="2127" y="19374"/>
                    <a:pt x="1953" y="19535"/>
                    <a:pt x="1782" y="19659"/>
                  </a:cubicBezTo>
                  <a:cubicBezTo>
                    <a:pt x="1645" y="19789"/>
                    <a:pt x="1473" y="19930"/>
                    <a:pt x="1413" y="19977"/>
                  </a:cubicBezTo>
                  <a:cubicBezTo>
                    <a:pt x="1365" y="20023"/>
                    <a:pt x="1389" y="20045"/>
                    <a:pt x="1463" y="20027"/>
                  </a:cubicBezTo>
                  <a:cubicBezTo>
                    <a:pt x="1533" y="20008"/>
                    <a:pt x="1645" y="19952"/>
                    <a:pt x="1717" y="19904"/>
                  </a:cubicBezTo>
                  <a:cubicBezTo>
                    <a:pt x="1776" y="19852"/>
                    <a:pt x="1907" y="19771"/>
                    <a:pt x="2034" y="19746"/>
                  </a:cubicBezTo>
                  <a:cubicBezTo>
                    <a:pt x="2121" y="19704"/>
                    <a:pt x="2196" y="19700"/>
                    <a:pt x="2176" y="19730"/>
                  </a:cubicBezTo>
                  <a:cubicBezTo>
                    <a:pt x="2150" y="19760"/>
                    <a:pt x="1999" y="19891"/>
                    <a:pt x="1824" y="20019"/>
                  </a:cubicBezTo>
                  <a:cubicBezTo>
                    <a:pt x="1666" y="20149"/>
                    <a:pt x="1469" y="20271"/>
                    <a:pt x="1402" y="20284"/>
                  </a:cubicBezTo>
                  <a:cubicBezTo>
                    <a:pt x="1339" y="20302"/>
                    <a:pt x="1250" y="20342"/>
                    <a:pt x="1185" y="20367"/>
                  </a:cubicBezTo>
                  <a:cubicBezTo>
                    <a:pt x="1134" y="20396"/>
                    <a:pt x="995" y="20475"/>
                    <a:pt x="900" y="20548"/>
                  </a:cubicBezTo>
                  <a:cubicBezTo>
                    <a:pt x="816" y="20623"/>
                    <a:pt x="579" y="20805"/>
                    <a:pt x="435" y="20963"/>
                  </a:cubicBezTo>
                  <a:cubicBezTo>
                    <a:pt x="273" y="21120"/>
                    <a:pt x="75" y="21332"/>
                    <a:pt x="33" y="21442"/>
                  </a:cubicBezTo>
                  <a:cubicBezTo>
                    <a:pt x="-36" y="21546"/>
                    <a:pt x="9" y="21575"/>
                    <a:pt x="112" y="21501"/>
                  </a:cubicBezTo>
                  <a:cubicBezTo>
                    <a:pt x="211" y="21426"/>
                    <a:pt x="391" y="21292"/>
                    <a:pt x="480" y="21198"/>
                  </a:cubicBezTo>
                  <a:cubicBezTo>
                    <a:pt x="594" y="21108"/>
                    <a:pt x="704" y="20981"/>
                    <a:pt x="752" y="21001"/>
                  </a:cubicBezTo>
                  <a:cubicBezTo>
                    <a:pt x="816" y="20989"/>
                    <a:pt x="999" y="20908"/>
                    <a:pt x="1110" y="20813"/>
                  </a:cubicBezTo>
                  <a:cubicBezTo>
                    <a:pt x="1263" y="20728"/>
                    <a:pt x="1604" y="20457"/>
                    <a:pt x="1911" y="20220"/>
                  </a:cubicBezTo>
                  <a:cubicBezTo>
                    <a:pt x="2224" y="19984"/>
                    <a:pt x="2662" y="19585"/>
                    <a:pt x="2983" y="19353"/>
                  </a:cubicBezTo>
                  <a:cubicBezTo>
                    <a:pt x="3250" y="19110"/>
                    <a:pt x="3753" y="18694"/>
                    <a:pt x="4019" y="18416"/>
                  </a:cubicBezTo>
                  <a:cubicBezTo>
                    <a:pt x="4311" y="18141"/>
                    <a:pt x="4870" y="17634"/>
                    <a:pt x="5253" y="17287"/>
                  </a:cubicBezTo>
                  <a:cubicBezTo>
                    <a:pt x="5654" y="16943"/>
                    <a:pt x="6070" y="16617"/>
                    <a:pt x="6125" y="16554"/>
                  </a:cubicBezTo>
                  <a:cubicBezTo>
                    <a:pt x="6216" y="16498"/>
                    <a:pt x="6278" y="16447"/>
                    <a:pt x="6277" y="16447"/>
                  </a:cubicBezTo>
                  <a:cubicBezTo>
                    <a:pt x="6278" y="16447"/>
                    <a:pt x="6291" y="16410"/>
                    <a:pt x="6356" y="16373"/>
                  </a:cubicBezTo>
                  <a:cubicBezTo>
                    <a:pt x="6390" y="16331"/>
                    <a:pt x="6512" y="16220"/>
                    <a:pt x="6598" y="16121"/>
                  </a:cubicBezTo>
                  <a:cubicBezTo>
                    <a:pt x="6683" y="16022"/>
                    <a:pt x="6813" y="15915"/>
                    <a:pt x="6869" y="15879"/>
                  </a:cubicBezTo>
                  <a:cubicBezTo>
                    <a:pt x="6945" y="15849"/>
                    <a:pt x="7041" y="15769"/>
                    <a:pt x="7066" y="15710"/>
                  </a:cubicBezTo>
                  <a:cubicBezTo>
                    <a:pt x="7116" y="15652"/>
                    <a:pt x="7215" y="15556"/>
                    <a:pt x="7289" y="15498"/>
                  </a:cubicBezTo>
                  <a:cubicBezTo>
                    <a:pt x="7377" y="15441"/>
                    <a:pt x="7459" y="15343"/>
                    <a:pt x="7491" y="15284"/>
                  </a:cubicBezTo>
                  <a:cubicBezTo>
                    <a:pt x="7540" y="15227"/>
                    <a:pt x="7549" y="15166"/>
                    <a:pt x="7512" y="15166"/>
                  </a:cubicBezTo>
                  <a:cubicBezTo>
                    <a:pt x="7481" y="15160"/>
                    <a:pt x="7535" y="15050"/>
                    <a:pt x="7663" y="14932"/>
                  </a:cubicBezTo>
                  <a:cubicBezTo>
                    <a:pt x="7749" y="14807"/>
                    <a:pt x="7894" y="14629"/>
                    <a:pt x="7978" y="14533"/>
                  </a:cubicBezTo>
                  <a:cubicBezTo>
                    <a:pt x="8040" y="14435"/>
                    <a:pt x="8082" y="14317"/>
                    <a:pt x="8031" y="14278"/>
                  </a:cubicBezTo>
                  <a:cubicBezTo>
                    <a:pt x="8031" y="14233"/>
                    <a:pt x="7952" y="14176"/>
                    <a:pt x="7952" y="14145"/>
                  </a:cubicBezTo>
                  <a:cubicBezTo>
                    <a:pt x="7884" y="14131"/>
                    <a:pt x="7970" y="14030"/>
                    <a:pt x="8031" y="13958"/>
                  </a:cubicBezTo>
                  <a:cubicBezTo>
                    <a:pt x="8074" y="13885"/>
                    <a:pt x="8197" y="13736"/>
                    <a:pt x="8221" y="13622"/>
                  </a:cubicBezTo>
                  <a:cubicBezTo>
                    <a:pt x="8267" y="13509"/>
                    <a:pt x="8276" y="13416"/>
                    <a:pt x="8234" y="13416"/>
                  </a:cubicBezTo>
                  <a:cubicBezTo>
                    <a:pt x="8195" y="13409"/>
                    <a:pt x="8074" y="13442"/>
                    <a:pt x="7993" y="13481"/>
                  </a:cubicBezTo>
                  <a:cubicBezTo>
                    <a:pt x="7910" y="13521"/>
                    <a:pt x="7862" y="13513"/>
                    <a:pt x="7906" y="13470"/>
                  </a:cubicBezTo>
                  <a:cubicBezTo>
                    <a:pt x="7945" y="13425"/>
                    <a:pt x="8056" y="13329"/>
                    <a:pt x="8152" y="13254"/>
                  </a:cubicBezTo>
                  <a:cubicBezTo>
                    <a:pt x="8248" y="13179"/>
                    <a:pt x="8385" y="13051"/>
                    <a:pt x="8456" y="12968"/>
                  </a:cubicBezTo>
                  <a:cubicBezTo>
                    <a:pt x="8527" y="12885"/>
                    <a:pt x="8590" y="12793"/>
                    <a:pt x="8590" y="12764"/>
                  </a:cubicBezTo>
                  <a:cubicBezTo>
                    <a:pt x="8590" y="12734"/>
                    <a:pt x="8614" y="12658"/>
                    <a:pt x="8677" y="12600"/>
                  </a:cubicBezTo>
                  <a:cubicBezTo>
                    <a:pt x="8677" y="12537"/>
                    <a:pt x="8845" y="12416"/>
                    <a:pt x="8980" y="12333"/>
                  </a:cubicBezTo>
                  <a:cubicBezTo>
                    <a:pt x="9083" y="12244"/>
                    <a:pt x="9231" y="12149"/>
                    <a:pt x="9293" y="12119"/>
                  </a:cubicBezTo>
                  <a:cubicBezTo>
                    <a:pt x="9345" y="12088"/>
                    <a:pt x="9438" y="12026"/>
                    <a:pt x="9457" y="11977"/>
                  </a:cubicBezTo>
                  <a:cubicBezTo>
                    <a:pt x="9536" y="11939"/>
                    <a:pt x="9534" y="11872"/>
                    <a:pt x="9498" y="11858"/>
                  </a:cubicBezTo>
                  <a:cubicBezTo>
                    <a:pt x="9479" y="11838"/>
                    <a:pt x="9419" y="11839"/>
                    <a:pt x="9368" y="11864"/>
                  </a:cubicBezTo>
                  <a:cubicBezTo>
                    <a:pt x="9303" y="11880"/>
                    <a:pt x="9357" y="11849"/>
                    <a:pt x="9396" y="11776"/>
                  </a:cubicBezTo>
                  <a:cubicBezTo>
                    <a:pt x="9465" y="11706"/>
                    <a:pt x="9653" y="11561"/>
                    <a:pt x="9809" y="11455"/>
                  </a:cubicBezTo>
                  <a:cubicBezTo>
                    <a:pt x="9932" y="11342"/>
                    <a:pt x="10466" y="10907"/>
                    <a:pt x="10868" y="10469"/>
                  </a:cubicBezTo>
                  <a:cubicBezTo>
                    <a:pt x="11298" y="10035"/>
                    <a:pt x="12002" y="9330"/>
                    <a:pt x="12445" y="8904"/>
                  </a:cubicBezTo>
                  <a:cubicBezTo>
                    <a:pt x="12886" y="8479"/>
                    <a:pt x="13557" y="7832"/>
                    <a:pt x="13968" y="7472"/>
                  </a:cubicBezTo>
                  <a:cubicBezTo>
                    <a:pt x="14378" y="7112"/>
                    <a:pt x="14722" y="6736"/>
                    <a:pt x="14831" y="6652"/>
                  </a:cubicBezTo>
                  <a:cubicBezTo>
                    <a:pt x="14886" y="6561"/>
                    <a:pt x="15049" y="6408"/>
                    <a:pt x="15155" y="6306"/>
                  </a:cubicBezTo>
                  <a:cubicBezTo>
                    <a:pt x="15249" y="6202"/>
                    <a:pt x="15472" y="6011"/>
                    <a:pt x="15644" y="5877"/>
                  </a:cubicBezTo>
                  <a:cubicBezTo>
                    <a:pt x="15816" y="5743"/>
                    <a:pt x="16017" y="5549"/>
                    <a:pt x="16129" y="5452"/>
                  </a:cubicBezTo>
                  <a:cubicBezTo>
                    <a:pt x="16200" y="5348"/>
                    <a:pt x="16376" y="5215"/>
                    <a:pt x="16394" y="5142"/>
                  </a:cubicBezTo>
                  <a:cubicBezTo>
                    <a:pt x="16424" y="5070"/>
                    <a:pt x="16641" y="4844"/>
                    <a:pt x="16861" y="4643"/>
                  </a:cubicBezTo>
                  <a:cubicBezTo>
                    <a:pt x="17046" y="4436"/>
                    <a:pt x="17270" y="4197"/>
                    <a:pt x="17308" y="4103"/>
                  </a:cubicBezTo>
                  <a:cubicBezTo>
                    <a:pt x="17332" y="4009"/>
                    <a:pt x="17538" y="3773"/>
                    <a:pt x="17728" y="3576"/>
                  </a:cubicBezTo>
                  <a:cubicBezTo>
                    <a:pt x="17924" y="3379"/>
                    <a:pt x="18190" y="3123"/>
                    <a:pt x="18333" y="3011"/>
                  </a:cubicBezTo>
                  <a:cubicBezTo>
                    <a:pt x="18479" y="2899"/>
                    <a:pt x="18804" y="2574"/>
                    <a:pt x="19050" y="2290"/>
                  </a:cubicBezTo>
                  <a:cubicBezTo>
                    <a:pt x="19316" y="2009"/>
                    <a:pt x="19592" y="1700"/>
                    <a:pt x="19717" y="1613"/>
                  </a:cubicBezTo>
                  <a:cubicBezTo>
                    <a:pt x="19800" y="1517"/>
                    <a:pt x="20135" y="1292"/>
                    <a:pt x="20382" y="1100"/>
                  </a:cubicBezTo>
                  <a:cubicBezTo>
                    <a:pt x="20639" y="909"/>
                    <a:pt x="20929" y="693"/>
                    <a:pt x="20972" y="616"/>
                  </a:cubicBezTo>
                  <a:cubicBezTo>
                    <a:pt x="21036" y="541"/>
                    <a:pt x="21182" y="389"/>
                    <a:pt x="21316" y="287"/>
                  </a:cubicBezTo>
                  <a:cubicBezTo>
                    <a:pt x="21429" y="180"/>
                    <a:pt x="21564" y="54"/>
                    <a:pt x="21516" y="17"/>
                  </a:cubicBezTo>
                  <a:cubicBezTo>
                    <a:pt x="21534" y="-25"/>
                    <a:pt x="21366" y="14"/>
                    <a:pt x="21180" y="101"/>
                  </a:cubicBezTo>
                  <a:cubicBezTo>
                    <a:pt x="20988" y="184"/>
                    <a:pt x="20664" y="384"/>
                    <a:pt x="20402" y="525"/>
                  </a:cubicBezTo>
                  <a:cubicBezTo>
                    <a:pt x="20135" y="665"/>
                    <a:pt x="19886" y="828"/>
                    <a:pt x="19811" y="876"/>
                  </a:cubicBezTo>
                  <a:cubicBezTo>
                    <a:pt x="19745" y="928"/>
                    <a:pt x="19450" y="1091"/>
                    <a:pt x="19192" y="1249"/>
                  </a:cubicBezTo>
                  <a:cubicBezTo>
                    <a:pt x="18931" y="1406"/>
                    <a:pt x="18503" y="1685"/>
                    <a:pt x="18240" y="1868"/>
                  </a:cubicBezTo>
                  <a:cubicBezTo>
                    <a:pt x="17998" y="2055"/>
                    <a:pt x="17449" y="2459"/>
                    <a:pt x="17015" y="2765"/>
                  </a:cubicBezTo>
                  <a:cubicBezTo>
                    <a:pt x="16613" y="3076"/>
                    <a:pt x="16105" y="3438"/>
                    <a:pt x="15892" y="3570"/>
                  </a:cubicBezTo>
                  <a:cubicBezTo>
                    <a:pt x="15682" y="3701"/>
                    <a:pt x="15371" y="3902"/>
                    <a:pt x="15168" y="4007"/>
                  </a:cubicBezTo>
                  <a:cubicBezTo>
                    <a:pt x="14974" y="4114"/>
                    <a:pt x="14647" y="4315"/>
                    <a:pt x="14391" y="4440"/>
                  </a:cubicBezTo>
                  <a:cubicBezTo>
                    <a:pt x="14227" y="4541"/>
                    <a:pt x="14071" y="4621"/>
                    <a:pt x="13978" y="4674"/>
                  </a:cubicBezTo>
                  <a:cubicBezTo>
                    <a:pt x="13260" y="5234"/>
                    <a:pt x="12555" y="5797"/>
                    <a:pt x="11845" y="6359"/>
                  </a:cubicBezTo>
                  <a:cubicBezTo>
                    <a:pt x="11847" y="6375"/>
                    <a:pt x="11806" y="6413"/>
                    <a:pt x="11711" y="6487"/>
                  </a:cubicBezTo>
                  <a:close/>
                  <a:moveTo>
                    <a:pt x="11711" y="64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0" name="AutoShape 1242"/>
            <p:cNvSpPr>
              <a:spLocks/>
            </p:cNvSpPr>
            <p:nvPr/>
          </p:nvSpPr>
          <p:spPr bwMode="auto">
            <a:xfrm>
              <a:off x="3708400" y="2997200"/>
              <a:ext cx="1588" cy="3175"/>
            </a:xfrm>
            <a:custGeom>
              <a:avLst/>
              <a:gdLst/>
              <a:ahLst/>
              <a:cxnLst/>
              <a:rect l="0" t="0" r="r" b="b"/>
              <a:pathLst>
                <a:path w="18845" h="19120">
                  <a:moveTo>
                    <a:pt x="6772" y="15620"/>
                  </a:moveTo>
                  <a:cubicBezTo>
                    <a:pt x="11041" y="11634"/>
                    <a:pt x="16407" y="5578"/>
                    <a:pt x="18127" y="2118"/>
                  </a:cubicBezTo>
                  <a:cubicBezTo>
                    <a:pt x="20186" y="-1318"/>
                    <a:pt x="17718" y="-443"/>
                    <a:pt x="12000" y="3801"/>
                  </a:cubicBezTo>
                  <a:cubicBezTo>
                    <a:pt x="7193" y="8331"/>
                    <a:pt x="2713" y="14452"/>
                    <a:pt x="658" y="17364"/>
                  </a:cubicBezTo>
                  <a:cubicBezTo>
                    <a:pt x="-1414" y="20282"/>
                    <a:pt x="1617" y="19472"/>
                    <a:pt x="6772" y="15620"/>
                  </a:cubicBezTo>
                  <a:close/>
                  <a:moveTo>
                    <a:pt x="6772" y="156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1" name="AutoShape 1243"/>
            <p:cNvSpPr>
              <a:spLocks/>
            </p:cNvSpPr>
            <p:nvPr/>
          </p:nvSpPr>
          <p:spPr bwMode="auto">
            <a:xfrm>
              <a:off x="3708400" y="2984500"/>
              <a:ext cx="4763" cy="9525"/>
            </a:xfrm>
            <a:custGeom>
              <a:avLst/>
              <a:gdLst/>
              <a:ahLst/>
              <a:cxnLst/>
              <a:rect l="0" t="0" r="r" b="b"/>
              <a:pathLst>
                <a:path w="21255" h="21078">
                  <a:moveTo>
                    <a:pt x="6242" y="13155"/>
                  </a:moveTo>
                  <a:cubicBezTo>
                    <a:pt x="2310" y="17442"/>
                    <a:pt x="-345" y="20986"/>
                    <a:pt x="36" y="21078"/>
                  </a:cubicBezTo>
                  <a:cubicBezTo>
                    <a:pt x="365" y="20917"/>
                    <a:pt x="2384" y="19346"/>
                    <a:pt x="4889" y="17282"/>
                  </a:cubicBezTo>
                  <a:cubicBezTo>
                    <a:pt x="6828" y="15045"/>
                    <a:pt x="9788" y="12861"/>
                    <a:pt x="10734" y="12236"/>
                  </a:cubicBezTo>
                  <a:cubicBezTo>
                    <a:pt x="12011" y="11794"/>
                    <a:pt x="14923" y="9184"/>
                    <a:pt x="16889" y="6602"/>
                  </a:cubicBezTo>
                  <a:cubicBezTo>
                    <a:pt x="19493" y="4111"/>
                    <a:pt x="20947" y="1275"/>
                    <a:pt x="21255" y="370"/>
                  </a:cubicBezTo>
                  <a:cubicBezTo>
                    <a:pt x="20795" y="-522"/>
                    <a:pt x="19592" y="263"/>
                    <a:pt x="17219" y="2020"/>
                  </a:cubicBezTo>
                  <a:cubicBezTo>
                    <a:pt x="15252" y="3913"/>
                    <a:pt x="9788" y="8786"/>
                    <a:pt x="6242" y="13155"/>
                  </a:cubicBezTo>
                  <a:close/>
                  <a:moveTo>
                    <a:pt x="6242" y="131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2" name="AutoShape 1244"/>
            <p:cNvSpPr>
              <a:spLocks/>
            </p:cNvSpPr>
            <p:nvPr/>
          </p:nvSpPr>
          <p:spPr bwMode="auto">
            <a:xfrm>
              <a:off x="3695700" y="3022600"/>
              <a:ext cx="0" cy="3175"/>
            </a:xfrm>
            <a:custGeom>
              <a:avLst/>
              <a:gdLst/>
              <a:ahLst/>
              <a:cxnLst/>
              <a:rect l="0" t="0" r="r" b="b"/>
              <a:pathLst>
                <a:path w="20333" h="18854">
                  <a:moveTo>
                    <a:pt x="216" y="17974"/>
                  </a:moveTo>
                  <a:cubicBezTo>
                    <a:pt x="-845" y="20073"/>
                    <a:pt x="2039" y="18254"/>
                    <a:pt x="7797" y="14225"/>
                  </a:cubicBezTo>
                  <a:cubicBezTo>
                    <a:pt x="12906" y="10081"/>
                    <a:pt x="17598" y="4205"/>
                    <a:pt x="20333" y="1426"/>
                  </a:cubicBezTo>
                  <a:cubicBezTo>
                    <a:pt x="20333" y="-1527"/>
                    <a:pt x="19169" y="292"/>
                    <a:pt x="12654" y="5169"/>
                  </a:cubicBezTo>
                  <a:cubicBezTo>
                    <a:pt x="7710" y="10278"/>
                    <a:pt x="-1267" y="15958"/>
                    <a:pt x="216" y="17974"/>
                  </a:cubicBezTo>
                  <a:close/>
                  <a:moveTo>
                    <a:pt x="216" y="179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3" name="AutoShape 1245"/>
            <p:cNvSpPr>
              <a:spLocks/>
            </p:cNvSpPr>
            <p:nvPr/>
          </p:nvSpPr>
          <p:spPr bwMode="auto">
            <a:xfrm>
              <a:off x="3708400" y="2933700"/>
              <a:ext cx="19050" cy="44450"/>
            </a:xfrm>
            <a:custGeom>
              <a:avLst/>
              <a:gdLst/>
              <a:ahLst/>
              <a:cxnLst/>
              <a:rect l="0" t="0" r="r" b="b"/>
              <a:pathLst>
                <a:path w="21469" h="21304">
                  <a:moveTo>
                    <a:pt x="2137" y="19334"/>
                  </a:moveTo>
                  <a:cubicBezTo>
                    <a:pt x="3407" y="18055"/>
                    <a:pt x="4274" y="17224"/>
                    <a:pt x="4166" y="17494"/>
                  </a:cubicBezTo>
                  <a:cubicBezTo>
                    <a:pt x="3965" y="17762"/>
                    <a:pt x="3366" y="18564"/>
                    <a:pt x="2627" y="19250"/>
                  </a:cubicBezTo>
                  <a:cubicBezTo>
                    <a:pt x="1927" y="19948"/>
                    <a:pt x="1840" y="20123"/>
                    <a:pt x="2559" y="19686"/>
                  </a:cubicBezTo>
                  <a:cubicBezTo>
                    <a:pt x="3226" y="19232"/>
                    <a:pt x="4408" y="18398"/>
                    <a:pt x="4926" y="17782"/>
                  </a:cubicBezTo>
                  <a:cubicBezTo>
                    <a:pt x="5672" y="17215"/>
                    <a:pt x="6392" y="16247"/>
                    <a:pt x="6950" y="15712"/>
                  </a:cubicBezTo>
                  <a:cubicBezTo>
                    <a:pt x="7474" y="15171"/>
                    <a:pt x="9081" y="13593"/>
                    <a:pt x="10714" y="12235"/>
                  </a:cubicBezTo>
                  <a:cubicBezTo>
                    <a:pt x="12253" y="10860"/>
                    <a:pt x="14829" y="8558"/>
                    <a:pt x="16321" y="7096"/>
                  </a:cubicBezTo>
                  <a:cubicBezTo>
                    <a:pt x="17900" y="5648"/>
                    <a:pt x="19144" y="4235"/>
                    <a:pt x="19292" y="3991"/>
                  </a:cubicBezTo>
                  <a:cubicBezTo>
                    <a:pt x="19386" y="3747"/>
                    <a:pt x="19090" y="3965"/>
                    <a:pt x="18472" y="4453"/>
                  </a:cubicBezTo>
                  <a:cubicBezTo>
                    <a:pt x="17867" y="4939"/>
                    <a:pt x="17651" y="5046"/>
                    <a:pt x="17968" y="4683"/>
                  </a:cubicBezTo>
                  <a:cubicBezTo>
                    <a:pt x="18223" y="4314"/>
                    <a:pt x="19076" y="3526"/>
                    <a:pt x="19689" y="2912"/>
                  </a:cubicBezTo>
                  <a:cubicBezTo>
                    <a:pt x="20381" y="2313"/>
                    <a:pt x="21140" y="1369"/>
                    <a:pt x="21335" y="817"/>
                  </a:cubicBezTo>
                  <a:cubicBezTo>
                    <a:pt x="21470" y="255"/>
                    <a:pt x="21517" y="-114"/>
                    <a:pt x="21410" y="31"/>
                  </a:cubicBezTo>
                  <a:cubicBezTo>
                    <a:pt x="21114" y="116"/>
                    <a:pt x="20468" y="755"/>
                    <a:pt x="19978" y="1404"/>
                  </a:cubicBezTo>
                  <a:cubicBezTo>
                    <a:pt x="19346" y="2026"/>
                    <a:pt x="18768" y="2560"/>
                    <a:pt x="18565" y="2532"/>
                  </a:cubicBezTo>
                  <a:cubicBezTo>
                    <a:pt x="18411" y="2596"/>
                    <a:pt x="17867" y="2933"/>
                    <a:pt x="17201" y="3392"/>
                  </a:cubicBezTo>
                  <a:cubicBezTo>
                    <a:pt x="16723" y="3889"/>
                    <a:pt x="15629" y="4842"/>
                    <a:pt x="15044" y="5546"/>
                  </a:cubicBezTo>
                  <a:cubicBezTo>
                    <a:pt x="14412" y="6247"/>
                    <a:pt x="13854" y="6939"/>
                    <a:pt x="13854" y="7090"/>
                  </a:cubicBezTo>
                  <a:cubicBezTo>
                    <a:pt x="13854" y="7244"/>
                    <a:pt x="12959" y="8020"/>
                    <a:pt x="12166" y="8872"/>
                  </a:cubicBezTo>
                  <a:cubicBezTo>
                    <a:pt x="11185" y="9677"/>
                    <a:pt x="10546" y="10494"/>
                    <a:pt x="10634" y="10646"/>
                  </a:cubicBezTo>
                  <a:cubicBezTo>
                    <a:pt x="10720" y="10799"/>
                    <a:pt x="10298" y="11256"/>
                    <a:pt x="10068" y="11698"/>
                  </a:cubicBezTo>
                  <a:cubicBezTo>
                    <a:pt x="9645" y="12119"/>
                    <a:pt x="8792" y="12837"/>
                    <a:pt x="8368" y="13334"/>
                  </a:cubicBezTo>
                  <a:cubicBezTo>
                    <a:pt x="7716" y="13782"/>
                    <a:pt x="7360" y="14061"/>
                    <a:pt x="7360" y="13901"/>
                  </a:cubicBezTo>
                  <a:cubicBezTo>
                    <a:pt x="7454" y="13744"/>
                    <a:pt x="6801" y="14055"/>
                    <a:pt x="6271" y="14625"/>
                  </a:cubicBezTo>
                  <a:cubicBezTo>
                    <a:pt x="5497" y="15145"/>
                    <a:pt x="4825" y="15904"/>
                    <a:pt x="4676" y="16256"/>
                  </a:cubicBezTo>
                  <a:cubicBezTo>
                    <a:pt x="4348" y="16581"/>
                    <a:pt x="3702" y="17378"/>
                    <a:pt x="3011" y="17980"/>
                  </a:cubicBezTo>
                  <a:cubicBezTo>
                    <a:pt x="2258" y="18570"/>
                    <a:pt x="1390" y="19483"/>
                    <a:pt x="994" y="19986"/>
                  </a:cubicBezTo>
                  <a:cubicBezTo>
                    <a:pt x="409" y="20454"/>
                    <a:pt x="159" y="21064"/>
                    <a:pt x="5" y="21270"/>
                  </a:cubicBezTo>
                  <a:cubicBezTo>
                    <a:pt x="-83" y="21486"/>
                    <a:pt x="1006" y="20637"/>
                    <a:pt x="2137" y="19334"/>
                  </a:cubicBezTo>
                  <a:close/>
                  <a:moveTo>
                    <a:pt x="2137" y="193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4" name="AutoShape 1246"/>
            <p:cNvSpPr>
              <a:spLocks/>
            </p:cNvSpPr>
            <p:nvPr/>
          </p:nvSpPr>
          <p:spPr bwMode="auto">
            <a:xfrm>
              <a:off x="3695700" y="3022600"/>
              <a:ext cx="0" cy="3175"/>
            </a:xfrm>
            <a:custGeom>
              <a:avLst/>
              <a:gdLst/>
              <a:ahLst/>
              <a:cxnLst/>
              <a:rect l="0" t="0" r="r" b="b"/>
              <a:pathLst>
                <a:path w="19708" h="19120">
                  <a:moveTo>
                    <a:pt x="12590" y="4793"/>
                  </a:moveTo>
                  <a:cubicBezTo>
                    <a:pt x="5207" y="12024"/>
                    <a:pt x="0" y="18120"/>
                    <a:pt x="0" y="19093"/>
                  </a:cubicBezTo>
                  <a:cubicBezTo>
                    <a:pt x="2244" y="19569"/>
                    <a:pt x="6368" y="13813"/>
                    <a:pt x="15154" y="6268"/>
                  </a:cubicBezTo>
                  <a:cubicBezTo>
                    <a:pt x="21600" y="-1593"/>
                    <a:pt x="21600" y="-2031"/>
                    <a:pt x="12590" y="4793"/>
                  </a:cubicBezTo>
                  <a:close/>
                  <a:moveTo>
                    <a:pt x="12590" y="479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5" name="AutoShape 1247"/>
            <p:cNvSpPr>
              <a:spLocks/>
            </p:cNvSpPr>
            <p:nvPr/>
          </p:nvSpPr>
          <p:spPr bwMode="auto">
            <a:xfrm>
              <a:off x="3695700" y="3022600"/>
              <a:ext cx="1588" cy="4763"/>
            </a:xfrm>
            <a:custGeom>
              <a:avLst/>
              <a:gdLst/>
              <a:ahLst/>
              <a:cxnLst/>
              <a:rect l="0" t="0" r="r" b="b"/>
              <a:pathLst>
                <a:path w="17958" h="19576">
                  <a:moveTo>
                    <a:pt x="17696" y="0"/>
                  </a:moveTo>
                  <a:cubicBezTo>
                    <a:pt x="16139" y="0"/>
                    <a:pt x="10243" y="6192"/>
                    <a:pt x="3865" y="13754"/>
                  </a:cubicBezTo>
                  <a:cubicBezTo>
                    <a:pt x="-2510" y="21371"/>
                    <a:pt x="-580" y="21600"/>
                    <a:pt x="6598" y="13932"/>
                  </a:cubicBezTo>
                  <a:cubicBezTo>
                    <a:pt x="14856" y="6494"/>
                    <a:pt x="19090" y="333"/>
                    <a:pt x="17696" y="0"/>
                  </a:cubicBezTo>
                  <a:close/>
                  <a:moveTo>
                    <a:pt x="17696"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6" name="AutoShape 1248"/>
            <p:cNvSpPr>
              <a:spLocks/>
            </p:cNvSpPr>
            <p:nvPr/>
          </p:nvSpPr>
          <p:spPr bwMode="auto">
            <a:xfrm>
              <a:off x="3695700" y="2997200"/>
              <a:ext cx="0" cy="1588"/>
            </a:xfrm>
            <a:custGeom>
              <a:avLst/>
              <a:gdLst/>
              <a:ahLst/>
              <a:cxnLst/>
              <a:rect l="0" t="0" r="r" b="b"/>
              <a:pathLst>
                <a:path w="18050" h="18340">
                  <a:moveTo>
                    <a:pt x="17356" y="182"/>
                  </a:moveTo>
                  <a:cubicBezTo>
                    <a:pt x="17356" y="-1137"/>
                    <a:pt x="10432" y="4879"/>
                    <a:pt x="2708" y="12031"/>
                  </a:cubicBezTo>
                  <a:cubicBezTo>
                    <a:pt x="-1929" y="19706"/>
                    <a:pt x="-652" y="20463"/>
                    <a:pt x="6862" y="13836"/>
                  </a:cubicBezTo>
                  <a:cubicBezTo>
                    <a:pt x="16202" y="7577"/>
                    <a:pt x="19671" y="1133"/>
                    <a:pt x="17356" y="182"/>
                  </a:cubicBezTo>
                  <a:close/>
                  <a:moveTo>
                    <a:pt x="17356" y="18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7" name="AutoShape 1249"/>
            <p:cNvSpPr>
              <a:spLocks/>
            </p:cNvSpPr>
            <p:nvPr/>
          </p:nvSpPr>
          <p:spPr bwMode="auto">
            <a:xfrm>
              <a:off x="3708400" y="2921000"/>
              <a:ext cx="23813" cy="57150"/>
            </a:xfrm>
            <a:custGeom>
              <a:avLst/>
              <a:gdLst/>
              <a:ahLst/>
              <a:cxnLst/>
              <a:rect l="0" t="0" r="r" b="b"/>
              <a:pathLst>
                <a:path w="21429" h="21487">
                  <a:moveTo>
                    <a:pt x="1483" y="20261"/>
                  </a:moveTo>
                  <a:cubicBezTo>
                    <a:pt x="1993" y="19833"/>
                    <a:pt x="2800" y="18931"/>
                    <a:pt x="3441" y="18283"/>
                  </a:cubicBezTo>
                  <a:cubicBezTo>
                    <a:pt x="4056" y="17635"/>
                    <a:pt x="5246" y="16511"/>
                    <a:pt x="5943" y="15767"/>
                  </a:cubicBezTo>
                  <a:cubicBezTo>
                    <a:pt x="6761" y="15045"/>
                    <a:pt x="7791" y="14100"/>
                    <a:pt x="8236" y="13672"/>
                  </a:cubicBezTo>
                  <a:cubicBezTo>
                    <a:pt x="8833" y="13278"/>
                    <a:pt x="9958" y="12149"/>
                    <a:pt x="10835" y="11194"/>
                  </a:cubicBezTo>
                  <a:cubicBezTo>
                    <a:pt x="11795" y="10254"/>
                    <a:pt x="12848" y="9228"/>
                    <a:pt x="13221" y="8921"/>
                  </a:cubicBezTo>
                  <a:cubicBezTo>
                    <a:pt x="13556" y="8607"/>
                    <a:pt x="14598" y="7659"/>
                    <a:pt x="15475" y="6798"/>
                  </a:cubicBezTo>
                  <a:cubicBezTo>
                    <a:pt x="16343" y="5940"/>
                    <a:pt x="17571" y="4525"/>
                    <a:pt x="18449" y="3696"/>
                  </a:cubicBezTo>
                  <a:cubicBezTo>
                    <a:pt x="19134" y="2835"/>
                    <a:pt x="20237" y="1665"/>
                    <a:pt x="20747" y="1068"/>
                  </a:cubicBezTo>
                  <a:cubicBezTo>
                    <a:pt x="21130" y="459"/>
                    <a:pt x="21504" y="37"/>
                    <a:pt x="21416" y="1"/>
                  </a:cubicBezTo>
                  <a:cubicBezTo>
                    <a:pt x="21312" y="-20"/>
                    <a:pt x="20856" y="298"/>
                    <a:pt x="20445" y="644"/>
                  </a:cubicBezTo>
                  <a:cubicBezTo>
                    <a:pt x="20061" y="994"/>
                    <a:pt x="19294" y="1567"/>
                    <a:pt x="18755" y="1915"/>
                  </a:cubicBezTo>
                  <a:cubicBezTo>
                    <a:pt x="18245" y="2272"/>
                    <a:pt x="17610" y="2790"/>
                    <a:pt x="17390" y="3071"/>
                  </a:cubicBezTo>
                  <a:cubicBezTo>
                    <a:pt x="17159" y="3357"/>
                    <a:pt x="16776" y="3740"/>
                    <a:pt x="16908" y="3909"/>
                  </a:cubicBezTo>
                  <a:cubicBezTo>
                    <a:pt x="16847" y="4085"/>
                    <a:pt x="16474" y="4582"/>
                    <a:pt x="15931" y="4999"/>
                  </a:cubicBezTo>
                  <a:cubicBezTo>
                    <a:pt x="15431" y="5423"/>
                    <a:pt x="14532" y="6171"/>
                    <a:pt x="14094" y="6691"/>
                  </a:cubicBezTo>
                  <a:cubicBezTo>
                    <a:pt x="13605" y="7202"/>
                    <a:pt x="12859" y="8003"/>
                    <a:pt x="12245" y="8433"/>
                  </a:cubicBezTo>
                  <a:cubicBezTo>
                    <a:pt x="11773" y="8891"/>
                    <a:pt x="11000" y="9443"/>
                    <a:pt x="10594" y="9669"/>
                  </a:cubicBezTo>
                  <a:cubicBezTo>
                    <a:pt x="10287" y="9924"/>
                    <a:pt x="9672" y="10272"/>
                    <a:pt x="9491" y="10501"/>
                  </a:cubicBezTo>
                  <a:cubicBezTo>
                    <a:pt x="9311" y="10727"/>
                    <a:pt x="9327" y="10858"/>
                    <a:pt x="9585" y="10805"/>
                  </a:cubicBezTo>
                  <a:cubicBezTo>
                    <a:pt x="9799" y="10892"/>
                    <a:pt x="9853" y="10927"/>
                    <a:pt x="9530" y="11199"/>
                  </a:cubicBezTo>
                  <a:cubicBezTo>
                    <a:pt x="9135" y="11458"/>
                    <a:pt x="8822" y="11895"/>
                    <a:pt x="8460" y="12081"/>
                  </a:cubicBezTo>
                  <a:cubicBezTo>
                    <a:pt x="8279" y="12307"/>
                    <a:pt x="7714" y="12699"/>
                    <a:pt x="7467" y="13003"/>
                  </a:cubicBezTo>
                  <a:cubicBezTo>
                    <a:pt x="7231" y="13305"/>
                    <a:pt x="7138" y="13473"/>
                    <a:pt x="7320" y="13379"/>
                  </a:cubicBezTo>
                  <a:cubicBezTo>
                    <a:pt x="7511" y="13299"/>
                    <a:pt x="8005" y="13010"/>
                    <a:pt x="8302" y="12731"/>
                  </a:cubicBezTo>
                  <a:cubicBezTo>
                    <a:pt x="8696" y="12470"/>
                    <a:pt x="8763" y="12401"/>
                    <a:pt x="8675" y="12612"/>
                  </a:cubicBezTo>
                  <a:cubicBezTo>
                    <a:pt x="8510" y="12815"/>
                    <a:pt x="8076" y="13232"/>
                    <a:pt x="7676" y="13539"/>
                  </a:cubicBezTo>
                  <a:cubicBezTo>
                    <a:pt x="7231" y="13832"/>
                    <a:pt x="6793" y="14283"/>
                    <a:pt x="6398" y="14448"/>
                  </a:cubicBezTo>
                  <a:cubicBezTo>
                    <a:pt x="6152" y="14659"/>
                    <a:pt x="5383" y="15171"/>
                    <a:pt x="4912" y="15636"/>
                  </a:cubicBezTo>
                  <a:cubicBezTo>
                    <a:pt x="4369" y="16087"/>
                    <a:pt x="3584" y="16964"/>
                    <a:pt x="3108" y="17571"/>
                  </a:cubicBezTo>
                  <a:cubicBezTo>
                    <a:pt x="2619" y="18178"/>
                    <a:pt x="2241" y="18741"/>
                    <a:pt x="2241" y="18826"/>
                  </a:cubicBezTo>
                  <a:cubicBezTo>
                    <a:pt x="2174" y="18903"/>
                    <a:pt x="1939" y="19325"/>
                    <a:pt x="1500" y="19755"/>
                  </a:cubicBezTo>
                  <a:cubicBezTo>
                    <a:pt x="1078" y="20186"/>
                    <a:pt x="518" y="20811"/>
                    <a:pt x="228" y="21136"/>
                  </a:cubicBezTo>
                  <a:cubicBezTo>
                    <a:pt x="-41" y="21472"/>
                    <a:pt x="-96" y="21580"/>
                    <a:pt x="195" y="21401"/>
                  </a:cubicBezTo>
                  <a:cubicBezTo>
                    <a:pt x="463" y="21214"/>
                    <a:pt x="1045" y="20701"/>
                    <a:pt x="1483" y="20261"/>
                  </a:cubicBezTo>
                  <a:close/>
                  <a:moveTo>
                    <a:pt x="1483" y="202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8" name="AutoShape 1250"/>
            <p:cNvSpPr>
              <a:spLocks/>
            </p:cNvSpPr>
            <p:nvPr/>
          </p:nvSpPr>
          <p:spPr bwMode="auto">
            <a:xfrm>
              <a:off x="3721100" y="2959100"/>
              <a:ext cx="4763" cy="9525"/>
            </a:xfrm>
            <a:custGeom>
              <a:avLst/>
              <a:gdLst/>
              <a:ahLst/>
              <a:cxnLst/>
              <a:rect l="0" t="0" r="r" b="b"/>
              <a:pathLst>
                <a:path w="20799" h="20882">
                  <a:moveTo>
                    <a:pt x="9515" y="13292"/>
                  </a:moveTo>
                  <a:cubicBezTo>
                    <a:pt x="13265" y="8912"/>
                    <a:pt x="19140" y="3982"/>
                    <a:pt x="20079" y="1914"/>
                  </a:cubicBezTo>
                  <a:cubicBezTo>
                    <a:pt x="21389" y="-90"/>
                    <a:pt x="20989" y="-539"/>
                    <a:pt x="18230" y="657"/>
                  </a:cubicBezTo>
                  <a:cubicBezTo>
                    <a:pt x="15885" y="2051"/>
                    <a:pt x="10945" y="5588"/>
                    <a:pt x="7639" y="8736"/>
                  </a:cubicBezTo>
                  <a:cubicBezTo>
                    <a:pt x="4010" y="11786"/>
                    <a:pt x="775" y="15844"/>
                    <a:pt x="457" y="17563"/>
                  </a:cubicBezTo>
                  <a:cubicBezTo>
                    <a:pt x="-109" y="19243"/>
                    <a:pt x="-211" y="20689"/>
                    <a:pt x="508" y="20875"/>
                  </a:cubicBezTo>
                  <a:cubicBezTo>
                    <a:pt x="1245" y="21061"/>
                    <a:pt x="5268" y="17576"/>
                    <a:pt x="9515" y="13292"/>
                  </a:cubicBezTo>
                  <a:close/>
                  <a:moveTo>
                    <a:pt x="9515" y="132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49" name="AutoShape 1251"/>
            <p:cNvSpPr>
              <a:spLocks/>
            </p:cNvSpPr>
            <p:nvPr/>
          </p:nvSpPr>
          <p:spPr bwMode="auto">
            <a:xfrm>
              <a:off x="3708400" y="3009900"/>
              <a:ext cx="1588" cy="6350"/>
            </a:xfrm>
            <a:custGeom>
              <a:avLst/>
              <a:gdLst/>
              <a:ahLst/>
              <a:cxnLst/>
              <a:rect l="0" t="0" r="r" b="b"/>
              <a:pathLst>
                <a:path w="18404" h="19459">
                  <a:moveTo>
                    <a:pt x="14468" y="1590"/>
                  </a:moveTo>
                  <a:cubicBezTo>
                    <a:pt x="11703" y="4133"/>
                    <a:pt x="8853" y="7264"/>
                    <a:pt x="8329" y="8567"/>
                  </a:cubicBezTo>
                  <a:cubicBezTo>
                    <a:pt x="7795" y="9906"/>
                    <a:pt x="5114" y="13836"/>
                    <a:pt x="1783" y="17266"/>
                  </a:cubicBezTo>
                  <a:cubicBezTo>
                    <a:pt x="-1717" y="20665"/>
                    <a:pt x="149" y="20045"/>
                    <a:pt x="5523" y="15879"/>
                  </a:cubicBezTo>
                  <a:cubicBezTo>
                    <a:pt x="10645" y="11647"/>
                    <a:pt x="16217" y="5723"/>
                    <a:pt x="17443" y="2611"/>
                  </a:cubicBezTo>
                  <a:cubicBezTo>
                    <a:pt x="19883" y="-349"/>
                    <a:pt x="17234" y="-935"/>
                    <a:pt x="14468" y="1590"/>
                  </a:cubicBezTo>
                  <a:close/>
                  <a:moveTo>
                    <a:pt x="14468" y="159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0" name="AutoShape 1252"/>
            <p:cNvSpPr>
              <a:spLocks/>
            </p:cNvSpPr>
            <p:nvPr/>
          </p:nvSpPr>
          <p:spPr bwMode="auto">
            <a:xfrm>
              <a:off x="3708400" y="2984500"/>
              <a:ext cx="14288" cy="33338"/>
            </a:xfrm>
            <a:custGeom>
              <a:avLst/>
              <a:gdLst/>
              <a:ahLst/>
              <a:cxnLst/>
              <a:rect l="0" t="0" r="r" b="b"/>
              <a:pathLst>
                <a:path w="21372" h="21133">
                  <a:moveTo>
                    <a:pt x="6684" y="13922"/>
                  </a:moveTo>
                  <a:cubicBezTo>
                    <a:pt x="8522" y="12551"/>
                    <a:pt x="10001" y="11786"/>
                    <a:pt x="9532" y="12126"/>
                  </a:cubicBezTo>
                  <a:cubicBezTo>
                    <a:pt x="9108" y="12486"/>
                    <a:pt x="8099" y="13627"/>
                    <a:pt x="6764" y="14542"/>
                  </a:cubicBezTo>
                  <a:cubicBezTo>
                    <a:pt x="5604" y="15498"/>
                    <a:pt x="3693" y="17243"/>
                    <a:pt x="2349" y="18406"/>
                  </a:cubicBezTo>
                  <a:cubicBezTo>
                    <a:pt x="1103" y="19581"/>
                    <a:pt x="121" y="20786"/>
                    <a:pt x="5" y="21080"/>
                  </a:cubicBezTo>
                  <a:cubicBezTo>
                    <a:pt x="-100" y="21379"/>
                    <a:pt x="1526" y="20373"/>
                    <a:pt x="3322" y="18816"/>
                  </a:cubicBezTo>
                  <a:cubicBezTo>
                    <a:pt x="5135" y="17247"/>
                    <a:pt x="8718" y="14346"/>
                    <a:pt x="10850" y="12272"/>
                  </a:cubicBezTo>
                  <a:cubicBezTo>
                    <a:pt x="13079" y="10221"/>
                    <a:pt x="15466" y="8055"/>
                    <a:pt x="15626" y="7421"/>
                  </a:cubicBezTo>
                  <a:cubicBezTo>
                    <a:pt x="16094" y="6812"/>
                    <a:pt x="17024" y="5350"/>
                    <a:pt x="18306" y="4294"/>
                  </a:cubicBezTo>
                  <a:cubicBezTo>
                    <a:pt x="19332" y="3184"/>
                    <a:pt x="20712" y="1657"/>
                    <a:pt x="21199" y="873"/>
                  </a:cubicBezTo>
                  <a:cubicBezTo>
                    <a:pt x="21500" y="70"/>
                    <a:pt x="21464" y="-221"/>
                    <a:pt x="20651" y="176"/>
                  </a:cubicBezTo>
                  <a:cubicBezTo>
                    <a:pt x="19837" y="582"/>
                    <a:pt x="18828" y="1267"/>
                    <a:pt x="18466" y="1719"/>
                  </a:cubicBezTo>
                  <a:cubicBezTo>
                    <a:pt x="18111" y="2174"/>
                    <a:pt x="16794" y="3074"/>
                    <a:pt x="15944" y="3800"/>
                  </a:cubicBezTo>
                  <a:cubicBezTo>
                    <a:pt x="14864" y="4478"/>
                    <a:pt x="12928" y="6153"/>
                    <a:pt x="11707" y="7520"/>
                  </a:cubicBezTo>
                  <a:cubicBezTo>
                    <a:pt x="10301" y="8859"/>
                    <a:pt x="8878" y="10275"/>
                    <a:pt x="8753" y="10673"/>
                  </a:cubicBezTo>
                  <a:cubicBezTo>
                    <a:pt x="8400" y="11048"/>
                    <a:pt x="7206" y="12165"/>
                    <a:pt x="6117" y="13164"/>
                  </a:cubicBezTo>
                  <a:cubicBezTo>
                    <a:pt x="4976" y="14147"/>
                    <a:pt x="3959" y="15288"/>
                    <a:pt x="3659" y="15674"/>
                  </a:cubicBezTo>
                  <a:cubicBezTo>
                    <a:pt x="3491" y="16079"/>
                    <a:pt x="4650" y="15245"/>
                    <a:pt x="6684" y="13922"/>
                  </a:cubicBezTo>
                  <a:close/>
                  <a:moveTo>
                    <a:pt x="6684" y="139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1" name="AutoShape 1253"/>
            <p:cNvSpPr>
              <a:spLocks/>
            </p:cNvSpPr>
            <p:nvPr/>
          </p:nvSpPr>
          <p:spPr bwMode="auto">
            <a:xfrm>
              <a:off x="3721100" y="2971800"/>
              <a:ext cx="3175" cy="7938"/>
            </a:xfrm>
            <a:custGeom>
              <a:avLst/>
              <a:gdLst/>
              <a:ahLst/>
              <a:cxnLst/>
              <a:rect l="0" t="0" r="r" b="b"/>
              <a:pathLst>
                <a:path w="20366" h="21292">
                  <a:moveTo>
                    <a:pt x="133" y="21292"/>
                  </a:moveTo>
                  <a:cubicBezTo>
                    <a:pt x="929" y="21044"/>
                    <a:pt x="4071" y="19002"/>
                    <a:pt x="6876" y="16548"/>
                  </a:cubicBezTo>
                  <a:cubicBezTo>
                    <a:pt x="10144" y="14303"/>
                    <a:pt x="14749" y="9455"/>
                    <a:pt x="16854" y="5910"/>
                  </a:cubicBezTo>
                  <a:cubicBezTo>
                    <a:pt x="20116" y="2597"/>
                    <a:pt x="20822" y="-308"/>
                    <a:pt x="20116" y="27"/>
                  </a:cubicBezTo>
                  <a:cubicBezTo>
                    <a:pt x="19417" y="-308"/>
                    <a:pt x="13956" y="5120"/>
                    <a:pt x="8588" y="10988"/>
                  </a:cubicBezTo>
                  <a:cubicBezTo>
                    <a:pt x="3064" y="16826"/>
                    <a:pt x="-778" y="21292"/>
                    <a:pt x="133" y="21292"/>
                  </a:cubicBezTo>
                  <a:close/>
                  <a:moveTo>
                    <a:pt x="133" y="212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2" name="AutoShape 1254"/>
            <p:cNvSpPr>
              <a:spLocks/>
            </p:cNvSpPr>
            <p:nvPr/>
          </p:nvSpPr>
          <p:spPr bwMode="auto">
            <a:xfrm>
              <a:off x="3695700" y="3009900"/>
              <a:ext cx="3175" cy="9525"/>
            </a:xfrm>
            <a:custGeom>
              <a:avLst/>
              <a:gdLst/>
              <a:ahLst/>
              <a:cxnLst/>
              <a:rect l="0" t="0" r="r" b="b"/>
              <a:pathLst>
                <a:path w="20665" h="20083">
                  <a:moveTo>
                    <a:pt x="10568" y="7860"/>
                  </a:moveTo>
                  <a:cubicBezTo>
                    <a:pt x="9648" y="9682"/>
                    <a:pt x="5960" y="12728"/>
                    <a:pt x="3839" y="14860"/>
                  </a:cubicBezTo>
                  <a:cubicBezTo>
                    <a:pt x="1014" y="16848"/>
                    <a:pt x="0" y="19196"/>
                    <a:pt x="0" y="19947"/>
                  </a:cubicBezTo>
                  <a:cubicBezTo>
                    <a:pt x="0" y="20695"/>
                    <a:pt x="4085" y="18281"/>
                    <a:pt x="8635" y="14653"/>
                  </a:cubicBezTo>
                  <a:cubicBezTo>
                    <a:pt x="12782" y="10933"/>
                    <a:pt x="17974" y="5653"/>
                    <a:pt x="19787" y="2800"/>
                  </a:cubicBezTo>
                  <a:cubicBezTo>
                    <a:pt x="21600" y="-67"/>
                    <a:pt x="20436" y="-905"/>
                    <a:pt x="17855" y="1097"/>
                  </a:cubicBezTo>
                  <a:cubicBezTo>
                    <a:pt x="15300" y="3085"/>
                    <a:pt x="11983" y="6105"/>
                    <a:pt x="10568" y="7860"/>
                  </a:cubicBezTo>
                  <a:close/>
                  <a:moveTo>
                    <a:pt x="10568" y="78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3" name="AutoShape 1255"/>
            <p:cNvSpPr>
              <a:spLocks/>
            </p:cNvSpPr>
            <p:nvPr/>
          </p:nvSpPr>
          <p:spPr bwMode="auto">
            <a:xfrm>
              <a:off x="3721100" y="2946400"/>
              <a:ext cx="6350" cy="14288"/>
            </a:xfrm>
            <a:custGeom>
              <a:avLst/>
              <a:gdLst/>
              <a:ahLst/>
              <a:cxnLst/>
              <a:rect l="0" t="0" r="r" b="b"/>
              <a:pathLst>
                <a:path w="20456" h="20497">
                  <a:moveTo>
                    <a:pt x="19321" y="483"/>
                  </a:moveTo>
                  <a:cubicBezTo>
                    <a:pt x="17720" y="1681"/>
                    <a:pt x="13356" y="5354"/>
                    <a:pt x="10265" y="8796"/>
                  </a:cubicBezTo>
                  <a:cubicBezTo>
                    <a:pt x="6631" y="12101"/>
                    <a:pt x="3157" y="15832"/>
                    <a:pt x="2319" y="17032"/>
                  </a:cubicBezTo>
                  <a:cubicBezTo>
                    <a:pt x="1466" y="18214"/>
                    <a:pt x="394" y="19678"/>
                    <a:pt x="156" y="20311"/>
                  </a:cubicBezTo>
                  <a:cubicBezTo>
                    <a:pt x="-570" y="20842"/>
                    <a:pt x="1358" y="20209"/>
                    <a:pt x="3574" y="18770"/>
                  </a:cubicBezTo>
                  <a:cubicBezTo>
                    <a:pt x="5868" y="17332"/>
                    <a:pt x="9610" y="14309"/>
                    <a:pt x="11577" y="11998"/>
                  </a:cubicBezTo>
                  <a:cubicBezTo>
                    <a:pt x="14156" y="9833"/>
                    <a:pt x="17285" y="5791"/>
                    <a:pt x="18919" y="3103"/>
                  </a:cubicBezTo>
                  <a:cubicBezTo>
                    <a:pt x="21030" y="490"/>
                    <a:pt x="20773" y="-758"/>
                    <a:pt x="19321" y="483"/>
                  </a:cubicBezTo>
                  <a:close/>
                  <a:moveTo>
                    <a:pt x="19321" y="4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4" name="AutoShape 1256"/>
            <p:cNvSpPr>
              <a:spLocks/>
            </p:cNvSpPr>
            <p:nvPr/>
          </p:nvSpPr>
          <p:spPr bwMode="auto">
            <a:xfrm>
              <a:off x="3721100" y="2959100"/>
              <a:ext cx="3175" cy="9525"/>
            </a:xfrm>
            <a:custGeom>
              <a:avLst/>
              <a:gdLst/>
              <a:ahLst/>
              <a:cxnLst/>
              <a:rect l="0" t="0" r="r" b="b"/>
              <a:pathLst>
                <a:path w="20647" h="20500">
                  <a:moveTo>
                    <a:pt x="5399" y="13325"/>
                  </a:moveTo>
                  <a:cubicBezTo>
                    <a:pt x="3779" y="15305"/>
                    <a:pt x="1116" y="18098"/>
                    <a:pt x="397" y="19739"/>
                  </a:cubicBezTo>
                  <a:cubicBezTo>
                    <a:pt x="-953" y="21300"/>
                    <a:pt x="1294" y="20381"/>
                    <a:pt x="4798" y="17706"/>
                  </a:cubicBezTo>
                  <a:cubicBezTo>
                    <a:pt x="7945" y="14937"/>
                    <a:pt x="13069" y="10086"/>
                    <a:pt x="15554" y="6793"/>
                  </a:cubicBezTo>
                  <a:cubicBezTo>
                    <a:pt x="18640" y="3621"/>
                    <a:pt x="20259" y="498"/>
                    <a:pt x="20647" y="41"/>
                  </a:cubicBezTo>
                  <a:cubicBezTo>
                    <a:pt x="19898" y="-300"/>
                    <a:pt x="17831" y="1534"/>
                    <a:pt x="14896" y="4513"/>
                  </a:cubicBezTo>
                  <a:cubicBezTo>
                    <a:pt x="11780" y="7462"/>
                    <a:pt x="7344" y="11410"/>
                    <a:pt x="5399" y="13325"/>
                  </a:cubicBezTo>
                  <a:close/>
                  <a:moveTo>
                    <a:pt x="5399" y="133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5" name="AutoShape 1257"/>
            <p:cNvSpPr>
              <a:spLocks/>
            </p:cNvSpPr>
            <p:nvPr/>
          </p:nvSpPr>
          <p:spPr bwMode="auto">
            <a:xfrm>
              <a:off x="3695700" y="3022600"/>
              <a:ext cx="1588" cy="4763"/>
            </a:xfrm>
            <a:custGeom>
              <a:avLst/>
              <a:gdLst/>
              <a:ahLst/>
              <a:cxnLst/>
              <a:rect l="0" t="0" r="r" b="b"/>
              <a:pathLst>
                <a:path w="20202" h="19428">
                  <a:moveTo>
                    <a:pt x="8869" y="6909"/>
                  </a:moveTo>
                  <a:cubicBezTo>
                    <a:pt x="3408" y="11659"/>
                    <a:pt x="-438" y="17097"/>
                    <a:pt x="40" y="18896"/>
                  </a:cubicBezTo>
                  <a:cubicBezTo>
                    <a:pt x="1019" y="20695"/>
                    <a:pt x="5803" y="17792"/>
                    <a:pt x="11255" y="12282"/>
                  </a:cubicBezTo>
                  <a:cubicBezTo>
                    <a:pt x="16429" y="6701"/>
                    <a:pt x="21162" y="1305"/>
                    <a:pt x="20034" y="248"/>
                  </a:cubicBezTo>
                  <a:cubicBezTo>
                    <a:pt x="20034" y="-905"/>
                    <a:pt x="14040" y="2070"/>
                    <a:pt x="8869" y="6909"/>
                  </a:cubicBezTo>
                  <a:close/>
                  <a:moveTo>
                    <a:pt x="8869" y="69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6" name="AutoShape 1258"/>
            <p:cNvSpPr>
              <a:spLocks/>
            </p:cNvSpPr>
            <p:nvPr/>
          </p:nvSpPr>
          <p:spPr bwMode="auto">
            <a:xfrm>
              <a:off x="3721100" y="2971800"/>
              <a:ext cx="4763" cy="11113"/>
            </a:xfrm>
            <a:custGeom>
              <a:avLst/>
              <a:gdLst/>
              <a:ahLst/>
              <a:cxnLst/>
              <a:rect l="0" t="0" r="r" b="b"/>
              <a:pathLst>
                <a:path w="20078" h="20216">
                  <a:moveTo>
                    <a:pt x="13584" y="5045"/>
                  </a:moveTo>
                  <a:cubicBezTo>
                    <a:pt x="9119" y="9261"/>
                    <a:pt x="3157" y="14369"/>
                    <a:pt x="2031" y="16703"/>
                  </a:cubicBezTo>
                  <a:cubicBezTo>
                    <a:pt x="-68" y="18843"/>
                    <a:pt x="-443" y="20501"/>
                    <a:pt x="461" y="20175"/>
                  </a:cubicBezTo>
                  <a:cubicBezTo>
                    <a:pt x="1104" y="19711"/>
                    <a:pt x="4369" y="17548"/>
                    <a:pt x="6559" y="14865"/>
                  </a:cubicBezTo>
                  <a:cubicBezTo>
                    <a:pt x="9342" y="12351"/>
                    <a:pt x="12544" y="8721"/>
                    <a:pt x="14158" y="6927"/>
                  </a:cubicBezTo>
                  <a:cubicBezTo>
                    <a:pt x="15991" y="5214"/>
                    <a:pt x="18487" y="2351"/>
                    <a:pt x="19655" y="591"/>
                  </a:cubicBezTo>
                  <a:cubicBezTo>
                    <a:pt x="21157" y="-1099"/>
                    <a:pt x="18551" y="974"/>
                    <a:pt x="13584" y="5045"/>
                  </a:cubicBezTo>
                  <a:close/>
                  <a:moveTo>
                    <a:pt x="13584" y="504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7" name="AutoShape 1259"/>
            <p:cNvSpPr>
              <a:spLocks/>
            </p:cNvSpPr>
            <p:nvPr/>
          </p:nvSpPr>
          <p:spPr bwMode="auto">
            <a:xfrm>
              <a:off x="4025900" y="4572000"/>
              <a:ext cx="4763" cy="4763"/>
            </a:xfrm>
            <a:custGeom>
              <a:avLst/>
              <a:gdLst/>
              <a:ahLst/>
              <a:cxnLst/>
              <a:rect l="0" t="0" r="r" b="b"/>
              <a:pathLst>
                <a:path w="19322" h="21011">
                  <a:moveTo>
                    <a:pt x="12523" y="16"/>
                  </a:moveTo>
                  <a:cubicBezTo>
                    <a:pt x="7440" y="16"/>
                    <a:pt x="1626" y="5268"/>
                    <a:pt x="575" y="11461"/>
                  </a:cubicBezTo>
                  <a:cubicBezTo>
                    <a:pt x="-1381" y="17484"/>
                    <a:pt x="1871" y="21304"/>
                    <a:pt x="7049" y="20994"/>
                  </a:cubicBezTo>
                  <a:cubicBezTo>
                    <a:pt x="12108" y="20015"/>
                    <a:pt x="17287" y="14907"/>
                    <a:pt x="19043" y="9547"/>
                  </a:cubicBezTo>
                  <a:cubicBezTo>
                    <a:pt x="20219" y="4128"/>
                    <a:pt x="17602" y="-296"/>
                    <a:pt x="12523" y="16"/>
                  </a:cubicBezTo>
                  <a:close/>
                  <a:moveTo>
                    <a:pt x="12523" y="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8" name="AutoShape 1260"/>
            <p:cNvSpPr>
              <a:spLocks/>
            </p:cNvSpPr>
            <p:nvPr/>
          </p:nvSpPr>
          <p:spPr bwMode="auto">
            <a:xfrm>
              <a:off x="4102100" y="4610100"/>
              <a:ext cx="55563" cy="36513"/>
            </a:xfrm>
            <a:custGeom>
              <a:avLst/>
              <a:gdLst/>
              <a:ahLst/>
              <a:cxnLst/>
              <a:rect l="0" t="0" r="r" b="b"/>
              <a:pathLst>
                <a:path w="21430" h="21434">
                  <a:moveTo>
                    <a:pt x="18551" y="9277"/>
                  </a:moveTo>
                  <a:cubicBezTo>
                    <a:pt x="17879" y="8818"/>
                    <a:pt x="16861" y="6879"/>
                    <a:pt x="16318" y="4790"/>
                  </a:cubicBezTo>
                  <a:cubicBezTo>
                    <a:pt x="15809" y="2687"/>
                    <a:pt x="13666" y="584"/>
                    <a:pt x="11609" y="258"/>
                  </a:cubicBezTo>
                  <a:cubicBezTo>
                    <a:pt x="9565" y="-115"/>
                    <a:pt x="7103" y="-90"/>
                    <a:pt x="6118" y="376"/>
                  </a:cubicBezTo>
                  <a:cubicBezTo>
                    <a:pt x="5144" y="863"/>
                    <a:pt x="3847" y="1121"/>
                    <a:pt x="3267" y="902"/>
                  </a:cubicBezTo>
                  <a:cubicBezTo>
                    <a:pt x="2687" y="684"/>
                    <a:pt x="1813" y="630"/>
                    <a:pt x="1419" y="956"/>
                  </a:cubicBezTo>
                  <a:cubicBezTo>
                    <a:pt x="977" y="1111"/>
                    <a:pt x="406" y="2214"/>
                    <a:pt x="122" y="3286"/>
                  </a:cubicBezTo>
                  <a:cubicBezTo>
                    <a:pt x="-115" y="4371"/>
                    <a:pt x="-18" y="6069"/>
                    <a:pt x="527" y="7005"/>
                  </a:cubicBezTo>
                  <a:cubicBezTo>
                    <a:pt x="1014" y="8008"/>
                    <a:pt x="1694" y="8470"/>
                    <a:pt x="2054" y="8305"/>
                  </a:cubicBezTo>
                  <a:cubicBezTo>
                    <a:pt x="2362" y="7991"/>
                    <a:pt x="2916" y="8187"/>
                    <a:pt x="3257" y="8549"/>
                  </a:cubicBezTo>
                  <a:cubicBezTo>
                    <a:pt x="3603" y="8915"/>
                    <a:pt x="4091" y="10721"/>
                    <a:pt x="4458" y="12433"/>
                  </a:cubicBezTo>
                  <a:cubicBezTo>
                    <a:pt x="4777" y="14161"/>
                    <a:pt x="5362" y="16178"/>
                    <a:pt x="5741" y="16909"/>
                  </a:cubicBezTo>
                  <a:cubicBezTo>
                    <a:pt x="6099" y="17669"/>
                    <a:pt x="6920" y="18192"/>
                    <a:pt x="7531" y="18242"/>
                  </a:cubicBezTo>
                  <a:cubicBezTo>
                    <a:pt x="8137" y="18192"/>
                    <a:pt x="9028" y="18877"/>
                    <a:pt x="9428" y="19740"/>
                  </a:cubicBezTo>
                  <a:cubicBezTo>
                    <a:pt x="9857" y="20604"/>
                    <a:pt x="10742" y="21378"/>
                    <a:pt x="11376" y="21431"/>
                  </a:cubicBezTo>
                  <a:cubicBezTo>
                    <a:pt x="12014" y="21485"/>
                    <a:pt x="12523" y="20482"/>
                    <a:pt x="12523" y="19088"/>
                  </a:cubicBezTo>
                  <a:cubicBezTo>
                    <a:pt x="12523" y="17719"/>
                    <a:pt x="12894" y="16548"/>
                    <a:pt x="13354" y="16658"/>
                  </a:cubicBezTo>
                  <a:cubicBezTo>
                    <a:pt x="13818" y="16705"/>
                    <a:pt x="14393" y="17221"/>
                    <a:pt x="14604" y="17863"/>
                  </a:cubicBezTo>
                  <a:cubicBezTo>
                    <a:pt x="14812" y="18500"/>
                    <a:pt x="15234" y="18873"/>
                    <a:pt x="15499" y="18701"/>
                  </a:cubicBezTo>
                  <a:cubicBezTo>
                    <a:pt x="15793" y="18643"/>
                    <a:pt x="16195" y="17511"/>
                    <a:pt x="16337" y="16418"/>
                  </a:cubicBezTo>
                  <a:cubicBezTo>
                    <a:pt x="16572" y="15358"/>
                    <a:pt x="17026" y="14816"/>
                    <a:pt x="17377" y="15347"/>
                  </a:cubicBezTo>
                  <a:cubicBezTo>
                    <a:pt x="17720" y="15914"/>
                    <a:pt x="18802" y="16368"/>
                    <a:pt x="19702" y="16368"/>
                  </a:cubicBezTo>
                  <a:cubicBezTo>
                    <a:pt x="20600" y="16422"/>
                    <a:pt x="21383" y="15974"/>
                    <a:pt x="21423" y="15354"/>
                  </a:cubicBezTo>
                  <a:cubicBezTo>
                    <a:pt x="21485" y="14749"/>
                    <a:pt x="21158" y="13233"/>
                    <a:pt x="20656" y="12093"/>
                  </a:cubicBezTo>
                  <a:cubicBezTo>
                    <a:pt x="20183" y="10932"/>
                    <a:pt x="19245" y="9628"/>
                    <a:pt x="18551" y="9277"/>
                  </a:cubicBezTo>
                  <a:close/>
                  <a:moveTo>
                    <a:pt x="18551" y="927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59" name="AutoShape 1261"/>
            <p:cNvSpPr>
              <a:spLocks/>
            </p:cNvSpPr>
            <p:nvPr/>
          </p:nvSpPr>
          <p:spPr bwMode="auto">
            <a:xfrm>
              <a:off x="4241800" y="4546600"/>
              <a:ext cx="9525" cy="6350"/>
            </a:xfrm>
            <a:custGeom>
              <a:avLst/>
              <a:gdLst/>
              <a:ahLst/>
              <a:cxnLst/>
              <a:rect l="0" t="0" r="r" b="b"/>
              <a:pathLst>
                <a:path w="19404" h="19453">
                  <a:moveTo>
                    <a:pt x="2138" y="1372"/>
                  </a:moveTo>
                  <a:cubicBezTo>
                    <a:pt x="-458" y="4358"/>
                    <a:pt x="-711" y="9850"/>
                    <a:pt x="1493" y="13267"/>
                  </a:cubicBezTo>
                  <a:cubicBezTo>
                    <a:pt x="3706" y="16700"/>
                    <a:pt x="9842" y="19686"/>
                    <a:pt x="15171" y="19438"/>
                  </a:cubicBezTo>
                  <a:cubicBezTo>
                    <a:pt x="20509" y="19686"/>
                    <a:pt x="20889" y="13848"/>
                    <a:pt x="15792" y="7525"/>
                  </a:cubicBezTo>
                  <a:cubicBezTo>
                    <a:pt x="10867" y="923"/>
                    <a:pt x="4582" y="-1914"/>
                    <a:pt x="2138" y="1372"/>
                  </a:cubicBezTo>
                  <a:close/>
                  <a:moveTo>
                    <a:pt x="2138" y="13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0" name="AutoShape 1262"/>
            <p:cNvSpPr>
              <a:spLocks/>
            </p:cNvSpPr>
            <p:nvPr/>
          </p:nvSpPr>
          <p:spPr bwMode="auto">
            <a:xfrm>
              <a:off x="4229100" y="4597400"/>
              <a:ext cx="9525" cy="9525"/>
            </a:xfrm>
            <a:custGeom>
              <a:avLst/>
              <a:gdLst/>
              <a:ahLst/>
              <a:cxnLst/>
              <a:rect l="0" t="0" r="r" b="b"/>
              <a:pathLst>
                <a:path w="20093" h="19522">
                  <a:moveTo>
                    <a:pt x="13199" y="18132"/>
                  </a:moveTo>
                  <a:cubicBezTo>
                    <a:pt x="17696" y="20560"/>
                    <a:pt x="20793" y="19731"/>
                    <a:pt x="19956" y="16241"/>
                  </a:cubicBezTo>
                  <a:cubicBezTo>
                    <a:pt x="19367" y="12704"/>
                    <a:pt x="16141" y="6937"/>
                    <a:pt x="12864" y="3631"/>
                  </a:cubicBezTo>
                  <a:cubicBezTo>
                    <a:pt x="9718" y="266"/>
                    <a:pt x="4925" y="-1040"/>
                    <a:pt x="2315" y="913"/>
                  </a:cubicBezTo>
                  <a:cubicBezTo>
                    <a:pt x="-254" y="2998"/>
                    <a:pt x="-807" y="6498"/>
                    <a:pt x="1275" y="9011"/>
                  </a:cubicBezTo>
                  <a:cubicBezTo>
                    <a:pt x="3473" y="11473"/>
                    <a:pt x="8754" y="15607"/>
                    <a:pt x="13199" y="18132"/>
                  </a:cubicBezTo>
                  <a:close/>
                  <a:moveTo>
                    <a:pt x="13199" y="181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1" name="AutoShape 1263"/>
            <p:cNvSpPr>
              <a:spLocks/>
            </p:cNvSpPr>
            <p:nvPr/>
          </p:nvSpPr>
          <p:spPr bwMode="auto">
            <a:xfrm>
              <a:off x="4203700" y="4559300"/>
              <a:ext cx="74613" cy="84138"/>
            </a:xfrm>
            <a:custGeom>
              <a:avLst/>
              <a:gdLst/>
              <a:ahLst/>
              <a:cxnLst/>
              <a:rect l="0" t="0" r="r" b="b"/>
              <a:pathLst>
                <a:path w="21509" h="21473">
                  <a:moveTo>
                    <a:pt x="20315" y="16289"/>
                  </a:moveTo>
                  <a:cubicBezTo>
                    <a:pt x="20340" y="15915"/>
                    <a:pt x="20337" y="15206"/>
                    <a:pt x="20363" y="14711"/>
                  </a:cubicBezTo>
                  <a:cubicBezTo>
                    <a:pt x="20388" y="14217"/>
                    <a:pt x="20190" y="13284"/>
                    <a:pt x="19965" y="12649"/>
                  </a:cubicBezTo>
                  <a:cubicBezTo>
                    <a:pt x="19762" y="12011"/>
                    <a:pt x="19617" y="11298"/>
                    <a:pt x="19668" y="11062"/>
                  </a:cubicBezTo>
                  <a:cubicBezTo>
                    <a:pt x="19727" y="10829"/>
                    <a:pt x="20071" y="10461"/>
                    <a:pt x="20405" y="10225"/>
                  </a:cubicBezTo>
                  <a:cubicBezTo>
                    <a:pt x="20778" y="10030"/>
                    <a:pt x="21169" y="9279"/>
                    <a:pt x="21274" y="8625"/>
                  </a:cubicBezTo>
                  <a:cubicBezTo>
                    <a:pt x="21422" y="7978"/>
                    <a:pt x="21355" y="7054"/>
                    <a:pt x="21174" y="6571"/>
                  </a:cubicBezTo>
                  <a:cubicBezTo>
                    <a:pt x="21019" y="6081"/>
                    <a:pt x="20990" y="5234"/>
                    <a:pt x="21222" y="4679"/>
                  </a:cubicBezTo>
                  <a:cubicBezTo>
                    <a:pt x="21449" y="4124"/>
                    <a:pt x="21560" y="3404"/>
                    <a:pt x="21486" y="3098"/>
                  </a:cubicBezTo>
                  <a:cubicBezTo>
                    <a:pt x="21438" y="2793"/>
                    <a:pt x="21369" y="2578"/>
                    <a:pt x="21346" y="2578"/>
                  </a:cubicBezTo>
                  <a:cubicBezTo>
                    <a:pt x="21364" y="2578"/>
                    <a:pt x="21017" y="2457"/>
                    <a:pt x="20605" y="2351"/>
                  </a:cubicBezTo>
                  <a:cubicBezTo>
                    <a:pt x="20206" y="2208"/>
                    <a:pt x="19554" y="2147"/>
                    <a:pt x="19182" y="2280"/>
                  </a:cubicBezTo>
                  <a:cubicBezTo>
                    <a:pt x="18793" y="2355"/>
                    <a:pt x="18173" y="2029"/>
                    <a:pt x="17782" y="1505"/>
                  </a:cubicBezTo>
                  <a:cubicBezTo>
                    <a:pt x="17418" y="967"/>
                    <a:pt x="16320" y="359"/>
                    <a:pt x="15376" y="239"/>
                  </a:cubicBezTo>
                  <a:cubicBezTo>
                    <a:pt x="14446" y="52"/>
                    <a:pt x="13465" y="98"/>
                    <a:pt x="13206" y="312"/>
                  </a:cubicBezTo>
                  <a:cubicBezTo>
                    <a:pt x="12984" y="559"/>
                    <a:pt x="12391" y="584"/>
                    <a:pt x="12035" y="362"/>
                  </a:cubicBezTo>
                  <a:cubicBezTo>
                    <a:pt x="11637" y="220"/>
                    <a:pt x="10683" y="29"/>
                    <a:pt x="9873" y="5"/>
                  </a:cubicBezTo>
                  <a:cubicBezTo>
                    <a:pt x="9067" y="-41"/>
                    <a:pt x="8335" y="249"/>
                    <a:pt x="8190" y="560"/>
                  </a:cubicBezTo>
                  <a:cubicBezTo>
                    <a:pt x="8100" y="889"/>
                    <a:pt x="8333" y="1438"/>
                    <a:pt x="8774" y="1783"/>
                  </a:cubicBezTo>
                  <a:cubicBezTo>
                    <a:pt x="9216" y="2135"/>
                    <a:pt x="10527" y="2886"/>
                    <a:pt x="11692" y="3454"/>
                  </a:cubicBezTo>
                  <a:cubicBezTo>
                    <a:pt x="12857" y="4024"/>
                    <a:pt x="13671" y="4714"/>
                    <a:pt x="13600" y="5030"/>
                  </a:cubicBezTo>
                  <a:cubicBezTo>
                    <a:pt x="13487" y="5333"/>
                    <a:pt x="13509" y="5965"/>
                    <a:pt x="13683" y="6442"/>
                  </a:cubicBezTo>
                  <a:cubicBezTo>
                    <a:pt x="13881" y="6918"/>
                    <a:pt x="13861" y="7928"/>
                    <a:pt x="13729" y="8677"/>
                  </a:cubicBezTo>
                  <a:cubicBezTo>
                    <a:pt x="13595" y="9434"/>
                    <a:pt x="13646" y="10481"/>
                    <a:pt x="13863" y="10999"/>
                  </a:cubicBezTo>
                  <a:cubicBezTo>
                    <a:pt x="14086" y="11518"/>
                    <a:pt x="14588" y="12092"/>
                    <a:pt x="15007" y="12252"/>
                  </a:cubicBezTo>
                  <a:cubicBezTo>
                    <a:pt x="15403" y="12450"/>
                    <a:pt x="16145" y="13037"/>
                    <a:pt x="16644" y="13625"/>
                  </a:cubicBezTo>
                  <a:cubicBezTo>
                    <a:pt x="17114" y="14244"/>
                    <a:pt x="17427" y="15007"/>
                    <a:pt x="17349" y="15383"/>
                  </a:cubicBezTo>
                  <a:cubicBezTo>
                    <a:pt x="17243" y="15746"/>
                    <a:pt x="16426" y="15980"/>
                    <a:pt x="15527" y="15912"/>
                  </a:cubicBezTo>
                  <a:cubicBezTo>
                    <a:pt x="14624" y="15864"/>
                    <a:pt x="13787" y="15959"/>
                    <a:pt x="13586" y="16088"/>
                  </a:cubicBezTo>
                  <a:cubicBezTo>
                    <a:pt x="13435" y="16268"/>
                    <a:pt x="12944" y="16298"/>
                    <a:pt x="12588" y="16094"/>
                  </a:cubicBezTo>
                  <a:cubicBezTo>
                    <a:pt x="12203" y="15947"/>
                    <a:pt x="11471" y="15799"/>
                    <a:pt x="10964" y="15896"/>
                  </a:cubicBezTo>
                  <a:cubicBezTo>
                    <a:pt x="10451" y="15920"/>
                    <a:pt x="9654" y="15764"/>
                    <a:pt x="9202" y="15486"/>
                  </a:cubicBezTo>
                  <a:cubicBezTo>
                    <a:pt x="8763" y="15185"/>
                    <a:pt x="7931" y="15198"/>
                    <a:pt x="7428" y="15507"/>
                  </a:cubicBezTo>
                  <a:cubicBezTo>
                    <a:pt x="6927" y="15814"/>
                    <a:pt x="6442" y="15782"/>
                    <a:pt x="6419" y="15475"/>
                  </a:cubicBezTo>
                  <a:cubicBezTo>
                    <a:pt x="6391" y="15171"/>
                    <a:pt x="6211" y="14814"/>
                    <a:pt x="6009" y="14722"/>
                  </a:cubicBezTo>
                  <a:cubicBezTo>
                    <a:pt x="5825" y="14605"/>
                    <a:pt x="5141" y="14725"/>
                    <a:pt x="4478" y="14910"/>
                  </a:cubicBezTo>
                  <a:cubicBezTo>
                    <a:pt x="3824" y="15129"/>
                    <a:pt x="3078" y="14850"/>
                    <a:pt x="2628" y="14421"/>
                  </a:cubicBezTo>
                  <a:cubicBezTo>
                    <a:pt x="2288" y="13928"/>
                    <a:pt x="1599" y="13785"/>
                    <a:pt x="1180" y="14111"/>
                  </a:cubicBezTo>
                  <a:cubicBezTo>
                    <a:pt x="743" y="14409"/>
                    <a:pt x="313" y="14970"/>
                    <a:pt x="108" y="15309"/>
                  </a:cubicBezTo>
                  <a:cubicBezTo>
                    <a:pt x="-37" y="15679"/>
                    <a:pt x="-40" y="16371"/>
                    <a:pt x="121" y="16866"/>
                  </a:cubicBezTo>
                  <a:cubicBezTo>
                    <a:pt x="251" y="17366"/>
                    <a:pt x="822" y="17883"/>
                    <a:pt x="1337" y="17953"/>
                  </a:cubicBezTo>
                  <a:cubicBezTo>
                    <a:pt x="1841" y="18048"/>
                    <a:pt x="2698" y="18841"/>
                    <a:pt x="3241" y="19695"/>
                  </a:cubicBezTo>
                  <a:cubicBezTo>
                    <a:pt x="3803" y="20535"/>
                    <a:pt x="4441" y="21306"/>
                    <a:pt x="4653" y="21453"/>
                  </a:cubicBezTo>
                  <a:cubicBezTo>
                    <a:pt x="4890" y="21559"/>
                    <a:pt x="5134" y="21246"/>
                    <a:pt x="5134" y="20728"/>
                  </a:cubicBezTo>
                  <a:cubicBezTo>
                    <a:pt x="5185" y="20219"/>
                    <a:pt x="5375" y="19596"/>
                    <a:pt x="5597" y="19347"/>
                  </a:cubicBezTo>
                  <a:cubicBezTo>
                    <a:pt x="5784" y="19073"/>
                    <a:pt x="6776" y="18899"/>
                    <a:pt x="7717" y="18945"/>
                  </a:cubicBezTo>
                  <a:cubicBezTo>
                    <a:pt x="8663" y="18945"/>
                    <a:pt x="9789" y="19250"/>
                    <a:pt x="10186" y="19583"/>
                  </a:cubicBezTo>
                  <a:cubicBezTo>
                    <a:pt x="10603" y="19888"/>
                    <a:pt x="11910" y="20209"/>
                    <a:pt x="13101" y="20303"/>
                  </a:cubicBezTo>
                  <a:cubicBezTo>
                    <a:pt x="14294" y="20398"/>
                    <a:pt x="15451" y="20309"/>
                    <a:pt x="15666" y="20116"/>
                  </a:cubicBezTo>
                  <a:cubicBezTo>
                    <a:pt x="15876" y="19928"/>
                    <a:pt x="16363" y="19977"/>
                    <a:pt x="16729" y="20235"/>
                  </a:cubicBezTo>
                  <a:cubicBezTo>
                    <a:pt x="17086" y="20486"/>
                    <a:pt x="17671" y="20720"/>
                    <a:pt x="17998" y="20770"/>
                  </a:cubicBezTo>
                  <a:cubicBezTo>
                    <a:pt x="18332" y="20795"/>
                    <a:pt x="18546" y="20589"/>
                    <a:pt x="18518" y="20252"/>
                  </a:cubicBezTo>
                  <a:cubicBezTo>
                    <a:pt x="18475" y="19917"/>
                    <a:pt x="18832" y="19034"/>
                    <a:pt x="19352" y="18298"/>
                  </a:cubicBezTo>
                  <a:cubicBezTo>
                    <a:pt x="19828" y="17542"/>
                    <a:pt x="20283" y="16655"/>
                    <a:pt x="20315" y="16289"/>
                  </a:cubicBezTo>
                  <a:close/>
                  <a:moveTo>
                    <a:pt x="20315" y="162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2" name="AutoShape 1264"/>
            <p:cNvSpPr>
              <a:spLocks/>
            </p:cNvSpPr>
            <p:nvPr/>
          </p:nvSpPr>
          <p:spPr bwMode="auto">
            <a:xfrm>
              <a:off x="3987800" y="4457700"/>
              <a:ext cx="11113" cy="17463"/>
            </a:xfrm>
            <a:custGeom>
              <a:avLst/>
              <a:gdLst/>
              <a:ahLst/>
              <a:cxnLst/>
              <a:rect l="0" t="0" r="r" b="b"/>
              <a:pathLst>
                <a:path w="20953" h="20964">
                  <a:moveTo>
                    <a:pt x="11011" y="129"/>
                  </a:moveTo>
                  <a:cubicBezTo>
                    <a:pt x="9079" y="-385"/>
                    <a:pt x="6860" y="686"/>
                    <a:pt x="6091" y="2463"/>
                  </a:cubicBezTo>
                  <a:cubicBezTo>
                    <a:pt x="5335" y="4241"/>
                    <a:pt x="5269" y="6836"/>
                    <a:pt x="5772" y="8263"/>
                  </a:cubicBezTo>
                  <a:cubicBezTo>
                    <a:pt x="6369" y="9691"/>
                    <a:pt x="7575" y="11531"/>
                    <a:pt x="8685" y="12237"/>
                  </a:cubicBezTo>
                  <a:cubicBezTo>
                    <a:pt x="9719" y="13013"/>
                    <a:pt x="9881" y="14468"/>
                    <a:pt x="8716" y="15320"/>
                  </a:cubicBezTo>
                  <a:cubicBezTo>
                    <a:pt x="7916" y="16349"/>
                    <a:pt x="6006" y="16796"/>
                    <a:pt x="4917" y="16589"/>
                  </a:cubicBezTo>
                  <a:cubicBezTo>
                    <a:pt x="3862" y="16301"/>
                    <a:pt x="1930" y="15648"/>
                    <a:pt x="1257" y="14791"/>
                  </a:cubicBezTo>
                  <a:cubicBezTo>
                    <a:pt x="264" y="14063"/>
                    <a:pt x="-258" y="14489"/>
                    <a:pt x="126" y="15751"/>
                  </a:cubicBezTo>
                  <a:cubicBezTo>
                    <a:pt x="434" y="17029"/>
                    <a:pt x="2666" y="19005"/>
                    <a:pt x="5025" y="20117"/>
                  </a:cubicBezTo>
                  <a:cubicBezTo>
                    <a:pt x="7416" y="21215"/>
                    <a:pt x="11662" y="21196"/>
                    <a:pt x="14801" y="20344"/>
                  </a:cubicBezTo>
                  <a:cubicBezTo>
                    <a:pt x="17800" y="19334"/>
                    <a:pt x="20680" y="16679"/>
                    <a:pt x="20850" y="14413"/>
                  </a:cubicBezTo>
                  <a:cubicBezTo>
                    <a:pt x="21342" y="12169"/>
                    <a:pt x="20007" y="8167"/>
                    <a:pt x="17959" y="5641"/>
                  </a:cubicBezTo>
                  <a:cubicBezTo>
                    <a:pt x="16252" y="3061"/>
                    <a:pt x="12954" y="651"/>
                    <a:pt x="11011" y="129"/>
                  </a:cubicBezTo>
                  <a:close/>
                  <a:moveTo>
                    <a:pt x="11011" y="12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3" name="AutoShape 1265"/>
            <p:cNvSpPr>
              <a:spLocks/>
            </p:cNvSpPr>
            <p:nvPr/>
          </p:nvSpPr>
          <p:spPr bwMode="auto">
            <a:xfrm>
              <a:off x="3949700" y="4406900"/>
              <a:ext cx="257175" cy="157163"/>
            </a:xfrm>
            <a:custGeom>
              <a:avLst/>
              <a:gdLst/>
              <a:ahLst/>
              <a:cxnLst/>
              <a:rect l="0" t="0" r="r" b="b"/>
              <a:pathLst>
                <a:path w="21575" h="21506">
                  <a:moveTo>
                    <a:pt x="21524" y="19268"/>
                  </a:moveTo>
                  <a:cubicBezTo>
                    <a:pt x="21575" y="18942"/>
                    <a:pt x="21600" y="18558"/>
                    <a:pt x="21542" y="18414"/>
                  </a:cubicBezTo>
                  <a:cubicBezTo>
                    <a:pt x="21487" y="18262"/>
                    <a:pt x="21353" y="18081"/>
                    <a:pt x="21237" y="18068"/>
                  </a:cubicBezTo>
                  <a:cubicBezTo>
                    <a:pt x="21130" y="18009"/>
                    <a:pt x="20978" y="17640"/>
                    <a:pt x="20893" y="17206"/>
                  </a:cubicBezTo>
                  <a:cubicBezTo>
                    <a:pt x="20817" y="16765"/>
                    <a:pt x="20525" y="16176"/>
                    <a:pt x="20256" y="15875"/>
                  </a:cubicBezTo>
                  <a:cubicBezTo>
                    <a:pt x="19981" y="15588"/>
                    <a:pt x="19504" y="15340"/>
                    <a:pt x="19188" y="15328"/>
                  </a:cubicBezTo>
                  <a:cubicBezTo>
                    <a:pt x="18873" y="15340"/>
                    <a:pt x="18546" y="15248"/>
                    <a:pt x="18464" y="15162"/>
                  </a:cubicBezTo>
                  <a:cubicBezTo>
                    <a:pt x="18383" y="15077"/>
                    <a:pt x="18365" y="14888"/>
                    <a:pt x="18429" y="14728"/>
                  </a:cubicBezTo>
                  <a:cubicBezTo>
                    <a:pt x="18490" y="14566"/>
                    <a:pt x="18584" y="14124"/>
                    <a:pt x="18623" y="13737"/>
                  </a:cubicBezTo>
                  <a:cubicBezTo>
                    <a:pt x="18676" y="13354"/>
                    <a:pt x="18639" y="12970"/>
                    <a:pt x="18563" y="12908"/>
                  </a:cubicBezTo>
                  <a:cubicBezTo>
                    <a:pt x="18487" y="12846"/>
                    <a:pt x="18347" y="12864"/>
                    <a:pt x="18247" y="12963"/>
                  </a:cubicBezTo>
                  <a:cubicBezTo>
                    <a:pt x="18143" y="13056"/>
                    <a:pt x="17974" y="13131"/>
                    <a:pt x="17861" y="13105"/>
                  </a:cubicBezTo>
                  <a:cubicBezTo>
                    <a:pt x="17748" y="13078"/>
                    <a:pt x="17491" y="12689"/>
                    <a:pt x="17261" y="12286"/>
                  </a:cubicBezTo>
                  <a:cubicBezTo>
                    <a:pt x="17057" y="11845"/>
                    <a:pt x="16830" y="11647"/>
                    <a:pt x="16760" y="11778"/>
                  </a:cubicBezTo>
                  <a:cubicBezTo>
                    <a:pt x="16703" y="11929"/>
                    <a:pt x="16581" y="11849"/>
                    <a:pt x="16479" y="11630"/>
                  </a:cubicBezTo>
                  <a:cubicBezTo>
                    <a:pt x="16387" y="11397"/>
                    <a:pt x="16167" y="10964"/>
                    <a:pt x="16017" y="10634"/>
                  </a:cubicBezTo>
                  <a:cubicBezTo>
                    <a:pt x="15857" y="10318"/>
                    <a:pt x="15656" y="10268"/>
                    <a:pt x="15562" y="10525"/>
                  </a:cubicBezTo>
                  <a:cubicBezTo>
                    <a:pt x="15468" y="10782"/>
                    <a:pt x="15366" y="10862"/>
                    <a:pt x="15310" y="10728"/>
                  </a:cubicBezTo>
                  <a:cubicBezTo>
                    <a:pt x="15258" y="10585"/>
                    <a:pt x="15231" y="10298"/>
                    <a:pt x="15269" y="10112"/>
                  </a:cubicBezTo>
                  <a:cubicBezTo>
                    <a:pt x="15289" y="9916"/>
                    <a:pt x="15255" y="9708"/>
                    <a:pt x="15198" y="9614"/>
                  </a:cubicBezTo>
                  <a:cubicBezTo>
                    <a:pt x="15138" y="9528"/>
                    <a:pt x="15053" y="9628"/>
                    <a:pt x="15014" y="9820"/>
                  </a:cubicBezTo>
                  <a:cubicBezTo>
                    <a:pt x="14972" y="10010"/>
                    <a:pt x="14880" y="10009"/>
                    <a:pt x="14815" y="9796"/>
                  </a:cubicBezTo>
                  <a:cubicBezTo>
                    <a:pt x="14732" y="9603"/>
                    <a:pt x="14505" y="9302"/>
                    <a:pt x="14280" y="9176"/>
                  </a:cubicBezTo>
                  <a:cubicBezTo>
                    <a:pt x="14062" y="9023"/>
                    <a:pt x="13756" y="8623"/>
                    <a:pt x="13610" y="8247"/>
                  </a:cubicBezTo>
                  <a:cubicBezTo>
                    <a:pt x="13460" y="7879"/>
                    <a:pt x="13239" y="7397"/>
                    <a:pt x="13103" y="7202"/>
                  </a:cubicBezTo>
                  <a:cubicBezTo>
                    <a:pt x="12968" y="7006"/>
                    <a:pt x="12755" y="6573"/>
                    <a:pt x="12599" y="6278"/>
                  </a:cubicBezTo>
                  <a:cubicBezTo>
                    <a:pt x="12457" y="5972"/>
                    <a:pt x="12080" y="5686"/>
                    <a:pt x="11765" y="5647"/>
                  </a:cubicBezTo>
                  <a:cubicBezTo>
                    <a:pt x="11451" y="5584"/>
                    <a:pt x="11108" y="5431"/>
                    <a:pt x="10988" y="5299"/>
                  </a:cubicBezTo>
                  <a:cubicBezTo>
                    <a:pt x="10879" y="5147"/>
                    <a:pt x="10750" y="4762"/>
                    <a:pt x="10709" y="4425"/>
                  </a:cubicBezTo>
                  <a:cubicBezTo>
                    <a:pt x="10665" y="4094"/>
                    <a:pt x="10542" y="3491"/>
                    <a:pt x="10403" y="3110"/>
                  </a:cubicBezTo>
                  <a:cubicBezTo>
                    <a:pt x="10278" y="2718"/>
                    <a:pt x="10088" y="2460"/>
                    <a:pt x="9987" y="2524"/>
                  </a:cubicBezTo>
                  <a:cubicBezTo>
                    <a:pt x="9886" y="2587"/>
                    <a:pt x="9762" y="2502"/>
                    <a:pt x="9711" y="2324"/>
                  </a:cubicBezTo>
                  <a:cubicBezTo>
                    <a:pt x="9661" y="2145"/>
                    <a:pt x="9282" y="1870"/>
                    <a:pt x="8873" y="1706"/>
                  </a:cubicBezTo>
                  <a:cubicBezTo>
                    <a:pt x="8469" y="1528"/>
                    <a:pt x="8023" y="1525"/>
                    <a:pt x="7892" y="1677"/>
                  </a:cubicBezTo>
                  <a:cubicBezTo>
                    <a:pt x="7753" y="1803"/>
                    <a:pt x="7515" y="1850"/>
                    <a:pt x="7345" y="1761"/>
                  </a:cubicBezTo>
                  <a:cubicBezTo>
                    <a:pt x="7179" y="1662"/>
                    <a:pt x="6961" y="1318"/>
                    <a:pt x="6867" y="986"/>
                  </a:cubicBezTo>
                  <a:cubicBezTo>
                    <a:pt x="6773" y="653"/>
                    <a:pt x="6493" y="274"/>
                    <a:pt x="6244" y="172"/>
                  </a:cubicBezTo>
                  <a:cubicBezTo>
                    <a:pt x="6003" y="36"/>
                    <a:pt x="5623" y="-19"/>
                    <a:pt x="5409" y="7"/>
                  </a:cubicBezTo>
                  <a:cubicBezTo>
                    <a:pt x="5197" y="32"/>
                    <a:pt x="4937" y="261"/>
                    <a:pt x="4828" y="517"/>
                  </a:cubicBezTo>
                  <a:cubicBezTo>
                    <a:pt x="4724" y="772"/>
                    <a:pt x="4399" y="1000"/>
                    <a:pt x="4113" y="1062"/>
                  </a:cubicBezTo>
                  <a:cubicBezTo>
                    <a:pt x="3827" y="1088"/>
                    <a:pt x="3415" y="1265"/>
                    <a:pt x="3202" y="1433"/>
                  </a:cubicBezTo>
                  <a:cubicBezTo>
                    <a:pt x="2987" y="1591"/>
                    <a:pt x="2742" y="1882"/>
                    <a:pt x="2669" y="2093"/>
                  </a:cubicBezTo>
                  <a:cubicBezTo>
                    <a:pt x="2596" y="2309"/>
                    <a:pt x="2348" y="2624"/>
                    <a:pt x="2132" y="2814"/>
                  </a:cubicBezTo>
                  <a:cubicBezTo>
                    <a:pt x="1912" y="2987"/>
                    <a:pt x="1678" y="3367"/>
                    <a:pt x="1607" y="3628"/>
                  </a:cubicBezTo>
                  <a:cubicBezTo>
                    <a:pt x="1531" y="3887"/>
                    <a:pt x="1409" y="4243"/>
                    <a:pt x="1308" y="4380"/>
                  </a:cubicBezTo>
                  <a:cubicBezTo>
                    <a:pt x="1219" y="4537"/>
                    <a:pt x="1131" y="4943"/>
                    <a:pt x="1116" y="5291"/>
                  </a:cubicBezTo>
                  <a:cubicBezTo>
                    <a:pt x="1108" y="5639"/>
                    <a:pt x="1147" y="6103"/>
                    <a:pt x="1195" y="6337"/>
                  </a:cubicBezTo>
                  <a:cubicBezTo>
                    <a:pt x="1255" y="6560"/>
                    <a:pt x="1273" y="6862"/>
                    <a:pt x="1255" y="7006"/>
                  </a:cubicBezTo>
                  <a:cubicBezTo>
                    <a:pt x="1224" y="7146"/>
                    <a:pt x="1138" y="7151"/>
                    <a:pt x="1058" y="7005"/>
                  </a:cubicBezTo>
                  <a:cubicBezTo>
                    <a:pt x="969" y="6874"/>
                    <a:pt x="760" y="7005"/>
                    <a:pt x="585" y="7318"/>
                  </a:cubicBezTo>
                  <a:cubicBezTo>
                    <a:pt x="402" y="7618"/>
                    <a:pt x="209" y="7832"/>
                    <a:pt x="137" y="7766"/>
                  </a:cubicBezTo>
                  <a:cubicBezTo>
                    <a:pt x="57" y="7741"/>
                    <a:pt x="7" y="7811"/>
                    <a:pt x="0" y="8004"/>
                  </a:cubicBezTo>
                  <a:cubicBezTo>
                    <a:pt x="0" y="8199"/>
                    <a:pt x="62" y="8490"/>
                    <a:pt x="164" y="8618"/>
                  </a:cubicBezTo>
                  <a:cubicBezTo>
                    <a:pt x="257" y="8757"/>
                    <a:pt x="420" y="8595"/>
                    <a:pt x="515" y="8246"/>
                  </a:cubicBezTo>
                  <a:cubicBezTo>
                    <a:pt x="620" y="7902"/>
                    <a:pt x="730" y="7666"/>
                    <a:pt x="763" y="7734"/>
                  </a:cubicBezTo>
                  <a:cubicBezTo>
                    <a:pt x="813" y="7766"/>
                    <a:pt x="836" y="8048"/>
                    <a:pt x="836" y="8287"/>
                  </a:cubicBezTo>
                  <a:cubicBezTo>
                    <a:pt x="844" y="8525"/>
                    <a:pt x="942" y="8541"/>
                    <a:pt x="1066" y="8326"/>
                  </a:cubicBezTo>
                  <a:cubicBezTo>
                    <a:pt x="1194" y="8117"/>
                    <a:pt x="1361" y="7921"/>
                    <a:pt x="1448" y="7897"/>
                  </a:cubicBezTo>
                  <a:cubicBezTo>
                    <a:pt x="1534" y="7859"/>
                    <a:pt x="1695" y="7482"/>
                    <a:pt x="1791" y="7008"/>
                  </a:cubicBezTo>
                  <a:cubicBezTo>
                    <a:pt x="1899" y="6543"/>
                    <a:pt x="2090" y="6201"/>
                    <a:pt x="2217" y="6300"/>
                  </a:cubicBezTo>
                  <a:cubicBezTo>
                    <a:pt x="2351" y="6364"/>
                    <a:pt x="2505" y="6334"/>
                    <a:pt x="2551" y="6196"/>
                  </a:cubicBezTo>
                  <a:cubicBezTo>
                    <a:pt x="2610" y="6074"/>
                    <a:pt x="2701" y="6085"/>
                    <a:pt x="2766" y="6238"/>
                  </a:cubicBezTo>
                  <a:cubicBezTo>
                    <a:pt x="2826" y="6400"/>
                    <a:pt x="2974" y="6485"/>
                    <a:pt x="3075" y="6420"/>
                  </a:cubicBezTo>
                  <a:cubicBezTo>
                    <a:pt x="3177" y="6356"/>
                    <a:pt x="3395" y="5881"/>
                    <a:pt x="3542" y="5327"/>
                  </a:cubicBezTo>
                  <a:cubicBezTo>
                    <a:pt x="3694" y="4778"/>
                    <a:pt x="3894" y="4288"/>
                    <a:pt x="3984" y="4232"/>
                  </a:cubicBezTo>
                  <a:cubicBezTo>
                    <a:pt x="4073" y="4166"/>
                    <a:pt x="4206" y="3963"/>
                    <a:pt x="4265" y="3749"/>
                  </a:cubicBezTo>
                  <a:cubicBezTo>
                    <a:pt x="4337" y="3551"/>
                    <a:pt x="4499" y="3422"/>
                    <a:pt x="4642" y="3488"/>
                  </a:cubicBezTo>
                  <a:cubicBezTo>
                    <a:pt x="4786" y="3554"/>
                    <a:pt x="4987" y="3590"/>
                    <a:pt x="5090" y="3590"/>
                  </a:cubicBezTo>
                  <a:cubicBezTo>
                    <a:pt x="5191" y="3566"/>
                    <a:pt x="5470" y="3603"/>
                    <a:pt x="5699" y="3702"/>
                  </a:cubicBezTo>
                  <a:cubicBezTo>
                    <a:pt x="5934" y="3766"/>
                    <a:pt x="6168" y="3983"/>
                    <a:pt x="6236" y="4142"/>
                  </a:cubicBezTo>
                  <a:cubicBezTo>
                    <a:pt x="6292" y="4312"/>
                    <a:pt x="6292" y="4552"/>
                    <a:pt x="6235" y="4704"/>
                  </a:cubicBezTo>
                  <a:cubicBezTo>
                    <a:pt x="6168" y="4841"/>
                    <a:pt x="6025" y="4940"/>
                    <a:pt x="5907" y="4903"/>
                  </a:cubicBezTo>
                  <a:cubicBezTo>
                    <a:pt x="5788" y="4877"/>
                    <a:pt x="5624" y="4976"/>
                    <a:pt x="5546" y="5144"/>
                  </a:cubicBezTo>
                  <a:cubicBezTo>
                    <a:pt x="5467" y="5312"/>
                    <a:pt x="5462" y="5602"/>
                    <a:pt x="5546" y="5788"/>
                  </a:cubicBezTo>
                  <a:cubicBezTo>
                    <a:pt x="5623" y="5978"/>
                    <a:pt x="5946" y="6260"/>
                    <a:pt x="6263" y="6386"/>
                  </a:cubicBezTo>
                  <a:cubicBezTo>
                    <a:pt x="6576" y="6549"/>
                    <a:pt x="6894" y="6596"/>
                    <a:pt x="6959" y="6532"/>
                  </a:cubicBezTo>
                  <a:cubicBezTo>
                    <a:pt x="7035" y="6501"/>
                    <a:pt x="7158" y="6410"/>
                    <a:pt x="7256" y="6410"/>
                  </a:cubicBezTo>
                  <a:cubicBezTo>
                    <a:pt x="7353" y="6410"/>
                    <a:pt x="7508" y="6577"/>
                    <a:pt x="7589" y="6795"/>
                  </a:cubicBezTo>
                  <a:cubicBezTo>
                    <a:pt x="7681" y="6999"/>
                    <a:pt x="7873" y="7214"/>
                    <a:pt x="8024" y="7280"/>
                  </a:cubicBezTo>
                  <a:cubicBezTo>
                    <a:pt x="8177" y="7342"/>
                    <a:pt x="8364" y="7361"/>
                    <a:pt x="8439" y="7361"/>
                  </a:cubicBezTo>
                  <a:cubicBezTo>
                    <a:pt x="8514" y="7361"/>
                    <a:pt x="8616" y="7210"/>
                    <a:pt x="8649" y="7039"/>
                  </a:cubicBezTo>
                  <a:cubicBezTo>
                    <a:pt x="8690" y="6868"/>
                    <a:pt x="8769" y="6870"/>
                    <a:pt x="8851" y="7005"/>
                  </a:cubicBezTo>
                  <a:cubicBezTo>
                    <a:pt x="8917" y="7165"/>
                    <a:pt x="8989" y="7417"/>
                    <a:pt x="8998" y="7585"/>
                  </a:cubicBezTo>
                  <a:cubicBezTo>
                    <a:pt x="9005" y="7753"/>
                    <a:pt x="9162" y="8181"/>
                    <a:pt x="9340" y="8551"/>
                  </a:cubicBezTo>
                  <a:cubicBezTo>
                    <a:pt x="9525" y="8907"/>
                    <a:pt x="9785" y="9270"/>
                    <a:pt x="9928" y="9336"/>
                  </a:cubicBezTo>
                  <a:cubicBezTo>
                    <a:pt x="10071" y="9401"/>
                    <a:pt x="10238" y="9386"/>
                    <a:pt x="10297" y="9287"/>
                  </a:cubicBezTo>
                  <a:cubicBezTo>
                    <a:pt x="10352" y="9185"/>
                    <a:pt x="10490" y="9294"/>
                    <a:pt x="10581" y="9525"/>
                  </a:cubicBezTo>
                  <a:cubicBezTo>
                    <a:pt x="10685" y="9742"/>
                    <a:pt x="10840" y="9892"/>
                    <a:pt x="10946" y="9856"/>
                  </a:cubicBezTo>
                  <a:cubicBezTo>
                    <a:pt x="11049" y="9796"/>
                    <a:pt x="11206" y="9870"/>
                    <a:pt x="11291" y="9972"/>
                  </a:cubicBezTo>
                  <a:cubicBezTo>
                    <a:pt x="11379" y="10072"/>
                    <a:pt x="11568" y="10039"/>
                    <a:pt x="11728" y="9908"/>
                  </a:cubicBezTo>
                  <a:cubicBezTo>
                    <a:pt x="11878" y="9740"/>
                    <a:pt x="12071" y="9699"/>
                    <a:pt x="12139" y="9769"/>
                  </a:cubicBezTo>
                  <a:cubicBezTo>
                    <a:pt x="12207" y="9838"/>
                    <a:pt x="12335" y="10653"/>
                    <a:pt x="12438" y="11580"/>
                  </a:cubicBezTo>
                  <a:cubicBezTo>
                    <a:pt x="12529" y="12512"/>
                    <a:pt x="12774" y="13772"/>
                    <a:pt x="12965" y="14398"/>
                  </a:cubicBezTo>
                  <a:cubicBezTo>
                    <a:pt x="13158" y="15017"/>
                    <a:pt x="13395" y="15548"/>
                    <a:pt x="13489" y="15536"/>
                  </a:cubicBezTo>
                  <a:cubicBezTo>
                    <a:pt x="13583" y="15536"/>
                    <a:pt x="13696" y="15472"/>
                    <a:pt x="13735" y="15369"/>
                  </a:cubicBezTo>
                  <a:cubicBezTo>
                    <a:pt x="13778" y="15272"/>
                    <a:pt x="13917" y="15356"/>
                    <a:pt x="14047" y="15569"/>
                  </a:cubicBezTo>
                  <a:cubicBezTo>
                    <a:pt x="14179" y="15785"/>
                    <a:pt x="14454" y="15991"/>
                    <a:pt x="14662" y="15978"/>
                  </a:cubicBezTo>
                  <a:cubicBezTo>
                    <a:pt x="14867" y="16004"/>
                    <a:pt x="15067" y="16126"/>
                    <a:pt x="15093" y="16290"/>
                  </a:cubicBezTo>
                  <a:cubicBezTo>
                    <a:pt x="15118" y="16452"/>
                    <a:pt x="15228" y="16655"/>
                    <a:pt x="15324" y="16747"/>
                  </a:cubicBezTo>
                  <a:cubicBezTo>
                    <a:pt x="15422" y="16833"/>
                    <a:pt x="15498" y="17168"/>
                    <a:pt x="15475" y="17475"/>
                  </a:cubicBezTo>
                  <a:cubicBezTo>
                    <a:pt x="15467" y="17781"/>
                    <a:pt x="15329" y="18096"/>
                    <a:pt x="15184" y="18197"/>
                  </a:cubicBezTo>
                  <a:cubicBezTo>
                    <a:pt x="15038" y="18297"/>
                    <a:pt x="14765" y="18745"/>
                    <a:pt x="14570" y="19204"/>
                  </a:cubicBezTo>
                  <a:cubicBezTo>
                    <a:pt x="14394" y="19681"/>
                    <a:pt x="14230" y="20274"/>
                    <a:pt x="14223" y="20557"/>
                  </a:cubicBezTo>
                  <a:cubicBezTo>
                    <a:pt x="14231" y="20836"/>
                    <a:pt x="14387" y="21145"/>
                    <a:pt x="14588" y="21259"/>
                  </a:cubicBezTo>
                  <a:cubicBezTo>
                    <a:pt x="14791" y="21369"/>
                    <a:pt x="15068" y="21294"/>
                    <a:pt x="15205" y="21106"/>
                  </a:cubicBezTo>
                  <a:cubicBezTo>
                    <a:pt x="15349" y="20937"/>
                    <a:pt x="15532" y="20876"/>
                    <a:pt x="15639" y="20982"/>
                  </a:cubicBezTo>
                  <a:cubicBezTo>
                    <a:pt x="15739" y="21106"/>
                    <a:pt x="16065" y="21077"/>
                    <a:pt x="16349" y="20896"/>
                  </a:cubicBezTo>
                  <a:cubicBezTo>
                    <a:pt x="16637" y="20735"/>
                    <a:pt x="17006" y="20638"/>
                    <a:pt x="17167" y="20700"/>
                  </a:cubicBezTo>
                  <a:cubicBezTo>
                    <a:pt x="17330" y="20752"/>
                    <a:pt x="17635" y="21005"/>
                    <a:pt x="17840" y="21266"/>
                  </a:cubicBezTo>
                  <a:cubicBezTo>
                    <a:pt x="18050" y="21520"/>
                    <a:pt x="18471" y="21581"/>
                    <a:pt x="18781" y="21408"/>
                  </a:cubicBezTo>
                  <a:cubicBezTo>
                    <a:pt x="19091" y="21231"/>
                    <a:pt x="19381" y="20945"/>
                    <a:pt x="19418" y="20767"/>
                  </a:cubicBezTo>
                  <a:cubicBezTo>
                    <a:pt x="19447" y="20586"/>
                    <a:pt x="19556" y="20473"/>
                    <a:pt x="19629" y="20516"/>
                  </a:cubicBezTo>
                  <a:cubicBezTo>
                    <a:pt x="19707" y="20542"/>
                    <a:pt x="19844" y="20441"/>
                    <a:pt x="19926" y="20254"/>
                  </a:cubicBezTo>
                  <a:cubicBezTo>
                    <a:pt x="20010" y="20071"/>
                    <a:pt x="20255" y="19977"/>
                    <a:pt x="20463" y="20065"/>
                  </a:cubicBezTo>
                  <a:cubicBezTo>
                    <a:pt x="20672" y="20138"/>
                    <a:pt x="20963" y="20091"/>
                    <a:pt x="21125" y="20027"/>
                  </a:cubicBezTo>
                  <a:cubicBezTo>
                    <a:pt x="21279" y="19926"/>
                    <a:pt x="21458" y="19589"/>
                    <a:pt x="21524" y="19268"/>
                  </a:cubicBezTo>
                  <a:close/>
                  <a:moveTo>
                    <a:pt x="21524" y="192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4" name="AutoShape 1266"/>
            <p:cNvSpPr>
              <a:spLocks/>
            </p:cNvSpPr>
            <p:nvPr/>
          </p:nvSpPr>
          <p:spPr bwMode="auto">
            <a:xfrm>
              <a:off x="4241800" y="4483100"/>
              <a:ext cx="1588" cy="4763"/>
            </a:xfrm>
            <a:custGeom>
              <a:avLst/>
              <a:gdLst/>
              <a:ahLst/>
              <a:cxnLst/>
              <a:rect l="0" t="0" r="r" b="b"/>
              <a:pathLst>
                <a:path w="18877" h="17392">
                  <a:moveTo>
                    <a:pt x="5576" y="2522"/>
                  </a:moveTo>
                  <a:cubicBezTo>
                    <a:pt x="-1969" y="7301"/>
                    <a:pt x="-1802" y="13779"/>
                    <a:pt x="5744" y="16481"/>
                  </a:cubicBezTo>
                  <a:cubicBezTo>
                    <a:pt x="12687" y="19318"/>
                    <a:pt x="19631" y="15298"/>
                    <a:pt x="18811" y="7635"/>
                  </a:cubicBezTo>
                  <a:cubicBezTo>
                    <a:pt x="18811" y="-27"/>
                    <a:pt x="12633" y="-2282"/>
                    <a:pt x="5576" y="2522"/>
                  </a:cubicBezTo>
                  <a:close/>
                  <a:moveTo>
                    <a:pt x="5576" y="25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5" name="AutoShape 1267"/>
            <p:cNvSpPr>
              <a:spLocks/>
            </p:cNvSpPr>
            <p:nvPr/>
          </p:nvSpPr>
          <p:spPr bwMode="auto">
            <a:xfrm>
              <a:off x="4127500" y="4305300"/>
              <a:ext cx="9525" cy="6350"/>
            </a:xfrm>
            <a:custGeom>
              <a:avLst/>
              <a:gdLst/>
              <a:ahLst/>
              <a:cxnLst/>
              <a:rect l="0" t="0" r="r" b="b"/>
              <a:pathLst>
                <a:path w="19729" h="20471">
                  <a:moveTo>
                    <a:pt x="10494" y="20452"/>
                  </a:moveTo>
                  <a:cubicBezTo>
                    <a:pt x="14148" y="20704"/>
                    <a:pt x="18213" y="16720"/>
                    <a:pt x="19266" y="11909"/>
                  </a:cubicBezTo>
                  <a:cubicBezTo>
                    <a:pt x="20603" y="7177"/>
                    <a:pt x="18923" y="1791"/>
                    <a:pt x="15768" y="373"/>
                  </a:cubicBezTo>
                  <a:cubicBezTo>
                    <a:pt x="12598" y="-896"/>
                    <a:pt x="7373" y="1148"/>
                    <a:pt x="3872" y="5371"/>
                  </a:cubicBezTo>
                  <a:cubicBezTo>
                    <a:pt x="456" y="9747"/>
                    <a:pt x="-997" y="14762"/>
                    <a:pt x="729" y="16720"/>
                  </a:cubicBezTo>
                  <a:cubicBezTo>
                    <a:pt x="2477" y="18682"/>
                    <a:pt x="6853" y="20690"/>
                    <a:pt x="10494" y="20452"/>
                  </a:cubicBezTo>
                  <a:close/>
                  <a:moveTo>
                    <a:pt x="10494" y="2045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6" name="AutoShape 1268"/>
            <p:cNvSpPr>
              <a:spLocks/>
            </p:cNvSpPr>
            <p:nvPr/>
          </p:nvSpPr>
          <p:spPr bwMode="auto">
            <a:xfrm>
              <a:off x="4241800" y="4432300"/>
              <a:ext cx="11113" cy="7938"/>
            </a:xfrm>
            <a:custGeom>
              <a:avLst/>
              <a:gdLst/>
              <a:ahLst/>
              <a:cxnLst/>
              <a:rect l="0" t="0" r="r" b="b"/>
              <a:pathLst>
                <a:path w="20778" h="19627">
                  <a:moveTo>
                    <a:pt x="7005" y="14098"/>
                  </a:moveTo>
                  <a:cubicBezTo>
                    <a:pt x="9466" y="13682"/>
                    <a:pt x="13589" y="15135"/>
                    <a:pt x="15944" y="17682"/>
                  </a:cubicBezTo>
                  <a:cubicBezTo>
                    <a:pt x="18310" y="20228"/>
                    <a:pt x="20612" y="20187"/>
                    <a:pt x="20771" y="18070"/>
                  </a:cubicBezTo>
                  <a:cubicBezTo>
                    <a:pt x="20942" y="15914"/>
                    <a:pt x="17948" y="10113"/>
                    <a:pt x="13899" y="5522"/>
                  </a:cubicBezTo>
                  <a:cubicBezTo>
                    <a:pt x="9925" y="830"/>
                    <a:pt x="4745" y="-1372"/>
                    <a:pt x="2562" y="903"/>
                  </a:cubicBezTo>
                  <a:cubicBezTo>
                    <a:pt x="258" y="2901"/>
                    <a:pt x="-658" y="7048"/>
                    <a:pt x="503" y="9781"/>
                  </a:cubicBezTo>
                  <a:cubicBezTo>
                    <a:pt x="1420" y="12718"/>
                    <a:pt x="4606" y="14790"/>
                    <a:pt x="7005" y="14098"/>
                  </a:cubicBezTo>
                  <a:close/>
                  <a:moveTo>
                    <a:pt x="7005" y="1409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7" name="AutoShape 1269"/>
            <p:cNvSpPr>
              <a:spLocks/>
            </p:cNvSpPr>
            <p:nvPr/>
          </p:nvSpPr>
          <p:spPr bwMode="auto">
            <a:xfrm>
              <a:off x="4178300" y="4330700"/>
              <a:ext cx="9525" cy="30163"/>
            </a:xfrm>
            <a:custGeom>
              <a:avLst/>
              <a:gdLst/>
              <a:ahLst/>
              <a:cxnLst/>
              <a:rect l="0" t="0" r="r" b="b"/>
              <a:pathLst>
                <a:path w="21171" h="21173">
                  <a:moveTo>
                    <a:pt x="7769" y="11443"/>
                  </a:moveTo>
                  <a:cubicBezTo>
                    <a:pt x="8130" y="13646"/>
                    <a:pt x="7575" y="16039"/>
                    <a:pt x="6466" y="16827"/>
                  </a:cubicBezTo>
                  <a:cubicBezTo>
                    <a:pt x="5236" y="17569"/>
                    <a:pt x="5298" y="18912"/>
                    <a:pt x="6466" y="19820"/>
                  </a:cubicBezTo>
                  <a:cubicBezTo>
                    <a:pt x="7792" y="20704"/>
                    <a:pt x="11408" y="21278"/>
                    <a:pt x="14760" y="21158"/>
                  </a:cubicBezTo>
                  <a:cubicBezTo>
                    <a:pt x="18026" y="20832"/>
                    <a:pt x="21016" y="20069"/>
                    <a:pt x="21171" y="19104"/>
                  </a:cubicBezTo>
                  <a:cubicBezTo>
                    <a:pt x="21171" y="18131"/>
                    <a:pt x="19821" y="15507"/>
                    <a:pt x="17617" y="13274"/>
                  </a:cubicBezTo>
                  <a:cubicBezTo>
                    <a:pt x="15555" y="11018"/>
                    <a:pt x="13314" y="7782"/>
                    <a:pt x="12432" y="6097"/>
                  </a:cubicBezTo>
                  <a:cubicBezTo>
                    <a:pt x="12072" y="4382"/>
                    <a:pt x="8648" y="2118"/>
                    <a:pt x="6069" y="939"/>
                  </a:cubicBezTo>
                  <a:cubicBezTo>
                    <a:pt x="3271" y="-189"/>
                    <a:pt x="717" y="-322"/>
                    <a:pt x="126" y="656"/>
                  </a:cubicBezTo>
                  <a:cubicBezTo>
                    <a:pt x="-429" y="1634"/>
                    <a:pt x="897" y="3576"/>
                    <a:pt x="3042" y="4952"/>
                  </a:cubicBezTo>
                  <a:cubicBezTo>
                    <a:pt x="5153" y="6327"/>
                    <a:pt x="7214" y="9235"/>
                    <a:pt x="7769" y="11443"/>
                  </a:cubicBezTo>
                  <a:close/>
                  <a:moveTo>
                    <a:pt x="7769" y="114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8" name="AutoShape 1270"/>
            <p:cNvSpPr>
              <a:spLocks/>
            </p:cNvSpPr>
            <p:nvPr/>
          </p:nvSpPr>
          <p:spPr bwMode="auto">
            <a:xfrm>
              <a:off x="4152900" y="4305300"/>
              <a:ext cx="11113" cy="28575"/>
            </a:xfrm>
            <a:custGeom>
              <a:avLst/>
              <a:gdLst/>
              <a:ahLst/>
              <a:cxnLst/>
              <a:rect l="0" t="0" r="r" b="b"/>
              <a:pathLst>
                <a:path w="20438" h="21037">
                  <a:moveTo>
                    <a:pt x="5071" y="4325"/>
                  </a:moveTo>
                  <a:cubicBezTo>
                    <a:pt x="8206" y="5009"/>
                    <a:pt x="12335" y="7012"/>
                    <a:pt x="14112" y="8762"/>
                  </a:cubicBezTo>
                  <a:cubicBezTo>
                    <a:pt x="15875" y="10510"/>
                    <a:pt x="16476" y="12907"/>
                    <a:pt x="15797" y="14204"/>
                  </a:cubicBezTo>
                  <a:cubicBezTo>
                    <a:pt x="14678" y="15460"/>
                    <a:pt x="12471" y="16833"/>
                    <a:pt x="11170" y="17473"/>
                  </a:cubicBezTo>
                  <a:cubicBezTo>
                    <a:pt x="9631" y="18023"/>
                    <a:pt x="9223" y="19105"/>
                    <a:pt x="10298" y="19954"/>
                  </a:cubicBezTo>
                  <a:cubicBezTo>
                    <a:pt x="11417" y="20773"/>
                    <a:pt x="13535" y="21243"/>
                    <a:pt x="15028" y="20947"/>
                  </a:cubicBezTo>
                  <a:cubicBezTo>
                    <a:pt x="16554" y="20683"/>
                    <a:pt x="18795" y="18305"/>
                    <a:pt x="19814" y="15693"/>
                  </a:cubicBezTo>
                  <a:cubicBezTo>
                    <a:pt x="21149" y="13118"/>
                    <a:pt x="20278" y="9204"/>
                    <a:pt x="17810" y="7133"/>
                  </a:cubicBezTo>
                  <a:cubicBezTo>
                    <a:pt x="15683" y="5000"/>
                    <a:pt x="10898" y="2209"/>
                    <a:pt x="7210" y="966"/>
                  </a:cubicBezTo>
                  <a:cubicBezTo>
                    <a:pt x="3477" y="-241"/>
                    <a:pt x="534" y="-357"/>
                    <a:pt x="71" y="841"/>
                  </a:cubicBezTo>
                  <a:cubicBezTo>
                    <a:pt x="-451" y="2017"/>
                    <a:pt x="1971" y="3614"/>
                    <a:pt x="5071" y="4325"/>
                  </a:cubicBezTo>
                  <a:close/>
                  <a:moveTo>
                    <a:pt x="5071" y="43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69" name="AutoShape 1271"/>
            <p:cNvSpPr>
              <a:spLocks/>
            </p:cNvSpPr>
            <p:nvPr/>
          </p:nvSpPr>
          <p:spPr bwMode="auto">
            <a:xfrm>
              <a:off x="4203700" y="4419600"/>
              <a:ext cx="14288" cy="22225"/>
            </a:xfrm>
            <a:custGeom>
              <a:avLst/>
              <a:gdLst/>
              <a:ahLst/>
              <a:cxnLst/>
              <a:rect l="0" t="0" r="r" b="b"/>
              <a:pathLst>
                <a:path w="21259" h="21157">
                  <a:moveTo>
                    <a:pt x="2651" y="16620"/>
                  </a:moveTo>
                  <a:cubicBezTo>
                    <a:pt x="1441" y="16620"/>
                    <a:pt x="369" y="17821"/>
                    <a:pt x="69" y="18961"/>
                  </a:cubicBezTo>
                  <a:cubicBezTo>
                    <a:pt x="-240" y="20095"/>
                    <a:pt x="523" y="21150"/>
                    <a:pt x="1633" y="21150"/>
                  </a:cubicBezTo>
                  <a:cubicBezTo>
                    <a:pt x="2742" y="21301"/>
                    <a:pt x="7487" y="19084"/>
                    <a:pt x="12269" y="16476"/>
                  </a:cubicBezTo>
                  <a:cubicBezTo>
                    <a:pt x="17032" y="13806"/>
                    <a:pt x="20822" y="9616"/>
                    <a:pt x="21223" y="7226"/>
                  </a:cubicBezTo>
                  <a:cubicBezTo>
                    <a:pt x="21360" y="4785"/>
                    <a:pt x="21087" y="1991"/>
                    <a:pt x="20822" y="997"/>
                  </a:cubicBezTo>
                  <a:cubicBezTo>
                    <a:pt x="20424" y="14"/>
                    <a:pt x="18333" y="-299"/>
                    <a:pt x="16195" y="316"/>
                  </a:cubicBezTo>
                  <a:cubicBezTo>
                    <a:pt x="13969" y="747"/>
                    <a:pt x="12450" y="2845"/>
                    <a:pt x="12588" y="4606"/>
                  </a:cubicBezTo>
                  <a:cubicBezTo>
                    <a:pt x="12588" y="6360"/>
                    <a:pt x="11141" y="9745"/>
                    <a:pt x="8832" y="12051"/>
                  </a:cubicBezTo>
                  <a:cubicBezTo>
                    <a:pt x="6587" y="14397"/>
                    <a:pt x="3787" y="16364"/>
                    <a:pt x="2651" y="16620"/>
                  </a:cubicBezTo>
                  <a:close/>
                  <a:moveTo>
                    <a:pt x="2651" y="1662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0" name="AutoShape 1272"/>
            <p:cNvSpPr>
              <a:spLocks/>
            </p:cNvSpPr>
            <p:nvPr/>
          </p:nvSpPr>
          <p:spPr bwMode="auto">
            <a:xfrm>
              <a:off x="4102100" y="4229100"/>
              <a:ext cx="25400" cy="15875"/>
            </a:xfrm>
            <a:custGeom>
              <a:avLst/>
              <a:gdLst/>
              <a:ahLst/>
              <a:cxnLst/>
              <a:rect l="0" t="0" r="r" b="b"/>
              <a:pathLst>
                <a:path w="20920" h="20870">
                  <a:moveTo>
                    <a:pt x="5281" y="20770"/>
                  </a:moveTo>
                  <a:cubicBezTo>
                    <a:pt x="6317" y="21480"/>
                    <a:pt x="8942" y="18280"/>
                    <a:pt x="11098" y="14363"/>
                  </a:cubicBezTo>
                  <a:cubicBezTo>
                    <a:pt x="13248" y="10454"/>
                    <a:pt x="15779" y="7769"/>
                    <a:pt x="16865" y="8120"/>
                  </a:cubicBezTo>
                  <a:cubicBezTo>
                    <a:pt x="17945" y="8573"/>
                    <a:pt x="19533" y="9144"/>
                    <a:pt x="20374" y="9556"/>
                  </a:cubicBezTo>
                  <a:cubicBezTo>
                    <a:pt x="21235" y="9900"/>
                    <a:pt x="21083" y="7644"/>
                    <a:pt x="19886" y="4881"/>
                  </a:cubicBezTo>
                  <a:cubicBezTo>
                    <a:pt x="18824" y="1995"/>
                    <a:pt x="16415" y="-120"/>
                    <a:pt x="14704" y="5"/>
                  </a:cubicBezTo>
                  <a:cubicBezTo>
                    <a:pt x="13019" y="340"/>
                    <a:pt x="10354" y="2392"/>
                    <a:pt x="8746" y="4952"/>
                  </a:cubicBezTo>
                  <a:cubicBezTo>
                    <a:pt x="7114" y="7449"/>
                    <a:pt x="5340" y="8713"/>
                    <a:pt x="4719" y="7504"/>
                  </a:cubicBezTo>
                  <a:cubicBezTo>
                    <a:pt x="4064" y="6334"/>
                    <a:pt x="2431" y="5405"/>
                    <a:pt x="1067" y="5522"/>
                  </a:cubicBezTo>
                  <a:cubicBezTo>
                    <a:pt x="-301" y="5747"/>
                    <a:pt x="-365" y="8909"/>
                    <a:pt x="940" y="12826"/>
                  </a:cubicBezTo>
                  <a:cubicBezTo>
                    <a:pt x="2300" y="16713"/>
                    <a:pt x="4191" y="20318"/>
                    <a:pt x="5281" y="20770"/>
                  </a:cubicBezTo>
                  <a:close/>
                  <a:moveTo>
                    <a:pt x="5281" y="2077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1" name="AutoShape 1273"/>
            <p:cNvSpPr>
              <a:spLocks/>
            </p:cNvSpPr>
            <p:nvPr/>
          </p:nvSpPr>
          <p:spPr bwMode="auto">
            <a:xfrm>
              <a:off x="4165600" y="4381500"/>
              <a:ext cx="1588" cy="4763"/>
            </a:xfrm>
            <a:custGeom>
              <a:avLst/>
              <a:gdLst/>
              <a:ahLst/>
              <a:cxnLst/>
              <a:rect l="0" t="0" r="r" b="b"/>
              <a:pathLst>
                <a:path w="17678" h="19651">
                  <a:moveTo>
                    <a:pt x="674" y="5862"/>
                  </a:moveTo>
                  <a:cubicBezTo>
                    <a:pt x="-1998" y="13374"/>
                    <a:pt x="3639" y="19651"/>
                    <a:pt x="11123" y="19651"/>
                  </a:cubicBezTo>
                  <a:cubicBezTo>
                    <a:pt x="18617" y="18913"/>
                    <a:pt x="19602" y="13475"/>
                    <a:pt x="14502" y="5760"/>
                  </a:cubicBezTo>
                  <a:cubicBezTo>
                    <a:pt x="8654" y="-1949"/>
                    <a:pt x="2443" y="-1924"/>
                    <a:pt x="674" y="5862"/>
                  </a:cubicBezTo>
                  <a:close/>
                  <a:moveTo>
                    <a:pt x="674" y="586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2" name="AutoShape 1274"/>
            <p:cNvSpPr>
              <a:spLocks/>
            </p:cNvSpPr>
            <p:nvPr/>
          </p:nvSpPr>
          <p:spPr bwMode="auto">
            <a:xfrm>
              <a:off x="4178300" y="4381500"/>
              <a:ext cx="9525" cy="33338"/>
            </a:xfrm>
            <a:custGeom>
              <a:avLst/>
              <a:gdLst/>
              <a:ahLst/>
              <a:cxnLst/>
              <a:rect l="0" t="0" r="r" b="b"/>
              <a:pathLst>
                <a:path w="20384" h="20967">
                  <a:moveTo>
                    <a:pt x="139" y="299"/>
                  </a:moveTo>
                  <a:cubicBezTo>
                    <a:pt x="-418" y="1150"/>
                    <a:pt x="752" y="3319"/>
                    <a:pt x="2785" y="5073"/>
                  </a:cubicBezTo>
                  <a:cubicBezTo>
                    <a:pt x="4540" y="6851"/>
                    <a:pt x="4907" y="8677"/>
                    <a:pt x="3293" y="9206"/>
                  </a:cubicBezTo>
                  <a:cubicBezTo>
                    <a:pt x="1691" y="9731"/>
                    <a:pt x="2199" y="11666"/>
                    <a:pt x="4795" y="13522"/>
                  </a:cubicBezTo>
                  <a:cubicBezTo>
                    <a:pt x="7058" y="15415"/>
                    <a:pt x="10962" y="17767"/>
                    <a:pt x="12602" y="18851"/>
                  </a:cubicBezTo>
                  <a:cubicBezTo>
                    <a:pt x="14495" y="19912"/>
                    <a:pt x="17495" y="20831"/>
                    <a:pt x="19328" y="20966"/>
                  </a:cubicBezTo>
                  <a:cubicBezTo>
                    <a:pt x="21182" y="21018"/>
                    <a:pt x="20511" y="19323"/>
                    <a:pt x="17979" y="17092"/>
                  </a:cubicBezTo>
                  <a:cubicBezTo>
                    <a:pt x="15284" y="14879"/>
                    <a:pt x="12740" y="11639"/>
                    <a:pt x="11761" y="9911"/>
                  </a:cubicBezTo>
                  <a:cubicBezTo>
                    <a:pt x="11011" y="8197"/>
                    <a:pt x="8113" y="4983"/>
                    <a:pt x="5594" y="2759"/>
                  </a:cubicBezTo>
                  <a:cubicBezTo>
                    <a:pt x="2912" y="554"/>
                    <a:pt x="509" y="-582"/>
                    <a:pt x="139" y="299"/>
                  </a:cubicBezTo>
                  <a:close/>
                  <a:moveTo>
                    <a:pt x="139" y="2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3" name="AutoShape 1275"/>
            <p:cNvSpPr>
              <a:spLocks/>
            </p:cNvSpPr>
            <p:nvPr/>
          </p:nvSpPr>
          <p:spPr bwMode="auto">
            <a:xfrm>
              <a:off x="4216400" y="4495800"/>
              <a:ext cx="17463" cy="19050"/>
            </a:xfrm>
            <a:custGeom>
              <a:avLst/>
              <a:gdLst/>
              <a:ahLst/>
              <a:cxnLst/>
              <a:rect l="0" t="0" r="r" b="b"/>
              <a:pathLst>
                <a:path w="21211" h="20578">
                  <a:moveTo>
                    <a:pt x="7588" y="20423"/>
                  </a:moveTo>
                  <a:cubicBezTo>
                    <a:pt x="12205" y="19939"/>
                    <a:pt x="16952" y="16994"/>
                    <a:pt x="18588" y="14419"/>
                  </a:cubicBezTo>
                  <a:cubicBezTo>
                    <a:pt x="19977" y="11716"/>
                    <a:pt x="21307" y="7200"/>
                    <a:pt x="21206" y="4305"/>
                  </a:cubicBezTo>
                  <a:cubicBezTo>
                    <a:pt x="21206" y="1450"/>
                    <a:pt x="20747" y="-350"/>
                    <a:pt x="19998" y="57"/>
                  </a:cubicBezTo>
                  <a:cubicBezTo>
                    <a:pt x="19330" y="528"/>
                    <a:pt x="18086" y="2468"/>
                    <a:pt x="16865" y="4115"/>
                  </a:cubicBezTo>
                  <a:cubicBezTo>
                    <a:pt x="15905" y="5890"/>
                    <a:pt x="13332" y="6194"/>
                    <a:pt x="11638" y="4713"/>
                  </a:cubicBezTo>
                  <a:cubicBezTo>
                    <a:pt x="9741" y="3422"/>
                    <a:pt x="6571" y="3562"/>
                    <a:pt x="4564" y="5413"/>
                  </a:cubicBezTo>
                  <a:cubicBezTo>
                    <a:pt x="2493" y="7224"/>
                    <a:pt x="449" y="11595"/>
                    <a:pt x="20" y="15150"/>
                  </a:cubicBezTo>
                  <a:cubicBezTo>
                    <a:pt x="-293" y="18668"/>
                    <a:pt x="3045" y="21250"/>
                    <a:pt x="7588" y="20423"/>
                  </a:cubicBezTo>
                  <a:close/>
                  <a:moveTo>
                    <a:pt x="7588" y="204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4" name="AutoShape 1276"/>
            <p:cNvSpPr>
              <a:spLocks/>
            </p:cNvSpPr>
            <p:nvPr/>
          </p:nvSpPr>
          <p:spPr bwMode="auto">
            <a:xfrm>
              <a:off x="4203700" y="4419600"/>
              <a:ext cx="6350" cy="9525"/>
            </a:xfrm>
            <a:custGeom>
              <a:avLst/>
              <a:gdLst/>
              <a:ahLst/>
              <a:cxnLst/>
              <a:rect l="0" t="0" r="r" b="b"/>
              <a:pathLst>
                <a:path w="20861" h="20310">
                  <a:moveTo>
                    <a:pt x="33" y="1966"/>
                  </a:moveTo>
                  <a:cubicBezTo>
                    <a:pt x="-263" y="4780"/>
                    <a:pt x="1465" y="9825"/>
                    <a:pt x="4385" y="13065"/>
                  </a:cubicBezTo>
                  <a:cubicBezTo>
                    <a:pt x="7081" y="16379"/>
                    <a:pt x="12193" y="19350"/>
                    <a:pt x="15463" y="20240"/>
                  </a:cubicBezTo>
                  <a:cubicBezTo>
                    <a:pt x="18939" y="20764"/>
                    <a:pt x="21337" y="18302"/>
                    <a:pt x="20782" y="14527"/>
                  </a:cubicBezTo>
                  <a:cubicBezTo>
                    <a:pt x="20260" y="10725"/>
                    <a:pt x="15577" y="5206"/>
                    <a:pt x="10278" y="2248"/>
                  </a:cubicBezTo>
                  <a:cubicBezTo>
                    <a:pt x="4758" y="-554"/>
                    <a:pt x="334" y="-836"/>
                    <a:pt x="33" y="1966"/>
                  </a:cubicBezTo>
                  <a:close/>
                  <a:moveTo>
                    <a:pt x="33" y="196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5" name="AutoShape 1277"/>
            <p:cNvSpPr>
              <a:spLocks/>
            </p:cNvSpPr>
            <p:nvPr/>
          </p:nvSpPr>
          <p:spPr bwMode="auto">
            <a:xfrm>
              <a:off x="4114800" y="4356100"/>
              <a:ext cx="1588" cy="3175"/>
            </a:xfrm>
            <a:custGeom>
              <a:avLst/>
              <a:gdLst/>
              <a:ahLst/>
              <a:cxnLst/>
              <a:rect l="0" t="0" r="r" b="b"/>
              <a:pathLst>
                <a:path w="18606" h="17279">
                  <a:moveTo>
                    <a:pt x="18490" y="7754"/>
                  </a:moveTo>
                  <a:cubicBezTo>
                    <a:pt x="16755" y="121"/>
                    <a:pt x="11244" y="-2198"/>
                    <a:pt x="4512" y="2240"/>
                  </a:cubicBezTo>
                  <a:cubicBezTo>
                    <a:pt x="-2089" y="7038"/>
                    <a:pt x="-1448" y="13240"/>
                    <a:pt x="6442" y="16141"/>
                  </a:cubicBezTo>
                  <a:cubicBezTo>
                    <a:pt x="13671" y="19402"/>
                    <a:pt x="19511" y="15359"/>
                    <a:pt x="18490" y="7754"/>
                  </a:cubicBezTo>
                  <a:close/>
                  <a:moveTo>
                    <a:pt x="18490" y="77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6" name="AutoShape 1278"/>
            <p:cNvSpPr>
              <a:spLocks/>
            </p:cNvSpPr>
            <p:nvPr/>
          </p:nvSpPr>
          <p:spPr bwMode="auto">
            <a:xfrm>
              <a:off x="4203700" y="4356100"/>
              <a:ext cx="3175" cy="7938"/>
            </a:xfrm>
            <a:custGeom>
              <a:avLst/>
              <a:gdLst/>
              <a:ahLst/>
              <a:cxnLst/>
              <a:rect l="0" t="0" r="r" b="b"/>
              <a:pathLst>
                <a:path w="18979" h="18927">
                  <a:moveTo>
                    <a:pt x="15784" y="14638"/>
                  </a:moveTo>
                  <a:cubicBezTo>
                    <a:pt x="19372" y="10654"/>
                    <a:pt x="19891" y="4793"/>
                    <a:pt x="17579" y="1672"/>
                  </a:cubicBezTo>
                  <a:cubicBezTo>
                    <a:pt x="14817" y="-1462"/>
                    <a:pt x="9010" y="-75"/>
                    <a:pt x="4423" y="4873"/>
                  </a:cubicBezTo>
                  <a:cubicBezTo>
                    <a:pt x="-355" y="9768"/>
                    <a:pt x="-1709" y="15743"/>
                    <a:pt x="2597" y="17875"/>
                  </a:cubicBezTo>
                  <a:cubicBezTo>
                    <a:pt x="6349" y="20138"/>
                    <a:pt x="12026" y="18610"/>
                    <a:pt x="15784" y="14638"/>
                  </a:cubicBezTo>
                  <a:close/>
                  <a:moveTo>
                    <a:pt x="15784" y="146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7" name="AutoShape 1279"/>
            <p:cNvSpPr>
              <a:spLocks/>
            </p:cNvSpPr>
            <p:nvPr/>
          </p:nvSpPr>
          <p:spPr bwMode="auto">
            <a:xfrm>
              <a:off x="4127500" y="4356100"/>
              <a:ext cx="1588" cy="3175"/>
            </a:xfrm>
            <a:custGeom>
              <a:avLst/>
              <a:gdLst/>
              <a:ahLst/>
              <a:cxnLst/>
              <a:rect l="0" t="0" r="r" b="b"/>
              <a:pathLst>
                <a:path w="17428" h="17341">
                  <a:moveTo>
                    <a:pt x="14748" y="9619"/>
                  </a:moveTo>
                  <a:cubicBezTo>
                    <a:pt x="19653" y="1976"/>
                    <a:pt x="17676" y="-1941"/>
                    <a:pt x="10036" y="955"/>
                  </a:cubicBezTo>
                  <a:cubicBezTo>
                    <a:pt x="2508" y="3801"/>
                    <a:pt x="-1947" y="10054"/>
                    <a:pt x="833" y="14747"/>
                  </a:cubicBezTo>
                  <a:cubicBezTo>
                    <a:pt x="2920" y="19659"/>
                    <a:pt x="10303" y="17400"/>
                    <a:pt x="14748" y="9619"/>
                  </a:cubicBezTo>
                  <a:close/>
                  <a:moveTo>
                    <a:pt x="14748" y="96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8" name="AutoShape 1280"/>
            <p:cNvSpPr>
              <a:spLocks/>
            </p:cNvSpPr>
            <p:nvPr/>
          </p:nvSpPr>
          <p:spPr bwMode="auto">
            <a:xfrm>
              <a:off x="4114800" y="4356100"/>
              <a:ext cx="7938" cy="20638"/>
            </a:xfrm>
            <a:custGeom>
              <a:avLst/>
              <a:gdLst/>
              <a:ahLst/>
              <a:cxnLst/>
              <a:rect l="0" t="0" r="r" b="b"/>
              <a:pathLst>
                <a:path w="20939" h="20834">
                  <a:moveTo>
                    <a:pt x="11288" y="20776"/>
                  </a:moveTo>
                  <a:cubicBezTo>
                    <a:pt x="14066" y="20311"/>
                    <a:pt x="17733" y="18440"/>
                    <a:pt x="19293" y="16456"/>
                  </a:cubicBezTo>
                  <a:cubicBezTo>
                    <a:pt x="20856" y="14476"/>
                    <a:pt x="21382" y="11682"/>
                    <a:pt x="20543" y="10235"/>
                  </a:cubicBezTo>
                  <a:cubicBezTo>
                    <a:pt x="19579" y="8787"/>
                    <a:pt x="19370" y="6361"/>
                    <a:pt x="19820" y="4817"/>
                  </a:cubicBezTo>
                  <a:cubicBezTo>
                    <a:pt x="20271" y="3265"/>
                    <a:pt x="19521" y="1292"/>
                    <a:pt x="18244" y="357"/>
                  </a:cubicBezTo>
                  <a:cubicBezTo>
                    <a:pt x="16365" y="-397"/>
                    <a:pt x="12368" y="55"/>
                    <a:pt x="7864" y="1588"/>
                  </a:cubicBezTo>
                  <a:cubicBezTo>
                    <a:pt x="3686" y="3272"/>
                    <a:pt x="22" y="6083"/>
                    <a:pt x="22" y="8026"/>
                  </a:cubicBezTo>
                  <a:cubicBezTo>
                    <a:pt x="-218" y="9945"/>
                    <a:pt x="1554" y="13758"/>
                    <a:pt x="3144" y="16479"/>
                  </a:cubicBezTo>
                  <a:cubicBezTo>
                    <a:pt x="4948" y="19213"/>
                    <a:pt x="8510" y="21203"/>
                    <a:pt x="11288" y="20776"/>
                  </a:cubicBezTo>
                  <a:close/>
                  <a:moveTo>
                    <a:pt x="11288" y="207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79" name="AutoShape 1281"/>
            <p:cNvSpPr>
              <a:spLocks/>
            </p:cNvSpPr>
            <p:nvPr/>
          </p:nvSpPr>
          <p:spPr bwMode="auto">
            <a:xfrm>
              <a:off x="4140200" y="4229100"/>
              <a:ext cx="15875" cy="47625"/>
            </a:xfrm>
            <a:custGeom>
              <a:avLst/>
              <a:gdLst/>
              <a:ahLst/>
              <a:cxnLst/>
              <a:rect l="0" t="0" r="r" b="b"/>
              <a:pathLst>
                <a:path w="20889" h="21039">
                  <a:moveTo>
                    <a:pt x="2030" y="983"/>
                  </a:moveTo>
                  <a:cubicBezTo>
                    <a:pt x="4671" y="1425"/>
                    <a:pt x="6879" y="2639"/>
                    <a:pt x="7219" y="3632"/>
                  </a:cubicBezTo>
                  <a:cubicBezTo>
                    <a:pt x="7452" y="4636"/>
                    <a:pt x="9003" y="6633"/>
                    <a:pt x="11042" y="8012"/>
                  </a:cubicBezTo>
                  <a:cubicBezTo>
                    <a:pt x="12749" y="9441"/>
                    <a:pt x="13397" y="11072"/>
                    <a:pt x="12263" y="11708"/>
                  </a:cubicBezTo>
                  <a:cubicBezTo>
                    <a:pt x="11151" y="12351"/>
                    <a:pt x="10556" y="13600"/>
                    <a:pt x="10911" y="14534"/>
                  </a:cubicBezTo>
                  <a:cubicBezTo>
                    <a:pt x="11382" y="15463"/>
                    <a:pt x="11344" y="17598"/>
                    <a:pt x="10363" y="19242"/>
                  </a:cubicBezTo>
                  <a:cubicBezTo>
                    <a:pt x="9692" y="20909"/>
                    <a:pt x="10069" y="21498"/>
                    <a:pt x="11768" y="20663"/>
                  </a:cubicBezTo>
                  <a:cubicBezTo>
                    <a:pt x="13274" y="19778"/>
                    <a:pt x="14286" y="18354"/>
                    <a:pt x="14409" y="17495"/>
                  </a:cubicBezTo>
                  <a:cubicBezTo>
                    <a:pt x="14294" y="16631"/>
                    <a:pt x="15746" y="15412"/>
                    <a:pt x="17482" y="14771"/>
                  </a:cubicBezTo>
                  <a:cubicBezTo>
                    <a:pt x="19445" y="14216"/>
                    <a:pt x="20649" y="12496"/>
                    <a:pt x="20889" y="11134"/>
                  </a:cubicBezTo>
                  <a:cubicBezTo>
                    <a:pt x="20889" y="9764"/>
                    <a:pt x="19855" y="8332"/>
                    <a:pt x="18803" y="7826"/>
                  </a:cubicBezTo>
                  <a:cubicBezTo>
                    <a:pt x="17429" y="7430"/>
                    <a:pt x="16533" y="6219"/>
                    <a:pt x="16100" y="5263"/>
                  </a:cubicBezTo>
                  <a:cubicBezTo>
                    <a:pt x="15846" y="4300"/>
                    <a:pt x="13622" y="2660"/>
                    <a:pt x="10950" y="1691"/>
                  </a:cubicBezTo>
                  <a:cubicBezTo>
                    <a:pt x="8347" y="697"/>
                    <a:pt x="4232" y="-102"/>
                    <a:pt x="1775" y="11"/>
                  </a:cubicBezTo>
                  <a:cubicBezTo>
                    <a:pt x="-711" y="52"/>
                    <a:pt x="-550" y="512"/>
                    <a:pt x="2030" y="983"/>
                  </a:cubicBezTo>
                  <a:close/>
                  <a:moveTo>
                    <a:pt x="2030" y="98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0" name="AutoShape 1282"/>
            <p:cNvSpPr>
              <a:spLocks/>
            </p:cNvSpPr>
            <p:nvPr/>
          </p:nvSpPr>
          <p:spPr bwMode="auto">
            <a:xfrm>
              <a:off x="4114800" y="4318000"/>
              <a:ext cx="11113" cy="28575"/>
            </a:xfrm>
            <a:custGeom>
              <a:avLst/>
              <a:gdLst/>
              <a:ahLst/>
              <a:cxnLst/>
              <a:rect l="0" t="0" r="r" b="b"/>
              <a:pathLst>
                <a:path w="20141" h="20830">
                  <a:moveTo>
                    <a:pt x="14865" y="4461"/>
                  </a:moveTo>
                  <a:cubicBezTo>
                    <a:pt x="14569" y="2521"/>
                    <a:pt x="12746" y="608"/>
                    <a:pt x="11268" y="89"/>
                  </a:cubicBezTo>
                  <a:cubicBezTo>
                    <a:pt x="9760" y="-392"/>
                    <a:pt x="7773" y="1120"/>
                    <a:pt x="6724" y="3377"/>
                  </a:cubicBezTo>
                  <a:cubicBezTo>
                    <a:pt x="5716" y="5619"/>
                    <a:pt x="3566" y="9361"/>
                    <a:pt x="1641" y="11657"/>
                  </a:cubicBezTo>
                  <a:cubicBezTo>
                    <a:pt x="-183" y="13949"/>
                    <a:pt x="-642" y="16741"/>
                    <a:pt x="1059" y="17758"/>
                  </a:cubicBezTo>
                  <a:cubicBezTo>
                    <a:pt x="2455" y="18862"/>
                    <a:pt x="5309" y="19028"/>
                    <a:pt x="7325" y="18344"/>
                  </a:cubicBezTo>
                  <a:cubicBezTo>
                    <a:pt x="9190" y="17578"/>
                    <a:pt x="11064" y="18218"/>
                    <a:pt x="11664" y="19664"/>
                  </a:cubicBezTo>
                  <a:cubicBezTo>
                    <a:pt x="11940" y="21144"/>
                    <a:pt x="14671" y="21208"/>
                    <a:pt x="17503" y="19893"/>
                  </a:cubicBezTo>
                  <a:cubicBezTo>
                    <a:pt x="20265" y="18528"/>
                    <a:pt x="20958" y="15314"/>
                    <a:pt x="19103" y="12711"/>
                  </a:cubicBezTo>
                  <a:cubicBezTo>
                    <a:pt x="17096" y="10131"/>
                    <a:pt x="15170" y="6420"/>
                    <a:pt x="14865" y="4461"/>
                  </a:cubicBezTo>
                  <a:close/>
                  <a:moveTo>
                    <a:pt x="14865" y="44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1" name="AutoShape 1283"/>
            <p:cNvSpPr>
              <a:spLocks/>
            </p:cNvSpPr>
            <p:nvPr/>
          </p:nvSpPr>
          <p:spPr bwMode="auto">
            <a:xfrm>
              <a:off x="3505200" y="3148013"/>
              <a:ext cx="1101725" cy="1162050"/>
            </a:xfrm>
            <a:custGeom>
              <a:avLst/>
              <a:gdLst/>
              <a:ahLst/>
              <a:cxnLst/>
              <a:rect l="0" t="0" r="r" b="b"/>
              <a:pathLst>
                <a:path w="21591" h="21593">
                  <a:moveTo>
                    <a:pt x="21225" y="2027"/>
                  </a:moveTo>
                  <a:cubicBezTo>
                    <a:pt x="21238" y="2008"/>
                    <a:pt x="21247" y="1975"/>
                    <a:pt x="21244" y="1957"/>
                  </a:cubicBezTo>
                  <a:cubicBezTo>
                    <a:pt x="21244" y="1938"/>
                    <a:pt x="21246" y="1905"/>
                    <a:pt x="21254" y="1884"/>
                  </a:cubicBezTo>
                  <a:cubicBezTo>
                    <a:pt x="21261" y="1862"/>
                    <a:pt x="21270" y="1816"/>
                    <a:pt x="21278" y="1782"/>
                  </a:cubicBezTo>
                  <a:cubicBezTo>
                    <a:pt x="21285" y="1748"/>
                    <a:pt x="21282" y="1702"/>
                    <a:pt x="21269" y="1683"/>
                  </a:cubicBezTo>
                  <a:cubicBezTo>
                    <a:pt x="21256" y="1664"/>
                    <a:pt x="21242" y="1629"/>
                    <a:pt x="21234" y="1607"/>
                  </a:cubicBezTo>
                  <a:cubicBezTo>
                    <a:pt x="21227" y="1585"/>
                    <a:pt x="21209" y="1567"/>
                    <a:pt x="21195" y="1564"/>
                  </a:cubicBezTo>
                  <a:cubicBezTo>
                    <a:pt x="21181" y="1562"/>
                    <a:pt x="21179" y="1534"/>
                    <a:pt x="21193" y="1503"/>
                  </a:cubicBezTo>
                  <a:cubicBezTo>
                    <a:pt x="21206" y="1472"/>
                    <a:pt x="21278" y="1228"/>
                    <a:pt x="21356" y="963"/>
                  </a:cubicBezTo>
                  <a:cubicBezTo>
                    <a:pt x="21434" y="699"/>
                    <a:pt x="21503" y="428"/>
                    <a:pt x="21510" y="362"/>
                  </a:cubicBezTo>
                  <a:cubicBezTo>
                    <a:pt x="21518" y="296"/>
                    <a:pt x="21477" y="192"/>
                    <a:pt x="21426" y="125"/>
                  </a:cubicBezTo>
                  <a:cubicBezTo>
                    <a:pt x="21372" y="61"/>
                    <a:pt x="21316" y="25"/>
                    <a:pt x="21297" y="43"/>
                  </a:cubicBezTo>
                  <a:cubicBezTo>
                    <a:pt x="21280" y="62"/>
                    <a:pt x="21230" y="71"/>
                    <a:pt x="21186" y="66"/>
                  </a:cubicBezTo>
                  <a:cubicBezTo>
                    <a:pt x="21142" y="59"/>
                    <a:pt x="21076" y="71"/>
                    <a:pt x="21038" y="88"/>
                  </a:cubicBezTo>
                  <a:cubicBezTo>
                    <a:pt x="21001" y="107"/>
                    <a:pt x="20957" y="101"/>
                    <a:pt x="20936" y="81"/>
                  </a:cubicBezTo>
                  <a:cubicBezTo>
                    <a:pt x="20916" y="58"/>
                    <a:pt x="20888" y="26"/>
                    <a:pt x="20869" y="16"/>
                  </a:cubicBezTo>
                  <a:cubicBezTo>
                    <a:pt x="20852" y="3"/>
                    <a:pt x="20829" y="-4"/>
                    <a:pt x="20818" y="2"/>
                  </a:cubicBezTo>
                  <a:cubicBezTo>
                    <a:pt x="20806" y="6"/>
                    <a:pt x="20771" y="44"/>
                    <a:pt x="20737" y="83"/>
                  </a:cubicBezTo>
                  <a:cubicBezTo>
                    <a:pt x="20703" y="122"/>
                    <a:pt x="20660" y="182"/>
                    <a:pt x="20643" y="217"/>
                  </a:cubicBezTo>
                  <a:cubicBezTo>
                    <a:pt x="20624" y="251"/>
                    <a:pt x="20548" y="353"/>
                    <a:pt x="20478" y="446"/>
                  </a:cubicBezTo>
                  <a:cubicBezTo>
                    <a:pt x="20405" y="537"/>
                    <a:pt x="20316" y="653"/>
                    <a:pt x="20281" y="705"/>
                  </a:cubicBezTo>
                  <a:cubicBezTo>
                    <a:pt x="20245" y="756"/>
                    <a:pt x="20214" y="826"/>
                    <a:pt x="20209" y="860"/>
                  </a:cubicBezTo>
                  <a:cubicBezTo>
                    <a:pt x="20205" y="894"/>
                    <a:pt x="20164" y="950"/>
                    <a:pt x="20118" y="985"/>
                  </a:cubicBezTo>
                  <a:cubicBezTo>
                    <a:pt x="20073" y="1021"/>
                    <a:pt x="20029" y="1088"/>
                    <a:pt x="20012" y="1133"/>
                  </a:cubicBezTo>
                  <a:cubicBezTo>
                    <a:pt x="19999" y="1180"/>
                    <a:pt x="19973" y="1258"/>
                    <a:pt x="19950" y="1306"/>
                  </a:cubicBezTo>
                  <a:cubicBezTo>
                    <a:pt x="19931" y="1355"/>
                    <a:pt x="19867" y="1451"/>
                    <a:pt x="19816" y="1524"/>
                  </a:cubicBezTo>
                  <a:cubicBezTo>
                    <a:pt x="19762" y="1594"/>
                    <a:pt x="19704" y="1666"/>
                    <a:pt x="19681" y="1678"/>
                  </a:cubicBezTo>
                  <a:cubicBezTo>
                    <a:pt x="19660" y="1691"/>
                    <a:pt x="19588" y="1765"/>
                    <a:pt x="19526" y="1847"/>
                  </a:cubicBezTo>
                  <a:cubicBezTo>
                    <a:pt x="19461" y="1926"/>
                    <a:pt x="19398" y="2018"/>
                    <a:pt x="19386" y="2051"/>
                  </a:cubicBezTo>
                  <a:cubicBezTo>
                    <a:pt x="19372" y="2082"/>
                    <a:pt x="19346" y="2127"/>
                    <a:pt x="19323" y="2144"/>
                  </a:cubicBezTo>
                  <a:cubicBezTo>
                    <a:pt x="19303" y="2165"/>
                    <a:pt x="19261" y="2177"/>
                    <a:pt x="19233" y="2174"/>
                  </a:cubicBezTo>
                  <a:cubicBezTo>
                    <a:pt x="19206" y="2171"/>
                    <a:pt x="19165" y="2169"/>
                    <a:pt x="19145" y="2177"/>
                  </a:cubicBezTo>
                  <a:cubicBezTo>
                    <a:pt x="19124" y="2182"/>
                    <a:pt x="19094" y="2200"/>
                    <a:pt x="19077" y="2217"/>
                  </a:cubicBezTo>
                  <a:cubicBezTo>
                    <a:pt x="19061" y="2234"/>
                    <a:pt x="19035" y="2252"/>
                    <a:pt x="19021" y="2258"/>
                  </a:cubicBezTo>
                  <a:cubicBezTo>
                    <a:pt x="19007" y="2265"/>
                    <a:pt x="18962" y="2311"/>
                    <a:pt x="18918" y="2360"/>
                  </a:cubicBezTo>
                  <a:cubicBezTo>
                    <a:pt x="18877" y="2411"/>
                    <a:pt x="18508" y="2503"/>
                    <a:pt x="18107" y="2572"/>
                  </a:cubicBezTo>
                  <a:cubicBezTo>
                    <a:pt x="18037" y="2584"/>
                    <a:pt x="17967" y="2596"/>
                    <a:pt x="17897" y="2608"/>
                  </a:cubicBezTo>
                  <a:cubicBezTo>
                    <a:pt x="17503" y="2674"/>
                    <a:pt x="17139" y="2747"/>
                    <a:pt x="17084" y="2768"/>
                  </a:cubicBezTo>
                  <a:cubicBezTo>
                    <a:pt x="17028" y="2788"/>
                    <a:pt x="16959" y="2839"/>
                    <a:pt x="16928" y="2877"/>
                  </a:cubicBezTo>
                  <a:cubicBezTo>
                    <a:pt x="16895" y="2915"/>
                    <a:pt x="16838" y="2971"/>
                    <a:pt x="16798" y="3000"/>
                  </a:cubicBezTo>
                  <a:cubicBezTo>
                    <a:pt x="16756" y="3027"/>
                    <a:pt x="16696" y="3083"/>
                    <a:pt x="16661" y="3121"/>
                  </a:cubicBezTo>
                  <a:cubicBezTo>
                    <a:pt x="16626" y="3159"/>
                    <a:pt x="16532" y="3270"/>
                    <a:pt x="16453" y="3368"/>
                  </a:cubicBezTo>
                  <a:cubicBezTo>
                    <a:pt x="16373" y="3465"/>
                    <a:pt x="16273" y="3558"/>
                    <a:pt x="16231" y="3577"/>
                  </a:cubicBezTo>
                  <a:cubicBezTo>
                    <a:pt x="16188" y="3595"/>
                    <a:pt x="16128" y="3637"/>
                    <a:pt x="16096" y="3670"/>
                  </a:cubicBezTo>
                  <a:cubicBezTo>
                    <a:pt x="16066" y="3704"/>
                    <a:pt x="15920" y="3852"/>
                    <a:pt x="15779" y="4003"/>
                  </a:cubicBezTo>
                  <a:cubicBezTo>
                    <a:pt x="15637" y="4152"/>
                    <a:pt x="15286" y="4410"/>
                    <a:pt x="14999" y="4573"/>
                  </a:cubicBezTo>
                  <a:cubicBezTo>
                    <a:pt x="14712" y="4734"/>
                    <a:pt x="14462" y="4952"/>
                    <a:pt x="14435" y="5053"/>
                  </a:cubicBezTo>
                  <a:cubicBezTo>
                    <a:pt x="14409" y="5153"/>
                    <a:pt x="14335" y="5269"/>
                    <a:pt x="14270" y="5309"/>
                  </a:cubicBezTo>
                  <a:cubicBezTo>
                    <a:pt x="14206" y="5351"/>
                    <a:pt x="13857" y="5546"/>
                    <a:pt x="13501" y="5746"/>
                  </a:cubicBezTo>
                  <a:cubicBezTo>
                    <a:pt x="13332" y="5841"/>
                    <a:pt x="13165" y="5938"/>
                    <a:pt x="12997" y="6033"/>
                  </a:cubicBezTo>
                  <a:cubicBezTo>
                    <a:pt x="12653" y="6232"/>
                    <a:pt x="12365" y="6348"/>
                    <a:pt x="12349" y="6294"/>
                  </a:cubicBezTo>
                  <a:cubicBezTo>
                    <a:pt x="12338" y="6239"/>
                    <a:pt x="12352" y="6151"/>
                    <a:pt x="12384" y="6098"/>
                  </a:cubicBezTo>
                  <a:cubicBezTo>
                    <a:pt x="12417" y="6045"/>
                    <a:pt x="12489" y="5963"/>
                    <a:pt x="12544" y="5915"/>
                  </a:cubicBezTo>
                  <a:cubicBezTo>
                    <a:pt x="12599" y="5869"/>
                    <a:pt x="12667" y="5792"/>
                    <a:pt x="12693" y="5746"/>
                  </a:cubicBezTo>
                  <a:cubicBezTo>
                    <a:pt x="12721" y="5701"/>
                    <a:pt x="12761" y="5626"/>
                    <a:pt x="12779" y="5579"/>
                  </a:cubicBezTo>
                  <a:cubicBezTo>
                    <a:pt x="12802" y="5533"/>
                    <a:pt x="12837" y="5455"/>
                    <a:pt x="12855" y="5404"/>
                  </a:cubicBezTo>
                  <a:cubicBezTo>
                    <a:pt x="12875" y="5353"/>
                    <a:pt x="12933" y="5095"/>
                    <a:pt x="12986" y="4831"/>
                  </a:cubicBezTo>
                  <a:cubicBezTo>
                    <a:pt x="13039" y="4568"/>
                    <a:pt x="13087" y="3969"/>
                    <a:pt x="13102" y="3503"/>
                  </a:cubicBezTo>
                  <a:cubicBezTo>
                    <a:pt x="13104" y="3374"/>
                    <a:pt x="13108" y="3245"/>
                    <a:pt x="13113" y="3116"/>
                  </a:cubicBezTo>
                  <a:cubicBezTo>
                    <a:pt x="13128" y="2655"/>
                    <a:pt x="13090" y="2223"/>
                    <a:pt x="13030" y="2149"/>
                  </a:cubicBezTo>
                  <a:cubicBezTo>
                    <a:pt x="12968" y="2078"/>
                    <a:pt x="12899" y="1977"/>
                    <a:pt x="12879" y="1926"/>
                  </a:cubicBezTo>
                  <a:cubicBezTo>
                    <a:pt x="12857" y="1875"/>
                    <a:pt x="12631" y="1732"/>
                    <a:pt x="12382" y="1608"/>
                  </a:cubicBezTo>
                  <a:cubicBezTo>
                    <a:pt x="12164" y="1500"/>
                    <a:pt x="11949" y="1395"/>
                    <a:pt x="11738" y="1290"/>
                  </a:cubicBezTo>
                  <a:cubicBezTo>
                    <a:pt x="11504" y="1173"/>
                    <a:pt x="11305" y="1067"/>
                    <a:pt x="11289" y="1055"/>
                  </a:cubicBezTo>
                  <a:cubicBezTo>
                    <a:pt x="11277" y="1039"/>
                    <a:pt x="11242" y="1027"/>
                    <a:pt x="11216" y="1027"/>
                  </a:cubicBezTo>
                  <a:cubicBezTo>
                    <a:pt x="11191" y="1026"/>
                    <a:pt x="11163" y="1014"/>
                    <a:pt x="11155" y="1000"/>
                  </a:cubicBezTo>
                  <a:cubicBezTo>
                    <a:pt x="11143" y="988"/>
                    <a:pt x="11095" y="982"/>
                    <a:pt x="11042" y="996"/>
                  </a:cubicBezTo>
                  <a:cubicBezTo>
                    <a:pt x="10989" y="1011"/>
                    <a:pt x="10942" y="996"/>
                    <a:pt x="10940" y="970"/>
                  </a:cubicBezTo>
                  <a:cubicBezTo>
                    <a:pt x="10936" y="944"/>
                    <a:pt x="10927" y="912"/>
                    <a:pt x="10919" y="898"/>
                  </a:cubicBezTo>
                  <a:cubicBezTo>
                    <a:pt x="10911" y="885"/>
                    <a:pt x="10886" y="894"/>
                    <a:pt x="10864" y="918"/>
                  </a:cubicBezTo>
                  <a:cubicBezTo>
                    <a:pt x="10842" y="942"/>
                    <a:pt x="10793" y="972"/>
                    <a:pt x="10756" y="986"/>
                  </a:cubicBezTo>
                  <a:cubicBezTo>
                    <a:pt x="10720" y="999"/>
                    <a:pt x="10678" y="1003"/>
                    <a:pt x="10663" y="997"/>
                  </a:cubicBezTo>
                  <a:cubicBezTo>
                    <a:pt x="10648" y="992"/>
                    <a:pt x="10629" y="967"/>
                    <a:pt x="10619" y="945"/>
                  </a:cubicBezTo>
                  <a:cubicBezTo>
                    <a:pt x="10608" y="923"/>
                    <a:pt x="10585" y="903"/>
                    <a:pt x="10565" y="900"/>
                  </a:cubicBezTo>
                  <a:cubicBezTo>
                    <a:pt x="10545" y="896"/>
                    <a:pt x="10501" y="887"/>
                    <a:pt x="10467" y="883"/>
                  </a:cubicBezTo>
                  <a:cubicBezTo>
                    <a:pt x="10433" y="875"/>
                    <a:pt x="10404" y="841"/>
                    <a:pt x="10401" y="805"/>
                  </a:cubicBezTo>
                  <a:cubicBezTo>
                    <a:pt x="10399" y="769"/>
                    <a:pt x="10384" y="743"/>
                    <a:pt x="10371" y="748"/>
                  </a:cubicBezTo>
                  <a:cubicBezTo>
                    <a:pt x="10357" y="753"/>
                    <a:pt x="10332" y="736"/>
                    <a:pt x="10312" y="713"/>
                  </a:cubicBezTo>
                  <a:cubicBezTo>
                    <a:pt x="10294" y="689"/>
                    <a:pt x="10260" y="678"/>
                    <a:pt x="10239" y="688"/>
                  </a:cubicBezTo>
                  <a:cubicBezTo>
                    <a:pt x="10217" y="697"/>
                    <a:pt x="10188" y="707"/>
                    <a:pt x="10173" y="701"/>
                  </a:cubicBezTo>
                  <a:cubicBezTo>
                    <a:pt x="10158" y="699"/>
                    <a:pt x="10129" y="710"/>
                    <a:pt x="10105" y="724"/>
                  </a:cubicBezTo>
                  <a:cubicBezTo>
                    <a:pt x="10084" y="741"/>
                    <a:pt x="10057" y="759"/>
                    <a:pt x="10047" y="766"/>
                  </a:cubicBezTo>
                  <a:cubicBezTo>
                    <a:pt x="10040" y="774"/>
                    <a:pt x="10029" y="761"/>
                    <a:pt x="10020" y="743"/>
                  </a:cubicBezTo>
                  <a:cubicBezTo>
                    <a:pt x="10014" y="723"/>
                    <a:pt x="9994" y="706"/>
                    <a:pt x="9973" y="704"/>
                  </a:cubicBezTo>
                  <a:cubicBezTo>
                    <a:pt x="9953" y="706"/>
                    <a:pt x="9937" y="694"/>
                    <a:pt x="9934" y="687"/>
                  </a:cubicBezTo>
                  <a:cubicBezTo>
                    <a:pt x="9934" y="680"/>
                    <a:pt x="9914" y="672"/>
                    <a:pt x="9897" y="665"/>
                  </a:cubicBezTo>
                  <a:cubicBezTo>
                    <a:pt x="9877" y="663"/>
                    <a:pt x="9859" y="654"/>
                    <a:pt x="9857" y="649"/>
                  </a:cubicBezTo>
                  <a:cubicBezTo>
                    <a:pt x="9853" y="646"/>
                    <a:pt x="9845" y="625"/>
                    <a:pt x="9836" y="605"/>
                  </a:cubicBezTo>
                  <a:cubicBezTo>
                    <a:pt x="9826" y="586"/>
                    <a:pt x="9822" y="559"/>
                    <a:pt x="9823" y="547"/>
                  </a:cubicBezTo>
                  <a:cubicBezTo>
                    <a:pt x="9824" y="535"/>
                    <a:pt x="9813" y="504"/>
                    <a:pt x="9795" y="481"/>
                  </a:cubicBezTo>
                  <a:cubicBezTo>
                    <a:pt x="9777" y="457"/>
                    <a:pt x="9744" y="443"/>
                    <a:pt x="9721" y="455"/>
                  </a:cubicBezTo>
                  <a:cubicBezTo>
                    <a:pt x="9696" y="464"/>
                    <a:pt x="9660" y="476"/>
                    <a:pt x="9641" y="479"/>
                  </a:cubicBezTo>
                  <a:cubicBezTo>
                    <a:pt x="9622" y="483"/>
                    <a:pt x="9398" y="526"/>
                    <a:pt x="9149" y="581"/>
                  </a:cubicBezTo>
                  <a:cubicBezTo>
                    <a:pt x="6610" y="1124"/>
                    <a:pt x="4555" y="1760"/>
                    <a:pt x="3016" y="2520"/>
                  </a:cubicBezTo>
                  <a:cubicBezTo>
                    <a:pt x="2895" y="2580"/>
                    <a:pt x="2791" y="2670"/>
                    <a:pt x="2779" y="2720"/>
                  </a:cubicBezTo>
                  <a:cubicBezTo>
                    <a:pt x="2769" y="2769"/>
                    <a:pt x="2768" y="2822"/>
                    <a:pt x="2768" y="2837"/>
                  </a:cubicBezTo>
                  <a:cubicBezTo>
                    <a:pt x="2776" y="2851"/>
                    <a:pt x="2772" y="2883"/>
                    <a:pt x="2764" y="2904"/>
                  </a:cubicBezTo>
                  <a:cubicBezTo>
                    <a:pt x="2758" y="2925"/>
                    <a:pt x="2742" y="2964"/>
                    <a:pt x="2727" y="2989"/>
                  </a:cubicBezTo>
                  <a:cubicBezTo>
                    <a:pt x="2713" y="3015"/>
                    <a:pt x="2697" y="3055"/>
                    <a:pt x="2692" y="3079"/>
                  </a:cubicBezTo>
                  <a:cubicBezTo>
                    <a:pt x="2687" y="3102"/>
                    <a:pt x="2689" y="3129"/>
                    <a:pt x="2689" y="3139"/>
                  </a:cubicBezTo>
                  <a:cubicBezTo>
                    <a:pt x="2694" y="3148"/>
                    <a:pt x="2688" y="3168"/>
                    <a:pt x="2683" y="3182"/>
                  </a:cubicBezTo>
                  <a:cubicBezTo>
                    <a:pt x="2676" y="3196"/>
                    <a:pt x="2661" y="3231"/>
                    <a:pt x="2649" y="3259"/>
                  </a:cubicBezTo>
                  <a:cubicBezTo>
                    <a:pt x="2636" y="3286"/>
                    <a:pt x="2629" y="3315"/>
                    <a:pt x="2629" y="3321"/>
                  </a:cubicBezTo>
                  <a:cubicBezTo>
                    <a:pt x="2629" y="3327"/>
                    <a:pt x="2626" y="3349"/>
                    <a:pt x="2622" y="3369"/>
                  </a:cubicBezTo>
                  <a:cubicBezTo>
                    <a:pt x="2617" y="3388"/>
                    <a:pt x="2614" y="3416"/>
                    <a:pt x="2614" y="3430"/>
                  </a:cubicBezTo>
                  <a:cubicBezTo>
                    <a:pt x="2617" y="3443"/>
                    <a:pt x="2601" y="3485"/>
                    <a:pt x="2585" y="3521"/>
                  </a:cubicBezTo>
                  <a:cubicBezTo>
                    <a:pt x="2570" y="3558"/>
                    <a:pt x="2545" y="3605"/>
                    <a:pt x="2533" y="3628"/>
                  </a:cubicBezTo>
                  <a:cubicBezTo>
                    <a:pt x="2520" y="3650"/>
                    <a:pt x="2500" y="3701"/>
                    <a:pt x="2487" y="3740"/>
                  </a:cubicBezTo>
                  <a:cubicBezTo>
                    <a:pt x="2474" y="3780"/>
                    <a:pt x="2457" y="3829"/>
                    <a:pt x="2447" y="3848"/>
                  </a:cubicBezTo>
                  <a:cubicBezTo>
                    <a:pt x="2437" y="3868"/>
                    <a:pt x="2419" y="3910"/>
                    <a:pt x="2413" y="3945"/>
                  </a:cubicBezTo>
                  <a:cubicBezTo>
                    <a:pt x="2403" y="3978"/>
                    <a:pt x="2388" y="4024"/>
                    <a:pt x="2378" y="4047"/>
                  </a:cubicBezTo>
                  <a:cubicBezTo>
                    <a:pt x="2368" y="4069"/>
                    <a:pt x="2353" y="4110"/>
                    <a:pt x="2342" y="4138"/>
                  </a:cubicBezTo>
                  <a:cubicBezTo>
                    <a:pt x="2332" y="4167"/>
                    <a:pt x="2309" y="4213"/>
                    <a:pt x="2295" y="4244"/>
                  </a:cubicBezTo>
                  <a:cubicBezTo>
                    <a:pt x="2278" y="4272"/>
                    <a:pt x="2263" y="4291"/>
                    <a:pt x="2257" y="4284"/>
                  </a:cubicBezTo>
                  <a:cubicBezTo>
                    <a:pt x="2252" y="4277"/>
                    <a:pt x="2245" y="4260"/>
                    <a:pt x="2251" y="4248"/>
                  </a:cubicBezTo>
                  <a:cubicBezTo>
                    <a:pt x="2249" y="4235"/>
                    <a:pt x="2264" y="4198"/>
                    <a:pt x="2278" y="4166"/>
                  </a:cubicBezTo>
                  <a:cubicBezTo>
                    <a:pt x="2290" y="4133"/>
                    <a:pt x="2301" y="4116"/>
                    <a:pt x="2301" y="4126"/>
                  </a:cubicBezTo>
                  <a:cubicBezTo>
                    <a:pt x="2299" y="4136"/>
                    <a:pt x="2308" y="4128"/>
                    <a:pt x="2319" y="4107"/>
                  </a:cubicBezTo>
                  <a:cubicBezTo>
                    <a:pt x="2329" y="4085"/>
                    <a:pt x="2335" y="4086"/>
                    <a:pt x="2330" y="4108"/>
                  </a:cubicBezTo>
                  <a:cubicBezTo>
                    <a:pt x="2325" y="4129"/>
                    <a:pt x="2327" y="4137"/>
                    <a:pt x="2332" y="4123"/>
                  </a:cubicBezTo>
                  <a:cubicBezTo>
                    <a:pt x="2337" y="4110"/>
                    <a:pt x="2353" y="4070"/>
                    <a:pt x="2361" y="4032"/>
                  </a:cubicBezTo>
                  <a:cubicBezTo>
                    <a:pt x="2372" y="3995"/>
                    <a:pt x="2388" y="3931"/>
                    <a:pt x="2406" y="3893"/>
                  </a:cubicBezTo>
                  <a:cubicBezTo>
                    <a:pt x="2420" y="3853"/>
                    <a:pt x="2443" y="3800"/>
                    <a:pt x="2455" y="3775"/>
                  </a:cubicBezTo>
                  <a:cubicBezTo>
                    <a:pt x="2469" y="3750"/>
                    <a:pt x="2484" y="3711"/>
                    <a:pt x="2487" y="3688"/>
                  </a:cubicBezTo>
                  <a:cubicBezTo>
                    <a:pt x="2494" y="3665"/>
                    <a:pt x="2492" y="3652"/>
                    <a:pt x="2486" y="3659"/>
                  </a:cubicBezTo>
                  <a:cubicBezTo>
                    <a:pt x="2479" y="3665"/>
                    <a:pt x="2461" y="3699"/>
                    <a:pt x="2444" y="3733"/>
                  </a:cubicBezTo>
                  <a:cubicBezTo>
                    <a:pt x="2428" y="3767"/>
                    <a:pt x="2405" y="3810"/>
                    <a:pt x="2398" y="3832"/>
                  </a:cubicBezTo>
                  <a:cubicBezTo>
                    <a:pt x="2389" y="3852"/>
                    <a:pt x="2376" y="3874"/>
                    <a:pt x="2369" y="3880"/>
                  </a:cubicBezTo>
                  <a:cubicBezTo>
                    <a:pt x="2363" y="3887"/>
                    <a:pt x="2358" y="3878"/>
                    <a:pt x="2363" y="3863"/>
                  </a:cubicBezTo>
                  <a:cubicBezTo>
                    <a:pt x="2367" y="3847"/>
                    <a:pt x="2384" y="3807"/>
                    <a:pt x="2401" y="3772"/>
                  </a:cubicBezTo>
                  <a:cubicBezTo>
                    <a:pt x="2417" y="3737"/>
                    <a:pt x="2439" y="3691"/>
                    <a:pt x="2455" y="3673"/>
                  </a:cubicBezTo>
                  <a:cubicBezTo>
                    <a:pt x="2466" y="3652"/>
                    <a:pt x="2486" y="3622"/>
                    <a:pt x="2493" y="3602"/>
                  </a:cubicBezTo>
                  <a:cubicBezTo>
                    <a:pt x="2498" y="3582"/>
                    <a:pt x="2512" y="3554"/>
                    <a:pt x="2509" y="3538"/>
                  </a:cubicBezTo>
                  <a:cubicBezTo>
                    <a:pt x="2509" y="3522"/>
                    <a:pt x="2508" y="3511"/>
                    <a:pt x="2504" y="3514"/>
                  </a:cubicBezTo>
                  <a:cubicBezTo>
                    <a:pt x="2501" y="3518"/>
                    <a:pt x="2488" y="3525"/>
                    <a:pt x="2485" y="3536"/>
                  </a:cubicBezTo>
                  <a:cubicBezTo>
                    <a:pt x="2477" y="3545"/>
                    <a:pt x="2476" y="3535"/>
                    <a:pt x="2478" y="3512"/>
                  </a:cubicBezTo>
                  <a:cubicBezTo>
                    <a:pt x="2478" y="3488"/>
                    <a:pt x="2481" y="3461"/>
                    <a:pt x="2473" y="3459"/>
                  </a:cubicBezTo>
                  <a:cubicBezTo>
                    <a:pt x="2470" y="3452"/>
                    <a:pt x="2449" y="3460"/>
                    <a:pt x="2428" y="3471"/>
                  </a:cubicBezTo>
                  <a:cubicBezTo>
                    <a:pt x="2406" y="3482"/>
                    <a:pt x="2387" y="3481"/>
                    <a:pt x="2381" y="3467"/>
                  </a:cubicBezTo>
                  <a:cubicBezTo>
                    <a:pt x="2375" y="3453"/>
                    <a:pt x="2368" y="3407"/>
                    <a:pt x="2360" y="3365"/>
                  </a:cubicBezTo>
                  <a:cubicBezTo>
                    <a:pt x="2353" y="3323"/>
                    <a:pt x="2348" y="3295"/>
                    <a:pt x="2342" y="3299"/>
                  </a:cubicBezTo>
                  <a:cubicBezTo>
                    <a:pt x="2339" y="3306"/>
                    <a:pt x="2325" y="3335"/>
                    <a:pt x="2318" y="3366"/>
                  </a:cubicBezTo>
                  <a:cubicBezTo>
                    <a:pt x="2309" y="3397"/>
                    <a:pt x="2282" y="3471"/>
                    <a:pt x="2261" y="3531"/>
                  </a:cubicBezTo>
                  <a:cubicBezTo>
                    <a:pt x="2238" y="3590"/>
                    <a:pt x="2215" y="3661"/>
                    <a:pt x="2209" y="3687"/>
                  </a:cubicBezTo>
                  <a:cubicBezTo>
                    <a:pt x="2200" y="3713"/>
                    <a:pt x="2189" y="3776"/>
                    <a:pt x="2180" y="3826"/>
                  </a:cubicBezTo>
                  <a:cubicBezTo>
                    <a:pt x="2173" y="3877"/>
                    <a:pt x="2145" y="3983"/>
                    <a:pt x="2119" y="4062"/>
                  </a:cubicBezTo>
                  <a:cubicBezTo>
                    <a:pt x="2096" y="4141"/>
                    <a:pt x="2069" y="4236"/>
                    <a:pt x="2061" y="4273"/>
                  </a:cubicBezTo>
                  <a:cubicBezTo>
                    <a:pt x="2054" y="4309"/>
                    <a:pt x="2041" y="4372"/>
                    <a:pt x="2027" y="4410"/>
                  </a:cubicBezTo>
                  <a:cubicBezTo>
                    <a:pt x="2018" y="4450"/>
                    <a:pt x="2000" y="4496"/>
                    <a:pt x="1998" y="4515"/>
                  </a:cubicBezTo>
                  <a:cubicBezTo>
                    <a:pt x="1993" y="4534"/>
                    <a:pt x="1995" y="4549"/>
                    <a:pt x="1999" y="4551"/>
                  </a:cubicBezTo>
                  <a:cubicBezTo>
                    <a:pt x="2003" y="4552"/>
                    <a:pt x="2009" y="4561"/>
                    <a:pt x="2003" y="4571"/>
                  </a:cubicBezTo>
                  <a:cubicBezTo>
                    <a:pt x="2003" y="4581"/>
                    <a:pt x="1994" y="4606"/>
                    <a:pt x="1985" y="4626"/>
                  </a:cubicBezTo>
                  <a:cubicBezTo>
                    <a:pt x="1976" y="4645"/>
                    <a:pt x="1966" y="4665"/>
                    <a:pt x="1962" y="4669"/>
                  </a:cubicBezTo>
                  <a:cubicBezTo>
                    <a:pt x="1957" y="4672"/>
                    <a:pt x="1948" y="4696"/>
                    <a:pt x="1939" y="4721"/>
                  </a:cubicBezTo>
                  <a:cubicBezTo>
                    <a:pt x="1931" y="4747"/>
                    <a:pt x="1924" y="4776"/>
                    <a:pt x="1924" y="4786"/>
                  </a:cubicBezTo>
                  <a:cubicBezTo>
                    <a:pt x="1924" y="4796"/>
                    <a:pt x="1930" y="4807"/>
                    <a:pt x="1933" y="4812"/>
                  </a:cubicBezTo>
                  <a:cubicBezTo>
                    <a:pt x="1940" y="4814"/>
                    <a:pt x="1934" y="4840"/>
                    <a:pt x="1927" y="4865"/>
                  </a:cubicBezTo>
                  <a:cubicBezTo>
                    <a:pt x="1920" y="4890"/>
                    <a:pt x="1907" y="4934"/>
                    <a:pt x="1899" y="4963"/>
                  </a:cubicBezTo>
                  <a:cubicBezTo>
                    <a:pt x="1893" y="4993"/>
                    <a:pt x="1877" y="5036"/>
                    <a:pt x="1866" y="5061"/>
                  </a:cubicBezTo>
                  <a:cubicBezTo>
                    <a:pt x="1856" y="5085"/>
                    <a:pt x="1845" y="5104"/>
                    <a:pt x="1844" y="5102"/>
                  </a:cubicBezTo>
                  <a:cubicBezTo>
                    <a:pt x="1841" y="5102"/>
                    <a:pt x="1836" y="5110"/>
                    <a:pt x="1829" y="5124"/>
                  </a:cubicBezTo>
                  <a:cubicBezTo>
                    <a:pt x="1822" y="5138"/>
                    <a:pt x="1815" y="5162"/>
                    <a:pt x="1813" y="5178"/>
                  </a:cubicBezTo>
                  <a:cubicBezTo>
                    <a:pt x="1811" y="5194"/>
                    <a:pt x="1815" y="5210"/>
                    <a:pt x="1825" y="5208"/>
                  </a:cubicBezTo>
                  <a:cubicBezTo>
                    <a:pt x="1835" y="5210"/>
                    <a:pt x="1854" y="5207"/>
                    <a:pt x="1865" y="5200"/>
                  </a:cubicBezTo>
                  <a:cubicBezTo>
                    <a:pt x="1876" y="5192"/>
                    <a:pt x="1887" y="5201"/>
                    <a:pt x="1892" y="5216"/>
                  </a:cubicBezTo>
                  <a:cubicBezTo>
                    <a:pt x="1893" y="5230"/>
                    <a:pt x="1904" y="5237"/>
                    <a:pt x="1912" y="5239"/>
                  </a:cubicBezTo>
                  <a:cubicBezTo>
                    <a:pt x="1920" y="5236"/>
                    <a:pt x="1928" y="5249"/>
                    <a:pt x="1928" y="5265"/>
                  </a:cubicBezTo>
                  <a:cubicBezTo>
                    <a:pt x="1928" y="5281"/>
                    <a:pt x="1922" y="5324"/>
                    <a:pt x="1915" y="5360"/>
                  </a:cubicBezTo>
                  <a:cubicBezTo>
                    <a:pt x="1908" y="5395"/>
                    <a:pt x="1907" y="5400"/>
                    <a:pt x="1909" y="5369"/>
                  </a:cubicBezTo>
                  <a:cubicBezTo>
                    <a:pt x="1914" y="5339"/>
                    <a:pt x="1910" y="5306"/>
                    <a:pt x="1907" y="5295"/>
                  </a:cubicBezTo>
                  <a:cubicBezTo>
                    <a:pt x="1901" y="5286"/>
                    <a:pt x="1894" y="5284"/>
                    <a:pt x="1887" y="5291"/>
                  </a:cubicBezTo>
                  <a:cubicBezTo>
                    <a:pt x="1880" y="5298"/>
                    <a:pt x="1873" y="5295"/>
                    <a:pt x="1870" y="5285"/>
                  </a:cubicBezTo>
                  <a:cubicBezTo>
                    <a:pt x="1870" y="5275"/>
                    <a:pt x="1850" y="5274"/>
                    <a:pt x="1836" y="5284"/>
                  </a:cubicBezTo>
                  <a:cubicBezTo>
                    <a:pt x="1820" y="5292"/>
                    <a:pt x="1807" y="5294"/>
                    <a:pt x="1805" y="5285"/>
                  </a:cubicBezTo>
                  <a:cubicBezTo>
                    <a:pt x="1805" y="5276"/>
                    <a:pt x="1798" y="5277"/>
                    <a:pt x="1792" y="5286"/>
                  </a:cubicBezTo>
                  <a:cubicBezTo>
                    <a:pt x="1787" y="5296"/>
                    <a:pt x="1780" y="5323"/>
                    <a:pt x="1774" y="5347"/>
                  </a:cubicBezTo>
                  <a:cubicBezTo>
                    <a:pt x="1767" y="5370"/>
                    <a:pt x="1749" y="5427"/>
                    <a:pt x="1730" y="5473"/>
                  </a:cubicBezTo>
                  <a:cubicBezTo>
                    <a:pt x="1710" y="5518"/>
                    <a:pt x="1693" y="5575"/>
                    <a:pt x="1687" y="5597"/>
                  </a:cubicBezTo>
                  <a:cubicBezTo>
                    <a:pt x="1681" y="5620"/>
                    <a:pt x="1673" y="5656"/>
                    <a:pt x="1670" y="5677"/>
                  </a:cubicBezTo>
                  <a:cubicBezTo>
                    <a:pt x="1666" y="5698"/>
                    <a:pt x="1650" y="5753"/>
                    <a:pt x="1632" y="5799"/>
                  </a:cubicBezTo>
                  <a:cubicBezTo>
                    <a:pt x="1615" y="5845"/>
                    <a:pt x="1591" y="5913"/>
                    <a:pt x="1579" y="5949"/>
                  </a:cubicBezTo>
                  <a:cubicBezTo>
                    <a:pt x="1570" y="5986"/>
                    <a:pt x="1531" y="6097"/>
                    <a:pt x="1497" y="6197"/>
                  </a:cubicBezTo>
                  <a:cubicBezTo>
                    <a:pt x="1466" y="6298"/>
                    <a:pt x="1424" y="6436"/>
                    <a:pt x="1406" y="6504"/>
                  </a:cubicBezTo>
                  <a:cubicBezTo>
                    <a:pt x="1388" y="6573"/>
                    <a:pt x="1351" y="6695"/>
                    <a:pt x="1326" y="6775"/>
                  </a:cubicBezTo>
                  <a:cubicBezTo>
                    <a:pt x="1298" y="6854"/>
                    <a:pt x="1260" y="6988"/>
                    <a:pt x="1239" y="7071"/>
                  </a:cubicBezTo>
                  <a:cubicBezTo>
                    <a:pt x="1219" y="7155"/>
                    <a:pt x="1192" y="7258"/>
                    <a:pt x="1176" y="7301"/>
                  </a:cubicBezTo>
                  <a:cubicBezTo>
                    <a:pt x="1162" y="7345"/>
                    <a:pt x="1138" y="7411"/>
                    <a:pt x="1123" y="7450"/>
                  </a:cubicBezTo>
                  <a:cubicBezTo>
                    <a:pt x="1110" y="7490"/>
                    <a:pt x="1082" y="7564"/>
                    <a:pt x="1068" y="7619"/>
                  </a:cubicBezTo>
                  <a:cubicBezTo>
                    <a:pt x="1051" y="7672"/>
                    <a:pt x="1034" y="7732"/>
                    <a:pt x="1026" y="7750"/>
                  </a:cubicBezTo>
                  <a:cubicBezTo>
                    <a:pt x="1019" y="7769"/>
                    <a:pt x="1005" y="7810"/>
                    <a:pt x="996" y="7843"/>
                  </a:cubicBezTo>
                  <a:cubicBezTo>
                    <a:pt x="987" y="7875"/>
                    <a:pt x="965" y="7950"/>
                    <a:pt x="941" y="8007"/>
                  </a:cubicBezTo>
                  <a:cubicBezTo>
                    <a:pt x="921" y="8065"/>
                    <a:pt x="898" y="8137"/>
                    <a:pt x="888" y="8165"/>
                  </a:cubicBezTo>
                  <a:cubicBezTo>
                    <a:pt x="878" y="8193"/>
                    <a:pt x="863" y="8264"/>
                    <a:pt x="853" y="8321"/>
                  </a:cubicBezTo>
                  <a:cubicBezTo>
                    <a:pt x="842" y="8378"/>
                    <a:pt x="822" y="8476"/>
                    <a:pt x="805" y="8537"/>
                  </a:cubicBezTo>
                  <a:cubicBezTo>
                    <a:pt x="790" y="8597"/>
                    <a:pt x="769" y="8680"/>
                    <a:pt x="761" y="8720"/>
                  </a:cubicBezTo>
                  <a:cubicBezTo>
                    <a:pt x="753" y="8760"/>
                    <a:pt x="745" y="8817"/>
                    <a:pt x="745" y="8846"/>
                  </a:cubicBezTo>
                  <a:cubicBezTo>
                    <a:pt x="745" y="8875"/>
                    <a:pt x="738" y="8916"/>
                    <a:pt x="731" y="8936"/>
                  </a:cubicBezTo>
                  <a:cubicBezTo>
                    <a:pt x="724" y="8956"/>
                    <a:pt x="714" y="8992"/>
                    <a:pt x="709" y="9017"/>
                  </a:cubicBezTo>
                  <a:cubicBezTo>
                    <a:pt x="705" y="9041"/>
                    <a:pt x="697" y="9090"/>
                    <a:pt x="692" y="9126"/>
                  </a:cubicBezTo>
                  <a:cubicBezTo>
                    <a:pt x="689" y="9161"/>
                    <a:pt x="672" y="9243"/>
                    <a:pt x="660" y="9307"/>
                  </a:cubicBezTo>
                  <a:cubicBezTo>
                    <a:pt x="643" y="9371"/>
                    <a:pt x="625" y="9454"/>
                    <a:pt x="615" y="9492"/>
                  </a:cubicBezTo>
                  <a:cubicBezTo>
                    <a:pt x="602" y="9528"/>
                    <a:pt x="591" y="9576"/>
                    <a:pt x="582" y="9595"/>
                  </a:cubicBezTo>
                  <a:cubicBezTo>
                    <a:pt x="574" y="9614"/>
                    <a:pt x="566" y="9646"/>
                    <a:pt x="564" y="9665"/>
                  </a:cubicBezTo>
                  <a:cubicBezTo>
                    <a:pt x="561" y="9684"/>
                    <a:pt x="568" y="9709"/>
                    <a:pt x="562" y="9709"/>
                  </a:cubicBezTo>
                  <a:cubicBezTo>
                    <a:pt x="565" y="9713"/>
                    <a:pt x="553" y="9753"/>
                    <a:pt x="544" y="9797"/>
                  </a:cubicBezTo>
                  <a:cubicBezTo>
                    <a:pt x="533" y="9841"/>
                    <a:pt x="507" y="9908"/>
                    <a:pt x="491" y="9947"/>
                  </a:cubicBezTo>
                  <a:cubicBezTo>
                    <a:pt x="474" y="9987"/>
                    <a:pt x="450" y="10049"/>
                    <a:pt x="439" y="10088"/>
                  </a:cubicBezTo>
                  <a:cubicBezTo>
                    <a:pt x="429" y="10126"/>
                    <a:pt x="416" y="10185"/>
                    <a:pt x="409" y="10219"/>
                  </a:cubicBezTo>
                  <a:cubicBezTo>
                    <a:pt x="405" y="10254"/>
                    <a:pt x="397" y="10308"/>
                    <a:pt x="399" y="10341"/>
                  </a:cubicBezTo>
                  <a:cubicBezTo>
                    <a:pt x="401" y="10373"/>
                    <a:pt x="398" y="10442"/>
                    <a:pt x="394" y="10495"/>
                  </a:cubicBezTo>
                  <a:cubicBezTo>
                    <a:pt x="392" y="10548"/>
                    <a:pt x="378" y="10642"/>
                    <a:pt x="369" y="10704"/>
                  </a:cubicBezTo>
                  <a:cubicBezTo>
                    <a:pt x="358" y="10766"/>
                    <a:pt x="345" y="10846"/>
                    <a:pt x="338" y="10882"/>
                  </a:cubicBezTo>
                  <a:cubicBezTo>
                    <a:pt x="332" y="10917"/>
                    <a:pt x="317" y="10971"/>
                    <a:pt x="308" y="11002"/>
                  </a:cubicBezTo>
                  <a:cubicBezTo>
                    <a:pt x="300" y="11034"/>
                    <a:pt x="287" y="11070"/>
                    <a:pt x="287" y="11084"/>
                  </a:cubicBezTo>
                  <a:cubicBezTo>
                    <a:pt x="282" y="11098"/>
                    <a:pt x="283" y="11131"/>
                    <a:pt x="281" y="11156"/>
                  </a:cubicBezTo>
                  <a:cubicBezTo>
                    <a:pt x="279" y="11181"/>
                    <a:pt x="273" y="11226"/>
                    <a:pt x="271" y="11257"/>
                  </a:cubicBezTo>
                  <a:cubicBezTo>
                    <a:pt x="266" y="11288"/>
                    <a:pt x="258" y="11334"/>
                    <a:pt x="250" y="11360"/>
                  </a:cubicBezTo>
                  <a:cubicBezTo>
                    <a:pt x="247" y="11386"/>
                    <a:pt x="233" y="11423"/>
                    <a:pt x="229" y="11444"/>
                  </a:cubicBezTo>
                  <a:cubicBezTo>
                    <a:pt x="223" y="11465"/>
                    <a:pt x="220" y="11496"/>
                    <a:pt x="218" y="11513"/>
                  </a:cubicBezTo>
                  <a:cubicBezTo>
                    <a:pt x="216" y="11530"/>
                    <a:pt x="218" y="11618"/>
                    <a:pt x="218" y="11708"/>
                  </a:cubicBezTo>
                  <a:cubicBezTo>
                    <a:pt x="218" y="11799"/>
                    <a:pt x="219" y="11898"/>
                    <a:pt x="214" y="11927"/>
                  </a:cubicBezTo>
                  <a:cubicBezTo>
                    <a:pt x="213" y="11957"/>
                    <a:pt x="204" y="11998"/>
                    <a:pt x="199" y="12019"/>
                  </a:cubicBezTo>
                  <a:cubicBezTo>
                    <a:pt x="193" y="12039"/>
                    <a:pt x="187" y="12073"/>
                    <a:pt x="187" y="12095"/>
                  </a:cubicBezTo>
                  <a:cubicBezTo>
                    <a:pt x="187" y="12116"/>
                    <a:pt x="186" y="12158"/>
                    <a:pt x="192" y="12186"/>
                  </a:cubicBezTo>
                  <a:cubicBezTo>
                    <a:pt x="195" y="12215"/>
                    <a:pt x="198" y="12251"/>
                    <a:pt x="198" y="12266"/>
                  </a:cubicBezTo>
                  <a:cubicBezTo>
                    <a:pt x="198" y="12281"/>
                    <a:pt x="200" y="12291"/>
                    <a:pt x="203" y="12288"/>
                  </a:cubicBezTo>
                  <a:cubicBezTo>
                    <a:pt x="204" y="12284"/>
                    <a:pt x="212" y="12286"/>
                    <a:pt x="212" y="12289"/>
                  </a:cubicBezTo>
                  <a:cubicBezTo>
                    <a:pt x="214" y="12292"/>
                    <a:pt x="218" y="12267"/>
                    <a:pt x="223" y="12233"/>
                  </a:cubicBezTo>
                  <a:cubicBezTo>
                    <a:pt x="228" y="12199"/>
                    <a:pt x="241" y="12143"/>
                    <a:pt x="243" y="12108"/>
                  </a:cubicBezTo>
                  <a:cubicBezTo>
                    <a:pt x="250" y="12073"/>
                    <a:pt x="256" y="12051"/>
                    <a:pt x="259" y="12061"/>
                  </a:cubicBezTo>
                  <a:cubicBezTo>
                    <a:pt x="262" y="12071"/>
                    <a:pt x="271" y="12072"/>
                    <a:pt x="271" y="12064"/>
                  </a:cubicBezTo>
                  <a:cubicBezTo>
                    <a:pt x="276" y="12056"/>
                    <a:pt x="276" y="12059"/>
                    <a:pt x="275" y="12071"/>
                  </a:cubicBezTo>
                  <a:cubicBezTo>
                    <a:pt x="275" y="12083"/>
                    <a:pt x="278" y="12087"/>
                    <a:pt x="285" y="12089"/>
                  </a:cubicBezTo>
                  <a:cubicBezTo>
                    <a:pt x="292" y="12091"/>
                    <a:pt x="298" y="12093"/>
                    <a:pt x="298" y="12103"/>
                  </a:cubicBezTo>
                  <a:cubicBezTo>
                    <a:pt x="299" y="12113"/>
                    <a:pt x="307" y="12117"/>
                    <a:pt x="317" y="12119"/>
                  </a:cubicBezTo>
                  <a:cubicBezTo>
                    <a:pt x="326" y="12116"/>
                    <a:pt x="328" y="12127"/>
                    <a:pt x="319" y="12137"/>
                  </a:cubicBezTo>
                  <a:cubicBezTo>
                    <a:pt x="310" y="12148"/>
                    <a:pt x="296" y="12166"/>
                    <a:pt x="288" y="12178"/>
                  </a:cubicBezTo>
                  <a:cubicBezTo>
                    <a:pt x="279" y="12190"/>
                    <a:pt x="270" y="12193"/>
                    <a:pt x="270" y="12184"/>
                  </a:cubicBezTo>
                  <a:cubicBezTo>
                    <a:pt x="269" y="12176"/>
                    <a:pt x="264" y="12169"/>
                    <a:pt x="261" y="12172"/>
                  </a:cubicBezTo>
                  <a:cubicBezTo>
                    <a:pt x="256" y="12172"/>
                    <a:pt x="251" y="12193"/>
                    <a:pt x="247" y="12215"/>
                  </a:cubicBezTo>
                  <a:cubicBezTo>
                    <a:pt x="245" y="12237"/>
                    <a:pt x="241" y="12261"/>
                    <a:pt x="244" y="12268"/>
                  </a:cubicBezTo>
                  <a:cubicBezTo>
                    <a:pt x="246" y="12276"/>
                    <a:pt x="242" y="12315"/>
                    <a:pt x="239" y="12355"/>
                  </a:cubicBezTo>
                  <a:cubicBezTo>
                    <a:pt x="233" y="12395"/>
                    <a:pt x="230" y="12447"/>
                    <a:pt x="229" y="12469"/>
                  </a:cubicBezTo>
                  <a:cubicBezTo>
                    <a:pt x="227" y="12492"/>
                    <a:pt x="229" y="12520"/>
                    <a:pt x="229" y="12532"/>
                  </a:cubicBezTo>
                  <a:cubicBezTo>
                    <a:pt x="229" y="12544"/>
                    <a:pt x="228" y="12545"/>
                    <a:pt x="221" y="12536"/>
                  </a:cubicBezTo>
                  <a:cubicBezTo>
                    <a:pt x="218" y="12525"/>
                    <a:pt x="211" y="12496"/>
                    <a:pt x="213" y="12470"/>
                  </a:cubicBezTo>
                  <a:cubicBezTo>
                    <a:pt x="213" y="12443"/>
                    <a:pt x="213" y="12415"/>
                    <a:pt x="210" y="12408"/>
                  </a:cubicBezTo>
                  <a:cubicBezTo>
                    <a:pt x="207" y="12401"/>
                    <a:pt x="200" y="12409"/>
                    <a:pt x="196" y="12427"/>
                  </a:cubicBezTo>
                  <a:cubicBezTo>
                    <a:pt x="190" y="12444"/>
                    <a:pt x="183" y="12474"/>
                    <a:pt x="183" y="12493"/>
                  </a:cubicBezTo>
                  <a:cubicBezTo>
                    <a:pt x="181" y="12512"/>
                    <a:pt x="177" y="12542"/>
                    <a:pt x="169" y="12558"/>
                  </a:cubicBezTo>
                  <a:cubicBezTo>
                    <a:pt x="164" y="12575"/>
                    <a:pt x="156" y="12600"/>
                    <a:pt x="156" y="12614"/>
                  </a:cubicBezTo>
                  <a:cubicBezTo>
                    <a:pt x="151" y="12628"/>
                    <a:pt x="147" y="12664"/>
                    <a:pt x="142" y="12694"/>
                  </a:cubicBezTo>
                  <a:cubicBezTo>
                    <a:pt x="135" y="12723"/>
                    <a:pt x="130" y="12767"/>
                    <a:pt x="126" y="12792"/>
                  </a:cubicBezTo>
                  <a:cubicBezTo>
                    <a:pt x="123" y="12817"/>
                    <a:pt x="124" y="12841"/>
                    <a:pt x="126" y="12848"/>
                  </a:cubicBezTo>
                  <a:cubicBezTo>
                    <a:pt x="129" y="12854"/>
                    <a:pt x="129" y="12883"/>
                    <a:pt x="127" y="12913"/>
                  </a:cubicBezTo>
                  <a:cubicBezTo>
                    <a:pt x="125" y="12943"/>
                    <a:pt x="125" y="12977"/>
                    <a:pt x="130" y="12988"/>
                  </a:cubicBezTo>
                  <a:cubicBezTo>
                    <a:pt x="134" y="13000"/>
                    <a:pt x="142" y="13021"/>
                    <a:pt x="142" y="13037"/>
                  </a:cubicBezTo>
                  <a:cubicBezTo>
                    <a:pt x="148" y="13050"/>
                    <a:pt x="143" y="13084"/>
                    <a:pt x="140" y="13109"/>
                  </a:cubicBezTo>
                  <a:cubicBezTo>
                    <a:pt x="136" y="13134"/>
                    <a:pt x="130" y="13176"/>
                    <a:pt x="119" y="13201"/>
                  </a:cubicBezTo>
                  <a:cubicBezTo>
                    <a:pt x="113" y="13227"/>
                    <a:pt x="101" y="13246"/>
                    <a:pt x="97" y="13246"/>
                  </a:cubicBezTo>
                  <a:cubicBezTo>
                    <a:pt x="94" y="13246"/>
                    <a:pt x="91" y="13257"/>
                    <a:pt x="88" y="13270"/>
                  </a:cubicBezTo>
                  <a:cubicBezTo>
                    <a:pt x="85" y="13284"/>
                    <a:pt x="78" y="13322"/>
                    <a:pt x="79" y="13354"/>
                  </a:cubicBezTo>
                  <a:cubicBezTo>
                    <a:pt x="74" y="13386"/>
                    <a:pt x="72" y="13437"/>
                    <a:pt x="67" y="13467"/>
                  </a:cubicBezTo>
                  <a:cubicBezTo>
                    <a:pt x="63" y="13497"/>
                    <a:pt x="58" y="13537"/>
                    <a:pt x="56" y="13556"/>
                  </a:cubicBezTo>
                  <a:cubicBezTo>
                    <a:pt x="56" y="13575"/>
                    <a:pt x="58" y="13603"/>
                    <a:pt x="62" y="13618"/>
                  </a:cubicBezTo>
                  <a:cubicBezTo>
                    <a:pt x="66" y="13633"/>
                    <a:pt x="63" y="13690"/>
                    <a:pt x="60" y="13744"/>
                  </a:cubicBezTo>
                  <a:cubicBezTo>
                    <a:pt x="53" y="13798"/>
                    <a:pt x="48" y="13898"/>
                    <a:pt x="50" y="13965"/>
                  </a:cubicBezTo>
                  <a:cubicBezTo>
                    <a:pt x="46" y="14032"/>
                    <a:pt x="50" y="14113"/>
                    <a:pt x="54" y="14143"/>
                  </a:cubicBezTo>
                  <a:cubicBezTo>
                    <a:pt x="55" y="14174"/>
                    <a:pt x="62" y="14206"/>
                    <a:pt x="62" y="14215"/>
                  </a:cubicBezTo>
                  <a:cubicBezTo>
                    <a:pt x="69" y="14221"/>
                    <a:pt x="64" y="14241"/>
                    <a:pt x="61" y="14252"/>
                  </a:cubicBezTo>
                  <a:cubicBezTo>
                    <a:pt x="57" y="14264"/>
                    <a:pt x="54" y="14280"/>
                    <a:pt x="54" y="14289"/>
                  </a:cubicBezTo>
                  <a:cubicBezTo>
                    <a:pt x="52" y="14297"/>
                    <a:pt x="56" y="14326"/>
                    <a:pt x="60" y="14353"/>
                  </a:cubicBezTo>
                  <a:cubicBezTo>
                    <a:pt x="63" y="14379"/>
                    <a:pt x="67" y="14427"/>
                    <a:pt x="63" y="14459"/>
                  </a:cubicBezTo>
                  <a:cubicBezTo>
                    <a:pt x="65" y="14491"/>
                    <a:pt x="54" y="14558"/>
                    <a:pt x="45" y="14608"/>
                  </a:cubicBezTo>
                  <a:cubicBezTo>
                    <a:pt x="37" y="14658"/>
                    <a:pt x="26" y="14721"/>
                    <a:pt x="20" y="14748"/>
                  </a:cubicBezTo>
                  <a:cubicBezTo>
                    <a:pt x="16" y="14776"/>
                    <a:pt x="6" y="14801"/>
                    <a:pt x="6" y="14807"/>
                  </a:cubicBezTo>
                  <a:cubicBezTo>
                    <a:pt x="3" y="14812"/>
                    <a:pt x="1" y="14838"/>
                    <a:pt x="1" y="14864"/>
                  </a:cubicBezTo>
                  <a:cubicBezTo>
                    <a:pt x="-1" y="14890"/>
                    <a:pt x="2" y="14919"/>
                    <a:pt x="5" y="14929"/>
                  </a:cubicBezTo>
                  <a:cubicBezTo>
                    <a:pt x="7" y="14939"/>
                    <a:pt x="23" y="14943"/>
                    <a:pt x="37" y="14935"/>
                  </a:cubicBezTo>
                  <a:cubicBezTo>
                    <a:pt x="53" y="14932"/>
                    <a:pt x="70" y="14929"/>
                    <a:pt x="78" y="14934"/>
                  </a:cubicBezTo>
                  <a:cubicBezTo>
                    <a:pt x="85" y="14941"/>
                    <a:pt x="95" y="14956"/>
                    <a:pt x="101" y="14969"/>
                  </a:cubicBezTo>
                  <a:cubicBezTo>
                    <a:pt x="107" y="14982"/>
                    <a:pt x="115" y="14996"/>
                    <a:pt x="122" y="14996"/>
                  </a:cubicBezTo>
                  <a:cubicBezTo>
                    <a:pt x="128" y="14998"/>
                    <a:pt x="142" y="14995"/>
                    <a:pt x="154" y="14991"/>
                  </a:cubicBezTo>
                  <a:cubicBezTo>
                    <a:pt x="165" y="14986"/>
                    <a:pt x="179" y="14999"/>
                    <a:pt x="181" y="15020"/>
                  </a:cubicBezTo>
                  <a:cubicBezTo>
                    <a:pt x="184" y="15040"/>
                    <a:pt x="184" y="15079"/>
                    <a:pt x="181" y="15107"/>
                  </a:cubicBezTo>
                  <a:cubicBezTo>
                    <a:pt x="179" y="15135"/>
                    <a:pt x="181" y="15175"/>
                    <a:pt x="192" y="15193"/>
                  </a:cubicBezTo>
                  <a:cubicBezTo>
                    <a:pt x="199" y="15213"/>
                    <a:pt x="215" y="15225"/>
                    <a:pt x="223" y="15225"/>
                  </a:cubicBezTo>
                  <a:cubicBezTo>
                    <a:pt x="230" y="15226"/>
                    <a:pt x="247" y="15226"/>
                    <a:pt x="254" y="15236"/>
                  </a:cubicBezTo>
                  <a:cubicBezTo>
                    <a:pt x="265" y="15243"/>
                    <a:pt x="273" y="15264"/>
                    <a:pt x="273" y="15281"/>
                  </a:cubicBezTo>
                  <a:cubicBezTo>
                    <a:pt x="273" y="15298"/>
                    <a:pt x="271" y="15335"/>
                    <a:pt x="267" y="15363"/>
                  </a:cubicBezTo>
                  <a:cubicBezTo>
                    <a:pt x="266" y="15392"/>
                    <a:pt x="264" y="15419"/>
                    <a:pt x="266" y="15424"/>
                  </a:cubicBezTo>
                  <a:cubicBezTo>
                    <a:pt x="268" y="15428"/>
                    <a:pt x="275" y="15432"/>
                    <a:pt x="278" y="15427"/>
                  </a:cubicBezTo>
                  <a:cubicBezTo>
                    <a:pt x="283" y="15424"/>
                    <a:pt x="291" y="15415"/>
                    <a:pt x="299" y="15410"/>
                  </a:cubicBezTo>
                  <a:cubicBezTo>
                    <a:pt x="304" y="15402"/>
                    <a:pt x="317" y="15425"/>
                    <a:pt x="323" y="15460"/>
                  </a:cubicBezTo>
                  <a:cubicBezTo>
                    <a:pt x="329" y="15494"/>
                    <a:pt x="339" y="15588"/>
                    <a:pt x="348" y="15669"/>
                  </a:cubicBezTo>
                  <a:cubicBezTo>
                    <a:pt x="355" y="15751"/>
                    <a:pt x="361" y="15857"/>
                    <a:pt x="357" y="15906"/>
                  </a:cubicBezTo>
                  <a:cubicBezTo>
                    <a:pt x="353" y="15956"/>
                    <a:pt x="346" y="16029"/>
                    <a:pt x="341" y="16071"/>
                  </a:cubicBezTo>
                  <a:cubicBezTo>
                    <a:pt x="334" y="16112"/>
                    <a:pt x="327" y="16167"/>
                    <a:pt x="327" y="16194"/>
                  </a:cubicBezTo>
                  <a:cubicBezTo>
                    <a:pt x="325" y="16220"/>
                    <a:pt x="418" y="16206"/>
                    <a:pt x="537" y="16166"/>
                  </a:cubicBezTo>
                  <a:cubicBezTo>
                    <a:pt x="657" y="16122"/>
                    <a:pt x="760" y="16100"/>
                    <a:pt x="761" y="16114"/>
                  </a:cubicBezTo>
                  <a:cubicBezTo>
                    <a:pt x="761" y="16128"/>
                    <a:pt x="761" y="16150"/>
                    <a:pt x="758" y="16164"/>
                  </a:cubicBezTo>
                  <a:cubicBezTo>
                    <a:pt x="754" y="16178"/>
                    <a:pt x="837" y="16309"/>
                    <a:pt x="947" y="16454"/>
                  </a:cubicBezTo>
                  <a:cubicBezTo>
                    <a:pt x="1007" y="16539"/>
                    <a:pt x="1072" y="16623"/>
                    <a:pt x="1138" y="16706"/>
                  </a:cubicBezTo>
                  <a:cubicBezTo>
                    <a:pt x="1251" y="16860"/>
                    <a:pt x="1475" y="16966"/>
                    <a:pt x="1628" y="16946"/>
                  </a:cubicBezTo>
                  <a:cubicBezTo>
                    <a:pt x="1652" y="16944"/>
                    <a:pt x="1675" y="16940"/>
                    <a:pt x="1698" y="16937"/>
                  </a:cubicBezTo>
                  <a:cubicBezTo>
                    <a:pt x="1856" y="16917"/>
                    <a:pt x="1994" y="16848"/>
                    <a:pt x="2000" y="16784"/>
                  </a:cubicBezTo>
                  <a:cubicBezTo>
                    <a:pt x="2007" y="16719"/>
                    <a:pt x="2097" y="16656"/>
                    <a:pt x="2202" y="16643"/>
                  </a:cubicBezTo>
                  <a:cubicBezTo>
                    <a:pt x="2310" y="16634"/>
                    <a:pt x="2406" y="16635"/>
                    <a:pt x="2418" y="16653"/>
                  </a:cubicBezTo>
                  <a:cubicBezTo>
                    <a:pt x="2426" y="16672"/>
                    <a:pt x="2446" y="16717"/>
                    <a:pt x="2453" y="16755"/>
                  </a:cubicBezTo>
                  <a:cubicBezTo>
                    <a:pt x="2461" y="16794"/>
                    <a:pt x="2473" y="16839"/>
                    <a:pt x="2475" y="16857"/>
                  </a:cubicBezTo>
                  <a:cubicBezTo>
                    <a:pt x="2481" y="16874"/>
                    <a:pt x="2483" y="16902"/>
                    <a:pt x="2483" y="16918"/>
                  </a:cubicBezTo>
                  <a:cubicBezTo>
                    <a:pt x="2483" y="16934"/>
                    <a:pt x="2489" y="16945"/>
                    <a:pt x="2496" y="16945"/>
                  </a:cubicBezTo>
                  <a:cubicBezTo>
                    <a:pt x="2503" y="16943"/>
                    <a:pt x="2513" y="16963"/>
                    <a:pt x="2517" y="16985"/>
                  </a:cubicBezTo>
                  <a:cubicBezTo>
                    <a:pt x="2523" y="17008"/>
                    <a:pt x="2521" y="17041"/>
                    <a:pt x="2519" y="17059"/>
                  </a:cubicBezTo>
                  <a:cubicBezTo>
                    <a:pt x="2515" y="17077"/>
                    <a:pt x="2520" y="17100"/>
                    <a:pt x="2531" y="17107"/>
                  </a:cubicBezTo>
                  <a:cubicBezTo>
                    <a:pt x="2543" y="17113"/>
                    <a:pt x="2558" y="17138"/>
                    <a:pt x="2565" y="17160"/>
                  </a:cubicBezTo>
                  <a:cubicBezTo>
                    <a:pt x="2576" y="17180"/>
                    <a:pt x="2582" y="17211"/>
                    <a:pt x="2578" y="17227"/>
                  </a:cubicBezTo>
                  <a:cubicBezTo>
                    <a:pt x="2578" y="17243"/>
                    <a:pt x="2570" y="17268"/>
                    <a:pt x="2566" y="17283"/>
                  </a:cubicBezTo>
                  <a:cubicBezTo>
                    <a:pt x="2560" y="17296"/>
                    <a:pt x="2565" y="17313"/>
                    <a:pt x="2573" y="17318"/>
                  </a:cubicBezTo>
                  <a:cubicBezTo>
                    <a:pt x="2580" y="17324"/>
                    <a:pt x="2592" y="17340"/>
                    <a:pt x="2603" y="17353"/>
                  </a:cubicBezTo>
                  <a:cubicBezTo>
                    <a:pt x="2611" y="17368"/>
                    <a:pt x="2623" y="17400"/>
                    <a:pt x="2627" y="17425"/>
                  </a:cubicBezTo>
                  <a:cubicBezTo>
                    <a:pt x="2630" y="17450"/>
                    <a:pt x="2631" y="17502"/>
                    <a:pt x="2633" y="17541"/>
                  </a:cubicBezTo>
                  <a:cubicBezTo>
                    <a:pt x="2629" y="17581"/>
                    <a:pt x="2633" y="17625"/>
                    <a:pt x="2637" y="17639"/>
                  </a:cubicBezTo>
                  <a:cubicBezTo>
                    <a:pt x="2642" y="17653"/>
                    <a:pt x="2648" y="17665"/>
                    <a:pt x="2652" y="17667"/>
                  </a:cubicBezTo>
                  <a:cubicBezTo>
                    <a:pt x="2656" y="17667"/>
                    <a:pt x="2662" y="17680"/>
                    <a:pt x="2662" y="17693"/>
                  </a:cubicBezTo>
                  <a:cubicBezTo>
                    <a:pt x="2662" y="17706"/>
                    <a:pt x="2670" y="17732"/>
                    <a:pt x="2676" y="17750"/>
                  </a:cubicBezTo>
                  <a:cubicBezTo>
                    <a:pt x="2685" y="17768"/>
                    <a:pt x="2689" y="17806"/>
                    <a:pt x="2687" y="17833"/>
                  </a:cubicBezTo>
                  <a:cubicBezTo>
                    <a:pt x="2689" y="17860"/>
                    <a:pt x="2682" y="17890"/>
                    <a:pt x="2676" y="17898"/>
                  </a:cubicBezTo>
                  <a:cubicBezTo>
                    <a:pt x="2672" y="17906"/>
                    <a:pt x="2659" y="17917"/>
                    <a:pt x="2652" y="17925"/>
                  </a:cubicBezTo>
                  <a:cubicBezTo>
                    <a:pt x="2642" y="17929"/>
                    <a:pt x="2635" y="17947"/>
                    <a:pt x="2635" y="17961"/>
                  </a:cubicBezTo>
                  <a:cubicBezTo>
                    <a:pt x="2633" y="17974"/>
                    <a:pt x="2641" y="18013"/>
                    <a:pt x="2652" y="18048"/>
                  </a:cubicBezTo>
                  <a:cubicBezTo>
                    <a:pt x="2662" y="18083"/>
                    <a:pt x="2678" y="18134"/>
                    <a:pt x="2684" y="18163"/>
                  </a:cubicBezTo>
                  <a:cubicBezTo>
                    <a:pt x="2694" y="18190"/>
                    <a:pt x="2700" y="18234"/>
                    <a:pt x="2702" y="18259"/>
                  </a:cubicBezTo>
                  <a:cubicBezTo>
                    <a:pt x="2703" y="18284"/>
                    <a:pt x="2705" y="18313"/>
                    <a:pt x="2703" y="18322"/>
                  </a:cubicBezTo>
                  <a:cubicBezTo>
                    <a:pt x="2705" y="18332"/>
                    <a:pt x="2704" y="18337"/>
                    <a:pt x="2709" y="18339"/>
                  </a:cubicBezTo>
                  <a:cubicBezTo>
                    <a:pt x="2713" y="18339"/>
                    <a:pt x="2722" y="18348"/>
                    <a:pt x="2726" y="18362"/>
                  </a:cubicBezTo>
                  <a:cubicBezTo>
                    <a:pt x="2733" y="18376"/>
                    <a:pt x="2739" y="18384"/>
                    <a:pt x="2744" y="18386"/>
                  </a:cubicBezTo>
                  <a:cubicBezTo>
                    <a:pt x="2747" y="18383"/>
                    <a:pt x="2756" y="18389"/>
                    <a:pt x="2764" y="18394"/>
                  </a:cubicBezTo>
                  <a:cubicBezTo>
                    <a:pt x="2769" y="18401"/>
                    <a:pt x="2779" y="18415"/>
                    <a:pt x="2779" y="18428"/>
                  </a:cubicBezTo>
                  <a:cubicBezTo>
                    <a:pt x="2783" y="18440"/>
                    <a:pt x="2781" y="18461"/>
                    <a:pt x="2782" y="18472"/>
                  </a:cubicBezTo>
                  <a:cubicBezTo>
                    <a:pt x="2782" y="18483"/>
                    <a:pt x="2783" y="18504"/>
                    <a:pt x="2790" y="18514"/>
                  </a:cubicBezTo>
                  <a:cubicBezTo>
                    <a:pt x="2793" y="18526"/>
                    <a:pt x="2805" y="18534"/>
                    <a:pt x="2813" y="18534"/>
                  </a:cubicBezTo>
                  <a:cubicBezTo>
                    <a:pt x="2821" y="18535"/>
                    <a:pt x="2840" y="18545"/>
                    <a:pt x="2853" y="18563"/>
                  </a:cubicBezTo>
                  <a:cubicBezTo>
                    <a:pt x="2865" y="18580"/>
                    <a:pt x="2876" y="18604"/>
                    <a:pt x="2880" y="18615"/>
                  </a:cubicBezTo>
                  <a:cubicBezTo>
                    <a:pt x="2883" y="18627"/>
                    <a:pt x="2891" y="18647"/>
                    <a:pt x="2904" y="18652"/>
                  </a:cubicBezTo>
                  <a:cubicBezTo>
                    <a:pt x="2913" y="18664"/>
                    <a:pt x="2936" y="18682"/>
                    <a:pt x="2951" y="18698"/>
                  </a:cubicBezTo>
                  <a:cubicBezTo>
                    <a:pt x="2965" y="18715"/>
                    <a:pt x="2979" y="18739"/>
                    <a:pt x="2983" y="18750"/>
                  </a:cubicBezTo>
                  <a:cubicBezTo>
                    <a:pt x="2984" y="18762"/>
                    <a:pt x="2994" y="18775"/>
                    <a:pt x="3001" y="18775"/>
                  </a:cubicBezTo>
                  <a:cubicBezTo>
                    <a:pt x="3007" y="18777"/>
                    <a:pt x="3016" y="18770"/>
                    <a:pt x="3025" y="18764"/>
                  </a:cubicBezTo>
                  <a:cubicBezTo>
                    <a:pt x="3031" y="18755"/>
                    <a:pt x="3040" y="18740"/>
                    <a:pt x="3042" y="18729"/>
                  </a:cubicBezTo>
                  <a:cubicBezTo>
                    <a:pt x="3045" y="18717"/>
                    <a:pt x="3055" y="18689"/>
                    <a:pt x="3068" y="18667"/>
                  </a:cubicBezTo>
                  <a:cubicBezTo>
                    <a:pt x="3080" y="18645"/>
                    <a:pt x="3095" y="18622"/>
                    <a:pt x="3103" y="18617"/>
                  </a:cubicBezTo>
                  <a:cubicBezTo>
                    <a:pt x="3109" y="18610"/>
                    <a:pt x="3118" y="18594"/>
                    <a:pt x="3122" y="18578"/>
                  </a:cubicBezTo>
                  <a:cubicBezTo>
                    <a:pt x="3125" y="18562"/>
                    <a:pt x="3128" y="18541"/>
                    <a:pt x="3125" y="18532"/>
                  </a:cubicBezTo>
                  <a:cubicBezTo>
                    <a:pt x="3125" y="18523"/>
                    <a:pt x="3129" y="18498"/>
                    <a:pt x="3137" y="18477"/>
                  </a:cubicBezTo>
                  <a:cubicBezTo>
                    <a:pt x="3143" y="18456"/>
                    <a:pt x="3164" y="18398"/>
                    <a:pt x="3176" y="18346"/>
                  </a:cubicBezTo>
                  <a:cubicBezTo>
                    <a:pt x="3189" y="18295"/>
                    <a:pt x="3208" y="18237"/>
                    <a:pt x="3218" y="18217"/>
                  </a:cubicBezTo>
                  <a:cubicBezTo>
                    <a:pt x="3227" y="18198"/>
                    <a:pt x="3242" y="18174"/>
                    <a:pt x="3251" y="18165"/>
                  </a:cubicBezTo>
                  <a:cubicBezTo>
                    <a:pt x="3260" y="18157"/>
                    <a:pt x="3271" y="18154"/>
                    <a:pt x="3277" y="18154"/>
                  </a:cubicBezTo>
                  <a:cubicBezTo>
                    <a:pt x="3283" y="18154"/>
                    <a:pt x="3288" y="18163"/>
                    <a:pt x="3289" y="18168"/>
                  </a:cubicBezTo>
                  <a:cubicBezTo>
                    <a:pt x="3293" y="18173"/>
                    <a:pt x="3297" y="18176"/>
                    <a:pt x="3303" y="18172"/>
                  </a:cubicBezTo>
                  <a:cubicBezTo>
                    <a:pt x="3310" y="18172"/>
                    <a:pt x="3321" y="18147"/>
                    <a:pt x="3324" y="18124"/>
                  </a:cubicBezTo>
                  <a:cubicBezTo>
                    <a:pt x="3333" y="18102"/>
                    <a:pt x="3346" y="18080"/>
                    <a:pt x="3360" y="18080"/>
                  </a:cubicBezTo>
                  <a:cubicBezTo>
                    <a:pt x="3373" y="18076"/>
                    <a:pt x="3396" y="18078"/>
                    <a:pt x="3409" y="18082"/>
                  </a:cubicBezTo>
                  <a:cubicBezTo>
                    <a:pt x="3422" y="18084"/>
                    <a:pt x="3444" y="18082"/>
                    <a:pt x="3459" y="18079"/>
                  </a:cubicBezTo>
                  <a:cubicBezTo>
                    <a:pt x="3475" y="18075"/>
                    <a:pt x="3491" y="18075"/>
                    <a:pt x="3497" y="18082"/>
                  </a:cubicBezTo>
                  <a:cubicBezTo>
                    <a:pt x="3500" y="18089"/>
                    <a:pt x="3503" y="18104"/>
                    <a:pt x="3511" y="18111"/>
                  </a:cubicBezTo>
                  <a:cubicBezTo>
                    <a:pt x="3513" y="18121"/>
                    <a:pt x="3526" y="18127"/>
                    <a:pt x="3535" y="18119"/>
                  </a:cubicBezTo>
                  <a:cubicBezTo>
                    <a:pt x="3546" y="18115"/>
                    <a:pt x="3562" y="18118"/>
                    <a:pt x="3571" y="18129"/>
                  </a:cubicBezTo>
                  <a:cubicBezTo>
                    <a:pt x="3581" y="18140"/>
                    <a:pt x="3597" y="18170"/>
                    <a:pt x="3599" y="18197"/>
                  </a:cubicBezTo>
                  <a:cubicBezTo>
                    <a:pt x="3604" y="18223"/>
                    <a:pt x="3619" y="18268"/>
                    <a:pt x="3633" y="18296"/>
                  </a:cubicBezTo>
                  <a:cubicBezTo>
                    <a:pt x="3646" y="18324"/>
                    <a:pt x="3664" y="18382"/>
                    <a:pt x="3676" y="18424"/>
                  </a:cubicBezTo>
                  <a:cubicBezTo>
                    <a:pt x="3687" y="18466"/>
                    <a:pt x="3697" y="18533"/>
                    <a:pt x="3701" y="18571"/>
                  </a:cubicBezTo>
                  <a:cubicBezTo>
                    <a:pt x="3706" y="18609"/>
                    <a:pt x="3709" y="18653"/>
                    <a:pt x="3714" y="18668"/>
                  </a:cubicBezTo>
                  <a:cubicBezTo>
                    <a:pt x="3716" y="18684"/>
                    <a:pt x="3720" y="18720"/>
                    <a:pt x="3721" y="18747"/>
                  </a:cubicBezTo>
                  <a:cubicBezTo>
                    <a:pt x="3721" y="18775"/>
                    <a:pt x="3722" y="18834"/>
                    <a:pt x="3720" y="18877"/>
                  </a:cubicBezTo>
                  <a:cubicBezTo>
                    <a:pt x="3718" y="18920"/>
                    <a:pt x="3723" y="18965"/>
                    <a:pt x="3733" y="18972"/>
                  </a:cubicBezTo>
                  <a:cubicBezTo>
                    <a:pt x="3740" y="18982"/>
                    <a:pt x="3749" y="19009"/>
                    <a:pt x="3753" y="19034"/>
                  </a:cubicBezTo>
                  <a:cubicBezTo>
                    <a:pt x="3758" y="19059"/>
                    <a:pt x="3762" y="19135"/>
                    <a:pt x="3771" y="19201"/>
                  </a:cubicBezTo>
                  <a:cubicBezTo>
                    <a:pt x="3778" y="19268"/>
                    <a:pt x="3789" y="19330"/>
                    <a:pt x="3796" y="19340"/>
                  </a:cubicBezTo>
                  <a:cubicBezTo>
                    <a:pt x="3802" y="19349"/>
                    <a:pt x="3810" y="19376"/>
                    <a:pt x="3811" y="19399"/>
                  </a:cubicBezTo>
                  <a:cubicBezTo>
                    <a:pt x="3813" y="19422"/>
                    <a:pt x="3827" y="19452"/>
                    <a:pt x="3838" y="19467"/>
                  </a:cubicBezTo>
                  <a:cubicBezTo>
                    <a:pt x="3851" y="19480"/>
                    <a:pt x="3859" y="19522"/>
                    <a:pt x="3863" y="19558"/>
                  </a:cubicBezTo>
                  <a:cubicBezTo>
                    <a:pt x="3865" y="19594"/>
                    <a:pt x="3869" y="19649"/>
                    <a:pt x="3879" y="19679"/>
                  </a:cubicBezTo>
                  <a:cubicBezTo>
                    <a:pt x="3884" y="19709"/>
                    <a:pt x="3901" y="19759"/>
                    <a:pt x="3912" y="19791"/>
                  </a:cubicBezTo>
                  <a:cubicBezTo>
                    <a:pt x="3929" y="19820"/>
                    <a:pt x="3933" y="19874"/>
                    <a:pt x="3929" y="19908"/>
                  </a:cubicBezTo>
                  <a:cubicBezTo>
                    <a:pt x="3924" y="19941"/>
                    <a:pt x="3923" y="19997"/>
                    <a:pt x="3919" y="20031"/>
                  </a:cubicBezTo>
                  <a:cubicBezTo>
                    <a:pt x="3912" y="20066"/>
                    <a:pt x="3913" y="20103"/>
                    <a:pt x="3913" y="20112"/>
                  </a:cubicBezTo>
                  <a:cubicBezTo>
                    <a:pt x="3914" y="20122"/>
                    <a:pt x="3914" y="20139"/>
                    <a:pt x="3914" y="20150"/>
                  </a:cubicBezTo>
                  <a:cubicBezTo>
                    <a:pt x="3917" y="20160"/>
                    <a:pt x="3924" y="20259"/>
                    <a:pt x="3938" y="20366"/>
                  </a:cubicBezTo>
                  <a:cubicBezTo>
                    <a:pt x="3949" y="20475"/>
                    <a:pt x="3960" y="20603"/>
                    <a:pt x="3957" y="20652"/>
                  </a:cubicBezTo>
                  <a:cubicBezTo>
                    <a:pt x="3955" y="20701"/>
                    <a:pt x="3960" y="20755"/>
                    <a:pt x="3964" y="20774"/>
                  </a:cubicBezTo>
                  <a:cubicBezTo>
                    <a:pt x="3969" y="20793"/>
                    <a:pt x="3977" y="20812"/>
                    <a:pt x="3979" y="20817"/>
                  </a:cubicBezTo>
                  <a:cubicBezTo>
                    <a:pt x="3982" y="20821"/>
                    <a:pt x="3990" y="20831"/>
                    <a:pt x="3999" y="20840"/>
                  </a:cubicBezTo>
                  <a:cubicBezTo>
                    <a:pt x="4011" y="20845"/>
                    <a:pt x="4024" y="20846"/>
                    <a:pt x="4036" y="20846"/>
                  </a:cubicBezTo>
                  <a:cubicBezTo>
                    <a:pt x="4047" y="20842"/>
                    <a:pt x="4063" y="20849"/>
                    <a:pt x="4074" y="20861"/>
                  </a:cubicBezTo>
                  <a:cubicBezTo>
                    <a:pt x="4086" y="20871"/>
                    <a:pt x="4103" y="20908"/>
                    <a:pt x="4115" y="20937"/>
                  </a:cubicBezTo>
                  <a:cubicBezTo>
                    <a:pt x="4128" y="20967"/>
                    <a:pt x="4159" y="21009"/>
                    <a:pt x="4187" y="21025"/>
                  </a:cubicBezTo>
                  <a:cubicBezTo>
                    <a:pt x="4217" y="21041"/>
                    <a:pt x="4251" y="21073"/>
                    <a:pt x="4265" y="21090"/>
                  </a:cubicBezTo>
                  <a:cubicBezTo>
                    <a:pt x="4281" y="21107"/>
                    <a:pt x="4305" y="21128"/>
                    <a:pt x="4321" y="21134"/>
                  </a:cubicBezTo>
                  <a:cubicBezTo>
                    <a:pt x="4337" y="21140"/>
                    <a:pt x="4355" y="21166"/>
                    <a:pt x="4357" y="21189"/>
                  </a:cubicBezTo>
                  <a:cubicBezTo>
                    <a:pt x="4362" y="21212"/>
                    <a:pt x="4370" y="21239"/>
                    <a:pt x="4379" y="21245"/>
                  </a:cubicBezTo>
                  <a:cubicBezTo>
                    <a:pt x="4384" y="21254"/>
                    <a:pt x="4400" y="21213"/>
                    <a:pt x="4411" y="21156"/>
                  </a:cubicBezTo>
                  <a:cubicBezTo>
                    <a:pt x="4422" y="21100"/>
                    <a:pt x="4438" y="21020"/>
                    <a:pt x="4442" y="20979"/>
                  </a:cubicBezTo>
                  <a:cubicBezTo>
                    <a:pt x="4449" y="20937"/>
                    <a:pt x="4452" y="20883"/>
                    <a:pt x="4448" y="20857"/>
                  </a:cubicBezTo>
                  <a:cubicBezTo>
                    <a:pt x="4443" y="20831"/>
                    <a:pt x="4444" y="20743"/>
                    <a:pt x="4450" y="20661"/>
                  </a:cubicBezTo>
                  <a:cubicBezTo>
                    <a:pt x="4453" y="20579"/>
                    <a:pt x="4452" y="20490"/>
                    <a:pt x="4446" y="20461"/>
                  </a:cubicBezTo>
                  <a:cubicBezTo>
                    <a:pt x="4439" y="20433"/>
                    <a:pt x="4445" y="20372"/>
                    <a:pt x="4456" y="20325"/>
                  </a:cubicBezTo>
                  <a:cubicBezTo>
                    <a:pt x="4468" y="20278"/>
                    <a:pt x="4484" y="20194"/>
                    <a:pt x="4494" y="20139"/>
                  </a:cubicBezTo>
                  <a:cubicBezTo>
                    <a:pt x="4503" y="20084"/>
                    <a:pt x="4523" y="20008"/>
                    <a:pt x="4536" y="19970"/>
                  </a:cubicBezTo>
                  <a:cubicBezTo>
                    <a:pt x="4550" y="19933"/>
                    <a:pt x="4557" y="19843"/>
                    <a:pt x="4555" y="19771"/>
                  </a:cubicBezTo>
                  <a:cubicBezTo>
                    <a:pt x="4553" y="19699"/>
                    <a:pt x="4559" y="19627"/>
                    <a:pt x="4574" y="19616"/>
                  </a:cubicBezTo>
                  <a:cubicBezTo>
                    <a:pt x="4585" y="19601"/>
                    <a:pt x="4609" y="19563"/>
                    <a:pt x="4632" y="19534"/>
                  </a:cubicBezTo>
                  <a:cubicBezTo>
                    <a:pt x="4649" y="19501"/>
                    <a:pt x="4661" y="19457"/>
                    <a:pt x="4650" y="19434"/>
                  </a:cubicBezTo>
                  <a:cubicBezTo>
                    <a:pt x="4642" y="19410"/>
                    <a:pt x="4647" y="19354"/>
                    <a:pt x="4666" y="19311"/>
                  </a:cubicBezTo>
                  <a:cubicBezTo>
                    <a:pt x="4683" y="19267"/>
                    <a:pt x="4704" y="19242"/>
                    <a:pt x="4714" y="19252"/>
                  </a:cubicBezTo>
                  <a:cubicBezTo>
                    <a:pt x="4722" y="19264"/>
                    <a:pt x="4742" y="19258"/>
                    <a:pt x="4759" y="19241"/>
                  </a:cubicBezTo>
                  <a:cubicBezTo>
                    <a:pt x="4775" y="19222"/>
                    <a:pt x="4789" y="19169"/>
                    <a:pt x="4791" y="19121"/>
                  </a:cubicBezTo>
                  <a:cubicBezTo>
                    <a:pt x="4793" y="19074"/>
                    <a:pt x="4800" y="19047"/>
                    <a:pt x="4809" y="19063"/>
                  </a:cubicBezTo>
                  <a:cubicBezTo>
                    <a:pt x="4819" y="19078"/>
                    <a:pt x="4843" y="19079"/>
                    <a:pt x="4860" y="19060"/>
                  </a:cubicBezTo>
                  <a:cubicBezTo>
                    <a:pt x="4880" y="19043"/>
                    <a:pt x="4888" y="19015"/>
                    <a:pt x="4880" y="18996"/>
                  </a:cubicBezTo>
                  <a:cubicBezTo>
                    <a:pt x="4871" y="18978"/>
                    <a:pt x="4877" y="18944"/>
                    <a:pt x="4896" y="18923"/>
                  </a:cubicBezTo>
                  <a:cubicBezTo>
                    <a:pt x="4916" y="18902"/>
                    <a:pt x="4934" y="18889"/>
                    <a:pt x="4939" y="18899"/>
                  </a:cubicBezTo>
                  <a:cubicBezTo>
                    <a:pt x="4947" y="18906"/>
                    <a:pt x="4959" y="18907"/>
                    <a:pt x="4966" y="18896"/>
                  </a:cubicBezTo>
                  <a:cubicBezTo>
                    <a:pt x="4976" y="18887"/>
                    <a:pt x="4994" y="18892"/>
                    <a:pt x="5005" y="18912"/>
                  </a:cubicBezTo>
                  <a:cubicBezTo>
                    <a:pt x="5017" y="18932"/>
                    <a:pt x="5013" y="18971"/>
                    <a:pt x="4997" y="19002"/>
                  </a:cubicBezTo>
                  <a:cubicBezTo>
                    <a:pt x="4978" y="19031"/>
                    <a:pt x="4977" y="19054"/>
                    <a:pt x="4989" y="19050"/>
                  </a:cubicBezTo>
                  <a:cubicBezTo>
                    <a:pt x="5001" y="19046"/>
                    <a:pt x="5027" y="19017"/>
                    <a:pt x="5045" y="18985"/>
                  </a:cubicBezTo>
                  <a:cubicBezTo>
                    <a:pt x="5067" y="18955"/>
                    <a:pt x="5088" y="18928"/>
                    <a:pt x="5100" y="18928"/>
                  </a:cubicBezTo>
                  <a:cubicBezTo>
                    <a:pt x="5111" y="18930"/>
                    <a:pt x="5155" y="18893"/>
                    <a:pt x="5195" y="18849"/>
                  </a:cubicBezTo>
                  <a:cubicBezTo>
                    <a:pt x="5237" y="18806"/>
                    <a:pt x="5295" y="18721"/>
                    <a:pt x="5328" y="18663"/>
                  </a:cubicBezTo>
                  <a:cubicBezTo>
                    <a:pt x="5359" y="18605"/>
                    <a:pt x="5396" y="18555"/>
                    <a:pt x="5408" y="18555"/>
                  </a:cubicBezTo>
                  <a:cubicBezTo>
                    <a:pt x="5420" y="18552"/>
                    <a:pt x="5441" y="18535"/>
                    <a:pt x="5454" y="18513"/>
                  </a:cubicBezTo>
                  <a:cubicBezTo>
                    <a:pt x="5468" y="18492"/>
                    <a:pt x="5474" y="18442"/>
                    <a:pt x="5474" y="18403"/>
                  </a:cubicBezTo>
                  <a:cubicBezTo>
                    <a:pt x="5472" y="18365"/>
                    <a:pt x="5474" y="18302"/>
                    <a:pt x="5476" y="18263"/>
                  </a:cubicBezTo>
                  <a:cubicBezTo>
                    <a:pt x="5477" y="18225"/>
                    <a:pt x="5474" y="18148"/>
                    <a:pt x="5467" y="18092"/>
                  </a:cubicBezTo>
                  <a:cubicBezTo>
                    <a:pt x="5458" y="18037"/>
                    <a:pt x="5463" y="18013"/>
                    <a:pt x="5469" y="18039"/>
                  </a:cubicBezTo>
                  <a:cubicBezTo>
                    <a:pt x="5480" y="18065"/>
                    <a:pt x="5492" y="18084"/>
                    <a:pt x="5501" y="18086"/>
                  </a:cubicBezTo>
                  <a:cubicBezTo>
                    <a:pt x="5510" y="18082"/>
                    <a:pt x="5533" y="18055"/>
                    <a:pt x="5555" y="18023"/>
                  </a:cubicBezTo>
                  <a:cubicBezTo>
                    <a:pt x="5573" y="17988"/>
                    <a:pt x="5593" y="17942"/>
                    <a:pt x="5596" y="17918"/>
                  </a:cubicBezTo>
                  <a:cubicBezTo>
                    <a:pt x="5599" y="17894"/>
                    <a:pt x="5606" y="17907"/>
                    <a:pt x="5609" y="17947"/>
                  </a:cubicBezTo>
                  <a:cubicBezTo>
                    <a:pt x="5615" y="17986"/>
                    <a:pt x="5609" y="18045"/>
                    <a:pt x="5595" y="18076"/>
                  </a:cubicBezTo>
                  <a:cubicBezTo>
                    <a:pt x="5584" y="18108"/>
                    <a:pt x="5574" y="18157"/>
                    <a:pt x="5578" y="18185"/>
                  </a:cubicBezTo>
                  <a:cubicBezTo>
                    <a:pt x="5580" y="18214"/>
                    <a:pt x="5580" y="18266"/>
                    <a:pt x="5574" y="18300"/>
                  </a:cubicBezTo>
                  <a:cubicBezTo>
                    <a:pt x="5570" y="18336"/>
                    <a:pt x="5582" y="18358"/>
                    <a:pt x="5603" y="18350"/>
                  </a:cubicBezTo>
                  <a:cubicBezTo>
                    <a:pt x="5625" y="18343"/>
                    <a:pt x="5656" y="18297"/>
                    <a:pt x="5675" y="18250"/>
                  </a:cubicBezTo>
                  <a:cubicBezTo>
                    <a:pt x="5692" y="18202"/>
                    <a:pt x="5719" y="18160"/>
                    <a:pt x="5733" y="18156"/>
                  </a:cubicBezTo>
                  <a:cubicBezTo>
                    <a:pt x="5747" y="18152"/>
                    <a:pt x="5767" y="18130"/>
                    <a:pt x="5784" y="18113"/>
                  </a:cubicBezTo>
                  <a:cubicBezTo>
                    <a:pt x="5797" y="18093"/>
                    <a:pt x="5838" y="18066"/>
                    <a:pt x="5870" y="18046"/>
                  </a:cubicBezTo>
                  <a:cubicBezTo>
                    <a:pt x="5903" y="18028"/>
                    <a:pt x="5951" y="18014"/>
                    <a:pt x="5976" y="18009"/>
                  </a:cubicBezTo>
                  <a:cubicBezTo>
                    <a:pt x="6001" y="18008"/>
                    <a:pt x="6059" y="18018"/>
                    <a:pt x="6102" y="18037"/>
                  </a:cubicBezTo>
                  <a:cubicBezTo>
                    <a:pt x="6149" y="18050"/>
                    <a:pt x="6188" y="18083"/>
                    <a:pt x="6196" y="18100"/>
                  </a:cubicBezTo>
                  <a:cubicBezTo>
                    <a:pt x="6203" y="18118"/>
                    <a:pt x="6254" y="18136"/>
                    <a:pt x="6311" y="18141"/>
                  </a:cubicBezTo>
                  <a:cubicBezTo>
                    <a:pt x="6368" y="18147"/>
                    <a:pt x="6430" y="18148"/>
                    <a:pt x="6447" y="18140"/>
                  </a:cubicBezTo>
                  <a:cubicBezTo>
                    <a:pt x="6465" y="18133"/>
                    <a:pt x="6478" y="18108"/>
                    <a:pt x="6476" y="18085"/>
                  </a:cubicBezTo>
                  <a:cubicBezTo>
                    <a:pt x="6474" y="18061"/>
                    <a:pt x="6476" y="18026"/>
                    <a:pt x="6477" y="18006"/>
                  </a:cubicBezTo>
                  <a:cubicBezTo>
                    <a:pt x="6480" y="17986"/>
                    <a:pt x="6499" y="17955"/>
                    <a:pt x="6520" y="17938"/>
                  </a:cubicBezTo>
                  <a:cubicBezTo>
                    <a:pt x="6540" y="17920"/>
                    <a:pt x="6566" y="17916"/>
                    <a:pt x="6578" y="17922"/>
                  </a:cubicBezTo>
                  <a:cubicBezTo>
                    <a:pt x="6587" y="17931"/>
                    <a:pt x="6588" y="17956"/>
                    <a:pt x="6580" y="17980"/>
                  </a:cubicBezTo>
                  <a:cubicBezTo>
                    <a:pt x="6573" y="18003"/>
                    <a:pt x="6572" y="18028"/>
                    <a:pt x="6584" y="18033"/>
                  </a:cubicBezTo>
                  <a:cubicBezTo>
                    <a:pt x="6595" y="18038"/>
                    <a:pt x="6616" y="18036"/>
                    <a:pt x="6629" y="18023"/>
                  </a:cubicBezTo>
                  <a:cubicBezTo>
                    <a:pt x="6643" y="18012"/>
                    <a:pt x="6661" y="18013"/>
                    <a:pt x="6666" y="18027"/>
                  </a:cubicBezTo>
                  <a:cubicBezTo>
                    <a:pt x="6671" y="18041"/>
                    <a:pt x="6675" y="18075"/>
                    <a:pt x="6674" y="18105"/>
                  </a:cubicBezTo>
                  <a:cubicBezTo>
                    <a:pt x="6674" y="18134"/>
                    <a:pt x="6676" y="18169"/>
                    <a:pt x="6681" y="18183"/>
                  </a:cubicBezTo>
                  <a:cubicBezTo>
                    <a:pt x="6688" y="18197"/>
                    <a:pt x="6707" y="18201"/>
                    <a:pt x="6729" y="18198"/>
                  </a:cubicBezTo>
                  <a:cubicBezTo>
                    <a:pt x="6749" y="18191"/>
                    <a:pt x="6772" y="18203"/>
                    <a:pt x="6777" y="18224"/>
                  </a:cubicBezTo>
                  <a:cubicBezTo>
                    <a:pt x="6781" y="18245"/>
                    <a:pt x="6778" y="18281"/>
                    <a:pt x="6761" y="18301"/>
                  </a:cubicBezTo>
                  <a:cubicBezTo>
                    <a:pt x="6746" y="18323"/>
                    <a:pt x="6724" y="18357"/>
                    <a:pt x="6718" y="18378"/>
                  </a:cubicBezTo>
                  <a:cubicBezTo>
                    <a:pt x="6706" y="18398"/>
                    <a:pt x="6709" y="18424"/>
                    <a:pt x="6720" y="18431"/>
                  </a:cubicBezTo>
                  <a:cubicBezTo>
                    <a:pt x="6728" y="18441"/>
                    <a:pt x="6753" y="18441"/>
                    <a:pt x="6770" y="18433"/>
                  </a:cubicBezTo>
                  <a:cubicBezTo>
                    <a:pt x="6787" y="18425"/>
                    <a:pt x="6809" y="18435"/>
                    <a:pt x="6825" y="18447"/>
                  </a:cubicBezTo>
                  <a:cubicBezTo>
                    <a:pt x="6837" y="18463"/>
                    <a:pt x="6871" y="18483"/>
                    <a:pt x="6895" y="18497"/>
                  </a:cubicBezTo>
                  <a:cubicBezTo>
                    <a:pt x="6920" y="18510"/>
                    <a:pt x="6950" y="18501"/>
                    <a:pt x="6962" y="18477"/>
                  </a:cubicBezTo>
                  <a:cubicBezTo>
                    <a:pt x="6973" y="18453"/>
                    <a:pt x="6994" y="18413"/>
                    <a:pt x="7013" y="18392"/>
                  </a:cubicBezTo>
                  <a:cubicBezTo>
                    <a:pt x="7029" y="18370"/>
                    <a:pt x="7055" y="18369"/>
                    <a:pt x="7072" y="18391"/>
                  </a:cubicBezTo>
                  <a:cubicBezTo>
                    <a:pt x="7087" y="18413"/>
                    <a:pt x="7107" y="18451"/>
                    <a:pt x="7114" y="18475"/>
                  </a:cubicBezTo>
                  <a:cubicBezTo>
                    <a:pt x="7121" y="18499"/>
                    <a:pt x="7141" y="18505"/>
                    <a:pt x="7157" y="18486"/>
                  </a:cubicBezTo>
                  <a:cubicBezTo>
                    <a:pt x="7173" y="18466"/>
                    <a:pt x="7190" y="18412"/>
                    <a:pt x="7194" y="18364"/>
                  </a:cubicBezTo>
                  <a:cubicBezTo>
                    <a:pt x="7197" y="18315"/>
                    <a:pt x="7196" y="18249"/>
                    <a:pt x="7186" y="18218"/>
                  </a:cubicBezTo>
                  <a:cubicBezTo>
                    <a:pt x="7179" y="18186"/>
                    <a:pt x="7188" y="18155"/>
                    <a:pt x="7207" y="18151"/>
                  </a:cubicBezTo>
                  <a:cubicBezTo>
                    <a:pt x="7226" y="18145"/>
                    <a:pt x="7252" y="18177"/>
                    <a:pt x="7266" y="18218"/>
                  </a:cubicBezTo>
                  <a:cubicBezTo>
                    <a:pt x="7276" y="18260"/>
                    <a:pt x="7302" y="18300"/>
                    <a:pt x="7316" y="18311"/>
                  </a:cubicBezTo>
                  <a:cubicBezTo>
                    <a:pt x="7334" y="18317"/>
                    <a:pt x="7352" y="18351"/>
                    <a:pt x="7360" y="18377"/>
                  </a:cubicBezTo>
                  <a:cubicBezTo>
                    <a:pt x="7368" y="18404"/>
                    <a:pt x="7387" y="18422"/>
                    <a:pt x="7400" y="18418"/>
                  </a:cubicBezTo>
                  <a:cubicBezTo>
                    <a:pt x="7412" y="18415"/>
                    <a:pt x="7432" y="18419"/>
                    <a:pt x="7441" y="18432"/>
                  </a:cubicBezTo>
                  <a:cubicBezTo>
                    <a:pt x="7451" y="18444"/>
                    <a:pt x="7459" y="18486"/>
                    <a:pt x="7457" y="18524"/>
                  </a:cubicBezTo>
                  <a:cubicBezTo>
                    <a:pt x="7457" y="18563"/>
                    <a:pt x="7462" y="18574"/>
                    <a:pt x="7470" y="18549"/>
                  </a:cubicBezTo>
                  <a:cubicBezTo>
                    <a:pt x="7480" y="18525"/>
                    <a:pt x="7497" y="18494"/>
                    <a:pt x="7515" y="18485"/>
                  </a:cubicBezTo>
                  <a:cubicBezTo>
                    <a:pt x="7532" y="18475"/>
                    <a:pt x="7548" y="18457"/>
                    <a:pt x="7549" y="18444"/>
                  </a:cubicBezTo>
                  <a:cubicBezTo>
                    <a:pt x="7551" y="18430"/>
                    <a:pt x="7535" y="18392"/>
                    <a:pt x="7510" y="18359"/>
                  </a:cubicBezTo>
                  <a:cubicBezTo>
                    <a:pt x="7487" y="18325"/>
                    <a:pt x="7441" y="18282"/>
                    <a:pt x="7407" y="18264"/>
                  </a:cubicBezTo>
                  <a:cubicBezTo>
                    <a:pt x="7373" y="18248"/>
                    <a:pt x="7346" y="18208"/>
                    <a:pt x="7340" y="18180"/>
                  </a:cubicBezTo>
                  <a:cubicBezTo>
                    <a:pt x="7334" y="18153"/>
                    <a:pt x="7333" y="18102"/>
                    <a:pt x="7333" y="18068"/>
                  </a:cubicBezTo>
                  <a:cubicBezTo>
                    <a:pt x="7335" y="18033"/>
                    <a:pt x="7362" y="17981"/>
                    <a:pt x="7399" y="17955"/>
                  </a:cubicBezTo>
                  <a:cubicBezTo>
                    <a:pt x="7433" y="17928"/>
                    <a:pt x="7472" y="17894"/>
                    <a:pt x="7477" y="17878"/>
                  </a:cubicBezTo>
                  <a:cubicBezTo>
                    <a:pt x="7486" y="17864"/>
                    <a:pt x="7476" y="17840"/>
                    <a:pt x="7458" y="17828"/>
                  </a:cubicBezTo>
                  <a:cubicBezTo>
                    <a:pt x="7442" y="17814"/>
                    <a:pt x="7420" y="17791"/>
                    <a:pt x="7414" y="17773"/>
                  </a:cubicBezTo>
                  <a:cubicBezTo>
                    <a:pt x="7405" y="17757"/>
                    <a:pt x="7397" y="17737"/>
                    <a:pt x="7390" y="17737"/>
                  </a:cubicBezTo>
                  <a:cubicBezTo>
                    <a:pt x="7384" y="17733"/>
                    <a:pt x="7364" y="17752"/>
                    <a:pt x="7353" y="17777"/>
                  </a:cubicBezTo>
                  <a:cubicBezTo>
                    <a:pt x="7337" y="17799"/>
                    <a:pt x="7316" y="17829"/>
                    <a:pt x="7302" y="17841"/>
                  </a:cubicBezTo>
                  <a:cubicBezTo>
                    <a:pt x="7287" y="17851"/>
                    <a:pt x="7279" y="17839"/>
                    <a:pt x="7279" y="17812"/>
                  </a:cubicBezTo>
                  <a:cubicBezTo>
                    <a:pt x="7283" y="17785"/>
                    <a:pt x="7296" y="17730"/>
                    <a:pt x="7320" y="17692"/>
                  </a:cubicBezTo>
                  <a:cubicBezTo>
                    <a:pt x="7342" y="17653"/>
                    <a:pt x="7390" y="17598"/>
                    <a:pt x="7426" y="17566"/>
                  </a:cubicBezTo>
                  <a:cubicBezTo>
                    <a:pt x="7463" y="17536"/>
                    <a:pt x="7510" y="17486"/>
                    <a:pt x="7528" y="17455"/>
                  </a:cubicBezTo>
                  <a:cubicBezTo>
                    <a:pt x="7548" y="17424"/>
                    <a:pt x="7618" y="17379"/>
                    <a:pt x="7682" y="17349"/>
                  </a:cubicBezTo>
                  <a:cubicBezTo>
                    <a:pt x="7749" y="17323"/>
                    <a:pt x="7820" y="17304"/>
                    <a:pt x="7845" y="17306"/>
                  </a:cubicBezTo>
                  <a:cubicBezTo>
                    <a:pt x="7868" y="17313"/>
                    <a:pt x="7898" y="17304"/>
                    <a:pt x="7914" y="17297"/>
                  </a:cubicBezTo>
                  <a:cubicBezTo>
                    <a:pt x="7928" y="17288"/>
                    <a:pt x="7951" y="17284"/>
                    <a:pt x="7967" y="17286"/>
                  </a:cubicBezTo>
                  <a:cubicBezTo>
                    <a:pt x="7983" y="17291"/>
                    <a:pt x="8006" y="17267"/>
                    <a:pt x="8018" y="17234"/>
                  </a:cubicBezTo>
                  <a:cubicBezTo>
                    <a:pt x="8034" y="17203"/>
                    <a:pt x="8050" y="17146"/>
                    <a:pt x="8061" y="17110"/>
                  </a:cubicBezTo>
                  <a:cubicBezTo>
                    <a:pt x="8073" y="17075"/>
                    <a:pt x="8093" y="17049"/>
                    <a:pt x="8107" y="17051"/>
                  </a:cubicBezTo>
                  <a:cubicBezTo>
                    <a:pt x="8119" y="17056"/>
                    <a:pt x="8127" y="17078"/>
                    <a:pt x="8122" y="17104"/>
                  </a:cubicBezTo>
                  <a:cubicBezTo>
                    <a:pt x="8119" y="17130"/>
                    <a:pt x="8114" y="17170"/>
                    <a:pt x="8112" y="17193"/>
                  </a:cubicBezTo>
                  <a:cubicBezTo>
                    <a:pt x="8112" y="17216"/>
                    <a:pt x="8126" y="17261"/>
                    <a:pt x="8147" y="17291"/>
                  </a:cubicBezTo>
                  <a:cubicBezTo>
                    <a:pt x="8164" y="17323"/>
                    <a:pt x="8197" y="17334"/>
                    <a:pt x="8216" y="17321"/>
                  </a:cubicBezTo>
                  <a:cubicBezTo>
                    <a:pt x="8234" y="17304"/>
                    <a:pt x="8276" y="17293"/>
                    <a:pt x="8307" y="17293"/>
                  </a:cubicBezTo>
                  <a:cubicBezTo>
                    <a:pt x="8339" y="17292"/>
                    <a:pt x="8379" y="17283"/>
                    <a:pt x="8395" y="17268"/>
                  </a:cubicBezTo>
                  <a:cubicBezTo>
                    <a:pt x="8413" y="17255"/>
                    <a:pt x="8438" y="17254"/>
                    <a:pt x="8448" y="17271"/>
                  </a:cubicBezTo>
                  <a:cubicBezTo>
                    <a:pt x="8462" y="17286"/>
                    <a:pt x="8498" y="17289"/>
                    <a:pt x="8533" y="17279"/>
                  </a:cubicBezTo>
                  <a:cubicBezTo>
                    <a:pt x="8566" y="17264"/>
                    <a:pt x="8606" y="17263"/>
                    <a:pt x="8614" y="17273"/>
                  </a:cubicBezTo>
                  <a:cubicBezTo>
                    <a:pt x="8622" y="17283"/>
                    <a:pt x="8652" y="17260"/>
                    <a:pt x="8680" y="17227"/>
                  </a:cubicBezTo>
                  <a:cubicBezTo>
                    <a:pt x="8707" y="17193"/>
                    <a:pt x="8750" y="17164"/>
                    <a:pt x="8775" y="17167"/>
                  </a:cubicBezTo>
                  <a:cubicBezTo>
                    <a:pt x="8800" y="17165"/>
                    <a:pt x="8823" y="17178"/>
                    <a:pt x="8829" y="17189"/>
                  </a:cubicBezTo>
                  <a:cubicBezTo>
                    <a:pt x="8833" y="17201"/>
                    <a:pt x="8825" y="17217"/>
                    <a:pt x="8811" y="17227"/>
                  </a:cubicBezTo>
                  <a:cubicBezTo>
                    <a:pt x="8796" y="17234"/>
                    <a:pt x="8763" y="17242"/>
                    <a:pt x="8737" y="17242"/>
                  </a:cubicBezTo>
                  <a:cubicBezTo>
                    <a:pt x="8710" y="17243"/>
                    <a:pt x="8683" y="17249"/>
                    <a:pt x="8679" y="17260"/>
                  </a:cubicBezTo>
                  <a:cubicBezTo>
                    <a:pt x="8673" y="17270"/>
                    <a:pt x="8695" y="17284"/>
                    <a:pt x="8724" y="17288"/>
                  </a:cubicBezTo>
                  <a:cubicBezTo>
                    <a:pt x="8753" y="17294"/>
                    <a:pt x="8802" y="17292"/>
                    <a:pt x="8832" y="17291"/>
                  </a:cubicBezTo>
                  <a:cubicBezTo>
                    <a:pt x="8861" y="17285"/>
                    <a:pt x="8900" y="17306"/>
                    <a:pt x="8915" y="17333"/>
                  </a:cubicBezTo>
                  <a:cubicBezTo>
                    <a:pt x="8935" y="17358"/>
                    <a:pt x="8962" y="17391"/>
                    <a:pt x="8976" y="17409"/>
                  </a:cubicBezTo>
                  <a:cubicBezTo>
                    <a:pt x="8993" y="17425"/>
                    <a:pt x="9000" y="17416"/>
                    <a:pt x="8988" y="17391"/>
                  </a:cubicBezTo>
                  <a:cubicBezTo>
                    <a:pt x="8979" y="17365"/>
                    <a:pt x="8974" y="17328"/>
                    <a:pt x="8978" y="17310"/>
                  </a:cubicBezTo>
                  <a:cubicBezTo>
                    <a:pt x="8982" y="17291"/>
                    <a:pt x="8993" y="17277"/>
                    <a:pt x="9003" y="17278"/>
                  </a:cubicBezTo>
                  <a:cubicBezTo>
                    <a:pt x="9013" y="17280"/>
                    <a:pt x="9023" y="17298"/>
                    <a:pt x="9027" y="17318"/>
                  </a:cubicBezTo>
                  <a:cubicBezTo>
                    <a:pt x="9031" y="17339"/>
                    <a:pt x="9050" y="17376"/>
                    <a:pt x="9069" y="17402"/>
                  </a:cubicBezTo>
                  <a:cubicBezTo>
                    <a:pt x="9089" y="17427"/>
                    <a:pt x="9103" y="17459"/>
                    <a:pt x="9099" y="17472"/>
                  </a:cubicBezTo>
                  <a:cubicBezTo>
                    <a:pt x="9092" y="17485"/>
                    <a:pt x="9074" y="17491"/>
                    <a:pt x="9064" y="17477"/>
                  </a:cubicBezTo>
                  <a:cubicBezTo>
                    <a:pt x="9048" y="17467"/>
                    <a:pt x="9034" y="17458"/>
                    <a:pt x="9030" y="17461"/>
                  </a:cubicBezTo>
                  <a:cubicBezTo>
                    <a:pt x="9026" y="17461"/>
                    <a:pt x="9045" y="17492"/>
                    <a:pt x="9072" y="17524"/>
                  </a:cubicBezTo>
                  <a:cubicBezTo>
                    <a:pt x="9098" y="17556"/>
                    <a:pt x="9127" y="17605"/>
                    <a:pt x="9139" y="17632"/>
                  </a:cubicBezTo>
                  <a:cubicBezTo>
                    <a:pt x="9148" y="17660"/>
                    <a:pt x="9162" y="17697"/>
                    <a:pt x="9166" y="17716"/>
                  </a:cubicBezTo>
                  <a:cubicBezTo>
                    <a:pt x="9171" y="17735"/>
                    <a:pt x="9171" y="17754"/>
                    <a:pt x="9164" y="17757"/>
                  </a:cubicBezTo>
                  <a:cubicBezTo>
                    <a:pt x="9159" y="17762"/>
                    <a:pt x="9152" y="17754"/>
                    <a:pt x="9149" y="17742"/>
                  </a:cubicBezTo>
                  <a:cubicBezTo>
                    <a:pt x="9146" y="17729"/>
                    <a:pt x="9141" y="17731"/>
                    <a:pt x="9137" y="17746"/>
                  </a:cubicBezTo>
                  <a:cubicBezTo>
                    <a:pt x="9134" y="17762"/>
                    <a:pt x="9133" y="17787"/>
                    <a:pt x="9139" y="17800"/>
                  </a:cubicBezTo>
                  <a:cubicBezTo>
                    <a:pt x="9142" y="17815"/>
                    <a:pt x="9176" y="17816"/>
                    <a:pt x="9211" y="17805"/>
                  </a:cubicBezTo>
                  <a:cubicBezTo>
                    <a:pt x="9245" y="17793"/>
                    <a:pt x="9292" y="17780"/>
                    <a:pt x="9314" y="17772"/>
                  </a:cubicBezTo>
                  <a:cubicBezTo>
                    <a:pt x="9336" y="17766"/>
                    <a:pt x="9382" y="17716"/>
                    <a:pt x="9415" y="17661"/>
                  </a:cubicBezTo>
                  <a:cubicBezTo>
                    <a:pt x="9446" y="17605"/>
                    <a:pt x="9483" y="17567"/>
                    <a:pt x="9493" y="17573"/>
                  </a:cubicBezTo>
                  <a:cubicBezTo>
                    <a:pt x="9500" y="17582"/>
                    <a:pt x="9514" y="17579"/>
                    <a:pt x="9518" y="17572"/>
                  </a:cubicBezTo>
                  <a:cubicBezTo>
                    <a:pt x="9522" y="17565"/>
                    <a:pt x="9527" y="17551"/>
                    <a:pt x="9527" y="17542"/>
                  </a:cubicBezTo>
                  <a:cubicBezTo>
                    <a:pt x="9527" y="17532"/>
                    <a:pt x="9543" y="17506"/>
                    <a:pt x="9559" y="17483"/>
                  </a:cubicBezTo>
                  <a:cubicBezTo>
                    <a:pt x="9576" y="17460"/>
                    <a:pt x="9611" y="17435"/>
                    <a:pt x="9635" y="17426"/>
                  </a:cubicBezTo>
                  <a:cubicBezTo>
                    <a:pt x="9658" y="17414"/>
                    <a:pt x="9692" y="17420"/>
                    <a:pt x="9706" y="17434"/>
                  </a:cubicBezTo>
                  <a:cubicBezTo>
                    <a:pt x="9720" y="17449"/>
                    <a:pt x="9754" y="17471"/>
                    <a:pt x="9782" y="17484"/>
                  </a:cubicBezTo>
                  <a:cubicBezTo>
                    <a:pt x="9810" y="17496"/>
                    <a:pt x="9837" y="17566"/>
                    <a:pt x="9846" y="17637"/>
                  </a:cubicBezTo>
                  <a:cubicBezTo>
                    <a:pt x="9855" y="17706"/>
                    <a:pt x="9872" y="17781"/>
                    <a:pt x="9883" y="17801"/>
                  </a:cubicBezTo>
                  <a:cubicBezTo>
                    <a:pt x="9896" y="17821"/>
                    <a:pt x="9912" y="17841"/>
                    <a:pt x="9919" y="17845"/>
                  </a:cubicBezTo>
                  <a:cubicBezTo>
                    <a:pt x="9927" y="17850"/>
                    <a:pt x="9934" y="17886"/>
                    <a:pt x="9936" y="17929"/>
                  </a:cubicBezTo>
                  <a:cubicBezTo>
                    <a:pt x="9936" y="17971"/>
                    <a:pt x="9955" y="18020"/>
                    <a:pt x="9968" y="18042"/>
                  </a:cubicBezTo>
                  <a:cubicBezTo>
                    <a:pt x="9986" y="18062"/>
                    <a:pt x="10007" y="18075"/>
                    <a:pt x="10018" y="18077"/>
                  </a:cubicBezTo>
                  <a:cubicBezTo>
                    <a:pt x="10028" y="18073"/>
                    <a:pt x="10035" y="18088"/>
                    <a:pt x="10035" y="18103"/>
                  </a:cubicBezTo>
                  <a:cubicBezTo>
                    <a:pt x="10033" y="18118"/>
                    <a:pt x="10040" y="18154"/>
                    <a:pt x="10049" y="18182"/>
                  </a:cubicBezTo>
                  <a:cubicBezTo>
                    <a:pt x="10059" y="18211"/>
                    <a:pt x="10081" y="18241"/>
                    <a:pt x="10100" y="18242"/>
                  </a:cubicBezTo>
                  <a:cubicBezTo>
                    <a:pt x="10118" y="18244"/>
                    <a:pt x="10142" y="18291"/>
                    <a:pt x="10158" y="18340"/>
                  </a:cubicBezTo>
                  <a:cubicBezTo>
                    <a:pt x="10169" y="18391"/>
                    <a:pt x="10177" y="18471"/>
                    <a:pt x="10175" y="18519"/>
                  </a:cubicBezTo>
                  <a:cubicBezTo>
                    <a:pt x="10169" y="18567"/>
                    <a:pt x="10153" y="18687"/>
                    <a:pt x="10129" y="18784"/>
                  </a:cubicBezTo>
                  <a:cubicBezTo>
                    <a:pt x="10109" y="18881"/>
                    <a:pt x="10070" y="19024"/>
                    <a:pt x="10042" y="19101"/>
                  </a:cubicBezTo>
                  <a:cubicBezTo>
                    <a:pt x="10013" y="19177"/>
                    <a:pt x="9993" y="19265"/>
                    <a:pt x="9989" y="19296"/>
                  </a:cubicBezTo>
                  <a:cubicBezTo>
                    <a:pt x="9987" y="19327"/>
                    <a:pt x="9996" y="19385"/>
                    <a:pt x="10009" y="19427"/>
                  </a:cubicBezTo>
                  <a:cubicBezTo>
                    <a:pt x="10021" y="19468"/>
                    <a:pt x="10041" y="19493"/>
                    <a:pt x="10046" y="19481"/>
                  </a:cubicBezTo>
                  <a:cubicBezTo>
                    <a:pt x="10054" y="19471"/>
                    <a:pt x="10071" y="19433"/>
                    <a:pt x="10087" y="19399"/>
                  </a:cubicBezTo>
                  <a:cubicBezTo>
                    <a:pt x="10105" y="19365"/>
                    <a:pt x="10112" y="19322"/>
                    <a:pt x="10109" y="19305"/>
                  </a:cubicBezTo>
                  <a:cubicBezTo>
                    <a:pt x="10104" y="19288"/>
                    <a:pt x="10108" y="19262"/>
                    <a:pt x="10119" y="19250"/>
                  </a:cubicBezTo>
                  <a:cubicBezTo>
                    <a:pt x="10130" y="19237"/>
                    <a:pt x="10151" y="19237"/>
                    <a:pt x="10170" y="19247"/>
                  </a:cubicBezTo>
                  <a:cubicBezTo>
                    <a:pt x="10185" y="19261"/>
                    <a:pt x="10198" y="19300"/>
                    <a:pt x="10200" y="19338"/>
                  </a:cubicBezTo>
                  <a:cubicBezTo>
                    <a:pt x="10199" y="19376"/>
                    <a:pt x="10172" y="19468"/>
                    <a:pt x="10139" y="19542"/>
                  </a:cubicBezTo>
                  <a:cubicBezTo>
                    <a:pt x="10106" y="19616"/>
                    <a:pt x="10084" y="19698"/>
                    <a:pt x="10090" y="19722"/>
                  </a:cubicBezTo>
                  <a:cubicBezTo>
                    <a:pt x="10097" y="19748"/>
                    <a:pt x="10100" y="19801"/>
                    <a:pt x="10102" y="19840"/>
                  </a:cubicBezTo>
                  <a:cubicBezTo>
                    <a:pt x="10102" y="19880"/>
                    <a:pt x="10114" y="19936"/>
                    <a:pt x="10129" y="19965"/>
                  </a:cubicBezTo>
                  <a:cubicBezTo>
                    <a:pt x="10143" y="19995"/>
                    <a:pt x="10159" y="20034"/>
                    <a:pt x="10163" y="20054"/>
                  </a:cubicBezTo>
                  <a:cubicBezTo>
                    <a:pt x="10166" y="20075"/>
                    <a:pt x="10178" y="20085"/>
                    <a:pt x="10189" y="20082"/>
                  </a:cubicBezTo>
                  <a:cubicBezTo>
                    <a:pt x="10196" y="20073"/>
                    <a:pt x="10212" y="20104"/>
                    <a:pt x="10217" y="20142"/>
                  </a:cubicBezTo>
                  <a:cubicBezTo>
                    <a:pt x="10221" y="20180"/>
                    <a:pt x="10233" y="20195"/>
                    <a:pt x="10242" y="20176"/>
                  </a:cubicBezTo>
                  <a:cubicBezTo>
                    <a:pt x="10252" y="20158"/>
                    <a:pt x="10259" y="20127"/>
                    <a:pt x="10259" y="20110"/>
                  </a:cubicBezTo>
                  <a:cubicBezTo>
                    <a:pt x="10261" y="20093"/>
                    <a:pt x="10266" y="20089"/>
                    <a:pt x="10277" y="20099"/>
                  </a:cubicBezTo>
                  <a:cubicBezTo>
                    <a:pt x="10288" y="20109"/>
                    <a:pt x="10314" y="20111"/>
                    <a:pt x="10338" y="20099"/>
                  </a:cubicBezTo>
                  <a:cubicBezTo>
                    <a:pt x="10363" y="20089"/>
                    <a:pt x="10364" y="20102"/>
                    <a:pt x="10346" y="20134"/>
                  </a:cubicBezTo>
                  <a:cubicBezTo>
                    <a:pt x="10326" y="20165"/>
                    <a:pt x="10308" y="20219"/>
                    <a:pt x="10300" y="20253"/>
                  </a:cubicBezTo>
                  <a:cubicBezTo>
                    <a:pt x="10295" y="20288"/>
                    <a:pt x="10280" y="20332"/>
                    <a:pt x="10271" y="20353"/>
                  </a:cubicBezTo>
                  <a:cubicBezTo>
                    <a:pt x="10260" y="20373"/>
                    <a:pt x="10251" y="20409"/>
                    <a:pt x="10255" y="20434"/>
                  </a:cubicBezTo>
                  <a:cubicBezTo>
                    <a:pt x="10255" y="20459"/>
                    <a:pt x="10284" y="20508"/>
                    <a:pt x="10312" y="20548"/>
                  </a:cubicBezTo>
                  <a:cubicBezTo>
                    <a:pt x="10345" y="20583"/>
                    <a:pt x="10370" y="20650"/>
                    <a:pt x="10370" y="20693"/>
                  </a:cubicBezTo>
                  <a:cubicBezTo>
                    <a:pt x="10373" y="20734"/>
                    <a:pt x="10372" y="20814"/>
                    <a:pt x="10370" y="20869"/>
                  </a:cubicBezTo>
                  <a:cubicBezTo>
                    <a:pt x="10366" y="20924"/>
                    <a:pt x="10372" y="20980"/>
                    <a:pt x="10381" y="20994"/>
                  </a:cubicBezTo>
                  <a:cubicBezTo>
                    <a:pt x="10392" y="21007"/>
                    <a:pt x="10416" y="21016"/>
                    <a:pt x="10437" y="21020"/>
                  </a:cubicBezTo>
                  <a:cubicBezTo>
                    <a:pt x="10458" y="21022"/>
                    <a:pt x="10484" y="21044"/>
                    <a:pt x="10492" y="21072"/>
                  </a:cubicBezTo>
                  <a:cubicBezTo>
                    <a:pt x="10499" y="21100"/>
                    <a:pt x="10505" y="21151"/>
                    <a:pt x="10500" y="21187"/>
                  </a:cubicBezTo>
                  <a:cubicBezTo>
                    <a:pt x="10496" y="21222"/>
                    <a:pt x="10518" y="21283"/>
                    <a:pt x="10547" y="21324"/>
                  </a:cubicBezTo>
                  <a:cubicBezTo>
                    <a:pt x="10576" y="21364"/>
                    <a:pt x="10589" y="21405"/>
                    <a:pt x="10574" y="21416"/>
                  </a:cubicBezTo>
                  <a:cubicBezTo>
                    <a:pt x="10560" y="21428"/>
                    <a:pt x="10568" y="21446"/>
                    <a:pt x="10595" y="21456"/>
                  </a:cubicBezTo>
                  <a:cubicBezTo>
                    <a:pt x="10622" y="21466"/>
                    <a:pt x="10653" y="21497"/>
                    <a:pt x="10664" y="21523"/>
                  </a:cubicBezTo>
                  <a:cubicBezTo>
                    <a:pt x="10676" y="21548"/>
                    <a:pt x="10707" y="21572"/>
                    <a:pt x="10728" y="21587"/>
                  </a:cubicBezTo>
                  <a:cubicBezTo>
                    <a:pt x="10752" y="21596"/>
                    <a:pt x="10793" y="21594"/>
                    <a:pt x="10816" y="21578"/>
                  </a:cubicBezTo>
                  <a:cubicBezTo>
                    <a:pt x="10842" y="21567"/>
                    <a:pt x="10878" y="21541"/>
                    <a:pt x="10899" y="21529"/>
                  </a:cubicBezTo>
                  <a:cubicBezTo>
                    <a:pt x="10920" y="21515"/>
                    <a:pt x="10942" y="21462"/>
                    <a:pt x="10948" y="21410"/>
                  </a:cubicBezTo>
                  <a:cubicBezTo>
                    <a:pt x="10954" y="21356"/>
                    <a:pt x="10972" y="21283"/>
                    <a:pt x="10987" y="21243"/>
                  </a:cubicBezTo>
                  <a:cubicBezTo>
                    <a:pt x="11003" y="21205"/>
                    <a:pt x="11031" y="21133"/>
                    <a:pt x="11042" y="21082"/>
                  </a:cubicBezTo>
                  <a:cubicBezTo>
                    <a:pt x="11055" y="21032"/>
                    <a:pt x="11086" y="20929"/>
                    <a:pt x="11110" y="20854"/>
                  </a:cubicBezTo>
                  <a:cubicBezTo>
                    <a:pt x="11135" y="20779"/>
                    <a:pt x="11153" y="20688"/>
                    <a:pt x="11151" y="20652"/>
                  </a:cubicBezTo>
                  <a:cubicBezTo>
                    <a:pt x="11149" y="20616"/>
                    <a:pt x="11153" y="20569"/>
                    <a:pt x="11161" y="20550"/>
                  </a:cubicBezTo>
                  <a:cubicBezTo>
                    <a:pt x="11166" y="20530"/>
                    <a:pt x="11181" y="20453"/>
                    <a:pt x="11186" y="20379"/>
                  </a:cubicBezTo>
                  <a:cubicBezTo>
                    <a:pt x="11194" y="20304"/>
                    <a:pt x="11195" y="20230"/>
                    <a:pt x="11188" y="20216"/>
                  </a:cubicBezTo>
                  <a:cubicBezTo>
                    <a:pt x="11184" y="20200"/>
                    <a:pt x="11187" y="20168"/>
                    <a:pt x="11205" y="20144"/>
                  </a:cubicBezTo>
                  <a:cubicBezTo>
                    <a:pt x="11221" y="20119"/>
                    <a:pt x="11227" y="20048"/>
                    <a:pt x="11222" y="19986"/>
                  </a:cubicBezTo>
                  <a:cubicBezTo>
                    <a:pt x="11215" y="19925"/>
                    <a:pt x="11190" y="19852"/>
                    <a:pt x="11164" y="19828"/>
                  </a:cubicBezTo>
                  <a:cubicBezTo>
                    <a:pt x="11140" y="19800"/>
                    <a:pt x="11113" y="19671"/>
                    <a:pt x="11101" y="19537"/>
                  </a:cubicBezTo>
                  <a:cubicBezTo>
                    <a:pt x="11091" y="19404"/>
                    <a:pt x="11076" y="19278"/>
                    <a:pt x="11068" y="19257"/>
                  </a:cubicBezTo>
                  <a:cubicBezTo>
                    <a:pt x="11060" y="19237"/>
                    <a:pt x="11058" y="19168"/>
                    <a:pt x="11064" y="19104"/>
                  </a:cubicBezTo>
                  <a:cubicBezTo>
                    <a:pt x="11071" y="19041"/>
                    <a:pt x="11086" y="18949"/>
                    <a:pt x="11100" y="18900"/>
                  </a:cubicBezTo>
                  <a:cubicBezTo>
                    <a:pt x="11113" y="18851"/>
                    <a:pt x="11115" y="18781"/>
                    <a:pt x="11109" y="18744"/>
                  </a:cubicBezTo>
                  <a:cubicBezTo>
                    <a:pt x="11101" y="18707"/>
                    <a:pt x="11083" y="18647"/>
                    <a:pt x="11067" y="18612"/>
                  </a:cubicBezTo>
                  <a:cubicBezTo>
                    <a:pt x="11050" y="18578"/>
                    <a:pt x="11033" y="18467"/>
                    <a:pt x="11024" y="18367"/>
                  </a:cubicBezTo>
                  <a:cubicBezTo>
                    <a:pt x="11014" y="18267"/>
                    <a:pt x="11002" y="18155"/>
                    <a:pt x="10992" y="18119"/>
                  </a:cubicBezTo>
                  <a:cubicBezTo>
                    <a:pt x="10982" y="18082"/>
                    <a:pt x="10974" y="17979"/>
                    <a:pt x="10972" y="17889"/>
                  </a:cubicBezTo>
                  <a:cubicBezTo>
                    <a:pt x="10972" y="17800"/>
                    <a:pt x="10963" y="17680"/>
                    <a:pt x="10950" y="17625"/>
                  </a:cubicBezTo>
                  <a:cubicBezTo>
                    <a:pt x="10939" y="17569"/>
                    <a:pt x="10939" y="17449"/>
                    <a:pt x="10952" y="17359"/>
                  </a:cubicBezTo>
                  <a:cubicBezTo>
                    <a:pt x="10965" y="17268"/>
                    <a:pt x="10974" y="17147"/>
                    <a:pt x="10974" y="17089"/>
                  </a:cubicBezTo>
                  <a:cubicBezTo>
                    <a:pt x="10974" y="17031"/>
                    <a:pt x="10984" y="16878"/>
                    <a:pt x="10998" y="16748"/>
                  </a:cubicBezTo>
                  <a:cubicBezTo>
                    <a:pt x="11012" y="16619"/>
                    <a:pt x="11026" y="16456"/>
                    <a:pt x="11031" y="16386"/>
                  </a:cubicBezTo>
                  <a:cubicBezTo>
                    <a:pt x="11035" y="16316"/>
                    <a:pt x="11058" y="16208"/>
                    <a:pt x="11080" y="16147"/>
                  </a:cubicBezTo>
                  <a:cubicBezTo>
                    <a:pt x="11103" y="16085"/>
                    <a:pt x="11144" y="15986"/>
                    <a:pt x="11168" y="15925"/>
                  </a:cubicBezTo>
                  <a:cubicBezTo>
                    <a:pt x="11194" y="15865"/>
                    <a:pt x="11233" y="15805"/>
                    <a:pt x="11256" y="15795"/>
                  </a:cubicBezTo>
                  <a:cubicBezTo>
                    <a:pt x="11278" y="15784"/>
                    <a:pt x="11308" y="15753"/>
                    <a:pt x="11320" y="15726"/>
                  </a:cubicBezTo>
                  <a:cubicBezTo>
                    <a:pt x="11334" y="15700"/>
                    <a:pt x="11352" y="15674"/>
                    <a:pt x="11364" y="15671"/>
                  </a:cubicBezTo>
                  <a:cubicBezTo>
                    <a:pt x="11376" y="15668"/>
                    <a:pt x="11403" y="15629"/>
                    <a:pt x="11423" y="15587"/>
                  </a:cubicBezTo>
                  <a:cubicBezTo>
                    <a:pt x="11443" y="15544"/>
                    <a:pt x="11466" y="15481"/>
                    <a:pt x="11469" y="15447"/>
                  </a:cubicBezTo>
                  <a:cubicBezTo>
                    <a:pt x="11475" y="15412"/>
                    <a:pt x="11470" y="15377"/>
                    <a:pt x="11463" y="15366"/>
                  </a:cubicBezTo>
                  <a:cubicBezTo>
                    <a:pt x="11454" y="15358"/>
                    <a:pt x="11454" y="15340"/>
                    <a:pt x="11462" y="15329"/>
                  </a:cubicBezTo>
                  <a:cubicBezTo>
                    <a:pt x="11471" y="15317"/>
                    <a:pt x="11503" y="15308"/>
                    <a:pt x="11534" y="15302"/>
                  </a:cubicBezTo>
                  <a:cubicBezTo>
                    <a:pt x="11565" y="15299"/>
                    <a:pt x="11597" y="15275"/>
                    <a:pt x="11603" y="15249"/>
                  </a:cubicBezTo>
                  <a:cubicBezTo>
                    <a:pt x="11607" y="15223"/>
                    <a:pt x="11635" y="15203"/>
                    <a:pt x="11661" y="15203"/>
                  </a:cubicBezTo>
                  <a:cubicBezTo>
                    <a:pt x="11686" y="15201"/>
                    <a:pt x="11716" y="15185"/>
                    <a:pt x="11722" y="15161"/>
                  </a:cubicBezTo>
                  <a:cubicBezTo>
                    <a:pt x="11730" y="15138"/>
                    <a:pt x="11772" y="15113"/>
                    <a:pt x="11811" y="15098"/>
                  </a:cubicBezTo>
                  <a:cubicBezTo>
                    <a:pt x="11851" y="15086"/>
                    <a:pt x="11898" y="15051"/>
                    <a:pt x="11915" y="15019"/>
                  </a:cubicBezTo>
                  <a:cubicBezTo>
                    <a:pt x="11932" y="14988"/>
                    <a:pt x="11968" y="14960"/>
                    <a:pt x="11995" y="14965"/>
                  </a:cubicBezTo>
                  <a:cubicBezTo>
                    <a:pt x="12023" y="14968"/>
                    <a:pt x="12052" y="14951"/>
                    <a:pt x="12061" y="14931"/>
                  </a:cubicBezTo>
                  <a:cubicBezTo>
                    <a:pt x="12068" y="14910"/>
                    <a:pt x="12087" y="14886"/>
                    <a:pt x="12103" y="14880"/>
                  </a:cubicBezTo>
                  <a:cubicBezTo>
                    <a:pt x="12118" y="14874"/>
                    <a:pt x="12142" y="14873"/>
                    <a:pt x="12157" y="14883"/>
                  </a:cubicBezTo>
                  <a:cubicBezTo>
                    <a:pt x="12173" y="14889"/>
                    <a:pt x="12207" y="14864"/>
                    <a:pt x="12231" y="14821"/>
                  </a:cubicBezTo>
                  <a:cubicBezTo>
                    <a:pt x="12258" y="14778"/>
                    <a:pt x="12281" y="14719"/>
                    <a:pt x="12286" y="14692"/>
                  </a:cubicBezTo>
                  <a:cubicBezTo>
                    <a:pt x="12288" y="14665"/>
                    <a:pt x="12305" y="14639"/>
                    <a:pt x="12318" y="14643"/>
                  </a:cubicBezTo>
                  <a:cubicBezTo>
                    <a:pt x="12331" y="14639"/>
                    <a:pt x="12363" y="14618"/>
                    <a:pt x="12385" y="14587"/>
                  </a:cubicBezTo>
                  <a:cubicBezTo>
                    <a:pt x="12408" y="14555"/>
                    <a:pt x="12430" y="14511"/>
                    <a:pt x="12432" y="14487"/>
                  </a:cubicBezTo>
                  <a:cubicBezTo>
                    <a:pt x="12434" y="14463"/>
                    <a:pt x="12483" y="14353"/>
                    <a:pt x="12542" y="14244"/>
                  </a:cubicBezTo>
                  <a:cubicBezTo>
                    <a:pt x="12601" y="14134"/>
                    <a:pt x="12675" y="14013"/>
                    <a:pt x="12704" y="13973"/>
                  </a:cubicBezTo>
                  <a:cubicBezTo>
                    <a:pt x="12735" y="13935"/>
                    <a:pt x="12791" y="13894"/>
                    <a:pt x="12830" y="13880"/>
                  </a:cubicBezTo>
                  <a:cubicBezTo>
                    <a:pt x="12872" y="13870"/>
                    <a:pt x="12916" y="13867"/>
                    <a:pt x="12927" y="13880"/>
                  </a:cubicBezTo>
                  <a:cubicBezTo>
                    <a:pt x="12939" y="13893"/>
                    <a:pt x="12960" y="13896"/>
                    <a:pt x="12973" y="13894"/>
                  </a:cubicBezTo>
                  <a:cubicBezTo>
                    <a:pt x="12985" y="13888"/>
                    <a:pt x="13018" y="13831"/>
                    <a:pt x="13047" y="13763"/>
                  </a:cubicBezTo>
                  <a:cubicBezTo>
                    <a:pt x="13075" y="13696"/>
                    <a:pt x="13161" y="13563"/>
                    <a:pt x="13239" y="13469"/>
                  </a:cubicBezTo>
                  <a:cubicBezTo>
                    <a:pt x="13315" y="13373"/>
                    <a:pt x="13438" y="13243"/>
                    <a:pt x="13509" y="13176"/>
                  </a:cubicBezTo>
                  <a:cubicBezTo>
                    <a:pt x="13579" y="13108"/>
                    <a:pt x="13668" y="13051"/>
                    <a:pt x="13703" y="13039"/>
                  </a:cubicBezTo>
                  <a:cubicBezTo>
                    <a:pt x="13737" y="13029"/>
                    <a:pt x="13774" y="13013"/>
                    <a:pt x="13785" y="13002"/>
                  </a:cubicBezTo>
                  <a:cubicBezTo>
                    <a:pt x="13794" y="12989"/>
                    <a:pt x="13819" y="12978"/>
                    <a:pt x="13836" y="12971"/>
                  </a:cubicBezTo>
                  <a:cubicBezTo>
                    <a:pt x="13853" y="12966"/>
                    <a:pt x="13869" y="12973"/>
                    <a:pt x="13872" y="12987"/>
                  </a:cubicBezTo>
                  <a:cubicBezTo>
                    <a:pt x="13874" y="13000"/>
                    <a:pt x="13897" y="13011"/>
                    <a:pt x="13921" y="13003"/>
                  </a:cubicBezTo>
                  <a:cubicBezTo>
                    <a:pt x="13946" y="12999"/>
                    <a:pt x="13993" y="12956"/>
                    <a:pt x="14022" y="12906"/>
                  </a:cubicBezTo>
                  <a:cubicBezTo>
                    <a:pt x="14052" y="12857"/>
                    <a:pt x="14068" y="12816"/>
                    <a:pt x="14060" y="12809"/>
                  </a:cubicBezTo>
                  <a:cubicBezTo>
                    <a:pt x="14049" y="12807"/>
                    <a:pt x="14041" y="12787"/>
                    <a:pt x="14033" y="12774"/>
                  </a:cubicBezTo>
                  <a:cubicBezTo>
                    <a:pt x="14030" y="12759"/>
                    <a:pt x="14000" y="12778"/>
                    <a:pt x="13972" y="12816"/>
                  </a:cubicBezTo>
                  <a:cubicBezTo>
                    <a:pt x="13944" y="12855"/>
                    <a:pt x="13890" y="12888"/>
                    <a:pt x="13854" y="12885"/>
                  </a:cubicBezTo>
                  <a:cubicBezTo>
                    <a:pt x="13819" y="12887"/>
                    <a:pt x="13776" y="12860"/>
                    <a:pt x="13755" y="12834"/>
                  </a:cubicBezTo>
                  <a:cubicBezTo>
                    <a:pt x="13737" y="12805"/>
                    <a:pt x="13741" y="12792"/>
                    <a:pt x="13765" y="12805"/>
                  </a:cubicBezTo>
                  <a:cubicBezTo>
                    <a:pt x="13789" y="12818"/>
                    <a:pt x="13841" y="12803"/>
                    <a:pt x="13882" y="12775"/>
                  </a:cubicBezTo>
                  <a:cubicBezTo>
                    <a:pt x="13922" y="12745"/>
                    <a:pt x="13950" y="12711"/>
                    <a:pt x="13947" y="12696"/>
                  </a:cubicBezTo>
                  <a:cubicBezTo>
                    <a:pt x="13940" y="12682"/>
                    <a:pt x="13951" y="12654"/>
                    <a:pt x="13967" y="12634"/>
                  </a:cubicBezTo>
                  <a:cubicBezTo>
                    <a:pt x="13984" y="12615"/>
                    <a:pt x="13991" y="12581"/>
                    <a:pt x="13982" y="12561"/>
                  </a:cubicBezTo>
                  <a:cubicBezTo>
                    <a:pt x="13977" y="12540"/>
                    <a:pt x="13942" y="12517"/>
                    <a:pt x="13908" y="12515"/>
                  </a:cubicBezTo>
                  <a:cubicBezTo>
                    <a:pt x="13875" y="12508"/>
                    <a:pt x="13834" y="12487"/>
                    <a:pt x="13824" y="12460"/>
                  </a:cubicBezTo>
                  <a:cubicBezTo>
                    <a:pt x="13811" y="12435"/>
                    <a:pt x="13816" y="12412"/>
                    <a:pt x="13835" y="12412"/>
                  </a:cubicBezTo>
                  <a:cubicBezTo>
                    <a:pt x="13855" y="12412"/>
                    <a:pt x="13884" y="12423"/>
                    <a:pt x="13904" y="12431"/>
                  </a:cubicBezTo>
                  <a:cubicBezTo>
                    <a:pt x="13922" y="12443"/>
                    <a:pt x="13953" y="12437"/>
                    <a:pt x="13975" y="12425"/>
                  </a:cubicBezTo>
                  <a:cubicBezTo>
                    <a:pt x="13997" y="12412"/>
                    <a:pt x="14016" y="12375"/>
                    <a:pt x="14023" y="12346"/>
                  </a:cubicBezTo>
                  <a:cubicBezTo>
                    <a:pt x="14030" y="12317"/>
                    <a:pt x="14038" y="12329"/>
                    <a:pt x="14047" y="12373"/>
                  </a:cubicBezTo>
                  <a:cubicBezTo>
                    <a:pt x="14053" y="12417"/>
                    <a:pt x="14078" y="12450"/>
                    <a:pt x="14097" y="12441"/>
                  </a:cubicBezTo>
                  <a:cubicBezTo>
                    <a:pt x="14117" y="12433"/>
                    <a:pt x="14149" y="12441"/>
                    <a:pt x="14167" y="12457"/>
                  </a:cubicBezTo>
                  <a:cubicBezTo>
                    <a:pt x="14185" y="12473"/>
                    <a:pt x="14208" y="12470"/>
                    <a:pt x="14225" y="12456"/>
                  </a:cubicBezTo>
                  <a:cubicBezTo>
                    <a:pt x="14238" y="12440"/>
                    <a:pt x="14261" y="12401"/>
                    <a:pt x="14273" y="12368"/>
                  </a:cubicBezTo>
                  <a:cubicBezTo>
                    <a:pt x="14290" y="12337"/>
                    <a:pt x="14325" y="12276"/>
                    <a:pt x="14359" y="12234"/>
                  </a:cubicBezTo>
                  <a:cubicBezTo>
                    <a:pt x="14393" y="12193"/>
                    <a:pt x="14428" y="12158"/>
                    <a:pt x="14437" y="12156"/>
                  </a:cubicBezTo>
                  <a:cubicBezTo>
                    <a:pt x="14446" y="12152"/>
                    <a:pt x="14462" y="12114"/>
                    <a:pt x="14474" y="12069"/>
                  </a:cubicBezTo>
                  <a:cubicBezTo>
                    <a:pt x="14486" y="12023"/>
                    <a:pt x="14485" y="11958"/>
                    <a:pt x="14480" y="11923"/>
                  </a:cubicBezTo>
                  <a:cubicBezTo>
                    <a:pt x="14469" y="11889"/>
                    <a:pt x="14458" y="11862"/>
                    <a:pt x="14452" y="11868"/>
                  </a:cubicBezTo>
                  <a:cubicBezTo>
                    <a:pt x="14444" y="11872"/>
                    <a:pt x="14423" y="11911"/>
                    <a:pt x="14403" y="11954"/>
                  </a:cubicBezTo>
                  <a:cubicBezTo>
                    <a:pt x="14385" y="11998"/>
                    <a:pt x="14366" y="12056"/>
                    <a:pt x="14362" y="12083"/>
                  </a:cubicBezTo>
                  <a:cubicBezTo>
                    <a:pt x="14357" y="12109"/>
                    <a:pt x="14344" y="12125"/>
                    <a:pt x="14330" y="12118"/>
                  </a:cubicBezTo>
                  <a:cubicBezTo>
                    <a:pt x="14316" y="12112"/>
                    <a:pt x="14308" y="12054"/>
                    <a:pt x="14308" y="11992"/>
                  </a:cubicBezTo>
                  <a:cubicBezTo>
                    <a:pt x="14312" y="11930"/>
                    <a:pt x="14301" y="11876"/>
                    <a:pt x="14291" y="11868"/>
                  </a:cubicBezTo>
                  <a:cubicBezTo>
                    <a:pt x="14281" y="11861"/>
                    <a:pt x="14224" y="11876"/>
                    <a:pt x="14163" y="11894"/>
                  </a:cubicBezTo>
                  <a:cubicBezTo>
                    <a:pt x="14104" y="11915"/>
                    <a:pt x="14030" y="11942"/>
                    <a:pt x="14001" y="11961"/>
                  </a:cubicBezTo>
                  <a:cubicBezTo>
                    <a:pt x="13973" y="11979"/>
                    <a:pt x="13952" y="11970"/>
                    <a:pt x="13961" y="11945"/>
                  </a:cubicBezTo>
                  <a:cubicBezTo>
                    <a:pt x="13968" y="11920"/>
                    <a:pt x="13978" y="11848"/>
                    <a:pt x="13987" y="11785"/>
                  </a:cubicBezTo>
                  <a:cubicBezTo>
                    <a:pt x="13994" y="11722"/>
                    <a:pt x="14008" y="11662"/>
                    <a:pt x="14019" y="11652"/>
                  </a:cubicBezTo>
                  <a:cubicBezTo>
                    <a:pt x="14029" y="11641"/>
                    <a:pt x="14043" y="11668"/>
                    <a:pt x="14056" y="11710"/>
                  </a:cubicBezTo>
                  <a:cubicBezTo>
                    <a:pt x="14065" y="11752"/>
                    <a:pt x="14088" y="11793"/>
                    <a:pt x="14106" y="11799"/>
                  </a:cubicBezTo>
                  <a:cubicBezTo>
                    <a:pt x="14124" y="11802"/>
                    <a:pt x="14150" y="11793"/>
                    <a:pt x="14167" y="11772"/>
                  </a:cubicBezTo>
                  <a:cubicBezTo>
                    <a:pt x="14182" y="11749"/>
                    <a:pt x="14229" y="11716"/>
                    <a:pt x="14269" y="11696"/>
                  </a:cubicBezTo>
                  <a:cubicBezTo>
                    <a:pt x="14309" y="11674"/>
                    <a:pt x="14349" y="11650"/>
                    <a:pt x="14357" y="11637"/>
                  </a:cubicBezTo>
                  <a:cubicBezTo>
                    <a:pt x="14367" y="11627"/>
                    <a:pt x="14387" y="11613"/>
                    <a:pt x="14405" y="11610"/>
                  </a:cubicBezTo>
                  <a:cubicBezTo>
                    <a:pt x="14425" y="11610"/>
                    <a:pt x="14449" y="11587"/>
                    <a:pt x="14460" y="11564"/>
                  </a:cubicBezTo>
                  <a:cubicBezTo>
                    <a:pt x="14472" y="11541"/>
                    <a:pt x="14478" y="11485"/>
                    <a:pt x="14478" y="11440"/>
                  </a:cubicBezTo>
                  <a:cubicBezTo>
                    <a:pt x="14476" y="11395"/>
                    <a:pt x="14466" y="11346"/>
                    <a:pt x="14457" y="11329"/>
                  </a:cubicBezTo>
                  <a:cubicBezTo>
                    <a:pt x="14446" y="11314"/>
                    <a:pt x="14439" y="11283"/>
                    <a:pt x="14444" y="11263"/>
                  </a:cubicBezTo>
                  <a:cubicBezTo>
                    <a:pt x="14445" y="11242"/>
                    <a:pt x="14461" y="11232"/>
                    <a:pt x="14475" y="11241"/>
                  </a:cubicBezTo>
                  <a:cubicBezTo>
                    <a:pt x="14487" y="11252"/>
                    <a:pt x="14513" y="11223"/>
                    <a:pt x="14528" y="11181"/>
                  </a:cubicBezTo>
                  <a:cubicBezTo>
                    <a:pt x="14545" y="11140"/>
                    <a:pt x="14555" y="11074"/>
                    <a:pt x="14549" y="11036"/>
                  </a:cubicBezTo>
                  <a:cubicBezTo>
                    <a:pt x="14547" y="10998"/>
                    <a:pt x="14532" y="10955"/>
                    <a:pt x="14521" y="10939"/>
                  </a:cubicBezTo>
                  <a:cubicBezTo>
                    <a:pt x="14508" y="10924"/>
                    <a:pt x="14481" y="10919"/>
                    <a:pt x="14461" y="10930"/>
                  </a:cubicBezTo>
                  <a:cubicBezTo>
                    <a:pt x="14441" y="10941"/>
                    <a:pt x="14404" y="10945"/>
                    <a:pt x="14380" y="10938"/>
                  </a:cubicBezTo>
                  <a:cubicBezTo>
                    <a:pt x="14356" y="10933"/>
                    <a:pt x="14330" y="10887"/>
                    <a:pt x="14324" y="10838"/>
                  </a:cubicBezTo>
                  <a:cubicBezTo>
                    <a:pt x="14321" y="10788"/>
                    <a:pt x="14299" y="10751"/>
                    <a:pt x="14281" y="10751"/>
                  </a:cubicBezTo>
                  <a:cubicBezTo>
                    <a:pt x="14265" y="10756"/>
                    <a:pt x="14232" y="10748"/>
                    <a:pt x="14210" y="10739"/>
                  </a:cubicBezTo>
                  <a:cubicBezTo>
                    <a:pt x="14187" y="10734"/>
                    <a:pt x="14157" y="10697"/>
                    <a:pt x="14141" y="10666"/>
                  </a:cubicBezTo>
                  <a:cubicBezTo>
                    <a:pt x="14125" y="10634"/>
                    <a:pt x="14130" y="10618"/>
                    <a:pt x="14151" y="10632"/>
                  </a:cubicBezTo>
                  <a:cubicBezTo>
                    <a:pt x="14173" y="10646"/>
                    <a:pt x="14220" y="10653"/>
                    <a:pt x="14255" y="10650"/>
                  </a:cubicBezTo>
                  <a:cubicBezTo>
                    <a:pt x="14291" y="10650"/>
                    <a:pt x="14325" y="10674"/>
                    <a:pt x="14339" y="10708"/>
                  </a:cubicBezTo>
                  <a:cubicBezTo>
                    <a:pt x="14348" y="10745"/>
                    <a:pt x="14371" y="10783"/>
                    <a:pt x="14389" y="10791"/>
                  </a:cubicBezTo>
                  <a:cubicBezTo>
                    <a:pt x="14405" y="10801"/>
                    <a:pt x="14432" y="10785"/>
                    <a:pt x="14445" y="10754"/>
                  </a:cubicBezTo>
                  <a:cubicBezTo>
                    <a:pt x="14459" y="10723"/>
                    <a:pt x="14444" y="10666"/>
                    <a:pt x="14413" y="10625"/>
                  </a:cubicBezTo>
                  <a:cubicBezTo>
                    <a:pt x="14380" y="10585"/>
                    <a:pt x="14379" y="10558"/>
                    <a:pt x="14408" y="10561"/>
                  </a:cubicBezTo>
                  <a:cubicBezTo>
                    <a:pt x="14438" y="10563"/>
                    <a:pt x="14464" y="10554"/>
                    <a:pt x="14469" y="10534"/>
                  </a:cubicBezTo>
                  <a:cubicBezTo>
                    <a:pt x="14472" y="10514"/>
                    <a:pt x="14483" y="10485"/>
                    <a:pt x="14495" y="10474"/>
                  </a:cubicBezTo>
                  <a:cubicBezTo>
                    <a:pt x="14507" y="10461"/>
                    <a:pt x="14508" y="10427"/>
                    <a:pt x="14505" y="10400"/>
                  </a:cubicBezTo>
                  <a:cubicBezTo>
                    <a:pt x="14501" y="10372"/>
                    <a:pt x="14471" y="10330"/>
                    <a:pt x="14443" y="10306"/>
                  </a:cubicBezTo>
                  <a:cubicBezTo>
                    <a:pt x="14415" y="10282"/>
                    <a:pt x="14384" y="10222"/>
                    <a:pt x="14379" y="10172"/>
                  </a:cubicBezTo>
                  <a:cubicBezTo>
                    <a:pt x="14370" y="10123"/>
                    <a:pt x="14375" y="10092"/>
                    <a:pt x="14389" y="10095"/>
                  </a:cubicBezTo>
                  <a:cubicBezTo>
                    <a:pt x="14401" y="10103"/>
                    <a:pt x="14414" y="10137"/>
                    <a:pt x="14422" y="10171"/>
                  </a:cubicBezTo>
                  <a:cubicBezTo>
                    <a:pt x="14427" y="10206"/>
                    <a:pt x="14449" y="10233"/>
                    <a:pt x="14470" y="10234"/>
                  </a:cubicBezTo>
                  <a:cubicBezTo>
                    <a:pt x="14490" y="10236"/>
                    <a:pt x="14518" y="10198"/>
                    <a:pt x="14530" y="10153"/>
                  </a:cubicBezTo>
                  <a:cubicBezTo>
                    <a:pt x="14543" y="10108"/>
                    <a:pt x="14551" y="10043"/>
                    <a:pt x="14553" y="10007"/>
                  </a:cubicBezTo>
                  <a:cubicBezTo>
                    <a:pt x="14551" y="9972"/>
                    <a:pt x="14535" y="9933"/>
                    <a:pt x="14518" y="9915"/>
                  </a:cubicBezTo>
                  <a:cubicBezTo>
                    <a:pt x="14498" y="9902"/>
                    <a:pt x="14462" y="9845"/>
                    <a:pt x="14436" y="9793"/>
                  </a:cubicBezTo>
                  <a:cubicBezTo>
                    <a:pt x="14409" y="9741"/>
                    <a:pt x="14362" y="9691"/>
                    <a:pt x="14333" y="9674"/>
                  </a:cubicBezTo>
                  <a:cubicBezTo>
                    <a:pt x="14303" y="9662"/>
                    <a:pt x="14271" y="9620"/>
                    <a:pt x="14256" y="9584"/>
                  </a:cubicBezTo>
                  <a:cubicBezTo>
                    <a:pt x="14244" y="9548"/>
                    <a:pt x="14220" y="9508"/>
                    <a:pt x="14199" y="9500"/>
                  </a:cubicBezTo>
                  <a:cubicBezTo>
                    <a:pt x="14180" y="9489"/>
                    <a:pt x="14170" y="9452"/>
                    <a:pt x="14172" y="9416"/>
                  </a:cubicBezTo>
                  <a:cubicBezTo>
                    <a:pt x="14177" y="9380"/>
                    <a:pt x="14201" y="9316"/>
                    <a:pt x="14224" y="9272"/>
                  </a:cubicBezTo>
                  <a:cubicBezTo>
                    <a:pt x="14250" y="9229"/>
                    <a:pt x="14253" y="9229"/>
                    <a:pt x="14239" y="9275"/>
                  </a:cubicBezTo>
                  <a:cubicBezTo>
                    <a:pt x="14222" y="9320"/>
                    <a:pt x="14213" y="9373"/>
                    <a:pt x="14213" y="9394"/>
                  </a:cubicBezTo>
                  <a:cubicBezTo>
                    <a:pt x="14218" y="9413"/>
                    <a:pt x="14229" y="9426"/>
                    <a:pt x="14242" y="9429"/>
                  </a:cubicBezTo>
                  <a:cubicBezTo>
                    <a:pt x="14255" y="9429"/>
                    <a:pt x="14276" y="9464"/>
                    <a:pt x="14289" y="9507"/>
                  </a:cubicBezTo>
                  <a:cubicBezTo>
                    <a:pt x="14303" y="9550"/>
                    <a:pt x="14334" y="9593"/>
                    <a:pt x="14361" y="9590"/>
                  </a:cubicBezTo>
                  <a:cubicBezTo>
                    <a:pt x="14388" y="9594"/>
                    <a:pt x="14431" y="9638"/>
                    <a:pt x="14462" y="9690"/>
                  </a:cubicBezTo>
                  <a:cubicBezTo>
                    <a:pt x="14488" y="9744"/>
                    <a:pt x="14519" y="9782"/>
                    <a:pt x="14529" y="9780"/>
                  </a:cubicBezTo>
                  <a:cubicBezTo>
                    <a:pt x="14538" y="9777"/>
                    <a:pt x="14553" y="9705"/>
                    <a:pt x="14566" y="9624"/>
                  </a:cubicBezTo>
                  <a:cubicBezTo>
                    <a:pt x="14580" y="9543"/>
                    <a:pt x="14592" y="9443"/>
                    <a:pt x="14592" y="9403"/>
                  </a:cubicBezTo>
                  <a:cubicBezTo>
                    <a:pt x="14595" y="9363"/>
                    <a:pt x="14604" y="9307"/>
                    <a:pt x="14610" y="9277"/>
                  </a:cubicBezTo>
                  <a:cubicBezTo>
                    <a:pt x="14617" y="9248"/>
                    <a:pt x="14618" y="9206"/>
                    <a:pt x="14616" y="9183"/>
                  </a:cubicBezTo>
                  <a:cubicBezTo>
                    <a:pt x="14614" y="9160"/>
                    <a:pt x="14621" y="9091"/>
                    <a:pt x="14630" y="9030"/>
                  </a:cubicBezTo>
                  <a:cubicBezTo>
                    <a:pt x="14640" y="8969"/>
                    <a:pt x="14657" y="8899"/>
                    <a:pt x="14665" y="8874"/>
                  </a:cubicBezTo>
                  <a:cubicBezTo>
                    <a:pt x="14672" y="8849"/>
                    <a:pt x="14668" y="8808"/>
                    <a:pt x="14661" y="8780"/>
                  </a:cubicBezTo>
                  <a:cubicBezTo>
                    <a:pt x="14648" y="8754"/>
                    <a:pt x="14653" y="8729"/>
                    <a:pt x="14664" y="8731"/>
                  </a:cubicBezTo>
                  <a:cubicBezTo>
                    <a:pt x="14676" y="8731"/>
                    <a:pt x="14699" y="8711"/>
                    <a:pt x="14724" y="8692"/>
                  </a:cubicBezTo>
                  <a:cubicBezTo>
                    <a:pt x="14743" y="8668"/>
                    <a:pt x="14789" y="8620"/>
                    <a:pt x="14821" y="8583"/>
                  </a:cubicBezTo>
                  <a:cubicBezTo>
                    <a:pt x="14855" y="8545"/>
                    <a:pt x="14890" y="8481"/>
                    <a:pt x="14904" y="8442"/>
                  </a:cubicBezTo>
                  <a:cubicBezTo>
                    <a:pt x="14916" y="8401"/>
                    <a:pt x="14927" y="8359"/>
                    <a:pt x="14927" y="8347"/>
                  </a:cubicBezTo>
                  <a:cubicBezTo>
                    <a:pt x="14927" y="8335"/>
                    <a:pt x="14935" y="8337"/>
                    <a:pt x="14939" y="8352"/>
                  </a:cubicBezTo>
                  <a:cubicBezTo>
                    <a:pt x="14947" y="8366"/>
                    <a:pt x="14943" y="8412"/>
                    <a:pt x="14929" y="8451"/>
                  </a:cubicBezTo>
                  <a:cubicBezTo>
                    <a:pt x="14917" y="8491"/>
                    <a:pt x="14912" y="8534"/>
                    <a:pt x="14919" y="8546"/>
                  </a:cubicBezTo>
                  <a:cubicBezTo>
                    <a:pt x="14922" y="8559"/>
                    <a:pt x="14907" y="8588"/>
                    <a:pt x="14881" y="8614"/>
                  </a:cubicBezTo>
                  <a:cubicBezTo>
                    <a:pt x="14854" y="8638"/>
                    <a:pt x="14815" y="8697"/>
                    <a:pt x="14793" y="8743"/>
                  </a:cubicBezTo>
                  <a:cubicBezTo>
                    <a:pt x="14773" y="8791"/>
                    <a:pt x="14770" y="8870"/>
                    <a:pt x="14785" y="8921"/>
                  </a:cubicBezTo>
                  <a:cubicBezTo>
                    <a:pt x="14803" y="8972"/>
                    <a:pt x="14806" y="9064"/>
                    <a:pt x="14792" y="9124"/>
                  </a:cubicBezTo>
                  <a:cubicBezTo>
                    <a:pt x="14777" y="9184"/>
                    <a:pt x="14747" y="9272"/>
                    <a:pt x="14721" y="9318"/>
                  </a:cubicBezTo>
                  <a:cubicBezTo>
                    <a:pt x="14697" y="9364"/>
                    <a:pt x="14674" y="9433"/>
                    <a:pt x="14669" y="9472"/>
                  </a:cubicBezTo>
                  <a:cubicBezTo>
                    <a:pt x="14665" y="9511"/>
                    <a:pt x="14678" y="9575"/>
                    <a:pt x="14696" y="9615"/>
                  </a:cubicBezTo>
                  <a:cubicBezTo>
                    <a:pt x="14715" y="9654"/>
                    <a:pt x="14741" y="9672"/>
                    <a:pt x="14752" y="9654"/>
                  </a:cubicBezTo>
                  <a:cubicBezTo>
                    <a:pt x="14764" y="9637"/>
                    <a:pt x="14776" y="9635"/>
                    <a:pt x="14776" y="9652"/>
                  </a:cubicBezTo>
                  <a:cubicBezTo>
                    <a:pt x="14778" y="9669"/>
                    <a:pt x="14790" y="9679"/>
                    <a:pt x="14803" y="9676"/>
                  </a:cubicBezTo>
                  <a:cubicBezTo>
                    <a:pt x="14815" y="9669"/>
                    <a:pt x="14829" y="9677"/>
                    <a:pt x="14828" y="9686"/>
                  </a:cubicBezTo>
                  <a:cubicBezTo>
                    <a:pt x="14833" y="9693"/>
                    <a:pt x="14819" y="9719"/>
                    <a:pt x="14808" y="9740"/>
                  </a:cubicBezTo>
                  <a:cubicBezTo>
                    <a:pt x="14795" y="9760"/>
                    <a:pt x="14793" y="9801"/>
                    <a:pt x="14800" y="9829"/>
                  </a:cubicBezTo>
                  <a:cubicBezTo>
                    <a:pt x="14807" y="9857"/>
                    <a:pt x="14842" y="9878"/>
                    <a:pt x="14876" y="9870"/>
                  </a:cubicBezTo>
                  <a:cubicBezTo>
                    <a:pt x="14912" y="9866"/>
                    <a:pt x="14918" y="9879"/>
                    <a:pt x="14890" y="9902"/>
                  </a:cubicBezTo>
                  <a:cubicBezTo>
                    <a:pt x="14860" y="9922"/>
                    <a:pt x="14847" y="9951"/>
                    <a:pt x="14847" y="9960"/>
                  </a:cubicBezTo>
                  <a:cubicBezTo>
                    <a:pt x="14852" y="9969"/>
                    <a:pt x="14837" y="10007"/>
                    <a:pt x="14815" y="10042"/>
                  </a:cubicBezTo>
                  <a:cubicBezTo>
                    <a:pt x="14795" y="10079"/>
                    <a:pt x="14779" y="10128"/>
                    <a:pt x="14779" y="10154"/>
                  </a:cubicBezTo>
                  <a:cubicBezTo>
                    <a:pt x="14780" y="10180"/>
                    <a:pt x="14763" y="10236"/>
                    <a:pt x="14743" y="10279"/>
                  </a:cubicBezTo>
                  <a:cubicBezTo>
                    <a:pt x="14719" y="10319"/>
                    <a:pt x="14697" y="10394"/>
                    <a:pt x="14684" y="10441"/>
                  </a:cubicBezTo>
                  <a:cubicBezTo>
                    <a:pt x="14671" y="10488"/>
                    <a:pt x="14660" y="10559"/>
                    <a:pt x="14660" y="10600"/>
                  </a:cubicBezTo>
                  <a:cubicBezTo>
                    <a:pt x="14660" y="10640"/>
                    <a:pt x="14664" y="10658"/>
                    <a:pt x="14674" y="10641"/>
                  </a:cubicBezTo>
                  <a:cubicBezTo>
                    <a:pt x="14683" y="10623"/>
                    <a:pt x="14695" y="10593"/>
                    <a:pt x="14700" y="10573"/>
                  </a:cubicBezTo>
                  <a:cubicBezTo>
                    <a:pt x="14706" y="10553"/>
                    <a:pt x="14742" y="10472"/>
                    <a:pt x="14777" y="10391"/>
                  </a:cubicBezTo>
                  <a:cubicBezTo>
                    <a:pt x="14816" y="10313"/>
                    <a:pt x="14847" y="10259"/>
                    <a:pt x="14848" y="10273"/>
                  </a:cubicBezTo>
                  <a:cubicBezTo>
                    <a:pt x="14852" y="10288"/>
                    <a:pt x="14849" y="10314"/>
                    <a:pt x="14852" y="10330"/>
                  </a:cubicBezTo>
                  <a:cubicBezTo>
                    <a:pt x="14850" y="10346"/>
                    <a:pt x="14861" y="10345"/>
                    <a:pt x="14871" y="10327"/>
                  </a:cubicBezTo>
                  <a:cubicBezTo>
                    <a:pt x="14881" y="10309"/>
                    <a:pt x="14888" y="10273"/>
                    <a:pt x="14894" y="10248"/>
                  </a:cubicBezTo>
                  <a:cubicBezTo>
                    <a:pt x="14894" y="10222"/>
                    <a:pt x="14916" y="10166"/>
                    <a:pt x="14937" y="10123"/>
                  </a:cubicBezTo>
                  <a:cubicBezTo>
                    <a:pt x="14959" y="10080"/>
                    <a:pt x="15004" y="9973"/>
                    <a:pt x="15035" y="9885"/>
                  </a:cubicBezTo>
                  <a:cubicBezTo>
                    <a:pt x="15066" y="9797"/>
                    <a:pt x="15123" y="9699"/>
                    <a:pt x="15159" y="9667"/>
                  </a:cubicBezTo>
                  <a:cubicBezTo>
                    <a:pt x="15195" y="9636"/>
                    <a:pt x="15252" y="9542"/>
                    <a:pt x="15284" y="9460"/>
                  </a:cubicBezTo>
                  <a:cubicBezTo>
                    <a:pt x="15318" y="9379"/>
                    <a:pt x="15349" y="9268"/>
                    <a:pt x="15357" y="9215"/>
                  </a:cubicBezTo>
                  <a:cubicBezTo>
                    <a:pt x="15365" y="9163"/>
                    <a:pt x="15361" y="9064"/>
                    <a:pt x="15348" y="8997"/>
                  </a:cubicBezTo>
                  <a:cubicBezTo>
                    <a:pt x="15338" y="8930"/>
                    <a:pt x="15319" y="8859"/>
                    <a:pt x="15306" y="8840"/>
                  </a:cubicBezTo>
                  <a:cubicBezTo>
                    <a:pt x="15295" y="8820"/>
                    <a:pt x="15287" y="8758"/>
                    <a:pt x="15289" y="8702"/>
                  </a:cubicBezTo>
                  <a:cubicBezTo>
                    <a:pt x="15292" y="8647"/>
                    <a:pt x="15281" y="8587"/>
                    <a:pt x="15274" y="8568"/>
                  </a:cubicBezTo>
                  <a:cubicBezTo>
                    <a:pt x="15260" y="8551"/>
                    <a:pt x="15254" y="8501"/>
                    <a:pt x="15255" y="8459"/>
                  </a:cubicBezTo>
                  <a:cubicBezTo>
                    <a:pt x="15255" y="8418"/>
                    <a:pt x="15274" y="8350"/>
                    <a:pt x="15291" y="8308"/>
                  </a:cubicBezTo>
                  <a:cubicBezTo>
                    <a:pt x="15310" y="8268"/>
                    <a:pt x="15349" y="8202"/>
                    <a:pt x="15380" y="8164"/>
                  </a:cubicBezTo>
                  <a:cubicBezTo>
                    <a:pt x="15409" y="8125"/>
                    <a:pt x="15466" y="8073"/>
                    <a:pt x="15500" y="8044"/>
                  </a:cubicBezTo>
                  <a:cubicBezTo>
                    <a:pt x="15536" y="8018"/>
                    <a:pt x="15517" y="8059"/>
                    <a:pt x="15460" y="8139"/>
                  </a:cubicBezTo>
                  <a:cubicBezTo>
                    <a:pt x="15403" y="8219"/>
                    <a:pt x="15348" y="8312"/>
                    <a:pt x="15335" y="8343"/>
                  </a:cubicBezTo>
                  <a:cubicBezTo>
                    <a:pt x="15325" y="8376"/>
                    <a:pt x="15320" y="8425"/>
                    <a:pt x="15329" y="8453"/>
                  </a:cubicBezTo>
                  <a:cubicBezTo>
                    <a:pt x="15338" y="8481"/>
                    <a:pt x="15368" y="8540"/>
                    <a:pt x="15397" y="8582"/>
                  </a:cubicBezTo>
                  <a:cubicBezTo>
                    <a:pt x="15427" y="8625"/>
                    <a:pt x="15468" y="8652"/>
                    <a:pt x="15490" y="8641"/>
                  </a:cubicBezTo>
                  <a:cubicBezTo>
                    <a:pt x="15512" y="8629"/>
                    <a:pt x="15538" y="8636"/>
                    <a:pt x="15550" y="8652"/>
                  </a:cubicBezTo>
                  <a:cubicBezTo>
                    <a:pt x="15555" y="8672"/>
                    <a:pt x="15549" y="8731"/>
                    <a:pt x="15527" y="8789"/>
                  </a:cubicBezTo>
                  <a:cubicBezTo>
                    <a:pt x="15503" y="8846"/>
                    <a:pt x="15506" y="8873"/>
                    <a:pt x="15531" y="8848"/>
                  </a:cubicBezTo>
                  <a:cubicBezTo>
                    <a:pt x="15559" y="8824"/>
                    <a:pt x="15577" y="8810"/>
                    <a:pt x="15579" y="8821"/>
                  </a:cubicBezTo>
                  <a:cubicBezTo>
                    <a:pt x="15579" y="8832"/>
                    <a:pt x="15605" y="8804"/>
                    <a:pt x="15634" y="8759"/>
                  </a:cubicBezTo>
                  <a:cubicBezTo>
                    <a:pt x="15661" y="8713"/>
                    <a:pt x="15690" y="8655"/>
                    <a:pt x="15697" y="8628"/>
                  </a:cubicBezTo>
                  <a:cubicBezTo>
                    <a:pt x="15702" y="8601"/>
                    <a:pt x="15719" y="8581"/>
                    <a:pt x="15730" y="8577"/>
                  </a:cubicBezTo>
                  <a:cubicBezTo>
                    <a:pt x="15743" y="8575"/>
                    <a:pt x="15764" y="8553"/>
                    <a:pt x="15779" y="8528"/>
                  </a:cubicBezTo>
                  <a:cubicBezTo>
                    <a:pt x="15792" y="8502"/>
                    <a:pt x="15821" y="8467"/>
                    <a:pt x="15845" y="8458"/>
                  </a:cubicBezTo>
                  <a:cubicBezTo>
                    <a:pt x="15867" y="8446"/>
                    <a:pt x="15900" y="8383"/>
                    <a:pt x="15922" y="8318"/>
                  </a:cubicBezTo>
                  <a:cubicBezTo>
                    <a:pt x="15944" y="8254"/>
                    <a:pt x="15976" y="8181"/>
                    <a:pt x="15991" y="8154"/>
                  </a:cubicBezTo>
                  <a:cubicBezTo>
                    <a:pt x="16007" y="8128"/>
                    <a:pt x="16034" y="8109"/>
                    <a:pt x="16046" y="8104"/>
                  </a:cubicBezTo>
                  <a:cubicBezTo>
                    <a:pt x="16060" y="8104"/>
                    <a:pt x="16085" y="8063"/>
                    <a:pt x="16102" y="8017"/>
                  </a:cubicBezTo>
                  <a:cubicBezTo>
                    <a:pt x="16119" y="7972"/>
                    <a:pt x="16144" y="7911"/>
                    <a:pt x="16159" y="7883"/>
                  </a:cubicBezTo>
                  <a:cubicBezTo>
                    <a:pt x="16173" y="7855"/>
                    <a:pt x="16182" y="7817"/>
                    <a:pt x="16182" y="7799"/>
                  </a:cubicBezTo>
                  <a:cubicBezTo>
                    <a:pt x="16180" y="7780"/>
                    <a:pt x="16191" y="7731"/>
                    <a:pt x="16211" y="7691"/>
                  </a:cubicBezTo>
                  <a:cubicBezTo>
                    <a:pt x="16230" y="7650"/>
                    <a:pt x="16244" y="7604"/>
                    <a:pt x="16244" y="7589"/>
                  </a:cubicBezTo>
                  <a:cubicBezTo>
                    <a:pt x="16242" y="7575"/>
                    <a:pt x="16265" y="7538"/>
                    <a:pt x="16283" y="7505"/>
                  </a:cubicBezTo>
                  <a:cubicBezTo>
                    <a:pt x="16304" y="7473"/>
                    <a:pt x="16322" y="7426"/>
                    <a:pt x="16318" y="7401"/>
                  </a:cubicBezTo>
                  <a:cubicBezTo>
                    <a:pt x="16319" y="7376"/>
                    <a:pt x="16302" y="7340"/>
                    <a:pt x="16285" y="7322"/>
                  </a:cubicBezTo>
                  <a:cubicBezTo>
                    <a:pt x="16269" y="7303"/>
                    <a:pt x="16249" y="7267"/>
                    <a:pt x="16240" y="7241"/>
                  </a:cubicBezTo>
                  <a:cubicBezTo>
                    <a:pt x="16230" y="7215"/>
                    <a:pt x="16262" y="7165"/>
                    <a:pt x="16304" y="7125"/>
                  </a:cubicBezTo>
                  <a:cubicBezTo>
                    <a:pt x="16349" y="7088"/>
                    <a:pt x="16388" y="7033"/>
                    <a:pt x="16394" y="7005"/>
                  </a:cubicBezTo>
                  <a:cubicBezTo>
                    <a:pt x="16400" y="6978"/>
                    <a:pt x="16426" y="6929"/>
                    <a:pt x="16453" y="6896"/>
                  </a:cubicBezTo>
                  <a:cubicBezTo>
                    <a:pt x="16480" y="6863"/>
                    <a:pt x="16527" y="6821"/>
                    <a:pt x="16557" y="6807"/>
                  </a:cubicBezTo>
                  <a:cubicBezTo>
                    <a:pt x="16585" y="6792"/>
                    <a:pt x="16649" y="6741"/>
                    <a:pt x="16703" y="6701"/>
                  </a:cubicBezTo>
                  <a:cubicBezTo>
                    <a:pt x="16753" y="6657"/>
                    <a:pt x="16825" y="6617"/>
                    <a:pt x="16859" y="6612"/>
                  </a:cubicBezTo>
                  <a:cubicBezTo>
                    <a:pt x="16891" y="6602"/>
                    <a:pt x="16964" y="6554"/>
                    <a:pt x="17020" y="6501"/>
                  </a:cubicBezTo>
                  <a:cubicBezTo>
                    <a:pt x="17073" y="6445"/>
                    <a:pt x="17135" y="6397"/>
                    <a:pt x="17153" y="6394"/>
                  </a:cubicBezTo>
                  <a:cubicBezTo>
                    <a:pt x="17170" y="6387"/>
                    <a:pt x="17194" y="6396"/>
                    <a:pt x="17206" y="6407"/>
                  </a:cubicBezTo>
                  <a:cubicBezTo>
                    <a:pt x="17215" y="6419"/>
                    <a:pt x="17276" y="6413"/>
                    <a:pt x="17339" y="6399"/>
                  </a:cubicBezTo>
                  <a:cubicBezTo>
                    <a:pt x="17402" y="6385"/>
                    <a:pt x="17478" y="6371"/>
                    <a:pt x="17505" y="6381"/>
                  </a:cubicBezTo>
                  <a:cubicBezTo>
                    <a:pt x="17534" y="6386"/>
                    <a:pt x="17589" y="6374"/>
                    <a:pt x="17632" y="6359"/>
                  </a:cubicBezTo>
                  <a:cubicBezTo>
                    <a:pt x="17673" y="6339"/>
                    <a:pt x="17761" y="6311"/>
                    <a:pt x="17827" y="6296"/>
                  </a:cubicBezTo>
                  <a:cubicBezTo>
                    <a:pt x="17893" y="6280"/>
                    <a:pt x="17963" y="6255"/>
                    <a:pt x="17983" y="6245"/>
                  </a:cubicBezTo>
                  <a:cubicBezTo>
                    <a:pt x="18002" y="6232"/>
                    <a:pt x="18009" y="6209"/>
                    <a:pt x="18000" y="6191"/>
                  </a:cubicBezTo>
                  <a:cubicBezTo>
                    <a:pt x="17989" y="6173"/>
                    <a:pt x="17992" y="6112"/>
                    <a:pt x="18003" y="6056"/>
                  </a:cubicBezTo>
                  <a:cubicBezTo>
                    <a:pt x="18015" y="6000"/>
                    <a:pt x="18028" y="5913"/>
                    <a:pt x="18035" y="5865"/>
                  </a:cubicBezTo>
                  <a:cubicBezTo>
                    <a:pt x="18043" y="5817"/>
                    <a:pt x="18069" y="5809"/>
                    <a:pt x="18094" y="5851"/>
                  </a:cubicBezTo>
                  <a:cubicBezTo>
                    <a:pt x="18123" y="5889"/>
                    <a:pt x="18137" y="5957"/>
                    <a:pt x="18134" y="5998"/>
                  </a:cubicBezTo>
                  <a:cubicBezTo>
                    <a:pt x="18126" y="6038"/>
                    <a:pt x="18117" y="6096"/>
                    <a:pt x="18111" y="6125"/>
                  </a:cubicBezTo>
                  <a:cubicBezTo>
                    <a:pt x="18103" y="6154"/>
                    <a:pt x="18115" y="6177"/>
                    <a:pt x="18135" y="6181"/>
                  </a:cubicBezTo>
                  <a:cubicBezTo>
                    <a:pt x="18155" y="6182"/>
                    <a:pt x="18200" y="6147"/>
                    <a:pt x="18234" y="6103"/>
                  </a:cubicBezTo>
                  <a:cubicBezTo>
                    <a:pt x="18269" y="6060"/>
                    <a:pt x="18330" y="5962"/>
                    <a:pt x="18367" y="5883"/>
                  </a:cubicBezTo>
                  <a:cubicBezTo>
                    <a:pt x="18405" y="5806"/>
                    <a:pt x="18448" y="5773"/>
                    <a:pt x="18457" y="5810"/>
                  </a:cubicBezTo>
                  <a:cubicBezTo>
                    <a:pt x="18469" y="5847"/>
                    <a:pt x="18475" y="5902"/>
                    <a:pt x="18467" y="5930"/>
                  </a:cubicBezTo>
                  <a:cubicBezTo>
                    <a:pt x="18463" y="5959"/>
                    <a:pt x="18474" y="5987"/>
                    <a:pt x="18493" y="5994"/>
                  </a:cubicBezTo>
                  <a:cubicBezTo>
                    <a:pt x="18511" y="6000"/>
                    <a:pt x="18594" y="5956"/>
                    <a:pt x="18676" y="5895"/>
                  </a:cubicBezTo>
                  <a:cubicBezTo>
                    <a:pt x="18756" y="5833"/>
                    <a:pt x="18848" y="5748"/>
                    <a:pt x="18873" y="5700"/>
                  </a:cubicBezTo>
                  <a:cubicBezTo>
                    <a:pt x="18898" y="5653"/>
                    <a:pt x="18917" y="5558"/>
                    <a:pt x="18908" y="5490"/>
                  </a:cubicBezTo>
                  <a:cubicBezTo>
                    <a:pt x="18902" y="5421"/>
                    <a:pt x="18882" y="5370"/>
                    <a:pt x="18867" y="5380"/>
                  </a:cubicBezTo>
                  <a:cubicBezTo>
                    <a:pt x="18850" y="5386"/>
                    <a:pt x="18836" y="5424"/>
                    <a:pt x="18836" y="5460"/>
                  </a:cubicBezTo>
                  <a:cubicBezTo>
                    <a:pt x="18834" y="5496"/>
                    <a:pt x="18818" y="5565"/>
                    <a:pt x="18799" y="5614"/>
                  </a:cubicBezTo>
                  <a:cubicBezTo>
                    <a:pt x="18780" y="5663"/>
                    <a:pt x="18726" y="5708"/>
                    <a:pt x="18679" y="5719"/>
                  </a:cubicBezTo>
                  <a:cubicBezTo>
                    <a:pt x="18632" y="5728"/>
                    <a:pt x="18593" y="5707"/>
                    <a:pt x="18593" y="5673"/>
                  </a:cubicBezTo>
                  <a:cubicBezTo>
                    <a:pt x="18595" y="5639"/>
                    <a:pt x="18585" y="5558"/>
                    <a:pt x="18577" y="5492"/>
                  </a:cubicBezTo>
                  <a:cubicBezTo>
                    <a:pt x="18569" y="5427"/>
                    <a:pt x="18528" y="5357"/>
                    <a:pt x="18494" y="5331"/>
                  </a:cubicBezTo>
                  <a:cubicBezTo>
                    <a:pt x="18455" y="5309"/>
                    <a:pt x="18429" y="5272"/>
                    <a:pt x="18431" y="5253"/>
                  </a:cubicBezTo>
                  <a:cubicBezTo>
                    <a:pt x="18433" y="5233"/>
                    <a:pt x="18490" y="5156"/>
                    <a:pt x="18555" y="5080"/>
                  </a:cubicBezTo>
                  <a:cubicBezTo>
                    <a:pt x="18620" y="5003"/>
                    <a:pt x="18675" y="4917"/>
                    <a:pt x="18678" y="4886"/>
                  </a:cubicBezTo>
                  <a:cubicBezTo>
                    <a:pt x="18680" y="4855"/>
                    <a:pt x="18664" y="4831"/>
                    <a:pt x="18644" y="4836"/>
                  </a:cubicBezTo>
                  <a:cubicBezTo>
                    <a:pt x="18623" y="4841"/>
                    <a:pt x="18612" y="4821"/>
                    <a:pt x="18618" y="4795"/>
                  </a:cubicBezTo>
                  <a:cubicBezTo>
                    <a:pt x="18624" y="4768"/>
                    <a:pt x="18645" y="4731"/>
                    <a:pt x="18664" y="4713"/>
                  </a:cubicBezTo>
                  <a:cubicBezTo>
                    <a:pt x="18684" y="4694"/>
                    <a:pt x="18707" y="4652"/>
                    <a:pt x="18718" y="4621"/>
                  </a:cubicBezTo>
                  <a:cubicBezTo>
                    <a:pt x="18727" y="4589"/>
                    <a:pt x="18758" y="4536"/>
                    <a:pt x="18782" y="4501"/>
                  </a:cubicBezTo>
                  <a:cubicBezTo>
                    <a:pt x="18806" y="4466"/>
                    <a:pt x="18851" y="4375"/>
                    <a:pt x="18882" y="4298"/>
                  </a:cubicBezTo>
                  <a:cubicBezTo>
                    <a:pt x="18913" y="4221"/>
                    <a:pt x="18996" y="4102"/>
                    <a:pt x="19063" y="4031"/>
                  </a:cubicBezTo>
                  <a:cubicBezTo>
                    <a:pt x="19131" y="3962"/>
                    <a:pt x="19209" y="3856"/>
                    <a:pt x="19238" y="3798"/>
                  </a:cubicBezTo>
                  <a:cubicBezTo>
                    <a:pt x="19263" y="3738"/>
                    <a:pt x="19302" y="3687"/>
                    <a:pt x="19320" y="3685"/>
                  </a:cubicBezTo>
                  <a:cubicBezTo>
                    <a:pt x="19339" y="3684"/>
                    <a:pt x="19374" y="3648"/>
                    <a:pt x="19397" y="3606"/>
                  </a:cubicBezTo>
                  <a:cubicBezTo>
                    <a:pt x="19419" y="3565"/>
                    <a:pt x="19438" y="3554"/>
                    <a:pt x="19438" y="3581"/>
                  </a:cubicBezTo>
                  <a:cubicBezTo>
                    <a:pt x="19436" y="3607"/>
                    <a:pt x="19453" y="3633"/>
                    <a:pt x="19475" y="3638"/>
                  </a:cubicBezTo>
                  <a:cubicBezTo>
                    <a:pt x="19496" y="3642"/>
                    <a:pt x="19528" y="3624"/>
                    <a:pt x="19548" y="3597"/>
                  </a:cubicBezTo>
                  <a:cubicBezTo>
                    <a:pt x="19569" y="3570"/>
                    <a:pt x="19601" y="3509"/>
                    <a:pt x="19626" y="3464"/>
                  </a:cubicBezTo>
                  <a:cubicBezTo>
                    <a:pt x="19649" y="3419"/>
                    <a:pt x="19670" y="3418"/>
                    <a:pt x="19666" y="3460"/>
                  </a:cubicBezTo>
                  <a:cubicBezTo>
                    <a:pt x="19666" y="3503"/>
                    <a:pt x="19679" y="3534"/>
                    <a:pt x="19699" y="3532"/>
                  </a:cubicBezTo>
                  <a:cubicBezTo>
                    <a:pt x="19718" y="3528"/>
                    <a:pt x="19753" y="3485"/>
                    <a:pt x="19780" y="3436"/>
                  </a:cubicBezTo>
                  <a:cubicBezTo>
                    <a:pt x="19807" y="3387"/>
                    <a:pt x="19832" y="3361"/>
                    <a:pt x="19839" y="3378"/>
                  </a:cubicBezTo>
                  <a:cubicBezTo>
                    <a:pt x="19845" y="3397"/>
                    <a:pt x="19870" y="3396"/>
                    <a:pt x="19891" y="3375"/>
                  </a:cubicBezTo>
                  <a:cubicBezTo>
                    <a:pt x="19912" y="3355"/>
                    <a:pt x="19963" y="3283"/>
                    <a:pt x="20003" y="3213"/>
                  </a:cubicBezTo>
                  <a:cubicBezTo>
                    <a:pt x="20043" y="3143"/>
                    <a:pt x="20119" y="3025"/>
                    <a:pt x="20173" y="2951"/>
                  </a:cubicBezTo>
                  <a:cubicBezTo>
                    <a:pt x="20226" y="2876"/>
                    <a:pt x="20255" y="2849"/>
                    <a:pt x="20241" y="2892"/>
                  </a:cubicBezTo>
                  <a:cubicBezTo>
                    <a:pt x="20227" y="2934"/>
                    <a:pt x="20218" y="2994"/>
                    <a:pt x="20220" y="3025"/>
                  </a:cubicBezTo>
                  <a:cubicBezTo>
                    <a:pt x="20226" y="3056"/>
                    <a:pt x="20253" y="3071"/>
                    <a:pt x="20286" y="3062"/>
                  </a:cubicBezTo>
                  <a:cubicBezTo>
                    <a:pt x="20318" y="3051"/>
                    <a:pt x="20372" y="3005"/>
                    <a:pt x="20408" y="2962"/>
                  </a:cubicBezTo>
                  <a:cubicBezTo>
                    <a:pt x="20440" y="2917"/>
                    <a:pt x="20501" y="2876"/>
                    <a:pt x="20539" y="2871"/>
                  </a:cubicBezTo>
                  <a:cubicBezTo>
                    <a:pt x="20577" y="2866"/>
                    <a:pt x="20610" y="2897"/>
                    <a:pt x="20614" y="2942"/>
                  </a:cubicBezTo>
                  <a:cubicBezTo>
                    <a:pt x="20618" y="2986"/>
                    <a:pt x="20639" y="3020"/>
                    <a:pt x="20662" y="3017"/>
                  </a:cubicBezTo>
                  <a:cubicBezTo>
                    <a:pt x="20686" y="3015"/>
                    <a:pt x="20733" y="2967"/>
                    <a:pt x="20768" y="2916"/>
                  </a:cubicBezTo>
                  <a:cubicBezTo>
                    <a:pt x="20804" y="2867"/>
                    <a:pt x="20851" y="2829"/>
                    <a:pt x="20874" y="2840"/>
                  </a:cubicBezTo>
                  <a:cubicBezTo>
                    <a:pt x="20898" y="2851"/>
                    <a:pt x="20934" y="2845"/>
                    <a:pt x="20954" y="2830"/>
                  </a:cubicBezTo>
                  <a:cubicBezTo>
                    <a:pt x="20974" y="2815"/>
                    <a:pt x="21019" y="2777"/>
                    <a:pt x="21054" y="2747"/>
                  </a:cubicBezTo>
                  <a:cubicBezTo>
                    <a:pt x="21090" y="2718"/>
                    <a:pt x="21137" y="2691"/>
                    <a:pt x="21163" y="2689"/>
                  </a:cubicBezTo>
                  <a:cubicBezTo>
                    <a:pt x="21188" y="2687"/>
                    <a:pt x="21247" y="2658"/>
                    <a:pt x="21292" y="2622"/>
                  </a:cubicBezTo>
                  <a:cubicBezTo>
                    <a:pt x="21339" y="2586"/>
                    <a:pt x="21382" y="2576"/>
                    <a:pt x="21391" y="2598"/>
                  </a:cubicBezTo>
                  <a:cubicBezTo>
                    <a:pt x="21401" y="2621"/>
                    <a:pt x="21431" y="2630"/>
                    <a:pt x="21464" y="2622"/>
                  </a:cubicBezTo>
                  <a:cubicBezTo>
                    <a:pt x="21494" y="2609"/>
                    <a:pt x="21544" y="2572"/>
                    <a:pt x="21571" y="2533"/>
                  </a:cubicBezTo>
                  <a:cubicBezTo>
                    <a:pt x="21597" y="2493"/>
                    <a:pt x="21599" y="2446"/>
                    <a:pt x="21568" y="2430"/>
                  </a:cubicBezTo>
                  <a:cubicBezTo>
                    <a:pt x="21541" y="2408"/>
                    <a:pt x="21498" y="2422"/>
                    <a:pt x="21480" y="2454"/>
                  </a:cubicBezTo>
                  <a:cubicBezTo>
                    <a:pt x="21465" y="2486"/>
                    <a:pt x="21431" y="2487"/>
                    <a:pt x="21411" y="2460"/>
                  </a:cubicBezTo>
                  <a:cubicBezTo>
                    <a:pt x="21391" y="2432"/>
                    <a:pt x="21390" y="2369"/>
                    <a:pt x="21408" y="2321"/>
                  </a:cubicBezTo>
                  <a:cubicBezTo>
                    <a:pt x="21426" y="2272"/>
                    <a:pt x="21392" y="2207"/>
                    <a:pt x="21335" y="2170"/>
                  </a:cubicBezTo>
                  <a:cubicBezTo>
                    <a:pt x="21278" y="2135"/>
                    <a:pt x="21232" y="2108"/>
                    <a:pt x="21232" y="2108"/>
                  </a:cubicBezTo>
                  <a:cubicBezTo>
                    <a:pt x="21232" y="2108"/>
                    <a:pt x="21232" y="2107"/>
                    <a:pt x="21230" y="2107"/>
                  </a:cubicBezTo>
                  <a:cubicBezTo>
                    <a:pt x="21229" y="2106"/>
                    <a:pt x="21222" y="2096"/>
                    <a:pt x="21216" y="2084"/>
                  </a:cubicBezTo>
                  <a:cubicBezTo>
                    <a:pt x="21207" y="2073"/>
                    <a:pt x="21215" y="2046"/>
                    <a:pt x="21225" y="2027"/>
                  </a:cubicBezTo>
                  <a:close/>
                  <a:moveTo>
                    <a:pt x="21225" y="202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2" name="AutoShape 1284"/>
            <p:cNvSpPr>
              <a:spLocks/>
            </p:cNvSpPr>
            <p:nvPr/>
          </p:nvSpPr>
          <p:spPr bwMode="auto">
            <a:xfrm>
              <a:off x="4432300" y="3479800"/>
              <a:ext cx="9525" cy="7938"/>
            </a:xfrm>
            <a:custGeom>
              <a:avLst/>
              <a:gdLst/>
              <a:ahLst/>
              <a:cxnLst/>
              <a:rect l="0" t="0" r="r" b="b"/>
              <a:pathLst>
                <a:path w="20675" h="20621">
                  <a:moveTo>
                    <a:pt x="4371" y="20361"/>
                  </a:moveTo>
                  <a:cubicBezTo>
                    <a:pt x="6164" y="19471"/>
                    <a:pt x="9183" y="17030"/>
                    <a:pt x="10852" y="14278"/>
                  </a:cubicBezTo>
                  <a:cubicBezTo>
                    <a:pt x="12469" y="11495"/>
                    <a:pt x="15892" y="9287"/>
                    <a:pt x="18192" y="8586"/>
                  </a:cubicBezTo>
                  <a:cubicBezTo>
                    <a:pt x="20489" y="7930"/>
                    <a:pt x="21335" y="5895"/>
                    <a:pt x="20125" y="3406"/>
                  </a:cubicBezTo>
                  <a:cubicBezTo>
                    <a:pt x="18683" y="1139"/>
                    <a:pt x="15564" y="-361"/>
                    <a:pt x="12720" y="75"/>
                  </a:cubicBezTo>
                  <a:cubicBezTo>
                    <a:pt x="9915" y="577"/>
                    <a:pt x="7011" y="2592"/>
                    <a:pt x="6164" y="4175"/>
                  </a:cubicBezTo>
                  <a:cubicBezTo>
                    <a:pt x="5305" y="5755"/>
                    <a:pt x="3499" y="8726"/>
                    <a:pt x="1984" y="10617"/>
                  </a:cubicBezTo>
                  <a:cubicBezTo>
                    <a:pt x="454" y="12494"/>
                    <a:pt x="-265" y="15732"/>
                    <a:pt x="89" y="17811"/>
                  </a:cubicBezTo>
                  <a:cubicBezTo>
                    <a:pt x="695" y="19769"/>
                    <a:pt x="2553" y="21239"/>
                    <a:pt x="4371" y="20361"/>
                  </a:cubicBezTo>
                  <a:close/>
                  <a:moveTo>
                    <a:pt x="4371" y="203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3" name="AutoShape 1285"/>
            <p:cNvSpPr>
              <a:spLocks/>
            </p:cNvSpPr>
            <p:nvPr/>
          </p:nvSpPr>
          <p:spPr bwMode="auto">
            <a:xfrm>
              <a:off x="3733800" y="4229100"/>
              <a:ext cx="3175" cy="36513"/>
            </a:xfrm>
            <a:custGeom>
              <a:avLst/>
              <a:gdLst/>
              <a:ahLst/>
              <a:cxnLst/>
              <a:rect l="0" t="0" r="r" b="b"/>
              <a:pathLst>
                <a:path w="18300" h="20384">
                  <a:moveTo>
                    <a:pt x="796" y="10801"/>
                  </a:moveTo>
                  <a:cubicBezTo>
                    <a:pt x="-1243" y="13288"/>
                    <a:pt x="966" y="16914"/>
                    <a:pt x="3699" y="18862"/>
                  </a:cubicBezTo>
                  <a:cubicBezTo>
                    <a:pt x="6742" y="20807"/>
                    <a:pt x="7429" y="20903"/>
                    <a:pt x="5878" y="19065"/>
                  </a:cubicBezTo>
                  <a:cubicBezTo>
                    <a:pt x="4837" y="17217"/>
                    <a:pt x="3351" y="13711"/>
                    <a:pt x="5496" y="11267"/>
                  </a:cubicBezTo>
                  <a:cubicBezTo>
                    <a:pt x="6981" y="8820"/>
                    <a:pt x="11405" y="4668"/>
                    <a:pt x="15517" y="2040"/>
                  </a:cubicBezTo>
                  <a:cubicBezTo>
                    <a:pt x="20357" y="-567"/>
                    <a:pt x="18489" y="-697"/>
                    <a:pt x="12962" y="1777"/>
                  </a:cubicBezTo>
                  <a:cubicBezTo>
                    <a:pt x="7364" y="4248"/>
                    <a:pt x="1830" y="8310"/>
                    <a:pt x="796" y="10801"/>
                  </a:cubicBezTo>
                  <a:close/>
                  <a:moveTo>
                    <a:pt x="796" y="108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4" name="AutoShape 1286"/>
            <p:cNvSpPr>
              <a:spLocks/>
            </p:cNvSpPr>
            <p:nvPr/>
          </p:nvSpPr>
          <p:spPr bwMode="auto">
            <a:xfrm>
              <a:off x="4343400" y="3505200"/>
              <a:ext cx="57150" cy="31750"/>
            </a:xfrm>
            <a:custGeom>
              <a:avLst/>
              <a:gdLst/>
              <a:ahLst/>
              <a:cxnLst/>
              <a:rect l="0" t="0" r="r" b="b"/>
              <a:pathLst>
                <a:path w="21386" h="21170">
                  <a:moveTo>
                    <a:pt x="19428" y="3981"/>
                  </a:moveTo>
                  <a:cubicBezTo>
                    <a:pt x="19159" y="3660"/>
                    <a:pt x="18441" y="4257"/>
                    <a:pt x="17786" y="4931"/>
                  </a:cubicBezTo>
                  <a:cubicBezTo>
                    <a:pt x="17169" y="5718"/>
                    <a:pt x="16890" y="5677"/>
                    <a:pt x="17144" y="4837"/>
                  </a:cubicBezTo>
                  <a:cubicBezTo>
                    <a:pt x="17425" y="4026"/>
                    <a:pt x="17814" y="2711"/>
                    <a:pt x="18104" y="2032"/>
                  </a:cubicBezTo>
                  <a:cubicBezTo>
                    <a:pt x="18349" y="1302"/>
                    <a:pt x="18628" y="450"/>
                    <a:pt x="18591" y="85"/>
                  </a:cubicBezTo>
                  <a:cubicBezTo>
                    <a:pt x="18621" y="-281"/>
                    <a:pt x="17862" y="572"/>
                    <a:pt x="16945" y="1948"/>
                  </a:cubicBezTo>
                  <a:cubicBezTo>
                    <a:pt x="16037" y="3319"/>
                    <a:pt x="14548" y="4809"/>
                    <a:pt x="13616" y="5004"/>
                  </a:cubicBezTo>
                  <a:cubicBezTo>
                    <a:pt x="12696" y="5365"/>
                    <a:pt x="11297" y="6193"/>
                    <a:pt x="10504" y="6960"/>
                  </a:cubicBezTo>
                  <a:cubicBezTo>
                    <a:pt x="9703" y="7703"/>
                    <a:pt x="8594" y="8234"/>
                    <a:pt x="8004" y="8040"/>
                  </a:cubicBezTo>
                  <a:cubicBezTo>
                    <a:pt x="7428" y="7808"/>
                    <a:pt x="6202" y="8559"/>
                    <a:pt x="5333" y="9732"/>
                  </a:cubicBezTo>
                  <a:cubicBezTo>
                    <a:pt x="4423" y="10783"/>
                    <a:pt x="3172" y="12034"/>
                    <a:pt x="2534" y="12541"/>
                  </a:cubicBezTo>
                  <a:cubicBezTo>
                    <a:pt x="1881" y="12930"/>
                    <a:pt x="1018" y="14225"/>
                    <a:pt x="648" y="15365"/>
                  </a:cubicBezTo>
                  <a:cubicBezTo>
                    <a:pt x="248" y="16486"/>
                    <a:pt x="-54" y="17934"/>
                    <a:pt x="8" y="18548"/>
                  </a:cubicBezTo>
                  <a:cubicBezTo>
                    <a:pt x="40" y="19172"/>
                    <a:pt x="378" y="19643"/>
                    <a:pt x="739" y="19583"/>
                  </a:cubicBezTo>
                  <a:cubicBezTo>
                    <a:pt x="1098" y="19583"/>
                    <a:pt x="1119" y="19939"/>
                    <a:pt x="892" y="20622"/>
                  </a:cubicBezTo>
                  <a:cubicBezTo>
                    <a:pt x="614" y="21243"/>
                    <a:pt x="726" y="21319"/>
                    <a:pt x="1187" y="20939"/>
                  </a:cubicBezTo>
                  <a:cubicBezTo>
                    <a:pt x="1620" y="20467"/>
                    <a:pt x="2159" y="19676"/>
                    <a:pt x="2381" y="19156"/>
                  </a:cubicBezTo>
                  <a:cubicBezTo>
                    <a:pt x="2605" y="18624"/>
                    <a:pt x="3303" y="17943"/>
                    <a:pt x="3948" y="17699"/>
                  </a:cubicBezTo>
                  <a:cubicBezTo>
                    <a:pt x="4574" y="17330"/>
                    <a:pt x="5644" y="16762"/>
                    <a:pt x="6241" y="16076"/>
                  </a:cubicBezTo>
                  <a:cubicBezTo>
                    <a:pt x="6877" y="15511"/>
                    <a:pt x="8155" y="14704"/>
                    <a:pt x="9113" y="14326"/>
                  </a:cubicBezTo>
                  <a:cubicBezTo>
                    <a:pt x="10087" y="14136"/>
                    <a:pt x="11281" y="13121"/>
                    <a:pt x="11752" y="12338"/>
                  </a:cubicBezTo>
                  <a:cubicBezTo>
                    <a:pt x="12232" y="11551"/>
                    <a:pt x="13316" y="10698"/>
                    <a:pt x="14153" y="10641"/>
                  </a:cubicBezTo>
                  <a:cubicBezTo>
                    <a:pt x="14992" y="10515"/>
                    <a:pt x="15875" y="9898"/>
                    <a:pt x="16117" y="9355"/>
                  </a:cubicBezTo>
                  <a:cubicBezTo>
                    <a:pt x="16376" y="8831"/>
                    <a:pt x="16760" y="8445"/>
                    <a:pt x="17005" y="8445"/>
                  </a:cubicBezTo>
                  <a:cubicBezTo>
                    <a:pt x="17254" y="8445"/>
                    <a:pt x="18150" y="7881"/>
                    <a:pt x="18976" y="6984"/>
                  </a:cubicBezTo>
                  <a:cubicBezTo>
                    <a:pt x="19808" y="6120"/>
                    <a:pt x="20826" y="4772"/>
                    <a:pt x="21176" y="3903"/>
                  </a:cubicBezTo>
                  <a:cubicBezTo>
                    <a:pt x="21546" y="3067"/>
                    <a:pt x="21409" y="2820"/>
                    <a:pt x="20896" y="3425"/>
                  </a:cubicBezTo>
                  <a:cubicBezTo>
                    <a:pt x="20366" y="3957"/>
                    <a:pt x="19733" y="4179"/>
                    <a:pt x="19428" y="3981"/>
                  </a:cubicBezTo>
                  <a:close/>
                  <a:moveTo>
                    <a:pt x="19428" y="398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5" name="AutoShape 1287"/>
            <p:cNvSpPr>
              <a:spLocks/>
            </p:cNvSpPr>
            <p:nvPr/>
          </p:nvSpPr>
          <p:spPr bwMode="auto">
            <a:xfrm>
              <a:off x="3733800" y="4216400"/>
              <a:ext cx="1588" cy="11113"/>
            </a:xfrm>
            <a:custGeom>
              <a:avLst/>
              <a:gdLst/>
              <a:ahLst/>
              <a:cxnLst/>
              <a:rect l="0" t="0" r="r" b="b"/>
              <a:pathLst>
                <a:path w="19073" h="19685">
                  <a:moveTo>
                    <a:pt x="7823" y="9281"/>
                  </a:moveTo>
                  <a:cubicBezTo>
                    <a:pt x="1747" y="15774"/>
                    <a:pt x="-1792" y="20361"/>
                    <a:pt x="930" y="19604"/>
                  </a:cubicBezTo>
                  <a:cubicBezTo>
                    <a:pt x="3652" y="18846"/>
                    <a:pt x="7284" y="14726"/>
                    <a:pt x="12050" y="10678"/>
                  </a:cubicBezTo>
                  <a:cubicBezTo>
                    <a:pt x="15992" y="6610"/>
                    <a:pt x="18351" y="1953"/>
                    <a:pt x="18991" y="346"/>
                  </a:cubicBezTo>
                  <a:cubicBezTo>
                    <a:pt x="19808" y="-1239"/>
                    <a:pt x="14401" y="2781"/>
                    <a:pt x="7823" y="9281"/>
                  </a:cubicBezTo>
                  <a:close/>
                  <a:moveTo>
                    <a:pt x="7823" y="928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6" name="AutoShape 1288"/>
            <p:cNvSpPr>
              <a:spLocks/>
            </p:cNvSpPr>
            <p:nvPr/>
          </p:nvSpPr>
          <p:spPr bwMode="auto">
            <a:xfrm>
              <a:off x="3632200" y="3327400"/>
              <a:ext cx="4763" cy="19050"/>
            </a:xfrm>
            <a:custGeom>
              <a:avLst/>
              <a:gdLst/>
              <a:ahLst/>
              <a:cxnLst/>
              <a:rect l="0" t="0" r="r" b="b"/>
              <a:pathLst>
                <a:path w="21152" h="20674">
                  <a:moveTo>
                    <a:pt x="15717" y="2257"/>
                  </a:moveTo>
                  <a:cubicBezTo>
                    <a:pt x="12392" y="3976"/>
                    <a:pt x="8337" y="7303"/>
                    <a:pt x="6249" y="9585"/>
                  </a:cubicBezTo>
                  <a:cubicBezTo>
                    <a:pt x="4167" y="11875"/>
                    <a:pt x="1615" y="15541"/>
                    <a:pt x="631" y="17747"/>
                  </a:cubicBezTo>
                  <a:cubicBezTo>
                    <a:pt x="-448" y="19947"/>
                    <a:pt x="-73" y="21177"/>
                    <a:pt x="1217" y="20479"/>
                  </a:cubicBezTo>
                  <a:cubicBezTo>
                    <a:pt x="2224" y="19742"/>
                    <a:pt x="4565" y="16844"/>
                    <a:pt x="6649" y="13997"/>
                  </a:cubicBezTo>
                  <a:cubicBezTo>
                    <a:pt x="8386" y="11137"/>
                    <a:pt x="11359" y="7637"/>
                    <a:pt x="12765" y="6169"/>
                  </a:cubicBezTo>
                  <a:cubicBezTo>
                    <a:pt x="14497" y="4732"/>
                    <a:pt x="17237" y="3071"/>
                    <a:pt x="18341" y="2399"/>
                  </a:cubicBezTo>
                  <a:cubicBezTo>
                    <a:pt x="20216" y="1879"/>
                    <a:pt x="20802" y="764"/>
                    <a:pt x="21152" y="180"/>
                  </a:cubicBezTo>
                  <a:cubicBezTo>
                    <a:pt x="21152" y="-423"/>
                    <a:pt x="19022" y="546"/>
                    <a:pt x="15717" y="2257"/>
                  </a:cubicBezTo>
                  <a:close/>
                  <a:moveTo>
                    <a:pt x="15717" y="22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7" name="AutoShape 1289"/>
            <p:cNvSpPr>
              <a:spLocks/>
            </p:cNvSpPr>
            <p:nvPr/>
          </p:nvSpPr>
          <p:spPr bwMode="auto">
            <a:xfrm>
              <a:off x="3746500" y="4191000"/>
              <a:ext cx="6350" cy="15875"/>
            </a:xfrm>
            <a:custGeom>
              <a:avLst/>
              <a:gdLst/>
              <a:ahLst/>
              <a:cxnLst/>
              <a:rect l="0" t="0" r="r" b="b"/>
              <a:pathLst>
                <a:path w="19771" h="20221">
                  <a:moveTo>
                    <a:pt x="17013" y="1297"/>
                  </a:moveTo>
                  <a:cubicBezTo>
                    <a:pt x="14272" y="3380"/>
                    <a:pt x="8576" y="8692"/>
                    <a:pt x="4788" y="13237"/>
                  </a:cubicBezTo>
                  <a:cubicBezTo>
                    <a:pt x="1187" y="17782"/>
                    <a:pt x="-888" y="20861"/>
                    <a:pt x="368" y="20108"/>
                  </a:cubicBezTo>
                  <a:cubicBezTo>
                    <a:pt x="1968" y="19469"/>
                    <a:pt x="5112" y="15989"/>
                    <a:pt x="8424" y="12675"/>
                  </a:cubicBezTo>
                  <a:cubicBezTo>
                    <a:pt x="11529" y="9346"/>
                    <a:pt x="16444" y="4648"/>
                    <a:pt x="18445" y="2149"/>
                  </a:cubicBezTo>
                  <a:cubicBezTo>
                    <a:pt x="20712" y="-321"/>
                    <a:pt x="19967" y="-739"/>
                    <a:pt x="17013" y="1297"/>
                  </a:cubicBezTo>
                  <a:close/>
                  <a:moveTo>
                    <a:pt x="17013" y="12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8" name="AutoShape 1290"/>
            <p:cNvSpPr>
              <a:spLocks/>
            </p:cNvSpPr>
            <p:nvPr/>
          </p:nvSpPr>
          <p:spPr bwMode="auto">
            <a:xfrm>
              <a:off x="5346700" y="7366000"/>
              <a:ext cx="38100" cy="23813"/>
            </a:xfrm>
            <a:custGeom>
              <a:avLst/>
              <a:gdLst/>
              <a:ahLst/>
              <a:cxnLst/>
              <a:rect l="0" t="0" r="r" b="b"/>
              <a:pathLst>
                <a:path w="21187" h="21222">
                  <a:moveTo>
                    <a:pt x="18188" y="12257"/>
                  </a:moveTo>
                  <a:cubicBezTo>
                    <a:pt x="17960" y="11899"/>
                    <a:pt x="17987" y="11604"/>
                    <a:pt x="18325" y="11456"/>
                  </a:cubicBezTo>
                  <a:cubicBezTo>
                    <a:pt x="18619" y="11152"/>
                    <a:pt x="19516" y="11394"/>
                    <a:pt x="20162" y="11814"/>
                  </a:cubicBezTo>
                  <a:cubicBezTo>
                    <a:pt x="20847" y="12014"/>
                    <a:pt x="20960" y="11950"/>
                    <a:pt x="20489" y="11299"/>
                  </a:cubicBezTo>
                  <a:cubicBezTo>
                    <a:pt x="19946" y="10794"/>
                    <a:pt x="18571" y="9606"/>
                    <a:pt x="17383" y="8647"/>
                  </a:cubicBezTo>
                  <a:cubicBezTo>
                    <a:pt x="16144" y="7848"/>
                    <a:pt x="14669" y="6996"/>
                    <a:pt x="14072" y="6996"/>
                  </a:cubicBezTo>
                  <a:cubicBezTo>
                    <a:pt x="13481" y="6848"/>
                    <a:pt x="13327" y="7395"/>
                    <a:pt x="13768" y="7996"/>
                  </a:cubicBezTo>
                  <a:cubicBezTo>
                    <a:pt x="14208" y="8595"/>
                    <a:pt x="14137" y="9310"/>
                    <a:pt x="13666" y="9131"/>
                  </a:cubicBezTo>
                  <a:cubicBezTo>
                    <a:pt x="13205" y="9310"/>
                    <a:pt x="12092" y="8111"/>
                    <a:pt x="11129" y="7016"/>
                  </a:cubicBezTo>
                  <a:cubicBezTo>
                    <a:pt x="10221" y="5839"/>
                    <a:pt x="9211" y="4386"/>
                    <a:pt x="9030" y="3682"/>
                  </a:cubicBezTo>
                  <a:cubicBezTo>
                    <a:pt x="8720" y="3082"/>
                    <a:pt x="7429" y="1662"/>
                    <a:pt x="5979" y="841"/>
                  </a:cubicBezTo>
                  <a:cubicBezTo>
                    <a:pt x="4541" y="-42"/>
                    <a:pt x="3456" y="-285"/>
                    <a:pt x="3544" y="378"/>
                  </a:cubicBezTo>
                  <a:cubicBezTo>
                    <a:pt x="3647" y="1020"/>
                    <a:pt x="3254" y="1504"/>
                    <a:pt x="2698" y="1504"/>
                  </a:cubicBezTo>
                  <a:cubicBezTo>
                    <a:pt x="2138" y="1504"/>
                    <a:pt x="2026" y="2103"/>
                    <a:pt x="2517" y="2777"/>
                  </a:cubicBezTo>
                  <a:cubicBezTo>
                    <a:pt x="2848" y="3660"/>
                    <a:pt x="3299" y="4565"/>
                    <a:pt x="3070" y="4565"/>
                  </a:cubicBezTo>
                  <a:cubicBezTo>
                    <a:pt x="2893" y="4797"/>
                    <a:pt x="3763" y="6312"/>
                    <a:pt x="4975" y="7764"/>
                  </a:cubicBezTo>
                  <a:cubicBezTo>
                    <a:pt x="6193" y="9237"/>
                    <a:pt x="6985" y="10668"/>
                    <a:pt x="7030" y="10941"/>
                  </a:cubicBezTo>
                  <a:cubicBezTo>
                    <a:pt x="6951" y="11184"/>
                    <a:pt x="6374" y="10973"/>
                    <a:pt x="5760" y="10405"/>
                  </a:cubicBezTo>
                  <a:cubicBezTo>
                    <a:pt x="5129" y="9847"/>
                    <a:pt x="4077" y="9206"/>
                    <a:pt x="3408" y="9047"/>
                  </a:cubicBezTo>
                  <a:cubicBezTo>
                    <a:pt x="2746" y="8753"/>
                    <a:pt x="1524" y="9763"/>
                    <a:pt x="684" y="11056"/>
                  </a:cubicBezTo>
                  <a:cubicBezTo>
                    <a:pt x="-121" y="12372"/>
                    <a:pt x="-234" y="13771"/>
                    <a:pt x="445" y="14297"/>
                  </a:cubicBezTo>
                  <a:cubicBezTo>
                    <a:pt x="1142" y="14750"/>
                    <a:pt x="2527" y="16255"/>
                    <a:pt x="3521" y="17633"/>
                  </a:cubicBezTo>
                  <a:cubicBezTo>
                    <a:pt x="4514" y="18990"/>
                    <a:pt x="5856" y="20505"/>
                    <a:pt x="6521" y="20821"/>
                  </a:cubicBezTo>
                  <a:cubicBezTo>
                    <a:pt x="7153" y="21304"/>
                    <a:pt x="7665" y="21315"/>
                    <a:pt x="7576" y="21041"/>
                  </a:cubicBezTo>
                  <a:cubicBezTo>
                    <a:pt x="7515" y="20736"/>
                    <a:pt x="6712" y="19737"/>
                    <a:pt x="5951" y="18569"/>
                  </a:cubicBezTo>
                  <a:cubicBezTo>
                    <a:pt x="5091" y="17569"/>
                    <a:pt x="4603" y="16507"/>
                    <a:pt x="4797" y="16381"/>
                  </a:cubicBezTo>
                  <a:cubicBezTo>
                    <a:pt x="4982" y="16244"/>
                    <a:pt x="5907" y="16854"/>
                    <a:pt x="6873" y="17675"/>
                  </a:cubicBezTo>
                  <a:cubicBezTo>
                    <a:pt x="7818" y="18558"/>
                    <a:pt x="8894" y="19274"/>
                    <a:pt x="9252" y="19274"/>
                  </a:cubicBezTo>
                  <a:cubicBezTo>
                    <a:pt x="9607" y="19274"/>
                    <a:pt x="9457" y="18812"/>
                    <a:pt x="8927" y="18159"/>
                  </a:cubicBezTo>
                  <a:cubicBezTo>
                    <a:pt x="8372" y="17580"/>
                    <a:pt x="7665" y="16571"/>
                    <a:pt x="7504" y="15907"/>
                  </a:cubicBezTo>
                  <a:cubicBezTo>
                    <a:pt x="7224" y="15328"/>
                    <a:pt x="7822" y="15286"/>
                    <a:pt x="8778" y="15907"/>
                  </a:cubicBezTo>
                  <a:cubicBezTo>
                    <a:pt x="9737" y="16538"/>
                    <a:pt x="11150" y="17244"/>
                    <a:pt x="11942" y="17412"/>
                  </a:cubicBezTo>
                  <a:cubicBezTo>
                    <a:pt x="12747" y="17569"/>
                    <a:pt x="13413" y="17580"/>
                    <a:pt x="13314" y="17433"/>
                  </a:cubicBezTo>
                  <a:cubicBezTo>
                    <a:pt x="13413" y="17275"/>
                    <a:pt x="12707" y="16780"/>
                    <a:pt x="12054" y="16476"/>
                  </a:cubicBezTo>
                  <a:cubicBezTo>
                    <a:pt x="11416" y="16054"/>
                    <a:pt x="10392" y="15359"/>
                    <a:pt x="9785" y="14771"/>
                  </a:cubicBezTo>
                  <a:cubicBezTo>
                    <a:pt x="9187" y="14161"/>
                    <a:pt x="8992" y="13708"/>
                    <a:pt x="9306" y="13550"/>
                  </a:cubicBezTo>
                  <a:cubicBezTo>
                    <a:pt x="9645" y="13550"/>
                    <a:pt x="10583" y="13866"/>
                    <a:pt x="11382" y="14487"/>
                  </a:cubicBezTo>
                  <a:cubicBezTo>
                    <a:pt x="12222" y="14971"/>
                    <a:pt x="13724" y="15644"/>
                    <a:pt x="14721" y="16149"/>
                  </a:cubicBezTo>
                  <a:cubicBezTo>
                    <a:pt x="15758" y="16306"/>
                    <a:pt x="17113" y="16664"/>
                    <a:pt x="17680" y="16223"/>
                  </a:cubicBezTo>
                  <a:cubicBezTo>
                    <a:pt x="18308" y="16065"/>
                    <a:pt x="19424" y="15854"/>
                    <a:pt x="20202" y="16023"/>
                  </a:cubicBezTo>
                  <a:cubicBezTo>
                    <a:pt x="20978" y="16181"/>
                    <a:pt x="21366" y="15886"/>
                    <a:pt x="21107" y="15286"/>
                  </a:cubicBezTo>
                  <a:cubicBezTo>
                    <a:pt x="20780" y="14781"/>
                    <a:pt x="20185" y="13866"/>
                    <a:pt x="19639" y="13529"/>
                  </a:cubicBezTo>
                  <a:cubicBezTo>
                    <a:pt x="19127" y="13067"/>
                    <a:pt x="18458" y="12561"/>
                    <a:pt x="18188" y="12257"/>
                  </a:cubicBezTo>
                  <a:close/>
                  <a:moveTo>
                    <a:pt x="18188" y="122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89" name="AutoShape 1291"/>
            <p:cNvSpPr>
              <a:spLocks/>
            </p:cNvSpPr>
            <p:nvPr/>
          </p:nvSpPr>
          <p:spPr bwMode="auto">
            <a:xfrm>
              <a:off x="5321300" y="7353300"/>
              <a:ext cx="6350" cy="3175"/>
            </a:xfrm>
            <a:custGeom>
              <a:avLst/>
              <a:gdLst/>
              <a:ahLst/>
              <a:cxnLst/>
              <a:rect l="0" t="0" r="r" b="b"/>
              <a:pathLst>
                <a:path w="17270" h="17586">
                  <a:moveTo>
                    <a:pt x="7855" y="10358"/>
                  </a:moveTo>
                  <a:cubicBezTo>
                    <a:pt x="15543" y="17824"/>
                    <a:pt x="19291" y="19840"/>
                    <a:pt x="16170" y="14829"/>
                  </a:cubicBezTo>
                  <a:cubicBezTo>
                    <a:pt x="12928" y="9991"/>
                    <a:pt x="6813" y="3385"/>
                    <a:pt x="2246" y="753"/>
                  </a:cubicBezTo>
                  <a:cubicBezTo>
                    <a:pt x="-2309" y="-1760"/>
                    <a:pt x="316" y="2157"/>
                    <a:pt x="7855" y="10358"/>
                  </a:cubicBezTo>
                  <a:close/>
                  <a:moveTo>
                    <a:pt x="7855" y="1035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0" name="AutoShape 1292"/>
            <p:cNvSpPr>
              <a:spLocks/>
            </p:cNvSpPr>
            <p:nvPr/>
          </p:nvSpPr>
          <p:spPr bwMode="auto">
            <a:xfrm>
              <a:off x="6032500" y="7581900"/>
              <a:ext cx="42863" cy="19050"/>
            </a:xfrm>
            <a:custGeom>
              <a:avLst/>
              <a:gdLst/>
              <a:ahLst/>
              <a:cxnLst/>
              <a:rect l="0" t="0" r="r" b="b"/>
              <a:pathLst>
                <a:path w="21398" h="21458">
                  <a:moveTo>
                    <a:pt x="18200" y="17678"/>
                  </a:moveTo>
                  <a:cubicBezTo>
                    <a:pt x="17472" y="17056"/>
                    <a:pt x="16590" y="15477"/>
                    <a:pt x="16101" y="14356"/>
                  </a:cubicBezTo>
                  <a:cubicBezTo>
                    <a:pt x="15717" y="13054"/>
                    <a:pt x="15029" y="12113"/>
                    <a:pt x="14723" y="11710"/>
                  </a:cubicBezTo>
                  <a:cubicBezTo>
                    <a:pt x="14388" y="11517"/>
                    <a:pt x="13310" y="10230"/>
                    <a:pt x="12249" y="9219"/>
                  </a:cubicBezTo>
                  <a:cubicBezTo>
                    <a:pt x="11235" y="8000"/>
                    <a:pt x="9697" y="6337"/>
                    <a:pt x="9259" y="6117"/>
                  </a:cubicBezTo>
                  <a:cubicBezTo>
                    <a:pt x="8836" y="5757"/>
                    <a:pt x="8420" y="5175"/>
                    <a:pt x="8280" y="4856"/>
                  </a:cubicBezTo>
                  <a:cubicBezTo>
                    <a:pt x="8150" y="4565"/>
                    <a:pt x="7202" y="3306"/>
                    <a:pt x="6061" y="2641"/>
                  </a:cubicBezTo>
                  <a:cubicBezTo>
                    <a:pt x="4964" y="1644"/>
                    <a:pt x="3088" y="800"/>
                    <a:pt x="1956" y="384"/>
                  </a:cubicBezTo>
                  <a:cubicBezTo>
                    <a:pt x="820" y="11"/>
                    <a:pt x="-35" y="-142"/>
                    <a:pt x="1" y="163"/>
                  </a:cubicBezTo>
                  <a:cubicBezTo>
                    <a:pt x="61" y="440"/>
                    <a:pt x="902" y="1270"/>
                    <a:pt x="1880" y="1880"/>
                  </a:cubicBezTo>
                  <a:cubicBezTo>
                    <a:pt x="2835" y="2710"/>
                    <a:pt x="4046" y="3763"/>
                    <a:pt x="4526" y="4565"/>
                  </a:cubicBezTo>
                  <a:cubicBezTo>
                    <a:pt x="4985" y="5411"/>
                    <a:pt x="6072" y="6393"/>
                    <a:pt x="6840" y="7211"/>
                  </a:cubicBezTo>
                  <a:cubicBezTo>
                    <a:pt x="7646" y="7792"/>
                    <a:pt x="8519" y="9231"/>
                    <a:pt x="8854" y="10188"/>
                  </a:cubicBezTo>
                  <a:cubicBezTo>
                    <a:pt x="9087" y="11268"/>
                    <a:pt x="10027" y="12709"/>
                    <a:pt x="10830" y="13275"/>
                  </a:cubicBezTo>
                  <a:cubicBezTo>
                    <a:pt x="11618" y="13926"/>
                    <a:pt x="12621" y="15976"/>
                    <a:pt x="13228" y="17360"/>
                  </a:cubicBezTo>
                  <a:cubicBezTo>
                    <a:pt x="13715" y="18967"/>
                    <a:pt x="14434" y="20490"/>
                    <a:pt x="14745" y="20740"/>
                  </a:cubicBezTo>
                  <a:cubicBezTo>
                    <a:pt x="15029" y="21112"/>
                    <a:pt x="15666" y="21280"/>
                    <a:pt x="16134" y="21458"/>
                  </a:cubicBezTo>
                  <a:cubicBezTo>
                    <a:pt x="16605" y="21458"/>
                    <a:pt x="17261" y="21293"/>
                    <a:pt x="17599" y="21085"/>
                  </a:cubicBezTo>
                  <a:cubicBezTo>
                    <a:pt x="17937" y="20864"/>
                    <a:pt x="18771" y="20822"/>
                    <a:pt x="19465" y="21016"/>
                  </a:cubicBezTo>
                  <a:cubicBezTo>
                    <a:pt x="20163" y="21237"/>
                    <a:pt x="20994" y="21210"/>
                    <a:pt x="21281" y="20767"/>
                  </a:cubicBezTo>
                  <a:cubicBezTo>
                    <a:pt x="21565" y="20336"/>
                    <a:pt x="21323" y="19618"/>
                    <a:pt x="20668" y="19410"/>
                  </a:cubicBezTo>
                  <a:cubicBezTo>
                    <a:pt x="20042" y="18979"/>
                    <a:pt x="18910" y="18288"/>
                    <a:pt x="18200" y="17678"/>
                  </a:cubicBezTo>
                  <a:close/>
                  <a:moveTo>
                    <a:pt x="18200" y="176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1" name="AutoShape 1293"/>
            <p:cNvSpPr>
              <a:spLocks/>
            </p:cNvSpPr>
            <p:nvPr/>
          </p:nvSpPr>
          <p:spPr bwMode="auto">
            <a:xfrm>
              <a:off x="5308600" y="7353300"/>
              <a:ext cx="4763" cy="1588"/>
            </a:xfrm>
            <a:custGeom>
              <a:avLst/>
              <a:gdLst/>
              <a:ahLst/>
              <a:cxnLst/>
              <a:rect l="0" t="0" r="r" b="b"/>
              <a:pathLst>
                <a:path w="17174" h="18463">
                  <a:moveTo>
                    <a:pt x="15472" y="18348"/>
                  </a:moveTo>
                  <a:cubicBezTo>
                    <a:pt x="19344" y="19380"/>
                    <a:pt x="16419" y="13338"/>
                    <a:pt x="8599" y="6591"/>
                  </a:cubicBezTo>
                  <a:cubicBezTo>
                    <a:pt x="1363" y="-2220"/>
                    <a:pt x="-2256" y="-1575"/>
                    <a:pt x="1509" y="4854"/>
                  </a:cubicBezTo>
                  <a:cubicBezTo>
                    <a:pt x="5230" y="11358"/>
                    <a:pt x="11518" y="18348"/>
                    <a:pt x="15472" y="18348"/>
                  </a:cubicBezTo>
                  <a:close/>
                  <a:moveTo>
                    <a:pt x="15472" y="183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2" name="AutoShape 1294"/>
            <p:cNvSpPr>
              <a:spLocks/>
            </p:cNvSpPr>
            <p:nvPr/>
          </p:nvSpPr>
          <p:spPr bwMode="auto">
            <a:xfrm>
              <a:off x="5295900" y="7366000"/>
              <a:ext cx="7938" cy="3175"/>
            </a:xfrm>
            <a:custGeom>
              <a:avLst/>
              <a:gdLst/>
              <a:ahLst/>
              <a:cxnLst/>
              <a:rect l="0" t="0" r="r" b="b"/>
              <a:pathLst>
                <a:path w="19628" h="20881">
                  <a:moveTo>
                    <a:pt x="8548" y="6257"/>
                  </a:moveTo>
                  <a:cubicBezTo>
                    <a:pt x="5532" y="2233"/>
                    <a:pt x="1996" y="-719"/>
                    <a:pt x="589" y="153"/>
                  </a:cubicBezTo>
                  <a:cubicBezTo>
                    <a:pt x="-700" y="1696"/>
                    <a:pt x="170" y="5515"/>
                    <a:pt x="2765" y="10483"/>
                  </a:cubicBezTo>
                  <a:cubicBezTo>
                    <a:pt x="5143" y="16055"/>
                    <a:pt x="10942" y="19942"/>
                    <a:pt x="15175" y="20881"/>
                  </a:cubicBezTo>
                  <a:cubicBezTo>
                    <a:pt x="19436" y="20881"/>
                    <a:pt x="20900" y="20139"/>
                    <a:pt x="18421" y="18068"/>
                  </a:cubicBezTo>
                  <a:cubicBezTo>
                    <a:pt x="15986" y="15447"/>
                    <a:pt x="11536" y="10215"/>
                    <a:pt x="8548" y="6257"/>
                  </a:cubicBezTo>
                  <a:close/>
                  <a:moveTo>
                    <a:pt x="8548" y="62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3" name="AutoShape 1295"/>
            <p:cNvSpPr>
              <a:spLocks/>
            </p:cNvSpPr>
            <p:nvPr/>
          </p:nvSpPr>
          <p:spPr bwMode="auto">
            <a:xfrm>
              <a:off x="5308600" y="7353300"/>
              <a:ext cx="36513" cy="22225"/>
            </a:xfrm>
            <a:custGeom>
              <a:avLst/>
              <a:gdLst/>
              <a:ahLst/>
              <a:cxnLst/>
              <a:rect l="0" t="0" r="r" b="b"/>
              <a:pathLst>
                <a:path w="21310" h="21124">
                  <a:moveTo>
                    <a:pt x="18012" y="7699"/>
                  </a:moveTo>
                  <a:cubicBezTo>
                    <a:pt x="17411" y="7699"/>
                    <a:pt x="16809" y="7823"/>
                    <a:pt x="16637" y="8229"/>
                  </a:cubicBezTo>
                  <a:cubicBezTo>
                    <a:pt x="16379" y="8501"/>
                    <a:pt x="15939" y="8738"/>
                    <a:pt x="15413" y="8568"/>
                  </a:cubicBezTo>
                  <a:cubicBezTo>
                    <a:pt x="14915" y="8276"/>
                    <a:pt x="13766" y="7371"/>
                    <a:pt x="12918" y="6365"/>
                  </a:cubicBezTo>
                  <a:cubicBezTo>
                    <a:pt x="12002" y="5517"/>
                    <a:pt x="10663" y="4365"/>
                    <a:pt x="9840" y="3991"/>
                  </a:cubicBezTo>
                  <a:cubicBezTo>
                    <a:pt x="8987" y="3822"/>
                    <a:pt x="8336" y="4071"/>
                    <a:pt x="8285" y="4884"/>
                  </a:cubicBezTo>
                  <a:cubicBezTo>
                    <a:pt x="8099" y="5653"/>
                    <a:pt x="7416" y="5947"/>
                    <a:pt x="6467" y="5281"/>
                  </a:cubicBezTo>
                  <a:cubicBezTo>
                    <a:pt x="5465" y="4806"/>
                    <a:pt x="3754" y="3075"/>
                    <a:pt x="2551" y="1866"/>
                  </a:cubicBezTo>
                  <a:cubicBezTo>
                    <a:pt x="1345" y="669"/>
                    <a:pt x="267" y="-112"/>
                    <a:pt x="20" y="13"/>
                  </a:cubicBezTo>
                  <a:cubicBezTo>
                    <a:pt x="-166" y="296"/>
                    <a:pt x="969" y="2172"/>
                    <a:pt x="2608" y="4308"/>
                  </a:cubicBezTo>
                  <a:cubicBezTo>
                    <a:pt x="4230" y="6433"/>
                    <a:pt x="6453" y="8760"/>
                    <a:pt x="7577" y="9383"/>
                  </a:cubicBezTo>
                  <a:cubicBezTo>
                    <a:pt x="8711" y="9948"/>
                    <a:pt x="9804" y="10920"/>
                    <a:pt x="9854" y="11416"/>
                  </a:cubicBezTo>
                  <a:cubicBezTo>
                    <a:pt x="9954" y="11892"/>
                    <a:pt x="9220" y="11892"/>
                    <a:pt x="8178" y="11236"/>
                  </a:cubicBezTo>
                  <a:cubicBezTo>
                    <a:pt x="7115" y="10716"/>
                    <a:pt x="5826" y="10399"/>
                    <a:pt x="5304" y="10399"/>
                  </a:cubicBezTo>
                  <a:cubicBezTo>
                    <a:pt x="4785" y="10399"/>
                    <a:pt x="4670" y="11067"/>
                    <a:pt x="5021" y="11745"/>
                  </a:cubicBezTo>
                  <a:cubicBezTo>
                    <a:pt x="5440" y="12344"/>
                    <a:pt x="5153" y="13304"/>
                    <a:pt x="4552" y="13824"/>
                  </a:cubicBezTo>
                  <a:cubicBezTo>
                    <a:pt x="3958" y="14345"/>
                    <a:pt x="2895" y="14389"/>
                    <a:pt x="2243" y="14016"/>
                  </a:cubicBezTo>
                  <a:cubicBezTo>
                    <a:pt x="1577" y="13700"/>
                    <a:pt x="1241" y="13666"/>
                    <a:pt x="1241" y="14108"/>
                  </a:cubicBezTo>
                  <a:cubicBezTo>
                    <a:pt x="1377" y="14525"/>
                    <a:pt x="2412" y="15814"/>
                    <a:pt x="3628" y="16819"/>
                  </a:cubicBezTo>
                  <a:cubicBezTo>
                    <a:pt x="4810" y="17950"/>
                    <a:pt x="6055" y="18390"/>
                    <a:pt x="6428" y="18256"/>
                  </a:cubicBezTo>
                  <a:cubicBezTo>
                    <a:pt x="6735" y="17926"/>
                    <a:pt x="7971" y="18685"/>
                    <a:pt x="9116" y="19837"/>
                  </a:cubicBezTo>
                  <a:cubicBezTo>
                    <a:pt x="10262" y="20990"/>
                    <a:pt x="11468" y="21488"/>
                    <a:pt x="11672" y="20832"/>
                  </a:cubicBezTo>
                  <a:cubicBezTo>
                    <a:pt x="11966" y="20279"/>
                    <a:pt x="11200" y="18876"/>
                    <a:pt x="9993" y="17938"/>
                  </a:cubicBezTo>
                  <a:cubicBezTo>
                    <a:pt x="8787" y="16978"/>
                    <a:pt x="8386" y="16017"/>
                    <a:pt x="9055" y="16017"/>
                  </a:cubicBezTo>
                  <a:cubicBezTo>
                    <a:pt x="9728" y="16017"/>
                    <a:pt x="11460" y="16617"/>
                    <a:pt x="12918" y="17475"/>
                  </a:cubicBezTo>
                  <a:cubicBezTo>
                    <a:pt x="14371" y="18289"/>
                    <a:pt x="16276" y="18854"/>
                    <a:pt x="17145" y="19034"/>
                  </a:cubicBezTo>
                  <a:cubicBezTo>
                    <a:pt x="18004" y="19181"/>
                    <a:pt x="18388" y="18277"/>
                    <a:pt x="18187" y="17226"/>
                  </a:cubicBezTo>
                  <a:cubicBezTo>
                    <a:pt x="17915" y="16198"/>
                    <a:pt x="18413" y="15180"/>
                    <a:pt x="19339" y="14876"/>
                  </a:cubicBezTo>
                  <a:cubicBezTo>
                    <a:pt x="20263" y="14570"/>
                    <a:pt x="21162" y="13666"/>
                    <a:pt x="21276" y="12796"/>
                  </a:cubicBezTo>
                  <a:cubicBezTo>
                    <a:pt x="21434" y="11947"/>
                    <a:pt x="21026" y="10377"/>
                    <a:pt x="20306" y="9575"/>
                  </a:cubicBezTo>
                  <a:cubicBezTo>
                    <a:pt x="19737" y="8501"/>
                    <a:pt x="18606" y="7699"/>
                    <a:pt x="18012" y="7699"/>
                  </a:cubicBezTo>
                  <a:close/>
                  <a:moveTo>
                    <a:pt x="18012" y="76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4" name="AutoShape 1296"/>
            <p:cNvSpPr>
              <a:spLocks/>
            </p:cNvSpPr>
            <p:nvPr/>
          </p:nvSpPr>
          <p:spPr bwMode="auto">
            <a:xfrm>
              <a:off x="4000500" y="4978400"/>
              <a:ext cx="131763" cy="103188"/>
            </a:xfrm>
            <a:custGeom>
              <a:avLst/>
              <a:gdLst/>
              <a:ahLst/>
              <a:cxnLst/>
              <a:rect l="0" t="0" r="r" b="b"/>
              <a:pathLst>
                <a:path w="21559" h="21363">
                  <a:moveTo>
                    <a:pt x="417" y="161"/>
                  </a:moveTo>
                  <a:cubicBezTo>
                    <a:pt x="333" y="290"/>
                    <a:pt x="292" y="713"/>
                    <a:pt x="322" y="1096"/>
                  </a:cubicBezTo>
                  <a:cubicBezTo>
                    <a:pt x="353" y="1478"/>
                    <a:pt x="272" y="2010"/>
                    <a:pt x="195" y="2307"/>
                  </a:cubicBezTo>
                  <a:cubicBezTo>
                    <a:pt x="73" y="2575"/>
                    <a:pt x="0" y="3095"/>
                    <a:pt x="0" y="3442"/>
                  </a:cubicBezTo>
                  <a:cubicBezTo>
                    <a:pt x="0" y="3792"/>
                    <a:pt x="81" y="4169"/>
                    <a:pt x="209" y="4250"/>
                  </a:cubicBezTo>
                  <a:cubicBezTo>
                    <a:pt x="324" y="4359"/>
                    <a:pt x="549" y="4767"/>
                    <a:pt x="693" y="5172"/>
                  </a:cubicBezTo>
                  <a:cubicBezTo>
                    <a:pt x="865" y="5560"/>
                    <a:pt x="813" y="6079"/>
                    <a:pt x="706" y="6348"/>
                  </a:cubicBezTo>
                  <a:cubicBezTo>
                    <a:pt x="541" y="6561"/>
                    <a:pt x="436" y="7060"/>
                    <a:pt x="420" y="7410"/>
                  </a:cubicBezTo>
                  <a:cubicBezTo>
                    <a:pt x="403" y="7752"/>
                    <a:pt x="413" y="8218"/>
                    <a:pt x="426" y="8451"/>
                  </a:cubicBezTo>
                  <a:cubicBezTo>
                    <a:pt x="471" y="8677"/>
                    <a:pt x="554" y="9044"/>
                    <a:pt x="610" y="9287"/>
                  </a:cubicBezTo>
                  <a:cubicBezTo>
                    <a:pt x="685" y="9518"/>
                    <a:pt x="867" y="9693"/>
                    <a:pt x="1004" y="9693"/>
                  </a:cubicBezTo>
                  <a:cubicBezTo>
                    <a:pt x="1139" y="9655"/>
                    <a:pt x="1399" y="9759"/>
                    <a:pt x="1571" y="9860"/>
                  </a:cubicBezTo>
                  <a:cubicBezTo>
                    <a:pt x="1756" y="9900"/>
                    <a:pt x="2033" y="10002"/>
                    <a:pt x="2214" y="9964"/>
                  </a:cubicBezTo>
                  <a:cubicBezTo>
                    <a:pt x="2391" y="9926"/>
                    <a:pt x="2583" y="9759"/>
                    <a:pt x="2691" y="9655"/>
                  </a:cubicBezTo>
                  <a:cubicBezTo>
                    <a:pt x="2729" y="9495"/>
                    <a:pt x="2914" y="9609"/>
                    <a:pt x="3027" y="9824"/>
                  </a:cubicBezTo>
                  <a:cubicBezTo>
                    <a:pt x="3120" y="10055"/>
                    <a:pt x="3199" y="10361"/>
                    <a:pt x="3213" y="10521"/>
                  </a:cubicBezTo>
                  <a:cubicBezTo>
                    <a:pt x="3213" y="10678"/>
                    <a:pt x="3316" y="10871"/>
                    <a:pt x="3428" y="10975"/>
                  </a:cubicBezTo>
                  <a:cubicBezTo>
                    <a:pt x="3547" y="11061"/>
                    <a:pt x="3954" y="11284"/>
                    <a:pt x="4327" y="11479"/>
                  </a:cubicBezTo>
                  <a:cubicBezTo>
                    <a:pt x="4714" y="11636"/>
                    <a:pt x="5098" y="12285"/>
                    <a:pt x="5176" y="12867"/>
                  </a:cubicBezTo>
                  <a:cubicBezTo>
                    <a:pt x="5261" y="13442"/>
                    <a:pt x="5487" y="14395"/>
                    <a:pt x="5643" y="15001"/>
                  </a:cubicBezTo>
                  <a:cubicBezTo>
                    <a:pt x="5805" y="15596"/>
                    <a:pt x="6113" y="16263"/>
                    <a:pt x="6275" y="16521"/>
                  </a:cubicBezTo>
                  <a:cubicBezTo>
                    <a:pt x="6475" y="16731"/>
                    <a:pt x="6735" y="16987"/>
                    <a:pt x="6906" y="16987"/>
                  </a:cubicBezTo>
                  <a:cubicBezTo>
                    <a:pt x="7076" y="16987"/>
                    <a:pt x="7239" y="16810"/>
                    <a:pt x="7294" y="16564"/>
                  </a:cubicBezTo>
                  <a:cubicBezTo>
                    <a:pt x="7324" y="16306"/>
                    <a:pt x="7298" y="15961"/>
                    <a:pt x="7223" y="15774"/>
                  </a:cubicBezTo>
                  <a:cubicBezTo>
                    <a:pt x="7148" y="15584"/>
                    <a:pt x="7112" y="15259"/>
                    <a:pt x="7164" y="15044"/>
                  </a:cubicBezTo>
                  <a:cubicBezTo>
                    <a:pt x="7202" y="14813"/>
                    <a:pt x="7364" y="14732"/>
                    <a:pt x="7512" y="14770"/>
                  </a:cubicBezTo>
                  <a:cubicBezTo>
                    <a:pt x="7640" y="14877"/>
                    <a:pt x="7831" y="15069"/>
                    <a:pt x="7910" y="15269"/>
                  </a:cubicBezTo>
                  <a:cubicBezTo>
                    <a:pt x="7988" y="15470"/>
                    <a:pt x="8027" y="15822"/>
                    <a:pt x="8013" y="16055"/>
                  </a:cubicBezTo>
                  <a:cubicBezTo>
                    <a:pt x="7997" y="16291"/>
                    <a:pt x="8047" y="16855"/>
                    <a:pt x="8130" y="17311"/>
                  </a:cubicBezTo>
                  <a:cubicBezTo>
                    <a:pt x="8227" y="17773"/>
                    <a:pt x="8290" y="18409"/>
                    <a:pt x="8259" y="18728"/>
                  </a:cubicBezTo>
                  <a:cubicBezTo>
                    <a:pt x="8275" y="19042"/>
                    <a:pt x="8301" y="19511"/>
                    <a:pt x="8388" y="19772"/>
                  </a:cubicBezTo>
                  <a:cubicBezTo>
                    <a:pt x="8491" y="20030"/>
                    <a:pt x="8789" y="20380"/>
                    <a:pt x="9091" y="20532"/>
                  </a:cubicBezTo>
                  <a:cubicBezTo>
                    <a:pt x="9399" y="20649"/>
                    <a:pt x="9712" y="20494"/>
                    <a:pt x="9804" y="20101"/>
                  </a:cubicBezTo>
                  <a:cubicBezTo>
                    <a:pt x="9896" y="19703"/>
                    <a:pt x="10066" y="19144"/>
                    <a:pt x="10194" y="18860"/>
                  </a:cubicBezTo>
                  <a:cubicBezTo>
                    <a:pt x="10308" y="18571"/>
                    <a:pt x="10563" y="18452"/>
                    <a:pt x="10765" y="18523"/>
                  </a:cubicBezTo>
                  <a:cubicBezTo>
                    <a:pt x="10958" y="18637"/>
                    <a:pt x="11200" y="18657"/>
                    <a:pt x="11303" y="18614"/>
                  </a:cubicBezTo>
                  <a:cubicBezTo>
                    <a:pt x="11399" y="18545"/>
                    <a:pt x="11470" y="18150"/>
                    <a:pt x="11456" y="17702"/>
                  </a:cubicBezTo>
                  <a:cubicBezTo>
                    <a:pt x="11425" y="17256"/>
                    <a:pt x="11280" y="16597"/>
                    <a:pt x="11087" y="16273"/>
                  </a:cubicBezTo>
                  <a:cubicBezTo>
                    <a:pt x="10906" y="15928"/>
                    <a:pt x="10593" y="15409"/>
                    <a:pt x="10400" y="15110"/>
                  </a:cubicBezTo>
                  <a:cubicBezTo>
                    <a:pt x="10216" y="14798"/>
                    <a:pt x="9958" y="14256"/>
                    <a:pt x="9858" y="13876"/>
                  </a:cubicBezTo>
                  <a:cubicBezTo>
                    <a:pt x="9755" y="13498"/>
                    <a:pt x="9699" y="12992"/>
                    <a:pt x="9699" y="12748"/>
                  </a:cubicBezTo>
                  <a:cubicBezTo>
                    <a:pt x="9712" y="12500"/>
                    <a:pt x="9876" y="12191"/>
                    <a:pt x="10021" y="12009"/>
                  </a:cubicBezTo>
                  <a:cubicBezTo>
                    <a:pt x="10175" y="11831"/>
                    <a:pt x="10573" y="11618"/>
                    <a:pt x="10895" y="11540"/>
                  </a:cubicBezTo>
                  <a:cubicBezTo>
                    <a:pt x="11218" y="11464"/>
                    <a:pt x="11698" y="10947"/>
                    <a:pt x="11950" y="10420"/>
                  </a:cubicBezTo>
                  <a:cubicBezTo>
                    <a:pt x="12204" y="9895"/>
                    <a:pt x="12394" y="9297"/>
                    <a:pt x="12377" y="9084"/>
                  </a:cubicBezTo>
                  <a:cubicBezTo>
                    <a:pt x="12335" y="8874"/>
                    <a:pt x="12271" y="8603"/>
                    <a:pt x="12205" y="8482"/>
                  </a:cubicBezTo>
                  <a:cubicBezTo>
                    <a:pt x="12123" y="8378"/>
                    <a:pt x="12072" y="7922"/>
                    <a:pt x="12072" y="7491"/>
                  </a:cubicBezTo>
                  <a:cubicBezTo>
                    <a:pt x="12056" y="7065"/>
                    <a:pt x="12322" y="6495"/>
                    <a:pt x="12600" y="6163"/>
                  </a:cubicBezTo>
                  <a:cubicBezTo>
                    <a:pt x="12914" y="5887"/>
                    <a:pt x="13352" y="5649"/>
                    <a:pt x="13607" y="5611"/>
                  </a:cubicBezTo>
                  <a:cubicBezTo>
                    <a:pt x="13863" y="5611"/>
                    <a:pt x="14194" y="5740"/>
                    <a:pt x="14338" y="5920"/>
                  </a:cubicBezTo>
                  <a:cubicBezTo>
                    <a:pt x="14480" y="6102"/>
                    <a:pt x="14801" y="6586"/>
                    <a:pt x="15004" y="7030"/>
                  </a:cubicBezTo>
                  <a:cubicBezTo>
                    <a:pt x="15236" y="7458"/>
                    <a:pt x="15525" y="7896"/>
                    <a:pt x="15674" y="7972"/>
                  </a:cubicBezTo>
                  <a:cubicBezTo>
                    <a:pt x="15812" y="8076"/>
                    <a:pt x="16139" y="8565"/>
                    <a:pt x="16349" y="9135"/>
                  </a:cubicBezTo>
                  <a:cubicBezTo>
                    <a:pt x="16592" y="9675"/>
                    <a:pt x="16841" y="10493"/>
                    <a:pt x="16940" y="10924"/>
                  </a:cubicBezTo>
                  <a:cubicBezTo>
                    <a:pt x="17062" y="11345"/>
                    <a:pt x="17222" y="11887"/>
                    <a:pt x="17358" y="12079"/>
                  </a:cubicBezTo>
                  <a:cubicBezTo>
                    <a:pt x="17483" y="12290"/>
                    <a:pt x="17663" y="12394"/>
                    <a:pt x="17696" y="12270"/>
                  </a:cubicBezTo>
                  <a:cubicBezTo>
                    <a:pt x="17778" y="12201"/>
                    <a:pt x="17898" y="11823"/>
                    <a:pt x="18021" y="11509"/>
                  </a:cubicBezTo>
                  <a:cubicBezTo>
                    <a:pt x="18134" y="11185"/>
                    <a:pt x="18335" y="10949"/>
                    <a:pt x="18452" y="10949"/>
                  </a:cubicBezTo>
                  <a:cubicBezTo>
                    <a:pt x="18569" y="10985"/>
                    <a:pt x="18730" y="11233"/>
                    <a:pt x="18801" y="11550"/>
                  </a:cubicBezTo>
                  <a:cubicBezTo>
                    <a:pt x="18871" y="11874"/>
                    <a:pt x="18861" y="12280"/>
                    <a:pt x="18790" y="12459"/>
                  </a:cubicBezTo>
                  <a:cubicBezTo>
                    <a:pt x="18714" y="12647"/>
                    <a:pt x="18555" y="12857"/>
                    <a:pt x="18449" y="12817"/>
                  </a:cubicBezTo>
                  <a:cubicBezTo>
                    <a:pt x="18343" y="12857"/>
                    <a:pt x="18124" y="13275"/>
                    <a:pt x="17989" y="13810"/>
                  </a:cubicBezTo>
                  <a:cubicBezTo>
                    <a:pt x="17838" y="14345"/>
                    <a:pt x="17697" y="14935"/>
                    <a:pt x="17593" y="15064"/>
                  </a:cubicBezTo>
                  <a:cubicBezTo>
                    <a:pt x="17529" y="15229"/>
                    <a:pt x="17547" y="15847"/>
                    <a:pt x="17696" y="16445"/>
                  </a:cubicBezTo>
                  <a:cubicBezTo>
                    <a:pt x="17816" y="17053"/>
                    <a:pt x="18190" y="18150"/>
                    <a:pt x="18472" y="18903"/>
                  </a:cubicBezTo>
                  <a:cubicBezTo>
                    <a:pt x="18743" y="19660"/>
                    <a:pt x="19240" y="20618"/>
                    <a:pt x="19476" y="21099"/>
                  </a:cubicBezTo>
                  <a:cubicBezTo>
                    <a:pt x="19745" y="21553"/>
                    <a:pt x="20031" y="21411"/>
                    <a:pt x="20117" y="20755"/>
                  </a:cubicBezTo>
                  <a:cubicBezTo>
                    <a:pt x="20209" y="20096"/>
                    <a:pt x="20378" y="19569"/>
                    <a:pt x="20484" y="19569"/>
                  </a:cubicBezTo>
                  <a:cubicBezTo>
                    <a:pt x="20592" y="19569"/>
                    <a:pt x="20759" y="19394"/>
                    <a:pt x="20897" y="19217"/>
                  </a:cubicBezTo>
                  <a:cubicBezTo>
                    <a:pt x="21008" y="19009"/>
                    <a:pt x="21155" y="18419"/>
                    <a:pt x="21187" y="17882"/>
                  </a:cubicBezTo>
                  <a:cubicBezTo>
                    <a:pt x="21228" y="17347"/>
                    <a:pt x="21357" y="16453"/>
                    <a:pt x="21476" y="15898"/>
                  </a:cubicBezTo>
                  <a:cubicBezTo>
                    <a:pt x="21585" y="15340"/>
                    <a:pt x="21600" y="14403"/>
                    <a:pt x="21443" y="13825"/>
                  </a:cubicBezTo>
                  <a:cubicBezTo>
                    <a:pt x="21310" y="13240"/>
                    <a:pt x="21144" y="12518"/>
                    <a:pt x="21091" y="12219"/>
                  </a:cubicBezTo>
                  <a:cubicBezTo>
                    <a:pt x="21055" y="11910"/>
                    <a:pt x="21014" y="11347"/>
                    <a:pt x="21028" y="10954"/>
                  </a:cubicBezTo>
                  <a:cubicBezTo>
                    <a:pt x="21044" y="10562"/>
                    <a:pt x="20969" y="10108"/>
                    <a:pt x="20882" y="9916"/>
                  </a:cubicBezTo>
                  <a:cubicBezTo>
                    <a:pt x="20766" y="9751"/>
                    <a:pt x="20559" y="9422"/>
                    <a:pt x="20399" y="9219"/>
                  </a:cubicBezTo>
                  <a:cubicBezTo>
                    <a:pt x="20252" y="8996"/>
                    <a:pt x="20081" y="8626"/>
                    <a:pt x="20001" y="8383"/>
                  </a:cubicBezTo>
                  <a:cubicBezTo>
                    <a:pt x="19950" y="8127"/>
                    <a:pt x="19713" y="7504"/>
                    <a:pt x="19483" y="6999"/>
                  </a:cubicBezTo>
                  <a:cubicBezTo>
                    <a:pt x="19264" y="6485"/>
                    <a:pt x="18655" y="5565"/>
                    <a:pt x="18165" y="4929"/>
                  </a:cubicBezTo>
                  <a:cubicBezTo>
                    <a:pt x="17680" y="4281"/>
                    <a:pt x="17041" y="3640"/>
                    <a:pt x="16765" y="3457"/>
                  </a:cubicBezTo>
                  <a:cubicBezTo>
                    <a:pt x="16495" y="3277"/>
                    <a:pt x="15872" y="3115"/>
                    <a:pt x="15398" y="3001"/>
                  </a:cubicBezTo>
                  <a:cubicBezTo>
                    <a:pt x="14921" y="2925"/>
                    <a:pt x="14398" y="2781"/>
                    <a:pt x="14241" y="2664"/>
                  </a:cubicBezTo>
                  <a:cubicBezTo>
                    <a:pt x="14083" y="2555"/>
                    <a:pt x="13910" y="2274"/>
                    <a:pt x="13814" y="2069"/>
                  </a:cubicBezTo>
                  <a:cubicBezTo>
                    <a:pt x="13755" y="1841"/>
                    <a:pt x="13547" y="1504"/>
                    <a:pt x="13366" y="1352"/>
                  </a:cubicBezTo>
                  <a:cubicBezTo>
                    <a:pt x="13217" y="1146"/>
                    <a:pt x="12969" y="1058"/>
                    <a:pt x="12862" y="1058"/>
                  </a:cubicBezTo>
                  <a:cubicBezTo>
                    <a:pt x="12759" y="1093"/>
                    <a:pt x="12464" y="1438"/>
                    <a:pt x="12174" y="1823"/>
                  </a:cubicBezTo>
                  <a:cubicBezTo>
                    <a:pt x="11907" y="2233"/>
                    <a:pt x="11427" y="2646"/>
                    <a:pt x="11118" y="2755"/>
                  </a:cubicBezTo>
                  <a:cubicBezTo>
                    <a:pt x="10810" y="2872"/>
                    <a:pt x="10077" y="3455"/>
                    <a:pt x="9465" y="4022"/>
                  </a:cubicBezTo>
                  <a:cubicBezTo>
                    <a:pt x="8882" y="4625"/>
                    <a:pt x="8223" y="5353"/>
                    <a:pt x="8087" y="5727"/>
                  </a:cubicBezTo>
                  <a:cubicBezTo>
                    <a:pt x="7910" y="6067"/>
                    <a:pt x="7648" y="6358"/>
                    <a:pt x="7473" y="6394"/>
                  </a:cubicBezTo>
                  <a:cubicBezTo>
                    <a:pt x="7298" y="6394"/>
                    <a:pt x="6880" y="6336"/>
                    <a:pt x="6542" y="6260"/>
                  </a:cubicBezTo>
                  <a:cubicBezTo>
                    <a:pt x="6210" y="6148"/>
                    <a:pt x="5610" y="5606"/>
                    <a:pt x="5225" y="5008"/>
                  </a:cubicBezTo>
                  <a:cubicBezTo>
                    <a:pt x="4826" y="4428"/>
                    <a:pt x="4326" y="3685"/>
                    <a:pt x="4065" y="3414"/>
                  </a:cubicBezTo>
                  <a:cubicBezTo>
                    <a:pt x="3806" y="3146"/>
                    <a:pt x="3571" y="2983"/>
                    <a:pt x="3518" y="3082"/>
                  </a:cubicBezTo>
                  <a:cubicBezTo>
                    <a:pt x="3464" y="3186"/>
                    <a:pt x="3550" y="3399"/>
                    <a:pt x="3657" y="3601"/>
                  </a:cubicBezTo>
                  <a:cubicBezTo>
                    <a:pt x="3795" y="3774"/>
                    <a:pt x="3886" y="4121"/>
                    <a:pt x="3915" y="4339"/>
                  </a:cubicBezTo>
                  <a:cubicBezTo>
                    <a:pt x="3915" y="4564"/>
                    <a:pt x="3815" y="4777"/>
                    <a:pt x="3657" y="4815"/>
                  </a:cubicBezTo>
                  <a:cubicBezTo>
                    <a:pt x="3502" y="4853"/>
                    <a:pt x="3219" y="4706"/>
                    <a:pt x="3044" y="4468"/>
                  </a:cubicBezTo>
                  <a:cubicBezTo>
                    <a:pt x="2852" y="4265"/>
                    <a:pt x="2689" y="3898"/>
                    <a:pt x="2606" y="3731"/>
                  </a:cubicBezTo>
                  <a:cubicBezTo>
                    <a:pt x="2546" y="3541"/>
                    <a:pt x="2522" y="3325"/>
                    <a:pt x="2556" y="3242"/>
                  </a:cubicBezTo>
                  <a:cubicBezTo>
                    <a:pt x="2579" y="3153"/>
                    <a:pt x="2678" y="3082"/>
                    <a:pt x="2737" y="3031"/>
                  </a:cubicBezTo>
                  <a:cubicBezTo>
                    <a:pt x="2796" y="2981"/>
                    <a:pt x="2811" y="2839"/>
                    <a:pt x="2739" y="2697"/>
                  </a:cubicBezTo>
                  <a:cubicBezTo>
                    <a:pt x="2681" y="2550"/>
                    <a:pt x="2557" y="2408"/>
                    <a:pt x="2482" y="2439"/>
                  </a:cubicBezTo>
                  <a:cubicBezTo>
                    <a:pt x="2401" y="2439"/>
                    <a:pt x="2234" y="2347"/>
                    <a:pt x="2102" y="2236"/>
                  </a:cubicBezTo>
                  <a:cubicBezTo>
                    <a:pt x="1973" y="2127"/>
                    <a:pt x="1764" y="1810"/>
                    <a:pt x="1640" y="1534"/>
                  </a:cubicBezTo>
                  <a:cubicBezTo>
                    <a:pt x="1515" y="1258"/>
                    <a:pt x="1342" y="832"/>
                    <a:pt x="1312" y="571"/>
                  </a:cubicBezTo>
                  <a:cubicBezTo>
                    <a:pt x="1245" y="328"/>
                    <a:pt x="1070" y="67"/>
                    <a:pt x="891" y="26"/>
                  </a:cubicBezTo>
                  <a:cubicBezTo>
                    <a:pt x="718" y="-47"/>
                    <a:pt x="510" y="47"/>
                    <a:pt x="417" y="161"/>
                  </a:cubicBezTo>
                  <a:close/>
                  <a:moveTo>
                    <a:pt x="417" y="16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5" name="AutoShape 1297"/>
            <p:cNvSpPr>
              <a:spLocks/>
            </p:cNvSpPr>
            <p:nvPr/>
          </p:nvSpPr>
          <p:spPr bwMode="auto">
            <a:xfrm>
              <a:off x="3937000" y="4902200"/>
              <a:ext cx="74613" cy="131763"/>
            </a:xfrm>
            <a:custGeom>
              <a:avLst/>
              <a:gdLst/>
              <a:ahLst/>
              <a:cxnLst/>
              <a:rect l="0" t="0" r="r" b="b"/>
              <a:pathLst>
                <a:path w="21525" h="21531">
                  <a:moveTo>
                    <a:pt x="11040" y="3616"/>
                  </a:moveTo>
                  <a:cubicBezTo>
                    <a:pt x="10631" y="3271"/>
                    <a:pt x="10315" y="2855"/>
                    <a:pt x="10291" y="2714"/>
                  </a:cubicBezTo>
                  <a:cubicBezTo>
                    <a:pt x="10261" y="2576"/>
                    <a:pt x="10071" y="2383"/>
                    <a:pt x="9845" y="2296"/>
                  </a:cubicBezTo>
                  <a:cubicBezTo>
                    <a:pt x="9646" y="2183"/>
                    <a:pt x="9228" y="1903"/>
                    <a:pt x="9037" y="1620"/>
                  </a:cubicBezTo>
                  <a:cubicBezTo>
                    <a:pt x="8798" y="1345"/>
                    <a:pt x="8275" y="1095"/>
                    <a:pt x="7819" y="1095"/>
                  </a:cubicBezTo>
                  <a:cubicBezTo>
                    <a:pt x="7366" y="1067"/>
                    <a:pt x="6752" y="1093"/>
                    <a:pt x="6460" y="1128"/>
                  </a:cubicBezTo>
                  <a:cubicBezTo>
                    <a:pt x="6166" y="1156"/>
                    <a:pt x="5156" y="904"/>
                    <a:pt x="4238" y="550"/>
                  </a:cubicBezTo>
                  <a:cubicBezTo>
                    <a:pt x="3301" y="213"/>
                    <a:pt x="2113" y="-39"/>
                    <a:pt x="1567" y="5"/>
                  </a:cubicBezTo>
                  <a:cubicBezTo>
                    <a:pt x="1023" y="50"/>
                    <a:pt x="605" y="171"/>
                    <a:pt x="605" y="274"/>
                  </a:cubicBezTo>
                  <a:cubicBezTo>
                    <a:pt x="605" y="373"/>
                    <a:pt x="512" y="470"/>
                    <a:pt x="435" y="530"/>
                  </a:cubicBezTo>
                  <a:cubicBezTo>
                    <a:pt x="335" y="577"/>
                    <a:pt x="289" y="627"/>
                    <a:pt x="317" y="659"/>
                  </a:cubicBezTo>
                  <a:cubicBezTo>
                    <a:pt x="347" y="694"/>
                    <a:pt x="393" y="1029"/>
                    <a:pt x="308" y="1406"/>
                  </a:cubicBezTo>
                  <a:cubicBezTo>
                    <a:pt x="308" y="1792"/>
                    <a:pt x="143" y="2175"/>
                    <a:pt x="62" y="2270"/>
                  </a:cubicBezTo>
                  <a:cubicBezTo>
                    <a:pt x="-8" y="2369"/>
                    <a:pt x="-41" y="2526"/>
                    <a:pt x="85" y="2613"/>
                  </a:cubicBezTo>
                  <a:cubicBezTo>
                    <a:pt x="173" y="2712"/>
                    <a:pt x="481" y="2853"/>
                    <a:pt x="736" y="2934"/>
                  </a:cubicBezTo>
                  <a:cubicBezTo>
                    <a:pt x="953" y="3045"/>
                    <a:pt x="1330" y="3372"/>
                    <a:pt x="1410" y="3733"/>
                  </a:cubicBezTo>
                  <a:cubicBezTo>
                    <a:pt x="1539" y="4088"/>
                    <a:pt x="1416" y="4508"/>
                    <a:pt x="1153" y="4657"/>
                  </a:cubicBezTo>
                  <a:cubicBezTo>
                    <a:pt x="872" y="4801"/>
                    <a:pt x="637" y="5255"/>
                    <a:pt x="505" y="5644"/>
                  </a:cubicBezTo>
                  <a:cubicBezTo>
                    <a:pt x="422" y="6034"/>
                    <a:pt x="401" y="6631"/>
                    <a:pt x="538" y="6976"/>
                  </a:cubicBezTo>
                  <a:cubicBezTo>
                    <a:pt x="646" y="7321"/>
                    <a:pt x="1147" y="7957"/>
                    <a:pt x="1637" y="8393"/>
                  </a:cubicBezTo>
                  <a:cubicBezTo>
                    <a:pt x="2118" y="8833"/>
                    <a:pt x="2889" y="9222"/>
                    <a:pt x="3322" y="9279"/>
                  </a:cubicBezTo>
                  <a:cubicBezTo>
                    <a:pt x="3764" y="9311"/>
                    <a:pt x="4398" y="9511"/>
                    <a:pt x="4639" y="9731"/>
                  </a:cubicBezTo>
                  <a:cubicBezTo>
                    <a:pt x="4983" y="9896"/>
                    <a:pt x="5327" y="10334"/>
                    <a:pt x="5514" y="10637"/>
                  </a:cubicBezTo>
                  <a:cubicBezTo>
                    <a:pt x="5720" y="10936"/>
                    <a:pt x="6002" y="11182"/>
                    <a:pt x="6148" y="11210"/>
                  </a:cubicBezTo>
                  <a:cubicBezTo>
                    <a:pt x="6294" y="11176"/>
                    <a:pt x="6555" y="10960"/>
                    <a:pt x="6687" y="10625"/>
                  </a:cubicBezTo>
                  <a:cubicBezTo>
                    <a:pt x="6845" y="10294"/>
                    <a:pt x="6808" y="9763"/>
                    <a:pt x="6717" y="9452"/>
                  </a:cubicBezTo>
                  <a:cubicBezTo>
                    <a:pt x="6596" y="9147"/>
                    <a:pt x="6150" y="8556"/>
                    <a:pt x="5602" y="8209"/>
                  </a:cubicBezTo>
                  <a:cubicBezTo>
                    <a:pt x="5158" y="7813"/>
                    <a:pt x="4621" y="7362"/>
                    <a:pt x="4477" y="7164"/>
                  </a:cubicBezTo>
                  <a:cubicBezTo>
                    <a:pt x="4356" y="6968"/>
                    <a:pt x="4340" y="6718"/>
                    <a:pt x="4466" y="6601"/>
                  </a:cubicBezTo>
                  <a:cubicBezTo>
                    <a:pt x="4535" y="6471"/>
                    <a:pt x="4923" y="6623"/>
                    <a:pt x="5271" y="6871"/>
                  </a:cubicBezTo>
                  <a:cubicBezTo>
                    <a:pt x="5602" y="7125"/>
                    <a:pt x="6073" y="7535"/>
                    <a:pt x="6452" y="7691"/>
                  </a:cubicBezTo>
                  <a:cubicBezTo>
                    <a:pt x="6770" y="7888"/>
                    <a:pt x="7092" y="8272"/>
                    <a:pt x="7176" y="8568"/>
                  </a:cubicBezTo>
                  <a:cubicBezTo>
                    <a:pt x="7222" y="8859"/>
                    <a:pt x="7573" y="9319"/>
                    <a:pt x="7942" y="9579"/>
                  </a:cubicBezTo>
                  <a:cubicBezTo>
                    <a:pt x="8279" y="9856"/>
                    <a:pt x="8695" y="10364"/>
                    <a:pt x="8876" y="10720"/>
                  </a:cubicBezTo>
                  <a:cubicBezTo>
                    <a:pt x="9021" y="11085"/>
                    <a:pt x="9490" y="11600"/>
                    <a:pt x="9925" y="11850"/>
                  </a:cubicBezTo>
                  <a:cubicBezTo>
                    <a:pt x="10347" y="12106"/>
                    <a:pt x="10970" y="12562"/>
                    <a:pt x="11289" y="12867"/>
                  </a:cubicBezTo>
                  <a:cubicBezTo>
                    <a:pt x="11610" y="13178"/>
                    <a:pt x="12054" y="13569"/>
                    <a:pt x="12325" y="13707"/>
                  </a:cubicBezTo>
                  <a:cubicBezTo>
                    <a:pt x="12562" y="13868"/>
                    <a:pt x="13109" y="14385"/>
                    <a:pt x="13545" y="14855"/>
                  </a:cubicBezTo>
                  <a:cubicBezTo>
                    <a:pt x="13983" y="15329"/>
                    <a:pt x="14413" y="15852"/>
                    <a:pt x="14485" y="16023"/>
                  </a:cubicBezTo>
                  <a:cubicBezTo>
                    <a:pt x="14577" y="16195"/>
                    <a:pt x="14461" y="16548"/>
                    <a:pt x="14317" y="16826"/>
                  </a:cubicBezTo>
                  <a:cubicBezTo>
                    <a:pt x="14094" y="17083"/>
                    <a:pt x="14010" y="17513"/>
                    <a:pt x="14061" y="17751"/>
                  </a:cubicBezTo>
                  <a:cubicBezTo>
                    <a:pt x="14061" y="17989"/>
                    <a:pt x="14275" y="18394"/>
                    <a:pt x="14461" y="18645"/>
                  </a:cubicBezTo>
                  <a:cubicBezTo>
                    <a:pt x="14610" y="18903"/>
                    <a:pt x="15167" y="19242"/>
                    <a:pt x="15570" y="19446"/>
                  </a:cubicBezTo>
                  <a:cubicBezTo>
                    <a:pt x="16002" y="19634"/>
                    <a:pt x="16611" y="19944"/>
                    <a:pt x="16896" y="20152"/>
                  </a:cubicBezTo>
                  <a:cubicBezTo>
                    <a:pt x="17197" y="20356"/>
                    <a:pt x="17550" y="20471"/>
                    <a:pt x="17664" y="20402"/>
                  </a:cubicBezTo>
                  <a:cubicBezTo>
                    <a:pt x="17801" y="20350"/>
                    <a:pt x="17901" y="20053"/>
                    <a:pt x="17878" y="19765"/>
                  </a:cubicBezTo>
                  <a:cubicBezTo>
                    <a:pt x="17852" y="19480"/>
                    <a:pt x="17675" y="19065"/>
                    <a:pt x="17511" y="18826"/>
                  </a:cubicBezTo>
                  <a:cubicBezTo>
                    <a:pt x="17292" y="18604"/>
                    <a:pt x="16922" y="18253"/>
                    <a:pt x="16580" y="18090"/>
                  </a:cubicBezTo>
                  <a:cubicBezTo>
                    <a:pt x="16278" y="17902"/>
                    <a:pt x="16011" y="17712"/>
                    <a:pt x="15984" y="17652"/>
                  </a:cubicBezTo>
                  <a:cubicBezTo>
                    <a:pt x="15984" y="17589"/>
                    <a:pt x="16027" y="17458"/>
                    <a:pt x="16167" y="17395"/>
                  </a:cubicBezTo>
                  <a:cubicBezTo>
                    <a:pt x="16246" y="17305"/>
                    <a:pt x="16553" y="17371"/>
                    <a:pt x="16741" y="17535"/>
                  </a:cubicBezTo>
                  <a:cubicBezTo>
                    <a:pt x="16953" y="17688"/>
                    <a:pt x="17371" y="18152"/>
                    <a:pt x="17755" y="18534"/>
                  </a:cubicBezTo>
                  <a:cubicBezTo>
                    <a:pt x="18079" y="18933"/>
                    <a:pt x="18435" y="19504"/>
                    <a:pt x="18463" y="19817"/>
                  </a:cubicBezTo>
                  <a:cubicBezTo>
                    <a:pt x="18487" y="20134"/>
                    <a:pt x="18642" y="20455"/>
                    <a:pt x="18765" y="20542"/>
                  </a:cubicBezTo>
                  <a:cubicBezTo>
                    <a:pt x="18868" y="20631"/>
                    <a:pt x="19114" y="20726"/>
                    <a:pt x="19183" y="20806"/>
                  </a:cubicBezTo>
                  <a:cubicBezTo>
                    <a:pt x="19291" y="20867"/>
                    <a:pt x="19497" y="21040"/>
                    <a:pt x="19628" y="21192"/>
                  </a:cubicBezTo>
                  <a:cubicBezTo>
                    <a:pt x="19776" y="21337"/>
                    <a:pt x="20081" y="21470"/>
                    <a:pt x="20290" y="21525"/>
                  </a:cubicBezTo>
                  <a:cubicBezTo>
                    <a:pt x="20509" y="21561"/>
                    <a:pt x="20674" y="21444"/>
                    <a:pt x="20746" y="21282"/>
                  </a:cubicBezTo>
                  <a:cubicBezTo>
                    <a:pt x="20746" y="21111"/>
                    <a:pt x="20761" y="20810"/>
                    <a:pt x="20708" y="20606"/>
                  </a:cubicBezTo>
                  <a:cubicBezTo>
                    <a:pt x="20680" y="20400"/>
                    <a:pt x="20672" y="20209"/>
                    <a:pt x="20706" y="20229"/>
                  </a:cubicBezTo>
                  <a:cubicBezTo>
                    <a:pt x="20755" y="20229"/>
                    <a:pt x="20678" y="20084"/>
                    <a:pt x="20546" y="19900"/>
                  </a:cubicBezTo>
                  <a:cubicBezTo>
                    <a:pt x="20448" y="19706"/>
                    <a:pt x="20360" y="19630"/>
                    <a:pt x="20308" y="19630"/>
                  </a:cubicBezTo>
                  <a:cubicBezTo>
                    <a:pt x="20360" y="19630"/>
                    <a:pt x="20302" y="19414"/>
                    <a:pt x="20225" y="19234"/>
                  </a:cubicBezTo>
                  <a:cubicBezTo>
                    <a:pt x="20202" y="19048"/>
                    <a:pt x="20185" y="18677"/>
                    <a:pt x="20215" y="18405"/>
                  </a:cubicBezTo>
                  <a:cubicBezTo>
                    <a:pt x="20243" y="18126"/>
                    <a:pt x="20425" y="17729"/>
                    <a:pt x="20715" y="17559"/>
                  </a:cubicBezTo>
                  <a:cubicBezTo>
                    <a:pt x="20901" y="17345"/>
                    <a:pt x="20992" y="16931"/>
                    <a:pt x="20692" y="16623"/>
                  </a:cubicBezTo>
                  <a:cubicBezTo>
                    <a:pt x="20439" y="16300"/>
                    <a:pt x="20046" y="15975"/>
                    <a:pt x="19844" y="15888"/>
                  </a:cubicBezTo>
                  <a:cubicBezTo>
                    <a:pt x="19621" y="15823"/>
                    <a:pt x="19479" y="15523"/>
                    <a:pt x="19479" y="15244"/>
                  </a:cubicBezTo>
                  <a:cubicBezTo>
                    <a:pt x="19479" y="14968"/>
                    <a:pt x="19607" y="14554"/>
                    <a:pt x="19820" y="14340"/>
                  </a:cubicBezTo>
                  <a:cubicBezTo>
                    <a:pt x="19955" y="14104"/>
                    <a:pt x="20097" y="13680"/>
                    <a:pt x="20042" y="13375"/>
                  </a:cubicBezTo>
                  <a:cubicBezTo>
                    <a:pt x="19990" y="13071"/>
                    <a:pt x="20062" y="12734"/>
                    <a:pt x="20209" y="12631"/>
                  </a:cubicBezTo>
                  <a:cubicBezTo>
                    <a:pt x="20371" y="12540"/>
                    <a:pt x="20736" y="12465"/>
                    <a:pt x="21038" y="12524"/>
                  </a:cubicBezTo>
                  <a:cubicBezTo>
                    <a:pt x="21350" y="12556"/>
                    <a:pt x="21559" y="12524"/>
                    <a:pt x="21520" y="12433"/>
                  </a:cubicBezTo>
                  <a:cubicBezTo>
                    <a:pt x="21471" y="12346"/>
                    <a:pt x="21182" y="12114"/>
                    <a:pt x="20938" y="11898"/>
                  </a:cubicBezTo>
                  <a:cubicBezTo>
                    <a:pt x="20657" y="11692"/>
                    <a:pt x="20209" y="11428"/>
                    <a:pt x="19907" y="11333"/>
                  </a:cubicBezTo>
                  <a:cubicBezTo>
                    <a:pt x="19653" y="11200"/>
                    <a:pt x="19223" y="10929"/>
                    <a:pt x="18984" y="10685"/>
                  </a:cubicBezTo>
                  <a:cubicBezTo>
                    <a:pt x="18782" y="10425"/>
                    <a:pt x="18496" y="9979"/>
                    <a:pt x="18319" y="9692"/>
                  </a:cubicBezTo>
                  <a:cubicBezTo>
                    <a:pt x="18179" y="9396"/>
                    <a:pt x="17726" y="8841"/>
                    <a:pt x="17336" y="8451"/>
                  </a:cubicBezTo>
                  <a:cubicBezTo>
                    <a:pt x="16966" y="8056"/>
                    <a:pt x="16369" y="7467"/>
                    <a:pt x="16144" y="7095"/>
                  </a:cubicBezTo>
                  <a:cubicBezTo>
                    <a:pt x="15888" y="6736"/>
                    <a:pt x="15602" y="6124"/>
                    <a:pt x="15498" y="5741"/>
                  </a:cubicBezTo>
                  <a:cubicBezTo>
                    <a:pt x="15395" y="5356"/>
                    <a:pt x="15174" y="4774"/>
                    <a:pt x="15033" y="4447"/>
                  </a:cubicBezTo>
                  <a:cubicBezTo>
                    <a:pt x="14856" y="4133"/>
                    <a:pt x="14594" y="3854"/>
                    <a:pt x="14459" y="3909"/>
                  </a:cubicBezTo>
                  <a:cubicBezTo>
                    <a:pt x="14294" y="3909"/>
                    <a:pt x="14124" y="4084"/>
                    <a:pt x="14124" y="4247"/>
                  </a:cubicBezTo>
                  <a:cubicBezTo>
                    <a:pt x="14024" y="4401"/>
                    <a:pt x="13781" y="4492"/>
                    <a:pt x="13423" y="4492"/>
                  </a:cubicBezTo>
                  <a:cubicBezTo>
                    <a:pt x="13079" y="4431"/>
                    <a:pt x="12841" y="4340"/>
                    <a:pt x="12885" y="4217"/>
                  </a:cubicBezTo>
                  <a:cubicBezTo>
                    <a:pt x="12939" y="4094"/>
                    <a:pt x="12848" y="3967"/>
                    <a:pt x="12663" y="3967"/>
                  </a:cubicBezTo>
                  <a:cubicBezTo>
                    <a:pt x="12481" y="3967"/>
                    <a:pt x="12218" y="4023"/>
                    <a:pt x="12047" y="4104"/>
                  </a:cubicBezTo>
                  <a:cubicBezTo>
                    <a:pt x="11902" y="4201"/>
                    <a:pt x="11431" y="3975"/>
                    <a:pt x="11040" y="3616"/>
                  </a:cubicBezTo>
                  <a:close/>
                  <a:moveTo>
                    <a:pt x="11040" y="361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6" name="AutoShape 1298"/>
            <p:cNvSpPr>
              <a:spLocks/>
            </p:cNvSpPr>
            <p:nvPr/>
          </p:nvSpPr>
          <p:spPr bwMode="auto">
            <a:xfrm>
              <a:off x="3898900" y="4749800"/>
              <a:ext cx="92075" cy="176213"/>
            </a:xfrm>
            <a:custGeom>
              <a:avLst/>
              <a:gdLst/>
              <a:ahLst/>
              <a:cxnLst/>
              <a:rect l="0" t="0" r="r" b="b"/>
              <a:pathLst>
                <a:path w="21577" h="21544">
                  <a:moveTo>
                    <a:pt x="20054" y="211"/>
                  </a:moveTo>
                  <a:cubicBezTo>
                    <a:pt x="19990" y="101"/>
                    <a:pt x="19800" y="20"/>
                    <a:pt x="19645" y="0"/>
                  </a:cubicBezTo>
                  <a:cubicBezTo>
                    <a:pt x="19488" y="11"/>
                    <a:pt x="19249" y="26"/>
                    <a:pt x="19149" y="90"/>
                  </a:cubicBezTo>
                  <a:cubicBezTo>
                    <a:pt x="19058" y="159"/>
                    <a:pt x="18935" y="341"/>
                    <a:pt x="18864" y="515"/>
                  </a:cubicBezTo>
                  <a:cubicBezTo>
                    <a:pt x="18844" y="692"/>
                    <a:pt x="18616" y="877"/>
                    <a:pt x="18464" y="967"/>
                  </a:cubicBezTo>
                  <a:cubicBezTo>
                    <a:pt x="18271" y="1034"/>
                    <a:pt x="17941" y="1225"/>
                    <a:pt x="17718" y="1383"/>
                  </a:cubicBezTo>
                  <a:cubicBezTo>
                    <a:pt x="17486" y="1538"/>
                    <a:pt x="17110" y="1669"/>
                    <a:pt x="16883" y="1681"/>
                  </a:cubicBezTo>
                  <a:cubicBezTo>
                    <a:pt x="16659" y="1658"/>
                    <a:pt x="16434" y="1825"/>
                    <a:pt x="16387" y="1988"/>
                  </a:cubicBezTo>
                  <a:cubicBezTo>
                    <a:pt x="16322" y="2146"/>
                    <a:pt x="16164" y="2221"/>
                    <a:pt x="15970" y="2175"/>
                  </a:cubicBezTo>
                  <a:cubicBezTo>
                    <a:pt x="15801" y="2106"/>
                    <a:pt x="15437" y="2108"/>
                    <a:pt x="15189" y="2120"/>
                  </a:cubicBezTo>
                  <a:cubicBezTo>
                    <a:pt x="14951" y="2165"/>
                    <a:pt x="14718" y="2067"/>
                    <a:pt x="14632" y="1956"/>
                  </a:cubicBezTo>
                  <a:cubicBezTo>
                    <a:pt x="14571" y="1839"/>
                    <a:pt x="14381" y="1609"/>
                    <a:pt x="14154" y="1467"/>
                  </a:cubicBezTo>
                  <a:cubicBezTo>
                    <a:pt x="13958" y="1313"/>
                    <a:pt x="13701" y="1198"/>
                    <a:pt x="13592" y="1198"/>
                  </a:cubicBezTo>
                  <a:cubicBezTo>
                    <a:pt x="13484" y="1209"/>
                    <a:pt x="13372" y="1401"/>
                    <a:pt x="13330" y="1634"/>
                  </a:cubicBezTo>
                  <a:cubicBezTo>
                    <a:pt x="13308" y="1872"/>
                    <a:pt x="13049" y="2035"/>
                    <a:pt x="12795" y="2056"/>
                  </a:cubicBezTo>
                  <a:cubicBezTo>
                    <a:pt x="12541" y="2067"/>
                    <a:pt x="12169" y="2308"/>
                    <a:pt x="11996" y="2623"/>
                  </a:cubicBezTo>
                  <a:cubicBezTo>
                    <a:pt x="11799" y="2933"/>
                    <a:pt x="11629" y="3309"/>
                    <a:pt x="11651" y="3451"/>
                  </a:cubicBezTo>
                  <a:cubicBezTo>
                    <a:pt x="11625" y="3593"/>
                    <a:pt x="11514" y="3746"/>
                    <a:pt x="11421" y="3817"/>
                  </a:cubicBezTo>
                  <a:cubicBezTo>
                    <a:pt x="11301" y="3880"/>
                    <a:pt x="10991" y="4123"/>
                    <a:pt x="10753" y="4371"/>
                  </a:cubicBezTo>
                  <a:cubicBezTo>
                    <a:pt x="10483" y="4607"/>
                    <a:pt x="10073" y="4878"/>
                    <a:pt x="9813" y="4975"/>
                  </a:cubicBezTo>
                  <a:cubicBezTo>
                    <a:pt x="9538" y="5059"/>
                    <a:pt x="9319" y="5258"/>
                    <a:pt x="9208" y="5388"/>
                  </a:cubicBezTo>
                  <a:cubicBezTo>
                    <a:pt x="9158" y="5527"/>
                    <a:pt x="8946" y="5572"/>
                    <a:pt x="8746" y="5499"/>
                  </a:cubicBezTo>
                  <a:cubicBezTo>
                    <a:pt x="8567" y="5416"/>
                    <a:pt x="8286" y="5379"/>
                    <a:pt x="8164" y="5416"/>
                  </a:cubicBezTo>
                  <a:cubicBezTo>
                    <a:pt x="8033" y="5447"/>
                    <a:pt x="7806" y="5344"/>
                    <a:pt x="7620" y="5199"/>
                  </a:cubicBezTo>
                  <a:cubicBezTo>
                    <a:pt x="7445" y="5049"/>
                    <a:pt x="7045" y="4870"/>
                    <a:pt x="6728" y="4793"/>
                  </a:cubicBezTo>
                  <a:cubicBezTo>
                    <a:pt x="6384" y="4760"/>
                    <a:pt x="5782" y="4819"/>
                    <a:pt x="5392" y="5045"/>
                  </a:cubicBezTo>
                  <a:cubicBezTo>
                    <a:pt x="4996" y="5265"/>
                    <a:pt x="4320" y="5455"/>
                    <a:pt x="3917" y="5477"/>
                  </a:cubicBezTo>
                  <a:cubicBezTo>
                    <a:pt x="3522" y="5514"/>
                    <a:pt x="3222" y="5726"/>
                    <a:pt x="3290" y="5971"/>
                  </a:cubicBezTo>
                  <a:cubicBezTo>
                    <a:pt x="3342" y="6215"/>
                    <a:pt x="3404" y="6570"/>
                    <a:pt x="3427" y="6758"/>
                  </a:cubicBezTo>
                  <a:cubicBezTo>
                    <a:pt x="3427" y="6948"/>
                    <a:pt x="3443" y="7379"/>
                    <a:pt x="3463" y="7713"/>
                  </a:cubicBezTo>
                  <a:cubicBezTo>
                    <a:pt x="3443" y="8048"/>
                    <a:pt x="3394" y="8471"/>
                    <a:pt x="3332" y="8655"/>
                  </a:cubicBezTo>
                  <a:cubicBezTo>
                    <a:pt x="3234" y="8835"/>
                    <a:pt x="2942" y="8984"/>
                    <a:pt x="2630" y="9005"/>
                  </a:cubicBezTo>
                  <a:cubicBezTo>
                    <a:pt x="2316" y="9026"/>
                    <a:pt x="1879" y="9031"/>
                    <a:pt x="1669" y="9064"/>
                  </a:cubicBezTo>
                  <a:cubicBezTo>
                    <a:pt x="1452" y="9085"/>
                    <a:pt x="1273" y="9224"/>
                    <a:pt x="1293" y="9366"/>
                  </a:cubicBezTo>
                  <a:cubicBezTo>
                    <a:pt x="1318" y="9505"/>
                    <a:pt x="1198" y="9605"/>
                    <a:pt x="1126" y="9643"/>
                  </a:cubicBezTo>
                  <a:cubicBezTo>
                    <a:pt x="1026" y="9653"/>
                    <a:pt x="745" y="9591"/>
                    <a:pt x="508" y="9489"/>
                  </a:cubicBezTo>
                  <a:cubicBezTo>
                    <a:pt x="260" y="9392"/>
                    <a:pt x="59" y="9378"/>
                    <a:pt x="1" y="9458"/>
                  </a:cubicBezTo>
                  <a:cubicBezTo>
                    <a:pt x="-23" y="9540"/>
                    <a:pt x="371" y="10093"/>
                    <a:pt x="899" y="10695"/>
                  </a:cubicBezTo>
                  <a:cubicBezTo>
                    <a:pt x="1411" y="11299"/>
                    <a:pt x="2079" y="11916"/>
                    <a:pt x="2306" y="12082"/>
                  </a:cubicBezTo>
                  <a:cubicBezTo>
                    <a:pt x="2553" y="12245"/>
                    <a:pt x="2759" y="12510"/>
                    <a:pt x="2782" y="12673"/>
                  </a:cubicBezTo>
                  <a:cubicBezTo>
                    <a:pt x="2805" y="12832"/>
                    <a:pt x="3158" y="13258"/>
                    <a:pt x="3575" y="13617"/>
                  </a:cubicBezTo>
                  <a:cubicBezTo>
                    <a:pt x="3976" y="13985"/>
                    <a:pt x="4665" y="14660"/>
                    <a:pt x="5037" y="15136"/>
                  </a:cubicBezTo>
                  <a:cubicBezTo>
                    <a:pt x="5433" y="15608"/>
                    <a:pt x="6308" y="16567"/>
                    <a:pt x="7004" y="17266"/>
                  </a:cubicBezTo>
                  <a:cubicBezTo>
                    <a:pt x="7731" y="17961"/>
                    <a:pt x="8400" y="18596"/>
                    <a:pt x="8577" y="18596"/>
                  </a:cubicBezTo>
                  <a:cubicBezTo>
                    <a:pt x="8736" y="18633"/>
                    <a:pt x="8965" y="18707"/>
                    <a:pt x="9065" y="18778"/>
                  </a:cubicBezTo>
                  <a:cubicBezTo>
                    <a:pt x="9166" y="18849"/>
                    <a:pt x="9326" y="18886"/>
                    <a:pt x="9408" y="18851"/>
                  </a:cubicBezTo>
                  <a:cubicBezTo>
                    <a:pt x="9471" y="18806"/>
                    <a:pt x="9548" y="18733"/>
                    <a:pt x="9548" y="18659"/>
                  </a:cubicBezTo>
                  <a:cubicBezTo>
                    <a:pt x="9548" y="18582"/>
                    <a:pt x="9890" y="18491"/>
                    <a:pt x="10336" y="18458"/>
                  </a:cubicBezTo>
                  <a:cubicBezTo>
                    <a:pt x="10784" y="18425"/>
                    <a:pt x="11757" y="18614"/>
                    <a:pt x="12526" y="18866"/>
                  </a:cubicBezTo>
                  <a:cubicBezTo>
                    <a:pt x="13278" y="19131"/>
                    <a:pt x="14105" y="19319"/>
                    <a:pt x="14347" y="19298"/>
                  </a:cubicBezTo>
                  <a:cubicBezTo>
                    <a:pt x="14586" y="19273"/>
                    <a:pt x="15089" y="19253"/>
                    <a:pt x="15460" y="19274"/>
                  </a:cubicBezTo>
                  <a:cubicBezTo>
                    <a:pt x="15834" y="19274"/>
                    <a:pt x="16263" y="19461"/>
                    <a:pt x="16459" y="19667"/>
                  </a:cubicBezTo>
                  <a:cubicBezTo>
                    <a:pt x="16615" y="19879"/>
                    <a:pt x="16958" y="20089"/>
                    <a:pt x="17120" y="20173"/>
                  </a:cubicBezTo>
                  <a:cubicBezTo>
                    <a:pt x="17306" y="20238"/>
                    <a:pt x="17461" y="20383"/>
                    <a:pt x="17486" y="20486"/>
                  </a:cubicBezTo>
                  <a:cubicBezTo>
                    <a:pt x="17506" y="20592"/>
                    <a:pt x="17765" y="20903"/>
                    <a:pt x="18100" y="21162"/>
                  </a:cubicBezTo>
                  <a:cubicBezTo>
                    <a:pt x="18421" y="21431"/>
                    <a:pt x="18806" y="21600"/>
                    <a:pt x="18926" y="21527"/>
                  </a:cubicBezTo>
                  <a:cubicBezTo>
                    <a:pt x="19065" y="21467"/>
                    <a:pt x="19281" y="21425"/>
                    <a:pt x="19431" y="21425"/>
                  </a:cubicBezTo>
                  <a:cubicBezTo>
                    <a:pt x="19582" y="21425"/>
                    <a:pt x="19726" y="21426"/>
                    <a:pt x="19726" y="21397"/>
                  </a:cubicBezTo>
                  <a:cubicBezTo>
                    <a:pt x="19752" y="21372"/>
                    <a:pt x="19858" y="21298"/>
                    <a:pt x="19972" y="21225"/>
                  </a:cubicBezTo>
                  <a:cubicBezTo>
                    <a:pt x="20094" y="21163"/>
                    <a:pt x="20130" y="20938"/>
                    <a:pt x="20067" y="20737"/>
                  </a:cubicBezTo>
                  <a:cubicBezTo>
                    <a:pt x="20003" y="20536"/>
                    <a:pt x="19815" y="20216"/>
                    <a:pt x="19623" y="20040"/>
                  </a:cubicBezTo>
                  <a:cubicBezTo>
                    <a:pt x="19450" y="19859"/>
                    <a:pt x="19222" y="19480"/>
                    <a:pt x="19111" y="19200"/>
                  </a:cubicBezTo>
                  <a:cubicBezTo>
                    <a:pt x="19008" y="18920"/>
                    <a:pt x="18992" y="18438"/>
                    <a:pt x="19150" y="18141"/>
                  </a:cubicBezTo>
                  <a:cubicBezTo>
                    <a:pt x="19281" y="17835"/>
                    <a:pt x="19409" y="17418"/>
                    <a:pt x="19506" y="17219"/>
                  </a:cubicBezTo>
                  <a:cubicBezTo>
                    <a:pt x="19583" y="17013"/>
                    <a:pt x="19596" y="16619"/>
                    <a:pt x="19573" y="16345"/>
                  </a:cubicBezTo>
                  <a:cubicBezTo>
                    <a:pt x="19550" y="16069"/>
                    <a:pt x="19474" y="15963"/>
                    <a:pt x="19416" y="16108"/>
                  </a:cubicBezTo>
                  <a:cubicBezTo>
                    <a:pt x="19354" y="16256"/>
                    <a:pt x="19288" y="16478"/>
                    <a:pt x="19260" y="16598"/>
                  </a:cubicBezTo>
                  <a:cubicBezTo>
                    <a:pt x="19240" y="16721"/>
                    <a:pt x="19107" y="16874"/>
                    <a:pt x="18978" y="16942"/>
                  </a:cubicBezTo>
                  <a:cubicBezTo>
                    <a:pt x="18877" y="17022"/>
                    <a:pt x="18720" y="16912"/>
                    <a:pt x="18697" y="16719"/>
                  </a:cubicBezTo>
                  <a:cubicBezTo>
                    <a:pt x="18674" y="16527"/>
                    <a:pt x="18670" y="16203"/>
                    <a:pt x="18732" y="16001"/>
                  </a:cubicBezTo>
                  <a:cubicBezTo>
                    <a:pt x="18782" y="15792"/>
                    <a:pt x="18877" y="15396"/>
                    <a:pt x="18983" y="15118"/>
                  </a:cubicBezTo>
                  <a:cubicBezTo>
                    <a:pt x="19062" y="14840"/>
                    <a:pt x="19107" y="14470"/>
                    <a:pt x="19045" y="14294"/>
                  </a:cubicBezTo>
                  <a:cubicBezTo>
                    <a:pt x="18979" y="14122"/>
                    <a:pt x="18932" y="13829"/>
                    <a:pt x="18910" y="13649"/>
                  </a:cubicBezTo>
                  <a:cubicBezTo>
                    <a:pt x="18910" y="13471"/>
                    <a:pt x="18953" y="13005"/>
                    <a:pt x="19097" y="12624"/>
                  </a:cubicBezTo>
                  <a:cubicBezTo>
                    <a:pt x="19206" y="12244"/>
                    <a:pt x="19434" y="11943"/>
                    <a:pt x="19534" y="11994"/>
                  </a:cubicBezTo>
                  <a:cubicBezTo>
                    <a:pt x="19675" y="12008"/>
                    <a:pt x="19710" y="12145"/>
                    <a:pt x="19691" y="12248"/>
                  </a:cubicBezTo>
                  <a:cubicBezTo>
                    <a:pt x="19644" y="12349"/>
                    <a:pt x="19612" y="12698"/>
                    <a:pt x="19657" y="13022"/>
                  </a:cubicBezTo>
                  <a:cubicBezTo>
                    <a:pt x="19657" y="13022"/>
                    <a:pt x="19625" y="13023"/>
                    <a:pt x="19677" y="13196"/>
                  </a:cubicBezTo>
                  <a:cubicBezTo>
                    <a:pt x="19697" y="13369"/>
                    <a:pt x="19697" y="13369"/>
                    <a:pt x="19697" y="13369"/>
                  </a:cubicBezTo>
                  <a:cubicBezTo>
                    <a:pt x="19720" y="13829"/>
                    <a:pt x="19871" y="14207"/>
                    <a:pt x="19939" y="14231"/>
                  </a:cubicBezTo>
                  <a:cubicBezTo>
                    <a:pt x="20013" y="14251"/>
                    <a:pt x="20153" y="14115"/>
                    <a:pt x="20247" y="13945"/>
                  </a:cubicBezTo>
                  <a:cubicBezTo>
                    <a:pt x="20322" y="13768"/>
                    <a:pt x="20419" y="13214"/>
                    <a:pt x="20419" y="12704"/>
                  </a:cubicBezTo>
                  <a:cubicBezTo>
                    <a:pt x="20439" y="12195"/>
                    <a:pt x="20356" y="11275"/>
                    <a:pt x="20291" y="10657"/>
                  </a:cubicBezTo>
                  <a:cubicBezTo>
                    <a:pt x="20228" y="10040"/>
                    <a:pt x="20186" y="9434"/>
                    <a:pt x="20223" y="9307"/>
                  </a:cubicBezTo>
                  <a:cubicBezTo>
                    <a:pt x="20268" y="9177"/>
                    <a:pt x="20203" y="8940"/>
                    <a:pt x="20064" y="8783"/>
                  </a:cubicBezTo>
                  <a:cubicBezTo>
                    <a:pt x="19947" y="8626"/>
                    <a:pt x="19757" y="8462"/>
                    <a:pt x="19667" y="8414"/>
                  </a:cubicBezTo>
                  <a:cubicBezTo>
                    <a:pt x="19557" y="8385"/>
                    <a:pt x="19474" y="8224"/>
                    <a:pt x="19474" y="8092"/>
                  </a:cubicBezTo>
                  <a:cubicBezTo>
                    <a:pt x="19457" y="7958"/>
                    <a:pt x="19534" y="7775"/>
                    <a:pt x="19615" y="7682"/>
                  </a:cubicBezTo>
                  <a:cubicBezTo>
                    <a:pt x="19716" y="7595"/>
                    <a:pt x="19839" y="7542"/>
                    <a:pt x="19933" y="7542"/>
                  </a:cubicBezTo>
                  <a:cubicBezTo>
                    <a:pt x="20013" y="7562"/>
                    <a:pt x="20123" y="7641"/>
                    <a:pt x="20199" y="7721"/>
                  </a:cubicBezTo>
                  <a:cubicBezTo>
                    <a:pt x="20265" y="7803"/>
                    <a:pt x="20377" y="7607"/>
                    <a:pt x="20399" y="7279"/>
                  </a:cubicBezTo>
                  <a:cubicBezTo>
                    <a:pt x="20442" y="6952"/>
                    <a:pt x="20677" y="6470"/>
                    <a:pt x="20859" y="6204"/>
                  </a:cubicBezTo>
                  <a:cubicBezTo>
                    <a:pt x="21083" y="5946"/>
                    <a:pt x="21296" y="5583"/>
                    <a:pt x="21390" y="5407"/>
                  </a:cubicBezTo>
                  <a:cubicBezTo>
                    <a:pt x="21474" y="5233"/>
                    <a:pt x="21550" y="4986"/>
                    <a:pt x="21577" y="4850"/>
                  </a:cubicBezTo>
                  <a:cubicBezTo>
                    <a:pt x="21577" y="4715"/>
                    <a:pt x="21484" y="4525"/>
                    <a:pt x="21331" y="4430"/>
                  </a:cubicBezTo>
                  <a:cubicBezTo>
                    <a:pt x="21179" y="4330"/>
                    <a:pt x="21036" y="4154"/>
                    <a:pt x="21013" y="4034"/>
                  </a:cubicBezTo>
                  <a:cubicBezTo>
                    <a:pt x="20995" y="3919"/>
                    <a:pt x="21041" y="3688"/>
                    <a:pt x="21088" y="3520"/>
                  </a:cubicBezTo>
                  <a:cubicBezTo>
                    <a:pt x="21150" y="3352"/>
                    <a:pt x="21160" y="3030"/>
                    <a:pt x="21098" y="2805"/>
                  </a:cubicBezTo>
                  <a:cubicBezTo>
                    <a:pt x="21033" y="2582"/>
                    <a:pt x="20986" y="2107"/>
                    <a:pt x="20964" y="1753"/>
                  </a:cubicBezTo>
                  <a:cubicBezTo>
                    <a:pt x="20943" y="1396"/>
                    <a:pt x="21017" y="994"/>
                    <a:pt x="21066" y="849"/>
                  </a:cubicBezTo>
                  <a:cubicBezTo>
                    <a:pt x="21131" y="707"/>
                    <a:pt x="21275" y="530"/>
                    <a:pt x="21335" y="445"/>
                  </a:cubicBezTo>
                  <a:cubicBezTo>
                    <a:pt x="21449" y="373"/>
                    <a:pt x="21332" y="290"/>
                    <a:pt x="21184" y="329"/>
                  </a:cubicBezTo>
                  <a:cubicBezTo>
                    <a:pt x="21032" y="363"/>
                    <a:pt x="20731" y="378"/>
                    <a:pt x="20533" y="388"/>
                  </a:cubicBezTo>
                  <a:cubicBezTo>
                    <a:pt x="20334" y="400"/>
                    <a:pt x="20149" y="312"/>
                    <a:pt x="20054" y="211"/>
                  </a:cubicBezTo>
                  <a:close/>
                  <a:moveTo>
                    <a:pt x="20054" y="2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7" name="AutoShape 1299"/>
            <p:cNvSpPr>
              <a:spLocks/>
            </p:cNvSpPr>
            <p:nvPr/>
          </p:nvSpPr>
          <p:spPr bwMode="auto">
            <a:xfrm>
              <a:off x="3860800" y="4775200"/>
              <a:ext cx="1588" cy="4763"/>
            </a:xfrm>
            <a:custGeom>
              <a:avLst/>
              <a:gdLst/>
              <a:ahLst/>
              <a:cxnLst/>
              <a:rect l="0" t="0" r="r" b="b"/>
              <a:pathLst>
                <a:path w="21600" h="21600">
                  <a:moveTo>
                    <a:pt x="0" y="21600"/>
                  </a:moveTo>
                  <a:cubicBezTo>
                    <a:pt x="345" y="16536"/>
                    <a:pt x="9712" y="7522"/>
                    <a:pt x="21600" y="0"/>
                  </a:cubicBezTo>
                  <a:cubicBezTo>
                    <a:pt x="10411" y="6882"/>
                    <a:pt x="2163" y="14711"/>
                    <a:pt x="57" y="19883"/>
                  </a:cubicBezTo>
                  <a:cubicBezTo>
                    <a:pt x="201" y="20468"/>
                    <a:pt x="0" y="21016"/>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8" name="AutoShape 1300"/>
            <p:cNvSpPr>
              <a:spLocks/>
            </p:cNvSpPr>
            <p:nvPr/>
          </p:nvSpPr>
          <p:spPr bwMode="auto">
            <a:xfrm>
              <a:off x="3860800" y="4711700"/>
              <a:ext cx="130175" cy="122238"/>
            </a:xfrm>
            <a:custGeom>
              <a:avLst/>
              <a:gdLst/>
              <a:ahLst/>
              <a:cxnLst/>
              <a:rect l="0" t="0" r="r" b="b"/>
              <a:pathLst>
                <a:path w="21583" h="21536">
                  <a:moveTo>
                    <a:pt x="3139" y="3438"/>
                  </a:moveTo>
                  <a:cubicBezTo>
                    <a:pt x="3091" y="3756"/>
                    <a:pt x="2863" y="4253"/>
                    <a:pt x="2628" y="4539"/>
                  </a:cubicBezTo>
                  <a:cubicBezTo>
                    <a:pt x="2391" y="4827"/>
                    <a:pt x="2087" y="5051"/>
                    <a:pt x="1954" y="5014"/>
                  </a:cubicBezTo>
                  <a:cubicBezTo>
                    <a:pt x="1822" y="4978"/>
                    <a:pt x="1549" y="5357"/>
                    <a:pt x="1336" y="5832"/>
                  </a:cubicBezTo>
                  <a:cubicBezTo>
                    <a:pt x="1129" y="6305"/>
                    <a:pt x="865" y="6938"/>
                    <a:pt x="737" y="7232"/>
                  </a:cubicBezTo>
                  <a:cubicBezTo>
                    <a:pt x="624" y="7532"/>
                    <a:pt x="569" y="8037"/>
                    <a:pt x="617" y="8365"/>
                  </a:cubicBezTo>
                  <a:cubicBezTo>
                    <a:pt x="688" y="8686"/>
                    <a:pt x="646" y="9355"/>
                    <a:pt x="573" y="9843"/>
                  </a:cubicBezTo>
                  <a:cubicBezTo>
                    <a:pt x="505" y="10283"/>
                    <a:pt x="300" y="10863"/>
                    <a:pt x="100" y="11218"/>
                  </a:cubicBezTo>
                  <a:cubicBezTo>
                    <a:pt x="73" y="11265"/>
                    <a:pt x="48" y="11322"/>
                    <a:pt x="23" y="11361"/>
                  </a:cubicBezTo>
                  <a:cubicBezTo>
                    <a:pt x="14" y="11373"/>
                    <a:pt x="9" y="11387"/>
                    <a:pt x="0" y="11401"/>
                  </a:cubicBezTo>
                  <a:cubicBezTo>
                    <a:pt x="218" y="11106"/>
                    <a:pt x="474" y="10913"/>
                    <a:pt x="624" y="10985"/>
                  </a:cubicBezTo>
                  <a:cubicBezTo>
                    <a:pt x="755" y="11097"/>
                    <a:pt x="919" y="11216"/>
                    <a:pt x="954" y="11315"/>
                  </a:cubicBezTo>
                  <a:cubicBezTo>
                    <a:pt x="991" y="11415"/>
                    <a:pt x="1108" y="11550"/>
                    <a:pt x="1199" y="11647"/>
                  </a:cubicBezTo>
                  <a:cubicBezTo>
                    <a:pt x="1296" y="11741"/>
                    <a:pt x="1461" y="11976"/>
                    <a:pt x="1552" y="12188"/>
                  </a:cubicBezTo>
                  <a:cubicBezTo>
                    <a:pt x="1643" y="12401"/>
                    <a:pt x="1853" y="12528"/>
                    <a:pt x="2023" y="12511"/>
                  </a:cubicBezTo>
                  <a:cubicBezTo>
                    <a:pt x="2190" y="12494"/>
                    <a:pt x="2459" y="12564"/>
                    <a:pt x="2655" y="12633"/>
                  </a:cubicBezTo>
                  <a:cubicBezTo>
                    <a:pt x="2832" y="12744"/>
                    <a:pt x="3086" y="13070"/>
                    <a:pt x="3214" y="13377"/>
                  </a:cubicBezTo>
                  <a:cubicBezTo>
                    <a:pt x="3327" y="13693"/>
                    <a:pt x="3466" y="14126"/>
                    <a:pt x="3513" y="14342"/>
                  </a:cubicBezTo>
                  <a:cubicBezTo>
                    <a:pt x="3543" y="14566"/>
                    <a:pt x="3677" y="14884"/>
                    <a:pt x="3800" y="15050"/>
                  </a:cubicBezTo>
                  <a:cubicBezTo>
                    <a:pt x="3913" y="15222"/>
                    <a:pt x="4008" y="15213"/>
                    <a:pt x="4063" y="15055"/>
                  </a:cubicBezTo>
                  <a:cubicBezTo>
                    <a:pt x="4063" y="14888"/>
                    <a:pt x="4122" y="14583"/>
                    <a:pt x="4162" y="14380"/>
                  </a:cubicBezTo>
                  <a:cubicBezTo>
                    <a:pt x="4180" y="14170"/>
                    <a:pt x="4338" y="13993"/>
                    <a:pt x="4487" y="13977"/>
                  </a:cubicBezTo>
                  <a:cubicBezTo>
                    <a:pt x="4638" y="13961"/>
                    <a:pt x="4820" y="14037"/>
                    <a:pt x="4925" y="14074"/>
                  </a:cubicBezTo>
                  <a:cubicBezTo>
                    <a:pt x="5012" y="14151"/>
                    <a:pt x="5196" y="14282"/>
                    <a:pt x="5319" y="14389"/>
                  </a:cubicBezTo>
                  <a:cubicBezTo>
                    <a:pt x="5454" y="14472"/>
                    <a:pt x="5574" y="14826"/>
                    <a:pt x="5574" y="15133"/>
                  </a:cubicBezTo>
                  <a:cubicBezTo>
                    <a:pt x="5591" y="15434"/>
                    <a:pt x="5592" y="15971"/>
                    <a:pt x="5565" y="16323"/>
                  </a:cubicBezTo>
                  <a:cubicBezTo>
                    <a:pt x="5548" y="16669"/>
                    <a:pt x="5545" y="17076"/>
                    <a:pt x="5577" y="17220"/>
                  </a:cubicBezTo>
                  <a:cubicBezTo>
                    <a:pt x="5605" y="17367"/>
                    <a:pt x="5619" y="17716"/>
                    <a:pt x="5571" y="17992"/>
                  </a:cubicBezTo>
                  <a:cubicBezTo>
                    <a:pt x="5541" y="18269"/>
                    <a:pt x="5526" y="18647"/>
                    <a:pt x="5574" y="18814"/>
                  </a:cubicBezTo>
                  <a:cubicBezTo>
                    <a:pt x="5588" y="18988"/>
                    <a:pt x="5595" y="19214"/>
                    <a:pt x="5547" y="19315"/>
                  </a:cubicBezTo>
                  <a:cubicBezTo>
                    <a:pt x="5536" y="19350"/>
                    <a:pt x="5535" y="19409"/>
                    <a:pt x="5531" y="19461"/>
                  </a:cubicBezTo>
                  <a:cubicBezTo>
                    <a:pt x="5536" y="19398"/>
                    <a:pt x="5538" y="19333"/>
                    <a:pt x="5557" y="19292"/>
                  </a:cubicBezTo>
                  <a:cubicBezTo>
                    <a:pt x="5598" y="19174"/>
                    <a:pt x="5732" y="19187"/>
                    <a:pt x="5839" y="19301"/>
                  </a:cubicBezTo>
                  <a:cubicBezTo>
                    <a:pt x="5962" y="19404"/>
                    <a:pt x="6072" y="19638"/>
                    <a:pt x="6126" y="19780"/>
                  </a:cubicBezTo>
                  <a:cubicBezTo>
                    <a:pt x="6175" y="19924"/>
                    <a:pt x="6286" y="20047"/>
                    <a:pt x="6363" y="20033"/>
                  </a:cubicBezTo>
                  <a:cubicBezTo>
                    <a:pt x="6440" y="20018"/>
                    <a:pt x="6528" y="19925"/>
                    <a:pt x="6564" y="19813"/>
                  </a:cubicBezTo>
                  <a:cubicBezTo>
                    <a:pt x="6591" y="19693"/>
                    <a:pt x="6682" y="19676"/>
                    <a:pt x="6761" y="19760"/>
                  </a:cubicBezTo>
                  <a:cubicBezTo>
                    <a:pt x="6840" y="19845"/>
                    <a:pt x="6925" y="20111"/>
                    <a:pt x="6925" y="20341"/>
                  </a:cubicBezTo>
                  <a:cubicBezTo>
                    <a:pt x="6941" y="20571"/>
                    <a:pt x="6986" y="20933"/>
                    <a:pt x="7040" y="21138"/>
                  </a:cubicBezTo>
                  <a:cubicBezTo>
                    <a:pt x="7099" y="21346"/>
                    <a:pt x="7144" y="21536"/>
                    <a:pt x="7134" y="21536"/>
                  </a:cubicBezTo>
                  <a:cubicBezTo>
                    <a:pt x="7147" y="21536"/>
                    <a:pt x="7256" y="21527"/>
                    <a:pt x="7410" y="21497"/>
                  </a:cubicBezTo>
                  <a:cubicBezTo>
                    <a:pt x="7559" y="21449"/>
                    <a:pt x="7869" y="21442"/>
                    <a:pt x="8091" y="21411"/>
                  </a:cubicBezTo>
                  <a:cubicBezTo>
                    <a:pt x="8312" y="21381"/>
                    <a:pt x="8519" y="21166"/>
                    <a:pt x="8588" y="20906"/>
                  </a:cubicBezTo>
                  <a:cubicBezTo>
                    <a:pt x="8632" y="20639"/>
                    <a:pt x="8667" y="20028"/>
                    <a:pt x="8681" y="19544"/>
                  </a:cubicBezTo>
                  <a:cubicBezTo>
                    <a:pt x="8667" y="19060"/>
                    <a:pt x="8655" y="18438"/>
                    <a:pt x="8655" y="18164"/>
                  </a:cubicBezTo>
                  <a:cubicBezTo>
                    <a:pt x="8639" y="17892"/>
                    <a:pt x="8595" y="17378"/>
                    <a:pt x="8559" y="17026"/>
                  </a:cubicBezTo>
                  <a:cubicBezTo>
                    <a:pt x="8511" y="16671"/>
                    <a:pt x="8723" y="16364"/>
                    <a:pt x="9003" y="16311"/>
                  </a:cubicBezTo>
                  <a:cubicBezTo>
                    <a:pt x="9288" y="16279"/>
                    <a:pt x="9767" y="16005"/>
                    <a:pt x="10048" y="15686"/>
                  </a:cubicBezTo>
                  <a:cubicBezTo>
                    <a:pt x="10324" y="15361"/>
                    <a:pt x="10751" y="15274"/>
                    <a:pt x="10995" y="15322"/>
                  </a:cubicBezTo>
                  <a:cubicBezTo>
                    <a:pt x="11219" y="15434"/>
                    <a:pt x="11502" y="15693"/>
                    <a:pt x="11627" y="15909"/>
                  </a:cubicBezTo>
                  <a:cubicBezTo>
                    <a:pt x="11758" y="16119"/>
                    <a:pt x="11919" y="16267"/>
                    <a:pt x="12012" y="16224"/>
                  </a:cubicBezTo>
                  <a:cubicBezTo>
                    <a:pt x="12098" y="16169"/>
                    <a:pt x="12297" y="16224"/>
                    <a:pt x="12425" y="16343"/>
                  </a:cubicBezTo>
                  <a:cubicBezTo>
                    <a:pt x="12566" y="16449"/>
                    <a:pt x="12716" y="16384"/>
                    <a:pt x="12752" y="16182"/>
                  </a:cubicBezTo>
                  <a:cubicBezTo>
                    <a:pt x="12830" y="15994"/>
                    <a:pt x="12985" y="15707"/>
                    <a:pt x="13180" y="15586"/>
                  </a:cubicBezTo>
                  <a:cubicBezTo>
                    <a:pt x="13364" y="15445"/>
                    <a:pt x="13655" y="15054"/>
                    <a:pt x="13847" y="14713"/>
                  </a:cubicBezTo>
                  <a:cubicBezTo>
                    <a:pt x="14015" y="14353"/>
                    <a:pt x="14235" y="14003"/>
                    <a:pt x="14320" y="13911"/>
                  </a:cubicBezTo>
                  <a:cubicBezTo>
                    <a:pt x="14386" y="13808"/>
                    <a:pt x="14464" y="13588"/>
                    <a:pt x="14483" y="13382"/>
                  </a:cubicBezTo>
                  <a:cubicBezTo>
                    <a:pt x="14467" y="13177"/>
                    <a:pt x="14587" y="12633"/>
                    <a:pt x="14727" y="12185"/>
                  </a:cubicBezTo>
                  <a:cubicBezTo>
                    <a:pt x="14850" y="11730"/>
                    <a:pt x="15113" y="11382"/>
                    <a:pt x="15293" y="11366"/>
                  </a:cubicBezTo>
                  <a:cubicBezTo>
                    <a:pt x="15473" y="11335"/>
                    <a:pt x="15657" y="11099"/>
                    <a:pt x="15672" y="10755"/>
                  </a:cubicBezTo>
                  <a:cubicBezTo>
                    <a:pt x="15702" y="10419"/>
                    <a:pt x="15781" y="10141"/>
                    <a:pt x="15857" y="10126"/>
                  </a:cubicBezTo>
                  <a:cubicBezTo>
                    <a:pt x="15935" y="10126"/>
                    <a:pt x="16117" y="10292"/>
                    <a:pt x="16256" y="10514"/>
                  </a:cubicBezTo>
                  <a:cubicBezTo>
                    <a:pt x="16417" y="10720"/>
                    <a:pt x="16552" y="11052"/>
                    <a:pt x="16594" y="11222"/>
                  </a:cubicBezTo>
                  <a:cubicBezTo>
                    <a:pt x="16656" y="11382"/>
                    <a:pt x="16821" y="11523"/>
                    <a:pt x="16989" y="11459"/>
                  </a:cubicBezTo>
                  <a:cubicBezTo>
                    <a:pt x="17165" y="11441"/>
                    <a:pt x="17423" y="11438"/>
                    <a:pt x="17542" y="11538"/>
                  </a:cubicBezTo>
                  <a:cubicBezTo>
                    <a:pt x="17680" y="11604"/>
                    <a:pt x="17792" y="11496"/>
                    <a:pt x="17838" y="11267"/>
                  </a:cubicBezTo>
                  <a:cubicBezTo>
                    <a:pt x="17871" y="11032"/>
                    <a:pt x="18031" y="10790"/>
                    <a:pt x="18190" y="10824"/>
                  </a:cubicBezTo>
                  <a:cubicBezTo>
                    <a:pt x="18351" y="10806"/>
                    <a:pt x="18617" y="10617"/>
                    <a:pt x="18781" y="10393"/>
                  </a:cubicBezTo>
                  <a:cubicBezTo>
                    <a:pt x="18939" y="10164"/>
                    <a:pt x="19173" y="9889"/>
                    <a:pt x="19310" y="9792"/>
                  </a:cubicBezTo>
                  <a:cubicBezTo>
                    <a:pt x="19418" y="9661"/>
                    <a:pt x="19579" y="9394"/>
                    <a:pt x="19593" y="9138"/>
                  </a:cubicBezTo>
                  <a:cubicBezTo>
                    <a:pt x="19643" y="8886"/>
                    <a:pt x="19731" y="8623"/>
                    <a:pt x="19795" y="8523"/>
                  </a:cubicBezTo>
                  <a:cubicBezTo>
                    <a:pt x="19866" y="8430"/>
                    <a:pt x="20035" y="8410"/>
                    <a:pt x="20147" y="8393"/>
                  </a:cubicBezTo>
                  <a:cubicBezTo>
                    <a:pt x="20257" y="8423"/>
                    <a:pt x="20391" y="8540"/>
                    <a:pt x="20436" y="8698"/>
                  </a:cubicBezTo>
                  <a:cubicBezTo>
                    <a:pt x="20503" y="8844"/>
                    <a:pt x="20635" y="8971"/>
                    <a:pt x="20775" y="8955"/>
                  </a:cubicBezTo>
                  <a:cubicBezTo>
                    <a:pt x="20916" y="8939"/>
                    <a:pt x="21129" y="8919"/>
                    <a:pt x="21237" y="8870"/>
                  </a:cubicBezTo>
                  <a:cubicBezTo>
                    <a:pt x="21342" y="8813"/>
                    <a:pt x="21505" y="8725"/>
                    <a:pt x="21549" y="8601"/>
                  </a:cubicBezTo>
                  <a:cubicBezTo>
                    <a:pt x="21600" y="8478"/>
                    <a:pt x="21594" y="8220"/>
                    <a:pt x="21531" y="8014"/>
                  </a:cubicBezTo>
                  <a:cubicBezTo>
                    <a:pt x="21459" y="7816"/>
                    <a:pt x="21205" y="7337"/>
                    <a:pt x="20960" y="6951"/>
                  </a:cubicBezTo>
                  <a:cubicBezTo>
                    <a:pt x="20687" y="6595"/>
                    <a:pt x="20340" y="6077"/>
                    <a:pt x="20103" y="5893"/>
                  </a:cubicBezTo>
                  <a:cubicBezTo>
                    <a:pt x="19883" y="5690"/>
                    <a:pt x="19678" y="5585"/>
                    <a:pt x="19678" y="5653"/>
                  </a:cubicBezTo>
                  <a:cubicBezTo>
                    <a:pt x="19656" y="5720"/>
                    <a:pt x="19736" y="6050"/>
                    <a:pt x="19839" y="6373"/>
                  </a:cubicBezTo>
                  <a:cubicBezTo>
                    <a:pt x="19930" y="6705"/>
                    <a:pt x="19845" y="6928"/>
                    <a:pt x="19626" y="6913"/>
                  </a:cubicBezTo>
                  <a:cubicBezTo>
                    <a:pt x="19416" y="6843"/>
                    <a:pt x="19014" y="6805"/>
                    <a:pt x="18760" y="6708"/>
                  </a:cubicBezTo>
                  <a:cubicBezTo>
                    <a:pt x="18498" y="6642"/>
                    <a:pt x="18199" y="6434"/>
                    <a:pt x="18097" y="6275"/>
                  </a:cubicBezTo>
                  <a:cubicBezTo>
                    <a:pt x="17972" y="6127"/>
                    <a:pt x="17743" y="5953"/>
                    <a:pt x="17565" y="5873"/>
                  </a:cubicBezTo>
                  <a:cubicBezTo>
                    <a:pt x="17379" y="5812"/>
                    <a:pt x="17091" y="5726"/>
                    <a:pt x="16930" y="5742"/>
                  </a:cubicBezTo>
                  <a:cubicBezTo>
                    <a:pt x="16770" y="5711"/>
                    <a:pt x="16667" y="5596"/>
                    <a:pt x="16700" y="5449"/>
                  </a:cubicBezTo>
                  <a:cubicBezTo>
                    <a:pt x="16726" y="5300"/>
                    <a:pt x="16865" y="5124"/>
                    <a:pt x="16992" y="5072"/>
                  </a:cubicBezTo>
                  <a:cubicBezTo>
                    <a:pt x="17117" y="5019"/>
                    <a:pt x="17209" y="4814"/>
                    <a:pt x="17178" y="4632"/>
                  </a:cubicBezTo>
                  <a:cubicBezTo>
                    <a:pt x="17178" y="4452"/>
                    <a:pt x="17211" y="4285"/>
                    <a:pt x="17292" y="4242"/>
                  </a:cubicBezTo>
                  <a:cubicBezTo>
                    <a:pt x="17379" y="4226"/>
                    <a:pt x="17572" y="4253"/>
                    <a:pt x="17731" y="4332"/>
                  </a:cubicBezTo>
                  <a:cubicBezTo>
                    <a:pt x="17883" y="4428"/>
                    <a:pt x="18232" y="4647"/>
                    <a:pt x="18513" y="4798"/>
                  </a:cubicBezTo>
                  <a:cubicBezTo>
                    <a:pt x="18770" y="4993"/>
                    <a:pt x="19023" y="5069"/>
                    <a:pt x="19067" y="5022"/>
                  </a:cubicBezTo>
                  <a:cubicBezTo>
                    <a:pt x="19099" y="4971"/>
                    <a:pt x="18966" y="4691"/>
                    <a:pt x="18781" y="4394"/>
                  </a:cubicBezTo>
                  <a:cubicBezTo>
                    <a:pt x="18592" y="4098"/>
                    <a:pt x="18225" y="3628"/>
                    <a:pt x="17975" y="3344"/>
                  </a:cubicBezTo>
                  <a:cubicBezTo>
                    <a:pt x="17718" y="3069"/>
                    <a:pt x="17374" y="2809"/>
                    <a:pt x="17206" y="2749"/>
                  </a:cubicBezTo>
                  <a:cubicBezTo>
                    <a:pt x="17034" y="2712"/>
                    <a:pt x="16767" y="2726"/>
                    <a:pt x="16606" y="2777"/>
                  </a:cubicBezTo>
                  <a:cubicBezTo>
                    <a:pt x="16451" y="2845"/>
                    <a:pt x="16241" y="2769"/>
                    <a:pt x="16116" y="2686"/>
                  </a:cubicBezTo>
                  <a:cubicBezTo>
                    <a:pt x="16012" y="2574"/>
                    <a:pt x="15875" y="2683"/>
                    <a:pt x="15859" y="2915"/>
                  </a:cubicBezTo>
                  <a:cubicBezTo>
                    <a:pt x="15817" y="3149"/>
                    <a:pt x="15703" y="3169"/>
                    <a:pt x="15557" y="2995"/>
                  </a:cubicBezTo>
                  <a:cubicBezTo>
                    <a:pt x="15422" y="2802"/>
                    <a:pt x="14968" y="2514"/>
                    <a:pt x="14531" y="2431"/>
                  </a:cubicBezTo>
                  <a:cubicBezTo>
                    <a:pt x="14108" y="2305"/>
                    <a:pt x="13425" y="2128"/>
                    <a:pt x="13014" y="2080"/>
                  </a:cubicBezTo>
                  <a:cubicBezTo>
                    <a:pt x="12608" y="1980"/>
                    <a:pt x="12081" y="1623"/>
                    <a:pt x="11847" y="1233"/>
                  </a:cubicBezTo>
                  <a:cubicBezTo>
                    <a:pt x="11609" y="842"/>
                    <a:pt x="11252" y="358"/>
                    <a:pt x="11051" y="141"/>
                  </a:cubicBezTo>
                  <a:cubicBezTo>
                    <a:pt x="10843" y="-64"/>
                    <a:pt x="10682" y="-43"/>
                    <a:pt x="10621" y="184"/>
                  </a:cubicBezTo>
                  <a:cubicBezTo>
                    <a:pt x="10590" y="413"/>
                    <a:pt x="10623" y="701"/>
                    <a:pt x="10705" y="810"/>
                  </a:cubicBezTo>
                  <a:cubicBezTo>
                    <a:pt x="10776" y="936"/>
                    <a:pt x="10738" y="1124"/>
                    <a:pt x="10587" y="1222"/>
                  </a:cubicBezTo>
                  <a:cubicBezTo>
                    <a:pt x="10462" y="1357"/>
                    <a:pt x="10242" y="1521"/>
                    <a:pt x="10163" y="1658"/>
                  </a:cubicBezTo>
                  <a:cubicBezTo>
                    <a:pt x="10068" y="1787"/>
                    <a:pt x="9876" y="1784"/>
                    <a:pt x="9710" y="1672"/>
                  </a:cubicBezTo>
                  <a:cubicBezTo>
                    <a:pt x="9549" y="1551"/>
                    <a:pt x="9168" y="1549"/>
                    <a:pt x="8872" y="1700"/>
                  </a:cubicBezTo>
                  <a:cubicBezTo>
                    <a:pt x="8578" y="1856"/>
                    <a:pt x="8000" y="1860"/>
                    <a:pt x="7605" y="1762"/>
                  </a:cubicBezTo>
                  <a:cubicBezTo>
                    <a:pt x="7207" y="1676"/>
                    <a:pt x="6446" y="1582"/>
                    <a:pt x="5909" y="1535"/>
                  </a:cubicBezTo>
                  <a:cubicBezTo>
                    <a:pt x="5375" y="1504"/>
                    <a:pt x="4759" y="1711"/>
                    <a:pt x="4531" y="1955"/>
                  </a:cubicBezTo>
                  <a:cubicBezTo>
                    <a:pt x="4310" y="2209"/>
                    <a:pt x="4026" y="2253"/>
                    <a:pt x="3913" y="2054"/>
                  </a:cubicBezTo>
                  <a:cubicBezTo>
                    <a:pt x="3807" y="1844"/>
                    <a:pt x="3694" y="1824"/>
                    <a:pt x="3658" y="1975"/>
                  </a:cubicBezTo>
                  <a:cubicBezTo>
                    <a:pt x="3621" y="2127"/>
                    <a:pt x="3549" y="2417"/>
                    <a:pt x="3415" y="2558"/>
                  </a:cubicBezTo>
                  <a:cubicBezTo>
                    <a:pt x="3327" y="2735"/>
                    <a:pt x="3153" y="3117"/>
                    <a:pt x="3139" y="3438"/>
                  </a:cubicBezTo>
                  <a:close/>
                  <a:moveTo>
                    <a:pt x="3139" y="343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299" name="AutoShape 1301"/>
            <p:cNvSpPr>
              <a:spLocks/>
            </p:cNvSpPr>
            <p:nvPr/>
          </p:nvSpPr>
          <p:spPr bwMode="auto">
            <a:xfrm>
              <a:off x="3886200" y="4813300"/>
              <a:ext cx="0" cy="1588"/>
            </a:xfrm>
            <a:custGeom>
              <a:avLst/>
              <a:gdLst/>
              <a:ahLst/>
              <a:cxnLst/>
              <a:rect l="0" t="0" r="r" b="b"/>
              <a:pathLst>
                <a:path w="19059" h="21600">
                  <a:moveTo>
                    <a:pt x="19059" y="21600"/>
                  </a:moveTo>
                  <a:cubicBezTo>
                    <a:pt x="-342" y="14411"/>
                    <a:pt x="-2541" y="6632"/>
                    <a:pt x="1999" y="0"/>
                  </a:cubicBezTo>
                  <a:cubicBezTo>
                    <a:pt x="-2541" y="6946"/>
                    <a:pt x="828" y="14725"/>
                    <a:pt x="19059" y="21600"/>
                  </a:cubicBezTo>
                  <a:close/>
                  <a:moveTo>
                    <a:pt x="19059"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0" name="AutoShape 1302"/>
            <p:cNvSpPr>
              <a:spLocks/>
            </p:cNvSpPr>
            <p:nvPr/>
          </p:nvSpPr>
          <p:spPr bwMode="auto">
            <a:xfrm>
              <a:off x="3848100" y="4775200"/>
              <a:ext cx="17463" cy="33338"/>
            </a:xfrm>
            <a:custGeom>
              <a:avLst/>
              <a:gdLst/>
              <a:ahLst/>
              <a:cxnLst/>
              <a:rect l="0" t="0" r="r" b="b"/>
              <a:pathLst>
                <a:path w="21421" h="21600">
                  <a:moveTo>
                    <a:pt x="13657" y="16756"/>
                  </a:moveTo>
                  <a:cubicBezTo>
                    <a:pt x="12505" y="15236"/>
                    <a:pt x="11860" y="11181"/>
                    <a:pt x="12283" y="7780"/>
                  </a:cubicBezTo>
                  <a:cubicBezTo>
                    <a:pt x="12604" y="4361"/>
                    <a:pt x="12956" y="1528"/>
                    <a:pt x="13063" y="1528"/>
                  </a:cubicBezTo>
                  <a:cubicBezTo>
                    <a:pt x="13170" y="1528"/>
                    <a:pt x="13264" y="1062"/>
                    <a:pt x="13163" y="571"/>
                  </a:cubicBezTo>
                  <a:cubicBezTo>
                    <a:pt x="13192" y="390"/>
                    <a:pt x="13192" y="193"/>
                    <a:pt x="13207" y="0"/>
                  </a:cubicBezTo>
                  <a:cubicBezTo>
                    <a:pt x="13207" y="50"/>
                    <a:pt x="13121" y="139"/>
                    <a:pt x="13121" y="182"/>
                  </a:cubicBezTo>
                  <a:cubicBezTo>
                    <a:pt x="13242" y="896"/>
                    <a:pt x="12355" y="1632"/>
                    <a:pt x="11409" y="1976"/>
                  </a:cubicBezTo>
                  <a:cubicBezTo>
                    <a:pt x="10356" y="2204"/>
                    <a:pt x="8415" y="2751"/>
                    <a:pt x="6939" y="2983"/>
                  </a:cubicBezTo>
                  <a:cubicBezTo>
                    <a:pt x="5586" y="3369"/>
                    <a:pt x="3359" y="4511"/>
                    <a:pt x="2520" y="5793"/>
                  </a:cubicBezTo>
                  <a:cubicBezTo>
                    <a:pt x="1360" y="6997"/>
                    <a:pt x="766" y="8598"/>
                    <a:pt x="766" y="9258"/>
                  </a:cubicBezTo>
                  <a:cubicBezTo>
                    <a:pt x="766" y="9922"/>
                    <a:pt x="386" y="11018"/>
                    <a:pt x="194" y="11747"/>
                  </a:cubicBezTo>
                  <a:cubicBezTo>
                    <a:pt x="-179" y="12473"/>
                    <a:pt x="7" y="13253"/>
                    <a:pt x="572" y="13507"/>
                  </a:cubicBezTo>
                  <a:cubicBezTo>
                    <a:pt x="1260" y="13631"/>
                    <a:pt x="2578" y="13955"/>
                    <a:pt x="3724" y="14075"/>
                  </a:cubicBezTo>
                  <a:cubicBezTo>
                    <a:pt x="4877" y="14194"/>
                    <a:pt x="6796" y="15051"/>
                    <a:pt x="7784" y="16116"/>
                  </a:cubicBezTo>
                  <a:cubicBezTo>
                    <a:pt x="8945" y="17131"/>
                    <a:pt x="10957" y="18304"/>
                    <a:pt x="12318" y="18775"/>
                  </a:cubicBezTo>
                  <a:cubicBezTo>
                    <a:pt x="13772" y="19196"/>
                    <a:pt x="15506" y="19612"/>
                    <a:pt x="16194" y="19562"/>
                  </a:cubicBezTo>
                  <a:cubicBezTo>
                    <a:pt x="16880" y="19501"/>
                    <a:pt x="19272" y="20446"/>
                    <a:pt x="21421" y="21600"/>
                  </a:cubicBezTo>
                  <a:cubicBezTo>
                    <a:pt x="19272" y="20446"/>
                    <a:pt x="17038" y="19509"/>
                    <a:pt x="16544" y="19551"/>
                  </a:cubicBezTo>
                  <a:cubicBezTo>
                    <a:pt x="16072" y="19450"/>
                    <a:pt x="14653" y="18312"/>
                    <a:pt x="13657" y="16756"/>
                  </a:cubicBezTo>
                  <a:close/>
                  <a:moveTo>
                    <a:pt x="13657" y="167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1" name="AutoShape 1303"/>
            <p:cNvSpPr>
              <a:spLocks/>
            </p:cNvSpPr>
            <p:nvPr/>
          </p:nvSpPr>
          <p:spPr bwMode="auto">
            <a:xfrm>
              <a:off x="3848100" y="4762500"/>
              <a:ext cx="36513" cy="57150"/>
            </a:xfrm>
            <a:custGeom>
              <a:avLst/>
              <a:gdLst/>
              <a:ahLst/>
              <a:cxnLst/>
              <a:rect l="0" t="0" r="r" b="b"/>
              <a:pathLst>
                <a:path w="21364" h="21370">
                  <a:moveTo>
                    <a:pt x="21264" y="16335"/>
                  </a:moveTo>
                  <a:cubicBezTo>
                    <a:pt x="21097" y="15987"/>
                    <a:pt x="21147" y="15199"/>
                    <a:pt x="21254" y="14624"/>
                  </a:cubicBezTo>
                  <a:cubicBezTo>
                    <a:pt x="21422" y="14048"/>
                    <a:pt x="21372" y="13323"/>
                    <a:pt x="21276" y="13015"/>
                  </a:cubicBezTo>
                  <a:cubicBezTo>
                    <a:pt x="21161" y="12715"/>
                    <a:pt x="21172" y="11869"/>
                    <a:pt x="21232" y="11147"/>
                  </a:cubicBezTo>
                  <a:cubicBezTo>
                    <a:pt x="21325" y="10415"/>
                    <a:pt x="21322" y="9295"/>
                    <a:pt x="21264" y="8670"/>
                  </a:cubicBezTo>
                  <a:cubicBezTo>
                    <a:pt x="21264" y="8030"/>
                    <a:pt x="20843" y="7293"/>
                    <a:pt x="20369" y="7120"/>
                  </a:cubicBezTo>
                  <a:cubicBezTo>
                    <a:pt x="19940" y="6898"/>
                    <a:pt x="19293" y="6625"/>
                    <a:pt x="18990" y="6463"/>
                  </a:cubicBezTo>
                  <a:cubicBezTo>
                    <a:pt x="18622" y="6386"/>
                    <a:pt x="17983" y="6229"/>
                    <a:pt x="17454" y="6261"/>
                  </a:cubicBezTo>
                  <a:cubicBezTo>
                    <a:pt x="16932" y="6295"/>
                    <a:pt x="16379" y="6663"/>
                    <a:pt x="16318" y="7100"/>
                  </a:cubicBezTo>
                  <a:cubicBezTo>
                    <a:pt x="16175" y="7523"/>
                    <a:pt x="15968" y="8158"/>
                    <a:pt x="15968" y="8506"/>
                  </a:cubicBezTo>
                  <a:cubicBezTo>
                    <a:pt x="15775" y="8836"/>
                    <a:pt x="15443" y="8854"/>
                    <a:pt x="15047" y="8497"/>
                  </a:cubicBezTo>
                  <a:cubicBezTo>
                    <a:pt x="14618" y="8151"/>
                    <a:pt x="14147" y="7489"/>
                    <a:pt x="14043" y="7023"/>
                  </a:cubicBezTo>
                  <a:cubicBezTo>
                    <a:pt x="13878" y="6572"/>
                    <a:pt x="13389" y="5669"/>
                    <a:pt x="12993" y="5011"/>
                  </a:cubicBezTo>
                  <a:cubicBezTo>
                    <a:pt x="12547" y="4372"/>
                    <a:pt x="11657" y="3694"/>
                    <a:pt x="11036" y="3462"/>
                  </a:cubicBezTo>
                  <a:cubicBezTo>
                    <a:pt x="10350" y="3319"/>
                    <a:pt x="9407" y="3173"/>
                    <a:pt x="8822" y="3207"/>
                  </a:cubicBezTo>
                  <a:cubicBezTo>
                    <a:pt x="8225" y="3244"/>
                    <a:pt x="7490" y="2980"/>
                    <a:pt x="7172" y="2536"/>
                  </a:cubicBezTo>
                  <a:cubicBezTo>
                    <a:pt x="6850" y="2095"/>
                    <a:pt x="6275" y="1606"/>
                    <a:pt x="5932" y="1410"/>
                  </a:cubicBezTo>
                  <a:cubicBezTo>
                    <a:pt x="5615" y="1208"/>
                    <a:pt x="5204" y="925"/>
                    <a:pt x="5075" y="718"/>
                  </a:cubicBezTo>
                  <a:cubicBezTo>
                    <a:pt x="4954" y="511"/>
                    <a:pt x="4379" y="264"/>
                    <a:pt x="3918" y="31"/>
                  </a:cubicBezTo>
                  <a:cubicBezTo>
                    <a:pt x="3393" y="-119"/>
                    <a:pt x="2497" y="282"/>
                    <a:pt x="1732" y="896"/>
                  </a:cubicBezTo>
                  <a:cubicBezTo>
                    <a:pt x="1696" y="928"/>
                    <a:pt x="1664" y="966"/>
                    <a:pt x="1629" y="1001"/>
                  </a:cubicBezTo>
                  <a:cubicBezTo>
                    <a:pt x="1021" y="1619"/>
                    <a:pt x="543" y="2361"/>
                    <a:pt x="525" y="2777"/>
                  </a:cubicBezTo>
                  <a:cubicBezTo>
                    <a:pt x="518" y="2891"/>
                    <a:pt x="518" y="3007"/>
                    <a:pt x="504" y="3114"/>
                  </a:cubicBezTo>
                  <a:cubicBezTo>
                    <a:pt x="554" y="3403"/>
                    <a:pt x="507" y="3678"/>
                    <a:pt x="454" y="3678"/>
                  </a:cubicBezTo>
                  <a:cubicBezTo>
                    <a:pt x="400" y="3678"/>
                    <a:pt x="225" y="5348"/>
                    <a:pt x="65" y="7364"/>
                  </a:cubicBezTo>
                  <a:cubicBezTo>
                    <a:pt x="-146" y="9369"/>
                    <a:pt x="175" y="11759"/>
                    <a:pt x="750" y="12656"/>
                  </a:cubicBezTo>
                  <a:cubicBezTo>
                    <a:pt x="1247" y="13573"/>
                    <a:pt x="1954" y="14244"/>
                    <a:pt x="2190" y="14303"/>
                  </a:cubicBezTo>
                  <a:cubicBezTo>
                    <a:pt x="2436" y="14278"/>
                    <a:pt x="3550" y="14831"/>
                    <a:pt x="4621" y="15511"/>
                  </a:cubicBezTo>
                  <a:cubicBezTo>
                    <a:pt x="5708" y="16173"/>
                    <a:pt x="7443" y="17333"/>
                    <a:pt x="8486" y="18064"/>
                  </a:cubicBezTo>
                  <a:cubicBezTo>
                    <a:pt x="9565" y="18785"/>
                    <a:pt x="10439" y="19153"/>
                    <a:pt x="10568" y="18835"/>
                  </a:cubicBezTo>
                  <a:cubicBezTo>
                    <a:pt x="10704" y="18507"/>
                    <a:pt x="10336" y="17970"/>
                    <a:pt x="9889" y="17613"/>
                  </a:cubicBezTo>
                  <a:cubicBezTo>
                    <a:pt x="9415" y="17274"/>
                    <a:pt x="9164" y="16842"/>
                    <a:pt x="9404" y="16724"/>
                  </a:cubicBezTo>
                  <a:cubicBezTo>
                    <a:pt x="9654" y="16603"/>
                    <a:pt x="10232" y="16498"/>
                    <a:pt x="10797" y="16564"/>
                  </a:cubicBezTo>
                  <a:cubicBezTo>
                    <a:pt x="11365" y="16596"/>
                    <a:pt x="12258" y="17363"/>
                    <a:pt x="12800" y="18182"/>
                  </a:cubicBezTo>
                  <a:cubicBezTo>
                    <a:pt x="13297" y="19019"/>
                    <a:pt x="14058" y="20016"/>
                    <a:pt x="14464" y="20384"/>
                  </a:cubicBezTo>
                  <a:cubicBezTo>
                    <a:pt x="14800" y="20789"/>
                    <a:pt x="16297" y="21235"/>
                    <a:pt x="17725" y="21344"/>
                  </a:cubicBezTo>
                  <a:cubicBezTo>
                    <a:pt x="19154" y="21481"/>
                    <a:pt x="20629" y="21046"/>
                    <a:pt x="20950" y="20364"/>
                  </a:cubicBezTo>
                  <a:cubicBezTo>
                    <a:pt x="21322" y="19695"/>
                    <a:pt x="21454" y="18823"/>
                    <a:pt x="21222" y="18455"/>
                  </a:cubicBezTo>
                  <a:cubicBezTo>
                    <a:pt x="21107" y="18209"/>
                    <a:pt x="21086" y="17932"/>
                    <a:pt x="21115" y="17684"/>
                  </a:cubicBezTo>
                  <a:cubicBezTo>
                    <a:pt x="21126" y="17575"/>
                    <a:pt x="21132" y="17452"/>
                    <a:pt x="21168" y="17379"/>
                  </a:cubicBezTo>
                  <a:cubicBezTo>
                    <a:pt x="21336" y="17167"/>
                    <a:pt x="21314" y="16699"/>
                    <a:pt x="21264" y="16335"/>
                  </a:cubicBezTo>
                  <a:close/>
                  <a:moveTo>
                    <a:pt x="21264" y="1633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2" name="AutoShape 1304"/>
            <p:cNvSpPr>
              <a:spLocks/>
            </p:cNvSpPr>
            <p:nvPr/>
          </p:nvSpPr>
          <p:spPr bwMode="auto">
            <a:xfrm>
              <a:off x="3860800" y="4610100"/>
              <a:ext cx="20638" cy="98425"/>
            </a:xfrm>
            <a:custGeom>
              <a:avLst/>
              <a:gdLst/>
              <a:ahLst/>
              <a:cxnLst/>
              <a:rect l="0" t="0" r="r" b="b"/>
              <a:pathLst>
                <a:path w="21538" h="21574">
                  <a:moveTo>
                    <a:pt x="11565" y="649"/>
                  </a:moveTo>
                  <a:cubicBezTo>
                    <a:pt x="11350" y="832"/>
                    <a:pt x="11057" y="1267"/>
                    <a:pt x="10885" y="1621"/>
                  </a:cubicBezTo>
                  <a:cubicBezTo>
                    <a:pt x="10695" y="1965"/>
                    <a:pt x="10107" y="2575"/>
                    <a:pt x="9458" y="2967"/>
                  </a:cubicBezTo>
                  <a:cubicBezTo>
                    <a:pt x="8881" y="3369"/>
                    <a:pt x="8384" y="3777"/>
                    <a:pt x="8244" y="3870"/>
                  </a:cubicBezTo>
                  <a:cubicBezTo>
                    <a:pt x="8163" y="3965"/>
                    <a:pt x="7857" y="4092"/>
                    <a:pt x="7440" y="4113"/>
                  </a:cubicBezTo>
                  <a:cubicBezTo>
                    <a:pt x="7011" y="4113"/>
                    <a:pt x="6521" y="4279"/>
                    <a:pt x="6381" y="4400"/>
                  </a:cubicBezTo>
                  <a:cubicBezTo>
                    <a:pt x="6166" y="4518"/>
                    <a:pt x="5958" y="4533"/>
                    <a:pt x="5596" y="4480"/>
                  </a:cubicBezTo>
                  <a:cubicBezTo>
                    <a:pt x="5375" y="4405"/>
                    <a:pt x="5112" y="4199"/>
                    <a:pt x="5020" y="4018"/>
                  </a:cubicBezTo>
                  <a:cubicBezTo>
                    <a:pt x="5020" y="3834"/>
                    <a:pt x="4240" y="3677"/>
                    <a:pt x="3487" y="3641"/>
                  </a:cubicBezTo>
                  <a:cubicBezTo>
                    <a:pt x="2733" y="3599"/>
                    <a:pt x="1618" y="3721"/>
                    <a:pt x="1102" y="3889"/>
                  </a:cubicBezTo>
                  <a:cubicBezTo>
                    <a:pt x="508" y="4040"/>
                    <a:pt x="158" y="4460"/>
                    <a:pt x="67" y="4797"/>
                  </a:cubicBezTo>
                  <a:cubicBezTo>
                    <a:pt x="158" y="5137"/>
                    <a:pt x="5" y="5413"/>
                    <a:pt x="0" y="5413"/>
                  </a:cubicBezTo>
                  <a:cubicBezTo>
                    <a:pt x="5" y="5413"/>
                    <a:pt x="79" y="5428"/>
                    <a:pt x="18" y="5428"/>
                  </a:cubicBezTo>
                  <a:cubicBezTo>
                    <a:pt x="36" y="5440"/>
                    <a:pt x="422" y="8989"/>
                    <a:pt x="981" y="13313"/>
                  </a:cubicBezTo>
                  <a:cubicBezTo>
                    <a:pt x="1525" y="17636"/>
                    <a:pt x="2739" y="21192"/>
                    <a:pt x="3494" y="21229"/>
                  </a:cubicBezTo>
                  <a:cubicBezTo>
                    <a:pt x="4278" y="21229"/>
                    <a:pt x="5130" y="21360"/>
                    <a:pt x="5467" y="21433"/>
                  </a:cubicBezTo>
                  <a:cubicBezTo>
                    <a:pt x="5761" y="21516"/>
                    <a:pt x="6509" y="21574"/>
                    <a:pt x="7085" y="21574"/>
                  </a:cubicBezTo>
                  <a:cubicBezTo>
                    <a:pt x="7643" y="21554"/>
                    <a:pt x="8103" y="21550"/>
                    <a:pt x="8084" y="21550"/>
                  </a:cubicBezTo>
                  <a:cubicBezTo>
                    <a:pt x="8139" y="21550"/>
                    <a:pt x="8427" y="21225"/>
                    <a:pt x="8691" y="20848"/>
                  </a:cubicBezTo>
                  <a:cubicBezTo>
                    <a:pt x="9139" y="20470"/>
                    <a:pt x="9874" y="19774"/>
                    <a:pt x="10995" y="19362"/>
                  </a:cubicBezTo>
                  <a:cubicBezTo>
                    <a:pt x="11737" y="18905"/>
                    <a:pt x="13147" y="18753"/>
                    <a:pt x="13779" y="18982"/>
                  </a:cubicBezTo>
                  <a:cubicBezTo>
                    <a:pt x="14403" y="19214"/>
                    <a:pt x="16071" y="18684"/>
                    <a:pt x="17340" y="17800"/>
                  </a:cubicBezTo>
                  <a:cubicBezTo>
                    <a:pt x="18675" y="16912"/>
                    <a:pt x="20202" y="15673"/>
                    <a:pt x="20588" y="15036"/>
                  </a:cubicBezTo>
                  <a:cubicBezTo>
                    <a:pt x="21041" y="14405"/>
                    <a:pt x="21490" y="13249"/>
                    <a:pt x="21226" y="12470"/>
                  </a:cubicBezTo>
                  <a:cubicBezTo>
                    <a:pt x="21226" y="11698"/>
                    <a:pt x="20582" y="10844"/>
                    <a:pt x="19938" y="10583"/>
                  </a:cubicBezTo>
                  <a:cubicBezTo>
                    <a:pt x="19221" y="10332"/>
                    <a:pt x="18939" y="9543"/>
                    <a:pt x="19043" y="8850"/>
                  </a:cubicBezTo>
                  <a:cubicBezTo>
                    <a:pt x="19130" y="8164"/>
                    <a:pt x="19730" y="7263"/>
                    <a:pt x="20239" y="6844"/>
                  </a:cubicBezTo>
                  <a:cubicBezTo>
                    <a:pt x="20821" y="6434"/>
                    <a:pt x="21287" y="5156"/>
                    <a:pt x="21195" y="4003"/>
                  </a:cubicBezTo>
                  <a:cubicBezTo>
                    <a:pt x="21109" y="2853"/>
                    <a:pt x="21318" y="1708"/>
                    <a:pt x="21428" y="1454"/>
                  </a:cubicBezTo>
                  <a:cubicBezTo>
                    <a:pt x="21600" y="1203"/>
                    <a:pt x="21556" y="788"/>
                    <a:pt x="21392" y="532"/>
                  </a:cubicBezTo>
                  <a:cubicBezTo>
                    <a:pt x="21392" y="274"/>
                    <a:pt x="20557" y="51"/>
                    <a:pt x="19853" y="51"/>
                  </a:cubicBezTo>
                  <a:cubicBezTo>
                    <a:pt x="19179" y="9"/>
                    <a:pt x="18014" y="201"/>
                    <a:pt x="17640" y="430"/>
                  </a:cubicBezTo>
                  <a:cubicBezTo>
                    <a:pt x="17057" y="631"/>
                    <a:pt x="16444" y="639"/>
                    <a:pt x="16181" y="422"/>
                  </a:cubicBezTo>
                  <a:cubicBezTo>
                    <a:pt x="15992" y="202"/>
                    <a:pt x="15335" y="7"/>
                    <a:pt x="14937" y="7"/>
                  </a:cubicBezTo>
                  <a:cubicBezTo>
                    <a:pt x="14569" y="-26"/>
                    <a:pt x="13759" y="77"/>
                    <a:pt x="13074" y="142"/>
                  </a:cubicBezTo>
                  <a:cubicBezTo>
                    <a:pt x="12498" y="252"/>
                    <a:pt x="11768" y="467"/>
                    <a:pt x="11565" y="649"/>
                  </a:cubicBezTo>
                  <a:close/>
                  <a:moveTo>
                    <a:pt x="11565" y="64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3" name="AutoShape 1305"/>
            <p:cNvSpPr>
              <a:spLocks/>
            </p:cNvSpPr>
            <p:nvPr/>
          </p:nvSpPr>
          <p:spPr bwMode="auto">
            <a:xfrm>
              <a:off x="3810000" y="4635500"/>
              <a:ext cx="74613" cy="161925"/>
            </a:xfrm>
            <a:custGeom>
              <a:avLst/>
              <a:gdLst/>
              <a:ahLst/>
              <a:cxnLst/>
              <a:rect l="0" t="0" r="r" b="b"/>
              <a:pathLst>
                <a:path w="21521" h="21465">
                  <a:moveTo>
                    <a:pt x="16343" y="9697"/>
                  </a:moveTo>
                  <a:cubicBezTo>
                    <a:pt x="16124" y="9675"/>
                    <a:pt x="15772" y="7542"/>
                    <a:pt x="15614" y="4949"/>
                  </a:cubicBezTo>
                  <a:cubicBezTo>
                    <a:pt x="15452" y="2355"/>
                    <a:pt x="15340" y="226"/>
                    <a:pt x="15335" y="219"/>
                  </a:cubicBezTo>
                  <a:cubicBezTo>
                    <a:pt x="15353" y="219"/>
                    <a:pt x="13161" y="146"/>
                    <a:pt x="10555" y="9"/>
                  </a:cubicBezTo>
                  <a:cubicBezTo>
                    <a:pt x="10520" y="8"/>
                    <a:pt x="10486" y="9"/>
                    <a:pt x="10451" y="8"/>
                  </a:cubicBezTo>
                  <a:cubicBezTo>
                    <a:pt x="7920" y="-68"/>
                    <a:pt x="5880" y="416"/>
                    <a:pt x="5880" y="1128"/>
                  </a:cubicBezTo>
                  <a:cubicBezTo>
                    <a:pt x="5880" y="1850"/>
                    <a:pt x="5373" y="2471"/>
                    <a:pt x="4769" y="2497"/>
                  </a:cubicBezTo>
                  <a:cubicBezTo>
                    <a:pt x="4171" y="2545"/>
                    <a:pt x="3846" y="2699"/>
                    <a:pt x="4084" y="2874"/>
                  </a:cubicBezTo>
                  <a:cubicBezTo>
                    <a:pt x="4296" y="3054"/>
                    <a:pt x="4584" y="3309"/>
                    <a:pt x="4658" y="3455"/>
                  </a:cubicBezTo>
                  <a:cubicBezTo>
                    <a:pt x="4765" y="3591"/>
                    <a:pt x="5023" y="3944"/>
                    <a:pt x="5280" y="4227"/>
                  </a:cubicBezTo>
                  <a:cubicBezTo>
                    <a:pt x="5544" y="4507"/>
                    <a:pt x="5927" y="4870"/>
                    <a:pt x="6185" y="5018"/>
                  </a:cubicBezTo>
                  <a:cubicBezTo>
                    <a:pt x="6434" y="5167"/>
                    <a:pt x="6761" y="5306"/>
                    <a:pt x="6925" y="5306"/>
                  </a:cubicBezTo>
                  <a:cubicBezTo>
                    <a:pt x="7079" y="5329"/>
                    <a:pt x="7299" y="5474"/>
                    <a:pt x="7454" y="5658"/>
                  </a:cubicBezTo>
                  <a:cubicBezTo>
                    <a:pt x="7559" y="5854"/>
                    <a:pt x="7719" y="6168"/>
                    <a:pt x="7772" y="6369"/>
                  </a:cubicBezTo>
                  <a:cubicBezTo>
                    <a:pt x="7829" y="6574"/>
                    <a:pt x="7971" y="6821"/>
                    <a:pt x="8060" y="6935"/>
                  </a:cubicBezTo>
                  <a:cubicBezTo>
                    <a:pt x="8181" y="7044"/>
                    <a:pt x="8464" y="7167"/>
                    <a:pt x="8721" y="7178"/>
                  </a:cubicBezTo>
                  <a:cubicBezTo>
                    <a:pt x="8963" y="7216"/>
                    <a:pt x="9297" y="7302"/>
                    <a:pt x="9482" y="7388"/>
                  </a:cubicBezTo>
                  <a:cubicBezTo>
                    <a:pt x="9621" y="7489"/>
                    <a:pt x="9804" y="7700"/>
                    <a:pt x="9829" y="7883"/>
                  </a:cubicBezTo>
                  <a:cubicBezTo>
                    <a:pt x="9829" y="8063"/>
                    <a:pt x="9740" y="8333"/>
                    <a:pt x="9621" y="8491"/>
                  </a:cubicBezTo>
                  <a:cubicBezTo>
                    <a:pt x="9445" y="8636"/>
                    <a:pt x="7831" y="8718"/>
                    <a:pt x="5961" y="8656"/>
                  </a:cubicBezTo>
                  <a:cubicBezTo>
                    <a:pt x="4113" y="8583"/>
                    <a:pt x="2008" y="9576"/>
                    <a:pt x="1276" y="10839"/>
                  </a:cubicBezTo>
                  <a:cubicBezTo>
                    <a:pt x="571" y="12101"/>
                    <a:pt x="12" y="13307"/>
                    <a:pt x="64" y="13531"/>
                  </a:cubicBezTo>
                  <a:cubicBezTo>
                    <a:pt x="114" y="13755"/>
                    <a:pt x="172" y="13992"/>
                    <a:pt x="211" y="14059"/>
                  </a:cubicBezTo>
                  <a:cubicBezTo>
                    <a:pt x="242" y="14134"/>
                    <a:pt x="199" y="14306"/>
                    <a:pt x="252" y="14437"/>
                  </a:cubicBezTo>
                  <a:cubicBezTo>
                    <a:pt x="226" y="14576"/>
                    <a:pt x="300" y="14782"/>
                    <a:pt x="364" y="14893"/>
                  </a:cubicBezTo>
                  <a:cubicBezTo>
                    <a:pt x="425" y="15004"/>
                    <a:pt x="542" y="15122"/>
                    <a:pt x="571" y="15160"/>
                  </a:cubicBezTo>
                  <a:cubicBezTo>
                    <a:pt x="599" y="15198"/>
                    <a:pt x="648" y="15325"/>
                    <a:pt x="648" y="15440"/>
                  </a:cubicBezTo>
                  <a:cubicBezTo>
                    <a:pt x="648" y="15558"/>
                    <a:pt x="563" y="15731"/>
                    <a:pt x="436" y="15817"/>
                  </a:cubicBezTo>
                  <a:cubicBezTo>
                    <a:pt x="295" y="15903"/>
                    <a:pt x="240" y="16105"/>
                    <a:pt x="155" y="16247"/>
                  </a:cubicBezTo>
                  <a:cubicBezTo>
                    <a:pt x="124" y="16393"/>
                    <a:pt x="55" y="16541"/>
                    <a:pt x="5" y="16576"/>
                  </a:cubicBezTo>
                  <a:cubicBezTo>
                    <a:pt x="-34" y="16611"/>
                    <a:pt x="140" y="16868"/>
                    <a:pt x="396" y="17149"/>
                  </a:cubicBezTo>
                  <a:cubicBezTo>
                    <a:pt x="706" y="17421"/>
                    <a:pt x="1058" y="17891"/>
                    <a:pt x="1240" y="18178"/>
                  </a:cubicBezTo>
                  <a:cubicBezTo>
                    <a:pt x="1463" y="18460"/>
                    <a:pt x="1786" y="18738"/>
                    <a:pt x="2010" y="18750"/>
                  </a:cubicBezTo>
                  <a:cubicBezTo>
                    <a:pt x="2232" y="18779"/>
                    <a:pt x="2609" y="18999"/>
                    <a:pt x="2814" y="19241"/>
                  </a:cubicBezTo>
                  <a:cubicBezTo>
                    <a:pt x="3053" y="19474"/>
                    <a:pt x="3859" y="19935"/>
                    <a:pt x="4653" y="20248"/>
                  </a:cubicBezTo>
                  <a:cubicBezTo>
                    <a:pt x="5446" y="20565"/>
                    <a:pt x="6466" y="20853"/>
                    <a:pt x="6914" y="20889"/>
                  </a:cubicBezTo>
                  <a:cubicBezTo>
                    <a:pt x="7370" y="20900"/>
                    <a:pt x="8014" y="20927"/>
                    <a:pt x="8359" y="20915"/>
                  </a:cubicBezTo>
                  <a:cubicBezTo>
                    <a:pt x="8703" y="20889"/>
                    <a:pt x="9462" y="21053"/>
                    <a:pt x="10058" y="21265"/>
                  </a:cubicBezTo>
                  <a:cubicBezTo>
                    <a:pt x="10655" y="21475"/>
                    <a:pt x="11203" y="21532"/>
                    <a:pt x="11295" y="21379"/>
                  </a:cubicBezTo>
                  <a:cubicBezTo>
                    <a:pt x="11343" y="21225"/>
                    <a:pt x="11437" y="20994"/>
                    <a:pt x="11437" y="20853"/>
                  </a:cubicBezTo>
                  <a:cubicBezTo>
                    <a:pt x="11437" y="20714"/>
                    <a:pt x="11584" y="20376"/>
                    <a:pt x="11872" y="20122"/>
                  </a:cubicBezTo>
                  <a:cubicBezTo>
                    <a:pt x="12081" y="19851"/>
                    <a:pt x="12633" y="19610"/>
                    <a:pt x="12969" y="19529"/>
                  </a:cubicBezTo>
                  <a:cubicBezTo>
                    <a:pt x="13335" y="19480"/>
                    <a:pt x="13817" y="19364"/>
                    <a:pt x="14078" y="19316"/>
                  </a:cubicBezTo>
                  <a:cubicBezTo>
                    <a:pt x="14313" y="19244"/>
                    <a:pt x="14533" y="19088"/>
                    <a:pt x="14503" y="18938"/>
                  </a:cubicBezTo>
                  <a:cubicBezTo>
                    <a:pt x="14501" y="18915"/>
                    <a:pt x="14515" y="18880"/>
                    <a:pt x="14526" y="18849"/>
                  </a:cubicBezTo>
                  <a:cubicBezTo>
                    <a:pt x="14526" y="18799"/>
                    <a:pt x="14519" y="18754"/>
                    <a:pt x="14501" y="18732"/>
                  </a:cubicBezTo>
                  <a:cubicBezTo>
                    <a:pt x="14501" y="18682"/>
                    <a:pt x="14801" y="18428"/>
                    <a:pt x="15184" y="18177"/>
                  </a:cubicBezTo>
                  <a:cubicBezTo>
                    <a:pt x="15223" y="18153"/>
                    <a:pt x="15260" y="18118"/>
                    <a:pt x="15299" y="18089"/>
                  </a:cubicBezTo>
                  <a:cubicBezTo>
                    <a:pt x="15646" y="17812"/>
                    <a:pt x="16007" y="17386"/>
                    <a:pt x="16124" y="17064"/>
                  </a:cubicBezTo>
                  <a:cubicBezTo>
                    <a:pt x="16252" y="16700"/>
                    <a:pt x="16325" y="16201"/>
                    <a:pt x="16200" y="15962"/>
                  </a:cubicBezTo>
                  <a:cubicBezTo>
                    <a:pt x="16117" y="15717"/>
                    <a:pt x="16213" y="15341"/>
                    <a:pt x="16410" y="15117"/>
                  </a:cubicBezTo>
                  <a:cubicBezTo>
                    <a:pt x="16634" y="14898"/>
                    <a:pt x="17094" y="14425"/>
                    <a:pt x="17455" y="14072"/>
                  </a:cubicBezTo>
                  <a:cubicBezTo>
                    <a:pt x="17827" y="13719"/>
                    <a:pt x="18303" y="13436"/>
                    <a:pt x="18532" y="13463"/>
                  </a:cubicBezTo>
                  <a:cubicBezTo>
                    <a:pt x="18765" y="13490"/>
                    <a:pt x="19295" y="13323"/>
                    <a:pt x="19707" y="13109"/>
                  </a:cubicBezTo>
                  <a:cubicBezTo>
                    <a:pt x="20118" y="12895"/>
                    <a:pt x="20516" y="12525"/>
                    <a:pt x="20599" y="12288"/>
                  </a:cubicBezTo>
                  <a:cubicBezTo>
                    <a:pt x="20624" y="12048"/>
                    <a:pt x="20926" y="11763"/>
                    <a:pt x="21081" y="11631"/>
                  </a:cubicBezTo>
                  <a:cubicBezTo>
                    <a:pt x="21314" y="11526"/>
                    <a:pt x="21440" y="11310"/>
                    <a:pt x="21504" y="11197"/>
                  </a:cubicBezTo>
                  <a:cubicBezTo>
                    <a:pt x="21566" y="11084"/>
                    <a:pt x="21445" y="10909"/>
                    <a:pt x="21333" y="10807"/>
                  </a:cubicBezTo>
                  <a:cubicBezTo>
                    <a:pt x="21182" y="10715"/>
                    <a:pt x="20841" y="10618"/>
                    <a:pt x="20576" y="10557"/>
                  </a:cubicBezTo>
                  <a:cubicBezTo>
                    <a:pt x="20299" y="10511"/>
                    <a:pt x="20004" y="10620"/>
                    <a:pt x="19949" y="10787"/>
                  </a:cubicBezTo>
                  <a:cubicBezTo>
                    <a:pt x="19899" y="10957"/>
                    <a:pt x="19648" y="10957"/>
                    <a:pt x="19366" y="10803"/>
                  </a:cubicBezTo>
                  <a:cubicBezTo>
                    <a:pt x="19156" y="10626"/>
                    <a:pt x="18713" y="10496"/>
                    <a:pt x="18489" y="10496"/>
                  </a:cubicBezTo>
                  <a:cubicBezTo>
                    <a:pt x="18269" y="10475"/>
                    <a:pt x="18018" y="10346"/>
                    <a:pt x="17883" y="10187"/>
                  </a:cubicBezTo>
                  <a:cubicBezTo>
                    <a:pt x="17761" y="10028"/>
                    <a:pt x="17546" y="9892"/>
                    <a:pt x="17384" y="9904"/>
                  </a:cubicBezTo>
                  <a:cubicBezTo>
                    <a:pt x="17217" y="9904"/>
                    <a:pt x="17000" y="9869"/>
                    <a:pt x="16915" y="9819"/>
                  </a:cubicBezTo>
                  <a:cubicBezTo>
                    <a:pt x="16817" y="9775"/>
                    <a:pt x="16570" y="9697"/>
                    <a:pt x="16343" y="9697"/>
                  </a:cubicBezTo>
                  <a:close/>
                  <a:moveTo>
                    <a:pt x="16343" y="969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4" name="AutoShape 1306"/>
            <p:cNvSpPr>
              <a:spLocks/>
            </p:cNvSpPr>
            <p:nvPr/>
          </p:nvSpPr>
          <p:spPr bwMode="auto">
            <a:xfrm>
              <a:off x="3848100" y="4775200"/>
              <a:ext cx="1588" cy="4763"/>
            </a:xfrm>
            <a:custGeom>
              <a:avLst/>
              <a:gdLst/>
              <a:ahLst/>
              <a:cxnLst/>
              <a:rect l="0" t="0" r="r" b="b"/>
              <a:pathLst>
                <a:path w="21600" h="21600">
                  <a:moveTo>
                    <a:pt x="16352" y="4173"/>
                  </a:moveTo>
                  <a:cubicBezTo>
                    <a:pt x="16547" y="4058"/>
                    <a:pt x="16737" y="3964"/>
                    <a:pt x="16884" y="3873"/>
                  </a:cubicBezTo>
                  <a:cubicBezTo>
                    <a:pt x="17317" y="3593"/>
                    <a:pt x="17554" y="3294"/>
                    <a:pt x="17987" y="3039"/>
                  </a:cubicBezTo>
                  <a:cubicBezTo>
                    <a:pt x="19138" y="2203"/>
                    <a:pt x="20350" y="998"/>
                    <a:pt x="21600" y="0"/>
                  </a:cubicBezTo>
                  <a:cubicBezTo>
                    <a:pt x="20539" y="813"/>
                    <a:pt x="19532" y="1809"/>
                    <a:pt x="18468" y="2507"/>
                  </a:cubicBezTo>
                  <a:cubicBezTo>
                    <a:pt x="8128" y="9645"/>
                    <a:pt x="0" y="16849"/>
                    <a:pt x="0" y="18288"/>
                  </a:cubicBezTo>
                  <a:cubicBezTo>
                    <a:pt x="484" y="18913"/>
                    <a:pt x="670" y="20186"/>
                    <a:pt x="670" y="21600"/>
                  </a:cubicBezTo>
                  <a:cubicBezTo>
                    <a:pt x="2119" y="17266"/>
                    <a:pt x="7791" y="10708"/>
                    <a:pt x="15486" y="4942"/>
                  </a:cubicBezTo>
                  <a:cubicBezTo>
                    <a:pt x="15868" y="4709"/>
                    <a:pt x="16066" y="4405"/>
                    <a:pt x="16352" y="4173"/>
                  </a:cubicBezTo>
                  <a:close/>
                  <a:moveTo>
                    <a:pt x="16352" y="41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5" name="AutoShape 1307"/>
            <p:cNvSpPr>
              <a:spLocks/>
            </p:cNvSpPr>
            <p:nvPr/>
          </p:nvSpPr>
          <p:spPr bwMode="auto">
            <a:xfrm>
              <a:off x="3860800" y="4775200"/>
              <a:ext cx="0" cy="0"/>
            </a:xfrm>
            <a:custGeom>
              <a:avLst/>
              <a:gdLst/>
              <a:ahLst/>
              <a:cxnLst/>
              <a:rect l="0" t="0" r="r" b="b"/>
              <a:pathLst>
                <a:path w="21600" h="21600">
                  <a:moveTo>
                    <a:pt x="0" y="21600"/>
                  </a:moveTo>
                  <a:cubicBezTo>
                    <a:pt x="7432" y="14488"/>
                    <a:pt x="14121" y="6527"/>
                    <a:pt x="21600" y="0"/>
                  </a:cubicBezTo>
                  <a:cubicBezTo>
                    <a:pt x="19324" y="1844"/>
                    <a:pt x="16397" y="3746"/>
                    <a:pt x="13378" y="6059"/>
                  </a:cubicBezTo>
                  <a:cubicBezTo>
                    <a:pt x="8965" y="10741"/>
                    <a:pt x="5899" y="16888"/>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6" name="AutoShape 1308"/>
            <p:cNvSpPr>
              <a:spLocks/>
            </p:cNvSpPr>
            <p:nvPr/>
          </p:nvSpPr>
          <p:spPr bwMode="auto">
            <a:xfrm>
              <a:off x="3517900" y="4013200"/>
              <a:ext cx="395288" cy="741363"/>
            </a:xfrm>
            <a:custGeom>
              <a:avLst/>
              <a:gdLst/>
              <a:ahLst/>
              <a:cxnLst/>
              <a:rect l="0" t="0" r="r" b="b"/>
              <a:pathLst>
                <a:path w="21591" h="21578">
                  <a:moveTo>
                    <a:pt x="11230" y="7865"/>
                  </a:moveTo>
                  <a:cubicBezTo>
                    <a:pt x="11185" y="7856"/>
                    <a:pt x="11118" y="7823"/>
                    <a:pt x="11074" y="7797"/>
                  </a:cubicBezTo>
                  <a:cubicBezTo>
                    <a:pt x="11034" y="7770"/>
                    <a:pt x="10940" y="7720"/>
                    <a:pt x="10858" y="7695"/>
                  </a:cubicBezTo>
                  <a:cubicBezTo>
                    <a:pt x="10778" y="7669"/>
                    <a:pt x="10693" y="7603"/>
                    <a:pt x="10657" y="7557"/>
                  </a:cubicBezTo>
                  <a:cubicBezTo>
                    <a:pt x="10622" y="7511"/>
                    <a:pt x="10576" y="7454"/>
                    <a:pt x="10541" y="7438"/>
                  </a:cubicBezTo>
                  <a:cubicBezTo>
                    <a:pt x="10511" y="7419"/>
                    <a:pt x="10466" y="7409"/>
                    <a:pt x="10435" y="7414"/>
                  </a:cubicBezTo>
                  <a:cubicBezTo>
                    <a:pt x="10404" y="7414"/>
                    <a:pt x="10365" y="7412"/>
                    <a:pt x="10333" y="7404"/>
                  </a:cubicBezTo>
                  <a:cubicBezTo>
                    <a:pt x="10308" y="7391"/>
                    <a:pt x="10284" y="7375"/>
                    <a:pt x="10276" y="7369"/>
                  </a:cubicBezTo>
                  <a:cubicBezTo>
                    <a:pt x="10272" y="7361"/>
                    <a:pt x="10248" y="7332"/>
                    <a:pt x="10234" y="7302"/>
                  </a:cubicBezTo>
                  <a:cubicBezTo>
                    <a:pt x="10224" y="7272"/>
                    <a:pt x="10209" y="7187"/>
                    <a:pt x="10215" y="7111"/>
                  </a:cubicBezTo>
                  <a:cubicBezTo>
                    <a:pt x="10224" y="7034"/>
                    <a:pt x="10193" y="6833"/>
                    <a:pt x="10163" y="6664"/>
                  </a:cubicBezTo>
                  <a:cubicBezTo>
                    <a:pt x="10123" y="6495"/>
                    <a:pt x="10105" y="6341"/>
                    <a:pt x="10095" y="6324"/>
                  </a:cubicBezTo>
                  <a:cubicBezTo>
                    <a:pt x="10095" y="6307"/>
                    <a:pt x="10097" y="6280"/>
                    <a:pt x="10092" y="6265"/>
                  </a:cubicBezTo>
                  <a:cubicBezTo>
                    <a:pt x="10092" y="6250"/>
                    <a:pt x="10089" y="6193"/>
                    <a:pt x="10109" y="6139"/>
                  </a:cubicBezTo>
                  <a:cubicBezTo>
                    <a:pt x="10119" y="6085"/>
                    <a:pt x="10124" y="5997"/>
                    <a:pt x="10138" y="5945"/>
                  </a:cubicBezTo>
                  <a:cubicBezTo>
                    <a:pt x="10148" y="5893"/>
                    <a:pt x="10136" y="5808"/>
                    <a:pt x="10091" y="5762"/>
                  </a:cubicBezTo>
                  <a:cubicBezTo>
                    <a:pt x="10060" y="5713"/>
                    <a:pt x="10012" y="5635"/>
                    <a:pt x="9997" y="5587"/>
                  </a:cubicBezTo>
                  <a:cubicBezTo>
                    <a:pt x="9971" y="5541"/>
                    <a:pt x="9959" y="5455"/>
                    <a:pt x="9954" y="5399"/>
                  </a:cubicBezTo>
                  <a:cubicBezTo>
                    <a:pt x="9943" y="5342"/>
                    <a:pt x="9920" y="5276"/>
                    <a:pt x="9882" y="5256"/>
                  </a:cubicBezTo>
                  <a:cubicBezTo>
                    <a:pt x="9852" y="5232"/>
                    <a:pt x="9814" y="5186"/>
                    <a:pt x="9810" y="5149"/>
                  </a:cubicBezTo>
                  <a:cubicBezTo>
                    <a:pt x="9805" y="5113"/>
                    <a:pt x="9784" y="5071"/>
                    <a:pt x="9766" y="5056"/>
                  </a:cubicBezTo>
                  <a:cubicBezTo>
                    <a:pt x="9748" y="5042"/>
                    <a:pt x="9717" y="4944"/>
                    <a:pt x="9698" y="4840"/>
                  </a:cubicBezTo>
                  <a:cubicBezTo>
                    <a:pt x="9672" y="4736"/>
                    <a:pt x="9662" y="4617"/>
                    <a:pt x="9647" y="4578"/>
                  </a:cubicBezTo>
                  <a:cubicBezTo>
                    <a:pt x="9637" y="4539"/>
                    <a:pt x="9611" y="4497"/>
                    <a:pt x="9591" y="4481"/>
                  </a:cubicBezTo>
                  <a:cubicBezTo>
                    <a:pt x="9563" y="4470"/>
                    <a:pt x="9550" y="4400"/>
                    <a:pt x="9556" y="4332"/>
                  </a:cubicBezTo>
                  <a:cubicBezTo>
                    <a:pt x="9561" y="4264"/>
                    <a:pt x="9559" y="4173"/>
                    <a:pt x="9559" y="4129"/>
                  </a:cubicBezTo>
                  <a:cubicBezTo>
                    <a:pt x="9553" y="4086"/>
                    <a:pt x="9544" y="4030"/>
                    <a:pt x="9538" y="4005"/>
                  </a:cubicBezTo>
                  <a:cubicBezTo>
                    <a:pt x="9524" y="3981"/>
                    <a:pt x="9515" y="3912"/>
                    <a:pt x="9501" y="3853"/>
                  </a:cubicBezTo>
                  <a:cubicBezTo>
                    <a:pt x="9491" y="3793"/>
                    <a:pt x="9463" y="3689"/>
                    <a:pt x="9431" y="3623"/>
                  </a:cubicBezTo>
                  <a:cubicBezTo>
                    <a:pt x="9400" y="3557"/>
                    <a:pt x="9349" y="3467"/>
                    <a:pt x="9312" y="3422"/>
                  </a:cubicBezTo>
                  <a:cubicBezTo>
                    <a:pt x="9273" y="3378"/>
                    <a:pt x="9232" y="3308"/>
                    <a:pt x="9216" y="3267"/>
                  </a:cubicBezTo>
                  <a:cubicBezTo>
                    <a:pt x="9211" y="3225"/>
                    <a:pt x="9168" y="3178"/>
                    <a:pt x="9140" y="3161"/>
                  </a:cubicBezTo>
                  <a:cubicBezTo>
                    <a:pt x="9114" y="3144"/>
                    <a:pt x="9070" y="3139"/>
                    <a:pt x="9039" y="3146"/>
                  </a:cubicBezTo>
                  <a:cubicBezTo>
                    <a:pt x="9014" y="3157"/>
                    <a:pt x="8978" y="3149"/>
                    <a:pt x="8973" y="3134"/>
                  </a:cubicBezTo>
                  <a:cubicBezTo>
                    <a:pt x="8951" y="3122"/>
                    <a:pt x="8942" y="3098"/>
                    <a:pt x="8932" y="3087"/>
                  </a:cubicBezTo>
                  <a:cubicBezTo>
                    <a:pt x="8917" y="3077"/>
                    <a:pt x="8870" y="3077"/>
                    <a:pt x="8828" y="3082"/>
                  </a:cubicBezTo>
                  <a:cubicBezTo>
                    <a:pt x="8785" y="3088"/>
                    <a:pt x="8724" y="3090"/>
                    <a:pt x="8687" y="3088"/>
                  </a:cubicBezTo>
                  <a:cubicBezTo>
                    <a:pt x="8652" y="3080"/>
                    <a:pt x="8589" y="3079"/>
                    <a:pt x="8551" y="3084"/>
                  </a:cubicBezTo>
                  <a:cubicBezTo>
                    <a:pt x="8511" y="3084"/>
                    <a:pt x="8475" y="3119"/>
                    <a:pt x="8452" y="3153"/>
                  </a:cubicBezTo>
                  <a:cubicBezTo>
                    <a:pt x="8442" y="3190"/>
                    <a:pt x="8412" y="3228"/>
                    <a:pt x="8391" y="3228"/>
                  </a:cubicBezTo>
                  <a:cubicBezTo>
                    <a:pt x="8375" y="3234"/>
                    <a:pt x="8364" y="3230"/>
                    <a:pt x="8354" y="3222"/>
                  </a:cubicBezTo>
                  <a:cubicBezTo>
                    <a:pt x="8349" y="3214"/>
                    <a:pt x="8338" y="3200"/>
                    <a:pt x="8321" y="3200"/>
                  </a:cubicBezTo>
                  <a:cubicBezTo>
                    <a:pt x="8304" y="3200"/>
                    <a:pt x="8272" y="3204"/>
                    <a:pt x="8246" y="3218"/>
                  </a:cubicBezTo>
                  <a:cubicBezTo>
                    <a:pt x="8221" y="3232"/>
                    <a:pt x="8180" y="3269"/>
                    <a:pt x="8154" y="3299"/>
                  </a:cubicBezTo>
                  <a:cubicBezTo>
                    <a:pt x="8127" y="3331"/>
                    <a:pt x="8075" y="3422"/>
                    <a:pt x="8038" y="3502"/>
                  </a:cubicBezTo>
                  <a:cubicBezTo>
                    <a:pt x="8003" y="3582"/>
                    <a:pt x="7946" y="3673"/>
                    <a:pt x="7929" y="3706"/>
                  </a:cubicBezTo>
                  <a:cubicBezTo>
                    <a:pt x="7908" y="3739"/>
                    <a:pt x="7895" y="3778"/>
                    <a:pt x="7895" y="3792"/>
                  </a:cubicBezTo>
                  <a:cubicBezTo>
                    <a:pt x="7903" y="3807"/>
                    <a:pt x="7895" y="3840"/>
                    <a:pt x="7887" y="3864"/>
                  </a:cubicBezTo>
                  <a:cubicBezTo>
                    <a:pt x="7876" y="3888"/>
                    <a:pt x="7852" y="3913"/>
                    <a:pt x="7835" y="3925"/>
                  </a:cubicBezTo>
                  <a:cubicBezTo>
                    <a:pt x="7812" y="3932"/>
                    <a:pt x="7769" y="3969"/>
                    <a:pt x="7736" y="4004"/>
                  </a:cubicBezTo>
                  <a:cubicBezTo>
                    <a:pt x="7702" y="4038"/>
                    <a:pt x="7672" y="4082"/>
                    <a:pt x="7665" y="4100"/>
                  </a:cubicBezTo>
                  <a:cubicBezTo>
                    <a:pt x="7658" y="4118"/>
                    <a:pt x="7634" y="4141"/>
                    <a:pt x="7618" y="4156"/>
                  </a:cubicBezTo>
                  <a:cubicBezTo>
                    <a:pt x="7591" y="4164"/>
                    <a:pt x="7566" y="4175"/>
                    <a:pt x="7549" y="4173"/>
                  </a:cubicBezTo>
                  <a:cubicBezTo>
                    <a:pt x="7531" y="4173"/>
                    <a:pt x="7503" y="4153"/>
                    <a:pt x="7499" y="4133"/>
                  </a:cubicBezTo>
                  <a:cubicBezTo>
                    <a:pt x="7488" y="4115"/>
                    <a:pt x="7449" y="4078"/>
                    <a:pt x="7410" y="4052"/>
                  </a:cubicBezTo>
                  <a:cubicBezTo>
                    <a:pt x="7368" y="4027"/>
                    <a:pt x="7303" y="3998"/>
                    <a:pt x="7280" y="3980"/>
                  </a:cubicBezTo>
                  <a:cubicBezTo>
                    <a:pt x="7243" y="3972"/>
                    <a:pt x="7221" y="3941"/>
                    <a:pt x="7213" y="3922"/>
                  </a:cubicBezTo>
                  <a:cubicBezTo>
                    <a:pt x="7200" y="3905"/>
                    <a:pt x="7172" y="3868"/>
                    <a:pt x="7137" y="3840"/>
                  </a:cubicBezTo>
                  <a:cubicBezTo>
                    <a:pt x="7101" y="3813"/>
                    <a:pt x="7048" y="3797"/>
                    <a:pt x="7026" y="3795"/>
                  </a:cubicBezTo>
                  <a:cubicBezTo>
                    <a:pt x="7002" y="3795"/>
                    <a:pt x="6969" y="3783"/>
                    <a:pt x="6963" y="3764"/>
                  </a:cubicBezTo>
                  <a:cubicBezTo>
                    <a:pt x="6942" y="3748"/>
                    <a:pt x="6940" y="3715"/>
                    <a:pt x="6940" y="3698"/>
                  </a:cubicBezTo>
                  <a:cubicBezTo>
                    <a:pt x="6937" y="3680"/>
                    <a:pt x="6942" y="3648"/>
                    <a:pt x="6930" y="3629"/>
                  </a:cubicBezTo>
                  <a:cubicBezTo>
                    <a:pt x="6930" y="3609"/>
                    <a:pt x="6904" y="3587"/>
                    <a:pt x="6888" y="3576"/>
                  </a:cubicBezTo>
                  <a:cubicBezTo>
                    <a:pt x="6868" y="3568"/>
                    <a:pt x="6841" y="3558"/>
                    <a:pt x="6832" y="3563"/>
                  </a:cubicBezTo>
                  <a:cubicBezTo>
                    <a:pt x="6820" y="3560"/>
                    <a:pt x="6802" y="3548"/>
                    <a:pt x="6783" y="3526"/>
                  </a:cubicBezTo>
                  <a:cubicBezTo>
                    <a:pt x="6773" y="3504"/>
                    <a:pt x="6747" y="3489"/>
                    <a:pt x="6735" y="3489"/>
                  </a:cubicBezTo>
                  <a:cubicBezTo>
                    <a:pt x="6723" y="3487"/>
                    <a:pt x="6723" y="3479"/>
                    <a:pt x="6718" y="3464"/>
                  </a:cubicBezTo>
                  <a:cubicBezTo>
                    <a:pt x="6723" y="3448"/>
                    <a:pt x="6720" y="3404"/>
                    <a:pt x="6716" y="3364"/>
                  </a:cubicBezTo>
                  <a:cubicBezTo>
                    <a:pt x="6710" y="3326"/>
                    <a:pt x="6694" y="3257"/>
                    <a:pt x="6667" y="3214"/>
                  </a:cubicBezTo>
                  <a:cubicBezTo>
                    <a:pt x="6650" y="3170"/>
                    <a:pt x="6606" y="3089"/>
                    <a:pt x="6576" y="3034"/>
                  </a:cubicBezTo>
                  <a:cubicBezTo>
                    <a:pt x="6548" y="2979"/>
                    <a:pt x="6525" y="2918"/>
                    <a:pt x="6530" y="2897"/>
                  </a:cubicBezTo>
                  <a:cubicBezTo>
                    <a:pt x="6530" y="2877"/>
                    <a:pt x="6549" y="2848"/>
                    <a:pt x="6578" y="2842"/>
                  </a:cubicBezTo>
                  <a:cubicBezTo>
                    <a:pt x="6597" y="2829"/>
                    <a:pt x="6632" y="2813"/>
                    <a:pt x="6644" y="2799"/>
                  </a:cubicBezTo>
                  <a:cubicBezTo>
                    <a:pt x="6660" y="2787"/>
                    <a:pt x="6679" y="2740"/>
                    <a:pt x="6674" y="2697"/>
                  </a:cubicBezTo>
                  <a:cubicBezTo>
                    <a:pt x="6679" y="2655"/>
                    <a:pt x="6669" y="2596"/>
                    <a:pt x="6645" y="2568"/>
                  </a:cubicBezTo>
                  <a:cubicBezTo>
                    <a:pt x="6627" y="2540"/>
                    <a:pt x="6604" y="2500"/>
                    <a:pt x="6604" y="2479"/>
                  </a:cubicBezTo>
                  <a:cubicBezTo>
                    <a:pt x="6604" y="2458"/>
                    <a:pt x="6588" y="2437"/>
                    <a:pt x="6576" y="2437"/>
                  </a:cubicBezTo>
                  <a:cubicBezTo>
                    <a:pt x="6566" y="2435"/>
                    <a:pt x="6550" y="2415"/>
                    <a:pt x="6536" y="2394"/>
                  </a:cubicBezTo>
                  <a:cubicBezTo>
                    <a:pt x="6523" y="2372"/>
                    <a:pt x="6514" y="2303"/>
                    <a:pt x="6523" y="2241"/>
                  </a:cubicBezTo>
                  <a:cubicBezTo>
                    <a:pt x="6517" y="2180"/>
                    <a:pt x="6516" y="2098"/>
                    <a:pt x="6507" y="2058"/>
                  </a:cubicBezTo>
                  <a:cubicBezTo>
                    <a:pt x="6497" y="2019"/>
                    <a:pt x="6462" y="1970"/>
                    <a:pt x="6440" y="1946"/>
                  </a:cubicBezTo>
                  <a:cubicBezTo>
                    <a:pt x="6409" y="1926"/>
                    <a:pt x="6375" y="1901"/>
                    <a:pt x="6356" y="1891"/>
                  </a:cubicBezTo>
                  <a:cubicBezTo>
                    <a:pt x="6333" y="1883"/>
                    <a:pt x="6320" y="1857"/>
                    <a:pt x="6338" y="1836"/>
                  </a:cubicBezTo>
                  <a:cubicBezTo>
                    <a:pt x="6348" y="1813"/>
                    <a:pt x="6371" y="1775"/>
                    <a:pt x="6371" y="1749"/>
                  </a:cubicBezTo>
                  <a:cubicBezTo>
                    <a:pt x="6381" y="1724"/>
                    <a:pt x="6364" y="1675"/>
                    <a:pt x="6335" y="1644"/>
                  </a:cubicBezTo>
                  <a:cubicBezTo>
                    <a:pt x="6316" y="1610"/>
                    <a:pt x="6272" y="1571"/>
                    <a:pt x="6239" y="1561"/>
                  </a:cubicBezTo>
                  <a:cubicBezTo>
                    <a:pt x="6208" y="1551"/>
                    <a:pt x="6195" y="1514"/>
                    <a:pt x="6207" y="1486"/>
                  </a:cubicBezTo>
                  <a:cubicBezTo>
                    <a:pt x="6211" y="1458"/>
                    <a:pt x="6218" y="1406"/>
                    <a:pt x="6202" y="1371"/>
                  </a:cubicBezTo>
                  <a:cubicBezTo>
                    <a:pt x="6189" y="1335"/>
                    <a:pt x="6162" y="1304"/>
                    <a:pt x="6143" y="1308"/>
                  </a:cubicBezTo>
                  <a:cubicBezTo>
                    <a:pt x="6123" y="1308"/>
                    <a:pt x="6107" y="1290"/>
                    <a:pt x="6107" y="1265"/>
                  </a:cubicBezTo>
                  <a:cubicBezTo>
                    <a:pt x="6107" y="1240"/>
                    <a:pt x="6100" y="1197"/>
                    <a:pt x="6083" y="1170"/>
                  </a:cubicBezTo>
                  <a:cubicBezTo>
                    <a:pt x="6079" y="1142"/>
                    <a:pt x="6043" y="1071"/>
                    <a:pt x="6022" y="1010"/>
                  </a:cubicBezTo>
                  <a:cubicBezTo>
                    <a:pt x="6003" y="950"/>
                    <a:pt x="5948" y="881"/>
                    <a:pt x="5925" y="850"/>
                  </a:cubicBezTo>
                  <a:cubicBezTo>
                    <a:pt x="5891" y="823"/>
                    <a:pt x="5623" y="821"/>
                    <a:pt x="5323" y="835"/>
                  </a:cubicBezTo>
                  <a:cubicBezTo>
                    <a:pt x="5029" y="856"/>
                    <a:pt x="4778" y="954"/>
                    <a:pt x="4758" y="1055"/>
                  </a:cubicBezTo>
                  <a:cubicBezTo>
                    <a:pt x="4743" y="1156"/>
                    <a:pt x="4358" y="1264"/>
                    <a:pt x="3917" y="1295"/>
                  </a:cubicBezTo>
                  <a:cubicBezTo>
                    <a:pt x="3852" y="1299"/>
                    <a:pt x="3788" y="1306"/>
                    <a:pt x="3723" y="1308"/>
                  </a:cubicBezTo>
                  <a:cubicBezTo>
                    <a:pt x="3297" y="1340"/>
                    <a:pt x="2670" y="1174"/>
                    <a:pt x="2356" y="934"/>
                  </a:cubicBezTo>
                  <a:cubicBezTo>
                    <a:pt x="2170" y="804"/>
                    <a:pt x="1991" y="672"/>
                    <a:pt x="1822" y="539"/>
                  </a:cubicBezTo>
                  <a:cubicBezTo>
                    <a:pt x="1516" y="311"/>
                    <a:pt x="1285" y="107"/>
                    <a:pt x="1296" y="85"/>
                  </a:cubicBezTo>
                  <a:cubicBezTo>
                    <a:pt x="1304" y="63"/>
                    <a:pt x="1305" y="28"/>
                    <a:pt x="1305" y="6"/>
                  </a:cubicBezTo>
                  <a:cubicBezTo>
                    <a:pt x="1301" y="-15"/>
                    <a:pt x="1015" y="20"/>
                    <a:pt x="678" y="88"/>
                  </a:cubicBezTo>
                  <a:cubicBezTo>
                    <a:pt x="347" y="150"/>
                    <a:pt x="84" y="258"/>
                    <a:pt x="74" y="319"/>
                  </a:cubicBezTo>
                  <a:cubicBezTo>
                    <a:pt x="64" y="381"/>
                    <a:pt x="53" y="537"/>
                    <a:pt x="57" y="667"/>
                  </a:cubicBezTo>
                  <a:cubicBezTo>
                    <a:pt x="46" y="796"/>
                    <a:pt x="60" y="946"/>
                    <a:pt x="64" y="1000"/>
                  </a:cubicBezTo>
                  <a:cubicBezTo>
                    <a:pt x="69" y="1053"/>
                    <a:pt x="89" y="1126"/>
                    <a:pt x="93" y="1161"/>
                  </a:cubicBezTo>
                  <a:cubicBezTo>
                    <a:pt x="104" y="1196"/>
                    <a:pt x="96" y="1238"/>
                    <a:pt x="85" y="1255"/>
                  </a:cubicBezTo>
                  <a:cubicBezTo>
                    <a:pt x="64" y="1269"/>
                    <a:pt x="54" y="1320"/>
                    <a:pt x="44" y="1361"/>
                  </a:cubicBezTo>
                  <a:cubicBezTo>
                    <a:pt x="34" y="1403"/>
                    <a:pt x="22" y="1476"/>
                    <a:pt x="28" y="1523"/>
                  </a:cubicBezTo>
                  <a:cubicBezTo>
                    <a:pt x="34" y="1571"/>
                    <a:pt x="47" y="1675"/>
                    <a:pt x="74" y="1753"/>
                  </a:cubicBezTo>
                  <a:cubicBezTo>
                    <a:pt x="98" y="1832"/>
                    <a:pt x="109" y="1920"/>
                    <a:pt x="109" y="1949"/>
                  </a:cubicBezTo>
                  <a:cubicBezTo>
                    <a:pt x="104" y="1977"/>
                    <a:pt x="96" y="2016"/>
                    <a:pt x="79" y="2033"/>
                  </a:cubicBezTo>
                  <a:cubicBezTo>
                    <a:pt x="66" y="2051"/>
                    <a:pt x="68" y="2092"/>
                    <a:pt x="62" y="2123"/>
                  </a:cubicBezTo>
                  <a:cubicBezTo>
                    <a:pt x="67" y="2154"/>
                    <a:pt x="82" y="2216"/>
                    <a:pt x="103" y="2261"/>
                  </a:cubicBezTo>
                  <a:cubicBezTo>
                    <a:pt x="131" y="2305"/>
                    <a:pt x="143" y="2384"/>
                    <a:pt x="138" y="2434"/>
                  </a:cubicBezTo>
                  <a:cubicBezTo>
                    <a:pt x="134" y="2484"/>
                    <a:pt x="123" y="2547"/>
                    <a:pt x="111" y="2573"/>
                  </a:cubicBezTo>
                  <a:cubicBezTo>
                    <a:pt x="102" y="2598"/>
                    <a:pt x="78" y="2662"/>
                    <a:pt x="73" y="2715"/>
                  </a:cubicBezTo>
                  <a:cubicBezTo>
                    <a:pt x="59" y="2768"/>
                    <a:pt x="66" y="2833"/>
                    <a:pt x="81" y="2859"/>
                  </a:cubicBezTo>
                  <a:cubicBezTo>
                    <a:pt x="92" y="2885"/>
                    <a:pt x="103" y="2930"/>
                    <a:pt x="111" y="2959"/>
                  </a:cubicBezTo>
                  <a:cubicBezTo>
                    <a:pt x="111" y="2989"/>
                    <a:pt x="116" y="3085"/>
                    <a:pt x="101" y="3173"/>
                  </a:cubicBezTo>
                  <a:cubicBezTo>
                    <a:pt x="90" y="3262"/>
                    <a:pt x="79" y="3392"/>
                    <a:pt x="90" y="3462"/>
                  </a:cubicBezTo>
                  <a:cubicBezTo>
                    <a:pt x="100" y="3532"/>
                    <a:pt x="118" y="3623"/>
                    <a:pt x="132" y="3664"/>
                  </a:cubicBezTo>
                  <a:cubicBezTo>
                    <a:pt x="152" y="3704"/>
                    <a:pt x="181" y="3737"/>
                    <a:pt x="196" y="3731"/>
                  </a:cubicBezTo>
                  <a:cubicBezTo>
                    <a:pt x="208" y="3724"/>
                    <a:pt x="252" y="3780"/>
                    <a:pt x="281" y="3850"/>
                  </a:cubicBezTo>
                  <a:cubicBezTo>
                    <a:pt x="312" y="3920"/>
                    <a:pt x="342" y="4019"/>
                    <a:pt x="363" y="4069"/>
                  </a:cubicBezTo>
                  <a:cubicBezTo>
                    <a:pt x="376" y="4120"/>
                    <a:pt x="391" y="4196"/>
                    <a:pt x="391" y="4237"/>
                  </a:cubicBezTo>
                  <a:cubicBezTo>
                    <a:pt x="397" y="4278"/>
                    <a:pt x="417" y="4362"/>
                    <a:pt x="445" y="4423"/>
                  </a:cubicBezTo>
                  <a:cubicBezTo>
                    <a:pt x="472" y="4484"/>
                    <a:pt x="496" y="4598"/>
                    <a:pt x="506" y="4677"/>
                  </a:cubicBezTo>
                  <a:cubicBezTo>
                    <a:pt x="506" y="4756"/>
                    <a:pt x="534" y="4825"/>
                    <a:pt x="539" y="4835"/>
                  </a:cubicBezTo>
                  <a:cubicBezTo>
                    <a:pt x="550" y="4843"/>
                    <a:pt x="568" y="4895"/>
                    <a:pt x="583" y="4951"/>
                  </a:cubicBezTo>
                  <a:cubicBezTo>
                    <a:pt x="598" y="5006"/>
                    <a:pt x="586" y="5086"/>
                    <a:pt x="570" y="5127"/>
                  </a:cubicBezTo>
                  <a:cubicBezTo>
                    <a:pt x="548" y="5169"/>
                    <a:pt x="533" y="5227"/>
                    <a:pt x="526" y="5256"/>
                  </a:cubicBezTo>
                  <a:cubicBezTo>
                    <a:pt x="522" y="5285"/>
                    <a:pt x="523" y="5332"/>
                    <a:pt x="533" y="5362"/>
                  </a:cubicBezTo>
                  <a:cubicBezTo>
                    <a:pt x="538" y="5392"/>
                    <a:pt x="537" y="5451"/>
                    <a:pt x="526" y="5494"/>
                  </a:cubicBezTo>
                  <a:cubicBezTo>
                    <a:pt x="510" y="5536"/>
                    <a:pt x="490" y="5562"/>
                    <a:pt x="478" y="5549"/>
                  </a:cubicBezTo>
                  <a:cubicBezTo>
                    <a:pt x="457" y="5541"/>
                    <a:pt x="434" y="5552"/>
                    <a:pt x="420" y="5583"/>
                  </a:cubicBezTo>
                  <a:cubicBezTo>
                    <a:pt x="401" y="5612"/>
                    <a:pt x="389" y="5648"/>
                    <a:pt x="392" y="5661"/>
                  </a:cubicBezTo>
                  <a:cubicBezTo>
                    <a:pt x="392" y="5674"/>
                    <a:pt x="418" y="5686"/>
                    <a:pt x="438" y="5695"/>
                  </a:cubicBezTo>
                  <a:cubicBezTo>
                    <a:pt x="463" y="5695"/>
                    <a:pt x="477" y="5732"/>
                    <a:pt x="467" y="5764"/>
                  </a:cubicBezTo>
                  <a:cubicBezTo>
                    <a:pt x="461" y="5798"/>
                    <a:pt x="448" y="5847"/>
                    <a:pt x="431" y="5875"/>
                  </a:cubicBezTo>
                  <a:cubicBezTo>
                    <a:pt x="418" y="5902"/>
                    <a:pt x="391" y="5908"/>
                    <a:pt x="376" y="5886"/>
                  </a:cubicBezTo>
                  <a:cubicBezTo>
                    <a:pt x="359" y="5865"/>
                    <a:pt x="318" y="5840"/>
                    <a:pt x="284" y="5832"/>
                  </a:cubicBezTo>
                  <a:cubicBezTo>
                    <a:pt x="251" y="5822"/>
                    <a:pt x="212" y="5803"/>
                    <a:pt x="186" y="5792"/>
                  </a:cubicBezTo>
                  <a:cubicBezTo>
                    <a:pt x="169" y="5778"/>
                    <a:pt x="117" y="5772"/>
                    <a:pt x="84" y="5784"/>
                  </a:cubicBezTo>
                  <a:cubicBezTo>
                    <a:pt x="46" y="5792"/>
                    <a:pt x="12" y="5814"/>
                    <a:pt x="2" y="5829"/>
                  </a:cubicBezTo>
                  <a:cubicBezTo>
                    <a:pt x="-2" y="5845"/>
                    <a:pt x="-4" y="5914"/>
                    <a:pt x="27" y="5981"/>
                  </a:cubicBezTo>
                  <a:cubicBezTo>
                    <a:pt x="46" y="6049"/>
                    <a:pt x="85" y="6121"/>
                    <a:pt x="110" y="6139"/>
                  </a:cubicBezTo>
                  <a:cubicBezTo>
                    <a:pt x="129" y="6160"/>
                    <a:pt x="159" y="6216"/>
                    <a:pt x="149" y="6267"/>
                  </a:cubicBezTo>
                  <a:cubicBezTo>
                    <a:pt x="149" y="6318"/>
                    <a:pt x="149" y="6398"/>
                    <a:pt x="164" y="6445"/>
                  </a:cubicBezTo>
                  <a:cubicBezTo>
                    <a:pt x="168" y="6492"/>
                    <a:pt x="194" y="6545"/>
                    <a:pt x="225" y="6553"/>
                  </a:cubicBezTo>
                  <a:cubicBezTo>
                    <a:pt x="251" y="6565"/>
                    <a:pt x="294" y="6598"/>
                    <a:pt x="322" y="6625"/>
                  </a:cubicBezTo>
                  <a:cubicBezTo>
                    <a:pt x="354" y="6651"/>
                    <a:pt x="374" y="6695"/>
                    <a:pt x="374" y="6722"/>
                  </a:cubicBezTo>
                  <a:cubicBezTo>
                    <a:pt x="371" y="6749"/>
                    <a:pt x="391" y="6772"/>
                    <a:pt x="405" y="6765"/>
                  </a:cubicBezTo>
                  <a:cubicBezTo>
                    <a:pt x="420" y="6759"/>
                    <a:pt x="451" y="6770"/>
                    <a:pt x="471" y="6781"/>
                  </a:cubicBezTo>
                  <a:cubicBezTo>
                    <a:pt x="487" y="6794"/>
                    <a:pt x="493" y="6818"/>
                    <a:pt x="493" y="6838"/>
                  </a:cubicBezTo>
                  <a:cubicBezTo>
                    <a:pt x="485" y="6857"/>
                    <a:pt x="485" y="6905"/>
                    <a:pt x="497" y="6942"/>
                  </a:cubicBezTo>
                  <a:cubicBezTo>
                    <a:pt x="506" y="6980"/>
                    <a:pt x="530" y="6997"/>
                    <a:pt x="547" y="6980"/>
                  </a:cubicBezTo>
                  <a:cubicBezTo>
                    <a:pt x="567" y="6964"/>
                    <a:pt x="601" y="6950"/>
                    <a:pt x="617" y="6944"/>
                  </a:cubicBezTo>
                  <a:cubicBezTo>
                    <a:pt x="634" y="6938"/>
                    <a:pt x="674" y="6892"/>
                    <a:pt x="705" y="6837"/>
                  </a:cubicBezTo>
                  <a:cubicBezTo>
                    <a:pt x="730" y="6781"/>
                    <a:pt x="772" y="6738"/>
                    <a:pt x="778" y="6745"/>
                  </a:cubicBezTo>
                  <a:cubicBezTo>
                    <a:pt x="783" y="6752"/>
                    <a:pt x="781" y="6790"/>
                    <a:pt x="776" y="6836"/>
                  </a:cubicBezTo>
                  <a:cubicBezTo>
                    <a:pt x="756" y="6880"/>
                    <a:pt x="750" y="6986"/>
                    <a:pt x="755" y="7070"/>
                  </a:cubicBezTo>
                  <a:cubicBezTo>
                    <a:pt x="750" y="7154"/>
                    <a:pt x="797" y="7292"/>
                    <a:pt x="840" y="7378"/>
                  </a:cubicBezTo>
                  <a:cubicBezTo>
                    <a:pt x="888" y="7463"/>
                    <a:pt x="944" y="7546"/>
                    <a:pt x="960" y="7563"/>
                  </a:cubicBezTo>
                  <a:cubicBezTo>
                    <a:pt x="981" y="7580"/>
                    <a:pt x="1010" y="7585"/>
                    <a:pt x="1026" y="7577"/>
                  </a:cubicBezTo>
                  <a:cubicBezTo>
                    <a:pt x="1038" y="7567"/>
                    <a:pt x="1062" y="7594"/>
                    <a:pt x="1077" y="7633"/>
                  </a:cubicBezTo>
                  <a:cubicBezTo>
                    <a:pt x="1092" y="7673"/>
                    <a:pt x="1112" y="7789"/>
                    <a:pt x="1123" y="7890"/>
                  </a:cubicBezTo>
                  <a:cubicBezTo>
                    <a:pt x="1144" y="7992"/>
                    <a:pt x="1153" y="8165"/>
                    <a:pt x="1143" y="8275"/>
                  </a:cubicBezTo>
                  <a:cubicBezTo>
                    <a:pt x="1143" y="8386"/>
                    <a:pt x="1125" y="8547"/>
                    <a:pt x="1115" y="8635"/>
                  </a:cubicBezTo>
                  <a:cubicBezTo>
                    <a:pt x="1104" y="8723"/>
                    <a:pt x="1062" y="8857"/>
                    <a:pt x="1037" y="8934"/>
                  </a:cubicBezTo>
                  <a:cubicBezTo>
                    <a:pt x="1012" y="9011"/>
                    <a:pt x="980" y="9109"/>
                    <a:pt x="991" y="9151"/>
                  </a:cubicBezTo>
                  <a:cubicBezTo>
                    <a:pt x="991" y="9193"/>
                    <a:pt x="1015" y="9263"/>
                    <a:pt x="1046" y="9304"/>
                  </a:cubicBezTo>
                  <a:cubicBezTo>
                    <a:pt x="1072" y="9345"/>
                    <a:pt x="1110" y="9375"/>
                    <a:pt x="1120" y="9367"/>
                  </a:cubicBezTo>
                  <a:cubicBezTo>
                    <a:pt x="1130" y="9359"/>
                    <a:pt x="1151" y="9386"/>
                    <a:pt x="1156" y="9422"/>
                  </a:cubicBezTo>
                  <a:cubicBezTo>
                    <a:pt x="1161" y="9459"/>
                    <a:pt x="1191" y="9498"/>
                    <a:pt x="1220" y="9508"/>
                  </a:cubicBezTo>
                  <a:cubicBezTo>
                    <a:pt x="1251" y="9518"/>
                    <a:pt x="1280" y="9571"/>
                    <a:pt x="1296" y="9622"/>
                  </a:cubicBezTo>
                  <a:cubicBezTo>
                    <a:pt x="1315" y="9673"/>
                    <a:pt x="1369" y="9817"/>
                    <a:pt x="1431" y="9940"/>
                  </a:cubicBezTo>
                  <a:cubicBezTo>
                    <a:pt x="1492" y="10063"/>
                    <a:pt x="1561" y="10178"/>
                    <a:pt x="1587" y="10195"/>
                  </a:cubicBezTo>
                  <a:cubicBezTo>
                    <a:pt x="1611" y="10210"/>
                    <a:pt x="1630" y="10256"/>
                    <a:pt x="1647" y="10292"/>
                  </a:cubicBezTo>
                  <a:cubicBezTo>
                    <a:pt x="1657" y="10329"/>
                    <a:pt x="1682" y="10399"/>
                    <a:pt x="1707" y="10447"/>
                  </a:cubicBezTo>
                  <a:cubicBezTo>
                    <a:pt x="1732" y="10495"/>
                    <a:pt x="1776" y="10537"/>
                    <a:pt x="1809" y="10545"/>
                  </a:cubicBezTo>
                  <a:cubicBezTo>
                    <a:pt x="1840" y="10552"/>
                    <a:pt x="1878" y="10583"/>
                    <a:pt x="1894" y="10617"/>
                  </a:cubicBezTo>
                  <a:cubicBezTo>
                    <a:pt x="1911" y="10652"/>
                    <a:pt x="1914" y="10741"/>
                    <a:pt x="1924" y="10813"/>
                  </a:cubicBezTo>
                  <a:cubicBezTo>
                    <a:pt x="1924" y="10885"/>
                    <a:pt x="1945" y="10965"/>
                    <a:pt x="1960" y="10990"/>
                  </a:cubicBezTo>
                  <a:cubicBezTo>
                    <a:pt x="1981" y="11015"/>
                    <a:pt x="2001" y="11070"/>
                    <a:pt x="1996" y="11111"/>
                  </a:cubicBezTo>
                  <a:cubicBezTo>
                    <a:pt x="1996" y="11152"/>
                    <a:pt x="2007" y="11233"/>
                    <a:pt x="2023" y="11290"/>
                  </a:cubicBezTo>
                  <a:cubicBezTo>
                    <a:pt x="2034" y="11346"/>
                    <a:pt x="2068" y="11398"/>
                    <a:pt x="2083" y="11410"/>
                  </a:cubicBezTo>
                  <a:cubicBezTo>
                    <a:pt x="2105" y="11418"/>
                    <a:pt x="2157" y="11396"/>
                    <a:pt x="2209" y="11358"/>
                  </a:cubicBezTo>
                  <a:cubicBezTo>
                    <a:pt x="2255" y="11320"/>
                    <a:pt x="2331" y="11229"/>
                    <a:pt x="2355" y="11152"/>
                  </a:cubicBezTo>
                  <a:cubicBezTo>
                    <a:pt x="2388" y="11077"/>
                    <a:pt x="2413" y="10959"/>
                    <a:pt x="2418" y="10890"/>
                  </a:cubicBezTo>
                  <a:cubicBezTo>
                    <a:pt x="2423" y="10821"/>
                    <a:pt x="2406" y="10748"/>
                    <a:pt x="2388" y="10726"/>
                  </a:cubicBezTo>
                  <a:cubicBezTo>
                    <a:pt x="2363" y="10706"/>
                    <a:pt x="2349" y="10647"/>
                    <a:pt x="2337" y="10598"/>
                  </a:cubicBezTo>
                  <a:cubicBezTo>
                    <a:pt x="2329" y="10548"/>
                    <a:pt x="2313" y="10487"/>
                    <a:pt x="2296" y="10463"/>
                  </a:cubicBezTo>
                  <a:cubicBezTo>
                    <a:pt x="2276" y="10439"/>
                    <a:pt x="2254" y="10375"/>
                    <a:pt x="2254" y="10324"/>
                  </a:cubicBezTo>
                  <a:cubicBezTo>
                    <a:pt x="2244" y="10273"/>
                    <a:pt x="2220" y="10213"/>
                    <a:pt x="2196" y="10190"/>
                  </a:cubicBezTo>
                  <a:cubicBezTo>
                    <a:pt x="2169" y="10168"/>
                    <a:pt x="2140" y="10119"/>
                    <a:pt x="2136" y="10084"/>
                  </a:cubicBezTo>
                  <a:cubicBezTo>
                    <a:pt x="2124" y="10049"/>
                    <a:pt x="2107" y="9991"/>
                    <a:pt x="2090" y="9957"/>
                  </a:cubicBezTo>
                  <a:cubicBezTo>
                    <a:pt x="2072" y="9922"/>
                    <a:pt x="2052" y="9882"/>
                    <a:pt x="2036" y="9869"/>
                  </a:cubicBezTo>
                  <a:cubicBezTo>
                    <a:pt x="2023" y="9855"/>
                    <a:pt x="2010" y="9857"/>
                    <a:pt x="1993" y="9866"/>
                  </a:cubicBezTo>
                  <a:cubicBezTo>
                    <a:pt x="1988" y="9879"/>
                    <a:pt x="1975" y="9919"/>
                    <a:pt x="1975" y="9956"/>
                  </a:cubicBezTo>
                  <a:cubicBezTo>
                    <a:pt x="1969" y="9994"/>
                    <a:pt x="1962" y="10032"/>
                    <a:pt x="1949" y="10042"/>
                  </a:cubicBezTo>
                  <a:cubicBezTo>
                    <a:pt x="1930" y="10050"/>
                    <a:pt x="1922" y="10035"/>
                    <a:pt x="1917" y="10004"/>
                  </a:cubicBezTo>
                  <a:cubicBezTo>
                    <a:pt x="1912" y="9973"/>
                    <a:pt x="1905" y="9917"/>
                    <a:pt x="1868" y="9888"/>
                  </a:cubicBezTo>
                  <a:cubicBezTo>
                    <a:pt x="1843" y="9856"/>
                    <a:pt x="1805" y="9783"/>
                    <a:pt x="1780" y="9727"/>
                  </a:cubicBezTo>
                  <a:cubicBezTo>
                    <a:pt x="1750" y="9672"/>
                    <a:pt x="1725" y="9599"/>
                    <a:pt x="1730" y="9566"/>
                  </a:cubicBezTo>
                  <a:cubicBezTo>
                    <a:pt x="1724" y="9533"/>
                    <a:pt x="1745" y="9461"/>
                    <a:pt x="1759" y="9404"/>
                  </a:cubicBezTo>
                  <a:cubicBezTo>
                    <a:pt x="1773" y="9347"/>
                    <a:pt x="1789" y="9255"/>
                    <a:pt x="1793" y="9198"/>
                  </a:cubicBezTo>
                  <a:cubicBezTo>
                    <a:pt x="1799" y="9141"/>
                    <a:pt x="1772" y="9049"/>
                    <a:pt x="1757" y="8993"/>
                  </a:cubicBezTo>
                  <a:cubicBezTo>
                    <a:pt x="1727" y="8938"/>
                    <a:pt x="1718" y="8860"/>
                    <a:pt x="1733" y="8823"/>
                  </a:cubicBezTo>
                  <a:cubicBezTo>
                    <a:pt x="1743" y="8786"/>
                    <a:pt x="1750" y="8728"/>
                    <a:pt x="1750" y="8694"/>
                  </a:cubicBezTo>
                  <a:cubicBezTo>
                    <a:pt x="1750" y="8661"/>
                    <a:pt x="1745" y="8609"/>
                    <a:pt x="1727" y="8580"/>
                  </a:cubicBezTo>
                  <a:cubicBezTo>
                    <a:pt x="1714" y="8550"/>
                    <a:pt x="1701" y="8494"/>
                    <a:pt x="1707" y="8456"/>
                  </a:cubicBezTo>
                  <a:cubicBezTo>
                    <a:pt x="1707" y="8417"/>
                    <a:pt x="1700" y="8357"/>
                    <a:pt x="1684" y="8323"/>
                  </a:cubicBezTo>
                  <a:cubicBezTo>
                    <a:pt x="1668" y="8289"/>
                    <a:pt x="1655" y="8218"/>
                    <a:pt x="1659" y="8165"/>
                  </a:cubicBezTo>
                  <a:cubicBezTo>
                    <a:pt x="1659" y="8113"/>
                    <a:pt x="1656" y="8049"/>
                    <a:pt x="1651" y="8024"/>
                  </a:cubicBezTo>
                  <a:cubicBezTo>
                    <a:pt x="1645" y="7999"/>
                    <a:pt x="1643" y="7923"/>
                    <a:pt x="1638" y="7855"/>
                  </a:cubicBezTo>
                  <a:cubicBezTo>
                    <a:pt x="1643" y="7787"/>
                    <a:pt x="1643" y="7699"/>
                    <a:pt x="1656" y="7660"/>
                  </a:cubicBezTo>
                  <a:cubicBezTo>
                    <a:pt x="1666" y="7621"/>
                    <a:pt x="1662" y="7506"/>
                    <a:pt x="1667" y="7406"/>
                  </a:cubicBezTo>
                  <a:cubicBezTo>
                    <a:pt x="1662" y="7305"/>
                    <a:pt x="1654" y="7178"/>
                    <a:pt x="1635" y="7125"/>
                  </a:cubicBezTo>
                  <a:cubicBezTo>
                    <a:pt x="1619" y="7072"/>
                    <a:pt x="1600" y="6998"/>
                    <a:pt x="1596" y="6962"/>
                  </a:cubicBezTo>
                  <a:cubicBezTo>
                    <a:pt x="1591" y="6926"/>
                    <a:pt x="1577" y="6890"/>
                    <a:pt x="1564" y="6890"/>
                  </a:cubicBezTo>
                  <a:cubicBezTo>
                    <a:pt x="1552" y="6890"/>
                    <a:pt x="1540" y="6902"/>
                    <a:pt x="1540" y="6923"/>
                  </a:cubicBezTo>
                  <a:cubicBezTo>
                    <a:pt x="1535" y="6945"/>
                    <a:pt x="1539" y="6988"/>
                    <a:pt x="1533" y="7019"/>
                  </a:cubicBezTo>
                  <a:cubicBezTo>
                    <a:pt x="1528" y="7050"/>
                    <a:pt x="1522" y="7090"/>
                    <a:pt x="1509" y="7108"/>
                  </a:cubicBezTo>
                  <a:cubicBezTo>
                    <a:pt x="1497" y="7127"/>
                    <a:pt x="1469" y="7083"/>
                    <a:pt x="1445" y="7011"/>
                  </a:cubicBezTo>
                  <a:cubicBezTo>
                    <a:pt x="1425" y="6938"/>
                    <a:pt x="1405" y="6851"/>
                    <a:pt x="1405" y="6817"/>
                  </a:cubicBezTo>
                  <a:cubicBezTo>
                    <a:pt x="1405" y="6782"/>
                    <a:pt x="1414" y="6721"/>
                    <a:pt x="1429" y="6682"/>
                  </a:cubicBezTo>
                  <a:cubicBezTo>
                    <a:pt x="1438" y="6642"/>
                    <a:pt x="1445" y="6588"/>
                    <a:pt x="1440" y="6562"/>
                  </a:cubicBezTo>
                  <a:cubicBezTo>
                    <a:pt x="1434" y="6535"/>
                    <a:pt x="1417" y="6512"/>
                    <a:pt x="1404" y="6512"/>
                  </a:cubicBezTo>
                  <a:cubicBezTo>
                    <a:pt x="1390" y="6512"/>
                    <a:pt x="1384" y="6422"/>
                    <a:pt x="1379" y="6314"/>
                  </a:cubicBezTo>
                  <a:cubicBezTo>
                    <a:pt x="1379" y="6206"/>
                    <a:pt x="1358" y="6061"/>
                    <a:pt x="1343" y="5991"/>
                  </a:cubicBezTo>
                  <a:cubicBezTo>
                    <a:pt x="1328" y="5921"/>
                    <a:pt x="1298" y="5860"/>
                    <a:pt x="1288" y="5852"/>
                  </a:cubicBezTo>
                  <a:cubicBezTo>
                    <a:pt x="1271" y="5852"/>
                    <a:pt x="1251" y="5803"/>
                    <a:pt x="1223" y="5760"/>
                  </a:cubicBezTo>
                  <a:cubicBezTo>
                    <a:pt x="1198" y="5716"/>
                    <a:pt x="1172" y="5628"/>
                    <a:pt x="1188" y="5565"/>
                  </a:cubicBezTo>
                  <a:cubicBezTo>
                    <a:pt x="1192" y="5501"/>
                    <a:pt x="1211" y="5403"/>
                    <a:pt x="1211" y="5347"/>
                  </a:cubicBezTo>
                  <a:cubicBezTo>
                    <a:pt x="1226" y="5291"/>
                    <a:pt x="1207" y="5190"/>
                    <a:pt x="1193" y="5122"/>
                  </a:cubicBezTo>
                  <a:cubicBezTo>
                    <a:pt x="1172" y="5055"/>
                    <a:pt x="1148" y="4990"/>
                    <a:pt x="1126" y="4990"/>
                  </a:cubicBezTo>
                  <a:cubicBezTo>
                    <a:pt x="1111" y="4981"/>
                    <a:pt x="1079" y="4961"/>
                    <a:pt x="1075" y="4939"/>
                  </a:cubicBezTo>
                  <a:cubicBezTo>
                    <a:pt x="1066" y="4917"/>
                    <a:pt x="1062" y="4852"/>
                    <a:pt x="1062" y="4795"/>
                  </a:cubicBezTo>
                  <a:cubicBezTo>
                    <a:pt x="1067" y="4737"/>
                    <a:pt x="1055" y="4662"/>
                    <a:pt x="1039" y="4628"/>
                  </a:cubicBezTo>
                  <a:cubicBezTo>
                    <a:pt x="1022" y="4593"/>
                    <a:pt x="997" y="4548"/>
                    <a:pt x="970" y="4530"/>
                  </a:cubicBezTo>
                  <a:cubicBezTo>
                    <a:pt x="953" y="4510"/>
                    <a:pt x="930" y="4458"/>
                    <a:pt x="926" y="4411"/>
                  </a:cubicBezTo>
                  <a:cubicBezTo>
                    <a:pt x="921" y="4364"/>
                    <a:pt x="932" y="4297"/>
                    <a:pt x="938" y="4262"/>
                  </a:cubicBezTo>
                  <a:cubicBezTo>
                    <a:pt x="946" y="4227"/>
                    <a:pt x="957" y="4140"/>
                    <a:pt x="952" y="4070"/>
                  </a:cubicBezTo>
                  <a:cubicBezTo>
                    <a:pt x="952" y="4001"/>
                    <a:pt x="926" y="3906"/>
                    <a:pt x="889" y="3861"/>
                  </a:cubicBezTo>
                  <a:cubicBezTo>
                    <a:pt x="860" y="3814"/>
                    <a:pt x="816" y="3749"/>
                    <a:pt x="810" y="3712"/>
                  </a:cubicBezTo>
                  <a:cubicBezTo>
                    <a:pt x="801" y="3675"/>
                    <a:pt x="781" y="3645"/>
                    <a:pt x="766" y="3645"/>
                  </a:cubicBezTo>
                  <a:cubicBezTo>
                    <a:pt x="750" y="3645"/>
                    <a:pt x="746" y="3602"/>
                    <a:pt x="750" y="3550"/>
                  </a:cubicBezTo>
                  <a:cubicBezTo>
                    <a:pt x="756" y="3499"/>
                    <a:pt x="754" y="3397"/>
                    <a:pt x="744" y="3323"/>
                  </a:cubicBezTo>
                  <a:cubicBezTo>
                    <a:pt x="739" y="3249"/>
                    <a:pt x="721" y="3164"/>
                    <a:pt x="704" y="3136"/>
                  </a:cubicBezTo>
                  <a:cubicBezTo>
                    <a:pt x="694" y="3108"/>
                    <a:pt x="696" y="3047"/>
                    <a:pt x="715" y="3002"/>
                  </a:cubicBezTo>
                  <a:cubicBezTo>
                    <a:pt x="729" y="2956"/>
                    <a:pt x="762" y="2769"/>
                    <a:pt x="782" y="2586"/>
                  </a:cubicBezTo>
                  <a:cubicBezTo>
                    <a:pt x="802" y="2402"/>
                    <a:pt x="819" y="2160"/>
                    <a:pt x="833" y="2050"/>
                  </a:cubicBezTo>
                  <a:cubicBezTo>
                    <a:pt x="839" y="1939"/>
                    <a:pt x="867" y="1798"/>
                    <a:pt x="886" y="1738"/>
                  </a:cubicBezTo>
                  <a:cubicBezTo>
                    <a:pt x="908" y="1677"/>
                    <a:pt x="945" y="1552"/>
                    <a:pt x="972" y="1459"/>
                  </a:cubicBezTo>
                  <a:cubicBezTo>
                    <a:pt x="1001" y="1366"/>
                    <a:pt x="1025" y="1250"/>
                    <a:pt x="1025" y="1201"/>
                  </a:cubicBezTo>
                  <a:cubicBezTo>
                    <a:pt x="1030" y="1153"/>
                    <a:pt x="1022" y="1065"/>
                    <a:pt x="1027" y="1005"/>
                  </a:cubicBezTo>
                  <a:cubicBezTo>
                    <a:pt x="1027" y="946"/>
                    <a:pt x="1032" y="946"/>
                    <a:pt x="1042" y="1003"/>
                  </a:cubicBezTo>
                  <a:cubicBezTo>
                    <a:pt x="1057" y="1061"/>
                    <a:pt x="1091" y="1129"/>
                    <a:pt x="1120" y="1157"/>
                  </a:cubicBezTo>
                  <a:cubicBezTo>
                    <a:pt x="1154" y="1184"/>
                    <a:pt x="1195" y="1263"/>
                    <a:pt x="1209" y="1334"/>
                  </a:cubicBezTo>
                  <a:cubicBezTo>
                    <a:pt x="1219" y="1405"/>
                    <a:pt x="1252" y="1482"/>
                    <a:pt x="1262" y="1506"/>
                  </a:cubicBezTo>
                  <a:cubicBezTo>
                    <a:pt x="1279" y="1530"/>
                    <a:pt x="1302" y="1537"/>
                    <a:pt x="1331" y="1531"/>
                  </a:cubicBezTo>
                  <a:cubicBezTo>
                    <a:pt x="1350" y="1516"/>
                    <a:pt x="1391" y="1493"/>
                    <a:pt x="1408" y="1473"/>
                  </a:cubicBezTo>
                  <a:cubicBezTo>
                    <a:pt x="1424" y="1451"/>
                    <a:pt x="1457" y="1466"/>
                    <a:pt x="1472" y="1505"/>
                  </a:cubicBezTo>
                  <a:cubicBezTo>
                    <a:pt x="1494" y="1543"/>
                    <a:pt x="1514" y="1599"/>
                    <a:pt x="1514" y="1628"/>
                  </a:cubicBezTo>
                  <a:cubicBezTo>
                    <a:pt x="1523" y="1658"/>
                    <a:pt x="1545" y="1679"/>
                    <a:pt x="1574" y="1679"/>
                  </a:cubicBezTo>
                  <a:cubicBezTo>
                    <a:pt x="1602" y="1674"/>
                    <a:pt x="1644" y="1698"/>
                    <a:pt x="1677" y="1723"/>
                  </a:cubicBezTo>
                  <a:cubicBezTo>
                    <a:pt x="1695" y="1752"/>
                    <a:pt x="1730" y="1794"/>
                    <a:pt x="1720" y="1820"/>
                  </a:cubicBezTo>
                  <a:cubicBezTo>
                    <a:pt x="1720" y="1847"/>
                    <a:pt x="1684" y="1904"/>
                    <a:pt x="1665" y="1950"/>
                  </a:cubicBezTo>
                  <a:cubicBezTo>
                    <a:pt x="1640" y="1995"/>
                    <a:pt x="1614" y="2069"/>
                    <a:pt x="1610" y="2115"/>
                  </a:cubicBezTo>
                  <a:cubicBezTo>
                    <a:pt x="1603" y="2161"/>
                    <a:pt x="1604" y="2249"/>
                    <a:pt x="1614" y="2310"/>
                  </a:cubicBezTo>
                  <a:cubicBezTo>
                    <a:pt x="1614" y="2372"/>
                    <a:pt x="1624" y="2497"/>
                    <a:pt x="1619" y="2588"/>
                  </a:cubicBezTo>
                  <a:cubicBezTo>
                    <a:pt x="1614" y="2679"/>
                    <a:pt x="1616" y="2787"/>
                    <a:pt x="1626" y="2828"/>
                  </a:cubicBezTo>
                  <a:cubicBezTo>
                    <a:pt x="1631" y="2869"/>
                    <a:pt x="1639" y="2954"/>
                    <a:pt x="1634" y="3017"/>
                  </a:cubicBezTo>
                  <a:cubicBezTo>
                    <a:pt x="1634" y="3080"/>
                    <a:pt x="1620" y="3161"/>
                    <a:pt x="1609" y="3196"/>
                  </a:cubicBezTo>
                  <a:cubicBezTo>
                    <a:pt x="1600" y="3231"/>
                    <a:pt x="1588" y="3297"/>
                    <a:pt x="1599" y="3342"/>
                  </a:cubicBezTo>
                  <a:cubicBezTo>
                    <a:pt x="1604" y="3387"/>
                    <a:pt x="1628" y="3497"/>
                    <a:pt x="1658" y="3585"/>
                  </a:cubicBezTo>
                  <a:cubicBezTo>
                    <a:pt x="1690" y="3673"/>
                    <a:pt x="1703" y="3768"/>
                    <a:pt x="1698" y="3796"/>
                  </a:cubicBezTo>
                  <a:cubicBezTo>
                    <a:pt x="1692" y="3823"/>
                    <a:pt x="1683" y="3867"/>
                    <a:pt x="1667" y="3893"/>
                  </a:cubicBezTo>
                  <a:cubicBezTo>
                    <a:pt x="1663" y="3919"/>
                    <a:pt x="1652" y="3969"/>
                    <a:pt x="1657" y="4005"/>
                  </a:cubicBezTo>
                  <a:cubicBezTo>
                    <a:pt x="1661" y="4040"/>
                    <a:pt x="1677" y="4067"/>
                    <a:pt x="1690" y="4067"/>
                  </a:cubicBezTo>
                  <a:cubicBezTo>
                    <a:pt x="1699" y="4063"/>
                    <a:pt x="1721" y="4088"/>
                    <a:pt x="1726" y="4116"/>
                  </a:cubicBezTo>
                  <a:cubicBezTo>
                    <a:pt x="1737" y="4144"/>
                    <a:pt x="1750" y="4236"/>
                    <a:pt x="1755" y="4322"/>
                  </a:cubicBezTo>
                  <a:cubicBezTo>
                    <a:pt x="1755" y="4408"/>
                    <a:pt x="1785" y="4490"/>
                    <a:pt x="1804" y="4506"/>
                  </a:cubicBezTo>
                  <a:cubicBezTo>
                    <a:pt x="1818" y="4523"/>
                    <a:pt x="1848" y="4568"/>
                    <a:pt x="1848" y="4610"/>
                  </a:cubicBezTo>
                  <a:cubicBezTo>
                    <a:pt x="1858" y="4651"/>
                    <a:pt x="1852" y="4737"/>
                    <a:pt x="1852" y="4798"/>
                  </a:cubicBezTo>
                  <a:cubicBezTo>
                    <a:pt x="1847" y="4860"/>
                    <a:pt x="1852" y="4929"/>
                    <a:pt x="1865" y="4951"/>
                  </a:cubicBezTo>
                  <a:cubicBezTo>
                    <a:pt x="1870" y="4974"/>
                    <a:pt x="1909" y="4994"/>
                    <a:pt x="1919" y="5005"/>
                  </a:cubicBezTo>
                  <a:cubicBezTo>
                    <a:pt x="1939" y="5013"/>
                    <a:pt x="1966" y="5070"/>
                    <a:pt x="1975" y="5131"/>
                  </a:cubicBezTo>
                  <a:cubicBezTo>
                    <a:pt x="1991" y="5191"/>
                    <a:pt x="2009" y="5279"/>
                    <a:pt x="2004" y="5325"/>
                  </a:cubicBezTo>
                  <a:cubicBezTo>
                    <a:pt x="2018" y="5370"/>
                    <a:pt x="2021" y="5433"/>
                    <a:pt x="2046" y="5459"/>
                  </a:cubicBezTo>
                  <a:cubicBezTo>
                    <a:pt x="2055" y="5487"/>
                    <a:pt x="2082" y="5529"/>
                    <a:pt x="2087" y="5554"/>
                  </a:cubicBezTo>
                  <a:cubicBezTo>
                    <a:pt x="2097" y="5578"/>
                    <a:pt x="2112" y="5599"/>
                    <a:pt x="2133" y="5599"/>
                  </a:cubicBezTo>
                  <a:cubicBezTo>
                    <a:pt x="2147" y="5607"/>
                    <a:pt x="2179" y="5612"/>
                    <a:pt x="2188" y="5627"/>
                  </a:cubicBezTo>
                  <a:cubicBezTo>
                    <a:pt x="2196" y="5642"/>
                    <a:pt x="2227" y="5640"/>
                    <a:pt x="2250" y="5622"/>
                  </a:cubicBezTo>
                  <a:cubicBezTo>
                    <a:pt x="2266" y="5603"/>
                    <a:pt x="2307" y="5608"/>
                    <a:pt x="2320" y="5630"/>
                  </a:cubicBezTo>
                  <a:cubicBezTo>
                    <a:pt x="2330" y="5654"/>
                    <a:pt x="2341" y="5722"/>
                    <a:pt x="2336" y="5785"/>
                  </a:cubicBezTo>
                  <a:cubicBezTo>
                    <a:pt x="2325" y="5847"/>
                    <a:pt x="2305" y="5926"/>
                    <a:pt x="2296" y="5961"/>
                  </a:cubicBezTo>
                  <a:cubicBezTo>
                    <a:pt x="2274" y="5994"/>
                    <a:pt x="2268" y="6084"/>
                    <a:pt x="2268" y="6158"/>
                  </a:cubicBezTo>
                  <a:cubicBezTo>
                    <a:pt x="2268" y="6232"/>
                    <a:pt x="2305" y="6358"/>
                    <a:pt x="2358" y="6438"/>
                  </a:cubicBezTo>
                  <a:cubicBezTo>
                    <a:pt x="2408" y="6519"/>
                    <a:pt x="2463" y="6575"/>
                    <a:pt x="2486" y="6575"/>
                  </a:cubicBezTo>
                  <a:cubicBezTo>
                    <a:pt x="2504" y="6568"/>
                    <a:pt x="2533" y="6578"/>
                    <a:pt x="2558" y="6585"/>
                  </a:cubicBezTo>
                  <a:cubicBezTo>
                    <a:pt x="2577" y="6595"/>
                    <a:pt x="2584" y="6645"/>
                    <a:pt x="2573" y="6694"/>
                  </a:cubicBezTo>
                  <a:cubicBezTo>
                    <a:pt x="2559" y="6744"/>
                    <a:pt x="2565" y="6821"/>
                    <a:pt x="2574" y="6865"/>
                  </a:cubicBezTo>
                  <a:cubicBezTo>
                    <a:pt x="2583" y="6909"/>
                    <a:pt x="2618" y="6953"/>
                    <a:pt x="2645" y="6964"/>
                  </a:cubicBezTo>
                  <a:cubicBezTo>
                    <a:pt x="2676" y="6971"/>
                    <a:pt x="2720" y="6978"/>
                    <a:pt x="2744" y="6969"/>
                  </a:cubicBezTo>
                  <a:cubicBezTo>
                    <a:pt x="2772" y="6964"/>
                    <a:pt x="2807" y="7003"/>
                    <a:pt x="2838" y="7060"/>
                  </a:cubicBezTo>
                  <a:cubicBezTo>
                    <a:pt x="2859" y="7118"/>
                    <a:pt x="2887" y="7198"/>
                    <a:pt x="2887" y="7239"/>
                  </a:cubicBezTo>
                  <a:cubicBezTo>
                    <a:pt x="2887" y="7280"/>
                    <a:pt x="2914" y="7328"/>
                    <a:pt x="2930" y="7348"/>
                  </a:cubicBezTo>
                  <a:cubicBezTo>
                    <a:pt x="2949" y="7367"/>
                    <a:pt x="2981" y="7366"/>
                    <a:pt x="2992" y="7348"/>
                  </a:cubicBezTo>
                  <a:cubicBezTo>
                    <a:pt x="2998" y="7329"/>
                    <a:pt x="3028" y="7328"/>
                    <a:pt x="3028" y="7346"/>
                  </a:cubicBezTo>
                  <a:cubicBezTo>
                    <a:pt x="3043" y="7362"/>
                    <a:pt x="3050" y="7407"/>
                    <a:pt x="3046" y="7442"/>
                  </a:cubicBezTo>
                  <a:cubicBezTo>
                    <a:pt x="3051" y="7477"/>
                    <a:pt x="3045" y="7529"/>
                    <a:pt x="3024" y="7554"/>
                  </a:cubicBezTo>
                  <a:cubicBezTo>
                    <a:pt x="3014" y="7581"/>
                    <a:pt x="2986" y="7578"/>
                    <a:pt x="2969" y="7550"/>
                  </a:cubicBezTo>
                  <a:cubicBezTo>
                    <a:pt x="2955" y="7521"/>
                    <a:pt x="2922" y="7508"/>
                    <a:pt x="2900" y="7521"/>
                  </a:cubicBezTo>
                  <a:cubicBezTo>
                    <a:pt x="2874" y="7532"/>
                    <a:pt x="2841" y="7589"/>
                    <a:pt x="2801" y="7641"/>
                  </a:cubicBezTo>
                  <a:cubicBezTo>
                    <a:pt x="2772" y="7694"/>
                    <a:pt x="2728" y="7801"/>
                    <a:pt x="2704" y="7878"/>
                  </a:cubicBezTo>
                  <a:cubicBezTo>
                    <a:pt x="2684" y="7956"/>
                    <a:pt x="2669" y="8065"/>
                    <a:pt x="2669" y="8120"/>
                  </a:cubicBezTo>
                  <a:cubicBezTo>
                    <a:pt x="2669" y="8175"/>
                    <a:pt x="2692" y="8245"/>
                    <a:pt x="2720" y="8275"/>
                  </a:cubicBezTo>
                  <a:cubicBezTo>
                    <a:pt x="2739" y="8307"/>
                    <a:pt x="2791" y="8335"/>
                    <a:pt x="2822" y="8335"/>
                  </a:cubicBezTo>
                  <a:cubicBezTo>
                    <a:pt x="2849" y="8342"/>
                    <a:pt x="2900" y="8360"/>
                    <a:pt x="2909" y="8388"/>
                  </a:cubicBezTo>
                  <a:cubicBezTo>
                    <a:pt x="2935" y="8413"/>
                    <a:pt x="2999" y="8503"/>
                    <a:pt x="3056" y="8587"/>
                  </a:cubicBezTo>
                  <a:cubicBezTo>
                    <a:pt x="3123" y="8669"/>
                    <a:pt x="3205" y="8748"/>
                    <a:pt x="3243" y="8763"/>
                  </a:cubicBezTo>
                  <a:cubicBezTo>
                    <a:pt x="3285" y="8774"/>
                    <a:pt x="3330" y="8788"/>
                    <a:pt x="3352" y="8788"/>
                  </a:cubicBezTo>
                  <a:cubicBezTo>
                    <a:pt x="3373" y="8788"/>
                    <a:pt x="3404" y="8812"/>
                    <a:pt x="3404" y="8844"/>
                  </a:cubicBezTo>
                  <a:cubicBezTo>
                    <a:pt x="3414" y="8875"/>
                    <a:pt x="3431" y="8943"/>
                    <a:pt x="3436" y="8994"/>
                  </a:cubicBezTo>
                  <a:cubicBezTo>
                    <a:pt x="3452" y="9045"/>
                    <a:pt x="3466" y="9115"/>
                    <a:pt x="3477" y="9148"/>
                  </a:cubicBezTo>
                  <a:cubicBezTo>
                    <a:pt x="3493" y="9181"/>
                    <a:pt x="3487" y="9248"/>
                    <a:pt x="3471" y="9297"/>
                  </a:cubicBezTo>
                  <a:cubicBezTo>
                    <a:pt x="3461" y="9345"/>
                    <a:pt x="3426" y="9397"/>
                    <a:pt x="3404" y="9411"/>
                  </a:cubicBezTo>
                  <a:cubicBezTo>
                    <a:pt x="3381" y="9426"/>
                    <a:pt x="3367" y="9454"/>
                    <a:pt x="3367" y="9474"/>
                  </a:cubicBezTo>
                  <a:cubicBezTo>
                    <a:pt x="3363" y="9494"/>
                    <a:pt x="3395" y="9530"/>
                    <a:pt x="3421" y="9555"/>
                  </a:cubicBezTo>
                  <a:cubicBezTo>
                    <a:pt x="3451" y="9580"/>
                    <a:pt x="3516" y="9626"/>
                    <a:pt x="3564" y="9660"/>
                  </a:cubicBezTo>
                  <a:cubicBezTo>
                    <a:pt x="3614" y="9693"/>
                    <a:pt x="3658" y="9746"/>
                    <a:pt x="3658" y="9781"/>
                  </a:cubicBezTo>
                  <a:cubicBezTo>
                    <a:pt x="3658" y="9815"/>
                    <a:pt x="3682" y="9855"/>
                    <a:pt x="3690" y="9874"/>
                  </a:cubicBezTo>
                  <a:cubicBezTo>
                    <a:pt x="3706" y="9892"/>
                    <a:pt x="3755" y="9958"/>
                    <a:pt x="3801" y="10021"/>
                  </a:cubicBezTo>
                  <a:cubicBezTo>
                    <a:pt x="3841" y="10084"/>
                    <a:pt x="3933" y="10223"/>
                    <a:pt x="3977" y="10333"/>
                  </a:cubicBezTo>
                  <a:cubicBezTo>
                    <a:pt x="4032" y="10442"/>
                    <a:pt x="4097" y="10625"/>
                    <a:pt x="4140" y="10739"/>
                  </a:cubicBezTo>
                  <a:cubicBezTo>
                    <a:pt x="4178" y="10852"/>
                    <a:pt x="4255" y="11021"/>
                    <a:pt x="4314" y="11113"/>
                  </a:cubicBezTo>
                  <a:cubicBezTo>
                    <a:pt x="4373" y="11205"/>
                    <a:pt x="4420" y="11326"/>
                    <a:pt x="4420" y="11383"/>
                  </a:cubicBezTo>
                  <a:cubicBezTo>
                    <a:pt x="4420" y="11439"/>
                    <a:pt x="4475" y="11591"/>
                    <a:pt x="4542" y="11719"/>
                  </a:cubicBezTo>
                  <a:cubicBezTo>
                    <a:pt x="4608" y="11848"/>
                    <a:pt x="4676" y="11998"/>
                    <a:pt x="4676" y="12052"/>
                  </a:cubicBezTo>
                  <a:cubicBezTo>
                    <a:pt x="4681" y="12107"/>
                    <a:pt x="4677" y="12194"/>
                    <a:pt x="4663" y="12247"/>
                  </a:cubicBezTo>
                  <a:cubicBezTo>
                    <a:pt x="4648" y="12300"/>
                    <a:pt x="4649" y="12374"/>
                    <a:pt x="4663" y="12413"/>
                  </a:cubicBezTo>
                  <a:cubicBezTo>
                    <a:pt x="4678" y="12451"/>
                    <a:pt x="4703" y="12548"/>
                    <a:pt x="4724" y="12629"/>
                  </a:cubicBezTo>
                  <a:cubicBezTo>
                    <a:pt x="4740" y="12711"/>
                    <a:pt x="4790" y="12903"/>
                    <a:pt x="4837" y="13056"/>
                  </a:cubicBezTo>
                  <a:cubicBezTo>
                    <a:pt x="4871" y="13212"/>
                    <a:pt x="4919" y="13389"/>
                    <a:pt x="4919" y="13451"/>
                  </a:cubicBezTo>
                  <a:cubicBezTo>
                    <a:pt x="4919" y="13514"/>
                    <a:pt x="4911" y="13606"/>
                    <a:pt x="4890" y="13657"/>
                  </a:cubicBezTo>
                  <a:cubicBezTo>
                    <a:pt x="4874" y="13707"/>
                    <a:pt x="4816" y="13794"/>
                    <a:pt x="4779" y="13850"/>
                  </a:cubicBezTo>
                  <a:cubicBezTo>
                    <a:pt x="4735" y="13905"/>
                    <a:pt x="4694" y="13978"/>
                    <a:pt x="4694" y="14011"/>
                  </a:cubicBezTo>
                  <a:cubicBezTo>
                    <a:pt x="4689" y="14043"/>
                    <a:pt x="4700" y="14077"/>
                    <a:pt x="4720" y="14077"/>
                  </a:cubicBezTo>
                  <a:cubicBezTo>
                    <a:pt x="4736" y="14084"/>
                    <a:pt x="4771" y="14110"/>
                    <a:pt x="4794" y="14141"/>
                  </a:cubicBezTo>
                  <a:cubicBezTo>
                    <a:pt x="4814" y="14173"/>
                    <a:pt x="4821" y="14220"/>
                    <a:pt x="4806" y="14248"/>
                  </a:cubicBezTo>
                  <a:cubicBezTo>
                    <a:pt x="4793" y="14276"/>
                    <a:pt x="4743" y="14294"/>
                    <a:pt x="4700" y="14294"/>
                  </a:cubicBezTo>
                  <a:cubicBezTo>
                    <a:pt x="4658" y="14289"/>
                    <a:pt x="4604" y="14304"/>
                    <a:pt x="4583" y="14324"/>
                  </a:cubicBezTo>
                  <a:cubicBezTo>
                    <a:pt x="4555" y="14342"/>
                    <a:pt x="4538" y="14382"/>
                    <a:pt x="4543" y="14408"/>
                  </a:cubicBezTo>
                  <a:cubicBezTo>
                    <a:pt x="4543" y="14434"/>
                    <a:pt x="4564" y="14537"/>
                    <a:pt x="4595" y="14636"/>
                  </a:cubicBezTo>
                  <a:cubicBezTo>
                    <a:pt x="4620" y="14736"/>
                    <a:pt x="4669" y="14847"/>
                    <a:pt x="4692" y="14884"/>
                  </a:cubicBezTo>
                  <a:cubicBezTo>
                    <a:pt x="4725" y="14919"/>
                    <a:pt x="4735" y="14984"/>
                    <a:pt x="4740" y="15025"/>
                  </a:cubicBezTo>
                  <a:cubicBezTo>
                    <a:pt x="4740" y="15065"/>
                    <a:pt x="4776" y="15155"/>
                    <a:pt x="4810" y="15225"/>
                  </a:cubicBezTo>
                  <a:cubicBezTo>
                    <a:pt x="4851" y="15294"/>
                    <a:pt x="4893" y="15409"/>
                    <a:pt x="4907" y="15478"/>
                  </a:cubicBezTo>
                  <a:cubicBezTo>
                    <a:pt x="4927" y="15546"/>
                    <a:pt x="4954" y="15622"/>
                    <a:pt x="4971" y="15645"/>
                  </a:cubicBezTo>
                  <a:cubicBezTo>
                    <a:pt x="4990" y="15667"/>
                    <a:pt x="5028" y="15691"/>
                    <a:pt x="5056" y="15688"/>
                  </a:cubicBezTo>
                  <a:cubicBezTo>
                    <a:pt x="5085" y="15688"/>
                    <a:pt x="5120" y="15716"/>
                    <a:pt x="5130" y="15749"/>
                  </a:cubicBezTo>
                  <a:cubicBezTo>
                    <a:pt x="5139" y="15782"/>
                    <a:pt x="5204" y="15827"/>
                    <a:pt x="5263" y="15853"/>
                  </a:cubicBezTo>
                  <a:cubicBezTo>
                    <a:pt x="5329" y="15874"/>
                    <a:pt x="5407" y="15887"/>
                    <a:pt x="5449" y="15878"/>
                  </a:cubicBezTo>
                  <a:cubicBezTo>
                    <a:pt x="5491" y="15868"/>
                    <a:pt x="5541" y="15865"/>
                    <a:pt x="5566" y="15871"/>
                  </a:cubicBezTo>
                  <a:cubicBezTo>
                    <a:pt x="5590" y="15878"/>
                    <a:pt x="5594" y="15910"/>
                    <a:pt x="5580" y="15945"/>
                  </a:cubicBezTo>
                  <a:cubicBezTo>
                    <a:pt x="5564" y="15979"/>
                    <a:pt x="5556" y="16026"/>
                    <a:pt x="5552" y="16051"/>
                  </a:cubicBezTo>
                  <a:cubicBezTo>
                    <a:pt x="5557" y="16076"/>
                    <a:pt x="5601" y="16113"/>
                    <a:pt x="5642" y="16143"/>
                  </a:cubicBezTo>
                  <a:cubicBezTo>
                    <a:pt x="5696" y="16166"/>
                    <a:pt x="5775" y="16246"/>
                    <a:pt x="5825" y="16316"/>
                  </a:cubicBezTo>
                  <a:cubicBezTo>
                    <a:pt x="5890" y="16382"/>
                    <a:pt x="5951" y="16506"/>
                    <a:pt x="5989" y="16585"/>
                  </a:cubicBezTo>
                  <a:cubicBezTo>
                    <a:pt x="6035" y="16663"/>
                    <a:pt x="6083" y="16781"/>
                    <a:pt x="6116" y="16846"/>
                  </a:cubicBezTo>
                  <a:cubicBezTo>
                    <a:pt x="6147" y="16910"/>
                    <a:pt x="6206" y="16982"/>
                    <a:pt x="6248" y="17004"/>
                  </a:cubicBezTo>
                  <a:cubicBezTo>
                    <a:pt x="6290" y="17027"/>
                    <a:pt x="6331" y="17033"/>
                    <a:pt x="6352" y="17033"/>
                  </a:cubicBezTo>
                  <a:cubicBezTo>
                    <a:pt x="6369" y="17026"/>
                    <a:pt x="6411" y="17042"/>
                    <a:pt x="6456" y="17065"/>
                  </a:cubicBezTo>
                  <a:cubicBezTo>
                    <a:pt x="6493" y="17091"/>
                    <a:pt x="6551" y="17114"/>
                    <a:pt x="6577" y="17119"/>
                  </a:cubicBezTo>
                  <a:cubicBezTo>
                    <a:pt x="6604" y="17119"/>
                    <a:pt x="6681" y="17168"/>
                    <a:pt x="6769" y="17209"/>
                  </a:cubicBezTo>
                  <a:cubicBezTo>
                    <a:pt x="6852" y="17253"/>
                    <a:pt x="6943" y="17294"/>
                    <a:pt x="6973" y="17300"/>
                  </a:cubicBezTo>
                  <a:cubicBezTo>
                    <a:pt x="7005" y="17300"/>
                    <a:pt x="7041" y="17291"/>
                    <a:pt x="7046" y="17269"/>
                  </a:cubicBezTo>
                  <a:cubicBezTo>
                    <a:pt x="7059" y="17249"/>
                    <a:pt x="7081" y="17229"/>
                    <a:pt x="7104" y="17229"/>
                  </a:cubicBezTo>
                  <a:cubicBezTo>
                    <a:pt x="7127" y="17229"/>
                    <a:pt x="7161" y="17255"/>
                    <a:pt x="7183" y="17289"/>
                  </a:cubicBezTo>
                  <a:cubicBezTo>
                    <a:pt x="7206" y="17322"/>
                    <a:pt x="7311" y="17465"/>
                    <a:pt x="7419" y="17606"/>
                  </a:cubicBezTo>
                  <a:cubicBezTo>
                    <a:pt x="7534" y="17746"/>
                    <a:pt x="7646" y="17866"/>
                    <a:pt x="7670" y="17876"/>
                  </a:cubicBezTo>
                  <a:cubicBezTo>
                    <a:pt x="7697" y="17884"/>
                    <a:pt x="7768" y="17963"/>
                    <a:pt x="7840" y="18049"/>
                  </a:cubicBezTo>
                  <a:cubicBezTo>
                    <a:pt x="7904" y="18138"/>
                    <a:pt x="8039" y="18254"/>
                    <a:pt x="8135" y="18308"/>
                  </a:cubicBezTo>
                  <a:cubicBezTo>
                    <a:pt x="8234" y="18361"/>
                    <a:pt x="8399" y="18427"/>
                    <a:pt x="8507" y="18455"/>
                  </a:cubicBezTo>
                  <a:cubicBezTo>
                    <a:pt x="8615" y="18482"/>
                    <a:pt x="8746" y="18535"/>
                    <a:pt x="8805" y="18572"/>
                  </a:cubicBezTo>
                  <a:cubicBezTo>
                    <a:pt x="8857" y="18611"/>
                    <a:pt x="8930" y="18690"/>
                    <a:pt x="8961" y="18750"/>
                  </a:cubicBezTo>
                  <a:cubicBezTo>
                    <a:pt x="8994" y="18809"/>
                    <a:pt x="9071" y="18863"/>
                    <a:pt x="9131" y="18876"/>
                  </a:cubicBezTo>
                  <a:cubicBezTo>
                    <a:pt x="9191" y="18888"/>
                    <a:pt x="9298" y="18923"/>
                    <a:pt x="9355" y="18963"/>
                  </a:cubicBezTo>
                  <a:cubicBezTo>
                    <a:pt x="9416" y="19002"/>
                    <a:pt x="9495" y="19023"/>
                    <a:pt x="9521" y="19006"/>
                  </a:cubicBezTo>
                  <a:cubicBezTo>
                    <a:pt x="9556" y="18994"/>
                    <a:pt x="9599" y="18989"/>
                    <a:pt x="9603" y="19003"/>
                  </a:cubicBezTo>
                  <a:cubicBezTo>
                    <a:pt x="9623" y="19014"/>
                    <a:pt x="9660" y="19082"/>
                    <a:pt x="9693" y="19148"/>
                  </a:cubicBezTo>
                  <a:cubicBezTo>
                    <a:pt x="9733" y="19214"/>
                    <a:pt x="9803" y="19302"/>
                    <a:pt x="9868" y="19336"/>
                  </a:cubicBezTo>
                  <a:cubicBezTo>
                    <a:pt x="9932" y="19370"/>
                    <a:pt x="10009" y="19406"/>
                    <a:pt x="10045" y="19414"/>
                  </a:cubicBezTo>
                  <a:cubicBezTo>
                    <a:pt x="10085" y="19419"/>
                    <a:pt x="10127" y="19416"/>
                    <a:pt x="10147" y="19416"/>
                  </a:cubicBezTo>
                  <a:cubicBezTo>
                    <a:pt x="10161" y="19409"/>
                    <a:pt x="10216" y="19437"/>
                    <a:pt x="10262" y="19472"/>
                  </a:cubicBezTo>
                  <a:cubicBezTo>
                    <a:pt x="10305" y="19509"/>
                    <a:pt x="10423" y="19574"/>
                    <a:pt x="10506" y="19623"/>
                  </a:cubicBezTo>
                  <a:cubicBezTo>
                    <a:pt x="10594" y="19670"/>
                    <a:pt x="10733" y="19712"/>
                    <a:pt x="10814" y="19717"/>
                  </a:cubicBezTo>
                  <a:cubicBezTo>
                    <a:pt x="10895" y="19723"/>
                    <a:pt x="11021" y="19761"/>
                    <a:pt x="11082" y="19808"/>
                  </a:cubicBezTo>
                  <a:cubicBezTo>
                    <a:pt x="11150" y="19853"/>
                    <a:pt x="11298" y="19943"/>
                    <a:pt x="11425" y="20000"/>
                  </a:cubicBezTo>
                  <a:cubicBezTo>
                    <a:pt x="11541" y="20065"/>
                    <a:pt x="11690" y="20109"/>
                    <a:pt x="11737" y="20106"/>
                  </a:cubicBezTo>
                  <a:cubicBezTo>
                    <a:pt x="11786" y="20106"/>
                    <a:pt x="11920" y="20057"/>
                    <a:pt x="12040" y="20000"/>
                  </a:cubicBezTo>
                  <a:cubicBezTo>
                    <a:pt x="12156" y="19941"/>
                    <a:pt x="12302" y="19889"/>
                    <a:pt x="12353" y="19894"/>
                  </a:cubicBezTo>
                  <a:cubicBezTo>
                    <a:pt x="12406" y="19894"/>
                    <a:pt x="12501" y="19850"/>
                    <a:pt x="12564" y="19800"/>
                  </a:cubicBezTo>
                  <a:cubicBezTo>
                    <a:pt x="12634" y="19753"/>
                    <a:pt x="12721" y="19705"/>
                    <a:pt x="12769" y="19695"/>
                  </a:cubicBezTo>
                  <a:cubicBezTo>
                    <a:pt x="12818" y="19686"/>
                    <a:pt x="12912" y="19685"/>
                    <a:pt x="12972" y="19675"/>
                  </a:cubicBezTo>
                  <a:cubicBezTo>
                    <a:pt x="13035" y="19672"/>
                    <a:pt x="13110" y="19670"/>
                    <a:pt x="13132" y="19679"/>
                  </a:cubicBezTo>
                  <a:cubicBezTo>
                    <a:pt x="13160" y="19676"/>
                    <a:pt x="13177" y="19674"/>
                    <a:pt x="13177" y="19657"/>
                  </a:cubicBezTo>
                  <a:cubicBezTo>
                    <a:pt x="13177" y="19640"/>
                    <a:pt x="13134" y="19616"/>
                    <a:pt x="13084" y="19606"/>
                  </a:cubicBezTo>
                  <a:cubicBezTo>
                    <a:pt x="13037" y="19592"/>
                    <a:pt x="12957" y="19590"/>
                    <a:pt x="12919" y="19582"/>
                  </a:cubicBezTo>
                  <a:cubicBezTo>
                    <a:pt x="12877" y="19584"/>
                    <a:pt x="12848" y="19555"/>
                    <a:pt x="12843" y="19528"/>
                  </a:cubicBezTo>
                  <a:cubicBezTo>
                    <a:pt x="12843" y="19500"/>
                    <a:pt x="12880" y="19446"/>
                    <a:pt x="12938" y="19412"/>
                  </a:cubicBezTo>
                  <a:cubicBezTo>
                    <a:pt x="12986" y="19374"/>
                    <a:pt x="13056" y="19354"/>
                    <a:pt x="13069" y="19368"/>
                  </a:cubicBezTo>
                  <a:cubicBezTo>
                    <a:pt x="13089" y="19379"/>
                    <a:pt x="13113" y="19415"/>
                    <a:pt x="13108" y="19447"/>
                  </a:cubicBezTo>
                  <a:cubicBezTo>
                    <a:pt x="13113" y="19480"/>
                    <a:pt x="13134" y="19490"/>
                    <a:pt x="13165" y="19473"/>
                  </a:cubicBezTo>
                  <a:cubicBezTo>
                    <a:pt x="13196" y="19457"/>
                    <a:pt x="13248" y="19438"/>
                    <a:pt x="13279" y="19444"/>
                  </a:cubicBezTo>
                  <a:cubicBezTo>
                    <a:pt x="13311" y="19444"/>
                    <a:pt x="13342" y="19468"/>
                    <a:pt x="13342" y="19494"/>
                  </a:cubicBezTo>
                  <a:cubicBezTo>
                    <a:pt x="13346" y="19520"/>
                    <a:pt x="13319" y="19535"/>
                    <a:pt x="13299" y="19543"/>
                  </a:cubicBezTo>
                  <a:cubicBezTo>
                    <a:pt x="13278" y="19536"/>
                    <a:pt x="13247" y="19555"/>
                    <a:pt x="13235" y="19567"/>
                  </a:cubicBezTo>
                  <a:cubicBezTo>
                    <a:pt x="13228" y="19579"/>
                    <a:pt x="13237" y="19597"/>
                    <a:pt x="13252" y="19610"/>
                  </a:cubicBezTo>
                  <a:cubicBezTo>
                    <a:pt x="13272" y="19621"/>
                    <a:pt x="13316" y="19633"/>
                    <a:pt x="13352" y="19630"/>
                  </a:cubicBezTo>
                  <a:cubicBezTo>
                    <a:pt x="13386" y="19638"/>
                    <a:pt x="13457" y="19648"/>
                    <a:pt x="13504" y="19670"/>
                  </a:cubicBezTo>
                  <a:cubicBezTo>
                    <a:pt x="13553" y="19691"/>
                    <a:pt x="13663" y="19758"/>
                    <a:pt x="13739" y="19823"/>
                  </a:cubicBezTo>
                  <a:cubicBezTo>
                    <a:pt x="13822" y="19885"/>
                    <a:pt x="13925" y="19966"/>
                    <a:pt x="13959" y="20006"/>
                  </a:cubicBezTo>
                  <a:cubicBezTo>
                    <a:pt x="13999" y="20043"/>
                    <a:pt x="14026" y="20061"/>
                    <a:pt x="14026" y="20044"/>
                  </a:cubicBezTo>
                  <a:cubicBezTo>
                    <a:pt x="14020" y="20028"/>
                    <a:pt x="13970" y="19954"/>
                    <a:pt x="13905" y="19882"/>
                  </a:cubicBezTo>
                  <a:cubicBezTo>
                    <a:pt x="13840" y="19810"/>
                    <a:pt x="13716" y="19713"/>
                    <a:pt x="13630" y="19665"/>
                  </a:cubicBezTo>
                  <a:cubicBezTo>
                    <a:pt x="13543" y="19618"/>
                    <a:pt x="13470" y="19564"/>
                    <a:pt x="13465" y="19547"/>
                  </a:cubicBezTo>
                  <a:cubicBezTo>
                    <a:pt x="13461" y="19530"/>
                    <a:pt x="13470" y="19513"/>
                    <a:pt x="13489" y="19513"/>
                  </a:cubicBezTo>
                  <a:cubicBezTo>
                    <a:pt x="13507" y="19513"/>
                    <a:pt x="13525" y="19522"/>
                    <a:pt x="13540" y="19531"/>
                  </a:cubicBezTo>
                  <a:cubicBezTo>
                    <a:pt x="13548" y="19543"/>
                    <a:pt x="13600" y="19562"/>
                    <a:pt x="13650" y="19575"/>
                  </a:cubicBezTo>
                  <a:cubicBezTo>
                    <a:pt x="13701" y="19588"/>
                    <a:pt x="13778" y="19639"/>
                    <a:pt x="13829" y="19685"/>
                  </a:cubicBezTo>
                  <a:cubicBezTo>
                    <a:pt x="13878" y="19733"/>
                    <a:pt x="13956" y="19827"/>
                    <a:pt x="14007" y="19894"/>
                  </a:cubicBezTo>
                  <a:cubicBezTo>
                    <a:pt x="14055" y="19963"/>
                    <a:pt x="14102" y="20038"/>
                    <a:pt x="14102" y="20064"/>
                  </a:cubicBezTo>
                  <a:cubicBezTo>
                    <a:pt x="14106" y="20090"/>
                    <a:pt x="14119" y="20142"/>
                    <a:pt x="14152" y="20177"/>
                  </a:cubicBezTo>
                  <a:cubicBezTo>
                    <a:pt x="14175" y="20212"/>
                    <a:pt x="14351" y="20393"/>
                    <a:pt x="14553" y="20574"/>
                  </a:cubicBezTo>
                  <a:cubicBezTo>
                    <a:pt x="14745" y="20758"/>
                    <a:pt x="14955" y="20930"/>
                    <a:pt x="15018" y="20949"/>
                  </a:cubicBezTo>
                  <a:cubicBezTo>
                    <a:pt x="15081" y="20969"/>
                    <a:pt x="15130" y="21020"/>
                    <a:pt x="15145" y="21055"/>
                  </a:cubicBezTo>
                  <a:cubicBezTo>
                    <a:pt x="15149" y="21090"/>
                    <a:pt x="15237" y="21173"/>
                    <a:pt x="15312" y="21245"/>
                  </a:cubicBezTo>
                  <a:cubicBezTo>
                    <a:pt x="15389" y="21316"/>
                    <a:pt x="15500" y="21421"/>
                    <a:pt x="15546" y="21482"/>
                  </a:cubicBezTo>
                  <a:cubicBezTo>
                    <a:pt x="15597" y="21541"/>
                    <a:pt x="15640" y="21585"/>
                    <a:pt x="15647" y="21577"/>
                  </a:cubicBezTo>
                  <a:cubicBezTo>
                    <a:pt x="15657" y="21569"/>
                    <a:pt x="15670" y="21537"/>
                    <a:pt x="15676" y="21504"/>
                  </a:cubicBezTo>
                  <a:cubicBezTo>
                    <a:pt x="15692" y="21473"/>
                    <a:pt x="15702" y="21428"/>
                    <a:pt x="15729" y="21409"/>
                  </a:cubicBezTo>
                  <a:cubicBezTo>
                    <a:pt x="15754" y="21390"/>
                    <a:pt x="15770" y="21352"/>
                    <a:pt x="15770" y="21326"/>
                  </a:cubicBezTo>
                  <a:cubicBezTo>
                    <a:pt x="15770" y="21300"/>
                    <a:pt x="15760" y="21272"/>
                    <a:pt x="15755" y="21264"/>
                  </a:cubicBezTo>
                  <a:cubicBezTo>
                    <a:pt x="15750" y="21255"/>
                    <a:pt x="15727" y="21229"/>
                    <a:pt x="15716" y="21204"/>
                  </a:cubicBezTo>
                  <a:cubicBezTo>
                    <a:pt x="15703" y="21180"/>
                    <a:pt x="15689" y="21134"/>
                    <a:pt x="15694" y="21103"/>
                  </a:cubicBezTo>
                  <a:cubicBezTo>
                    <a:pt x="15684" y="21074"/>
                    <a:pt x="15692" y="21036"/>
                    <a:pt x="15686" y="21020"/>
                  </a:cubicBezTo>
                  <a:cubicBezTo>
                    <a:pt x="15679" y="21005"/>
                    <a:pt x="15668" y="20952"/>
                    <a:pt x="15658" y="20903"/>
                  </a:cubicBezTo>
                  <a:cubicBezTo>
                    <a:pt x="15649" y="20853"/>
                    <a:pt x="15755" y="20586"/>
                    <a:pt x="15889" y="20306"/>
                  </a:cubicBezTo>
                  <a:cubicBezTo>
                    <a:pt x="16029" y="20026"/>
                    <a:pt x="16430" y="19807"/>
                    <a:pt x="16782" y="19823"/>
                  </a:cubicBezTo>
                  <a:cubicBezTo>
                    <a:pt x="17138" y="19836"/>
                    <a:pt x="17446" y="19818"/>
                    <a:pt x="17480" y="19786"/>
                  </a:cubicBezTo>
                  <a:cubicBezTo>
                    <a:pt x="17502" y="19751"/>
                    <a:pt x="17519" y="19691"/>
                    <a:pt x="17519" y="19651"/>
                  </a:cubicBezTo>
                  <a:cubicBezTo>
                    <a:pt x="17514" y="19611"/>
                    <a:pt x="17480" y="19564"/>
                    <a:pt x="17453" y="19542"/>
                  </a:cubicBezTo>
                  <a:cubicBezTo>
                    <a:pt x="17418" y="19523"/>
                    <a:pt x="17354" y="19504"/>
                    <a:pt x="17308" y="19495"/>
                  </a:cubicBezTo>
                  <a:cubicBezTo>
                    <a:pt x="17259" y="19493"/>
                    <a:pt x="17205" y="19465"/>
                    <a:pt x="17182" y="19441"/>
                  </a:cubicBezTo>
                  <a:cubicBezTo>
                    <a:pt x="17165" y="19416"/>
                    <a:pt x="17138" y="19361"/>
                    <a:pt x="17127" y="19316"/>
                  </a:cubicBezTo>
                  <a:cubicBezTo>
                    <a:pt x="17117" y="19271"/>
                    <a:pt x="17087" y="19202"/>
                    <a:pt x="17067" y="19158"/>
                  </a:cubicBezTo>
                  <a:cubicBezTo>
                    <a:pt x="17037" y="19118"/>
                    <a:pt x="16995" y="19086"/>
                    <a:pt x="16966" y="19080"/>
                  </a:cubicBezTo>
                  <a:cubicBezTo>
                    <a:pt x="16935" y="19080"/>
                    <a:pt x="16872" y="19050"/>
                    <a:pt x="16825" y="19017"/>
                  </a:cubicBezTo>
                  <a:cubicBezTo>
                    <a:pt x="16776" y="18984"/>
                    <a:pt x="16703" y="18903"/>
                    <a:pt x="16652" y="18841"/>
                  </a:cubicBezTo>
                  <a:cubicBezTo>
                    <a:pt x="16603" y="18779"/>
                    <a:pt x="16554" y="18700"/>
                    <a:pt x="16534" y="18670"/>
                  </a:cubicBezTo>
                  <a:cubicBezTo>
                    <a:pt x="16520" y="18638"/>
                    <a:pt x="16465" y="18581"/>
                    <a:pt x="16425" y="18542"/>
                  </a:cubicBezTo>
                  <a:cubicBezTo>
                    <a:pt x="16379" y="18503"/>
                    <a:pt x="16441" y="18469"/>
                    <a:pt x="16555" y="18458"/>
                  </a:cubicBezTo>
                  <a:cubicBezTo>
                    <a:pt x="16670" y="18452"/>
                    <a:pt x="16767" y="18315"/>
                    <a:pt x="16767" y="18155"/>
                  </a:cubicBezTo>
                  <a:cubicBezTo>
                    <a:pt x="16767" y="17997"/>
                    <a:pt x="17156" y="17889"/>
                    <a:pt x="17638" y="17907"/>
                  </a:cubicBezTo>
                  <a:cubicBezTo>
                    <a:pt x="17645" y="17907"/>
                    <a:pt x="17652" y="17907"/>
                    <a:pt x="17659" y="17907"/>
                  </a:cubicBezTo>
                  <a:cubicBezTo>
                    <a:pt x="18156" y="17937"/>
                    <a:pt x="18576" y="17915"/>
                    <a:pt x="18571" y="17869"/>
                  </a:cubicBezTo>
                  <a:cubicBezTo>
                    <a:pt x="18576" y="17825"/>
                    <a:pt x="18596" y="17769"/>
                    <a:pt x="18628" y="17749"/>
                  </a:cubicBezTo>
                  <a:cubicBezTo>
                    <a:pt x="18657" y="17726"/>
                    <a:pt x="18718" y="17710"/>
                    <a:pt x="18760" y="17716"/>
                  </a:cubicBezTo>
                  <a:cubicBezTo>
                    <a:pt x="18802" y="17721"/>
                    <a:pt x="18845" y="17741"/>
                    <a:pt x="18845" y="17766"/>
                  </a:cubicBezTo>
                  <a:cubicBezTo>
                    <a:pt x="18850" y="17790"/>
                    <a:pt x="18864" y="17817"/>
                    <a:pt x="18877" y="17827"/>
                  </a:cubicBezTo>
                  <a:cubicBezTo>
                    <a:pt x="18897" y="17834"/>
                    <a:pt x="18908" y="17832"/>
                    <a:pt x="18920" y="17817"/>
                  </a:cubicBezTo>
                  <a:cubicBezTo>
                    <a:pt x="18928" y="17801"/>
                    <a:pt x="18955" y="17779"/>
                    <a:pt x="18979" y="17779"/>
                  </a:cubicBezTo>
                  <a:cubicBezTo>
                    <a:pt x="19002" y="17776"/>
                    <a:pt x="19019" y="17759"/>
                    <a:pt x="19023" y="17746"/>
                  </a:cubicBezTo>
                  <a:cubicBezTo>
                    <a:pt x="19031" y="17734"/>
                    <a:pt x="19058" y="17680"/>
                    <a:pt x="19090" y="17626"/>
                  </a:cubicBezTo>
                  <a:cubicBezTo>
                    <a:pt x="19126" y="17574"/>
                    <a:pt x="19158" y="17493"/>
                    <a:pt x="19169" y="17447"/>
                  </a:cubicBezTo>
                  <a:cubicBezTo>
                    <a:pt x="19178" y="17400"/>
                    <a:pt x="19195" y="17343"/>
                    <a:pt x="19207" y="17318"/>
                  </a:cubicBezTo>
                  <a:cubicBezTo>
                    <a:pt x="19218" y="17294"/>
                    <a:pt x="19258" y="17266"/>
                    <a:pt x="19290" y="17251"/>
                  </a:cubicBezTo>
                  <a:cubicBezTo>
                    <a:pt x="19328" y="17242"/>
                    <a:pt x="19372" y="17229"/>
                    <a:pt x="19393" y="17233"/>
                  </a:cubicBezTo>
                  <a:cubicBezTo>
                    <a:pt x="19415" y="17233"/>
                    <a:pt x="19433" y="17234"/>
                    <a:pt x="19431" y="17234"/>
                  </a:cubicBezTo>
                  <a:cubicBezTo>
                    <a:pt x="19432" y="17234"/>
                    <a:pt x="19469" y="17194"/>
                    <a:pt x="19519" y="17149"/>
                  </a:cubicBezTo>
                  <a:cubicBezTo>
                    <a:pt x="19565" y="17103"/>
                    <a:pt x="19656" y="17002"/>
                    <a:pt x="19720" y="16925"/>
                  </a:cubicBezTo>
                  <a:cubicBezTo>
                    <a:pt x="19782" y="16849"/>
                    <a:pt x="19857" y="16776"/>
                    <a:pt x="19893" y="16767"/>
                  </a:cubicBezTo>
                  <a:cubicBezTo>
                    <a:pt x="19923" y="16753"/>
                    <a:pt x="19953" y="16799"/>
                    <a:pt x="19948" y="16862"/>
                  </a:cubicBezTo>
                  <a:cubicBezTo>
                    <a:pt x="19943" y="16926"/>
                    <a:pt x="19924" y="17002"/>
                    <a:pt x="19893" y="17029"/>
                  </a:cubicBezTo>
                  <a:cubicBezTo>
                    <a:pt x="19865" y="17057"/>
                    <a:pt x="19846" y="17095"/>
                    <a:pt x="19850" y="17114"/>
                  </a:cubicBezTo>
                  <a:cubicBezTo>
                    <a:pt x="19850" y="17132"/>
                    <a:pt x="19910" y="17184"/>
                    <a:pt x="19981" y="17228"/>
                  </a:cubicBezTo>
                  <a:cubicBezTo>
                    <a:pt x="20044" y="17274"/>
                    <a:pt x="20130" y="17358"/>
                    <a:pt x="20156" y="17417"/>
                  </a:cubicBezTo>
                  <a:cubicBezTo>
                    <a:pt x="20183" y="17476"/>
                    <a:pt x="20215" y="17513"/>
                    <a:pt x="20227" y="17500"/>
                  </a:cubicBezTo>
                  <a:cubicBezTo>
                    <a:pt x="20236" y="17486"/>
                    <a:pt x="20304" y="17396"/>
                    <a:pt x="20344" y="17294"/>
                  </a:cubicBezTo>
                  <a:cubicBezTo>
                    <a:pt x="20401" y="17195"/>
                    <a:pt x="20475" y="16953"/>
                    <a:pt x="20509" y="16757"/>
                  </a:cubicBezTo>
                  <a:cubicBezTo>
                    <a:pt x="20549" y="16563"/>
                    <a:pt x="20604" y="16359"/>
                    <a:pt x="20634" y="16309"/>
                  </a:cubicBezTo>
                  <a:cubicBezTo>
                    <a:pt x="20660" y="16256"/>
                    <a:pt x="20661" y="16215"/>
                    <a:pt x="20635" y="16222"/>
                  </a:cubicBezTo>
                  <a:cubicBezTo>
                    <a:pt x="20605" y="16222"/>
                    <a:pt x="20558" y="16254"/>
                    <a:pt x="20529" y="16285"/>
                  </a:cubicBezTo>
                  <a:cubicBezTo>
                    <a:pt x="20502" y="16317"/>
                    <a:pt x="20456" y="16329"/>
                    <a:pt x="20427" y="16316"/>
                  </a:cubicBezTo>
                  <a:cubicBezTo>
                    <a:pt x="20397" y="16304"/>
                    <a:pt x="20376" y="16270"/>
                    <a:pt x="20376" y="16245"/>
                  </a:cubicBezTo>
                  <a:cubicBezTo>
                    <a:pt x="20381" y="16221"/>
                    <a:pt x="20427" y="16140"/>
                    <a:pt x="20494" y="16067"/>
                  </a:cubicBezTo>
                  <a:cubicBezTo>
                    <a:pt x="20551" y="15991"/>
                    <a:pt x="20613" y="15896"/>
                    <a:pt x="20629" y="15851"/>
                  </a:cubicBezTo>
                  <a:cubicBezTo>
                    <a:pt x="20642" y="15807"/>
                    <a:pt x="20605" y="15766"/>
                    <a:pt x="20554" y="15768"/>
                  </a:cubicBezTo>
                  <a:cubicBezTo>
                    <a:pt x="20504" y="15768"/>
                    <a:pt x="20432" y="15737"/>
                    <a:pt x="20389" y="15703"/>
                  </a:cubicBezTo>
                  <a:cubicBezTo>
                    <a:pt x="20349" y="15668"/>
                    <a:pt x="20334" y="15622"/>
                    <a:pt x="20349" y="15600"/>
                  </a:cubicBezTo>
                  <a:cubicBezTo>
                    <a:pt x="20368" y="15578"/>
                    <a:pt x="20425" y="15525"/>
                    <a:pt x="20489" y="15491"/>
                  </a:cubicBezTo>
                  <a:cubicBezTo>
                    <a:pt x="20556" y="15459"/>
                    <a:pt x="20607" y="15355"/>
                    <a:pt x="20602" y="15271"/>
                  </a:cubicBezTo>
                  <a:cubicBezTo>
                    <a:pt x="20617" y="15187"/>
                    <a:pt x="20629" y="15082"/>
                    <a:pt x="20656" y="15037"/>
                  </a:cubicBezTo>
                  <a:cubicBezTo>
                    <a:pt x="20682" y="14992"/>
                    <a:pt x="20814" y="14856"/>
                    <a:pt x="20941" y="14732"/>
                  </a:cubicBezTo>
                  <a:cubicBezTo>
                    <a:pt x="21076" y="14609"/>
                    <a:pt x="21232" y="14411"/>
                    <a:pt x="21303" y="14294"/>
                  </a:cubicBezTo>
                  <a:cubicBezTo>
                    <a:pt x="21368" y="14175"/>
                    <a:pt x="21466" y="14015"/>
                    <a:pt x="21513" y="13936"/>
                  </a:cubicBezTo>
                  <a:cubicBezTo>
                    <a:pt x="21564" y="13857"/>
                    <a:pt x="21596" y="13735"/>
                    <a:pt x="21591" y="13665"/>
                  </a:cubicBezTo>
                  <a:cubicBezTo>
                    <a:pt x="21581" y="13596"/>
                    <a:pt x="21509" y="13442"/>
                    <a:pt x="21413" y="13326"/>
                  </a:cubicBezTo>
                  <a:cubicBezTo>
                    <a:pt x="21324" y="13209"/>
                    <a:pt x="21199" y="13115"/>
                    <a:pt x="21141" y="13122"/>
                  </a:cubicBezTo>
                  <a:cubicBezTo>
                    <a:pt x="21083" y="13122"/>
                    <a:pt x="21052" y="13160"/>
                    <a:pt x="21061" y="13197"/>
                  </a:cubicBezTo>
                  <a:cubicBezTo>
                    <a:pt x="21075" y="13232"/>
                    <a:pt x="21055" y="13272"/>
                    <a:pt x="21021" y="13287"/>
                  </a:cubicBezTo>
                  <a:cubicBezTo>
                    <a:pt x="20981" y="13295"/>
                    <a:pt x="20840" y="13282"/>
                    <a:pt x="20699" y="13244"/>
                  </a:cubicBezTo>
                  <a:cubicBezTo>
                    <a:pt x="20556" y="13209"/>
                    <a:pt x="20345" y="13185"/>
                    <a:pt x="20227" y="13185"/>
                  </a:cubicBezTo>
                  <a:cubicBezTo>
                    <a:pt x="20110" y="13193"/>
                    <a:pt x="20017" y="13217"/>
                    <a:pt x="20021" y="13250"/>
                  </a:cubicBezTo>
                  <a:cubicBezTo>
                    <a:pt x="20021" y="13282"/>
                    <a:pt x="19969" y="13336"/>
                    <a:pt x="19896" y="13372"/>
                  </a:cubicBezTo>
                  <a:cubicBezTo>
                    <a:pt x="19826" y="13410"/>
                    <a:pt x="19741" y="13415"/>
                    <a:pt x="19715" y="13388"/>
                  </a:cubicBezTo>
                  <a:cubicBezTo>
                    <a:pt x="19692" y="13360"/>
                    <a:pt x="19608" y="13346"/>
                    <a:pt x="19534" y="13354"/>
                  </a:cubicBezTo>
                  <a:cubicBezTo>
                    <a:pt x="19460" y="13359"/>
                    <a:pt x="19364" y="13420"/>
                    <a:pt x="19325" y="13484"/>
                  </a:cubicBezTo>
                  <a:cubicBezTo>
                    <a:pt x="19278" y="13545"/>
                    <a:pt x="19042" y="13592"/>
                    <a:pt x="18792" y="13586"/>
                  </a:cubicBezTo>
                  <a:cubicBezTo>
                    <a:pt x="18544" y="13573"/>
                    <a:pt x="18182" y="13609"/>
                    <a:pt x="18000" y="13662"/>
                  </a:cubicBezTo>
                  <a:cubicBezTo>
                    <a:pt x="17812" y="13708"/>
                    <a:pt x="17663" y="13785"/>
                    <a:pt x="17663" y="13830"/>
                  </a:cubicBezTo>
                  <a:cubicBezTo>
                    <a:pt x="17663" y="13875"/>
                    <a:pt x="17702" y="13914"/>
                    <a:pt x="17747" y="13921"/>
                  </a:cubicBezTo>
                  <a:cubicBezTo>
                    <a:pt x="17794" y="13921"/>
                    <a:pt x="17737" y="14033"/>
                    <a:pt x="17639" y="14162"/>
                  </a:cubicBezTo>
                  <a:cubicBezTo>
                    <a:pt x="17528" y="14289"/>
                    <a:pt x="17443" y="14552"/>
                    <a:pt x="17443" y="14743"/>
                  </a:cubicBezTo>
                  <a:cubicBezTo>
                    <a:pt x="17443" y="14935"/>
                    <a:pt x="17442" y="15110"/>
                    <a:pt x="17453" y="15133"/>
                  </a:cubicBezTo>
                  <a:cubicBezTo>
                    <a:pt x="17462" y="15155"/>
                    <a:pt x="17398" y="15273"/>
                    <a:pt x="17290" y="15389"/>
                  </a:cubicBezTo>
                  <a:cubicBezTo>
                    <a:pt x="17194" y="15507"/>
                    <a:pt x="17118" y="15690"/>
                    <a:pt x="17118" y="15798"/>
                  </a:cubicBezTo>
                  <a:cubicBezTo>
                    <a:pt x="17118" y="15904"/>
                    <a:pt x="17080" y="16047"/>
                    <a:pt x="17032" y="16118"/>
                  </a:cubicBezTo>
                  <a:cubicBezTo>
                    <a:pt x="16980" y="16188"/>
                    <a:pt x="16907" y="16256"/>
                    <a:pt x="16863" y="16263"/>
                  </a:cubicBezTo>
                  <a:cubicBezTo>
                    <a:pt x="16828" y="16279"/>
                    <a:pt x="16693" y="16341"/>
                    <a:pt x="16567" y="16408"/>
                  </a:cubicBezTo>
                  <a:cubicBezTo>
                    <a:pt x="16438" y="16474"/>
                    <a:pt x="16358" y="16544"/>
                    <a:pt x="16367" y="16556"/>
                  </a:cubicBezTo>
                  <a:cubicBezTo>
                    <a:pt x="16374" y="16568"/>
                    <a:pt x="16429" y="16545"/>
                    <a:pt x="16480" y="16507"/>
                  </a:cubicBezTo>
                  <a:cubicBezTo>
                    <a:pt x="16536" y="16470"/>
                    <a:pt x="16575" y="16481"/>
                    <a:pt x="16554" y="16533"/>
                  </a:cubicBezTo>
                  <a:cubicBezTo>
                    <a:pt x="16545" y="16585"/>
                    <a:pt x="16536" y="16701"/>
                    <a:pt x="16536" y="16789"/>
                  </a:cubicBezTo>
                  <a:cubicBezTo>
                    <a:pt x="16532" y="16877"/>
                    <a:pt x="16495" y="17005"/>
                    <a:pt x="16449" y="17075"/>
                  </a:cubicBezTo>
                  <a:cubicBezTo>
                    <a:pt x="16388" y="17142"/>
                    <a:pt x="16329" y="17196"/>
                    <a:pt x="16300" y="17203"/>
                  </a:cubicBezTo>
                  <a:cubicBezTo>
                    <a:pt x="16270" y="17199"/>
                    <a:pt x="16241" y="17232"/>
                    <a:pt x="16224" y="17264"/>
                  </a:cubicBezTo>
                  <a:cubicBezTo>
                    <a:pt x="16219" y="17298"/>
                    <a:pt x="16179" y="17294"/>
                    <a:pt x="16145" y="17258"/>
                  </a:cubicBezTo>
                  <a:cubicBezTo>
                    <a:pt x="16110" y="17223"/>
                    <a:pt x="16027" y="17168"/>
                    <a:pt x="15967" y="17133"/>
                  </a:cubicBezTo>
                  <a:cubicBezTo>
                    <a:pt x="15898" y="17103"/>
                    <a:pt x="15856" y="17043"/>
                    <a:pt x="15871" y="17007"/>
                  </a:cubicBezTo>
                  <a:cubicBezTo>
                    <a:pt x="15881" y="16969"/>
                    <a:pt x="15924" y="16908"/>
                    <a:pt x="15987" y="16886"/>
                  </a:cubicBezTo>
                  <a:cubicBezTo>
                    <a:pt x="16033" y="16854"/>
                    <a:pt x="16018" y="16810"/>
                    <a:pt x="15939" y="16784"/>
                  </a:cubicBezTo>
                  <a:cubicBezTo>
                    <a:pt x="15863" y="16757"/>
                    <a:pt x="15781" y="16765"/>
                    <a:pt x="15758" y="16800"/>
                  </a:cubicBezTo>
                  <a:cubicBezTo>
                    <a:pt x="15740" y="16835"/>
                    <a:pt x="15669" y="16846"/>
                    <a:pt x="15610" y="16823"/>
                  </a:cubicBezTo>
                  <a:cubicBezTo>
                    <a:pt x="15551" y="16802"/>
                    <a:pt x="15444" y="16785"/>
                    <a:pt x="15372" y="16785"/>
                  </a:cubicBezTo>
                  <a:cubicBezTo>
                    <a:pt x="15300" y="16787"/>
                    <a:pt x="15207" y="16822"/>
                    <a:pt x="15158" y="16866"/>
                  </a:cubicBezTo>
                  <a:cubicBezTo>
                    <a:pt x="15110" y="16909"/>
                    <a:pt x="15024" y="16953"/>
                    <a:pt x="14963" y="16947"/>
                  </a:cubicBezTo>
                  <a:cubicBezTo>
                    <a:pt x="14902" y="16947"/>
                    <a:pt x="14775" y="16951"/>
                    <a:pt x="14683" y="16959"/>
                  </a:cubicBezTo>
                  <a:cubicBezTo>
                    <a:pt x="14590" y="16962"/>
                    <a:pt x="14506" y="16991"/>
                    <a:pt x="14489" y="17016"/>
                  </a:cubicBezTo>
                  <a:cubicBezTo>
                    <a:pt x="14471" y="17042"/>
                    <a:pt x="14379" y="17120"/>
                    <a:pt x="14272" y="17188"/>
                  </a:cubicBezTo>
                  <a:cubicBezTo>
                    <a:pt x="14168" y="17256"/>
                    <a:pt x="14058" y="17310"/>
                    <a:pt x="14028" y="17310"/>
                  </a:cubicBezTo>
                  <a:cubicBezTo>
                    <a:pt x="13998" y="17312"/>
                    <a:pt x="13960" y="17281"/>
                    <a:pt x="13929" y="17251"/>
                  </a:cubicBezTo>
                  <a:cubicBezTo>
                    <a:pt x="13912" y="17218"/>
                    <a:pt x="13815" y="17210"/>
                    <a:pt x="13729" y="17229"/>
                  </a:cubicBezTo>
                  <a:cubicBezTo>
                    <a:pt x="13648" y="17252"/>
                    <a:pt x="13527" y="17290"/>
                    <a:pt x="13466" y="17320"/>
                  </a:cubicBezTo>
                  <a:cubicBezTo>
                    <a:pt x="13409" y="17353"/>
                    <a:pt x="13337" y="17314"/>
                    <a:pt x="13316" y="17237"/>
                  </a:cubicBezTo>
                  <a:cubicBezTo>
                    <a:pt x="13290" y="17161"/>
                    <a:pt x="13225" y="17019"/>
                    <a:pt x="13160" y="16923"/>
                  </a:cubicBezTo>
                  <a:cubicBezTo>
                    <a:pt x="13099" y="16827"/>
                    <a:pt x="12989" y="16714"/>
                    <a:pt x="12910" y="16678"/>
                  </a:cubicBezTo>
                  <a:cubicBezTo>
                    <a:pt x="12831" y="16641"/>
                    <a:pt x="12754" y="16589"/>
                    <a:pt x="12743" y="16564"/>
                  </a:cubicBezTo>
                  <a:cubicBezTo>
                    <a:pt x="12723" y="16541"/>
                    <a:pt x="12655" y="16512"/>
                    <a:pt x="12586" y="16515"/>
                  </a:cubicBezTo>
                  <a:cubicBezTo>
                    <a:pt x="12519" y="16507"/>
                    <a:pt x="12446" y="16518"/>
                    <a:pt x="12421" y="16518"/>
                  </a:cubicBezTo>
                  <a:cubicBezTo>
                    <a:pt x="12399" y="16525"/>
                    <a:pt x="12345" y="16495"/>
                    <a:pt x="12316" y="16450"/>
                  </a:cubicBezTo>
                  <a:cubicBezTo>
                    <a:pt x="12285" y="16406"/>
                    <a:pt x="12161" y="16250"/>
                    <a:pt x="12055" y="16100"/>
                  </a:cubicBezTo>
                  <a:cubicBezTo>
                    <a:pt x="11948" y="15952"/>
                    <a:pt x="11852" y="15790"/>
                    <a:pt x="11833" y="15741"/>
                  </a:cubicBezTo>
                  <a:cubicBezTo>
                    <a:pt x="11819" y="15692"/>
                    <a:pt x="11805" y="15616"/>
                    <a:pt x="11810" y="15571"/>
                  </a:cubicBezTo>
                  <a:cubicBezTo>
                    <a:pt x="11810" y="15526"/>
                    <a:pt x="11767" y="15423"/>
                    <a:pt x="11727" y="15340"/>
                  </a:cubicBezTo>
                  <a:cubicBezTo>
                    <a:pt x="11676" y="15259"/>
                    <a:pt x="11622" y="15137"/>
                    <a:pt x="11597" y="15071"/>
                  </a:cubicBezTo>
                  <a:cubicBezTo>
                    <a:pt x="11575" y="15004"/>
                    <a:pt x="11445" y="14803"/>
                    <a:pt x="11305" y="14626"/>
                  </a:cubicBezTo>
                  <a:cubicBezTo>
                    <a:pt x="11167" y="14450"/>
                    <a:pt x="11053" y="14257"/>
                    <a:pt x="11039" y="14199"/>
                  </a:cubicBezTo>
                  <a:cubicBezTo>
                    <a:pt x="11028" y="14141"/>
                    <a:pt x="11001" y="14051"/>
                    <a:pt x="10967" y="14001"/>
                  </a:cubicBezTo>
                  <a:cubicBezTo>
                    <a:pt x="10947" y="13949"/>
                    <a:pt x="10934" y="13876"/>
                    <a:pt x="10945" y="13835"/>
                  </a:cubicBezTo>
                  <a:cubicBezTo>
                    <a:pt x="10963" y="13794"/>
                    <a:pt x="10963" y="13728"/>
                    <a:pt x="10952" y="13687"/>
                  </a:cubicBezTo>
                  <a:cubicBezTo>
                    <a:pt x="10936" y="13647"/>
                    <a:pt x="10906" y="13514"/>
                    <a:pt x="10877" y="13392"/>
                  </a:cubicBezTo>
                  <a:cubicBezTo>
                    <a:pt x="10847" y="13270"/>
                    <a:pt x="10799" y="13136"/>
                    <a:pt x="10760" y="13097"/>
                  </a:cubicBezTo>
                  <a:cubicBezTo>
                    <a:pt x="10726" y="13056"/>
                    <a:pt x="10701" y="12971"/>
                    <a:pt x="10706" y="12907"/>
                  </a:cubicBezTo>
                  <a:cubicBezTo>
                    <a:pt x="10717" y="12844"/>
                    <a:pt x="10762" y="12861"/>
                    <a:pt x="10814" y="12946"/>
                  </a:cubicBezTo>
                  <a:cubicBezTo>
                    <a:pt x="10866" y="13032"/>
                    <a:pt x="10915" y="13188"/>
                    <a:pt x="10926" y="13292"/>
                  </a:cubicBezTo>
                  <a:cubicBezTo>
                    <a:pt x="10936" y="13395"/>
                    <a:pt x="10952" y="13467"/>
                    <a:pt x="10968" y="13451"/>
                  </a:cubicBezTo>
                  <a:cubicBezTo>
                    <a:pt x="10985" y="13435"/>
                    <a:pt x="10990" y="13348"/>
                    <a:pt x="10990" y="13261"/>
                  </a:cubicBezTo>
                  <a:cubicBezTo>
                    <a:pt x="10985" y="13174"/>
                    <a:pt x="10933" y="13003"/>
                    <a:pt x="10872" y="12881"/>
                  </a:cubicBezTo>
                  <a:cubicBezTo>
                    <a:pt x="10810" y="12758"/>
                    <a:pt x="10767" y="12608"/>
                    <a:pt x="10772" y="12543"/>
                  </a:cubicBezTo>
                  <a:cubicBezTo>
                    <a:pt x="10781" y="12479"/>
                    <a:pt x="10773" y="12335"/>
                    <a:pt x="10757" y="12222"/>
                  </a:cubicBezTo>
                  <a:cubicBezTo>
                    <a:pt x="10742" y="12109"/>
                    <a:pt x="10719" y="11979"/>
                    <a:pt x="10708" y="11932"/>
                  </a:cubicBezTo>
                  <a:cubicBezTo>
                    <a:pt x="10693" y="11885"/>
                    <a:pt x="10715" y="11796"/>
                    <a:pt x="10755" y="11734"/>
                  </a:cubicBezTo>
                  <a:cubicBezTo>
                    <a:pt x="10793" y="11672"/>
                    <a:pt x="10833" y="11506"/>
                    <a:pt x="10848" y="11366"/>
                  </a:cubicBezTo>
                  <a:cubicBezTo>
                    <a:pt x="10864" y="11225"/>
                    <a:pt x="10865" y="11035"/>
                    <a:pt x="10854" y="10944"/>
                  </a:cubicBezTo>
                  <a:cubicBezTo>
                    <a:pt x="10849" y="10852"/>
                    <a:pt x="10856" y="10657"/>
                    <a:pt x="10887" y="10510"/>
                  </a:cubicBezTo>
                  <a:cubicBezTo>
                    <a:pt x="10913" y="10362"/>
                    <a:pt x="10939" y="10206"/>
                    <a:pt x="10935" y="10165"/>
                  </a:cubicBezTo>
                  <a:cubicBezTo>
                    <a:pt x="10935" y="10122"/>
                    <a:pt x="10943" y="10053"/>
                    <a:pt x="10963" y="10013"/>
                  </a:cubicBezTo>
                  <a:cubicBezTo>
                    <a:pt x="10982" y="9972"/>
                    <a:pt x="10979" y="9918"/>
                    <a:pt x="10970" y="9892"/>
                  </a:cubicBezTo>
                  <a:cubicBezTo>
                    <a:pt x="10954" y="9867"/>
                    <a:pt x="10947" y="9789"/>
                    <a:pt x="10947" y="9719"/>
                  </a:cubicBezTo>
                  <a:cubicBezTo>
                    <a:pt x="10952" y="9649"/>
                    <a:pt x="10971" y="9566"/>
                    <a:pt x="10996" y="9536"/>
                  </a:cubicBezTo>
                  <a:cubicBezTo>
                    <a:pt x="11017" y="9505"/>
                    <a:pt x="11059" y="9413"/>
                    <a:pt x="11075" y="9329"/>
                  </a:cubicBezTo>
                  <a:cubicBezTo>
                    <a:pt x="11105" y="9246"/>
                    <a:pt x="11114" y="9154"/>
                    <a:pt x="11128" y="9127"/>
                  </a:cubicBezTo>
                  <a:cubicBezTo>
                    <a:pt x="11143" y="9099"/>
                    <a:pt x="11119" y="9053"/>
                    <a:pt x="11095" y="9023"/>
                  </a:cubicBezTo>
                  <a:cubicBezTo>
                    <a:pt x="11064" y="8993"/>
                    <a:pt x="11060" y="8931"/>
                    <a:pt x="11097" y="8887"/>
                  </a:cubicBezTo>
                  <a:cubicBezTo>
                    <a:pt x="11122" y="8840"/>
                    <a:pt x="11164" y="8736"/>
                    <a:pt x="11159" y="8653"/>
                  </a:cubicBezTo>
                  <a:cubicBezTo>
                    <a:pt x="11169" y="8570"/>
                    <a:pt x="11198" y="8508"/>
                    <a:pt x="11240" y="8508"/>
                  </a:cubicBezTo>
                  <a:cubicBezTo>
                    <a:pt x="11279" y="8516"/>
                    <a:pt x="11309" y="8557"/>
                    <a:pt x="11298" y="8610"/>
                  </a:cubicBezTo>
                  <a:cubicBezTo>
                    <a:pt x="11289" y="8664"/>
                    <a:pt x="11279" y="8733"/>
                    <a:pt x="11264" y="8763"/>
                  </a:cubicBezTo>
                  <a:cubicBezTo>
                    <a:pt x="11253" y="8793"/>
                    <a:pt x="11267" y="8808"/>
                    <a:pt x="11296" y="8808"/>
                  </a:cubicBezTo>
                  <a:cubicBezTo>
                    <a:pt x="11323" y="8801"/>
                    <a:pt x="11357" y="8757"/>
                    <a:pt x="11363" y="8706"/>
                  </a:cubicBezTo>
                  <a:cubicBezTo>
                    <a:pt x="11368" y="8654"/>
                    <a:pt x="11407" y="8558"/>
                    <a:pt x="11451" y="8494"/>
                  </a:cubicBezTo>
                  <a:cubicBezTo>
                    <a:pt x="11485" y="8428"/>
                    <a:pt x="11531" y="8321"/>
                    <a:pt x="11552" y="8255"/>
                  </a:cubicBezTo>
                  <a:cubicBezTo>
                    <a:pt x="11572" y="8188"/>
                    <a:pt x="11602" y="8112"/>
                    <a:pt x="11620" y="8085"/>
                  </a:cubicBezTo>
                  <a:cubicBezTo>
                    <a:pt x="11642" y="8060"/>
                    <a:pt x="11666" y="7975"/>
                    <a:pt x="11676" y="7898"/>
                  </a:cubicBezTo>
                  <a:cubicBezTo>
                    <a:pt x="11691" y="7820"/>
                    <a:pt x="11702" y="7732"/>
                    <a:pt x="11712" y="7703"/>
                  </a:cubicBezTo>
                  <a:cubicBezTo>
                    <a:pt x="11721" y="7672"/>
                    <a:pt x="11701" y="7677"/>
                    <a:pt x="11664" y="7712"/>
                  </a:cubicBezTo>
                  <a:cubicBezTo>
                    <a:pt x="11625" y="7746"/>
                    <a:pt x="11589" y="7846"/>
                    <a:pt x="11568" y="7932"/>
                  </a:cubicBezTo>
                  <a:cubicBezTo>
                    <a:pt x="11553" y="8018"/>
                    <a:pt x="11496" y="8116"/>
                    <a:pt x="11457" y="8153"/>
                  </a:cubicBezTo>
                  <a:cubicBezTo>
                    <a:pt x="11417" y="8190"/>
                    <a:pt x="11389" y="8182"/>
                    <a:pt x="11403" y="8139"/>
                  </a:cubicBezTo>
                  <a:cubicBezTo>
                    <a:pt x="11415" y="8096"/>
                    <a:pt x="11405" y="8054"/>
                    <a:pt x="11391" y="8039"/>
                  </a:cubicBezTo>
                  <a:cubicBezTo>
                    <a:pt x="11367" y="8029"/>
                    <a:pt x="11344" y="7987"/>
                    <a:pt x="11331" y="7952"/>
                  </a:cubicBezTo>
                  <a:cubicBezTo>
                    <a:pt x="11326" y="7915"/>
                    <a:pt x="11274" y="7875"/>
                    <a:pt x="11230" y="7865"/>
                  </a:cubicBezTo>
                  <a:close/>
                  <a:moveTo>
                    <a:pt x="11230" y="786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7" name="AutoShape 1309"/>
            <p:cNvSpPr>
              <a:spLocks/>
            </p:cNvSpPr>
            <p:nvPr/>
          </p:nvSpPr>
          <p:spPr bwMode="auto">
            <a:xfrm>
              <a:off x="3556000" y="4318000"/>
              <a:ext cx="1588" cy="9525"/>
            </a:xfrm>
            <a:custGeom>
              <a:avLst/>
              <a:gdLst/>
              <a:ahLst/>
              <a:cxnLst/>
              <a:rect l="0" t="0" r="r" b="b"/>
              <a:pathLst>
                <a:path w="19092" h="19877">
                  <a:moveTo>
                    <a:pt x="1250" y="714"/>
                  </a:moveTo>
                  <a:cubicBezTo>
                    <a:pt x="-983" y="2240"/>
                    <a:pt x="456" y="4724"/>
                    <a:pt x="456" y="6241"/>
                  </a:cubicBezTo>
                  <a:cubicBezTo>
                    <a:pt x="2470" y="7710"/>
                    <a:pt x="3546" y="11864"/>
                    <a:pt x="4541" y="15396"/>
                  </a:cubicBezTo>
                  <a:cubicBezTo>
                    <a:pt x="4541" y="18908"/>
                    <a:pt x="9716" y="20797"/>
                    <a:pt x="12801" y="19431"/>
                  </a:cubicBezTo>
                  <a:cubicBezTo>
                    <a:pt x="16384" y="18114"/>
                    <a:pt x="20617" y="14964"/>
                    <a:pt x="18545" y="12446"/>
                  </a:cubicBezTo>
                  <a:cubicBezTo>
                    <a:pt x="18545" y="9939"/>
                    <a:pt x="13299" y="5670"/>
                    <a:pt x="11008" y="2916"/>
                  </a:cubicBezTo>
                  <a:cubicBezTo>
                    <a:pt x="7703" y="176"/>
                    <a:pt x="3398" y="-803"/>
                    <a:pt x="1250" y="714"/>
                  </a:cubicBezTo>
                  <a:close/>
                  <a:moveTo>
                    <a:pt x="1250" y="71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8" name="AutoShape 1310"/>
            <p:cNvSpPr>
              <a:spLocks/>
            </p:cNvSpPr>
            <p:nvPr/>
          </p:nvSpPr>
          <p:spPr bwMode="auto">
            <a:xfrm>
              <a:off x="3721100" y="4318000"/>
              <a:ext cx="0" cy="3175"/>
            </a:xfrm>
            <a:custGeom>
              <a:avLst/>
              <a:gdLst/>
              <a:ahLst/>
              <a:cxnLst/>
              <a:rect l="0" t="0" r="r" b="b"/>
              <a:pathLst>
                <a:path w="18659" h="20616">
                  <a:moveTo>
                    <a:pt x="628" y="11644"/>
                  </a:moveTo>
                  <a:cubicBezTo>
                    <a:pt x="-902" y="17670"/>
                    <a:pt x="358" y="21600"/>
                    <a:pt x="4485" y="20400"/>
                  </a:cubicBezTo>
                  <a:cubicBezTo>
                    <a:pt x="8707" y="19228"/>
                    <a:pt x="16865" y="14101"/>
                    <a:pt x="16865" y="8813"/>
                  </a:cubicBezTo>
                  <a:cubicBezTo>
                    <a:pt x="20698" y="3601"/>
                    <a:pt x="17909" y="0"/>
                    <a:pt x="13014" y="0"/>
                  </a:cubicBezTo>
                  <a:cubicBezTo>
                    <a:pt x="8983" y="849"/>
                    <a:pt x="2085" y="5646"/>
                    <a:pt x="628" y="11644"/>
                  </a:cubicBezTo>
                  <a:close/>
                  <a:moveTo>
                    <a:pt x="628" y="116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09" name="AutoShape 1311"/>
            <p:cNvSpPr>
              <a:spLocks/>
            </p:cNvSpPr>
            <p:nvPr/>
          </p:nvSpPr>
          <p:spPr bwMode="auto">
            <a:xfrm>
              <a:off x="3721100" y="4330700"/>
              <a:ext cx="0" cy="4763"/>
            </a:xfrm>
            <a:custGeom>
              <a:avLst/>
              <a:gdLst/>
              <a:ahLst/>
              <a:cxnLst/>
              <a:rect l="0" t="0" r="r" b="b"/>
              <a:pathLst>
                <a:path w="18183" h="20727">
                  <a:moveTo>
                    <a:pt x="1493" y="9223"/>
                  </a:moveTo>
                  <a:cubicBezTo>
                    <a:pt x="-1559" y="14302"/>
                    <a:pt x="1012" y="19295"/>
                    <a:pt x="1012" y="20569"/>
                  </a:cubicBezTo>
                  <a:cubicBezTo>
                    <a:pt x="4667" y="21600"/>
                    <a:pt x="6994" y="17483"/>
                    <a:pt x="13815" y="11259"/>
                  </a:cubicBezTo>
                  <a:cubicBezTo>
                    <a:pt x="20041" y="5038"/>
                    <a:pt x="19064" y="0"/>
                    <a:pt x="14311" y="0"/>
                  </a:cubicBezTo>
                  <a:cubicBezTo>
                    <a:pt x="9542" y="0"/>
                    <a:pt x="3690" y="4121"/>
                    <a:pt x="1493" y="9223"/>
                  </a:cubicBezTo>
                  <a:close/>
                  <a:moveTo>
                    <a:pt x="1493" y="92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0" name="AutoShape 1312"/>
            <p:cNvSpPr>
              <a:spLocks/>
            </p:cNvSpPr>
            <p:nvPr/>
          </p:nvSpPr>
          <p:spPr bwMode="auto">
            <a:xfrm>
              <a:off x="3721100" y="4343400"/>
              <a:ext cx="0" cy="6350"/>
            </a:xfrm>
            <a:custGeom>
              <a:avLst/>
              <a:gdLst/>
              <a:ahLst/>
              <a:cxnLst/>
              <a:rect l="0" t="0" r="r" b="b"/>
              <a:pathLst>
                <a:path w="18360" h="17230">
                  <a:moveTo>
                    <a:pt x="4955" y="8924"/>
                  </a:moveTo>
                  <a:cubicBezTo>
                    <a:pt x="-1390" y="16590"/>
                    <a:pt x="-2014" y="19453"/>
                    <a:pt x="5264" y="15374"/>
                  </a:cubicBezTo>
                  <a:cubicBezTo>
                    <a:pt x="12226" y="11241"/>
                    <a:pt x="19586" y="4948"/>
                    <a:pt x="18180" y="1415"/>
                  </a:cubicBezTo>
                  <a:cubicBezTo>
                    <a:pt x="19586" y="-2147"/>
                    <a:pt x="12535" y="1257"/>
                    <a:pt x="4955" y="8924"/>
                  </a:cubicBezTo>
                  <a:close/>
                  <a:moveTo>
                    <a:pt x="4955" y="892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1" name="AutoShape 1313"/>
            <p:cNvSpPr>
              <a:spLocks/>
            </p:cNvSpPr>
            <p:nvPr/>
          </p:nvSpPr>
          <p:spPr bwMode="auto">
            <a:xfrm>
              <a:off x="3556000" y="4343400"/>
              <a:ext cx="0" cy="3175"/>
            </a:xfrm>
            <a:custGeom>
              <a:avLst/>
              <a:gdLst/>
              <a:ahLst/>
              <a:cxnLst/>
              <a:rect l="0" t="0" r="r" b="b"/>
              <a:pathLst>
                <a:path w="20384" h="20486">
                  <a:moveTo>
                    <a:pt x="0" y="8972"/>
                  </a:moveTo>
                  <a:cubicBezTo>
                    <a:pt x="0" y="15019"/>
                    <a:pt x="3250" y="19556"/>
                    <a:pt x="6984" y="20486"/>
                  </a:cubicBezTo>
                  <a:cubicBezTo>
                    <a:pt x="12108" y="20486"/>
                    <a:pt x="15616" y="16750"/>
                    <a:pt x="20116" y="11784"/>
                  </a:cubicBezTo>
                  <a:cubicBezTo>
                    <a:pt x="21600" y="6691"/>
                    <a:pt x="16608" y="2001"/>
                    <a:pt x="13108" y="269"/>
                  </a:cubicBezTo>
                  <a:cubicBezTo>
                    <a:pt x="7499" y="-1114"/>
                    <a:pt x="1609" y="2986"/>
                    <a:pt x="0" y="8972"/>
                  </a:cubicBezTo>
                  <a:close/>
                  <a:moveTo>
                    <a:pt x="0" y="89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2" name="AutoShape 1314"/>
            <p:cNvSpPr>
              <a:spLocks/>
            </p:cNvSpPr>
            <p:nvPr/>
          </p:nvSpPr>
          <p:spPr bwMode="auto">
            <a:xfrm>
              <a:off x="3822700" y="4635500"/>
              <a:ext cx="15875" cy="7938"/>
            </a:xfrm>
            <a:custGeom>
              <a:avLst/>
              <a:gdLst/>
              <a:ahLst/>
              <a:cxnLst/>
              <a:rect l="0" t="0" r="r" b="b"/>
              <a:pathLst>
                <a:path w="21600" h="20327">
                  <a:moveTo>
                    <a:pt x="21600" y="151"/>
                  </a:moveTo>
                  <a:cubicBezTo>
                    <a:pt x="9658" y="-1273"/>
                    <a:pt x="0" y="7488"/>
                    <a:pt x="0" y="20327"/>
                  </a:cubicBezTo>
                  <a:cubicBezTo>
                    <a:pt x="0" y="7502"/>
                    <a:pt x="9641" y="-1216"/>
                    <a:pt x="21600" y="151"/>
                  </a:cubicBezTo>
                  <a:close/>
                  <a:moveTo>
                    <a:pt x="21600" y="15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3" name="AutoShape 1315"/>
            <p:cNvSpPr>
              <a:spLocks/>
            </p:cNvSpPr>
            <p:nvPr/>
          </p:nvSpPr>
          <p:spPr bwMode="auto">
            <a:xfrm>
              <a:off x="5029200" y="5486400"/>
              <a:ext cx="12700" cy="15875"/>
            </a:xfrm>
            <a:custGeom>
              <a:avLst/>
              <a:gdLst/>
              <a:ahLst/>
              <a:cxnLst/>
              <a:rect l="0" t="0" r="r" b="b"/>
              <a:pathLst>
                <a:path w="20704" h="20439">
                  <a:moveTo>
                    <a:pt x="15087" y="8654"/>
                  </a:moveTo>
                  <a:cubicBezTo>
                    <a:pt x="16813" y="8444"/>
                    <a:pt x="18812" y="6257"/>
                    <a:pt x="20098" y="4355"/>
                  </a:cubicBezTo>
                  <a:cubicBezTo>
                    <a:pt x="21083" y="2365"/>
                    <a:pt x="20876" y="449"/>
                    <a:pt x="19419" y="178"/>
                  </a:cubicBezTo>
                  <a:cubicBezTo>
                    <a:pt x="18106" y="-411"/>
                    <a:pt x="15175" y="541"/>
                    <a:pt x="13340" y="1943"/>
                  </a:cubicBezTo>
                  <a:cubicBezTo>
                    <a:pt x="11432" y="3270"/>
                    <a:pt x="8618" y="4763"/>
                    <a:pt x="7136" y="5457"/>
                  </a:cubicBezTo>
                  <a:cubicBezTo>
                    <a:pt x="5687" y="6105"/>
                    <a:pt x="3327" y="8081"/>
                    <a:pt x="1663" y="9695"/>
                  </a:cubicBezTo>
                  <a:cubicBezTo>
                    <a:pt x="189" y="11416"/>
                    <a:pt x="-517" y="14989"/>
                    <a:pt x="432" y="17658"/>
                  </a:cubicBezTo>
                  <a:cubicBezTo>
                    <a:pt x="1282" y="20313"/>
                    <a:pt x="3073" y="21189"/>
                    <a:pt x="4711" y="19756"/>
                  </a:cubicBezTo>
                  <a:cubicBezTo>
                    <a:pt x="6321" y="18307"/>
                    <a:pt x="8573" y="15351"/>
                    <a:pt x="9740" y="13194"/>
                  </a:cubicBezTo>
                  <a:cubicBezTo>
                    <a:pt x="11052" y="11097"/>
                    <a:pt x="13358" y="8881"/>
                    <a:pt x="15087" y="8654"/>
                  </a:cubicBezTo>
                  <a:close/>
                  <a:moveTo>
                    <a:pt x="15087" y="86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4" name="AutoShape 1316"/>
            <p:cNvSpPr>
              <a:spLocks/>
            </p:cNvSpPr>
            <p:nvPr/>
          </p:nvSpPr>
          <p:spPr bwMode="auto">
            <a:xfrm>
              <a:off x="4305300" y="5245100"/>
              <a:ext cx="1406525" cy="1597025"/>
            </a:xfrm>
            <a:custGeom>
              <a:avLst/>
              <a:gdLst/>
              <a:ahLst/>
              <a:cxnLst/>
              <a:rect l="0" t="0" r="r" b="b"/>
              <a:pathLst>
                <a:path w="21596" h="21590">
                  <a:moveTo>
                    <a:pt x="9929" y="1418"/>
                  </a:moveTo>
                  <a:cubicBezTo>
                    <a:pt x="9893" y="1465"/>
                    <a:pt x="9836" y="1547"/>
                    <a:pt x="9799" y="1599"/>
                  </a:cubicBezTo>
                  <a:cubicBezTo>
                    <a:pt x="9764" y="1652"/>
                    <a:pt x="9733" y="1718"/>
                    <a:pt x="9738" y="1748"/>
                  </a:cubicBezTo>
                  <a:cubicBezTo>
                    <a:pt x="9740" y="1778"/>
                    <a:pt x="9723" y="1856"/>
                    <a:pt x="9698" y="1922"/>
                  </a:cubicBezTo>
                  <a:cubicBezTo>
                    <a:pt x="9675" y="1988"/>
                    <a:pt x="9641" y="2076"/>
                    <a:pt x="9616" y="2116"/>
                  </a:cubicBezTo>
                  <a:cubicBezTo>
                    <a:pt x="9594" y="2157"/>
                    <a:pt x="9566" y="2223"/>
                    <a:pt x="9549" y="2260"/>
                  </a:cubicBezTo>
                  <a:cubicBezTo>
                    <a:pt x="9532" y="2298"/>
                    <a:pt x="9499" y="2330"/>
                    <a:pt x="9472" y="2333"/>
                  </a:cubicBezTo>
                  <a:cubicBezTo>
                    <a:pt x="9445" y="2333"/>
                    <a:pt x="9409" y="2344"/>
                    <a:pt x="9395" y="2357"/>
                  </a:cubicBezTo>
                  <a:cubicBezTo>
                    <a:pt x="9379" y="2367"/>
                    <a:pt x="9363" y="2398"/>
                    <a:pt x="9361" y="2424"/>
                  </a:cubicBezTo>
                  <a:cubicBezTo>
                    <a:pt x="9356" y="2450"/>
                    <a:pt x="9334" y="2488"/>
                    <a:pt x="9308" y="2505"/>
                  </a:cubicBezTo>
                  <a:cubicBezTo>
                    <a:pt x="9284" y="2525"/>
                    <a:pt x="9244" y="2535"/>
                    <a:pt x="9226" y="2524"/>
                  </a:cubicBezTo>
                  <a:cubicBezTo>
                    <a:pt x="9207" y="2515"/>
                    <a:pt x="9188" y="2474"/>
                    <a:pt x="9181" y="2430"/>
                  </a:cubicBezTo>
                  <a:cubicBezTo>
                    <a:pt x="9174" y="2387"/>
                    <a:pt x="9161" y="2347"/>
                    <a:pt x="9149" y="2340"/>
                  </a:cubicBezTo>
                  <a:cubicBezTo>
                    <a:pt x="9136" y="2335"/>
                    <a:pt x="9122" y="2317"/>
                    <a:pt x="9118" y="2303"/>
                  </a:cubicBezTo>
                  <a:cubicBezTo>
                    <a:pt x="9111" y="2289"/>
                    <a:pt x="9094" y="2271"/>
                    <a:pt x="9076" y="2271"/>
                  </a:cubicBezTo>
                  <a:cubicBezTo>
                    <a:pt x="9058" y="2269"/>
                    <a:pt x="9026" y="2270"/>
                    <a:pt x="9005" y="2278"/>
                  </a:cubicBezTo>
                  <a:cubicBezTo>
                    <a:pt x="8985" y="2285"/>
                    <a:pt x="8954" y="2304"/>
                    <a:pt x="8940" y="2322"/>
                  </a:cubicBezTo>
                  <a:cubicBezTo>
                    <a:pt x="8927" y="2341"/>
                    <a:pt x="8891" y="2346"/>
                    <a:pt x="8863" y="2341"/>
                  </a:cubicBezTo>
                  <a:cubicBezTo>
                    <a:pt x="8836" y="2334"/>
                    <a:pt x="8795" y="2305"/>
                    <a:pt x="8770" y="2278"/>
                  </a:cubicBezTo>
                  <a:cubicBezTo>
                    <a:pt x="8747" y="2250"/>
                    <a:pt x="8724" y="2216"/>
                    <a:pt x="8724" y="2200"/>
                  </a:cubicBezTo>
                  <a:cubicBezTo>
                    <a:pt x="8723" y="2184"/>
                    <a:pt x="8714" y="2163"/>
                    <a:pt x="8705" y="2155"/>
                  </a:cubicBezTo>
                  <a:cubicBezTo>
                    <a:pt x="8696" y="2147"/>
                    <a:pt x="8679" y="2117"/>
                    <a:pt x="8665" y="2090"/>
                  </a:cubicBezTo>
                  <a:cubicBezTo>
                    <a:pt x="8651" y="2063"/>
                    <a:pt x="8636" y="2027"/>
                    <a:pt x="8629" y="2011"/>
                  </a:cubicBezTo>
                  <a:cubicBezTo>
                    <a:pt x="8623" y="1995"/>
                    <a:pt x="8597" y="1979"/>
                    <a:pt x="8577" y="1970"/>
                  </a:cubicBezTo>
                  <a:cubicBezTo>
                    <a:pt x="8555" y="1964"/>
                    <a:pt x="8512" y="1930"/>
                    <a:pt x="8477" y="1897"/>
                  </a:cubicBezTo>
                  <a:cubicBezTo>
                    <a:pt x="8445" y="1864"/>
                    <a:pt x="8384" y="1833"/>
                    <a:pt x="8344" y="1827"/>
                  </a:cubicBezTo>
                  <a:cubicBezTo>
                    <a:pt x="8303" y="1822"/>
                    <a:pt x="8249" y="1830"/>
                    <a:pt x="8220" y="1838"/>
                  </a:cubicBezTo>
                  <a:cubicBezTo>
                    <a:pt x="8191" y="1848"/>
                    <a:pt x="8117" y="1852"/>
                    <a:pt x="8053" y="1852"/>
                  </a:cubicBezTo>
                  <a:cubicBezTo>
                    <a:pt x="7990" y="1850"/>
                    <a:pt x="7910" y="1836"/>
                    <a:pt x="7875" y="1823"/>
                  </a:cubicBezTo>
                  <a:cubicBezTo>
                    <a:pt x="7840" y="1811"/>
                    <a:pt x="7787" y="1814"/>
                    <a:pt x="7761" y="1833"/>
                  </a:cubicBezTo>
                  <a:cubicBezTo>
                    <a:pt x="7733" y="1851"/>
                    <a:pt x="7712" y="1891"/>
                    <a:pt x="7708" y="1919"/>
                  </a:cubicBezTo>
                  <a:cubicBezTo>
                    <a:pt x="7707" y="1949"/>
                    <a:pt x="7730" y="1998"/>
                    <a:pt x="7761" y="2030"/>
                  </a:cubicBezTo>
                  <a:cubicBezTo>
                    <a:pt x="7789" y="2064"/>
                    <a:pt x="7824" y="2105"/>
                    <a:pt x="7834" y="2124"/>
                  </a:cubicBezTo>
                  <a:cubicBezTo>
                    <a:pt x="7845" y="2143"/>
                    <a:pt x="7866" y="2189"/>
                    <a:pt x="7884" y="2226"/>
                  </a:cubicBezTo>
                  <a:cubicBezTo>
                    <a:pt x="7902" y="2262"/>
                    <a:pt x="7914" y="2302"/>
                    <a:pt x="7909" y="2314"/>
                  </a:cubicBezTo>
                  <a:cubicBezTo>
                    <a:pt x="7905" y="2326"/>
                    <a:pt x="7880" y="2335"/>
                    <a:pt x="7855" y="2333"/>
                  </a:cubicBezTo>
                  <a:cubicBezTo>
                    <a:pt x="7829" y="2330"/>
                    <a:pt x="7775" y="2319"/>
                    <a:pt x="7736" y="2302"/>
                  </a:cubicBezTo>
                  <a:cubicBezTo>
                    <a:pt x="7696" y="2287"/>
                    <a:pt x="7656" y="2267"/>
                    <a:pt x="7646" y="2259"/>
                  </a:cubicBezTo>
                  <a:cubicBezTo>
                    <a:pt x="7636" y="2250"/>
                    <a:pt x="7617" y="2240"/>
                    <a:pt x="7604" y="2240"/>
                  </a:cubicBezTo>
                  <a:cubicBezTo>
                    <a:pt x="7592" y="2237"/>
                    <a:pt x="7579" y="2233"/>
                    <a:pt x="7577" y="2235"/>
                  </a:cubicBezTo>
                  <a:cubicBezTo>
                    <a:pt x="7575" y="2233"/>
                    <a:pt x="7575" y="2234"/>
                    <a:pt x="7573" y="2234"/>
                  </a:cubicBezTo>
                  <a:cubicBezTo>
                    <a:pt x="7575" y="2234"/>
                    <a:pt x="7535" y="2232"/>
                    <a:pt x="7486" y="2226"/>
                  </a:cubicBezTo>
                  <a:cubicBezTo>
                    <a:pt x="7437" y="2222"/>
                    <a:pt x="7375" y="2218"/>
                    <a:pt x="7349" y="2221"/>
                  </a:cubicBezTo>
                  <a:cubicBezTo>
                    <a:pt x="7322" y="2221"/>
                    <a:pt x="7290" y="2211"/>
                    <a:pt x="7276" y="2196"/>
                  </a:cubicBezTo>
                  <a:cubicBezTo>
                    <a:pt x="7262" y="2182"/>
                    <a:pt x="7216" y="2165"/>
                    <a:pt x="7172" y="2165"/>
                  </a:cubicBezTo>
                  <a:cubicBezTo>
                    <a:pt x="7128" y="2165"/>
                    <a:pt x="7069" y="2172"/>
                    <a:pt x="7039" y="2180"/>
                  </a:cubicBezTo>
                  <a:cubicBezTo>
                    <a:pt x="7009" y="2190"/>
                    <a:pt x="6975" y="2240"/>
                    <a:pt x="6964" y="2288"/>
                  </a:cubicBezTo>
                  <a:cubicBezTo>
                    <a:pt x="6951" y="2337"/>
                    <a:pt x="6893" y="2372"/>
                    <a:pt x="6832" y="2362"/>
                  </a:cubicBezTo>
                  <a:cubicBezTo>
                    <a:pt x="6772" y="2350"/>
                    <a:pt x="6697" y="2351"/>
                    <a:pt x="6668" y="2358"/>
                  </a:cubicBezTo>
                  <a:cubicBezTo>
                    <a:pt x="6637" y="2363"/>
                    <a:pt x="6611" y="2383"/>
                    <a:pt x="6609" y="2398"/>
                  </a:cubicBezTo>
                  <a:cubicBezTo>
                    <a:pt x="6608" y="2412"/>
                    <a:pt x="6594" y="2446"/>
                    <a:pt x="6574" y="2468"/>
                  </a:cubicBezTo>
                  <a:cubicBezTo>
                    <a:pt x="6556" y="2492"/>
                    <a:pt x="6515" y="2514"/>
                    <a:pt x="6482" y="2511"/>
                  </a:cubicBezTo>
                  <a:cubicBezTo>
                    <a:pt x="6449" y="2514"/>
                    <a:pt x="6415" y="2503"/>
                    <a:pt x="6411" y="2491"/>
                  </a:cubicBezTo>
                  <a:cubicBezTo>
                    <a:pt x="6405" y="2481"/>
                    <a:pt x="6386" y="2476"/>
                    <a:pt x="6366" y="2478"/>
                  </a:cubicBezTo>
                  <a:cubicBezTo>
                    <a:pt x="6347" y="2478"/>
                    <a:pt x="6318" y="2503"/>
                    <a:pt x="6304" y="2526"/>
                  </a:cubicBezTo>
                  <a:cubicBezTo>
                    <a:pt x="6289" y="2549"/>
                    <a:pt x="6258" y="2558"/>
                    <a:pt x="6233" y="2545"/>
                  </a:cubicBezTo>
                  <a:cubicBezTo>
                    <a:pt x="6210" y="2531"/>
                    <a:pt x="6138" y="2471"/>
                    <a:pt x="6073" y="2412"/>
                  </a:cubicBezTo>
                  <a:cubicBezTo>
                    <a:pt x="6011" y="2350"/>
                    <a:pt x="5937" y="2277"/>
                    <a:pt x="5914" y="2246"/>
                  </a:cubicBezTo>
                  <a:cubicBezTo>
                    <a:pt x="5890" y="2214"/>
                    <a:pt x="5867" y="2171"/>
                    <a:pt x="5863" y="2147"/>
                  </a:cubicBezTo>
                  <a:cubicBezTo>
                    <a:pt x="5860" y="2125"/>
                    <a:pt x="5828" y="2075"/>
                    <a:pt x="5793" y="2037"/>
                  </a:cubicBezTo>
                  <a:cubicBezTo>
                    <a:pt x="5757" y="1999"/>
                    <a:pt x="5706" y="1940"/>
                    <a:pt x="5676" y="1908"/>
                  </a:cubicBezTo>
                  <a:cubicBezTo>
                    <a:pt x="5646" y="1876"/>
                    <a:pt x="5617" y="1822"/>
                    <a:pt x="5611" y="1790"/>
                  </a:cubicBezTo>
                  <a:cubicBezTo>
                    <a:pt x="5604" y="1757"/>
                    <a:pt x="5600" y="1713"/>
                    <a:pt x="5605" y="1692"/>
                  </a:cubicBezTo>
                  <a:cubicBezTo>
                    <a:pt x="5607" y="1671"/>
                    <a:pt x="5605" y="1640"/>
                    <a:pt x="5596" y="1623"/>
                  </a:cubicBezTo>
                  <a:cubicBezTo>
                    <a:pt x="5587" y="1605"/>
                    <a:pt x="5580" y="1569"/>
                    <a:pt x="5581" y="1540"/>
                  </a:cubicBezTo>
                  <a:cubicBezTo>
                    <a:pt x="5579" y="1512"/>
                    <a:pt x="5589" y="1471"/>
                    <a:pt x="5597" y="1449"/>
                  </a:cubicBezTo>
                  <a:cubicBezTo>
                    <a:pt x="5606" y="1427"/>
                    <a:pt x="5606" y="1381"/>
                    <a:pt x="5601" y="1346"/>
                  </a:cubicBezTo>
                  <a:cubicBezTo>
                    <a:pt x="5593" y="1311"/>
                    <a:pt x="5610" y="1241"/>
                    <a:pt x="5630" y="1189"/>
                  </a:cubicBezTo>
                  <a:cubicBezTo>
                    <a:pt x="5653" y="1138"/>
                    <a:pt x="5677" y="1060"/>
                    <a:pt x="5679" y="1017"/>
                  </a:cubicBezTo>
                  <a:cubicBezTo>
                    <a:pt x="5684" y="974"/>
                    <a:pt x="5707" y="912"/>
                    <a:pt x="5729" y="879"/>
                  </a:cubicBezTo>
                  <a:cubicBezTo>
                    <a:pt x="5749" y="844"/>
                    <a:pt x="5767" y="803"/>
                    <a:pt x="5764" y="786"/>
                  </a:cubicBezTo>
                  <a:cubicBezTo>
                    <a:pt x="5761" y="768"/>
                    <a:pt x="5737" y="753"/>
                    <a:pt x="5710" y="753"/>
                  </a:cubicBezTo>
                  <a:cubicBezTo>
                    <a:pt x="5683" y="756"/>
                    <a:pt x="5648" y="732"/>
                    <a:pt x="5632" y="707"/>
                  </a:cubicBezTo>
                  <a:cubicBezTo>
                    <a:pt x="5619" y="681"/>
                    <a:pt x="5593" y="643"/>
                    <a:pt x="5582" y="619"/>
                  </a:cubicBezTo>
                  <a:cubicBezTo>
                    <a:pt x="5572" y="594"/>
                    <a:pt x="5536" y="574"/>
                    <a:pt x="5507" y="574"/>
                  </a:cubicBezTo>
                  <a:cubicBezTo>
                    <a:pt x="5478" y="579"/>
                    <a:pt x="5431" y="559"/>
                    <a:pt x="5405" y="543"/>
                  </a:cubicBezTo>
                  <a:cubicBezTo>
                    <a:pt x="5379" y="526"/>
                    <a:pt x="5367" y="498"/>
                    <a:pt x="5376" y="479"/>
                  </a:cubicBezTo>
                  <a:cubicBezTo>
                    <a:pt x="5387" y="461"/>
                    <a:pt x="5408" y="422"/>
                    <a:pt x="5421" y="391"/>
                  </a:cubicBezTo>
                  <a:cubicBezTo>
                    <a:pt x="5438" y="362"/>
                    <a:pt x="5443" y="302"/>
                    <a:pt x="5440" y="259"/>
                  </a:cubicBezTo>
                  <a:cubicBezTo>
                    <a:pt x="5435" y="216"/>
                    <a:pt x="5410" y="151"/>
                    <a:pt x="5383" y="115"/>
                  </a:cubicBezTo>
                  <a:cubicBezTo>
                    <a:pt x="5355" y="80"/>
                    <a:pt x="5307" y="45"/>
                    <a:pt x="5275" y="37"/>
                  </a:cubicBezTo>
                  <a:cubicBezTo>
                    <a:pt x="5243" y="30"/>
                    <a:pt x="5203" y="32"/>
                    <a:pt x="5190" y="44"/>
                  </a:cubicBezTo>
                  <a:cubicBezTo>
                    <a:pt x="5176" y="54"/>
                    <a:pt x="5156" y="49"/>
                    <a:pt x="5142" y="35"/>
                  </a:cubicBezTo>
                  <a:cubicBezTo>
                    <a:pt x="5131" y="19"/>
                    <a:pt x="5107" y="5"/>
                    <a:pt x="5092" y="1"/>
                  </a:cubicBezTo>
                  <a:cubicBezTo>
                    <a:pt x="5079" y="-4"/>
                    <a:pt x="5071" y="22"/>
                    <a:pt x="5077" y="56"/>
                  </a:cubicBezTo>
                  <a:cubicBezTo>
                    <a:pt x="5084" y="90"/>
                    <a:pt x="5079" y="148"/>
                    <a:pt x="5071" y="185"/>
                  </a:cubicBezTo>
                  <a:cubicBezTo>
                    <a:pt x="5061" y="222"/>
                    <a:pt x="4999" y="296"/>
                    <a:pt x="4931" y="347"/>
                  </a:cubicBezTo>
                  <a:cubicBezTo>
                    <a:pt x="4864" y="399"/>
                    <a:pt x="4772" y="440"/>
                    <a:pt x="4727" y="440"/>
                  </a:cubicBezTo>
                  <a:cubicBezTo>
                    <a:pt x="4682" y="438"/>
                    <a:pt x="4596" y="460"/>
                    <a:pt x="4537" y="483"/>
                  </a:cubicBezTo>
                  <a:cubicBezTo>
                    <a:pt x="4477" y="506"/>
                    <a:pt x="4408" y="514"/>
                    <a:pt x="4385" y="498"/>
                  </a:cubicBezTo>
                  <a:cubicBezTo>
                    <a:pt x="4361" y="483"/>
                    <a:pt x="4309" y="472"/>
                    <a:pt x="4271" y="472"/>
                  </a:cubicBezTo>
                  <a:cubicBezTo>
                    <a:pt x="4232" y="469"/>
                    <a:pt x="4169" y="506"/>
                    <a:pt x="4128" y="547"/>
                  </a:cubicBezTo>
                  <a:cubicBezTo>
                    <a:pt x="4090" y="589"/>
                    <a:pt x="4022" y="632"/>
                    <a:pt x="3980" y="644"/>
                  </a:cubicBezTo>
                  <a:cubicBezTo>
                    <a:pt x="3939" y="657"/>
                    <a:pt x="3892" y="656"/>
                    <a:pt x="3876" y="643"/>
                  </a:cubicBezTo>
                  <a:cubicBezTo>
                    <a:pt x="3860" y="629"/>
                    <a:pt x="3798" y="624"/>
                    <a:pt x="3738" y="624"/>
                  </a:cubicBezTo>
                  <a:cubicBezTo>
                    <a:pt x="3678" y="626"/>
                    <a:pt x="3591" y="625"/>
                    <a:pt x="3545" y="625"/>
                  </a:cubicBezTo>
                  <a:cubicBezTo>
                    <a:pt x="3499" y="620"/>
                    <a:pt x="3424" y="595"/>
                    <a:pt x="3380" y="563"/>
                  </a:cubicBezTo>
                  <a:cubicBezTo>
                    <a:pt x="3335" y="531"/>
                    <a:pt x="3263" y="496"/>
                    <a:pt x="3222" y="482"/>
                  </a:cubicBezTo>
                  <a:cubicBezTo>
                    <a:pt x="3178" y="472"/>
                    <a:pt x="3113" y="443"/>
                    <a:pt x="3072" y="426"/>
                  </a:cubicBezTo>
                  <a:cubicBezTo>
                    <a:pt x="3031" y="410"/>
                    <a:pt x="3015" y="428"/>
                    <a:pt x="3039" y="467"/>
                  </a:cubicBezTo>
                  <a:cubicBezTo>
                    <a:pt x="3059" y="508"/>
                    <a:pt x="3102" y="554"/>
                    <a:pt x="3131" y="569"/>
                  </a:cubicBezTo>
                  <a:cubicBezTo>
                    <a:pt x="3160" y="585"/>
                    <a:pt x="3210" y="627"/>
                    <a:pt x="3243" y="662"/>
                  </a:cubicBezTo>
                  <a:cubicBezTo>
                    <a:pt x="3274" y="698"/>
                    <a:pt x="3312" y="751"/>
                    <a:pt x="3326" y="781"/>
                  </a:cubicBezTo>
                  <a:cubicBezTo>
                    <a:pt x="3338" y="812"/>
                    <a:pt x="3325" y="889"/>
                    <a:pt x="3295" y="952"/>
                  </a:cubicBezTo>
                  <a:cubicBezTo>
                    <a:pt x="3266" y="1016"/>
                    <a:pt x="3256" y="1095"/>
                    <a:pt x="3274" y="1128"/>
                  </a:cubicBezTo>
                  <a:cubicBezTo>
                    <a:pt x="3290" y="1162"/>
                    <a:pt x="3306" y="1231"/>
                    <a:pt x="3302" y="1281"/>
                  </a:cubicBezTo>
                  <a:cubicBezTo>
                    <a:pt x="3300" y="1332"/>
                    <a:pt x="3350" y="1399"/>
                    <a:pt x="3414" y="1430"/>
                  </a:cubicBezTo>
                  <a:cubicBezTo>
                    <a:pt x="3478" y="1463"/>
                    <a:pt x="3566" y="1484"/>
                    <a:pt x="3608" y="1487"/>
                  </a:cubicBezTo>
                  <a:cubicBezTo>
                    <a:pt x="3650" y="1489"/>
                    <a:pt x="3720" y="1499"/>
                    <a:pt x="3765" y="1514"/>
                  </a:cubicBezTo>
                  <a:cubicBezTo>
                    <a:pt x="3808" y="1531"/>
                    <a:pt x="3849" y="1567"/>
                    <a:pt x="3856" y="1599"/>
                  </a:cubicBezTo>
                  <a:cubicBezTo>
                    <a:pt x="3862" y="1631"/>
                    <a:pt x="3841" y="1667"/>
                    <a:pt x="3813" y="1682"/>
                  </a:cubicBezTo>
                  <a:cubicBezTo>
                    <a:pt x="3783" y="1693"/>
                    <a:pt x="3709" y="1711"/>
                    <a:pt x="3648" y="1718"/>
                  </a:cubicBezTo>
                  <a:cubicBezTo>
                    <a:pt x="3587" y="1728"/>
                    <a:pt x="3521" y="1751"/>
                    <a:pt x="3502" y="1776"/>
                  </a:cubicBezTo>
                  <a:cubicBezTo>
                    <a:pt x="3483" y="1801"/>
                    <a:pt x="3461" y="1854"/>
                    <a:pt x="3455" y="1893"/>
                  </a:cubicBezTo>
                  <a:cubicBezTo>
                    <a:pt x="3449" y="1932"/>
                    <a:pt x="3391" y="1992"/>
                    <a:pt x="3327" y="2023"/>
                  </a:cubicBezTo>
                  <a:cubicBezTo>
                    <a:pt x="3264" y="2056"/>
                    <a:pt x="3197" y="2104"/>
                    <a:pt x="3179" y="2132"/>
                  </a:cubicBezTo>
                  <a:cubicBezTo>
                    <a:pt x="3161" y="2159"/>
                    <a:pt x="3113" y="2205"/>
                    <a:pt x="3073" y="2234"/>
                  </a:cubicBezTo>
                  <a:cubicBezTo>
                    <a:pt x="3033" y="2265"/>
                    <a:pt x="2978" y="2319"/>
                    <a:pt x="2953" y="2358"/>
                  </a:cubicBezTo>
                  <a:cubicBezTo>
                    <a:pt x="2927" y="2396"/>
                    <a:pt x="2864" y="2425"/>
                    <a:pt x="2812" y="2422"/>
                  </a:cubicBezTo>
                  <a:cubicBezTo>
                    <a:pt x="2759" y="2417"/>
                    <a:pt x="2690" y="2409"/>
                    <a:pt x="2661" y="2398"/>
                  </a:cubicBezTo>
                  <a:cubicBezTo>
                    <a:pt x="2629" y="2391"/>
                    <a:pt x="2559" y="2336"/>
                    <a:pt x="2500" y="2283"/>
                  </a:cubicBezTo>
                  <a:cubicBezTo>
                    <a:pt x="2443" y="2229"/>
                    <a:pt x="2351" y="2146"/>
                    <a:pt x="2297" y="2098"/>
                  </a:cubicBezTo>
                  <a:cubicBezTo>
                    <a:pt x="2242" y="2052"/>
                    <a:pt x="2171" y="2013"/>
                    <a:pt x="2138" y="2013"/>
                  </a:cubicBezTo>
                  <a:cubicBezTo>
                    <a:pt x="2106" y="2013"/>
                    <a:pt x="2075" y="1979"/>
                    <a:pt x="2071" y="1937"/>
                  </a:cubicBezTo>
                  <a:cubicBezTo>
                    <a:pt x="2069" y="1895"/>
                    <a:pt x="2056" y="1832"/>
                    <a:pt x="2045" y="1798"/>
                  </a:cubicBezTo>
                  <a:cubicBezTo>
                    <a:pt x="2036" y="1764"/>
                    <a:pt x="2008" y="1708"/>
                    <a:pt x="1983" y="1674"/>
                  </a:cubicBezTo>
                  <a:cubicBezTo>
                    <a:pt x="1958" y="1639"/>
                    <a:pt x="1929" y="1592"/>
                    <a:pt x="1919" y="1567"/>
                  </a:cubicBezTo>
                  <a:cubicBezTo>
                    <a:pt x="1910" y="1542"/>
                    <a:pt x="1874" y="1529"/>
                    <a:pt x="1840" y="1534"/>
                  </a:cubicBezTo>
                  <a:cubicBezTo>
                    <a:pt x="1807" y="1542"/>
                    <a:pt x="1764" y="1571"/>
                    <a:pt x="1743" y="1600"/>
                  </a:cubicBezTo>
                  <a:cubicBezTo>
                    <a:pt x="1722" y="1629"/>
                    <a:pt x="1693" y="1654"/>
                    <a:pt x="1678" y="1656"/>
                  </a:cubicBezTo>
                  <a:cubicBezTo>
                    <a:pt x="1662" y="1659"/>
                    <a:pt x="1636" y="1644"/>
                    <a:pt x="1621" y="1627"/>
                  </a:cubicBezTo>
                  <a:cubicBezTo>
                    <a:pt x="1606" y="1609"/>
                    <a:pt x="1572" y="1594"/>
                    <a:pt x="1548" y="1589"/>
                  </a:cubicBezTo>
                  <a:cubicBezTo>
                    <a:pt x="1524" y="1586"/>
                    <a:pt x="1495" y="1599"/>
                    <a:pt x="1481" y="1617"/>
                  </a:cubicBezTo>
                  <a:cubicBezTo>
                    <a:pt x="1469" y="1636"/>
                    <a:pt x="1344" y="1637"/>
                    <a:pt x="1204" y="1617"/>
                  </a:cubicBezTo>
                  <a:cubicBezTo>
                    <a:pt x="1066" y="1594"/>
                    <a:pt x="952" y="1622"/>
                    <a:pt x="950" y="1670"/>
                  </a:cubicBezTo>
                  <a:cubicBezTo>
                    <a:pt x="947" y="1718"/>
                    <a:pt x="961" y="1788"/>
                    <a:pt x="977" y="1826"/>
                  </a:cubicBezTo>
                  <a:cubicBezTo>
                    <a:pt x="993" y="1864"/>
                    <a:pt x="1047" y="1912"/>
                    <a:pt x="1095" y="1935"/>
                  </a:cubicBezTo>
                  <a:cubicBezTo>
                    <a:pt x="1144" y="1958"/>
                    <a:pt x="1203" y="2010"/>
                    <a:pt x="1226" y="2053"/>
                  </a:cubicBezTo>
                  <a:cubicBezTo>
                    <a:pt x="1248" y="2097"/>
                    <a:pt x="1259" y="2144"/>
                    <a:pt x="1249" y="2161"/>
                  </a:cubicBezTo>
                  <a:cubicBezTo>
                    <a:pt x="1239" y="2179"/>
                    <a:pt x="1242" y="2209"/>
                    <a:pt x="1260" y="2229"/>
                  </a:cubicBezTo>
                  <a:cubicBezTo>
                    <a:pt x="1276" y="2250"/>
                    <a:pt x="1288" y="2286"/>
                    <a:pt x="1285" y="2311"/>
                  </a:cubicBezTo>
                  <a:cubicBezTo>
                    <a:pt x="1283" y="2335"/>
                    <a:pt x="1253" y="2331"/>
                    <a:pt x="1221" y="2303"/>
                  </a:cubicBezTo>
                  <a:cubicBezTo>
                    <a:pt x="1189" y="2274"/>
                    <a:pt x="1098" y="2268"/>
                    <a:pt x="1022" y="2292"/>
                  </a:cubicBezTo>
                  <a:cubicBezTo>
                    <a:pt x="946" y="2314"/>
                    <a:pt x="896" y="2400"/>
                    <a:pt x="911" y="2483"/>
                  </a:cubicBezTo>
                  <a:cubicBezTo>
                    <a:pt x="923" y="2567"/>
                    <a:pt x="961" y="2663"/>
                    <a:pt x="986" y="2700"/>
                  </a:cubicBezTo>
                  <a:cubicBezTo>
                    <a:pt x="1010" y="2738"/>
                    <a:pt x="1075" y="2808"/>
                    <a:pt x="1127" y="2859"/>
                  </a:cubicBezTo>
                  <a:cubicBezTo>
                    <a:pt x="1180" y="2908"/>
                    <a:pt x="1254" y="3007"/>
                    <a:pt x="1293" y="3077"/>
                  </a:cubicBezTo>
                  <a:cubicBezTo>
                    <a:pt x="1333" y="3146"/>
                    <a:pt x="1370" y="3244"/>
                    <a:pt x="1376" y="3295"/>
                  </a:cubicBezTo>
                  <a:cubicBezTo>
                    <a:pt x="1382" y="3345"/>
                    <a:pt x="1389" y="3404"/>
                    <a:pt x="1391" y="3427"/>
                  </a:cubicBezTo>
                  <a:cubicBezTo>
                    <a:pt x="1394" y="3449"/>
                    <a:pt x="1378" y="3712"/>
                    <a:pt x="1359" y="4010"/>
                  </a:cubicBezTo>
                  <a:cubicBezTo>
                    <a:pt x="1340" y="4306"/>
                    <a:pt x="1321" y="4610"/>
                    <a:pt x="1315" y="4687"/>
                  </a:cubicBezTo>
                  <a:cubicBezTo>
                    <a:pt x="1305" y="4764"/>
                    <a:pt x="1308" y="4840"/>
                    <a:pt x="1313" y="4855"/>
                  </a:cubicBezTo>
                  <a:cubicBezTo>
                    <a:pt x="1319" y="4870"/>
                    <a:pt x="1314" y="4897"/>
                    <a:pt x="1310" y="4917"/>
                  </a:cubicBezTo>
                  <a:cubicBezTo>
                    <a:pt x="1302" y="4936"/>
                    <a:pt x="1276" y="4940"/>
                    <a:pt x="1248" y="4928"/>
                  </a:cubicBezTo>
                  <a:cubicBezTo>
                    <a:pt x="1221" y="4913"/>
                    <a:pt x="1200" y="4897"/>
                    <a:pt x="1200" y="4887"/>
                  </a:cubicBezTo>
                  <a:cubicBezTo>
                    <a:pt x="1201" y="4879"/>
                    <a:pt x="1174" y="4852"/>
                    <a:pt x="1146" y="4824"/>
                  </a:cubicBezTo>
                  <a:cubicBezTo>
                    <a:pt x="1116" y="4798"/>
                    <a:pt x="1084" y="4777"/>
                    <a:pt x="1075" y="4779"/>
                  </a:cubicBezTo>
                  <a:cubicBezTo>
                    <a:pt x="1067" y="4782"/>
                    <a:pt x="1040" y="4779"/>
                    <a:pt x="1017" y="4774"/>
                  </a:cubicBezTo>
                  <a:cubicBezTo>
                    <a:pt x="994" y="4770"/>
                    <a:pt x="967" y="4759"/>
                    <a:pt x="954" y="4753"/>
                  </a:cubicBezTo>
                  <a:cubicBezTo>
                    <a:pt x="942" y="4748"/>
                    <a:pt x="933" y="4758"/>
                    <a:pt x="926" y="4780"/>
                  </a:cubicBezTo>
                  <a:cubicBezTo>
                    <a:pt x="922" y="4801"/>
                    <a:pt x="857" y="4834"/>
                    <a:pt x="781" y="4849"/>
                  </a:cubicBezTo>
                  <a:cubicBezTo>
                    <a:pt x="706" y="4866"/>
                    <a:pt x="599" y="4888"/>
                    <a:pt x="542" y="4888"/>
                  </a:cubicBezTo>
                  <a:cubicBezTo>
                    <a:pt x="485" y="4893"/>
                    <a:pt x="430" y="4908"/>
                    <a:pt x="418" y="4924"/>
                  </a:cubicBezTo>
                  <a:cubicBezTo>
                    <a:pt x="405" y="4939"/>
                    <a:pt x="387" y="4957"/>
                    <a:pt x="374" y="4957"/>
                  </a:cubicBezTo>
                  <a:cubicBezTo>
                    <a:pt x="361" y="4957"/>
                    <a:pt x="337" y="4983"/>
                    <a:pt x="317" y="5008"/>
                  </a:cubicBezTo>
                  <a:cubicBezTo>
                    <a:pt x="302" y="5035"/>
                    <a:pt x="262" y="5060"/>
                    <a:pt x="239" y="5072"/>
                  </a:cubicBezTo>
                  <a:cubicBezTo>
                    <a:pt x="214" y="5080"/>
                    <a:pt x="182" y="5102"/>
                    <a:pt x="163" y="5112"/>
                  </a:cubicBezTo>
                  <a:cubicBezTo>
                    <a:pt x="144" y="5123"/>
                    <a:pt x="138" y="5166"/>
                    <a:pt x="150" y="5204"/>
                  </a:cubicBezTo>
                  <a:cubicBezTo>
                    <a:pt x="158" y="5241"/>
                    <a:pt x="161" y="5288"/>
                    <a:pt x="154" y="5307"/>
                  </a:cubicBezTo>
                  <a:cubicBezTo>
                    <a:pt x="148" y="5327"/>
                    <a:pt x="149" y="5361"/>
                    <a:pt x="158" y="5385"/>
                  </a:cubicBezTo>
                  <a:cubicBezTo>
                    <a:pt x="166" y="5409"/>
                    <a:pt x="155" y="5454"/>
                    <a:pt x="131" y="5487"/>
                  </a:cubicBezTo>
                  <a:cubicBezTo>
                    <a:pt x="109" y="5520"/>
                    <a:pt x="104" y="5588"/>
                    <a:pt x="124" y="5639"/>
                  </a:cubicBezTo>
                  <a:cubicBezTo>
                    <a:pt x="144" y="5690"/>
                    <a:pt x="174" y="5754"/>
                    <a:pt x="189" y="5782"/>
                  </a:cubicBezTo>
                  <a:cubicBezTo>
                    <a:pt x="203" y="5810"/>
                    <a:pt x="205" y="5848"/>
                    <a:pt x="191" y="5866"/>
                  </a:cubicBezTo>
                  <a:cubicBezTo>
                    <a:pt x="173" y="5883"/>
                    <a:pt x="150" y="5893"/>
                    <a:pt x="133" y="5886"/>
                  </a:cubicBezTo>
                  <a:cubicBezTo>
                    <a:pt x="116" y="5878"/>
                    <a:pt x="81" y="5888"/>
                    <a:pt x="54" y="5906"/>
                  </a:cubicBezTo>
                  <a:cubicBezTo>
                    <a:pt x="26" y="5923"/>
                    <a:pt x="9" y="5963"/>
                    <a:pt x="13" y="5991"/>
                  </a:cubicBezTo>
                  <a:cubicBezTo>
                    <a:pt x="16" y="6019"/>
                    <a:pt x="15" y="6053"/>
                    <a:pt x="5" y="6065"/>
                  </a:cubicBezTo>
                  <a:cubicBezTo>
                    <a:pt x="-3" y="6078"/>
                    <a:pt x="-3" y="6106"/>
                    <a:pt x="10" y="6125"/>
                  </a:cubicBezTo>
                  <a:cubicBezTo>
                    <a:pt x="21" y="6146"/>
                    <a:pt x="34" y="6188"/>
                    <a:pt x="34" y="6219"/>
                  </a:cubicBezTo>
                  <a:cubicBezTo>
                    <a:pt x="37" y="6249"/>
                    <a:pt x="36" y="6294"/>
                    <a:pt x="32" y="6318"/>
                  </a:cubicBezTo>
                  <a:cubicBezTo>
                    <a:pt x="27" y="6342"/>
                    <a:pt x="32" y="6384"/>
                    <a:pt x="48" y="6407"/>
                  </a:cubicBezTo>
                  <a:cubicBezTo>
                    <a:pt x="60" y="6432"/>
                    <a:pt x="69" y="6468"/>
                    <a:pt x="69" y="6488"/>
                  </a:cubicBezTo>
                  <a:cubicBezTo>
                    <a:pt x="65" y="6508"/>
                    <a:pt x="100" y="6560"/>
                    <a:pt x="137" y="6606"/>
                  </a:cubicBezTo>
                  <a:cubicBezTo>
                    <a:pt x="175" y="6652"/>
                    <a:pt x="268" y="6790"/>
                    <a:pt x="349" y="6911"/>
                  </a:cubicBezTo>
                  <a:cubicBezTo>
                    <a:pt x="427" y="7034"/>
                    <a:pt x="475" y="7164"/>
                    <a:pt x="456" y="7202"/>
                  </a:cubicBezTo>
                  <a:cubicBezTo>
                    <a:pt x="437" y="7239"/>
                    <a:pt x="478" y="7276"/>
                    <a:pt x="546" y="7286"/>
                  </a:cubicBezTo>
                  <a:cubicBezTo>
                    <a:pt x="615" y="7293"/>
                    <a:pt x="701" y="7314"/>
                    <a:pt x="735" y="7329"/>
                  </a:cubicBezTo>
                  <a:cubicBezTo>
                    <a:pt x="771" y="7344"/>
                    <a:pt x="829" y="7396"/>
                    <a:pt x="862" y="7446"/>
                  </a:cubicBezTo>
                  <a:cubicBezTo>
                    <a:pt x="899" y="7494"/>
                    <a:pt x="937" y="7570"/>
                    <a:pt x="952" y="7610"/>
                  </a:cubicBezTo>
                  <a:cubicBezTo>
                    <a:pt x="969" y="7650"/>
                    <a:pt x="1022" y="7696"/>
                    <a:pt x="1072" y="7708"/>
                  </a:cubicBezTo>
                  <a:cubicBezTo>
                    <a:pt x="1122" y="7723"/>
                    <a:pt x="1212" y="7748"/>
                    <a:pt x="1272" y="7765"/>
                  </a:cubicBezTo>
                  <a:cubicBezTo>
                    <a:pt x="1333" y="7781"/>
                    <a:pt x="1416" y="7764"/>
                    <a:pt x="1451" y="7720"/>
                  </a:cubicBezTo>
                  <a:cubicBezTo>
                    <a:pt x="1488" y="7676"/>
                    <a:pt x="1550" y="7626"/>
                    <a:pt x="1587" y="7606"/>
                  </a:cubicBezTo>
                  <a:cubicBezTo>
                    <a:pt x="1623" y="7586"/>
                    <a:pt x="1664" y="7586"/>
                    <a:pt x="1680" y="7603"/>
                  </a:cubicBezTo>
                  <a:cubicBezTo>
                    <a:pt x="1696" y="7620"/>
                    <a:pt x="1708" y="7659"/>
                    <a:pt x="1709" y="7689"/>
                  </a:cubicBezTo>
                  <a:cubicBezTo>
                    <a:pt x="1709" y="7718"/>
                    <a:pt x="1708" y="7751"/>
                    <a:pt x="1700" y="7759"/>
                  </a:cubicBezTo>
                  <a:cubicBezTo>
                    <a:pt x="1694" y="7768"/>
                    <a:pt x="1697" y="7815"/>
                    <a:pt x="1706" y="7865"/>
                  </a:cubicBezTo>
                  <a:cubicBezTo>
                    <a:pt x="1715" y="7914"/>
                    <a:pt x="1742" y="8023"/>
                    <a:pt x="1767" y="8106"/>
                  </a:cubicBezTo>
                  <a:cubicBezTo>
                    <a:pt x="1791" y="8190"/>
                    <a:pt x="1817" y="8284"/>
                    <a:pt x="1826" y="8317"/>
                  </a:cubicBezTo>
                  <a:cubicBezTo>
                    <a:pt x="1834" y="8350"/>
                    <a:pt x="1855" y="8393"/>
                    <a:pt x="1874" y="8412"/>
                  </a:cubicBezTo>
                  <a:cubicBezTo>
                    <a:pt x="1893" y="8430"/>
                    <a:pt x="1925" y="8448"/>
                    <a:pt x="1948" y="8448"/>
                  </a:cubicBezTo>
                  <a:cubicBezTo>
                    <a:pt x="1970" y="8451"/>
                    <a:pt x="2006" y="8448"/>
                    <a:pt x="2028" y="8445"/>
                  </a:cubicBezTo>
                  <a:cubicBezTo>
                    <a:pt x="2048" y="8440"/>
                    <a:pt x="2087" y="8445"/>
                    <a:pt x="2112" y="8448"/>
                  </a:cubicBezTo>
                  <a:cubicBezTo>
                    <a:pt x="2138" y="8450"/>
                    <a:pt x="2169" y="8459"/>
                    <a:pt x="2182" y="8456"/>
                  </a:cubicBezTo>
                  <a:cubicBezTo>
                    <a:pt x="2194" y="8456"/>
                    <a:pt x="2216" y="8465"/>
                    <a:pt x="2229" y="8474"/>
                  </a:cubicBezTo>
                  <a:cubicBezTo>
                    <a:pt x="2244" y="8483"/>
                    <a:pt x="2256" y="8496"/>
                    <a:pt x="2261" y="8496"/>
                  </a:cubicBezTo>
                  <a:cubicBezTo>
                    <a:pt x="2264" y="8498"/>
                    <a:pt x="2268" y="8500"/>
                    <a:pt x="2268" y="8500"/>
                  </a:cubicBezTo>
                  <a:cubicBezTo>
                    <a:pt x="2268" y="8500"/>
                    <a:pt x="2330" y="8515"/>
                    <a:pt x="2407" y="8530"/>
                  </a:cubicBezTo>
                  <a:cubicBezTo>
                    <a:pt x="2484" y="8548"/>
                    <a:pt x="2576" y="8568"/>
                    <a:pt x="2612" y="8578"/>
                  </a:cubicBezTo>
                  <a:cubicBezTo>
                    <a:pt x="2646" y="8590"/>
                    <a:pt x="2703" y="8585"/>
                    <a:pt x="2732" y="8569"/>
                  </a:cubicBezTo>
                  <a:cubicBezTo>
                    <a:pt x="2764" y="8556"/>
                    <a:pt x="2805" y="8546"/>
                    <a:pt x="2824" y="8550"/>
                  </a:cubicBezTo>
                  <a:cubicBezTo>
                    <a:pt x="2844" y="8553"/>
                    <a:pt x="2876" y="8542"/>
                    <a:pt x="2899" y="8524"/>
                  </a:cubicBezTo>
                  <a:cubicBezTo>
                    <a:pt x="2919" y="8504"/>
                    <a:pt x="2964" y="8494"/>
                    <a:pt x="2993" y="8502"/>
                  </a:cubicBezTo>
                  <a:cubicBezTo>
                    <a:pt x="3024" y="8509"/>
                    <a:pt x="3076" y="8509"/>
                    <a:pt x="3109" y="8505"/>
                  </a:cubicBezTo>
                  <a:cubicBezTo>
                    <a:pt x="3143" y="8502"/>
                    <a:pt x="3177" y="8449"/>
                    <a:pt x="3186" y="8390"/>
                  </a:cubicBezTo>
                  <a:cubicBezTo>
                    <a:pt x="3194" y="8332"/>
                    <a:pt x="3244" y="8260"/>
                    <a:pt x="3294" y="8228"/>
                  </a:cubicBezTo>
                  <a:cubicBezTo>
                    <a:pt x="3344" y="8195"/>
                    <a:pt x="3421" y="8172"/>
                    <a:pt x="3461" y="8172"/>
                  </a:cubicBezTo>
                  <a:cubicBezTo>
                    <a:pt x="3502" y="8175"/>
                    <a:pt x="3565" y="8162"/>
                    <a:pt x="3600" y="8146"/>
                  </a:cubicBezTo>
                  <a:cubicBezTo>
                    <a:pt x="3636" y="8131"/>
                    <a:pt x="3689" y="8122"/>
                    <a:pt x="3716" y="8129"/>
                  </a:cubicBezTo>
                  <a:cubicBezTo>
                    <a:pt x="3744" y="8135"/>
                    <a:pt x="3793" y="8159"/>
                    <a:pt x="3821" y="8186"/>
                  </a:cubicBezTo>
                  <a:cubicBezTo>
                    <a:pt x="3852" y="8211"/>
                    <a:pt x="3898" y="8222"/>
                    <a:pt x="3923" y="8206"/>
                  </a:cubicBezTo>
                  <a:cubicBezTo>
                    <a:pt x="3947" y="8189"/>
                    <a:pt x="3985" y="8192"/>
                    <a:pt x="4002" y="8210"/>
                  </a:cubicBezTo>
                  <a:cubicBezTo>
                    <a:pt x="4020" y="8227"/>
                    <a:pt x="4036" y="8268"/>
                    <a:pt x="4039" y="8300"/>
                  </a:cubicBezTo>
                  <a:cubicBezTo>
                    <a:pt x="4043" y="8332"/>
                    <a:pt x="4066" y="8402"/>
                    <a:pt x="4090" y="8457"/>
                  </a:cubicBezTo>
                  <a:cubicBezTo>
                    <a:pt x="4116" y="8512"/>
                    <a:pt x="4124" y="8585"/>
                    <a:pt x="4114" y="8623"/>
                  </a:cubicBezTo>
                  <a:cubicBezTo>
                    <a:pt x="4101" y="8660"/>
                    <a:pt x="4116" y="8746"/>
                    <a:pt x="4147" y="8815"/>
                  </a:cubicBezTo>
                  <a:cubicBezTo>
                    <a:pt x="4178" y="8884"/>
                    <a:pt x="4198" y="8961"/>
                    <a:pt x="4192" y="8988"/>
                  </a:cubicBezTo>
                  <a:cubicBezTo>
                    <a:pt x="4187" y="9014"/>
                    <a:pt x="4211" y="9082"/>
                    <a:pt x="4244" y="9140"/>
                  </a:cubicBezTo>
                  <a:cubicBezTo>
                    <a:pt x="4275" y="9198"/>
                    <a:pt x="4330" y="9261"/>
                    <a:pt x="4364" y="9280"/>
                  </a:cubicBezTo>
                  <a:cubicBezTo>
                    <a:pt x="4396" y="9302"/>
                    <a:pt x="4441" y="9353"/>
                    <a:pt x="4457" y="9397"/>
                  </a:cubicBezTo>
                  <a:cubicBezTo>
                    <a:pt x="4476" y="9442"/>
                    <a:pt x="4516" y="9500"/>
                    <a:pt x="4552" y="9519"/>
                  </a:cubicBezTo>
                  <a:cubicBezTo>
                    <a:pt x="4587" y="9539"/>
                    <a:pt x="4652" y="9589"/>
                    <a:pt x="4699" y="9626"/>
                  </a:cubicBezTo>
                  <a:cubicBezTo>
                    <a:pt x="4745" y="9664"/>
                    <a:pt x="4812" y="9721"/>
                    <a:pt x="4848" y="9754"/>
                  </a:cubicBezTo>
                  <a:cubicBezTo>
                    <a:pt x="4881" y="9789"/>
                    <a:pt x="4918" y="9807"/>
                    <a:pt x="4926" y="9795"/>
                  </a:cubicBezTo>
                  <a:cubicBezTo>
                    <a:pt x="4934" y="9783"/>
                    <a:pt x="4984" y="9772"/>
                    <a:pt x="5036" y="9767"/>
                  </a:cubicBezTo>
                  <a:cubicBezTo>
                    <a:pt x="5088" y="9762"/>
                    <a:pt x="5176" y="9809"/>
                    <a:pt x="5233" y="9866"/>
                  </a:cubicBezTo>
                  <a:cubicBezTo>
                    <a:pt x="5290" y="9924"/>
                    <a:pt x="5362" y="9970"/>
                    <a:pt x="5395" y="9965"/>
                  </a:cubicBezTo>
                  <a:cubicBezTo>
                    <a:pt x="5427" y="9963"/>
                    <a:pt x="5505" y="10010"/>
                    <a:pt x="5562" y="10076"/>
                  </a:cubicBezTo>
                  <a:cubicBezTo>
                    <a:pt x="5626" y="10138"/>
                    <a:pt x="5689" y="10199"/>
                    <a:pt x="5710" y="10196"/>
                  </a:cubicBezTo>
                  <a:cubicBezTo>
                    <a:pt x="5730" y="10199"/>
                    <a:pt x="5800" y="10224"/>
                    <a:pt x="5862" y="10258"/>
                  </a:cubicBezTo>
                  <a:cubicBezTo>
                    <a:pt x="5924" y="10290"/>
                    <a:pt x="6008" y="10333"/>
                    <a:pt x="6049" y="10354"/>
                  </a:cubicBezTo>
                  <a:cubicBezTo>
                    <a:pt x="6089" y="10376"/>
                    <a:pt x="6136" y="10427"/>
                    <a:pt x="6152" y="10469"/>
                  </a:cubicBezTo>
                  <a:cubicBezTo>
                    <a:pt x="6167" y="10512"/>
                    <a:pt x="6206" y="10557"/>
                    <a:pt x="6235" y="10570"/>
                  </a:cubicBezTo>
                  <a:cubicBezTo>
                    <a:pt x="6265" y="10581"/>
                    <a:pt x="6321" y="10616"/>
                    <a:pt x="6361" y="10644"/>
                  </a:cubicBezTo>
                  <a:cubicBezTo>
                    <a:pt x="6399" y="10672"/>
                    <a:pt x="6496" y="10698"/>
                    <a:pt x="6574" y="10706"/>
                  </a:cubicBezTo>
                  <a:cubicBezTo>
                    <a:pt x="6651" y="10714"/>
                    <a:pt x="6765" y="10755"/>
                    <a:pt x="6829" y="10797"/>
                  </a:cubicBezTo>
                  <a:cubicBezTo>
                    <a:pt x="6889" y="10842"/>
                    <a:pt x="6958" y="10896"/>
                    <a:pt x="6974" y="10923"/>
                  </a:cubicBezTo>
                  <a:cubicBezTo>
                    <a:pt x="6992" y="10949"/>
                    <a:pt x="7011" y="11023"/>
                    <a:pt x="7016" y="11086"/>
                  </a:cubicBezTo>
                  <a:cubicBezTo>
                    <a:pt x="7024" y="11148"/>
                    <a:pt x="7045" y="11245"/>
                    <a:pt x="7070" y="11299"/>
                  </a:cubicBezTo>
                  <a:cubicBezTo>
                    <a:pt x="7093" y="11354"/>
                    <a:pt x="7103" y="11422"/>
                    <a:pt x="7096" y="11451"/>
                  </a:cubicBezTo>
                  <a:cubicBezTo>
                    <a:pt x="7086" y="11480"/>
                    <a:pt x="7136" y="11585"/>
                    <a:pt x="7209" y="11682"/>
                  </a:cubicBezTo>
                  <a:cubicBezTo>
                    <a:pt x="7280" y="11780"/>
                    <a:pt x="7347" y="11911"/>
                    <a:pt x="7358" y="11973"/>
                  </a:cubicBezTo>
                  <a:cubicBezTo>
                    <a:pt x="7368" y="12036"/>
                    <a:pt x="7577" y="12132"/>
                    <a:pt x="7825" y="12182"/>
                  </a:cubicBezTo>
                  <a:cubicBezTo>
                    <a:pt x="8075" y="12232"/>
                    <a:pt x="8304" y="12349"/>
                    <a:pt x="8337" y="12438"/>
                  </a:cubicBezTo>
                  <a:cubicBezTo>
                    <a:pt x="8368" y="12528"/>
                    <a:pt x="8403" y="12646"/>
                    <a:pt x="8410" y="12700"/>
                  </a:cubicBezTo>
                  <a:cubicBezTo>
                    <a:pt x="8420" y="12755"/>
                    <a:pt x="8488" y="12825"/>
                    <a:pt x="8566" y="12854"/>
                  </a:cubicBezTo>
                  <a:cubicBezTo>
                    <a:pt x="8644" y="12882"/>
                    <a:pt x="8791" y="13023"/>
                    <a:pt x="8894" y="13163"/>
                  </a:cubicBezTo>
                  <a:cubicBezTo>
                    <a:pt x="8997" y="13302"/>
                    <a:pt x="9101" y="13471"/>
                    <a:pt x="9118" y="13538"/>
                  </a:cubicBezTo>
                  <a:cubicBezTo>
                    <a:pt x="9138" y="13605"/>
                    <a:pt x="9122" y="13757"/>
                    <a:pt x="9082" y="13875"/>
                  </a:cubicBezTo>
                  <a:cubicBezTo>
                    <a:pt x="9045" y="13992"/>
                    <a:pt x="9020" y="14104"/>
                    <a:pt x="9028" y="14124"/>
                  </a:cubicBezTo>
                  <a:cubicBezTo>
                    <a:pt x="9035" y="14145"/>
                    <a:pt x="9032" y="14177"/>
                    <a:pt x="9020" y="14198"/>
                  </a:cubicBezTo>
                  <a:cubicBezTo>
                    <a:pt x="9010" y="14220"/>
                    <a:pt x="9009" y="14250"/>
                    <a:pt x="9026" y="14266"/>
                  </a:cubicBezTo>
                  <a:cubicBezTo>
                    <a:pt x="9042" y="14281"/>
                    <a:pt x="9055" y="14317"/>
                    <a:pt x="9054" y="14344"/>
                  </a:cubicBezTo>
                  <a:cubicBezTo>
                    <a:pt x="9051" y="14371"/>
                    <a:pt x="9085" y="14419"/>
                    <a:pt x="9126" y="14451"/>
                  </a:cubicBezTo>
                  <a:cubicBezTo>
                    <a:pt x="9167" y="14482"/>
                    <a:pt x="9213" y="14541"/>
                    <a:pt x="9222" y="14582"/>
                  </a:cubicBezTo>
                  <a:cubicBezTo>
                    <a:pt x="9235" y="14622"/>
                    <a:pt x="9277" y="14691"/>
                    <a:pt x="9314" y="14738"/>
                  </a:cubicBezTo>
                  <a:cubicBezTo>
                    <a:pt x="9352" y="14784"/>
                    <a:pt x="9392" y="14883"/>
                    <a:pt x="9394" y="14959"/>
                  </a:cubicBezTo>
                  <a:cubicBezTo>
                    <a:pt x="9399" y="15035"/>
                    <a:pt x="9419" y="15125"/>
                    <a:pt x="9434" y="15158"/>
                  </a:cubicBezTo>
                  <a:cubicBezTo>
                    <a:pt x="9451" y="15191"/>
                    <a:pt x="9463" y="15240"/>
                    <a:pt x="9458" y="15266"/>
                  </a:cubicBezTo>
                  <a:cubicBezTo>
                    <a:pt x="9457" y="15292"/>
                    <a:pt x="9466" y="15338"/>
                    <a:pt x="9484" y="15368"/>
                  </a:cubicBezTo>
                  <a:cubicBezTo>
                    <a:pt x="9504" y="15397"/>
                    <a:pt x="9559" y="15429"/>
                    <a:pt x="9611" y="15436"/>
                  </a:cubicBezTo>
                  <a:cubicBezTo>
                    <a:pt x="9664" y="15443"/>
                    <a:pt x="9727" y="15460"/>
                    <a:pt x="9752" y="15474"/>
                  </a:cubicBezTo>
                  <a:cubicBezTo>
                    <a:pt x="9778" y="15488"/>
                    <a:pt x="9851" y="15507"/>
                    <a:pt x="9916" y="15518"/>
                  </a:cubicBezTo>
                  <a:cubicBezTo>
                    <a:pt x="9981" y="15528"/>
                    <a:pt x="10071" y="15553"/>
                    <a:pt x="10116" y="15574"/>
                  </a:cubicBezTo>
                  <a:cubicBezTo>
                    <a:pt x="10160" y="15597"/>
                    <a:pt x="10247" y="15605"/>
                    <a:pt x="10307" y="15593"/>
                  </a:cubicBezTo>
                  <a:cubicBezTo>
                    <a:pt x="10369" y="15585"/>
                    <a:pt x="10452" y="15597"/>
                    <a:pt x="10493" y="15626"/>
                  </a:cubicBezTo>
                  <a:cubicBezTo>
                    <a:pt x="10534" y="15656"/>
                    <a:pt x="10591" y="15693"/>
                    <a:pt x="10621" y="15704"/>
                  </a:cubicBezTo>
                  <a:cubicBezTo>
                    <a:pt x="10649" y="15718"/>
                    <a:pt x="10689" y="15753"/>
                    <a:pt x="10707" y="15785"/>
                  </a:cubicBezTo>
                  <a:cubicBezTo>
                    <a:pt x="10726" y="15816"/>
                    <a:pt x="10800" y="15963"/>
                    <a:pt x="10871" y="16111"/>
                  </a:cubicBezTo>
                  <a:cubicBezTo>
                    <a:pt x="10942" y="16258"/>
                    <a:pt x="11036" y="16420"/>
                    <a:pt x="11072" y="16474"/>
                  </a:cubicBezTo>
                  <a:cubicBezTo>
                    <a:pt x="11109" y="16528"/>
                    <a:pt x="11163" y="16581"/>
                    <a:pt x="11191" y="16593"/>
                  </a:cubicBezTo>
                  <a:cubicBezTo>
                    <a:pt x="11219" y="16606"/>
                    <a:pt x="11284" y="16600"/>
                    <a:pt x="11335" y="16585"/>
                  </a:cubicBezTo>
                  <a:cubicBezTo>
                    <a:pt x="11385" y="16568"/>
                    <a:pt x="11456" y="16571"/>
                    <a:pt x="11492" y="16587"/>
                  </a:cubicBezTo>
                  <a:cubicBezTo>
                    <a:pt x="11528" y="16605"/>
                    <a:pt x="11579" y="16637"/>
                    <a:pt x="11606" y="16659"/>
                  </a:cubicBezTo>
                  <a:cubicBezTo>
                    <a:pt x="11635" y="16678"/>
                    <a:pt x="11673" y="16705"/>
                    <a:pt x="11695" y="16713"/>
                  </a:cubicBezTo>
                  <a:cubicBezTo>
                    <a:pt x="11717" y="16722"/>
                    <a:pt x="11729" y="16742"/>
                    <a:pt x="11719" y="16759"/>
                  </a:cubicBezTo>
                  <a:cubicBezTo>
                    <a:pt x="11710" y="16777"/>
                    <a:pt x="11725" y="16888"/>
                    <a:pt x="11752" y="17006"/>
                  </a:cubicBezTo>
                  <a:cubicBezTo>
                    <a:pt x="11780" y="17124"/>
                    <a:pt x="11799" y="17230"/>
                    <a:pt x="11797" y="17243"/>
                  </a:cubicBezTo>
                  <a:cubicBezTo>
                    <a:pt x="11794" y="17255"/>
                    <a:pt x="11792" y="17270"/>
                    <a:pt x="11788" y="17273"/>
                  </a:cubicBezTo>
                  <a:cubicBezTo>
                    <a:pt x="11786" y="17276"/>
                    <a:pt x="11788" y="17292"/>
                    <a:pt x="11791" y="17308"/>
                  </a:cubicBezTo>
                  <a:cubicBezTo>
                    <a:pt x="11796" y="17323"/>
                    <a:pt x="11797" y="17346"/>
                    <a:pt x="11798" y="17359"/>
                  </a:cubicBezTo>
                  <a:cubicBezTo>
                    <a:pt x="11797" y="17370"/>
                    <a:pt x="11799" y="17393"/>
                    <a:pt x="11802" y="17407"/>
                  </a:cubicBezTo>
                  <a:cubicBezTo>
                    <a:pt x="11805" y="17423"/>
                    <a:pt x="11824" y="17425"/>
                    <a:pt x="11846" y="17418"/>
                  </a:cubicBezTo>
                  <a:cubicBezTo>
                    <a:pt x="11869" y="17410"/>
                    <a:pt x="11942" y="17423"/>
                    <a:pt x="12014" y="17441"/>
                  </a:cubicBezTo>
                  <a:cubicBezTo>
                    <a:pt x="12083" y="17463"/>
                    <a:pt x="12151" y="17500"/>
                    <a:pt x="12157" y="17526"/>
                  </a:cubicBezTo>
                  <a:cubicBezTo>
                    <a:pt x="12166" y="17552"/>
                    <a:pt x="12208" y="17620"/>
                    <a:pt x="12249" y="17678"/>
                  </a:cubicBezTo>
                  <a:cubicBezTo>
                    <a:pt x="12292" y="17736"/>
                    <a:pt x="12332" y="17818"/>
                    <a:pt x="12342" y="17860"/>
                  </a:cubicBezTo>
                  <a:cubicBezTo>
                    <a:pt x="12351" y="17901"/>
                    <a:pt x="12375" y="17975"/>
                    <a:pt x="12393" y="18024"/>
                  </a:cubicBezTo>
                  <a:cubicBezTo>
                    <a:pt x="12412" y="18074"/>
                    <a:pt x="12442" y="18151"/>
                    <a:pt x="12460" y="18196"/>
                  </a:cubicBezTo>
                  <a:cubicBezTo>
                    <a:pt x="12477" y="18241"/>
                    <a:pt x="12487" y="18291"/>
                    <a:pt x="12485" y="18307"/>
                  </a:cubicBezTo>
                  <a:cubicBezTo>
                    <a:pt x="12485" y="18323"/>
                    <a:pt x="12455" y="18328"/>
                    <a:pt x="12424" y="18323"/>
                  </a:cubicBezTo>
                  <a:cubicBezTo>
                    <a:pt x="12394" y="18318"/>
                    <a:pt x="12344" y="18316"/>
                    <a:pt x="12313" y="18326"/>
                  </a:cubicBezTo>
                  <a:cubicBezTo>
                    <a:pt x="12281" y="18334"/>
                    <a:pt x="12254" y="18349"/>
                    <a:pt x="12250" y="18357"/>
                  </a:cubicBezTo>
                  <a:cubicBezTo>
                    <a:pt x="12246" y="18365"/>
                    <a:pt x="12231" y="18379"/>
                    <a:pt x="12215" y="18392"/>
                  </a:cubicBezTo>
                  <a:cubicBezTo>
                    <a:pt x="12199" y="18403"/>
                    <a:pt x="12176" y="18405"/>
                    <a:pt x="12165" y="18399"/>
                  </a:cubicBezTo>
                  <a:cubicBezTo>
                    <a:pt x="12155" y="18393"/>
                    <a:pt x="12103" y="18403"/>
                    <a:pt x="12054" y="18426"/>
                  </a:cubicBezTo>
                  <a:cubicBezTo>
                    <a:pt x="12004" y="18447"/>
                    <a:pt x="11957" y="18474"/>
                    <a:pt x="11949" y="18487"/>
                  </a:cubicBezTo>
                  <a:cubicBezTo>
                    <a:pt x="11945" y="18501"/>
                    <a:pt x="11919" y="18509"/>
                    <a:pt x="11898" y="18512"/>
                  </a:cubicBezTo>
                  <a:cubicBezTo>
                    <a:pt x="11876" y="18514"/>
                    <a:pt x="11824" y="18535"/>
                    <a:pt x="11780" y="18559"/>
                  </a:cubicBezTo>
                  <a:cubicBezTo>
                    <a:pt x="11739" y="18587"/>
                    <a:pt x="11688" y="18608"/>
                    <a:pt x="11672" y="18608"/>
                  </a:cubicBezTo>
                  <a:cubicBezTo>
                    <a:pt x="11657" y="18611"/>
                    <a:pt x="11649" y="18634"/>
                    <a:pt x="11655" y="18663"/>
                  </a:cubicBezTo>
                  <a:cubicBezTo>
                    <a:pt x="11661" y="18692"/>
                    <a:pt x="11652" y="18714"/>
                    <a:pt x="11634" y="18717"/>
                  </a:cubicBezTo>
                  <a:cubicBezTo>
                    <a:pt x="11616" y="18717"/>
                    <a:pt x="11585" y="18715"/>
                    <a:pt x="11568" y="18707"/>
                  </a:cubicBezTo>
                  <a:cubicBezTo>
                    <a:pt x="11550" y="18700"/>
                    <a:pt x="11505" y="18723"/>
                    <a:pt x="11477" y="18762"/>
                  </a:cubicBezTo>
                  <a:cubicBezTo>
                    <a:pt x="11445" y="18797"/>
                    <a:pt x="11417" y="18841"/>
                    <a:pt x="11415" y="18857"/>
                  </a:cubicBezTo>
                  <a:cubicBezTo>
                    <a:pt x="11415" y="18873"/>
                    <a:pt x="11417" y="18908"/>
                    <a:pt x="11426" y="18934"/>
                  </a:cubicBezTo>
                  <a:cubicBezTo>
                    <a:pt x="11436" y="18960"/>
                    <a:pt x="11427" y="18983"/>
                    <a:pt x="11408" y="18983"/>
                  </a:cubicBezTo>
                  <a:cubicBezTo>
                    <a:pt x="11389" y="18985"/>
                    <a:pt x="11369" y="18994"/>
                    <a:pt x="11361" y="19006"/>
                  </a:cubicBezTo>
                  <a:cubicBezTo>
                    <a:pt x="11354" y="19018"/>
                    <a:pt x="11339" y="19058"/>
                    <a:pt x="11321" y="19094"/>
                  </a:cubicBezTo>
                  <a:cubicBezTo>
                    <a:pt x="11304" y="19130"/>
                    <a:pt x="11281" y="19171"/>
                    <a:pt x="11266" y="19184"/>
                  </a:cubicBezTo>
                  <a:cubicBezTo>
                    <a:pt x="11252" y="19197"/>
                    <a:pt x="11229" y="19229"/>
                    <a:pt x="11215" y="19255"/>
                  </a:cubicBezTo>
                  <a:cubicBezTo>
                    <a:pt x="11203" y="19283"/>
                    <a:pt x="11192" y="19313"/>
                    <a:pt x="11197" y="19323"/>
                  </a:cubicBezTo>
                  <a:cubicBezTo>
                    <a:pt x="11200" y="19334"/>
                    <a:pt x="11187" y="19352"/>
                    <a:pt x="11164" y="19359"/>
                  </a:cubicBezTo>
                  <a:cubicBezTo>
                    <a:pt x="11146" y="19369"/>
                    <a:pt x="11129" y="19384"/>
                    <a:pt x="11125" y="19398"/>
                  </a:cubicBezTo>
                  <a:cubicBezTo>
                    <a:pt x="11129" y="19406"/>
                    <a:pt x="11144" y="19415"/>
                    <a:pt x="11162" y="19419"/>
                  </a:cubicBezTo>
                  <a:cubicBezTo>
                    <a:pt x="11182" y="19426"/>
                    <a:pt x="11214" y="19438"/>
                    <a:pt x="11231" y="19447"/>
                  </a:cubicBezTo>
                  <a:cubicBezTo>
                    <a:pt x="11248" y="19458"/>
                    <a:pt x="11316" y="19463"/>
                    <a:pt x="11381" y="19463"/>
                  </a:cubicBezTo>
                  <a:cubicBezTo>
                    <a:pt x="11446" y="19458"/>
                    <a:pt x="11528" y="19480"/>
                    <a:pt x="11563" y="19502"/>
                  </a:cubicBezTo>
                  <a:cubicBezTo>
                    <a:pt x="11597" y="19524"/>
                    <a:pt x="11661" y="19579"/>
                    <a:pt x="11705" y="19622"/>
                  </a:cubicBezTo>
                  <a:cubicBezTo>
                    <a:pt x="11750" y="19665"/>
                    <a:pt x="11811" y="19716"/>
                    <a:pt x="11843" y="19731"/>
                  </a:cubicBezTo>
                  <a:cubicBezTo>
                    <a:pt x="11876" y="19747"/>
                    <a:pt x="11923" y="19790"/>
                    <a:pt x="11950" y="19825"/>
                  </a:cubicBezTo>
                  <a:cubicBezTo>
                    <a:pt x="11978" y="19860"/>
                    <a:pt x="12039" y="19932"/>
                    <a:pt x="12087" y="19984"/>
                  </a:cubicBezTo>
                  <a:cubicBezTo>
                    <a:pt x="12133" y="20037"/>
                    <a:pt x="12188" y="20079"/>
                    <a:pt x="12204" y="20084"/>
                  </a:cubicBezTo>
                  <a:cubicBezTo>
                    <a:pt x="12220" y="20087"/>
                    <a:pt x="12251" y="20077"/>
                    <a:pt x="12270" y="20059"/>
                  </a:cubicBezTo>
                  <a:cubicBezTo>
                    <a:pt x="12291" y="20042"/>
                    <a:pt x="12319" y="20031"/>
                    <a:pt x="12334" y="20036"/>
                  </a:cubicBezTo>
                  <a:cubicBezTo>
                    <a:pt x="12348" y="20043"/>
                    <a:pt x="12399" y="20086"/>
                    <a:pt x="12445" y="20135"/>
                  </a:cubicBezTo>
                  <a:cubicBezTo>
                    <a:pt x="12493" y="20185"/>
                    <a:pt x="12567" y="20242"/>
                    <a:pt x="12609" y="20267"/>
                  </a:cubicBezTo>
                  <a:cubicBezTo>
                    <a:pt x="12653" y="20289"/>
                    <a:pt x="12718" y="20319"/>
                    <a:pt x="12754" y="20331"/>
                  </a:cubicBezTo>
                  <a:cubicBezTo>
                    <a:pt x="12790" y="20345"/>
                    <a:pt x="12853" y="20383"/>
                    <a:pt x="12895" y="20416"/>
                  </a:cubicBezTo>
                  <a:cubicBezTo>
                    <a:pt x="12937" y="20449"/>
                    <a:pt x="12980" y="20502"/>
                    <a:pt x="12991" y="20534"/>
                  </a:cubicBezTo>
                  <a:cubicBezTo>
                    <a:pt x="13003" y="20565"/>
                    <a:pt x="13035" y="20593"/>
                    <a:pt x="13061" y="20593"/>
                  </a:cubicBezTo>
                  <a:cubicBezTo>
                    <a:pt x="13088" y="20593"/>
                    <a:pt x="13162" y="20619"/>
                    <a:pt x="13223" y="20652"/>
                  </a:cubicBezTo>
                  <a:cubicBezTo>
                    <a:pt x="13285" y="20685"/>
                    <a:pt x="13370" y="20744"/>
                    <a:pt x="13416" y="20782"/>
                  </a:cubicBezTo>
                  <a:cubicBezTo>
                    <a:pt x="13458" y="20822"/>
                    <a:pt x="13535" y="20893"/>
                    <a:pt x="13583" y="20942"/>
                  </a:cubicBezTo>
                  <a:cubicBezTo>
                    <a:pt x="13632" y="20991"/>
                    <a:pt x="13702" y="21051"/>
                    <a:pt x="13741" y="21076"/>
                  </a:cubicBezTo>
                  <a:cubicBezTo>
                    <a:pt x="13779" y="21100"/>
                    <a:pt x="13813" y="21145"/>
                    <a:pt x="13817" y="21175"/>
                  </a:cubicBezTo>
                  <a:cubicBezTo>
                    <a:pt x="13822" y="21204"/>
                    <a:pt x="13806" y="21246"/>
                    <a:pt x="13790" y="21271"/>
                  </a:cubicBezTo>
                  <a:cubicBezTo>
                    <a:pt x="13775" y="21295"/>
                    <a:pt x="13779" y="21341"/>
                    <a:pt x="13802" y="21378"/>
                  </a:cubicBezTo>
                  <a:cubicBezTo>
                    <a:pt x="13826" y="21414"/>
                    <a:pt x="13854" y="21450"/>
                    <a:pt x="13860" y="21460"/>
                  </a:cubicBezTo>
                  <a:cubicBezTo>
                    <a:pt x="13869" y="21470"/>
                    <a:pt x="13881" y="21481"/>
                    <a:pt x="13885" y="21489"/>
                  </a:cubicBezTo>
                  <a:cubicBezTo>
                    <a:pt x="13891" y="21494"/>
                    <a:pt x="13914" y="21516"/>
                    <a:pt x="13936" y="21537"/>
                  </a:cubicBezTo>
                  <a:cubicBezTo>
                    <a:pt x="13959" y="21558"/>
                    <a:pt x="13985" y="21581"/>
                    <a:pt x="13995" y="21588"/>
                  </a:cubicBezTo>
                  <a:cubicBezTo>
                    <a:pt x="14003" y="21596"/>
                    <a:pt x="14047" y="21580"/>
                    <a:pt x="14092" y="21559"/>
                  </a:cubicBezTo>
                  <a:cubicBezTo>
                    <a:pt x="14135" y="21534"/>
                    <a:pt x="14180" y="21494"/>
                    <a:pt x="14188" y="21465"/>
                  </a:cubicBezTo>
                  <a:cubicBezTo>
                    <a:pt x="14195" y="21435"/>
                    <a:pt x="14203" y="21352"/>
                    <a:pt x="14203" y="21280"/>
                  </a:cubicBezTo>
                  <a:cubicBezTo>
                    <a:pt x="14204" y="21207"/>
                    <a:pt x="14209" y="21108"/>
                    <a:pt x="14213" y="21059"/>
                  </a:cubicBezTo>
                  <a:cubicBezTo>
                    <a:pt x="14219" y="21010"/>
                    <a:pt x="14229" y="20963"/>
                    <a:pt x="14235" y="20954"/>
                  </a:cubicBezTo>
                  <a:cubicBezTo>
                    <a:pt x="14239" y="20945"/>
                    <a:pt x="14234" y="20926"/>
                    <a:pt x="14217" y="20912"/>
                  </a:cubicBezTo>
                  <a:cubicBezTo>
                    <a:pt x="14200" y="20898"/>
                    <a:pt x="14163" y="20859"/>
                    <a:pt x="14133" y="20828"/>
                  </a:cubicBezTo>
                  <a:cubicBezTo>
                    <a:pt x="14104" y="20796"/>
                    <a:pt x="14084" y="20754"/>
                    <a:pt x="14087" y="20733"/>
                  </a:cubicBezTo>
                  <a:cubicBezTo>
                    <a:pt x="14090" y="20713"/>
                    <a:pt x="14110" y="20696"/>
                    <a:pt x="14128" y="20689"/>
                  </a:cubicBezTo>
                  <a:cubicBezTo>
                    <a:pt x="14147" y="20687"/>
                    <a:pt x="14156" y="20670"/>
                    <a:pt x="14156" y="20655"/>
                  </a:cubicBezTo>
                  <a:cubicBezTo>
                    <a:pt x="14153" y="20641"/>
                    <a:pt x="14162" y="20613"/>
                    <a:pt x="14183" y="20599"/>
                  </a:cubicBezTo>
                  <a:cubicBezTo>
                    <a:pt x="14201" y="20583"/>
                    <a:pt x="14212" y="20556"/>
                    <a:pt x="14207" y="20539"/>
                  </a:cubicBezTo>
                  <a:cubicBezTo>
                    <a:pt x="14201" y="20523"/>
                    <a:pt x="14211" y="20520"/>
                    <a:pt x="14230" y="20531"/>
                  </a:cubicBezTo>
                  <a:cubicBezTo>
                    <a:pt x="14247" y="20544"/>
                    <a:pt x="14279" y="20560"/>
                    <a:pt x="14301" y="20565"/>
                  </a:cubicBezTo>
                  <a:cubicBezTo>
                    <a:pt x="14321" y="20573"/>
                    <a:pt x="14353" y="20562"/>
                    <a:pt x="14372" y="20546"/>
                  </a:cubicBezTo>
                  <a:cubicBezTo>
                    <a:pt x="14391" y="20529"/>
                    <a:pt x="14401" y="20495"/>
                    <a:pt x="14398" y="20472"/>
                  </a:cubicBezTo>
                  <a:cubicBezTo>
                    <a:pt x="14393" y="20450"/>
                    <a:pt x="14400" y="20429"/>
                    <a:pt x="14405" y="20422"/>
                  </a:cubicBezTo>
                  <a:cubicBezTo>
                    <a:pt x="14414" y="20417"/>
                    <a:pt x="14412" y="20391"/>
                    <a:pt x="14409" y="20364"/>
                  </a:cubicBezTo>
                  <a:cubicBezTo>
                    <a:pt x="14402" y="20337"/>
                    <a:pt x="14406" y="20309"/>
                    <a:pt x="14413" y="20300"/>
                  </a:cubicBezTo>
                  <a:cubicBezTo>
                    <a:pt x="14421" y="20292"/>
                    <a:pt x="14439" y="20288"/>
                    <a:pt x="14454" y="20290"/>
                  </a:cubicBezTo>
                  <a:cubicBezTo>
                    <a:pt x="14469" y="20293"/>
                    <a:pt x="14483" y="20278"/>
                    <a:pt x="14489" y="20258"/>
                  </a:cubicBezTo>
                  <a:cubicBezTo>
                    <a:pt x="14492" y="20237"/>
                    <a:pt x="14489" y="20204"/>
                    <a:pt x="14475" y="20188"/>
                  </a:cubicBezTo>
                  <a:cubicBezTo>
                    <a:pt x="14462" y="20169"/>
                    <a:pt x="14436" y="20140"/>
                    <a:pt x="14416" y="20124"/>
                  </a:cubicBezTo>
                  <a:cubicBezTo>
                    <a:pt x="14396" y="20107"/>
                    <a:pt x="14375" y="20065"/>
                    <a:pt x="14365" y="20030"/>
                  </a:cubicBezTo>
                  <a:cubicBezTo>
                    <a:pt x="14358" y="19995"/>
                    <a:pt x="14337" y="19957"/>
                    <a:pt x="14322" y="19945"/>
                  </a:cubicBezTo>
                  <a:cubicBezTo>
                    <a:pt x="14306" y="19933"/>
                    <a:pt x="14307" y="19929"/>
                    <a:pt x="14323" y="19935"/>
                  </a:cubicBezTo>
                  <a:cubicBezTo>
                    <a:pt x="14340" y="19939"/>
                    <a:pt x="14371" y="19973"/>
                    <a:pt x="14398" y="20003"/>
                  </a:cubicBezTo>
                  <a:cubicBezTo>
                    <a:pt x="14424" y="20034"/>
                    <a:pt x="14480" y="20091"/>
                    <a:pt x="14525" y="20128"/>
                  </a:cubicBezTo>
                  <a:cubicBezTo>
                    <a:pt x="14568" y="20166"/>
                    <a:pt x="14617" y="20197"/>
                    <a:pt x="14631" y="20200"/>
                  </a:cubicBezTo>
                  <a:cubicBezTo>
                    <a:pt x="14645" y="20203"/>
                    <a:pt x="14668" y="20202"/>
                    <a:pt x="14681" y="20199"/>
                  </a:cubicBezTo>
                  <a:cubicBezTo>
                    <a:pt x="14695" y="20196"/>
                    <a:pt x="14715" y="20199"/>
                    <a:pt x="14727" y="20209"/>
                  </a:cubicBezTo>
                  <a:cubicBezTo>
                    <a:pt x="14739" y="20218"/>
                    <a:pt x="14755" y="20243"/>
                    <a:pt x="14765" y="20264"/>
                  </a:cubicBezTo>
                  <a:cubicBezTo>
                    <a:pt x="14773" y="20285"/>
                    <a:pt x="14772" y="20299"/>
                    <a:pt x="14761" y="20302"/>
                  </a:cubicBezTo>
                  <a:cubicBezTo>
                    <a:pt x="14750" y="20302"/>
                    <a:pt x="14739" y="20333"/>
                    <a:pt x="14736" y="20370"/>
                  </a:cubicBezTo>
                  <a:cubicBezTo>
                    <a:pt x="14733" y="20408"/>
                    <a:pt x="14714" y="20470"/>
                    <a:pt x="14692" y="20509"/>
                  </a:cubicBezTo>
                  <a:cubicBezTo>
                    <a:pt x="14666" y="20546"/>
                    <a:pt x="14627" y="20577"/>
                    <a:pt x="14596" y="20570"/>
                  </a:cubicBezTo>
                  <a:cubicBezTo>
                    <a:pt x="14566" y="20563"/>
                    <a:pt x="14544" y="20583"/>
                    <a:pt x="14548" y="20612"/>
                  </a:cubicBezTo>
                  <a:cubicBezTo>
                    <a:pt x="14552" y="20640"/>
                    <a:pt x="14551" y="20674"/>
                    <a:pt x="14544" y="20687"/>
                  </a:cubicBezTo>
                  <a:cubicBezTo>
                    <a:pt x="14538" y="20701"/>
                    <a:pt x="14525" y="20707"/>
                    <a:pt x="14514" y="20703"/>
                  </a:cubicBezTo>
                  <a:cubicBezTo>
                    <a:pt x="14505" y="20698"/>
                    <a:pt x="14473" y="20703"/>
                    <a:pt x="14446" y="20709"/>
                  </a:cubicBezTo>
                  <a:cubicBezTo>
                    <a:pt x="14419" y="20716"/>
                    <a:pt x="14382" y="20730"/>
                    <a:pt x="14363" y="20739"/>
                  </a:cubicBezTo>
                  <a:cubicBezTo>
                    <a:pt x="14345" y="20749"/>
                    <a:pt x="14332" y="20768"/>
                    <a:pt x="14333" y="20780"/>
                  </a:cubicBezTo>
                  <a:cubicBezTo>
                    <a:pt x="14335" y="20792"/>
                    <a:pt x="14317" y="20800"/>
                    <a:pt x="14293" y="20798"/>
                  </a:cubicBezTo>
                  <a:cubicBezTo>
                    <a:pt x="14270" y="20795"/>
                    <a:pt x="14244" y="20801"/>
                    <a:pt x="14234" y="20807"/>
                  </a:cubicBezTo>
                  <a:cubicBezTo>
                    <a:pt x="14227" y="20815"/>
                    <a:pt x="14222" y="20829"/>
                    <a:pt x="14227" y="20842"/>
                  </a:cubicBezTo>
                  <a:cubicBezTo>
                    <a:pt x="14233" y="20854"/>
                    <a:pt x="14260" y="20874"/>
                    <a:pt x="14291" y="20887"/>
                  </a:cubicBezTo>
                  <a:cubicBezTo>
                    <a:pt x="14322" y="20897"/>
                    <a:pt x="14410" y="20879"/>
                    <a:pt x="14487" y="20842"/>
                  </a:cubicBezTo>
                  <a:cubicBezTo>
                    <a:pt x="14567" y="20807"/>
                    <a:pt x="14658" y="20746"/>
                    <a:pt x="14694" y="20714"/>
                  </a:cubicBezTo>
                  <a:cubicBezTo>
                    <a:pt x="14731" y="20682"/>
                    <a:pt x="14794" y="20590"/>
                    <a:pt x="14840" y="20512"/>
                  </a:cubicBezTo>
                  <a:cubicBezTo>
                    <a:pt x="14881" y="20432"/>
                    <a:pt x="14931" y="20334"/>
                    <a:pt x="14946" y="20293"/>
                  </a:cubicBezTo>
                  <a:cubicBezTo>
                    <a:pt x="14961" y="20251"/>
                    <a:pt x="14982" y="20171"/>
                    <a:pt x="14990" y="20115"/>
                  </a:cubicBezTo>
                  <a:cubicBezTo>
                    <a:pt x="15003" y="20060"/>
                    <a:pt x="15043" y="19940"/>
                    <a:pt x="15085" y="19850"/>
                  </a:cubicBezTo>
                  <a:cubicBezTo>
                    <a:pt x="15127" y="19761"/>
                    <a:pt x="15203" y="19644"/>
                    <a:pt x="15255" y="19593"/>
                  </a:cubicBezTo>
                  <a:cubicBezTo>
                    <a:pt x="15308" y="19542"/>
                    <a:pt x="15355" y="19485"/>
                    <a:pt x="15361" y="19468"/>
                  </a:cubicBezTo>
                  <a:cubicBezTo>
                    <a:pt x="15368" y="19450"/>
                    <a:pt x="15365" y="19430"/>
                    <a:pt x="15357" y="19421"/>
                  </a:cubicBezTo>
                  <a:cubicBezTo>
                    <a:pt x="15349" y="19413"/>
                    <a:pt x="15340" y="19394"/>
                    <a:pt x="15340" y="19378"/>
                  </a:cubicBezTo>
                  <a:cubicBezTo>
                    <a:pt x="15341" y="19361"/>
                    <a:pt x="15349" y="19347"/>
                    <a:pt x="15363" y="19347"/>
                  </a:cubicBezTo>
                  <a:cubicBezTo>
                    <a:pt x="15376" y="19344"/>
                    <a:pt x="15389" y="19324"/>
                    <a:pt x="15395" y="19300"/>
                  </a:cubicBezTo>
                  <a:cubicBezTo>
                    <a:pt x="15402" y="19275"/>
                    <a:pt x="15418" y="19250"/>
                    <a:pt x="15435" y="19242"/>
                  </a:cubicBezTo>
                  <a:cubicBezTo>
                    <a:pt x="15453" y="19238"/>
                    <a:pt x="15459" y="19211"/>
                    <a:pt x="15445" y="19189"/>
                  </a:cubicBezTo>
                  <a:cubicBezTo>
                    <a:pt x="15435" y="19165"/>
                    <a:pt x="15426" y="19135"/>
                    <a:pt x="15427" y="19120"/>
                  </a:cubicBezTo>
                  <a:cubicBezTo>
                    <a:pt x="15430" y="19106"/>
                    <a:pt x="15425" y="19087"/>
                    <a:pt x="15416" y="19079"/>
                  </a:cubicBezTo>
                  <a:cubicBezTo>
                    <a:pt x="15407" y="19072"/>
                    <a:pt x="15389" y="19055"/>
                    <a:pt x="15375" y="19045"/>
                  </a:cubicBezTo>
                  <a:cubicBezTo>
                    <a:pt x="15361" y="19034"/>
                    <a:pt x="15348" y="19006"/>
                    <a:pt x="15342" y="18982"/>
                  </a:cubicBezTo>
                  <a:cubicBezTo>
                    <a:pt x="15339" y="18958"/>
                    <a:pt x="15300" y="18908"/>
                    <a:pt x="15264" y="18867"/>
                  </a:cubicBezTo>
                  <a:cubicBezTo>
                    <a:pt x="15225" y="18828"/>
                    <a:pt x="15189" y="18784"/>
                    <a:pt x="15186" y="18768"/>
                  </a:cubicBezTo>
                  <a:cubicBezTo>
                    <a:pt x="15183" y="18753"/>
                    <a:pt x="15177" y="18728"/>
                    <a:pt x="15183" y="18715"/>
                  </a:cubicBezTo>
                  <a:cubicBezTo>
                    <a:pt x="15183" y="18701"/>
                    <a:pt x="15178" y="18675"/>
                    <a:pt x="15169" y="18658"/>
                  </a:cubicBezTo>
                  <a:cubicBezTo>
                    <a:pt x="15158" y="18642"/>
                    <a:pt x="15134" y="18597"/>
                    <a:pt x="15117" y="18559"/>
                  </a:cubicBezTo>
                  <a:cubicBezTo>
                    <a:pt x="15095" y="18523"/>
                    <a:pt x="15062" y="18457"/>
                    <a:pt x="15036" y="18417"/>
                  </a:cubicBezTo>
                  <a:cubicBezTo>
                    <a:pt x="15012" y="18376"/>
                    <a:pt x="14998" y="18336"/>
                    <a:pt x="15009" y="18331"/>
                  </a:cubicBezTo>
                  <a:cubicBezTo>
                    <a:pt x="15019" y="18323"/>
                    <a:pt x="15059" y="18319"/>
                    <a:pt x="15097" y="18319"/>
                  </a:cubicBezTo>
                  <a:cubicBezTo>
                    <a:pt x="15135" y="18319"/>
                    <a:pt x="15154" y="18301"/>
                    <a:pt x="15138" y="18279"/>
                  </a:cubicBezTo>
                  <a:cubicBezTo>
                    <a:pt x="15123" y="18256"/>
                    <a:pt x="15092" y="18228"/>
                    <a:pt x="15072" y="18215"/>
                  </a:cubicBezTo>
                  <a:cubicBezTo>
                    <a:pt x="15052" y="18201"/>
                    <a:pt x="15062" y="18191"/>
                    <a:pt x="15097" y="18191"/>
                  </a:cubicBezTo>
                  <a:cubicBezTo>
                    <a:pt x="15133" y="18191"/>
                    <a:pt x="15159" y="18169"/>
                    <a:pt x="15153" y="18145"/>
                  </a:cubicBezTo>
                  <a:cubicBezTo>
                    <a:pt x="15152" y="18121"/>
                    <a:pt x="15110" y="18085"/>
                    <a:pt x="15069" y="18064"/>
                  </a:cubicBezTo>
                  <a:cubicBezTo>
                    <a:pt x="15027" y="18044"/>
                    <a:pt x="15017" y="18024"/>
                    <a:pt x="15047" y="18024"/>
                  </a:cubicBezTo>
                  <a:cubicBezTo>
                    <a:pt x="15077" y="18024"/>
                    <a:pt x="15110" y="18002"/>
                    <a:pt x="15128" y="17984"/>
                  </a:cubicBezTo>
                  <a:cubicBezTo>
                    <a:pt x="15143" y="17963"/>
                    <a:pt x="15170" y="17957"/>
                    <a:pt x="15188" y="17970"/>
                  </a:cubicBezTo>
                  <a:cubicBezTo>
                    <a:pt x="15206" y="17983"/>
                    <a:pt x="15255" y="17969"/>
                    <a:pt x="15296" y="17940"/>
                  </a:cubicBezTo>
                  <a:cubicBezTo>
                    <a:pt x="15337" y="17910"/>
                    <a:pt x="15393" y="17879"/>
                    <a:pt x="15418" y="17868"/>
                  </a:cubicBezTo>
                  <a:cubicBezTo>
                    <a:pt x="15444" y="17857"/>
                    <a:pt x="15463" y="17837"/>
                    <a:pt x="15458" y="17824"/>
                  </a:cubicBezTo>
                  <a:cubicBezTo>
                    <a:pt x="15455" y="17811"/>
                    <a:pt x="15480" y="17783"/>
                    <a:pt x="15515" y="17760"/>
                  </a:cubicBezTo>
                  <a:cubicBezTo>
                    <a:pt x="15549" y="17735"/>
                    <a:pt x="15616" y="17706"/>
                    <a:pt x="15659" y="17686"/>
                  </a:cubicBezTo>
                  <a:cubicBezTo>
                    <a:pt x="15701" y="17666"/>
                    <a:pt x="15780" y="17612"/>
                    <a:pt x="15833" y="17562"/>
                  </a:cubicBezTo>
                  <a:cubicBezTo>
                    <a:pt x="15886" y="17513"/>
                    <a:pt x="15974" y="17475"/>
                    <a:pt x="16031" y="17477"/>
                  </a:cubicBezTo>
                  <a:cubicBezTo>
                    <a:pt x="16088" y="17479"/>
                    <a:pt x="16156" y="17468"/>
                    <a:pt x="16182" y="17448"/>
                  </a:cubicBezTo>
                  <a:cubicBezTo>
                    <a:pt x="16209" y="17430"/>
                    <a:pt x="16255" y="17400"/>
                    <a:pt x="16284" y="17381"/>
                  </a:cubicBezTo>
                  <a:cubicBezTo>
                    <a:pt x="16315" y="17366"/>
                    <a:pt x="16365" y="17357"/>
                    <a:pt x="16398" y="17359"/>
                  </a:cubicBezTo>
                  <a:cubicBezTo>
                    <a:pt x="16431" y="17364"/>
                    <a:pt x="16478" y="17382"/>
                    <a:pt x="16502" y="17400"/>
                  </a:cubicBezTo>
                  <a:cubicBezTo>
                    <a:pt x="16526" y="17416"/>
                    <a:pt x="16566" y="17439"/>
                    <a:pt x="16592" y="17446"/>
                  </a:cubicBezTo>
                  <a:cubicBezTo>
                    <a:pt x="16618" y="17454"/>
                    <a:pt x="16635" y="17447"/>
                    <a:pt x="16633" y="17428"/>
                  </a:cubicBezTo>
                  <a:cubicBezTo>
                    <a:pt x="16632" y="17409"/>
                    <a:pt x="16640" y="17367"/>
                    <a:pt x="16660" y="17337"/>
                  </a:cubicBezTo>
                  <a:cubicBezTo>
                    <a:pt x="16677" y="17306"/>
                    <a:pt x="16741" y="17257"/>
                    <a:pt x="16804" y="17235"/>
                  </a:cubicBezTo>
                  <a:cubicBezTo>
                    <a:pt x="16866" y="17211"/>
                    <a:pt x="16939" y="17187"/>
                    <a:pt x="16964" y="17185"/>
                  </a:cubicBezTo>
                  <a:cubicBezTo>
                    <a:pt x="16990" y="17182"/>
                    <a:pt x="17010" y="17171"/>
                    <a:pt x="17008" y="17161"/>
                  </a:cubicBezTo>
                  <a:cubicBezTo>
                    <a:pt x="17008" y="17151"/>
                    <a:pt x="16987" y="17135"/>
                    <a:pt x="16970" y="17122"/>
                  </a:cubicBezTo>
                  <a:cubicBezTo>
                    <a:pt x="16951" y="17113"/>
                    <a:pt x="16918" y="17096"/>
                    <a:pt x="16895" y="17089"/>
                  </a:cubicBezTo>
                  <a:cubicBezTo>
                    <a:pt x="16872" y="17082"/>
                    <a:pt x="16840" y="17063"/>
                    <a:pt x="16827" y="17044"/>
                  </a:cubicBezTo>
                  <a:cubicBezTo>
                    <a:pt x="16812" y="17027"/>
                    <a:pt x="16821" y="17012"/>
                    <a:pt x="16845" y="17010"/>
                  </a:cubicBezTo>
                  <a:cubicBezTo>
                    <a:pt x="16868" y="17012"/>
                    <a:pt x="16920" y="16998"/>
                    <a:pt x="16958" y="16981"/>
                  </a:cubicBezTo>
                  <a:cubicBezTo>
                    <a:pt x="16997" y="16968"/>
                    <a:pt x="17049" y="16961"/>
                    <a:pt x="17075" y="16971"/>
                  </a:cubicBezTo>
                  <a:cubicBezTo>
                    <a:pt x="17100" y="16983"/>
                    <a:pt x="17145" y="16991"/>
                    <a:pt x="17173" y="16991"/>
                  </a:cubicBezTo>
                  <a:cubicBezTo>
                    <a:pt x="17201" y="16991"/>
                    <a:pt x="17239" y="16989"/>
                    <a:pt x="17256" y="16977"/>
                  </a:cubicBezTo>
                  <a:cubicBezTo>
                    <a:pt x="17273" y="16967"/>
                    <a:pt x="17311" y="16966"/>
                    <a:pt x="17339" y="16969"/>
                  </a:cubicBezTo>
                  <a:cubicBezTo>
                    <a:pt x="17368" y="16974"/>
                    <a:pt x="17392" y="16987"/>
                    <a:pt x="17392" y="16997"/>
                  </a:cubicBezTo>
                  <a:cubicBezTo>
                    <a:pt x="17392" y="17008"/>
                    <a:pt x="17363" y="17029"/>
                    <a:pt x="17326" y="17039"/>
                  </a:cubicBezTo>
                  <a:cubicBezTo>
                    <a:pt x="17289" y="17048"/>
                    <a:pt x="17227" y="17061"/>
                    <a:pt x="17186" y="17063"/>
                  </a:cubicBezTo>
                  <a:cubicBezTo>
                    <a:pt x="17146" y="17066"/>
                    <a:pt x="17106" y="17069"/>
                    <a:pt x="17101" y="17076"/>
                  </a:cubicBezTo>
                  <a:cubicBezTo>
                    <a:pt x="17092" y="17081"/>
                    <a:pt x="17101" y="17097"/>
                    <a:pt x="17117" y="17107"/>
                  </a:cubicBezTo>
                  <a:cubicBezTo>
                    <a:pt x="17132" y="17118"/>
                    <a:pt x="17194" y="17118"/>
                    <a:pt x="17254" y="17108"/>
                  </a:cubicBezTo>
                  <a:cubicBezTo>
                    <a:pt x="17313" y="17096"/>
                    <a:pt x="17422" y="17080"/>
                    <a:pt x="17494" y="17066"/>
                  </a:cubicBezTo>
                  <a:cubicBezTo>
                    <a:pt x="17567" y="17053"/>
                    <a:pt x="17620" y="17031"/>
                    <a:pt x="17610" y="17020"/>
                  </a:cubicBezTo>
                  <a:cubicBezTo>
                    <a:pt x="17604" y="17008"/>
                    <a:pt x="17610" y="16992"/>
                    <a:pt x="17627" y="16980"/>
                  </a:cubicBezTo>
                  <a:cubicBezTo>
                    <a:pt x="17646" y="16971"/>
                    <a:pt x="17676" y="16964"/>
                    <a:pt x="17695" y="16969"/>
                  </a:cubicBezTo>
                  <a:cubicBezTo>
                    <a:pt x="17714" y="16976"/>
                    <a:pt x="17728" y="16990"/>
                    <a:pt x="17724" y="17004"/>
                  </a:cubicBezTo>
                  <a:cubicBezTo>
                    <a:pt x="17717" y="17017"/>
                    <a:pt x="17722" y="17048"/>
                    <a:pt x="17729" y="17070"/>
                  </a:cubicBezTo>
                  <a:cubicBezTo>
                    <a:pt x="17735" y="17093"/>
                    <a:pt x="17793" y="17126"/>
                    <a:pt x="17842" y="17139"/>
                  </a:cubicBezTo>
                  <a:cubicBezTo>
                    <a:pt x="17892" y="17151"/>
                    <a:pt x="17953" y="17154"/>
                    <a:pt x="17979" y="17147"/>
                  </a:cubicBezTo>
                  <a:cubicBezTo>
                    <a:pt x="18005" y="17142"/>
                    <a:pt x="18061" y="17138"/>
                    <a:pt x="18107" y="17143"/>
                  </a:cubicBezTo>
                  <a:cubicBezTo>
                    <a:pt x="18153" y="17151"/>
                    <a:pt x="18237" y="17164"/>
                    <a:pt x="18294" y="17177"/>
                  </a:cubicBezTo>
                  <a:cubicBezTo>
                    <a:pt x="18352" y="17186"/>
                    <a:pt x="18422" y="17187"/>
                    <a:pt x="18453" y="17174"/>
                  </a:cubicBezTo>
                  <a:cubicBezTo>
                    <a:pt x="18484" y="17162"/>
                    <a:pt x="18509" y="17138"/>
                    <a:pt x="18505" y="17125"/>
                  </a:cubicBezTo>
                  <a:cubicBezTo>
                    <a:pt x="18503" y="17111"/>
                    <a:pt x="18493" y="17094"/>
                    <a:pt x="18483" y="17086"/>
                  </a:cubicBezTo>
                  <a:cubicBezTo>
                    <a:pt x="18474" y="17077"/>
                    <a:pt x="18467" y="17061"/>
                    <a:pt x="18470" y="17048"/>
                  </a:cubicBezTo>
                  <a:cubicBezTo>
                    <a:pt x="18473" y="17035"/>
                    <a:pt x="18531" y="17000"/>
                    <a:pt x="18599" y="16968"/>
                  </a:cubicBezTo>
                  <a:cubicBezTo>
                    <a:pt x="18667" y="16936"/>
                    <a:pt x="18774" y="16902"/>
                    <a:pt x="18835" y="16893"/>
                  </a:cubicBezTo>
                  <a:cubicBezTo>
                    <a:pt x="18896" y="16883"/>
                    <a:pt x="18973" y="16868"/>
                    <a:pt x="19001" y="16853"/>
                  </a:cubicBezTo>
                  <a:cubicBezTo>
                    <a:pt x="19031" y="16841"/>
                    <a:pt x="19063" y="16820"/>
                    <a:pt x="19069" y="16804"/>
                  </a:cubicBezTo>
                  <a:cubicBezTo>
                    <a:pt x="19074" y="16788"/>
                    <a:pt x="19071" y="16767"/>
                    <a:pt x="19061" y="16755"/>
                  </a:cubicBezTo>
                  <a:cubicBezTo>
                    <a:pt x="19050" y="16744"/>
                    <a:pt x="19009" y="16689"/>
                    <a:pt x="18972" y="16633"/>
                  </a:cubicBezTo>
                  <a:cubicBezTo>
                    <a:pt x="18934" y="16578"/>
                    <a:pt x="18917" y="16507"/>
                    <a:pt x="18930" y="16473"/>
                  </a:cubicBezTo>
                  <a:cubicBezTo>
                    <a:pt x="18942" y="16439"/>
                    <a:pt x="18973" y="16396"/>
                    <a:pt x="18993" y="16376"/>
                  </a:cubicBezTo>
                  <a:cubicBezTo>
                    <a:pt x="19010" y="16354"/>
                    <a:pt x="19025" y="16317"/>
                    <a:pt x="19023" y="16291"/>
                  </a:cubicBezTo>
                  <a:cubicBezTo>
                    <a:pt x="19022" y="16264"/>
                    <a:pt x="19027" y="16233"/>
                    <a:pt x="19043" y="16226"/>
                  </a:cubicBezTo>
                  <a:cubicBezTo>
                    <a:pt x="19057" y="16218"/>
                    <a:pt x="19088" y="16197"/>
                    <a:pt x="19115" y="16187"/>
                  </a:cubicBezTo>
                  <a:cubicBezTo>
                    <a:pt x="19142" y="16176"/>
                    <a:pt x="19164" y="16143"/>
                    <a:pt x="19164" y="16115"/>
                  </a:cubicBezTo>
                  <a:cubicBezTo>
                    <a:pt x="19166" y="16088"/>
                    <a:pt x="19159" y="16063"/>
                    <a:pt x="19150" y="16057"/>
                  </a:cubicBezTo>
                  <a:cubicBezTo>
                    <a:pt x="19140" y="16054"/>
                    <a:pt x="19163" y="16001"/>
                    <a:pt x="19201" y="15944"/>
                  </a:cubicBezTo>
                  <a:cubicBezTo>
                    <a:pt x="19239" y="15887"/>
                    <a:pt x="19314" y="15794"/>
                    <a:pt x="19372" y="15741"/>
                  </a:cubicBezTo>
                  <a:cubicBezTo>
                    <a:pt x="19425" y="15685"/>
                    <a:pt x="19470" y="15619"/>
                    <a:pt x="19467" y="15590"/>
                  </a:cubicBezTo>
                  <a:cubicBezTo>
                    <a:pt x="19466" y="15562"/>
                    <a:pt x="19438" y="15465"/>
                    <a:pt x="19409" y="15373"/>
                  </a:cubicBezTo>
                  <a:cubicBezTo>
                    <a:pt x="19381" y="15283"/>
                    <a:pt x="19347" y="15193"/>
                    <a:pt x="19332" y="15174"/>
                  </a:cubicBezTo>
                  <a:cubicBezTo>
                    <a:pt x="19319" y="15154"/>
                    <a:pt x="19317" y="15098"/>
                    <a:pt x="19329" y="15046"/>
                  </a:cubicBezTo>
                  <a:cubicBezTo>
                    <a:pt x="19341" y="14994"/>
                    <a:pt x="19363" y="14935"/>
                    <a:pt x="19378" y="14916"/>
                  </a:cubicBezTo>
                  <a:cubicBezTo>
                    <a:pt x="19391" y="14896"/>
                    <a:pt x="19402" y="14866"/>
                    <a:pt x="19405" y="14848"/>
                  </a:cubicBezTo>
                  <a:cubicBezTo>
                    <a:pt x="19408" y="14830"/>
                    <a:pt x="19444" y="14791"/>
                    <a:pt x="19491" y="14763"/>
                  </a:cubicBezTo>
                  <a:cubicBezTo>
                    <a:pt x="19540" y="14738"/>
                    <a:pt x="19579" y="14699"/>
                    <a:pt x="19585" y="14683"/>
                  </a:cubicBezTo>
                  <a:cubicBezTo>
                    <a:pt x="19588" y="14667"/>
                    <a:pt x="19578" y="14609"/>
                    <a:pt x="19554" y="14555"/>
                  </a:cubicBezTo>
                  <a:cubicBezTo>
                    <a:pt x="19532" y="14501"/>
                    <a:pt x="19529" y="14405"/>
                    <a:pt x="19547" y="14343"/>
                  </a:cubicBezTo>
                  <a:cubicBezTo>
                    <a:pt x="19567" y="14282"/>
                    <a:pt x="19567" y="14190"/>
                    <a:pt x="19553" y="14138"/>
                  </a:cubicBezTo>
                  <a:cubicBezTo>
                    <a:pt x="19535" y="14088"/>
                    <a:pt x="19528" y="14015"/>
                    <a:pt x="19533" y="13978"/>
                  </a:cubicBezTo>
                  <a:cubicBezTo>
                    <a:pt x="19537" y="13942"/>
                    <a:pt x="19539" y="13894"/>
                    <a:pt x="19531" y="13873"/>
                  </a:cubicBezTo>
                  <a:cubicBezTo>
                    <a:pt x="19529" y="13851"/>
                    <a:pt x="19524" y="13790"/>
                    <a:pt x="19534" y="13737"/>
                  </a:cubicBezTo>
                  <a:cubicBezTo>
                    <a:pt x="19541" y="13683"/>
                    <a:pt x="19510" y="13475"/>
                    <a:pt x="19463" y="13272"/>
                  </a:cubicBezTo>
                  <a:cubicBezTo>
                    <a:pt x="19414" y="13069"/>
                    <a:pt x="19373" y="12872"/>
                    <a:pt x="19368" y="12834"/>
                  </a:cubicBezTo>
                  <a:cubicBezTo>
                    <a:pt x="19365" y="12797"/>
                    <a:pt x="19364" y="12744"/>
                    <a:pt x="19376" y="12717"/>
                  </a:cubicBezTo>
                  <a:cubicBezTo>
                    <a:pt x="19385" y="12690"/>
                    <a:pt x="19394" y="12647"/>
                    <a:pt x="19389" y="12619"/>
                  </a:cubicBezTo>
                  <a:cubicBezTo>
                    <a:pt x="19386" y="12592"/>
                    <a:pt x="19370" y="12580"/>
                    <a:pt x="19358" y="12593"/>
                  </a:cubicBezTo>
                  <a:cubicBezTo>
                    <a:pt x="19343" y="12604"/>
                    <a:pt x="19308" y="12599"/>
                    <a:pt x="19278" y="12579"/>
                  </a:cubicBezTo>
                  <a:cubicBezTo>
                    <a:pt x="19246" y="12560"/>
                    <a:pt x="19221" y="12528"/>
                    <a:pt x="19218" y="12511"/>
                  </a:cubicBezTo>
                  <a:cubicBezTo>
                    <a:pt x="19216" y="12494"/>
                    <a:pt x="19232" y="12455"/>
                    <a:pt x="19252" y="12423"/>
                  </a:cubicBezTo>
                  <a:cubicBezTo>
                    <a:pt x="19270" y="12391"/>
                    <a:pt x="19282" y="12338"/>
                    <a:pt x="19270" y="12304"/>
                  </a:cubicBezTo>
                  <a:cubicBezTo>
                    <a:pt x="19259" y="12270"/>
                    <a:pt x="19252" y="12223"/>
                    <a:pt x="19256" y="12202"/>
                  </a:cubicBezTo>
                  <a:cubicBezTo>
                    <a:pt x="19260" y="12179"/>
                    <a:pt x="19280" y="12155"/>
                    <a:pt x="19303" y="12155"/>
                  </a:cubicBezTo>
                  <a:cubicBezTo>
                    <a:pt x="19325" y="12153"/>
                    <a:pt x="19343" y="12120"/>
                    <a:pt x="19344" y="12085"/>
                  </a:cubicBezTo>
                  <a:cubicBezTo>
                    <a:pt x="19344" y="12049"/>
                    <a:pt x="19324" y="11988"/>
                    <a:pt x="19292" y="11954"/>
                  </a:cubicBezTo>
                  <a:cubicBezTo>
                    <a:pt x="19265" y="11917"/>
                    <a:pt x="19200" y="11867"/>
                    <a:pt x="19148" y="11845"/>
                  </a:cubicBezTo>
                  <a:cubicBezTo>
                    <a:pt x="19100" y="11820"/>
                    <a:pt x="19067" y="11799"/>
                    <a:pt x="19080" y="11797"/>
                  </a:cubicBezTo>
                  <a:cubicBezTo>
                    <a:pt x="19093" y="11797"/>
                    <a:pt x="19107" y="11782"/>
                    <a:pt x="19111" y="11769"/>
                  </a:cubicBezTo>
                  <a:cubicBezTo>
                    <a:pt x="19116" y="11757"/>
                    <a:pt x="19129" y="11760"/>
                    <a:pt x="19140" y="11778"/>
                  </a:cubicBezTo>
                  <a:cubicBezTo>
                    <a:pt x="19152" y="11794"/>
                    <a:pt x="19185" y="11823"/>
                    <a:pt x="19215" y="11841"/>
                  </a:cubicBezTo>
                  <a:cubicBezTo>
                    <a:pt x="19245" y="11858"/>
                    <a:pt x="19292" y="11879"/>
                    <a:pt x="19318" y="11890"/>
                  </a:cubicBezTo>
                  <a:cubicBezTo>
                    <a:pt x="19345" y="11901"/>
                    <a:pt x="19371" y="11882"/>
                    <a:pt x="19378" y="11850"/>
                  </a:cubicBezTo>
                  <a:cubicBezTo>
                    <a:pt x="19382" y="11818"/>
                    <a:pt x="19409" y="11796"/>
                    <a:pt x="19434" y="11799"/>
                  </a:cubicBezTo>
                  <a:cubicBezTo>
                    <a:pt x="19459" y="11801"/>
                    <a:pt x="19491" y="11821"/>
                    <a:pt x="19502" y="11841"/>
                  </a:cubicBezTo>
                  <a:cubicBezTo>
                    <a:pt x="19514" y="11861"/>
                    <a:pt x="19542" y="11883"/>
                    <a:pt x="19560" y="11894"/>
                  </a:cubicBezTo>
                  <a:cubicBezTo>
                    <a:pt x="19579" y="11904"/>
                    <a:pt x="19583" y="11929"/>
                    <a:pt x="19565" y="11950"/>
                  </a:cubicBezTo>
                  <a:cubicBezTo>
                    <a:pt x="19550" y="11971"/>
                    <a:pt x="19516" y="12000"/>
                    <a:pt x="19492" y="12013"/>
                  </a:cubicBezTo>
                  <a:cubicBezTo>
                    <a:pt x="19467" y="12025"/>
                    <a:pt x="19445" y="12053"/>
                    <a:pt x="19442" y="12071"/>
                  </a:cubicBezTo>
                  <a:cubicBezTo>
                    <a:pt x="19436" y="12089"/>
                    <a:pt x="19449" y="12107"/>
                    <a:pt x="19468" y="12109"/>
                  </a:cubicBezTo>
                  <a:cubicBezTo>
                    <a:pt x="19486" y="12112"/>
                    <a:pt x="19527" y="12095"/>
                    <a:pt x="19558" y="12071"/>
                  </a:cubicBezTo>
                  <a:cubicBezTo>
                    <a:pt x="19588" y="12046"/>
                    <a:pt x="19651" y="12014"/>
                    <a:pt x="19696" y="11998"/>
                  </a:cubicBezTo>
                  <a:cubicBezTo>
                    <a:pt x="19743" y="11983"/>
                    <a:pt x="19821" y="11909"/>
                    <a:pt x="19872" y="11835"/>
                  </a:cubicBezTo>
                  <a:cubicBezTo>
                    <a:pt x="19923" y="11762"/>
                    <a:pt x="19979" y="11655"/>
                    <a:pt x="20001" y="11599"/>
                  </a:cubicBezTo>
                  <a:cubicBezTo>
                    <a:pt x="20022" y="11543"/>
                    <a:pt x="20039" y="11469"/>
                    <a:pt x="20046" y="11434"/>
                  </a:cubicBezTo>
                  <a:cubicBezTo>
                    <a:pt x="20052" y="11399"/>
                    <a:pt x="20070" y="11356"/>
                    <a:pt x="20093" y="11342"/>
                  </a:cubicBezTo>
                  <a:cubicBezTo>
                    <a:pt x="20116" y="11329"/>
                    <a:pt x="20146" y="11272"/>
                    <a:pt x="20163" y="11221"/>
                  </a:cubicBezTo>
                  <a:cubicBezTo>
                    <a:pt x="20182" y="11170"/>
                    <a:pt x="20210" y="11091"/>
                    <a:pt x="20232" y="11048"/>
                  </a:cubicBezTo>
                  <a:cubicBezTo>
                    <a:pt x="20253" y="11005"/>
                    <a:pt x="20343" y="10929"/>
                    <a:pt x="20433" y="10882"/>
                  </a:cubicBezTo>
                  <a:cubicBezTo>
                    <a:pt x="20521" y="10832"/>
                    <a:pt x="20605" y="10774"/>
                    <a:pt x="20612" y="10748"/>
                  </a:cubicBezTo>
                  <a:cubicBezTo>
                    <a:pt x="20622" y="10722"/>
                    <a:pt x="20651" y="10693"/>
                    <a:pt x="20680" y="10691"/>
                  </a:cubicBezTo>
                  <a:cubicBezTo>
                    <a:pt x="20707" y="10684"/>
                    <a:pt x="20746" y="10658"/>
                    <a:pt x="20763" y="10630"/>
                  </a:cubicBezTo>
                  <a:cubicBezTo>
                    <a:pt x="20783" y="10604"/>
                    <a:pt x="20855" y="10532"/>
                    <a:pt x="20933" y="10478"/>
                  </a:cubicBezTo>
                  <a:cubicBezTo>
                    <a:pt x="21006" y="10418"/>
                    <a:pt x="21121" y="10309"/>
                    <a:pt x="21187" y="10232"/>
                  </a:cubicBezTo>
                  <a:cubicBezTo>
                    <a:pt x="21248" y="10151"/>
                    <a:pt x="21319" y="10072"/>
                    <a:pt x="21334" y="10050"/>
                  </a:cubicBezTo>
                  <a:cubicBezTo>
                    <a:pt x="21351" y="10029"/>
                    <a:pt x="21392" y="9943"/>
                    <a:pt x="21431" y="9861"/>
                  </a:cubicBezTo>
                  <a:cubicBezTo>
                    <a:pt x="21465" y="9778"/>
                    <a:pt x="21504" y="9680"/>
                    <a:pt x="21513" y="9643"/>
                  </a:cubicBezTo>
                  <a:cubicBezTo>
                    <a:pt x="21522" y="9606"/>
                    <a:pt x="21545" y="9555"/>
                    <a:pt x="21564" y="9528"/>
                  </a:cubicBezTo>
                  <a:cubicBezTo>
                    <a:pt x="21583" y="9502"/>
                    <a:pt x="21597" y="9458"/>
                    <a:pt x="21596" y="9431"/>
                  </a:cubicBezTo>
                  <a:cubicBezTo>
                    <a:pt x="21592" y="9403"/>
                    <a:pt x="21569" y="9353"/>
                    <a:pt x="21541" y="9320"/>
                  </a:cubicBezTo>
                  <a:cubicBezTo>
                    <a:pt x="21513" y="9287"/>
                    <a:pt x="21498" y="9234"/>
                    <a:pt x="21502" y="9202"/>
                  </a:cubicBezTo>
                  <a:cubicBezTo>
                    <a:pt x="21510" y="9170"/>
                    <a:pt x="21532" y="9132"/>
                    <a:pt x="21550" y="9115"/>
                  </a:cubicBezTo>
                  <a:cubicBezTo>
                    <a:pt x="21572" y="9102"/>
                    <a:pt x="21574" y="9021"/>
                    <a:pt x="21562" y="8940"/>
                  </a:cubicBezTo>
                  <a:cubicBezTo>
                    <a:pt x="21548" y="8860"/>
                    <a:pt x="21520" y="8782"/>
                    <a:pt x="21496" y="8769"/>
                  </a:cubicBezTo>
                  <a:cubicBezTo>
                    <a:pt x="21475" y="8755"/>
                    <a:pt x="21445" y="8713"/>
                    <a:pt x="21433" y="8672"/>
                  </a:cubicBezTo>
                  <a:cubicBezTo>
                    <a:pt x="21420" y="8632"/>
                    <a:pt x="21349" y="8492"/>
                    <a:pt x="21272" y="8364"/>
                  </a:cubicBezTo>
                  <a:cubicBezTo>
                    <a:pt x="21193" y="8235"/>
                    <a:pt x="21128" y="8093"/>
                    <a:pt x="21125" y="8050"/>
                  </a:cubicBezTo>
                  <a:cubicBezTo>
                    <a:pt x="21121" y="8008"/>
                    <a:pt x="21104" y="7930"/>
                    <a:pt x="21089" y="7877"/>
                  </a:cubicBezTo>
                  <a:cubicBezTo>
                    <a:pt x="21074" y="7824"/>
                    <a:pt x="20957" y="7735"/>
                    <a:pt x="20831" y="7679"/>
                  </a:cubicBezTo>
                  <a:cubicBezTo>
                    <a:pt x="20705" y="7623"/>
                    <a:pt x="20545" y="7574"/>
                    <a:pt x="20475" y="7571"/>
                  </a:cubicBezTo>
                  <a:cubicBezTo>
                    <a:pt x="20405" y="7571"/>
                    <a:pt x="20309" y="7581"/>
                    <a:pt x="20259" y="7594"/>
                  </a:cubicBezTo>
                  <a:cubicBezTo>
                    <a:pt x="20209" y="7607"/>
                    <a:pt x="20137" y="7585"/>
                    <a:pt x="20099" y="7539"/>
                  </a:cubicBezTo>
                  <a:cubicBezTo>
                    <a:pt x="20062" y="7494"/>
                    <a:pt x="19995" y="7449"/>
                    <a:pt x="19954" y="7439"/>
                  </a:cubicBezTo>
                  <a:cubicBezTo>
                    <a:pt x="19914" y="7427"/>
                    <a:pt x="19845" y="7384"/>
                    <a:pt x="19800" y="7342"/>
                  </a:cubicBezTo>
                  <a:cubicBezTo>
                    <a:pt x="19753" y="7301"/>
                    <a:pt x="19673" y="7242"/>
                    <a:pt x="19619" y="7213"/>
                  </a:cubicBezTo>
                  <a:cubicBezTo>
                    <a:pt x="19564" y="7183"/>
                    <a:pt x="19487" y="7156"/>
                    <a:pt x="19449" y="7149"/>
                  </a:cubicBezTo>
                  <a:cubicBezTo>
                    <a:pt x="19411" y="7141"/>
                    <a:pt x="19308" y="7065"/>
                    <a:pt x="19217" y="6981"/>
                  </a:cubicBezTo>
                  <a:cubicBezTo>
                    <a:pt x="19126" y="6896"/>
                    <a:pt x="18993" y="6754"/>
                    <a:pt x="18918" y="6666"/>
                  </a:cubicBezTo>
                  <a:cubicBezTo>
                    <a:pt x="18843" y="6578"/>
                    <a:pt x="18756" y="6500"/>
                    <a:pt x="18724" y="6488"/>
                  </a:cubicBezTo>
                  <a:cubicBezTo>
                    <a:pt x="18692" y="6478"/>
                    <a:pt x="18627" y="6436"/>
                    <a:pt x="18577" y="6395"/>
                  </a:cubicBezTo>
                  <a:cubicBezTo>
                    <a:pt x="18529" y="6353"/>
                    <a:pt x="18456" y="6316"/>
                    <a:pt x="18417" y="6318"/>
                  </a:cubicBezTo>
                  <a:cubicBezTo>
                    <a:pt x="18378" y="6318"/>
                    <a:pt x="18249" y="6252"/>
                    <a:pt x="18132" y="6171"/>
                  </a:cubicBezTo>
                  <a:cubicBezTo>
                    <a:pt x="18016" y="6090"/>
                    <a:pt x="17879" y="6021"/>
                    <a:pt x="17829" y="6019"/>
                  </a:cubicBezTo>
                  <a:cubicBezTo>
                    <a:pt x="17779" y="6014"/>
                    <a:pt x="17692" y="5990"/>
                    <a:pt x="17635" y="5965"/>
                  </a:cubicBezTo>
                  <a:cubicBezTo>
                    <a:pt x="17578" y="5939"/>
                    <a:pt x="17505" y="5929"/>
                    <a:pt x="17473" y="5944"/>
                  </a:cubicBezTo>
                  <a:cubicBezTo>
                    <a:pt x="17442" y="5959"/>
                    <a:pt x="17372" y="5967"/>
                    <a:pt x="17320" y="5962"/>
                  </a:cubicBezTo>
                  <a:cubicBezTo>
                    <a:pt x="17268" y="5959"/>
                    <a:pt x="17199" y="5940"/>
                    <a:pt x="17166" y="5924"/>
                  </a:cubicBezTo>
                  <a:cubicBezTo>
                    <a:pt x="17133" y="5908"/>
                    <a:pt x="17081" y="5904"/>
                    <a:pt x="17048" y="5914"/>
                  </a:cubicBezTo>
                  <a:cubicBezTo>
                    <a:pt x="17015" y="5925"/>
                    <a:pt x="16979" y="5953"/>
                    <a:pt x="16965" y="5972"/>
                  </a:cubicBezTo>
                  <a:cubicBezTo>
                    <a:pt x="16952" y="5993"/>
                    <a:pt x="16921" y="5993"/>
                    <a:pt x="16900" y="5971"/>
                  </a:cubicBezTo>
                  <a:cubicBezTo>
                    <a:pt x="16875" y="5952"/>
                    <a:pt x="16816" y="5903"/>
                    <a:pt x="16764" y="5866"/>
                  </a:cubicBezTo>
                  <a:cubicBezTo>
                    <a:pt x="16712" y="5827"/>
                    <a:pt x="16663" y="5809"/>
                    <a:pt x="16657" y="5822"/>
                  </a:cubicBezTo>
                  <a:cubicBezTo>
                    <a:pt x="16652" y="5837"/>
                    <a:pt x="16628" y="5832"/>
                    <a:pt x="16605" y="5814"/>
                  </a:cubicBezTo>
                  <a:cubicBezTo>
                    <a:pt x="16583" y="5796"/>
                    <a:pt x="16557" y="5798"/>
                    <a:pt x="16555" y="5819"/>
                  </a:cubicBezTo>
                  <a:cubicBezTo>
                    <a:pt x="16549" y="5839"/>
                    <a:pt x="16545" y="5870"/>
                    <a:pt x="16548" y="5887"/>
                  </a:cubicBezTo>
                  <a:cubicBezTo>
                    <a:pt x="16548" y="5904"/>
                    <a:pt x="16527" y="5896"/>
                    <a:pt x="16495" y="5874"/>
                  </a:cubicBezTo>
                  <a:cubicBezTo>
                    <a:pt x="16465" y="5850"/>
                    <a:pt x="16435" y="5817"/>
                    <a:pt x="16427" y="5800"/>
                  </a:cubicBezTo>
                  <a:cubicBezTo>
                    <a:pt x="16422" y="5782"/>
                    <a:pt x="16397" y="5763"/>
                    <a:pt x="16376" y="5755"/>
                  </a:cubicBezTo>
                  <a:cubicBezTo>
                    <a:pt x="16354" y="5748"/>
                    <a:pt x="16343" y="5756"/>
                    <a:pt x="16351" y="5773"/>
                  </a:cubicBezTo>
                  <a:cubicBezTo>
                    <a:pt x="16360" y="5790"/>
                    <a:pt x="16356" y="5808"/>
                    <a:pt x="16348" y="5815"/>
                  </a:cubicBezTo>
                  <a:cubicBezTo>
                    <a:pt x="16341" y="5823"/>
                    <a:pt x="16288" y="5803"/>
                    <a:pt x="16232" y="5783"/>
                  </a:cubicBezTo>
                  <a:cubicBezTo>
                    <a:pt x="16177" y="5760"/>
                    <a:pt x="16119" y="5740"/>
                    <a:pt x="16102" y="5743"/>
                  </a:cubicBezTo>
                  <a:cubicBezTo>
                    <a:pt x="16085" y="5745"/>
                    <a:pt x="16035" y="5735"/>
                    <a:pt x="15990" y="5725"/>
                  </a:cubicBezTo>
                  <a:cubicBezTo>
                    <a:pt x="15946" y="5710"/>
                    <a:pt x="15825" y="5664"/>
                    <a:pt x="15724" y="5611"/>
                  </a:cubicBezTo>
                  <a:cubicBezTo>
                    <a:pt x="15622" y="5563"/>
                    <a:pt x="15511" y="5515"/>
                    <a:pt x="15475" y="5517"/>
                  </a:cubicBezTo>
                  <a:cubicBezTo>
                    <a:pt x="15438" y="5517"/>
                    <a:pt x="15411" y="5525"/>
                    <a:pt x="15407" y="5534"/>
                  </a:cubicBezTo>
                  <a:cubicBezTo>
                    <a:pt x="15407" y="5544"/>
                    <a:pt x="15413" y="5568"/>
                    <a:pt x="15422" y="5587"/>
                  </a:cubicBezTo>
                  <a:cubicBezTo>
                    <a:pt x="15430" y="5606"/>
                    <a:pt x="15433" y="5628"/>
                    <a:pt x="15426" y="5636"/>
                  </a:cubicBezTo>
                  <a:cubicBezTo>
                    <a:pt x="15418" y="5644"/>
                    <a:pt x="15397" y="5640"/>
                    <a:pt x="15375" y="5630"/>
                  </a:cubicBezTo>
                  <a:cubicBezTo>
                    <a:pt x="15353" y="5619"/>
                    <a:pt x="15329" y="5612"/>
                    <a:pt x="15321" y="5616"/>
                  </a:cubicBezTo>
                  <a:cubicBezTo>
                    <a:pt x="15312" y="5619"/>
                    <a:pt x="15304" y="5634"/>
                    <a:pt x="15298" y="5647"/>
                  </a:cubicBezTo>
                  <a:cubicBezTo>
                    <a:pt x="15292" y="5660"/>
                    <a:pt x="15264" y="5679"/>
                    <a:pt x="15232" y="5692"/>
                  </a:cubicBezTo>
                  <a:cubicBezTo>
                    <a:pt x="15200" y="5704"/>
                    <a:pt x="15163" y="5726"/>
                    <a:pt x="15156" y="5742"/>
                  </a:cubicBezTo>
                  <a:cubicBezTo>
                    <a:pt x="15146" y="5758"/>
                    <a:pt x="15136" y="5802"/>
                    <a:pt x="15136" y="5840"/>
                  </a:cubicBezTo>
                  <a:cubicBezTo>
                    <a:pt x="15136" y="5877"/>
                    <a:pt x="15117" y="5884"/>
                    <a:pt x="15097" y="5854"/>
                  </a:cubicBezTo>
                  <a:cubicBezTo>
                    <a:pt x="15078" y="5824"/>
                    <a:pt x="15048" y="5779"/>
                    <a:pt x="15037" y="5753"/>
                  </a:cubicBezTo>
                  <a:cubicBezTo>
                    <a:pt x="15025" y="5728"/>
                    <a:pt x="15000" y="5710"/>
                    <a:pt x="14984" y="5717"/>
                  </a:cubicBezTo>
                  <a:cubicBezTo>
                    <a:pt x="14968" y="5724"/>
                    <a:pt x="14959" y="5752"/>
                    <a:pt x="14964" y="5783"/>
                  </a:cubicBezTo>
                  <a:cubicBezTo>
                    <a:pt x="14969" y="5814"/>
                    <a:pt x="14954" y="5879"/>
                    <a:pt x="14932" y="5929"/>
                  </a:cubicBezTo>
                  <a:cubicBezTo>
                    <a:pt x="14908" y="5977"/>
                    <a:pt x="14894" y="6054"/>
                    <a:pt x="14898" y="6097"/>
                  </a:cubicBezTo>
                  <a:cubicBezTo>
                    <a:pt x="14904" y="6140"/>
                    <a:pt x="14896" y="6141"/>
                    <a:pt x="14881" y="6100"/>
                  </a:cubicBezTo>
                  <a:cubicBezTo>
                    <a:pt x="14869" y="6057"/>
                    <a:pt x="14861" y="5991"/>
                    <a:pt x="14867" y="5950"/>
                  </a:cubicBezTo>
                  <a:cubicBezTo>
                    <a:pt x="14872" y="5910"/>
                    <a:pt x="14872" y="5846"/>
                    <a:pt x="14861" y="5810"/>
                  </a:cubicBezTo>
                  <a:cubicBezTo>
                    <a:pt x="14852" y="5773"/>
                    <a:pt x="14849" y="5700"/>
                    <a:pt x="14864" y="5649"/>
                  </a:cubicBezTo>
                  <a:cubicBezTo>
                    <a:pt x="14874" y="5597"/>
                    <a:pt x="14897" y="5546"/>
                    <a:pt x="14910" y="5534"/>
                  </a:cubicBezTo>
                  <a:cubicBezTo>
                    <a:pt x="14924" y="5522"/>
                    <a:pt x="14924" y="5503"/>
                    <a:pt x="14910" y="5492"/>
                  </a:cubicBezTo>
                  <a:cubicBezTo>
                    <a:pt x="14895" y="5481"/>
                    <a:pt x="14863" y="5466"/>
                    <a:pt x="14835" y="5464"/>
                  </a:cubicBezTo>
                  <a:cubicBezTo>
                    <a:pt x="14807" y="5461"/>
                    <a:pt x="14810" y="5426"/>
                    <a:pt x="14843" y="5392"/>
                  </a:cubicBezTo>
                  <a:cubicBezTo>
                    <a:pt x="14875" y="5356"/>
                    <a:pt x="14859" y="5283"/>
                    <a:pt x="14806" y="5231"/>
                  </a:cubicBezTo>
                  <a:cubicBezTo>
                    <a:pt x="14754" y="5178"/>
                    <a:pt x="14684" y="5099"/>
                    <a:pt x="14653" y="5055"/>
                  </a:cubicBezTo>
                  <a:cubicBezTo>
                    <a:pt x="14622" y="5011"/>
                    <a:pt x="14574" y="4973"/>
                    <a:pt x="14548" y="4976"/>
                  </a:cubicBezTo>
                  <a:cubicBezTo>
                    <a:pt x="14522" y="4978"/>
                    <a:pt x="14470" y="4964"/>
                    <a:pt x="14430" y="4959"/>
                  </a:cubicBezTo>
                  <a:cubicBezTo>
                    <a:pt x="14390" y="4951"/>
                    <a:pt x="14343" y="4963"/>
                    <a:pt x="14323" y="4988"/>
                  </a:cubicBezTo>
                  <a:cubicBezTo>
                    <a:pt x="14301" y="5011"/>
                    <a:pt x="14268" y="5038"/>
                    <a:pt x="14249" y="5050"/>
                  </a:cubicBezTo>
                  <a:cubicBezTo>
                    <a:pt x="14227" y="5057"/>
                    <a:pt x="14199" y="5044"/>
                    <a:pt x="14185" y="5019"/>
                  </a:cubicBezTo>
                  <a:cubicBezTo>
                    <a:pt x="14172" y="4992"/>
                    <a:pt x="14146" y="4963"/>
                    <a:pt x="14129" y="4952"/>
                  </a:cubicBezTo>
                  <a:cubicBezTo>
                    <a:pt x="14110" y="4943"/>
                    <a:pt x="14090" y="4912"/>
                    <a:pt x="14080" y="4888"/>
                  </a:cubicBezTo>
                  <a:cubicBezTo>
                    <a:pt x="14073" y="4863"/>
                    <a:pt x="14043" y="4831"/>
                    <a:pt x="14023" y="4812"/>
                  </a:cubicBezTo>
                  <a:cubicBezTo>
                    <a:pt x="14002" y="4795"/>
                    <a:pt x="13962" y="4778"/>
                    <a:pt x="13935" y="4781"/>
                  </a:cubicBezTo>
                  <a:cubicBezTo>
                    <a:pt x="13908" y="4781"/>
                    <a:pt x="13873" y="4767"/>
                    <a:pt x="13859" y="4749"/>
                  </a:cubicBezTo>
                  <a:cubicBezTo>
                    <a:pt x="13843" y="4731"/>
                    <a:pt x="13812" y="4707"/>
                    <a:pt x="13787" y="4697"/>
                  </a:cubicBezTo>
                  <a:cubicBezTo>
                    <a:pt x="13763" y="4686"/>
                    <a:pt x="13733" y="4691"/>
                    <a:pt x="13721" y="4707"/>
                  </a:cubicBezTo>
                  <a:cubicBezTo>
                    <a:pt x="13708" y="4721"/>
                    <a:pt x="13697" y="4723"/>
                    <a:pt x="13697" y="4709"/>
                  </a:cubicBezTo>
                  <a:cubicBezTo>
                    <a:pt x="13694" y="4695"/>
                    <a:pt x="13676" y="4675"/>
                    <a:pt x="13659" y="4660"/>
                  </a:cubicBezTo>
                  <a:cubicBezTo>
                    <a:pt x="13641" y="4646"/>
                    <a:pt x="13611" y="4618"/>
                    <a:pt x="13596" y="4593"/>
                  </a:cubicBezTo>
                  <a:cubicBezTo>
                    <a:pt x="13582" y="4569"/>
                    <a:pt x="13552" y="4551"/>
                    <a:pt x="13533" y="4560"/>
                  </a:cubicBezTo>
                  <a:cubicBezTo>
                    <a:pt x="13513" y="4565"/>
                    <a:pt x="13465" y="4559"/>
                    <a:pt x="13426" y="4546"/>
                  </a:cubicBezTo>
                  <a:cubicBezTo>
                    <a:pt x="13388" y="4529"/>
                    <a:pt x="13312" y="4493"/>
                    <a:pt x="13258" y="4460"/>
                  </a:cubicBezTo>
                  <a:cubicBezTo>
                    <a:pt x="13206" y="4426"/>
                    <a:pt x="13149" y="4399"/>
                    <a:pt x="13135" y="4394"/>
                  </a:cubicBezTo>
                  <a:cubicBezTo>
                    <a:pt x="13122" y="4387"/>
                    <a:pt x="13103" y="4399"/>
                    <a:pt x="13095" y="4412"/>
                  </a:cubicBezTo>
                  <a:cubicBezTo>
                    <a:pt x="13086" y="4424"/>
                    <a:pt x="13056" y="4417"/>
                    <a:pt x="13023" y="4394"/>
                  </a:cubicBezTo>
                  <a:cubicBezTo>
                    <a:pt x="12990" y="4372"/>
                    <a:pt x="12946" y="4354"/>
                    <a:pt x="12925" y="4354"/>
                  </a:cubicBezTo>
                  <a:cubicBezTo>
                    <a:pt x="12904" y="4359"/>
                    <a:pt x="12883" y="4371"/>
                    <a:pt x="12880" y="4390"/>
                  </a:cubicBezTo>
                  <a:cubicBezTo>
                    <a:pt x="12878" y="4411"/>
                    <a:pt x="12863" y="4428"/>
                    <a:pt x="12849" y="4426"/>
                  </a:cubicBezTo>
                  <a:cubicBezTo>
                    <a:pt x="12835" y="4426"/>
                    <a:pt x="12814" y="4407"/>
                    <a:pt x="12803" y="4383"/>
                  </a:cubicBezTo>
                  <a:cubicBezTo>
                    <a:pt x="12792" y="4360"/>
                    <a:pt x="12752" y="4335"/>
                    <a:pt x="12713" y="4333"/>
                  </a:cubicBezTo>
                  <a:cubicBezTo>
                    <a:pt x="12674" y="4327"/>
                    <a:pt x="12618" y="4338"/>
                    <a:pt x="12587" y="4351"/>
                  </a:cubicBezTo>
                  <a:cubicBezTo>
                    <a:pt x="12555" y="4364"/>
                    <a:pt x="12519" y="4403"/>
                    <a:pt x="12504" y="4432"/>
                  </a:cubicBezTo>
                  <a:cubicBezTo>
                    <a:pt x="12490" y="4463"/>
                    <a:pt x="12480" y="4504"/>
                    <a:pt x="12486" y="4522"/>
                  </a:cubicBezTo>
                  <a:cubicBezTo>
                    <a:pt x="12490" y="4541"/>
                    <a:pt x="12469" y="4584"/>
                    <a:pt x="12435" y="4615"/>
                  </a:cubicBezTo>
                  <a:cubicBezTo>
                    <a:pt x="12401" y="4645"/>
                    <a:pt x="12341" y="4692"/>
                    <a:pt x="12297" y="4714"/>
                  </a:cubicBezTo>
                  <a:cubicBezTo>
                    <a:pt x="12252" y="4734"/>
                    <a:pt x="12172" y="4779"/>
                    <a:pt x="12116" y="4806"/>
                  </a:cubicBezTo>
                  <a:cubicBezTo>
                    <a:pt x="12060" y="4834"/>
                    <a:pt x="11996" y="4884"/>
                    <a:pt x="11970" y="4916"/>
                  </a:cubicBezTo>
                  <a:cubicBezTo>
                    <a:pt x="11944" y="4947"/>
                    <a:pt x="11915" y="5010"/>
                    <a:pt x="11903" y="5054"/>
                  </a:cubicBezTo>
                  <a:cubicBezTo>
                    <a:pt x="11893" y="5098"/>
                    <a:pt x="11877" y="5169"/>
                    <a:pt x="11877" y="5212"/>
                  </a:cubicBezTo>
                  <a:cubicBezTo>
                    <a:pt x="11876" y="5256"/>
                    <a:pt x="11861" y="5308"/>
                    <a:pt x="11850" y="5331"/>
                  </a:cubicBezTo>
                  <a:cubicBezTo>
                    <a:pt x="11838" y="5353"/>
                    <a:pt x="11807" y="5390"/>
                    <a:pt x="11785" y="5416"/>
                  </a:cubicBezTo>
                  <a:cubicBezTo>
                    <a:pt x="11761" y="5441"/>
                    <a:pt x="11746" y="5477"/>
                    <a:pt x="11750" y="5496"/>
                  </a:cubicBezTo>
                  <a:cubicBezTo>
                    <a:pt x="11753" y="5516"/>
                    <a:pt x="11763" y="5559"/>
                    <a:pt x="11774" y="5593"/>
                  </a:cubicBezTo>
                  <a:cubicBezTo>
                    <a:pt x="11781" y="5627"/>
                    <a:pt x="11793" y="5703"/>
                    <a:pt x="11793" y="5762"/>
                  </a:cubicBezTo>
                  <a:cubicBezTo>
                    <a:pt x="11793" y="5822"/>
                    <a:pt x="11783" y="5840"/>
                    <a:pt x="11768" y="5802"/>
                  </a:cubicBezTo>
                  <a:cubicBezTo>
                    <a:pt x="11754" y="5765"/>
                    <a:pt x="11719" y="5703"/>
                    <a:pt x="11692" y="5664"/>
                  </a:cubicBezTo>
                  <a:cubicBezTo>
                    <a:pt x="11665" y="5626"/>
                    <a:pt x="11640" y="5573"/>
                    <a:pt x="11640" y="5547"/>
                  </a:cubicBezTo>
                  <a:cubicBezTo>
                    <a:pt x="11638" y="5520"/>
                    <a:pt x="11653" y="5478"/>
                    <a:pt x="11671" y="5451"/>
                  </a:cubicBezTo>
                  <a:cubicBezTo>
                    <a:pt x="11691" y="5427"/>
                    <a:pt x="11724" y="5389"/>
                    <a:pt x="11749" y="5371"/>
                  </a:cubicBezTo>
                  <a:cubicBezTo>
                    <a:pt x="11775" y="5353"/>
                    <a:pt x="11785" y="5301"/>
                    <a:pt x="11776" y="5256"/>
                  </a:cubicBezTo>
                  <a:cubicBezTo>
                    <a:pt x="11767" y="5210"/>
                    <a:pt x="11769" y="5145"/>
                    <a:pt x="11776" y="5109"/>
                  </a:cubicBezTo>
                  <a:cubicBezTo>
                    <a:pt x="11786" y="5073"/>
                    <a:pt x="11788" y="5027"/>
                    <a:pt x="11783" y="5007"/>
                  </a:cubicBezTo>
                  <a:cubicBezTo>
                    <a:pt x="11779" y="4986"/>
                    <a:pt x="11758" y="4968"/>
                    <a:pt x="11738" y="4966"/>
                  </a:cubicBezTo>
                  <a:cubicBezTo>
                    <a:pt x="11718" y="4963"/>
                    <a:pt x="11672" y="4968"/>
                    <a:pt x="11635" y="4978"/>
                  </a:cubicBezTo>
                  <a:cubicBezTo>
                    <a:pt x="11598" y="4986"/>
                    <a:pt x="11533" y="4983"/>
                    <a:pt x="11490" y="4966"/>
                  </a:cubicBezTo>
                  <a:cubicBezTo>
                    <a:pt x="11446" y="4951"/>
                    <a:pt x="11382" y="4933"/>
                    <a:pt x="11345" y="4933"/>
                  </a:cubicBezTo>
                  <a:cubicBezTo>
                    <a:pt x="11309" y="4933"/>
                    <a:pt x="11256" y="4934"/>
                    <a:pt x="11228" y="4939"/>
                  </a:cubicBezTo>
                  <a:cubicBezTo>
                    <a:pt x="11200" y="4944"/>
                    <a:pt x="11160" y="4929"/>
                    <a:pt x="11135" y="4911"/>
                  </a:cubicBezTo>
                  <a:cubicBezTo>
                    <a:pt x="11113" y="4891"/>
                    <a:pt x="11115" y="4879"/>
                    <a:pt x="11137" y="4886"/>
                  </a:cubicBezTo>
                  <a:cubicBezTo>
                    <a:pt x="11161" y="4891"/>
                    <a:pt x="11202" y="4881"/>
                    <a:pt x="11227" y="4863"/>
                  </a:cubicBezTo>
                  <a:cubicBezTo>
                    <a:pt x="11250" y="4844"/>
                    <a:pt x="11295" y="4829"/>
                    <a:pt x="11323" y="4824"/>
                  </a:cubicBezTo>
                  <a:cubicBezTo>
                    <a:pt x="11351" y="4822"/>
                    <a:pt x="11415" y="4830"/>
                    <a:pt x="11465" y="4843"/>
                  </a:cubicBezTo>
                  <a:cubicBezTo>
                    <a:pt x="11514" y="4858"/>
                    <a:pt x="11579" y="4869"/>
                    <a:pt x="11605" y="4861"/>
                  </a:cubicBezTo>
                  <a:cubicBezTo>
                    <a:pt x="11631" y="4856"/>
                    <a:pt x="11674" y="4832"/>
                    <a:pt x="11695" y="4801"/>
                  </a:cubicBezTo>
                  <a:cubicBezTo>
                    <a:pt x="11715" y="4770"/>
                    <a:pt x="11745" y="4746"/>
                    <a:pt x="11757" y="4748"/>
                  </a:cubicBezTo>
                  <a:cubicBezTo>
                    <a:pt x="11769" y="4748"/>
                    <a:pt x="11793" y="4759"/>
                    <a:pt x="11809" y="4773"/>
                  </a:cubicBezTo>
                  <a:cubicBezTo>
                    <a:pt x="11826" y="4786"/>
                    <a:pt x="11853" y="4796"/>
                    <a:pt x="11868" y="4791"/>
                  </a:cubicBezTo>
                  <a:cubicBezTo>
                    <a:pt x="11885" y="4791"/>
                    <a:pt x="11919" y="4772"/>
                    <a:pt x="11946" y="4760"/>
                  </a:cubicBezTo>
                  <a:cubicBezTo>
                    <a:pt x="11972" y="4745"/>
                    <a:pt x="12032" y="4723"/>
                    <a:pt x="12079" y="4713"/>
                  </a:cubicBezTo>
                  <a:cubicBezTo>
                    <a:pt x="12126" y="4701"/>
                    <a:pt x="12160" y="4661"/>
                    <a:pt x="12156" y="4624"/>
                  </a:cubicBezTo>
                  <a:cubicBezTo>
                    <a:pt x="12153" y="4586"/>
                    <a:pt x="12179" y="4517"/>
                    <a:pt x="12217" y="4472"/>
                  </a:cubicBezTo>
                  <a:cubicBezTo>
                    <a:pt x="12253" y="4426"/>
                    <a:pt x="12284" y="4361"/>
                    <a:pt x="12279" y="4325"/>
                  </a:cubicBezTo>
                  <a:cubicBezTo>
                    <a:pt x="12277" y="4290"/>
                    <a:pt x="12282" y="4242"/>
                    <a:pt x="12298" y="4221"/>
                  </a:cubicBezTo>
                  <a:cubicBezTo>
                    <a:pt x="12311" y="4198"/>
                    <a:pt x="12326" y="4158"/>
                    <a:pt x="12323" y="4129"/>
                  </a:cubicBezTo>
                  <a:cubicBezTo>
                    <a:pt x="12322" y="4101"/>
                    <a:pt x="12285" y="4063"/>
                    <a:pt x="12237" y="4053"/>
                  </a:cubicBezTo>
                  <a:cubicBezTo>
                    <a:pt x="12190" y="4041"/>
                    <a:pt x="12119" y="4003"/>
                    <a:pt x="12081" y="3971"/>
                  </a:cubicBezTo>
                  <a:cubicBezTo>
                    <a:pt x="12043" y="3939"/>
                    <a:pt x="11983" y="3912"/>
                    <a:pt x="11950" y="3908"/>
                  </a:cubicBezTo>
                  <a:cubicBezTo>
                    <a:pt x="11916" y="3908"/>
                    <a:pt x="11851" y="3920"/>
                    <a:pt x="11808" y="3946"/>
                  </a:cubicBezTo>
                  <a:cubicBezTo>
                    <a:pt x="11765" y="3972"/>
                    <a:pt x="11694" y="3984"/>
                    <a:pt x="11654" y="3987"/>
                  </a:cubicBezTo>
                  <a:cubicBezTo>
                    <a:pt x="11614" y="3987"/>
                    <a:pt x="11532" y="3961"/>
                    <a:pt x="11473" y="3931"/>
                  </a:cubicBezTo>
                  <a:cubicBezTo>
                    <a:pt x="11413" y="3902"/>
                    <a:pt x="11314" y="3869"/>
                    <a:pt x="11253" y="3859"/>
                  </a:cubicBezTo>
                  <a:cubicBezTo>
                    <a:pt x="11191" y="3850"/>
                    <a:pt x="11107" y="3875"/>
                    <a:pt x="11068" y="3918"/>
                  </a:cubicBezTo>
                  <a:cubicBezTo>
                    <a:pt x="11029" y="3961"/>
                    <a:pt x="11000" y="4012"/>
                    <a:pt x="11005" y="4030"/>
                  </a:cubicBezTo>
                  <a:cubicBezTo>
                    <a:pt x="11009" y="4049"/>
                    <a:pt x="11027" y="4074"/>
                    <a:pt x="11042" y="4087"/>
                  </a:cubicBezTo>
                  <a:cubicBezTo>
                    <a:pt x="11057" y="4099"/>
                    <a:pt x="11081" y="4122"/>
                    <a:pt x="11090" y="4140"/>
                  </a:cubicBezTo>
                  <a:cubicBezTo>
                    <a:pt x="11101" y="4157"/>
                    <a:pt x="11093" y="4168"/>
                    <a:pt x="11073" y="4171"/>
                  </a:cubicBezTo>
                  <a:cubicBezTo>
                    <a:pt x="11052" y="4173"/>
                    <a:pt x="11025" y="4177"/>
                    <a:pt x="11013" y="4182"/>
                  </a:cubicBezTo>
                  <a:cubicBezTo>
                    <a:pt x="11003" y="4191"/>
                    <a:pt x="10984" y="4215"/>
                    <a:pt x="10975" y="4242"/>
                  </a:cubicBezTo>
                  <a:cubicBezTo>
                    <a:pt x="10967" y="4268"/>
                    <a:pt x="10950" y="4270"/>
                    <a:pt x="10940" y="4244"/>
                  </a:cubicBezTo>
                  <a:cubicBezTo>
                    <a:pt x="10929" y="4219"/>
                    <a:pt x="10908" y="4190"/>
                    <a:pt x="10891" y="4185"/>
                  </a:cubicBezTo>
                  <a:cubicBezTo>
                    <a:pt x="10874" y="4180"/>
                    <a:pt x="10835" y="4181"/>
                    <a:pt x="10802" y="4191"/>
                  </a:cubicBezTo>
                  <a:cubicBezTo>
                    <a:pt x="10767" y="4198"/>
                    <a:pt x="10719" y="4251"/>
                    <a:pt x="10685" y="4298"/>
                  </a:cubicBezTo>
                  <a:cubicBezTo>
                    <a:pt x="10656" y="4349"/>
                    <a:pt x="10595" y="4431"/>
                    <a:pt x="10550" y="4481"/>
                  </a:cubicBezTo>
                  <a:cubicBezTo>
                    <a:pt x="10510" y="4535"/>
                    <a:pt x="10494" y="4535"/>
                    <a:pt x="10528" y="4487"/>
                  </a:cubicBezTo>
                  <a:cubicBezTo>
                    <a:pt x="10558" y="4438"/>
                    <a:pt x="10579" y="4371"/>
                    <a:pt x="10575" y="4338"/>
                  </a:cubicBezTo>
                  <a:cubicBezTo>
                    <a:pt x="10566" y="4305"/>
                    <a:pt x="10568" y="4261"/>
                    <a:pt x="10576" y="4243"/>
                  </a:cubicBezTo>
                  <a:cubicBezTo>
                    <a:pt x="10583" y="4226"/>
                    <a:pt x="10588" y="4192"/>
                    <a:pt x="10589" y="4169"/>
                  </a:cubicBezTo>
                  <a:cubicBezTo>
                    <a:pt x="10590" y="4146"/>
                    <a:pt x="10577" y="4127"/>
                    <a:pt x="10561" y="4125"/>
                  </a:cubicBezTo>
                  <a:cubicBezTo>
                    <a:pt x="10544" y="4125"/>
                    <a:pt x="10509" y="4142"/>
                    <a:pt x="10478" y="4165"/>
                  </a:cubicBezTo>
                  <a:cubicBezTo>
                    <a:pt x="10448" y="4187"/>
                    <a:pt x="10417" y="4237"/>
                    <a:pt x="10403" y="4272"/>
                  </a:cubicBezTo>
                  <a:cubicBezTo>
                    <a:pt x="10392" y="4308"/>
                    <a:pt x="10371" y="4369"/>
                    <a:pt x="10361" y="4410"/>
                  </a:cubicBezTo>
                  <a:cubicBezTo>
                    <a:pt x="10347" y="4449"/>
                    <a:pt x="10322" y="4496"/>
                    <a:pt x="10297" y="4509"/>
                  </a:cubicBezTo>
                  <a:cubicBezTo>
                    <a:pt x="10272" y="4524"/>
                    <a:pt x="10270" y="4499"/>
                    <a:pt x="10288" y="4452"/>
                  </a:cubicBezTo>
                  <a:cubicBezTo>
                    <a:pt x="10308" y="4406"/>
                    <a:pt x="10322" y="4337"/>
                    <a:pt x="10323" y="4299"/>
                  </a:cubicBezTo>
                  <a:cubicBezTo>
                    <a:pt x="10323" y="4261"/>
                    <a:pt x="10364" y="4178"/>
                    <a:pt x="10411" y="4112"/>
                  </a:cubicBezTo>
                  <a:cubicBezTo>
                    <a:pt x="10460" y="4046"/>
                    <a:pt x="10504" y="3954"/>
                    <a:pt x="10515" y="3908"/>
                  </a:cubicBezTo>
                  <a:cubicBezTo>
                    <a:pt x="10523" y="3861"/>
                    <a:pt x="10547" y="3801"/>
                    <a:pt x="10563" y="3774"/>
                  </a:cubicBezTo>
                  <a:cubicBezTo>
                    <a:pt x="10581" y="3747"/>
                    <a:pt x="10620" y="3713"/>
                    <a:pt x="10649" y="3698"/>
                  </a:cubicBezTo>
                  <a:cubicBezTo>
                    <a:pt x="10679" y="3685"/>
                    <a:pt x="10729" y="3655"/>
                    <a:pt x="10759" y="3632"/>
                  </a:cubicBezTo>
                  <a:cubicBezTo>
                    <a:pt x="10788" y="3609"/>
                    <a:pt x="10836" y="3589"/>
                    <a:pt x="10858" y="3578"/>
                  </a:cubicBezTo>
                  <a:cubicBezTo>
                    <a:pt x="10881" y="3568"/>
                    <a:pt x="10923" y="3529"/>
                    <a:pt x="10947" y="3485"/>
                  </a:cubicBezTo>
                  <a:cubicBezTo>
                    <a:pt x="10972" y="3441"/>
                    <a:pt x="11049" y="3348"/>
                    <a:pt x="11118" y="3277"/>
                  </a:cubicBezTo>
                  <a:cubicBezTo>
                    <a:pt x="11187" y="3207"/>
                    <a:pt x="11246" y="3132"/>
                    <a:pt x="11247" y="3113"/>
                  </a:cubicBezTo>
                  <a:cubicBezTo>
                    <a:pt x="11251" y="3095"/>
                    <a:pt x="11266" y="3073"/>
                    <a:pt x="11278" y="3061"/>
                  </a:cubicBezTo>
                  <a:cubicBezTo>
                    <a:pt x="11293" y="3051"/>
                    <a:pt x="11290" y="3022"/>
                    <a:pt x="11270" y="3000"/>
                  </a:cubicBezTo>
                  <a:cubicBezTo>
                    <a:pt x="11252" y="2977"/>
                    <a:pt x="11237" y="2940"/>
                    <a:pt x="11243" y="2918"/>
                  </a:cubicBezTo>
                  <a:cubicBezTo>
                    <a:pt x="11245" y="2897"/>
                    <a:pt x="11258" y="2872"/>
                    <a:pt x="11267" y="2863"/>
                  </a:cubicBezTo>
                  <a:cubicBezTo>
                    <a:pt x="11278" y="2855"/>
                    <a:pt x="11282" y="2821"/>
                    <a:pt x="11281" y="2788"/>
                  </a:cubicBezTo>
                  <a:cubicBezTo>
                    <a:pt x="11278" y="2756"/>
                    <a:pt x="11252" y="2708"/>
                    <a:pt x="11217" y="2684"/>
                  </a:cubicBezTo>
                  <a:cubicBezTo>
                    <a:pt x="11185" y="2659"/>
                    <a:pt x="11130" y="2637"/>
                    <a:pt x="11096" y="2637"/>
                  </a:cubicBezTo>
                  <a:cubicBezTo>
                    <a:pt x="11062" y="2637"/>
                    <a:pt x="11026" y="2645"/>
                    <a:pt x="11017" y="2656"/>
                  </a:cubicBezTo>
                  <a:cubicBezTo>
                    <a:pt x="11007" y="2667"/>
                    <a:pt x="10984" y="2654"/>
                    <a:pt x="10967" y="2626"/>
                  </a:cubicBezTo>
                  <a:cubicBezTo>
                    <a:pt x="10949" y="2599"/>
                    <a:pt x="10912" y="2524"/>
                    <a:pt x="10885" y="2460"/>
                  </a:cubicBezTo>
                  <a:cubicBezTo>
                    <a:pt x="10856" y="2397"/>
                    <a:pt x="10798" y="2266"/>
                    <a:pt x="10753" y="2171"/>
                  </a:cubicBezTo>
                  <a:cubicBezTo>
                    <a:pt x="10707" y="2076"/>
                    <a:pt x="10640" y="1957"/>
                    <a:pt x="10603" y="1906"/>
                  </a:cubicBezTo>
                  <a:cubicBezTo>
                    <a:pt x="10567" y="1855"/>
                    <a:pt x="10510" y="1760"/>
                    <a:pt x="10482" y="1695"/>
                  </a:cubicBezTo>
                  <a:cubicBezTo>
                    <a:pt x="10454" y="1629"/>
                    <a:pt x="10425" y="1548"/>
                    <a:pt x="10425" y="1513"/>
                  </a:cubicBezTo>
                  <a:cubicBezTo>
                    <a:pt x="10423" y="1478"/>
                    <a:pt x="10411" y="1421"/>
                    <a:pt x="10401" y="1385"/>
                  </a:cubicBezTo>
                  <a:cubicBezTo>
                    <a:pt x="10390" y="1350"/>
                    <a:pt x="10368" y="1309"/>
                    <a:pt x="10354" y="1294"/>
                  </a:cubicBezTo>
                  <a:cubicBezTo>
                    <a:pt x="10341" y="1280"/>
                    <a:pt x="10320" y="1242"/>
                    <a:pt x="10313" y="1209"/>
                  </a:cubicBezTo>
                  <a:cubicBezTo>
                    <a:pt x="10302" y="1176"/>
                    <a:pt x="10279" y="1115"/>
                    <a:pt x="10255" y="1074"/>
                  </a:cubicBezTo>
                  <a:cubicBezTo>
                    <a:pt x="10233" y="1032"/>
                    <a:pt x="10206" y="1002"/>
                    <a:pt x="10199" y="1006"/>
                  </a:cubicBezTo>
                  <a:cubicBezTo>
                    <a:pt x="10191" y="1011"/>
                    <a:pt x="10186" y="1036"/>
                    <a:pt x="10193" y="1063"/>
                  </a:cubicBezTo>
                  <a:cubicBezTo>
                    <a:pt x="10198" y="1089"/>
                    <a:pt x="10191" y="1126"/>
                    <a:pt x="10182" y="1146"/>
                  </a:cubicBezTo>
                  <a:cubicBezTo>
                    <a:pt x="10171" y="1166"/>
                    <a:pt x="10133" y="1200"/>
                    <a:pt x="10098" y="1222"/>
                  </a:cubicBezTo>
                  <a:cubicBezTo>
                    <a:pt x="10063" y="1244"/>
                    <a:pt x="10036" y="1261"/>
                    <a:pt x="10035" y="1261"/>
                  </a:cubicBezTo>
                  <a:cubicBezTo>
                    <a:pt x="10036" y="1261"/>
                    <a:pt x="10036" y="1263"/>
                    <a:pt x="10033" y="1263"/>
                  </a:cubicBezTo>
                  <a:cubicBezTo>
                    <a:pt x="10031" y="1261"/>
                    <a:pt x="10022" y="1282"/>
                    <a:pt x="10011" y="1299"/>
                  </a:cubicBezTo>
                  <a:cubicBezTo>
                    <a:pt x="10000" y="1318"/>
                    <a:pt x="9961" y="1370"/>
                    <a:pt x="9929" y="1418"/>
                  </a:cubicBezTo>
                  <a:close/>
                  <a:moveTo>
                    <a:pt x="9929" y="141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5" name="AutoShape 1317"/>
            <p:cNvSpPr>
              <a:spLocks/>
            </p:cNvSpPr>
            <p:nvPr/>
          </p:nvSpPr>
          <p:spPr bwMode="auto">
            <a:xfrm>
              <a:off x="5003800" y="5524500"/>
              <a:ext cx="19050" cy="20638"/>
            </a:xfrm>
            <a:custGeom>
              <a:avLst/>
              <a:gdLst/>
              <a:ahLst/>
              <a:cxnLst/>
              <a:rect l="0" t="0" r="r" b="b"/>
              <a:pathLst>
                <a:path w="21029" h="21307">
                  <a:moveTo>
                    <a:pt x="18378" y="263"/>
                  </a:moveTo>
                  <a:cubicBezTo>
                    <a:pt x="17627" y="563"/>
                    <a:pt x="16064" y="347"/>
                    <a:pt x="14989" y="143"/>
                  </a:cubicBezTo>
                  <a:cubicBezTo>
                    <a:pt x="13919" y="-36"/>
                    <a:pt x="12153" y="-132"/>
                    <a:pt x="11191" y="384"/>
                  </a:cubicBezTo>
                  <a:cubicBezTo>
                    <a:pt x="10184" y="744"/>
                    <a:pt x="7842" y="2747"/>
                    <a:pt x="5853" y="4713"/>
                  </a:cubicBezTo>
                  <a:cubicBezTo>
                    <a:pt x="3931" y="6728"/>
                    <a:pt x="1684" y="11334"/>
                    <a:pt x="710" y="14968"/>
                  </a:cubicBezTo>
                  <a:cubicBezTo>
                    <a:pt x="-204" y="18565"/>
                    <a:pt x="-231" y="21468"/>
                    <a:pt x="602" y="21300"/>
                  </a:cubicBezTo>
                  <a:cubicBezTo>
                    <a:pt x="1440" y="21131"/>
                    <a:pt x="2184" y="20341"/>
                    <a:pt x="2645" y="19609"/>
                  </a:cubicBezTo>
                  <a:cubicBezTo>
                    <a:pt x="3031" y="18841"/>
                    <a:pt x="5041" y="16359"/>
                    <a:pt x="7254" y="14092"/>
                  </a:cubicBezTo>
                  <a:cubicBezTo>
                    <a:pt x="9602" y="11921"/>
                    <a:pt x="12348" y="9859"/>
                    <a:pt x="13519" y="10026"/>
                  </a:cubicBezTo>
                  <a:cubicBezTo>
                    <a:pt x="14704" y="10026"/>
                    <a:pt x="17207" y="8551"/>
                    <a:pt x="18825" y="6572"/>
                  </a:cubicBezTo>
                  <a:cubicBezTo>
                    <a:pt x="20368" y="4581"/>
                    <a:pt x="21369" y="2506"/>
                    <a:pt x="20923" y="1559"/>
                  </a:cubicBezTo>
                  <a:cubicBezTo>
                    <a:pt x="20402" y="623"/>
                    <a:pt x="19184" y="72"/>
                    <a:pt x="18378" y="263"/>
                  </a:cubicBezTo>
                  <a:close/>
                  <a:moveTo>
                    <a:pt x="18378" y="2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6" name="AutoShape 1318"/>
            <p:cNvSpPr>
              <a:spLocks/>
            </p:cNvSpPr>
            <p:nvPr/>
          </p:nvSpPr>
          <p:spPr bwMode="auto">
            <a:xfrm>
              <a:off x="5003800" y="5537200"/>
              <a:ext cx="7938" cy="6350"/>
            </a:xfrm>
            <a:custGeom>
              <a:avLst/>
              <a:gdLst/>
              <a:ahLst/>
              <a:cxnLst/>
              <a:rect l="0" t="0" r="r" b="b"/>
              <a:pathLst>
                <a:path w="20749" h="20273">
                  <a:moveTo>
                    <a:pt x="10789" y="2178"/>
                  </a:moveTo>
                  <a:cubicBezTo>
                    <a:pt x="7136" y="4275"/>
                    <a:pt x="2944" y="9203"/>
                    <a:pt x="1337" y="12382"/>
                  </a:cubicBezTo>
                  <a:cubicBezTo>
                    <a:pt x="-250" y="15704"/>
                    <a:pt x="-553" y="18953"/>
                    <a:pt x="1132" y="19512"/>
                  </a:cubicBezTo>
                  <a:cubicBezTo>
                    <a:pt x="2498" y="20596"/>
                    <a:pt x="7247" y="20354"/>
                    <a:pt x="11105" y="19827"/>
                  </a:cubicBezTo>
                  <a:cubicBezTo>
                    <a:pt x="15026" y="19340"/>
                    <a:pt x="19014" y="15564"/>
                    <a:pt x="20204" y="11440"/>
                  </a:cubicBezTo>
                  <a:cubicBezTo>
                    <a:pt x="21047" y="7279"/>
                    <a:pt x="20953" y="2596"/>
                    <a:pt x="19632" y="815"/>
                  </a:cubicBezTo>
                  <a:cubicBezTo>
                    <a:pt x="18269" y="-1004"/>
                    <a:pt x="14662" y="568"/>
                    <a:pt x="10789" y="2178"/>
                  </a:cubicBezTo>
                  <a:close/>
                  <a:moveTo>
                    <a:pt x="10789" y="21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7" name="AutoShape 1319"/>
            <p:cNvSpPr>
              <a:spLocks/>
            </p:cNvSpPr>
            <p:nvPr/>
          </p:nvSpPr>
          <p:spPr bwMode="auto">
            <a:xfrm>
              <a:off x="5029200" y="5511800"/>
              <a:ext cx="6350" cy="7938"/>
            </a:xfrm>
            <a:custGeom>
              <a:avLst/>
              <a:gdLst/>
              <a:ahLst/>
              <a:cxnLst/>
              <a:rect l="0" t="0" r="r" b="b"/>
              <a:pathLst>
                <a:path w="21450" h="19981">
                  <a:moveTo>
                    <a:pt x="8591" y="1101"/>
                  </a:moveTo>
                  <a:cubicBezTo>
                    <a:pt x="4461" y="-1111"/>
                    <a:pt x="514" y="225"/>
                    <a:pt x="0" y="3204"/>
                  </a:cubicBezTo>
                  <a:cubicBezTo>
                    <a:pt x="185" y="6263"/>
                    <a:pt x="1069" y="10986"/>
                    <a:pt x="3949" y="13170"/>
                  </a:cubicBezTo>
                  <a:cubicBezTo>
                    <a:pt x="6086" y="15765"/>
                    <a:pt x="11077" y="18878"/>
                    <a:pt x="14942" y="19670"/>
                  </a:cubicBezTo>
                  <a:cubicBezTo>
                    <a:pt x="18742" y="20489"/>
                    <a:pt x="21437" y="19697"/>
                    <a:pt x="21437" y="17239"/>
                  </a:cubicBezTo>
                  <a:cubicBezTo>
                    <a:pt x="21600" y="14781"/>
                    <a:pt x="20204" y="10905"/>
                    <a:pt x="19054" y="8609"/>
                  </a:cubicBezTo>
                  <a:cubicBezTo>
                    <a:pt x="17429" y="6426"/>
                    <a:pt x="13359" y="2630"/>
                    <a:pt x="8591" y="1101"/>
                  </a:cubicBezTo>
                  <a:close/>
                  <a:moveTo>
                    <a:pt x="8591" y="11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8" name="AutoShape 1320"/>
            <p:cNvSpPr>
              <a:spLocks/>
            </p:cNvSpPr>
            <p:nvPr/>
          </p:nvSpPr>
          <p:spPr bwMode="auto">
            <a:xfrm>
              <a:off x="5029200" y="5511800"/>
              <a:ext cx="20638" cy="9525"/>
            </a:xfrm>
            <a:custGeom>
              <a:avLst/>
              <a:gdLst/>
              <a:ahLst/>
              <a:cxnLst/>
              <a:rect l="0" t="0" r="r" b="b"/>
              <a:pathLst>
                <a:path w="21249" h="20350">
                  <a:moveTo>
                    <a:pt x="11652" y="508"/>
                  </a:moveTo>
                  <a:cubicBezTo>
                    <a:pt x="8735" y="1573"/>
                    <a:pt x="5040" y="2141"/>
                    <a:pt x="3479" y="2497"/>
                  </a:cubicBezTo>
                  <a:cubicBezTo>
                    <a:pt x="1937" y="2497"/>
                    <a:pt x="500" y="4178"/>
                    <a:pt x="64" y="6075"/>
                  </a:cubicBezTo>
                  <a:cubicBezTo>
                    <a:pt x="-184" y="8015"/>
                    <a:pt x="295" y="10644"/>
                    <a:pt x="1333" y="12019"/>
                  </a:cubicBezTo>
                  <a:cubicBezTo>
                    <a:pt x="2341" y="13415"/>
                    <a:pt x="5320" y="15380"/>
                    <a:pt x="7969" y="15761"/>
                  </a:cubicBezTo>
                  <a:cubicBezTo>
                    <a:pt x="10588" y="16423"/>
                    <a:pt x="13479" y="18009"/>
                    <a:pt x="14325" y="19314"/>
                  </a:cubicBezTo>
                  <a:cubicBezTo>
                    <a:pt x="15127" y="20733"/>
                    <a:pt x="16963" y="20592"/>
                    <a:pt x="18293" y="19503"/>
                  </a:cubicBezTo>
                  <a:cubicBezTo>
                    <a:pt x="19705" y="18792"/>
                    <a:pt x="20806" y="15026"/>
                    <a:pt x="21216" y="12254"/>
                  </a:cubicBezTo>
                  <a:cubicBezTo>
                    <a:pt x="21416" y="9365"/>
                    <a:pt x="20676" y="5102"/>
                    <a:pt x="19363" y="2781"/>
                  </a:cubicBezTo>
                  <a:cubicBezTo>
                    <a:pt x="17951" y="768"/>
                    <a:pt x="14556" y="-867"/>
                    <a:pt x="11652" y="508"/>
                  </a:cubicBezTo>
                  <a:close/>
                  <a:moveTo>
                    <a:pt x="11652" y="50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19" name="AutoShape 1321"/>
            <p:cNvSpPr>
              <a:spLocks/>
            </p:cNvSpPr>
            <p:nvPr/>
          </p:nvSpPr>
          <p:spPr bwMode="auto">
            <a:xfrm>
              <a:off x="5016500" y="5410200"/>
              <a:ext cx="11113" cy="20638"/>
            </a:xfrm>
            <a:custGeom>
              <a:avLst/>
              <a:gdLst/>
              <a:ahLst/>
              <a:cxnLst/>
              <a:rect l="0" t="0" r="r" b="b"/>
              <a:pathLst>
                <a:path w="21457" h="20794">
                  <a:moveTo>
                    <a:pt x="5581" y="1232"/>
                  </a:moveTo>
                  <a:cubicBezTo>
                    <a:pt x="2857" y="-1"/>
                    <a:pt x="314" y="-400"/>
                    <a:pt x="4" y="458"/>
                  </a:cubicBezTo>
                  <a:cubicBezTo>
                    <a:pt x="-70" y="1317"/>
                    <a:pt x="985" y="4462"/>
                    <a:pt x="2739" y="7607"/>
                  </a:cubicBezTo>
                  <a:cubicBezTo>
                    <a:pt x="4644" y="10714"/>
                    <a:pt x="7975" y="14766"/>
                    <a:pt x="10017" y="16690"/>
                  </a:cubicBezTo>
                  <a:cubicBezTo>
                    <a:pt x="12210" y="18600"/>
                    <a:pt x="15572" y="20294"/>
                    <a:pt x="17520" y="20680"/>
                  </a:cubicBezTo>
                  <a:cubicBezTo>
                    <a:pt x="19403" y="21200"/>
                    <a:pt x="21211" y="19870"/>
                    <a:pt x="21456" y="18286"/>
                  </a:cubicBezTo>
                  <a:cubicBezTo>
                    <a:pt x="21530" y="16677"/>
                    <a:pt x="18976" y="12746"/>
                    <a:pt x="16071" y="9445"/>
                  </a:cubicBezTo>
                  <a:cubicBezTo>
                    <a:pt x="12976" y="6191"/>
                    <a:pt x="8049" y="2623"/>
                    <a:pt x="5581" y="1232"/>
                  </a:cubicBezTo>
                  <a:close/>
                  <a:moveTo>
                    <a:pt x="5581" y="123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0" name="AutoShape 1322"/>
            <p:cNvSpPr>
              <a:spLocks/>
            </p:cNvSpPr>
            <p:nvPr/>
          </p:nvSpPr>
          <p:spPr bwMode="auto">
            <a:xfrm>
              <a:off x="5054600" y="5524500"/>
              <a:ext cx="14288" cy="7938"/>
            </a:xfrm>
            <a:custGeom>
              <a:avLst/>
              <a:gdLst/>
              <a:ahLst/>
              <a:cxnLst/>
              <a:rect l="0" t="0" r="r" b="b"/>
              <a:pathLst>
                <a:path w="20530" h="21238">
                  <a:moveTo>
                    <a:pt x="11272" y="52"/>
                  </a:moveTo>
                  <a:cubicBezTo>
                    <a:pt x="9201" y="-362"/>
                    <a:pt x="7146" y="1762"/>
                    <a:pt x="6526" y="4095"/>
                  </a:cubicBezTo>
                  <a:cubicBezTo>
                    <a:pt x="5871" y="6424"/>
                    <a:pt x="3852" y="10113"/>
                    <a:pt x="1540" y="11086"/>
                  </a:cubicBezTo>
                  <a:cubicBezTo>
                    <a:pt x="-639" y="12681"/>
                    <a:pt x="-461" y="15099"/>
                    <a:pt x="1797" y="17314"/>
                  </a:cubicBezTo>
                  <a:cubicBezTo>
                    <a:pt x="4188" y="19141"/>
                    <a:pt x="8854" y="21238"/>
                    <a:pt x="12264" y="21238"/>
                  </a:cubicBezTo>
                  <a:cubicBezTo>
                    <a:pt x="15674" y="21238"/>
                    <a:pt x="18890" y="18701"/>
                    <a:pt x="20146" y="15927"/>
                  </a:cubicBezTo>
                  <a:cubicBezTo>
                    <a:pt x="20961" y="12621"/>
                    <a:pt x="20518" y="7458"/>
                    <a:pt x="18454" y="5246"/>
                  </a:cubicBezTo>
                  <a:cubicBezTo>
                    <a:pt x="16552" y="2620"/>
                    <a:pt x="13363" y="466"/>
                    <a:pt x="11272" y="52"/>
                  </a:cubicBezTo>
                  <a:close/>
                  <a:moveTo>
                    <a:pt x="11272" y="5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1" name="AutoShape 1323"/>
            <p:cNvSpPr>
              <a:spLocks/>
            </p:cNvSpPr>
            <p:nvPr/>
          </p:nvSpPr>
          <p:spPr bwMode="auto">
            <a:xfrm>
              <a:off x="4851400" y="5245100"/>
              <a:ext cx="107950" cy="180975"/>
            </a:xfrm>
            <a:custGeom>
              <a:avLst/>
              <a:gdLst/>
              <a:ahLst/>
              <a:cxnLst/>
              <a:rect l="0" t="0" r="r" b="b"/>
              <a:pathLst>
                <a:path w="21457" h="21503">
                  <a:moveTo>
                    <a:pt x="364" y="1965"/>
                  </a:moveTo>
                  <a:cubicBezTo>
                    <a:pt x="98" y="2263"/>
                    <a:pt x="-74" y="2827"/>
                    <a:pt x="32" y="3231"/>
                  </a:cubicBezTo>
                  <a:cubicBezTo>
                    <a:pt x="146" y="3633"/>
                    <a:pt x="358" y="4209"/>
                    <a:pt x="553" y="4507"/>
                  </a:cubicBezTo>
                  <a:cubicBezTo>
                    <a:pt x="729" y="4807"/>
                    <a:pt x="876" y="5314"/>
                    <a:pt x="886" y="5636"/>
                  </a:cubicBezTo>
                  <a:cubicBezTo>
                    <a:pt x="886" y="5960"/>
                    <a:pt x="894" y="6419"/>
                    <a:pt x="935" y="6661"/>
                  </a:cubicBezTo>
                  <a:cubicBezTo>
                    <a:pt x="952" y="6904"/>
                    <a:pt x="1303" y="7249"/>
                    <a:pt x="1695" y="7427"/>
                  </a:cubicBezTo>
                  <a:cubicBezTo>
                    <a:pt x="2086" y="7603"/>
                    <a:pt x="2554" y="7947"/>
                    <a:pt x="2744" y="8188"/>
                  </a:cubicBezTo>
                  <a:cubicBezTo>
                    <a:pt x="2936" y="8429"/>
                    <a:pt x="3289" y="8856"/>
                    <a:pt x="3571" y="9129"/>
                  </a:cubicBezTo>
                  <a:cubicBezTo>
                    <a:pt x="3838" y="9403"/>
                    <a:pt x="4166" y="9873"/>
                    <a:pt x="4266" y="10180"/>
                  </a:cubicBezTo>
                  <a:cubicBezTo>
                    <a:pt x="4395" y="10486"/>
                    <a:pt x="4550" y="10850"/>
                    <a:pt x="4656" y="10977"/>
                  </a:cubicBezTo>
                  <a:cubicBezTo>
                    <a:pt x="4736" y="11115"/>
                    <a:pt x="4765" y="11426"/>
                    <a:pt x="4765" y="11672"/>
                  </a:cubicBezTo>
                  <a:cubicBezTo>
                    <a:pt x="4749" y="11921"/>
                    <a:pt x="4456" y="12282"/>
                    <a:pt x="4187" y="12496"/>
                  </a:cubicBezTo>
                  <a:cubicBezTo>
                    <a:pt x="3902" y="12703"/>
                    <a:pt x="3737" y="13175"/>
                    <a:pt x="3839" y="13542"/>
                  </a:cubicBezTo>
                  <a:cubicBezTo>
                    <a:pt x="3947" y="13906"/>
                    <a:pt x="4164" y="14368"/>
                    <a:pt x="4331" y="14569"/>
                  </a:cubicBezTo>
                  <a:cubicBezTo>
                    <a:pt x="4529" y="14754"/>
                    <a:pt x="4514" y="15174"/>
                    <a:pt x="4386" y="15484"/>
                  </a:cubicBezTo>
                  <a:cubicBezTo>
                    <a:pt x="4231" y="15786"/>
                    <a:pt x="3758" y="16207"/>
                    <a:pt x="3306" y="16411"/>
                  </a:cubicBezTo>
                  <a:cubicBezTo>
                    <a:pt x="2845" y="16601"/>
                    <a:pt x="2403" y="16739"/>
                    <a:pt x="2294" y="16739"/>
                  </a:cubicBezTo>
                  <a:cubicBezTo>
                    <a:pt x="2187" y="16716"/>
                    <a:pt x="2183" y="16810"/>
                    <a:pt x="2269" y="16951"/>
                  </a:cubicBezTo>
                  <a:cubicBezTo>
                    <a:pt x="2354" y="17096"/>
                    <a:pt x="2549" y="17411"/>
                    <a:pt x="2728" y="17650"/>
                  </a:cubicBezTo>
                  <a:cubicBezTo>
                    <a:pt x="2908" y="17885"/>
                    <a:pt x="3130" y="18146"/>
                    <a:pt x="3241" y="18221"/>
                  </a:cubicBezTo>
                  <a:cubicBezTo>
                    <a:pt x="3368" y="18292"/>
                    <a:pt x="3480" y="18472"/>
                    <a:pt x="3490" y="18612"/>
                  </a:cubicBezTo>
                  <a:cubicBezTo>
                    <a:pt x="3497" y="18753"/>
                    <a:pt x="3793" y="19055"/>
                    <a:pt x="4082" y="19300"/>
                  </a:cubicBezTo>
                  <a:cubicBezTo>
                    <a:pt x="4404" y="19534"/>
                    <a:pt x="4936" y="19788"/>
                    <a:pt x="5286" y="19854"/>
                  </a:cubicBezTo>
                  <a:cubicBezTo>
                    <a:pt x="5647" y="19900"/>
                    <a:pt x="6110" y="19855"/>
                    <a:pt x="6277" y="19687"/>
                  </a:cubicBezTo>
                  <a:cubicBezTo>
                    <a:pt x="6459" y="19527"/>
                    <a:pt x="6858" y="19363"/>
                    <a:pt x="7122" y="19295"/>
                  </a:cubicBezTo>
                  <a:cubicBezTo>
                    <a:pt x="7394" y="19232"/>
                    <a:pt x="7805" y="19220"/>
                    <a:pt x="8033" y="19241"/>
                  </a:cubicBezTo>
                  <a:cubicBezTo>
                    <a:pt x="8268" y="19241"/>
                    <a:pt x="8496" y="19400"/>
                    <a:pt x="8577" y="19521"/>
                  </a:cubicBezTo>
                  <a:cubicBezTo>
                    <a:pt x="8635" y="19642"/>
                    <a:pt x="8814" y="19801"/>
                    <a:pt x="8984" y="19843"/>
                  </a:cubicBezTo>
                  <a:cubicBezTo>
                    <a:pt x="9136" y="19904"/>
                    <a:pt x="9307" y="20259"/>
                    <a:pt x="9395" y="20639"/>
                  </a:cubicBezTo>
                  <a:cubicBezTo>
                    <a:pt x="9492" y="21019"/>
                    <a:pt x="9737" y="21382"/>
                    <a:pt x="9981" y="21463"/>
                  </a:cubicBezTo>
                  <a:cubicBezTo>
                    <a:pt x="10211" y="21560"/>
                    <a:pt x="10721" y="21472"/>
                    <a:pt x="11039" y="21296"/>
                  </a:cubicBezTo>
                  <a:cubicBezTo>
                    <a:pt x="11379" y="21143"/>
                    <a:pt x="11658" y="20812"/>
                    <a:pt x="11724" y="20583"/>
                  </a:cubicBezTo>
                  <a:cubicBezTo>
                    <a:pt x="11743" y="20352"/>
                    <a:pt x="11952" y="20078"/>
                    <a:pt x="12164" y="19992"/>
                  </a:cubicBezTo>
                  <a:cubicBezTo>
                    <a:pt x="12342" y="19880"/>
                    <a:pt x="12806" y="19782"/>
                    <a:pt x="13155" y="19782"/>
                  </a:cubicBezTo>
                  <a:cubicBezTo>
                    <a:pt x="13504" y="19758"/>
                    <a:pt x="13936" y="19471"/>
                    <a:pt x="14148" y="19139"/>
                  </a:cubicBezTo>
                  <a:cubicBezTo>
                    <a:pt x="14373" y="18812"/>
                    <a:pt x="14729" y="18236"/>
                    <a:pt x="15018" y="17878"/>
                  </a:cubicBezTo>
                  <a:cubicBezTo>
                    <a:pt x="15339" y="17526"/>
                    <a:pt x="15778" y="16748"/>
                    <a:pt x="16082" y="16169"/>
                  </a:cubicBezTo>
                  <a:cubicBezTo>
                    <a:pt x="16398" y="15590"/>
                    <a:pt x="16619" y="14900"/>
                    <a:pt x="16590" y="14635"/>
                  </a:cubicBezTo>
                  <a:cubicBezTo>
                    <a:pt x="16526" y="14374"/>
                    <a:pt x="16927" y="13791"/>
                    <a:pt x="17386" y="13327"/>
                  </a:cubicBezTo>
                  <a:cubicBezTo>
                    <a:pt x="17859" y="12870"/>
                    <a:pt x="18602" y="12152"/>
                    <a:pt x="19057" y="11738"/>
                  </a:cubicBezTo>
                  <a:cubicBezTo>
                    <a:pt x="19480" y="11316"/>
                    <a:pt x="19979" y="10851"/>
                    <a:pt x="20119" y="10692"/>
                  </a:cubicBezTo>
                  <a:cubicBezTo>
                    <a:pt x="20260" y="10536"/>
                    <a:pt x="20382" y="10355"/>
                    <a:pt x="20403" y="10371"/>
                  </a:cubicBezTo>
                  <a:cubicBezTo>
                    <a:pt x="20440" y="10371"/>
                    <a:pt x="20723" y="10097"/>
                    <a:pt x="21012" y="9773"/>
                  </a:cubicBezTo>
                  <a:cubicBezTo>
                    <a:pt x="21333" y="9465"/>
                    <a:pt x="21526" y="8901"/>
                    <a:pt x="21435" y="8532"/>
                  </a:cubicBezTo>
                  <a:cubicBezTo>
                    <a:pt x="21375" y="8158"/>
                    <a:pt x="20953" y="7597"/>
                    <a:pt x="20541" y="7281"/>
                  </a:cubicBezTo>
                  <a:cubicBezTo>
                    <a:pt x="20114" y="6970"/>
                    <a:pt x="19619" y="6795"/>
                    <a:pt x="19495" y="6937"/>
                  </a:cubicBezTo>
                  <a:cubicBezTo>
                    <a:pt x="19324" y="7059"/>
                    <a:pt x="18985" y="7019"/>
                    <a:pt x="18699" y="6853"/>
                  </a:cubicBezTo>
                  <a:cubicBezTo>
                    <a:pt x="18439" y="6674"/>
                    <a:pt x="18152" y="6349"/>
                    <a:pt x="18062" y="6113"/>
                  </a:cubicBezTo>
                  <a:cubicBezTo>
                    <a:pt x="17975" y="5879"/>
                    <a:pt x="17270" y="5214"/>
                    <a:pt x="16472" y="4634"/>
                  </a:cubicBezTo>
                  <a:cubicBezTo>
                    <a:pt x="15662" y="4056"/>
                    <a:pt x="14865" y="3512"/>
                    <a:pt x="14654" y="3464"/>
                  </a:cubicBezTo>
                  <a:cubicBezTo>
                    <a:pt x="14451" y="3403"/>
                    <a:pt x="13865" y="3057"/>
                    <a:pt x="13348" y="2704"/>
                  </a:cubicBezTo>
                  <a:cubicBezTo>
                    <a:pt x="12829" y="2356"/>
                    <a:pt x="11447" y="1828"/>
                    <a:pt x="10260" y="1565"/>
                  </a:cubicBezTo>
                  <a:cubicBezTo>
                    <a:pt x="9093" y="1279"/>
                    <a:pt x="7683" y="856"/>
                    <a:pt x="7134" y="616"/>
                  </a:cubicBezTo>
                  <a:cubicBezTo>
                    <a:pt x="6602" y="355"/>
                    <a:pt x="5652" y="91"/>
                    <a:pt x="5044" y="25"/>
                  </a:cubicBezTo>
                  <a:cubicBezTo>
                    <a:pt x="4436" y="-40"/>
                    <a:pt x="3654" y="22"/>
                    <a:pt x="3322" y="199"/>
                  </a:cubicBezTo>
                  <a:cubicBezTo>
                    <a:pt x="2981" y="370"/>
                    <a:pt x="2412" y="605"/>
                    <a:pt x="2074" y="741"/>
                  </a:cubicBezTo>
                  <a:cubicBezTo>
                    <a:pt x="1728" y="868"/>
                    <a:pt x="1455" y="969"/>
                    <a:pt x="1448" y="969"/>
                  </a:cubicBezTo>
                  <a:cubicBezTo>
                    <a:pt x="1451" y="969"/>
                    <a:pt x="1434" y="974"/>
                    <a:pt x="1421" y="985"/>
                  </a:cubicBezTo>
                  <a:cubicBezTo>
                    <a:pt x="1398" y="985"/>
                    <a:pt x="1287" y="1105"/>
                    <a:pt x="1130" y="1217"/>
                  </a:cubicBezTo>
                  <a:cubicBezTo>
                    <a:pt x="1006" y="1342"/>
                    <a:pt x="654" y="1675"/>
                    <a:pt x="364" y="1965"/>
                  </a:cubicBezTo>
                  <a:close/>
                  <a:moveTo>
                    <a:pt x="364" y="196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2" name="AutoShape 1324"/>
            <p:cNvSpPr>
              <a:spLocks/>
            </p:cNvSpPr>
            <p:nvPr/>
          </p:nvSpPr>
          <p:spPr bwMode="auto">
            <a:xfrm>
              <a:off x="4737100" y="5219700"/>
              <a:ext cx="146050" cy="193675"/>
            </a:xfrm>
            <a:custGeom>
              <a:avLst/>
              <a:gdLst/>
              <a:ahLst/>
              <a:cxnLst/>
              <a:rect l="0" t="0" r="r" b="b"/>
              <a:pathLst>
                <a:path w="21569" h="21569">
                  <a:moveTo>
                    <a:pt x="3776" y="2846"/>
                  </a:moveTo>
                  <a:cubicBezTo>
                    <a:pt x="3811" y="3037"/>
                    <a:pt x="3663" y="3350"/>
                    <a:pt x="3508" y="3565"/>
                  </a:cubicBezTo>
                  <a:cubicBezTo>
                    <a:pt x="3302" y="3753"/>
                    <a:pt x="2986" y="4025"/>
                    <a:pt x="2740" y="4130"/>
                  </a:cubicBezTo>
                  <a:cubicBezTo>
                    <a:pt x="2518" y="4261"/>
                    <a:pt x="2013" y="4315"/>
                    <a:pt x="1665" y="4294"/>
                  </a:cubicBezTo>
                  <a:cubicBezTo>
                    <a:pt x="1320" y="4256"/>
                    <a:pt x="911" y="4523"/>
                    <a:pt x="761" y="4840"/>
                  </a:cubicBezTo>
                  <a:cubicBezTo>
                    <a:pt x="614" y="5153"/>
                    <a:pt x="510" y="5645"/>
                    <a:pt x="532" y="5930"/>
                  </a:cubicBezTo>
                  <a:cubicBezTo>
                    <a:pt x="524" y="6217"/>
                    <a:pt x="433" y="6896"/>
                    <a:pt x="248" y="7438"/>
                  </a:cubicBezTo>
                  <a:cubicBezTo>
                    <a:pt x="57" y="7975"/>
                    <a:pt x="-31" y="8562"/>
                    <a:pt x="10" y="8735"/>
                  </a:cubicBezTo>
                  <a:cubicBezTo>
                    <a:pt x="43" y="8903"/>
                    <a:pt x="314" y="9158"/>
                    <a:pt x="580" y="9311"/>
                  </a:cubicBezTo>
                  <a:cubicBezTo>
                    <a:pt x="862" y="9450"/>
                    <a:pt x="1228" y="9739"/>
                    <a:pt x="1418" y="9939"/>
                  </a:cubicBezTo>
                  <a:cubicBezTo>
                    <a:pt x="1616" y="10132"/>
                    <a:pt x="1815" y="10410"/>
                    <a:pt x="1868" y="10548"/>
                  </a:cubicBezTo>
                  <a:cubicBezTo>
                    <a:pt x="1914" y="10689"/>
                    <a:pt x="2118" y="10985"/>
                    <a:pt x="2312" y="11204"/>
                  </a:cubicBezTo>
                  <a:cubicBezTo>
                    <a:pt x="2500" y="11426"/>
                    <a:pt x="2695" y="11750"/>
                    <a:pt x="2719" y="11924"/>
                  </a:cubicBezTo>
                  <a:cubicBezTo>
                    <a:pt x="2757" y="12101"/>
                    <a:pt x="2923" y="12376"/>
                    <a:pt x="3113" y="12515"/>
                  </a:cubicBezTo>
                  <a:cubicBezTo>
                    <a:pt x="3285" y="12669"/>
                    <a:pt x="3592" y="12832"/>
                    <a:pt x="3781" y="12832"/>
                  </a:cubicBezTo>
                  <a:cubicBezTo>
                    <a:pt x="3968" y="12855"/>
                    <a:pt x="4195" y="12974"/>
                    <a:pt x="4335" y="13044"/>
                  </a:cubicBezTo>
                  <a:cubicBezTo>
                    <a:pt x="4460" y="13130"/>
                    <a:pt x="4616" y="13376"/>
                    <a:pt x="4695" y="13580"/>
                  </a:cubicBezTo>
                  <a:cubicBezTo>
                    <a:pt x="4775" y="13782"/>
                    <a:pt x="4983" y="14280"/>
                    <a:pt x="5133" y="14694"/>
                  </a:cubicBezTo>
                  <a:cubicBezTo>
                    <a:pt x="5288" y="15106"/>
                    <a:pt x="5440" y="15657"/>
                    <a:pt x="5467" y="15927"/>
                  </a:cubicBezTo>
                  <a:cubicBezTo>
                    <a:pt x="5467" y="16196"/>
                    <a:pt x="5637" y="16520"/>
                    <a:pt x="5806" y="16630"/>
                  </a:cubicBezTo>
                  <a:cubicBezTo>
                    <a:pt x="5959" y="16757"/>
                    <a:pt x="6316" y="17071"/>
                    <a:pt x="6581" y="17340"/>
                  </a:cubicBezTo>
                  <a:cubicBezTo>
                    <a:pt x="6860" y="17600"/>
                    <a:pt x="7120" y="18022"/>
                    <a:pt x="7177" y="18259"/>
                  </a:cubicBezTo>
                  <a:cubicBezTo>
                    <a:pt x="7241" y="18493"/>
                    <a:pt x="7540" y="18799"/>
                    <a:pt x="7847" y="18923"/>
                  </a:cubicBezTo>
                  <a:cubicBezTo>
                    <a:pt x="8145" y="19061"/>
                    <a:pt x="8415" y="19246"/>
                    <a:pt x="8424" y="19353"/>
                  </a:cubicBezTo>
                  <a:cubicBezTo>
                    <a:pt x="8436" y="19458"/>
                    <a:pt x="8538" y="19692"/>
                    <a:pt x="8639" y="19874"/>
                  </a:cubicBezTo>
                  <a:cubicBezTo>
                    <a:pt x="8712" y="20025"/>
                    <a:pt x="8917" y="20216"/>
                    <a:pt x="9106" y="20370"/>
                  </a:cubicBezTo>
                  <a:cubicBezTo>
                    <a:pt x="9152" y="20408"/>
                    <a:pt x="9198" y="20453"/>
                    <a:pt x="9241" y="20482"/>
                  </a:cubicBezTo>
                  <a:cubicBezTo>
                    <a:pt x="9448" y="20634"/>
                    <a:pt x="9660" y="20747"/>
                    <a:pt x="9676" y="20765"/>
                  </a:cubicBezTo>
                  <a:cubicBezTo>
                    <a:pt x="9697" y="20748"/>
                    <a:pt x="9824" y="20781"/>
                    <a:pt x="9941" y="20805"/>
                  </a:cubicBezTo>
                  <a:cubicBezTo>
                    <a:pt x="10063" y="20805"/>
                    <a:pt x="10243" y="20883"/>
                    <a:pt x="10335" y="20958"/>
                  </a:cubicBezTo>
                  <a:cubicBezTo>
                    <a:pt x="10430" y="21029"/>
                    <a:pt x="10820" y="21189"/>
                    <a:pt x="11197" y="21315"/>
                  </a:cubicBezTo>
                  <a:cubicBezTo>
                    <a:pt x="11567" y="21456"/>
                    <a:pt x="12087" y="21546"/>
                    <a:pt x="12330" y="21565"/>
                  </a:cubicBezTo>
                  <a:cubicBezTo>
                    <a:pt x="12573" y="21586"/>
                    <a:pt x="12810" y="21509"/>
                    <a:pt x="12848" y="21411"/>
                  </a:cubicBezTo>
                  <a:cubicBezTo>
                    <a:pt x="12895" y="21316"/>
                    <a:pt x="12781" y="20986"/>
                    <a:pt x="12606" y="20687"/>
                  </a:cubicBezTo>
                  <a:cubicBezTo>
                    <a:pt x="12436" y="20388"/>
                    <a:pt x="12236" y="20003"/>
                    <a:pt x="12134" y="19850"/>
                  </a:cubicBezTo>
                  <a:cubicBezTo>
                    <a:pt x="12038" y="19692"/>
                    <a:pt x="11706" y="19357"/>
                    <a:pt x="11437" y="19078"/>
                  </a:cubicBezTo>
                  <a:cubicBezTo>
                    <a:pt x="11140" y="18812"/>
                    <a:pt x="10921" y="18407"/>
                    <a:pt x="10928" y="18165"/>
                  </a:cubicBezTo>
                  <a:cubicBezTo>
                    <a:pt x="10967" y="17930"/>
                    <a:pt x="11168" y="17604"/>
                    <a:pt x="11435" y="17458"/>
                  </a:cubicBezTo>
                  <a:cubicBezTo>
                    <a:pt x="11688" y="17301"/>
                    <a:pt x="12189" y="17272"/>
                    <a:pt x="12522" y="17377"/>
                  </a:cubicBezTo>
                  <a:cubicBezTo>
                    <a:pt x="12858" y="17478"/>
                    <a:pt x="13623" y="17595"/>
                    <a:pt x="14227" y="17616"/>
                  </a:cubicBezTo>
                  <a:cubicBezTo>
                    <a:pt x="14835" y="17616"/>
                    <a:pt x="15541" y="17578"/>
                    <a:pt x="15815" y="17496"/>
                  </a:cubicBezTo>
                  <a:cubicBezTo>
                    <a:pt x="16095" y="17431"/>
                    <a:pt x="16612" y="17368"/>
                    <a:pt x="16998" y="17409"/>
                  </a:cubicBezTo>
                  <a:cubicBezTo>
                    <a:pt x="17384" y="17453"/>
                    <a:pt x="17964" y="17712"/>
                    <a:pt x="18274" y="17986"/>
                  </a:cubicBezTo>
                  <a:cubicBezTo>
                    <a:pt x="18600" y="18251"/>
                    <a:pt x="19100" y="18513"/>
                    <a:pt x="19367" y="18617"/>
                  </a:cubicBezTo>
                  <a:cubicBezTo>
                    <a:pt x="19650" y="18699"/>
                    <a:pt x="20151" y="18593"/>
                    <a:pt x="20491" y="18415"/>
                  </a:cubicBezTo>
                  <a:cubicBezTo>
                    <a:pt x="20825" y="18225"/>
                    <a:pt x="21175" y="17831"/>
                    <a:pt x="21289" y="17548"/>
                  </a:cubicBezTo>
                  <a:cubicBezTo>
                    <a:pt x="21384" y="17259"/>
                    <a:pt x="21395" y="16866"/>
                    <a:pt x="21248" y="16692"/>
                  </a:cubicBezTo>
                  <a:cubicBezTo>
                    <a:pt x="21125" y="16505"/>
                    <a:pt x="20965" y="16072"/>
                    <a:pt x="20885" y="15732"/>
                  </a:cubicBezTo>
                  <a:cubicBezTo>
                    <a:pt x="20809" y="15388"/>
                    <a:pt x="20931" y="14947"/>
                    <a:pt x="21142" y="14753"/>
                  </a:cubicBezTo>
                  <a:cubicBezTo>
                    <a:pt x="21341" y="14553"/>
                    <a:pt x="21557" y="14216"/>
                    <a:pt x="21569" y="13983"/>
                  </a:cubicBezTo>
                  <a:cubicBezTo>
                    <a:pt x="21569" y="13752"/>
                    <a:pt x="21547" y="13462"/>
                    <a:pt x="21488" y="13332"/>
                  </a:cubicBezTo>
                  <a:cubicBezTo>
                    <a:pt x="21410" y="13214"/>
                    <a:pt x="21295" y="12873"/>
                    <a:pt x="21200" y="12587"/>
                  </a:cubicBezTo>
                  <a:cubicBezTo>
                    <a:pt x="21127" y="12300"/>
                    <a:pt x="20884" y="11860"/>
                    <a:pt x="20687" y="11604"/>
                  </a:cubicBezTo>
                  <a:cubicBezTo>
                    <a:pt x="20479" y="11349"/>
                    <a:pt x="20218" y="10949"/>
                    <a:pt x="20076" y="10723"/>
                  </a:cubicBezTo>
                  <a:cubicBezTo>
                    <a:pt x="19935" y="10499"/>
                    <a:pt x="19590" y="10176"/>
                    <a:pt x="19301" y="10012"/>
                  </a:cubicBezTo>
                  <a:cubicBezTo>
                    <a:pt x="19011" y="9845"/>
                    <a:pt x="18752" y="9523"/>
                    <a:pt x="18740" y="9295"/>
                  </a:cubicBezTo>
                  <a:cubicBezTo>
                    <a:pt x="18710" y="9069"/>
                    <a:pt x="18703" y="8639"/>
                    <a:pt x="18703" y="8336"/>
                  </a:cubicBezTo>
                  <a:cubicBezTo>
                    <a:pt x="18696" y="8036"/>
                    <a:pt x="18588" y="7562"/>
                    <a:pt x="18458" y="7281"/>
                  </a:cubicBezTo>
                  <a:cubicBezTo>
                    <a:pt x="18314" y="7002"/>
                    <a:pt x="18157" y="6463"/>
                    <a:pt x="18073" y="6087"/>
                  </a:cubicBezTo>
                  <a:cubicBezTo>
                    <a:pt x="17995" y="5709"/>
                    <a:pt x="18122" y="5182"/>
                    <a:pt x="18318" y="4903"/>
                  </a:cubicBezTo>
                  <a:cubicBezTo>
                    <a:pt x="18533" y="4632"/>
                    <a:pt x="18792" y="4320"/>
                    <a:pt x="18884" y="4203"/>
                  </a:cubicBezTo>
                  <a:cubicBezTo>
                    <a:pt x="19000" y="4098"/>
                    <a:pt x="19082" y="3987"/>
                    <a:pt x="19099" y="3987"/>
                  </a:cubicBezTo>
                  <a:cubicBezTo>
                    <a:pt x="19109" y="3976"/>
                    <a:pt x="19340" y="3725"/>
                    <a:pt x="19587" y="3415"/>
                  </a:cubicBezTo>
                  <a:cubicBezTo>
                    <a:pt x="19861" y="3121"/>
                    <a:pt x="20029" y="2705"/>
                    <a:pt x="19983" y="2519"/>
                  </a:cubicBezTo>
                  <a:cubicBezTo>
                    <a:pt x="19948" y="2333"/>
                    <a:pt x="19649" y="2048"/>
                    <a:pt x="19319" y="1904"/>
                  </a:cubicBezTo>
                  <a:cubicBezTo>
                    <a:pt x="18993" y="1757"/>
                    <a:pt x="18303" y="1532"/>
                    <a:pt x="17777" y="1427"/>
                  </a:cubicBezTo>
                  <a:cubicBezTo>
                    <a:pt x="17257" y="1308"/>
                    <a:pt x="16328" y="1017"/>
                    <a:pt x="15722" y="769"/>
                  </a:cubicBezTo>
                  <a:cubicBezTo>
                    <a:pt x="15116" y="523"/>
                    <a:pt x="14465" y="332"/>
                    <a:pt x="14276" y="332"/>
                  </a:cubicBezTo>
                  <a:cubicBezTo>
                    <a:pt x="14086" y="332"/>
                    <a:pt x="13717" y="408"/>
                    <a:pt x="13468" y="507"/>
                  </a:cubicBezTo>
                  <a:cubicBezTo>
                    <a:pt x="13209" y="587"/>
                    <a:pt x="12633" y="603"/>
                    <a:pt x="12171" y="541"/>
                  </a:cubicBezTo>
                  <a:cubicBezTo>
                    <a:pt x="11714" y="459"/>
                    <a:pt x="10882" y="472"/>
                    <a:pt x="10323" y="534"/>
                  </a:cubicBezTo>
                  <a:cubicBezTo>
                    <a:pt x="9765" y="595"/>
                    <a:pt x="8910" y="528"/>
                    <a:pt x="8429" y="364"/>
                  </a:cubicBezTo>
                  <a:cubicBezTo>
                    <a:pt x="7936" y="223"/>
                    <a:pt x="7030" y="49"/>
                    <a:pt x="6395" y="8"/>
                  </a:cubicBezTo>
                  <a:cubicBezTo>
                    <a:pt x="5759" y="-14"/>
                    <a:pt x="4946" y="5"/>
                    <a:pt x="4607" y="124"/>
                  </a:cubicBezTo>
                  <a:cubicBezTo>
                    <a:pt x="4252" y="212"/>
                    <a:pt x="3939" y="558"/>
                    <a:pt x="3919" y="858"/>
                  </a:cubicBezTo>
                  <a:cubicBezTo>
                    <a:pt x="3875" y="1163"/>
                    <a:pt x="3870" y="1439"/>
                    <a:pt x="3874" y="1469"/>
                  </a:cubicBezTo>
                  <a:cubicBezTo>
                    <a:pt x="3868" y="1502"/>
                    <a:pt x="3851" y="1747"/>
                    <a:pt x="3801" y="2015"/>
                  </a:cubicBezTo>
                  <a:cubicBezTo>
                    <a:pt x="3754" y="2281"/>
                    <a:pt x="3728" y="2658"/>
                    <a:pt x="3776" y="2846"/>
                  </a:cubicBezTo>
                  <a:close/>
                  <a:moveTo>
                    <a:pt x="3776" y="284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3" name="AutoShape 1325"/>
            <p:cNvSpPr>
              <a:spLocks/>
            </p:cNvSpPr>
            <p:nvPr/>
          </p:nvSpPr>
          <p:spPr bwMode="auto">
            <a:xfrm>
              <a:off x="4610100" y="5092700"/>
              <a:ext cx="187325" cy="330200"/>
            </a:xfrm>
            <a:custGeom>
              <a:avLst/>
              <a:gdLst/>
              <a:ahLst/>
              <a:cxnLst/>
              <a:rect l="0" t="0" r="r" b="b"/>
              <a:pathLst>
                <a:path w="21434" h="21550">
                  <a:moveTo>
                    <a:pt x="3439" y="1376"/>
                  </a:moveTo>
                  <a:cubicBezTo>
                    <a:pt x="3235" y="1492"/>
                    <a:pt x="2927" y="1572"/>
                    <a:pt x="2767" y="1546"/>
                  </a:cubicBezTo>
                  <a:cubicBezTo>
                    <a:pt x="2604" y="1525"/>
                    <a:pt x="2248" y="1702"/>
                    <a:pt x="2002" y="1947"/>
                  </a:cubicBezTo>
                  <a:cubicBezTo>
                    <a:pt x="1724" y="2178"/>
                    <a:pt x="1614" y="2471"/>
                    <a:pt x="1712" y="2583"/>
                  </a:cubicBezTo>
                  <a:cubicBezTo>
                    <a:pt x="1818" y="2692"/>
                    <a:pt x="1961" y="2931"/>
                    <a:pt x="2070" y="3103"/>
                  </a:cubicBezTo>
                  <a:cubicBezTo>
                    <a:pt x="2166" y="3278"/>
                    <a:pt x="2480" y="3446"/>
                    <a:pt x="2766" y="3470"/>
                  </a:cubicBezTo>
                  <a:cubicBezTo>
                    <a:pt x="3051" y="3495"/>
                    <a:pt x="3435" y="3611"/>
                    <a:pt x="3631" y="3723"/>
                  </a:cubicBezTo>
                  <a:cubicBezTo>
                    <a:pt x="3817" y="3835"/>
                    <a:pt x="3989" y="4078"/>
                    <a:pt x="4021" y="4264"/>
                  </a:cubicBezTo>
                  <a:cubicBezTo>
                    <a:pt x="4043" y="4451"/>
                    <a:pt x="3796" y="4679"/>
                    <a:pt x="3466" y="4774"/>
                  </a:cubicBezTo>
                  <a:cubicBezTo>
                    <a:pt x="3142" y="4872"/>
                    <a:pt x="2714" y="4891"/>
                    <a:pt x="2520" y="4830"/>
                  </a:cubicBezTo>
                  <a:cubicBezTo>
                    <a:pt x="2332" y="4767"/>
                    <a:pt x="2063" y="4759"/>
                    <a:pt x="1925" y="4807"/>
                  </a:cubicBezTo>
                  <a:cubicBezTo>
                    <a:pt x="1797" y="4862"/>
                    <a:pt x="1521" y="4849"/>
                    <a:pt x="1357" y="4774"/>
                  </a:cubicBezTo>
                  <a:cubicBezTo>
                    <a:pt x="1186" y="4705"/>
                    <a:pt x="931" y="4746"/>
                    <a:pt x="807" y="4862"/>
                  </a:cubicBezTo>
                  <a:cubicBezTo>
                    <a:pt x="659" y="4971"/>
                    <a:pt x="575" y="5264"/>
                    <a:pt x="554" y="5497"/>
                  </a:cubicBezTo>
                  <a:cubicBezTo>
                    <a:pt x="543" y="5732"/>
                    <a:pt x="376" y="6031"/>
                    <a:pt x="184" y="6164"/>
                  </a:cubicBezTo>
                  <a:cubicBezTo>
                    <a:pt x="9" y="6305"/>
                    <a:pt x="-64" y="6574"/>
                    <a:pt x="68" y="6773"/>
                  </a:cubicBezTo>
                  <a:cubicBezTo>
                    <a:pt x="194" y="6976"/>
                    <a:pt x="546" y="7386"/>
                    <a:pt x="866" y="7680"/>
                  </a:cubicBezTo>
                  <a:cubicBezTo>
                    <a:pt x="1164" y="7983"/>
                    <a:pt x="1778" y="8445"/>
                    <a:pt x="2221" y="8702"/>
                  </a:cubicBezTo>
                  <a:cubicBezTo>
                    <a:pt x="2644" y="8973"/>
                    <a:pt x="3007" y="9200"/>
                    <a:pt x="3015" y="9217"/>
                  </a:cubicBezTo>
                  <a:cubicBezTo>
                    <a:pt x="3015" y="9234"/>
                    <a:pt x="3114" y="9255"/>
                    <a:pt x="3216" y="9278"/>
                  </a:cubicBezTo>
                  <a:cubicBezTo>
                    <a:pt x="3323" y="9298"/>
                    <a:pt x="3500" y="9365"/>
                    <a:pt x="3582" y="9444"/>
                  </a:cubicBezTo>
                  <a:cubicBezTo>
                    <a:pt x="3687" y="9511"/>
                    <a:pt x="3838" y="9535"/>
                    <a:pt x="3945" y="9486"/>
                  </a:cubicBezTo>
                  <a:cubicBezTo>
                    <a:pt x="4038" y="9428"/>
                    <a:pt x="4339" y="9418"/>
                    <a:pt x="4576" y="9453"/>
                  </a:cubicBezTo>
                  <a:cubicBezTo>
                    <a:pt x="4814" y="9489"/>
                    <a:pt x="5167" y="9659"/>
                    <a:pt x="5380" y="9829"/>
                  </a:cubicBezTo>
                  <a:cubicBezTo>
                    <a:pt x="5577" y="10002"/>
                    <a:pt x="5763" y="10313"/>
                    <a:pt x="5803" y="10521"/>
                  </a:cubicBezTo>
                  <a:cubicBezTo>
                    <a:pt x="5826" y="10729"/>
                    <a:pt x="5786" y="11018"/>
                    <a:pt x="5664" y="11156"/>
                  </a:cubicBezTo>
                  <a:cubicBezTo>
                    <a:pt x="5566" y="11303"/>
                    <a:pt x="5407" y="11490"/>
                    <a:pt x="5328" y="11580"/>
                  </a:cubicBezTo>
                  <a:cubicBezTo>
                    <a:pt x="5259" y="11670"/>
                    <a:pt x="5347" y="11804"/>
                    <a:pt x="5543" y="11887"/>
                  </a:cubicBezTo>
                  <a:cubicBezTo>
                    <a:pt x="5737" y="11964"/>
                    <a:pt x="6081" y="12060"/>
                    <a:pt x="6300" y="12036"/>
                  </a:cubicBezTo>
                  <a:cubicBezTo>
                    <a:pt x="6520" y="12036"/>
                    <a:pt x="6784" y="12132"/>
                    <a:pt x="6861" y="12252"/>
                  </a:cubicBezTo>
                  <a:cubicBezTo>
                    <a:pt x="6943" y="12369"/>
                    <a:pt x="7135" y="12553"/>
                    <a:pt x="7232" y="12678"/>
                  </a:cubicBezTo>
                  <a:cubicBezTo>
                    <a:pt x="7348" y="12797"/>
                    <a:pt x="7612" y="12910"/>
                    <a:pt x="7811" y="12898"/>
                  </a:cubicBezTo>
                  <a:cubicBezTo>
                    <a:pt x="8010" y="12898"/>
                    <a:pt x="8188" y="12970"/>
                    <a:pt x="8211" y="13055"/>
                  </a:cubicBezTo>
                  <a:cubicBezTo>
                    <a:pt x="8235" y="13139"/>
                    <a:pt x="8103" y="13336"/>
                    <a:pt x="7949" y="13502"/>
                  </a:cubicBezTo>
                  <a:cubicBezTo>
                    <a:pt x="7788" y="13662"/>
                    <a:pt x="7614" y="13961"/>
                    <a:pt x="7584" y="14169"/>
                  </a:cubicBezTo>
                  <a:cubicBezTo>
                    <a:pt x="7564" y="14376"/>
                    <a:pt x="7390" y="14749"/>
                    <a:pt x="7217" y="14996"/>
                  </a:cubicBezTo>
                  <a:cubicBezTo>
                    <a:pt x="7067" y="15246"/>
                    <a:pt x="6941" y="15583"/>
                    <a:pt x="6997" y="15749"/>
                  </a:cubicBezTo>
                  <a:cubicBezTo>
                    <a:pt x="7038" y="15917"/>
                    <a:pt x="7040" y="16143"/>
                    <a:pt x="6970" y="16247"/>
                  </a:cubicBezTo>
                  <a:cubicBezTo>
                    <a:pt x="6913" y="16353"/>
                    <a:pt x="6840" y="16550"/>
                    <a:pt x="6851" y="16687"/>
                  </a:cubicBezTo>
                  <a:cubicBezTo>
                    <a:pt x="6841" y="16824"/>
                    <a:pt x="6898" y="17000"/>
                    <a:pt x="6961" y="17083"/>
                  </a:cubicBezTo>
                  <a:cubicBezTo>
                    <a:pt x="7032" y="17164"/>
                    <a:pt x="7041" y="17314"/>
                    <a:pt x="7032" y="17416"/>
                  </a:cubicBezTo>
                  <a:cubicBezTo>
                    <a:pt x="6994" y="17516"/>
                    <a:pt x="7019" y="17730"/>
                    <a:pt x="7071" y="17885"/>
                  </a:cubicBezTo>
                  <a:cubicBezTo>
                    <a:pt x="7120" y="18042"/>
                    <a:pt x="7334" y="18302"/>
                    <a:pt x="7558" y="18455"/>
                  </a:cubicBezTo>
                  <a:cubicBezTo>
                    <a:pt x="7779" y="18611"/>
                    <a:pt x="8161" y="18894"/>
                    <a:pt x="8427" y="19074"/>
                  </a:cubicBezTo>
                  <a:cubicBezTo>
                    <a:pt x="8686" y="19259"/>
                    <a:pt x="8925" y="19498"/>
                    <a:pt x="8951" y="19607"/>
                  </a:cubicBezTo>
                  <a:cubicBezTo>
                    <a:pt x="8981" y="19719"/>
                    <a:pt x="9152" y="19930"/>
                    <a:pt x="9329" y="20081"/>
                  </a:cubicBezTo>
                  <a:cubicBezTo>
                    <a:pt x="9503" y="20233"/>
                    <a:pt x="10051" y="20584"/>
                    <a:pt x="10514" y="20881"/>
                  </a:cubicBezTo>
                  <a:cubicBezTo>
                    <a:pt x="10998" y="21165"/>
                    <a:pt x="11534" y="21451"/>
                    <a:pt x="11705" y="21521"/>
                  </a:cubicBezTo>
                  <a:cubicBezTo>
                    <a:pt x="11885" y="21583"/>
                    <a:pt x="12119" y="21542"/>
                    <a:pt x="12233" y="21431"/>
                  </a:cubicBezTo>
                  <a:cubicBezTo>
                    <a:pt x="12337" y="21319"/>
                    <a:pt x="12549" y="21199"/>
                    <a:pt x="12695" y="21199"/>
                  </a:cubicBezTo>
                  <a:cubicBezTo>
                    <a:pt x="12842" y="21188"/>
                    <a:pt x="12985" y="21211"/>
                    <a:pt x="13029" y="21261"/>
                  </a:cubicBezTo>
                  <a:cubicBezTo>
                    <a:pt x="13058" y="21318"/>
                    <a:pt x="13308" y="21369"/>
                    <a:pt x="13554" y="21358"/>
                  </a:cubicBezTo>
                  <a:cubicBezTo>
                    <a:pt x="13801" y="21370"/>
                    <a:pt x="14109" y="21265"/>
                    <a:pt x="14235" y="21150"/>
                  </a:cubicBezTo>
                  <a:cubicBezTo>
                    <a:pt x="14390" y="21045"/>
                    <a:pt x="14492" y="20881"/>
                    <a:pt x="14500" y="20812"/>
                  </a:cubicBezTo>
                  <a:cubicBezTo>
                    <a:pt x="14518" y="20741"/>
                    <a:pt x="14711" y="20646"/>
                    <a:pt x="14935" y="20622"/>
                  </a:cubicBezTo>
                  <a:cubicBezTo>
                    <a:pt x="15155" y="20585"/>
                    <a:pt x="15711" y="20581"/>
                    <a:pt x="16159" y="20638"/>
                  </a:cubicBezTo>
                  <a:cubicBezTo>
                    <a:pt x="16612" y="20687"/>
                    <a:pt x="17046" y="20521"/>
                    <a:pt x="17139" y="20286"/>
                  </a:cubicBezTo>
                  <a:cubicBezTo>
                    <a:pt x="17222" y="20051"/>
                    <a:pt x="17474" y="19814"/>
                    <a:pt x="17696" y="19764"/>
                  </a:cubicBezTo>
                  <a:cubicBezTo>
                    <a:pt x="17925" y="19727"/>
                    <a:pt x="18363" y="19690"/>
                    <a:pt x="18687" y="19690"/>
                  </a:cubicBezTo>
                  <a:cubicBezTo>
                    <a:pt x="19016" y="19690"/>
                    <a:pt x="19355" y="19773"/>
                    <a:pt x="19463" y="19841"/>
                  </a:cubicBezTo>
                  <a:cubicBezTo>
                    <a:pt x="19566" y="19915"/>
                    <a:pt x="19807" y="19960"/>
                    <a:pt x="20004" y="19960"/>
                  </a:cubicBezTo>
                  <a:cubicBezTo>
                    <a:pt x="20201" y="19947"/>
                    <a:pt x="20661" y="19964"/>
                    <a:pt x="21023" y="19988"/>
                  </a:cubicBezTo>
                  <a:cubicBezTo>
                    <a:pt x="21387" y="20013"/>
                    <a:pt x="21536" y="19960"/>
                    <a:pt x="21361" y="19866"/>
                  </a:cubicBezTo>
                  <a:cubicBezTo>
                    <a:pt x="21361" y="19865"/>
                    <a:pt x="21360" y="19865"/>
                    <a:pt x="21360" y="19864"/>
                  </a:cubicBezTo>
                  <a:cubicBezTo>
                    <a:pt x="21356" y="19863"/>
                    <a:pt x="21354" y="19862"/>
                    <a:pt x="21350" y="19860"/>
                  </a:cubicBezTo>
                  <a:cubicBezTo>
                    <a:pt x="21321" y="19843"/>
                    <a:pt x="21287" y="19819"/>
                    <a:pt x="21254" y="19799"/>
                  </a:cubicBezTo>
                  <a:cubicBezTo>
                    <a:pt x="21103" y="19708"/>
                    <a:pt x="20947" y="19595"/>
                    <a:pt x="20890" y="19509"/>
                  </a:cubicBezTo>
                  <a:cubicBezTo>
                    <a:pt x="20812" y="19403"/>
                    <a:pt x="20732" y="19265"/>
                    <a:pt x="20722" y="19204"/>
                  </a:cubicBezTo>
                  <a:cubicBezTo>
                    <a:pt x="20716" y="19141"/>
                    <a:pt x="20505" y="19033"/>
                    <a:pt x="20273" y="18953"/>
                  </a:cubicBezTo>
                  <a:cubicBezTo>
                    <a:pt x="20034" y="18880"/>
                    <a:pt x="19801" y="18701"/>
                    <a:pt x="19751" y="18564"/>
                  </a:cubicBezTo>
                  <a:cubicBezTo>
                    <a:pt x="19706" y="18426"/>
                    <a:pt x="19504" y="18179"/>
                    <a:pt x="19286" y="18027"/>
                  </a:cubicBezTo>
                  <a:cubicBezTo>
                    <a:pt x="19079" y="17869"/>
                    <a:pt x="18801" y="17686"/>
                    <a:pt x="18682" y="17611"/>
                  </a:cubicBezTo>
                  <a:cubicBezTo>
                    <a:pt x="18550" y="17547"/>
                    <a:pt x="18418" y="17357"/>
                    <a:pt x="18418" y="17200"/>
                  </a:cubicBezTo>
                  <a:cubicBezTo>
                    <a:pt x="18397" y="17042"/>
                    <a:pt x="18278" y="16720"/>
                    <a:pt x="18157" y="16479"/>
                  </a:cubicBezTo>
                  <a:cubicBezTo>
                    <a:pt x="18040" y="16237"/>
                    <a:pt x="17878" y="15945"/>
                    <a:pt x="17816" y="15828"/>
                  </a:cubicBezTo>
                  <a:cubicBezTo>
                    <a:pt x="17754" y="15708"/>
                    <a:pt x="17633" y="15564"/>
                    <a:pt x="17536" y="15514"/>
                  </a:cubicBezTo>
                  <a:cubicBezTo>
                    <a:pt x="17426" y="15473"/>
                    <a:pt x="17249" y="15404"/>
                    <a:pt x="17104" y="15390"/>
                  </a:cubicBezTo>
                  <a:cubicBezTo>
                    <a:pt x="16956" y="15390"/>
                    <a:pt x="16718" y="15295"/>
                    <a:pt x="16583" y="15204"/>
                  </a:cubicBezTo>
                  <a:cubicBezTo>
                    <a:pt x="16435" y="15123"/>
                    <a:pt x="16305" y="14963"/>
                    <a:pt x="16276" y="14859"/>
                  </a:cubicBezTo>
                  <a:cubicBezTo>
                    <a:pt x="16257" y="14757"/>
                    <a:pt x="16105" y="14568"/>
                    <a:pt x="15959" y="14438"/>
                  </a:cubicBezTo>
                  <a:cubicBezTo>
                    <a:pt x="15808" y="14310"/>
                    <a:pt x="15649" y="14136"/>
                    <a:pt x="15613" y="14054"/>
                  </a:cubicBezTo>
                  <a:cubicBezTo>
                    <a:pt x="15572" y="13974"/>
                    <a:pt x="15417" y="13811"/>
                    <a:pt x="15262" y="13698"/>
                  </a:cubicBezTo>
                  <a:cubicBezTo>
                    <a:pt x="15114" y="13581"/>
                    <a:pt x="14829" y="13412"/>
                    <a:pt x="14609" y="13330"/>
                  </a:cubicBezTo>
                  <a:cubicBezTo>
                    <a:pt x="14402" y="13241"/>
                    <a:pt x="14191" y="13092"/>
                    <a:pt x="14165" y="12993"/>
                  </a:cubicBezTo>
                  <a:cubicBezTo>
                    <a:pt x="14133" y="12893"/>
                    <a:pt x="14202" y="12549"/>
                    <a:pt x="14350" y="12235"/>
                  </a:cubicBezTo>
                  <a:cubicBezTo>
                    <a:pt x="14495" y="11918"/>
                    <a:pt x="14565" y="11521"/>
                    <a:pt x="14572" y="11353"/>
                  </a:cubicBezTo>
                  <a:cubicBezTo>
                    <a:pt x="14554" y="11186"/>
                    <a:pt x="14636" y="10898"/>
                    <a:pt x="14750" y="10715"/>
                  </a:cubicBezTo>
                  <a:cubicBezTo>
                    <a:pt x="14867" y="10530"/>
                    <a:pt x="15186" y="10374"/>
                    <a:pt x="15455" y="10396"/>
                  </a:cubicBezTo>
                  <a:cubicBezTo>
                    <a:pt x="15726" y="10408"/>
                    <a:pt x="16119" y="10377"/>
                    <a:pt x="16293" y="10300"/>
                  </a:cubicBezTo>
                  <a:cubicBezTo>
                    <a:pt x="16485" y="10239"/>
                    <a:pt x="16730" y="10079"/>
                    <a:pt x="16891" y="9970"/>
                  </a:cubicBezTo>
                  <a:cubicBezTo>
                    <a:pt x="17012" y="9844"/>
                    <a:pt x="17127" y="9661"/>
                    <a:pt x="17100" y="9549"/>
                  </a:cubicBezTo>
                  <a:cubicBezTo>
                    <a:pt x="17062" y="9439"/>
                    <a:pt x="17083" y="9218"/>
                    <a:pt x="17119" y="9063"/>
                  </a:cubicBezTo>
                  <a:cubicBezTo>
                    <a:pt x="17159" y="8906"/>
                    <a:pt x="17171" y="8763"/>
                    <a:pt x="17176" y="8744"/>
                  </a:cubicBezTo>
                  <a:cubicBezTo>
                    <a:pt x="17173" y="8726"/>
                    <a:pt x="17170" y="8715"/>
                    <a:pt x="17168" y="8715"/>
                  </a:cubicBezTo>
                  <a:cubicBezTo>
                    <a:pt x="17171" y="8715"/>
                    <a:pt x="17089" y="8586"/>
                    <a:pt x="17011" y="8422"/>
                  </a:cubicBezTo>
                  <a:cubicBezTo>
                    <a:pt x="16929" y="8257"/>
                    <a:pt x="16845" y="7965"/>
                    <a:pt x="16805" y="7771"/>
                  </a:cubicBezTo>
                  <a:cubicBezTo>
                    <a:pt x="16800" y="7576"/>
                    <a:pt x="16685" y="7318"/>
                    <a:pt x="16596" y="7193"/>
                  </a:cubicBezTo>
                  <a:cubicBezTo>
                    <a:pt x="16517" y="7068"/>
                    <a:pt x="16075" y="6898"/>
                    <a:pt x="15657" y="6782"/>
                  </a:cubicBezTo>
                  <a:cubicBezTo>
                    <a:pt x="15227" y="6681"/>
                    <a:pt x="14565" y="6358"/>
                    <a:pt x="14162" y="6072"/>
                  </a:cubicBezTo>
                  <a:cubicBezTo>
                    <a:pt x="13760" y="5787"/>
                    <a:pt x="13280" y="5439"/>
                    <a:pt x="13049" y="5324"/>
                  </a:cubicBezTo>
                  <a:cubicBezTo>
                    <a:pt x="12840" y="5196"/>
                    <a:pt x="12540" y="5125"/>
                    <a:pt x="12419" y="5173"/>
                  </a:cubicBezTo>
                  <a:cubicBezTo>
                    <a:pt x="12290" y="5214"/>
                    <a:pt x="12018" y="5302"/>
                    <a:pt x="11794" y="5327"/>
                  </a:cubicBezTo>
                  <a:cubicBezTo>
                    <a:pt x="11575" y="5361"/>
                    <a:pt x="11300" y="5498"/>
                    <a:pt x="11160" y="5612"/>
                  </a:cubicBezTo>
                  <a:cubicBezTo>
                    <a:pt x="11032" y="5729"/>
                    <a:pt x="10906" y="5939"/>
                    <a:pt x="10867" y="6084"/>
                  </a:cubicBezTo>
                  <a:cubicBezTo>
                    <a:pt x="10867" y="6231"/>
                    <a:pt x="10760" y="6195"/>
                    <a:pt x="10699" y="6003"/>
                  </a:cubicBezTo>
                  <a:cubicBezTo>
                    <a:pt x="10643" y="5810"/>
                    <a:pt x="10598" y="5457"/>
                    <a:pt x="10608" y="5216"/>
                  </a:cubicBezTo>
                  <a:cubicBezTo>
                    <a:pt x="10614" y="4972"/>
                    <a:pt x="10675" y="4660"/>
                    <a:pt x="10730" y="4520"/>
                  </a:cubicBezTo>
                  <a:cubicBezTo>
                    <a:pt x="10786" y="4380"/>
                    <a:pt x="10708" y="4048"/>
                    <a:pt x="10565" y="3781"/>
                  </a:cubicBezTo>
                  <a:cubicBezTo>
                    <a:pt x="10406" y="3519"/>
                    <a:pt x="10149" y="3220"/>
                    <a:pt x="9981" y="3116"/>
                  </a:cubicBezTo>
                  <a:cubicBezTo>
                    <a:pt x="9793" y="3021"/>
                    <a:pt x="9286" y="2756"/>
                    <a:pt x="8832" y="2545"/>
                  </a:cubicBezTo>
                  <a:cubicBezTo>
                    <a:pt x="8377" y="2333"/>
                    <a:pt x="7756" y="1951"/>
                    <a:pt x="7437" y="1700"/>
                  </a:cubicBezTo>
                  <a:cubicBezTo>
                    <a:pt x="7125" y="1451"/>
                    <a:pt x="6831" y="1145"/>
                    <a:pt x="6789" y="1016"/>
                  </a:cubicBezTo>
                  <a:cubicBezTo>
                    <a:pt x="6744" y="890"/>
                    <a:pt x="6538" y="653"/>
                    <a:pt x="6304" y="500"/>
                  </a:cubicBezTo>
                  <a:cubicBezTo>
                    <a:pt x="6086" y="342"/>
                    <a:pt x="5726" y="189"/>
                    <a:pt x="5528" y="141"/>
                  </a:cubicBezTo>
                  <a:cubicBezTo>
                    <a:pt x="5320" y="104"/>
                    <a:pt x="5092" y="47"/>
                    <a:pt x="5043" y="10"/>
                  </a:cubicBezTo>
                  <a:cubicBezTo>
                    <a:pt x="4974" y="-17"/>
                    <a:pt x="4897" y="11"/>
                    <a:pt x="4886" y="85"/>
                  </a:cubicBezTo>
                  <a:cubicBezTo>
                    <a:pt x="4855" y="156"/>
                    <a:pt x="4604" y="430"/>
                    <a:pt x="4329" y="696"/>
                  </a:cubicBezTo>
                  <a:cubicBezTo>
                    <a:pt x="4039" y="953"/>
                    <a:pt x="3648" y="1263"/>
                    <a:pt x="3439" y="1376"/>
                  </a:cubicBezTo>
                  <a:close/>
                  <a:moveTo>
                    <a:pt x="3439" y="13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4" name="AutoShape 1326"/>
            <p:cNvSpPr>
              <a:spLocks/>
            </p:cNvSpPr>
            <p:nvPr/>
          </p:nvSpPr>
          <p:spPr bwMode="auto">
            <a:xfrm>
              <a:off x="4800600" y="5397500"/>
              <a:ext cx="0" cy="0"/>
            </a:xfrm>
            <a:custGeom>
              <a:avLst/>
              <a:gdLst/>
              <a:ahLst/>
              <a:cxnLst/>
              <a:rect l="0" t="0" r="r" b="b"/>
              <a:pathLst>
                <a:path w="21600" h="21600">
                  <a:moveTo>
                    <a:pt x="19578" y="19992"/>
                  </a:moveTo>
                  <a:cubicBezTo>
                    <a:pt x="20439" y="20808"/>
                    <a:pt x="20884" y="21050"/>
                    <a:pt x="21600" y="21600"/>
                  </a:cubicBezTo>
                  <a:cubicBezTo>
                    <a:pt x="14645" y="16000"/>
                    <a:pt x="7399" y="7208"/>
                    <a:pt x="0" y="0"/>
                  </a:cubicBezTo>
                  <a:cubicBezTo>
                    <a:pt x="6656" y="6667"/>
                    <a:pt x="13638" y="14667"/>
                    <a:pt x="19578" y="19992"/>
                  </a:cubicBezTo>
                  <a:close/>
                  <a:moveTo>
                    <a:pt x="19578" y="1999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5" name="AutoShape 1327"/>
            <p:cNvSpPr>
              <a:spLocks/>
            </p:cNvSpPr>
            <p:nvPr/>
          </p:nvSpPr>
          <p:spPr bwMode="auto">
            <a:xfrm>
              <a:off x="4343400" y="4902200"/>
              <a:ext cx="9525" cy="12700"/>
            </a:xfrm>
            <a:custGeom>
              <a:avLst/>
              <a:gdLst/>
              <a:ahLst/>
              <a:cxnLst/>
              <a:rect l="0" t="0" r="r" b="b"/>
              <a:pathLst>
                <a:path w="20264" h="19928">
                  <a:moveTo>
                    <a:pt x="17365" y="13607"/>
                  </a:moveTo>
                  <a:cubicBezTo>
                    <a:pt x="14749" y="13047"/>
                    <a:pt x="10230" y="9092"/>
                    <a:pt x="7115" y="4967"/>
                  </a:cubicBezTo>
                  <a:cubicBezTo>
                    <a:pt x="4160" y="780"/>
                    <a:pt x="931" y="-1128"/>
                    <a:pt x="263" y="685"/>
                  </a:cubicBezTo>
                  <a:cubicBezTo>
                    <a:pt x="-451" y="2516"/>
                    <a:pt x="353" y="6894"/>
                    <a:pt x="1882" y="10637"/>
                  </a:cubicBezTo>
                  <a:cubicBezTo>
                    <a:pt x="3492" y="14300"/>
                    <a:pt x="7614" y="18158"/>
                    <a:pt x="10966" y="19355"/>
                  </a:cubicBezTo>
                  <a:cubicBezTo>
                    <a:pt x="14376" y="20472"/>
                    <a:pt x="18148" y="19913"/>
                    <a:pt x="19585" y="18061"/>
                  </a:cubicBezTo>
                  <a:cubicBezTo>
                    <a:pt x="21149" y="16307"/>
                    <a:pt x="19846" y="14455"/>
                    <a:pt x="17365" y="13607"/>
                  </a:cubicBezTo>
                  <a:close/>
                  <a:moveTo>
                    <a:pt x="17365" y="136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6" name="AutoShape 1328"/>
            <p:cNvSpPr>
              <a:spLocks/>
            </p:cNvSpPr>
            <p:nvPr/>
          </p:nvSpPr>
          <p:spPr bwMode="auto">
            <a:xfrm>
              <a:off x="4495800" y="4965700"/>
              <a:ext cx="19050" cy="9525"/>
            </a:xfrm>
            <a:custGeom>
              <a:avLst/>
              <a:gdLst/>
              <a:ahLst/>
              <a:cxnLst/>
              <a:rect l="0" t="0" r="r" b="b"/>
              <a:pathLst>
                <a:path w="20631" h="19363">
                  <a:moveTo>
                    <a:pt x="13694" y="4272"/>
                  </a:moveTo>
                  <a:cubicBezTo>
                    <a:pt x="11155" y="8844"/>
                    <a:pt x="8197" y="9798"/>
                    <a:pt x="7057" y="7025"/>
                  </a:cubicBezTo>
                  <a:cubicBezTo>
                    <a:pt x="6010" y="4161"/>
                    <a:pt x="3749" y="4249"/>
                    <a:pt x="1886" y="7202"/>
                  </a:cubicBezTo>
                  <a:cubicBezTo>
                    <a:pt x="129" y="10310"/>
                    <a:pt x="-540" y="14018"/>
                    <a:pt x="481" y="15882"/>
                  </a:cubicBezTo>
                  <a:cubicBezTo>
                    <a:pt x="1514" y="17636"/>
                    <a:pt x="4028" y="18369"/>
                    <a:pt x="6077" y="17702"/>
                  </a:cubicBezTo>
                  <a:cubicBezTo>
                    <a:pt x="8125" y="17059"/>
                    <a:pt x="11460" y="17302"/>
                    <a:pt x="13342" y="18989"/>
                  </a:cubicBezTo>
                  <a:cubicBezTo>
                    <a:pt x="15338" y="20255"/>
                    <a:pt x="17884" y="18211"/>
                    <a:pt x="19370" y="14329"/>
                  </a:cubicBezTo>
                  <a:cubicBezTo>
                    <a:pt x="20596" y="10221"/>
                    <a:pt x="21060" y="4604"/>
                    <a:pt x="20165" y="1585"/>
                  </a:cubicBezTo>
                  <a:cubicBezTo>
                    <a:pt x="19190" y="-1345"/>
                    <a:pt x="16385" y="-79"/>
                    <a:pt x="13694" y="4272"/>
                  </a:cubicBezTo>
                  <a:close/>
                  <a:moveTo>
                    <a:pt x="13694" y="42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7" name="AutoShape 1329"/>
            <p:cNvSpPr>
              <a:spLocks/>
            </p:cNvSpPr>
            <p:nvPr/>
          </p:nvSpPr>
          <p:spPr bwMode="auto">
            <a:xfrm>
              <a:off x="4368800" y="4902200"/>
              <a:ext cx="9525" cy="12700"/>
            </a:xfrm>
            <a:custGeom>
              <a:avLst/>
              <a:gdLst/>
              <a:ahLst/>
              <a:cxnLst/>
              <a:rect l="0" t="0" r="r" b="b"/>
              <a:pathLst>
                <a:path w="20400" h="20733">
                  <a:moveTo>
                    <a:pt x="3442" y="5"/>
                  </a:moveTo>
                  <a:cubicBezTo>
                    <a:pt x="288" y="5"/>
                    <a:pt x="-848" y="2663"/>
                    <a:pt x="660" y="5858"/>
                  </a:cubicBezTo>
                  <a:cubicBezTo>
                    <a:pt x="2452" y="8901"/>
                    <a:pt x="5603" y="11674"/>
                    <a:pt x="7741" y="12438"/>
                  </a:cubicBezTo>
                  <a:cubicBezTo>
                    <a:pt x="10014" y="12975"/>
                    <a:pt x="13623" y="15749"/>
                    <a:pt x="15663" y="18638"/>
                  </a:cubicBezTo>
                  <a:cubicBezTo>
                    <a:pt x="17850" y="21469"/>
                    <a:pt x="20011" y="21450"/>
                    <a:pt x="20357" y="18466"/>
                  </a:cubicBezTo>
                  <a:cubicBezTo>
                    <a:pt x="20752" y="15461"/>
                    <a:pt x="18320" y="10182"/>
                    <a:pt x="15230" y="6509"/>
                  </a:cubicBezTo>
                  <a:cubicBezTo>
                    <a:pt x="11646" y="3008"/>
                    <a:pt x="6580" y="-131"/>
                    <a:pt x="3442" y="5"/>
                  </a:cubicBezTo>
                  <a:close/>
                  <a:moveTo>
                    <a:pt x="3442" y="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8" name="AutoShape 1330"/>
            <p:cNvSpPr>
              <a:spLocks/>
            </p:cNvSpPr>
            <p:nvPr/>
          </p:nvSpPr>
          <p:spPr bwMode="auto">
            <a:xfrm>
              <a:off x="4318000" y="4889500"/>
              <a:ext cx="6350" cy="6350"/>
            </a:xfrm>
            <a:custGeom>
              <a:avLst/>
              <a:gdLst/>
              <a:ahLst/>
              <a:cxnLst/>
              <a:rect l="0" t="0" r="r" b="b"/>
              <a:pathLst>
                <a:path w="19485" h="21123">
                  <a:moveTo>
                    <a:pt x="2741" y="44"/>
                  </a:moveTo>
                  <a:cubicBezTo>
                    <a:pt x="-732" y="-477"/>
                    <a:pt x="-955" y="3707"/>
                    <a:pt x="2357" y="9754"/>
                  </a:cubicBezTo>
                  <a:cubicBezTo>
                    <a:pt x="5462" y="15974"/>
                    <a:pt x="11812" y="20602"/>
                    <a:pt x="16114" y="21123"/>
                  </a:cubicBezTo>
                  <a:cubicBezTo>
                    <a:pt x="20453" y="20879"/>
                    <a:pt x="20645" y="16802"/>
                    <a:pt x="16445" y="11342"/>
                  </a:cubicBezTo>
                  <a:cubicBezTo>
                    <a:pt x="12455" y="5744"/>
                    <a:pt x="6123" y="769"/>
                    <a:pt x="2741" y="44"/>
                  </a:cubicBezTo>
                  <a:close/>
                  <a:moveTo>
                    <a:pt x="2741" y="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29" name="AutoShape 1331"/>
            <p:cNvSpPr>
              <a:spLocks/>
            </p:cNvSpPr>
            <p:nvPr/>
          </p:nvSpPr>
          <p:spPr bwMode="auto">
            <a:xfrm>
              <a:off x="4241800" y="4902200"/>
              <a:ext cx="411163" cy="515938"/>
            </a:xfrm>
            <a:custGeom>
              <a:avLst/>
              <a:gdLst/>
              <a:ahLst/>
              <a:cxnLst/>
              <a:rect l="0" t="0" r="r" b="b"/>
              <a:pathLst>
                <a:path w="21596" h="21583">
                  <a:moveTo>
                    <a:pt x="1988" y="673"/>
                  </a:moveTo>
                  <a:cubicBezTo>
                    <a:pt x="1790" y="757"/>
                    <a:pt x="1539" y="996"/>
                    <a:pt x="1436" y="1211"/>
                  </a:cubicBezTo>
                  <a:cubicBezTo>
                    <a:pt x="1336" y="1426"/>
                    <a:pt x="1218" y="1642"/>
                    <a:pt x="1190" y="1696"/>
                  </a:cubicBezTo>
                  <a:cubicBezTo>
                    <a:pt x="1157" y="1748"/>
                    <a:pt x="1075" y="1804"/>
                    <a:pt x="1007" y="1820"/>
                  </a:cubicBezTo>
                  <a:cubicBezTo>
                    <a:pt x="940" y="1835"/>
                    <a:pt x="846" y="1937"/>
                    <a:pt x="786" y="2041"/>
                  </a:cubicBezTo>
                  <a:cubicBezTo>
                    <a:pt x="737" y="2149"/>
                    <a:pt x="640" y="2284"/>
                    <a:pt x="584" y="2344"/>
                  </a:cubicBezTo>
                  <a:cubicBezTo>
                    <a:pt x="522" y="2402"/>
                    <a:pt x="387" y="2623"/>
                    <a:pt x="284" y="2832"/>
                  </a:cubicBezTo>
                  <a:cubicBezTo>
                    <a:pt x="178" y="3039"/>
                    <a:pt x="79" y="3286"/>
                    <a:pt x="65" y="3381"/>
                  </a:cubicBezTo>
                  <a:cubicBezTo>
                    <a:pt x="60" y="3476"/>
                    <a:pt x="68" y="3621"/>
                    <a:pt x="99" y="3706"/>
                  </a:cubicBezTo>
                  <a:cubicBezTo>
                    <a:pt x="134" y="3791"/>
                    <a:pt x="155" y="3990"/>
                    <a:pt x="165" y="4147"/>
                  </a:cubicBezTo>
                  <a:cubicBezTo>
                    <a:pt x="165" y="4305"/>
                    <a:pt x="133" y="4555"/>
                    <a:pt x="88" y="4705"/>
                  </a:cubicBezTo>
                  <a:cubicBezTo>
                    <a:pt x="41" y="4854"/>
                    <a:pt x="5" y="5016"/>
                    <a:pt x="0" y="5062"/>
                  </a:cubicBezTo>
                  <a:cubicBezTo>
                    <a:pt x="0" y="5110"/>
                    <a:pt x="34" y="5145"/>
                    <a:pt x="85" y="5145"/>
                  </a:cubicBezTo>
                  <a:cubicBezTo>
                    <a:pt x="135" y="5145"/>
                    <a:pt x="231" y="5151"/>
                    <a:pt x="300" y="5158"/>
                  </a:cubicBezTo>
                  <a:cubicBezTo>
                    <a:pt x="362" y="5183"/>
                    <a:pt x="578" y="5472"/>
                    <a:pt x="770" y="5831"/>
                  </a:cubicBezTo>
                  <a:cubicBezTo>
                    <a:pt x="961" y="6190"/>
                    <a:pt x="1184" y="6596"/>
                    <a:pt x="1268" y="6730"/>
                  </a:cubicBezTo>
                  <a:cubicBezTo>
                    <a:pt x="1352" y="6864"/>
                    <a:pt x="1443" y="7049"/>
                    <a:pt x="1474" y="7141"/>
                  </a:cubicBezTo>
                  <a:cubicBezTo>
                    <a:pt x="1500" y="7232"/>
                    <a:pt x="1502" y="7389"/>
                    <a:pt x="1473" y="7489"/>
                  </a:cubicBezTo>
                  <a:cubicBezTo>
                    <a:pt x="1444" y="7587"/>
                    <a:pt x="1433" y="7723"/>
                    <a:pt x="1442" y="7788"/>
                  </a:cubicBezTo>
                  <a:cubicBezTo>
                    <a:pt x="1456" y="7854"/>
                    <a:pt x="1443" y="7950"/>
                    <a:pt x="1426" y="8004"/>
                  </a:cubicBezTo>
                  <a:cubicBezTo>
                    <a:pt x="1403" y="8056"/>
                    <a:pt x="1394" y="8156"/>
                    <a:pt x="1408" y="8225"/>
                  </a:cubicBezTo>
                  <a:cubicBezTo>
                    <a:pt x="1413" y="8294"/>
                    <a:pt x="1510" y="8432"/>
                    <a:pt x="1611" y="8529"/>
                  </a:cubicBezTo>
                  <a:cubicBezTo>
                    <a:pt x="1713" y="8629"/>
                    <a:pt x="1887" y="8774"/>
                    <a:pt x="2011" y="8837"/>
                  </a:cubicBezTo>
                  <a:cubicBezTo>
                    <a:pt x="2127" y="8911"/>
                    <a:pt x="2289" y="8975"/>
                    <a:pt x="2359" y="8996"/>
                  </a:cubicBezTo>
                  <a:cubicBezTo>
                    <a:pt x="2432" y="9013"/>
                    <a:pt x="2567" y="9074"/>
                    <a:pt x="2654" y="9133"/>
                  </a:cubicBezTo>
                  <a:cubicBezTo>
                    <a:pt x="2742" y="9192"/>
                    <a:pt x="2871" y="9212"/>
                    <a:pt x="2930" y="9176"/>
                  </a:cubicBezTo>
                  <a:cubicBezTo>
                    <a:pt x="2989" y="9140"/>
                    <a:pt x="3128" y="9127"/>
                    <a:pt x="3232" y="9141"/>
                  </a:cubicBezTo>
                  <a:cubicBezTo>
                    <a:pt x="3337" y="9150"/>
                    <a:pt x="3507" y="9202"/>
                    <a:pt x="3609" y="9248"/>
                  </a:cubicBezTo>
                  <a:cubicBezTo>
                    <a:pt x="3708" y="9297"/>
                    <a:pt x="3816" y="9307"/>
                    <a:pt x="3844" y="9282"/>
                  </a:cubicBezTo>
                  <a:cubicBezTo>
                    <a:pt x="3874" y="9257"/>
                    <a:pt x="3986" y="9220"/>
                    <a:pt x="4103" y="9211"/>
                  </a:cubicBezTo>
                  <a:cubicBezTo>
                    <a:pt x="4218" y="9196"/>
                    <a:pt x="4423" y="9226"/>
                    <a:pt x="4558" y="9266"/>
                  </a:cubicBezTo>
                  <a:cubicBezTo>
                    <a:pt x="4690" y="9312"/>
                    <a:pt x="4870" y="9376"/>
                    <a:pt x="4946" y="9423"/>
                  </a:cubicBezTo>
                  <a:cubicBezTo>
                    <a:pt x="5029" y="9464"/>
                    <a:pt x="5385" y="9818"/>
                    <a:pt x="5734" y="10210"/>
                  </a:cubicBezTo>
                  <a:cubicBezTo>
                    <a:pt x="6098" y="10597"/>
                    <a:pt x="6473" y="10899"/>
                    <a:pt x="6588" y="10891"/>
                  </a:cubicBezTo>
                  <a:cubicBezTo>
                    <a:pt x="6701" y="10875"/>
                    <a:pt x="6821" y="10888"/>
                    <a:pt x="6855" y="10922"/>
                  </a:cubicBezTo>
                  <a:cubicBezTo>
                    <a:pt x="6893" y="10952"/>
                    <a:pt x="6941" y="10962"/>
                    <a:pt x="6975" y="10962"/>
                  </a:cubicBezTo>
                  <a:cubicBezTo>
                    <a:pt x="7009" y="10955"/>
                    <a:pt x="7105" y="10974"/>
                    <a:pt x="7196" y="11012"/>
                  </a:cubicBezTo>
                  <a:cubicBezTo>
                    <a:pt x="7283" y="11054"/>
                    <a:pt x="7409" y="11113"/>
                    <a:pt x="7467" y="11154"/>
                  </a:cubicBezTo>
                  <a:cubicBezTo>
                    <a:pt x="7524" y="11197"/>
                    <a:pt x="7634" y="11191"/>
                    <a:pt x="7710" y="11151"/>
                  </a:cubicBezTo>
                  <a:cubicBezTo>
                    <a:pt x="7787" y="11110"/>
                    <a:pt x="7918" y="11071"/>
                    <a:pt x="8001" y="11086"/>
                  </a:cubicBezTo>
                  <a:cubicBezTo>
                    <a:pt x="8085" y="11094"/>
                    <a:pt x="8253" y="11118"/>
                    <a:pt x="8374" y="11143"/>
                  </a:cubicBezTo>
                  <a:cubicBezTo>
                    <a:pt x="8494" y="11165"/>
                    <a:pt x="8605" y="11165"/>
                    <a:pt x="8625" y="11141"/>
                  </a:cubicBezTo>
                  <a:cubicBezTo>
                    <a:pt x="8641" y="11116"/>
                    <a:pt x="8721" y="11104"/>
                    <a:pt x="8796" y="11104"/>
                  </a:cubicBezTo>
                  <a:cubicBezTo>
                    <a:pt x="8871" y="11104"/>
                    <a:pt x="8989" y="11153"/>
                    <a:pt x="9068" y="11198"/>
                  </a:cubicBezTo>
                  <a:cubicBezTo>
                    <a:pt x="9144" y="11243"/>
                    <a:pt x="9243" y="11438"/>
                    <a:pt x="9291" y="11628"/>
                  </a:cubicBezTo>
                  <a:cubicBezTo>
                    <a:pt x="9348" y="11818"/>
                    <a:pt x="9359" y="12036"/>
                    <a:pt x="9331" y="12108"/>
                  </a:cubicBezTo>
                  <a:cubicBezTo>
                    <a:pt x="9301" y="12180"/>
                    <a:pt x="9297" y="12312"/>
                    <a:pt x="9302" y="12398"/>
                  </a:cubicBezTo>
                  <a:cubicBezTo>
                    <a:pt x="9311" y="12484"/>
                    <a:pt x="9307" y="12601"/>
                    <a:pt x="9281" y="12657"/>
                  </a:cubicBezTo>
                  <a:cubicBezTo>
                    <a:pt x="9263" y="12714"/>
                    <a:pt x="9158" y="12773"/>
                    <a:pt x="9061" y="12803"/>
                  </a:cubicBezTo>
                  <a:cubicBezTo>
                    <a:pt x="8962" y="12827"/>
                    <a:pt x="8850" y="12899"/>
                    <a:pt x="8808" y="12961"/>
                  </a:cubicBezTo>
                  <a:cubicBezTo>
                    <a:pt x="8765" y="13020"/>
                    <a:pt x="8777" y="13212"/>
                    <a:pt x="8816" y="13389"/>
                  </a:cubicBezTo>
                  <a:cubicBezTo>
                    <a:pt x="8864" y="13564"/>
                    <a:pt x="8908" y="13760"/>
                    <a:pt x="8930" y="13822"/>
                  </a:cubicBezTo>
                  <a:cubicBezTo>
                    <a:pt x="8944" y="13886"/>
                    <a:pt x="8946" y="14033"/>
                    <a:pt x="8927" y="14150"/>
                  </a:cubicBezTo>
                  <a:cubicBezTo>
                    <a:pt x="8909" y="14267"/>
                    <a:pt x="8914" y="14487"/>
                    <a:pt x="8934" y="14638"/>
                  </a:cubicBezTo>
                  <a:cubicBezTo>
                    <a:pt x="8958" y="14790"/>
                    <a:pt x="9028" y="14978"/>
                    <a:pt x="9075" y="15062"/>
                  </a:cubicBezTo>
                  <a:cubicBezTo>
                    <a:pt x="9136" y="15143"/>
                    <a:pt x="9187" y="15257"/>
                    <a:pt x="9197" y="15311"/>
                  </a:cubicBezTo>
                  <a:cubicBezTo>
                    <a:pt x="9197" y="15368"/>
                    <a:pt x="9324" y="15629"/>
                    <a:pt x="9444" y="15897"/>
                  </a:cubicBezTo>
                  <a:cubicBezTo>
                    <a:pt x="9571" y="16162"/>
                    <a:pt x="9587" y="16596"/>
                    <a:pt x="9487" y="16862"/>
                  </a:cubicBezTo>
                  <a:cubicBezTo>
                    <a:pt x="9387" y="17128"/>
                    <a:pt x="9318" y="17401"/>
                    <a:pt x="9340" y="17471"/>
                  </a:cubicBezTo>
                  <a:cubicBezTo>
                    <a:pt x="9358" y="17542"/>
                    <a:pt x="9416" y="17623"/>
                    <a:pt x="9470" y="17640"/>
                  </a:cubicBezTo>
                  <a:cubicBezTo>
                    <a:pt x="9518" y="17663"/>
                    <a:pt x="9587" y="17656"/>
                    <a:pt x="9627" y="17628"/>
                  </a:cubicBezTo>
                  <a:cubicBezTo>
                    <a:pt x="9667" y="17601"/>
                    <a:pt x="9717" y="17592"/>
                    <a:pt x="9734" y="17620"/>
                  </a:cubicBezTo>
                  <a:cubicBezTo>
                    <a:pt x="9754" y="17645"/>
                    <a:pt x="9806" y="17726"/>
                    <a:pt x="9826" y="17807"/>
                  </a:cubicBezTo>
                  <a:cubicBezTo>
                    <a:pt x="9858" y="17884"/>
                    <a:pt x="9913" y="17977"/>
                    <a:pt x="9963" y="18007"/>
                  </a:cubicBezTo>
                  <a:cubicBezTo>
                    <a:pt x="10006" y="18041"/>
                    <a:pt x="10095" y="18148"/>
                    <a:pt x="10153" y="18248"/>
                  </a:cubicBezTo>
                  <a:cubicBezTo>
                    <a:pt x="10211" y="18348"/>
                    <a:pt x="10249" y="18471"/>
                    <a:pt x="10230" y="18522"/>
                  </a:cubicBezTo>
                  <a:cubicBezTo>
                    <a:pt x="10216" y="18574"/>
                    <a:pt x="10260" y="18716"/>
                    <a:pt x="10322" y="18844"/>
                  </a:cubicBezTo>
                  <a:cubicBezTo>
                    <a:pt x="10395" y="18967"/>
                    <a:pt x="10540" y="19279"/>
                    <a:pt x="10663" y="19530"/>
                  </a:cubicBezTo>
                  <a:cubicBezTo>
                    <a:pt x="10781" y="19780"/>
                    <a:pt x="10901" y="20061"/>
                    <a:pt x="10920" y="20152"/>
                  </a:cubicBezTo>
                  <a:cubicBezTo>
                    <a:pt x="10936" y="20244"/>
                    <a:pt x="10951" y="20316"/>
                    <a:pt x="10949" y="20320"/>
                  </a:cubicBezTo>
                  <a:cubicBezTo>
                    <a:pt x="10944" y="20316"/>
                    <a:pt x="11089" y="20439"/>
                    <a:pt x="11276" y="20583"/>
                  </a:cubicBezTo>
                  <a:cubicBezTo>
                    <a:pt x="11463" y="20729"/>
                    <a:pt x="11775" y="20985"/>
                    <a:pt x="11972" y="21153"/>
                  </a:cubicBezTo>
                  <a:cubicBezTo>
                    <a:pt x="12173" y="21317"/>
                    <a:pt x="12412" y="21486"/>
                    <a:pt x="12519" y="21509"/>
                  </a:cubicBezTo>
                  <a:cubicBezTo>
                    <a:pt x="12621" y="21541"/>
                    <a:pt x="12856" y="21567"/>
                    <a:pt x="13035" y="21583"/>
                  </a:cubicBezTo>
                  <a:cubicBezTo>
                    <a:pt x="13216" y="21591"/>
                    <a:pt x="13429" y="21504"/>
                    <a:pt x="13518" y="21385"/>
                  </a:cubicBezTo>
                  <a:cubicBezTo>
                    <a:pt x="13604" y="21263"/>
                    <a:pt x="13794" y="21097"/>
                    <a:pt x="13927" y="21002"/>
                  </a:cubicBezTo>
                  <a:cubicBezTo>
                    <a:pt x="14065" y="20912"/>
                    <a:pt x="14229" y="20771"/>
                    <a:pt x="14292" y="20687"/>
                  </a:cubicBezTo>
                  <a:cubicBezTo>
                    <a:pt x="14351" y="20600"/>
                    <a:pt x="14580" y="20452"/>
                    <a:pt x="14795" y="20351"/>
                  </a:cubicBezTo>
                  <a:cubicBezTo>
                    <a:pt x="15014" y="20256"/>
                    <a:pt x="15212" y="20070"/>
                    <a:pt x="15232" y="19950"/>
                  </a:cubicBezTo>
                  <a:cubicBezTo>
                    <a:pt x="15255" y="19829"/>
                    <a:pt x="15328" y="19666"/>
                    <a:pt x="15396" y="19588"/>
                  </a:cubicBezTo>
                  <a:cubicBezTo>
                    <a:pt x="15459" y="19510"/>
                    <a:pt x="15686" y="19439"/>
                    <a:pt x="15893" y="19408"/>
                  </a:cubicBezTo>
                  <a:cubicBezTo>
                    <a:pt x="16102" y="19385"/>
                    <a:pt x="16354" y="19332"/>
                    <a:pt x="16456" y="19296"/>
                  </a:cubicBezTo>
                  <a:cubicBezTo>
                    <a:pt x="16552" y="19249"/>
                    <a:pt x="16623" y="19141"/>
                    <a:pt x="16602" y="19042"/>
                  </a:cubicBezTo>
                  <a:cubicBezTo>
                    <a:pt x="16580" y="18943"/>
                    <a:pt x="16439" y="18831"/>
                    <a:pt x="16292" y="18777"/>
                  </a:cubicBezTo>
                  <a:cubicBezTo>
                    <a:pt x="16140" y="18731"/>
                    <a:pt x="15901" y="18701"/>
                    <a:pt x="15758" y="18693"/>
                  </a:cubicBezTo>
                  <a:cubicBezTo>
                    <a:pt x="15614" y="18686"/>
                    <a:pt x="15312" y="18622"/>
                    <a:pt x="15094" y="18520"/>
                  </a:cubicBezTo>
                  <a:cubicBezTo>
                    <a:pt x="14877" y="18422"/>
                    <a:pt x="14705" y="18217"/>
                    <a:pt x="14710" y="18060"/>
                  </a:cubicBezTo>
                  <a:cubicBezTo>
                    <a:pt x="14725" y="17903"/>
                    <a:pt x="14670" y="17691"/>
                    <a:pt x="14614" y="17587"/>
                  </a:cubicBezTo>
                  <a:cubicBezTo>
                    <a:pt x="14554" y="17484"/>
                    <a:pt x="14586" y="17240"/>
                    <a:pt x="14687" y="17043"/>
                  </a:cubicBezTo>
                  <a:cubicBezTo>
                    <a:pt x="14791" y="16847"/>
                    <a:pt x="14832" y="16610"/>
                    <a:pt x="14792" y="16514"/>
                  </a:cubicBezTo>
                  <a:cubicBezTo>
                    <a:pt x="14744" y="16422"/>
                    <a:pt x="14617" y="16257"/>
                    <a:pt x="14510" y="16146"/>
                  </a:cubicBezTo>
                  <a:cubicBezTo>
                    <a:pt x="14398" y="16037"/>
                    <a:pt x="14227" y="15908"/>
                    <a:pt x="14127" y="15860"/>
                  </a:cubicBezTo>
                  <a:cubicBezTo>
                    <a:pt x="14026" y="15814"/>
                    <a:pt x="13882" y="15671"/>
                    <a:pt x="13812" y="15544"/>
                  </a:cubicBezTo>
                  <a:cubicBezTo>
                    <a:pt x="13731" y="15423"/>
                    <a:pt x="13786" y="15369"/>
                    <a:pt x="13926" y="15418"/>
                  </a:cubicBezTo>
                  <a:cubicBezTo>
                    <a:pt x="14064" y="15471"/>
                    <a:pt x="14288" y="15560"/>
                    <a:pt x="14436" y="15590"/>
                  </a:cubicBezTo>
                  <a:cubicBezTo>
                    <a:pt x="14579" y="15635"/>
                    <a:pt x="14824" y="15742"/>
                    <a:pt x="14976" y="15840"/>
                  </a:cubicBezTo>
                  <a:cubicBezTo>
                    <a:pt x="15127" y="15940"/>
                    <a:pt x="15384" y="16016"/>
                    <a:pt x="15542" y="16031"/>
                  </a:cubicBezTo>
                  <a:cubicBezTo>
                    <a:pt x="15700" y="16031"/>
                    <a:pt x="15997" y="16037"/>
                    <a:pt x="16200" y="16029"/>
                  </a:cubicBezTo>
                  <a:cubicBezTo>
                    <a:pt x="16405" y="16029"/>
                    <a:pt x="16618" y="16045"/>
                    <a:pt x="16671" y="16087"/>
                  </a:cubicBezTo>
                  <a:cubicBezTo>
                    <a:pt x="16727" y="16128"/>
                    <a:pt x="16888" y="16131"/>
                    <a:pt x="17029" y="16092"/>
                  </a:cubicBezTo>
                  <a:cubicBezTo>
                    <a:pt x="17171" y="16053"/>
                    <a:pt x="17404" y="15922"/>
                    <a:pt x="17535" y="15792"/>
                  </a:cubicBezTo>
                  <a:cubicBezTo>
                    <a:pt x="17673" y="15666"/>
                    <a:pt x="17889" y="15551"/>
                    <a:pt x="18021" y="15559"/>
                  </a:cubicBezTo>
                  <a:cubicBezTo>
                    <a:pt x="18151" y="15559"/>
                    <a:pt x="18328" y="15594"/>
                    <a:pt x="18411" y="15641"/>
                  </a:cubicBezTo>
                  <a:cubicBezTo>
                    <a:pt x="18491" y="15690"/>
                    <a:pt x="18727" y="15666"/>
                    <a:pt x="18929" y="15593"/>
                  </a:cubicBezTo>
                  <a:cubicBezTo>
                    <a:pt x="19134" y="15523"/>
                    <a:pt x="19425" y="15455"/>
                    <a:pt x="19579" y="15462"/>
                  </a:cubicBezTo>
                  <a:cubicBezTo>
                    <a:pt x="19732" y="15462"/>
                    <a:pt x="20048" y="15335"/>
                    <a:pt x="20276" y="15173"/>
                  </a:cubicBezTo>
                  <a:cubicBezTo>
                    <a:pt x="20509" y="15015"/>
                    <a:pt x="20722" y="14789"/>
                    <a:pt x="20756" y="14675"/>
                  </a:cubicBezTo>
                  <a:cubicBezTo>
                    <a:pt x="20782" y="14559"/>
                    <a:pt x="20800" y="14372"/>
                    <a:pt x="20773" y="14256"/>
                  </a:cubicBezTo>
                  <a:cubicBezTo>
                    <a:pt x="20749" y="14140"/>
                    <a:pt x="20565" y="13909"/>
                    <a:pt x="20371" y="13735"/>
                  </a:cubicBezTo>
                  <a:cubicBezTo>
                    <a:pt x="20167" y="13570"/>
                    <a:pt x="19885" y="13274"/>
                    <a:pt x="19749" y="13079"/>
                  </a:cubicBezTo>
                  <a:cubicBezTo>
                    <a:pt x="19602" y="12891"/>
                    <a:pt x="19440" y="12627"/>
                    <a:pt x="19382" y="12497"/>
                  </a:cubicBezTo>
                  <a:cubicBezTo>
                    <a:pt x="19322" y="12369"/>
                    <a:pt x="19355" y="12197"/>
                    <a:pt x="19435" y="12106"/>
                  </a:cubicBezTo>
                  <a:cubicBezTo>
                    <a:pt x="19524" y="12021"/>
                    <a:pt x="19600" y="11829"/>
                    <a:pt x="19605" y="11678"/>
                  </a:cubicBezTo>
                  <a:cubicBezTo>
                    <a:pt x="19615" y="11529"/>
                    <a:pt x="19654" y="11341"/>
                    <a:pt x="19722" y="11271"/>
                  </a:cubicBezTo>
                  <a:cubicBezTo>
                    <a:pt x="19779" y="11196"/>
                    <a:pt x="19896" y="11170"/>
                    <a:pt x="19974" y="11214"/>
                  </a:cubicBezTo>
                  <a:cubicBezTo>
                    <a:pt x="20049" y="11262"/>
                    <a:pt x="20176" y="11271"/>
                    <a:pt x="20235" y="11235"/>
                  </a:cubicBezTo>
                  <a:cubicBezTo>
                    <a:pt x="20298" y="11205"/>
                    <a:pt x="20422" y="11210"/>
                    <a:pt x="20508" y="11250"/>
                  </a:cubicBezTo>
                  <a:cubicBezTo>
                    <a:pt x="20597" y="11289"/>
                    <a:pt x="20794" y="11277"/>
                    <a:pt x="20942" y="11214"/>
                  </a:cubicBezTo>
                  <a:cubicBezTo>
                    <a:pt x="21094" y="11153"/>
                    <a:pt x="21208" y="11007"/>
                    <a:pt x="21198" y="10887"/>
                  </a:cubicBezTo>
                  <a:cubicBezTo>
                    <a:pt x="21183" y="10767"/>
                    <a:pt x="21104" y="10612"/>
                    <a:pt x="21018" y="10540"/>
                  </a:cubicBezTo>
                  <a:cubicBezTo>
                    <a:pt x="20928" y="10468"/>
                    <a:pt x="20752" y="10393"/>
                    <a:pt x="20621" y="10377"/>
                  </a:cubicBezTo>
                  <a:cubicBezTo>
                    <a:pt x="20490" y="10362"/>
                    <a:pt x="20346" y="10254"/>
                    <a:pt x="20301" y="10142"/>
                  </a:cubicBezTo>
                  <a:cubicBezTo>
                    <a:pt x="20251" y="10031"/>
                    <a:pt x="20186" y="9878"/>
                    <a:pt x="20137" y="9808"/>
                  </a:cubicBezTo>
                  <a:cubicBezTo>
                    <a:pt x="20092" y="9736"/>
                    <a:pt x="20142" y="9548"/>
                    <a:pt x="20270" y="9400"/>
                  </a:cubicBezTo>
                  <a:cubicBezTo>
                    <a:pt x="20383" y="9243"/>
                    <a:pt x="20547" y="9129"/>
                    <a:pt x="20622" y="9142"/>
                  </a:cubicBezTo>
                  <a:cubicBezTo>
                    <a:pt x="20695" y="9159"/>
                    <a:pt x="20837" y="9108"/>
                    <a:pt x="20930" y="9033"/>
                  </a:cubicBezTo>
                  <a:cubicBezTo>
                    <a:pt x="21026" y="8961"/>
                    <a:pt x="21206" y="8762"/>
                    <a:pt x="21339" y="8597"/>
                  </a:cubicBezTo>
                  <a:cubicBezTo>
                    <a:pt x="21465" y="8426"/>
                    <a:pt x="21580" y="8251"/>
                    <a:pt x="21595" y="8204"/>
                  </a:cubicBezTo>
                  <a:cubicBezTo>
                    <a:pt x="21600" y="8157"/>
                    <a:pt x="21588" y="8108"/>
                    <a:pt x="21565" y="8085"/>
                  </a:cubicBezTo>
                  <a:cubicBezTo>
                    <a:pt x="21538" y="8067"/>
                    <a:pt x="21360" y="7962"/>
                    <a:pt x="21158" y="7868"/>
                  </a:cubicBezTo>
                  <a:cubicBezTo>
                    <a:pt x="20965" y="7765"/>
                    <a:pt x="20746" y="7686"/>
                    <a:pt x="20680" y="7672"/>
                  </a:cubicBezTo>
                  <a:cubicBezTo>
                    <a:pt x="20613" y="7672"/>
                    <a:pt x="20506" y="7678"/>
                    <a:pt x="20444" y="7703"/>
                  </a:cubicBezTo>
                  <a:cubicBezTo>
                    <a:pt x="20381" y="7725"/>
                    <a:pt x="20246" y="7722"/>
                    <a:pt x="20147" y="7691"/>
                  </a:cubicBezTo>
                  <a:cubicBezTo>
                    <a:pt x="20047" y="7661"/>
                    <a:pt x="19919" y="7643"/>
                    <a:pt x="19865" y="7635"/>
                  </a:cubicBezTo>
                  <a:cubicBezTo>
                    <a:pt x="19811" y="7635"/>
                    <a:pt x="19703" y="7652"/>
                    <a:pt x="19629" y="7687"/>
                  </a:cubicBezTo>
                  <a:cubicBezTo>
                    <a:pt x="19552" y="7717"/>
                    <a:pt x="19366" y="7763"/>
                    <a:pt x="19212" y="7770"/>
                  </a:cubicBezTo>
                  <a:cubicBezTo>
                    <a:pt x="19059" y="7786"/>
                    <a:pt x="18839" y="7780"/>
                    <a:pt x="18726" y="7758"/>
                  </a:cubicBezTo>
                  <a:cubicBezTo>
                    <a:pt x="18612" y="7735"/>
                    <a:pt x="18470" y="7712"/>
                    <a:pt x="18413" y="7696"/>
                  </a:cubicBezTo>
                  <a:cubicBezTo>
                    <a:pt x="18354" y="7696"/>
                    <a:pt x="18389" y="7663"/>
                    <a:pt x="18488" y="7655"/>
                  </a:cubicBezTo>
                  <a:cubicBezTo>
                    <a:pt x="18586" y="7640"/>
                    <a:pt x="18715" y="7641"/>
                    <a:pt x="18770" y="7656"/>
                  </a:cubicBezTo>
                  <a:cubicBezTo>
                    <a:pt x="18827" y="7663"/>
                    <a:pt x="18927" y="7643"/>
                    <a:pt x="18991" y="7599"/>
                  </a:cubicBezTo>
                  <a:cubicBezTo>
                    <a:pt x="19059" y="7560"/>
                    <a:pt x="19139" y="7460"/>
                    <a:pt x="19173" y="7382"/>
                  </a:cubicBezTo>
                  <a:cubicBezTo>
                    <a:pt x="19212" y="7306"/>
                    <a:pt x="19318" y="7185"/>
                    <a:pt x="19409" y="7109"/>
                  </a:cubicBezTo>
                  <a:cubicBezTo>
                    <a:pt x="19505" y="7036"/>
                    <a:pt x="19595" y="6936"/>
                    <a:pt x="19611" y="6885"/>
                  </a:cubicBezTo>
                  <a:cubicBezTo>
                    <a:pt x="19625" y="6835"/>
                    <a:pt x="19584" y="6753"/>
                    <a:pt x="19513" y="6701"/>
                  </a:cubicBezTo>
                  <a:cubicBezTo>
                    <a:pt x="19441" y="6651"/>
                    <a:pt x="19383" y="6580"/>
                    <a:pt x="19393" y="6548"/>
                  </a:cubicBezTo>
                  <a:cubicBezTo>
                    <a:pt x="19393" y="6515"/>
                    <a:pt x="19371" y="6423"/>
                    <a:pt x="19338" y="6339"/>
                  </a:cubicBezTo>
                  <a:cubicBezTo>
                    <a:pt x="19310" y="6256"/>
                    <a:pt x="19164" y="6121"/>
                    <a:pt x="19024" y="6041"/>
                  </a:cubicBezTo>
                  <a:cubicBezTo>
                    <a:pt x="18886" y="5957"/>
                    <a:pt x="18637" y="5848"/>
                    <a:pt x="18475" y="5793"/>
                  </a:cubicBezTo>
                  <a:cubicBezTo>
                    <a:pt x="18315" y="5733"/>
                    <a:pt x="18136" y="5650"/>
                    <a:pt x="18083" y="5594"/>
                  </a:cubicBezTo>
                  <a:cubicBezTo>
                    <a:pt x="18028" y="5542"/>
                    <a:pt x="17939" y="5458"/>
                    <a:pt x="17875" y="5416"/>
                  </a:cubicBezTo>
                  <a:cubicBezTo>
                    <a:pt x="17813" y="5374"/>
                    <a:pt x="17687" y="5326"/>
                    <a:pt x="17593" y="5318"/>
                  </a:cubicBezTo>
                  <a:cubicBezTo>
                    <a:pt x="17500" y="5310"/>
                    <a:pt x="17396" y="5259"/>
                    <a:pt x="17361" y="5211"/>
                  </a:cubicBezTo>
                  <a:cubicBezTo>
                    <a:pt x="17329" y="5160"/>
                    <a:pt x="17216" y="5081"/>
                    <a:pt x="17116" y="5031"/>
                  </a:cubicBezTo>
                  <a:cubicBezTo>
                    <a:pt x="17021" y="4975"/>
                    <a:pt x="16893" y="4931"/>
                    <a:pt x="16842" y="4939"/>
                  </a:cubicBezTo>
                  <a:cubicBezTo>
                    <a:pt x="16792" y="4932"/>
                    <a:pt x="16759" y="5008"/>
                    <a:pt x="16768" y="5091"/>
                  </a:cubicBezTo>
                  <a:cubicBezTo>
                    <a:pt x="16782" y="5175"/>
                    <a:pt x="16734" y="5168"/>
                    <a:pt x="16663" y="5077"/>
                  </a:cubicBezTo>
                  <a:cubicBezTo>
                    <a:pt x="16595" y="4986"/>
                    <a:pt x="16504" y="4829"/>
                    <a:pt x="16456" y="4729"/>
                  </a:cubicBezTo>
                  <a:cubicBezTo>
                    <a:pt x="16408" y="4629"/>
                    <a:pt x="16293" y="4498"/>
                    <a:pt x="16193" y="4442"/>
                  </a:cubicBezTo>
                  <a:cubicBezTo>
                    <a:pt x="16095" y="4383"/>
                    <a:pt x="15979" y="4294"/>
                    <a:pt x="15955" y="4236"/>
                  </a:cubicBezTo>
                  <a:cubicBezTo>
                    <a:pt x="15924" y="4179"/>
                    <a:pt x="15935" y="4100"/>
                    <a:pt x="15985" y="4060"/>
                  </a:cubicBezTo>
                  <a:cubicBezTo>
                    <a:pt x="16027" y="4017"/>
                    <a:pt x="16245" y="4002"/>
                    <a:pt x="16457" y="4026"/>
                  </a:cubicBezTo>
                  <a:cubicBezTo>
                    <a:pt x="16668" y="4049"/>
                    <a:pt x="16903" y="4022"/>
                    <a:pt x="16979" y="3973"/>
                  </a:cubicBezTo>
                  <a:cubicBezTo>
                    <a:pt x="17054" y="3924"/>
                    <a:pt x="17223" y="3879"/>
                    <a:pt x="17357" y="3872"/>
                  </a:cubicBezTo>
                  <a:cubicBezTo>
                    <a:pt x="17490" y="3872"/>
                    <a:pt x="17608" y="3793"/>
                    <a:pt x="17613" y="3710"/>
                  </a:cubicBezTo>
                  <a:cubicBezTo>
                    <a:pt x="17617" y="3627"/>
                    <a:pt x="17525" y="3567"/>
                    <a:pt x="17404" y="3592"/>
                  </a:cubicBezTo>
                  <a:cubicBezTo>
                    <a:pt x="17283" y="3614"/>
                    <a:pt x="17001" y="3584"/>
                    <a:pt x="16789" y="3513"/>
                  </a:cubicBezTo>
                  <a:cubicBezTo>
                    <a:pt x="16571" y="3459"/>
                    <a:pt x="16274" y="3417"/>
                    <a:pt x="16121" y="3425"/>
                  </a:cubicBezTo>
                  <a:cubicBezTo>
                    <a:pt x="15969" y="3432"/>
                    <a:pt x="15763" y="3430"/>
                    <a:pt x="15660" y="3422"/>
                  </a:cubicBezTo>
                  <a:cubicBezTo>
                    <a:pt x="15558" y="3407"/>
                    <a:pt x="15313" y="3456"/>
                    <a:pt x="15110" y="3517"/>
                  </a:cubicBezTo>
                  <a:cubicBezTo>
                    <a:pt x="14910" y="3581"/>
                    <a:pt x="14689" y="3607"/>
                    <a:pt x="14616" y="3570"/>
                  </a:cubicBezTo>
                  <a:cubicBezTo>
                    <a:pt x="14545" y="3530"/>
                    <a:pt x="14415" y="3505"/>
                    <a:pt x="14332" y="3513"/>
                  </a:cubicBezTo>
                  <a:cubicBezTo>
                    <a:pt x="14249" y="3513"/>
                    <a:pt x="14046" y="3616"/>
                    <a:pt x="13891" y="3739"/>
                  </a:cubicBezTo>
                  <a:cubicBezTo>
                    <a:pt x="13733" y="3857"/>
                    <a:pt x="13532" y="3966"/>
                    <a:pt x="13447" y="3982"/>
                  </a:cubicBezTo>
                  <a:cubicBezTo>
                    <a:pt x="13361" y="3991"/>
                    <a:pt x="13210" y="4048"/>
                    <a:pt x="13116" y="4103"/>
                  </a:cubicBezTo>
                  <a:cubicBezTo>
                    <a:pt x="13019" y="4155"/>
                    <a:pt x="12920" y="4243"/>
                    <a:pt x="12874" y="4289"/>
                  </a:cubicBezTo>
                  <a:cubicBezTo>
                    <a:pt x="12838" y="4338"/>
                    <a:pt x="12701" y="4388"/>
                    <a:pt x="12568" y="4396"/>
                  </a:cubicBezTo>
                  <a:cubicBezTo>
                    <a:pt x="12435" y="4404"/>
                    <a:pt x="12292" y="4431"/>
                    <a:pt x="12253" y="4458"/>
                  </a:cubicBezTo>
                  <a:cubicBezTo>
                    <a:pt x="12216" y="4487"/>
                    <a:pt x="12122" y="4481"/>
                    <a:pt x="12051" y="4450"/>
                  </a:cubicBezTo>
                  <a:cubicBezTo>
                    <a:pt x="11981" y="4420"/>
                    <a:pt x="11750" y="4265"/>
                    <a:pt x="11540" y="4103"/>
                  </a:cubicBezTo>
                  <a:cubicBezTo>
                    <a:pt x="11328" y="3945"/>
                    <a:pt x="11116" y="3737"/>
                    <a:pt x="11075" y="3643"/>
                  </a:cubicBezTo>
                  <a:cubicBezTo>
                    <a:pt x="11023" y="3552"/>
                    <a:pt x="10940" y="3470"/>
                    <a:pt x="10884" y="3448"/>
                  </a:cubicBezTo>
                  <a:cubicBezTo>
                    <a:pt x="10826" y="3434"/>
                    <a:pt x="10599" y="3419"/>
                    <a:pt x="10381" y="3427"/>
                  </a:cubicBezTo>
                  <a:cubicBezTo>
                    <a:pt x="10165" y="3427"/>
                    <a:pt x="9649" y="3466"/>
                    <a:pt x="9241" y="3519"/>
                  </a:cubicBezTo>
                  <a:cubicBezTo>
                    <a:pt x="8831" y="3558"/>
                    <a:pt x="8333" y="3604"/>
                    <a:pt x="8134" y="3580"/>
                  </a:cubicBezTo>
                  <a:cubicBezTo>
                    <a:pt x="7934" y="3565"/>
                    <a:pt x="7708" y="3505"/>
                    <a:pt x="7620" y="3458"/>
                  </a:cubicBezTo>
                  <a:cubicBezTo>
                    <a:pt x="7537" y="3409"/>
                    <a:pt x="7442" y="3305"/>
                    <a:pt x="7406" y="3232"/>
                  </a:cubicBezTo>
                  <a:cubicBezTo>
                    <a:pt x="7365" y="3160"/>
                    <a:pt x="7331" y="3029"/>
                    <a:pt x="7326" y="2943"/>
                  </a:cubicBezTo>
                  <a:cubicBezTo>
                    <a:pt x="7321" y="2859"/>
                    <a:pt x="7354" y="2790"/>
                    <a:pt x="7404" y="2790"/>
                  </a:cubicBezTo>
                  <a:cubicBezTo>
                    <a:pt x="7454" y="2790"/>
                    <a:pt x="7487" y="2707"/>
                    <a:pt x="7463" y="2608"/>
                  </a:cubicBezTo>
                  <a:cubicBezTo>
                    <a:pt x="7449" y="2507"/>
                    <a:pt x="7349" y="2312"/>
                    <a:pt x="7255" y="2170"/>
                  </a:cubicBezTo>
                  <a:cubicBezTo>
                    <a:pt x="7157" y="2029"/>
                    <a:pt x="7004" y="1896"/>
                    <a:pt x="6928" y="1858"/>
                  </a:cubicBezTo>
                  <a:cubicBezTo>
                    <a:pt x="6841" y="1834"/>
                    <a:pt x="6612" y="1801"/>
                    <a:pt x="6410" y="1808"/>
                  </a:cubicBezTo>
                  <a:cubicBezTo>
                    <a:pt x="6208" y="1808"/>
                    <a:pt x="5965" y="1760"/>
                    <a:pt x="5867" y="1695"/>
                  </a:cubicBezTo>
                  <a:cubicBezTo>
                    <a:pt x="5764" y="1635"/>
                    <a:pt x="5637" y="1566"/>
                    <a:pt x="5570" y="1558"/>
                  </a:cubicBezTo>
                  <a:cubicBezTo>
                    <a:pt x="5503" y="1550"/>
                    <a:pt x="5406" y="1566"/>
                    <a:pt x="5350" y="1574"/>
                  </a:cubicBezTo>
                  <a:cubicBezTo>
                    <a:pt x="5296" y="1590"/>
                    <a:pt x="5193" y="1493"/>
                    <a:pt x="5109" y="1360"/>
                  </a:cubicBezTo>
                  <a:cubicBezTo>
                    <a:pt x="5032" y="1223"/>
                    <a:pt x="4960" y="1006"/>
                    <a:pt x="4946" y="875"/>
                  </a:cubicBezTo>
                  <a:cubicBezTo>
                    <a:pt x="4941" y="746"/>
                    <a:pt x="4898" y="503"/>
                    <a:pt x="4852" y="340"/>
                  </a:cubicBezTo>
                  <a:cubicBezTo>
                    <a:pt x="4808" y="176"/>
                    <a:pt x="4742" y="26"/>
                    <a:pt x="4702" y="3"/>
                  </a:cubicBezTo>
                  <a:cubicBezTo>
                    <a:pt x="4657" y="-9"/>
                    <a:pt x="4540" y="14"/>
                    <a:pt x="4422" y="55"/>
                  </a:cubicBezTo>
                  <a:cubicBezTo>
                    <a:pt x="4312" y="108"/>
                    <a:pt x="4126" y="265"/>
                    <a:pt x="4029" y="418"/>
                  </a:cubicBezTo>
                  <a:cubicBezTo>
                    <a:pt x="3926" y="568"/>
                    <a:pt x="3873" y="779"/>
                    <a:pt x="3907" y="887"/>
                  </a:cubicBezTo>
                  <a:cubicBezTo>
                    <a:pt x="3943" y="995"/>
                    <a:pt x="4007" y="1118"/>
                    <a:pt x="4047" y="1164"/>
                  </a:cubicBezTo>
                  <a:cubicBezTo>
                    <a:pt x="4084" y="1210"/>
                    <a:pt x="4184" y="1209"/>
                    <a:pt x="4258" y="1165"/>
                  </a:cubicBezTo>
                  <a:cubicBezTo>
                    <a:pt x="4329" y="1117"/>
                    <a:pt x="4455" y="1101"/>
                    <a:pt x="4532" y="1108"/>
                  </a:cubicBezTo>
                  <a:cubicBezTo>
                    <a:pt x="4607" y="1125"/>
                    <a:pt x="4722" y="1209"/>
                    <a:pt x="4802" y="1294"/>
                  </a:cubicBezTo>
                  <a:cubicBezTo>
                    <a:pt x="4873" y="1384"/>
                    <a:pt x="4931" y="1504"/>
                    <a:pt x="4922" y="1563"/>
                  </a:cubicBezTo>
                  <a:cubicBezTo>
                    <a:pt x="4917" y="1622"/>
                    <a:pt x="4846" y="1678"/>
                    <a:pt x="4780" y="1706"/>
                  </a:cubicBezTo>
                  <a:cubicBezTo>
                    <a:pt x="4712" y="1731"/>
                    <a:pt x="4580" y="1698"/>
                    <a:pt x="4491" y="1647"/>
                  </a:cubicBezTo>
                  <a:cubicBezTo>
                    <a:pt x="4407" y="1592"/>
                    <a:pt x="4299" y="1523"/>
                    <a:pt x="4256" y="1489"/>
                  </a:cubicBezTo>
                  <a:cubicBezTo>
                    <a:pt x="4214" y="1456"/>
                    <a:pt x="4168" y="1449"/>
                    <a:pt x="4152" y="1475"/>
                  </a:cubicBezTo>
                  <a:cubicBezTo>
                    <a:pt x="4139" y="1503"/>
                    <a:pt x="4128" y="1557"/>
                    <a:pt x="4123" y="1594"/>
                  </a:cubicBezTo>
                  <a:cubicBezTo>
                    <a:pt x="4123" y="1632"/>
                    <a:pt x="4048" y="1707"/>
                    <a:pt x="3957" y="1760"/>
                  </a:cubicBezTo>
                  <a:cubicBezTo>
                    <a:pt x="3861" y="1806"/>
                    <a:pt x="3648" y="1887"/>
                    <a:pt x="3467" y="1903"/>
                  </a:cubicBezTo>
                  <a:cubicBezTo>
                    <a:pt x="3291" y="1933"/>
                    <a:pt x="3004" y="2013"/>
                    <a:pt x="2829" y="2089"/>
                  </a:cubicBezTo>
                  <a:cubicBezTo>
                    <a:pt x="2659" y="2168"/>
                    <a:pt x="2484" y="2297"/>
                    <a:pt x="2427" y="2372"/>
                  </a:cubicBezTo>
                  <a:cubicBezTo>
                    <a:pt x="2382" y="2453"/>
                    <a:pt x="2336" y="2583"/>
                    <a:pt x="2351" y="2662"/>
                  </a:cubicBezTo>
                  <a:cubicBezTo>
                    <a:pt x="2355" y="2742"/>
                    <a:pt x="2397" y="2896"/>
                    <a:pt x="2461" y="2998"/>
                  </a:cubicBezTo>
                  <a:cubicBezTo>
                    <a:pt x="2516" y="3101"/>
                    <a:pt x="2575" y="3347"/>
                    <a:pt x="2590" y="3543"/>
                  </a:cubicBezTo>
                  <a:cubicBezTo>
                    <a:pt x="2609" y="3737"/>
                    <a:pt x="2646" y="4006"/>
                    <a:pt x="2674" y="4140"/>
                  </a:cubicBezTo>
                  <a:cubicBezTo>
                    <a:pt x="2705" y="4274"/>
                    <a:pt x="2767" y="4476"/>
                    <a:pt x="2810" y="4591"/>
                  </a:cubicBezTo>
                  <a:cubicBezTo>
                    <a:pt x="2858" y="4706"/>
                    <a:pt x="2854" y="4915"/>
                    <a:pt x="2810" y="5056"/>
                  </a:cubicBezTo>
                  <a:cubicBezTo>
                    <a:pt x="2766" y="5196"/>
                    <a:pt x="2627" y="5387"/>
                    <a:pt x="2489" y="5466"/>
                  </a:cubicBezTo>
                  <a:cubicBezTo>
                    <a:pt x="2368" y="5559"/>
                    <a:pt x="2188" y="5612"/>
                    <a:pt x="2121" y="5583"/>
                  </a:cubicBezTo>
                  <a:cubicBezTo>
                    <a:pt x="2048" y="5566"/>
                    <a:pt x="1978" y="5433"/>
                    <a:pt x="1968" y="5294"/>
                  </a:cubicBezTo>
                  <a:cubicBezTo>
                    <a:pt x="1953" y="5155"/>
                    <a:pt x="1871" y="4945"/>
                    <a:pt x="1778" y="4828"/>
                  </a:cubicBezTo>
                  <a:cubicBezTo>
                    <a:pt x="1684" y="4710"/>
                    <a:pt x="1577" y="4534"/>
                    <a:pt x="1553" y="4433"/>
                  </a:cubicBezTo>
                  <a:cubicBezTo>
                    <a:pt x="1524" y="4333"/>
                    <a:pt x="1548" y="4193"/>
                    <a:pt x="1619" y="4126"/>
                  </a:cubicBezTo>
                  <a:cubicBezTo>
                    <a:pt x="1684" y="4054"/>
                    <a:pt x="1741" y="3953"/>
                    <a:pt x="1745" y="3899"/>
                  </a:cubicBezTo>
                  <a:cubicBezTo>
                    <a:pt x="1741" y="3844"/>
                    <a:pt x="1855" y="3659"/>
                    <a:pt x="1994" y="3493"/>
                  </a:cubicBezTo>
                  <a:cubicBezTo>
                    <a:pt x="2129" y="3325"/>
                    <a:pt x="2228" y="3061"/>
                    <a:pt x="2218" y="2908"/>
                  </a:cubicBezTo>
                  <a:cubicBezTo>
                    <a:pt x="2208" y="2755"/>
                    <a:pt x="2148" y="2544"/>
                    <a:pt x="2092" y="2440"/>
                  </a:cubicBezTo>
                  <a:cubicBezTo>
                    <a:pt x="2036" y="2335"/>
                    <a:pt x="1988" y="2213"/>
                    <a:pt x="1994" y="2168"/>
                  </a:cubicBezTo>
                  <a:cubicBezTo>
                    <a:pt x="1988" y="2124"/>
                    <a:pt x="1991" y="2038"/>
                    <a:pt x="1983" y="1978"/>
                  </a:cubicBezTo>
                  <a:cubicBezTo>
                    <a:pt x="1972" y="1919"/>
                    <a:pt x="1914" y="1819"/>
                    <a:pt x="1844" y="1761"/>
                  </a:cubicBezTo>
                  <a:cubicBezTo>
                    <a:pt x="1780" y="1698"/>
                    <a:pt x="1696" y="1580"/>
                    <a:pt x="1650" y="1500"/>
                  </a:cubicBezTo>
                  <a:cubicBezTo>
                    <a:pt x="1614" y="1417"/>
                    <a:pt x="1594" y="1299"/>
                    <a:pt x="1608" y="1233"/>
                  </a:cubicBezTo>
                  <a:cubicBezTo>
                    <a:pt x="1626" y="1168"/>
                    <a:pt x="1706" y="1078"/>
                    <a:pt x="1798" y="1039"/>
                  </a:cubicBezTo>
                  <a:cubicBezTo>
                    <a:pt x="1889" y="999"/>
                    <a:pt x="2043" y="956"/>
                    <a:pt x="2132" y="924"/>
                  </a:cubicBezTo>
                  <a:cubicBezTo>
                    <a:pt x="2228" y="909"/>
                    <a:pt x="2372" y="798"/>
                    <a:pt x="2444" y="684"/>
                  </a:cubicBezTo>
                  <a:cubicBezTo>
                    <a:pt x="2523" y="574"/>
                    <a:pt x="2546" y="481"/>
                    <a:pt x="2501" y="473"/>
                  </a:cubicBezTo>
                  <a:cubicBezTo>
                    <a:pt x="2455" y="473"/>
                    <a:pt x="2405" y="479"/>
                    <a:pt x="2386" y="494"/>
                  </a:cubicBezTo>
                  <a:cubicBezTo>
                    <a:pt x="2365" y="508"/>
                    <a:pt x="2195" y="600"/>
                    <a:pt x="1988" y="673"/>
                  </a:cubicBezTo>
                  <a:close/>
                  <a:moveTo>
                    <a:pt x="1988" y="67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0" name="AutoShape 1332"/>
            <p:cNvSpPr>
              <a:spLocks/>
            </p:cNvSpPr>
            <p:nvPr/>
          </p:nvSpPr>
          <p:spPr bwMode="auto">
            <a:xfrm>
              <a:off x="4127500" y="4889500"/>
              <a:ext cx="325438" cy="704850"/>
            </a:xfrm>
            <a:custGeom>
              <a:avLst/>
              <a:gdLst/>
              <a:ahLst/>
              <a:cxnLst/>
              <a:rect l="0" t="0" r="r" b="b"/>
              <a:pathLst>
                <a:path w="21572" h="21547">
                  <a:moveTo>
                    <a:pt x="759" y="4910"/>
                  </a:moveTo>
                  <a:cubicBezTo>
                    <a:pt x="823" y="4997"/>
                    <a:pt x="817" y="5137"/>
                    <a:pt x="773" y="5220"/>
                  </a:cubicBezTo>
                  <a:cubicBezTo>
                    <a:pt x="724" y="5303"/>
                    <a:pt x="671" y="5437"/>
                    <a:pt x="655" y="5516"/>
                  </a:cubicBezTo>
                  <a:cubicBezTo>
                    <a:pt x="642" y="5597"/>
                    <a:pt x="582" y="5685"/>
                    <a:pt x="536" y="5716"/>
                  </a:cubicBezTo>
                  <a:cubicBezTo>
                    <a:pt x="480" y="5742"/>
                    <a:pt x="411" y="5768"/>
                    <a:pt x="368" y="5768"/>
                  </a:cubicBezTo>
                  <a:cubicBezTo>
                    <a:pt x="324" y="5768"/>
                    <a:pt x="255" y="5847"/>
                    <a:pt x="218" y="5946"/>
                  </a:cubicBezTo>
                  <a:cubicBezTo>
                    <a:pt x="182" y="6044"/>
                    <a:pt x="177" y="6132"/>
                    <a:pt x="186" y="6148"/>
                  </a:cubicBezTo>
                  <a:cubicBezTo>
                    <a:pt x="212" y="6161"/>
                    <a:pt x="252" y="6239"/>
                    <a:pt x="289" y="6319"/>
                  </a:cubicBezTo>
                  <a:cubicBezTo>
                    <a:pt x="331" y="6397"/>
                    <a:pt x="366" y="6527"/>
                    <a:pt x="395" y="6603"/>
                  </a:cubicBezTo>
                  <a:cubicBezTo>
                    <a:pt x="419" y="6681"/>
                    <a:pt x="529" y="6816"/>
                    <a:pt x="632" y="6905"/>
                  </a:cubicBezTo>
                  <a:cubicBezTo>
                    <a:pt x="734" y="6994"/>
                    <a:pt x="855" y="7070"/>
                    <a:pt x="886" y="7064"/>
                  </a:cubicBezTo>
                  <a:cubicBezTo>
                    <a:pt x="919" y="7068"/>
                    <a:pt x="977" y="7050"/>
                    <a:pt x="1022" y="7039"/>
                  </a:cubicBezTo>
                  <a:cubicBezTo>
                    <a:pt x="1064" y="7026"/>
                    <a:pt x="1129" y="7039"/>
                    <a:pt x="1152" y="7072"/>
                  </a:cubicBezTo>
                  <a:cubicBezTo>
                    <a:pt x="1186" y="7104"/>
                    <a:pt x="1228" y="7193"/>
                    <a:pt x="1257" y="7267"/>
                  </a:cubicBezTo>
                  <a:cubicBezTo>
                    <a:pt x="1291" y="7342"/>
                    <a:pt x="1269" y="7439"/>
                    <a:pt x="1223" y="7481"/>
                  </a:cubicBezTo>
                  <a:cubicBezTo>
                    <a:pt x="1178" y="7523"/>
                    <a:pt x="1141" y="7582"/>
                    <a:pt x="1147" y="7611"/>
                  </a:cubicBezTo>
                  <a:cubicBezTo>
                    <a:pt x="1141" y="7640"/>
                    <a:pt x="1202" y="7704"/>
                    <a:pt x="1270" y="7750"/>
                  </a:cubicBezTo>
                  <a:cubicBezTo>
                    <a:pt x="1334" y="7798"/>
                    <a:pt x="1408" y="7914"/>
                    <a:pt x="1422" y="8007"/>
                  </a:cubicBezTo>
                  <a:cubicBezTo>
                    <a:pt x="1446" y="8101"/>
                    <a:pt x="1421" y="8203"/>
                    <a:pt x="1365" y="8229"/>
                  </a:cubicBezTo>
                  <a:cubicBezTo>
                    <a:pt x="1318" y="8260"/>
                    <a:pt x="1255" y="8319"/>
                    <a:pt x="1224" y="8365"/>
                  </a:cubicBezTo>
                  <a:cubicBezTo>
                    <a:pt x="1205" y="8412"/>
                    <a:pt x="1201" y="8467"/>
                    <a:pt x="1247" y="8473"/>
                  </a:cubicBezTo>
                  <a:cubicBezTo>
                    <a:pt x="1286" y="8487"/>
                    <a:pt x="1361" y="8550"/>
                    <a:pt x="1408" y="8615"/>
                  </a:cubicBezTo>
                  <a:cubicBezTo>
                    <a:pt x="1464" y="8678"/>
                    <a:pt x="1512" y="8824"/>
                    <a:pt x="1524" y="8936"/>
                  </a:cubicBezTo>
                  <a:cubicBezTo>
                    <a:pt x="1530" y="9048"/>
                    <a:pt x="1581" y="9268"/>
                    <a:pt x="1629" y="9425"/>
                  </a:cubicBezTo>
                  <a:cubicBezTo>
                    <a:pt x="1671" y="9580"/>
                    <a:pt x="1666" y="9749"/>
                    <a:pt x="1619" y="9799"/>
                  </a:cubicBezTo>
                  <a:cubicBezTo>
                    <a:pt x="1571" y="9848"/>
                    <a:pt x="1523" y="9926"/>
                    <a:pt x="1529" y="9973"/>
                  </a:cubicBezTo>
                  <a:cubicBezTo>
                    <a:pt x="1522" y="10019"/>
                    <a:pt x="1585" y="10105"/>
                    <a:pt x="1650" y="10165"/>
                  </a:cubicBezTo>
                  <a:cubicBezTo>
                    <a:pt x="1721" y="10224"/>
                    <a:pt x="1827" y="10252"/>
                    <a:pt x="1908" y="10240"/>
                  </a:cubicBezTo>
                  <a:cubicBezTo>
                    <a:pt x="1984" y="10222"/>
                    <a:pt x="2038" y="10235"/>
                    <a:pt x="2038" y="10272"/>
                  </a:cubicBezTo>
                  <a:cubicBezTo>
                    <a:pt x="2030" y="10309"/>
                    <a:pt x="2082" y="10380"/>
                    <a:pt x="2138" y="10432"/>
                  </a:cubicBezTo>
                  <a:cubicBezTo>
                    <a:pt x="2190" y="10486"/>
                    <a:pt x="2282" y="10528"/>
                    <a:pt x="2328" y="10528"/>
                  </a:cubicBezTo>
                  <a:cubicBezTo>
                    <a:pt x="2374" y="10528"/>
                    <a:pt x="2422" y="10554"/>
                    <a:pt x="2436" y="10585"/>
                  </a:cubicBezTo>
                  <a:cubicBezTo>
                    <a:pt x="2442" y="10618"/>
                    <a:pt x="2428" y="10676"/>
                    <a:pt x="2392" y="10715"/>
                  </a:cubicBezTo>
                  <a:cubicBezTo>
                    <a:pt x="2346" y="10751"/>
                    <a:pt x="2316" y="10844"/>
                    <a:pt x="2287" y="10915"/>
                  </a:cubicBezTo>
                  <a:cubicBezTo>
                    <a:pt x="2270" y="10986"/>
                    <a:pt x="2131" y="11134"/>
                    <a:pt x="1994" y="11244"/>
                  </a:cubicBezTo>
                  <a:cubicBezTo>
                    <a:pt x="1841" y="11350"/>
                    <a:pt x="1724" y="11499"/>
                    <a:pt x="1692" y="11564"/>
                  </a:cubicBezTo>
                  <a:cubicBezTo>
                    <a:pt x="1667" y="11629"/>
                    <a:pt x="1557" y="11748"/>
                    <a:pt x="1454" y="11827"/>
                  </a:cubicBezTo>
                  <a:cubicBezTo>
                    <a:pt x="1354" y="11908"/>
                    <a:pt x="1137" y="11988"/>
                    <a:pt x="976" y="11994"/>
                  </a:cubicBezTo>
                  <a:cubicBezTo>
                    <a:pt x="818" y="12011"/>
                    <a:pt x="591" y="12064"/>
                    <a:pt x="487" y="12125"/>
                  </a:cubicBezTo>
                  <a:cubicBezTo>
                    <a:pt x="365" y="12179"/>
                    <a:pt x="217" y="12337"/>
                    <a:pt x="136" y="12464"/>
                  </a:cubicBezTo>
                  <a:cubicBezTo>
                    <a:pt x="52" y="12590"/>
                    <a:pt x="-10" y="12780"/>
                    <a:pt x="2" y="12886"/>
                  </a:cubicBezTo>
                  <a:cubicBezTo>
                    <a:pt x="2" y="12993"/>
                    <a:pt x="24" y="13128"/>
                    <a:pt x="17" y="13186"/>
                  </a:cubicBezTo>
                  <a:cubicBezTo>
                    <a:pt x="17" y="13244"/>
                    <a:pt x="124" y="13331"/>
                    <a:pt x="262" y="13379"/>
                  </a:cubicBezTo>
                  <a:cubicBezTo>
                    <a:pt x="396" y="13430"/>
                    <a:pt x="648" y="13538"/>
                    <a:pt x="813" y="13625"/>
                  </a:cubicBezTo>
                  <a:cubicBezTo>
                    <a:pt x="972" y="13715"/>
                    <a:pt x="1298" y="13879"/>
                    <a:pt x="1526" y="13993"/>
                  </a:cubicBezTo>
                  <a:cubicBezTo>
                    <a:pt x="1763" y="14102"/>
                    <a:pt x="2003" y="14211"/>
                    <a:pt x="2083" y="14217"/>
                  </a:cubicBezTo>
                  <a:cubicBezTo>
                    <a:pt x="2162" y="14229"/>
                    <a:pt x="2338" y="14306"/>
                    <a:pt x="2462" y="14397"/>
                  </a:cubicBezTo>
                  <a:cubicBezTo>
                    <a:pt x="2592" y="14488"/>
                    <a:pt x="2692" y="14601"/>
                    <a:pt x="2692" y="14647"/>
                  </a:cubicBezTo>
                  <a:cubicBezTo>
                    <a:pt x="2685" y="14694"/>
                    <a:pt x="2718" y="14768"/>
                    <a:pt x="2741" y="14813"/>
                  </a:cubicBezTo>
                  <a:cubicBezTo>
                    <a:pt x="2772" y="14857"/>
                    <a:pt x="2912" y="14911"/>
                    <a:pt x="3054" y="14933"/>
                  </a:cubicBezTo>
                  <a:cubicBezTo>
                    <a:pt x="3195" y="14956"/>
                    <a:pt x="3459" y="15028"/>
                    <a:pt x="3630" y="15101"/>
                  </a:cubicBezTo>
                  <a:cubicBezTo>
                    <a:pt x="3799" y="15176"/>
                    <a:pt x="4004" y="15256"/>
                    <a:pt x="4063" y="15290"/>
                  </a:cubicBezTo>
                  <a:cubicBezTo>
                    <a:pt x="4123" y="15323"/>
                    <a:pt x="4301" y="15381"/>
                    <a:pt x="4458" y="15417"/>
                  </a:cubicBezTo>
                  <a:cubicBezTo>
                    <a:pt x="4608" y="15458"/>
                    <a:pt x="4762" y="15454"/>
                    <a:pt x="4823" y="15429"/>
                  </a:cubicBezTo>
                  <a:cubicBezTo>
                    <a:pt x="4869" y="15399"/>
                    <a:pt x="4895" y="15316"/>
                    <a:pt x="4863" y="15249"/>
                  </a:cubicBezTo>
                  <a:cubicBezTo>
                    <a:pt x="4845" y="15179"/>
                    <a:pt x="4862" y="15098"/>
                    <a:pt x="4921" y="15067"/>
                  </a:cubicBezTo>
                  <a:cubicBezTo>
                    <a:pt x="4983" y="15039"/>
                    <a:pt x="5050" y="15016"/>
                    <a:pt x="5083" y="15016"/>
                  </a:cubicBezTo>
                  <a:cubicBezTo>
                    <a:pt x="5113" y="15023"/>
                    <a:pt x="5265" y="15063"/>
                    <a:pt x="5415" y="15111"/>
                  </a:cubicBezTo>
                  <a:cubicBezTo>
                    <a:pt x="5563" y="15160"/>
                    <a:pt x="5746" y="15231"/>
                    <a:pt x="5836" y="15262"/>
                  </a:cubicBezTo>
                  <a:cubicBezTo>
                    <a:pt x="5919" y="15298"/>
                    <a:pt x="6008" y="15364"/>
                    <a:pt x="6043" y="15409"/>
                  </a:cubicBezTo>
                  <a:cubicBezTo>
                    <a:pt x="6073" y="15454"/>
                    <a:pt x="6165" y="15513"/>
                    <a:pt x="6231" y="15546"/>
                  </a:cubicBezTo>
                  <a:cubicBezTo>
                    <a:pt x="6296" y="15581"/>
                    <a:pt x="6370" y="15607"/>
                    <a:pt x="6382" y="15612"/>
                  </a:cubicBezTo>
                  <a:cubicBezTo>
                    <a:pt x="6389" y="15620"/>
                    <a:pt x="6430" y="15625"/>
                    <a:pt x="6464" y="15625"/>
                  </a:cubicBezTo>
                  <a:cubicBezTo>
                    <a:pt x="6497" y="15625"/>
                    <a:pt x="6582" y="15661"/>
                    <a:pt x="6642" y="15706"/>
                  </a:cubicBezTo>
                  <a:cubicBezTo>
                    <a:pt x="6720" y="15745"/>
                    <a:pt x="6908" y="15820"/>
                    <a:pt x="7086" y="15865"/>
                  </a:cubicBezTo>
                  <a:cubicBezTo>
                    <a:pt x="7271" y="15905"/>
                    <a:pt x="7504" y="15966"/>
                    <a:pt x="7614" y="15994"/>
                  </a:cubicBezTo>
                  <a:cubicBezTo>
                    <a:pt x="7722" y="16023"/>
                    <a:pt x="7854" y="16072"/>
                    <a:pt x="7885" y="16112"/>
                  </a:cubicBezTo>
                  <a:cubicBezTo>
                    <a:pt x="7926" y="16150"/>
                    <a:pt x="8068" y="16266"/>
                    <a:pt x="8210" y="16369"/>
                  </a:cubicBezTo>
                  <a:cubicBezTo>
                    <a:pt x="8348" y="16475"/>
                    <a:pt x="8501" y="16608"/>
                    <a:pt x="8519" y="16671"/>
                  </a:cubicBezTo>
                  <a:cubicBezTo>
                    <a:pt x="8555" y="16733"/>
                    <a:pt x="8668" y="16874"/>
                    <a:pt x="8771" y="16986"/>
                  </a:cubicBezTo>
                  <a:cubicBezTo>
                    <a:pt x="8888" y="17093"/>
                    <a:pt x="9022" y="17190"/>
                    <a:pt x="9085" y="17196"/>
                  </a:cubicBezTo>
                  <a:cubicBezTo>
                    <a:pt x="9148" y="17202"/>
                    <a:pt x="9403" y="17264"/>
                    <a:pt x="9646" y="17341"/>
                  </a:cubicBezTo>
                  <a:cubicBezTo>
                    <a:pt x="9892" y="17415"/>
                    <a:pt x="10203" y="17562"/>
                    <a:pt x="10326" y="17670"/>
                  </a:cubicBezTo>
                  <a:cubicBezTo>
                    <a:pt x="10463" y="17775"/>
                    <a:pt x="10572" y="17929"/>
                    <a:pt x="10596" y="18007"/>
                  </a:cubicBezTo>
                  <a:cubicBezTo>
                    <a:pt x="10609" y="18085"/>
                    <a:pt x="10663" y="18157"/>
                    <a:pt x="10701" y="18167"/>
                  </a:cubicBezTo>
                  <a:cubicBezTo>
                    <a:pt x="10735" y="18180"/>
                    <a:pt x="10841" y="18215"/>
                    <a:pt x="10932" y="18248"/>
                  </a:cubicBezTo>
                  <a:cubicBezTo>
                    <a:pt x="11024" y="18279"/>
                    <a:pt x="11148" y="18381"/>
                    <a:pt x="11217" y="18468"/>
                  </a:cubicBezTo>
                  <a:cubicBezTo>
                    <a:pt x="11289" y="18555"/>
                    <a:pt x="11327" y="18652"/>
                    <a:pt x="11303" y="18682"/>
                  </a:cubicBezTo>
                  <a:cubicBezTo>
                    <a:pt x="11285" y="18713"/>
                    <a:pt x="11289" y="18779"/>
                    <a:pt x="11341" y="18827"/>
                  </a:cubicBezTo>
                  <a:cubicBezTo>
                    <a:pt x="11378" y="18878"/>
                    <a:pt x="11497" y="18950"/>
                    <a:pt x="11602" y="18982"/>
                  </a:cubicBezTo>
                  <a:cubicBezTo>
                    <a:pt x="11702" y="19017"/>
                    <a:pt x="11865" y="19040"/>
                    <a:pt x="11963" y="19034"/>
                  </a:cubicBezTo>
                  <a:cubicBezTo>
                    <a:pt x="12061" y="19028"/>
                    <a:pt x="12214" y="19041"/>
                    <a:pt x="12305" y="19063"/>
                  </a:cubicBezTo>
                  <a:cubicBezTo>
                    <a:pt x="12388" y="19091"/>
                    <a:pt x="12569" y="19108"/>
                    <a:pt x="12689" y="19120"/>
                  </a:cubicBezTo>
                  <a:cubicBezTo>
                    <a:pt x="12809" y="19130"/>
                    <a:pt x="12941" y="19117"/>
                    <a:pt x="12984" y="19095"/>
                  </a:cubicBezTo>
                  <a:cubicBezTo>
                    <a:pt x="13029" y="19071"/>
                    <a:pt x="13179" y="19025"/>
                    <a:pt x="13322" y="18991"/>
                  </a:cubicBezTo>
                  <a:cubicBezTo>
                    <a:pt x="13457" y="18952"/>
                    <a:pt x="13704" y="18953"/>
                    <a:pt x="13844" y="18985"/>
                  </a:cubicBezTo>
                  <a:cubicBezTo>
                    <a:pt x="13988" y="19015"/>
                    <a:pt x="14207" y="19083"/>
                    <a:pt x="14344" y="19129"/>
                  </a:cubicBezTo>
                  <a:cubicBezTo>
                    <a:pt x="14476" y="19178"/>
                    <a:pt x="14710" y="19185"/>
                    <a:pt x="14876" y="19157"/>
                  </a:cubicBezTo>
                  <a:cubicBezTo>
                    <a:pt x="15033" y="19119"/>
                    <a:pt x="15243" y="19104"/>
                    <a:pt x="15337" y="19110"/>
                  </a:cubicBezTo>
                  <a:cubicBezTo>
                    <a:pt x="15430" y="19116"/>
                    <a:pt x="15543" y="19161"/>
                    <a:pt x="15600" y="19202"/>
                  </a:cubicBezTo>
                  <a:cubicBezTo>
                    <a:pt x="15646" y="19246"/>
                    <a:pt x="15742" y="19279"/>
                    <a:pt x="15801" y="19284"/>
                  </a:cubicBezTo>
                  <a:cubicBezTo>
                    <a:pt x="15859" y="19290"/>
                    <a:pt x="16004" y="19331"/>
                    <a:pt x="16136" y="19374"/>
                  </a:cubicBezTo>
                  <a:cubicBezTo>
                    <a:pt x="16258" y="19422"/>
                    <a:pt x="16412" y="19502"/>
                    <a:pt x="16485" y="19551"/>
                  </a:cubicBezTo>
                  <a:cubicBezTo>
                    <a:pt x="16548" y="19602"/>
                    <a:pt x="16679" y="19625"/>
                    <a:pt x="16776" y="19619"/>
                  </a:cubicBezTo>
                  <a:cubicBezTo>
                    <a:pt x="16871" y="19607"/>
                    <a:pt x="16968" y="19634"/>
                    <a:pt x="16987" y="19680"/>
                  </a:cubicBezTo>
                  <a:cubicBezTo>
                    <a:pt x="17017" y="19726"/>
                    <a:pt x="16841" y="20037"/>
                    <a:pt x="16621" y="20370"/>
                  </a:cubicBezTo>
                  <a:cubicBezTo>
                    <a:pt x="16402" y="20701"/>
                    <a:pt x="16249" y="21006"/>
                    <a:pt x="16284" y="21049"/>
                  </a:cubicBezTo>
                  <a:cubicBezTo>
                    <a:pt x="16316" y="21091"/>
                    <a:pt x="16432" y="21132"/>
                    <a:pt x="16544" y="21132"/>
                  </a:cubicBezTo>
                  <a:cubicBezTo>
                    <a:pt x="16654" y="21143"/>
                    <a:pt x="16853" y="21143"/>
                    <a:pt x="16981" y="21149"/>
                  </a:cubicBezTo>
                  <a:cubicBezTo>
                    <a:pt x="17109" y="21149"/>
                    <a:pt x="17291" y="21210"/>
                    <a:pt x="17388" y="21271"/>
                  </a:cubicBezTo>
                  <a:cubicBezTo>
                    <a:pt x="17491" y="21331"/>
                    <a:pt x="17603" y="21446"/>
                    <a:pt x="17652" y="21520"/>
                  </a:cubicBezTo>
                  <a:cubicBezTo>
                    <a:pt x="17700" y="21593"/>
                    <a:pt x="17746" y="21511"/>
                    <a:pt x="17790" y="21337"/>
                  </a:cubicBezTo>
                  <a:cubicBezTo>
                    <a:pt x="17815" y="21163"/>
                    <a:pt x="17901" y="20475"/>
                    <a:pt x="17981" y="19807"/>
                  </a:cubicBezTo>
                  <a:cubicBezTo>
                    <a:pt x="18060" y="19134"/>
                    <a:pt x="18130" y="18540"/>
                    <a:pt x="18118" y="18490"/>
                  </a:cubicBezTo>
                  <a:cubicBezTo>
                    <a:pt x="18112" y="18438"/>
                    <a:pt x="18078" y="18305"/>
                    <a:pt x="18053" y="18191"/>
                  </a:cubicBezTo>
                  <a:cubicBezTo>
                    <a:pt x="18028" y="18077"/>
                    <a:pt x="17868" y="17856"/>
                    <a:pt x="17697" y="17699"/>
                  </a:cubicBezTo>
                  <a:cubicBezTo>
                    <a:pt x="17527" y="17541"/>
                    <a:pt x="17209" y="17318"/>
                    <a:pt x="16981" y="17207"/>
                  </a:cubicBezTo>
                  <a:cubicBezTo>
                    <a:pt x="16757" y="17092"/>
                    <a:pt x="16478" y="16933"/>
                    <a:pt x="16373" y="16848"/>
                  </a:cubicBezTo>
                  <a:cubicBezTo>
                    <a:pt x="16265" y="16764"/>
                    <a:pt x="16101" y="16546"/>
                    <a:pt x="16051" y="16357"/>
                  </a:cubicBezTo>
                  <a:cubicBezTo>
                    <a:pt x="15984" y="16170"/>
                    <a:pt x="16201" y="15975"/>
                    <a:pt x="16531" y="15925"/>
                  </a:cubicBezTo>
                  <a:cubicBezTo>
                    <a:pt x="16858" y="15871"/>
                    <a:pt x="17250" y="15885"/>
                    <a:pt x="17387" y="15950"/>
                  </a:cubicBezTo>
                  <a:cubicBezTo>
                    <a:pt x="17526" y="16014"/>
                    <a:pt x="17651" y="16022"/>
                    <a:pt x="17663" y="15967"/>
                  </a:cubicBezTo>
                  <a:cubicBezTo>
                    <a:pt x="17676" y="15913"/>
                    <a:pt x="17623" y="15831"/>
                    <a:pt x="17553" y="15784"/>
                  </a:cubicBezTo>
                  <a:cubicBezTo>
                    <a:pt x="17476" y="15738"/>
                    <a:pt x="17464" y="15670"/>
                    <a:pt x="17506" y="15631"/>
                  </a:cubicBezTo>
                  <a:cubicBezTo>
                    <a:pt x="17548" y="15592"/>
                    <a:pt x="17502" y="15485"/>
                    <a:pt x="17409" y="15386"/>
                  </a:cubicBezTo>
                  <a:cubicBezTo>
                    <a:pt x="17309" y="15289"/>
                    <a:pt x="17054" y="15170"/>
                    <a:pt x="16845" y="15119"/>
                  </a:cubicBezTo>
                  <a:cubicBezTo>
                    <a:pt x="16636" y="15067"/>
                    <a:pt x="16403" y="14958"/>
                    <a:pt x="16336" y="14873"/>
                  </a:cubicBezTo>
                  <a:cubicBezTo>
                    <a:pt x="16268" y="14787"/>
                    <a:pt x="16208" y="14629"/>
                    <a:pt x="16219" y="14521"/>
                  </a:cubicBezTo>
                  <a:cubicBezTo>
                    <a:pt x="16226" y="14412"/>
                    <a:pt x="16720" y="14349"/>
                    <a:pt x="17314" y="14400"/>
                  </a:cubicBezTo>
                  <a:cubicBezTo>
                    <a:pt x="17914" y="14445"/>
                    <a:pt x="18455" y="14443"/>
                    <a:pt x="18507" y="14401"/>
                  </a:cubicBezTo>
                  <a:cubicBezTo>
                    <a:pt x="18567" y="14359"/>
                    <a:pt x="18690" y="14331"/>
                    <a:pt x="18795" y="14337"/>
                  </a:cubicBezTo>
                  <a:cubicBezTo>
                    <a:pt x="18899" y="14348"/>
                    <a:pt x="19042" y="14382"/>
                    <a:pt x="19107" y="14422"/>
                  </a:cubicBezTo>
                  <a:cubicBezTo>
                    <a:pt x="19175" y="14461"/>
                    <a:pt x="19286" y="14494"/>
                    <a:pt x="19353" y="14489"/>
                  </a:cubicBezTo>
                  <a:cubicBezTo>
                    <a:pt x="19420" y="14483"/>
                    <a:pt x="19544" y="14428"/>
                    <a:pt x="19635" y="14362"/>
                  </a:cubicBezTo>
                  <a:cubicBezTo>
                    <a:pt x="19725" y="14296"/>
                    <a:pt x="19911" y="14230"/>
                    <a:pt x="20053" y="14214"/>
                  </a:cubicBezTo>
                  <a:cubicBezTo>
                    <a:pt x="20197" y="14202"/>
                    <a:pt x="20355" y="14231"/>
                    <a:pt x="20391" y="14288"/>
                  </a:cubicBezTo>
                  <a:cubicBezTo>
                    <a:pt x="20434" y="14344"/>
                    <a:pt x="20559" y="14451"/>
                    <a:pt x="20666" y="14528"/>
                  </a:cubicBezTo>
                  <a:cubicBezTo>
                    <a:pt x="20775" y="14605"/>
                    <a:pt x="20894" y="14732"/>
                    <a:pt x="20936" y="14809"/>
                  </a:cubicBezTo>
                  <a:cubicBezTo>
                    <a:pt x="20983" y="14886"/>
                    <a:pt x="21039" y="15028"/>
                    <a:pt x="21045" y="15124"/>
                  </a:cubicBezTo>
                  <a:cubicBezTo>
                    <a:pt x="21063" y="15219"/>
                    <a:pt x="21201" y="15296"/>
                    <a:pt x="21349" y="15296"/>
                  </a:cubicBezTo>
                  <a:cubicBezTo>
                    <a:pt x="21497" y="15301"/>
                    <a:pt x="21590" y="15240"/>
                    <a:pt x="21570" y="15173"/>
                  </a:cubicBezTo>
                  <a:cubicBezTo>
                    <a:pt x="21546" y="15106"/>
                    <a:pt x="21394" y="14901"/>
                    <a:pt x="21245" y="14718"/>
                  </a:cubicBezTo>
                  <a:cubicBezTo>
                    <a:pt x="21090" y="14535"/>
                    <a:pt x="20907" y="14306"/>
                    <a:pt x="20816" y="14216"/>
                  </a:cubicBezTo>
                  <a:cubicBezTo>
                    <a:pt x="20738" y="14122"/>
                    <a:pt x="20682" y="14018"/>
                    <a:pt x="20700" y="13980"/>
                  </a:cubicBezTo>
                  <a:cubicBezTo>
                    <a:pt x="20724" y="13943"/>
                    <a:pt x="20676" y="13853"/>
                    <a:pt x="20602" y="13780"/>
                  </a:cubicBezTo>
                  <a:cubicBezTo>
                    <a:pt x="20529" y="13706"/>
                    <a:pt x="20418" y="13629"/>
                    <a:pt x="20363" y="13603"/>
                  </a:cubicBezTo>
                  <a:cubicBezTo>
                    <a:pt x="20301" y="13582"/>
                    <a:pt x="20231" y="13513"/>
                    <a:pt x="20191" y="13457"/>
                  </a:cubicBezTo>
                  <a:cubicBezTo>
                    <a:pt x="20165" y="13398"/>
                    <a:pt x="20100" y="13339"/>
                    <a:pt x="20075" y="13320"/>
                  </a:cubicBezTo>
                  <a:cubicBezTo>
                    <a:pt x="20053" y="13300"/>
                    <a:pt x="19990" y="13306"/>
                    <a:pt x="19939" y="13326"/>
                  </a:cubicBezTo>
                  <a:cubicBezTo>
                    <a:pt x="19889" y="13347"/>
                    <a:pt x="19802" y="13352"/>
                    <a:pt x="19741" y="13335"/>
                  </a:cubicBezTo>
                  <a:cubicBezTo>
                    <a:pt x="19674" y="13323"/>
                    <a:pt x="19601" y="13264"/>
                    <a:pt x="19578" y="13212"/>
                  </a:cubicBezTo>
                  <a:cubicBezTo>
                    <a:pt x="19551" y="13160"/>
                    <a:pt x="19637" y="12960"/>
                    <a:pt x="19763" y="12766"/>
                  </a:cubicBezTo>
                  <a:cubicBezTo>
                    <a:pt x="19889" y="12571"/>
                    <a:pt x="19869" y="12254"/>
                    <a:pt x="19709" y="12060"/>
                  </a:cubicBezTo>
                  <a:cubicBezTo>
                    <a:pt x="19557" y="11864"/>
                    <a:pt x="19397" y="11673"/>
                    <a:pt x="19397" y="11632"/>
                  </a:cubicBezTo>
                  <a:cubicBezTo>
                    <a:pt x="19385" y="11592"/>
                    <a:pt x="19321" y="11508"/>
                    <a:pt x="19244" y="11449"/>
                  </a:cubicBezTo>
                  <a:cubicBezTo>
                    <a:pt x="19184" y="11388"/>
                    <a:pt x="19096" y="11251"/>
                    <a:pt x="19066" y="11139"/>
                  </a:cubicBezTo>
                  <a:cubicBezTo>
                    <a:pt x="19041" y="11028"/>
                    <a:pt x="19034" y="10868"/>
                    <a:pt x="19057" y="10782"/>
                  </a:cubicBezTo>
                  <a:cubicBezTo>
                    <a:pt x="19082" y="10696"/>
                    <a:pt x="19079" y="10589"/>
                    <a:pt x="19061" y="10542"/>
                  </a:cubicBezTo>
                  <a:cubicBezTo>
                    <a:pt x="19033" y="10497"/>
                    <a:pt x="18977" y="10353"/>
                    <a:pt x="18918" y="10225"/>
                  </a:cubicBezTo>
                  <a:cubicBezTo>
                    <a:pt x="18869" y="10096"/>
                    <a:pt x="18854" y="9955"/>
                    <a:pt x="18907" y="9912"/>
                  </a:cubicBezTo>
                  <a:cubicBezTo>
                    <a:pt x="18961" y="9867"/>
                    <a:pt x="19101" y="9814"/>
                    <a:pt x="19226" y="9797"/>
                  </a:cubicBezTo>
                  <a:cubicBezTo>
                    <a:pt x="19348" y="9775"/>
                    <a:pt x="19481" y="9732"/>
                    <a:pt x="19504" y="9690"/>
                  </a:cubicBezTo>
                  <a:cubicBezTo>
                    <a:pt x="19537" y="9649"/>
                    <a:pt x="19542" y="9563"/>
                    <a:pt x="19530" y="9500"/>
                  </a:cubicBezTo>
                  <a:cubicBezTo>
                    <a:pt x="19524" y="9438"/>
                    <a:pt x="19528" y="9341"/>
                    <a:pt x="19567" y="9289"/>
                  </a:cubicBezTo>
                  <a:cubicBezTo>
                    <a:pt x="19601" y="9235"/>
                    <a:pt x="19588" y="9076"/>
                    <a:pt x="19516" y="8937"/>
                  </a:cubicBezTo>
                  <a:cubicBezTo>
                    <a:pt x="19456" y="8798"/>
                    <a:pt x="19331" y="8655"/>
                    <a:pt x="19235" y="8622"/>
                  </a:cubicBezTo>
                  <a:cubicBezTo>
                    <a:pt x="19136" y="8590"/>
                    <a:pt x="18986" y="8554"/>
                    <a:pt x="18892" y="8554"/>
                  </a:cubicBezTo>
                  <a:cubicBezTo>
                    <a:pt x="18797" y="8554"/>
                    <a:pt x="18697" y="8562"/>
                    <a:pt x="18677" y="8581"/>
                  </a:cubicBezTo>
                  <a:cubicBezTo>
                    <a:pt x="18652" y="8599"/>
                    <a:pt x="18511" y="8599"/>
                    <a:pt x="18360" y="8582"/>
                  </a:cubicBezTo>
                  <a:cubicBezTo>
                    <a:pt x="18208" y="8564"/>
                    <a:pt x="17996" y="8546"/>
                    <a:pt x="17890" y="8541"/>
                  </a:cubicBezTo>
                  <a:cubicBezTo>
                    <a:pt x="17785" y="8530"/>
                    <a:pt x="17620" y="8559"/>
                    <a:pt x="17523" y="8588"/>
                  </a:cubicBezTo>
                  <a:cubicBezTo>
                    <a:pt x="17427" y="8618"/>
                    <a:pt x="17289" y="8622"/>
                    <a:pt x="17216" y="8591"/>
                  </a:cubicBezTo>
                  <a:cubicBezTo>
                    <a:pt x="17143" y="8560"/>
                    <a:pt x="16985" y="8517"/>
                    <a:pt x="16876" y="8486"/>
                  </a:cubicBezTo>
                  <a:cubicBezTo>
                    <a:pt x="16761" y="8459"/>
                    <a:pt x="16640" y="8445"/>
                    <a:pt x="16597" y="8450"/>
                  </a:cubicBezTo>
                  <a:cubicBezTo>
                    <a:pt x="16554" y="8450"/>
                    <a:pt x="16494" y="8442"/>
                    <a:pt x="16446" y="8420"/>
                  </a:cubicBezTo>
                  <a:cubicBezTo>
                    <a:pt x="16403" y="8396"/>
                    <a:pt x="16252" y="8386"/>
                    <a:pt x="16109" y="8398"/>
                  </a:cubicBezTo>
                  <a:cubicBezTo>
                    <a:pt x="15964" y="8404"/>
                    <a:pt x="15491" y="8183"/>
                    <a:pt x="15032" y="7900"/>
                  </a:cubicBezTo>
                  <a:cubicBezTo>
                    <a:pt x="14592" y="7613"/>
                    <a:pt x="14144" y="7354"/>
                    <a:pt x="14040" y="7324"/>
                  </a:cubicBezTo>
                  <a:cubicBezTo>
                    <a:pt x="13943" y="7289"/>
                    <a:pt x="13717" y="7243"/>
                    <a:pt x="13551" y="7209"/>
                  </a:cubicBezTo>
                  <a:cubicBezTo>
                    <a:pt x="13379" y="7180"/>
                    <a:pt x="13122" y="7158"/>
                    <a:pt x="12976" y="7169"/>
                  </a:cubicBezTo>
                  <a:cubicBezTo>
                    <a:pt x="12829" y="7175"/>
                    <a:pt x="12688" y="7203"/>
                    <a:pt x="12650" y="7221"/>
                  </a:cubicBezTo>
                  <a:cubicBezTo>
                    <a:pt x="12614" y="7239"/>
                    <a:pt x="12479" y="7232"/>
                    <a:pt x="12354" y="7196"/>
                  </a:cubicBezTo>
                  <a:cubicBezTo>
                    <a:pt x="12226" y="7162"/>
                    <a:pt x="12011" y="7124"/>
                    <a:pt x="11879" y="7118"/>
                  </a:cubicBezTo>
                  <a:cubicBezTo>
                    <a:pt x="11747" y="7108"/>
                    <a:pt x="11572" y="7117"/>
                    <a:pt x="11498" y="7143"/>
                  </a:cubicBezTo>
                  <a:cubicBezTo>
                    <a:pt x="11424" y="7170"/>
                    <a:pt x="11261" y="7155"/>
                    <a:pt x="11150" y="7112"/>
                  </a:cubicBezTo>
                  <a:cubicBezTo>
                    <a:pt x="11040" y="7068"/>
                    <a:pt x="10871" y="7024"/>
                    <a:pt x="10779" y="7012"/>
                  </a:cubicBezTo>
                  <a:cubicBezTo>
                    <a:pt x="10690" y="6997"/>
                    <a:pt x="10486" y="6949"/>
                    <a:pt x="10339" y="6895"/>
                  </a:cubicBezTo>
                  <a:cubicBezTo>
                    <a:pt x="10183" y="6849"/>
                    <a:pt x="9964" y="6743"/>
                    <a:pt x="9836" y="6670"/>
                  </a:cubicBezTo>
                  <a:cubicBezTo>
                    <a:pt x="9708" y="6599"/>
                    <a:pt x="9586" y="6498"/>
                    <a:pt x="9580" y="6447"/>
                  </a:cubicBezTo>
                  <a:cubicBezTo>
                    <a:pt x="9562" y="6397"/>
                    <a:pt x="9573" y="6324"/>
                    <a:pt x="9603" y="6286"/>
                  </a:cubicBezTo>
                  <a:cubicBezTo>
                    <a:pt x="9623" y="6247"/>
                    <a:pt x="9640" y="6176"/>
                    <a:pt x="9623" y="6128"/>
                  </a:cubicBezTo>
                  <a:cubicBezTo>
                    <a:pt x="9610" y="6080"/>
                    <a:pt x="9625" y="5981"/>
                    <a:pt x="9661" y="5909"/>
                  </a:cubicBezTo>
                  <a:cubicBezTo>
                    <a:pt x="9697" y="5836"/>
                    <a:pt x="9695" y="5722"/>
                    <a:pt x="9662" y="5655"/>
                  </a:cubicBezTo>
                  <a:cubicBezTo>
                    <a:pt x="9623" y="5587"/>
                    <a:pt x="9509" y="5452"/>
                    <a:pt x="9403" y="5354"/>
                  </a:cubicBezTo>
                  <a:cubicBezTo>
                    <a:pt x="9297" y="5256"/>
                    <a:pt x="9016" y="4959"/>
                    <a:pt x="8775" y="4696"/>
                  </a:cubicBezTo>
                  <a:cubicBezTo>
                    <a:pt x="8533" y="4434"/>
                    <a:pt x="8261" y="4222"/>
                    <a:pt x="8183" y="4204"/>
                  </a:cubicBezTo>
                  <a:cubicBezTo>
                    <a:pt x="8096" y="4199"/>
                    <a:pt x="7974" y="4194"/>
                    <a:pt x="7912" y="4194"/>
                  </a:cubicBezTo>
                  <a:cubicBezTo>
                    <a:pt x="7847" y="4194"/>
                    <a:pt x="7805" y="4169"/>
                    <a:pt x="7805" y="4134"/>
                  </a:cubicBezTo>
                  <a:cubicBezTo>
                    <a:pt x="7810" y="4100"/>
                    <a:pt x="7857" y="3982"/>
                    <a:pt x="7916" y="3872"/>
                  </a:cubicBezTo>
                  <a:cubicBezTo>
                    <a:pt x="7973" y="3763"/>
                    <a:pt x="8012" y="3580"/>
                    <a:pt x="8012" y="3465"/>
                  </a:cubicBezTo>
                  <a:cubicBezTo>
                    <a:pt x="8001" y="3350"/>
                    <a:pt x="7973" y="3204"/>
                    <a:pt x="7930" y="3142"/>
                  </a:cubicBezTo>
                  <a:cubicBezTo>
                    <a:pt x="7890" y="3080"/>
                    <a:pt x="7881" y="2973"/>
                    <a:pt x="7887" y="2904"/>
                  </a:cubicBezTo>
                  <a:cubicBezTo>
                    <a:pt x="7904" y="2834"/>
                    <a:pt x="8029" y="2654"/>
                    <a:pt x="8163" y="2502"/>
                  </a:cubicBezTo>
                  <a:cubicBezTo>
                    <a:pt x="8292" y="2350"/>
                    <a:pt x="8462" y="2188"/>
                    <a:pt x="8540" y="2146"/>
                  </a:cubicBezTo>
                  <a:cubicBezTo>
                    <a:pt x="8611" y="2101"/>
                    <a:pt x="8734" y="2003"/>
                    <a:pt x="8795" y="1924"/>
                  </a:cubicBezTo>
                  <a:cubicBezTo>
                    <a:pt x="8871" y="1848"/>
                    <a:pt x="8989" y="1773"/>
                    <a:pt x="9074" y="1762"/>
                  </a:cubicBezTo>
                  <a:cubicBezTo>
                    <a:pt x="9159" y="1751"/>
                    <a:pt x="9263" y="1710"/>
                    <a:pt x="9305" y="1671"/>
                  </a:cubicBezTo>
                  <a:cubicBezTo>
                    <a:pt x="9340" y="1632"/>
                    <a:pt x="9489" y="1474"/>
                    <a:pt x="9615" y="1316"/>
                  </a:cubicBezTo>
                  <a:cubicBezTo>
                    <a:pt x="9744" y="1159"/>
                    <a:pt x="10061" y="985"/>
                    <a:pt x="10311" y="923"/>
                  </a:cubicBezTo>
                  <a:cubicBezTo>
                    <a:pt x="10571" y="870"/>
                    <a:pt x="10786" y="803"/>
                    <a:pt x="10812" y="792"/>
                  </a:cubicBezTo>
                  <a:cubicBezTo>
                    <a:pt x="10837" y="781"/>
                    <a:pt x="10899" y="777"/>
                    <a:pt x="10957" y="777"/>
                  </a:cubicBezTo>
                  <a:cubicBezTo>
                    <a:pt x="11014" y="782"/>
                    <a:pt x="11073" y="775"/>
                    <a:pt x="11085" y="764"/>
                  </a:cubicBezTo>
                  <a:cubicBezTo>
                    <a:pt x="11097" y="752"/>
                    <a:pt x="11153" y="720"/>
                    <a:pt x="11209" y="692"/>
                  </a:cubicBezTo>
                  <a:cubicBezTo>
                    <a:pt x="11267" y="665"/>
                    <a:pt x="11335" y="608"/>
                    <a:pt x="11341" y="568"/>
                  </a:cubicBezTo>
                  <a:cubicBezTo>
                    <a:pt x="11359" y="528"/>
                    <a:pt x="11321" y="448"/>
                    <a:pt x="11252" y="392"/>
                  </a:cubicBezTo>
                  <a:cubicBezTo>
                    <a:pt x="11193" y="335"/>
                    <a:pt x="10968" y="230"/>
                    <a:pt x="10779" y="151"/>
                  </a:cubicBezTo>
                  <a:cubicBezTo>
                    <a:pt x="10578" y="79"/>
                    <a:pt x="10367" y="5"/>
                    <a:pt x="10292" y="2"/>
                  </a:cubicBezTo>
                  <a:cubicBezTo>
                    <a:pt x="10220" y="-7"/>
                    <a:pt x="10143" y="16"/>
                    <a:pt x="10117" y="46"/>
                  </a:cubicBezTo>
                  <a:cubicBezTo>
                    <a:pt x="10094" y="76"/>
                    <a:pt x="10072" y="127"/>
                    <a:pt x="10072" y="160"/>
                  </a:cubicBezTo>
                  <a:cubicBezTo>
                    <a:pt x="10072" y="193"/>
                    <a:pt x="10003" y="223"/>
                    <a:pt x="9928" y="229"/>
                  </a:cubicBezTo>
                  <a:cubicBezTo>
                    <a:pt x="9851" y="234"/>
                    <a:pt x="9767" y="258"/>
                    <a:pt x="9721" y="276"/>
                  </a:cubicBezTo>
                  <a:cubicBezTo>
                    <a:pt x="9689" y="299"/>
                    <a:pt x="9581" y="309"/>
                    <a:pt x="9497" y="295"/>
                  </a:cubicBezTo>
                  <a:cubicBezTo>
                    <a:pt x="9414" y="282"/>
                    <a:pt x="9284" y="287"/>
                    <a:pt x="9215" y="306"/>
                  </a:cubicBezTo>
                  <a:cubicBezTo>
                    <a:pt x="9147" y="326"/>
                    <a:pt x="9062" y="365"/>
                    <a:pt x="9023" y="395"/>
                  </a:cubicBezTo>
                  <a:cubicBezTo>
                    <a:pt x="8991" y="427"/>
                    <a:pt x="8998" y="482"/>
                    <a:pt x="9045" y="520"/>
                  </a:cubicBezTo>
                  <a:cubicBezTo>
                    <a:pt x="9096" y="557"/>
                    <a:pt x="9109" y="614"/>
                    <a:pt x="9081" y="646"/>
                  </a:cubicBezTo>
                  <a:cubicBezTo>
                    <a:pt x="9053" y="678"/>
                    <a:pt x="8934" y="742"/>
                    <a:pt x="8802" y="777"/>
                  </a:cubicBezTo>
                  <a:cubicBezTo>
                    <a:pt x="8681" y="820"/>
                    <a:pt x="8438" y="902"/>
                    <a:pt x="8278" y="970"/>
                  </a:cubicBezTo>
                  <a:cubicBezTo>
                    <a:pt x="8117" y="1037"/>
                    <a:pt x="7901" y="1138"/>
                    <a:pt x="7787" y="1187"/>
                  </a:cubicBezTo>
                  <a:cubicBezTo>
                    <a:pt x="7686" y="1243"/>
                    <a:pt x="7489" y="1298"/>
                    <a:pt x="7358" y="1309"/>
                  </a:cubicBezTo>
                  <a:cubicBezTo>
                    <a:pt x="7230" y="1326"/>
                    <a:pt x="7004" y="1332"/>
                    <a:pt x="6861" y="1338"/>
                  </a:cubicBezTo>
                  <a:cubicBezTo>
                    <a:pt x="6716" y="1332"/>
                    <a:pt x="6465" y="1326"/>
                    <a:pt x="6305" y="1304"/>
                  </a:cubicBezTo>
                  <a:cubicBezTo>
                    <a:pt x="6147" y="1281"/>
                    <a:pt x="5944" y="1298"/>
                    <a:pt x="5845" y="1328"/>
                  </a:cubicBezTo>
                  <a:cubicBezTo>
                    <a:pt x="5753" y="1362"/>
                    <a:pt x="5679" y="1424"/>
                    <a:pt x="5700" y="1466"/>
                  </a:cubicBezTo>
                  <a:cubicBezTo>
                    <a:pt x="5706" y="1510"/>
                    <a:pt x="5748" y="1592"/>
                    <a:pt x="5795" y="1648"/>
                  </a:cubicBezTo>
                  <a:cubicBezTo>
                    <a:pt x="5830" y="1706"/>
                    <a:pt x="5869" y="1796"/>
                    <a:pt x="5862" y="1851"/>
                  </a:cubicBezTo>
                  <a:cubicBezTo>
                    <a:pt x="5862" y="1906"/>
                    <a:pt x="5808" y="1989"/>
                    <a:pt x="5736" y="2031"/>
                  </a:cubicBezTo>
                  <a:cubicBezTo>
                    <a:pt x="5665" y="2073"/>
                    <a:pt x="5573" y="2098"/>
                    <a:pt x="5523" y="2080"/>
                  </a:cubicBezTo>
                  <a:cubicBezTo>
                    <a:pt x="5470" y="2064"/>
                    <a:pt x="5441" y="2004"/>
                    <a:pt x="5448" y="1950"/>
                  </a:cubicBezTo>
                  <a:cubicBezTo>
                    <a:pt x="5467" y="1895"/>
                    <a:pt x="5453" y="1836"/>
                    <a:pt x="5440" y="1818"/>
                  </a:cubicBezTo>
                  <a:cubicBezTo>
                    <a:pt x="5427" y="1799"/>
                    <a:pt x="5474" y="1775"/>
                    <a:pt x="5539" y="1759"/>
                  </a:cubicBezTo>
                  <a:cubicBezTo>
                    <a:pt x="5609" y="1748"/>
                    <a:pt x="5575" y="1726"/>
                    <a:pt x="5475" y="1710"/>
                  </a:cubicBezTo>
                  <a:cubicBezTo>
                    <a:pt x="5373" y="1698"/>
                    <a:pt x="5182" y="1654"/>
                    <a:pt x="5058" y="1609"/>
                  </a:cubicBezTo>
                  <a:cubicBezTo>
                    <a:pt x="4926" y="1568"/>
                    <a:pt x="4776" y="1528"/>
                    <a:pt x="4714" y="1528"/>
                  </a:cubicBezTo>
                  <a:cubicBezTo>
                    <a:pt x="4653" y="1534"/>
                    <a:pt x="4476" y="1578"/>
                    <a:pt x="4331" y="1642"/>
                  </a:cubicBezTo>
                  <a:cubicBezTo>
                    <a:pt x="4181" y="1703"/>
                    <a:pt x="4031" y="1791"/>
                    <a:pt x="4006" y="1838"/>
                  </a:cubicBezTo>
                  <a:cubicBezTo>
                    <a:pt x="3975" y="1884"/>
                    <a:pt x="3868" y="1989"/>
                    <a:pt x="3781" y="2075"/>
                  </a:cubicBezTo>
                  <a:cubicBezTo>
                    <a:pt x="3684" y="2158"/>
                    <a:pt x="3529" y="2365"/>
                    <a:pt x="3432" y="2534"/>
                  </a:cubicBezTo>
                  <a:cubicBezTo>
                    <a:pt x="3324" y="2700"/>
                    <a:pt x="3252" y="2878"/>
                    <a:pt x="3235" y="2926"/>
                  </a:cubicBezTo>
                  <a:cubicBezTo>
                    <a:pt x="3229" y="2975"/>
                    <a:pt x="3249" y="3007"/>
                    <a:pt x="3283" y="2997"/>
                  </a:cubicBezTo>
                  <a:cubicBezTo>
                    <a:pt x="3316" y="2985"/>
                    <a:pt x="3381" y="3001"/>
                    <a:pt x="3417" y="3030"/>
                  </a:cubicBezTo>
                  <a:cubicBezTo>
                    <a:pt x="3455" y="3060"/>
                    <a:pt x="3508" y="3131"/>
                    <a:pt x="3529" y="3189"/>
                  </a:cubicBezTo>
                  <a:cubicBezTo>
                    <a:pt x="3552" y="3246"/>
                    <a:pt x="3558" y="3344"/>
                    <a:pt x="3539" y="3405"/>
                  </a:cubicBezTo>
                  <a:cubicBezTo>
                    <a:pt x="3527" y="3466"/>
                    <a:pt x="3448" y="3528"/>
                    <a:pt x="3392" y="3553"/>
                  </a:cubicBezTo>
                  <a:cubicBezTo>
                    <a:pt x="3325" y="3572"/>
                    <a:pt x="3203" y="3597"/>
                    <a:pt x="3117" y="3592"/>
                  </a:cubicBezTo>
                  <a:cubicBezTo>
                    <a:pt x="3030" y="3592"/>
                    <a:pt x="2904" y="3609"/>
                    <a:pt x="2844" y="3634"/>
                  </a:cubicBezTo>
                  <a:cubicBezTo>
                    <a:pt x="2775" y="3653"/>
                    <a:pt x="2646" y="3742"/>
                    <a:pt x="2536" y="3822"/>
                  </a:cubicBezTo>
                  <a:cubicBezTo>
                    <a:pt x="2426" y="3900"/>
                    <a:pt x="2299" y="3977"/>
                    <a:pt x="2257" y="3996"/>
                  </a:cubicBezTo>
                  <a:cubicBezTo>
                    <a:pt x="2203" y="4007"/>
                    <a:pt x="2120" y="4104"/>
                    <a:pt x="2039" y="4197"/>
                  </a:cubicBezTo>
                  <a:cubicBezTo>
                    <a:pt x="1963" y="4289"/>
                    <a:pt x="1863" y="4374"/>
                    <a:pt x="1812" y="4368"/>
                  </a:cubicBezTo>
                  <a:cubicBezTo>
                    <a:pt x="1761" y="4374"/>
                    <a:pt x="1654" y="4368"/>
                    <a:pt x="1579" y="4368"/>
                  </a:cubicBezTo>
                  <a:cubicBezTo>
                    <a:pt x="1505" y="4358"/>
                    <a:pt x="1465" y="4419"/>
                    <a:pt x="1509" y="4483"/>
                  </a:cubicBezTo>
                  <a:cubicBezTo>
                    <a:pt x="1545" y="4549"/>
                    <a:pt x="1649" y="4661"/>
                    <a:pt x="1745" y="4733"/>
                  </a:cubicBezTo>
                  <a:cubicBezTo>
                    <a:pt x="1844" y="4801"/>
                    <a:pt x="1921" y="4930"/>
                    <a:pt x="1939" y="5014"/>
                  </a:cubicBezTo>
                  <a:cubicBezTo>
                    <a:pt x="1957" y="5097"/>
                    <a:pt x="1939" y="5223"/>
                    <a:pt x="1907" y="5295"/>
                  </a:cubicBezTo>
                  <a:cubicBezTo>
                    <a:pt x="1874" y="5365"/>
                    <a:pt x="1808" y="5413"/>
                    <a:pt x="1756" y="5413"/>
                  </a:cubicBezTo>
                  <a:cubicBezTo>
                    <a:pt x="1709" y="5402"/>
                    <a:pt x="1590" y="5356"/>
                    <a:pt x="1496" y="5299"/>
                  </a:cubicBezTo>
                  <a:cubicBezTo>
                    <a:pt x="1404" y="5242"/>
                    <a:pt x="1339" y="5177"/>
                    <a:pt x="1339" y="5152"/>
                  </a:cubicBezTo>
                  <a:cubicBezTo>
                    <a:pt x="1339" y="5129"/>
                    <a:pt x="1367" y="5079"/>
                    <a:pt x="1390" y="5041"/>
                  </a:cubicBezTo>
                  <a:cubicBezTo>
                    <a:pt x="1407" y="5003"/>
                    <a:pt x="1363" y="4955"/>
                    <a:pt x="1297" y="4925"/>
                  </a:cubicBezTo>
                  <a:cubicBezTo>
                    <a:pt x="1223" y="4899"/>
                    <a:pt x="1128" y="4823"/>
                    <a:pt x="1089" y="4758"/>
                  </a:cubicBezTo>
                  <a:cubicBezTo>
                    <a:pt x="1048" y="4693"/>
                    <a:pt x="914" y="4583"/>
                    <a:pt x="809" y="4507"/>
                  </a:cubicBezTo>
                  <a:cubicBezTo>
                    <a:pt x="686" y="4438"/>
                    <a:pt x="596" y="4423"/>
                    <a:pt x="590" y="4482"/>
                  </a:cubicBezTo>
                  <a:cubicBezTo>
                    <a:pt x="584" y="4540"/>
                    <a:pt x="601" y="4624"/>
                    <a:pt x="616" y="4670"/>
                  </a:cubicBezTo>
                  <a:cubicBezTo>
                    <a:pt x="637" y="4715"/>
                    <a:pt x="705" y="4823"/>
                    <a:pt x="759" y="4910"/>
                  </a:cubicBezTo>
                  <a:close/>
                  <a:moveTo>
                    <a:pt x="759" y="491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1" name="AutoShape 1333"/>
            <p:cNvSpPr>
              <a:spLocks/>
            </p:cNvSpPr>
            <p:nvPr/>
          </p:nvSpPr>
          <p:spPr bwMode="auto">
            <a:xfrm>
              <a:off x="4114800" y="5486400"/>
              <a:ext cx="4763" cy="15875"/>
            </a:xfrm>
            <a:custGeom>
              <a:avLst/>
              <a:gdLst/>
              <a:ahLst/>
              <a:cxnLst/>
              <a:rect l="0" t="0" r="r" b="b"/>
              <a:pathLst>
                <a:path w="20776" h="21139">
                  <a:moveTo>
                    <a:pt x="13563" y="21139"/>
                  </a:moveTo>
                  <a:cubicBezTo>
                    <a:pt x="16301" y="21139"/>
                    <a:pt x="19305" y="19198"/>
                    <a:pt x="20042" y="17337"/>
                  </a:cubicBezTo>
                  <a:cubicBezTo>
                    <a:pt x="21374" y="15526"/>
                    <a:pt x="20661" y="12574"/>
                    <a:pt x="19729" y="10877"/>
                  </a:cubicBezTo>
                  <a:cubicBezTo>
                    <a:pt x="18471" y="9196"/>
                    <a:pt x="18540" y="6375"/>
                    <a:pt x="18540" y="4629"/>
                  </a:cubicBezTo>
                  <a:cubicBezTo>
                    <a:pt x="19778" y="2965"/>
                    <a:pt x="18662" y="1007"/>
                    <a:pt x="18281" y="224"/>
                  </a:cubicBezTo>
                  <a:cubicBezTo>
                    <a:pt x="17515" y="-461"/>
                    <a:pt x="14441" y="485"/>
                    <a:pt x="10797" y="2247"/>
                  </a:cubicBezTo>
                  <a:cubicBezTo>
                    <a:pt x="7418" y="4106"/>
                    <a:pt x="3106" y="7370"/>
                    <a:pt x="1676" y="9572"/>
                  </a:cubicBezTo>
                  <a:cubicBezTo>
                    <a:pt x="106" y="11725"/>
                    <a:pt x="-226" y="14320"/>
                    <a:pt x="130" y="15347"/>
                  </a:cubicBezTo>
                  <a:cubicBezTo>
                    <a:pt x="989" y="16343"/>
                    <a:pt x="3560" y="18088"/>
                    <a:pt x="5130" y="19360"/>
                  </a:cubicBezTo>
                  <a:cubicBezTo>
                    <a:pt x="6939" y="20599"/>
                    <a:pt x="10823" y="21139"/>
                    <a:pt x="13563" y="21139"/>
                  </a:cubicBezTo>
                  <a:close/>
                  <a:moveTo>
                    <a:pt x="13563" y="211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2" name="AutoShape 1334"/>
            <p:cNvSpPr>
              <a:spLocks/>
            </p:cNvSpPr>
            <p:nvPr/>
          </p:nvSpPr>
          <p:spPr bwMode="auto">
            <a:xfrm>
              <a:off x="4089400" y="5321300"/>
              <a:ext cx="139700" cy="246063"/>
            </a:xfrm>
            <a:custGeom>
              <a:avLst/>
              <a:gdLst/>
              <a:ahLst/>
              <a:cxnLst/>
              <a:rect l="0" t="0" r="r" b="b"/>
              <a:pathLst>
                <a:path w="21568" h="21524">
                  <a:moveTo>
                    <a:pt x="5512" y="17519"/>
                  </a:moveTo>
                  <a:cubicBezTo>
                    <a:pt x="5318" y="17570"/>
                    <a:pt x="5127" y="17766"/>
                    <a:pt x="4978" y="17899"/>
                  </a:cubicBezTo>
                  <a:cubicBezTo>
                    <a:pt x="4877" y="18047"/>
                    <a:pt x="4835" y="18304"/>
                    <a:pt x="4914" y="18485"/>
                  </a:cubicBezTo>
                  <a:cubicBezTo>
                    <a:pt x="5007" y="18662"/>
                    <a:pt x="5223" y="18838"/>
                    <a:pt x="5424" y="18876"/>
                  </a:cubicBezTo>
                  <a:cubicBezTo>
                    <a:pt x="5631" y="18894"/>
                    <a:pt x="5941" y="18888"/>
                    <a:pt x="6141" y="18839"/>
                  </a:cubicBezTo>
                  <a:cubicBezTo>
                    <a:pt x="6327" y="18773"/>
                    <a:pt x="6615" y="18855"/>
                    <a:pt x="6735" y="19007"/>
                  </a:cubicBezTo>
                  <a:cubicBezTo>
                    <a:pt x="6855" y="19160"/>
                    <a:pt x="7245" y="19354"/>
                    <a:pt x="7554" y="19468"/>
                  </a:cubicBezTo>
                  <a:cubicBezTo>
                    <a:pt x="7889" y="19550"/>
                    <a:pt x="8306" y="19721"/>
                    <a:pt x="8494" y="19821"/>
                  </a:cubicBezTo>
                  <a:cubicBezTo>
                    <a:pt x="8689" y="19916"/>
                    <a:pt x="9190" y="20323"/>
                    <a:pt x="9579" y="20736"/>
                  </a:cubicBezTo>
                  <a:cubicBezTo>
                    <a:pt x="9992" y="21143"/>
                    <a:pt x="10410" y="21502"/>
                    <a:pt x="10541" y="21522"/>
                  </a:cubicBezTo>
                  <a:cubicBezTo>
                    <a:pt x="10673" y="21536"/>
                    <a:pt x="10909" y="21443"/>
                    <a:pt x="11030" y="21289"/>
                  </a:cubicBezTo>
                  <a:cubicBezTo>
                    <a:pt x="11150" y="21138"/>
                    <a:pt x="11569" y="19926"/>
                    <a:pt x="11961" y="18584"/>
                  </a:cubicBezTo>
                  <a:cubicBezTo>
                    <a:pt x="12347" y="17231"/>
                    <a:pt x="12760" y="16036"/>
                    <a:pt x="12883" y="15940"/>
                  </a:cubicBezTo>
                  <a:cubicBezTo>
                    <a:pt x="12977" y="15834"/>
                    <a:pt x="13903" y="15639"/>
                    <a:pt x="14879" y="15462"/>
                  </a:cubicBezTo>
                  <a:cubicBezTo>
                    <a:pt x="15871" y="15297"/>
                    <a:pt x="17003" y="14980"/>
                    <a:pt x="17382" y="14757"/>
                  </a:cubicBezTo>
                  <a:cubicBezTo>
                    <a:pt x="17767" y="14537"/>
                    <a:pt x="18551" y="13951"/>
                    <a:pt x="19151" y="13459"/>
                  </a:cubicBezTo>
                  <a:cubicBezTo>
                    <a:pt x="19765" y="12972"/>
                    <a:pt x="20339" y="12088"/>
                    <a:pt x="20502" y="11516"/>
                  </a:cubicBezTo>
                  <a:cubicBezTo>
                    <a:pt x="20642" y="10940"/>
                    <a:pt x="20931" y="10478"/>
                    <a:pt x="21120" y="10494"/>
                  </a:cubicBezTo>
                  <a:cubicBezTo>
                    <a:pt x="21311" y="10508"/>
                    <a:pt x="21503" y="10455"/>
                    <a:pt x="21517" y="10377"/>
                  </a:cubicBezTo>
                  <a:cubicBezTo>
                    <a:pt x="21543" y="10297"/>
                    <a:pt x="21568" y="10059"/>
                    <a:pt x="21568" y="9849"/>
                  </a:cubicBezTo>
                  <a:cubicBezTo>
                    <a:pt x="21568" y="9638"/>
                    <a:pt x="21537" y="9316"/>
                    <a:pt x="21451" y="9139"/>
                  </a:cubicBezTo>
                  <a:cubicBezTo>
                    <a:pt x="21389" y="8957"/>
                    <a:pt x="21066" y="8489"/>
                    <a:pt x="20761" y="8093"/>
                  </a:cubicBezTo>
                  <a:cubicBezTo>
                    <a:pt x="20446" y="7702"/>
                    <a:pt x="20182" y="7298"/>
                    <a:pt x="20169" y="7200"/>
                  </a:cubicBezTo>
                  <a:cubicBezTo>
                    <a:pt x="20169" y="7101"/>
                    <a:pt x="20076" y="6900"/>
                    <a:pt x="19988" y="6757"/>
                  </a:cubicBezTo>
                  <a:cubicBezTo>
                    <a:pt x="19911" y="6610"/>
                    <a:pt x="19837" y="6491"/>
                    <a:pt x="19837" y="6491"/>
                  </a:cubicBezTo>
                  <a:cubicBezTo>
                    <a:pt x="19837" y="6491"/>
                    <a:pt x="19806" y="6484"/>
                    <a:pt x="19789" y="6463"/>
                  </a:cubicBezTo>
                  <a:cubicBezTo>
                    <a:pt x="19762" y="6448"/>
                    <a:pt x="19589" y="6372"/>
                    <a:pt x="19439" y="6273"/>
                  </a:cubicBezTo>
                  <a:cubicBezTo>
                    <a:pt x="19286" y="6178"/>
                    <a:pt x="19075" y="6009"/>
                    <a:pt x="19003" y="5880"/>
                  </a:cubicBezTo>
                  <a:cubicBezTo>
                    <a:pt x="18924" y="5752"/>
                    <a:pt x="18717" y="5563"/>
                    <a:pt x="18524" y="5461"/>
                  </a:cubicBezTo>
                  <a:cubicBezTo>
                    <a:pt x="18317" y="5370"/>
                    <a:pt x="17893" y="5169"/>
                    <a:pt x="17551" y="5027"/>
                  </a:cubicBezTo>
                  <a:cubicBezTo>
                    <a:pt x="17203" y="4890"/>
                    <a:pt x="16853" y="4776"/>
                    <a:pt x="16783" y="4756"/>
                  </a:cubicBezTo>
                  <a:cubicBezTo>
                    <a:pt x="16706" y="4756"/>
                    <a:pt x="16552" y="4821"/>
                    <a:pt x="16407" y="4904"/>
                  </a:cubicBezTo>
                  <a:cubicBezTo>
                    <a:pt x="16270" y="4990"/>
                    <a:pt x="16231" y="5224"/>
                    <a:pt x="16272" y="5422"/>
                  </a:cubicBezTo>
                  <a:cubicBezTo>
                    <a:pt x="16348" y="5615"/>
                    <a:pt x="16288" y="5851"/>
                    <a:pt x="16181" y="5939"/>
                  </a:cubicBezTo>
                  <a:cubicBezTo>
                    <a:pt x="16040" y="6010"/>
                    <a:pt x="15684" y="6022"/>
                    <a:pt x="15335" y="5904"/>
                  </a:cubicBezTo>
                  <a:cubicBezTo>
                    <a:pt x="14973" y="5801"/>
                    <a:pt x="14561" y="5636"/>
                    <a:pt x="14423" y="5540"/>
                  </a:cubicBezTo>
                  <a:cubicBezTo>
                    <a:pt x="14285" y="5442"/>
                    <a:pt x="13811" y="5215"/>
                    <a:pt x="13419" y="5000"/>
                  </a:cubicBezTo>
                  <a:cubicBezTo>
                    <a:pt x="13025" y="4790"/>
                    <a:pt x="12412" y="4585"/>
                    <a:pt x="12086" y="4520"/>
                  </a:cubicBezTo>
                  <a:cubicBezTo>
                    <a:pt x="11757" y="4457"/>
                    <a:pt x="11434" y="4303"/>
                    <a:pt x="11363" y="4176"/>
                  </a:cubicBezTo>
                  <a:cubicBezTo>
                    <a:pt x="11308" y="4047"/>
                    <a:pt x="11233" y="3835"/>
                    <a:pt x="11248" y="3702"/>
                  </a:cubicBezTo>
                  <a:cubicBezTo>
                    <a:pt x="11248" y="3568"/>
                    <a:pt x="11018" y="3245"/>
                    <a:pt x="10716" y="2986"/>
                  </a:cubicBezTo>
                  <a:cubicBezTo>
                    <a:pt x="10431" y="2726"/>
                    <a:pt x="10023" y="2505"/>
                    <a:pt x="9840" y="2470"/>
                  </a:cubicBezTo>
                  <a:cubicBezTo>
                    <a:pt x="9654" y="2453"/>
                    <a:pt x="9100" y="2141"/>
                    <a:pt x="8550" y="1828"/>
                  </a:cubicBezTo>
                  <a:cubicBezTo>
                    <a:pt x="8023" y="1502"/>
                    <a:pt x="7268" y="1034"/>
                    <a:pt x="6900" y="778"/>
                  </a:cubicBezTo>
                  <a:cubicBezTo>
                    <a:pt x="6519" y="528"/>
                    <a:pt x="5935" y="219"/>
                    <a:pt x="5624" y="74"/>
                  </a:cubicBezTo>
                  <a:cubicBezTo>
                    <a:pt x="5304" y="-64"/>
                    <a:pt x="5030" y="-4"/>
                    <a:pt x="5030" y="209"/>
                  </a:cubicBezTo>
                  <a:cubicBezTo>
                    <a:pt x="5030" y="421"/>
                    <a:pt x="4779" y="572"/>
                    <a:pt x="4491" y="555"/>
                  </a:cubicBezTo>
                  <a:cubicBezTo>
                    <a:pt x="4201" y="539"/>
                    <a:pt x="3606" y="709"/>
                    <a:pt x="3226" y="972"/>
                  </a:cubicBezTo>
                  <a:cubicBezTo>
                    <a:pt x="2819" y="1223"/>
                    <a:pt x="2289" y="1426"/>
                    <a:pt x="2053" y="1395"/>
                  </a:cubicBezTo>
                  <a:cubicBezTo>
                    <a:pt x="1810" y="1395"/>
                    <a:pt x="1419" y="1430"/>
                    <a:pt x="1199" y="1526"/>
                  </a:cubicBezTo>
                  <a:cubicBezTo>
                    <a:pt x="977" y="1620"/>
                    <a:pt x="922" y="1873"/>
                    <a:pt x="1106" y="2101"/>
                  </a:cubicBezTo>
                  <a:cubicBezTo>
                    <a:pt x="1292" y="2331"/>
                    <a:pt x="1462" y="2630"/>
                    <a:pt x="1514" y="2765"/>
                  </a:cubicBezTo>
                  <a:cubicBezTo>
                    <a:pt x="1539" y="2902"/>
                    <a:pt x="1700" y="3126"/>
                    <a:pt x="1812" y="3272"/>
                  </a:cubicBezTo>
                  <a:cubicBezTo>
                    <a:pt x="1926" y="3418"/>
                    <a:pt x="2048" y="3734"/>
                    <a:pt x="2034" y="3979"/>
                  </a:cubicBezTo>
                  <a:cubicBezTo>
                    <a:pt x="2060" y="4224"/>
                    <a:pt x="1793" y="4684"/>
                    <a:pt x="1531" y="5013"/>
                  </a:cubicBezTo>
                  <a:cubicBezTo>
                    <a:pt x="1272" y="5340"/>
                    <a:pt x="1035" y="5726"/>
                    <a:pt x="1048" y="5879"/>
                  </a:cubicBezTo>
                  <a:cubicBezTo>
                    <a:pt x="1061" y="6033"/>
                    <a:pt x="1166" y="6254"/>
                    <a:pt x="1271" y="6374"/>
                  </a:cubicBezTo>
                  <a:cubicBezTo>
                    <a:pt x="1396" y="6486"/>
                    <a:pt x="1380" y="6772"/>
                    <a:pt x="1253" y="6996"/>
                  </a:cubicBezTo>
                  <a:cubicBezTo>
                    <a:pt x="1145" y="7226"/>
                    <a:pt x="868" y="7403"/>
                    <a:pt x="661" y="7403"/>
                  </a:cubicBezTo>
                  <a:cubicBezTo>
                    <a:pt x="460" y="7388"/>
                    <a:pt x="213" y="7567"/>
                    <a:pt x="88" y="7762"/>
                  </a:cubicBezTo>
                  <a:cubicBezTo>
                    <a:pt x="-32" y="7960"/>
                    <a:pt x="-24" y="8253"/>
                    <a:pt x="83" y="8407"/>
                  </a:cubicBezTo>
                  <a:cubicBezTo>
                    <a:pt x="213" y="8556"/>
                    <a:pt x="369" y="8851"/>
                    <a:pt x="501" y="9046"/>
                  </a:cubicBezTo>
                  <a:cubicBezTo>
                    <a:pt x="618" y="9246"/>
                    <a:pt x="727" y="9520"/>
                    <a:pt x="754" y="9663"/>
                  </a:cubicBezTo>
                  <a:cubicBezTo>
                    <a:pt x="785" y="9803"/>
                    <a:pt x="859" y="10143"/>
                    <a:pt x="977" y="10413"/>
                  </a:cubicBezTo>
                  <a:cubicBezTo>
                    <a:pt x="1082" y="10687"/>
                    <a:pt x="1128" y="11038"/>
                    <a:pt x="1061" y="11189"/>
                  </a:cubicBezTo>
                  <a:cubicBezTo>
                    <a:pt x="1000" y="11344"/>
                    <a:pt x="881" y="11526"/>
                    <a:pt x="816" y="11600"/>
                  </a:cubicBezTo>
                  <a:cubicBezTo>
                    <a:pt x="763" y="11674"/>
                    <a:pt x="813" y="11850"/>
                    <a:pt x="951" y="12006"/>
                  </a:cubicBezTo>
                  <a:cubicBezTo>
                    <a:pt x="1100" y="12160"/>
                    <a:pt x="1415" y="12369"/>
                    <a:pt x="1643" y="12480"/>
                  </a:cubicBezTo>
                  <a:cubicBezTo>
                    <a:pt x="1881" y="12585"/>
                    <a:pt x="2280" y="12852"/>
                    <a:pt x="2515" y="13074"/>
                  </a:cubicBezTo>
                  <a:cubicBezTo>
                    <a:pt x="2767" y="13289"/>
                    <a:pt x="3142" y="13558"/>
                    <a:pt x="3313" y="13687"/>
                  </a:cubicBezTo>
                  <a:cubicBezTo>
                    <a:pt x="3521" y="13797"/>
                    <a:pt x="3721" y="13879"/>
                    <a:pt x="3772" y="13834"/>
                  </a:cubicBezTo>
                  <a:cubicBezTo>
                    <a:pt x="3829" y="13791"/>
                    <a:pt x="3907" y="13593"/>
                    <a:pt x="3937" y="13391"/>
                  </a:cubicBezTo>
                  <a:cubicBezTo>
                    <a:pt x="3951" y="13186"/>
                    <a:pt x="3991" y="12934"/>
                    <a:pt x="4048" y="12835"/>
                  </a:cubicBezTo>
                  <a:cubicBezTo>
                    <a:pt x="4073" y="12733"/>
                    <a:pt x="4215" y="12566"/>
                    <a:pt x="4305" y="12450"/>
                  </a:cubicBezTo>
                  <a:cubicBezTo>
                    <a:pt x="4424" y="12343"/>
                    <a:pt x="4560" y="12376"/>
                    <a:pt x="4587" y="12535"/>
                  </a:cubicBezTo>
                  <a:cubicBezTo>
                    <a:pt x="4649" y="12691"/>
                    <a:pt x="4731" y="12938"/>
                    <a:pt x="4785" y="13078"/>
                  </a:cubicBezTo>
                  <a:cubicBezTo>
                    <a:pt x="4851" y="13216"/>
                    <a:pt x="4887" y="13265"/>
                    <a:pt x="4914" y="13188"/>
                  </a:cubicBezTo>
                  <a:cubicBezTo>
                    <a:pt x="4928" y="13108"/>
                    <a:pt x="4880" y="12925"/>
                    <a:pt x="4842" y="12778"/>
                  </a:cubicBezTo>
                  <a:cubicBezTo>
                    <a:pt x="4793" y="12631"/>
                    <a:pt x="4810" y="12521"/>
                    <a:pt x="4866" y="12553"/>
                  </a:cubicBezTo>
                  <a:cubicBezTo>
                    <a:pt x="4932" y="12578"/>
                    <a:pt x="5114" y="12790"/>
                    <a:pt x="5224" y="13038"/>
                  </a:cubicBezTo>
                  <a:cubicBezTo>
                    <a:pt x="5364" y="13278"/>
                    <a:pt x="5452" y="13685"/>
                    <a:pt x="5490" y="13932"/>
                  </a:cubicBezTo>
                  <a:cubicBezTo>
                    <a:pt x="5490" y="14180"/>
                    <a:pt x="5581" y="14499"/>
                    <a:pt x="5649" y="14640"/>
                  </a:cubicBezTo>
                  <a:cubicBezTo>
                    <a:pt x="5703" y="14779"/>
                    <a:pt x="5745" y="15070"/>
                    <a:pt x="5701" y="15284"/>
                  </a:cubicBezTo>
                  <a:cubicBezTo>
                    <a:pt x="5673" y="15496"/>
                    <a:pt x="5469" y="15802"/>
                    <a:pt x="5267" y="15961"/>
                  </a:cubicBezTo>
                  <a:cubicBezTo>
                    <a:pt x="5080" y="16129"/>
                    <a:pt x="4988" y="16298"/>
                    <a:pt x="5086" y="16354"/>
                  </a:cubicBezTo>
                  <a:cubicBezTo>
                    <a:pt x="5167" y="16420"/>
                    <a:pt x="5383" y="16671"/>
                    <a:pt x="5555" y="16927"/>
                  </a:cubicBezTo>
                  <a:cubicBezTo>
                    <a:pt x="5701" y="17187"/>
                    <a:pt x="5694" y="17455"/>
                    <a:pt x="5512" y="17519"/>
                  </a:cubicBezTo>
                  <a:close/>
                  <a:moveTo>
                    <a:pt x="5512" y="1751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3" name="AutoShape 1335"/>
            <p:cNvSpPr>
              <a:spLocks/>
            </p:cNvSpPr>
            <p:nvPr/>
          </p:nvSpPr>
          <p:spPr bwMode="auto">
            <a:xfrm>
              <a:off x="4102100" y="5397500"/>
              <a:ext cx="419100" cy="744538"/>
            </a:xfrm>
            <a:custGeom>
              <a:avLst/>
              <a:gdLst/>
              <a:ahLst/>
              <a:cxnLst/>
              <a:rect l="0" t="0" r="r" b="b"/>
              <a:pathLst>
                <a:path w="21585" h="21594">
                  <a:moveTo>
                    <a:pt x="21170" y="21486"/>
                  </a:moveTo>
                  <a:cubicBezTo>
                    <a:pt x="21225" y="21502"/>
                    <a:pt x="21322" y="21499"/>
                    <a:pt x="21385" y="21478"/>
                  </a:cubicBezTo>
                  <a:cubicBezTo>
                    <a:pt x="21444" y="21452"/>
                    <a:pt x="21502" y="21405"/>
                    <a:pt x="21518" y="21364"/>
                  </a:cubicBezTo>
                  <a:cubicBezTo>
                    <a:pt x="21528" y="21323"/>
                    <a:pt x="21460" y="21240"/>
                    <a:pt x="21368" y="21180"/>
                  </a:cubicBezTo>
                  <a:cubicBezTo>
                    <a:pt x="21280" y="21118"/>
                    <a:pt x="21200" y="21036"/>
                    <a:pt x="21210" y="20991"/>
                  </a:cubicBezTo>
                  <a:cubicBezTo>
                    <a:pt x="21210" y="20948"/>
                    <a:pt x="21227" y="20877"/>
                    <a:pt x="21260" y="20839"/>
                  </a:cubicBezTo>
                  <a:cubicBezTo>
                    <a:pt x="21267" y="20826"/>
                    <a:pt x="21283" y="20816"/>
                    <a:pt x="21302" y="20810"/>
                  </a:cubicBezTo>
                  <a:cubicBezTo>
                    <a:pt x="21327" y="20798"/>
                    <a:pt x="21352" y="20795"/>
                    <a:pt x="21382" y="20800"/>
                  </a:cubicBezTo>
                  <a:cubicBezTo>
                    <a:pt x="21384" y="20800"/>
                    <a:pt x="21385" y="20800"/>
                    <a:pt x="21386" y="20800"/>
                  </a:cubicBezTo>
                  <a:cubicBezTo>
                    <a:pt x="21394" y="20801"/>
                    <a:pt x="21400" y="20798"/>
                    <a:pt x="21407" y="20800"/>
                  </a:cubicBezTo>
                  <a:cubicBezTo>
                    <a:pt x="21472" y="20813"/>
                    <a:pt x="21496" y="20804"/>
                    <a:pt x="21473" y="20767"/>
                  </a:cubicBezTo>
                  <a:cubicBezTo>
                    <a:pt x="21444" y="20730"/>
                    <a:pt x="21385" y="20688"/>
                    <a:pt x="21333" y="20674"/>
                  </a:cubicBezTo>
                  <a:cubicBezTo>
                    <a:pt x="21285" y="20657"/>
                    <a:pt x="21204" y="20622"/>
                    <a:pt x="21156" y="20591"/>
                  </a:cubicBezTo>
                  <a:cubicBezTo>
                    <a:pt x="21115" y="20557"/>
                    <a:pt x="21094" y="20467"/>
                    <a:pt x="21117" y="20385"/>
                  </a:cubicBezTo>
                  <a:cubicBezTo>
                    <a:pt x="21152" y="20306"/>
                    <a:pt x="21215" y="20210"/>
                    <a:pt x="21292" y="20187"/>
                  </a:cubicBezTo>
                  <a:cubicBezTo>
                    <a:pt x="21363" y="20157"/>
                    <a:pt x="21467" y="20085"/>
                    <a:pt x="21518" y="20022"/>
                  </a:cubicBezTo>
                  <a:cubicBezTo>
                    <a:pt x="21572" y="19961"/>
                    <a:pt x="21598" y="19855"/>
                    <a:pt x="21579" y="19789"/>
                  </a:cubicBezTo>
                  <a:cubicBezTo>
                    <a:pt x="21564" y="19723"/>
                    <a:pt x="21394" y="19499"/>
                    <a:pt x="21198" y="19295"/>
                  </a:cubicBezTo>
                  <a:cubicBezTo>
                    <a:pt x="21013" y="19086"/>
                    <a:pt x="20865" y="18886"/>
                    <a:pt x="20894" y="18848"/>
                  </a:cubicBezTo>
                  <a:cubicBezTo>
                    <a:pt x="20918" y="18809"/>
                    <a:pt x="20906" y="18717"/>
                    <a:pt x="20869" y="18644"/>
                  </a:cubicBezTo>
                  <a:cubicBezTo>
                    <a:pt x="20827" y="18571"/>
                    <a:pt x="20769" y="18476"/>
                    <a:pt x="20728" y="18435"/>
                  </a:cubicBezTo>
                  <a:cubicBezTo>
                    <a:pt x="20691" y="18393"/>
                    <a:pt x="20617" y="18310"/>
                    <a:pt x="20581" y="18247"/>
                  </a:cubicBezTo>
                  <a:cubicBezTo>
                    <a:pt x="20545" y="18183"/>
                    <a:pt x="20541" y="18108"/>
                    <a:pt x="20571" y="18075"/>
                  </a:cubicBezTo>
                  <a:cubicBezTo>
                    <a:pt x="20607" y="18044"/>
                    <a:pt x="20623" y="17940"/>
                    <a:pt x="20618" y="17845"/>
                  </a:cubicBezTo>
                  <a:cubicBezTo>
                    <a:pt x="20618" y="17749"/>
                    <a:pt x="20536" y="17519"/>
                    <a:pt x="20455" y="17331"/>
                  </a:cubicBezTo>
                  <a:cubicBezTo>
                    <a:pt x="20379" y="17143"/>
                    <a:pt x="20250" y="16920"/>
                    <a:pt x="20185" y="16832"/>
                  </a:cubicBezTo>
                  <a:cubicBezTo>
                    <a:pt x="20120" y="16743"/>
                    <a:pt x="20076" y="16604"/>
                    <a:pt x="20090" y="16518"/>
                  </a:cubicBezTo>
                  <a:cubicBezTo>
                    <a:pt x="20110" y="16434"/>
                    <a:pt x="20048" y="16199"/>
                    <a:pt x="19981" y="15995"/>
                  </a:cubicBezTo>
                  <a:cubicBezTo>
                    <a:pt x="19898" y="15793"/>
                    <a:pt x="19879" y="15568"/>
                    <a:pt x="19915" y="15497"/>
                  </a:cubicBezTo>
                  <a:cubicBezTo>
                    <a:pt x="19962" y="15428"/>
                    <a:pt x="19971" y="15333"/>
                    <a:pt x="19954" y="15290"/>
                  </a:cubicBezTo>
                  <a:cubicBezTo>
                    <a:pt x="19933" y="15247"/>
                    <a:pt x="19500" y="14850"/>
                    <a:pt x="18992" y="14406"/>
                  </a:cubicBezTo>
                  <a:cubicBezTo>
                    <a:pt x="18989" y="14403"/>
                    <a:pt x="18986" y="14400"/>
                    <a:pt x="18983" y="14397"/>
                  </a:cubicBezTo>
                  <a:cubicBezTo>
                    <a:pt x="18481" y="13957"/>
                    <a:pt x="18060" y="13594"/>
                    <a:pt x="18048" y="13589"/>
                  </a:cubicBezTo>
                  <a:cubicBezTo>
                    <a:pt x="18032" y="13589"/>
                    <a:pt x="17990" y="13561"/>
                    <a:pt x="17943" y="13543"/>
                  </a:cubicBezTo>
                  <a:cubicBezTo>
                    <a:pt x="17899" y="13523"/>
                    <a:pt x="17826" y="13504"/>
                    <a:pt x="17784" y="13504"/>
                  </a:cubicBezTo>
                  <a:cubicBezTo>
                    <a:pt x="17742" y="13510"/>
                    <a:pt x="17637" y="13491"/>
                    <a:pt x="17551" y="13486"/>
                  </a:cubicBezTo>
                  <a:cubicBezTo>
                    <a:pt x="17466" y="13481"/>
                    <a:pt x="17337" y="13470"/>
                    <a:pt x="17268" y="13481"/>
                  </a:cubicBezTo>
                  <a:cubicBezTo>
                    <a:pt x="17197" y="13486"/>
                    <a:pt x="17076" y="13492"/>
                    <a:pt x="17002" y="13487"/>
                  </a:cubicBezTo>
                  <a:cubicBezTo>
                    <a:pt x="16925" y="13487"/>
                    <a:pt x="16816" y="13449"/>
                    <a:pt x="16753" y="13409"/>
                  </a:cubicBezTo>
                  <a:cubicBezTo>
                    <a:pt x="16689" y="13370"/>
                    <a:pt x="16621" y="13277"/>
                    <a:pt x="16592" y="13206"/>
                  </a:cubicBezTo>
                  <a:cubicBezTo>
                    <a:pt x="16564" y="13136"/>
                    <a:pt x="16474" y="12933"/>
                    <a:pt x="16395" y="12754"/>
                  </a:cubicBezTo>
                  <a:cubicBezTo>
                    <a:pt x="16311" y="12576"/>
                    <a:pt x="16223" y="12343"/>
                    <a:pt x="16190" y="12236"/>
                  </a:cubicBezTo>
                  <a:cubicBezTo>
                    <a:pt x="16161" y="12129"/>
                    <a:pt x="16152" y="12029"/>
                    <a:pt x="16170" y="12009"/>
                  </a:cubicBezTo>
                  <a:cubicBezTo>
                    <a:pt x="16198" y="11993"/>
                    <a:pt x="16203" y="11922"/>
                    <a:pt x="16203" y="11860"/>
                  </a:cubicBezTo>
                  <a:cubicBezTo>
                    <a:pt x="16198" y="11796"/>
                    <a:pt x="16157" y="11712"/>
                    <a:pt x="16105" y="11674"/>
                  </a:cubicBezTo>
                  <a:cubicBezTo>
                    <a:pt x="16051" y="11638"/>
                    <a:pt x="15912" y="11639"/>
                    <a:pt x="15792" y="11682"/>
                  </a:cubicBezTo>
                  <a:cubicBezTo>
                    <a:pt x="15671" y="11724"/>
                    <a:pt x="15463" y="11832"/>
                    <a:pt x="15338" y="11925"/>
                  </a:cubicBezTo>
                  <a:cubicBezTo>
                    <a:pt x="15220" y="12021"/>
                    <a:pt x="14944" y="12056"/>
                    <a:pt x="14740" y="12023"/>
                  </a:cubicBezTo>
                  <a:cubicBezTo>
                    <a:pt x="14538" y="11986"/>
                    <a:pt x="14235" y="11932"/>
                    <a:pt x="14069" y="11901"/>
                  </a:cubicBezTo>
                  <a:cubicBezTo>
                    <a:pt x="13901" y="11874"/>
                    <a:pt x="13723" y="11776"/>
                    <a:pt x="13670" y="11690"/>
                  </a:cubicBezTo>
                  <a:cubicBezTo>
                    <a:pt x="13616" y="11603"/>
                    <a:pt x="13489" y="11441"/>
                    <a:pt x="13365" y="11338"/>
                  </a:cubicBezTo>
                  <a:cubicBezTo>
                    <a:pt x="13255" y="11231"/>
                    <a:pt x="13061" y="11118"/>
                    <a:pt x="12943" y="11088"/>
                  </a:cubicBezTo>
                  <a:cubicBezTo>
                    <a:pt x="12826" y="11055"/>
                    <a:pt x="12541" y="11011"/>
                    <a:pt x="12309" y="10995"/>
                  </a:cubicBezTo>
                  <a:cubicBezTo>
                    <a:pt x="12080" y="10974"/>
                    <a:pt x="11943" y="10894"/>
                    <a:pt x="12008" y="10814"/>
                  </a:cubicBezTo>
                  <a:cubicBezTo>
                    <a:pt x="12070" y="10734"/>
                    <a:pt x="11910" y="10454"/>
                    <a:pt x="11648" y="10191"/>
                  </a:cubicBezTo>
                  <a:cubicBezTo>
                    <a:pt x="11380" y="9931"/>
                    <a:pt x="11066" y="9635"/>
                    <a:pt x="10940" y="9537"/>
                  </a:cubicBezTo>
                  <a:cubicBezTo>
                    <a:pt x="10817" y="9438"/>
                    <a:pt x="10698" y="9326"/>
                    <a:pt x="10713" y="9284"/>
                  </a:cubicBezTo>
                  <a:cubicBezTo>
                    <a:pt x="10713" y="9242"/>
                    <a:pt x="10682" y="9164"/>
                    <a:pt x="10644" y="9110"/>
                  </a:cubicBezTo>
                  <a:cubicBezTo>
                    <a:pt x="10589" y="9060"/>
                    <a:pt x="10572" y="8970"/>
                    <a:pt x="10588" y="8919"/>
                  </a:cubicBezTo>
                  <a:cubicBezTo>
                    <a:pt x="10603" y="8867"/>
                    <a:pt x="10605" y="8770"/>
                    <a:pt x="10596" y="8706"/>
                  </a:cubicBezTo>
                  <a:cubicBezTo>
                    <a:pt x="10596" y="8640"/>
                    <a:pt x="10553" y="8550"/>
                    <a:pt x="10515" y="8506"/>
                  </a:cubicBezTo>
                  <a:cubicBezTo>
                    <a:pt x="10472" y="8464"/>
                    <a:pt x="10473" y="8404"/>
                    <a:pt x="10498" y="8376"/>
                  </a:cubicBezTo>
                  <a:cubicBezTo>
                    <a:pt x="10531" y="8350"/>
                    <a:pt x="10535" y="8277"/>
                    <a:pt x="10524" y="8217"/>
                  </a:cubicBezTo>
                  <a:cubicBezTo>
                    <a:pt x="10510" y="8157"/>
                    <a:pt x="10568" y="8072"/>
                    <a:pt x="10662" y="8035"/>
                  </a:cubicBezTo>
                  <a:cubicBezTo>
                    <a:pt x="10754" y="7997"/>
                    <a:pt x="10870" y="7976"/>
                    <a:pt x="10928" y="7993"/>
                  </a:cubicBezTo>
                  <a:cubicBezTo>
                    <a:pt x="10985" y="8008"/>
                    <a:pt x="11062" y="7986"/>
                    <a:pt x="11120" y="7951"/>
                  </a:cubicBezTo>
                  <a:cubicBezTo>
                    <a:pt x="11168" y="7910"/>
                    <a:pt x="11162" y="7831"/>
                    <a:pt x="11113" y="7770"/>
                  </a:cubicBezTo>
                  <a:cubicBezTo>
                    <a:pt x="11064" y="7710"/>
                    <a:pt x="10962" y="7573"/>
                    <a:pt x="10897" y="7462"/>
                  </a:cubicBezTo>
                  <a:cubicBezTo>
                    <a:pt x="10830" y="7352"/>
                    <a:pt x="10846" y="7208"/>
                    <a:pt x="10920" y="7136"/>
                  </a:cubicBezTo>
                  <a:cubicBezTo>
                    <a:pt x="11000" y="7067"/>
                    <a:pt x="11039" y="6969"/>
                    <a:pt x="11009" y="6918"/>
                  </a:cubicBezTo>
                  <a:cubicBezTo>
                    <a:pt x="10982" y="6867"/>
                    <a:pt x="10976" y="6793"/>
                    <a:pt x="10999" y="6751"/>
                  </a:cubicBezTo>
                  <a:cubicBezTo>
                    <a:pt x="11022" y="6709"/>
                    <a:pt x="11011" y="6610"/>
                    <a:pt x="10983" y="6529"/>
                  </a:cubicBezTo>
                  <a:cubicBezTo>
                    <a:pt x="10944" y="6449"/>
                    <a:pt x="10964" y="6356"/>
                    <a:pt x="11027" y="6334"/>
                  </a:cubicBezTo>
                  <a:cubicBezTo>
                    <a:pt x="11091" y="6312"/>
                    <a:pt x="11197" y="6264"/>
                    <a:pt x="11282" y="6247"/>
                  </a:cubicBezTo>
                  <a:cubicBezTo>
                    <a:pt x="11360" y="6221"/>
                    <a:pt x="11494" y="6167"/>
                    <a:pt x="11544" y="6109"/>
                  </a:cubicBezTo>
                  <a:cubicBezTo>
                    <a:pt x="11610" y="6056"/>
                    <a:pt x="11690" y="6001"/>
                    <a:pt x="11733" y="6001"/>
                  </a:cubicBezTo>
                  <a:cubicBezTo>
                    <a:pt x="11776" y="6001"/>
                    <a:pt x="11837" y="5961"/>
                    <a:pt x="11880" y="5929"/>
                  </a:cubicBezTo>
                  <a:cubicBezTo>
                    <a:pt x="11919" y="5896"/>
                    <a:pt x="12106" y="5863"/>
                    <a:pt x="12296" y="5852"/>
                  </a:cubicBezTo>
                  <a:cubicBezTo>
                    <a:pt x="12486" y="5852"/>
                    <a:pt x="12845" y="5806"/>
                    <a:pt x="13096" y="5769"/>
                  </a:cubicBezTo>
                  <a:cubicBezTo>
                    <a:pt x="13348" y="5737"/>
                    <a:pt x="13567" y="5665"/>
                    <a:pt x="13581" y="5620"/>
                  </a:cubicBezTo>
                  <a:cubicBezTo>
                    <a:pt x="13606" y="5575"/>
                    <a:pt x="13634" y="5553"/>
                    <a:pt x="13676" y="5563"/>
                  </a:cubicBezTo>
                  <a:cubicBezTo>
                    <a:pt x="13717" y="5575"/>
                    <a:pt x="13807" y="5598"/>
                    <a:pt x="13885" y="5608"/>
                  </a:cubicBezTo>
                  <a:cubicBezTo>
                    <a:pt x="13962" y="5618"/>
                    <a:pt x="14051" y="5625"/>
                    <a:pt x="14080" y="5619"/>
                  </a:cubicBezTo>
                  <a:cubicBezTo>
                    <a:pt x="14109" y="5614"/>
                    <a:pt x="14216" y="5660"/>
                    <a:pt x="14318" y="5715"/>
                  </a:cubicBezTo>
                  <a:cubicBezTo>
                    <a:pt x="14412" y="5775"/>
                    <a:pt x="14501" y="5832"/>
                    <a:pt x="14497" y="5851"/>
                  </a:cubicBezTo>
                  <a:cubicBezTo>
                    <a:pt x="14497" y="5871"/>
                    <a:pt x="14569" y="5906"/>
                    <a:pt x="14658" y="5938"/>
                  </a:cubicBezTo>
                  <a:cubicBezTo>
                    <a:pt x="14751" y="5964"/>
                    <a:pt x="14839" y="5955"/>
                    <a:pt x="14866" y="5915"/>
                  </a:cubicBezTo>
                  <a:cubicBezTo>
                    <a:pt x="14879" y="5872"/>
                    <a:pt x="14864" y="5756"/>
                    <a:pt x="14807" y="5654"/>
                  </a:cubicBezTo>
                  <a:cubicBezTo>
                    <a:pt x="14753" y="5551"/>
                    <a:pt x="14650" y="5416"/>
                    <a:pt x="14570" y="5359"/>
                  </a:cubicBezTo>
                  <a:cubicBezTo>
                    <a:pt x="14494" y="5301"/>
                    <a:pt x="14353" y="5243"/>
                    <a:pt x="14254" y="5243"/>
                  </a:cubicBezTo>
                  <a:cubicBezTo>
                    <a:pt x="14154" y="5238"/>
                    <a:pt x="13999" y="5238"/>
                    <a:pt x="13914" y="5227"/>
                  </a:cubicBezTo>
                  <a:cubicBezTo>
                    <a:pt x="13827" y="5227"/>
                    <a:pt x="13736" y="5188"/>
                    <a:pt x="13712" y="5148"/>
                  </a:cubicBezTo>
                  <a:cubicBezTo>
                    <a:pt x="13685" y="5108"/>
                    <a:pt x="13804" y="4818"/>
                    <a:pt x="13974" y="4504"/>
                  </a:cubicBezTo>
                  <a:cubicBezTo>
                    <a:pt x="14145" y="4188"/>
                    <a:pt x="14281" y="3892"/>
                    <a:pt x="14258" y="3849"/>
                  </a:cubicBezTo>
                  <a:cubicBezTo>
                    <a:pt x="14243" y="3805"/>
                    <a:pt x="14168" y="3780"/>
                    <a:pt x="14094" y="3791"/>
                  </a:cubicBezTo>
                  <a:cubicBezTo>
                    <a:pt x="14019" y="3797"/>
                    <a:pt x="13917" y="3775"/>
                    <a:pt x="13868" y="3726"/>
                  </a:cubicBezTo>
                  <a:cubicBezTo>
                    <a:pt x="13812" y="3680"/>
                    <a:pt x="13692" y="3604"/>
                    <a:pt x="13597" y="3558"/>
                  </a:cubicBezTo>
                  <a:cubicBezTo>
                    <a:pt x="13494" y="3518"/>
                    <a:pt x="13381" y="3479"/>
                    <a:pt x="13336" y="3473"/>
                  </a:cubicBezTo>
                  <a:cubicBezTo>
                    <a:pt x="13291" y="3468"/>
                    <a:pt x="13216" y="3437"/>
                    <a:pt x="13180" y="3395"/>
                  </a:cubicBezTo>
                  <a:cubicBezTo>
                    <a:pt x="13136" y="3357"/>
                    <a:pt x="13048" y="3314"/>
                    <a:pt x="12976" y="3308"/>
                  </a:cubicBezTo>
                  <a:cubicBezTo>
                    <a:pt x="12903" y="3302"/>
                    <a:pt x="12740" y="3316"/>
                    <a:pt x="12618" y="3352"/>
                  </a:cubicBezTo>
                  <a:cubicBezTo>
                    <a:pt x="12489" y="3379"/>
                    <a:pt x="12306" y="3373"/>
                    <a:pt x="12204" y="3326"/>
                  </a:cubicBezTo>
                  <a:cubicBezTo>
                    <a:pt x="12098" y="3282"/>
                    <a:pt x="11927" y="3217"/>
                    <a:pt x="11816" y="3189"/>
                  </a:cubicBezTo>
                  <a:cubicBezTo>
                    <a:pt x="11707" y="3159"/>
                    <a:pt x="11515" y="3157"/>
                    <a:pt x="11410" y="3195"/>
                  </a:cubicBezTo>
                  <a:cubicBezTo>
                    <a:pt x="11299" y="3228"/>
                    <a:pt x="11182" y="3271"/>
                    <a:pt x="11147" y="3293"/>
                  </a:cubicBezTo>
                  <a:cubicBezTo>
                    <a:pt x="11114" y="3315"/>
                    <a:pt x="11011" y="3327"/>
                    <a:pt x="10918" y="3317"/>
                  </a:cubicBezTo>
                  <a:cubicBezTo>
                    <a:pt x="10825" y="3306"/>
                    <a:pt x="10684" y="3289"/>
                    <a:pt x="10619" y="3263"/>
                  </a:cubicBezTo>
                  <a:cubicBezTo>
                    <a:pt x="10549" y="3242"/>
                    <a:pt x="10430" y="3230"/>
                    <a:pt x="10353" y="3236"/>
                  </a:cubicBezTo>
                  <a:cubicBezTo>
                    <a:pt x="10277" y="3241"/>
                    <a:pt x="10151" y="3220"/>
                    <a:pt x="10073" y="3187"/>
                  </a:cubicBezTo>
                  <a:cubicBezTo>
                    <a:pt x="9992" y="3156"/>
                    <a:pt x="9899" y="3088"/>
                    <a:pt x="9870" y="3039"/>
                  </a:cubicBezTo>
                  <a:cubicBezTo>
                    <a:pt x="9830" y="2994"/>
                    <a:pt x="9827" y="2931"/>
                    <a:pt x="9841" y="2901"/>
                  </a:cubicBezTo>
                  <a:cubicBezTo>
                    <a:pt x="9859" y="2873"/>
                    <a:pt x="9830" y="2781"/>
                    <a:pt x="9774" y="2699"/>
                  </a:cubicBezTo>
                  <a:cubicBezTo>
                    <a:pt x="9720" y="2616"/>
                    <a:pt x="9624" y="2519"/>
                    <a:pt x="9552" y="2490"/>
                  </a:cubicBezTo>
                  <a:cubicBezTo>
                    <a:pt x="9482" y="2458"/>
                    <a:pt x="9400" y="2425"/>
                    <a:pt x="9373" y="2413"/>
                  </a:cubicBezTo>
                  <a:cubicBezTo>
                    <a:pt x="9344" y="2403"/>
                    <a:pt x="9301" y="2335"/>
                    <a:pt x="9291" y="2260"/>
                  </a:cubicBezTo>
                  <a:cubicBezTo>
                    <a:pt x="9273" y="2187"/>
                    <a:pt x="9188" y="2040"/>
                    <a:pt x="9082" y="1941"/>
                  </a:cubicBezTo>
                  <a:cubicBezTo>
                    <a:pt x="8986" y="1839"/>
                    <a:pt x="8745" y="1699"/>
                    <a:pt x="8553" y="1628"/>
                  </a:cubicBezTo>
                  <a:cubicBezTo>
                    <a:pt x="8365" y="1556"/>
                    <a:pt x="8166" y="1497"/>
                    <a:pt x="8117" y="1491"/>
                  </a:cubicBezTo>
                  <a:cubicBezTo>
                    <a:pt x="8068" y="1486"/>
                    <a:pt x="7964" y="1394"/>
                    <a:pt x="7873" y="1291"/>
                  </a:cubicBezTo>
                  <a:cubicBezTo>
                    <a:pt x="7793" y="1186"/>
                    <a:pt x="7705" y="1052"/>
                    <a:pt x="7677" y="993"/>
                  </a:cubicBezTo>
                  <a:cubicBezTo>
                    <a:pt x="7664" y="933"/>
                    <a:pt x="7545" y="806"/>
                    <a:pt x="7437" y="706"/>
                  </a:cubicBezTo>
                  <a:cubicBezTo>
                    <a:pt x="7327" y="609"/>
                    <a:pt x="7216" y="498"/>
                    <a:pt x="7185" y="462"/>
                  </a:cubicBezTo>
                  <a:cubicBezTo>
                    <a:pt x="7161" y="424"/>
                    <a:pt x="7058" y="378"/>
                    <a:pt x="6974" y="350"/>
                  </a:cubicBezTo>
                  <a:cubicBezTo>
                    <a:pt x="6889" y="323"/>
                    <a:pt x="6707" y="265"/>
                    <a:pt x="6564" y="227"/>
                  </a:cubicBezTo>
                  <a:cubicBezTo>
                    <a:pt x="6426" y="185"/>
                    <a:pt x="6279" y="113"/>
                    <a:pt x="6219" y="77"/>
                  </a:cubicBezTo>
                  <a:cubicBezTo>
                    <a:pt x="6172" y="34"/>
                    <a:pt x="6104" y="5"/>
                    <a:pt x="6079" y="0"/>
                  </a:cubicBezTo>
                  <a:cubicBezTo>
                    <a:pt x="6054" y="0"/>
                    <a:pt x="6058" y="37"/>
                    <a:pt x="6084" y="85"/>
                  </a:cubicBezTo>
                  <a:cubicBezTo>
                    <a:pt x="6113" y="133"/>
                    <a:pt x="6144" y="199"/>
                    <a:pt x="6144" y="232"/>
                  </a:cubicBezTo>
                  <a:cubicBezTo>
                    <a:pt x="6149" y="265"/>
                    <a:pt x="6237" y="399"/>
                    <a:pt x="6343" y="528"/>
                  </a:cubicBezTo>
                  <a:cubicBezTo>
                    <a:pt x="6445" y="660"/>
                    <a:pt x="6554" y="815"/>
                    <a:pt x="6575" y="875"/>
                  </a:cubicBezTo>
                  <a:cubicBezTo>
                    <a:pt x="6603" y="934"/>
                    <a:pt x="6614" y="1041"/>
                    <a:pt x="6614" y="1111"/>
                  </a:cubicBezTo>
                  <a:cubicBezTo>
                    <a:pt x="6614" y="1180"/>
                    <a:pt x="6606" y="1260"/>
                    <a:pt x="6597" y="1286"/>
                  </a:cubicBezTo>
                  <a:cubicBezTo>
                    <a:pt x="6592" y="1312"/>
                    <a:pt x="6528" y="1330"/>
                    <a:pt x="6464" y="1325"/>
                  </a:cubicBezTo>
                  <a:cubicBezTo>
                    <a:pt x="6400" y="1320"/>
                    <a:pt x="6303" y="1473"/>
                    <a:pt x="6256" y="1664"/>
                  </a:cubicBezTo>
                  <a:cubicBezTo>
                    <a:pt x="6201" y="1854"/>
                    <a:pt x="6009" y="2147"/>
                    <a:pt x="5803" y="2309"/>
                  </a:cubicBezTo>
                  <a:cubicBezTo>
                    <a:pt x="5601" y="2472"/>
                    <a:pt x="5338" y="2666"/>
                    <a:pt x="5208" y="2739"/>
                  </a:cubicBezTo>
                  <a:cubicBezTo>
                    <a:pt x="5081" y="2813"/>
                    <a:pt x="4701" y="2918"/>
                    <a:pt x="4368" y="2973"/>
                  </a:cubicBezTo>
                  <a:cubicBezTo>
                    <a:pt x="4040" y="3032"/>
                    <a:pt x="3729" y="3096"/>
                    <a:pt x="3698" y="3132"/>
                  </a:cubicBezTo>
                  <a:cubicBezTo>
                    <a:pt x="3656" y="3163"/>
                    <a:pt x="3518" y="3560"/>
                    <a:pt x="3388" y="4009"/>
                  </a:cubicBezTo>
                  <a:cubicBezTo>
                    <a:pt x="3256" y="4454"/>
                    <a:pt x="3116" y="4856"/>
                    <a:pt x="3075" y="4906"/>
                  </a:cubicBezTo>
                  <a:cubicBezTo>
                    <a:pt x="3035" y="4957"/>
                    <a:pt x="2956" y="4988"/>
                    <a:pt x="2911" y="4983"/>
                  </a:cubicBezTo>
                  <a:cubicBezTo>
                    <a:pt x="2867" y="4977"/>
                    <a:pt x="2727" y="4857"/>
                    <a:pt x="2588" y="4722"/>
                  </a:cubicBezTo>
                  <a:cubicBezTo>
                    <a:pt x="2457" y="4586"/>
                    <a:pt x="2289" y="4450"/>
                    <a:pt x="2224" y="4419"/>
                  </a:cubicBezTo>
                  <a:cubicBezTo>
                    <a:pt x="2161" y="4386"/>
                    <a:pt x="2021" y="4329"/>
                    <a:pt x="1908" y="4302"/>
                  </a:cubicBezTo>
                  <a:cubicBezTo>
                    <a:pt x="1804" y="4264"/>
                    <a:pt x="1673" y="4200"/>
                    <a:pt x="1633" y="4149"/>
                  </a:cubicBezTo>
                  <a:cubicBezTo>
                    <a:pt x="1593" y="4098"/>
                    <a:pt x="1496" y="4071"/>
                    <a:pt x="1434" y="4093"/>
                  </a:cubicBezTo>
                  <a:cubicBezTo>
                    <a:pt x="1367" y="4109"/>
                    <a:pt x="1262" y="4111"/>
                    <a:pt x="1193" y="4106"/>
                  </a:cubicBezTo>
                  <a:cubicBezTo>
                    <a:pt x="1125" y="4093"/>
                    <a:pt x="1053" y="4034"/>
                    <a:pt x="1022" y="3976"/>
                  </a:cubicBezTo>
                  <a:cubicBezTo>
                    <a:pt x="995" y="3916"/>
                    <a:pt x="1009" y="3830"/>
                    <a:pt x="1043" y="3781"/>
                  </a:cubicBezTo>
                  <a:cubicBezTo>
                    <a:pt x="1093" y="3737"/>
                    <a:pt x="1157" y="3672"/>
                    <a:pt x="1223" y="3655"/>
                  </a:cubicBezTo>
                  <a:cubicBezTo>
                    <a:pt x="1283" y="3634"/>
                    <a:pt x="1286" y="3545"/>
                    <a:pt x="1237" y="3459"/>
                  </a:cubicBezTo>
                  <a:cubicBezTo>
                    <a:pt x="1179" y="3374"/>
                    <a:pt x="1107" y="3291"/>
                    <a:pt x="1080" y="3269"/>
                  </a:cubicBezTo>
                  <a:cubicBezTo>
                    <a:pt x="1046" y="3250"/>
                    <a:pt x="1017" y="3240"/>
                    <a:pt x="1011" y="3240"/>
                  </a:cubicBezTo>
                  <a:cubicBezTo>
                    <a:pt x="1006" y="3239"/>
                    <a:pt x="890" y="3281"/>
                    <a:pt x="744" y="3319"/>
                  </a:cubicBezTo>
                  <a:cubicBezTo>
                    <a:pt x="599" y="3357"/>
                    <a:pt x="453" y="3428"/>
                    <a:pt x="405" y="3466"/>
                  </a:cubicBezTo>
                  <a:cubicBezTo>
                    <a:pt x="353" y="3504"/>
                    <a:pt x="260" y="3610"/>
                    <a:pt x="173" y="3692"/>
                  </a:cubicBezTo>
                  <a:cubicBezTo>
                    <a:pt x="93" y="3776"/>
                    <a:pt x="16" y="3901"/>
                    <a:pt x="20" y="3972"/>
                  </a:cubicBezTo>
                  <a:cubicBezTo>
                    <a:pt x="16" y="4043"/>
                    <a:pt x="21" y="4145"/>
                    <a:pt x="3" y="4198"/>
                  </a:cubicBezTo>
                  <a:cubicBezTo>
                    <a:pt x="-2" y="4252"/>
                    <a:pt x="-1" y="4319"/>
                    <a:pt x="16" y="4347"/>
                  </a:cubicBezTo>
                  <a:cubicBezTo>
                    <a:pt x="24" y="4377"/>
                    <a:pt x="98" y="4436"/>
                    <a:pt x="158" y="4483"/>
                  </a:cubicBezTo>
                  <a:cubicBezTo>
                    <a:pt x="226" y="4527"/>
                    <a:pt x="294" y="4602"/>
                    <a:pt x="309" y="4646"/>
                  </a:cubicBezTo>
                  <a:cubicBezTo>
                    <a:pt x="330" y="4690"/>
                    <a:pt x="322" y="4743"/>
                    <a:pt x="287" y="4760"/>
                  </a:cubicBezTo>
                  <a:cubicBezTo>
                    <a:pt x="257" y="4780"/>
                    <a:pt x="233" y="4821"/>
                    <a:pt x="247" y="4853"/>
                  </a:cubicBezTo>
                  <a:cubicBezTo>
                    <a:pt x="256" y="4885"/>
                    <a:pt x="328" y="4961"/>
                    <a:pt x="407" y="5021"/>
                  </a:cubicBezTo>
                  <a:cubicBezTo>
                    <a:pt x="485" y="5081"/>
                    <a:pt x="611" y="5205"/>
                    <a:pt x="686" y="5295"/>
                  </a:cubicBezTo>
                  <a:cubicBezTo>
                    <a:pt x="765" y="5384"/>
                    <a:pt x="831" y="5505"/>
                    <a:pt x="842" y="5561"/>
                  </a:cubicBezTo>
                  <a:cubicBezTo>
                    <a:pt x="852" y="5617"/>
                    <a:pt x="817" y="5665"/>
                    <a:pt x="774" y="5651"/>
                  </a:cubicBezTo>
                  <a:cubicBezTo>
                    <a:pt x="724" y="5651"/>
                    <a:pt x="645" y="5648"/>
                    <a:pt x="605" y="5665"/>
                  </a:cubicBezTo>
                  <a:cubicBezTo>
                    <a:pt x="558" y="5675"/>
                    <a:pt x="524" y="5722"/>
                    <a:pt x="515" y="5763"/>
                  </a:cubicBezTo>
                  <a:cubicBezTo>
                    <a:pt x="510" y="5804"/>
                    <a:pt x="556" y="5885"/>
                    <a:pt x="631" y="5937"/>
                  </a:cubicBezTo>
                  <a:cubicBezTo>
                    <a:pt x="700" y="5992"/>
                    <a:pt x="812" y="6067"/>
                    <a:pt x="887" y="6099"/>
                  </a:cubicBezTo>
                  <a:cubicBezTo>
                    <a:pt x="955" y="6135"/>
                    <a:pt x="1118" y="6232"/>
                    <a:pt x="1238" y="6322"/>
                  </a:cubicBezTo>
                  <a:cubicBezTo>
                    <a:pt x="1359" y="6412"/>
                    <a:pt x="1527" y="6513"/>
                    <a:pt x="1625" y="6530"/>
                  </a:cubicBezTo>
                  <a:cubicBezTo>
                    <a:pt x="1721" y="6551"/>
                    <a:pt x="1931" y="6656"/>
                    <a:pt x="2087" y="6760"/>
                  </a:cubicBezTo>
                  <a:cubicBezTo>
                    <a:pt x="2252" y="6861"/>
                    <a:pt x="2439" y="6968"/>
                    <a:pt x="2513" y="6992"/>
                  </a:cubicBezTo>
                  <a:cubicBezTo>
                    <a:pt x="2581" y="7020"/>
                    <a:pt x="2672" y="7080"/>
                    <a:pt x="2702" y="7132"/>
                  </a:cubicBezTo>
                  <a:cubicBezTo>
                    <a:pt x="2732" y="7183"/>
                    <a:pt x="2849" y="7309"/>
                    <a:pt x="2952" y="7415"/>
                  </a:cubicBezTo>
                  <a:cubicBezTo>
                    <a:pt x="3058" y="7518"/>
                    <a:pt x="3166" y="7672"/>
                    <a:pt x="3209" y="7753"/>
                  </a:cubicBezTo>
                  <a:cubicBezTo>
                    <a:pt x="3241" y="7835"/>
                    <a:pt x="3323" y="7953"/>
                    <a:pt x="3380" y="8019"/>
                  </a:cubicBezTo>
                  <a:cubicBezTo>
                    <a:pt x="3438" y="8084"/>
                    <a:pt x="3616" y="8204"/>
                    <a:pt x="3770" y="8287"/>
                  </a:cubicBezTo>
                  <a:cubicBezTo>
                    <a:pt x="3924" y="8372"/>
                    <a:pt x="4132" y="8516"/>
                    <a:pt x="4218" y="8613"/>
                  </a:cubicBezTo>
                  <a:cubicBezTo>
                    <a:pt x="4312" y="8707"/>
                    <a:pt x="4423" y="8857"/>
                    <a:pt x="4468" y="8945"/>
                  </a:cubicBezTo>
                  <a:cubicBezTo>
                    <a:pt x="4521" y="9031"/>
                    <a:pt x="4602" y="9154"/>
                    <a:pt x="4662" y="9217"/>
                  </a:cubicBezTo>
                  <a:cubicBezTo>
                    <a:pt x="4719" y="9281"/>
                    <a:pt x="4807" y="9409"/>
                    <a:pt x="4850" y="9506"/>
                  </a:cubicBezTo>
                  <a:cubicBezTo>
                    <a:pt x="4890" y="9602"/>
                    <a:pt x="4988" y="9739"/>
                    <a:pt x="5057" y="9812"/>
                  </a:cubicBezTo>
                  <a:cubicBezTo>
                    <a:pt x="5126" y="9884"/>
                    <a:pt x="5238" y="9971"/>
                    <a:pt x="5298" y="10008"/>
                  </a:cubicBezTo>
                  <a:cubicBezTo>
                    <a:pt x="5363" y="10044"/>
                    <a:pt x="5494" y="10159"/>
                    <a:pt x="5587" y="10263"/>
                  </a:cubicBezTo>
                  <a:cubicBezTo>
                    <a:pt x="5683" y="10367"/>
                    <a:pt x="5787" y="10510"/>
                    <a:pt x="5825" y="10580"/>
                  </a:cubicBezTo>
                  <a:cubicBezTo>
                    <a:pt x="5859" y="10651"/>
                    <a:pt x="5882" y="10725"/>
                    <a:pt x="5871" y="10743"/>
                  </a:cubicBezTo>
                  <a:cubicBezTo>
                    <a:pt x="5854" y="10762"/>
                    <a:pt x="5922" y="10868"/>
                    <a:pt x="6013" y="10977"/>
                  </a:cubicBezTo>
                  <a:cubicBezTo>
                    <a:pt x="6101" y="11086"/>
                    <a:pt x="6296" y="11284"/>
                    <a:pt x="6451" y="11414"/>
                  </a:cubicBezTo>
                  <a:cubicBezTo>
                    <a:pt x="6605" y="11546"/>
                    <a:pt x="6770" y="11712"/>
                    <a:pt x="6843" y="11777"/>
                  </a:cubicBezTo>
                  <a:cubicBezTo>
                    <a:pt x="6903" y="11845"/>
                    <a:pt x="6964" y="11935"/>
                    <a:pt x="6959" y="11980"/>
                  </a:cubicBezTo>
                  <a:cubicBezTo>
                    <a:pt x="6959" y="12023"/>
                    <a:pt x="6982" y="12093"/>
                    <a:pt x="7008" y="12135"/>
                  </a:cubicBezTo>
                  <a:cubicBezTo>
                    <a:pt x="7035" y="12176"/>
                    <a:pt x="7099" y="12225"/>
                    <a:pt x="7147" y="12247"/>
                  </a:cubicBezTo>
                  <a:cubicBezTo>
                    <a:pt x="7198" y="12266"/>
                    <a:pt x="7359" y="12370"/>
                    <a:pt x="7510" y="12477"/>
                  </a:cubicBezTo>
                  <a:cubicBezTo>
                    <a:pt x="7658" y="12585"/>
                    <a:pt x="7831" y="12715"/>
                    <a:pt x="7873" y="12774"/>
                  </a:cubicBezTo>
                  <a:cubicBezTo>
                    <a:pt x="7920" y="12831"/>
                    <a:pt x="7989" y="12945"/>
                    <a:pt x="8041" y="13025"/>
                  </a:cubicBezTo>
                  <a:cubicBezTo>
                    <a:pt x="8073" y="13109"/>
                    <a:pt x="8150" y="13210"/>
                    <a:pt x="8202" y="13248"/>
                  </a:cubicBezTo>
                  <a:cubicBezTo>
                    <a:pt x="8241" y="13292"/>
                    <a:pt x="8369" y="13357"/>
                    <a:pt x="8470" y="13399"/>
                  </a:cubicBezTo>
                  <a:cubicBezTo>
                    <a:pt x="8570" y="13444"/>
                    <a:pt x="8689" y="13534"/>
                    <a:pt x="8733" y="13605"/>
                  </a:cubicBezTo>
                  <a:cubicBezTo>
                    <a:pt x="8777" y="13675"/>
                    <a:pt x="8942" y="13853"/>
                    <a:pt x="9089" y="14002"/>
                  </a:cubicBezTo>
                  <a:cubicBezTo>
                    <a:pt x="9243" y="14150"/>
                    <a:pt x="9406" y="14329"/>
                    <a:pt x="9459" y="14399"/>
                  </a:cubicBezTo>
                  <a:cubicBezTo>
                    <a:pt x="9500" y="14471"/>
                    <a:pt x="9690" y="14650"/>
                    <a:pt x="9859" y="14803"/>
                  </a:cubicBezTo>
                  <a:cubicBezTo>
                    <a:pt x="10040" y="14952"/>
                    <a:pt x="10187" y="15124"/>
                    <a:pt x="10211" y="15178"/>
                  </a:cubicBezTo>
                  <a:cubicBezTo>
                    <a:pt x="10230" y="15231"/>
                    <a:pt x="10232" y="15282"/>
                    <a:pt x="10205" y="15282"/>
                  </a:cubicBezTo>
                  <a:cubicBezTo>
                    <a:pt x="10178" y="15287"/>
                    <a:pt x="10121" y="15272"/>
                    <a:pt x="10082" y="15247"/>
                  </a:cubicBezTo>
                  <a:cubicBezTo>
                    <a:pt x="10040" y="15224"/>
                    <a:pt x="10011" y="15227"/>
                    <a:pt x="10024" y="15254"/>
                  </a:cubicBezTo>
                  <a:cubicBezTo>
                    <a:pt x="10029" y="15283"/>
                    <a:pt x="10063" y="15345"/>
                    <a:pt x="10096" y="15393"/>
                  </a:cubicBezTo>
                  <a:cubicBezTo>
                    <a:pt x="10133" y="15441"/>
                    <a:pt x="10165" y="15518"/>
                    <a:pt x="10184" y="15560"/>
                  </a:cubicBezTo>
                  <a:cubicBezTo>
                    <a:pt x="10207" y="15601"/>
                    <a:pt x="10246" y="15639"/>
                    <a:pt x="10285" y="15639"/>
                  </a:cubicBezTo>
                  <a:cubicBezTo>
                    <a:pt x="10324" y="15639"/>
                    <a:pt x="10398" y="15669"/>
                    <a:pt x="10458" y="15700"/>
                  </a:cubicBezTo>
                  <a:cubicBezTo>
                    <a:pt x="10511" y="15733"/>
                    <a:pt x="10582" y="15790"/>
                    <a:pt x="10604" y="15828"/>
                  </a:cubicBezTo>
                  <a:cubicBezTo>
                    <a:pt x="10629" y="15866"/>
                    <a:pt x="10643" y="15918"/>
                    <a:pt x="10643" y="15944"/>
                  </a:cubicBezTo>
                  <a:cubicBezTo>
                    <a:pt x="10638" y="15969"/>
                    <a:pt x="10755" y="16060"/>
                    <a:pt x="10898" y="16146"/>
                  </a:cubicBezTo>
                  <a:cubicBezTo>
                    <a:pt x="11041" y="16232"/>
                    <a:pt x="11270" y="16353"/>
                    <a:pt x="11402" y="16419"/>
                  </a:cubicBezTo>
                  <a:cubicBezTo>
                    <a:pt x="11533" y="16484"/>
                    <a:pt x="11665" y="16567"/>
                    <a:pt x="11680" y="16607"/>
                  </a:cubicBezTo>
                  <a:cubicBezTo>
                    <a:pt x="11703" y="16646"/>
                    <a:pt x="11776" y="16731"/>
                    <a:pt x="11856" y="16791"/>
                  </a:cubicBezTo>
                  <a:cubicBezTo>
                    <a:pt x="11931" y="16853"/>
                    <a:pt x="12056" y="16915"/>
                    <a:pt x="12123" y="16937"/>
                  </a:cubicBezTo>
                  <a:cubicBezTo>
                    <a:pt x="12195" y="16953"/>
                    <a:pt x="12281" y="16997"/>
                    <a:pt x="12321" y="17027"/>
                  </a:cubicBezTo>
                  <a:cubicBezTo>
                    <a:pt x="12359" y="17058"/>
                    <a:pt x="12428" y="17126"/>
                    <a:pt x="12473" y="17177"/>
                  </a:cubicBezTo>
                  <a:cubicBezTo>
                    <a:pt x="12526" y="17226"/>
                    <a:pt x="12597" y="17299"/>
                    <a:pt x="12657" y="17327"/>
                  </a:cubicBezTo>
                  <a:cubicBezTo>
                    <a:pt x="12712" y="17358"/>
                    <a:pt x="12846" y="17400"/>
                    <a:pt x="12957" y="17411"/>
                  </a:cubicBezTo>
                  <a:cubicBezTo>
                    <a:pt x="13066" y="17427"/>
                    <a:pt x="13177" y="17419"/>
                    <a:pt x="13197" y="17391"/>
                  </a:cubicBezTo>
                  <a:cubicBezTo>
                    <a:pt x="13210" y="17362"/>
                    <a:pt x="13237" y="17378"/>
                    <a:pt x="13232" y="17422"/>
                  </a:cubicBezTo>
                  <a:cubicBezTo>
                    <a:pt x="13228" y="17467"/>
                    <a:pt x="13298" y="17557"/>
                    <a:pt x="13384" y="17623"/>
                  </a:cubicBezTo>
                  <a:cubicBezTo>
                    <a:pt x="13472" y="17687"/>
                    <a:pt x="13657" y="17795"/>
                    <a:pt x="13792" y="17865"/>
                  </a:cubicBezTo>
                  <a:cubicBezTo>
                    <a:pt x="13929" y="17935"/>
                    <a:pt x="14098" y="18029"/>
                    <a:pt x="14168" y="18074"/>
                  </a:cubicBezTo>
                  <a:cubicBezTo>
                    <a:pt x="14233" y="18123"/>
                    <a:pt x="14323" y="18193"/>
                    <a:pt x="14343" y="18237"/>
                  </a:cubicBezTo>
                  <a:cubicBezTo>
                    <a:pt x="14372" y="18279"/>
                    <a:pt x="14449" y="18344"/>
                    <a:pt x="14515" y="18384"/>
                  </a:cubicBezTo>
                  <a:cubicBezTo>
                    <a:pt x="14586" y="18419"/>
                    <a:pt x="14717" y="18488"/>
                    <a:pt x="14821" y="18525"/>
                  </a:cubicBezTo>
                  <a:cubicBezTo>
                    <a:pt x="14925" y="18563"/>
                    <a:pt x="15027" y="18591"/>
                    <a:pt x="15055" y="18591"/>
                  </a:cubicBezTo>
                  <a:cubicBezTo>
                    <a:pt x="15084" y="18587"/>
                    <a:pt x="15163" y="18606"/>
                    <a:pt x="15233" y="18629"/>
                  </a:cubicBezTo>
                  <a:cubicBezTo>
                    <a:pt x="15300" y="18656"/>
                    <a:pt x="15504" y="18745"/>
                    <a:pt x="15673" y="18838"/>
                  </a:cubicBezTo>
                  <a:cubicBezTo>
                    <a:pt x="15849" y="18927"/>
                    <a:pt x="16078" y="19040"/>
                    <a:pt x="16191" y="19085"/>
                  </a:cubicBezTo>
                  <a:cubicBezTo>
                    <a:pt x="16300" y="19133"/>
                    <a:pt x="16455" y="19178"/>
                    <a:pt x="16527" y="19195"/>
                  </a:cubicBezTo>
                  <a:cubicBezTo>
                    <a:pt x="16602" y="19206"/>
                    <a:pt x="16694" y="19237"/>
                    <a:pt x="16732" y="19258"/>
                  </a:cubicBezTo>
                  <a:cubicBezTo>
                    <a:pt x="16773" y="19275"/>
                    <a:pt x="16830" y="19326"/>
                    <a:pt x="16870" y="19365"/>
                  </a:cubicBezTo>
                  <a:cubicBezTo>
                    <a:pt x="16902" y="19407"/>
                    <a:pt x="17044" y="19498"/>
                    <a:pt x="17168" y="19573"/>
                  </a:cubicBezTo>
                  <a:cubicBezTo>
                    <a:pt x="17290" y="19650"/>
                    <a:pt x="17456" y="19737"/>
                    <a:pt x="17527" y="19771"/>
                  </a:cubicBezTo>
                  <a:cubicBezTo>
                    <a:pt x="17590" y="19811"/>
                    <a:pt x="17742" y="19894"/>
                    <a:pt x="17848" y="19965"/>
                  </a:cubicBezTo>
                  <a:cubicBezTo>
                    <a:pt x="17958" y="20034"/>
                    <a:pt x="18091" y="20112"/>
                    <a:pt x="18149" y="20136"/>
                  </a:cubicBezTo>
                  <a:cubicBezTo>
                    <a:pt x="18208" y="20158"/>
                    <a:pt x="18287" y="20211"/>
                    <a:pt x="18326" y="20251"/>
                  </a:cubicBezTo>
                  <a:cubicBezTo>
                    <a:pt x="18376" y="20287"/>
                    <a:pt x="18407" y="20345"/>
                    <a:pt x="18412" y="20374"/>
                  </a:cubicBezTo>
                  <a:cubicBezTo>
                    <a:pt x="18424" y="20401"/>
                    <a:pt x="18441" y="20456"/>
                    <a:pt x="18456" y="20495"/>
                  </a:cubicBezTo>
                  <a:cubicBezTo>
                    <a:pt x="18471" y="20535"/>
                    <a:pt x="18565" y="20590"/>
                    <a:pt x="18660" y="20618"/>
                  </a:cubicBezTo>
                  <a:cubicBezTo>
                    <a:pt x="18750" y="20648"/>
                    <a:pt x="18911" y="20702"/>
                    <a:pt x="19011" y="20743"/>
                  </a:cubicBezTo>
                  <a:cubicBezTo>
                    <a:pt x="19107" y="20787"/>
                    <a:pt x="19303" y="20898"/>
                    <a:pt x="19448" y="20993"/>
                  </a:cubicBezTo>
                  <a:cubicBezTo>
                    <a:pt x="19578" y="21093"/>
                    <a:pt x="19806" y="21236"/>
                    <a:pt x="19937" y="21318"/>
                  </a:cubicBezTo>
                  <a:cubicBezTo>
                    <a:pt x="20060" y="21403"/>
                    <a:pt x="20228" y="21494"/>
                    <a:pt x="20307" y="21516"/>
                  </a:cubicBezTo>
                  <a:cubicBezTo>
                    <a:pt x="20376" y="21548"/>
                    <a:pt x="20452" y="21580"/>
                    <a:pt x="20477" y="21586"/>
                  </a:cubicBezTo>
                  <a:cubicBezTo>
                    <a:pt x="20499" y="21596"/>
                    <a:pt x="20584" y="21600"/>
                    <a:pt x="20665" y="21578"/>
                  </a:cubicBezTo>
                  <a:cubicBezTo>
                    <a:pt x="20750" y="21563"/>
                    <a:pt x="20877" y="21529"/>
                    <a:pt x="20944" y="21502"/>
                  </a:cubicBezTo>
                  <a:cubicBezTo>
                    <a:pt x="21013" y="21476"/>
                    <a:pt x="21115" y="21469"/>
                    <a:pt x="21170" y="21486"/>
                  </a:cubicBezTo>
                  <a:close/>
                  <a:moveTo>
                    <a:pt x="21170" y="2148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4" name="AutoShape 1336"/>
            <p:cNvSpPr>
              <a:spLocks/>
            </p:cNvSpPr>
            <p:nvPr/>
          </p:nvSpPr>
          <p:spPr bwMode="auto">
            <a:xfrm>
              <a:off x="4457700" y="5842000"/>
              <a:ext cx="439738" cy="512763"/>
            </a:xfrm>
            <a:custGeom>
              <a:avLst/>
              <a:gdLst/>
              <a:ahLst/>
              <a:cxnLst/>
              <a:rect l="0" t="0" r="r" b="b"/>
              <a:pathLst>
                <a:path w="21425" h="21570">
                  <a:moveTo>
                    <a:pt x="528" y="2323"/>
                  </a:moveTo>
                  <a:cubicBezTo>
                    <a:pt x="531" y="2327"/>
                    <a:pt x="534" y="2331"/>
                    <a:pt x="537" y="2335"/>
                  </a:cubicBezTo>
                  <a:cubicBezTo>
                    <a:pt x="1019" y="2980"/>
                    <a:pt x="1428" y="3557"/>
                    <a:pt x="1448" y="3619"/>
                  </a:cubicBezTo>
                  <a:cubicBezTo>
                    <a:pt x="1464" y="3682"/>
                    <a:pt x="1456" y="3819"/>
                    <a:pt x="1411" y="3919"/>
                  </a:cubicBezTo>
                  <a:cubicBezTo>
                    <a:pt x="1377" y="4023"/>
                    <a:pt x="1396" y="4349"/>
                    <a:pt x="1474" y="4643"/>
                  </a:cubicBezTo>
                  <a:cubicBezTo>
                    <a:pt x="1537" y="4940"/>
                    <a:pt x="1596" y="5280"/>
                    <a:pt x="1577" y="5403"/>
                  </a:cubicBezTo>
                  <a:cubicBezTo>
                    <a:pt x="1564" y="5526"/>
                    <a:pt x="1606" y="5729"/>
                    <a:pt x="1667" y="5858"/>
                  </a:cubicBezTo>
                  <a:cubicBezTo>
                    <a:pt x="1729" y="5986"/>
                    <a:pt x="1851" y="6310"/>
                    <a:pt x="1923" y="6582"/>
                  </a:cubicBezTo>
                  <a:cubicBezTo>
                    <a:pt x="2000" y="6855"/>
                    <a:pt x="2078" y="7190"/>
                    <a:pt x="2078" y="7329"/>
                  </a:cubicBezTo>
                  <a:cubicBezTo>
                    <a:pt x="2082" y="7467"/>
                    <a:pt x="2067" y="7618"/>
                    <a:pt x="2033" y="7663"/>
                  </a:cubicBezTo>
                  <a:cubicBezTo>
                    <a:pt x="2005" y="7711"/>
                    <a:pt x="2009" y="7820"/>
                    <a:pt x="2043" y="7913"/>
                  </a:cubicBezTo>
                  <a:cubicBezTo>
                    <a:pt x="2077" y="8005"/>
                    <a:pt x="2147" y="8126"/>
                    <a:pt x="2182" y="8186"/>
                  </a:cubicBezTo>
                  <a:cubicBezTo>
                    <a:pt x="2221" y="8246"/>
                    <a:pt x="2276" y="8383"/>
                    <a:pt x="2315" y="8489"/>
                  </a:cubicBezTo>
                  <a:cubicBezTo>
                    <a:pt x="2351" y="8596"/>
                    <a:pt x="2363" y="8729"/>
                    <a:pt x="2339" y="8787"/>
                  </a:cubicBezTo>
                  <a:cubicBezTo>
                    <a:pt x="2312" y="8841"/>
                    <a:pt x="2452" y="9132"/>
                    <a:pt x="2628" y="9435"/>
                  </a:cubicBezTo>
                  <a:cubicBezTo>
                    <a:pt x="2813" y="9731"/>
                    <a:pt x="2974" y="10056"/>
                    <a:pt x="2988" y="10152"/>
                  </a:cubicBezTo>
                  <a:cubicBezTo>
                    <a:pt x="3007" y="10248"/>
                    <a:pt x="2982" y="10402"/>
                    <a:pt x="2931" y="10491"/>
                  </a:cubicBezTo>
                  <a:cubicBezTo>
                    <a:pt x="2883" y="10582"/>
                    <a:pt x="2784" y="10687"/>
                    <a:pt x="2717" y="10730"/>
                  </a:cubicBezTo>
                  <a:cubicBezTo>
                    <a:pt x="2643" y="10764"/>
                    <a:pt x="2584" y="10903"/>
                    <a:pt x="2551" y="11018"/>
                  </a:cubicBezTo>
                  <a:cubicBezTo>
                    <a:pt x="2529" y="11137"/>
                    <a:pt x="2549" y="11268"/>
                    <a:pt x="2588" y="11317"/>
                  </a:cubicBezTo>
                  <a:cubicBezTo>
                    <a:pt x="2633" y="11362"/>
                    <a:pt x="2710" y="11413"/>
                    <a:pt x="2756" y="11437"/>
                  </a:cubicBezTo>
                  <a:cubicBezTo>
                    <a:pt x="2805" y="11458"/>
                    <a:pt x="2861" y="11519"/>
                    <a:pt x="2888" y="11572"/>
                  </a:cubicBezTo>
                  <a:cubicBezTo>
                    <a:pt x="2910" y="11626"/>
                    <a:pt x="2948" y="11674"/>
                    <a:pt x="2965" y="11686"/>
                  </a:cubicBezTo>
                  <a:cubicBezTo>
                    <a:pt x="2986" y="11686"/>
                    <a:pt x="3026" y="11787"/>
                    <a:pt x="3065" y="11891"/>
                  </a:cubicBezTo>
                  <a:cubicBezTo>
                    <a:pt x="3102" y="11996"/>
                    <a:pt x="3207" y="12158"/>
                    <a:pt x="3307" y="12249"/>
                  </a:cubicBezTo>
                  <a:cubicBezTo>
                    <a:pt x="3406" y="12338"/>
                    <a:pt x="3529" y="12455"/>
                    <a:pt x="3578" y="12509"/>
                  </a:cubicBezTo>
                  <a:cubicBezTo>
                    <a:pt x="3630" y="12561"/>
                    <a:pt x="3701" y="12665"/>
                    <a:pt x="3731" y="12743"/>
                  </a:cubicBezTo>
                  <a:cubicBezTo>
                    <a:pt x="3763" y="12821"/>
                    <a:pt x="3789" y="12947"/>
                    <a:pt x="3798" y="13022"/>
                  </a:cubicBezTo>
                  <a:cubicBezTo>
                    <a:pt x="3803" y="13096"/>
                    <a:pt x="3819" y="13199"/>
                    <a:pt x="3853" y="13241"/>
                  </a:cubicBezTo>
                  <a:cubicBezTo>
                    <a:pt x="3876" y="13289"/>
                    <a:pt x="3953" y="13440"/>
                    <a:pt x="4004" y="13583"/>
                  </a:cubicBezTo>
                  <a:cubicBezTo>
                    <a:pt x="4063" y="13722"/>
                    <a:pt x="4179" y="13924"/>
                    <a:pt x="4264" y="14030"/>
                  </a:cubicBezTo>
                  <a:cubicBezTo>
                    <a:pt x="4339" y="14139"/>
                    <a:pt x="4600" y="14371"/>
                    <a:pt x="4811" y="14566"/>
                  </a:cubicBezTo>
                  <a:cubicBezTo>
                    <a:pt x="5032" y="14753"/>
                    <a:pt x="5231" y="14966"/>
                    <a:pt x="5264" y="15032"/>
                  </a:cubicBezTo>
                  <a:cubicBezTo>
                    <a:pt x="5294" y="15099"/>
                    <a:pt x="5314" y="15237"/>
                    <a:pt x="5301" y="15341"/>
                  </a:cubicBezTo>
                  <a:cubicBezTo>
                    <a:pt x="5286" y="15445"/>
                    <a:pt x="5317" y="15602"/>
                    <a:pt x="5371" y="15687"/>
                  </a:cubicBezTo>
                  <a:cubicBezTo>
                    <a:pt x="5422" y="15774"/>
                    <a:pt x="5428" y="15998"/>
                    <a:pt x="5402" y="16186"/>
                  </a:cubicBezTo>
                  <a:cubicBezTo>
                    <a:pt x="5362" y="16372"/>
                    <a:pt x="5401" y="16604"/>
                    <a:pt x="5484" y="16695"/>
                  </a:cubicBezTo>
                  <a:cubicBezTo>
                    <a:pt x="5560" y="16790"/>
                    <a:pt x="5827" y="17052"/>
                    <a:pt x="6067" y="17282"/>
                  </a:cubicBezTo>
                  <a:cubicBezTo>
                    <a:pt x="6312" y="17513"/>
                    <a:pt x="6926" y="18395"/>
                    <a:pt x="7445" y="19235"/>
                  </a:cubicBezTo>
                  <a:cubicBezTo>
                    <a:pt x="7966" y="20073"/>
                    <a:pt x="8474" y="20785"/>
                    <a:pt x="8583" y="20808"/>
                  </a:cubicBezTo>
                  <a:cubicBezTo>
                    <a:pt x="8689" y="20838"/>
                    <a:pt x="8789" y="20824"/>
                    <a:pt x="8802" y="20782"/>
                  </a:cubicBezTo>
                  <a:cubicBezTo>
                    <a:pt x="8819" y="20740"/>
                    <a:pt x="8876" y="20698"/>
                    <a:pt x="8932" y="20713"/>
                  </a:cubicBezTo>
                  <a:cubicBezTo>
                    <a:pt x="8991" y="20704"/>
                    <a:pt x="9041" y="20723"/>
                    <a:pt x="9041" y="20723"/>
                  </a:cubicBezTo>
                  <a:cubicBezTo>
                    <a:pt x="9042" y="20723"/>
                    <a:pt x="9067" y="20685"/>
                    <a:pt x="9100" y="20636"/>
                  </a:cubicBezTo>
                  <a:cubicBezTo>
                    <a:pt x="9130" y="20585"/>
                    <a:pt x="9174" y="20446"/>
                    <a:pt x="9206" y="20326"/>
                  </a:cubicBezTo>
                  <a:cubicBezTo>
                    <a:pt x="9223" y="20201"/>
                    <a:pt x="9346" y="20009"/>
                    <a:pt x="9450" y="19888"/>
                  </a:cubicBezTo>
                  <a:cubicBezTo>
                    <a:pt x="9553" y="19765"/>
                    <a:pt x="9724" y="19657"/>
                    <a:pt x="9818" y="19657"/>
                  </a:cubicBezTo>
                  <a:cubicBezTo>
                    <a:pt x="9910" y="19642"/>
                    <a:pt x="10090" y="19731"/>
                    <a:pt x="10213" y="19841"/>
                  </a:cubicBezTo>
                  <a:cubicBezTo>
                    <a:pt x="10335" y="19950"/>
                    <a:pt x="10527" y="20063"/>
                    <a:pt x="10642" y="20070"/>
                  </a:cubicBezTo>
                  <a:cubicBezTo>
                    <a:pt x="10753" y="20093"/>
                    <a:pt x="10900" y="20095"/>
                    <a:pt x="10965" y="20102"/>
                  </a:cubicBezTo>
                  <a:cubicBezTo>
                    <a:pt x="11029" y="20095"/>
                    <a:pt x="11160" y="20139"/>
                    <a:pt x="11254" y="20183"/>
                  </a:cubicBezTo>
                  <a:cubicBezTo>
                    <a:pt x="11353" y="20217"/>
                    <a:pt x="11539" y="20268"/>
                    <a:pt x="11677" y="20275"/>
                  </a:cubicBezTo>
                  <a:cubicBezTo>
                    <a:pt x="11816" y="20275"/>
                    <a:pt x="11993" y="20318"/>
                    <a:pt x="12075" y="20342"/>
                  </a:cubicBezTo>
                  <a:cubicBezTo>
                    <a:pt x="12155" y="20374"/>
                    <a:pt x="12265" y="20481"/>
                    <a:pt x="12306" y="20590"/>
                  </a:cubicBezTo>
                  <a:cubicBezTo>
                    <a:pt x="12354" y="20695"/>
                    <a:pt x="12475" y="20930"/>
                    <a:pt x="12586" y="21105"/>
                  </a:cubicBezTo>
                  <a:cubicBezTo>
                    <a:pt x="12686" y="21286"/>
                    <a:pt x="12815" y="21471"/>
                    <a:pt x="12858" y="21522"/>
                  </a:cubicBezTo>
                  <a:cubicBezTo>
                    <a:pt x="12904" y="21572"/>
                    <a:pt x="12952" y="21586"/>
                    <a:pt x="12977" y="21551"/>
                  </a:cubicBezTo>
                  <a:cubicBezTo>
                    <a:pt x="13007" y="21519"/>
                    <a:pt x="12989" y="21425"/>
                    <a:pt x="12968" y="21349"/>
                  </a:cubicBezTo>
                  <a:cubicBezTo>
                    <a:pt x="12939" y="21276"/>
                    <a:pt x="12937" y="21162"/>
                    <a:pt x="12966" y="21101"/>
                  </a:cubicBezTo>
                  <a:cubicBezTo>
                    <a:pt x="13000" y="21041"/>
                    <a:pt x="12986" y="20929"/>
                    <a:pt x="12974" y="20854"/>
                  </a:cubicBezTo>
                  <a:cubicBezTo>
                    <a:pt x="12948" y="20782"/>
                    <a:pt x="12971" y="20660"/>
                    <a:pt x="13007" y="20583"/>
                  </a:cubicBezTo>
                  <a:cubicBezTo>
                    <a:pt x="13042" y="20507"/>
                    <a:pt x="13276" y="20486"/>
                    <a:pt x="13513" y="20548"/>
                  </a:cubicBezTo>
                  <a:cubicBezTo>
                    <a:pt x="13755" y="20596"/>
                    <a:pt x="14125" y="20689"/>
                    <a:pt x="14336" y="20749"/>
                  </a:cubicBezTo>
                  <a:cubicBezTo>
                    <a:pt x="14549" y="20804"/>
                    <a:pt x="14807" y="20919"/>
                    <a:pt x="14903" y="21009"/>
                  </a:cubicBezTo>
                  <a:cubicBezTo>
                    <a:pt x="15000" y="21097"/>
                    <a:pt x="15082" y="21066"/>
                    <a:pt x="15078" y="20941"/>
                  </a:cubicBezTo>
                  <a:cubicBezTo>
                    <a:pt x="15076" y="20815"/>
                    <a:pt x="15113" y="20556"/>
                    <a:pt x="15166" y="20364"/>
                  </a:cubicBezTo>
                  <a:cubicBezTo>
                    <a:pt x="15219" y="20172"/>
                    <a:pt x="15246" y="19929"/>
                    <a:pt x="15225" y="19824"/>
                  </a:cubicBezTo>
                  <a:cubicBezTo>
                    <a:pt x="15205" y="19719"/>
                    <a:pt x="15154" y="19540"/>
                    <a:pt x="15106" y="19428"/>
                  </a:cubicBezTo>
                  <a:cubicBezTo>
                    <a:pt x="15067" y="19313"/>
                    <a:pt x="14977" y="19161"/>
                    <a:pt x="14915" y="19089"/>
                  </a:cubicBezTo>
                  <a:cubicBezTo>
                    <a:pt x="14852" y="19017"/>
                    <a:pt x="14885" y="18829"/>
                    <a:pt x="14958" y="18667"/>
                  </a:cubicBezTo>
                  <a:cubicBezTo>
                    <a:pt x="15048" y="18508"/>
                    <a:pt x="15121" y="18260"/>
                    <a:pt x="15139" y="18121"/>
                  </a:cubicBezTo>
                  <a:cubicBezTo>
                    <a:pt x="15158" y="17981"/>
                    <a:pt x="15148" y="17811"/>
                    <a:pt x="15134" y="17743"/>
                  </a:cubicBezTo>
                  <a:cubicBezTo>
                    <a:pt x="15112" y="17676"/>
                    <a:pt x="15174" y="17592"/>
                    <a:pt x="15252" y="17546"/>
                  </a:cubicBezTo>
                  <a:cubicBezTo>
                    <a:pt x="15337" y="17509"/>
                    <a:pt x="15851" y="17449"/>
                    <a:pt x="16403" y="17418"/>
                  </a:cubicBezTo>
                  <a:cubicBezTo>
                    <a:pt x="16959" y="17386"/>
                    <a:pt x="17829" y="17441"/>
                    <a:pt x="18330" y="17556"/>
                  </a:cubicBezTo>
                  <a:cubicBezTo>
                    <a:pt x="18836" y="17666"/>
                    <a:pt x="19538" y="17964"/>
                    <a:pt x="19881" y="18228"/>
                  </a:cubicBezTo>
                  <a:cubicBezTo>
                    <a:pt x="20227" y="18491"/>
                    <a:pt x="20573" y="18727"/>
                    <a:pt x="20648" y="18752"/>
                  </a:cubicBezTo>
                  <a:cubicBezTo>
                    <a:pt x="20668" y="18758"/>
                    <a:pt x="20695" y="18772"/>
                    <a:pt x="20724" y="18790"/>
                  </a:cubicBezTo>
                  <a:cubicBezTo>
                    <a:pt x="20786" y="18825"/>
                    <a:pt x="20852" y="18869"/>
                    <a:pt x="20898" y="18913"/>
                  </a:cubicBezTo>
                  <a:cubicBezTo>
                    <a:pt x="20959" y="18975"/>
                    <a:pt x="21054" y="18976"/>
                    <a:pt x="21087" y="18909"/>
                  </a:cubicBezTo>
                  <a:cubicBezTo>
                    <a:pt x="21126" y="18843"/>
                    <a:pt x="21136" y="18742"/>
                    <a:pt x="21113" y="18679"/>
                  </a:cubicBezTo>
                  <a:cubicBezTo>
                    <a:pt x="21088" y="18615"/>
                    <a:pt x="21165" y="18268"/>
                    <a:pt x="21284" y="17902"/>
                  </a:cubicBezTo>
                  <a:cubicBezTo>
                    <a:pt x="21410" y="17535"/>
                    <a:pt x="21462" y="17062"/>
                    <a:pt x="21397" y="16854"/>
                  </a:cubicBezTo>
                  <a:cubicBezTo>
                    <a:pt x="21343" y="16643"/>
                    <a:pt x="21015" y="16119"/>
                    <a:pt x="20688" y="15683"/>
                  </a:cubicBezTo>
                  <a:cubicBezTo>
                    <a:pt x="20362" y="15248"/>
                    <a:pt x="19895" y="14810"/>
                    <a:pt x="19647" y="14722"/>
                  </a:cubicBezTo>
                  <a:cubicBezTo>
                    <a:pt x="19399" y="14633"/>
                    <a:pt x="19183" y="14413"/>
                    <a:pt x="19152" y="14244"/>
                  </a:cubicBezTo>
                  <a:cubicBezTo>
                    <a:pt x="19129" y="14074"/>
                    <a:pt x="19018" y="13707"/>
                    <a:pt x="18919" y="13428"/>
                  </a:cubicBezTo>
                  <a:cubicBezTo>
                    <a:pt x="18813" y="13151"/>
                    <a:pt x="18087" y="12786"/>
                    <a:pt x="17296" y="12628"/>
                  </a:cubicBezTo>
                  <a:cubicBezTo>
                    <a:pt x="16509" y="12472"/>
                    <a:pt x="15847" y="12175"/>
                    <a:pt x="15814" y="11980"/>
                  </a:cubicBezTo>
                  <a:cubicBezTo>
                    <a:pt x="15780" y="11785"/>
                    <a:pt x="15567" y="11376"/>
                    <a:pt x="15341" y="11071"/>
                  </a:cubicBezTo>
                  <a:cubicBezTo>
                    <a:pt x="15109" y="10770"/>
                    <a:pt x="14951" y="10443"/>
                    <a:pt x="14981" y="10354"/>
                  </a:cubicBezTo>
                  <a:cubicBezTo>
                    <a:pt x="15004" y="10262"/>
                    <a:pt x="14972" y="10051"/>
                    <a:pt x="14899" y="9881"/>
                  </a:cubicBezTo>
                  <a:cubicBezTo>
                    <a:pt x="14820" y="9713"/>
                    <a:pt x="14754" y="9411"/>
                    <a:pt x="14730" y="9215"/>
                  </a:cubicBezTo>
                  <a:cubicBezTo>
                    <a:pt x="14711" y="9020"/>
                    <a:pt x="14653" y="8790"/>
                    <a:pt x="14597" y="8708"/>
                  </a:cubicBezTo>
                  <a:cubicBezTo>
                    <a:pt x="14544" y="8625"/>
                    <a:pt x="14326" y="8458"/>
                    <a:pt x="14135" y="8315"/>
                  </a:cubicBezTo>
                  <a:cubicBezTo>
                    <a:pt x="13933" y="8185"/>
                    <a:pt x="13571" y="8056"/>
                    <a:pt x="13325" y="8032"/>
                  </a:cubicBezTo>
                  <a:cubicBezTo>
                    <a:pt x="13080" y="8009"/>
                    <a:pt x="12772" y="7927"/>
                    <a:pt x="12649" y="7839"/>
                  </a:cubicBezTo>
                  <a:cubicBezTo>
                    <a:pt x="12524" y="7753"/>
                    <a:pt x="12346" y="7645"/>
                    <a:pt x="12251" y="7610"/>
                  </a:cubicBezTo>
                  <a:cubicBezTo>
                    <a:pt x="12157" y="7568"/>
                    <a:pt x="12036" y="7428"/>
                    <a:pt x="11987" y="7296"/>
                  </a:cubicBezTo>
                  <a:cubicBezTo>
                    <a:pt x="11938" y="7164"/>
                    <a:pt x="11787" y="7005"/>
                    <a:pt x="11660" y="6937"/>
                  </a:cubicBezTo>
                  <a:cubicBezTo>
                    <a:pt x="11531" y="6872"/>
                    <a:pt x="11263" y="6738"/>
                    <a:pt x="11066" y="6637"/>
                  </a:cubicBezTo>
                  <a:cubicBezTo>
                    <a:pt x="10871" y="6531"/>
                    <a:pt x="10649" y="6453"/>
                    <a:pt x="10584" y="6446"/>
                  </a:cubicBezTo>
                  <a:cubicBezTo>
                    <a:pt x="10518" y="6454"/>
                    <a:pt x="10317" y="6263"/>
                    <a:pt x="10117" y="6070"/>
                  </a:cubicBezTo>
                  <a:cubicBezTo>
                    <a:pt x="9933" y="5866"/>
                    <a:pt x="9688" y="5718"/>
                    <a:pt x="9585" y="5726"/>
                  </a:cubicBezTo>
                  <a:cubicBezTo>
                    <a:pt x="9482" y="5742"/>
                    <a:pt x="9253" y="5596"/>
                    <a:pt x="9072" y="5417"/>
                  </a:cubicBezTo>
                  <a:cubicBezTo>
                    <a:pt x="8890" y="5240"/>
                    <a:pt x="8611" y="5094"/>
                    <a:pt x="8446" y="5110"/>
                  </a:cubicBezTo>
                  <a:cubicBezTo>
                    <a:pt x="8281" y="5125"/>
                    <a:pt x="8124" y="5157"/>
                    <a:pt x="8098" y="5195"/>
                  </a:cubicBezTo>
                  <a:cubicBezTo>
                    <a:pt x="8072" y="5232"/>
                    <a:pt x="7955" y="5177"/>
                    <a:pt x="7850" y="5068"/>
                  </a:cubicBezTo>
                  <a:cubicBezTo>
                    <a:pt x="7737" y="4966"/>
                    <a:pt x="7523" y="4787"/>
                    <a:pt x="7377" y="4669"/>
                  </a:cubicBezTo>
                  <a:cubicBezTo>
                    <a:pt x="7229" y="4553"/>
                    <a:pt x="7021" y="4399"/>
                    <a:pt x="6910" y="4335"/>
                  </a:cubicBezTo>
                  <a:cubicBezTo>
                    <a:pt x="6795" y="4278"/>
                    <a:pt x="6669" y="4096"/>
                    <a:pt x="6611" y="3958"/>
                  </a:cubicBezTo>
                  <a:cubicBezTo>
                    <a:pt x="6558" y="3819"/>
                    <a:pt x="6416" y="3660"/>
                    <a:pt x="6315" y="3592"/>
                  </a:cubicBezTo>
                  <a:cubicBezTo>
                    <a:pt x="6208" y="3533"/>
                    <a:pt x="6032" y="3335"/>
                    <a:pt x="5932" y="3154"/>
                  </a:cubicBezTo>
                  <a:cubicBezTo>
                    <a:pt x="5828" y="2975"/>
                    <a:pt x="5751" y="2763"/>
                    <a:pt x="5770" y="2681"/>
                  </a:cubicBezTo>
                  <a:cubicBezTo>
                    <a:pt x="5788" y="2599"/>
                    <a:pt x="5724" y="2357"/>
                    <a:pt x="5626" y="2144"/>
                  </a:cubicBezTo>
                  <a:cubicBezTo>
                    <a:pt x="5529" y="1929"/>
                    <a:pt x="5481" y="1660"/>
                    <a:pt x="5521" y="1545"/>
                  </a:cubicBezTo>
                  <a:cubicBezTo>
                    <a:pt x="5552" y="1429"/>
                    <a:pt x="5526" y="1198"/>
                    <a:pt x="5446" y="1029"/>
                  </a:cubicBezTo>
                  <a:cubicBezTo>
                    <a:pt x="5369" y="858"/>
                    <a:pt x="5296" y="640"/>
                    <a:pt x="5283" y="539"/>
                  </a:cubicBezTo>
                  <a:cubicBezTo>
                    <a:pt x="5274" y="439"/>
                    <a:pt x="5225" y="311"/>
                    <a:pt x="5165" y="259"/>
                  </a:cubicBezTo>
                  <a:cubicBezTo>
                    <a:pt x="5111" y="203"/>
                    <a:pt x="4991" y="194"/>
                    <a:pt x="4914" y="246"/>
                  </a:cubicBezTo>
                  <a:cubicBezTo>
                    <a:pt x="4837" y="297"/>
                    <a:pt x="4691" y="262"/>
                    <a:pt x="4592" y="185"/>
                  </a:cubicBezTo>
                  <a:cubicBezTo>
                    <a:pt x="4502" y="100"/>
                    <a:pt x="4346" y="25"/>
                    <a:pt x="4259" y="8"/>
                  </a:cubicBezTo>
                  <a:cubicBezTo>
                    <a:pt x="4172" y="-14"/>
                    <a:pt x="4004" y="13"/>
                    <a:pt x="3891" y="60"/>
                  </a:cubicBezTo>
                  <a:cubicBezTo>
                    <a:pt x="3779" y="109"/>
                    <a:pt x="3579" y="149"/>
                    <a:pt x="3450" y="141"/>
                  </a:cubicBezTo>
                  <a:cubicBezTo>
                    <a:pt x="3322" y="141"/>
                    <a:pt x="3078" y="213"/>
                    <a:pt x="2921" y="315"/>
                  </a:cubicBezTo>
                  <a:cubicBezTo>
                    <a:pt x="2762" y="414"/>
                    <a:pt x="2604" y="638"/>
                    <a:pt x="2576" y="821"/>
                  </a:cubicBezTo>
                  <a:cubicBezTo>
                    <a:pt x="2549" y="1002"/>
                    <a:pt x="2441" y="1170"/>
                    <a:pt x="2334" y="1178"/>
                  </a:cubicBezTo>
                  <a:cubicBezTo>
                    <a:pt x="2228" y="1192"/>
                    <a:pt x="2062" y="1190"/>
                    <a:pt x="1966" y="1168"/>
                  </a:cubicBezTo>
                  <a:cubicBezTo>
                    <a:pt x="1871" y="1143"/>
                    <a:pt x="1730" y="1176"/>
                    <a:pt x="1666" y="1238"/>
                  </a:cubicBezTo>
                  <a:cubicBezTo>
                    <a:pt x="1594" y="1292"/>
                    <a:pt x="1491" y="1327"/>
                    <a:pt x="1428" y="1319"/>
                  </a:cubicBezTo>
                  <a:cubicBezTo>
                    <a:pt x="1367" y="1304"/>
                    <a:pt x="1239" y="1338"/>
                    <a:pt x="1138" y="1377"/>
                  </a:cubicBezTo>
                  <a:cubicBezTo>
                    <a:pt x="1043" y="1426"/>
                    <a:pt x="865" y="1444"/>
                    <a:pt x="756" y="1405"/>
                  </a:cubicBezTo>
                  <a:cubicBezTo>
                    <a:pt x="643" y="1374"/>
                    <a:pt x="349" y="1312"/>
                    <a:pt x="105" y="1257"/>
                  </a:cubicBezTo>
                  <a:cubicBezTo>
                    <a:pt x="-138" y="1210"/>
                    <a:pt x="57" y="1684"/>
                    <a:pt x="528" y="2323"/>
                  </a:cubicBezTo>
                  <a:close/>
                  <a:moveTo>
                    <a:pt x="528" y="232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5" name="AutoShape 1337"/>
            <p:cNvSpPr>
              <a:spLocks/>
            </p:cNvSpPr>
            <p:nvPr/>
          </p:nvSpPr>
          <p:spPr bwMode="auto">
            <a:xfrm>
              <a:off x="4470400" y="5892800"/>
              <a:ext cx="17463" cy="30163"/>
            </a:xfrm>
            <a:custGeom>
              <a:avLst/>
              <a:gdLst/>
              <a:ahLst/>
              <a:cxnLst/>
              <a:rect l="0" t="0" r="r" b="b"/>
              <a:pathLst>
                <a:path w="21600" h="21600">
                  <a:moveTo>
                    <a:pt x="0" y="0"/>
                  </a:moveTo>
                  <a:cubicBezTo>
                    <a:pt x="71" y="70"/>
                    <a:pt x="121" y="130"/>
                    <a:pt x="191" y="199"/>
                  </a:cubicBezTo>
                  <a:cubicBezTo>
                    <a:pt x="11504" y="10956"/>
                    <a:pt x="21131" y="20565"/>
                    <a:pt x="21600" y="21600"/>
                  </a:cubicBezTo>
                  <a:cubicBezTo>
                    <a:pt x="21131" y="20565"/>
                    <a:pt x="11526" y="10947"/>
                    <a:pt x="205" y="199"/>
                  </a:cubicBezTo>
                  <a:cubicBezTo>
                    <a:pt x="133" y="130"/>
                    <a:pt x="71" y="70"/>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6" name="AutoShape 1338"/>
            <p:cNvSpPr>
              <a:spLocks/>
            </p:cNvSpPr>
            <p:nvPr/>
          </p:nvSpPr>
          <p:spPr bwMode="auto">
            <a:xfrm>
              <a:off x="4762500" y="6261100"/>
              <a:ext cx="311150" cy="339725"/>
            </a:xfrm>
            <a:custGeom>
              <a:avLst/>
              <a:gdLst/>
              <a:ahLst/>
              <a:cxnLst/>
              <a:rect l="0" t="0" r="r" b="b"/>
              <a:pathLst>
                <a:path w="21538" h="21531">
                  <a:moveTo>
                    <a:pt x="8279" y="2076"/>
                  </a:moveTo>
                  <a:cubicBezTo>
                    <a:pt x="8242" y="2055"/>
                    <a:pt x="8203" y="2028"/>
                    <a:pt x="8172" y="2018"/>
                  </a:cubicBezTo>
                  <a:cubicBezTo>
                    <a:pt x="8066" y="1981"/>
                    <a:pt x="7575" y="1627"/>
                    <a:pt x="7086" y="1231"/>
                  </a:cubicBezTo>
                  <a:cubicBezTo>
                    <a:pt x="6599" y="834"/>
                    <a:pt x="5603" y="387"/>
                    <a:pt x="4886" y="221"/>
                  </a:cubicBezTo>
                  <a:cubicBezTo>
                    <a:pt x="4176" y="48"/>
                    <a:pt x="2944" y="-34"/>
                    <a:pt x="2155" y="14"/>
                  </a:cubicBezTo>
                  <a:cubicBezTo>
                    <a:pt x="1374" y="60"/>
                    <a:pt x="644" y="150"/>
                    <a:pt x="525" y="207"/>
                  </a:cubicBezTo>
                  <a:cubicBezTo>
                    <a:pt x="414" y="276"/>
                    <a:pt x="326" y="402"/>
                    <a:pt x="357" y="502"/>
                  </a:cubicBezTo>
                  <a:cubicBezTo>
                    <a:pt x="377" y="604"/>
                    <a:pt x="391" y="860"/>
                    <a:pt x="364" y="1070"/>
                  </a:cubicBezTo>
                  <a:cubicBezTo>
                    <a:pt x="338" y="1279"/>
                    <a:pt x="235" y="1653"/>
                    <a:pt x="108" y="1890"/>
                  </a:cubicBezTo>
                  <a:cubicBezTo>
                    <a:pt x="5" y="2135"/>
                    <a:pt x="-42" y="2416"/>
                    <a:pt x="47" y="2525"/>
                  </a:cubicBezTo>
                  <a:cubicBezTo>
                    <a:pt x="136" y="2633"/>
                    <a:pt x="262" y="2862"/>
                    <a:pt x="318" y="3035"/>
                  </a:cubicBezTo>
                  <a:cubicBezTo>
                    <a:pt x="386" y="3203"/>
                    <a:pt x="458" y="3472"/>
                    <a:pt x="486" y="3629"/>
                  </a:cubicBezTo>
                  <a:cubicBezTo>
                    <a:pt x="516" y="3787"/>
                    <a:pt x="478" y="4152"/>
                    <a:pt x="402" y="4442"/>
                  </a:cubicBezTo>
                  <a:cubicBezTo>
                    <a:pt x="327" y="4729"/>
                    <a:pt x="275" y="5119"/>
                    <a:pt x="278" y="5308"/>
                  </a:cubicBezTo>
                  <a:cubicBezTo>
                    <a:pt x="284" y="5496"/>
                    <a:pt x="305" y="5662"/>
                    <a:pt x="323" y="5684"/>
                  </a:cubicBezTo>
                  <a:cubicBezTo>
                    <a:pt x="339" y="5698"/>
                    <a:pt x="426" y="5789"/>
                    <a:pt x="541" y="5905"/>
                  </a:cubicBezTo>
                  <a:cubicBezTo>
                    <a:pt x="591" y="5956"/>
                    <a:pt x="639" y="6004"/>
                    <a:pt x="682" y="6046"/>
                  </a:cubicBezTo>
                  <a:cubicBezTo>
                    <a:pt x="859" y="6222"/>
                    <a:pt x="1103" y="6411"/>
                    <a:pt x="1220" y="6466"/>
                  </a:cubicBezTo>
                  <a:cubicBezTo>
                    <a:pt x="1339" y="6516"/>
                    <a:pt x="1609" y="6810"/>
                    <a:pt x="1833" y="7108"/>
                  </a:cubicBezTo>
                  <a:cubicBezTo>
                    <a:pt x="2045" y="7409"/>
                    <a:pt x="2616" y="8024"/>
                    <a:pt x="3088" y="8480"/>
                  </a:cubicBezTo>
                  <a:cubicBezTo>
                    <a:pt x="3568" y="8928"/>
                    <a:pt x="4071" y="9355"/>
                    <a:pt x="4227" y="9402"/>
                  </a:cubicBezTo>
                  <a:cubicBezTo>
                    <a:pt x="4382" y="9449"/>
                    <a:pt x="4652" y="9634"/>
                    <a:pt x="4839" y="9793"/>
                  </a:cubicBezTo>
                  <a:cubicBezTo>
                    <a:pt x="5024" y="9954"/>
                    <a:pt x="5287" y="10230"/>
                    <a:pt x="5424" y="10407"/>
                  </a:cubicBezTo>
                  <a:cubicBezTo>
                    <a:pt x="5560" y="10584"/>
                    <a:pt x="6002" y="10855"/>
                    <a:pt x="6390" y="11038"/>
                  </a:cubicBezTo>
                  <a:cubicBezTo>
                    <a:pt x="6785" y="11210"/>
                    <a:pt x="7332" y="11491"/>
                    <a:pt x="7602" y="11669"/>
                  </a:cubicBezTo>
                  <a:cubicBezTo>
                    <a:pt x="7876" y="11841"/>
                    <a:pt x="8187" y="12036"/>
                    <a:pt x="8309" y="12073"/>
                  </a:cubicBezTo>
                  <a:cubicBezTo>
                    <a:pt x="8426" y="12122"/>
                    <a:pt x="8794" y="12395"/>
                    <a:pt x="9126" y="12681"/>
                  </a:cubicBezTo>
                  <a:cubicBezTo>
                    <a:pt x="9459" y="12969"/>
                    <a:pt x="9987" y="13362"/>
                    <a:pt x="10303" y="13555"/>
                  </a:cubicBezTo>
                  <a:cubicBezTo>
                    <a:pt x="10611" y="13756"/>
                    <a:pt x="11190" y="14017"/>
                    <a:pt x="11577" y="14147"/>
                  </a:cubicBezTo>
                  <a:cubicBezTo>
                    <a:pt x="11963" y="14284"/>
                    <a:pt x="12435" y="14546"/>
                    <a:pt x="12632" y="14730"/>
                  </a:cubicBezTo>
                  <a:cubicBezTo>
                    <a:pt x="12828" y="14915"/>
                    <a:pt x="13167" y="15221"/>
                    <a:pt x="13390" y="15408"/>
                  </a:cubicBezTo>
                  <a:cubicBezTo>
                    <a:pt x="13616" y="15590"/>
                    <a:pt x="13889" y="15870"/>
                    <a:pt x="14002" y="16028"/>
                  </a:cubicBezTo>
                  <a:cubicBezTo>
                    <a:pt x="14111" y="16187"/>
                    <a:pt x="14199" y="16409"/>
                    <a:pt x="14192" y="16525"/>
                  </a:cubicBezTo>
                  <a:cubicBezTo>
                    <a:pt x="14180" y="16640"/>
                    <a:pt x="14142" y="16832"/>
                    <a:pt x="14073" y="16941"/>
                  </a:cubicBezTo>
                  <a:cubicBezTo>
                    <a:pt x="14019" y="17058"/>
                    <a:pt x="13892" y="17185"/>
                    <a:pt x="13806" y="17239"/>
                  </a:cubicBezTo>
                  <a:cubicBezTo>
                    <a:pt x="13720" y="17291"/>
                    <a:pt x="13620" y="17396"/>
                    <a:pt x="13578" y="17474"/>
                  </a:cubicBezTo>
                  <a:cubicBezTo>
                    <a:pt x="13539" y="17552"/>
                    <a:pt x="13571" y="17722"/>
                    <a:pt x="13637" y="17850"/>
                  </a:cubicBezTo>
                  <a:cubicBezTo>
                    <a:pt x="13698" y="17980"/>
                    <a:pt x="13744" y="18246"/>
                    <a:pt x="13711" y="18445"/>
                  </a:cubicBezTo>
                  <a:cubicBezTo>
                    <a:pt x="13683" y="18642"/>
                    <a:pt x="13545" y="18916"/>
                    <a:pt x="13401" y="19048"/>
                  </a:cubicBezTo>
                  <a:cubicBezTo>
                    <a:pt x="13251" y="19173"/>
                    <a:pt x="13132" y="19385"/>
                    <a:pt x="13142" y="19501"/>
                  </a:cubicBezTo>
                  <a:cubicBezTo>
                    <a:pt x="13145" y="19618"/>
                    <a:pt x="13230" y="19729"/>
                    <a:pt x="13337" y="19752"/>
                  </a:cubicBezTo>
                  <a:cubicBezTo>
                    <a:pt x="13443" y="19775"/>
                    <a:pt x="13877" y="19823"/>
                    <a:pt x="14302" y="19871"/>
                  </a:cubicBezTo>
                  <a:cubicBezTo>
                    <a:pt x="14727" y="19917"/>
                    <a:pt x="15409" y="20104"/>
                    <a:pt x="15816" y="20292"/>
                  </a:cubicBezTo>
                  <a:cubicBezTo>
                    <a:pt x="16223" y="20480"/>
                    <a:pt x="16809" y="20798"/>
                    <a:pt x="17112" y="21004"/>
                  </a:cubicBezTo>
                  <a:cubicBezTo>
                    <a:pt x="17419" y="21205"/>
                    <a:pt x="17776" y="21353"/>
                    <a:pt x="17907" y="21331"/>
                  </a:cubicBezTo>
                  <a:cubicBezTo>
                    <a:pt x="18038" y="21307"/>
                    <a:pt x="18210" y="21321"/>
                    <a:pt x="18296" y="21321"/>
                  </a:cubicBezTo>
                  <a:cubicBezTo>
                    <a:pt x="18374" y="21353"/>
                    <a:pt x="18511" y="21419"/>
                    <a:pt x="18595" y="21492"/>
                  </a:cubicBezTo>
                  <a:cubicBezTo>
                    <a:pt x="18679" y="21566"/>
                    <a:pt x="18814" y="21532"/>
                    <a:pt x="18904" y="21418"/>
                  </a:cubicBezTo>
                  <a:cubicBezTo>
                    <a:pt x="18998" y="21303"/>
                    <a:pt x="19115" y="21203"/>
                    <a:pt x="19162" y="21177"/>
                  </a:cubicBezTo>
                  <a:cubicBezTo>
                    <a:pt x="19214" y="21165"/>
                    <a:pt x="19380" y="21202"/>
                    <a:pt x="19528" y="21273"/>
                  </a:cubicBezTo>
                  <a:cubicBezTo>
                    <a:pt x="19681" y="21332"/>
                    <a:pt x="19868" y="21314"/>
                    <a:pt x="19948" y="21212"/>
                  </a:cubicBezTo>
                  <a:cubicBezTo>
                    <a:pt x="20014" y="21103"/>
                    <a:pt x="20108" y="20919"/>
                    <a:pt x="20118" y="20783"/>
                  </a:cubicBezTo>
                  <a:cubicBezTo>
                    <a:pt x="20124" y="20648"/>
                    <a:pt x="20339" y="20442"/>
                    <a:pt x="20585" y="20326"/>
                  </a:cubicBezTo>
                  <a:cubicBezTo>
                    <a:pt x="20832" y="20209"/>
                    <a:pt x="21030" y="20019"/>
                    <a:pt x="21051" y="19905"/>
                  </a:cubicBezTo>
                  <a:cubicBezTo>
                    <a:pt x="21054" y="19789"/>
                    <a:pt x="21094" y="19589"/>
                    <a:pt x="21162" y="19476"/>
                  </a:cubicBezTo>
                  <a:cubicBezTo>
                    <a:pt x="21216" y="19354"/>
                    <a:pt x="21332" y="19199"/>
                    <a:pt x="21430" y="19142"/>
                  </a:cubicBezTo>
                  <a:cubicBezTo>
                    <a:pt x="21520" y="19073"/>
                    <a:pt x="21558" y="18859"/>
                    <a:pt x="21528" y="18647"/>
                  </a:cubicBezTo>
                  <a:cubicBezTo>
                    <a:pt x="21487" y="18438"/>
                    <a:pt x="21419" y="18216"/>
                    <a:pt x="21383" y="18151"/>
                  </a:cubicBezTo>
                  <a:cubicBezTo>
                    <a:pt x="21337" y="18091"/>
                    <a:pt x="21291" y="17906"/>
                    <a:pt x="21261" y="17746"/>
                  </a:cubicBezTo>
                  <a:cubicBezTo>
                    <a:pt x="21233" y="17584"/>
                    <a:pt x="21237" y="17442"/>
                    <a:pt x="21268" y="17428"/>
                  </a:cubicBezTo>
                  <a:cubicBezTo>
                    <a:pt x="21300" y="17416"/>
                    <a:pt x="21316" y="17346"/>
                    <a:pt x="21303" y="17275"/>
                  </a:cubicBezTo>
                  <a:cubicBezTo>
                    <a:pt x="21291" y="17207"/>
                    <a:pt x="21282" y="17102"/>
                    <a:pt x="21285" y="17047"/>
                  </a:cubicBezTo>
                  <a:cubicBezTo>
                    <a:pt x="21282" y="16989"/>
                    <a:pt x="21274" y="16882"/>
                    <a:pt x="21251" y="16808"/>
                  </a:cubicBezTo>
                  <a:cubicBezTo>
                    <a:pt x="21241" y="16733"/>
                    <a:pt x="21230" y="16662"/>
                    <a:pt x="21240" y="16645"/>
                  </a:cubicBezTo>
                  <a:cubicBezTo>
                    <a:pt x="21258" y="16633"/>
                    <a:pt x="21265" y="16564"/>
                    <a:pt x="21282" y="16505"/>
                  </a:cubicBezTo>
                  <a:cubicBezTo>
                    <a:pt x="21291" y="16447"/>
                    <a:pt x="21202" y="15949"/>
                    <a:pt x="21077" y="15398"/>
                  </a:cubicBezTo>
                  <a:cubicBezTo>
                    <a:pt x="20955" y="14846"/>
                    <a:pt x="20890" y="14324"/>
                    <a:pt x="20930" y="14241"/>
                  </a:cubicBezTo>
                  <a:cubicBezTo>
                    <a:pt x="20974" y="14160"/>
                    <a:pt x="20919" y="14065"/>
                    <a:pt x="20822" y="14024"/>
                  </a:cubicBezTo>
                  <a:cubicBezTo>
                    <a:pt x="20722" y="13985"/>
                    <a:pt x="20551" y="13862"/>
                    <a:pt x="20421" y="13771"/>
                  </a:cubicBezTo>
                  <a:cubicBezTo>
                    <a:pt x="20301" y="13669"/>
                    <a:pt x="20071" y="13519"/>
                    <a:pt x="19910" y="13436"/>
                  </a:cubicBezTo>
                  <a:cubicBezTo>
                    <a:pt x="19746" y="13362"/>
                    <a:pt x="19428" y="13344"/>
                    <a:pt x="19201" y="13426"/>
                  </a:cubicBezTo>
                  <a:cubicBezTo>
                    <a:pt x="18971" y="13497"/>
                    <a:pt x="18680" y="13524"/>
                    <a:pt x="18557" y="13462"/>
                  </a:cubicBezTo>
                  <a:cubicBezTo>
                    <a:pt x="18431" y="13409"/>
                    <a:pt x="18188" y="13160"/>
                    <a:pt x="18019" y="12908"/>
                  </a:cubicBezTo>
                  <a:cubicBezTo>
                    <a:pt x="17857" y="12652"/>
                    <a:pt x="17438" y="11893"/>
                    <a:pt x="17117" y="11207"/>
                  </a:cubicBezTo>
                  <a:cubicBezTo>
                    <a:pt x="16797" y="10517"/>
                    <a:pt x="16466" y="9827"/>
                    <a:pt x="16378" y="9682"/>
                  </a:cubicBezTo>
                  <a:cubicBezTo>
                    <a:pt x="16299" y="9531"/>
                    <a:pt x="16118" y="9369"/>
                    <a:pt x="15991" y="9301"/>
                  </a:cubicBezTo>
                  <a:cubicBezTo>
                    <a:pt x="15857" y="9249"/>
                    <a:pt x="15602" y="9077"/>
                    <a:pt x="15415" y="8939"/>
                  </a:cubicBezTo>
                  <a:cubicBezTo>
                    <a:pt x="15231" y="8803"/>
                    <a:pt x="14858" y="8747"/>
                    <a:pt x="14582" y="8783"/>
                  </a:cubicBezTo>
                  <a:cubicBezTo>
                    <a:pt x="14311" y="8840"/>
                    <a:pt x="13918" y="8801"/>
                    <a:pt x="13721" y="8695"/>
                  </a:cubicBezTo>
                  <a:cubicBezTo>
                    <a:pt x="13520" y="8594"/>
                    <a:pt x="13114" y="8477"/>
                    <a:pt x="12822" y="8430"/>
                  </a:cubicBezTo>
                  <a:cubicBezTo>
                    <a:pt x="12528" y="8382"/>
                    <a:pt x="12200" y="8290"/>
                    <a:pt x="12085" y="8228"/>
                  </a:cubicBezTo>
                  <a:cubicBezTo>
                    <a:pt x="11973" y="8161"/>
                    <a:pt x="11687" y="8081"/>
                    <a:pt x="11452" y="8048"/>
                  </a:cubicBezTo>
                  <a:cubicBezTo>
                    <a:pt x="11217" y="8013"/>
                    <a:pt x="10968" y="7866"/>
                    <a:pt x="10882" y="7729"/>
                  </a:cubicBezTo>
                  <a:cubicBezTo>
                    <a:pt x="10801" y="7589"/>
                    <a:pt x="10757" y="7375"/>
                    <a:pt x="10763" y="7253"/>
                  </a:cubicBezTo>
                  <a:cubicBezTo>
                    <a:pt x="10786" y="7133"/>
                    <a:pt x="10733" y="6901"/>
                    <a:pt x="10656" y="6748"/>
                  </a:cubicBezTo>
                  <a:cubicBezTo>
                    <a:pt x="10587" y="6590"/>
                    <a:pt x="10497" y="6173"/>
                    <a:pt x="10477" y="5817"/>
                  </a:cubicBezTo>
                  <a:cubicBezTo>
                    <a:pt x="10464" y="5458"/>
                    <a:pt x="10287" y="4994"/>
                    <a:pt x="10115" y="4779"/>
                  </a:cubicBezTo>
                  <a:cubicBezTo>
                    <a:pt x="9948" y="4562"/>
                    <a:pt x="9761" y="4236"/>
                    <a:pt x="9701" y="4050"/>
                  </a:cubicBezTo>
                  <a:cubicBezTo>
                    <a:pt x="9661" y="3858"/>
                    <a:pt x="9453" y="3585"/>
                    <a:pt x="9270" y="3437"/>
                  </a:cubicBezTo>
                  <a:cubicBezTo>
                    <a:pt x="9085" y="3290"/>
                    <a:pt x="8931" y="3063"/>
                    <a:pt x="8944" y="2938"/>
                  </a:cubicBezTo>
                  <a:cubicBezTo>
                    <a:pt x="8951" y="2811"/>
                    <a:pt x="8825" y="2567"/>
                    <a:pt x="8658" y="2399"/>
                  </a:cubicBezTo>
                  <a:cubicBezTo>
                    <a:pt x="8536" y="2277"/>
                    <a:pt x="8390" y="2150"/>
                    <a:pt x="8279" y="2076"/>
                  </a:cubicBezTo>
                  <a:close/>
                  <a:moveTo>
                    <a:pt x="8279" y="20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7" name="AutoShape 1339"/>
            <p:cNvSpPr>
              <a:spLocks/>
            </p:cNvSpPr>
            <p:nvPr/>
          </p:nvSpPr>
          <p:spPr bwMode="auto">
            <a:xfrm>
              <a:off x="4889500" y="6286500"/>
              <a:ext cx="0" cy="0"/>
            </a:xfrm>
            <a:custGeom>
              <a:avLst/>
              <a:gdLst/>
              <a:ahLst/>
              <a:cxnLst/>
              <a:rect l="0" t="0" r="r" b="b"/>
              <a:pathLst>
                <a:path w="21600" h="21600">
                  <a:moveTo>
                    <a:pt x="0" y="0"/>
                  </a:moveTo>
                  <a:cubicBezTo>
                    <a:pt x="6290" y="3801"/>
                    <a:pt x="14198" y="13716"/>
                    <a:pt x="21600" y="21600"/>
                  </a:cubicBezTo>
                  <a:cubicBezTo>
                    <a:pt x="13337" y="11383"/>
                    <a:pt x="5779" y="3500"/>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8" name="AutoShape 1340"/>
            <p:cNvSpPr>
              <a:spLocks/>
            </p:cNvSpPr>
            <p:nvPr/>
          </p:nvSpPr>
          <p:spPr bwMode="auto">
            <a:xfrm>
              <a:off x="5029200" y="6680200"/>
              <a:ext cx="190500" cy="193675"/>
            </a:xfrm>
            <a:custGeom>
              <a:avLst/>
              <a:gdLst/>
              <a:ahLst/>
              <a:cxnLst/>
              <a:rect l="0" t="0" r="r" b="b"/>
              <a:pathLst>
                <a:path w="21533" h="21568">
                  <a:moveTo>
                    <a:pt x="21053" y="17375"/>
                  </a:moveTo>
                  <a:cubicBezTo>
                    <a:pt x="20893" y="17202"/>
                    <a:pt x="20722" y="17022"/>
                    <a:pt x="20679" y="16975"/>
                  </a:cubicBezTo>
                  <a:cubicBezTo>
                    <a:pt x="20654" y="16916"/>
                    <a:pt x="20559" y="16819"/>
                    <a:pt x="20498" y="16744"/>
                  </a:cubicBezTo>
                  <a:cubicBezTo>
                    <a:pt x="20455" y="16660"/>
                    <a:pt x="20246" y="16365"/>
                    <a:pt x="20070" y="16067"/>
                  </a:cubicBezTo>
                  <a:cubicBezTo>
                    <a:pt x="19904" y="15763"/>
                    <a:pt x="19874" y="15388"/>
                    <a:pt x="19985" y="15189"/>
                  </a:cubicBezTo>
                  <a:cubicBezTo>
                    <a:pt x="20100" y="14991"/>
                    <a:pt x="20215" y="14646"/>
                    <a:pt x="20179" y="14404"/>
                  </a:cubicBezTo>
                  <a:cubicBezTo>
                    <a:pt x="20151" y="14159"/>
                    <a:pt x="19903" y="13793"/>
                    <a:pt x="19622" y="13593"/>
                  </a:cubicBezTo>
                  <a:cubicBezTo>
                    <a:pt x="19341" y="13393"/>
                    <a:pt x="18826" y="12897"/>
                    <a:pt x="18467" y="12502"/>
                  </a:cubicBezTo>
                  <a:cubicBezTo>
                    <a:pt x="18115" y="12102"/>
                    <a:pt x="17552" y="11520"/>
                    <a:pt x="17239" y="11188"/>
                  </a:cubicBezTo>
                  <a:cubicBezTo>
                    <a:pt x="16907" y="10877"/>
                    <a:pt x="16281" y="10391"/>
                    <a:pt x="15825" y="10128"/>
                  </a:cubicBezTo>
                  <a:cubicBezTo>
                    <a:pt x="15380" y="9851"/>
                    <a:pt x="14836" y="9640"/>
                    <a:pt x="14640" y="9640"/>
                  </a:cubicBezTo>
                  <a:cubicBezTo>
                    <a:pt x="14447" y="9640"/>
                    <a:pt x="14216" y="9413"/>
                    <a:pt x="14129" y="9157"/>
                  </a:cubicBezTo>
                  <a:cubicBezTo>
                    <a:pt x="14045" y="8900"/>
                    <a:pt x="13732" y="8458"/>
                    <a:pt x="13420" y="8192"/>
                  </a:cubicBezTo>
                  <a:cubicBezTo>
                    <a:pt x="13119" y="7918"/>
                    <a:pt x="12654" y="7608"/>
                    <a:pt x="12390" y="7500"/>
                  </a:cubicBezTo>
                  <a:cubicBezTo>
                    <a:pt x="12123" y="7395"/>
                    <a:pt x="11652" y="7150"/>
                    <a:pt x="11329" y="6972"/>
                  </a:cubicBezTo>
                  <a:cubicBezTo>
                    <a:pt x="11019" y="6769"/>
                    <a:pt x="10474" y="6298"/>
                    <a:pt x="10129" y="5894"/>
                  </a:cubicBezTo>
                  <a:cubicBezTo>
                    <a:pt x="9786" y="5486"/>
                    <a:pt x="9412" y="5139"/>
                    <a:pt x="9314" y="5079"/>
                  </a:cubicBezTo>
                  <a:cubicBezTo>
                    <a:pt x="9202" y="5043"/>
                    <a:pt x="8994" y="5127"/>
                    <a:pt x="8844" y="5269"/>
                  </a:cubicBezTo>
                  <a:cubicBezTo>
                    <a:pt x="8703" y="5420"/>
                    <a:pt x="8480" y="5497"/>
                    <a:pt x="8356" y="5477"/>
                  </a:cubicBezTo>
                  <a:cubicBezTo>
                    <a:pt x="8241" y="5431"/>
                    <a:pt x="7838" y="5087"/>
                    <a:pt x="7502" y="4652"/>
                  </a:cubicBezTo>
                  <a:cubicBezTo>
                    <a:pt x="7150" y="4226"/>
                    <a:pt x="6700" y="3643"/>
                    <a:pt x="6501" y="3353"/>
                  </a:cubicBezTo>
                  <a:cubicBezTo>
                    <a:pt x="6301" y="3065"/>
                    <a:pt x="5953" y="2713"/>
                    <a:pt x="5715" y="2585"/>
                  </a:cubicBezTo>
                  <a:cubicBezTo>
                    <a:pt x="5477" y="2463"/>
                    <a:pt x="5033" y="2045"/>
                    <a:pt x="4705" y="1691"/>
                  </a:cubicBezTo>
                  <a:cubicBezTo>
                    <a:pt x="4379" y="1335"/>
                    <a:pt x="3913" y="888"/>
                    <a:pt x="3661" y="706"/>
                  </a:cubicBezTo>
                  <a:cubicBezTo>
                    <a:pt x="3403" y="525"/>
                    <a:pt x="2806" y="352"/>
                    <a:pt x="2329" y="392"/>
                  </a:cubicBezTo>
                  <a:cubicBezTo>
                    <a:pt x="1850" y="392"/>
                    <a:pt x="1351" y="352"/>
                    <a:pt x="1229" y="260"/>
                  </a:cubicBezTo>
                  <a:cubicBezTo>
                    <a:pt x="1100" y="182"/>
                    <a:pt x="869" y="87"/>
                    <a:pt x="719" y="31"/>
                  </a:cubicBezTo>
                  <a:cubicBezTo>
                    <a:pt x="567" y="-13"/>
                    <a:pt x="434" y="-9"/>
                    <a:pt x="434" y="39"/>
                  </a:cubicBezTo>
                  <a:cubicBezTo>
                    <a:pt x="434" y="87"/>
                    <a:pt x="392" y="275"/>
                    <a:pt x="365" y="460"/>
                  </a:cubicBezTo>
                  <a:cubicBezTo>
                    <a:pt x="332" y="647"/>
                    <a:pt x="197" y="932"/>
                    <a:pt x="80" y="1105"/>
                  </a:cubicBezTo>
                  <a:cubicBezTo>
                    <a:pt x="-43" y="1274"/>
                    <a:pt x="-23" y="1670"/>
                    <a:pt x="134" y="1980"/>
                  </a:cubicBezTo>
                  <a:cubicBezTo>
                    <a:pt x="288" y="2290"/>
                    <a:pt x="382" y="2645"/>
                    <a:pt x="337" y="2763"/>
                  </a:cubicBezTo>
                  <a:cubicBezTo>
                    <a:pt x="297" y="2881"/>
                    <a:pt x="349" y="3119"/>
                    <a:pt x="454" y="3287"/>
                  </a:cubicBezTo>
                  <a:cubicBezTo>
                    <a:pt x="558" y="3457"/>
                    <a:pt x="701" y="3929"/>
                    <a:pt x="798" y="4330"/>
                  </a:cubicBezTo>
                  <a:cubicBezTo>
                    <a:pt x="869" y="4733"/>
                    <a:pt x="941" y="5167"/>
                    <a:pt x="897" y="5290"/>
                  </a:cubicBezTo>
                  <a:cubicBezTo>
                    <a:pt x="865" y="5415"/>
                    <a:pt x="893" y="5656"/>
                    <a:pt x="969" y="5817"/>
                  </a:cubicBezTo>
                  <a:cubicBezTo>
                    <a:pt x="1040" y="5980"/>
                    <a:pt x="1044" y="6250"/>
                    <a:pt x="976" y="6413"/>
                  </a:cubicBezTo>
                  <a:cubicBezTo>
                    <a:pt x="916" y="6579"/>
                    <a:pt x="1019" y="6961"/>
                    <a:pt x="1199" y="7275"/>
                  </a:cubicBezTo>
                  <a:cubicBezTo>
                    <a:pt x="1395" y="7578"/>
                    <a:pt x="1529" y="7921"/>
                    <a:pt x="1462" y="7980"/>
                  </a:cubicBezTo>
                  <a:cubicBezTo>
                    <a:pt x="1421" y="8061"/>
                    <a:pt x="1521" y="8467"/>
                    <a:pt x="1700" y="8881"/>
                  </a:cubicBezTo>
                  <a:cubicBezTo>
                    <a:pt x="1867" y="9299"/>
                    <a:pt x="2166" y="9893"/>
                    <a:pt x="2337" y="10209"/>
                  </a:cubicBezTo>
                  <a:cubicBezTo>
                    <a:pt x="2509" y="10527"/>
                    <a:pt x="2646" y="10877"/>
                    <a:pt x="2617" y="10991"/>
                  </a:cubicBezTo>
                  <a:cubicBezTo>
                    <a:pt x="2604" y="11107"/>
                    <a:pt x="2483" y="11265"/>
                    <a:pt x="2373" y="11347"/>
                  </a:cubicBezTo>
                  <a:cubicBezTo>
                    <a:pt x="2266" y="11436"/>
                    <a:pt x="2148" y="11535"/>
                    <a:pt x="2135" y="11586"/>
                  </a:cubicBezTo>
                  <a:cubicBezTo>
                    <a:pt x="2095" y="11618"/>
                    <a:pt x="2096" y="11689"/>
                    <a:pt x="2107" y="11703"/>
                  </a:cubicBezTo>
                  <a:cubicBezTo>
                    <a:pt x="2119" y="11719"/>
                    <a:pt x="2197" y="12068"/>
                    <a:pt x="2353" y="12454"/>
                  </a:cubicBezTo>
                  <a:cubicBezTo>
                    <a:pt x="2485" y="12848"/>
                    <a:pt x="2784" y="13457"/>
                    <a:pt x="3021" y="13808"/>
                  </a:cubicBezTo>
                  <a:cubicBezTo>
                    <a:pt x="3253" y="14162"/>
                    <a:pt x="3793" y="14799"/>
                    <a:pt x="4192" y="15243"/>
                  </a:cubicBezTo>
                  <a:cubicBezTo>
                    <a:pt x="4591" y="15686"/>
                    <a:pt x="5029" y="16063"/>
                    <a:pt x="5129" y="16125"/>
                  </a:cubicBezTo>
                  <a:cubicBezTo>
                    <a:pt x="5240" y="16159"/>
                    <a:pt x="5618" y="16469"/>
                    <a:pt x="5974" y="16787"/>
                  </a:cubicBezTo>
                  <a:cubicBezTo>
                    <a:pt x="6331" y="17107"/>
                    <a:pt x="6753" y="17427"/>
                    <a:pt x="6915" y="17501"/>
                  </a:cubicBezTo>
                  <a:cubicBezTo>
                    <a:pt x="7077" y="17567"/>
                    <a:pt x="7555" y="17717"/>
                    <a:pt x="7992" y="17781"/>
                  </a:cubicBezTo>
                  <a:cubicBezTo>
                    <a:pt x="8427" y="17863"/>
                    <a:pt x="9001" y="18007"/>
                    <a:pt x="9273" y="18088"/>
                  </a:cubicBezTo>
                  <a:cubicBezTo>
                    <a:pt x="9534" y="18188"/>
                    <a:pt x="9981" y="18438"/>
                    <a:pt x="10286" y="18624"/>
                  </a:cubicBezTo>
                  <a:cubicBezTo>
                    <a:pt x="10566" y="18845"/>
                    <a:pt x="10947" y="19047"/>
                    <a:pt x="11106" y="19119"/>
                  </a:cubicBezTo>
                  <a:cubicBezTo>
                    <a:pt x="11268" y="19182"/>
                    <a:pt x="11528" y="19288"/>
                    <a:pt x="11694" y="19326"/>
                  </a:cubicBezTo>
                  <a:cubicBezTo>
                    <a:pt x="11864" y="19350"/>
                    <a:pt x="12045" y="19465"/>
                    <a:pt x="12107" y="19524"/>
                  </a:cubicBezTo>
                  <a:cubicBezTo>
                    <a:pt x="12181" y="19576"/>
                    <a:pt x="12225" y="19675"/>
                    <a:pt x="12211" y="19731"/>
                  </a:cubicBezTo>
                  <a:cubicBezTo>
                    <a:pt x="12201" y="19786"/>
                    <a:pt x="12212" y="19905"/>
                    <a:pt x="12240" y="19999"/>
                  </a:cubicBezTo>
                  <a:cubicBezTo>
                    <a:pt x="12274" y="20089"/>
                    <a:pt x="12453" y="20236"/>
                    <a:pt x="12666" y="20278"/>
                  </a:cubicBezTo>
                  <a:cubicBezTo>
                    <a:pt x="12875" y="20342"/>
                    <a:pt x="13194" y="20322"/>
                    <a:pt x="13386" y="20285"/>
                  </a:cubicBezTo>
                  <a:cubicBezTo>
                    <a:pt x="13577" y="20243"/>
                    <a:pt x="13949" y="20217"/>
                    <a:pt x="14227" y="20236"/>
                  </a:cubicBezTo>
                  <a:cubicBezTo>
                    <a:pt x="14504" y="20258"/>
                    <a:pt x="14921" y="20372"/>
                    <a:pt x="15137" y="20496"/>
                  </a:cubicBezTo>
                  <a:cubicBezTo>
                    <a:pt x="15354" y="20617"/>
                    <a:pt x="15665" y="20785"/>
                    <a:pt x="15818" y="20882"/>
                  </a:cubicBezTo>
                  <a:cubicBezTo>
                    <a:pt x="15971" y="20982"/>
                    <a:pt x="16179" y="21101"/>
                    <a:pt x="16281" y="21079"/>
                  </a:cubicBezTo>
                  <a:cubicBezTo>
                    <a:pt x="16381" y="21101"/>
                    <a:pt x="16603" y="21174"/>
                    <a:pt x="16775" y="21257"/>
                  </a:cubicBezTo>
                  <a:cubicBezTo>
                    <a:pt x="16939" y="21355"/>
                    <a:pt x="17216" y="21453"/>
                    <a:pt x="17370" y="21514"/>
                  </a:cubicBezTo>
                  <a:cubicBezTo>
                    <a:pt x="17525" y="21573"/>
                    <a:pt x="17729" y="21587"/>
                    <a:pt x="17806" y="21542"/>
                  </a:cubicBezTo>
                  <a:cubicBezTo>
                    <a:pt x="17883" y="21495"/>
                    <a:pt x="17965" y="21392"/>
                    <a:pt x="17945" y="21295"/>
                  </a:cubicBezTo>
                  <a:cubicBezTo>
                    <a:pt x="17960" y="21202"/>
                    <a:pt x="17970" y="21107"/>
                    <a:pt x="18014" y="21088"/>
                  </a:cubicBezTo>
                  <a:cubicBezTo>
                    <a:pt x="18061" y="21088"/>
                    <a:pt x="18179" y="21119"/>
                    <a:pt x="18284" y="21206"/>
                  </a:cubicBezTo>
                  <a:cubicBezTo>
                    <a:pt x="18395" y="21291"/>
                    <a:pt x="18765" y="21341"/>
                    <a:pt x="19117" y="21321"/>
                  </a:cubicBezTo>
                  <a:cubicBezTo>
                    <a:pt x="19470" y="21300"/>
                    <a:pt x="19920" y="21144"/>
                    <a:pt x="20086" y="20952"/>
                  </a:cubicBezTo>
                  <a:cubicBezTo>
                    <a:pt x="20265" y="20765"/>
                    <a:pt x="20469" y="20565"/>
                    <a:pt x="20489" y="20483"/>
                  </a:cubicBezTo>
                  <a:cubicBezTo>
                    <a:pt x="20541" y="20416"/>
                    <a:pt x="20521" y="20318"/>
                    <a:pt x="20479" y="20277"/>
                  </a:cubicBezTo>
                  <a:cubicBezTo>
                    <a:pt x="20421" y="20255"/>
                    <a:pt x="20452" y="20119"/>
                    <a:pt x="20506" y="20003"/>
                  </a:cubicBezTo>
                  <a:cubicBezTo>
                    <a:pt x="20559" y="19888"/>
                    <a:pt x="20742" y="19701"/>
                    <a:pt x="20905" y="19604"/>
                  </a:cubicBezTo>
                  <a:cubicBezTo>
                    <a:pt x="21064" y="19495"/>
                    <a:pt x="21141" y="19195"/>
                    <a:pt x="21058" y="18949"/>
                  </a:cubicBezTo>
                  <a:cubicBezTo>
                    <a:pt x="20994" y="18697"/>
                    <a:pt x="21039" y="18405"/>
                    <a:pt x="21141" y="18263"/>
                  </a:cubicBezTo>
                  <a:cubicBezTo>
                    <a:pt x="21262" y="18140"/>
                    <a:pt x="21440" y="18026"/>
                    <a:pt x="21485" y="17959"/>
                  </a:cubicBezTo>
                  <a:cubicBezTo>
                    <a:pt x="21557" y="17921"/>
                    <a:pt x="21542" y="17855"/>
                    <a:pt x="21484" y="17786"/>
                  </a:cubicBezTo>
                  <a:cubicBezTo>
                    <a:pt x="21409" y="17734"/>
                    <a:pt x="21221" y="17541"/>
                    <a:pt x="21053" y="17375"/>
                  </a:cubicBezTo>
                  <a:close/>
                  <a:moveTo>
                    <a:pt x="21053" y="1737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39" name="AutoShape 1341"/>
            <p:cNvSpPr>
              <a:spLocks/>
            </p:cNvSpPr>
            <p:nvPr/>
          </p:nvSpPr>
          <p:spPr bwMode="auto">
            <a:xfrm>
              <a:off x="4622800" y="6310313"/>
              <a:ext cx="528638" cy="1009650"/>
            </a:xfrm>
            <a:custGeom>
              <a:avLst/>
              <a:gdLst/>
              <a:ahLst/>
              <a:cxnLst/>
              <a:rect l="0" t="0" r="r" b="b"/>
              <a:pathLst>
                <a:path w="21584" h="21588">
                  <a:moveTo>
                    <a:pt x="17108" y="10125"/>
                  </a:moveTo>
                  <a:cubicBezTo>
                    <a:pt x="17113" y="10115"/>
                    <a:pt x="17155" y="10096"/>
                    <a:pt x="17194" y="10079"/>
                  </a:cubicBezTo>
                  <a:cubicBezTo>
                    <a:pt x="17234" y="10063"/>
                    <a:pt x="17278" y="10032"/>
                    <a:pt x="17282" y="10010"/>
                  </a:cubicBezTo>
                  <a:cubicBezTo>
                    <a:pt x="17293" y="9987"/>
                    <a:pt x="17243" y="9920"/>
                    <a:pt x="17181" y="9858"/>
                  </a:cubicBezTo>
                  <a:cubicBezTo>
                    <a:pt x="17119" y="9797"/>
                    <a:pt x="17011" y="9682"/>
                    <a:pt x="16950" y="9601"/>
                  </a:cubicBezTo>
                  <a:cubicBezTo>
                    <a:pt x="16885" y="9521"/>
                    <a:pt x="16849" y="9443"/>
                    <a:pt x="16864" y="9427"/>
                  </a:cubicBezTo>
                  <a:cubicBezTo>
                    <a:pt x="16888" y="9416"/>
                    <a:pt x="16839" y="9349"/>
                    <a:pt x="16768" y="9291"/>
                  </a:cubicBezTo>
                  <a:cubicBezTo>
                    <a:pt x="16703" y="9230"/>
                    <a:pt x="16666" y="9156"/>
                    <a:pt x="16688" y="9124"/>
                  </a:cubicBezTo>
                  <a:cubicBezTo>
                    <a:pt x="16712" y="9093"/>
                    <a:pt x="16711" y="9040"/>
                    <a:pt x="16685" y="9009"/>
                  </a:cubicBezTo>
                  <a:cubicBezTo>
                    <a:pt x="16658" y="8978"/>
                    <a:pt x="16648" y="8931"/>
                    <a:pt x="16659" y="8907"/>
                  </a:cubicBezTo>
                  <a:cubicBezTo>
                    <a:pt x="16675" y="8883"/>
                    <a:pt x="16649" y="8799"/>
                    <a:pt x="16623" y="8721"/>
                  </a:cubicBezTo>
                  <a:cubicBezTo>
                    <a:pt x="16588" y="8644"/>
                    <a:pt x="16536" y="8552"/>
                    <a:pt x="16498" y="8519"/>
                  </a:cubicBezTo>
                  <a:cubicBezTo>
                    <a:pt x="16461" y="8487"/>
                    <a:pt x="16442" y="8441"/>
                    <a:pt x="16456" y="8418"/>
                  </a:cubicBezTo>
                  <a:cubicBezTo>
                    <a:pt x="16473" y="8395"/>
                    <a:pt x="16438" y="8327"/>
                    <a:pt x="16383" y="8267"/>
                  </a:cubicBezTo>
                  <a:cubicBezTo>
                    <a:pt x="16326" y="8207"/>
                    <a:pt x="16318" y="8130"/>
                    <a:pt x="16363" y="8097"/>
                  </a:cubicBezTo>
                  <a:cubicBezTo>
                    <a:pt x="16405" y="8064"/>
                    <a:pt x="16454" y="8009"/>
                    <a:pt x="16466" y="7973"/>
                  </a:cubicBezTo>
                  <a:cubicBezTo>
                    <a:pt x="16476" y="7937"/>
                    <a:pt x="16490" y="7888"/>
                    <a:pt x="16494" y="7864"/>
                  </a:cubicBezTo>
                  <a:cubicBezTo>
                    <a:pt x="16494" y="7861"/>
                    <a:pt x="16497" y="7858"/>
                    <a:pt x="16498" y="7855"/>
                  </a:cubicBezTo>
                  <a:cubicBezTo>
                    <a:pt x="16496" y="7853"/>
                    <a:pt x="16494" y="7850"/>
                    <a:pt x="16495" y="7847"/>
                  </a:cubicBezTo>
                  <a:cubicBezTo>
                    <a:pt x="16494" y="7832"/>
                    <a:pt x="16548" y="7812"/>
                    <a:pt x="16601" y="7795"/>
                  </a:cubicBezTo>
                  <a:cubicBezTo>
                    <a:pt x="16661" y="7783"/>
                    <a:pt x="16697" y="7755"/>
                    <a:pt x="16689" y="7738"/>
                  </a:cubicBezTo>
                  <a:cubicBezTo>
                    <a:pt x="16676" y="7721"/>
                    <a:pt x="16705" y="7673"/>
                    <a:pt x="16737" y="7630"/>
                  </a:cubicBezTo>
                  <a:cubicBezTo>
                    <a:pt x="16773" y="7588"/>
                    <a:pt x="16834" y="7538"/>
                    <a:pt x="16873" y="7516"/>
                  </a:cubicBezTo>
                  <a:cubicBezTo>
                    <a:pt x="16912" y="7496"/>
                    <a:pt x="16974" y="7431"/>
                    <a:pt x="17018" y="7374"/>
                  </a:cubicBezTo>
                  <a:cubicBezTo>
                    <a:pt x="17064" y="7318"/>
                    <a:pt x="17106" y="7253"/>
                    <a:pt x="17125" y="7235"/>
                  </a:cubicBezTo>
                  <a:cubicBezTo>
                    <a:pt x="17145" y="7216"/>
                    <a:pt x="17199" y="7202"/>
                    <a:pt x="17249" y="7198"/>
                  </a:cubicBezTo>
                  <a:cubicBezTo>
                    <a:pt x="17299" y="7198"/>
                    <a:pt x="17324" y="7162"/>
                    <a:pt x="17297" y="7121"/>
                  </a:cubicBezTo>
                  <a:cubicBezTo>
                    <a:pt x="17272" y="7079"/>
                    <a:pt x="17266" y="7024"/>
                    <a:pt x="17268" y="6999"/>
                  </a:cubicBezTo>
                  <a:cubicBezTo>
                    <a:pt x="17272" y="6973"/>
                    <a:pt x="17346" y="6905"/>
                    <a:pt x="17433" y="6848"/>
                  </a:cubicBezTo>
                  <a:cubicBezTo>
                    <a:pt x="17507" y="6787"/>
                    <a:pt x="17625" y="6750"/>
                    <a:pt x="17673" y="6762"/>
                  </a:cubicBezTo>
                  <a:cubicBezTo>
                    <a:pt x="17719" y="6774"/>
                    <a:pt x="17800" y="6777"/>
                    <a:pt x="17848" y="6777"/>
                  </a:cubicBezTo>
                  <a:cubicBezTo>
                    <a:pt x="17896" y="6773"/>
                    <a:pt x="17920" y="6738"/>
                    <a:pt x="17904" y="6692"/>
                  </a:cubicBezTo>
                  <a:cubicBezTo>
                    <a:pt x="17889" y="6647"/>
                    <a:pt x="17909" y="6609"/>
                    <a:pt x="17951" y="6605"/>
                  </a:cubicBezTo>
                  <a:cubicBezTo>
                    <a:pt x="17993" y="6605"/>
                    <a:pt x="18127" y="6571"/>
                    <a:pt x="18237" y="6528"/>
                  </a:cubicBezTo>
                  <a:cubicBezTo>
                    <a:pt x="18354" y="6488"/>
                    <a:pt x="18493" y="6456"/>
                    <a:pt x="18549" y="6452"/>
                  </a:cubicBezTo>
                  <a:cubicBezTo>
                    <a:pt x="18606" y="6448"/>
                    <a:pt x="18674" y="6435"/>
                    <a:pt x="18687" y="6413"/>
                  </a:cubicBezTo>
                  <a:cubicBezTo>
                    <a:pt x="18708" y="6393"/>
                    <a:pt x="18832" y="6350"/>
                    <a:pt x="18964" y="6316"/>
                  </a:cubicBezTo>
                  <a:cubicBezTo>
                    <a:pt x="19095" y="6280"/>
                    <a:pt x="19232" y="6264"/>
                    <a:pt x="19259" y="6274"/>
                  </a:cubicBezTo>
                  <a:cubicBezTo>
                    <a:pt x="19289" y="6283"/>
                    <a:pt x="19350" y="6281"/>
                    <a:pt x="19392" y="6262"/>
                  </a:cubicBezTo>
                  <a:cubicBezTo>
                    <a:pt x="19433" y="6243"/>
                    <a:pt x="19475" y="6219"/>
                    <a:pt x="19486" y="6207"/>
                  </a:cubicBezTo>
                  <a:cubicBezTo>
                    <a:pt x="19495" y="6194"/>
                    <a:pt x="19566" y="6170"/>
                    <a:pt x="19651" y="6159"/>
                  </a:cubicBezTo>
                  <a:cubicBezTo>
                    <a:pt x="19734" y="6143"/>
                    <a:pt x="19868" y="6145"/>
                    <a:pt x="19948" y="6153"/>
                  </a:cubicBezTo>
                  <a:cubicBezTo>
                    <a:pt x="20028" y="6161"/>
                    <a:pt x="20108" y="6153"/>
                    <a:pt x="20110" y="6128"/>
                  </a:cubicBezTo>
                  <a:cubicBezTo>
                    <a:pt x="20114" y="6102"/>
                    <a:pt x="20088" y="6024"/>
                    <a:pt x="20044" y="5952"/>
                  </a:cubicBezTo>
                  <a:cubicBezTo>
                    <a:pt x="19995" y="5881"/>
                    <a:pt x="19915" y="5759"/>
                    <a:pt x="19866" y="5680"/>
                  </a:cubicBezTo>
                  <a:cubicBezTo>
                    <a:pt x="19816" y="5602"/>
                    <a:pt x="19753" y="5485"/>
                    <a:pt x="19728" y="5420"/>
                  </a:cubicBezTo>
                  <a:cubicBezTo>
                    <a:pt x="19702" y="5354"/>
                    <a:pt x="19596" y="5224"/>
                    <a:pt x="19482" y="5132"/>
                  </a:cubicBezTo>
                  <a:cubicBezTo>
                    <a:pt x="19375" y="5040"/>
                    <a:pt x="19263" y="4932"/>
                    <a:pt x="19238" y="4891"/>
                  </a:cubicBezTo>
                  <a:cubicBezTo>
                    <a:pt x="19223" y="4850"/>
                    <a:pt x="19043" y="4791"/>
                    <a:pt x="18857" y="4756"/>
                  </a:cubicBezTo>
                  <a:cubicBezTo>
                    <a:pt x="18667" y="4728"/>
                    <a:pt x="18455" y="4709"/>
                    <a:pt x="18380" y="4728"/>
                  </a:cubicBezTo>
                  <a:cubicBezTo>
                    <a:pt x="18302" y="4747"/>
                    <a:pt x="18254" y="4808"/>
                    <a:pt x="18271" y="4862"/>
                  </a:cubicBezTo>
                  <a:cubicBezTo>
                    <a:pt x="18289" y="4916"/>
                    <a:pt x="18316" y="4979"/>
                    <a:pt x="18343" y="5000"/>
                  </a:cubicBezTo>
                  <a:cubicBezTo>
                    <a:pt x="18364" y="5022"/>
                    <a:pt x="18404" y="5097"/>
                    <a:pt x="18429" y="5167"/>
                  </a:cubicBezTo>
                  <a:cubicBezTo>
                    <a:pt x="18446" y="5239"/>
                    <a:pt x="18424" y="5311"/>
                    <a:pt x="18371" y="5335"/>
                  </a:cubicBezTo>
                  <a:cubicBezTo>
                    <a:pt x="18313" y="5354"/>
                    <a:pt x="18244" y="5407"/>
                    <a:pt x="18212" y="5448"/>
                  </a:cubicBezTo>
                  <a:cubicBezTo>
                    <a:pt x="18172" y="5486"/>
                    <a:pt x="18148" y="5554"/>
                    <a:pt x="18147" y="5593"/>
                  </a:cubicBezTo>
                  <a:cubicBezTo>
                    <a:pt x="18134" y="5632"/>
                    <a:pt x="18017" y="5696"/>
                    <a:pt x="17871" y="5736"/>
                  </a:cubicBezTo>
                  <a:cubicBezTo>
                    <a:pt x="17726" y="5775"/>
                    <a:pt x="17599" y="5844"/>
                    <a:pt x="17596" y="5890"/>
                  </a:cubicBezTo>
                  <a:cubicBezTo>
                    <a:pt x="17590" y="5936"/>
                    <a:pt x="17534" y="5998"/>
                    <a:pt x="17495" y="6035"/>
                  </a:cubicBezTo>
                  <a:cubicBezTo>
                    <a:pt x="17448" y="6070"/>
                    <a:pt x="17338" y="6076"/>
                    <a:pt x="17247" y="6056"/>
                  </a:cubicBezTo>
                  <a:cubicBezTo>
                    <a:pt x="17160" y="6032"/>
                    <a:pt x="17062" y="6019"/>
                    <a:pt x="17031" y="6023"/>
                  </a:cubicBezTo>
                  <a:cubicBezTo>
                    <a:pt x="17003" y="6032"/>
                    <a:pt x="16934" y="6066"/>
                    <a:pt x="16879" y="6105"/>
                  </a:cubicBezTo>
                  <a:cubicBezTo>
                    <a:pt x="16825" y="6144"/>
                    <a:pt x="16746" y="6155"/>
                    <a:pt x="16696" y="6130"/>
                  </a:cubicBezTo>
                  <a:cubicBezTo>
                    <a:pt x="16647" y="6105"/>
                    <a:pt x="16566" y="6083"/>
                    <a:pt x="16520" y="6072"/>
                  </a:cubicBezTo>
                  <a:cubicBezTo>
                    <a:pt x="16469" y="6072"/>
                    <a:pt x="16367" y="6067"/>
                    <a:pt x="16290" y="6075"/>
                  </a:cubicBezTo>
                  <a:cubicBezTo>
                    <a:pt x="16212" y="6083"/>
                    <a:pt x="16002" y="6033"/>
                    <a:pt x="15820" y="5965"/>
                  </a:cubicBezTo>
                  <a:cubicBezTo>
                    <a:pt x="15641" y="5895"/>
                    <a:pt x="15295" y="5788"/>
                    <a:pt x="15055" y="5724"/>
                  </a:cubicBezTo>
                  <a:cubicBezTo>
                    <a:pt x="14815" y="5660"/>
                    <a:pt x="14412" y="5597"/>
                    <a:pt x="14160" y="5581"/>
                  </a:cubicBezTo>
                  <a:cubicBezTo>
                    <a:pt x="13910" y="5565"/>
                    <a:pt x="13653" y="5549"/>
                    <a:pt x="13591" y="5541"/>
                  </a:cubicBezTo>
                  <a:cubicBezTo>
                    <a:pt x="13527" y="5533"/>
                    <a:pt x="13477" y="5496"/>
                    <a:pt x="13475" y="5456"/>
                  </a:cubicBezTo>
                  <a:cubicBezTo>
                    <a:pt x="13470" y="5417"/>
                    <a:pt x="13540" y="5345"/>
                    <a:pt x="13628" y="5303"/>
                  </a:cubicBezTo>
                  <a:cubicBezTo>
                    <a:pt x="13713" y="5258"/>
                    <a:pt x="13795" y="5166"/>
                    <a:pt x="13812" y="5099"/>
                  </a:cubicBezTo>
                  <a:cubicBezTo>
                    <a:pt x="13831" y="5032"/>
                    <a:pt x="13804" y="4941"/>
                    <a:pt x="13768" y="4898"/>
                  </a:cubicBezTo>
                  <a:cubicBezTo>
                    <a:pt x="13729" y="4854"/>
                    <a:pt x="13710" y="4797"/>
                    <a:pt x="13733" y="4770"/>
                  </a:cubicBezTo>
                  <a:cubicBezTo>
                    <a:pt x="13758" y="4744"/>
                    <a:pt x="13817" y="4708"/>
                    <a:pt x="13867" y="4691"/>
                  </a:cubicBezTo>
                  <a:cubicBezTo>
                    <a:pt x="13918" y="4673"/>
                    <a:pt x="13993" y="4630"/>
                    <a:pt x="14025" y="4590"/>
                  </a:cubicBezTo>
                  <a:cubicBezTo>
                    <a:pt x="14066" y="4553"/>
                    <a:pt x="14088" y="4488"/>
                    <a:pt x="14095" y="4449"/>
                  </a:cubicBezTo>
                  <a:cubicBezTo>
                    <a:pt x="14100" y="4410"/>
                    <a:pt x="14048" y="4335"/>
                    <a:pt x="13983" y="4281"/>
                  </a:cubicBezTo>
                  <a:cubicBezTo>
                    <a:pt x="13917" y="4228"/>
                    <a:pt x="13755" y="4133"/>
                    <a:pt x="13622" y="4071"/>
                  </a:cubicBezTo>
                  <a:cubicBezTo>
                    <a:pt x="13490" y="4008"/>
                    <a:pt x="13290" y="3904"/>
                    <a:pt x="13174" y="3842"/>
                  </a:cubicBezTo>
                  <a:cubicBezTo>
                    <a:pt x="13058" y="3780"/>
                    <a:pt x="12779" y="3691"/>
                    <a:pt x="12551" y="3645"/>
                  </a:cubicBezTo>
                  <a:cubicBezTo>
                    <a:pt x="12323" y="3601"/>
                    <a:pt x="11981" y="3512"/>
                    <a:pt x="11799" y="3444"/>
                  </a:cubicBezTo>
                  <a:cubicBezTo>
                    <a:pt x="11612" y="3379"/>
                    <a:pt x="11300" y="3246"/>
                    <a:pt x="11104" y="3149"/>
                  </a:cubicBezTo>
                  <a:cubicBezTo>
                    <a:pt x="10907" y="3052"/>
                    <a:pt x="10690" y="2959"/>
                    <a:pt x="10621" y="2943"/>
                  </a:cubicBezTo>
                  <a:cubicBezTo>
                    <a:pt x="10549" y="2930"/>
                    <a:pt x="10365" y="2864"/>
                    <a:pt x="10203" y="2806"/>
                  </a:cubicBezTo>
                  <a:cubicBezTo>
                    <a:pt x="10044" y="2746"/>
                    <a:pt x="9721" y="2651"/>
                    <a:pt x="9487" y="2593"/>
                  </a:cubicBezTo>
                  <a:cubicBezTo>
                    <a:pt x="9258" y="2531"/>
                    <a:pt x="8997" y="2439"/>
                    <a:pt x="8917" y="2379"/>
                  </a:cubicBezTo>
                  <a:cubicBezTo>
                    <a:pt x="8836" y="2319"/>
                    <a:pt x="8681" y="2226"/>
                    <a:pt x="8572" y="2171"/>
                  </a:cubicBezTo>
                  <a:cubicBezTo>
                    <a:pt x="8461" y="2117"/>
                    <a:pt x="8302" y="2055"/>
                    <a:pt x="8210" y="2039"/>
                  </a:cubicBezTo>
                  <a:cubicBezTo>
                    <a:pt x="8118" y="2023"/>
                    <a:pt x="7821" y="1879"/>
                    <a:pt x="7537" y="1727"/>
                  </a:cubicBezTo>
                  <a:cubicBezTo>
                    <a:pt x="7258" y="1573"/>
                    <a:pt x="6921" y="1365"/>
                    <a:pt x="6796" y="1263"/>
                  </a:cubicBezTo>
                  <a:cubicBezTo>
                    <a:pt x="6664" y="1162"/>
                    <a:pt x="6504" y="1062"/>
                    <a:pt x="6434" y="1046"/>
                  </a:cubicBezTo>
                  <a:cubicBezTo>
                    <a:pt x="6364" y="1027"/>
                    <a:pt x="6221" y="963"/>
                    <a:pt x="6116" y="903"/>
                  </a:cubicBezTo>
                  <a:cubicBezTo>
                    <a:pt x="6086" y="887"/>
                    <a:pt x="6059" y="871"/>
                    <a:pt x="6033" y="856"/>
                  </a:cubicBezTo>
                  <a:cubicBezTo>
                    <a:pt x="5938" y="801"/>
                    <a:pt x="5828" y="738"/>
                    <a:pt x="5753" y="700"/>
                  </a:cubicBezTo>
                  <a:cubicBezTo>
                    <a:pt x="5661" y="648"/>
                    <a:pt x="5435" y="584"/>
                    <a:pt x="5256" y="556"/>
                  </a:cubicBezTo>
                  <a:cubicBezTo>
                    <a:pt x="5080" y="526"/>
                    <a:pt x="4770" y="479"/>
                    <a:pt x="4568" y="454"/>
                  </a:cubicBezTo>
                  <a:cubicBezTo>
                    <a:pt x="4369" y="423"/>
                    <a:pt x="4173" y="433"/>
                    <a:pt x="4144" y="472"/>
                  </a:cubicBezTo>
                  <a:cubicBezTo>
                    <a:pt x="4114" y="511"/>
                    <a:pt x="4095" y="573"/>
                    <a:pt x="4116" y="609"/>
                  </a:cubicBezTo>
                  <a:cubicBezTo>
                    <a:pt x="4126" y="648"/>
                    <a:pt x="4138" y="705"/>
                    <a:pt x="4109" y="735"/>
                  </a:cubicBezTo>
                  <a:cubicBezTo>
                    <a:pt x="4085" y="766"/>
                    <a:pt x="4087" y="824"/>
                    <a:pt x="4111" y="861"/>
                  </a:cubicBezTo>
                  <a:cubicBezTo>
                    <a:pt x="4129" y="900"/>
                    <a:pt x="4144" y="948"/>
                    <a:pt x="4119" y="964"/>
                  </a:cubicBezTo>
                  <a:cubicBezTo>
                    <a:pt x="4098" y="982"/>
                    <a:pt x="4058" y="975"/>
                    <a:pt x="4020" y="949"/>
                  </a:cubicBezTo>
                  <a:cubicBezTo>
                    <a:pt x="3984" y="923"/>
                    <a:pt x="3875" y="829"/>
                    <a:pt x="3792" y="737"/>
                  </a:cubicBezTo>
                  <a:cubicBezTo>
                    <a:pt x="3699" y="648"/>
                    <a:pt x="3598" y="529"/>
                    <a:pt x="3557" y="475"/>
                  </a:cubicBezTo>
                  <a:cubicBezTo>
                    <a:pt x="3523" y="420"/>
                    <a:pt x="3431" y="365"/>
                    <a:pt x="3364" y="349"/>
                  </a:cubicBezTo>
                  <a:cubicBezTo>
                    <a:pt x="3295" y="337"/>
                    <a:pt x="3147" y="315"/>
                    <a:pt x="3031" y="315"/>
                  </a:cubicBezTo>
                  <a:cubicBezTo>
                    <a:pt x="2915" y="311"/>
                    <a:pt x="2760" y="286"/>
                    <a:pt x="2677" y="268"/>
                  </a:cubicBezTo>
                  <a:cubicBezTo>
                    <a:pt x="2598" y="246"/>
                    <a:pt x="2488" y="224"/>
                    <a:pt x="2435" y="227"/>
                  </a:cubicBezTo>
                  <a:cubicBezTo>
                    <a:pt x="2380" y="224"/>
                    <a:pt x="2257" y="222"/>
                    <a:pt x="2164" y="211"/>
                  </a:cubicBezTo>
                  <a:cubicBezTo>
                    <a:pt x="2068" y="207"/>
                    <a:pt x="1907" y="150"/>
                    <a:pt x="1805" y="94"/>
                  </a:cubicBezTo>
                  <a:cubicBezTo>
                    <a:pt x="1702" y="39"/>
                    <a:pt x="1552" y="-7"/>
                    <a:pt x="1474" y="1"/>
                  </a:cubicBezTo>
                  <a:cubicBezTo>
                    <a:pt x="1395" y="1"/>
                    <a:pt x="1252" y="56"/>
                    <a:pt x="1167" y="118"/>
                  </a:cubicBezTo>
                  <a:cubicBezTo>
                    <a:pt x="1080" y="180"/>
                    <a:pt x="976" y="278"/>
                    <a:pt x="962" y="341"/>
                  </a:cubicBezTo>
                  <a:cubicBezTo>
                    <a:pt x="935" y="402"/>
                    <a:pt x="898" y="473"/>
                    <a:pt x="874" y="499"/>
                  </a:cubicBezTo>
                  <a:cubicBezTo>
                    <a:pt x="846" y="523"/>
                    <a:pt x="883" y="592"/>
                    <a:pt x="952" y="652"/>
                  </a:cubicBezTo>
                  <a:cubicBezTo>
                    <a:pt x="1024" y="711"/>
                    <a:pt x="1099" y="930"/>
                    <a:pt x="1126" y="1136"/>
                  </a:cubicBezTo>
                  <a:cubicBezTo>
                    <a:pt x="1152" y="1341"/>
                    <a:pt x="909" y="1559"/>
                    <a:pt x="583" y="1615"/>
                  </a:cubicBezTo>
                  <a:cubicBezTo>
                    <a:pt x="259" y="1671"/>
                    <a:pt x="-6" y="1757"/>
                    <a:pt x="1" y="1802"/>
                  </a:cubicBezTo>
                  <a:cubicBezTo>
                    <a:pt x="-8" y="1846"/>
                    <a:pt x="74" y="1918"/>
                    <a:pt x="156" y="1963"/>
                  </a:cubicBezTo>
                  <a:cubicBezTo>
                    <a:pt x="240" y="2007"/>
                    <a:pt x="335" y="2074"/>
                    <a:pt x="373" y="2110"/>
                  </a:cubicBezTo>
                  <a:cubicBezTo>
                    <a:pt x="408" y="2147"/>
                    <a:pt x="413" y="2204"/>
                    <a:pt x="405" y="2239"/>
                  </a:cubicBezTo>
                  <a:cubicBezTo>
                    <a:pt x="378" y="2272"/>
                    <a:pt x="415" y="2356"/>
                    <a:pt x="471" y="2423"/>
                  </a:cubicBezTo>
                  <a:cubicBezTo>
                    <a:pt x="523" y="2490"/>
                    <a:pt x="646" y="2596"/>
                    <a:pt x="745" y="2658"/>
                  </a:cubicBezTo>
                  <a:cubicBezTo>
                    <a:pt x="845" y="2720"/>
                    <a:pt x="946" y="2811"/>
                    <a:pt x="971" y="2859"/>
                  </a:cubicBezTo>
                  <a:cubicBezTo>
                    <a:pt x="1000" y="2905"/>
                    <a:pt x="986" y="2961"/>
                    <a:pt x="938" y="2972"/>
                  </a:cubicBezTo>
                  <a:cubicBezTo>
                    <a:pt x="894" y="2987"/>
                    <a:pt x="863" y="3029"/>
                    <a:pt x="871" y="3062"/>
                  </a:cubicBezTo>
                  <a:cubicBezTo>
                    <a:pt x="881" y="3096"/>
                    <a:pt x="920" y="3147"/>
                    <a:pt x="973" y="3170"/>
                  </a:cubicBezTo>
                  <a:cubicBezTo>
                    <a:pt x="1021" y="3197"/>
                    <a:pt x="1097" y="3240"/>
                    <a:pt x="1133" y="3272"/>
                  </a:cubicBezTo>
                  <a:cubicBezTo>
                    <a:pt x="1173" y="3302"/>
                    <a:pt x="1229" y="3371"/>
                    <a:pt x="1264" y="3423"/>
                  </a:cubicBezTo>
                  <a:cubicBezTo>
                    <a:pt x="1299" y="3476"/>
                    <a:pt x="1359" y="3539"/>
                    <a:pt x="1400" y="3562"/>
                  </a:cubicBezTo>
                  <a:cubicBezTo>
                    <a:pt x="1439" y="3587"/>
                    <a:pt x="1458" y="3629"/>
                    <a:pt x="1421" y="3651"/>
                  </a:cubicBezTo>
                  <a:cubicBezTo>
                    <a:pt x="1395" y="3677"/>
                    <a:pt x="1324" y="3703"/>
                    <a:pt x="1273" y="3710"/>
                  </a:cubicBezTo>
                  <a:cubicBezTo>
                    <a:pt x="1221" y="3717"/>
                    <a:pt x="1134" y="3752"/>
                    <a:pt x="1080" y="3786"/>
                  </a:cubicBezTo>
                  <a:cubicBezTo>
                    <a:pt x="1024" y="3820"/>
                    <a:pt x="964" y="3936"/>
                    <a:pt x="956" y="4044"/>
                  </a:cubicBezTo>
                  <a:cubicBezTo>
                    <a:pt x="937" y="4150"/>
                    <a:pt x="896" y="4264"/>
                    <a:pt x="875" y="4301"/>
                  </a:cubicBezTo>
                  <a:cubicBezTo>
                    <a:pt x="842" y="4336"/>
                    <a:pt x="866" y="4470"/>
                    <a:pt x="921" y="4599"/>
                  </a:cubicBezTo>
                  <a:cubicBezTo>
                    <a:pt x="978" y="4728"/>
                    <a:pt x="998" y="4845"/>
                    <a:pt x="974" y="4863"/>
                  </a:cubicBezTo>
                  <a:cubicBezTo>
                    <a:pt x="944" y="4879"/>
                    <a:pt x="991" y="4985"/>
                    <a:pt x="1063" y="5098"/>
                  </a:cubicBezTo>
                  <a:cubicBezTo>
                    <a:pt x="1136" y="5212"/>
                    <a:pt x="1279" y="5359"/>
                    <a:pt x="1372" y="5427"/>
                  </a:cubicBezTo>
                  <a:cubicBezTo>
                    <a:pt x="1464" y="5497"/>
                    <a:pt x="1578" y="5615"/>
                    <a:pt x="1620" y="5691"/>
                  </a:cubicBezTo>
                  <a:cubicBezTo>
                    <a:pt x="1662" y="5767"/>
                    <a:pt x="1675" y="5850"/>
                    <a:pt x="1650" y="5877"/>
                  </a:cubicBezTo>
                  <a:cubicBezTo>
                    <a:pt x="1624" y="5903"/>
                    <a:pt x="1645" y="5994"/>
                    <a:pt x="1696" y="6080"/>
                  </a:cubicBezTo>
                  <a:cubicBezTo>
                    <a:pt x="1747" y="6166"/>
                    <a:pt x="1731" y="6238"/>
                    <a:pt x="1659" y="6247"/>
                  </a:cubicBezTo>
                  <a:cubicBezTo>
                    <a:pt x="1585" y="6251"/>
                    <a:pt x="1551" y="6308"/>
                    <a:pt x="1575" y="6371"/>
                  </a:cubicBezTo>
                  <a:cubicBezTo>
                    <a:pt x="1606" y="6434"/>
                    <a:pt x="1692" y="6560"/>
                    <a:pt x="1781" y="6648"/>
                  </a:cubicBezTo>
                  <a:cubicBezTo>
                    <a:pt x="1866" y="6739"/>
                    <a:pt x="2003" y="6855"/>
                    <a:pt x="2088" y="6906"/>
                  </a:cubicBezTo>
                  <a:cubicBezTo>
                    <a:pt x="2167" y="6960"/>
                    <a:pt x="2266" y="7029"/>
                    <a:pt x="2298" y="7063"/>
                  </a:cubicBezTo>
                  <a:cubicBezTo>
                    <a:pt x="2331" y="7096"/>
                    <a:pt x="2445" y="7188"/>
                    <a:pt x="2561" y="7262"/>
                  </a:cubicBezTo>
                  <a:cubicBezTo>
                    <a:pt x="2671" y="7339"/>
                    <a:pt x="2834" y="7449"/>
                    <a:pt x="2919" y="7509"/>
                  </a:cubicBezTo>
                  <a:cubicBezTo>
                    <a:pt x="3001" y="7569"/>
                    <a:pt x="3156" y="7704"/>
                    <a:pt x="3259" y="7810"/>
                  </a:cubicBezTo>
                  <a:cubicBezTo>
                    <a:pt x="3367" y="7913"/>
                    <a:pt x="3497" y="8025"/>
                    <a:pt x="3558" y="8057"/>
                  </a:cubicBezTo>
                  <a:cubicBezTo>
                    <a:pt x="3618" y="8088"/>
                    <a:pt x="3754" y="8224"/>
                    <a:pt x="3875" y="8355"/>
                  </a:cubicBezTo>
                  <a:cubicBezTo>
                    <a:pt x="3985" y="8488"/>
                    <a:pt x="4119" y="8657"/>
                    <a:pt x="4153" y="8732"/>
                  </a:cubicBezTo>
                  <a:cubicBezTo>
                    <a:pt x="4196" y="8806"/>
                    <a:pt x="4179" y="8862"/>
                    <a:pt x="4126" y="8866"/>
                  </a:cubicBezTo>
                  <a:cubicBezTo>
                    <a:pt x="4074" y="8866"/>
                    <a:pt x="4026" y="8910"/>
                    <a:pt x="4021" y="8965"/>
                  </a:cubicBezTo>
                  <a:cubicBezTo>
                    <a:pt x="4017" y="9021"/>
                    <a:pt x="4056" y="9123"/>
                    <a:pt x="4126" y="9189"/>
                  </a:cubicBezTo>
                  <a:cubicBezTo>
                    <a:pt x="4183" y="9258"/>
                    <a:pt x="4219" y="9345"/>
                    <a:pt x="4183" y="9385"/>
                  </a:cubicBezTo>
                  <a:cubicBezTo>
                    <a:pt x="4156" y="9426"/>
                    <a:pt x="4170" y="9481"/>
                    <a:pt x="4226" y="9507"/>
                  </a:cubicBezTo>
                  <a:cubicBezTo>
                    <a:pt x="4281" y="9534"/>
                    <a:pt x="4412" y="9609"/>
                    <a:pt x="4511" y="9676"/>
                  </a:cubicBezTo>
                  <a:cubicBezTo>
                    <a:pt x="4614" y="9741"/>
                    <a:pt x="4749" y="9844"/>
                    <a:pt x="4800" y="9906"/>
                  </a:cubicBezTo>
                  <a:cubicBezTo>
                    <a:pt x="4861" y="9966"/>
                    <a:pt x="4867" y="10035"/>
                    <a:pt x="4822" y="10059"/>
                  </a:cubicBezTo>
                  <a:cubicBezTo>
                    <a:pt x="4785" y="10087"/>
                    <a:pt x="4732" y="10147"/>
                    <a:pt x="4713" y="10199"/>
                  </a:cubicBezTo>
                  <a:cubicBezTo>
                    <a:pt x="4699" y="10253"/>
                    <a:pt x="4756" y="10383"/>
                    <a:pt x="4836" y="10492"/>
                  </a:cubicBezTo>
                  <a:cubicBezTo>
                    <a:pt x="4924" y="10599"/>
                    <a:pt x="5020" y="10724"/>
                    <a:pt x="5049" y="10769"/>
                  </a:cubicBezTo>
                  <a:cubicBezTo>
                    <a:pt x="5080" y="10815"/>
                    <a:pt x="5133" y="10895"/>
                    <a:pt x="5154" y="10951"/>
                  </a:cubicBezTo>
                  <a:cubicBezTo>
                    <a:pt x="5175" y="11006"/>
                    <a:pt x="5460" y="11228"/>
                    <a:pt x="5781" y="11444"/>
                  </a:cubicBezTo>
                  <a:cubicBezTo>
                    <a:pt x="6101" y="11659"/>
                    <a:pt x="6342" y="11846"/>
                    <a:pt x="6323" y="11865"/>
                  </a:cubicBezTo>
                  <a:cubicBezTo>
                    <a:pt x="6296" y="11880"/>
                    <a:pt x="6226" y="11901"/>
                    <a:pt x="6160" y="11901"/>
                  </a:cubicBezTo>
                  <a:cubicBezTo>
                    <a:pt x="6094" y="11904"/>
                    <a:pt x="6084" y="11969"/>
                    <a:pt x="6127" y="12048"/>
                  </a:cubicBezTo>
                  <a:cubicBezTo>
                    <a:pt x="6178" y="12125"/>
                    <a:pt x="6173" y="12230"/>
                    <a:pt x="6117" y="12279"/>
                  </a:cubicBezTo>
                  <a:cubicBezTo>
                    <a:pt x="6070" y="12329"/>
                    <a:pt x="6070" y="12411"/>
                    <a:pt x="6122" y="12465"/>
                  </a:cubicBezTo>
                  <a:cubicBezTo>
                    <a:pt x="6176" y="12518"/>
                    <a:pt x="6297" y="12609"/>
                    <a:pt x="6391" y="12665"/>
                  </a:cubicBezTo>
                  <a:cubicBezTo>
                    <a:pt x="6483" y="12723"/>
                    <a:pt x="6617" y="12854"/>
                    <a:pt x="6690" y="12959"/>
                  </a:cubicBezTo>
                  <a:cubicBezTo>
                    <a:pt x="6762" y="13062"/>
                    <a:pt x="6895" y="13225"/>
                    <a:pt x="6982" y="13322"/>
                  </a:cubicBezTo>
                  <a:cubicBezTo>
                    <a:pt x="7076" y="13416"/>
                    <a:pt x="7212" y="13554"/>
                    <a:pt x="7296" y="13626"/>
                  </a:cubicBezTo>
                  <a:cubicBezTo>
                    <a:pt x="7383" y="13696"/>
                    <a:pt x="7503" y="13775"/>
                    <a:pt x="7569" y="13802"/>
                  </a:cubicBezTo>
                  <a:cubicBezTo>
                    <a:pt x="7634" y="13828"/>
                    <a:pt x="7739" y="13876"/>
                    <a:pt x="7796" y="13911"/>
                  </a:cubicBezTo>
                  <a:cubicBezTo>
                    <a:pt x="7852" y="13946"/>
                    <a:pt x="7906" y="14002"/>
                    <a:pt x="7921" y="14034"/>
                  </a:cubicBezTo>
                  <a:cubicBezTo>
                    <a:pt x="7928" y="14066"/>
                    <a:pt x="7902" y="14095"/>
                    <a:pt x="7856" y="14104"/>
                  </a:cubicBezTo>
                  <a:cubicBezTo>
                    <a:pt x="7810" y="14112"/>
                    <a:pt x="7854" y="14204"/>
                    <a:pt x="7962" y="14312"/>
                  </a:cubicBezTo>
                  <a:cubicBezTo>
                    <a:pt x="8064" y="14421"/>
                    <a:pt x="8206" y="14547"/>
                    <a:pt x="8272" y="14593"/>
                  </a:cubicBezTo>
                  <a:cubicBezTo>
                    <a:pt x="8330" y="14641"/>
                    <a:pt x="8473" y="14708"/>
                    <a:pt x="8584" y="14741"/>
                  </a:cubicBezTo>
                  <a:cubicBezTo>
                    <a:pt x="8693" y="14775"/>
                    <a:pt x="8815" y="14840"/>
                    <a:pt x="8844" y="14886"/>
                  </a:cubicBezTo>
                  <a:cubicBezTo>
                    <a:pt x="8881" y="14930"/>
                    <a:pt x="8942" y="14999"/>
                    <a:pt x="8979" y="15039"/>
                  </a:cubicBezTo>
                  <a:cubicBezTo>
                    <a:pt x="9022" y="15078"/>
                    <a:pt x="9133" y="15168"/>
                    <a:pt x="9242" y="15232"/>
                  </a:cubicBezTo>
                  <a:cubicBezTo>
                    <a:pt x="9342" y="15301"/>
                    <a:pt x="9509" y="15407"/>
                    <a:pt x="9588" y="15476"/>
                  </a:cubicBezTo>
                  <a:cubicBezTo>
                    <a:pt x="9677" y="15542"/>
                    <a:pt x="9788" y="15616"/>
                    <a:pt x="9853" y="15629"/>
                  </a:cubicBezTo>
                  <a:cubicBezTo>
                    <a:pt x="9912" y="15647"/>
                    <a:pt x="9990" y="15655"/>
                    <a:pt x="10023" y="15652"/>
                  </a:cubicBezTo>
                  <a:cubicBezTo>
                    <a:pt x="10056" y="15648"/>
                    <a:pt x="10122" y="15657"/>
                    <a:pt x="10168" y="15673"/>
                  </a:cubicBezTo>
                  <a:cubicBezTo>
                    <a:pt x="10216" y="15688"/>
                    <a:pt x="10280" y="15729"/>
                    <a:pt x="10315" y="15762"/>
                  </a:cubicBezTo>
                  <a:cubicBezTo>
                    <a:pt x="10344" y="15796"/>
                    <a:pt x="10351" y="15840"/>
                    <a:pt x="10312" y="15857"/>
                  </a:cubicBezTo>
                  <a:cubicBezTo>
                    <a:pt x="10278" y="15878"/>
                    <a:pt x="10139" y="15867"/>
                    <a:pt x="10002" y="15840"/>
                  </a:cubicBezTo>
                  <a:cubicBezTo>
                    <a:pt x="9866" y="15810"/>
                    <a:pt x="9754" y="15801"/>
                    <a:pt x="9754" y="15818"/>
                  </a:cubicBezTo>
                  <a:cubicBezTo>
                    <a:pt x="9752" y="15836"/>
                    <a:pt x="9792" y="15872"/>
                    <a:pt x="9846" y="15894"/>
                  </a:cubicBezTo>
                  <a:cubicBezTo>
                    <a:pt x="9896" y="15918"/>
                    <a:pt x="9949" y="15934"/>
                    <a:pt x="9962" y="15930"/>
                  </a:cubicBezTo>
                  <a:cubicBezTo>
                    <a:pt x="9972" y="15925"/>
                    <a:pt x="10037" y="15934"/>
                    <a:pt x="10098" y="15949"/>
                  </a:cubicBezTo>
                  <a:cubicBezTo>
                    <a:pt x="10161" y="15961"/>
                    <a:pt x="10314" y="16017"/>
                    <a:pt x="10445" y="16067"/>
                  </a:cubicBezTo>
                  <a:cubicBezTo>
                    <a:pt x="10568" y="16122"/>
                    <a:pt x="10763" y="16212"/>
                    <a:pt x="10872" y="16272"/>
                  </a:cubicBezTo>
                  <a:cubicBezTo>
                    <a:pt x="10978" y="16333"/>
                    <a:pt x="11086" y="16408"/>
                    <a:pt x="11120" y="16437"/>
                  </a:cubicBezTo>
                  <a:cubicBezTo>
                    <a:pt x="11148" y="16468"/>
                    <a:pt x="11132" y="16499"/>
                    <a:pt x="11085" y="16515"/>
                  </a:cubicBezTo>
                  <a:cubicBezTo>
                    <a:pt x="11035" y="16527"/>
                    <a:pt x="11008" y="16557"/>
                    <a:pt x="11028" y="16581"/>
                  </a:cubicBezTo>
                  <a:cubicBezTo>
                    <a:pt x="11047" y="16604"/>
                    <a:pt x="11113" y="16662"/>
                    <a:pt x="11191" y="16701"/>
                  </a:cubicBezTo>
                  <a:cubicBezTo>
                    <a:pt x="11261" y="16744"/>
                    <a:pt x="11396" y="16839"/>
                    <a:pt x="11486" y="16914"/>
                  </a:cubicBezTo>
                  <a:cubicBezTo>
                    <a:pt x="11575" y="16989"/>
                    <a:pt x="11717" y="17102"/>
                    <a:pt x="11808" y="17161"/>
                  </a:cubicBezTo>
                  <a:cubicBezTo>
                    <a:pt x="11893" y="17223"/>
                    <a:pt x="11937" y="17279"/>
                    <a:pt x="11909" y="17293"/>
                  </a:cubicBezTo>
                  <a:cubicBezTo>
                    <a:pt x="11877" y="17304"/>
                    <a:pt x="11867" y="17336"/>
                    <a:pt x="11886" y="17362"/>
                  </a:cubicBezTo>
                  <a:cubicBezTo>
                    <a:pt x="11902" y="17389"/>
                    <a:pt x="12017" y="17469"/>
                    <a:pt x="12134" y="17541"/>
                  </a:cubicBezTo>
                  <a:cubicBezTo>
                    <a:pt x="12257" y="17610"/>
                    <a:pt x="12320" y="17682"/>
                    <a:pt x="12290" y="17698"/>
                  </a:cubicBezTo>
                  <a:cubicBezTo>
                    <a:pt x="12257" y="17713"/>
                    <a:pt x="12258" y="17768"/>
                    <a:pt x="12291" y="17818"/>
                  </a:cubicBezTo>
                  <a:cubicBezTo>
                    <a:pt x="12328" y="17867"/>
                    <a:pt x="12418" y="17956"/>
                    <a:pt x="12508" y="18010"/>
                  </a:cubicBezTo>
                  <a:cubicBezTo>
                    <a:pt x="12594" y="18065"/>
                    <a:pt x="12744" y="18167"/>
                    <a:pt x="12837" y="18238"/>
                  </a:cubicBezTo>
                  <a:cubicBezTo>
                    <a:pt x="12934" y="18307"/>
                    <a:pt x="13039" y="18408"/>
                    <a:pt x="13070" y="18463"/>
                  </a:cubicBezTo>
                  <a:cubicBezTo>
                    <a:pt x="13103" y="18517"/>
                    <a:pt x="13084" y="18578"/>
                    <a:pt x="13026" y="18597"/>
                  </a:cubicBezTo>
                  <a:cubicBezTo>
                    <a:pt x="12967" y="18615"/>
                    <a:pt x="12898" y="18650"/>
                    <a:pt x="12879" y="18673"/>
                  </a:cubicBezTo>
                  <a:cubicBezTo>
                    <a:pt x="12863" y="18697"/>
                    <a:pt x="12892" y="18791"/>
                    <a:pt x="12969" y="18885"/>
                  </a:cubicBezTo>
                  <a:cubicBezTo>
                    <a:pt x="13041" y="18980"/>
                    <a:pt x="13149" y="19090"/>
                    <a:pt x="13206" y="19130"/>
                  </a:cubicBezTo>
                  <a:cubicBezTo>
                    <a:pt x="13261" y="19171"/>
                    <a:pt x="13504" y="19308"/>
                    <a:pt x="13743" y="19436"/>
                  </a:cubicBezTo>
                  <a:cubicBezTo>
                    <a:pt x="13980" y="19564"/>
                    <a:pt x="14226" y="19678"/>
                    <a:pt x="14285" y="19693"/>
                  </a:cubicBezTo>
                  <a:cubicBezTo>
                    <a:pt x="14344" y="19708"/>
                    <a:pt x="14414" y="19707"/>
                    <a:pt x="14444" y="19699"/>
                  </a:cubicBezTo>
                  <a:cubicBezTo>
                    <a:pt x="14470" y="19688"/>
                    <a:pt x="14552" y="19681"/>
                    <a:pt x="14627" y="19685"/>
                  </a:cubicBezTo>
                  <a:cubicBezTo>
                    <a:pt x="14701" y="19685"/>
                    <a:pt x="14811" y="19702"/>
                    <a:pt x="14872" y="19714"/>
                  </a:cubicBezTo>
                  <a:cubicBezTo>
                    <a:pt x="14932" y="19729"/>
                    <a:pt x="15011" y="19762"/>
                    <a:pt x="15043" y="19791"/>
                  </a:cubicBezTo>
                  <a:cubicBezTo>
                    <a:pt x="15072" y="19822"/>
                    <a:pt x="15178" y="19901"/>
                    <a:pt x="15267" y="19970"/>
                  </a:cubicBezTo>
                  <a:cubicBezTo>
                    <a:pt x="15358" y="20038"/>
                    <a:pt x="15503" y="20123"/>
                    <a:pt x="15591" y="20158"/>
                  </a:cubicBezTo>
                  <a:cubicBezTo>
                    <a:pt x="15678" y="20195"/>
                    <a:pt x="15811" y="20260"/>
                    <a:pt x="15884" y="20305"/>
                  </a:cubicBezTo>
                  <a:cubicBezTo>
                    <a:pt x="15959" y="20350"/>
                    <a:pt x="16098" y="20433"/>
                    <a:pt x="16196" y="20489"/>
                  </a:cubicBezTo>
                  <a:cubicBezTo>
                    <a:pt x="16291" y="20546"/>
                    <a:pt x="16496" y="20618"/>
                    <a:pt x="16643" y="20654"/>
                  </a:cubicBezTo>
                  <a:cubicBezTo>
                    <a:pt x="16790" y="20690"/>
                    <a:pt x="16959" y="20737"/>
                    <a:pt x="17023" y="20755"/>
                  </a:cubicBezTo>
                  <a:cubicBezTo>
                    <a:pt x="17083" y="20777"/>
                    <a:pt x="17297" y="20821"/>
                    <a:pt x="17497" y="20853"/>
                  </a:cubicBezTo>
                  <a:cubicBezTo>
                    <a:pt x="17697" y="20888"/>
                    <a:pt x="18184" y="20979"/>
                    <a:pt x="18575" y="21061"/>
                  </a:cubicBezTo>
                  <a:cubicBezTo>
                    <a:pt x="18968" y="21143"/>
                    <a:pt x="19315" y="21222"/>
                    <a:pt x="19347" y="21234"/>
                  </a:cubicBezTo>
                  <a:cubicBezTo>
                    <a:pt x="19377" y="21248"/>
                    <a:pt x="19459" y="21274"/>
                    <a:pt x="19531" y="21289"/>
                  </a:cubicBezTo>
                  <a:cubicBezTo>
                    <a:pt x="19599" y="21309"/>
                    <a:pt x="19754" y="21355"/>
                    <a:pt x="19866" y="21401"/>
                  </a:cubicBezTo>
                  <a:cubicBezTo>
                    <a:pt x="19982" y="21444"/>
                    <a:pt x="20143" y="21501"/>
                    <a:pt x="20227" y="21528"/>
                  </a:cubicBezTo>
                  <a:cubicBezTo>
                    <a:pt x="20314" y="21552"/>
                    <a:pt x="20402" y="21581"/>
                    <a:pt x="20430" y="21586"/>
                  </a:cubicBezTo>
                  <a:cubicBezTo>
                    <a:pt x="20457" y="21593"/>
                    <a:pt x="20459" y="21579"/>
                    <a:pt x="20428" y="21559"/>
                  </a:cubicBezTo>
                  <a:cubicBezTo>
                    <a:pt x="20398" y="21538"/>
                    <a:pt x="20307" y="21497"/>
                    <a:pt x="20228" y="21466"/>
                  </a:cubicBezTo>
                  <a:cubicBezTo>
                    <a:pt x="20147" y="21435"/>
                    <a:pt x="19976" y="21374"/>
                    <a:pt x="19845" y="21332"/>
                  </a:cubicBezTo>
                  <a:cubicBezTo>
                    <a:pt x="19716" y="21288"/>
                    <a:pt x="19579" y="21234"/>
                    <a:pt x="19549" y="21209"/>
                  </a:cubicBezTo>
                  <a:cubicBezTo>
                    <a:pt x="19517" y="21185"/>
                    <a:pt x="19423" y="21145"/>
                    <a:pt x="19354" y="21114"/>
                  </a:cubicBezTo>
                  <a:cubicBezTo>
                    <a:pt x="19281" y="21085"/>
                    <a:pt x="19196" y="21059"/>
                    <a:pt x="19165" y="21055"/>
                  </a:cubicBezTo>
                  <a:cubicBezTo>
                    <a:pt x="19134" y="21050"/>
                    <a:pt x="19073" y="21032"/>
                    <a:pt x="19024" y="21015"/>
                  </a:cubicBezTo>
                  <a:cubicBezTo>
                    <a:pt x="18980" y="20996"/>
                    <a:pt x="18971" y="20982"/>
                    <a:pt x="19007" y="20982"/>
                  </a:cubicBezTo>
                  <a:cubicBezTo>
                    <a:pt x="19043" y="20982"/>
                    <a:pt x="19064" y="20972"/>
                    <a:pt x="19064" y="20960"/>
                  </a:cubicBezTo>
                  <a:cubicBezTo>
                    <a:pt x="19060" y="20948"/>
                    <a:pt x="19041" y="20930"/>
                    <a:pt x="19017" y="20925"/>
                  </a:cubicBezTo>
                  <a:cubicBezTo>
                    <a:pt x="18998" y="20918"/>
                    <a:pt x="18962" y="20901"/>
                    <a:pt x="18948" y="20884"/>
                  </a:cubicBezTo>
                  <a:cubicBezTo>
                    <a:pt x="18929" y="20869"/>
                    <a:pt x="18831" y="20804"/>
                    <a:pt x="18724" y="20744"/>
                  </a:cubicBezTo>
                  <a:cubicBezTo>
                    <a:pt x="18619" y="20681"/>
                    <a:pt x="18452" y="20593"/>
                    <a:pt x="18356" y="20547"/>
                  </a:cubicBezTo>
                  <a:cubicBezTo>
                    <a:pt x="18260" y="20501"/>
                    <a:pt x="18145" y="20433"/>
                    <a:pt x="18097" y="20399"/>
                  </a:cubicBezTo>
                  <a:cubicBezTo>
                    <a:pt x="18046" y="20365"/>
                    <a:pt x="18007" y="20309"/>
                    <a:pt x="18006" y="20279"/>
                  </a:cubicBezTo>
                  <a:cubicBezTo>
                    <a:pt x="18003" y="20249"/>
                    <a:pt x="18039" y="20218"/>
                    <a:pt x="18090" y="20209"/>
                  </a:cubicBezTo>
                  <a:cubicBezTo>
                    <a:pt x="18142" y="20202"/>
                    <a:pt x="18196" y="20185"/>
                    <a:pt x="18198" y="20172"/>
                  </a:cubicBezTo>
                  <a:cubicBezTo>
                    <a:pt x="18216" y="20163"/>
                    <a:pt x="18186" y="20138"/>
                    <a:pt x="18155" y="20124"/>
                  </a:cubicBezTo>
                  <a:cubicBezTo>
                    <a:pt x="18120" y="20113"/>
                    <a:pt x="18080" y="20083"/>
                    <a:pt x="18058" y="20062"/>
                  </a:cubicBezTo>
                  <a:cubicBezTo>
                    <a:pt x="18036" y="20041"/>
                    <a:pt x="17977" y="20011"/>
                    <a:pt x="17940" y="19988"/>
                  </a:cubicBezTo>
                  <a:cubicBezTo>
                    <a:pt x="17896" y="19968"/>
                    <a:pt x="17901" y="19964"/>
                    <a:pt x="17949" y="19981"/>
                  </a:cubicBezTo>
                  <a:cubicBezTo>
                    <a:pt x="17997" y="19999"/>
                    <a:pt x="18083" y="20032"/>
                    <a:pt x="18142" y="20057"/>
                  </a:cubicBezTo>
                  <a:cubicBezTo>
                    <a:pt x="18201" y="20080"/>
                    <a:pt x="18292" y="20111"/>
                    <a:pt x="18342" y="20129"/>
                  </a:cubicBezTo>
                  <a:cubicBezTo>
                    <a:pt x="18399" y="20140"/>
                    <a:pt x="18476" y="20153"/>
                    <a:pt x="18519" y="20144"/>
                  </a:cubicBezTo>
                  <a:cubicBezTo>
                    <a:pt x="18564" y="20137"/>
                    <a:pt x="18589" y="20118"/>
                    <a:pt x="18582" y="20101"/>
                  </a:cubicBezTo>
                  <a:cubicBezTo>
                    <a:pt x="18570" y="20085"/>
                    <a:pt x="18592" y="20062"/>
                    <a:pt x="18622" y="20048"/>
                  </a:cubicBezTo>
                  <a:cubicBezTo>
                    <a:pt x="18654" y="20035"/>
                    <a:pt x="18669" y="20011"/>
                    <a:pt x="18678" y="19997"/>
                  </a:cubicBezTo>
                  <a:cubicBezTo>
                    <a:pt x="18670" y="19982"/>
                    <a:pt x="18625" y="19939"/>
                    <a:pt x="18575" y="19898"/>
                  </a:cubicBezTo>
                  <a:cubicBezTo>
                    <a:pt x="18517" y="19859"/>
                    <a:pt x="18435" y="19810"/>
                    <a:pt x="18379" y="19801"/>
                  </a:cubicBezTo>
                  <a:cubicBezTo>
                    <a:pt x="18326" y="19789"/>
                    <a:pt x="18267" y="19777"/>
                    <a:pt x="18247" y="19781"/>
                  </a:cubicBezTo>
                  <a:cubicBezTo>
                    <a:pt x="18227" y="19785"/>
                    <a:pt x="18206" y="19776"/>
                    <a:pt x="18206" y="19763"/>
                  </a:cubicBezTo>
                  <a:cubicBezTo>
                    <a:pt x="18203" y="19751"/>
                    <a:pt x="18230" y="19732"/>
                    <a:pt x="18265" y="19724"/>
                  </a:cubicBezTo>
                  <a:cubicBezTo>
                    <a:pt x="18301" y="19716"/>
                    <a:pt x="18323" y="19691"/>
                    <a:pt x="18323" y="19670"/>
                  </a:cubicBezTo>
                  <a:cubicBezTo>
                    <a:pt x="18321" y="19648"/>
                    <a:pt x="18312" y="19611"/>
                    <a:pt x="18294" y="19588"/>
                  </a:cubicBezTo>
                  <a:cubicBezTo>
                    <a:pt x="18280" y="19564"/>
                    <a:pt x="18305" y="19529"/>
                    <a:pt x="18355" y="19522"/>
                  </a:cubicBezTo>
                  <a:cubicBezTo>
                    <a:pt x="18401" y="19509"/>
                    <a:pt x="18489" y="19507"/>
                    <a:pt x="18549" y="19518"/>
                  </a:cubicBezTo>
                  <a:cubicBezTo>
                    <a:pt x="18607" y="19531"/>
                    <a:pt x="18650" y="19518"/>
                    <a:pt x="18650" y="19494"/>
                  </a:cubicBezTo>
                  <a:cubicBezTo>
                    <a:pt x="18644" y="19471"/>
                    <a:pt x="18655" y="19437"/>
                    <a:pt x="18684" y="19425"/>
                  </a:cubicBezTo>
                  <a:cubicBezTo>
                    <a:pt x="18704" y="19410"/>
                    <a:pt x="18749" y="19399"/>
                    <a:pt x="18777" y="19402"/>
                  </a:cubicBezTo>
                  <a:cubicBezTo>
                    <a:pt x="18803" y="19407"/>
                    <a:pt x="18823" y="19392"/>
                    <a:pt x="18815" y="19374"/>
                  </a:cubicBezTo>
                  <a:cubicBezTo>
                    <a:pt x="18813" y="19357"/>
                    <a:pt x="18835" y="19344"/>
                    <a:pt x="18876" y="19344"/>
                  </a:cubicBezTo>
                  <a:cubicBezTo>
                    <a:pt x="18918" y="19344"/>
                    <a:pt x="18973" y="19331"/>
                    <a:pt x="19006" y="19322"/>
                  </a:cubicBezTo>
                  <a:cubicBezTo>
                    <a:pt x="19033" y="19308"/>
                    <a:pt x="19046" y="19289"/>
                    <a:pt x="19024" y="19279"/>
                  </a:cubicBezTo>
                  <a:cubicBezTo>
                    <a:pt x="19003" y="19269"/>
                    <a:pt x="18982" y="19247"/>
                    <a:pt x="18973" y="19233"/>
                  </a:cubicBezTo>
                  <a:cubicBezTo>
                    <a:pt x="18964" y="19218"/>
                    <a:pt x="18981" y="19200"/>
                    <a:pt x="19011" y="19200"/>
                  </a:cubicBezTo>
                  <a:cubicBezTo>
                    <a:pt x="19039" y="19196"/>
                    <a:pt x="19001" y="19169"/>
                    <a:pt x="18924" y="19138"/>
                  </a:cubicBezTo>
                  <a:cubicBezTo>
                    <a:pt x="18847" y="19106"/>
                    <a:pt x="18755" y="19071"/>
                    <a:pt x="18717" y="19068"/>
                  </a:cubicBezTo>
                  <a:cubicBezTo>
                    <a:pt x="18681" y="19059"/>
                    <a:pt x="18681" y="19048"/>
                    <a:pt x="18715" y="19037"/>
                  </a:cubicBezTo>
                  <a:cubicBezTo>
                    <a:pt x="18755" y="19033"/>
                    <a:pt x="18768" y="19003"/>
                    <a:pt x="18748" y="18983"/>
                  </a:cubicBezTo>
                  <a:cubicBezTo>
                    <a:pt x="18729" y="18964"/>
                    <a:pt x="18664" y="18917"/>
                    <a:pt x="18596" y="18881"/>
                  </a:cubicBezTo>
                  <a:cubicBezTo>
                    <a:pt x="18533" y="18844"/>
                    <a:pt x="18470" y="18803"/>
                    <a:pt x="18456" y="18790"/>
                  </a:cubicBezTo>
                  <a:cubicBezTo>
                    <a:pt x="18447" y="18776"/>
                    <a:pt x="18445" y="18761"/>
                    <a:pt x="18459" y="18756"/>
                  </a:cubicBezTo>
                  <a:cubicBezTo>
                    <a:pt x="18475" y="18752"/>
                    <a:pt x="18457" y="18732"/>
                    <a:pt x="18423" y="18714"/>
                  </a:cubicBezTo>
                  <a:cubicBezTo>
                    <a:pt x="18389" y="18697"/>
                    <a:pt x="18316" y="18669"/>
                    <a:pt x="18260" y="18653"/>
                  </a:cubicBezTo>
                  <a:cubicBezTo>
                    <a:pt x="18200" y="18640"/>
                    <a:pt x="18136" y="18620"/>
                    <a:pt x="18115" y="18624"/>
                  </a:cubicBezTo>
                  <a:cubicBezTo>
                    <a:pt x="18093" y="18624"/>
                    <a:pt x="18028" y="18611"/>
                    <a:pt x="17967" y="18603"/>
                  </a:cubicBezTo>
                  <a:cubicBezTo>
                    <a:pt x="17908" y="18591"/>
                    <a:pt x="17775" y="18569"/>
                    <a:pt x="17674" y="18551"/>
                  </a:cubicBezTo>
                  <a:cubicBezTo>
                    <a:pt x="17572" y="18534"/>
                    <a:pt x="17350" y="18462"/>
                    <a:pt x="17181" y="18392"/>
                  </a:cubicBezTo>
                  <a:cubicBezTo>
                    <a:pt x="17012" y="18322"/>
                    <a:pt x="16785" y="18224"/>
                    <a:pt x="16671" y="18181"/>
                  </a:cubicBezTo>
                  <a:cubicBezTo>
                    <a:pt x="16562" y="18133"/>
                    <a:pt x="16425" y="18089"/>
                    <a:pt x="16380" y="18073"/>
                  </a:cubicBezTo>
                  <a:cubicBezTo>
                    <a:pt x="16329" y="18061"/>
                    <a:pt x="16227" y="18017"/>
                    <a:pt x="16140" y="17987"/>
                  </a:cubicBezTo>
                  <a:cubicBezTo>
                    <a:pt x="16053" y="17956"/>
                    <a:pt x="15896" y="17878"/>
                    <a:pt x="15788" y="17818"/>
                  </a:cubicBezTo>
                  <a:cubicBezTo>
                    <a:pt x="15674" y="17760"/>
                    <a:pt x="15567" y="17687"/>
                    <a:pt x="15540" y="17660"/>
                  </a:cubicBezTo>
                  <a:cubicBezTo>
                    <a:pt x="15520" y="17630"/>
                    <a:pt x="15445" y="17586"/>
                    <a:pt x="15387" y="17556"/>
                  </a:cubicBezTo>
                  <a:cubicBezTo>
                    <a:pt x="15328" y="17528"/>
                    <a:pt x="15281" y="17490"/>
                    <a:pt x="15263" y="17477"/>
                  </a:cubicBezTo>
                  <a:cubicBezTo>
                    <a:pt x="15258" y="17461"/>
                    <a:pt x="15287" y="17442"/>
                    <a:pt x="15340" y="17438"/>
                  </a:cubicBezTo>
                  <a:cubicBezTo>
                    <a:pt x="15391" y="17430"/>
                    <a:pt x="15443" y="17411"/>
                    <a:pt x="15443" y="17394"/>
                  </a:cubicBezTo>
                  <a:cubicBezTo>
                    <a:pt x="15445" y="17376"/>
                    <a:pt x="15444" y="17340"/>
                    <a:pt x="15442" y="17314"/>
                  </a:cubicBezTo>
                  <a:cubicBezTo>
                    <a:pt x="15435" y="17287"/>
                    <a:pt x="15464" y="17268"/>
                    <a:pt x="15501" y="17273"/>
                  </a:cubicBezTo>
                  <a:cubicBezTo>
                    <a:pt x="15540" y="17273"/>
                    <a:pt x="15590" y="17266"/>
                    <a:pt x="15624" y="17253"/>
                  </a:cubicBezTo>
                  <a:cubicBezTo>
                    <a:pt x="15655" y="17238"/>
                    <a:pt x="15736" y="17232"/>
                    <a:pt x="15803" y="17243"/>
                  </a:cubicBezTo>
                  <a:cubicBezTo>
                    <a:pt x="15869" y="17255"/>
                    <a:pt x="15956" y="17249"/>
                    <a:pt x="15992" y="17234"/>
                  </a:cubicBezTo>
                  <a:cubicBezTo>
                    <a:pt x="16028" y="17218"/>
                    <a:pt x="16129" y="17219"/>
                    <a:pt x="16218" y="17229"/>
                  </a:cubicBezTo>
                  <a:cubicBezTo>
                    <a:pt x="16306" y="17240"/>
                    <a:pt x="16425" y="17265"/>
                    <a:pt x="16490" y="17277"/>
                  </a:cubicBezTo>
                  <a:cubicBezTo>
                    <a:pt x="16549" y="17294"/>
                    <a:pt x="16679" y="17312"/>
                    <a:pt x="16774" y="17324"/>
                  </a:cubicBezTo>
                  <a:cubicBezTo>
                    <a:pt x="16870" y="17337"/>
                    <a:pt x="16949" y="17336"/>
                    <a:pt x="16939" y="17326"/>
                  </a:cubicBezTo>
                  <a:cubicBezTo>
                    <a:pt x="16930" y="17316"/>
                    <a:pt x="16898" y="17291"/>
                    <a:pt x="16855" y="17274"/>
                  </a:cubicBezTo>
                  <a:cubicBezTo>
                    <a:pt x="16821" y="17253"/>
                    <a:pt x="16722" y="17224"/>
                    <a:pt x="16651" y="17203"/>
                  </a:cubicBezTo>
                  <a:cubicBezTo>
                    <a:pt x="16581" y="17180"/>
                    <a:pt x="16521" y="17156"/>
                    <a:pt x="16520" y="17147"/>
                  </a:cubicBezTo>
                  <a:cubicBezTo>
                    <a:pt x="16520" y="17136"/>
                    <a:pt x="16508" y="17114"/>
                    <a:pt x="16508" y="17096"/>
                  </a:cubicBezTo>
                  <a:cubicBezTo>
                    <a:pt x="16498" y="17079"/>
                    <a:pt x="16552" y="17053"/>
                    <a:pt x="16621" y="17050"/>
                  </a:cubicBezTo>
                  <a:cubicBezTo>
                    <a:pt x="16689" y="17041"/>
                    <a:pt x="16726" y="17027"/>
                    <a:pt x="16703" y="17016"/>
                  </a:cubicBezTo>
                  <a:cubicBezTo>
                    <a:pt x="16679" y="17006"/>
                    <a:pt x="16671" y="16985"/>
                    <a:pt x="16687" y="16973"/>
                  </a:cubicBezTo>
                  <a:cubicBezTo>
                    <a:pt x="16704" y="16962"/>
                    <a:pt x="16710" y="16940"/>
                    <a:pt x="16699" y="16928"/>
                  </a:cubicBezTo>
                  <a:cubicBezTo>
                    <a:pt x="16696" y="16916"/>
                    <a:pt x="16597" y="16866"/>
                    <a:pt x="16489" y="16817"/>
                  </a:cubicBezTo>
                  <a:cubicBezTo>
                    <a:pt x="16381" y="16767"/>
                    <a:pt x="16291" y="16715"/>
                    <a:pt x="16290" y="16700"/>
                  </a:cubicBezTo>
                  <a:cubicBezTo>
                    <a:pt x="16286" y="16686"/>
                    <a:pt x="16277" y="16658"/>
                    <a:pt x="16257" y="16641"/>
                  </a:cubicBezTo>
                  <a:cubicBezTo>
                    <a:pt x="16242" y="16622"/>
                    <a:pt x="16199" y="16591"/>
                    <a:pt x="16163" y="16572"/>
                  </a:cubicBezTo>
                  <a:cubicBezTo>
                    <a:pt x="16131" y="16551"/>
                    <a:pt x="16058" y="16506"/>
                    <a:pt x="16006" y="16468"/>
                  </a:cubicBezTo>
                  <a:cubicBezTo>
                    <a:pt x="15960" y="16428"/>
                    <a:pt x="15946" y="16390"/>
                    <a:pt x="15974" y="16374"/>
                  </a:cubicBezTo>
                  <a:cubicBezTo>
                    <a:pt x="16011" y="16365"/>
                    <a:pt x="16041" y="16333"/>
                    <a:pt x="16040" y="16310"/>
                  </a:cubicBezTo>
                  <a:cubicBezTo>
                    <a:pt x="16055" y="16290"/>
                    <a:pt x="16017" y="16260"/>
                    <a:pt x="15987" y="16243"/>
                  </a:cubicBezTo>
                  <a:cubicBezTo>
                    <a:pt x="15955" y="16228"/>
                    <a:pt x="15952" y="16209"/>
                    <a:pt x="15969" y="16195"/>
                  </a:cubicBezTo>
                  <a:cubicBezTo>
                    <a:pt x="15997" y="16187"/>
                    <a:pt x="16084" y="16176"/>
                    <a:pt x="16172" y="16180"/>
                  </a:cubicBezTo>
                  <a:cubicBezTo>
                    <a:pt x="16261" y="16180"/>
                    <a:pt x="16373" y="16173"/>
                    <a:pt x="16420" y="16157"/>
                  </a:cubicBezTo>
                  <a:cubicBezTo>
                    <a:pt x="16469" y="16142"/>
                    <a:pt x="16491" y="16119"/>
                    <a:pt x="16484" y="16104"/>
                  </a:cubicBezTo>
                  <a:cubicBezTo>
                    <a:pt x="16468" y="16090"/>
                    <a:pt x="16368" y="16055"/>
                    <a:pt x="16263" y="16023"/>
                  </a:cubicBezTo>
                  <a:cubicBezTo>
                    <a:pt x="16151" y="15999"/>
                    <a:pt x="16012" y="15960"/>
                    <a:pt x="15946" y="15945"/>
                  </a:cubicBezTo>
                  <a:cubicBezTo>
                    <a:pt x="15878" y="15933"/>
                    <a:pt x="15789" y="15900"/>
                    <a:pt x="15743" y="15876"/>
                  </a:cubicBezTo>
                  <a:cubicBezTo>
                    <a:pt x="15702" y="15848"/>
                    <a:pt x="15656" y="15819"/>
                    <a:pt x="15661" y="15806"/>
                  </a:cubicBezTo>
                  <a:cubicBezTo>
                    <a:pt x="15667" y="15793"/>
                    <a:pt x="15698" y="15779"/>
                    <a:pt x="15739" y="15767"/>
                  </a:cubicBezTo>
                  <a:cubicBezTo>
                    <a:pt x="15784" y="15763"/>
                    <a:pt x="15880" y="15755"/>
                    <a:pt x="15956" y="15755"/>
                  </a:cubicBezTo>
                  <a:cubicBezTo>
                    <a:pt x="16033" y="15755"/>
                    <a:pt x="16176" y="15783"/>
                    <a:pt x="16270" y="15818"/>
                  </a:cubicBezTo>
                  <a:cubicBezTo>
                    <a:pt x="16364" y="15852"/>
                    <a:pt x="16454" y="15891"/>
                    <a:pt x="16468" y="15907"/>
                  </a:cubicBezTo>
                  <a:cubicBezTo>
                    <a:pt x="16485" y="15922"/>
                    <a:pt x="16488" y="15944"/>
                    <a:pt x="16488" y="15955"/>
                  </a:cubicBezTo>
                  <a:cubicBezTo>
                    <a:pt x="16474" y="15962"/>
                    <a:pt x="16530" y="15996"/>
                    <a:pt x="16572" y="16031"/>
                  </a:cubicBezTo>
                  <a:cubicBezTo>
                    <a:pt x="16627" y="16060"/>
                    <a:pt x="16703" y="16101"/>
                    <a:pt x="16756" y="16117"/>
                  </a:cubicBezTo>
                  <a:cubicBezTo>
                    <a:pt x="16808" y="16134"/>
                    <a:pt x="16940" y="16143"/>
                    <a:pt x="17043" y="16131"/>
                  </a:cubicBezTo>
                  <a:cubicBezTo>
                    <a:pt x="17146" y="16119"/>
                    <a:pt x="17228" y="16096"/>
                    <a:pt x="17228" y="16073"/>
                  </a:cubicBezTo>
                  <a:cubicBezTo>
                    <a:pt x="17226" y="16048"/>
                    <a:pt x="17173" y="16001"/>
                    <a:pt x="17123" y="15965"/>
                  </a:cubicBezTo>
                  <a:cubicBezTo>
                    <a:pt x="17065" y="15931"/>
                    <a:pt x="16973" y="15877"/>
                    <a:pt x="16912" y="15847"/>
                  </a:cubicBezTo>
                  <a:cubicBezTo>
                    <a:pt x="16848" y="15818"/>
                    <a:pt x="16820" y="15788"/>
                    <a:pt x="16842" y="15791"/>
                  </a:cubicBezTo>
                  <a:cubicBezTo>
                    <a:pt x="16864" y="15791"/>
                    <a:pt x="16881" y="15771"/>
                    <a:pt x="16872" y="15749"/>
                  </a:cubicBezTo>
                  <a:cubicBezTo>
                    <a:pt x="16861" y="15726"/>
                    <a:pt x="16801" y="15675"/>
                    <a:pt x="16732" y="15633"/>
                  </a:cubicBezTo>
                  <a:cubicBezTo>
                    <a:pt x="16656" y="15593"/>
                    <a:pt x="16556" y="15552"/>
                    <a:pt x="16506" y="15538"/>
                  </a:cubicBezTo>
                  <a:cubicBezTo>
                    <a:pt x="16456" y="15524"/>
                    <a:pt x="16370" y="15523"/>
                    <a:pt x="16320" y="15531"/>
                  </a:cubicBezTo>
                  <a:cubicBezTo>
                    <a:pt x="16271" y="15539"/>
                    <a:pt x="16187" y="15540"/>
                    <a:pt x="16139" y="15529"/>
                  </a:cubicBezTo>
                  <a:cubicBezTo>
                    <a:pt x="16089" y="15522"/>
                    <a:pt x="16033" y="15521"/>
                    <a:pt x="16009" y="15525"/>
                  </a:cubicBezTo>
                  <a:cubicBezTo>
                    <a:pt x="15989" y="15532"/>
                    <a:pt x="15990" y="15543"/>
                    <a:pt x="16013" y="15553"/>
                  </a:cubicBezTo>
                  <a:cubicBezTo>
                    <a:pt x="16039" y="15560"/>
                    <a:pt x="16104" y="15585"/>
                    <a:pt x="16165" y="15599"/>
                  </a:cubicBezTo>
                  <a:cubicBezTo>
                    <a:pt x="16223" y="15617"/>
                    <a:pt x="16275" y="15641"/>
                    <a:pt x="16287" y="15654"/>
                  </a:cubicBezTo>
                  <a:cubicBezTo>
                    <a:pt x="16294" y="15669"/>
                    <a:pt x="16219" y="15674"/>
                    <a:pt x="16118" y="15670"/>
                  </a:cubicBezTo>
                  <a:cubicBezTo>
                    <a:pt x="16017" y="15666"/>
                    <a:pt x="15887" y="15647"/>
                    <a:pt x="15832" y="15628"/>
                  </a:cubicBezTo>
                  <a:cubicBezTo>
                    <a:pt x="15772" y="15616"/>
                    <a:pt x="15750" y="15593"/>
                    <a:pt x="15767" y="15583"/>
                  </a:cubicBezTo>
                  <a:cubicBezTo>
                    <a:pt x="15781" y="15572"/>
                    <a:pt x="15829" y="15569"/>
                    <a:pt x="15859" y="15565"/>
                  </a:cubicBezTo>
                  <a:cubicBezTo>
                    <a:pt x="15890" y="15561"/>
                    <a:pt x="15879" y="15550"/>
                    <a:pt x="15839" y="15534"/>
                  </a:cubicBezTo>
                  <a:cubicBezTo>
                    <a:pt x="15791" y="15525"/>
                    <a:pt x="15682" y="15496"/>
                    <a:pt x="15585" y="15480"/>
                  </a:cubicBezTo>
                  <a:cubicBezTo>
                    <a:pt x="15488" y="15464"/>
                    <a:pt x="15336" y="15425"/>
                    <a:pt x="15243" y="15394"/>
                  </a:cubicBezTo>
                  <a:cubicBezTo>
                    <a:pt x="15152" y="15363"/>
                    <a:pt x="15044" y="15312"/>
                    <a:pt x="15002" y="15282"/>
                  </a:cubicBezTo>
                  <a:cubicBezTo>
                    <a:pt x="14959" y="15253"/>
                    <a:pt x="14886" y="15173"/>
                    <a:pt x="14832" y="15106"/>
                  </a:cubicBezTo>
                  <a:cubicBezTo>
                    <a:pt x="14786" y="15037"/>
                    <a:pt x="14682" y="14937"/>
                    <a:pt x="14616" y="14880"/>
                  </a:cubicBezTo>
                  <a:cubicBezTo>
                    <a:pt x="14550" y="14823"/>
                    <a:pt x="14416" y="14744"/>
                    <a:pt x="14324" y="14702"/>
                  </a:cubicBezTo>
                  <a:cubicBezTo>
                    <a:pt x="14230" y="14661"/>
                    <a:pt x="14123" y="14585"/>
                    <a:pt x="14086" y="14535"/>
                  </a:cubicBezTo>
                  <a:cubicBezTo>
                    <a:pt x="14056" y="14482"/>
                    <a:pt x="14057" y="14430"/>
                    <a:pt x="14096" y="14410"/>
                  </a:cubicBezTo>
                  <a:cubicBezTo>
                    <a:pt x="14139" y="14392"/>
                    <a:pt x="14216" y="14385"/>
                    <a:pt x="14266" y="14393"/>
                  </a:cubicBezTo>
                  <a:cubicBezTo>
                    <a:pt x="14312" y="14403"/>
                    <a:pt x="14348" y="14418"/>
                    <a:pt x="14339" y="14431"/>
                  </a:cubicBezTo>
                  <a:cubicBezTo>
                    <a:pt x="14322" y="14441"/>
                    <a:pt x="14343" y="14462"/>
                    <a:pt x="14366" y="14470"/>
                  </a:cubicBezTo>
                  <a:cubicBezTo>
                    <a:pt x="14392" y="14477"/>
                    <a:pt x="14467" y="14493"/>
                    <a:pt x="14538" y="14504"/>
                  </a:cubicBezTo>
                  <a:cubicBezTo>
                    <a:pt x="14608" y="14517"/>
                    <a:pt x="14782" y="14557"/>
                    <a:pt x="14924" y="14597"/>
                  </a:cubicBezTo>
                  <a:cubicBezTo>
                    <a:pt x="15065" y="14636"/>
                    <a:pt x="15302" y="14722"/>
                    <a:pt x="15453" y="14787"/>
                  </a:cubicBezTo>
                  <a:cubicBezTo>
                    <a:pt x="15607" y="14849"/>
                    <a:pt x="15822" y="14921"/>
                    <a:pt x="15926" y="14954"/>
                  </a:cubicBezTo>
                  <a:cubicBezTo>
                    <a:pt x="16035" y="14983"/>
                    <a:pt x="16277" y="15034"/>
                    <a:pt x="16466" y="15063"/>
                  </a:cubicBezTo>
                  <a:cubicBezTo>
                    <a:pt x="16653" y="15099"/>
                    <a:pt x="16884" y="15112"/>
                    <a:pt x="16971" y="15096"/>
                  </a:cubicBezTo>
                  <a:cubicBezTo>
                    <a:pt x="17061" y="15084"/>
                    <a:pt x="17120" y="15061"/>
                    <a:pt x="17102" y="15050"/>
                  </a:cubicBezTo>
                  <a:cubicBezTo>
                    <a:pt x="17086" y="15039"/>
                    <a:pt x="17118" y="15018"/>
                    <a:pt x="17180" y="15010"/>
                  </a:cubicBezTo>
                  <a:cubicBezTo>
                    <a:pt x="17239" y="14998"/>
                    <a:pt x="17285" y="14970"/>
                    <a:pt x="17278" y="14945"/>
                  </a:cubicBezTo>
                  <a:cubicBezTo>
                    <a:pt x="17267" y="14921"/>
                    <a:pt x="17239" y="14880"/>
                    <a:pt x="17208" y="14856"/>
                  </a:cubicBezTo>
                  <a:cubicBezTo>
                    <a:pt x="17175" y="14831"/>
                    <a:pt x="17157" y="14802"/>
                    <a:pt x="17162" y="14789"/>
                  </a:cubicBezTo>
                  <a:cubicBezTo>
                    <a:pt x="17168" y="14775"/>
                    <a:pt x="17178" y="14748"/>
                    <a:pt x="17178" y="14727"/>
                  </a:cubicBezTo>
                  <a:cubicBezTo>
                    <a:pt x="17180" y="14706"/>
                    <a:pt x="17130" y="14672"/>
                    <a:pt x="17063" y="14656"/>
                  </a:cubicBezTo>
                  <a:cubicBezTo>
                    <a:pt x="17000" y="14637"/>
                    <a:pt x="16895" y="14592"/>
                    <a:pt x="16828" y="14555"/>
                  </a:cubicBezTo>
                  <a:cubicBezTo>
                    <a:pt x="16768" y="14515"/>
                    <a:pt x="16693" y="14464"/>
                    <a:pt x="16675" y="14437"/>
                  </a:cubicBezTo>
                  <a:cubicBezTo>
                    <a:pt x="16657" y="14410"/>
                    <a:pt x="16644" y="14375"/>
                    <a:pt x="16656" y="14358"/>
                  </a:cubicBezTo>
                  <a:cubicBezTo>
                    <a:pt x="16666" y="14342"/>
                    <a:pt x="16649" y="14316"/>
                    <a:pt x="16628" y="14299"/>
                  </a:cubicBezTo>
                  <a:cubicBezTo>
                    <a:pt x="16600" y="14283"/>
                    <a:pt x="16614" y="14253"/>
                    <a:pt x="16658" y="14238"/>
                  </a:cubicBezTo>
                  <a:cubicBezTo>
                    <a:pt x="16700" y="14221"/>
                    <a:pt x="16729" y="14199"/>
                    <a:pt x="16717" y="14189"/>
                  </a:cubicBezTo>
                  <a:cubicBezTo>
                    <a:pt x="16709" y="14178"/>
                    <a:pt x="16718" y="14172"/>
                    <a:pt x="16740" y="14172"/>
                  </a:cubicBezTo>
                  <a:cubicBezTo>
                    <a:pt x="16763" y="14172"/>
                    <a:pt x="16777" y="14159"/>
                    <a:pt x="16773" y="14141"/>
                  </a:cubicBezTo>
                  <a:cubicBezTo>
                    <a:pt x="16767" y="14123"/>
                    <a:pt x="16739" y="14085"/>
                    <a:pt x="16709" y="14057"/>
                  </a:cubicBezTo>
                  <a:cubicBezTo>
                    <a:pt x="16677" y="14029"/>
                    <a:pt x="16604" y="13996"/>
                    <a:pt x="16546" y="13985"/>
                  </a:cubicBezTo>
                  <a:cubicBezTo>
                    <a:pt x="16490" y="13970"/>
                    <a:pt x="16436" y="13951"/>
                    <a:pt x="16432" y="13936"/>
                  </a:cubicBezTo>
                  <a:cubicBezTo>
                    <a:pt x="16426" y="13920"/>
                    <a:pt x="16383" y="13887"/>
                    <a:pt x="16338" y="13860"/>
                  </a:cubicBezTo>
                  <a:cubicBezTo>
                    <a:pt x="16290" y="13835"/>
                    <a:pt x="16224" y="13768"/>
                    <a:pt x="16182" y="13714"/>
                  </a:cubicBezTo>
                  <a:cubicBezTo>
                    <a:pt x="16143" y="13661"/>
                    <a:pt x="16091" y="13598"/>
                    <a:pt x="16058" y="13579"/>
                  </a:cubicBezTo>
                  <a:cubicBezTo>
                    <a:pt x="16024" y="13560"/>
                    <a:pt x="15987" y="13521"/>
                    <a:pt x="15971" y="13496"/>
                  </a:cubicBezTo>
                  <a:cubicBezTo>
                    <a:pt x="15951" y="13471"/>
                    <a:pt x="15954" y="13446"/>
                    <a:pt x="15966" y="13438"/>
                  </a:cubicBezTo>
                  <a:cubicBezTo>
                    <a:pt x="15981" y="13432"/>
                    <a:pt x="16029" y="13445"/>
                    <a:pt x="16070" y="13468"/>
                  </a:cubicBezTo>
                  <a:cubicBezTo>
                    <a:pt x="16117" y="13487"/>
                    <a:pt x="16187" y="13513"/>
                    <a:pt x="16232" y="13523"/>
                  </a:cubicBezTo>
                  <a:cubicBezTo>
                    <a:pt x="16279" y="13532"/>
                    <a:pt x="16405" y="13562"/>
                    <a:pt x="16512" y="13593"/>
                  </a:cubicBezTo>
                  <a:cubicBezTo>
                    <a:pt x="16619" y="13623"/>
                    <a:pt x="16780" y="13679"/>
                    <a:pt x="16875" y="13711"/>
                  </a:cubicBezTo>
                  <a:cubicBezTo>
                    <a:pt x="16963" y="13749"/>
                    <a:pt x="17099" y="13783"/>
                    <a:pt x="17166" y="13795"/>
                  </a:cubicBezTo>
                  <a:cubicBezTo>
                    <a:pt x="17235" y="13803"/>
                    <a:pt x="17373" y="13819"/>
                    <a:pt x="17473" y="13831"/>
                  </a:cubicBezTo>
                  <a:cubicBezTo>
                    <a:pt x="17576" y="13838"/>
                    <a:pt x="17758" y="13866"/>
                    <a:pt x="17878" y="13894"/>
                  </a:cubicBezTo>
                  <a:cubicBezTo>
                    <a:pt x="17999" y="13921"/>
                    <a:pt x="18215" y="13959"/>
                    <a:pt x="18360" y="13979"/>
                  </a:cubicBezTo>
                  <a:cubicBezTo>
                    <a:pt x="18505" y="13995"/>
                    <a:pt x="18808" y="14024"/>
                    <a:pt x="19035" y="14035"/>
                  </a:cubicBezTo>
                  <a:cubicBezTo>
                    <a:pt x="19262" y="14047"/>
                    <a:pt x="19606" y="14055"/>
                    <a:pt x="19797" y="14046"/>
                  </a:cubicBezTo>
                  <a:cubicBezTo>
                    <a:pt x="19988" y="14038"/>
                    <a:pt x="20142" y="14021"/>
                    <a:pt x="20140" y="14003"/>
                  </a:cubicBezTo>
                  <a:cubicBezTo>
                    <a:pt x="20140" y="13984"/>
                    <a:pt x="20167" y="13986"/>
                    <a:pt x="20206" y="14007"/>
                  </a:cubicBezTo>
                  <a:cubicBezTo>
                    <a:pt x="20245" y="14029"/>
                    <a:pt x="20391" y="14047"/>
                    <a:pt x="20528" y="14047"/>
                  </a:cubicBezTo>
                  <a:cubicBezTo>
                    <a:pt x="20666" y="14051"/>
                    <a:pt x="20912" y="14030"/>
                    <a:pt x="21074" y="14006"/>
                  </a:cubicBezTo>
                  <a:cubicBezTo>
                    <a:pt x="21237" y="13982"/>
                    <a:pt x="21377" y="13942"/>
                    <a:pt x="21387" y="13916"/>
                  </a:cubicBezTo>
                  <a:cubicBezTo>
                    <a:pt x="21400" y="13890"/>
                    <a:pt x="21368" y="13835"/>
                    <a:pt x="21323" y="13796"/>
                  </a:cubicBezTo>
                  <a:cubicBezTo>
                    <a:pt x="21282" y="13755"/>
                    <a:pt x="21249" y="13688"/>
                    <a:pt x="21250" y="13644"/>
                  </a:cubicBezTo>
                  <a:cubicBezTo>
                    <a:pt x="21262" y="13601"/>
                    <a:pt x="21276" y="13560"/>
                    <a:pt x="21295" y="13553"/>
                  </a:cubicBezTo>
                  <a:cubicBezTo>
                    <a:pt x="21308" y="13543"/>
                    <a:pt x="21343" y="13559"/>
                    <a:pt x="21370" y="13575"/>
                  </a:cubicBezTo>
                  <a:cubicBezTo>
                    <a:pt x="21392" y="13594"/>
                    <a:pt x="21420" y="13599"/>
                    <a:pt x="21439" y="13587"/>
                  </a:cubicBezTo>
                  <a:cubicBezTo>
                    <a:pt x="21456" y="13575"/>
                    <a:pt x="21464" y="13527"/>
                    <a:pt x="21457" y="13480"/>
                  </a:cubicBezTo>
                  <a:cubicBezTo>
                    <a:pt x="21460" y="13433"/>
                    <a:pt x="21475" y="13361"/>
                    <a:pt x="21517" y="13321"/>
                  </a:cubicBezTo>
                  <a:cubicBezTo>
                    <a:pt x="21559" y="13281"/>
                    <a:pt x="21592" y="13223"/>
                    <a:pt x="21582" y="13194"/>
                  </a:cubicBezTo>
                  <a:cubicBezTo>
                    <a:pt x="21584" y="13165"/>
                    <a:pt x="21538" y="13085"/>
                    <a:pt x="21498" y="13017"/>
                  </a:cubicBezTo>
                  <a:cubicBezTo>
                    <a:pt x="21451" y="12948"/>
                    <a:pt x="21391" y="12868"/>
                    <a:pt x="21360" y="12837"/>
                  </a:cubicBezTo>
                  <a:cubicBezTo>
                    <a:pt x="21326" y="12809"/>
                    <a:pt x="21287" y="12777"/>
                    <a:pt x="21266" y="12777"/>
                  </a:cubicBezTo>
                  <a:cubicBezTo>
                    <a:pt x="21245" y="12777"/>
                    <a:pt x="21200" y="12781"/>
                    <a:pt x="21170" y="12799"/>
                  </a:cubicBezTo>
                  <a:cubicBezTo>
                    <a:pt x="21133" y="12812"/>
                    <a:pt x="21043" y="12815"/>
                    <a:pt x="20962" y="12804"/>
                  </a:cubicBezTo>
                  <a:cubicBezTo>
                    <a:pt x="20881" y="12792"/>
                    <a:pt x="20723" y="12747"/>
                    <a:pt x="20612" y="12704"/>
                  </a:cubicBezTo>
                  <a:cubicBezTo>
                    <a:pt x="20502" y="12661"/>
                    <a:pt x="20343" y="12581"/>
                    <a:pt x="20254" y="12527"/>
                  </a:cubicBezTo>
                  <a:cubicBezTo>
                    <a:pt x="20169" y="12472"/>
                    <a:pt x="20091" y="12409"/>
                    <a:pt x="20083" y="12386"/>
                  </a:cubicBezTo>
                  <a:cubicBezTo>
                    <a:pt x="20074" y="12363"/>
                    <a:pt x="20094" y="12288"/>
                    <a:pt x="20139" y="12221"/>
                  </a:cubicBezTo>
                  <a:cubicBezTo>
                    <a:pt x="20180" y="12153"/>
                    <a:pt x="20203" y="12071"/>
                    <a:pt x="20185" y="12038"/>
                  </a:cubicBezTo>
                  <a:cubicBezTo>
                    <a:pt x="20170" y="12005"/>
                    <a:pt x="20113" y="11953"/>
                    <a:pt x="20055" y="11924"/>
                  </a:cubicBezTo>
                  <a:cubicBezTo>
                    <a:pt x="20000" y="11892"/>
                    <a:pt x="19759" y="11794"/>
                    <a:pt x="19531" y="11697"/>
                  </a:cubicBezTo>
                  <a:cubicBezTo>
                    <a:pt x="19299" y="11603"/>
                    <a:pt x="18976" y="11482"/>
                    <a:pt x="18805" y="11436"/>
                  </a:cubicBezTo>
                  <a:cubicBezTo>
                    <a:pt x="18637" y="11387"/>
                    <a:pt x="18346" y="11287"/>
                    <a:pt x="18163" y="11208"/>
                  </a:cubicBezTo>
                  <a:cubicBezTo>
                    <a:pt x="17979" y="11130"/>
                    <a:pt x="17786" y="11037"/>
                    <a:pt x="17728" y="11003"/>
                  </a:cubicBezTo>
                  <a:cubicBezTo>
                    <a:pt x="17670" y="10968"/>
                    <a:pt x="17637" y="10924"/>
                    <a:pt x="17658" y="10924"/>
                  </a:cubicBezTo>
                  <a:cubicBezTo>
                    <a:pt x="17672" y="10915"/>
                    <a:pt x="17669" y="10886"/>
                    <a:pt x="17653" y="10857"/>
                  </a:cubicBezTo>
                  <a:cubicBezTo>
                    <a:pt x="17628" y="10828"/>
                    <a:pt x="17569" y="10778"/>
                    <a:pt x="17509" y="10750"/>
                  </a:cubicBezTo>
                  <a:cubicBezTo>
                    <a:pt x="17449" y="10721"/>
                    <a:pt x="17394" y="10682"/>
                    <a:pt x="17406" y="10667"/>
                  </a:cubicBezTo>
                  <a:cubicBezTo>
                    <a:pt x="17406" y="10650"/>
                    <a:pt x="17360" y="10582"/>
                    <a:pt x="17298" y="10517"/>
                  </a:cubicBezTo>
                  <a:cubicBezTo>
                    <a:pt x="17232" y="10452"/>
                    <a:pt x="17158" y="10343"/>
                    <a:pt x="17141" y="10275"/>
                  </a:cubicBezTo>
                  <a:cubicBezTo>
                    <a:pt x="17113" y="10208"/>
                    <a:pt x="17100" y="10153"/>
                    <a:pt x="17100" y="10153"/>
                  </a:cubicBezTo>
                  <a:cubicBezTo>
                    <a:pt x="17101" y="10153"/>
                    <a:pt x="17102" y="10150"/>
                    <a:pt x="17098" y="10147"/>
                  </a:cubicBezTo>
                  <a:cubicBezTo>
                    <a:pt x="17094" y="10145"/>
                    <a:pt x="17093" y="10131"/>
                    <a:pt x="17108" y="10125"/>
                  </a:cubicBezTo>
                  <a:close/>
                  <a:moveTo>
                    <a:pt x="17108" y="101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0" name="AutoShape 1342"/>
            <p:cNvSpPr>
              <a:spLocks/>
            </p:cNvSpPr>
            <p:nvPr/>
          </p:nvSpPr>
          <p:spPr bwMode="auto">
            <a:xfrm>
              <a:off x="5283200" y="7416800"/>
              <a:ext cx="15875" cy="3175"/>
            </a:xfrm>
            <a:custGeom>
              <a:avLst/>
              <a:gdLst/>
              <a:ahLst/>
              <a:cxnLst/>
              <a:rect l="0" t="0" r="r" b="b"/>
              <a:pathLst>
                <a:path w="20467" h="20224">
                  <a:moveTo>
                    <a:pt x="18053" y="11741"/>
                  </a:moveTo>
                  <a:cubicBezTo>
                    <a:pt x="15854" y="8572"/>
                    <a:pt x="13388" y="7769"/>
                    <a:pt x="12522" y="8572"/>
                  </a:cubicBezTo>
                  <a:cubicBezTo>
                    <a:pt x="11649" y="9324"/>
                    <a:pt x="8952" y="8572"/>
                    <a:pt x="6501" y="5348"/>
                  </a:cubicBezTo>
                  <a:cubicBezTo>
                    <a:pt x="3976" y="3092"/>
                    <a:pt x="1199" y="-776"/>
                    <a:pt x="356" y="137"/>
                  </a:cubicBezTo>
                  <a:cubicBezTo>
                    <a:pt x="-540" y="137"/>
                    <a:pt x="311" y="4163"/>
                    <a:pt x="2266" y="8894"/>
                  </a:cubicBezTo>
                  <a:cubicBezTo>
                    <a:pt x="4207" y="13565"/>
                    <a:pt x="7117" y="17114"/>
                    <a:pt x="8708" y="17114"/>
                  </a:cubicBezTo>
                  <a:cubicBezTo>
                    <a:pt x="10300" y="17114"/>
                    <a:pt x="13092" y="17114"/>
                    <a:pt x="14765" y="19316"/>
                  </a:cubicBezTo>
                  <a:cubicBezTo>
                    <a:pt x="16513" y="20122"/>
                    <a:pt x="18853" y="20824"/>
                    <a:pt x="19986" y="19424"/>
                  </a:cubicBezTo>
                  <a:cubicBezTo>
                    <a:pt x="21060" y="17544"/>
                    <a:pt x="20297" y="14266"/>
                    <a:pt x="18053" y="11741"/>
                  </a:cubicBezTo>
                  <a:close/>
                  <a:moveTo>
                    <a:pt x="18053" y="117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1" name="AutoShape 1343"/>
            <p:cNvSpPr>
              <a:spLocks/>
            </p:cNvSpPr>
            <p:nvPr/>
          </p:nvSpPr>
          <p:spPr bwMode="auto">
            <a:xfrm>
              <a:off x="5118100" y="7315200"/>
              <a:ext cx="25400" cy="22225"/>
            </a:xfrm>
            <a:custGeom>
              <a:avLst/>
              <a:gdLst/>
              <a:ahLst/>
              <a:cxnLst/>
              <a:rect l="0" t="0" r="r" b="b"/>
              <a:pathLst>
                <a:path w="20859" h="21098">
                  <a:moveTo>
                    <a:pt x="15862" y="20063"/>
                  </a:moveTo>
                  <a:cubicBezTo>
                    <a:pt x="15897" y="19561"/>
                    <a:pt x="16595" y="19171"/>
                    <a:pt x="17369" y="19339"/>
                  </a:cubicBezTo>
                  <a:cubicBezTo>
                    <a:pt x="18138" y="19339"/>
                    <a:pt x="19552" y="20096"/>
                    <a:pt x="20442" y="20909"/>
                  </a:cubicBezTo>
                  <a:cubicBezTo>
                    <a:pt x="21407" y="21600"/>
                    <a:pt x="20618" y="20352"/>
                    <a:pt x="18883" y="17890"/>
                  </a:cubicBezTo>
                  <a:cubicBezTo>
                    <a:pt x="17043" y="15517"/>
                    <a:pt x="13332" y="11719"/>
                    <a:pt x="10663" y="9312"/>
                  </a:cubicBezTo>
                  <a:cubicBezTo>
                    <a:pt x="7872" y="7062"/>
                    <a:pt x="4558" y="3876"/>
                    <a:pt x="3020" y="2606"/>
                  </a:cubicBezTo>
                  <a:cubicBezTo>
                    <a:pt x="1586" y="1169"/>
                    <a:pt x="214" y="0"/>
                    <a:pt x="8" y="0"/>
                  </a:cubicBezTo>
                  <a:cubicBezTo>
                    <a:pt x="-193" y="0"/>
                    <a:pt x="3397" y="4612"/>
                    <a:pt x="7701" y="10527"/>
                  </a:cubicBezTo>
                  <a:cubicBezTo>
                    <a:pt x="12151" y="16265"/>
                    <a:pt x="15780" y="20564"/>
                    <a:pt x="15862" y="20063"/>
                  </a:cubicBezTo>
                  <a:close/>
                  <a:moveTo>
                    <a:pt x="15862" y="2006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2" name="AutoShape 1344"/>
            <p:cNvSpPr>
              <a:spLocks/>
            </p:cNvSpPr>
            <p:nvPr/>
          </p:nvSpPr>
          <p:spPr bwMode="auto">
            <a:xfrm>
              <a:off x="5143500" y="7340600"/>
              <a:ext cx="115888" cy="68263"/>
            </a:xfrm>
            <a:custGeom>
              <a:avLst/>
              <a:gdLst/>
              <a:ahLst/>
              <a:cxnLst/>
              <a:rect l="0" t="0" r="r" b="b"/>
              <a:pathLst>
                <a:path w="21239" h="21302">
                  <a:moveTo>
                    <a:pt x="20424" y="19866"/>
                  </a:moveTo>
                  <a:cubicBezTo>
                    <a:pt x="20146" y="19634"/>
                    <a:pt x="19521" y="19341"/>
                    <a:pt x="19060" y="19083"/>
                  </a:cubicBezTo>
                  <a:cubicBezTo>
                    <a:pt x="18585" y="18905"/>
                    <a:pt x="17951" y="18555"/>
                    <a:pt x="17648" y="18350"/>
                  </a:cubicBezTo>
                  <a:cubicBezTo>
                    <a:pt x="17339" y="18153"/>
                    <a:pt x="16718" y="17534"/>
                    <a:pt x="16262" y="16999"/>
                  </a:cubicBezTo>
                  <a:cubicBezTo>
                    <a:pt x="15798" y="16482"/>
                    <a:pt x="15063" y="15727"/>
                    <a:pt x="14616" y="15347"/>
                  </a:cubicBezTo>
                  <a:cubicBezTo>
                    <a:pt x="14177" y="14948"/>
                    <a:pt x="13662" y="14447"/>
                    <a:pt x="13465" y="14238"/>
                  </a:cubicBezTo>
                  <a:cubicBezTo>
                    <a:pt x="13286" y="13988"/>
                    <a:pt x="12128" y="12959"/>
                    <a:pt x="10917" y="11907"/>
                  </a:cubicBezTo>
                  <a:cubicBezTo>
                    <a:pt x="9718" y="10825"/>
                    <a:pt x="8449" y="9743"/>
                    <a:pt x="8105" y="9466"/>
                  </a:cubicBezTo>
                  <a:cubicBezTo>
                    <a:pt x="7785" y="9116"/>
                    <a:pt x="7395" y="8626"/>
                    <a:pt x="7238" y="8292"/>
                  </a:cubicBezTo>
                  <a:cubicBezTo>
                    <a:pt x="7133" y="7909"/>
                    <a:pt x="6616" y="7210"/>
                    <a:pt x="6152" y="6698"/>
                  </a:cubicBezTo>
                  <a:cubicBezTo>
                    <a:pt x="5691" y="6174"/>
                    <a:pt x="5009" y="5509"/>
                    <a:pt x="4633" y="5221"/>
                  </a:cubicBezTo>
                  <a:cubicBezTo>
                    <a:pt x="4258" y="4940"/>
                    <a:pt x="3668" y="4241"/>
                    <a:pt x="3346" y="3634"/>
                  </a:cubicBezTo>
                  <a:cubicBezTo>
                    <a:pt x="2994" y="3072"/>
                    <a:pt x="2535" y="2248"/>
                    <a:pt x="2286" y="1857"/>
                  </a:cubicBezTo>
                  <a:cubicBezTo>
                    <a:pt x="2030" y="1477"/>
                    <a:pt x="1568" y="1052"/>
                    <a:pt x="1256" y="877"/>
                  </a:cubicBezTo>
                  <a:cubicBezTo>
                    <a:pt x="936" y="756"/>
                    <a:pt x="405" y="346"/>
                    <a:pt x="68" y="23"/>
                  </a:cubicBezTo>
                  <a:cubicBezTo>
                    <a:pt x="-283" y="-258"/>
                    <a:pt x="759" y="2088"/>
                    <a:pt x="2409" y="5217"/>
                  </a:cubicBezTo>
                  <a:cubicBezTo>
                    <a:pt x="4033" y="8342"/>
                    <a:pt x="5449" y="10935"/>
                    <a:pt x="5549" y="11026"/>
                  </a:cubicBezTo>
                  <a:cubicBezTo>
                    <a:pt x="5658" y="11087"/>
                    <a:pt x="6098" y="11402"/>
                    <a:pt x="6558" y="11577"/>
                  </a:cubicBezTo>
                  <a:cubicBezTo>
                    <a:pt x="7010" y="11801"/>
                    <a:pt x="7688" y="12188"/>
                    <a:pt x="8068" y="12416"/>
                  </a:cubicBezTo>
                  <a:cubicBezTo>
                    <a:pt x="8433" y="12701"/>
                    <a:pt x="9031" y="12985"/>
                    <a:pt x="9373" y="13149"/>
                  </a:cubicBezTo>
                  <a:cubicBezTo>
                    <a:pt x="9721" y="13266"/>
                    <a:pt x="9987" y="13498"/>
                    <a:pt x="9975" y="13559"/>
                  </a:cubicBezTo>
                  <a:cubicBezTo>
                    <a:pt x="9934" y="13559"/>
                    <a:pt x="9784" y="13604"/>
                    <a:pt x="9576" y="13506"/>
                  </a:cubicBezTo>
                  <a:cubicBezTo>
                    <a:pt x="9372" y="13392"/>
                    <a:pt x="8942" y="13206"/>
                    <a:pt x="8620" y="13149"/>
                  </a:cubicBezTo>
                  <a:cubicBezTo>
                    <a:pt x="8308" y="13016"/>
                    <a:pt x="7512" y="12659"/>
                    <a:pt x="6873" y="12245"/>
                  </a:cubicBezTo>
                  <a:cubicBezTo>
                    <a:pt x="6227" y="11862"/>
                    <a:pt x="5985" y="12017"/>
                    <a:pt x="6306" y="12659"/>
                  </a:cubicBezTo>
                  <a:cubicBezTo>
                    <a:pt x="6642" y="13266"/>
                    <a:pt x="7017" y="13897"/>
                    <a:pt x="7170" y="13957"/>
                  </a:cubicBezTo>
                  <a:cubicBezTo>
                    <a:pt x="7311" y="14075"/>
                    <a:pt x="7770" y="14215"/>
                    <a:pt x="8169" y="14383"/>
                  </a:cubicBezTo>
                  <a:cubicBezTo>
                    <a:pt x="8574" y="14489"/>
                    <a:pt x="9394" y="14937"/>
                    <a:pt x="9979" y="15389"/>
                  </a:cubicBezTo>
                  <a:cubicBezTo>
                    <a:pt x="10587" y="15746"/>
                    <a:pt x="11368" y="16380"/>
                    <a:pt x="11763" y="16554"/>
                  </a:cubicBezTo>
                  <a:cubicBezTo>
                    <a:pt x="12149" y="16774"/>
                    <a:pt x="12956" y="17268"/>
                    <a:pt x="13539" y="17720"/>
                  </a:cubicBezTo>
                  <a:cubicBezTo>
                    <a:pt x="14125" y="18157"/>
                    <a:pt x="14924" y="18768"/>
                    <a:pt x="15294" y="19152"/>
                  </a:cubicBezTo>
                  <a:cubicBezTo>
                    <a:pt x="15664" y="19524"/>
                    <a:pt x="16268" y="20074"/>
                    <a:pt x="16632" y="20382"/>
                  </a:cubicBezTo>
                  <a:cubicBezTo>
                    <a:pt x="16979" y="20727"/>
                    <a:pt x="17514" y="21088"/>
                    <a:pt x="17802" y="21152"/>
                  </a:cubicBezTo>
                  <a:cubicBezTo>
                    <a:pt x="18074" y="21316"/>
                    <a:pt x="18453" y="21304"/>
                    <a:pt x="18606" y="21171"/>
                  </a:cubicBezTo>
                  <a:cubicBezTo>
                    <a:pt x="18771" y="21103"/>
                    <a:pt x="18876" y="20818"/>
                    <a:pt x="18845" y="20613"/>
                  </a:cubicBezTo>
                  <a:cubicBezTo>
                    <a:pt x="18815" y="20412"/>
                    <a:pt x="19013" y="20347"/>
                    <a:pt x="19288" y="20404"/>
                  </a:cubicBezTo>
                  <a:cubicBezTo>
                    <a:pt x="19556" y="20518"/>
                    <a:pt x="19900" y="20807"/>
                    <a:pt x="20093" y="20925"/>
                  </a:cubicBezTo>
                  <a:cubicBezTo>
                    <a:pt x="20223" y="21198"/>
                    <a:pt x="20636" y="21297"/>
                    <a:pt x="20920" y="21297"/>
                  </a:cubicBezTo>
                  <a:cubicBezTo>
                    <a:pt x="21202" y="21342"/>
                    <a:pt x="21317" y="21096"/>
                    <a:pt x="21183" y="20811"/>
                  </a:cubicBezTo>
                  <a:cubicBezTo>
                    <a:pt x="21031" y="20556"/>
                    <a:pt x="20711" y="20078"/>
                    <a:pt x="20424" y="19866"/>
                  </a:cubicBezTo>
                  <a:close/>
                  <a:moveTo>
                    <a:pt x="20424" y="1986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3" name="AutoShape 1345"/>
            <p:cNvSpPr>
              <a:spLocks/>
            </p:cNvSpPr>
            <p:nvPr/>
          </p:nvSpPr>
          <p:spPr bwMode="auto">
            <a:xfrm>
              <a:off x="5029200" y="6680200"/>
              <a:ext cx="1588" cy="1588"/>
            </a:xfrm>
            <a:custGeom>
              <a:avLst/>
              <a:gdLst/>
              <a:ahLst/>
              <a:cxnLst/>
              <a:rect l="0" t="0" r="r" b="b"/>
              <a:pathLst>
                <a:path w="21368" h="21600">
                  <a:moveTo>
                    <a:pt x="132" y="18771"/>
                  </a:moveTo>
                  <a:cubicBezTo>
                    <a:pt x="-232" y="19708"/>
                    <a:pt x="228" y="20651"/>
                    <a:pt x="630" y="21600"/>
                  </a:cubicBezTo>
                  <a:cubicBezTo>
                    <a:pt x="2458" y="13862"/>
                    <a:pt x="11794" y="5475"/>
                    <a:pt x="21368" y="0"/>
                  </a:cubicBezTo>
                  <a:cubicBezTo>
                    <a:pt x="10622" y="6129"/>
                    <a:pt x="-178" y="13296"/>
                    <a:pt x="132" y="18771"/>
                  </a:cubicBezTo>
                  <a:close/>
                  <a:moveTo>
                    <a:pt x="132" y="1877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4" name="AutoShape 1346"/>
            <p:cNvSpPr>
              <a:spLocks/>
            </p:cNvSpPr>
            <p:nvPr/>
          </p:nvSpPr>
          <p:spPr bwMode="auto">
            <a:xfrm>
              <a:off x="4775200" y="6350000"/>
              <a:ext cx="1588" cy="1588"/>
            </a:xfrm>
            <a:custGeom>
              <a:avLst/>
              <a:gdLst/>
              <a:ahLst/>
              <a:cxnLst/>
              <a:rect l="0" t="0" r="r" b="b"/>
              <a:pathLst>
                <a:path w="21600" h="21600">
                  <a:moveTo>
                    <a:pt x="21600" y="21600"/>
                  </a:moveTo>
                  <a:cubicBezTo>
                    <a:pt x="14991" y="15128"/>
                    <a:pt x="7587" y="7804"/>
                    <a:pt x="0" y="0"/>
                  </a:cubicBezTo>
                  <a:cubicBezTo>
                    <a:pt x="6675" y="6844"/>
                    <a:pt x="13878" y="14044"/>
                    <a:pt x="21600" y="21600"/>
                  </a:cubicBezTo>
                  <a:close/>
                  <a:moveTo>
                    <a:pt x="2160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5" name="AutoShape 1347"/>
            <p:cNvSpPr>
              <a:spLocks/>
            </p:cNvSpPr>
            <p:nvPr/>
          </p:nvSpPr>
          <p:spPr bwMode="auto">
            <a:xfrm>
              <a:off x="4800600" y="6997700"/>
              <a:ext cx="4763" cy="3175"/>
            </a:xfrm>
            <a:custGeom>
              <a:avLst/>
              <a:gdLst/>
              <a:ahLst/>
              <a:cxnLst/>
              <a:rect l="0" t="0" r="r" b="b"/>
              <a:pathLst>
                <a:path w="19624" h="19781">
                  <a:moveTo>
                    <a:pt x="5928" y="12353"/>
                  </a:moveTo>
                  <a:cubicBezTo>
                    <a:pt x="9693" y="16796"/>
                    <a:pt x="15036" y="20635"/>
                    <a:pt x="18250" y="19615"/>
                  </a:cubicBezTo>
                  <a:cubicBezTo>
                    <a:pt x="21488" y="18835"/>
                    <a:pt x="18798" y="13320"/>
                    <a:pt x="12345" y="7557"/>
                  </a:cubicBezTo>
                  <a:cubicBezTo>
                    <a:pt x="5561" y="2518"/>
                    <a:pt x="802" y="-965"/>
                    <a:pt x="4" y="239"/>
                  </a:cubicBezTo>
                  <a:cubicBezTo>
                    <a:pt x="-112" y="1978"/>
                    <a:pt x="2459" y="7201"/>
                    <a:pt x="5928" y="12353"/>
                  </a:cubicBezTo>
                  <a:close/>
                  <a:moveTo>
                    <a:pt x="5928" y="123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6" name="AutoShape 1348"/>
            <p:cNvSpPr>
              <a:spLocks/>
            </p:cNvSpPr>
            <p:nvPr/>
          </p:nvSpPr>
          <p:spPr bwMode="auto">
            <a:xfrm>
              <a:off x="4813300" y="7048500"/>
              <a:ext cx="3175" cy="3175"/>
            </a:xfrm>
            <a:custGeom>
              <a:avLst/>
              <a:gdLst/>
              <a:ahLst/>
              <a:cxnLst/>
              <a:rect l="0" t="0" r="r" b="b"/>
              <a:pathLst>
                <a:path w="19220" h="18926">
                  <a:moveTo>
                    <a:pt x="2626" y="488"/>
                  </a:moveTo>
                  <a:cubicBezTo>
                    <a:pt x="-134" y="-1382"/>
                    <a:pt x="-1336" y="2416"/>
                    <a:pt x="2127" y="6873"/>
                  </a:cubicBezTo>
                  <a:cubicBezTo>
                    <a:pt x="4957" y="11495"/>
                    <a:pt x="11140" y="16939"/>
                    <a:pt x="15811" y="18348"/>
                  </a:cubicBezTo>
                  <a:cubicBezTo>
                    <a:pt x="20264" y="20218"/>
                    <a:pt x="20264" y="17404"/>
                    <a:pt x="16340" y="11963"/>
                  </a:cubicBezTo>
                  <a:cubicBezTo>
                    <a:pt x="11960" y="6873"/>
                    <a:pt x="5841" y="1776"/>
                    <a:pt x="2626" y="488"/>
                  </a:cubicBezTo>
                  <a:close/>
                  <a:moveTo>
                    <a:pt x="2626" y="48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7" name="AutoShape 1349"/>
            <p:cNvSpPr>
              <a:spLocks/>
            </p:cNvSpPr>
            <p:nvPr/>
          </p:nvSpPr>
          <p:spPr bwMode="auto">
            <a:xfrm>
              <a:off x="4800600" y="7010400"/>
              <a:ext cx="3175" cy="3175"/>
            </a:xfrm>
            <a:custGeom>
              <a:avLst/>
              <a:gdLst/>
              <a:ahLst/>
              <a:cxnLst/>
              <a:rect l="0" t="0" r="r" b="b"/>
              <a:pathLst>
                <a:path w="19704" h="20067">
                  <a:moveTo>
                    <a:pt x="9542" y="13541"/>
                  </a:moveTo>
                  <a:cubicBezTo>
                    <a:pt x="14943" y="20113"/>
                    <a:pt x="20789" y="21600"/>
                    <a:pt x="19532" y="18549"/>
                  </a:cubicBezTo>
                  <a:cubicBezTo>
                    <a:pt x="20343" y="15184"/>
                    <a:pt x="14828" y="9238"/>
                    <a:pt x="10210" y="5008"/>
                  </a:cubicBezTo>
                  <a:cubicBezTo>
                    <a:pt x="4921" y="1492"/>
                    <a:pt x="1628" y="0"/>
                    <a:pt x="151" y="0"/>
                  </a:cubicBezTo>
                  <a:cubicBezTo>
                    <a:pt x="-811" y="1100"/>
                    <a:pt x="2885" y="8455"/>
                    <a:pt x="9542" y="13541"/>
                  </a:cubicBezTo>
                  <a:close/>
                  <a:moveTo>
                    <a:pt x="9542" y="135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8" name="AutoShape 1350"/>
            <p:cNvSpPr>
              <a:spLocks/>
            </p:cNvSpPr>
            <p:nvPr/>
          </p:nvSpPr>
          <p:spPr bwMode="auto">
            <a:xfrm>
              <a:off x="4813300" y="7035800"/>
              <a:ext cx="7938" cy="3175"/>
            </a:xfrm>
            <a:custGeom>
              <a:avLst/>
              <a:gdLst/>
              <a:ahLst/>
              <a:cxnLst/>
              <a:rect l="0" t="0" r="r" b="b"/>
              <a:pathLst>
                <a:path w="19939" h="19804">
                  <a:moveTo>
                    <a:pt x="19783" y="16017"/>
                  </a:moveTo>
                  <a:cubicBezTo>
                    <a:pt x="18827" y="11574"/>
                    <a:pt x="15965" y="7070"/>
                    <a:pt x="13647" y="5158"/>
                  </a:cubicBezTo>
                  <a:cubicBezTo>
                    <a:pt x="11118" y="4374"/>
                    <a:pt x="6543" y="1111"/>
                    <a:pt x="3165" y="211"/>
                  </a:cubicBezTo>
                  <a:cubicBezTo>
                    <a:pt x="-167" y="-629"/>
                    <a:pt x="-970" y="1059"/>
                    <a:pt x="1241" y="4933"/>
                  </a:cubicBezTo>
                  <a:cubicBezTo>
                    <a:pt x="3515" y="8592"/>
                    <a:pt x="9075" y="13936"/>
                    <a:pt x="13467" y="17761"/>
                  </a:cubicBezTo>
                  <a:cubicBezTo>
                    <a:pt x="17950" y="20971"/>
                    <a:pt x="20630" y="20405"/>
                    <a:pt x="19783" y="16017"/>
                  </a:cubicBezTo>
                  <a:close/>
                  <a:moveTo>
                    <a:pt x="19783" y="1601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49" name="AutoShape 1351"/>
            <p:cNvSpPr>
              <a:spLocks/>
            </p:cNvSpPr>
            <p:nvPr/>
          </p:nvSpPr>
          <p:spPr bwMode="auto">
            <a:xfrm>
              <a:off x="4787900" y="6959600"/>
              <a:ext cx="4763" cy="3175"/>
            </a:xfrm>
            <a:custGeom>
              <a:avLst/>
              <a:gdLst/>
              <a:ahLst/>
              <a:cxnLst/>
              <a:rect l="0" t="0" r="r" b="b"/>
              <a:pathLst>
                <a:path w="18929" h="19996">
                  <a:moveTo>
                    <a:pt x="6595" y="11537"/>
                  </a:moveTo>
                  <a:cubicBezTo>
                    <a:pt x="12726" y="17662"/>
                    <a:pt x="18357" y="21600"/>
                    <a:pt x="18661" y="19361"/>
                  </a:cubicBezTo>
                  <a:cubicBezTo>
                    <a:pt x="19862" y="17662"/>
                    <a:pt x="16850" y="12142"/>
                    <a:pt x="13293" y="7818"/>
                  </a:cubicBezTo>
                  <a:cubicBezTo>
                    <a:pt x="9696" y="3548"/>
                    <a:pt x="4173" y="711"/>
                    <a:pt x="1251" y="0"/>
                  </a:cubicBezTo>
                  <a:cubicBezTo>
                    <a:pt x="-1738" y="0"/>
                    <a:pt x="858" y="4915"/>
                    <a:pt x="6595" y="11537"/>
                  </a:cubicBezTo>
                  <a:close/>
                  <a:moveTo>
                    <a:pt x="6595" y="1153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0" name="AutoShape 1352"/>
            <p:cNvSpPr>
              <a:spLocks/>
            </p:cNvSpPr>
            <p:nvPr/>
          </p:nvSpPr>
          <p:spPr bwMode="auto">
            <a:xfrm>
              <a:off x="4775200" y="6985000"/>
              <a:ext cx="6350" cy="3175"/>
            </a:xfrm>
            <a:custGeom>
              <a:avLst/>
              <a:gdLst/>
              <a:ahLst/>
              <a:cxnLst/>
              <a:rect l="0" t="0" r="r" b="b"/>
              <a:pathLst>
                <a:path w="19703" h="19852">
                  <a:moveTo>
                    <a:pt x="6812" y="1978"/>
                  </a:moveTo>
                  <a:cubicBezTo>
                    <a:pt x="4002" y="-55"/>
                    <a:pt x="1011" y="-648"/>
                    <a:pt x="317" y="799"/>
                  </a:cubicBezTo>
                  <a:cubicBezTo>
                    <a:pt x="-773" y="799"/>
                    <a:pt x="1061" y="7073"/>
                    <a:pt x="4118" y="10661"/>
                  </a:cubicBezTo>
                  <a:cubicBezTo>
                    <a:pt x="6913" y="14788"/>
                    <a:pt x="12413" y="20312"/>
                    <a:pt x="16349" y="19505"/>
                  </a:cubicBezTo>
                  <a:cubicBezTo>
                    <a:pt x="20180" y="20952"/>
                    <a:pt x="20827" y="17683"/>
                    <a:pt x="17784" y="13284"/>
                  </a:cubicBezTo>
                  <a:cubicBezTo>
                    <a:pt x="14498" y="9325"/>
                    <a:pt x="9590" y="4286"/>
                    <a:pt x="6812" y="1978"/>
                  </a:cubicBezTo>
                  <a:close/>
                  <a:moveTo>
                    <a:pt x="6812" y="197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1" name="AutoShape 1353"/>
            <p:cNvSpPr>
              <a:spLocks/>
            </p:cNvSpPr>
            <p:nvPr/>
          </p:nvSpPr>
          <p:spPr bwMode="auto">
            <a:xfrm>
              <a:off x="4826000" y="7023100"/>
              <a:ext cx="17463" cy="15875"/>
            </a:xfrm>
            <a:custGeom>
              <a:avLst/>
              <a:gdLst/>
              <a:ahLst/>
              <a:cxnLst/>
              <a:rect l="0" t="0" r="r" b="b"/>
              <a:pathLst>
                <a:path w="20960" h="21426">
                  <a:moveTo>
                    <a:pt x="5390" y="15069"/>
                  </a:moveTo>
                  <a:cubicBezTo>
                    <a:pt x="6242" y="16905"/>
                    <a:pt x="7532" y="17678"/>
                    <a:pt x="8310" y="17204"/>
                  </a:cubicBezTo>
                  <a:cubicBezTo>
                    <a:pt x="8911" y="16494"/>
                    <a:pt x="10392" y="16398"/>
                    <a:pt x="11243" y="17093"/>
                  </a:cubicBezTo>
                  <a:cubicBezTo>
                    <a:pt x="12226" y="17519"/>
                    <a:pt x="13759" y="18690"/>
                    <a:pt x="14727" y="19480"/>
                  </a:cubicBezTo>
                  <a:cubicBezTo>
                    <a:pt x="15717" y="20223"/>
                    <a:pt x="17331" y="21126"/>
                    <a:pt x="18342" y="21362"/>
                  </a:cubicBezTo>
                  <a:cubicBezTo>
                    <a:pt x="19339" y="21600"/>
                    <a:pt x="20037" y="21158"/>
                    <a:pt x="20161" y="20319"/>
                  </a:cubicBezTo>
                  <a:cubicBezTo>
                    <a:pt x="20067" y="19480"/>
                    <a:pt x="20522" y="18153"/>
                    <a:pt x="20822" y="17283"/>
                  </a:cubicBezTo>
                  <a:cubicBezTo>
                    <a:pt x="21453" y="16682"/>
                    <a:pt x="19838" y="14201"/>
                    <a:pt x="17881" y="12240"/>
                  </a:cubicBezTo>
                  <a:cubicBezTo>
                    <a:pt x="15915" y="10278"/>
                    <a:pt x="13546" y="7622"/>
                    <a:pt x="12696" y="6310"/>
                  </a:cubicBezTo>
                  <a:cubicBezTo>
                    <a:pt x="11793" y="5013"/>
                    <a:pt x="9571" y="3257"/>
                    <a:pt x="7921" y="2103"/>
                  </a:cubicBezTo>
                  <a:cubicBezTo>
                    <a:pt x="6183" y="1108"/>
                    <a:pt x="3601" y="238"/>
                    <a:pt x="2171" y="0"/>
                  </a:cubicBezTo>
                  <a:cubicBezTo>
                    <a:pt x="718" y="0"/>
                    <a:pt x="-147" y="1297"/>
                    <a:pt x="21" y="3242"/>
                  </a:cubicBezTo>
                  <a:cubicBezTo>
                    <a:pt x="426" y="5187"/>
                    <a:pt x="1261" y="7906"/>
                    <a:pt x="2120" y="9314"/>
                  </a:cubicBezTo>
                  <a:cubicBezTo>
                    <a:pt x="2882" y="10767"/>
                    <a:pt x="4423" y="13314"/>
                    <a:pt x="5390" y="15069"/>
                  </a:cubicBezTo>
                  <a:close/>
                  <a:moveTo>
                    <a:pt x="5390" y="1506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2" name="AutoShape 1354"/>
            <p:cNvSpPr>
              <a:spLocks/>
            </p:cNvSpPr>
            <p:nvPr/>
          </p:nvSpPr>
          <p:spPr bwMode="auto">
            <a:xfrm>
              <a:off x="4762500" y="6934200"/>
              <a:ext cx="38100" cy="50800"/>
            </a:xfrm>
            <a:custGeom>
              <a:avLst/>
              <a:gdLst/>
              <a:ahLst/>
              <a:cxnLst/>
              <a:rect l="0" t="0" r="r" b="b"/>
              <a:pathLst>
                <a:path w="21479" h="21357">
                  <a:moveTo>
                    <a:pt x="13297" y="19444"/>
                  </a:moveTo>
                  <a:cubicBezTo>
                    <a:pt x="14393" y="19968"/>
                    <a:pt x="16267" y="20691"/>
                    <a:pt x="17509" y="21044"/>
                  </a:cubicBezTo>
                  <a:cubicBezTo>
                    <a:pt x="18803" y="21285"/>
                    <a:pt x="19592" y="21490"/>
                    <a:pt x="19547" y="21249"/>
                  </a:cubicBezTo>
                  <a:cubicBezTo>
                    <a:pt x="19424" y="21024"/>
                    <a:pt x="19048" y="20332"/>
                    <a:pt x="18530" y="19814"/>
                  </a:cubicBezTo>
                  <a:cubicBezTo>
                    <a:pt x="18182" y="19219"/>
                    <a:pt x="17888" y="18563"/>
                    <a:pt x="17908" y="18282"/>
                  </a:cubicBezTo>
                  <a:cubicBezTo>
                    <a:pt x="17881" y="18000"/>
                    <a:pt x="18758" y="18168"/>
                    <a:pt x="19683" y="18543"/>
                  </a:cubicBezTo>
                  <a:cubicBezTo>
                    <a:pt x="20540" y="18999"/>
                    <a:pt x="21359" y="19204"/>
                    <a:pt x="21476" y="19204"/>
                  </a:cubicBezTo>
                  <a:cubicBezTo>
                    <a:pt x="21544" y="19138"/>
                    <a:pt x="20683" y="18435"/>
                    <a:pt x="19479" y="17650"/>
                  </a:cubicBezTo>
                  <a:cubicBezTo>
                    <a:pt x="18305" y="16841"/>
                    <a:pt x="17519" y="16128"/>
                    <a:pt x="17676" y="15975"/>
                  </a:cubicBezTo>
                  <a:cubicBezTo>
                    <a:pt x="17926" y="15975"/>
                    <a:pt x="17052" y="15005"/>
                    <a:pt x="15758" y="14181"/>
                  </a:cubicBezTo>
                  <a:cubicBezTo>
                    <a:pt x="14526" y="13289"/>
                    <a:pt x="13359" y="12279"/>
                    <a:pt x="13024" y="12002"/>
                  </a:cubicBezTo>
                  <a:cubicBezTo>
                    <a:pt x="12779" y="11679"/>
                    <a:pt x="12915" y="11567"/>
                    <a:pt x="13379" y="11638"/>
                  </a:cubicBezTo>
                  <a:cubicBezTo>
                    <a:pt x="13796" y="11808"/>
                    <a:pt x="14956" y="12314"/>
                    <a:pt x="15912" y="12838"/>
                  </a:cubicBezTo>
                  <a:cubicBezTo>
                    <a:pt x="16895" y="13314"/>
                    <a:pt x="17585" y="13704"/>
                    <a:pt x="17543" y="13591"/>
                  </a:cubicBezTo>
                  <a:cubicBezTo>
                    <a:pt x="17448" y="13494"/>
                    <a:pt x="17103" y="13109"/>
                    <a:pt x="16655" y="12776"/>
                  </a:cubicBezTo>
                  <a:cubicBezTo>
                    <a:pt x="16277" y="12397"/>
                    <a:pt x="14830" y="11567"/>
                    <a:pt x="13624" y="10797"/>
                  </a:cubicBezTo>
                  <a:cubicBezTo>
                    <a:pt x="12460" y="9998"/>
                    <a:pt x="12170" y="9834"/>
                    <a:pt x="13181" y="10244"/>
                  </a:cubicBezTo>
                  <a:cubicBezTo>
                    <a:pt x="14113" y="10746"/>
                    <a:pt x="14789" y="10603"/>
                    <a:pt x="14393" y="10121"/>
                  </a:cubicBezTo>
                  <a:cubicBezTo>
                    <a:pt x="14110" y="9608"/>
                    <a:pt x="13550" y="9003"/>
                    <a:pt x="13287" y="8716"/>
                  </a:cubicBezTo>
                  <a:cubicBezTo>
                    <a:pt x="12969" y="8475"/>
                    <a:pt x="12409" y="7681"/>
                    <a:pt x="12021" y="6974"/>
                  </a:cubicBezTo>
                  <a:cubicBezTo>
                    <a:pt x="11608" y="6277"/>
                    <a:pt x="10389" y="4980"/>
                    <a:pt x="9297" y="4083"/>
                  </a:cubicBezTo>
                  <a:cubicBezTo>
                    <a:pt x="8245" y="3160"/>
                    <a:pt x="6590" y="2104"/>
                    <a:pt x="5730" y="1658"/>
                  </a:cubicBezTo>
                  <a:cubicBezTo>
                    <a:pt x="4897" y="1192"/>
                    <a:pt x="3443" y="628"/>
                    <a:pt x="2569" y="320"/>
                  </a:cubicBezTo>
                  <a:cubicBezTo>
                    <a:pt x="1692" y="8"/>
                    <a:pt x="640" y="-110"/>
                    <a:pt x="361" y="120"/>
                  </a:cubicBezTo>
                  <a:cubicBezTo>
                    <a:pt x="2" y="274"/>
                    <a:pt x="-56" y="674"/>
                    <a:pt x="43" y="971"/>
                  </a:cubicBezTo>
                  <a:cubicBezTo>
                    <a:pt x="200" y="1258"/>
                    <a:pt x="722" y="1740"/>
                    <a:pt x="1105" y="2120"/>
                  </a:cubicBezTo>
                  <a:cubicBezTo>
                    <a:pt x="1548" y="2452"/>
                    <a:pt x="2063" y="3068"/>
                    <a:pt x="2255" y="3478"/>
                  </a:cubicBezTo>
                  <a:cubicBezTo>
                    <a:pt x="2511" y="3862"/>
                    <a:pt x="2382" y="4277"/>
                    <a:pt x="2085" y="4359"/>
                  </a:cubicBezTo>
                  <a:cubicBezTo>
                    <a:pt x="1780" y="4436"/>
                    <a:pt x="1644" y="4815"/>
                    <a:pt x="1702" y="5169"/>
                  </a:cubicBezTo>
                  <a:cubicBezTo>
                    <a:pt x="1818" y="5518"/>
                    <a:pt x="2197" y="6123"/>
                    <a:pt x="2593" y="6522"/>
                  </a:cubicBezTo>
                  <a:cubicBezTo>
                    <a:pt x="2968" y="6922"/>
                    <a:pt x="3538" y="7460"/>
                    <a:pt x="3903" y="7625"/>
                  </a:cubicBezTo>
                  <a:cubicBezTo>
                    <a:pt x="4197" y="7850"/>
                    <a:pt x="5132" y="8609"/>
                    <a:pt x="5829" y="9414"/>
                  </a:cubicBezTo>
                  <a:cubicBezTo>
                    <a:pt x="6628" y="10141"/>
                    <a:pt x="8075" y="12186"/>
                    <a:pt x="9313" y="13822"/>
                  </a:cubicBezTo>
                  <a:cubicBezTo>
                    <a:pt x="10471" y="15483"/>
                    <a:pt x="11495" y="17200"/>
                    <a:pt x="11406" y="17640"/>
                  </a:cubicBezTo>
                  <a:cubicBezTo>
                    <a:pt x="11290" y="18076"/>
                    <a:pt x="12205" y="18922"/>
                    <a:pt x="13297" y="19444"/>
                  </a:cubicBezTo>
                  <a:close/>
                  <a:moveTo>
                    <a:pt x="13297" y="194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3" name="AutoShape 1355"/>
            <p:cNvSpPr>
              <a:spLocks/>
            </p:cNvSpPr>
            <p:nvPr/>
          </p:nvSpPr>
          <p:spPr bwMode="auto">
            <a:xfrm>
              <a:off x="4787900" y="7023100"/>
              <a:ext cx="7938" cy="6350"/>
            </a:xfrm>
            <a:custGeom>
              <a:avLst/>
              <a:gdLst/>
              <a:ahLst/>
              <a:cxnLst/>
              <a:rect l="0" t="0" r="r" b="b"/>
              <a:pathLst>
                <a:path w="21189" h="19822">
                  <a:moveTo>
                    <a:pt x="5041" y="1141"/>
                  </a:moveTo>
                  <a:cubicBezTo>
                    <a:pt x="1689" y="-640"/>
                    <a:pt x="-411" y="-330"/>
                    <a:pt x="68" y="2033"/>
                  </a:cubicBezTo>
                  <a:cubicBezTo>
                    <a:pt x="544" y="4356"/>
                    <a:pt x="5725" y="9579"/>
                    <a:pt x="10985" y="14225"/>
                  </a:cubicBezTo>
                  <a:cubicBezTo>
                    <a:pt x="16515" y="18521"/>
                    <a:pt x="20854" y="20960"/>
                    <a:pt x="21189" y="19295"/>
                  </a:cubicBezTo>
                  <a:cubicBezTo>
                    <a:pt x="21013" y="17590"/>
                    <a:pt x="19487" y="13218"/>
                    <a:pt x="16404" y="10354"/>
                  </a:cubicBezTo>
                  <a:cubicBezTo>
                    <a:pt x="13559" y="7022"/>
                    <a:pt x="8459" y="2880"/>
                    <a:pt x="5041" y="1141"/>
                  </a:cubicBezTo>
                  <a:close/>
                  <a:moveTo>
                    <a:pt x="5041" y="114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4" name="AutoShape 1356"/>
            <p:cNvSpPr>
              <a:spLocks/>
            </p:cNvSpPr>
            <p:nvPr/>
          </p:nvSpPr>
          <p:spPr bwMode="auto">
            <a:xfrm>
              <a:off x="4826000" y="7023100"/>
              <a:ext cx="1588" cy="3175"/>
            </a:xfrm>
            <a:custGeom>
              <a:avLst/>
              <a:gdLst/>
              <a:ahLst/>
              <a:cxnLst/>
              <a:rect l="0" t="0" r="r" b="b"/>
              <a:pathLst>
                <a:path w="18601" h="17480">
                  <a:moveTo>
                    <a:pt x="13337" y="16712"/>
                  </a:moveTo>
                  <a:cubicBezTo>
                    <a:pt x="20458" y="19308"/>
                    <a:pt x="20333" y="15099"/>
                    <a:pt x="13094" y="7489"/>
                  </a:cubicBezTo>
                  <a:cubicBezTo>
                    <a:pt x="5529" y="-125"/>
                    <a:pt x="-1142" y="-2292"/>
                    <a:pt x="165" y="2656"/>
                  </a:cubicBezTo>
                  <a:cubicBezTo>
                    <a:pt x="-689" y="7670"/>
                    <a:pt x="6306" y="13803"/>
                    <a:pt x="13337" y="16712"/>
                  </a:cubicBezTo>
                  <a:close/>
                  <a:moveTo>
                    <a:pt x="13337" y="167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5" name="AutoShape 1357"/>
            <p:cNvSpPr>
              <a:spLocks/>
            </p:cNvSpPr>
            <p:nvPr/>
          </p:nvSpPr>
          <p:spPr bwMode="auto">
            <a:xfrm>
              <a:off x="4826000" y="7023100"/>
              <a:ext cx="4763" cy="3175"/>
            </a:xfrm>
            <a:custGeom>
              <a:avLst/>
              <a:gdLst/>
              <a:ahLst/>
              <a:cxnLst/>
              <a:rect l="0" t="0" r="r" b="b"/>
              <a:pathLst>
                <a:path w="19401" h="19810">
                  <a:moveTo>
                    <a:pt x="16050" y="18957"/>
                  </a:moveTo>
                  <a:cubicBezTo>
                    <a:pt x="21020" y="21600"/>
                    <a:pt x="20463" y="17821"/>
                    <a:pt x="14378" y="11466"/>
                  </a:cubicBezTo>
                  <a:cubicBezTo>
                    <a:pt x="8271" y="5107"/>
                    <a:pt x="2297" y="0"/>
                    <a:pt x="757" y="0"/>
                  </a:cubicBezTo>
                  <a:cubicBezTo>
                    <a:pt x="-580" y="904"/>
                    <a:pt x="-219" y="3963"/>
                    <a:pt x="2433" y="7502"/>
                  </a:cubicBezTo>
                  <a:cubicBezTo>
                    <a:pt x="4638" y="11518"/>
                    <a:pt x="10813" y="17105"/>
                    <a:pt x="16050" y="18957"/>
                  </a:cubicBezTo>
                  <a:close/>
                  <a:moveTo>
                    <a:pt x="16050" y="1895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6" name="AutoShape 1358"/>
            <p:cNvSpPr>
              <a:spLocks/>
            </p:cNvSpPr>
            <p:nvPr/>
          </p:nvSpPr>
          <p:spPr bwMode="auto">
            <a:xfrm>
              <a:off x="4508500" y="6121400"/>
              <a:ext cx="614363" cy="1222375"/>
            </a:xfrm>
            <a:custGeom>
              <a:avLst/>
              <a:gdLst/>
              <a:ahLst/>
              <a:cxnLst/>
              <a:rect l="0" t="0" r="r" b="b"/>
              <a:pathLst>
                <a:path w="21574" h="21597">
                  <a:moveTo>
                    <a:pt x="20969" y="20895"/>
                  </a:moveTo>
                  <a:cubicBezTo>
                    <a:pt x="20941" y="20885"/>
                    <a:pt x="20643" y="20820"/>
                    <a:pt x="20304" y="20752"/>
                  </a:cubicBezTo>
                  <a:cubicBezTo>
                    <a:pt x="19968" y="20684"/>
                    <a:pt x="19550" y="20609"/>
                    <a:pt x="19378" y="20580"/>
                  </a:cubicBezTo>
                  <a:cubicBezTo>
                    <a:pt x="19206" y="20554"/>
                    <a:pt x="19022" y="20517"/>
                    <a:pt x="18970" y="20500"/>
                  </a:cubicBezTo>
                  <a:cubicBezTo>
                    <a:pt x="18915" y="20484"/>
                    <a:pt x="18770" y="20446"/>
                    <a:pt x="18644" y="20416"/>
                  </a:cubicBezTo>
                  <a:cubicBezTo>
                    <a:pt x="18517" y="20387"/>
                    <a:pt x="18341" y="20327"/>
                    <a:pt x="18259" y="20280"/>
                  </a:cubicBezTo>
                  <a:cubicBezTo>
                    <a:pt x="18175" y="20234"/>
                    <a:pt x="18056" y="20165"/>
                    <a:pt x="17991" y="20128"/>
                  </a:cubicBezTo>
                  <a:cubicBezTo>
                    <a:pt x="17928" y="20091"/>
                    <a:pt x="17814" y="20037"/>
                    <a:pt x="17739" y="20007"/>
                  </a:cubicBezTo>
                  <a:cubicBezTo>
                    <a:pt x="17663" y="19978"/>
                    <a:pt x="17539" y="19908"/>
                    <a:pt x="17461" y="19852"/>
                  </a:cubicBezTo>
                  <a:cubicBezTo>
                    <a:pt x="17384" y="19795"/>
                    <a:pt x="17293" y="19730"/>
                    <a:pt x="17268" y="19705"/>
                  </a:cubicBezTo>
                  <a:cubicBezTo>
                    <a:pt x="17240" y="19680"/>
                    <a:pt x="17172" y="19653"/>
                    <a:pt x="17121" y="19640"/>
                  </a:cubicBezTo>
                  <a:cubicBezTo>
                    <a:pt x="17069" y="19631"/>
                    <a:pt x="16974" y="19617"/>
                    <a:pt x="16910" y="19617"/>
                  </a:cubicBezTo>
                  <a:cubicBezTo>
                    <a:pt x="16846" y="19614"/>
                    <a:pt x="16775" y="19619"/>
                    <a:pt x="16753" y="19628"/>
                  </a:cubicBezTo>
                  <a:cubicBezTo>
                    <a:pt x="16727" y="19634"/>
                    <a:pt x="16667" y="19635"/>
                    <a:pt x="16616" y="19623"/>
                  </a:cubicBezTo>
                  <a:cubicBezTo>
                    <a:pt x="16565" y="19611"/>
                    <a:pt x="16354" y="19517"/>
                    <a:pt x="16150" y="19411"/>
                  </a:cubicBezTo>
                  <a:cubicBezTo>
                    <a:pt x="15945" y="19306"/>
                    <a:pt x="15736" y="19192"/>
                    <a:pt x="15689" y="19159"/>
                  </a:cubicBezTo>
                  <a:cubicBezTo>
                    <a:pt x="15640" y="19126"/>
                    <a:pt x="15547" y="19035"/>
                    <a:pt x="15485" y="18957"/>
                  </a:cubicBezTo>
                  <a:cubicBezTo>
                    <a:pt x="15419" y="18879"/>
                    <a:pt x="15394" y="18801"/>
                    <a:pt x="15407" y="18781"/>
                  </a:cubicBezTo>
                  <a:cubicBezTo>
                    <a:pt x="15424" y="18763"/>
                    <a:pt x="15483" y="18734"/>
                    <a:pt x="15534" y="18719"/>
                  </a:cubicBezTo>
                  <a:cubicBezTo>
                    <a:pt x="15584" y="18703"/>
                    <a:pt x="15601" y="18653"/>
                    <a:pt x="15572" y="18608"/>
                  </a:cubicBezTo>
                  <a:cubicBezTo>
                    <a:pt x="15545" y="18563"/>
                    <a:pt x="15455" y="18479"/>
                    <a:pt x="15372" y="18422"/>
                  </a:cubicBezTo>
                  <a:cubicBezTo>
                    <a:pt x="15292" y="18364"/>
                    <a:pt x="15163" y="18280"/>
                    <a:pt x="15089" y="18235"/>
                  </a:cubicBezTo>
                  <a:cubicBezTo>
                    <a:pt x="15011" y="18190"/>
                    <a:pt x="14934" y="18117"/>
                    <a:pt x="14902" y="18076"/>
                  </a:cubicBezTo>
                  <a:cubicBezTo>
                    <a:pt x="14874" y="18034"/>
                    <a:pt x="14873" y="17989"/>
                    <a:pt x="14901" y="17977"/>
                  </a:cubicBezTo>
                  <a:cubicBezTo>
                    <a:pt x="14927" y="17964"/>
                    <a:pt x="14873" y="17905"/>
                    <a:pt x="14767" y="17847"/>
                  </a:cubicBezTo>
                  <a:cubicBezTo>
                    <a:pt x="14666" y="17788"/>
                    <a:pt x="14568" y="17722"/>
                    <a:pt x="14554" y="17700"/>
                  </a:cubicBezTo>
                  <a:cubicBezTo>
                    <a:pt x="14537" y="17678"/>
                    <a:pt x="14546" y="17652"/>
                    <a:pt x="14574" y="17643"/>
                  </a:cubicBezTo>
                  <a:cubicBezTo>
                    <a:pt x="14597" y="17632"/>
                    <a:pt x="14560" y="17585"/>
                    <a:pt x="14487" y="17534"/>
                  </a:cubicBezTo>
                  <a:cubicBezTo>
                    <a:pt x="14409" y="17485"/>
                    <a:pt x="14287" y="17392"/>
                    <a:pt x="14210" y="17330"/>
                  </a:cubicBezTo>
                  <a:cubicBezTo>
                    <a:pt x="14132" y="17268"/>
                    <a:pt x="14016" y="17189"/>
                    <a:pt x="13957" y="17154"/>
                  </a:cubicBezTo>
                  <a:cubicBezTo>
                    <a:pt x="13889" y="17122"/>
                    <a:pt x="13833" y="17074"/>
                    <a:pt x="13817" y="17055"/>
                  </a:cubicBezTo>
                  <a:cubicBezTo>
                    <a:pt x="13799" y="17036"/>
                    <a:pt x="13823" y="17010"/>
                    <a:pt x="13865" y="17000"/>
                  </a:cubicBezTo>
                  <a:cubicBezTo>
                    <a:pt x="13906" y="16988"/>
                    <a:pt x="13919" y="16962"/>
                    <a:pt x="13896" y="16936"/>
                  </a:cubicBezTo>
                  <a:cubicBezTo>
                    <a:pt x="13866" y="16913"/>
                    <a:pt x="13773" y="16851"/>
                    <a:pt x="13682" y="16800"/>
                  </a:cubicBezTo>
                  <a:cubicBezTo>
                    <a:pt x="13588" y="16750"/>
                    <a:pt x="13420" y="16676"/>
                    <a:pt x="13315" y="16631"/>
                  </a:cubicBezTo>
                  <a:cubicBezTo>
                    <a:pt x="13203" y="16590"/>
                    <a:pt x="13071" y="16544"/>
                    <a:pt x="13017" y="16533"/>
                  </a:cubicBezTo>
                  <a:cubicBezTo>
                    <a:pt x="12964" y="16521"/>
                    <a:pt x="12908" y="16514"/>
                    <a:pt x="12899" y="16518"/>
                  </a:cubicBezTo>
                  <a:cubicBezTo>
                    <a:pt x="12889" y="16521"/>
                    <a:pt x="12843" y="16508"/>
                    <a:pt x="12800" y="16488"/>
                  </a:cubicBezTo>
                  <a:cubicBezTo>
                    <a:pt x="12753" y="16470"/>
                    <a:pt x="12719" y="16441"/>
                    <a:pt x="12721" y="16426"/>
                  </a:cubicBezTo>
                  <a:cubicBezTo>
                    <a:pt x="12721" y="16412"/>
                    <a:pt x="12817" y="16419"/>
                    <a:pt x="12934" y="16444"/>
                  </a:cubicBezTo>
                  <a:cubicBezTo>
                    <a:pt x="13052" y="16466"/>
                    <a:pt x="13171" y="16475"/>
                    <a:pt x="13200" y="16458"/>
                  </a:cubicBezTo>
                  <a:cubicBezTo>
                    <a:pt x="13234" y="16443"/>
                    <a:pt x="13228" y="16407"/>
                    <a:pt x="13203" y="16379"/>
                  </a:cubicBezTo>
                  <a:cubicBezTo>
                    <a:pt x="13173" y="16352"/>
                    <a:pt x="13118" y="16318"/>
                    <a:pt x="13077" y="16306"/>
                  </a:cubicBezTo>
                  <a:cubicBezTo>
                    <a:pt x="13037" y="16292"/>
                    <a:pt x="12981" y="16285"/>
                    <a:pt x="12952" y="16288"/>
                  </a:cubicBezTo>
                  <a:cubicBezTo>
                    <a:pt x="12924" y="16291"/>
                    <a:pt x="12856" y="16285"/>
                    <a:pt x="12806" y="16270"/>
                  </a:cubicBezTo>
                  <a:cubicBezTo>
                    <a:pt x="12750" y="16259"/>
                    <a:pt x="12654" y="16198"/>
                    <a:pt x="12578" y="16143"/>
                  </a:cubicBezTo>
                  <a:cubicBezTo>
                    <a:pt x="12510" y="16086"/>
                    <a:pt x="12367" y="15999"/>
                    <a:pt x="12281" y="15942"/>
                  </a:cubicBezTo>
                  <a:cubicBezTo>
                    <a:pt x="12187" y="15889"/>
                    <a:pt x="12092" y="15815"/>
                    <a:pt x="12055" y="15783"/>
                  </a:cubicBezTo>
                  <a:cubicBezTo>
                    <a:pt x="12023" y="15750"/>
                    <a:pt x="11970" y="15693"/>
                    <a:pt x="11939" y="15656"/>
                  </a:cubicBezTo>
                  <a:cubicBezTo>
                    <a:pt x="11913" y="15618"/>
                    <a:pt x="11809" y="15565"/>
                    <a:pt x="11715" y="15537"/>
                  </a:cubicBezTo>
                  <a:cubicBezTo>
                    <a:pt x="11620" y="15510"/>
                    <a:pt x="11496" y="15454"/>
                    <a:pt x="11446" y="15415"/>
                  </a:cubicBezTo>
                  <a:cubicBezTo>
                    <a:pt x="11390" y="15377"/>
                    <a:pt x="11268" y="15273"/>
                    <a:pt x="11180" y="15183"/>
                  </a:cubicBezTo>
                  <a:cubicBezTo>
                    <a:pt x="11087" y="15094"/>
                    <a:pt x="11049" y="15018"/>
                    <a:pt x="11089" y="15011"/>
                  </a:cubicBezTo>
                  <a:cubicBezTo>
                    <a:pt x="11129" y="15004"/>
                    <a:pt x="11151" y="14980"/>
                    <a:pt x="11145" y="14953"/>
                  </a:cubicBezTo>
                  <a:cubicBezTo>
                    <a:pt x="11132" y="14927"/>
                    <a:pt x="11086" y="14881"/>
                    <a:pt x="11037" y="14852"/>
                  </a:cubicBezTo>
                  <a:cubicBezTo>
                    <a:pt x="10989" y="14823"/>
                    <a:pt x="10899" y="14784"/>
                    <a:pt x="10843" y="14762"/>
                  </a:cubicBezTo>
                  <a:cubicBezTo>
                    <a:pt x="10786" y="14740"/>
                    <a:pt x="10682" y="14675"/>
                    <a:pt x="10607" y="14617"/>
                  </a:cubicBezTo>
                  <a:cubicBezTo>
                    <a:pt x="10536" y="14557"/>
                    <a:pt x="10418" y="14444"/>
                    <a:pt x="10337" y="14366"/>
                  </a:cubicBezTo>
                  <a:cubicBezTo>
                    <a:pt x="10263" y="14286"/>
                    <a:pt x="10149" y="14151"/>
                    <a:pt x="10086" y="14066"/>
                  </a:cubicBezTo>
                  <a:cubicBezTo>
                    <a:pt x="10024" y="13980"/>
                    <a:pt x="9909" y="13872"/>
                    <a:pt x="9830" y="13824"/>
                  </a:cubicBezTo>
                  <a:cubicBezTo>
                    <a:pt x="9748" y="13777"/>
                    <a:pt x="9645" y="13703"/>
                    <a:pt x="9598" y="13658"/>
                  </a:cubicBezTo>
                  <a:cubicBezTo>
                    <a:pt x="9554" y="13614"/>
                    <a:pt x="9553" y="13546"/>
                    <a:pt x="9594" y="13505"/>
                  </a:cubicBezTo>
                  <a:cubicBezTo>
                    <a:pt x="9642" y="13465"/>
                    <a:pt x="9647" y="13378"/>
                    <a:pt x="9603" y="13314"/>
                  </a:cubicBezTo>
                  <a:cubicBezTo>
                    <a:pt x="9565" y="13249"/>
                    <a:pt x="9575" y="13196"/>
                    <a:pt x="9631" y="13193"/>
                  </a:cubicBezTo>
                  <a:cubicBezTo>
                    <a:pt x="9688" y="13193"/>
                    <a:pt x="9748" y="13176"/>
                    <a:pt x="9771" y="13163"/>
                  </a:cubicBezTo>
                  <a:cubicBezTo>
                    <a:pt x="9788" y="13148"/>
                    <a:pt x="9580" y="12994"/>
                    <a:pt x="9305" y="12816"/>
                  </a:cubicBezTo>
                  <a:cubicBezTo>
                    <a:pt x="9029" y="12638"/>
                    <a:pt x="8784" y="12455"/>
                    <a:pt x="8766" y="12409"/>
                  </a:cubicBezTo>
                  <a:cubicBezTo>
                    <a:pt x="8748" y="12363"/>
                    <a:pt x="8702" y="12297"/>
                    <a:pt x="8676" y="12259"/>
                  </a:cubicBezTo>
                  <a:cubicBezTo>
                    <a:pt x="8650" y="12222"/>
                    <a:pt x="8568" y="12119"/>
                    <a:pt x="8493" y="12031"/>
                  </a:cubicBezTo>
                  <a:cubicBezTo>
                    <a:pt x="8424" y="11941"/>
                    <a:pt x="8375" y="11833"/>
                    <a:pt x="8387" y="11789"/>
                  </a:cubicBezTo>
                  <a:cubicBezTo>
                    <a:pt x="8403" y="11746"/>
                    <a:pt x="8449" y="11696"/>
                    <a:pt x="8481" y="11673"/>
                  </a:cubicBezTo>
                  <a:cubicBezTo>
                    <a:pt x="8519" y="11653"/>
                    <a:pt x="8514" y="11596"/>
                    <a:pt x="8462" y="11547"/>
                  </a:cubicBezTo>
                  <a:cubicBezTo>
                    <a:pt x="8418" y="11496"/>
                    <a:pt x="8302" y="11411"/>
                    <a:pt x="8214" y="11357"/>
                  </a:cubicBezTo>
                  <a:cubicBezTo>
                    <a:pt x="8128" y="11302"/>
                    <a:pt x="8016" y="11240"/>
                    <a:pt x="7968" y="11218"/>
                  </a:cubicBezTo>
                  <a:cubicBezTo>
                    <a:pt x="7920" y="11196"/>
                    <a:pt x="7908" y="11151"/>
                    <a:pt x="7931" y="11117"/>
                  </a:cubicBezTo>
                  <a:cubicBezTo>
                    <a:pt x="7962" y="11084"/>
                    <a:pt x="7931" y="11012"/>
                    <a:pt x="7883" y="10955"/>
                  </a:cubicBezTo>
                  <a:cubicBezTo>
                    <a:pt x="7822" y="10901"/>
                    <a:pt x="7788" y="10817"/>
                    <a:pt x="7792" y="10771"/>
                  </a:cubicBezTo>
                  <a:cubicBezTo>
                    <a:pt x="7797" y="10725"/>
                    <a:pt x="7837" y="10689"/>
                    <a:pt x="7883" y="10689"/>
                  </a:cubicBezTo>
                  <a:cubicBezTo>
                    <a:pt x="7927" y="10685"/>
                    <a:pt x="7942" y="10640"/>
                    <a:pt x="7905" y="10578"/>
                  </a:cubicBezTo>
                  <a:cubicBezTo>
                    <a:pt x="7876" y="10516"/>
                    <a:pt x="7761" y="10377"/>
                    <a:pt x="7667" y="10267"/>
                  </a:cubicBezTo>
                  <a:cubicBezTo>
                    <a:pt x="7562" y="10159"/>
                    <a:pt x="7446" y="10047"/>
                    <a:pt x="7394" y="10021"/>
                  </a:cubicBezTo>
                  <a:cubicBezTo>
                    <a:pt x="7342" y="9995"/>
                    <a:pt x="7230" y="9902"/>
                    <a:pt x="7137" y="9817"/>
                  </a:cubicBezTo>
                  <a:cubicBezTo>
                    <a:pt x="7049" y="9730"/>
                    <a:pt x="6915" y="9619"/>
                    <a:pt x="6844" y="9569"/>
                  </a:cubicBezTo>
                  <a:cubicBezTo>
                    <a:pt x="6772" y="9520"/>
                    <a:pt x="6631" y="9429"/>
                    <a:pt x="6537" y="9365"/>
                  </a:cubicBezTo>
                  <a:cubicBezTo>
                    <a:pt x="6437" y="9304"/>
                    <a:pt x="6339" y="9228"/>
                    <a:pt x="6311" y="9201"/>
                  </a:cubicBezTo>
                  <a:cubicBezTo>
                    <a:pt x="6283" y="9173"/>
                    <a:pt x="6198" y="9116"/>
                    <a:pt x="6130" y="9072"/>
                  </a:cubicBezTo>
                  <a:cubicBezTo>
                    <a:pt x="6057" y="9030"/>
                    <a:pt x="5939" y="8933"/>
                    <a:pt x="5866" y="8859"/>
                  </a:cubicBezTo>
                  <a:cubicBezTo>
                    <a:pt x="5789" y="8786"/>
                    <a:pt x="5716" y="8682"/>
                    <a:pt x="5689" y="8630"/>
                  </a:cubicBezTo>
                  <a:cubicBezTo>
                    <a:pt x="5668" y="8578"/>
                    <a:pt x="5698" y="8530"/>
                    <a:pt x="5761" y="8527"/>
                  </a:cubicBezTo>
                  <a:cubicBezTo>
                    <a:pt x="5823" y="8520"/>
                    <a:pt x="5837" y="8460"/>
                    <a:pt x="5793" y="8390"/>
                  </a:cubicBezTo>
                  <a:cubicBezTo>
                    <a:pt x="5749" y="8319"/>
                    <a:pt x="5731" y="8244"/>
                    <a:pt x="5753" y="8222"/>
                  </a:cubicBezTo>
                  <a:cubicBezTo>
                    <a:pt x="5775" y="8200"/>
                    <a:pt x="5764" y="8132"/>
                    <a:pt x="5727" y="8069"/>
                  </a:cubicBezTo>
                  <a:cubicBezTo>
                    <a:pt x="5691" y="8006"/>
                    <a:pt x="5593" y="7908"/>
                    <a:pt x="5514" y="7851"/>
                  </a:cubicBezTo>
                  <a:cubicBezTo>
                    <a:pt x="5435" y="7795"/>
                    <a:pt x="5312" y="7673"/>
                    <a:pt x="5249" y="7580"/>
                  </a:cubicBezTo>
                  <a:cubicBezTo>
                    <a:pt x="5187" y="7486"/>
                    <a:pt x="5146" y="7399"/>
                    <a:pt x="5172" y="7385"/>
                  </a:cubicBezTo>
                  <a:cubicBezTo>
                    <a:pt x="5193" y="7371"/>
                    <a:pt x="5176" y="7274"/>
                    <a:pt x="5126" y="7168"/>
                  </a:cubicBezTo>
                  <a:cubicBezTo>
                    <a:pt x="5080" y="7061"/>
                    <a:pt x="5059" y="6950"/>
                    <a:pt x="5087" y="6922"/>
                  </a:cubicBezTo>
                  <a:cubicBezTo>
                    <a:pt x="5105" y="6891"/>
                    <a:pt x="5140" y="6797"/>
                    <a:pt x="5157" y="6710"/>
                  </a:cubicBezTo>
                  <a:cubicBezTo>
                    <a:pt x="5164" y="6621"/>
                    <a:pt x="5215" y="6525"/>
                    <a:pt x="5263" y="6497"/>
                  </a:cubicBezTo>
                  <a:cubicBezTo>
                    <a:pt x="5310" y="6469"/>
                    <a:pt x="5385" y="6440"/>
                    <a:pt x="5429" y="6434"/>
                  </a:cubicBezTo>
                  <a:cubicBezTo>
                    <a:pt x="5474" y="6428"/>
                    <a:pt x="5535" y="6407"/>
                    <a:pt x="5556" y="6385"/>
                  </a:cubicBezTo>
                  <a:cubicBezTo>
                    <a:pt x="5588" y="6367"/>
                    <a:pt x="5572" y="6333"/>
                    <a:pt x="5538" y="6312"/>
                  </a:cubicBezTo>
                  <a:cubicBezTo>
                    <a:pt x="5503" y="6293"/>
                    <a:pt x="5451" y="6241"/>
                    <a:pt x="5422" y="6197"/>
                  </a:cubicBezTo>
                  <a:cubicBezTo>
                    <a:pt x="5391" y="6155"/>
                    <a:pt x="5343" y="6097"/>
                    <a:pt x="5309" y="6072"/>
                  </a:cubicBezTo>
                  <a:cubicBezTo>
                    <a:pt x="5278" y="6047"/>
                    <a:pt x="5213" y="6010"/>
                    <a:pt x="5172" y="5988"/>
                  </a:cubicBezTo>
                  <a:cubicBezTo>
                    <a:pt x="5126" y="5969"/>
                    <a:pt x="5092" y="5927"/>
                    <a:pt x="5084" y="5899"/>
                  </a:cubicBezTo>
                  <a:cubicBezTo>
                    <a:pt x="5077" y="5872"/>
                    <a:pt x="5104" y="5838"/>
                    <a:pt x="5142" y="5825"/>
                  </a:cubicBezTo>
                  <a:cubicBezTo>
                    <a:pt x="5183" y="5816"/>
                    <a:pt x="5195" y="5770"/>
                    <a:pt x="5169" y="5732"/>
                  </a:cubicBezTo>
                  <a:cubicBezTo>
                    <a:pt x="5149" y="5692"/>
                    <a:pt x="5062" y="5617"/>
                    <a:pt x="4975" y="5566"/>
                  </a:cubicBezTo>
                  <a:cubicBezTo>
                    <a:pt x="4890" y="5515"/>
                    <a:pt x="4784" y="5427"/>
                    <a:pt x="4740" y="5372"/>
                  </a:cubicBezTo>
                  <a:cubicBezTo>
                    <a:pt x="4692" y="5317"/>
                    <a:pt x="4660" y="5247"/>
                    <a:pt x="4683" y="5220"/>
                  </a:cubicBezTo>
                  <a:cubicBezTo>
                    <a:pt x="4690" y="5191"/>
                    <a:pt x="4686" y="5144"/>
                    <a:pt x="4656" y="5113"/>
                  </a:cubicBezTo>
                  <a:cubicBezTo>
                    <a:pt x="4623" y="5084"/>
                    <a:pt x="4542" y="5029"/>
                    <a:pt x="4469" y="4992"/>
                  </a:cubicBezTo>
                  <a:cubicBezTo>
                    <a:pt x="4398" y="4955"/>
                    <a:pt x="4328" y="4896"/>
                    <a:pt x="4335" y="4859"/>
                  </a:cubicBezTo>
                  <a:cubicBezTo>
                    <a:pt x="4329" y="4822"/>
                    <a:pt x="4558" y="4751"/>
                    <a:pt x="4836" y="4705"/>
                  </a:cubicBezTo>
                  <a:cubicBezTo>
                    <a:pt x="5117" y="4659"/>
                    <a:pt x="5326" y="4479"/>
                    <a:pt x="5303" y="4310"/>
                  </a:cubicBezTo>
                  <a:cubicBezTo>
                    <a:pt x="5280" y="4140"/>
                    <a:pt x="5212" y="3960"/>
                    <a:pt x="5153" y="3910"/>
                  </a:cubicBezTo>
                  <a:cubicBezTo>
                    <a:pt x="5090" y="3861"/>
                    <a:pt x="5007" y="3813"/>
                    <a:pt x="4965" y="3816"/>
                  </a:cubicBezTo>
                  <a:cubicBezTo>
                    <a:pt x="4924" y="3810"/>
                    <a:pt x="4884" y="3828"/>
                    <a:pt x="4871" y="3845"/>
                  </a:cubicBezTo>
                  <a:cubicBezTo>
                    <a:pt x="4862" y="3863"/>
                    <a:pt x="4790" y="3869"/>
                    <a:pt x="4714" y="3856"/>
                  </a:cubicBezTo>
                  <a:cubicBezTo>
                    <a:pt x="4635" y="3846"/>
                    <a:pt x="4270" y="3548"/>
                    <a:pt x="3895" y="3196"/>
                  </a:cubicBezTo>
                  <a:cubicBezTo>
                    <a:pt x="3522" y="2843"/>
                    <a:pt x="3079" y="2473"/>
                    <a:pt x="2903" y="2377"/>
                  </a:cubicBezTo>
                  <a:cubicBezTo>
                    <a:pt x="2730" y="2280"/>
                    <a:pt x="2538" y="2170"/>
                    <a:pt x="2484" y="2130"/>
                  </a:cubicBezTo>
                  <a:cubicBezTo>
                    <a:pt x="2424" y="2092"/>
                    <a:pt x="2396" y="1994"/>
                    <a:pt x="2425" y="1917"/>
                  </a:cubicBezTo>
                  <a:cubicBezTo>
                    <a:pt x="2444" y="1837"/>
                    <a:pt x="2439" y="1744"/>
                    <a:pt x="2403" y="1707"/>
                  </a:cubicBezTo>
                  <a:cubicBezTo>
                    <a:pt x="2364" y="1671"/>
                    <a:pt x="2341" y="1605"/>
                    <a:pt x="2352" y="1562"/>
                  </a:cubicBezTo>
                  <a:cubicBezTo>
                    <a:pt x="2362" y="1518"/>
                    <a:pt x="2347" y="1460"/>
                    <a:pt x="2325" y="1432"/>
                  </a:cubicBezTo>
                  <a:cubicBezTo>
                    <a:pt x="2302" y="1404"/>
                    <a:pt x="2159" y="1315"/>
                    <a:pt x="2000" y="1237"/>
                  </a:cubicBezTo>
                  <a:cubicBezTo>
                    <a:pt x="1848" y="1155"/>
                    <a:pt x="1660" y="1057"/>
                    <a:pt x="1605" y="1012"/>
                  </a:cubicBezTo>
                  <a:cubicBezTo>
                    <a:pt x="1544" y="967"/>
                    <a:pt x="1461" y="882"/>
                    <a:pt x="1419" y="824"/>
                  </a:cubicBezTo>
                  <a:cubicBezTo>
                    <a:pt x="1382" y="764"/>
                    <a:pt x="1327" y="701"/>
                    <a:pt x="1310" y="681"/>
                  </a:cubicBezTo>
                  <a:cubicBezTo>
                    <a:pt x="1286" y="663"/>
                    <a:pt x="1274" y="620"/>
                    <a:pt x="1270" y="589"/>
                  </a:cubicBezTo>
                  <a:cubicBezTo>
                    <a:pt x="1264" y="557"/>
                    <a:pt x="1245" y="505"/>
                    <a:pt x="1222" y="471"/>
                  </a:cubicBezTo>
                  <a:cubicBezTo>
                    <a:pt x="1200" y="439"/>
                    <a:pt x="1149" y="395"/>
                    <a:pt x="1112" y="373"/>
                  </a:cubicBezTo>
                  <a:cubicBezTo>
                    <a:pt x="1077" y="351"/>
                    <a:pt x="988" y="302"/>
                    <a:pt x="917" y="264"/>
                  </a:cubicBezTo>
                  <a:cubicBezTo>
                    <a:pt x="845" y="226"/>
                    <a:pt x="769" y="158"/>
                    <a:pt x="743" y="114"/>
                  </a:cubicBezTo>
                  <a:cubicBezTo>
                    <a:pt x="715" y="71"/>
                    <a:pt x="651" y="22"/>
                    <a:pt x="596" y="8"/>
                  </a:cubicBezTo>
                  <a:cubicBezTo>
                    <a:pt x="583" y="4"/>
                    <a:pt x="570" y="1"/>
                    <a:pt x="557" y="0"/>
                  </a:cubicBezTo>
                  <a:cubicBezTo>
                    <a:pt x="555" y="0"/>
                    <a:pt x="555" y="1"/>
                    <a:pt x="554" y="0"/>
                  </a:cubicBezTo>
                  <a:cubicBezTo>
                    <a:pt x="533" y="-1"/>
                    <a:pt x="514" y="2"/>
                    <a:pt x="499" y="6"/>
                  </a:cubicBezTo>
                  <a:cubicBezTo>
                    <a:pt x="488" y="11"/>
                    <a:pt x="475" y="16"/>
                    <a:pt x="470" y="25"/>
                  </a:cubicBezTo>
                  <a:cubicBezTo>
                    <a:pt x="448" y="47"/>
                    <a:pt x="436" y="91"/>
                    <a:pt x="436" y="117"/>
                  </a:cubicBezTo>
                  <a:cubicBezTo>
                    <a:pt x="430" y="144"/>
                    <a:pt x="484" y="194"/>
                    <a:pt x="544" y="232"/>
                  </a:cubicBezTo>
                  <a:cubicBezTo>
                    <a:pt x="607" y="269"/>
                    <a:pt x="653" y="319"/>
                    <a:pt x="646" y="344"/>
                  </a:cubicBezTo>
                  <a:cubicBezTo>
                    <a:pt x="636" y="369"/>
                    <a:pt x="595" y="398"/>
                    <a:pt x="555" y="413"/>
                  </a:cubicBezTo>
                  <a:cubicBezTo>
                    <a:pt x="513" y="427"/>
                    <a:pt x="446" y="428"/>
                    <a:pt x="409" y="419"/>
                  </a:cubicBezTo>
                  <a:cubicBezTo>
                    <a:pt x="371" y="408"/>
                    <a:pt x="302" y="413"/>
                    <a:pt x="255" y="428"/>
                  </a:cubicBezTo>
                  <a:cubicBezTo>
                    <a:pt x="209" y="445"/>
                    <a:pt x="122" y="465"/>
                    <a:pt x="65" y="475"/>
                  </a:cubicBezTo>
                  <a:cubicBezTo>
                    <a:pt x="9" y="488"/>
                    <a:pt x="-17" y="507"/>
                    <a:pt x="13" y="524"/>
                  </a:cubicBezTo>
                  <a:cubicBezTo>
                    <a:pt x="45" y="540"/>
                    <a:pt x="89" y="595"/>
                    <a:pt x="119" y="643"/>
                  </a:cubicBezTo>
                  <a:cubicBezTo>
                    <a:pt x="149" y="691"/>
                    <a:pt x="183" y="758"/>
                    <a:pt x="189" y="792"/>
                  </a:cubicBezTo>
                  <a:cubicBezTo>
                    <a:pt x="200" y="826"/>
                    <a:pt x="234" y="895"/>
                    <a:pt x="273" y="943"/>
                  </a:cubicBezTo>
                  <a:cubicBezTo>
                    <a:pt x="312" y="991"/>
                    <a:pt x="424" y="1138"/>
                    <a:pt x="527" y="1269"/>
                  </a:cubicBezTo>
                  <a:cubicBezTo>
                    <a:pt x="631" y="1399"/>
                    <a:pt x="732" y="1544"/>
                    <a:pt x="759" y="1590"/>
                  </a:cubicBezTo>
                  <a:cubicBezTo>
                    <a:pt x="784" y="1636"/>
                    <a:pt x="798" y="1699"/>
                    <a:pt x="805" y="1730"/>
                  </a:cubicBezTo>
                  <a:cubicBezTo>
                    <a:pt x="805" y="1761"/>
                    <a:pt x="792" y="1798"/>
                    <a:pt x="771" y="1812"/>
                  </a:cubicBezTo>
                  <a:cubicBezTo>
                    <a:pt x="750" y="1826"/>
                    <a:pt x="779" y="1892"/>
                    <a:pt x="832" y="1958"/>
                  </a:cubicBezTo>
                  <a:cubicBezTo>
                    <a:pt x="885" y="2024"/>
                    <a:pt x="983" y="2131"/>
                    <a:pt x="1046" y="2198"/>
                  </a:cubicBezTo>
                  <a:cubicBezTo>
                    <a:pt x="1115" y="2263"/>
                    <a:pt x="1210" y="2366"/>
                    <a:pt x="1276" y="2422"/>
                  </a:cubicBezTo>
                  <a:cubicBezTo>
                    <a:pt x="1340" y="2478"/>
                    <a:pt x="1424" y="2595"/>
                    <a:pt x="1468" y="2679"/>
                  </a:cubicBezTo>
                  <a:cubicBezTo>
                    <a:pt x="1513" y="2762"/>
                    <a:pt x="1539" y="2848"/>
                    <a:pt x="1543" y="2868"/>
                  </a:cubicBezTo>
                  <a:cubicBezTo>
                    <a:pt x="1543" y="2890"/>
                    <a:pt x="1530" y="2917"/>
                    <a:pt x="1530" y="2930"/>
                  </a:cubicBezTo>
                  <a:cubicBezTo>
                    <a:pt x="1527" y="2943"/>
                    <a:pt x="1583" y="3048"/>
                    <a:pt x="1651" y="3163"/>
                  </a:cubicBezTo>
                  <a:cubicBezTo>
                    <a:pt x="1723" y="3277"/>
                    <a:pt x="1789" y="3394"/>
                    <a:pt x="1807" y="3421"/>
                  </a:cubicBezTo>
                  <a:cubicBezTo>
                    <a:pt x="1819" y="3449"/>
                    <a:pt x="1810" y="3478"/>
                    <a:pt x="1777" y="3485"/>
                  </a:cubicBezTo>
                  <a:cubicBezTo>
                    <a:pt x="1743" y="3488"/>
                    <a:pt x="1694" y="3503"/>
                    <a:pt x="1669" y="3515"/>
                  </a:cubicBezTo>
                  <a:cubicBezTo>
                    <a:pt x="1638" y="3520"/>
                    <a:pt x="1651" y="3583"/>
                    <a:pt x="1691" y="3646"/>
                  </a:cubicBezTo>
                  <a:cubicBezTo>
                    <a:pt x="1736" y="3709"/>
                    <a:pt x="1786" y="3777"/>
                    <a:pt x="1811" y="3796"/>
                  </a:cubicBezTo>
                  <a:cubicBezTo>
                    <a:pt x="1838" y="3815"/>
                    <a:pt x="1888" y="3827"/>
                    <a:pt x="1908" y="3814"/>
                  </a:cubicBezTo>
                  <a:cubicBezTo>
                    <a:pt x="1931" y="3803"/>
                    <a:pt x="1979" y="3809"/>
                    <a:pt x="2006" y="3824"/>
                  </a:cubicBezTo>
                  <a:cubicBezTo>
                    <a:pt x="2029" y="3841"/>
                    <a:pt x="2034" y="3861"/>
                    <a:pt x="2014" y="3874"/>
                  </a:cubicBezTo>
                  <a:cubicBezTo>
                    <a:pt x="1989" y="3886"/>
                    <a:pt x="2050" y="4033"/>
                    <a:pt x="2143" y="4197"/>
                  </a:cubicBezTo>
                  <a:cubicBezTo>
                    <a:pt x="2238" y="4360"/>
                    <a:pt x="2378" y="4549"/>
                    <a:pt x="2449" y="4618"/>
                  </a:cubicBezTo>
                  <a:cubicBezTo>
                    <a:pt x="2526" y="4685"/>
                    <a:pt x="2610" y="4782"/>
                    <a:pt x="2648" y="4831"/>
                  </a:cubicBezTo>
                  <a:cubicBezTo>
                    <a:pt x="2683" y="4880"/>
                    <a:pt x="2721" y="4952"/>
                    <a:pt x="2737" y="4990"/>
                  </a:cubicBezTo>
                  <a:cubicBezTo>
                    <a:pt x="2744" y="5029"/>
                    <a:pt x="2748" y="5088"/>
                    <a:pt x="2725" y="5121"/>
                  </a:cubicBezTo>
                  <a:cubicBezTo>
                    <a:pt x="2700" y="5153"/>
                    <a:pt x="2705" y="5214"/>
                    <a:pt x="2731" y="5254"/>
                  </a:cubicBezTo>
                  <a:cubicBezTo>
                    <a:pt x="2755" y="5293"/>
                    <a:pt x="2837" y="5376"/>
                    <a:pt x="2920" y="5435"/>
                  </a:cubicBezTo>
                  <a:cubicBezTo>
                    <a:pt x="2997" y="5497"/>
                    <a:pt x="3074" y="5569"/>
                    <a:pt x="3080" y="5599"/>
                  </a:cubicBezTo>
                  <a:cubicBezTo>
                    <a:pt x="3093" y="5628"/>
                    <a:pt x="3133" y="5714"/>
                    <a:pt x="3167" y="5790"/>
                  </a:cubicBezTo>
                  <a:cubicBezTo>
                    <a:pt x="3206" y="5866"/>
                    <a:pt x="3231" y="5946"/>
                    <a:pt x="3220" y="5969"/>
                  </a:cubicBezTo>
                  <a:cubicBezTo>
                    <a:pt x="3207" y="5992"/>
                    <a:pt x="3219" y="6045"/>
                    <a:pt x="3244" y="6086"/>
                  </a:cubicBezTo>
                  <a:cubicBezTo>
                    <a:pt x="3272" y="6127"/>
                    <a:pt x="3317" y="6179"/>
                    <a:pt x="3339" y="6204"/>
                  </a:cubicBezTo>
                  <a:cubicBezTo>
                    <a:pt x="3366" y="6228"/>
                    <a:pt x="3399" y="6262"/>
                    <a:pt x="3408" y="6281"/>
                  </a:cubicBezTo>
                  <a:cubicBezTo>
                    <a:pt x="3417" y="6300"/>
                    <a:pt x="3409" y="6338"/>
                    <a:pt x="3391" y="6369"/>
                  </a:cubicBezTo>
                  <a:cubicBezTo>
                    <a:pt x="3373" y="6399"/>
                    <a:pt x="3372" y="6454"/>
                    <a:pt x="3391" y="6492"/>
                  </a:cubicBezTo>
                  <a:cubicBezTo>
                    <a:pt x="3411" y="6530"/>
                    <a:pt x="3422" y="6578"/>
                    <a:pt x="3407" y="6597"/>
                  </a:cubicBezTo>
                  <a:cubicBezTo>
                    <a:pt x="3392" y="6616"/>
                    <a:pt x="3425" y="6673"/>
                    <a:pt x="3468" y="6723"/>
                  </a:cubicBezTo>
                  <a:cubicBezTo>
                    <a:pt x="3514" y="6772"/>
                    <a:pt x="3556" y="6828"/>
                    <a:pt x="3556" y="6846"/>
                  </a:cubicBezTo>
                  <a:cubicBezTo>
                    <a:pt x="3560" y="6865"/>
                    <a:pt x="3560" y="6918"/>
                    <a:pt x="3546" y="6965"/>
                  </a:cubicBezTo>
                  <a:cubicBezTo>
                    <a:pt x="3540" y="7013"/>
                    <a:pt x="3542" y="7070"/>
                    <a:pt x="3559" y="7093"/>
                  </a:cubicBezTo>
                  <a:cubicBezTo>
                    <a:pt x="3568" y="7117"/>
                    <a:pt x="3645" y="7176"/>
                    <a:pt x="3720" y="7225"/>
                  </a:cubicBezTo>
                  <a:cubicBezTo>
                    <a:pt x="3794" y="7274"/>
                    <a:pt x="3884" y="7351"/>
                    <a:pt x="3921" y="7395"/>
                  </a:cubicBezTo>
                  <a:cubicBezTo>
                    <a:pt x="3957" y="7438"/>
                    <a:pt x="4026" y="7499"/>
                    <a:pt x="4074" y="7531"/>
                  </a:cubicBezTo>
                  <a:cubicBezTo>
                    <a:pt x="4121" y="7563"/>
                    <a:pt x="4137" y="7595"/>
                    <a:pt x="4109" y="7602"/>
                  </a:cubicBezTo>
                  <a:cubicBezTo>
                    <a:pt x="4080" y="7610"/>
                    <a:pt x="4061" y="7640"/>
                    <a:pt x="4054" y="7668"/>
                  </a:cubicBezTo>
                  <a:cubicBezTo>
                    <a:pt x="4051" y="7695"/>
                    <a:pt x="4094" y="7744"/>
                    <a:pt x="4147" y="7776"/>
                  </a:cubicBezTo>
                  <a:cubicBezTo>
                    <a:pt x="4198" y="7808"/>
                    <a:pt x="4222" y="7847"/>
                    <a:pt x="4203" y="7865"/>
                  </a:cubicBezTo>
                  <a:cubicBezTo>
                    <a:pt x="4185" y="7884"/>
                    <a:pt x="4140" y="7901"/>
                    <a:pt x="4110" y="7901"/>
                  </a:cubicBezTo>
                  <a:cubicBezTo>
                    <a:pt x="4079" y="7901"/>
                    <a:pt x="4070" y="7935"/>
                    <a:pt x="4096" y="7970"/>
                  </a:cubicBezTo>
                  <a:cubicBezTo>
                    <a:pt x="4118" y="8007"/>
                    <a:pt x="4162" y="8066"/>
                    <a:pt x="4198" y="8098"/>
                  </a:cubicBezTo>
                  <a:cubicBezTo>
                    <a:pt x="4226" y="8134"/>
                    <a:pt x="4277" y="8186"/>
                    <a:pt x="4304" y="8216"/>
                  </a:cubicBezTo>
                  <a:cubicBezTo>
                    <a:pt x="4328" y="8247"/>
                    <a:pt x="4450" y="8350"/>
                    <a:pt x="4565" y="8446"/>
                  </a:cubicBezTo>
                  <a:cubicBezTo>
                    <a:pt x="4683" y="8542"/>
                    <a:pt x="4806" y="8658"/>
                    <a:pt x="4839" y="8705"/>
                  </a:cubicBezTo>
                  <a:cubicBezTo>
                    <a:pt x="4871" y="8751"/>
                    <a:pt x="4880" y="8796"/>
                    <a:pt x="4871" y="8808"/>
                  </a:cubicBezTo>
                  <a:cubicBezTo>
                    <a:pt x="4851" y="8816"/>
                    <a:pt x="4865" y="8848"/>
                    <a:pt x="4888" y="8875"/>
                  </a:cubicBezTo>
                  <a:cubicBezTo>
                    <a:pt x="4916" y="8900"/>
                    <a:pt x="4998" y="8965"/>
                    <a:pt x="5083" y="9017"/>
                  </a:cubicBezTo>
                  <a:cubicBezTo>
                    <a:pt x="5164" y="9071"/>
                    <a:pt x="5271" y="9153"/>
                    <a:pt x="5305" y="9203"/>
                  </a:cubicBezTo>
                  <a:cubicBezTo>
                    <a:pt x="5344" y="9252"/>
                    <a:pt x="5379" y="9318"/>
                    <a:pt x="5388" y="9349"/>
                  </a:cubicBezTo>
                  <a:cubicBezTo>
                    <a:pt x="5388" y="9379"/>
                    <a:pt x="5411" y="9416"/>
                    <a:pt x="5421" y="9430"/>
                  </a:cubicBezTo>
                  <a:cubicBezTo>
                    <a:pt x="5435" y="9444"/>
                    <a:pt x="5466" y="9478"/>
                    <a:pt x="5498" y="9504"/>
                  </a:cubicBezTo>
                  <a:cubicBezTo>
                    <a:pt x="5532" y="9529"/>
                    <a:pt x="5554" y="9568"/>
                    <a:pt x="5566" y="9586"/>
                  </a:cubicBezTo>
                  <a:cubicBezTo>
                    <a:pt x="5571" y="9606"/>
                    <a:pt x="5584" y="9639"/>
                    <a:pt x="5586" y="9660"/>
                  </a:cubicBezTo>
                  <a:cubicBezTo>
                    <a:pt x="5583" y="9681"/>
                    <a:pt x="5612" y="9712"/>
                    <a:pt x="5639" y="9729"/>
                  </a:cubicBezTo>
                  <a:cubicBezTo>
                    <a:pt x="5660" y="9747"/>
                    <a:pt x="5759" y="9801"/>
                    <a:pt x="5846" y="9855"/>
                  </a:cubicBezTo>
                  <a:cubicBezTo>
                    <a:pt x="5935" y="9909"/>
                    <a:pt x="6025" y="9974"/>
                    <a:pt x="6052" y="9998"/>
                  </a:cubicBezTo>
                  <a:cubicBezTo>
                    <a:pt x="6076" y="10023"/>
                    <a:pt x="6079" y="10057"/>
                    <a:pt x="6076" y="10076"/>
                  </a:cubicBezTo>
                  <a:cubicBezTo>
                    <a:pt x="6063" y="10093"/>
                    <a:pt x="6030" y="10111"/>
                    <a:pt x="6001" y="10118"/>
                  </a:cubicBezTo>
                  <a:cubicBezTo>
                    <a:pt x="5970" y="10120"/>
                    <a:pt x="5944" y="10153"/>
                    <a:pt x="5932" y="10183"/>
                  </a:cubicBezTo>
                  <a:cubicBezTo>
                    <a:pt x="5922" y="10214"/>
                    <a:pt x="5920" y="10250"/>
                    <a:pt x="5934" y="10261"/>
                  </a:cubicBezTo>
                  <a:cubicBezTo>
                    <a:pt x="5937" y="10273"/>
                    <a:pt x="5974" y="10295"/>
                    <a:pt x="6004" y="10311"/>
                  </a:cubicBezTo>
                  <a:cubicBezTo>
                    <a:pt x="6031" y="10329"/>
                    <a:pt x="6061" y="10365"/>
                    <a:pt x="6068" y="10393"/>
                  </a:cubicBezTo>
                  <a:cubicBezTo>
                    <a:pt x="6064" y="10421"/>
                    <a:pt x="6061" y="10453"/>
                    <a:pt x="6046" y="10465"/>
                  </a:cubicBezTo>
                  <a:cubicBezTo>
                    <a:pt x="6028" y="10476"/>
                    <a:pt x="6028" y="10504"/>
                    <a:pt x="6046" y="10526"/>
                  </a:cubicBezTo>
                  <a:cubicBezTo>
                    <a:pt x="6064" y="10548"/>
                    <a:pt x="6099" y="10597"/>
                    <a:pt x="6117" y="10636"/>
                  </a:cubicBezTo>
                  <a:cubicBezTo>
                    <a:pt x="6140" y="10675"/>
                    <a:pt x="6157" y="10721"/>
                    <a:pt x="6148" y="10738"/>
                  </a:cubicBezTo>
                  <a:cubicBezTo>
                    <a:pt x="6133" y="10754"/>
                    <a:pt x="6157" y="10789"/>
                    <a:pt x="6178" y="10814"/>
                  </a:cubicBezTo>
                  <a:cubicBezTo>
                    <a:pt x="6202" y="10838"/>
                    <a:pt x="6225" y="10869"/>
                    <a:pt x="6210" y="10874"/>
                  </a:cubicBezTo>
                  <a:cubicBezTo>
                    <a:pt x="6206" y="10884"/>
                    <a:pt x="6223" y="10915"/>
                    <a:pt x="6237" y="10947"/>
                  </a:cubicBezTo>
                  <a:cubicBezTo>
                    <a:pt x="6254" y="10978"/>
                    <a:pt x="6259" y="11012"/>
                    <a:pt x="6240" y="11022"/>
                  </a:cubicBezTo>
                  <a:cubicBezTo>
                    <a:pt x="6228" y="11033"/>
                    <a:pt x="6222" y="11052"/>
                    <a:pt x="6236" y="11067"/>
                  </a:cubicBezTo>
                  <a:cubicBezTo>
                    <a:pt x="6249" y="11082"/>
                    <a:pt x="6286" y="11110"/>
                    <a:pt x="6317" y="11128"/>
                  </a:cubicBezTo>
                  <a:cubicBezTo>
                    <a:pt x="6347" y="11146"/>
                    <a:pt x="6359" y="11175"/>
                    <a:pt x="6348" y="11193"/>
                  </a:cubicBezTo>
                  <a:cubicBezTo>
                    <a:pt x="6338" y="11211"/>
                    <a:pt x="6347" y="11253"/>
                    <a:pt x="6371" y="11288"/>
                  </a:cubicBezTo>
                  <a:cubicBezTo>
                    <a:pt x="6397" y="11323"/>
                    <a:pt x="6428" y="11368"/>
                    <a:pt x="6439" y="11388"/>
                  </a:cubicBezTo>
                  <a:cubicBezTo>
                    <a:pt x="6451" y="11409"/>
                    <a:pt x="6438" y="11428"/>
                    <a:pt x="6413" y="11434"/>
                  </a:cubicBezTo>
                  <a:cubicBezTo>
                    <a:pt x="6389" y="11441"/>
                    <a:pt x="6383" y="11463"/>
                    <a:pt x="6402" y="11487"/>
                  </a:cubicBezTo>
                  <a:cubicBezTo>
                    <a:pt x="6422" y="11511"/>
                    <a:pt x="6432" y="11541"/>
                    <a:pt x="6429" y="11553"/>
                  </a:cubicBezTo>
                  <a:cubicBezTo>
                    <a:pt x="6420" y="11565"/>
                    <a:pt x="6432" y="11590"/>
                    <a:pt x="6442" y="11608"/>
                  </a:cubicBezTo>
                  <a:cubicBezTo>
                    <a:pt x="6451" y="11626"/>
                    <a:pt x="6489" y="11660"/>
                    <a:pt x="6523" y="11685"/>
                  </a:cubicBezTo>
                  <a:cubicBezTo>
                    <a:pt x="6557" y="11709"/>
                    <a:pt x="6599" y="11751"/>
                    <a:pt x="6625" y="11776"/>
                  </a:cubicBezTo>
                  <a:cubicBezTo>
                    <a:pt x="6645" y="11803"/>
                    <a:pt x="6656" y="11836"/>
                    <a:pt x="6643" y="11851"/>
                  </a:cubicBezTo>
                  <a:cubicBezTo>
                    <a:pt x="6629" y="11866"/>
                    <a:pt x="6600" y="11871"/>
                    <a:pt x="6571" y="11871"/>
                  </a:cubicBezTo>
                  <a:cubicBezTo>
                    <a:pt x="6543" y="11865"/>
                    <a:pt x="6481" y="11851"/>
                    <a:pt x="6446" y="11830"/>
                  </a:cubicBezTo>
                  <a:cubicBezTo>
                    <a:pt x="6408" y="11811"/>
                    <a:pt x="6344" y="11798"/>
                    <a:pt x="6313" y="11792"/>
                  </a:cubicBezTo>
                  <a:cubicBezTo>
                    <a:pt x="6280" y="11788"/>
                    <a:pt x="6258" y="11798"/>
                    <a:pt x="6266" y="11813"/>
                  </a:cubicBezTo>
                  <a:cubicBezTo>
                    <a:pt x="6272" y="11827"/>
                    <a:pt x="6300" y="11864"/>
                    <a:pt x="6336" y="11892"/>
                  </a:cubicBezTo>
                  <a:cubicBezTo>
                    <a:pt x="6368" y="11920"/>
                    <a:pt x="6423" y="11975"/>
                    <a:pt x="6453" y="12014"/>
                  </a:cubicBezTo>
                  <a:cubicBezTo>
                    <a:pt x="6487" y="12052"/>
                    <a:pt x="6556" y="12112"/>
                    <a:pt x="6614" y="12143"/>
                  </a:cubicBezTo>
                  <a:cubicBezTo>
                    <a:pt x="6669" y="12175"/>
                    <a:pt x="6774" y="12229"/>
                    <a:pt x="6848" y="12263"/>
                  </a:cubicBezTo>
                  <a:cubicBezTo>
                    <a:pt x="6923" y="12296"/>
                    <a:pt x="7006" y="12347"/>
                    <a:pt x="7034" y="12374"/>
                  </a:cubicBezTo>
                  <a:cubicBezTo>
                    <a:pt x="7064" y="12401"/>
                    <a:pt x="7105" y="12449"/>
                    <a:pt x="7120" y="12481"/>
                  </a:cubicBezTo>
                  <a:cubicBezTo>
                    <a:pt x="7141" y="12511"/>
                    <a:pt x="7261" y="12604"/>
                    <a:pt x="7394" y="12684"/>
                  </a:cubicBezTo>
                  <a:cubicBezTo>
                    <a:pt x="7531" y="12764"/>
                    <a:pt x="7659" y="12848"/>
                    <a:pt x="7687" y="12868"/>
                  </a:cubicBezTo>
                  <a:cubicBezTo>
                    <a:pt x="7715" y="12888"/>
                    <a:pt x="7774" y="12922"/>
                    <a:pt x="7816" y="12943"/>
                  </a:cubicBezTo>
                  <a:cubicBezTo>
                    <a:pt x="7860" y="12963"/>
                    <a:pt x="7923" y="13013"/>
                    <a:pt x="7958" y="13055"/>
                  </a:cubicBezTo>
                  <a:cubicBezTo>
                    <a:pt x="7997" y="13096"/>
                    <a:pt x="8041" y="13170"/>
                    <a:pt x="8065" y="13218"/>
                  </a:cubicBezTo>
                  <a:cubicBezTo>
                    <a:pt x="8091" y="13267"/>
                    <a:pt x="8097" y="13309"/>
                    <a:pt x="8084" y="13313"/>
                  </a:cubicBezTo>
                  <a:cubicBezTo>
                    <a:pt x="8075" y="13319"/>
                    <a:pt x="8081" y="13334"/>
                    <a:pt x="8103" y="13353"/>
                  </a:cubicBezTo>
                  <a:cubicBezTo>
                    <a:pt x="8127" y="13372"/>
                    <a:pt x="8146" y="13399"/>
                    <a:pt x="8154" y="13412"/>
                  </a:cubicBezTo>
                  <a:cubicBezTo>
                    <a:pt x="8152" y="13426"/>
                    <a:pt x="8144" y="13429"/>
                    <a:pt x="8120" y="13420"/>
                  </a:cubicBezTo>
                  <a:cubicBezTo>
                    <a:pt x="8100" y="13410"/>
                    <a:pt x="8059" y="13397"/>
                    <a:pt x="8032" y="13397"/>
                  </a:cubicBezTo>
                  <a:cubicBezTo>
                    <a:pt x="8006" y="13393"/>
                    <a:pt x="7987" y="13405"/>
                    <a:pt x="7990" y="13422"/>
                  </a:cubicBezTo>
                  <a:cubicBezTo>
                    <a:pt x="7995" y="13441"/>
                    <a:pt x="8021" y="13476"/>
                    <a:pt x="8053" y="13501"/>
                  </a:cubicBezTo>
                  <a:cubicBezTo>
                    <a:pt x="8085" y="13526"/>
                    <a:pt x="8145" y="13564"/>
                    <a:pt x="8192" y="13582"/>
                  </a:cubicBezTo>
                  <a:cubicBezTo>
                    <a:pt x="8234" y="13604"/>
                    <a:pt x="8280" y="13654"/>
                    <a:pt x="8301" y="13697"/>
                  </a:cubicBezTo>
                  <a:cubicBezTo>
                    <a:pt x="8318" y="13740"/>
                    <a:pt x="8348" y="13795"/>
                    <a:pt x="8381" y="13817"/>
                  </a:cubicBezTo>
                  <a:cubicBezTo>
                    <a:pt x="8411" y="13840"/>
                    <a:pt x="8416" y="13865"/>
                    <a:pt x="8411" y="13874"/>
                  </a:cubicBezTo>
                  <a:cubicBezTo>
                    <a:pt x="8396" y="13882"/>
                    <a:pt x="8421" y="13904"/>
                    <a:pt x="8457" y="13921"/>
                  </a:cubicBezTo>
                  <a:cubicBezTo>
                    <a:pt x="8495" y="13937"/>
                    <a:pt x="8529" y="13962"/>
                    <a:pt x="8531" y="13976"/>
                  </a:cubicBezTo>
                  <a:cubicBezTo>
                    <a:pt x="8533" y="13990"/>
                    <a:pt x="8532" y="14005"/>
                    <a:pt x="8530" y="14011"/>
                  </a:cubicBezTo>
                  <a:cubicBezTo>
                    <a:pt x="8523" y="14015"/>
                    <a:pt x="8546" y="14032"/>
                    <a:pt x="8572" y="14048"/>
                  </a:cubicBezTo>
                  <a:cubicBezTo>
                    <a:pt x="8601" y="14063"/>
                    <a:pt x="8728" y="14134"/>
                    <a:pt x="8855" y="14208"/>
                  </a:cubicBezTo>
                  <a:cubicBezTo>
                    <a:pt x="8981" y="14281"/>
                    <a:pt x="9117" y="14352"/>
                    <a:pt x="9150" y="14369"/>
                  </a:cubicBezTo>
                  <a:cubicBezTo>
                    <a:pt x="9183" y="14384"/>
                    <a:pt x="9234" y="14417"/>
                    <a:pt x="9273" y="14436"/>
                  </a:cubicBezTo>
                  <a:cubicBezTo>
                    <a:pt x="9306" y="14458"/>
                    <a:pt x="9405" y="14499"/>
                    <a:pt x="9491" y="14529"/>
                  </a:cubicBezTo>
                  <a:cubicBezTo>
                    <a:pt x="9576" y="14558"/>
                    <a:pt x="9698" y="14587"/>
                    <a:pt x="9762" y="14594"/>
                  </a:cubicBezTo>
                  <a:cubicBezTo>
                    <a:pt x="9826" y="14600"/>
                    <a:pt x="9859" y="14579"/>
                    <a:pt x="9831" y="14548"/>
                  </a:cubicBezTo>
                  <a:cubicBezTo>
                    <a:pt x="9805" y="14517"/>
                    <a:pt x="9788" y="14487"/>
                    <a:pt x="9793" y="14482"/>
                  </a:cubicBezTo>
                  <a:cubicBezTo>
                    <a:pt x="9800" y="14478"/>
                    <a:pt x="9838" y="14486"/>
                    <a:pt x="9887" y="14493"/>
                  </a:cubicBezTo>
                  <a:cubicBezTo>
                    <a:pt x="9932" y="14506"/>
                    <a:pt x="10017" y="14536"/>
                    <a:pt x="10076" y="14564"/>
                  </a:cubicBezTo>
                  <a:cubicBezTo>
                    <a:pt x="10131" y="14595"/>
                    <a:pt x="10192" y="14616"/>
                    <a:pt x="10203" y="14614"/>
                  </a:cubicBezTo>
                  <a:cubicBezTo>
                    <a:pt x="10212" y="14610"/>
                    <a:pt x="10250" y="14615"/>
                    <a:pt x="10281" y="14619"/>
                  </a:cubicBezTo>
                  <a:cubicBezTo>
                    <a:pt x="10310" y="14625"/>
                    <a:pt x="10329" y="14637"/>
                    <a:pt x="10319" y="14649"/>
                  </a:cubicBezTo>
                  <a:cubicBezTo>
                    <a:pt x="10310" y="14661"/>
                    <a:pt x="10277" y="14685"/>
                    <a:pt x="10238" y="14691"/>
                  </a:cubicBezTo>
                  <a:cubicBezTo>
                    <a:pt x="10205" y="14704"/>
                    <a:pt x="10190" y="14723"/>
                    <a:pt x="10199" y="14739"/>
                  </a:cubicBezTo>
                  <a:cubicBezTo>
                    <a:pt x="10211" y="14754"/>
                    <a:pt x="10266" y="14779"/>
                    <a:pt x="10314" y="14797"/>
                  </a:cubicBezTo>
                  <a:cubicBezTo>
                    <a:pt x="10364" y="14814"/>
                    <a:pt x="10426" y="14830"/>
                    <a:pt x="10445" y="14824"/>
                  </a:cubicBezTo>
                  <a:cubicBezTo>
                    <a:pt x="10466" y="14820"/>
                    <a:pt x="10505" y="14835"/>
                    <a:pt x="10524" y="14854"/>
                  </a:cubicBezTo>
                  <a:cubicBezTo>
                    <a:pt x="10546" y="14872"/>
                    <a:pt x="10598" y="14920"/>
                    <a:pt x="10638" y="14961"/>
                  </a:cubicBezTo>
                  <a:cubicBezTo>
                    <a:pt x="10679" y="15002"/>
                    <a:pt x="10744" y="15050"/>
                    <a:pt x="10780" y="15068"/>
                  </a:cubicBezTo>
                  <a:cubicBezTo>
                    <a:pt x="10817" y="15086"/>
                    <a:pt x="10838" y="15103"/>
                    <a:pt x="10832" y="15107"/>
                  </a:cubicBezTo>
                  <a:cubicBezTo>
                    <a:pt x="10822" y="15107"/>
                    <a:pt x="10790" y="15099"/>
                    <a:pt x="10755" y="15082"/>
                  </a:cubicBezTo>
                  <a:cubicBezTo>
                    <a:pt x="10720" y="15066"/>
                    <a:pt x="10664" y="15034"/>
                    <a:pt x="10627" y="15011"/>
                  </a:cubicBezTo>
                  <a:cubicBezTo>
                    <a:pt x="10593" y="14988"/>
                    <a:pt x="10529" y="14963"/>
                    <a:pt x="10499" y="14949"/>
                  </a:cubicBezTo>
                  <a:cubicBezTo>
                    <a:pt x="10460" y="14941"/>
                    <a:pt x="10435" y="14934"/>
                    <a:pt x="10429" y="14943"/>
                  </a:cubicBezTo>
                  <a:cubicBezTo>
                    <a:pt x="10426" y="14951"/>
                    <a:pt x="10429" y="14969"/>
                    <a:pt x="10447" y="14980"/>
                  </a:cubicBezTo>
                  <a:cubicBezTo>
                    <a:pt x="10458" y="14994"/>
                    <a:pt x="10526" y="15022"/>
                    <a:pt x="10586" y="15049"/>
                  </a:cubicBezTo>
                  <a:cubicBezTo>
                    <a:pt x="10648" y="15074"/>
                    <a:pt x="10712" y="15107"/>
                    <a:pt x="10735" y="15119"/>
                  </a:cubicBezTo>
                  <a:cubicBezTo>
                    <a:pt x="10753" y="15133"/>
                    <a:pt x="10747" y="15143"/>
                    <a:pt x="10719" y="15140"/>
                  </a:cubicBezTo>
                  <a:cubicBezTo>
                    <a:pt x="10690" y="15140"/>
                    <a:pt x="10656" y="15140"/>
                    <a:pt x="10641" y="15143"/>
                  </a:cubicBezTo>
                  <a:cubicBezTo>
                    <a:pt x="10625" y="15143"/>
                    <a:pt x="10638" y="15173"/>
                    <a:pt x="10668" y="15202"/>
                  </a:cubicBezTo>
                  <a:cubicBezTo>
                    <a:pt x="10702" y="15229"/>
                    <a:pt x="10772" y="15274"/>
                    <a:pt x="10829" y="15302"/>
                  </a:cubicBezTo>
                  <a:cubicBezTo>
                    <a:pt x="10888" y="15329"/>
                    <a:pt x="10916" y="15358"/>
                    <a:pt x="10899" y="15371"/>
                  </a:cubicBezTo>
                  <a:cubicBezTo>
                    <a:pt x="10878" y="15382"/>
                    <a:pt x="10870" y="15404"/>
                    <a:pt x="10882" y="15418"/>
                  </a:cubicBezTo>
                  <a:cubicBezTo>
                    <a:pt x="10894" y="15432"/>
                    <a:pt x="10923" y="15452"/>
                    <a:pt x="10946" y="15463"/>
                  </a:cubicBezTo>
                  <a:cubicBezTo>
                    <a:pt x="10973" y="15472"/>
                    <a:pt x="10977" y="15496"/>
                    <a:pt x="10946" y="15503"/>
                  </a:cubicBezTo>
                  <a:cubicBezTo>
                    <a:pt x="10925" y="15516"/>
                    <a:pt x="10917" y="15535"/>
                    <a:pt x="10935" y="15548"/>
                  </a:cubicBezTo>
                  <a:cubicBezTo>
                    <a:pt x="10954" y="15560"/>
                    <a:pt x="11025" y="15593"/>
                    <a:pt x="11094" y="15620"/>
                  </a:cubicBezTo>
                  <a:cubicBezTo>
                    <a:pt x="11162" y="15647"/>
                    <a:pt x="11218" y="15681"/>
                    <a:pt x="11225" y="15696"/>
                  </a:cubicBezTo>
                  <a:cubicBezTo>
                    <a:pt x="11227" y="15711"/>
                    <a:pt x="11250" y="15743"/>
                    <a:pt x="11261" y="15770"/>
                  </a:cubicBezTo>
                  <a:cubicBezTo>
                    <a:pt x="11280" y="15794"/>
                    <a:pt x="11282" y="15824"/>
                    <a:pt x="11265" y="15834"/>
                  </a:cubicBezTo>
                  <a:cubicBezTo>
                    <a:pt x="11257" y="15845"/>
                    <a:pt x="11245" y="15863"/>
                    <a:pt x="11258" y="15876"/>
                  </a:cubicBezTo>
                  <a:cubicBezTo>
                    <a:pt x="11267" y="15889"/>
                    <a:pt x="11308" y="15912"/>
                    <a:pt x="11344" y="15929"/>
                  </a:cubicBezTo>
                  <a:cubicBezTo>
                    <a:pt x="11383" y="15944"/>
                    <a:pt x="11450" y="15969"/>
                    <a:pt x="11500" y="15979"/>
                  </a:cubicBezTo>
                  <a:cubicBezTo>
                    <a:pt x="11551" y="15990"/>
                    <a:pt x="11628" y="16016"/>
                    <a:pt x="11672" y="16036"/>
                  </a:cubicBezTo>
                  <a:cubicBezTo>
                    <a:pt x="11715" y="16056"/>
                    <a:pt x="11766" y="16088"/>
                    <a:pt x="11791" y="16104"/>
                  </a:cubicBezTo>
                  <a:cubicBezTo>
                    <a:pt x="11809" y="16123"/>
                    <a:pt x="11870" y="16145"/>
                    <a:pt x="11916" y="16159"/>
                  </a:cubicBezTo>
                  <a:cubicBezTo>
                    <a:pt x="11964" y="16170"/>
                    <a:pt x="12029" y="16195"/>
                    <a:pt x="12061" y="16213"/>
                  </a:cubicBezTo>
                  <a:cubicBezTo>
                    <a:pt x="12094" y="16231"/>
                    <a:pt x="12145" y="16272"/>
                    <a:pt x="12172" y="16305"/>
                  </a:cubicBezTo>
                  <a:cubicBezTo>
                    <a:pt x="12201" y="16338"/>
                    <a:pt x="12212" y="16378"/>
                    <a:pt x="12198" y="16394"/>
                  </a:cubicBezTo>
                  <a:cubicBezTo>
                    <a:pt x="12187" y="16410"/>
                    <a:pt x="12134" y="16429"/>
                    <a:pt x="12085" y="16429"/>
                  </a:cubicBezTo>
                  <a:cubicBezTo>
                    <a:pt x="12036" y="16429"/>
                    <a:pt x="11974" y="16426"/>
                    <a:pt x="11943" y="16423"/>
                  </a:cubicBezTo>
                  <a:cubicBezTo>
                    <a:pt x="11915" y="16416"/>
                    <a:pt x="11902" y="16428"/>
                    <a:pt x="11918" y="16447"/>
                  </a:cubicBezTo>
                  <a:cubicBezTo>
                    <a:pt x="11930" y="16467"/>
                    <a:pt x="11981" y="16505"/>
                    <a:pt x="12024" y="16533"/>
                  </a:cubicBezTo>
                  <a:cubicBezTo>
                    <a:pt x="12069" y="16559"/>
                    <a:pt x="12097" y="16588"/>
                    <a:pt x="12087" y="16593"/>
                  </a:cubicBezTo>
                  <a:cubicBezTo>
                    <a:pt x="12076" y="16598"/>
                    <a:pt x="12086" y="16615"/>
                    <a:pt x="12100" y="16629"/>
                  </a:cubicBezTo>
                  <a:cubicBezTo>
                    <a:pt x="12118" y="16641"/>
                    <a:pt x="12144" y="16663"/>
                    <a:pt x="12173" y="16670"/>
                  </a:cubicBezTo>
                  <a:cubicBezTo>
                    <a:pt x="12199" y="16679"/>
                    <a:pt x="12204" y="16697"/>
                    <a:pt x="12186" y="16707"/>
                  </a:cubicBezTo>
                  <a:cubicBezTo>
                    <a:pt x="12169" y="16718"/>
                    <a:pt x="12153" y="16749"/>
                    <a:pt x="12165" y="16775"/>
                  </a:cubicBezTo>
                  <a:cubicBezTo>
                    <a:pt x="12171" y="16801"/>
                    <a:pt x="12195" y="16842"/>
                    <a:pt x="12216" y="16865"/>
                  </a:cubicBezTo>
                  <a:cubicBezTo>
                    <a:pt x="12236" y="16889"/>
                    <a:pt x="12281" y="16917"/>
                    <a:pt x="12315" y="16927"/>
                  </a:cubicBezTo>
                  <a:cubicBezTo>
                    <a:pt x="12349" y="16938"/>
                    <a:pt x="12375" y="16955"/>
                    <a:pt x="12374" y="16964"/>
                  </a:cubicBezTo>
                  <a:cubicBezTo>
                    <a:pt x="12369" y="16973"/>
                    <a:pt x="12400" y="17014"/>
                    <a:pt x="12440" y="17051"/>
                  </a:cubicBezTo>
                  <a:cubicBezTo>
                    <a:pt x="12470" y="17090"/>
                    <a:pt x="12484" y="17117"/>
                    <a:pt x="12458" y="17120"/>
                  </a:cubicBezTo>
                  <a:cubicBezTo>
                    <a:pt x="12432" y="17120"/>
                    <a:pt x="12422" y="17134"/>
                    <a:pt x="12432" y="17153"/>
                  </a:cubicBezTo>
                  <a:cubicBezTo>
                    <a:pt x="12443" y="17171"/>
                    <a:pt x="12430" y="17172"/>
                    <a:pt x="12398" y="17157"/>
                  </a:cubicBezTo>
                  <a:cubicBezTo>
                    <a:pt x="12367" y="17142"/>
                    <a:pt x="12349" y="17124"/>
                    <a:pt x="12357" y="17118"/>
                  </a:cubicBezTo>
                  <a:cubicBezTo>
                    <a:pt x="12365" y="17112"/>
                    <a:pt x="12357" y="17083"/>
                    <a:pt x="12336" y="17054"/>
                  </a:cubicBezTo>
                  <a:cubicBezTo>
                    <a:pt x="12311" y="17025"/>
                    <a:pt x="12280" y="16984"/>
                    <a:pt x="12255" y="16965"/>
                  </a:cubicBezTo>
                  <a:cubicBezTo>
                    <a:pt x="12229" y="16947"/>
                    <a:pt x="12204" y="16924"/>
                    <a:pt x="12206" y="16915"/>
                  </a:cubicBezTo>
                  <a:cubicBezTo>
                    <a:pt x="12206" y="16907"/>
                    <a:pt x="12181" y="16895"/>
                    <a:pt x="12158" y="16886"/>
                  </a:cubicBezTo>
                  <a:cubicBezTo>
                    <a:pt x="12132" y="16879"/>
                    <a:pt x="12068" y="16866"/>
                    <a:pt x="12012" y="16863"/>
                  </a:cubicBezTo>
                  <a:cubicBezTo>
                    <a:pt x="11957" y="16857"/>
                    <a:pt x="11883" y="16854"/>
                    <a:pt x="11852" y="16860"/>
                  </a:cubicBezTo>
                  <a:cubicBezTo>
                    <a:pt x="11820" y="16863"/>
                    <a:pt x="11769" y="16861"/>
                    <a:pt x="11742" y="16853"/>
                  </a:cubicBezTo>
                  <a:cubicBezTo>
                    <a:pt x="11712" y="16846"/>
                    <a:pt x="11678" y="16833"/>
                    <a:pt x="11676" y="16824"/>
                  </a:cubicBezTo>
                  <a:cubicBezTo>
                    <a:pt x="11668" y="16815"/>
                    <a:pt x="11693" y="16810"/>
                    <a:pt x="11731" y="16813"/>
                  </a:cubicBezTo>
                  <a:cubicBezTo>
                    <a:pt x="11768" y="16817"/>
                    <a:pt x="11814" y="16814"/>
                    <a:pt x="11835" y="16814"/>
                  </a:cubicBezTo>
                  <a:cubicBezTo>
                    <a:pt x="11854" y="16810"/>
                    <a:pt x="11843" y="16786"/>
                    <a:pt x="11817" y="16756"/>
                  </a:cubicBezTo>
                  <a:cubicBezTo>
                    <a:pt x="11783" y="16729"/>
                    <a:pt x="11744" y="16697"/>
                    <a:pt x="11720" y="16688"/>
                  </a:cubicBezTo>
                  <a:cubicBezTo>
                    <a:pt x="11695" y="16680"/>
                    <a:pt x="11643" y="16668"/>
                    <a:pt x="11601" y="16665"/>
                  </a:cubicBezTo>
                  <a:cubicBezTo>
                    <a:pt x="11559" y="16662"/>
                    <a:pt x="11455" y="16644"/>
                    <a:pt x="11368" y="16627"/>
                  </a:cubicBezTo>
                  <a:cubicBezTo>
                    <a:pt x="11282" y="16610"/>
                    <a:pt x="11187" y="16585"/>
                    <a:pt x="11153" y="16576"/>
                  </a:cubicBezTo>
                  <a:cubicBezTo>
                    <a:pt x="11119" y="16568"/>
                    <a:pt x="11068" y="16557"/>
                    <a:pt x="11040" y="16551"/>
                  </a:cubicBezTo>
                  <a:cubicBezTo>
                    <a:pt x="11010" y="16548"/>
                    <a:pt x="10998" y="16554"/>
                    <a:pt x="11006" y="16566"/>
                  </a:cubicBezTo>
                  <a:cubicBezTo>
                    <a:pt x="11016" y="16577"/>
                    <a:pt x="11066" y="16609"/>
                    <a:pt x="11111" y="16637"/>
                  </a:cubicBezTo>
                  <a:cubicBezTo>
                    <a:pt x="11159" y="16664"/>
                    <a:pt x="11211" y="16691"/>
                    <a:pt x="11230" y="16695"/>
                  </a:cubicBezTo>
                  <a:cubicBezTo>
                    <a:pt x="11250" y="16698"/>
                    <a:pt x="11288" y="16719"/>
                    <a:pt x="11315" y="16738"/>
                  </a:cubicBezTo>
                  <a:cubicBezTo>
                    <a:pt x="11345" y="16756"/>
                    <a:pt x="11343" y="16767"/>
                    <a:pt x="11315" y="16764"/>
                  </a:cubicBezTo>
                  <a:cubicBezTo>
                    <a:pt x="11288" y="16758"/>
                    <a:pt x="11261" y="16770"/>
                    <a:pt x="11272" y="16785"/>
                  </a:cubicBezTo>
                  <a:cubicBezTo>
                    <a:pt x="11274" y="16801"/>
                    <a:pt x="11258" y="16813"/>
                    <a:pt x="11239" y="16819"/>
                  </a:cubicBezTo>
                  <a:cubicBezTo>
                    <a:pt x="11215" y="16819"/>
                    <a:pt x="11205" y="16835"/>
                    <a:pt x="11198" y="16848"/>
                  </a:cubicBezTo>
                  <a:cubicBezTo>
                    <a:pt x="11201" y="16861"/>
                    <a:pt x="11159" y="16870"/>
                    <a:pt x="11112" y="16873"/>
                  </a:cubicBezTo>
                  <a:cubicBezTo>
                    <a:pt x="11064" y="16873"/>
                    <a:pt x="11032" y="16888"/>
                    <a:pt x="11049" y="16901"/>
                  </a:cubicBezTo>
                  <a:cubicBezTo>
                    <a:pt x="11058" y="16917"/>
                    <a:pt x="11154" y="16966"/>
                    <a:pt x="11254" y="17012"/>
                  </a:cubicBezTo>
                  <a:cubicBezTo>
                    <a:pt x="11352" y="17058"/>
                    <a:pt x="11468" y="17102"/>
                    <a:pt x="11507" y="17114"/>
                  </a:cubicBezTo>
                  <a:cubicBezTo>
                    <a:pt x="11544" y="17126"/>
                    <a:pt x="11590" y="17130"/>
                    <a:pt x="11600" y="17124"/>
                  </a:cubicBezTo>
                  <a:cubicBezTo>
                    <a:pt x="11610" y="17117"/>
                    <a:pt x="11608" y="17104"/>
                    <a:pt x="11591" y="17090"/>
                  </a:cubicBezTo>
                  <a:cubicBezTo>
                    <a:pt x="11577" y="17076"/>
                    <a:pt x="11520" y="17054"/>
                    <a:pt x="11470" y="17039"/>
                  </a:cubicBezTo>
                  <a:cubicBezTo>
                    <a:pt x="11419" y="17025"/>
                    <a:pt x="11370" y="17000"/>
                    <a:pt x="11351" y="16991"/>
                  </a:cubicBezTo>
                  <a:cubicBezTo>
                    <a:pt x="11336" y="16978"/>
                    <a:pt x="11326" y="16958"/>
                    <a:pt x="11326" y="16944"/>
                  </a:cubicBezTo>
                  <a:cubicBezTo>
                    <a:pt x="11336" y="16931"/>
                    <a:pt x="11379" y="16929"/>
                    <a:pt x="11439" y="16939"/>
                  </a:cubicBezTo>
                  <a:cubicBezTo>
                    <a:pt x="11497" y="16953"/>
                    <a:pt x="11550" y="16956"/>
                    <a:pt x="11557" y="16953"/>
                  </a:cubicBezTo>
                  <a:cubicBezTo>
                    <a:pt x="11561" y="16949"/>
                    <a:pt x="11597" y="16967"/>
                    <a:pt x="11632" y="16993"/>
                  </a:cubicBezTo>
                  <a:cubicBezTo>
                    <a:pt x="11664" y="17021"/>
                    <a:pt x="11744" y="17059"/>
                    <a:pt x="11805" y="17082"/>
                  </a:cubicBezTo>
                  <a:cubicBezTo>
                    <a:pt x="11864" y="17104"/>
                    <a:pt x="11956" y="17134"/>
                    <a:pt x="12011" y="17144"/>
                  </a:cubicBezTo>
                  <a:cubicBezTo>
                    <a:pt x="12063" y="17158"/>
                    <a:pt x="12117" y="17158"/>
                    <a:pt x="12133" y="17155"/>
                  </a:cubicBezTo>
                  <a:cubicBezTo>
                    <a:pt x="12142" y="17149"/>
                    <a:pt x="12183" y="17156"/>
                    <a:pt x="12220" y="17167"/>
                  </a:cubicBezTo>
                  <a:cubicBezTo>
                    <a:pt x="12257" y="17178"/>
                    <a:pt x="12307" y="17203"/>
                    <a:pt x="12340" y="17217"/>
                  </a:cubicBezTo>
                  <a:cubicBezTo>
                    <a:pt x="12372" y="17232"/>
                    <a:pt x="12458" y="17270"/>
                    <a:pt x="12538" y="17296"/>
                  </a:cubicBezTo>
                  <a:cubicBezTo>
                    <a:pt x="12617" y="17322"/>
                    <a:pt x="12711" y="17360"/>
                    <a:pt x="12749" y="17377"/>
                  </a:cubicBezTo>
                  <a:cubicBezTo>
                    <a:pt x="12786" y="17394"/>
                    <a:pt x="12797" y="17405"/>
                    <a:pt x="12773" y="17401"/>
                  </a:cubicBezTo>
                  <a:cubicBezTo>
                    <a:pt x="12747" y="17401"/>
                    <a:pt x="12726" y="17401"/>
                    <a:pt x="12725" y="17408"/>
                  </a:cubicBezTo>
                  <a:cubicBezTo>
                    <a:pt x="12727" y="17416"/>
                    <a:pt x="12754" y="17433"/>
                    <a:pt x="12783" y="17452"/>
                  </a:cubicBezTo>
                  <a:cubicBezTo>
                    <a:pt x="12821" y="17466"/>
                    <a:pt x="12830" y="17486"/>
                    <a:pt x="12810" y="17486"/>
                  </a:cubicBezTo>
                  <a:cubicBezTo>
                    <a:pt x="12791" y="17490"/>
                    <a:pt x="12773" y="17499"/>
                    <a:pt x="12762" y="17507"/>
                  </a:cubicBezTo>
                  <a:cubicBezTo>
                    <a:pt x="12759" y="17517"/>
                    <a:pt x="12777" y="17537"/>
                    <a:pt x="12808" y="17553"/>
                  </a:cubicBezTo>
                  <a:cubicBezTo>
                    <a:pt x="12841" y="17569"/>
                    <a:pt x="12913" y="17600"/>
                    <a:pt x="12971" y="17621"/>
                  </a:cubicBezTo>
                  <a:cubicBezTo>
                    <a:pt x="13029" y="17641"/>
                    <a:pt x="13071" y="17663"/>
                    <a:pt x="13073" y="17667"/>
                  </a:cubicBezTo>
                  <a:cubicBezTo>
                    <a:pt x="13067" y="17670"/>
                    <a:pt x="13026" y="17662"/>
                    <a:pt x="12975" y="17643"/>
                  </a:cubicBezTo>
                  <a:cubicBezTo>
                    <a:pt x="12921" y="17625"/>
                    <a:pt x="12856" y="17600"/>
                    <a:pt x="12830" y="17587"/>
                  </a:cubicBezTo>
                  <a:cubicBezTo>
                    <a:pt x="12806" y="17573"/>
                    <a:pt x="12763" y="17555"/>
                    <a:pt x="12736" y="17555"/>
                  </a:cubicBezTo>
                  <a:cubicBezTo>
                    <a:pt x="12711" y="17551"/>
                    <a:pt x="12701" y="17560"/>
                    <a:pt x="12715" y="17575"/>
                  </a:cubicBezTo>
                  <a:cubicBezTo>
                    <a:pt x="12730" y="17590"/>
                    <a:pt x="12780" y="17622"/>
                    <a:pt x="12835" y="17643"/>
                  </a:cubicBezTo>
                  <a:cubicBezTo>
                    <a:pt x="12886" y="17665"/>
                    <a:pt x="12951" y="17698"/>
                    <a:pt x="12986" y="17714"/>
                  </a:cubicBezTo>
                  <a:cubicBezTo>
                    <a:pt x="13014" y="17732"/>
                    <a:pt x="13102" y="17759"/>
                    <a:pt x="13171" y="17779"/>
                  </a:cubicBezTo>
                  <a:cubicBezTo>
                    <a:pt x="13242" y="17797"/>
                    <a:pt x="13342" y="17812"/>
                    <a:pt x="13394" y="17815"/>
                  </a:cubicBezTo>
                  <a:cubicBezTo>
                    <a:pt x="13446" y="17815"/>
                    <a:pt x="13521" y="17829"/>
                    <a:pt x="13558" y="17846"/>
                  </a:cubicBezTo>
                  <a:cubicBezTo>
                    <a:pt x="13596" y="17863"/>
                    <a:pt x="13650" y="17879"/>
                    <a:pt x="13673" y="17885"/>
                  </a:cubicBezTo>
                  <a:cubicBezTo>
                    <a:pt x="13697" y="17891"/>
                    <a:pt x="13746" y="17894"/>
                    <a:pt x="13779" y="17897"/>
                  </a:cubicBezTo>
                  <a:cubicBezTo>
                    <a:pt x="13813" y="17897"/>
                    <a:pt x="13836" y="17907"/>
                    <a:pt x="13833" y="17917"/>
                  </a:cubicBezTo>
                  <a:cubicBezTo>
                    <a:pt x="13830" y="17926"/>
                    <a:pt x="13838" y="17941"/>
                    <a:pt x="13856" y="17950"/>
                  </a:cubicBezTo>
                  <a:cubicBezTo>
                    <a:pt x="13871" y="17960"/>
                    <a:pt x="13875" y="17964"/>
                    <a:pt x="13865" y="17968"/>
                  </a:cubicBezTo>
                  <a:cubicBezTo>
                    <a:pt x="13853" y="17968"/>
                    <a:pt x="13809" y="17959"/>
                    <a:pt x="13763" y="17953"/>
                  </a:cubicBezTo>
                  <a:cubicBezTo>
                    <a:pt x="13722" y="17941"/>
                    <a:pt x="13679" y="17940"/>
                    <a:pt x="13674" y="17945"/>
                  </a:cubicBezTo>
                  <a:cubicBezTo>
                    <a:pt x="13677" y="17949"/>
                    <a:pt x="13629" y="17937"/>
                    <a:pt x="13582" y="17919"/>
                  </a:cubicBezTo>
                  <a:cubicBezTo>
                    <a:pt x="13534" y="17903"/>
                    <a:pt x="13444" y="17881"/>
                    <a:pt x="13377" y="17871"/>
                  </a:cubicBezTo>
                  <a:cubicBezTo>
                    <a:pt x="13310" y="17864"/>
                    <a:pt x="13252" y="17864"/>
                    <a:pt x="13252" y="17875"/>
                  </a:cubicBezTo>
                  <a:cubicBezTo>
                    <a:pt x="13248" y="17885"/>
                    <a:pt x="13261" y="17904"/>
                    <a:pt x="13283" y="17915"/>
                  </a:cubicBezTo>
                  <a:cubicBezTo>
                    <a:pt x="13301" y="17928"/>
                    <a:pt x="13370" y="17955"/>
                    <a:pt x="13431" y="17978"/>
                  </a:cubicBezTo>
                  <a:cubicBezTo>
                    <a:pt x="13496" y="17999"/>
                    <a:pt x="13569" y="18033"/>
                    <a:pt x="13592" y="18053"/>
                  </a:cubicBezTo>
                  <a:cubicBezTo>
                    <a:pt x="13620" y="18071"/>
                    <a:pt x="13682" y="18096"/>
                    <a:pt x="13728" y="18111"/>
                  </a:cubicBezTo>
                  <a:cubicBezTo>
                    <a:pt x="13773" y="18126"/>
                    <a:pt x="13837" y="18133"/>
                    <a:pt x="13864" y="18135"/>
                  </a:cubicBezTo>
                  <a:cubicBezTo>
                    <a:pt x="13891" y="18132"/>
                    <a:pt x="13928" y="18143"/>
                    <a:pt x="13925" y="18153"/>
                  </a:cubicBezTo>
                  <a:cubicBezTo>
                    <a:pt x="13932" y="18162"/>
                    <a:pt x="13918" y="18175"/>
                    <a:pt x="13896" y="18181"/>
                  </a:cubicBezTo>
                  <a:cubicBezTo>
                    <a:pt x="13874" y="18187"/>
                    <a:pt x="13862" y="18201"/>
                    <a:pt x="13879" y="18210"/>
                  </a:cubicBezTo>
                  <a:cubicBezTo>
                    <a:pt x="13887" y="18222"/>
                    <a:pt x="13916" y="18237"/>
                    <a:pt x="13932" y="18247"/>
                  </a:cubicBezTo>
                  <a:cubicBezTo>
                    <a:pt x="13947" y="18258"/>
                    <a:pt x="13960" y="18272"/>
                    <a:pt x="13958" y="18280"/>
                  </a:cubicBezTo>
                  <a:cubicBezTo>
                    <a:pt x="13958" y="18288"/>
                    <a:pt x="13933" y="18292"/>
                    <a:pt x="13907" y="18286"/>
                  </a:cubicBezTo>
                  <a:cubicBezTo>
                    <a:pt x="13881" y="18280"/>
                    <a:pt x="13867" y="18286"/>
                    <a:pt x="13879" y="18298"/>
                  </a:cubicBezTo>
                  <a:cubicBezTo>
                    <a:pt x="13887" y="18310"/>
                    <a:pt x="13963" y="18363"/>
                    <a:pt x="14045" y="18416"/>
                  </a:cubicBezTo>
                  <a:cubicBezTo>
                    <a:pt x="14124" y="18469"/>
                    <a:pt x="14227" y="18527"/>
                    <a:pt x="14267" y="18547"/>
                  </a:cubicBezTo>
                  <a:cubicBezTo>
                    <a:pt x="14309" y="18565"/>
                    <a:pt x="14363" y="18598"/>
                    <a:pt x="14383" y="18619"/>
                  </a:cubicBezTo>
                  <a:cubicBezTo>
                    <a:pt x="14401" y="18642"/>
                    <a:pt x="14459" y="18681"/>
                    <a:pt x="14514" y="18703"/>
                  </a:cubicBezTo>
                  <a:cubicBezTo>
                    <a:pt x="14561" y="18729"/>
                    <a:pt x="14643" y="18759"/>
                    <a:pt x="14688" y="18775"/>
                  </a:cubicBezTo>
                  <a:cubicBezTo>
                    <a:pt x="14735" y="18789"/>
                    <a:pt x="14741" y="18776"/>
                    <a:pt x="14708" y="18744"/>
                  </a:cubicBezTo>
                  <a:cubicBezTo>
                    <a:pt x="14669" y="18714"/>
                    <a:pt x="14630" y="18662"/>
                    <a:pt x="14615" y="18631"/>
                  </a:cubicBezTo>
                  <a:cubicBezTo>
                    <a:pt x="14600" y="18600"/>
                    <a:pt x="14607" y="18575"/>
                    <a:pt x="14632" y="18572"/>
                  </a:cubicBezTo>
                  <a:cubicBezTo>
                    <a:pt x="14656" y="18572"/>
                    <a:pt x="14691" y="18579"/>
                    <a:pt x="14715" y="18589"/>
                  </a:cubicBezTo>
                  <a:cubicBezTo>
                    <a:pt x="14736" y="18601"/>
                    <a:pt x="14736" y="18607"/>
                    <a:pt x="14714" y="18602"/>
                  </a:cubicBezTo>
                  <a:cubicBezTo>
                    <a:pt x="14691" y="18597"/>
                    <a:pt x="14684" y="18622"/>
                    <a:pt x="14702" y="18656"/>
                  </a:cubicBezTo>
                  <a:cubicBezTo>
                    <a:pt x="14714" y="18690"/>
                    <a:pt x="14740" y="18728"/>
                    <a:pt x="14759" y="18737"/>
                  </a:cubicBezTo>
                  <a:cubicBezTo>
                    <a:pt x="14769" y="18750"/>
                    <a:pt x="14826" y="18772"/>
                    <a:pt x="14875" y="18790"/>
                  </a:cubicBezTo>
                  <a:cubicBezTo>
                    <a:pt x="14924" y="18808"/>
                    <a:pt x="14989" y="18828"/>
                    <a:pt x="15020" y="18834"/>
                  </a:cubicBezTo>
                  <a:cubicBezTo>
                    <a:pt x="15052" y="18841"/>
                    <a:pt x="15069" y="18846"/>
                    <a:pt x="15065" y="18849"/>
                  </a:cubicBezTo>
                  <a:cubicBezTo>
                    <a:pt x="15059" y="18852"/>
                    <a:pt x="15009" y="18848"/>
                    <a:pt x="14958" y="18839"/>
                  </a:cubicBezTo>
                  <a:cubicBezTo>
                    <a:pt x="14905" y="18832"/>
                    <a:pt x="14840" y="18828"/>
                    <a:pt x="14816" y="18836"/>
                  </a:cubicBezTo>
                  <a:cubicBezTo>
                    <a:pt x="14789" y="18839"/>
                    <a:pt x="14783" y="18855"/>
                    <a:pt x="14801" y="18866"/>
                  </a:cubicBezTo>
                  <a:cubicBezTo>
                    <a:pt x="14818" y="18878"/>
                    <a:pt x="14837" y="18899"/>
                    <a:pt x="14850" y="18913"/>
                  </a:cubicBezTo>
                  <a:cubicBezTo>
                    <a:pt x="14859" y="18928"/>
                    <a:pt x="14882" y="18953"/>
                    <a:pt x="14900" y="18969"/>
                  </a:cubicBezTo>
                  <a:cubicBezTo>
                    <a:pt x="14922" y="18984"/>
                    <a:pt x="14920" y="19001"/>
                    <a:pt x="14903" y="19001"/>
                  </a:cubicBezTo>
                  <a:cubicBezTo>
                    <a:pt x="14887" y="19004"/>
                    <a:pt x="14872" y="19013"/>
                    <a:pt x="14870" y="19025"/>
                  </a:cubicBezTo>
                  <a:cubicBezTo>
                    <a:pt x="14872" y="19037"/>
                    <a:pt x="14886" y="19056"/>
                    <a:pt x="14900" y="19070"/>
                  </a:cubicBezTo>
                  <a:cubicBezTo>
                    <a:pt x="14921" y="19081"/>
                    <a:pt x="15005" y="19121"/>
                    <a:pt x="15095" y="19155"/>
                  </a:cubicBezTo>
                  <a:cubicBezTo>
                    <a:pt x="15183" y="19189"/>
                    <a:pt x="15344" y="19237"/>
                    <a:pt x="15445" y="19267"/>
                  </a:cubicBezTo>
                  <a:cubicBezTo>
                    <a:pt x="15551" y="19293"/>
                    <a:pt x="15673" y="19334"/>
                    <a:pt x="15724" y="19352"/>
                  </a:cubicBezTo>
                  <a:cubicBezTo>
                    <a:pt x="15776" y="19370"/>
                    <a:pt x="15814" y="19393"/>
                    <a:pt x="15820" y="19400"/>
                  </a:cubicBezTo>
                  <a:cubicBezTo>
                    <a:pt x="15824" y="19407"/>
                    <a:pt x="15808" y="19410"/>
                    <a:pt x="15788" y="19405"/>
                  </a:cubicBezTo>
                  <a:cubicBezTo>
                    <a:pt x="15767" y="19401"/>
                    <a:pt x="15780" y="19414"/>
                    <a:pt x="15813" y="19435"/>
                  </a:cubicBezTo>
                  <a:cubicBezTo>
                    <a:pt x="15846" y="19456"/>
                    <a:pt x="15899" y="19483"/>
                    <a:pt x="15928" y="19496"/>
                  </a:cubicBezTo>
                  <a:cubicBezTo>
                    <a:pt x="15957" y="19509"/>
                    <a:pt x="16005" y="19517"/>
                    <a:pt x="16017" y="19506"/>
                  </a:cubicBezTo>
                  <a:cubicBezTo>
                    <a:pt x="16039" y="19499"/>
                    <a:pt x="16070" y="19501"/>
                    <a:pt x="16080" y="19515"/>
                  </a:cubicBezTo>
                  <a:cubicBezTo>
                    <a:pt x="16096" y="19528"/>
                    <a:pt x="16103" y="19548"/>
                    <a:pt x="16110" y="19556"/>
                  </a:cubicBezTo>
                  <a:cubicBezTo>
                    <a:pt x="16117" y="19565"/>
                    <a:pt x="16087" y="19570"/>
                    <a:pt x="16055" y="19567"/>
                  </a:cubicBezTo>
                  <a:cubicBezTo>
                    <a:pt x="16021" y="19563"/>
                    <a:pt x="15984" y="19567"/>
                    <a:pt x="15973" y="19576"/>
                  </a:cubicBezTo>
                  <a:cubicBezTo>
                    <a:pt x="15960" y="19583"/>
                    <a:pt x="15978" y="19600"/>
                    <a:pt x="16010" y="19611"/>
                  </a:cubicBezTo>
                  <a:cubicBezTo>
                    <a:pt x="16042" y="19622"/>
                    <a:pt x="16098" y="19637"/>
                    <a:pt x="16133" y="19646"/>
                  </a:cubicBezTo>
                  <a:cubicBezTo>
                    <a:pt x="16170" y="19652"/>
                    <a:pt x="16215" y="19668"/>
                    <a:pt x="16223" y="19681"/>
                  </a:cubicBezTo>
                  <a:cubicBezTo>
                    <a:pt x="16239" y="19691"/>
                    <a:pt x="16294" y="19720"/>
                    <a:pt x="16350" y="19745"/>
                  </a:cubicBezTo>
                  <a:cubicBezTo>
                    <a:pt x="16410" y="19768"/>
                    <a:pt x="16473" y="19793"/>
                    <a:pt x="16495" y="19798"/>
                  </a:cubicBezTo>
                  <a:cubicBezTo>
                    <a:pt x="16515" y="19805"/>
                    <a:pt x="16550" y="19803"/>
                    <a:pt x="16564" y="19798"/>
                  </a:cubicBezTo>
                  <a:cubicBezTo>
                    <a:pt x="16582" y="19798"/>
                    <a:pt x="16606" y="19805"/>
                    <a:pt x="16623" y="19821"/>
                  </a:cubicBezTo>
                  <a:cubicBezTo>
                    <a:pt x="16641" y="19837"/>
                    <a:pt x="16678" y="19869"/>
                    <a:pt x="16715" y="19887"/>
                  </a:cubicBezTo>
                  <a:cubicBezTo>
                    <a:pt x="16749" y="19908"/>
                    <a:pt x="16759" y="19919"/>
                    <a:pt x="16735" y="19914"/>
                  </a:cubicBezTo>
                  <a:cubicBezTo>
                    <a:pt x="16710" y="19909"/>
                    <a:pt x="16670" y="19893"/>
                    <a:pt x="16639" y="19885"/>
                  </a:cubicBezTo>
                  <a:cubicBezTo>
                    <a:pt x="16612" y="19874"/>
                    <a:pt x="16571" y="19859"/>
                    <a:pt x="16547" y="19859"/>
                  </a:cubicBezTo>
                  <a:cubicBezTo>
                    <a:pt x="16526" y="19855"/>
                    <a:pt x="16510" y="19859"/>
                    <a:pt x="16511" y="19867"/>
                  </a:cubicBezTo>
                  <a:cubicBezTo>
                    <a:pt x="16513" y="19875"/>
                    <a:pt x="16571" y="19905"/>
                    <a:pt x="16639" y="19935"/>
                  </a:cubicBezTo>
                  <a:cubicBezTo>
                    <a:pt x="16706" y="19965"/>
                    <a:pt x="16777" y="19993"/>
                    <a:pt x="16796" y="19998"/>
                  </a:cubicBezTo>
                  <a:cubicBezTo>
                    <a:pt x="16816" y="20002"/>
                    <a:pt x="16863" y="20025"/>
                    <a:pt x="16900" y="20048"/>
                  </a:cubicBezTo>
                  <a:cubicBezTo>
                    <a:pt x="16939" y="20070"/>
                    <a:pt x="16994" y="20103"/>
                    <a:pt x="17032" y="20115"/>
                  </a:cubicBezTo>
                  <a:cubicBezTo>
                    <a:pt x="17067" y="20130"/>
                    <a:pt x="17141" y="20163"/>
                    <a:pt x="17203" y="20186"/>
                  </a:cubicBezTo>
                  <a:cubicBezTo>
                    <a:pt x="17263" y="20209"/>
                    <a:pt x="17337" y="20235"/>
                    <a:pt x="17370" y="20238"/>
                  </a:cubicBezTo>
                  <a:cubicBezTo>
                    <a:pt x="17400" y="20246"/>
                    <a:pt x="17385" y="20225"/>
                    <a:pt x="17334" y="20196"/>
                  </a:cubicBezTo>
                  <a:cubicBezTo>
                    <a:pt x="17282" y="20167"/>
                    <a:pt x="17240" y="20136"/>
                    <a:pt x="17236" y="20129"/>
                  </a:cubicBezTo>
                  <a:cubicBezTo>
                    <a:pt x="17234" y="20121"/>
                    <a:pt x="17212" y="20100"/>
                    <a:pt x="17181" y="20085"/>
                  </a:cubicBezTo>
                  <a:cubicBezTo>
                    <a:pt x="17153" y="20068"/>
                    <a:pt x="17168" y="20075"/>
                    <a:pt x="17227" y="20090"/>
                  </a:cubicBezTo>
                  <a:cubicBezTo>
                    <a:pt x="17280" y="20110"/>
                    <a:pt x="17340" y="20140"/>
                    <a:pt x="17369" y="20154"/>
                  </a:cubicBezTo>
                  <a:cubicBezTo>
                    <a:pt x="17392" y="20170"/>
                    <a:pt x="17451" y="20198"/>
                    <a:pt x="17496" y="20219"/>
                  </a:cubicBezTo>
                  <a:cubicBezTo>
                    <a:pt x="17545" y="20237"/>
                    <a:pt x="17571" y="20245"/>
                    <a:pt x="17574" y="20232"/>
                  </a:cubicBezTo>
                  <a:cubicBezTo>
                    <a:pt x="17571" y="20218"/>
                    <a:pt x="17585" y="20205"/>
                    <a:pt x="17602" y="20199"/>
                  </a:cubicBezTo>
                  <a:cubicBezTo>
                    <a:pt x="17620" y="20195"/>
                    <a:pt x="17625" y="20180"/>
                    <a:pt x="17605" y="20170"/>
                  </a:cubicBezTo>
                  <a:cubicBezTo>
                    <a:pt x="17588" y="20158"/>
                    <a:pt x="17545" y="20139"/>
                    <a:pt x="17509" y="20128"/>
                  </a:cubicBezTo>
                  <a:cubicBezTo>
                    <a:pt x="17472" y="20117"/>
                    <a:pt x="17389" y="20096"/>
                    <a:pt x="17326" y="20079"/>
                  </a:cubicBezTo>
                  <a:cubicBezTo>
                    <a:pt x="17260" y="20066"/>
                    <a:pt x="17203" y="20044"/>
                    <a:pt x="17195" y="20037"/>
                  </a:cubicBezTo>
                  <a:cubicBezTo>
                    <a:pt x="17189" y="20029"/>
                    <a:pt x="17211" y="20031"/>
                    <a:pt x="17249" y="20039"/>
                  </a:cubicBezTo>
                  <a:cubicBezTo>
                    <a:pt x="17288" y="20046"/>
                    <a:pt x="17394" y="20072"/>
                    <a:pt x="17481" y="20100"/>
                  </a:cubicBezTo>
                  <a:cubicBezTo>
                    <a:pt x="17571" y="20125"/>
                    <a:pt x="17660" y="20154"/>
                    <a:pt x="17681" y="20163"/>
                  </a:cubicBezTo>
                  <a:cubicBezTo>
                    <a:pt x="17702" y="20172"/>
                    <a:pt x="17760" y="20190"/>
                    <a:pt x="17812" y="20200"/>
                  </a:cubicBezTo>
                  <a:cubicBezTo>
                    <a:pt x="17865" y="20210"/>
                    <a:pt x="17884" y="20206"/>
                    <a:pt x="17852" y="20189"/>
                  </a:cubicBezTo>
                  <a:cubicBezTo>
                    <a:pt x="17822" y="20171"/>
                    <a:pt x="17745" y="20143"/>
                    <a:pt x="17687" y="20122"/>
                  </a:cubicBezTo>
                  <a:cubicBezTo>
                    <a:pt x="17628" y="20101"/>
                    <a:pt x="17504" y="20069"/>
                    <a:pt x="17412" y="20048"/>
                  </a:cubicBezTo>
                  <a:cubicBezTo>
                    <a:pt x="17320" y="20028"/>
                    <a:pt x="17234" y="20004"/>
                    <a:pt x="17223" y="19995"/>
                  </a:cubicBezTo>
                  <a:cubicBezTo>
                    <a:pt x="17208" y="19988"/>
                    <a:pt x="17219" y="19980"/>
                    <a:pt x="17241" y="19982"/>
                  </a:cubicBezTo>
                  <a:cubicBezTo>
                    <a:pt x="17264" y="19982"/>
                    <a:pt x="17354" y="20010"/>
                    <a:pt x="17446" y="20035"/>
                  </a:cubicBezTo>
                  <a:cubicBezTo>
                    <a:pt x="17538" y="20061"/>
                    <a:pt x="17693" y="20111"/>
                    <a:pt x="17792" y="20145"/>
                  </a:cubicBezTo>
                  <a:cubicBezTo>
                    <a:pt x="17890" y="20178"/>
                    <a:pt x="18001" y="20226"/>
                    <a:pt x="18041" y="20249"/>
                  </a:cubicBezTo>
                  <a:cubicBezTo>
                    <a:pt x="18075" y="20274"/>
                    <a:pt x="18094" y="20296"/>
                    <a:pt x="18078" y="20303"/>
                  </a:cubicBezTo>
                  <a:cubicBezTo>
                    <a:pt x="18064" y="20311"/>
                    <a:pt x="18069" y="20323"/>
                    <a:pt x="18072" y="20338"/>
                  </a:cubicBezTo>
                  <a:cubicBezTo>
                    <a:pt x="18086" y="20351"/>
                    <a:pt x="18147" y="20387"/>
                    <a:pt x="18209" y="20417"/>
                  </a:cubicBezTo>
                  <a:cubicBezTo>
                    <a:pt x="18269" y="20448"/>
                    <a:pt x="18330" y="20483"/>
                    <a:pt x="18342" y="20495"/>
                  </a:cubicBezTo>
                  <a:cubicBezTo>
                    <a:pt x="18354" y="20506"/>
                    <a:pt x="18343" y="20519"/>
                    <a:pt x="18317" y="20519"/>
                  </a:cubicBezTo>
                  <a:cubicBezTo>
                    <a:pt x="18293" y="20523"/>
                    <a:pt x="18269" y="20509"/>
                    <a:pt x="18261" y="20493"/>
                  </a:cubicBezTo>
                  <a:cubicBezTo>
                    <a:pt x="18257" y="20476"/>
                    <a:pt x="18189" y="20435"/>
                    <a:pt x="18124" y="20397"/>
                  </a:cubicBezTo>
                  <a:cubicBezTo>
                    <a:pt x="18055" y="20361"/>
                    <a:pt x="17962" y="20316"/>
                    <a:pt x="17913" y="20300"/>
                  </a:cubicBezTo>
                  <a:cubicBezTo>
                    <a:pt x="17866" y="20283"/>
                    <a:pt x="17822" y="20273"/>
                    <a:pt x="17815" y="20280"/>
                  </a:cubicBezTo>
                  <a:cubicBezTo>
                    <a:pt x="17813" y="20287"/>
                    <a:pt x="17814" y="20303"/>
                    <a:pt x="17827" y="20316"/>
                  </a:cubicBezTo>
                  <a:cubicBezTo>
                    <a:pt x="17842" y="20329"/>
                    <a:pt x="17876" y="20355"/>
                    <a:pt x="17915" y="20368"/>
                  </a:cubicBezTo>
                  <a:cubicBezTo>
                    <a:pt x="17945" y="20386"/>
                    <a:pt x="17982" y="20406"/>
                    <a:pt x="17971" y="20413"/>
                  </a:cubicBezTo>
                  <a:cubicBezTo>
                    <a:pt x="17971" y="20422"/>
                    <a:pt x="17944" y="20421"/>
                    <a:pt x="17919" y="20411"/>
                  </a:cubicBezTo>
                  <a:cubicBezTo>
                    <a:pt x="17895" y="20400"/>
                    <a:pt x="17854" y="20376"/>
                    <a:pt x="17822" y="20361"/>
                  </a:cubicBezTo>
                  <a:cubicBezTo>
                    <a:pt x="17796" y="20343"/>
                    <a:pt x="17744" y="20328"/>
                    <a:pt x="17720" y="20319"/>
                  </a:cubicBezTo>
                  <a:cubicBezTo>
                    <a:pt x="17691" y="20319"/>
                    <a:pt x="17650" y="20308"/>
                    <a:pt x="17624" y="20311"/>
                  </a:cubicBezTo>
                  <a:cubicBezTo>
                    <a:pt x="17598" y="20309"/>
                    <a:pt x="17529" y="20306"/>
                    <a:pt x="17474" y="20292"/>
                  </a:cubicBezTo>
                  <a:cubicBezTo>
                    <a:pt x="17417" y="20282"/>
                    <a:pt x="17341" y="20260"/>
                    <a:pt x="17302" y="20264"/>
                  </a:cubicBezTo>
                  <a:cubicBezTo>
                    <a:pt x="17264" y="20258"/>
                    <a:pt x="17278" y="20273"/>
                    <a:pt x="17335" y="20294"/>
                  </a:cubicBezTo>
                  <a:cubicBezTo>
                    <a:pt x="17392" y="20315"/>
                    <a:pt x="17461" y="20350"/>
                    <a:pt x="17491" y="20371"/>
                  </a:cubicBezTo>
                  <a:cubicBezTo>
                    <a:pt x="17520" y="20393"/>
                    <a:pt x="17574" y="20425"/>
                    <a:pt x="17612" y="20443"/>
                  </a:cubicBezTo>
                  <a:cubicBezTo>
                    <a:pt x="17648" y="20461"/>
                    <a:pt x="17701" y="20483"/>
                    <a:pt x="17716" y="20497"/>
                  </a:cubicBezTo>
                  <a:cubicBezTo>
                    <a:pt x="17739" y="20508"/>
                    <a:pt x="17753" y="20525"/>
                    <a:pt x="17747" y="20530"/>
                  </a:cubicBezTo>
                  <a:cubicBezTo>
                    <a:pt x="17749" y="20536"/>
                    <a:pt x="17756" y="20545"/>
                    <a:pt x="17767" y="20554"/>
                  </a:cubicBezTo>
                  <a:cubicBezTo>
                    <a:pt x="17786" y="20558"/>
                    <a:pt x="17825" y="20574"/>
                    <a:pt x="17860" y="20584"/>
                  </a:cubicBezTo>
                  <a:cubicBezTo>
                    <a:pt x="17898" y="20591"/>
                    <a:pt x="17927" y="20594"/>
                    <a:pt x="17930" y="20585"/>
                  </a:cubicBezTo>
                  <a:cubicBezTo>
                    <a:pt x="17930" y="20576"/>
                    <a:pt x="17956" y="20578"/>
                    <a:pt x="17987" y="20586"/>
                  </a:cubicBezTo>
                  <a:cubicBezTo>
                    <a:pt x="18014" y="20598"/>
                    <a:pt x="18076" y="20614"/>
                    <a:pt x="18118" y="20627"/>
                  </a:cubicBezTo>
                  <a:cubicBezTo>
                    <a:pt x="18164" y="20637"/>
                    <a:pt x="18201" y="20655"/>
                    <a:pt x="18208" y="20659"/>
                  </a:cubicBezTo>
                  <a:cubicBezTo>
                    <a:pt x="18214" y="20664"/>
                    <a:pt x="18195" y="20666"/>
                    <a:pt x="18166" y="20663"/>
                  </a:cubicBezTo>
                  <a:cubicBezTo>
                    <a:pt x="18138" y="20657"/>
                    <a:pt x="18094" y="20660"/>
                    <a:pt x="18072" y="20663"/>
                  </a:cubicBezTo>
                  <a:cubicBezTo>
                    <a:pt x="18050" y="20666"/>
                    <a:pt x="18048" y="20679"/>
                    <a:pt x="18071" y="20689"/>
                  </a:cubicBezTo>
                  <a:cubicBezTo>
                    <a:pt x="18091" y="20700"/>
                    <a:pt x="18158" y="20723"/>
                    <a:pt x="18221" y="20736"/>
                  </a:cubicBezTo>
                  <a:cubicBezTo>
                    <a:pt x="18282" y="20752"/>
                    <a:pt x="18404" y="20785"/>
                    <a:pt x="18489" y="20814"/>
                  </a:cubicBezTo>
                  <a:cubicBezTo>
                    <a:pt x="18575" y="20841"/>
                    <a:pt x="18660" y="20868"/>
                    <a:pt x="18681" y="20868"/>
                  </a:cubicBezTo>
                  <a:cubicBezTo>
                    <a:pt x="18701" y="20868"/>
                    <a:pt x="18723" y="20866"/>
                    <a:pt x="18732" y="20860"/>
                  </a:cubicBezTo>
                  <a:cubicBezTo>
                    <a:pt x="18732" y="20853"/>
                    <a:pt x="18714" y="20831"/>
                    <a:pt x="18670" y="20810"/>
                  </a:cubicBezTo>
                  <a:cubicBezTo>
                    <a:pt x="18629" y="20788"/>
                    <a:pt x="18597" y="20761"/>
                    <a:pt x="18589" y="20751"/>
                  </a:cubicBezTo>
                  <a:cubicBezTo>
                    <a:pt x="18591" y="20741"/>
                    <a:pt x="18559" y="20718"/>
                    <a:pt x="18526" y="20702"/>
                  </a:cubicBezTo>
                  <a:cubicBezTo>
                    <a:pt x="18495" y="20685"/>
                    <a:pt x="18456" y="20668"/>
                    <a:pt x="18443" y="20671"/>
                  </a:cubicBezTo>
                  <a:cubicBezTo>
                    <a:pt x="18428" y="20671"/>
                    <a:pt x="18387" y="20660"/>
                    <a:pt x="18347" y="20653"/>
                  </a:cubicBezTo>
                  <a:cubicBezTo>
                    <a:pt x="18311" y="20642"/>
                    <a:pt x="18285" y="20635"/>
                    <a:pt x="18289" y="20632"/>
                  </a:cubicBezTo>
                  <a:cubicBezTo>
                    <a:pt x="18298" y="20632"/>
                    <a:pt x="18318" y="20627"/>
                    <a:pt x="18338" y="20627"/>
                  </a:cubicBezTo>
                  <a:cubicBezTo>
                    <a:pt x="18357" y="20627"/>
                    <a:pt x="18360" y="20617"/>
                    <a:pt x="18349" y="20606"/>
                  </a:cubicBezTo>
                  <a:cubicBezTo>
                    <a:pt x="18337" y="20596"/>
                    <a:pt x="18339" y="20589"/>
                    <a:pt x="18356" y="20589"/>
                  </a:cubicBezTo>
                  <a:cubicBezTo>
                    <a:pt x="18373" y="20589"/>
                    <a:pt x="18439" y="20605"/>
                    <a:pt x="18502" y="20623"/>
                  </a:cubicBezTo>
                  <a:cubicBezTo>
                    <a:pt x="18566" y="20642"/>
                    <a:pt x="18633" y="20656"/>
                    <a:pt x="18651" y="20656"/>
                  </a:cubicBezTo>
                  <a:cubicBezTo>
                    <a:pt x="18669" y="20656"/>
                    <a:pt x="18700" y="20665"/>
                    <a:pt x="18721" y="20676"/>
                  </a:cubicBezTo>
                  <a:cubicBezTo>
                    <a:pt x="18744" y="20686"/>
                    <a:pt x="18782" y="20704"/>
                    <a:pt x="18813" y="20713"/>
                  </a:cubicBezTo>
                  <a:cubicBezTo>
                    <a:pt x="18842" y="20722"/>
                    <a:pt x="18861" y="20722"/>
                    <a:pt x="18870" y="20719"/>
                  </a:cubicBezTo>
                  <a:cubicBezTo>
                    <a:pt x="18869" y="20713"/>
                    <a:pt x="18908" y="20715"/>
                    <a:pt x="18954" y="20719"/>
                  </a:cubicBezTo>
                  <a:cubicBezTo>
                    <a:pt x="18996" y="20728"/>
                    <a:pt x="19075" y="20743"/>
                    <a:pt x="19126" y="20756"/>
                  </a:cubicBezTo>
                  <a:cubicBezTo>
                    <a:pt x="19175" y="20772"/>
                    <a:pt x="19255" y="20791"/>
                    <a:pt x="19304" y="20798"/>
                  </a:cubicBezTo>
                  <a:cubicBezTo>
                    <a:pt x="19352" y="20804"/>
                    <a:pt x="19427" y="20822"/>
                    <a:pt x="19472" y="20831"/>
                  </a:cubicBezTo>
                  <a:cubicBezTo>
                    <a:pt x="19513" y="20845"/>
                    <a:pt x="19565" y="20855"/>
                    <a:pt x="19575" y="20863"/>
                  </a:cubicBezTo>
                  <a:cubicBezTo>
                    <a:pt x="19589" y="20870"/>
                    <a:pt x="19579" y="20877"/>
                    <a:pt x="19557" y="20874"/>
                  </a:cubicBezTo>
                  <a:cubicBezTo>
                    <a:pt x="19535" y="20874"/>
                    <a:pt x="19509" y="20877"/>
                    <a:pt x="19500" y="20884"/>
                  </a:cubicBezTo>
                  <a:cubicBezTo>
                    <a:pt x="19492" y="20890"/>
                    <a:pt x="19457" y="20889"/>
                    <a:pt x="19425" y="20880"/>
                  </a:cubicBezTo>
                  <a:cubicBezTo>
                    <a:pt x="19392" y="20872"/>
                    <a:pt x="19330" y="20853"/>
                    <a:pt x="19290" y="20836"/>
                  </a:cubicBezTo>
                  <a:cubicBezTo>
                    <a:pt x="19248" y="20822"/>
                    <a:pt x="19190" y="20809"/>
                    <a:pt x="19162" y="20803"/>
                  </a:cubicBezTo>
                  <a:cubicBezTo>
                    <a:pt x="19133" y="20799"/>
                    <a:pt x="19066" y="20799"/>
                    <a:pt x="19019" y="20809"/>
                  </a:cubicBezTo>
                  <a:cubicBezTo>
                    <a:pt x="18968" y="20815"/>
                    <a:pt x="18915" y="20817"/>
                    <a:pt x="18897" y="20817"/>
                  </a:cubicBezTo>
                  <a:cubicBezTo>
                    <a:pt x="18880" y="20814"/>
                    <a:pt x="18843" y="20809"/>
                    <a:pt x="18821" y="20800"/>
                  </a:cubicBezTo>
                  <a:cubicBezTo>
                    <a:pt x="18796" y="20794"/>
                    <a:pt x="18758" y="20790"/>
                    <a:pt x="18747" y="20798"/>
                  </a:cubicBezTo>
                  <a:cubicBezTo>
                    <a:pt x="18729" y="20801"/>
                    <a:pt x="18731" y="20817"/>
                    <a:pt x="18753" y="20828"/>
                  </a:cubicBezTo>
                  <a:cubicBezTo>
                    <a:pt x="18771" y="20841"/>
                    <a:pt x="18794" y="20857"/>
                    <a:pt x="18785" y="20863"/>
                  </a:cubicBezTo>
                  <a:cubicBezTo>
                    <a:pt x="18784" y="20871"/>
                    <a:pt x="18767" y="20880"/>
                    <a:pt x="18770" y="20884"/>
                  </a:cubicBezTo>
                  <a:cubicBezTo>
                    <a:pt x="18765" y="20888"/>
                    <a:pt x="18771" y="20896"/>
                    <a:pt x="18779" y="20903"/>
                  </a:cubicBezTo>
                  <a:cubicBezTo>
                    <a:pt x="18792" y="20908"/>
                    <a:pt x="18820" y="20923"/>
                    <a:pt x="18845" y="20933"/>
                  </a:cubicBezTo>
                  <a:cubicBezTo>
                    <a:pt x="18870" y="20943"/>
                    <a:pt x="18882" y="20951"/>
                    <a:pt x="18878" y="20956"/>
                  </a:cubicBezTo>
                  <a:cubicBezTo>
                    <a:pt x="18866" y="20956"/>
                    <a:pt x="18866" y="20970"/>
                    <a:pt x="18878" y="20975"/>
                  </a:cubicBezTo>
                  <a:cubicBezTo>
                    <a:pt x="18881" y="20983"/>
                    <a:pt x="18963" y="21006"/>
                    <a:pt x="19045" y="21031"/>
                  </a:cubicBezTo>
                  <a:cubicBezTo>
                    <a:pt x="19130" y="21054"/>
                    <a:pt x="19257" y="21097"/>
                    <a:pt x="19329" y="21123"/>
                  </a:cubicBezTo>
                  <a:cubicBezTo>
                    <a:pt x="19402" y="21150"/>
                    <a:pt x="19473" y="21179"/>
                    <a:pt x="19492" y="21179"/>
                  </a:cubicBezTo>
                  <a:cubicBezTo>
                    <a:pt x="19509" y="21182"/>
                    <a:pt x="19516" y="21180"/>
                    <a:pt x="19523" y="21176"/>
                  </a:cubicBezTo>
                  <a:cubicBezTo>
                    <a:pt x="19529" y="21171"/>
                    <a:pt x="19500" y="21154"/>
                    <a:pt x="19475" y="21138"/>
                  </a:cubicBezTo>
                  <a:cubicBezTo>
                    <a:pt x="19449" y="21122"/>
                    <a:pt x="19433" y="21100"/>
                    <a:pt x="19451" y="21100"/>
                  </a:cubicBezTo>
                  <a:cubicBezTo>
                    <a:pt x="19466" y="21094"/>
                    <a:pt x="19501" y="21093"/>
                    <a:pt x="19531" y="21097"/>
                  </a:cubicBezTo>
                  <a:cubicBezTo>
                    <a:pt x="19561" y="21100"/>
                    <a:pt x="19586" y="21098"/>
                    <a:pt x="19578" y="21093"/>
                  </a:cubicBezTo>
                  <a:cubicBezTo>
                    <a:pt x="19575" y="21087"/>
                    <a:pt x="19525" y="21063"/>
                    <a:pt x="19466" y="21041"/>
                  </a:cubicBezTo>
                  <a:cubicBezTo>
                    <a:pt x="19411" y="21016"/>
                    <a:pt x="19411" y="21007"/>
                    <a:pt x="19472" y="21016"/>
                  </a:cubicBezTo>
                  <a:cubicBezTo>
                    <a:pt x="19532" y="21026"/>
                    <a:pt x="19608" y="21033"/>
                    <a:pt x="19631" y="21025"/>
                  </a:cubicBezTo>
                  <a:cubicBezTo>
                    <a:pt x="19658" y="21022"/>
                    <a:pt x="19693" y="21008"/>
                    <a:pt x="19710" y="20996"/>
                  </a:cubicBezTo>
                  <a:cubicBezTo>
                    <a:pt x="19727" y="20983"/>
                    <a:pt x="19760" y="20972"/>
                    <a:pt x="19784" y="20972"/>
                  </a:cubicBezTo>
                  <a:cubicBezTo>
                    <a:pt x="19807" y="20972"/>
                    <a:pt x="19835" y="20979"/>
                    <a:pt x="19851" y="20983"/>
                  </a:cubicBezTo>
                  <a:cubicBezTo>
                    <a:pt x="19861" y="20991"/>
                    <a:pt x="19910" y="21006"/>
                    <a:pt x="19954" y="21019"/>
                  </a:cubicBezTo>
                  <a:cubicBezTo>
                    <a:pt x="20000" y="21031"/>
                    <a:pt x="20058" y="21047"/>
                    <a:pt x="20084" y="21055"/>
                  </a:cubicBezTo>
                  <a:cubicBezTo>
                    <a:pt x="20112" y="21061"/>
                    <a:pt x="20148" y="21068"/>
                    <a:pt x="20157" y="21076"/>
                  </a:cubicBezTo>
                  <a:cubicBezTo>
                    <a:pt x="20169" y="21081"/>
                    <a:pt x="20154" y="21085"/>
                    <a:pt x="20126" y="21082"/>
                  </a:cubicBezTo>
                  <a:cubicBezTo>
                    <a:pt x="20097" y="21079"/>
                    <a:pt x="20062" y="21084"/>
                    <a:pt x="20058" y="21094"/>
                  </a:cubicBezTo>
                  <a:cubicBezTo>
                    <a:pt x="20047" y="21102"/>
                    <a:pt x="20047" y="21117"/>
                    <a:pt x="20051" y="21125"/>
                  </a:cubicBezTo>
                  <a:cubicBezTo>
                    <a:pt x="20055" y="21134"/>
                    <a:pt x="20036" y="21144"/>
                    <a:pt x="20011" y="21151"/>
                  </a:cubicBezTo>
                  <a:cubicBezTo>
                    <a:pt x="19990" y="21161"/>
                    <a:pt x="19981" y="21175"/>
                    <a:pt x="20003" y="21193"/>
                  </a:cubicBezTo>
                  <a:cubicBezTo>
                    <a:pt x="20024" y="21211"/>
                    <a:pt x="20067" y="21236"/>
                    <a:pt x="20094" y="21251"/>
                  </a:cubicBezTo>
                  <a:cubicBezTo>
                    <a:pt x="20123" y="21266"/>
                    <a:pt x="20138" y="21286"/>
                    <a:pt x="20121" y="21286"/>
                  </a:cubicBezTo>
                  <a:cubicBezTo>
                    <a:pt x="20106" y="21289"/>
                    <a:pt x="20069" y="21293"/>
                    <a:pt x="20036" y="21289"/>
                  </a:cubicBezTo>
                  <a:cubicBezTo>
                    <a:pt x="20003" y="21289"/>
                    <a:pt x="19973" y="21278"/>
                    <a:pt x="19963" y="21272"/>
                  </a:cubicBezTo>
                  <a:cubicBezTo>
                    <a:pt x="19960" y="21265"/>
                    <a:pt x="19963" y="21259"/>
                    <a:pt x="19978" y="21259"/>
                  </a:cubicBezTo>
                  <a:cubicBezTo>
                    <a:pt x="19992" y="21259"/>
                    <a:pt x="19985" y="21240"/>
                    <a:pt x="19959" y="21220"/>
                  </a:cubicBezTo>
                  <a:cubicBezTo>
                    <a:pt x="19937" y="21198"/>
                    <a:pt x="19895" y="21178"/>
                    <a:pt x="19876" y="21169"/>
                  </a:cubicBezTo>
                  <a:cubicBezTo>
                    <a:pt x="19853" y="21165"/>
                    <a:pt x="19825" y="21159"/>
                    <a:pt x="19808" y="21159"/>
                  </a:cubicBezTo>
                  <a:cubicBezTo>
                    <a:pt x="19792" y="21162"/>
                    <a:pt x="19781" y="21168"/>
                    <a:pt x="19789" y="21178"/>
                  </a:cubicBezTo>
                  <a:cubicBezTo>
                    <a:pt x="19796" y="21187"/>
                    <a:pt x="19783" y="21191"/>
                    <a:pt x="19762" y="21184"/>
                  </a:cubicBezTo>
                  <a:cubicBezTo>
                    <a:pt x="19741" y="21178"/>
                    <a:pt x="19703" y="21167"/>
                    <a:pt x="19675" y="21164"/>
                  </a:cubicBezTo>
                  <a:cubicBezTo>
                    <a:pt x="19649" y="21158"/>
                    <a:pt x="19618" y="21158"/>
                    <a:pt x="19608" y="21162"/>
                  </a:cubicBezTo>
                  <a:cubicBezTo>
                    <a:pt x="19599" y="21166"/>
                    <a:pt x="19627" y="21185"/>
                    <a:pt x="19670" y="21205"/>
                  </a:cubicBezTo>
                  <a:cubicBezTo>
                    <a:pt x="19713" y="21224"/>
                    <a:pt x="19843" y="21275"/>
                    <a:pt x="19956" y="21319"/>
                  </a:cubicBezTo>
                  <a:cubicBezTo>
                    <a:pt x="20070" y="21363"/>
                    <a:pt x="20227" y="21413"/>
                    <a:pt x="20305" y="21432"/>
                  </a:cubicBezTo>
                  <a:cubicBezTo>
                    <a:pt x="20384" y="21450"/>
                    <a:pt x="20495" y="21481"/>
                    <a:pt x="20552" y="21501"/>
                  </a:cubicBezTo>
                  <a:cubicBezTo>
                    <a:pt x="20612" y="21519"/>
                    <a:pt x="20686" y="21538"/>
                    <a:pt x="20715" y="21546"/>
                  </a:cubicBezTo>
                  <a:cubicBezTo>
                    <a:pt x="20747" y="21549"/>
                    <a:pt x="20806" y="21566"/>
                    <a:pt x="20844" y="21579"/>
                  </a:cubicBezTo>
                  <a:cubicBezTo>
                    <a:pt x="20883" y="21592"/>
                    <a:pt x="20928" y="21599"/>
                    <a:pt x="20941" y="21596"/>
                  </a:cubicBezTo>
                  <a:cubicBezTo>
                    <a:pt x="20952" y="21591"/>
                    <a:pt x="20972" y="21580"/>
                    <a:pt x="20979" y="21567"/>
                  </a:cubicBezTo>
                  <a:cubicBezTo>
                    <a:pt x="20982" y="21555"/>
                    <a:pt x="20942" y="21521"/>
                    <a:pt x="20887" y="21488"/>
                  </a:cubicBezTo>
                  <a:cubicBezTo>
                    <a:pt x="20825" y="21460"/>
                    <a:pt x="20776" y="21423"/>
                    <a:pt x="20768" y="21412"/>
                  </a:cubicBezTo>
                  <a:cubicBezTo>
                    <a:pt x="20755" y="21402"/>
                    <a:pt x="20735" y="21383"/>
                    <a:pt x="20722" y="21370"/>
                  </a:cubicBezTo>
                  <a:cubicBezTo>
                    <a:pt x="20705" y="21358"/>
                    <a:pt x="20676" y="21331"/>
                    <a:pt x="20656" y="21311"/>
                  </a:cubicBezTo>
                  <a:cubicBezTo>
                    <a:pt x="20634" y="21290"/>
                    <a:pt x="20600" y="21252"/>
                    <a:pt x="20573" y="21228"/>
                  </a:cubicBezTo>
                  <a:cubicBezTo>
                    <a:pt x="20548" y="21203"/>
                    <a:pt x="20498" y="21166"/>
                    <a:pt x="20464" y="21146"/>
                  </a:cubicBezTo>
                  <a:cubicBezTo>
                    <a:pt x="20436" y="21124"/>
                    <a:pt x="20397" y="21101"/>
                    <a:pt x="20390" y="21091"/>
                  </a:cubicBezTo>
                  <a:cubicBezTo>
                    <a:pt x="20385" y="21080"/>
                    <a:pt x="20417" y="21072"/>
                    <a:pt x="20465" y="21072"/>
                  </a:cubicBezTo>
                  <a:cubicBezTo>
                    <a:pt x="20514" y="21072"/>
                    <a:pt x="20578" y="21062"/>
                    <a:pt x="20610" y="21051"/>
                  </a:cubicBezTo>
                  <a:cubicBezTo>
                    <a:pt x="20638" y="21037"/>
                    <a:pt x="20694" y="21027"/>
                    <a:pt x="20722" y="21033"/>
                  </a:cubicBezTo>
                  <a:cubicBezTo>
                    <a:pt x="20752" y="21033"/>
                    <a:pt x="20821" y="21043"/>
                    <a:pt x="20871" y="21056"/>
                  </a:cubicBezTo>
                  <a:cubicBezTo>
                    <a:pt x="20925" y="21065"/>
                    <a:pt x="20978" y="21073"/>
                    <a:pt x="20990" y="21070"/>
                  </a:cubicBezTo>
                  <a:cubicBezTo>
                    <a:pt x="21004" y="21070"/>
                    <a:pt x="20986" y="21046"/>
                    <a:pt x="20955" y="21022"/>
                  </a:cubicBezTo>
                  <a:cubicBezTo>
                    <a:pt x="20919" y="21000"/>
                    <a:pt x="20916" y="20979"/>
                    <a:pt x="20932" y="20973"/>
                  </a:cubicBezTo>
                  <a:cubicBezTo>
                    <a:pt x="20951" y="20969"/>
                    <a:pt x="21011" y="20969"/>
                    <a:pt x="21063" y="20978"/>
                  </a:cubicBezTo>
                  <a:cubicBezTo>
                    <a:pt x="21115" y="20985"/>
                    <a:pt x="21228" y="21011"/>
                    <a:pt x="21312" y="21039"/>
                  </a:cubicBezTo>
                  <a:cubicBezTo>
                    <a:pt x="21395" y="21065"/>
                    <a:pt x="21484" y="21087"/>
                    <a:pt x="21510" y="21087"/>
                  </a:cubicBezTo>
                  <a:cubicBezTo>
                    <a:pt x="21535" y="21087"/>
                    <a:pt x="21563" y="21090"/>
                    <a:pt x="21574" y="21093"/>
                  </a:cubicBezTo>
                  <a:cubicBezTo>
                    <a:pt x="21583" y="21097"/>
                    <a:pt x="21514" y="21068"/>
                    <a:pt x="21415" y="21032"/>
                  </a:cubicBezTo>
                  <a:cubicBezTo>
                    <a:pt x="21319" y="20995"/>
                    <a:pt x="21186" y="20956"/>
                    <a:pt x="21127" y="20940"/>
                  </a:cubicBezTo>
                  <a:cubicBezTo>
                    <a:pt x="21065" y="20928"/>
                    <a:pt x="20994" y="20906"/>
                    <a:pt x="20969" y="20895"/>
                  </a:cubicBezTo>
                  <a:close/>
                  <a:moveTo>
                    <a:pt x="20969" y="2089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7" name="AutoShape 1359"/>
            <p:cNvSpPr>
              <a:spLocks/>
            </p:cNvSpPr>
            <p:nvPr/>
          </p:nvSpPr>
          <p:spPr bwMode="auto">
            <a:xfrm>
              <a:off x="4838700" y="7061200"/>
              <a:ext cx="3175" cy="1588"/>
            </a:xfrm>
            <a:custGeom>
              <a:avLst/>
              <a:gdLst/>
              <a:ahLst/>
              <a:cxnLst/>
              <a:rect l="0" t="0" r="r" b="b"/>
              <a:pathLst>
                <a:path w="17833" h="17330">
                  <a:moveTo>
                    <a:pt x="7161" y="1859"/>
                  </a:moveTo>
                  <a:cubicBezTo>
                    <a:pt x="-719" y="-2026"/>
                    <a:pt x="-2307" y="248"/>
                    <a:pt x="3455" y="8019"/>
                  </a:cubicBezTo>
                  <a:cubicBezTo>
                    <a:pt x="9149" y="15695"/>
                    <a:pt x="15517" y="19574"/>
                    <a:pt x="17408" y="15973"/>
                  </a:cubicBezTo>
                  <a:cubicBezTo>
                    <a:pt x="19293" y="12378"/>
                    <a:pt x="14744" y="6313"/>
                    <a:pt x="7161" y="1859"/>
                  </a:cubicBezTo>
                  <a:close/>
                  <a:moveTo>
                    <a:pt x="7161" y="18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8" name="AutoShape 1360"/>
            <p:cNvSpPr>
              <a:spLocks/>
            </p:cNvSpPr>
            <p:nvPr/>
          </p:nvSpPr>
          <p:spPr bwMode="auto">
            <a:xfrm>
              <a:off x="4826000" y="7048500"/>
              <a:ext cx="11113" cy="9525"/>
            </a:xfrm>
            <a:custGeom>
              <a:avLst/>
              <a:gdLst/>
              <a:ahLst/>
              <a:cxnLst/>
              <a:rect l="0" t="0" r="r" b="b"/>
              <a:pathLst>
                <a:path w="20779" h="21191">
                  <a:moveTo>
                    <a:pt x="20696" y="20555"/>
                  </a:moveTo>
                  <a:cubicBezTo>
                    <a:pt x="21111" y="19338"/>
                    <a:pt x="19923" y="15380"/>
                    <a:pt x="18030" y="11445"/>
                  </a:cubicBezTo>
                  <a:cubicBezTo>
                    <a:pt x="15734" y="7750"/>
                    <a:pt x="12003" y="3499"/>
                    <a:pt x="9257" y="2041"/>
                  </a:cubicBezTo>
                  <a:cubicBezTo>
                    <a:pt x="6401" y="948"/>
                    <a:pt x="2829" y="0"/>
                    <a:pt x="1182" y="0"/>
                  </a:cubicBezTo>
                  <a:cubicBezTo>
                    <a:pt x="-489" y="0"/>
                    <a:pt x="-408" y="1774"/>
                    <a:pt x="1551" y="3304"/>
                  </a:cubicBezTo>
                  <a:cubicBezTo>
                    <a:pt x="3400" y="4981"/>
                    <a:pt x="6738" y="8625"/>
                    <a:pt x="8619" y="11686"/>
                  </a:cubicBezTo>
                  <a:cubicBezTo>
                    <a:pt x="10783" y="14480"/>
                    <a:pt x="13997" y="18221"/>
                    <a:pt x="15991" y="19826"/>
                  </a:cubicBezTo>
                  <a:cubicBezTo>
                    <a:pt x="18030" y="21356"/>
                    <a:pt x="19989" y="21600"/>
                    <a:pt x="20696" y="20555"/>
                  </a:cubicBezTo>
                  <a:close/>
                  <a:moveTo>
                    <a:pt x="20696" y="205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59" name="AutoShape 1361"/>
            <p:cNvSpPr>
              <a:spLocks/>
            </p:cNvSpPr>
            <p:nvPr/>
          </p:nvSpPr>
          <p:spPr bwMode="auto">
            <a:xfrm>
              <a:off x="4813300" y="7023100"/>
              <a:ext cx="3175" cy="3175"/>
            </a:xfrm>
            <a:custGeom>
              <a:avLst/>
              <a:gdLst/>
              <a:ahLst/>
              <a:cxnLst/>
              <a:rect l="0" t="0" r="r" b="b"/>
              <a:pathLst>
                <a:path w="17191" h="18883">
                  <a:moveTo>
                    <a:pt x="7759" y="12807"/>
                  </a:moveTo>
                  <a:cubicBezTo>
                    <a:pt x="15368" y="20468"/>
                    <a:pt x="19296" y="20902"/>
                    <a:pt x="16039" y="14010"/>
                  </a:cubicBezTo>
                  <a:cubicBezTo>
                    <a:pt x="13098" y="6905"/>
                    <a:pt x="6721" y="782"/>
                    <a:pt x="2188" y="71"/>
                  </a:cubicBezTo>
                  <a:cubicBezTo>
                    <a:pt x="-2304" y="-698"/>
                    <a:pt x="399" y="4879"/>
                    <a:pt x="7759" y="12807"/>
                  </a:cubicBezTo>
                  <a:close/>
                  <a:moveTo>
                    <a:pt x="7759" y="128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0" name="AutoShape 1362"/>
            <p:cNvSpPr>
              <a:spLocks/>
            </p:cNvSpPr>
            <p:nvPr/>
          </p:nvSpPr>
          <p:spPr bwMode="auto">
            <a:xfrm>
              <a:off x="4826000" y="7048500"/>
              <a:ext cx="3175" cy="3175"/>
            </a:xfrm>
            <a:custGeom>
              <a:avLst/>
              <a:gdLst/>
              <a:ahLst/>
              <a:cxnLst/>
              <a:rect l="0" t="0" r="r" b="b"/>
              <a:pathLst>
                <a:path w="17633" h="17748">
                  <a:moveTo>
                    <a:pt x="17098" y="14422"/>
                  </a:moveTo>
                  <a:cubicBezTo>
                    <a:pt x="14547" y="8970"/>
                    <a:pt x="8304" y="2399"/>
                    <a:pt x="2945" y="458"/>
                  </a:cubicBezTo>
                  <a:cubicBezTo>
                    <a:pt x="-2480" y="-1421"/>
                    <a:pt x="-73" y="2587"/>
                    <a:pt x="7398" y="10602"/>
                  </a:cubicBezTo>
                  <a:cubicBezTo>
                    <a:pt x="15308" y="18179"/>
                    <a:pt x="19120" y="20179"/>
                    <a:pt x="17098" y="14422"/>
                  </a:cubicBezTo>
                  <a:close/>
                  <a:moveTo>
                    <a:pt x="17098" y="144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1" name="AutoShape 1363"/>
            <p:cNvSpPr>
              <a:spLocks/>
            </p:cNvSpPr>
            <p:nvPr/>
          </p:nvSpPr>
          <p:spPr bwMode="auto">
            <a:xfrm>
              <a:off x="4800600" y="7010400"/>
              <a:ext cx="7938" cy="4763"/>
            </a:xfrm>
            <a:custGeom>
              <a:avLst/>
              <a:gdLst/>
              <a:ahLst/>
              <a:cxnLst/>
              <a:rect l="0" t="0" r="r" b="b"/>
              <a:pathLst>
                <a:path w="21414" h="20731">
                  <a:moveTo>
                    <a:pt x="5587" y="889"/>
                  </a:moveTo>
                  <a:cubicBezTo>
                    <a:pt x="2574" y="-433"/>
                    <a:pt x="-71" y="-389"/>
                    <a:pt x="28" y="1758"/>
                  </a:cubicBezTo>
                  <a:cubicBezTo>
                    <a:pt x="-186" y="3912"/>
                    <a:pt x="863" y="7513"/>
                    <a:pt x="2244" y="9789"/>
                  </a:cubicBezTo>
                  <a:cubicBezTo>
                    <a:pt x="3826" y="11941"/>
                    <a:pt x="6586" y="15459"/>
                    <a:pt x="8883" y="16946"/>
                  </a:cubicBezTo>
                  <a:cubicBezTo>
                    <a:pt x="11129" y="18645"/>
                    <a:pt x="15042" y="19931"/>
                    <a:pt x="17471" y="20590"/>
                  </a:cubicBezTo>
                  <a:cubicBezTo>
                    <a:pt x="19884" y="21167"/>
                    <a:pt x="21264" y="19887"/>
                    <a:pt x="21414" y="18353"/>
                  </a:cubicBezTo>
                  <a:cubicBezTo>
                    <a:pt x="21098" y="16866"/>
                    <a:pt x="18603" y="12976"/>
                    <a:pt x="15874" y="9748"/>
                  </a:cubicBezTo>
                  <a:cubicBezTo>
                    <a:pt x="13027" y="6602"/>
                    <a:pt x="8399" y="2712"/>
                    <a:pt x="5587" y="889"/>
                  </a:cubicBezTo>
                  <a:close/>
                  <a:moveTo>
                    <a:pt x="5587" y="88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2" name="AutoShape 1364"/>
            <p:cNvSpPr>
              <a:spLocks/>
            </p:cNvSpPr>
            <p:nvPr/>
          </p:nvSpPr>
          <p:spPr bwMode="auto">
            <a:xfrm>
              <a:off x="4813300" y="7010400"/>
              <a:ext cx="6350" cy="6350"/>
            </a:xfrm>
            <a:custGeom>
              <a:avLst/>
              <a:gdLst/>
              <a:ahLst/>
              <a:cxnLst/>
              <a:rect l="0" t="0" r="r" b="b"/>
              <a:pathLst>
                <a:path w="20096" h="21180">
                  <a:moveTo>
                    <a:pt x="13030" y="17267"/>
                  </a:moveTo>
                  <a:cubicBezTo>
                    <a:pt x="14135" y="19629"/>
                    <a:pt x="16932" y="21180"/>
                    <a:pt x="18868" y="21180"/>
                  </a:cubicBezTo>
                  <a:cubicBezTo>
                    <a:pt x="20717" y="20513"/>
                    <a:pt x="20376" y="17855"/>
                    <a:pt x="18527" y="13796"/>
                  </a:cubicBezTo>
                  <a:cubicBezTo>
                    <a:pt x="16373" y="9878"/>
                    <a:pt x="11793" y="5120"/>
                    <a:pt x="8652" y="2790"/>
                  </a:cubicBezTo>
                  <a:cubicBezTo>
                    <a:pt x="5462" y="542"/>
                    <a:pt x="1765" y="-420"/>
                    <a:pt x="458" y="171"/>
                  </a:cubicBezTo>
                  <a:cubicBezTo>
                    <a:pt x="-883" y="651"/>
                    <a:pt x="799" y="4269"/>
                    <a:pt x="4444" y="7222"/>
                  </a:cubicBezTo>
                  <a:cubicBezTo>
                    <a:pt x="7769" y="10545"/>
                    <a:pt x="11911" y="14828"/>
                    <a:pt x="13030" y="17267"/>
                  </a:cubicBezTo>
                  <a:close/>
                  <a:moveTo>
                    <a:pt x="13030" y="1726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3" name="AutoShape 1365"/>
            <p:cNvSpPr>
              <a:spLocks/>
            </p:cNvSpPr>
            <p:nvPr/>
          </p:nvSpPr>
          <p:spPr bwMode="auto">
            <a:xfrm>
              <a:off x="4813300" y="7010400"/>
              <a:ext cx="3175" cy="3175"/>
            </a:xfrm>
            <a:custGeom>
              <a:avLst/>
              <a:gdLst/>
              <a:ahLst/>
              <a:cxnLst/>
              <a:rect l="0" t="0" r="r" b="b"/>
              <a:pathLst>
                <a:path w="19536" h="19470">
                  <a:moveTo>
                    <a:pt x="17038" y="18904"/>
                  </a:moveTo>
                  <a:cubicBezTo>
                    <a:pt x="20264" y="17983"/>
                    <a:pt x="20191" y="11543"/>
                    <a:pt x="17819" y="6794"/>
                  </a:cubicBezTo>
                  <a:cubicBezTo>
                    <a:pt x="15834" y="1841"/>
                    <a:pt x="9395" y="-784"/>
                    <a:pt x="4116" y="207"/>
                  </a:cubicBezTo>
                  <a:cubicBezTo>
                    <a:pt x="-1126" y="1341"/>
                    <a:pt x="-1336" y="6794"/>
                    <a:pt x="3342" y="12388"/>
                  </a:cubicBezTo>
                  <a:cubicBezTo>
                    <a:pt x="8367" y="17700"/>
                    <a:pt x="14246" y="20816"/>
                    <a:pt x="17038" y="18904"/>
                  </a:cubicBezTo>
                  <a:close/>
                  <a:moveTo>
                    <a:pt x="17038" y="189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4" name="AutoShape 1366"/>
            <p:cNvSpPr>
              <a:spLocks/>
            </p:cNvSpPr>
            <p:nvPr/>
          </p:nvSpPr>
          <p:spPr bwMode="auto">
            <a:xfrm>
              <a:off x="4826000" y="7048500"/>
              <a:ext cx="9525" cy="7938"/>
            </a:xfrm>
            <a:custGeom>
              <a:avLst/>
              <a:gdLst/>
              <a:ahLst/>
              <a:cxnLst/>
              <a:rect l="0" t="0" r="r" b="b"/>
              <a:pathLst>
                <a:path w="20705" h="20892">
                  <a:moveTo>
                    <a:pt x="10577" y="8204"/>
                  </a:moveTo>
                  <a:cubicBezTo>
                    <a:pt x="7941" y="6242"/>
                    <a:pt x="4592" y="3320"/>
                    <a:pt x="3231" y="1644"/>
                  </a:cubicBezTo>
                  <a:cubicBezTo>
                    <a:pt x="2057" y="-314"/>
                    <a:pt x="770" y="-281"/>
                    <a:pt x="7" y="494"/>
                  </a:cubicBezTo>
                  <a:cubicBezTo>
                    <a:pt x="-154" y="1708"/>
                    <a:pt x="2494" y="6275"/>
                    <a:pt x="6429" y="10843"/>
                  </a:cubicBezTo>
                  <a:cubicBezTo>
                    <a:pt x="10352" y="15474"/>
                    <a:pt x="15886" y="19485"/>
                    <a:pt x="18386" y="20789"/>
                  </a:cubicBezTo>
                  <a:cubicBezTo>
                    <a:pt x="21109" y="21286"/>
                    <a:pt x="21446" y="19981"/>
                    <a:pt x="19335" y="16995"/>
                  </a:cubicBezTo>
                  <a:cubicBezTo>
                    <a:pt x="17186" y="14047"/>
                    <a:pt x="13225" y="10220"/>
                    <a:pt x="10577" y="8204"/>
                  </a:cubicBezTo>
                  <a:close/>
                  <a:moveTo>
                    <a:pt x="10577" y="820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5" name="AutoShape 1367"/>
            <p:cNvSpPr>
              <a:spLocks/>
            </p:cNvSpPr>
            <p:nvPr/>
          </p:nvSpPr>
          <p:spPr bwMode="auto">
            <a:xfrm>
              <a:off x="4991100" y="7277100"/>
              <a:ext cx="14288" cy="9525"/>
            </a:xfrm>
            <a:custGeom>
              <a:avLst/>
              <a:gdLst/>
              <a:ahLst/>
              <a:cxnLst/>
              <a:rect l="0" t="0" r="r" b="b"/>
              <a:pathLst>
                <a:path w="20986" h="21048">
                  <a:moveTo>
                    <a:pt x="10347" y="10225"/>
                  </a:moveTo>
                  <a:cubicBezTo>
                    <a:pt x="11168" y="11427"/>
                    <a:pt x="12703" y="14147"/>
                    <a:pt x="14144" y="15505"/>
                  </a:cubicBezTo>
                  <a:cubicBezTo>
                    <a:pt x="15534" y="17024"/>
                    <a:pt x="17366" y="19426"/>
                    <a:pt x="18475" y="20307"/>
                  </a:cubicBezTo>
                  <a:cubicBezTo>
                    <a:pt x="19519" y="21344"/>
                    <a:pt x="20468" y="21237"/>
                    <a:pt x="20910" y="20331"/>
                  </a:cubicBezTo>
                  <a:cubicBezTo>
                    <a:pt x="21274" y="19346"/>
                    <a:pt x="20307" y="16385"/>
                    <a:pt x="18901" y="13957"/>
                  </a:cubicBezTo>
                  <a:cubicBezTo>
                    <a:pt x="17552" y="11505"/>
                    <a:pt x="14585" y="8625"/>
                    <a:pt x="12449" y="7398"/>
                  </a:cubicBezTo>
                  <a:cubicBezTo>
                    <a:pt x="10271" y="6278"/>
                    <a:pt x="7296" y="4383"/>
                    <a:pt x="5896" y="3051"/>
                  </a:cubicBezTo>
                  <a:cubicBezTo>
                    <a:pt x="4396" y="1986"/>
                    <a:pt x="2200" y="756"/>
                    <a:pt x="1032" y="117"/>
                  </a:cubicBezTo>
                  <a:cubicBezTo>
                    <a:pt x="-182" y="-256"/>
                    <a:pt x="-326" y="279"/>
                    <a:pt x="608" y="1504"/>
                  </a:cubicBezTo>
                  <a:cubicBezTo>
                    <a:pt x="1709" y="2439"/>
                    <a:pt x="3905" y="4518"/>
                    <a:pt x="5702" y="5746"/>
                  </a:cubicBezTo>
                  <a:cubicBezTo>
                    <a:pt x="7448" y="7051"/>
                    <a:pt x="9542" y="8943"/>
                    <a:pt x="10347" y="10225"/>
                  </a:cubicBezTo>
                  <a:close/>
                  <a:moveTo>
                    <a:pt x="10347" y="1022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6" name="AutoShape 1368"/>
            <p:cNvSpPr>
              <a:spLocks/>
            </p:cNvSpPr>
            <p:nvPr/>
          </p:nvSpPr>
          <p:spPr bwMode="auto">
            <a:xfrm>
              <a:off x="4927600" y="7200900"/>
              <a:ext cx="3175" cy="4763"/>
            </a:xfrm>
            <a:custGeom>
              <a:avLst/>
              <a:gdLst/>
              <a:ahLst/>
              <a:cxnLst/>
              <a:rect l="0" t="0" r="r" b="b"/>
              <a:pathLst>
                <a:path w="20224" h="20093">
                  <a:moveTo>
                    <a:pt x="5594" y="2228"/>
                  </a:moveTo>
                  <a:cubicBezTo>
                    <a:pt x="2007" y="-300"/>
                    <a:pt x="-474" y="-777"/>
                    <a:pt x="77" y="1312"/>
                  </a:cubicBezTo>
                  <a:cubicBezTo>
                    <a:pt x="752" y="3363"/>
                    <a:pt x="4925" y="8736"/>
                    <a:pt x="9827" y="13225"/>
                  </a:cubicBezTo>
                  <a:cubicBezTo>
                    <a:pt x="14729" y="17681"/>
                    <a:pt x="19842" y="20823"/>
                    <a:pt x="19960" y="19945"/>
                  </a:cubicBezTo>
                  <a:cubicBezTo>
                    <a:pt x="21126" y="19945"/>
                    <a:pt x="18150" y="16238"/>
                    <a:pt x="16541" y="12791"/>
                  </a:cubicBezTo>
                  <a:cubicBezTo>
                    <a:pt x="14060" y="9606"/>
                    <a:pt x="9128" y="4847"/>
                    <a:pt x="5594" y="2228"/>
                  </a:cubicBezTo>
                  <a:close/>
                  <a:moveTo>
                    <a:pt x="5594" y="222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7" name="AutoShape 1369"/>
            <p:cNvSpPr>
              <a:spLocks/>
            </p:cNvSpPr>
            <p:nvPr/>
          </p:nvSpPr>
          <p:spPr bwMode="auto">
            <a:xfrm>
              <a:off x="4991100" y="7277100"/>
              <a:ext cx="50800" cy="33338"/>
            </a:xfrm>
            <a:custGeom>
              <a:avLst/>
              <a:gdLst/>
              <a:ahLst/>
              <a:cxnLst/>
              <a:rect l="0" t="0" r="r" b="b"/>
              <a:pathLst>
                <a:path w="21518" h="21398">
                  <a:moveTo>
                    <a:pt x="20408" y="20907"/>
                  </a:moveTo>
                  <a:cubicBezTo>
                    <a:pt x="20985" y="21319"/>
                    <a:pt x="21461" y="21478"/>
                    <a:pt x="21502" y="21359"/>
                  </a:cubicBezTo>
                  <a:cubicBezTo>
                    <a:pt x="21585" y="21359"/>
                    <a:pt x="21320" y="20866"/>
                    <a:pt x="21065" y="20510"/>
                  </a:cubicBezTo>
                  <a:cubicBezTo>
                    <a:pt x="20811" y="20177"/>
                    <a:pt x="20396" y="19700"/>
                    <a:pt x="20120" y="19541"/>
                  </a:cubicBezTo>
                  <a:cubicBezTo>
                    <a:pt x="19856" y="19375"/>
                    <a:pt x="19011" y="18566"/>
                    <a:pt x="18258" y="17709"/>
                  </a:cubicBezTo>
                  <a:cubicBezTo>
                    <a:pt x="17508" y="16883"/>
                    <a:pt x="16591" y="15804"/>
                    <a:pt x="16189" y="15400"/>
                  </a:cubicBezTo>
                  <a:cubicBezTo>
                    <a:pt x="15846" y="14876"/>
                    <a:pt x="14943" y="14177"/>
                    <a:pt x="14249" y="13749"/>
                  </a:cubicBezTo>
                  <a:cubicBezTo>
                    <a:pt x="13543" y="13377"/>
                    <a:pt x="12533" y="12424"/>
                    <a:pt x="11938" y="11868"/>
                  </a:cubicBezTo>
                  <a:cubicBezTo>
                    <a:pt x="11367" y="11274"/>
                    <a:pt x="10385" y="10416"/>
                    <a:pt x="9811" y="9845"/>
                  </a:cubicBezTo>
                  <a:cubicBezTo>
                    <a:pt x="9211" y="9361"/>
                    <a:pt x="8354" y="8528"/>
                    <a:pt x="7833" y="8242"/>
                  </a:cubicBezTo>
                  <a:cubicBezTo>
                    <a:pt x="7331" y="7901"/>
                    <a:pt x="6503" y="7179"/>
                    <a:pt x="5999" y="6663"/>
                  </a:cubicBezTo>
                  <a:cubicBezTo>
                    <a:pt x="5472" y="6147"/>
                    <a:pt x="4285" y="4766"/>
                    <a:pt x="3366" y="3560"/>
                  </a:cubicBezTo>
                  <a:cubicBezTo>
                    <a:pt x="2460" y="2330"/>
                    <a:pt x="1315" y="1021"/>
                    <a:pt x="868" y="560"/>
                  </a:cubicBezTo>
                  <a:cubicBezTo>
                    <a:pt x="421" y="124"/>
                    <a:pt x="45" y="-122"/>
                    <a:pt x="1" y="61"/>
                  </a:cubicBezTo>
                  <a:cubicBezTo>
                    <a:pt x="-15" y="251"/>
                    <a:pt x="216" y="1013"/>
                    <a:pt x="632" y="1656"/>
                  </a:cubicBezTo>
                  <a:cubicBezTo>
                    <a:pt x="990" y="2377"/>
                    <a:pt x="1919" y="3703"/>
                    <a:pt x="2579" y="4743"/>
                  </a:cubicBezTo>
                  <a:cubicBezTo>
                    <a:pt x="3293" y="5679"/>
                    <a:pt x="4345" y="6972"/>
                    <a:pt x="4989" y="7449"/>
                  </a:cubicBezTo>
                  <a:cubicBezTo>
                    <a:pt x="5633" y="7940"/>
                    <a:pt x="6971" y="9051"/>
                    <a:pt x="7931" y="10011"/>
                  </a:cubicBezTo>
                  <a:cubicBezTo>
                    <a:pt x="8902" y="10924"/>
                    <a:pt x="10050" y="12258"/>
                    <a:pt x="10561" y="12828"/>
                  </a:cubicBezTo>
                  <a:cubicBezTo>
                    <a:pt x="10985" y="13543"/>
                    <a:pt x="11819" y="14154"/>
                    <a:pt x="12242" y="14519"/>
                  </a:cubicBezTo>
                  <a:cubicBezTo>
                    <a:pt x="12699" y="14772"/>
                    <a:pt x="13200" y="15074"/>
                    <a:pt x="13374" y="15074"/>
                  </a:cubicBezTo>
                  <a:cubicBezTo>
                    <a:pt x="13535" y="14955"/>
                    <a:pt x="14423" y="15844"/>
                    <a:pt x="15379" y="16614"/>
                  </a:cubicBezTo>
                  <a:cubicBezTo>
                    <a:pt x="16300" y="17446"/>
                    <a:pt x="17594" y="18550"/>
                    <a:pt x="18204" y="19168"/>
                  </a:cubicBezTo>
                  <a:cubicBezTo>
                    <a:pt x="18856" y="19676"/>
                    <a:pt x="19803" y="20621"/>
                    <a:pt x="20408" y="20907"/>
                  </a:cubicBezTo>
                  <a:close/>
                  <a:moveTo>
                    <a:pt x="20408" y="2090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8" name="AutoShape 1370"/>
            <p:cNvSpPr>
              <a:spLocks/>
            </p:cNvSpPr>
            <p:nvPr/>
          </p:nvSpPr>
          <p:spPr bwMode="auto">
            <a:xfrm>
              <a:off x="4889500" y="7150100"/>
              <a:ext cx="38100" cy="41275"/>
            </a:xfrm>
            <a:custGeom>
              <a:avLst/>
              <a:gdLst/>
              <a:ahLst/>
              <a:cxnLst/>
              <a:rect l="0" t="0" r="r" b="b"/>
              <a:pathLst>
                <a:path w="21374" h="21600">
                  <a:moveTo>
                    <a:pt x="18401" y="16876"/>
                  </a:moveTo>
                  <a:cubicBezTo>
                    <a:pt x="17585" y="15891"/>
                    <a:pt x="16886" y="15114"/>
                    <a:pt x="16851" y="14977"/>
                  </a:cubicBezTo>
                  <a:cubicBezTo>
                    <a:pt x="16931" y="14864"/>
                    <a:pt x="16339" y="13880"/>
                    <a:pt x="15578" y="12834"/>
                  </a:cubicBezTo>
                  <a:cubicBezTo>
                    <a:pt x="14875" y="11762"/>
                    <a:pt x="13553" y="10289"/>
                    <a:pt x="12723" y="9524"/>
                  </a:cubicBezTo>
                  <a:cubicBezTo>
                    <a:pt x="11843" y="8798"/>
                    <a:pt x="10321" y="6962"/>
                    <a:pt x="9121" y="5608"/>
                  </a:cubicBezTo>
                  <a:cubicBezTo>
                    <a:pt x="7999" y="4223"/>
                    <a:pt x="6445" y="2763"/>
                    <a:pt x="5805" y="2268"/>
                  </a:cubicBezTo>
                  <a:cubicBezTo>
                    <a:pt x="5113" y="1829"/>
                    <a:pt x="3677" y="1065"/>
                    <a:pt x="2569" y="626"/>
                  </a:cubicBezTo>
                  <a:cubicBezTo>
                    <a:pt x="1470" y="175"/>
                    <a:pt x="372" y="0"/>
                    <a:pt x="88" y="0"/>
                  </a:cubicBezTo>
                  <a:cubicBezTo>
                    <a:pt x="-60" y="213"/>
                    <a:pt x="-54" y="683"/>
                    <a:pt x="369" y="1310"/>
                  </a:cubicBezTo>
                  <a:cubicBezTo>
                    <a:pt x="711" y="1974"/>
                    <a:pt x="1608" y="2939"/>
                    <a:pt x="2324" y="3402"/>
                  </a:cubicBezTo>
                  <a:cubicBezTo>
                    <a:pt x="2982" y="3935"/>
                    <a:pt x="3632" y="4662"/>
                    <a:pt x="3663" y="5050"/>
                  </a:cubicBezTo>
                  <a:cubicBezTo>
                    <a:pt x="3836" y="5407"/>
                    <a:pt x="4010" y="6053"/>
                    <a:pt x="4338" y="6379"/>
                  </a:cubicBezTo>
                  <a:cubicBezTo>
                    <a:pt x="4639" y="6711"/>
                    <a:pt x="5151" y="7099"/>
                    <a:pt x="5473" y="7206"/>
                  </a:cubicBezTo>
                  <a:cubicBezTo>
                    <a:pt x="5795" y="7331"/>
                    <a:pt x="6123" y="7237"/>
                    <a:pt x="6269" y="7062"/>
                  </a:cubicBezTo>
                  <a:cubicBezTo>
                    <a:pt x="6296" y="6849"/>
                    <a:pt x="6591" y="7031"/>
                    <a:pt x="6802" y="7363"/>
                  </a:cubicBezTo>
                  <a:cubicBezTo>
                    <a:pt x="6937" y="7727"/>
                    <a:pt x="6844" y="8096"/>
                    <a:pt x="6487" y="8202"/>
                  </a:cubicBezTo>
                  <a:cubicBezTo>
                    <a:pt x="6169" y="8377"/>
                    <a:pt x="5231" y="8290"/>
                    <a:pt x="4525" y="8001"/>
                  </a:cubicBezTo>
                  <a:cubicBezTo>
                    <a:pt x="3788" y="7833"/>
                    <a:pt x="4418" y="8747"/>
                    <a:pt x="5885" y="10151"/>
                  </a:cubicBezTo>
                  <a:cubicBezTo>
                    <a:pt x="7311" y="11605"/>
                    <a:pt x="9141" y="13284"/>
                    <a:pt x="9771" y="14049"/>
                  </a:cubicBezTo>
                  <a:cubicBezTo>
                    <a:pt x="10446" y="14794"/>
                    <a:pt x="11726" y="16017"/>
                    <a:pt x="12709" y="16681"/>
                  </a:cubicBezTo>
                  <a:cubicBezTo>
                    <a:pt x="13674" y="17357"/>
                    <a:pt x="14644" y="17897"/>
                    <a:pt x="14903" y="17897"/>
                  </a:cubicBezTo>
                  <a:cubicBezTo>
                    <a:pt x="15148" y="17897"/>
                    <a:pt x="15218" y="17464"/>
                    <a:pt x="15089" y="17000"/>
                  </a:cubicBezTo>
                  <a:cubicBezTo>
                    <a:pt x="14885" y="16543"/>
                    <a:pt x="15269" y="16587"/>
                    <a:pt x="15765" y="17163"/>
                  </a:cubicBezTo>
                  <a:cubicBezTo>
                    <a:pt x="16276" y="17721"/>
                    <a:pt x="17159" y="18686"/>
                    <a:pt x="17654" y="19337"/>
                  </a:cubicBezTo>
                  <a:cubicBezTo>
                    <a:pt x="18197" y="19958"/>
                    <a:pt x="19059" y="20735"/>
                    <a:pt x="19557" y="21111"/>
                  </a:cubicBezTo>
                  <a:cubicBezTo>
                    <a:pt x="20108" y="21449"/>
                    <a:pt x="20810" y="21600"/>
                    <a:pt x="21173" y="21600"/>
                  </a:cubicBezTo>
                  <a:cubicBezTo>
                    <a:pt x="21540" y="21600"/>
                    <a:pt x="21378" y="20823"/>
                    <a:pt x="20921" y="20002"/>
                  </a:cubicBezTo>
                  <a:cubicBezTo>
                    <a:pt x="20374" y="19225"/>
                    <a:pt x="19311" y="17771"/>
                    <a:pt x="18401" y="16876"/>
                  </a:cubicBezTo>
                  <a:close/>
                  <a:moveTo>
                    <a:pt x="18401" y="1687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69" name="AutoShape 1371"/>
            <p:cNvSpPr>
              <a:spLocks/>
            </p:cNvSpPr>
            <p:nvPr/>
          </p:nvSpPr>
          <p:spPr bwMode="auto">
            <a:xfrm>
              <a:off x="5080000" y="7340600"/>
              <a:ext cx="4763" cy="3175"/>
            </a:xfrm>
            <a:custGeom>
              <a:avLst/>
              <a:gdLst/>
              <a:ahLst/>
              <a:cxnLst/>
              <a:rect l="0" t="0" r="r" b="b"/>
              <a:pathLst>
                <a:path w="20509" h="21309">
                  <a:moveTo>
                    <a:pt x="15413" y="5774"/>
                  </a:moveTo>
                  <a:cubicBezTo>
                    <a:pt x="12057" y="3145"/>
                    <a:pt x="8399" y="0"/>
                    <a:pt x="6993" y="0"/>
                  </a:cubicBezTo>
                  <a:cubicBezTo>
                    <a:pt x="5593" y="0"/>
                    <a:pt x="3237" y="1195"/>
                    <a:pt x="1333" y="2549"/>
                  </a:cubicBezTo>
                  <a:cubicBezTo>
                    <a:pt x="-371" y="4354"/>
                    <a:pt x="-474" y="8698"/>
                    <a:pt x="1211" y="12377"/>
                  </a:cubicBezTo>
                  <a:cubicBezTo>
                    <a:pt x="2584" y="16421"/>
                    <a:pt x="6972" y="20091"/>
                    <a:pt x="10200" y="21300"/>
                  </a:cubicBezTo>
                  <a:cubicBezTo>
                    <a:pt x="13587" y="21300"/>
                    <a:pt x="17518" y="21600"/>
                    <a:pt x="17847" y="18816"/>
                  </a:cubicBezTo>
                  <a:cubicBezTo>
                    <a:pt x="18996" y="16567"/>
                    <a:pt x="20047" y="13572"/>
                    <a:pt x="20376" y="12597"/>
                  </a:cubicBezTo>
                  <a:cubicBezTo>
                    <a:pt x="21126" y="12597"/>
                    <a:pt x="18595" y="8543"/>
                    <a:pt x="15413" y="5774"/>
                  </a:cubicBezTo>
                  <a:close/>
                  <a:moveTo>
                    <a:pt x="15413" y="577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0" name="AutoShape 1372"/>
            <p:cNvSpPr>
              <a:spLocks/>
            </p:cNvSpPr>
            <p:nvPr/>
          </p:nvSpPr>
          <p:spPr bwMode="auto">
            <a:xfrm>
              <a:off x="4940300" y="7213600"/>
              <a:ext cx="15875" cy="12700"/>
            </a:xfrm>
            <a:custGeom>
              <a:avLst/>
              <a:gdLst/>
              <a:ahLst/>
              <a:cxnLst/>
              <a:rect l="0" t="0" r="r" b="b"/>
              <a:pathLst>
                <a:path w="20914" h="20932">
                  <a:moveTo>
                    <a:pt x="9536" y="13184"/>
                  </a:moveTo>
                  <a:cubicBezTo>
                    <a:pt x="12412" y="16243"/>
                    <a:pt x="16105" y="19400"/>
                    <a:pt x="17681" y="20168"/>
                  </a:cubicBezTo>
                  <a:cubicBezTo>
                    <a:pt x="19282" y="20882"/>
                    <a:pt x="20882" y="21259"/>
                    <a:pt x="20882" y="20563"/>
                  </a:cubicBezTo>
                  <a:cubicBezTo>
                    <a:pt x="21215" y="19982"/>
                    <a:pt x="18878" y="16621"/>
                    <a:pt x="15803" y="13428"/>
                  </a:cubicBezTo>
                  <a:cubicBezTo>
                    <a:pt x="12840" y="10122"/>
                    <a:pt x="8388" y="5988"/>
                    <a:pt x="6057" y="3999"/>
                  </a:cubicBezTo>
                  <a:cubicBezTo>
                    <a:pt x="3586" y="2291"/>
                    <a:pt x="1154" y="53"/>
                    <a:pt x="345" y="53"/>
                  </a:cubicBezTo>
                  <a:cubicBezTo>
                    <a:pt x="-385" y="-341"/>
                    <a:pt x="52" y="1500"/>
                    <a:pt x="1574" y="3643"/>
                  </a:cubicBezTo>
                  <a:cubicBezTo>
                    <a:pt x="2880" y="6008"/>
                    <a:pt x="6508" y="10308"/>
                    <a:pt x="9536" y="13184"/>
                  </a:cubicBezTo>
                  <a:close/>
                  <a:moveTo>
                    <a:pt x="9536" y="1318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1" name="AutoShape 1373"/>
            <p:cNvSpPr>
              <a:spLocks/>
            </p:cNvSpPr>
            <p:nvPr/>
          </p:nvSpPr>
          <p:spPr bwMode="auto">
            <a:xfrm>
              <a:off x="4914900" y="7188200"/>
              <a:ext cx="9525" cy="9525"/>
            </a:xfrm>
            <a:custGeom>
              <a:avLst/>
              <a:gdLst/>
              <a:ahLst/>
              <a:cxnLst/>
              <a:rect l="0" t="0" r="r" b="b"/>
              <a:pathLst>
                <a:path w="21208" h="21131">
                  <a:moveTo>
                    <a:pt x="18452" y="11891"/>
                  </a:moveTo>
                  <a:cubicBezTo>
                    <a:pt x="18747" y="10714"/>
                    <a:pt x="15978" y="8333"/>
                    <a:pt x="12658" y="6625"/>
                  </a:cubicBezTo>
                  <a:cubicBezTo>
                    <a:pt x="9350" y="4941"/>
                    <a:pt x="5290" y="2801"/>
                    <a:pt x="3753" y="1670"/>
                  </a:cubicBezTo>
                  <a:cubicBezTo>
                    <a:pt x="2204" y="612"/>
                    <a:pt x="369" y="-278"/>
                    <a:pt x="173" y="81"/>
                  </a:cubicBezTo>
                  <a:cubicBezTo>
                    <a:pt x="-122" y="373"/>
                    <a:pt x="-74" y="1358"/>
                    <a:pt x="579" y="2464"/>
                  </a:cubicBezTo>
                  <a:cubicBezTo>
                    <a:pt x="1010" y="3715"/>
                    <a:pt x="1355" y="5037"/>
                    <a:pt x="937" y="5616"/>
                  </a:cubicBezTo>
                  <a:cubicBezTo>
                    <a:pt x="531" y="6217"/>
                    <a:pt x="1846" y="8212"/>
                    <a:pt x="4159" y="9655"/>
                  </a:cubicBezTo>
                  <a:cubicBezTo>
                    <a:pt x="6458" y="11169"/>
                    <a:pt x="9769" y="14009"/>
                    <a:pt x="11220" y="16029"/>
                  </a:cubicBezTo>
                  <a:cubicBezTo>
                    <a:pt x="12905" y="17931"/>
                    <a:pt x="15180" y="20166"/>
                    <a:pt x="16520" y="20479"/>
                  </a:cubicBezTo>
                  <a:cubicBezTo>
                    <a:pt x="17800" y="20936"/>
                    <a:pt x="19584" y="21322"/>
                    <a:pt x="20543" y="21030"/>
                  </a:cubicBezTo>
                  <a:cubicBezTo>
                    <a:pt x="21478" y="20600"/>
                    <a:pt x="21465" y="19108"/>
                    <a:pt x="20261" y="17305"/>
                  </a:cubicBezTo>
                  <a:cubicBezTo>
                    <a:pt x="18981" y="15620"/>
                    <a:pt x="18649" y="13096"/>
                    <a:pt x="18452" y="11891"/>
                  </a:cubicBezTo>
                  <a:close/>
                  <a:moveTo>
                    <a:pt x="18452" y="118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2" name="AutoShape 1374"/>
            <p:cNvSpPr>
              <a:spLocks/>
            </p:cNvSpPr>
            <p:nvPr/>
          </p:nvSpPr>
          <p:spPr bwMode="auto">
            <a:xfrm>
              <a:off x="5067300" y="7327900"/>
              <a:ext cx="3175" cy="1588"/>
            </a:xfrm>
            <a:custGeom>
              <a:avLst/>
              <a:gdLst/>
              <a:ahLst/>
              <a:cxnLst/>
              <a:rect l="0" t="0" r="r" b="b"/>
              <a:pathLst>
                <a:path w="19727" h="19997">
                  <a:moveTo>
                    <a:pt x="13827" y="8948"/>
                  </a:moveTo>
                  <a:cubicBezTo>
                    <a:pt x="9236" y="4268"/>
                    <a:pt x="3947" y="0"/>
                    <a:pt x="1759" y="0"/>
                  </a:cubicBezTo>
                  <a:cubicBezTo>
                    <a:pt x="-141" y="1527"/>
                    <a:pt x="-819" y="2811"/>
                    <a:pt x="1342" y="4182"/>
                  </a:cubicBezTo>
                  <a:cubicBezTo>
                    <a:pt x="3089" y="6364"/>
                    <a:pt x="7700" y="10319"/>
                    <a:pt x="10801" y="14108"/>
                  </a:cubicBezTo>
                  <a:cubicBezTo>
                    <a:pt x="14344" y="17086"/>
                    <a:pt x="18828" y="21600"/>
                    <a:pt x="19351" y="19423"/>
                  </a:cubicBezTo>
                  <a:cubicBezTo>
                    <a:pt x="20781" y="19423"/>
                    <a:pt x="17968" y="14586"/>
                    <a:pt x="13827" y="8948"/>
                  </a:cubicBezTo>
                  <a:close/>
                  <a:moveTo>
                    <a:pt x="13827" y="894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3" name="AutoShape 1375"/>
            <p:cNvSpPr>
              <a:spLocks/>
            </p:cNvSpPr>
            <p:nvPr/>
          </p:nvSpPr>
          <p:spPr bwMode="auto">
            <a:xfrm>
              <a:off x="5029200" y="7302500"/>
              <a:ext cx="46038" cy="30163"/>
            </a:xfrm>
            <a:custGeom>
              <a:avLst/>
              <a:gdLst/>
              <a:ahLst/>
              <a:cxnLst/>
              <a:rect l="0" t="0" r="r" b="b"/>
              <a:pathLst>
                <a:path w="21410" h="21392">
                  <a:moveTo>
                    <a:pt x="19366" y="15247"/>
                  </a:moveTo>
                  <a:cubicBezTo>
                    <a:pt x="18796" y="14851"/>
                    <a:pt x="17900" y="14219"/>
                    <a:pt x="17325" y="13991"/>
                  </a:cubicBezTo>
                  <a:cubicBezTo>
                    <a:pt x="16755" y="13713"/>
                    <a:pt x="15966" y="13291"/>
                    <a:pt x="15711" y="12777"/>
                  </a:cubicBezTo>
                  <a:cubicBezTo>
                    <a:pt x="15379" y="12365"/>
                    <a:pt x="14765" y="11588"/>
                    <a:pt x="14287" y="11167"/>
                  </a:cubicBezTo>
                  <a:cubicBezTo>
                    <a:pt x="13819" y="10746"/>
                    <a:pt x="12474" y="9379"/>
                    <a:pt x="11290" y="8174"/>
                  </a:cubicBezTo>
                  <a:cubicBezTo>
                    <a:pt x="10150" y="6909"/>
                    <a:pt x="8581" y="5712"/>
                    <a:pt x="7930" y="5241"/>
                  </a:cubicBezTo>
                  <a:cubicBezTo>
                    <a:pt x="7236" y="4878"/>
                    <a:pt x="6316" y="4372"/>
                    <a:pt x="5836" y="4254"/>
                  </a:cubicBezTo>
                  <a:cubicBezTo>
                    <a:pt x="5369" y="4110"/>
                    <a:pt x="4634" y="3815"/>
                    <a:pt x="4291" y="3385"/>
                  </a:cubicBezTo>
                  <a:cubicBezTo>
                    <a:pt x="3905" y="3049"/>
                    <a:pt x="3216" y="2340"/>
                    <a:pt x="2764" y="1784"/>
                  </a:cubicBezTo>
                  <a:cubicBezTo>
                    <a:pt x="2287" y="1303"/>
                    <a:pt x="1558" y="502"/>
                    <a:pt x="1058" y="325"/>
                  </a:cubicBezTo>
                  <a:cubicBezTo>
                    <a:pt x="573" y="89"/>
                    <a:pt x="81" y="-105"/>
                    <a:pt x="25" y="63"/>
                  </a:cubicBezTo>
                  <a:cubicBezTo>
                    <a:pt x="-31" y="232"/>
                    <a:pt x="-3" y="645"/>
                    <a:pt x="216" y="983"/>
                  </a:cubicBezTo>
                  <a:cubicBezTo>
                    <a:pt x="387" y="1361"/>
                    <a:pt x="1187" y="2205"/>
                    <a:pt x="1911" y="2955"/>
                  </a:cubicBezTo>
                  <a:cubicBezTo>
                    <a:pt x="2641" y="3706"/>
                    <a:pt x="3629" y="4878"/>
                    <a:pt x="4129" y="5568"/>
                  </a:cubicBezTo>
                  <a:cubicBezTo>
                    <a:pt x="4575" y="6344"/>
                    <a:pt x="5521" y="7339"/>
                    <a:pt x="6186" y="7836"/>
                  </a:cubicBezTo>
                  <a:cubicBezTo>
                    <a:pt x="6801" y="8435"/>
                    <a:pt x="8179" y="9700"/>
                    <a:pt x="9120" y="10897"/>
                  </a:cubicBezTo>
                  <a:cubicBezTo>
                    <a:pt x="10100" y="12027"/>
                    <a:pt x="11304" y="13300"/>
                    <a:pt x="11806" y="13713"/>
                  </a:cubicBezTo>
                  <a:cubicBezTo>
                    <a:pt x="12334" y="14075"/>
                    <a:pt x="13280" y="14657"/>
                    <a:pt x="13931" y="14986"/>
                  </a:cubicBezTo>
                  <a:cubicBezTo>
                    <a:pt x="14593" y="15256"/>
                    <a:pt x="15503" y="15829"/>
                    <a:pt x="15899" y="16326"/>
                  </a:cubicBezTo>
                  <a:cubicBezTo>
                    <a:pt x="16337" y="16722"/>
                    <a:pt x="16898" y="17473"/>
                    <a:pt x="17140" y="17962"/>
                  </a:cubicBezTo>
                  <a:cubicBezTo>
                    <a:pt x="17423" y="18392"/>
                    <a:pt x="18052" y="19395"/>
                    <a:pt x="18636" y="20002"/>
                  </a:cubicBezTo>
                  <a:cubicBezTo>
                    <a:pt x="19155" y="20745"/>
                    <a:pt x="19978" y="21359"/>
                    <a:pt x="20354" y="21359"/>
                  </a:cubicBezTo>
                  <a:cubicBezTo>
                    <a:pt x="20724" y="21495"/>
                    <a:pt x="20794" y="21191"/>
                    <a:pt x="20488" y="20786"/>
                  </a:cubicBezTo>
                  <a:cubicBezTo>
                    <a:pt x="20185" y="20373"/>
                    <a:pt x="20169" y="19867"/>
                    <a:pt x="20472" y="19758"/>
                  </a:cubicBezTo>
                  <a:cubicBezTo>
                    <a:pt x="20733" y="19505"/>
                    <a:pt x="20898" y="19160"/>
                    <a:pt x="20694" y="18847"/>
                  </a:cubicBezTo>
                  <a:cubicBezTo>
                    <a:pt x="20553" y="18477"/>
                    <a:pt x="20126" y="17878"/>
                    <a:pt x="19764" y="17566"/>
                  </a:cubicBezTo>
                  <a:cubicBezTo>
                    <a:pt x="19385" y="17262"/>
                    <a:pt x="19340" y="17026"/>
                    <a:pt x="19607" y="17026"/>
                  </a:cubicBezTo>
                  <a:cubicBezTo>
                    <a:pt x="19854" y="17161"/>
                    <a:pt x="20474" y="17456"/>
                    <a:pt x="20985" y="17743"/>
                  </a:cubicBezTo>
                  <a:cubicBezTo>
                    <a:pt x="21477" y="18097"/>
                    <a:pt x="21569" y="17801"/>
                    <a:pt x="21120" y="17229"/>
                  </a:cubicBezTo>
                  <a:cubicBezTo>
                    <a:pt x="20738" y="16546"/>
                    <a:pt x="19888" y="15753"/>
                    <a:pt x="19366" y="15247"/>
                  </a:cubicBezTo>
                  <a:close/>
                  <a:moveTo>
                    <a:pt x="19366" y="1524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4" name="AutoShape 1376"/>
            <p:cNvSpPr>
              <a:spLocks/>
            </p:cNvSpPr>
            <p:nvPr/>
          </p:nvSpPr>
          <p:spPr bwMode="auto">
            <a:xfrm>
              <a:off x="4927600" y="7200900"/>
              <a:ext cx="19050" cy="15875"/>
            </a:xfrm>
            <a:custGeom>
              <a:avLst/>
              <a:gdLst/>
              <a:ahLst/>
              <a:cxnLst/>
              <a:rect l="0" t="0" r="r" b="b"/>
              <a:pathLst>
                <a:path w="20828" h="20725">
                  <a:moveTo>
                    <a:pt x="17910" y="18372"/>
                  </a:moveTo>
                  <a:cubicBezTo>
                    <a:pt x="20461" y="20816"/>
                    <a:pt x="21520" y="21493"/>
                    <a:pt x="20356" y="19755"/>
                  </a:cubicBezTo>
                  <a:cubicBezTo>
                    <a:pt x="19159" y="18018"/>
                    <a:pt x="16336" y="14625"/>
                    <a:pt x="14237" y="12004"/>
                  </a:cubicBezTo>
                  <a:cubicBezTo>
                    <a:pt x="12073" y="9447"/>
                    <a:pt x="9615" y="6648"/>
                    <a:pt x="8562" y="6359"/>
                  </a:cubicBezTo>
                  <a:cubicBezTo>
                    <a:pt x="7635" y="5717"/>
                    <a:pt x="5751" y="4269"/>
                    <a:pt x="4372" y="3045"/>
                  </a:cubicBezTo>
                  <a:cubicBezTo>
                    <a:pt x="2960" y="1887"/>
                    <a:pt x="1410" y="537"/>
                    <a:pt x="829" y="166"/>
                  </a:cubicBezTo>
                  <a:cubicBezTo>
                    <a:pt x="221" y="-107"/>
                    <a:pt x="-80" y="-58"/>
                    <a:pt x="18" y="426"/>
                  </a:cubicBezTo>
                  <a:cubicBezTo>
                    <a:pt x="260" y="811"/>
                    <a:pt x="1920" y="3159"/>
                    <a:pt x="3954" y="5410"/>
                  </a:cubicBezTo>
                  <a:cubicBezTo>
                    <a:pt x="5993" y="7644"/>
                    <a:pt x="8922" y="10428"/>
                    <a:pt x="10451" y="11730"/>
                  </a:cubicBezTo>
                  <a:cubicBezTo>
                    <a:pt x="11968" y="13000"/>
                    <a:pt x="15336" y="15976"/>
                    <a:pt x="17910" y="18372"/>
                  </a:cubicBezTo>
                  <a:close/>
                  <a:moveTo>
                    <a:pt x="17910" y="183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5" name="AutoShape 1377"/>
            <p:cNvSpPr>
              <a:spLocks/>
            </p:cNvSpPr>
            <p:nvPr/>
          </p:nvSpPr>
          <p:spPr bwMode="auto">
            <a:xfrm>
              <a:off x="4978400" y="7251700"/>
              <a:ext cx="3175" cy="4763"/>
            </a:xfrm>
            <a:custGeom>
              <a:avLst/>
              <a:gdLst/>
              <a:ahLst/>
              <a:cxnLst/>
              <a:rect l="0" t="0" r="r" b="b"/>
              <a:pathLst>
                <a:path w="20292" h="20847">
                  <a:moveTo>
                    <a:pt x="2044" y="168"/>
                  </a:moveTo>
                  <a:cubicBezTo>
                    <a:pt x="-845" y="-753"/>
                    <a:pt x="-688" y="2243"/>
                    <a:pt x="2618" y="5925"/>
                  </a:cubicBezTo>
                  <a:cubicBezTo>
                    <a:pt x="6273" y="9514"/>
                    <a:pt x="7127" y="12787"/>
                    <a:pt x="6176" y="13708"/>
                  </a:cubicBezTo>
                  <a:cubicBezTo>
                    <a:pt x="4681" y="14169"/>
                    <a:pt x="5761" y="15824"/>
                    <a:pt x="7444" y="17715"/>
                  </a:cubicBezTo>
                  <a:cubicBezTo>
                    <a:pt x="9636" y="19235"/>
                    <a:pt x="13482" y="20847"/>
                    <a:pt x="16051" y="20847"/>
                  </a:cubicBezTo>
                  <a:cubicBezTo>
                    <a:pt x="18343" y="20018"/>
                    <a:pt x="20755" y="18547"/>
                    <a:pt x="20215" y="15459"/>
                  </a:cubicBezTo>
                  <a:cubicBezTo>
                    <a:pt x="20026" y="12327"/>
                    <a:pt x="17165" y="7675"/>
                    <a:pt x="13605" y="5416"/>
                  </a:cubicBezTo>
                  <a:cubicBezTo>
                    <a:pt x="10905" y="2612"/>
                    <a:pt x="4933" y="902"/>
                    <a:pt x="2044" y="168"/>
                  </a:cubicBezTo>
                  <a:close/>
                  <a:moveTo>
                    <a:pt x="2044" y="1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6" name="AutoShape 1378"/>
            <p:cNvSpPr>
              <a:spLocks/>
            </p:cNvSpPr>
            <p:nvPr/>
          </p:nvSpPr>
          <p:spPr bwMode="auto">
            <a:xfrm>
              <a:off x="4991100" y="7264400"/>
              <a:ext cx="6350" cy="4763"/>
            </a:xfrm>
            <a:custGeom>
              <a:avLst/>
              <a:gdLst/>
              <a:ahLst/>
              <a:cxnLst/>
              <a:rect l="0" t="0" r="r" b="b"/>
              <a:pathLst>
                <a:path w="20283" h="20363">
                  <a:moveTo>
                    <a:pt x="19171" y="20199"/>
                  </a:moveTo>
                  <a:cubicBezTo>
                    <a:pt x="20939" y="21063"/>
                    <a:pt x="20629" y="18373"/>
                    <a:pt x="18026" y="15015"/>
                  </a:cubicBezTo>
                  <a:cubicBezTo>
                    <a:pt x="15717" y="11206"/>
                    <a:pt x="11004" y="6429"/>
                    <a:pt x="7740" y="3986"/>
                  </a:cubicBezTo>
                  <a:cubicBezTo>
                    <a:pt x="4287" y="2312"/>
                    <a:pt x="950" y="-489"/>
                    <a:pt x="115" y="73"/>
                  </a:cubicBezTo>
                  <a:cubicBezTo>
                    <a:pt x="-661" y="-537"/>
                    <a:pt x="2563" y="4342"/>
                    <a:pt x="7256" y="9577"/>
                  </a:cubicBezTo>
                  <a:cubicBezTo>
                    <a:pt x="12187" y="14303"/>
                    <a:pt x="17581" y="18824"/>
                    <a:pt x="19171" y="20199"/>
                  </a:cubicBezTo>
                  <a:close/>
                  <a:moveTo>
                    <a:pt x="19171" y="201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7" name="AutoShape 1379"/>
            <p:cNvSpPr>
              <a:spLocks/>
            </p:cNvSpPr>
            <p:nvPr/>
          </p:nvSpPr>
          <p:spPr bwMode="auto">
            <a:xfrm>
              <a:off x="4978400" y="7251700"/>
              <a:ext cx="6350" cy="4763"/>
            </a:xfrm>
            <a:custGeom>
              <a:avLst/>
              <a:gdLst/>
              <a:ahLst/>
              <a:cxnLst/>
              <a:rect l="0" t="0" r="r" b="b"/>
              <a:pathLst>
                <a:path w="20038" h="19663">
                  <a:moveTo>
                    <a:pt x="6118" y="4111"/>
                  </a:moveTo>
                  <a:cubicBezTo>
                    <a:pt x="1122" y="332"/>
                    <a:pt x="-1076" y="-1363"/>
                    <a:pt x="506" y="1283"/>
                  </a:cubicBezTo>
                  <a:cubicBezTo>
                    <a:pt x="2274" y="3720"/>
                    <a:pt x="6873" y="8716"/>
                    <a:pt x="10773" y="12198"/>
                  </a:cubicBezTo>
                  <a:cubicBezTo>
                    <a:pt x="14736" y="15545"/>
                    <a:pt x="18654" y="18976"/>
                    <a:pt x="19631" y="19498"/>
                  </a:cubicBezTo>
                  <a:cubicBezTo>
                    <a:pt x="20524" y="20237"/>
                    <a:pt x="19905" y="18411"/>
                    <a:pt x="18189" y="15847"/>
                  </a:cubicBezTo>
                  <a:cubicBezTo>
                    <a:pt x="16213" y="13543"/>
                    <a:pt x="11185" y="7586"/>
                    <a:pt x="6118" y="4111"/>
                  </a:cubicBezTo>
                  <a:close/>
                  <a:moveTo>
                    <a:pt x="6118" y="411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8" name="AutoShape 1380"/>
            <p:cNvSpPr>
              <a:spLocks/>
            </p:cNvSpPr>
            <p:nvPr/>
          </p:nvSpPr>
          <p:spPr bwMode="auto">
            <a:xfrm>
              <a:off x="5016500" y="7302500"/>
              <a:ext cx="3175" cy="1588"/>
            </a:xfrm>
            <a:custGeom>
              <a:avLst/>
              <a:gdLst/>
              <a:ahLst/>
              <a:cxnLst/>
              <a:rect l="0" t="0" r="r" b="b"/>
              <a:pathLst>
                <a:path w="17830" h="18140">
                  <a:moveTo>
                    <a:pt x="14422" y="12044"/>
                  </a:moveTo>
                  <a:cubicBezTo>
                    <a:pt x="8202" y="5739"/>
                    <a:pt x="2093" y="-999"/>
                    <a:pt x="426" y="124"/>
                  </a:cubicBezTo>
                  <a:cubicBezTo>
                    <a:pt x="-1440" y="124"/>
                    <a:pt x="2944" y="7731"/>
                    <a:pt x="11116" y="12903"/>
                  </a:cubicBezTo>
                  <a:cubicBezTo>
                    <a:pt x="18382" y="20601"/>
                    <a:pt x="20160" y="19386"/>
                    <a:pt x="14422" y="12044"/>
                  </a:cubicBezTo>
                  <a:close/>
                  <a:moveTo>
                    <a:pt x="14422" y="1204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79" name="AutoShape 1381"/>
            <p:cNvSpPr>
              <a:spLocks/>
            </p:cNvSpPr>
            <p:nvPr/>
          </p:nvSpPr>
          <p:spPr bwMode="auto">
            <a:xfrm>
              <a:off x="4978400" y="7251700"/>
              <a:ext cx="14288" cy="12700"/>
            </a:xfrm>
            <a:custGeom>
              <a:avLst/>
              <a:gdLst/>
              <a:ahLst/>
              <a:cxnLst/>
              <a:rect l="0" t="0" r="r" b="b"/>
              <a:pathLst>
                <a:path w="20997" h="20976">
                  <a:moveTo>
                    <a:pt x="19963" y="19291"/>
                  </a:moveTo>
                  <a:cubicBezTo>
                    <a:pt x="18959" y="18178"/>
                    <a:pt x="16136" y="15498"/>
                    <a:pt x="13730" y="13254"/>
                  </a:cubicBezTo>
                  <a:cubicBezTo>
                    <a:pt x="11274" y="11124"/>
                    <a:pt x="7552" y="7426"/>
                    <a:pt x="5612" y="4991"/>
                  </a:cubicBezTo>
                  <a:cubicBezTo>
                    <a:pt x="3565" y="2596"/>
                    <a:pt x="1244" y="313"/>
                    <a:pt x="419" y="48"/>
                  </a:cubicBezTo>
                  <a:cubicBezTo>
                    <a:pt x="-354" y="-310"/>
                    <a:pt x="-65" y="1369"/>
                    <a:pt x="1345" y="3633"/>
                  </a:cubicBezTo>
                  <a:cubicBezTo>
                    <a:pt x="2510" y="6068"/>
                    <a:pt x="5128" y="8971"/>
                    <a:pt x="6650" y="10594"/>
                  </a:cubicBezTo>
                  <a:cubicBezTo>
                    <a:pt x="8410" y="11876"/>
                    <a:pt x="11836" y="14991"/>
                    <a:pt x="14658" y="16895"/>
                  </a:cubicBezTo>
                  <a:cubicBezTo>
                    <a:pt x="17514" y="18763"/>
                    <a:pt x="20132" y="20877"/>
                    <a:pt x="20745" y="20877"/>
                  </a:cubicBezTo>
                  <a:cubicBezTo>
                    <a:pt x="21246" y="21290"/>
                    <a:pt x="21007" y="20348"/>
                    <a:pt x="19963" y="19291"/>
                  </a:cubicBezTo>
                  <a:close/>
                  <a:moveTo>
                    <a:pt x="19963" y="1929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0" name="AutoShape 1382"/>
            <p:cNvSpPr>
              <a:spLocks/>
            </p:cNvSpPr>
            <p:nvPr/>
          </p:nvSpPr>
          <p:spPr bwMode="auto">
            <a:xfrm>
              <a:off x="4940300" y="7226300"/>
              <a:ext cx="19050" cy="12700"/>
            </a:xfrm>
            <a:custGeom>
              <a:avLst/>
              <a:gdLst/>
              <a:ahLst/>
              <a:cxnLst/>
              <a:rect l="0" t="0" r="r" b="b"/>
              <a:pathLst>
                <a:path w="20962" h="21165">
                  <a:moveTo>
                    <a:pt x="19358" y="20756"/>
                  </a:moveTo>
                  <a:cubicBezTo>
                    <a:pt x="20527" y="21355"/>
                    <a:pt x="21204" y="21318"/>
                    <a:pt x="20883" y="20506"/>
                  </a:cubicBezTo>
                  <a:cubicBezTo>
                    <a:pt x="20724" y="19584"/>
                    <a:pt x="18162" y="16556"/>
                    <a:pt x="15391" y="13802"/>
                  </a:cubicBezTo>
                  <a:cubicBezTo>
                    <a:pt x="12631" y="11066"/>
                    <a:pt x="9675" y="8349"/>
                    <a:pt x="8821" y="7673"/>
                  </a:cubicBezTo>
                  <a:cubicBezTo>
                    <a:pt x="7935" y="7077"/>
                    <a:pt x="6030" y="5324"/>
                    <a:pt x="4578" y="3705"/>
                  </a:cubicBezTo>
                  <a:cubicBezTo>
                    <a:pt x="3047" y="2202"/>
                    <a:pt x="1247" y="545"/>
                    <a:pt x="451" y="44"/>
                  </a:cubicBezTo>
                  <a:cubicBezTo>
                    <a:pt x="-396" y="-245"/>
                    <a:pt x="-15" y="932"/>
                    <a:pt x="1299" y="2722"/>
                  </a:cubicBezTo>
                  <a:cubicBezTo>
                    <a:pt x="2614" y="4495"/>
                    <a:pt x="3553" y="6941"/>
                    <a:pt x="3553" y="8097"/>
                  </a:cubicBezTo>
                  <a:cubicBezTo>
                    <a:pt x="3408" y="9216"/>
                    <a:pt x="3197" y="10661"/>
                    <a:pt x="2797" y="10661"/>
                  </a:cubicBezTo>
                  <a:cubicBezTo>
                    <a:pt x="2423" y="10891"/>
                    <a:pt x="2942" y="11780"/>
                    <a:pt x="3742" y="12877"/>
                  </a:cubicBezTo>
                  <a:cubicBezTo>
                    <a:pt x="4676" y="13725"/>
                    <a:pt x="6877" y="15343"/>
                    <a:pt x="8762" y="16249"/>
                  </a:cubicBezTo>
                  <a:cubicBezTo>
                    <a:pt x="10647" y="17194"/>
                    <a:pt x="13367" y="18542"/>
                    <a:pt x="14812" y="19390"/>
                  </a:cubicBezTo>
                  <a:cubicBezTo>
                    <a:pt x="16250" y="20255"/>
                    <a:pt x="17531" y="20506"/>
                    <a:pt x="17374" y="20199"/>
                  </a:cubicBezTo>
                  <a:cubicBezTo>
                    <a:pt x="17519" y="19911"/>
                    <a:pt x="18248" y="20005"/>
                    <a:pt x="19358" y="20756"/>
                  </a:cubicBezTo>
                  <a:close/>
                  <a:moveTo>
                    <a:pt x="19358" y="207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1" name="AutoShape 1383"/>
            <p:cNvSpPr>
              <a:spLocks/>
            </p:cNvSpPr>
            <p:nvPr/>
          </p:nvSpPr>
          <p:spPr bwMode="auto">
            <a:xfrm>
              <a:off x="4991100" y="7264400"/>
              <a:ext cx="11113" cy="9525"/>
            </a:xfrm>
            <a:custGeom>
              <a:avLst/>
              <a:gdLst/>
              <a:ahLst/>
              <a:cxnLst/>
              <a:rect l="0" t="0" r="r" b="b"/>
              <a:pathLst>
                <a:path w="21119" h="21005">
                  <a:moveTo>
                    <a:pt x="20593" y="18609"/>
                  </a:moveTo>
                  <a:cubicBezTo>
                    <a:pt x="20142" y="17035"/>
                    <a:pt x="15008" y="12459"/>
                    <a:pt x="9969" y="7682"/>
                  </a:cubicBezTo>
                  <a:cubicBezTo>
                    <a:pt x="4707" y="3261"/>
                    <a:pt x="290" y="-374"/>
                    <a:pt x="38" y="31"/>
                  </a:cubicBezTo>
                  <a:cubicBezTo>
                    <a:pt x="-204" y="441"/>
                    <a:pt x="722" y="2089"/>
                    <a:pt x="2242" y="3768"/>
                  </a:cubicBezTo>
                  <a:cubicBezTo>
                    <a:pt x="3738" y="5523"/>
                    <a:pt x="8112" y="10045"/>
                    <a:pt x="12046" y="13755"/>
                  </a:cubicBezTo>
                  <a:cubicBezTo>
                    <a:pt x="15923" y="17516"/>
                    <a:pt x="19688" y="20972"/>
                    <a:pt x="20478" y="20972"/>
                  </a:cubicBezTo>
                  <a:cubicBezTo>
                    <a:pt x="21217" y="21226"/>
                    <a:pt x="21396" y="20006"/>
                    <a:pt x="20593" y="18609"/>
                  </a:cubicBezTo>
                  <a:close/>
                  <a:moveTo>
                    <a:pt x="20593" y="1860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2" name="AutoShape 1384"/>
            <p:cNvSpPr>
              <a:spLocks/>
            </p:cNvSpPr>
            <p:nvPr/>
          </p:nvSpPr>
          <p:spPr bwMode="auto">
            <a:xfrm>
              <a:off x="4953000" y="7239000"/>
              <a:ext cx="9525" cy="9525"/>
            </a:xfrm>
            <a:custGeom>
              <a:avLst/>
              <a:gdLst/>
              <a:ahLst/>
              <a:cxnLst/>
              <a:rect l="0" t="0" r="r" b="b"/>
              <a:pathLst>
                <a:path w="20110" h="20850">
                  <a:moveTo>
                    <a:pt x="15358" y="14422"/>
                  </a:moveTo>
                  <a:cubicBezTo>
                    <a:pt x="16247" y="14049"/>
                    <a:pt x="16387" y="12672"/>
                    <a:pt x="15142" y="10990"/>
                  </a:cubicBezTo>
                  <a:cubicBezTo>
                    <a:pt x="14243" y="9169"/>
                    <a:pt x="11730" y="6413"/>
                    <a:pt x="9788" y="4779"/>
                  </a:cubicBezTo>
                  <a:cubicBezTo>
                    <a:pt x="7657" y="3425"/>
                    <a:pt x="4674" y="1113"/>
                    <a:pt x="2477" y="387"/>
                  </a:cubicBezTo>
                  <a:cubicBezTo>
                    <a:pt x="297" y="-265"/>
                    <a:pt x="-657" y="-78"/>
                    <a:pt x="487" y="833"/>
                  </a:cubicBezTo>
                  <a:cubicBezTo>
                    <a:pt x="1615" y="1720"/>
                    <a:pt x="3252" y="3121"/>
                    <a:pt x="4180" y="3867"/>
                  </a:cubicBezTo>
                  <a:cubicBezTo>
                    <a:pt x="5119" y="4592"/>
                    <a:pt x="5396" y="5526"/>
                    <a:pt x="4674" y="5526"/>
                  </a:cubicBezTo>
                  <a:cubicBezTo>
                    <a:pt x="4216" y="6062"/>
                    <a:pt x="3125" y="6438"/>
                    <a:pt x="3125" y="7091"/>
                  </a:cubicBezTo>
                  <a:cubicBezTo>
                    <a:pt x="2618" y="7556"/>
                    <a:pt x="4409" y="9613"/>
                    <a:pt x="6057" y="11411"/>
                  </a:cubicBezTo>
                  <a:cubicBezTo>
                    <a:pt x="7645" y="13231"/>
                    <a:pt x="10828" y="15357"/>
                    <a:pt x="12439" y="16688"/>
                  </a:cubicBezTo>
                  <a:cubicBezTo>
                    <a:pt x="14331" y="17694"/>
                    <a:pt x="17211" y="19537"/>
                    <a:pt x="19051" y="20471"/>
                  </a:cubicBezTo>
                  <a:cubicBezTo>
                    <a:pt x="20943" y="21335"/>
                    <a:pt x="20119" y="20751"/>
                    <a:pt x="17998" y="18394"/>
                  </a:cubicBezTo>
                  <a:cubicBezTo>
                    <a:pt x="15295" y="16665"/>
                    <a:pt x="14370" y="14422"/>
                    <a:pt x="15358" y="14422"/>
                  </a:cubicBezTo>
                  <a:close/>
                  <a:moveTo>
                    <a:pt x="15358" y="1442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3" name="AutoShape 1385"/>
            <p:cNvSpPr>
              <a:spLocks/>
            </p:cNvSpPr>
            <p:nvPr/>
          </p:nvSpPr>
          <p:spPr bwMode="auto">
            <a:xfrm>
              <a:off x="4813300" y="7023100"/>
              <a:ext cx="9525" cy="3175"/>
            </a:xfrm>
            <a:custGeom>
              <a:avLst/>
              <a:gdLst/>
              <a:ahLst/>
              <a:cxnLst/>
              <a:rect l="0" t="0" r="r" b="b"/>
              <a:pathLst>
                <a:path w="20789" h="19070">
                  <a:moveTo>
                    <a:pt x="20722" y="18256"/>
                  </a:moveTo>
                  <a:cubicBezTo>
                    <a:pt x="21389" y="16687"/>
                    <a:pt x="16990" y="11197"/>
                    <a:pt x="10808" y="5600"/>
                  </a:cubicBezTo>
                  <a:cubicBezTo>
                    <a:pt x="4535" y="317"/>
                    <a:pt x="-211" y="-1775"/>
                    <a:pt x="7" y="1726"/>
                  </a:cubicBezTo>
                  <a:cubicBezTo>
                    <a:pt x="341" y="5130"/>
                    <a:pt x="1791" y="10936"/>
                    <a:pt x="3690" y="13604"/>
                  </a:cubicBezTo>
                  <a:cubicBezTo>
                    <a:pt x="5345" y="17004"/>
                    <a:pt x="6987" y="18102"/>
                    <a:pt x="6987" y="16533"/>
                  </a:cubicBezTo>
                  <a:cubicBezTo>
                    <a:pt x="7512" y="15434"/>
                    <a:pt x="9755" y="15696"/>
                    <a:pt x="13180" y="17213"/>
                  </a:cubicBezTo>
                  <a:cubicBezTo>
                    <a:pt x="16619" y="18936"/>
                    <a:pt x="20055" y="19825"/>
                    <a:pt x="20722" y="18256"/>
                  </a:cubicBezTo>
                  <a:close/>
                  <a:moveTo>
                    <a:pt x="20722" y="182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4" name="AutoShape 1386"/>
            <p:cNvSpPr>
              <a:spLocks/>
            </p:cNvSpPr>
            <p:nvPr/>
          </p:nvSpPr>
          <p:spPr bwMode="auto">
            <a:xfrm>
              <a:off x="4864100" y="7124700"/>
              <a:ext cx="30163" cy="26988"/>
            </a:xfrm>
            <a:custGeom>
              <a:avLst/>
              <a:gdLst/>
              <a:ahLst/>
              <a:cxnLst/>
              <a:rect l="0" t="0" r="r" b="b"/>
              <a:pathLst>
                <a:path w="21151" h="21006">
                  <a:moveTo>
                    <a:pt x="2049" y="2801"/>
                  </a:moveTo>
                  <a:cubicBezTo>
                    <a:pt x="3253" y="4021"/>
                    <a:pt x="5855" y="6671"/>
                    <a:pt x="7858" y="8710"/>
                  </a:cubicBezTo>
                  <a:cubicBezTo>
                    <a:pt x="9735" y="10894"/>
                    <a:pt x="11379" y="12343"/>
                    <a:pt x="11492" y="12180"/>
                  </a:cubicBezTo>
                  <a:cubicBezTo>
                    <a:pt x="11492" y="11962"/>
                    <a:pt x="12122" y="12257"/>
                    <a:pt x="12743" y="12829"/>
                  </a:cubicBezTo>
                  <a:cubicBezTo>
                    <a:pt x="13412" y="13296"/>
                    <a:pt x="13584" y="14001"/>
                    <a:pt x="13214" y="14154"/>
                  </a:cubicBezTo>
                  <a:cubicBezTo>
                    <a:pt x="12843" y="14316"/>
                    <a:pt x="13093" y="15364"/>
                    <a:pt x="13870" y="16413"/>
                  </a:cubicBezTo>
                  <a:cubicBezTo>
                    <a:pt x="14487" y="17566"/>
                    <a:pt x="15959" y="18595"/>
                    <a:pt x="16830" y="19025"/>
                  </a:cubicBezTo>
                  <a:cubicBezTo>
                    <a:pt x="17793" y="19197"/>
                    <a:pt x="19308" y="20341"/>
                    <a:pt x="20430" y="20759"/>
                  </a:cubicBezTo>
                  <a:cubicBezTo>
                    <a:pt x="21435" y="21503"/>
                    <a:pt x="21418" y="20474"/>
                    <a:pt x="20197" y="18843"/>
                  </a:cubicBezTo>
                  <a:cubicBezTo>
                    <a:pt x="19018" y="17156"/>
                    <a:pt x="17068" y="15059"/>
                    <a:pt x="16023" y="14020"/>
                  </a:cubicBezTo>
                  <a:cubicBezTo>
                    <a:pt x="14962" y="12981"/>
                    <a:pt x="13577" y="11436"/>
                    <a:pt x="13071" y="10464"/>
                  </a:cubicBezTo>
                  <a:cubicBezTo>
                    <a:pt x="12433" y="9578"/>
                    <a:pt x="11225" y="8024"/>
                    <a:pt x="10111" y="7282"/>
                  </a:cubicBezTo>
                  <a:cubicBezTo>
                    <a:pt x="9040" y="6461"/>
                    <a:pt x="7427" y="4717"/>
                    <a:pt x="6701" y="3268"/>
                  </a:cubicBezTo>
                  <a:cubicBezTo>
                    <a:pt x="5860" y="1886"/>
                    <a:pt x="4802" y="723"/>
                    <a:pt x="4229" y="723"/>
                  </a:cubicBezTo>
                  <a:cubicBezTo>
                    <a:pt x="3663" y="885"/>
                    <a:pt x="2536" y="504"/>
                    <a:pt x="1725" y="198"/>
                  </a:cubicBezTo>
                  <a:cubicBezTo>
                    <a:pt x="922" y="-97"/>
                    <a:pt x="258" y="-31"/>
                    <a:pt x="25" y="189"/>
                  </a:cubicBezTo>
                  <a:cubicBezTo>
                    <a:pt x="-165" y="465"/>
                    <a:pt x="754" y="1724"/>
                    <a:pt x="2049" y="2801"/>
                  </a:cubicBezTo>
                  <a:close/>
                  <a:moveTo>
                    <a:pt x="2049" y="280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5" name="AutoShape 1387"/>
            <p:cNvSpPr>
              <a:spLocks/>
            </p:cNvSpPr>
            <p:nvPr/>
          </p:nvSpPr>
          <p:spPr bwMode="auto">
            <a:xfrm>
              <a:off x="5232400" y="7416800"/>
              <a:ext cx="6350" cy="6350"/>
            </a:xfrm>
            <a:custGeom>
              <a:avLst/>
              <a:gdLst/>
              <a:ahLst/>
              <a:cxnLst/>
              <a:rect l="0" t="0" r="r" b="b"/>
              <a:pathLst>
                <a:path w="19834" h="20296">
                  <a:moveTo>
                    <a:pt x="13395" y="8959"/>
                  </a:moveTo>
                  <a:cubicBezTo>
                    <a:pt x="11440" y="6437"/>
                    <a:pt x="6813" y="3163"/>
                    <a:pt x="3464" y="1153"/>
                  </a:cubicBezTo>
                  <a:cubicBezTo>
                    <a:pt x="-74" y="-421"/>
                    <a:pt x="-1050" y="-460"/>
                    <a:pt x="1227" y="1511"/>
                  </a:cubicBezTo>
                  <a:cubicBezTo>
                    <a:pt x="3409" y="3599"/>
                    <a:pt x="4173" y="6122"/>
                    <a:pt x="2813" y="7183"/>
                  </a:cubicBezTo>
                  <a:cubicBezTo>
                    <a:pt x="1492" y="8250"/>
                    <a:pt x="2832" y="11127"/>
                    <a:pt x="6049" y="13334"/>
                  </a:cubicBezTo>
                  <a:cubicBezTo>
                    <a:pt x="9012" y="15775"/>
                    <a:pt x="13775" y="18967"/>
                    <a:pt x="16721" y="19637"/>
                  </a:cubicBezTo>
                  <a:cubicBezTo>
                    <a:pt x="19323" y="21140"/>
                    <a:pt x="20550" y="19916"/>
                    <a:pt x="19402" y="17551"/>
                  </a:cubicBezTo>
                  <a:cubicBezTo>
                    <a:pt x="17831" y="15420"/>
                    <a:pt x="15229" y="11482"/>
                    <a:pt x="13395" y="8959"/>
                  </a:cubicBezTo>
                  <a:close/>
                  <a:moveTo>
                    <a:pt x="13395" y="895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6" name="AutoShape 1388"/>
            <p:cNvSpPr>
              <a:spLocks/>
            </p:cNvSpPr>
            <p:nvPr/>
          </p:nvSpPr>
          <p:spPr bwMode="auto">
            <a:xfrm>
              <a:off x="4864100" y="7137400"/>
              <a:ext cx="9525" cy="9525"/>
            </a:xfrm>
            <a:custGeom>
              <a:avLst/>
              <a:gdLst/>
              <a:ahLst/>
              <a:cxnLst/>
              <a:rect l="0" t="0" r="r" b="b"/>
              <a:pathLst>
                <a:path w="20804" h="21050">
                  <a:moveTo>
                    <a:pt x="7438" y="4352"/>
                  </a:moveTo>
                  <a:cubicBezTo>
                    <a:pt x="4995" y="2767"/>
                    <a:pt x="1825" y="1009"/>
                    <a:pt x="707" y="141"/>
                  </a:cubicBezTo>
                  <a:cubicBezTo>
                    <a:pt x="-579" y="-550"/>
                    <a:pt x="-60" y="1363"/>
                    <a:pt x="1851" y="4507"/>
                  </a:cubicBezTo>
                  <a:cubicBezTo>
                    <a:pt x="3876" y="7545"/>
                    <a:pt x="7063" y="11449"/>
                    <a:pt x="9088" y="13212"/>
                  </a:cubicBezTo>
                  <a:cubicBezTo>
                    <a:pt x="11130" y="14948"/>
                    <a:pt x="13718" y="17016"/>
                    <a:pt x="14393" y="18136"/>
                  </a:cubicBezTo>
                  <a:cubicBezTo>
                    <a:pt x="15263" y="19134"/>
                    <a:pt x="17108" y="20385"/>
                    <a:pt x="18642" y="21050"/>
                  </a:cubicBezTo>
                  <a:cubicBezTo>
                    <a:pt x="20292" y="21050"/>
                    <a:pt x="21021" y="20921"/>
                    <a:pt x="20747" y="19466"/>
                  </a:cubicBezTo>
                  <a:cubicBezTo>
                    <a:pt x="20385" y="18036"/>
                    <a:pt x="18175" y="14744"/>
                    <a:pt x="15953" y="12114"/>
                  </a:cubicBezTo>
                  <a:cubicBezTo>
                    <a:pt x="13718" y="9458"/>
                    <a:pt x="9908" y="5911"/>
                    <a:pt x="7438" y="4352"/>
                  </a:cubicBezTo>
                  <a:close/>
                  <a:moveTo>
                    <a:pt x="7438" y="435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7" name="AutoShape 1389"/>
            <p:cNvSpPr>
              <a:spLocks/>
            </p:cNvSpPr>
            <p:nvPr/>
          </p:nvSpPr>
          <p:spPr bwMode="auto">
            <a:xfrm>
              <a:off x="4851400" y="7124700"/>
              <a:ext cx="25400" cy="25400"/>
            </a:xfrm>
            <a:custGeom>
              <a:avLst/>
              <a:gdLst/>
              <a:ahLst/>
              <a:cxnLst/>
              <a:rect l="0" t="0" r="r" b="b"/>
              <a:pathLst>
                <a:path w="21352" h="21245">
                  <a:moveTo>
                    <a:pt x="18954" y="20196"/>
                  </a:moveTo>
                  <a:cubicBezTo>
                    <a:pt x="20117" y="21031"/>
                    <a:pt x="21269" y="21467"/>
                    <a:pt x="21269" y="21132"/>
                  </a:cubicBezTo>
                  <a:cubicBezTo>
                    <a:pt x="21531" y="20918"/>
                    <a:pt x="21135" y="19708"/>
                    <a:pt x="20543" y="18803"/>
                  </a:cubicBezTo>
                  <a:cubicBezTo>
                    <a:pt x="20060" y="17847"/>
                    <a:pt x="18178" y="15844"/>
                    <a:pt x="16611" y="14126"/>
                  </a:cubicBezTo>
                  <a:cubicBezTo>
                    <a:pt x="14986" y="12487"/>
                    <a:pt x="11583" y="9081"/>
                    <a:pt x="8950" y="6640"/>
                  </a:cubicBezTo>
                  <a:cubicBezTo>
                    <a:pt x="6435" y="4077"/>
                    <a:pt x="3402" y="1576"/>
                    <a:pt x="2348" y="904"/>
                  </a:cubicBezTo>
                  <a:cubicBezTo>
                    <a:pt x="1191" y="396"/>
                    <a:pt x="224" y="-133"/>
                    <a:pt x="54" y="30"/>
                  </a:cubicBezTo>
                  <a:cubicBezTo>
                    <a:pt x="-69" y="233"/>
                    <a:pt x="29" y="722"/>
                    <a:pt x="220" y="1290"/>
                  </a:cubicBezTo>
                  <a:cubicBezTo>
                    <a:pt x="440" y="1830"/>
                    <a:pt x="1474" y="3182"/>
                    <a:pt x="2296" y="4433"/>
                  </a:cubicBezTo>
                  <a:cubicBezTo>
                    <a:pt x="3258" y="5552"/>
                    <a:pt x="4996" y="7047"/>
                    <a:pt x="6199" y="7860"/>
                  </a:cubicBezTo>
                  <a:cubicBezTo>
                    <a:pt x="7474" y="8562"/>
                    <a:pt x="9279" y="9813"/>
                    <a:pt x="10311" y="10545"/>
                  </a:cubicBezTo>
                  <a:cubicBezTo>
                    <a:pt x="11278" y="11358"/>
                    <a:pt x="12184" y="12213"/>
                    <a:pt x="12261" y="12518"/>
                  </a:cubicBezTo>
                  <a:cubicBezTo>
                    <a:pt x="12405" y="12803"/>
                    <a:pt x="13423" y="14307"/>
                    <a:pt x="14611" y="15865"/>
                  </a:cubicBezTo>
                  <a:cubicBezTo>
                    <a:pt x="15901" y="17339"/>
                    <a:pt x="17772" y="19333"/>
                    <a:pt x="18954" y="20196"/>
                  </a:cubicBezTo>
                  <a:close/>
                  <a:moveTo>
                    <a:pt x="18954" y="2019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8" name="AutoShape 1390"/>
            <p:cNvSpPr>
              <a:spLocks/>
            </p:cNvSpPr>
            <p:nvPr/>
          </p:nvSpPr>
          <p:spPr bwMode="auto">
            <a:xfrm>
              <a:off x="4800600" y="7023100"/>
              <a:ext cx="3175" cy="3175"/>
            </a:xfrm>
            <a:custGeom>
              <a:avLst/>
              <a:gdLst/>
              <a:ahLst/>
              <a:cxnLst/>
              <a:rect l="0" t="0" r="r" b="b"/>
              <a:pathLst>
                <a:path w="19692" h="19271">
                  <a:moveTo>
                    <a:pt x="208" y="1167"/>
                  </a:moveTo>
                  <a:cubicBezTo>
                    <a:pt x="-500" y="4337"/>
                    <a:pt x="509" y="9503"/>
                    <a:pt x="4727" y="13623"/>
                  </a:cubicBezTo>
                  <a:cubicBezTo>
                    <a:pt x="9351" y="17167"/>
                    <a:pt x="14873" y="20043"/>
                    <a:pt x="18123" y="19084"/>
                  </a:cubicBezTo>
                  <a:cubicBezTo>
                    <a:pt x="21100" y="17167"/>
                    <a:pt x="19961" y="11637"/>
                    <a:pt x="13671" y="6628"/>
                  </a:cubicBezTo>
                  <a:cubicBezTo>
                    <a:pt x="8239" y="577"/>
                    <a:pt x="1847" y="-1557"/>
                    <a:pt x="208" y="1167"/>
                  </a:cubicBezTo>
                  <a:close/>
                  <a:moveTo>
                    <a:pt x="208" y="116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89" name="AutoShape 1391"/>
            <p:cNvSpPr>
              <a:spLocks/>
            </p:cNvSpPr>
            <p:nvPr/>
          </p:nvSpPr>
          <p:spPr bwMode="auto">
            <a:xfrm>
              <a:off x="4800600" y="7023100"/>
              <a:ext cx="7938" cy="6350"/>
            </a:xfrm>
            <a:custGeom>
              <a:avLst/>
              <a:gdLst/>
              <a:ahLst/>
              <a:cxnLst/>
              <a:rect l="0" t="0" r="r" b="b"/>
              <a:pathLst>
                <a:path w="19635" h="19842">
                  <a:moveTo>
                    <a:pt x="4233" y="1112"/>
                  </a:moveTo>
                  <a:cubicBezTo>
                    <a:pt x="631" y="-792"/>
                    <a:pt x="-1130" y="-159"/>
                    <a:pt x="784" y="2310"/>
                  </a:cubicBezTo>
                  <a:cubicBezTo>
                    <a:pt x="2086" y="5260"/>
                    <a:pt x="4261" y="9634"/>
                    <a:pt x="5547" y="12253"/>
                  </a:cubicBezTo>
                  <a:cubicBezTo>
                    <a:pt x="6466" y="15093"/>
                    <a:pt x="8766" y="17146"/>
                    <a:pt x="10483" y="17671"/>
                  </a:cubicBezTo>
                  <a:cubicBezTo>
                    <a:pt x="12258" y="17671"/>
                    <a:pt x="15612" y="19091"/>
                    <a:pt x="18111" y="19610"/>
                  </a:cubicBezTo>
                  <a:cubicBezTo>
                    <a:pt x="20470" y="20808"/>
                    <a:pt x="20166" y="17185"/>
                    <a:pt x="16671" y="12923"/>
                  </a:cubicBezTo>
                  <a:cubicBezTo>
                    <a:pt x="13454" y="8403"/>
                    <a:pt x="7985" y="2609"/>
                    <a:pt x="4233" y="1112"/>
                  </a:cubicBezTo>
                  <a:close/>
                  <a:moveTo>
                    <a:pt x="4233" y="111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0" name="AutoShape 1392"/>
            <p:cNvSpPr>
              <a:spLocks/>
            </p:cNvSpPr>
            <p:nvPr/>
          </p:nvSpPr>
          <p:spPr bwMode="auto">
            <a:xfrm>
              <a:off x="5105400" y="7353300"/>
              <a:ext cx="79375" cy="36513"/>
            </a:xfrm>
            <a:custGeom>
              <a:avLst/>
              <a:gdLst/>
              <a:ahLst/>
              <a:cxnLst/>
              <a:rect l="0" t="0" r="r" b="b"/>
              <a:pathLst>
                <a:path w="21409" h="21492">
                  <a:moveTo>
                    <a:pt x="19736" y="17121"/>
                  </a:moveTo>
                  <a:cubicBezTo>
                    <a:pt x="19502" y="16994"/>
                    <a:pt x="18927" y="16321"/>
                    <a:pt x="18472" y="15634"/>
                  </a:cubicBezTo>
                  <a:cubicBezTo>
                    <a:pt x="17994" y="15005"/>
                    <a:pt x="16981" y="13646"/>
                    <a:pt x="16175" y="12759"/>
                  </a:cubicBezTo>
                  <a:cubicBezTo>
                    <a:pt x="15399" y="11786"/>
                    <a:pt x="13808" y="10091"/>
                    <a:pt x="12698" y="8775"/>
                  </a:cubicBezTo>
                  <a:cubicBezTo>
                    <a:pt x="11567" y="7581"/>
                    <a:pt x="10233" y="6022"/>
                    <a:pt x="9723" y="5393"/>
                  </a:cubicBezTo>
                  <a:cubicBezTo>
                    <a:pt x="9209" y="4756"/>
                    <a:pt x="8829" y="4426"/>
                    <a:pt x="8841" y="4634"/>
                  </a:cubicBezTo>
                  <a:cubicBezTo>
                    <a:pt x="8881" y="4813"/>
                    <a:pt x="9065" y="5242"/>
                    <a:pt x="9257" y="5600"/>
                  </a:cubicBezTo>
                  <a:cubicBezTo>
                    <a:pt x="9449" y="5957"/>
                    <a:pt x="9526" y="6365"/>
                    <a:pt x="9423" y="6293"/>
                  </a:cubicBezTo>
                  <a:cubicBezTo>
                    <a:pt x="9316" y="6293"/>
                    <a:pt x="9094" y="6093"/>
                    <a:pt x="8886" y="5943"/>
                  </a:cubicBezTo>
                  <a:cubicBezTo>
                    <a:pt x="8695" y="5721"/>
                    <a:pt x="7901" y="4756"/>
                    <a:pt x="7125" y="3790"/>
                  </a:cubicBezTo>
                  <a:cubicBezTo>
                    <a:pt x="6348" y="2832"/>
                    <a:pt x="5357" y="1558"/>
                    <a:pt x="4913" y="993"/>
                  </a:cubicBezTo>
                  <a:cubicBezTo>
                    <a:pt x="4480" y="371"/>
                    <a:pt x="4026" y="-108"/>
                    <a:pt x="4011" y="21"/>
                  </a:cubicBezTo>
                  <a:cubicBezTo>
                    <a:pt x="3961" y="-51"/>
                    <a:pt x="4099" y="407"/>
                    <a:pt x="4321" y="807"/>
                  </a:cubicBezTo>
                  <a:cubicBezTo>
                    <a:pt x="4531" y="1216"/>
                    <a:pt x="5551" y="2581"/>
                    <a:pt x="6567" y="3862"/>
                  </a:cubicBezTo>
                  <a:cubicBezTo>
                    <a:pt x="7555" y="5249"/>
                    <a:pt x="8491" y="6436"/>
                    <a:pt x="8615" y="6672"/>
                  </a:cubicBezTo>
                  <a:cubicBezTo>
                    <a:pt x="8731" y="6901"/>
                    <a:pt x="8612" y="6930"/>
                    <a:pt x="8358" y="6730"/>
                  </a:cubicBezTo>
                  <a:cubicBezTo>
                    <a:pt x="8120" y="6458"/>
                    <a:pt x="7855" y="6308"/>
                    <a:pt x="7790" y="6308"/>
                  </a:cubicBezTo>
                  <a:cubicBezTo>
                    <a:pt x="7725" y="6308"/>
                    <a:pt x="7757" y="6422"/>
                    <a:pt x="7769" y="6650"/>
                  </a:cubicBezTo>
                  <a:cubicBezTo>
                    <a:pt x="7818" y="6865"/>
                    <a:pt x="7740" y="6722"/>
                    <a:pt x="7609" y="6865"/>
                  </a:cubicBezTo>
                  <a:cubicBezTo>
                    <a:pt x="7473" y="6766"/>
                    <a:pt x="7222" y="6279"/>
                    <a:pt x="6989" y="5964"/>
                  </a:cubicBezTo>
                  <a:cubicBezTo>
                    <a:pt x="6792" y="5542"/>
                    <a:pt x="6212" y="4627"/>
                    <a:pt x="5702" y="3955"/>
                  </a:cubicBezTo>
                  <a:cubicBezTo>
                    <a:pt x="5211" y="3218"/>
                    <a:pt x="4715" y="2760"/>
                    <a:pt x="4629" y="2760"/>
                  </a:cubicBezTo>
                  <a:cubicBezTo>
                    <a:pt x="4546" y="2760"/>
                    <a:pt x="4593" y="3132"/>
                    <a:pt x="4729" y="3518"/>
                  </a:cubicBezTo>
                  <a:cubicBezTo>
                    <a:pt x="4815" y="3968"/>
                    <a:pt x="4795" y="4155"/>
                    <a:pt x="4591" y="3955"/>
                  </a:cubicBezTo>
                  <a:cubicBezTo>
                    <a:pt x="4371" y="3847"/>
                    <a:pt x="3681" y="3304"/>
                    <a:pt x="3056" y="2774"/>
                  </a:cubicBezTo>
                  <a:cubicBezTo>
                    <a:pt x="2428" y="2267"/>
                    <a:pt x="1830" y="1852"/>
                    <a:pt x="1722" y="1852"/>
                  </a:cubicBezTo>
                  <a:cubicBezTo>
                    <a:pt x="1616" y="1852"/>
                    <a:pt x="1695" y="2073"/>
                    <a:pt x="1890" y="2409"/>
                  </a:cubicBezTo>
                  <a:cubicBezTo>
                    <a:pt x="2095" y="2703"/>
                    <a:pt x="2243" y="3075"/>
                    <a:pt x="2224" y="3161"/>
                  </a:cubicBezTo>
                  <a:cubicBezTo>
                    <a:pt x="2202" y="3246"/>
                    <a:pt x="1922" y="3039"/>
                    <a:pt x="1580" y="2674"/>
                  </a:cubicBezTo>
                  <a:cubicBezTo>
                    <a:pt x="1231" y="2346"/>
                    <a:pt x="689" y="1858"/>
                    <a:pt x="361" y="1659"/>
                  </a:cubicBezTo>
                  <a:cubicBezTo>
                    <a:pt x="33" y="1444"/>
                    <a:pt x="-63" y="1508"/>
                    <a:pt x="39" y="1951"/>
                  </a:cubicBezTo>
                  <a:cubicBezTo>
                    <a:pt x="202" y="2274"/>
                    <a:pt x="679" y="3025"/>
                    <a:pt x="1147" y="3468"/>
                  </a:cubicBezTo>
                  <a:cubicBezTo>
                    <a:pt x="1599" y="3983"/>
                    <a:pt x="2259" y="4576"/>
                    <a:pt x="2597" y="4878"/>
                  </a:cubicBezTo>
                  <a:cubicBezTo>
                    <a:pt x="2930" y="5170"/>
                    <a:pt x="3237" y="5263"/>
                    <a:pt x="3265" y="5099"/>
                  </a:cubicBezTo>
                  <a:cubicBezTo>
                    <a:pt x="3255" y="4935"/>
                    <a:pt x="3424" y="4941"/>
                    <a:pt x="3457" y="4791"/>
                  </a:cubicBezTo>
                  <a:cubicBezTo>
                    <a:pt x="3532" y="4791"/>
                    <a:pt x="3814" y="5077"/>
                    <a:pt x="4089" y="5399"/>
                  </a:cubicBezTo>
                  <a:cubicBezTo>
                    <a:pt x="4361" y="5771"/>
                    <a:pt x="4967" y="6622"/>
                    <a:pt x="5451" y="7245"/>
                  </a:cubicBezTo>
                  <a:cubicBezTo>
                    <a:pt x="5907" y="7960"/>
                    <a:pt x="6436" y="8540"/>
                    <a:pt x="6595" y="8540"/>
                  </a:cubicBezTo>
                  <a:cubicBezTo>
                    <a:pt x="6759" y="8540"/>
                    <a:pt x="7033" y="8846"/>
                    <a:pt x="7192" y="9169"/>
                  </a:cubicBezTo>
                  <a:cubicBezTo>
                    <a:pt x="7386" y="9376"/>
                    <a:pt x="7545" y="9991"/>
                    <a:pt x="7662" y="10241"/>
                  </a:cubicBezTo>
                  <a:cubicBezTo>
                    <a:pt x="7745" y="10549"/>
                    <a:pt x="8073" y="11114"/>
                    <a:pt x="8375" y="11529"/>
                  </a:cubicBezTo>
                  <a:cubicBezTo>
                    <a:pt x="8673" y="11965"/>
                    <a:pt x="8741" y="12287"/>
                    <a:pt x="8514" y="12180"/>
                  </a:cubicBezTo>
                  <a:cubicBezTo>
                    <a:pt x="8289" y="12180"/>
                    <a:pt x="8082" y="12352"/>
                    <a:pt x="8058" y="12673"/>
                  </a:cubicBezTo>
                  <a:cubicBezTo>
                    <a:pt x="7956" y="12924"/>
                    <a:pt x="8326" y="13575"/>
                    <a:pt x="8589" y="14225"/>
                  </a:cubicBezTo>
                  <a:cubicBezTo>
                    <a:pt x="8925" y="14697"/>
                    <a:pt x="9385" y="15298"/>
                    <a:pt x="9620" y="15562"/>
                  </a:cubicBezTo>
                  <a:cubicBezTo>
                    <a:pt x="9877" y="15699"/>
                    <a:pt x="10293" y="16192"/>
                    <a:pt x="10556" y="16536"/>
                  </a:cubicBezTo>
                  <a:cubicBezTo>
                    <a:pt x="10823" y="16864"/>
                    <a:pt x="11412" y="17737"/>
                    <a:pt x="11872" y="18438"/>
                  </a:cubicBezTo>
                  <a:cubicBezTo>
                    <a:pt x="12335" y="19153"/>
                    <a:pt x="12890" y="19925"/>
                    <a:pt x="13125" y="20111"/>
                  </a:cubicBezTo>
                  <a:cubicBezTo>
                    <a:pt x="13347" y="20333"/>
                    <a:pt x="13536" y="20362"/>
                    <a:pt x="13530" y="20226"/>
                  </a:cubicBezTo>
                  <a:cubicBezTo>
                    <a:pt x="13558" y="20111"/>
                    <a:pt x="13278" y="19611"/>
                    <a:pt x="12966" y="19196"/>
                  </a:cubicBezTo>
                  <a:cubicBezTo>
                    <a:pt x="12660" y="18774"/>
                    <a:pt x="12017" y="17923"/>
                    <a:pt x="11554" y="17251"/>
                  </a:cubicBezTo>
                  <a:cubicBezTo>
                    <a:pt x="11077" y="16628"/>
                    <a:pt x="10551" y="15892"/>
                    <a:pt x="10452" y="15520"/>
                  </a:cubicBezTo>
                  <a:cubicBezTo>
                    <a:pt x="10326" y="15184"/>
                    <a:pt x="10276" y="15048"/>
                    <a:pt x="10371" y="15048"/>
                  </a:cubicBezTo>
                  <a:cubicBezTo>
                    <a:pt x="10447" y="15163"/>
                    <a:pt x="10792" y="15570"/>
                    <a:pt x="11143" y="15913"/>
                  </a:cubicBezTo>
                  <a:cubicBezTo>
                    <a:pt x="11470" y="16356"/>
                    <a:pt x="11882" y="16621"/>
                    <a:pt x="12046" y="16621"/>
                  </a:cubicBezTo>
                  <a:cubicBezTo>
                    <a:pt x="12209" y="16621"/>
                    <a:pt x="12348" y="16421"/>
                    <a:pt x="12318" y="16249"/>
                  </a:cubicBezTo>
                  <a:cubicBezTo>
                    <a:pt x="12368" y="16107"/>
                    <a:pt x="12078" y="15606"/>
                    <a:pt x="11781" y="15384"/>
                  </a:cubicBezTo>
                  <a:cubicBezTo>
                    <a:pt x="11504" y="15041"/>
                    <a:pt x="11020" y="14576"/>
                    <a:pt x="10769" y="14139"/>
                  </a:cubicBezTo>
                  <a:cubicBezTo>
                    <a:pt x="10489" y="13775"/>
                    <a:pt x="10858" y="13575"/>
                    <a:pt x="11558" y="13961"/>
                  </a:cubicBezTo>
                  <a:cubicBezTo>
                    <a:pt x="12263" y="14189"/>
                    <a:pt x="13064" y="14576"/>
                    <a:pt x="13338" y="14576"/>
                  </a:cubicBezTo>
                  <a:cubicBezTo>
                    <a:pt x="13608" y="14690"/>
                    <a:pt x="15239" y="16278"/>
                    <a:pt x="16982" y="18109"/>
                  </a:cubicBezTo>
                  <a:cubicBezTo>
                    <a:pt x="18701" y="20041"/>
                    <a:pt x="20266" y="21399"/>
                    <a:pt x="20412" y="21492"/>
                  </a:cubicBezTo>
                  <a:cubicBezTo>
                    <a:pt x="20564" y="21492"/>
                    <a:pt x="20602" y="21171"/>
                    <a:pt x="20455" y="20891"/>
                  </a:cubicBezTo>
                  <a:cubicBezTo>
                    <a:pt x="20339" y="20555"/>
                    <a:pt x="20611" y="20591"/>
                    <a:pt x="21067" y="21006"/>
                  </a:cubicBezTo>
                  <a:cubicBezTo>
                    <a:pt x="21537" y="21349"/>
                    <a:pt x="21522" y="20734"/>
                    <a:pt x="21028" y="19589"/>
                  </a:cubicBezTo>
                  <a:cubicBezTo>
                    <a:pt x="20556" y="18381"/>
                    <a:pt x="19972" y="17222"/>
                    <a:pt x="19736" y="17121"/>
                  </a:cubicBezTo>
                  <a:close/>
                  <a:moveTo>
                    <a:pt x="19736" y="1712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1" name="AutoShape 1393"/>
            <p:cNvSpPr>
              <a:spLocks/>
            </p:cNvSpPr>
            <p:nvPr/>
          </p:nvSpPr>
          <p:spPr bwMode="auto">
            <a:xfrm>
              <a:off x="5232400" y="7429500"/>
              <a:ext cx="3175" cy="0"/>
            </a:xfrm>
            <a:custGeom>
              <a:avLst/>
              <a:gdLst/>
              <a:ahLst/>
              <a:cxnLst/>
              <a:rect l="0" t="0" r="r" b="b"/>
              <a:pathLst>
                <a:path w="19413" h="19363">
                  <a:moveTo>
                    <a:pt x="2603" y="634"/>
                  </a:moveTo>
                  <a:cubicBezTo>
                    <a:pt x="-1128" y="634"/>
                    <a:pt x="-873" y="6067"/>
                    <a:pt x="3525" y="12480"/>
                  </a:cubicBezTo>
                  <a:cubicBezTo>
                    <a:pt x="7953" y="18403"/>
                    <a:pt x="13752" y="19363"/>
                    <a:pt x="17257" y="19363"/>
                  </a:cubicBezTo>
                  <a:cubicBezTo>
                    <a:pt x="20472" y="15511"/>
                    <a:pt x="19996" y="12480"/>
                    <a:pt x="16460" y="7678"/>
                  </a:cubicBezTo>
                  <a:cubicBezTo>
                    <a:pt x="12506" y="5437"/>
                    <a:pt x="6199" y="-2237"/>
                    <a:pt x="2603" y="634"/>
                  </a:cubicBezTo>
                  <a:close/>
                  <a:moveTo>
                    <a:pt x="2603" y="63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2" name="AutoShape 1394"/>
            <p:cNvSpPr>
              <a:spLocks/>
            </p:cNvSpPr>
            <p:nvPr/>
          </p:nvSpPr>
          <p:spPr bwMode="auto">
            <a:xfrm>
              <a:off x="5156200" y="7391400"/>
              <a:ext cx="66675" cy="30163"/>
            </a:xfrm>
            <a:custGeom>
              <a:avLst/>
              <a:gdLst/>
              <a:ahLst/>
              <a:cxnLst/>
              <a:rect l="0" t="0" r="r" b="b"/>
              <a:pathLst>
                <a:path w="21385" h="21448">
                  <a:moveTo>
                    <a:pt x="19961" y="15699"/>
                  </a:moveTo>
                  <a:cubicBezTo>
                    <a:pt x="19710" y="15103"/>
                    <a:pt x="19122" y="14134"/>
                    <a:pt x="18624" y="13615"/>
                  </a:cubicBezTo>
                  <a:cubicBezTo>
                    <a:pt x="18145" y="13045"/>
                    <a:pt x="17174" y="12203"/>
                    <a:pt x="16495" y="11677"/>
                  </a:cubicBezTo>
                  <a:cubicBezTo>
                    <a:pt x="15812" y="11149"/>
                    <a:pt x="14804" y="10316"/>
                    <a:pt x="14236" y="9941"/>
                  </a:cubicBezTo>
                  <a:cubicBezTo>
                    <a:pt x="13689" y="9457"/>
                    <a:pt x="12598" y="8581"/>
                    <a:pt x="11837" y="7918"/>
                  </a:cubicBezTo>
                  <a:cubicBezTo>
                    <a:pt x="11078" y="7203"/>
                    <a:pt x="10043" y="6506"/>
                    <a:pt x="9535" y="6361"/>
                  </a:cubicBezTo>
                  <a:cubicBezTo>
                    <a:pt x="9023" y="6251"/>
                    <a:pt x="7766" y="5604"/>
                    <a:pt x="6727" y="4958"/>
                  </a:cubicBezTo>
                  <a:cubicBezTo>
                    <a:pt x="5696" y="4346"/>
                    <a:pt x="4369" y="3419"/>
                    <a:pt x="3809" y="2789"/>
                  </a:cubicBezTo>
                  <a:cubicBezTo>
                    <a:pt x="3231" y="2271"/>
                    <a:pt x="2598" y="1616"/>
                    <a:pt x="2381" y="1515"/>
                  </a:cubicBezTo>
                  <a:cubicBezTo>
                    <a:pt x="2155" y="1515"/>
                    <a:pt x="1688" y="978"/>
                    <a:pt x="1318" y="689"/>
                  </a:cubicBezTo>
                  <a:cubicBezTo>
                    <a:pt x="945" y="409"/>
                    <a:pt x="421" y="120"/>
                    <a:pt x="157" y="0"/>
                  </a:cubicBezTo>
                  <a:cubicBezTo>
                    <a:pt x="-114" y="0"/>
                    <a:pt x="-13" y="222"/>
                    <a:pt x="294" y="851"/>
                  </a:cubicBezTo>
                  <a:cubicBezTo>
                    <a:pt x="651" y="1353"/>
                    <a:pt x="1116" y="1786"/>
                    <a:pt x="1343" y="1939"/>
                  </a:cubicBezTo>
                  <a:cubicBezTo>
                    <a:pt x="1569" y="2050"/>
                    <a:pt x="2130" y="2500"/>
                    <a:pt x="2565" y="3087"/>
                  </a:cubicBezTo>
                  <a:cubicBezTo>
                    <a:pt x="3019" y="3598"/>
                    <a:pt x="2896" y="3938"/>
                    <a:pt x="2328" y="3683"/>
                  </a:cubicBezTo>
                  <a:cubicBezTo>
                    <a:pt x="1758" y="3410"/>
                    <a:pt x="1048" y="3113"/>
                    <a:pt x="752" y="3113"/>
                  </a:cubicBezTo>
                  <a:cubicBezTo>
                    <a:pt x="464" y="2976"/>
                    <a:pt x="316" y="3164"/>
                    <a:pt x="334" y="3453"/>
                  </a:cubicBezTo>
                  <a:cubicBezTo>
                    <a:pt x="392" y="3708"/>
                    <a:pt x="812" y="4550"/>
                    <a:pt x="1308" y="5153"/>
                  </a:cubicBezTo>
                  <a:cubicBezTo>
                    <a:pt x="1769" y="5842"/>
                    <a:pt x="2349" y="6336"/>
                    <a:pt x="2571" y="6208"/>
                  </a:cubicBezTo>
                  <a:cubicBezTo>
                    <a:pt x="2791" y="6098"/>
                    <a:pt x="2970" y="6319"/>
                    <a:pt x="2954" y="6659"/>
                  </a:cubicBezTo>
                  <a:cubicBezTo>
                    <a:pt x="2991" y="6991"/>
                    <a:pt x="3241" y="7603"/>
                    <a:pt x="3594" y="8062"/>
                  </a:cubicBezTo>
                  <a:cubicBezTo>
                    <a:pt x="3943" y="8556"/>
                    <a:pt x="4457" y="9117"/>
                    <a:pt x="4638" y="9601"/>
                  </a:cubicBezTo>
                  <a:cubicBezTo>
                    <a:pt x="4877" y="9933"/>
                    <a:pt x="5227" y="10375"/>
                    <a:pt x="5472" y="10494"/>
                  </a:cubicBezTo>
                  <a:cubicBezTo>
                    <a:pt x="5718" y="10605"/>
                    <a:pt x="6445" y="11293"/>
                    <a:pt x="7081" y="12084"/>
                  </a:cubicBezTo>
                  <a:cubicBezTo>
                    <a:pt x="7729" y="12824"/>
                    <a:pt x="8405" y="13615"/>
                    <a:pt x="8592" y="13802"/>
                  </a:cubicBezTo>
                  <a:cubicBezTo>
                    <a:pt x="8798" y="13802"/>
                    <a:pt x="8850" y="13743"/>
                    <a:pt x="8786" y="13300"/>
                  </a:cubicBezTo>
                  <a:cubicBezTo>
                    <a:pt x="8735" y="12850"/>
                    <a:pt x="8268" y="12084"/>
                    <a:pt x="7844" y="11481"/>
                  </a:cubicBezTo>
                  <a:cubicBezTo>
                    <a:pt x="7414" y="10902"/>
                    <a:pt x="7029" y="10248"/>
                    <a:pt x="6992" y="10001"/>
                  </a:cubicBezTo>
                  <a:cubicBezTo>
                    <a:pt x="6953" y="9763"/>
                    <a:pt x="7317" y="9830"/>
                    <a:pt x="7786" y="10189"/>
                  </a:cubicBezTo>
                  <a:cubicBezTo>
                    <a:pt x="8262" y="10478"/>
                    <a:pt x="8881" y="11422"/>
                    <a:pt x="9210" y="12067"/>
                  </a:cubicBezTo>
                  <a:cubicBezTo>
                    <a:pt x="9504" y="12799"/>
                    <a:pt x="10111" y="13879"/>
                    <a:pt x="10566" y="14414"/>
                  </a:cubicBezTo>
                  <a:cubicBezTo>
                    <a:pt x="10996" y="15018"/>
                    <a:pt x="11576" y="15597"/>
                    <a:pt x="11858" y="15597"/>
                  </a:cubicBezTo>
                  <a:cubicBezTo>
                    <a:pt x="12141" y="15715"/>
                    <a:pt x="12660" y="16106"/>
                    <a:pt x="13053" y="16413"/>
                  </a:cubicBezTo>
                  <a:cubicBezTo>
                    <a:pt x="13409" y="16880"/>
                    <a:pt x="14302" y="18028"/>
                    <a:pt x="15014" y="19075"/>
                  </a:cubicBezTo>
                  <a:cubicBezTo>
                    <a:pt x="15705" y="20188"/>
                    <a:pt x="16487" y="21090"/>
                    <a:pt x="16666" y="21370"/>
                  </a:cubicBezTo>
                  <a:cubicBezTo>
                    <a:pt x="16863" y="21600"/>
                    <a:pt x="16888" y="21302"/>
                    <a:pt x="16736" y="20724"/>
                  </a:cubicBezTo>
                  <a:cubicBezTo>
                    <a:pt x="16563" y="20180"/>
                    <a:pt x="15890" y="18972"/>
                    <a:pt x="15248" y="17952"/>
                  </a:cubicBezTo>
                  <a:cubicBezTo>
                    <a:pt x="14577" y="17016"/>
                    <a:pt x="13689" y="15749"/>
                    <a:pt x="13240" y="15222"/>
                  </a:cubicBezTo>
                  <a:cubicBezTo>
                    <a:pt x="12767" y="14780"/>
                    <a:pt x="12522" y="14261"/>
                    <a:pt x="12584" y="14091"/>
                  </a:cubicBezTo>
                  <a:cubicBezTo>
                    <a:pt x="12670" y="13989"/>
                    <a:pt x="12526" y="13572"/>
                    <a:pt x="12251" y="13190"/>
                  </a:cubicBezTo>
                  <a:cubicBezTo>
                    <a:pt x="12000" y="12756"/>
                    <a:pt x="11273" y="11966"/>
                    <a:pt x="10664" y="11327"/>
                  </a:cubicBezTo>
                  <a:cubicBezTo>
                    <a:pt x="10051" y="10724"/>
                    <a:pt x="9471" y="10230"/>
                    <a:pt x="9381" y="10128"/>
                  </a:cubicBezTo>
                  <a:cubicBezTo>
                    <a:pt x="9288" y="10051"/>
                    <a:pt x="8751" y="9355"/>
                    <a:pt x="8167" y="8572"/>
                  </a:cubicBezTo>
                  <a:cubicBezTo>
                    <a:pt x="7638" y="7628"/>
                    <a:pt x="7564" y="7330"/>
                    <a:pt x="8085" y="7739"/>
                  </a:cubicBezTo>
                  <a:cubicBezTo>
                    <a:pt x="8605" y="8139"/>
                    <a:pt x="9249" y="8657"/>
                    <a:pt x="9531" y="8802"/>
                  </a:cubicBezTo>
                  <a:cubicBezTo>
                    <a:pt x="9796" y="9091"/>
                    <a:pt x="10185" y="8861"/>
                    <a:pt x="10417" y="8861"/>
                  </a:cubicBezTo>
                  <a:cubicBezTo>
                    <a:pt x="10578" y="8504"/>
                    <a:pt x="11101" y="8751"/>
                    <a:pt x="11465" y="9083"/>
                  </a:cubicBezTo>
                  <a:cubicBezTo>
                    <a:pt x="11802" y="9500"/>
                    <a:pt x="12425" y="10307"/>
                    <a:pt x="12804" y="11047"/>
                  </a:cubicBezTo>
                  <a:cubicBezTo>
                    <a:pt x="13181" y="11778"/>
                    <a:pt x="13750" y="12841"/>
                    <a:pt x="14055" y="13420"/>
                  </a:cubicBezTo>
                  <a:cubicBezTo>
                    <a:pt x="14361" y="14006"/>
                    <a:pt x="15055" y="14839"/>
                    <a:pt x="15600" y="15188"/>
                  </a:cubicBezTo>
                  <a:cubicBezTo>
                    <a:pt x="16127" y="15579"/>
                    <a:pt x="16830" y="15851"/>
                    <a:pt x="17159" y="15851"/>
                  </a:cubicBezTo>
                  <a:cubicBezTo>
                    <a:pt x="17485" y="15979"/>
                    <a:pt x="18011" y="16065"/>
                    <a:pt x="18308" y="16455"/>
                  </a:cubicBezTo>
                  <a:cubicBezTo>
                    <a:pt x="18612" y="16830"/>
                    <a:pt x="19145" y="17553"/>
                    <a:pt x="19464" y="18164"/>
                  </a:cubicBezTo>
                  <a:cubicBezTo>
                    <a:pt x="19816" y="18675"/>
                    <a:pt x="20287" y="19151"/>
                    <a:pt x="20558" y="19151"/>
                  </a:cubicBezTo>
                  <a:cubicBezTo>
                    <a:pt x="20830" y="19151"/>
                    <a:pt x="21175" y="19015"/>
                    <a:pt x="21325" y="18896"/>
                  </a:cubicBezTo>
                  <a:cubicBezTo>
                    <a:pt x="21486" y="18896"/>
                    <a:pt x="21305" y="18335"/>
                    <a:pt x="20997" y="17748"/>
                  </a:cubicBezTo>
                  <a:cubicBezTo>
                    <a:pt x="20682" y="17170"/>
                    <a:pt x="20219" y="16268"/>
                    <a:pt x="19961" y="15699"/>
                  </a:cubicBezTo>
                  <a:close/>
                  <a:moveTo>
                    <a:pt x="19961" y="1569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3" name="AutoShape 1395"/>
            <p:cNvSpPr>
              <a:spLocks/>
            </p:cNvSpPr>
            <p:nvPr/>
          </p:nvSpPr>
          <p:spPr bwMode="auto">
            <a:xfrm>
              <a:off x="5118100" y="7366000"/>
              <a:ext cx="4763" cy="3175"/>
            </a:xfrm>
            <a:custGeom>
              <a:avLst/>
              <a:gdLst/>
              <a:ahLst/>
              <a:cxnLst/>
              <a:rect l="0" t="0" r="r" b="b"/>
              <a:pathLst>
                <a:path w="21081" h="19346">
                  <a:moveTo>
                    <a:pt x="20933" y="16443"/>
                  </a:moveTo>
                  <a:cubicBezTo>
                    <a:pt x="20077" y="13661"/>
                    <a:pt x="14610" y="8447"/>
                    <a:pt x="9492" y="4215"/>
                  </a:cubicBezTo>
                  <a:cubicBezTo>
                    <a:pt x="3943" y="951"/>
                    <a:pt x="0" y="-1337"/>
                    <a:pt x="0" y="881"/>
                  </a:cubicBezTo>
                  <a:cubicBezTo>
                    <a:pt x="0" y="3108"/>
                    <a:pt x="2212" y="7206"/>
                    <a:pt x="5090" y="9914"/>
                  </a:cubicBezTo>
                  <a:cubicBezTo>
                    <a:pt x="7733" y="13105"/>
                    <a:pt x="13303" y="16096"/>
                    <a:pt x="16635" y="18240"/>
                  </a:cubicBezTo>
                  <a:cubicBezTo>
                    <a:pt x="19973" y="20263"/>
                    <a:pt x="21600" y="19421"/>
                    <a:pt x="20933" y="16443"/>
                  </a:cubicBezTo>
                  <a:close/>
                  <a:moveTo>
                    <a:pt x="20933" y="1644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4" name="AutoShape 1396"/>
            <p:cNvSpPr>
              <a:spLocks/>
            </p:cNvSpPr>
            <p:nvPr/>
          </p:nvSpPr>
          <p:spPr bwMode="auto">
            <a:xfrm>
              <a:off x="4914900" y="7200900"/>
              <a:ext cx="3175" cy="1588"/>
            </a:xfrm>
            <a:custGeom>
              <a:avLst/>
              <a:gdLst/>
              <a:ahLst/>
              <a:cxnLst/>
              <a:rect l="0" t="0" r="r" b="b"/>
              <a:pathLst>
                <a:path w="18092" h="18733">
                  <a:moveTo>
                    <a:pt x="9386" y="3354"/>
                  </a:moveTo>
                  <a:cubicBezTo>
                    <a:pt x="2198" y="-1563"/>
                    <a:pt x="-1734" y="-1343"/>
                    <a:pt x="742" y="5813"/>
                  </a:cubicBezTo>
                  <a:cubicBezTo>
                    <a:pt x="3412" y="12768"/>
                    <a:pt x="6694" y="20037"/>
                    <a:pt x="8608" y="18534"/>
                  </a:cubicBezTo>
                  <a:cubicBezTo>
                    <a:pt x="10738" y="18534"/>
                    <a:pt x="15149" y="19275"/>
                    <a:pt x="17223" y="15975"/>
                  </a:cubicBezTo>
                  <a:cubicBezTo>
                    <a:pt x="19866" y="17458"/>
                    <a:pt x="16259" y="10082"/>
                    <a:pt x="9386" y="3354"/>
                  </a:cubicBezTo>
                  <a:close/>
                  <a:moveTo>
                    <a:pt x="9386" y="3354"/>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5" name="AutoShape 1397"/>
            <p:cNvSpPr>
              <a:spLocks/>
            </p:cNvSpPr>
            <p:nvPr/>
          </p:nvSpPr>
          <p:spPr bwMode="auto">
            <a:xfrm>
              <a:off x="5105400" y="7340600"/>
              <a:ext cx="20638" cy="20638"/>
            </a:xfrm>
            <a:custGeom>
              <a:avLst/>
              <a:gdLst/>
              <a:ahLst/>
              <a:cxnLst/>
              <a:rect l="0" t="0" r="r" b="b"/>
              <a:pathLst>
                <a:path w="21145" h="21340">
                  <a:moveTo>
                    <a:pt x="14284" y="13268"/>
                  </a:moveTo>
                  <a:cubicBezTo>
                    <a:pt x="13322" y="12435"/>
                    <a:pt x="12530" y="11526"/>
                    <a:pt x="12393" y="11257"/>
                  </a:cubicBezTo>
                  <a:cubicBezTo>
                    <a:pt x="12323" y="10962"/>
                    <a:pt x="11166" y="9540"/>
                    <a:pt x="9588" y="8335"/>
                  </a:cubicBezTo>
                  <a:cubicBezTo>
                    <a:pt x="8218" y="6875"/>
                    <a:pt x="6200" y="4902"/>
                    <a:pt x="5201" y="3813"/>
                  </a:cubicBezTo>
                  <a:cubicBezTo>
                    <a:pt x="4346" y="2596"/>
                    <a:pt x="2604" y="1096"/>
                    <a:pt x="1498" y="380"/>
                  </a:cubicBezTo>
                  <a:cubicBezTo>
                    <a:pt x="303" y="-197"/>
                    <a:pt x="-325" y="-133"/>
                    <a:pt x="171" y="687"/>
                  </a:cubicBezTo>
                  <a:cubicBezTo>
                    <a:pt x="498" y="1622"/>
                    <a:pt x="794" y="2943"/>
                    <a:pt x="964" y="3634"/>
                  </a:cubicBezTo>
                  <a:cubicBezTo>
                    <a:pt x="794" y="4338"/>
                    <a:pt x="2007" y="5876"/>
                    <a:pt x="3219" y="6977"/>
                  </a:cubicBezTo>
                  <a:cubicBezTo>
                    <a:pt x="4446" y="8040"/>
                    <a:pt x="5301" y="9348"/>
                    <a:pt x="5081" y="9680"/>
                  </a:cubicBezTo>
                  <a:cubicBezTo>
                    <a:pt x="5118" y="10091"/>
                    <a:pt x="5081" y="11039"/>
                    <a:pt x="5628" y="11693"/>
                  </a:cubicBezTo>
                  <a:cubicBezTo>
                    <a:pt x="6024" y="12435"/>
                    <a:pt x="7778" y="13844"/>
                    <a:pt x="9375" y="14895"/>
                  </a:cubicBezTo>
                  <a:cubicBezTo>
                    <a:pt x="11034" y="15894"/>
                    <a:pt x="13599" y="17484"/>
                    <a:pt x="15189" y="18290"/>
                  </a:cubicBezTo>
                  <a:cubicBezTo>
                    <a:pt x="16755" y="19174"/>
                    <a:pt x="18678" y="20212"/>
                    <a:pt x="19351" y="20763"/>
                  </a:cubicBezTo>
                  <a:cubicBezTo>
                    <a:pt x="19973" y="21403"/>
                    <a:pt x="20797" y="21339"/>
                    <a:pt x="21136" y="21339"/>
                  </a:cubicBezTo>
                  <a:cubicBezTo>
                    <a:pt x="21275" y="21006"/>
                    <a:pt x="19866" y="19788"/>
                    <a:pt x="17786" y="18277"/>
                  </a:cubicBezTo>
                  <a:cubicBezTo>
                    <a:pt x="15655" y="16868"/>
                    <a:pt x="14429" y="15419"/>
                    <a:pt x="15008" y="15177"/>
                  </a:cubicBezTo>
                  <a:cubicBezTo>
                    <a:pt x="15623" y="15010"/>
                    <a:pt x="15239" y="14113"/>
                    <a:pt x="14284" y="13268"/>
                  </a:cubicBezTo>
                  <a:close/>
                  <a:moveTo>
                    <a:pt x="14284" y="13268"/>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6" name="AutoShape 1398"/>
            <p:cNvSpPr>
              <a:spLocks/>
            </p:cNvSpPr>
            <p:nvPr/>
          </p:nvSpPr>
          <p:spPr bwMode="auto">
            <a:xfrm>
              <a:off x="4889500" y="7175500"/>
              <a:ext cx="7938" cy="7938"/>
            </a:xfrm>
            <a:custGeom>
              <a:avLst/>
              <a:gdLst/>
              <a:ahLst/>
              <a:cxnLst/>
              <a:rect l="0" t="0" r="r" b="b"/>
              <a:pathLst>
                <a:path w="20716" h="21600">
                  <a:moveTo>
                    <a:pt x="2296" y="0"/>
                  </a:moveTo>
                  <a:cubicBezTo>
                    <a:pt x="-392" y="528"/>
                    <a:pt x="-884" y="2017"/>
                    <a:pt x="1700" y="4194"/>
                  </a:cubicBezTo>
                  <a:cubicBezTo>
                    <a:pt x="4222" y="6440"/>
                    <a:pt x="6537" y="9544"/>
                    <a:pt x="6537" y="10900"/>
                  </a:cubicBezTo>
                  <a:cubicBezTo>
                    <a:pt x="6952" y="12155"/>
                    <a:pt x="9327" y="14894"/>
                    <a:pt x="11626" y="17666"/>
                  </a:cubicBezTo>
                  <a:cubicBezTo>
                    <a:pt x="14164" y="20112"/>
                    <a:pt x="17418" y="21600"/>
                    <a:pt x="18897" y="21600"/>
                  </a:cubicBezTo>
                  <a:cubicBezTo>
                    <a:pt x="20105" y="20673"/>
                    <a:pt x="20270" y="19515"/>
                    <a:pt x="20716" y="17569"/>
                  </a:cubicBezTo>
                  <a:cubicBezTo>
                    <a:pt x="20255" y="15521"/>
                    <a:pt x="17148" y="10700"/>
                    <a:pt x="13596" y="7034"/>
                  </a:cubicBezTo>
                  <a:cubicBezTo>
                    <a:pt x="10043" y="3368"/>
                    <a:pt x="5014" y="429"/>
                    <a:pt x="2296" y="0"/>
                  </a:cubicBezTo>
                  <a:close/>
                  <a:moveTo>
                    <a:pt x="2296"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7" name="AutoShape 1399"/>
            <p:cNvSpPr>
              <a:spLocks/>
            </p:cNvSpPr>
            <p:nvPr/>
          </p:nvSpPr>
          <p:spPr bwMode="auto">
            <a:xfrm>
              <a:off x="4876800" y="7150100"/>
              <a:ext cx="11113" cy="11113"/>
            </a:xfrm>
            <a:custGeom>
              <a:avLst/>
              <a:gdLst/>
              <a:ahLst/>
              <a:cxnLst/>
              <a:rect l="0" t="0" r="r" b="b"/>
              <a:pathLst>
                <a:path w="20644" h="20959">
                  <a:moveTo>
                    <a:pt x="9993" y="6130"/>
                  </a:moveTo>
                  <a:cubicBezTo>
                    <a:pt x="6870" y="3845"/>
                    <a:pt x="3491" y="1624"/>
                    <a:pt x="2805" y="807"/>
                  </a:cubicBezTo>
                  <a:cubicBezTo>
                    <a:pt x="2108" y="-11"/>
                    <a:pt x="879" y="-135"/>
                    <a:pt x="99" y="115"/>
                  </a:cubicBezTo>
                  <a:cubicBezTo>
                    <a:pt x="-442" y="744"/>
                    <a:pt x="1288" y="3740"/>
                    <a:pt x="4135" y="7511"/>
                  </a:cubicBezTo>
                  <a:cubicBezTo>
                    <a:pt x="6973" y="11282"/>
                    <a:pt x="10025" y="15305"/>
                    <a:pt x="10690" y="16646"/>
                  </a:cubicBezTo>
                  <a:cubicBezTo>
                    <a:pt x="11172" y="18071"/>
                    <a:pt x="12892" y="19663"/>
                    <a:pt x="13907" y="20585"/>
                  </a:cubicBezTo>
                  <a:cubicBezTo>
                    <a:pt x="14971" y="21465"/>
                    <a:pt x="16210" y="20709"/>
                    <a:pt x="16959" y="19180"/>
                  </a:cubicBezTo>
                  <a:cubicBezTo>
                    <a:pt x="17573" y="17589"/>
                    <a:pt x="18924" y="16290"/>
                    <a:pt x="20011" y="16646"/>
                  </a:cubicBezTo>
                  <a:cubicBezTo>
                    <a:pt x="21158" y="16646"/>
                    <a:pt x="20718" y="15368"/>
                    <a:pt x="18924" y="13547"/>
                  </a:cubicBezTo>
                  <a:cubicBezTo>
                    <a:pt x="17233" y="11618"/>
                    <a:pt x="13230" y="8223"/>
                    <a:pt x="9993" y="6130"/>
                  </a:cubicBezTo>
                  <a:close/>
                  <a:moveTo>
                    <a:pt x="9993" y="613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8" name="AutoShape 1400"/>
            <p:cNvSpPr>
              <a:spLocks/>
            </p:cNvSpPr>
            <p:nvPr/>
          </p:nvSpPr>
          <p:spPr bwMode="auto">
            <a:xfrm>
              <a:off x="5080000" y="7340600"/>
              <a:ext cx="28575" cy="15875"/>
            </a:xfrm>
            <a:custGeom>
              <a:avLst/>
              <a:gdLst/>
              <a:ahLst/>
              <a:cxnLst/>
              <a:rect l="0" t="0" r="r" b="b"/>
              <a:pathLst>
                <a:path w="21332" h="21303">
                  <a:moveTo>
                    <a:pt x="15726" y="16633"/>
                  </a:moveTo>
                  <a:cubicBezTo>
                    <a:pt x="16222" y="17579"/>
                    <a:pt x="17499" y="18960"/>
                    <a:pt x="18483" y="19811"/>
                  </a:cubicBezTo>
                  <a:cubicBezTo>
                    <a:pt x="19457" y="20710"/>
                    <a:pt x="20590" y="21303"/>
                    <a:pt x="21032" y="21303"/>
                  </a:cubicBezTo>
                  <a:cubicBezTo>
                    <a:pt x="21479" y="21303"/>
                    <a:pt x="21420" y="20404"/>
                    <a:pt x="20901" y="19570"/>
                  </a:cubicBezTo>
                  <a:cubicBezTo>
                    <a:pt x="20369" y="18720"/>
                    <a:pt x="20107" y="17452"/>
                    <a:pt x="20107" y="16811"/>
                  </a:cubicBezTo>
                  <a:cubicBezTo>
                    <a:pt x="20324" y="16296"/>
                    <a:pt x="19828" y="15108"/>
                    <a:pt x="19277" y="14548"/>
                  </a:cubicBezTo>
                  <a:cubicBezTo>
                    <a:pt x="18713" y="14003"/>
                    <a:pt x="17919" y="13199"/>
                    <a:pt x="17431" y="12943"/>
                  </a:cubicBezTo>
                  <a:cubicBezTo>
                    <a:pt x="16953" y="12670"/>
                    <a:pt x="16339" y="12606"/>
                    <a:pt x="16068" y="12831"/>
                  </a:cubicBezTo>
                  <a:cubicBezTo>
                    <a:pt x="15802" y="13023"/>
                    <a:pt x="14949" y="12317"/>
                    <a:pt x="14242" y="11161"/>
                  </a:cubicBezTo>
                  <a:cubicBezTo>
                    <a:pt x="13434" y="10215"/>
                    <a:pt x="11177" y="7679"/>
                    <a:pt x="9156" y="5656"/>
                  </a:cubicBezTo>
                  <a:cubicBezTo>
                    <a:pt x="7081" y="3780"/>
                    <a:pt x="5243" y="2352"/>
                    <a:pt x="5005" y="2352"/>
                  </a:cubicBezTo>
                  <a:cubicBezTo>
                    <a:pt x="4766" y="2352"/>
                    <a:pt x="3489" y="1662"/>
                    <a:pt x="2094" y="939"/>
                  </a:cubicBezTo>
                  <a:cubicBezTo>
                    <a:pt x="740" y="-55"/>
                    <a:pt x="-121" y="-297"/>
                    <a:pt x="14" y="393"/>
                  </a:cubicBezTo>
                  <a:cubicBezTo>
                    <a:pt x="267" y="1003"/>
                    <a:pt x="1029" y="2191"/>
                    <a:pt x="1760" y="3026"/>
                  </a:cubicBezTo>
                  <a:cubicBezTo>
                    <a:pt x="2441" y="3988"/>
                    <a:pt x="3769" y="5609"/>
                    <a:pt x="4589" y="6925"/>
                  </a:cubicBezTo>
                  <a:cubicBezTo>
                    <a:pt x="5406" y="8273"/>
                    <a:pt x="6318" y="9205"/>
                    <a:pt x="6575" y="8963"/>
                  </a:cubicBezTo>
                  <a:cubicBezTo>
                    <a:pt x="6841" y="8786"/>
                    <a:pt x="7874" y="9283"/>
                    <a:pt x="8858" y="10150"/>
                  </a:cubicBezTo>
                  <a:cubicBezTo>
                    <a:pt x="9810" y="11113"/>
                    <a:pt x="11318" y="12639"/>
                    <a:pt x="12193" y="13681"/>
                  </a:cubicBezTo>
                  <a:cubicBezTo>
                    <a:pt x="12987" y="14899"/>
                    <a:pt x="13971" y="15622"/>
                    <a:pt x="14223" y="15381"/>
                  </a:cubicBezTo>
                  <a:cubicBezTo>
                    <a:pt x="14444" y="15077"/>
                    <a:pt x="15189" y="15735"/>
                    <a:pt x="15726" y="16633"/>
                  </a:cubicBezTo>
                  <a:close/>
                  <a:moveTo>
                    <a:pt x="15726" y="1663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399" name="AutoShape 1401"/>
            <p:cNvSpPr>
              <a:spLocks/>
            </p:cNvSpPr>
            <p:nvPr/>
          </p:nvSpPr>
          <p:spPr bwMode="auto">
            <a:xfrm>
              <a:off x="5118100" y="7378700"/>
              <a:ext cx="3175" cy="1588"/>
            </a:xfrm>
            <a:custGeom>
              <a:avLst/>
              <a:gdLst/>
              <a:ahLst/>
              <a:cxnLst/>
              <a:rect l="0" t="0" r="r" b="b"/>
              <a:pathLst>
                <a:path w="18910" h="19848">
                  <a:moveTo>
                    <a:pt x="2264" y="0"/>
                  </a:moveTo>
                  <a:cubicBezTo>
                    <a:pt x="-1674" y="0"/>
                    <a:pt x="-261" y="3242"/>
                    <a:pt x="4842" y="10234"/>
                  </a:cubicBezTo>
                  <a:cubicBezTo>
                    <a:pt x="10197" y="16702"/>
                    <a:pt x="16262" y="21600"/>
                    <a:pt x="17933" y="19249"/>
                  </a:cubicBezTo>
                  <a:cubicBezTo>
                    <a:pt x="19926" y="17839"/>
                    <a:pt x="18767" y="12771"/>
                    <a:pt x="15376" y="9010"/>
                  </a:cubicBezTo>
                  <a:cubicBezTo>
                    <a:pt x="12422" y="4286"/>
                    <a:pt x="6181" y="1137"/>
                    <a:pt x="2264" y="0"/>
                  </a:cubicBezTo>
                  <a:close/>
                  <a:moveTo>
                    <a:pt x="2264"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0" name="AutoShape 1402"/>
            <p:cNvSpPr>
              <a:spLocks/>
            </p:cNvSpPr>
            <p:nvPr/>
          </p:nvSpPr>
          <p:spPr bwMode="auto">
            <a:xfrm>
              <a:off x="4965700" y="7239000"/>
              <a:ext cx="7938" cy="7938"/>
            </a:xfrm>
            <a:custGeom>
              <a:avLst/>
              <a:gdLst/>
              <a:ahLst/>
              <a:cxnLst/>
              <a:rect l="0" t="0" r="r" b="b"/>
              <a:pathLst>
                <a:path w="21140" h="21087">
                  <a:moveTo>
                    <a:pt x="13700" y="9703"/>
                  </a:moveTo>
                  <a:cubicBezTo>
                    <a:pt x="11489" y="7607"/>
                    <a:pt x="7822" y="4902"/>
                    <a:pt x="5944" y="3124"/>
                  </a:cubicBezTo>
                  <a:cubicBezTo>
                    <a:pt x="4098" y="1350"/>
                    <a:pt x="1451" y="-513"/>
                    <a:pt x="1156" y="129"/>
                  </a:cubicBezTo>
                  <a:cubicBezTo>
                    <a:pt x="442" y="129"/>
                    <a:pt x="-74" y="913"/>
                    <a:pt x="9" y="1872"/>
                  </a:cubicBezTo>
                  <a:cubicBezTo>
                    <a:pt x="107" y="2746"/>
                    <a:pt x="1617" y="5047"/>
                    <a:pt x="3060" y="7172"/>
                  </a:cubicBezTo>
                  <a:cubicBezTo>
                    <a:pt x="4628" y="9208"/>
                    <a:pt x="6755" y="11597"/>
                    <a:pt x="7696" y="12470"/>
                  </a:cubicBezTo>
                  <a:cubicBezTo>
                    <a:pt x="8659" y="13373"/>
                    <a:pt x="10299" y="14886"/>
                    <a:pt x="11013" y="16140"/>
                  </a:cubicBezTo>
                  <a:cubicBezTo>
                    <a:pt x="12034" y="17099"/>
                    <a:pt x="13785" y="18902"/>
                    <a:pt x="15267" y="19719"/>
                  </a:cubicBezTo>
                  <a:cubicBezTo>
                    <a:pt x="16753" y="20503"/>
                    <a:pt x="18977" y="21087"/>
                    <a:pt x="20239" y="21087"/>
                  </a:cubicBezTo>
                  <a:cubicBezTo>
                    <a:pt x="21526" y="21087"/>
                    <a:pt x="21343" y="19280"/>
                    <a:pt x="20265" y="17039"/>
                  </a:cubicBezTo>
                  <a:cubicBezTo>
                    <a:pt x="19021" y="14857"/>
                    <a:pt x="16191" y="11393"/>
                    <a:pt x="13700" y="9703"/>
                  </a:cubicBezTo>
                  <a:close/>
                  <a:moveTo>
                    <a:pt x="13700" y="970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1" name="AutoShape 1403"/>
            <p:cNvSpPr>
              <a:spLocks/>
            </p:cNvSpPr>
            <p:nvPr/>
          </p:nvSpPr>
          <p:spPr bwMode="auto">
            <a:xfrm>
              <a:off x="5092700" y="7315200"/>
              <a:ext cx="79375" cy="65088"/>
            </a:xfrm>
            <a:custGeom>
              <a:avLst/>
              <a:gdLst/>
              <a:ahLst/>
              <a:cxnLst/>
              <a:rect l="0" t="0" r="r" b="b"/>
              <a:pathLst>
                <a:path w="21133" h="21254">
                  <a:moveTo>
                    <a:pt x="13181" y="9733"/>
                  </a:moveTo>
                  <a:cubicBezTo>
                    <a:pt x="13106" y="9733"/>
                    <a:pt x="13034" y="9574"/>
                    <a:pt x="13069" y="9574"/>
                  </a:cubicBezTo>
                  <a:cubicBezTo>
                    <a:pt x="13059" y="9530"/>
                    <a:pt x="11895" y="7814"/>
                    <a:pt x="10437" y="5767"/>
                  </a:cubicBezTo>
                  <a:cubicBezTo>
                    <a:pt x="9026" y="3657"/>
                    <a:pt x="7426" y="1921"/>
                    <a:pt x="6968" y="1861"/>
                  </a:cubicBezTo>
                  <a:cubicBezTo>
                    <a:pt x="6517" y="1801"/>
                    <a:pt x="6055" y="1789"/>
                    <a:pt x="5935" y="1789"/>
                  </a:cubicBezTo>
                  <a:cubicBezTo>
                    <a:pt x="5818" y="1789"/>
                    <a:pt x="5366" y="1579"/>
                    <a:pt x="4971" y="1173"/>
                  </a:cubicBezTo>
                  <a:cubicBezTo>
                    <a:pt x="4528" y="868"/>
                    <a:pt x="3956" y="367"/>
                    <a:pt x="3648" y="149"/>
                  </a:cubicBezTo>
                  <a:cubicBezTo>
                    <a:pt x="3317" y="-2"/>
                    <a:pt x="3030" y="-70"/>
                    <a:pt x="3005" y="100"/>
                  </a:cubicBezTo>
                  <a:cubicBezTo>
                    <a:pt x="2971" y="268"/>
                    <a:pt x="3114" y="633"/>
                    <a:pt x="3317" y="939"/>
                  </a:cubicBezTo>
                  <a:cubicBezTo>
                    <a:pt x="3544" y="1213"/>
                    <a:pt x="3740" y="1615"/>
                    <a:pt x="3778" y="1794"/>
                  </a:cubicBezTo>
                  <a:cubicBezTo>
                    <a:pt x="3847" y="1964"/>
                    <a:pt x="3668" y="2155"/>
                    <a:pt x="3473" y="2298"/>
                  </a:cubicBezTo>
                  <a:cubicBezTo>
                    <a:pt x="3251" y="2358"/>
                    <a:pt x="3071" y="2560"/>
                    <a:pt x="3030" y="2643"/>
                  </a:cubicBezTo>
                  <a:cubicBezTo>
                    <a:pt x="2982" y="2719"/>
                    <a:pt x="2580" y="2477"/>
                    <a:pt x="2082" y="2123"/>
                  </a:cubicBezTo>
                  <a:cubicBezTo>
                    <a:pt x="1611" y="1718"/>
                    <a:pt x="1002" y="1217"/>
                    <a:pt x="705" y="1130"/>
                  </a:cubicBezTo>
                  <a:cubicBezTo>
                    <a:pt x="438" y="955"/>
                    <a:pt x="133" y="951"/>
                    <a:pt x="24" y="1102"/>
                  </a:cubicBezTo>
                  <a:cubicBezTo>
                    <a:pt x="-68" y="1269"/>
                    <a:pt x="113" y="1571"/>
                    <a:pt x="403" y="1865"/>
                  </a:cubicBezTo>
                  <a:cubicBezTo>
                    <a:pt x="721" y="2127"/>
                    <a:pt x="1207" y="2429"/>
                    <a:pt x="1486" y="2544"/>
                  </a:cubicBezTo>
                  <a:cubicBezTo>
                    <a:pt x="1769" y="2656"/>
                    <a:pt x="2046" y="2906"/>
                    <a:pt x="2099" y="3105"/>
                  </a:cubicBezTo>
                  <a:cubicBezTo>
                    <a:pt x="2153" y="3311"/>
                    <a:pt x="2056" y="3597"/>
                    <a:pt x="1849" y="3653"/>
                  </a:cubicBezTo>
                  <a:cubicBezTo>
                    <a:pt x="1639" y="3709"/>
                    <a:pt x="1661" y="4047"/>
                    <a:pt x="1873" y="4289"/>
                  </a:cubicBezTo>
                  <a:cubicBezTo>
                    <a:pt x="2069" y="4551"/>
                    <a:pt x="2420" y="5044"/>
                    <a:pt x="2638" y="5413"/>
                  </a:cubicBezTo>
                  <a:cubicBezTo>
                    <a:pt x="2840" y="5791"/>
                    <a:pt x="3480" y="6561"/>
                    <a:pt x="4061" y="7114"/>
                  </a:cubicBezTo>
                  <a:cubicBezTo>
                    <a:pt x="4655" y="7646"/>
                    <a:pt x="5335" y="8235"/>
                    <a:pt x="5609" y="8362"/>
                  </a:cubicBezTo>
                  <a:cubicBezTo>
                    <a:pt x="5884" y="8501"/>
                    <a:pt x="6212" y="8373"/>
                    <a:pt x="6396" y="8373"/>
                  </a:cubicBezTo>
                  <a:cubicBezTo>
                    <a:pt x="6556" y="8262"/>
                    <a:pt x="7041" y="8203"/>
                    <a:pt x="7486" y="8203"/>
                  </a:cubicBezTo>
                  <a:cubicBezTo>
                    <a:pt x="7932" y="8203"/>
                    <a:pt x="8664" y="8386"/>
                    <a:pt x="9088" y="8640"/>
                  </a:cubicBezTo>
                  <a:cubicBezTo>
                    <a:pt x="9529" y="8827"/>
                    <a:pt x="10084" y="9271"/>
                    <a:pt x="10317" y="9594"/>
                  </a:cubicBezTo>
                  <a:cubicBezTo>
                    <a:pt x="10536" y="9923"/>
                    <a:pt x="10701" y="10357"/>
                    <a:pt x="10590" y="10571"/>
                  </a:cubicBezTo>
                  <a:cubicBezTo>
                    <a:pt x="10480" y="10786"/>
                    <a:pt x="10144" y="10921"/>
                    <a:pt x="9806" y="10809"/>
                  </a:cubicBezTo>
                  <a:cubicBezTo>
                    <a:pt x="9475" y="10679"/>
                    <a:pt x="9273" y="10774"/>
                    <a:pt x="9203" y="10861"/>
                  </a:cubicBezTo>
                  <a:cubicBezTo>
                    <a:pt x="9203" y="10984"/>
                    <a:pt x="8819" y="11032"/>
                    <a:pt x="8319" y="10972"/>
                  </a:cubicBezTo>
                  <a:cubicBezTo>
                    <a:pt x="7828" y="10913"/>
                    <a:pt x="7466" y="10980"/>
                    <a:pt x="7553" y="11103"/>
                  </a:cubicBezTo>
                  <a:cubicBezTo>
                    <a:pt x="7611" y="11243"/>
                    <a:pt x="7791" y="11465"/>
                    <a:pt x="7909" y="11640"/>
                  </a:cubicBezTo>
                  <a:cubicBezTo>
                    <a:pt x="8043" y="11803"/>
                    <a:pt x="8521" y="12355"/>
                    <a:pt x="9045" y="12748"/>
                  </a:cubicBezTo>
                  <a:cubicBezTo>
                    <a:pt x="9516" y="13238"/>
                    <a:pt x="10378" y="13897"/>
                    <a:pt x="10912" y="14294"/>
                  </a:cubicBezTo>
                  <a:cubicBezTo>
                    <a:pt x="11427" y="14728"/>
                    <a:pt x="12116" y="15208"/>
                    <a:pt x="12447" y="15268"/>
                  </a:cubicBezTo>
                  <a:cubicBezTo>
                    <a:pt x="12759" y="15407"/>
                    <a:pt x="13652" y="15896"/>
                    <a:pt x="14411" y="16420"/>
                  </a:cubicBezTo>
                  <a:cubicBezTo>
                    <a:pt x="15191" y="16897"/>
                    <a:pt x="16775" y="18105"/>
                    <a:pt x="17969" y="19015"/>
                  </a:cubicBezTo>
                  <a:cubicBezTo>
                    <a:pt x="19174" y="19921"/>
                    <a:pt x="20540" y="20938"/>
                    <a:pt x="21041" y="21228"/>
                  </a:cubicBezTo>
                  <a:cubicBezTo>
                    <a:pt x="21532" y="21530"/>
                    <a:pt x="20000" y="19114"/>
                    <a:pt x="17625" y="15844"/>
                  </a:cubicBezTo>
                  <a:cubicBezTo>
                    <a:pt x="15212" y="12570"/>
                    <a:pt x="13199" y="9645"/>
                    <a:pt x="13181" y="9733"/>
                  </a:cubicBezTo>
                  <a:close/>
                  <a:moveTo>
                    <a:pt x="13181" y="973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2" name="AutoShape 1404"/>
            <p:cNvSpPr>
              <a:spLocks/>
            </p:cNvSpPr>
            <p:nvPr/>
          </p:nvSpPr>
          <p:spPr bwMode="auto">
            <a:xfrm>
              <a:off x="4521200" y="6121400"/>
              <a:ext cx="0" cy="0"/>
            </a:xfrm>
            <a:custGeom>
              <a:avLst/>
              <a:gdLst/>
              <a:ahLst/>
              <a:cxnLst/>
              <a:rect l="0" t="0" r="r" b="b"/>
              <a:pathLst>
                <a:path w="21600" h="9600">
                  <a:moveTo>
                    <a:pt x="0" y="0"/>
                  </a:moveTo>
                  <a:cubicBezTo>
                    <a:pt x="6789" y="21600"/>
                    <a:pt x="13166" y="0"/>
                    <a:pt x="21600" y="0"/>
                  </a:cubicBezTo>
                  <a:cubicBezTo>
                    <a:pt x="13166" y="0"/>
                    <a:pt x="6789" y="0"/>
                    <a:pt x="0" y="0"/>
                  </a:cubicBezTo>
                  <a:close/>
                  <a:moveTo>
                    <a:pt x="0" y="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3" name="AutoShape 1405"/>
            <p:cNvSpPr>
              <a:spLocks/>
            </p:cNvSpPr>
            <p:nvPr/>
          </p:nvSpPr>
          <p:spPr bwMode="auto">
            <a:xfrm>
              <a:off x="4521200" y="6121400"/>
              <a:ext cx="0" cy="0"/>
            </a:xfrm>
            <a:custGeom>
              <a:avLst/>
              <a:gdLst/>
              <a:ahLst/>
              <a:cxnLst/>
              <a:rect l="0" t="0" r="r" b="b"/>
              <a:pathLst>
                <a:path w="21600" h="21600">
                  <a:moveTo>
                    <a:pt x="0" y="21600"/>
                  </a:moveTo>
                  <a:cubicBezTo>
                    <a:pt x="3590" y="11450"/>
                    <a:pt x="13001" y="5997"/>
                    <a:pt x="21600" y="0"/>
                  </a:cubicBezTo>
                  <a:cubicBezTo>
                    <a:pt x="11865" y="4957"/>
                    <a:pt x="3428" y="11718"/>
                    <a:pt x="0" y="21600"/>
                  </a:cubicBezTo>
                  <a:close/>
                  <a:moveTo>
                    <a:pt x="0" y="2160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4" name="AutoShape 1406"/>
            <p:cNvSpPr>
              <a:spLocks/>
            </p:cNvSpPr>
            <p:nvPr/>
          </p:nvSpPr>
          <p:spPr bwMode="auto">
            <a:xfrm>
              <a:off x="4559300" y="4711700"/>
              <a:ext cx="1588" cy="4763"/>
            </a:xfrm>
            <a:custGeom>
              <a:avLst/>
              <a:gdLst/>
              <a:ahLst/>
              <a:cxnLst/>
              <a:rect l="0" t="0" r="r" b="b"/>
              <a:pathLst>
                <a:path w="17086" h="18783">
                  <a:moveTo>
                    <a:pt x="1662" y="6505"/>
                  </a:moveTo>
                  <a:cubicBezTo>
                    <a:pt x="-2464" y="14166"/>
                    <a:pt x="1487" y="19448"/>
                    <a:pt x="9135" y="18715"/>
                  </a:cubicBezTo>
                  <a:cubicBezTo>
                    <a:pt x="16613" y="17578"/>
                    <a:pt x="19136" y="11420"/>
                    <a:pt x="15330" y="4615"/>
                  </a:cubicBezTo>
                  <a:cubicBezTo>
                    <a:pt x="11232" y="-2152"/>
                    <a:pt x="4367" y="-1441"/>
                    <a:pt x="1662" y="6505"/>
                  </a:cubicBezTo>
                  <a:close/>
                  <a:moveTo>
                    <a:pt x="1662" y="650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5" name="AutoShape 1407"/>
            <p:cNvSpPr>
              <a:spLocks/>
            </p:cNvSpPr>
            <p:nvPr/>
          </p:nvSpPr>
          <p:spPr bwMode="auto">
            <a:xfrm>
              <a:off x="4584700" y="4724400"/>
              <a:ext cx="7938" cy="14288"/>
            </a:xfrm>
            <a:custGeom>
              <a:avLst/>
              <a:gdLst/>
              <a:ahLst/>
              <a:cxnLst/>
              <a:rect l="0" t="0" r="r" b="b"/>
              <a:pathLst>
                <a:path w="18948" h="19458">
                  <a:moveTo>
                    <a:pt x="14544" y="19439"/>
                  </a:moveTo>
                  <a:cubicBezTo>
                    <a:pt x="19278" y="19805"/>
                    <a:pt x="20289" y="14812"/>
                    <a:pt x="17123" y="8040"/>
                  </a:cubicBezTo>
                  <a:cubicBezTo>
                    <a:pt x="13697" y="1338"/>
                    <a:pt x="7969" y="-1795"/>
                    <a:pt x="3942" y="1052"/>
                  </a:cubicBezTo>
                  <a:cubicBezTo>
                    <a:pt x="175" y="4052"/>
                    <a:pt x="-1311" y="9132"/>
                    <a:pt x="1350" y="12483"/>
                  </a:cubicBezTo>
                  <a:cubicBezTo>
                    <a:pt x="3834" y="15840"/>
                    <a:pt x="9905" y="18737"/>
                    <a:pt x="14544" y="19439"/>
                  </a:cubicBezTo>
                  <a:close/>
                  <a:moveTo>
                    <a:pt x="14544" y="194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6" name="AutoShape 1408"/>
            <p:cNvSpPr>
              <a:spLocks/>
            </p:cNvSpPr>
            <p:nvPr/>
          </p:nvSpPr>
          <p:spPr bwMode="auto">
            <a:xfrm>
              <a:off x="4597400" y="4749800"/>
              <a:ext cx="3175" cy="4763"/>
            </a:xfrm>
            <a:custGeom>
              <a:avLst/>
              <a:gdLst/>
              <a:ahLst/>
              <a:cxnLst/>
              <a:rect l="0" t="0" r="r" b="b"/>
              <a:pathLst>
                <a:path w="18948" h="17298">
                  <a:moveTo>
                    <a:pt x="6149" y="2313"/>
                  </a:moveTo>
                  <a:cubicBezTo>
                    <a:pt x="-1399" y="7063"/>
                    <a:pt x="-2227" y="13350"/>
                    <a:pt x="4942" y="16226"/>
                  </a:cubicBezTo>
                  <a:cubicBezTo>
                    <a:pt x="11760" y="19375"/>
                    <a:pt x="17971" y="15309"/>
                    <a:pt x="18923" y="7661"/>
                  </a:cubicBezTo>
                  <a:cubicBezTo>
                    <a:pt x="19373" y="101"/>
                    <a:pt x="13862" y="-2225"/>
                    <a:pt x="6149" y="2313"/>
                  </a:cubicBezTo>
                  <a:close/>
                  <a:moveTo>
                    <a:pt x="6149" y="23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7" name="AutoShape 1409"/>
            <p:cNvSpPr>
              <a:spLocks/>
            </p:cNvSpPr>
            <p:nvPr/>
          </p:nvSpPr>
          <p:spPr bwMode="auto">
            <a:xfrm>
              <a:off x="4572000" y="4724400"/>
              <a:ext cx="9525" cy="20638"/>
            </a:xfrm>
            <a:custGeom>
              <a:avLst/>
              <a:gdLst/>
              <a:ahLst/>
              <a:cxnLst/>
              <a:rect l="0" t="0" r="r" b="b"/>
              <a:pathLst>
                <a:path w="19780" h="20394">
                  <a:moveTo>
                    <a:pt x="18953" y="17260"/>
                  </a:moveTo>
                  <a:cubicBezTo>
                    <a:pt x="20687" y="12885"/>
                    <a:pt x="19640" y="7299"/>
                    <a:pt x="16345" y="4645"/>
                  </a:cubicBezTo>
                  <a:cubicBezTo>
                    <a:pt x="12991" y="2055"/>
                    <a:pt x="8333" y="0"/>
                    <a:pt x="6074" y="0"/>
                  </a:cubicBezTo>
                  <a:cubicBezTo>
                    <a:pt x="3861" y="94"/>
                    <a:pt x="1288" y="1996"/>
                    <a:pt x="241" y="4311"/>
                  </a:cubicBezTo>
                  <a:cubicBezTo>
                    <a:pt x="-913" y="6619"/>
                    <a:pt x="2209" y="12292"/>
                    <a:pt x="6902" y="16843"/>
                  </a:cubicBezTo>
                  <a:cubicBezTo>
                    <a:pt x="11604" y="21406"/>
                    <a:pt x="16879" y="21600"/>
                    <a:pt x="18953" y="17260"/>
                  </a:cubicBezTo>
                  <a:close/>
                  <a:moveTo>
                    <a:pt x="18953" y="1726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8" name="AutoShape 1410"/>
            <p:cNvSpPr>
              <a:spLocks/>
            </p:cNvSpPr>
            <p:nvPr/>
          </p:nvSpPr>
          <p:spPr bwMode="auto">
            <a:xfrm>
              <a:off x="4584700" y="4762500"/>
              <a:ext cx="7938" cy="17463"/>
            </a:xfrm>
            <a:custGeom>
              <a:avLst/>
              <a:gdLst/>
              <a:ahLst/>
              <a:cxnLst/>
              <a:rect l="0" t="0" r="r" b="b"/>
              <a:pathLst>
                <a:path w="20552" h="20681">
                  <a:moveTo>
                    <a:pt x="13476" y="20656"/>
                  </a:moveTo>
                  <a:cubicBezTo>
                    <a:pt x="17877" y="20223"/>
                    <a:pt x="20990" y="16574"/>
                    <a:pt x="20501" y="12717"/>
                  </a:cubicBezTo>
                  <a:cubicBezTo>
                    <a:pt x="19812" y="8862"/>
                    <a:pt x="16698" y="3829"/>
                    <a:pt x="12861" y="1618"/>
                  </a:cubicBezTo>
                  <a:cubicBezTo>
                    <a:pt x="8994" y="-613"/>
                    <a:pt x="4435" y="-516"/>
                    <a:pt x="1828" y="1777"/>
                  </a:cubicBezTo>
                  <a:cubicBezTo>
                    <a:pt x="-500" y="4097"/>
                    <a:pt x="-610" y="9488"/>
                    <a:pt x="1528" y="13770"/>
                  </a:cubicBezTo>
                  <a:cubicBezTo>
                    <a:pt x="3666" y="18047"/>
                    <a:pt x="9058" y="20987"/>
                    <a:pt x="13476" y="20656"/>
                  </a:cubicBezTo>
                  <a:close/>
                  <a:moveTo>
                    <a:pt x="13476" y="20656"/>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09" name="AutoShape 1411"/>
            <p:cNvSpPr>
              <a:spLocks/>
            </p:cNvSpPr>
            <p:nvPr/>
          </p:nvSpPr>
          <p:spPr bwMode="auto">
            <a:xfrm>
              <a:off x="4597400" y="4800600"/>
              <a:ext cx="17463" cy="25400"/>
            </a:xfrm>
            <a:custGeom>
              <a:avLst/>
              <a:gdLst/>
              <a:ahLst/>
              <a:cxnLst/>
              <a:rect l="0" t="0" r="r" b="b"/>
              <a:pathLst>
                <a:path w="21600" h="20747">
                  <a:moveTo>
                    <a:pt x="0" y="1281"/>
                  </a:moveTo>
                  <a:cubicBezTo>
                    <a:pt x="239" y="2799"/>
                    <a:pt x="2791" y="6092"/>
                    <a:pt x="5581" y="8765"/>
                  </a:cubicBezTo>
                  <a:cubicBezTo>
                    <a:pt x="8568" y="11333"/>
                    <a:pt x="10624" y="14539"/>
                    <a:pt x="10258" y="15820"/>
                  </a:cubicBezTo>
                  <a:cubicBezTo>
                    <a:pt x="9899" y="17117"/>
                    <a:pt x="10722" y="18345"/>
                    <a:pt x="12173" y="18548"/>
                  </a:cubicBezTo>
                  <a:cubicBezTo>
                    <a:pt x="13639" y="18707"/>
                    <a:pt x="16311" y="19592"/>
                    <a:pt x="18166" y="20399"/>
                  </a:cubicBezTo>
                  <a:cubicBezTo>
                    <a:pt x="19939" y="21251"/>
                    <a:pt x="21481" y="20477"/>
                    <a:pt x="21600" y="18741"/>
                  </a:cubicBezTo>
                  <a:cubicBezTo>
                    <a:pt x="21600" y="17001"/>
                    <a:pt x="20590" y="12721"/>
                    <a:pt x="19230" y="9220"/>
                  </a:cubicBezTo>
                  <a:cubicBezTo>
                    <a:pt x="17844" y="5705"/>
                    <a:pt x="12967" y="1870"/>
                    <a:pt x="8306" y="657"/>
                  </a:cubicBezTo>
                  <a:cubicBezTo>
                    <a:pt x="3546" y="-349"/>
                    <a:pt x="0" y="-243"/>
                    <a:pt x="0" y="1281"/>
                  </a:cubicBezTo>
                  <a:close/>
                  <a:moveTo>
                    <a:pt x="0" y="1281"/>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10" name="AutoShape 1412"/>
            <p:cNvSpPr>
              <a:spLocks/>
            </p:cNvSpPr>
            <p:nvPr/>
          </p:nvSpPr>
          <p:spPr bwMode="auto">
            <a:xfrm>
              <a:off x="4597400" y="4838700"/>
              <a:ext cx="7938" cy="19050"/>
            </a:xfrm>
            <a:custGeom>
              <a:avLst/>
              <a:gdLst/>
              <a:ahLst/>
              <a:cxnLst/>
              <a:rect l="0" t="0" r="r" b="b"/>
              <a:pathLst>
                <a:path w="20158" h="19927">
                  <a:moveTo>
                    <a:pt x="8733" y="19653"/>
                  </a:moveTo>
                  <a:cubicBezTo>
                    <a:pt x="12483" y="20636"/>
                    <a:pt x="16565" y="18886"/>
                    <a:pt x="18734" y="15720"/>
                  </a:cubicBezTo>
                  <a:cubicBezTo>
                    <a:pt x="20445" y="12493"/>
                    <a:pt x="20777" y="6723"/>
                    <a:pt x="18823" y="2922"/>
                  </a:cubicBezTo>
                  <a:cubicBezTo>
                    <a:pt x="17084" y="-892"/>
                    <a:pt x="11909" y="-964"/>
                    <a:pt x="6950" y="2658"/>
                  </a:cubicBezTo>
                  <a:cubicBezTo>
                    <a:pt x="2034" y="6267"/>
                    <a:pt x="-823" y="11221"/>
                    <a:pt x="210" y="13536"/>
                  </a:cubicBezTo>
                  <a:cubicBezTo>
                    <a:pt x="1416" y="15851"/>
                    <a:pt x="4970" y="18693"/>
                    <a:pt x="8733" y="19653"/>
                  </a:cubicBezTo>
                  <a:close/>
                  <a:moveTo>
                    <a:pt x="8733" y="1965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11" name="AutoShape 1413"/>
            <p:cNvSpPr>
              <a:spLocks/>
            </p:cNvSpPr>
            <p:nvPr/>
          </p:nvSpPr>
          <p:spPr bwMode="auto">
            <a:xfrm>
              <a:off x="4648200" y="4876800"/>
              <a:ext cx="11113" cy="12700"/>
            </a:xfrm>
            <a:custGeom>
              <a:avLst/>
              <a:gdLst/>
              <a:ahLst/>
              <a:cxnLst/>
              <a:rect l="0" t="0" r="r" b="b"/>
              <a:pathLst>
                <a:path w="20701" h="20736">
                  <a:moveTo>
                    <a:pt x="2566" y="2472"/>
                  </a:moveTo>
                  <a:cubicBezTo>
                    <a:pt x="-481" y="5772"/>
                    <a:pt x="-716" y="11093"/>
                    <a:pt x="1339" y="14557"/>
                  </a:cubicBezTo>
                  <a:cubicBezTo>
                    <a:pt x="3835" y="17801"/>
                    <a:pt x="9140" y="20609"/>
                    <a:pt x="13420" y="20736"/>
                  </a:cubicBezTo>
                  <a:cubicBezTo>
                    <a:pt x="17747" y="20590"/>
                    <a:pt x="20884" y="18076"/>
                    <a:pt x="20693" y="14666"/>
                  </a:cubicBezTo>
                  <a:cubicBezTo>
                    <a:pt x="20198" y="11276"/>
                    <a:pt x="17455" y="5699"/>
                    <a:pt x="14141" y="2436"/>
                  </a:cubicBezTo>
                  <a:cubicBezTo>
                    <a:pt x="10690" y="-772"/>
                    <a:pt x="5654" y="-864"/>
                    <a:pt x="2566" y="2472"/>
                  </a:cubicBezTo>
                  <a:close/>
                  <a:moveTo>
                    <a:pt x="2566" y="2472"/>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12" name="AutoShape 1414"/>
            <p:cNvSpPr>
              <a:spLocks/>
            </p:cNvSpPr>
            <p:nvPr/>
          </p:nvSpPr>
          <p:spPr bwMode="auto">
            <a:xfrm>
              <a:off x="4584700" y="4927600"/>
              <a:ext cx="9525" cy="11113"/>
            </a:xfrm>
            <a:custGeom>
              <a:avLst/>
              <a:gdLst/>
              <a:ahLst/>
              <a:cxnLst/>
              <a:rect l="0" t="0" r="r" b="b"/>
              <a:pathLst>
                <a:path w="19924" h="20577">
                  <a:moveTo>
                    <a:pt x="6343" y="20539"/>
                  </a:moveTo>
                  <a:cubicBezTo>
                    <a:pt x="10748" y="20910"/>
                    <a:pt x="16082" y="18555"/>
                    <a:pt x="18030" y="15108"/>
                  </a:cubicBezTo>
                  <a:cubicBezTo>
                    <a:pt x="19989" y="11660"/>
                    <a:pt x="20711" y="6533"/>
                    <a:pt x="18823" y="3937"/>
                  </a:cubicBezTo>
                  <a:cubicBezTo>
                    <a:pt x="17212" y="1144"/>
                    <a:pt x="12720" y="-690"/>
                    <a:pt x="8985" y="248"/>
                  </a:cubicBezTo>
                  <a:cubicBezTo>
                    <a:pt x="5115" y="599"/>
                    <a:pt x="1207" y="5594"/>
                    <a:pt x="252" y="10677"/>
                  </a:cubicBezTo>
                  <a:cubicBezTo>
                    <a:pt x="-889" y="15675"/>
                    <a:pt x="1977" y="20235"/>
                    <a:pt x="6343" y="20539"/>
                  </a:cubicBezTo>
                  <a:close/>
                  <a:moveTo>
                    <a:pt x="6343" y="20539"/>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13" name="AutoShape 1415"/>
            <p:cNvSpPr>
              <a:spLocks/>
            </p:cNvSpPr>
            <p:nvPr/>
          </p:nvSpPr>
          <p:spPr bwMode="auto">
            <a:xfrm>
              <a:off x="4597400" y="4876800"/>
              <a:ext cx="1588" cy="12700"/>
            </a:xfrm>
            <a:custGeom>
              <a:avLst/>
              <a:gdLst/>
              <a:ahLst/>
              <a:cxnLst/>
              <a:rect l="0" t="0" r="r" b="b"/>
              <a:pathLst>
                <a:path w="18026" h="17232">
                  <a:moveTo>
                    <a:pt x="370" y="9080"/>
                  </a:moveTo>
                  <a:cubicBezTo>
                    <a:pt x="-1342" y="16750"/>
                    <a:pt x="3011" y="19497"/>
                    <a:pt x="10974" y="15204"/>
                  </a:cubicBezTo>
                  <a:cubicBezTo>
                    <a:pt x="18898" y="10955"/>
                    <a:pt x="20258" y="4652"/>
                    <a:pt x="14475" y="1289"/>
                  </a:cubicBezTo>
                  <a:cubicBezTo>
                    <a:pt x="8801" y="-2103"/>
                    <a:pt x="2661" y="1440"/>
                    <a:pt x="370" y="9080"/>
                  </a:cubicBezTo>
                  <a:close/>
                  <a:moveTo>
                    <a:pt x="370" y="9080"/>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14" name="AutoShape 1416"/>
            <p:cNvSpPr>
              <a:spLocks/>
            </p:cNvSpPr>
            <p:nvPr/>
          </p:nvSpPr>
          <p:spPr bwMode="auto">
            <a:xfrm>
              <a:off x="4597400" y="4914900"/>
              <a:ext cx="3175" cy="4763"/>
            </a:xfrm>
            <a:custGeom>
              <a:avLst/>
              <a:gdLst/>
              <a:ahLst/>
              <a:cxnLst/>
              <a:rect l="0" t="0" r="r" b="b"/>
              <a:pathLst>
                <a:path w="17864" h="19028">
                  <a:moveTo>
                    <a:pt x="363" y="5155"/>
                  </a:moveTo>
                  <a:cubicBezTo>
                    <a:pt x="-1343" y="12530"/>
                    <a:pt x="3095" y="18984"/>
                    <a:pt x="10838" y="18984"/>
                  </a:cubicBezTo>
                  <a:cubicBezTo>
                    <a:pt x="18517" y="19622"/>
                    <a:pt x="20257" y="13247"/>
                    <a:pt x="14284" y="5673"/>
                  </a:cubicBezTo>
                  <a:cubicBezTo>
                    <a:pt x="8042" y="-1618"/>
                    <a:pt x="2717" y="-1978"/>
                    <a:pt x="363" y="5155"/>
                  </a:cubicBezTo>
                  <a:close/>
                  <a:moveTo>
                    <a:pt x="363" y="5155"/>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15" name="AutoShape 1417"/>
            <p:cNvSpPr>
              <a:spLocks/>
            </p:cNvSpPr>
            <p:nvPr/>
          </p:nvSpPr>
          <p:spPr bwMode="auto">
            <a:xfrm>
              <a:off x="4622800" y="4978400"/>
              <a:ext cx="3175" cy="3175"/>
            </a:xfrm>
            <a:custGeom>
              <a:avLst/>
              <a:gdLst/>
              <a:ahLst/>
              <a:cxnLst/>
              <a:rect l="0" t="0" r="r" b="b"/>
              <a:pathLst>
                <a:path w="18770" h="17201">
                  <a:moveTo>
                    <a:pt x="6230" y="1687"/>
                  </a:moveTo>
                  <a:cubicBezTo>
                    <a:pt x="-1371" y="5834"/>
                    <a:pt x="-2123" y="11592"/>
                    <a:pt x="4561" y="15650"/>
                  </a:cubicBezTo>
                  <a:cubicBezTo>
                    <a:pt x="11486" y="19326"/>
                    <a:pt x="17553" y="16263"/>
                    <a:pt x="18698" y="8622"/>
                  </a:cubicBezTo>
                  <a:cubicBezTo>
                    <a:pt x="19477" y="1025"/>
                    <a:pt x="13884" y="-2274"/>
                    <a:pt x="6230" y="1687"/>
                  </a:cubicBezTo>
                  <a:close/>
                  <a:moveTo>
                    <a:pt x="6230" y="1687"/>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sp>
          <p:nvSpPr>
            <p:cNvPr id="1416" name="AutoShape 1418"/>
            <p:cNvSpPr>
              <a:spLocks/>
            </p:cNvSpPr>
            <p:nvPr/>
          </p:nvSpPr>
          <p:spPr bwMode="auto">
            <a:xfrm>
              <a:off x="4584700" y="4991100"/>
              <a:ext cx="30163" cy="38100"/>
            </a:xfrm>
            <a:custGeom>
              <a:avLst/>
              <a:gdLst/>
              <a:ahLst/>
              <a:cxnLst/>
              <a:rect l="0" t="0" r="r" b="b"/>
              <a:pathLst>
                <a:path w="21000" h="21111">
                  <a:moveTo>
                    <a:pt x="16622" y="1013"/>
                  </a:moveTo>
                  <a:cubicBezTo>
                    <a:pt x="14294" y="1834"/>
                    <a:pt x="11528" y="2245"/>
                    <a:pt x="10353" y="1656"/>
                  </a:cubicBezTo>
                  <a:cubicBezTo>
                    <a:pt x="9191" y="1033"/>
                    <a:pt x="7025" y="835"/>
                    <a:pt x="5653" y="1232"/>
                  </a:cubicBezTo>
                  <a:cubicBezTo>
                    <a:pt x="4246" y="1554"/>
                    <a:pt x="2883" y="2505"/>
                    <a:pt x="2518" y="3265"/>
                  </a:cubicBezTo>
                  <a:cubicBezTo>
                    <a:pt x="2176" y="4045"/>
                    <a:pt x="2969" y="5661"/>
                    <a:pt x="4281" y="6859"/>
                  </a:cubicBezTo>
                  <a:cubicBezTo>
                    <a:pt x="5576" y="8037"/>
                    <a:pt x="6841" y="10029"/>
                    <a:pt x="6982" y="11268"/>
                  </a:cubicBezTo>
                  <a:cubicBezTo>
                    <a:pt x="7171" y="12508"/>
                    <a:pt x="6446" y="14438"/>
                    <a:pt x="5225" y="15465"/>
                  </a:cubicBezTo>
                  <a:cubicBezTo>
                    <a:pt x="4088" y="16533"/>
                    <a:pt x="2124" y="17799"/>
                    <a:pt x="842" y="18197"/>
                  </a:cubicBezTo>
                  <a:cubicBezTo>
                    <a:pt x="-432" y="18621"/>
                    <a:pt x="-230" y="19559"/>
                    <a:pt x="1245" y="20278"/>
                  </a:cubicBezTo>
                  <a:cubicBezTo>
                    <a:pt x="2720" y="20990"/>
                    <a:pt x="6489" y="21346"/>
                    <a:pt x="9551" y="20942"/>
                  </a:cubicBezTo>
                  <a:cubicBezTo>
                    <a:pt x="12664" y="20730"/>
                    <a:pt x="16198" y="19477"/>
                    <a:pt x="17416" y="18395"/>
                  </a:cubicBezTo>
                  <a:cubicBezTo>
                    <a:pt x="18706" y="17368"/>
                    <a:pt x="19564" y="15198"/>
                    <a:pt x="19367" y="13726"/>
                  </a:cubicBezTo>
                  <a:cubicBezTo>
                    <a:pt x="19182" y="12254"/>
                    <a:pt x="18419" y="10029"/>
                    <a:pt x="17699" y="8783"/>
                  </a:cubicBezTo>
                  <a:cubicBezTo>
                    <a:pt x="16932" y="7558"/>
                    <a:pt x="17429" y="5360"/>
                    <a:pt x="18758" y="3874"/>
                  </a:cubicBezTo>
                  <a:cubicBezTo>
                    <a:pt x="20062" y="2382"/>
                    <a:pt x="21168" y="787"/>
                    <a:pt x="20979" y="267"/>
                  </a:cubicBezTo>
                  <a:cubicBezTo>
                    <a:pt x="20924" y="-254"/>
                    <a:pt x="18814" y="-14"/>
                    <a:pt x="16622" y="1013"/>
                  </a:cubicBezTo>
                  <a:close/>
                  <a:moveTo>
                    <a:pt x="16622" y="1013"/>
                  </a:moveTo>
                </a:path>
              </a:pathLst>
            </a:custGeom>
            <a:grpFill/>
            <a:ln w="3175" cap="flat">
              <a:solidFill>
                <a:srgbClr val="FFFFFF"/>
              </a:solidFill>
              <a:prstDash val="solid"/>
              <a:miter lim="800000"/>
              <a:headEnd type="none" w="med" len="med"/>
              <a:tailEnd type="none" w="med" len="med"/>
            </a:ln>
          </p:spPr>
          <p:txBody>
            <a:bodyPr lIns="0" tIns="0" rIns="0" bIns="0"/>
            <a:lstStyle/>
            <a:p>
              <a:endParaRPr lang="en-US"/>
            </a:p>
          </p:txBody>
        </p:sp>
      </p:grpSp>
    </p:spTree>
    <p:extLst>
      <p:ext uri="{BB962C8B-B14F-4D97-AF65-F5344CB8AC3E}">
        <p14:creationId xmlns:p14="http://schemas.microsoft.com/office/powerpoint/2010/main" val="39756821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3" name="Freeform 542">
            <a:extLst>
              <a:ext uri="{FF2B5EF4-FFF2-40B4-BE49-F238E27FC236}">
                <a16:creationId xmlns:a16="http://schemas.microsoft.com/office/drawing/2014/main" id="{5B1CC9E2-7AB5-7148-AEEE-5A640E2DB4E8}"/>
              </a:ext>
            </a:extLst>
          </p:cNvPr>
          <p:cNvSpPr/>
          <p:nvPr/>
        </p:nvSpPr>
        <p:spPr>
          <a:xfrm>
            <a:off x="4763" y="1787"/>
            <a:ext cx="12182478" cy="6854429"/>
          </a:xfrm>
          <a:custGeom>
            <a:avLst/>
            <a:gdLst>
              <a:gd name="connsiteX0" fmla="*/ 0 w 2731389"/>
              <a:gd name="connsiteY0" fmla="*/ 0 h 852599"/>
              <a:gd name="connsiteX1" fmla="*/ 2731389 w 2731389"/>
              <a:gd name="connsiteY1" fmla="*/ 0 h 852599"/>
              <a:gd name="connsiteX2" fmla="*/ 2731389 w 2731389"/>
              <a:gd name="connsiteY2" fmla="*/ 852599 h 852599"/>
              <a:gd name="connsiteX3" fmla="*/ 0 w 2731389"/>
              <a:gd name="connsiteY3" fmla="*/ 852599 h 852599"/>
            </a:gdLst>
            <a:ahLst/>
            <a:cxnLst>
              <a:cxn ang="0">
                <a:pos x="connsiteX0" y="connsiteY0"/>
              </a:cxn>
              <a:cxn ang="0">
                <a:pos x="connsiteX1" y="connsiteY1"/>
              </a:cxn>
              <a:cxn ang="0">
                <a:pos x="connsiteX2" y="connsiteY2"/>
              </a:cxn>
              <a:cxn ang="0">
                <a:pos x="connsiteX3" y="connsiteY3"/>
              </a:cxn>
            </a:cxnLst>
            <a:rect l="l" t="t" r="r" b="b"/>
            <a:pathLst>
              <a:path w="2731389" h="852599">
                <a:moveTo>
                  <a:pt x="0" y="0"/>
                </a:moveTo>
                <a:lnTo>
                  <a:pt x="2731389" y="0"/>
                </a:lnTo>
                <a:lnTo>
                  <a:pt x="2731389" y="852599"/>
                </a:lnTo>
                <a:lnTo>
                  <a:pt x="0" y="852599"/>
                </a:lnTo>
                <a:close/>
              </a:path>
            </a:pathLst>
          </a:custGeom>
          <a:solidFill>
            <a:srgbClr val="3E8E7A"/>
          </a:solidFill>
          <a:ln w="4266" cap="flat">
            <a:noFill/>
            <a:prstDash val="solid"/>
            <a:miter/>
          </a:ln>
        </p:spPr>
        <p:txBody>
          <a:bodyPr rtlCol="0" anchor="ctr"/>
          <a:lstStyle/>
          <a:p>
            <a:pPr defTabSz="908802"/>
            <a:endParaRPr lang="en-US" sz="1898">
              <a:solidFill>
                <a:srgbClr val="1A1A1A"/>
              </a:solidFill>
              <a:latin typeface="Tw Cen MT" panose="020B0602020104020603"/>
            </a:endParaRPr>
          </a:p>
        </p:txBody>
      </p:sp>
      <p:pic>
        <p:nvPicPr>
          <p:cNvPr id="5" name="Picture 4">
            <a:extLst>
              <a:ext uri="{FF2B5EF4-FFF2-40B4-BE49-F238E27FC236}">
                <a16:creationId xmlns:a16="http://schemas.microsoft.com/office/drawing/2014/main" id="{80A09E62-CB60-994C-9A53-E458D16F3C85}"/>
              </a:ext>
            </a:extLst>
          </p:cNvPr>
          <p:cNvPicPr>
            <a:picLocks noChangeAspect="1"/>
          </p:cNvPicPr>
          <p:nvPr/>
        </p:nvPicPr>
        <p:blipFill>
          <a:blip r:embed="rId4"/>
          <a:stretch>
            <a:fillRect/>
          </a:stretch>
        </p:blipFill>
        <p:spPr>
          <a:xfrm>
            <a:off x="4687097" y="1787"/>
            <a:ext cx="6854429" cy="6854429"/>
          </a:xfrm>
          <a:prstGeom prst="rect">
            <a:avLst/>
          </a:prstGeom>
        </p:spPr>
      </p:pic>
      <p:pic>
        <p:nvPicPr>
          <p:cNvPr id="88" name="Picture 87">
            <a:extLst>
              <a:ext uri="{FF2B5EF4-FFF2-40B4-BE49-F238E27FC236}">
                <a16:creationId xmlns:a16="http://schemas.microsoft.com/office/drawing/2014/main" id="{CE00EB71-0F14-BC4A-9AA7-D81AF9C389DC}"/>
              </a:ext>
            </a:extLst>
          </p:cNvPr>
          <p:cNvPicPr>
            <a:picLocks noChangeAspect="1"/>
          </p:cNvPicPr>
          <p:nvPr/>
        </p:nvPicPr>
        <p:blipFill rotWithShape="1">
          <a:blip r:embed="rId4"/>
          <a:srcRect l="91268"/>
          <a:stretch/>
        </p:blipFill>
        <p:spPr>
          <a:xfrm>
            <a:off x="10942973" y="1787"/>
            <a:ext cx="1244271" cy="6854429"/>
          </a:xfrm>
          <a:prstGeom prst="rect">
            <a:avLst/>
          </a:prstGeom>
        </p:spPr>
      </p:pic>
      <p:pic>
        <p:nvPicPr>
          <p:cNvPr id="89" name="Picture 88">
            <a:extLst>
              <a:ext uri="{FF2B5EF4-FFF2-40B4-BE49-F238E27FC236}">
                <a16:creationId xmlns:a16="http://schemas.microsoft.com/office/drawing/2014/main" id="{06FC8063-914C-5C4B-80F0-12544021AA48}"/>
              </a:ext>
            </a:extLst>
          </p:cNvPr>
          <p:cNvPicPr>
            <a:picLocks noChangeAspect="1"/>
          </p:cNvPicPr>
          <p:nvPr/>
        </p:nvPicPr>
        <p:blipFill rotWithShape="1">
          <a:blip r:embed="rId4"/>
          <a:srcRect r="89977"/>
          <a:stretch/>
        </p:blipFill>
        <p:spPr>
          <a:xfrm>
            <a:off x="3177" y="2679"/>
            <a:ext cx="5369366" cy="6854429"/>
          </a:xfrm>
          <a:prstGeom prst="rect">
            <a:avLst/>
          </a:prstGeom>
        </p:spPr>
      </p:pic>
      <p:sp>
        <p:nvSpPr>
          <p:cNvPr id="8" name="Rectangle 7">
            <a:extLst>
              <a:ext uri="{FF2B5EF4-FFF2-40B4-BE49-F238E27FC236}">
                <a16:creationId xmlns:a16="http://schemas.microsoft.com/office/drawing/2014/main" id="{D2FC4403-38AD-6F48-9292-3729AFCB656E}"/>
              </a:ext>
            </a:extLst>
          </p:cNvPr>
          <p:cNvSpPr/>
          <p:nvPr/>
        </p:nvSpPr>
        <p:spPr>
          <a:xfrm flipH="1">
            <a:off x="-64212" y="543935"/>
            <a:ext cx="5596011" cy="2337576"/>
          </a:xfrm>
          <a:prstGeom prst="rect">
            <a:avLst/>
          </a:prstGeom>
          <a:gradFill>
            <a:gsLst>
              <a:gs pos="1000">
                <a:schemeClr val="tx1">
                  <a:lumMod val="50000"/>
                  <a:lumOff val="50000"/>
                  <a:alpha val="0"/>
                </a:schemeClr>
              </a:gs>
              <a:gs pos="100000">
                <a:schemeClr val="tx1">
                  <a:lumMod val="50000"/>
                  <a:lumOff val="50000"/>
                </a:schemeClr>
              </a:gs>
            </a:gsLst>
            <a:lin ang="108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08802"/>
            <a:endParaRPr lang="en-US" sz="1898">
              <a:solidFill>
                <a:srgbClr val="FFFFFF"/>
              </a:solidFill>
              <a:latin typeface="Tw Cen MT" panose="020B0602020104020603"/>
            </a:endParaRPr>
          </a:p>
        </p:txBody>
      </p:sp>
      <p:pic>
        <p:nvPicPr>
          <p:cNvPr id="6" name="Picture 5">
            <a:extLst>
              <a:ext uri="{FF2B5EF4-FFF2-40B4-BE49-F238E27FC236}">
                <a16:creationId xmlns:a16="http://schemas.microsoft.com/office/drawing/2014/main" id="{F48420F8-5F64-9A4E-BE07-3D7751D6DEFA}"/>
              </a:ext>
            </a:extLst>
          </p:cNvPr>
          <p:cNvPicPr>
            <a:picLocks noChangeAspect="1"/>
          </p:cNvPicPr>
          <p:nvPr/>
        </p:nvPicPr>
        <p:blipFill>
          <a:blip r:embed="rId5"/>
          <a:stretch>
            <a:fillRect/>
          </a:stretch>
        </p:blipFill>
        <p:spPr>
          <a:xfrm>
            <a:off x="3252730" y="740633"/>
            <a:ext cx="1944183" cy="1944183"/>
          </a:xfrm>
          <a:prstGeom prst="rect">
            <a:avLst/>
          </a:prstGeom>
          <a:ln>
            <a:noFill/>
          </a:ln>
          <a:effectLst/>
        </p:spPr>
      </p:pic>
      <p:pic>
        <p:nvPicPr>
          <p:cNvPr id="7" name="Picture 6">
            <a:extLst>
              <a:ext uri="{FF2B5EF4-FFF2-40B4-BE49-F238E27FC236}">
                <a16:creationId xmlns:a16="http://schemas.microsoft.com/office/drawing/2014/main" id="{FC871AF2-3377-9940-8063-ABEB9E007615}"/>
              </a:ext>
            </a:extLst>
          </p:cNvPr>
          <p:cNvPicPr>
            <a:picLocks noChangeAspect="1"/>
          </p:cNvPicPr>
          <p:nvPr/>
        </p:nvPicPr>
        <p:blipFill>
          <a:blip r:embed="rId6"/>
          <a:stretch>
            <a:fillRect/>
          </a:stretch>
        </p:blipFill>
        <p:spPr>
          <a:xfrm>
            <a:off x="379441" y="740633"/>
            <a:ext cx="2592245" cy="1944183"/>
          </a:xfrm>
          <a:prstGeom prst="rect">
            <a:avLst/>
          </a:prstGeom>
          <a:ln>
            <a:noFill/>
          </a:ln>
          <a:effectLst/>
        </p:spPr>
      </p:pic>
      <p:sp>
        <p:nvSpPr>
          <p:cNvPr id="9" name="TextBox 8">
            <a:extLst>
              <a:ext uri="{FF2B5EF4-FFF2-40B4-BE49-F238E27FC236}">
                <a16:creationId xmlns:a16="http://schemas.microsoft.com/office/drawing/2014/main" id="{4B9407DE-2CAE-5A41-8EFB-50EDF2E98030}"/>
              </a:ext>
            </a:extLst>
          </p:cNvPr>
          <p:cNvSpPr txBox="1"/>
          <p:nvPr/>
        </p:nvSpPr>
        <p:spPr>
          <a:xfrm>
            <a:off x="745251" y="3404867"/>
            <a:ext cx="4047782" cy="584471"/>
          </a:xfrm>
          <a:prstGeom prst="rect">
            <a:avLst/>
          </a:prstGeom>
          <a:noFill/>
        </p:spPr>
        <p:txBody>
          <a:bodyPr wrap="none" rtlCol="0">
            <a:spAutoFit/>
          </a:bodyPr>
          <a:lstStyle/>
          <a:p>
            <a:pPr algn="ctr" defTabSz="908802"/>
            <a:r>
              <a:rPr lang="en-US" sz="3198" dirty="0" err="1">
                <a:solidFill>
                  <a:srgbClr val="FFFFFF"/>
                </a:solidFill>
                <a:latin typeface="Tw Cen MT" panose="020B0602020104020603"/>
              </a:rPr>
              <a:t>TheBetterDeckDeck.com</a:t>
            </a:r>
            <a:endParaRPr lang="en-US" sz="3198" dirty="0">
              <a:solidFill>
                <a:srgbClr val="FFFFFF"/>
              </a:solidFill>
              <a:latin typeface="Tw Cen MT" panose="020B0602020104020603"/>
            </a:endParaRPr>
          </a:p>
        </p:txBody>
      </p:sp>
    </p:spTree>
    <p:custDataLst>
      <p:tags r:id="rId1"/>
    </p:custDataLst>
    <p:extLst>
      <p:ext uri="{BB962C8B-B14F-4D97-AF65-F5344CB8AC3E}">
        <p14:creationId xmlns:p14="http://schemas.microsoft.com/office/powerpoint/2010/main" val="16358001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North America </a:t>
            </a:r>
          </a:p>
        </p:txBody>
      </p:sp>
      <p:grpSp>
        <p:nvGrpSpPr>
          <p:cNvPr id="223" name="Group 222"/>
          <p:cNvGrpSpPr/>
          <p:nvPr/>
        </p:nvGrpSpPr>
        <p:grpSpPr>
          <a:xfrm>
            <a:off x="1600201" y="1598936"/>
            <a:ext cx="4347451" cy="4660900"/>
            <a:chOff x="4387264" y="1598936"/>
            <a:chExt cx="4347451" cy="4660900"/>
          </a:xfrm>
          <a:solidFill>
            <a:schemeClr val="bg1">
              <a:lumMod val="75000"/>
            </a:schemeClr>
          </a:solidFill>
        </p:grpSpPr>
        <p:sp>
          <p:nvSpPr>
            <p:cNvPr id="224" name="AutoShape 1"/>
            <p:cNvSpPr>
              <a:spLocks/>
            </p:cNvSpPr>
            <p:nvPr/>
          </p:nvSpPr>
          <p:spPr bwMode="auto">
            <a:xfrm>
              <a:off x="8017968" y="3865573"/>
              <a:ext cx="194502" cy="318044"/>
            </a:xfrm>
            <a:custGeom>
              <a:avLst/>
              <a:gdLst/>
              <a:ahLst/>
              <a:cxnLst/>
              <a:rect l="0" t="0" r="r" b="b"/>
              <a:pathLst>
                <a:path w="21600" h="21600">
                  <a:moveTo>
                    <a:pt x="5848" y="21600"/>
                  </a:moveTo>
                  <a:cubicBezTo>
                    <a:pt x="5726" y="21526"/>
                    <a:pt x="5606" y="21411"/>
                    <a:pt x="5485" y="21254"/>
                  </a:cubicBezTo>
                  <a:cubicBezTo>
                    <a:pt x="5394" y="21097"/>
                    <a:pt x="5326" y="20977"/>
                    <a:pt x="5281" y="20894"/>
                  </a:cubicBezTo>
                  <a:cubicBezTo>
                    <a:pt x="5235" y="20728"/>
                    <a:pt x="5100" y="20640"/>
                    <a:pt x="4873" y="20631"/>
                  </a:cubicBezTo>
                  <a:cubicBezTo>
                    <a:pt x="4767" y="20631"/>
                    <a:pt x="4668" y="20608"/>
                    <a:pt x="4578" y="20562"/>
                  </a:cubicBezTo>
                  <a:cubicBezTo>
                    <a:pt x="4503" y="20497"/>
                    <a:pt x="4458" y="20419"/>
                    <a:pt x="4442" y="20326"/>
                  </a:cubicBezTo>
                  <a:cubicBezTo>
                    <a:pt x="4427" y="20243"/>
                    <a:pt x="4352" y="20183"/>
                    <a:pt x="4215" y="20146"/>
                  </a:cubicBezTo>
                  <a:cubicBezTo>
                    <a:pt x="4065" y="20128"/>
                    <a:pt x="3989" y="20105"/>
                    <a:pt x="3989" y="20077"/>
                  </a:cubicBezTo>
                  <a:lnTo>
                    <a:pt x="4012" y="19578"/>
                  </a:lnTo>
                  <a:lnTo>
                    <a:pt x="0" y="11935"/>
                  </a:lnTo>
                  <a:cubicBezTo>
                    <a:pt x="45" y="11898"/>
                    <a:pt x="90" y="11857"/>
                    <a:pt x="135" y="11811"/>
                  </a:cubicBezTo>
                  <a:cubicBezTo>
                    <a:pt x="287" y="11469"/>
                    <a:pt x="460" y="11326"/>
                    <a:pt x="657" y="11382"/>
                  </a:cubicBezTo>
                  <a:cubicBezTo>
                    <a:pt x="838" y="11419"/>
                    <a:pt x="1035" y="11488"/>
                    <a:pt x="1247" y="11589"/>
                  </a:cubicBezTo>
                  <a:lnTo>
                    <a:pt x="1382" y="11188"/>
                  </a:lnTo>
                  <a:cubicBezTo>
                    <a:pt x="1594" y="10394"/>
                    <a:pt x="1700" y="9822"/>
                    <a:pt x="1700" y="9471"/>
                  </a:cubicBezTo>
                  <a:cubicBezTo>
                    <a:pt x="1700" y="9360"/>
                    <a:pt x="1609" y="8926"/>
                    <a:pt x="1428" y="8169"/>
                  </a:cubicBezTo>
                  <a:cubicBezTo>
                    <a:pt x="1232" y="7412"/>
                    <a:pt x="1133" y="6886"/>
                    <a:pt x="1133" y="6591"/>
                  </a:cubicBezTo>
                  <a:cubicBezTo>
                    <a:pt x="1224" y="6305"/>
                    <a:pt x="1269" y="6102"/>
                    <a:pt x="1269" y="5982"/>
                  </a:cubicBezTo>
                  <a:cubicBezTo>
                    <a:pt x="1269" y="5825"/>
                    <a:pt x="1232" y="5465"/>
                    <a:pt x="1155" y="4902"/>
                  </a:cubicBezTo>
                  <a:cubicBezTo>
                    <a:pt x="1080" y="4338"/>
                    <a:pt x="1042" y="3983"/>
                    <a:pt x="1042" y="3835"/>
                  </a:cubicBezTo>
                  <a:cubicBezTo>
                    <a:pt x="1042" y="3226"/>
                    <a:pt x="1201" y="2589"/>
                    <a:pt x="1518" y="1925"/>
                  </a:cubicBezTo>
                  <a:cubicBezTo>
                    <a:pt x="1896" y="1122"/>
                    <a:pt x="2365" y="720"/>
                    <a:pt x="2923" y="720"/>
                  </a:cubicBezTo>
                  <a:cubicBezTo>
                    <a:pt x="3211" y="720"/>
                    <a:pt x="3588" y="868"/>
                    <a:pt x="4057" y="1163"/>
                  </a:cubicBezTo>
                  <a:cubicBezTo>
                    <a:pt x="4118" y="1200"/>
                    <a:pt x="4178" y="1232"/>
                    <a:pt x="4238" y="1260"/>
                  </a:cubicBezTo>
                  <a:cubicBezTo>
                    <a:pt x="4646" y="1482"/>
                    <a:pt x="5031" y="1592"/>
                    <a:pt x="5394" y="1592"/>
                  </a:cubicBezTo>
                  <a:cubicBezTo>
                    <a:pt x="5802" y="1592"/>
                    <a:pt x="6248" y="1468"/>
                    <a:pt x="6731" y="1219"/>
                  </a:cubicBezTo>
                  <a:cubicBezTo>
                    <a:pt x="7003" y="1080"/>
                    <a:pt x="7223" y="955"/>
                    <a:pt x="7388" y="845"/>
                  </a:cubicBezTo>
                  <a:cubicBezTo>
                    <a:pt x="7449" y="789"/>
                    <a:pt x="7502" y="743"/>
                    <a:pt x="7548" y="706"/>
                  </a:cubicBezTo>
                  <a:lnTo>
                    <a:pt x="8023" y="0"/>
                  </a:lnTo>
                  <a:lnTo>
                    <a:pt x="11491" y="1219"/>
                  </a:lnTo>
                  <a:lnTo>
                    <a:pt x="14619" y="7006"/>
                  </a:lnTo>
                  <a:lnTo>
                    <a:pt x="16114" y="7214"/>
                  </a:lnTo>
                  <a:lnTo>
                    <a:pt x="17225" y="8363"/>
                  </a:lnTo>
                  <a:cubicBezTo>
                    <a:pt x="17301" y="8456"/>
                    <a:pt x="17527" y="8571"/>
                    <a:pt x="17905" y="8709"/>
                  </a:cubicBezTo>
                  <a:cubicBezTo>
                    <a:pt x="18283" y="8838"/>
                    <a:pt x="18562" y="8852"/>
                    <a:pt x="18744" y="8751"/>
                  </a:cubicBezTo>
                  <a:cubicBezTo>
                    <a:pt x="18865" y="8686"/>
                    <a:pt x="18986" y="8640"/>
                    <a:pt x="19107" y="8613"/>
                  </a:cubicBezTo>
                  <a:cubicBezTo>
                    <a:pt x="19167" y="8594"/>
                    <a:pt x="19235" y="8585"/>
                    <a:pt x="19310" y="8585"/>
                  </a:cubicBezTo>
                  <a:lnTo>
                    <a:pt x="20852" y="9706"/>
                  </a:lnTo>
                  <a:cubicBezTo>
                    <a:pt x="20852" y="9716"/>
                    <a:pt x="20784" y="9757"/>
                    <a:pt x="20647" y="9831"/>
                  </a:cubicBezTo>
                  <a:cubicBezTo>
                    <a:pt x="20497" y="9905"/>
                    <a:pt x="20421" y="9965"/>
                    <a:pt x="20421" y="10011"/>
                  </a:cubicBezTo>
                  <a:cubicBezTo>
                    <a:pt x="20421" y="10066"/>
                    <a:pt x="20474" y="10113"/>
                    <a:pt x="20580" y="10149"/>
                  </a:cubicBezTo>
                  <a:cubicBezTo>
                    <a:pt x="20655" y="10196"/>
                    <a:pt x="20739" y="10219"/>
                    <a:pt x="20829" y="10219"/>
                  </a:cubicBezTo>
                  <a:cubicBezTo>
                    <a:pt x="20905" y="10219"/>
                    <a:pt x="20965" y="10209"/>
                    <a:pt x="21010" y="10191"/>
                  </a:cubicBezTo>
                  <a:cubicBezTo>
                    <a:pt x="21071" y="10182"/>
                    <a:pt x="21132" y="10177"/>
                    <a:pt x="21192" y="10177"/>
                  </a:cubicBezTo>
                  <a:cubicBezTo>
                    <a:pt x="21464" y="10186"/>
                    <a:pt x="21600" y="10278"/>
                    <a:pt x="21600" y="10454"/>
                  </a:cubicBezTo>
                  <a:cubicBezTo>
                    <a:pt x="21585" y="10491"/>
                    <a:pt x="21177" y="10814"/>
                    <a:pt x="20376" y="11423"/>
                  </a:cubicBezTo>
                  <a:lnTo>
                    <a:pt x="20059" y="11382"/>
                  </a:lnTo>
                  <a:cubicBezTo>
                    <a:pt x="19892" y="11382"/>
                    <a:pt x="19734" y="11446"/>
                    <a:pt x="19582" y="11575"/>
                  </a:cubicBezTo>
                  <a:cubicBezTo>
                    <a:pt x="19371" y="11824"/>
                    <a:pt x="19235" y="11968"/>
                    <a:pt x="19174" y="12005"/>
                  </a:cubicBezTo>
                  <a:lnTo>
                    <a:pt x="18381" y="12490"/>
                  </a:lnTo>
                  <a:cubicBezTo>
                    <a:pt x="18291" y="12490"/>
                    <a:pt x="18170" y="12439"/>
                    <a:pt x="18019" y="12337"/>
                  </a:cubicBezTo>
                  <a:cubicBezTo>
                    <a:pt x="17882" y="12217"/>
                    <a:pt x="17777" y="12152"/>
                    <a:pt x="17701" y="12143"/>
                  </a:cubicBezTo>
                  <a:cubicBezTo>
                    <a:pt x="17565" y="12143"/>
                    <a:pt x="17497" y="12203"/>
                    <a:pt x="17497" y="12323"/>
                  </a:cubicBezTo>
                  <a:cubicBezTo>
                    <a:pt x="17497" y="12360"/>
                    <a:pt x="17535" y="12439"/>
                    <a:pt x="17611" y="12558"/>
                  </a:cubicBezTo>
                  <a:cubicBezTo>
                    <a:pt x="17656" y="12660"/>
                    <a:pt x="17679" y="12748"/>
                    <a:pt x="17679" y="12822"/>
                  </a:cubicBezTo>
                  <a:cubicBezTo>
                    <a:pt x="17679" y="12877"/>
                    <a:pt x="17656" y="12909"/>
                    <a:pt x="17611" y="12918"/>
                  </a:cubicBezTo>
                  <a:lnTo>
                    <a:pt x="17474" y="12918"/>
                  </a:lnTo>
                  <a:cubicBezTo>
                    <a:pt x="17399" y="12918"/>
                    <a:pt x="17354" y="12918"/>
                    <a:pt x="17339" y="12918"/>
                  </a:cubicBezTo>
                  <a:cubicBezTo>
                    <a:pt x="17309" y="12909"/>
                    <a:pt x="17256" y="12882"/>
                    <a:pt x="17180" y="12835"/>
                  </a:cubicBezTo>
                  <a:lnTo>
                    <a:pt x="16931" y="12835"/>
                  </a:lnTo>
                  <a:lnTo>
                    <a:pt x="16931" y="12960"/>
                  </a:lnTo>
                  <a:cubicBezTo>
                    <a:pt x="16976" y="13006"/>
                    <a:pt x="17052" y="13149"/>
                    <a:pt x="17157" y="13389"/>
                  </a:cubicBezTo>
                  <a:lnTo>
                    <a:pt x="17180" y="13486"/>
                  </a:lnTo>
                  <a:cubicBezTo>
                    <a:pt x="17134" y="13505"/>
                    <a:pt x="17052" y="13514"/>
                    <a:pt x="16931" y="13514"/>
                  </a:cubicBezTo>
                  <a:cubicBezTo>
                    <a:pt x="16704" y="13505"/>
                    <a:pt x="16538" y="13403"/>
                    <a:pt x="16432" y="13209"/>
                  </a:cubicBezTo>
                  <a:cubicBezTo>
                    <a:pt x="16326" y="13025"/>
                    <a:pt x="16160" y="12927"/>
                    <a:pt x="15934" y="12918"/>
                  </a:cubicBezTo>
                  <a:cubicBezTo>
                    <a:pt x="15797" y="12918"/>
                    <a:pt x="15684" y="12964"/>
                    <a:pt x="15594" y="13057"/>
                  </a:cubicBezTo>
                  <a:cubicBezTo>
                    <a:pt x="15427" y="13195"/>
                    <a:pt x="15314" y="13274"/>
                    <a:pt x="15254" y="13292"/>
                  </a:cubicBezTo>
                  <a:cubicBezTo>
                    <a:pt x="15193" y="13320"/>
                    <a:pt x="15034" y="13352"/>
                    <a:pt x="14777" y="13389"/>
                  </a:cubicBezTo>
                  <a:cubicBezTo>
                    <a:pt x="14611" y="13408"/>
                    <a:pt x="14536" y="13463"/>
                    <a:pt x="14551" y="13555"/>
                  </a:cubicBezTo>
                  <a:cubicBezTo>
                    <a:pt x="14536" y="13749"/>
                    <a:pt x="14657" y="13883"/>
                    <a:pt x="14914" y="13957"/>
                  </a:cubicBezTo>
                  <a:cubicBezTo>
                    <a:pt x="15140" y="14040"/>
                    <a:pt x="15254" y="14123"/>
                    <a:pt x="15254" y="14206"/>
                  </a:cubicBezTo>
                  <a:cubicBezTo>
                    <a:pt x="15254" y="14280"/>
                    <a:pt x="15072" y="14331"/>
                    <a:pt x="14709" y="14359"/>
                  </a:cubicBezTo>
                  <a:cubicBezTo>
                    <a:pt x="14559" y="14359"/>
                    <a:pt x="14317" y="14317"/>
                    <a:pt x="13984" y="14234"/>
                  </a:cubicBezTo>
                  <a:cubicBezTo>
                    <a:pt x="13637" y="14169"/>
                    <a:pt x="13463" y="14109"/>
                    <a:pt x="13463" y="14054"/>
                  </a:cubicBezTo>
                  <a:cubicBezTo>
                    <a:pt x="13463" y="14007"/>
                    <a:pt x="13501" y="13957"/>
                    <a:pt x="13576" y="13901"/>
                  </a:cubicBezTo>
                  <a:cubicBezTo>
                    <a:pt x="13652" y="13828"/>
                    <a:pt x="13697" y="13786"/>
                    <a:pt x="13712" y="13777"/>
                  </a:cubicBezTo>
                  <a:cubicBezTo>
                    <a:pt x="13712" y="13694"/>
                    <a:pt x="13637" y="13629"/>
                    <a:pt x="13486" y="13583"/>
                  </a:cubicBezTo>
                  <a:cubicBezTo>
                    <a:pt x="13319" y="13537"/>
                    <a:pt x="13229" y="13514"/>
                    <a:pt x="13214" y="13514"/>
                  </a:cubicBezTo>
                  <a:cubicBezTo>
                    <a:pt x="12866" y="13514"/>
                    <a:pt x="12654" y="13606"/>
                    <a:pt x="12579" y="13791"/>
                  </a:cubicBezTo>
                  <a:cubicBezTo>
                    <a:pt x="12564" y="13828"/>
                    <a:pt x="12549" y="14063"/>
                    <a:pt x="12534" y="14497"/>
                  </a:cubicBezTo>
                  <a:lnTo>
                    <a:pt x="12511" y="15563"/>
                  </a:lnTo>
                  <a:cubicBezTo>
                    <a:pt x="12436" y="15729"/>
                    <a:pt x="12329" y="15859"/>
                    <a:pt x="12194" y="15951"/>
                  </a:cubicBezTo>
                  <a:cubicBezTo>
                    <a:pt x="12043" y="16062"/>
                    <a:pt x="11786" y="16172"/>
                    <a:pt x="11423" y="16283"/>
                  </a:cubicBezTo>
                  <a:cubicBezTo>
                    <a:pt x="11393" y="16265"/>
                    <a:pt x="11355" y="16237"/>
                    <a:pt x="11310" y="16200"/>
                  </a:cubicBezTo>
                  <a:cubicBezTo>
                    <a:pt x="11264" y="16154"/>
                    <a:pt x="11196" y="16131"/>
                    <a:pt x="11106" y="16131"/>
                  </a:cubicBezTo>
                  <a:cubicBezTo>
                    <a:pt x="10924" y="16131"/>
                    <a:pt x="10826" y="16242"/>
                    <a:pt x="10811" y="16463"/>
                  </a:cubicBezTo>
                  <a:cubicBezTo>
                    <a:pt x="10781" y="16740"/>
                    <a:pt x="10743" y="16902"/>
                    <a:pt x="10698" y="16948"/>
                  </a:cubicBezTo>
                  <a:cubicBezTo>
                    <a:pt x="10607" y="16929"/>
                    <a:pt x="10554" y="16892"/>
                    <a:pt x="10539" y="16837"/>
                  </a:cubicBezTo>
                  <a:cubicBezTo>
                    <a:pt x="10539" y="16781"/>
                    <a:pt x="10531" y="16744"/>
                    <a:pt x="10516" y="16726"/>
                  </a:cubicBezTo>
                  <a:cubicBezTo>
                    <a:pt x="10411" y="16698"/>
                    <a:pt x="10320" y="16749"/>
                    <a:pt x="10244" y="16878"/>
                  </a:cubicBezTo>
                  <a:cubicBezTo>
                    <a:pt x="10154" y="17017"/>
                    <a:pt x="10071" y="17086"/>
                    <a:pt x="9995" y="17086"/>
                  </a:cubicBezTo>
                  <a:cubicBezTo>
                    <a:pt x="9920" y="17086"/>
                    <a:pt x="9866" y="17054"/>
                    <a:pt x="9836" y="16989"/>
                  </a:cubicBezTo>
                  <a:cubicBezTo>
                    <a:pt x="9821" y="16934"/>
                    <a:pt x="9814" y="16902"/>
                    <a:pt x="9814" y="16892"/>
                  </a:cubicBezTo>
                  <a:cubicBezTo>
                    <a:pt x="9814" y="16855"/>
                    <a:pt x="9866" y="16800"/>
                    <a:pt x="9973" y="16726"/>
                  </a:cubicBezTo>
                  <a:cubicBezTo>
                    <a:pt x="10078" y="16661"/>
                    <a:pt x="10139" y="16606"/>
                    <a:pt x="10154" y="16560"/>
                  </a:cubicBezTo>
                  <a:cubicBezTo>
                    <a:pt x="10154" y="16486"/>
                    <a:pt x="10018" y="16449"/>
                    <a:pt x="9746" y="16449"/>
                  </a:cubicBezTo>
                  <a:cubicBezTo>
                    <a:pt x="9625" y="16440"/>
                    <a:pt x="9534" y="16500"/>
                    <a:pt x="9474" y="16629"/>
                  </a:cubicBezTo>
                  <a:cubicBezTo>
                    <a:pt x="9444" y="16675"/>
                    <a:pt x="9428" y="16772"/>
                    <a:pt x="9428" y="16920"/>
                  </a:cubicBezTo>
                  <a:cubicBezTo>
                    <a:pt x="9428" y="17021"/>
                    <a:pt x="9481" y="17091"/>
                    <a:pt x="9588" y="17128"/>
                  </a:cubicBezTo>
                  <a:cubicBezTo>
                    <a:pt x="9663" y="17174"/>
                    <a:pt x="9701" y="17229"/>
                    <a:pt x="9701" y="17294"/>
                  </a:cubicBezTo>
                  <a:cubicBezTo>
                    <a:pt x="9701" y="17312"/>
                    <a:pt x="9671" y="17345"/>
                    <a:pt x="9610" y="17391"/>
                  </a:cubicBezTo>
                  <a:cubicBezTo>
                    <a:pt x="9534" y="17446"/>
                    <a:pt x="9504" y="17520"/>
                    <a:pt x="9519" y="17612"/>
                  </a:cubicBezTo>
                  <a:cubicBezTo>
                    <a:pt x="9519" y="17760"/>
                    <a:pt x="9436" y="17866"/>
                    <a:pt x="9270" y="17931"/>
                  </a:cubicBezTo>
                  <a:cubicBezTo>
                    <a:pt x="9240" y="17912"/>
                    <a:pt x="9179" y="17801"/>
                    <a:pt x="9088" y="17598"/>
                  </a:cubicBezTo>
                  <a:cubicBezTo>
                    <a:pt x="9013" y="17432"/>
                    <a:pt x="8938" y="17349"/>
                    <a:pt x="8862" y="17349"/>
                  </a:cubicBezTo>
                  <a:cubicBezTo>
                    <a:pt x="8801" y="17340"/>
                    <a:pt x="8748" y="17382"/>
                    <a:pt x="8703" y="17474"/>
                  </a:cubicBezTo>
                  <a:cubicBezTo>
                    <a:pt x="8658" y="17575"/>
                    <a:pt x="8583" y="17626"/>
                    <a:pt x="8476" y="17626"/>
                  </a:cubicBezTo>
                  <a:cubicBezTo>
                    <a:pt x="8386" y="17626"/>
                    <a:pt x="8311" y="17594"/>
                    <a:pt x="8250" y="17529"/>
                  </a:cubicBezTo>
                  <a:cubicBezTo>
                    <a:pt x="8190" y="17465"/>
                    <a:pt x="8106" y="17432"/>
                    <a:pt x="8001" y="17432"/>
                  </a:cubicBezTo>
                  <a:cubicBezTo>
                    <a:pt x="7865" y="17423"/>
                    <a:pt x="7706" y="17515"/>
                    <a:pt x="7525" y="17709"/>
                  </a:cubicBezTo>
                  <a:cubicBezTo>
                    <a:pt x="7343" y="17912"/>
                    <a:pt x="7253" y="18060"/>
                    <a:pt x="7253" y="18152"/>
                  </a:cubicBezTo>
                  <a:cubicBezTo>
                    <a:pt x="7238" y="18263"/>
                    <a:pt x="7298" y="18332"/>
                    <a:pt x="7434" y="18360"/>
                  </a:cubicBezTo>
                  <a:cubicBezTo>
                    <a:pt x="7555" y="18388"/>
                    <a:pt x="7615" y="18429"/>
                    <a:pt x="7615" y="18485"/>
                  </a:cubicBezTo>
                  <a:cubicBezTo>
                    <a:pt x="7615" y="18595"/>
                    <a:pt x="7502" y="18715"/>
                    <a:pt x="7275" y="18845"/>
                  </a:cubicBezTo>
                  <a:cubicBezTo>
                    <a:pt x="7033" y="18974"/>
                    <a:pt x="6913" y="19071"/>
                    <a:pt x="6913" y="19135"/>
                  </a:cubicBezTo>
                  <a:cubicBezTo>
                    <a:pt x="6913" y="19200"/>
                    <a:pt x="6996" y="19242"/>
                    <a:pt x="7162" y="19260"/>
                  </a:cubicBezTo>
                  <a:cubicBezTo>
                    <a:pt x="7313" y="19260"/>
                    <a:pt x="7381" y="19320"/>
                    <a:pt x="7366" y="19440"/>
                  </a:cubicBezTo>
                  <a:cubicBezTo>
                    <a:pt x="7366" y="19606"/>
                    <a:pt x="7193" y="19777"/>
                    <a:pt x="6845" y="19952"/>
                  </a:cubicBezTo>
                  <a:cubicBezTo>
                    <a:pt x="6406" y="20183"/>
                    <a:pt x="6188" y="20303"/>
                    <a:pt x="6188" y="20312"/>
                  </a:cubicBezTo>
                  <a:lnTo>
                    <a:pt x="6188" y="20382"/>
                  </a:lnTo>
                  <a:cubicBezTo>
                    <a:pt x="6323" y="20446"/>
                    <a:pt x="6414" y="20497"/>
                    <a:pt x="6460" y="20534"/>
                  </a:cubicBezTo>
                  <a:cubicBezTo>
                    <a:pt x="6475" y="20552"/>
                    <a:pt x="6475" y="20598"/>
                    <a:pt x="6460" y="20672"/>
                  </a:cubicBezTo>
                  <a:cubicBezTo>
                    <a:pt x="6460" y="20894"/>
                    <a:pt x="6346" y="21111"/>
                    <a:pt x="6120" y="21323"/>
                  </a:cubicBezTo>
                  <a:cubicBezTo>
                    <a:pt x="6013" y="21425"/>
                    <a:pt x="5923" y="21517"/>
                    <a:pt x="5848" y="21600"/>
                  </a:cubicBezTo>
                  <a:close/>
                  <a:moveTo>
                    <a:pt x="5848"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25" name="AutoShape 2"/>
            <p:cNvSpPr>
              <a:spLocks/>
            </p:cNvSpPr>
            <p:nvPr/>
          </p:nvSpPr>
          <p:spPr bwMode="auto">
            <a:xfrm>
              <a:off x="7956707" y="4265808"/>
              <a:ext cx="88317" cy="91380"/>
            </a:xfrm>
            <a:custGeom>
              <a:avLst/>
              <a:gdLst/>
              <a:ahLst/>
              <a:cxnLst/>
              <a:rect l="0" t="0" r="r" b="b"/>
              <a:pathLst>
                <a:path w="21579" h="21600">
                  <a:moveTo>
                    <a:pt x="19575" y="0"/>
                  </a:moveTo>
                  <a:lnTo>
                    <a:pt x="19674" y="1443"/>
                  </a:lnTo>
                  <a:cubicBezTo>
                    <a:pt x="19740" y="2404"/>
                    <a:pt x="19824" y="2999"/>
                    <a:pt x="19923" y="3222"/>
                  </a:cubicBezTo>
                  <a:cubicBezTo>
                    <a:pt x="19956" y="3382"/>
                    <a:pt x="20172" y="3864"/>
                    <a:pt x="20571" y="4665"/>
                  </a:cubicBezTo>
                  <a:cubicBezTo>
                    <a:pt x="20903" y="5468"/>
                    <a:pt x="21153" y="6124"/>
                    <a:pt x="21318" y="6638"/>
                  </a:cubicBezTo>
                  <a:cubicBezTo>
                    <a:pt x="21450" y="7152"/>
                    <a:pt x="21534" y="8033"/>
                    <a:pt x="21567" y="9284"/>
                  </a:cubicBezTo>
                  <a:cubicBezTo>
                    <a:pt x="21600" y="9893"/>
                    <a:pt x="21567" y="10551"/>
                    <a:pt x="21468" y="11257"/>
                  </a:cubicBezTo>
                  <a:cubicBezTo>
                    <a:pt x="20769" y="11577"/>
                    <a:pt x="20256" y="11738"/>
                    <a:pt x="19923" y="11738"/>
                  </a:cubicBezTo>
                  <a:cubicBezTo>
                    <a:pt x="19758" y="11738"/>
                    <a:pt x="19508" y="11577"/>
                    <a:pt x="19176" y="11257"/>
                  </a:cubicBezTo>
                  <a:cubicBezTo>
                    <a:pt x="18911" y="10968"/>
                    <a:pt x="18695" y="10824"/>
                    <a:pt x="18528" y="10824"/>
                  </a:cubicBezTo>
                  <a:cubicBezTo>
                    <a:pt x="17997" y="10824"/>
                    <a:pt x="17633" y="11129"/>
                    <a:pt x="17433" y="11738"/>
                  </a:cubicBezTo>
                  <a:cubicBezTo>
                    <a:pt x="17333" y="12443"/>
                    <a:pt x="17135" y="12844"/>
                    <a:pt x="16835" y="12941"/>
                  </a:cubicBezTo>
                  <a:cubicBezTo>
                    <a:pt x="16637" y="13005"/>
                    <a:pt x="16106" y="13165"/>
                    <a:pt x="15242" y="13422"/>
                  </a:cubicBezTo>
                  <a:cubicBezTo>
                    <a:pt x="14744" y="13582"/>
                    <a:pt x="14378" y="13807"/>
                    <a:pt x="14146" y="14094"/>
                  </a:cubicBezTo>
                  <a:cubicBezTo>
                    <a:pt x="13913" y="14384"/>
                    <a:pt x="13465" y="14512"/>
                    <a:pt x="12800" y="14480"/>
                  </a:cubicBezTo>
                  <a:cubicBezTo>
                    <a:pt x="12070" y="14480"/>
                    <a:pt x="11572" y="14496"/>
                    <a:pt x="11306" y="14528"/>
                  </a:cubicBezTo>
                  <a:cubicBezTo>
                    <a:pt x="10942" y="14592"/>
                    <a:pt x="10477" y="14801"/>
                    <a:pt x="9913" y="15153"/>
                  </a:cubicBezTo>
                  <a:cubicBezTo>
                    <a:pt x="9415" y="15474"/>
                    <a:pt x="8983" y="15651"/>
                    <a:pt x="8617" y="15683"/>
                  </a:cubicBezTo>
                  <a:cubicBezTo>
                    <a:pt x="8352" y="15747"/>
                    <a:pt x="7987" y="16019"/>
                    <a:pt x="7522" y="16500"/>
                  </a:cubicBezTo>
                  <a:cubicBezTo>
                    <a:pt x="6891" y="17303"/>
                    <a:pt x="6508" y="17767"/>
                    <a:pt x="6376" y="17895"/>
                  </a:cubicBezTo>
                  <a:cubicBezTo>
                    <a:pt x="6243" y="18024"/>
                    <a:pt x="5862" y="18265"/>
                    <a:pt x="5230" y="18617"/>
                  </a:cubicBezTo>
                  <a:cubicBezTo>
                    <a:pt x="4699" y="18939"/>
                    <a:pt x="4317" y="19259"/>
                    <a:pt x="4084" y="19579"/>
                  </a:cubicBezTo>
                  <a:cubicBezTo>
                    <a:pt x="3819" y="19836"/>
                    <a:pt x="3006" y="20509"/>
                    <a:pt x="1644" y="21600"/>
                  </a:cubicBezTo>
                  <a:cubicBezTo>
                    <a:pt x="1146" y="21311"/>
                    <a:pt x="798" y="20927"/>
                    <a:pt x="597" y="20445"/>
                  </a:cubicBezTo>
                  <a:cubicBezTo>
                    <a:pt x="399" y="20061"/>
                    <a:pt x="348" y="19788"/>
                    <a:pt x="449" y="19627"/>
                  </a:cubicBezTo>
                  <a:cubicBezTo>
                    <a:pt x="516" y="19371"/>
                    <a:pt x="798" y="19130"/>
                    <a:pt x="1296" y="18906"/>
                  </a:cubicBezTo>
                  <a:cubicBezTo>
                    <a:pt x="1860" y="18649"/>
                    <a:pt x="2208" y="18425"/>
                    <a:pt x="2341" y="18233"/>
                  </a:cubicBezTo>
                  <a:cubicBezTo>
                    <a:pt x="2574" y="17976"/>
                    <a:pt x="2590" y="17686"/>
                    <a:pt x="2391" y="17367"/>
                  </a:cubicBezTo>
                  <a:cubicBezTo>
                    <a:pt x="2160" y="17014"/>
                    <a:pt x="1893" y="16325"/>
                    <a:pt x="1593" y="15297"/>
                  </a:cubicBezTo>
                  <a:cubicBezTo>
                    <a:pt x="1263" y="14239"/>
                    <a:pt x="981" y="13213"/>
                    <a:pt x="747" y="12219"/>
                  </a:cubicBezTo>
                  <a:cubicBezTo>
                    <a:pt x="582" y="11352"/>
                    <a:pt x="399" y="9781"/>
                    <a:pt x="200" y="7504"/>
                  </a:cubicBezTo>
                  <a:lnTo>
                    <a:pt x="0" y="4232"/>
                  </a:lnTo>
                  <a:lnTo>
                    <a:pt x="3537" y="3608"/>
                  </a:lnTo>
                  <a:cubicBezTo>
                    <a:pt x="6094" y="3127"/>
                    <a:pt x="7738" y="2871"/>
                    <a:pt x="8467" y="2839"/>
                  </a:cubicBezTo>
                  <a:cubicBezTo>
                    <a:pt x="9496" y="2773"/>
                    <a:pt x="13199" y="1827"/>
                    <a:pt x="19575" y="0"/>
                  </a:cubicBezTo>
                  <a:close/>
                  <a:moveTo>
                    <a:pt x="19575"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26" name="AutoShape 3"/>
            <p:cNvSpPr>
              <a:spLocks/>
            </p:cNvSpPr>
            <p:nvPr/>
          </p:nvSpPr>
          <p:spPr bwMode="auto">
            <a:xfrm>
              <a:off x="7413531" y="4849824"/>
              <a:ext cx="283330" cy="306302"/>
            </a:xfrm>
            <a:custGeom>
              <a:avLst/>
              <a:gdLst/>
              <a:ahLst/>
              <a:cxnLst/>
              <a:rect l="0" t="0" r="r" b="b"/>
              <a:pathLst>
                <a:path w="21600" h="21587">
                  <a:moveTo>
                    <a:pt x="19796" y="19535"/>
                  </a:moveTo>
                  <a:cubicBezTo>
                    <a:pt x="19589" y="19640"/>
                    <a:pt x="19423" y="19698"/>
                    <a:pt x="19298" y="19707"/>
                  </a:cubicBezTo>
                  <a:cubicBezTo>
                    <a:pt x="19091" y="19745"/>
                    <a:pt x="18801" y="19650"/>
                    <a:pt x="18428" y="19420"/>
                  </a:cubicBezTo>
                  <a:cubicBezTo>
                    <a:pt x="18272" y="19314"/>
                    <a:pt x="18174" y="19262"/>
                    <a:pt x="18132" y="19262"/>
                  </a:cubicBezTo>
                  <a:lnTo>
                    <a:pt x="17837" y="19377"/>
                  </a:lnTo>
                  <a:cubicBezTo>
                    <a:pt x="17681" y="19434"/>
                    <a:pt x="17583" y="19492"/>
                    <a:pt x="17542" y="19549"/>
                  </a:cubicBezTo>
                  <a:cubicBezTo>
                    <a:pt x="17521" y="19588"/>
                    <a:pt x="17489" y="19688"/>
                    <a:pt x="17448" y="19851"/>
                  </a:cubicBezTo>
                  <a:cubicBezTo>
                    <a:pt x="17407" y="19985"/>
                    <a:pt x="17407" y="20100"/>
                    <a:pt x="17448" y="20196"/>
                  </a:cubicBezTo>
                  <a:cubicBezTo>
                    <a:pt x="17479" y="20263"/>
                    <a:pt x="17552" y="20369"/>
                    <a:pt x="17665" y="20512"/>
                  </a:cubicBezTo>
                  <a:cubicBezTo>
                    <a:pt x="17759" y="20608"/>
                    <a:pt x="17795" y="20718"/>
                    <a:pt x="17775" y="20843"/>
                  </a:cubicBezTo>
                  <a:cubicBezTo>
                    <a:pt x="17765" y="20919"/>
                    <a:pt x="17738" y="21049"/>
                    <a:pt x="17697" y="21231"/>
                  </a:cubicBezTo>
                  <a:cubicBezTo>
                    <a:pt x="17697" y="21375"/>
                    <a:pt x="17650" y="21480"/>
                    <a:pt x="17557" y="21547"/>
                  </a:cubicBezTo>
                  <a:cubicBezTo>
                    <a:pt x="17443" y="21595"/>
                    <a:pt x="17308" y="21600"/>
                    <a:pt x="17153" y="21562"/>
                  </a:cubicBezTo>
                  <a:cubicBezTo>
                    <a:pt x="17018" y="21523"/>
                    <a:pt x="16930" y="21466"/>
                    <a:pt x="16888" y="21389"/>
                  </a:cubicBezTo>
                  <a:cubicBezTo>
                    <a:pt x="16878" y="21360"/>
                    <a:pt x="16867" y="21265"/>
                    <a:pt x="16857" y="21102"/>
                  </a:cubicBezTo>
                  <a:cubicBezTo>
                    <a:pt x="16847" y="21006"/>
                    <a:pt x="16785" y="20905"/>
                    <a:pt x="16670" y="20800"/>
                  </a:cubicBezTo>
                  <a:lnTo>
                    <a:pt x="16499" y="20685"/>
                  </a:lnTo>
                  <a:cubicBezTo>
                    <a:pt x="15297" y="20761"/>
                    <a:pt x="14555" y="20819"/>
                    <a:pt x="14276" y="20857"/>
                  </a:cubicBezTo>
                  <a:cubicBezTo>
                    <a:pt x="14027" y="20867"/>
                    <a:pt x="12518" y="20943"/>
                    <a:pt x="9750" y="21087"/>
                  </a:cubicBezTo>
                  <a:cubicBezTo>
                    <a:pt x="6961" y="21222"/>
                    <a:pt x="5494" y="21279"/>
                    <a:pt x="5349" y="21260"/>
                  </a:cubicBezTo>
                  <a:cubicBezTo>
                    <a:pt x="5225" y="21250"/>
                    <a:pt x="5152" y="21183"/>
                    <a:pt x="5132" y="21058"/>
                  </a:cubicBezTo>
                  <a:cubicBezTo>
                    <a:pt x="5101" y="20829"/>
                    <a:pt x="5075" y="20699"/>
                    <a:pt x="5054" y="20670"/>
                  </a:cubicBezTo>
                  <a:cubicBezTo>
                    <a:pt x="4991" y="20565"/>
                    <a:pt x="4925" y="20479"/>
                    <a:pt x="4852" y="20412"/>
                  </a:cubicBezTo>
                  <a:cubicBezTo>
                    <a:pt x="4779" y="20354"/>
                    <a:pt x="4727" y="20287"/>
                    <a:pt x="4696" y="20210"/>
                  </a:cubicBezTo>
                  <a:lnTo>
                    <a:pt x="4619" y="19966"/>
                  </a:lnTo>
                  <a:cubicBezTo>
                    <a:pt x="4557" y="19707"/>
                    <a:pt x="4510" y="19516"/>
                    <a:pt x="4479" y="19391"/>
                  </a:cubicBezTo>
                  <a:cubicBezTo>
                    <a:pt x="4406" y="19276"/>
                    <a:pt x="4307" y="19151"/>
                    <a:pt x="4183" y="19017"/>
                  </a:cubicBezTo>
                  <a:lnTo>
                    <a:pt x="4043" y="18845"/>
                  </a:lnTo>
                  <a:cubicBezTo>
                    <a:pt x="4126" y="18193"/>
                    <a:pt x="4168" y="17719"/>
                    <a:pt x="4168" y="17422"/>
                  </a:cubicBezTo>
                  <a:cubicBezTo>
                    <a:pt x="4168" y="17220"/>
                    <a:pt x="4157" y="17091"/>
                    <a:pt x="4136" y="17033"/>
                  </a:cubicBezTo>
                  <a:cubicBezTo>
                    <a:pt x="4126" y="16995"/>
                    <a:pt x="4085" y="16947"/>
                    <a:pt x="4012" y="16890"/>
                  </a:cubicBezTo>
                  <a:cubicBezTo>
                    <a:pt x="3794" y="16756"/>
                    <a:pt x="3654" y="16526"/>
                    <a:pt x="3592" y="16200"/>
                  </a:cubicBezTo>
                  <a:cubicBezTo>
                    <a:pt x="3551" y="16047"/>
                    <a:pt x="3561" y="15874"/>
                    <a:pt x="3623" y="15683"/>
                  </a:cubicBezTo>
                  <a:cubicBezTo>
                    <a:pt x="3685" y="15395"/>
                    <a:pt x="3716" y="15218"/>
                    <a:pt x="3716" y="15150"/>
                  </a:cubicBezTo>
                  <a:cubicBezTo>
                    <a:pt x="3747" y="14786"/>
                    <a:pt x="3888" y="14499"/>
                    <a:pt x="4136" y="14288"/>
                  </a:cubicBezTo>
                  <a:cubicBezTo>
                    <a:pt x="4292" y="14192"/>
                    <a:pt x="4375" y="14097"/>
                    <a:pt x="4385" y="14000"/>
                  </a:cubicBezTo>
                  <a:cubicBezTo>
                    <a:pt x="4416" y="13943"/>
                    <a:pt x="4391" y="13890"/>
                    <a:pt x="4307" y="13842"/>
                  </a:cubicBezTo>
                  <a:cubicBezTo>
                    <a:pt x="4121" y="13737"/>
                    <a:pt x="4054" y="13545"/>
                    <a:pt x="4105" y="13267"/>
                  </a:cubicBezTo>
                  <a:cubicBezTo>
                    <a:pt x="4126" y="13095"/>
                    <a:pt x="4017" y="12894"/>
                    <a:pt x="3779" y="12664"/>
                  </a:cubicBezTo>
                  <a:lnTo>
                    <a:pt x="3436" y="12362"/>
                  </a:lnTo>
                  <a:cubicBezTo>
                    <a:pt x="3281" y="12189"/>
                    <a:pt x="2955" y="11222"/>
                    <a:pt x="2457" y="9458"/>
                  </a:cubicBezTo>
                  <a:lnTo>
                    <a:pt x="0" y="1006"/>
                  </a:lnTo>
                  <a:lnTo>
                    <a:pt x="5287" y="489"/>
                  </a:lnTo>
                  <a:lnTo>
                    <a:pt x="10170" y="0"/>
                  </a:lnTo>
                  <a:lnTo>
                    <a:pt x="10170" y="187"/>
                  </a:lnTo>
                  <a:cubicBezTo>
                    <a:pt x="10160" y="312"/>
                    <a:pt x="10092" y="412"/>
                    <a:pt x="9968" y="489"/>
                  </a:cubicBezTo>
                  <a:cubicBezTo>
                    <a:pt x="9802" y="594"/>
                    <a:pt x="9683" y="733"/>
                    <a:pt x="9611" y="906"/>
                  </a:cubicBezTo>
                  <a:cubicBezTo>
                    <a:pt x="9538" y="1078"/>
                    <a:pt x="9517" y="1222"/>
                    <a:pt x="9548" y="1337"/>
                  </a:cubicBezTo>
                  <a:cubicBezTo>
                    <a:pt x="9590" y="1452"/>
                    <a:pt x="9668" y="1533"/>
                    <a:pt x="9781" y="1581"/>
                  </a:cubicBezTo>
                  <a:cubicBezTo>
                    <a:pt x="9844" y="1620"/>
                    <a:pt x="9953" y="1673"/>
                    <a:pt x="10108" y="1739"/>
                  </a:cubicBezTo>
                  <a:cubicBezTo>
                    <a:pt x="10388" y="1873"/>
                    <a:pt x="10590" y="2037"/>
                    <a:pt x="10714" y="2228"/>
                  </a:cubicBezTo>
                  <a:cubicBezTo>
                    <a:pt x="10787" y="2343"/>
                    <a:pt x="10886" y="2391"/>
                    <a:pt x="11010" y="2372"/>
                  </a:cubicBezTo>
                  <a:cubicBezTo>
                    <a:pt x="11031" y="2372"/>
                    <a:pt x="11140" y="2343"/>
                    <a:pt x="11336" y="2286"/>
                  </a:cubicBezTo>
                  <a:cubicBezTo>
                    <a:pt x="11471" y="2266"/>
                    <a:pt x="11658" y="2515"/>
                    <a:pt x="11896" y="3033"/>
                  </a:cubicBezTo>
                  <a:cubicBezTo>
                    <a:pt x="11969" y="3167"/>
                    <a:pt x="12145" y="3393"/>
                    <a:pt x="12425" y="3709"/>
                  </a:cubicBezTo>
                  <a:cubicBezTo>
                    <a:pt x="12746" y="4054"/>
                    <a:pt x="13006" y="4303"/>
                    <a:pt x="13202" y="4456"/>
                  </a:cubicBezTo>
                  <a:cubicBezTo>
                    <a:pt x="13348" y="4571"/>
                    <a:pt x="13602" y="4753"/>
                    <a:pt x="13965" y="5002"/>
                  </a:cubicBezTo>
                  <a:cubicBezTo>
                    <a:pt x="14317" y="5223"/>
                    <a:pt x="14524" y="5366"/>
                    <a:pt x="14587" y="5434"/>
                  </a:cubicBezTo>
                  <a:cubicBezTo>
                    <a:pt x="14649" y="5482"/>
                    <a:pt x="14825" y="5654"/>
                    <a:pt x="15115" y="5951"/>
                  </a:cubicBezTo>
                  <a:cubicBezTo>
                    <a:pt x="15406" y="6229"/>
                    <a:pt x="15623" y="6402"/>
                    <a:pt x="15768" y="6468"/>
                  </a:cubicBezTo>
                  <a:cubicBezTo>
                    <a:pt x="16007" y="6603"/>
                    <a:pt x="16318" y="6967"/>
                    <a:pt x="16701" y="7561"/>
                  </a:cubicBezTo>
                  <a:cubicBezTo>
                    <a:pt x="16795" y="7705"/>
                    <a:pt x="16966" y="7858"/>
                    <a:pt x="17215" y="8021"/>
                  </a:cubicBezTo>
                  <a:cubicBezTo>
                    <a:pt x="17453" y="8193"/>
                    <a:pt x="17645" y="8294"/>
                    <a:pt x="17790" y="8323"/>
                  </a:cubicBezTo>
                  <a:cubicBezTo>
                    <a:pt x="17925" y="8342"/>
                    <a:pt x="18076" y="8447"/>
                    <a:pt x="18241" y="8639"/>
                  </a:cubicBezTo>
                  <a:cubicBezTo>
                    <a:pt x="18407" y="8840"/>
                    <a:pt x="18537" y="9056"/>
                    <a:pt x="18630" y="9286"/>
                  </a:cubicBezTo>
                  <a:cubicBezTo>
                    <a:pt x="18744" y="9506"/>
                    <a:pt x="18801" y="9722"/>
                    <a:pt x="18801" y="9933"/>
                  </a:cubicBezTo>
                  <a:cubicBezTo>
                    <a:pt x="18811" y="10009"/>
                    <a:pt x="18811" y="10148"/>
                    <a:pt x="18801" y="10349"/>
                  </a:cubicBezTo>
                  <a:cubicBezTo>
                    <a:pt x="18801" y="10455"/>
                    <a:pt x="18837" y="10532"/>
                    <a:pt x="18910" y="10580"/>
                  </a:cubicBezTo>
                  <a:cubicBezTo>
                    <a:pt x="18951" y="10618"/>
                    <a:pt x="19060" y="10642"/>
                    <a:pt x="19236" y="10652"/>
                  </a:cubicBezTo>
                  <a:cubicBezTo>
                    <a:pt x="19392" y="10652"/>
                    <a:pt x="19521" y="10690"/>
                    <a:pt x="19625" y="10766"/>
                  </a:cubicBezTo>
                  <a:cubicBezTo>
                    <a:pt x="19729" y="10824"/>
                    <a:pt x="19817" y="10934"/>
                    <a:pt x="19889" y="11097"/>
                  </a:cubicBezTo>
                  <a:cubicBezTo>
                    <a:pt x="20128" y="11576"/>
                    <a:pt x="20268" y="11916"/>
                    <a:pt x="20309" y="12118"/>
                  </a:cubicBezTo>
                  <a:cubicBezTo>
                    <a:pt x="20341" y="12347"/>
                    <a:pt x="20372" y="12496"/>
                    <a:pt x="20403" y="12563"/>
                  </a:cubicBezTo>
                  <a:cubicBezTo>
                    <a:pt x="20444" y="12697"/>
                    <a:pt x="20517" y="12764"/>
                    <a:pt x="20620" y="12764"/>
                  </a:cubicBezTo>
                  <a:cubicBezTo>
                    <a:pt x="20776" y="12764"/>
                    <a:pt x="21056" y="12783"/>
                    <a:pt x="21460" y="12822"/>
                  </a:cubicBezTo>
                  <a:cubicBezTo>
                    <a:pt x="21377" y="12889"/>
                    <a:pt x="21284" y="12966"/>
                    <a:pt x="21180" y="13052"/>
                  </a:cubicBezTo>
                  <a:cubicBezTo>
                    <a:pt x="21180" y="13100"/>
                    <a:pt x="21191" y="13128"/>
                    <a:pt x="21211" y="13138"/>
                  </a:cubicBezTo>
                  <a:cubicBezTo>
                    <a:pt x="21222" y="13138"/>
                    <a:pt x="21248" y="13138"/>
                    <a:pt x="21289" y="13138"/>
                  </a:cubicBezTo>
                  <a:lnTo>
                    <a:pt x="21507" y="13109"/>
                  </a:lnTo>
                  <a:cubicBezTo>
                    <a:pt x="21569" y="13109"/>
                    <a:pt x="21600" y="13143"/>
                    <a:pt x="21600" y="13210"/>
                  </a:cubicBezTo>
                  <a:cubicBezTo>
                    <a:pt x="21590" y="13306"/>
                    <a:pt x="21538" y="13421"/>
                    <a:pt x="21444" y="13555"/>
                  </a:cubicBezTo>
                  <a:cubicBezTo>
                    <a:pt x="21372" y="13660"/>
                    <a:pt x="21279" y="13766"/>
                    <a:pt x="21164" y="13871"/>
                  </a:cubicBezTo>
                  <a:lnTo>
                    <a:pt x="20589" y="13886"/>
                  </a:lnTo>
                  <a:lnTo>
                    <a:pt x="20574" y="13957"/>
                  </a:lnTo>
                  <a:cubicBezTo>
                    <a:pt x="20595" y="13957"/>
                    <a:pt x="20672" y="13991"/>
                    <a:pt x="20807" y="14058"/>
                  </a:cubicBezTo>
                  <a:cubicBezTo>
                    <a:pt x="20963" y="14125"/>
                    <a:pt x="21041" y="14173"/>
                    <a:pt x="21041" y="14202"/>
                  </a:cubicBezTo>
                  <a:cubicBezTo>
                    <a:pt x="21041" y="14269"/>
                    <a:pt x="20947" y="14355"/>
                    <a:pt x="20760" y="14461"/>
                  </a:cubicBezTo>
                  <a:cubicBezTo>
                    <a:pt x="20532" y="14576"/>
                    <a:pt x="20382" y="14676"/>
                    <a:pt x="20309" y="14762"/>
                  </a:cubicBezTo>
                  <a:lnTo>
                    <a:pt x="20309" y="14877"/>
                  </a:lnTo>
                  <a:cubicBezTo>
                    <a:pt x="20403" y="14906"/>
                    <a:pt x="20527" y="14921"/>
                    <a:pt x="20683" y="14921"/>
                  </a:cubicBezTo>
                  <a:cubicBezTo>
                    <a:pt x="20797" y="14921"/>
                    <a:pt x="20859" y="14964"/>
                    <a:pt x="20869" y="15050"/>
                  </a:cubicBezTo>
                  <a:cubicBezTo>
                    <a:pt x="20859" y="15184"/>
                    <a:pt x="20730" y="15294"/>
                    <a:pt x="20480" y="15381"/>
                  </a:cubicBezTo>
                  <a:cubicBezTo>
                    <a:pt x="20211" y="15447"/>
                    <a:pt x="20076" y="15524"/>
                    <a:pt x="20076" y="15611"/>
                  </a:cubicBezTo>
                  <a:cubicBezTo>
                    <a:pt x="20066" y="15668"/>
                    <a:pt x="20169" y="15697"/>
                    <a:pt x="20387" y="15697"/>
                  </a:cubicBezTo>
                  <a:cubicBezTo>
                    <a:pt x="20595" y="15697"/>
                    <a:pt x="20693" y="15745"/>
                    <a:pt x="20683" y="15840"/>
                  </a:cubicBezTo>
                  <a:cubicBezTo>
                    <a:pt x="20683" y="16071"/>
                    <a:pt x="20542" y="16276"/>
                    <a:pt x="20263" y="16459"/>
                  </a:cubicBezTo>
                  <a:cubicBezTo>
                    <a:pt x="19942" y="16612"/>
                    <a:pt x="19750" y="16713"/>
                    <a:pt x="19687" y="16761"/>
                  </a:cubicBezTo>
                  <a:lnTo>
                    <a:pt x="19687" y="16847"/>
                  </a:lnTo>
                  <a:lnTo>
                    <a:pt x="20045" y="16847"/>
                  </a:lnTo>
                  <a:lnTo>
                    <a:pt x="20325" y="16789"/>
                  </a:lnTo>
                  <a:lnTo>
                    <a:pt x="20434" y="16789"/>
                  </a:lnTo>
                  <a:cubicBezTo>
                    <a:pt x="20454" y="16875"/>
                    <a:pt x="20465" y="16933"/>
                    <a:pt x="20465" y="16962"/>
                  </a:cubicBezTo>
                  <a:cubicBezTo>
                    <a:pt x="20465" y="17000"/>
                    <a:pt x="20320" y="17230"/>
                    <a:pt x="20030" y="17652"/>
                  </a:cubicBezTo>
                  <a:cubicBezTo>
                    <a:pt x="19977" y="17652"/>
                    <a:pt x="19926" y="17628"/>
                    <a:pt x="19874" y="17580"/>
                  </a:cubicBezTo>
                  <a:cubicBezTo>
                    <a:pt x="19822" y="17513"/>
                    <a:pt x="19770" y="17479"/>
                    <a:pt x="19719" y="17479"/>
                  </a:cubicBezTo>
                  <a:cubicBezTo>
                    <a:pt x="19687" y="17479"/>
                    <a:pt x="19662" y="17489"/>
                    <a:pt x="19641" y="17508"/>
                  </a:cubicBezTo>
                  <a:cubicBezTo>
                    <a:pt x="19620" y="17537"/>
                    <a:pt x="19609" y="17566"/>
                    <a:pt x="19609" y="17594"/>
                  </a:cubicBezTo>
                  <a:cubicBezTo>
                    <a:pt x="19609" y="17633"/>
                    <a:pt x="19651" y="17680"/>
                    <a:pt x="19734" y="17738"/>
                  </a:cubicBezTo>
                  <a:cubicBezTo>
                    <a:pt x="19817" y="17805"/>
                    <a:pt x="19858" y="17886"/>
                    <a:pt x="19858" y="17982"/>
                  </a:cubicBezTo>
                  <a:cubicBezTo>
                    <a:pt x="19858" y="18021"/>
                    <a:pt x="19832" y="18122"/>
                    <a:pt x="19781" y="18284"/>
                  </a:cubicBezTo>
                  <a:cubicBezTo>
                    <a:pt x="19719" y="18438"/>
                    <a:pt x="19682" y="18591"/>
                    <a:pt x="19672" y="18744"/>
                  </a:cubicBezTo>
                  <a:cubicBezTo>
                    <a:pt x="19672" y="18802"/>
                    <a:pt x="19677" y="18926"/>
                    <a:pt x="19687" y="19118"/>
                  </a:cubicBezTo>
                  <a:lnTo>
                    <a:pt x="19827" y="19118"/>
                  </a:lnTo>
                  <a:lnTo>
                    <a:pt x="19874" y="19132"/>
                  </a:lnTo>
                  <a:lnTo>
                    <a:pt x="19858" y="19247"/>
                  </a:lnTo>
                  <a:lnTo>
                    <a:pt x="19796" y="19377"/>
                  </a:lnTo>
                  <a:cubicBezTo>
                    <a:pt x="19796" y="19377"/>
                    <a:pt x="19796" y="19535"/>
                    <a:pt x="19796" y="19535"/>
                  </a:cubicBezTo>
                  <a:close/>
                  <a:moveTo>
                    <a:pt x="19796" y="1953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27" name="AutoShape 4"/>
            <p:cNvSpPr>
              <a:spLocks/>
            </p:cNvSpPr>
            <p:nvPr/>
          </p:nvSpPr>
          <p:spPr bwMode="auto">
            <a:xfrm>
              <a:off x="5694154" y="4911085"/>
              <a:ext cx="1722440" cy="1348751"/>
            </a:xfrm>
            <a:custGeom>
              <a:avLst/>
              <a:gdLst/>
              <a:ahLst/>
              <a:cxnLst/>
              <a:rect l="0" t="0" r="r" b="b"/>
              <a:pathLst>
                <a:path w="21599" h="21600">
                  <a:moveTo>
                    <a:pt x="19881" y="17927"/>
                  </a:moveTo>
                  <a:lnTo>
                    <a:pt x="18486" y="18012"/>
                  </a:lnTo>
                  <a:lnTo>
                    <a:pt x="18499" y="18515"/>
                  </a:lnTo>
                  <a:lnTo>
                    <a:pt x="18000" y="18535"/>
                  </a:lnTo>
                  <a:lnTo>
                    <a:pt x="18642" y="19215"/>
                  </a:lnTo>
                  <a:lnTo>
                    <a:pt x="18663" y="19316"/>
                  </a:lnTo>
                  <a:lnTo>
                    <a:pt x="18870" y="19551"/>
                  </a:lnTo>
                  <a:lnTo>
                    <a:pt x="18870" y="19871"/>
                  </a:lnTo>
                  <a:lnTo>
                    <a:pt x="18066" y="19904"/>
                  </a:lnTo>
                  <a:lnTo>
                    <a:pt x="17662" y="20822"/>
                  </a:lnTo>
                  <a:cubicBezTo>
                    <a:pt x="17638" y="20872"/>
                    <a:pt x="17613" y="20917"/>
                    <a:pt x="17588" y="20956"/>
                  </a:cubicBezTo>
                  <a:cubicBezTo>
                    <a:pt x="17567" y="20985"/>
                    <a:pt x="17557" y="21001"/>
                    <a:pt x="17557" y="21005"/>
                  </a:cubicBezTo>
                  <a:cubicBezTo>
                    <a:pt x="17557" y="21023"/>
                    <a:pt x="17569" y="21041"/>
                    <a:pt x="17593" y="21061"/>
                  </a:cubicBezTo>
                  <a:cubicBezTo>
                    <a:pt x="17615" y="21083"/>
                    <a:pt x="17626" y="21107"/>
                    <a:pt x="17626" y="21133"/>
                  </a:cubicBezTo>
                  <a:cubicBezTo>
                    <a:pt x="17626" y="21168"/>
                    <a:pt x="17611" y="21197"/>
                    <a:pt x="17580" y="21221"/>
                  </a:cubicBezTo>
                  <a:cubicBezTo>
                    <a:pt x="17547" y="21247"/>
                    <a:pt x="17531" y="21273"/>
                    <a:pt x="17531" y="21299"/>
                  </a:cubicBezTo>
                  <a:lnTo>
                    <a:pt x="17526" y="21404"/>
                  </a:lnTo>
                  <a:cubicBezTo>
                    <a:pt x="17526" y="21415"/>
                    <a:pt x="17529" y="21480"/>
                    <a:pt x="17534" y="21600"/>
                  </a:cubicBezTo>
                  <a:cubicBezTo>
                    <a:pt x="17317" y="21363"/>
                    <a:pt x="17171" y="21206"/>
                    <a:pt x="17096" y="21129"/>
                  </a:cubicBezTo>
                  <a:cubicBezTo>
                    <a:pt x="17089" y="21123"/>
                    <a:pt x="16934" y="20948"/>
                    <a:pt x="16630" y="20603"/>
                  </a:cubicBezTo>
                  <a:cubicBezTo>
                    <a:pt x="16473" y="20425"/>
                    <a:pt x="16359" y="20334"/>
                    <a:pt x="16287" y="20332"/>
                  </a:cubicBezTo>
                  <a:cubicBezTo>
                    <a:pt x="16183" y="20280"/>
                    <a:pt x="15994" y="20172"/>
                    <a:pt x="15721" y="20009"/>
                  </a:cubicBezTo>
                  <a:cubicBezTo>
                    <a:pt x="15583" y="19928"/>
                    <a:pt x="15471" y="19888"/>
                    <a:pt x="15386" y="19888"/>
                  </a:cubicBezTo>
                  <a:cubicBezTo>
                    <a:pt x="15273" y="19888"/>
                    <a:pt x="15088" y="19992"/>
                    <a:pt x="14830" y="20201"/>
                  </a:cubicBezTo>
                  <a:cubicBezTo>
                    <a:pt x="14571" y="20411"/>
                    <a:pt x="14330" y="20515"/>
                    <a:pt x="14106" y="20515"/>
                  </a:cubicBezTo>
                  <a:cubicBezTo>
                    <a:pt x="14021" y="20515"/>
                    <a:pt x="13936" y="20491"/>
                    <a:pt x="13853" y="20443"/>
                  </a:cubicBezTo>
                  <a:cubicBezTo>
                    <a:pt x="13684" y="20347"/>
                    <a:pt x="13562" y="20283"/>
                    <a:pt x="13489" y="20250"/>
                  </a:cubicBezTo>
                  <a:cubicBezTo>
                    <a:pt x="13460" y="20237"/>
                    <a:pt x="13316" y="20192"/>
                    <a:pt x="13056" y="20113"/>
                  </a:cubicBezTo>
                  <a:cubicBezTo>
                    <a:pt x="13015" y="20100"/>
                    <a:pt x="12965" y="20078"/>
                    <a:pt x="12905" y="20048"/>
                  </a:cubicBezTo>
                  <a:cubicBezTo>
                    <a:pt x="12847" y="20017"/>
                    <a:pt x="12805" y="19998"/>
                    <a:pt x="12777" y="19989"/>
                  </a:cubicBezTo>
                  <a:cubicBezTo>
                    <a:pt x="12673" y="19956"/>
                    <a:pt x="12582" y="19897"/>
                    <a:pt x="12503" y="19813"/>
                  </a:cubicBezTo>
                  <a:cubicBezTo>
                    <a:pt x="12500" y="19808"/>
                    <a:pt x="12458" y="19752"/>
                    <a:pt x="12378" y="19643"/>
                  </a:cubicBezTo>
                  <a:cubicBezTo>
                    <a:pt x="12329" y="19573"/>
                    <a:pt x="12288" y="19536"/>
                    <a:pt x="12258" y="19531"/>
                  </a:cubicBezTo>
                  <a:cubicBezTo>
                    <a:pt x="12242" y="19529"/>
                    <a:pt x="12196" y="19528"/>
                    <a:pt x="12119" y="19528"/>
                  </a:cubicBezTo>
                  <a:cubicBezTo>
                    <a:pt x="12068" y="19528"/>
                    <a:pt x="12029" y="19516"/>
                    <a:pt x="12002" y="19492"/>
                  </a:cubicBezTo>
                  <a:cubicBezTo>
                    <a:pt x="11959" y="19455"/>
                    <a:pt x="11924" y="19428"/>
                    <a:pt x="11897" y="19411"/>
                  </a:cubicBezTo>
                  <a:cubicBezTo>
                    <a:pt x="11851" y="19378"/>
                    <a:pt x="11806" y="19363"/>
                    <a:pt x="11764" y="19365"/>
                  </a:cubicBezTo>
                  <a:cubicBezTo>
                    <a:pt x="11513" y="19236"/>
                    <a:pt x="11278" y="19103"/>
                    <a:pt x="11060" y="18966"/>
                  </a:cubicBezTo>
                  <a:cubicBezTo>
                    <a:pt x="10838" y="18820"/>
                    <a:pt x="10676" y="18715"/>
                    <a:pt x="10573" y="18649"/>
                  </a:cubicBezTo>
                  <a:cubicBezTo>
                    <a:pt x="10478" y="18588"/>
                    <a:pt x="10391" y="18527"/>
                    <a:pt x="10312" y="18466"/>
                  </a:cubicBezTo>
                  <a:cubicBezTo>
                    <a:pt x="10215" y="18390"/>
                    <a:pt x="10127" y="18321"/>
                    <a:pt x="10048" y="18260"/>
                  </a:cubicBezTo>
                  <a:cubicBezTo>
                    <a:pt x="10021" y="18241"/>
                    <a:pt x="9950" y="18155"/>
                    <a:pt x="9836" y="18002"/>
                  </a:cubicBezTo>
                  <a:cubicBezTo>
                    <a:pt x="9744" y="17878"/>
                    <a:pt x="9672" y="17818"/>
                    <a:pt x="9621" y="17822"/>
                  </a:cubicBezTo>
                  <a:cubicBezTo>
                    <a:pt x="9461" y="17831"/>
                    <a:pt x="9286" y="17775"/>
                    <a:pt x="9096" y="17653"/>
                  </a:cubicBezTo>
                  <a:cubicBezTo>
                    <a:pt x="8881" y="17509"/>
                    <a:pt x="8705" y="17406"/>
                    <a:pt x="8566" y="17345"/>
                  </a:cubicBezTo>
                  <a:cubicBezTo>
                    <a:pt x="8515" y="17321"/>
                    <a:pt x="8482" y="17291"/>
                    <a:pt x="8466" y="17254"/>
                  </a:cubicBezTo>
                  <a:cubicBezTo>
                    <a:pt x="8439" y="17191"/>
                    <a:pt x="8422" y="17155"/>
                    <a:pt x="8415" y="17146"/>
                  </a:cubicBezTo>
                  <a:cubicBezTo>
                    <a:pt x="8398" y="17124"/>
                    <a:pt x="8379" y="17081"/>
                    <a:pt x="8356" y="17015"/>
                  </a:cubicBezTo>
                  <a:cubicBezTo>
                    <a:pt x="8336" y="16959"/>
                    <a:pt x="8313" y="16921"/>
                    <a:pt x="8287" y="16901"/>
                  </a:cubicBezTo>
                  <a:cubicBezTo>
                    <a:pt x="8268" y="16886"/>
                    <a:pt x="8204" y="16806"/>
                    <a:pt x="8093" y="16662"/>
                  </a:cubicBezTo>
                  <a:cubicBezTo>
                    <a:pt x="7983" y="16521"/>
                    <a:pt x="7919" y="16439"/>
                    <a:pt x="7898" y="16417"/>
                  </a:cubicBezTo>
                  <a:cubicBezTo>
                    <a:pt x="7787" y="16389"/>
                    <a:pt x="7680" y="16315"/>
                    <a:pt x="7576" y="16195"/>
                  </a:cubicBezTo>
                  <a:cubicBezTo>
                    <a:pt x="7449" y="16030"/>
                    <a:pt x="7338" y="15899"/>
                    <a:pt x="7243" y="15803"/>
                  </a:cubicBezTo>
                  <a:cubicBezTo>
                    <a:pt x="7106" y="15666"/>
                    <a:pt x="7026" y="15537"/>
                    <a:pt x="7002" y="15417"/>
                  </a:cubicBezTo>
                  <a:cubicBezTo>
                    <a:pt x="6930" y="15141"/>
                    <a:pt x="6895" y="14990"/>
                    <a:pt x="6895" y="14966"/>
                  </a:cubicBezTo>
                  <a:cubicBezTo>
                    <a:pt x="6895" y="14888"/>
                    <a:pt x="6939" y="14832"/>
                    <a:pt x="7028" y="14800"/>
                  </a:cubicBezTo>
                  <a:cubicBezTo>
                    <a:pt x="7115" y="14765"/>
                    <a:pt x="7158" y="14739"/>
                    <a:pt x="7158" y="14721"/>
                  </a:cubicBezTo>
                  <a:cubicBezTo>
                    <a:pt x="7158" y="14710"/>
                    <a:pt x="7145" y="14676"/>
                    <a:pt x="7117" y="14617"/>
                  </a:cubicBezTo>
                  <a:cubicBezTo>
                    <a:pt x="7090" y="14556"/>
                    <a:pt x="7076" y="14510"/>
                    <a:pt x="7076" y="14479"/>
                  </a:cubicBezTo>
                  <a:cubicBezTo>
                    <a:pt x="7076" y="14451"/>
                    <a:pt x="7113" y="14396"/>
                    <a:pt x="7186" y="14313"/>
                  </a:cubicBezTo>
                  <a:cubicBezTo>
                    <a:pt x="7260" y="14230"/>
                    <a:pt x="7297" y="14143"/>
                    <a:pt x="7297" y="14051"/>
                  </a:cubicBezTo>
                  <a:cubicBezTo>
                    <a:pt x="7297" y="14019"/>
                    <a:pt x="7267" y="13911"/>
                    <a:pt x="7207" y="13728"/>
                  </a:cubicBezTo>
                  <a:cubicBezTo>
                    <a:pt x="7142" y="13523"/>
                    <a:pt x="7106" y="13406"/>
                    <a:pt x="7099" y="13375"/>
                  </a:cubicBezTo>
                  <a:cubicBezTo>
                    <a:pt x="7062" y="13205"/>
                    <a:pt x="7036" y="13080"/>
                    <a:pt x="7023" y="12999"/>
                  </a:cubicBezTo>
                  <a:cubicBezTo>
                    <a:pt x="7002" y="12884"/>
                    <a:pt x="6993" y="12781"/>
                    <a:pt x="6994" y="12692"/>
                  </a:cubicBezTo>
                  <a:cubicBezTo>
                    <a:pt x="6979" y="12609"/>
                    <a:pt x="6965" y="12555"/>
                    <a:pt x="6951" y="12529"/>
                  </a:cubicBezTo>
                  <a:cubicBezTo>
                    <a:pt x="6936" y="12496"/>
                    <a:pt x="6897" y="12448"/>
                    <a:pt x="6836" y="12385"/>
                  </a:cubicBezTo>
                  <a:cubicBezTo>
                    <a:pt x="6762" y="12309"/>
                    <a:pt x="6699" y="12231"/>
                    <a:pt x="6646" y="12153"/>
                  </a:cubicBezTo>
                  <a:cubicBezTo>
                    <a:pt x="6629" y="12127"/>
                    <a:pt x="6603" y="12083"/>
                    <a:pt x="6567" y="12022"/>
                  </a:cubicBezTo>
                  <a:cubicBezTo>
                    <a:pt x="6536" y="11968"/>
                    <a:pt x="6512" y="11930"/>
                    <a:pt x="6495" y="11908"/>
                  </a:cubicBezTo>
                  <a:cubicBezTo>
                    <a:pt x="6463" y="11866"/>
                    <a:pt x="6434" y="11804"/>
                    <a:pt x="6408" y="11721"/>
                  </a:cubicBezTo>
                  <a:cubicBezTo>
                    <a:pt x="6403" y="11700"/>
                    <a:pt x="6383" y="11622"/>
                    <a:pt x="6349" y="11490"/>
                  </a:cubicBezTo>
                  <a:cubicBezTo>
                    <a:pt x="6336" y="11433"/>
                    <a:pt x="6307" y="11402"/>
                    <a:pt x="6262" y="11398"/>
                  </a:cubicBezTo>
                  <a:cubicBezTo>
                    <a:pt x="6240" y="11394"/>
                    <a:pt x="6213" y="11371"/>
                    <a:pt x="6180" y="11329"/>
                  </a:cubicBezTo>
                  <a:lnTo>
                    <a:pt x="6180" y="11124"/>
                  </a:lnTo>
                  <a:lnTo>
                    <a:pt x="5443" y="10140"/>
                  </a:lnTo>
                  <a:lnTo>
                    <a:pt x="5441" y="10120"/>
                  </a:lnTo>
                  <a:cubicBezTo>
                    <a:pt x="5441" y="10101"/>
                    <a:pt x="5445" y="10056"/>
                    <a:pt x="5453" y="9986"/>
                  </a:cubicBezTo>
                  <a:cubicBezTo>
                    <a:pt x="5460" y="9919"/>
                    <a:pt x="5464" y="9870"/>
                    <a:pt x="5464" y="9839"/>
                  </a:cubicBezTo>
                  <a:cubicBezTo>
                    <a:pt x="5464" y="9780"/>
                    <a:pt x="5463" y="9746"/>
                    <a:pt x="5461" y="9735"/>
                  </a:cubicBezTo>
                  <a:cubicBezTo>
                    <a:pt x="5459" y="9706"/>
                    <a:pt x="5452" y="9685"/>
                    <a:pt x="5438" y="9669"/>
                  </a:cubicBezTo>
                  <a:cubicBezTo>
                    <a:pt x="5416" y="9630"/>
                    <a:pt x="5400" y="9604"/>
                    <a:pt x="5389" y="9591"/>
                  </a:cubicBezTo>
                  <a:cubicBezTo>
                    <a:pt x="5369" y="9567"/>
                    <a:pt x="5335" y="9543"/>
                    <a:pt x="5287" y="9519"/>
                  </a:cubicBezTo>
                  <a:cubicBezTo>
                    <a:pt x="5220" y="9489"/>
                    <a:pt x="5179" y="9462"/>
                    <a:pt x="5164" y="9441"/>
                  </a:cubicBezTo>
                  <a:cubicBezTo>
                    <a:pt x="5154" y="9430"/>
                    <a:pt x="5147" y="9409"/>
                    <a:pt x="5144" y="9379"/>
                  </a:cubicBezTo>
                  <a:cubicBezTo>
                    <a:pt x="5142" y="9352"/>
                    <a:pt x="5139" y="9338"/>
                    <a:pt x="5133" y="9336"/>
                  </a:cubicBezTo>
                  <a:cubicBezTo>
                    <a:pt x="5125" y="9336"/>
                    <a:pt x="5116" y="9344"/>
                    <a:pt x="5108" y="9359"/>
                  </a:cubicBezTo>
                  <a:cubicBezTo>
                    <a:pt x="5098" y="9374"/>
                    <a:pt x="5091" y="9382"/>
                    <a:pt x="5087" y="9382"/>
                  </a:cubicBezTo>
                  <a:cubicBezTo>
                    <a:pt x="5046" y="9347"/>
                    <a:pt x="5022" y="9326"/>
                    <a:pt x="5016" y="9320"/>
                  </a:cubicBezTo>
                  <a:lnTo>
                    <a:pt x="5011" y="9316"/>
                  </a:lnTo>
                  <a:cubicBezTo>
                    <a:pt x="4973" y="9284"/>
                    <a:pt x="4939" y="9242"/>
                    <a:pt x="4908" y="9192"/>
                  </a:cubicBezTo>
                  <a:cubicBezTo>
                    <a:pt x="4883" y="9153"/>
                    <a:pt x="4870" y="9127"/>
                    <a:pt x="4870" y="9114"/>
                  </a:cubicBezTo>
                  <a:cubicBezTo>
                    <a:pt x="4870" y="9094"/>
                    <a:pt x="4876" y="9073"/>
                    <a:pt x="4888" y="9052"/>
                  </a:cubicBezTo>
                  <a:cubicBezTo>
                    <a:pt x="4896" y="9028"/>
                    <a:pt x="4900" y="9013"/>
                    <a:pt x="4900" y="9006"/>
                  </a:cubicBezTo>
                  <a:cubicBezTo>
                    <a:pt x="4900" y="8997"/>
                    <a:pt x="4888" y="8987"/>
                    <a:pt x="4862" y="8977"/>
                  </a:cubicBezTo>
                  <a:cubicBezTo>
                    <a:pt x="4843" y="8968"/>
                    <a:pt x="4826" y="8963"/>
                    <a:pt x="4811" y="8963"/>
                  </a:cubicBezTo>
                  <a:cubicBezTo>
                    <a:pt x="4790" y="8963"/>
                    <a:pt x="4774" y="8977"/>
                    <a:pt x="4762" y="9003"/>
                  </a:cubicBezTo>
                  <a:cubicBezTo>
                    <a:pt x="4750" y="9022"/>
                    <a:pt x="4741" y="9032"/>
                    <a:pt x="4734" y="9032"/>
                  </a:cubicBezTo>
                  <a:cubicBezTo>
                    <a:pt x="4657" y="9002"/>
                    <a:pt x="4620" y="8983"/>
                    <a:pt x="4621" y="8977"/>
                  </a:cubicBezTo>
                  <a:cubicBezTo>
                    <a:pt x="4621" y="8974"/>
                    <a:pt x="4651" y="8953"/>
                    <a:pt x="4711" y="8911"/>
                  </a:cubicBezTo>
                  <a:cubicBezTo>
                    <a:pt x="4772" y="8872"/>
                    <a:pt x="4803" y="8847"/>
                    <a:pt x="4803" y="8836"/>
                  </a:cubicBezTo>
                  <a:cubicBezTo>
                    <a:pt x="4801" y="8823"/>
                    <a:pt x="4798" y="8812"/>
                    <a:pt x="4793" y="8803"/>
                  </a:cubicBezTo>
                  <a:cubicBezTo>
                    <a:pt x="4788" y="8792"/>
                    <a:pt x="4782" y="8787"/>
                    <a:pt x="4775" y="8787"/>
                  </a:cubicBezTo>
                  <a:cubicBezTo>
                    <a:pt x="4765" y="8787"/>
                    <a:pt x="4739" y="8800"/>
                    <a:pt x="4698" y="8826"/>
                  </a:cubicBezTo>
                  <a:cubicBezTo>
                    <a:pt x="4657" y="8855"/>
                    <a:pt x="4635" y="8869"/>
                    <a:pt x="4632" y="8869"/>
                  </a:cubicBezTo>
                  <a:cubicBezTo>
                    <a:pt x="4623" y="8869"/>
                    <a:pt x="4606" y="8851"/>
                    <a:pt x="4580" y="8816"/>
                  </a:cubicBezTo>
                  <a:cubicBezTo>
                    <a:pt x="4557" y="8775"/>
                    <a:pt x="4540" y="8752"/>
                    <a:pt x="4532" y="8748"/>
                  </a:cubicBezTo>
                  <a:cubicBezTo>
                    <a:pt x="4481" y="8722"/>
                    <a:pt x="4442" y="8701"/>
                    <a:pt x="4417" y="8686"/>
                  </a:cubicBezTo>
                  <a:cubicBezTo>
                    <a:pt x="4410" y="8679"/>
                    <a:pt x="4401" y="8659"/>
                    <a:pt x="4391" y="8624"/>
                  </a:cubicBezTo>
                  <a:cubicBezTo>
                    <a:pt x="4379" y="8587"/>
                    <a:pt x="4373" y="8560"/>
                    <a:pt x="4373" y="8545"/>
                  </a:cubicBezTo>
                  <a:cubicBezTo>
                    <a:pt x="4373" y="8530"/>
                    <a:pt x="4385" y="8500"/>
                    <a:pt x="4409" y="8457"/>
                  </a:cubicBezTo>
                  <a:cubicBezTo>
                    <a:pt x="4453" y="8385"/>
                    <a:pt x="4476" y="8347"/>
                    <a:pt x="4478" y="8343"/>
                  </a:cubicBezTo>
                  <a:cubicBezTo>
                    <a:pt x="4481" y="8338"/>
                    <a:pt x="4489" y="8315"/>
                    <a:pt x="4501" y="8274"/>
                  </a:cubicBezTo>
                  <a:cubicBezTo>
                    <a:pt x="4510" y="8248"/>
                    <a:pt x="4521" y="8228"/>
                    <a:pt x="4534" y="8215"/>
                  </a:cubicBezTo>
                  <a:cubicBezTo>
                    <a:pt x="4541" y="8200"/>
                    <a:pt x="4560" y="8184"/>
                    <a:pt x="4591" y="8166"/>
                  </a:cubicBezTo>
                  <a:cubicBezTo>
                    <a:pt x="4618" y="8142"/>
                    <a:pt x="4635" y="8129"/>
                    <a:pt x="4642" y="8127"/>
                  </a:cubicBezTo>
                  <a:cubicBezTo>
                    <a:pt x="4652" y="8155"/>
                    <a:pt x="4662" y="8189"/>
                    <a:pt x="4670" y="8228"/>
                  </a:cubicBezTo>
                  <a:cubicBezTo>
                    <a:pt x="4675" y="8250"/>
                    <a:pt x="4690" y="8261"/>
                    <a:pt x="4714" y="8261"/>
                  </a:cubicBezTo>
                  <a:cubicBezTo>
                    <a:pt x="4720" y="8261"/>
                    <a:pt x="4725" y="8254"/>
                    <a:pt x="4726" y="8241"/>
                  </a:cubicBezTo>
                  <a:cubicBezTo>
                    <a:pt x="4730" y="8235"/>
                    <a:pt x="4731" y="8215"/>
                    <a:pt x="4729" y="8183"/>
                  </a:cubicBezTo>
                  <a:cubicBezTo>
                    <a:pt x="4729" y="8132"/>
                    <a:pt x="4725" y="8090"/>
                    <a:pt x="4716" y="8055"/>
                  </a:cubicBezTo>
                  <a:cubicBezTo>
                    <a:pt x="4704" y="8014"/>
                    <a:pt x="4686" y="7992"/>
                    <a:pt x="4662" y="7990"/>
                  </a:cubicBezTo>
                  <a:cubicBezTo>
                    <a:pt x="4628" y="7992"/>
                    <a:pt x="4611" y="7985"/>
                    <a:pt x="4611" y="7970"/>
                  </a:cubicBezTo>
                  <a:cubicBezTo>
                    <a:pt x="4616" y="7916"/>
                    <a:pt x="4616" y="7876"/>
                    <a:pt x="4611" y="7853"/>
                  </a:cubicBezTo>
                  <a:cubicBezTo>
                    <a:pt x="4528" y="7698"/>
                    <a:pt x="4474" y="7619"/>
                    <a:pt x="4450" y="7617"/>
                  </a:cubicBezTo>
                  <a:cubicBezTo>
                    <a:pt x="4438" y="7617"/>
                    <a:pt x="4410" y="7620"/>
                    <a:pt x="4365" y="7627"/>
                  </a:cubicBezTo>
                  <a:cubicBezTo>
                    <a:pt x="4323" y="7631"/>
                    <a:pt x="4298" y="7634"/>
                    <a:pt x="4291" y="7634"/>
                  </a:cubicBezTo>
                  <a:cubicBezTo>
                    <a:pt x="4252" y="7631"/>
                    <a:pt x="4227" y="7599"/>
                    <a:pt x="4217" y="7535"/>
                  </a:cubicBezTo>
                  <a:cubicBezTo>
                    <a:pt x="4212" y="7512"/>
                    <a:pt x="4210" y="7453"/>
                    <a:pt x="4212" y="7359"/>
                  </a:cubicBezTo>
                  <a:cubicBezTo>
                    <a:pt x="4213" y="7259"/>
                    <a:pt x="4208" y="7197"/>
                    <a:pt x="4196" y="7173"/>
                  </a:cubicBezTo>
                  <a:cubicBezTo>
                    <a:pt x="4188" y="7153"/>
                    <a:pt x="4164" y="7147"/>
                    <a:pt x="4125" y="7153"/>
                  </a:cubicBezTo>
                  <a:cubicBezTo>
                    <a:pt x="4079" y="7134"/>
                    <a:pt x="4025" y="7098"/>
                    <a:pt x="3963" y="7045"/>
                  </a:cubicBezTo>
                  <a:cubicBezTo>
                    <a:pt x="3893" y="6984"/>
                    <a:pt x="3851" y="6930"/>
                    <a:pt x="3835" y="6882"/>
                  </a:cubicBezTo>
                  <a:cubicBezTo>
                    <a:pt x="3834" y="6838"/>
                    <a:pt x="3831" y="6808"/>
                    <a:pt x="3828" y="6790"/>
                  </a:cubicBezTo>
                  <a:cubicBezTo>
                    <a:pt x="3823" y="6762"/>
                    <a:pt x="3810" y="6744"/>
                    <a:pt x="3789" y="6735"/>
                  </a:cubicBezTo>
                  <a:cubicBezTo>
                    <a:pt x="3771" y="6726"/>
                    <a:pt x="3759" y="6697"/>
                    <a:pt x="3754" y="6647"/>
                  </a:cubicBezTo>
                  <a:cubicBezTo>
                    <a:pt x="3755" y="6594"/>
                    <a:pt x="3756" y="6556"/>
                    <a:pt x="3756" y="6532"/>
                  </a:cubicBezTo>
                  <a:cubicBezTo>
                    <a:pt x="3756" y="6506"/>
                    <a:pt x="3758" y="6489"/>
                    <a:pt x="3761" y="6480"/>
                  </a:cubicBezTo>
                  <a:cubicBezTo>
                    <a:pt x="3763" y="6473"/>
                    <a:pt x="3768" y="6469"/>
                    <a:pt x="3777" y="6467"/>
                  </a:cubicBezTo>
                  <a:cubicBezTo>
                    <a:pt x="3795" y="6465"/>
                    <a:pt x="3807" y="6461"/>
                    <a:pt x="3812" y="6457"/>
                  </a:cubicBezTo>
                  <a:cubicBezTo>
                    <a:pt x="3818" y="6451"/>
                    <a:pt x="3820" y="6441"/>
                    <a:pt x="3820" y="6428"/>
                  </a:cubicBezTo>
                  <a:cubicBezTo>
                    <a:pt x="3818" y="6399"/>
                    <a:pt x="3824" y="6375"/>
                    <a:pt x="3835" y="6356"/>
                  </a:cubicBezTo>
                  <a:cubicBezTo>
                    <a:pt x="3853" y="6330"/>
                    <a:pt x="3861" y="6310"/>
                    <a:pt x="3861" y="6297"/>
                  </a:cubicBezTo>
                  <a:cubicBezTo>
                    <a:pt x="3856" y="6282"/>
                    <a:pt x="3855" y="6269"/>
                    <a:pt x="3859" y="6258"/>
                  </a:cubicBezTo>
                  <a:cubicBezTo>
                    <a:pt x="3841" y="6236"/>
                    <a:pt x="3815" y="6212"/>
                    <a:pt x="3779" y="6186"/>
                  </a:cubicBezTo>
                  <a:cubicBezTo>
                    <a:pt x="3774" y="6179"/>
                    <a:pt x="3754" y="6159"/>
                    <a:pt x="3718" y="6124"/>
                  </a:cubicBezTo>
                  <a:cubicBezTo>
                    <a:pt x="3687" y="6091"/>
                    <a:pt x="3667" y="6075"/>
                    <a:pt x="3659" y="6075"/>
                  </a:cubicBezTo>
                  <a:cubicBezTo>
                    <a:pt x="3640" y="6075"/>
                    <a:pt x="3632" y="6095"/>
                    <a:pt x="3633" y="6137"/>
                  </a:cubicBezTo>
                  <a:cubicBezTo>
                    <a:pt x="3633" y="6176"/>
                    <a:pt x="3620" y="6195"/>
                    <a:pt x="3592" y="6192"/>
                  </a:cubicBezTo>
                  <a:cubicBezTo>
                    <a:pt x="3575" y="6192"/>
                    <a:pt x="3562" y="6174"/>
                    <a:pt x="3554" y="6137"/>
                  </a:cubicBezTo>
                  <a:cubicBezTo>
                    <a:pt x="3542" y="6093"/>
                    <a:pt x="3527" y="6066"/>
                    <a:pt x="3508" y="6055"/>
                  </a:cubicBezTo>
                  <a:cubicBezTo>
                    <a:pt x="3441" y="6005"/>
                    <a:pt x="3399" y="5968"/>
                    <a:pt x="3380" y="5944"/>
                  </a:cubicBezTo>
                  <a:cubicBezTo>
                    <a:pt x="3364" y="5922"/>
                    <a:pt x="3352" y="5888"/>
                    <a:pt x="3341" y="5843"/>
                  </a:cubicBezTo>
                  <a:cubicBezTo>
                    <a:pt x="3331" y="5801"/>
                    <a:pt x="3327" y="5764"/>
                    <a:pt x="3329" y="5732"/>
                  </a:cubicBezTo>
                  <a:cubicBezTo>
                    <a:pt x="3325" y="5706"/>
                    <a:pt x="3318" y="5679"/>
                    <a:pt x="3306" y="5653"/>
                  </a:cubicBezTo>
                  <a:cubicBezTo>
                    <a:pt x="3294" y="5631"/>
                    <a:pt x="3288" y="5618"/>
                    <a:pt x="3288" y="5614"/>
                  </a:cubicBezTo>
                  <a:cubicBezTo>
                    <a:pt x="3296" y="5592"/>
                    <a:pt x="3300" y="5578"/>
                    <a:pt x="3300" y="5572"/>
                  </a:cubicBezTo>
                  <a:cubicBezTo>
                    <a:pt x="3300" y="5565"/>
                    <a:pt x="3299" y="5554"/>
                    <a:pt x="3295" y="5539"/>
                  </a:cubicBezTo>
                  <a:cubicBezTo>
                    <a:pt x="3292" y="5521"/>
                    <a:pt x="3289" y="5512"/>
                    <a:pt x="3288" y="5509"/>
                  </a:cubicBezTo>
                  <a:lnTo>
                    <a:pt x="3277" y="5509"/>
                  </a:lnTo>
                  <a:cubicBezTo>
                    <a:pt x="3250" y="5520"/>
                    <a:pt x="3221" y="5511"/>
                    <a:pt x="3190" y="5480"/>
                  </a:cubicBezTo>
                  <a:cubicBezTo>
                    <a:pt x="3156" y="5452"/>
                    <a:pt x="3126" y="5410"/>
                    <a:pt x="3098" y="5356"/>
                  </a:cubicBezTo>
                  <a:cubicBezTo>
                    <a:pt x="3090" y="5338"/>
                    <a:pt x="3083" y="5311"/>
                    <a:pt x="3078" y="5274"/>
                  </a:cubicBezTo>
                  <a:cubicBezTo>
                    <a:pt x="3074" y="5235"/>
                    <a:pt x="3071" y="5214"/>
                    <a:pt x="3067" y="5212"/>
                  </a:cubicBezTo>
                  <a:cubicBezTo>
                    <a:pt x="3050" y="5201"/>
                    <a:pt x="3035" y="5187"/>
                    <a:pt x="3021" y="5170"/>
                  </a:cubicBezTo>
                  <a:cubicBezTo>
                    <a:pt x="2996" y="5152"/>
                    <a:pt x="2985" y="5135"/>
                    <a:pt x="2988" y="5117"/>
                  </a:cubicBezTo>
                  <a:lnTo>
                    <a:pt x="2991" y="5068"/>
                  </a:lnTo>
                  <a:lnTo>
                    <a:pt x="3011" y="5068"/>
                  </a:lnTo>
                  <a:cubicBezTo>
                    <a:pt x="3020" y="5070"/>
                    <a:pt x="3032" y="5074"/>
                    <a:pt x="3047" y="5078"/>
                  </a:cubicBezTo>
                  <a:cubicBezTo>
                    <a:pt x="3056" y="5078"/>
                    <a:pt x="3060" y="5073"/>
                    <a:pt x="3060" y="5062"/>
                  </a:cubicBezTo>
                  <a:cubicBezTo>
                    <a:pt x="3060" y="5044"/>
                    <a:pt x="2996" y="4970"/>
                    <a:pt x="2868" y="4840"/>
                  </a:cubicBezTo>
                  <a:cubicBezTo>
                    <a:pt x="2854" y="4829"/>
                    <a:pt x="2847" y="4786"/>
                    <a:pt x="2847" y="4712"/>
                  </a:cubicBezTo>
                  <a:cubicBezTo>
                    <a:pt x="2847" y="4631"/>
                    <a:pt x="2847" y="4580"/>
                    <a:pt x="2847" y="4559"/>
                  </a:cubicBezTo>
                  <a:lnTo>
                    <a:pt x="2847" y="4555"/>
                  </a:lnTo>
                  <a:cubicBezTo>
                    <a:pt x="2852" y="4451"/>
                    <a:pt x="2851" y="4393"/>
                    <a:pt x="2842" y="4382"/>
                  </a:cubicBezTo>
                  <a:cubicBezTo>
                    <a:pt x="2830" y="4367"/>
                    <a:pt x="2810" y="4360"/>
                    <a:pt x="2781" y="4363"/>
                  </a:cubicBezTo>
                  <a:cubicBezTo>
                    <a:pt x="2755" y="4363"/>
                    <a:pt x="2742" y="4357"/>
                    <a:pt x="2740" y="4346"/>
                  </a:cubicBezTo>
                  <a:lnTo>
                    <a:pt x="2750" y="4209"/>
                  </a:lnTo>
                  <a:cubicBezTo>
                    <a:pt x="2752" y="4128"/>
                    <a:pt x="2746" y="4076"/>
                    <a:pt x="2732" y="4052"/>
                  </a:cubicBezTo>
                  <a:cubicBezTo>
                    <a:pt x="2707" y="4011"/>
                    <a:pt x="2688" y="3975"/>
                    <a:pt x="2676" y="3944"/>
                  </a:cubicBezTo>
                  <a:cubicBezTo>
                    <a:pt x="2676" y="3942"/>
                    <a:pt x="2676" y="3940"/>
                    <a:pt x="2676" y="3938"/>
                  </a:cubicBezTo>
                  <a:cubicBezTo>
                    <a:pt x="2669" y="3925"/>
                    <a:pt x="2662" y="3905"/>
                    <a:pt x="2655" y="3879"/>
                  </a:cubicBezTo>
                  <a:cubicBezTo>
                    <a:pt x="2647" y="3840"/>
                    <a:pt x="2643" y="3808"/>
                    <a:pt x="2643" y="3784"/>
                  </a:cubicBezTo>
                  <a:cubicBezTo>
                    <a:pt x="2643" y="3775"/>
                    <a:pt x="2637" y="3758"/>
                    <a:pt x="2625" y="3732"/>
                  </a:cubicBezTo>
                  <a:cubicBezTo>
                    <a:pt x="2613" y="3706"/>
                    <a:pt x="2607" y="3687"/>
                    <a:pt x="2607" y="3676"/>
                  </a:cubicBezTo>
                  <a:lnTo>
                    <a:pt x="2612" y="3575"/>
                  </a:lnTo>
                  <a:cubicBezTo>
                    <a:pt x="2617" y="3523"/>
                    <a:pt x="2620" y="3488"/>
                    <a:pt x="2620" y="3470"/>
                  </a:cubicBezTo>
                  <a:cubicBezTo>
                    <a:pt x="2621" y="3453"/>
                    <a:pt x="2616" y="3429"/>
                    <a:pt x="2604" y="3398"/>
                  </a:cubicBezTo>
                  <a:cubicBezTo>
                    <a:pt x="2592" y="3368"/>
                    <a:pt x="2588" y="3336"/>
                    <a:pt x="2591" y="3304"/>
                  </a:cubicBezTo>
                  <a:cubicBezTo>
                    <a:pt x="2593" y="3282"/>
                    <a:pt x="2591" y="3258"/>
                    <a:pt x="2586" y="3232"/>
                  </a:cubicBezTo>
                  <a:cubicBezTo>
                    <a:pt x="2581" y="3190"/>
                    <a:pt x="2579" y="3162"/>
                    <a:pt x="2579" y="3147"/>
                  </a:cubicBezTo>
                  <a:cubicBezTo>
                    <a:pt x="2551" y="3040"/>
                    <a:pt x="2530" y="2972"/>
                    <a:pt x="2515" y="2941"/>
                  </a:cubicBezTo>
                  <a:cubicBezTo>
                    <a:pt x="2487" y="2887"/>
                    <a:pt x="2468" y="2845"/>
                    <a:pt x="2458" y="2817"/>
                  </a:cubicBezTo>
                  <a:cubicBezTo>
                    <a:pt x="2443" y="2778"/>
                    <a:pt x="2435" y="2734"/>
                    <a:pt x="2435" y="2686"/>
                  </a:cubicBezTo>
                  <a:cubicBezTo>
                    <a:pt x="2435" y="2658"/>
                    <a:pt x="2445" y="2636"/>
                    <a:pt x="2463" y="2621"/>
                  </a:cubicBezTo>
                  <a:cubicBezTo>
                    <a:pt x="2480" y="2610"/>
                    <a:pt x="2489" y="2601"/>
                    <a:pt x="2489" y="2595"/>
                  </a:cubicBezTo>
                  <a:lnTo>
                    <a:pt x="2486" y="2546"/>
                  </a:lnTo>
                  <a:cubicBezTo>
                    <a:pt x="2490" y="2513"/>
                    <a:pt x="2499" y="2486"/>
                    <a:pt x="2515" y="2464"/>
                  </a:cubicBezTo>
                  <a:cubicBezTo>
                    <a:pt x="2525" y="2429"/>
                    <a:pt x="2533" y="2401"/>
                    <a:pt x="2540" y="2379"/>
                  </a:cubicBezTo>
                  <a:cubicBezTo>
                    <a:pt x="2554" y="2342"/>
                    <a:pt x="2561" y="2314"/>
                    <a:pt x="2561" y="2294"/>
                  </a:cubicBezTo>
                  <a:cubicBezTo>
                    <a:pt x="2561" y="2279"/>
                    <a:pt x="2557" y="2266"/>
                    <a:pt x="2550" y="2255"/>
                  </a:cubicBezTo>
                  <a:cubicBezTo>
                    <a:pt x="2538" y="2242"/>
                    <a:pt x="2529" y="2230"/>
                    <a:pt x="2522" y="2219"/>
                  </a:cubicBezTo>
                  <a:cubicBezTo>
                    <a:pt x="2497" y="2186"/>
                    <a:pt x="2480" y="2163"/>
                    <a:pt x="2474" y="2150"/>
                  </a:cubicBezTo>
                  <a:cubicBezTo>
                    <a:pt x="2465" y="2141"/>
                    <a:pt x="2456" y="2137"/>
                    <a:pt x="2445" y="2137"/>
                  </a:cubicBezTo>
                  <a:lnTo>
                    <a:pt x="2358" y="2147"/>
                  </a:lnTo>
                  <a:cubicBezTo>
                    <a:pt x="2345" y="2147"/>
                    <a:pt x="2334" y="2141"/>
                    <a:pt x="2325" y="2131"/>
                  </a:cubicBezTo>
                  <a:cubicBezTo>
                    <a:pt x="2310" y="2109"/>
                    <a:pt x="2292" y="2088"/>
                    <a:pt x="2271" y="2069"/>
                  </a:cubicBezTo>
                  <a:cubicBezTo>
                    <a:pt x="2224" y="2036"/>
                    <a:pt x="2197" y="2016"/>
                    <a:pt x="2192" y="2010"/>
                  </a:cubicBezTo>
                  <a:cubicBezTo>
                    <a:pt x="2187" y="2001"/>
                    <a:pt x="2184" y="1985"/>
                    <a:pt x="2184" y="1961"/>
                  </a:cubicBezTo>
                  <a:lnTo>
                    <a:pt x="2189" y="1863"/>
                  </a:lnTo>
                  <a:cubicBezTo>
                    <a:pt x="2189" y="1813"/>
                    <a:pt x="2181" y="1779"/>
                    <a:pt x="2164" y="1761"/>
                  </a:cubicBezTo>
                  <a:cubicBezTo>
                    <a:pt x="2123" y="1718"/>
                    <a:pt x="2101" y="1694"/>
                    <a:pt x="2097" y="1689"/>
                  </a:cubicBezTo>
                  <a:cubicBezTo>
                    <a:pt x="2078" y="1670"/>
                    <a:pt x="2064" y="1656"/>
                    <a:pt x="2054" y="1647"/>
                  </a:cubicBezTo>
                  <a:cubicBezTo>
                    <a:pt x="2032" y="1625"/>
                    <a:pt x="2014" y="1613"/>
                    <a:pt x="2003" y="1611"/>
                  </a:cubicBezTo>
                  <a:lnTo>
                    <a:pt x="1995" y="1611"/>
                  </a:lnTo>
                  <a:cubicBezTo>
                    <a:pt x="1981" y="1694"/>
                    <a:pt x="1973" y="1741"/>
                    <a:pt x="1969" y="1751"/>
                  </a:cubicBezTo>
                  <a:cubicBezTo>
                    <a:pt x="1957" y="1782"/>
                    <a:pt x="1933" y="1797"/>
                    <a:pt x="1898" y="1797"/>
                  </a:cubicBezTo>
                  <a:cubicBezTo>
                    <a:pt x="1872" y="1795"/>
                    <a:pt x="1851" y="1783"/>
                    <a:pt x="1834" y="1761"/>
                  </a:cubicBezTo>
                  <a:cubicBezTo>
                    <a:pt x="1811" y="1722"/>
                    <a:pt x="1789" y="1685"/>
                    <a:pt x="1767" y="1650"/>
                  </a:cubicBezTo>
                  <a:cubicBezTo>
                    <a:pt x="1736" y="1611"/>
                    <a:pt x="1683" y="1558"/>
                    <a:pt x="1606" y="1490"/>
                  </a:cubicBezTo>
                  <a:cubicBezTo>
                    <a:pt x="1567" y="1455"/>
                    <a:pt x="1515" y="1384"/>
                    <a:pt x="1452" y="1278"/>
                  </a:cubicBezTo>
                  <a:cubicBezTo>
                    <a:pt x="1447" y="1271"/>
                    <a:pt x="1426" y="1226"/>
                    <a:pt x="1388" y="1144"/>
                  </a:cubicBezTo>
                  <a:cubicBezTo>
                    <a:pt x="1366" y="1096"/>
                    <a:pt x="1345" y="1070"/>
                    <a:pt x="1324" y="1065"/>
                  </a:cubicBezTo>
                  <a:lnTo>
                    <a:pt x="1299" y="1062"/>
                  </a:lnTo>
                  <a:lnTo>
                    <a:pt x="1299" y="1075"/>
                  </a:lnTo>
                  <a:cubicBezTo>
                    <a:pt x="1300" y="1082"/>
                    <a:pt x="1323" y="1120"/>
                    <a:pt x="1368" y="1189"/>
                  </a:cubicBezTo>
                  <a:cubicBezTo>
                    <a:pt x="1404" y="1248"/>
                    <a:pt x="1421" y="1295"/>
                    <a:pt x="1421" y="1330"/>
                  </a:cubicBezTo>
                  <a:cubicBezTo>
                    <a:pt x="1421" y="1345"/>
                    <a:pt x="1417" y="1370"/>
                    <a:pt x="1409" y="1405"/>
                  </a:cubicBezTo>
                  <a:cubicBezTo>
                    <a:pt x="1404" y="1423"/>
                    <a:pt x="1397" y="1444"/>
                    <a:pt x="1388" y="1470"/>
                  </a:cubicBezTo>
                  <a:cubicBezTo>
                    <a:pt x="1388" y="1484"/>
                    <a:pt x="1367" y="1555"/>
                    <a:pt x="1324" y="1686"/>
                  </a:cubicBezTo>
                  <a:cubicBezTo>
                    <a:pt x="1283" y="1828"/>
                    <a:pt x="1262" y="1928"/>
                    <a:pt x="1260" y="1987"/>
                  </a:cubicBezTo>
                  <a:cubicBezTo>
                    <a:pt x="1260" y="2022"/>
                    <a:pt x="1262" y="2046"/>
                    <a:pt x="1265" y="2059"/>
                  </a:cubicBezTo>
                  <a:cubicBezTo>
                    <a:pt x="1265" y="2072"/>
                    <a:pt x="1270" y="2095"/>
                    <a:pt x="1278" y="2127"/>
                  </a:cubicBezTo>
                  <a:cubicBezTo>
                    <a:pt x="1282" y="2136"/>
                    <a:pt x="1290" y="2141"/>
                    <a:pt x="1304" y="2144"/>
                  </a:cubicBezTo>
                  <a:cubicBezTo>
                    <a:pt x="1317" y="2144"/>
                    <a:pt x="1326" y="2145"/>
                    <a:pt x="1329" y="2147"/>
                  </a:cubicBezTo>
                  <a:cubicBezTo>
                    <a:pt x="1358" y="2175"/>
                    <a:pt x="1372" y="2210"/>
                    <a:pt x="1370" y="2252"/>
                  </a:cubicBezTo>
                  <a:cubicBezTo>
                    <a:pt x="1370" y="2288"/>
                    <a:pt x="1359" y="2334"/>
                    <a:pt x="1337" y="2389"/>
                  </a:cubicBezTo>
                  <a:cubicBezTo>
                    <a:pt x="1327" y="2415"/>
                    <a:pt x="1317" y="2440"/>
                    <a:pt x="1309" y="2464"/>
                  </a:cubicBezTo>
                  <a:cubicBezTo>
                    <a:pt x="1307" y="2473"/>
                    <a:pt x="1312" y="2506"/>
                    <a:pt x="1324" y="2565"/>
                  </a:cubicBezTo>
                  <a:cubicBezTo>
                    <a:pt x="1333" y="2624"/>
                    <a:pt x="1337" y="2665"/>
                    <a:pt x="1337" y="2689"/>
                  </a:cubicBezTo>
                  <a:cubicBezTo>
                    <a:pt x="1335" y="2748"/>
                    <a:pt x="1331" y="2789"/>
                    <a:pt x="1324" y="2810"/>
                  </a:cubicBezTo>
                  <a:cubicBezTo>
                    <a:pt x="1321" y="2830"/>
                    <a:pt x="1310" y="2873"/>
                    <a:pt x="1291" y="2941"/>
                  </a:cubicBezTo>
                  <a:cubicBezTo>
                    <a:pt x="1277" y="2982"/>
                    <a:pt x="1270" y="3016"/>
                    <a:pt x="1268" y="3042"/>
                  </a:cubicBezTo>
                  <a:cubicBezTo>
                    <a:pt x="1268" y="3145"/>
                    <a:pt x="1289" y="3220"/>
                    <a:pt x="1332" y="3268"/>
                  </a:cubicBezTo>
                  <a:cubicBezTo>
                    <a:pt x="1369" y="3320"/>
                    <a:pt x="1388" y="3349"/>
                    <a:pt x="1388" y="3356"/>
                  </a:cubicBezTo>
                  <a:cubicBezTo>
                    <a:pt x="1386" y="3443"/>
                    <a:pt x="1393" y="3500"/>
                    <a:pt x="1409" y="3526"/>
                  </a:cubicBezTo>
                  <a:cubicBezTo>
                    <a:pt x="1417" y="3546"/>
                    <a:pt x="1446" y="3573"/>
                    <a:pt x="1496" y="3608"/>
                  </a:cubicBezTo>
                  <a:cubicBezTo>
                    <a:pt x="1508" y="3636"/>
                    <a:pt x="1524" y="3663"/>
                    <a:pt x="1544" y="3689"/>
                  </a:cubicBezTo>
                  <a:cubicBezTo>
                    <a:pt x="1563" y="3718"/>
                    <a:pt x="1573" y="3733"/>
                    <a:pt x="1575" y="3735"/>
                  </a:cubicBezTo>
                  <a:cubicBezTo>
                    <a:pt x="1582" y="3753"/>
                    <a:pt x="1594" y="3786"/>
                    <a:pt x="1611" y="3836"/>
                  </a:cubicBezTo>
                  <a:cubicBezTo>
                    <a:pt x="1630" y="3869"/>
                    <a:pt x="1644" y="3894"/>
                    <a:pt x="1654" y="3912"/>
                  </a:cubicBezTo>
                  <a:cubicBezTo>
                    <a:pt x="1671" y="3936"/>
                    <a:pt x="1695" y="3966"/>
                    <a:pt x="1724" y="4003"/>
                  </a:cubicBezTo>
                  <a:cubicBezTo>
                    <a:pt x="1775" y="4064"/>
                    <a:pt x="1801" y="4119"/>
                    <a:pt x="1803" y="4166"/>
                  </a:cubicBezTo>
                  <a:cubicBezTo>
                    <a:pt x="1806" y="4199"/>
                    <a:pt x="1807" y="4255"/>
                    <a:pt x="1805" y="4333"/>
                  </a:cubicBezTo>
                  <a:cubicBezTo>
                    <a:pt x="1819" y="4344"/>
                    <a:pt x="1836" y="4353"/>
                    <a:pt x="1857" y="4359"/>
                  </a:cubicBezTo>
                  <a:cubicBezTo>
                    <a:pt x="1870" y="4364"/>
                    <a:pt x="1876" y="4380"/>
                    <a:pt x="1875" y="4408"/>
                  </a:cubicBezTo>
                  <a:cubicBezTo>
                    <a:pt x="1875" y="4434"/>
                    <a:pt x="1869" y="4476"/>
                    <a:pt x="1859" y="4532"/>
                  </a:cubicBezTo>
                  <a:cubicBezTo>
                    <a:pt x="1849" y="4587"/>
                    <a:pt x="1844" y="4621"/>
                    <a:pt x="1844" y="4634"/>
                  </a:cubicBezTo>
                  <a:cubicBezTo>
                    <a:pt x="1844" y="4636"/>
                    <a:pt x="1848" y="4640"/>
                    <a:pt x="1857" y="4647"/>
                  </a:cubicBezTo>
                  <a:cubicBezTo>
                    <a:pt x="1863" y="4649"/>
                    <a:pt x="1869" y="4650"/>
                    <a:pt x="1875" y="4650"/>
                  </a:cubicBezTo>
                  <a:lnTo>
                    <a:pt x="1895" y="4617"/>
                  </a:lnTo>
                  <a:cubicBezTo>
                    <a:pt x="1905" y="4591"/>
                    <a:pt x="1913" y="4578"/>
                    <a:pt x="1918" y="4578"/>
                  </a:cubicBezTo>
                  <a:cubicBezTo>
                    <a:pt x="1945" y="4580"/>
                    <a:pt x="1961" y="4605"/>
                    <a:pt x="1964" y="4653"/>
                  </a:cubicBezTo>
                  <a:cubicBezTo>
                    <a:pt x="1966" y="4682"/>
                    <a:pt x="1966" y="4718"/>
                    <a:pt x="1964" y="4761"/>
                  </a:cubicBezTo>
                  <a:cubicBezTo>
                    <a:pt x="2029" y="4759"/>
                    <a:pt x="2058" y="4771"/>
                    <a:pt x="2051" y="4797"/>
                  </a:cubicBezTo>
                  <a:cubicBezTo>
                    <a:pt x="2046" y="4819"/>
                    <a:pt x="2048" y="4846"/>
                    <a:pt x="2056" y="4879"/>
                  </a:cubicBezTo>
                  <a:cubicBezTo>
                    <a:pt x="2065" y="4909"/>
                    <a:pt x="2073" y="4952"/>
                    <a:pt x="2082" y="5006"/>
                  </a:cubicBezTo>
                  <a:cubicBezTo>
                    <a:pt x="2085" y="5061"/>
                    <a:pt x="2090" y="5106"/>
                    <a:pt x="2097" y="5143"/>
                  </a:cubicBezTo>
                  <a:cubicBezTo>
                    <a:pt x="2101" y="5178"/>
                    <a:pt x="2106" y="5198"/>
                    <a:pt x="2113" y="5202"/>
                  </a:cubicBezTo>
                  <a:lnTo>
                    <a:pt x="2146" y="5206"/>
                  </a:lnTo>
                  <a:cubicBezTo>
                    <a:pt x="2158" y="5206"/>
                    <a:pt x="2166" y="5204"/>
                    <a:pt x="2169" y="5202"/>
                  </a:cubicBezTo>
                  <a:cubicBezTo>
                    <a:pt x="2171" y="5202"/>
                    <a:pt x="2173" y="5201"/>
                    <a:pt x="2177" y="5199"/>
                  </a:cubicBezTo>
                  <a:cubicBezTo>
                    <a:pt x="2183" y="5199"/>
                    <a:pt x="2189" y="5198"/>
                    <a:pt x="2195" y="5196"/>
                  </a:cubicBezTo>
                  <a:lnTo>
                    <a:pt x="2207" y="5196"/>
                  </a:lnTo>
                  <a:cubicBezTo>
                    <a:pt x="2231" y="5198"/>
                    <a:pt x="2246" y="5201"/>
                    <a:pt x="2251" y="5206"/>
                  </a:cubicBezTo>
                  <a:cubicBezTo>
                    <a:pt x="2254" y="5219"/>
                    <a:pt x="2256" y="5233"/>
                    <a:pt x="2256" y="5248"/>
                  </a:cubicBezTo>
                  <a:cubicBezTo>
                    <a:pt x="2256" y="5287"/>
                    <a:pt x="2248" y="5323"/>
                    <a:pt x="2233" y="5356"/>
                  </a:cubicBezTo>
                  <a:cubicBezTo>
                    <a:pt x="2218" y="5380"/>
                    <a:pt x="2210" y="5396"/>
                    <a:pt x="2210" y="5405"/>
                  </a:cubicBezTo>
                  <a:cubicBezTo>
                    <a:pt x="2210" y="5418"/>
                    <a:pt x="2222" y="5432"/>
                    <a:pt x="2246" y="5447"/>
                  </a:cubicBezTo>
                  <a:cubicBezTo>
                    <a:pt x="2265" y="5465"/>
                    <a:pt x="2274" y="5482"/>
                    <a:pt x="2274" y="5500"/>
                  </a:cubicBezTo>
                  <a:cubicBezTo>
                    <a:pt x="2274" y="5517"/>
                    <a:pt x="2268" y="5557"/>
                    <a:pt x="2256" y="5621"/>
                  </a:cubicBezTo>
                  <a:cubicBezTo>
                    <a:pt x="2247" y="5682"/>
                    <a:pt x="2241" y="5744"/>
                    <a:pt x="2238" y="5807"/>
                  </a:cubicBezTo>
                  <a:lnTo>
                    <a:pt x="2243" y="5915"/>
                  </a:lnTo>
                  <a:cubicBezTo>
                    <a:pt x="2245" y="5917"/>
                    <a:pt x="2248" y="5930"/>
                    <a:pt x="2253" y="5954"/>
                  </a:cubicBezTo>
                  <a:cubicBezTo>
                    <a:pt x="2262" y="5980"/>
                    <a:pt x="2271" y="6005"/>
                    <a:pt x="2282" y="6029"/>
                  </a:cubicBezTo>
                  <a:cubicBezTo>
                    <a:pt x="2304" y="6077"/>
                    <a:pt x="2328" y="6119"/>
                    <a:pt x="2353" y="6157"/>
                  </a:cubicBezTo>
                  <a:cubicBezTo>
                    <a:pt x="2367" y="6183"/>
                    <a:pt x="2392" y="6211"/>
                    <a:pt x="2428" y="6241"/>
                  </a:cubicBezTo>
                  <a:cubicBezTo>
                    <a:pt x="2463" y="6272"/>
                    <a:pt x="2486" y="6293"/>
                    <a:pt x="2497" y="6304"/>
                  </a:cubicBezTo>
                  <a:lnTo>
                    <a:pt x="2499" y="6304"/>
                  </a:lnTo>
                  <a:cubicBezTo>
                    <a:pt x="2499" y="6317"/>
                    <a:pt x="2500" y="6332"/>
                    <a:pt x="2502" y="6349"/>
                  </a:cubicBezTo>
                  <a:cubicBezTo>
                    <a:pt x="2503" y="6371"/>
                    <a:pt x="2504" y="6394"/>
                    <a:pt x="2504" y="6418"/>
                  </a:cubicBezTo>
                  <a:cubicBezTo>
                    <a:pt x="2503" y="6440"/>
                    <a:pt x="2499" y="6470"/>
                    <a:pt x="2494" y="6509"/>
                  </a:cubicBezTo>
                  <a:cubicBezTo>
                    <a:pt x="2494" y="6525"/>
                    <a:pt x="2505" y="6538"/>
                    <a:pt x="2527" y="6549"/>
                  </a:cubicBezTo>
                  <a:cubicBezTo>
                    <a:pt x="2548" y="6564"/>
                    <a:pt x="2558" y="6581"/>
                    <a:pt x="2558" y="6601"/>
                  </a:cubicBezTo>
                  <a:cubicBezTo>
                    <a:pt x="2558" y="6607"/>
                    <a:pt x="2551" y="6617"/>
                    <a:pt x="2538" y="6630"/>
                  </a:cubicBezTo>
                  <a:cubicBezTo>
                    <a:pt x="2522" y="6643"/>
                    <a:pt x="2515" y="6661"/>
                    <a:pt x="2515" y="6683"/>
                  </a:cubicBezTo>
                  <a:cubicBezTo>
                    <a:pt x="2513" y="6715"/>
                    <a:pt x="2532" y="6734"/>
                    <a:pt x="2573" y="6738"/>
                  </a:cubicBezTo>
                  <a:cubicBezTo>
                    <a:pt x="2630" y="6745"/>
                    <a:pt x="2664" y="6750"/>
                    <a:pt x="2676" y="6754"/>
                  </a:cubicBezTo>
                  <a:cubicBezTo>
                    <a:pt x="2686" y="6774"/>
                    <a:pt x="2698" y="6810"/>
                    <a:pt x="2712" y="6862"/>
                  </a:cubicBezTo>
                  <a:cubicBezTo>
                    <a:pt x="2712" y="6878"/>
                    <a:pt x="2702" y="6886"/>
                    <a:pt x="2684" y="6889"/>
                  </a:cubicBezTo>
                  <a:cubicBezTo>
                    <a:pt x="2661" y="6891"/>
                    <a:pt x="2650" y="6897"/>
                    <a:pt x="2650" y="6908"/>
                  </a:cubicBezTo>
                  <a:lnTo>
                    <a:pt x="2640" y="6983"/>
                  </a:lnTo>
                  <a:cubicBezTo>
                    <a:pt x="2640" y="7018"/>
                    <a:pt x="2646" y="7043"/>
                    <a:pt x="2658" y="7058"/>
                  </a:cubicBezTo>
                  <a:cubicBezTo>
                    <a:pt x="2673" y="7076"/>
                    <a:pt x="2684" y="7119"/>
                    <a:pt x="2691" y="7189"/>
                  </a:cubicBezTo>
                  <a:cubicBezTo>
                    <a:pt x="2696" y="7224"/>
                    <a:pt x="2701" y="7278"/>
                    <a:pt x="2707" y="7352"/>
                  </a:cubicBezTo>
                  <a:cubicBezTo>
                    <a:pt x="2718" y="7414"/>
                    <a:pt x="2746" y="7444"/>
                    <a:pt x="2788" y="7444"/>
                  </a:cubicBezTo>
                  <a:cubicBezTo>
                    <a:pt x="2819" y="7444"/>
                    <a:pt x="2835" y="7418"/>
                    <a:pt x="2837" y="7366"/>
                  </a:cubicBezTo>
                  <a:cubicBezTo>
                    <a:pt x="2837" y="7342"/>
                    <a:pt x="2822" y="7312"/>
                    <a:pt x="2791" y="7277"/>
                  </a:cubicBezTo>
                  <a:cubicBezTo>
                    <a:pt x="2762" y="7242"/>
                    <a:pt x="2748" y="7195"/>
                    <a:pt x="2748" y="7134"/>
                  </a:cubicBezTo>
                  <a:cubicBezTo>
                    <a:pt x="2749" y="7127"/>
                    <a:pt x="2752" y="7121"/>
                    <a:pt x="2755" y="7114"/>
                  </a:cubicBezTo>
                  <a:cubicBezTo>
                    <a:pt x="2764" y="7096"/>
                    <a:pt x="2774" y="7088"/>
                    <a:pt x="2786" y="7088"/>
                  </a:cubicBezTo>
                  <a:cubicBezTo>
                    <a:pt x="2791" y="7090"/>
                    <a:pt x="2805" y="7110"/>
                    <a:pt x="2827" y="7147"/>
                  </a:cubicBezTo>
                  <a:cubicBezTo>
                    <a:pt x="2856" y="7192"/>
                    <a:pt x="2876" y="7220"/>
                    <a:pt x="2886" y="7228"/>
                  </a:cubicBezTo>
                  <a:cubicBezTo>
                    <a:pt x="2906" y="7257"/>
                    <a:pt x="2920" y="7279"/>
                    <a:pt x="2927" y="7297"/>
                  </a:cubicBezTo>
                  <a:cubicBezTo>
                    <a:pt x="2935" y="7321"/>
                    <a:pt x="2939" y="7352"/>
                    <a:pt x="2937" y="7392"/>
                  </a:cubicBezTo>
                  <a:cubicBezTo>
                    <a:pt x="2937" y="7422"/>
                    <a:pt x="2935" y="7456"/>
                    <a:pt x="2932" y="7493"/>
                  </a:cubicBezTo>
                  <a:cubicBezTo>
                    <a:pt x="2963" y="7502"/>
                    <a:pt x="2980" y="7513"/>
                    <a:pt x="2983" y="7526"/>
                  </a:cubicBezTo>
                  <a:cubicBezTo>
                    <a:pt x="2995" y="7541"/>
                    <a:pt x="3003" y="7575"/>
                    <a:pt x="3006" y="7627"/>
                  </a:cubicBezTo>
                  <a:cubicBezTo>
                    <a:pt x="3008" y="7638"/>
                    <a:pt x="3011" y="7698"/>
                    <a:pt x="3016" y="7807"/>
                  </a:cubicBezTo>
                  <a:cubicBezTo>
                    <a:pt x="3020" y="7900"/>
                    <a:pt x="3021" y="7965"/>
                    <a:pt x="3021" y="7999"/>
                  </a:cubicBezTo>
                  <a:lnTo>
                    <a:pt x="3014" y="8084"/>
                  </a:lnTo>
                  <a:cubicBezTo>
                    <a:pt x="3003" y="8132"/>
                    <a:pt x="2998" y="8191"/>
                    <a:pt x="2998" y="8261"/>
                  </a:cubicBezTo>
                  <a:cubicBezTo>
                    <a:pt x="2997" y="8326"/>
                    <a:pt x="3003" y="8369"/>
                    <a:pt x="3019" y="8388"/>
                  </a:cubicBezTo>
                  <a:cubicBezTo>
                    <a:pt x="3044" y="8415"/>
                    <a:pt x="3062" y="8452"/>
                    <a:pt x="3073" y="8499"/>
                  </a:cubicBezTo>
                  <a:cubicBezTo>
                    <a:pt x="3074" y="8506"/>
                    <a:pt x="3076" y="8530"/>
                    <a:pt x="3078" y="8571"/>
                  </a:cubicBezTo>
                  <a:cubicBezTo>
                    <a:pt x="3078" y="8613"/>
                    <a:pt x="3083" y="8635"/>
                    <a:pt x="3093" y="8637"/>
                  </a:cubicBezTo>
                  <a:cubicBezTo>
                    <a:pt x="3112" y="8641"/>
                    <a:pt x="3132" y="8644"/>
                    <a:pt x="3155" y="8647"/>
                  </a:cubicBezTo>
                  <a:cubicBezTo>
                    <a:pt x="3168" y="8653"/>
                    <a:pt x="3175" y="8663"/>
                    <a:pt x="3175" y="8676"/>
                  </a:cubicBezTo>
                  <a:lnTo>
                    <a:pt x="3172" y="8784"/>
                  </a:lnTo>
                  <a:lnTo>
                    <a:pt x="3170" y="8797"/>
                  </a:lnTo>
                  <a:cubicBezTo>
                    <a:pt x="3170" y="8799"/>
                    <a:pt x="3172" y="8808"/>
                    <a:pt x="3175" y="8823"/>
                  </a:cubicBezTo>
                  <a:cubicBezTo>
                    <a:pt x="3180" y="8838"/>
                    <a:pt x="3183" y="8851"/>
                    <a:pt x="3183" y="8862"/>
                  </a:cubicBezTo>
                  <a:cubicBezTo>
                    <a:pt x="3181" y="8880"/>
                    <a:pt x="3178" y="8912"/>
                    <a:pt x="3172" y="8960"/>
                  </a:cubicBezTo>
                  <a:cubicBezTo>
                    <a:pt x="3171" y="8989"/>
                    <a:pt x="3173" y="9017"/>
                    <a:pt x="3180" y="9045"/>
                  </a:cubicBezTo>
                  <a:cubicBezTo>
                    <a:pt x="3184" y="9065"/>
                    <a:pt x="3190" y="9088"/>
                    <a:pt x="3198" y="9114"/>
                  </a:cubicBezTo>
                  <a:cubicBezTo>
                    <a:pt x="3201" y="9127"/>
                    <a:pt x="3213" y="9144"/>
                    <a:pt x="3234" y="9166"/>
                  </a:cubicBezTo>
                  <a:cubicBezTo>
                    <a:pt x="3258" y="9188"/>
                    <a:pt x="3271" y="9201"/>
                    <a:pt x="3272" y="9205"/>
                  </a:cubicBezTo>
                  <a:cubicBezTo>
                    <a:pt x="3276" y="9221"/>
                    <a:pt x="3281" y="9263"/>
                    <a:pt x="3288" y="9333"/>
                  </a:cubicBezTo>
                  <a:cubicBezTo>
                    <a:pt x="3293" y="9396"/>
                    <a:pt x="3303" y="9430"/>
                    <a:pt x="3318" y="9434"/>
                  </a:cubicBezTo>
                  <a:lnTo>
                    <a:pt x="3347" y="9434"/>
                  </a:lnTo>
                  <a:lnTo>
                    <a:pt x="3347" y="9408"/>
                  </a:lnTo>
                  <a:cubicBezTo>
                    <a:pt x="3323" y="9314"/>
                    <a:pt x="3311" y="9252"/>
                    <a:pt x="3311" y="9222"/>
                  </a:cubicBezTo>
                  <a:cubicBezTo>
                    <a:pt x="3311" y="9211"/>
                    <a:pt x="3313" y="9199"/>
                    <a:pt x="3318" y="9186"/>
                  </a:cubicBezTo>
                  <a:cubicBezTo>
                    <a:pt x="3327" y="9151"/>
                    <a:pt x="3332" y="9129"/>
                    <a:pt x="3334" y="9120"/>
                  </a:cubicBezTo>
                  <a:cubicBezTo>
                    <a:pt x="3356" y="9127"/>
                    <a:pt x="3381" y="9160"/>
                    <a:pt x="3408" y="9218"/>
                  </a:cubicBezTo>
                  <a:cubicBezTo>
                    <a:pt x="3437" y="9279"/>
                    <a:pt x="3451" y="9335"/>
                    <a:pt x="3451" y="9385"/>
                  </a:cubicBezTo>
                  <a:cubicBezTo>
                    <a:pt x="3450" y="9407"/>
                    <a:pt x="3437" y="9433"/>
                    <a:pt x="3413" y="9463"/>
                  </a:cubicBezTo>
                  <a:cubicBezTo>
                    <a:pt x="3403" y="9481"/>
                    <a:pt x="3388" y="9499"/>
                    <a:pt x="3370" y="9519"/>
                  </a:cubicBezTo>
                  <a:cubicBezTo>
                    <a:pt x="3354" y="9543"/>
                    <a:pt x="3349" y="9564"/>
                    <a:pt x="3354" y="9581"/>
                  </a:cubicBezTo>
                  <a:cubicBezTo>
                    <a:pt x="3347" y="9675"/>
                    <a:pt x="3345" y="9734"/>
                    <a:pt x="3347" y="9758"/>
                  </a:cubicBezTo>
                  <a:cubicBezTo>
                    <a:pt x="3352" y="9832"/>
                    <a:pt x="3365" y="9889"/>
                    <a:pt x="3387" y="9931"/>
                  </a:cubicBezTo>
                  <a:cubicBezTo>
                    <a:pt x="3396" y="9948"/>
                    <a:pt x="3402" y="9980"/>
                    <a:pt x="3405" y="10026"/>
                  </a:cubicBezTo>
                  <a:cubicBezTo>
                    <a:pt x="3409" y="10067"/>
                    <a:pt x="3416" y="10095"/>
                    <a:pt x="3426" y="10110"/>
                  </a:cubicBezTo>
                  <a:cubicBezTo>
                    <a:pt x="3433" y="10119"/>
                    <a:pt x="3456" y="10138"/>
                    <a:pt x="3495" y="10166"/>
                  </a:cubicBezTo>
                  <a:cubicBezTo>
                    <a:pt x="3522" y="10201"/>
                    <a:pt x="3541" y="10218"/>
                    <a:pt x="3551" y="10218"/>
                  </a:cubicBezTo>
                  <a:cubicBezTo>
                    <a:pt x="3575" y="10218"/>
                    <a:pt x="3595" y="10210"/>
                    <a:pt x="3610" y="10192"/>
                  </a:cubicBezTo>
                  <a:cubicBezTo>
                    <a:pt x="3627" y="10170"/>
                    <a:pt x="3641" y="10155"/>
                    <a:pt x="3651" y="10146"/>
                  </a:cubicBezTo>
                  <a:cubicBezTo>
                    <a:pt x="3668" y="10188"/>
                    <a:pt x="3684" y="10213"/>
                    <a:pt x="3697" y="10222"/>
                  </a:cubicBezTo>
                  <a:cubicBezTo>
                    <a:pt x="3725" y="10237"/>
                    <a:pt x="3745" y="10268"/>
                    <a:pt x="3759" y="10316"/>
                  </a:cubicBezTo>
                  <a:lnTo>
                    <a:pt x="3761" y="10346"/>
                  </a:lnTo>
                  <a:lnTo>
                    <a:pt x="3866" y="10349"/>
                  </a:lnTo>
                  <a:cubicBezTo>
                    <a:pt x="3878" y="10386"/>
                    <a:pt x="3893" y="10445"/>
                    <a:pt x="3910" y="10526"/>
                  </a:cubicBezTo>
                  <a:cubicBezTo>
                    <a:pt x="3932" y="10604"/>
                    <a:pt x="3957" y="10666"/>
                    <a:pt x="3987" y="10712"/>
                  </a:cubicBezTo>
                  <a:cubicBezTo>
                    <a:pt x="4055" y="10814"/>
                    <a:pt x="4097" y="10885"/>
                    <a:pt x="4115" y="10924"/>
                  </a:cubicBezTo>
                  <a:cubicBezTo>
                    <a:pt x="4147" y="10994"/>
                    <a:pt x="4163" y="11070"/>
                    <a:pt x="4163" y="11153"/>
                  </a:cubicBezTo>
                  <a:cubicBezTo>
                    <a:pt x="4163" y="11203"/>
                    <a:pt x="4143" y="11273"/>
                    <a:pt x="4102" y="11362"/>
                  </a:cubicBezTo>
                  <a:cubicBezTo>
                    <a:pt x="4061" y="11445"/>
                    <a:pt x="4027" y="11497"/>
                    <a:pt x="3999" y="11519"/>
                  </a:cubicBezTo>
                  <a:cubicBezTo>
                    <a:pt x="3972" y="11539"/>
                    <a:pt x="3928" y="11566"/>
                    <a:pt x="3869" y="11601"/>
                  </a:cubicBezTo>
                  <a:cubicBezTo>
                    <a:pt x="3865" y="11603"/>
                    <a:pt x="3847" y="11625"/>
                    <a:pt x="3812" y="11666"/>
                  </a:cubicBezTo>
                  <a:cubicBezTo>
                    <a:pt x="3783" y="11699"/>
                    <a:pt x="3761" y="11715"/>
                    <a:pt x="3746" y="11715"/>
                  </a:cubicBezTo>
                  <a:cubicBezTo>
                    <a:pt x="3678" y="11715"/>
                    <a:pt x="3633" y="11597"/>
                    <a:pt x="3613" y="11362"/>
                  </a:cubicBezTo>
                  <a:cubicBezTo>
                    <a:pt x="3589" y="11146"/>
                    <a:pt x="3548" y="10994"/>
                    <a:pt x="3490" y="10905"/>
                  </a:cubicBezTo>
                  <a:cubicBezTo>
                    <a:pt x="3442" y="10830"/>
                    <a:pt x="3364" y="10726"/>
                    <a:pt x="3254" y="10591"/>
                  </a:cubicBezTo>
                  <a:cubicBezTo>
                    <a:pt x="3147" y="10458"/>
                    <a:pt x="3077" y="10371"/>
                    <a:pt x="3044" y="10329"/>
                  </a:cubicBezTo>
                  <a:cubicBezTo>
                    <a:pt x="3005" y="10244"/>
                    <a:pt x="2973" y="10183"/>
                    <a:pt x="2947" y="10146"/>
                  </a:cubicBezTo>
                  <a:cubicBezTo>
                    <a:pt x="2879" y="10053"/>
                    <a:pt x="2844" y="10005"/>
                    <a:pt x="2842" y="10003"/>
                  </a:cubicBezTo>
                  <a:cubicBezTo>
                    <a:pt x="2810" y="9966"/>
                    <a:pt x="2777" y="9943"/>
                    <a:pt x="2745" y="9934"/>
                  </a:cubicBezTo>
                  <a:cubicBezTo>
                    <a:pt x="2721" y="9927"/>
                    <a:pt x="2700" y="9892"/>
                    <a:pt x="2681" y="9826"/>
                  </a:cubicBezTo>
                  <a:cubicBezTo>
                    <a:pt x="2662" y="9756"/>
                    <a:pt x="2649" y="9718"/>
                    <a:pt x="2643" y="9712"/>
                  </a:cubicBezTo>
                  <a:cubicBezTo>
                    <a:pt x="2637" y="9707"/>
                    <a:pt x="2626" y="9703"/>
                    <a:pt x="2609" y="9699"/>
                  </a:cubicBezTo>
                  <a:cubicBezTo>
                    <a:pt x="2594" y="9697"/>
                    <a:pt x="2585" y="9691"/>
                    <a:pt x="2581" y="9682"/>
                  </a:cubicBezTo>
                  <a:cubicBezTo>
                    <a:pt x="2583" y="9639"/>
                    <a:pt x="2582" y="9608"/>
                    <a:pt x="2579" y="9591"/>
                  </a:cubicBezTo>
                  <a:cubicBezTo>
                    <a:pt x="2572" y="9569"/>
                    <a:pt x="2555" y="9556"/>
                    <a:pt x="2527" y="9552"/>
                  </a:cubicBezTo>
                  <a:cubicBezTo>
                    <a:pt x="2497" y="9554"/>
                    <a:pt x="2474" y="9553"/>
                    <a:pt x="2461" y="9548"/>
                  </a:cubicBezTo>
                  <a:cubicBezTo>
                    <a:pt x="2442" y="9542"/>
                    <a:pt x="2429" y="9511"/>
                    <a:pt x="2422" y="9457"/>
                  </a:cubicBezTo>
                  <a:cubicBezTo>
                    <a:pt x="2421" y="9400"/>
                    <a:pt x="2417" y="9367"/>
                    <a:pt x="2412" y="9356"/>
                  </a:cubicBezTo>
                  <a:cubicBezTo>
                    <a:pt x="2410" y="9353"/>
                    <a:pt x="2384" y="9320"/>
                    <a:pt x="2333" y="9254"/>
                  </a:cubicBezTo>
                  <a:cubicBezTo>
                    <a:pt x="2292" y="9206"/>
                    <a:pt x="2272" y="9151"/>
                    <a:pt x="2274" y="9088"/>
                  </a:cubicBezTo>
                  <a:cubicBezTo>
                    <a:pt x="2274" y="9079"/>
                    <a:pt x="2310" y="8958"/>
                    <a:pt x="2381" y="8725"/>
                  </a:cubicBezTo>
                  <a:cubicBezTo>
                    <a:pt x="2392" y="8697"/>
                    <a:pt x="2404" y="8626"/>
                    <a:pt x="2417" y="8513"/>
                  </a:cubicBezTo>
                  <a:cubicBezTo>
                    <a:pt x="2431" y="8410"/>
                    <a:pt x="2438" y="8347"/>
                    <a:pt x="2438" y="8323"/>
                  </a:cubicBezTo>
                  <a:cubicBezTo>
                    <a:pt x="2439" y="8199"/>
                    <a:pt x="2428" y="8096"/>
                    <a:pt x="2402" y="8016"/>
                  </a:cubicBezTo>
                  <a:cubicBezTo>
                    <a:pt x="2381" y="7944"/>
                    <a:pt x="2346" y="7872"/>
                    <a:pt x="2294" y="7800"/>
                  </a:cubicBezTo>
                  <a:cubicBezTo>
                    <a:pt x="2289" y="7794"/>
                    <a:pt x="2281" y="7769"/>
                    <a:pt x="2269" y="7725"/>
                  </a:cubicBezTo>
                  <a:cubicBezTo>
                    <a:pt x="2257" y="7688"/>
                    <a:pt x="2250" y="7665"/>
                    <a:pt x="2248" y="7656"/>
                  </a:cubicBezTo>
                  <a:cubicBezTo>
                    <a:pt x="2243" y="7654"/>
                    <a:pt x="2230" y="7653"/>
                    <a:pt x="2207" y="7653"/>
                  </a:cubicBezTo>
                  <a:cubicBezTo>
                    <a:pt x="2182" y="7653"/>
                    <a:pt x="2166" y="7651"/>
                    <a:pt x="2161" y="7647"/>
                  </a:cubicBezTo>
                  <a:cubicBezTo>
                    <a:pt x="2108" y="7601"/>
                    <a:pt x="2051" y="7518"/>
                    <a:pt x="1990" y="7398"/>
                  </a:cubicBezTo>
                  <a:cubicBezTo>
                    <a:pt x="1956" y="7324"/>
                    <a:pt x="1938" y="7286"/>
                    <a:pt x="1936" y="7284"/>
                  </a:cubicBezTo>
                  <a:cubicBezTo>
                    <a:pt x="1919" y="7256"/>
                    <a:pt x="1890" y="7223"/>
                    <a:pt x="1849" y="7186"/>
                  </a:cubicBezTo>
                  <a:cubicBezTo>
                    <a:pt x="1832" y="7173"/>
                    <a:pt x="1822" y="7156"/>
                    <a:pt x="1818" y="7137"/>
                  </a:cubicBezTo>
                  <a:cubicBezTo>
                    <a:pt x="1818" y="7115"/>
                    <a:pt x="1818" y="7096"/>
                    <a:pt x="1818" y="7081"/>
                  </a:cubicBezTo>
                  <a:cubicBezTo>
                    <a:pt x="1818" y="7068"/>
                    <a:pt x="1813" y="7037"/>
                    <a:pt x="1803" y="6987"/>
                  </a:cubicBezTo>
                  <a:cubicBezTo>
                    <a:pt x="1793" y="6939"/>
                    <a:pt x="1788" y="6910"/>
                    <a:pt x="1788" y="6901"/>
                  </a:cubicBezTo>
                  <a:cubicBezTo>
                    <a:pt x="1788" y="6882"/>
                    <a:pt x="1799" y="6861"/>
                    <a:pt x="1821" y="6839"/>
                  </a:cubicBezTo>
                  <a:cubicBezTo>
                    <a:pt x="1845" y="6820"/>
                    <a:pt x="1857" y="6808"/>
                    <a:pt x="1857" y="6803"/>
                  </a:cubicBezTo>
                  <a:cubicBezTo>
                    <a:pt x="1857" y="6793"/>
                    <a:pt x="1853" y="6777"/>
                    <a:pt x="1846" y="6758"/>
                  </a:cubicBezTo>
                  <a:cubicBezTo>
                    <a:pt x="1840" y="6736"/>
                    <a:pt x="1833" y="6725"/>
                    <a:pt x="1826" y="6725"/>
                  </a:cubicBezTo>
                  <a:cubicBezTo>
                    <a:pt x="1807" y="6723"/>
                    <a:pt x="1775" y="6756"/>
                    <a:pt x="1729" y="6823"/>
                  </a:cubicBezTo>
                  <a:cubicBezTo>
                    <a:pt x="1686" y="6886"/>
                    <a:pt x="1663" y="6918"/>
                    <a:pt x="1660" y="6918"/>
                  </a:cubicBezTo>
                  <a:cubicBezTo>
                    <a:pt x="1653" y="6918"/>
                    <a:pt x="1639" y="6907"/>
                    <a:pt x="1619" y="6885"/>
                  </a:cubicBezTo>
                  <a:cubicBezTo>
                    <a:pt x="1598" y="6861"/>
                    <a:pt x="1584" y="6849"/>
                    <a:pt x="1578" y="6849"/>
                  </a:cubicBezTo>
                  <a:cubicBezTo>
                    <a:pt x="1554" y="6849"/>
                    <a:pt x="1533" y="6870"/>
                    <a:pt x="1516" y="6911"/>
                  </a:cubicBezTo>
                  <a:cubicBezTo>
                    <a:pt x="1501" y="6948"/>
                    <a:pt x="1487" y="6967"/>
                    <a:pt x="1475" y="6967"/>
                  </a:cubicBezTo>
                  <a:cubicBezTo>
                    <a:pt x="1467" y="6967"/>
                    <a:pt x="1460" y="6952"/>
                    <a:pt x="1455" y="6921"/>
                  </a:cubicBezTo>
                  <a:cubicBezTo>
                    <a:pt x="1444" y="6889"/>
                    <a:pt x="1436" y="6871"/>
                    <a:pt x="1429" y="6869"/>
                  </a:cubicBezTo>
                  <a:cubicBezTo>
                    <a:pt x="1409" y="6865"/>
                    <a:pt x="1396" y="6859"/>
                    <a:pt x="1391" y="6853"/>
                  </a:cubicBezTo>
                  <a:cubicBezTo>
                    <a:pt x="1387" y="6846"/>
                    <a:pt x="1386" y="6832"/>
                    <a:pt x="1386" y="6810"/>
                  </a:cubicBezTo>
                  <a:cubicBezTo>
                    <a:pt x="1384" y="6806"/>
                    <a:pt x="1383" y="6802"/>
                    <a:pt x="1383" y="6800"/>
                  </a:cubicBezTo>
                  <a:lnTo>
                    <a:pt x="1386" y="6797"/>
                  </a:lnTo>
                  <a:cubicBezTo>
                    <a:pt x="1374" y="6712"/>
                    <a:pt x="1359" y="6659"/>
                    <a:pt x="1342" y="6637"/>
                  </a:cubicBezTo>
                  <a:cubicBezTo>
                    <a:pt x="1318" y="6602"/>
                    <a:pt x="1275" y="6587"/>
                    <a:pt x="1212" y="6591"/>
                  </a:cubicBezTo>
                  <a:cubicBezTo>
                    <a:pt x="1172" y="6591"/>
                    <a:pt x="1151" y="6553"/>
                    <a:pt x="1148" y="6477"/>
                  </a:cubicBezTo>
                  <a:cubicBezTo>
                    <a:pt x="1142" y="6398"/>
                    <a:pt x="1121" y="6358"/>
                    <a:pt x="1084" y="6356"/>
                  </a:cubicBezTo>
                  <a:cubicBezTo>
                    <a:pt x="1068" y="6362"/>
                    <a:pt x="1057" y="6366"/>
                    <a:pt x="1050" y="6366"/>
                  </a:cubicBezTo>
                  <a:cubicBezTo>
                    <a:pt x="1030" y="6366"/>
                    <a:pt x="1000" y="6349"/>
                    <a:pt x="961" y="6317"/>
                  </a:cubicBezTo>
                  <a:cubicBezTo>
                    <a:pt x="918" y="6288"/>
                    <a:pt x="898" y="6261"/>
                    <a:pt x="899" y="6235"/>
                  </a:cubicBezTo>
                  <a:cubicBezTo>
                    <a:pt x="913" y="6159"/>
                    <a:pt x="921" y="6115"/>
                    <a:pt x="922" y="6104"/>
                  </a:cubicBezTo>
                  <a:cubicBezTo>
                    <a:pt x="922" y="6058"/>
                    <a:pt x="911" y="6013"/>
                    <a:pt x="889" y="5967"/>
                  </a:cubicBezTo>
                  <a:cubicBezTo>
                    <a:pt x="855" y="5908"/>
                    <a:pt x="826" y="5857"/>
                    <a:pt x="802" y="5813"/>
                  </a:cubicBezTo>
                  <a:cubicBezTo>
                    <a:pt x="785" y="5783"/>
                    <a:pt x="738" y="5731"/>
                    <a:pt x="661" y="5656"/>
                  </a:cubicBezTo>
                  <a:cubicBezTo>
                    <a:pt x="600" y="5600"/>
                    <a:pt x="572" y="5550"/>
                    <a:pt x="577" y="5506"/>
                  </a:cubicBezTo>
                  <a:cubicBezTo>
                    <a:pt x="590" y="5506"/>
                    <a:pt x="601" y="5504"/>
                    <a:pt x="607" y="5500"/>
                  </a:cubicBezTo>
                  <a:cubicBezTo>
                    <a:pt x="614" y="5495"/>
                    <a:pt x="624" y="5494"/>
                    <a:pt x="636" y="5496"/>
                  </a:cubicBezTo>
                  <a:cubicBezTo>
                    <a:pt x="656" y="5496"/>
                    <a:pt x="699" y="5518"/>
                    <a:pt x="764" y="5562"/>
                  </a:cubicBezTo>
                  <a:cubicBezTo>
                    <a:pt x="828" y="5610"/>
                    <a:pt x="883" y="5635"/>
                    <a:pt x="927" y="5637"/>
                  </a:cubicBezTo>
                  <a:cubicBezTo>
                    <a:pt x="962" y="5635"/>
                    <a:pt x="1017" y="5621"/>
                    <a:pt x="1094" y="5594"/>
                  </a:cubicBezTo>
                  <a:cubicBezTo>
                    <a:pt x="1102" y="5594"/>
                    <a:pt x="1112" y="5624"/>
                    <a:pt x="1122" y="5683"/>
                  </a:cubicBezTo>
                  <a:cubicBezTo>
                    <a:pt x="1127" y="5748"/>
                    <a:pt x="1148" y="5783"/>
                    <a:pt x="1186" y="5787"/>
                  </a:cubicBezTo>
                  <a:cubicBezTo>
                    <a:pt x="1183" y="5805"/>
                    <a:pt x="1185" y="5831"/>
                    <a:pt x="1194" y="5866"/>
                  </a:cubicBezTo>
                  <a:cubicBezTo>
                    <a:pt x="1206" y="5903"/>
                    <a:pt x="1217" y="5922"/>
                    <a:pt x="1227" y="5924"/>
                  </a:cubicBezTo>
                  <a:lnTo>
                    <a:pt x="1334" y="5921"/>
                  </a:lnTo>
                  <a:cubicBezTo>
                    <a:pt x="1348" y="5991"/>
                    <a:pt x="1364" y="6044"/>
                    <a:pt x="1383" y="6081"/>
                  </a:cubicBezTo>
                  <a:lnTo>
                    <a:pt x="1386" y="6078"/>
                  </a:lnTo>
                  <a:cubicBezTo>
                    <a:pt x="1421" y="5902"/>
                    <a:pt x="1440" y="5790"/>
                    <a:pt x="1442" y="5745"/>
                  </a:cubicBezTo>
                  <a:cubicBezTo>
                    <a:pt x="1432" y="5706"/>
                    <a:pt x="1419" y="5668"/>
                    <a:pt x="1404" y="5634"/>
                  </a:cubicBezTo>
                  <a:cubicBezTo>
                    <a:pt x="1376" y="5564"/>
                    <a:pt x="1355" y="5529"/>
                    <a:pt x="1340" y="5529"/>
                  </a:cubicBezTo>
                  <a:cubicBezTo>
                    <a:pt x="1329" y="5533"/>
                    <a:pt x="1318" y="5540"/>
                    <a:pt x="1306" y="5549"/>
                  </a:cubicBezTo>
                  <a:cubicBezTo>
                    <a:pt x="1279" y="5566"/>
                    <a:pt x="1256" y="5575"/>
                    <a:pt x="1237" y="5575"/>
                  </a:cubicBezTo>
                  <a:cubicBezTo>
                    <a:pt x="1212" y="5573"/>
                    <a:pt x="1199" y="5555"/>
                    <a:pt x="1199" y="5523"/>
                  </a:cubicBezTo>
                  <a:cubicBezTo>
                    <a:pt x="1199" y="5475"/>
                    <a:pt x="1227" y="5433"/>
                    <a:pt x="1283" y="5398"/>
                  </a:cubicBezTo>
                  <a:cubicBezTo>
                    <a:pt x="1343" y="5366"/>
                    <a:pt x="1373" y="5338"/>
                    <a:pt x="1373" y="5317"/>
                  </a:cubicBezTo>
                  <a:cubicBezTo>
                    <a:pt x="1364" y="5273"/>
                    <a:pt x="1360" y="5239"/>
                    <a:pt x="1360" y="5215"/>
                  </a:cubicBezTo>
                  <a:cubicBezTo>
                    <a:pt x="1360" y="5198"/>
                    <a:pt x="1360" y="5185"/>
                    <a:pt x="1360" y="5176"/>
                  </a:cubicBezTo>
                  <a:cubicBezTo>
                    <a:pt x="1363" y="5163"/>
                    <a:pt x="1373" y="5126"/>
                    <a:pt x="1388" y="5065"/>
                  </a:cubicBezTo>
                  <a:cubicBezTo>
                    <a:pt x="1402" y="5006"/>
                    <a:pt x="1409" y="4976"/>
                    <a:pt x="1409" y="4973"/>
                  </a:cubicBezTo>
                  <a:cubicBezTo>
                    <a:pt x="1409" y="4958"/>
                    <a:pt x="1399" y="4935"/>
                    <a:pt x="1380" y="4905"/>
                  </a:cubicBezTo>
                  <a:cubicBezTo>
                    <a:pt x="1357" y="4874"/>
                    <a:pt x="1342" y="4855"/>
                    <a:pt x="1337" y="4846"/>
                  </a:cubicBezTo>
                  <a:cubicBezTo>
                    <a:pt x="1328" y="4826"/>
                    <a:pt x="1322" y="4800"/>
                    <a:pt x="1316" y="4768"/>
                  </a:cubicBezTo>
                  <a:cubicBezTo>
                    <a:pt x="1315" y="4739"/>
                    <a:pt x="1308" y="4714"/>
                    <a:pt x="1296" y="4692"/>
                  </a:cubicBezTo>
                  <a:cubicBezTo>
                    <a:pt x="1274" y="4651"/>
                    <a:pt x="1261" y="4627"/>
                    <a:pt x="1258" y="4621"/>
                  </a:cubicBezTo>
                  <a:cubicBezTo>
                    <a:pt x="1244" y="4592"/>
                    <a:pt x="1235" y="4563"/>
                    <a:pt x="1229" y="4532"/>
                  </a:cubicBezTo>
                  <a:cubicBezTo>
                    <a:pt x="1226" y="4502"/>
                    <a:pt x="1211" y="4459"/>
                    <a:pt x="1183" y="4405"/>
                  </a:cubicBezTo>
                  <a:cubicBezTo>
                    <a:pt x="1153" y="4344"/>
                    <a:pt x="1120" y="4290"/>
                    <a:pt x="1086" y="4242"/>
                  </a:cubicBezTo>
                  <a:cubicBezTo>
                    <a:pt x="1079" y="4231"/>
                    <a:pt x="1031" y="4169"/>
                    <a:pt x="943" y="4055"/>
                  </a:cubicBezTo>
                  <a:cubicBezTo>
                    <a:pt x="907" y="4020"/>
                    <a:pt x="890" y="3976"/>
                    <a:pt x="892" y="3921"/>
                  </a:cubicBezTo>
                  <a:cubicBezTo>
                    <a:pt x="892" y="3878"/>
                    <a:pt x="863" y="3821"/>
                    <a:pt x="807" y="3751"/>
                  </a:cubicBezTo>
                  <a:cubicBezTo>
                    <a:pt x="741" y="3677"/>
                    <a:pt x="696" y="3624"/>
                    <a:pt x="674" y="3591"/>
                  </a:cubicBezTo>
                  <a:lnTo>
                    <a:pt x="671" y="3588"/>
                  </a:lnTo>
                  <a:cubicBezTo>
                    <a:pt x="644" y="3551"/>
                    <a:pt x="599" y="3494"/>
                    <a:pt x="536" y="3418"/>
                  </a:cubicBezTo>
                  <a:cubicBezTo>
                    <a:pt x="502" y="3379"/>
                    <a:pt x="485" y="3347"/>
                    <a:pt x="485" y="3323"/>
                  </a:cubicBezTo>
                  <a:cubicBezTo>
                    <a:pt x="486" y="3275"/>
                    <a:pt x="485" y="3239"/>
                    <a:pt x="479" y="3216"/>
                  </a:cubicBezTo>
                  <a:cubicBezTo>
                    <a:pt x="478" y="3213"/>
                    <a:pt x="467" y="3196"/>
                    <a:pt x="446" y="3163"/>
                  </a:cubicBezTo>
                  <a:cubicBezTo>
                    <a:pt x="431" y="3135"/>
                    <a:pt x="423" y="3116"/>
                    <a:pt x="423" y="3108"/>
                  </a:cubicBezTo>
                  <a:cubicBezTo>
                    <a:pt x="456" y="3003"/>
                    <a:pt x="474" y="2936"/>
                    <a:pt x="479" y="2905"/>
                  </a:cubicBezTo>
                  <a:cubicBezTo>
                    <a:pt x="483" y="2846"/>
                    <a:pt x="484" y="2799"/>
                    <a:pt x="482" y="2765"/>
                  </a:cubicBezTo>
                  <a:cubicBezTo>
                    <a:pt x="482" y="2699"/>
                    <a:pt x="478" y="2654"/>
                    <a:pt x="469" y="2631"/>
                  </a:cubicBezTo>
                  <a:cubicBezTo>
                    <a:pt x="461" y="2609"/>
                    <a:pt x="456" y="2595"/>
                    <a:pt x="454" y="2588"/>
                  </a:cubicBezTo>
                  <a:cubicBezTo>
                    <a:pt x="447" y="2575"/>
                    <a:pt x="438" y="2566"/>
                    <a:pt x="426" y="2562"/>
                  </a:cubicBezTo>
                  <a:cubicBezTo>
                    <a:pt x="369" y="2534"/>
                    <a:pt x="341" y="2518"/>
                    <a:pt x="341" y="2516"/>
                  </a:cubicBezTo>
                  <a:cubicBezTo>
                    <a:pt x="341" y="2514"/>
                    <a:pt x="351" y="2477"/>
                    <a:pt x="369" y="2405"/>
                  </a:cubicBezTo>
                  <a:cubicBezTo>
                    <a:pt x="390" y="2338"/>
                    <a:pt x="400" y="2269"/>
                    <a:pt x="400" y="2199"/>
                  </a:cubicBezTo>
                  <a:lnTo>
                    <a:pt x="403" y="2131"/>
                  </a:lnTo>
                  <a:cubicBezTo>
                    <a:pt x="392" y="2098"/>
                    <a:pt x="364" y="2050"/>
                    <a:pt x="318" y="1987"/>
                  </a:cubicBezTo>
                  <a:cubicBezTo>
                    <a:pt x="270" y="1921"/>
                    <a:pt x="246" y="1880"/>
                    <a:pt x="246" y="1863"/>
                  </a:cubicBezTo>
                  <a:cubicBezTo>
                    <a:pt x="246" y="1845"/>
                    <a:pt x="256" y="1814"/>
                    <a:pt x="275" y="1768"/>
                  </a:cubicBezTo>
                  <a:cubicBezTo>
                    <a:pt x="295" y="1724"/>
                    <a:pt x="305" y="1695"/>
                    <a:pt x="305" y="1680"/>
                  </a:cubicBezTo>
                  <a:cubicBezTo>
                    <a:pt x="307" y="1627"/>
                    <a:pt x="295" y="1564"/>
                    <a:pt x="269" y="1490"/>
                  </a:cubicBezTo>
                  <a:cubicBezTo>
                    <a:pt x="259" y="1462"/>
                    <a:pt x="238" y="1420"/>
                    <a:pt x="205" y="1366"/>
                  </a:cubicBezTo>
                  <a:cubicBezTo>
                    <a:pt x="175" y="1316"/>
                    <a:pt x="156" y="1289"/>
                    <a:pt x="149" y="1284"/>
                  </a:cubicBezTo>
                  <a:lnTo>
                    <a:pt x="147" y="1209"/>
                  </a:lnTo>
                  <a:cubicBezTo>
                    <a:pt x="147" y="1200"/>
                    <a:pt x="146" y="1181"/>
                    <a:pt x="144" y="1150"/>
                  </a:cubicBezTo>
                  <a:lnTo>
                    <a:pt x="144" y="1108"/>
                  </a:lnTo>
                  <a:cubicBezTo>
                    <a:pt x="146" y="1058"/>
                    <a:pt x="161" y="1016"/>
                    <a:pt x="190" y="984"/>
                  </a:cubicBezTo>
                  <a:cubicBezTo>
                    <a:pt x="221" y="953"/>
                    <a:pt x="236" y="934"/>
                    <a:pt x="236" y="928"/>
                  </a:cubicBezTo>
                  <a:cubicBezTo>
                    <a:pt x="236" y="880"/>
                    <a:pt x="211" y="831"/>
                    <a:pt x="159" y="781"/>
                  </a:cubicBezTo>
                  <a:cubicBezTo>
                    <a:pt x="105" y="735"/>
                    <a:pt x="78" y="697"/>
                    <a:pt x="80" y="667"/>
                  </a:cubicBezTo>
                  <a:cubicBezTo>
                    <a:pt x="83" y="630"/>
                    <a:pt x="85" y="599"/>
                    <a:pt x="85" y="575"/>
                  </a:cubicBezTo>
                  <a:cubicBezTo>
                    <a:pt x="85" y="473"/>
                    <a:pt x="79" y="412"/>
                    <a:pt x="67" y="392"/>
                  </a:cubicBezTo>
                  <a:cubicBezTo>
                    <a:pt x="35" y="320"/>
                    <a:pt x="15" y="271"/>
                    <a:pt x="8" y="245"/>
                  </a:cubicBezTo>
                  <a:cubicBezTo>
                    <a:pt x="2" y="219"/>
                    <a:pt x="-1" y="182"/>
                    <a:pt x="1" y="134"/>
                  </a:cubicBezTo>
                  <a:lnTo>
                    <a:pt x="1" y="59"/>
                  </a:lnTo>
                  <a:cubicBezTo>
                    <a:pt x="1" y="37"/>
                    <a:pt x="1" y="17"/>
                    <a:pt x="1" y="0"/>
                  </a:cubicBezTo>
                  <a:lnTo>
                    <a:pt x="1667" y="327"/>
                  </a:lnTo>
                  <a:lnTo>
                    <a:pt x="1544" y="510"/>
                  </a:lnTo>
                  <a:lnTo>
                    <a:pt x="3999" y="2480"/>
                  </a:lnTo>
                  <a:lnTo>
                    <a:pt x="5351" y="2742"/>
                  </a:lnTo>
                  <a:lnTo>
                    <a:pt x="5937" y="2856"/>
                  </a:lnTo>
                  <a:lnTo>
                    <a:pt x="6024" y="2340"/>
                  </a:lnTo>
                  <a:lnTo>
                    <a:pt x="7161" y="2542"/>
                  </a:lnTo>
                  <a:lnTo>
                    <a:pt x="7250" y="2627"/>
                  </a:lnTo>
                  <a:cubicBezTo>
                    <a:pt x="7308" y="2697"/>
                    <a:pt x="7340" y="2772"/>
                    <a:pt x="7345" y="2853"/>
                  </a:cubicBezTo>
                  <a:cubicBezTo>
                    <a:pt x="7347" y="2929"/>
                    <a:pt x="7388" y="2995"/>
                    <a:pt x="7468" y="3052"/>
                  </a:cubicBezTo>
                  <a:cubicBezTo>
                    <a:pt x="7569" y="3122"/>
                    <a:pt x="7624" y="3165"/>
                    <a:pt x="7634" y="3183"/>
                  </a:cubicBezTo>
                  <a:cubicBezTo>
                    <a:pt x="7652" y="3222"/>
                    <a:pt x="7686" y="3290"/>
                    <a:pt x="7737" y="3385"/>
                  </a:cubicBezTo>
                  <a:cubicBezTo>
                    <a:pt x="7781" y="3475"/>
                    <a:pt x="7812" y="3539"/>
                    <a:pt x="7829" y="3578"/>
                  </a:cubicBezTo>
                  <a:cubicBezTo>
                    <a:pt x="7844" y="3620"/>
                    <a:pt x="7907" y="3694"/>
                    <a:pt x="8016" y="3800"/>
                  </a:cubicBezTo>
                  <a:cubicBezTo>
                    <a:pt x="8127" y="3916"/>
                    <a:pt x="8189" y="3986"/>
                    <a:pt x="8203" y="4010"/>
                  </a:cubicBezTo>
                  <a:cubicBezTo>
                    <a:pt x="8216" y="4044"/>
                    <a:pt x="8226" y="4092"/>
                    <a:pt x="8231" y="4153"/>
                  </a:cubicBezTo>
                  <a:cubicBezTo>
                    <a:pt x="8238" y="4230"/>
                    <a:pt x="8246" y="4286"/>
                    <a:pt x="8257" y="4323"/>
                  </a:cubicBezTo>
                  <a:cubicBezTo>
                    <a:pt x="8265" y="4347"/>
                    <a:pt x="8282" y="4389"/>
                    <a:pt x="8308" y="4447"/>
                  </a:cubicBezTo>
                  <a:cubicBezTo>
                    <a:pt x="8323" y="4484"/>
                    <a:pt x="8329" y="4521"/>
                    <a:pt x="8326" y="4559"/>
                  </a:cubicBezTo>
                  <a:cubicBezTo>
                    <a:pt x="8305" y="4713"/>
                    <a:pt x="8315" y="4841"/>
                    <a:pt x="8356" y="4941"/>
                  </a:cubicBezTo>
                  <a:cubicBezTo>
                    <a:pt x="8409" y="5069"/>
                    <a:pt x="8478" y="5165"/>
                    <a:pt x="8564" y="5228"/>
                  </a:cubicBezTo>
                  <a:cubicBezTo>
                    <a:pt x="8596" y="5255"/>
                    <a:pt x="8628" y="5304"/>
                    <a:pt x="8658" y="5375"/>
                  </a:cubicBezTo>
                  <a:cubicBezTo>
                    <a:pt x="8687" y="5454"/>
                    <a:pt x="8710" y="5502"/>
                    <a:pt x="8728" y="5519"/>
                  </a:cubicBezTo>
                  <a:cubicBezTo>
                    <a:pt x="8751" y="5541"/>
                    <a:pt x="8781" y="5550"/>
                    <a:pt x="8817" y="5545"/>
                  </a:cubicBezTo>
                  <a:cubicBezTo>
                    <a:pt x="8855" y="5539"/>
                    <a:pt x="8875" y="5538"/>
                    <a:pt x="8879" y="5542"/>
                  </a:cubicBezTo>
                  <a:cubicBezTo>
                    <a:pt x="8892" y="5555"/>
                    <a:pt x="8914" y="5601"/>
                    <a:pt x="8945" y="5679"/>
                  </a:cubicBezTo>
                  <a:lnTo>
                    <a:pt x="9012" y="5683"/>
                  </a:lnTo>
                  <a:cubicBezTo>
                    <a:pt x="9054" y="5685"/>
                    <a:pt x="9077" y="5696"/>
                    <a:pt x="9078" y="5715"/>
                  </a:cubicBezTo>
                  <a:cubicBezTo>
                    <a:pt x="9083" y="5746"/>
                    <a:pt x="9098" y="5779"/>
                    <a:pt x="9122" y="5813"/>
                  </a:cubicBezTo>
                  <a:cubicBezTo>
                    <a:pt x="9151" y="5857"/>
                    <a:pt x="9179" y="5885"/>
                    <a:pt x="9206" y="5898"/>
                  </a:cubicBezTo>
                  <a:cubicBezTo>
                    <a:pt x="9246" y="5909"/>
                    <a:pt x="9275" y="5915"/>
                    <a:pt x="9293" y="5915"/>
                  </a:cubicBezTo>
                  <a:cubicBezTo>
                    <a:pt x="9324" y="5910"/>
                    <a:pt x="9354" y="5884"/>
                    <a:pt x="9383" y="5836"/>
                  </a:cubicBezTo>
                  <a:cubicBezTo>
                    <a:pt x="9420" y="5775"/>
                    <a:pt x="9473" y="5682"/>
                    <a:pt x="9542" y="5555"/>
                  </a:cubicBezTo>
                  <a:cubicBezTo>
                    <a:pt x="9612" y="5424"/>
                    <a:pt x="9659" y="5328"/>
                    <a:pt x="9682" y="5264"/>
                  </a:cubicBezTo>
                  <a:cubicBezTo>
                    <a:pt x="9705" y="5210"/>
                    <a:pt x="9733" y="5171"/>
                    <a:pt x="9767" y="5147"/>
                  </a:cubicBezTo>
                  <a:cubicBezTo>
                    <a:pt x="9786" y="5136"/>
                    <a:pt x="9819" y="5125"/>
                    <a:pt x="9867" y="5114"/>
                  </a:cubicBezTo>
                  <a:cubicBezTo>
                    <a:pt x="9915" y="5105"/>
                    <a:pt x="9967" y="5064"/>
                    <a:pt x="10023" y="4990"/>
                  </a:cubicBezTo>
                  <a:lnTo>
                    <a:pt x="10156" y="5124"/>
                  </a:lnTo>
                  <a:lnTo>
                    <a:pt x="10246" y="5108"/>
                  </a:lnTo>
                  <a:cubicBezTo>
                    <a:pt x="10309" y="5099"/>
                    <a:pt x="10350" y="5100"/>
                    <a:pt x="10368" y="5111"/>
                  </a:cubicBezTo>
                  <a:cubicBezTo>
                    <a:pt x="10399" y="5130"/>
                    <a:pt x="10424" y="5155"/>
                    <a:pt x="10443" y="5186"/>
                  </a:cubicBezTo>
                  <a:lnTo>
                    <a:pt x="10560" y="5111"/>
                  </a:lnTo>
                  <a:lnTo>
                    <a:pt x="10609" y="5186"/>
                  </a:lnTo>
                  <a:cubicBezTo>
                    <a:pt x="10647" y="5236"/>
                    <a:pt x="10672" y="5281"/>
                    <a:pt x="10686" y="5320"/>
                  </a:cubicBezTo>
                  <a:cubicBezTo>
                    <a:pt x="10701" y="5355"/>
                    <a:pt x="10747" y="5419"/>
                    <a:pt x="10822" y="5513"/>
                  </a:cubicBezTo>
                  <a:cubicBezTo>
                    <a:pt x="10880" y="5585"/>
                    <a:pt x="10928" y="5640"/>
                    <a:pt x="10967" y="5679"/>
                  </a:cubicBezTo>
                  <a:cubicBezTo>
                    <a:pt x="10988" y="5706"/>
                    <a:pt x="11011" y="5750"/>
                    <a:pt x="11037" y="5813"/>
                  </a:cubicBezTo>
                  <a:cubicBezTo>
                    <a:pt x="11049" y="5848"/>
                    <a:pt x="11064" y="5896"/>
                    <a:pt x="11083" y="5957"/>
                  </a:cubicBezTo>
                  <a:cubicBezTo>
                    <a:pt x="11091" y="5977"/>
                    <a:pt x="11111" y="6009"/>
                    <a:pt x="11142" y="6055"/>
                  </a:cubicBezTo>
                  <a:cubicBezTo>
                    <a:pt x="11174" y="6114"/>
                    <a:pt x="11197" y="6179"/>
                    <a:pt x="11211" y="6251"/>
                  </a:cubicBezTo>
                  <a:cubicBezTo>
                    <a:pt x="11224" y="6314"/>
                    <a:pt x="11247" y="6383"/>
                    <a:pt x="11277" y="6457"/>
                  </a:cubicBezTo>
                  <a:cubicBezTo>
                    <a:pt x="11306" y="6518"/>
                    <a:pt x="11322" y="6566"/>
                    <a:pt x="11326" y="6601"/>
                  </a:cubicBezTo>
                  <a:cubicBezTo>
                    <a:pt x="11333" y="6638"/>
                    <a:pt x="11339" y="6692"/>
                    <a:pt x="11344" y="6764"/>
                  </a:cubicBezTo>
                  <a:cubicBezTo>
                    <a:pt x="11347" y="6819"/>
                    <a:pt x="11357" y="6857"/>
                    <a:pt x="11375" y="6879"/>
                  </a:cubicBezTo>
                  <a:cubicBezTo>
                    <a:pt x="11410" y="6913"/>
                    <a:pt x="11456" y="6967"/>
                    <a:pt x="11510" y="7039"/>
                  </a:cubicBezTo>
                  <a:cubicBezTo>
                    <a:pt x="11587" y="7130"/>
                    <a:pt x="11632" y="7201"/>
                    <a:pt x="11646" y="7251"/>
                  </a:cubicBezTo>
                  <a:cubicBezTo>
                    <a:pt x="11654" y="7269"/>
                    <a:pt x="11675" y="7333"/>
                    <a:pt x="11707" y="7444"/>
                  </a:cubicBezTo>
                  <a:cubicBezTo>
                    <a:pt x="11731" y="7531"/>
                    <a:pt x="11749" y="7577"/>
                    <a:pt x="11761" y="7581"/>
                  </a:cubicBezTo>
                  <a:cubicBezTo>
                    <a:pt x="11773" y="7588"/>
                    <a:pt x="11803" y="7602"/>
                    <a:pt x="11851" y="7624"/>
                  </a:cubicBezTo>
                  <a:cubicBezTo>
                    <a:pt x="11892" y="7652"/>
                    <a:pt x="11910" y="7699"/>
                    <a:pt x="11907" y="7764"/>
                  </a:cubicBezTo>
                  <a:lnTo>
                    <a:pt x="11927" y="7826"/>
                  </a:lnTo>
                  <a:cubicBezTo>
                    <a:pt x="11938" y="7872"/>
                    <a:pt x="11933" y="7906"/>
                    <a:pt x="11915" y="7928"/>
                  </a:cubicBezTo>
                  <a:cubicBezTo>
                    <a:pt x="11899" y="7952"/>
                    <a:pt x="11903" y="7971"/>
                    <a:pt x="11925" y="7986"/>
                  </a:cubicBezTo>
                  <a:cubicBezTo>
                    <a:pt x="11949" y="8006"/>
                    <a:pt x="11961" y="8018"/>
                    <a:pt x="11961" y="8022"/>
                  </a:cubicBezTo>
                  <a:cubicBezTo>
                    <a:pt x="11961" y="8027"/>
                    <a:pt x="11956" y="8058"/>
                    <a:pt x="11948" y="8117"/>
                  </a:cubicBezTo>
                  <a:cubicBezTo>
                    <a:pt x="11943" y="8172"/>
                    <a:pt x="11941" y="8208"/>
                    <a:pt x="11943" y="8225"/>
                  </a:cubicBezTo>
                  <a:cubicBezTo>
                    <a:pt x="11945" y="8242"/>
                    <a:pt x="11971" y="8296"/>
                    <a:pt x="12022" y="8385"/>
                  </a:cubicBezTo>
                  <a:cubicBezTo>
                    <a:pt x="12075" y="8481"/>
                    <a:pt x="12106" y="8544"/>
                    <a:pt x="12114" y="8575"/>
                  </a:cubicBezTo>
                  <a:cubicBezTo>
                    <a:pt x="12131" y="8660"/>
                    <a:pt x="12139" y="8742"/>
                    <a:pt x="12137" y="8823"/>
                  </a:cubicBezTo>
                  <a:cubicBezTo>
                    <a:pt x="12139" y="8840"/>
                    <a:pt x="12149" y="8852"/>
                    <a:pt x="12168" y="8859"/>
                  </a:cubicBezTo>
                  <a:cubicBezTo>
                    <a:pt x="12189" y="8863"/>
                    <a:pt x="12199" y="8877"/>
                    <a:pt x="12199" y="8901"/>
                  </a:cubicBezTo>
                  <a:cubicBezTo>
                    <a:pt x="12197" y="8934"/>
                    <a:pt x="12203" y="8958"/>
                    <a:pt x="12217" y="8973"/>
                  </a:cubicBezTo>
                  <a:cubicBezTo>
                    <a:pt x="12227" y="8989"/>
                    <a:pt x="12244" y="8996"/>
                    <a:pt x="12268" y="8996"/>
                  </a:cubicBezTo>
                  <a:cubicBezTo>
                    <a:pt x="12352" y="8998"/>
                    <a:pt x="12404" y="9015"/>
                    <a:pt x="12427" y="9045"/>
                  </a:cubicBezTo>
                  <a:cubicBezTo>
                    <a:pt x="12437" y="9060"/>
                    <a:pt x="12452" y="9082"/>
                    <a:pt x="12473" y="9111"/>
                  </a:cubicBezTo>
                  <a:cubicBezTo>
                    <a:pt x="12486" y="9128"/>
                    <a:pt x="12500" y="9137"/>
                    <a:pt x="12514" y="9137"/>
                  </a:cubicBezTo>
                  <a:cubicBezTo>
                    <a:pt x="12526" y="9137"/>
                    <a:pt x="12551" y="9132"/>
                    <a:pt x="12590" y="9124"/>
                  </a:cubicBezTo>
                  <a:cubicBezTo>
                    <a:pt x="12626" y="9121"/>
                    <a:pt x="12649" y="9132"/>
                    <a:pt x="12660" y="9156"/>
                  </a:cubicBezTo>
                  <a:cubicBezTo>
                    <a:pt x="12672" y="9174"/>
                    <a:pt x="12694" y="9212"/>
                    <a:pt x="12726" y="9271"/>
                  </a:cubicBezTo>
                  <a:cubicBezTo>
                    <a:pt x="12755" y="9319"/>
                    <a:pt x="12785" y="9346"/>
                    <a:pt x="12816" y="9352"/>
                  </a:cubicBezTo>
                  <a:cubicBezTo>
                    <a:pt x="12864" y="9363"/>
                    <a:pt x="12978" y="9371"/>
                    <a:pt x="13159" y="9375"/>
                  </a:cubicBezTo>
                  <a:lnTo>
                    <a:pt x="13233" y="9431"/>
                  </a:lnTo>
                  <a:cubicBezTo>
                    <a:pt x="13288" y="9474"/>
                    <a:pt x="13322" y="9510"/>
                    <a:pt x="13335" y="9539"/>
                  </a:cubicBezTo>
                  <a:cubicBezTo>
                    <a:pt x="13351" y="9569"/>
                    <a:pt x="13372" y="9590"/>
                    <a:pt x="13399" y="9601"/>
                  </a:cubicBezTo>
                  <a:cubicBezTo>
                    <a:pt x="13425" y="9607"/>
                    <a:pt x="13446" y="9604"/>
                    <a:pt x="13461" y="9591"/>
                  </a:cubicBezTo>
                  <a:cubicBezTo>
                    <a:pt x="13531" y="9534"/>
                    <a:pt x="13579" y="9517"/>
                    <a:pt x="13607" y="9539"/>
                  </a:cubicBezTo>
                  <a:cubicBezTo>
                    <a:pt x="13614" y="9595"/>
                    <a:pt x="13617" y="9646"/>
                    <a:pt x="13617" y="9692"/>
                  </a:cubicBezTo>
                  <a:cubicBezTo>
                    <a:pt x="13615" y="9755"/>
                    <a:pt x="13593" y="9834"/>
                    <a:pt x="13550" y="9927"/>
                  </a:cubicBezTo>
                  <a:cubicBezTo>
                    <a:pt x="13527" y="9982"/>
                    <a:pt x="13494" y="10054"/>
                    <a:pt x="13453" y="10143"/>
                  </a:cubicBezTo>
                  <a:cubicBezTo>
                    <a:pt x="13443" y="10171"/>
                    <a:pt x="13426" y="10214"/>
                    <a:pt x="13402" y="10271"/>
                  </a:cubicBezTo>
                  <a:cubicBezTo>
                    <a:pt x="13385" y="10316"/>
                    <a:pt x="13372" y="10358"/>
                    <a:pt x="13364" y="10395"/>
                  </a:cubicBezTo>
                  <a:cubicBezTo>
                    <a:pt x="13357" y="10425"/>
                    <a:pt x="13348" y="10498"/>
                    <a:pt x="13338" y="10614"/>
                  </a:cubicBezTo>
                  <a:lnTo>
                    <a:pt x="13302" y="10614"/>
                  </a:lnTo>
                  <a:cubicBezTo>
                    <a:pt x="13306" y="10538"/>
                    <a:pt x="13314" y="10472"/>
                    <a:pt x="13328" y="10418"/>
                  </a:cubicBezTo>
                  <a:cubicBezTo>
                    <a:pt x="13338" y="10385"/>
                    <a:pt x="13355" y="10336"/>
                    <a:pt x="13379" y="10271"/>
                  </a:cubicBezTo>
                  <a:cubicBezTo>
                    <a:pt x="13394" y="10234"/>
                    <a:pt x="13402" y="10192"/>
                    <a:pt x="13402" y="10146"/>
                  </a:cubicBezTo>
                  <a:cubicBezTo>
                    <a:pt x="13402" y="10112"/>
                    <a:pt x="13392" y="10082"/>
                    <a:pt x="13371" y="10058"/>
                  </a:cubicBezTo>
                  <a:cubicBezTo>
                    <a:pt x="13351" y="10032"/>
                    <a:pt x="13328" y="10019"/>
                    <a:pt x="13302" y="10019"/>
                  </a:cubicBezTo>
                  <a:cubicBezTo>
                    <a:pt x="13292" y="10017"/>
                    <a:pt x="13287" y="10027"/>
                    <a:pt x="13287" y="10048"/>
                  </a:cubicBezTo>
                  <a:cubicBezTo>
                    <a:pt x="13287" y="10075"/>
                    <a:pt x="13294" y="10094"/>
                    <a:pt x="13307" y="10107"/>
                  </a:cubicBezTo>
                  <a:cubicBezTo>
                    <a:pt x="13321" y="10116"/>
                    <a:pt x="13328" y="10131"/>
                    <a:pt x="13328" y="10153"/>
                  </a:cubicBezTo>
                  <a:cubicBezTo>
                    <a:pt x="13328" y="10168"/>
                    <a:pt x="13320" y="10181"/>
                    <a:pt x="13305" y="10192"/>
                  </a:cubicBezTo>
                  <a:cubicBezTo>
                    <a:pt x="13293" y="10201"/>
                    <a:pt x="13281" y="10203"/>
                    <a:pt x="13269" y="10199"/>
                  </a:cubicBezTo>
                  <a:cubicBezTo>
                    <a:pt x="13259" y="10199"/>
                    <a:pt x="13250" y="10181"/>
                    <a:pt x="13243" y="10146"/>
                  </a:cubicBezTo>
                  <a:cubicBezTo>
                    <a:pt x="13236" y="10107"/>
                    <a:pt x="13222" y="10088"/>
                    <a:pt x="13200" y="10088"/>
                  </a:cubicBezTo>
                  <a:cubicBezTo>
                    <a:pt x="13181" y="10085"/>
                    <a:pt x="13166" y="10090"/>
                    <a:pt x="13156" y="10101"/>
                  </a:cubicBezTo>
                  <a:cubicBezTo>
                    <a:pt x="13151" y="10109"/>
                    <a:pt x="13149" y="10124"/>
                    <a:pt x="13149" y="10143"/>
                  </a:cubicBezTo>
                  <a:cubicBezTo>
                    <a:pt x="13149" y="10171"/>
                    <a:pt x="13152" y="10188"/>
                    <a:pt x="13159" y="10192"/>
                  </a:cubicBezTo>
                  <a:lnTo>
                    <a:pt x="13159" y="10218"/>
                  </a:lnTo>
                  <a:cubicBezTo>
                    <a:pt x="13147" y="10220"/>
                    <a:pt x="13137" y="10223"/>
                    <a:pt x="13128" y="10225"/>
                  </a:cubicBezTo>
                  <a:cubicBezTo>
                    <a:pt x="13111" y="10229"/>
                    <a:pt x="13102" y="10238"/>
                    <a:pt x="13102" y="10251"/>
                  </a:cubicBezTo>
                  <a:cubicBezTo>
                    <a:pt x="13102" y="10266"/>
                    <a:pt x="13109" y="10276"/>
                    <a:pt x="13123" y="10280"/>
                  </a:cubicBezTo>
                  <a:cubicBezTo>
                    <a:pt x="13137" y="10285"/>
                    <a:pt x="13143" y="10291"/>
                    <a:pt x="13143" y="10300"/>
                  </a:cubicBezTo>
                  <a:cubicBezTo>
                    <a:pt x="13143" y="10313"/>
                    <a:pt x="13140" y="10323"/>
                    <a:pt x="13133" y="10329"/>
                  </a:cubicBezTo>
                  <a:cubicBezTo>
                    <a:pt x="13125" y="10336"/>
                    <a:pt x="13120" y="10344"/>
                    <a:pt x="13120" y="10352"/>
                  </a:cubicBezTo>
                  <a:cubicBezTo>
                    <a:pt x="13119" y="10365"/>
                    <a:pt x="13126" y="10375"/>
                    <a:pt x="13143" y="10382"/>
                  </a:cubicBezTo>
                  <a:cubicBezTo>
                    <a:pt x="13161" y="10386"/>
                    <a:pt x="13169" y="10402"/>
                    <a:pt x="13169" y="10431"/>
                  </a:cubicBezTo>
                  <a:cubicBezTo>
                    <a:pt x="13169" y="10444"/>
                    <a:pt x="13164" y="10461"/>
                    <a:pt x="13154" y="10483"/>
                  </a:cubicBezTo>
                  <a:cubicBezTo>
                    <a:pt x="13140" y="10503"/>
                    <a:pt x="13133" y="10529"/>
                    <a:pt x="13133" y="10561"/>
                  </a:cubicBezTo>
                  <a:cubicBezTo>
                    <a:pt x="13133" y="10572"/>
                    <a:pt x="13135" y="10585"/>
                    <a:pt x="13138" y="10601"/>
                  </a:cubicBezTo>
                  <a:lnTo>
                    <a:pt x="13138" y="10650"/>
                  </a:lnTo>
                  <a:cubicBezTo>
                    <a:pt x="13080" y="10746"/>
                    <a:pt x="13051" y="10800"/>
                    <a:pt x="13051" y="10813"/>
                  </a:cubicBezTo>
                  <a:cubicBezTo>
                    <a:pt x="13051" y="10815"/>
                    <a:pt x="13059" y="10844"/>
                    <a:pt x="13074" y="10898"/>
                  </a:cubicBezTo>
                  <a:cubicBezTo>
                    <a:pt x="13088" y="10955"/>
                    <a:pt x="13095" y="10996"/>
                    <a:pt x="13095" y="11022"/>
                  </a:cubicBezTo>
                  <a:cubicBezTo>
                    <a:pt x="13095" y="11035"/>
                    <a:pt x="13091" y="11079"/>
                    <a:pt x="13085" y="11153"/>
                  </a:cubicBezTo>
                  <a:cubicBezTo>
                    <a:pt x="13078" y="11225"/>
                    <a:pt x="13074" y="11279"/>
                    <a:pt x="13074" y="11316"/>
                  </a:cubicBezTo>
                  <a:cubicBezTo>
                    <a:pt x="13074" y="11488"/>
                    <a:pt x="13091" y="11612"/>
                    <a:pt x="13123" y="11686"/>
                  </a:cubicBezTo>
                  <a:cubicBezTo>
                    <a:pt x="13154" y="11758"/>
                    <a:pt x="13169" y="11851"/>
                    <a:pt x="13169" y="11967"/>
                  </a:cubicBezTo>
                  <a:cubicBezTo>
                    <a:pt x="13169" y="12167"/>
                    <a:pt x="13142" y="12647"/>
                    <a:pt x="13087" y="13408"/>
                  </a:cubicBezTo>
                  <a:lnTo>
                    <a:pt x="13087" y="13411"/>
                  </a:lnTo>
                  <a:cubicBezTo>
                    <a:pt x="13085" y="13417"/>
                    <a:pt x="13085" y="13424"/>
                    <a:pt x="13087" y="13431"/>
                  </a:cubicBezTo>
                  <a:cubicBezTo>
                    <a:pt x="13089" y="13548"/>
                    <a:pt x="13146" y="13701"/>
                    <a:pt x="13259" y="13888"/>
                  </a:cubicBezTo>
                  <a:lnTo>
                    <a:pt x="13402" y="14061"/>
                  </a:lnTo>
                  <a:cubicBezTo>
                    <a:pt x="13472" y="14144"/>
                    <a:pt x="13507" y="14213"/>
                    <a:pt x="13507" y="14267"/>
                  </a:cubicBezTo>
                  <a:cubicBezTo>
                    <a:pt x="13507" y="14315"/>
                    <a:pt x="13487" y="14373"/>
                    <a:pt x="13448" y="14440"/>
                  </a:cubicBezTo>
                  <a:cubicBezTo>
                    <a:pt x="13409" y="14508"/>
                    <a:pt x="13389" y="14557"/>
                    <a:pt x="13389" y="14587"/>
                  </a:cubicBezTo>
                  <a:cubicBezTo>
                    <a:pt x="13389" y="14613"/>
                    <a:pt x="13429" y="14720"/>
                    <a:pt x="13510" y="14908"/>
                  </a:cubicBezTo>
                  <a:cubicBezTo>
                    <a:pt x="13590" y="15097"/>
                    <a:pt x="13655" y="15236"/>
                    <a:pt x="13704" y="15323"/>
                  </a:cubicBezTo>
                  <a:cubicBezTo>
                    <a:pt x="13709" y="15331"/>
                    <a:pt x="13777" y="15422"/>
                    <a:pt x="13906" y="15594"/>
                  </a:cubicBezTo>
                  <a:cubicBezTo>
                    <a:pt x="13987" y="15701"/>
                    <a:pt x="14058" y="15850"/>
                    <a:pt x="14121" y="16042"/>
                  </a:cubicBezTo>
                  <a:lnTo>
                    <a:pt x="14121" y="16045"/>
                  </a:lnTo>
                  <a:cubicBezTo>
                    <a:pt x="14138" y="16091"/>
                    <a:pt x="14171" y="16202"/>
                    <a:pt x="14219" y="16378"/>
                  </a:cubicBezTo>
                  <a:cubicBezTo>
                    <a:pt x="14265" y="16544"/>
                    <a:pt x="14310" y="16662"/>
                    <a:pt x="14354" y="16734"/>
                  </a:cubicBezTo>
                  <a:cubicBezTo>
                    <a:pt x="14399" y="16806"/>
                    <a:pt x="14480" y="16895"/>
                    <a:pt x="14598" y="17002"/>
                  </a:cubicBezTo>
                  <a:cubicBezTo>
                    <a:pt x="14719" y="17111"/>
                    <a:pt x="14811" y="17174"/>
                    <a:pt x="14874" y="17192"/>
                  </a:cubicBezTo>
                  <a:cubicBezTo>
                    <a:pt x="14947" y="17211"/>
                    <a:pt x="15035" y="17225"/>
                    <a:pt x="15138" y="17234"/>
                  </a:cubicBezTo>
                  <a:cubicBezTo>
                    <a:pt x="15218" y="17252"/>
                    <a:pt x="15285" y="17300"/>
                    <a:pt x="15340" y="17378"/>
                  </a:cubicBezTo>
                  <a:cubicBezTo>
                    <a:pt x="15393" y="17456"/>
                    <a:pt x="15448" y="17525"/>
                    <a:pt x="15506" y="17584"/>
                  </a:cubicBezTo>
                  <a:cubicBezTo>
                    <a:pt x="15598" y="17673"/>
                    <a:pt x="15679" y="17718"/>
                    <a:pt x="15749" y="17718"/>
                  </a:cubicBezTo>
                  <a:cubicBezTo>
                    <a:pt x="15862" y="17718"/>
                    <a:pt x="15982" y="17666"/>
                    <a:pt x="16108" y="17561"/>
                  </a:cubicBezTo>
                  <a:cubicBezTo>
                    <a:pt x="16219" y="17467"/>
                    <a:pt x="16355" y="17436"/>
                    <a:pt x="16518" y="17466"/>
                  </a:cubicBezTo>
                  <a:cubicBezTo>
                    <a:pt x="16637" y="17488"/>
                    <a:pt x="16738" y="17473"/>
                    <a:pt x="16820" y="17420"/>
                  </a:cubicBezTo>
                  <a:cubicBezTo>
                    <a:pt x="16867" y="17392"/>
                    <a:pt x="16950" y="17341"/>
                    <a:pt x="17068" y="17267"/>
                  </a:cubicBezTo>
                  <a:cubicBezTo>
                    <a:pt x="17310" y="17162"/>
                    <a:pt x="17462" y="17110"/>
                    <a:pt x="17524" y="17110"/>
                  </a:cubicBezTo>
                  <a:cubicBezTo>
                    <a:pt x="17583" y="17110"/>
                    <a:pt x="17624" y="17135"/>
                    <a:pt x="17646" y="17185"/>
                  </a:cubicBezTo>
                  <a:cubicBezTo>
                    <a:pt x="17658" y="17211"/>
                    <a:pt x="17671" y="17268"/>
                    <a:pt x="17685" y="17355"/>
                  </a:cubicBezTo>
                  <a:cubicBezTo>
                    <a:pt x="17704" y="17357"/>
                    <a:pt x="17735" y="17358"/>
                    <a:pt x="17779" y="17358"/>
                  </a:cubicBezTo>
                  <a:cubicBezTo>
                    <a:pt x="18018" y="17328"/>
                    <a:pt x="18138" y="17236"/>
                    <a:pt x="18138" y="17084"/>
                  </a:cubicBezTo>
                  <a:cubicBezTo>
                    <a:pt x="18138" y="17049"/>
                    <a:pt x="18135" y="17020"/>
                    <a:pt x="18130" y="16996"/>
                  </a:cubicBezTo>
                  <a:cubicBezTo>
                    <a:pt x="18125" y="16970"/>
                    <a:pt x="18123" y="16940"/>
                    <a:pt x="18123" y="16907"/>
                  </a:cubicBezTo>
                  <a:cubicBezTo>
                    <a:pt x="18123" y="16823"/>
                    <a:pt x="18143" y="16767"/>
                    <a:pt x="18184" y="16741"/>
                  </a:cubicBezTo>
                  <a:cubicBezTo>
                    <a:pt x="18305" y="16665"/>
                    <a:pt x="18376" y="16618"/>
                    <a:pt x="18396" y="16600"/>
                  </a:cubicBezTo>
                  <a:cubicBezTo>
                    <a:pt x="18451" y="16550"/>
                    <a:pt x="18490" y="16481"/>
                    <a:pt x="18514" y="16391"/>
                  </a:cubicBezTo>
                  <a:cubicBezTo>
                    <a:pt x="18523" y="16358"/>
                    <a:pt x="18539" y="16264"/>
                    <a:pt x="18563" y="16107"/>
                  </a:cubicBezTo>
                  <a:cubicBezTo>
                    <a:pt x="18585" y="15959"/>
                    <a:pt x="18628" y="15751"/>
                    <a:pt x="18691" y="15483"/>
                  </a:cubicBezTo>
                  <a:cubicBezTo>
                    <a:pt x="18759" y="15191"/>
                    <a:pt x="18801" y="15010"/>
                    <a:pt x="18816" y="14940"/>
                  </a:cubicBezTo>
                  <a:lnTo>
                    <a:pt x="18814" y="14702"/>
                  </a:lnTo>
                  <a:cubicBezTo>
                    <a:pt x="18814" y="14501"/>
                    <a:pt x="18927" y="14359"/>
                    <a:pt x="19154" y="14274"/>
                  </a:cubicBezTo>
                  <a:cubicBezTo>
                    <a:pt x="19279" y="14228"/>
                    <a:pt x="19453" y="14189"/>
                    <a:pt x="19676" y="14156"/>
                  </a:cubicBezTo>
                  <a:cubicBezTo>
                    <a:pt x="19769" y="14130"/>
                    <a:pt x="19839" y="14105"/>
                    <a:pt x="19889" y="14081"/>
                  </a:cubicBezTo>
                  <a:cubicBezTo>
                    <a:pt x="19954" y="14053"/>
                    <a:pt x="20027" y="14011"/>
                    <a:pt x="20109" y="13957"/>
                  </a:cubicBezTo>
                  <a:cubicBezTo>
                    <a:pt x="20244" y="13861"/>
                    <a:pt x="20333" y="13803"/>
                    <a:pt x="20375" y="13783"/>
                  </a:cubicBezTo>
                  <a:cubicBezTo>
                    <a:pt x="20433" y="13755"/>
                    <a:pt x="20502" y="13741"/>
                    <a:pt x="20580" y="13741"/>
                  </a:cubicBezTo>
                  <a:cubicBezTo>
                    <a:pt x="20693" y="13741"/>
                    <a:pt x="20766" y="13755"/>
                    <a:pt x="20800" y="13783"/>
                  </a:cubicBezTo>
                  <a:cubicBezTo>
                    <a:pt x="20851" y="13825"/>
                    <a:pt x="20868" y="13917"/>
                    <a:pt x="20849" y="14061"/>
                  </a:cubicBezTo>
                  <a:cubicBezTo>
                    <a:pt x="20876" y="14031"/>
                    <a:pt x="20910" y="13987"/>
                    <a:pt x="20951" y="13931"/>
                  </a:cubicBezTo>
                  <a:cubicBezTo>
                    <a:pt x="20977" y="13893"/>
                    <a:pt x="20997" y="13866"/>
                    <a:pt x="21010" y="13849"/>
                  </a:cubicBezTo>
                  <a:cubicBezTo>
                    <a:pt x="21014" y="13842"/>
                    <a:pt x="21018" y="13837"/>
                    <a:pt x="21023" y="13833"/>
                  </a:cubicBezTo>
                  <a:cubicBezTo>
                    <a:pt x="21038" y="13817"/>
                    <a:pt x="21052" y="13809"/>
                    <a:pt x="21064" y="13806"/>
                  </a:cubicBezTo>
                  <a:cubicBezTo>
                    <a:pt x="21069" y="13804"/>
                    <a:pt x="21089" y="13803"/>
                    <a:pt x="21123" y="13803"/>
                  </a:cubicBezTo>
                  <a:cubicBezTo>
                    <a:pt x="21305" y="13803"/>
                    <a:pt x="21425" y="13825"/>
                    <a:pt x="21481" y="13868"/>
                  </a:cubicBezTo>
                  <a:cubicBezTo>
                    <a:pt x="21560" y="13929"/>
                    <a:pt x="21599" y="14066"/>
                    <a:pt x="21599" y="14277"/>
                  </a:cubicBezTo>
                  <a:cubicBezTo>
                    <a:pt x="21599" y="14429"/>
                    <a:pt x="21563" y="14554"/>
                    <a:pt x="21491" y="14649"/>
                  </a:cubicBezTo>
                  <a:cubicBezTo>
                    <a:pt x="21381" y="14798"/>
                    <a:pt x="21296" y="14957"/>
                    <a:pt x="21238" y="15127"/>
                  </a:cubicBezTo>
                  <a:cubicBezTo>
                    <a:pt x="21221" y="15177"/>
                    <a:pt x="21205" y="15253"/>
                    <a:pt x="21189" y="15355"/>
                  </a:cubicBezTo>
                  <a:cubicBezTo>
                    <a:pt x="21174" y="15473"/>
                    <a:pt x="21164" y="15540"/>
                    <a:pt x="21159" y="15558"/>
                  </a:cubicBezTo>
                  <a:cubicBezTo>
                    <a:pt x="21142" y="15617"/>
                    <a:pt x="21117" y="15675"/>
                    <a:pt x="21084" y="15734"/>
                  </a:cubicBezTo>
                  <a:cubicBezTo>
                    <a:pt x="21042" y="15808"/>
                    <a:pt x="21014" y="15860"/>
                    <a:pt x="21003" y="15888"/>
                  </a:cubicBezTo>
                  <a:cubicBezTo>
                    <a:pt x="21016" y="15899"/>
                    <a:pt x="21047" y="15914"/>
                    <a:pt x="21095" y="15934"/>
                  </a:cubicBezTo>
                  <a:cubicBezTo>
                    <a:pt x="21134" y="15955"/>
                    <a:pt x="21154" y="15987"/>
                    <a:pt x="21154" y="16028"/>
                  </a:cubicBezTo>
                  <a:cubicBezTo>
                    <a:pt x="21154" y="16081"/>
                    <a:pt x="21137" y="16120"/>
                    <a:pt x="21102" y="16146"/>
                  </a:cubicBezTo>
                  <a:cubicBezTo>
                    <a:pt x="21068" y="16170"/>
                    <a:pt x="21051" y="16193"/>
                    <a:pt x="21051" y="16215"/>
                  </a:cubicBezTo>
                  <a:cubicBezTo>
                    <a:pt x="21051" y="16243"/>
                    <a:pt x="21059" y="16259"/>
                    <a:pt x="21074" y="16264"/>
                  </a:cubicBezTo>
                  <a:cubicBezTo>
                    <a:pt x="21091" y="16270"/>
                    <a:pt x="21103" y="16296"/>
                    <a:pt x="21110" y="16342"/>
                  </a:cubicBezTo>
                  <a:cubicBezTo>
                    <a:pt x="21112" y="16357"/>
                    <a:pt x="21118" y="16409"/>
                    <a:pt x="21128" y="16496"/>
                  </a:cubicBezTo>
                  <a:cubicBezTo>
                    <a:pt x="21128" y="16524"/>
                    <a:pt x="21090" y="16766"/>
                    <a:pt x="21013" y="17221"/>
                  </a:cubicBezTo>
                  <a:cubicBezTo>
                    <a:pt x="21009" y="17239"/>
                    <a:pt x="20991" y="17318"/>
                    <a:pt x="20959" y="17460"/>
                  </a:cubicBezTo>
                  <a:cubicBezTo>
                    <a:pt x="20935" y="17560"/>
                    <a:pt x="20910" y="17635"/>
                    <a:pt x="20885" y="17685"/>
                  </a:cubicBezTo>
                  <a:cubicBezTo>
                    <a:pt x="20861" y="17653"/>
                    <a:pt x="20846" y="17627"/>
                    <a:pt x="20841" y="17610"/>
                  </a:cubicBezTo>
                  <a:cubicBezTo>
                    <a:pt x="20840" y="17601"/>
                    <a:pt x="20839" y="17578"/>
                    <a:pt x="20839" y="17541"/>
                  </a:cubicBezTo>
                  <a:cubicBezTo>
                    <a:pt x="20839" y="17515"/>
                    <a:pt x="20846" y="17468"/>
                    <a:pt x="20859" y="17401"/>
                  </a:cubicBezTo>
                  <a:cubicBezTo>
                    <a:pt x="20873" y="17333"/>
                    <a:pt x="20880" y="17285"/>
                    <a:pt x="20880" y="17257"/>
                  </a:cubicBezTo>
                  <a:cubicBezTo>
                    <a:pt x="20880" y="17211"/>
                    <a:pt x="20858" y="17182"/>
                    <a:pt x="20816" y="17169"/>
                  </a:cubicBezTo>
                  <a:cubicBezTo>
                    <a:pt x="20768" y="17156"/>
                    <a:pt x="20740" y="17132"/>
                    <a:pt x="20731" y="17097"/>
                  </a:cubicBezTo>
                  <a:cubicBezTo>
                    <a:pt x="20728" y="17084"/>
                    <a:pt x="20726" y="17027"/>
                    <a:pt x="20726" y="16927"/>
                  </a:cubicBezTo>
                  <a:cubicBezTo>
                    <a:pt x="20726" y="16864"/>
                    <a:pt x="20711" y="16832"/>
                    <a:pt x="20680" y="16832"/>
                  </a:cubicBezTo>
                  <a:cubicBezTo>
                    <a:pt x="20648" y="16832"/>
                    <a:pt x="20613" y="16900"/>
                    <a:pt x="20575" y="17035"/>
                  </a:cubicBezTo>
                  <a:cubicBezTo>
                    <a:pt x="20570" y="17055"/>
                    <a:pt x="20566" y="17073"/>
                    <a:pt x="20562" y="17090"/>
                  </a:cubicBezTo>
                  <a:cubicBezTo>
                    <a:pt x="20378" y="17202"/>
                    <a:pt x="20246" y="17447"/>
                    <a:pt x="20165" y="17826"/>
                  </a:cubicBezTo>
                  <a:lnTo>
                    <a:pt x="19902" y="17924"/>
                  </a:lnTo>
                  <a:cubicBezTo>
                    <a:pt x="19902" y="17924"/>
                    <a:pt x="19881" y="17927"/>
                    <a:pt x="19881" y="17927"/>
                  </a:cubicBezTo>
                  <a:close/>
                  <a:moveTo>
                    <a:pt x="19881" y="1792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28" name="AutoShape 5"/>
            <p:cNvSpPr>
              <a:spLocks/>
            </p:cNvSpPr>
            <p:nvPr/>
          </p:nvSpPr>
          <p:spPr bwMode="auto">
            <a:xfrm>
              <a:off x="7409447" y="4355657"/>
              <a:ext cx="221048" cy="257294"/>
            </a:xfrm>
            <a:custGeom>
              <a:avLst/>
              <a:gdLst/>
              <a:ahLst/>
              <a:cxnLst/>
              <a:rect l="0" t="0" r="r" b="b"/>
              <a:pathLst>
                <a:path w="21600" h="21600">
                  <a:moveTo>
                    <a:pt x="1875" y="18588"/>
                  </a:moveTo>
                  <a:cubicBezTo>
                    <a:pt x="1901" y="18530"/>
                    <a:pt x="1914" y="18485"/>
                    <a:pt x="1914" y="18450"/>
                  </a:cubicBezTo>
                  <a:cubicBezTo>
                    <a:pt x="1914" y="18337"/>
                    <a:pt x="1875" y="18120"/>
                    <a:pt x="1795" y="17800"/>
                  </a:cubicBezTo>
                  <a:cubicBezTo>
                    <a:pt x="1662" y="17446"/>
                    <a:pt x="1575" y="17207"/>
                    <a:pt x="1536" y="17081"/>
                  </a:cubicBezTo>
                  <a:cubicBezTo>
                    <a:pt x="1455" y="16864"/>
                    <a:pt x="1402" y="16596"/>
                    <a:pt x="1376" y="16277"/>
                  </a:cubicBezTo>
                  <a:cubicBezTo>
                    <a:pt x="1323" y="15923"/>
                    <a:pt x="1289" y="15683"/>
                    <a:pt x="1276" y="15558"/>
                  </a:cubicBezTo>
                  <a:lnTo>
                    <a:pt x="1276" y="15284"/>
                  </a:lnTo>
                  <a:cubicBezTo>
                    <a:pt x="957" y="10549"/>
                    <a:pt x="531" y="6732"/>
                    <a:pt x="0" y="3834"/>
                  </a:cubicBezTo>
                  <a:lnTo>
                    <a:pt x="2433" y="3594"/>
                  </a:lnTo>
                  <a:cubicBezTo>
                    <a:pt x="4241" y="3412"/>
                    <a:pt x="5611" y="3195"/>
                    <a:pt x="6541" y="2944"/>
                  </a:cubicBezTo>
                  <a:cubicBezTo>
                    <a:pt x="6595" y="3001"/>
                    <a:pt x="6675" y="3047"/>
                    <a:pt x="6781" y="3081"/>
                  </a:cubicBezTo>
                  <a:cubicBezTo>
                    <a:pt x="6887" y="3115"/>
                    <a:pt x="7014" y="3144"/>
                    <a:pt x="7160" y="3166"/>
                  </a:cubicBezTo>
                  <a:cubicBezTo>
                    <a:pt x="7226" y="3166"/>
                    <a:pt x="7299" y="3172"/>
                    <a:pt x="7380" y="3184"/>
                  </a:cubicBezTo>
                  <a:lnTo>
                    <a:pt x="8118" y="3560"/>
                  </a:lnTo>
                  <a:cubicBezTo>
                    <a:pt x="8503" y="3754"/>
                    <a:pt x="8802" y="3851"/>
                    <a:pt x="9015" y="3851"/>
                  </a:cubicBezTo>
                  <a:cubicBezTo>
                    <a:pt x="9134" y="3851"/>
                    <a:pt x="9241" y="3828"/>
                    <a:pt x="9334" y="3783"/>
                  </a:cubicBezTo>
                  <a:cubicBezTo>
                    <a:pt x="9427" y="3748"/>
                    <a:pt x="9507" y="3731"/>
                    <a:pt x="9574" y="3731"/>
                  </a:cubicBezTo>
                  <a:cubicBezTo>
                    <a:pt x="9627" y="3731"/>
                    <a:pt x="9680" y="3760"/>
                    <a:pt x="9733" y="3817"/>
                  </a:cubicBezTo>
                  <a:cubicBezTo>
                    <a:pt x="9786" y="3874"/>
                    <a:pt x="9813" y="3920"/>
                    <a:pt x="9813" y="3954"/>
                  </a:cubicBezTo>
                  <a:cubicBezTo>
                    <a:pt x="9800" y="3999"/>
                    <a:pt x="9673" y="4079"/>
                    <a:pt x="9433" y="4193"/>
                  </a:cubicBezTo>
                  <a:cubicBezTo>
                    <a:pt x="9181" y="4319"/>
                    <a:pt x="9055" y="4393"/>
                    <a:pt x="9055" y="4416"/>
                  </a:cubicBezTo>
                  <a:cubicBezTo>
                    <a:pt x="9055" y="4507"/>
                    <a:pt x="9128" y="4553"/>
                    <a:pt x="9275" y="4553"/>
                  </a:cubicBezTo>
                  <a:cubicBezTo>
                    <a:pt x="9394" y="4553"/>
                    <a:pt x="9533" y="4501"/>
                    <a:pt x="9693" y="4399"/>
                  </a:cubicBezTo>
                  <a:cubicBezTo>
                    <a:pt x="9866" y="4308"/>
                    <a:pt x="10139" y="4262"/>
                    <a:pt x="10511" y="4262"/>
                  </a:cubicBezTo>
                  <a:cubicBezTo>
                    <a:pt x="10577" y="4273"/>
                    <a:pt x="10664" y="4313"/>
                    <a:pt x="10770" y="4382"/>
                  </a:cubicBezTo>
                  <a:cubicBezTo>
                    <a:pt x="10876" y="4439"/>
                    <a:pt x="10957" y="4467"/>
                    <a:pt x="11010" y="4467"/>
                  </a:cubicBezTo>
                  <a:cubicBezTo>
                    <a:pt x="11102" y="4467"/>
                    <a:pt x="11256" y="4421"/>
                    <a:pt x="11468" y="4331"/>
                  </a:cubicBezTo>
                  <a:cubicBezTo>
                    <a:pt x="11508" y="4308"/>
                    <a:pt x="11568" y="4296"/>
                    <a:pt x="11648" y="4296"/>
                  </a:cubicBezTo>
                  <a:cubicBezTo>
                    <a:pt x="11754" y="4273"/>
                    <a:pt x="11860" y="4251"/>
                    <a:pt x="11967" y="4228"/>
                  </a:cubicBezTo>
                  <a:cubicBezTo>
                    <a:pt x="12047" y="4216"/>
                    <a:pt x="12199" y="4148"/>
                    <a:pt x="12425" y="4022"/>
                  </a:cubicBezTo>
                  <a:cubicBezTo>
                    <a:pt x="12652" y="3886"/>
                    <a:pt x="12851" y="3794"/>
                    <a:pt x="13024" y="3748"/>
                  </a:cubicBezTo>
                  <a:cubicBezTo>
                    <a:pt x="13183" y="3680"/>
                    <a:pt x="13516" y="3623"/>
                    <a:pt x="14021" y="3577"/>
                  </a:cubicBezTo>
                  <a:cubicBezTo>
                    <a:pt x="14513" y="3543"/>
                    <a:pt x="14892" y="3475"/>
                    <a:pt x="15158" y="3372"/>
                  </a:cubicBezTo>
                  <a:cubicBezTo>
                    <a:pt x="15251" y="3292"/>
                    <a:pt x="15391" y="3166"/>
                    <a:pt x="15577" y="2995"/>
                  </a:cubicBezTo>
                  <a:cubicBezTo>
                    <a:pt x="15657" y="2915"/>
                    <a:pt x="15743" y="2830"/>
                    <a:pt x="15836" y="2738"/>
                  </a:cubicBezTo>
                  <a:cubicBezTo>
                    <a:pt x="16009" y="2556"/>
                    <a:pt x="16209" y="2351"/>
                    <a:pt x="16435" y="2122"/>
                  </a:cubicBezTo>
                  <a:cubicBezTo>
                    <a:pt x="16900" y="1723"/>
                    <a:pt x="17332" y="1404"/>
                    <a:pt x="17731" y="1164"/>
                  </a:cubicBezTo>
                  <a:cubicBezTo>
                    <a:pt x="17838" y="1096"/>
                    <a:pt x="17944" y="1039"/>
                    <a:pt x="18050" y="993"/>
                  </a:cubicBezTo>
                  <a:cubicBezTo>
                    <a:pt x="18156" y="936"/>
                    <a:pt x="18256" y="890"/>
                    <a:pt x="18350" y="856"/>
                  </a:cubicBezTo>
                  <a:cubicBezTo>
                    <a:pt x="18788" y="708"/>
                    <a:pt x="19214" y="537"/>
                    <a:pt x="19626" y="342"/>
                  </a:cubicBezTo>
                  <a:cubicBezTo>
                    <a:pt x="19825" y="251"/>
                    <a:pt x="20025" y="154"/>
                    <a:pt x="20224" y="52"/>
                  </a:cubicBezTo>
                  <a:lnTo>
                    <a:pt x="20344" y="0"/>
                  </a:lnTo>
                  <a:lnTo>
                    <a:pt x="20982" y="3971"/>
                  </a:lnTo>
                  <a:cubicBezTo>
                    <a:pt x="21248" y="5648"/>
                    <a:pt x="21454" y="6898"/>
                    <a:pt x="21600" y="7719"/>
                  </a:cubicBezTo>
                  <a:cubicBezTo>
                    <a:pt x="21387" y="7799"/>
                    <a:pt x="21221" y="7873"/>
                    <a:pt x="21101" y="7942"/>
                  </a:cubicBezTo>
                  <a:cubicBezTo>
                    <a:pt x="20875" y="8056"/>
                    <a:pt x="20762" y="8170"/>
                    <a:pt x="20762" y="8284"/>
                  </a:cubicBezTo>
                  <a:cubicBezTo>
                    <a:pt x="20749" y="8455"/>
                    <a:pt x="20843" y="8655"/>
                    <a:pt x="21042" y="8883"/>
                  </a:cubicBezTo>
                  <a:cubicBezTo>
                    <a:pt x="21242" y="9111"/>
                    <a:pt x="21341" y="9357"/>
                    <a:pt x="21341" y="9619"/>
                  </a:cubicBezTo>
                  <a:cubicBezTo>
                    <a:pt x="21341" y="9699"/>
                    <a:pt x="21308" y="9802"/>
                    <a:pt x="21242" y="9927"/>
                  </a:cubicBezTo>
                  <a:cubicBezTo>
                    <a:pt x="21175" y="10030"/>
                    <a:pt x="21142" y="10110"/>
                    <a:pt x="21142" y="10167"/>
                  </a:cubicBezTo>
                  <a:cubicBezTo>
                    <a:pt x="21142" y="10224"/>
                    <a:pt x="21148" y="10275"/>
                    <a:pt x="21161" y="10321"/>
                  </a:cubicBezTo>
                  <a:cubicBezTo>
                    <a:pt x="21188" y="10401"/>
                    <a:pt x="21201" y="10481"/>
                    <a:pt x="21201" y="10560"/>
                  </a:cubicBezTo>
                  <a:cubicBezTo>
                    <a:pt x="21188" y="10732"/>
                    <a:pt x="21088" y="11279"/>
                    <a:pt x="20902" y="12203"/>
                  </a:cubicBezTo>
                  <a:cubicBezTo>
                    <a:pt x="20902" y="12375"/>
                    <a:pt x="20902" y="12643"/>
                    <a:pt x="20902" y="13008"/>
                  </a:cubicBezTo>
                  <a:cubicBezTo>
                    <a:pt x="20862" y="13259"/>
                    <a:pt x="20796" y="13453"/>
                    <a:pt x="20702" y="13590"/>
                  </a:cubicBezTo>
                  <a:cubicBezTo>
                    <a:pt x="20663" y="13612"/>
                    <a:pt x="20636" y="13630"/>
                    <a:pt x="20623" y="13641"/>
                  </a:cubicBezTo>
                  <a:cubicBezTo>
                    <a:pt x="20290" y="14040"/>
                    <a:pt x="19938" y="14417"/>
                    <a:pt x="19566" y="14771"/>
                  </a:cubicBezTo>
                  <a:cubicBezTo>
                    <a:pt x="19114" y="15159"/>
                    <a:pt x="18755" y="15347"/>
                    <a:pt x="18489" y="15336"/>
                  </a:cubicBezTo>
                  <a:cubicBezTo>
                    <a:pt x="18449" y="15336"/>
                    <a:pt x="18376" y="15318"/>
                    <a:pt x="18269" y="15284"/>
                  </a:cubicBezTo>
                  <a:cubicBezTo>
                    <a:pt x="18163" y="15238"/>
                    <a:pt x="18090" y="15215"/>
                    <a:pt x="18050" y="15215"/>
                  </a:cubicBezTo>
                  <a:cubicBezTo>
                    <a:pt x="17957" y="15204"/>
                    <a:pt x="17831" y="15358"/>
                    <a:pt x="17671" y="15678"/>
                  </a:cubicBezTo>
                  <a:cubicBezTo>
                    <a:pt x="17525" y="16032"/>
                    <a:pt x="17398" y="16242"/>
                    <a:pt x="17292" y="16311"/>
                  </a:cubicBezTo>
                  <a:cubicBezTo>
                    <a:pt x="17186" y="16368"/>
                    <a:pt x="17040" y="16562"/>
                    <a:pt x="16854" y="16893"/>
                  </a:cubicBezTo>
                  <a:cubicBezTo>
                    <a:pt x="16720" y="17167"/>
                    <a:pt x="16654" y="17338"/>
                    <a:pt x="16654" y="17407"/>
                  </a:cubicBezTo>
                  <a:cubicBezTo>
                    <a:pt x="16654" y="17463"/>
                    <a:pt x="16694" y="17526"/>
                    <a:pt x="16773" y="17595"/>
                  </a:cubicBezTo>
                  <a:cubicBezTo>
                    <a:pt x="16880" y="17663"/>
                    <a:pt x="16933" y="17714"/>
                    <a:pt x="16933" y="17749"/>
                  </a:cubicBezTo>
                  <a:cubicBezTo>
                    <a:pt x="16720" y="18148"/>
                    <a:pt x="16568" y="18348"/>
                    <a:pt x="16474" y="18348"/>
                  </a:cubicBezTo>
                  <a:cubicBezTo>
                    <a:pt x="16342" y="18337"/>
                    <a:pt x="16222" y="18262"/>
                    <a:pt x="16115" y="18125"/>
                  </a:cubicBezTo>
                  <a:cubicBezTo>
                    <a:pt x="16009" y="18000"/>
                    <a:pt x="15876" y="17937"/>
                    <a:pt x="15716" y="17937"/>
                  </a:cubicBezTo>
                  <a:cubicBezTo>
                    <a:pt x="15597" y="17926"/>
                    <a:pt x="15458" y="18074"/>
                    <a:pt x="15298" y="18382"/>
                  </a:cubicBezTo>
                  <a:cubicBezTo>
                    <a:pt x="15165" y="18668"/>
                    <a:pt x="15091" y="18878"/>
                    <a:pt x="15078" y="19015"/>
                  </a:cubicBezTo>
                  <a:cubicBezTo>
                    <a:pt x="15078" y="19118"/>
                    <a:pt x="15112" y="19300"/>
                    <a:pt x="15178" y="19563"/>
                  </a:cubicBezTo>
                  <a:cubicBezTo>
                    <a:pt x="15232" y="19825"/>
                    <a:pt x="15258" y="19980"/>
                    <a:pt x="15258" y="20025"/>
                  </a:cubicBezTo>
                  <a:cubicBezTo>
                    <a:pt x="15258" y="20071"/>
                    <a:pt x="15204" y="20208"/>
                    <a:pt x="15098" y="20436"/>
                  </a:cubicBezTo>
                  <a:cubicBezTo>
                    <a:pt x="14978" y="20722"/>
                    <a:pt x="14872" y="20910"/>
                    <a:pt x="14779" y="21001"/>
                  </a:cubicBezTo>
                  <a:cubicBezTo>
                    <a:pt x="14487" y="21275"/>
                    <a:pt x="14075" y="21474"/>
                    <a:pt x="13542" y="21600"/>
                  </a:cubicBezTo>
                  <a:cubicBezTo>
                    <a:pt x="13542" y="21509"/>
                    <a:pt x="13536" y="21440"/>
                    <a:pt x="13522" y="21394"/>
                  </a:cubicBezTo>
                  <a:cubicBezTo>
                    <a:pt x="13509" y="21360"/>
                    <a:pt x="13422" y="21297"/>
                    <a:pt x="13264" y="21206"/>
                  </a:cubicBezTo>
                  <a:cubicBezTo>
                    <a:pt x="13077" y="21092"/>
                    <a:pt x="12978" y="21024"/>
                    <a:pt x="12964" y="21001"/>
                  </a:cubicBezTo>
                  <a:cubicBezTo>
                    <a:pt x="12871" y="20921"/>
                    <a:pt x="12718" y="20864"/>
                    <a:pt x="12505" y="20830"/>
                  </a:cubicBezTo>
                  <a:cubicBezTo>
                    <a:pt x="12226" y="20772"/>
                    <a:pt x="12054" y="20727"/>
                    <a:pt x="11987" y="20693"/>
                  </a:cubicBezTo>
                  <a:cubicBezTo>
                    <a:pt x="11854" y="20647"/>
                    <a:pt x="11747" y="20504"/>
                    <a:pt x="11668" y="20265"/>
                  </a:cubicBezTo>
                  <a:cubicBezTo>
                    <a:pt x="11601" y="20025"/>
                    <a:pt x="11501" y="19905"/>
                    <a:pt x="11369" y="19905"/>
                  </a:cubicBezTo>
                  <a:cubicBezTo>
                    <a:pt x="11209" y="19905"/>
                    <a:pt x="11016" y="20065"/>
                    <a:pt x="10790" y="20385"/>
                  </a:cubicBezTo>
                  <a:cubicBezTo>
                    <a:pt x="10564" y="20715"/>
                    <a:pt x="10212" y="20875"/>
                    <a:pt x="9733" y="20864"/>
                  </a:cubicBezTo>
                  <a:cubicBezTo>
                    <a:pt x="9574" y="20864"/>
                    <a:pt x="9433" y="20789"/>
                    <a:pt x="9314" y="20642"/>
                  </a:cubicBezTo>
                  <a:cubicBezTo>
                    <a:pt x="9194" y="20493"/>
                    <a:pt x="9068" y="20419"/>
                    <a:pt x="8935" y="20419"/>
                  </a:cubicBezTo>
                  <a:cubicBezTo>
                    <a:pt x="8669" y="20419"/>
                    <a:pt x="8436" y="20521"/>
                    <a:pt x="8237" y="20727"/>
                  </a:cubicBezTo>
                  <a:cubicBezTo>
                    <a:pt x="8011" y="20932"/>
                    <a:pt x="7825" y="21029"/>
                    <a:pt x="7679" y="21018"/>
                  </a:cubicBezTo>
                  <a:cubicBezTo>
                    <a:pt x="7439" y="21018"/>
                    <a:pt x="7246" y="20898"/>
                    <a:pt x="7100" y="20659"/>
                  </a:cubicBezTo>
                  <a:cubicBezTo>
                    <a:pt x="6914" y="20407"/>
                    <a:pt x="6735" y="20282"/>
                    <a:pt x="6562" y="20282"/>
                  </a:cubicBezTo>
                  <a:lnTo>
                    <a:pt x="5644" y="20333"/>
                  </a:lnTo>
                  <a:cubicBezTo>
                    <a:pt x="5444" y="20322"/>
                    <a:pt x="5299" y="20299"/>
                    <a:pt x="5205" y="20265"/>
                  </a:cubicBezTo>
                  <a:cubicBezTo>
                    <a:pt x="5086" y="20196"/>
                    <a:pt x="4979" y="20065"/>
                    <a:pt x="4887" y="19871"/>
                  </a:cubicBezTo>
                  <a:cubicBezTo>
                    <a:pt x="4594" y="19267"/>
                    <a:pt x="4375" y="18953"/>
                    <a:pt x="4228" y="18930"/>
                  </a:cubicBezTo>
                  <a:cubicBezTo>
                    <a:pt x="3763" y="18930"/>
                    <a:pt x="3391" y="18930"/>
                    <a:pt x="3111" y="18930"/>
                  </a:cubicBezTo>
                  <a:cubicBezTo>
                    <a:pt x="2606" y="18930"/>
                    <a:pt x="2294" y="18816"/>
                    <a:pt x="2174" y="18588"/>
                  </a:cubicBezTo>
                  <a:cubicBezTo>
                    <a:pt x="2174" y="18588"/>
                    <a:pt x="1875" y="18588"/>
                    <a:pt x="1875" y="18588"/>
                  </a:cubicBezTo>
                  <a:close/>
                  <a:moveTo>
                    <a:pt x="1875" y="1858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29" name="AutoShape 6"/>
            <p:cNvSpPr>
              <a:spLocks/>
            </p:cNvSpPr>
            <p:nvPr/>
          </p:nvSpPr>
          <p:spPr bwMode="auto">
            <a:xfrm>
              <a:off x="8156825" y="4061606"/>
              <a:ext cx="10721" cy="10721"/>
            </a:xfrm>
            <a:custGeom>
              <a:avLst/>
              <a:gdLst/>
              <a:ahLst/>
              <a:cxnLst/>
              <a:rect l="0" t="0" r="r" b="b"/>
              <a:pathLst>
                <a:path w="20537" h="21600">
                  <a:moveTo>
                    <a:pt x="20381" y="10597"/>
                  </a:moveTo>
                  <a:cubicBezTo>
                    <a:pt x="21400" y="17935"/>
                    <a:pt x="17445" y="21600"/>
                    <a:pt x="8488" y="21600"/>
                  </a:cubicBezTo>
                  <a:cubicBezTo>
                    <a:pt x="4653" y="21600"/>
                    <a:pt x="2481" y="21465"/>
                    <a:pt x="1972" y="21194"/>
                  </a:cubicBezTo>
                  <a:cubicBezTo>
                    <a:pt x="444" y="20381"/>
                    <a:pt x="-200" y="18070"/>
                    <a:pt x="55" y="14262"/>
                  </a:cubicBezTo>
                  <a:cubicBezTo>
                    <a:pt x="55" y="10732"/>
                    <a:pt x="699" y="7609"/>
                    <a:pt x="1972" y="4884"/>
                  </a:cubicBezTo>
                  <a:cubicBezTo>
                    <a:pt x="4279" y="1625"/>
                    <a:pt x="7215" y="0"/>
                    <a:pt x="10795" y="0"/>
                  </a:cubicBezTo>
                  <a:cubicBezTo>
                    <a:pt x="15648" y="0"/>
                    <a:pt x="18854" y="3530"/>
                    <a:pt x="20381" y="10597"/>
                  </a:cubicBezTo>
                  <a:close/>
                  <a:moveTo>
                    <a:pt x="20381" y="1059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0" name="AutoShape 7"/>
            <p:cNvSpPr>
              <a:spLocks/>
            </p:cNvSpPr>
            <p:nvPr/>
          </p:nvSpPr>
          <p:spPr bwMode="auto">
            <a:xfrm>
              <a:off x="8218085" y="4016682"/>
              <a:ext cx="7658" cy="12763"/>
            </a:xfrm>
            <a:custGeom>
              <a:avLst/>
              <a:gdLst/>
              <a:ahLst/>
              <a:cxnLst/>
              <a:rect l="0" t="0" r="r" b="b"/>
              <a:pathLst>
                <a:path w="21600" h="21600">
                  <a:moveTo>
                    <a:pt x="9405" y="0"/>
                  </a:moveTo>
                  <a:cubicBezTo>
                    <a:pt x="11265" y="0"/>
                    <a:pt x="13838" y="1689"/>
                    <a:pt x="17168" y="5060"/>
                  </a:cubicBezTo>
                  <a:cubicBezTo>
                    <a:pt x="19005" y="7317"/>
                    <a:pt x="20476" y="9230"/>
                    <a:pt x="21600" y="10807"/>
                  </a:cubicBezTo>
                  <a:cubicBezTo>
                    <a:pt x="21600" y="11249"/>
                    <a:pt x="21405" y="11809"/>
                    <a:pt x="21038" y="12489"/>
                  </a:cubicBezTo>
                  <a:cubicBezTo>
                    <a:pt x="21038" y="14066"/>
                    <a:pt x="20108" y="15636"/>
                    <a:pt x="18270" y="17213"/>
                  </a:cubicBezTo>
                  <a:cubicBezTo>
                    <a:pt x="14941" y="20142"/>
                    <a:pt x="11632" y="21600"/>
                    <a:pt x="8303" y="21600"/>
                  </a:cubicBezTo>
                  <a:cubicBezTo>
                    <a:pt x="3135" y="21600"/>
                    <a:pt x="368" y="17668"/>
                    <a:pt x="0" y="9791"/>
                  </a:cubicBezTo>
                  <a:cubicBezTo>
                    <a:pt x="368" y="6188"/>
                    <a:pt x="930" y="3939"/>
                    <a:pt x="1665" y="3035"/>
                  </a:cubicBezTo>
                  <a:cubicBezTo>
                    <a:pt x="2400" y="1016"/>
                    <a:pt x="4995" y="0"/>
                    <a:pt x="9405" y="0"/>
                  </a:cubicBezTo>
                  <a:close/>
                  <a:moveTo>
                    <a:pt x="9405"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1" name="AutoShape 8"/>
            <p:cNvSpPr>
              <a:spLocks/>
            </p:cNvSpPr>
            <p:nvPr/>
          </p:nvSpPr>
          <p:spPr bwMode="auto">
            <a:xfrm>
              <a:off x="6257750" y="3159036"/>
              <a:ext cx="412487" cy="782092"/>
            </a:xfrm>
            <a:custGeom>
              <a:avLst/>
              <a:gdLst/>
              <a:ahLst/>
              <a:cxnLst/>
              <a:rect l="0" t="0" r="r" b="b"/>
              <a:pathLst>
                <a:path w="21600" h="21600">
                  <a:moveTo>
                    <a:pt x="21600" y="1048"/>
                  </a:moveTo>
                  <a:lnTo>
                    <a:pt x="19965" y="16214"/>
                  </a:lnTo>
                  <a:lnTo>
                    <a:pt x="19505" y="21600"/>
                  </a:lnTo>
                  <a:cubicBezTo>
                    <a:pt x="17909" y="21514"/>
                    <a:pt x="15907" y="21384"/>
                    <a:pt x="13499" y="21211"/>
                  </a:cubicBezTo>
                  <a:cubicBezTo>
                    <a:pt x="11311" y="21054"/>
                    <a:pt x="8796" y="20858"/>
                    <a:pt x="5953" y="20625"/>
                  </a:cubicBezTo>
                  <a:lnTo>
                    <a:pt x="0" y="20113"/>
                  </a:lnTo>
                  <a:lnTo>
                    <a:pt x="7599" y="0"/>
                  </a:lnTo>
                  <a:lnTo>
                    <a:pt x="7706" y="17"/>
                  </a:lnTo>
                  <a:cubicBezTo>
                    <a:pt x="7706" y="17"/>
                    <a:pt x="21600" y="1048"/>
                    <a:pt x="21600" y="1048"/>
                  </a:cubicBezTo>
                  <a:close/>
                  <a:moveTo>
                    <a:pt x="21600" y="104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2" name="AutoShape 9"/>
            <p:cNvSpPr>
              <a:spLocks/>
            </p:cNvSpPr>
            <p:nvPr/>
          </p:nvSpPr>
          <p:spPr bwMode="auto">
            <a:xfrm>
              <a:off x="6180154" y="4425085"/>
              <a:ext cx="384410" cy="310897"/>
            </a:xfrm>
            <a:custGeom>
              <a:avLst/>
              <a:gdLst/>
              <a:ahLst/>
              <a:cxnLst/>
              <a:rect l="0" t="0" r="r" b="b"/>
              <a:pathLst>
                <a:path w="21600" h="21600">
                  <a:moveTo>
                    <a:pt x="0" y="18853"/>
                  </a:moveTo>
                  <a:cubicBezTo>
                    <a:pt x="619" y="13404"/>
                    <a:pt x="1338" y="7120"/>
                    <a:pt x="2155" y="0"/>
                  </a:cubicBezTo>
                  <a:cubicBezTo>
                    <a:pt x="3524" y="293"/>
                    <a:pt x="4880" y="533"/>
                    <a:pt x="6225" y="723"/>
                  </a:cubicBezTo>
                  <a:cubicBezTo>
                    <a:pt x="10353" y="1317"/>
                    <a:pt x="13670" y="1775"/>
                    <a:pt x="16177" y="2096"/>
                  </a:cubicBezTo>
                  <a:cubicBezTo>
                    <a:pt x="19028" y="2455"/>
                    <a:pt x="20836" y="2630"/>
                    <a:pt x="21600" y="2621"/>
                  </a:cubicBezTo>
                  <a:lnTo>
                    <a:pt x="21359" y="7167"/>
                  </a:lnTo>
                  <a:lnTo>
                    <a:pt x="21107" y="11756"/>
                  </a:lnTo>
                  <a:cubicBezTo>
                    <a:pt x="20794" y="17790"/>
                    <a:pt x="20652" y="21071"/>
                    <a:pt x="20683" y="21600"/>
                  </a:cubicBezTo>
                  <a:cubicBezTo>
                    <a:pt x="19666" y="21534"/>
                    <a:pt x="18657" y="21454"/>
                    <a:pt x="17656" y="21359"/>
                  </a:cubicBezTo>
                  <a:cubicBezTo>
                    <a:pt x="16961" y="21284"/>
                    <a:pt x="16269" y="21217"/>
                    <a:pt x="15581" y="21161"/>
                  </a:cubicBezTo>
                  <a:cubicBezTo>
                    <a:pt x="10987" y="20708"/>
                    <a:pt x="5794" y="19938"/>
                    <a:pt x="0" y="18853"/>
                  </a:cubicBezTo>
                  <a:close/>
                  <a:moveTo>
                    <a:pt x="0" y="1885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3" name="AutoShape 10"/>
            <p:cNvSpPr>
              <a:spLocks/>
            </p:cNvSpPr>
            <p:nvPr/>
          </p:nvSpPr>
          <p:spPr bwMode="auto">
            <a:xfrm>
              <a:off x="5792171" y="5262312"/>
              <a:ext cx="6637" cy="10210"/>
            </a:xfrm>
            <a:custGeom>
              <a:avLst/>
              <a:gdLst/>
              <a:ahLst/>
              <a:cxnLst/>
              <a:rect l="0" t="0" r="r" b="b"/>
              <a:pathLst>
                <a:path w="21275" h="21600">
                  <a:moveTo>
                    <a:pt x="15670" y="1266"/>
                  </a:moveTo>
                  <a:lnTo>
                    <a:pt x="19407" y="5934"/>
                  </a:lnTo>
                  <a:cubicBezTo>
                    <a:pt x="20654" y="9037"/>
                    <a:pt x="21275" y="11570"/>
                    <a:pt x="21275" y="13548"/>
                  </a:cubicBezTo>
                  <a:cubicBezTo>
                    <a:pt x="20861" y="18919"/>
                    <a:pt x="18579" y="21600"/>
                    <a:pt x="14422" y="21600"/>
                  </a:cubicBezTo>
                  <a:cubicBezTo>
                    <a:pt x="9851" y="21600"/>
                    <a:pt x="6114" y="20466"/>
                    <a:pt x="3205" y="18207"/>
                  </a:cubicBezTo>
                  <a:cubicBezTo>
                    <a:pt x="710" y="15385"/>
                    <a:pt x="-325" y="11851"/>
                    <a:pt x="89" y="7622"/>
                  </a:cubicBezTo>
                  <a:cubicBezTo>
                    <a:pt x="89" y="5081"/>
                    <a:pt x="503" y="3244"/>
                    <a:pt x="1337" y="2119"/>
                  </a:cubicBezTo>
                  <a:cubicBezTo>
                    <a:pt x="2998" y="703"/>
                    <a:pt x="5907" y="0"/>
                    <a:pt x="10058" y="0"/>
                  </a:cubicBezTo>
                  <a:cubicBezTo>
                    <a:pt x="11720" y="0"/>
                    <a:pt x="13174" y="422"/>
                    <a:pt x="14422" y="1266"/>
                  </a:cubicBezTo>
                  <a:cubicBezTo>
                    <a:pt x="14836" y="1266"/>
                    <a:pt x="15256" y="1266"/>
                    <a:pt x="15670" y="1266"/>
                  </a:cubicBezTo>
                  <a:close/>
                  <a:moveTo>
                    <a:pt x="15670" y="126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4" name="AutoShape 11"/>
            <p:cNvSpPr>
              <a:spLocks/>
            </p:cNvSpPr>
            <p:nvPr/>
          </p:nvSpPr>
          <p:spPr bwMode="auto">
            <a:xfrm>
              <a:off x="6898943" y="3416330"/>
              <a:ext cx="959747" cy="952090"/>
            </a:xfrm>
            <a:custGeom>
              <a:avLst/>
              <a:gdLst/>
              <a:ahLst/>
              <a:cxnLst/>
              <a:rect l="0" t="0" r="r" b="b"/>
              <a:pathLst>
                <a:path w="21600" h="21597">
                  <a:moveTo>
                    <a:pt x="5212" y="13354"/>
                  </a:moveTo>
                  <a:cubicBezTo>
                    <a:pt x="5172" y="13341"/>
                    <a:pt x="5140" y="13330"/>
                    <a:pt x="5115" y="13321"/>
                  </a:cubicBezTo>
                  <a:cubicBezTo>
                    <a:pt x="5063" y="13303"/>
                    <a:pt x="5020" y="13293"/>
                    <a:pt x="4986" y="13293"/>
                  </a:cubicBezTo>
                  <a:cubicBezTo>
                    <a:pt x="4879" y="13293"/>
                    <a:pt x="4749" y="13279"/>
                    <a:pt x="4596" y="13252"/>
                  </a:cubicBezTo>
                  <a:lnTo>
                    <a:pt x="4362" y="13210"/>
                  </a:lnTo>
                  <a:cubicBezTo>
                    <a:pt x="4303" y="13210"/>
                    <a:pt x="4224" y="13239"/>
                    <a:pt x="4122" y="13298"/>
                  </a:cubicBezTo>
                  <a:cubicBezTo>
                    <a:pt x="4024" y="13354"/>
                    <a:pt x="3945" y="13381"/>
                    <a:pt x="3883" y="13381"/>
                  </a:cubicBezTo>
                  <a:cubicBezTo>
                    <a:pt x="3816" y="13381"/>
                    <a:pt x="3749" y="13361"/>
                    <a:pt x="3681" y="13321"/>
                  </a:cubicBezTo>
                  <a:cubicBezTo>
                    <a:pt x="3583" y="13265"/>
                    <a:pt x="3519" y="13232"/>
                    <a:pt x="3488" y="13219"/>
                  </a:cubicBezTo>
                  <a:cubicBezTo>
                    <a:pt x="3476" y="13216"/>
                    <a:pt x="3399" y="13196"/>
                    <a:pt x="3259" y="13159"/>
                  </a:cubicBezTo>
                  <a:cubicBezTo>
                    <a:pt x="3161" y="13134"/>
                    <a:pt x="3084" y="13102"/>
                    <a:pt x="3029" y="13062"/>
                  </a:cubicBezTo>
                  <a:cubicBezTo>
                    <a:pt x="2823" y="12895"/>
                    <a:pt x="2672" y="12781"/>
                    <a:pt x="2574" y="12719"/>
                  </a:cubicBezTo>
                  <a:cubicBezTo>
                    <a:pt x="2414" y="12621"/>
                    <a:pt x="2226" y="12571"/>
                    <a:pt x="2008" y="12571"/>
                  </a:cubicBezTo>
                  <a:cubicBezTo>
                    <a:pt x="1947" y="12571"/>
                    <a:pt x="1884" y="12594"/>
                    <a:pt x="1820" y="12641"/>
                  </a:cubicBezTo>
                  <a:cubicBezTo>
                    <a:pt x="1759" y="12684"/>
                    <a:pt x="1701" y="12705"/>
                    <a:pt x="1645" y="12705"/>
                  </a:cubicBezTo>
                  <a:cubicBezTo>
                    <a:pt x="1596" y="12705"/>
                    <a:pt x="1529" y="12679"/>
                    <a:pt x="1443" y="12627"/>
                  </a:cubicBezTo>
                  <a:cubicBezTo>
                    <a:pt x="1348" y="12565"/>
                    <a:pt x="1279" y="12530"/>
                    <a:pt x="1236" y="12520"/>
                  </a:cubicBezTo>
                  <a:cubicBezTo>
                    <a:pt x="1206" y="12514"/>
                    <a:pt x="1097" y="12499"/>
                    <a:pt x="910" y="12474"/>
                  </a:cubicBezTo>
                  <a:cubicBezTo>
                    <a:pt x="757" y="12452"/>
                    <a:pt x="676" y="12432"/>
                    <a:pt x="666" y="12414"/>
                  </a:cubicBezTo>
                  <a:cubicBezTo>
                    <a:pt x="593" y="12210"/>
                    <a:pt x="524" y="12039"/>
                    <a:pt x="460" y="11900"/>
                  </a:cubicBezTo>
                  <a:cubicBezTo>
                    <a:pt x="340" y="11635"/>
                    <a:pt x="196" y="11467"/>
                    <a:pt x="28" y="11396"/>
                  </a:cubicBezTo>
                  <a:lnTo>
                    <a:pt x="0" y="6267"/>
                  </a:lnTo>
                  <a:lnTo>
                    <a:pt x="4977" y="0"/>
                  </a:lnTo>
                  <a:lnTo>
                    <a:pt x="4982" y="0"/>
                  </a:lnTo>
                  <a:cubicBezTo>
                    <a:pt x="5172" y="31"/>
                    <a:pt x="5316" y="102"/>
                    <a:pt x="5414" y="213"/>
                  </a:cubicBezTo>
                  <a:cubicBezTo>
                    <a:pt x="5475" y="284"/>
                    <a:pt x="5613" y="390"/>
                    <a:pt x="5827" y="532"/>
                  </a:cubicBezTo>
                  <a:cubicBezTo>
                    <a:pt x="6017" y="659"/>
                    <a:pt x="6137" y="764"/>
                    <a:pt x="6186" y="847"/>
                  </a:cubicBezTo>
                  <a:cubicBezTo>
                    <a:pt x="6247" y="949"/>
                    <a:pt x="6286" y="1007"/>
                    <a:pt x="6301" y="1023"/>
                  </a:cubicBezTo>
                  <a:cubicBezTo>
                    <a:pt x="6341" y="1069"/>
                    <a:pt x="6391" y="1094"/>
                    <a:pt x="6453" y="1097"/>
                  </a:cubicBezTo>
                  <a:cubicBezTo>
                    <a:pt x="6474" y="1097"/>
                    <a:pt x="6522" y="1119"/>
                    <a:pt x="6595" y="1162"/>
                  </a:cubicBezTo>
                  <a:cubicBezTo>
                    <a:pt x="6669" y="1205"/>
                    <a:pt x="6714" y="1227"/>
                    <a:pt x="6733" y="1227"/>
                  </a:cubicBezTo>
                  <a:cubicBezTo>
                    <a:pt x="6751" y="1227"/>
                    <a:pt x="6783" y="1214"/>
                    <a:pt x="6829" y="1190"/>
                  </a:cubicBezTo>
                  <a:cubicBezTo>
                    <a:pt x="6872" y="1165"/>
                    <a:pt x="6918" y="1153"/>
                    <a:pt x="6967" y="1153"/>
                  </a:cubicBezTo>
                  <a:cubicBezTo>
                    <a:pt x="6998" y="1153"/>
                    <a:pt x="7088" y="1193"/>
                    <a:pt x="7238" y="1273"/>
                  </a:cubicBezTo>
                  <a:cubicBezTo>
                    <a:pt x="7398" y="1356"/>
                    <a:pt x="7500" y="1404"/>
                    <a:pt x="7546" y="1416"/>
                  </a:cubicBezTo>
                  <a:cubicBezTo>
                    <a:pt x="7715" y="1460"/>
                    <a:pt x="7899" y="1557"/>
                    <a:pt x="8098" y="1708"/>
                  </a:cubicBezTo>
                  <a:cubicBezTo>
                    <a:pt x="8107" y="1708"/>
                    <a:pt x="8116" y="1709"/>
                    <a:pt x="8125" y="1713"/>
                  </a:cubicBezTo>
                  <a:cubicBezTo>
                    <a:pt x="8165" y="1725"/>
                    <a:pt x="8216" y="1750"/>
                    <a:pt x="8277" y="1787"/>
                  </a:cubicBezTo>
                  <a:cubicBezTo>
                    <a:pt x="8372" y="1845"/>
                    <a:pt x="8419" y="1898"/>
                    <a:pt x="8419" y="1944"/>
                  </a:cubicBezTo>
                  <a:cubicBezTo>
                    <a:pt x="8419" y="1969"/>
                    <a:pt x="8396" y="2077"/>
                    <a:pt x="8350" y="2268"/>
                  </a:cubicBezTo>
                  <a:cubicBezTo>
                    <a:pt x="8301" y="2456"/>
                    <a:pt x="8277" y="2567"/>
                    <a:pt x="8277" y="2601"/>
                  </a:cubicBezTo>
                  <a:lnTo>
                    <a:pt x="8286" y="2652"/>
                  </a:lnTo>
                  <a:cubicBezTo>
                    <a:pt x="8335" y="2637"/>
                    <a:pt x="8381" y="2549"/>
                    <a:pt x="8424" y="2388"/>
                  </a:cubicBezTo>
                  <a:cubicBezTo>
                    <a:pt x="8476" y="2206"/>
                    <a:pt x="8504" y="2114"/>
                    <a:pt x="8507" y="2111"/>
                  </a:cubicBezTo>
                  <a:cubicBezTo>
                    <a:pt x="8574" y="2009"/>
                    <a:pt x="8737" y="1958"/>
                    <a:pt x="8994" y="1958"/>
                  </a:cubicBezTo>
                  <a:cubicBezTo>
                    <a:pt x="9058" y="1958"/>
                    <a:pt x="9184" y="1970"/>
                    <a:pt x="9371" y="1995"/>
                  </a:cubicBezTo>
                  <a:cubicBezTo>
                    <a:pt x="9441" y="1995"/>
                    <a:pt x="9501" y="1990"/>
                    <a:pt x="9550" y="1981"/>
                  </a:cubicBezTo>
                  <a:cubicBezTo>
                    <a:pt x="9706" y="1947"/>
                    <a:pt x="9798" y="1927"/>
                    <a:pt x="9826" y="1921"/>
                  </a:cubicBezTo>
                  <a:cubicBezTo>
                    <a:pt x="9863" y="1912"/>
                    <a:pt x="10011" y="1845"/>
                    <a:pt x="10271" y="1722"/>
                  </a:cubicBezTo>
                  <a:cubicBezTo>
                    <a:pt x="10299" y="1722"/>
                    <a:pt x="10334" y="1748"/>
                    <a:pt x="10377" y="1801"/>
                  </a:cubicBezTo>
                  <a:cubicBezTo>
                    <a:pt x="10420" y="1850"/>
                    <a:pt x="10449" y="1875"/>
                    <a:pt x="10464" y="1875"/>
                  </a:cubicBezTo>
                  <a:cubicBezTo>
                    <a:pt x="10501" y="1875"/>
                    <a:pt x="10563" y="1865"/>
                    <a:pt x="10648" y="1847"/>
                  </a:cubicBezTo>
                  <a:cubicBezTo>
                    <a:pt x="10682" y="1847"/>
                    <a:pt x="10719" y="1856"/>
                    <a:pt x="10759" y="1875"/>
                  </a:cubicBezTo>
                  <a:cubicBezTo>
                    <a:pt x="10802" y="1896"/>
                    <a:pt x="10858" y="1909"/>
                    <a:pt x="10929" y="1912"/>
                  </a:cubicBezTo>
                  <a:cubicBezTo>
                    <a:pt x="10999" y="1915"/>
                    <a:pt x="11050" y="1924"/>
                    <a:pt x="11080" y="1939"/>
                  </a:cubicBezTo>
                  <a:cubicBezTo>
                    <a:pt x="11108" y="1958"/>
                    <a:pt x="11139" y="1996"/>
                    <a:pt x="11172" y="2055"/>
                  </a:cubicBezTo>
                  <a:cubicBezTo>
                    <a:pt x="11279" y="2246"/>
                    <a:pt x="11339" y="2518"/>
                    <a:pt x="11351" y="2870"/>
                  </a:cubicBezTo>
                  <a:cubicBezTo>
                    <a:pt x="11355" y="3092"/>
                    <a:pt x="11390" y="3320"/>
                    <a:pt x="11457" y="3555"/>
                  </a:cubicBezTo>
                  <a:cubicBezTo>
                    <a:pt x="11479" y="3632"/>
                    <a:pt x="11514" y="3738"/>
                    <a:pt x="11563" y="3874"/>
                  </a:cubicBezTo>
                  <a:cubicBezTo>
                    <a:pt x="11600" y="4004"/>
                    <a:pt x="11618" y="4153"/>
                    <a:pt x="11618" y="4323"/>
                  </a:cubicBezTo>
                  <a:lnTo>
                    <a:pt x="11609" y="4675"/>
                  </a:lnTo>
                  <a:cubicBezTo>
                    <a:pt x="11609" y="4690"/>
                    <a:pt x="11603" y="4717"/>
                    <a:pt x="11590" y="4754"/>
                  </a:cubicBezTo>
                  <a:lnTo>
                    <a:pt x="11627" y="5008"/>
                  </a:lnTo>
                  <a:cubicBezTo>
                    <a:pt x="11636" y="5101"/>
                    <a:pt x="11693" y="5186"/>
                    <a:pt x="11797" y="5263"/>
                  </a:cubicBezTo>
                  <a:cubicBezTo>
                    <a:pt x="11862" y="5309"/>
                    <a:pt x="11972" y="5385"/>
                    <a:pt x="12128" y="5489"/>
                  </a:cubicBezTo>
                  <a:cubicBezTo>
                    <a:pt x="12235" y="5579"/>
                    <a:pt x="12364" y="5718"/>
                    <a:pt x="12514" y="5906"/>
                  </a:cubicBezTo>
                  <a:cubicBezTo>
                    <a:pt x="12410" y="5989"/>
                    <a:pt x="12315" y="6068"/>
                    <a:pt x="12229" y="6142"/>
                  </a:cubicBezTo>
                  <a:cubicBezTo>
                    <a:pt x="12064" y="6287"/>
                    <a:pt x="11967" y="6407"/>
                    <a:pt x="11940" y="6503"/>
                  </a:cubicBezTo>
                  <a:cubicBezTo>
                    <a:pt x="11946" y="6509"/>
                    <a:pt x="11954" y="6512"/>
                    <a:pt x="11963" y="6512"/>
                  </a:cubicBezTo>
                  <a:cubicBezTo>
                    <a:pt x="11987" y="6512"/>
                    <a:pt x="12068" y="6458"/>
                    <a:pt x="12206" y="6350"/>
                  </a:cubicBezTo>
                  <a:cubicBezTo>
                    <a:pt x="12344" y="6242"/>
                    <a:pt x="12470" y="6188"/>
                    <a:pt x="12583" y="6188"/>
                  </a:cubicBezTo>
                  <a:cubicBezTo>
                    <a:pt x="12681" y="6188"/>
                    <a:pt x="12772" y="6216"/>
                    <a:pt x="12854" y="6272"/>
                  </a:cubicBezTo>
                  <a:cubicBezTo>
                    <a:pt x="12870" y="6281"/>
                    <a:pt x="12971" y="6364"/>
                    <a:pt x="13158" y="6522"/>
                  </a:cubicBezTo>
                  <a:lnTo>
                    <a:pt x="13456" y="6748"/>
                  </a:lnTo>
                  <a:cubicBezTo>
                    <a:pt x="13539" y="6915"/>
                    <a:pt x="13580" y="7000"/>
                    <a:pt x="13580" y="7003"/>
                  </a:cubicBezTo>
                  <a:cubicBezTo>
                    <a:pt x="13580" y="7102"/>
                    <a:pt x="13554" y="7191"/>
                    <a:pt x="13502" y="7272"/>
                  </a:cubicBezTo>
                  <a:cubicBezTo>
                    <a:pt x="13413" y="7398"/>
                    <a:pt x="13345" y="7528"/>
                    <a:pt x="13296" y="7660"/>
                  </a:cubicBezTo>
                  <a:lnTo>
                    <a:pt x="13305" y="7660"/>
                  </a:lnTo>
                  <a:cubicBezTo>
                    <a:pt x="13305" y="7663"/>
                    <a:pt x="13306" y="7665"/>
                    <a:pt x="13309" y="7665"/>
                  </a:cubicBezTo>
                  <a:cubicBezTo>
                    <a:pt x="13312" y="7671"/>
                    <a:pt x="13343" y="7640"/>
                    <a:pt x="13401" y="7572"/>
                  </a:cubicBezTo>
                  <a:cubicBezTo>
                    <a:pt x="13481" y="7474"/>
                    <a:pt x="13528" y="7418"/>
                    <a:pt x="13544" y="7406"/>
                  </a:cubicBezTo>
                  <a:cubicBezTo>
                    <a:pt x="13620" y="7335"/>
                    <a:pt x="13698" y="7299"/>
                    <a:pt x="13778" y="7299"/>
                  </a:cubicBezTo>
                  <a:cubicBezTo>
                    <a:pt x="13833" y="7299"/>
                    <a:pt x="13876" y="7318"/>
                    <a:pt x="13907" y="7355"/>
                  </a:cubicBezTo>
                  <a:cubicBezTo>
                    <a:pt x="13953" y="7404"/>
                    <a:pt x="14000" y="7440"/>
                    <a:pt x="14049" y="7461"/>
                  </a:cubicBezTo>
                  <a:cubicBezTo>
                    <a:pt x="14089" y="7477"/>
                    <a:pt x="14149" y="7495"/>
                    <a:pt x="14228" y="7517"/>
                  </a:cubicBezTo>
                  <a:cubicBezTo>
                    <a:pt x="14244" y="7523"/>
                    <a:pt x="14265" y="7541"/>
                    <a:pt x="14293" y="7572"/>
                  </a:cubicBezTo>
                  <a:cubicBezTo>
                    <a:pt x="14317" y="7600"/>
                    <a:pt x="14343" y="7614"/>
                    <a:pt x="14371" y="7614"/>
                  </a:cubicBezTo>
                  <a:cubicBezTo>
                    <a:pt x="14395" y="7614"/>
                    <a:pt x="14418" y="7588"/>
                    <a:pt x="14440" y="7535"/>
                  </a:cubicBezTo>
                  <a:cubicBezTo>
                    <a:pt x="14458" y="7489"/>
                    <a:pt x="14467" y="7455"/>
                    <a:pt x="14467" y="7433"/>
                  </a:cubicBezTo>
                  <a:cubicBezTo>
                    <a:pt x="14467" y="7421"/>
                    <a:pt x="14446" y="7380"/>
                    <a:pt x="14403" y="7309"/>
                  </a:cubicBezTo>
                  <a:cubicBezTo>
                    <a:pt x="14357" y="7234"/>
                    <a:pt x="14334" y="7150"/>
                    <a:pt x="14334" y="7054"/>
                  </a:cubicBezTo>
                  <a:cubicBezTo>
                    <a:pt x="14334" y="7023"/>
                    <a:pt x="14337" y="7003"/>
                    <a:pt x="14343" y="6994"/>
                  </a:cubicBezTo>
                  <a:cubicBezTo>
                    <a:pt x="14349" y="6981"/>
                    <a:pt x="14363" y="6975"/>
                    <a:pt x="14385" y="6975"/>
                  </a:cubicBezTo>
                  <a:cubicBezTo>
                    <a:pt x="14415" y="6975"/>
                    <a:pt x="14438" y="6988"/>
                    <a:pt x="14454" y="7012"/>
                  </a:cubicBezTo>
                  <a:cubicBezTo>
                    <a:pt x="14463" y="7028"/>
                    <a:pt x="14477" y="7054"/>
                    <a:pt x="14495" y="7091"/>
                  </a:cubicBezTo>
                  <a:cubicBezTo>
                    <a:pt x="14529" y="7079"/>
                    <a:pt x="14547" y="7051"/>
                    <a:pt x="14550" y="7008"/>
                  </a:cubicBezTo>
                  <a:lnTo>
                    <a:pt x="15635" y="13039"/>
                  </a:lnTo>
                  <a:cubicBezTo>
                    <a:pt x="15656" y="13060"/>
                    <a:pt x="15691" y="13093"/>
                    <a:pt x="15740" y="13136"/>
                  </a:cubicBezTo>
                  <a:cubicBezTo>
                    <a:pt x="15774" y="13164"/>
                    <a:pt x="15806" y="13196"/>
                    <a:pt x="15837" y="13233"/>
                  </a:cubicBezTo>
                  <a:cubicBezTo>
                    <a:pt x="15852" y="13252"/>
                    <a:pt x="15857" y="13292"/>
                    <a:pt x="15851" y="13354"/>
                  </a:cubicBezTo>
                  <a:cubicBezTo>
                    <a:pt x="15845" y="13412"/>
                    <a:pt x="15858" y="13460"/>
                    <a:pt x="15892" y="13497"/>
                  </a:cubicBezTo>
                  <a:cubicBezTo>
                    <a:pt x="15929" y="13534"/>
                    <a:pt x="15996" y="13620"/>
                    <a:pt x="16094" y="13756"/>
                  </a:cubicBezTo>
                  <a:cubicBezTo>
                    <a:pt x="16180" y="13877"/>
                    <a:pt x="16237" y="13948"/>
                    <a:pt x="16264" y="13969"/>
                  </a:cubicBezTo>
                  <a:cubicBezTo>
                    <a:pt x="16313" y="14009"/>
                    <a:pt x="16388" y="14060"/>
                    <a:pt x="16490" y="14122"/>
                  </a:cubicBezTo>
                  <a:cubicBezTo>
                    <a:pt x="16575" y="14183"/>
                    <a:pt x="16640" y="14257"/>
                    <a:pt x="16683" y="14344"/>
                  </a:cubicBezTo>
                  <a:cubicBezTo>
                    <a:pt x="16732" y="14440"/>
                    <a:pt x="16807" y="14497"/>
                    <a:pt x="16908" y="14515"/>
                  </a:cubicBezTo>
                  <a:cubicBezTo>
                    <a:pt x="16948" y="14524"/>
                    <a:pt x="17064" y="14529"/>
                    <a:pt x="17257" y="14529"/>
                  </a:cubicBezTo>
                  <a:cubicBezTo>
                    <a:pt x="17355" y="14529"/>
                    <a:pt x="17485" y="14543"/>
                    <a:pt x="17648" y="14571"/>
                  </a:cubicBezTo>
                  <a:cubicBezTo>
                    <a:pt x="17819" y="14602"/>
                    <a:pt x="17945" y="14619"/>
                    <a:pt x="18024" y="14622"/>
                  </a:cubicBezTo>
                  <a:cubicBezTo>
                    <a:pt x="18205" y="14628"/>
                    <a:pt x="18326" y="14645"/>
                    <a:pt x="18388" y="14673"/>
                  </a:cubicBezTo>
                  <a:cubicBezTo>
                    <a:pt x="18412" y="14685"/>
                    <a:pt x="18447" y="14713"/>
                    <a:pt x="18493" y="14756"/>
                  </a:cubicBezTo>
                  <a:cubicBezTo>
                    <a:pt x="18518" y="14781"/>
                    <a:pt x="18567" y="14793"/>
                    <a:pt x="18640" y="14793"/>
                  </a:cubicBezTo>
                  <a:lnTo>
                    <a:pt x="18787" y="14774"/>
                  </a:lnTo>
                  <a:cubicBezTo>
                    <a:pt x="18858" y="14774"/>
                    <a:pt x="18941" y="14855"/>
                    <a:pt x="19036" y="15015"/>
                  </a:cubicBezTo>
                  <a:cubicBezTo>
                    <a:pt x="19134" y="15172"/>
                    <a:pt x="19308" y="15251"/>
                    <a:pt x="19560" y="15251"/>
                  </a:cubicBezTo>
                  <a:cubicBezTo>
                    <a:pt x="19590" y="15251"/>
                    <a:pt x="19627" y="15236"/>
                    <a:pt x="19670" y="15205"/>
                  </a:cubicBezTo>
                  <a:cubicBezTo>
                    <a:pt x="19713" y="15174"/>
                    <a:pt x="19753" y="15159"/>
                    <a:pt x="19789" y="15159"/>
                  </a:cubicBezTo>
                  <a:cubicBezTo>
                    <a:pt x="19841" y="15159"/>
                    <a:pt x="19890" y="15168"/>
                    <a:pt x="19936" y="15186"/>
                  </a:cubicBezTo>
                  <a:cubicBezTo>
                    <a:pt x="19985" y="15205"/>
                    <a:pt x="20030" y="15214"/>
                    <a:pt x="20070" y="15214"/>
                  </a:cubicBezTo>
                  <a:cubicBezTo>
                    <a:pt x="20155" y="15214"/>
                    <a:pt x="20344" y="15108"/>
                    <a:pt x="20635" y="14895"/>
                  </a:cubicBezTo>
                  <a:cubicBezTo>
                    <a:pt x="20923" y="14682"/>
                    <a:pt x="21101" y="14575"/>
                    <a:pt x="21168" y="14575"/>
                  </a:cubicBezTo>
                  <a:cubicBezTo>
                    <a:pt x="21232" y="14575"/>
                    <a:pt x="21297" y="14628"/>
                    <a:pt x="21361" y="14733"/>
                  </a:cubicBezTo>
                  <a:cubicBezTo>
                    <a:pt x="21361" y="14804"/>
                    <a:pt x="21425" y="14916"/>
                    <a:pt x="21554" y="15071"/>
                  </a:cubicBezTo>
                  <a:cubicBezTo>
                    <a:pt x="21554" y="15077"/>
                    <a:pt x="21562" y="15095"/>
                    <a:pt x="21577" y="15126"/>
                  </a:cubicBezTo>
                  <a:cubicBezTo>
                    <a:pt x="21592" y="15157"/>
                    <a:pt x="21600" y="15182"/>
                    <a:pt x="21600" y="15200"/>
                  </a:cubicBezTo>
                  <a:lnTo>
                    <a:pt x="21591" y="15233"/>
                  </a:lnTo>
                  <a:cubicBezTo>
                    <a:pt x="21591" y="15245"/>
                    <a:pt x="21580" y="15268"/>
                    <a:pt x="21559" y="15302"/>
                  </a:cubicBezTo>
                  <a:cubicBezTo>
                    <a:pt x="21537" y="15339"/>
                    <a:pt x="21527" y="15367"/>
                    <a:pt x="21527" y="15385"/>
                  </a:cubicBezTo>
                  <a:lnTo>
                    <a:pt x="21517" y="15385"/>
                  </a:lnTo>
                  <a:lnTo>
                    <a:pt x="21527" y="15395"/>
                  </a:lnTo>
                  <a:cubicBezTo>
                    <a:pt x="21514" y="15419"/>
                    <a:pt x="21508" y="15436"/>
                    <a:pt x="21508" y="15446"/>
                  </a:cubicBezTo>
                  <a:lnTo>
                    <a:pt x="21508" y="15455"/>
                  </a:lnTo>
                  <a:cubicBezTo>
                    <a:pt x="21398" y="15480"/>
                    <a:pt x="21306" y="15527"/>
                    <a:pt x="21232" y="15598"/>
                  </a:cubicBezTo>
                  <a:cubicBezTo>
                    <a:pt x="21110" y="15734"/>
                    <a:pt x="21007" y="15848"/>
                    <a:pt x="20924" y="15941"/>
                  </a:cubicBezTo>
                  <a:cubicBezTo>
                    <a:pt x="20820" y="16052"/>
                    <a:pt x="20733" y="16172"/>
                    <a:pt x="20663" y="16302"/>
                  </a:cubicBezTo>
                  <a:cubicBezTo>
                    <a:pt x="20607" y="16435"/>
                    <a:pt x="20572" y="16518"/>
                    <a:pt x="20557" y="16552"/>
                  </a:cubicBezTo>
                  <a:cubicBezTo>
                    <a:pt x="20526" y="16610"/>
                    <a:pt x="20410" y="16754"/>
                    <a:pt x="20207" y="16982"/>
                  </a:cubicBezTo>
                  <a:cubicBezTo>
                    <a:pt x="20309" y="16862"/>
                    <a:pt x="20364" y="16783"/>
                    <a:pt x="20373" y="16746"/>
                  </a:cubicBezTo>
                  <a:lnTo>
                    <a:pt x="20378" y="16723"/>
                  </a:lnTo>
                  <a:lnTo>
                    <a:pt x="20359" y="16723"/>
                  </a:lnTo>
                  <a:cubicBezTo>
                    <a:pt x="20298" y="16738"/>
                    <a:pt x="20250" y="16763"/>
                    <a:pt x="20217" y="16797"/>
                  </a:cubicBezTo>
                  <a:cubicBezTo>
                    <a:pt x="20158" y="16840"/>
                    <a:pt x="20126" y="16868"/>
                    <a:pt x="20120" y="16880"/>
                  </a:cubicBezTo>
                  <a:cubicBezTo>
                    <a:pt x="20108" y="16893"/>
                    <a:pt x="20060" y="16922"/>
                    <a:pt x="19978" y="16968"/>
                  </a:cubicBezTo>
                  <a:cubicBezTo>
                    <a:pt x="19889" y="17015"/>
                    <a:pt x="19826" y="17055"/>
                    <a:pt x="19789" y="17089"/>
                  </a:cubicBezTo>
                  <a:lnTo>
                    <a:pt x="19449" y="17357"/>
                  </a:lnTo>
                  <a:cubicBezTo>
                    <a:pt x="19419" y="17357"/>
                    <a:pt x="19402" y="17328"/>
                    <a:pt x="19399" y="17269"/>
                  </a:cubicBezTo>
                  <a:cubicBezTo>
                    <a:pt x="19396" y="17211"/>
                    <a:pt x="19383" y="17181"/>
                    <a:pt x="19362" y="17181"/>
                  </a:cubicBezTo>
                  <a:cubicBezTo>
                    <a:pt x="19310" y="17184"/>
                    <a:pt x="19206" y="17221"/>
                    <a:pt x="19049" y="17292"/>
                  </a:cubicBezTo>
                  <a:cubicBezTo>
                    <a:pt x="18896" y="17363"/>
                    <a:pt x="18815" y="17413"/>
                    <a:pt x="18806" y="17441"/>
                  </a:cubicBezTo>
                  <a:cubicBezTo>
                    <a:pt x="18803" y="17450"/>
                    <a:pt x="18797" y="17474"/>
                    <a:pt x="18787" y="17515"/>
                  </a:cubicBezTo>
                  <a:cubicBezTo>
                    <a:pt x="18784" y="17545"/>
                    <a:pt x="18772" y="17565"/>
                    <a:pt x="18751" y="17575"/>
                  </a:cubicBezTo>
                  <a:cubicBezTo>
                    <a:pt x="18677" y="17609"/>
                    <a:pt x="18619" y="17635"/>
                    <a:pt x="18576" y="17653"/>
                  </a:cubicBezTo>
                  <a:cubicBezTo>
                    <a:pt x="18567" y="17656"/>
                    <a:pt x="18559" y="17660"/>
                    <a:pt x="18553" y="17663"/>
                  </a:cubicBezTo>
                  <a:cubicBezTo>
                    <a:pt x="18486" y="17687"/>
                    <a:pt x="18421" y="17710"/>
                    <a:pt x="18360" y="17732"/>
                  </a:cubicBezTo>
                  <a:cubicBezTo>
                    <a:pt x="18158" y="17803"/>
                    <a:pt x="18005" y="17857"/>
                    <a:pt x="17900" y="17894"/>
                  </a:cubicBezTo>
                  <a:cubicBezTo>
                    <a:pt x="17664" y="17981"/>
                    <a:pt x="17471" y="18072"/>
                    <a:pt x="17321" y="18167"/>
                  </a:cubicBezTo>
                  <a:cubicBezTo>
                    <a:pt x="17214" y="18229"/>
                    <a:pt x="17121" y="18305"/>
                    <a:pt x="17041" y="18394"/>
                  </a:cubicBezTo>
                  <a:cubicBezTo>
                    <a:pt x="17001" y="18434"/>
                    <a:pt x="16966" y="18476"/>
                    <a:pt x="16935" y="18519"/>
                  </a:cubicBezTo>
                  <a:cubicBezTo>
                    <a:pt x="16825" y="18664"/>
                    <a:pt x="16742" y="18840"/>
                    <a:pt x="16687" y="19047"/>
                  </a:cubicBezTo>
                  <a:cubicBezTo>
                    <a:pt x="16681" y="19059"/>
                    <a:pt x="16678" y="19070"/>
                    <a:pt x="16678" y="19079"/>
                  </a:cubicBezTo>
                  <a:cubicBezTo>
                    <a:pt x="16675" y="19091"/>
                    <a:pt x="16673" y="19101"/>
                    <a:pt x="16673" y="19107"/>
                  </a:cubicBezTo>
                  <a:cubicBezTo>
                    <a:pt x="16670" y="19138"/>
                    <a:pt x="16687" y="19155"/>
                    <a:pt x="16724" y="19158"/>
                  </a:cubicBezTo>
                  <a:cubicBezTo>
                    <a:pt x="16730" y="19158"/>
                    <a:pt x="16744" y="19156"/>
                    <a:pt x="16765" y="19153"/>
                  </a:cubicBezTo>
                  <a:lnTo>
                    <a:pt x="16963" y="19167"/>
                  </a:lnTo>
                  <a:cubicBezTo>
                    <a:pt x="17009" y="19167"/>
                    <a:pt x="17044" y="19169"/>
                    <a:pt x="17069" y="19172"/>
                  </a:cubicBezTo>
                  <a:cubicBezTo>
                    <a:pt x="17096" y="19172"/>
                    <a:pt x="17113" y="19172"/>
                    <a:pt x="17119" y="19172"/>
                  </a:cubicBezTo>
                  <a:cubicBezTo>
                    <a:pt x="17162" y="19162"/>
                    <a:pt x="17211" y="19144"/>
                    <a:pt x="17266" y="19116"/>
                  </a:cubicBezTo>
                  <a:cubicBezTo>
                    <a:pt x="17272" y="19107"/>
                    <a:pt x="17294" y="19085"/>
                    <a:pt x="17331" y="19051"/>
                  </a:cubicBezTo>
                  <a:cubicBezTo>
                    <a:pt x="17358" y="19020"/>
                    <a:pt x="17377" y="19003"/>
                    <a:pt x="17386" y="19000"/>
                  </a:cubicBezTo>
                  <a:cubicBezTo>
                    <a:pt x="17392" y="19003"/>
                    <a:pt x="17418" y="18999"/>
                    <a:pt x="17464" y="18986"/>
                  </a:cubicBezTo>
                  <a:cubicBezTo>
                    <a:pt x="17467" y="19011"/>
                    <a:pt x="17467" y="19045"/>
                    <a:pt x="17464" y="19088"/>
                  </a:cubicBezTo>
                  <a:cubicBezTo>
                    <a:pt x="17458" y="19178"/>
                    <a:pt x="17462" y="19246"/>
                    <a:pt x="17478" y="19292"/>
                  </a:cubicBezTo>
                  <a:cubicBezTo>
                    <a:pt x="17490" y="19323"/>
                    <a:pt x="17543" y="19374"/>
                    <a:pt x="17638" y="19445"/>
                  </a:cubicBezTo>
                  <a:cubicBezTo>
                    <a:pt x="17709" y="19488"/>
                    <a:pt x="17723" y="19536"/>
                    <a:pt x="17680" y="19588"/>
                  </a:cubicBezTo>
                  <a:cubicBezTo>
                    <a:pt x="17674" y="19594"/>
                    <a:pt x="17668" y="19604"/>
                    <a:pt x="17661" y="19616"/>
                  </a:cubicBezTo>
                  <a:cubicBezTo>
                    <a:pt x="17554" y="19613"/>
                    <a:pt x="17442" y="19625"/>
                    <a:pt x="17326" y="19653"/>
                  </a:cubicBezTo>
                  <a:cubicBezTo>
                    <a:pt x="17164" y="19690"/>
                    <a:pt x="17021" y="19719"/>
                    <a:pt x="16898" y="19741"/>
                  </a:cubicBezTo>
                  <a:cubicBezTo>
                    <a:pt x="16877" y="19744"/>
                    <a:pt x="16856" y="19749"/>
                    <a:pt x="16834" y="19755"/>
                  </a:cubicBezTo>
                  <a:cubicBezTo>
                    <a:pt x="16513" y="19829"/>
                    <a:pt x="16300" y="19960"/>
                    <a:pt x="16195" y="20148"/>
                  </a:cubicBezTo>
                  <a:cubicBezTo>
                    <a:pt x="16192" y="20154"/>
                    <a:pt x="16189" y="20162"/>
                    <a:pt x="16186" y="20171"/>
                  </a:cubicBezTo>
                  <a:cubicBezTo>
                    <a:pt x="16183" y="20178"/>
                    <a:pt x="16180" y="20184"/>
                    <a:pt x="16177" y="20190"/>
                  </a:cubicBezTo>
                  <a:cubicBezTo>
                    <a:pt x="16174" y="20193"/>
                    <a:pt x="16172" y="20196"/>
                    <a:pt x="16172" y="20199"/>
                  </a:cubicBezTo>
                  <a:cubicBezTo>
                    <a:pt x="16166" y="20208"/>
                    <a:pt x="16162" y="20216"/>
                    <a:pt x="16159" y="20222"/>
                  </a:cubicBezTo>
                  <a:cubicBezTo>
                    <a:pt x="16153" y="20228"/>
                    <a:pt x="16150" y="20235"/>
                    <a:pt x="16150" y="20241"/>
                  </a:cubicBezTo>
                  <a:lnTo>
                    <a:pt x="16150" y="20245"/>
                  </a:lnTo>
                  <a:cubicBezTo>
                    <a:pt x="16150" y="20258"/>
                    <a:pt x="16156" y="20273"/>
                    <a:pt x="16168" y="20292"/>
                  </a:cubicBezTo>
                  <a:cubicBezTo>
                    <a:pt x="16168" y="20298"/>
                    <a:pt x="16148" y="20301"/>
                    <a:pt x="16108" y="20301"/>
                  </a:cubicBezTo>
                  <a:cubicBezTo>
                    <a:pt x="16065" y="20310"/>
                    <a:pt x="16024" y="20316"/>
                    <a:pt x="15984" y="20319"/>
                  </a:cubicBezTo>
                  <a:cubicBezTo>
                    <a:pt x="15944" y="20313"/>
                    <a:pt x="15895" y="20302"/>
                    <a:pt x="15837" y="20287"/>
                  </a:cubicBezTo>
                  <a:cubicBezTo>
                    <a:pt x="15782" y="20265"/>
                    <a:pt x="15737" y="20255"/>
                    <a:pt x="15704" y="20255"/>
                  </a:cubicBezTo>
                  <a:lnTo>
                    <a:pt x="15616" y="20259"/>
                  </a:lnTo>
                  <a:cubicBezTo>
                    <a:pt x="15570" y="20250"/>
                    <a:pt x="15541" y="20245"/>
                    <a:pt x="15529" y="20245"/>
                  </a:cubicBezTo>
                  <a:cubicBezTo>
                    <a:pt x="15477" y="20245"/>
                    <a:pt x="15362" y="20272"/>
                    <a:pt x="15184" y="20324"/>
                  </a:cubicBezTo>
                  <a:cubicBezTo>
                    <a:pt x="15142" y="20336"/>
                    <a:pt x="15091" y="20366"/>
                    <a:pt x="15033" y="20412"/>
                  </a:cubicBezTo>
                  <a:cubicBezTo>
                    <a:pt x="14978" y="20455"/>
                    <a:pt x="14949" y="20486"/>
                    <a:pt x="14945" y="20505"/>
                  </a:cubicBezTo>
                  <a:lnTo>
                    <a:pt x="14720" y="20819"/>
                  </a:lnTo>
                  <a:cubicBezTo>
                    <a:pt x="14699" y="20866"/>
                    <a:pt x="14660" y="20910"/>
                    <a:pt x="14605" y="20954"/>
                  </a:cubicBezTo>
                  <a:cubicBezTo>
                    <a:pt x="14596" y="20960"/>
                    <a:pt x="14588" y="20966"/>
                    <a:pt x="14582" y="20972"/>
                  </a:cubicBezTo>
                  <a:cubicBezTo>
                    <a:pt x="14506" y="21031"/>
                    <a:pt x="14460" y="21068"/>
                    <a:pt x="14444" y="21083"/>
                  </a:cubicBezTo>
                  <a:cubicBezTo>
                    <a:pt x="14368" y="21142"/>
                    <a:pt x="14299" y="21193"/>
                    <a:pt x="14238" y="21236"/>
                  </a:cubicBezTo>
                  <a:cubicBezTo>
                    <a:pt x="14127" y="21319"/>
                    <a:pt x="14060" y="21401"/>
                    <a:pt x="14035" y="21481"/>
                  </a:cubicBezTo>
                  <a:cubicBezTo>
                    <a:pt x="14023" y="21500"/>
                    <a:pt x="14014" y="21526"/>
                    <a:pt x="14008" y="21560"/>
                  </a:cubicBezTo>
                  <a:cubicBezTo>
                    <a:pt x="14002" y="21578"/>
                    <a:pt x="13988" y="21588"/>
                    <a:pt x="13967" y="21588"/>
                  </a:cubicBezTo>
                  <a:cubicBezTo>
                    <a:pt x="13954" y="21585"/>
                    <a:pt x="13942" y="21566"/>
                    <a:pt x="13930" y="21532"/>
                  </a:cubicBezTo>
                  <a:cubicBezTo>
                    <a:pt x="13911" y="21492"/>
                    <a:pt x="13881" y="21472"/>
                    <a:pt x="13838" y="21472"/>
                  </a:cubicBezTo>
                  <a:cubicBezTo>
                    <a:pt x="13807" y="21472"/>
                    <a:pt x="13766" y="21494"/>
                    <a:pt x="13714" y="21537"/>
                  </a:cubicBezTo>
                  <a:cubicBezTo>
                    <a:pt x="13658" y="21580"/>
                    <a:pt x="13616" y="21600"/>
                    <a:pt x="13585" y="21597"/>
                  </a:cubicBezTo>
                  <a:cubicBezTo>
                    <a:pt x="13539" y="21572"/>
                    <a:pt x="13507" y="21560"/>
                    <a:pt x="13488" y="21560"/>
                  </a:cubicBezTo>
                  <a:cubicBezTo>
                    <a:pt x="13470" y="21560"/>
                    <a:pt x="13444" y="21546"/>
                    <a:pt x="13410" y="21518"/>
                  </a:cubicBezTo>
                  <a:cubicBezTo>
                    <a:pt x="13380" y="21497"/>
                    <a:pt x="13363" y="21486"/>
                    <a:pt x="13360" y="21486"/>
                  </a:cubicBezTo>
                  <a:cubicBezTo>
                    <a:pt x="13338" y="21486"/>
                    <a:pt x="13322" y="21498"/>
                    <a:pt x="13309" y="21523"/>
                  </a:cubicBezTo>
                  <a:cubicBezTo>
                    <a:pt x="13306" y="21474"/>
                    <a:pt x="13308" y="21416"/>
                    <a:pt x="13314" y="21352"/>
                  </a:cubicBezTo>
                  <a:cubicBezTo>
                    <a:pt x="13332" y="21200"/>
                    <a:pt x="13363" y="21103"/>
                    <a:pt x="13406" y="21060"/>
                  </a:cubicBezTo>
                  <a:cubicBezTo>
                    <a:pt x="13421" y="21051"/>
                    <a:pt x="13453" y="21020"/>
                    <a:pt x="13502" y="20967"/>
                  </a:cubicBezTo>
                  <a:cubicBezTo>
                    <a:pt x="13502" y="20971"/>
                    <a:pt x="13502" y="20974"/>
                    <a:pt x="13502" y="20977"/>
                  </a:cubicBezTo>
                  <a:cubicBezTo>
                    <a:pt x="13499" y="20995"/>
                    <a:pt x="13496" y="21012"/>
                    <a:pt x="13493" y="21028"/>
                  </a:cubicBezTo>
                  <a:cubicBezTo>
                    <a:pt x="13484" y="21046"/>
                    <a:pt x="13478" y="21066"/>
                    <a:pt x="13475" y="21088"/>
                  </a:cubicBezTo>
                  <a:cubicBezTo>
                    <a:pt x="13475" y="21091"/>
                    <a:pt x="13481" y="21092"/>
                    <a:pt x="13493" y="21092"/>
                  </a:cubicBezTo>
                  <a:cubicBezTo>
                    <a:pt x="13508" y="21092"/>
                    <a:pt x="13530" y="21086"/>
                    <a:pt x="13557" y="21074"/>
                  </a:cubicBezTo>
                  <a:cubicBezTo>
                    <a:pt x="13564" y="21071"/>
                    <a:pt x="13571" y="21066"/>
                    <a:pt x="13580" y="21060"/>
                  </a:cubicBezTo>
                  <a:cubicBezTo>
                    <a:pt x="13590" y="21060"/>
                    <a:pt x="13599" y="21059"/>
                    <a:pt x="13608" y="21055"/>
                  </a:cubicBezTo>
                  <a:cubicBezTo>
                    <a:pt x="13636" y="21052"/>
                    <a:pt x="13657" y="21051"/>
                    <a:pt x="13672" y="21051"/>
                  </a:cubicBezTo>
                  <a:lnTo>
                    <a:pt x="13815" y="21065"/>
                  </a:lnTo>
                  <a:cubicBezTo>
                    <a:pt x="13888" y="21065"/>
                    <a:pt x="13947" y="21046"/>
                    <a:pt x="13990" y="21009"/>
                  </a:cubicBezTo>
                  <a:cubicBezTo>
                    <a:pt x="14035" y="20966"/>
                    <a:pt x="14058" y="20920"/>
                    <a:pt x="14058" y="20870"/>
                  </a:cubicBezTo>
                  <a:cubicBezTo>
                    <a:pt x="14062" y="20830"/>
                    <a:pt x="14042" y="20805"/>
                    <a:pt x="13999" y="20796"/>
                  </a:cubicBezTo>
                  <a:cubicBezTo>
                    <a:pt x="13950" y="20781"/>
                    <a:pt x="13925" y="20770"/>
                    <a:pt x="13925" y="20764"/>
                  </a:cubicBezTo>
                  <a:cubicBezTo>
                    <a:pt x="13910" y="20745"/>
                    <a:pt x="13896" y="20728"/>
                    <a:pt x="13884" y="20713"/>
                  </a:cubicBezTo>
                  <a:cubicBezTo>
                    <a:pt x="13869" y="20697"/>
                    <a:pt x="13858" y="20687"/>
                    <a:pt x="13852" y="20681"/>
                  </a:cubicBezTo>
                  <a:cubicBezTo>
                    <a:pt x="13852" y="20677"/>
                    <a:pt x="13850" y="20676"/>
                    <a:pt x="13847" y="20676"/>
                  </a:cubicBezTo>
                  <a:cubicBezTo>
                    <a:pt x="13838" y="20667"/>
                    <a:pt x="13829" y="20656"/>
                    <a:pt x="13819" y="20643"/>
                  </a:cubicBezTo>
                  <a:cubicBezTo>
                    <a:pt x="13844" y="20619"/>
                    <a:pt x="13867" y="20596"/>
                    <a:pt x="13888" y="20574"/>
                  </a:cubicBezTo>
                  <a:cubicBezTo>
                    <a:pt x="13879" y="20503"/>
                    <a:pt x="13885" y="20360"/>
                    <a:pt x="13907" y="20144"/>
                  </a:cubicBezTo>
                  <a:cubicBezTo>
                    <a:pt x="13907" y="20094"/>
                    <a:pt x="13911" y="20046"/>
                    <a:pt x="13921" y="20000"/>
                  </a:cubicBezTo>
                  <a:cubicBezTo>
                    <a:pt x="13927" y="20003"/>
                    <a:pt x="13931" y="20005"/>
                    <a:pt x="13934" y="20005"/>
                  </a:cubicBezTo>
                  <a:cubicBezTo>
                    <a:pt x="13947" y="20005"/>
                    <a:pt x="13957" y="19995"/>
                    <a:pt x="13967" y="19977"/>
                  </a:cubicBezTo>
                  <a:cubicBezTo>
                    <a:pt x="13973" y="19965"/>
                    <a:pt x="13979" y="19949"/>
                    <a:pt x="13985" y="19931"/>
                  </a:cubicBezTo>
                  <a:cubicBezTo>
                    <a:pt x="13985" y="19928"/>
                    <a:pt x="13996" y="19920"/>
                    <a:pt x="14017" y="19908"/>
                  </a:cubicBezTo>
                  <a:cubicBezTo>
                    <a:pt x="14029" y="19901"/>
                    <a:pt x="14046" y="19892"/>
                    <a:pt x="14068" y="19880"/>
                  </a:cubicBezTo>
                  <a:cubicBezTo>
                    <a:pt x="14083" y="19867"/>
                    <a:pt x="14126" y="19829"/>
                    <a:pt x="14196" y="19764"/>
                  </a:cubicBezTo>
                  <a:cubicBezTo>
                    <a:pt x="14258" y="19702"/>
                    <a:pt x="14305" y="19661"/>
                    <a:pt x="14339" y="19639"/>
                  </a:cubicBezTo>
                  <a:cubicBezTo>
                    <a:pt x="14464" y="19556"/>
                    <a:pt x="14539" y="19426"/>
                    <a:pt x="14564" y="19250"/>
                  </a:cubicBezTo>
                  <a:cubicBezTo>
                    <a:pt x="14570" y="19213"/>
                    <a:pt x="14573" y="19175"/>
                    <a:pt x="14573" y="19135"/>
                  </a:cubicBezTo>
                  <a:cubicBezTo>
                    <a:pt x="14518" y="18792"/>
                    <a:pt x="14492" y="18587"/>
                    <a:pt x="14495" y="18519"/>
                  </a:cubicBezTo>
                  <a:lnTo>
                    <a:pt x="14504" y="18422"/>
                  </a:lnTo>
                  <a:cubicBezTo>
                    <a:pt x="14504" y="18416"/>
                    <a:pt x="14504" y="18409"/>
                    <a:pt x="14504" y="18403"/>
                  </a:cubicBezTo>
                  <a:cubicBezTo>
                    <a:pt x="14501" y="18391"/>
                    <a:pt x="14495" y="18383"/>
                    <a:pt x="14486" y="18380"/>
                  </a:cubicBezTo>
                  <a:cubicBezTo>
                    <a:pt x="14470" y="18368"/>
                    <a:pt x="14463" y="18337"/>
                    <a:pt x="14463" y="18287"/>
                  </a:cubicBezTo>
                  <a:lnTo>
                    <a:pt x="14463" y="18126"/>
                  </a:lnTo>
                  <a:cubicBezTo>
                    <a:pt x="14463" y="18110"/>
                    <a:pt x="14475" y="18055"/>
                    <a:pt x="14500" y="17959"/>
                  </a:cubicBezTo>
                  <a:cubicBezTo>
                    <a:pt x="14530" y="17863"/>
                    <a:pt x="14558" y="17798"/>
                    <a:pt x="14582" y="17765"/>
                  </a:cubicBezTo>
                  <a:lnTo>
                    <a:pt x="14582" y="17760"/>
                  </a:lnTo>
                  <a:cubicBezTo>
                    <a:pt x="14595" y="17735"/>
                    <a:pt x="14610" y="17706"/>
                    <a:pt x="14628" y="17672"/>
                  </a:cubicBezTo>
                  <a:cubicBezTo>
                    <a:pt x="14650" y="17632"/>
                    <a:pt x="14676" y="17587"/>
                    <a:pt x="14706" y="17538"/>
                  </a:cubicBezTo>
                  <a:cubicBezTo>
                    <a:pt x="14740" y="17476"/>
                    <a:pt x="14769" y="17424"/>
                    <a:pt x="14794" y="17380"/>
                  </a:cubicBezTo>
                  <a:lnTo>
                    <a:pt x="14807" y="17251"/>
                  </a:lnTo>
                  <a:cubicBezTo>
                    <a:pt x="14811" y="17161"/>
                    <a:pt x="14788" y="17067"/>
                    <a:pt x="14738" y="16968"/>
                  </a:cubicBezTo>
                  <a:cubicBezTo>
                    <a:pt x="14699" y="16897"/>
                    <a:pt x="14642" y="16812"/>
                    <a:pt x="14568" y="16714"/>
                  </a:cubicBezTo>
                  <a:cubicBezTo>
                    <a:pt x="14562" y="16708"/>
                    <a:pt x="14541" y="16694"/>
                    <a:pt x="14504" y="16672"/>
                  </a:cubicBezTo>
                  <a:cubicBezTo>
                    <a:pt x="14474" y="16654"/>
                    <a:pt x="14455" y="16640"/>
                    <a:pt x="14449" y="16631"/>
                  </a:cubicBezTo>
                  <a:cubicBezTo>
                    <a:pt x="14440" y="16593"/>
                    <a:pt x="14421" y="16569"/>
                    <a:pt x="14394" y="16556"/>
                  </a:cubicBezTo>
                  <a:cubicBezTo>
                    <a:pt x="14382" y="16553"/>
                    <a:pt x="14369" y="16550"/>
                    <a:pt x="14357" y="16547"/>
                  </a:cubicBezTo>
                  <a:cubicBezTo>
                    <a:pt x="14333" y="16541"/>
                    <a:pt x="14316" y="16532"/>
                    <a:pt x="14307" y="16519"/>
                  </a:cubicBezTo>
                  <a:cubicBezTo>
                    <a:pt x="14294" y="16498"/>
                    <a:pt x="14284" y="16481"/>
                    <a:pt x="14274" y="16469"/>
                  </a:cubicBezTo>
                  <a:cubicBezTo>
                    <a:pt x="14259" y="16450"/>
                    <a:pt x="14233" y="16433"/>
                    <a:pt x="14196" y="16418"/>
                  </a:cubicBezTo>
                  <a:cubicBezTo>
                    <a:pt x="14261" y="16414"/>
                    <a:pt x="14336" y="16411"/>
                    <a:pt x="14421" y="16408"/>
                  </a:cubicBezTo>
                  <a:cubicBezTo>
                    <a:pt x="14474" y="16408"/>
                    <a:pt x="14544" y="16413"/>
                    <a:pt x="14633" y="16422"/>
                  </a:cubicBezTo>
                  <a:cubicBezTo>
                    <a:pt x="14654" y="16422"/>
                    <a:pt x="14663" y="16428"/>
                    <a:pt x="14660" y="16441"/>
                  </a:cubicBezTo>
                  <a:cubicBezTo>
                    <a:pt x="14660" y="16444"/>
                    <a:pt x="14662" y="16479"/>
                    <a:pt x="14665" y="16547"/>
                  </a:cubicBezTo>
                  <a:cubicBezTo>
                    <a:pt x="14665" y="16550"/>
                    <a:pt x="14665" y="16553"/>
                    <a:pt x="14665" y="16556"/>
                  </a:cubicBezTo>
                  <a:cubicBezTo>
                    <a:pt x="14668" y="16581"/>
                    <a:pt x="14676" y="16601"/>
                    <a:pt x="14688" y="16617"/>
                  </a:cubicBezTo>
                  <a:lnTo>
                    <a:pt x="14743" y="16667"/>
                  </a:lnTo>
                  <a:cubicBezTo>
                    <a:pt x="14755" y="16695"/>
                    <a:pt x="14765" y="16714"/>
                    <a:pt x="14771" y="16723"/>
                  </a:cubicBezTo>
                  <a:cubicBezTo>
                    <a:pt x="14792" y="16745"/>
                    <a:pt x="14826" y="16762"/>
                    <a:pt x="14872" y="16774"/>
                  </a:cubicBezTo>
                  <a:cubicBezTo>
                    <a:pt x="14909" y="16783"/>
                    <a:pt x="14953" y="16796"/>
                    <a:pt x="15005" y="16811"/>
                  </a:cubicBezTo>
                  <a:cubicBezTo>
                    <a:pt x="15036" y="16817"/>
                    <a:pt x="15051" y="16828"/>
                    <a:pt x="15051" y="16843"/>
                  </a:cubicBezTo>
                  <a:cubicBezTo>
                    <a:pt x="15051" y="16865"/>
                    <a:pt x="15037" y="16888"/>
                    <a:pt x="15010" y="16913"/>
                  </a:cubicBezTo>
                  <a:cubicBezTo>
                    <a:pt x="14979" y="16938"/>
                    <a:pt x="14964" y="16968"/>
                    <a:pt x="14964" y="17005"/>
                  </a:cubicBezTo>
                  <a:cubicBezTo>
                    <a:pt x="14961" y="17042"/>
                    <a:pt x="14967" y="17061"/>
                    <a:pt x="14982" y="17061"/>
                  </a:cubicBezTo>
                  <a:cubicBezTo>
                    <a:pt x="14994" y="17061"/>
                    <a:pt x="15002" y="17049"/>
                    <a:pt x="15005" y="17024"/>
                  </a:cubicBezTo>
                  <a:cubicBezTo>
                    <a:pt x="15011" y="16996"/>
                    <a:pt x="15030" y="16982"/>
                    <a:pt x="15060" y="16982"/>
                  </a:cubicBezTo>
                  <a:cubicBezTo>
                    <a:pt x="15097" y="16982"/>
                    <a:pt x="15129" y="16992"/>
                    <a:pt x="15157" y="17010"/>
                  </a:cubicBezTo>
                  <a:cubicBezTo>
                    <a:pt x="15187" y="17029"/>
                    <a:pt x="15203" y="17059"/>
                    <a:pt x="15203" y="17103"/>
                  </a:cubicBezTo>
                  <a:cubicBezTo>
                    <a:pt x="15203" y="17106"/>
                    <a:pt x="15192" y="17118"/>
                    <a:pt x="15171" y="17140"/>
                  </a:cubicBezTo>
                  <a:cubicBezTo>
                    <a:pt x="15149" y="17164"/>
                    <a:pt x="15137" y="17192"/>
                    <a:pt x="15134" y="17223"/>
                  </a:cubicBezTo>
                  <a:cubicBezTo>
                    <a:pt x="15134" y="17241"/>
                    <a:pt x="15140" y="17257"/>
                    <a:pt x="15152" y="17269"/>
                  </a:cubicBezTo>
                  <a:cubicBezTo>
                    <a:pt x="15158" y="17275"/>
                    <a:pt x="15164" y="17278"/>
                    <a:pt x="15171" y="17278"/>
                  </a:cubicBezTo>
                  <a:cubicBezTo>
                    <a:pt x="15195" y="17275"/>
                    <a:pt x="15207" y="17257"/>
                    <a:pt x="15207" y="17223"/>
                  </a:cubicBezTo>
                  <a:cubicBezTo>
                    <a:pt x="15204" y="17204"/>
                    <a:pt x="15203" y="17192"/>
                    <a:pt x="15203" y="17186"/>
                  </a:cubicBezTo>
                  <a:cubicBezTo>
                    <a:pt x="15203" y="17164"/>
                    <a:pt x="15230" y="17143"/>
                    <a:pt x="15285" y="17121"/>
                  </a:cubicBezTo>
                  <a:cubicBezTo>
                    <a:pt x="15295" y="17118"/>
                    <a:pt x="15304" y="17115"/>
                    <a:pt x="15313" y="17112"/>
                  </a:cubicBezTo>
                  <a:cubicBezTo>
                    <a:pt x="15331" y="17106"/>
                    <a:pt x="15350" y="17100"/>
                    <a:pt x="15368" y="17093"/>
                  </a:cubicBezTo>
                  <a:cubicBezTo>
                    <a:pt x="15393" y="17093"/>
                    <a:pt x="15462" y="17132"/>
                    <a:pt x="15575" y="17209"/>
                  </a:cubicBezTo>
                  <a:cubicBezTo>
                    <a:pt x="15685" y="17289"/>
                    <a:pt x="15783" y="17331"/>
                    <a:pt x="15869" y="17334"/>
                  </a:cubicBezTo>
                  <a:cubicBezTo>
                    <a:pt x="15952" y="17334"/>
                    <a:pt x="16021" y="17319"/>
                    <a:pt x="16076" y="17288"/>
                  </a:cubicBezTo>
                  <a:cubicBezTo>
                    <a:pt x="16159" y="17254"/>
                    <a:pt x="16202" y="17197"/>
                    <a:pt x="16205" y="17117"/>
                  </a:cubicBezTo>
                  <a:cubicBezTo>
                    <a:pt x="16205" y="17086"/>
                    <a:pt x="16168" y="17038"/>
                    <a:pt x="16094" y="16973"/>
                  </a:cubicBezTo>
                  <a:cubicBezTo>
                    <a:pt x="16021" y="16914"/>
                    <a:pt x="15984" y="16882"/>
                    <a:pt x="15984" y="16876"/>
                  </a:cubicBezTo>
                  <a:cubicBezTo>
                    <a:pt x="15987" y="16830"/>
                    <a:pt x="16004" y="16800"/>
                    <a:pt x="16035" y="16788"/>
                  </a:cubicBezTo>
                  <a:cubicBezTo>
                    <a:pt x="16053" y="16775"/>
                    <a:pt x="16090" y="16769"/>
                    <a:pt x="16145" y="16769"/>
                  </a:cubicBezTo>
                  <a:cubicBezTo>
                    <a:pt x="16197" y="16772"/>
                    <a:pt x="16218" y="16793"/>
                    <a:pt x="16209" y="16830"/>
                  </a:cubicBezTo>
                  <a:cubicBezTo>
                    <a:pt x="16203" y="16864"/>
                    <a:pt x="16248" y="16882"/>
                    <a:pt x="16342" y="16885"/>
                  </a:cubicBezTo>
                  <a:cubicBezTo>
                    <a:pt x="16373" y="16888"/>
                    <a:pt x="16396" y="16880"/>
                    <a:pt x="16411" y="16862"/>
                  </a:cubicBezTo>
                  <a:cubicBezTo>
                    <a:pt x="16433" y="16840"/>
                    <a:pt x="16444" y="16817"/>
                    <a:pt x="16444" y="16793"/>
                  </a:cubicBezTo>
                  <a:cubicBezTo>
                    <a:pt x="16444" y="16743"/>
                    <a:pt x="16442" y="16708"/>
                    <a:pt x="16439" y="16686"/>
                  </a:cubicBezTo>
                  <a:cubicBezTo>
                    <a:pt x="16436" y="16655"/>
                    <a:pt x="16425" y="16640"/>
                    <a:pt x="16407" y="16640"/>
                  </a:cubicBezTo>
                  <a:cubicBezTo>
                    <a:pt x="16392" y="16637"/>
                    <a:pt x="16378" y="16647"/>
                    <a:pt x="16365" y="16672"/>
                  </a:cubicBezTo>
                  <a:cubicBezTo>
                    <a:pt x="16356" y="16691"/>
                    <a:pt x="16349" y="16700"/>
                    <a:pt x="16342" y="16700"/>
                  </a:cubicBezTo>
                  <a:cubicBezTo>
                    <a:pt x="16312" y="16700"/>
                    <a:pt x="16287" y="16686"/>
                    <a:pt x="16269" y="16658"/>
                  </a:cubicBezTo>
                  <a:cubicBezTo>
                    <a:pt x="16251" y="16618"/>
                    <a:pt x="16234" y="16589"/>
                    <a:pt x="16218" y="16570"/>
                  </a:cubicBezTo>
                  <a:cubicBezTo>
                    <a:pt x="16166" y="16521"/>
                    <a:pt x="16130" y="16484"/>
                    <a:pt x="16108" y="16459"/>
                  </a:cubicBezTo>
                  <a:cubicBezTo>
                    <a:pt x="16096" y="16438"/>
                    <a:pt x="16082" y="16416"/>
                    <a:pt x="16067" y="16394"/>
                  </a:cubicBezTo>
                  <a:cubicBezTo>
                    <a:pt x="16045" y="16364"/>
                    <a:pt x="16021" y="16340"/>
                    <a:pt x="15993" y="16325"/>
                  </a:cubicBezTo>
                  <a:lnTo>
                    <a:pt x="15993" y="16307"/>
                  </a:lnTo>
                  <a:cubicBezTo>
                    <a:pt x="15993" y="16297"/>
                    <a:pt x="15995" y="16288"/>
                    <a:pt x="15998" y="16279"/>
                  </a:cubicBezTo>
                  <a:cubicBezTo>
                    <a:pt x="16010" y="16263"/>
                    <a:pt x="16016" y="16252"/>
                    <a:pt x="16016" y="16246"/>
                  </a:cubicBezTo>
                  <a:lnTo>
                    <a:pt x="15998" y="16246"/>
                  </a:lnTo>
                  <a:cubicBezTo>
                    <a:pt x="15955" y="16262"/>
                    <a:pt x="15926" y="16269"/>
                    <a:pt x="15910" y="16269"/>
                  </a:cubicBezTo>
                  <a:cubicBezTo>
                    <a:pt x="15892" y="16269"/>
                    <a:pt x="15881" y="16257"/>
                    <a:pt x="15878" y="16232"/>
                  </a:cubicBezTo>
                  <a:cubicBezTo>
                    <a:pt x="15875" y="16217"/>
                    <a:pt x="15874" y="16203"/>
                    <a:pt x="15874" y="16191"/>
                  </a:cubicBezTo>
                  <a:cubicBezTo>
                    <a:pt x="15874" y="16160"/>
                    <a:pt x="15895" y="16131"/>
                    <a:pt x="15938" y="16103"/>
                  </a:cubicBezTo>
                  <a:cubicBezTo>
                    <a:pt x="15981" y="16072"/>
                    <a:pt x="16002" y="16033"/>
                    <a:pt x="16002" y="15987"/>
                  </a:cubicBezTo>
                  <a:cubicBezTo>
                    <a:pt x="16002" y="15959"/>
                    <a:pt x="15992" y="15936"/>
                    <a:pt x="15970" y="15918"/>
                  </a:cubicBezTo>
                  <a:cubicBezTo>
                    <a:pt x="15952" y="15905"/>
                    <a:pt x="15927" y="15899"/>
                    <a:pt x="15897" y="15899"/>
                  </a:cubicBezTo>
                  <a:cubicBezTo>
                    <a:pt x="15841" y="15896"/>
                    <a:pt x="15805" y="15918"/>
                    <a:pt x="15786" y="15964"/>
                  </a:cubicBezTo>
                  <a:cubicBezTo>
                    <a:pt x="15771" y="16004"/>
                    <a:pt x="15757" y="16024"/>
                    <a:pt x="15745" y="16024"/>
                  </a:cubicBezTo>
                  <a:cubicBezTo>
                    <a:pt x="15647" y="16021"/>
                    <a:pt x="15583" y="15973"/>
                    <a:pt x="15552" y="15881"/>
                  </a:cubicBezTo>
                  <a:cubicBezTo>
                    <a:pt x="15549" y="15856"/>
                    <a:pt x="15547" y="15834"/>
                    <a:pt x="15547" y="15816"/>
                  </a:cubicBezTo>
                  <a:cubicBezTo>
                    <a:pt x="15544" y="15763"/>
                    <a:pt x="15541" y="15733"/>
                    <a:pt x="15538" y="15723"/>
                  </a:cubicBezTo>
                  <a:cubicBezTo>
                    <a:pt x="15532" y="15711"/>
                    <a:pt x="15506" y="15702"/>
                    <a:pt x="15460" y="15695"/>
                  </a:cubicBezTo>
                  <a:cubicBezTo>
                    <a:pt x="15408" y="15695"/>
                    <a:pt x="15379" y="15692"/>
                    <a:pt x="15373" y="15686"/>
                  </a:cubicBezTo>
                  <a:cubicBezTo>
                    <a:pt x="15348" y="15677"/>
                    <a:pt x="15325" y="15655"/>
                    <a:pt x="15304" y="15621"/>
                  </a:cubicBezTo>
                  <a:cubicBezTo>
                    <a:pt x="15298" y="15612"/>
                    <a:pt x="15293" y="15603"/>
                    <a:pt x="15290" y="15594"/>
                  </a:cubicBezTo>
                  <a:cubicBezTo>
                    <a:pt x="15250" y="15529"/>
                    <a:pt x="15220" y="15480"/>
                    <a:pt x="15198" y="15446"/>
                  </a:cubicBezTo>
                  <a:cubicBezTo>
                    <a:pt x="15183" y="15399"/>
                    <a:pt x="15145" y="15348"/>
                    <a:pt x="15083" y="15293"/>
                  </a:cubicBezTo>
                  <a:cubicBezTo>
                    <a:pt x="15047" y="15262"/>
                    <a:pt x="15008" y="15237"/>
                    <a:pt x="14968" y="15219"/>
                  </a:cubicBezTo>
                  <a:cubicBezTo>
                    <a:pt x="14926" y="15200"/>
                    <a:pt x="14880" y="15191"/>
                    <a:pt x="14830" y="15191"/>
                  </a:cubicBezTo>
                  <a:lnTo>
                    <a:pt x="14233" y="15237"/>
                  </a:lnTo>
                  <a:cubicBezTo>
                    <a:pt x="14209" y="15237"/>
                    <a:pt x="14193" y="15234"/>
                    <a:pt x="14187" y="15228"/>
                  </a:cubicBezTo>
                  <a:cubicBezTo>
                    <a:pt x="14181" y="15219"/>
                    <a:pt x="14178" y="15203"/>
                    <a:pt x="14178" y="15182"/>
                  </a:cubicBezTo>
                  <a:lnTo>
                    <a:pt x="14187" y="15149"/>
                  </a:lnTo>
                  <a:lnTo>
                    <a:pt x="14187" y="15103"/>
                  </a:lnTo>
                  <a:lnTo>
                    <a:pt x="14141" y="15103"/>
                  </a:lnTo>
                  <a:lnTo>
                    <a:pt x="13994" y="15168"/>
                  </a:lnTo>
                  <a:cubicBezTo>
                    <a:pt x="13982" y="15168"/>
                    <a:pt x="13976" y="15152"/>
                    <a:pt x="13976" y="15122"/>
                  </a:cubicBezTo>
                  <a:lnTo>
                    <a:pt x="13980" y="15085"/>
                  </a:lnTo>
                  <a:cubicBezTo>
                    <a:pt x="13983" y="15075"/>
                    <a:pt x="13982" y="15071"/>
                    <a:pt x="13976" y="15071"/>
                  </a:cubicBezTo>
                  <a:cubicBezTo>
                    <a:pt x="13970" y="15071"/>
                    <a:pt x="13947" y="15080"/>
                    <a:pt x="13907" y="15098"/>
                  </a:cubicBezTo>
                  <a:cubicBezTo>
                    <a:pt x="13867" y="15117"/>
                    <a:pt x="13839" y="15126"/>
                    <a:pt x="13824" y="15126"/>
                  </a:cubicBezTo>
                  <a:cubicBezTo>
                    <a:pt x="13812" y="15126"/>
                    <a:pt x="13786" y="15120"/>
                    <a:pt x="13746" y="15108"/>
                  </a:cubicBezTo>
                  <a:cubicBezTo>
                    <a:pt x="13706" y="15092"/>
                    <a:pt x="13658" y="15085"/>
                    <a:pt x="13603" y="15085"/>
                  </a:cubicBezTo>
                  <a:lnTo>
                    <a:pt x="13594" y="15085"/>
                  </a:lnTo>
                  <a:cubicBezTo>
                    <a:pt x="13582" y="15085"/>
                    <a:pt x="13531" y="15094"/>
                    <a:pt x="13443" y="15112"/>
                  </a:cubicBezTo>
                  <a:cubicBezTo>
                    <a:pt x="13421" y="15112"/>
                    <a:pt x="13401" y="15103"/>
                    <a:pt x="13383" y="15085"/>
                  </a:cubicBezTo>
                  <a:cubicBezTo>
                    <a:pt x="13367" y="15060"/>
                    <a:pt x="13332" y="15047"/>
                    <a:pt x="13277" y="15047"/>
                  </a:cubicBezTo>
                  <a:cubicBezTo>
                    <a:pt x="13268" y="15047"/>
                    <a:pt x="13246" y="15052"/>
                    <a:pt x="13213" y="15061"/>
                  </a:cubicBezTo>
                  <a:cubicBezTo>
                    <a:pt x="13182" y="15071"/>
                    <a:pt x="13159" y="15075"/>
                    <a:pt x="13144" y="15075"/>
                  </a:cubicBezTo>
                  <a:cubicBezTo>
                    <a:pt x="13092" y="15069"/>
                    <a:pt x="13047" y="15064"/>
                    <a:pt x="13011" y="15061"/>
                  </a:cubicBezTo>
                  <a:cubicBezTo>
                    <a:pt x="13001" y="15061"/>
                    <a:pt x="12994" y="15061"/>
                    <a:pt x="12988" y="15061"/>
                  </a:cubicBezTo>
                  <a:cubicBezTo>
                    <a:pt x="12969" y="15064"/>
                    <a:pt x="12952" y="15069"/>
                    <a:pt x="12937" y="15075"/>
                  </a:cubicBezTo>
                  <a:cubicBezTo>
                    <a:pt x="12894" y="15094"/>
                    <a:pt x="12854" y="15106"/>
                    <a:pt x="12818" y="15112"/>
                  </a:cubicBezTo>
                  <a:cubicBezTo>
                    <a:pt x="12744" y="15134"/>
                    <a:pt x="12672" y="15145"/>
                    <a:pt x="12601" y="15145"/>
                  </a:cubicBezTo>
                  <a:cubicBezTo>
                    <a:pt x="12552" y="15142"/>
                    <a:pt x="12479" y="15138"/>
                    <a:pt x="12381" y="15135"/>
                  </a:cubicBezTo>
                  <a:cubicBezTo>
                    <a:pt x="12347" y="15135"/>
                    <a:pt x="12291" y="15129"/>
                    <a:pt x="12211" y="15117"/>
                  </a:cubicBezTo>
                  <a:cubicBezTo>
                    <a:pt x="12189" y="15111"/>
                    <a:pt x="12168" y="15106"/>
                    <a:pt x="12147" y="15103"/>
                  </a:cubicBezTo>
                  <a:cubicBezTo>
                    <a:pt x="12113" y="15094"/>
                    <a:pt x="12084" y="15088"/>
                    <a:pt x="12059" y="15085"/>
                  </a:cubicBezTo>
                  <a:cubicBezTo>
                    <a:pt x="12047" y="15081"/>
                    <a:pt x="12036" y="15078"/>
                    <a:pt x="12027" y="15075"/>
                  </a:cubicBezTo>
                  <a:cubicBezTo>
                    <a:pt x="12000" y="15069"/>
                    <a:pt x="11984" y="15066"/>
                    <a:pt x="11981" y="15066"/>
                  </a:cubicBezTo>
                  <a:cubicBezTo>
                    <a:pt x="11963" y="15063"/>
                    <a:pt x="11940" y="15066"/>
                    <a:pt x="11912" y="15075"/>
                  </a:cubicBezTo>
                  <a:cubicBezTo>
                    <a:pt x="11909" y="15075"/>
                    <a:pt x="11905" y="15077"/>
                    <a:pt x="11898" y="15080"/>
                  </a:cubicBezTo>
                  <a:cubicBezTo>
                    <a:pt x="11865" y="15092"/>
                    <a:pt x="11843" y="15102"/>
                    <a:pt x="11834" y="15108"/>
                  </a:cubicBezTo>
                  <a:cubicBezTo>
                    <a:pt x="11819" y="15120"/>
                    <a:pt x="11811" y="15140"/>
                    <a:pt x="11811" y="15168"/>
                  </a:cubicBezTo>
                  <a:cubicBezTo>
                    <a:pt x="11811" y="15177"/>
                    <a:pt x="11816" y="15200"/>
                    <a:pt x="11825" y="15237"/>
                  </a:cubicBezTo>
                  <a:cubicBezTo>
                    <a:pt x="11834" y="15274"/>
                    <a:pt x="11839" y="15296"/>
                    <a:pt x="11839" y="15302"/>
                  </a:cubicBezTo>
                  <a:cubicBezTo>
                    <a:pt x="11839" y="15345"/>
                    <a:pt x="11813" y="15365"/>
                    <a:pt x="11761" y="15362"/>
                  </a:cubicBezTo>
                  <a:cubicBezTo>
                    <a:pt x="11739" y="15362"/>
                    <a:pt x="11712" y="15355"/>
                    <a:pt x="11678" y="15339"/>
                  </a:cubicBezTo>
                  <a:cubicBezTo>
                    <a:pt x="11641" y="15311"/>
                    <a:pt x="11623" y="15285"/>
                    <a:pt x="11623" y="15260"/>
                  </a:cubicBezTo>
                  <a:cubicBezTo>
                    <a:pt x="11626" y="15223"/>
                    <a:pt x="11641" y="15194"/>
                    <a:pt x="11669" y="15172"/>
                  </a:cubicBezTo>
                  <a:cubicBezTo>
                    <a:pt x="11696" y="15148"/>
                    <a:pt x="11710" y="15128"/>
                    <a:pt x="11710" y="15112"/>
                  </a:cubicBezTo>
                  <a:cubicBezTo>
                    <a:pt x="11692" y="15100"/>
                    <a:pt x="11675" y="15088"/>
                    <a:pt x="11659" y="15075"/>
                  </a:cubicBezTo>
                  <a:cubicBezTo>
                    <a:pt x="11644" y="15066"/>
                    <a:pt x="11629" y="15057"/>
                    <a:pt x="11613" y="15047"/>
                  </a:cubicBezTo>
                  <a:cubicBezTo>
                    <a:pt x="11515" y="14980"/>
                    <a:pt x="11434" y="14924"/>
                    <a:pt x="11370" y="14881"/>
                  </a:cubicBezTo>
                  <a:cubicBezTo>
                    <a:pt x="11367" y="14875"/>
                    <a:pt x="11364" y="14870"/>
                    <a:pt x="11361" y="14867"/>
                  </a:cubicBezTo>
                  <a:cubicBezTo>
                    <a:pt x="11345" y="14839"/>
                    <a:pt x="11327" y="14825"/>
                    <a:pt x="11306" y="14825"/>
                  </a:cubicBezTo>
                  <a:cubicBezTo>
                    <a:pt x="11275" y="14825"/>
                    <a:pt x="11230" y="14842"/>
                    <a:pt x="11172" y="14876"/>
                  </a:cubicBezTo>
                  <a:lnTo>
                    <a:pt x="11076" y="14830"/>
                  </a:lnTo>
                  <a:cubicBezTo>
                    <a:pt x="11042" y="14811"/>
                    <a:pt x="11025" y="14784"/>
                    <a:pt x="11025" y="14747"/>
                  </a:cubicBezTo>
                  <a:cubicBezTo>
                    <a:pt x="11025" y="14725"/>
                    <a:pt x="11047" y="14691"/>
                    <a:pt x="11090" y="14645"/>
                  </a:cubicBezTo>
                  <a:cubicBezTo>
                    <a:pt x="11114" y="14620"/>
                    <a:pt x="11132" y="14599"/>
                    <a:pt x="11145" y="14580"/>
                  </a:cubicBezTo>
                  <a:cubicBezTo>
                    <a:pt x="11154" y="14561"/>
                    <a:pt x="11159" y="14546"/>
                    <a:pt x="11159" y="14534"/>
                  </a:cubicBezTo>
                  <a:cubicBezTo>
                    <a:pt x="11159" y="14515"/>
                    <a:pt x="11157" y="14503"/>
                    <a:pt x="11154" y="14497"/>
                  </a:cubicBezTo>
                  <a:cubicBezTo>
                    <a:pt x="11148" y="14491"/>
                    <a:pt x="11131" y="14487"/>
                    <a:pt x="11103" y="14487"/>
                  </a:cubicBezTo>
                  <a:lnTo>
                    <a:pt x="11039" y="14492"/>
                  </a:lnTo>
                  <a:cubicBezTo>
                    <a:pt x="11033" y="14495"/>
                    <a:pt x="11028" y="14491"/>
                    <a:pt x="11025" y="14478"/>
                  </a:cubicBezTo>
                  <a:cubicBezTo>
                    <a:pt x="11019" y="14472"/>
                    <a:pt x="11016" y="14464"/>
                    <a:pt x="11016" y="14455"/>
                  </a:cubicBezTo>
                  <a:cubicBezTo>
                    <a:pt x="11016" y="14452"/>
                    <a:pt x="11019" y="14447"/>
                    <a:pt x="11025" y="14441"/>
                  </a:cubicBezTo>
                  <a:cubicBezTo>
                    <a:pt x="11034" y="14426"/>
                    <a:pt x="11057" y="14403"/>
                    <a:pt x="11094" y="14372"/>
                  </a:cubicBezTo>
                  <a:cubicBezTo>
                    <a:pt x="11113" y="14356"/>
                    <a:pt x="11128" y="14339"/>
                    <a:pt x="11140" y="14321"/>
                  </a:cubicBezTo>
                  <a:cubicBezTo>
                    <a:pt x="11155" y="14296"/>
                    <a:pt x="11163" y="14271"/>
                    <a:pt x="11163" y="14247"/>
                  </a:cubicBezTo>
                  <a:cubicBezTo>
                    <a:pt x="11169" y="14231"/>
                    <a:pt x="11163" y="14217"/>
                    <a:pt x="11145" y="14205"/>
                  </a:cubicBezTo>
                  <a:cubicBezTo>
                    <a:pt x="11123" y="14190"/>
                    <a:pt x="11096" y="14179"/>
                    <a:pt x="11062" y="14173"/>
                  </a:cubicBezTo>
                  <a:cubicBezTo>
                    <a:pt x="10992" y="14216"/>
                    <a:pt x="10953" y="14238"/>
                    <a:pt x="10947" y="14238"/>
                  </a:cubicBezTo>
                  <a:cubicBezTo>
                    <a:pt x="10926" y="14238"/>
                    <a:pt x="10910" y="14230"/>
                    <a:pt x="10901" y="14214"/>
                  </a:cubicBezTo>
                  <a:cubicBezTo>
                    <a:pt x="10889" y="14187"/>
                    <a:pt x="10871" y="14166"/>
                    <a:pt x="10846" y="14154"/>
                  </a:cubicBezTo>
                  <a:cubicBezTo>
                    <a:pt x="10809" y="14142"/>
                    <a:pt x="10785" y="14133"/>
                    <a:pt x="10773" y="14126"/>
                  </a:cubicBezTo>
                  <a:cubicBezTo>
                    <a:pt x="10751" y="14117"/>
                    <a:pt x="10740" y="14097"/>
                    <a:pt x="10740" y="14066"/>
                  </a:cubicBezTo>
                  <a:cubicBezTo>
                    <a:pt x="10743" y="14020"/>
                    <a:pt x="10757" y="13969"/>
                    <a:pt x="10782" y="13914"/>
                  </a:cubicBezTo>
                  <a:cubicBezTo>
                    <a:pt x="10788" y="13880"/>
                    <a:pt x="10797" y="13858"/>
                    <a:pt x="10809" y="13849"/>
                  </a:cubicBezTo>
                  <a:cubicBezTo>
                    <a:pt x="10818" y="13833"/>
                    <a:pt x="10840" y="13799"/>
                    <a:pt x="10874" y="13747"/>
                  </a:cubicBezTo>
                  <a:cubicBezTo>
                    <a:pt x="10877" y="13741"/>
                    <a:pt x="10880" y="13735"/>
                    <a:pt x="10883" y="13728"/>
                  </a:cubicBezTo>
                  <a:cubicBezTo>
                    <a:pt x="10886" y="13716"/>
                    <a:pt x="10887" y="13699"/>
                    <a:pt x="10887" y="13677"/>
                  </a:cubicBezTo>
                  <a:cubicBezTo>
                    <a:pt x="10890" y="13625"/>
                    <a:pt x="10874" y="13583"/>
                    <a:pt x="10837" y="13553"/>
                  </a:cubicBezTo>
                  <a:cubicBezTo>
                    <a:pt x="10757" y="13478"/>
                    <a:pt x="10701" y="13424"/>
                    <a:pt x="10667" y="13391"/>
                  </a:cubicBezTo>
                  <a:cubicBezTo>
                    <a:pt x="10627" y="13344"/>
                    <a:pt x="10569" y="13309"/>
                    <a:pt x="10492" y="13284"/>
                  </a:cubicBezTo>
                  <a:cubicBezTo>
                    <a:pt x="10440" y="13265"/>
                    <a:pt x="10414" y="13232"/>
                    <a:pt x="10414" y="13182"/>
                  </a:cubicBezTo>
                  <a:cubicBezTo>
                    <a:pt x="10414" y="13164"/>
                    <a:pt x="10429" y="13130"/>
                    <a:pt x="10460" y="13080"/>
                  </a:cubicBezTo>
                  <a:cubicBezTo>
                    <a:pt x="10481" y="13031"/>
                    <a:pt x="10492" y="12986"/>
                    <a:pt x="10492" y="12946"/>
                  </a:cubicBezTo>
                  <a:cubicBezTo>
                    <a:pt x="10492" y="12912"/>
                    <a:pt x="10489" y="12866"/>
                    <a:pt x="10483" y="12807"/>
                  </a:cubicBezTo>
                  <a:cubicBezTo>
                    <a:pt x="10471" y="12755"/>
                    <a:pt x="10464" y="12727"/>
                    <a:pt x="10464" y="12724"/>
                  </a:cubicBezTo>
                  <a:lnTo>
                    <a:pt x="10478" y="12710"/>
                  </a:lnTo>
                  <a:cubicBezTo>
                    <a:pt x="10442" y="12682"/>
                    <a:pt x="10400" y="12667"/>
                    <a:pt x="10354" y="12664"/>
                  </a:cubicBezTo>
                  <a:cubicBezTo>
                    <a:pt x="10232" y="12664"/>
                    <a:pt x="10118" y="12687"/>
                    <a:pt x="10014" y="12733"/>
                  </a:cubicBezTo>
                  <a:cubicBezTo>
                    <a:pt x="10002" y="12739"/>
                    <a:pt x="9991" y="12744"/>
                    <a:pt x="9982" y="12747"/>
                  </a:cubicBezTo>
                  <a:cubicBezTo>
                    <a:pt x="9893" y="12787"/>
                    <a:pt x="9815" y="12806"/>
                    <a:pt x="9748" y="12803"/>
                  </a:cubicBezTo>
                  <a:cubicBezTo>
                    <a:pt x="9705" y="12803"/>
                    <a:pt x="9663" y="12793"/>
                    <a:pt x="9624" y="12775"/>
                  </a:cubicBezTo>
                  <a:cubicBezTo>
                    <a:pt x="9535" y="12732"/>
                    <a:pt x="9457" y="12641"/>
                    <a:pt x="9389" y="12502"/>
                  </a:cubicBezTo>
                  <a:cubicBezTo>
                    <a:pt x="9374" y="12471"/>
                    <a:pt x="9349" y="12432"/>
                    <a:pt x="9316" y="12386"/>
                  </a:cubicBezTo>
                  <a:cubicBezTo>
                    <a:pt x="9273" y="12343"/>
                    <a:pt x="9245" y="12306"/>
                    <a:pt x="9233" y="12275"/>
                  </a:cubicBezTo>
                  <a:cubicBezTo>
                    <a:pt x="9205" y="12229"/>
                    <a:pt x="9184" y="12198"/>
                    <a:pt x="9169" y="12182"/>
                  </a:cubicBezTo>
                  <a:cubicBezTo>
                    <a:pt x="9150" y="12148"/>
                    <a:pt x="9132" y="12121"/>
                    <a:pt x="9113" y="12099"/>
                  </a:cubicBezTo>
                  <a:cubicBezTo>
                    <a:pt x="9113" y="12096"/>
                    <a:pt x="9112" y="12091"/>
                    <a:pt x="9109" y="12085"/>
                  </a:cubicBezTo>
                  <a:cubicBezTo>
                    <a:pt x="9090" y="12067"/>
                    <a:pt x="9078" y="12034"/>
                    <a:pt x="9072" y="11988"/>
                  </a:cubicBezTo>
                  <a:cubicBezTo>
                    <a:pt x="9060" y="11932"/>
                    <a:pt x="9037" y="11885"/>
                    <a:pt x="9003" y="11845"/>
                  </a:cubicBezTo>
                  <a:cubicBezTo>
                    <a:pt x="8976" y="11795"/>
                    <a:pt x="8945" y="11752"/>
                    <a:pt x="8911" y="11715"/>
                  </a:cubicBezTo>
                  <a:cubicBezTo>
                    <a:pt x="8853" y="11632"/>
                    <a:pt x="8806" y="11588"/>
                    <a:pt x="8769" y="11585"/>
                  </a:cubicBezTo>
                  <a:cubicBezTo>
                    <a:pt x="8753" y="11585"/>
                    <a:pt x="8735" y="11596"/>
                    <a:pt x="8714" y="11618"/>
                  </a:cubicBezTo>
                  <a:cubicBezTo>
                    <a:pt x="8695" y="11639"/>
                    <a:pt x="8685" y="11650"/>
                    <a:pt x="8681" y="11650"/>
                  </a:cubicBezTo>
                  <a:cubicBezTo>
                    <a:pt x="8639" y="11604"/>
                    <a:pt x="8597" y="11581"/>
                    <a:pt x="8557" y="11581"/>
                  </a:cubicBezTo>
                  <a:cubicBezTo>
                    <a:pt x="8548" y="11581"/>
                    <a:pt x="8490" y="11599"/>
                    <a:pt x="8383" y="11636"/>
                  </a:cubicBezTo>
                  <a:cubicBezTo>
                    <a:pt x="8285" y="11670"/>
                    <a:pt x="8174" y="11687"/>
                    <a:pt x="8052" y="11687"/>
                  </a:cubicBezTo>
                  <a:cubicBezTo>
                    <a:pt x="8040" y="11687"/>
                    <a:pt x="8026" y="11687"/>
                    <a:pt x="8010" y="11687"/>
                  </a:cubicBezTo>
                  <a:cubicBezTo>
                    <a:pt x="7977" y="11687"/>
                    <a:pt x="7935" y="11675"/>
                    <a:pt x="7886" y="11650"/>
                  </a:cubicBezTo>
                  <a:cubicBezTo>
                    <a:pt x="7868" y="11638"/>
                    <a:pt x="7848" y="11625"/>
                    <a:pt x="7827" y="11613"/>
                  </a:cubicBezTo>
                  <a:cubicBezTo>
                    <a:pt x="7814" y="11607"/>
                    <a:pt x="7804" y="11601"/>
                    <a:pt x="7794" y="11595"/>
                  </a:cubicBezTo>
                  <a:cubicBezTo>
                    <a:pt x="7736" y="11561"/>
                    <a:pt x="7698" y="11539"/>
                    <a:pt x="7680" y="11530"/>
                  </a:cubicBezTo>
                  <a:lnTo>
                    <a:pt x="7661" y="11530"/>
                  </a:lnTo>
                  <a:cubicBezTo>
                    <a:pt x="7606" y="11539"/>
                    <a:pt x="7525" y="11525"/>
                    <a:pt x="7418" y="11488"/>
                  </a:cubicBezTo>
                  <a:cubicBezTo>
                    <a:pt x="7402" y="11482"/>
                    <a:pt x="7381" y="11471"/>
                    <a:pt x="7353" y="11456"/>
                  </a:cubicBezTo>
                  <a:lnTo>
                    <a:pt x="7289" y="11423"/>
                  </a:lnTo>
                  <a:cubicBezTo>
                    <a:pt x="7280" y="11417"/>
                    <a:pt x="7263" y="11399"/>
                    <a:pt x="7238" y="11368"/>
                  </a:cubicBezTo>
                  <a:lnTo>
                    <a:pt x="7206" y="11322"/>
                  </a:lnTo>
                  <a:cubicBezTo>
                    <a:pt x="7185" y="11322"/>
                    <a:pt x="7162" y="11326"/>
                    <a:pt x="7137" y="11335"/>
                  </a:cubicBezTo>
                  <a:cubicBezTo>
                    <a:pt x="7113" y="11348"/>
                    <a:pt x="7088" y="11365"/>
                    <a:pt x="7064" y="11386"/>
                  </a:cubicBezTo>
                  <a:cubicBezTo>
                    <a:pt x="7021" y="11423"/>
                    <a:pt x="6999" y="11446"/>
                    <a:pt x="6999" y="11456"/>
                  </a:cubicBezTo>
                  <a:cubicBezTo>
                    <a:pt x="6996" y="11508"/>
                    <a:pt x="7027" y="11570"/>
                    <a:pt x="7091" y="11641"/>
                  </a:cubicBezTo>
                  <a:cubicBezTo>
                    <a:pt x="7156" y="11709"/>
                    <a:pt x="7188" y="11752"/>
                    <a:pt x="7188" y="11770"/>
                  </a:cubicBezTo>
                  <a:cubicBezTo>
                    <a:pt x="7188" y="11801"/>
                    <a:pt x="7159" y="11852"/>
                    <a:pt x="7100" y="11923"/>
                  </a:cubicBezTo>
                  <a:cubicBezTo>
                    <a:pt x="7076" y="11951"/>
                    <a:pt x="7048" y="11980"/>
                    <a:pt x="7018" y="12011"/>
                  </a:cubicBezTo>
                  <a:cubicBezTo>
                    <a:pt x="6987" y="12042"/>
                    <a:pt x="6960" y="12068"/>
                    <a:pt x="6935" y="12090"/>
                  </a:cubicBezTo>
                  <a:cubicBezTo>
                    <a:pt x="6871" y="12148"/>
                    <a:pt x="6828" y="12176"/>
                    <a:pt x="6806" y="12173"/>
                  </a:cubicBezTo>
                  <a:cubicBezTo>
                    <a:pt x="6776" y="12173"/>
                    <a:pt x="6760" y="12162"/>
                    <a:pt x="6760" y="12141"/>
                  </a:cubicBezTo>
                  <a:cubicBezTo>
                    <a:pt x="6760" y="12128"/>
                    <a:pt x="6794" y="12074"/>
                    <a:pt x="6862" y="11979"/>
                  </a:cubicBezTo>
                  <a:cubicBezTo>
                    <a:pt x="6874" y="11960"/>
                    <a:pt x="6884" y="11942"/>
                    <a:pt x="6894" y="11923"/>
                  </a:cubicBezTo>
                  <a:cubicBezTo>
                    <a:pt x="6912" y="11892"/>
                    <a:pt x="6926" y="11866"/>
                    <a:pt x="6935" y="11845"/>
                  </a:cubicBezTo>
                  <a:cubicBezTo>
                    <a:pt x="6947" y="11814"/>
                    <a:pt x="6953" y="11792"/>
                    <a:pt x="6953" y="11780"/>
                  </a:cubicBezTo>
                  <a:cubicBezTo>
                    <a:pt x="6953" y="11730"/>
                    <a:pt x="6947" y="11692"/>
                    <a:pt x="6935" y="11664"/>
                  </a:cubicBezTo>
                  <a:cubicBezTo>
                    <a:pt x="6917" y="11627"/>
                    <a:pt x="6886" y="11610"/>
                    <a:pt x="6843" y="11613"/>
                  </a:cubicBezTo>
                  <a:cubicBezTo>
                    <a:pt x="6791" y="11610"/>
                    <a:pt x="6754" y="11662"/>
                    <a:pt x="6733" y="11770"/>
                  </a:cubicBezTo>
                  <a:cubicBezTo>
                    <a:pt x="6727" y="11814"/>
                    <a:pt x="6724" y="11865"/>
                    <a:pt x="6724" y="11923"/>
                  </a:cubicBezTo>
                  <a:cubicBezTo>
                    <a:pt x="6721" y="11932"/>
                    <a:pt x="6719" y="11943"/>
                    <a:pt x="6719" y="11956"/>
                  </a:cubicBezTo>
                  <a:cubicBezTo>
                    <a:pt x="6716" y="11980"/>
                    <a:pt x="6698" y="12034"/>
                    <a:pt x="6664" y="12118"/>
                  </a:cubicBezTo>
                  <a:cubicBezTo>
                    <a:pt x="6630" y="12189"/>
                    <a:pt x="6609" y="12246"/>
                    <a:pt x="6600" y="12289"/>
                  </a:cubicBezTo>
                  <a:cubicBezTo>
                    <a:pt x="6597" y="12320"/>
                    <a:pt x="6581" y="12351"/>
                    <a:pt x="6554" y="12381"/>
                  </a:cubicBezTo>
                  <a:cubicBezTo>
                    <a:pt x="6523" y="12412"/>
                    <a:pt x="6486" y="12434"/>
                    <a:pt x="6443" y="12446"/>
                  </a:cubicBezTo>
                  <a:cubicBezTo>
                    <a:pt x="6440" y="12425"/>
                    <a:pt x="6439" y="12388"/>
                    <a:pt x="6439" y="12335"/>
                  </a:cubicBezTo>
                  <a:cubicBezTo>
                    <a:pt x="6439" y="12332"/>
                    <a:pt x="6456" y="12301"/>
                    <a:pt x="6489" y="12243"/>
                  </a:cubicBezTo>
                  <a:cubicBezTo>
                    <a:pt x="6523" y="12190"/>
                    <a:pt x="6540" y="12136"/>
                    <a:pt x="6540" y="12081"/>
                  </a:cubicBezTo>
                  <a:lnTo>
                    <a:pt x="6540" y="12062"/>
                  </a:lnTo>
                  <a:lnTo>
                    <a:pt x="6526" y="12062"/>
                  </a:lnTo>
                  <a:cubicBezTo>
                    <a:pt x="6514" y="12062"/>
                    <a:pt x="6459" y="12088"/>
                    <a:pt x="6361" y="12141"/>
                  </a:cubicBezTo>
                  <a:cubicBezTo>
                    <a:pt x="6358" y="12141"/>
                    <a:pt x="6355" y="12142"/>
                    <a:pt x="6351" y="12145"/>
                  </a:cubicBezTo>
                  <a:cubicBezTo>
                    <a:pt x="6232" y="12207"/>
                    <a:pt x="6164" y="12241"/>
                    <a:pt x="6149" y="12247"/>
                  </a:cubicBezTo>
                  <a:cubicBezTo>
                    <a:pt x="6112" y="12256"/>
                    <a:pt x="6092" y="12292"/>
                    <a:pt x="6089" y="12354"/>
                  </a:cubicBezTo>
                  <a:cubicBezTo>
                    <a:pt x="6083" y="12385"/>
                    <a:pt x="6077" y="12437"/>
                    <a:pt x="6071" y="12511"/>
                  </a:cubicBezTo>
                  <a:cubicBezTo>
                    <a:pt x="6065" y="12551"/>
                    <a:pt x="6057" y="12602"/>
                    <a:pt x="6048" y="12664"/>
                  </a:cubicBezTo>
                  <a:cubicBezTo>
                    <a:pt x="6042" y="12707"/>
                    <a:pt x="6028" y="12739"/>
                    <a:pt x="6007" y="12761"/>
                  </a:cubicBezTo>
                  <a:lnTo>
                    <a:pt x="5786" y="12988"/>
                  </a:lnTo>
                  <a:cubicBezTo>
                    <a:pt x="5774" y="13000"/>
                    <a:pt x="5762" y="13012"/>
                    <a:pt x="5749" y="13025"/>
                  </a:cubicBezTo>
                  <a:cubicBezTo>
                    <a:pt x="5743" y="13031"/>
                    <a:pt x="5736" y="13037"/>
                    <a:pt x="5726" y="13043"/>
                  </a:cubicBezTo>
                  <a:cubicBezTo>
                    <a:pt x="5647" y="13111"/>
                    <a:pt x="5536" y="13184"/>
                    <a:pt x="5396" y="13261"/>
                  </a:cubicBezTo>
                  <a:cubicBezTo>
                    <a:pt x="5383" y="13264"/>
                    <a:pt x="5322" y="13295"/>
                    <a:pt x="5212" y="13354"/>
                  </a:cubicBezTo>
                  <a:close/>
                  <a:moveTo>
                    <a:pt x="5212" y="1335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5" name="AutoShape 12"/>
            <p:cNvSpPr>
              <a:spLocks/>
            </p:cNvSpPr>
            <p:nvPr/>
          </p:nvSpPr>
          <p:spPr bwMode="auto">
            <a:xfrm>
              <a:off x="7421699" y="3624615"/>
              <a:ext cx="58708" cy="31651"/>
            </a:xfrm>
            <a:custGeom>
              <a:avLst/>
              <a:gdLst/>
              <a:ahLst/>
              <a:cxnLst/>
              <a:rect l="0" t="0" r="r" b="b"/>
              <a:pathLst>
                <a:path w="21600" h="21600">
                  <a:moveTo>
                    <a:pt x="11959" y="0"/>
                  </a:moveTo>
                  <a:cubicBezTo>
                    <a:pt x="14102" y="0"/>
                    <a:pt x="15945" y="1893"/>
                    <a:pt x="17489" y="5678"/>
                  </a:cubicBezTo>
                  <a:cubicBezTo>
                    <a:pt x="18289" y="7615"/>
                    <a:pt x="19258" y="10661"/>
                    <a:pt x="20406" y="14815"/>
                  </a:cubicBezTo>
                  <a:cubicBezTo>
                    <a:pt x="20505" y="15183"/>
                    <a:pt x="20604" y="15600"/>
                    <a:pt x="20704" y="16060"/>
                  </a:cubicBezTo>
                  <a:cubicBezTo>
                    <a:pt x="20853" y="16891"/>
                    <a:pt x="21028" y="17584"/>
                    <a:pt x="21226" y="18139"/>
                  </a:cubicBezTo>
                  <a:cubicBezTo>
                    <a:pt x="21477" y="18876"/>
                    <a:pt x="21600" y="19384"/>
                    <a:pt x="21600" y="19661"/>
                  </a:cubicBezTo>
                  <a:cubicBezTo>
                    <a:pt x="21600" y="20214"/>
                    <a:pt x="21401" y="20676"/>
                    <a:pt x="21004" y="21045"/>
                  </a:cubicBezTo>
                  <a:cubicBezTo>
                    <a:pt x="20604" y="21415"/>
                    <a:pt x="20158" y="21600"/>
                    <a:pt x="19658" y="21600"/>
                  </a:cubicBezTo>
                  <a:cubicBezTo>
                    <a:pt x="19509" y="21600"/>
                    <a:pt x="18114" y="20630"/>
                    <a:pt x="15472" y="18691"/>
                  </a:cubicBezTo>
                  <a:cubicBezTo>
                    <a:pt x="12631" y="16569"/>
                    <a:pt x="10788" y="15324"/>
                    <a:pt x="9942" y="14953"/>
                  </a:cubicBezTo>
                  <a:cubicBezTo>
                    <a:pt x="9492" y="14769"/>
                    <a:pt x="8520" y="14215"/>
                    <a:pt x="7025" y="13292"/>
                  </a:cubicBezTo>
                  <a:cubicBezTo>
                    <a:pt x="6330" y="12921"/>
                    <a:pt x="5606" y="12645"/>
                    <a:pt x="4858" y="12461"/>
                  </a:cubicBezTo>
                  <a:cubicBezTo>
                    <a:pt x="4709" y="12461"/>
                    <a:pt x="3512" y="12461"/>
                    <a:pt x="1270" y="12461"/>
                  </a:cubicBezTo>
                  <a:cubicBezTo>
                    <a:pt x="423" y="12461"/>
                    <a:pt x="0" y="11722"/>
                    <a:pt x="0" y="10247"/>
                  </a:cubicBezTo>
                  <a:cubicBezTo>
                    <a:pt x="0" y="7477"/>
                    <a:pt x="1220" y="5077"/>
                    <a:pt x="3661" y="3047"/>
                  </a:cubicBezTo>
                  <a:cubicBezTo>
                    <a:pt x="6055" y="1015"/>
                    <a:pt x="8820" y="0"/>
                    <a:pt x="11959" y="0"/>
                  </a:cubicBezTo>
                  <a:close/>
                  <a:moveTo>
                    <a:pt x="11959"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6" name="AutoShape 13"/>
            <p:cNvSpPr>
              <a:spLocks/>
            </p:cNvSpPr>
            <p:nvPr/>
          </p:nvSpPr>
          <p:spPr bwMode="auto">
            <a:xfrm>
              <a:off x="8038388" y="4261724"/>
              <a:ext cx="26546" cy="50029"/>
            </a:xfrm>
            <a:custGeom>
              <a:avLst/>
              <a:gdLst/>
              <a:ahLst/>
              <a:cxnLst/>
              <a:rect l="0" t="0" r="r" b="b"/>
              <a:pathLst>
                <a:path w="21600" h="21370">
                  <a:moveTo>
                    <a:pt x="6266" y="21370"/>
                  </a:moveTo>
                  <a:cubicBezTo>
                    <a:pt x="6595" y="20100"/>
                    <a:pt x="6704" y="18914"/>
                    <a:pt x="6595" y="17817"/>
                  </a:cubicBezTo>
                  <a:cubicBezTo>
                    <a:pt x="6485" y="15565"/>
                    <a:pt x="6208" y="13978"/>
                    <a:pt x="5770" y="13052"/>
                  </a:cubicBezTo>
                  <a:cubicBezTo>
                    <a:pt x="5223" y="12127"/>
                    <a:pt x="4399" y="10945"/>
                    <a:pt x="3297" y="9499"/>
                  </a:cubicBezTo>
                  <a:cubicBezTo>
                    <a:pt x="1977" y="8056"/>
                    <a:pt x="1262" y="7189"/>
                    <a:pt x="1153" y="6901"/>
                  </a:cubicBezTo>
                  <a:cubicBezTo>
                    <a:pt x="824" y="6498"/>
                    <a:pt x="547" y="5428"/>
                    <a:pt x="328" y="3697"/>
                  </a:cubicBezTo>
                  <a:lnTo>
                    <a:pt x="0" y="1098"/>
                  </a:lnTo>
                  <a:lnTo>
                    <a:pt x="1649" y="923"/>
                  </a:lnTo>
                  <a:cubicBezTo>
                    <a:pt x="9564" y="0"/>
                    <a:pt x="14181" y="-230"/>
                    <a:pt x="15495" y="231"/>
                  </a:cubicBezTo>
                  <a:cubicBezTo>
                    <a:pt x="16706" y="808"/>
                    <a:pt x="18741" y="2772"/>
                    <a:pt x="21600" y="6122"/>
                  </a:cubicBezTo>
                  <a:cubicBezTo>
                    <a:pt x="21046" y="6468"/>
                    <a:pt x="20331" y="7016"/>
                    <a:pt x="19455" y="7768"/>
                  </a:cubicBezTo>
                  <a:cubicBezTo>
                    <a:pt x="18245" y="8923"/>
                    <a:pt x="17639" y="9614"/>
                    <a:pt x="17639" y="9846"/>
                  </a:cubicBezTo>
                  <a:cubicBezTo>
                    <a:pt x="17530" y="10424"/>
                    <a:pt x="17916" y="11060"/>
                    <a:pt x="18792" y="11751"/>
                  </a:cubicBezTo>
                  <a:cubicBezTo>
                    <a:pt x="19784" y="12503"/>
                    <a:pt x="20280" y="13284"/>
                    <a:pt x="20280" y="14092"/>
                  </a:cubicBezTo>
                  <a:cubicBezTo>
                    <a:pt x="20170" y="15651"/>
                    <a:pt x="19842" y="16605"/>
                    <a:pt x="19288" y="16950"/>
                  </a:cubicBezTo>
                  <a:cubicBezTo>
                    <a:pt x="18850" y="17240"/>
                    <a:pt x="16815" y="18049"/>
                    <a:pt x="13189" y="19377"/>
                  </a:cubicBezTo>
                  <a:cubicBezTo>
                    <a:pt x="11103" y="19954"/>
                    <a:pt x="9345" y="20505"/>
                    <a:pt x="7915" y="21025"/>
                  </a:cubicBezTo>
                  <a:cubicBezTo>
                    <a:pt x="7252" y="21140"/>
                    <a:pt x="6704" y="21255"/>
                    <a:pt x="6266" y="21370"/>
                  </a:cubicBezTo>
                  <a:close/>
                  <a:moveTo>
                    <a:pt x="6266" y="2137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7" name="AutoShape 14"/>
            <p:cNvSpPr>
              <a:spLocks/>
            </p:cNvSpPr>
            <p:nvPr/>
          </p:nvSpPr>
          <p:spPr bwMode="auto">
            <a:xfrm>
              <a:off x="7875026" y="4343405"/>
              <a:ext cx="82191" cy="205223"/>
            </a:xfrm>
            <a:custGeom>
              <a:avLst/>
              <a:gdLst/>
              <a:ahLst/>
              <a:cxnLst/>
              <a:rect l="0" t="0" r="r" b="b"/>
              <a:pathLst>
                <a:path w="21578" h="21600">
                  <a:moveTo>
                    <a:pt x="13184" y="20914"/>
                  </a:moveTo>
                  <a:lnTo>
                    <a:pt x="5177" y="21600"/>
                  </a:lnTo>
                  <a:cubicBezTo>
                    <a:pt x="4537" y="20542"/>
                    <a:pt x="4091" y="19727"/>
                    <a:pt x="3843" y="19155"/>
                  </a:cubicBezTo>
                  <a:cubicBezTo>
                    <a:pt x="3701" y="18797"/>
                    <a:pt x="3007" y="17639"/>
                    <a:pt x="1760" y="15680"/>
                  </a:cubicBezTo>
                  <a:lnTo>
                    <a:pt x="0" y="12849"/>
                  </a:lnTo>
                  <a:lnTo>
                    <a:pt x="640" y="12162"/>
                  </a:lnTo>
                  <a:cubicBezTo>
                    <a:pt x="1138" y="11819"/>
                    <a:pt x="1743" y="11619"/>
                    <a:pt x="2454" y="11562"/>
                  </a:cubicBezTo>
                  <a:cubicBezTo>
                    <a:pt x="3628" y="11490"/>
                    <a:pt x="4448" y="11511"/>
                    <a:pt x="4911" y="11626"/>
                  </a:cubicBezTo>
                  <a:cubicBezTo>
                    <a:pt x="6583" y="11311"/>
                    <a:pt x="7561" y="11018"/>
                    <a:pt x="7846" y="10747"/>
                  </a:cubicBezTo>
                  <a:cubicBezTo>
                    <a:pt x="8165" y="10403"/>
                    <a:pt x="8380" y="10196"/>
                    <a:pt x="8487" y="10125"/>
                  </a:cubicBezTo>
                  <a:cubicBezTo>
                    <a:pt x="8808" y="9881"/>
                    <a:pt x="9233" y="9638"/>
                    <a:pt x="9767" y="9395"/>
                  </a:cubicBezTo>
                  <a:cubicBezTo>
                    <a:pt x="10586" y="9038"/>
                    <a:pt x="11226" y="8673"/>
                    <a:pt x="11689" y="8301"/>
                  </a:cubicBezTo>
                  <a:cubicBezTo>
                    <a:pt x="8985" y="7429"/>
                    <a:pt x="7206" y="6836"/>
                    <a:pt x="6351" y="6521"/>
                  </a:cubicBezTo>
                  <a:cubicBezTo>
                    <a:pt x="5534" y="6192"/>
                    <a:pt x="4981" y="5949"/>
                    <a:pt x="4696" y="5792"/>
                  </a:cubicBezTo>
                  <a:cubicBezTo>
                    <a:pt x="4235" y="5506"/>
                    <a:pt x="4074" y="5248"/>
                    <a:pt x="4216" y="5019"/>
                  </a:cubicBezTo>
                  <a:cubicBezTo>
                    <a:pt x="4252" y="4876"/>
                    <a:pt x="4502" y="4741"/>
                    <a:pt x="4963" y="4612"/>
                  </a:cubicBezTo>
                  <a:cubicBezTo>
                    <a:pt x="5319" y="4512"/>
                    <a:pt x="5480" y="4390"/>
                    <a:pt x="5444" y="4247"/>
                  </a:cubicBezTo>
                  <a:cubicBezTo>
                    <a:pt x="5373" y="4061"/>
                    <a:pt x="5213" y="3904"/>
                    <a:pt x="4963" y="3775"/>
                  </a:cubicBezTo>
                  <a:cubicBezTo>
                    <a:pt x="4644" y="3618"/>
                    <a:pt x="4448" y="3511"/>
                    <a:pt x="4377" y="3453"/>
                  </a:cubicBezTo>
                  <a:cubicBezTo>
                    <a:pt x="4199" y="3339"/>
                    <a:pt x="4126" y="3239"/>
                    <a:pt x="4162" y="3153"/>
                  </a:cubicBezTo>
                  <a:cubicBezTo>
                    <a:pt x="4235" y="3053"/>
                    <a:pt x="4412" y="2917"/>
                    <a:pt x="4696" y="2746"/>
                  </a:cubicBezTo>
                  <a:cubicBezTo>
                    <a:pt x="5480" y="2317"/>
                    <a:pt x="5924" y="1981"/>
                    <a:pt x="6030" y="1737"/>
                  </a:cubicBezTo>
                  <a:cubicBezTo>
                    <a:pt x="6068" y="1494"/>
                    <a:pt x="6139" y="1308"/>
                    <a:pt x="6245" y="1180"/>
                  </a:cubicBezTo>
                  <a:cubicBezTo>
                    <a:pt x="6422" y="965"/>
                    <a:pt x="6654" y="794"/>
                    <a:pt x="6939" y="665"/>
                  </a:cubicBezTo>
                  <a:cubicBezTo>
                    <a:pt x="7438" y="465"/>
                    <a:pt x="7828" y="243"/>
                    <a:pt x="8113" y="0"/>
                  </a:cubicBezTo>
                  <a:lnTo>
                    <a:pt x="13078" y="708"/>
                  </a:lnTo>
                  <a:cubicBezTo>
                    <a:pt x="17561" y="1308"/>
                    <a:pt x="19892" y="1695"/>
                    <a:pt x="20070" y="1866"/>
                  </a:cubicBezTo>
                  <a:cubicBezTo>
                    <a:pt x="20140" y="2052"/>
                    <a:pt x="20053" y="2388"/>
                    <a:pt x="19803" y="2874"/>
                  </a:cubicBezTo>
                  <a:cubicBezTo>
                    <a:pt x="19448" y="3446"/>
                    <a:pt x="18966" y="3832"/>
                    <a:pt x="18362" y="4033"/>
                  </a:cubicBezTo>
                  <a:lnTo>
                    <a:pt x="18362" y="3904"/>
                  </a:lnTo>
                  <a:cubicBezTo>
                    <a:pt x="18326" y="3889"/>
                    <a:pt x="18255" y="3882"/>
                    <a:pt x="18149" y="3882"/>
                  </a:cubicBezTo>
                  <a:cubicBezTo>
                    <a:pt x="17651" y="3897"/>
                    <a:pt x="17259" y="4140"/>
                    <a:pt x="16973" y="4612"/>
                  </a:cubicBezTo>
                  <a:cubicBezTo>
                    <a:pt x="16796" y="4927"/>
                    <a:pt x="16689" y="5220"/>
                    <a:pt x="16654" y="5491"/>
                  </a:cubicBezTo>
                  <a:cubicBezTo>
                    <a:pt x="16654" y="5691"/>
                    <a:pt x="16706" y="5827"/>
                    <a:pt x="16815" y="5899"/>
                  </a:cubicBezTo>
                  <a:cubicBezTo>
                    <a:pt x="16885" y="5971"/>
                    <a:pt x="17081" y="6006"/>
                    <a:pt x="17401" y="6006"/>
                  </a:cubicBezTo>
                  <a:cubicBezTo>
                    <a:pt x="17580" y="6006"/>
                    <a:pt x="17899" y="5949"/>
                    <a:pt x="18362" y="5834"/>
                  </a:cubicBezTo>
                  <a:cubicBezTo>
                    <a:pt x="18825" y="5749"/>
                    <a:pt x="19269" y="5706"/>
                    <a:pt x="19696" y="5706"/>
                  </a:cubicBezTo>
                  <a:cubicBezTo>
                    <a:pt x="19909" y="5706"/>
                    <a:pt x="20195" y="5734"/>
                    <a:pt x="20551" y="5792"/>
                  </a:cubicBezTo>
                  <a:cubicBezTo>
                    <a:pt x="20870" y="5863"/>
                    <a:pt x="21031" y="5935"/>
                    <a:pt x="21031" y="6006"/>
                  </a:cubicBezTo>
                  <a:cubicBezTo>
                    <a:pt x="21031" y="6020"/>
                    <a:pt x="20870" y="6099"/>
                    <a:pt x="20551" y="6242"/>
                  </a:cubicBezTo>
                  <a:cubicBezTo>
                    <a:pt x="20159" y="6385"/>
                    <a:pt x="19963" y="6528"/>
                    <a:pt x="19963" y="6671"/>
                  </a:cubicBezTo>
                  <a:cubicBezTo>
                    <a:pt x="19963" y="6828"/>
                    <a:pt x="20140" y="6986"/>
                    <a:pt x="20497" y="7143"/>
                  </a:cubicBezTo>
                  <a:cubicBezTo>
                    <a:pt x="20889" y="7343"/>
                    <a:pt x="21208" y="7608"/>
                    <a:pt x="21458" y="7936"/>
                  </a:cubicBezTo>
                  <a:cubicBezTo>
                    <a:pt x="21565" y="8051"/>
                    <a:pt x="21600" y="8266"/>
                    <a:pt x="21565" y="8580"/>
                  </a:cubicBezTo>
                  <a:cubicBezTo>
                    <a:pt x="21458" y="8981"/>
                    <a:pt x="21404" y="9224"/>
                    <a:pt x="21404" y="9310"/>
                  </a:cubicBezTo>
                  <a:cubicBezTo>
                    <a:pt x="21369" y="9338"/>
                    <a:pt x="21208" y="9674"/>
                    <a:pt x="20924" y="10317"/>
                  </a:cubicBezTo>
                  <a:lnTo>
                    <a:pt x="20977" y="11219"/>
                  </a:lnTo>
                  <a:cubicBezTo>
                    <a:pt x="20941" y="11533"/>
                    <a:pt x="20674" y="11798"/>
                    <a:pt x="20176" y="12012"/>
                  </a:cubicBezTo>
                  <a:cubicBezTo>
                    <a:pt x="19571" y="12284"/>
                    <a:pt x="19146" y="12613"/>
                    <a:pt x="18896" y="12999"/>
                  </a:cubicBezTo>
                  <a:cubicBezTo>
                    <a:pt x="18860" y="13071"/>
                    <a:pt x="18841" y="13206"/>
                    <a:pt x="18841" y="13407"/>
                  </a:cubicBezTo>
                  <a:cubicBezTo>
                    <a:pt x="18806" y="13578"/>
                    <a:pt x="18735" y="13728"/>
                    <a:pt x="18629" y="13857"/>
                  </a:cubicBezTo>
                  <a:cubicBezTo>
                    <a:pt x="17953" y="14200"/>
                    <a:pt x="17526" y="14450"/>
                    <a:pt x="17348" y="14608"/>
                  </a:cubicBezTo>
                  <a:cubicBezTo>
                    <a:pt x="17063" y="14822"/>
                    <a:pt x="16867" y="15094"/>
                    <a:pt x="16760" y="15423"/>
                  </a:cubicBezTo>
                  <a:cubicBezTo>
                    <a:pt x="16619" y="15852"/>
                    <a:pt x="16493" y="16123"/>
                    <a:pt x="16387" y="16237"/>
                  </a:cubicBezTo>
                  <a:lnTo>
                    <a:pt x="15853" y="16559"/>
                  </a:lnTo>
                  <a:cubicBezTo>
                    <a:pt x="15497" y="16745"/>
                    <a:pt x="15320" y="16888"/>
                    <a:pt x="15320" y="16989"/>
                  </a:cubicBezTo>
                  <a:cubicBezTo>
                    <a:pt x="15284" y="17031"/>
                    <a:pt x="15213" y="17167"/>
                    <a:pt x="15105" y="17396"/>
                  </a:cubicBezTo>
                  <a:cubicBezTo>
                    <a:pt x="14963" y="17611"/>
                    <a:pt x="14750" y="17718"/>
                    <a:pt x="14465" y="17718"/>
                  </a:cubicBezTo>
                  <a:cubicBezTo>
                    <a:pt x="13931" y="17703"/>
                    <a:pt x="13612" y="17597"/>
                    <a:pt x="13503" y="17396"/>
                  </a:cubicBezTo>
                  <a:cubicBezTo>
                    <a:pt x="13468" y="17382"/>
                    <a:pt x="13416" y="17161"/>
                    <a:pt x="13345" y="16731"/>
                  </a:cubicBezTo>
                  <a:cubicBezTo>
                    <a:pt x="13274" y="16102"/>
                    <a:pt x="12384" y="15780"/>
                    <a:pt x="10676" y="15766"/>
                  </a:cubicBezTo>
                  <a:cubicBezTo>
                    <a:pt x="8718" y="15766"/>
                    <a:pt x="7525" y="15616"/>
                    <a:pt x="7098" y="15316"/>
                  </a:cubicBezTo>
                  <a:cubicBezTo>
                    <a:pt x="6921" y="15158"/>
                    <a:pt x="6422" y="15001"/>
                    <a:pt x="5605" y="14844"/>
                  </a:cubicBezTo>
                  <a:cubicBezTo>
                    <a:pt x="4821" y="14644"/>
                    <a:pt x="4358" y="14493"/>
                    <a:pt x="4216" y="14393"/>
                  </a:cubicBezTo>
                  <a:lnTo>
                    <a:pt x="3895" y="14393"/>
                  </a:lnTo>
                  <a:lnTo>
                    <a:pt x="3895" y="14608"/>
                  </a:lnTo>
                  <a:cubicBezTo>
                    <a:pt x="4039" y="14708"/>
                    <a:pt x="4537" y="14915"/>
                    <a:pt x="5390" y="15230"/>
                  </a:cubicBezTo>
                  <a:cubicBezTo>
                    <a:pt x="6174" y="15502"/>
                    <a:pt x="6602" y="15738"/>
                    <a:pt x="6672" y="15938"/>
                  </a:cubicBezTo>
                  <a:cubicBezTo>
                    <a:pt x="6850" y="16338"/>
                    <a:pt x="7561" y="16810"/>
                    <a:pt x="8808" y="17353"/>
                  </a:cubicBezTo>
                  <a:cubicBezTo>
                    <a:pt x="8843" y="17382"/>
                    <a:pt x="9127" y="17603"/>
                    <a:pt x="9660" y="18018"/>
                  </a:cubicBezTo>
                  <a:cubicBezTo>
                    <a:pt x="9946" y="18233"/>
                    <a:pt x="10409" y="18347"/>
                    <a:pt x="11049" y="18361"/>
                  </a:cubicBezTo>
                  <a:cubicBezTo>
                    <a:pt x="11725" y="18390"/>
                    <a:pt x="12133" y="18518"/>
                    <a:pt x="12277" y="18747"/>
                  </a:cubicBezTo>
                  <a:cubicBezTo>
                    <a:pt x="12348" y="18876"/>
                    <a:pt x="12419" y="19133"/>
                    <a:pt x="12490" y="19520"/>
                  </a:cubicBezTo>
                  <a:cubicBezTo>
                    <a:pt x="12384" y="19619"/>
                    <a:pt x="12329" y="19755"/>
                    <a:pt x="12329" y="19927"/>
                  </a:cubicBezTo>
                  <a:cubicBezTo>
                    <a:pt x="12329" y="20056"/>
                    <a:pt x="12490" y="20170"/>
                    <a:pt x="12811" y="20270"/>
                  </a:cubicBezTo>
                  <a:cubicBezTo>
                    <a:pt x="13130" y="20370"/>
                    <a:pt x="13274" y="20499"/>
                    <a:pt x="13236" y="20657"/>
                  </a:cubicBezTo>
                  <a:cubicBezTo>
                    <a:pt x="13236" y="20728"/>
                    <a:pt x="13220" y="20813"/>
                    <a:pt x="13184" y="20914"/>
                  </a:cubicBezTo>
                  <a:close/>
                  <a:moveTo>
                    <a:pt x="13184" y="2091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8" name="AutoShape 15"/>
            <p:cNvSpPr>
              <a:spLocks/>
            </p:cNvSpPr>
            <p:nvPr/>
          </p:nvSpPr>
          <p:spPr bwMode="auto">
            <a:xfrm>
              <a:off x="6964288" y="5021354"/>
              <a:ext cx="290987" cy="271588"/>
            </a:xfrm>
            <a:custGeom>
              <a:avLst/>
              <a:gdLst/>
              <a:ahLst/>
              <a:cxnLst/>
              <a:rect l="0" t="0" r="r" b="b"/>
              <a:pathLst>
                <a:path w="21590" h="21600">
                  <a:moveTo>
                    <a:pt x="11673" y="0"/>
                  </a:moveTo>
                  <a:cubicBezTo>
                    <a:pt x="11683" y="97"/>
                    <a:pt x="11774" y="151"/>
                    <a:pt x="11945" y="162"/>
                  </a:cubicBezTo>
                  <a:cubicBezTo>
                    <a:pt x="12127" y="162"/>
                    <a:pt x="12213" y="302"/>
                    <a:pt x="12203" y="583"/>
                  </a:cubicBezTo>
                  <a:cubicBezTo>
                    <a:pt x="12203" y="659"/>
                    <a:pt x="12148" y="745"/>
                    <a:pt x="12036" y="842"/>
                  </a:cubicBezTo>
                  <a:cubicBezTo>
                    <a:pt x="11935" y="907"/>
                    <a:pt x="11880" y="994"/>
                    <a:pt x="11870" y="1102"/>
                  </a:cubicBezTo>
                  <a:cubicBezTo>
                    <a:pt x="11870" y="1231"/>
                    <a:pt x="11930" y="1329"/>
                    <a:pt x="12051" y="1394"/>
                  </a:cubicBezTo>
                  <a:cubicBezTo>
                    <a:pt x="12172" y="1415"/>
                    <a:pt x="12233" y="1480"/>
                    <a:pt x="12233" y="1588"/>
                  </a:cubicBezTo>
                  <a:cubicBezTo>
                    <a:pt x="12233" y="1653"/>
                    <a:pt x="12188" y="1728"/>
                    <a:pt x="12097" y="1815"/>
                  </a:cubicBezTo>
                  <a:cubicBezTo>
                    <a:pt x="12006" y="1912"/>
                    <a:pt x="11961" y="1993"/>
                    <a:pt x="11961" y="2058"/>
                  </a:cubicBezTo>
                  <a:cubicBezTo>
                    <a:pt x="11961" y="2123"/>
                    <a:pt x="11975" y="2177"/>
                    <a:pt x="12006" y="2220"/>
                  </a:cubicBezTo>
                  <a:cubicBezTo>
                    <a:pt x="12046" y="2253"/>
                    <a:pt x="12092" y="2269"/>
                    <a:pt x="12142" y="2269"/>
                  </a:cubicBezTo>
                  <a:cubicBezTo>
                    <a:pt x="12182" y="2269"/>
                    <a:pt x="12218" y="2253"/>
                    <a:pt x="12248" y="2220"/>
                  </a:cubicBezTo>
                  <a:cubicBezTo>
                    <a:pt x="12289" y="2188"/>
                    <a:pt x="12324" y="2171"/>
                    <a:pt x="12354" y="2171"/>
                  </a:cubicBezTo>
                  <a:cubicBezTo>
                    <a:pt x="12415" y="2171"/>
                    <a:pt x="12440" y="2285"/>
                    <a:pt x="12430" y="2512"/>
                  </a:cubicBezTo>
                  <a:cubicBezTo>
                    <a:pt x="12430" y="2630"/>
                    <a:pt x="12389" y="2711"/>
                    <a:pt x="12309" y="2755"/>
                  </a:cubicBezTo>
                  <a:cubicBezTo>
                    <a:pt x="12228" y="2798"/>
                    <a:pt x="12188" y="2863"/>
                    <a:pt x="12188" y="2949"/>
                  </a:cubicBezTo>
                  <a:cubicBezTo>
                    <a:pt x="12188" y="2960"/>
                    <a:pt x="12233" y="3014"/>
                    <a:pt x="12324" y="3111"/>
                  </a:cubicBezTo>
                  <a:cubicBezTo>
                    <a:pt x="12455" y="3241"/>
                    <a:pt x="12546" y="3343"/>
                    <a:pt x="12596" y="3419"/>
                  </a:cubicBezTo>
                  <a:cubicBezTo>
                    <a:pt x="12637" y="3495"/>
                    <a:pt x="12722" y="3527"/>
                    <a:pt x="12854" y="3516"/>
                  </a:cubicBezTo>
                  <a:cubicBezTo>
                    <a:pt x="12955" y="3516"/>
                    <a:pt x="13005" y="3587"/>
                    <a:pt x="13005" y="3727"/>
                  </a:cubicBezTo>
                  <a:cubicBezTo>
                    <a:pt x="12844" y="3835"/>
                    <a:pt x="12682" y="3959"/>
                    <a:pt x="12521" y="4100"/>
                  </a:cubicBezTo>
                  <a:cubicBezTo>
                    <a:pt x="12208" y="4326"/>
                    <a:pt x="12051" y="4456"/>
                    <a:pt x="12051" y="4489"/>
                  </a:cubicBezTo>
                  <a:cubicBezTo>
                    <a:pt x="12051" y="4575"/>
                    <a:pt x="12127" y="4618"/>
                    <a:pt x="12278" y="4618"/>
                  </a:cubicBezTo>
                  <a:cubicBezTo>
                    <a:pt x="12440" y="4640"/>
                    <a:pt x="12521" y="4710"/>
                    <a:pt x="12521" y="4829"/>
                  </a:cubicBezTo>
                  <a:lnTo>
                    <a:pt x="12112" y="5623"/>
                  </a:lnTo>
                  <a:cubicBezTo>
                    <a:pt x="12031" y="5688"/>
                    <a:pt x="11875" y="5790"/>
                    <a:pt x="11642" y="5931"/>
                  </a:cubicBezTo>
                  <a:cubicBezTo>
                    <a:pt x="11471" y="6093"/>
                    <a:pt x="11385" y="6276"/>
                    <a:pt x="11385" y="6482"/>
                  </a:cubicBezTo>
                  <a:lnTo>
                    <a:pt x="11431" y="6709"/>
                  </a:lnTo>
                  <a:cubicBezTo>
                    <a:pt x="11431" y="6838"/>
                    <a:pt x="11340" y="6962"/>
                    <a:pt x="11158" y="7081"/>
                  </a:cubicBezTo>
                  <a:cubicBezTo>
                    <a:pt x="11007" y="7222"/>
                    <a:pt x="10931" y="7373"/>
                    <a:pt x="10931" y="7535"/>
                  </a:cubicBezTo>
                  <a:cubicBezTo>
                    <a:pt x="10911" y="7794"/>
                    <a:pt x="10851" y="7962"/>
                    <a:pt x="10749" y="8037"/>
                  </a:cubicBezTo>
                  <a:cubicBezTo>
                    <a:pt x="10638" y="8102"/>
                    <a:pt x="10583" y="8205"/>
                    <a:pt x="10583" y="8345"/>
                  </a:cubicBezTo>
                  <a:cubicBezTo>
                    <a:pt x="10563" y="8410"/>
                    <a:pt x="10603" y="8507"/>
                    <a:pt x="10704" y="8637"/>
                  </a:cubicBezTo>
                  <a:lnTo>
                    <a:pt x="10704" y="8766"/>
                  </a:lnTo>
                  <a:cubicBezTo>
                    <a:pt x="10603" y="8766"/>
                    <a:pt x="10542" y="8766"/>
                    <a:pt x="10522" y="8766"/>
                  </a:cubicBezTo>
                  <a:cubicBezTo>
                    <a:pt x="10472" y="8777"/>
                    <a:pt x="10447" y="8815"/>
                    <a:pt x="10447" y="8880"/>
                  </a:cubicBezTo>
                  <a:cubicBezTo>
                    <a:pt x="10447" y="8902"/>
                    <a:pt x="10472" y="8956"/>
                    <a:pt x="10522" y="9042"/>
                  </a:cubicBezTo>
                  <a:cubicBezTo>
                    <a:pt x="10563" y="9139"/>
                    <a:pt x="10583" y="9226"/>
                    <a:pt x="10583" y="9301"/>
                  </a:cubicBezTo>
                  <a:cubicBezTo>
                    <a:pt x="10583" y="9409"/>
                    <a:pt x="10492" y="9469"/>
                    <a:pt x="10310" y="9479"/>
                  </a:cubicBezTo>
                  <a:cubicBezTo>
                    <a:pt x="10128" y="9523"/>
                    <a:pt x="10043" y="9593"/>
                    <a:pt x="10053" y="9690"/>
                  </a:cubicBezTo>
                  <a:cubicBezTo>
                    <a:pt x="10043" y="9723"/>
                    <a:pt x="10098" y="9793"/>
                    <a:pt x="10220" y="9901"/>
                  </a:cubicBezTo>
                  <a:cubicBezTo>
                    <a:pt x="10331" y="10041"/>
                    <a:pt x="10381" y="10209"/>
                    <a:pt x="10371" y="10403"/>
                  </a:cubicBezTo>
                  <a:cubicBezTo>
                    <a:pt x="10371" y="10630"/>
                    <a:pt x="10351" y="10781"/>
                    <a:pt x="10310" y="10857"/>
                  </a:cubicBezTo>
                  <a:lnTo>
                    <a:pt x="10310" y="10970"/>
                  </a:lnTo>
                  <a:lnTo>
                    <a:pt x="10583" y="10986"/>
                  </a:lnTo>
                  <a:cubicBezTo>
                    <a:pt x="10764" y="10900"/>
                    <a:pt x="13303" y="10792"/>
                    <a:pt x="18198" y="10662"/>
                  </a:cubicBezTo>
                  <a:lnTo>
                    <a:pt x="18244" y="10905"/>
                  </a:lnTo>
                  <a:cubicBezTo>
                    <a:pt x="18244" y="10992"/>
                    <a:pt x="18188" y="11100"/>
                    <a:pt x="18077" y="11230"/>
                  </a:cubicBezTo>
                  <a:cubicBezTo>
                    <a:pt x="17976" y="11359"/>
                    <a:pt x="17926" y="11467"/>
                    <a:pt x="17926" y="11554"/>
                  </a:cubicBezTo>
                  <a:lnTo>
                    <a:pt x="17956" y="11780"/>
                  </a:lnTo>
                  <a:cubicBezTo>
                    <a:pt x="17956" y="11867"/>
                    <a:pt x="17921" y="11937"/>
                    <a:pt x="17850" y="11991"/>
                  </a:cubicBezTo>
                  <a:cubicBezTo>
                    <a:pt x="17800" y="12056"/>
                    <a:pt x="17774" y="12148"/>
                    <a:pt x="17774" y="12267"/>
                  </a:cubicBezTo>
                  <a:cubicBezTo>
                    <a:pt x="17764" y="12504"/>
                    <a:pt x="17880" y="12769"/>
                    <a:pt x="18123" y="13061"/>
                  </a:cubicBezTo>
                  <a:cubicBezTo>
                    <a:pt x="18425" y="13428"/>
                    <a:pt x="18592" y="13638"/>
                    <a:pt x="18622" y="13693"/>
                  </a:cubicBezTo>
                  <a:cubicBezTo>
                    <a:pt x="18632" y="13747"/>
                    <a:pt x="18658" y="13882"/>
                    <a:pt x="18698" y="14098"/>
                  </a:cubicBezTo>
                  <a:cubicBezTo>
                    <a:pt x="18738" y="14260"/>
                    <a:pt x="18794" y="14373"/>
                    <a:pt x="18864" y="14438"/>
                  </a:cubicBezTo>
                  <a:cubicBezTo>
                    <a:pt x="18895" y="14492"/>
                    <a:pt x="18965" y="14568"/>
                    <a:pt x="19076" y="14665"/>
                  </a:cubicBezTo>
                  <a:cubicBezTo>
                    <a:pt x="19188" y="14784"/>
                    <a:pt x="19243" y="14875"/>
                    <a:pt x="19243" y="14940"/>
                  </a:cubicBezTo>
                  <a:cubicBezTo>
                    <a:pt x="19202" y="14940"/>
                    <a:pt x="19127" y="14967"/>
                    <a:pt x="19016" y="15021"/>
                  </a:cubicBezTo>
                  <a:cubicBezTo>
                    <a:pt x="18875" y="15075"/>
                    <a:pt x="18778" y="15102"/>
                    <a:pt x="18728" y="15102"/>
                  </a:cubicBezTo>
                  <a:cubicBezTo>
                    <a:pt x="18688" y="15102"/>
                    <a:pt x="18501" y="15043"/>
                    <a:pt x="18168" y="14924"/>
                  </a:cubicBezTo>
                  <a:cubicBezTo>
                    <a:pt x="17835" y="14848"/>
                    <a:pt x="17628" y="14794"/>
                    <a:pt x="17547" y="14762"/>
                  </a:cubicBezTo>
                  <a:cubicBezTo>
                    <a:pt x="17497" y="14719"/>
                    <a:pt x="17335" y="14589"/>
                    <a:pt x="17063" y="14373"/>
                  </a:cubicBezTo>
                  <a:cubicBezTo>
                    <a:pt x="16810" y="14168"/>
                    <a:pt x="16644" y="14065"/>
                    <a:pt x="16563" y="14065"/>
                  </a:cubicBezTo>
                  <a:cubicBezTo>
                    <a:pt x="16493" y="14065"/>
                    <a:pt x="16387" y="14125"/>
                    <a:pt x="16245" y="14244"/>
                  </a:cubicBezTo>
                  <a:cubicBezTo>
                    <a:pt x="16104" y="14373"/>
                    <a:pt x="16018" y="14503"/>
                    <a:pt x="15988" y="14632"/>
                  </a:cubicBezTo>
                  <a:cubicBezTo>
                    <a:pt x="15977" y="14654"/>
                    <a:pt x="15882" y="14767"/>
                    <a:pt x="15700" y="14973"/>
                  </a:cubicBezTo>
                  <a:cubicBezTo>
                    <a:pt x="15519" y="15210"/>
                    <a:pt x="15427" y="15356"/>
                    <a:pt x="15427" y="15410"/>
                  </a:cubicBezTo>
                  <a:cubicBezTo>
                    <a:pt x="15427" y="15486"/>
                    <a:pt x="15796" y="15653"/>
                    <a:pt x="16533" y="15912"/>
                  </a:cubicBezTo>
                  <a:cubicBezTo>
                    <a:pt x="16704" y="15912"/>
                    <a:pt x="17047" y="15794"/>
                    <a:pt x="17562" y="15556"/>
                  </a:cubicBezTo>
                  <a:cubicBezTo>
                    <a:pt x="18057" y="15286"/>
                    <a:pt x="18360" y="15151"/>
                    <a:pt x="18471" y="15151"/>
                  </a:cubicBezTo>
                  <a:cubicBezTo>
                    <a:pt x="18561" y="15151"/>
                    <a:pt x="18642" y="15162"/>
                    <a:pt x="18713" y="15183"/>
                  </a:cubicBezTo>
                  <a:cubicBezTo>
                    <a:pt x="18743" y="15205"/>
                    <a:pt x="18804" y="15237"/>
                    <a:pt x="18895" y="15280"/>
                  </a:cubicBezTo>
                  <a:cubicBezTo>
                    <a:pt x="18854" y="15345"/>
                    <a:pt x="18774" y="15415"/>
                    <a:pt x="18652" y="15491"/>
                  </a:cubicBezTo>
                  <a:cubicBezTo>
                    <a:pt x="18521" y="15567"/>
                    <a:pt x="18455" y="15648"/>
                    <a:pt x="18455" y="15734"/>
                  </a:cubicBezTo>
                  <a:cubicBezTo>
                    <a:pt x="18435" y="15842"/>
                    <a:pt x="18345" y="15918"/>
                    <a:pt x="18183" y="15961"/>
                  </a:cubicBezTo>
                  <a:cubicBezTo>
                    <a:pt x="18042" y="16004"/>
                    <a:pt x="17971" y="16064"/>
                    <a:pt x="17971" y="16139"/>
                  </a:cubicBezTo>
                  <a:cubicBezTo>
                    <a:pt x="17971" y="16226"/>
                    <a:pt x="18062" y="16274"/>
                    <a:pt x="18244" y="16285"/>
                  </a:cubicBezTo>
                  <a:cubicBezTo>
                    <a:pt x="18324" y="16285"/>
                    <a:pt x="18415" y="16285"/>
                    <a:pt x="18516" y="16285"/>
                  </a:cubicBezTo>
                  <a:cubicBezTo>
                    <a:pt x="18557" y="16317"/>
                    <a:pt x="18617" y="16404"/>
                    <a:pt x="18698" y="16545"/>
                  </a:cubicBezTo>
                  <a:cubicBezTo>
                    <a:pt x="18758" y="16674"/>
                    <a:pt x="18804" y="16739"/>
                    <a:pt x="18834" y="16739"/>
                  </a:cubicBezTo>
                  <a:cubicBezTo>
                    <a:pt x="19005" y="16739"/>
                    <a:pt x="19097" y="16625"/>
                    <a:pt x="19107" y="16399"/>
                  </a:cubicBezTo>
                  <a:cubicBezTo>
                    <a:pt x="19107" y="16377"/>
                    <a:pt x="19087" y="16317"/>
                    <a:pt x="19046" y="16220"/>
                  </a:cubicBezTo>
                  <a:lnTo>
                    <a:pt x="18985" y="16107"/>
                  </a:lnTo>
                  <a:lnTo>
                    <a:pt x="19561" y="15459"/>
                  </a:lnTo>
                  <a:cubicBezTo>
                    <a:pt x="19611" y="15459"/>
                    <a:pt x="19637" y="15513"/>
                    <a:pt x="19637" y="15621"/>
                  </a:cubicBezTo>
                  <a:cubicBezTo>
                    <a:pt x="19637" y="15664"/>
                    <a:pt x="19626" y="15723"/>
                    <a:pt x="19606" y="15799"/>
                  </a:cubicBezTo>
                  <a:cubicBezTo>
                    <a:pt x="19586" y="15875"/>
                    <a:pt x="19576" y="15934"/>
                    <a:pt x="19576" y="15977"/>
                  </a:cubicBezTo>
                  <a:lnTo>
                    <a:pt x="20106" y="17030"/>
                  </a:lnTo>
                  <a:cubicBezTo>
                    <a:pt x="20106" y="17106"/>
                    <a:pt x="20040" y="17155"/>
                    <a:pt x="19909" y="17176"/>
                  </a:cubicBezTo>
                  <a:cubicBezTo>
                    <a:pt x="19859" y="17176"/>
                    <a:pt x="19803" y="17155"/>
                    <a:pt x="19742" y="17111"/>
                  </a:cubicBezTo>
                  <a:cubicBezTo>
                    <a:pt x="19682" y="17057"/>
                    <a:pt x="19621" y="17030"/>
                    <a:pt x="19561" y="17030"/>
                  </a:cubicBezTo>
                  <a:cubicBezTo>
                    <a:pt x="19501" y="17030"/>
                    <a:pt x="19465" y="17074"/>
                    <a:pt x="19455" y="17160"/>
                  </a:cubicBezTo>
                  <a:cubicBezTo>
                    <a:pt x="19445" y="17268"/>
                    <a:pt x="19415" y="17349"/>
                    <a:pt x="19364" y="17403"/>
                  </a:cubicBezTo>
                  <a:cubicBezTo>
                    <a:pt x="19354" y="17414"/>
                    <a:pt x="19298" y="17446"/>
                    <a:pt x="19198" y="17500"/>
                  </a:cubicBezTo>
                  <a:cubicBezTo>
                    <a:pt x="19127" y="17565"/>
                    <a:pt x="19091" y="17614"/>
                    <a:pt x="19091" y="17646"/>
                  </a:cubicBezTo>
                  <a:cubicBezTo>
                    <a:pt x="19091" y="17700"/>
                    <a:pt x="19122" y="17749"/>
                    <a:pt x="19182" y="17792"/>
                  </a:cubicBezTo>
                  <a:cubicBezTo>
                    <a:pt x="19243" y="17846"/>
                    <a:pt x="19273" y="17900"/>
                    <a:pt x="19273" y="17954"/>
                  </a:cubicBezTo>
                  <a:cubicBezTo>
                    <a:pt x="19263" y="17987"/>
                    <a:pt x="19182" y="18013"/>
                    <a:pt x="19031" y="18035"/>
                  </a:cubicBezTo>
                  <a:cubicBezTo>
                    <a:pt x="18890" y="18057"/>
                    <a:pt x="18819" y="18154"/>
                    <a:pt x="18819" y="18327"/>
                  </a:cubicBezTo>
                  <a:cubicBezTo>
                    <a:pt x="18819" y="18510"/>
                    <a:pt x="18885" y="18635"/>
                    <a:pt x="19016" y="18700"/>
                  </a:cubicBezTo>
                  <a:cubicBezTo>
                    <a:pt x="19107" y="18732"/>
                    <a:pt x="19263" y="18791"/>
                    <a:pt x="19485" y="18878"/>
                  </a:cubicBezTo>
                  <a:cubicBezTo>
                    <a:pt x="19535" y="18899"/>
                    <a:pt x="19571" y="18964"/>
                    <a:pt x="19591" y="19072"/>
                  </a:cubicBezTo>
                  <a:cubicBezTo>
                    <a:pt x="19621" y="19148"/>
                    <a:pt x="19667" y="19207"/>
                    <a:pt x="19728" y="19250"/>
                  </a:cubicBezTo>
                  <a:cubicBezTo>
                    <a:pt x="19828" y="19294"/>
                    <a:pt x="19985" y="19299"/>
                    <a:pt x="20197" y="19267"/>
                  </a:cubicBezTo>
                  <a:cubicBezTo>
                    <a:pt x="20318" y="19277"/>
                    <a:pt x="20565" y="19369"/>
                    <a:pt x="20939" y="19542"/>
                  </a:cubicBezTo>
                  <a:cubicBezTo>
                    <a:pt x="21383" y="19736"/>
                    <a:pt x="21600" y="19931"/>
                    <a:pt x="21589" y="20125"/>
                  </a:cubicBezTo>
                  <a:cubicBezTo>
                    <a:pt x="21589" y="20180"/>
                    <a:pt x="21559" y="20250"/>
                    <a:pt x="21499" y="20336"/>
                  </a:cubicBezTo>
                  <a:cubicBezTo>
                    <a:pt x="21438" y="20423"/>
                    <a:pt x="21408" y="20488"/>
                    <a:pt x="21408" y="20530"/>
                  </a:cubicBezTo>
                  <a:lnTo>
                    <a:pt x="21408" y="20968"/>
                  </a:lnTo>
                  <a:cubicBezTo>
                    <a:pt x="21408" y="21195"/>
                    <a:pt x="21342" y="21309"/>
                    <a:pt x="21211" y="21309"/>
                  </a:cubicBezTo>
                  <a:cubicBezTo>
                    <a:pt x="21100" y="21309"/>
                    <a:pt x="21019" y="21244"/>
                    <a:pt x="20969" y="21114"/>
                  </a:cubicBezTo>
                  <a:cubicBezTo>
                    <a:pt x="20908" y="20984"/>
                    <a:pt x="20853" y="20920"/>
                    <a:pt x="20802" y="20920"/>
                  </a:cubicBezTo>
                  <a:lnTo>
                    <a:pt x="20605" y="21228"/>
                  </a:lnTo>
                  <a:cubicBezTo>
                    <a:pt x="20475" y="21432"/>
                    <a:pt x="20373" y="21557"/>
                    <a:pt x="20302" y="21600"/>
                  </a:cubicBezTo>
                  <a:lnTo>
                    <a:pt x="20182" y="21568"/>
                  </a:lnTo>
                  <a:lnTo>
                    <a:pt x="20182" y="21390"/>
                  </a:lnTo>
                  <a:cubicBezTo>
                    <a:pt x="20292" y="21303"/>
                    <a:pt x="20348" y="21200"/>
                    <a:pt x="20348" y="21082"/>
                  </a:cubicBezTo>
                  <a:cubicBezTo>
                    <a:pt x="20348" y="20963"/>
                    <a:pt x="20292" y="20882"/>
                    <a:pt x="20182" y="20839"/>
                  </a:cubicBezTo>
                  <a:cubicBezTo>
                    <a:pt x="20051" y="20795"/>
                    <a:pt x="19980" y="20687"/>
                    <a:pt x="19969" y="20514"/>
                  </a:cubicBezTo>
                  <a:cubicBezTo>
                    <a:pt x="19939" y="20363"/>
                    <a:pt x="19899" y="20250"/>
                    <a:pt x="19848" y="20174"/>
                  </a:cubicBezTo>
                  <a:cubicBezTo>
                    <a:pt x="19788" y="20077"/>
                    <a:pt x="19692" y="20023"/>
                    <a:pt x="19561" y="20012"/>
                  </a:cubicBezTo>
                  <a:cubicBezTo>
                    <a:pt x="19521" y="20012"/>
                    <a:pt x="19460" y="20034"/>
                    <a:pt x="19379" y="20077"/>
                  </a:cubicBezTo>
                  <a:cubicBezTo>
                    <a:pt x="19278" y="20098"/>
                    <a:pt x="19208" y="20109"/>
                    <a:pt x="19167" y="20109"/>
                  </a:cubicBezTo>
                  <a:cubicBezTo>
                    <a:pt x="19066" y="20098"/>
                    <a:pt x="19011" y="20034"/>
                    <a:pt x="19001" y="19915"/>
                  </a:cubicBezTo>
                  <a:cubicBezTo>
                    <a:pt x="18981" y="19785"/>
                    <a:pt x="18900" y="19720"/>
                    <a:pt x="18758" y="19720"/>
                  </a:cubicBezTo>
                  <a:cubicBezTo>
                    <a:pt x="18708" y="19720"/>
                    <a:pt x="18607" y="19742"/>
                    <a:pt x="18455" y="19785"/>
                  </a:cubicBezTo>
                  <a:cubicBezTo>
                    <a:pt x="18314" y="19829"/>
                    <a:pt x="18234" y="19850"/>
                    <a:pt x="18214" y="19850"/>
                  </a:cubicBezTo>
                  <a:cubicBezTo>
                    <a:pt x="18183" y="19861"/>
                    <a:pt x="18163" y="19856"/>
                    <a:pt x="18153" y="19834"/>
                  </a:cubicBezTo>
                  <a:cubicBezTo>
                    <a:pt x="18153" y="19812"/>
                    <a:pt x="18153" y="19791"/>
                    <a:pt x="18153" y="19769"/>
                  </a:cubicBezTo>
                  <a:cubicBezTo>
                    <a:pt x="18153" y="19715"/>
                    <a:pt x="18193" y="19650"/>
                    <a:pt x="18274" y="19575"/>
                  </a:cubicBezTo>
                  <a:cubicBezTo>
                    <a:pt x="18345" y="19521"/>
                    <a:pt x="18380" y="19461"/>
                    <a:pt x="18380" y="19396"/>
                  </a:cubicBezTo>
                  <a:cubicBezTo>
                    <a:pt x="18390" y="19310"/>
                    <a:pt x="18183" y="19180"/>
                    <a:pt x="17759" y="19007"/>
                  </a:cubicBezTo>
                  <a:cubicBezTo>
                    <a:pt x="17194" y="18769"/>
                    <a:pt x="16881" y="18624"/>
                    <a:pt x="16820" y="18570"/>
                  </a:cubicBezTo>
                  <a:lnTo>
                    <a:pt x="16714" y="18570"/>
                  </a:lnTo>
                  <a:lnTo>
                    <a:pt x="16700" y="18764"/>
                  </a:lnTo>
                  <a:cubicBezTo>
                    <a:pt x="16720" y="18797"/>
                    <a:pt x="16881" y="18910"/>
                    <a:pt x="17184" y="19105"/>
                  </a:cubicBezTo>
                  <a:cubicBezTo>
                    <a:pt x="17467" y="19321"/>
                    <a:pt x="17608" y="19499"/>
                    <a:pt x="17608" y="19639"/>
                  </a:cubicBezTo>
                  <a:cubicBezTo>
                    <a:pt x="17608" y="19769"/>
                    <a:pt x="17532" y="19850"/>
                    <a:pt x="17381" y="19882"/>
                  </a:cubicBezTo>
                  <a:cubicBezTo>
                    <a:pt x="17229" y="19926"/>
                    <a:pt x="17154" y="19980"/>
                    <a:pt x="17154" y="20045"/>
                  </a:cubicBezTo>
                  <a:cubicBezTo>
                    <a:pt x="17154" y="20098"/>
                    <a:pt x="17199" y="20136"/>
                    <a:pt x="17290" y="20158"/>
                  </a:cubicBezTo>
                  <a:cubicBezTo>
                    <a:pt x="17391" y="20190"/>
                    <a:pt x="17441" y="20271"/>
                    <a:pt x="17441" y="20401"/>
                  </a:cubicBezTo>
                  <a:cubicBezTo>
                    <a:pt x="17441" y="20434"/>
                    <a:pt x="17315" y="20558"/>
                    <a:pt x="17063" y="20774"/>
                  </a:cubicBezTo>
                  <a:cubicBezTo>
                    <a:pt x="16831" y="20979"/>
                    <a:pt x="16704" y="21082"/>
                    <a:pt x="16684" y="21082"/>
                  </a:cubicBezTo>
                  <a:cubicBezTo>
                    <a:pt x="16573" y="21082"/>
                    <a:pt x="16483" y="21055"/>
                    <a:pt x="16412" y="21000"/>
                  </a:cubicBezTo>
                  <a:cubicBezTo>
                    <a:pt x="16341" y="20946"/>
                    <a:pt x="16306" y="20893"/>
                    <a:pt x="16306" y="20839"/>
                  </a:cubicBezTo>
                  <a:cubicBezTo>
                    <a:pt x="16306" y="20763"/>
                    <a:pt x="16311" y="20693"/>
                    <a:pt x="16321" y="20628"/>
                  </a:cubicBezTo>
                  <a:cubicBezTo>
                    <a:pt x="16351" y="20541"/>
                    <a:pt x="16366" y="20471"/>
                    <a:pt x="16366" y="20417"/>
                  </a:cubicBezTo>
                  <a:cubicBezTo>
                    <a:pt x="16366" y="20342"/>
                    <a:pt x="16366" y="20298"/>
                    <a:pt x="16366" y="20288"/>
                  </a:cubicBezTo>
                  <a:cubicBezTo>
                    <a:pt x="16356" y="20255"/>
                    <a:pt x="16326" y="20239"/>
                    <a:pt x="16276" y="20239"/>
                  </a:cubicBezTo>
                  <a:cubicBezTo>
                    <a:pt x="16205" y="20228"/>
                    <a:pt x="16134" y="20234"/>
                    <a:pt x="16063" y="20255"/>
                  </a:cubicBezTo>
                  <a:cubicBezTo>
                    <a:pt x="15953" y="20298"/>
                    <a:pt x="15862" y="20326"/>
                    <a:pt x="15791" y="20336"/>
                  </a:cubicBezTo>
                  <a:cubicBezTo>
                    <a:pt x="15791" y="20326"/>
                    <a:pt x="15766" y="20244"/>
                    <a:pt x="15715" y="20093"/>
                  </a:cubicBezTo>
                  <a:cubicBezTo>
                    <a:pt x="15695" y="20018"/>
                    <a:pt x="15650" y="19974"/>
                    <a:pt x="15579" y="19964"/>
                  </a:cubicBezTo>
                  <a:cubicBezTo>
                    <a:pt x="15488" y="19964"/>
                    <a:pt x="15337" y="20007"/>
                    <a:pt x="15125" y="20093"/>
                  </a:cubicBezTo>
                  <a:cubicBezTo>
                    <a:pt x="14873" y="20147"/>
                    <a:pt x="14746" y="20201"/>
                    <a:pt x="14746" y="20255"/>
                  </a:cubicBezTo>
                  <a:cubicBezTo>
                    <a:pt x="14746" y="20266"/>
                    <a:pt x="14776" y="20444"/>
                    <a:pt x="14837" y="20790"/>
                  </a:cubicBezTo>
                  <a:cubicBezTo>
                    <a:pt x="14625" y="20930"/>
                    <a:pt x="14494" y="21000"/>
                    <a:pt x="14443" y="21000"/>
                  </a:cubicBezTo>
                  <a:cubicBezTo>
                    <a:pt x="14333" y="20925"/>
                    <a:pt x="14222" y="20887"/>
                    <a:pt x="14110" y="20887"/>
                  </a:cubicBezTo>
                  <a:cubicBezTo>
                    <a:pt x="14080" y="20887"/>
                    <a:pt x="13994" y="20909"/>
                    <a:pt x="13853" y="20952"/>
                  </a:cubicBezTo>
                  <a:cubicBezTo>
                    <a:pt x="13712" y="20984"/>
                    <a:pt x="13621" y="21000"/>
                    <a:pt x="13581" y="21000"/>
                  </a:cubicBezTo>
                  <a:cubicBezTo>
                    <a:pt x="13510" y="20979"/>
                    <a:pt x="13444" y="20957"/>
                    <a:pt x="13384" y="20936"/>
                  </a:cubicBezTo>
                  <a:cubicBezTo>
                    <a:pt x="13414" y="20871"/>
                    <a:pt x="13429" y="20806"/>
                    <a:pt x="13429" y="20741"/>
                  </a:cubicBezTo>
                  <a:cubicBezTo>
                    <a:pt x="13429" y="20720"/>
                    <a:pt x="13349" y="20622"/>
                    <a:pt x="13187" y="20450"/>
                  </a:cubicBezTo>
                  <a:cubicBezTo>
                    <a:pt x="12874" y="20568"/>
                    <a:pt x="12632" y="20628"/>
                    <a:pt x="12460" y="20628"/>
                  </a:cubicBezTo>
                  <a:cubicBezTo>
                    <a:pt x="12379" y="20628"/>
                    <a:pt x="12142" y="20482"/>
                    <a:pt x="11748" y="20190"/>
                  </a:cubicBezTo>
                  <a:cubicBezTo>
                    <a:pt x="11748" y="20104"/>
                    <a:pt x="11809" y="20018"/>
                    <a:pt x="11930" y="19931"/>
                  </a:cubicBezTo>
                  <a:cubicBezTo>
                    <a:pt x="12041" y="19877"/>
                    <a:pt x="12132" y="19850"/>
                    <a:pt x="12203" y="19850"/>
                  </a:cubicBezTo>
                  <a:cubicBezTo>
                    <a:pt x="12243" y="19850"/>
                    <a:pt x="12319" y="19904"/>
                    <a:pt x="12430" y="20012"/>
                  </a:cubicBezTo>
                  <a:cubicBezTo>
                    <a:pt x="12541" y="20142"/>
                    <a:pt x="12606" y="20206"/>
                    <a:pt x="12627" y="20206"/>
                  </a:cubicBezTo>
                  <a:cubicBezTo>
                    <a:pt x="12687" y="20206"/>
                    <a:pt x="12718" y="20153"/>
                    <a:pt x="12718" y="20045"/>
                  </a:cubicBezTo>
                  <a:cubicBezTo>
                    <a:pt x="12455" y="19829"/>
                    <a:pt x="12289" y="19677"/>
                    <a:pt x="12218" y="19591"/>
                  </a:cubicBezTo>
                  <a:cubicBezTo>
                    <a:pt x="12148" y="19505"/>
                    <a:pt x="12092" y="19385"/>
                    <a:pt x="12051" y="19234"/>
                  </a:cubicBezTo>
                  <a:cubicBezTo>
                    <a:pt x="12031" y="19061"/>
                    <a:pt x="12011" y="18937"/>
                    <a:pt x="11991" y="18862"/>
                  </a:cubicBezTo>
                  <a:lnTo>
                    <a:pt x="11915" y="18862"/>
                  </a:lnTo>
                  <a:cubicBezTo>
                    <a:pt x="11905" y="18883"/>
                    <a:pt x="11875" y="18932"/>
                    <a:pt x="11824" y="19007"/>
                  </a:cubicBezTo>
                  <a:cubicBezTo>
                    <a:pt x="11784" y="19083"/>
                    <a:pt x="11748" y="19121"/>
                    <a:pt x="11718" y="19121"/>
                  </a:cubicBezTo>
                  <a:cubicBezTo>
                    <a:pt x="11698" y="19121"/>
                    <a:pt x="11642" y="19083"/>
                    <a:pt x="11552" y="19007"/>
                  </a:cubicBezTo>
                  <a:cubicBezTo>
                    <a:pt x="11461" y="18910"/>
                    <a:pt x="11385" y="18862"/>
                    <a:pt x="11325" y="18862"/>
                  </a:cubicBezTo>
                  <a:lnTo>
                    <a:pt x="10885" y="18878"/>
                  </a:lnTo>
                  <a:cubicBezTo>
                    <a:pt x="10754" y="18878"/>
                    <a:pt x="10668" y="18851"/>
                    <a:pt x="10628" y="18797"/>
                  </a:cubicBezTo>
                  <a:cubicBezTo>
                    <a:pt x="10608" y="18743"/>
                    <a:pt x="10598" y="18646"/>
                    <a:pt x="10598" y="18505"/>
                  </a:cubicBezTo>
                  <a:lnTo>
                    <a:pt x="10644" y="18246"/>
                  </a:lnTo>
                  <a:cubicBezTo>
                    <a:pt x="10502" y="18289"/>
                    <a:pt x="10431" y="18230"/>
                    <a:pt x="10431" y="18068"/>
                  </a:cubicBezTo>
                  <a:cubicBezTo>
                    <a:pt x="10411" y="17916"/>
                    <a:pt x="10361" y="17819"/>
                    <a:pt x="10280" y="17776"/>
                  </a:cubicBezTo>
                  <a:cubicBezTo>
                    <a:pt x="10220" y="17787"/>
                    <a:pt x="10179" y="17797"/>
                    <a:pt x="10159" y="17809"/>
                  </a:cubicBezTo>
                  <a:cubicBezTo>
                    <a:pt x="10038" y="17830"/>
                    <a:pt x="9901" y="17873"/>
                    <a:pt x="9750" y="17938"/>
                  </a:cubicBezTo>
                  <a:lnTo>
                    <a:pt x="9341" y="17938"/>
                  </a:lnTo>
                  <a:cubicBezTo>
                    <a:pt x="9361" y="17679"/>
                    <a:pt x="9357" y="17495"/>
                    <a:pt x="9326" y="17387"/>
                  </a:cubicBezTo>
                  <a:cubicBezTo>
                    <a:pt x="9175" y="17430"/>
                    <a:pt x="8968" y="17522"/>
                    <a:pt x="8706" y="17663"/>
                  </a:cubicBezTo>
                  <a:cubicBezTo>
                    <a:pt x="8363" y="17835"/>
                    <a:pt x="8190" y="17992"/>
                    <a:pt x="8190" y="18133"/>
                  </a:cubicBezTo>
                  <a:cubicBezTo>
                    <a:pt x="8190" y="18208"/>
                    <a:pt x="8241" y="18262"/>
                    <a:pt x="8342" y="18295"/>
                  </a:cubicBezTo>
                  <a:cubicBezTo>
                    <a:pt x="8443" y="18327"/>
                    <a:pt x="8488" y="18419"/>
                    <a:pt x="8478" y="18570"/>
                  </a:cubicBezTo>
                  <a:cubicBezTo>
                    <a:pt x="8478" y="18667"/>
                    <a:pt x="8458" y="18737"/>
                    <a:pt x="8418" y="18781"/>
                  </a:cubicBezTo>
                  <a:cubicBezTo>
                    <a:pt x="8387" y="18802"/>
                    <a:pt x="8307" y="18813"/>
                    <a:pt x="8176" y="18813"/>
                  </a:cubicBezTo>
                  <a:cubicBezTo>
                    <a:pt x="8145" y="18791"/>
                    <a:pt x="8115" y="18781"/>
                    <a:pt x="8085" y="18781"/>
                  </a:cubicBezTo>
                  <a:cubicBezTo>
                    <a:pt x="7570" y="18986"/>
                    <a:pt x="7196" y="19094"/>
                    <a:pt x="6964" y="19105"/>
                  </a:cubicBezTo>
                  <a:cubicBezTo>
                    <a:pt x="6540" y="19094"/>
                    <a:pt x="6071" y="18883"/>
                    <a:pt x="5556" y="18473"/>
                  </a:cubicBezTo>
                  <a:cubicBezTo>
                    <a:pt x="5042" y="18073"/>
                    <a:pt x="4552" y="17873"/>
                    <a:pt x="4088" y="17873"/>
                  </a:cubicBezTo>
                  <a:cubicBezTo>
                    <a:pt x="4038" y="17873"/>
                    <a:pt x="3987" y="17916"/>
                    <a:pt x="3936" y="18003"/>
                  </a:cubicBezTo>
                  <a:cubicBezTo>
                    <a:pt x="3472" y="17754"/>
                    <a:pt x="3245" y="17598"/>
                    <a:pt x="3255" y="17533"/>
                  </a:cubicBezTo>
                  <a:cubicBezTo>
                    <a:pt x="3255" y="17500"/>
                    <a:pt x="3315" y="17446"/>
                    <a:pt x="3437" y="17371"/>
                  </a:cubicBezTo>
                  <a:cubicBezTo>
                    <a:pt x="3548" y="17295"/>
                    <a:pt x="3603" y="17160"/>
                    <a:pt x="3603" y="16966"/>
                  </a:cubicBezTo>
                  <a:cubicBezTo>
                    <a:pt x="3614" y="16825"/>
                    <a:pt x="3588" y="16712"/>
                    <a:pt x="3528" y="16625"/>
                  </a:cubicBezTo>
                  <a:cubicBezTo>
                    <a:pt x="3447" y="16539"/>
                    <a:pt x="3386" y="16447"/>
                    <a:pt x="3346" y="16350"/>
                  </a:cubicBezTo>
                  <a:lnTo>
                    <a:pt x="3240" y="16350"/>
                  </a:lnTo>
                  <a:cubicBezTo>
                    <a:pt x="3220" y="16598"/>
                    <a:pt x="3215" y="16842"/>
                    <a:pt x="3225" y="17079"/>
                  </a:cubicBezTo>
                  <a:cubicBezTo>
                    <a:pt x="3225" y="17187"/>
                    <a:pt x="3169" y="17268"/>
                    <a:pt x="3058" y="17322"/>
                  </a:cubicBezTo>
                  <a:cubicBezTo>
                    <a:pt x="2937" y="17376"/>
                    <a:pt x="2877" y="17419"/>
                    <a:pt x="2877" y="17452"/>
                  </a:cubicBezTo>
                  <a:cubicBezTo>
                    <a:pt x="2877" y="17506"/>
                    <a:pt x="2922" y="17543"/>
                    <a:pt x="3013" y="17565"/>
                  </a:cubicBezTo>
                  <a:cubicBezTo>
                    <a:pt x="3094" y="17587"/>
                    <a:pt x="3134" y="17625"/>
                    <a:pt x="3134" y="17679"/>
                  </a:cubicBezTo>
                  <a:cubicBezTo>
                    <a:pt x="3134" y="17754"/>
                    <a:pt x="2912" y="17819"/>
                    <a:pt x="2468" y="17873"/>
                  </a:cubicBezTo>
                  <a:cubicBezTo>
                    <a:pt x="1923" y="17927"/>
                    <a:pt x="1529" y="18040"/>
                    <a:pt x="1287" y="18214"/>
                  </a:cubicBezTo>
                  <a:cubicBezTo>
                    <a:pt x="1247" y="18235"/>
                    <a:pt x="1166" y="18246"/>
                    <a:pt x="1044" y="18246"/>
                  </a:cubicBezTo>
                  <a:cubicBezTo>
                    <a:pt x="1004" y="18246"/>
                    <a:pt x="964" y="18241"/>
                    <a:pt x="923" y="18230"/>
                  </a:cubicBezTo>
                  <a:cubicBezTo>
                    <a:pt x="843" y="18133"/>
                    <a:pt x="782" y="18051"/>
                    <a:pt x="742" y="17987"/>
                  </a:cubicBezTo>
                  <a:cubicBezTo>
                    <a:pt x="671" y="17900"/>
                    <a:pt x="651" y="17792"/>
                    <a:pt x="681" y="17663"/>
                  </a:cubicBezTo>
                  <a:lnTo>
                    <a:pt x="696" y="17663"/>
                  </a:lnTo>
                  <a:cubicBezTo>
                    <a:pt x="737" y="17554"/>
                    <a:pt x="898" y="17252"/>
                    <a:pt x="1181" y="16755"/>
                  </a:cubicBezTo>
                  <a:cubicBezTo>
                    <a:pt x="1443" y="16291"/>
                    <a:pt x="1570" y="15950"/>
                    <a:pt x="1560" y="15734"/>
                  </a:cubicBezTo>
                  <a:cubicBezTo>
                    <a:pt x="1570" y="15442"/>
                    <a:pt x="1529" y="15264"/>
                    <a:pt x="1438" y="15199"/>
                  </a:cubicBezTo>
                  <a:cubicBezTo>
                    <a:pt x="1337" y="15124"/>
                    <a:pt x="1292" y="14978"/>
                    <a:pt x="1302" y="14762"/>
                  </a:cubicBezTo>
                  <a:cubicBezTo>
                    <a:pt x="1302" y="14589"/>
                    <a:pt x="1347" y="14459"/>
                    <a:pt x="1438" y="14373"/>
                  </a:cubicBezTo>
                  <a:cubicBezTo>
                    <a:pt x="1539" y="14276"/>
                    <a:pt x="1594" y="14200"/>
                    <a:pt x="1604" y="14146"/>
                  </a:cubicBezTo>
                  <a:cubicBezTo>
                    <a:pt x="1524" y="13887"/>
                    <a:pt x="1484" y="13741"/>
                    <a:pt x="1484" y="13709"/>
                  </a:cubicBezTo>
                  <a:cubicBezTo>
                    <a:pt x="1494" y="13525"/>
                    <a:pt x="1604" y="13244"/>
                    <a:pt x="1817" y="12866"/>
                  </a:cubicBezTo>
                  <a:cubicBezTo>
                    <a:pt x="2008" y="12467"/>
                    <a:pt x="2110" y="12234"/>
                    <a:pt x="2120" y="12169"/>
                  </a:cubicBezTo>
                  <a:cubicBezTo>
                    <a:pt x="2200" y="11219"/>
                    <a:pt x="2241" y="10619"/>
                    <a:pt x="2241" y="10371"/>
                  </a:cubicBezTo>
                  <a:cubicBezTo>
                    <a:pt x="2251" y="10230"/>
                    <a:pt x="2160" y="10057"/>
                    <a:pt x="1968" y="9852"/>
                  </a:cubicBezTo>
                  <a:cubicBezTo>
                    <a:pt x="1797" y="9625"/>
                    <a:pt x="1706" y="9399"/>
                    <a:pt x="1696" y="9172"/>
                  </a:cubicBezTo>
                  <a:cubicBezTo>
                    <a:pt x="1686" y="9085"/>
                    <a:pt x="1640" y="8956"/>
                    <a:pt x="1560" y="8783"/>
                  </a:cubicBezTo>
                  <a:cubicBezTo>
                    <a:pt x="1489" y="8588"/>
                    <a:pt x="1448" y="8486"/>
                    <a:pt x="1438" y="8475"/>
                  </a:cubicBezTo>
                  <a:cubicBezTo>
                    <a:pt x="1418" y="8324"/>
                    <a:pt x="1353" y="8237"/>
                    <a:pt x="1241" y="8215"/>
                  </a:cubicBezTo>
                  <a:cubicBezTo>
                    <a:pt x="1120" y="8183"/>
                    <a:pt x="1060" y="8124"/>
                    <a:pt x="1060" y="8037"/>
                  </a:cubicBezTo>
                  <a:cubicBezTo>
                    <a:pt x="1030" y="7745"/>
                    <a:pt x="1014" y="7508"/>
                    <a:pt x="1014" y="7324"/>
                  </a:cubicBezTo>
                  <a:cubicBezTo>
                    <a:pt x="974" y="7000"/>
                    <a:pt x="918" y="6768"/>
                    <a:pt x="847" y="6628"/>
                  </a:cubicBezTo>
                  <a:cubicBezTo>
                    <a:pt x="757" y="6498"/>
                    <a:pt x="616" y="6331"/>
                    <a:pt x="424" y="6125"/>
                  </a:cubicBezTo>
                  <a:cubicBezTo>
                    <a:pt x="202" y="5931"/>
                    <a:pt x="60" y="5796"/>
                    <a:pt x="0" y="5720"/>
                  </a:cubicBezTo>
                  <a:lnTo>
                    <a:pt x="15" y="324"/>
                  </a:lnTo>
                  <a:cubicBezTo>
                    <a:pt x="15" y="324"/>
                    <a:pt x="11673" y="0"/>
                    <a:pt x="11673" y="0"/>
                  </a:cubicBezTo>
                  <a:close/>
                  <a:moveTo>
                    <a:pt x="11673"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9" name="AutoShape 16"/>
            <p:cNvSpPr>
              <a:spLocks/>
            </p:cNvSpPr>
            <p:nvPr/>
          </p:nvSpPr>
          <p:spPr bwMode="auto">
            <a:xfrm>
              <a:off x="5465448" y="2211541"/>
              <a:ext cx="493657" cy="816806"/>
            </a:xfrm>
            <a:custGeom>
              <a:avLst/>
              <a:gdLst/>
              <a:ahLst/>
              <a:cxnLst/>
              <a:rect l="0" t="0" r="r" b="b"/>
              <a:pathLst>
                <a:path w="21600" h="21600">
                  <a:moveTo>
                    <a:pt x="18491" y="18968"/>
                  </a:moveTo>
                  <a:lnTo>
                    <a:pt x="18482" y="18968"/>
                  </a:lnTo>
                  <a:lnTo>
                    <a:pt x="18482" y="18973"/>
                  </a:lnTo>
                  <a:cubicBezTo>
                    <a:pt x="18476" y="19006"/>
                    <a:pt x="18447" y="19060"/>
                    <a:pt x="18393" y="19135"/>
                  </a:cubicBezTo>
                  <a:cubicBezTo>
                    <a:pt x="18393" y="19164"/>
                    <a:pt x="18429" y="19214"/>
                    <a:pt x="18500" y="19286"/>
                  </a:cubicBezTo>
                  <a:cubicBezTo>
                    <a:pt x="18578" y="19358"/>
                    <a:pt x="18634" y="19394"/>
                    <a:pt x="18670" y="19394"/>
                  </a:cubicBezTo>
                  <a:cubicBezTo>
                    <a:pt x="18676" y="19394"/>
                    <a:pt x="18741" y="19355"/>
                    <a:pt x="18866" y="19276"/>
                  </a:cubicBezTo>
                  <a:cubicBezTo>
                    <a:pt x="18896" y="19276"/>
                    <a:pt x="18953" y="19297"/>
                    <a:pt x="19036" y="19340"/>
                  </a:cubicBezTo>
                  <a:cubicBezTo>
                    <a:pt x="19120" y="19383"/>
                    <a:pt x="19170" y="19405"/>
                    <a:pt x="19188" y="19405"/>
                  </a:cubicBezTo>
                  <a:cubicBezTo>
                    <a:pt x="19194" y="19405"/>
                    <a:pt x="19242" y="19391"/>
                    <a:pt x="19331" y="19362"/>
                  </a:cubicBezTo>
                  <a:cubicBezTo>
                    <a:pt x="19373" y="19362"/>
                    <a:pt x="19405" y="19383"/>
                    <a:pt x="19429" y="19427"/>
                  </a:cubicBezTo>
                  <a:cubicBezTo>
                    <a:pt x="19447" y="19470"/>
                    <a:pt x="19480" y="19491"/>
                    <a:pt x="19528" y="19491"/>
                  </a:cubicBezTo>
                  <a:cubicBezTo>
                    <a:pt x="19551" y="19491"/>
                    <a:pt x="19581" y="19482"/>
                    <a:pt x="19617" y="19464"/>
                  </a:cubicBezTo>
                  <a:cubicBezTo>
                    <a:pt x="19653" y="19446"/>
                    <a:pt x="19685" y="19437"/>
                    <a:pt x="19715" y="19437"/>
                  </a:cubicBezTo>
                  <a:cubicBezTo>
                    <a:pt x="19769" y="19437"/>
                    <a:pt x="19819" y="19464"/>
                    <a:pt x="19867" y="19518"/>
                  </a:cubicBezTo>
                  <a:cubicBezTo>
                    <a:pt x="19921" y="19590"/>
                    <a:pt x="19956" y="19630"/>
                    <a:pt x="19974" y="19637"/>
                  </a:cubicBezTo>
                  <a:cubicBezTo>
                    <a:pt x="20028" y="19662"/>
                    <a:pt x="20093" y="19698"/>
                    <a:pt x="20171" y="19745"/>
                  </a:cubicBezTo>
                  <a:cubicBezTo>
                    <a:pt x="20266" y="19802"/>
                    <a:pt x="20314" y="19838"/>
                    <a:pt x="20314" y="19853"/>
                  </a:cubicBezTo>
                  <a:lnTo>
                    <a:pt x="20501" y="19853"/>
                  </a:lnTo>
                  <a:cubicBezTo>
                    <a:pt x="20555" y="19853"/>
                    <a:pt x="20614" y="19840"/>
                    <a:pt x="20680" y="19815"/>
                  </a:cubicBezTo>
                  <a:cubicBezTo>
                    <a:pt x="20739" y="19790"/>
                    <a:pt x="20817" y="19777"/>
                    <a:pt x="20912" y="19777"/>
                  </a:cubicBezTo>
                  <a:cubicBezTo>
                    <a:pt x="21013" y="19773"/>
                    <a:pt x="21094" y="19754"/>
                    <a:pt x="21153" y="19718"/>
                  </a:cubicBezTo>
                  <a:cubicBezTo>
                    <a:pt x="21213" y="19678"/>
                    <a:pt x="21261" y="19658"/>
                    <a:pt x="21296" y="19658"/>
                  </a:cubicBezTo>
                  <a:cubicBezTo>
                    <a:pt x="21362" y="19658"/>
                    <a:pt x="21427" y="19684"/>
                    <a:pt x="21493" y="19734"/>
                  </a:cubicBezTo>
                  <a:cubicBezTo>
                    <a:pt x="21564" y="19788"/>
                    <a:pt x="21600" y="19844"/>
                    <a:pt x="21600" y="19901"/>
                  </a:cubicBezTo>
                  <a:cubicBezTo>
                    <a:pt x="21600" y="19987"/>
                    <a:pt x="21526" y="20041"/>
                    <a:pt x="21377" y="20063"/>
                  </a:cubicBezTo>
                  <a:cubicBezTo>
                    <a:pt x="21222" y="20088"/>
                    <a:pt x="21144" y="20142"/>
                    <a:pt x="21144" y="20225"/>
                  </a:cubicBezTo>
                  <a:cubicBezTo>
                    <a:pt x="21144" y="20286"/>
                    <a:pt x="21162" y="20395"/>
                    <a:pt x="21198" y="20554"/>
                  </a:cubicBezTo>
                  <a:cubicBezTo>
                    <a:pt x="21198" y="20590"/>
                    <a:pt x="21234" y="20617"/>
                    <a:pt x="21305" y="20635"/>
                  </a:cubicBezTo>
                  <a:cubicBezTo>
                    <a:pt x="21383" y="20656"/>
                    <a:pt x="21421" y="20681"/>
                    <a:pt x="21421" y="20710"/>
                  </a:cubicBezTo>
                  <a:lnTo>
                    <a:pt x="21359" y="20904"/>
                  </a:lnTo>
                  <a:cubicBezTo>
                    <a:pt x="21311" y="21034"/>
                    <a:pt x="21287" y="21118"/>
                    <a:pt x="21287" y="21158"/>
                  </a:cubicBezTo>
                  <a:cubicBezTo>
                    <a:pt x="21287" y="21226"/>
                    <a:pt x="21296" y="21300"/>
                    <a:pt x="21314" y="21379"/>
                  </a:cubicBezTo>
                  <a:cubicBezTo>
                    <a:pt x="21326" y="21454"/>
                    <a:pt x="21332" y="21528"/>
                    <a:pt x="21332" y="21600"/>
                  </a:cubicBezTo>
                  <a:lnTo>
                    <a:pt x="16026" y="19901"/>
                  </a:lnTo>
                  <a:lnTo>
                    <a:pt x="1831" y="15198"/>
                  </a:lnTo>
                  <a:cubicBezTo>
                    <a:pt x="1867" y="15115"/>
                    <a:pt x="1932" y="15045"/>
                    <a:pt x="2028" y="14988"/>
                  </a:cubicBezTo>
                  <a:cubicBezTo>
                    <a:pt x="2189" y="14887"/>
                    <a:pt x="2269" y="14819"/>
                    <a:pt x="2269" y="14783"/>
                  </a:cubicBezTo>
                  <a:cubicBezTo>
                    <a:pt x="1864" y="14513"/>
                    <a:pt x="1587" y="14378"/>
                    <a:pt x="1438" y="14378"/>
                  </a:cubicBezTo>
                  <a:cubicBezTo>
                    <a:pt x="1194" y="14472"/>
                    <a:pt x="1066" y="14519"/>
                    <a:pt x="1054" y="14519"/>
                  </a:cubicBezTo>
                  <a:cubicBezTo>
                    <a:pt x="959" y="14519"/>
                    <a:pt x="899" y="14454"/>
                    <a:pt x="875" y="14324"/>
                  </a:cubicBezTo>
                  <a:cubicBezTo>
                    <a:pt x="852" y="14191"/>
                    <a:pt x="744" y="14125"/>
                    <a:pt x="554" y="14125"/>
                  </a:cubicBezTo>
                  <a:cubicBezTo>
                    <a:pt x="524" y="14125"/>
                    <a:pt x="485" y="14130"/>
                    <a:pt x="438" y="14141"/>
                  </a:cubicBezTo>
                  <a:cubicBezTo>
                    <a:pt x="390" y="14152"/>
                    <a:pt x="348" y="14157"/>
                    <a:pt x="313" y="14157"/>
                  </a:cubicBezTo>
                  <a:cubicBezTo>
                    <a:pt x="265" y="14157"/>
                    <a:pt x="202" y="14114"/>
                    <a:pt x="125" y="14028"/>
                  </a:cubicBezTo>
                  <a:cubicBezTo>
                    <a:pt x="42" y="13938"/>
                    <a:pt x="0" y="13866"/>
                    <a:pt x="0" y="13812"/>
                  </a:cubicBezTo>
                  <a:cubicBezTo>
                    <a:pt x="0" y="13787"/>
                    <a:pt x="3" y="13771"/>
                    <a:pt x="9" y="13764"/>
                  </a:cubicBezTo>
                  <a:lnTo>
                    <a:pt x="18366" y="0"/>
                  </a:lnTo>
                  <a:cubicBezTo>
                    <a:pt x="18372" y="22"/>
                    <a:pt x="18375" y="49"/>
                    <a:pt x="18375" y="81"/>
                  </a:cubicBezTo>
                  <a:cubicBezTo>
                    <a:pt x="18375" y="124"/>
                    <a:pt x="18438" y="182"/>
                    <a:pt x="18563" y="253"/>
                  </a:cubicBezTo>
                  <a:cubicBezTo>
                    <a:pt x="18664" y="358"/>
                    <a:pt x="18718" y="413"/>
                    <a:pt x="18724" y="421"/>
                  </a:cubicBezTo>
                  <a:cubicBezTo>
                    <a:pt x="18795" y="485"/>
                    <a:pt x="18893" y="555"/>
                    <a:pt x="19018" y="631"/>
                  </a:cubicBezTo>
                  <a:cubicBezTo>
                    <a:pt x="19280" y="789"/>
                    <a:pt x="19432" y="893"/>
                    <a:pt x="19474" y="944"/>
                  </a:cubicBezTo>
                  <a:cubicBezTo>
                    <a:pt x="19522" y="1005"/>
                    <a:pt x="19528" y="1176"/>
                    <a:pt x="19492" y="1456"/>
                  </a:cubicBezTo>
                  <a:cubicBezTo>
                    <a:pt x="19450" y="1733"/>
                    <a:pt x="19596" y="2087"/>
                    <a:pt x="19930" y="2519"/>
                  </a:cubicBezTo>
                  <a:cubicBezTo>
                    <a:pt x="19983" y="2587"/>
                    <a:pt x="20102" y="2664"/>
                    <a:pt x="20287" y="2751"/>
                  </a:cubicBezTo>
                  <a:cubicBezTo>
                    <a:pt x="20424" y="2815"/>
                    <a:pt x="20531" y="2866"/>
                    <a:pt x="20608" y="2902"/>
                  </a:cubicBezTo>
                  <a:lnTo>
                    <a:pt x="18304" y="4746"/>
                  </a:lnTo>
                  <a:lnTo>
                    <a:pt x="18500" y="4886"/>
                  </a:lnTo>
                  <a:lnTo>
                    <a:pt x="17410" y="5819"/>
                  </a:lnTo>
                  <a:lnTo>
                    <a:pt x="19715" y="6704"/>
                  </a:lnTo>
                  <a:lnTo>
                    <a:pt x="19715" y="6715"/>
                  </a:lnTo>
                  <a:cubicBezTo>
                    <a:pt x="19572" y="6736"/>
                    <a:pt x="19480" y="6751"/>
                    <a:pt x="19438" y="6758"/>
                  </a:cubicBezTo>
                  <a:cubicBezTo>
                    <a:pt x="19385" y="6772"/>
                    <a:pt x="19358" y="6810"/>
                    <a:pt x="19358" y="6871"/>
                  </a:cubicBezTo>
                  <a:lnTo>
                    <a:pt x="19376" y="6936"/>
                  </a:lnTo>
                  <a:cubicBezTo>
                    <a:pt x="19376" y="6946"/>
                    <a:pt x="19382" y="6952"/>
                    <a:pt x="19394" y="6952"/>
                  </a:cubicBezTo>
                  <a:cubicBezTo>
                    <a:pt x="19405" y="6956"/>
                    <a:pt x="19411" y="6961"/>
                    <a:pt x="19411" y="6968"/>
                  </a:cubicBezTo>
                  <a:cubicBezTo>
                    <a:pt x="19411" y="7018"/>
                    <a:pt x="19367" y="7072"/>
                    <a:pt x="19277" y="7130"/>
                  </a:cubicBezTo>
                  <a:cubicBezTo>
                    <a:pt x="19182" y="7187"/>
                    <a:pt x="19134" y="7229"/>
                    <a:pt x="19134" y="7254"/>
                  </a:cubicBezTo>
                  <a:lnTo>
                    <a:pt x="19170" y="7405"/>
                  </a:lnTo>
                  <a:cubicBezTo>
                    <a:pt x="19170" y="7455"/>
                    <a:pt x="19123" y="7498"/>
                    <a:pt x="19027" y="7534"/>
                  </a:cubicBezTo>
                  <a:cubicBezTo>
                    <a:pt x="18920" y="7574"/>
                    <a:pt x="18861" y="7615"/>
                    <a:pt x="18849" y="7658"/>
                  </a:cubicBezTo>
                  <a:cubicBezTo>
                    <a:pt x="18831" y="7720"/>
                    <a:pt x="18762" y="7748"/>
                    <a:pt x="18643" y="7745"/>
                  </a:cubicBezTo>
                  <a:cubicBezTo>
                    <a:pt x="18536" y="7737"/>
                    <a:pt x="18482" y="7772"/>
                    <a:pt x="18482" y="7847"/>
                  </a:cubicBezTo>
                  <a:cubicBezTo>
                    <a:pt x="18482" y="7887"/>
                    <a:pt x="18503" y="7923"/>
                    <a:pt x="18545" y="7955"/>
                  </a:cubicBezTo>
                  <a:cubicBezTo>
                    <a:pt x="18581" y="7991"/>
                    <a:pt x="18598" y="8022"/>
                    <a:pt x="18598" y="8047"/>
                  </a:cubicBezTo>
                  <a:cubicBezTo>
                    <a:pt x="18598" y="8079"/>
                    <a:pt x="18521" y="8122"/>
                    <a:pt x="18366" y="8176"/>
                  </a:cubicBezTo>
                  <a:cubicBezTo>
                    <a:pt x="18205" y="8234"/>
                    <a:pt x="18125" y="8288"/>
                    <a:pt x="18125" y="8338"/>
                  </a:cubicBezTo>
                  <a:cubicBezTo>
                    <a:pt x="18125" y="8435"/>
                    <a:pt x="18262" y="8491"/>
                    <a:pt x="18536" y="8505"/>
                  </a:cubicBezTo>
                  <a:cubicBezTo>
                    <a:pt x="18804" y="8523"/>
                    <a:pt x="18938" y="8568"/>
                    <a:pt x="18938" y="8640"/>
                  </a:cubicBezTo>
                  <a:cubicBezTo>
                    <a:pt x="18938" y="8654"/>
                    <a:pt x="18917" y="8676"/>
                    <a:pt x="18875" y="8705"/>
                  </a:cubicBezTo>
                  <a:cubicBezTo>
                    <a:pt x="18834" y="8733"/>
                    <a:pt x="18813" y="8755"/>
                    <a:pt x="18813" y="8769"/>
                  </a:cubicBezTo>
                  <a:cubicBezTo>
                    <a:pt x="18813" y="8798"/>
                    <a:pt x="18861" y="8816"/>
                    <a:pt x="18956" y="8823"/>
                  </a:cubicBezTo>
                  <a:cubicBezTo>
                    <a:pt x="18986" y="8823"/>
                    <a:pt x="19060" y="8809"/>
                    <a:pt x="19179" y="8780"/>
                  </a:cubicBezTo>
                  <a:cubicBezTo>
                    <a:pt x="19215" y="8780"/>
                    <a:pt x="19268" y="8795"/>
                    <a:pt x="19340" y="8823"/>
                  </a:cubicBezTo>
                  <a:cubicBezTo>
                    <a:pt x="19423" y="8856"/>
                    <a:pt x="19465" y="8890"/>
                    <a:pt x="19465" y="8926"/>
                  </a:cubicBezTo>
                  <a:cubicBezTo>
                    <a:pt x="19465" y="8933"/>
                    <a:pt x="19399" y="8962"/>
                    <a:pt x="19268" y="9012"/>
                  </a:cubicBezTo>
                  <a:cubicBezTo>
                    <a:pt x="19131" y="9066"/>
                    <a:pt x="19057" y="9116"/>
                    <a:pt x="19045" y="9163"/>
                  </a:cubicBezTo>
                  <a:cubicBezTo>
                    <a:pt x="19004" y="9293"/>
                    <a:pt x="18977" y="9364"/>
                    <a:pt x="18965" y="9379"/>
                  </a:cubicBezTo>
                  <a:cubicBezTo>
                    <a:pt x="18923" y="9465"/>
                    <a:pt x="18872" y="9519"/>
                    <a:pt x="18813" y="9541"/>
                  </a:cubicBezTo>
                  <a:cubicBezTo>
                    <a:pt x="18789" y="9548"/>
                    <a:pt x="18706" y="9589"/>
                    <a:pt x="18563" y="9665"/>
                  </a:cubicBezTo>
                  <a:cubicBezTo>
                    <a:pt x="18420" y="9737"/>
                    <a:pt x="18316" y="9783"/>
                    <a:pt x="18250" y="9805"/>
                  </a:cubicBezTo>
                  <a:cubicBezTo>
                    <a:pt x="18185" y="9823"/>
                    <a:pt x="18054" y="9841"/>
                    <a:pt x="17857" y="9859"/>
                  </a:cubicBezTo>
                  <a:cubicBezTo>
                    <a:pt x="17756" y="9866"/>
                    <a:pt x="17705" y="9898"/>
                    <a:pt x="17705" y="9956"/>
                  </a:cubicBezTo>
                  <a:cubicBezTo>
                    <a:pt x="17705" y="9988"/>
                    <a:pt x="17753" y="10039"/>
                    <a:pt x="17848" y="10107"/>
                  </a:cubicBezTo>
                  <a:cubicBezTo>
                    <a:pt x="17937" y="10175"/>
                    <a:pt x="17982" y="10224"/>
                    <a:pt x="17982" y="10253"/>
                  </a:cubicBezTo>
                  <a:cubicBezTo>
                    <a:pt x="17982" y="10310"/>
                    <a:pt x="17875" y="10362"/>
                    <a:pt x="17661" y="10409"/>
                  </a:cubicBezTo>
                  <a:cubicBezTo>
                    <a:pt x="17440" y="10456"/>
                    <a:pt x="17330" y="10510"/>
                    <a:pt x="17330" y="10571"/>
                  </a:cubicBezTo>
                  <a:cubicBezTo>
                    <a:pt x="17330" y="10589"/>
                    <a:pt x="17345" y="10616"/>
                    <a:pt x="17375" y="10652"/>
                  </a:cubicBezTo>
                  <a:cubicBezTo>
                    <a:pt x="17393" y="10673"/>
                    <a:pt x="17425" y="10713"/>
                    <a:pt x="17473" y="10770"/>
                  </a:cubicBezTo>
                  <a:cubicBezTo>
                    <a:pt x="17538" y="10799"/>
                    <a:pt x="17616" y="10842"/>
                    <a:pt x="17705" y="10900"/>
                  </a:cubicBezTo>
                  <a:cubicBezTo>
                    <a:pt x="17812" y="10972"/>
                    <a:pt x="17866" y="11022"/>
                    <a:pt x="17866" y="11051"/>
                  </a:cubicBezTo>
                  <a:cubicBezTo>
                    <a:pt x="17866" y="11080"/>
                    <a:pt x="17848" y="11108"/>
                    <a:pt x="17812" y="11137"/>
                  </a:cubicBezTo>
                  <a:cubicBezTo>
                    <a:pt x="17777" y="11166"/>
                    <a:pt x="17759" y="11191"/>
                    <a:pt x="17759" y="11213"/>
                  </a:cubicBezTo>
                  <a:cubicBezTo>
                    <a:pt x="17759" y="11241"/>
                    <a:pt x="17789" y="11270"/>
                    <a:pt x="17848" y="11299"/>
                  </a:cubicBezTo>
                  <a:cubicBezTo>
                    <a:pt x="17908" y="11328"/>
                    <a:pt x="17937" y="11353"/>
                    <a:pt x="17937" y="11374"/>
                  </a:cubicBezTo>
                  <a:cubicBezTo>
                    <a:pt x="17937" y="11403"/>
                    <a:pt x="17881" y="11425"/>
                    <a:pt x="17768" y="11439"/>
                  </a:cubicBezTo>
                  <a:cubicBezTo>
                    <a:pt x="17655" y="11453"/>
                    <a:pt x="17598" y="11482"/>
                    <a:pt x="17598" y="11525"/>
                  </a:cubicBezTo>
                  <a:cubicBezTo>
                    <a:pt x="17598" y="11572"/>
                    <a:pt x="17652" y="11610"/>
                    <a:pt x="17759" y="11639"/>
                  </a:cubicBezTo>
                  <a:cubicBezTo>
                    <a:pt x="17842" y="11660"/>
                    <a:pt x="17923" y="11671"/>
                    <a:pt x="18000" y="11671"/>
                  </a:cubicBezTo>
                  <a:cubicBezTo>
                    <a:pt x="18042" y="11671"/>
                    <a:pt x="18077" y="11662"/>
                    <a:pt x="18107" y="11644"/>
                  </a:cubicBezTo>
                  <a:cubicBezTo>
                    <a:pt x="18131" y="11626"/>
                    <a:pt x="18155" y="11617"/>
                    <a:pt x="18179" y="11617"/>
                  </a:cubicBezTo>
                  <a:cubicBezTo>
                    <a:pt x="18203" y="11617"/>
                    <a:pt x="18250" y="11657"/>
                    <a:pt x="18322" y="11736"/>
                  </a:cubicBezTo>
                  <a:cubicBezTo>
                    <a:pt x="18393" y="11815"/>
                    <a:pt x="18429" y="11865"/>
                    <a:pt x="18429" y="11887"/>
                  </a:cubicBezTo>
                  <a:cubicBezTo>
                    <a:pt x="18429" y="11926"/>
                    <a:pt x="18405" y="11968"/>
                    <a:pt x="18357" y="12011"/>
                  </a:cubicBezTo>
                  <a:cubicBezTo>
                    <a:pt x="18304" y="12050"/>
                    <a:pt x="18280" y="12101"/>
                    <a:pt x="18286" y="12162"/>
                  </a:cubicBezTo>
                  <a:cubicBezTo>
                    <a:pt x="18286" y="12237"/>
                    <a:pt x="18250" y="12284"/>
                    <a:pt x="18179" y="12302"/>
                  </a:cubicBezTo>
                  <a:cubicBezTo>
                    <a:pt x="18101" y="12320"/>
                    <a:pt x="18062" y="12358"/>
                    <a:pt x="18062" y="12415"/>
                  </a:cubicBezTo>
                  <a:cubicBezTo>
                    <a:pt x="18062" y="12491"/>
                    <a:pt x="18089" y="12574"/>
                    <a:pt x="18143" y="12663"/>
                  </a:cubicBezTo>
                  <a:cubicBezTo>
                    <a:pt x="18226" y="12800"/>
                    <a:pt x="18268" y="12870"/>
                    <a:pt x="18268" y="12874"/>
                  </a:cubicBezTo>
                  <a:cubicBezTo>
                    <a:pt x="18274" y="12892"/>
                    <a:pt x="18339" y="12938"/>
                    <a:pt x="18464" y="13014"/>
                  </a:cubicBezTo>
                  <a:cubicBezTo>
                    <a:pt x="18584" y="13082"/>
                    <a:pt x="18643" y="13138"/>
                    <a:pt x="18643" y="13181"/>
                  </a:cubicBezTo>
                  <a:cubicBezTo>
                    <a:pt x="18643" y="13196"/>
                    <a:pt x="18631" y="13210"/>
                    <a:pt x="18607" y="13224"/>
                  </a:cubicBezTo>
                  <a:cubicBezTo>
                    <a:pt x="18584" y="13239"/>
                    <a:pt x="18560" y="13246"/>
                    <a:pt x="18536" y="13246"/>
                  </a:cubicBezTo>
                  <a:cubicBezTo>
                    <a:pt x="18435" y="13217"/>
                    <a:pt x="18375" y="13203"/>
                    <a:pt x="18357" y="13203"/>
                  </a:cubicBezTo>
                  <a:cubicBezTo>
                    <a:pt x="18322" y="13203"/>
                    <a:pt x="18298" y="13206"/>
                    <a:pt x="18286" y="13213"/>
                  </a:cubicBezTo>
                  <a:cubicBezTo>
                    <a:pt x="18274" y="13221"/>
                    <a:pt x="18268" y="13239"/>
                    <a:pt x="18268" y="13267"/>
                  </a:cubicBezTo>
                  <a:cubicBezTo>
                    <a:pt x="18268" y="13303"/>
                    <a:pt x="18310" y="13343"/>
                    <a:pt x="18393" y="13386"/>
                  </a:cubicBezTo>
                  <a:cubicBezTo>
                    <a:pt x="18476" y="13426"/>
                    <a:pt x="18518" y="13471"/>
                    <a:pt x="18518" y="13521"/>
                  </a:cubicBezTo>
                  <a:cubicBezTo>
                    <a:pt x="18518" y="13693"/>
                    <a:pt x="18378" y="13810"/>
                    <a:pt x="18098" y="13871"/>
                  </a:cubicBezTo>
                  <a:cubicBezTo>
                    <a:pt x="17812" y="13933"/>
                    <a:pt x="17669" y="13983"/>
                    <a:pt x="17669" y="14022"/>
                  </a:cubicBezTo>
                  <a:cubicBezTo>
                    <a:pt x="17669" y="14055"/>
                    <a:pt x="17705" y="14103"/>
                    <a:pt x="17777" y="14168"/>
                  </a:cubicBezTo>
                  <a:cubicBezTo>
                    <a:pt x="17848" y="14229"/>
                    <a:pt x="17884" y="14283"/>
                    <a:pt x="17884" y="14330"/>
                  </a:cubicBezTo>
                  <a:lnTo>
                    <a:pt x="17812" y="14470"/>
                  </a:lnTo>
                  <a:cubicBezTo>
                    <a:pt x="17812" y="14481"/>
                    <a:pt x="17851" y="14504"/>
                    <a:pt x="17928" y="14540"/>
                  </a:cubicBezTo>
                  <a:cubicBezTo>
                    <a:pt x="18006" y="14576"/>
                    <a:pt x="18045" y="14608"/>
                    <a:pt x="18045" y="14637"/>
                  </a:cubicBezTo>
                  <a:cubicBezTo>
                    <a:pt x="18045" y="14644"/>
                    <a:pt x="18015" y="14686"/>
                    <a:pt x="17955" y="14761"/>
                  </a:cubicBezTo>
                  <a:cubicBezTo>
                    <a:pt x="17765" y="14822"/>
                    <a:pt x="17661" y="14857"/>
                    <a:pt x="17643" y="14864"/>
                  </a:cubicBezTo>
                  <a:cubicBezTo>
                    <a:pt x="17565" y="14903"/>
                    <a:pt x="17527" y="14963"/>
                    <a:pt x="17527" y="15042"/>
                  </a:cubicBezTo>
                  <a:cubicBezTo>
                    <a:pt x="17527" y="15160"/>
                    <a:pt x="17556" y="15268"/>
                    <a:pt x="17616" y="15365"/>
                  </a:cubicBezTo>
                  <a:cubicBezTo>
                    <a:pt x="17675" y="15462"/>
                    <a:pt x="17705" y="15551"/>
                    <a:pt x="17705" y="15630"/>
                  </a:cubicBezTo>
                  <a:cubicBezTo>
                    <a:pt x="17705" y="15669"/>
                    <a:pt x="17658" y="15700"/>
                    <a:pt x="17562" y="15721"/>
                  </a:cubicBezTo>
                  <a:cubicBezTo>
                    <a:pt x="17467" y="15739"/>
                    <a:pt x="17416" y="15781"/>
                    <a:pt x="17410" y="15845"/>
                  </a:cubicBezTo>
                  <a:cubicBezTo>
                    <a:pt x="17399" y="15896"/>
                    <a:pt x="17351" y="15948"/>
                    <a:pt x="17268" y="16002"/>
                  </a:cubicBezTo>
                  <a:cubicBezTo>
                    <a:pt x="17184" y="16052"/>
                    <a:pt x="17142" y="16086"/>
                    <a:pt x="17142" y="16104"/>
                  </a:cubicBezTo>
                  <a:cubicBezTo>
                    <a:pt x="17142" y="16169"/>
                    <a:pt x="17244" y="16228"/>
                    <a:pt x="17446" y="16282"/>
                  </a:cubicBezTo>
                  <a:cubicBezTo>
                    <a:pt x="17458" y="16289"/>
                    <a:pt x="17509" y="16322"/>
                    <a:pt x="17598" y="16379"/>
                  </a:cubicBezTo>
                  <a:cubicBezTo>
                    <a:pt x="17664" y="16422"/>
                    <a:pt x="17717" y="16444"/>
                    <a:pt x="17759" y="16444"/>
                  </a:cubicBezTo>
                  <a:cubicBezTo>
                    <a:pt x="17789" y="16444"/>
                    <a:pt x="17863" y="16422"/>
                    <a:pt x="17982" y="16379"/>
                  </a:cubicBezTo>
                  <a:cubicBezTo>
                    <a:pt x="18048" y="16379"/>
                    <a:pt x="18098" y="16403"/>
                    <a:pt x="18134" y="16449"/>
                  </a:cubicBezTo>
                  <a:cubicBezTo>
                    <a:pt x="18164" y="16485"/>
                    <a:pt x="18179" y="16523"/>
                    <a:pt x="18179" y="16563"/>
                  </a:cubicBezTo>
                  <a:cubicBezTo>
                    <a:pt x="18179" y="16609"/>
                    <a:pt x="18155" y="16656"/>
                    <a:pt x="18107" y="16703"/>
                  </a:cubicBezTo>
                  <a:cubicBezTo>
                    <a:pt x="18054" y="16753"/>
                    <a:pt x="18027" y="16795"/>
                    <a:pt x="18027" y="16827"/>
                  </a:cubicBezTo>
                  <a:cubicBezTo>
                    <a:pt x="18027" y="16848"/>
                    <a:pt x="18051" y="16904"/>
                    <a:pt x="18098" y="16994"/>
                  </a:cubicBezTo>
                  <a:cubicBezTo>
                    <a:pt x="18140" y="17080"/>
                    <a:pt x="18161" y="17134"/>
                    <a:pt x="18161" y="17156"/>
                  </a:cubicBezTo>
                  <a:cubicBezTo>
                    <a:pt x="18155" y="17231"/>
                    <a:pt x="18179" y="17348"/>
                    <a:pt x="18232" y="17506"/>
                  </a:cubicBezTo>
                  <a:cubicBezTo>
                    <a:pt x="18262" y="17593"/>
                    <a:pt x="18345" y="17702"/>
                    <a:pt x="18482" y="17835"/>
                  </a:cubicBezTo>
                  <a:cubicBezTo>
                    <a:pt x="18488" y="17839"/>
                    <a:pt x="18560" y="17861"/>
                    <a:pt x="18697" y="17900"/>
                  </a:cubicBezTo>
                  <a:cubicBezTo>
                    <a:pt x="18822" y="17936"/>
                    <a:pt x="18884" y="17977"/>
                    <a:pt x="18884" y="18024"/>
                  </a:cubicBezTo>
                  <a:cubicBezTo>
                    <a:pt x="18884" y="18060"/>
                    <a:pt x="18840" y="18136"/>
                    <a:pt x="18750" y="18251"/>
                  </a:cubicBezTo>
                  <a:cubicBezTo>
                    <a:pt x="18661" y="18373"/>
                    <a:pt x="18613" y="18441"/>
                    <a:pt x="18607" y="18456"/>
                  </a:cubicBezTo>
                  <a:cubicBezTo>
                    <a:pt x="18590" y="18506"/>
                    <a:pt x="18551" y="18556"/>
                    <a:pt x="18491" y="18607"/>
                  </a:cubicBezTo>
                  <a:cubicBezTo>
                    <a:pt x="18438" y="18653"/>
                    <a:pt x="18411" y="18688"/>
                    <a:pt x="18411" y="18709"/>
                  </a:cubicBezTo>
                  <a:cubicBezTo>
                    <a:pt x="18411" y="18727"/>
                    <a:pt x="18435" y="18754"/>
                    <a:pt x="18482" y="18790"/>
                  </a:cubicBezTo>
                  <a:cubicBezTo>
                    <a:pt x="18530" y="18826"/>
                    <a:pt x="18554" y="18853"/>
                    <a:pt x="18554" y="18871"/>
                  </a:cubicBezTo>
                  <a:lnTo>
                    <a:pt x="18536" y="18909"/>
                  </a:lnTo>
                  <a:cubicBezTo>
                    <a:pt x="18524" y="18934"/>
                    <a:pt x="18509" y="18954"/>
                    <a:pt x="18491" y="18968"/>
                  </a:cubicBezTo>
                  <a:close/>
                  <a:moveTo>
                    <a:pt x="18491" y="1896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0" name="AutoShape 17"/>
            <p:cNvSpPr>
              <a:spLocks/>
            </p:cNvSpPr>
            <p:nvPr/>
          </p:nvSpPr>
          <p:spPr bwMode="auto">
            <a:xfrm>
              <a:off x="7172573" y="3975842"/>
              <a:ext cx="30630" cy="25015"/>
            </a:xfrm>
            <a:custGeom>
              <a:avLst/>
              <a:gdLst/>
              <a:ahLst/>
              <a:cxnLst/>
              <a:rect l="0" t="0" r="r" b="b"/>
              <a:pathLst>
                <a:path w="21541" h="21499">
                  <a:moveTo>
                    <a:pt x="3008" y="12822"/>
                  </a:moveTo>
                  <a:cubicBezTo>
                    <a:pt x="3290" y="12707"/>
                    <a:pt x="3571" y="12592"/>
                    <a:pt x="3859" y="12473"/>
                  </a:cubicBezTo>
                  <a:cubicBezTo>
                    <a:pt x="5555" y="11433"/>
                    <a:pt x="8428" y="9239"/>
                    <a:pt x="12484" y="5889"/>
                  </a:cubicBezTo>
                  <a:cubicBezTo>
                    <a:pt x="17391" y="2195"/>
                    <a:pt x="20408" y="230"/>
                    <a:pt x="21541" y="0"/>
                  </a:cubicBezTo>
                  <a:lnTo>
                    <a:pt x="21541" y="1038"/>
                  </a:lnTo>
                  <a:cubicBezTo>
                    <a:pt x="20220" y="3119"/>
                    <a:pt x="19182" y="4735"/>
                    <a:pt x="18425" y="5889"/>
                  </a:cubicBezTo>
                  <a:cubicBezTo>
                    <a:pt x="18143" y="6353"/>
                    <a:pt x="17911" y="6756"/>
                    <a:pt x="17717" y="7102"/>
                  </a:cubicBezTo>
                  <a:cubicBezTo>
                    <a:pt x="16496" y="9066"/>
                    <a:pt x="15126" y="10451"/>
                    <a:pt x="13617" y="11261"/>
                  </a:cubicBezTo>
                  <a:cubicBezTo>
                    <a:pt x="10130" y="12995"/>
                    <a:pt x="7865" y="14844"/>
                    <a:pt x="6826" y="16805"/>
                  </a:cubicBezTo>
                  <a:cubicBezTo>
                    <a:pt x="6168" y="18078"/>
                    <a:pt x="5599" y="19060"/>
                    <a:pt x="5130" y="19754"/>
                  </a:cubicBezTo>
                  <a:cubicBezTo>
                    <a:pt x="4472" y="21021"/>
                    <a:pt x="3809" y="21600"/>
                    <a:pt x="3151" y="21485"/>
                  </a:cubicBezTo>
                  <a:cubicBezTo>
                    <a:pt x="1643" y="21485"/>
                    <a:pt x="698" y="21078"/>
                    <a:pt x="322" y="20272"/>
                  </a:cubicBezTo>
                  <a:cubicBezTo>
                    <a:pt x="35" y="19927"/>
                    <a:pt x="-59" y="19002"/>
                    <a:pt x="35" y="17499"/>
                  </a:cubicBezTo>
                  <a:cubicBezTo>
                    <a:pt x="35" y="15653"/>
                    <a:pt x="366" y="14441"/>
                    <a:pt x="1030" y="13862"/>
                  </a:cubicBezTo>
                  <a:cubicBezTo>
                    <a:pt x="1217" y="13516"/>
                    <a:pt x="1875" y="13167"/>
                    <a:pt x="3008" y="12822"/>
                  </a:cubicBezTo>
                  <a:close/>
                  <a:moveTo>
                    <a:pt x="3008" y="1282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1" name="AutoShape 18"/>
            <p:cNvSpPr>
              <a:spLocks/>
            </p:cNvSpPr>
            <p:nvPr/>
          </p:nvSpPr>
          <p:spPr bwMode="auto">
            <a:xfrm>
              <a:off x="7013296" y="4065691"/>
              <a:ext cx="274651" cy="301708"/>
            </a:xfrm>
            <a:custGeom>
              <a:avLst/>
              <a:gdLst/>
              <a:ahLst/>
              <a:cxnLst/>
              <a:rect l="0" t="0" r="r" b="b"/>
              <a:pathLst>
                <a:path w="21555" h="21600">
                  <a:moveTo>
                    <a:pt x="8825" y="1795"/>
                  </a:moveTo>
                  <a:cubicBezTo>
                    <a:pt x="9114" y="1854"/>
                    <a:pt x="9328" y="1941"/>
                    <a:pt x="9466" y="2058"/>
                  </a:cubicBezTo>
                  <a:cubicBezTo>
                    <a:pt x="9541" y="2116"/>
                    <a:pt x="9695" y="2325"/>
                    <a:pt x="9931" y="2685"/>
                  </a:cubicBezTo>
                  <a:cubicBezTo>
                    <a:pt x="9984" y="2754"/>
                    <a:pt x="10053" y="2856"/>
                    <a:pt x="10139" y="2992"/>
                  </a:cubicBezTo>
                  <a:cubicBezTo>
                    <a:pt x="10192" y="3089"/>
                    <a:pt x="10283" y="3138"/>
                    <a:pt x="10411" y="3138"/>
                  </a:cubicBezTo>
                  <a:cubicBezTo>
                    <a:pt x="10763" y="3138"/>
                    <a:pt x="11073" y="3157"/>
                    <a:pt x="11340" y="3196"/>
                  </a:cubicBezTo>
                  <a:cubicBezTo>
                    <a:pt x="11948" y="3274"/>
                    <a:pt x="12263" y="3313"/>
                    <a:pt x="12284" y="3313"/>
                  </a:cubicBezTo>
                  <a:cubicBezTo>
                    <a:pt x="12647" y="3362"/>
                    <a:pt x="13037" y="3454"/>
                    <a:pt x="13453" y="3590"/>
                  </a:cubicBezTo>
                  <a:cubicBezTo>
                    <a:pt x="13603" y="3639"/>
                    <a:pt x="13880" y="3771"/>
                    <a:pt x="14286" y="3984"/>
                  </a:cubicBezTo>
                  <a:cubicBezTo>
                    <a:pt x="14617" y="4160"/>
                    <a:pt x="14862" y="4247"/>
                    <a:pt x="15023" y="4247"/>
                  </a:cubicBezTo>
                  <a:cubicBezTo>
                    <a:pt x="15161" y="4247"/>
                    <a:pt x="15327" y="4223"/>
                    <a:pt x="15519" y="4174"/>
                  </a:cubicBezTo>
                  <a:cubicBezTo>
                    <a:pt x="15722" y="4135"/>
                    <a:pt x="15855" y="4116"/>
                    <a:pt x="15919" y="4116"/>
                  </a:cubicBezTo>
                  <a:cubicBezTo>
                    <a:pt x="15962" y="4116"/>
                    <a:pt x="16020" y="4155"/>
                    <a:pt x="16095" y="4232"/>
                  </a:cubicBezTo>
                  <a:cubicBezTo>
                    <a:pt x="16159" y="4301"/>
                    <a:pt x="16250" y="4335"/>
                    <a:pt x="16367" y="4335"/>
                  </a:cubicBezTo>
                  <a:cubicBezTo>
                    <a:pt x="16453" y="4335"/>
                    <a:pt x="16565" y="4330"/>
                    <a:pt x="16704" y="4320"/>
                  </a:cubicBezTo>
                  <a:cubicBezTo>
                    <a:pt x="16831" y="4301"/>
                    <a:pt x="16944" y="4291"/>
                    <a:pt x="17040" y="4291"/>
                  </a:cubicBezTo>
                  <a:cubicBezTo>
                    <a:pt x="17210" y="4301"/>
                    <a:pt x="17307" y="4393"/>
                    <a:pt x="17328" y="4568"/>
                  </a:cubicBezTo>
                  <a:cubicBezTo>
                    <a:pt x="17349" y="4685"/>
                    <a:pt x="17366" y="4899"/>
                    <a:pt x="17376" y="5211"/>
                  </a:cubicBezTo>
                  <a:cubicBezTo>
                    <a:pt x="17846" y="5113"/>
                    <a:pt x="18171" y="5186"/>
                    <a:pt x="18353" y="5429"/>
                  </a:cubicBezTo>
                  <a:cubicBezTo>
                    <a:pt x="18502" y="5634"/>
                    <a:pt x="18577" y="5974"/>
                    <a:pt x="18577" y="6451"/>
                  </a:cubicBezTo>
                  <a:cubicBezTo>
                    <a:pt x="18577" y="6577"/>
                    <a:pt x="18529" y="6660"/>
                    <a:pt x="18433" y="6699"/>
                  </a:cubicBezTo>
                  <a:cubicBezTo>
                    <a:pt x="18337" y="6748"/>
                    <a:pt x="18284" y="6835"/>
                    <a:pt x="18273" y="6962"/>
                  </a:cubicBezTo>
                  <a:lnTo>
                    <a:pt x="18305" y="7151"/>
                  </a:lnTo>
                  <a:lnTo>
                    <a:pt x="18721" y="7151"/>
                  </a:lnTo>
                  <a:cubicBezTo>
                    <a:pt x="18913" y="7151"/>
                    <a:pt x="19015" y="7497"/>
                    <a:pt x="19026" y="8187"/>
                  </a:cubicBezTo>
                  <a:lnTo>
                    <a:pt x="19393" y="8231"/>
                  </a:lnTo>
                  <a:cubicBezTo>
                    <a:pt x="19405" y="8270"/>
                    <a:pt x="19410" y="8324"/>
                    <a:pt x="19410" y="8392"/>
                  </a:cubicBezTo>
                  <a:cubicBezTo>
                    <a:pt x="19410" y="8771"/>
                    <a:pt x="19378" y="8986"/>
                    <a:pt x="19313" y="9034"/>
                  </a:cubicBezTo>
                  <a:cubicBezTo>
                    <a:pt x="19111" y="9122"/>
                    <a:pt x="18865" y="9239"/>
                    <a:pt x="18577" y="9384"/>
                  </a:cubicBezTo>
                  <a:cubicBezTo>
                    <a:pt x="18535" y="9423"/>
                    <a:pt x="18491" y="9516"/>
                    <a:pt x="18449" y="9662"/>
                  </a:cubicBezTo>
                  <a:cubicBezTo>
                    <a:pt x="18385" y="9847"/>
                    <a:pt x="18337" y="9973"/>
                    <a:pt x="18305" y="10041"/>
                  </a:cubicBezTo>
                  <a:cubicBezTo>
                    <a:pt x="18230" y="10177"/>
                    <a:pt x="18177" y="10323"/>
                    <a:pt x="18145" y="10479"/>
                  </a:cubicBezTo>
                  <a:cubicBezTo>
                    <a:pt x="18134" y="10538"/>
                    <a:pt x="18129" y="10659"/>
                    <a:pt x="18129" y="10844"/>
                  </a:cubicBezTo>
                  <a:cubicBezTo>
                    <a:pt x="18129" y="10951"/>
                    <a:pt x="18134" y="11019"/>
                    <a:pt x="18145" y="11048"/>
                  </a:cubicBezTo>
                  <a:cubicBezTo>
                    <a:pt x="18134" y="11116"/>
                    <a:pt x="18156" y="11146"/>
                    <a:pt x="18209" y="11136"/>
                  </a:cubicBezTo>
                  <a:cubicBezTo>
                    <a:pt x="18348" y="11146"/>
                    <a:pt x="18535" y="10990"/>
                    <a:pt x="18769" y="10669"/>
                  </a:cubicBezTo>
                  <a:cubicBezTo>
                    <a:pt x="18897" y="10494"/>
                    <a:pt x="19026" y="10299"/>
                    <a:pt x="19153" y="10085"/>
                  </a:cubicBezTo>
                  <a:cubicBezTo>
                    <a:pt x="19335" y="9890"/>
                    <a:pt x="19500" y="9720"/>
                    <a:pt x="19650" y="9574"/>
                  </a:cubicBezTo>
                  <a:cubicBezTo>
                    <a:pt x="19671" y="9555"/>
                    <a:pt x="19692" y="9535"/>
                    <a:pt x="19714" y="9516"/>
                  </a:cubicBezTo>
                  <a:cubicBezTo>
                    <a:pt x="19799" y="9448"/>
                    <a:pt x="19906" y="9355"/>
                    <a:pt x="20034" y="9239"/>
                  </a:cubicBezTo>
                  <a:cubicBezTo>
                    <a:pt x="20141" y="9112"/>
                    <a:pt x="20381" y="8737"/>
                    <a:pt x="20754" y="8115"/>
                  </a:cubicBezTo>
                  <a:cubicBezTo>
                    <a:pt x="20861" y="7940"/>
                    <a:pt x="20963" y="7794"/>
                    <a:pt x="21059" y="7677"/>
                  </a:cubicBezTo>
                  <a:cubicBezTo>
                    <a:pt x="21219" y="7453"/>
                    <a:pt x="21342" y="7341"/>
                    <a:pt x="21427" y="7341"/>
                  </a:cubicBezTo>
                  <a:cubicBezTo>
                    <a:pt x="21459" y="7341"/>
                    <a:pt x="21486" y="7361"/>
                    <a:pt x="21507" y="7400"/>
                  </a:cubicBezTo>
                  <a:cubicBezTo>
                    <a:pt x="21539" y="7438"/>
                    <a:pt x="21555" y="7477"/>
                    <a:pt x="21555" y="7516"/>
                  </a:cubicBezTo>
                  <a:cubicBezTo>
                    <a:pt x="21544" y="7565"/>
                    <a:pt x="21518" y="7619"/>
                    <a:pt x="21475" y="7677"/>
                  </a:cubicBezTo>
                  <a:cubicBezTo>
                    <a:pt x="21443" y="7706"/>
                    <a:pt x="21411" y="7735"/>
                    <a:pt x="21379" y="7765"/>
                  </a:cubicBezTo>
                  <a:cubicBezTo>
                    <a:pt x="21272" y="7862"/>
                    <a:pt x="21213" y="7969"/>
                    <a:pt x="21203" y="8086"/>
                  </a:cubicBezTo>
                  <a:lnTo>
                    <a:pt x="21123" y="8509"/>
                  </a:lnTo>
                  <a:cubicBezTo>
                    <a:pt x="21102" y="8684"/>
                    <a:pt x="21080" y="8830"/>
                    <a:pt x="21059" y="8947"/>
                  </a:cubicBezTo>
                  <a:cubicBezTo>
                    <a:pt x="20910" y="9326"/>
                    <a:pt x="20754" y="9569"/>
                    <a:pt x="20594" y="9677"/>
                  </a:cubicBezTo>
                  <a:cubicBezTo>
                    <a:pt x="20488" y="9735"/>
                    <a:pt x="20429" y="9842"/>
                    <a:pt x="20419" y="9997"/>
                  </a:cubicBezTo>
                  <a:lnTo>
                    <a:pt x="20434" y="10216"/>
                  </a:lnTo>
                  <a:cubicBezTo>
                    <a:pt x="20434" y="10255"/>
                    <a:pt x="20408" y="10367"/>
                    <a:pt x="20354" y="10552"/>
                  </a:cubicBezTo>
                  <a:cubicBezTo>
                    <a:pt x="20290" y="10776"/>
                    <a:pt x="20237" y="10912"/>
                    <a:pt x="20194" y="10961"/>
                  </a:cubicBezTo>
                  <a:cubicBezTo>
                    <a:pt x="20151" y="11029"/>
                    <a:pt x="20098" y="11155"/>
                    <a:pt x="20034" y="11340"/>
                  </a:cubicBezTo>
                  <a:cubicBezTo>
                    <a:pt x="19981" y="11525"/>
                    <a:pt x="19949" y="11661"/>
                    <a:pt x="19938" y="11749"/>
                  </a:cubicBezTo>
                  <a:lnTo>
                    <a:pt x="19938" y="12070"/>
                  </a:lnTo>
                  <a:cubicBezTo>
                    <a:pt x="19959" y="12138"/>
                    <a:pt x="20002" y="12245"/>
                    <a:pt x="20066" y="12391"/>
                  </a:cubicBezTo>
                  <a:cubicBezTo>
                    <a:pt x="20141" y="12547"/>
                    <a:pt x="20178" y="12678"/>
                    <a:pt x="20178" y="12785"/>
                  </a:cubicBezTo>
                  <a:cubicBezTo>
                    <a:pt x="20178" y="12824"/>
                    <a:pt x="20168" y="12863"/>
                    <a:pt x="20146" y="12902"/>
                  </a:cubicBezTo>
                  <a:cubicBezTo>
                    <a:pt x="20093" y="13009"/>
                    <a:pt x="19970" y="13135"/>
                    <a:pt x="19778" y="13281"/>
                  </a:cubicBezTo>
                  <a:cubicBezTo>
                    <a:pt x="19757" y="13301"/>
                    <a:pt x="19736" y="13320"/>
                    <a:pt x="19714" y="13340"/>
                  </a:cubicBezTo>
                  <a:cubicBezTo>
                    <a:pt x="19511" y="13515"/>
                    <a:pt x="19410" y="13714"/>
                    <a:pt x="19410" y="13938"/>
                  </a:cubicBezTo>
                  <a:cubicBezTo>
                    <a:pt x="19485" y="14619"/>
                    <a:pt x="19522" y="15008"/>
                    <a:pt x="19522" y="15105"/>
                  </a:cubicBezTo>
                  <a:cubicBezTo>
                    <a:pt x="19522" y="15183"/>
                    <a:pt x="19517" y="15349"/>
                    <a:pt x="19506" y="15602"/>
                  </a:cubicBezTo>
                  <a:cubicBezTo>
                    <a:pt x="19506" y="15621"/>
                    <a:pt x="19500" y="15641"/>
                    <a:pt x="19490" y="15660"/>
                  </a:cubicBezTo>
                  <a:cubicBezTo>
                    <a:pt x="19447" y="15728"/>
                    <a:pt x="19399" y="15811"/>
                    <a:pt x="19346" y="15908"/>
                  </a:cubicBezTo>
                  <a:cubicBezTo>
                    <a:pt x="19292" y="16035"/>
                    <a:pt x="19266" y="16185"/>
                    <a:pt x="19266" y="16360"/>
                  </a:cubicBezTo>
                  <a:lnTo>
                    <a:pt x="19281" y="16813"/>
                  </a:lnTo>
                  <a:cubicBezTo>
                    <a:pt x="19281" y="16842"/>
                    <a:pt x="19233" y="16930"/>
                    <a:pt x="19138" y="17076"/>
                  </a:cubicBezTo>
                  <a:cubicBezTo>
                    <a:pt x="19031" y="17202"/>
                    <a:pt x="18972" y="17416"/>
                    <a:pt x="18961" y="17718"/>
                  </a:cubicBezTo>
                  <a:cubicBezTo>
                    <a:pt x="18961" y="17805"/>
                    <a:pt x="18993" y="17878"/>
                    <a:pt x="19058" y="17937"/>
                  </a:cubicBezTo>
                  <a:cubicBezTo>
                    <a:pt x="19132" y="17985"/>
                    <a:pt x="19186" y="18063"/>
                    <a:pt x="19218" y="18170"/>
                  </a:cubicBezTo>
                  <a:cubicBezTo>
                    <a:pt x="19260" y="18375"/>
                    <a:pt x="19281" y="18559"/>
                    <a:pt x="19281" y="18725"/>
                  </a:cubicBezTo>
                  <a:lnTo>
                    <a:pt x="19266" y="18783"/>
                  </a:lnTo>
                  <a:cubicBezTo>
                    <a:pt x="19298" y="18861"/>
                    <a:pt x="19361" y="18992"/>
                    <a:pt x="19458" y="19177"/>
                  </a:cubicBezTo>
                  <a:cubicBezTo>
                    <a:pt x="19565" y="19362"/>
                    <a:pt x="19634" y="19498"/>
                    <a:pt x="19666" y="19586"/>
                  </a:cubicBezTo>
                  <a:lnTo>
                    <a:pt x="19730" y="20199"/>
                  </a:lnTo>
                  <a:lnTo>
                    <a:pt x="19650" y="20476"/>
                  </a:lnTo>
                  <a:cubicBezTo>
                    <a:pt x="19575" y="20700"/>
                    <a:pt x="19538" y="20851"/>
                    <a:pt x="19538" y="20929"/>
                  </a:cubicBezTo>
                  <a:cubicBezTo>
                    <a:pt x="19538" y="20968"/>
                    <a:pt x="19553" y="21011"/>
                    <a:pt x="19586" y="21060"/>
                  </a:cubicBezTo>
                  <a:cubicBezTo>
                    <a:pt x="19618" y="21109"/>
                    <a:pt x="19645" y="21148"/>
                    <a:pt x="19666" y="21177"/>
                  </a:cubicBezTo>
                  <a:lnTo>
                    <a:pt x="8842" y="21600"/>
                  </a:lnTo>
                  <a:cubicBezTo>
                    <a:pt x="8810" y="21512"/>
                    <a:pt x="8794" y="21435"/>
                    <a:pt x="8794" y="21366"/>
                  </a:cubicBezTo>
                  <a:cubicBezTo>
                    <a:pt x="8783" y="21075"/>
                    <a:pt x="8553" y="20929"/>
                    <a:pt x="8105" y="20929"/>
                  </a:cubicBezTo>
                  <a:cubicBezTo>
                    <a:pt x="7614" y="20938"/>
                    <a:pt x="7342" y="20812"/>
                    <a:pt x="7289" y="20549"/>
                  </a:cubicBezTo>
                  <a:cubicBezTo>
                    <a:pt x="7182" y="20296"/>
                    <a:pt x="7075" y="20039"/>
                    <a:pt x="6968" y="19775"/>
                  </a:cubicBezTo>
                  <a:cubicBezTo>
                    <a:pt x="6766" y="19270"/>
                    <a:pt x="6664" y="18953"/>
                    <a:pt x="6664" y="18827"/>
                  </a:cubicBezTo>
                  <a:cubicBezTo>
                    <a:pt x="6664" y="18739"/>
                    <a:pt x="6728" y="18584"/>
                    <a:pt x="6856" y="18360"/>
                  </a:cubicBezTo>
                  <a:cubicBezTo>
                    <a:pt x="7006" y="18146"/>
                    <a:pt x="7080" y="18010"/>
                    <a:pt x="7080" y="17951"/>
                  </a:cubicBezTo>
                  <a:cubicBezTo>
                    <a:pt x="7080" y="17854"/>
                    <a:pt x="6958" y="17689"/>
                    <a:pt x="6712" y="17455"/>
                  </a:cubicBezTo>
                  <a:cubicBezTo>
                    <a:pt x="6456" y="17251"/>
                    <a:pt x="6307" y="17056"/>
                    <a:pt x="6263" y="16871"/>
                  </a:cubicBezTo>
                  <a:cubicBezTo>
                    <a:pt x="6285" y="16862"/>
                    <a:pt x="6301" y="16857"/>
                    <a:pt x="6312" y="16857"/>
                  </a:cubicBezTo>
                  <a:cubicBezTo>
                    <a:pt x="6280" y="16322"/>
                    <a:pt x="6242" y="15971"/>
                    <a:pt x="6200" y="15806"/>
                  </a:cubicBezTo>
                  <a:cubicBezTo>
                    <a:pt x="6103" y="15329"/>
                    <a:pt x="5922" y="14969"/>
                    <a:pt x="5656" y="14726"/>
                  </a:cubicBezTo>
                  <a:cubicBezTo>
                    <a:pt x="5623" y="14706"/>
                    <a:pt x="5277" y="14517"/>
                    <a:pt x="4615" y="14157"/>
                  </a:cubicBezTo>
                  <a:cubicBezTo>
                    <a:pt x="4177" y="13914"/>
                    <a:pt x="3889" y="13617"/>
                    <a:pt x="3750" y="13267"/>
                  </a:cubicBezTo>
                  <a:cubicBezTo>
                    <a:pt x="3675" y="13014"/>
                    <a:pt x="3435" y="12795"/>
                    <a:pt x="3029" y="12610"/>
                  </a:cubicBezTo>
                  <a:cubicBezTo>
                    <a:pt x="2613" y="12396"/>
                    <a:pt x="2336" y="12196"/>
                    <a:pt x="2197" y="12012"/>
                  </a:cubicBezTo>
                  <a:cubicBezTo>
                    <a:pt x="2122" y="11856"/>
                    <a:pt x="1967" y="11783"/>
                    <a:pt x="1733" y="11793"/>
                  </a:cubicBezTo>
                  <a:cubicBezTo>
                    <a:pt x="1487" y="11793"/>
                    <a:pt x="1322" y="11758"/>
                    <a:pt x="1236" y="11690"/>
                  </a:cubicBezTo>
                  <a:cubicBezTo>
                    <a:pt x="1172" y="11632"/>
                    <a:pt x="991" y="11496"/>
                    <a:pt x="692" y="11282"/>
                  </a:cubicBezTo>
                  <a:cubicBezTo>
                    <a:pt x="435" y="11107"/>
                    <a:pt x="307" y="11009"/>
                    <a:pt x="307" y="10990"/>
                  </a:cubicBezTo>
                  <a:cubicBezTo>
                    <a:pt x="425" y="10581"/>
                    <a:pt x="484" y="10328"/>
                    <a:pt x="484" y="10231"/>
                  </a:cubicBezTo>
                  <a:cubicBezTo>
                    <a:pt x="494" y="10114"/>
                    <a:pt x="462" y="9997"/>
                    <a:pt x="387" y="9881"/>
                  </a:cubicBezTo>
                  <a:cubicBezTo>
                    <a:pt x="313" y="9754"/>
                    <a:pt x="275" y="9677"/>
                    <a:pt x="275" y="9647"/>
                  </a:cubicBezTo>
                  <a:cubicBezTo>
                    <a:pt x="275" y="9608"/>
                    <a:pt x="302" y="9530"/>
                    <a:pt x="355" y="9414"/>
                  </a:cubicBezTo>
                  <a:cubicBezTo>
                    <a:pt x="408" y="9297"/>
                    <a:pt x="435" y="9214"/>
                    <a:pt x="435" y="9166"/>
                  </a:cubicBezTo>
                  <a:lnTo>
                    <a:pt x="403" y="8830"/>
                  </a:lnTo>
                  <a:cubicBezTo>
                    <a:pt x="403" y="8752"/>
                    <a:pt x="441" y="8664"/>
                    <a:pt x="515" y="8567"/>
                  </a:cubicBezTo>
                  <a:cubicBezTo>
                    <a:pt x="612" y="8460"/>
                    <a:pt x="665" y="8358"/>
                    <a:pt x="676" y="8260"/>
                  </a:cubicBezTo>
                  <a:cubicBezTo>
                    <a:pt x="676" y="8193"/>
                    <a:pt x="671" y="8149"/>
                    <a:pt x="659" y="8130"/>
                  </a:cubicBezTo>
                  <a:cubicBezTo>
                    <a:pt x="649" y="8071"/>
                    <a:pt x="654" y="8013"/>
                    <a:pt x="676" y="7954"/>
                  </a:cubicBezTo>
                  <a:cubicBezTo>
                    <a:pt x="707" y="7867"/>
                    <a:pt x="724" y="7818"/>
                    <a:pt x="724" y="7808"/>
                  </a:cubicBezTo>
                  <a:cubicBezTo>
                    <a:pt x="734" y="7662"/>
                    <a:pt x="601" y="7463"/>
                    <a:pt x="323" y="7210"/>
                  </a:cubicBezTo>
                  <a:cubicBezTo>
                    <a:pt x="56" y="6957"/>
                    <a:pt x="-45" y="6699"/>
                    <a:pt x="19" y="6436"/>
                  </a:cubicBezTo>
                  <a:cubicBezTo>
                    <a:pt x="62" y="6164"/>
                    <a:pt x="403" y="5746"/>
                    <a:pt x="1044" y="5181"/>
                  </a:cubicBezTo>
                  <a:cubicBezTo>
                    <a:pt x="1674" y="4636"/>
                    <a:pt x="1994" y="4340"/>
                    <a:pt x="2005" y="4291"/>
                  </a:cubicBezTo>
                  <a:cubicBezTo>
                    <a:pt x="2005" y="4223"/>
                    <a:pt x="2005" y="3848"/>
                    <a:pt x="2005" y="3167"/>
                  </a:cubicBezTo>
                  <a:cubicBezTo>
                    <a:pt x="1973" y="2817"/>
                    <a:pt x="1962" y="2398"/>
                    <a:pt x="1973" y="1912"/>
                  </a:cubicBezTo>
                  <a:cubicBezTo>
                    <a:pt x="1983" y="1718"/>
                    <a:pt x="2074" y="1596"/>
                    <a:pt x="2245" y="1547"/>
                  </a:cubicBezTo>
                  <a:cubicBezTo>
                    <a:pt x="2405" y="1508"/>
                    <a:pt x="2485" y="1450"/>
                    <a:pt x="2485" y="1372"/>
                  </a:cubicBezTo>
                  <a:cubicBezTo>
                    <a:pt x="2485" y="1333"/>
                    <a:pt x="2474" y="1304"/>
                    <a:pt x="2453" y="1285"/>
                  </a:cubicBezTo>
                  <a:cubicBezTo>
                    <a:pt x="2432" y="1245"/>
                    <a:pt x="2421" y="1221"/>
                    <a:pt x="2421" y="1211"/>
                  </a:cubicBezTo>
                  <a:cubicBezTo>
                    <a:pt x="2421" y="1182"/>
                    <a:pt x="2437" y="1148"/>
                    <a:pt x="2469" y="1109"/>
                  </a:cubicBezTo>
                  <a:lnTo>
                    <a:pt x="2565" y="1124"/>
                  </a:lnTo>
                  <a:cubicBezTo>
                    <a:pt x="2715" y="1124"/>
                    <a:pt x="2837" y="1177"/>
                    <a:pt x="2933" y="1285"/>
                  </a:cubicBezTo>
                  <a:cubicBezTo>
                    <a:pt x="3029" y="1391"/>
                    <a:pt x="3131" y="1445"/>
                    <a:pt x="3237" y="1445"/>
                  </a:cubicBezTo>
                  <a:cubicBezTo>
                    <a:pt x="3419" y="1445"/>
                    <a:pt x="4113" y="1221"/>
                    <a:pt x="5319" y="774"/>
                  </a:cubicBezTo>
                  <a:cubicBezTo>
                    <a:pt x="5415" y="744"/>
                    <a:pt x="5719" y="608"/>
                    <a:pt x="6232" y="365"/>
                  </a:cubicBezTo>
                  <a:cubicBezTo>
                    <a:pt x="6509" y="219"/>
                    <a:pt x="6718" y="117"/>
                    <a:pt x="6856" y="58"/>
                  </a:cubicBezTo>
                  <a:cubicBezTo>
                    <a:pt x="6920" y="29"/>
                    <a:pt x="6968" y="10"/>
                    <a:pt x="7000" y="0"/>
                  </a:cubicBezTo>
                  <a:cubicBezTo>
                    <a:pt x="7032" y="0"/>
                    <a:pt x="7097" y="10"/>
                    <a:pt x="7192" y="29"/>
                  </a:cubicBezTo>
                  <a:cubicBezTo>
                    <a:pt x="7374" y="88"/>
                    <a:pt x="7464" y="141"/>
                    <a:pt x="7464" y="190"/>
                  </a:cubicBezTo>
                  <a:cubicBezTo>
                    <a:pt x="7464" y="268"/>
                    <a:pt x="7374" y="443"/>
                    <a:pt x="7192" y="715"/>
                  </a:cubicBezTo>
                  <a:cubicBezTo>
                    <a:pt x="7097" y="871"/>
                    <a:pt x="7027" y="1036"/>
                    <a:pt x="6984" y="1211"/>
                  </a:cubicBezTo>
                  <a:cubicBezTo>
                    <a:pt x="6942" y="1348"/>
                    <a:pt x="6920" y="1494"/>
                    <a:pt x="6920" y="1649"/>
                  </a:cubicBezTo>
                  <a:cubicBezTo>
                    <a:pt x="6920" y="1698"/>
                    <a:pt x="6937" y="1722"/>
                    <a:pt x="6968" y="1722"/>
                  </a:cubicBezTo>
                  <a:cubicBezTo>
                    <a:pt x="6979" y="1722"/>
                    <a:pt x="7048" y="1669"/>
                    <a:pt x="7177" y="1562"/>
                  </a:cubicBezTo>
                  <a:cubicBezTo>
                    <a:pt x="7304" y="1474"/>
                    <a:pt x="7422" y="1430"/>
                    <a:pt x="7529" y="1430"/>
                  </a:cubicBezTo>
                  <a:cubicBezTo>
                    <a:pt x="7700" y="1430"/>
                    <a:pt x="7918" y="1489"/>
                    <a:pt x="8185" y="1605"/>
                  </a:cubicBezTo>
                  <a:cubicBezTo>
                    <a:pt x="8441" y="1713"/>
                    <a:pt x="8655" y="1776"/>
                    <a:pt x="8825" y="1795"/>
                  </a:cubicBezTo>
                  <a:close/>
                  <a:moveTo>
                    <a:pt x="8825" y="179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2" name="AutoShape 19"/>
            <p:cNvSpPr>
              <a:spLocks/>
            </p:cNvSpPr>
            <p:nvPr/>
          </p:nvSpPr>
          <p:spPr bwMode="auto">
            <a:xfrm>
              <a:off x="7107229" y="4069775"/>
              <a:ext cx="7658" cy="7147"/>
            </a:xfrm>
            <a:custGeom>
              <a:avLst/>
              <a:gdLst/>
              <a:ahLst/>
              <a:cxnLst/>
              <a:rect l="0" t="0" r="r" b="b"/>
              <a:pathLst>
                <a:path w="21600" h="21600">
                  <a:moveTo>
                    <a:pt x="6103" y="7595"/>
                  </a:moveTo>
                  <a:cubicBezTo>
                    <a:pt x="10151" y="2532"/>
                    <a:pt x="13852" y="0"/>
                    <a:pt x="17185" y="0"/>
                  </a:cubicBezTo>
                  <a:cubicBezTo>
                    <a:pt x="19760" y="388"/>
                    <a:pt x="21232" y="1756"/>
                    <a:pt x="21600" y="4094"/>
                  </a:cubicBezTo>
                  <a:cubicBezTo>
                    <a:pt x="21600" y="7595"/>
                    <a:pt x="19392" y="11279"/>
                    <a:pt x="14956" y="15168"/>
                  </a:cubicBezTo>
                  <a:cubicBezTo>
                    <a:pt x="11276" y="19456"/>
                    <a:pt x="7207" y="21600"/>
                    <a:pt x="2770" y="21600"/>
                  </a:cubicBezTo>
                  <a:cubicBezTo>
                    <a:pt x="931" y="21600"/>
                    <a:pt x="0" y="20619"/>
                    <a:pt x="0" y="18680"/>
                  </a:cubicBezTo>
                  <a:cubicBezTo>
                    <a:pt x="0" y="15955"/>
                    <a:pt x="2034" y="12248"/>
                    <a:pt x="6103" y="7595"/>
                  </a:cubicBezTo>
                  <a:close/>
                  <a:moveTo>
                    <a:pt x="6103" y="759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3" name="AutoShape 20"/>
            <p:cNvSpPr>
              <a:spLocks/>
            </p:cNvSpPr>
            <p:nvPr/>
          </p:nvSpPr>
          <p:spPr bwMode="auto">
            <a:xfrm>
              <a:off x="7119481" y="4053438"/>
              <a:ext cx="3063" cy="6126"/>
            </a:xfrm>
            <a:custGeom>
              <a:avLst/>
              <a:gdLst/>
              <a:ahLst/>
              <a:cxnLst/>
              <a:rect l="0" t="0" r="r" b="b"/>
              <a:pathLst>
                <a:path w="21600" h="21600">
                  <a:moveTo>
                    <a:pt x="12712" y="0"/>
                  </a:moveTo>
                  <a:cubicBezTo>
                    <a:pt x="18670" y="0"/>
                    <a:pt x="21600" y="2560"/>
                    <a:pt x="21600" y="7654"/>
                  </a:cubicBezTo>
                  <a:cubicBezTo>
                    <a:pt x="20756" y="8580"/>
                    <a:pt x="20359" y="9275"/>
                    <a:pt x="20359" y="9751"/>
                  </a:cubicBezTo>
                  <a:cubicBezTo>
                    <a:pt x="20359" y="11140"/>
                    <a:pt x="20359" y="12530"/>
                    <a:pt x="20359" y="13932"/>
                  </a:cubicBezTo>
                  <a:cubicBezTo>
                    <a:pt x="17826" y="19040"/>
                    <a:pt x="14003" y="21600"/>
                    <a:pt x="8888" y="21600"/>
                  </a:cubicBezTo>
                  <a:cubicBezTo>
                    <a:pt x="2979" y="21600"/>
                    <a:pt x="0" y="18577"/>
                    <a:pt x="0" y="12530"/>
                  </a:cubicBez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4" name="AutoShape 21"/>
            <p:cNvSpPr>
              <a:spLocks/>
            </p:cNvSpPr>
            <p:nvPr/>
          </p:nvSpPr>
          <p:spPr bwMode="auto">
            <a:xfrm>
              <a:off x="7454371" y="4094279"/>
              <a:ext cx="76576" cy="31651"/>
            </a:xfrm>
            <a:custGeom>
              <a:avLst/>
              <a:gdLst/>
              <a:ahLst/>
              <a:cxnLst/>
              <a:rect l="0" t="0" r="r" b="b"/>
              <a:pathLst>
                <a:path w="21568" h="21600">
                  <a:moveTo>
                    <a:pt x="20585" y="7568"/>
                  </a:moveTo>
                  <a:cubicBezTo>
                    <a:pt x="20585" y="7659"/>
                    <a:pt x="20605" y="7705"/>
                    <a:pt x="20644" y="7705"/>
                  </a:cubicBezTo>
                  <a:cubicBezTo>
                    <a:pt x="20682" y="8070"/>
                    <a:pt x="20834" y="8393"/>
                    <a:pt x="21103" y="8667"/>
                  </a:cubicBezTo>
                  <a:cubicBezTo>
                    <a:pt x="21445" y="8944"/>
                    <a:pt x="21600" y="9262"/>
                    <a:pt x="21562" y="9630"/>
                  </a:cubicBezTo>
                  <a:cubicBezTo>
                    <a:pt x="21562" y="10730"/>
                    <a:pt x="21313" y="11833"/>
                    <a:pt x="20816" y="12930"/>
                  </a:cubicBezTo>
                  <a:cubicBezTo>
                    <a:pt x="20243" y="14307"/>
                    <a:pt x="19880" y="15272"/>
                    <a:pt x="19725" y="15824"/>
                  </a:cubicBezTo>
                  <a:cubicBezTo>
                    <a:pt x="19535" y="17932"/>
                    <a:pt x="19344" y="19169"/>
                    <a:pt x="19152" y="19537"/>
                  </a:cubicBezTo>
                  <a:cubicBezTo>
                    <a:pt x="18464" y="20912"/>
                    <a:pt x="18083" y="21600"/>
                    <a:pt x="18005" y="21600"/>
                  </a:cubicBezTo>
                  <a:cubicBezTo>
                    <a:pt x="17510" y="21600"/>
                    <a:pt x="17279" y="21003"/>
                    <a:pt x="17317" y="19812"/>
                  </a:cubicBezTo>
                  <a:cubicBezTo>
                    <a:pt x="17317" y="18986"/>
                    <a:pt x="17452" y="18389"/>
                    <a:pt x="17718" y="18023"/>
                  </a:cubicBezTo>
                  <a:cubicBezTo>
                    <a:pt x="18177" y="17472"/>
                    <a:pt x="18540" y="16692"/>
                    <a:pt x="18809" y="15684"/>
                  </a:cubicBezTo>
                  <a:lnTo>
                    <a:pt x="18809" y="15135"/>
                  </a:lnTo>
                  <a:lnTo>
                    <a:pt x="18578" y="15135"/>
                  </a:lnTo>
                  <a:cubicBezTo>
                    <a:pt x="18502" y="15226"/>
                    <a:pt x="18101" y="16189"/>
                    <a:pt x="17375" y="18023"/>
                  </a:cubicBezTo>
                  <a:cubicBezTo>
                    <a:pt x="17107" y="18666"/>
                    <a:pt x="16820" y="19123"/>
                    <a:pt x="16515" y="19400"/>
                  </a:cubicBezTo>
                  <a:cubicBezTo>
                    <a:pt x="16363" y="19492"/>
                    <a:pt x="16190" y="19537"/>
                    <a:pt x="15998" y="19537"/>
                  </a:cubicBezTo>
                  <a:cubicBezTo>
                    <a:pt x="15579" y="19537"/>
                    <a:pt x="15100" y="19169"/>
                    <a:pt x="14564" y="18435"/>
                  </a:cubicBezTo>
                  <a:cubicBezTo>
                    <a:pt x="13915" y="17792"/>
                    <a:pt x="13476" y="17381"/>
                    <a:pt x="13247" y="17198"/>
                  </a:cubicBezTo>
                  <a:cubicBezTo>
                    <a:pt x="12674" y="16829"/>
                    <a:pt x="12291" y="16326"/>
                    <a:pt x="12100" y="15684"/>
                  </a:cubicBezTo>
                  <a:cubicBezTo>
                    <a:pt x="11908" y="15135"/>
                    <a:pt x="11545" y="14858"/>
                    <a:pt x="11009" y="14858"/>
                  </a:cubicBezTo>
                  <a:lnTo>
                    <a:pt x="10380" y="14995"/>
                  </a:lnTo>
                  <a:cubicBezTo>
                    <a:pt x="10149" y="14995"/>
                    <a:pt x="9939" y="14767"/>
                    <a:pt x="9748" y="14307"/>
                  </a:cubicBezTo>
                  <a:cubicBezTo>
                    <a:pt x="9596" y="13850"/>
                    <a:pt x="9462" y="13527"/>
                    <a:pt x="9347" y="13344"/>
                  </a:cubicBezTo>
                  <a:cubicBezTo>
                    <a:pt x="9195" y="13070"/>
                    <a:pt x="9023" y="12884"/>
                    <a:pt x="8830" y="12795"/>
                  </a:cubicBezTo>
                  <a:cubicBezTo>
                    <a:pt x="8754" y="12704"/>
                    <a:pt x="8543" y="12656"/>
                    <a:pt x="8201" y="12656"/>
                  </a:cubicBezTo>
                  <a:cubicBezTo>
                    <a:pt x="7894" y="12656"/>
                    <a:pt x="7627" y="12338"/>
                    <a:pt x="7396" y="11696"/>
                  </a:cubicBezTo>
                  <a:cubicBezTo>
                    <a:pt x="7092" y="11144"/>
                    <a:pt x="6823" y="10867"/>
                    <a:pt x="6594" y="10867"/>
                  </a:cubicBezTo>
                  <a:cubicBezTo>
                    <a:pt x="6480" y="10867"/>
                    <a:pt x="6290" y="11007"/>
                    <a:pt x="6021" y="11281"/>
                  </a:cubicBezTo>
                  <a:cubicBezTo>
                    <a:pt x="5754" y="11650"/>
                    <a:pt x="5448" y="11833"/>
                    <a:pt x="5103" y="11833"/>
                  </a:cubicBezTo>
                  <a:cubicBezTo>
                    <a:pt x="4608" y="11833"/>
                    <a:pt x="4148" y="11556"/>
                    <a:pt x="3727" y="11007"/>
                  </a:cubicBezTo>
                  <a:cubicBezTo>
                    <a:pt x="3382" y="10547"/>
                    <a:pt x="3116" y="10319"/>
                    <a:pt x="2925" y="10319"/>
                  </a:cubicBezTo>
                  <a:lnTo>
                    <a:pt x="1319" y="10319"/>
                  </a:lnTo>
                  <a:cubicBezTo>
                    <a:pt x="1281" y="10319"/>
                    <a:pt x="1243" y="10273"/>
                    <a:pt x="1205" y="10179"/>
                  </a:cubicBezTo>
                  <a:lnTo>
                    <a:pt x="1147" y="10042"/>
                  </a:lnTo>
                  <a:cubicBezTo>
                    <a:pt x="995" y="9950"/>
                    <a:pt x="822" y="9813"/>
                    <a:pt x="632" y="9630"/>
                  </a:cubicBezTo>
                  <a:cubicBezTo>
                    <a:pt x="211" y="9353"/>
                    <a:pt x="0" y="9079"/>
                    <a:pt x="0" y="8805"/>
                  </a:cubicBezTo>
                  <a:cubicBezTo>
                    <a:pt x="0" y="8622"/>
                    <a:pt x="38" y="8210"/>
                    <a:pt x="114" y="7568"/>
                  </a:cubicBezTo>
                  <a:cubicBezTo>
                    <a:pt x="190" y="7108"/>
                    <a:pt x="211" y="6785"/>
                    <a:pt x="172" y="6602"/>
                  </a:cubicBezTo>
                  <a:lnTo>
                    <a:pt x="573" y="6602"/>
                  </a:lnTo>
                  <a:cubicBezTo>
                    <a:pt x="995" y="6785"/>
                    <a:pt x="1357" y="6879"/>
                    <a:pt x="1662" y="6879"/>
                  </a:cubicBezTo>
                  <a:cubicBezTo>
                    <a:pt x="2619" y="6879"/>
                    <a:pt x="3344" y="6145"/>
                    <a:pt x="3842" y="4677"/>
                  </a:cubicBezTo>
                  <a:cubicBezTo>
                    <a:pt x="4415" y="3394"/>
                    <a:pt x="4816" y="2751"/>
                    <a:pt x="5047" y="2751"/>
                  </a:cubicBezTo>
                  <a:cubicBezTo>
                    <a:pt x="5161" y="2751"/>
                    <a:pt x="5257" y="2934"/>
                    <a:pt x="5333" y="3300"/>
                  </a:cubicBezTo>
                  <a:cubicBezTo>
                    <a:pt x="5410" y="3668"/>
                    <a:pt x="5448" y="3988"/>
                    <a:pt x="5448" y="4265"/>
                  </a:cubicBezTo>
                  <a:cubicBezTo>
                    <a:pt x="5448" y="4357"/>
                    <a:pt x="5351" y="5091"/>
                    <a:pt x="5161" y="6465"/>
                  </a:cubicBezTo>
                  <a:cubicBezTo>
                    <a:pt x="5161" y="6925"/>
                    <a:pt x="5333" y="7428"/>
                    <a:pt x="5676" y="7979"/>
                  </a:cubicBezTo>
                  <a:cubicBezTo>
                    <a:pt x="5754" y="8070"/>
                    <a:pt x="5831" y="8210"/>
                    <a:pt x="5907" y="8393"/>
                  </a:cubicBezTo>
                  <a:cubicBezTo>
                    <a:pt x="6097" y="8576"/>
                    <a:pt x="6308" y="8713"/>
                    <a:pt x="6536" y="8805"/>
                  </a:cubicBezTo>
                  <a:lnTo>
                    <a:pt x="8373" y="8256"/>
                  </a:lnTo>
                  <a:cubicBezTo>
                    <a:pt x="8525" y="8347"/>
                    <a:pt x="8774" y="7245"/>
                    <a:pt x="9117" y="4954"/>
                  </a:cubicBezTo>
                  <a:cubicBezTo>
                    <a:pt x="9576" y="2843"/>
                    <a:pt x="10380" y="1831"/>
                    <a:pt x="11527" y="1923"/>
                  </a:cubicBezTo>
                  <a:cubicBezTo>
                    <a:pt x="12367" y="1831"/>
                    <a:pt x="12940" y="2383"/>
                    <a:pt x="13247" y="3577"/>
                  </a:cubicBezTo>
                  <a:cubicBezTo>
                    <a:pt x="13666" y="4494"/>
                    <a:pt x="13935" y="4954"/>
                    <a:pt x="14049" y="4954"/>
                  </a:cubicBezTo>
                  <a:lnTo>
                    <a:pt x="15023" y="2474"/>
                  </a:lnTo>
                  <a:cubicBezTo>
                    <a:pt x="15635" y="826"/>
                    <a:pt x="16076" y="0"/>
                    <a:pt x="16343" y="0"/>
                  </a:cubicBezTo>
                  <a:cubicBezTo>
                    <a:pt x="16612" y="0"/>
                    <a:pt x="16764" y="46"/>
                    <a:pt x="16802" y="137"/>
                  </a:cubicBezTo>
                  <a:cubicBezTo>
                    <a:pt x="16954" y="229"/>
                    <a:pt x="17107" y="457"/>
                    <a:pt x="17261" y="826"/>
                  </a:cubicBezTo>
                  <a:cubicBezTo>
                    <a:pt x="17261" y="1100"/>
                    <a:pt x="17241" y="1560"/>
                    <a:pt x="17203" y="2200"/>
                  </a:cubicBezTo>
                  <a:cubicBezTo>
                    <a:pt x="17203" y="2843"/>
                    <a:pt x="17241" y="3394"/>
                    <a:pt x="17317" y="3851"/>
                  </a:cubicBezTo>
                  <a:cubicBezTo>
                    <a:pt x="17393" y="3942"/>
                    <a:pt x="17604" y="4128"/>
                    <a:pt x="17949" y="4402"/>
                  </a:cubicBezTo>
                  <a:cubicBezTo>
                    <a:pt x="18332" y="4677"/>
                    <a:pt x="18560" y="5091"/>
                    <a:pt x="18637" y="5639"/>
                  </a:cubicBezTo>
                  <a:cubicBezTo>
                    <a:pt x="18675" y="5914"/>
                    <a:pt x="18713" y="6282"/>
                    <a:pt x="18751" y="6739"/>
                  </a:cubicBezTo>
                  <a:cubicBezTo>
                    <a:pt x="18827" y="7016"/>
                    <a:pt x="18943" y="7153"/>
                    <a:pt x="19096" y="7153"/>
                  </a:cubicBezTo>
                  <a:cubicBezTo>
                    <a:pt x="19324" y="7153"/>
                    <a:pt x="19400" y="6648"/>
                    <a:pt x="19324" y="5639"/>
                  </a:cubicBezTo>
                  <a:cubicBezTo>
                    <a:pt x="19324" y="4631"/>
                    <a:pt x="19555" y="4174"/>
                    <a:pt x="20012" y="4265"/>
                  </a:cubicBezTo>
                  <a:cubicBezTo>
                    <a:pt x="20128" y="4265"/>
                    <a:pt x="20260" y="4631"/>
                    <a:pt x="20415" y="5362"/>
                  </a:cubicBezTo>
                  <a:cubicBezTo>
                    <a:pt x="20529" y="6005"/>
                    <a:pt x="20585" y="6511"/>
                    <a:pt x="20585" y="6879"/>
                  </a:cubicBezTo>
                  <a:cubicBezTo>
                    <a:pt x="20585" y="6879"/>
                    <a:pt x="20585" y="7568"/>
                    <a:pt x="20585" y="7568"/>
                  </a:cubicBezTo>
                  <a:close/>
                  <a:moveTo>
                    <a:pt x="20585" y="756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5" name="AutoShape 22"/>
            <p:cNvSpPr>
              <a:spLocks/>
            </p:cNvSpPr>
            <p:nvPr/>
          </p:nvSpPr>
          <p:spPr bwMode="auto">
            <a:xfrm>
              <a:off x="7442119" y="4102447"/>
              <a:ext cx="9189" cy="10210"/>
            </a:xfrm>
            <a:custGeom>
              <a:avLst/>
              <a:gdLst/>
              <a:ahLst/>
              <a:cxnLst/>
              <a:rect l="0" t="0" r="r" b="b"/>
              <a:pathLst>
                <a:path w="21600" h="21600">
                  <a:moveTo>
                    <a:pt x="21600" y="7471"/>
                  </a:moveTo>
                  <a:cubicBezTo>
                    <a:pt x="21600" y="10800"/>
                    <a:pt x="21281" y="13423"/>
                    <a:pt x="20644" y="15364"/>
                  </a:cubicBezTo>
                  <a:cubicBezTo>
                    <a:pt x="20644" y="15640"/>
                    <a:pt x="20494" y="15916"/>
                    <a:pt x="20175" y="16192"/>
                  </a:cubicBezTo>
                  <a:cubicBezTo>
                    <a:pt x="19538" y="17304"/>
                    <a:pt x="18413" y="19107"/>
                    <a:pt x="16800" y="21600"/>
                  </a:cubicBezTo>
                  <a:cubicBezTo>
                    <a:pt x="13294" y="19383"/>
                    <a:pt x="10575" y="17580"/>
                    <a:pt x="8644" y="16192"/>
                  </a:cubicBezTo>
                  <a:cubicBezTo>
                    <a:pt x="7687" y="15640"/>
                    <a:pt x="6881" y="15088"/>
                    <a:pt x="6244" y="14535"/>
                  </a:cubicBezTo>
                  <a:cubicBezTo>
                    <a:pt x="2738" y="12042"/>
                    <a:pt x="656" y="10102"/>
                    <a:pt x="0" y="8721"/>
                  </a:cubicBezTo>
                  <a:cubicBezTo>
                    <a:pt x="1931" y="2899"/>
                    <a:pt x="3844" y="0"/>
                    <a:pt x="5775" y="0"/>
                  </a:cubicBezTo>
                  <a:cubicBezTo>
                    <a:pt x="9938" y="276"/>
                    <a:pt x="13613" y="1372"/>
                    <a:pt x="16800" y="3313"/>
                  </a:cubicBezTo>
                  <a:cubicBezTo>
                    <a:pt x="20006" y="4426"/>
                    <a:pt x="21600" y="5806"/>
                    <a:pt x="21600" y="7471"/>
                  </a:cubicBezTo>
                  <a:close/>
                  <a:moveTo>
                    <a:pt x="21600" y="747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6" name="AutoShape 23"/>
            <p:cNvSpPr>
              <a:spLocks/>
            </p:cNvSpPr>
            <p:nvPr/>
          </p:nvSpPr>
          <p:spPr bwMode="auto">
            <a:xfrm>
              <a:off x="8271177" y="3816565"/>
              <a:ext cx="112311" cy="44924"/>
            </a:xfrm>
            <a:custGeom>
              <a:avLst/>
              <a:gdLst/>
              <a:ahLst/>
              <a:cxnLst/>
              <a:rect l="0" t="0" r="r" b="b"/>
              <a:pathLst>
                <a:path w="21600" h="21600">
                  <a:moveTo>
                    <a:pt x="13382" y="10752"/>
                  </a:moveTo>
                  <a:cubicBezTo>
                    <a:pt x="13566" y="10556"/>
                    <a:pt x="13722" y="10393"/>
                    <a:pt x="13852" y="10263"/>
                  </a:cubicBezTo>
                  <a:cubicBezTo>
                    <a:pt x="14478" y="9220"/>
                    <a:pt x="15457" y="7493"/>
                    <a:pt x="16787" y="5082"/>
                  </a:cubicBezTo>
                  <a:cubicBezTo>
                    <a:pt x="18483" y="2280"/>
                    <a:pt x="20087" y="586"/>
                    <a:pt x="21600" y="0"/>
                  </a:cubicBezTo>
                  <a:cubicBezTo>
                    <a:pt x="20869" y="2019"/>
                    <a:pt x="20218" y="3844"/>
                    <a:pt x="19643" y="5473"/>
                  </a:cubicBezTo>
                  <a:cubicBezTo>
                    <a:pt x="18547" y="8535"/>
                    <a:pt x="18000" y="10556"/>
                    <a:pt x="18000" y="11533"/>
                  </a:cubicBezTo>
                  <a:cubicBezTo>
                    <a:pt x="18000" y="12250"/>
                    <a:pt x="18222" y="12967"/>
                    <a:pt x="18665" y="13683"/>
                  </a:cubicBezTo>
                  <a:cubicBezTo>
                    <a:pt x="19082" y="14400"/>
                    <a:pt x="19292" y="15344"/>
                    <a:pt x="19292" y="16517"/>
                  </a:cubicBezTo>
                  <a:cubicBezTo>
                    <a:pt x="19292" y="17820"/>
                    <a:pt x="19044" y="18928"/>
                    <a:pt x="18547" y="19841"/>
                  </a:cubicBezTo>
                  <a:cubicBezTo>
                    <a:pt x="18026" y="20753"/>
                    <a:pt x="17335" y="21209"/>
                    <a:pt x="16473" y="21209"/>
                  </a:cubicBezTo>
                  <a:cubicBezTo>
                    <a:pt x="15770" y="21209"/>
                    <a:pt x="15209" y="20493"/>
                    <a:pt x="14792" y="19059"/>
                  </a:cubicBezTo>
                  <a:cubicBezTo>
                    <a:pt x="14375" y="17560"/>
                    <a:pt x="14073" y="16811"/>
                    <a:pt x="13892" y="16811"/>
                  </a:cubicBezTo>
                  <a:cubicBezTo>
                    <a:pt x="13656" y="16811"/>
                    <a:pt x="13291" y="16713"/>
                    <a:pt x="12796" y="16517"/>
                  </a:cubicBezTo>
                  <a:cubicBezTo>
                    <a:pt x="12274" y="16322"/>
                    <a:pt x="12001" y="16224"/>
                    <a:pt x="11973" y="16224"/>
                  </a:cubicBezTo>
                  <a:cubicBezTo>
                    <a:pt x="11374" y="16224"/>
                    <a:pt x="10957" y="17137"/>
                    <a:pt x="10721" y="18961"/>
                  </a:cubicBezTo>
                  <a:cubicBezTo>
                    <a:pt x="10513" y="20720"/>
                    <a:pt x="10004" y="21600"/>
                    <a:pt x="9196" y="21600"/>
                  </a:cubicBezTo>
                  <a:cubicBezTo>
                    <a:pt x="8804" y="21600"/>
                    <a:pt x="8192" y="21144"/>
                    <a:pt x="7357" y="20231"/>
                  </a:cubicBezTo>
                  <a:cubicBezTo>
                    <a:pt x="6626" y="19254"/>
                    <a:pt x="6247" y="18766"/>
                    <a:pt x="6221" y="18766"/>
                  </a:cubicBezTo>
                  <a:cubicBezTo>
                    <a:pt x="6169" y="18766"/>
                    <a:pt x="6013" y="18961"/>
                    <a:pt x="5752" y="19352"/>
                  </a:cubicBezTo>
                  <a:cubicBezTo>
                    <a:pt x="5491" y="19678"/>
                    <a:pt x="5269" y="19841"/>
                    <a:pt x="5087" y="19841"/>
                  </a:cubicBezTo>
                  <a:cubicBezTo>
                    <a:pt x="4566" y="19841"/>
                    <a:pt x="4147" y="19254"/>
                    <a:pt x="3835" y="18082"/>
                  </a:cubicBezTo>
                  <a:cubicBezTo>
                    <a:pt x="3522" y="16909"/>
                    <a:pt x="3104" y="16289"/>
                    <a:pt x="2582" y="16224"/>
                  </a:cubicBezTo>
                  <a:cubicBezTo>
                    <a:pt x="1799" y="16095"/>
                    <a:pt x="1160" y="15573"/>
                    <a:pt x="665" y="14661"/>
                  </a:cubicBezTo>
                  <a:cubicBezTo>
                    <a:pt x="222" y="13878"/>
                    <a:pt x="0" y="12967"/>
                    <a:pt x="0" y="11924"/>
                  </a:cubicBezTo>
                  <a:cubicBezTo>
                    <a:pt x="0" y="10881"/>
                    <a:pt x="208" y="8959"/>
                    <a:pt x="625" y="6157"/>
                  </a:cubicBezTo>
                  <a:cubicBezTo>
                    <a:pt x="679" y="4723"/>
                    <a:pt x="731" y="3583"/>
                    <a:pt x="783" y="2736"/>
                  </a:cubicBezTo>
                  <a:cubicBezTo>
                    <a:pt x="861" y="1172"/>
                    <a:pt x="1108" y="390"/>
                    <a:pt x="1525" y="390"/>
                  </a:cubicBezTo>
                  <a:cubicBezTo>
                    <a:pt x="2100" y="390"/>
                    <a:pt x="2400" y="1693"/>
                    <a:pt x="2426" y="4299"/>
                  </a:cubicBezTo>
                  <a:cubicBezTo>
                    <a:pt x="2426" y="5668"/>
                    <a:pt x="2426" y="7298"/>
                    <a:pt x="2426" y="9187"/>
                  </a:cubicBezTo>
                  <a:cubicBezTo>
                    <a:pt x="2504" y="9578"/>
                    <a:pt x="2961" y="10621"/>
                    <a:pt x="3795" y="12314"/>
                  </a:cubicBezTo>
                  <a:cubicBezTo>
                    <a:pt x="4708" y="14205"/>
                    <a:pt x="5348" y="15150"/>
                    <a:pt x="5712" y="15150"/>
                  </a:cubicBezTo>
                  <a:lnTo>
                    <a:pt x="6730" y="14074"/>
                  </a:lnTo>
                  <a:cubicBezTo>
                    <a:pt x="7435" y="13293"/>
                    <a:pt x="8243" y="12868"/>
                    <a:pt x="9156" y="12804"/>
                  </a:cubicBezTo>
                  <a:cubicBezTo>
                    <a:pt x="9653" y="12739"/>
                    <a:pt x="10408" y="12444"/>
                    <a:pt x="11426" y="11924"/>
                  </a:cubicBezTo>
                  <a:cubicBezTo>
                    <a:pt x="12261" y="11467"/>
                    <a:pt x="12913" y="11077"/>
                    <a:pt x="13382" y="10752"/>
                  </a:cubicBezTo>
                  <a:close/>
                  <a:moveTo>
                    <a:pt x="13382" y="1075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7" name="AutoShape 24"/>
            <p:cNvSpPr>
              <a:spLocks/>
            </p:cNvSpPr>
            <p:nvPr/>
          </p:nvSpPr>
          <p:spPr bwMode="auto">
            <a:xfrm>
              <a:off x="7736169" y="4180043"/>
              <a:ext cx="29099" cy="19399"/>
            </a:xfrm>
            <a:custGeom>
              <a:avLst/>
              <a:gdLst/>
              <a:ahLst/>
              <a:cxnLst/>
              <a:rect l="0" t="0" r="r" b="b"/>
              <a:pathLst>
                <a:path w="21509" h="21600">
                  <a:moveTo>
                    <a:pt x="1803" y="16424"/>
                  </a:moveTo>
                  <a:cubicBezTo>
                    <a:pt x="599" y="15074"/>
                    <a:pt x="0" y="14098"/>
                    <a:pt x="0" y="13500"/>
                  </a:cubicBezTo>
                  <a:cubicBezTo>
                    <a:pt x="0" y="13047"/>
                    <a:pt x="200" y="12524"/>
                    <a:pt x="599" y="11926"/>
                  </a:cubicBezTo>
                  <a:cubicBezTo>
                    <a:pt x="898" y="11024"/>
                    <a:pt x="1204" y="10576"/>
                    <a:pt x="1503" y="10576"/>
                  </a:cubicBezTo>
                  <a:cubicBezTo>
                    <a:pt x="2302" y="10426"/>
                    <a:pt x="3259" y="9525"/>
                    <a:pt x="4357" y="7876"/>
                  </a:cubicBezTo>
                  <a:cubicBezTo>
                    <a:pt x="5261" y="6222"/>
                    <a:pt x="6315" y="5400"/>
                    <a:pt x="7519" y="5400"/>
                  </a:cubicBezTo>
                  <a:cubicBezTo>
                    <a:pt x="9322" y="5554"/>
                    <a:pt x="10878" y="4652"/>
                    <a:pt x="12176" y="2700"/>
                  </a:cubicBezTo>
                  <a:cubicBezTo>
                    <a:pt x="13479" y="897"/>
                    <a:pt x="14483" y="0"/>
                    <a:pt x="15182" y="0"/>
                  </a:cubicBezTo>
                  <a:cubicBezTo>
                    <a:pt x="16386" y="0"/>
                    <a:pt x="17742" y="1574"/>
                    <a:pt x="19245" y="4727"/>
                  </a:cubicBezTo>
                  <a:cubicBezTo>
                    <a:pt x="20848" y="7572"/>
                    <a:pt x="21600" y="9674"/>
                    <a:pt x="21500" y="11024"/>
                  </a:cubicBezTo>
                  <a:cubicBezTo>
                    <a:pt x="21400" y="18073"/>
                    <a:pt x="19592" y="21600"/>
                    <a:pt x="16086" y="21600"/>
                  </a:cubicBezTo>
                  <a:cubicBezTo>
                    <a:pt x="15288" y="21600"/>
                    <a:pt x="14836" y="20699"/>
                    <a:pt x="14736" y="18896"/>
                  </a:cubicBezTo>
                  <a:cubicBezTo>
                    <a:pt x="14636" y="17400"/>
                    <a:pt x="13432" y="16574"/>
                    <a:pt x="11124" y="16424"/>
                  </a:cubicBezTo>
                  <a:cubicBezTo>
                    <a:pt x="9821" y="16424"/>
                    <a:pt x="8823" y="16802"/>
                    <a:pt x="8118" y="17550"/>
                  </a:cubicBezTo>
                  <a:cubicBezTo>
                    <a:pt x="7419" y="18152"/>
                    <a:pt x="6515" y="18447"/>
                    <a:pt x="5408" y="18447"/>
                  </a:cubicBezTo>
                  <a:cubicBezTo>
                    <a:pt x="4210" y="18447"/>
                    <a:pt x="3006" y="17774"/>
                    <a:pt x="1803" y="16424"/>
                  </a:cubicBezTo>
                  <a:close/>
                  <a:moveTo>
                    <a:pt x="1803" y="1642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8" name="AutoShape 25"/>
            <p:cNvSpPr>
              <a:spLocks/>
            </p:cNvSpPr>
            <p:nvPr/>
          </p:nvSpPr>
          <p:spPr bwMode="auto">
            <a:xfrm>
              <a:off x="5931028" y="3073271"/>
              <a:ext cx="469153" cy="815785"/>
            </a:xfrm>
            <a:custGeom>
              <a:avLst/>
              <a:gdLst/>
              <a:ahLst/>
              <a:cxnLst/>
              <a:rect l="0" t="0" r="r" b="b"/>
              <a:pathLst>
                <a:path w="21600" h="21600">
                  <a:moveTo>
                    <a:pt x="21600" y="2322"/>
                  </a:moveTo>
                  <a:lnTo>
                    <a:pt x="14920" y="21600"/>
                  </a:lnTo>
                  <a:lnTo>
                    <a:pt x="11331" y="21265"/>
                  </a:lnTo>
                  <a:cubicBezTo>
                    <a:pt x="10210" y="21136"/>
                    <a:pt x="8810" y="20954"/>
                    <a:pt x="7131" y="20720"/>
                  </a:cubicBezTo>
                  <a:cubicBezTo>
                    <a:pt x="7119" y="20659"/>
                    <a:pt x="7094" y="20608"/>
                    <a:pt x="7056" y="20569"/>
                  </a:cubicBezTo>
                  <a:cubicBezTo>
                    <a:pt x="7000" y="20500"/>
                    <a:pt x="6893" y="20428"/>
                    <a:pt x="6737" y="20353"/>
                  </a:cubicBezTo>
                  <a:cubicBezTo>
                    <a:pt x="6655" y="20259"/>
                    <a:pt x="6589" y="20196"/>
                    <a:pt x="6539" y="20164"/>
                  </a:cubicBezTo>
                  <a:cubicBezTo>
                    <a:pt x="6477" y="20128"/>
                    <a:pt x="6423" y="20093"/>
                    <a:pt x="6380" y="20061"/>
                  </a:cubicBezTo>
                  <a:cubicBezTo>
                    <a:pt x="6298" y="20003"/>
                    <a:pt x="6257" y="19955"/>
                    <a:pt x="6257" y="19915"/>
                  </a:cubicBezTo>
                  <a:lnTo>
                    <a:pt x="6295" y="19683"/>
                  </a:lnTo>
                  <a:lnTo>
                    <a:pt x="6276" y="19607"/>
                  </a:lnTo>
                  <a:cubicBezTo>
                    <a:pt x="6220" y="19607"/>
                    <a:pt x="6157" y="19597"/>
                    <a:pt x="6088" y="19575"/>
                  </a:cubicBezTo>
                  <a:cubicBezTo>
                    <a:pt x="6013" y="19553"/>
                    <a:pt x="5975" y="19532"/>
                    <a:pt x="5975" y="19510"/>
                  </a:cubicBezTo>
                  <a:cubicBezTo>
                    <a:pt x="5975" y="19474"/>
                    <a:pt x="6051" y="19402"/>
                    <a:pt x="6201" y="19294"/>
                  </a:cubicBezTo>
                  <a:lnTo>
                    <a:pt x="6427" y="19143"/>
                  </a:lnTo>
                  <a:cubicBezTo>
                    <a:pt x="6389" y="19064"/>
                    <a:pt x="6370" y="19010"/>
                    <a:pt x="6370" y="18981"/>
                  </a:cubicBezTo>
                  <a:cubicBezTo>
                    <a:pt x="6370" y="18931"/>
                    <a:pt x="6392" y="18896"/>
                    <a:pt x="6436" y="18878"/>
                  </a:cubicBezTo>
                  <a:cubicBezTo>
                    <a:pt x="6480" y="18857"/>
                    <a:pt x="6502" y="18828"/>
                    <a:pt x="6502" y="18792"/>
                  </a:cubicBezTo>
                  <a:cubicBezTo>
                    <a:pt x="6502" y="18666"/>
                    <a:pt x="6530" y="18533"/>
                    <a:pt x="6586" y="18392"/>
                  </a:cubicBezTo>
                  <a:cubicBezTo>
                    <a:pt x="6643" y="18281"/>
                    <a:pt x="6671" y="18218"/>
                    <a:pt x="6671" y="18203"/>
                  </a:cubicBezTo>
                  <a:cubicBezTo>
                    <a:pt x="6671" y="18178"/>
                    <a:pt x="6627" y="18137"/>
                    <a:pt x="6539" y="18079"/>
                  </a:cubicBezTo>
                  <a:cubicBezTo>
                    <a:pt x="6458" y="18025"/>
                    <a:pt x="6427" y="17951"/>
                    <a:pt x="6445" y="17858"/>
                  </a:cubicBezTo>
                  <a:cubicBezTo>
                    <a:pt x="6458" y="17786"/>
                    <a:pt x="6405" y="17735"/>
                    <a:pt x="6286" y="17707"/>
                  </a:cubicBezTo>
                  <a:cubicBezTo>
                    <a:pt x="6135" y="17681"/>
                    <a:pt x="6029" y="17662"/>
                    <a:pt x="5966" y="17647"/>
                  </a:cubicBezTo>
                  <a:cubicBezTo>
                    <a:pt x="5866" y="17626"/>
                    <a:pt x="5803" y="17586"/>
                    <a:pt x="5778" y="17528"/>
                  </a:cubicBezTo>
                  <a:cubicBezTo>
                    <a:pt x="5772" y="17456"/>
                    <a:pt x="5759" y="17397"/>
                    <a:pt x="5741" y="17350"/>
                  </a:cubicBezTo>
                  <a:cubicBezTo>
                    <a:pt x="5728" y="17318"/>
                    <a:pt x="5659" y="17269"/>
                    <a:pt x="5534" y="17204"/>
                  </a:cubicBezTo>
                  <a:cubicBezTo>
                    <a:pt x="5409" y="17140"/>
                    <a:pt x="5346" y="17087"/>
                    <a:pt x="5346" y="17048"/>
                  </a:cubicBezTo>
                  <a:cubicBezTo>
                    <a:pt x="5346" y="17026"/>
                    <a:pt x="5377" y="16999"/>
                    <a:pt x="5440" y="16967"/>
                  </a:cubicBezTo>
                  <a:cubicBezTo>
                    <a:pt x="5503" y="16934"/>
                    <a:pt x="5534" y="16904"/>
                    <a:pt x="5534" y="16875"/>
                  </a:cubicBezTo>
                  <a:cubicBezTo>
                    <a:pt x="5534" y="16846"/>
                    <a:pt x="5471" y="16778"/>
                    <a:pt x="5346" y="16670"/>
                  </a:cubicBezTo>
                  <a:cubicBezTo>
                    <a:pt x="5227" y="16573"/>
                    <a:pt x="5155" y="16519"/>
                    <a:pt x="5130" y="16508"/>
                  </a:cubicBezTo>
                  <a:cubicBezTo>
                    <a:pt x="4992" y="16461"/>
                    <a:pt x="4923" y="16411"/>
                    <a:pt x="4923" y="16357"/>
                  </a:cubicBezTo>
                  <a:cubicBezTo>
                    <a:pt x="4923" y="16328"/>
                    <a:pt x="4911" y="16294"/>
                    <a:pt x="4886" y="16254"/>
                  </a:cubicBezTo>
                  <a:cubicBezTo>
                    <a:pt x="4861" y="16225"/>
                    <a:pt x="4839" y="16204"/>
                    <a:pt x="4820" y="16189"/>
                  </a:cubicBezTo>
                  <a:cubicBezTo>
                    <a:pt x="4801" y="16178"/>
                    <a:pt x="4785" y="16169"/>
                    <a:pt x="4773" y="16162"/>
                  </a:cubicBezTo>
                  <a:cubicBezTo>
                    <a:pt x="4648" y="16083"/>
                    <a:pt x="4569" y="16033"/>
                    <a:pt x="4538" y="16011"/>
                  </a:cubicBezTo>
                  <a:cubicBezTo>
                    <a:pt x="4507" y="15982"/>
                    <a:pt x="4491" y="15939"/>
                    <a:pt x="4491" y="15881"/>
                  </a:cubicBezTo>
                  <a:lnTo>
                    <a:pt x="4529" y="15644"/>
                  </a:lnTo>
                  <a:cubicBezTo>
                    <a:pt x="4529" y="15593"/>
                    <a:pt x="4504" y="15557"/>
                    <a:pt x="4453" y="15536"/>
                  </a:cubicBezTo>
                  <a:cubicBezTo>
                    <a:pt x="4385" y="15503"/>
                    <a:pt x="4328" y="15455"/>
                    <a:pt x="4284" y="15390"/>
                  </a:cubicBezTo>
                  <a:cubicBezTo>
                    <a:pt x="4272" y="15372"/>
                    <a:pt x="4250" y="15311"/>
                    <a:pt x="4219" y="15206"/>
                  </a:cubicBezTo>
                  <a:cubicBezTo>
                    <a:pt x="4206" y="15145"/>
                    <a:pt x="4165" y="15115"/>
                    <a:pt x="4096" y="15115"/>
                  </a:cubicBezTo>
                  <a:cubicBezTo>
                    <a:pt x="4009" y="15136"/>
                    <a:pt x="3933" y="15147"/>
                    <a:pt x="3871" y="15147"/>
                  </a:cubicBezTo>
                  <a:cubicBezTo>
                    <a:pt x="3764" y="15147"/>
                    <a:pt x="3711" y="15109"/>
                    <a:pt x="3711" y="15034"/>
                  </a:cubicBezTo>
                  <a:cubicBezTo>
                    <a:pt x="3711" y="15005"/>
                    <a:pt x="3721" y="14976"/>
                    <a:pt x="3739" y="14947"/>
                  </a:cubicBezTo>
                  <a:cubicBezTo>
                    <a:pt x="3758" y="14918"/>
                    <a:pt x="3767" y="14899"/>
                    <a:pt x="3767" y="14888"/>
                  </a:cubicBezTo>
                  <a:cubicBezTo>
                    <a:pt x="3767" y="14837"/>
                    <a:pt x="3724" y="14791"/>
                    <a:pt x="3636" y="14747"/>
                  </a:cubicBezTo>
                  <a:cubicBezTo>
                    <a:pt x="3548" y="14708"/>
                    <a:pt x="3504" y="14666"/>
                    <a:pt x="3504" y="14623"/>
                  </a:cubicBezTo>
                  <a:lnTo>
                    <a:pt x="3542" y="14499"/>
                  </a:lnTo>
                  <a:cubicBezTo>
                    <a:pt x="3542" y="14427"/>
                    <a:pt x="3508" y="14391"/>
                    <a:pt x="3439" y="14391"/>
                  </a:cubicBezTo>
                  <a:cubicBezTo>
                    <a:pt x="3307" y="14387"/>
                    <a:pt x="3169" y="14344"/>
                    <a:pt x="3025" y="14261"/>
                  </a:cubicBezTo>
                  <a:cubicBezTo>
                    <a:pt x="2712" y="14067"/>
                    <a:pt x="2556" y="13943"/>
                    <a:pt x="2556" y="13889"/>
                  </a:cubicBezTo>
                  <a:cubicBezTo>
                    <a:pt x="2556" y="13849"/>
                    <a:pt x="2593" y="13822"/>
                    <a:pt x="2668" y="13808"/>
                  </a:cubicBezTo>
                  <a:cubicBezTo>
                    <a:pt x="2743" y="13797"/>
                    <a:pt x="2781" y="13784"/>
                    <a:pt x="2781" y="13770"/>
                  </a:cubicBezTo>
                  <a:cubicBezTo>
                    <a:pt x="2781" y="13748"/>
                    <a:pt x="2718" y="13705"/>
                    <a:pt x="2593" y="13640"/>
                  </a:cubicBezTo>
                  <a:cubicBezTo>
                    <a:pt x="2462" y="13572"/>
                    <a:pt x="2368" y="13538"/>
                    <a:pt x="2311" y="13538"/>
                  </a:cubicBezTo>
                  <a:cubicBezTo>
                    <a:pt x="2292" y="13538"/>
                    <a:pt x="2258" y="13550"/>
                    <a:pt x="2208" y="13576"/>
                  </a:cubicBezTo>
                  <a:cubicBezTo>
                    <a:pt x="2158" y="13597"/>
                    <a:pt x="2117" y="13608"/>
                    <a:pt x="2086" y="13608"/>
                  </a:cubicBezTo>
                  <a:cubicBezTo>
                    <a:pt x="2036" y="13608"/>
                    <a:pt x="1989" y="13595"/>
                    <a:pt x="1945" y="13570"/>
                  </a:cubicBezTo>
                  <a:cubicBezTo>
                    <a:pt x="1895" y="13541"/>
                    <a:pt x="1870" y="13511"/>
                    <a:pt x="1870" y="13478"/>
                  </a:cubicBezTo>
                  <a:cubicBezTo>
                    <a:pt x="1870" y="13453"/>
                    <a:pt x="1892" y="13432"/>
                    <a:pt x="1935" y="13414"/>
                  </a:cubicBezTo>
                  <a:cubicBezTo>
                    <a:pt x="1979" y="13392"/>
                    <a:pt x="2001" y="13376"/>
                    <a:pt x="2001" y="13365"/>
                  </a:cubicBezTo>
                  <a:cubicBezTo>
                    <a:pt x="2001" y="13351"/>
                    <a:pt x="1986" y="13329"/>
                    <a:pt x="1954" y="13300"/>
                  </a:cubicBezTo>
                  <a:cubicBezTo>
                    <a:pt x="1923" y="13271"/>
                    <a:pt x="1907" y="13250"/>
                    <a:pt x="1907" y="13235"/>
                  </a:cubicBezTo>
                  <a:cubicBezTo>
                    <a:pt x="1907" y="13203"/>
                    <a:pt x="1923" y="13183"/>
                    <a:pt x="1954" y="13176"/>
                  </a:cubicBezTo>
                  <a:cubicBezTo>
                    <a:pt x="1992" y="13165"/>
                    <a:pt x="2014" y="13140"/>
                    <a:pt x="2020" y="13100"/>
                  </a:cubicBezTo>
                  <a:lnTo>
                    <a:pt x="2039" y="12884"/>
                  </a:lnTo>
                  <a:cubicBezTo>
                    <a:pt x="2039" y="12787"/>
                    <a:pt x="1986" y="12719"/>
                    <a:pt x="1879" y="12679"/>
                  </a:cubicBezTo>
                  <a:cubicBezTo>
                    <a:pt x="1766" y="12640"/>
                    <a:pt x="1710" y="12600"/>
                    <a:pt x="1710" y="12560"/>
                  </a:cubicBezTo>
                  <a:cubicBezTo>
                    <a:pt x="1754" y="12499"/>
                    <a:pt x="1776" y="12461"/>
                    <a:pt x="1776" y="12447"/>
                  </a:cubicBezTo>
                  <a:cubicBezTo>
                    <a:pt x="1776" y="12425"/>
                    <a:pt x="1760" y="12398"/>
                    <a:pt x="1729" y="12366"/>
                  </a:cubicBezTo>
                  <a:cubicBezTo>
                    <a:pt x="1691" y="12334"/>
                    <a:pt x="1672" y="12310"/>
                    <a:pt x="1672" y="12296"/>
                  </a:cubicBezTo>
                  <a:cubicBezTo>
                    <a:pt x="1672" y="12267"/>
                    <a:pt x="1688" y="12247"/>
                    <a:pt x="1719" y="12236"/>
                  </a:cubicBezTo>
                  <a:cubicBezTo>
                    <a:pt x="1751" y="12222"/>
                    <a:pt x="1766" y="12202"/>
                    <a:pt x="1766" y="12177"/>
                  </a:cubicBezTo>
                  <a:cubicBezTo>
                    <a:pt x="1610" y="12004"/>
                    <a:pt x="1491" y="11918"/>
                    <a:pt x="1409" y="11918"/>
                  </a:cubicBezTo>
                  <a:cubicBezTo>
                    <a:pt x="1384" y="11918"/>
                    <a:pt x="1347" y="11938"/>
                    <a:pt x="1297" y="11977"/>
                  </a:cubicBezTo>
                  <a:cubicBezTo>
                    <a:pt x="1246" y="12013"/>
                    <a:pt x="1193" y="12031"/>
                    <a:pt x="1137" y="12031"/>
                  </a:cubicBezTo>
                  <a:cubicBezTo>
                    <a:pt x="1012" y="12031"/>
                    <a:pt x="933" y="11950"/>
                    <a:pt x="902" y="11788"/>
                  </a:cubicBezTo>
                  <a:cubicBezTo>
                    <a:pt x="871" y="11619"/>
                    <a:pt x="799" y="11529"/>
                    <a:pt x="686" y="11518"/>
                  </a:cubicBezTo>
                  <a:cubicBezTo>
                    <a:pt x="617" y="11511"/>
                    <a:pt x="539" y="11482"/>
                    <a:pt x="451" y="11432"/>
                  </a:cubicBezTo>
                  <a:cubicBezTo>
                    <a:pt x="363" y="11378"/>
                    <a:pt x="313" y="11326"/>
                    <a:pt x="301" y="11275"/>
                  </a:cubicBezTo>
                  <a:cubicBezTo>
                    <a:pt x="288" y="11232"/>
                    <a:pt x="235" y="11192"/>
                    <a:pt x="141" y="11156"/>
                  </a:cubicBezTo>
                  <a:cubicBezTo>
                    <a:pt x="47" y="11124"/>
                    <a:pt x="0" y="11083"/>
                    <a:pt x="0" y="11032"/>
                  </a:cubicBezTo>
                  <a:cubicBezTo>
                    <a:pt x="0" y="10985"/>
                    <a:pt x="78" y="10964"/>
                    <a:pt x="235" y="10967"/>
                  </a:cubicBezTo>
                  <a:cubicBezTo>
                    <a:pt x="385" y="10971"/>
                    <a:pt x="460" y="10953"/>
                    <a:pt x="460" y="10913"/>
                  </a:cubicBezTo>
                  <a:cubicBezTo>
                    <a:pt x="460" y="10895"/>
                    <a:pt x="435" y="10876"/>
                    <a:pt x="385" y="10854"/>
                  </a:cubicBezTo>
                  <a:cubicBezTo>
                    <a:pt x="329" y="10832"/>
                    <a:pt x="301" y="10816"/>
                    <a:pt x="301" y="10805"/>
                  </a:cubicBezTo>
                  <a:cubicBezTo>
                    <a:pt x="345" y="10762"/>
                    <a:pt x="366" y="10735"/>
                    <a:pt x="366" y="10724"/>
                  </a:cubicBezTo>
                  <a:cubicBezTo>
                    <a:pt x="366" y="10710"/>
                    <a:pt x="332" y="10685"/>
                    <a:pt x="263" y="10649"/>
                  </a:cubicBezTo>
                  <a:cubicBezTo>
                    <a:pt x="219" y="10624"/>
                    <a:pt x="204" y="10595"/>
                    <a:pt x="216" y="10562"/>
                  </a:cubicBezTo>
                  <a:lnTo>
                    <a:pt x="6708" y="0"/>
                  </a:lnTo>
                  <a:cubicBezTo>
                    <a:pt x="6708" y="0"/>
                    <a:pt x="21600" y="2322"/>
                    <a:pt x="21600" y="2322"/>
                  </a:cubicBezTo>
                  <a:close/>
                  <a:moveTo>
                    <a:pt x="21600" y="232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49" name="AutoShape 26"/>
            <p:cNvSpPr>
              <a:spLocks/>
            </p:cNvSpPr>
            <p:nvPr/>
          </p:nvSpPr>
          <p:spPr bwMode="auto">
            <a:xfrm>
              <a:off x="5649230" y="4241304"/>
              <a:ext cx="336933" cy="531945"/>
            </a:xfrm>
            <a:custGeom>
              <a:avLst/>
              <a:gdLst/>
              <a:ahLst/>
              <a:cxnLst/>
              <a:rect l="0" t="0" r="r" b="b"/>
              <a:pathLst>
                <a:path w="21600" h="21600">
                  <a:moveTo>
                    <a:pt x="13632" y="21600"/>
                  </a:moveTo>
                  <a:cubicBezTo>
                    <a:pt x="13380" y="21412"/>
                    <a:pt x="8835" y="16860"/>
                    <a:pt x="0" y="7943"/>
                  </a:cubicBezTo>
                  <a:cubicBezTo>
                    <a:pt x="253" y="7418"/>
                    <a:pt x="1374" y="4770"/>
                    <a:pt x="3362" y="0"/>
                  </a:cubicBezTo>
                  <a:cubicBezTo>
                    <a:pt x="7209" y="679"/>
                    <a:pt x="10253" y="1193"/>
                    <a:pt x="12494" y="1540"/>
                  </a:cubicBezTo>
                  <a:cubicBezTo>
                    <a:pt x="13262" y="1667"/>
                    <a:pt x="13933" y="1770"/>
                    <a:pt x="14509" y="1847"/>
                  </a:cubicBezTo>
                  <a:cubicBezTo>
                    <a:pt x="17021" y="2206"/>
                    <a:pt x="19385" y="2526"/>
                    <a:pt x="21600" y="2808"/>
                  </a:cubicBezTo>
                  <a:lnTo>
                    <a:pt x="17296" y="16366"/>
                  </a:lnTo>
                  <a:lnTo>
                    <a:pt x="16602" y="18536"/>
                  </a:lnTo>
                  <a:lnTo>
                    <a:pt x="16589" y="18561"/>
                  </a:lnTo>
                  <a:cubicBezTo>
                    <a:pt x="16467" y="18737"/>
                    <a:pt x="16397" y="18839"/>
                    <a:pt x="16380" y="18867"/>
                  </a:cubicBezTo>
                  <a:cubicBezTo>
                    <a:pt x="16258" y="19000"/>
                    <a:pt x="16123" y="19063"/>
                    <a:pt x="15974" y="19057"/>
                  </a:cubicBezTo>
                  <a:cubicBezTo>
                    <a:pt x="15878" y="19057"/>
                    <a:pt x="15800" y="19008"/>
                    <a:pt x="15739" y="18908"/>
                  </a:cubicBezTo>
                  <a:cubicBezTo>
                    <a:pt x="15678" y="18809"/>
                    <a:pt x="15599" y="18751"/>
                    <a:pt x="15503" y="18734"/>
                  </a:cubicBezTo>
                  <a:cubicBezTo>
                    <a:pt x="15346" y="18723"/>
                    <a:pt x="15211" y="18693"/>
                    <a:pt x="15098" y="18643"/>
                  </a:cubicBezTo>
                  <a:cubicBezTo>
                    <a:pt x="15002" y="18588"/>
                    <a:pt x="14902" y="18561"/>
                    <a:pt x="14797" y="18561"/>
                  </a:cubicBezTo>
                  <a:cubicBezTo>
                    <a:pt x="14622" y="18566"/>
                    <a:pt x="14461" y="18632"/>
                    <a:pt x="14313" y="18759"/>
                  </a:cubicBezTo>
                  <a:cubicBezTo>
                    <a:pt x="14182" y="18870"/>
                    <a:pt x="14112" y="18966"/>
                    <a:pt x="14104" y="19049"/>
                  </a:cubicBezTo>
                  <a:cubicBezTo>
                    <a:pt x="14104" y="19099"/>
                    <a:pt x="14138" y="19132"/>
                    <a:pt x="14208" y="19148"/>
                  </a:cubicBezTo>
                  <a:cubicBezTo>
                    <a:pt x="14269" y="19171"/>
                    <a:pt x="14300" y="19201"/>
                    <a:pt x="14300" y="19240"/>
                  </a:cubicBezTo>
                  <a:cubicBezTo>
                    <a:pt x="14300" y="19262"/>
                    <a:pt x="14252" y="19309"/>
                    <a:pt x="14156" y="19380"/>
                  </a:cubicBezTo>
                  <a:cubicBezTo>
                    <a:pt x="14034" y="19458"/>
                    <a:pt x="13973" y="19541"/>
                    <a:pt x="13973" y="19629"/>
                  </a:cubicBezTo>
                  <a:cubicBezTo>
                    <a:pt x="13973" y="19651"/>
                    <a:pt x="14008" y="19695"/>
                    <a:pt x="14077" y="19761"/>
                  </a:cubicBezTo>
                  <a:cubicBezTo>
                    <a:pt x="14156" y="19833"/>
                    <a:pt x="14195" y="19902"/>
                    <a:pt x="14195" y="19968"/>
                  </a:cubicBezTo>
                  <a:cubicBezTo>
                    <a:pt x="14195" y="19985"/>
                    <a:pt x="14134" y="20026"/>
                    <a:pt x="14012" y="20093"/>
                  </a:cubicBezTo>
                  <a:cubicBezTo>
                    <a:pt x="13890" y="20154"/>
                    <a:pt x="13829" y="20258"/>
                    <a:pt x="13829" y="20407"/>
                  </a:cubicBezTo>
                  <a:cubicBezTo>
                    <a:pt x="13829" y="20457"/>
                    <a:pt x="13842" y="20523"/>
                    <a:pt x="13868" y="20606"/>
                  </a:cubicBezTo>
                  <a:cubicBezTo>
                    <a:pt x="14051" y="20562"/>
                    <a:pt x="14138" y="20639"/>
                    <a:pt x="14130" y="20838"/>
                  </a:cubicBezTo>
                  <a:cubicBezTo>
                    <a:pt x="14130" y="20982"/>
                    <a:pt x="14034" y="21139"/>
                    <a:pt x="13842" y="21310"/>
                  </a:cubicBezTo>
                  <a:cubicBezTo>
                    <a:pt x="13746" y="21398"/>
                    <a:pt x="13676" y="21495"/>
                    <a:pt x="13632" y="21600"/>
                  </a:cubicBezTo>
                  <a:close/>
                  <a:moveTo>
                    <a:pt x="13632"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0" name="AutoShape 27"/>
            <p:cNvSpPr>
              <a:spLocks/>
            </p:cNvSpPr>
            <p:nvPr/>
          </p:nvSpPr>
          <p:spPr bwMode="auto">
            <a:xfrm>
              <a:off x="7507464" y="4727303"/>
              <a:ext cx="103122" cy="13784"/>
            </a:xfrm>
            <a:custGeom>
              <a:avLst/>
              <a:gdLst/>
              <a:ahLst/>
              <a:cxnLst/>
              <a:rect l="0" t="0" r="r" b="b"/>
              <a:pathLst>
                <a:path w="21600" h="21600">
                  <a:moveTo>
                    <a:pt x="0" y="21600"/>
                  </a:moveTo>
                  <a:lnTo>
                    <a:pt x="9969" y="12205"/>
                  </a:lnTo>
                  <a:cubicBezTo>
                    <a:pt x="16757" y="5521"/>
                    <a:pt x="20635" y="1457"/>
                    <a:pt x="21600" y="0"/>
                  </a:cubicBezTo>
                  <a:cubicBezTo>
                    <a:pt x="20635" y="1457"/>
                    <a:pt x="16757" y="5521"/>
                    <a:pt x="9969" y="12205"/>
                  </a:cubicBezTo>
                  <a:cubicBezTo>
                    <a:pt x="9969" y="12205"/>
                    <a:pt x="0" y="21600"/>
                    <a:pt x="0" y="21600"/>
                  </a:cubicBezTo>
                  <a:close/>
                  <a:moveTo>
                    <a:pt x="0"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1" name="AutoShape 28"/>
            <p:cNvSpPr>
              <a:spLocks/>
            </p:cNvSpPr>
            <p:nvPr/>
          </p:nvSpPr>
          <p:spPr bwMode="auto">
            <a:xfrm>
              <a:off x="7082724" y="5254143"/>
              <a:ext cx="17868" cy="12252"/>
            </a:xfrm>
            <a:custGeom>
              <a:avLst/>
              <a:gdLst/>
              <a:ahLst/>
              <a:cxnLst/>
              <a:rect l="0" t="0" r="r" b="b"/>
              <a:pathLst>
                <a:path w="21600" h="21376">
                  <a:moveTo>
                    <a:pt x="4371" y="2451"/>
                  </a:moveTo>
                  <a:cubicBezTo>
                    <a:pt x="6960" y="815"/>
                    <a:pt x="9141" y="0"/>
                    <a:pt x="10923" y="0"/>
                  </a:cubicBezTo>
                  <a:cubicBezTo>
                    <a:pt x="12545" y="0"/>
                    <a:pt x="13834" y="582"/>
                    <a:pt x="14811" y="1753"/>
                  </a:cubicBezTo>
                  <a:cubicBezTo>
                    <a:pt x="16423" y="3622"/>
                    <a:pt x="17883" y="4553"/>
                    <a:pt x="19173" y="4553"/>
                  </a:cubicBezTo>
                  <a:cubicBezTo>
                    <a:pt x="20794" y="4792"/>
                    <a:pt x="21600" y="5840"/>
                    <a:pt x="21600" y="7709"/>
                  </a:cubicBezTo>
                  <a:cubicBezTo>
                    <a:pt x="18367" y="17047"/>
                    <a:pt x="15617" y="21600"/>
                    <a:pt x="13351" y="21367"/>
                  </a:cubicBezTo>
                  <a:cubicBezTo>
                    <a:pt x="13189" y="21367"/>
                    <a:pt x="10923" y="19382"/>
                    <a:pt x="6552" y="15418"/>
                  </a:cubicBezTo>
                  <a:cubicBezTo>
                    <a:pt x="2181" y="11440"/>
                    <a:pt x="0" y="9338"/>
                    <a:pt x="0" y="9106"/>
                  </a:cubicBezTo>
                  <a:cubicBezTo>
                    <a:pt x="0" y="6545"/>
                    <a:pt x="1460" y="4320"/>
                    <a:pt x="4371" y="2451"/>
                  </a:cubicBezTo>
                  <a:close/>
                  <a:moveTo>
                    <a:pt x="4371" y="245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2" name="AutoShape 29"/>
            <p:cNvSpPr>
              <a:spLocks/>
            </p:cNvSpPr>
            <p:nvPr/>
          </p:nvSpPr>
          <p:spPr bwMode="auto">
            <a:xfrm>
              <a:off x="7233834" y="5213303"/>
              <a:ext cx="7147" cy="6637"/>
            </a:xfrm>
            <a:custGeom>
              <a:avLst/>
              <a:gdLst/>
              <a:ahLst/>
              <a:cxnLst/>
              <a:rect l="0" t="0" r="r" b="b"/>
              <a:pathLst>
                <a:path w="21600" h="21600">
                  <a:moveTo>
                    <a:pt x="20371" y="3939"/>
                  </a:moveTo>
                  <a:cubicBezTo>
                    <a:pt x="21190" y="4374"/>
                    <a:pt x="21600" y="5461"/>
                    <a:pt x="21600" y="7213"/>
                  </a:cubicBezTo>
                  <a:cubicBezTo>
                    <a:pt x="21600" y="9822"/>
                    <a:pt x="19961" y="12878"/>
                    <a:pt x="16658" y="16357"/>
                  </a:cubicBezTo>
                  <a:cubicBezTo>
                    <a:pt x="13379" y="19848"/>
                    <a:pt x="10704" y="21600"/>
                    <a:pt x="8654" y="21600"/>
                  </a:cubicBezTo>
                  <a:cubicBezTo>
                    <a:pt x="6581" y="21600"/>
                    <a:pt x="4749" y="20948"/>
                    <a:pt x="3086" y="19631"/>
                  </a:cubicBezTo>
                  <a:cubicBezTo>
                    <a:pt x="1037" y="17891"/>
                    <a:pt x="0" y="16139"/>
                    <a:pt x="0" y="14413"/>
                  </a:cubicBezTo>
                  <a:cubicBezTo>
                    <a:pt x="0" y="10039"/>
                    <a:pt x="1446" y="6548"/>
                    <a:pt x="4315" y="3939"/>
                  </a:cubicBezTo>
                  <a:cubicBezTo>
                    <a:pt x="7618" y="1317"/>
                    <a:pt x="10704" y="0"/>
                    <a:pt x="13572" y="0"/>
                  </a:cubicBezTo>
                  <a:cubicBezTo>
                    <a:pt x="15236" y="448"/>
                    <a:pt x="16658" y="882"/>
                    <a:pt x="17912" y="1317"/>
                  </a:cubicBezTo>
                  <a:cubicBezTo>
                    <a:pt x="18731" y="1752"/>
                    <a:pt x="19551" y="2404"/>
                    <a:pt x="20371" y="3274"/>
                  </a:cubicBezTo>
                  <a:cubicBezTo>
                    <a:pt x="20371" y="3274"/>
                    <a:pt x="20371" y="3939"/>
                    <a:pt x="20371" y="3939"/>
                  </a:cubicBezTo>
                  <a:close/>
                  <a:moveTo>
                    <a:pt x="20371" y="393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3" name="AutoShape 30"/>
            <p:cNvSpPr>
              <a:spLocks/>
            </p:cNvSpPr>
            <p:nvPr/>
          </p:nvSpPr>
          <p:spPr bwMode="auto">
            <a:xfrm>
              <a:off x="6939783" y="1598936"/>
              <a:ext cx="280777" cy="501825"/>
            </a:xfrm>
            <a:custGeom>
              <a:avLst/>
              <a:gdLst/>
              <a:ahLst/>
              <a:cxnLst/>
              <a:rect l="0" t="0" r="r" b="b"/>
              <a:pathLst>
                <a:path w="21600" h="21600">
                  <a:moveTo>
                    <a:pt x="18490" y="15430"/>
                  </a:moveTo>
                  <a:cubicBezTo>
                    <a:pt x="18479" y="15430"/>
                    <a:pt x="18469" y="15430"/>
                    <a:pt x="18458" y="15430"/>
                  </a:cubicBezTo>
                  <a:cubicBezTo>
                    <a:pt x="18448" y="15430"/>
                    <a:pt x="18411" y="15444"/>
                    <a:pt x="18348" y="15474"/>
                  </a:cubicBezTo>
                  <a:cubicBezTo>
                    <a:pt x="18275" y="15497"/>
                    <a:pt x="18233" y="15523"/>
                    <a:pt x="18223" y="15553"/>
                  </a:cubicBezTo>
                  <a:cubicBezTo>
                    <a:pt x="17961" y="15635"/>
                    <a:pt x="17751" y="15693"/>
                    <a:pt x="17594" y="15728"/>
                  </a:cubicBezTo>
                  <a:cubicBezTo>
                    <a:pt x="17437" y="15763"/>
                    <a:pt x="17265" y="15790"/>
                    <a:pt x="17076" y="15807"/>
                  </a:cubicBezTo>
                  <a:cubicBezTo>
                    <a:pt x="16793" y="15807"/>
                    <a:pt x="16600" y="15819"/>
                    <a:pt x="16495" y="15842"/>
                  </a:cubicBezTo>
                  <a:cubicBezTo>
                    <a:pt x="16327" y="15872"/>
                    <a:pt x="16244" y="15962"/>
                    <a:pt x="16244" y="16114"/>
                  </a:cubicBezTo>
                  <a:cubicBezTo>
                    <a:pt x="16244" y="16196"/>
                    <a:pt x="16411" y="16319"/>
                    <a:pt x="16746" y="16483"/>
                  </a:cubicBezTo>
                  <a:cubicBezTo>
                    <a:pt x="17081" y="16641"/>
                    <a:pt x="17249" y="16808"/>
                    <a:pt x="17249" y="16983"/>
                  </a:cubicBezTo>
                  <a:cubicBezTo>
                    <a:pt x="17249" y="17065"/>
                    <a:pt x="17154" y="17185"/>
                    <a:pt x="16966" y="17343"/>
                  </a:cubicBezTo>
                  <a:cubicBezTo>
                    <a:pt x="16788" y="17484"/>
                    <a:pt x="16631" y="17580"/>
                    <a:pt x="16495" y="17633"/>
                  </a:cubicBezTo>
                  <a:cubicBezTo>
                    <a:pt x="15636" y="17849"/>
                    <a:pt x="15112" y="17958"/>
                    <a:pt x="14924" y="17958"/>
                  </a:cubicBezTo>
                  <a:cubicBezTo>
                    <a:pt x="14704" y="17958"/>
                    <a:pt x="14442" y="17908"/>
                    <a:pt x="14138" y="17808"/>
                  </a:cubicBezTo>
                  <a:cubicBezTo>
                    <a:pt x="13835" y="17703"/>
                    <a:pt x="13609" y="17650"/>
                    <a:pt x="13463" y="17650"/>
                  </a:cubicBezTo>
                  <a:cubicBezTo>
                    <a:pt x="13411" y="17650"/>
                    <a:pt x="13348" y="17659"/>
                    <a:pt x="13274" y="17677"/>
                  </a:cubicBezTo>
                  <a:cubicBezTo>
                    <a:pt x="13170" y="17700"/>
                    <a:pt x="13117" y="17732"/>
                    <a:pt x="13117" y="17773"/>
                  </a:cubicBezTo>
                  <a:cubicBezTo>
                    <a:pt x="13117" y="17797"/>
                    <a:pt x="13180" y="17838"/>
                    <a:pt x="13306" y="17896"/>
                  </a:cubicBezTo>
                  <a:cubicBezTo>
                    <a:pt x="13421" y="17955"/>
                    <a:pt x="13479" y="18001"/>
                    <a:pt x="13479" y="18037"/>
                  </a:cubicBezTo>
                  <a:cubicBezTo>
                    <a:pt x="13479" y="18101"/>
                    <a:pt x="13369" y="18162"/>
                    <a:pt x="13149" y="18221"/>
                  </a:cubicBezTo>
                  <a:cubicBezTo>
                    <a:pt x="12918" y="18279"/>
                    <a:pt x="12798" y="18338"/>
                    <a:pt x="12788" y="18396"/>
                  </a:cubicBezTo>
                  <a:cubicBezTo>
                    <a:pt x="12987" y="18396"/>
                    <a:pt x="13091" y="18461"/>
                    <a:pt x="13102" y="18590"/>
                  </a:cubicBezTo>
                  <a:cubicBezTo>
                    <a:pt x="13112" y="18712"/>
                    <a:pt x="13196" y="18774"/>
                    <a:pt x="13353" y="18774"/>
                  </a:cubicBezTo>
                  <a:cubicBezTo>
                    <a:pt x="13406" y="18774"/>
                    <a:pt x="13615" y="18698"/>
                    <a:pt x="13981" y="18546"/>
                  </a:cubicBezTo>
                  <a:cubicBezTo>
                    <a:pt x="14359" y="18394"/>
                    <a:pt x="14626" y="18317"/>
                    <a:pt x="14783" y="18317"/>
                  </a:cubicBezTo>
                  <a:cubicBezTo>
                    <a:pt x="14898" y="18317"/>
                    <a:pt x="14981" y="18358"/>
                    <a:pt x="15034" y="18440"/>
                  </a:cubicBezTo>
                  <a:cubicBezTo>
                    <a:pt x="15065" y="18487"/>
                    <a:pt x="15112" y="18554"/>
                    <a:pt x="15175" y="18642"/>
                  </a:cubicBezTo>
                  <a:cubicBezTo>
                    <a:pt x="15217" y="18625"/>
                    <a:pt x="15364" y="18525"/>
                    <a:pt x="15615" y="18344"/>
                  </a:cubicBezTo>
                  <a:cubicBezTo>
                    <a:pt x="15752" y="18244"/>
                    <a:pt x="15961" y="18195"/>
                    <a:pt x="16244" y="18195"/>
                  </a:cubicBezTo>
                  <a:cubicBezTo>
                    <a:pt x="16505" y="18195"/>
                    <a:pt x="16636" y="18233"/>
                    <a:pt x="16636" y="18309"/>
                  </a:cubicBezTo>
                  <a:cubicBezTo>
                    <a:pt x="16636" y="18355"/>
                    <a:pt x="16594" y="18423"/>
                    <a:pt x="16511" y="18510"/>
                  </a:cubicBezTo>
                  <a:cubicBezTo>
                    <a:pt x="16416" y="18604"/>
                    <a:pt x="16369" y="18680"/>
                    <a:pt x="16369" y="18739"/>
                  </a:cubicBezTo>
                  <a:cubicBezTo>
                    <a:pt x="16369" y="18815"/>
                    <a:pt x="16374" y="18853"/>
                    <a:pt x="16385" y="18853"/>
                  </a:cubicBezTo>
                  <a:cubicBezTo>
                    <a:pt x="16416" y="18859"/>
                    <a:pt x="16531" y="18862"/>
                    <a:pt x="16730" y="18862"/>
                  </a:cubicBezTo>
                  <a:cubicBezTo>
                    <a:pt x="16773" y="18862"/>
                    <a:pt x="16835" y="18897"/>
                    <a:pt x="16919" y="18967"/>
                  </a:cubicBezTo>
                  <a:cubicBezTo>
                    <a:pt x="17003" y="19031"/>
                    <a:pt x="17060" y="19063"/>
                    <a:pt x="17092" y="19063"/>
                  </a:cubicBezTo>
                  <a:cubicBezTo>
                    <a:pt x="17102" y="19063"/>
                    <a:pt x="17191" y="18987"/>
                    <a:pt x="17359" y="18835"/>
                  </a:cubicBezTo>
                  <a:cubicBezTo>
                    <a:pt x="17516" y="18683"/>
                    <a:pt x="17720" y="18607"/>
                    <a:pt x="17972" y="18607"/>
                  </a:cubicBezTo>
                  <a:cubicBezTo>
                    <a:pt x="18233" y="18607"/>
                    <a:pt x="18364" y="18674"/>
                    <a:pt x="18364" y="18809"/>
                  </a:cubicBezTo>
                  <a:cubicBezTo>
                    <a:pt x="18364" y="18873"/>
                    <a:pt x="18385" y="18943"/>
                    <a:pt x="18427" y="19020"/>
                  </a:cubicBezTo>
                  <a:cubicBezTo>
                    <a:pt x="18479" y="19096"/>
                    <a:pt x="18505" y="19166"/>
                    <a:pt x="18505" y="19230"/>
                  </a:cubicBezTo>
                  <a:cubicBezTo>
                    <a:pt x="18505" y="19429"/>
                    <a:pt x="18427" y="19608"/>
                    <a:pt x="18270" y="19766"/>
                  </a:cubicBezTo>
                  <a:cubicBezTo>
                    <a:pt x="18113" y="19918"/>
                    <a:pt x="17940" y="19994"/>
                    <a:pt x="17751" y="19994"/>
                  </a:cubicBezTo>
                  <a:cubicBezTo>
                    <a:pt x="17615" y="19959"/>
                    <a:pt x="17526" y="19941"/>
                    <a:pt x="17484" y="19941"/>
                  </a:cubicBezTo>
                  <a:cubicBezTo>
                    <a:pt x="17443" y="19941"/>
                    <a:pt x="17338" y="20023"/>
                    <a:pt x="17170" y="20187"/>
                  </a:cubicBezTo>
                  <a:cubicBezTo>
                    <a:pt x="16982" y="20380"/>
                    <a:pt x="16856" y="20503"/>
                    <a:pt x="16793" y="20556"/>
                  </a:cubicBezTo>
                  <a:cubicBezTo>
                    <a:pt x="16657" y="20667"/>
                    <a:pt x="16479" y="20790"/>
                    <a:pt x="16259" y="20924"/>
                  </a:cubicBezTo>
                  <a:cubicBezTo>
                    <a:pt x="15945" y="21111"/>
                    <a:pt x="15715" y="21205"/>
                    <a:pt x="15568" y="21205"/>
                  </a:cubicBezTo>
                  <a:cubicBezTo>
                    <a:pt x="15537" y="21205"/>
                    <a:pt x="15453" y="21079"/>
                    <a:pt x="15316" y="20828"/>
                  </a:cubicBezTo>
                  <a:cubicBezTo>
                    <a:pt x="15180" y="20576"/>
                    <a:pt x="15045" y="20450"/>
                    <a:pt x="14908" y="20450"/>
                  </a:cubicBezTo>
                  <a:cubicBezTo>
                    <a:pt x="14824" y="20450"/>
                    <a:pt x="14699" y="20465"/>
                    <a:pt x="14531" y="20494"/>
                  </a:cubicBezTo>
                  <a:cubicBezTo>
                    <a:pt x="14363" y="20523"/>
                    <a:pt x="14264" y="20538"/>
                    <a:pt x="14233" y="20538"/>
                  </a:cubicBezTo>
                  <a:cubicBezTo>
                    <a:pt x="13992" y="20538"/>
                    <a:pt x="13861" y="20447"/>
                    <a:pt x="13840" y="20266"/>
                  </a:cubicBezTo>
                  <a:cubicBezTo>
                    <a:pt x="13830" y="20085"/>
                    <a:pt x="13588" y="19994"/>
                    <a:pt x="13117" y="19994"/>
                  </a:cubicBezTo>
                  <a:cubicBezTo>
                    <a:pt x="13055" y="20006"/>
                    <a:pt x="13013" y="20011"/>
                    <a:pt x="12991" y="20011"/>
                  </a:cubicBezTo>
                  <a:cubicBezTo>
                    <a:pt x="13044" y="20105"/>
                    <a:pt x="13175" y="20202"/>
                    <a:pt x="13384" y="20301"/>
                  </a:cubicBezTo>
                  <a:cubicBezTo>
                    <a:pt x="13552" y="20383"/>
                    <a:pt x="13636" y="20477"/>
                    <a:pt x="13636" y="20582"/>
                  </a:cubicBezTo>
                  <a:cubicBezTo>
                    <a:pt x="13636" y="20623"/>
                    <a:pt x="13604" y="20667"/>
                    <a:pt x="13541" y="20714"/>
                  </a:cubicBezTo>
                  <a:cubicBezTo>
                    <a:pt x="13468" y="20766"/>
                    <a:pt x="13379" y="20793"/>
                    <a:pt x="13274" y="20793"/>
                  </a:cubicBezTo>
                  <a:cubicBezTo>
                    <a:pt x="13138" y="20793"/>
                    <a:pt x="12918" y="20699"/>
                    <a:pt x="12615" y="20512"/>
                  </a:cubicBezTo>
                  <a:cubicBezTo>
                    <a:pt x="12321" y="20307"/>
                    <a:pt x="12143" y="20190"/>
                    <a:pt x="12081" y="20161"/>
                  </a:cubicBezTo>
                  <a:lnTo>
                    <a:pt x="11924" y="20161"/>
                  </a:lnTo>
                  <a:cubicBezTo>
                    <a:pt x="11934" y="20172"/>
                    <a:pt x="12028" y="20263"/>
                    <a:pt x="12206" y="20433"/>
                  </a:cubicBezTo>
                  <a:cubicBezTo>
                    <a:pt x="12385" y="20608"/>
                    <a:pt x="12474" y="20719"/>
                    <a:pt x="12474" y="20766"/>
                  </a:cubicBezTo>
                  <a:cubicBezTo>
                    <a:pt x="12474" y="20784"/>
                    <a:pt x="12453" y="20804"/>
                    <a:pt x="12410" y="20828"/>
                  </a:cubicBezTo>
                  <a:cubicBezTo>
                    <a:pt x="12369" y="20851"/>
                    <a:pt x="12327" y="20863"/>
                    <a:pt x="12285" y="20863"/>
                  </a:cubicBezTo>
                  <a:cubicBezTo>
                    <a:pt x="11949" y="20863"/>
                    <a:pt x="11614" y="20790"/>
                    <a:pt x="11279" y="20643"/>
                  </a:cubicBezTo>
                  <a:cubicBezTo>
                    <a:pt x="11007" y="20497"/>
                    <a:pt x="10855" y="20424"/>
                    <a:pt x="10824" y="20424"/>
                  </a:cubicBezTo>
                  <a:cubicBezTo>
                    <a:pt x="10782" y="20441"/>
                    <a:pt x="10750" y="20450"/>
                    <a:pt x="10730" y="20450"/>
                  </a:cubicBezTo>
                  <a:cubicBezTo>
                    <a:pt x="10667" y="20637"/>
                    <a:pt x="10635" y="20737"/>
                    <a:pt x="10635" y="20749"/>
                  </a:cubicBezTo>
                  <a:cubicBezTo>
                    <a:pt x="10583" y="20825"/>
                    <a:pt x="10484" y="20863"/>
                    <a:pt x="10337" y="20863"/>
                  </a:cubicBezTo>
                  <a:cubicBezTo>
                    <a:pt x="10274" y="20863"/>
                    <a:pt x="10180" y="20839"/>
                    <a:pt x="10054" y="20793"/>
                  </a:cubicBezTo>
                  <a:cubicBezTo>
                    <a:pt x="9928" y="20752"/>
                    <a:pt x="9834" y="20737"/>
                    <a:pt x="9771" y="20749"/>
                  </a:cubicBezTo>
                  <a:cubicBezTo>
                    <a:pt x="9771" y="20760"/>
                    <a:pt x="9761" y="20781"/>
                    <a:pt x="9740" y="20810"/>
                  </a:cubicBezTo>
                  <a:cubicBezTo>
                    <a:pt x="9740" y="20886"/>
                    <a:pt x="9871" y="20977"/>
                    <a:pt x="10133" y="21082"/>
                  </a:cubicBezTo>
                  <a:cubicBezTo>
                    <a:pt x="10384" y="21193"/>
                    <a:pt x="10510" y="21293"/>
                    <a:pt x="10510" y="21381"/>
                  </a:cubicBezTo>
                  <a:cubicBezTo>
                    <a:pt x="10510" y="21427"/>
                    <a:pt x="10442" y="21465"/>
                    <a:pt x="10306" y="21495"/>
                  </a:cubicBezTo>
                  <a:cubicBezTo>
                    <a:pt x="10190" y="21518"/>
                    <a:pt x="10075" y="21530"/>
                    <a:pt x="9960" y="21530"/>
                  </a:cubicBezTo>
                  <a:cubicBezTo>
                    <a:pt x="9510" y="21530"/>
                    <a:pt x="9038" y="21389"/>
                    <a:pt x="8546" y="21108"/>
                  </a:cubicBezTo>
                  <a:cubicBezTo>
                    <a:pt x="8127" y="20822"/>
                    <a:pt x="7881" y="20678"/>
                    <a:pt x="7807" y="20678"/>
                  </a:cubicBezTo>
                  <a:cubicBezTo>
                    <a:pt x="7682" y="20678"/>
                    <a:pt x="7625" y="20766"/>
                    <a:pt x="7635" y="20942"/>
                  </a:cubicBezTo>
                  <a:cubicBezTo>
                    <a:pt x="7656" y="21117"/>
                    <a:pt x="7567" y="21205"/>
                    <a:pt x="7368" y="21205"/>
                  </a:cubicBezTo>
                  <a:cubicBezTo>
                    <a:pt x="7347" y="21205"/>
                    <a:pt x="7237" y="21158"/>
                    <a:pt x="7038" y="21065"/>
                  </a:cubicBezTo>
                  <a:cubicBezTo>
                    <a:pt x="6860" y="20977"/>
                    <a:pt x="6740" y="20915"/>
                    <a:pt x="6677" y="20880"/>
                  </a:cubicBezTo>
                  <a:cubicBezTo>
                    <a:pt x="6593" y="20892"/>
                    <a:pt x="6540" y="20924"/>
                    <a:pt x="6519" y="20977"/>
                  </a:cubicBezTo>
                  <a:cubicBezTo>
                    <a:pt x="6509" y="20989"/>
                    <a:pt x="6504" y="21035"/>
                    <a:pt x="6504" y="21117"/>
                  </a:cubicBezTo>
                  <a:cubicBezTo>
                    <a:pt x="6504" y="21439"/>
                    <a:pt x="6383" y="21600"/>
                    <a:pt x="6143" y="21600"/>
                  </a:cubicBezTo>
                  <a:cubicBezTo>
                    <a:pt x="5829" y="21600"/>
                    <a:pt x="5630" y="21471"/>
                    <a:pt x="5546" y="21214"/>
                  </a:cubicBezTo>
                  <a:cubicBezTo>
                    <a:pt x="5441" y="20886"/>
                    <a:pt x="5331" y="20690"/>
                    <a:pt x="5216" y="20626"/>
                  </a:cubicBezTo>
                  <a:cubicBezTo>
                    <a:pt x="5216" y="20637"/>
                    <a:pt x="5205" y="20643"/>
                    <a:pt x="5184" y="20643"/>
                  </a:cubicBezTo>
                  <a:cubicBezTo>
                    <a:pt x="5143" y="20737"/>
                    <a:pt x="5111" y="20880"/>
                    <a:pt x="5090" y="21073"/>
                  </a:cubicBezTo>
                  <a:cubicBezTo>
                    <a:pt x="5038" y="21220"/>
                    <a:pt x="4896" y="21293"/>
                    <a:pt x="4666" y="21293"/>
                  </a:cubicBezTo>
                  <a:cubicBezTo>
                    <a:pt x="4488" y="21293"/>
                    <a:pt x="4331" y="21220"/>
                    <a:pt x="4194" y="21073"/>
                  </a:cubicBezTo>
                  <a:cubicBezTo>
                    <a:pt x="4059" y="20933"/>
                    <a:pt x="3991" y="20778"/>
                    <a:pt x="3991" y="20608"/>
                  </a:cubicBezTo>
                  <a:cubicBezTo>
                    <a:pt x="3991" y="20439"/>
                    <a:pt x="4153" y="20254"/>
                    <a:pt x="4477" y="20055"/>
                  </a:cubicBezTo>
                  <a:cubicBezTo>
                    <a:pt x="4708" y="19915"/>
                    <a:pt x="4975" y="19792"/>
                    <a:pt x="5279" y="19687"/>
                  </a:cubicBezTo>
                  <a:cubicBezTo>
                    <a:pt x="5624" y="19564"/>
                    <a:pt x="6006" y="19461"/>
                    <a:pt x="6426" y="19379"/>
                  </a:cubicBezTo>
                  <a:cubicBezTo>
                    <a:pt x="7022" y="19268"/>
                    <a:pt x="7352" y="19204"/>
                    <a:pt x="7415" y="19186"/>
                  </a:cubicBezTo>
                  <a:cubicBezTo>
                    <a:pt x="7383" y="19122"/>
                    <a:pt x="7310" y="19063"/>
                    <a:pt x="7195" y="19011"/>
                  </a:cubicBezTo>
                  <a:cubicBezTo>
                    <a:pt x="7101" y="18958"/>
                    <a:pt x="7054" y="18905"/>
                    <a:pt x="7054" y="18853"/>
                  </a:cubicBezTo>
                  <a:lnTo>
                    <a:pt x="7148" y="18607"/>
                  </a:lnTo>
                  <a:cubicBezTo>
                    <a:pt x="7148" y="18572"/>
                    <a:pt x="7090" y="18554"/>
                    <a:pt x="6975" y="18554"/>
                  </a:cubicBezTo>
                  <a:cubicBezTo>
                    <a:pt x="6955" y="18554"/>
                    <a:pt x="6912" y="18566"/>
                    <a:pt x="6850" y="18590"/>
                  </a:cubicBezTo>
                  <a:cubicBezTo>
                    <a:pt x="6786" y="18613"/>
                    <a:pt x="6713" y="18625"/>
                    <a:pt x="6629" y="18625"/>
                  </a:cubicBezTo>
                  <a:cubicBezTo>
                    <a:pt x="6315" y="18625"/>
                    <a:pt x="6137" y="18569"/>
                    <a:pt x="6095" y="18458"/>
                  </a:cubicBezTo>
                  <a:cubicBezTo>
                    <a:pt x="6022" y="18276"/>
                    <a:pt x="5975" y="18177"/>
                    <a:pt x="5954" y="18159"/>
                  </a:cubicBezTo>
                  <a:cubicBezTo>
                    <a:pt x="5608" y="17943"/>
                    <a:pt x="5394" y="17791"/>
                    <a:pt x="5310" y="17703"/>
                  </a:cubicBezTo>
                  <a:cubicBezTo>
                    <a:pt x="5247" y="17639"/>
                    <a:pt x="5216" y="17548"/>
                    <a:pt x="5216" y="17431"/>
                  </a:cubicBezTo>
                  <a:cubicBezTo>
                    <a:pt x="5216" y="17291"/>
                    <a:pt x="5420" y="17179"/>
                    <a:pt x="5829" y="17098"/>
                  </a:cubicBezTo>
                  <a:cubicBezTo>
                    <a:pt x="6038" y="17057"/>
                    <a:pt x="6242" y="17030"/>
                    <a:pt x="6441" y="17019"/>
                  </a:cubicBezTo>
                  <a:lnTo>
                    <a:pt x="6457" y="17019"/>
                  </a:lnTo>
                  <a:cubicBezTo>
                    <a:pt x="6844" y="17024"/>
                    <a:pt x="7169" y="17115"/>
                    <a:pt x="7431" y="17291"/>
                  </a:cubicBezTo>
                  <a:cubicBezTo>
                    <a:pt x="7441" y="17296"/>
                    <a:pt x="7672" y="17489"/>
                    <a:pt x="8122" y="17870"/>
                  </a:cubicBezTo>
                  <a:cubicBezTo>
                    <a:pt x="8195" y="17928"/>
                    <a:pt x="8290" y="18022"/>
                    <a:pt x="8405" y="18151"/>
                  </a:cubicBezTo>
                  <a:cubicBezTo>
                    <a:pt x="8530" y="18244"/>
                    <a:pt x="8683" y="18288"/>
                    <a:pt x="8860" y="18282"/>
                  </a:cubicBezTo>
                  <a:cubicBezTo>
                    <a:pt x="9059" y="18271"/>
                    <a:pt x="9237" y="18297"/>
                    <a:pt x="9394" y="18361"/>
                  </a:cubicBezTo>
                  <a:cubicBezTo>
                    <a:pt x="9572" y="18432"/>
                    <a:pt x="9729" y="18467"/>
                    <a:pt x="9866" y="18467"/>
                  </a:cubicBezTo>
                  <a:cubicBezTo>
                    <a:pt x="9918" y="18467"/>
                    <a:pt x="9996" y="18408"/>
                    <a:pt x="10101" y="18291"/>
                  </a:cubicBezTo>
                  <a:cubicBezTo>
                    <a:pt x="10206" y="18168"/>
                    <a:pt x="10295" y="18107"/>
                    <a:pt x="10368" y="18107"/>
                  </a:cubicBezTo>
                  <a:cubicBezTo>
                    <a:pt x="10399" y="18107"/>
                    <a:pt x="10468" y="18118"/>
                    <a:pt x="10572" y="18142"/>
                  </a:cubicBezTo>
                  <a:cubicBezTo>
                    <a:pt x="10677" y="18165"/>
                    <a:pt x="10771" y="18177"/>
                    <a:pt x="10855" y="18177"/>
                  </a:cubicBezTo>
                  <a:cubicBezTo>
                    <a:pt x="11054" y="18177"/>
                    <a:pt x="11154" y="18127"/>
                    <a:pt x="11154" y="18028"/>
                  </a:cubicBezTo>
                  <a:lnTo>
                    <a:pt x="11091" y="17738"/>
                  </a:lnTo>
                  <a:cubicBezTo>
                    <a:pt x="11091" y="17703"/>
                    <a:pt x="11164" y="17522"/>
                    <a:pt x="11311" y="17194"/>
                  </a:cubicBezTo>
                  <a:cubicBezTo>
                    <a:pt x="11457" y="16866"/>
                    <a:pt x="11531" y="16609"/>
                    <a:pt x="11531" y="16422"/>
                  </a:cubicBezTo>
                  <a:lnTo>
                    <a:pt x="11499" y="16334"/>
                  </a:lnTo>
                  <a:lnTo>
                    <a:pt x="11342" y="16334"/>
                  </a:lnTo>
                  <a:cubicBezTo>
                    <a:pt x="11217" y="16591"/>
                    <a:pt x="11106" y="16916"/>
                    <a:pt x="11012" y="17308"/>
                  </a:cubicBezTo>
                  <a:cubicBezTo>
                    <a:pt x="10866" y="17566"/>
                    <a:pt x="10473" y="17694"/>
                    <a:pt x="9834" y="17694"/>
                  </a:cubicBezTo>
                  <a:cubicBezTo>
                    <a:pt x="9646" y="17694"/>
                    <a:pt x="9525" y="17624"/>
                    <a:pt x="9473" y="17484"/>
                  </a:cubicBezTo>
                  <a:cubicBezTo>
                    <a:pt x="9421" y="17337"/>
                    <a:pt x="9347" y="17264"/>
                    <a:pt x="9253" y="17264"/>
                  </a:cubicBezTo>
                  <a:cubicBezTo>
                    <a:pt x="9221" y="17264"/>
                    <a:pt x="9169" y="17291"/>
                    <a:pt x="9096" y="17343"/>
                  </a:cubicBezTo>
                  <a:cubicBezTo>
                    <a:pt x="9033" y="17390"/>
                    <a:pt x="8981" y="17413"/>
                    <a:pt x="8939" y="17413"/>
                  </a:cubicBezTo>
                  <a:cubicBezTo>
                    <a:pt x="8792" y="17413"/>
                    <a:pt x="8708" y="17358"/>
                    <a:pt x="8687" y="17247"/>
                  </a:cubicBezTo>
                  <a:cubicBezTo>
                    <a:pt x="8687" y="17130"/>
                    <a:pt x="8671" y="17059"/>
                    <a:pt x="8640" y="17036"/>
                  </a:cubicBezTo>
                  <a:cubicBezTo>
                    <a:pt x="8609" y="17013"/>
                    <a:pt x="8478" y="16992"/>
                    <a:pt x="8247" y="16975"/>
                  </a:cubicBezTo>
                  <a:cubicBezTo>
                    <a:pt x="8059" y="16963"/>
                    <a:pt x="7965" y="16913"/>
                    <a:pt x="7965" y="16825"/>
                  </a:cubicBezTo>
                  <a:cubicBezTo>
                    <a:pt x="7965" y="16743"/>
                    <a:pt x="8080" y="16682"/>
                    <a:pt x="8311" y="16641"/>
                  </a:cubicBezTo>
                  <a:cubicBezTo>
                    <a:pt x="8530" y="16606"/>
                    <a:pt x="8640" y="16562"/>
                    <a:pt x="8640" y="16509"/>
                  </a:cubicBezTo>
                  <a:cubicBezTo>
                    <a:pt x="8598" y="16480"/>
                    <a:pt x="8578" y="16451"/>
                    <a:pt x="8578" y="16422"/>
                  </a:cubicBezTo>
                  <a:cubicBezTo>
                    <a:pt x="8578" y="16275"/>
                    <a:pt x="8766" y="16182"/>
                    <a:pt x="9143" y="16141"/>
                  </a:cubicBezTo>
                  <a:cubicBezTo>
                    <a:pt x="9510" y="16100"/>
                    <a:pt x="9693" y="16050"/>
                    <a:pt x="9693" y="15992"/>
                  </a:cubicBezTo>
                  <a:cubicBezTo>
                    <a:pt x="9693" y="15933"/>
                    <a:pt x="9593" y="15898"/>
                    <a:pt x="9394" y="15886"/>
                  </a:cubicBezTo>
                  <a:cubicBezTo>
                    <a:pt x="9164" y="15880"/>
                    <a:pt x="9018" y="15872"/>
                    <a:pt x="8954" y="15860"/>
                  </a:cubicBezTo>
                  <a:cubicBezTo>
                    <a:pt x="8954" y="15807"/>
                    <a:pt x="9012" y="15743"/>
                    <a:pt x="9127" y="15667"/>
                  </a:cubicBezTo>
                  <a:cubicBezTo>
                    <a:pt x="9043" y="15626"/>
                    <a:pt x="8892" y="15608"/>
                    <a:pt x="8671" y="15614"/>
                  </a:cubicBezTo>
                  <a:cubicBezTo>
                    <a:pt x="8514" y="15620"/>
                    <a:pt x="8436" y="15576"/>
                    <a:pt x="8436" y="15482"/>
                  </a:cubicBezTo>
                  <a:cubicBezTo>
                    <a:pt x="8436" y="15442"/>
                    <a:pt x="8473" y="15377"/>
                    <a:pt x="8546" y="15289"/>
                  </a:cubicBezTo>
                  <a:cubicBezTo>
                    <a:pt x="8609" y="15202"/>
                    <a:pt x="8640" y="15140"/>
                    <a:pt x="8640" y="15105"/>
                  </a:cubicBezTo>
                  <a:cubicBezTo>
                    <a:pt x="8640" y="14994"/>
                    <a:pt x="8598" y="14921"/>
                    <a:pt x="8514" y="14886"/>
                  </a:cubicBezTo>
                  <a:cubicBezTo>
                    <a:pt x="8421" y="14962"/>
                    <a:pt x="8316" y="15219"/>
                    <a:pt x="8200" y="15658"/>
                  </a:cubicBezTo>
                  <a:cubicBezTo>
                    <a:pt x="8106" y="16009"/>
                    <a:pt x="7918" y="16185"/>
                    <a:pt x="7635" y="16185"/>
                  </a:cubicBezTo>
                  <a:cubicBezTo>
                    <a:pt x="7436" y="16185"/>
                    <a:pt x="7358" y="16082"/>
                    <a:pt x="7399" y="15877"/>
                  </a:cubicBezTo>
                  <a:cubicBezTo>
                    <a:pt x="7431" y="15673"/>
                    <a:pt x="7358" y="15570"/>
                    <a:pt x="7179" y="15570"/>
                  </a:cubicBezTo>
                  <a:cubicBezTo>
                    <a:pt x="7075" y="15570"/>
                    <a:pt x="6965" y="15705"/>
                    <a:pt x="6850" y="15974"/>
                  </a:cubicBezTo>
                  <a:cubicBezTo>
                    <a:pt x="6734" y="16237"/>
                    <a:pt x="6556" y="16369"/>
                    <a:pt x="6315" y="16369"/>
                  </a:cubicBezTo>
                  <a:cubicBezTo>
                    <a:pt x="6211" y="16369"/>
                    <a:pt x="6069" y="16302"/>
                    <a:pt x="5891" y="16167"/>
                  </a:cubicBezTo>
                  <a:cubicBezTo>
                    <a:pt x="5703" y="16015"/>
                    <a:pt x="5608" y="15872"/>
                    <a:pt x="5608" y="15737"/>
                  </a:cubicBezTo>
                  <a:cubicBezTo>
                    <a:pt x="5608" y="15544"/>
                    <a:pt x="5708" y="15401"/>
                    <a:pt x="5907" y="15307"/>
                  </a:cubicBezTo>
                  <a:cubicBezTo>
                    <a:pt x="6095" y="15213"/>
                    <a:pt x="6190" y="15146"/>
                    <a:pt x="6190" y="15105"/>
                  </a:cubicBezTo>
                  <a:cubicBezTo>
                    <a:pt x="6085" y="14930"/>
                    <a:pt x="6033" y="14812"/>
                    <a:pt x="6033" y="14754"/>
                  </a:cubicBezTo>
                  <a:cubicBezTo>
                    <a:pt x="6033" y="14643"/>
                    <a:pt x="6038" y="14576"/>
                    <a:pt x="6048" y="14552"/>
                  </a:cubicBezTo>
                  <a:cubicBezTo>
                    <a:pt x="6091" y="14476"/>
                    <a:pt x="6200" y="14415"/>
                    <a:pt x="6378" y="14368"/>
                  </a:cubicBezTo>
                  <a:cubicBezTo>
                    <a:pt x="6399" y="14362"/>
                    <a:pt x="6499" y="14356"/>
                    <a:pt x="6677" y="14350"/>
                  </a:cubicBezTo>
                  <a:cubicBezTo>
                    <a:pt x="6844" y="14344"/>
                    <a:pt x="6959" y="14327"/>
                    <a:pt x="7022" y="14298"/>
                  </a:cubicBezTo>
                  <a:cubicBezTo>
                    <a:pt x="7064" y="14280"/>
                    <a:pt x="7148" y="14230"/>
                    <a:pt x="7274" y="14148"/>
                  </a:cubicBezTo>
                  <a:cubicBezTo>
                    <a:pt x="7379" y="14084"/>
                    <a:pt x="7457" y="14049"/>
                    <a:pt x="7509" y="14043"/>
                  </a:cubicBezTo>
                  <a:cubicBezTo>
                    <a:pt x="7645" y="14020"/>
                    <a:pt x="7912" y="14008"/>
                    <a:pt x="8311" y="14008"/>
                  </a:cubicBezTo>
                  <a:cubicBezTo>
                    <a:pt x="8509" y="14008"/>
                    <a:pt x="8772" y="14043"/>
                    <a:pt x="9096" y="14113"/>
                  </a:cubicBezTo>
                  <a:cubicBezTo>
                    <a:pt x="9274" y="14154"/>
                    <a:pt x="9520" y="14210"/>
                    <a:pt x="9834" y="14280"/>
                  </a:cubicBezTo>
                  <a:cubicBezTo>
                    <a:pt x="9991" y="14303"/>
                    <a:pt x="10196" y="14362"/>
                    <a:pt x="10447" y="14456"/>
                  </a:cubicBezTo>
                  <a:cubicBezTo>
                    <a:pt x="10614" y="14514"/>
                    <a:pt x="10792" y="14605"/>
                    <a:pt x="10981" y="14728"/>
                  </a:cubicBezTo>
                  <a:cubicBezTo>
                    <a:pt x="11012" y="14728"/>
                    <a:pt x="11060" y="14716"/>
                    <a:pt x="11122" y="14693"/>
                  </a:cubicBezTo>
                  <a:cubicBezTo>
                    <a:pt x="11185" y="14669"/>
                    <a:pt x="11217" y="14654"/>
                    <a:pt x="11217" y="14649"/>
                  </a:cubicBezTo>
                  <a:cubicBezTo>
                    <a:pt x="11217" y="14631"/>
                    <a:pt x="11174" y="14599"/>
                    <a:pt x="11091" y="14552"/>
                  </a:cubicBezTo>
                  <a:cubicBezTo>
                    <a:pt x="10986" y="14494"/>
                    <a:pt x="10944" y="14456"/>
                    <a:pt x="10965" y="14438"/>
                  </a:cubicBezTo>
                  <a:cubicBezTo>
                    <a:pt x="10986" y="14257"/>
                    <a:pt x="10845" y="14166"/>
                    <a:pt x="10541" y="14166"/>
                  </a:cubicBezTo>
                  <a:cubicBezTo>
                    <a:pt x="10227" y="14160"/>
                    <a:pt x="10070" y="14128"/>
                    <a:pt x="10070" y="14069"/>
                  </a:cubicBezTo>
                  <a:cubicBezTo>
                    <a:pt x="10070" y="14034"/>
                    <a:pt x="10316" y="13993"/>
                    <a:pt x="10808" y="13946"/>
                  </a:cubicBezTo>
                  <a:cubicBezTo>
                    <a:pt x="11300" y="13900"/>
                    <a:pt x="11546" y="13783"/>
                    <a:pt x="11546" y="13595"/>
                  </a:cubicBezTo>
                  <a:lnTo>
                    <a:pt x="11452" y="13323"/>
                  </a:lnTo>
                  <a:cubicBezTo>
                    <a:pt x="11348" y="13335"/>
                    <a:pt x="11206" y="13411"/>
                    <a:pt x="11028" y="13552"/>
                  </a:cubicBezTo>
                  <a:cubicBezTo>
                    <a:pt x="10850" y="13686"/>
                    <a:pt x="10672" y="13753"/>
                    <a:pt x="10494" y="13753"/>
                  </a:cubicBezTo>
                  <a:cubicBezTo>
                    <a:pt x="10023" y="13753"/>
                    <a:pt x="9609" y="13742"/>
                    <a:pt x="9253" y="13718"/>
                  </a:cubicBezTo>
                  <a:cubicBezTo>
                    <a:pt x="8530" y="13666"/>
                    <a:pt x="8169" y="13569"/>
                    <a:pt x="8169" y="13429"/>
                  </a:cubicBezTo>
                  <a:cubicBezTo>
                    <a:pt x="8169" y="13358"/>
                    <a:pt x="8258" y="13323"/>
                    <a:pt x="8436" y="13323"/>
                  </a:cubicBezTo>
                  <a:lnTo>
                    <a:pt x="9221" y="13446"/>
                  </a:lnTo>
                  <a:cubicBezTo>
                    <a:pt x="9400" y="13446"/>
                    <a:pt x="9489" y="13408"/>
                    <a:pt x="9489" y="13332"/>
                  </a:cubicBezTo>
                  <a:cubicBezTo>
                    <a:pt x="9489" y="13326"/>
                    <a:pt x="8949" y="12943"/>
                    <a:pt x="7871" y="12182"/>
                  </a:cubicBezTo>
                  <a:cubicBezTo>
                    <a:pt x="7850" y="12159"/>
                    <a:pt x="7755" y="12039"/>
                    <a:pt x="7588" y="11823"/>
                  </a:cubicBezTo>
                  <a:cubicBezTo>
                    <a:pt x="7483" y="11682"/>
                    <a:pt x="7352" y="11594"/>
                    <a:pt x="7195" y="11559"/>
                  </a:cubicBezTo>
                  <a:cubicBezTo>
                    <a:pt x="6713" y="11448"/>
                    <a:pt x="6446" y="11384"/>
                    <a:pt x="6394" y="11366"/>
                  </a:cubicBezTo>
                  <a:cubicBezTo>
                    <a:pt x="6091" y="11278"/>
                    <a:pt x="5897" y="11191"/>
                    <a:pt x="5813" y="11103"/>
                  </a:cubicBezTo>
                  <a:cubicBezTo>
                    <a:pt x="5991" y="10998"/>
                    <a:pt x="6164" y="10945"/>
                    <a:pt x="6331" y="10945"/>
                  </a:cubicBezTo>
                  <a:lnTo>
                    <a:pt x="6740" y="10980"/>
                  </a:lnTo>
                  <a:cubicBezTo>
                    <a:pt x="6729" y="10927"/>
                    <a:pt x="6708" y="10895"/>
                    <a:pt x="6677" y="10883"/>
                  </a:cubicBezTo>
                  <a:cubicBezTo>
                    <a:pt x="6666" y="10878"/>
                    <a:pt x="6624" y="10875"/>
                    <a:pt x="6551" y="10875"/>
                  </a:cubicBezTo>
                  <a:cubicBezTo>
                    <a:pt x="6205" y="10875"/>
                    <a:pt x="5959" y="10848"/>
                    <a:pt x="5813" y="10796"/>
                  </a:cubicBezTo>
                  <a:cubicBezTo>
                    <a:pt x="5614" y="10720"/>
                    <a:pt x="5514" y="10588"/>
                    <a:pt x="5514" y="10401"/>
                  </a:cubicBezTo>
                  <a:cubicBezTo>
                    <a:pt x="5514" y="10248"/>
                    <a:pt x="5572" y="10123"/>
                    <a:pt x="5687" y="10023"/>
                  </a:cubicBezTo>
                  <a:cubicBezTo>
                    <a:pt x="5802" y="9918"/>
                    <a:pt x="5959" y="9865"/>
                    <a:pt x="6158" y="9865"/>
                  </a:cubicBezTo>
                  <a:cubicBezTo>
                    <a:pt x="6326" y="9865"/>
                    <a:pt x="6446" y="9897"/>
                    <a:pt x="6519" y="9962"/>
                  </a:cubicBezTo>
                  <a:cubicBezTo>
                    <a:pt x="6604" y="10026"/>
                    <a:pt x="6687" y="10058"/>
                    <a:pt x="6771" y="10058"/>
                  </a:cubicBezTo>
                  <a:lnTo>
                    <a:pt x="7179" y="10006"/>
                  </a:lnTo>
                  <a:cubicBezTo>
                    <a:pt x="7284" y="10006"/>
                    <a:pt x="7557" y="10079"/>
                    <a:pt x="7996" y="10225"/>
                  </a:cubicBezTo>
                  <a:cubicBezTo>
                    <a:pt x="8090" y="10260"/>
                    <a:pt x="8227" y="10301"/>
                    <a:pt x="8405" y="10348"/>
                  </a:cubicBezTo>
                  <a:cubicBezTo>
                    <a:pt x="8572" y="10401"/>
                    <a:pt x="8729" y="10474"/>
                    <a:pt x="8876" y="10567"/>
                  </a:cubicBezTo>
                  <a:cubicBezTo>
                    <a:pt x="9096" y="10714"/>
                    <a:pt x="9394" y="10875"/>
                    <a:pt x="9771" y="11050"/>
                  </a:cubicBezTo>
                  <a:cubicBezTo>
                    <a:pt x="9813" y="11074"/>
                    <a:pt x="9913" y="11191"/>
                    <a:pt x="10070" y="11401"/>
                  </a:cubicBezTo>
                  <a:cubicBezTo>
                    <a:pt x="10206" y="11589"/>
                    <a:pt x="10310" y="11682"/>
                    <a:pt x="10384" y="11682"/>
                  </a:cubicBezTo>
                  <a:cubicBezTo>
                    <a:pt x="10436" y="11682"/>
                    <a:pt x="10489" y="11662"/>
                    <a:pt x="10541" y="11621"/>
                  </a:cubicBezTo>
                  <a:cubicBezTo>
                    <a:pt x="10604" y="11580"/>
                    <a:pt x="10688" y="11559"/>
                    <a:pt x="10792" y="11559"/>
                  </a:cubicBezTo>
                  <a:cubicBezTo>
                    <a:pt x="10835" y="11559"/>
                    <a:pt x="10944" y="11597"/>
                    <a:pt x="11122" y="11673"/>
                  </a:cubicBezTo>
                  <a:cubicBezTo>
                    <a:pt x="11300" y="11749"/>
                    <a:pt x="11416" y="11787"/>
                    <a:pt x="11468" y="11787"/>
                  </a:cubicBezTo>
                  <a:lnTo>
                    <a:pt x="11515" y="11787"/>
                  </a:lnTo>
                  <a:cubicBezTo>
                    <a:pt x="11515" y="11694"/>
                    <a:pt x="11651" y="11591"/>
                    <a:pt x="11924" y="11480"/>
                  </a:cubicBezTo>
                  <a:cubicBezTo>
                    <a:pt x="12185" y="11363"/>
                    <a:pt x="12316" y="11270"/>
                    <a:pt x="12316" y="11199"/>
                  </a:cubicBezTo>
                  <a:cubicBezTo>
                    <a:pt x="12316" y="11188"/>
                    <a:pt x="12296" y="11173"/>
                    <a:pt x="12253" y="11156"/>
                  </a:cubicBezTo>
                  <a:cubicBezTo>
                    <a:pt x="12201" y="11132"/>
                    <a:pt x="12149" y="11120"/>
                    <a:pt x="12096" y="11120"/>
                  </a:cubicBezTo>
                  <a:cubicBezTo>
                    <a:pt x="11992" y="11120"/>
                    <a:pt x="11866" y="11158"/>
                    <a:pt x="11719" y="11234"/>
                  </a:cubicBezTo>
                  <a:cubicBezTo>
                    <a:pt x="11583" y="11305"/>
                    <a:pt x="11421" y="11340"/>
                    <a:pt x="11232" y="11340"/>
                  </a:cubicBezTo>
                  <a:cubicBezTo>
                    <a:pt x="10667" y="11340"/>
                    <a:pt x="10342" y="11208"/>
                    <a:pt x="10258" y="10945"/>
                  </a:cubicBezTo>
                  <a:cubicBezTo>
                    <a:pt x="10185" y="10682"/>
                    <a:pt x="10080" y="10550"/>
                    <a:pt x="9944" y="10550"/>
                  </a:cubicBezTo>
                  <a:cubicBezTo>
                    <a:pt x="9829" y="10573"/>
                    <a:pt x="9745" y="10585"/>
                    <a:pt x="9693" y="10585"/>
                  </a:cubicBezTo>
                  <a:cubicBezTo>
                    <a:pt x="9620" y="10585"/>
                    <a:pt x="9368" y="10450"/>
                    <a:pt x="8939" y="10181"/>
                  </a:cubicBezTo>
                  <a:cubicBezTo>
                    <a:pt x="8520" y="9924"/>
                    <a:pt x="8274" y="9757"/>
                    <a:pt x="8200" y="9681"/>
                  </a:cubicBezTo>
                  <a:cubicBezTo>
                    <a:pt x="8410" y="9581"/>
                    <a:pt x="8661" y="9488"/>
                    <a:pt x="8954" y="9400"/>
                  </a:cubicBezTo>
                  <a:cubicBezTo>
                    <a:pt x="9154" y="9342"/>
                    <a:pt x="9567" y="9225"/>
                    <a:pt x="10196" y="9049"/>
                  </a:cubicBezTo>
                  <a:cubicBezTo>
                    <a:pt x="10342" y="9008"/>
                    <a:pt x="10750" y="8891"/>
                    <a:pt x="11421" y="8698"/>
                  </a:cubicBezTo>
                  <a:cubicBezTo>
                    <a:pt x="12038" y="8517"/>
                    <a:pt x="12395" y="8400"/>
                    <a:pt x="12489" y="8347"/>
                  </a:cubicBezTo>
                  <a:lnTo>
                    <a:pt x="12489" y="8259"/>
                  </a:lnTo>
                  <a:lnTo>
                    <a:pt x="12442" y="8242"/>
                  </a:lnTo>
                  <a:cubicBezTo>
                    <a:pt x="12264" y="8259"/>
                    <a:pt x="12023" y="8300"/>
                    <a:pt x="11719" y="8365"/>
                  </a:cubicBezTo>
                  <a:cubicBezTo>
                    <a:pt x="11269" y="8458"/>
                    <a:pt x="10955" y="8520"/>
                    <a:pt x="10777" y="8549"/>
                  </a:cubicBezTo>
                  <a:lnTo>
                    <a:pt x="10777" y="8531"/>
                  </a:lnTo>
                  <a:cubicBezTo>
                    <a:pt x="10850" y="8408"/>
                    <a:pt x="11054" y="8259"/>
                    <a:pt x="11389" y="8084"/>
                  </a:cubicBezTo>
                  <a:cubicBezTo>
                    <a:pt x="11473" y="8031"/>
                    <a:pt x="11678" y="7967"/>
                    <a:pt x="12002" y="7891"/>
                  </a:cubicBezTo>
                  <a:cubicBezTo>
                    <a:pt x="12358" y="7803"/>
                    <a:pt x="12552" y="7753"/>
                    <a:pt x="12583" y="7741"/>
                  </a:cubicBezTo>
                  <a:cubicBezTo>
                    <a:pt x="12730" y="7683"/>
                    <a:pt x="13034" y="7554"/>
                    <a:pt x="13495" y="7355"/>
                  </a:cubicBezTo>
                  <a:cubicBezTo>
                    <a:pt x="13903" y="7168"/>
                    <a:pt x="14123" y="7007"/>
                    <a:pt x="14154" y="6872"/>
                  </a:cubicBezTo>
                  <a:cubicBezTo>
                    <a:pt x="13809" y="6907"/>
                    <a:pt x="13274" y="7022"/>
                    <a:pt x="12552" y="7215"/>
                  </a:cubicBezTo>
                  <a:cubicBezTo>
                    <a:pt x="12154" y="7261"/>
                    <a:pt x="11892" y="7308"/>
                    <a:pt x="11767" y="7355"/>
                  </a:cubicBezTo>
                  <a:cubicBezTo>
                    <a:pt x="11714" y="7373"/>
                    <a:pt x="11562" y="7440"/>
                    <a:pt x="11311" y="7557"/>
                  </a:cubicBezTo>
                  <a:cubicBezTo>
                    <a:pt x="11101" y="7651"/>
                    <a:pt x="10960" y="7697"/>
                    <a:pt x="10887" y="7697"/>
                  </a:cubicBezTo>
                  <a:cubicBezTo>
                    <a:pt x="10771" y="7697"/>
                    <a:pt x="10714" y="7645"/>
                    <a:pt x="10714" y="7539"/>
                  </a:cubicBezTo>
                  <a:cubicBezTo>
                    <a:pt x="10714" y="7475"/>
                    <a:pt x="10766" y="7358"/>
                    <a:pt x="10871" y="7188"/>
                  </a:cubicBezTo>
                  <a:cubicBezTo>
                    <a:pt x="11007" y="6972"/>
                    <a:pt x="11091" y="6831"/>
                    <a:pt x="11122" y="6767"/>
                  </a:cubicBezTo>
                  <a:cubicBezTo>
                    <a:pt x="11196" y="6603"/>
                    <a:pt x="11327" y="6416"/>
                    <a:pt x="11515" y="6205"/>
                  </a:cubicBezTo>
                  <a:cubicBezTo>
                    <a:pt x="11683" y="6024"/>
                    <a:pt x="11767" y="5916"/>
                    <a:pt x="11767" y="5881"/>
                  </a:cubicBezTo>
                  <a:cubicBezTo>
                    <a:pt x="11767" y="5857"/>
                    <a:pt x="11735" y="5828"/>
                    <a:pt x="11672" y="5793"/>
                  </a:cubicBezTo>
                  <a:cubicBezTo>
                    <a:pt x="11421" y="5881"/>
                    <a:pt x="11259" y="5945"/>
                    <a:pt x="11185" y="5986"/>
                  </a:cubicBezTo>
                  <a:cubicBezTo>
                    <a:pt x="11017" y="6068"/>
                    <a:pt x="10903" y="6164"/>
                    <a:pt x="10839" y="6275"/>
                  </a:cubicBezTo>
                  <a:cubicBezTo>
                    <a:pt x="10672" y="6744"/>
                    <a:pt x="10525" y="6978"/>
                    <a:pt x="10399" y="6978"/>
                  </a:cubicBezTo>
                  <a:cubicBezTo>
                    <a:pt x="10316" y="6978"/>
                    <a:pt x="10217" y="6937"/>
                    <a:pt x="10101" y="6855"/>
                  </a:cubicBezTo>
                  <a:lnTo>
                    <a:pt x="9960" y="6855"/>
                  </a:lnTo>
                  <a:cubicBezTo>
                    <a:pt x="9939" y="6878"/>
                    <a:pt x="9928" y="6913"/>
                    <a:pt x="9928" y="6960"/>
                  </a:cubicBezTo>
                  <a:cubicBezTo>
                    <a:pt x="9928" y="6984"/>
                    <a:pt x="9996" y="7101"/>
                    <a:pt x="10133" y="7311"/>
                  </a:cubicBezTo>
                  <a:cubicBezTo>
                    <a:pt x="10258" y="7516"/>
                    <a:pt x="10321" y="7659"/>
                    <a:pt x="10321" y="7741"/>
                  </a:cubicBezTo>
                  <a:cubicBezTo>
                    <a:pt x="10321" y="7917"/>
                    <a:pt x="9996" y="8192"/>
                    <a:pt x="9347" y="8566"/>
                  </a:cubicBezTo>
                  <a:cubicBezTo>
                    <a:pt x="8719" y="8929"/>
                    <a:pt x="8295" y="9110"/>
                    <a:pt x="8075" y="9110"/>
                  </a:cubicBezTo>
                  <a:cubicBezTo>
                    <a:pt x="8001" y="9110"/>
                    <a:pt x="7944" y="9102"/>
                    <a:pt x="7902" y="9084"/>
                  </a:cubicBezTo>
                  <a:cubicBezTo>
                    <a:pt x="7923" y="9020"/>
                    <a:pt x="8085" y="8876"/>
                    <a:pt x="8389" y="8654"/>
                  </a:cubicBezTo>
                  <a:cubicBezTo>
                    <a:pt x="8671" y="8443"/>
                    <a:pt x="8813" y="8291"/>
                    <a:pt x="8813" y="8198"/>
                  </a:cubicBezTo>
                  <a:cubicBezTo>
                    <a:pt x="8813" y="8163"/>
                    <a:pt x="8787" y="8116"/>
                    <a:pt x="8735" y="8057"/>
                  </a:cubicBezTo>
                  <a:cubicBezTo>
                    <a:pt x="8661" y="7975"/>
                    <a:pt x="8572" y="7934"/>
                    <a:pt x="8468" y="7934"/>
                  </a:cubicBezTo>
                  <a:cubicBezTo>
                    <a:pt x="8457" y="7934"/>
                    <a:pt x="8410" y="7946"/>
                    <a:pt x="8326" y="7970"/>
                  </a:cubicBezTo>
                  <a:cubicBezTo>
                    <a:pt x="8326" y="7975"/>
                    <a:pt x="8357" y="8010"/>
                    <a:pt x="8421" y="8075"/>
                  </a:cubicBezTo>
                  <a:cubicBezTo>
                    <a:pt x="8462" y="8128"/>
                    <a:pt x="8483" y="8166"/>
                    <a:pt x="8483" y="8189"/>
                  </a:cubicBezTo>
                  <a:cubicBezTo>
                    <a:pt x="8075" y="8464"/>
                    <a:pt x="7844" y="8601"/>
                    <a:pt x="7792" y="8601"/>
                  </a:cubicBezTo>
                  <a:cubicBezTo>
                    <a:pt x="7708" y="8601"/>
                    <a:pt x="7650" y="8561"/>
                    <a:pt x="7619" y="8479"/>
                  </a:cubicBezTo>
                  <a:cubicBezTo>
                    <a:pt x="7577" y="8391"/>
                    <a:pt x="7525" y="8347"/>
                    <a:pt x="7462" y="8347"/>
                  </a:cubicBezTo>
                  <a:cubicBezTo>
                    <a:pt x="7441" y="8347"/>
                    <a:pt x="7415" y="8359"/>
                    <a:pt x="7383" y="8382"/>
                  </a:cubicBezTo>
                  <a:cubicBezTo>
                    <a:pt x="7342" y="8405"/>
                    <a:pt x="7321" y="8432"/>
                    <a:pt x="7321" y="8461"/>
                  </a:cubicBezTo>
                  <a:cubicBezTo>
                    <a:pt x="7321" y="8490"/>
                    <a:pt x="7352" y="8552"/>
                    <a:pt x="7415" y="8645"/>
                  </a:cubicBezTo>
                  <a:cubicBezTo>
                    <a:pt x="7478" y="8745"/>
                    <a:pt x="7509" y="8815"/>
                    <a:pt x="7509" y="8856"/>
                  </a:cubicBezTo>
                  <a:cubicBezTo>
                    <a:pt x="7509" y="8908"/>
                    <a:pt x="7457" y="8967"/>
                    <a:pt x="7352" y="9031"/>
                  </a:cubicBezTo>
                  <a:cubicBezTo>
                    <a:pt x="7258" y="9084"/>
                    <a:pt x="7185" y="9110"/>
                    <a:pt x="7133" y="9110"/>
                  </a:cubicBezTo>
                  <a:cubicBezTo>
                    <a:pt x="7017" y="9110"/>
                    <a:pt x="6912" y="9081"/>
                    <a:pt x="6818" y="9023"/>
                  </a:cubicBezTo>
                  <a:cubicBezTo>
                    <a:pt x="6713" y="8958"/>
                    <a:pt x="6619" y="8926"/>
                    <a:pt x="6535" y="8926"/>
                  </a:cubicBezTo>
                  <a:cubicBezTo>
                    <a:pt x="6451" y="8926"/>
                    <a:pt x="6352" y="8970"/>
                    <a:pt x="6237" y="9058"/>
                  </a:cubicBezTo>
                  <a:cubicBezTo>
                    <a:pt x="6132" y="9140"/>
                    <a:pt x="6033" y="9181"/>
                    <a:pt x="5938" y="9181"/>
                  </a:cubicBezTo>
                  <a:cubicBezTo>
                    <a:pt x="5792" y="9181"/>
                    <a:pt x="5661" y="9148"/>
                    <a:pt x="5546" y="9084"/>
                  </a:cubicBezTo>
                  <a:cubicBezTo>
                    <a:pt x="5441" y="9026"/>
                    <a:pt x="5389" y="8958"/>
                    <a:pt x="5389" y="8882"/>
                  </a:cubicBezTo>
                  <a:cubicBezTo>
                    <a:pt x="5389" y="8432"/>
                    <a:pt x="5829" y="8081"/>
                    <a:pt x="6708" y="7829"/>
                  </a:cubicBezTo>
                  <a:cubicBezTo>
                    <a:pt x="6928" y="7771"/>
                    <a:pt x="7232" y="7689"/>
                    <a:pt x="7619" y="7583"/>
                  </a:cubicBezTo>
                  <a:cubicBezTo>
                    <a:pt x="7892" y="7496"/>
                    <a:pt x="8028" y="7399"/>
                    <a:pt x="8028" y="7294"/>
                  </a:cubicBezTo>
                  <a:cubicBezTo>
                    <a:pt x="8028" y="7276"/>
                    <a:pt x="8022" y="7267"/>
                    <a:pt x="8012" y="7267"/>
                  </a:cubicBezTo>
                  <a:lnTo>
                    <a:pt x="7996" y="7267"/>
                  </a:lnTo>
                  <a:cubicBezTo>
                    <a:pt x="7515" y="7355"/>
                    <a:pt x="7153" y="7422"/>
                    <a:pt x="6912" y="7469"/>
                  </a:cubicBezTo>
                  <a:cubicBezTo>
                    <a:pt x="6515" y="7545"/>
                    <a:pt x="6137" y="7671"/>
                    <a:pt x="5781" y="7847"/>
                  </a:cubicBezTo>
                  <a:cubicBezTo>
                    <a:pt x="5551" y="7946"/>
                    <a:pt x="5384" y="8022"/>
                    <a:pt x="5279" y="8075"/>
                  </a:cubicBezTo>
                  <a:cubicBezTo>
                    <a:pt x="5101" y="8169"/>
                    <a:pt x="4996" y="8265"/>
                    <a:pt x="4965" y="8365"/>
                  </a:cubicBezTo>
                  <a:cubicBezTo>
                    <a:pt x="4933" y="8464"/>
                    <a:pt x="4880" y="8619"/>
                    <a:pt x="4807" y="8830"/>
                  </a:cubicBezTo>
                  <a:cubicBezTo>
                    <a:pt x="4723" y="8999"/>
                    <a:pt x="4609" y="9084"/>
                    <a:pt x="4462" y="9084"/>
                  </a:cubicBezTo>
                  <a:cubicBezTo>
                    <a:pt x="4409" y="9084"/>
                    <a:pt x="4105" y="8990"/>
                    <a:pt x="3551" y="8803"/>
                  </a:cubicBezTo>
                  <a:cubicBezTo>
                    <a:pt x="2954" y="8604"/>
                    <a:pt x="2655" y="8473"/>
                    <a:pt x="2655" y="8408"/>
                  </a:cubicBezTo>
                  <a:cubicBezTo>
                    <a:pt x="2655" y="8268"/>
                    <a:pt x="2943" y="8189"/>
                    <a:pt x="3519" y="8171"/>
                  </a:cubicBezTo>
                  <a:cubicBezTo>
                    <a:pt x="3708" y="8166"/>
                    <a:pt x="3933" y="8136"/>
                    <a:pt x="4194" y="8084"/>
                  </a:cubicBezTo>
                  <a:cubicBezTo>
                    <a:pt x="4341" y="8060"/>
                    <a:pt x="4535" y="8022"/>
                    <a:pt x="4776" y="7970"/>
                  </a:cubicBezTo>
                  <a:cubicBezTo>
                    <a:pt x="5038" y="7917"/>
                    <a:pt x="5341" y="7788"/>
                    <a:pt x="5687" y="7583"/>
                  </a:cubicBezTo>
                  <a:cubicBezTo>
                    <a:pt x="6043" y="7379"/>
                    <a:pt x="6221" y="7226"/>
                    <a:pt x="6221" y="7127"/>
                  </a:cubicBezTo>
                  <a:cubicBezTo>
                    <a:pt x="6221" y="7115"/>
                    <a:pt x="6190" y="7086"/>
                    <a:pt x="6127" y="7039"/>
                  </a:cubicBezTo>
                  <a:lnTo>
                    <a:pt x="5970" y="7039"/>
                  </a:lnTo>
                  <a:cubicBezTo>
                    <a:pt x="5436" y="7156"/>
                    <a:pt x="5006" y="7338"/>
                    <a:pt x="4682" y="7583"/>
                  </a:cubicBezTo>
                  <a:cubicBezTo>
                    <a:pt x="4472" y="7735"/>
                    <a:pt x="4242" y="7820"/>
                    <a:pt x="3991" y="7838"/>
                  </a:cubicBezTo>
                  <a:cubicBezTo>
                    <a:pt x="3708" y="7832"/>
                    <a:pt x="3488" y="7829"/>
                    <a:pt x="3330" y="7829"/>
                  </a:cubicBezTo>
                  <a:cubicBezTo>
                    <a:pt x="3163" y="7829"/>
                    <a:pt x="3001" y="7861"/>
                    <a:pt x="2844" y="7926"/>
                  </a:cubicBezTo>
                  <a:cubicBezTo>
                    <a:pt x="2676" y="7984"/>
                    <a:pt x="2519" y="8013"/>
                    <a:pt x="2373" y="8013"/>
                  </a:cubicBezTo>
                  <a:cubicBezTo>
                    <a:pt x="2268" y="8013"/>
                    <a:pt x="2127" y="7984"/>
                    <a:pt x="1949" y="7926"/>
                  </a:cubicBezTo>
                  <a:cubicBezTo>
                    <a:pt x="1728" y="7850"/>
                    <a:pt x="1618" y="7771"/>
                    <a:pt x="1618" y="7689"/>
                  </a:cubicBezTo>
                  <a:cubicBezTo>
                    <a:pt x="1618" y="7554"/>
                    <a:pt x="1807" y="7466"/>
                    <a:pt x="2184" y="7425"/>
                  </a:cubicBezTo>
                  <a:cubicBezTo>
                    <a:pt x="2561" y="7384"/>
                    <a:pt x="2749" y="7338"/>
                    <a:pt x="2749" y="7285"/>
                  </a:cubicBezTo>
                  <a:cubicBezTo>
                    <a:pt x="2749" y="7174"/>
                    <a:pt x="2535" y="7109"/>
                    <a:pt x="2106" y="7092"/>
                  </a:cubicBezTo>
                  <a:cubicBezTo>
                    <a:pt x="2085" y="7092"/>
                    <a:pt x="2074" y="7077"/>
                    <a:pt x="2074" y="7048"/>
                  </a:cubicBezTo>
                  <a:cubicBezTo>
                    <a:pt x="2074" y="6814"/>
                    <a:pt x="2430" y="6670"/>
                    <a:pt x="3142" y="6618"/>
                  </a:cubicBezTo>
                  <a:cubicBezTo>
                    <a:pt x="3844" y="6571"/>
                    <a:pt x="4194" y="6524"/>
                    <a:pt x="4194" y="6477"/>
                  </a:cubicBezTo>
                  <a:cubicBezTo>
                    <a:pt x="4194" y="6395"/>
                    <a:pt x="4043" y="6337"/>
                    <a:pt x="3739" y="6302"/>
                  </a:cubicBezTo>
                  <a:cubicBezTo>
                    <a:pt x="3572" y="6278"/>
                    <a:pt x="3399" y="6267"/>
                    <a:pt x="3221" y="6267"/>
                  </a:cubicBezTo>
                  <a:lnTo>
                    <a:pt x="3205" y="6267"/>
                  </a:lnTo>
                  <a:cubicBezTo>
                    <a:pt x="3205" y="6226"/>
                    <a:pt x="3064" y="6264"/>
                    <a:pt x="2781" y="6381"/>
                  </a:cubicBezTo>
                  <a:cubicBezTo>
                    <a:pt x="2519" y="6498"/>
                    <a:pt x="2325" y="6597"/>
                    <a:pt x="2200" y="6679"/>
                  </a:cubicBezTo>
                  <a:cubicBezTo>
                    <a:pt x="1823" y="6919"/>
                    <a:pt x="1561" y="7039"/>
                    <a:pt x="1414" y="7039"/>
                  </a:cubicBezTo>
                  <a:cubicBezTo>
                    <a:pt x="1184" y="7039"/>
                    <a:pt x="1068" y="6984"/>
                    <a:pt x="1068" y="6872"/>
                  </a:cubicBezTo>
                  <a:cubicBezTo>
                    <a:pt x="1068" y="6820"/>
                    <a:pt x="1131" y="6723"/>
                    <a:pt x="1257" y="6583"/>
                  </a:cubicBezTo>
                  <a:cubicBezTo>
                    <a:pt x="1404" y="6407"/>
                    <a:pt x="1482" y="6314"/>
                    <a:pt x="1493" y="6302"/>
                  </a:cubicBezTo>
                  <a:cubicBezTo>
                    <a:pt x="1221" y="6214"/>
                    <a:pt x="1079" y="6170"/>
                    <a:pt x="1068" y="6170"/>
                  </a:cubicBezTo>
                  <a:cubicBezTo>
                    <a:pt x="985" y="6170"/>
                    <a:pt x="874" y="6217"/>
                    <a:pt x="738" y="6311"/>
                  </a:cubicBezTo>
                  <a:cubicBezTo>
                    <a:pt x="603" y="6398"/>
                    <a:pt x="487" y="6442"/>
                    <a:pt x="393" y="6442"/>
                  </a:cubicBezTo>
                  <a:cubicBezTo>
                    <a:pt x="341" y="6442"/>
                    <a:pt x="267" y="6413"/>
                    <a:pt x="173" y="6355"/>
                  </a:cubicBezTo>
                  <a:cubicBezTo>
                    <a:pt x="58" y="6284"/>
                    <a:pt x="0" y="6202"/>
                    <a:pt x="0" y="6109"/>
                  </a:cubicBezTo>
                  <a:cubicBezTo>
                    <a:pt x="0" y="5921"/>
                    <a:pt x="121" y="5752"/>
                    <a:pt x="361" y="5600"/>
                  </a:cubicBezTo>
                  <a:cubicBezTo>
                    <a:pt x="571" y="5465"/>
                    <a:pt x="754" y="5398"/>
                    <a:pt x="911" y="5398"/>
                  </a:cubicBezTo>
                  <a:cubicBezTo>
                    <a:pt x="1016" y="5398"/>
                    <a:pt x="1131" y="5442"/>
                    <a:pt x="1257" y="5529"/>
                  </a:cubicBezTo>
                  <a:cubicBezTo>
                    <a:pt x="1393" y="5611"/>
                    <a:pt x="1509" y="5652"/>
                    <a:pt x="1602" y="5652"/>
                  </a:cubicBezTo>
                  <a:cubicBezTo>
                    <a:pt x="1645" y="5652"/>
                    <a:pt x="1692" y="5635"/>
                    <a:pt x="1744" y="5600"/>
                  </a:cubicBezTo>
                  <a:cubicBezTo>
                    <a:pt x="1807" y="5559"/>
                    <a:pt x="1838" y="5515"/>
                    <a:pt x="1838" y="5468"/>
                  </a:cubicBezTo>
                  <a:cubicBezTo>
                    <a:pt x="1734" y="5369"/>
                    <a:pt x="1681" y="5290"/>
                    <a:pt x="1681" y="5231"/>
                  </a:cubicBezTo>
                  <a:cubicBezTo>
                    <a:pt x="1681" y="5096"/>
                    <a:pt x="1812" y="4985"/>
                    <a:pt x="2074" y="4898"/>
                  </a:cubicBezTo>
                  <a:cubicBezTo>
                    <a:pt x="2284" y="4821"/>
                    <a:pt x="2493" y="4783"/>
                    <a:pt x="2702" y="4783"/>
                  </a:cubicBezTo>
                  <a:cubicBezTo>
                    <a:pt x="2902" y="4783"/>
                    <a:pt x="3069" y="4827"/>
                    <a:pt x="3205" y="4915"/>
                  </a:cubicBezTo>
                  <a:cubicBezTo>
                    <a:pt x="3362" y="5009"/>
                    <a:pt x="3435" y="5129"/>
                    <a:pt x="3425" y="5275"/>
                  </a:cubicBezTo>
                  <a:cubicBezTo>
                    <a:pt x="3561" y="5293"/>
                    <a:pt x="3624" y="5252"/>
                    <a:pt x="3613" y="5152"/>
                  </a:cubicBezTo>
                  <a:cubicBezTo>
                    <a:pt x="3603" y="5041"/>
                    <a:pt x="3656" y="4985"/>
                    <a:pt x="3770" y="4985"/>
                  </a:cubicBezTo>
                  <a:cubicBezTo>
                    <a:pt x="3907" y="4985"/>
                    <a:pt x="4022" y="5035"/>
                    <a:pt x="4116" y="5134"/>
                  </a:cubicBezTo>
                  <a:cubicBezTo>
                    <a:pt x="4221" y="5228"/>
                    <a:pt x="4305" y="5275"/>
                    <a:pt x="4367" y="5275"/>
                  </a:cubicBezTo>
                  <a:cubicBezTo>
                    <a:pt x="4472" y="5275"/>
                    <a:pt x="4577" y="5240"/>
                    <a:pt x="4682" y="5170"/>
                  </a:cubicBezTo>
                  <a:cubicBezTo>
                    <a:pt x="4787" y="5099"/>
                    <a:pt x="4839" y="5029"/>
                    <a:pt x="4839" y="4959"/>
                  </a:cubicBezTo>
                  <a:cubicBezTo>
                    <a:pt x="4839" y="4889"/>
                    <a:pt x="4598" y="4836"/>
                    <a:pt x="4116" y="4801"/>
                  </a:cubicBezTo>
                  <a:cubicBezTo>
                    <a:pt x="3634" y="4766"/>
                    <a:pt x="3394" y="4678"/>
                    <a:pt x="3394" y="4538"/>
                  </a:cubicBezTo>
                  <a:cubicBezTo>
                    <a:pt x="3394" y="4415"/>
                    <a:pt x="3519" y="4345"/>
                    <a:pt x="3770" y="4327"/>
                  </a:cubicBezTo>
                  <a:cubicBezTo>
                    <a:pt x="4012" y="4310"/>
                    <a:pt x="4132" y="4283"/>
                    <a:pt x="4132" y="4248"/>
                  </a:cubicBezTo>
                  <a:cubicBezTo>
                    <a:pt x="4132" y="4207"/>
                    <a:pt x="4080" y="4149"/>
                    <a:pt x="3975" y="4073"/>
                  </a:cubicBezTo>
                  <a:cubicBezTo>
                    <a:pt x="3870" y="3997"/>
                    <a:pt x="3818" y="3926"/>
                    <a:pt x="3818" y="3862"/>
                  </a:cubicBezTo>
                  <a:cubicBezTo>
                    <a:pt x="3818" y="3803"/>
                    <a:pt x="3870" y="3751"/>
                    <a:pt x="3975" y="3704"/>
                  </a:cubicBezTo>
                  <a:cubicBezTo>
                    <a:pt x="4069" y="3657"/>
                    <a:pt x="4153" y="3634"/>
                    <a:pt x="4226" y="3634"/>
                  </a:cubicBezTo>
                  <a:cubicBezTo>
                    <a:pt x="4289" y="3634"/>
                    <a:pt x="4394" y="3669"/>
                    <a:pt x="4541" y="3739"/>
                  </a:cubicBezTo>
                  <a:cubicBezTo>
                    <a:pt x="4718" y="3833"/>
                    <a:pt x="4818" y="3882"/>
                    <a:pt x="4839" y="3888"/>
                  </a:cubicBezTo>
                  <a:cubicBezTo>
                    <a:pt x="5048" y="3947"/>
                    <a:pt x="5273" y="3976"/>
                    <a:pt x="5514" y="3976"/>
                  </a:cubicBezTo>
                  <a:cubicBezTo>
                    <a:pt x="5682" y="3976"/>
                    <a:pt x="5802" y="4081"/>
                    <a:pt x="5876" y="4292"/>
                  </a:cubicBezTo>
                  <a:cubicBezTo>
                    <a:pt x="5949" y="4503"/>
                    <a:pt x="6059" y="4608"/>
                    <a:pt x="6205" y="4608"/>
                  </a:cubicBezTo>
                  <a:cubicBezTo>
                    <a:pt x="6289" y="4608"/>
                    <a:pt x="6342" y="4587"/>
                    <a:pt x="6362" y="4546"/>
                  </a:cubicBezTo>
                  <a:cubicBezTo>
                    <a:pt x="6362" y="4505"/>
                    <a:pt x="6284" y="4429"/>
                    <a:pt x="6127" y="4318"/>
                  </a:cubicBezTo>
                  <a:cubicBezTo>
                    <a:pt x="6169" y="4295"/>
                    <a:pt x="6211" y="4283"/>
                    <a:pt x="6253" y="4283"/>
                  </a:cubicBezTo>
                  <a:cubicBezTo>
                    <a:pt x="6315" y="4283"/>
                    <a:pt x="6509" y="4353"/>
                    <a:pt x="6834" y="4494"/>
                  </a:cubicBezTo>
                  <a:cubicBezTo>
                    <a:pt x="7169" y="4628"/>
                    <a:pt x="7441" y="4696"/>
                    <a:pt x="7650" y="4696"/>
                  </a:cubicBezTo>
                  <a:cubicBezTo>
                    <a:pt x="7776" y="4696"/>
                    <a:pt x="7839" y="4663"/>
                    <a:pt x="7839" y="4599"/>
                  </a:cubicBezTo>
                  <a:cubicBezTo>
                    <a:pt x="7839" y="4535"/>
                    <a:pt x="7520" y="4409"/>
                    <a:pt x="6881" y="4222"/>
                  </a:cubicBezTo>
                  <a:cubicBezTo>
                    <a:pt x="6232" y="4029"/>
                    <a:pt x="5907" y="3830"/>
                    <a:pt x="5907" y="3625"/>
                  </a:cubicBezTo>
                  <a:cubicBezTo>
                    <a:pt x="5907" y="3572"/>
                    <a:pt x="5970" y="3528"/>
                    <a:pt x="6095" y="3493"/>
                  </a:cubicBezTo>
                  <a:cubicBezTo>
                    <a:pt x="6180" y="3470"/>
                    <a:pt x="6258" y="3458"/>
                    <a:pt x="6331" y="3458"/>
                  </a:cubicBezTo>
                  <a:lnTo>
                    <a:pt x="6331" y="3379"/>
                  </a:lnTo>
                  <a:cubicBezTo>
                    <a:pt x="6279" y="3344"/>
                    <a:pt x="6148" y="3268"/>
                    <a:pt x="5938" y="3151"/>
                  </a:cubicBezTo>
                  <a:cubicBezTo>
                    <a:pt x="5970" y="3128"/>
                    <a:pt x="6001" y="3110"/>
                    <a:pt x="6033" y="3098"/>
                  </a:cubicBezTo>
                  <a:cubicBezTo>
                    <a:pt x="6054" y="3087"/>
                    <a:pt x="6069" y="3081"/>
                    <a:pt x="6080" y="3081"/>
                  </a:cubicBezTo>
                  <a:cubicBezTo>
                    <a:pt x="6091" y="3081"/>
                    <a:pt x="6148" y="3081"/>
                    <a:pt x="6253" y="3081"/>
                  </a:cubicBezTo>
                  <a:cubicBezTo>
                    <a:pt x="6294" y="3081"/>
                    <a:pt x="6352" y="3087"/>
                    <a:pt x="6426" y="3098"/>
                  </a:cubicBezTo>
                  <a:cubicBezTo>
                    <a:pt x="6509" y="3116"/>
                    <a:pt x="6614" y="3145"/>
                    <a:pt x="6740" y="3186"/>
                  </a:cubicBezTo>
                  <a:cubicBezTo>
                    <a:pt x="7001" y="3268"/>
                    <a:pt x="7164" y="3315"/>
                    <a:pt x="7226" y="3327"/>
                  </a:cubicBezTo>
                  <a:cubicBezTo>
                    <a:pt x="7247" y="3303"/>
                    <a:pt x="7258" y="3268"/>
                    <a:pt x="7258" y="3221"/>
                  </a:cubicBezTo>
                  <a:cubicBezTo>
                    <a:pt x="7258" y="3192"/>
                    <a:pt x="7253" y="3163"/>
                    <a:pt x="7242" y="3133"/>
                  </a:cubicBezTo>
                  <a:cubicBezTo>
                    <a:pt x="7201" y="3011"/>
                    <a:pt x="7075" y="2894"/>
                    <a:pt x="6865" y="2782"/>
                  </a:cubicBezTo>
                  <a:cubicBezTo>
                    <a:pt x="6593" y="2654"/>
                    <a:pt x="6457" y="2557"/>
                    <a:pt x="6457" y="2493"/>
                  </a:cubicBezTo>
                  <a:cubicBezTo>
                    <a:pt x="6457" y="2452"/>
                    <a:pt x="6499" y="2420"/>
                    <a:pt x="6583" y="2396"/>
                  </a:cubicBezTo>
                  <a:cubicBezTo>
                    <a:pt x="6635" y="2379"/>
                    <a:pt x="6682" y="2370"/>
                    <a:pt x="6724" y="2370"/>
                  </a:cubicBezTo>
                  <a:cubicBezTo>
                    <a:pt x="6839" y="2370"/>
                    <a:pt x="6970" y="2408"/>
                    <a:pt x="7117" y="2484"/>
                  </a:cubicBezTo>
                  <a:cubicBezTo>
                    <a:pt x="7253" y="2560"/>
                    <a:pt x="7363" y="2595"/>
                    <a:pt x="7447" y="2589"/>
                  </a:cubicBezTo>
                  <a:cubicBezTo>
                    <a:pt x="7478" y="2560"/>
                    <a:pt x="7493" y="2531"/>
                    <a:pt x="7493" y="2501"/>
                  </a:cubicBezTo>
                  <a:cubicBezTo>
                    <a:pt x="7493" y="2461"/>
                    <a:pt x="7410" y="2393"/>
                    <a:pt x="7242" y="2300"/>
                  </a:cubicBezTo>
                  <a:cubicBezTo>
                    <a:pt x="7064" y="2206"/>
                    <a:pt x="6975" y="2136"/>
                    <a:pt x="6975" y="2089"/>
                  </a:cubicBezTo>
                  <a:cubicBezTo>
                    <a:pt x="6975" y="2030"/>
                    <a:pt x="7038" y="1969"/>
                    <a:pt x="7164" y="1905"/>
                  </a:cubicBezTo>
                  <a:cubicBezTo>
                    <a:pt x="7279" y="1846"/>
                    <a:pt x="7358" y="1817"/>
                    <a:pt x="7399" y="1817"/>
                  </a:cubicBezTo>
                  <a:cubicBezTo>
                    <a:pt x="7462" y="1817"/>
                    <a:pt x="7609" y="1867"/>
                    <a:pt x="7839" y="1966"/>
                  </a:cubicBezTo>
                  <a:cubicBezTo>
                    <a:pt x="8080" y="2060"/>
                    <a:pt x="8243" y="2106"/>
                    <a:pt x="8326" y="2106"/>
                  </a:cubicBezTo>
                  <a:cubicBezTo>
                    <a:pt x="8389" y="2106"/>
                    <a:pt x="8441" y="2060"/>
                    <a:pt x="8483" y="1966"/>
                  </a:cubicBezTo>
                  <a:cubicBezTo>
                    <a:pt x="8514" y="1867"/>
                    <a:pt x="8583" y="1817"/>
                    <a:pt x="8687" y="1817"/>
                  </a:cubicBezTo>
                  <a:cubicBezTo>
                    <a:pt x="8876" y="1817"/>
                    <a:pt x="9111" y="1881"/>
                    <a:pt x="9394" y="2010"/>
                  </a:cubicBezTo>
                  <a:cubicBezTo>
                    <a:pt x="9551" y="2086"/>
                    <a:pt x="9766" y="2194"/>
                    <a:pt x="10039" y="2335"/>
                  </a:cubicBezTo>
                  <a:cubicBezTo>
                    <a:pt x="10049" y="2335"/>
                    <a:pt x="10164" y="2440"/>
                    <a:pt x="10384" y="2651"/>
                  </a:cubicBezTo>
                  <a:cubicBezTo>
                    <a:pt x="10572" y="2826"/>
                    <a:pt x="10719" y="2914"/>
                    <a:pt x="10824" y="2914"/>
                  </a:cubicBezTo>
                  <a:cubicBezTo>
                    <a:pt x="10918" y="2914"/>
                    <a:pt x="10997" y="2850"/>
                    <a:pt x="11060" y="2721"/>
                  </a:cubicBezTo>
                  <a:cubicBezTo>
                    <a:pt x="11060" y="2616"/>
                    <a:pt x="10892" y="2510"/>
                    <a:pt x="10557" y="2405"/>
                  </a:cubicBezTo>
                  <a:cubicBezTo>
                    <a:pt x="10159" y="2270"/>
                    <a:pt x="9939" y="2188"/>
                    <a:pt x="9897" y="2159"/>
                  </a:cubicBezTo>
                  <a:cubicBezTo>
                    <a:pt x="9845" y="2112"/>
                    <a:pt x="9677" y="2010"/>
                    <a:pt x="9394" y="1852"/>
                  </a:cubicBezTo>
                  <a:cubicBezTo>
                    <a:pt x="9132" y="1700"/>
                    <a:pt x="9002" y="1621"/>
                    <a:pt x="9002" y="1615"/>
                  </a:cubicBezTo>
                  <a:cubicBezTo>
                    <a:pt x="9002" y="1521"/>
                    <a:pt x="9237" y="1439"/>
                    <a:pt x="9709" y="1369"/>
                  </a:cubicBezTo>
                  <a:cubicBezTo>
                    <a:pt x="10054" y="1317"/>
                    <a:pt x="10300" y="1290"/>
                    <a:pt x="10447" y="1290"/>
                  </a:cubicBezTo>
                  <a:cubicBezTo>
                    <a:pt x="10709" y="1290"/>
                    <a:pt x="11012" y="1346"/>
                    <a:pt x="11358" y="1457"/>
                  </a:cubicBezTo>
                  <a:cubicBezTo>
                    <a:pt x="11756" y="1580"/>
                    <a:pt x="11981" y="1644"/>
                    <a:pt x="12034" y="1650"/>
                  </a:cubicBezTo>
                  <a:cubicBezTo>
                    <a:pt x="12054" y="1638"/>
                    <a:pt x="12065" y="1609"/>
                    <a:pt x="12065" y="1562"/>
                  </a:cubicBezTo>
                  <a:cubicBezTo>
                    <a:pt x="12065" y="1498"/>
                    <a:pt x="12002" y="1422"/>
                    <a:pt x="11876" y="1334"/>
                  </a:cubicBezTo>
                  <a:cubicBezTo>
                    <a:pt x="11740" y="1246"/>
                    <a:pt x="11672" y="1182"/>
                    <a:pt x="11672" y="1141"/>
                  </a:cubicBezTo>
                  <a:cubicBezTo>
                    <a:pt x="11672" y="848"/>
                    <a:pt x="11803" y="702"/>
                    <a:pt x="12065" y="702"/>
                  </a:cubicBezTo>
                  <a:cubicBezTo>
                    <a:pt x="12086" y="702"/>
                    <a:pt x="12290" y="749"/>
                    <a:pt x="12677" y="843"/>
                  </a:cubicBezTo>
                  <a:cubicBezTo>
                    <a:pt x="12824" y="843"/>
                    <a:pt x="12902" y="784"/>
                    <a:pt x="12913" y="667"/>
                  </a:cubicBezTo>
                  <a:cubicBezTo>
                    <a:pt x="12913" y="544"/>
                    <a:pt x="13007" y="483"/>
                    <a:pt x="13196" y="483"/>
                  </a:cubicBezTo>
                  <a:cubicBezTo>
                    <a:pt x="13227" y="483"/>
                    <a:pt x="13327" y="497"/>
                    <a:pt x="13495" y="527"/>
                  </a:cubicBezTo>
                  <a:cubicBezTo>
                    <a:pt x="13673" y="556"/>
                    <a:pt x="13788" y="570"/>
                    <a:pt x="13840" y="570"/>
                  </a:cubicBezTo>
                  <a:lnTo>
                    <a:pt x="14562" y="553"/>
                  </a:lnTo>
                  <a:cubicBezTo>
                    <a:pt x="14709" y="553"/>
                    <a:pt x="14966" y="489"/>
                    <a:pt x="15332" y="360"/>
                  </a:cubicBezTo>
                  <a:cubicBezTo>
                    <a:pt x="15709" y="225"/>
                    <a:pt x="15945" y="158"/>
                    <a:pt x="16039" y="158"/>
                  </a:cubicBezTo>
                  <a:cubicBezTo>
                    <a:pt x="16207" y="158"/>
                    <a:pt x="16290" y="240"/>
                    <a:pt x="16290" y="404"/>
                  </a:cubicBezTo>
                  <a:cubicBezTo>
                    <a:pt x="16290" y="486"/>
                    <a:pt x="16170" y="626"/>
                    <a:pt x="15929" y="825"/>
                  </a:cubicBezTo>
                  <a:cubicBezTo>
                    <a:pt x="15678" y="1024"/>
                    <a:pt x="15552" y="1188"/>
                    <a:pt x="15552" y="1317"/>
                  </a:cubicBezTo>
                  <a:cubicBezTo>
                    <a:pt x="15552" y="1346"/>
                    <a:pt x="15563" y="1369"/>
                    <a:pt x="15583" y="1387"/>
                  </a:cubicBezTo>
                  <a:cubicBezTo>
                    <a:pt x="15605" y="1387"/>
                    <a:pt x="15647" y="1393"/>
                    <a:pt x="15709" y="1404"/>
                  </a:cubicBezTo>
                  <a:cubicBezTo>
                    <a:pt x="16087" y="1404"/>
                    <a:pt x="16395" y="1170"/>
                    <a:pt x="16636" y="702"/>
                  </a:cubicBezTo>
                  <a:cubicBezTo>
                    <a:pt x="16594" y="620"/>
                    <a:pt x="16573" y="565"/>
                    <a:pt x="16573" y="535"/>
                  </a:cubicBezTo>
                  <a:cubicBezTo>
                    <a:pt x="16573" y="512"/>
                    <a:pt x="16604" y="489"/>
                    <a:pt x="16668" y="465"/>
                  </a:cubicBezTo>
                  <a:cubicBezTo>
                    <a:pt x="16720" y="442"/>
                    <a:pt x="16767" y="430"/>
                    <a:pt x="16809" y="430"/>
                  </a:cubicBezTo>
                  <a:cubicBezTo>
                    <a:pt x="16851" y="430"/>
                    <a:pt x="16935" y="465"/>
                    <a:pt x="17060" y="535"/>
                  </a:cubicBezTo>
                  <a:cubicBezTo>
                    <a:pt x="17154" y="471"/>
                    <a:pt x="17202" y="389"/>
                    <a:pt x="17202" y="290"/>
                  </a:cubicBezTo>
                  <a:cubicBezTo>
                    <a:pt x="17181" y="184"/>
                    <a:pt x="17165" y="111"/>
                    <a:pt x="17154" y="70"/>
                  </a:cubicBezTo>
                  <a:cubicBezTo>
                    <a:pt x="17176" y="70"/>
                    <a:pt x="17197" y="64"/>
                    <a:pt x="17217" y="53"/>
                  </a:cubicBezTo>
                  <a:cubicBezTo>
                    <a:pt x="17301" y="53"/>
                    <a:pt x="17505" y="105"/>
                    <a:pt x="17830" y="211"/>
                  </a:cubicBezTo>
                  <a:cubicBezTo>
                    <a:pt x="17840" y="211"/>
                    <a:pt x="17898" y="176"/>
                    <a:pt x="18003" y="105"/>
                  </a:cubicBezTo>
                  <a:cubicBezTo>
                    <a:pt x="18118" y="35"/>
                    <a:pt x="18202" y="0"/>
                    <a:pt x="18254" y="0"/>
                  </a:cubicBezTo>
                  <a:cubicBezTo>
                    <a:pt x="18422" y="0"/>
                    <a:pt x="18558" y="61"/>
                    <a:pt x="18663" y="184"/>
                  </a:cubicBezTo>
                  <a:cubicBezTo>
                    <a:pt x="18799" y="348"/>
                    <a:pt x="18888" y="442"/>
                    <a:pt x="18929" y="465"/>
                  </a:cubicBezTo>
                  <a:cubicBezTo>
                    <a:pt x="18961" y="483"/>
                    <a:pt x="19144" y="535"/>
                    <a:pt x="19479" y="623"/>
                  </a:cubicBezTo>
                  <a:cubicBezTo>
                    <a:pt x="19511" y="641"/>
                    <a:pt x="19553" y="688"/>
                    <a:pt x="19605" y="764"/>
                  </a:cubicBezTo>
                  <a:cubicBezTo>
                    <a:pt x="19647" y="816"/>
                    <a:pt x="19720" y="843"/>
                    <a:pt x="19825" y="843"/>
                  </a:cubicBezTo>
                  <a:cubicBezTo>
                    <a:pt x="19857" y="843"/>
                    <a:pt x="19993" y="813"/>
                    <a:pt x="20233" y="755"/>
                  </a:cubicBezTo>
                  <a:cubicBezTo>
                    <a:pt x="20464" y="696"/>
                    <a:pt x="20610" y="667"/>
                    <a:pt x="20673" y="667"/>
                  </a:cubicBezTo>
                  <a:cubicBezTo>
                    <a:pt x="20956" y="667"/>
                    <a:pt x="21171" y="726"/>
                    <a:pt x="21317" y="843"/>
                  </a:cubicBezTo>
                  <a:cubicBezTo>
                    <a:pt x="21443" y="936"/>
                    <a:pt x="21506" y="1044"/>
                    <a:pt x="21506" y="1167"/>
                  </a:cubicBezTo>
                  <a:cubicBezTo>
                    <a:pt x="21506" y="1255"/>
                    <a:pt x="21537" y="1428"/>
                    <a:pt x="21600" y="1685"/>
                  </a:cubicBezTo>
                  <a:cubicBezTo>
                    <a:pt x="21600" y="1832"/>
                    <a:pt x="21569" y="1966"/>
                    <a:pt x="21506" y="2089"/>
                  </a:cubicBezTo>
                  <a:lnTo>
                    <a:pt x="21506" y="2177"/>
                  </a:lnTo>
                  <a:cubicBezTo>
                    <a:pt x="20731" y="2820"/>
                    <a:pt x="20181" y="3248"/>
                    <a:pt x="19857" y="3458"/>
                  </a:cubicBezTo>
                  <a:cubicBezTo>
                    <a:pt x="19343" y="3803"/>
                    <a:pt x="18720" y="3976"/>
                    <a:pt x="17987" y="3976"/>
                  </a:cubicBezTo>
                  <a:lnTo>
                    <a:pt x="17673" y="3941"/>
                  </a:lnTo>
                  <a:lnTo>
                    <a:pt x="17422" y="3941"/>
                  </a:lnTo>
                  <a:cubicBezTo>
                    <a:pt x="17464" y="4005"/>
                    <a:pt x="17600" y="4075"/>
                    <a:pt x="17830" y="4152"/>
                  </a:cubicBezTo>
                  <a:cubicBezTo>
                    <a:pt x="18029" y="4222"/>
                    <a:pt x="18139" y="4295"/>
                    <a:pt x="18160" y="4371"/>
                  </a:cubicBezTo>
                  <a:lnTo>
                    <a:pt x="18380" y="4371"/>
                  </a:lnTo>
                  <a:cubicBezTo>
                    <a:pt x="18505" y="4283"/>
                    <a:pt x="18668" y="4198"/>
                    <a:pt x="18867" y="4116"/>
                  </a:cubicBezTo>
                  <a:cubicBezTo>
                    <a:pt x="19087" y="4023"/>
                    <a:pt x="19260" y="3976"/>
                    <a:pt x="19385" y="3976"/>
                  </a:cubicBezTo>
                  <a:cubicBezTo>
                    <a:pt x="19438" y="3976"/>
                    <a:pt x="19490" y="3991"/>
                    <a:pt x="19543" y="4020"/>
                  </a:cubicBezTo>
                  <a:cubicBezTo>
                    <a:pt x="19584" y="4037"/>
                    <a:pt x="19605" y="4052"/>
                    <a:pt x="19605" y="4064"/>
                  </a:cubicBezTo>
                  <a:cubicBezTo>
                    <a:pt x="19605" y="4233"/>
                    <a:pt x="19249" y="4561"/>
                    <a:pt x="18537" y="5047"/>
                  </a:cubicBezTo>
                  <a:cubicBezTo>
                    <a:pt x="17815" y="5538"/>
                    <a:pt x="17453" y="5796"/>
                    <a:pt x="17453" y="5819"/>
                  </a:cubicBezTo>
                  <a:cubicBezTo>
                    <a:pt x="17453" y="5866"/>
                    <a:pt x="17490" y="5889"/>
                    <a:pt x="17563" y="5889"/>
                  </a:cubicBezTo>
                  <a:cubicBezTo>
                    <a:pt x="17877" y="5889"/>
                    <a:pt x="18202" y="5778"/>
                    <a:pt x="18537" y="5556"/>
                  </a:cubicBezTo>
                  <a:cubicBezTo>
                    <a:pt x="18725" y="5427"/>
                    <a:pt x="19061" y="5196"/>
                    <a:pt x="19543" y="4862"/>
                  </a:cubicBezTo>
                  <a:cubicBezTo>
                    <a:pt x="19804" y="4704"/>
                    <a:pt x="20171" y="4447"/>
                    <a:pt x="20642" y="4090"/>
                  </a:cubicBezTo>
                  <a:cubicBezTo>
                    <a:pt x="20935" y="3868"/>
                    <a:pt x="21192" y="3733"/>
                    <a:pt x="21412" y="3686"/>
                  </a:cubicBezTo>
                  <a:cubicBezTo>
                    <a:pt x="21496" y="3792"/>
                    <a:pt x="21537" y="3912"/>
                    <a:pt x="21537" y="4046"/>
                  </a:cubicBezTo>
                  <a:cubicBezTo>
                    <a:pt x="21537" y="4257"/>
                    <a:pt x="21511" y="4385"/>
                    <a:pt x="21459" y="4432"/>
                  </a:cubicBezTo>
                  <a:cubicBezTo>
                    <a:pt x="21302" y="4573"/>
                    <a:pt x="21176" y="4710"/>
                    <a:pt x="21081" y="4845"/>
                  </a:cubicBezTo>
                  <a:cubicBezTo>
                    <a:pt x="21113" y="4845"/>
                    <a:pt x="21129" y="4839"/>
                    <a:pt x="21129" y="4827"/>
                  </a:cubicBezTo>
                  <a:lnTo>
                    <a:pt x="21160" y="4950"/>
                  </a:lnTo>
                  <a:lnTo>
                    <a:pt x="20736" y="6065"/>
                  </a:lnTo>
                  <a:cubicBezTo>
                    <a:pt x="20600" y="6334"/>
                    <a:pt x="20469" y="6562"/>
                    <a:pt x="20343" y="6749"/>
                  </a:cubicBezTo>
                  <a:cubicBezTo>
                    <a:pt x="20302" y="6843"/>
                    <a:pt x="20281" y="7022"/>
                    <a:pt x="20281" y="7285"/>
                  </a:cubicBezTo>
                  <a:cubicBezTo>
                    <a:pt x="20281" y="7525"/>
                    <a:pt x="20260" y="7683"/>
                    <a:pt x="20217" y="7759"/>
                  </a:cubicBezTo>
                  <a:cubicBezTo>
                    <a:pt x="20144" y="7882"/>
                    <a:pt x="19993" y="7943"/>
                    <a:pt x="19762" y="7943"/>
                  </a:cubicBezTo>
                  <a:cubicBezTo>
                    <a:pt x="19532" y="7943"/>
                    <a:pt x="19322" y="7908"/>
                    <a:pt x="19134" y="7838"/>
                  </a:cubicBezTo>
                  <a:cubicBezTo>
                    <a:pt x="19218" y="7873"/>
                    <a:pt x="19354" y="7926"/>
                    <a:pt x="19543" y="7996"/>
                  </a:cubicBezTo>
                  <a:cubicBezTo>
                    <a:pt x="19836" y="8125"/>
                    <a:pt x="19982" y="8215"/>
                    <a:pt x="19982" y="8268"/>
                  </a:cubicBezTo>
                  <a:cubicBezTo>
                    <a:pt x="19479" y="8438"/>
                    <a:pt x="19076" y="8590"/>
                    <a:pt x="18772" y="8724"/>
                  </a:cubicBezTo>
                  <a:cubicBezTo>
                    <a:pt x="18605" y="8794"/>
                    <a:pt x="18469" y="8862"/>
                    <a:pt x="18364" y="8926"/>
                  </a:cubicBezTo>
                  <a:cubicBezTo>
                    <a:pt x="18385" y="8938"/>
                    <a:pt x="18417" y="8944"/>
                    <a:pt x="18458" y="8944"/>
                  </a:cubicBezTo>
                  <a:cubicBezTo>
                    <a:pt x="18553" y="8944"/>
                    <a:pt x="18683" y="8914"/>
                    <a:pt x="18851" y="8856"/>
                  </a:cubicBezTo>
                  <a:cubicBezTo>
                    <a:pt x="18904" y="8838"/>
                    <a:pt x="18966" y="8815"/>
                    <a:pt x="19039" y="8786"/>
                  </a:cubicBezTo>
                  <a:cubicBezTo>
                    <a:pt x="19291" y="8674"/>
                    <a:pt x="19522" y="8619"/>
                    <a:pt x="19731" y="8619"/>
                  </a:cubicBezTo>
                  <a:cubicBezTo>
                    <a:pt x="19867" y="8619"/>
                    <a:pt x="19951" y="8625"/>
                    <a:pt x="19982" y="8637"/>
                  </a:cubicBezTo>
                  <a:cubicBezTo>
                    <a:pt x="20003" y="8648"/>
                    <a:pt x="20014" y="8677"/>
                    <a:pt x="20014" y="8724"/>
                  </a:cubicBezTo>
                  <a:cubicBezTo>
                    <a:pt x="20014" y="8771"/>
                    <a:pt x="19925" y="8856"/>
                    <a:pt x="19746" y="8979"/>
                  </a:cubicBezTo>
                  <a:cubicBezTo>
                    <a:pt x="19558" y="9107"/>
                    <a:pt x="19464" y="9189"/>
                    <a:pt x="19464" y="9225"/>
                  </a:cubicBezTo>
                  <a:cubicBezTo>
                    <a:pt x="19464" y="9271"/>
                    <a:pt x="19558" y="9321"/>
                    <a:pt x="19746" y="9374"/>
                  </a:cubicBezTo>
                  <a:cubicBezTo>
                    <a:pt x="19925" y="9426"/>
                    <a:pt x="20014" y="9488"/>
                    <a:pt x="20014" y="9558"/>
                  </a:cubicBezTo>
                  <a:cubicBezTo>
                    <a:pt x="20014" y="9628"/>
                    <a:pt x="19909" y="9710"/>
                    <a:pt x="19700" y="9804"/>
                  </a:cubicBezTo>
                  <a:cubicBezTo>
                    <a:pt x="19636" y="9827"/>
                    <a:pt x="19568" y="9854"/>
                    <a:pt x="19495" y="9883"/>
                  </a:cubicBezTo>
                  <a:cubicBezTo>
                    <a:pt x="19181" y="10000"/>
                    <a:pt x="18961" y="10058"/>
                    <a:pt x="18836" y="10058"/>
                  </a:cubicBezTo>
                  <a:cubicBezTo>
                    <a:pt x="18668" y="10058"/>
                    <a:pt x="18432" y="10023"/>
                    <a:pt x="18129" y="9953"/>
                  </a:cubicBezTo>
                  <a:cubicBezTo>
                    <a:pt x="17825" y="9883"/>
                    <a:pt x="17621" y="9848"/>
                    <a:pt x="17516" y="9848"/>
                  </a:cubicBezTo>
                  <a:cubicBezTo>
                    <a:pt x="17244" y="9848"/>
                    <a:pt x="17013" y="9894"/>
                    <a:pt x="16825" y="9988"/>
                  </a:cubicBezTo>
                  <a:cubicBezTo>
                    <a:pt x="16825" y="10000"/>
                    <a:pt x="16862" y="10017"/>
                    <a:pt x="16935" y="10041"/>
                  </a:cubicBezTo>
                  <a:cubicBezTo>
                    <a:pt x="17019" y="10064"/>
                    <a:pt x="17087" y="10076"/>
                    <a:pt x="17139" y="10076"/>
                  </a:cubicBezTo>
                  <a:lnTo>
                    <a:pt x="17610" y="10023"/>
                  </a:lnTo>
                  <a:cubicBezTo>
                    <a:pt x="17778" y="10023"/>
                    <a:pt x="17945" y="10085"/>
                    <a:pt x="18113" y="10208"/>
                  </a:cubicBezTo>
                  <a:cubicBezTo>
                    <a:pt x="18259" y="10313"/>
                    <a:pt x="18332" y="10392"/>
                    <a:pt x="18332" y="10445"/>
                  </a:cubicBezTo>
                  <a:cubicBezTo>
                    <a:pt x="18332" y="10550"/>
                    <a:pt x="18218" y="10661"/>
                    <a:pt x="17987" y="10778"/>
                  </a:cubicBezTo>
                  <a:cubicBezTo>
                    <a:pt x="17652" y="10948"/>
                    <a:pt x="17479" y="11038"/>
                    <a:pt x="17468" y="11050"/>
                  </a:cubicBezTo>
                  <a:cubicBezTo>
                    <a:pt x="17416" y="11085"/>
                    <a:pt x="17306" y="11123"/>
                    <a:pt x="17139" y="11164"/>
                  </a:cubicBezTo>
                  <a:cubicBezTo>
                    <a:pt x="16930" y="11223"/>
                    <a:pt x="16804" y="11258"/>
                    <a:pt x="16762" y="11270"/>
                  </a:cubicBezTo>
                  <a:cubicBezTo>
                    <a:pt x="16741" y="11275"/>
                    <a:pt x="16678" y="11319"/>
                    <a:pt x="16573" y="11401"/>
                  </a:cubicBezTo>
                  <a:cubicBezTo>
                    <a:pt x="16490" y="11460"/>
                    <a:pt x="16395" y="11489"/>
                    <a:pt x="16290" y="11489"/>
                  </a:cubicBezTo>
                  <a:cubicBezTo>
                    <a:pt x="16176" y="11489"/>
                    <a:pt x="16044" y="11439"/>
                    <a:pt x="15898" y="11340"/>
                  </a:cubicBezTo>
                  <a:cubicBezTo>
                    <a:pt x="15752" y="11234"/>
                    <a:pt x="15599" y="11182"/>
                    <a:pt x="15442" y="11182"/>
                  </a:cubicBezTo>
                  <a:cubicBezTo>
                    <a:pt x="15243" y="11182"/>
                    <a:pt x="15112" y="11264"/>
                    <a:pt x="15050" y="11428"/>
                  </a:cubicBezTo>
                  <a:cubicBezTo>
                    <a:pt x="14945" y="11662"/>
                    <a:pt x="14856" y="11808"/>
                    <a:pt x="14783" y="11866"/>
                  </a:cubicBezTo>
                  <a:cubicBezTo>
                    <a:pt x="14814" y="11866"/>
                    <a:pt x="14940" y="11858"/>
                    <a:pt x="15159" y="11840"/>
                  </a:cubicBezTo>
                  <a:cubicBezTo>
                    <a:pt x="15369" y="11828"/>
                    <a:pt x="15474" y="11855"/>
                    <a:pt x="15474" y="11919"/>
                  </a:cubicBezTo>
                  <a:cubicBezTo>
                    <a:pt x="15474" y="11954"/>
                    <a:pt x="15411" y="12016"/>
                    <a:pt x="15285" y="12103"/>
                  </a:cubicBezTo>
                  <a:cubicBezTo>
                    <a:pt x="15149" y="12191"/>
                    <a:pt x="15081" y="12267"/>
                    <a:pt x="15081" y="12332"/>
                  </a:cubicBezTo>
                  <a:lnTo>
                    <a:pt x="15238" y="12332"/>
                  </a:lnTo>
                  <a:cubicBezTo>
                    <a:pt x="15416" y="12285"/>
                    <a:pt x="15594" y="12261"/>
                    <a:pt x="15772" y="12261"/>
                  </a:cubicBezTo>
                  <a:cubicBezTo>
                    <a:pt x="16002" y="12261"/>
                    <a:pt x="16118" y="12314"/>
                    <a:pt x="16118" y="12419"/>
                  </a:cubicBezTo>
                  <a:cubicBezTo>
                    <a:pt x="16118" y="12484"/>
                    <a:pt x="16060" y="12554"/>
                    <a:pt x="15945" y="12630"/>
                  </a:cubicBezTo>
                  <a:cubicBezTo>
                    <a:pt x="15788" y="12730"/>
                    <a:pt x="15694" y="12797"/>
                    <a:pt x="15662" y="12832"/>
                  </a:cubicBezTo>
                  <a:cubicBezTo>
                    <a:pt x="15683" y="12832"/>
                    <a:pt x="15720" y="12841"/>
                    <a:pt x="15772" y="12858"/>
                  </a:cubicBezTo>
                  <a:cubicBezTo>
                    <a:pt x="15856" y="12858"/>
                    <a:pt x="16034" y="12788"/>
                    <a:pt x="16306" y="12648"/>
                  </a:cubicBezTo>
                  <a:cubicBezTo>
                    <a:pt x="16579" y="12507"/>
                    <a:pt x="16804" y="12437"/>
                    <a:pt x="16982" y="12437"/>
                  </a:cubicBezTo>
                  <a:cubicBezTo>
                    <a:pt x="17118" y="12437"/>
                    <a:pt x="17149" y="12528"/>
                    <a:pt x="17076" y="12709"/>
                  </a:cubicBezTo>
                  <a:cubicBezTo>
                    <a:pt x="17076" y="12750"/>
                    <a:pt x="17087" y="12773"/>
                    <a:pt x="17108" y="12779"/>
                  </a:cubicBezTo>
                  <a:lnTo>
                    <a:pt x="17249" y="12779"/>
                  </a:lnTo>
                  <a:cubicBezTo>
                    <a:pt x="17301" y="12779"/>
                    <a:pt x="17401" y="12770"/>
                    <a:pt x="17547" y="12753"/>
                  </a:cubicBezTo>
                  <a:cubicBezTo>
                    <a:pt x="17694" y="12735"/>
                    <a:pt x="17819" y="12727"/>
                    <a:pt x="17924" y="12727"/>
                  </a:cubicBezTo>
                  <a:cubicBezTo>
                    <a:pt x="18218" y="12727"/>
                    <a:pt x="18505" y="12770"/>
                    <a:pt x="18788" y="12858"/>
                  </a:cubicBezTo>
                  <a:cubicBezTo>
                    <a:pt x="19092" y="12958"/>
                    <a:pt x="19244" y="13072"/>
                    <a:pt x="19244" y="13201"/>
                  </a:cubicBezTo>
                  <a:cubicBezTo>
                    <a:pt x="19244" y="13464"/>
                    <a:pt x="18998" y="13633"/>
                    <a:pt x="18505" y="13709"/>
                  </a:cubicBezTo>
                  <a:cubicBezTo>
                    <a:pt x="18003" y="13780"/>
                    <a:pt x="17751" y="13853"/>
                    <a:pt x="17751" y="13929"/>
                  </a:cubicBezTo>
                  <a:cubicBezTo>
                    <a:pt x="17751" y="13999"/>
                    <a:pt x="18013" y="14028"/>
                    <a:pt x="18537" y="14017"/>
                  </a:cubicBezTo>
                  <a:cubicBezTo>
                    <a:pt x="19050" y="14005"/>
                    <a:pt x="19307" y="14093"/>
                    <a:pt x="19307" y="14280"/>
                  </a:cubicBezTo>
                  <a:cubicBezTo>
                    <a:pt x="19307" y="14461"/>
                    <a:pt x="19045" y="14581"/>
                    <a:pt x="18521" y="14640"/>
                  </a:cubicBezTo>
                  <a:cubicBezTo>
                    <a:pt x="17883" y="14710"/>
                    <a:pt x="17474" y="14812"/>
                    <a:pt x="17296" y="14947"/>
                  </a:cubicBezTo>
                  <a:cubicBezTo>
                    <a:pt x="17317" y="14982"/>
                    <a:pt x="17359" y="15003"/>
                    <a:pt x="17422" y="15008"/>
                  </a:cubicBezTo>
                  <a:cubicBezTo>
                    <a:pt x="17453" y="15014"/>
                    <a:pt x="17537" y="15017"/>
                    <a:pt x="17673" y="15017"/>
                  </a:cubicBezTo>
                  <a:cubicBezTo>
                    <a:pt x="17809" y="15017"/>
                    <a:pt x="18154" y="14988"/>
                    <a:pt x="18710" y="14930"/>
                  </a:cubicBezTo>
                  <a:cubicBezTo>
                    <a:pt x="18772" y="14930"/>
                    <a:pt x="18830" y="14953"/>
                    <a:pt x="18882" y="15000"/>
                  </a:cubicBezTo>
                  <a:cubicBezTo>
                    <a:pt x="18925" y="15041"/>
                    <a:pt x="18945" y="15079"/>
                    <a:pt x="18945" y="15114"/>
                  </a:cubicBezTo>
                  <a:cubicBezTo>
                    <a:pt x="18945" y="15184"/>
                    <a:pt x="18793" y="15289"/>
                    <a:pt x="18490" y="15430"/>
                  </a:cubicBezTo>
                  <a:close/>
                  <a:moveTo>
                    <a:pt x="18490" y="1543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4" name="AutoShape 31"/>
            <p:cNvSpPr>
              <a:spLocks/>
            </p:cNvSpPr>
            <p:nvPr/>
          </p:nvSpPr>
          <p:spPr bwMode="auto">
            <a:xfrm>
              <a:off x="7156237" y="1868482"/>
              <a:ext cx="27057" cy="17868"/>
            </a:xfrm>
            <a:custGeom>
              <a:avLst/>
              <a:gdLst/>
              <a:ahLst/>
              <a:cxnLst/>
              <a:rect l="0" t="0" r="r" b="b"/>
              <a:pathLst>
                <a:path w="21600" h="21600">
                  <a:moveTo>
                    <a:pt x="0" y="7856"/>
                  </a:moveTo>
                  <a:cubicBezTo>
                    <a:pt x="0" y="7201"/>
                    <a:pt x="2096" y="5730"/>
                    <a:pt x="6289" y="3437"/>
                  </a:cubicBezTo>
                  <a:cubicBezTo>
                    <a:pt x="10369" y="1147"/>
                    <a:pt x="12786" y="0"/>
                    <a:pt x="13542" y="0"/>
                  </a:cubicBezTo>
                  <a:cubicBezTo>
                    <a:pt x="14291" y="0"/>
                    <a:pt x="15260" y="820"/>
                    <a:pt x="16444" y="2456"/>
                  </a:cubicBezTo>
                  <a:cubicBezTo>
                    <a:pt x="16765" y="2946"/>
                    <a:pt x="17086" y="3437"/>
                    <a:pt x="17407" y="3929"/>
                  </a:cubicBezTo>
                  <a:cubicBezTo>
                    <a:pt x="18056" y="4910"/>
                    <a:pt x="18377" y="5730"/>
                    <a:pt x="18377" y="6383"/>
                  </a:cubicBezTo>
                  <a:cubicBezTo>
                    <a:pt x="18912" y="7038"/>
                    <a:pt x="19453" y="7937"/>
                    <a:pt x="19988" y="9084"/>
                  </a:cubicBezTo>
                  <a:cubicBezTo>
                    <a:pt x="21065" y="11209"/>
                    <a:pt x="21600" y="12926"/>
                    <a:pt x="21600" y="14236"/>
                  </a:cubicBezTo>
                  <a:cubicBezTo>
                    <a:pt x="21600" y="16364"/>
                    <a:pt x="20794" y="18165"/>
                    <a:pt x="19183" y="19635"/>
                  </a:cubicBezTo>
                  <a:cubicBezTo>
                    <a:pt x="17678" y="20945"/>
                    <a:pt x="15903" y="21600"/>
                    <a:pt x="13863" y="21600"/>
                  </a:cubicBezTo>
                  <a:cubicBezTo>
                    <a:pt x="12358" y="21600"/>
                    <a:pt x="11175" y="20945"/>
                    <a:pt x="10318" y="19635"/>
                  </a:cubicBezTo>
                  <a:cubicBezTo>
                    <a:pt x="8921" y="17836"/>
                    <a:pt x="7794" y="16608"/>
                    <a:pt x="6931" y="15954"/>
                  </a:cubicBezTo>
                  <a:cubicBezTo>
                    <a:pt x="4999" y="14975"/>
                    <a:pt x="3551" y="14073"/>
                    <a:pt x="2581" y="13255"/>
                  </a:cubicBezTo>
                  <a:cubicBezTo>
                    <a:pt x="862" y="11782"/>
                    <a:pt x="0" y="9981"/>
                    <a:pt x="0" y="7856"/>
                  </a:cubicBezTo>
                  <a:close/>
                  <a:moveTo>
                    <a:pt x="0" y="785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5" name="AutoShape 32"/>
            <p:cNvSpPr>
              <a:spLocks/>
            </p:cNvSpPr>
            <p:nvPr/>
          </p:nvSpPr>
          <p:spPr bwMode="auto">
            <a:xfrm>
              <a:off x="6890775" y="1766381"/>
              <a:ext cx="145494" cy="220027"/>
            </a:xfrm>
            <a:custGeom>
              <a:avLst/>
              <a:gdLst/>
              <a:ahLst/>
              <a:cxnLst/>
              <a:rect l="0" t="0" r="r" b="b"/>
              <a:pathLst>
                <a:path w="21600" h="21514">
                  <a:moveTo>
                    <a:pt x="12040" y="21480"/>
                  </a:moveTo>
                  <a:lnTo>
                    <a:pt x="12011" y="21480"/>
                  </a:lnTo>
                  <a:cubicBezTo>
                    <a:pt x="10841" y="21600"/>
                    <a:pt x="9731" y="21400"/>
                    <a:pt x="8683" y="20882"/>
                  </a:cubicBezTo>
                  <a:cubicBezTo>
                    <a:pt x="8138" y="20656"/>
                    <a:pt x="7724" y="20470"/>
                    <a:pt x="7442" y="20323"/>
                  </a:cubicBezTo>
                  <a:cubicBezTo>
                    <a:pt x="6937" y="20071"/>
                    <a:pt x="6686" y="19851"/>
                    <a:pt x="6686" y="19665"/>
                  </a:cubicBezTo>
                  <a:cubicBezTo>
                    <a:pt x="6686" y="19492"/>
                    <a:pt x="6958" y="19340"/>
                    <a:pt x="7502" y="19206"/>
                  </a:cubicBezTo>
                  <a:cubicBezTo>
                    <a:pt x="8209" y="19034"/>
                    <a:pt x="8683" y="18867"/>
                    <a:pt x="8924" y="18708"/>
                  </a:cubicBezTo>
                  <a:cubicBezTo>
                    <a:pt x="8279" y="18588"/>
                    <a:pt x="7724" y="18482"/>
                    <a:pt x="7260" y="18389"/>
                  </a:cubicBezTo>
                  <a:cubicBezTo>
                    <a:pt x="6394" y="18216"/>
                    <a:pt x="5960" y="18003"/>
                    <a:pt x="5960" y="17751"/>
                  </a:cubicBezTo>
                  <a:cubicBezTo>
                    <a:pt x="5960" y="17631"/>
                    <a:pt x="6112" y="17525"/>
                    <a:pt x="6414" y="17431"/>
                  </a:cubicBezTo>
                  <a:cubicBezTo>
                    <a:pt x="6717" y="17325"/>
                    <a:pt x="6868" y="17219"/>
                    <a:pt x="6868" y="17112"/>
                  </a:cubicBezTo>
                  <a:cubicBezTo>
                    <a:pt x="6868" y="17006"/>
                    <a:pt x="6615" y="16893"/>
                    <a:pt x="6112" y="16773"/>
                  </a:cubicBezTo>
                  <a:cubicBezTo>
                    <a:pt x="5587" y="16654"/>
                    <a:pt x="5325" y="16401"/>
                    <a:pt x="5325" y="16015"/>
                  </a:cubicBezTo>
                  <a:cubicBezTo>
                    <a:pt x="5325" y="14991"/>
                    <a:pt x="6646" y="14480"/>
                    <a:pt x="9288" y="14480"/>
                  </a:cubicBezTo>
                  <a:cubicBezTo>
                    <a:pt x="9731" y="14480"/>
                    <a:pt x="10236" y="14400"/>
                    <a:pt x="10801" y="14240"/>
                  </a:cubicBezTo>
                  <a:cubicBezTo>
                    <a:pt x="11426" y="14068"/>
                    <a:pt x="11738" y="13881"/>
                    <a:pt x="11738" y="13682"/>
                  </a:cubicBezTo>
                  <a:cubicBezTo>
                    <a:pt x="11738" y="13629"/>
                    <a:pt x="11627" y="13569"/>
                    <a:pt x="11406" y="13502"/>
                  </a:cubicBezTo>
                  <a:cubicBezTo>
                    <a:pt x="11204" y="13449"/>
                    <a:pt x="11073" y="13423"/>
                    <a:pt x="11012" y="13423"/>
                  </a:cubicBezTo>
                  <a:cubicBezTo>
                    <a:pt x="10830" y="13423"/>
                    <a:pt x="10478" y="13529"/>
                    <a:pt x="9954" y="13742"/>
                  </a:cubicBezTo>
                  <a:cubicBezTo>
                    <a:pt x="9449" y="13941"/>
                    <a:pt x="8975" y="14041"/>
                    <a:pt x="8532" y="14041"/>
                  </a:cubicBezTo>
                  <a:cubicBezTo>
                    <a:pt x="8470" y="14041"/>
                    <a:pt x="8360" y="14014"/>
                    <a:pt x="8198" y="13961"/>
                  </a:cubicBezTo>
                  <a:cubicBezTo>
                    <a:pt x="8138" y="13841"/>
                    <a:pt x="8259" y="13715"/>
                    <a:pt x="8561" y="13582"/>
                  </a:cubicBezTo>
                  <a:cubicBezTo>
                    <a:pt x="8723" y="13516"/>
                    <a:pt x="8924" y="13436"/>
                    <a:pt x="9166" y="13343"/>
                  </a:cubicBezTo>
                  <a:cubicBezTo>
                    <a:pt x="9126" y="13236"/>
                    <a:pt x="8934" y="13137"/>
                    <a:pt x="8592" y="13044"/>
                  </a:cubicBezTo>
                  <a:cubicBezTo>
                    <a:pt x="8189" y="12937"/>
                    <a:pt x="7947" y="12844"/>
                    <a:pt x="7865" y="12765"/>
                  </a:cubicBezTo>
                  <a:cubicBezTo>
                    <a:pt x="7462" y="12897"/>
                    <a:pt x="7251" y="12964"/>
                    <a:pt x="7231" y="12964"/>
                  </a:cubicBezTo>
                  <a:cubicBezTo>
                    <a:pt x="7109" y="12964"/>
                    <a:pt x="6979" y="12918"/>
                    <a:pt x="6837" y="12824"/>
                  </a:cubicBezTo>
                  <a:cubicBezTo>
                    <a:pt x="6696" y="12731"/>
                    <a:pt x="6615" y="12685"/>
                    <a:pt x="6595" y="12685"/>
                  </a:cubicBezTo>
                  <a:cubicBezTo>
                    <a:pt x="6514" y="12685"/>
                    <a:pt x="6374" y="12838"/>
                    <a:pt x="6172" y="13143"/>
                  </a:cubicBezTo>
                  <a:cubicBezTo>
                    <a:pt x="5970" y="13436"/>
                    <a:pt x="5758" y="13582"/>
                    <a:pt x="5536" y="13582"/>
                  </a:cubicBezTo>
                  <a:cubicBezTo>
                    <a:pt x="5153" y="13582"/>
                    <a:pt x="4811" y="13489"/>
                    <a:pt x="4508" y="13303"/>
                  </a:cubicBezTo>
                  <a:cubicBezTo>
                    <a:pt x="4226" y="13104"/>
                    <a:pt x="4024" y="13004"/>
                    <a:pt x="3903" y="13004"/>
                  </a:cubicBezTo>
                  <a:cubicBezTo>
                    <a:pt x="3843" y="13004"/>
                    <a:pt x="3681" y="13077"/>
                    <a:pt x="3419" y="13223"/>
                  </a:cubicBezTo>
                  <a:lnTo>
                    <a:pt x="3025" y="13423"/>
                  </a:lnTo>
                  <a:cubicBezTo>
                    <a:pt x="2884" y="13423"/>
                    <a:pt x="2622" y="13283"/>
                    <a:pt x="2239" y="13004"/>
                  </a:cubicBezTo>
                  <a:cubicBezTo>
                    <a:pt x="1856" y="12725"/>
                    <a:pt x="1664" y="12545"/>
                    <a:pt x="1664" y="12465"/>
                  </a:cubicBezTo>
                  <a:cubicBezTo>
                    <a:pt x="1664" y="12439"/>
                    <a:pt x="2118" y="12339"/>
                    <a:pt x="3025" y="12166"/>
                  </a:cubicBezTo>
                  <a:cubicBezTo>
                    <a:pt x="3933" y="12007"/>
                    <a:pt x="4386" y="11767"/>
                    <a:pt x="4386" y="11448"/>
                  </a:cubicBezTo>
                  <a:cubicBezTo>
                    <a:pt x="4386" y="11435"/>
                    <a:pt x="3781" y="11362"/>
                    <a:pt x="2571" y="11229"/>
                  </a:cubicBezTo>
                  <a:cubicBezTo>
                    <a:pt x="1341" y="11082"/>
                    <a:pt x="727" y="10650"/>
                    <a:pt x="727" y="9932"/>
                  </a:cubicBezTo>
                  <a:cubicBezTo>
                    <a:pt x="727" y="9853"/>
                    <a:pt x="778" y="9760"/>
                    <a:pt x="878" y="9653"/>
                  </a:cubicBezTo>
                  <a:cubicBezTo>
                    <a:pt x="958" y="9547"/>
                    <a:pt x="998" y="9467"/>
                    <a:pt x="998" y="9414"/>
                  </a:cubicBezTo>
                  <a:cubicBezTo>
                    <a:pt x="838" y="9294"/>
                    <a:pt x="676" y="9168"/>
                    <a:pt x="515" y="9035"/>
                  </a:cubicBezTo>
                  <a:cubicBezTo>
                    <a:pt x="173" y="8782"/>
                    <a:pt x="0" y="8569"/>
                    <a:pt x="0" y="8397"/>
                  </a:cubicBezTo>
                  <a:cubicBezTo>
                    <a:pt x="0" y="8144"/>
                    <a:pt x="213" y="8018"/>
                    <a:pt x="636" y="8018"/>
                  </a:cubicBezTo>
                  <a:cubicBezTo>
                    <a:pt x="998" y="8018"/>
                    <a:pt x="1423" y="8171"/>
                    <a:pt x="1906" y="8476"/>
                  </a:cubicBezTo>
                  <a:cubicBezTo>
                    <a:pt x="2411" y="8769"/>
                    <a:pt x="2834" y="8915"/>
                    <a:pt x="3176" y="8915"/>
                  </a:cubicBezTo>
                  <a:cubicBezTo>
                    <a:pt x="3338" y="8915"/>
                    <a:pt x="3500" y="8888"/>
                    <a:pt x="3661" y="8835"/>
                  </a:cubicBezTo>
                  <a:cubicBezTo>
                    <a:pt x="3621" y="8716"/>
                    <a:pt x="3449" y="8569"/>
                    <a:pt x="3147" y="8397"/>
                  </a:cubicBezTo>
                  <a:cubicBezTo>
                    <a:pt x="2844" y="8237"/>
                    <a:pt x="2662" y="8137"/>
                    <a:pt x="2602" y="8097"/>
                  </a:cubicBezTo>
                  <a:cubicBezTo>
                    <a:pt x="2702" y="7991"/>
                    <a:pt x="3056" y="7958"/>
                    <a:pt x="3661" y="7998"/>
                  </a:cubicBezTo>
                  <a:cubicBezTo>
                    <a:pt x="4226" y="8037"/>
                    <a:pt x="4508" y="7971"/>
                    <a:pt x="4508" y="7798"/>
                  </a:cubicBezTo>
                  <a:cubicBezTo>
                    <a:pt x="4508" y="7519"/>
                    <a:pt x="4185" y="7320"/>
                    <a:pt x="3540" y="7200"/>
                  </a:cubicBezTo>
                  <a:cubicBezTo>
                    <a:pt x="3116" y="7120"/>
                    <a:pt x="2622" y="7080"/>
                    <a:pt x="2057" y="7080"/>
                  </a:cubicBezTo>
                  <a:cubicBezTo>
                    <a:pt x="1472" y="7160"/>
                    <a:pt x="1140" y="7200"/>
                    <a:pt x="1059" y="7200"/>
                  </a:cubicBezTo>
                  <a:cubicBezTo>
                    <a:pt x="878" y="7200"/>
                    <a:pt x="666" y="7133"/>
                    <a:pt x="424" y="7000"/>
                  </a:cubicBezTo>
                  <a:cubicBezTo>
                    <a:pt x="182" y="6854"/>
                    <a:pt x="61" y="6721"/>
                    <a:pt x="61" y="6602"/>
                  </a:cubicBezTo>
                  <a:cubicBezTo>
                    <a:pt x="61" y="6442"/>
                    <a:pt x="242" y="6309"/>
                    <a:pt x="605" y="6203"/>
                  </a:cubicBezTo>
                  <a:cubicBezTo>
                    <a:pt x="949" y="6110"/>
                    <a:pt x="1120" y="6016"/>
                    <a:pt x="1120" y="5923"/>
                  </a:cubicBezTo>
                  <a:cubicBezTo>
                    <a:pt x="1120" y="5857"/>
                    <a:pt x="1039" y="5751"/>
                    <a:pt x="878" y="5604"/>
                  </a:cubicBezTo>
                  <a:cubicBezTo>
                    <a:pt x="696" y="5445"/>
                    <a:pt x="605" y="5338"/>
                    <a:pt x="605" y="5285"/>
                  </a:cubicBezTo>
                  <a:cubicBezTo>
                    <a:pt x="605" y="5126"/>
                    <a:pt x="756" y="4986"/>
                    <a:pt x="1059" y="4866"/>
                  </a:cubicBezTo>
                  <a:cubicBezTo>
                    <a:pt x="1321" y="4760"/>
                    <a:pt x="1543" y="4707"/>
                    <a:pt x="1725" y="4707"/>
                  </a:cubicBezTo>
                  <a:cubicBezTo>
                    <a:pt x="2108" y="4707"/>
                    <a:pt x="2975" y="4913"/>
                    <a:pt x="4326" y="5325"/>
                  </a:cubicBezTo>
                  <a:lnTo>
                    <a:pt x="4326" y="5066"/>
                  </a:lnTo>
                  <a:lnTo>
                    <a:pt x="3781" y="4747"/>
                  </a:lnTo>
                  <a:cubicBezTo>
                    <a:pt x="3803" y="4733"/>
                    <a:pt x="3974" y="4667"/>
                    <a:pt x="4296" y="4547"/>
                  </a:cubicBezTo>
                  <a:cubicBezTo>
                    <a:pt x="4579" y="4441"/>
                    <a:pt x="4720" y="4354"/>
                    <a:pt x="4720" y="4288"/>
                  </a:cubicBezTo>
                  <a:cubicBezTo>
                    <a:pt x="4720" y="4128"/>
                    <a:pt x="4417" y="3995"/>
                    <a:pt x="3812" y="3889"/>
                  </a:cubicBezTo>
                  <a:cubicBezTo>
                    <a:pt x="3167" y="3783"/>
                    <a:pt x="2804" y="3690"/>
                    <a:pt x="2723" y="3610"/>
                  </a:cubicBezTo>
                  <a:cubicBezTo>
                    <a:pt x="2602" y="3490"/>
                    <a:pt x="2511" y="3244"/>
                    <a:pt x="2451" y="2872"/>
                  </a:cubicBezTo>
                  <a:cubicBezTo>
                    <a:pt x="2390" y="2606"/>
                    <a:pt x="2360" y="2400"/>
                    <a:pt x="2360" y="2254"/>
                  </a:cubicBezTo>
                  <a:cubicBezTo>
                    <a:pt x="2360" y="2147"/>
                    <a:pt x="2593" y="2094"/>
                    <a:pt x="3056" y="2094"/>
                  </a:cubicBezTo>
                  <a:cubicBezTo>
                    <a:pt x="3238" y="2094"/>
                    <a:pt x="3469" y="2127"/>
                    <a:pt x="3752" y="2194"/>
                  </a:cubicBezTo>
                  <a:cubicBezTo>
                    <a:pt x="4034" y="2260"/>
                    <a:pt x="4235" y="2294"/>
                    <a:pt x="4357" y="2294"/>
                  </a:cubicBezTo>
                  <a:cubicBezTo>
                    <a:pt x="4517" y="2294"/>
                    <a:pt x="4639" y="2207"/>
                    <a:pt x="4720" y="2035"/>
                  </a:cubicBezTo>
                  <a:cubicBezTo>
                    <a:pt x="4780" y="1848"/>
                    <a:pt x="4922" y="1755"/>
                    <a:pt x="5143" y="1755"/>
                  </a:cubicBezTo>
                  <a:cubicBezTo>
                    <a:pt x="5727" y="1728"/>
                    <a:pt x="6021" y="1622"/>
                    <a:pt x="6021" y="1436"/>
                  </a:cubicBezTo>
                  <a:cubicBezTo>
                    <a:pt x="6021" y="1356"/>
                    <a:pt x="5889" y="1270"/>
                    <a:pt x="5627" y="1177"/>
                  </a:cubicBezTo>
                  <a:cubicBezTo>
                    <a:pt x="5385" y="1097"/>
                    <a:pt x="5184" y="1057"/>
                    <a:pt x="5022" y="1057"/>
                  </a:cubicBezTo>
                  <a:cubicBezTo>
                    <a:pt x="4377" y="1137"/>
                    <a:pt x="3963" y="1177"/>
                    <a:pt x="3781" y="1177"/>
                  </a:cubicBezTo>
                  <a:cubicBezTo>
                    <a:pt x="3661" y="1177"/>
                    <a:pt x="3510" y="1070"/>
                    <a:pt x="3328" y="858"/>
                  </a:cubicBezTo>
                  <a:cubicBezTo>
                    <a:pt x="3127" y="632"/>
                    <a:pt x="3025" y="439"/>
                    <a:pt x="3025" y="279"/>
                  </a:cubicBezTo>
                  <a:cubicBezTo>
                    <a:pt x="3025" y="159"/>
                    <a:pt x="3066" y="80"/>
                    <a:pt x="3147" y="40"/>
                  </a:cubicBezTo>
                  <a:cubicBezTo>
                    <a:pt x="3207" y="13"/>
                    <a:pt x="3307" y="0"/>
                    <a:pt x="3449" y="0"/>
                  </a:cubicBezTo>
                  <a:cubicBezTo>
                    <a:pt x="3550" y="0"/>
                    <a:pt x="3792" y="33"/>
                    <a:pt x="4175" y="100"/>
                  </a:cubicBezTo>
                  <a:cubicBezTo>
                    <a:pt x="4538" y="166"/>
                    <a:pt x="4800" y="199"/>
                    <a:pt x="4962" y="199"/>
                  </a:cubicBezTo>
                  <a:cubicBezTo>
                    <a:pt x="4982" y="199"/>
                    <a:pt x="5033" y="166"/>
                    <a:pt x="5113" y="100"/>
                  </a:cubicBezTo>
                  <a:cubicBezTo>
                    <a:pt x="5193" y="33"/>
                    <a:pt x="5315" y="0"/>
                    <a:pt x="5476" y="0"/>
                  </a:cubicBezTo>
                  <a:cubicBezTo>
                    <a:pt x="5899" y="0"/>
                    <a:pt x="6374" y="173"/>
                    <a:pt x="6897" y="518"/>
                  </a:cubicBezTo>
                  <a:cubicBezTo>
                    <a:pt x="7180" y="705"/>
                    <a:pt x="7522" y="970"/>
                    <a:pt x="7927" y="1316"/>
                  </a:cubicBezTo>
                  <a:cubicBezTo>
                    <a:pt x="8370" y="1622"/>
                    <a:pt x="8692" y="2035"/>
                    <a:pt x="8894" y="2553"/>
                  </a:cubicBezTo>
                  <a:cubicBezTo>
                    <a:pt x="9015" y="2832"/>
                    <a:pt x="9177" y="3211"/>
                    <a:pt x="9378" y="3690"/>
                  </a:cubicBezTo>
                  <a:cubicBezTo>
                    <a:pt x="9923" y="4554"/>
                    <a:pt x="10679" y="4999"/>
                    <a:pt x="11647" y="5026"/>
                  </a:cubicBezTo>
                  <a:cubicBezTo>
                    <a:pt x="12354" y="5039"/>
                    <a:pt x="12706" y="5392"/>
                    <a:pt x="12706" y="6083"/>
                  </a:cubicBezTo>
                  <a:cubicBezTo>
                    <a:pt x="12706" y="6296"/>
                    <a:pt x="12727" y="6422"/>
                    <a:pt x="12767" y="6462"/>
                  </a:cubicBezTo>
                  <a:cubicBezTo>
                    <a:pt x="12807" y="6528"/>
                    <a:pt x="13019" y="6774"/>
                    <a:pt x="13402" y="7200"/>
                  </a:cubicBezTo>
                  <a:lnTo>
                    <a:pt x="13613" y="7699"/>
                  </a:lnTo>
                  <a:cubicBezTo>
                    <a:pt x="13675" y="7858"/>
                    <a:pt x="13835" y="7938"/>
                    <a:pt x="14098" y="7938"/>
                  </a:cubicBezTo>
                  <a:cubicBezTo>
                    <a:pt x="14158" y="7938"/>
                    <a:pt x="14289" y="7911"/>
                    <a:pt x="14491" y="7858"/>
                  </a:cubicBezTo>
                  <a:cubicBezTo>
                    <a:pt x="14693" y="7805"/>
                    <a:pt x="14844" y="7778"/>
                    <a:pt x="14945" y="7778"/>
                  </a:cubicBezTo>
                  <a:cubicBezTo>
                    <a:pt x="16195" y="7778"/>
                    <a:pt x="16820" y="8450"/>
                    <a:pt x="16820" y="9793"/>
                  </a:cubicBezTo>
                  <a:cubicBezTo>
                    <a:pt x="16820" y="9979"/>
                    <a:pt x="16700" y="10218"/>
                    <a:pt x="16457" y="10511"/>
                  </a:cubicBezTo>
                  <a:cubicBezTo>
                    <a:pt x="16235" y="10763"/>
                    <a:pt x="16044" y="10930"/>
                    <a:pt x="15882" y="11009"/>
                  </a:cubicBezTo>
                  <a:lnTo>
                    <a:pt x="15882" y="11249"/>
                  </a:lnTo>
                  <a:cubicBezTo>
                    <a:pt x="15923" y="11275"/>
                    <a:pt x="15984" y="11288"/>
                    <a:pt x="16064" y="11288"/>
                  </a:cubicBezTo>
                  <a:cubicBezTo>
                    <a:pt x="16206" y="11288"/>
                    <a:pt x="16478" y="11169"/>
                    <a:pt x="16880" y="10930"/>
                  </a:cubicBezTo>
                  <a:cubicBezTo>
                    <a:pt x="17285" y="10677"/>
                    <a:pt x="17607" y="10551"/>
                    <a:pt x="17848" y="10551"/>
                  </a:cubicBezTo>
                  <a:cubicBezTo>
                    <a:pt x="18050" y="10551"/>
                    <a:pt x="18302" y="10724"/>
                    <a:pt x="18605" y="11069"/>
                  </a:cubicBezTo>
                  <a:cubicBezTo>
                    <a:pt x="18867" y="11375"/>
                    <a:pt x="18998" y="11601"/>
                    <a:pt x="18998" y="11747"/>
                  </a:cubicBezTo>
                  <a:cubicBezTo>
                    <a:pt x="19038" y="11747"/>
                    <a:pt x="19100" y="11761"/>
                    <a:pt x="19180" y="11787"/>
                  </a:cubicBezTo>
                  <a:cubicBezTo>
                    <a:pt x="19402" y="11787"/>
                    <a:pt x="19543" y="11661"/>
                    <a:pt x="19603" y="11408"/>
                  </a:cubicBezTo>
                  <a:cubicBezTo>
                    <a:pt x="19663" y="11142"/>
                    <a:pt x="19825" y="11009"/>
                    <a:pt x="20087" y="11009"/>
                  </a:cubicBezTo>
                  <a:cubicBezTo>
                    <a:pt x="20390" y="11009"/>
                    <a:pt x="20722" y="11202"/>
                    <a:pt x="21086" y="11588"/>
                  </a:cubicBezTo>
                  <a:cubicBezTo>
                    <a:pt x="21429" y="11947"/>
                    <a:pt x="21600" y="12226"/>
                    <a:pt x="21600" y="12425"/>
                  </a:cubicBezTo>
                  <a:cubicBezTo>
                    <a:pt x="21600" y="12731"/>
                    <a:pt x="21197" y="13130"/>
                    <a:pt x="20390" y="13622"/>
                  </a:cubicBezTo>
                  <a:cubicBezTo>
                    <a:pt x="19523" y="14087"/>
                    <a:pt x="19038" y="14373"/>
                    <a:pt x="18938" y="14480"/>
                  </a:cubicBezTo>
                  <a:cubicBezTo>
                    <a:pt x="18877" y="14533"/>
                    <a:pt x="18626" y="14998"/>
                    <a:pt x="18181" y="15876"/>
                  </a:cubicBezTo>
                  <a:cubicBezTo>
                    <a:pt x="17799" y="16594"/>
                    <a:pt x="17445" y="16953"/>
                    <a:pt x="17123" y="16953"/>
                  </a:cubicBezTo>
                  <a:cubicBezTo>
                    <a:pt x="16598" y="16953"/>
                    <a:pt x="16306" y="16667"/>
                    <a:pt x="16246" y="16095"/>
                  </a:cubicBezTo>
                  <a:cubicBezTo>
                    <a:pt x="16266" y="15470"/>
                    <a:pt x="16226" y="15084"/>
                    <a:pt x="16124" y="14938"/>
                  </a:cubicBezTo>
                  <a:cubicBezTo>
                    <a:pt x="15882" y="15031"/>
                    <a:pt x="15761" y="15284"/>
                    <a:pt x="15761" y="15696"/>
                  </a:cubicBezTo>
                  <a:cubicBezTo>
                    <a:pt x="15761" y="15856"/>
                    <a:pt x="15782" y="16142"/>
                    <a:pt x="15822" y="16554"/>
                  </a:cubicBezTo>
                  <a:cubicBezTo>
                    <a:pt x="15882" y="16979"/>
                    <a:pt x="15923" y="17232"/>
                    <a:pt x="15943" y="17312"/>
                  </a:cubicBezTo>
                  <a:cubicBezTo>
                    <a:pt x="16004" y="17458"/>
                    <a:pt x="16124" y="17671"/>
                    <a:pt x="16306" y="17950"/>
                  </a:cubicBezTo>
                  <a:cubicBezTo>
                    <a:pt x="16447" y="18163"/>
                    <a:pt x="16518" y="18349"/>
                    <a:pt x="16518" y="18508"/>
                  </a:cubicBezTo>
                  <a:cubicBezTo>
                    <a:pt x="16518" y="18721"/>
                    <a:pt x="16387" y="18828"/>
                    <a:pt x="16124" y="18828"/>
                  </a:cubicBezTo>
                  <a:cubicBezTo>
                    <a:pt x="15882" y="18828"/>
                    <a:pt x="15641" y="18714"/>
                    <a:pt x="15399" y="18489"/>
                  </a:cubicBezTo>
                  <a:lnTo>
                    <a:pt x="15277" y="18489"/>
                  </a:lnTo>
                  <a:cubicBezTo>
                    <a:pt x="15217" y="18528"/>
                    <a:pt x="15187" y="18568"/>
                    <a:pt x="15187" y="18608"/>
                  </a:cubicBezTo>
                  <a:cubicBezTo>
                    <a:pt x="15187" y="18621"/>
                    <a:pt x="15298" y="18867"/>
                    <a:pt x="15519" y="19346"/>
                  </a:cubicBezTo>
                  <a:cubicBezTo>
                    <a:pt x="15721" y="19851"/>
                    <a:pt x="15822" y="20170"/>
                    <a:pt x="15822" y="20303"/>
                  </a:cubicBezTo>
                  <a:cubicBezTo>
                    <a:pt x="15822" y="20357"/>
                    <a:pt x="15782" y="20410"/>
                    <a:pt x="15701" y="20463"/>
                  </a:cubicBezTo>
                  <a:cubicBezTo>
                    <a:pt x="15621" y="20516"/>
                    <a:pt x="15539" y="20543"/>
                    <a:pt x="15459" y="20543"/>
                  </a:cubicBezTo>
                  <a:cubicBezTo>
                    <a:pt x="15076" y="20543"/>
                    <a:pt x="14592" y="20231"/>
                    <a:pt x="14007" y="19605"/>
                  </a:cubicBezTo>
                  <a:cubicBezTo>
                    <a:pt x="13422" y="18980"/>
                    <a:pt x="13019" y="18668"/>
                    <a:pt x="12797" y="18668"/>
                  </a:cubicBezTo>
                  <a:cubicBezTo>
                    <a:pt x="12676" y="18668"/>
                    <a:pt x="12585" y="18708"/>
                    <a:pt x="12525" y="18788"/>
                  </a:cubicBezTo>
                  <a:lnTo>
                    <a:pt x="12465" y="18907"/>
                  </a:lnTo>
                  <a:cubicBezTo>
                    <a:pt x="12465" y="19080"/>
                    <a:pt x="12767" y="19413"/>
                    <a:pt x="13372" y="19905"/>
                  </a:cubicBezTo>
                  <a:cubicBezTo>
                    <a:pt x="14017" y="20437"/>
                    <a:pt x="14400" y="20935"/>
                    <a:pt x="14521" y="21400"/>
                  </a:cubicBezTo>
                  <a:lnTo>
                    <a:pt x="14158" y="21400"/>
                  </a:lnTo>
                  <a:cubicBezTo>
                    <a:pt x="13977" y="21294"/>
                    <a:pt x="13664" y="21068"/>
                    <a:pt x="13221" y="20722"/>
                  </a:cubicBezTo>
                  <a:cubicBezTo>
                    <a:pt x="13079" y="20629"/>
                    <a:pt x="12857" y="20583"/>
                    <a:pt x="12554" y="20583"/>
                  </a:cubicBezTo>
                  <a:cubicBezTo>
                    <a:pt x="12394" y="20583"/>
                    <a:pt x="12263" y="20609"/>
                    <a:pt x="12162" y="20662"/>
                  </a:cubicBezTo>
                  <a:cubicBezTo>
                    <a:pt x="12182" y="20716"/>
                    <a:pt x="12283" y="20829"/>
                    <a:pt x="12465" y="21002"/>
                  </a:cubicBezTo>
                  <a:cubicBezTo>
                    <a:pt x="12625" y="21161"/>
                    <a:pt x="12706" y="21267"/>
                    <a:pt x="12706" y="21321"/>
                  </a:cubicBezTo>
                  <a:cubicBezTo>
                    <a:pt x="12706" y="21414"/>
                    <a:pt x="12645" y="21467"/>
                    <a:pt x="12525" y="21480"/>
                  </a:cubicBezTo>
                  <a:cubicBezTo>
                    <a:pt x="12485" y="21480"/>
                    <a:pt x="12323" y="21480"/>
                    <a:pt x="12040" y="21480"/>
                  </a:cubicBezTo>
                  <a:close/>
                  <a:moveTo>
                    <a:pt x="12040" y="2148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6" name="AutoShape 33"/>
            <p:cNvSpPr>
              <a:spLocks/>
            </p:cNvSpPr>
            <p:nvPr/>
          </p:nvSpPr>
          <p:spPr bwMode="auto">
            <a:xfrm>
              <a:off x="7009212" y="2256465"/>
              <a:ext cx="819869" cy="651914"/>
            </a:xfrm>
            <a:custGeom>
              <a:avLst/>
              <a:gdLst/>
              <a:ahLst/>
              <a:cxnLst/>
              <a:rect l="0" t="0" r="r" b="b"/>
              <a:pathLst>
                <a:path w="21600" h="21600">
                  <a:moveTo>
                    <a:pt x="10001" y="2839"/>
                  </a:moveTo>
                  <a:lnTo>
                    <a:pt x="10286" y="3022"/>
                  </a:lnTo>
                  <a:cubicBezTo>
                    <a:pt x="10315" y="3036"/>
                    <a:pt x="10433" y="3049"/>
                    <a:pt x="10641" y="3063"/>
                  </a:cubicBezTo>
                  <a:cubicBezTo>
                    <a:pt x="10692" y="3063"/>
                    <a:pt x="10779" y="3110"/>
                    <a:pt x="10905" y="3205"/>
                  </a:cubicBezTo>
                  <a:cubicBezTo>
                    <a:pt x="11045" y="3308"/>
                    <a:pt x="11115" y="3403"/>
                    <a:pt x="11115" y="3488"/>
                  </a:cubicBezTo>
                  <a:cubicBezTo>
                    <a:pt x="11115" y="3664"/>
                    <a:pt x="11075" y="3793"/>
                    <a:pt x="10996" y="3874"/>
                  </a:cubicBezTo>
                  <a:cubicBezTo>
                    <a:pt x="10878" y="3955"/>
                    <a:pt x="10777" y="4027"/>
                    <a:pt x="10695" y="4090"/>
                  </a:cubicBezTo>
                  <a:lnTo>
                    <a:pt x="10684" y="4104"/>
                  </a:lnTo>
                  <a:lnTo>
                    <a:pt x="10695" y="4117"/>
                  </a:lnTo>
                  <a:cubicBezTo>
                    <a:pt x="10702" y="4117"/>
                    <a:pt x="10711" y="4117"/>
                    <a:pt x="10722" y="4117"/>
                  </a:cubicBezTo>
                  <a:cubicBezTo>
                    <a:pt x="10729" y="4117"/>
                    <a:pt x="10738" y="4117"/>
                    <a:pt x="10749" y="4117"/>
                  </a:cubicBezTo>
                  <a:cubicBezTo>
                    <a:pt x="10796" y="4122"/>
                    <a:pt x="10862" y="4119"/>
                    <a:pt x="10948" y="4110"/>
                  </a:cubicBezTo>
                  <a:cubicBezTo>
                    <a:pt x="10966" y="4110"/>
                    <a:pt x="11002" y="4124"/>
                    <a:pt x="11055" y="4151"/>
                  </a:cubicBezTo>
                  <a:cubicBezTo>
                    <a:pt x="11109" y="4151"/>
                    <a:pt x="11176" y="4081"/>
                    <a:pt x="11254" y="3941"/>
                  </a:cubicBezTo>
                  <a:cubicBezTo>
                    <a:pt x="11330" y="3802"/>
                    <a:pt x="11398" y="3732"/>
                    <a:pt x="11459" y="3732"/>
                  </a:cubicBezTo>
                  <a:cubicBezTo>
                    <a:pt x="11563" y="3732"/>
                    <a:pt x="11615" y="3813"/>
                    <a:pt x="11615" y="3975"/>
                  </a:cubicBezTo>
                  <a:cubicBezTo>
                    <a:pt x="11615" y="4020"/>
                    <a:pt x="11610" y="4079"/>
                    <a:pt x="11599" y="4151"/>
                  </a:cubicBezTo>
                  <a:cubicBezTo>
                    <a:pt x="11588" y="4223"/>
                    <a:pt x="11583" y="4284"/>
                    <a:pt x="11583" y="4334"/>
                  </a:cubicBezTo>
                  <a:cubicBezTo>
                    <a:pt x="11583" y="4347"/>
                    <a:pt x="11590" y="4385"/>
                    <a:pt x="11604" y="4448"/>
                  </a:cubicBezTo>
                  <a:cubicBezTo>
                    <a:pt x="11618" y="4503"/>
                    <a:pt x="11629" y="4539"/>
                    <a:pt x="11637" y="4557"/>
                  </a:cubicBezTo>
                  <a:cubicBezTo>
                    <a:pt x="11662" y="4539"/>
                    <a:pt x="11715" y="4439"/>
                    <a:pt x="11798" y="4259"/>
                  </a:cubicBezTo>
                  <a:cubicBezTo>
                    <a:pt x="11866" y="4106"/>
                    <a:pt x="11929" y="4029"/>
                    <a:pt x="11986" y="4029"/>
                  </a:cubicBezTo>
                  <a:cubicBezTo>
                    <a:pt x="12018" y="4029"/>
                    <a:pt x="12038" y="4095"/>
                    <a:pt x="12045" y="4225"/>
                  </a:cubicBezTo>
                  <a:cubicBezTo>
                    <a:pt x="12045" y="4297"/>
                    <a:pt x="12031" y="4390"/>
                    <a:pt x="12002" y="4503"/>
                  </a:cubicBezTo>
                  <a:cubicBezTo>
                    <a:pt x="11970" y="4638"/>
                    <a:pt x="11950" y="4732"/>
                    <a:pt x="11943" y="4786"/>
                  </a:cubicBezTo>
                  <a:lnTo>
                    <a:pt x="11954" y="4807"/>
                  </a:lnTo>
                  <a:cubicBezTo>
                    <a:pt x="12004" y="4717"/>
                    <a:pt x="12078" y="4532"/>
                    <a:pt x="12175" y="4252"/>
                  </a:cubicBezTo>
                  <a:cubicBezTo>
                    <a:pt x="12214" y="4131"/>
                    <a:pt x="12302" y="4070"/>
                    <a:pt x="12438" y="4070"/>
                  </a:cubicBezTo>
                  <a:cubicBezTo>
                    <a:pt x="12517" y="4070"/>
                    <a:pt x="12578" y="4079"/>
                    <a:pt x="12621" y="4097"/>
                  </a:cubicBezTo>
                  <a:cubicBezTo>
                    <a:pt x="12678" y="4128"/>
                    <a:pt x="12748" y="4151"/>
                    <a:pt x="12831" y="4164"/>
                  </a:cubicBezTo>
                  <a:cubicBezTo>
                    <a:pt x="12867" y="4169"/>
                    <a:pt x="12929" y="4176"/>
                    <a:pt x="13019" y="4185"/>
                  </a:cubicBezTo>
                  <a:cubicBezTo>
                    <a:pt x="13091" y="4203"/>
                    <a:pt x="13127" y="4246"/>
                    <a:pt x="13127" y="4313"/>
                  </a:cubicBezTo>
                  <a:cubicBezTo>
                    <a:pt x="13127" y="4408"/>
                    <a:pt x="13094" y="4511"/>
                    <a:pt x="13030" y="4624"/>
                  </a:cubicBezTo>
                  <a:cubicBezTo>
                    <a:pt x="12958" y="4750"/>
                    <a:pt x="12921" y="4825"/>
                    <a:pt x="12917" y="4847"/>
                  </a:cubicBezTo>
                  <a:cubicBezTo>
                    <a:pt x="12906" y="4910"/>
                    <a:pt x="12863" y="4980"/>
                    <a:pt x="12788" y="5057"/>
                  </a:cubicBezTo>
                  <a:cubicBezTo>
                    <a:pt x="12720" y="5124"/>
                    <a:pt x="12686" y="5192"/>
                    <a:pt x="12686" y="5260"/>
                  </a:cubicBezTo>
                  <a:lnTo>
                    <a:pt x="12696" y="5348"/>
                  </a:lnTo>
                  <a:cubicBezTo>
                    <a:pt x="12703" y="5348"/>
                    <a:pt x="12713" y="5352"/>
                    <a:pt x="12723" y="5361"/>
                  </a:cubicBezTo>
                  <a:cubicBezTo>
                    <a:pt x="12745" y="5361"/>
                    <a:pt x="12809" y="5296"/>
                    <a:pt x="12917" y="5165"/>
                  </a:cubicBezTo>
                  <a:cubicBezTo>
                    <a:pt x="13024" y="5034"/>
                    <a:pt x="13114" y="4969"/>
                    <a:pt x="13186" y="4969"/>
                  </a:cubicBezTo>
                  <a:cubicBezTo>
                    <a:pt x="13236" y="4969"/>
                    <a:pt x="13261" y="5064"/>
                    <a:pt x="13261" y="5253"/>
                  </a:cubicBezTo>
                  <a:cubicBezTo>
                    <a:pt x="13261" y="5289"/>
                    <a:pt x="13256" y="5341"/>
                    <a:pt x="13245" y="5408"/>
                  </a:cubicBezTo>
                  <a:cubicBezTo>
                    <a:pt x="13231" y="5481"/>
                    <a:pt x="13224" y="5532"/>
                    <a:pt x="13224" y="5564"/>
                  </a:cubicBezTo>
                  <a:cubicBezTo>
                    <a:pt x="13259" y="5582"/>
                    <a:pt x="13281" y="5591"/>
                    <a:pt x="13288" y="5591"/>
                  </a:cubicBezTo>
                  <a:cubicBezTo>
                    <a:pt x="13331" y="5591"/>
                    <a:pt x="13360" y="5548"/>
                    <a:pt x="13374" y="5463"/>
                  </a:cubicBezTo>
                  <a:cubicBezTo>
                    <a:pt x="13381" y="5368"/>
                    <a:pt x="13387" y="5314"/>
                    <a:pt x="13390" y="5300"/>
                  </a:cubicBezTo>
                  <a:cubicBezTo>
                    <a:pt x="13394" y="5282"/>
                    <a:pt x="13419" y="5246"/>
                    <a:pt x="13466" y="5192"/>
                  </a:cubicBezTo>
                  <a:cubicBezTo>
                    <a:pt x="13512" y="5138"/>
                    <a:pt x="13535" y="5097"/>
                    <a:pt x="13535" y="5070"/>
                  </a:cubicBezTo>
                  <a:cubicBezTo>
                    <a:pt x="13535" y="5039"/>
                    <a:pt x="13512" y="4987"/>
                    <a:pt x="13466" y="4915"/>
                  </a:cubicBezTo>
                  <a:cubicBezTo>
                    <a:pt x="13415" y="4843"/>
                    <a:pt x="13390" y="4786"/>
                    <a:pt x="13390" y="4746"/>
                  </a:cubicBezTo>
                  <a:cubicBezTo>
                    <a:pt x="13390" y="4719"/>
                    <a:pt x="13401" y="4696"/>
                    <a:pt x="13423" y="4678"/>
                  </a:cubicBezTo>
                  <a:cubicBezTo>
                    <a:pt x="13444" y="4660"/>
                    <a:pt x="13466" y="4651"/>
                    <a:pt x="13487" y="4651"/>
                  </a:cubicBezTo>
                  <a:cubicBezTo>
                    <a:pt x="13548" y="4651"/>
                    <a:pt x="13649" y="4705"/>
                    <a:pt x="13788" y="4813"/>
                  </a:cubicBezTo>
                  <a:cubicBezTo>
                    <a:pt x="13864" y="4872"/>
                    <a:pt x="13952" y="4946"/>
                    <a:pt x="14052" y="5037"/>
                  </a:cubicBezTo>
                  <a:cubicBezTo>
                    <a:pt x="14117" y="5091"/>
                    <a:pt x="14196" y="5154"/>
                    <a:pt x="14289" y="5226"/>
                  </a:cubicBezTo>
                  <a:cubicBezTo>
                    <a:pt x="14353" y="5289"/>
                    <a:pt x="14385" y="5363"/>
                    <a:pt x="14385" y="5449"/>
                  </a:cubicBezTo>
                  <a:cubicBezTo>
                    <a:pt x="14385" y="5499"/>
                    <a:pt x="14337" y="5535"/>
                    <a:pt x="14240" y="5557"/>
                  </a:cubicBezTo>
                  <a:cubicBezTo>
                    <a:pt x="14129" y="5580"/>
                    <a:pt x="14052" y="5670"/>
                    <a:pt x="14009" y="5828"/>
                  </a:cubicBezTo>
                  <a:cubicBezTo>
                    <a:pt x="13998" y="5868"/>
                    <a:pt x="13925" y="5915"/>
                    <a:pt x="13788" y="5970"/>
                  </a:cubicBezTo>
                  <a:cubicBezTo>
                    <a:pt x="13663" y="6024"/>
                    <a:pt x="13600" y="6105"/>
                    <a:pt x="13600" y="6213"/>
                  </a:cubicBezTo>
                  <a:cubicBezTo>
                    <a:pt x="13600" y="6312"/>
                    <a:pt x="13665" y="6341"/>
                    <a:pt x="13794" y="6301"/>
                  </a:cubicBezTo>
                  <a:cubicBezTo>
                    <a:pt x="13833" y="6301"/>
                    <a:pt x="13866" y="6323"/>
                    <a:pt x="13891" y="6368"/>
                  </a:cubicBezTo>
                  <a:cubicBezTo>
                    <a:pt x="13919" y="6409"/>
                    <a:pt x="13941" y="6429"/>
                    <a:pt x="13955" y="6429"/>
                  </a:cubicBezTo>
                  <a:cubicBezTo>
                    <a:pt x="13959" y="6429"/>
                    <a:pt x="13982" y="6400"/>
                    <a:pt x="14025" y="6341"/>
                  </a:cubicBezTo>
                  <a:cubicBezTo>
                    <a:pt x="14068" y="6278"/>
                    <a:pt x="14113" y="6247"/>
                    <a:pt x="14160" y="6247"/>
                  </a:cubicBezTo>
                  <a:cubicBezTo>
                    <a:pt x="14177" y="6247"/>
                    <a:pt x="14217" y="6256"/>
                    <a:pt x="14278" y="6274"/>
                  </a:cubicBezTo>
                  <a:lnTo>
                    <a:pt x="14488" y="6199"/>
                  </a:lnTo>
                  <a:cubicBezTo>
                    <a:pt x="14631" y="6145"/>
                    <a:pt x="14721" y="6118"/>
                    <a:pt x="14757" y="6118"/>
                  </a:cubicBezTo>
                  <a:cubicBezTo>
                    <a:pt x="14839" y="6118"/>
                    <a:pt x="14947" y="6161"/>
                    <a:pt x="15080" y="6247"/>
                  </a:cubicBezTo>
                  <a:cubicBezTo>
                    <a:pt x="15205" y="6328"/>
                    <a:pt x="15268" y="6386"/>
                    <a:pt x="15268" y="6423"/>
                  </a:cubicBezTo>
                  <a:cubicBezTo>
                    <a:pt x="15268" y="6495"/>
                    <a:pt x="15241" y="6537"/>
                    <a:pt x="15187" y="6551"/>
                  </a:cubicBezTo>
                  <a:cubicBezTo>
                    <a:pt x="15097" y="6569"/>
                    <a:pt x="15033" y="6596"/>
                    <a:pt x="14993" y="6632"/>
                  </a:cubicBezTo>
                  <a:cubicBezTo>
                    <a:pt x="14954" y="6668"/>
                    <a:pt x="14897" y="6700"/>
                    <a:pt x="14821" y="6727"/>
                  </a:cubicBezTo>
                  <a:cubicBezTo>
                    <a:pt x="14739" y="6758"/>
                    <a:pt x="14664" y="6774"/>
                    <a:pt x="14595" y="6774"/>
                  </a:cubicBezTo>
                  <a:cubicBezTo>
                    <a:pt x="14531" y="6774"/>
                    <a:pt x="14477" y="6756"/>
                    <a:pt x="14434" y="6720"/>
                  </a:cubicBezTo>
                  <a:cubicBezTo>
                    <a:pt x="14391" y="6679"/>
                    <a:pt x="14366" y="6659"/>
                    <a:pt x="14359" y="6659"/>
                  </a:cubicBezTo>
                  <a:cubicBezTo>
                    <a:pt x="14330" y="6659"/>
                    <a:pt x="14314" y="6666"/>
                    <a:pt x="14310" y="6679"/>
                  </a:cubicBezTo>
                  <a:lnTo>
                    <a:pt x="14310" y="6727"/>
                  </a:lnTo>
                  <a:cubicBezTo>
                    <a:pt x="14310" y="6749"/>
                    <a:pt x="14316" y="6770"/>
                    <a:pt x="14326" y="6788"/>
                  </a:cubicBezTo>
                  <a:cubicBezTo>
                    <a:pt x="14337" y="6806"/>
                    <a:pt x="14342" y="6824"/>
                    <a:pt x="14342" y="6842"/>
                  </a:cubicBezTo>
                  <a:cubicBezTo>
                    <a:pt x="14342" y="6909"/>
                    <a:pt x="14303" y="6954"/>
                    <a:pt x="14224" y="6977"/>
                  </a:cubicBezTo>
                  <a:cubicBezTo>
                    <a:pt x="14142" y="6999"/>
                    <a:pt x="14100" y="7040"/>
                    <a:pt x="14100" y="7099"/>
                  </a:cubicBezTo>
                  <a:cubicBezTo>
                    <a:pt x="14100" y="7135"/>
                    <a:pt x="14108" y="7155"/>
                    <a:pt x="14122" y="7159"/>
                  </a:cubicBezTo>
                  <a:lnTo>
                    <a:pt x="14181" y="7159"/>
                  </a:lnTo>
                  <a:cubicBezTo>
                    <a:pt x="14224" y="7159"/>
                    <a:pt x="14307" y="7146"/>
                    <a:pt x="14429" y="7119"/>
                  </a:cubicBezTo>
                  <a:cubicBezTo>
                    <a:pt x="14482" y="7119"/>
                    <a:pt x="14538" y="7137"/>
                    <a:pt x="14595" y="7173"/>
                  </a:cubicBezTo>
                  <a:cubicBezTo>
                    <a:pt x="14660" y="7214"/>
                    <a:pt x="14692" y="7256"/>
                    <a:pt x="14692" y="7301"/>
                  </a:cubicBezTo>
                  <a:cubicBezTo>
                    <a:pt x="14692" y="7324"/>
                    <a:pt x="14669" y="7358"/>
                    <a:pt x="14622" y="7403"/>
                  </a:cubicBezTo>
                  <a:cubicBezTo>
                    <a:pt x="14576" y="7448"/>
                    <a:pt x="14552" y="7484"/>
                    <a:pt x="14552" y="7511"/>
                  </a:cubicBezTo>
                  <a:cubicBezTo>
                    <a:pt x="14552" y="7543"/>
                    <a:pt x="14599" y="7588"/>
                    <a:pt x="14692" y="7646"/>
                  </a:cubicBezTo>
                  <a:cubicBezTo>
                    <a:pt x="14782" y="7709"/>
                    <a:pt x="14827" y="7781"/>
                    <a:pt x="14827" y="7863"/>
                  </a:cubicBezTo>
                  <a:cubicBezTo>
                    <a:pt x="14827" y="7912"/>
                    <a:pt x="14809" y="7957"/>
                    <a:pt x="14773" y="7998"/>
                  </a:cubicBezTo>
                  <a:cubicBezTo>
                    <a:pt x="14737" y="8034"/>
                    <a:pt x="14719" y="8077"/>
                    <a:pt x="14719" y="8126"/>
                  </a:cubicBezTo>
                  <a:cubicBezTo>
                    <a:pt x="14719" y="8189"/>
                    <a:pt x="14787" y="8223"/>
                    <a:pt x="14923" y="8228"/>
                  </a:cubicBezTo>
                  <a:cubicBezTo>
                    <a:pt x="14959" y="8228"/>
                    <a:pt x="14981" y="8228"/>
                    <a:pt x="14988" y="8228"/>
                  </a:cubicBezTo>
                  <a:cubicBezTo>
                    <a:pt x="14995" y="8223"/>
                    <a:pt x="15013" y="8214"/>
                    <a:pt x="15042" y="8200"/>
                  </a:cubicBezTo>
                  <a:cubicBezTo>
                    <a:pt x="15063" y="8196"/>
                    <a:pt x="15141" y="8176"/>
                    <a:pt x="15273" y="8140"/>
                  </a:cubicBezTo>
                  <a:cubicBezTo>
                    <a:pt x="15323" y="8126"/>
                    <a:pt x="15388" y="8119"/>
                    <a:pt x="15467" y="8119"/>
                  </a:cubicBezTo>
                  <a:cubicBezTo>
                    <a:pt x="15603" y="8119"/>
                    <a:pt x="15677" y="8137"/>
                    <a:pt x="15687" y="8174"/>
                  </a:cubicBezTo>
                  <a:cubicBezTo>
                    <a:pt x="15698" y="8214"/>
                    <a:pt x="15730" y="8358"/>
                    <a:pt x="15784" y="8606"/>
                  </a:cubicBezTo>
                  <a:cubicBezTo>
                    <a:pt x="15831" y="8561"/>
                    <a:pt x="15874" y="8507"/>
                    <a:pt x="15913" y="8444"/>
                  </a:cubicBezTo>
                  <a:cubicBezTo>
                    <a:pt x="15942" y="8403"/>
                    <a:pt x="15994" y="8383"/>
                    <a:pt x="16069" y="8383"/>
                  </a:cubicBezTo>
                  <a:cubicBezTo>
                    <a:pt x="16260" y="8383"/>
                    <a:pt x="16355" y="8457"/>
                    <a:pt x="16355" y="8606"/>
                  </a:cubicBezTo>
                  <a:cubicBezTo>
                    <a:pt x="16355" y="8620"/>
                    <a:pt x="16337" y="8663"/>
                    <a:pt x="16301" y="8735"/>
                  </a:cubicBezTo>
                  <a:cubicBezTo>
                    <a:pt x="16301" y="8784"/>
                    <a:pt x="16408" y="8856"/>
                    <a:pt x="16624" y="8951"/>
                  </a:cubicBezTo>
                  <a:cubicBezTo>
                    <a:pt x="16638" y="8951"/>
                    <a:pt x="16679" y="8850"/>
                    <a:pt x="16747" y="8647"/>
                  </a:cubicBezTo>
                  <a:cubicBezTo>
                    <a:pt x="16833" y="8444"/>
                    <a:pt x="16934" y="8343"/>
                    <a:pt x="17049" y="8343"/>
                  </a:cubicBezTo>
                  <a:cubicBezTo>
                    <a:pt x="17106" y="8343"/>
                    <a:pt x="17147" y="8428"/>
                    <a:pt x="17172" y="8599"/>
                  </a:cubicBezTo>
                  <a:cubicBezTo>
                    <a:pt x="17197" y="8771"/>
                    <a:pt x="17235" y="8856"/>
                    <a:pt x="17285" y="8856"/>
                  </a:cubicBezTo>
                  <a:cubicBezTo>
                    <a:pt x="17303" y="8856"/>
                    <a:pt x="17334" y="8829"/>
                    <a:pt x="17377" y="8775"/>
                  </a:cubicBezTo>
                  <a:cubicBezTo>
                    <a:pt x="17420" y="8717"/>
                    <a:pt x="17463" y="8687"/>
                    <a:pt x="17506" y="8687"/>
                  </a:cubicBezTo>
                  <a:cubicBezTo>
                    <a:pt x="17581" y="8687"/>
                    <a:pt x="17655" y="8732"/>
                    <a:pt x="17726" y="8823"/>
                  </a:cubicBezTo>
                  <a:lnTo>
                    <a:pt x="17904" y="9046"/>
                  </a:lnTo>
                  <a:cubicBezTo>
                    <a:pt x="17915" y="9055"/>
                    <a:pt x="17995" y="9100"/>
                    <a:pt x="18146" y="9181"/>
                  </a:cubicBezTo>
                  <a:cubicBezTo>
                    <a:pt x="18232" y="9226"/>
                    <a:pt x="18275" y="9284"/>
                    <a:pt x="18275" y="9357"/>
                  </a:cubicBezTo>
                  <a:cubicBezTo>
                    <a:pt x="18275" y="9388"/>
                    <a:pt x="18255" y="9426"/>
                    <a:pt x="18216" y="9472"/>
                  </a:cubicBezTo>
                  <a:cubicBezTo>
                    <a:pt x="18177" y="9517"/>
                    <a:pt x="18157" y="9555"/>
                    <a:pt x="18157" y="9586"/>
                  </a:cubicBezTo>
                  <a:cubicBezTo>
                    <a:pt x="18157" y="9636"/>
                    <a:pt x="18191" y="9661"/>
                    <a:pt x="18259" y="9661"/>
                  </a:cubicBezTo>
                  <a:cubicBezTo>
                    <a:pt x="18374" y="9661"/>
                    <a:pt x="18480" y="9566"/>
                    <a:pt x="18576" y="9377"/>
                  </a:cubicBezTo>
                  <a:cubicBezTo>
                    <a:pt x="18673" y="9183"/>
                    <a:pt x="18761" y="9086"/>
                    <a:pt x="18840" y="9086"/>
                  </a:cubicBezTo>
                  <a:cubicBezTo>
                    <a:pt x="18923" y="9086"/>
                    <a:pt x="18967" y="9228"/>
                    <a:pt x="18975" y="9512"/>
                  </a:cubicBezTo>
                  <a:cubicBezTo>
                    <a:pt x="18985" y="9796"/>
                    <a:pt x="19023" y="9938"/>
                    <a:pt x="19088" y="9938"/>
                  </a:cubicBezTo>
                  <a:cubicBezTo>
                    <a:pt x="19102" y="9938"/>
                    <a:pt x="19114" y="9936"/>
                    <a:pt x="19125" y="9931"/>
                  </a:cubicBezTo>
                  <a:cubicBezTo>
                    <a:pt x="19258" y="9733"/>
                    <a:pt x="19371" y="9611"/>
                    <a:pt x="19464" y="9566"/>
                  </a:cubicBezTo>
                  <a:cubicBezTo>
                    <a:pt x="19532" y="9535"/>
                    <a:pt x="19679" y="9519"/>
                    <a:pt x="19905" y="9519"/>
                  </a:cubicBezTo>
                  <a:cubicBezTo>
                    <a:pt x="19981" y="9519"/>
                    <a:pt x="20124" y="9589"/>
                    <a:pt x="20336" y="9728"/>
                  </a:cubicBezTo>
                  <a:cubicBezTo>
                    <a:pt x="20411" y="9769"/>
                    <a:pt x="20465" y="9805"/>
                    <a:pt x="20497" y="9837"/>
                  </a:cubicBezTo>
                  <a:cubicBezTo>
                    <a:pt x="20537" y="9882"/>
                    <a:pt x="20556" y="9938"/>
                    <a:pt x="20556" y="10006"/>
                  </a:cubicBezTo>
                  <a:cubicBezTo>
                    <a:pt x="20556" y="10024"/>
                    <a:pt x="20535" y="10066"/>
                    <a:pt x="20492" y="10134"/>
                  </a:cubicBezTo>
                  <a:cubicBezTo>
                    <a:pt x="20445" y="10197"/>
                    <a:pt x="20422" y="10247"/>
                    <a:pt x="20422" y="10283"/>
                  </a:cubicBezTo>
                  <a:cubicBezTo>
                    <a:pt x="20422" y="10323"/>
                    <a:pt x="20461" y="10393"/>
                    <a:pt x="20540" y="10492"/>
                  </a:cubicBezTo>
                  <a:cubicBezTo>
                    <a:pt x="20615" y="10592"/>
                    <a:pt x="20653" y="10652"/>
                    <a:pt x="20653" y="10675"/>
                  </a:cubicBezTo>
                  <a:cubicBezTo>
                    <a:pt x="20653" y="10711"/>
                    <a:pt x="20621" y="10740"/>
                    <a:pt x="20556" y="10763"/>
                  </a:cubicBezTo>
                  <a:cubicBezTo>
                    <a:pt x="20506" y="10781"/>
                    <a:pt x="20463" y="10790"/>
                    <a:pt x="20427" y="10790"/>
                  </a:cubicBezTo>
                  <a:cubicBezTo>
                    <a:pt x="20320" y="10763"/>
                    <a:pt x="20237" y="10749"/>
                    <a:pt x="20180" y="10749"/>
                  </a:cubicBezTo>
                  <a:cubicBezTo>
                    <a:pt x="20083" y="10749"/>
                    <a:pt x="20034" y="10788"/>
                    <a:pt x="20034" y="10864"/>
                  </a:cubicBezTo>
                  <a:cubicBezTo>
                    <a:pt x="20034" y="10905"/>
                    <a:pt x="20070" y="10923"/>
                    <a:pt x="20142" y="10918"/>
                  </a:cubicBezTo>
                  <a:cubicBezTo>
                    <a:pt x="20210" y="10914"/>
                    <a:pt x="20244" y="10936"/>
                    <a:pt x="20244" y="10986"/>
                  </a:cubicBezTo>
                  <a:cubicBezTo>
                    <a:pt x="20244" y="11004"/>
                    <a:pt x="20228" y="11038"/>
                    <a:pt x="20196" y="11087"/>
                  </a:cubicBezTo>
                  <a:cubicBezTo>
                    <a:pt x="20164" y="11141"/>
                    <a:pt x="20147" y="11189"/>
                    <a:pt x="20147" y="11229"/>
                  </a:cubicBezTo>
                  <a:cubicBezTo>
                    <a:pt x="20147" y="11315"/>
                    <a:pt x="20165" y="11358"/>
                    <a:pt x="20201" y="11358"/>
                  </a:cubicBezTo>
                  <a:cubicBezTo>
                    <a:pt x="20205" y="11358"/>
                    <a:pt x="20235" y="11333"/>
                    <a:pt x="20293" y="11283"/>
                  </a:cubicBezTo>
                  <a:cubicBezTo>
                    <a:pt x="20346" y="11234"/>
                    <a:pt x="20388" y="11209"/>
                    <a:pt x="20416" y="11209"/>
                  </a:cubicBezTo>
                  <a:cubicBezTo>
                    <a:pt x="20441" y="11209"/>
                    <a:pt x="20472" y="11227"/>
                    <a:pt x="20508" y="11263"/>
                  </a:cubicBezTo>
                  <a:cubicBezTo>
                    <a:pt x="20540" y="11295"/>
                    <a:pt x="20556" y="11317"/>
                    <a:pt x="20556" y="11331"/>
                  </a:cubicBezTo>
                  <a:cubicBezTo>
                    <a:pt x="20556" y="11376"/>
                    <a:pt x="20531" y="11419"/>
                    <a:pt x="20481" y="11459"/>
                  </a:cubicBezTo>
                  <a:cubicBezTo>
                    <a:pt x="20427" y="11495"/>
                    <a:pt x="20400" y="11525"/>
                    <a:pt x="20400" y="11547"/>
                  </a:cubicBezTo>
                  <a:cubicBezTo>
                    <a:pt x="20400" y="11588"/>
                    <a:pt x="20434" y="11651"/>
                    <a:pt x="20502" y="11736"/>
                  </a:cubicBezTo>
                  <a:cubicBezTo>
                    <a:pt x="20567" y="11822"/>
                    <a:pt x="20599" y="11883"/>
                    <a:pt x="20599" y="11919"/>
                  </a:cubicBezTo>
                  <a:cubicBezTo>
                    <a:pt x="20599" y="11955"/>
                    <a:pt x="20587" y="11982"/>
                    <a:pt x="20562" y="12000"/>
                  </a:cubicBezTo>
                  <a:cubicBezTo>
                    <a:pt x="20533" y="12018"/>
                    <a:pt x="20519" y="12034"/>
                    <a:pt x="20519" y="12047"/>
                  </a:cubicBezTo>
                  <a:cubicBezTo>
                    <a:pt x="20519" y="12061"/>
                    <a:pt x="20508" y="12097"/>
                    <a:pt x="20486" y="12155"/>
                  </a:cubicBezTo>
                  <a:cubicBezTo>
                    <a:pt x="20486" y="12173"/>
                    <a:pt x="20510" y="12261"/>
                    <a:pt x="20556" y="12419"/>
                  </a:cubicBezTo>
                  <a:cubicBezTo>
                    <a:pt x="20556" y="12446"/>
                    <a:pt x="20544" y="12475"/>
                    <a:pt x="20519" y="12507"/>
                  </a:cubicBezTo>
                  <a:cubicBezTo>
                    <a:pt x="20494" y="12539"/>
                    <a:pt x="20470" y="12554"/>
                    <a:pt x="20449" y="12554"/>
                  </a:cubicBezTo>
                  <a:cubicBezTo>
                    <a:pt x="20399" y="12554"/>
                    <a:pt x="20325" y="12523"/>
                    <a:pt x="20228" y="12460"/>
                  </a:cubicBezTo>
                  <a:cubicBezTo>
                    <a:pt x="20131" y="12397"/>
                    <a:pt x="20074" y="12358"/>
                    <a:pt x="20056" y="12345"/>
                  </a:cubicBezTo>
                  <a:lnTo>
                    <a:pt x="19889" y="12345"/>
                  </a:lnTo>
                  <a:lnTo>
                    <a:pt x="19889" y="12412"/>
                  </a:lnTo>
                  <a:cubicBezTo>
                    <a:pt x="19918" y="12457"/>
                    <a:pt x="19963" y="12509"/>
                    <a:pt x="20024" y="12568"/>
                  </a:cubicBezTo>
                  <a:cubicBezTo>
                    <a:pt x="20074" y="12622"/>
                    <a:pt x="20115" y="12681"/>
                    <a:pt x="20147" y="12744"/>
                  </a:cubicBezTo>
                  <a:cubicBezTo>
                    <a:pt x="20198" y="12847"/>
                    <a:pt x="20260" y="12956"/>
                    <a:pt x="20336" y="13068"/>
                  </a:cubicBezTo>
                  <a:cubicBezTo>
                    <a:pt x="20364" y="13113"/>
                    <a:pt x="20379" y="13161"/>
                    <a:pt x="20379" y="13210"/>
                  </a:cubicBezTo>
                  <a:cubicBezTo>
                    <a:pt x="20379" y="13246"/>
                    <a:pt x="20368" y="13280"/>
                    <a:pt x="20346" y="13312"/>
                  </a:cubicBezTo>
                  <a:cubicBezTo>
                    <a:pt x="20321" y="13343"/>
                    <a:pt x="20309" y="13361"/>
                    <a:pt x="20309" y="13366"/>
                  </a:cubicBezTo>
                  <a:lnTo>
                    <a:pt x="20416" y="13636"/>
                  </a:lnTo>
                  <a:cubicBezTo>
                    <a:pt x="20485" y="13848"/>
                    <a:pt x="20519" y="14044"/>
                    <a:pt x="20519" y="14224"/>
                  </a:cubicBezTo>
                  <a:cubicBezTo>
                    <a:pt x="20519" y="14251"/>
                    <a:pt x="20511" y="14267"/>
                    <a:pt x="20497" y="14272"/>
                  </a:cubicBezTo>
                  <a:cubicBezTo>
                    <a:pt x="20494" y="14272"/>
                    <a:pt x="20477" y="14272"/>
                    <a:pt x="20449" y="14272"/>
                  </a:cubicBezTo>
                  <a:cubicBezTo>
                    <a:pt x="20352" y="14272"/>
                    <a:pt x="20280" y="14213"/>
                    <a:pt x="20233" y="14096"/>
                  </a:cubicBezTo>
                  <a:cubicBezTo>
                    <a:pt x="20187" y="13974"/>
                    <a:pt x="20144" y="13913"/>
                    <a:pt x="20104" y="13913"/>
                  </a:cubicBezTo>
                  <a:cubicBezTo>
                    <a:pt x="20101" y="13913"/>
                    <a:pt x="20092" y="13927"/>
                    <a:pt x="20077" y="13954"/>
                  </a:cubicBezTo>
                  <a:cubicBezTo>
                    <a:pt x="20063" y="13981"/>
                    <a:pt x="20056" y="14003"/>
                    <a:pt x="20056" y="14021"/>
                  </a:cubicBezTo>
                  <a:cubicBezTo>
                    <a:pt x="20056" y="14030"/>
                    <a:pt x="20047" y="14035"/>
                    <a:pt x="20029" y="14035"/>
                  </a:cubicBezTo>
                  <a:cubicBezTo>
                    <a:pt x="20000" y="14035"/>
                    <a:pt x="19959" y="13992"/>
                    <a:pt x="19905" y="13906"/>
                  </a:cubicBezTo>
                  <a:cubicBezTo>
                    <a:pt x="19855" y="13816"/>
                    <a:pt x="19825" y="13767"/>
                    <a:pt x="19814" y="13758"/>
                  </a:cubicBezTo>
                  <a:cubicBezTo>
                    <a:pt x="19796" y="13771"/>
                    <a:pt x="19771" y="13810"/>
                    <a:pt x="19739" y="13873"/>
                  </a:cubicBezTo>
                  <a:cubicBezTo>
                    <a:pt x="19714" y="13927"/>
                    <a:pt x="19681" y="13954"/>
                    <a:pt x="19642" y="13954"/>
                  </a:cubicBezTo>
                  <a:cubicBezTo>
                    <a:pt x="19534" y="13954"/>
                    <a:pt x="19461" y="13857"/>
                    <a:pt x="19421" y="13663"/>
                  </a:cubicBezTo>
                  <a:cubicBezTo>
                    <a:pt x="19378" y="13469"/>
                    <a:pt x="19342" y="13372"/>
                    <a:pt x="19313" y="13372"/>
                  </a:cubicBezTo>
                  <a:cubicBezTo>
                    <a:pt x="19299" y="13372"/>
                    <a:pt x="19270" y="13393"/>
                    <a:pt x="19227" y="13433"/>
                  </a:cubicBezTo>
                  <a:cubicBezTo>
                    <a:pt x="19181" y="13474"/>
                    <a:pt x="19152" y="13494"/>
                    <a:pt x="19141" y="13494"/>
                  </a:cubicBezTo>
                  <a:cubicBezTo>
                    <a:pt x="19102" y="13494"/>
                    <a:pt x="19030" y="13453"/>
                    <a:pt x="18926" y="13372"/>
                  </a:cubicBezTo>
                  <a:cubicBezTo>
                    <a:pt x="18822" y="13296"/>
                    <a:pt x="18750" y="13230"/>
                    <a:pt x="18711" y="13176"/>
                  </a:cubicBezTo>
                  <a:cubicBezTo>
                    <a:pt x="18618" y="13064"/>
                    <a:pt x="18560" y="12989"/>
                    <a:pt x="18539" y="12953"/>
                  </a:cubicBezTo>
                  <a:cubicBezTo>
                    <a:pt x="18514" y="12913"/>
                    <a:pt x="18501" y="12850"/>
                    <a:pt x="18501" y="12764"/>
                  </a:cubicBezTo>
                  <a:cubicBezTo>
                    <a:pt x="18501" y="12741"/>
                    <a:pt x="18494" y="12717"/>
                    <a:pt x="18480" y="12690"/>
                  </a:cubicBezTo>
                  <a:cubicBezTo>
                    <a:pt x="18462" y="12663"/>
                    <a:pt x="18446" y="12649"/>
                    <a:pt x="18431" y="12649"/>
                  </a:cubicBezTo>
                  <a:cubicBezTo>
                    <a:pt x="18291" y="12753"/>
                    <a:pt x="18205" y="12804"/>
                    <a:pt x="18173" y="12804"/>
                  </a:cubicBezTo>
                  <a:cubicBezTo>
                    <a:pt x="17940" y="12665"/>
                    <a:pt x="17811" y="12581"/>
                    <a:pt x="17785" y="12554"/>
                  </a:cubicBezTo>
                  <a:cubicBezTo>
                    <a:pt x="17743" y="12505"/>
                    <a:pt x="17669" y="12482"/>
                    <a:pt x="17565" y="12487"/>
                  </a:cubicBezTo>
                  <a:cubicBezTo>
                    <a:pt x="17454" y="12500"/>
                    <a:pt x="17378" y="12507"/>
                    <a:pt x="17339" y="12507"/>
                  </a:cubicBezTo>
                  <a:cubicBezTo>
                    <a:pt x="17142" y="12507"/>
                    <a:pt x="17034" y="12428"/>
                    <a:pt x="17016" y="12270"/>
                  </a:cubicBezTo>
                  <a:cubicBezTo>
                    <a:pt x="17002" y="12108"/>
                    <a:pt x="16921" y="12027"/>
                    <a:pt x="16774" y="12027"/>
                  </a:cubicBezTo>
                  <a:cubicBezTo>
                    <a:pt x="16645" y="12027"/>
                    <a:pt x="16581" y="12054"/>
                    <a:pt x="16581" y="12108"/>
                  </a:cubicBezTo>
                  <a:cubicBezTo>
                    <a:pt x="16581" y="12149"/>
                    <a:pt x="16598" y="12185"/>
                    <a:pt x="16634" y="12216"/>
                  </a:cubicBezTo>
                  <a:cubicBezTo>
                    <a:pt x="16656" y="12239"/>
                    <a:pt x="16694" y="12273"/>
                    <a:pt x="16747" y="12318"/>
                  </a:cubicBezTo>
                  <a:cubicBezTo>
                    <a:pt x="16787" y="12358"/>
                    <a:pt x="16840" y="12412"/>
                    <a:pt x="16909" y="12480"/>
                  </a:cubicBezTo>
                  <a:lnTo>
                    <a:pt x="16909" y="12622"/>
                  </a:lnTo>
                  <a:lnTo>
                    <a:pt x="16806" y="12635"/>
                  </a:lnTo>
                  <a:cubicBezTo>
                    <a:pt x="16763" y="12635"/>
                    <a:pt x="16713" y="12617"/>
                    <a:pt x="16656" y="12581"/>
                  </a:cubicBezTo>
                  <a:cubicBezTo>
                    <a:pt x="16598" y="12545"/>
                    <a:pt x="16557" y="12527"/>
                    <a:pt x="16532" y="12527"/>
                  </a:cubicBezTo>
                  <a:cubicBezTo>
                    <a:pt x="16503" y="12527"/>
                    <a:pt x="16487" y="12557"/>
                    <a:pt x="16484" y="12615"/>
                  </a:cubicBezTo>
                  <a:cubicBezTo>
                    <a:pt x="16476" y="12678"/>
                    <a:pt x="16457" y="12717"/>
                    <a:pt x="16425" y="12730"/>
                  </a:cubicBezTo>
                  <a:cubicBezTo>
                    <a:pt x="16371" y="12730"/>
                    <a:pt x="16335" y="12730"/>
                    <a:pt x="16317" y="12730"/>
                  </a:cubicBezTo>
                  <a:cubicBezTo>
                    <a:pt x="16285" y="12735"/>
                    <a:pt x="16268" y="12768"/>
                    <a:pt x="16268" y="12832"/>
                  </a:cubicBezTo>
                  <a:cubicBezTo>
                    <a:pt x="16268" y="12863"/>
                    <a:pt x="16306" y="12904"/>
                    <a:pt x="16381" y="12953"/>
                  </a:cubicBezTo>
                  <a:cubicBezTo>
                    <a:pt x="16453" y="12998"/>
                    <a:pt x="16509" y="13021"/>
                    <a:pt x="16548" y="13021"/>
                  </a:cubicBezTo>
                  <a:lnTo>
                    <a:pt x="16817" y="12994"/>
                  </a:lnTo>
                  <a:cubicBezTo>
                    <a:pt x="16878" y="12994"/>
                    <a:pt x="16964" y="13023"/>
                    <a:pt x="17075" y="13082"/>
                  </a:cubicBezTo>
                  <a:cubicBezTo>
                    <a:pt x="17187" y="13140"/>
                    <a:pt x="17242" y="13188"/>
                    <a:pt x="17242" y="13224"/>
                  </a:cubicBezTo>
                  <a:cubicBezTo>
                    <a:pt x="17242" y="13332"/>
                    <a:pt x="17162" y="13445"/>
                    <a:pt x="17000" y="13562"/>
                  </a:cubicBezTo>
                  <a:cubicBezTo>
                    <a:pt x="16839" y="13683"/>
                    <a:pt x="16758" y="13755"/>
                    <a:pt x="16758" y="13778"/>
                  </a:cubicBezTo>
                  <a:cubicBezTo>
                    <a:pt x="16758" y="13796"/>
                    <a:pt x="16787" y="13830"/>
                    <a:pt x="16844" y="13879"/>
                  </a:cubicBezTo>
                  <a:cubicBezTo>
                    <a:pt x="16902" y="13934"/>
                    <a:pt x="16930" y="13994"/>
                    <a:pt x="16930" y="14062"/>
                  </a:cubicBezTo>
                  <a:lnTo>
                    <a:pt x="16909" y="14265"/>
                  </a:lnTo>
                  <a:cubicBezTo>
                    <a:pt x="16909" y="14305"/>
                    <a:pt x="16921" y="14346"/>
                    <a:pt x="16946" y="14386"/>
                  </a:cubicBezTo>
                  <a:cubicBezTo>
                    <a:pt x="16968" y="14423"/>
                    <a:pt x="16988" y="14441"/>
                    <a:pt x="17005" y="14441"/>
                  </a:cubicBezTo>
                  <a:cubicBezTo>
                    <a:pt x="17034" y="14441"/>
                    <a:pt x="17072" y="14398"/>
                    <a:pt x="17118" y="14312"/>
                  </a:cubicBezTo>
                  <a:cubicBezTo>
                    <a:pt x="17162" y="14222"/>
                    <a:pt x="17213" y="14177"/>
                    <a:pt x="17274" y="14177"/>
                  </a:cubicBezTo>
                  <a:cubicBezTo>
                    <a:pt x="17343" y="14177"/>
                    <a:pt x="17386" y="14206"/>
                    <a:pt x="17404" y="14265"/>
                  </a:cubicBezTo>
                  <a:cubicBezTo>
                    <a:pt x="17432" y="14350"/>
                    <a:pt x="17481" y="14414"/>
                    <a:pt x="17549" y="14454"/>
                  </a:cubicBezTo>
                  <a:cubicBezTo>
                    <a:pt x="17653" y="14499"/>
                    <a:pt x="17716" y="14540"/>
                    <a:pt x="17737" y="14576"/>
                  </a:cubicBezTo>
                  <a:cubicBezTo>
                    <a:pt x="17748" y="14598"/>
                    <a:pt x="17764" y="14673"/>
                    <a:pt x="17785" y="14799"/>
                  </a:cubicBezTo>
                  <a:cubicBezTo>
                    <a:pt x="17796" y="14848"/>
                    <a:pt x="17838" y="14889"/>
                    <a:pt x="17909" y="14921"/>
                  </a:cubicBezTo>
                  <a:cubicBezTo>
                    <a:pt x="17992" y="14957"/>
                    <a:pt x="18049" y="15013"/>
                    <a:pt x="18081" y="15090"/>
                  </a:cubicBezTo>
                  <a:cubicBezTo>
                    <a:pt x="18103" y="15139"/>
                    <a:pt x="18150" y="15232"/>
                    <a:pt x="18221" y="15367"/>
                  </a:cubicBezTo>
                  <a:cubicBezTo>
                    <a:pt x="18289" y="15497"/>
                    <a:pt x="18327" y="15563"/>
                    <a:pt x="18334" y="15563"/>
                  </a:cubicBezTo>
                  <a:cubicBezTo>
                    <a:pt x="18342" y="15563"/>
                    <a:pt x="18363" y="15495"/>
                    <a:pt x="18399" y="15360"/>
                  </a:cubicBezTo>
                  <a:cubicBezTo>
                    <a:pt x="18438" y="15225"/>
                    <a:pt x="18497" y="15157"/>
                    <a:pt x="18576" y="15157"/>
                  </a:cubicBezTo>
                  <a:cubicBezTo>
                    <a:pt x="18609" y="15157"/>
                    <a:pt x="18646" y="15205"/>
                    <a:pt x="18689" y="15299"/>
                  </a:cubicBezTo>
                  <a:cubicBezTo>
                    <a:pt x="18732" y="15389"/>
                    <a:pt x="18766" y="15434"/>
                    <a:pt x="18792" y="15434"/>
                  </a:cubicBezTo>
                  <a:cubicBezTo>
                    <a:pt x="18842" y="15434"/>
                    <a:pt x="18876" y="15382"/>
                    <a:pt x="18894" y="15279"/>
                  </a:cubicBezTo>
                  <a:cubicBezTo>
                    <a:pt x="18912" y="15171"/>
                    <a:pt x="18944" y="15117"/>
                    <a:pt x="18991" y="15117"/>
                  </a:cubicBezTo>
                  <a:cubicBezTo>
                    <a:pt x="19052" y="15117"/>
                    <a:pt x="19113" y="15166"/>
                    <a:pt x="19174" y="15265"/>
                  </a:cubicBezTo>
                  <a:cubicBezTo>
                    <a:pt x="19217" y="15338"/>
                    <a:pt x="19251" y="15419"/>
                    <a:pt x="19276" y="15509"/>
                  </a:cubicBezTo>
                  <a:cubicBezTo>
                    <a:pt x="19294" y="15500"/>
                    <a:pt x="19319" y="15457"/>
                    <a:pt x="19351" y="15380"/>
                  </a:cubicBezTo>
                  <a:cubicBezTo>
                    <a:pt x="19376" y="15308"/>
                    <a:pt x="19410" y="15272"/>
                    <a:pt x="19453" y="15272"/>
                  </a:cubicBezTo>
                  <a:cubicBezTo>
                    <a:pt x="19489" y="15272"/>
                    <a:pt x="19529" y="15313"/>
                    <a:pt x="19572" y="15394"/>
                  </a:cubicBezTo>
                  <a:cubicBezTo>
                    <a:pt x="19615" y="15470"/>
                    <a:pt x="19647" y="15509"/>
                    <a:pt x="19669" y="15509"/>
                  </a:cubicBezTo>
                  <a:cubicBezTo>
                    <a:pt x="19687" y="15509"/>
                    <a:pt x="19710" y="15502"/>
                    <a:pt x="19739" y="15488"/>
                  </a:cubicBezTo>
                  <a:cubicBezTo>
                    <a:pt x="19767" y="15475"/>
                    <a:pt x="19789" y="15468"/>
                    <a:pt x="19803" y="15468"/>
                  </a:cubicBezTo>
                  <a:cubicBezTo>
                    <a:pt x="19853" y="15468"/>
                    <a:pt x="19895" y="15509"/>
                    <a:pt x="19927" y="15590"/>
                  </a:cubicBezTo>
                  <a:cubicBezTo>
                    <a:pt x="19956" y="15662"/>
                    <a:pt x="19970" y="15745"/>
                    <a:pt x="19970" y="15840"/>
                  </a:cubicBezTo>
                  <a:cubicBezTo>
                    <a:pt x="19970" y="15953"/>
                    <a:pt x="19952" y="16036"/>
                    <a:pt x="19916" y="16090"/>
                  </a:cubicBezTo>
                  <a:cubicBezTo>
                    <a:pt x="19877" y="16122"/>
                    <a:pt x="19857" y="16160"/>
                    <a:pt x="19857" y="16205"/>
                  </a:cubicBezTo>
                  <a:cubicBezTo>
                    <a:pt x="19857" y="16304"/>
                    <a:pt x="19930" y="16367"/>
                    <a:pt x="20077" y="16394"/>
                  </a:cubicBezTo>
                  <a:cubicBezTo>
                    <a:pt x="20128" y="16403"/>
                    <a:pt x="20219" y="16408"/>
                    <a:pt x="20352" y="16408"/>
                  </a:cubicBezTo>
                  <a:cubicBezTo>
                    <a:pt x="20416" y="16408"/>
                    <a:pt x="20486" y="16457"/>
                    <a:pt x="20562" y="16557"/>
                  </a:cubicBezTo>
                  <a:cubicBezTo>
                    <a:pt x="20608" y="16615"/>
                    <a:pt x="20684" y="16714"/>
                    <a:pt x="20788" y="16854"/>
                  </a:cubicBezTo>
                  <a:cubicBezTo>
                    <a:pt x="20849" y="16926"/>
                    <a:pt x="20911" y="17012"/>
                    <a:pt x="20976" y="17111"/>
                  </a:cubicBezTo>
                  <a:cubicBezTo>
                    <a:pt x="21069" y="17246"/>
                    <a:pt x="21116" y="17343"/>
                    <a:pt x="21116" y="17402"/>
                  </a:cubicBezTo>
                  <a:cubicBezTo>
                    <a:pt x="21116" y="17415"/>
                    <a:pt x="21103" y="17440"/>
                    <a:pt x="21078" y="17476"/>
                  </a:cubicBezTo>
                  <a:cubicBezTo>
                    <a:pt x="21053" y="17512"/>
                    <a:pt x="21040" y="17546"/>
                    <a:pt x="21040" y="17577"/>
                  </a:cubicBezTo>
                  <a:cubicBezTo>
                    <a:pt x="21040" y="17600"/>
                    <a:pt x="21058" y="17659"/>
                    <a:pt x="21094" y="17753"/>
                  </a:cubicBezTo>
                  <a:cubicBezTo>
                    <a:pt x="21094" y="17812"/>
                    <a:pt x="21048" y="17841"/>
                    <a:pt x="20954" y="17841"/>
                  </a:cubicBezTo>
                  <a:cubicBezTo>
                    <a:pt x="20937" y="17841"/>
                    <a:pt x="20913" y="17834"/>
                    <a:pt x="20884" y="17821"/>
                  </a:cubicBezTo>
                  <a:cubicBezTo>
                    <a:pt x="20856" y="17807"/>
                    <a:pt x="20834" y="17801"/>
                    <a:pt x="20820" y="17801"/>
                  </a:cubicBezTo>
                  <a:cubicBezTo>
                    <a:pt x="20766" y="17801"/>
                    <a:pt x="20739" y="17848"/>
                    <a:pt x="20739" y="17943"/>
                  </a:cubicBezTo>
                  <a:cubicBezTo>
                    <a:pt x="20739" y="18051"/>
                    <a:pt x="20806" y="18172"/>
                    <a:pt x="20938" y="18308"/>
                  </a:cubicBezTo>
                  <a:cubicBezTo>
                    <a:pt x="21057" y="18429"/>
                    <a:pt x="21141" y="18490"/>
                    <a:pt x="21191" y="18490"/>
                  </a:cubicBezTo>
                  <a:cubicBezTo>
                    <a:pt x="21220" y="18490"/>
                    <a:pt x="21272" y="18477"/>
                    <a:pt x="21347" y="18450"/>
                  </a:cubicBezTo>
                  <a:cubicBezTo>
                    <a:pt x="21390" y="18450"/>
                    <a:pt x="21435" y="18472"/>
                    <a:pt x="21482" y="18517"/>
                  </a:cubicBezTo>
                  <a:cubicBezTo>
                    <a:pt x="21532" y="18562"/>
                    <a:pt x="21557" y="18614"/>
                    <a:pt x="21557" y="18673"/>
                  </a:cubicBezTo>
                  <a:cubicBezTo>
                    <a:pt x="21557" y="18763"/>
                    <a:pt x="21489" y="18808"/>
                    <a:pt x="21352" y="18808"/>
                  </a:cubicBezTo>
                  <a:cubicBezTo>
                    <a:pt x="21327" y="18808"/>
                    <a:pt x="21293" y="18797"/>
                    <a:pt x="21250" y="18774"/>
                  </a:cubicBezTo>
                  <a:cubicBezTo>
                    <a:pt x="21207" y="18752"/>
                    <a:pt x="21180" y="18740"/>
                    <a:pt x="21170" y="18740"/>
                  </a:cubicBezTo>
                  <a:cubicBezTo>
                    <a:pt x="21134" y="18740"/>
                    <a:pt x="21116" y="18774"/>
                    <a:pt x="21116" y="18842"/>
                  </a:cubicBezTo>
                  <a:cubicBezTo>
                    <a:pt x="21116" y="18887"/>
                    <a:pt x="21197" y="18995"/>
                    <a:pt x="21358" y="19166"/>
                  </a:cubicBezTo>
                  <a:cubicBezTo>
                    <a:pt x="21519" y="19337"/>
                    <a:pt x="21600" y="19448"/>
                    <a:pt x="21600" y="19497"/>
                  </a:cubicBezTo>
                  <a:cubicBezTo>
                    <a:pt x="21600" y="19556"/>
                    <a:pt x="21586" y="19594"/>
                    <a:pt x="21557" y="19612"/>
                  </a:cubicBezTo>
                  <a:cubicBezTo>
                    <a:pt x="21543" y="19621"/>
                    <a:pt x="21507" y="19626"/>
                    <a:pt x="21449" y="19626"/>
                  </a:cubicBezTo>
                  <a:cubicBezTo>
                    <a:pt x="21263" y="19626"/>
                    <a:pt x="21155" y="19547"/>
                    <a:pt x="21127" y="19389"/>
                  </a:cubicBezTo>
                  <a:cubicBezTo>
                    <a:pt x="21098" y="19227"/>
                    <a:pt x="21071" y="19146"/>
                    <a:pt x="21046" y="19146"/>
                  </a:cubicBezTo>
                  <a:cubicBezTo>
                    <a:pt x="20988" y="19164"/>
                    <a:pt x="20951" y="19173"/>
                    <a:pt x="20933" y="19173"/>
                  </a:cubicBezTo>
                  <a:cubicBezTo>
                    <a:pt x="20904" y="19173"/>
                    <a:pt x="20850" y="19132"/>
                    <a:pt x="20771" y="19051"/>
                  </a:cubicBezTo>
                  <a:cubicBezTo>
                    <a:pt x="20700" y="18966"/>
                    <a:pt x="20662" y="18923"/>
                    <a:pt x="20659" y="18923"/>
                  </a:cubicBezTo>
                  <a:cubicBezTo>
                    <a:pt x="20633" y="18923"/>
                    <a:pt x="20621" y="18945"/>
                    <a:pt x="20621" y="18990"/>
                  </a:cubicBezTo>
                  <a:cubicBezTo>
                    <a:pt x="20621" y="19013"/>
                    <a:pt x="20624" y="19045"/>
                    <a:pt x="20632" y="19085"/>
                  </a:cubicBezTo>
                  <a:cubicBezTo>
                    <a:pt x="20632" y="19103"/>
                    <a:pt x="20610" y="19119"/>
                    <a:pt x="20567" y="19132"/>
                  </a:cubicBezTo>
                  <a:cubicBezTo>
                    <a:pt x="20531" y="19141"/>
                    <a:pt x="20501" y="19146"/>
                    <a:pt x="20475" y="19146"/>
                  </a:cubicBezTo>
                  <a:cubicBezTo>
                    <a:pt x="20468" y="19146"/>
                    <a:pt x="20460" y="19141"/>
                    <a:pt x="20449" y="19132"/>
                  </a:cubicBezTo>
                  <a:cubicBezTo>
                    <a:pt x="20441" y="19119"/>
                    <a:pt x="20433" y="19112"/>
                    <a:pt x="20422" y="19112"/>
                  </a:cubicBezTo>
                  <a:cubicBezTo>
                    <a:pt x="20411" y="19112"/>
                    <a:pt x="20395" y="19139"/>
                    <a:pt x="20373" y="19193"/>
                  </a:cubicBezTo>
                  <a:cubicBezTo>
                    <a:pt x="20352" y="19243"/>
                    <a:pt x="20321" y="19268"/>
                    <a:pt x="20282" y="19268"/>
                  </a:cubicBezTo>
                  <a:cubicBezTo>
                    <a:pt x="20250" y="19268"/>
                    <a:pt x="20210" y="19238"/>
                    <a:pt x="20164" y="19180"/>
                  </a:cubicBezTo>
                  <a:cubicBezTo>
                    <a:pt x="20117" y="19117"/>
                    <a:pt x="20079" y="19085"/>
                    <a:pt x="20051" y="19085"/>
                  </a:cubicBezTo>
                  <a:cubicBezTo>
                    <a:pt x="20043" y="19085"/>
                    <a:pt x="20002" y="19117"/>
                    <a:pt x="19927" y="19180"/>
                  </a:cubicBezTo>
                  <a:cubicBezTo>
                    <a:pt x="19848" y="19238"/>
                    <a:pt x="19798" y="19268"/>
                    <a:pt x="19776" y="19268"/>
                  </a:cubicBezTo>
                  <a:cubicBezTo>
                    <a:pt x="19661" y="19268"/>
                    <a:pt x="19581" y="19220"/>
                    <a:pt x="19534" y="19126"/>
                  </a:cubicBezTo>
                  <a:cubicBezTo>
                    <a:pt x="19491" y="19027"/>
                    <a:pt x="19384" y="18977"/>
                    <a:pt x="19211" y="18977"/>
                  </a:cubicBezTo>
                  <a:cubicBezTo>
                    <a:pt x="19132" y="18977"/>
                    <a:pt x="19018" y="18903"/>
                    <a:pt x="18867" y="18754"/>
                  </a:cubicBezTo>
                  <a:cubicBezTo>
                    <a:pt x="18720" y="18605"/>
                    <a:pt x="18636" y="18531"/>
                    <a:pt x="18614" y="18531"/>
                  </a:cubicBezTo>
                  <a:cubicBezTo>
                    <a:pt x="18575" y="18531"/>
                    <a:pt x="18555" y="18551"/>
                    <a:pt x="18555" y="18592"/>
                  </a:cubicBezTo>
                  <a:cubicBezTo>
                    <a:pt x="18555" y="18628"/>
                    <a:pt x="18566" y="18664"/>
                    <a:pt x="18587" y="18700"/>
                  </a:cubicBezTo>
                  <a:cubicBezTo>
                    <a:pt x="18609" y="18736"/>
                    <a:pt x="18619" y="18761"/>
                    <a:pt x="18619" y="18774"/>
                  </a:cubicBezTo>
                  <a:cubicBezTo>
                    <a:pt x="18619" y="18824"/>
                    <a:pt x="18585" y="18848"/>
                    <a:pt x="18517" y="18848"/>
                  </a:cubicBezTo>
                  <a:cubicBezTo>
                    <a:pt x="18406" y="18848"/>
                    <a:pt x="18297" y="18790"/>
                    <a:pt x="18189" y="18673"/>
                  </a:cubicBezTo>
                  <a:cubicBezTo>
                    <a:pt x="18085" y="18551"/>
                    <a:pt x="17938" y="18490"/>
                    <a:pt x="17748" y="18490"/>
                  </a:cubicBezTo>
                  <a:cubicBezTo>
                    <a:pt x="17676" y="18490"/>
                    <a:pt x="17613" y="18495"/>
                    <a:pt x="17560" y="18504"/>
                  </a:cubicBezTo>
                  <a:lnTo>
                    <a:pt x="17560" y="18571"/>
                  </a:lnTo>
                  <a:cubicBezTo>
                    <a:pt x="17596" y="18643"/>
                    <a:pt x="17746" y="18779"/>
                    <a:pt x="18012" y="18977"/>
                  </a:cubicBezTo>
                  <a:cubicBezTo>
                    <a:pt x="18238" y="19148"/>
                    <a:pt x="18440" y="19288"/>
                    <a:pt x="18619" y="19396"/>
                  </a:cubicBezTo>
                  <a:cubicBezTo>
                    <a:pt x="18763" y="19482"/>
                    <a:pt x="18940" y="19579"/>
                    <a:pt x="19152" y="19687"/>
                  </a:cubicBezTo>
                  <a:cubicBezTo>
                    <a:pt x="19371" y="19804"/>
                    <a:pt x="19547" y="19901"/>
                    <a:pt x="19679" y="19977"/>
                  </a:cubicBezTo>
                  <a:cubicBezTo>
                    <a:pt x="19791" y="20041"/>
                    <a:pt x="19970" y="20128"/>
                    <a:pt x="20217" y="20241"/>
                  </a:cubicBezTo>
                  <a:cubicBezTo>
                    <a:pt x="20429" y="20349"/>
                    <a:pt x="20567" y="20451"/>
                    <a:pt x="20632" y="20545"/>
                  </a:cubicBezTo>
                  <a:cubicBezTo>
                    <a:pt x="20664" y="20595"/>
                    <a:pt x="20693" y="20665"/>
                    <a:pt x="20718" y="20755"/>
                  </a:cubicBezTo>
                  <a:cubicBezTo>
                    <a:pt x="20739" y="20836"/>
                    <a:pt x="20750" y="20908"/>
                    <a:pt x="20750" y="20971"/>
                  </a:cubicBezTo>
                  <a:cubicBezTo>
                    <a:pt x="20750" y="21039"/>
                    <a:pt x="20782" y="21111"/>
                    <a:pt x="20847" y="21188"/>
                  </a:cubicBezTo>
                  <a:cubicBezTo>
                    <a:pt x="20908" y="21269"/>
                    <a:pt x="20938" y="21327"/>
                    <a:pt x="20938" y="21363"/>
                  </a:cubicBezTo>
                  <a:cubicBezTo>
                    <a:pt x="20938" y="21399"/>
                    <a:pt x="20917" y="21444"/>
                    <a:pt x="20874" y="21499"/>
                  </a:cubicBezTo>
                  <a:cubicBezTo>
                    <a:pt x="20827" y="21557"/>
                    <a:pt x="20779" y="21586"/>
                    <a:pt x="20729" y="21586"/>
                  </a:cubicBezTo>
                  <a:cubicBezTo>
                    <a:pt x="20725" y="21586"/>
                    <a:pt x="20664" y="21537"/>
                    <a:pt x="20545" y="21438"/>
                  </a:cubicBezTo>
                  <a:cubicBezTo>
                    <a:pt x="20424" y="21334"/>
                    <a:pt x="20346" y="21282"/>
                    <a:pt x="20314" y="21282"/>
                  </a:cubicBezTo>
                  <a:cubicBezTo>
                    <a:pt x="20275" y="21282"/>
                    <a:pt x="20207" y="21336"/>
                    <a:pt x="20110" y="21444"/>
                  </a:cubicBezTo>
                  <a:cubicBezTo>
                    <a:pt x="20013" y="21548"/>
                    <a:pt x="19927" y="21600"/>
                    <a:pt x="19852" y="21600"/>
                  </a:cubicBezTo>
                  <a:cubicBezTo>
                    <a:pt x="19798" y="21600"/>
                    <a:pt x="19733" y="21559"/>
                    <a:pt x="19658" y="21478"/>
                  </a:cubicBezTo>
                  <a:cubicBezTo>
                    <a:pt x="19586" y="21393"/>
                    <a:pt x="19522" y="21350"/>
                    <a:pt x="19464" y="21350"/>
                  </a:cubicBezTo>
                  <a:cubicBezTo>
                    <a:pt x="19432" y="21350"/>
                    <a:pt x="19385" y="21381"/>
                    <a:pt x="19324" y="21444"/>
                  </a:cubicBezTo>
                  <a:cubicBezTo>
                    <a:pt x="19263" y="21503"/>
                    <a:pt x="19218" y="21532"/>
                    <a:pt x="19190" y="21532"/>
                  </a:cubicBezTo>
                  <a:cubicBezTo>
                    <a:pt x="19086" y="21492"/>
                    <a:pt x="19028" y="21472"/>
                    <a:pt x="19018" y="21472"/>
                  </a:cubicBezTo>
                  <a:cubicBezTo>
                    <a:pt x="18960" y="21521"/>
                    <a:pt x="18908" y="21546"/>
                    <a:pt x="18861" y="21546"/>
                  </a:cubicBezTo>
                  <a:cubicBezTo>
                    <a:pt x="18747" y="21546"/>
                    <a:pt x="18675" y="21501"/>
                    <a:pt x="18646" y="21411"/>
                  </a:cubicBezTo>
                  <a:cubicBezTo>
                    <a:pt x="18618" y="21316"/>
                    <a:pt x="18587" y="21269"/>
                    <a:pt x="18555" y="21269"/>
                  </a:cubicBezTo>
                  <a:cubicBezTo>
                    <a:pt x="18537" y="21269"/>
                    <a:pt x="18521" y="21296"/>
                    <a:pt x="18507" y="21350"/>
                  </a:cubicBezTo>
                  <a:cubicBezTo>
                    <a:pt x="18496" y="21404"/>
                    <a:pt x="18494" y="21444"/>
                    <a:pt x="18501" y="21472"/>
                  </a:cubicBezTo>
                  <a:lnTo>
                    <a:pt x="18345" y="21472"/>
                  </a:lnTo>
                  <a:cubicBezTo>
                    <a:pt x="18281" y="21449"/>
                    <a:pt x="18220" y="21388"/>
                    <a:pt x="18162" y="21289"/>
                  </a:cubicBezTo>
                  <a:cubicBezTo>
                    <a:pt x="18108" y="21190"/>
                    <a:pt x="18058" y="21136"/>
                    <a:pt x="18012" y="21127"/>
                  </a:cubicBezTo>
                  <a:cubicBezTo>
                    <a:pt x="17904" y="21095"/>
                    <a:pt x="17830" y="21019"/>
                    <a:pt x="17791" y="20897"/>
                  </a:cubicBezTo>
                  <a:cubicBezTo>
                    <a:pt x="17773" y="20784"/>
                    <a:pt x="17755" y="20728"/>
                    <a:pt x="17737" y="20728"/>
                  </a:cubicBezTo>
                  <a:cubicBezTo>
                    <a:pt x="17726" y="20728"/>
                    <a:pt x="17674" y="20775"/>
                    <a:pt x="17581" y="20870"/>
                  </a:cubicBezTo>
                  <a:cubicBezTo>
                    <a:pt x="17488" y="20960"/>
                    <a:pt x="17438" y="21005"/>
                    <a:pt x="17431" y="21005"/>
                  </a:cubicBezTo>
                  <a:cubicBezTo>
                    <a:pt x="17377" y="21005"/>
                    <a:pt x="17344" y="20973"/>
                    <a:pt x="17334" y="20910"/>
                  </a:cubicBezTo>
                  <a:cubicBezTo>
                    <a:pt x="17319" y="20816"/>
                    <a:pt x="17303" y="20755"/>
                    <a:pt x="17285" y="20728"/>
                  </a:cubicBezTo>
                  <a:cubicBezTo>
                    <a:pt x="17253" y="20786"/>
                    <a:pt x="17230" y="20877"/>
                    <a:pt x="17215" y="20998"/>
                  </a:cubicBezTo>
                  <a:cubicBezTo>
                    <a:pt x="17205" y="21057"/>
                    <a:pt x="17163" y="21086"/>
                    <a:pt x="17092" y="21086"/>
                  </a:cubicBezTo>
                  <a:cubicBezTo>
                    <a:pt x="17031" y="21086"/>
                    <a:pt x="16952" y="21061"/>
                    <a:pt x="16855" y="21012"/>
                  </a:cubicBezTo>
                  <a:cubicBezTo>
                    <a:pt x="16751" y="20962"/>
                    <a:pt x="16677" y="20935"/>
                    <a:pt x="16634" y="20931"/>
                  </a:cubicBezTo>
                  <a:cubicBezTo>
                    <a:pt x="16383" y="20917"/>
                    <a:pt x="16222" y="20899"/>
                    <a:pt x="16150" y="20877"/>
                  </a:cubicBezTo>
                  <a:cubicBezTo>
                    <a:pt x="16039" y="20850"/>
                    <a:pt x="15953" y="20820"/>
                    <a:pt x="15892" y="20789"/>
                  </a:cubicBezTo>
                  <a:cubicBezTo>
                    <a:pt x="15781" y="20739"/>
                    <a:pt x="15707" y="20653"/>
                    <a:pt x="15671" y="20532"/>
                  </a:cubicBezTo>
                  <a:cubicBezTo>
                    <a:pt x="15643" y="20437"/>
                    <a:pt x="15580" y="20351"/>
                    <a:pt x="15483" y="20275"/>
                  </a:cubicBezTo>
                  <a:cubicBezTo>
                    <a:pt x="15397" y="20212"/>
                    <a:pt x="15354" y="20146"/>
                    <a:pt x="15354" y="20079"/>
                  </a:cubicBezTo>
                  <a:cubicBezTo>
                    <a:pt x="15354" y="20074"/>
                    <a:pt x="15429" y="20041"/>
                    <a:pt x="15580" y="19977"/>
                  </a:cubicBezTo>
                  <a:cubicBezTo>
                    <a:pt x="15730" y="19910"/>
                    <a:pt x="15806" y="19822"/>
                    <a:pt x="15806" y="19714"/>
                  </a:cubicBezTo>
                  <a:cubicBezTo>
                    <a:pt x="15806" y="19655"/>
                    <a:pt x="15764" y="19624"/>
                    <a:pt x="15682" y="19619"/>
                  </a:cubicBezTo>
                  <a:lnTo>
                    <a:pt x="15521" y="19612"/>
                  </a:lnTo>
                  <a:cubicBezTo>
                    <a:pt x="15359" y="19500"/>
                    <a:pt x="15266" y="19432"/>
                    <a:pt x="15241" y="19410"/>
                  </a:cubicBezTo>
                  <a:lnTo>
                    <a:pt x="15219" y="19410"/>
                  </a:lnTo>
                  <a:cubicBezTo>
                    <a:pt x="15216" y="19423"/>
                    <a:pt x="15216" y="19509"/>
                    <a:pt x="15219" y="19666"/>
                  </a:cubicBezTo>
                  <a:cubicBezTo>
                    <a:pt x="15223" y="19743"/>
                    <a:pt x="15200" y="19781"/>
                    <a:pt x="15149" y="19781"/>
                  </a:cubicBezTo>
                  <a:cubicBezTo>
                    <a:pt x="15092" y="19781"/>
                    <a:pt x="15038" y="19734"/>
                    <a:pt x="14988" y="19639"/>
                  </a:cubicBezTo>
                  <a:cubicBezTo>
                    <a:pt x="14938" y="19540"/>
                    <a:pt x="14904" y="19491"/>
                    <a:pt x="14886" y="19491"/>
                  </a:cubicBezTo>
                  <a:cubicBezTo>
                    <a:pt x="14850" y="19491"/>
                    <a:pt x="14816" y="19502"/>
                    <a:pt x="14784" y="19524"/>
                  </a:cubicBezTo>
                  <a:cubicBezTo>
                    <a:pt x="14748" y="19547"/>
                    <a:pt x="14719" y="19558"/>
                    <a:pt x="14698" y="19558"/>
                  </a:cubicBezTo>
                  <a:cubicBezTo>
                    <a:pt x="14662" y="19558"/>
                    <a:pt x="14624" y="19533"/>
                    <a:pt x="14585" y="19484"/>
                  </a:cubicBezTo>
                  <a:cubicBezTo>
                    <a:pt x="14531" y="19421"/>
                    <a:pt x="14497" y="19385"/>
                    <a:pt x="14482" y="19376"/>
                  </a:cubicBezTo>
                  <a:cubicBezTo>
                    <a:pt x="14432" y="19362"/>
                    <a:pt x="14389" y="19349"/>
                    <a:pt x="14353" y="19335"/>
                  </a:cubicBezTo>
                  <a:cubicBezTo>
                    <a:pt x="14289" y="19317"/>
                    <a:pt x="14247" y="19281"/>
                    <a:pt x="14230" y="19227"/>
                  </a:cubicBezTo>
                  <a:cubicBezTo>
                    <a:pt x="14186" y="19024"/>
                    <a:pt x="14138" y="18894"/>
                    <a:pt x="14084" y="18835"/>
                  </a:cubicBezTo>
                  <a:cubicBezTo>
                    <a:pt x="14012" y="18803"/>
                    <a:pt x="13959" y="18776"/>
                    <a:pt x="13923" y="18754"/>
                  </a:cubicBezTo>
                  <a:cubicBezTo>
                    <a:pt x="13866" y="18718"/>
                    <a:pt x="13808" y="18607"/>
                    <a:pt x="13751" y="18423"/>
                  </a:cubicBezTo>
                  <a:cubicBezTo>
                    <a:pt x="13743" y="18409"/>
                    <a:pt x="13738" y="18396"/>
                    <a:pt x="13735" y="18382"/>
                  </a:cubicBezTo>
                  <a:cubicBezTo>
                    <a:pt x="13688" y="18242"/>
                    <a:pt x="13634" y="18172"/>
                    <a:pt x="13573" y="18172"/>
                  </a:cubicBezTo>
                  <a:cubicBezTo>
                    <a:pt x="13544" y="18172"/>
                    <a:pt x="13516" y="18206"/>
                    <a:pt x="13487" y="18274"/>
                  </a:cubicBezTo>
                  <a:cubicBezTo>
                    <a:pt x="13459" y="18337"/>
                    <a:pt x="13439" y="18368"/>
                    <a:pt x="13428" y="18368"/>
                  </a:cubicBezTo>
                  <a:cubicBezTo>
                    <a:pt x="13396" y="18368"/>
                    <a:pt x="13355" y="18341"/>
                    <a:pt x="13304" y="18287"/>
                  </a:cubicBezTo>
                  <a:cubicBezTo>
                    <a:pt x="13254" y="18229"/>
                    <a:pt x="13215" y="18199"/>
                    <a:pt x="13186" y="18199"/>
                  </a:cubicBezTo>
                  <a:cubicBezTo>
                    <a:pt x="13164" y="18199"/>
                    <a:pt x="13132" y="18215"/>
                    <a:pt x="13089" y="18247"/>
                  </a:cubicBezTo>
                  <a:cubicBezTo>
                    <a:pt x="13046" y="18278"/>
                    <a:pt x="13017" y="18294"/>
                    <a:pt x="13003" y="18294"/>
                  </a:cubicBezTo>
                  <a:cubicBezTo>
                    <a:pt x="12942" y="18294"/>
                    <a:pt x="12886" y="18235"/>
                    <a:pt x="12836" y="18118"/>
                  </a:cubicBezTo>
                  <a:cubicBezTo>
                    <a:pt x="12790" y="17997"/>
                    <a:pt x="12739" y="17936"/>
                    <a:pt x="12686" y="17936"/>
                  </a:cubicBezTo>
                  <a:cubicBezTo>
                    <a:pt x="12653" y="17936"/>
                    <a:pt x="12605" y="17981"/>
                    <a:pt x="12540" y="18071"/>
                  </a:cubicBezTo>
                  <a:cubicBezTo>
                    <a:pt x="12476" y="18161"/>
                    <a:pt x="12445" y="18226"/>
                    <a:pt x="12449" y="18267"/>
                  </a:cubicBezTo>
                  <a:cubicBezTo>
                    <a:pt x="12553" y="18290"/>
                    <a:pt x="12652" y="18359"/>
                    <a:pt x="12745" y="18477"/>
                  </a:cubicBezTo>
                  <a:cubicBezTo>
                    <a:pt x="12834" y="18594"/>
                    <a:pt x="12879" y="18704"/>
                    <a:pt x="12879" y="18808"/>
                  </a:cubicBezTo>
                  <a:cubicBezTo>
                    <a:pt x="12879" y="18898"/>
                    <a:pt x="12847" y="18968"/>
                    <a:pt x="12782" y="19017"/>
                  </a:cubicBezTo>
                  <a:cubicBezTo>
                    <a:pt x="12721" y="19063"/>
                    <a:pt x="12644" y="19085"/>
                    <a:pt x="12551" y="19085"/>
                  </a:cubicBezTo>
                  <a:cubicBezTo>
                    <a:pt x="12429" y="19085"/>
                    <a:pt x="12336" y="19031"/>
                    <a:pt x="12271" y="18923"/>
                  </a:cubicBezTo>
                  <a:cubicBezTo>
                    <a:pt x="12207" y="18810"/>
                    <a:pt x="12142" y="18754"/>
                    <a:pt x="12078" y="18754"/>
                  </a:cubicBezTo>
                  <a:cubicBezTo>
                    <a:pt x="12027" y="18754"/>
                    <a:pt x="11979" y="18776"/>
                    <a:pt x="11932" y="18821"/>
                  </a:cubicBezTo>
                  <a:cubicBezTo>
                    <a:pt x="11886" y="18866"/>
                    <a:pt x="11862" y="18909"/>
                    <a:pt x="11862" y="18950"/>
                  </a:cubicBezTo>
                  <a:cubicBezTo>
                    <a:pt x="11862" y="18999"/>
                    <a:pt x="11873" y="19047"/>
                    <a:pt x="11895" y="19092"/>
                  </a:cubicBezTo>
                  <a:cubicBezTo>
                    <a:pt x="11913" y="19137"/>
                    <a:pt x="11922" y="19168"/>
                    <a:pt x="11922" y="19186"/>
                  </a:cubicBezTo>
                  <a:cubicBezTo>
                    <a:pt x="11922" y="19268"/>
                    <a:pt x="11909" y="19326"/>
                    <a:pt x="11884" y="19362"/>
                  </a:cubicBezTo>
                  <a:cubicBezTo>
                    <a:pt x="11855" y="19398"/>
                    <a:pt x="11809" y="19428"/>
                    <a:pt x="11744" y="19450"/>
                  </a:cubicBezTo>
                  <a:cubicBezTo>
                    <a:pt x="11697" y="19464"/>
                    <a:pt x="11665" y="19509"/>
                    <a:pt x="11647" y="19585"/>
                  </a:cubicBezTo>
                  <a:cubicBezTo>
                    <a:pt x="11629" y="19662"/>
                    <a:pt x="11610" y="19705"/>
                    <a:pt x="11588" y="19714"/>
                  </a:cubicBezTo>
                  <a:cubicBezTo>
                    <a:pt x="11545" y="19732"/>
                    <a:pt x="11425" y="19754"/>
                    <a:pt x="11228" y="19781"/>
                  </a:cubicBezTo>
                  <a:cubicBezTo>
                    <a:pt x="11048" y="19808"/>
                    <a:pt x="10941" y="19822"/>
                    <a:pt x="10905" y="19822"/>
                  </a:cubicBezTo>
                  <a:cubicBezTo>
                    <a:pt x="10546" y="19669"/>
                    <a:pt x="10333" y="19563"/>
                    <a:pt x="10265" y="19504"/>
                  </a:cubicBezTo>
                  <a:cubicBezTo>
                    <a:pt x="10175" y="19423"/>
                    <a:pt x="10114" y="19283"/>
                    <a:pt x="10082" y="19085"/>
                  </a:cubicBezTo>
                  <a:cubicBezTo>
                    <a:pt x="10064" y="18968"/>
                    <a:pt x="10055" y="18806"/>
                    <a:pt x="10055" y="18598"/>
                  </a:cubicBezTo>
                  <a:cubicBezTo>
                    <a:pt x="10055" y="18373"/>
                    <a:pt x="10125" y="18202"/>
                    <a:pt x="10265" y="18085"/>
                  </a:cubicBezTo>
                  <a:lnTo>
                    <a:pt x="10474" y="17909"/>
                  </a:lnTo>
                  <a:cubicBezTo>
                    <a:pt x="10474" y="17877"/>
                    <a:pt x="10458" y="17816"/>
                    <a:pt x="10426" y="17726"/>
                  </a:cubicBezTo>
                  <a:cubicBezTo>
                    <a:pt x="10390" y="17636"/>
                    <a:pt x="10372" y="17573"/>
                    <a:pt x="10372" y="17537"/>
                  </a:cubicBezTo>
                  <a:cubicBezTo>
                    <a:pt x="10372" y="17447"/>
                    <a:pt x="10417" y="17372"/>
                    <a:pt x="10507" y="17314"/>
                  </a:cubicBezTo>
                  <a:cubicBezTo>
                    <a:pt x="10578" y="17264"/>
                    <a:pt x="10639" y="17239"/>
                    <a:pt x="10690" y="17239"/>
                  </a:cubicBezTo>
                  <a:cubicBezTo>
                    <a:pt x="10722" y="17239"/>
                    <a:pt x="10772" y="17260"/>
                    <a:pt x="10840" y="17300"/>
                  </a:cubicBezTo>
                  <a:cubicBezTo>
                    <a:pt x="10908" y="17336"/>
                    <a:pt x="10957" y="17354"/>
                    <a:pt x="10986" y="17354"/>
                  </a:cubicBezTo>
                  <a:cubicBezTo>
                    <a:pt x="11003" y="17354"/>
                    <a:pt x="11045" y="17341"/>
                    <a:pt x="11109" y="17314"/>
                  </a:cubicBezTo>
                  <a:cubicBezTo>
                    <a:pt x="11174" y="17282"/>
                    <a:pt x="11213" y="17266"/>
                    <a:pt x="11228" y="17266"/>
                  </a:cubicBezTo>
                  <a:cubicBezTo>
                    <a:pt x="11253" y="17266"/>
                    <a:pt x="11283" y="17275"/>
                    <a:pt x="11319" y="17293"/>
                  </a:cubicBezTo>
                  <a:cubicBezTo>
                    <a:pt x="11355" y="17307"/>
                    <a:pt x="11384" y="17314"/>
                    <a:pt x="11405" y="17314"/>
                  </a:cubicBezTo>
                  <a:cubicBezTo>
                    <a:pt x="11463" y="17314"/>
                    <a:pt x="11514" y="17289"/>
                    <a:pt x="11561" y="17239"/>
                  </a:cubicBezTo>
                  <a:cubicBezTo>
                    <a:pt x="11611" y="17185"/>
                    <a:pt x="11651" y="17158"/>
                    <a:pt x="11679" y="17158"/>
                  </a:cubicBezTo>
                  <a:cubicBezTo>
                    <a:pt x="11708" y="17158"/>
                    <a:pt x="11744" y="17167"/>
                    <a:pt x="11787" y="17185"/>
                  </a:cubicBezTo>
                  <a:cubicBezTo>
                    <a:pt x="11827" y="17203"/>
                    <a:pt x="11857" y="17212"/>
                    <a:pt x="11879" y="17212"/>
                  </a:cubicBezTo>
                  <a:cubicBezTo>
                    <a:pt x="11957" y="17212"/>
                    <a:pt x="11995" y="17154"/>
                    <a:pt x="11991" y="17037"/>
                  </a:cubicBezTo>
                  <a:cubicBezTo>
                    <a:pt x="11991" y="16915"/>
                    <a:pt x="12067" y="16854"/>
                    <a:pt x="12217" y="16854"/>
                  </a:cubicBezTo>
                  <a:cubicBezTo>
                    <a:pt x="12296" y="16854"/>
                    <a:pt x="12347" y="16820"/>
                    <a:pt x="12368" y="16753"/>
                  </a:cubicBezTo>
                  <a:cubicBezTo>
                    <a:pt x="12400" y="16654"/>
                    <a:pt x="12483" y="16566"/>
                    <a:pt x="12616" y="16489"/>
                  </a:cubicBezTo>
                  <a:lnTo>
                    <a:pt x="12874" y="16435"/>
                  </a:lnTo>
                  <a:cubicBezTo>
                    <a:pt x="13010" y="16408"/>
                    <a:pt x="13078" y="16363"/>
                    <a:pt x="13078" y="16300"/>
                  </a:cubicBezTo>
                  <a:cubicBezTo>
                    <a:pt x="13078" y="16074"/>
                    <a:pt x="12899" y="15881"/>
                    <a:pt x="12540" y="15718"/>
                  </a:cubicBezTo>
                  <a:cubicBezTo>
                    <a:pt x="12178" y="15556"/>
                    <a:pt x="11997" y="15441"/>
                    <a:pt x="11997" y="15373"/>
                  </a:cubicBezTo>
                  <a:cubicBezTo>
                    <a:pt x="11997" y="15297"/>
                    <a:pt x="12033" y="15169"/>
                    <a:pt x="12105" y="14988"/>
                  </a:cubicBezTo>
                  <a:cubicBezTo>
                    <a:pt x="12173" y="14817"/>
                    <a:pt x="12246" y="14661"/>
                    <a:pt x="12325" y="14522"/>
                  </a:cubicBezTo>
                  <a:cubicBezTo>
                    <a:pt x="12329" y="14517"/>
                    <a:pt x="12336" y="14508"/>
                    <a:pt x="12347" y="14495"/>
                  </a:cubicBezTo>
                  <a:cubicBezTo>
                    <a:pt x="12347" y="14490"/>
                    <a:pt x="12348" y="14486"/>
                    <a:pt x="12352" y="14481"/>
                  </a:cubicBezTo>
                  <a:lnTo>
                    <a:pt x="12352" y="14474"/>
                  </a:lnTo>
                  <a:cubicBezTo>
                    <a:pt x="12388" y="14389"/>
                    <a:pt x="12449" y="14206"/>
                    <a:pt x="12535" y="13927"/>
                  </a:cubicBezTo>
                  <a:cubicBezTo>
                    <a:pt x="12542" y="13904"/>
                    <a:pt x="12576" y="13841"/>
                    <a:pt x="12637" y="13737"/>
                  </a:cubicBezTo>
                  <a:cubicBezTo>
                    <a:pt x="12687" y="13647"/>
                    <a:pt x="12713" y="13568"/>
                    <a:pt x="12713" y="13501"/>
                  </a:cubicBezTo>
                  <a:cubicBezTo>
                    <a:pt x="12713" y="13474"/>
                    <a:pt x="12693" y="13411"/>
                    <a:pt x="12653" y="13312"/>
                  </a:cubicBezTo>
                  <a:cubicBezTo>
                    <a:pt x="12614" y="13217"/>
                    <a:pt x="12594" y="13140"/>
                    <a:pt x="12594" y="13082"/>
                  </a:cubicBezTo>
                  <a:cubicBezTo>
                    <a:pt x="12594" y="13037"/>
                    <a:pt x="12626" y="12937"/>
                    <a:pt x="12691" y="12784"/>
                  </a:cubicBezTo>
                  <a:cubicBezTo>
                    <a:pt x="12752" y="12635"/>
                    <a:pt x="12782" y="12536"/>
                    <a:pt x="12782" y="12487"/>
                  </a:cubicBezTo>
                  <a:cubicBezTo>
                    <a:pt x="12782" y="12370"/>
                    <a:pt x="12723" y="12167"/>
                    <a:pt x="12605" y="11878"/>
                  </a:cubicBezTo>
                  <a:cubicBezTo>
                    <a:pt x="12476" y="11590"/>
                    <a:pt x="12402" y="11421"/>
                    <a:pt x="12384" y="11371"/>
                  </a:cubicBezTo>
                  <a:cubicBezTo>
                    <a:pt x="12302" y="11159"/>
                    <a:pt x="12189" y="10943"/>
                    <a:pt x="12045" y="10722"/>
                  </a:cubicBezTo>
                  <a:cubicBezTo>
                    <a:pt x="11938" y="10569"/>
                    <a:pt x="11857" y="10452"/>
                    <a:pt x="11803" y="10371"/>
                  </a:cubicBezTo>
                  <a:cubicBezTo>
                    <a:pt x="11778" y="10339"/>
                    <a:pt x="11721" y="10308"/>
                    <a:pt x="11631" y="10276"/>
                  </a:cubicBezTo>
                  <a:lnTo>
                    <a:pt x="11567" y="10276"/>
                  </a:lnTo>
                  <a:cubicBezTo>
                    <a:pt x="11559" y="10362"/>
                    <a:pt x="11507" y="10405"/>
                    <a:pt x="11410" y="10405"/>
                  </a:cubicBezTo>
                  <a:cubicBezTo>
                    <a:pt x="11289" y="10405"/>
                    <a:pt x="11190" y="10256"/>
                    <a:pt x="11115" y="9958"/>
                  </a:cubicBezTo>
                  <a:cubicBezTo>
                    <a:pt x="11043" y="9656"/>
                    <a:pt x="10955" y="9505"/>
                    <a:pt x="10851" y="9505"/>
                  </a:cubicBezTo>
                  <a:cubicBezTo>
                    <a:pt x="10808" y="9505"/>
                    <a:pt x="10783" y="9517"/>
                    <a:pt x="10776" y="9539"/>
                  </a:cubicBezTo>
                  <a:cubicBezTo>
                    <a:pt x="10769" y="9553"/>
                    <a:pt x="10760" y="9589"/>
                    <a:pt x="10749" y="9647"/>
                  </a:cubicBezTo>
                  <a:cubicBezTo>
                    <a:pt x="10777" y="9661"/>
                    <a:pt x="10815" y="9715"/>
                    <a:pt x="10862" y="9810"/>
                  </a:cubicBezTo>
                  <a:cubicBezTo>
                    <a:pt x="10862" y="9832"/>
                    <a:pt x="10853" y="9884"/>
                    <a:pt x="10835" y="9965"/>
                  </a:cubicBezTo>
                  <a:lnTo>
                    <a:pt x="10813" y="9965"/>
                  </a:lnTo>
                  <a:lnTo>
                    <a:pt x="10738" y="9897"/>
                  </a:lnTo>
                  <a:cubicBezTo>
                    <a:pt x="10738" y="9888"/>
                    <a:pt x="10666" y="9839"/>
                    <a:pt x="10523" y="9749"/>
                  </a:cubicBezTo>
                  <a:cubicBezTo>
                    <a:pt x="10379" y="9663"/>
                    <a:pt x="10308" y="9553"/>
                    <a:pt x="10308" y="9417"/>
                  </a:cubicBezTo>
                  <a:cubicBezTo>
                    <a:pt x="10308" y="9309"/>
                    <a:pt x="10351" y="9210"/>
                    <a:pt x="10437" y="9120"/>
                  </a:cubicBezTo>
                  <a:cubicBezTo>
                    <a:pt x="10519" y="9034"/>
                    <a:pt x="10561" y="8983"/>
                    <a:pt x="10561" y="8965"/>
                  </a:cubicBezTo>
                  <a:cubicBezTo>
                    <a:pt x="10561" y="8946"/>
                    <a:pt x="10550" y="8924"/>
                    <a:pt x="10528" y="8897"/>
                  </a:cubicBezTo>
                  <a:cubicBezTo>
                    <a:pt x="10507" y="8870"/>
                    <a:pt x="10487" y="8856"/>
                    <a:pt x="10469" y="8856"/>
                  </a:cubicBezTo>
                  <a:cubicBezTo>
                    <a:pt x="10311" y="8856"/>
                    <a:pt x="10118" y="9079"/>
                    <a:pt x="9888" y="9526"/>
                  </a:cubicBezTo>
                  <a:cubicBezTo>
                    <a:pt x="9658" y="9963"/>
                    <a:pt x="9501" y="10181"/>
                    <a:pt x="9415" y="10181"/>
                  </a:cubicBezTo>
                  <a:cubicBezTo>
                    <a:pt x="9354" y="10181"/>
                    <a:pt x="9291" y="10073"/>
                    <a:pt x="9226" y="9857"/>
                  </a:cubicBezTo>
                  <a:cubicBezTo>
                    <a:pt x="9165" y="9614"/>
                    <a:pt x="9128" y="9469"/>
                    <a:pt x="9113" y="9424"/>
                  </a:cubicBezTo>
                  <a:lnTo>
                    <a:pt x="9113" y="9255"/>
                  </a:lnTo>
                  <a:cubicBezTo>
                    <a:pt x="9160" y="9255"/>
                    <a:pt x="9223" y="9251"/>
                    <a:pt x="9302" y="9242"/>
                  </a:cubicBezTo>
                  <a:cubicBezTo>
                    <a:pt x="9420" y="9242"/>
                    <a:pt x="9483" y="9242"/>
                    <a:pt x="9490" y="9242"/>
                  </a:cubicBezTo>
                  <a:cubicBezTo>
                    <a:pt x="9565" y="9219"/>
                    <a:pt x="9603" y="9158"/>
                    <a:pt x="9603" y="9059"/>
                  </a:cubicBezTo>
                  <a:cubicBezTo>
                    <a:pt x="9603" y="8992"/>
                    <a:pt x="9547" y="8879"/>
                    <a:pt x="9436" y="8721"/>
                  </a:cubicBezTo>
                  <a:cubicBezTo>
                    <a:pt x="9354" y="8599"/>
                    <a:pt x="9287" y="8514"/>
                    <a:pt x="9237" y="8464"/>
                  </a:cubicBezTo>
                  <a:cubicBezTo>
                    <a:pt x="9165" y="8392"/>
                    <a:pt x="9024" y="8336"/>
                    <a:pt x="8812" y="8295"/>
                  </a:cubicBezTo>
                  <a:cubicBezTo>
                    <a:pt x="8633" y="8259"/>
                    <a:pt x="8527" y="8192"/>
                    <a:pt x="8495" y="8092"/>
                  </a:cubicBezTo>
                  <a:cubicBezTo>
                    <a:pt x="8563" y="8047"/>
                    <a:pt x="8597" y="7982"/>
                    <a:pt x="8597" y="7896"/>
                  </a:cubicBezTo>
                  <a:cubicBezTo>
                    <a:pt x="8597" y="7860"/>
                    <a:pt x="8572" y="7829"/>
                    <a:pt x="8522" y="7802"/>
                  </a:cubicBezTo>
                  <a:cubicBezTo>
                    <a:pt x="8475" y="7775"/>
                    <a:pt x="8430" y="7761"/>
                    <a:pt x="8387" y="7761"/>
                  </a:cubicBezTo>
                  <a:cubicBezTo>
                    <a:pt x="8373" y="7761"/>
                    <a:pt x="8346" y="7777"/>
                    <a:pt x="8306" y="7809"/>
                  </a:cubicBezTo>
                  <a:cubicBezTo>
                    <a:pt x="8267" y="7840"/>
                    <a:pt x="8233" y="7856"/>
                    <a:pt x="8204" y="7856"/>
                  </a:cubicBezTo>
                  <a:cubicBezTo>
                    <a:pt x="8136" y="7856"/>
                    <a:pt x="8082" y="7730"/>
                    <a:pt x="8043" y="7477"/>
                  </a:cubicBezTo>
                  <a:cubicBezTo>
                    <a:pt x="8000" y="7220"/>
                    <a:pt x="7946" y="7092"/>
                    <a:pt x="7881" y="7092"/>
                  </a:cubicBezTo>
                  <a:cubicBezTo>
                    <a:pt x="7867" y="7092"/>
                    <a:pt x="7849" y="7101"/>
                    <a:pt x="7828" y="7119"/>
                  </a:cubicBezTo>
                  <a:cubicBezTo>
                    <a:pt x="7806" y="7137"/>
                    <a:pt x="7786" y="7146"/>
                    <a:pt x="7768" y="7146"/>
                  </a:cubicBezTo>
                  <a:cubicBezTo>
                    <a:pt x="7754" y="7146"/>
                    <a:pt x="7733" y="7130"/>
                    <a:pt x="7704" y="7099"/>
                  </a:cubicBezTo>
                  <a:cubicBezTo>
                    <a:pt x="7675" y="7067"/>
                    <a:pt x="7652" y="7051"/>
                    <a:pt x="7634" y="7051"/>
                  </a:cubicBezTo>
                  <a:cubicBezTo>
                    <a:pt x="7602" y="7051"/>
                    <a:pt x="7580" y="7069"/>
                    <a:pt x="7569" y="7105"/>
                  </a:cubicBezTo>
                  <a:cubicBezTo>
                    <a:pt x="7555" y="7141"/>
                    <a:pt x="7537" y="7159"/>
                    <a:pt x="7516" y="7159"/>
                  </a:cubicBezTo>
                  <a:cubicBezTo>
                    <a:pt x="7465" y="7159"/>
                    <a:pt x="7381" y="7090"/>
                    <a:pt x="7263" y="6950"/>
                  </a:cubicBezTo>
                  <a:cubicBezTo>
                    <a:pt x="7148" y="6806"/>
                    <a:pt x="7035" y="6734"/>
                    <a:pt x="6924" y="6734"/>
                  </a:cubicBezTo>
                  <a:cubicBezTo>
                    <a:pt x="6863" y="6734"/>
                    <a:pt x="6809" y="6752"/>
                    <a:pt x="6762" y="6788"/>
                  </a:cubicBezTo>
                  <a:cubicBezTo>
                    <a:pt x="6712" y="6824"/>
                    <a:pt x="6687" y="6864"/>
                    <a:pt x="6687" y="6909"/>
                  </a:cubicBezTo>
                  <a:cubicBezTo>
                    <a:pt x="6687" y="7017"/>
                    <a:pt x="6726" y="7083"/>
                    <a:pt x="6805" y="7105"/>
                  </a:cubicBezTo>
                  <a:cubicBezTo>
                    <a:pt x="6920" y="7141"/>
                    <a:pt x="7006" y="7202"/>
                    <a:pt x="7064" y="7288"/>
                  </a:cubicBezTo>
                  <a:cubicBezTo>
                    <a:pt x="7089" y="7329"/>
                    <a:pt x="7132" y="7421"/>
                    <a:pt x="7193" y="7565"/>
                  </a:cubicBezTo>
                  <a:cubicBezTo>
                    <a:pt x="7196" y="7570"/>
                    <a:pt x="7225" y="7612"/>
                    <a:pt x="7279" y="7694"/>
                  </a:cubicBezTo>
                  <a:cubicBezTo>
                    <a:pt x="7318" y="7752"/>
                    <a:pt x="7338" y="7804"/>
                    <a:pt x="7338" y="7849"/>
                  </a:cubicBezTo>
                  <a:cubicBezTo>
                    <a:pt x="7338" y="7926"/>
                    <a:pt x="7282" y="8000"/>
                    <a:pt x="7171" y="8072"/>
                  </a:cubicBezTo>
                  <a:cubicBezTo>
                    <a:pt x="7060" y="8140"/>
                    <a:pt x="7004" y="8180"/>
                    <a:pt x="7004" y="8194"/>
                  </a:cubicBezTo>
                  <a:cubicBezTo>
                    <a:pt x="7004" y="8207"/>
                    <a:pt x="7028" y="8250"/>
                    <a:pt x="7074" y="8322"/>
                  </a:cubicBezTo>
                  <a:cubicBezTo>
                    <a:pt x="7118" y="8399"/>
                    <a:pt x="7139" y="8455"/>
                    <a:pt x="7139" y="8491"/>
                  </a:cubicBezTo>
                  <a:cubicBezTo>
                    <a:pt x="7139" y="8532"/>
                    <a:pt x="7107" y="8579"/>
                    <a:pt x="7042" y="8633"/>
                  </a:cubicBezTo>
                  <a:cubicBezTo>
                    <a:pt x="6963" y="8701"/>
                    <a:pt x="6915" y="8748"/>
                    <a:pt x="6897" y="8775"/>
                  </a:cubicBezTo>
                  <a:cubicBezTo>
                    <a:pt x="6872" y="8829"/>
                    <a:pt x="6849" y="8874"/>
                    <a:pt x="6827" y="8910"/>
                  </a:cubicBezTo>
                  <a:cubicBezTo>
                    <a:pt x="6788" y="8983"/>
                    <a:pt x="6752" y="9019"/>
                    <a:pt x="6719" y="9019"/>
                  </a:cubicBezTo>
                  <a:cubicBezTo>
                    <a:pt x="6687" y="9019"/>
                    <a:pt x="6631" y="8969"/>
                    <a:pt x="6553" y="8870"/>
                  </a:cubicBezTo>
                  <a:cubicBezTo>
                    <a:pt x="6466" y="8766"/>
                    <a:pt x="6423" y="8683"/>
                    <a:pt x="6423" y="8620"/>
                  </a:cubicBezTo>
                  <a:cubicBezTo>
                    <a:pt x="6423" y="8521"/>
                    <a:pt x="6492" y="8455"/>
                    <a:pt x="6628" y="8424"/>
                  </a:cubicBezTo>
                  <a:cubicBezTo>
                    <a:pt x="6764" y="8397"/>
                    <a:pt x="6829" y="8318"/>
                    <a:pt x="6822" y="8187"/>
                  </a:cubicBezTo>
                  <a:cubicBezTo>
                    <a:pt x="6728" y="8110"/>
                    <a:pt x="6658" y="8059"/>
                    <a:pt x="6612" y="8031"/>
                  </a:cubicBezTo>
                  <a:cubicBezTo>
                    <a:pt x="6533" y="7977"/>
                    <a:pt x="6459" y="7950"/>
                    <a:pt x="6391" y="7950"/>
                  </a:cubicBezTo>
                  <a:cubicBezTo>
                    <a:pt x="6373" y="7950"/>
                    <a:pt x="6328" y="7964"/>
                    <a:pt x="6257" y="7991"/>
                  </a:cubicBezTo>
                  <a:cubicBezTo>
                    <a:pt x="6181" y="8013"/>
                    <a:pt x="6137" y="8025"/>
                    <a:pt x="6122" y="8025"/>
                  </a:cubicBezTo>
                  <a:cubicBezTo>
                    <a:pt x="6101" y="8025"/>
                    <a:pt x="6034" y="8004"/>
                    <a:pt x="5923" y="7964"/>
                  </a:cubicBezTo>
                  <a:cubicBezTo>
                    <a:pt x="5808" y="7919"/>
                    <a:pt x="5722" y="7896"/>
                    <a:pt x="5665" y="7896"/>
                  </a:cubicBezTo>
                  <a:cubicBezTo>
                    <a:pt x="5618" y="7892"/>
                    <a:pt x="5588" y="7892"/>
                    <a:pt x="5573" y="7896"/>
                  </a:cubicBezTo>
                  <a:cubicBezTo>
                    <a:pt x="5548" y="7901"/>
                    <a:pt x="5536" y="7917"/>
                    <a:pt x="5536" y="7944"/>
                  </a:cubicBezTo>
                  <a:cubicBezTo>
                    <a:pt x="5536" y="8002"/>
                    <a:pt x="5624" y="8088"/>
                    <a:pt x="5799" y="8200"/>
                  </a:cubicBezTo>
                  <a:cubicBezTo>
                    <a:pt x="5972" y="8309"/>
                    <a:pt x="6058" y="8415"/>
                    <a:pt x="6058" y="8518"/>
                  </a:cubicBezTo>
                  <a:cubicBezTo>
                    <a:pt x="6058" y="8595"/>
                    <a:pt x="6023" y="8633"/>
                    <a:pt x="5955" y="8633"/>
                  </a:cubicBezTo>
                  <a:cubicBezTo>
                    <a:pt x="5898" y="8633"/>
                    <a:pt x="5832" y="8599"/>
                    <a:pt x="5756" y="8532"/>
                  </a:cubicBezTo>
                  <a:cubicBezTo>
                    <a:pt x="5685" y="8460"/>
                    <a:pt x="5622" y="8424"/>
                    <a:pt x="5568" y="8424"/>
                  </a:cubicBezTo>
                  <a:cubicBezTo>
                    <a:pt x="5550" y="8424"/>
                    <a:pt x="5480" y="8455"/>
                    <a:pt x="5358" y="8518"/>
                  </a:cubicBezTo>
                  <a:cubicBezTo>
                    <a:pt x="5240" y="8577"/>
                    <a:pt x="5170" y="8606"/>
                    <a:pt x="5148" y="8606"/>
                  </a:cubicBezTo>
                  <a:cubicBezTo>
                    <a:pt x="5102" y="8606"/>
                    <a:pt x="5019" y="8563"/>
                    <a:pt x="4901" y="8478"/>
                  </a:cubicBezTo>
                  <a:cubicBezTo>
                    <a:pt x="4783" y="8388"/>
                    <a:pt x="4684" y="8343"/>
                    <a:pt x="4605" y="8343"/>
                  </a:cubicBezTo>
                  <a:cubicBezTo>
                    <a:pt x="4523" y="8343"/>
                    <a:pt x="4460" y="8394"/>
                    <a:pt x="4417" y="8498"/>
                  </a:cubicBezTo>
                  <a:cubicBezTo>
                    <a:pt x="4377" y="8597"/>
                    <a:pt x="4331" y="8647"/>
                    <a:pt x="4277" y="8647"/>
                  </a:cubicBezTo>
                  <a:cubicBezTo>
                    <a:pt x="4216" y="8647"/>
                    <a:pt x="4065" y="8620"/>
                    <a:pt x="3825" y="8566"/>
                  </a:cubicBezTo>
                  <a:cubicBezTo>
                    <a:pt x="3588" y="8507"/>
                    <a:pt x="3443" y="8478"/>
                    <a:pt x="3389" y="8478"/>
                  </a:cubicBezTo>
                  <a:cubicBezTo>
                    <a:pt x="3346" y="8478"/>
                    <a:pt x="3298" y="8502"/>
                    <a:pt x="3244" y="8552"/>
                  </a:cubicBezTo>
                  <a:cubicBezTo>
                    <a:pt x="3190" y="8597"/>
                    <a:pt x="3144" y="8620"/>
                    <a:pt x="3104" y="8620"/>
                  </a:cubicBezTo>
                  <a:cubicBezTo>
                    <a:pt x="2842" y="8620"/>
                    <a:pt x="2649" y="8482"/>
                    <a:pt x="2523" y="8207"/>
                  </a:cubicBezTo>
                  <a:cubicBezTo>
                    <a:pt x="2444" y="7919"/>
                    <a:pt x="2398" y="7757"/>
                    <a:pt x="2383" y="7720"/>
                  </a:cubicBezTo>
                  <a:cubicBezTo>
                    <a:pt x="2294" y="8041"/>
                    <a:pt x="2080" y="8200"/>
                    <a:pt x="1743" y="8200"/>
                  </a:cubicBezTo>
                  <a:cubicBezTo>
                    <a:pt x="1571" y="8200"/>
                    <a:pt x="1368" y="8045"/>
                    <a:pt x="1135" y="7734"/>
                  </a:cubicBezTo>
                  <a:lnTo>
                    <a:pt x="1130" y="7727"/>
                  </a:lnTo>
                  <a:cubicBezTo>
                    <a:pt x="1008" y="7579"/>
                    <a:pt x="911" y="7459"/>
                    <a:pt x="839" y="7369"/>
                  </a:cubicBezTo>
                  <a:cubicBezTo>
                    <a:pt x="710" y="7193"/>
                    <a:pt x="646" y="7058"/>
                    <a:pt x="646" y="6963"/>
                  </a:cubicBezTo>
                  <a:lnTo>
                    <a:pt x="656" y="6774"/>
                  </a:lnTo>
                  <a:cubicBezTo>
                    <a:pt x="656" y="6765"/>
                    <a:pt x="628" y="6713"/>
                    <a:pt x="570" y="6619"/>
                  </a:cubicBezTo>
                  <a:cubicBezTo>
                    <a:pt x="570" y="6605"/>
                    <a:pt x="602" y="6587"/>
                    <a:pt x="667" y="6565"/>
                  </a:cubicBezTo>
                  <a:cubicBezTo>
                    <a:pt x="739" y="6537"/>
                    <a:pt x="812" y="6524"/>
                    <a:pt x="888" y="6524"/>
                  </a:cubicBezTo>
                  <a:cubicBezTo>
                    <a:pt x="995" y="6524"/>
                    <a:pt x="1087" y="6562"/>
                    <a:pt x="1162" y="6639"/>
                  </a:cubicBezTo>
                  <a:cubicBezTo>
                    <a:pt x="1237" y="6711"/>
                    <a:pt x="1305" y="6747"/>
                    <a:pt x="1366" y="6747"/>
                  </a:cubicBezTo>
                  <a:cubicBezTo>
                    <a:pt x="1435" y="6747"/>
                    <a:pt x="1524" y="6731"/>
                    <a:pt x="1635" y="6700"/>
                  </a:cubicBezTo>
                  <a:cubicBezTo>
                    <a:pt x="1729" y="6668"/>
                    <a:pt x="1793" y="6641"/>
                    <a:pt x="1829" y="6619"/>
                  </a:cubicBezTo>
                  <a:cubicBezTo>
                    <a:pt x="1625" y="6344"/>
                    <a:pt x="1485" y="6177"/>
                    <a:pt x="1409" y="6118"/>
                  </a:cubicBezTo>
                  <a:cubicBezTo>
                    <a:pt x="1316" y="6046"/>
                    <a:pt x="1112" y="6010"/>
                    <a:pt x="796" y="6010"/>
                  </a:cubicBezTo>
                  <a:cubicBezTo>
                    <a:pt x="606" y="6010"/>
                    <a:pt x="447" y="5985"/>
                    <a:pt x="317" y="5936"/>
                  </a:cubicBezTo>
                  <a:cubicBezTo>
                    <a:pt x="120" y="5859"/>
                    <a:pt x="21" y="5728"/>
                    <a:pt x="21" y="5544"/>
                  </a:cubicBezTo>
                  <a:cubicBezTo>
                    <a:pt x="21" y="5449"/>
                    <a:pt x="57" y="5375"/>
                    <a:pt x="129" y="5321"/>
                  </a:cubicBezTo>
                  <a:cubicBezTo>
                    <a:pt x="197" y="5271"/>
                    <a:pt x="231" y="5237"/>
                    <a:pt x="231" y="5219"/>
                  </a:cubicBezTo>
                  <a:cubicBezTo>
                    <a:pt x="231" y="5215"/>
                    <a:pt x="204" y="5156"/>
                    <a:pt x="151" y="5043"/>
                  </a:cubicBezTo>
                  <a:cubicBezTo>
                    <a:pt x="140" y="5025"/>
                    <a:pt x="129" y="5005"/>
                    <a:pt x="118" y="4983"/>
                  </a:cubicBezTo>
                  <a:cubicBezTo>
                    <a:pt x="40" y="4829"/>
                    <a:pt x="0" y="4732"/>
                    <a:pt x="0" y="4692"/>
                  </a:cubicBezTo>
                  <a:cubicBezTo>
                    <a:pt x="0" y="4633"/>
                    <a:pt x="47" y="4566"/>
                    <a:pt x="140" y="4489"/>
                  </a:cubicBezTo>
                  <a:cubicBezTo>
                    <a:pt x="229" y="4408"/>
                    <a:pt x="274" y="4340"/>
                    <a:pt x="274" y="4286"/>
                  </a:cubicBezTo>
                  <a:cubicBezTo>
                    <a:pt x="274" y="4282"/>
                    <a:pt x="240" y="4232"/>
                    <a:pt x="172" y="4137"/>
                  </a:cubicBezTo>
                  <a:cubicBezTo>
                    <a:pt x="100" y="4043"/>
                    <a:pt x="65" y="3959"/>
                    <a:pt x="65" y="3887"/>
                  </a:cubicBezTo>
                  <a:cubicBezTo>
                    <a:pt x="65" y="3860"/>
                    <a:pt x="72" y="3815"/>
                    <a:pt x="86" y="3752"/>
                  </a:cubicBezTo>
                  <a:cubicBezTo>
                    <a:pt x="100" y="3689"/>
                    <a:pt x="108" y="3646"/>
                    <a:pt x="108" y="3624"/>
                  </a:cubicBezTo>
                  <a:cubicBezTo>
                    <a:pt x="108" y="3592"/>
                    <a:pt x="100" y="3558"/>
                    <a:pt x="86" y="3522"/>
                  </a:cubicBezTo>
                  <a:cubicBezTo>
                    <a:pt x="72" y="3486"/>
                    <a:pt x="65" y="3457"/>
                    <a:pt x="65" y="3434"/>
                  </a:cubicBezTo>
                  <a:cubicBezTo>
                    <a:pt x="65" y="3362"/>
                    <a:pt x="93" y="3229"/>
                    <a:pt x="151" y="3036"/>
                  </a:cubicBezTo>
                  <a:cubicBezTo>
                    <a:pt x="169" y="2959"/>
                    <a:pt x="199" y="2916"/>
                    <a:pt x="242" y="2907"/>
                  </a:cubicBezTo>
                  <a:lnTo>
                    <a:pt x="371" y="2880"/>
                  </a:lnTo>
                  <a:cubicBezTo>
                    <a:pt x="314" y="2659"/>
                    <a:pt x="285" y="2531"/>
                    <a:pt x="285" y="2495"/>
                  </a:cubicBezTo>
                  <a:cubicBezTo>
                    <a:pt x="285" y="2441"/>
                    <a:pt x="301" y="2402"/>
                    <a:pt x="334" y="2380"/>
                  </a:cubicBezTo>
                  <a:cubicBezTo>
                    <a:pt x="362" y="2353"/>
                    <a:pt x="377" y="2323"/>
                    <a:pt x="377" y="2292"/>
                  </a:cubicBezTo>
                  <a:cubicBezTo>
                    <a:pt x="377" y="2269"/>
                    <a:pt x="366" y="2233"/>
                    <a:pt x="344" y="2184"/>
                  </a:cubicBezTo>
                  <a:cubicBezTo>
                    <a:pt x="319" y="2134"/>
                    <a:pt x="307" y="2096"/>
                    <a:pt x="307" y="2069"/>
                  </a:cubicBezTo>
                  <a:cubicBezTo>
                    <a:pt x="307" y="2010"/>
                    <a:pt x="341" y="1916"/>
                    <a:pt x="409" y="1785"/>
                  </a:cubicBezTo>
                  <a:cubicBezTo>
                    <a:pt x="481" y="1641"/>
                    <a:pt x="524" y="1528"/>
                    <a:pt x="538" y="1447"/>
                  </a:cubicBezTo>
                  <a:cubicBezTo>
                    <a:pt x="552" y="1348"/>
                    <a:pt x="619" y="1219"/>
                    <a:pt x="737" y="1061"/>
                  </a:cubicBezTo>
                  <a:cubicBezTo>
                    <a:pt x="802" y="976"/>
                    <a:pt x="891" y="863"/>
                    <a:pt x="1006" y="723"/>
                  </a:cubicBezTo>
                  <a:cubicBezTo>
                    <a:pt x="1067" y="642"/>
                    <a:pt x="1164" y="563"/>
                    <a:pt x="1296" y="487"/>
                  </a:cubicBezTo>
                  <a:cubicBezTo>
                    <a:pt x="1422" y="410"/>
                    <a:pt x="1530" y="365"/>
                    <a:pt x="1619" y="352"/>
                  </a:cubicBezTo>
                  <a:cubicBezTo>
                    <a:pt x="1637" y="347"/>
                    <a:pt x="1743" y="313"/>
                    <a:pt x="1937" y="250"/>
                  </a:cubicBezTo>
                  <a:cubicBezTo>
                    <a:pt x="2134" y="187"/>
                    <a:pt x="2258" y="156"/>
                    <a:pt x="2308" y="156"/>
                  </a:cubicBezTo>
                  <a:cubicBezTo>
                    <a:pt x="2441" y="156"/>
                    <a:pt x="2507" y="207"/>
                    <a:pt x="2507" y="311"/>
                  </a:cubicBezTo>
                  <a:cubicBezTo>
                    <a:pt x="2507" y="410"/>
                    <a:pt x="2435" y="579"/>
                    <a:pt x="2292" y="818"/>
                  </a:cubicBezTo>
                  <a:cubicBezTo>
                    <a:pt x="2138" y="1075"/>
                    <a:pt x="2050" y="1289"/>
                    <a:pt x="2028" y="1460"/>
                  </a:cubicBezTo>
                  <a:cubicBezTo>
                    <a:pt x="1989" y="1726"/>
                    <a:pt x="1953" y="1907"/>
                    <a:pt x="1921" y="2001"/>
                  </a:cubicBezTo>
                  <a:cubicBezTo>
                    <a:pt x="1867" y="2114"/>
                    <a:pt x="1827" y="2199"/>
                    <a:pt x="1802" y="2258"/>
                  </a:cubicBezTo>
                  <a:cubicBezTo>
                    <a:pt x="1756" y="2357"/>
                    <a:pt x="1732" y="2447"/>
                    <a:pt x="1732" y="2528"/>
                  </a:cubicBezTo>
                  <a:cubicBezTo>
                    <a:pt x="1732" y="2605"/>
                    <a:pt x="1765" y="2722"/>
                    <a:pt x="1829" y="2880"/>
                  </a:cubicBezTo>
                  <a:cubicBezTo>
                    <a:pt x="1836" y="2898"/>
                    <a:pt x="1845" y="2921"/>
                    <a:pt x="1856" y="2948"/>
                  </a:cubicBezTo>
                  <a:cubicBezTo>
                    <a:pt x="1946" y="3155"/>
                    <a:pt x="1992" y="3270"/>
                    <a:pt x="1996" y="3292"/>
                  </a:cubicBezTo>
                  <a:cubicBezTo>
                    <a:pt x="2010" y="3365"/>
                    <a:pt x="2016" y="3484"/>
                    <a:pt x="2012" y="3651"/>
                  </a:cubicBezTo>
                  <a:cubicBezTo>
                    <a:pt x="2012" y="3822"/>
                    <a:pt x="2017" y="3953"/>
                    <a:pt x="2028" y="4043"/>
                  </a:cubicBezTo>
                  <a:cubicBezTo>
                    <a:pt x="2071" y="4363"/>
                    <a:pt x="2190" y="4649"/>
                    <a:pt x="2383" y="4901"/>
                  </a:cubicBezTo>
                  <a:cubicBezTo>
                    <a:pt x="2491" y="5041"/>
                    <a:pt x="2652" y="5219"/>
                    <a:pt x="2867" y="5435"/>
                  </a:cubicBezTo>
                  <a:lnTo>
                    <a:pt x="3002" y="5435"/>
                  </a:lnTo>
                  <a:cubicBezTo>
                    <a:pt x="3031" y="5431"/>
                    <a:pt x="3056" y="5458"/>
                    <a:pt x="3077" y="5517"/>
                  </a:cubicBezTo>
                  <a:cubicBezTo>
                    <a:pt x="3091" y="5562"/>
                    <a:pt x="3099" y="5602"/>
                    <a:pt x="3099" y="5638"/>
                  </a:cubicBezTo>
                  <a:cubicBezTo>
                    <a:pt x="3099" y="5683"/>
                    <a:pt x="2959" y="5789"/>
                    <a:pt x="2679" y="5956"/>
                  </a:cubicBezTo>
                  <a:cubicBezTo>
                    <a:pt x="2399" y="6123"/>
                    <a:pt x="2260" y="6287"/>
                    <a:pt x="2260" y="6450"/>
                  </a:cubicBezTo>
                  <a:cubicBezTo>
                    <a:pt x="2260" y="6486"/>
                    <a:pt x="2283" y="6504"/>
                    <a:pt x="2329" y="6504"/>
                  </a:cubicBezTo>
                  <a:cubicBezTo>
                    <a:pt x="2380" y="6504"/>
                    <a:pt x="2491" y="6425"/>
                    <a:pt x="2663" y="6267"/>
                  </a:cubicBezTo>
                  <a:cubicBezTo>
                    <a:pt x="2832" y="6109"/>
                    <a:pt x="2957" y="6030"/>
                    <a:pt x="3040" y="6030"/>
                  </a:cubicBezTo>
                  <a:cubicBezTo>
                    <a:pt x="3101" y="6030"/>
                    <a:pt x="3154" y="6166"/>
                    <a:pt x="3201" y="6436"/>
                  </a:cubicBezTo>
                  <a:cubicBezTo>
                    <a:pt x="3273" y="6441"/>
                    <a:pt x="3309" y="6366"/>
                    <a:pt x="3309" y="6213"/>
                  </a:cubicBezTo>
                  <a:cubicBezTo>
                    <a:pt x="3309" y="6046"/>
                    <a:pt x="3291" y="5897"/>
                    <a:pt x="3255" y="5767"/>
                  </a:cubicBezTo>
                  <a:cubicBezTo>
                    <a:pt x="3219" y="5636"/>
                    <a:pt x="3201" y="5456"/>
                    <a:pt x="3201" y="5226"/>
                  </a:cubicBezTo>
                  <a:cubicBezTo>
                    <a:pt x="3215" y="5158"/>
                    <a:pt x="3222" y="5118"/>
                    <a:pt x="3222" y="5104"/>
                  </a:cubicBezTo>
                  <a:cubicBezTo>
                    <a:pt x="3222" y="5055"/>
                    <a:pt x="3199" y="5019"/>
                    <a:pt x="3152" y="4996"/>
                  </a:cubicBezTo>
                  <a:cubicBezTo>
                    <a:pt x="3113" y="4969"/>
                    <a:pt x="3063" y="4958"/>
                    <a:pt x="3002" y="4962"/>
                  </a:cubicBezTo>
                  <a:cubicBezTo>
                    <a:pt x="2919" y="4962"/>
                    <a:pt x="2835" y="4908"/>
                    <a:pt x="2749" y="4800"/>
                  </a:cubicBezTo>
                  <a:cubicBezTo>
                    <a:pt x="2688" y="4687"/>
                    <a:pt x="2625" y="4608"/>
                    <a:pt x="2561" y="4563"/>
                  </a:cubicBezTo>
                  <a:cubicBezTo>
                    <a:pt x="2493" y="4518"/>
                    <a:pt x="2448" y="4485"/>
                    <a:pt x="2426" y="4462"/>
                  </a:cubicBezTo>
                  <a:cubicBezTo>
                    <a:pt x="2390" y="4426"/>
                    <a:pt x="2372" y="4374"/>
                    <a:pt x="2372" y="4306"/>
                  </a:cubicBezTo>
                  <a:cubicBezTo>
                    <a:pt x="2372" y="4243"/>
                    <a:pt x="2408" y="4183"/>
                    <a:pt x="2480" y="4124"/>
                  </a:cubicBezTo>
                  <a:cubicBezTo>
                    <a:pt x="2548" y="4061"/>
                    <a:pt x="2582" y="4004"/>
                    <a:pt x="2582" y="3955"/>
                  </a:cubicBezTo>
                  <a:lnTo>
                    <a:pt x="2561" y="3806"/>
                  </a:lnTo>
                  <a:cubicBezTo>
                    <a:pt x="2561" y="3739"/>
                    <a:pt x="2620" y="3678"/>
                    <a:pt x="2738" y="3624"/>
                  </a:cubicBezTo>
                  <a:cubicBezTo>
                    <a:pt x="2853" y="3570"/>
                    <a:pt x="2910" y="3473"/>
                    <a:pt x="2910" y="3333"/>
                  </a:cubicBezTo>
                  <a:cubicBezTo>
                    <a:pt x="2910" y="3265"/>
                    <a:pt x="2873" y="3236"/>
                    <a:pt x="2797" y="3245"/>
                  </a:cubicBezTo>
                  <a:cubicBezTo>
                    <a:pt x="2715" y="3263"/>
                    <a:pt x="2665" y="3268"/>
                    <a:pt x="2647" y="3259"/>
                  </a:cubicBezTo>
                  <a:cubicBezTo>
                    <a:pt x="2625" y="3250"/>
                    <a:pt x="2586" y="3213"/>
                    <a:pt x="2529" y="3150"/>
                  </a:cubicBezTo>
                  <a:cubicBezTo>
                    <a:pt x="2468" y="3083"/>
                    <a:pt x="2430" y="3027"/>
                    <a:pt x="2415" y="2981"/>
                  </a:cubicBezTo>
                  <a:cubicBezTo>
                    <a:pt x="2383" y="2891"/>
                    <a:pt x="2349" y="2747"/>
                    <a:pt x="2313" y="2549"/>
                  </a:cubicBezTo>
                  <a:cubicBezTo>
                    <a:pt x="2313" y="2540"/>
                    <a:pt x="2311" y="2533"/>
                    <a:pt x="2308" y="2528"/>
                  </a:cubicBezTo>
                  <a:cubicBezTo>
                    <a:pt x="2276" y="2366"/>
                    <a:pt x="2260" y="2269"/>
                    <a:pt x="2260" y="2238"/>
                  </a:cubicBezTo>
                  <a:cubicBezTo>
                    <a:pt x="2260" y="2184"/>
                    <a:pt x="2283" y="2141"/>
                    <a:pt x="2329" y="2109"/>
                  </a:cubicBezTo>
                  <a:cubicBezTo>
                    <a:pt x="2362" y="2082"/>
                    <a:pt x="2392" y="2069"/>
                    <a:pt x="2421" y="2069"/>
                  </a:cubicBezTo>
                  <a:cubicBezTo>
                    <a:pt x="2503" y="2069"/>
                    <a:pt x="2614" y="2118"/>
                    <a:pt x="2754" y="2217"/>
                  </a:cubicBezTo>
                  <a:cubicBezTo>
                    <a:pt x="2758" y="2222"/>
                    <a:pt x="2763" y="2226"/>
                    <a:pt x="2771" y="2231"/>
                  </a:cubicBezTo>
                  <a:cubicBezTo>
                    <a:pt x="2971" y="2384"/>
                    <a:pt x="3077" y="2463"/>
                    <a:pt x="3088" y="2468"/>
                  </a:cubicBezTo>
                  <a:lnTo>
                    <a:pt x="3152" y="2468"/>
                  </a:lnTo>
                  <a:lnTo>
                    <a:pt x="3152" y="2386"/>
                  </a:lnTo>
                  <a:cubicBezTo>
                    <a:pt x="3113" y="2341"/>
                    <a:pt x="3018" y="2260"/>
                    <a:pt x="2867" y="2143"/>
                  </a:cubicBezTo>
                  <a:cubicBezTo>
                    <a:pt x="2842" y="2125"/>
                    <a:pt x="2817" y="2105"/>
                    <a:pt x="2792" y="2082"/>
                  </a:cubicBezTo>
                  <a:cubicBezTo>
                    <a:pt x="2620" y="1943"/>
                    <a:pt x="2502" y="1834"/>
                    <a:pt x="2437" y="1758"/>
                  </a:cubicBezTo>
                  <a:cubicBezTo>
                    <a:pt x="2444" y="1758"/>
                    <a:pt x="2457" y="1749"/>
                    <a:pt x="2475" y="1731"/>
                  </a:cubicBezTo>
                  <a:cubicBezTo>
                    <a:pt x="2493" y="1713"/>
                    <a:pt x="2516" y="1704"/>
                    <a:pt x="2545" y="1704"/>
                  </a:cubicBezTo>
                  <a:cubicBezTo>
                    <a:pt x="2595" y="1704"/>
                    <a:pt x="2665" y="1731"/>
                    <a:pt x="2754" y="1785"/>
                  </a:cubicBezTo>
                  <a:cubicBezTo>
                    <a:pt x="2844" y="1834"/>
                    <a:pt x="2923" y="1859"/>
                    <a:pt x="2991" y="1859"/>
                  </a:cubicBezTo>
                  <a:cubicBezTo>
                    <a:pt x="3063" y="1859"/>
                    <a:pt x="3122" y="1841"/>
                    <a:pt x="3169" y="1805"/>
                  </a:cubicBezTo>
                  <a:cubicBezTo>
                    <a:pt x="3154" y="1792"/>
                    <a:pt x="3034" y="1719"/>
                    <a:pt x="2808" y="1589"/>
                  </a:cubicBezTo>
                  <a:cubicBezTo>
                    <a:pt x="2611" y="1476"/>
                    <a:pt x="2512" y="1388"/>
                    <a:pt x="2512" y="1325"/>
                  </a:cubicBezTo>
                  <a:cubicBezTo>
                    <a:pt x="2512" y="1294"/>
                    <a:pt x="2529" y="1258"/>
                    <a:pt x="2561" y="1217"/>
                  </a:cubicBezTo>
                  <a:cubicBezTo>
                    <a:pt x="2597" y="1172"/>
                    <a:pt x="2629" y="1149"/>
                    <a:pt x="2658" y="1149"/>
                  </a:cubicBezTo>
                  <a:cubicBezTo>
                    <a:pt x="2668" y="1149"/>
                    <a:pt x="2742" y="1210"/>
                    <a:pt x="2878" y="1332"/>
                  </a:cubicBezTo>
                  <a:cubicBezTo>
                    <a:pt x="2842" y="1161"/>
                    <a:pt x="2824" y="1046"/>
                    <a:pt x="2824" y="987"/>
                  </a:cubicBezTo>
                  <a:cubicBezTo>
                    <a:pt x="2824" y="951"/>
                    <a:pt x="2842" y="913"/>
                    <a:pt x="2878" y="872"/>
                  </a:cubicBezTo>
                  <a:cubicBezTo>
                    <a:pt x="2910" y="836"/>
                    <a:pt x="2937" y="818"/>
                    <a:pt x="2959" y="818"/>
                  </a:cubicBezTo>
                  <a:cubicBezTo>
                    <a:pt x="3002" y="818"/>
                    <a:pt x="3040" y="845"/>
                    <a:pt x="3072" y="899"/>
                  </a:cubicBezTo>
                  <a:cubicBezTo>
                    <a:pt x="3118" y="980"/>
                    <a:pt x="3145" y="1023"/>
                    <a:pt x="3152" y="1028"/>
                  </a:cubicBezTo>
                  <a:lnTo>
                    <a:pt x="3222" y="1028"/>
                  </a:lnTo>
                  <a:lnTo>
                    <a:pt x="3222" y="953"/>
                  </a:lnTo>
                  <a:cubicBezTo>
                    <a:pt x="3147" y="827"/>
                    <a:pt x="3110" y="746"/>
                    <a:pt x="3110" y="710"/>
                  </a:cubicBezTo>
                  <a:cubicBezTo>
                    <a:pt x="3110" y="642"/>
                    <a:pt x="3187" y="536"/>
                    <a:pt x="3341" y="392"/>
                  </a:cubicBezTo>
                  <a:cubicBezTo>
                    <a:pt x="3474" y="266"/>
                    <a:pt x="3563" y="194"/>
                    <a:pt x="3610" y="176"/>
                  </a:cubicBezTo>
                  <a:lnTo>
                    <a:pt x="4196" y="0"/>
                  </a:lnTo>
                  <a:cubicBezTo>
                    <a:pt x="4271" y="0"/>
                    <a:pt x="4332" y="115"/>
                    <a:pt x="4379" y="345"/>
                  </a:cubicBezTo>
                  <a:lnTo>
                    <a:pt x="4460" y="514"/>
                  </a:lnTo>
                  <a:cubicBezTo>
                    <a:pt x="4510" y="617"/>
                    <a:pt x="4535" y="690"/>
                    <a:pt x="4535" y="730"/>
                  </a:cubicBezTo>
                  <a:cubicBezTo>
                    <a:pt x="4535" y="757"/>
                    <a:pt x="4524" y="800"/>
                    <a:pt x="4503" y="859"/>
                  </a:cubicBezTo>
                  <a:cubicBezTo>
                    <a:pt x="4481" y="913"/>
                    <a:pt x="4470" y="949"/>
                    <a:pt x="4470" y="967"/>
                  </a:cubicBezTo>
                  <a:cubicBezTo>
                    <a:pt x="4470" y="998"/>
                    <a:pt x="4501" y="1032"/>
                    <a:pt x="4562" y="1068"/>
                  </a:cubicBezTo>
                  <a:cubicBezTo>
                    <a:pt x="4601" y="1091"/>
                    <a:pt x="4655" y="1115"/>
                    <a:pt x="4724" y="1143"/>
                  </a:cubicBezTo>
                  <a:cubicBezTo>
                    <a:pt x="4892" y="1201"/>
                    <a:pt x="4976" y="1266"/>
                    <a:pt x="4976" y="1339"/>
                  </a:cubicBezTo>
                  <a:cubicBezTo>
                    <a:pt x="4976" y="1375"/>
                    <a:pt x="4964" y="1415"/>
                    <a:pt x="4939" y="1460"/>
                  </a:cubicBezTo>
                  <a:cubicBezTo>
                    <a:pt x="4913" y="1501"/>
                    <a:pt x="4901" y="1544"/>
                    <a:pt x="4901" y="1589"/>
                  </a:cubicBezTo>
                  <a:cubicBezTo>
                    <a:pt x="4901" y="1652"/>
                    <a:pt x="4949" y="1724"/>
                    <a:pt x="5046" y="1805"/>
                  </a:cubicBezTo>
                  <a:cubicBezTo>
                    <a:pt x="5139" y="1886"/>
                    <a:pt x="5186" y="1990"/>
                    <a:pt x="5186" y="2116"/>
                  </a:cubicBezTo>
                  <a:lnTo>
                    <a:pt x="5154" y="2326"/>
                  </a:lnTo>
                  <a:lnTo>
                    <a:pt x="5165" y="3063"/>
                  </a:lnTo>
                  <a:cubicBezTo>
                    <a:pt x="5165" y="3162"/>
                    <a:pt x="5190" y="3227"/>
                    <a:pt x="5240" y="3259"/>
                  </a:cubicBezTo>
                  <a:cubicBezTo>
                    <a:pt x="5286" y="3290"/>
                    <a:pt x="5310" y="3326"/>
                    <a:pt x="5310" y="3367"/>
                  </a:cubicBezTo>
                  <a:cubicBezTo>
                    <a:pt x="5310" y="3412"/>
                    <a:pt x="5288" y="3457"/>
                    <a:pt x="5245" y="3502"/>
                  </a:cubicBezTo>
                  <a:cubicBezTo>
                    <a:pt x="5199" y="3543"/>
                    <a:pt x="5175" y="3590"/>
                    <a:pt x="5175" y="3644"/>
                  </a:cubicBezTo>
                  <a:cubicBezTo>
                    <a:pt x="5175" y="3680"/>
                    <a:pt x="5186" y="3714"/>
                    <a:pt x="5208" y="3745"/>
                  </a:cubicBezTo>
                  <a:cubicBezTo>
                    <a:pt x="5226" y="3772"/>
                    <a:pt x="5242" y="3786"/>
                    <a:pt x="5256" y="3786"/>
                  </a:cubicBezTo>
                  <a:cubicBezTo>
                    <a:pt x="5392" y="3786"/>
                    <a:pt x="5477" y="3547"/>
                    <a:pt x="5509" y="3069"/>
                  </a:cubicBezTo>
                  <a:cubicBezTo>
                    <a:pt x="5491" y="2988"/>
                    <a:pt x="5482" y="2936"/>
                    <a:pt x="5482" y="2914"/>
                  </a:cubicBezTo>
                  <a:cubicBezTo>
                    <a:pt x="5482" y="2891"/>
                    <a:pt x="5502" y="2853"/>
                    <a:pt x="5541" y="2799"/>
                  </a:cubicBezTo>
                  <a:cubicBezTo>
                    <a:pt x="5577" y="2745"/>
                    <a:pt x="5595" y="2695"/>
                    <a:pt x="5595" y="2650"/>
                  </a:cubicBezTo>
                  <a:cubicBezTo>
                    <a:pt x="5595" y="2569"/>
                    <a:pt x="5595" y="2526"/>
                    <a:pt x="5595" y="2522"/>
                  </a:cubicBezTo>
                  <a:cubicBezTo>
                    <a:pt x="5602" y="2486"/>
                    <a:pt x="5620" y="2468"/>
                    <a:pt x="5649" y="2468"/>
                  </a:cubicBezTo>
                  <a:cubicBezTo>
                    <a:pt x="5703" y="2468"/>
                    <a:pt x="5731" y="2531"/>
                    <a:pt x="5735" y="2657"/>
                  </a:cubicBezTo>
                  <a:cubicBezTo>
                    <a:pt x="5739" y="2779"/>
                    <a:pt x="5764" y="2839"/>
                    <a:pt x="5810" y="2839"/>
                  </a:cubicBezTo>
                  <a:cubicBezTo>
                    <a:pt x="5832" y="2839"/>
                    <a:pt x="5851" y="2810"/>
                    <a:pt x="5869" y="2752"/>
                  </a:cubicBezTo>
                  <a:cubicBezTo>
                    <a:pt x="5891" y="2693"/>
                    <a:pt x="5925" y="2664"/>
                    <a:pt x="5972" y="2664"/>
                  </a:cubicBezTo>
                  <a:cubicBezTo>
                    <a:pt x="6011" y="2664"/>
                    <a:pt x="6049" y="2679"/>
                    <a:pt x="6084" y="2711"/>
                  </a:cubicBezTo>
                  <a:cubicBezTo>
                    <a:pt x="6120" y="2743"/>
                    <a:pt x="6144" y="2758"/>
                    <a:pt x="6154" y="2758"/>
                  </a:cubicBezTo>
                  <a:cubicBezTo>
                    <a:pt x="6162" y="2758"/>
                    <a:pt x="6185" y="2736"/>
                    <a:pt x="6224" y="2691"/>
                  </a:cubicBezTo>
                  <a:cubicBezTo>
                    <a:pt x="6264" y="2641"/>
                    <a:pt x="6305" y="2614"/>
                    <a:pt x="6348" y="2610"/>
                  </a:cubicBezTo>
                  <a:cubicBezTo>
                    <a:pt x="6416" y="2596"/>
                    <a:pt x="6457" y="2587"/>
                    <a:pt x="6472" y="2583"/>
                  </a:cubicBezTo>
                  <a:cubicBezTo>
                    <a:pt x="6490" y="2569"/>
                    <a:pt x="6499" y="2533"/>
                    <a:pt x="6499" y="2474"/>
                  </a:cubicBezTo>
                  <a:cubicBezTo>
                    <a:pt x="6499" y="2429"/>
                    <a:pt x="6466" y="2393"/>
                    <a:pt x="6402" y="2366"/>
                  </a:cubicBezTo>
                  <a:cubicBezTo>
                    <a:pt x="6334" y="2344"/>
                    <a:pt x="6300" y="2301"/>
                    <a:pt x="6300" y="2238"/>
                  </a:cubicBezTo>
                  <a:cubicBezTo>
                    <a:pt x="6300" y="2039"/>
                    <a:pt x="6386" y="1875"/>
                    <a:pt x="6558" y="1744"/>
                  </a:cubicBezTo>
                  <a:cubicBezTo>
                    <a:pt x="6698" y="1636"/>
                    <a:pt x="6832" y="1582"/>
                    <a:pt x="6961" y="1582"/>
                  </a:cubicBezTo>
                  <a:cubicBezTo>
                    <a:pt x="7015" y="1582"/>
                    <a:pt x="7112" y="1596"/>
                    <a:pt x="7252" y="1623"/>
                  </a:cubicBezTo>
                  <a:cubicBezTo>
                    <a:pt x="7395" y="1650"/>
                    <a:pt x="7481" y="1663"/>
                    <a:pt x="7510" y="1663"/>
                  </a:cubicBezTo>
                  <a:lnTo>
                    <a:pt x="7790" y="1636"/>
                  </a:lnTo>
                  <a:cubicBezTo>
                    <a:pt x="7890" y="1636"/>
                    <a:pt x="7980" y="1683"/>
                    <a:pt x="8059" y="1778"/>
                  </a:cubicBezTo>
                  <a:cubicBezTo>
                    <a:pt x="8102" y="1828"/>
                    <a:pt x="8175" y="1952"/>
                    <a:pt x="8279" y="2150"/>
                  </a:cubicBezTo>
                  <a:cubicBezTo>
                    <a:pt x="8290" y="2168"/>
                    <a:pt x="8299" y="2231"/>
                    <a:pt x="8306" y="2339"/>
                  </a:cubicBezTo>
                  <a:cubicBezTo>
                    <a:pt x="8317" y="2438"/>
                    <a:pt x="8340" y="2508"/>
                    <a:pt x="8376" y="2549"/>
                  </a:cubicBezTo>
                  <a:cubicBezTo>
                    <a:pt x="8427" y="2607"/>
                    <a:pt x="8534" y="2637"/>
                    <a:pt x="8699" y="2637"/>
                  </a:cubicBezTo>
                  <a:lnTo>
                    <a:pt x="8834" y="2610"/>
                  </a:lnTo>
                  <a:cubicBezTo>
                    <a:pt x="8844" y="2610"/>
                    <a:pt x="8857" y="2628"/>
                    <a:pt x="8871" y="2664"/>
                  </a:cubicBezTo>
                  <a:cubicBezTo>
                    <a:pt x="8882" y="2695"/>
                    <a:pt x="8887" y="2720"/>
                    <a:pt x="8887" y="2738"/>
                  </a:cubicBezTo>
                  <a:cubicBezTo>
                    <a:pt x="8887" y="2864"/>
                    <a:pt x="8844" y="2979"/>
                    <a:pt x="8758" y="3083"/>
                  </a:cubicBezTo>
                  <a:cubicBezTo>
                    <a:pt x="8672" y="3182"/>
                    <a:pt x="8629" y="3243"/>
                    <a:pt x="8629" y="3265"/>
                  </a:cubicBezTo>
                  <a:cubicBezTo>
                    <a:pt x="8629" y="3324"/>
                    <a:pt x="8663" y="3369"/>
                    <a:pt x="8731" y="3401"/>
                  </a:cubicBezTo>
                  <a:cubicBezTo>
                    <a:pt x="8756" y="3401"/>
                    <a:pt x="8778" y="3389"/>
                    <a:pt x="8796" y="3367"/>
                  </a:cubicBezTo>
                  <a:cubicBezTo>
                    <a:pt x="8814" y="3340"/>
                    <a:pt x="8825" y="3313"/>
                    <a:pt x="8828" y="3286"/>
                  </a:cubicBezTo>
                  <a:cubicBezTo>
                    <a:pt x="8835" y="3286"/>
                    <a:pt x="8850" y="3281"/>
                    <a:pt x="8871" y="3272"/>
                  </a:cubicBezTo>
                  <a:cubicBezTo>
                    <a:pt x="8878" y="3272"/>
                    <a:pt x="8891" y="3279"/>
                    <a:pt x="8909" y="3292"/>
                  </a:cubicBezTo>
                  <a:cubicBezTo>
                    <a:pt x="8923" y="3306"/>
                    <a:pt x="8936" y="3313"/>
                    <a:pt x="8947" y="3313"/>
                  </a:cubicBezTo>
                  <a:cubicBezTo>
                    <a:pt x="8954" y="3313"/>
                    <a:pt x="8982" y="3243"/>
                    <a:pt x="9033" y="3103"/>
                  </a:cubicBezTo>
                  <a:cubicBezTo>
                    <a:pt x="9108" y="2954"/>
                    <a:pt x="9210" y="2866"/>
                    <a:pt x="9339" y="2839"/>
                  </a:cubicBezTo>
                  <a:cubicBezTo>
                    <a:pt x="9339" y="2848"/>
                    <a:pt x="9350" y="2950"/>
                    <a:pt x="9372" y="3144"/>
                  </a:cubicBezTo>
                  <a:lnTo>
                    <a:pt x="9350" y="3380"/>
                  </a:lnTo>
                  <a:cubicBezTo>
                    <a:pt x="9350" y="3394"/>
                    <a:pt x="9350" y="3405"/>
                    <a:pt x="9350" y="3414"/>
                  </a:cubicBezTo>
                  <a:cubicBezTo>
                    <a:pt x="9350" y="3509"/>
                    <a:pt x="9357" y="3567"/>
                    <a:pt x="9372" y="3590"/>
                  </a:cubicBezTo>
                  <a:cubicBezTo>
                    <a:pt x="9382" y="3581"/>
                    <a:pt x="9404" y="3549"/>
                    <a:pt x="9436" y="3495"/>
                  </a:cubicBezTo>
                  <a:cubicBezTo>
                    <a:pt x="9461" y="3441"/>
                    <a:pt x="9481" y="3414"/>
                    <a:pt x="9495" y="3414"/>
                  </a:cubicBezTo>
                  <a:cubicBezTo>
                    <a:pt x="9517" y="3414"/>
                    <a:pt x="9540" y="3477"/>
                    <a:pt x="9565" y="3603"/>
                  </a:cubicBezTo>
                  <a:cubicBezTo>
                    <a:pt x="9594" y="3725"/>
                    <a:pt x="9639" y="3786"/>
                    <a:pt x="9700" y="3786"/>
                  </a:cubicBezTo>
                  <a:cubicBezTo>
                    <a:pt x="9725" y="3786"/>
                    <a:pt x="9770" y="3763"/>
                    <a:pt x="9834" y="3718"/>
                  </a:cubicBezTo>
                  <a:cubicBezTo>
                    <a:pt x="9899" y="3673"/>
                    <a:pt x="9931" y="3637"/>
                    <a:pt x="9931" y="3610"/>
                  </a:cubicBezTo>
                  <a:cubicBezTo>
                    <a:pt x="9931" y="3592"/>
                    <a:pt x="9899" y="3552"/>
                    <a:pt x="9834" y="3488"/>
                  </a:cubicBezTo>
                  <a:cubicBezTo>
                    <a:pt x="9770" y="3430"/>
                    <a:pt x="9737" y="3369"/>
                    <a:pt x="9737" y="3306"/>
                  </a:cubicBezTo>
                  <a:cubicBezTo>
                    <a:pt x="9737" y="3261"/>
                    <a:pt x="9764" y="3229"/>
                    <a:pt x="9818" y="3211"/>
                  </a:cubicBezTo>
                  <a:cubicBezTo>
                    <a:pt x="9879" y="3193"/>
                    <a:pt x="9913" y="3177"/>
                    <a:pt x="9920" y="3164"/>
                  </a:cubicBezTo>
                  <a:cubicBezTo>
                    <a:pt x="9938" y="3119"/>
                    <a:pt x="9954" y="3065"/>
                    <a:pt x="9969" y="3002"/>
                  </a:cubicBezTo>
                  <a:cubicBezTo>
                    <a:pt x="9983" y="2934"/>
                    <a:pt x="9994" y="2880"/>
                    <a:pt x="10001" y="2839"/>
                  </a:cubicBezTo>
                  <a:close/>
                  <a:moveTo>
                    <a:pt x="10001" y="283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7" name="AutoShape 34"/>
            <p:cNvSpPr>
              <a:spLocks/>
            </p:cNvSpPr>
            <p:nvPr/>
          </p:nvSpPr>
          <p:spPr bwMode="auto">
            <a:xfrm>
              <a:off x="6870355" y="2052263"/>
              <a:ext cx="306302" cy="174082"/>
            </a:xfrm>
            <a:custGeom>
              <a:avLst/>
              <a:gdLst/>
              <a:ahLst/>
              <a:cxnLst/>
              <a:rect l="0" t="0" r="r" b="b"/>
              <a:pathLst>
                <a:path w="21600" h="21590">
                  <a:moveTo>
                    <a:pt x="16006" y="9250"/>
                  </a:moveTo>
                  <a:cubicBezTo>
                    <a:pt x="16073" y="9233"/>
                    <a:pt x="16221" y="9225"/>
                    <a:pt x="16452" y="9225"/>
                  </a:cubicBezTo>
                  <a:lnTo>
                    <a:pt x="17113" y="9326"/>
                  </a:lnTo>
                  <a:cubicBezTo>
                    <a:pt x="17171" y="8955"/>
                    <a:pt x="17372" y="8686"/>
                    <a:pt x="17717" y="8517"/>
                  </a:cubicBezTo>
                  <a:cubicBezTo>
                    <a:pt x="17947" y="8399"/>
                    <a:pt x="18172" y="8340"/>
                    <a:pt x="18393" y="8340"/>
                  </a:cubicBezTo>
                  <a:cubicBezTo>
                    <a:pt x="18527" y="8340"/>
                    <a:pt x="18700" y="8466"/>
                    <a:pt x="18910" y="8719"/>
                  </a:cubicBezTo>
                  <a:cubicBezTo>
                    <a:pt x="19131" y="8989"/>
                    <a:pt x="19323" y="9124"/>
                    <a:pt x="19486" y="9124"/>
                  </a:cubicBezTo>
                  <a:cubicBezTo>
                    <a:pt x="19649" y="9124"/>
                    <a:pt x="19960" y="9267"/>
                    <a:pt x="20420" y="9553"/>
                  </a:cubicBezTo>
                  <a:cubicBezTo>
                    <a:pt x="20804" y="9722"/>
                    <a:pt x="21078" y="10076"/>
                    <a:pt x="21240" y="10615"/>
                  </a:cubicBezTo>
                  <a:cubicBezTo>
                    <a:pt x="21346" y="11002"/>
                    <a:pt x="21398" y="11525"/>
                    <a:pt x="21398" y="12181"/>
                  </a:cubicBezTo>
                  <a:cubicBezTo>
                    <a:pt x="21398" y="12603"/>
                    <a:pt x="21283" y="13024"/>
                    <a:pt x="21053" y="13445"/>
                  </a:cubicBezTo>
                  <a:cubicBezTo>
                    <a:pt x="20814" y="13866"/>
                    <a:pt x="20694" y="14153"/>
                    <a:pt x="20694" y="14304"/>
                  </a:cubicBezTo>
                  <a:cubicBezTo>
                    <a:pt x="20694" y="14507"/>
                    <a:pt x="20847" y="14936"/>
                    <a:pt x="21154" y="15593"/>
                  </a:cubicBezTo>
                  <a:cubicBezTo>
                    <a:pt x="21451" y="16250"/>
                    <a:pt x="21600" y="16832"/>
                    <a:pt x="21600" y="17337"/>
                  </a:cubicBezTo>
                  <a:cubicBezTo>
                    <a:pt x="21600" y="17640"/>
                    <a:pt x="21422" y="17868"/>
                    <a:pt x="21067" y="18019"/>
                  </a:cubicBezTo>
                  <a:cubicBezTo>
                    <a:pt x="20684" y="18137"/>
                    <a:pt x="20450" y="18230"/>
                    <a:pt x="20363" y="18298"/>
                  </a:cubicBezTo>
                  <a:cubicBezTo>
                    <a:pt x="20219" y="18399"/>
                    <a:pt x="19979" y="18643"/>
                    <a:pt x="19644" y="19030"/>
                  </a:cubicBezTo>
                  <a:cubicBezTo>
                    <a:pt x="19395" y="19317"/>
                    <a:pt x="19194" y="19460"/>
                    <a:pt x="19040" y="19460"/>
                  </a:cubicBezTo>
                  <a:cubicBezTo>
                    <a:pt x="18963" y="19460"/>
                    <a:pt x="18891" y="19418"/>
                    <a:pt x="18824" y="19334"/>
                  </a:cubicBezTo>
                  <a:cubicBezTo>
                    <a:pt x="18748" y="19233"/>
                    <a:pt x="18676" y="19182"/>
                    <a:pt x="18609" y="19182"/>
                  </a:cubicBezTo>
                  <a:cubicBezTo>
                    <a:pt x="18571" y="19182"/>
                    <a:pt x="18522" y="19224"/>
                    <a:pt x="18465" y="19308"/>
                  </a:cubicBezTo>
                  <a:cubicBezTo>
                    <a:pt x="18407" y="19376"/>
                    <a:pt x="18359" y="19409"/>
                    <a:pt x="18321" y="19409"/>
                  </a:cubicBezTo>
                  <a:cubicBezTo>
                    <a:pt x="18130" y="19409"/>
                    <a:pt x="17957" y="18971"/>
                    <a:pt x="17803" y="18096"/>
                  </a:cubicBezTo>
                  <a:cubicBezTo>
                    <a:pt x="17746" y="17792"/>
                    <a:pt x="17626" y="17548"/>
                    <a:pt x="17444" y="17362"/>
                  </a:cubicBezTo>
                  <a:cubicBezTo>
                    <a:pt x="17204" y="17110"/>
                    <a:pt x="17075" y="16958"/>
                    <a:pt x="17056" y="16907"/>
                  </a:cubicBezTo>
                  <a:lnTo>
                    <a:pt x="17027" y="16907"/>
                  </a:lnTo>
                  <a:cubicBezTo>
                    <a:pt x="17056" y="16992"/>
                    <a:pt x="17147" y="17194"/>
                    <a:pt x="17300" y="17514"/>
                  </a:cubicBezTo>
                  <a:cubicBezTo>
                    <a:pt x="17453" y="17851"/>
                    <a:pt x="17530" y="18146"/>
                    <a:pt x="17530" y="18399"/>
                  </a:cubicBezTo>
                  <a:cubicBezTo>
                    <a:pt x="17530" y="19022"/>
                    <a:pt x="17041" y="19561"/>
                    <a:pt x="16064" y="20016"/>
                  </a:cubicBezTo>
                  <a:cubicBezTo>
                    <a:pt x="15843" y="20016"/>
                    <a:pt x="15675" y="19966"/>
                    <a:pt x="15560" y="19865"/>
                  </a:cubicBezTo>
                  <a:cubicBezTo>
                    <a:pt x="15541" y="19696"/>
                    <a:pt x="15527" y="19570"/>
                    <a:pt x="15517" y="19486"/>
                  </a:cubicBezTo>
                  <a:cubicBezTo>
                    <a:pt x="15488" y="19334"/>
                    <a:pt x="15440" y="19216"/>
                    <a:pt x="15373" y="19132"/>
                  </a:cubicBezTo>
                  <a:cubicBezTo>
                    <a:pt x="15335" y="19165"/>
                    <a:pt x="15277" y="19511"/>
                    <a:pt x="15201" y="20168"/>
                  </a:cubicBezTo>
                  <a:lnTo>
                    <a:pt x="14899" y="20168"/>
                  </a:lnTo>
                  <a:cubicBezTo>
                    <a:pt x="14832" y="20067"/>
                    <a:pt x="14745" y="19797"/>
                    <a:pt x="14640" y="19359"/>
                  </a:cubicBezTo>
                  <a:cubicBezTo>
                    <a:pt x="14601" y="19460"/>
                    <a:pt x="14592" y="19772"/>
                    <a:pt x="14611" y="20294"/>
                  </a:cubicBezTo>
                  <a:cubicBezTo>
                    <a:pt x="14620" y="20698"/>
                    <a:pt x="14539" y="20901"/>
                    <a:pt x="14367" y="20901"/>
                  </a:cubicBezTo>
                  <a:cubicBezTo>
                    <a:pt x="14223" y="20901"/>
                    <a:pt x="14093" y="20808"/>
                    <a:pt x="13978" y="20623"/>
                  </a:cubicBezTo>
                  <a:cubicBezTo>
                    <a:pt x="13863" y="20437"/>
                    <a:pt x="13786" y="20345"/>
                    <a:pt x="13748" y="20345"/>
                  </a:cubicBezTo>
                  <a:cubicBezTo>
                    <a:pt x="13710" y="20345"/>
                    <a:pt x="13652" y="20488"/>
                    <a:pt x="13576" y="20774"/>
                  </a:cubicBezTo>
                  <a:cubicBezTo>
                    <a:pt x="13499" y="21061"/>
                    <a:pt x="13422" y="21204"/>
                    <a:pt x="13345" y="21204"/>
                  </a:cubicBezTo>
                  <a:cubicBezTo>
                    <a:pt x="13307" y="21204"/>
                    <a:pt x="13240" y="21103"/>
                    <a:pt x="13144" y="20901"/>
                  </a:cubicBezTo>
                  <a:cubicBezTo>
                    <a:pt x="13048" y="20682"/>
                    <a:pt x="12948" y="20547"/>
                    <a:pt x="12842" y="20496"/>
                  </a:cubicBezTo>
                  <a:lnTo>
                    <a:pt x="12871" y="21027"/>
                  </a:lnTo>
                  <a:cubicBezTo>
                    <a:pt x="12871" y="21179"/>
                    <a:pt x="12852" y="21280"/>
                    <a:pt x="12813" y="21331"/>
                  </a:cubicBezTo>
                  <a:cubicBezTo>
                    <a:pt x="12785" y="21364"/>
                    <a:pt x="12722" y="21381"/>
                    <a:pt x="12626" y="21381"/>
                  </a:cubicBezTo>
                  <a:cubicBezTo>
                    <a:pt x="12521" y="21381"/>
                    <a:pt x="12411" y="21288"/>
                    <a:pt x="12295" y="21103"/>
                  </a:cubicBezTo>
                  <a:cubicBezTo>
                    <a:pt x="12181" y="20901"/>
                    <a:pt x="12119" y="20800"/>
                    <a:pt x="12109" y="20800"/>
                  </a:cubicBezTo>
                  <a:cubicBezTo>
                    <a:pt x="12080" y="20800"/>
                    <a:pt x="11979" y="20935"/>
                    <a:pt x="11807" y="21204"/>
                  </a:cubicBezTo>
                  <a:cubicBezTo>
                    <a:pt x="11634" y="21457"/>
                    <a:pt x="11466" y="21583"/>
                    <a:pt x="11303" y="21583"/>
                  </a:cubicBezTo>
                  <a:cubicBezTo>
                    <a:pt x="11112" y="21482"/>
                    <a:pt x="10968" y="21431"/>
                    <a:pt x="10872" y="21431"/>
                  </a:cubicBezTo>
                  <a:cubicBezTo>
                    <a:pt x="10824" y="21431"/>
                    <a:pt x="10747" y="21465"/>
                    <a:pt x="10642" y="21533"/>
                  </a:cubicBezTo>
                  <a:cubicBezTo>
                    <a:pt x="10546" y="21583"/>
                    <a:pt x="10484" y="21600"/>
                    <a:pt x="10455" y="21583"/>
                  </a:cubicBezTo>
                  <a:cubicBezTo>
                    <a:pt x="10407" y="21415"/>
                    <a:pt x="10383" y="21212"/>
                    <a:pt x="10383" y="20977"/>
                  </a:cubicBezTo>
                  <a:cubicBezTo>
                    <a:pt x="10383" y="20876"/>
                    <a:pt x="10436" y="20640"/>
                    <a:pt x="10541" y="20269"/>
                  </a:cubicBezTo>
                  <a:cubicBezTo>
                    <a:pt x="10637" y="19915"/>
                    <a:pt x="10685" y="19696"/>
                    <a:pt x="10685" y="19612"/>
                  </a:cubicBezTo>
                  <a:cubicBezTo>
                    <a:pt x="10685" y="19443"/>
                    <a:pt x="10647" y="19300"/>
                    <a:pt x="10570" y="19182"/>
                  </a:cubicBezTo>
                  <a:cubicBezTo>
                    <a:pt x="10503" y="19081"/>
                    <a:pt x="10431" y="19030"/>
                    <a:pt x="10354" y="19030"/>
                  </a:cubicBezTo>
                  <a:cubicBezTo>
                    <a:pt x="10259" y="19030"/>
                    <a:pt x="10196" y="19106"/>
                    <a:pt x="10168" y="19258"/>
                  </a:cubicBezTo>
                  <a:lnTo>
                    <a:pt x="10067" y="19763"/>
                  </a:lnTo>
                  <a:cubicBezTo>
                    <a:pt x="10028" y="19747"/>
                    <a:pt x="9933" y="19637"/>
                    <a:pt x="9779" y="19435"/>
                  </a:cubicBezTo>
                  <a:cubicBezTo>
                    <a:pt x="9645" y="19266"/>
                    <a:pt x="9530" y="19182"/>
                    <a:pt x="9434" y="19182"/>
                  </a:cubicBezTo>
                  <a:cubicBezTo>
                    <a:pt x="9328" y="19182"/>
                    <a:pt x="9276" y="19300"/>
                    <a:pt x="9276" y="19536"/>
                  </a:cubicBezTo>
                  <a:cubicBezTo>
                    <a:pt x="9276" y="19688"/>
                    <a:pt x="9338" y="19865"/>
                    <a:pt x="9463" y="20067"/>
                  </a:cubicBezTo>
                  <a:cubicBezTo>
                    <a:pt x="9587" y="20252"/>
                    <a:pt x="9650" y="20437"/>
                    <a:pt x="9650" y="20623"/>
                  </a:cubicBezTo>
                  <a:cubicBezTo>
                    <a:pt x="9650" y="21229"/>
                    <a:pt x="9338" y="21533"/>
                    <a:pt x="8715" y="21533"/>
                  </a:cubicBezTo>
                  <a:cubicBezTo>
                    <a:pt x="8389" y="21533"/>
                    <a:pt x="8106" y="21187"/>
                    <a:pt x="7867" y="20496"/>
                  </a:cubicBezTo>
                  <a:cubicBezTo>
                    <a:pt x="7627" y="19806"/>
                    <a:pt x="7464" y="19460"/>
                    <a:pt x="7378" y="19460"/>
                  </a:cubicBezTo>
                  <a:cubicBezTo>
                    <a:pt x="7292" y="19460"/>
                    <a:pt x="7234" y="19671"/>
                    <a:pt x="7205" y="20092"/>
                  </a:cubicBezTo>
                  <a:cubicBezTo>
                    <a:pt x="7167" y="20496"/>
                    <a:pt x="7124" y="20698"/>
                    <a:pt x="7076" y="20698"/>
                  </a:cubicBezTo>
                  <a:cubicBezTo>
                    <a:pt x="6846" y="20698"/>
                    <a:pt x="6563" y="20370"/>
                    <a:pt x="6227" y="19713"/>
                  </a:cubicBezTo>
                  <a:cubicBezTo>
                    <a:pt x="5911" y="19106"/>
                    <a:pt x="5752" y="18685"/>
                    <a:pt x="5752" y="18449"/>
                  </a:cubicBezTo>
                  <a:cubicBezTo>
                    <a:pt x="5839" y="17472"/>
                    <a:pt x="5882" y="16958"/>
                    <a:pt x="5882" y="16907"/>
                  </a:cubicBezTo>
                  <a:cubicBezTo>
                    <a:pt x="5882" y="16705"/>
                    <a:pt x="5767" y="16537"/>
                    <a:pt x="5536" y="16402"/>
                  </a:cubicBezTo>
                  <a:cubicBezTo>
                    <a:pt x="5307" y="16267"/>
                    <a:pt x="5192" y="15930"/>
                    <a:pt x="5192" y="15391"/>
                  </a:cubicBezTo>
                  <a:cubicBezTo>
                    <a:pt x="5192" y="14751"/>
                    <a:pt x="5302" y="14245"/>
                    <a:pt x="5522" y="13875"/>
                  </a:cubicBezTo>
                  <a:cubicBezTo>
                    <a:pt x="5733" y="13487"/>
                    <a:pt x="5839" y="13091"/>
                    <a:pt x="5839" y="12687"/>
                  </a:cubicBezTo>
                  <a:cubicBezTo>
                    <a:pt x="5839" y="12518"/>
                    <a:pt x="5719" y="11937"/>
                    <a:pt x="5479" y="10943"/>
                  </a:cubicBezTo>
                  <a:cubicBezTo>
                    <a:pt x="5239" y="9966"/>
                    <a:pt x="5115" y="9452"/>
                    <a:pt x="5105" y="9402"/>
                  </a:cubicBezTo>
                  <a:cubicBezTo>
                    <a:pt x="4875" y="8458"/>
                    <a:pt x="4698" y="7700"/>
                    <a:pt x="4573" y="7127"/>
                  </a:cubicBezTo>
                  <a:cubicBezTo>
                    <a:pt x="4564" y="7076"/>
                    <a:pt x="4554" y="7026"/>
                    <a:pt x="4544" y="6975"/>
                  </a:cubicBezTo>
                  <a:cubicBezTo>
                    <a:pt x="4516" y="6908"/>
                    <a:pt x="4478" y="6824"/>
                    <a:pt x="4429" y="6723"/>
                  </a:cubicBezTo>
                  <a:cubicBezTo>
                    <a:pt x="4391" y="6638"/>
                    <a:pt x="4343" y="6596"/>
                    <a:pt x="4285" y="6596"/>
                  </a:cubicBezTo>
                  <a:cubicBezTo>
                    <a:pt x="3576" y="7068"/>
                    <a:pt x="3078" y="7304"/>
                    <a:pt x="2790" y="7304"/>
                  </a:cubicBezTo>
                  <a:cubicBezTo>
                    <a:pt x="2646" y="7304"/>
                    <a:pt x="2426" y="6992"/>
                    <a:pt x="2128" y="6369"/>
                  </a:cubicBezTo>
                  <a:cubicBezTo>
                    <a:pt x="2062" y="6234"/>
                    <a:pt x="1951" y="6057"/>
                    <a:pt x="1798" y="5838"/>
                  </a:cubicBezTo>
                  <a:cubicBezTo>
                    <a:pt x="1577" y="5552"/>
                    <a:pt x="1419" y="5333"/>
                    <a:pt x="1323" y="5181"/>
                  </a:cubicBezTo>
                  <a:cubicBezTo>
                    <a:pt x="1256" y="5080"/>
                    <a:pt x="1161" y="4869"/>
                    <a:pt x="1036" y="4549"/>
                  </a:cubicBezTo>
                  <a:cubicBezTo>
                    <a:pt x="902" y="4212"/>
                    <a:pt x="791" y="3976"/>
                    <a:pt x="705" y="3841"/>
                  </a:cubicBezTo>
                  <a:cubicBezTo>
                    <a:pt x="638" y="3724"/>
                    <a:pt x="513" y="3564"/>
                    <a:pt x="331" y="3361"/>
                  </a:cubicBezTo>
                  <a:cubicBezTo>
                    <a:pt x="149" y="3159"/>
                    <a:pt x="39" y="3024"/>
                    <a:pt x="0" y="2957"/>
                  </a:cubicBezTo>
                  <a:cubicBezTo>
                    <a:pt x="48" y="2788"/>
                    <a:pt x="154" y="2704"/>
                    <a:pt x="317" y="2704"/>
                  </a:cubicBezTo>
                  <a:lnTo>
                    <a:pt x="662" y="2805"/>
                  </a:lnTo>
                  <a:cubicBezTo>
                    <a:pt x="709" y="2805"/>
                    <a:pt x="734" y="2788"/>
                    <a:pt x="734" y="2755"/>
                  </a:cubicBezTo>
                  <a:cubicBezTo>
                    <a:pt x="705" y="2603"/>
                    <a:pt x="647" y="2401"/>
                    <a:pt x="561" y="2148"/>
                  </a:cubicBezTo>
                  <a:cubicBezTo>
                    <a:pt x="484" y="1929"/>
                    <a:pt x="446" y="1752"/>
                    <a:pt x="446" y="1618"/>
                  </a:cubicBezTo>
                  <a:cubicBezTo>
                    <a:pt x="446" y="1297"/>
                    <a:pt x="614" y="935"/>
                    <a:pt x="949" y="531"/>
                  </a:cubicBezTo>
                  <a:cubicBezTo>
                    <a:pt x="1246" y="177"/>
                    <a:pt x="1462" y="0"/>
                    <a:pt x="1596" y="0"/>
                  </a:cubicBezTo>
                  <a:cubicBezTo>
                    <a:pt x="1692" y="0"/>
                    <a:pt x="1889" y="185"/>
                    <a:pt x="2186" y="556"/>
                  </a:cubicBezTo>
                  <a:cubicBezTo>
                    <a:pt x="2435" y="859"/>
                    <a:pt x="2603" y="1086"/>
                    <a:pt x="2690" y="1238"/>
                  </a:cubicBezTo>
                  <a:cubicBezTo>
                    <a:pt x="2795" y="1407"/>
                    <a:pt x="2948" y="1508"/>
                    <a:pt x="3150" y="1542"/>
                  </a:cubicBezTo>
                  <a:cubicBezTo>
                    <a:pt x="3265" y="1542"/>
                    <a:pt x="3418" y="1533"/>
                    <a:pt x="3610" y="1516"/>
                  </a:cubicBezTo>
                  <a:cubicBezTo>
                    <a:pt x="3734" y="1516"/>
                    <a:pt x="3897" y="1803"/>
                    <a:pt x="4098" y="2376"/>
                  </a:cubicBezTo>
                  <a:cubicBezTo>
                    <a:pt x="4281" y="2898"/>
                    <a:pt x="4372" y="3252"/>
                    <a:pt x="4372" y="3437"/>
                  </a:cubicBezTo>
                  <a:cubicBezTo>
                    <a:pt x="4372" y="3623"/>
                    <a:pt x="4300" y="3892"/>
                    <a:pt x="4156" y="4246"/>
                  </a:cubicBezTo>
                  <a:cubicBezTo>
                    <a:pt x="4003" y="4600"/>
                    <a:pt x="3926" y="4861"/>
                    <a:pt x="3926" y="5029"/>
                  </a:cubicBezTo>
                  <a:cubicBezTo>
                    <a:pt x="3926" y="5198"/>
                    <a:pt x="3955" y="5341"/>
                    <a:pt x="4012" y="5459"/>
                  </a:cubicBezTo>
                  <a:cubicBezTo>
                    <a:pt x="4051" y="5560"/>
                    <a:pt x="4084" y="5611"/>
                    <a:pt x="4113" y="5611"/>
                  </a:cubicBezTo>
                  <a:cubicBezTo>
                    <a:pt x="4180" y="5611"/>
                    <a:pt x="4266" y="5434"/>
                    <a:pt x="4372" y="5080"/>
                  </a:cubicBezTo>
                  <a:cubicBezTo>
                    <a:pt x="4478" y="4726"/>
                    <a:pt x="4544" y="4541"/>
                    <a:pt x="4573" y="4524"/>
                  </a:cubicBezTo>
                  <a:cubicBezTo>
                    <a:pt x="4688" y="4457"/>
                    <a:pt x="4885" y="4423"/>
                    <a:pt x="5163" y="4423"/>
                  </a:cubicBezTo>
                  <a:cubicBezTo>
                    <a:pt x="5450" y="4339"/>
                    <a:pt x="5676" y="4145"/>
                    <a:pt x="5839" y="3841"/>
                  </a:cubicBezTo>
                  <a:cubicBezTo>
                    <a:pt x="5973" y="3572"/>
                    <a:pt x="6107" y="3437"/>
                    <a:pt x="6242" y="3437"/>
                  </a:cubicBezTo>
                  <a:cubicBezTo>
                    <a:pt x="6462" y="3437"/>
                    <a:pt x="6755" y="3606"/>
                    <a:pt x="7119" y="3943"/>
                  </a:cubicBezTo>
                  <a:cubicBezTo>
                    <a:pt x="7512" y="4313"/>
                    <a:pt x="7708" y="4667"/>
                    <a:pt x="7708" y="5004"/>
                  </a:cubicBezTo>
                  <a:cubicBezTo>
                    <a:pt x="7708" y="5240"/>
                    <a:pt x="7627" y="5333"/>
                    <a:pt x="7464" y="5282"/>
                  </a:cubicBezTo>
                  <a:cubicBezTo>
                    <a:pt x="7397" y="5282"/>
                    <a:pt x="7296" y="5215"/>
                    <a:pt x="7162" y="5080"/>
                  </a:cubicBezTo>
                  <a:cubicBezTo>
                    <a:pt x="7028" y="4945"/>
                    <a:pt x="6932" y="4877"/>
                    <a:pt x="6874" y="4877"/>
                  </a:cubicBezTo>
                  <a:cubicBezTo>
                    <a:pt x="6798" y="4877"/>
                    <a:pt x="6702" y="4928"/>
                    <a:pt x="6587" y="5029"/>
                  </a:cubicBezTo>
                  <a:cubicBezTo>
                    <a:pt x="6548" y="5231"/>
                    <a:pt x="6630" y="5400"/>
                    <a:pt x="6831" y="5535"/>
                  </a:cubicBezTo>
                  <a:cubicBezTo>
                    <a:pt x="6946" y="5619"/>
                    <a:pt x="7099" y="5712"/>
                    <a:pt x="7292" y="5813"/>
                  </a:cubicBezTo>
                  <a:cubicBezTo>
                    <a:pt x="7320" y="5847"/>
                    <a:pt x="7402" y="5981"/>
                    <a:pt x="7536" y="6217"/>
                  </a:cubicBezTo>
                  <a:cubicBezTo>
                    <a:pt x="7632" y="6403"/>
                    <a:pt x="7737" y="6495"/>
                    <a:pt x="7852" y="6495"/>
                  </a:cubicBezTo>
                  <a:cubicBezTo>
                    <a:pt x="8121" y="6461"/>
                    <a:pt x="8394" y="6520"/>
                    <a:pt x="8672" y="6672"/>
                  </a:cubicBezTo>
                  <a:cubicBezTo>
                    <a:pt x="8988" y="6841"/>
                    <a:pt x="9146" y="7051"/>
                    <a:pt x="9146" y="7304"/>
                  </a:cubicBezTo>
                  <a:cubicBezTo>
                    <a:pt x="9146" y="7691"/>
                    <a:pt x="8936" y="7952"/>
                    <a:pt x="8514" y="8087"/>
                  </a:cubicBezTo>
                  <a:lnTo>
                    <a:pt x="7867" y="8189"/>
                  </a:lnTo>
                  <a:cubicBezTo>
                    <a:pt x="7780" y="8189"/>
                    <a:pt x="7593" y="8054"/>
                    <a:pt x="7306" y="7784"/>
                  </a:cubicBezTo>
                  <a:cubicBezTo>
                    <a:pt x="7008" y="7498"/>
                    <a:pt x="6826" y="7355"/>
                    <a:pt x="6759" y="7355"/>
                  </a:cubicBezTo>
                  <a:cubicBezTo>
                    <a:pt x="6462" y="7355"/>
                    <a:pt x="6314" y="7548"/>
                    <a:pt x="6314" y="7936"/>
                  </a:cubicBezTo>
                  <a:cubicBezTo>
                    <a:pt x="6314" y="8037"/>
                    <a:pt x="6486" y="8180"/>
                    <a:pt x="6831" y="8365"/>
                  </a:cubicBezTo>
                  <a:cubicBezTo>
                    <a:pt x="7176" y="8551"/>
                    <a:pt x="7349" y="8736"/>
                    <a:pt x="7349" y="8921"/>
                  </a:cubicBezTo>
                  <a:lnTo>
                    <a:pt x="6989" y="10160"/>
                  </a:lnTo>
                  <a:lnTo>
                    <a:pt x="6989" y="10640"/>
                  </a:lnTo>
                  <a:cubicBezTo>
                    <a:pt x="7105" y="10539"/>
                    <a:pt x="7272" y="10337"/>
                    <a:pt x="7493" y="10033"/>
                  </a:cubicBezTo>
                  <a:cubicBezTo>
                    <a:pt x="7598" y="9882"/>
                    <a:pt x="7737" y="9806"/>
                    <a:pt x="7909" y="9806"/>
                  </a:cubicBezTo>
                  <a:cubicBezTo>
                    <a:pt x="8044" y="9806"/>
                    <a:pt x="8121" y="9815"/>
                    <a:pt x="8140" y="9831"/>
                  </a:cubicBezTo>
                  <a:cubicBezTo>
                    <a:pt x="8178" y="9882"/>
                    <a:pt x="8221" y="10042"/>
                    <a:pt x="8269" y="10311"/>
                  </a:cubicBezTo>
                  <a:cubicBezTo>
                    <a:pt x="8403" y="10311"/>
                    <a:pt x="8605" y="10446"/>
                    <a:pt x="8873" y="10716"/>
                  </a:cubicBezTo>
                  <a:cubicBezTo>
                    <a:pt x="9142" y="10985"/>
                    <a:pt x="9276" y="11196"/>
                    <a:pt x="9276" y="11348"/>
                  </a:cubicBezTo>
                  <a:cubicBezTo>
                    <a:pt x="9276" y="11600"/>
                    <a:pt x="9175" y="11828"/>
                    <a:pt x="8974" y="12030"/>
                  </a:cubicBezTo>
                  <a:cubicBezTo>
                    <a:pt x="8772" y="12232"/>
                    <a:pt x="8672" y="12392"/>
                    <a:pt x="8672" y="12510"/>
                  </a:cubicBezTo>
                  <a:cubicBezTo>
                    <a:pt x="8672" y="12628"/>
                    <a:pt x="8696" y="12729"/>
                    <a:pt x="8744" y="12813"/>
                  </a:cubicBezTo>
                  <a:cubicBezTo>
                    <a:pt x="8782" y="12881"/>
                    <a:pt x="8825" y="12914"/>
                    <a:pt x="8873" y="12914"/>
                  </a:cubicBezTo>
                  <a:cubicBezTo>
                    <a:pt x="8969" y="12914"/>
                    <a:pt x="9089" y="12864"/>
                    <a:pt x="9233" y="12763"/>
                  </a:cubicBezTo>
                  <a:cubicBezTo>
                    <a:pt x="9377" y="12763"/>
                    <a:pt x="9453" y="12906"/>
                    <a:pt x="9463" y="13192"/>
                  </a:cubicBezTo>
                  <a:cubicBezTo>
                    <a:pt x="9472" y="13462"/>
                    <a:pt x="9535" y="13597"/>
                    <a:pt x="9650" y="13597"/>
                  </a:cubicBezTo>
                  <a:cubicBezTo>
                    <a:pt x="9727" y="13597"/>
                    <a:pt x="9774" y="13546"/>
                    <a:pt x="9794" y="13445"/>
                  </a:cubicBezTo>
                  <a:cubicBezTo>
                    <a:pt x="9794" y="13428"/>
                    <a:pt x="9794" y="13336"/>
                    <a:pt x="9794" y="13167"/>
                  </a:cubicBezTo>
                  <a:cubicBezTo>
                    <a:pt x="9755" y="12948"/>
                    <a:pt x="9736" y="12796"/>
                    <a:pt x="9736" y="12712"/>
                  </a:cubicBezTo>
                  <a:cubicBezTo>
                    <a:pt x="9736" y="12544"/>
                    <a:pt x="9765" y="12384"/>
                    <a:pt x="9822" y="12232"/>
                  </a:cubicBezTo>
                  <a:cubicBezTo>
                    <a:pt x="9890" y="12063"/>
                    <a:pt x="9971" y="11979"/>
                    <a:pt x="10067" y="11979"/>
                  </a:cubicBezTo>
                  <a:cubicBezTo>
                    <a:pt x="10249" y="11979"/>
                    <a:pt x="10359" y="12165"/>
                    <a:pt x="10397" y="12535"/>
                  </a:cubicBezTo>
                  <a:cubicBezTo>
                    <a:pt x="10436" y="12889"/>
                    <a:pt x="10513" y="13066"/>
                    <a:pt x="10628" y="13066"/>
                  </a:cubicBezTo>
                  <a:cubicBezTo>
                    <a:pt x="10666" y="13066"/>
                    <a:pt x="10724" y="12965"/>
                    <a:pt x="10800" y="12763"/>
                  </a:cubicBezTo>
                  <a:cubicBezTo>
                    <a:pt x="10877" y="12561"/>
                    <a:pt x="10944" y="12459"/>
                    <a:pt x="11001" y="12459"/>
                  </a:cubicBezTo>
                  <a:cubicBezTo>
                    <a:pt x="11021" y="12459"/>
                    <a:pt x="11093" y="12527"/>
                    <a:pt x="11217" y="12662"/>
                  </a:cubicBezTo>
                  <a:cubicBezTo>
                    <a:pt x="11332" y="12796"/>
                    <a:pt x="11409" y="12864"/>
                    <a:pt x="11447" y="12864"/>
                  </a:cubicBezTo>
                  <a:cubicBezTo>
                    <a:pt x="11476" y="12729"/>
                    <a:pt x="11481" y="12544"/>
                    <a:pt x="11462" y="12308"/>
                  </a:cubicBezTo>
                  <a:cubicBezTo>
                    <a:pt x="11452" y="12156"/>
                    <a:pt x="11491" y="12080"/>
                    <a:pt x="11576" y="12080"/>
                  </a:cubicBezTo>
                  <a:cubicBezTo>
                    <a:pt x="11740" y="12080"/>
                    <a:pt x="11879" y="12148"/>
                    <a:pt x="11994" y="12283"/>
                  </a:cubicBezTo>
                  <a:cubicBezTo>
                    <a:pt x="12224" y="12552"/>
                    <a:pt x="12348" y="12695"/>
                    <a:pt x="12367" y="12712"/>
                  </a:cubicBezTo>
                  <a:cubicBezTo>
                    <a:pt x="12454" y="12779"/>
                    <a:pt x="12579" y="12847"/>
                    <a:pt x="12741" y="12914"/>
                  </a:cubicBezTo>
                  <a:cubicBezTo>
                    <a:pt x="12866" y="12999"/>
                    <a:pt x="12929" y="13133"/>
                    <a:pt x="12929" y="13319"/>
                  </a:cubicBezTo>
                  <a:cubicBezTo>
                    <a:pt x="12929" y="13403"/>
                    <a:pt x="12909" y="13512"/>
                    <a:pt x="12871" y="13647"/>
                  </a:cubicBezTo>
                  <a:lnTo>
                    <a:pt x="13014" y="13647"/>
                  </a:lnTo>
                  <a:cubicBezTo>
                    <a:pt x="13139" y="13529"/>
                    <a:pt x="13322" y="13479"/>
                    <a:pt x="13561" y="13496"/>
                  </a:cubicBezTo>
                  <a:cubicBezTo>
                    <a:pt x="13686" y="13496"/>
                    <a:pt x="13830" y="13512"/>
                    <a:pt x="13992" y="13546"/>
                  </a:cubicBezTo>
                  <a:cubicBezTo>
                    <a:pt x="13935" y="13243"/>
                    <a:pt x="13796" y="13066"/>
                    <a:pt x="13576" y="13015"/>
                  </a:cubicBezTo>
                  <a:cubicBezTo>
                    <a:pt x="13384" y="12965"/>
                    <a:pt x="13288" y="12822"/>
                    <a:pt x="13288" y="12586"/>
                  </a:cubicBezTo>
                  <a:cubicBezTo>
                    <a:pt x="13288" y="12485"/>
                    <a:pt x="13422" y="12316"/>
                    <a:pt x="13691" y="12080"/>
                  </a:cubicBezTo>
                  <a:cubicBezTo>
                    <a:pt x="13959" y="11845"/>
                    <a:pt x="14170" y="11726"/>
                    <a:pt x="14323" y="11726"/>
                  </a:cubicBezTo>
                  <a:cubicBezTo>
                    <a:pt x="14429" y="11726"/>
                    <a:pt x="14491" y="11735"/>
                    <a:pt x="14510" y="11752"/>
                  </a:cubicBezTo>
                  <a:cubicBezTo>
                    <a:pt x="14558" y="11786"/>
                    <a:pt x="14582" y="11878"/>
                    <a:pt x="14582" y="12030"/>
                  </a:cubicBezTo>
                  <a:cubicBezTo>
                    <a:pt x="14668" y="11861"/>
                    <a:pt x="14736" y="11482"/>
                    <a:pt x="14783" y="10893"/>
                  </a:cubicBezTo>
                  <a:cubicBezTo>
                    <a:pt x="14783" y="10741"/>
                    <a:pt x="14841" y="10632"/>
                    <a:pt x="14956" y="10564"/>
                  </a:cubicBezTo>
                  <a:cubicBezTo>
                    <a:pt x="15014" y="10531"/>
                    <a:pt x="15114" y="10488"/>
                    <a:pt x="15258" y="10438"/>
                  </a:cubicBezTo>
                  <a:cubicBezTo>
                    <a:pt x="15383" y="10337"/>
                    <a:pt x="15479" y="10160"/>
                    <a:pt x="15546" y="9907"/>
                  </a:cubicBezTo>
                  <a:cubicBezTo>
                    <a:pt x="15623" y="9621"/>
                    <a:pt x="15665" y="9469"/>
                    <a:pt x="15675" y="9452"/>
                  </a:cubicBezTo>
                  <a:cubicBezTo>
                    <a:pt x="15742" y="9334"/>
                    <a:pt x="15852" y="9267"/>
                    <a:pt x="16006" y="9250"/>
                  </a:cubicBezTo>
                  <a:close/>
                  <a:moveTo>
                    <a:pt x="16006" y="925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8" name="AutoShape 35"/>
            <p:cNvSpPr>
              <a:spLocks/>
            </p:cNvSpPr>
            <p:nvPr/>
          </p:nvSpPr>
          <p:spPr bwMode="auto">
            <a:xfrm>
              <a:off x="7172573" y="2162532"/>
              <a:ext cx="17868" cy="14294"/>
            </a:xfrm>
            <a:custGeom>
              <a:avLst/>
              <a:gdLst/>
              <a:ahLst/>
              <a:cxnLst/>
              <a:rect l="0" t="0" r="r" b="b"/>
              <a:pathLst>
                <a:path w="21600" h="21600">
                  <a:moveTo>
                    <a:pt x="9568" y="0"/>
                  </a:moveTo>
                  <a:cubicBezTo>
                    <a:pt x="11696" y="0"/>
                    <a:pt x="14237" y="1700"/>
                    <a:pt x="17180" y="5101"/>
                  </a:cubicBezTo>
                  <a:cubicBezTo>
                    <a:pt x="20124" y="8299"/>
                    <a:pt x="21600" y="10999"/>
                    <a:pt x="21600" y="13201"/>
                  </a:cubicBezTo>
                  <a:cubicBezTo>
                    <a:pt x="21600" y="15400"/>
                    <a:pt x="19961" y="17399"/>
                    <a:pt x="16691" y="19199"/>
                  </a:cubicBezTo>
                  <a:cubicBezTo>
                    <a:pt x="13748" y="20800"/>
                    <a:pt x="11207" y="21600"/>
                    <a:pt x="9079" y="21600"/>
                  </a:cubicBezTo>
                  <a:cubicBezTo>
                    <a:pt x="5973" y="21600"/>
                    <a:pt x="3768" y="20999"/>
                    <a:pt x="2454" y="19800"/>
                  </a:cubicBezTo>
                  <a:cubicBezTo>
                    <a:pt x="815" y="18199"/>
                    <a:pt x="0" y="15599"/>
                    <a:pt x="0" y="11999"/>
                  </a:cubicBezTo>
                  <a:cubicBezTo>
                    <a:pt x="0" y="9402"/>
                    <a:pt x="815" y="6898"/>
                    <a:pt x="2454" y="4500"/>
                  </a:cubicBezTo>
                  <a:cubicBezTo>
                    <a:pt x="4257" y="1501"/>
                    <a:pt x="6625" y="0"/>
                    <a:pt x="9568" y="0"/>
                  </a:cubicBezTo>
                  <a:close/>
                  <a:moveTo>
                    <a:pt x="9568"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59" name="AutoShape 36"/>
            <p:cNvSpPr>
              <a:spLocks/>
            </p:cNvSpPr>
            <p:nvPr/>
          </p:nvSpPr>
          <p:spPr bwMode="auto">
            <a:xfrm>
              <a:off x="7164405" y="2093104"/>
              <a:ext cx="16336" cy="20420"/>
            </a:xfrm>
            <a:custGeom>
              <a:avLst/>
              <a:gdLst/>
              <a:ahLst/>
              <a:cxnLst/>
              <a:rect l="0" t="0" r="r" b="b"/>
              <a:pathLst>
                <a:path w="21600" h="21600">
                  <a:moveTo>
                    <a:pt x="11886" y="2753"/>
                  </a:moveTo>
                  <a:cubicBezTo>
                    <a:pt x="13321" y="5998"/>
                    <a:pt x="14038" y="8117"/>
                    <a:pt x="14038" y="9104"/>
                  </a:cubicBezTo>
                  <a:cubicBezTo>
                    <a:pt x="14945" y="9388"/>
                    <a:pt x="16021" y="9810"/>
                    <a:pt x="17286" y="10375"/>
                  </a:cubicBezTo>
                  <a:cubicBezTo>
                    <a:pt x="20166" y="11786"/>
                    <a:pt x="21600" y="13129"/>
                    <a:pt x="21600" y="14400"/>
                  </a:cubicBezTo>
                  <a:cubicBezTo>
                    <a:pt x="21600" y="15811"/>
                    <a:pt x="19986" y="17366"/>
                    <a:pt x="16738" y="19059"/>
                  </a:cubicBezTo>
                  <a:cubicBezTo>
                    <a:pt x="13500" y="20751"/>
                    <a:pt x="10441" y="21600"/>
                    <a:pt x="7562" y="21600"/>
                  </a:cubicBezTo>
                  <a:cubicBezTo>
                    <a:pt x="5759" y="21600"/>
                    <a:pt x="4145" y="21176"/>
                    <a:pt x="2700" y="20329"/>
                  </a:cubicBezTo>
                  <a:cubicBezTo>
                    <a:pt x="907" y="19340"/>
                    <a:pt x="0" y="17929"/>
                    <a:pt x="0" y="16093"/>
                  </a:cubicBezTo>
                  <a:cubicBezTo>
                    <a:pt x="0" y="5364"/>
                    <a:pt x="2257" y="0"/>
                    <a:pt x="6750" y="0"/>
                  </a:cubicBezTo>
                  <a:cubicBezTo>
                    <a:pt x="9271" y="0"/>
                    <a:pt x="10979" y="917"/>
                    <a:pt x="11886" y="2753"/>
                  </a:cubicBezTo>
                  <a:close/>
                  <a:moveTo>
                    <a:pt x="11886" y="275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0" name="AutoShape 37"/>
            <p:cNvSpPr>
              <a:spLocks/>
            </p:cNvSpPr>
            <p:nvPr/>
          </p:nvSpPr>
          <p:spPr bwMode="auto">
            <a:xfrm>
              <a:off x="7184825" y="2252381"/>
              <a:ext cx="105164" cy="61260"/>
            </a:xfrm>
            <a:custGeom>
              <a:avLst/>
              <a:gdLst/>
              <a:ahLst/>
              <a:cxnLst/>
              <a:rect l="0" t="0" r="r" b="b"/>
              <a:pathLst>
                <a:path w="21600" h="21600">
                  <a:moveTo>
                    <a:pt x="0" y="3219"/>
                  </a:moveTo>
                  <a:cubicBezTo>
                    <a:pt x="0" y="2599"/>
                    <a:pt x="153" y="1979"/>
                    <a:pt x="459" y="1360"/>
                  </a:cubicBezTo>
                  <a:cubicBezTo>
                    <a:pt x="765" y="739"/>
                    <a:pt x="1072" y="429"/>
                    <a:pt x="1379" y="429"/>
                  </a:cubicBezTo>
                  <a:lnTo>
                    <a:pt x="2799" y="1002"/>
                  </a:lnTo>
                  <a:cubicBezTo>
                    <a:pt x="3801" y="1336"/>
                    <a:pt x="4470" y="1502"/>
                    <a:pt x="4805" y="1502"/>
                  </a:cubicBezTo>
                  <a:cubicBezTo>
                    <a:pt x="5724" y="1502"/>
                    <a:pt x="6685" y="1597"/>
                    <a:pt x="7687" y="1788"/>
                  </a:cubicBezTo>
                  <a:cubicBezTo>
                    <a:pt x="7938" y="1788"/>
                    <a:pt x="8328" y="1502"/>
                    <a:pt x="8857" y="930"/>
                  </a:cubicBezTo>
                  <a:cubicBezTo>
                    <a:pt x="9358" y="310"/>
                    <a:pt x="9889" y="0"/>
                    <a:pt x="10445" y="0"/>
                  </a:cubicBezTo>
                  <a:cubicBezTo>
                    <a:pt x="10863" y="0"/>
                    <a:pt x="11447" y="167"/>
                    <a:pt x="12199" y="500"/>
                  </a:cubicBezTo>
                  <a:cubicBezTo>
                    <a:pt x="13118" y="882"/>
                    <a:pt x="13858" y="1360"/>
                    <a:pt x="14414" y="1931"/>
                  </a:cubicBezTo>
                  <a:cubicBezTo>
                    <a:pt x="14721" y="2218"/>
                    <a:pt x="15069" y="2599"/>
                    <a:pt x="15459" y="3075"/>
                  </a:cubicBezTo>
                  <a:cubicBezTo>
                    <a:pt x="15960" y="3743"/>
                    <a:pt x="16531" y="4578"/>
                    <a:pt x="17171" y="5578"/>
                  </a:cubicBezTo>
                  <a:cubicBezTo>
                    <a:pt x="17840" y="6627"/>
                    <a:pt x="18829" y="7939"/>
                    <a:pt x="20138" y="9512"/>
                  </a:cubicBezTo>
                  <a:cubicBezTo>
                    <a:pt x="21112" y="10895"/>
                    <a:pt x="21600" y="12278"/>
                    <a:pt x="21600" y="13661"/>
                  </a:cubicBezTo>
                  <a:cubicBezTo>
                    <a:pt x="21600" y="14948"/>
                    <a:pt x="20236" y="15592"/>
                    <a:pt x="17505" y="15592"/>
                  </a:cubicBezTo>
                  <a:cubicBezTo>
                    <a:pt x="15111" y="15592"/>
                    <a:pt x="13231" y="16593"/>
                    <a:pt x="11865" y="18596"/>
                  </a:cubicBezTo>
                  <a:cubicBezTo>
                    <a:pt x="10473" y="20598"/>
                    <a:pt x="9053" y="21600"/>
                    <a:pt x="7604" y="21600"/>
                  </a:cubicBezTo>
                  <a:cubicBezTo>
                    <a:pt x="7269" y="21600"/>
                    <a:pt x="6755" y="20980"/>
                    <a:pt x="6058" y="19741"/>
                  </a:cubicBezTo>
                  <a:cubicBezTo>
                    <a:pt x="5668" y="19072"/>
                    <a:pt x="5389" y="18548"/>
                    <a:pt x="5223" y="18167"/>
                  </a:cubicBezTo>
                  <a:cubicBezTo>
                    <a:pt x="5084" y="18119"/>
                    <a:pt x="4958" y="18000"/>
                    <a:pt x="4846" y="17809"/>
                  </a:cubicBezTo>
                  <a:cubicBezTo>
                    <a:pt x="4568" y="17380"/>
                    <a:pt x="4304" y="16546"/>
                    <a:pt x="4052" y="15306"/>
                  </a:cubicBezTo>
                  <a:cubicBezTo>
                    <a:pt x="3690" y="13541"/>
                    <a:pt x="3398" y="12492"/>
                    <a:pt x="3174" y="12158"/>
                  </a:cubicBezTo>
                  <a:cubicBezTo>
                    <a:pt x="2925" y="12016"/>
                    <a:pt x="2673" y="11873"/>
                    <a:pt x="2424" y="11730"/>
                  </a:cubicBezTo>
                  <a:cubicBezTo>
                    <a:pt x="2172" y="11539"/>
                    <a:pt x="1921" y="11348"/>
                    <a:pt x="1671" y="11158"/>
                  </a:cubicBezTo>
                  <a:cubicBezTo>
                    <a:pt x="725" y="10442"/>
                    <a:pt x="250" y="9655"/>
                    <a:pt x="250" y="8797"/>
                  </a:cubicBezTo>
                  <a:lnTo>
                    <a:pt x="459" y="6222"/>
                  </a:lnTo>
                  <a:cubicBezTo>
                    <a:pt x="459" y="5936"/>
                    <a:pt x="390" y="5459"/>
                    <a:pt x="250" y="4792"/>
                  </a:cubicBezTo>
                  <a:cubicBezTo>
                    <a:pt x="83" y="4125"/>
                    <a:pt x="0" y="3599"/>
                    <a:pt x="0" y="3219"/>
                  </a:cubicBezTo>
                  <a:close/>
                  <a:moveTo>
                    <a:pt x="0" y="321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1" name="AutoShape 38"/>
            <p:cNvSpPr>
              <a:spLocks/>
            </p:cNvSpPr>
            <p:nvPr/>
          </p:nvSpPr>
          <p:spPr bwMode="auto">
            <a:xfrm>
              <a:off x="6257240" y="2403490"/>
              <a:ext cx="1009777" cy="806086"/>
            </a:xfrm>
            <a:custGeom>
              <a:avLst/>
              <a:gdLst/>
              <a:ahLst/>
              <a:cxnLst/>
              <a:rect l="0" t="0" r="r" b="b"/>
              <a:pathLst>
                <a:path w="21600" h="21600">
                  <a:moveTo>
                    <a:pt x="839" y="1498"/>
                  </a:moveTo>
                  <a:cubicBezTo>
                    <a:pt x="842" y="1505"/>
                    <a:pt x="845" y="1514"/>
                    <a:pt x="848" y="1525"/>
                  </a:cubicBezTo>
                  <a:cubicBezTo>
                    <a:pt x="871" y="1638"/>
                    <a:pt x="910" y="1725"/>
                    <a:pt x="966" y="1787"/>
                  </a:cubicBezTo>
                  <a:cubicBezTo>
                    <a:pt x="986" y="1813"/>
                    <a:pt x="1057" y="1878"/>
                    <a:pt x="1180" y="1984"/>
                  </a:cubicBezTo>
                  <a:cubicBezTo>
                    <a:pt x="1276" y="2064"/>
                    <a:pt x="1373" y="2155"/>
                    <a:pt x="1472" y="2257"/>
                  </a:cubicBezTo>
                  <a:cubicBezTo>
                    <a:pt x="1574" y="2363"/>
                    <a:pt x="1641" y="2441"/>
                    <a:pt x="1673" y="2492"/>
                  </a:cubicBezTo>
                  <a:cubicBezTo>
                    <a:pt x="1828" y="2758"/>
                    <a:pt x="1965" y="2971"/>
                    <a:pt x="2084" y="3132"/>
                  </a:cubicBezTo>
                  <a:cubicBezTo>
                    <a:pt x="2154" y="3223"/>
                    <a:pt x="2259" y="3310"/>
                    <a:pt x="2399" y="3394"/>
                  </a:cubicBezTo>
                  <a:cubicBezTo>
                    <a:pt x="2474" y="3438"/>
                    <a:pt x="2567" y="3485"/>
                    <a:pt x="2678" y="3536"/>
                  </a:cubicBezTo>
                  <a:lnTo>
                    <a:pt x="2739" y="3536"/>
                  </a:lnTo>
                  <a:cubicBezTo>
                    <a:pt x="2742" y="3474"/>
                    <a:pt x="2745" y="3431"/>
                    <a:pt x="2748" y="3405"/>
                  </a:cubicBezTo>
                  <a:cubicBezTo>
                    <a:pt x="2751" y="3358"/>
                    <a:pt x="2780" y="3334"/>
                    <a:pt x="2835" y="3334"/>
                  </a:cubicBezTo>
                  <a:cubicBezTo>
                    <a:pt x="2870" y="3334"/>
                    <a:pt x="2924" y="3352"/>
                    <a:pt x="2997" y="3389"/>
                  </a:cubicBezTo>
                  <a:cubicBezTo>
                    <a:pt x="3061" y="3421"/>
                    <a:pt x="3114" y="3454"/>
                    <a:pt x="3154" y="3487"/>
                  </a:cubicBezTo>
                  <a:cubicBezTo>
                    <a:pt x="3204" y="3527"/>
                    <a:pt x="3242" y="3576"/>
                    <a:pt x="3268" y="3635"/>
                  </a:cubicBezTo>
                  <a:cubicBezTo>
                    <a:pt x="3285" y="3671"/>
                    <a:pt x="3313" y="3746"/>
                    <a:pt x="3351" y="3859"/>
                  </a:cubicBezTo>
                  <a:cubicBezTo>
                    <a:pt x="3389" y="3957"/>
                    <a:pt x="3446" y="4077"/>
                    <a:pt x="3521" y="4219"/>
                  </a:cubicBezTo>
                  <a:cubicBezTo>
                    <a:pt x="3580" y="4336"/>
                    <a:pt x="3609" y="4445"/>
                    <a:pt x="3609" y="4547"/>
                  </a:cubicBezTo>
                  <a:cubicBezTo>
                    <a:pt x="3609" y="4628"/>
                    <a:pt x="3594" y="4702"/>
                    <a:pt x="3565" y="4771"/>
                  </a:cubicBezTo>
                  <a:cubicBezTo>
                    <a:pt x="3530" y="4848"/>
                    <a:pt x="3488" y="4886"/>
                    <a:pt x="3438" y="4886"/>
                  </a:cubicBezTo>
                  <a:cubicBezTo>
                    <a:pt x="3357" y="4886"/>
                    <a:pt x="3268" y="4837"/>
                    <a:pt x="3172" y="4739"/>
                  </a:cubicBezTo>
                  <a:lnTo>
                    <a:pt x="3089" y="4739"/>
                  </a:lnTo>
                  <a:cubicBezTo>
                    <a:pt x="3083" y="4775"/>
                    <a:pt x="3079" y="4812"/>
                    <a:pt x="3076" y="4848"/>
                  </a:cubicBezTo>
                  <a:cubicBezTo>
                    <a:pt x="3067" y="4866"/>
                    <a:pt x="3041" y="4875"/>
                    <a:pt x="2997" y="4875"/>
                  </a:cubicBezTo>
                  <a:cubicBezTo>
                    <a:pt x="2977" y="4875"/>
                    <a:pt x="2956" y="4868"/>
                    <a:pt x="2936" y="4853"/>
                  </a:cubicBezTo>
                  <a:cubicBezTo>
                    <a:pt x="2913" y="4835"/>
                    <a:pt x="2889" y="4824"/>
                    <a:pt x="2866" y="4821"/>
                  </a:cubicBezTo>
                  <a:cubicBezTo>
                    <a:pt x="2860" y="4890"/>
                    <a:pt x="2822" y="4959"/>
                    <a:pt x="2752" y="5028"/>
                  </a:cubicBezTo>
                  <a:cubicBezTo>
                    <a:pt x="2685" y="5098"/>
                    <a:pt x="2652" y="5147"/>
                    <a:pt x="2652" y="5176"/>
                  </a:cubicBezTo>
                  <a:cubicBezTo>
                    <a:pt x="2876" y="5522"/>
                    <a:pt x="2996" y="5695"/>
                    <a:pt x="3010" y="5695"/>
                  </a:cubicBezTo>
                  <a:cubicBezTo>
                    <a:pt x="3025" y="5695"/>
                    <a:pt x="3048" y="5686"/>
                    <a:pt x="3080" y="5668"/>
                  </a:cubicBezTo>
                  <a:lnTo>
                    <a:pt x="3176" y="5755"/>
                  </a:lnTo>
                  <a:cubicBezTo>
                    <a:pt x="3237" y="5814"/>
                    <a:pt x="3280" y="5841"/>
                    <a:pt x="3303" y="5837"/>
                  </a:cubicBezTo>
                  <a:cubicBezTo>
                    <a:pt x="3350" y="5830"/>
                    <a:pt x="3399" y="5839"/>
                    <a:pt x="3451" y="5865"/>
                  </a:cubicBezTo>
                  <a:cubicBezTo>
                    <a:pt x="3484" y="5883"/>
                    <a:pt x="3536" y="5912"/>
                    <a:pt x="3609" y="5952"/>
                  </a:cubicBezTo>
                  <a:cubicBezTo>
                    <a:pt x="3658" y="5974"/>
                    <a:pt x="3783" y="6018"/>
                    <a:pt x="3984" y="6083"/>
                  </a:cubicBezTo>
                  <a:cubicBezTo>
                    <a:pt x="4183" y="6145"/>
                    <a:pt x="4286" y="6176"/>
                    <a:pt x="4295" y="6176"/>
                  </a:cubicBezTo>
                  <a:cubicBezTo>
                    <a:pt x="4315" y="6176"/>
                    <a:pt x="4331" y="6169"/>
                    <a:pt x="4343" y="6154"/>
                  </a:cubicBezTo>
                  <a:cubicBezTo>
                    <a:pt x="4357" y="6140"/>
                    <a:pt x="4378" y="6132"/>
                    <a:pt x="4404" y="6132"/>
                  </a:cubicBezTo>
                  <a:cubicBezTo>
                    <a:pt x="4445" y="6132"/>
                    <a:pt x="4506" y="6176"/>
                    <a:pt x="4587" y="6264"/>
                  </a:cubicBezTo>
                  <a:lnTo>
                    <a:pt x="4780" y="6285"/>
                  </a:lnTo>
                  <a:cubicBezTo>
                    <a:pt x="4794" y="6285"/>
                    <a:pt x="4817" y="6253"/>
                    <a:pt x="4850" y="6187"/>
                  </a:cubicBezTo>
                  <a:cubicBezTo>
                    <a:pt x="4882" y="6118"/>
                    <a:pt x="4905" y="6083"/>
                    <a:pt x="4919" y="6083"/>
                  </a:cubicBezTo>
                  <a:cubicBezTo>
                    <a:pt x="4960" y="6083"/>
                    <a:pt x="4981" y="6114"/>
                    <a:pt x="4981" y="6176"/>
                  </a:cubicBezTo>
                  <a:lnTo>
                    <a:pt x="4954" y="6285"/>
                  </a:lnTo>
                  <a:lnTo>
                    <a:pt x="5007" y="6296"/>
                  </a:lnTo>
                  <a:cubicBezTo>
                    <a:pt x="5074" y="6296"/>
                    <a:pt x="5160" y="6244"/>
                    <a:pt x="5265" y="6138"/>
                  </a:cubicBezTo>
                  <a:cubicBezTo>
                    <a:pt x="5369" y="6029"/>
                    <a:pt x="5463" y="5974"/>
                    <a:pt x="5544" y="5974"/>
                  </a:cubicBezTo>
                  <a:cubicBezTo>
                    <a:pt x="5626" y="5974"/>
                    <a:pt x="5674" y="6038"/>
                    <a:pt x="5688" y="6165"/>
                  </a:cubicBezTo>
                  <a:cubicBezTo>
                    <a:pt x="5706" y="6329"/>
                    <a:pt x="5733" y="6429"/>
                    <a:pt x="5771" y="6466"/>
                  </a:cubicBezTo>
                  <a:cubicBezTo>
                    <a:pt x="5795" y="6488"/>
                    <a:pt x="5841" y="6499"/>
                    <a:pt x="5911" y="6499"/>
                  </a:cubicBezTo>
                  <a:cubicBezTo>
                    <a:pt x="5984" y="6502"/>
                    <a:pt x="6029" y="6513"/>
                    <a:pt x="6047" y="6531"/>
                  </a:cubicBezTo>
                  <a:cubicBezTo>
                    <a:pt x="6090" y="6579"/>
                    <a:pt x="6116" y="6613"/>
                    <a:pt x="6125" y="6635"/>
                  </a:cubicBezTo>
                  <a:cubicBezTo>
                    <a:pt x="6140" y="6675"/>
                    <a:pt x="6153" y="6754"/>
                    <a:pt x="6165" y="6870"/>
                  </a:cubicBezTo>
                  <a:cubicBezTo>
                    <a:pt x="6188" y="6863"/>
                    <a:pt x="6213" y="6865"/>
                    <a:pt x="6239" y="6876"/>
                  </a:cubicBezTo>
                  <a:cubicBezTo>
                    <a:pt x="6274" y="6890"/>
                    <a:pt x="6291" y="6914"/>
                    <a:pt x="6291" y="6947"/>
                  </a:cubicBezTo>
                  <a:cubicBezTo>
                    <a:pt x="6291" y="6958"/>
                    <a:pt x="6278" y="6987"/>
                    <a:pt x="6252" y="7034"/>
                  </a:cubicBezTo>
                  <a:cubicBezTo>
                    <a:pt x="6223" y="7085"/>
                    <a:pt x="6208" y="7114"/>
                    <a:pt x="6208" y="7122"/>
                  </a:cubicBezTo>
                  <a:cubicBezTo>
                    <a:pt x="6208" y="7151"/>
                    <a:pt x="6265" y="7226"/>
                    <a:pt x="6379" y="7346"/>
                  </a:cubicBezTo>
                  <a:cubicBezTo>
                    <a:pt x="6492" y="7466"/>
                    <a:pt x="6549" y="7572"/>
                    <a:pt x="6549" y="7663"/>
                  </a:cubicBezTo>
                  <a:cubicBezTo>
                    <a:pt x="6549" y="7768"/>
                    <a:pt x="6494" y="7825"/>
                    <a:pt x="6383" y="7832"/>
                  </a:cubicBezTo>
                  <a:cubicBezTo>
                    <a:pt x="6272" y="7839"/>
                    <a:pt x="6217" y="7876"/>
                    <a:pt x="6217" y="7942"/>
                  </a:cubicBezTo>
                  <a:cubicBezTo>
                    <a:pt x="6217" y="7996"/>
                    <a:pt x="6234" y="8042"/>
                    <a:pt x="6269" y="8078"/>
                  </a:cubicBezTo>
                  <a:cubicBezTo>
                    <a:pt x="6313" y="8133"/>
                    <a:pt x="6344" y="8182"/>
                    <a:pt x="6361" y="8226"/>
                  </a:cubicBezTo>
                  <a:cubicBezTo>
                    <a:pt x="6364" y="8237"/>
                    <a:pt x="6368" y="8291"/>
                    <a:pt x="6374" y="8390"/>
                  </a:cubicBezTo>
                  <a:cubicBezTo>
                    <a:pt x="6383" y="8488"/>
                    <a:pt x="6408" y="8537"/>
                    <a:pt x="6449" y="8537"/>
                  </a:cubicBezTo>
                  <a:cubicBezTo>
                    <a:pt x="6466" y="8537"/>
                    <a:pt x="6482" y="8501"/>
                    <a:pt x="6497" y="8428"/>
                  </a:cubicBezTo>
                  <a:cubicBezTo>
                    <a:pt x="6514" y="8351"/>
                    <a:pt x="6543" y="8313"/>
                    <a:pt x="6584" y="8313"/>
                  </a:cubicBezTo>
                  <a:cubicBezTo>
                    <a:pt x="6601" y="8313"/>
                    <a:pt x="6625" y="8324"/>
                    <a:pt x="6654" y="8346"/>
                  </a:cubicBezTo>
                  <a:cubicBezTo>
                    <a:pt x="6683" y="8364"/>
                    <a:pt x="6700" y="8373"/>
                    <a:pt x="6706" y="8373"/>
                  </a:cubicBezTo>
                  <a:cubicBezTo>
                    <a:pt x="6727" y="8373"/>
                    <a:pt x="6740" y="8359"/>
                    <a:pt x="6746" y="8330"/>
                  </a:cubicBezTo>
                  <a:cubicBezTo>
                    <a:pt x="6751" y="8300"/>
                    <a:pt x="6762" y="8284"/>
                    <a:pt x="6776" y="8280"/>
                  </a:cubicBezTo>
                  <a:cubicBezTo>
                    <a:pt x="6829" y="8280"/>
                    <a:pt x="6855" y="8266"/>
                    <a:pt x="6855" y="8237"/>
                  </a:cubicBezTo>
                  <a:cubicBezTo>
                    <a:pt x="6855" y="8222"/>
                    <a:pt x="6845" y="8191"/>
                    <a:pt x="6824" y="8144"/>
                  </a:cubicBezTo>
                  <a:cubicBezTo>
                    <a:pt x="6804" y="8096"/>
                    <a:pt x="6794" y="8067"/>
                    <a:pt x="6794" y="8056"/>
                  </a:cubicBezTo>
                  <a:cubicBezTo>
                    <a:pt x="6794" y="8034"/>
                    <a:pt x="6801" y="8016"/>
                    <a:pt x="6816" y="8002"/>
                  </a:cubicBezTo>
                  <a:cubicBezTo>
                    <a:pt x="6830" y="7987"/>
                    <a:pt x="6837" y="7967"/>
                    <a:pt x="6837" y="7942"/>
                  </a:cubicBezTo>
                  <a:cubicBezTo>
                    <a:pt x="6837" y="7887"/>
                    <a:pt x="6807" y="7819"/>
                    <a:pt x="6746" y="7739"/>
                  </a:cubicBezTo>
                  <a:cubicBezTo>
                    <a:pt x="6682" y="7659"/>
                    <a:pt x="6650" y="7559"/>
                    <a:pt x="6650" y="7439"/>
                  </a:cubicBezTo>
                  <a:cubicBezTo>
                    <a:pt x="6650" y="7410"/>
                    <a:pt x="6663" y="7364"/>
                    <a:pt x="6689" y="7302"/>
                  </a:cubicBezTo>
                  <a:cubicBezTo>
                    <a:pt x="6715" y="7240"/>
                    <a:pt x="6728" y="7198"/>
                    <a:pt x="6728" y="7176"/>
                  </a:cubicBezTo>
                  <a:cubicBezTo>
                    <a:pt x="6728" y="7122"/>
                    <a:pt x="6708" y="7038"/>
                    <a:pt x="6667" y="6925"/>
                  </a:cubicBezTo>
                  <a:cubicBezTo>
                    <a:pt x="6626" y="6816"/>
                    <a:pt x="6606" y="6754"/>
                    <a:pt x="6606" y="6739"/>
                  </a:cubicBezTo>
                  <a:cubicBezTo>
                    <a:pt x="6606" y="6663"/>
                    <a:pt x="6644" y="6608"/>
                    <a:pt x="6719" y="6575"/>
                  </a:cubicBezTo>
                  <a:cubicBezTo>
                    <a:pt x="6810" y="6535"/>
                    <a:pt x="6867" y="6488"/>
                    <a:pt x="6890" y="6433"/>
                  </a:cubicBezTo>
                  <a:cubicBezTo>
                    <a:pt x="6913" y="6378"/>
                    <a:pt x="6932" y="6318"/>
                    <a:pt x="6947" y="6253"/>
                  </a:cubicBezTo>
                  <a:cubicBezTo>
                    <a:pt x="6961" y="6216"/>
                    <a:pt x="7005" y="6198"/>
                    <a:pt x="7078" y="6198"/>
                  </a:cubicBezTo>
                  <a:lnTo>
                    <a:pt x="7178" y="6220"/>
                  </a:lnTo>
                  <a:cubicBezTo>
                    <a:pt x="7201" y="6220"/>
                    <a:pt x="7220" y="6207"/>
                    <a:pt x="7235" y="6182"/>
                  </a:cubicBezTo>
                  <a:cubicBezTo>
                    <a:pt x="7252" y="6152"/>
                    <a:pt x="7273" y="6134"/>
                    <a:pt x="7296" y="6127"/>
                  </a:cubicBezTo>
                  <a:cubicBezTo>
                    <a:pt x="7340" y="6112"/>
                    <a:pt x="7395" y="6116"/>
                    <a:pt x="7462" y="6138"/>
                  </a:cubicBezTo>
                  <a:cubicBezTo>
                    <a:pt x="7494" y="6138"/>
                    <a:pt x="7516" y="6116"/>
                    <a:pt x="7528" y="6072"/>
                  </a:cubicBezTo>
                  <a:cubicBezTo>
                    <a:pt x="7539" y="6018"/>
                    <a:pt x="7552" y="5983"/>
                    <a:pt x="7567" y="5968"/>
                  </a:cubicBezTo>
                  <a:cubicBezTo>
                    <a:pt x="7582" y="5954"/>
                    <a:pt x="7609" y="5934"/>
                    <a:pt x="7650" y="5908"/>
                  </a:cubicBezTo>
                  <a:cubicBezTo>
                    <a:pt x="7676" y="5890"/>
                    <a:pt x="7694" y="5870"/>
                    <a:pt x="7702" y="5848"/>
                  </a:cubicBezTo>
                  <a:cubicBezTo>
                    <a:pt x="7729" y="5775"/>
                    <a:pt x="7774" y="5697"/>
                    <a:pt x="7838" y="5613"/>
                  </a:cubicBezTo>
                  <a:cubicBezTo>
                    <a:pt x="7884" y="5551"/>
                    <a:pt x="7908" y="5489"/>
                    <a:pt x="7908" y="5427"/>
                  </a:cubicBezTo>
                  <a:cubicBezTo>
                    <a:pt x="7908" y="5362"/>
                    <a:pt x="7839" y="5329"/>
                    <a:pt x="7702" y="5329"/>
                  </a:cubicBezTo>
                  <a:cubicBezTo>
                    <a:pt x="7691" y="5329"/>
                    <a:pt x="7656" y="5369"/>
                    <a:pt x="7598" y="5449"/>
                  </a:cubicBezTo>
                  <a:cubicBezTo>
                    <a:pt x="7536" y="5533"/>
                    <a:pt x="7503" y="5591"/>
                    <a:pt x="7497" y="5624"/>
                  </a:cubicBezTo>
                  <a:cubicBezTo>
                    <a:pt x="7485" y="5686"/>
                    <a:pt x="7461" y="5719"/>
                    <a:pt x="7423" y="5722"/>
                  </a:cubicBezTo>
                  <a:cubicBezTo>
                    <a:pt x="7382" y="5715"/>
                    <a:pt x="7350" y="5712"/>
                    <a:pt x="7327" y="5712"/>
                  </a:cubicBezTo>
                  <a:cubicBezTo>
                    <a:pt x="7318" y="5712"/>
                    <a:pt x="7298" y="5735"/>
                    <a:pt x="7266" y="5783"/>
                  </a:cubicBezTo>
                  <a:cubicBezTo>
                    <a:pt x="7233" y="5826"/>
                    <a:pt x="7206" y="5848"/>
                    <a:pt x="7183" y="5848"/>
                  </a:cubicBezTo>
                  <a:cubicBezTo>
                    <a:pt x="7156" y="5848"/>
                    <a:pt x="7116" y="5826"/>
                    <a:pt x="7060" y="5783"/>
                  </a:cubicBezTo>
                  <a:cubicBezTo>
                    <a:pt x="7005" y="5735"/>
                    <a:pt x="6958" y="5712"/>
                    <a:pt x="6920" y="5712"/>
                  </a:cubicBezTo>
                  <a:cubicBezTo>
                    <a:pt x="6859" y="5712"/>
                    <a:pt x="6829" y="5737"/>
                    <a:pt x="6829" y="5788"/>
                  </a:cubicBezTo>
                  <a:cubicBezTo>
                    <a:pt x="6829" y="5810"/>
                    <a:pt x="6840" y="5846"/>
                    <a:pt x="6864" y="5897"/>
                  </a:cubicBezTo>
                  <a:cubicBezTo>
                    <a:pt x="6887" y="5948"/>
                    <a:pt x="6899" y="5977"/>
                    <a:pt x="6899" y="5985"/>
                  </a:cubicBezTo>
                  <a:cubicBezTo>
                    <a:pt x="6899" y="6014"/>
                    <a:pt x="6884" y="6029"/>
                    <a:pt x="6855" y="6029"/>
                  </a:cubicBezTo>
                  <a:cubicBezTo>
                    <a:pt x="6814" y="6029"/>
                    <a:pt x="6722" y="5972"/>
                    <a:pt x="6580" y="5859"/>
                  </a:cubicBezTo>
                  <a:cubicBezTo>
                    <a:pt x="6440" y="5746"/>
                    <a:pt x="6370" y="5675"/>
                    <a:pt x="6370" y="5646"/>
                  </a:cubicBezTo>
                  <a:cubicBezTo>
                    <a:pt x="6370" y="5631"/>
                    <a:pt x="6406" y="5568"/>
                    <a:pt x="6479" y="5455"/>
                  </a:cubicBezTo>
                  <a:cubicBezTo>
                    <a:pt x="6543" y="5356"/>
                    <a:pt x="6580" y="5300"/>
                    <a:pt x="6588" y="5285"/>
                  </a:cubicBezTo>
                  <a:cubicBezTo>
                    <a:pt x="6620" y="5212"/>
                    <a:pt x="6647" y="5167"/>
                    <a:pt x="6667" y="5149"/>
                  </a:cubicBezTo>
                  <a:cubicBezTo>
                    <a:pt x="6687" y="5130"/>
                    <a:pt x="6722" y="5121"/>
                    <a:pt x="6772" y="5121"/>
                  </a:cubicBezTo>
                  <a:cubicBezTo>
                    <a:pt x="6856" y="5121"/>
                    <a:pt x="6983" y="5132"/>
                    <a:pt x="7152" y="5154"/>
                  </a:cubicBezTo>
                  <a:cubicBezTo>
                    <a:pt x="7207" y="5154"/>
                    <a:pt x="7331" y="5103"/>
                    <a:pt x="7523" y="5001"/>
                  </a:cubicBezTo>
                  <a:cubicBezTo>
                    <a:pt x="7718" y="4899"/>
                    <a:pt x="7835" y="4848"/>
                    <a:pt x="7873" y="4848"/>
                  </a:cubicBezTo>
                  <a:cubicBezTo>
                    <a:pt x="7948" y="4848"/>
                    <a:pt x="8005" y="4863"/>
                    <a:pt x="8043" y="4892"/>
                  </a:cubicBezTo>
                  <a:cubicBezTo>
                    <a:pt x="8069" y="4910"/>
                    <a:pt x="8115" y="4963"/>
                    <a:pt x="8179" y="5050"/>
                  </a:cubicBezTo>
                  <a:cubicBezTo>
                    <a:pt x="8202" y="5083"/>
                    <a:pt x="8214" y="5154"/>
                    <a:pt x="8214" y="5263"/>
                  </a:cubicBezTo>
                  <a:cubicBezTo>
                    <a:pt x="8214" y="5282"/>
                    <a:pt x="8222" y="5309"/>
                    <a:pt x="8240" y="5345"/>
                  </a:cubicBezTo>
                  <a:cubicBezTo>
                    <a:pt x="8257" y="5385"/>
                    <a:pt x="8266" y="5418"/>
                    <a:pt x="8266" y="5444"/>
                  </a:cubicBezTo>
                  <a:cubicBezTo>
                    <a:pt x="8266" y="5466"/>
                    <a:pt x="8243" y="5518"/>
                    <a:pt x="8196" y="5602"/>
                  </a:cubicBezTo>
                  <a:cubicBezTo>
                    <a:pt x="8150" y="5690"/>
                    <a:pt x="8126" y="5735"/>
                    <a:pt x="8126" y="5739"/>
                  </a:cubicBezTo>
                  <a:cubicBezTo>
                    <a:pt x="8126" y="5779"/>
                    <a:pt x="8193" y="5859"/>
                    <a:pt x="8327" y="5979"/>
                  </a:cubicBezTo>
                  <a:cubicBezTo>
                    <a:pt x="8461" y="6100"/>
                    <a:pt x="8528" y="6187"/>
                    <a:pt x="8528" y="6242"/>
                  </a:cubicBezTo>
                  <a:lnTo>
                    <a:pt x="8511" y="6378"/>
                  </a:lnTo>
                  <a:cubicBezTo>
                    <a:pt x="8511" y="6509"/>
                    <a:pt x="8623" y="6575"/>
                    <a:pt x="8847" y="6575"/>
                  </a:cubicBezTo>
                  <a:cubicBezTo>
                    <a:pt x="8946" y="6575"/>
                    <a:pt x="9044" y="6535"/>
                    <a:pt x="9140" y="6455"/>
                  </a:cubicBezTo>
                  <a:cubicBezTo>
                    <a:pt x="9154" y="6455"/>
                    <a:pt x="9191" y="6473"/>
                    <a:pt x="9249" y="6509"/>
                  </a:cubicBezTo>
                  <a:cubicBezTo>
                    <a:pt x="9319" y="6553"/>
                    <a:pt x="9354" y="6591"/>
                    <a:pt x="9354" y="6624"/>
                  </a:cubicBezTo>
                  <a:cubicBezTo>
                    <a:pt x="9354" y="6628"/>
                    <a:pt x="9338" y="6672"/>
                    <a:pt x="9306" y="6755"/>
                  </a:cubicBezTo>
                  <a:cubicBezTo>
                    <a:pt x="9306" y="6806"/>
                    <a:pt x="9342" y="6876"/>
                    <a:pt x="9415" y="6963"/>
                  </a:cubicBezTo>
                  <a:cubicBezTo>
                    <a:pt x="9453" y="7007"/>
                    <a:pt x="9495" y="7054"/>
                    <a:pt x="9542" y="7105"/>
                  </a:cubicBezTo>
                  <a:cubicBezTo>
                    <a:pt x="9545" y="7109"/>
                    <a:pt x="9572" y="7160"/>
                    <a:pt x="9625" y="7258"/>
                  </a:cubicBezTo>
                  <a:cubicBezTo>
                    <a:pt x="9683" y="7357"/>
                    <a:pt x="9729" y="7406"/>
                    <a:pt x="9764" y="7406"/>
                  </a:cubicBezTo>
                  <a:cubicBezTo>
                    <a:pt x="9779" y="7406"/>
                    <a:pt x="9805" y="7391"/>
                    <a:pt x="9843" y="7362"/>
                  </a:cubicBezTo>
                  <a:cubicBezTo>
                    <a:pt x="9884" y="7333"/>
                    <a:pt x="9910" y="7318"/>
                    <a:pt x="9922" y="7318"/>
                  </a:cubicBezTo>
                  <a:cubicBezTo>
                    <a:pt x="9945" y="7318"/>
                    <a:pt x="9989" y="7340"/>
                    <a:pt x="10053" y="7384"/>
                  </a:cubicBezTo>
                  <a:cubicBezTo>
                    <a:pt x="10117" y="7428"/>
                    <a:pt x="10168" y="7450"/>
                    <a:pt x="10206" y="7450"/>
                  </a:cubicBezTo>
                  <a:cubicBezTo>
                    <a:pt x="10244" y="7450"/>
                    <a:pt x="10270" y="7439"/>
                    <a:pt x="10284" y="7417"/>
                  </a:cubicBezTo>
                  <a:cubicBezTo>
                    <a:pt x="10302" y="7395"/>
                    <a:pt x="10328" y="7384"/>
                    <a:pt x="10363" y="7384"/>
                  </a:cubicBezTo>
                  <a:cubicBezTo>
                    <a:pt x="10401" y="7384"/>
                    <a:pt x="10442" y="7397"/>
                    <a:pt x="10485" y="7422"/>
                  </a:cubicBezTo>
                  <a:cubicBezTo>
                    <a:pt x="10526" y="7448"/>
                    <a:pt x="10576" y="7461"/>
                    <a:pt x="10634" y="7461"/>
                  </a:cubicBezTo>
                  <a:cubicBezTo>
                    <a:pt x="10701" y="7461"/>
                    <a:pt x="10753" y="7433"/>
                    <a:pt x="10791" y="7379"/>
                  </a:cubicBezTo>
                  <a:cubicBezTo>
                    <a:pt x="10829" y="7324"/>
                    <a:pt x="10880" y="7297"/>
                    <a:pt x="10944" y="7297"/>
                  </a:cubicBezTo>
                  <a:cubicBezTo>
                    <a:pt x="11020" y="7297"/>
                    <a:pt x="11146" y="7338"/>
                    <a:pt x="11324" y="7422"/>
                  </a:cubicBezTo>
                  <a:cubicBezTo>
                    <a:pt x="11502" y="7502"/>
                    <a:pt x="11610" y="7543"/>
                    <a:pt x="11648" y="7543"/>
                  </a:cubicBezTo>
                  <a:cubicBezTo>
                    <a:pt x="11822" y="7543"/>
                    <a:pt x="11910" y="7479"/>
                    <a:pt x="11910" y="7351"/>
                  </a:cubicBezTo>
                  <a:cubicBezTo>
                    <a:pt x="11910" y="7311"/>
                    <a:pt x="11894" y="7255"/>
                    <a:pt x="11862" y="7182"/>
                  </a:cubicBezTo>
                  <a:cubicBezTo>
                    <a:pt x="11827" y="7105"/>
                    <a:pt x="11809" y="7060"/>
                    <a:pt x="11809" y="7045"/>
                  </a:cubicBezTo>
                  <a:cubicBezTo>
                    <a:pt x="11809" y="7020"/>
                    <a:pt x="11818" y="6998"/>
                    <a:pt x="11835" y="6980"/>
                  </a:cubicBezTo>
                  <a:cubicBezTo>
                    <a:pt x="11853" y="6958"/>
                    <a:pt x="11875" y="6947"/>
                    <a:pt x="11901" y="6947"/>
                  </a:cubicBezTo>
                  <a:cubicBezTo>
                    <a:pt x="11936" y="6947"/>
                    <a:pt x="11979" y="6985"/>
                    <a:pt x="12032" y="7062"/>
                  </a:cubicBezTo>
                  <a:cubicBezTo>
                    <a:pt x="12087" y="7142"/>
                    <a:pt x="12115" y="7215"/>
                    <a:pt x="12115" y="7280"/>
                  </a:cubicBezTo>
                  <a:lnTo>
                    <a:pt x="12098" y="7450"/>
                  </a:lnTo>
                  <a:cubicBezTo>
                    <a:pt x="12098" y="7504"/>
                    <a:pt x="12108" y="7543"/>
                    <a:pt x="12128" y="7564"/>
                  </a:cubicBezTo>
                  <a:cubicBezTo>
                    <a:pt x="12143" y="7579"/>
                    <a:pt x="12186" y="7612"/>
                    <a:pt x="12259" y="7663"/>
                  </a:cubicBezTo>
                  <a:cubicBezTo>
                    <a:pt x="12282" y="7681"/>
                    <a:pt x="12314" y="7716"/>
                    <a:pt x="12355" y="7767"/>
                  </a:cubicBezTo>
                  <a:cubicBezTo>
                    <a:pt x="12373" y="7788"/>
                    <a:pt x="12402" y="7799"/>
                    <a:pt x="12443" y="7799"/>
                  </a:cubicBezTo>
                  <a:cubicBezTo>
                    <a:pt x="12495" y="7799"/>
                    <a:pt x="12547" y="7765"/>
                    <a:pt x="12600" y="7696"/>
                  </a:cubicBezTo>
                  <a:cubicBezTo>
                    <a:pt x="12647" y="7630"/>
                    <a:pt x="12670" y="7575"/>
                    <a:pt x="12670" y="7532"/>
                  </a:cubicBezTo>
                  <a:cubicBezTo>
                    <a:pt x="12670" y="7404"/>
                    <a:pt x="12648" y="7311"/>
                    <a:pt x="12604" y="7253"/>
                  </a:cubicBezTo>
                  <a:cubicBezTo>
                    <a:pt x="12558" y="7191"/>
                    <a:pt x="12466" y="7134"/>
                    <a:pt x="12329" y="7083"/>
                  </a:cubicBezTo>
                  <a:cubicBezTo>
                    <a:pt x="12210" y="7018"/>
                    <a:pt x="12122" y="6961"/>
                    <a:pt x="12067" y="6914"/>
                  </a:cubicBezTo>
                  <a:cubicBezTo>
                    <a:pt x="12014" y="6870"/>
                    <a:pt x="11988" y="6834"/>
                    <a:pt x="11988" y="6805"/>
                  </a:cubicBezTo>
                  <a:lnTo>
                    <a:pt x="12006" y="6673"/>
                  </a:lnTo>
                  <a:cubicBezTo>
                    <a:pt x="12006" y="6644"/>
                    <a:pt x="11978" y="6593"/>
                    <a:pt x="11923" y="6520"/>
                  </a:cubicBezTo>
                  <a:cubicBezTo>
                    <a:pt x="11864" y="6448"/>
                    <a:pt x="11835" y="6398"/>
                    <a:pt x="11835" y="6373"/>
                  </a:cubicBezTo>
                  <a:cubicBezTo>
                    <a:pt x="11835" y="6329"/>
                    <a:pt x="11864" y="6307"/>
                    <a:pt x="11923" y="6307"/>
                  </a:cubicBezTo>
                  <a:cubicBezTo>
                    <a:pt x="11975" y="6307"/>
                    <a:pt x="12012" y="6322"/>
                    <a:pt x="12032" y="6351"/>
                  </a:cubicBezTo>
                  <a:cubicBezTo>
                    <a:pt x="12052" y="6380"/>
                    <a:pt x="12079" y="6395"/>
                    <a:pt x="12111" y="6395"/>
                  </a:cubicBezTo>
                  <a:cubicBezTo>
                    <a:pt x="12146" y="6395"/>
                    <a:pt x="12189" y="6369"/>
                    <a:pt x="12242" y="6318"/>
                  </a:cubicBezTo>
                  <a:cubicBezTo>
                    <a:pt x="12294" y="6267"/>
                    <a:pt x="12320" y="6227"/>
                    <a:pt x="12320" y="6198"/>
                  </a:cubicBezTo>
                  <a:cubicBezTo>
                    <a:pt x="12309" y="6165"/>
                    <a:pt x="12303" y="6138"/>
                    <a:pt x="12303" y="6116"/>
                  </a:cubicBezTo>
                  <a:lnTo>
                    <a:pt x="12364" y="6116"/>
                  </a:lnTo>
                  <a:cubicBezTo>
                    <a:pt x="12422" y="6141"/>
                    <a:pt x="12472" y="6196"/>
                    <a:pt x="12513" y="6280"/>
                  </a:cubicBezTo>
                  <a:cubicBezTo>
                    <a:pt x="12551" y="6360"/>
                    <a:pt x="12585" y="6402"/>
                    <a:pt x="12617" y="6406"/>
                  </a:cubicBezTo>
                  <a:cubicBezTo>
                    <a:pt x="12635" y="6369"/>
                    <a:pt x="12644" y="6336"/>
                    <a:pt x="12644" y="6307"/>
                  </a:cubicBezTo>
                  <a:lnTo>
                    <a:pt x="12661" y="6296"/>
                  </a:lnTo>
                  <a:cubicBezTo>
                    <a:pt x="12696" y="6296"/>
                    <a:pt x="12725" y="6340"/>
                    <a:pt x="12748" y="6427"/>
                  </a:cubicBezTo>
                  <a:cubicBezTo>
                    <a:pt x="12775" y="6522"/>
                    <a:pt x="12797" y="6575"/>
                    <a:pt x="12814" y="6586"/>
                  </a:cubicBezTo>
                  <a:cubicBezTo>
                    <a:pt x="12834" y="6597"/>
                    <a:pt x="12884" y="6606"/>
                    <a:pt x="12962" y="6613"/>
                  </a:cubicBezTo>
                  <a:cubicBezTo>
                    <a:pt x="13012" y="6617"/>
                    <a:pt x="13037" y="6644"/>
                    <a:pt x="13037" y="6695"/>
                  </a:cubicBezTo>
                  <a:cubicBezTo>
                    <a:pt x="13037" y="6732"/>
                    <a:pt x="13018" y="6776"/>
                    <a:pt x="12980" y="6826"/>
                  </a:cubicBezTo>
                  <a:cubicBezTo>
                    <a:pt x="12945" y="6870"/>
                    <a:pt x="12926" y="6912"/>
                    <a:pt x="12923" y="6952"/>
                  </a:cubicBezTo>
                  <a:cubicBezTo>
                    <a:pt x="12920" y="6959"/>
                    <a:pt x="12919" y="6967"/>
                    <a:pt x="12919" y="6974"/>
                  </a:cubicBezTo>
                  <a:cubicBezTo>
                    <a:pt x="12919" y="7014"/>
                    <a:pt x="12932" y="7043"/>
                    <a:pt x="12958" y="7062"/>
                  </a:cubicBezTo>
                  <a:cubicBezTo>
                    <a:pt x="12976" y="7076"/>
                    <a:pt x="12996" y="7083"/>
                    <a:pt x="13019" y="7083"/>
                  </a:cubicBezTo>
                  <a:cubicBezTo>
                    <a:pt x="13028" y="7083"/>
                    <a:pt x="13041" y="7045"/>
                    <a:pt x="13059" y="6969"/>
                  </a:cubicBezTo>
                  <a:cubicBezTo>
                    <a:pt x="13062" y="6950"/>
                    <a:pt x="13066" y="6934"/>
                    <a:pt x="13072" y="6919"/>
                  </a:cubicBezTo>
                  <a:cubicBezTo>
                    <a:pt x="13086" y="6868"/>
                    <a:pt x="13102" y="6839"/>
                    <a:pt x="13120" y="6832"/>
                  </a:cubicBezTo>
                  <a:cubicBezTo>
                    <a:pt x="13126" y="6828"/>
                    <a:pt x="13156" y="6816"/>
                    <a:pt x="13212" y="6794"/>
                  </a:cubicBezTo>
                  <a:cubicBezTo>
                    <a:pt x="13258" y="6772"/>
                    <a:pt x="13287" y="6752"/>
                    <a:pt x="13299" y="6734"/>
                  </a:cubicBezTo>
                  <a:lnTo>
                    <a:pt x="13316" y="6734"/>
                  </a:lnTo>
                  <a:lnTo>
                    <a:pt x="13334" y="6892"/>
                  </a:lnTo>
                  <a:cubicBezTo>
                    <a:pt x="13334" y="6910"/>
                    <a:pt x="13324" y="6959"/>
                    <a:pt x="13303" y="7040"/>
                  </a:cubicBezTo>
                  <a:cubicBezTo>
                    <a:pt x="13283" y="7120"/>
                    <a:pt x="13273" y="7174"/>
                    <a:pt x="13273" y="7204"/>
                  </a:cubicBezTo>
                  <a:cubicBezTo>
                    <a:pt x="13270" y="7251"/>
                    <a:pt x="13255" y="7297"/>
                    <a:pt x="13229" y="7340"/>
                  </a:cubicBezTo>
                  <a:cubicBezTo>
                    <a:pt x="13203" y="7377"/>
                    <a:pt x="13190" y="7410"/>
                    <a:pt x="13190" y="7439"/>
                  </a:cubicBezTo>
                  <a:cubicBezTo>
                    <a:pt x="13190" y="7479"/>
                    <a:pt x="13217" y="7588"/>
                    <a:pt x="13273" y="7767"/>
                  </a:cubicBezTo>
                  <a:cubicBezTo>
                    <a:pt x="13261" y="7774"/>
                    <a:pt x="13229" y="7801"/>
                    <a:pt x="13177" y="7849"/>
                  </a:cubicBezTo>
                  <a:cubicBezTo>
                    <a:pt x="13118" y="7903"/>
                    <a:pt x="13089" y="7942"/>
                    <a:pt x="13089" y="7963"/>
                  </a:cubicBezTo>
                  <a:cubicBezTo>
                    <a:pt x="13089" y="8018"/>
                    <a:pt x="13133" y="8045"/>
                    <a:pt x="13220" y="8045"/>
                  </a:cubicBezTo>
                  <a:cubicBezTo>
                    <a:pt x="13308" y="8049"/>
                    <a:pt x="13351" y="8091"/>
                    <a:pt x="13351" y="8171"/>
                  </a:cubicBezTo>
                  <a:cubicBezTo>
                    <a:pt x="13351" y="8233"/>
                    <a:pt x="13340" y="8280"/>
                    <a:pt x="13316" y="8313"/>
                  </a:cubicBezTo>
                  <a:cubicBezTo>
                    <a:pt x="13328" y="8328"/>
                    <a:pt x="13337" y="8335"/>
                    <a:pt x="13343" y="8335"/>
                  </a:cubicBezTo>
                  <a:lnTo>
                    <a:pt x="13469" y="8248"/>
                  </a:lnTo>
                  <a:cubicBezTo>
                    <a:pt x="13478" y="8269"/>
                    <a:pt x="13497" y="8320"/>
                    <a:pt x="13526" y="8401"/>
                  </a:cubicBezTo>
                  <a:cubicBezTo>
                    <a:pt x="13555" y="8470"/>
                    <a:pt x="13579" y="8504"/>
                    <a:pt x="13596" y="8504"/>
                  </a:cubicBezTo>
                  <a:cubicBezTo>
                    <a:pt x="13683" y="8504"/>
                    <a:pt x="13727" y="8430"/>
                    <a:pt x="13727" y="8280"/>
                  </a:cubicBezTo>
                  <a:cubicBezTo>
                    <a:pt x="13727" y="8054"/>
                    <a:pt x="13685" y="7869"/>
                    <a:pt x="13600" y="7723"/>
                  </a:cubicBezTo>
                  <a:cubicBezTo>
                    <a:pt x="13513" y="7617"/>
                    <a:pt x="13469" y="7552"/>
                    <a:pt x="13469" y="7526"/>
                  </a:cubicBezTo>
                  <a:cubicBezTo>
                    <a:pt x="13469" y="7515"/>
                    <a:pt x="13484" y="7464"/>
                    <a:pt x="13513" y="7373"/>
                  </a:cubicBezTo>
                  <a:cubicBezTo>
                    <a:pt x="13542" y="7286"/>
                    <a:pt x="13557" y="7218"/>
                    <a:pt x="13557" y="7171"/>
                  </a:cubicBezTo>
                  <a:cubicBezTo>
                    <a:pt x="13534" y="7091"/>
                    <a:pt x="13522" y="7047"/>
                    <a:pt x="13522" y="7040"/>
                  </a:cubicBezTo>
                  <a:cubicBezTo>
                    <a:pt x="13522" y="6985"/>
                    <a:pt x="13542" y="6958"/>
                    <a:pt x="13583" y="6958"/>
                  </a:cubicBezTo>
                  <a:cubicBezTo>
                    <a:pt x="13618" y="6958"/>
                    <a:pt x="13646" y="6970"/>
                    <a:pt x="13666" y="6996"/>
                  </a:cubicBezTo>
                  <a:cubicBezTo>
                    <a:pt x="13689" y="7021"/>
                    <a:pt x="13708" y="7034"/>
                    <a:pt x="13723" y="7034"/>
                  </a:cubicBezTo>
                  <a:lnTo>
                    <a:pt x="13727" y="7034"/>
                  </a:lnTo>
                  <a:cubicBezTo>
                    <a:pt x="13733" y="7034"/>
                    <a:pt x="13743" y="7034"/>
                    <a:pt x="13758" y="7034"/>
                  </a:cubicBezTo>
                  <a:cubicBezTo>
                    <a:pt x="13781" y="7031"/>
                    <a:pt x="13817" y="7025"/>
                    <a:pt x="13867" y="7018"/>
                  </a:cubicBezTo>
                  <a:cubicBezTo>
                    <a:pt x="13954" y="7003"/>
                    <a:pt x="14004" y="6990"/>
                    <a:pt x="14015" y="6980"/>
                  </a:cubicBezTo>
                  <a:cubicBezTo>
                    <a:pt x="14021" y="6972"/>
                    <a:pt x="14043" y="6925"/>
                    <a:pt x="14081" y="6837"/>
                  </a:cubicBezTo>
                  <a:cubicBezTo>
                    <a:pt x="14119" y="6750"/>
                    <a:pt x="14148" y="6694"/>
                    <a:pt x="14168" y="6668"/>
                  </a:cubicBezTo>
                  <a:cubicBezTo>
                    <a:pt x="14203" y="6621"/>
                    <a:pt x="14262" y="6535"/>
                    <a:pt x="14343" y="6411"/>
                  </a:cubicBezTo>
                  <a:cubicBezTo>
                    <a:pt x="14422" y="6298"/>
                    <a:pt x="14498" y="6211"/>
                    <a:pt x="14570" y="6149"/>
                  </a:cubicBezTo>
                  <a:cubicBezTo>
                    <a:pt x="14509" y="6058"/>
                    <a:pt x="14468" y="5925"/>
                    <a:pt x="14448" y="5750"/>
                  </a:cubicBezTo>
                  <a:cubicBezTo>
                    <a:pt x="14436" y="5553"/>
                    <a:pt x="14423" y="5413"/>
                    <a:pt x="14409" y="5329"/>
                  </a:cubicBezTo>
                  <a:cubicBezTo>
                    <a:pt x="14400" y="5347"/>
                    <a:pt x="14377" y="5456"/>
                    <a:pt x="14339" y="5657"/>
                  </a:cubicBezTo>
                  <a:cubicBezTo>
                    <a:pt x="14315" y="5784"/>
                    <a:pt x="14253" y="5848"/>
                    <a:pt x="14151" y="5848"/>
                  </a:cubicBezTo>
                  <a:cubicBezTo>
                    <a:pt x="14119" y="5848"/>
                    <a:pt x="14077" y="5814"/>
                    <a:pt x="14024" y="5744"/>
                  </a:cubicBezTo>
                  <a:cubicBezTo>
                    <a:pt x="13975" y="5675"/>
                    <a:pt x="13950" y="5622"/>
                    <a:pt x="13950" y="5586"/>
                  </a:cubicBezTo>
                  <a:cubicBezTo>
                    <a:pt x="13950" y="5527"/>
                    <a:pt x="13983" y="5467"/>
                    <a:pt x="14050" y="5405"/>
                  </a:cubicBezTo>
                  <a:cubicBezTo>
                    <a:pt x="14117" y="5340"/>
                    <a:pt x="14151" y="5278"/>
                    <a:pt x="14151" y="5220"/>
                  </a:cubicBezTo>
                  <a:cubicBezTo>
                    <a:pt x="14151" y="5118"/>
                    <a:pt x="14165" y="5017"/>
                    <a:pt x="14195" y="4919"/>
                  </a:cubicBezTo>
                  <a:cubicBezTo>
                    <a:pt x="14227" y="4799"/>
                    <a:pt x="14269" y="4739"/>
                    <a:pt x="14321" y="4739"/>
                  </a:cubicBezTo>
                  <a:cubicBezTo>
                    <a:pt x="14359" y="4739"/>
                    <a:pt x="14403" y="4832"/>
                    <a:pt x="14452" y="5017"/>
                  </a:cubicBezTo>
                  <a:cubicBezTo>
                    <a:pt x="14537" y="4948"/>
                    <a:pt x="14579" y="4872"/>
                    <a:pt x="14579" y="4788"/>
                  </a:cubicBezTo>
                  <a:cubicBezTo>
                    <a:pt x="14579" y="4700"/>
                    <a:pt x="14540" y="4646"/>
                    <a:pt x="14461" y="4624"/>
                  </a:cubicBezTo>
                  <a:cubicBezTo>
                    <a:pt x="14464" y="4620"/>
                    <a:pt x="14467" y="4617"/>
                    <a:pt x="14470" y="4613"/>
                  </a:cubicBezTo>
                  <a:cubicBezTo>
                    <a:pt x="14508" y="4558"/>
                    <a:pt x="14527" y="4515"/>
                    <a:pt x="14527" y="4482"/>
                  </a:cubicBezTo>
                  <a:cubicBezTo>
                    <a:pt x="14527" y="4467"/>
                    <a:pt x="14511" y="4449"/>
                    <a:pt x="14479" y="4427"/>
                  </a:cubicBezTo>
                  <a:cubicBezTo>
                    <a:pt x="14449" y="4409"/>
                    <a:pt x="14430" y="4400"/>
                    <a:pt x="14422" y="4400"/>
                  </a:cubicBezTo>
                  <a:cubicBezTo>
                    <a:pt x="14407" y="4400"/>
                    <a:pt x="14378" y="4418"/>
                    <a:pt x="14334" y="4454"/>
                  </a:cubicBezTo>
                  <a:cubicBezTo>
                    <a:pt x="14288" y="4487"/>
                    <a:pt x="14254" y="4504"/>
                    <a:pt x="14234" y="4504"/>
                  </a:cubicBezTo>
                  <a:cubicBezTo>
                    <a:pt x="14173" y="4504"/>
                    <a:pt x="14123" y="4454"/>
                    <a:pt x="14085" y="4356"/>
                  </a:cubicBezTo>
                  <a:cubicBezTo>
                    <a:pt x="14045" y="4258"/>
                    <a:pt x="14014" y="4209"/>
                    <a:pt x="13994" y="4209"/>
                  </a:cubicBezTo>
                  <a:cubicBezTo>
                    <a:pt x="13979" y="4209"/>
                    <a:pt x="13967" y="4219"/>
                    <a:pt x="13959" y="4241"/>
                  </a:cubicBezTo>
                  <a:cubicBezTo>
                    <a:pt x="13947" y="4263"/>
                    <a:pt x="13933" y="4274"/>
                    <a:pt x="13915" y="4274"/>
                  </a:cubicBezTo>
                  <a:cubicBezTo>
                    <a:pt x="13863" y="4274"/>
                    <a:pt x="13814" y="4219"/>
                    <a:pt x="13771" y="4110"/>
                  </a:cubicBezTo>
                  <a:cubicBezTo>
                    <a:pt x="13724" y="4001"/>
                    <a:pt x="13676" y="3946"/>
                    <a:pt x="13627" y="3946"/>
                  </a:cubicBezTo>
                  <a:cubicBezTo>
                    <a:pt x="13615" y="3946"/>
                    <a:pt x="13586" y="3957"/>
                    <a:pt x="13539" y="3979"/>
                  </a:cubicBezTo>
                  <a:cubicBezTo>
                    <a:pt x="13493" y="3997"/>
                    <a:pt x="13461" y="4006"/>
                    <a:pt x="13443" y="4006"/>
                  </a:cubicBezTo>
                  <a:cubicBezTo>
                    <a:pt x="13391" y="4006"/>
                    <a:pt x="13346" y="3948"/>
                    <a:pt x="13308" y="3831"/>
                  </a:cubicBezTo>
                  <a:cubicBezTo>
                    <a:pt x="13264" y="3697"/>
                    <a:pt x="13231" y="3620"/>
                    <a:pt x="13207" y="3602"/>
                  </a:cubicBezTo>
                  <a:cubicBezTo>
                    <a:pt x="13169" y="3573"/>
                    <a:pt x="13134" y="3529"/>
                    <a:pt x="13102" y="3471"/>
                  </a:cubicBezTo>
                  <a:cubicBezTo>
                    <a:pt x="13053" y="3380"/>
                    <a:pt x="13028" y="3281"/>
                    <a:pt x="13028" y="3175"/>
                  </a:cubicBezTo>
                  <a:cubicBezTo>
                    <a:pt x="13028" y="2975"/>
                    <a:pt x="13070" y="2809"/>
                    <a:pt x="13155" y="2678"/>
                  </a:cubicBezTo>
                  <a:cubicBezTo>
                    <a:pt x="13236" y="2551"/>
                    <a:pt x="13277" y="2449"/>
                    <a:pt x="13277" y="2372"/>
                  </a:cubicBezTo>
                  <a:cubicBezTo>
                    <a:pt x="13277" y="2274"/>
                    <a:pt x="13262" y="2177"/>
                    <a:pt x="13233" y="2082"/>
                  </a:cubicBezTo>
                  <a:cubicBezTo>
                    <a:pt x="13228" y="2061"/>
                    <a:pt x="13220" y="2039"/>
                    <a:pt x="13212" y="2017"/>
                  </a:cubicBezTo>
                  <a:cubicBezTo>
                    <a:pt x="13168" y="1900"/>
                    <a:pt x="13146" y="1802"/>
                    <a:pt x="13146" y="1722"/>
                  </a:cubicBezTo>
                  <a:cubicBezTo>
                    <a:pt x="13146" y="1561"/>
                    <a:pt x="13161" y="1414"/>
                    <a:pt x="13190" y="1279"/>
                  </a:cubicBezTo>
                  <a:cubicBezTo>
                    <a:pt x="13190" y="1275"/>
                    <a:pt x="13191" y="1274"/>
                    <a:pt x="13194" y="1274"/>
                  </a:cubicBezTo>
                  <a:cubicBezTo>
                    <a:pt x="13226" y="1106"/>
                    <a:pt x="13273" y="1022"/>
                    <a:pt x="13334" y="1022"/>
                  </a:cubicBezTo>
                  <a:cubicBezTo>
                    <a:pt x="13363" y="1022"/>
                    <a:pt x="13413" y="1062"/>
                    <a:pt x="13482" y="1142"/>
                  </a:cubicBezTo>
                  <a:cubicBezTo>
                    <a:pt x="13517" y="1179"/>
                    <a:pt x="13551" y="1217"/>
                    <a:pt x="13583" y="1257"/>
                  </a:cubicBezTo>
                  <a:cubicBezTo>
                    <a:pt x="13612" y="1257"/>
                    <a:pt x="13627" y="1219"/>
                    <a:pt x="13627" y="1142"/>
                  </a:cubicBezTo>
                  <a:cubicBezTo>
                    <a:pt x="13627" y="1120"/>
                    <a:pt x="13599" y="1058"/>
                    <a:pt x="13544" y="956"/>
                  </a:cubicBezTo>
                  <a:cubicBezTo>
                    <a:pt x="13485" y="854"/>
                    <a:pt x="13456" y="794"/>
                    <a:pt x="13456" y="776"/>
                  </a:cubicBezTo>
                  <a:cubicBezTo>
                    <a:pt x="13456" y="714"/>
                    <a:pt x="13481" y="638"/>
                    <a:pt x="13530" y="547"/>
                  </a:cubicBezTo>
                  <a:cubicBezTo>
                    <a:pt x="13557" y="496"/>
                    <a:pt x="13596" y="426"/>
                    <a:pt x="13649" y="339"/>
                  </a:cubicBezTo>
                  <a:cubicBezTo>
                    <a:pt x="13666" y="306"/>
                    <a:pt x="13694" y="237"/>
                    <a:pt x="13731" y="131"/>
                  </a:cubicBezTo>
                  <a:cubicBezTo>
                    <a:pt x="13772" y="44"/>
                    <a:pt x="13820" y="0"/>
                    <a:pt x="13876" y="0"/>
                  </a:cubicBezTo>
                  <a:cubicBezTo>
                    <a:pt x="13995" y="0"/>
                    <a:pt x="14071" y="82"/>
                    <a:pt x="14103" y="246"/>
                  </a:cubicBezTo>
                  <a:cubicBezTo>
                    <a:pt x="14132" y="410"/>
                    <a:pt x="14158" y="492"/>
                    <a:pt x="14181" y="492"/>
                  </a:cubicBezTo>
                  <a:cubicBezTo>
                    <a:pt x="14196" y="492"/>
                    <a:pt x="14241" y="455"/>
                    <a:pt x="14317" y="383"/>
                  </a:cubicBezTo>
                  <a:cubicBezTo>
                    <a:pt x="14375" y="383"/>
                    <a:pt x="14417" y="404"/>
                    <a:pt x="14444" y="448"/>
                  </a:cubicBezTo>
                  <a:cubicBezTo>
                    <a:pt x="14458" y="474"/>
                    <a:pt x="14473" y="516"/>
                    <a:pt x="14487" y="574"/>
                  </a:cubicBezTo>
                  <a:cubicBezTo>
                    <a:pt x="14496" y="599"/>
                    <a:pt x="14524" y="652"/>
                    <a:pt x="14570" y="732"/>
                  </a:cubicBezTo>
                  <a:cubicBezTo>
                    <a:pt x="14617" y="816"/>
                    <a:pt x="14646" y="874"/>
                    <a:pt x="14658" y="907"/>
                  </a:cubicBezTo>
                  <a:cubicBezTo>
                    <a:pt x="14684" y="980"/>
                    <a:pt x="14732" y="1084"/>
                    <a:pt x="14802" y="1219"/>
                  </a:cubicBezTo>
                  <a:cubicBezTo>
                    <a:pt x="14863" y="1361"/>
                    <a:pt x="14894" y="1534"/>
                    <a:pt x="14894" y="1738"/>
                  </a:cubicBezTo>
                  <a:cubicBezTo>
                    <a:pt x="14894" y="1833"/>
                    <a:pt x="14882" y="1957"/>
                    <a:pt x="14859" y="2110"/>
                  </a:cubicBezTo>
                  <a:cubicBezTo>
                    <a:pt x="14859" y="2143"/>
                    <a:pt x="14870" y="2164"/>
                    <a:pt x="14894" y="2175"/>
                  </a:cubicBezTo>
                  <a:cubicBezTo>
                    <a:pt x="14929" y="2190"/>
                    <a:pt x="14952" y="2208"/>
                    <a:pt x="14964" y="2230"/>
                  </a:cubicBezTo>
                  <a:cubicBezTo>
                    <a:pt x="14975" y="2248"/>
                    <a:pt x="14987" y="2275"/>
                    <a:pt x="14999" y="2312"/>
                  </a:cubicBezTo>
                  <a:cubicBezTo>
                    <a:pt x="15010" y="2337"/>
                    <a:pt x="15029" y="2352"/>
                    <a:pt x="15055" y="2356"/>
                  </a:cubicBezTo>
                  <a:cubicBezTo>
                    <a:pt x="15146" y="2367"/>
                    <a:pt x="15205" y="2389"/>
                    <a:pt x="15234" y="2421"/>
                  </a:cubicBezTo>
                  <a:cubicBezTo>
                    <a:pt x="15264" y="2454"/>
                    <a:pt x="15278" y="2520"/>
                    <a:pt x="15278" y="2618"/>
                  </a:cubicBezTo>
                  <a:cubicBezTo>
                    <a:pt x="15278" y="2709"/>
                    <a:pt x="15331" y="2791"/>
                    <a:pt x="15435" y="2864"/>
                  </a:cubicBezTo>
                  <a:cubicBezTo>
                    <a:pt x="15540" y="2937"/>
                    <a:pt x="15593" y="3001"/>
                    <a:pt x="15593" y="3055"/>
                  </a:cubicBezTo>
                  <a:cubicBezTo>
                    <a:pt x="15593" y="3103"/>
                    <a:pt x="15574" y="3146"/>
                    <a:pt x="15536" y="3186"/>
                  </a:cubicBezTo>
                  <a:cubicBezTo>
                    <a:pt x="15501" y="3223"/>
                    <a:pt x="15469" y="3241"/>
                    <a:pt x="15440" y="3241"/>
                  </a:cubicBezTo>
                  <a:cubicBezTo>
                    <a:pt x="15411" y="3241"/>
                    <a:pt x="15377" y="3228"/>
                    <a:pt x="15339" y="3203"/>
                  </a:cubicBezTo>
                  <a:cubicBezTo>
                    <a:pt x="15301" y="3177"/>
                    <a:pt x="15271" y="3165"/>
                    <a:pt x="15248" y="3165"/>
                  </a:cubicBezTo>
                  <a:cubicBezTo>
                    <a:pt x="15219" y="3165"/>
                    <a:pt x="15192" y="3175"/>
                    <a:pt x="15169" y="3197"/>
                  </a:cubicBezTo>
                  <a:cubicBezTo>
                    <a:pt x="15146" y="3216"/>
                    <a:pt x="15134" y="3234"/>
                    <a:pt x="15134" y="3252"/>
                  </a:cubicBezTo>
                  <a:cubicBezTo>
                    <a:pt x="15134" y="3321"/>
                    <a:pt x="15178" y="3363"/>
                    <a:pt x="15265" y="3378"/>
                  </a:cubicBezTo>
                  <a:cubicBezTo>
                    <a:pt x="15352" y="3396"/>
                    <a:pt x="15396" y="3443"/>
                    <a:pt x="15396" y="3520"/>
                  </a:cubicBezTo>
                  <a:cubicBezTo>
                    <a:pt x="15396" y="3560"/>
                    <a:pt x="15363" y="3605"/>
                    <a:pt x="15296" y="3656"/>
                  </a:cubicBezTo>
                  <a:cubicBezTo>
                    <a:pt x="15269" y="3671"/>
                    <a:pt x="15240" y="3687"/>
                    <a:pt x="15208" y="3706"/>
                  </a:cubicBezTo>
                  <a:cubicBezTo>
                    <a:pt x="15080" y="3775"/>
                    <a:pt x="15016" y="3862"/>
                    <a:pt x="15016" y="3968"/>
                  </a:cubicBezTo>
                  <a:cubicBezTo>
                    <a:pt x="15016" y="4026"/>
                    <a:pt x="15035" y="4065"/>
                    <a:pt x="15073" y="4083"/>
                  </a:cubicBezTo>
                  <a:cubicBezTo>
                    <a:pt x="15154" y="4119"/>
                    <a:pt x="15200" y="4141"/>
                    <a:pt x="15208" y="4148"/>
                  </a:cubicBezTo>
                  <a:cubicBezTo>
                    <a:pt x="15234" y="4167"/>
                    <a:pt x="15268" y="4214"/>
                    <a:pt x="15309" y="4290"/>
                  </a:cubicBezTo>
                  <a:cubicBezTo>
                    <a:pt x="15341" y="4342"/>
                    <a:pt x="15380" y="4367"/>
                    <a:pt x="15427" y="4367"/>
                  </a:cubicBezTo>
                  <a:lnTo>
                    <a:pt x="15431" y="4367"/>
                  </a:lnTo>
                  <a:cubicBezTo>
                    <a:pt x="15486" y="4363"/>
                    <a:pt x="15539" y="4331"/>
                    <a:pt x="15588" y="4269"/>
                  </a:cubicBezTo>
                  <a:cubicBezTo>
                    <a:pt x="15638" y="4196"/>
                    <a:pt x="15680" y="4159"/>
                    <a:pt x="15715" y="4159"/>
                  </a:cubicBezTo>
                  <a:cubicBezTo>
                    <a:pt x="15747" y="4159"/>
                    <a:pt x="15780" y="4183"/>
                    <a:pt x="15815" y="4230"/>
                  </a:cubicBezTo>
                  <a:cubicBezTo>
                    <a:pt x="15850" y="4278"/>
                    <a:pt x="15884" y="4303"/>
                    <a:pt x="15916" y="4307"/>
                  </a:cubicBezTo>
                  <a:cubicBezTo>
                    <a:pt x="15977" y="4311"/>
                    <a:pt x="16012" y="4316"/>
                    <a:pt x="16021" y="4323"/>
                  </a:cubicBezTo>
                  <a:cubicBezTo>
                    <a:pt x="16053" y="4338"/>
                    <a:pt x="16069" y="4372"/>
                    <a:pt x="16069" y="4427"/>
                  </a:cubicBezTo>
                  <a:cubicBezTo>
                    <a:pt x="16069" y="4544"/>
                    <a:pt x="16044" y="4609"/>
                    <a:pt x="15995" y="4624"/>
                  </a:cubicBezTo>
                  <a:cubicBezTo>
                    <a:pt x="15922" y="4617"/>
                    <a:pt x="15861" y="4613"/>
                    <a:pt x="15811" y="4613"/>
                  </a:cubicBezTo>
                  <a:cubicBezTo>
                    <a:pt x="15794" y="4613"/>
                    <a:pt x="15769" y="4637"/>
                    <a:pt x="15737" y="4684"/>
                  </a:cubicBezTo>
                  <a:cubicBezTo>
                    <a:pt x="15751" y="4709"/>
                    <a:pt x="15802" y="4775"/>
                    <a:pt x="15890" y="4881"/>
                  </a:cubicBezTo>
                  <a:cubicBezTo>
                    <a:pt x="15965" y="4976"/>
                    <a:pt x="16028" y="5077"/>
                    <a:pt x="16078" y="5187"/>
                  </a:cubicBezTo>
                  <a:cubicBezTo>
                    <a:pt x="16101" y="5241"/>
                    <a:pt x="16137" y="5329"/>
                    <a:pt x="16187" y="5449"/>
                  </a:cubicBezTo>
                  <a:cubicBezTo>
                    <a:pt x="16225" y="5562"/>
                    <a:pt x="16245" y="5670"/>
                    <a:pt x="16248" y="5772"/>
                  </a:cubicBezTo>
                  <a:cubicBezTo>
                    <a:pt x="16251" y="5965"/>
                    <a:pt x="16257" y="6083"/>
                    <a:pt x="16266" y="6127"/>
                  </a:cubicBezTo>
                  <a:cubicBezTo>
                    <a:pt x="16286" y="6265"/>
                    <a:pt x="16330" y="6373"/>
                    <a:pt x="16397" y="6449"/>
                  </a:cubicBezTo>
                  <a:cubicBezTo>
                    <a:pt x="16423" y="6351"/>
                    <a:pt x="16453" y="6265"/>
                    <a:pt x="16488" y="6192"/>
                  </a:cubicBezTo>
                  <a:cubicBezTo>
                    <a:pt x="16506" y="6160"/>
                    <a:pt x="16515" y="6090"/>
                    <a:pt x="16515" y="5985"/>
                  </a:cubicBezTo>
                  <a:cubicBezTo>
                    <a:pt x="16515" y="5948"/>
                    <a:pt x="16525" y="5890"/>
                    <a:pt x="16545" y="5810"/>
                  </a:cubicBezTo>
                  <a:cubicBezTo>
                    <a:pt x="16571" y="5726"/>
                    <a:pt x="16589" y="5666"/>
                    <a:pt x="16598" y="5630"/>
                  </a:cubicBezTo>
                  <a:cubicBezTo>
                    <a:pt x="16615" y="5542"/>
                    <a:pt x="16624" y="5426"/>
                    <a:pt x="16624" y="5280"/>
                  </a:cubicBezTo>
                  <a:cubicBezTo>
                    <a:pt x="16662" y="5061"/>
                    <a:pt x="16685" y="4937"/>
                    <a:pt x="16694" y="4908"/>
                  </a:cubicBezTo>
                  <a:cubicBezTo>
                    <a:pt x="16752" y="4708"/>
                    <a:pt x="16831" y="4608"/>
                    <a:pt x="16930" y="4608"/>
                  </a:cubicBezTo>
                  <a:cubicBezTo>
                    <a:pt x="16982" y="4608"/>
                    <a:pt x="17033" y="4655"/>
                    <a:pt x="17082" y="4750"/>
                  </a:cubicBezTo>
                  <a:cubicBezTo>
                    <a:pt x="17109" y="4801"/>
                    <a:pt x="17138" y="4868"/>
                    <a:pt x="17170" y="4952"/>
                  </a:cubicBezTo>
                  <a:cubicBezTo>
                    <a:pt x="17193" y="4992"/>
                    <a:pt x="17249" y="5052"/>
                    <a:pt x="17336" y="5132"/>
                  </a:cubicBezTo>
                  <a:cubicBezTo>
                    <a:pt x="17426" y="5216"/>
                    <a:pt x="17490" y="5287"/>
                    <a:pt x="17528" y="5345"/>
                  </a:cubicBezTo>
                  <a:cubicBezTo>
                    <a:pt x="17560" y="5396"/>
                    <a:pt x="17615" y="5548"/>
                    <a:pt x="17694" y="5799"/>
                  </a:cubicBezTo>
                  <a:cubicBezTo>
                    <a:pt x="17776" y="6054"/>
                    <a:pt x="17816" y="6214"/>
                    <a:pt x="17816" y="6280"/>
                  </a:cubicBezTo>
                  <a:cubicBezTo>
                    <a:pt x="17816" y="6335"/>
                    <a:pt x="17805" y="6382"/>
                    <a:pt x="17781" y="6422"/>
                  </a:cubicBezTo>
                  <a:cubicBezTo>
                    <a:pt x="17758" y="6462"/>
                    <a:pt x="17729" y="6482"/>
                    <a:pt x="17694" y="6482"/>
                  </a:cubicBezTo>
                  <a:cubicBezTo>
                    <a:pt x="17615" y="6482"/>
                    <a:pt x="17569" y="6437"/>
                    <a:pt x="17554" y="6345"/>
                  </a:cubicBezTo>
                  <a:cubicBezTo>
                    <a:pt x="17537" y="6349"/>
                    <a:pt x="17522" y="6375"/>
                    <a:pt x="17511" y="6422"/>
                  </a:cubicBezTo>
                  <a:cubicBezTo>
                    <a:pt x="17499" y="6462"/>
                    <a:pt x="17493" y="6502"/>
                    <a:pt x="17493" y="6542"/>
                  </a:cubicBezTo>
                  <a:cubicBezTo>
                    <a:pt x="17493" y="6950"/>
                    <a:pt x="17544" y="7220"/>
                    <a:pt x="17646" y="7351"/>
                  </a:cubicBezTo>
                  <a:cubicBezTo>
                    <a:pt x="17981" y="7785"/>
                    <a:pt x="18197" y="8085"/>
                    <a:pt x="18293" y="8253"/>
                  </a:cubicBezTo>
                  <a:cubicBezTo>
                    <a:pt x="18310" y="8115"/>
                    <a:pt x="18344" y="8007"/>
                    <a:pt x="18393" y="7931"/>
                  </a:cubicBezTo>
                  <a:cubicBezTo>
                    <a:pt x="18457" y="7829"/>
                    <a:pt x="18537" y="7805"/>
                    <a:pt x="18633" y="7860"/>
                  </a:cubicBezTo>
                  <a:cubicBezTo>
                    <a:pt x="18619" y="7717"/>
                    <a:pt x="18612" y="7637"/>
                    <a:pt x="18612" y="7619"/>
                  </a:cubicBezTo>
                  <a:cubicBezTo>
                    <a:pt x="18632" y="7502"/>
                    <a:pt x="18642" y="7430"/>
                    <a:pt x="18642" y="7400"/>
                  </a:cubicBezTo>
                  <a:cubicBezTo>
                    <a:pt x="18642" y="7346"/>
                    <a:pt x="18638" y="7300"/>
                    <a:pt x="18629" y="7264"/>
                  </a:cubicBezTo>
                  <a:cubicBezTo>
                    <a:pt x="18617" y="7231"/>
                    <a:pt x="18612" y="7200"/>
                    <a:pt x="18612" y="7171"/>
                  </a:cubicBezTo>
                  <a:cubicBezTo>
                    <a:pt x="18612" y="7102"/>
                    <a:pt x="18652" y="6950"/>
                    <a:pt x="18734" y="6717"/>
                  </a:cubicBezTo>
                  <a:cubicBezTo>
                    <a:pt x="18816" y="6484"/>
                    <a:pt x="18856" y="6149"/>
                    <a:pt x="18856" y="5712"/>
                  </a:cubicBezTo>
                  <a:cubicBezTo>
                    <a:pt x="18856" y="5602"/>
                    <a:pt x="18910" y="5526"/>
                    <a:pt x="19018" y="5482"/>
                  </a:cubicBezTo>
                  <a:cubicBezTo>
                    <a:pt x="19178" y="5413"/>
                    <a:pt x="19286" y="5345"/>
                    <a:pt x="19341" y="5280"/>
                  </a:cubicBezTo>
                  <a:cubicBezTo>
                    <a:pt x="19338" y="5276"/>
                    <a:pt x="19287" y="5260"/>
                    <a:pt x="19188" y="5231"/>
                  </a:cubicBezTo>
                  <a:cubicBezTo>
                    <a:pt x="19139" y="5212"/>
                    <a:pt x="19114" y="5169"/>
                    <a:pt x="19114" y="5099"/>
                  </a:cubicBezTo>
                  <a:cubicBezTo>
                    <a:pt x="19114" y="5041"/>
                    <a:pt x="19140" y="4983"/>
                    <a:pt x="19193" y="4925"/>
                  </a:cubicBezTo>
                  <a:cubicBezTo>
                    <a:pt x="19228" y="4884"/>
                    <a:pt x="19266" y="4853"/>
                    <a:pt x="19306" y="4832"/>
                  </a:cubicBezTo>
                  <a:cubicBezTo>
                    <a:pt x="19286" y="4781"/>
                    <a:pt x="19236" y="4744"/>
                    <a:pt x="19158" y="4722"/>
                  </a:cubicBezTo>
                  <a:cubicBezTo>
                    <a:pt x="19062" y="4697"/>
                    <a:pt x="18990" y="4659"/>
                    <a:pt x="18944" y="4608"/>
                  </a:cubicBezTo>
                  <a:cubicBezTo>
                    <a:pt x="18853" y="4505"/>
                    <a:pt x="18805" y="4414"/>
                    <a:pt x="18799" y="4334"/>
                  </a:cubicBezTo>
                  <a:cubicBezTo>
                    <a:pt x="18808" y="4214"/>
                    <a:pt x="18813" y="4103"/>
                    <a:pt x="18813" y="4001"/>
                  </a:cubicBezTo>
                  <a:cubicBezTo>
                    <a:pt x="18813" y="3932"/>
                    <a:pt x="18808" y="3868"/>
                    <a:pt x="18799" y="3810"/>
                  </a:cubicBezTo>
                  <a:cubicBezTo>
                    <a:pt x="18788" y="3755"/>
                    <a:pt x="18782" y="3702"/>
                    <a:pt x="18782" y="3651"/>
                  </a:cubicBezTo>
                  <a:cubicBezTo>
                    <a:pt x="18770" y="3629"/>
                    <a:pt x="18764" y="3609"/>
                    <a:pt x="18764" y="3591"/>
                  </a:cubicBezTo>
                  <a:cubicBezTo>
                    <a:pt x="18764" y="3536"/>
                    <a:pt x="18778" y="3507"/>
                    <a:pt x="18804" y="3503"/>
                  </a:cubicBezTo>
                  <a:cubicBezTo>
                    <a:pt x="18821" y="3503"/>
                    <a:pt x="18865" y="3500"/>
                    <a:pt x="18935" y="3492"/>
                  </a:cubicBezTo>
                  <a:cubicBezTo>
                    <a:pt x="18944" y="3489"/>
                    <a:pt x="18976" y="3467"/>
                    <a:pt x="19031" y="3427"/>
                  </a:cubicBezTo>
                  <a:cubicBezTo>
                    <a:pt x="19089" y="3387"/>
                    <a:pt x="19130" y="3367"/>
                    <a:pt x="19153" y="3367"/>
                  </a:cubicBezTo>
                  <a:cubicBezTo>
                    <a:pt x="19220" y="3367"/>
                    <a:pt x="19309" y="3401"/>
                    <a:pt x="19420" y="3471"/>
                  </a:cubicBezTo>
                  <a:cubicBezTo>
                    <a:pt x="19531" y="3536"/>
                    <a:pt x="19649" y="3569"/>
                    <a:pt x="19774" y="3569"/>
                  </a:cubicBezTo>
                  <a:cubicBezTo>
                    <a:pt x="19809" y="3569"/>
                    <a:pt x="19889" y="3549"/>
                    <a:pt x="20014" y="3509"/>
                  </a:cubicBezTo>
                  <a:cubicBezTo>
                    <a:pt x="20142" y="3465"/>
                    <a:pt x="20222" y="3443"/>
                    <a:pt x="20254" y="3443"/>
                  </a:cubicBezTo>
                  <a:cubicBezTo>
                    <a:pt x="20278" y="3443"/>
                    <a:pt x="20298" y="3496"/>
                    <a:pt x="20315" y="3602"/>
                  </a:cubicBezTo>
                  <a:cubicBezTo>
                    <a:pt x="20315" y="3653"/>
                    <a:pt x="20295" y="3737"/>
                    <a:pt x="20254" y="3853"/>
                  </a:cubicBezTo>
                  <a:cubicBezTo>
                    <a:pt x="20254" y="3897"/>
                    <a:pt x="20272" y="3932"/>
                    <a:pt x="20307" y="3957"/>
                  </a:cubicBezTo>
                  <a:cubicBezTo>
                    <a:pt x="20377" y="4004"/>
                    <a:pt x="20419" y="4035"/>
                    <a:pt x="20433" y="4050"/>
                  </a:cubicBezTo>
                  <a:cubicBezTo>
                    <a:pt x="20439" y="4057"/>
                    <a:pt x="20451" y="4088"/>
                    <a:pt x="20468" y="4143"/>
                  </a:cubicBezTo>
                  <a:cubicBezTo>
                    <a:pt x="20480" y="4179"/>
                    <a:pt x="20511" y="4198"/>
                    <a:pt x="20560" y="4198"/>
                  </a:cubicBezTo>
                  <a:cubicBezTo>
                    <a:pt x="20601" y="4198"/>
                    <a:pt x="20649" y="4187"/>
                    <a:pt x="20704" y="4165"/>
                  </a:cubicBezTo>
                  <a:cubicBezTo>
                    <a:pt x="20771" y="4165"/>
                    <a:pt x="20831" y="4179"/>
                    <a:pt x="20883" y="4209"/>
                  </a:cubicBezTo>
                  <a:cubicBezTo>
                    <a:pt x="20959" y="4249"/>
                    <a:pt x="20997" y="4307"/>
                    <a:pt x="20997" y="4383"/>
                  </a:cubicBezTo>
                  <a:cubicBezTo>
                    <a:pt x="20997" y="4485"/>
                    <a:pt x="20967" y="4589"/>
                    <a:pt x="20905" y="4695"/>
                  </a:cubicBezTo>
                  <a:cubicBezTo>
                    <a:pt x="20841" y="4782"/>
                    <a:pt x="20809" y="4830"/>
                    <a:pt x="20809" y="4837"/>
                  </a:cubicBezTo>
                  <a:cubicBezTo>
                    <a:pt x="20809" y="4877"/>
                    <a:pt x="20846" y="4897"/>
                    <a:pt x="20918" y="4897"/>
                  </a:cubicBezTo>
                  <a:lnTo>
                    <a:pt x="21080" y="4875"/>
                  </a:lnTo>
                  <a:cubicBezTo>
                    <a:pt x="21092" y="4875"/>
                    <a:pt x="21112" y="4894"/>
                    <a:pt x="21141" y="4930"/>
                  </a:cubicBezTo>
                  <a:cubicBezTo>
                    <a:pt x="21176" y="4974"/>
                    <a:pt x="21194" y="5014"/>
                    <a:pt x="21194" y="5050"/>
                  </a:cubicBezTo>
                  <a:cubicBezTo>
                    <a:pt x="21194" y="5185"/>
                    <a:pt x="21162" y="5305"/>
                    <a:pt x="21098" y="5411"/>
                  </a:cubicBezTo>
                  <a:cubicBezTo>
                    <a:pt x="21010" y="5549"/>
                    <a:pt x="20959" y="5640"/>
                    <a:pt x="20945" y="5684"/>
                  </a:cubicBezTo>
                  <a:cubicBezTo>
                    <a:pt x="20924" y="5677"/>
                    <a:pt x="20899" y="5648"/>
                    <a:pt x="20870" y="5597"/>
                  </a:cubicBezTo>
                  <a:cubicBezTo>
                    <a:pt x="20847" y="5549"/>
                    <a:pt x="20825" y="5526"/>
                    <a:pt x="20805" y="5526"/>
                  </a:cubicBezTo>
                  <a:cubicBezTo>
                    <a:pt x="20790" y="5526"/>
                    <a:pt x="20771" y="5533"/>
                    <a:pt x="20748" y="5548"/>
                  </a:cubicBezTo>
                  <a:cubicBezTo>
                    <a:pt x="20725" y="5562"/>
                    <a:pt x="20704" y="5569"/>
                    <a:pt x="20687" y="5569"/>
                  </a:cubicBezTo>
                  <a:cubicBezTo>
                    <a:pt x="20661" y="5569"/>
                    <a:pt x="20630" y="5562"/>
                    <a:pt x="20595" y="5548"/>
                  </a:cubicBezTo>
                  <a:lnTo>
                    <a:pt x="20586" y="5548"/>
                  </a:lnTo>
                  <a:cubicBezTo>
                    <a:pt x="20650" y="5748"/>
                    <a:pt x="20730" y="5932"/>
                    <a:pt x="20827" y="6100"/>
                  </a:cubicBezTo>
                  <a:cubicBezTo>
                    <a:pt x="20844" y="6092"/>
                    <a:pt x="20867" y="6069"/>
                    <a:pt x="20897" y="6029"/>
                  </a:cubicBezTo>
                  <a:cubicBezTo>
                    <a:pt x="20926" y="5996"/>
                    <a:pt x="20945" y="5977"/>
                    <a:pt x="20953" y="5974"/>
                  </a:cubicBezTo>
                  <a:lnTo>
                    <a:pt x="20962" y="6329"/>
                  </a:lnTo>
                  <a:cubicBezTo>
                    <a:pt x="20962" y="6460"/>
                    <a:pt x="21060" y="6615"/>
                    <a:pt x="21255" y="6794"/>
                  </a:cubicBezTo>
                  <a:cubicBezTo>
                    <a:pt x="21450" y="6972"/>
                    <a:pt x="21547" y="7123"/>
                    <a:pt x="21547" y="7247"/>
                  </a:cubicBezTo>
                  <a:cubicBezTo>
                    <a:pt x="21547" y="7280"/>
                    <a:pt x="21534" y="7348"/>
                    <a:pt x="21508" y="7450"/>
                  </a:cubicBezTo>
                  <a:cubicBezTo>
                    <a:pt x="21508" y="7482"/>
                    <a:pt x="21524" y="7522"/>
                    <a:pt x="21556" y="7570"/>
                  </a:cubicBezTo>
                  <a:cubicBezTo>
                    <a:pt x="21585" y="7617"/>
                    <a:pt x="21600" y="7650"/>
                    <a:pt x="21600" y="7668"/>
                  </a:cubicBezTo>
                  <a:cubicBezTo>
                    <a:pt x="21600" y="7745"/>
                    <a:pt x="21545" y="7845"/>
                    <a:pt x="21434" y="7969"/>
                  </a:cubicBezTo>
                  <a:cubicBezTo>
                    <a:pt x="21323" y="8089"/>
                    <a:pt x="21268" y="8248"/>
                    <a:pt x="21268" y="8444"/>
                  </a:cubicBezTo>
                  <a:cubicBezTo>
                    <a:pt x="21169" y="8743"/>
                    <a:pt x="21060" y="8938"/>
                    <a:pt x="20940" y="9029"/>
                  </a:cubicBezTo>
                  <a:cubicBezTo>
                    <a:pt x="20937" y="9047"/>
                    <a:pt x="20915" y="9109"/>
                    <a:pt x="20875" y="9215"/>
                  </a:cubicBezTo>
                  <a:cubicBezTo>
                    <a:pt x="20848" y="9273"/>
                    <a:pt x="20806" y="9302"/>
                    <a:pt x="20748" y="9302"/>
                  </a:cubicBezTo>
                  <a:cubicBezTo>
                    <a:pt x="20681" y="9302"/>
                    <a:pt x="20575" y="9230"/>
                    <a:pt x="20429" y="9084"/>
                  </a:cubicBezTo>
                  <a:cubicBezTo>
                    <a:pt x="20284" y="8938"/>
                    <a:pt x="20206" y="8865"/>
                    <a:pt x="20198" y="8865"/>
                  </a:cubicBezTo>
                  <a:cubicBezTo>
                    <a:pt x="20174" y="8865"/>
                    <a:pt x="20161" y="8876"/>
                    <a:pt x="20158" y="8898"/>
                  </a:cubicBezTo>
                  <a:lnTo>
                    <a:pt x="20158" y="8947"/>
                  </a:lnTo>
                  <a:cubicBezTo>
                    <a:pt x="20158" y="8965"/>
                    <a:pt x="20209" y="9060"/>
                    <a:pt x="20311" y="9231"/>
                  </a:cubicBezTo>
                  <a:cubicBezTo>
                    <a:pt x="20419" y="9421"/>
                    <a:pt x="20484" y="9576"/>
                    <a:pt x="20508" y="9696"/>
                  </a:cubicBezTo>
                  <a:lnTo>
                    <a:pt x="20438" y="9707"/>
                  </a:lnTo>
                  <a:cubicBezTo>
                    <a:pt x="20388" y="9707"/>
                    <a:pt x="20326" y="9665"/>
                    <a:pt x="20250" y="9581"/>
                  </a:cubicBezTo>
                  <a:cubicBezTo>
                    <a:pt x="20168" y="9490"/>
                    <a:pt x="20116" y="9443"/>
                    <a:pt x="20093" y="9439"/>
                  </a:cubicBezTo>
                  <a:cubicBezTo>
                    <a:pt x="20072" y="9486"/>
                    <a:pt x="20055" y="9578"/>
                    <a:pt x="20040" y="9712"/>
                  </a:cubicBezTo>
                  <a:cubicBezTo>
                    <a:pt x="20031" y="9789"/>
                    <a:pt x="19998" y="9827"/>
                    <a:pt x="19940" y="9827"/>
                  </a:cubicBezTo>
                  <a:cubicBezTo>
                    <a:pt x="19736" y="9834"/>
                    <a:pt x="19622" y="9787"/>
                    <a:pt x="19599" y="9685"/>
                  </a:cubicBezTo>
                  <a:cubicBezTo>
                    <a:pt x="19590" y="9557"/>
                    <a:pt x="19581" y="9459"/>
                    <a:pt x="19573" y="9390"/>
                  </a:cubicBezTo>
                  <a:cubicBezTo>
                    <a:pt x="19558" y="9266"/>
                    <a:pt x="19519" y="9204"/>
                    <a:pt x="19455" y="9204"/>
                  </a:cubicBezTo>
                  <a:lnTo>
                    <a:pt x="19149" y="9390"/>
                  </a:lnTo>
                  <a:lnTo>
                    <a:pt x="18939" y="9357"/>
                  </a:lnTo>
                  <a:cubicBezTo>
                    <a:pt x="18794" y="9357"/>
                    <a:pt x="18721" y="9423"/>
                    <a:pt x="18721" y="9554"/>
                  </a:cubicBezTo>
                  <a:cubicBezTo>
                    <a:pt x="18721" y="9649"/>
                    <a:pt x="18798" y="9727"/>
                    <a:pt x="18952" y="9789"/>
                  </a:cubicBezTo>
                  <a:cubicBezTo>
                    <a:pt x="19104" y="9851"/>
                    <a:pt x="19180" y="9955"/>
                    <a:pt x="19180" y="10100"/>
                  </a:cubicBezTo>
                  <a:cubicBezTo>
                    <a:pt x="19180" y="10195"/>
                    <a:pt x="19072" y="10547"/>
                    <a:pt x="18856" y="11155"/>
                  </a:cubicBezTo>
                  <a:cubicBezTo>
                    <a:pt x="18690" y="11483"/>
                    <a:pt x="18472" y="11647"/>
                    <a:pt x="18201" y="11647"/>
                  </a:cubicBezTo>
                  <a:cubicBezTo>
                    <a:pt x="18149" y="11647"/>
                    <a:pt x="18057" y="11567"/>
                    <a:pt x="17926" y="11407"/>
                  </a:cubicBezTo>
                  <a:cubicBezTo>
                    <a:pt x="17795" y="11239"/>
                    <a:pt x="17716" y="11143"/>
                    <a:pt x="17690" y="11117"/>
                  </a:cubicBezTo>
                  <a:cubicBezTo>
                    <a:pt x="17640" y="11066"/>
                    <a:pt x="17562" y="11000"/>
                    <a:pt x="17454" y="10920"/>
                  </a:cubicBezTo>
                  <a:cubicBezTo>
                    <a:pt x="17323" y="10822"/>
                    <a:pt x="17238" y="10773"/>
                    <a:pt x="17200" y="10773"/>
                  </a:cubicBezTo>
                  <a:cubicBezTo>
                    <a:pt x="17168" y="10773"/>
                    <a:pt x="17122" y="10798"/>
                    <a:pt x="17061" y="10849"/>
                  </a:cubicBezTo>
                  <a:cubicBezTo>
                    <a:pt x="17000" y="10897"/>
                    <a:pt x="16965" y="10920"/>
                    <a:pt x="16956" y="10920"/>
                  </a:cubicBezTo>
                  <a:lnTo>
                    <a:pt x="16825" y="10860"/>
                  </a:lnTo>
                  <a:cubicBezTo>
                    <a:pt x="16793" y="10860"/>
                    <a:pt x="16777" y="10884"/>
                    <a:pt x="16777" y="10931"/>
                  </a:cubicBezTo>
                  <a:cubicBezTo>
                    <a:pt x="16777" y="10989"/>
                    <a:pt x="16801" y="11030"/>
                    <a:pt x="16851" y="11051"/>
                  </a:cubicBezTo>
                  <a:cubicBezTo>
                    <a:pt x="16941" y="11092"/>
                    <a:pt x="16988" y="11113"/>
                    <a:pt x="16991" y="11117"/>
                  </a:cubicBezTo>
                  <a:cubicBezTo>
                    <a:pt x="17177" y="11263"/>
                    <a:pt x="17282" y="11350"/>
                    <a:pt x="17305" y="11379"/>
                  </a:cubicBezTo>
                  <a:cubicBezTo>
                    <a:pt x="17355" y="11441"/>
                    <a:pt x="17419" y="11554"/>
                    <a:pt x="17498" y="11718"/>
                  </a:cubicBezTo>
                  <a:cubicBezTo>
                    <a:pt x="17532" y="11791"/>
                    <a:pt x="17600" y="11828"/>
                    <a:pt x="17699" y="11828"/>
                  </a:cubicBezTo>
                  <a:lnTo>
                    <a:pt x="18367" y="11795"/>
                  </a:lnTo>
                  <a:cubicBezTo>
                    <a:pt x="18443" y="11795"/>
                    <a:pt x="18546" y="11795"/>
                    <a:pt x="18677" y="11795"/>
                  </a:cubicBezTo>
                  <a:cubicBezTo>
                    <a:pt x="18773" y="11813"/>
                    <a:pt x="18821" y="11880"/>
                    <a:pt x="18821" y="11997"/>
                  </a:cubicBezTo>
                  <a:cubicBezTo>
                    <a:pt x="18821" y="12019"/>
                    <a:pt x="18797" y="12114"/>
                    <a:pt x="18747" y="12281"/>
                  </a:cubicBezTo>
                  <a:cubicBezTo>
                    <a:pt x="18695" y="12449"/>
                    <a:pt x="18668" y="12554"/>
                    <a:pt x="18668" y="12598"/>
                  </a:cubicBezTo>
                  <a:cubicBezTo>
                    <a:pt x="18668" y="12755"/>
                    <a:pt x="18626" y="12888"/>
                    <a:pt x="18542" y="12997"/>
                  </a:cubicBezTo>
                  <a:cubicBezTo>
                    <a:pt x="18449" y="13117"/>
                    <a:pt x="18395" y="13236"/>
                    <a:pt x="18380" y="13352"/>
                  </a:cubicBezTo>
                  <a:cubicBezTo>
                    <a:pt x="18363" y="13498"/>
                    <a:pt x="18300" y="13666"/>
                    <a:pt x="18192" y="13855"/>
                  </a:cubicBezTo>
                  <a:cubicBezTo>
                    <a:pt x="18061" y="14088"/>
                    <a:pt x="17926" y="14205"/>
                    <a:pt x="17786" y="14205"/>
                  </a:cubicBezTo>
                  <a:cubicBezTo>
                    <a:pt x="17754" y="14205"/>
                    <a:pt x="17722" y="14196"/>
                    <a:pt x="17690" y="14178"/>
                  </a:cubicBezTo>
                  <a:cubicBezTo>
                    <a:pt x="17655" y="14160"/>
                    <a:pt x="17631" y="14150"/>
                    <a:pt x="17620" y="14150"/>
                  </a:cubicBezTo>
                  <a:cubicBezTo>
                    <a:pt x="17594" y="14180"/>
                    <a:pt x="17566" y="14194"/>
                    <a:pt x="17537" y="14194"/>
                  </a:cubicBezTo>
                  <a:cubicBezTo>
                    <a:pt x="17347" y="14074"/>
                    <a:pt x="17235" y="14014"/>
                    <a:pt x="17200" y="14014"/>
                  </a:cubicBezTo>
                  <a:cubicBezTo>
                    <a:pt x="17168" y="14014"/>
                    <a:pt x="17145" y="14048"/>
                    <a:pt x="17131" y="14118"/>
                  </a:cubicBezTo>
                  <a:cubicBezTo>
                    <a:pt x="17125" y="14154"/>
                    <a:pt x="17120" y="14198"/>
                    <a:pt x="17117" y="14249"/>
                  </a:cubicBezTo>
                  <a:cubicBezTo>
                    <a:pt x="17109" y="14293"/>
                    <a:pt x="17084" y="14322"/>
                    <a:pt x="17043" y="14336"/>
                  </a:cubicBezTo>
                  <a:cubicBezTo>
                    <a:pt x="17008" y="14347"/>
                    <a:pt x="16991" y="14371"/>
                    <a:pt x="16991" y="14407"/>
                  </a:cubicBezTo>
                  <a:cubicBezTo>
                    <a:pt x="16991" y="14422"/>
                    <a:pt x="17004" y="14451"/>
                    <a:pt x="17030" y="14495"/>
                  </a:cubicBezTo>
                  <a:cubicBezTo>
                    <a:pt x="17053" y="14538"/>
                    <a:pt x="17065" y="14577"/>
                    <a:pt x="17065" y="14610"/>
                  </a:cubicBezTo>
                  <a:cubicBezTo>
                    <a:pt x="17065" y="14639"/>
                    <a:pt x="17061" y="14666"/>
                    <a:pt x="17052" y="14692"/>
                  </a:cubicBezTo>
                  <a:cubicBezTo>
                    <a:pt x="17049" y="14695"/>
                    <a:pt x="17046" y="14699"/>
                    <a:pt x="17043" y="14702"/>
                  </a:cubicBezTo>
                  <a:cubicBezTo>
                    <a:pt x="17020" y="14746"/>
                    <a:pt x="16998" y="14790"/>
                    <a:pt x="16978" y="14834"/>
                  </a:cubicBezTo>
                  <a:cubicBezTo>
                    <a:pt x="16975" y="14841"/>
                    <a:pt x="16972" y="14850"/>
                    <a:pt x="16969" y="14861"/>
                  </a:cubicBezTo>
                  <a:cubicBezTo>
                    <a:pt x="16954" y="14897"/>
                    <a:pt x="16922" y="14947"/>
                    <a:pt x="16873" y="15008"/>
                  </a:cubicBezTo>
                  <a:cubicBezTo>
                    <a:pt x="16806" y="15089"/>
                    <a:pt x="16758" y="15129"/>
                    <a:pt x="16729" y="15129"/>
                  </a:cubicBezTo>
                  <a:lnTo>
                    <a:pt x="16148" y="14588"/>
                  </a:lnTo>
                  <a:cubicBezTo>
                    <a:pt x="16121" y="14588"/>
                    <a:pt x="16099" y="14620"/>
                    <a:pt x="16082" y="14686"/>
                  </a:cubicBezTo>
                  <a:cubicBezTo>
                    <a:pt x="16068" y="14748"/>
                    <a:pt x="16046" y="14779"/>
                    <a:pt x="16017" y="14779"/>
                  </a:cubicBezTo>
                  <a:cubicBezTo>
                    <a:pt x="15949" y="14721"/>
                    <a:pt x="15907" y="14692"/>
                    <a:pt x="15890" y="14692"/>
                  </a:cubicBezTo>
                  <a:cubicBezTo>
                    <a:pt x="15878" y="14692"/>
                    <a:pt x="15868" y="14708"/>
                    <a:pt x="15859" y="14741"/>
                  </a:cubicBezTo>
                  <a:cubicBezTo>
                    <a:pt x="15848" y="14773"/>
                    <a:pt x="15830" y="14790"/>
                    <a:pt x="15807" y="14790"/>
                  </a:cubicBezTo>
                  <a:cubicBezTo>
                    <a:pt x="15789" y="14790"/>
                    <a:pt x="15756" y="14770"/>
                    <a:pt x="15706" y="14730"/>
                  </a:cubicBezTo>
                  <a:cubicBezTo>
                    <a:pt x="15657" y="14690"/>
                    <a:pt x="15631" y="14668"/>
                    <a:pt x="15628" y="14664"/>
                  </a:cubicBezTo>
                  <a:cubicBezTo>
                    <a:pt x="15616" y="14657"/>
                    <a:pt x="15577" y="14646"/>
                    <a:pt x="15510" y="14631"/>
                  </a:cubicBezTo>
                  <a:cubicBezTo>
                    <a:pt x="15443" y="14617"/>
                    <a:pt x="15386" y="14599"/>
                    <a:pt x="15339" y="14577"/>
                  </a:cubicBezTo>
                  <a:cubicBezTo>
                    <a:pt x="15296" y="14555"/>
                    <a:pt x="15220" y="14477"/>
                    <a:pt x="15112" y="14342"/>
                  </a:cubicBezTo>
                  <a:cubicBezTo>
                    <a:pt x="15016" y="14222"/>
                    <a:pt x="14942" y="14161"/>
                    <a:pt x="14889" y="14161"/>
                  </a:cubicBezTo>
                  <a:cubicBezTo>
                    <a:pt x="14860" y="14161"/>
                    <a:pt x="14843" y="14167"/>
                    <a:pt x="14837" y="14178"/>
                  </a:cubicBezTo>
                  <a:cubicBezTo>
                    <a:pt x="14816" y="14222"/>
                    <a:pt x="14802" y="14251"/>
                    <a:pt x="14793" y="14265"/>
                  </a:cubicBezTo>
                  <a:cubicBezTo>
                    <a:pt x="14735" y="14338"/>
                    <a:pt x="14706" y="14387"/>
                    <a:pt x="14706" y="14413"/>
                  </a:cubicBezTo>
                  <a:cubicBezTo>
                    <a:pt x="14706" y="14471"/>
                    <a:pt x="14731" y="14529"/>
                    <a:pt x="14780" y="14588"/>
                  </a:cubicBezTo>
                  <a:cubicBezTo>
                    <a:pt x="14824" y="14642"/>
                    <a:pt x="14870" y="14673"/>
                    <a:pt x="14920" y="14681"/>
                  </a:cubicBezTo>
                  <a:cubicBezTo>
                    <a:pt x="14923" y="14630"/>
                    <a:pt x="14927" y="14590"/>
                    <a:pt x="14933" y="14560"/>
                  </a:cubicBezTo>
                  <a:cubicBezTo>
                    <a:pt x="14939" y="14498"/>
                    <a:pt x="14955" y="14467"/>
                    <a:pt x="14981" y="14467"/>
                  </a:cubicBezTo>
                  <a:cubicBezTo>
                    <a:pt x="15007" y="14467"/>
                    <a:pt x="15036" y="14493"/>
                    <a:pt x="15069" y="14544"/>
                  </a:cubicBezTo>
                  <a:cubicBezTo>
                    <a:pt x="15103" y="14599"/>
                    <a:pt x="15146" y="14631"/>
                    <a:pt x="15195" y="14642"/>
                  </a:cubicBezTo>
                  <a:cubicBezTo>
                    <a:pt x="15242" y="14653"/>
                    <a:pt x="15287" y="14693"/>
                    <a:pt x="15331" y="14763"/>
                  </a:cubicBezTo>
                  <a:lnTo>
                    <a:pt x="15396" y="14866"/>
                  </a:lnTo>
                  <a:cubicBezTo>
                    <a:pt x="15402" y="14866"/>
                    <a:pt x="15430" y="14852"/>
                    <a:pt x="15479" y="14823"/>
                  </a:cubicBezTo>
                  <a:cubicBezTo>
                    <a:pt x="15537" y="14794"/>
                    <a:pt x="15590" y="14779"/>
                    <a:pt x="15636" y="14779"/>
                  </a:cubicBezTo>
                  <a:cubicBezTo>
                    <a:pt x="15657" y="14779"/>
                    <a:pt x="15680" y="14786"/>
                    <a:pt x="15706" y="14801"/>
                  </a:cubicBezTo>
                  <a:cubicBezTo>
                    <a:pt x="15744" y="14819"/>
                    <a:pt x="15763" y="14846"/>
                    <a:pt x="15763" y="14883"/>
                  </a:cubicBezTo>
                  <a:cubicBezTo>
                    <a:pt x="15763" y="14901"/>
                    <a:pt x="15751" y="14921"/>
                    <a:pt x="15728" y="14943"/>
                  </a:cubicBezTo>
                  <a:cubicBezTo>
                    <a:pt x="15702" y="14965"/>
                    <a:pt x="15689" y="14988"/>
                    <a:pt x="15689" y="15014"/>
                  </a:cubicBezTo>
                  <a:cubicBezTo>
                    <a:pt x="15689" y="15076"/>
                    <a:pt x="15705" y="15107"/>
                    <a:pt x="15737" y="15107"/>
                  </a:cubicBezTo>
                  <a:cubicBezTo>
                    <a:pt x="15743" y="15107"/>
                    <a:pt x="15775" y="15074"/>
                    <a:pt x="15833" y="15008"/>
                  </a:cubicBezTo>
                  <a:cubicBezTo>
                    <a:pt x="15900" y="14939"/>
                    <a:pt x="15954" y="14905"/>
                    <a:pt x="15995" y="14905"/>
                  </a:cubicBezTo>
                  <a:lnTo>
                    <a:pt x="16209" y="15063"/>
                  </a:lnTo>
                  <a:cubicBezTo>
                    <a:pt x="16363" y="15176"/>
                    <a:pt x="16465" y="15256"/>
                    <a:pt x="16515" y="15304"/>
                  </a:cubicBezTo>
                  <a:cubicBezTo>
                    <a:pt x="16570" y="15358"/>
                    <a:pt x="16618" y="15457"/>
                    <a:pt x="16659" y="15599"/>
                  </a:cubicBezTo>
                  <a:cubicBezTo>
                    <a:pt x="16700" y="15737"/>
                    <a:pt x="16720" y="15870"/>
                    <a:pt x="16720" y="15998"/>
                  </a:cubicBezTo>
                  <a:cubicBezTo>
                    <a:pt x="16720" y="16093"/>
                    <a:pt x="16695" y="16167"/>
                    <a:pt x="16646" y="16222"/>
                  </a:cubicBezTo>
                  <a:cubicBezTo>
                    <a:pt x="16596" y="16277"/>
                    <a:pt x="16535" y="16297"/>
                    <a:pt x="16462" y="16282"/>
                  </a:cubicBezTo>
                  <a:cubicBezTo>
                    <a:pt x="16430" y="16275"/>
                    <a:pt x="16367" y="16309"/>
                    <a:pt x="16274" y="16386"/>
                  </a:cubicBezTo>
                  <a:cubicBezTo>
                    <a:pt x="16178" y="16466"/>
                    <a:pt x="16097" y="16506"/>
                    <a:pt x="16030" y="16506"/>
                  </a:cubicBezTo>
                  <a:cubicBezTo>
                    <a:pt x="15986" y="16506"/>
                    <a:pt x="15919" y="16490"/>
                    <a:pt x="15829" y="16457"/>
                  </a:cubicBezTo>
                  <a:cubicBezTo>
                    <a:pt x="15735" y="16424"/>
                    <a:pt x="15687" y="16408"/>
                    <a:pt x="15684" y="16408"/>
                  </a:cubicBezTo>
                  <a:cubicBezTo>
                    <a:pt x="15655" y="16408"/>
                    <a:pt x="15628" y="16430"/>
                    <a:pt x="15601" y="16473"/>
                  </a:cubicBezTo>
                  <a:cubicBezTo>
                    <a:pt x="15572" y="16517"/>
                    <a:pt x="15558" y="16566"/>
                    <a:pt x="15558" y="16621"/>
                  </a:cubicBezTo>
                  <a:cubicBezTo>
                    <a:pt x="15558" y="16712"/>
                    <a:pt x="15606" y="16763"/>
                    <a:pt x="15702" y="16774"/>
                  </a:cubicBezTo>
                  <a:cubicBezTo>
                    <a:pt x="15795" y="16785"/>
                    <a:pt x="15842" y="16816"/>
                    <a:pt x="15842" y="16867"/>
                  </a:cubicBezTo>
                  <a:cubicBezTo>
                    <a:pt x="15842" y="16896"/>
                    <a:pt x="15833" y="16925"/>
                    <a:pt x="15815" y="16954"/>
                  </a:cubicBezTo>
                  <a:cubicBezTo>
                    <a:pt x="15795" y="16983"/>
                    <a:pt x="15772" y="16998"/>
                    <a:pt x="15746" y="16998"/>
                  </a:cubicBezTo>
                  <a:cubicBezTo>
                    <a:pt x="15725" y="16998"/>
                    <a:pt x="15696" y="16989"/>
                    <a:pt x="15658" y="16971"/>
                  </a:cubicBezTo>
                  <a:cubicBezTo>
                    <a:pt x="15618" y="16952"/>
                    <a:pt x="15588" y="16943"/>
                    <a:pt x="15571" y="16943"/>
                  </a:cubicBezTo>
                  <a:cubicBezTo>
                    <a:pt x="15489" y="16943"/>
                    <a:pt x="15449" y="17031"/>
                    <a:pt x="15449" y="17206"/>
                  </a:cubicBezTo>
                  <a:cubicBezTo>
                    <a:pt x="15449" y="17238"/>
                    <a:pt x="15459" y="17320"/>
                    <a:pt x="15479" y="17452"/>
                  </a:cubicBezTo>
                  <a:cubicBezTo>
                    <a:pt x="15500" y="17583"/>
                    <a:pt x="15510" y="17661"/>
                    <a:pt x="15510" y="17687"/>
                  </a:cubicBezTo>
                  <a:cubicBezTo>
                    <a:pt x="15510" y="17734"/>
                    <a:pt x="15510" y="17760"/>
                    <a:pt x="15510" y="17763"/>
                  </a:cubicBezTo>
                  <a:cubicBezTo>
                    <a:pt x="15504" y="17792"/>
                    <a:pt x="15489" y="17807"/>
                    <a:pt x="15466" y="17807"/>
                  </a:cubicBezTo>
                  <a:cubicBezTo>
                    <a:pt x="15454" y="17807"/>
                    <a:pt x="15427" y="17763"/>
                    <a:pt x="15383" y="17676"/>
                  </a:cubicBezTo>
                  <a:cubicBezTo>
                    <a:pt x="15339" y="17585"/>
                    <a:pt x="15304" y="17539"/>
                    <a:pt x="15278" y="17539"/>
                  </a:cubicBezTo>
                  <a:cubicBezTo>
                    <a:pt x="15223" y="17539"/>
                    <a:pt x="15166" y="17634"/>
                    <a:pt x="15108" y="17823"/>
                  </a:cubicBezTo>
                  <a:cubicBezTo>
                    <a:pt x="15076" y="17922"/>
                    <a:pt x="15045" y="18033"/>
                    <a:pt x="15016" y="18157"/>
                  </a:cubicBezTo>
                  <a:cubicBezTo>
                    <a:pt x="14993" y="18142"/>
                    <a:pt x="14972" y="18135"/>
                    <a:pt x="14955" y="18135"/>
                  </a:cubicBezTo>
                  <a:cubicBezTo>
                    <a:pt x="14897" y="18135"/>
                    <a:pt x="14867" y="18157"/>
                    <a:pt x="14867" y="18200"/>
                  </a:cubicBezTo>
                  <a:cubicBezTo>
                    <a:pt x="14867" y="18215"/>
                    <a:pt x="14882" y="18244"/>
                    <a:pt x="14911" y="18288"/>
                  </a:cubicBezTo>
                  <a:cubicBezTo>
                    <a:pt x="14940" y="18332"/>
                    <a:pt x="14955" y="18364"/>
                    <a:pt x="14955" y="18386"/>
                  </a:cubicBezTo>
                  <a:cubicBezTo>
                    <a:pt x="14955" y="18441"/>
                    <a:pt x="14904" y="18548"/>
                    <a:pt x="14802" y="18709"/>
                  </a:cubicBezTo>
                  <a:cubicBezTo>
                    <a:pt x="14714" y="18847"/>
                    <a:pt x="14646" y="18944"/>
                    <a:pt x="14597" y="18998"/>
                  </a:cubicBezTo>
                  <a:cubicBezTo>
                    <a:pt x="14564" y="19031"/>
                    <a:pt x="14474" y="19046"/>
                    <a:pt x="14326" y="19042"/>
                  </a:cubicBezTo>
                  <a:cubicBezTo>
                    <a:pt x="14206" y="19038"/>
                    <a:pt x="14147" y="19077"/>
                    <a:pt x="14147" y="19157"/>
                  </a:cubicBezTo>
                  <a:cubicBezTo>
                    <a:pt x="14147" y="19197"/>
                    <a:pt x="14183" y="19244"/>
                    <a:pt x="14256" y="19299"/>
                  </a:cubicBezTo>
                  <a:cubicBezTo>
                    <a:pt x="14329" y="19354"/>
                    <a:pt x="14365" y="19427"/>
                    <a:pt x="14365" y="19518"/>
                  </a:cubicBezTo>
                  <a:cubicBezTo>
                    <a:pt x="14365" y="19543"/>
                    <a:pt x="14346" y="19607"/>
                    <a:pt x="14308" y="19709"/>
                  </a:cubicBezTo>
                  <a:cubicBezTo>
                    <a:pt x="14308" y="19713"/>
                    <a:pt x="14321" y="19776"/>
                    <a:pt x="14348" y="19900"/>
                  </a:cubicBezTo>
                  <a:cubicBezTo>
                    <a:pt x="14348" y="19908"/>
                    <a:pt x="14321" y="19938"/>
                    <a:pt x="14269" y="19993"/>
                  </a:cubicBezTo>
                  <a:cubicBezTo>
                    <a:pt x="14214" y="20051"/>
                    <a:pt x="14186" y="20099"/>
                    <a:pt x="14186" y="20135"/>
                  </a:cubicBezTo>
                  <a:cubicBezTo>
                    <a:pt x="14198" y="20153"/>
                    <a:pt x="14212" y="20215"/>
                    <a:pt x="14229" y="20321"/>
                  </a:cubicBezTo>
                  <a:cubicBezTo>
                    <a:pt x="14247" y="20430"/>
                    <a:pt x="14256" y="20500"/>
                    <a:pt x="14256" y="20529"/>
                  </a:cubicBezTo>
                  <a:cubicBezTo>
                    <a:pt x="14256" y="20609"/>
                    <a:pt x="14222" y="20660"/>
                    <a:pt x="14155" y="20682"/>
                  </a:cubicBezTo>
                  <a:cubicBezTo>
                    <a:pt x="14085" y="20700"/>
                    <a:pt x="14050" y="20833"/>
                    <a:pt x="14050" y="21081"/>
                  </a:cubicBezTo>
                  <a:lnTo>
                    <a:pt x="14050" y="21234"/>
                  </a:lnTo>
                  <a:lnTo>
                    <a:pt x="14085" y="21545"/>
                  </a:lnTo>
                  <a:cubicBezTo>
                    <a:pt x="14088" y="21564"/>
                    <a:pt x="14091" y="21582"/>
                    <a:pt x="14094" y="21600"/>
                  </a:cubicBezTo>
                  <a:lnTo>
                    <a:pt x="8777" y="21321"/>
                  </a:lnTo>
                  <a:lnTo>
                    <a:pt x="9284" y="15391"/>
                  </a:lnTo>
                  <a:lnTo>
                    <a:pt x="9398" y="13664"/>
                  </a:lnTo>
                  <a:lnTo>
                    <a:pt x="5002" y="11806"/>
                  </a:lnTo>
                  <a:lnTo>
                    <a:pt x="4413" y="10423"/>
                  </a:lnTo>
                  <a:lnTo>
                    <a:pt x="3334" y="10089"/>
                  </a:lnTo>
                  <a:lnTo>
                    <a:pt x="0" y="4039"/>
                  </a:lnTo>
                  <a:cubicBezTo>
                    <a:pt x="0" y="4039"/>
                    <a:pt x="839" y="1498"/>
                    <a:pt x="839" y="1498"/>
                  </a:cubicBezTo>
                  <a:close/>
                  <a:moveTo>
                    <a:pt x="839" y="149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2" name="AutoShape 39"/>
            <p:cNvSpPr>
              <a:spLocks/>
            </p:cNvSpPr>
            <p:nvPr/>
          </p:nvSpPr>
          <p:spPr bwMode="auto">
            <a:xfrm>
              <a:off x="7654489" y="4082027"/>
              <a:ext cx="393599" cy="303239"/>
            </a:xfrm>
            <a:custGeom>
              <a:avLst/>
              <a:gdLst/>
              <a:ahLst/>
              <a:cxnLst/>
              <a:rect l="0" t="0" r="r" b="b"/>
              <a:pathLst>
                <a:path w="21600" h="21583">
                  <a:moveTo>
                    <a:pt x="16738" y="14179"/>
                  </a:moveTo>
                  <a:lnTo>
                    <a:pt x="16783" y="15166"/>
                  </a:lnTo>
                  <a:cubicBezTo>
                    <a:pt x="16827" y="15853"/>
                    <a:pt x="16868" y="16327"/>
                    <a:pt x="16906" y="16588"/>
                  </a:cubicBezTo>
                  <a:cubicBezTo>
                    <a:pt x="16958" y="16888"/>
                    <a:pt x="17022" y="17198"/>
                    <a:pt x="17096" y="17517"/>
                  </a:cubicBezTo>
                  <a:cubicBezTo>
                    <a:pt x="17163" y="17827"/>
                    <a:pt x="17223" y="18035"/>
                    <a:pt x="17275" y="18141"/>
                  </a:cubicBezTo>
                  <a:cubicBezTo>
                    <a:pt x="17320" y="18237"/>
                    <a:pt x="17317" y="18325"/>
                    <a:pt x="17264" y="18402"/>
                  </a:cubicBezTo>
                  <a:cubicBezTo>
                    <a:pt x="17234" y="18460"/>
                    <a:pt x="17156" y="18528"/>
                    <a:pt x="17029" y="18605"/>
                  </a:cubicBezTo>
                  <a:cubicBezTo>
                    <a:pt x="16917" y="18673"/>
                    <a:pt x="16854" y="18746"/>
                    <a:pt x="16839" y="18823"/>
                  </a:cubicBezTo>
                  <a:cubicBezTo>
                    <a:pt x="16816" y="18871"/>
                    <a:pt x="16827" y="18954"/>
                    <a:pt x="16872" y="19070"/>
                  </a:cubicBezTo>
                  <a:cubicBezTo>
                    <a:pt x="16917" y="19215"/>
                    <a:pt x="16995" y="19331"/>
                    <a:pt x="17107" y="19418"/>
                  </a:cubicBezTo>
                  <a:cubicBezTo>
                    <a:pt x="16920" y="19631"/>
                    <a:pt x="16805" y="19844"/>
                    <a:pt x="16760" y="20057"/>
                  </a:cubicBezTo>
                  <a:cubicBezTo>
                    <a:pt x="16790" y="20076"/>
                    <a:pt x="16839" y="20095"/>
                    <a:pt x="16906" y="20115"/>
                  </a:cubicBezTo>
                  <a:cubicBezTo>
                    <a:pt x="16928" y="20115"/>
                    <a:pt x="17048" y="20042"/>
                    <a:pt x="17264" y="19897"/>
                  </a:cubicBezTo>
                  <a:cubicBezTo>
                    <a:pt x="17503" y="19742"/>
                    <a:pt x="17686" y="19646"/>
                    <a:pt x="17813" y="19607"/>
                  </a:cubicBezTo>
                  <a:cubicBezTo>
                    <a:pt x="17896" y="19587"/>
                    <a:pt x="18018" y="19471"/>
                    <a:pt x="18183" y="19258"/>
                  </a:cubicBezTo>
                  <a:cubicBezTo>
                    <a:pt x="18332" y="19055"/>
                    <a:pt x="18493" y="18954"/>
                    <a:pt x="18664" y="18954"/>
                  </a:cubicBezTo>
                  <a:cubicBezTo>
                    <a:pt x="19083" y="18954"/>
                    <a:pt x="19441" y="18813"/>
                    <a:pt x="19740" y="18533"/>
                  </a:cubicBezTo>
                  <a:cubicBezTo>
                    <a:pt x="19882" y="18388"/>
                    <a:pt x="20121" y="18035"/>
                    <a:pt x="20457" y="17473"/>
                  </a:cubicBezTo>
                  <a:cubicBezTo>
                    <a:pt x="20457" y="17638"/>
                    <a:pt x="20383" y="17865"/>
                    <a:pt x="20233" y="18155"/>
                  </a:cubicBezTo>
                  <a:lnTo>
                    <a:pt x="19886" y="18838"/>
                  </a:lnTo>
                  <a:lnTo>
                    <a:pt x="19976" y="18838"/>
                  </a:lnTo>
                  <a:cubicBezTo>
                    <a:pt x="20050" y="18818"/>
                    <a:pt x="20173" y="18688"/>
                    <a:pt x="20345" y="18446"/>
                  </a:cubicBezTo>
                  <a:cubicBezTo>
                    <a:pt x="20524" y="18185"/>
                    <a:pt x="20655" y="18039"/>
                    <a:pt x="20737" y="18010"/>
                  </a:cubicBezTo>
                  <a:cubicBezTo>
                    <a:pt x="21036" y="17856"/>
                    <a:pt x="21323" y="17739"/>
                    <a:pt x="21600" y="17662"/>
                  </a:cubicBezTo>
                  <a:lnTo>
                    <a:pt x="21600" y="17720"/>
                  </a:lnTo>
                  <a:lnTo>
                    <a:pt x="20446" y="18925"/>
                  </a:lnTo>
                  <a:cubicBezTo>
                    <a:pt x="20312" y="18973"/>
                    <a:pt x="20225" y="19050"/>
                    <a:pt x="20188" y="19157"/>
                  </a:cubicBezTo>
                  <a:cubicBezTo>
                    <a:pt x="20136" y="19273"/>
                    <a:pt x="20054" y="19365"/>
                    <a:pt x="19942" y="19433"/>
                  </a:cubicBezTo>
                  <a:cubicBezTo>
                    <a:pt x="19920" y="19461"/>
                    <a:pt x="19815" y="19539"/>
                    <a:pt x="19628" y="19665"/>
                  </a:cubicBezTo>
                  <a:cubicBezTo>
                    <a:pt x="19479" y="19771"/>
                    <a:pt x="19359" y="19824"/>
                    <a:pt x="19270" y="19824"/>
                  </a:cubicBezTo>
                  <a:cubicBezTo>
                    <a:pt x="19068" y="19853"/>
                    <a:pt x="18855" y="19974"/>
                    <a:pt x="18631" y="20187"/>
                  </a:cubicBezTo>
                  <a:cubicBezTo>
                    <a:pt x="18362" y="20458"/>
                    <a:pt x="18149" y="20666"/>
                    <a:pt x="17992" y="20811"/>
                  </a:cubicBezTo>
                  <a:cubicBezTo>
                    <a:pt x="17836" y="20937"/>
                    <a:pt x="17600" y="21087"/>
                    <a:pt x="17287" y="21261"/>
                  </a:cubicBezTo>
                  <a:cubicBezTo>
                    <a:pt x="16913" y="21493"/>
                    <a:pt x="16652" y="21600"/>
                    <a:pt x="16503" y="21580"/>
                  </a:cubicBezTo>
                  <a:cubicBezTo>
                    <a:pt x="16376" y="21580"/>
                    <a:pt x="16289" y="21576"/>
                    <a:pt x="16245" y="21566"/>
                  </a:cubicBezTo>
                  <a:cubicBezTo>
                    <a:pt x="16155" y="21527"/>
                    <a:pt x="16110" y="21455"/>
                    <a:pt x="16110" y="21348"/>
                  </a:cubicBezTo>
                  <a:cubicBezTo>
                    <a:pt x="16110" y="21261"/>
                    <a:pt x="16125" y="21198"/>
                    <a:pt x="16155" y="21160"/>
                  </a:cubicBezTo>
                  <a:cubicBezTo>
                    <a:pt x="16282" y="21024"/>
                    <a:pt x="16383" y="20763"/>
                    <a:pt x="16457" y="20376"/>
                  </a:cubicBezTo>
                  <a:cubicBezTo>
                    <a:pt x="16510" y="20047"/>
                    <a:pt x="16528" y="19820"/>
                    <a:pt x="16514" y="19694"/>
                  </a:cubicBezTo>
                  <a:cubicBezTo>
                    <a:pt x="16476" y="19578"/>
                    <a:pt x="15987" y="19317"/>
                    <a:pt x="15046" y="18910"/>
                  </a:cubicBezTo>
                  <a:lnTo>
                    <a:pt x="14004" y="18431"/>
                  </a:lnTo>
                  <a:cubicBezTo>
                    <a:pt x="13832" y="18218"/>
                    <a:pt x="13683" y="18093"/>
                    <a:pt x="13556" y="18054"/>
                  </a:cubicBezTo>
                  <a:cubicBezTo>
                    <a:pt x="13437" y="18054"/>
                    <a:pt x="13343" y="18049"/>
                    <a:pt x="13276" y="18039"/>
                  </a:cubicBezTo>
                  <a:cubicBezTo>
                    <a:pt x="13171" y="18010"/>
                    <a:pt x="13089" y="17933"/>
                    <a:pt x="13030" y="17807"/>
                  </a:cubicBezTo>
                  <a:cubicBezTo>
                    <a:pt x="12880" y="17507"/>
                    <a:pt x="12791" y="17212"/>
                    <a:pt x="12760" y="16922"/>
                  </a:cubicBezTo>
                  <a:lnTo>
                    <a:pt x="12727" y="16617"/>
                  </a:lnTo>
                  <a:cubicBezTo>
                    <a:pt x="12704" y="16530"/>
                    <a:pt x="12648" y="16467"/>
                    <a:pt x="12559" y="16428"/>
                  </a:cubicBezTo>
                  <a:cubicBezTo>
                    <a:pt x="12447" y="16399"/>
                    <a:pt x="12343" y="16341"/>
                    <a:pt x="12245" y="16254"/>
                  </a:cubicBezTo>
                  <a:cubicBezTo>
                    <a:pt x="12141" y="16167"/>
                    <a:pt x="12073" y="16080"/>
                    <a:pt x="12044" y="15993"/>
                  </a:cubicBezTo>
                  <a:cubicBezTo>
                    <a:pt x="12006" y="15886"/>
                    <a:pt x="11943" y="15863"/>
                    <a:pt x="11853" y="15920"/>
                  </a:cubicBezTo>
                  <a:cubicBezTo>
                    <a:pt x="11756" y="15969"/>
                    <a:pt x="9997" y="16457"/>
                    <a:pt x="6576" y="17386"/>
                  </a:cubicBezTo>
                  <a:cubicBezTo>
                    <a:pt x="3163" y="18315"/>
                    <a:pt x="1072" y="18939"/>
                    <a:pt x="302" y="19258"/>
                  </a:cubicBezTo>
                  <a:lnTo>
                    <a:pt x="0" y="17415"/>
                  </a:lnTo>
                  <a:cubicBezTo>
                    <a:pt x="30" y="17357"/>
                    <a:pt x="63" y="17304"/>
                    <a:pt x="101" y="17256"/>
                  </a:cubicBezTo>
                  <a:cubicBezTo>
                    <a:pt x="280" y="17004"/>
                    <a:pt x="418" y="16825"/>
                    <a:pt x="515" y="16718"/>
                  </a:cubicBezTo>
                  <a:cubicBezTo>
                    <a:pt x="680" y="16516"/>
                    <a:pt x="945" y="16143"/>
                    <a:pt x="1311" y="15601"/>
                  </a:cubicBezTo>
                  <a:cubicBezTo>
                    <a:pt x="1744" y="14963"/>
                    <a:pt x="1964" y="14576"/>
                    <a:pt x="1971" y="14440"/>
                  </a:cubicBezTo>
                  <a:cubicBezTo>
                    <a:pt x="1971" y="14227"/>
                    <a:pt x="1905" y="14121"/>
                    <a:pt x="1770" y="14121"/>
                  </a:cubicBezTo>
                  <a:lnTo>
                    <a:pt x="1759" y="14121"/>
                  </a:lnTo>
                  <a:cubicBezTo>
                    <a:pt x="1774" y="14082"/>
                    <a:pt x="1789" y="14053"/>
                    <a:pt x="1803" y="14034"/>
                  </a:cubicBezTo>
                  <a:cubicBezTo>
                    <a:pt x="1908" y="13870"/>
                    <a:pt x="1875" y="13719"/>
                    <a:pt x="1703" y="13584"/>
                  </a:cubicBezTo>
                  <a:cubicBezTo>
                    <a:pt x="1471" y="13361"/>
                    <a:pt x="1340" y="13202"/>
                    <a:pt x="1311" y="13105"/>
                  </a:cubicBezTo>
                  <a:cubicBezTo>
                    <a:pt x="1273" y="12960"/>
                    <a:pt x="1262" y="12747"/>
                    <a:pt x="1277" y="12467"/>
                  </a:cubicBezTo>
                  <a:cubicBezTo>
                    <a:pt x="1284" y="12331"/>
                    <a:pt x="1284" y="12225"/>
                    <a:pt x="1277" y="12147"/>
                  </a:cubicBezTo>
                  <a:lnTo>
                    <a:pt x="1288" y="12133"/>
                  </a:lnTo>
                  <a:cubicBezTo>
                    <a:pt x="1378" y="12113"/>
                    <a:pt x="1445" y="12075"/>
                    <a:pt x="1490" y="12017"/>
                  </a:cubicBezTo>
                  <a:cubicBezTo>
                    <a:pt x="1624" y="11833"/>
                    <a:pt x="1975" y="11634"/>
                    <a:pt x="2543" y="11422"/>
                  </a:cubicBezTo>
                  <a:cubicBezTo>
                    <a:pt x="2543" y="11412"/>
                    <a:pt x="2547" y="11407"/>
                    <a:pt x="2554" y="11407"/>
                  </a:cubicBezTo>
                  <a:cubicBezTo>
                    <a:pt x="3069" y="11214"/>
                    <a:pt x="3420" y="11117"/>
                    <a:pt x="3607" y="11117"/>
                  </a:cubicBezTo>
                  <a:lnTo>
                    <a:pt x="3686" y="11131"/>
                  </a:lnTo>
                  <a:cubicBezTo>
                    <a:pt x="3858" y="11122"/>
                    <a:pt x="4070" y="11122"/>
                    <a:pt x="4324" y="11131"/>
                  </a:cubicBezTo>
                  <a:lnTo>
                    <a:pt x="4336" y="11131"/>
                  </a:lnTo>
                  <a:cubicBezTo>
                    <a:pt x="4462" y="11131"/>
                    <a:pt x="4604" y="11180"/>
                    <a:pt x="4761" y="11276"/>
                  </a:cubicBezTo>
                  <a:cubicBezTo>
                    <a:pt x="4925" y="11383"/>
                    <a:pt x="5023" y="11436"/>
                    <a:pt x="5053" y="11436"/>
                  </a:cubicBezTo>
                  <a:cubicBezTo>
                    <a:pt x="5195" y="11446"/>
                    <a:pt x="5351" y="11364"/>
                    <a:pt x="5523" y="11189"/>
                  </a:cubicBezTo>
                  <a:cubicBezTo>
                    <a:pt x="5702" y="11006"/>
                    <a:pt x="5893" y="10914"/>
                    <a:pt x="6095" y="10914"/>
                  </a:cubicBezTo>
                  <a:cubicBezTo>
                    <a:pt x="6341" y="10924"/>
                    <a:pt x="6562" y="10938"/>
                    <a:pt x="6756" y="10957"/>
                  </a:cubicBezTo>
                  <a:cubicBezTo>
                    <a:pt x="6793" y="10948"/>
                    <a:pt x="6894" y="10812"/>
                    <a:pt x="7058" y="10551"/>
                  </a:cubicBezTo>
                  <a:cubicBezTo>
                    <a:pt x="7081" y="10503"/>
                    <a:pt x="7107" y="10454"/>
                    <a:pt x="7137" y="10406"/>
                  </a:cubicBezTo>
                  <a:cubicBezTo>
                    <a:pt x="7151" y="10377"/>
                    <a:pt x="7178" y="10338"/>
                    <a:pt x="7215" y="10290"/>
                  </a:cubicBezTo>
                  <a:cubicBezTo>
                    <a:pt x="7260" y="10232"/>
                    <a:pt x="7319" y="10164"/>
                    <a:pt x="7394" y="10086"/>
                  </a:cubicBezTo>
                  <a:cubicBezTo>
                    <a:pt x="7417" y="10058"/>
                    <a:pt x="7439" y="10028"/>
                    <a:pt x="7461" y="9999"/>
                  </a:cubicBezTo>
                  <a:cubicBezTo>
                    <a:pt x="7648" y="9787"/>
                    <a:pt x="7764" y="9646"/>
                    <a:pt x="7809" y="9578"/>
                  </a:cubicBezTo>
                  <a:cubicBezTo>
                    <a:pt x="7824" y="9550"/>
                    <a:pt x="7842" y="9521"/>
                    <a:pt x="7865" y="9492"/>
                  </a:cubicBezTo>
                  <a:cubicBezTo>
                    <a:pt x="7909" y="9414"/>
                    <a:pt x="7943" y="9366"/>
                    <a:pt x="7965" y="9346"/>
                  </a:cubicBezTo>
                  <a:cubicBezTo>
                    <a:pt x="7973" y="9346"/>
                    <a:pt x="8052" y="9317"/>
                    <a:pt x="8201" y="9259"/>
                  </a:cubicBezTo>
                  <a:cubicBezTo>
                    <a:pt x="8291" y="9211"/>
                    <a:pt x="8354" y="9158"/>
                    <a:pt x="8391" y="9100"/>
                  </a:cubicBezTo>
                  <a:cubicBezTo>
                    <a:pt x="8429" y="9032"/>
                    <a:pt x="8447" y="8925"/>
                    <a:pt x="8447" y="8780"/>
                  </a:cubicBezTo>
                  <a:cubicBezTo>
                    <a:pt x="8455" y="8655"/>
                    <a:pt x="8440" y="8514"/>
                    <a:pt x="8403" y="8360"/>
                  </a:cubicBezTo>
                  <a:cubicBezTo>
                    <a:pt x="8358" y="8195"/>
                    <a:pt x="8305" y="8084"/>
                    <a:pt x="8245" y="8026"/>
                  </a:cubicBezTo>
                  <a:lnTo>
                    <a:pt x="8189" y="8026"/>
                  </a:lnTo>
                  <a:lnTo>
                    <a:pt x="8179" y="7663"/>
                  </a:lnTo>
                  <a:cubicBezTo>
                    <a:pt x="8186" y="7518"/>
                    <a:pt x="8242" y="7363"/>
                    <a:pt x="8347" y="7198"/>
                  </a:cubicBezTo>
                  <a:cubicBezTo>
                    <a:pt x="8436" y="7034"/>
                    <a:pt x="8485" y="6918"/>
                    <a:pt x="8492" y="6850"/>
                  </a:cubicBezTo>
                  <a:cubicBezTo>
                    <a:pt x="8492" y="6802"/>
                    <a:pt x="8488" y="6777"/>
                    <a:pt x="8481" y="6777"/>
                  </a:cubicBezTo>
                  <a:cubicBezTo>
                    <a:pt x="8466" y="6768"/>
                    <a:pt x="8440" y="6763"/>
                    <a:pt x="8403" y="6763"/>
                  </a:cubicBezTo>
                  <a:cubicBezTo>
                    <a:pt x="8380" y="6763"/>
                    <a:pt x="8332" y="6777"/>
                    <a:pt x="8257" y="6806"/>
                  </a:cubicBezTo>
                  <a:lnTo>
                    <a:pt x="8156" y="6850"/>
                  </a:lnTo>
                  <a:cubicBezTo>
                    <a:pt x="8126" y="6850"/>
                    <a:pt x="8089" y="6811"/>
                    <a:pt x="8044" y="6734"/>
                  </a:cubicBezTo>
                  <a:cubicBezTo>
                    <a:pt x="8007" y="6657"/>
                    <a:pt x="7954" y="6623"/>
                    <a:pt x="7887" y="6632"/>
                  </a:cubicBezTo>
                  <a:lnTo>
                    <a:pt x="7741" y="6632"/>
                  </a:lnTo>
                  <a:lnTo>
                    <a:pt x="7652" y="6603"/>
                  </a:lnTo>
                  <a:cubicBezTo>
                    <a:pt x="7652" y="6574"/>
                    <a:pt x="7660" y="6545"/>
                    <a:pt x="7674" y="6516"/>
                  </a:cubicBezTo>
                  <a:cubicBezTo>
                    <a:pt x="7697" y="6458"/>
                    <a:pt x="7741" y="6386"/>
                    <a:pt x="7809" y="6299"/>
                  </a:cubicBezTo>
                  <a:cubicBezTo>
                    <a:pt x="7831" y="6260"/>
                    <a:pt x="7853" y="6192"/>
                    <a:pt x="7876" y="6095"/>
                  </a:cubicBezTo>
                  <a:cubicBezTo>
                    <a:pt x="7891" y="6008"/>
                    <a:pt x="7917" y="5931"/>
                    <a:pt x="7954" y="5863"/>
                  </a:cubicBezTo>
                  <a:lnTo>
                    <a:pt x="7965" y="5863"/>
                  </a:lnTo>
                  <a:cubicBezTo>
                    <a:pt x="8459" y="5147"/>
                    <a:pt x="8742" y="4697"/>
                    <a:pt x="8817" y="4513"/>
                  </a:cubicBezTo>
                  <a:cubicBezTo>
                    <a:pt x="8854" y="4407"/>
                    <a:pt x="8940" y="4146"/>
                    <a:pt x="9075" y="3730"/>
                  </a:cubicBezTo>
                  <a:cubicBezTo>
                    <a:pt x="9246" y="3323"/>
                    <a:pt x="9459" y="2946"/>
                    <a:pt x="9713" y="2598"/>
                  </a:cubicBezTo>
                  <a:cubicBezTo>
                    <a:pt x="9915" y="2308"/>
                    <a:pt x="10165" y="1950"/>
                    <a:pt x="10464" y="1524"/>
                  </a:cubicBezTo>
                  <a:cubicBezTo>
                    <a:pt x="10643" y="1301"/>
                    <a:pt x="10867" y="1151"/>
                    <a:pt x="11136" y="1074"/>
                  </a:cubicBezTo>
                  <a:cubicBezTo>
                    <a:pt x="11143" y="1074"/>
                    <a:pt x="11151" y="1074"/>
                    <a:pt x="11158" y="1074"/>
                  </a:cubicBezTo>
                  <a:cubicBezTo>
                    <a:pt x="11226" y="1055"/>
                    <a:pt x="11297" y="1040"/>
                    <a:pt x="11371" y="1030"/>
                  </a:cubicBezTo>
                  <a:cubicBezTo>
                    <a:pt x="11722" y="992"/>
                    <a:pt x="12357" y="813"/>
                    <a:pt x="13276" y="493"/>
                  </a:cubicBezTo>
                  <a:cubicBezTo>
                    <a:pt x="13941" y="261"/>
                    <a:pt x="14419" y="96"/>
                    <a:pt x="14710" y="0"/>
                  </a:cubicBezTo>
                  <a:lnTo>
                    <a:pt x="14710" y="813"/>
                  </a:lnTo>
                  <a:lnTo>
                    <a:pt x="14766" y="871"/>
                  </a:lnTo>
                  <a:cubicBezTo>
                    <a:pt x="14796" y="938"/>
                    <a:pt x="14811" y="1011"/>
                    <a:pt x="14811" y="1088"/>
                  </a:cubicBezTo>
                  <a:lnTo>
                    <a:pt x="14811" y="1524"/>
                  </a:lnTo>
                  <a:cubicBezTo>
                    <a:pt x="14818" y="1746"/>
                    <a:pt x="14837" y="1916"/>
                    <a:pt x="14867" y="2032"/>
                  </a:cubicBezTo>
                  <a:cubicBezTo>
                    <a:pt x="14911" y="2148"/>
                    <a:pt x="14971" y="2225"/>
                    <a:pt x="15046" y="2264"/>
                  </a:cubicBezTo>
                  <a:cubicBezTo>
                    <a:pt x="15121" y="2332"/>
                    <a:pt x="15173" y="2375"/>
                    <a:pt x="15203" y="2395"/>
                  </a:cubicBezTo>
                  <a:cubicBezTo>
                    <a:pt x="15225" y="2453"/>
                    <a:pt x="15222" y="2549"/>
                    <a:pt x="15191" y="2685"/>
                  </a:cubicBezTo>
                  <a:cubicBezTo>
                    <a:pt x="15139" y="2869"/>
                    <a:pt x="15139" y="3014"/>
                    <a:pt x="15191" y="3120"/>
                  </a:cubicBezTo>
                  <a:cubicBezTo>
                    <a:pt x="15251" y="3294"/>
                    <a:pt x="15289" y="3406"/>
                    <a:pt x="15303" y="3454"/>
                  </a:cubicBezTo>
                  <a:cubicBezTo>
                    <a:pt x="15319" y="3541"/>
                    <a:pt x="15319" y="3638"/>
                    <a:pt x="15303" y="3744"/>
                  </a:cubicBezTo>
                  <a:cubicBezTo>
                    <a:pt x="15259" y="4083"/>
                    <a:pt x="15244" y="4412"/>
                    <a:pt x="15259" y="4731"/>
                  </a:cubicBezTo>
                  <a:cubicBezTo>
                    <a:pt x="15259" y="4876"/>
                    <a:pt x="15289" y="5012"/>
                    <a:pt x="15349" y="5138"/>
                  </a:cubicBezTo>
                  <a:cubicBezTo>
                    <a:pt x="15363" y="5176"/>
                    <a:pt x="15416" y="5273"/>
                    <a:pt x="15505" y="5428"/>
                  </a:cubicBezTo>
                  <a:cubicBezTo>
                    <a:pt x="15543" y="5496"/>
                    <a:pt x="15558" y="5626"/>
                    <a:pt x="15550" y="5820"/>
                  </a:cubicBezTo>
                  <a:cubicBezTo>
                    <a:pt x="15528" y="6119"/>
                    <a:pt x="15517" y="6323"/>
                    <a:pt x="15517" y="6429"/>
                  </a:cubicBezTo>
                  <a:cubicBezTo>
                    <a:pt x="15517" y="6623"/>
                    <a:pt x="15546" y="6720"/>
                    <a:pt x="15606" y="6720"/>
                  </a:cubicBezTo>
                  <a:cubicBezTo>
                    <a:pt x="15644" y="6710"/>
                    <a:pt x="15726" y="6676"/>
                    <a:pt x="15853" y="6618"/>
                  </a:cubicBezTo>
                  <a:cubicBezTo>
                    <a:pt x="15935" y="6579"/>
                    <a:pt x="15991" y="6599"/>
                    <a:pt x="16021" y="6676"/>
                  </a:cubicBezTo>
                  <a:cubicBezTo>
                    <a:pt x="16036" y="6715"/>
                    <a:pt x="16073" y="6884"/>
                    <a:pt x="16133" y="7184"/>
                  </a:cubicBezTo>
                  <a:cubicBezTo>
                    <a:pt x="16192" y="7387"/>
                    <a:pt x="16226" y="7605"/>
                    <a:pt x="16233" y="7837"/>
                  </a:cubicBezTo>
                  <a:cubicBezTo>
                    <a:pt x="16241" y="7992"/>
                    <a:pt x="16245" y="8205"/>
                    <a:pt x="16245" y="8476"/>
                  </a:cubicBezTo>
                  <a:cubicBezTo>
                    <a:pt x="16260" y="8785"/>
                    <a:pt x="16353" y="9124"/>
                    <a:pt x="16525" y="9492"/>
                  </a:cubicBezTo>
                  <a:cubicBezTo>
                    <a:pt x="16622" y="9704"/>
                    <a:pt x="16678" y="10082"/>
                    <a:pt x="16693" y="10623"/>
                  </a:cubicBezTo>
                  <a:lnTo>
                    <a:pt x="16581" y="14150"/>
                  </a:lnTo>
                  <a:cubicBezTo>
                    <a:pt x="16581" y="14150"/>
                    <a:pt x="16738" y="14179"/>
                    <a:pt x="16738" y="14179"/>
                  </a:cubicBezTo>
                  <a:close/>
                  <a:moveTo>
                    <a:pt x="16738" y="1417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3" name="AutoShape 40"/>
            <p:cNvSpPr>
              <a:spLocks/>
            </p:cNvSpPr>
            <p:nvPr/>
          </p:nvSpPr>
          <p:spPr bwMode="auto">
            <a:xfrm>
              <a:off x="7695329" y="4465926"/>
              <a:ext cx="233811" cy="175613"/>
            </a:xfrm>
            <a:custGeom>
              <a:avLst/>
              <a:gdLst/>
              <a:ahLst/>
              <a:cxnLst/>
              <a:rect l="0" t="0" r="r" b="b"/>
              <a:pathLst>
                <a:path w="21589" h="21584">
                  <a:moveTo>
                    <a:pt x="13795" y="13521"/>
                  </a:moveTo>
                  <a:cubicBezTo>
                    <a:pt x="13658" y="13353"/>
                    <a:pt x="13488" y="13195"/>
                    <a:pt x="13287" y="13045"/>
                  </a:cubicBezTo>
                  <a:cubicBezTo>
                    <a:pt x="13074" y="12878"/>
                    <a:pt x="12923" y="12795"/>
                    <a:pt x="12836" y="12795"/>
                  </a:cubicBezTo>
                  <a:cubicBezTo>
                    <a:pt x="12811" y="12811"/>
                    <a:pt x="12591" y="12937"/>
                    <a:pt x="12177" y="13170"/>
                  </a:cubicBezTo>
                  <a:cubicBezTo>
                    <a:pt x="11763" y="13404"/>
                    <a:pt x="11524" y="13521"/>
                    <a:pt x="11462" y="13521"/>
                  </a:cubicBezTo>
                  <a:cubicBezTo>
                    <a:pt x="11349" y="13521"/>
                    <a:pt x="11280" y="13396"/>
                    <a:pt x="11255" y="13145"/>
                  </a:cubicBezTo>
                  <a:cubicBezTo>
                    <a:pt x="11230" y="12995"/>
                    <a:pt x="11224" y="12745"/>
                    <a:pt x="11236" y="12394"/>
                  </a:cubicBezTo>
                  <a:cubicBezTo>
                    <a:pt x="11249" y="11843"/>
                    <a:pt x="11343" y="11401"/>
                    <a:pt x="11518" y="11067"/>
                  </a:cubicBezTo>
                  <a:cubicBezTo>
                    <a:pt x="11719" y="10699"/>
                    <a:pt x="11876" y="10391"/>
                    <a:pt x="11989" y="10141"/>
                  </a:cubicBezTo>
                  <a:lnTo>
                    <a:pt x="12271" y="9589"/>
                  </a:lnTo>
                  <a:cubicBezTo>
                    <a:pt x="12007" y="9389"/>
                    <a:pt x="11801" y="9214"/>
                    <a:pt x="11650" y="9064"/>
                  </a:cubicBezTo>
                  <a:cubicBezTo>
                    <a:pt x="11336" y="8797"/>
                    <a:pt x="11174" y="8563"/>
                    <a:pt x="11160" y="8363"/>
                  </a:cubicBezTo>
                  <a:cubicBezTo>
                    <a:pt x="11110" y="7912"/>
                    <a:pt x="10960" y="7645"/>
                    <a:pt x="10709" y="7561"/>
                  </a:cubicBezTo>
                  <a:cubicBezTo>
                    <a:pt x="10634" y="7561"/>
                    <a:pt x="10565" y="7553"/>
                    <a:pt x="10502" y="7536"/>
                  </a:cubicBezTo>
                  <a:cubicBezTo>
                    <a:pt x="10276" y="7520"/>
                    <a:pt x="10082" y="7461"/>
                    <a:pt x="9919" y="7361"/>
                  </a:cubicBezTo>
                  <a:cubicBezTo>
                    <a:pt x="9818" y="7294"/>
                    <a:pt x="9730" y="7036"/>
                    <a:pt x="9655" y="6584"/>
                  </a:cubicBezTo>
                  <a:cubicBezTo>
                    <a:pt x="9592" y="6168"/>
                    <a:pt x="9505" y="5950"/>
                    <a:pt x="9392" y="5934"/>
                  </a:cubicBezTo>
                  <a:cubicBezTo>
                    <a:pt x="9015" y="5817"/>
                    <a:pt x="8607" y="5708"/>
                    <a:pt x="8168" y="5609"/>
                  </a:cubicBezTo>
                  <a:cubicBezTo>
                    <a:pt x="8181" y="5391"/>
                    <a:pt x="8187" y="5242"/>
                    <a:pt x="8187" y="5157"/>
                  </a:cubicBezTo>
                  <a:cubicBezTo>
                    <a:pt x="8187" y="5091"/>
                    <a:pt x="8112" y="5024"/>
                    <a:pt x="7961" y="4958"/>
                  </a:cubicBezTo>
                  <a:cubicBezTo>
                    <a:pt x="7836" y="4924"/>
                    <a:pt x="7773" y="4774"/>
                    <a:pt x="7773" y="4506"/>
                  </a:cubicBezTo>
                  <a:cubicBezTo>
                    <a:pt x="7786" y="4274"/>
                    <a:pt x="7779" y="4115"/>
                    <a:pt x="7754" y="4031"/>
                  </a:cubicBezTo>
                  <a:cubicBezTo>
                    <a:pt x="7704" y="3831"/>
                    <a:pt x="7610" y="3731"/>
                    <a:pt x="7472" y="3731"/>
                  </a:cubicBezTo>
                  <a:cubicBezTo>
                    <a:pt x="7121" y="3714"/>
                    <a:pt x="6782" y="3564"/>
                    <a:pt x="6455" y="3280"/>
                  </a:cubicBezTo>
                  <a:cubicBezTo>
                    <a:pt x="6192" y="2963"/>
                    <a:pt x="6035" y="2813"/>
                    <a:pt x="5985" y="2829"/>
                  </a:cubicBezTo>
                  <a:cubicBezTo>
                    <a:pt x="5935" y="2829"/>
                    <a:pt x="5747" y="3022"/>
                    <a:pt x="5420" y="3405"/>
                  </a:cubicBezTo>
                  <a:cubicBezTo>
                    <a:pt x="5107" y="3806"/>
                    <a:pt x="4925" y="4023"/>
                    <a:pt x="4875" y="4056"/>
                  </a:cubicBezTo>
                  <a:cubicBezTo>
                    <a:pt x="4561" y="4106"/>
                    <a:pt x="4372" y="4281"/>
                    <a:pt x="4310" y="4582"/>
                  </a:cubicBezTo>
                  <a:cubicBezTo>
                    <a:pt x="4247" y="4832"/>
                    <a:pt x="4071" y="4949"/>
                    <a:pt x="3783" y="4932"/>
                  </a:cubicBezTo>
                  <a:cubicBezTo>
                    <a:pt x="3683" y="4932"/>
                    <a:pt x="3594" y="4816"/>
                    <a:pt x="3519" y="4582"/>
                  </a:cubicBezTo>
                  <a:cubicBezTo>
                    <a:pt x="3457" y="4331"/>
                    <a:pt x="3388" y="4198"/>
                    <a:pt x="3312" y="4181"/>
                  </a:cubicBezTo>
                  <a:cubicBezTo>
                    <a:pt x="3175" y="4181"/>
                    <a:pt x="3067" y="4274"/>
                    <a:pt x="2992" y="4457"/>
                  </a:cubicBezTo>
                  <a:cubicBezTo>
                    <a:pt x="2955" y="4506"/>
                    <a:pt x="2898" y="4715"/>
                    <a:pt x="2823" y="5083"/>
                  </a:cubicBezTo>
                  <a:cubicBezTo>
                    <a:pt x="2772" y="5216"/>
                    <a:pt x="2653" y="5375"/>
                    <a:pt x="2465" y="5559"/>
                  </a:cubicBezTo>
                  <a:cubicBezTo>
                    <a:pt x="2152" y="5892"/>
                    <a:pt x="1964" y="6101"/>
                    <a:pt x="1900" y="6184"/>
                  </a:cubicBezTo>
                  <a:cubicBezTo>
                    <a:pt x="1361" y="6818"/>
                    <a:pt x="796" y="7628"/>
                    <a:pt x="207" y="8613"/>
                  </a:cubicBezTo>
                  <a:lnTo>
                    <a:pt x="207" y="8488"/>
                  </a:lnTo>
                  <a:cubicBezTo>
                    <a:pt x="94" y="7403"/>
                    <a:pt x="25" y="5917"/>
                    <a:pt x="0" y="4031"/>
                  </a:cubicBezTo>
                  <a:lnTo>
                    <a:pt x="10239" y="1703"/>
                  </a:lnTo>
                  <a:cubicBezTo>
                    <a:pt x="10916" y="1536"/>
                    <a:pt x="13087" y="969"/>
                    <a:pt x="16751" y="0"/>
                  </a:cubicBezTo>
                  <a:lnTo>
                    <a:pt x="17371" y="3305"/>
                  </a:lnTo>
                  <a:cubicBezTo>
                    <a:pt x="17811" y="5592"/>
                    <a:pt x="18056" y="6944"/>
                    <a:pt x="18106" y="7361"/>
                  </a:cubicBezTo>
                  <a:cubicBezTo>
                    <a:pt x="18193" y="8029"/>
                    <a:pt x="18350" y="8981"/>
                    <a:pt x="18576" y="10215"/>
                  </a:cubicBezTo>
                  <a:lnTo>
                    <a:pt x="21399" y="9414"/>
                  </a:lnTo>
                  <a:cubicBezTo>
                    <a:pt x="21387" y="9464"/>
                    <a:pt x="21374" y="9506"/>
                    <a:pt x="21362" y="9540"/>
                  </a:cubicBezTo>
                  <a:cubicBezTo>
                    <a:pt x="21324" y="9740"/>
                    <a:pt x="21299" y="9874"/>
                    <a:pt x="21286" y="9940"/>
                  </a:cubicBezTo>
                  <a:cubicBezTo>
                    <a:pt x="21286" y="10073"/>
                    <a:pt x="21337" y="10266"/>
                    <a:pt x="21437" y="10516"/>
                  </a:cubicBezTo>
                  <a:cubicBezTo>
                    <a:pt x="21550" y="10766"/>
                    <a:pt x="21600" y="11067"/>
                    <a:pt x="21588" y="11417"/>
                  </a:cubicBezTo>
                  <a:cubicBezTo>
                    <a:pt x="21588" y="11718"/>
                    <a:pt x="21437" y="12043"/>
                    <a:pt x="21135" y="12394"/>
                  </a:cubicBezTo>
                  <a:cubicBezTo>
                    <a:pt x="20847" y="12761"/>
                    <a:pt x="20696" y="13087"/>
                    <a:pt x="20684" y="13371"/>
                  </a:cubicBezTo>
                  <a:cubicBezTo>
                    <a:pt x="20684" y="13504"/>
                    <a:pt x="20759" y="13596"/>
                    <a:pt x="20910" y="13646"/>
                  </a:cubicBezTo>
                  <a:cubicBezTo>
                    <a:pt x="21073" y="13696"/>
                    <a:pt x="21154" y="13780"/>
                    <a:pt x="21154" y="13897"/>
                  </a:cubicBezTo>
                  <a:cubicBezTo>
                    <a:pt x="21154" y="13997"/>
                    <a:pt x="21010" y="14297"/>
                    <a:pt x="20721" y="14798"/>
                  </a:cubicBezTo>
                  <a:cubicBezTo>
                    <a:pt x="20433" y="15282"/>
                    <a:pt x="20283" y="15732"/>
                    <a:pt x="20270" y="16150"/>
                  </a:cubicBezTo>
                  <a:cubicBezTo>
                    <a:pt x="20270" y="16333"/>
                    <a:pt x="20283" y="16676"/>
                    <a:pt x="20308" y="17177"/>
                  </a:cubicBezTo>
                  <a:cubicBezTo>
                    <a:pt x="20308" y="17511"/>
                    <a:pt x="20263" y="17761"/>
                    <a:pt x="20176" y="17928"/>
                  </a:cubicBezTo>
                  <a:cubicBezTo>
                    <a:pt x="20163" y="17961"/>
                    <a:pt x="20044" y="18062"/>
                    <a:pt x="19818" y="18228"/>
                  </a:cubicBezTo>
                  <a:cubicBezTo>
                    <a:pt x="19505" y="18579"/>
                    <a:pt x="19342" y="19289"/>
                    <a:pt x="19329" y="20356"/>
                  </a:cubicBezTo>
                  <a:cubicBezTo>
                    <a:pt x="19329" y="20473"/>
                    <a:pt x="19310" y="20699"/>
                    <a:pt x="19272" y="21033"/>
                  </a:cubicBezTo>
                  <a:cubicBezTo>
                    <a:pt x="19185" y="21417"/>
                    <a:pt x="19109" y="21600"/>
                    <a:pt x="19047" y="21583"/>
                  </a:cubicBezTo>
                  <a:cubicBezTo>
                    <a:pt x="18809" y="21583"/>
                    <a:pt x="18639" y="21342"/>
                    <a:pt x="18539" y="20857"/>
                  </a:cubicBezTo>
                  <a:cubicBezTo>
                    <a:pt x="18450" y="20507"/>
                    <a:pt x="18413" y="20132"/>
                    <a:pt x="18425" y="19730"/>
                  </a:cubicBezTo>
                  <a:cubicBezTo>
                    <a:pt x="18425" y="19681"/>
                    <a:pt x="18450" y="19514"/>
                    <a:pt x="18500" y="19230"/>
                  </a:cubicBezTo>
                  <a:cubicBezTo>
                    <a:pt x="18576" y="18929"/>
                    <a:pt x="18614" y="18629"/>
                    <a:pt x="18614" y="18328"/>
                  </a:cubicBezTo>
                  <a:cubicBezTo>
                    <a:pt x="18614" y="18045"/>
                    <a:pt x="18645" y="17786"/>
                    <a:pt x="18708" y="17552"/>
                  </a:cubicBezTo>
                  <a:cubicBezTo>
                    <a:pt x="18720" y="17452"/>
                    <a:pt x="18777" y="17269"/>
                    <a:pt x="18877" y="17002"/>
                  </a:cubicBezTo>
                  <a:cubicBezTo>
                    <a:pt x="18940" y="16834"/>
                    <a:pt x="19003" y="16618"/>
                    <a:pt x="19065" y="16350"/>
                  </a:cubicBezTo>
                  <a:cubicBezTo>
                    <a:pt x="19116" y="16100"/>
                    <a:pt x="19178" y="15883"/>
                    <a:pt x="19253" y="15699"/>
                  </a:cubicBezTo>
                  <a:cubicBezTo>
                    <a:pt x="19267" y="15649"/>
                    <a:pt x="19367" y="15440"/>
                    <a:pt x="19555" y="15073"/>
                  </a:cubicBezTo>
                  <a:cubicBezTo>
                    <a:pt x="19718" y="14739"/>
                    <a:pt x="19800" y="14514"/>
                    <a:pt x="19800" y="14397"/>
                  </a:cubicBezTo>
                  <a:cubicBezTo>
                    <a:pt x="19800" y="14264"/>
                    <a:pt x="19743" y="14197"/>
                    <a:pt x="19630" y="14197"/>
                  </a:cubicBezTo>
                  <a:cubicBezTo>
                    <a:pt x="19580" y="14213"/>
                    <a:pt x="19530" y="14247"/>
                    <a:pt x="19480" y="14297"/>
                  </a:cubicBezTo>
                  <a:cubicBezTo>
                    <a:pt x="19429" y="14330"/>
                    <a:pt x="19386" y="14347"/>
                    <a:pt x="19347" y="14347"/>
                  </a:cubicBezTo>
                  <a:lnTo>
                    <a:pt x="19141" y="14272"/>
                  </a:lnTo>
                  <a:cubicBezTo>
                    <a:pt x="19065" y="14272"/>
                    <a:pt x="19003" y="14314"/>
                    <a:pt x="18953" y="14397"/>
                  </a:cubicBezTo>
                  <a:cubicBezTo>
                    <a:pt x="18890" y="14481"/>
                    <a:pt x="18789" y="14523"/>
                    <a:pt x="18651" y="14523"/>
                  </a:cubicBezTo>
                  <a:cubicBezTo>
                    <a:pt x="18488" y="14489"/>
                    <a:pt x="18375" y="14431"/>
                    <a:pt x="18312" y="14347"/>
                  </a:cubicBezTo>
                  <a:cubicBezTo>
                    <a:pt x="18212" y="14230"/>
                    <a:pt x="18156" y="13997"/>
                    <a:pt x="18143" y="13646"/>
                  </a:cubicBezTo>
                  <a:cubicBezTo>
                    <a:pt x="18131" y="13513"/>
                    <a:pt x="18062" y="13345"/>
                    <a:pt x="17936" y="13145"/>
                  </a:cubicBezTo>
                  <a:cubicBezTo>
                    <a:pt x="17811" y="12895"/>
                    <a:pt x="17742" y="12736"/>
                    <a:pt x="17729" y="12669"/>
                  </a:cubicBezTo>
                  <a:cubicBezTo>
                    <a:pt x="17629" y="12336"/>
                    <a:pt x="17403" y="12177"/>
                    <a:pt x="17051" y="12194"/>
                  </a:cubicBezTo>
                  <a:cubicBezTo>
                    <a:pt x="16751" y="12194"/>
                    <a:pt x="16600" y="12010"/>
                    <a:pt x="16600" y="11643"/>
                  </a:cubicBezTo>
                  <a:cubicBezTo>
                    <a:pt x="16588" y="11209"/>
                    <a:pt x="16512" y="10858"/>
                    <a:pt x="16374" y="10591"/>
                  </a:cubicBezTo>
                  <a:cubicBezTo>
                    <a:pt x="16199" y="10291"/>
                    <a:pt x="16092" y="10057"/>
                    <a:pt x="16054" y="9890"/>
                  </a:cubicBezTo>
                  <a:cubicBezTo>
                    <a:pt x="16067" y="9690"/>
                    <a:pt x="16067" y="9540"/>
                    <a:pt x="16054" y="9439"/>
                  </a:cubicBezTo>
                  <a:cubicBezTo>
                    <a:pt x="16054" y="9205"/>
                    <a:pt x="16004" y="9080"/>
                    <a:pt x="15904" y="9064"/>
                  </a:cubicBezTo>
                  <a:cubicBezTo>
                    <a:pt x="15590" y="8963"/>
                    <a:pt x="15439" y="8780"/>
                    <a:pt x="15452" y="8513"/>
                  </a:cubicBezTo>
                  <a:cubicBezTo>
                    <a:pt x="15452" y="8329"/>
                    <a:pt x="15540" y="8212"/>
                    <a:pt x="15716" y="8162"/>
                  </a:cubicBezTo>
                  <a:cubicBezTo>
                    <a:pt x="15879" y="8095"/>
                    <a:pt x="15960" y="7953"/>
                    <a:pt x="15960" y="7737"/>
                  </a:cubicBezTo>
                  <a:cubicBezTo>
                    <a:pt x="15973" y="7520"/>
                    <a:pt x="15954" y="7336"/>
                    <a:pt x="15904" y="7186"/>
                  </a:cubicBezTo>
                  <a:cubicBezTo>
                    <a:pt x="15841" y="7036"/>
                    <a:pt x="15771" y="6952"/>
                    <a:pt x="15696" y="6935"/>
                  </a:cubicBezTo>
                  <a:cubicBezTo>
                    <a:pt x="15622" y="6935"/>
                    <a:pt x="15552" y="6977"/>
                    <a:pt x="15489" y="7061"/>
                  </a:cubicBezTo>
                  <a:cubicBezTo>
                    <a:pt x="15352" y="7027"/>
                    <a:pt x="15263" y="7011"/>
                    <a:pt x="15226" y="7011"/>
                  </a:cubicBezTo>
                  <a:cubicBezTo>
                    <a:pt x="15201" y="6977"/>
                    <a:pt x="15188" y="6894"/>
                    <a:pt x="15188" y="6760"/>
                  </a:cubicBezTo>
                  <a:cubicBezTo>
                    <a:pt x="15201" y="6593"/>
                    <a:pt x="15283" y="6435"/>
                    <a:pt x="15433" y="6284"/>
                  </a:cubicBezTo>
                  <a:cubicBezTo>
                    <a:pt x="15597" y="6134"/>
                    <a:pt x="15677" y="6009"/>
                    <a:pt x="15677" y="5909"/>
                  </a:cubicBezTo>
                  <a:cubicBezTo>
                    <a:pt x="15615" y="5825"/>
                    <a:pt x="15552" y="5726"/>
                    <a:pt x="15489" y="5609"/>
                  </a:cubicBezTo>
                  <a:cubicBezTo>
                    <a:pt x="15352" y="5358"/>
                    <a:pt x="15276" y="5033"/>
                    <a:pt x="15263" y="4632"/>
                  </a:cubicBezTo>
                  <a:cubicBezTo>
                    <a:pt x="15276" y="4265"/>
                    <a:pt x="15446" y="3864"/>
                    <a:pt x="15771" y="3430"/>
                  </a:cubicBezTo>
                  <a:cubicBezTo>
                    <a:pt x="16085" y="3013"/>
                    <a:pt x="16249" y="2654"/>
                    <a:pt x="16261" y="2354"/>
                  </a:cubicBezTo>
                  <a:cubicBezTo>
                    <a:pt x="16261" y="2120"/>
                    <a:pt x="16229" y="1936"/>
                    <a:pt x="16167" y="1802"/>
                  </a:cubicBezTo>
                  <a:cubicBezTo>
                    <a:pt x="16092" y="1653"/>
                    <a:pt x="15998" y="1577"/>
                    <a:pt x="15885" y="1577"/>
                  </a:cubicBezTo>
                  <a:cubicBezTo>
                    <a:pt x="15797" y="1561"/>
                    <a:pt x="15728" y="1586"/>
                    <a:pt x="15677" y="1653"/>
                  </a:cubicBezTo>
                  <a:cubicBezTo>
                    <a:pt x="15590" y="1736"/>
                    <a:pt x="15546" y="1819"/>
                    <a:pt x="15546" y="1903"/>
                  </a:cubicBezTo>
                  <a:cubicBezTo>
                    <a:pt x="15546" y="2020"/>
                    <a:pt x="15577" y="2145"/>
                    <a:pt x="15640" y="2279"/>
                  </a:cubicBezTo>
                  <a:cubicBezTo>
                    <a:pt x="15691" y="2428"/>
                    <a:pt x="15709" y="2554"/>
                    <a:pt x="15696" y="2654"/>
                  </a:cubicBezTo>
                  <a:cubicBezTo>
                    <a:pt x="15696" y="2888"/>
                    <a:pt x="15508" y="3079"/>
                    <a:pt x="15132" y="3230"/>
                  </a:cubicBezTo>
                  <a:cubicBezTo>
                    <a:pt x="14743" y="3364"/>
                    <a:pt x="14542" y="3489"/>
                    <a:pt x="14530" y="3606"/>
                  </a:cubicBezTo>
                  <a:cubicBezTo>
                    <a:pt x="14530" y="3673"/>
                    <a:pt x="14555" y="3797"/>
                    <a:pt x="14605" y="3981"/>
                  </a:cubicBezTo>
                  <a:cubicBezTo>
                    <a:pt x="14630" y="4148"/>
                    <a:pt x="14642" y="4281"/>
                    <a:pt x="14642" y="4382"/>
                  </a:cubicBezTo>
                  <a:cubicBezTo>
                    <a:pt x="14642" y="4665"/>
                    <a:pt x="14592" y="4807"/>
                    <a:pt x="14492" y="4807"/>
                  </a:cubicBezTo>
                  <a:cubicBezTo>
                    <a:pt x="14442" y="4807"/>
                    <a:pt x="14347" y="4757"/>
                    <a:pt x="14210" y="4657"/>
                  </a:cubicBezTo>
                  <a:cubicBezTo>
                    <a:pt x="14084" y="4590"/>
                    <a:pt x="14015" y="4556"/>
                    <a:pt x="14003" y="4556"/>
                  </a:cubicBezTo>
                  <a:cubicBezTo>
                    <a:pt x="13864" y="4556"/>
                    <a:pt x="13802" y="4641"/>
                    <a:pt x="13814" y="4807"/>
                  </a:cubicBezTo>
                  <a:cubicBezTo>
                    <a:pt x="13814" y="4941"/>
                    <a:pt x="13978" y="5150"/>
                    <a:pt x="14304" y="5433"/>
                  </a:cubicBezTo>
                  <a:cubicBezTo>
                    <a:pt x="14630" y="5717"/>
                    <a:pt x="14787" y="6059"/>
                    <a:pt x="14775" y="6460"/>
                  </a:cubicBezTo>
                  <a:cubicBezTo>
                    <a:pt x="14775" y="6543"/>
                    <a:pt x="14699" y="6652"/>
                    <a:pt x="14548" y="6785"/>
                  </a:cubicBezTo>
                  <a:cubicBezTo>
                    <a:pt x="14436" y="6919"/>
                    <a:pt x="14379" y="7186"/>
                    <a:pt x="14379" y="7586"/>
                  </a:cubicBezTo>
                  <a:cubicBezTo>
                    <a:pt x="14354" y="8588"/>
                    <a:pt x="14530" y="9506"/>
                    <a:pt x="14906" y="10341"/>
                  </a:cubicBezTo>
                  <a:cubicBezTo>
                    <a:pt x="15320" y="11275"/>
                    <a:pt x="15558" y="11952"/>
                    <a:pt x="15622" y="12369"/>
                  </a:cubicBezTo>
                  <a:lnTo>
                    <a:pt x="15677" y="12844"/>
                  </a:lnTo>
                  <a:cubicBezTo>
                    <a:pt x="15665" y="12961"/>
                    <a:pt x="15602" y="13029"/>
                    <a:pt x="15489" y="13045"/>
                  </a:cubicBezTo>
                  <a:cubicBezTo>
                    <a:pt x="15301" y="13095"/>
                    <a:pt x="15151" y="13162"/>
                    <a:pt x="15038" y="13246"/>
                  </a:cubicBezTo>
                  <a:cubicBezTo>
                    <a:pt x="14900" y="13362"/>
                    <a:pt x="14793" y="13454"/>
                    <a:pt x="14718" y="13521"/>
                  </a:cubicBezTo>
                  <a:cubicBezTo>
                    <a:pt x="14580" y="13638"/>
                    <a:pt x="14454" y="13696"/>
                    <a:pt x="14342" y="13696"/>
                  </a:cubicBezTo>
                  <a:cubicBezTo>
                    <a:pt x="14292" y="13696"/>
                    <a:pt x="14172" y="13638"/>
                    <a:pt x="13984" y="13521"/>
                  </a:cubicBezTo>
                  <a:cubicBezTo>
                    <a:pt x="13984" y="13521"/>
                    <a:pt x="13795" y="13521"/>
                    <a:pt x="13795" y="13521"/>
                  </a:cubicBezTo>
                  <a:close/>
                  <a:moveTo>
                    <a:pt x="13795" y="1352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4" name="AutoShape 41"/>
            <p:cNvSpPr>
              <a:spLocks/>
            </p:cNvSpPr>
            <p:nvPr/>
          </p:nvSpPr>
          <p:spPr bwMode="auto">
            <a:xfrm>
              <a:off x="5502204" y="3914581"/>
              <a:ext cx="424739" cy="367563"/>
            </a:xfrm>
            <a:custGeom>
              <a:avLst/>
              <a:gdLst/>
              <a:ahLst/>
              <a:cxnLst/>
              <a:rect l="0" t="0" r="r" b="b"/>
              <a:pathLst>
                <a:path w="21600" h="21600">
                  <a:moveTo>
                    <a:pt x="20811" y="6026"/>
                  </a:moveTo>
                  <a:cubicBezTo>
                    <a:pt x="20825" y="6066"/>
                    <a:pt x="20877" y="6206"/>
                    <a:pt x="20967" y="6445"/>
                  </a:cubicBezTo>
                  <a:cubicBezTo>
                    <a:pt x="21084" y="6749"/>
                    <a:pt x="21167" y="6932"/>
                    <a:pt x="21216" y="6996"/>
                  </a:cubicBezTo>
                  <a:cubicBezTo>
                    <a:pt x="21347" y="7148"/>
                    <a:pt x="21437" y="7272"/>
                    <a:pt x="21486" y="7368"/>
                  </a:cubicBezTo>
                  <a:cubicBezTo>
                    <a:pt x="21562" y="7535"/>
                    <a:pt x="21600" y="7703"/>
                    <a:pt x="21600" y="7871"/>
                  </a:cubicBezTo>
                  <a:cubicBezTo>
                    <a:pt x="21593" y="7879"/>
                    <a:pt x="21590" y="7891"/>
                    <a:pt x="21590" y="7907"/>
                  </a:cubicBezTo>
                  <a:cubicBezTo>
                    <a:pt x="21493" y="7987"/>
                    <a:pt x="21389" y="8111"/>
                    <a:pt x="21278" y="8278"/>
                  </a:cubicBezTo>
                  <a:cubicBezTo>
                    <a:pt x="21133" y="8518"/>
                    <a:pt x="21012" y="8698"/>
                    <a:pt x="20915" y="8817"/>
                  </a:cubicBezTo>
                  <a:cubicBezTo>
                    <a:pt x="20541" y="9296"/>
                    <a:pt x="20285" y="9712"/>
                    <a:pt x="20147" y="10063"/>
                  </a:cubicBezTo>
                  <a:cubicBezTo>
                    <a:pt x="20002" y="10407"/>
                    <a:pt x="19735" y="10770"/>
                    <a:pt x="19348" y="11153"/>
                  </a:cubicBezTo>
                  <a:cubicBezTo>
                    <a:pt x="19064" y="11457"/>
                    <a:pt x="18919" y="11796"/>
                    <a:pt x="18912" y="12172"/>
                  </a:cubicBezTo>
                  <a:cubicBezTo>
                    <a:pt x="18898" y="12483"/>
                    <a:pt x="18984" y="12691"/>
                    <a:pt x="19171" y="12795"/>
                  </a:cubicBezTo>
                  <a:cubicBezTo>
                    <a:pt x="19372" y="12883"/>
                    <a:pt x="19472" y="12995"/>
                    <a:pt x="19472" y="13130"/>
                  </a:cubicBezTo>
                  <a:cubicBezTo>
                    <a:pt x="19465" y="13370"/>
                    <a:pt x="19361" y="13665"/>
                    <a:pt x="19161" y="14017"/>
                  </a:cubicBezTo>
                  <a:cubicBezTo>
                    <a:pt x="18967" y="14352"/>
                    <a:pt x="18863" y="14648"/>
                    <a:pt x="18849" y="14903"/>
                  </a:cubicBezTo>
                  <a:cubicBezTo>
                    <a:pt x="18843" y="15007"/>
                    <a:pt x="18746" y="15458"/>
                    <a:pt x="18559" y="16257"/>
                  </a:cubicBezTo>
                  <a:cubicBezTo>
                    <a:pt x="18379" y="17040"/>
                    <a:pt x="18254" y="17675"/>
                    <a:pt x="18185" y="18162"/>
                  </a:cubicBezTo>
                  <a:cubicBezTo>
                    <a:pt x="18116" y="18633"/>
                    <a:pt x="18002" y="19244"/>
                    <a:pt x="17843" y="19995"/>
                  </a:cubicBezTo>
                  <a:cubicBezTo>
                    <a:pt x="17670" y="20825"/>
                    <a:pt x="17569" y="21360"/>
                    <a:pt x="17542" y="21600"/>
                  </a:cubicBezTo>
                  <a:cubicBezTo>
                    <a:pt x="15763" y="21097"/>
                    <a:pt x="13348" y="20354"/>
                    <a:pt x="10297" y="19372"/>
                  </a:cubicBezTo>
                  <a:lnTo>
                    <a:pt x="7318" y="18461"/>
                  </a:lnTo>
                  <a:cubicBezTo>
                    <a:pt x="5449" y="17878"/>
                    <a:pt x="3114" y="17048"/>
                    <a:pt x="311" y="15969"/>
                  </a:cubicBezTo>
                  <a:cubicBezTo>
                    <a:pt x="304" y="15961"/>
                    <a:pt x="301" y="15953"/>
                    <a:pt x="301" y="15945"/>
                  </a:cubicBezTo>
                  <a:cubicBezTo>
                    <a:pt x="301" y="15898"/>
                    <a:pt x="277" y="15854"/>
                    <a:pt x="228" y="15814"/>
                  </a:cubicBezTo>
                  <a:cubicBezTo>
                    <a:pt x="166" y="15758"/>
                    <a:pt x="107" y="15706"/>
                    <a:pt x="52" y="15658"/>
                  </a:cubicBezTo>
                  <a:cubicBezTo>
                    <a:pt x="31" y="15634"/>
                    <a:pt x="21" y="15602"/>
                    <a:pt x="21" y="15562"/>
                  </a:cubicBezTo>
                  <a:lnTo>
                    <a:pt x="31" y="15382"/>
                  </a:lnTo>
                  <a:cubicBezTo>
                    <a:pt x="10" y="15183"/>
                    <a:pt x="0" y="15047"/>
                    <a:pt x="0" y="14975"/>
                  </a:cubicBezTo>
                  <a:lnTo>
                    <a:pt x="10" y="14771"/>
                  </a:lnTo>
                  <a:cubicBezTo>
                    <a:pt x="3" y="14596"/>
                    <a:pt x="0" y="14472"/>
                    <a:pt x="0" y="14400"/>
                  </a:cubicBezTo>
                  <a:cubicBezTo>
                    <a:pt x="7" y="14264"/>
                    <a:pt x="69" y="14140"/>
                    <a:pt x="187" y="14029"/>
                  </a:cubicBezTo>
                  <a:cubicBezTo>
                    <a:pt x="304" y="13909"/>
                    <a:pt x="377" y="13777"/>
                    <a:pt x="405" y="13633"/>
                  </a:cubicBezTo>
                  <a:cubicBezTo>
                    <a:pt x="398" y="13545"/>
                    <a:pt x="388" y="13354"/>
                    <a:pt x="374" y="13058"/>
                  </a:cubicBezTo>
                  <a:cubicBezTo>
                    <a:pt x="367" y="12787"/>
                    <a:pt x="363" y="12567"/>
                    <a:pt x="363" y="12399"/>
                  </a:cubicBezTo>
                  <a:cubicBezTo>
                    <a:pt x="377" y="12224"/>
                    <a:pt x="432" y="12080"/>
                    <a:pt x="529" y="11968"/>
                  </a:cubicBezTo>
                  <a:cubicBezTo>
                    <a:pt x="716" y="11768"/>
                    <a:pt x="861" y="11569"/>
                    <a:pt x="965" y="11369"/>
                  </a:cubicBezTo>
                  <a:cubicBezTo>
                    <a:pt x="993" y="11313"/>
                    <a:pt x="1024" y="11213"/>
                    <a:pt x="1059" y="11069"/>
                  </a:cubicBezTo>
                  <a:cubicBezTo>
                    <a:pt x="1100" y="10942"/>
                    <a:pt x="1131" y="10866"/>
                    <a:pt x="1152" y="10842"/>
                  </a:cubicBezTo>
                  <a:cubicBezTo>
                    <a:pt x="1201" y="10794"/>
                    <a:pt x="1256" y="10750"/>
                    <a:pt x="1318" y="10710"/>
                  </a:cubicBezTo>
                  <a:cubicBezTo>
                    <a:pt x="1387" y="10662"/>
                    <a:pt x="1443" y="10638"/>
                    <a:pt x="1484" y="10638"/>
                  </a:cubicBezTo>
                  <a:cubicBezTo>
                    <a:pt x="1533" y="10654"/>
                    <a:pt x="1574" y="10658"/>
                    <a:pt x="1609" y="10650"/>
                  </a:cubicBezTo>
                  <a:cubicBezTo>
                    <a:pt x="1671" y="10650"/>
                    <a:pt x="1702" y="10626"/>
                    <a:pt x="1702" y="10578"/>
                  </a:cubicBezTo>
                  <a:cubicBezTo>
                    <a:pt x="1702" y="10530"/>
                    <a:pt x="1661" y="10486"/>
                    <a:pt x="1578" y="10446"/>
                  </a:cubicBezTo>
                  <a:cubicBezTo>
                    <a:pt x="1495" y="10423"/>
                    <a:pt x="1457" y="10383"/>
                    <a:pt x="1463" y="10327"/>
                  </a:cubicBezTo>
                  <a:lnTo>
                    <a:pt x="1848" y="9751"/>
                  </a:lnTo>
                  <a:lnTo>
                    <a:pt x="1858" y="9751"/>
                  </a:lnTo>
                  <a:cubicBezTo>
                    <a:pt x="1927" y="9696"/>
                    <a:pt x="2007" y="9548"/>
                    <a:pt x="2097" y="9308"/>
                  </a:cubicBezTo>
                  <a:cubicBezTo>
                    <a:pt x="2207" y="8981"/>
                    <a:pt x="2287" y="8742"/>
                    <a:pt x="2335" y="8590"/>
                  </a:cubicBezTo>
                  <a:cubicBezTo>
                    <a:pt x="2501" y="8222"/>
                    <a:pt x="2591" y="8015"/>
                    <a:pt x="2605" y="7967"/>
                  </a:cubicBezTo>
                  <a:cubicBezTo>
                    <a:pt x="2709" y="7687"/>
                    <a:pt x="2782" y="7456"/>
                    <a:pt x="2823" y="7272"/>
                  </a:cubicBezTo>
                  <a:cubicBezTo>
                    <a:pt x="2858" y="7128"/>
                    <a:pt x="2931" y="6932"/>
                    <a:pt x="3041" y="6685"/>
                  </a:cubicBezTo>
                  <a:cubicBezTo>
                    <a:pt x="3138" y="6437"/>
                    <a:pt x="3190" y="6306"/>
                    <a:pt x="3197" y="6290"/>
                  </a:cubicBezTo>
                  <a:cubicBezTo>
                    <a:pt x="3252" y="5970"/>
                    <a:pt x="3311" y="5734"/>
                    <a:pt x="3373" y="5583"/>
                  </a:cubicBezTo>
                  <a:cubicBezTo>
                    <a:pt x="3394" y="5503"/>
                    <a:pt x="3463" y="5343"/>
                    <a:pt x="3581" y="5104"/>
                  </a:cubicBezTo>
                  <a:cubicBezTo>
                    <a:pt x="3726" y="4784"/>
                    <a:pt x="3816" y="4576"/>
                    <a:pt x="3851" y="4481"/>
                  </a:cubicBezTo>
                  <a:cubicBezTo>
                    <a:pt x="3906" y="4369"/>
                    <a:pt x="3986" y="4145"/>
                    <a:pt x="4090" y="3810"/>
                  </a:cubicBezTo>
                  <a:cubicBezTo>
                    <a:pt x="4186" y="3546"/>
                    <a:pt x="4335" y="3255"/>
                    <a:pt x="4536" y="2935"/>
                  </a:cubicBezTo>
                  <a:cubicBezTo>
                    <a:pt x="4861" y="2408"/>
                    <a:pt x="5034" y="2125"/>
                    <a:pt x="5055" y="2085"/>
                  </a:cubicBezTo>
                  <a:cubicBezTo>
                    <a:pt x="5027" y="1845"/>
                    <a:pt x="5072" y="1462"/>
                    <a:pt x="5190" y="934"/>
                  </a:cubicBezTo>
                  <a:cubicBezTo>
                    <a:pt x="5335" y="312"/>
                    <a:pt x="5505" y="0"/>
                    <a:pt x="5698" y="0"/>
                  </a:cubicBezTo>
                  <a:cubicBezTo>
                    <a:pt x="5761" y="0"/>
                    <a:pt x="5944" y="64"/>
                    <a:pt x="6248" y="192"/>
                  </a:cubicBezTo>
                  <a:cubicBezTo>
                    <a:pt x="6622" y="344"/>
                    <a:pt x="6851" y="431"/>
                    <a:pt x="6934" y="455"/>
                  </a:cubicBezTo>
                  <a:lnTo>
                    <a:pt x="7048" y="455"/>
                  </a:lnTo>
                  <a:lnTo>
                    <a:pt x="7048" y="371"/>
                  </a:lnTo>
                  <a:cubicBezTo>
                    <a:pt x="7338" y="755"/>
                    <a:pt x="7504" y="1026"/>
                    <a:pt x="7546" y="1186"/>
                  </a:cubicBezTo>
                  <a:cubicBezTo>
                    <a:pt x="7587" y="1338"/>
                    <a:pt x="7601" y="1545"/>
                    <a:pt x="7587" y="1809"/>
                  </a:cubicBezTo>
                  <a:cubicBezTo>
                    <a:pt x="7581" y="2073"/>
                    <a:pt x="7567" y="2240"/>
                    <a:pt x="7546" y="2312"/>
                  </a:cubicBezTo>
                  <a:cubicBezTo>
                    <a:pt x="7525" y="2384"/>
                    <a:pt x="7508" y="2532"/>
                    <a:pt x="7494" y="2755"/>
                  </a:cubicBezTo>
                  <a:cubicBezTo>
                    <a:pt x="7473" y="2971"/>
                    <a:pt x="7498" y="3131"/>
                    <a:pt x="7567" y="3235"/>
                  </a:cubicBezTo>
                  <a:cubicBezTo>
                    <a:pt x="7636" y="3338"/>
                    <a:pt x="7688" y="3426"/>
                    <a:pt x="7722" y="3498"/>
                  </a:cubicBezTo>
                  <a:cubicBezTo>
                    <a:pt x="7750" y="3562"/>
                    <a:pt x="7868" y="3658"/>
                    <a:pt x="8075" y="3786"/>
                  </a:cubicBezTo>
                  <a:cubicBezTo>
                    <a:pt x="8179" y="3850"/>
                    <a:pt x="8307" y="3890"/>
                    <a:pt x="8459" y="3905"/>
                  </a:cubicBezTo>
                  <a:cubicBezTo>
                    <a:pt x="8771" y="3913"/>
                    <a:pt x="9010" y="3878"/>
                    <a:pt x="9176" y="3798"/>
                  </a:cubicBezTo>
                  <a:cubicBezTo>
                    <a:pt x="9355" y="3702"/>
                    <a:pt x="9490" y="3658"/>
                    <a:pt x="9580" y="3666"/>
                  </a:cubicBezTo>
                  <a:cubicBezTo>
                    <a:pt x="9753" y="3658"/>
                    <a:pt x="9930" y="3710"/>
                    <a:pt x="10110" y="3822"/>
                  </a:cubicBezTo>
                  <a:cubicBezTo>
                    <a:pt x="10255" y="3909"/>
                    <a:pt x="10373" y="4001"/>
                    <a:pt x="10463" y="4097"/>
                  </a:cubicBezTo>
                  <a:cubicBezTo>
                    <a:pt x="10615" y="4289"/>
                    <a:pt x="10715" y="4437"/>
                    <a:pt x="10764" y="4540"/>
                  </a:cubicBezTo>
                  <a:cubicBezTo>
                    <a:pt x="10771" y="4540"/>
                    <a:pt x="10888" y="4544"/>
                    <a:pt x="11117" y="4552"/>
                  </a:cubicBezTo>
                  <a:cubicBezTo>
                    <a:pt x="11144" y="4552"/>
                    <a:pt x="11193" y="4552"/>
                    <a:pt x="11262" y="4552"/>
                  </a:cubicBezTo>
                  <a:cubicBezTo>
                    <a:pt x="11324" y="4568"/>
                    <a:pt x="11362" y="4584"/>
                    <a:pt x="11376" y="4600"/>
                  </a:cubicBezTo>
                  <a:lnTo>
                    <a:pt x="11521" y="4624"/>
                  </a:lnTo>
                  <a:cubicBezTo>
                    <a:pt x="11591" y="4624"/>
                    <a:pt x="11694" y="4576"/>
                    <a:pt x="11833" y="4481"/>
                  </a:cubicBezTo>
                  <a:cubicBezTo>
                    <a:pt x="11971" y="4393"/>
                    <a:pt x="12065" y="4349"/>
                    <a:pt x="12113" y="4349"/>
                  </a:cubicBezTo>
                  <a:cubicBezTo>
                    <a:pt x="12196" y="4349"/>
                    <a:pt x="12303" y="4433"/>
                    <a:pt x="12435" y="4600"/>
                  </a:cubicBezTo>
                  <a:cubicBezTo>
                    <a:pt x="12573" y="4776"/>
                    <a:pt x="12708" y="4868"/>
                    <a:pt x="12840" y="4876"/>
                  </a:cubicBezTo>
                  <a:cubicBezTo>
                    <a:pt x="12943" y="4876"/>
                    <a:pt x="13085" y="4840"/>
                    <a:pt x="13265" y="4768"/>
                  </a:cubicBezTo>
                  <a:cubicBezTo>
                    <a:pt x="13452" y="4680"/>
                    <a:pt x="13667" y="4640"/>
                    <a:pt x="13909" y="4648"/>
                  </a:cubicBezTo>
                  <a:cubicBezTo>
                    <a:pt x="14331" y="4632"/>
                    <a:pt x="14570" y="4592"/>
                    <a:pt x="14625" y="4528"/>
                  </a:cubicBezTo>
                  <a:cubicBezTo>
                    <a:pt x="14680" y="4481"/>
                    <a:pt x="14836" y="4457"/>
                    <a:pt x="15092" y="4457"/>
                  </a:cubicBezTo>
                  <a:cubicBezTo>
                    <a:pt x="15300" y="4464"/>
                    <a:pt x="15431" y="4528"/>
                    <a:pt x="15486" y="4648"/>
                  </a:cubicBezTo>
                  <a:cubicBezTo>
                    <a:pt x="15528" y="4784"/>
                    <a:pt x="15649" y="4852"/>
                    <a:pt x="15850" y="4852"/>
                  </a:cubicBezTo>
                  <a:cubicBezTo>
                    <a:pt x="15919" y="4860"/>
                    <a:pt x="15967" y="4808"/>
                    <a:pt x="15995" y="4696"/>
                  </a:cubicBezTo>
                  <a:cubicBezTo>
                    <a:pt x="16009" y="4576"/>
                    <a:pt x="16081" y="4516"/>
                    <a:pt x="16213" y="4516"/>
                  </a:cubicBezTo>
                  <a:cubicBezTo>
                    <a:pt x="16220" y="4516"/>
                    <a:pt x="16393" y="4604"/>
                    <a:pt x="16732" y="4780"/>
                  </a:cubicBezTo>
                  <a:cubicBezTo>
                    <a:pt x="17071" y="4948"/>
                    <a:pt x="17337" y="5068"/>
                    <a:pt x="17531" y="5140"/>
                  </a:cubicBezTo>
                  <a:lnTo>
                    <a:pt x="17552" y="5164"/>
                  </a:lnTo>
                  <a:cubicBezTo>
                    <a:pt x="17649" y="5180"/>
                    <a:pt x="17877" y="5227"/>
                    <a:pt x="18237" y="5307"/>
                  </a:cubicBezTo>
                  <a:cubicBezTo>
                    <a:pt x="18659" y="5411"/>
                    <a:pt x="18977" y="5503"/>
                    <a:pt x="19192" y="5583"/>
                  </a:cubicBezTo>
                  <a:cubicBezTo>
                    <a:pt x="19635" y="5751"/>
                    <a:pt x="19925" y="5862"/>
                    <a:pt x="20064" y="5918"/>
                  </a:cubicBezTo>
                  <a:cubicBezTo>
                    <a:pt x="20348" y="5998"/>
                    <a:pt x="20597" y="6034"/>
                    <a:pt x="20811" y="6026"/>
                  </a:cubicBezTo>
                  <a:close/>
                  <a:moveTo>
                    <a:pt x="20811" y="602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5" name="AutoShape 42"/>
            <p:cNvSpPr>
              <a:spLocks/>
            </p:cNvSpPr>
            <p:nvPr/>
          </p:nvSpPr>
          <p:spPr bwMode="auto">
            <a:xfrm>
              <a:off x="7291010" y="2534179"/>
              <a:ext cx="19399" cy="34204"/>
            </a:xfrm>
            <a:custGeom>
              <a:avLst/>
              <a:gdLst/>
              <a:ahLst/>
              <a:cxnLst/>
              <a:rect l="0" t="0" r="r" b="b"/>
              <a:pathLst>
                <a:path w="21600" h="21600">
                  <a:moveTo>
                    <a:pt x="10352" y="2812"/>
                  </a:moveTo>
                  <a:cubicBezTo>
                    <a:pt x="12004" y="937"/>
                    <a:pt x="14174" y="0"/>
                    <a:pt x="16872" y="0"/>
                  </a:cubicBezTo>
                  <a:cubicBezTo>
                    <a:pt x="20027" y="0"/>
                    <a:pt x="21600" y="937"/>
                    <a:pt x="21600" y="2812"/>
                  </a:cubicBezTo>
                  <a:cubicBezTo>
                    <a:pt x="21600" y="4430"/>
                    <a:pt x="20853" y="5879"/>
                    <a:pt x="19350" y="7158"/>
                  </a:cubicBezTo>
                  <a:cubicBezTo>
                    <a:pt x="18603" y="7668"/>
                    <a:pt x="17997" y="8095"/>
                    <a:pt x="17549" y="8436"/>
                  </a:cubicBezTo>
                  <a:cubicBezTo>
                    <a:pt x="17101" y="9287"/>
                    <a:pt x="16275" y="11759"/>
                    <a:pt x="15080" y="15849"/>
                  </a:cubicBezTo>
                  <a:cubicBezTo>
                    <a:pt x="13577" y="19683"/>
                    <a:pt x="11556" y="21600"/>
                    <a:pt x="8999" y="21600"/>
                  </a:cubicBezTo>
                  <a:cubicBezTo>
                    <a:pt x="3005" y="21600"/>
                    <a:pt x="0" y="20578"/>
                    <a:pt x="0" y="18532"/>
                  </a:cubicBezTo>
                  <a:cubicBezTo>
                    <a:pt x="0" y="17682"/>
                    <a:pt x="2179" y="14272"/>
                    <a:pt x="6529" y="8308"/>
                  </a:cubicBezTo>
                  <a:cubicBezTo>
                    <a:pt x="8928" y="4729"/>
                    <a:pt x="10202" y="2897"/>
                    <a:pt x="10352" y="2812"/>
                  </a:cubicBezTo>
                  <a:close/>
                  <a:moveTo>
                    <a:pt x="10352" y="281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6" name="AutoShape 43"/>
            <p:cNvSpPr>
              <a:spLocks/>
            </p:cNvSpPr>
            <p:nvPr/>
          </p:nvSpPr>
          <p:spPr bwMode="auto">
            <a:xfrm>
              <a:off x="7111313" y="2636280"/>
              <a:ext cx="16847" cy="38798"/>
            </a:xfrm>
            <a:custGeom>
              <a:avLst/>
              <a:gdLst/>
              <a:ahLst/>
              <a:cxnLst/>
              <a:rect l="0" t="0" r="r" b="b"/>
              <a:pathLst>
                <a:path w="21600" h="21600">
                  <a:moveTo>
                    <a:pt x="5915" y="0"/>
                  </a:moveTo>
                  <a:cubicBezTo>
                    <a:pt x="11056" y="0"/>
                    <a:pt x="16288" y="4900"/>
                    <a:pt x="21600" y="14701"/>
                  </a:cubicBezTo>
                  <a:cubicBezTo>
                    <a:pt x="21429" y="18320"/>
                    <a:pt x="19712" y="20619"/>
                    <a:pt x="16459" y="21600"/>
                  </a:cubicBezTo>
                  <a:lnTo>
                    <a:pt x="15424" y="21600"/>
                  </a:lnTo>
                  <a:cubicBezTo>
                    <a:pt x="9088" y="21600"/>
                    <a:pt x="4629" y="19375"/>
                    <a:pt x="2059" y="14927"/>
                  </a:cubicBezTo>
                  <a:cubicBezTo>
                    <a:pt x="693" y="12591"/>
                    <a:pt x="0" y="9913"/>
                    <a:pt x="0" y="6898"/>
                  </a:cubicBezTo>
                  <a:cubicBezTo>
                    <a:pt x="0" y="2300"/>
                    <a:pt x="1978" y="0"/>
                    <a:pt x="5915" y="0"/>
                  </a:cubicBezTo>
                  <a:close/>
                  <a:moveTo>
                    <a:pt x="5915"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7" name="AutoShape 44"/>
            <p:cNvSpPr>
              <a:spLocks/>
            </p:cNvSpPr>
            <p:nvPr/>
          </p:nvSpPr>
          <p:spPr bwMode="auto">
            <a:xfrm>
              <a:off x="7197077" y="2775137"/>
              <a:ext cx="35735" cy="29609"/>
            </a:xfrm>
            <a:custGeom>
              <a:avLst/>
              <a:gdLst/>
              <a:ahLst/>
              <a:cxnLst/>
              <a:rect l="0" t="0" r="r" b="b"/>
              <a:pathLst>
                <a:path w="21600" h="21600">
                  <a:moveTo>
                    <a:pt x="2560" y="0"/>
                  </a:moveTo>
                  <a:cubicBezTo>
                    <a:pt x="3375" y="0"/>
                    <a:pt x="5411" y="1726"/>
                    <a:pt x="8662" y="5178"/>
                  </a:cubicBezTo>
                  <a:cubicBezTo>
                    <a:pt x="10373" y="6954"/>
                    <a:pt x="12242" y="8976"/>
                    <a:pt x="14278" y="11245"/>
                  </a:cubicBezTo>
                  <a:cubicBezTo>
                    <a:pt x="15093" y="12131"/>
                    <a:pt x="16594" y="13513"/>
                    <a:pt x="18792" y="15386"/>
                  </a:cubicBezTo>
                  <a:cubicBezTo>
                    <a:pt x="20666" y="17162"/>
                    <a:pt x="21600" y="18641"/>
                    <a:pt x="21600" y="19823"/>
                  </a:cubicBezTo>
                  <a:cubicBezTo>
                    <a:pt x="21600" y="20811"/>
                    <a:pt x="20299" y="21402"/>
                    <a:pt x="17696" y="21600"/>
                  </a:cubicBezTo>
                  <a:cubicBezTo>
                    <a:pt x="16065" y="21600"/>
                    <a:pt x="15007" y="21353"/>
                    <a:pt x="14521" y="20860"/>
                  </a:cubicBezTo>
                  <a:cubicBezTo>
                    <a:pt x="13706" y="19872"/>
                    <a:pt x="12852" y="18837"/>
                    <a:pt x="11956" y="17753"/>
                  </a:cubicBezTo>
                  <a:cubicBezTo>
                    <a:pt x="8705" y="14202"/>
                    <a:pt x="6221" y="11541"/>
                    <a:pt x="4515" y="9764"/>
                  </a:cubicBezTo>
                  <a:cubicBezTo>
                    <a:pt x="1502" y="6412"/>
                    <a:pt x="0" y="3698"/>
                    <a:pt x="0" y="1629"/>
                  </a:cubicBezTo>
                  <a:cubicBezTo>
                    <a:pt x="0" y="544"/>
                    <a:pt x="853" y="0"/>
                    <a:pt x="2560" y="0"/>
                  </a:cubicBezTo>
                  <a:close/>
                  <a:moveTo>
                    <a:pt x="2560"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8" name="AutoShape 45"/>
            <p:cNvSpPr>
              <a:spLocks/>
            </p:cNvSpPr>
            <p:nvPr/>
          </p:nvSpPr>
          <p:spPr bwMode="auto">
            <a:xfrm>
              <a:off x="7421699" y="2583187"/>
              <a:ext cx="36756" cy="24504"/>
            </a:xfrm>
            <a:custGeom>
              <a:avLst/>
              <a:gdLst/>
              <a:ahLst/>
              <a:cxnLst/>
              <a:rect l="0" t="0" r="r" b="b"/>
              <a:pathLst>
                <a:path w="21600" h="21600">
                  <a:moveTo>
                    <a:pt x="20761" y="12853"/>
                  </a:moveTo>
                  <a:cubicBezTo>
                    <a:pt x="20845" y="12853"/>
                    <a:pt x="20924" y="12973"/>
                    <a:pt x="21003" y="13210"/>
                  </a:cubicBezTo>
                  <a:lnTo>
                    <a:pt x="21600" y="17493"/>
                  </a:lnTo>
                  <a:cubicBezTo>
                    <a:pt x="21600" y="18683"/>
                    <a:pt x="21199" y="19695"/>
                    <a:pt x="20407" y="20529"/>
                  </a:cubicBezTo>
                  <a:cubicBezTo>
                    <a:pt x="19689" y="21241"/>
                    <a:pt x="18934" y="21600"/>
                    <a:pt x="18137" y="21600"/>
                  </a:cubicBezTo>
                  <a:lnTo>
                    <a:pt x="11695" y="19636"/>
                  </a:lnTo>
                  <a:lnTo>
                    <a:pt x="7994" y="21600"/>
                  </a:lnTo>
                  <a:cubicBezTo>
                    <a:pt x="6801" y="21600"/>
                    <a:pt x="5211" y="20232"/>
                    <a:pt x="3221" y="17493"/>
                  </a:cubicBezTo>
                  <a:cubicBezTo>
                    <a:pt x="1072" y="14519"/>
                    <a:pt x="0" y="11781"/>
                    <a:pt x="0" y="9281"/>
                  </a:cubicBezTo>
                  <a:cubicBezTo>
                    <a:pt x="0" y="8805"/>
                    <a:pt x="834" y="7141"/>
                    <a:pt x="2508" y="4283"/>
                  </a:cubicBezTo>
                  <a:cubicBezTo>
                    <a:pt x="4176" y="1429"/>
                    <a:pt x="5211" y="0"/>
                    <a:pt x="5607" y="0"/>
                  </a:cubicBezTo>
                  <a:cubicBezTo>
                    <a:pt x="6088" y="0"/>
                    <a:pt x="6563" y="476"/>
                    <a:pt x="7038" y="1429"/>
                  </a:cubicBezTo>
                  <a:cubicBezTo>
                    <a:pt x="7519" y="2498"/>
                    <a:pt x="8036" y="3214"/>
                    <a:pt x="8591" y="3571"/>
                  </a:cubicBezTo>
                  <a:lnTo>
                    <a:pt x="13485" y="4998"/>
                  </a:lnTo>
                  <a:cubicBezTo>
                    <a:pt x="15391" y="5593"/>
                    <a:pt x="16985" y="6664"/>
                    <a:pt x="18258" y="8212"/>
                  </a:cubicBezTo>
                  <a:cubicBezTo>
                    <a:pt x="19134" y="9281"/>
                    <a:pt x="19969" y="10831"/>
                    <a:pt x="20761" y="12853"/>
                  </a:cubicBezTo>
                  <a:close/>
                  <a:moveTo>
                    <a:pt x="20761" y="1285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69" name="AutoShape 46"/>
            <p:cNvSpPr>
              <a:spLocks/>
            </p:cNvSpPr>
            <p:nvPr/>
          </p:nvSpPr>
          <p:spPr bwMode="auto">
            <a:xfrm>
              <a:off x="7360439" y="2583187"/>
              <a:ext cx="58708" cy="76065"/>
            </a:xfrm>
            <a:custGeom>
              <a:avLst/>
              <a:gdLst/>
              <a:ahLst/>
              <a:cxnLst/>
              <a:rect l="0" t="0" r="r" b="b"/>
              <a:pathLst>
                <a:path w="21600" h="21600">
                  <a:moveTo>
                    <a:pt x="18312" y="3399"/>
                  </a:moveTo>
                  <a:cubicBezTo>
                    <a:pt x="18610" y="4320"/>
                    <a:pt x="18835" y="5396"/>
                    <a:pt x="18984" y="6624"/>
                  </a:cubicBezTo>
                  <a:cubicBezTo>
                    <a:pt x="19434" y="7661"/>
                    <a:pt x="19907" y="8774"/>
                    <a:pt x="20406" y="9965"/>
                  </a:cubicBezTo>
                  <a:cubicBezTo>
                    <a:pt x="21203" y="11962"/>
                    <a:pt x="21600" y="13094"/>
                    <a:pt x="21600" y="13363"/>
                  </a:cubicBezTo>
                  <a:cubicBezTo>
                    <a:pt x="21600" y="15475"/>
                    <a:pt x="20032" y="17434"/>
                    <a:pt x="16891" y="19239"/>
                  </a:cubicBezTo>
                  <a:cubicBezTo>
                    <a:pt x="14152" y="20814"/>
                    <a:pt x="11685" y="21600"/>
                    <a:pt x="9492" y="21600"/>
                  </a:cubicBezTo>
                  <a:cubicBezTo>
                    <a:pt x="9095" y="21600"/>
                    <a:pt x="8546" y="21466"/>
                    <a:pt x="7848" y="21198"/>
                  </a:cubicBezTo>
                  <a:cubicBezTo>
                    <a:pt x="7299" y="21005"/>
                    <a:pt x="6826" y="20890"/>
                    <a:pt x="6426" y="20851"/>
                  </a:cubicBezTo>
                  <a:lnTo>
                    <a:pt x="6353" y="20851"/>
                  </a:lnTo>
                  <a:cubicBezTo>
                    <a:pt x="2117" y="17204"/>
                    <a:pt x="0" y="14477"/>
                    <a:pt x="0" y="12672"/>
                  </a:cubicBezTo>
                  <a:cubicBezTo>
                    <a:pt x="0" y="10867"/>
                    <a:pt x="298" y="8601"/>
                    <a:pt x="896" y="5875"/>
                  </a:cubicBezTo>
                  <a:cubicBezTo>
                    <a:pt x="946" y="5530"/>
                    <a:pt x="1644" y="4743"/>
                    <a:pt x="2990" y="3514"/>
                  </a:cubicBezTo>
                  <a:cubicBezTo>
                    <a:pt x="4435" y="2247"/>
                    <a:pt x="5431" y="1613"/>
                    <a:pt x="5980" y="1613"/>
                  </a:cubicBezTo>
                  <a:cubicBezTo>
                    <a:pt x="6079" y="1613"/>
                    <a:pt x="6327" y="1748"/>
                    <a:pt x="6727" y="2016"/>
                  </a:cubicBezTo>
                  <a:cubicBezTo>
                    <a:pt x="7124" y="2247"/>
                    <a:pt x="7399" y="2362"/>
                    <a:pt x="7547" y="2362"/>
                  </a:cubicBezTo>
                  <a:cubicBezTo>
                    <a:pt x="7600" y="2362"/>
                    <a:pt x="7921" y="1978"/>
                    <a:pt x="8520" y="1210"/>
                  </a:cubicBezTo>
                  <a:cubicBezTo>
                    <a:pt x="9118" y="404"/>
                    <a:pt x="9740" y="0"/>
                    <a:pt x="10388" y="0"/>
                  </a:cubicBezTo>
                  <a:cubicBezTo>
                    <a:pt x="10888" y="0"/>
                    <a:pt x="11387" y="288"/>
                    <a:pt x="11883" y="864"/>
                  </a:cubicBezTo>
                  <a:cubicBezTo>
                    <a:pt x="12382" y="1440"/>
                    <a:pt x="12780" y="1728"/>
                    <a:pt x="13080" y="1728"/>
                  </a:cubicBezTo>
                  <a:cubicBezTo>
                    <a:pt x="13477" y="1728"/>
                    <a:pt x="13877" y="1575"/>
                    <a:pt x="14274" y="1267"/>
                  </a:cubicBezTo>
                  <a:cubicBezTo>
                    <a:pt x="14625" y="960"/>
                    <a:pt x="15048" y="807"/>
                    <a:pt x="15547" y="807"/>
                  </a:cubicBezTo>
                  <a:cubicBezTo>
                    <a:pt x="16841" y="807"/>
                    <a:pt x="17764" y="1671"/>
                    <a:pt x="18312" y="3399"/>
                  </a:cubicBezTo>
                  <a:close/>
                  <a:moveTo>
                    <a:pt x="18312" y="339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0" name="AutoShape 47"/>
            <p:cNvSpPr>
              <a:spLocks/>
            </p:cNvSpPr>
            <p:nvPr/>
          </p:nvSpPr>
          <p:spPr bwMode="auto">
            <a:xfrm>
              <a:off x="7642237" y="2901742"/>
              <a:ext cx="21441" cy="11231"/>
            </a:xfrm>
            <a:custGeom>
              <a:avLst/>
              <a:gdLst/>
              <a:ahLst/>
              <a:cxnLst/>
              <a:rect l="0" t="0" r="r" b="b"/>
              <a:pathLst>
                <a:path w="21600" h="21600">
                  <a:moveTo>
                    <a:pt x="8638" y="0"/>
                  </a:moveTo>
                  <a:cubicBezTo>
                    <a:pt x="9458" y="0"/>
                    <a:pt x="10350" y="252"/>
                    <a:pt x="11314" y="759"/>
                  </a:cubicBezTo>
                  <a:cubicBezTo>
                    <a:pt x="11588" y="759"/>
                    <a:pt x="11933" y="885"/>
                    <a:pt x="12343" y="1137"/>
                  </a:cubicBezTo>
                  <a:cubicBezTo>
                    <a:pt x="13436" y="1892"/>
                    <a:pt x="15155" y="2525"/>
                    <a:pt x="17486" y="3029"/>
                  </a:cubicBezTo>
                  <a:cubicBezTo>
                    <a:pt x="20226" y="4547"/>
                    <a:pt x="21600" y="7702"/>
                    <a:pt x="21600" y="12502"/>
                  </a:cubicBezTo>
                  <a:cubicBezTo>
                    <a:pt x="21600" y="18567"/>
                    <a:pt x="17896" y="21600"/>
                    <a:pt x="10487" y="21600"/>
                  </a:cubicBezTo>
                  <a:cubicBezTo>
                    <a:pt x="8574" y="21600"/>
                    <a:pt x="6445" y="20334"/>
                    <a:pt x="4114" y="17808"/>
                  </a:cubicBezTo>
                  <a:cubicBezTo>
                    <a:pt x="1374" y="14779"/>
                    <a:pt x="0" y="11243"/>
                    <a:pt x="0" y="7202"/>
                  </a:cubicBezTo>
                  <a:cubicBezTo>
                    <a:pt x="0" y="6695"/>
                    <a:pt x="1093" y="5432"/>
                    <a:pt x="3287" y="3411"/>
                  </a:cubicBezTo>
                  <a:cubicBezTo>
                    <a:pt x="5625" y="1137"/>
                    <a:pt x="7401" y="0"/>
                    <a:pt x="8638" y="0"/>
                  </a:cubicBezTo>
                  <a:close/>
                  <a:moveTo>
                    <a:pt x="8638"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1" name="AutoShape 48"/>
            <p:cNvSpPr>
              <a:spLocks/>
            </p:cNvSpPr>
            <p:nvPr/>
          </p:nvSpPr>
          <p:spPr bwMode="auto">
            <a:xfrm>
              <a:off x="7429867" y="2897658"/>
              <a:ext cx="29099" cy="15826"/>
            </a:xfrm>
            <a:custGeom>
              <a:avLst/>
              <a:gdLst/>
              <a:ahLst/>
              <a:cxnLst/>
              <a:rect l="0" t="0" r="r" b="b"/>
              <a:pathLst>
                <a:path w="21600" h="21600">
                  <a:moveTo>
                    <a:pt x="2701" y="0"/>
                  </a:moveTo>
                  <a:cubicBezTo>
                    <a:pt x="15296" y="0"/>
                    <a:pt x="21600" y="5172"/>
                    <a:pt x="21600" y="15511"/>
                  </a:cubicBezTo>
                  <a:cubicBezTo>
                    <a:pt x="21600" y="16988"/>
                    <a:pt x="21500" y="18000"/>
                    <a:pt x="21295" y="18555"/>
                  </a:cubicBezTo>
                  <a:cubicBezTo>
                    <a:pt x="20997" y="18926"/>
                    <a:pt x="20698" y="19386"/>
                    <a:pt x="20399" y="19941"/>
                  </a:cubicBezTo>
                  <a:cubicBezTo>
                    <a:pt x="20200" y="20312"/>
                    <a:pt x="20048" y="20680"/>
                    <a:pt x="19948" y="21051"/>
                  </a:cubicBezTo>
                  <a:cubicBezTo>
                    <a:pt x="19749" y="21051"/>
                    <a:pt x="19596" y="21051"/>
                    <a:pt x="19497" y="21051"/>
                  </a:cubicBezTo>
                  <a:cubicBezTo>
                    <a:pt x="18700" y="21416"/>
                    <a:pt x="17950" y="21600"/>
                    <a:pt x="17247" y="21600"/>
                  </a:cubicBezTo>
                  <a:cubicBezTo>
                    <a:pt x="13750" y="21600"/>
                    <a:pt x="10153" y="19294"/>
                    <a:pt x="6450" y="14677"/>
                  </a:cubicBezTo>
                  <a:cubicBezTo>
                    <a:pt x="2753" y="10431"/>
                    <a:pt x="603" y="6092"/>
                    <a:pt x="0" y="1664"/>
                  </a:cubicBezTo>
                  <a:cubicBezTo>
                    <a:pt x="504" y="555"/>
                    <a:pt x="1400" y="0"/>
                    <a:pt x="2701" y="0"/>
                  </a:cubicBezTo>
                  <a:close/>
                  <a:moveTo>
                    <a:pt x="2701"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2" name="AutoShape 49"/>
            <p:cNvSpPr>
              <a:spLocks/>
            </p:cNvSpPr>
            <p:nvPr/>
          </p:nvSpPr>
          <p:spPr bwMode="auto">
            <a:xfrm>
              <a:off x="7258338" y="2975254"/>
              <a:ext cx="49519" cy="65855"/>
            </a:xfrm>
            <a:custGeom>
              <a:avLst/>
              <a:gdLst/>
              <a:ahLst/>
              <a:cxnLst/>
              <a:rect l="0" t="0" r="r" b="b"/>
              <a:pathLst>
                <a:path w="21600" h="21600">
                  <a:moveTo>
                    <a:pt x="17969" y="8375"/>
                  </a:moveTo>
                  <a:cubicBezTo>
                    <a:pt x="15788" y="9969"/>
                    <a:pt x="14460" y="11099"/>
                    <a:pt x="13986" y="11764"/>
                  </a:cubicBezTo>
                  <a:cubicBezTo>
                    <a:pt x="13986" y="12074"/>
                    <a:pt x="14017" y="12650"/>
                    <a:pt x="14076" y="13492"/>
                  </a:cubicBezTo>
                  <a:cubicBezTo>
                    <a:pt x="14135" y="14245"/>
                    <a:pt x="14045" y="14711"/>
                    <a:pt x="13810" y="14887"/>
                  </a:cubicBezTo>
                  <a:cubicBezTo>
                    <a:pt x="11981" y="16173"/>
                    <a:pt x="10947" y="17037"/>
                    <a:pt x="10712" y="17480"/>
                  </a:cubicBezTo>
                  <a:cubicBezTo>
                    <a:pt x="10242" y="18321"/>
                    <a:pt x="8852" y="18875"/>
                    <a:pt x="6552" y="19141"/>
                  </a:cubicBezTo>
                  <a:cubicBezTo>
                    <a:pt x="5961" y="19186"/>
                    <a:pt x="5252" y="19628"/>
                    <a:pt x="4426" y="20470"/>
                  </a:cubicBezTo>
                  <a:cubicBezTo>
                    <a:pt x="3662" y="21223"/>
                    <a:pt x="2894" y="21600"/>
                    <a:pt x="2126" y="21600"/>
                  </a:cubicBezTo>
                  <a:cubicBezTo>
                    <a:pt x="1476" y="21600"/>
                    <a:pt x="947" y="21179"/>
                    <a:pt x="532" y="20337"/>
                  </a:cubicBezTo>
                  <a:cubicBezTo>
                    <a:pt x="180" y="19628"/>
                    <a:pt x="0" y="18986"/>
                    <a:pt x="0" y="18410"/>
                  </a:cubicBezTo>
                  <a:cubicBezTo>
                    <a:pt x="0" y="16150"/>
                    <a:pt x="1801" y="12739"/>
                    <a:pt x="5401" y="8175"/>
                  </a:cubicBezTo>
                  <a:cubicBezTo>
                    <a:pt x="9650" y="2725"/>
                    <a:pt x="13959" y="0"/>
                    <a:pt x="18326" y="0"/>
                  </a:cubicBezTo>
                  <a:cubicBezTo>
                    <a:pt x="20507" y="0"/>
                    <a:pt x="21600" y="1307"/>
                    <a:pt x="21600" y="3921"/>
                  </a:cubicBezTo>
                  <a:cubicBezTo>
                    <a:pt x="21600" y="5117"/>
                    <a:pt x="20390" y="6602"/>
                    <a:pt x="17969" y="8375"/>
                  </a:cubicBezTo>
                  <a:close/>
                  <a:moveTo>
                    <a:pt x="17969" y="837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3" name="AutoShape 50"/>
            <p:cNvSpPr>
              <a:spLocks/>
            </p:cNvSpPr>
            <p:nvPr/>
          </p:nvSpPr>
          <p:spPr bwMode="auto">
            <a:xfrm>
              <a:off x="7139901" y="2795557"/>
              <a:ext cx="208286" cy="183271"/>
            </a:xfrm>
            <a:custGeom>
              <a:avLst/>
              <a:gdLst/>
              <a:ahLst/>
              <a:cxnLst/>
              <a:rect l="0" t="0" r="r" b="b"/>
              <a:pathLst>
                <a:path w="21600" h="21600">
                  <a:moveTo>
                    <a:pt x="16285" y="10548"/>
                  </a:moveTo>
                  <a:cubicBezTo>
                    <a:pt x="16313" y="10644"/>
                    <a:pt x="16327" y="10732"/>
                    <a:pt x="16327" y="10812"/>
                  </a:cubicBezTo>
                  <a:cubicBezTo>
                    <a:pt x="16327" y="11661"/>
                    <a:pt x="16447" y="12086"/>
                    <a:pt x="16687" y="12086"/>
                  </a:cubicBezTo>
                  <a:cubicBezTo>
                    <a:pt x="17224" y="12086"/>
                    <a:pt x="17626" y="12054"/>
                    <a:pt x="17894" y="11990"/>
                  </a:cubicBezTo>
                  <a:cubicBezTo>
                    <a:pt x="18135" y="11925"/>
                    <a:pt x="18353" y="11765"/>
                    <a:pt x="18551" y="11509"/>
                  </a:cubicBezTo>
                  <a:cubicBezTo>
                    <a:pt x="18650" y="11365"/>
                    <a:pt x="18749" y="11269"/>
                    <a:pt x="18847" y="11221"/>
                  </a:cubicBezTo>
                  <a:cubicBezTo>
                    <a:pt x="18904" y="11172"/>
                    <a:pt x="18960" y="11148"/>
                    <a:pt x="19017" y="11148"/>
                  </a:cubicBezTo>
                  <a:cubicBezTo>
                    <a:pt x="19116" y="11148"/>
                    <a:pt x="19236" y="11205"/>
                    <a:pt x="19376" y="11317"/>
                  </a:cubicBezTo>
                  <a:cubicBezTo>
                    <a:pt x="19434" y="11349"/>
                    <a:pt x="19511" y="11413"/>
                    <a:pt x="19610" y="11509"/>
                  </a:cubicBezTo>
                  <a:cubicBezTo>
                    <a:pt x="19638" y="11541"/>
                    <a:pt x="19673" y="11573"/>
                    <a:pt x="19716" y="11605"/>
                  </a:cubicBezTo>
                  <a:cubicBezTo>
                    <a:pt x="19815" y="11669"/>
                    <a:pt x="19913" y="11805"/>
                    <a:pt x="20012" y="12013"/>
                  </a:cubicBezTo>
                  <a:cubicBezTo>
                    <a:pt x="20111" y="12206"/>
                    <a:pt x="20161" y="12358"/>
                    <a:pt x="20161" y="12470"/>
                  </a:cubicBezTo>
                  <a:cubicBezTo>
                    <a:pt x="20147" y="12854"/>
                    <a:pt x="20379" y="13079"/>
                    <a:pt x="20859" y="13143"/>
                  </a:cubicBezTo>
                  <a:cubicBezTo>
                    <a:pt x="21353" y="13223"/>
                    <a:pt x="21600" y="13303"/>
                    <a:pt x="21600" y="13383"/>
                  </a:cubicBezTo>
                  <a:cubicBezTo>
                    <a:pt x="21600" y="13559"/>
                    <a:pt x="21452" y="13832"/>
                    <a:pt x="21156" y="14200"/>
                  </a:cubicBezTo>
                  <a:cubicBezTo>
                    <a:pt x="20789" y="14617"/>
                    <a:pt x="20598" y="14849"/>
                    <a:pt x="20584" y="14897"/>
                  </a:cubicBezTo>
                  <a:cubicBezTo>
                    <a:pt x="20386" y="15313"/>
                    <a:pt x="20217" y="15626"/>
                    <a:pt x="20075" y="15834"/>
                  </a:cubicBezTo>
                  <a:cubicBezTo>
                    <a:pt x="19836" y="16202"/>
                    <a:pt x="19574" y="16386"/>
                    <a:pt x="19292" y="16386"/>
                  </a:cubicBezTo>
                  <a:cubicBezTo>
                    <a:pt x="19222" y="16386"/>
                    <a:pt x="18918" y="16274"/>
                    <a:pt x="18381" y="16050"/>
                  </a:cubicBezTo>
                  <a:lnTo>
                    <a:pt x="17598" y="15690"/>
                  </a:lnTo>
                  <a:cubicBezTo>
                    <a:pt x="17358" y="15594"/>
                    <a:pt x="17026" y="15530"/>
                    <a:pt x="16603" y="15497"/>
                  </a:cubicBezTo>
                  <a:cubicBezTo>
                    <a:pt x="16193" y="15465"/>
                    <a:pt x="15854" y="15481"/>
                    <a:pt x="15586" y="15545"/>
                  </a:cubicBezTo>
                  <a:cubicBezTo>
                    <a:pt x="14909" y="15673"/>
                    <a:pt x="14563" y="15377"/>
                    <a:pt x="14549" y="14656"/>
                  </a:cubicBezTo>
                  <a:cubicBezTo>
                    <a:pt x="14535" y="13904"/>
                    <a:pt x="14330" y="13527"/>
                    <a:pt x="13934" y="13527"/>
                  </a:cubicBezTo>
                  <a:cubicBezTo>
                    <a:pt x="13836" y="13527"/>
                    <a:pt x="13659" y="13559"/>
                    <a:pt x="13405" y="13623"/>
                  </a:cubicBezTo>
                  <a:cubicBezTo>
                    <a:pt x="13151" y="13687"/>
                    <a:pt x="12947" y="13719"/>
                    <a:pt x="12791" y="13719"/>
                  </a:cubicBezTo>
                  <a:cubicBezTo>
                    <a:pt x="12523" y="13719"/>
                    <a:pt x="12388" y="13656"/>
                    <a:pt x="12388" y="13527"/>
                  </a:cubicBezTo>
                  <a:cubicBezTo>
                    <a:pt x="12388" y="13431"/>
                    <a:pt x="12488" y="13231"/>
                    <a:pt x="12685" y="12927"/>
                  </a:cubicBezTo>
                  <a:cubicBezTo>
                    <a:pt x="12883" y="12638"/>
                    <a:pt x="12981" y="12486"/>
                    <a:pt x="12981" y="12470"/>
                  </a:cubicBezTo>
                  <a:cubicBezTo>
                    <a:pt x="12981" y="12390"/>
                    <a:pt x="12953" y="12310"/>
                    <a:pt x="12897" y="12230"/>
                  </a:cubicBezTo>
                  <a:cubicBezTo>
                    <a:pt x="12827" y="12133"/>
                    <a:pt x="12749" y="12086"/>
                    <a:pt x="12664" y="12086"/>
                  </a:cubicBezTo>
                  <a:cubicBezTo>
                    <a:pt x="12198" y="12086"/>
                    <a:pt x="11753" y="12286"/>
                    <a:pt x="11329" y="12686"/>
                  </a:cubicBezTo>
                  <a:cubicBezTo>
                    <a:pt x="10864" y="13119"/>
                    <a:pt x="10631" y="13623"/>
                    <a:pt x="10631" y="14200"/>
                  </a:cubicBezTo>
                  <a:cubicBezTo>
                    <a:pt x="10631" y="14376"/>
                    <a:pt x="10716" y="14560"/>
                    <a:pt x="10885" y="14753"/>
                  </a:cubicBezTo>
                  <a:cubicBezTo>
                    <a:pt x="11041" y="14945"/>
                    <a:pt x="11118" y="15073"/>
                    <a:pt x="11118" y="15137"/>
                  </a:cubicBezTo>
                  <a:cubicBezTo>
                    <a:pt x="11118" y="15361"/>
                    <a:pt x="11027" y="15570"/>
                    <a:pt x="10843" y="15762"/>
                  </a:cubicBezTo>
                  <a:cubicBezTo>
                    <a:pt x="10560" y="16018"/>
                    <a:pt x="10334" y="16242"/>
                    <a:pt x="10165" y="16434"/>
                  </a:cubicBezTo>
                  <a:cubicBezTo>
                    <a:pt x="9996" y="16611"/>
                    <a:pt x="9812" y="16923"/>
                    <a:pt x="9615" y="17372"/>
                  </a:cubicBezTo>
                  <a:cubicBezTo>
                    <a:pt x="9361" y="17932"/>
                    <a:pt x="9170" y="18308"/>
                    <a:pt x="9043" y="18501"/>
                  </a:cubicBezTo>
                  <a:cubicBezTo>
                    <a:pt x="7673" y="20567"/>
                    <a:pt x="6770" y="21600"/>
                    <a:pt x="6332" y="21600"/>
                  </a:cubicBezTo>
                  <a:cubicBezTo>
                    <a:pt x="5993" y="21600"/>
                    <a:pt x="5753" y="21288"/>
                    <a:pt x="5612" y="20663"/>
                  </a:cubicBezTo>
                  <a:cubicBezTo>
                    <a:pt x="5598" y="20615"/>
                    <a:pt x="5584" y="20567"/>
                    <a:pt x="5570" y="20519"/>
                  </a:cubicBezTo>
                  <a:cubicBezTo>
                    <a:pt x="5471" y="19654"/>
                    <a:pt x="5379" y="19077"/>
                    <a:pt x="5294" y="18789"/>
                  </a:cubicBezTo>
                  <a:cubicBezTo>
                    <a:pt x="5266" y="18677"/>
                    <a:pt x="5062" y="18173"/>
                    <a:pt x="4680" y="17276"/>
                  </a:cubicBezTo>
                  <a:cubicBezTo>
                    <a:pt x="4624" y="17147"/>
                    <a:pt x="4574" y="16907"/>
                    <a:pt x="4532" y="16555"/>
                  </a:cubicBezTo>
                  <a:cubicBezTo>
                    <a:pt x="4490" y="16170"/>
                    <a:pt x="4455" y="15930"/>
                    <a:pt x="4426" y="15834"/>
                  </a:cubicBezTo>
                  <a:cubicBezTo>
                    <a:pt x="4201" y="15946"/>
                    <a:pt x="3975" y="16306"/>
                    <a:pt x="3749" y="16915"/>
                  </a:cubicBezTo>
                  <a:cubicBezTo>
                    <a:pt x="3565" y="17444"/>
                    <a:pt x="3290" y="17708"/>
                    <a:pt x="2923" y="17708"/>
                  </a:cubicBezTo>
                  <a:cubicBezTo>
                    <a:pt x="2655" y="17612"/>
                    <a:pt x="2435" y="17564"/>
                    <a:pt x="2267" y="17564"/>
                  </a:cubicBezTo>
                  <a:cubicBezTo>
                    <a:pt x="2167" y="17564"/>
                    <a:pt x="1921" y="17724"/>
                    <a:pt x="1525" y="18044"/>
                  </a:cubicBezTo>
                  <a:cubicBezTo>
                    <a:pt x="1144" y="18349"/>
                    <a:pt x="855" y="18501"/>
                    <a:pt x="657" y="18501"/>
                  </a:cubicBezTo>
                  <a:cubicBezTo>
                    <a:pt x="219" y="18501"/>
                    <a:pt x="0" y="18244"/>
                    <a:pt x="0" y="17732"/>
                  </a:cubicBezTo>
                  <a:cubicBezTo>
                    <a:pt x="0" y="17155"/>
                    <a:pt x="290" y="16483"/>
                    <a:pt x="869" y="15714"/>
                  </a:cubicBezTo>
                  <a:cubicBezTo>
                    <a:pt x="1306" y="15121"/>
                    <a:pt x="1857" y="14568"/>
                    <a:pt x="2520" y="14056"/>
                  </a:cubicBezTo>
                  <a:cubicBezTo>
                    <a:pt x="2520" y="14040"/>
                    <a:pt x="2520" y="14016"/>
                    <a:pt x="2520" y="13984"/>
                  </a:cubicBezTo>
                  <a:cubicBezTo>
                    <a:pt x="2520" y="13727"/>
                    <a:pt x="2464" y="13351"/>
                    <a:pt x="2351" y="12854"/>
                  </a:cubicBezTo>
                  <a:cubicBezTo>
                    <a:pt x="2224" y="12358"/>
                    <a:pt x="2161" y="11925"/>
                    <a:pt x="2161" y="11557"/>
                  </a:cubicBezTo>
                  <a:cubicBezTo>
                    <a:pt x="2287" y="9971"/>
                    <a:pt x="2351" y="9090"/>
                    <a:pt x="2351" y="8914"/>
                  </a:cubicBezTo>
                  <a:cubicBezTo>
                    <a:pt x="2195" y="6896"/>
                    <a:pt x="2118" y="5566"/>
                    <a:pt x="2118" y="4926"/>
                  </a:cubicBezTo>
                  <a:cubicBezTo>
                    <a:pt x="2118" y="1642"/>
                    <a:pt x="2407" y="0"/>
                    <a:pt x="2986" y="0"/>
                  </a:cubicBezTo>
                  <a:cubicBezTo>
                    <a:pt x="3240" y="0"/>
                    <a:pt x="3558" y="249"/>
                    <a:pt x="3939" y="745"/>
                  </a:cubicBezTo>
                  <a:cubicBezTo>
                    <a:pt x="4292" y="1226"/>
                    <a:pt x="4469" y="1594"/>
                    <a:pt x="4469" y="1850"/>
                  </a:cubicBezTo>
                  <a:cubicBezTo>
                    <a:pt x="4469" y="2683"/>
                    <a:pt x="4483" y="3212"/>
                    <a:pt x="4511" y="3436"/>
                  </a:cubicBezTo>
                  <a:cubicBezTo>
                    <a:pt x="4596" y="4157"/>
                    <a:pt x="4800" y="4541"/>
                    <a:pt x="5125" y="4589"/>
                  </a:cubicBezTo>
                  <a:lnTo>
                    <a:pt x="5506" y="4589"/>
                  </a:lnTo>
                  <a:cubicBezTo>
                    <a:pt x="5464" y="4237"/>
                    <a:pt x="5541" y="3876"/>
                    <a:pt x="5739" y="3508"/>
                  </a:cubicBezTo>
                  <a:cubicBezTo>
                    <a:pt x="5923" y="3140"/>
                    <a:pt x="6106" y="2956"/>
                    <a:pt x="6290" y="2956"/>
                  </a:cubicBezTo>
                  <a:cubicBezTo>
                    <a:pt x="6756" y="2956"/>
                    <a:pt x="7250" y="3452"/>
                    <a:pt x="7772" y="4445"/>
                  </a:cubicBezTo>
                  <a:cubicBezTo>
                    <a:pt x="7913" y="4733"/>
                    <a:pt x="8231" y="4910"/>
                    <a:pt x="8725" y="4973"/>
                  </a:cubicBezTo>
                  <a:cubicBezTo>
                    <a:pt x="8993" y="5022"/>
                    <a:pt x="9361" y="5078"/>
                    <a:pt x="9826" y="5142"/>
                  </a:cubicBezTo>
                  <a:cubicBezTo>
                    <a:pt x="9883" y="5158"/>
                    <a:pt x="10370" y="5534"/>
                    <a:pt x="11287" y="6271"/>
                  </a:cubicBezTo>
                  <a:cubicBezTo>
                    <a:pt x="12276" y="6992"/>
                    <a:pt x="12961" y="7352"/>
                    <a:pt x="13341" y="7352"/>
                  </a:cubicBezTo>
                  <a:cubicBezTo>
                    <a:pt x="13765" y="7352"/>
                    <a:pt x="14125" y="7352"/>
                    <a:pt x="14422" y="7352"/>
                  </a:cubicBezTo>
                  <a:cubicBezTo>
                    <a:pt x="14549" y="7400"/>
                    <a:pt x="14795" y="7729"/>
                    <a:pt x="15163" y="8337"/>
                  </a:cubicBezTo>
                  <a:cubicBezTo>
                    <a:pt x="15233" y="8450"/>
                    <a:pt x="15452" y="8826"/>
                    <a:pt x="15819" y="9467"/>
                  </a:cubicBezTo>
                  <a:cubicBezTo>
                    <a:pt x="16059" y="9915"/>
                    <a:pt x="16215" y="10275"/>
                    <a:pt x="16285" y="10548"/>
                  </a:cubicBezTo>
                  <a:close/>
                  <a:moveTo>
                    <a:pt x="16285" y="1054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4" name="AutoShape 51"/>
            <p:cNvSpPr>
              <a:spLocks/>
            </p:cNvSpPr>
            <p:nvPr/>
          </p:nvSpPr>
          <p:spPr bwMode="auto">
            <a:xfrm>
              <a:off x="7372691" y="2999759"/>
              <a:ext cx="22973" cy="54624"/>
            </a:xfrm>
            <a:custGeom>
              <a:avLst/>
              <a:gdLst/>
              <a:ahLst/>
              <a:cxnLst/>
              <a:rect l="0" t="0" r="r" b="b"/>
              <a:pathLst>
                <a:path w="21600" h="21600">
                  <a:moveTo>
                    <a:pt x="5159" y="1365"/>
                  </a:moveTo>
                  <a:cubicBezTo>
                    <a:pt x="8347" y="455"/>
                    <a:pt x="11789" y="0"/>
                    <a:pt x="15485" y="0"/>
                  </a:cubicBezTo>
                  <a:cubicBezTo>
                    <a:pt x="19562" y="0"/>
                    <a:pt x="21600" y="1981"/>
                    <a:pt x="21600" y="5942"/>
                  </a:cubicBezTo>
                  <a:cubicBezTo>
                    <a:pt x="21600" y="6531"/>
                    <a:pt x="20898" y="8110"/>
                    <a:pt x="19495" y="10680"/>
                  </a:cubicBezTo>
                  <a:cubicBezTo>
                    <a:pt x="19368" y="10840"/>
                    <a:pt x="19241" y="11028"/>
                    <a:pt x="19114" y="11242"/>
                  </a:cubicBezTo>
                  <a:lnTo>
                    <a:pt x="20838" y="17505"/>
                  </a:lnTo>
                  <a:cubicBezTo>
                    <a:pt x="20838" y="20236"/>
                    <a:pt x="18987" y="21600"/>
                    <a:pt x="15291" y="21600"/>
                  </a:cubicBezTo>
                  <a:cubicBezTo>
                    <a:pt x="14402" y="21600"/>
                    <a:pt x="12939" y="21119"/>
                    <a:pt x="10893" y="20155"/>
                  </a:cubicBezTo>
                  <a:cubicBezTo>
                    <a:pt x="8982" y="19085"/>
                    <a:pt x="7840" y="18469"/>
                    <a:pt x="7459" y="18308"/>
                  </a:cubicBezTo>
                  <a:cubicBezTo>
                    <a:pt x="5674" y="17934"/>
                    <a:pt x="4204" y="17639"/>
                    <a:pt x="3061" y="17425"/>
                  </a:cubicBezTo>
                  <a:cubicBezTo>
                    <a:pt x="1023" y="16997"/>
                    <a:pt x="0" y="16408"/>
                    <a:pt x="0" y="15659"/>
                  </a:cubicBezTo>
                  <a:lnTo>
                    <a:pt x="0" y="4979"/>
                  </a:lnTo>
                  <a:cubicBezTo>
                    <a:pt x="0" y="3533"/>
                    <a:pt x="1725" y="2328"/>
                    <a:pt x="5159" y="1365"/>
                  </a:cubicBezTo>
                  <a:close/>
                  <a:moveTo>
                    <a:pt x="5159" y="136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5" name="AutoShape 52"/>
            <p:cNvSpPr>
              <a:spLocks/>
            </p:cNvSpPr>
            <p:nvPr/>
          </p:nvSpPr>
          <p:spPr bwMode="auto">
            <a:xfrm>
              <a:off x="7405363" y="2918078"/>
              <a:ext cx="29099" cy="22462"/>
            </a:xfrm>
            <a:custGeom>
              <a:avLst/>
              <a:gdLst/>
              <a:ahLst/>
              <a:cxnLst/>
              <a:rect l="0" t="0" r="r" b="b"/>
              <a:pathLst>
                <a:path w="21600" h="19444">
                  <a:moveTo>
                    <a:pt x="0" y="3680"/>
                  </a:moveTo>
                  <a:cubicBezTo>
                    <a:pt x="0" y="2743"/>
                    <a:pt x="1154" y="1867"/>
                    <a:pt x="3451" y="1053"/>
                  </a:cubicBezTo>
                  <a:cubicBezTo>
                    <a:pt x="5454" y="351"/>
                    <a:pt x="7200" y="0"/>
                    <a:pt x="8700" y="0"/>
                  </a:cubicBezTo>
                  <a:cubicBezTo>
                    <a:pt x="11998" y="0"/>
                    <a:pt x="14951" y="1169"/>
                    <a:pt x="17552" y="3503"/>
                  </a:cubicBezTo>
                  <a:cubicBezTo>
                    <a:pt x="20247" y="5956"/>
                    <a:pt x="21600" y="8990"/>
                    <a:pt x="21600" y="12610"/>
                  </a:cubicBezTo>
                  <a:cubicBezTo>
                    <a:pt x="21600" y="20664"/>
                    <a:pt x="17997" y="21600"/>
                    <a:pt x="10803" y="15411"/>
                  </a:cubicBezTo>
                  <a:cubicBezTo>
                    <a:pt x="10803" y="15411"/>
                    <a:pt x="0" y="3680"/>
                    <a:pt x="0" y="3680"/>
                  </a:cubicBezTo>
                  <a:close/>
                  <a:moveTo>
                    <a:pt x="0" y="368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6" name="AutoShape 53"/>
            <p:cNvSpPr>
              <a:spLocks/>
            </p:cNvSpPr>
            <p:nvPr/>
          </p:nvSpPr>
          <p:spPr bwMode="auto">
            <a:xfrm>
              <a:off x="7123565" y="4020766"/>
              <a:ext cx="316512" cy="159277"/>
            </a:xfrm>
            <a:custGeom>
              <a:avLst/>
              <a:gdLst/>
              <a:ahLst/>
              <a:cxnLst/>
              <a:rect l="0" t="0" r="r" b="b"/>
              <a:pathLst>
                <a:path w="21600" h="21600">
                  <a:moveTo>
                    <a:pt x="19177" y="7218"/>
                  </a:moveTo>
                  <a:cubicBezTo>
                    <a:pt x="19233" y="7384"/>
                    <a:pt x="19270" y="7661"/>
                    <a:pt x="19288" y="8048"/>
                  </a:cubicBezTo>
                  <a:cubicBezTo>
                    <a:pt x="19326" y="8454"/>
                    <a:pt x="19353" y="8896"/>
                    <a:pt x="19372" y="9376"/>
                  </a:cubicBezTo>
                  <a:cubicBezTo>
                    <a:pt x="19409" y="9449"/>
                    <a:pt x="19511" y="9596"/>
                    <a:pt x="19678" y="9818"/>
                  </a:cubicBezTo>
                  <a:cubicBezTo>
                    <a:pt x="19687" y="9836"/>
                    <a:pt x="19701" y="9855"/>
                    <a:pt x="19720" y="9873"/>
                  </a:cubicBezTo>
                  <a:cubicBezTo>
                    <a:pt x="19804" y="10002"/>
                    <a:pt x="19868" y="10122"/>
                    <a:pt x="19915" y="10233"/>
                  </a:cubicBezTo>
                  <a:cubicBezTo>
                    <a:pt x="19961" y="10343"/>
                    <a:pt x="19994" y="10445"/>
                    <a:pt x="20013" y="10537"/>
                  </a:cubicBezTo>
                  <a:cubicBezTo>
                    <a:pt x="20105" y="11016"/>
                    <a:pt x="20249" y="11265"/>
                    <a:pt x="20444" y="11284"/>
                  </a:cubicBezTo>
                  <a:cubicBezTo>
                    <a:pt x="20593" y="11284"/>
                    <a:pt x="20741" y="11118"/>
                    <a:pt x="20890" y="10786"/>
                  </a:cubicBezTo>
                  <a:cubicBezTo>
                    <a:pt x="21029" y="10509"/>
                    <a:pt x="21154" y="10362"/>
                    <a:pt x="21266" y="10343"/>
                  </a:cubicBezTo>
                  <a:cubicBezTo>
                    <a:pt x="21275" y="10343"/>
                    <a:pt x="21284" y="10343"/>
                    <a:pt x="21294" y="10343"/>
                  </a:cubicBezTo>
                  <a:cubicBezTo>
                    <a:pt x="21433" y="10362"/>
                    <a:pt x="21516" y="10454"/>
                    <a:pt x="21545" y="10620"/>
                  </a:cubicBezTo>
                  <a:cubicBezTo>
                    <a:pt x="21582" y="10749"/>
                    <a:pt x="21600" y="11016"/>
                    <a:pt x="21600" y="11422"/>
                  </a:cubicBezTo>
                  <a:cubicBezTo>
                    <a:pt x="21600" y="11644"/>
                    <a:pt x="21582" y="11791"/>
                    <a:pt x="21545" y="11865"/>
                  </a:cubicBezTo>
                  <a:cubicBezTo>
                    <a:pt x="21507" y="11920"/>
                    <a:pt x="21414" y="11938"/>
                    <a:pt x="21266" y="11920"/>
                  </a:cubicBezTo>
                  <a:cubicBezTo>
                    <a:pt x="21247" y="11920"/>
                    <a:pt x="21228" y="11920"/>
                    <a:pt x="21210" y="11920"/>
                  </a:cubicBezTo>
                  <a:cubicBezTo>
                    <a:pt x="20959" y="11901"/>
                    <a:pt x="20750" y="11855"/>
                    <a:pt x="20583" y="11781"/>
                  </a:cubicBezTo>
                  <a:cubicBezTo>
                    <a:pt x="20426" y="11653"/>
                    <a:pt x="20323" y="11588"/>
                    <a:pt x="20277" y="11588"/>
                  </a:cubicBezTo>
                  <a:cubicBezTo>
                    <a:pt x="20212" y="11588"/>
                    <a:pt x="20138" y="11607"/>
                    <a:pt x="20054" y="11644"/>
                  </a:cubicBezTo>
                  <a:cubicBezTo>
                    <a:pt x="20026" y="11644"/>
                    <a:pt x="19994" y="11653"/>
                    <a:pt x="19957" y="11671"/>
                  </a:cubicBezTo>
                  <a:cubicBezTo>
                    <a:pt x="19947" y="11671"/>
                    <a:pt x="19934" y="11671"/>
                    <a:pt x="19915" y="11671"/>
                  </a:cubicBezTo>
                  <a:cubicBezTo>
                    <a:pt x="19887" y="11671"/>
                    <a:pt x="19859" y="11671"/>
                    <a:pt x="19831" y="11671"/>
                  </a:cubicBezTo>
                  <a:lnTo>
                    <a:pt x="19581" y="11616"/>
                  </a:lnTo>
                  <a:cubicBezTo>
                    <a:pt x="19247" y="11653"/>
                    <a:pt x="19009" y="11671"/>
                    <a:pt x="18870" y="11671"/>
                  </a:cubicBezTo>
                  <a:lnTo>
                    <a:pt x="18077" y="11505"/>
                  </a:lnTo>
                  <a:cubicBezTo>
                    <a:pt x="17984" y="11505"/>
                    <a:pt x="17942" y="11754"/>
                    <a:pt x="17951" y="12252"/>
                  </a:cubicBezTo>
                  <a:cubicBezTo>
                    <a:pt x="17942" y="12768"/>
                    <a:pt x="17873" y="13026"/>
                    <a:pt x="17743" y="13026"/>
                  </a:cubicBezTo>
                  <a:cubicBezTo>
                    <a:pt x="17659" y="13008"/>
                    <a:pt x="17459" y="12750"/>
                    <a:pt x="17144" y="12252"/>
                  </a:cubicBezTo>
                  <a:cubicBezTo>
                    <a:pt x="16800" y="11735"/>
                    <a:pt x="16405" y="11459"/>
                    <a:pt x="15960" y="11422"/>
                  </a:cubicBezTo>
                  <a:cubicBezTo>
                    <a:pt x="15644" y="11478"/>
                    <a:pt x="15445" y="11514"/>
                    <a:pt x="15361" y="11533"/>
                  </a:cubicBezTo>
                  <a:cubicBezTo>
                    <a:pt x="15305" y="11533"/>
                    <a:pt x="15249" y="11690"/>
                    <a:pt x="15194" y="12003"/>
                  </a:cubicBezTo>
                  <a:cubicBezTo>
                    <a:pt x="15120" y="12372"/>
                    <a:pt x="15060" y="12584"/>
                    <a:pt x="15013" y="12639"/>
                  </a:cubicBezTo>
                  <a:cubicBezTo>
                    <a:pt x="14855" y="12731"/>
                    <a:pt x="14642" y="12814"/>
                    <a:pt x="14372" y="12888"/>
                  </a:cubicBezTo>
                  <a:cubicBezTo>
                    <a:pt x="14298" y="12906"/>
                    <a:pt x="14219" y="12925"/>
                    <a:pt x="14135" y="12943"/>
                  </a:cubicBezTo>
                  <a:cubicBezTo>
                    <a:pt x="13755" y="12980"/>
                    <a:pt x="13523" y="13017"/>
                    <a:pt x="13439" y="13054"/>
                  </a:cubicBezTo>
                  <a:cubicBezTo>
                    <a:pt x="13393" y="13072"/>
                    <a:pt x="13346" y="13100"/>
                    <a:pt x="13300" y="13137"/>
                  </a:cubicBezTo>
                  <a:cubicBezTo>
                    <a:pt x="13068" y="13303"/>
                    <a:pt x="12892" y="13782"/>
                    <a:pt x="12771" y="14575"/>
                  </a:cubicBezTo>
                  <a:cubicBezTo>
                    <a:pt x="12715" y="14870"/>
                    <a:pt x="12590" y="15257"/>
                    <a:pt x="12394" y="15737"/>
                  </a:cubicBezTo>
                  <a:cubicBezTo>
                    <a:pt x="12181" y="16198"/>
                    <a:pt x="12033" y="16428"/>
                    <a:pt x="11949" y="16428"/>
                  </a:cubicBezTo>
                  <a:cubicBezTo>
                    <a:pt x="11903" y="16428"/>
                    <a:pt x="11861" y="16391"/>
                    <a:pt x="11824" y="16317"/>
                  </a:cubicBezTo>
                  <a:cubicBezTo>
                    <a:pt x="11796" y="16262"/>
                    <a:pt x="11782" y="16180"/>
                    <a:pt x="11782" y="16069"/>
                  </a:cubicBezTo>
                  <a:cubicBezTo>
                    <a:pt x="11782" y="15958"/>
                    <a:pt x="11852" y="15746"/>
                    <a:pt x="11991" y="15433"/>
                  </a:cubicBezTo>
                  <a:cubicBezTo>
                    <a:pt x="12139" y="15119"/>
                    <a:pt x="12214" y="14879"/>
                    <a:pt x="12214" y="14714"/>
                  </a:cubicBezTo>
                  <a:cubicBezTo>
                    <a:pt x="12223" y="14566"/>
                    <a:pt x="12209" y="14428"/>
                    <a:pt x="12172" y="14298"/>
                  </a:cubicBezTo>
                  <a:cubicBezTo>
                    <a:pt x="12116" y="14188"/>
                    <a:pt x="12056" y="14132"/>
                    <a:pt x="11991" y="14132"/>
                  </a:cubicBezTo>
                  <a:cubicBezTo>
                    <a:pt x="11768" y="14114"/>
                    <a:pt x="11592" y="14391"/>
                    <a:pt x="11462" y="14962"/>
                  </a:cubicBezTo>
                  <a:cubicBezTo>
                    <a:pt x="11341" y="15497"/>
                    <a:pt x="11211" y="15755"/>
                    <a:pt x="11071" y="15737"/>
                  </a:cubicBezTo>
                  <a:cubicBezTo>
                    <a:pt x="10942" y="15737"/>
                    <a:pt x="10867" y="15617"/>
                    <a:pt x="10849" y="15377"/>
                  </a:cubicBezTo>
                  <a:cubicBezTo>
                    <a:pt x="10830" y="15156"/>
                    <a:pt x="10774" y="15045"/>
                    <a:pt x="10682" y="15045"/>
                  </a:cubicBezTo>
                  <a:cubicBezTo>
                    <a:pt x="10589" y="15045"/>
                    <a:pt x="10543" y="15110"/>
                    <a:pt x="10543" y="15239"/>
                  </a:cubicBezTo>
                  <a:cubicBezTo>
                    <a:pt x="10543" y="15313"/>
                    <a:pt x="10556" y="15488"/>
                    <a:pt x="10584" y="15764"/>
                  </a:cubicBezTo>
                  <a:cubicBezTo>
                    <a:pt x="10603" y="16041"/>
                    <a:pt x="10612" y="16234"/>
                    <a:pt x="10612" y="16345"/>
                  </a:cubicBezTo>
                  <a:cubicBezTo>
                    <a:pt x="10575" y="16382"/>
                    <a:pt x="10505" y="16502"/>
                    <a:pt x="10403" y="16705"/>
                  </a:cubicBezTo>
                  <a:cubicBezTo>
                    <a:pt x="10338" y="16815"/>
                    <a:pt x="10283" y="16935"/>
                    <a:pt x="10236" y="17064"/>
                  </a:cubicBezTo>
                  <a:cubicBezTo>
                    <a:pt x="10208" y="17120"/>
                    <a:pt x="10180" y="17184"/>
                    <a:pt x="10153" y="17258"/>
                  </a:cubicBezTo>
                  <a:cubicBezTo>
                    <a:pt x="10069" y="17479"/>
                    <a:pt x="10027" y="17627"/>
                    <a:pt x="10027" y="17701"/>
                  </a:cubicBezTo>
                  <a:cubicBezTo>
                    <a:pt x="10027" y="17774"/>
                    <a:pt x="10027" y="17968"/>
                    <a:pt x="10027" y="18281"/>
                  </a:cubicBezTo>
                  <a:cubicBezTo>
                    <a:pt x="10018" y="18705"/>
                    <a:pt x="9944" y="19175"/>
                    <a:pt x="9804" y="19692"/>
                  </a:cubicBezTo>
                  <a:cubicBezTo>
                    <a:pt x="9767" y="19839"/>
                    <a:pt x="9721" y="19987"/>
                    <a:pt x="9665" y="20134"/>
                  </a:cubicBezTo>
                  <a:cubicBezTo>
                    <a:pt x="9591" y="20319"/>
                    <a:pt x="9526" y="20485"/>
                    <a:pt x="9470" y="20632"/>
                  </a:cubicBezTo>
                  <a:cubicBezTo>
                    <a:pt x="9321" y="21019"/>
                    <a:pt x="9229" y="21269"/>
                    <a:pt x="9191" y="21379"/>
                  </a:cubicBezTo>
                  <a:cubicBezTo>
                    <a:pt x="9182" y="21398"/>
                    <a:pt x="9182" y="21471"/>
                    <a:pt x="9191" y="21600"/>
                  </a:cubicBezTo>
                  <a:lnTo>
                    <a:pt x="8872" y="21517"/>
                  </a:lnTo>
                  <a:cubicBezTo>
                    <a:pt x="8862" y="20208"/>
                    <a:pt x="8774" y="19553"/>
                    <a:pt x="8607" y="19553"/>
                  </a:cubicBezTo>
                  <a:lnTo>
                    <a:pt x="8245" y="19553"/>
                  </a:lnTo>
                  <a:lnTo>
                    <a:pt x="8217" y="19194"/>
                  </a:lnTo>
                  <a:cubicBezTo>
                    <a:pt x="8226" y="18954"/>
                    <a:pt x="8273" y="18788"/>
                    <a:pt x="8356" y="18696"/>
                  </a:cubicBezTo>
                  <a:cubicBezTo>
                    <a:pt x="8440" y="18622"/>
                    <a:pt x="8481" y="18466"/>
                    <a:pt x="8481" y="18226"/>
                  </a:cubicBezTo>
                  <a:cubicBezTo>
                    <a:pt x="8481" y="17322"/>
                    <a:pt x="8416" y="16677"/>
                    <a:pt x="8286" y="16290"/>
                  </a:cubicBezTo>
                  <a:cubicBezTo>
                    <a:pt x="8128" y="15829"/>
                    <a:pt x="7846" y="15690"/>
                    <a:pt x="7437" y="15875"/>
                  </a:cubicBezTo>
                  <a:cubicBezTo>
                    <a:pt x="7428" y="15285"/>
                    <a:pt x="7414" y="14879"/>
                    <a:pt x="7395" y="14658"/>
                  </a:cubicBezTo>
                  <a:cubicBezTo>
                    <a:pt x="7377" y="14326"/>
                    <a:pt x="7293" y="14151"/>
                    <a:pt x="7144" y="14132"/>
                  </a:cubicBezTo>
                  <a:cubicBezTo>
                    <a:pt x="7061" y="14132"/>
                    <a:pt x="6963" y="14151"/>
                    <a:pt x="6852" y="14188"/>
                  </a:cubicBezTo>
                  <a:cubicBezTo>
                    <a:pt x="6731" y="14206"/>
                    <a:pt x="6634" y="14216"/>
                    <a:pt x="6560" y="14216"/>
                  </a:cubicBezTo>
                  <a:cubicBezTo>
                    <a:pt x="6457" y="14216"/>
                    <a:pt x="6378" y="14151"/>
                    <a:pt x="6323" y="14022"/>
                  </a:cubicBezTo>
                  <a:cubicBezTo>
                    <a:pt x="6258" y="13875"/>
                    <a:pt x="6207" y="13801"/>
                    <a:pt x="6169" y="13801"/>
                  </a:cubicBezTo>
                  <a:cubicBezTo>
                    <a:pt x="6114" y="13801"/>
                    <a:pt x="5998" y="13838"/>
                    <a:pt x="5821" y="13911"/>
                  </a:cubicBezTo>
                  <a:cubicBezTo>
                    <a:pt x="5654" y="14004"/>
                    <a:pt x="5511" y="14049"/>
                    <a:pt x="5390" y="14049"/>
                  </a:cubicBezTo>
                  <a:cubicBezTo>
                    <a:pt x="5251" y="14049"/>
                    <a:pt x="5037" y="13884"/>
                    <a:pt x="4749" y="13552"/>
                  </a:cubicBezTo>
                  <a:cubicBezTo>
                    <a:pt x="4397" y="13146"/>
                    <a:pt x="4155" y="12897"/>
                    <a:pt x="4025" y="12805"/>
                  </a:cubicBezTo>
                  <a:cubicBezTo>
                    <a:pt x="3663" y="12547"/>
                    <a:pt x="3324" y="12372"/>
                    <a:pt x="3008" y="12280"/>
                  </a:cubicBezTo>
                  <a:cubicBezTo>
                    <a:pt x="2990" y="12280"/>
                    <a:pt x="2716" y="12206"/>
                    <a:pt x="2187" y="12058"/>
                  </a:cubicBezTo>
                  <a:cubicBezTo>
                    <a:pt x="1955" y="11984"/>
                    <a:pt x="1685" y="11947"/>
                    <a:pt x="1379" y="11947"/>
                  </a:cubicBezTo>
                  <a:cubicBezTo>
                    <a:pt x="1268" y="11947"/>
                    <a:pt x="1189" y="11855"/>
                    <a:pt x="1142" y="11671"/>
                  </a:cubicBezTo>
                  <a:cubicBezTo>
                    <a:pt x="1068" y="11413"/>
                    <a:pt x="1007" y="11219"/>
                    <a:pt x="961" y="11090"/>
                  </a:cubicBezTo>
                  <a:cubicBezTo>
                    <a:pt x="757" y="10408"/>
                    <a:pt x="622" y="10012"/>
                    <a:pt x="557" y="9901"/>
                  </a:cubicBezTo>
                  <a:cubicBezTo>
                    <a:pt x="437" y="9680"/>
                    <a:pt x="251" y="9514"/>
                    <a:pt x="0" y="9403"/>
                  </a:cubicBezTo>
                  <a:cubicBezTo>
                    <a:pt x="10" y="9403"/>
                    <a:pt x="19" y="9403"/>
                    <a:pt x="28" y="9403"/>
                  </a:cubicBezTo>
                  <a:cubicBezTo>
                    <a:pt x="223" y="9403"/>
                    <a:pt x="492" y="9108"/>
                    <a:pt x="836" y="8518"/>
                  </a:cubicBezTo>
                  <a:cubicBezTo>
                    <a:pt x="1383" y="7688"/>
                    <a:pt x="1718" y="7190"/>
                    <a:pt x="1839" y="7025"/>
                  </a:cubicBezTo>
                  <a:lnTo>
                    <a:pt x="1852" y="6997"/>
                  </a:lnTo>
                  <a:cubicBezTo>
                    <a:pt x="1862" y="6997"/>
                    <a:pt x="1982" y="6951"/>
                    <a:pt x="2215" y="6858"/>
                  </a:cubicBezTo>
                  <a:cubicBezTo>
                    <a:pt x="2382" y="6766"/>
                    <a:pt x="2497" y="6692"/>
                    <a:pt x="2563" y="6637"/>
                  </a:cubicBezTo>
                  <a:lnTo>
                    <a:pt x="2576" y="6637"/>
                  </a:lnTo>
                  <a:lnTo>
                    <a:pt x="3788" y="5282"/>
                  </a:lnTo>
                  <a:cubicBezTo>
                    <a:pt x="3955" y="5098"/>
                    <a:pt x="4234" y="4683"/>
                    <a:pt x="4624" y="4038"/>
                  </a:cubicBezTo>
                  <a:cubicBezTo>
                    <a:pt x="4698" y="3908"/>
                    <a:pt x="4795" y="3696"/>
                    <a:pt x="4916" y="3401"/>
                  </a:cubicBezTo>
                  <a:cubicBezTo>
                    <a:pt x="5018" y="3125"/>
                    <a:pt x="5079" y="2986"/>
                    <a:pt x="5097" y="2986"/>
                  </a:cubicBezTo>
                  <a:lnTo>
                    <a:pt x="5264" y="3098"/>
                  </a:lnTo>
                  <a:cubicBezTo>
                    <a:pt x="5320" y="3116"/>
                    <a:pt x="5394" y="2986"/>
                    <a:pt x="5487" y="2710"/>
                  </a:cubicBezTo>
                  <a:cubicBezTo>
                    <a:pt x="5534" y="2581"/>
                    <a:pt x="5590" y="2397"/>
                    <a:pt x="5654" y="2157"/>
                  </a:cubicBezTo>
                  <a:cubicBezTo>
                    <a:pt x="5720" y="1918"/>
                    <a:pt x="5896" y="1512"/>
                    <a:pt x="6184" y="941"/>
                  </a:cubicBezTo>
                  <a:cubicBezTo>
                    <a:pt x="6221" y="848"/>
                    <a:pt x="6281" y="756"/>
                    <a:pt x="6365" y="664"/>
                  </a:cubicBezTo>
                  <a:cubicBezTo>
                    <a:pt x="6374" y="645"/>
                    <a:pt x="6388" y="627"/>
                    <a:pt x="6406" y="608"/>
                  </a:cubicBezTo>
                  <a:cubicBezTo>
                    <a:pt x="6425" y="590"/>
                    <a:pt x="6448" y="562"/>
                    <a:pt x="6476" y="525"/>
                  </a:cubicBezTo>
                  <a:cubicBezTo>
                    <a:pt x="6569" y="434"/>
                    <a:pt x="6680" y="323"/>
                    <a:pt x="6810" y="194"/>
                  </a:cubicBezTo>
                  <a:cubicBezTo>
                    <a:pt x="6884" y="120"/>
                    <a:pt x="7019" y="55"/>
                    <a:pt x="7214" y="0"/>
                  </a:cubicBezTo>
                  <a:cubicBezTo>
                    <a:pt x="7335" y="0"/>
                    <a:pt x="7414" y="0"/>
                    <a:pt x="7451" y="0"/>
                  </a:cubicBezTo>
                  <a:cubicBezTo>
                    <a:pt x="7600" y="55"/>
                    <a:pt x="7734" y="120"/>
                    <a:pt x="7855" y="194"/>
                  </a:cubicBezTo>
                  <a:cubicBezTo>
                    <a:pt x="8031" y="286"/>
                    <a:pt x="8119" y="424"/>
                    <a:pt x="8119" y="608"/>
                  </a:cubicBezTo>
                  <a:cubicBezTo>
                    <a:pt x="8119" y="774"/>
                    <a:pt x="8013" y="903"/>
                    <a:pt x="7799" y="996"/>
                  </a:cubicBezTo>
                  <a:cubicBezTo>
                    <a:pt x="7586" y="1070"/>
                    <a:pt x="7470" y="1116"/>
                    <a:pt x="7451" y="1134"/>
                  </a:cubicBezTo>
                  <a:cubicBezTo>
                    <a:pt x="7432" y="1134"/>
                    <a:pt x="7362" y="1290"/>
                    <a:pt x="7242" y="1604"/>
                  </a:cubicBezTo>
                  <a:cubicBezTo>
                    <a:pt x="7084" y="1936"/>
                    <a:pt x="6973" y="2166"/>
                    <a:pt x="6908" y="2295"/>
                  </a:cubicBezTo>
                  <a:cubicBezTo>
                    <a:pt x="6861" y="2387"/>
                    <a:pt x="6713" y="2793"/>
                    <a:pt x="6462" y="3512"/>
                  </a:cubicBezTo>
                  <a:cubicBezTo>
                    <a:pt x="6453" y="3548"/>
                    <a:pt x="6444" y="3576"/>
                    <a:pt x="6434" y="3595"/>
                  </a:cubicBezTo>
                  <a:cubicBezTo>
                    <a:pt x="6416" y="3668"/>
                    <a:pt x="6397" y="3733"/>
                    <a:pt x="6378" y="3788"/>
                  </a:cubicBezTo>
                  <a:cubicBezTo>
                    <a:pt x="6193" y="4305"/>
                    <a:pt x="6086" y="4563"/>
                    <a:pt x="6058" y="4563"/>
                  </a:cubicBezTo>
                  <a:cubicBezTo>
                    <a:pt x="5965" y="4563"/>
                    <a:pt x="5924" y="4425"/>
                    <a:pt x="5933" y="4148"/>
                  </a:cubicBezTo>
                  <a:cubicBezTo>
                    <a:pt x="5951" y="3983"/>
                    <a:pt x="5933" y="3863"/>
                    <a:pt x="5877" y="3788"/>
                  </a:cubicBezTo>
                  <a:cubicBezTo>
                    <a:pt x="5831" y="3733"/>
                    <a:pt x="5770" y="3706"/>
                    <a:pt x="5696" y="3706"/>
                  </a:cubicBezTo>
                  <a:cubicBezTo>
                    <a:pt x="5640" y="3706"/>
                    <a:pt x="5608" y="3715"/>
                    <a:pt x="5599" y="3733"/>
                  </a:cubicBezTo>
                  <a:cubicBezTo>
                    <a:pt x="5590" y="3752"/>
                    <a:pt x="5585" y="3770"/>
                    <a:pt x="5585" y="3788"/>
                  </a:cubicBezTo>
                  <a:cubicBezTo>
                    <a:pt x="5575" y="3825"/>
                    <a:pt x="5571" y="3863"/>
                    <a:pt x="5571" y="3900"/>
                  </a:cubicBezTo>
                  <a:cubicBezTo>
                    <a:pt x="5571" y="3937"/>
                    <a:pt x="5631" y="4057"/>
                    <a:pt x="5752" y="4259"/>
                  </a:cubicBezTo>
                  <a:cubicBezTo>
                    <a:pt x="5891" y="4572"/>
                    <a:pt x="5956" y="4913"/>
                    <a:pt x="5947" y="5282"/>
                  </a:cubicBezTo>
                  <a:cubicBezTo>
                    <a:pt x="5947" y="5319"/>
                    <a:pt x="5938" y="5420"/>
                    <a:pt x="5919" y="5586"/>
                  </a:cubicBezTo>
                  <a:cubicBezTo>
                    <a:pt x="5900" y="5752"/>
                    <a:pt x="5891" y="5890"/>
                    <a:pt x="5891" y="6001"/>
                  </a:cubicBezTo>
                  <a:cubicBezTo>
                    <a:pt x="5891" y="6296"/>
                    <a:pt x="5919" y="6443"/>
                    <a:pt x="5975" y="6443"/>
                  </a:cubicBezTo>
                  <a:cubicBezTo>
                    <a:pt x="5993" y="6443"/>
                    <a:pt x="6058" y="6305"/>
                    <a:pt x="6169" y="6029"/>
                  </a:cubicBezTo>
                  <a:cubicBezTo>
                    <a:pt x="6281" y="5752"/>
                    <a:pt x="6406" y="5577"/>
                    <a:pt x="6545" y="5504"/>
                  </a:cubicBezTo>
                  <a:cubicBezTo>
                    <a:pt x="7056" y="5282"/>
                    <a:pt x="7400" y="5180"/>
                    <a:pt x="7576" y="5199"/>
                  </a:cubicBezTo>
                  <a:cubicBezTo>
                    <a:pt x="7623" y="5199"/>
                    <a:pt x="7785" y="5328"/>
                    <a:pt x="8064" y="5586"/>
                  </a:cubicBezTo>
                  <a:cubicBezTo>
                    <a:pt x="8342" y="5789"/>
                    <a:pt x="8505" y="5964"/>
                    <a:pt x="8551" y="6112"/>
                  </a:cubicBezTo>
                  <a:cubicBezTo>
                    <a:pt x="8588" y="6241"/>
                    <a:pt x="8672" y="6517"/>
                    <a:pt x="8802" y="6942"/>
                  </a:cubicBezTo>
                  <a:cubicBezTo>
                    <a:pt x="8932" y="7365"/>
                    <a:pt x="9085" y="7716"/>
                    <a:pt x="9261" y="7992"/>
                  </a:cubicBezTo>
                  <a:cubicBezTo>
                    <a:pt x="9363" y="8140"/>
                    <a:pt x="9419" y="8334"/>
                    <a:pt x="9429" y="8574"/>
                  </a:cubicBezTo>
                  <a:cubicBezTo>
                    <a:pt x="9429" y="8701"/>
                    <a:pt x="9547" y="8775"/>
                    <a:pt x="9783" y="8794"/>
                  </a:cubicBezTo>
                  <a:cubicBezTo>
                    <a:pt x="9770" y="8791"/>
                    <a:pt x="9763" y="8782"/>
                    <a:pt x="9763" y="8767"/>
                  </a:cubicBezTo>
                  <a:lnTo>
                    <a:pt x="9986" y="8822"/>
                  </a:lnTo>
                  <a:cubicBezTo>
                    <a:pt x="10143" y="8859"/>
                    <a:pt x="10264" y="8831"/>
                    <a:pt x="10347" y="8740"/>
                  </a:cubicBezTo>
                  <a:cubicBezTo>
                    <a:pt x="10357" y="8703"/>
                    <a:pt x="10394" y="8610"/>
                    <a:pt x="10459" y="8463"/>
                  </a:cubicBezTo>
                  <a:lnTo>
                    <a:pt x="10473" y="8435"/>
                  </a:lnTo>
                  <a:cubicBezTo>
                    <a:pt x="10529" y="8324"/>
                    <a:pt x="10575" y="8269"/>
                    <a:pt x="10612" y="8269"/>
                  </a:cubicBezTo>
                  <a:cubicBezTo>
                    <a:pt x="10733" y="8269"/>
                    <a:pt x="10807" y="8380"/>
                    <a:pt x="10835" y="8601"/>
                  </a:cubicBezTo>
                  <a:cubicBezTo>
                    <a:pt x="10863" y="8803"/>
                    <a:pt x="10983" y="8914"/>
                    <a:pt x="11197" y="8933"/>
                  </a:cubicBezTo>
                  <a:cubicBezTo>
                    <a:pt x="11234" y="8933"/>
                    <a:pt x="11267" y="8933"/>
                    <a:pt x="11294" y="8933"/>
                  </a:cubicBezTo>
                  <a:cubicBezTo>
                    <a:pt x="11564" y="8914"/>
                    <a:pt x="11740" y="8868"/>
                    <a:pt x="11824" y="8794"/>
                  </a:cubicBezTo>
                  <a:cubicBezTo>
                    <a:pt x="11889" y="8721"/>
                    <a:pt x="12028" y="8481"/>
                    <a:pt x="12242" y="8075"/>
                  </a:cubicBezTo>
                  <a:cubicBezTo>
                    <a:pt x="12557" y="7578"/>
                    <a:pt x="12947" y="7062"/>
                    <a:pt x="13411" y="6526"/>
                  </a:cubicBezTo>
                  <a:cubicBezTo>
                    <a:pt x="13467" y="6471"/>
                    <a:pt x="13560" y="6416"/>
                    <a:pt x="13690" y="6361"/>
                  </a:cubicBezTo>
                  <a:cubicBezTo>
                    <a:pt x="13847" y="6343"/>
                    <a:pt x="13996" y="6333"/>
                    <a:pt x="14135" y="6333"/>
                  </a:cubicBezTo>
                  <a:lnTo>
                    <a:pt x="14456" y="6361"/>
                  </a:lnTo>
                  <a:cubicBezTo>
                    <a:pt x="14539" y="6361"/>
                    <a:pt x="14618" y="6370"/>
                    <a:pt x="14692" y="6389"/>
                  </a:cubicBezTo>
                  <a:cubicBezTo>
                    <a:pt x="14915" y="6389"/>
                    <a:pt x="15055" y="6370"/>
                    <a:pt x="15110" y="6333"/>
                  </a:cubicBezTo>
                  <a:cubicBezTo>
                    <a:pt x="15185" y="6278"/>
                    <a:pt x="15366" y="6047"/>
                    <a:pt x="15654" y="5642"/>
                  </a:cubicBezTo>
                  <a:cubicBezTo>
                    <a:pt x="15709" y="5605"/>
                    <a:pt x="15886" y="5411"/>
                    <a:pt x="16183" y="5060"/>
                  </a:cubicBezTo>
                  <a:cubicBezTo>
                    <a:pt x="16304" y="4877"/>
                    <a:pt x="16433" y="4784"/>
                    <a:pt x="16572" y="4784"/>
                  </a:cubicBezTo>
                  <a:cubicBezTo>
                    <a:pt x="16638" y="4803"/>
                    <a:pt x="16670" y="4831"/>
                    <a:pt x="16670" y="4867"/>
                  </a:cubicBezTo>
                  <a:cubicBezTo>
                    <a:pt x="16698" y="4886"/>
                    <a:pt x="16712" y="4941"/>
                    <a:pt x="16712" y="5033"/>
                  </a:cubicBezTo>
                  <a:lnTo>
                    <a:pt x="16642" y="6361"/>
                  </a:lnTo>
                  <a:cubicBezTo>
                    <a:pt x="16642" y="6416"/>
                    <a:pt x="16647" y="6572"/>
                    <a:pt x="16656" y="6831"/>
                  </a:cubicBezTo>
                  <a:cubicBezTo>
                    <a:pt x="16684" y="7108"/>
                    <a:pt x="16712" y="7329"/>
                    <a:pt x="16740" y="7495"/>
                  </a:cubicBezTo>
                  <a:lnTo>
                    <a:pt x="18021" y="7661"/>
                  </a:lnTo>
                  <a:cubicBezTo>
                    <a:pt x="18133" y="7642"/>
                    <a:pt x="18295" y="7513"/>
                    <a:pt x="18508" y="7273"/>
                  </a:cubicBezTo>
                  <a:cubicBezTo>
                    <a:pt x="18536" y="7236"/>
                    <a:pt x="18560" y="7209"/>
                    <a:pt x="18578" y="7190"/>
                  </a:cubicBezTo>
                  <a:cubicBezTo>
                    <a:pt x="18754" y="6988"/>
                    <a:pt x="18889" y="6886"/>
                    <a:pt x="18982" y="6886"/>
                  </a:cubicBezTo>
                  <a:cubicBezTo>
                    <a:pt x="19047" y="6886"/>
                    <a:pt x="19103" y="6969"/>
                    <a:pt x="19149" y="7135"/>
                  </a:cubicBezTo>
                  <a:cubicBezTo>
                    <a:pt x="19159" y="7154"/>
                    <a:pt x="19168" y="7182"/>
                    <a:pt x="19177" y="7218"/>
                  </a:cubicBezTo>
                  <a:close/>
                  <a:moveTo>
                    <a:pt x="19177" y="721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7" name="AutoShape 54"/>
            <p:cNvSpPr>
              <a:spLocks/>
            </p:cNvSpPr>
            <p:nvPr/>
          </p:nvSpPr>
          <p:spPr bwMode="auto">
            <a:xfrm>
              <a:off x="7311430" y="4122867"/>
              <a:ext cx="206244" cy="284351"/>
            </a:xfrm>
            <a:custGeom>
              <a:avLst/>
              <a:gdLst/>
              <a:ahLst/>
              <a:cxnLst/>
              <a:rect l="0" t="0" r="r" b="b"/>
              <a:pathLst>
                <a:path w="21600" h="21595">
                  <a:moveTo>
                    <a:pt x="21600" y="13495"/>
                  </a:moveTo>
                  <a:cubicBezTo>
                    <a:pt x="21557" y="13650"/>
                    <a:pt x="21536" y="13810"/>
                    <a:pt x="21536" y="13975"/>
                  </a:cubicBezTo>
                  <a:cubicBezTo>
                    <a:pt x="21436" y="14698"/>
                    <a:pt x="21407" y="15178"/>
                    <a:pt x="21450" y="15415"/>
                  </a:cubicBezTo>
                  <a:cubicBezTo>
                    <a:pt x="21351" y="15487"/>
                    <a:pt x="21244" y="15565"/>
                    <a:pt x="21130" y="15648"/>
                  </a:cubicBezTo>
                  <a:cubicBezTo>
                    <a:pt x="21130" y="15637"/>
                    <a:pt x="21123" y="15627"/>
                    <a:pt x="21109" y="15617"/>
                  </a:cubicBezTo>
                  <a:cubicBezTo>
                    <a:pt x="21038" y="15493"/>
                    <a:pt x="20981" y="15415"/>
                    <a:pt x="20938" y="15384"/>
                  </a:cubicBezTo>
                  <a:cubicBezTo>
                    <a:pt x="20896" y="15343"/>
                    <a:pt x="20789" y="15286"/>
                    <a:pt x="20618" y="15214"/>
                  </a:cubicBezTo>
                  <a:cubicBezTo>
                    <a:pt x="20447" y="15152"/>
                    <a:pt x="20348" y="15121"/>
                    <a:pt x="20319" y="15121"/>
                  </a:cubicBezTo>
                  <a:cubicBezTo>
                    <a:pt x="20148" y="15111"/>
                    <a:pt x="20042" y="15193"/>
                    <a:pt x="19999" y="15369"/>
                  </a:cubicBezTo>
                  <a:cubicBezTo>
                    <a:pt x="19971" y="15462"/>
                    <a:pt x="19942" y="15586"/>
                    <a:pt x="19913" y="15741"/>
                  </a:cubicBezTo>
                  <a:cubicBezTo>
                    <a:pt x="19885" y="15823"/>
                    <a:pt x="19828" y="15957"/>
                    <a:pt x="19742" y="16143"/>
                  </a:cubicBezTo>
                  <a:cubicBezTo>
                    <a:pt x="19657" y="16257"/>
                    <a:pt x="19615" y="16360"/>
                    <a:pt x="19615" y="16453"/>
                  </a:cubicBezTo>
                  <a:cubicBezTo>
                    <a:pt x="19615" y="16515"/>
                    <a:pt x="19629" y="16608"/>
                    <a:pt x="19657" y="16732"/>
                  </a:cubicBezTo>
                  <a:cubicBezTo>
                    <a:pt x="19430" y="16907"/>
                    <a:pt x="19281" y="17011"/>
                    <a:pt x="19209" y="17041"/>
                  </a:cubicBezTo>
                  <a:cubicBezTo>
                    <a:pt x="19010" y="17186"/>
                    <a:pt x="18868" y="17511"/>
                    <a:pt x="18782" y="18017"/>
                  </a:cubicBezTo>
                  <a:cubicBezTo>
                    <a:pt x="18754" y="18234"/>
                    <a:pt x="18747" y="18425"/>
                    <a:pt x="18761" y="18590"/>
                  </a:cubicBezTo>
                  <a:cubicBezTo>
                    <a:pt x="18690" y="18683"/>
                    <a:pt x="18647" y="18735"/>
                    <a:pt x="18633" y="18745"/>
                  </a:cubicBezTo>
                  <a:lnTo>
                    <a:pt x="18078" y="19117"/>
                  </a:lnTo>
                  <a:cubicBezTo>
                    <a:pt x="17879" y="19385"/>
                    <a:pt x="17737" y="19566"/>
                    <a:pt x="17652" y="19659"/>
                  </a:cubicBezTo>
                  <a:cubicBezTo>
                    <a:pt x="17551" y="19731"/>
                    <a:pt x="17466" y="19793"/>
                    <a:pt x="17395" y="19845"/>
                  </a:cubicBezTo>
                  <a:cubicBezTo>
                    <a:pt x="17281" y="19959"/>
                    <a:pt x="17225" y="20046"/>
                    <a:pt x="17225" y="20108"/>
                  </a:cubicBezTo>
                  <a:cubicBezTo>
                    <a:pt x="17225" y="20211"/>
                    <a:pt x="17281" y="20294"/>
                    <a:pt x="17395" y="20356"/>
                  </a:cubicBezTo>
                  <a:cubicBezTo>
                    <a:pt x="16399" y="20583"/>
                    <a:pt x="14934" y="20779"/>
                    <a:pt x="12999" y="20944"/>
                  </a:cubicBezTo>
                  <a:lnTo>
                    <a:pt x="10395" y="21161"/>
                  </a:lnTo>
                  <a:lnTo>
                    <a:pt x="10373" y="20975"/>
                  </a:lnTo>
                  <a:lnTo>
                    <a:pt x="0" y="21595"/>
                  </a:lnTo>
                  <a:cubicBezTo>
                    <a:pt x="228" y="21440"/>
                    <a:pt x="499" y="21244"/>
                    <a:pt x="811" y="21006"/>
                  </a:cubicBezTo>
                  <a:cubicBezTo>
                    <a:pt x="1082" y="20851"/>
                    <a:pt x="1288" y="20624"/>
                    <a:pt x="1431" y="20325"/>
                  </a:cubicBezTo>
                  <a:cubicBezTo>
                    <a:pt x="1544" y="19995"/>
                    <a:pt x="1630" y="19767"/>
                    <a:pt x="1687" y="19643"/>
                  </a:cubicBezTo>
                  <a:cubicBezTo>
                    <a:pt x="1743" y="19499"/>
                    <a:pt x="1864" y="19282"/>
                    <a:pt x="2049" y="18993"/>
                  </a:cubicBezTo>
                  <a:cubicBezTo>
                    <a:pt x="2192" y="18735"/>
                    <a:pt x="2299" y="18544"/>
                    <a:pt x="2369" y="18420"/>
                  </a:cubicBezTo>
                  <a:cubicBezTo>
                    <a:pt x="2440" y="18162"/>
                    <a:pt x="2484" y="18017"/>
                    <a:pt x="2498" y="17986"/>
                  </a:cubicBezTo>
                  <a:cubicBezTo>
                    <a:pt x="2512" y="17873"/>
                    <a:pt x="2526" y="17702"/>
                    <a:pt x="2540" y="17475"/>
                  </a:cubicBezTo>
                  <a:cubicBezTo>
                    <a:pt x="2555" y="17362"/>
                    <a:pt x="2555" y="17196"/>
                    <a:pt x="2540" y="16980"/>
                  </a:cubicBezTo>
                  <a:cubicBezTo>
                    <a:pt x="2512" y="16773"/>
                    <a:pt x="2484" y="16525"/>
                    <a:pt x="2454" y="16236"/>
                  </a:cubicBezTo>
                  <a:cubicBezTo>
                    <a:pt x="2426" y="15710"/>
                    <a:pt x="2398" y="15312"/>
                    <a:pt x="2369" y="15043"/>
                  </a:cubicBezTo>
                  <a:lnTo>
                    <a:pt x="2369" y="15028"/>
                  </a:lnTo>
                  <a:lnTo>
                    <a:pt x="2348" y="15028"/>
                  </a:lnTo>
                  <a:cubicBezTo>
                    <a:pt x="2348" y="14966"/>
                    <a:pt x="2327" y="14889"/>
                    <a:pt x="2284" y="14796"/>
                  </a:cubicBezTo>
                  <a:cubicBezTo>
                    <a:pt x="2256" y="14641"/>
                    <a:pt x="2227" y="14527"/>
                    <a:pt x="2199" y="14455"/>
                  </a:cubicBezTo>
                  <a:cubicBezTo>
                    <a:pt x="2142" y="14269"/>
                    <a:pt x="2085" y="14119"/>
                    <a:pt x="2028" y="14006"/>
                  </a:cubicBezTo>
                  <a:cubicBezTo>
                    <a:pt x="1943" y="13861"/>
                    <a:pt x="1786" y="13686"/>
                    <a:pt x="1558" y="13479"/>
                  </a:cubicBezTo>
                  <a:cubicBezTo>
                    <a:pt x="1146" y="13056"/>
                    <a:pt x="861" y="12710"/>
                    <a:pt x="704" y="12442"/>
                  </a:cubicBezTo>
                  <a:cubicBezTo>
                    <a:pt x="577" y="12245"/>
                    <a:pt x="513" y="12091"/>
                    <a:pt x="513" y="11977"/>
                  </a:cubicBezTo>
                  <a:cubicBezTo>
                    <a:pt x="513" y="11698"/>
                    <a:pt x="527" y="11513"/>
                    <a:pt x="555" y="11419"/>
                  </a:cubicBezTo>
                  <a:lnTo>
                    <a:pt x="555" y="11388"/>
                  </a:lnTo>
                  <a:cubicBezTo>
                    <a:pt x="584" y="11358"/>
                    <a:pt x="626" y="11321"/>
                    <a:pt x="684" y="11280"/>
                  </a:cubicBezTo>
                  <a:cubicBezTo>
                    <a:pt x="712" y="11249"/>
                    <a:pt x="755" y="11218"/>
                    <a:pt x="811" y="11187"/>
                  </a:cubicBezTo>
                  <a:cubicBezTo>
                    <a:pt x="883" y="11135"/>
                    <a:pt x="918" y="11027"/>
                    <a:pt x="918" y="10862"/>
                  </a:cubicBezTo>
                  <a:cubicBezTo>
                    <a:pt x="918" y="10604"/>
                    <a:pt x="811" y="10356"/>
                    <a:pt x="598" y="10119"/>
                  </a:cubicBezTo>
                  <a:cubicBezTo>
                    <a:pt x="470" y="9974"/>
                    <a:pt x="384" y="9850"/>
                    <a:pt x="342" y="9747"/>
                  </a:cubicBezTo>
                  <a:cubicBezTo>
                    <a:pt x="328" y="9685"/>
                    <a:pt x="320" y="9633"/>
                    <a:pt x="320" y="9592"/>
                  </a:cubicBezTo>
                  <a:cubicBezTo>
                    <a:pt x="335" y="9427"/>
                    <a:pt x="505" y="9184"/>
                    <a:pt x="833" y="8864"/>
                  </a:cubicBezTo>
                  <a:cubicBezTo>
                    <a:pt x="1174" y="8586"/>
                    <a:pt x="1359" y="8379"/>
                    <a:pt x="1387" y="8245"/>
                  </a:cubicBezTo>
                  <a:cubicBezTo>
                    <a:pt x="1416" y="8162"/>
                    <a:pt x="1437" y="8064"/>
                    <a:pt x="1452" y="7951"/>
                  </a:cubicBezTo>
                  <a:cubicBezTo>
                    <a:pt x="1466" y="7826"/>
                    <a:pt x="1473" y="7677"/>
                    <a:pt x="1473" y="7501"/>
                  </a:cubicBezTo>
                  <a:lnTo>
                    <a:pt x="1494" y="7052"/>
                  </a:lnTo>
                  <a:cubicBezTo>
                    <a:pt x="1509" y="6805"/>
                    <a:pt x="1509" y="6660"/>
                    <a:pt x="1494" y="6618"/>
                  </a:cubicBezTo>
                  <a:cubicBezTo>
                    <a:pt x="1423" y="6618"/>
                    <a:pt x="1345" y="6593"/>
                    <a:pt x="1260" y="6541"/>
                  </a:cubicBezTo>
                  <a:cubicBezTo>
                    <a:pt x="1189" y="6510"/>
                    <a:pt x="1153" y="6474"/>
                    <a:pt x="1153" y="6433"/>
                  </a:cubicBezTo>
                  <a:cubicBezTo>
                    <a:pt x="1167" y="6216"/>
                    <a:pt x="1331" y="6035"/>
                    <a:pt x="1644" y="5891"/>
                  </a:cubicBezTo>
                  <a:cubicBezTo>
                    <a:pt x="1985" y="5694"/>
                    <a:pt x="2113" y="5374"/>
                    <a:pt x="2028" y="4930"/>
                  </a:cubicBezTo>
                  <a:cubicBezTo>
                    <a:pt x="2142" y="4910"/>
                    <a:pt x="2305" y="4884"/>
                    <a:pt x="2519" y="4853"/>
                  </a:cubicBezTo>
                  <a:cubicBezTo>
                    <a:pt x="2590" y="4842"/>
                    <a:pt x="2661" y="4832"/>
                    <a:pt x="2732" y="4822"/>
                  </a:cubicBezTo>
                  <a:cubicBezTo>
                    <a:pt x="3003" y="4760"/>
                    <a:pt x="3231" y="4636"/>
                    <a:pt x="3415" y="4450"/>
                  </a:cubicBezTo>
                  <a:lnTo>
                    <a:pt x="3437" y="4404"/>
                  </a:lnTo>
                  <a:cubicBezTo>
                    <a:pt x="3451" y="4393"/>
                    <a:pt x="3458" y="4378"/>
                    <a:pt x="3458" y="4357"/>
                  </a:cubicBezTo>
                  <a:cubicBezTo>
                    <a:pt x="3529" y="4244"/>
                    <a:pt x="3658" y="4027"/>
                    <a:pt x="3842" y="3707"/>
                  </a:cubicBezTo>
                  <a:cubicBezTo>
                    <a:pt x="3999" y="3356"/>
                    <a:pt x="4162" y="3180"/>
                    <a:pt x="4333" y="3180"/>
                  </a:cubicBezTo>
                  <a:cubicBezTo>
                    <a:pt x="4419" y="3170"/>
                    <a:pt x="4461" y="3185"/>
                    <a:pt x="4461" y="3227"/>
                  </a:cubicBezTo>
                  <a:cubicBezTo>
                    <a:pt x="4461" y="3289"/>
                    <a:pt x="4419" y="3428"/>
                    <a:pt x="4333" y="3645"/>
                  </a:cubicBezTo>
                  <a:cubicBezTo>
                    <a:pt x="4219" y="3852"/>
                    <a:pt x="4162" y="4042"/>
                    <a:pt x="4162" y="4218"/>
                  </a:cubicBezTo>
                  <a:cubicBezTo>
                    <a:pt x="4162" y="4280"/>
                    <a:pt x="4162" y="4342"/>
                    <a:pt x="4162" y="4404"/>
                  </a:cubicBezTo>
                  <a:cubicBezTo>
                    <a:pt x="4148" y="4517"/>
                    <a:pt x="4148" y="4641"/>
                    <a:pt x="4162" y="4776"/>
                  </a:cubicBezTo>
                  <a:cubicBezTo>
                    <a:pt x="4219" y="5034"/>
                    <a:pt x="4290" y="5163"/>
                    <a:pt x="4375" y="5163"/>
                  </a:cubicBezTo>
                  <a:cubicBezTo>
                    <a:pt x="4475" y="5152"/>
                    <a:pt x="4518" y="5028"/>
                    <a:pt x="4504" y="4791"/>
                  </a:cubicBezTo>
                  <a:cubicBezTo>
                    <a:pt x="4518" y="4554"/>
                    <a:pt x="4560" y="4435"/>
                    <a:pt x="4632" y="4435"/>
                  </a:cubicBezTo>
                  <a:cubicBezTo>
                    <a:pt x="4731" y="4445"/>
                    <a:pt x="4802" y="4548"/>
                    <a:pt x="4846" y="4745"/>
                  </a:cubicBezTo>
                  <a:cubicBezTo>
                    <a:pt x="4860" y="4858"/>
                    <a:pt x="4860" y="4987"/>
                    <a:pt x="4846" y="5132"/>
                  </a:cubicBezTo>
                  <a:lnTo>
                    <a:pt x="4866" y="5132"/>
                  </a:lnTo>
                  <a:cubicBezTo>
                    <a:pt x="4981" y="5070"/>
                    <a:pt x="5080" y="4972"/>
                    <a:pt x="5166" y="4837"/>
                  </a:cubicBezTo>
                  <a:cubicBezTo>
                    <a:pt x="5251" y="4703"/>
                    <a:pt x="5301" y="4590"/>
                    <a:pt x="5315" y="4497"/>
                  </a:cubicBezTo>
                  <a:cubicBezTo>
                    <a:pt x="5315" y="4466"/>
                    <a:pt x="5315" y="4435"/>
                    <a:pt x="5315" y="4404"/>
                  </a:cubicBezTo>
                  <a:cubicBezTo>
                    <a:pt x="5315" y="4239"/>
                    <a:pt x="5272" y="4094"/>
                    <a:pt x="5187" y="3970"/>
                  </a:cubicBezTo>
                  <a:cubicBezTo>
                    <a:pt x="5116" y="3815"/>
                    <a:pt x="5080" y="3660"/>
                    <a:pt x="5080" y="3506"/>
                  </a:cubicBezTo>
                  <a:lnTo>
                    <a:pt x="5122" y="3258"/>
                  </a:lnTo>
                  <a:lnTo>
                    <a:pt x="5102" y="3025"/>
                  </a:lnTo>
                  <a:cubicBezTo>
                    <a:pt x="5102" y="3005"/>
                    <a:pt x="5108" y="2979"/>
                    <a:pt x="5122" y="2948"/>
                  </a:cubicBezTo>
                  <a:cubicBezTo>
                    <a:pt x="5137" y="2876"/>
                    <a:pt x="5194" y="2798"/>
                    <a:pt x="5293" y="2715"/>
                  </a:cubicBezTo>
                  <a:cubicBezTo>
                    <a:pt x="5365" y="2654"/>
                    <a:pt x="5521" y="2550"/>
                    <a:pt x="5763" y="2406"/>
                  </a:cubicBezTo>
                  <a:cubicBezTo>
                    <a:pt x="5863" y="2333"/>
                    <a:pt x="6054" y="2282"/>
                    <a:pt x="6340" y="2251"/>
                  </a:cubicBezTo>
                  <a:cubicBezTo>
                    <a:pt x="6425" y="2241"/>
                    <a:pt x="6638" y="2231"/>
                    <a:pt x="6980" y="2220"/>
                  </a:cubicBezTo>
                  <a:lnTo>
                    <a:pt x="6980" y="2034"/>
                  </a:lnTo>
                  <a:cubicBezTo>
                    <a:pt x="6980" y="2024"/>
                    <a:pt x="6873" y="1962"/>
                    <a:pt x="6660" y="1849"/>
                  </a:cubicBezTo>
                  <a:cubicBezTo>
                    <a:pt x="6418" y="1714"/>
                    <a:pt x="6304" y="1461"/>
                    <a:pt x="6318" y="1089"/>
                  </a:cubicBezTo>
                  <a:cubicBezTo>
                    <a:pt x="6318" y="997"/>
                    <a:pt x="6389" y="914"/>
                    <a:pt x="6531" y="842"/>
                  </a:cubicBezTo>
                  <a:cubicBezTo>
                    <a:pt x="6759" y="707"/>
                    <a:pt x="6937" y="589"/>
                    <a:pt x="7065" y="485"/>
                  </a:cubicBezTo>
                  <a:cubicBezTo>
                    <a:pt x="7136" y="413"/>
                    <a:pt x="7222" y="351"/>
                    <a:pt x="7321" y="300"/>
                  </a:cubicBezTo>
                  <a:cubicBezTo>
                    <a:pt x="7449" y="248"/>
                    <a:pt x="7534" y="207"/>
                    <a:pt x="7577" y="175"/>
                  </a:cubicBezTo>
                  <a:cubicBezTo>
                    <a:pt x="7677" y="83"/>
                    <a:pt x="7741" y="31"/>
                    <a:pt x="7769" y="21"/>
                  </a:cubicBezTo>
                  <a:cubicBezTo>
                    <a:pt x="7798" y="0"/>
                    <a:pt x="7883" y="-5"/>
                    <a:pt x="8025" y="5"/>
                  </a:cubicBezTo>
                  <a:cubicBezTo>
                    <a:pt x="8168" y="26"/>
                    <a:pt x="8353" y="124"/>
                    <a:pt x="8581" y="300"/>
                  </a:cubicBezTo>
                  <a:cubicBezTo>
                    <a:pt x="8808" y="485"/>
                    <a:pt x="9022" y="578"/>
                    <a:pt x="9221" y="578"/>
                  </a:cubicBezTo>
                  <a:cubicBezTo>
                    <a:pt x="9420" y="558"/>
                    <a:pt x="9584" y="537"/>
                    <a:pt x="9711" y="517"/>
                  </a:cubicBezTo>
                  <a:cubicBezTo>
                    <a:pt x="9783" y="506"/>
                    <a:pt x="9861" y="501"/>
                    <a:pt x="9946" y="501"/>
                  </a:cubicBezTo>
                  <a:cubicBezTo>
                    <a:pt x="10031" y="501"/>
                    <a:pt x="10124" y="501"/>
                    <a:pt x="10224" y="501"/>
                  </a:cubicBezTo>
                  <a:cubicBezTo>
                    <a:pt x="10452" y="501"/>
                    <a:pt x="10643" y="630"/>
                    <a:pt x="10800" y="888"/>
                  </a:cubicBezTo>
                  <a:cubicBezTo>
                    <a:pt x="10843" y="940"/>
                    <a:pt x="10893" y="991"/>
                    <a:pt x="10949" y="1043"/>
                  </a:cubicBezTo>
                  <a:cubicBezTo>
                    <a:pt x="11106" y="1167"/>
                    <a:pt x="11305" y="1239"/>
                    <a:pt x="11547" y="1260"/>
                  </a:cubicBezTo>
                  <a:cubicBezTo>
                    <a:pt x="11860" y="1260"/>
                    <a:pt x="12137" y="1286"/>
                    <a:pt x="12379" y="1337"/>
                  </a:cubicBezTo>
                  <a:lnTo>
                    <a:pt x="12379" y="1353"/>
                  </a:lnTo>
                  <a:cubicBezTo>
                    <a:pt x="12394" y="1384"/>
                    <a:pt x="12472" y="1461"/>
                    <a:pt x="12614" y="1585"/>
                  </a:cubicBezTo>
                  <a:cubicBezTo>
                    <a:pt x="12743" y="1688"/>
                    <a:pt x="13055" y="1745"/>
                    <a:pt x="13553" y="1756"/>
                  </a:cubicBezTo>
                  <a:cubicBezTo>
                    <a:pt x="14052" y="1766"/>
                    <a:pt x="14350" y="1802"/>
                    <a:pt x="14450" y="1864"/>
                  </a:cubicBezTo>
                  <a:cubicBezTo>
                    <a:pt x="14521" y="1915"/>
                    <a:pt x="14571" y="1988"/>
                    <a:pt x="14599" y="2081"/>
                  </a:cubicBezTo>
                  <a:cubicBezTo>
                    <a:pt x="14642" y="2153"/>
                    <a:pt x="14684" y="2204"/>
                    <a:pt x="14727" y="2236"/>
                  </a:cubicBezTo>
                  <a:lnTo>
                    <a:pt x="14940" y="2375"/>
                  </a:lnTo>
                  <a:cubicBezTo>
                    <a:pt x="15026" y="2437"/>
                    <a:pt x="15083" y="2478"/>
                    <a:pt x="15111" y="2499"/>
                  </a:cubicBezTo>
                  <a:cubicBezTo>
                    <a:pt x="15111" y="2509"/>
                    <a:pt x="15111" y="2556"/>
                    <a:pt x="15111" y="2638"/>
                  </a:cubicBezTo>
                  <a:cubicBezTo>
                    <a:pt x="15083" y="2690"/>
                    <a:pt x="15111" y="2726"/>
                    <a:pt x="15197" y="2746"/>
                  </a:cubicBezTo>
                  <a:cubicBezTo>
                    <a:pt x="15396" y="2798"/>
                    <a:pt x="15496" y="2855"/>
                    <a:pt x="15496" y="2917"/>
                  </a:cubicBezTo>
                  <a:cubicBezTo>
                    <a:pt x="15496" y="2979"/>
                    <a:pt x="15382" y="3061"/>
                    <a:pt x="15154" y="3165"/>
                  </a:cubicBezTo>
                  <a:cubicBezTo>
                    <a:pt x="14926" y="3247"/>
                    <a:pt x="14805" y="3402"/>
                    <a:pt x="14791" y="3629"/>
                  </a:cubicBezTo>
                  <a:cubicBezTo>
                    <a:pt x="14791" y="3743"/>
                    <a:pt x="14948" y="3877"/>
                    <a:pt x="15260" y="4032"/>
                  </a:cubicBezTo>
                  <a:lnTo>
                    <a:pt x="15453" y="4187"/>
                  </a:lnTo>
                  <a:cubicBezTo>
                    <a:pt x="15538" y="4249"/>
                    <a:pt x="15596" y="4321"/>
                    <a:pt x="15624" y="4404"/>
                  </a:cubicBezTo>
                  <a:cubicBezTo>
                    <a:pt x="15638" y="4476"/>
                    <a:pt x="15673" y="4755"/>
                    <a:pt x="15731" y="5240"/>
                  </a:cubicBezTo>
                  <a:cubicBezTo>
                    <a:pt x="15745" y="5323"/>
                    <a:pt x="15759" y="5478"/>
                    <a:pt x="15773" y="5705"/>
                  </a:cubicBezTo>
                  <a:cubicBezTo>
                    <a:pt x="15773" y="5870"/>
                    <a:pt x="15787" y="5989"/>
                    <a:pt x="15816" y="6061"/>
                  </a:cubicBezTo>
                  <a:cubicBezTo>
                    <a:pt x="15830" y="6123"/>
                    <a:pt x="15866" y="6231"/>
                    <a:pt x="15922" y="6386"/>
                  </a:cubicBezTo>
                  <a:cubicBezTo>
                    <a:pt x="15951" y="6520"/>
                    <a:pt x="15965" y="6613"/>
                    <a:pt x="15965" y="6665"/>
                  </a:cubicBezTo>
                  <a:cubicBezTo>
                    <a:pt x="15965" y="6758"/>
                    <a:pt x="15794" y="6892"/>
                    <a:pt x="15453" y="7068"/>
                  </a:cubicBezTo>
                  <a:cubicBezTo>
                    <a:pt x="15083" y="7264"/>
                    <a:pt x="14898" y="7424"/>
                    <a:pt x="14898" y="7548"/>
                  </a:cubicBezTo>
                  <a:lnTo>
                    <a:pt x="14940" y="8446"/>
                  </a:lnTo>
                  <a:cubicBezTo>
                    <a:pt x="14841" y="8653"/>
                    <a:pt x="14528" y="8833"/>
                    <a:pt x="14001" y="8988"/>
                  </a:cubicBezTo>
                  <a:cubicBezTo>
                    <a:pt x="13532" y="9122"/>
                    <a:pt x="13283" y="9370"/>
                    <a:pt x="13254" y="9732"/>
                  </a:cubicBezTo>
                  <a:cubicBezTo>
                    <a:pt x="13254" y="9866"/>
                    <a:pt x="13276" y="10021"/>
                    <a:pt x="13319" y="10196"/>
                  </a:cubicBezTo>
                  <a:cubicBezTo>
                    <a:pt x="13304" y="10279"/>
                    <a:pt x="13319" y="10346"/>
                    <a:pt x="13361" y="10397"/>
                  </a:cubicBezTo>
                  <a:cubicBezTo>
                    <a:pt x="13404" y="10439"/>
                    <a:pt x="13490" y="10480"/>
                    <a:pt x="13617" y="10521"/>
                  </a:cubicBezTo>
                  <a:cubicBezTo>
                    <a:pt x="14272" y="10779"/>
                    <a:pt x="14649" y="10909"/>
                    <a:pt x="14748" y="10909"/>
                  </a:cubicBezTo>
                  <a:cubicBezTo>
                    <a:pt x="14791" y="10909"/>
                    <a:pt x="14855" y="10862"/>
                    <a:pt x="14940" y="10769"/>
                  </a:cubicBezTo>
                  <a:cubicBezTo>
                    <a:pt x="15040" y="10687"/>
                    <a:pt x="15097" y="10620"/>
                    <a:pt x="15111" y="10568"/>
                  </a:cubicBezTo>
                  <a:cubicBezTo>
                    <a:pt x="15197" y="10382"/>
                    <a:pt x="15310" y="10253"/>
                    <a:pt x="15453" y="10181"/>
                  </a:cubicBezTo>
                  <a:cubicBezTo>
                    <a:pt x="15524" y="10129"/>
                    <a:pt x="15624" y="10057"/>
                    <a:pt x="15751" y="9964"/>
                  </a:cubicBezTo>
                  <a:cubicBezTo>
                    <a:pt x="15852" y="9892"/>
                    <a:pt x="15916" y="9809"/>
                    <a:pt x="15944" y="9716"/>
                  </a:cubicBezTo>
                  <a:lnTo>
                    <a:pt x="16114" y="9236"/>
                  </a:lnTo>
                  <a:cubicBezTo>
                    <a:pt x="16129" y="9174"/>
                    <a:pt x="16271" y="9060"/>
                    <a:pt x="16541" y="8895"/>
                  </a:cubicBezTo>
                  <a:cubicBezTo>
                    <a:pt x="16798" y="8730"/>
                    <a:pt x="17046" y="8596"/>
                    <a:pt x="17288" y="8493"/>
                  </a:cubicBezTo>
                  <a:cubicBezTo>
                    <a:pt x="17346" y="8472"/>
                    <a:pt x="17395" y="8451"/>
                    <a:pt x="17438" y="8431"/>
                  </a:cubicBezTo>
                  <a:cubicBezTo>
                    <a:pt x="17594" y="8369"/>
                    <a:pt x="17694" y="8327"/>
                    <a:pt x="17737" y="8307"/>
                  </a:cubicBezTo>
                  <a:cubicBezTo>
                    <a:pt x="17837" y="8276"/>
                    <a:pt x="18043" y="8265"/>
                    <a:pt x="18355" y="8276"/>
                  </a:cubicBezTo>
                  <a:cubicBezTo>
                    <a:pt x="18413" y="8276"/>
                    <a:pt x="18462" y="8281"/>
                    <a:pt x="18505" y="8291"/>
                  </a:cubicBezTo>
                  <a:cubicBezTo>
                    <a:pt x="18719" y="8322"/>
                    <a:pt x="18896" y="8405"/>
                    <a:pt x="19039" y="8539"/>
                  </a:cubicBezTo>
                  <a:lnTo>
                    <a:pt x="19487" y="9174"/>
                  </a:lnTo>
                  <a:cubicBezTo>
                    <a:pt x="19657" y="9401"/>
                    <a:pt x="19878" y="9845"/>
                    <a:pt x="20148" y="10506"/>
                  </a:cubicBezTo>
                  <a:cubicBezTo>
                    <a:pt x="20191" y="10568"/>
                    <a:pt x="20269" y="10676"/>
                    <a:pt x="20383" y="10831"/>
                  </a:cubicBezTo>
                  <a:cubicBezTo>
                    <a:pt x="20511" y="10966"/>
                    <a:pt x="20596" y="11089"/>
                    <a:pt x="20640" y="11203"/>
                  </a:cubicBezTo>
                  <a:cubicBezTo>
                    <a:pt x="20682" y="11275"/>
                    <a:pt x="20725" y="11384"/>
                    <a:pt x="20767" y="11528"/>
                  </a:cubicBezTo>
                  <a:cubicBezTo>
                    <a:pt x="20825" y="11734"/>
                    <a:pt x="20896" y="12013"/>
                    <a:pt x="20981" y="12364"/>
                  </a:cubicBezTo>
                  <a:cubicBezTo>
                    <a:pt x="21052" y="12560"/>
                    <a:pt x="21166" y="12808"/>
                    <a:pt x="21322" y="13108"/>
                  </a:cubicBezTo>
                  <a:cubicBezTo>
                    <a:pt x="21450" y="13314"/>
                    <a:pt x="21542" y="13443"/>
                    <a:pt x="21600" y="13495"/>
                  </a:cubicBezTo>
                  <a:close/>
                  <a:moveTo>
                    <a:pt x="21600" y="1349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8" name="AutoShape 55"/>
            <p:cNvSpPr>
              <a:spLocks/>
            </p:cNvSpPr>
            <p:nvPr/>
          </p:nvSpPr>
          <p:spPr bwMode="auto">
            <a:xfrm>
              <a:off x="6690657" y="1933827"/>
              <a:ext cx="11231" cy="16847"/>
            </a:xfrm>
            <a:custGeom>
              <a:avLst/>
              <a:gdLst/>
              <a:ahLst/>
              <a:cxnLst/>
              <a:rect l="0" t="0" r="r" b="b"/>
              <a:pathLst>
                <a:path w="21600" h="21600">
                  <a:moveTo>
                    <a:pt x="0" y="19286"/>
                  </a:moveTo>
                  <a:cubicBezTo>
                    <a:pt x="2347" y="16371"/>
                    <a:pt x="5369" y="11916"/>
                    <a:pt x="9020" y="5915"/>
                  </a:cubicBezTo>
                  <a:cubicBezTo>
                    <a:pt x="9818" y="4543"/>
                    <a:pt x="10601" y="3342"/>
                    <a:pt x="11383" y="2317"/>
                  </a:cubicBezTo>
                  <a:cubicBezTo>
                    <a:pt x="12687" y="1631"/>
                    <a:pt x="14789" y="857"/>
                    <a:pt x="17673" y="0"/>
                  </a:cubicBezTo>
                  <a:cubicBezTo>
                    <a:pt x="19759" y="2058"/>
                    <a:pt x="20940" y="3427"/>
                    <a:pt x="21201" y="4113"/>
                  </a:cubicBezTo>
                  <a:cubicBezTo>
                    <a:pt x="21462" y="4458"/>
                    <a:pt x="21600" y="5744"/>
                    <a:pt x="21600" y="7971"/>
                  </a:cubicBezTo>
                  <a:cubicBezTo>
                    <a:pt x="21600" y="17057"/>
                    <a:pt x="16491" y="21600"/>
                    <a:pt x="6274" y="21600"/>
                  </a:cubicBezTo>
                  <a:cubicBezTo>
                    <a:pt x="3666" y="21600"/>
                    <a:pt x="2086" y="21512"/>
                    <a:pt x="1565" y="21341"/>
                  </a:cubicBezTo>
                  <a:cubicBezTo>
                    <a:pt x="522" y="20999"/>
                    <a:pt x="0" y="20316"/>
                    <a:pt x="0" y="19286"/>
                  </a:cubicBezTo>
                  <a:close/>
                  <a:moveTo>
                    <a:pt x="0" y="1928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79" name="AutoShape 56"/>
            <p:cNvSpPr>
              <a:spLocks/>
            </p:cNvSpPr>
            <p:nvPr/>
          </p:nvSpPr>
          <p:spPr bwMode="auto">
            <a:xfrm>
              <a:off x="6849935" y="1852146"/>
              <a:ext cx="16336" cy="30120"/>
            </a:xfrm>
            <a:custGeom>
              <a:avLst/>
              <a:gdLst/>
              <a:ahLst/>
              <a:cxnLst/>
              <a:rect l="0" t="0" r="r" b="b"/>
              <a:pathLst>
                <a:path w="21600" h="21600">
                  <a:moveTo>
                    <a:pt x="0" y="10080"/>
                  </a:moveTo>
                  <a:cubicBezTo>
                    <a:pt x="0" y="7297"/>
                    <a:pt x="1667" y="4896"/>
                    <a:pt x="5001" y="2881"/>
                  </a:cubicBezTo>
                  <a:cubicBezTo>
                    <a:pt x="8171" y="961"/>
                    <a:pt x="11587" y="0"/>
                    <a:pt x="15282" y="0"/>
                  </a:cubicBezTo>
                  <a:cubicBezTo>
                    <a:pt x="17566" y="0"/>
                    <a:pt x="19315" y="1248"/>
                    <a:pt x="20550" y="3745"/>
                  </a:cubicBezTo>
                  <a:cubicBezTo>
                    <a:pt x="21250" y="5280"/>
                    <a:pt x="21600" y="6721"/>
                    <a:pt x="21600" y="8065"/>
                  </a:cubicBezTo>
                  <a:cubicBezTo>
                    <a:pt x="21600" y="12097"/>
                    <a:pt x="19583" y="16610"/>
                    <a:pt x="15539" y="21600"/>
                  </a:cubicBezTo>
                  <a:cubicBezTo>
                    <a:pt x="13265" y="20832"/>
                    <a:pt x="10188" y="18912"/>
                    <a:pt x="6318" y="15840"/>
                  </a:cubicBezTo>
                  <a:cubicBezTo>
                    <a:pt x="2110" y="12577"/>
                    <a:pt x="0" y="10657"/>
                    <a:pt x="0" y="10080"/>
                  </a:cubicBezTo>
                  <a:close/>
                  <a:moveTo>
                    <a:pt x="0" y="1008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0" name="AutoShape 57"/>
            <p:cNvSpPr>
              <a:spLocks/>
            </p:cNvSpPr>
            <p:nvPr/>
          </p:nvSpPr>
          <p:spPr bwMode="auto">
            <a:xfrm>
              <a:off x="6760086" y="1897070"/>
              <a:ext cx="85254" cy="106185"/>
            </a:xfrm>
            <a:custGeom>
              <a:avLst/>
              <a:gdLst/>
              <a:ahLst/>
              <a:cxnLst/>
              <a:rect l="0" t="0" r="r" b="b"/>
              <a:pathLst>
                <a:path w="21600" h="21600">
                  <a:moveTo>
                    <a:pt x="618" y="1161"/>
                  </a:moveTo>
                  <a:cubicBezTo>
                    <a:pt x="1100" y="387"/>
                    <a:pt x="1633" y="0"/>
                    <a:pt x="2217" y="0"/>
                  </a:cubicBezTo>
                  <a:cubicBezTo>
                    <a:pt x="4726" y="0"/>
                    <a:pt x="6134" y="28"/>
                    <a:pt x="6444" y="83"/>
                  </a:cubicBezTo>
                  <a:cubicBezTo>
                    <a:pt x="8128" y="359"/>
                    <a:pt x="8969" y="1119"/>
                    <a:pt x="8969" y="2363"/>
                  </a:cubicBezTo>
                  <a:lnTo>
                    <a:pt x="8764" y="3980"/>
                  </a:lnTo>
                  <a:cubicBezTo>
                    <a:pt x="8764" y="4063"/>
                    <a:pt x="8867" y="4325"/>
                    <a:pt x="9074" y="4768"/>
                  </a:cubicBezTo>
                  <a:cubicBezTo>
                    <a:pt x="9451" y="4685"/>
                    <a:pt x="9864" y="4229"/>
                    <a:pt x="10311" y="3400"/>
                  </a:cubicBezTo>
                  <a:cubicBezTo>
                    <a:pt x="10723" y="2598"/>
                    <a:pt x="11136" y="2197"/>
                    <a:pt x="11547" y="2197"/>
                  </a:cubicBezTo>
                  <a:cubicBezTo>
                    <a:pt x="11823" y="2197"/>
                    <a:pt x="12081" y="2322"/>
                    <a:pt x="12320" y="2570"/>
                  </a:cubicBezTo>
                  <a:cubicBezTo>
                    <a:pt x="12459" y="2709"/>
                    <a:pt x="12649" y="2930"/>
                    <a:pt x="12888" y="3234"/>
                  </a:cubicBezTo>
                  <a:cubicBezTo>
                    <a:pt x="13198" y="3483"/>
                    <a:pt x="13575" y="3759"/>
                    <a:pt x="14022" y="4063"/>
                  </a:cubicBezTo>
                  <a:cubicBezTo>
                    <a:pt x="14332" y="4311"/>
                    <a:pt x="14487" y="4616"/>
                    <a:pt x="14487" y="4975"/>
                  </a:cubicBezTo>
                  <a:lnTo>
                    <a:pt x="14280" y="5845"/>
                  </a:lnTo>
                  <a:lnTo>
                    <a:pt x="14487" y="6260"/>
                  </a:lnTo>
                  <a:cubicBezTo>
                    <a:pt x="14590" y="6509"/>
                    <a:pt x="14624" y="6689"/>
                    <a:pt x="14590" y="6799"/>
                  </a:cubicBezTo>
                  <a:lnTo>
                    <a:pt x="14898" y="6882"/>
                  </a:lnTo>
                  <a:cubicBezTo>
                    <a:pt x="15242" y="6882"/>
                    <a:pt x="15518" y="6744"/>
                    <a:pt x="15724" y="6467"/>
                  </a:cubicBezTo>
                  <a:cubicBezTo>
                    <a:pt x="15895" y="6163"/>
                    <a:pt x="16153" y="6011"/>
                    <a:pt x="16497" y="6011"/>
                  </a:cubicBezTo>
                  <a:cubicBezTo>
                    <a:pt x="17115" y="6011"/>
                    <a:pt x="17699" y="6274"/>
                    <a:pt x="18249" y="6799"/>
                  </a:cubicBezTo>
                  <a:cubicBezTo>
                    <a:pt x="18730" y="7241"/>
                    <a:pt x="18988" y="7697"/>
                    <a:pt x="19022" y="8167"/>
                  </a:cubicBezTo>
                  <a:cubicBezTo>
                    <a:pt x="19059" y="8830"/>
                    <a:pt x="19367" y="9355"/>
                    <a:pt x="19951" y="9743"/>
                  </a:cubicBezTo>
                  <a:cubicBezTo>
                    <a:pt x="20535" y="10130"/>
                    <a:pt x="20827" y="10502"/>
                    <a:pt x="20827" y="10862"/>
                  </a:cubicBezTo>
                  <a:cubicBezTo>
                    <a:pt x="20827" y="11221"/>
                    <a:pt x="20639" y="11622"/>
                    <a:pt x="20261" y="12064"/>
                  </a:cubicBezTo>
                  <a:cubicBezTo>
                    <a:pt x="19882" y="12479"/>
                    <a:pt x="19693" y="12949"/>
                    <a:pt x="19693" y="13474"/>
                  </a:cubicBezTo>
                  <a:lnTo>
                    <a:pt x="20674" y="15547"/>
                  </a:lnTo>
                  <a:cubicBezTo>
                    <a:pt x="21292" y="17039"/>
                    <a:pt x="21600" y="18021"/>
                    <a:pt x="21600" y="18490"/>
                  </a:cubicBezTo>
                  <a:cubicBezTo>
                    <a:pt x="21600" y="19015"/>
                    <a:pt x="21274" y="19652"/>
                    <a:pt x="20621" y="20398"/>
                  </a:cubicBezTo>
                  <a:cubicBezTo>
                    <a:pt x="19900" y="21199"/>
                    <a:pt x="19143" y="21600"/>
                    <a:pt x="18354" y="21600"/>
                  </a:cubicBezTo>
                  <a:cubicBezTo>
                    <a:pt x="16841" y="21600"/>
                    <a:pt x="16000" y="21006"/>
                    <a:pt x="15826" y="19817"/>
                  </a:cubicBezTo>
                  <a:cubicBezTo>
                    <a:pt x="15792" y="19652"/>
                    <a:pt x="15776" y="19472"/>
                    <a:pt x="15776" y="19278"/>
                  </a:cubicBezTo>
                  <a:cubicBezTo>
                    <a:pt x="15776" y="19168"/>
                    <a:pt x="15776" y="19071"/>
                    <a:pt x="15776" y="18988"/>
                  </a:cubicBezTo>
                  <a:lnTo>
                    <a:pt x="15776" y="18947"/>
                  </a:lnTo>
                  <a:cubicBezTo>
                    <a:pt x="15913" y="18726"/>
                    <a:pt x="15982" y="18587"/>
                    <a:pt x="15982" y="18532"/>
                  </a:cubicBezTo>
                  <a:cubicBezTo>
                    <a:pt x="15982" y="18366"/>
                    <a:pt x="15895" y="18048"/>
                    <a:pt x="15724" y="17579"/>
                  </a:cubicBezTo>
                  <a:cubicBezTo>
                    <a:pt x="15484" y="16971"/>
                    <a:pt x="15242" y="16584"/>
                    <a:pt x="15003" y="16417"/>
                  </a:cubicBezTo>
                  <a:cubicBezTo>
                    <a:pt x="14109" y="15450"/>
                    <a:pt x="13404" y="14939"/>
                    <a:pt x="12888" y="14884"/>
                  </a:cubicBezTo>
                  <a:cubicBezTo>
                    <a:pt x="11789" y="14745"/>
                    <a:pt x="10879" y="14690"/>
                    <a:pt x="10156" y="14718"/>
                  </a:cubicBezTo>
                  <a:cubicBezTo>
                    <a:pt x="9640" y="14745"/>
                    <a:pt x="9314" y="14566"/>
                    <a:pt x="9177" y="14179"/>
                  </a:cubicBezTo>
                  <a:cubicBezTo>
                    <a:pt x="9040" y="13792"/>
                    <a:pt x="8782" y="13598"/>
                    <a:pt x="8404" y="13598"/>
                  </a:cubicBezTo>
                  <a:cubicBezTo>
                    <a:pt x="8196" y="13598"/>
                    <a:pt x="7733" y="13833"/>
                    <a:pt x="7012" y="14303"/>
                  </a:cubicBezTo>
                  <a:cubicBezTo>
                    <a:pt x="6289" y="14745"/>
                    <a:pt x="5618" y="14966"/>
                    <a:pt x="5000" y="14966"/>
                  </a:cubicBezTo>
                  <a:cubicBezTo>
                    <a:pt x="3935" y="14966"/>
                    <a:pt x="3146" y="14566"/>
                    <a:pt x="2630" y="13764"/>
                  </a:cubicBezTo>
                  <a:cubicBezTo>
                    <a:pt x="2217" y="13156"/>
                    <a:pt x="2010" y="12382"/>
                    <a:pt x="2010" y="11442"/>
                  </a:cubicBezTo>
                  <a:cubicBezTo>
                    <a:pt x="2010" y="10613"/>
                    <a:pt x="2320" y="10199"/>
                    <a:pt x="2938" y="10199"/>
                  </a:cubicBezTo>
                  <a:cubicBezTo>
                    <a:pt x="3351" y="10199"/>
                    <a:pt x="3798" y="10337"/>
                    <a:pt x="4279" y="10613"/>
                  </a:cubicBezTo>
                  <a:cubicBezTo>
                    <a:pt x="4726" y="10890"/>
                    <a:pt x="5208" y="11028"/>
                    <a:pt x="5723" y="11028"/>
                  </a:cubicBezTo>
                  <a:cubicBezTo>
                    <a:pt x="5997" y="11028"/>
                    <a:pt x="6273" y="10973"/>
                    <a:pt x="6547" y="10862"/>
                  </a:cubicBezTo>
                  <a:cubicBezTo>
                    <a:pt x="6891" y="10724"/>
                    <a:pt x="7062" y="10530"/>
                    <a:pt x="7062" y="10282"/>
                  </a:cubicBezTo>
                  <a:cubicBezTo>
                    <a:pt x="7062" y="9784"/>
                    <a:pt x="6720" y="9411"/>
                    <a:pt x="6031" y="9162"/>
                  </a:cubicBezTo>
                  <a:cubicBezTo>
                    <a:pt x="6170" y="9079"/>
                    <a:pt x="6428" y="8941"/>
                    <a:pt x="6805" y="8747"/>
                  </a:cubicBezTo>
                  <a:cubicBezTo>
                    <a:pt x="7115" y="8554"/>
                    <a:pt x="7286" y="8333"/>
                    <a:pt x="7320" y="8084"/>
                  </a:cubicBezTo>
                  <a:lnTo>
                    <a:pt x="5053" y="7296"/>
                  </a:lnTo>
                  <a:cubicBezTo>
                    <a:pt x="4984" y="7020"/>
                    <a:pt x="5139" y="6813"/>
                    <a:pt x="5516" y="6674"/>
                  </a:cubicBezTo>
                  <a:cubicBezTo>
                    <a:pt x="5929" y="6509"/>
                    <a:pt x="6134" y="6315"/>
                    <a:pt x="6134" y="6094"/>
                  </a:cubicBezTo>
                  <a:cubicBezTo>
                    <a:pt x="6134" y="5900"/>
                    <a:pt x="6031" y="5680"/>
                    <a:pt x="5826" y="5430"/>
                  </a:cubicBezTo>
                  <a:cubicBezTo>
                    <a:pt x="5584" y="5155"/>
                    <a:pt x="5326" y="5016"/>
                    <a:pt x="5053" y="5016"/>
                  </a:cubicBezTo>
                  <a:cubicBezTo>
                    <a:pt x="4571" y="5016"/>
                    <a:pt x="4003" y="5238"/>
                    <a:pt x="3351" y="5680"/>
                  </a:cubicBezTo>
                  <a:cubicBezTo>
                    <a:pt x="2664" y="6205"/>
                    <a:pt x="2183" y="6550"/>
                    <a:pt x="1907" y="6716"/>
                  </a:cubicBezTo>
                  <a:cubicBezTo>
                    <a:pt x="1907" y="6440"/>
                    <a:pt x="2046" y="6039"/>
                    <a:pt x="2320" y="5514"/>
                  </a:cubicBezTo>
                  <a:cubicBezTo>
                    <a:pt x="2596" y="5016"/>
                    <a:pt x="2733" y="4726"/>
                    <a:pt x="2733" y="4644"/>
                  </a:cubicBezTo>
                  <a:cubicBezTo>
                    <a:pt x="2733" y="4256"/>
                    <a:pt x="2286" y="4049"/>
                    <a:pt x="1392" y="4022"/>
                  </a:cubicBezTo>
                  <a:cubicBezTo>
                    <a:pt x="463" y="3994"/>
                    <a:pt x="0" y="3731"/>
                    <a:pt x="0" y="3234"/>
                  </a:cubicBezTo>
                  <a:cubicBezTo>
                    <a:pt x="0" y="2543"/>
                    <a:pt x="205" y="1852"/>
                    <a:pt x="618" y="1161"/>
                  </a:cubicBezTo>
                  <a:close/>
                  <a:moveTo>
                    <a:pt x="618" y="116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1" name="AutoShape 58"/>
            <p:cNvSpPr>
              <a:spLocks/>
            </p:cNvSpPr>
            <p:nvPr/>
          </p:nvSpPr>
          <p:spPr bwMode="auto">
            <a:xfrm>
              <a:off x="6984708" y="1827642"/>
              <a:ext cx="13273" cy="18378"/>
            </a:xfrm>
            <a:custGeom>
              <a:avLst/>
              <a:gdLst/>
              <a:ahLst/>
              <a:cxnLst/>
              <a:rect l="0" t="0" r="r" b="b"/>
              <a:pathLst>
                <a:path w="21600" h="21600">
                  <a:moveTo>
                    <a:pt x="21600" y="14556"/>
                  </a:moveTo>
                  <a:cubicBezTo>
                    <a:pt x="21600" y="19253"/>
                    <a:pt x="19131" y="21600"/>
                    <a:pt x="14182" y="21600"/>
                  </a:cubicBezTo>
                  <a:cubicBezTo>
                    <a:pt x="10315" y="21600"/>
                    <a:pt x="7091" y="20350"/>
                    <a:pt x="4509" y="17842"/>
                  </a:cubicBezTo>
                  <a:cubicBezTo>
                    <a:pt x="1511" y="15182"/>
                    <a:pt x="0" y="11582"/>
                    <a:pt x="0" y="7044"/>
                  </a:cubicBezTo>
                  <a:cubicBezTo>
                    <a:pt x="0" y="4850"/>
                    <a:pt x="1071" y="3130"/>
                    <a:pt x="3224" y="1877"/>
                  </a:cubicBezTo>
                  <a:cubicBezTo>
                    <a:pt x="5164" y="626"/>
                    <a:pt x="7519" y="0"/>
                    <a:pt x="10315" y="0"/>
                  </a:cubicBezTo>
                  <a:cubicBezTo>
                    <a:pt x="17847" y="0"/>
                    <a:pt x="21600" y="4850"/>
                    <a:pt x="21600" y="14556"/>
                  </a:cubicBezTo>
                  <a:close/>
                  <a:moveTo>
                    <a:pt x="21600" y="1455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2" name="AutoShape 59"/>
            <p:cNvSpPr>
              <a:spLocks/>
            </p:cNvSpPr>
            <p:nvPr/>
          </p:nvSpPr>
          <p:spPr bwMode="auto">
            <a:xfrm>
              <a:off x="6858103" y="1929742"/>
              <a:ext cx="53092" cy="78618"/>
            </a:xfrm>
            <a:custGeom>
              <a:avLst/>
              <a:gdLst/>
              <a:ahLst/>
              <a:cxnLst/>
              <a:rect l="0" t="0" r="r" b="b"/>
              <a:pathLst>
                <a:path w="21600" h="21600">
                  <a:moveTo>
                    <a:pt x="13520" y="5581"/>
                  </a:moveTo>
                  <a:cubicBezTo>
                    <a:pt x="13629" y="6177"/>
                    <a:pt x="14041" y="6624"/>
                    <a:pt x="14756" y="6921"/>
                  </a:cubicBezTo>
                  <a:cubicBezTo>
                    <a:pt x="15143" y="7070"/>
                    <a:pt x="16022" y="7275"/>
                    <a:pt x="17394" y="7535"/>
                  </a:cubicBezTo>
                  <a:cubicBezTo>
                    <a:pt x="18218" y="7647"/>
                    <a:pt x="19455" y="8465"/>
                    <a:pt x="21104" y="9991"/>
                  </a:cubicBezTo>
                  <a:cubicBezTo>
                    <a:pt x="21104" y="10177"/>
                    <a:pt x="20859" y="10567"/>
                    <a:pt x="20363" y="11163"/>
                  </a:cubicBezTo>
                  <a:cubicBezTo>
                    <a:pt x="19867" y="11721"/>
                    <a:pt x="19623" y="12409"/>
                    <a:pt x="19623" y="13228"/>
                  </a:cubicBezTo>
                  <a:cubicBezTo>
                    <a:pt x="19623" y="14196"/>
                    <a:pt x="19951" y="14940"/>
                    <a:pt x="20611" y="15461"/>
                  </a:cubicBezTo>
                  <a:cubicBezTo>
                    <a:pt x="21272" y="15944"/>
                    <a:pt x="21600" y="16298"/>
                    <a:pt x="21600" y="16521"/>
                  </a:cubicBezTo>
                  <a:cubicBezTo>
                    <a:pt x="21600" y="17116"/>
                    <a:pt x="21217" y="17470"/>
                    <a:pt x="20447" y="17581"/>
                  </a:cubicBezTo>
                  <a:cubicBezTo>
                    <a:pt x="19291" y="17693"/>
                    <a:pt x="18276" y="17823"/>
                    <a:pt x="17394" y="17972"/>
                  </a:cubicBezTo>
                  <a:cubicBezTo>
                    <a:pt x="16570" y="18121"/>
                    <a:pt x="16048" y="18512"/>
                    <a:pt x="15829" y="19144"/>
                  </a:cubicBezTo>
                  <a:cubicBezTo>
                    <a:pt x="15665" y="19665"/>
                    <a:pt x="15004" y="19925"/>
                    <a:pt x="13851" y="19925"/>
                  </a:cubicBezTo>
                  <a:cubicBezTo>
                    <a:pt x="12531" y="19219"/>
                    <a:pt x="11816" y="18866"/>
                    <a:pt x="11707" y="18866"/>
                  </a:cubicBezTo>
                  <a:cubicBezTo>
                    <a:pt x="11101" y="18866"/>
                    <a:pt x="10663" y="19330"/>
                    <a:pt x="10386" y="20261"/>
                  </a:cubicBezTo>
                  <a:cubicBezTo>
                    <a:pt x="10112" y="21154"/>
                    <a:pt x="9452" y="21600"/>
                    <a:pt x="8409" y="21600"/>
                  </a:cubicBezTo>
                  <a:cubicBezTo>
                    <a:pt x="7584" y="21600"/>
                    <a:pt x="7008" y="21135"/>
                    <a:pt x="6676" y="20205"/>
                  </a:cubicBezTo>
                  <a:cubicBezTo>
                    <a:pt x="6512" y="19349"/>
                    <a:pt x="6377" y="18735"/>
                    <a:pt x="6264" y="18363"/>
                  </a:cubicBezTo>
                  <a:cubicBezTo>
                    <a:pt x="6209" y="18214"/>
                    <a:pt x="6183" y="18103"/>
                    <a:pt x="6183" y="18028"/>
                  </a:cubicBezTo>
                  <a:lnTo>
                    <a:pt x="3050" y="15796"/>
                  </a:lnTo>
                  <a:cubicBezTo>
                    <a:pt x="3050" y="15498"/>
                    <a:pt x="3214" y="15237"/>
                    <a:pt x="3546" y="15014"/>
                  </a:cubicBezTo>
                  <a:cubicBezTo>
                    <a:pt x="3874" y="14754"/>
                    <a:pt x="4261" y="14623"/>
                    <a:pt x="4699" y="14623"/>
                  </a:cubicBezTo>
                  <a:lnTo>
                    <a:pt x="6760" y="15014"/>
                  </a:lnTo>
                  <a:cubicBezTo>
                    <a:pt x="7530" y="15014"/>
                    <a:pt x="8190" y="14921"/>
                    <a:pt x="8737" y="14735"/>
                  </a:cubicBezTo>
                  <a:cubicBezTo>
                    <a:pt x="9343" y="14511"/>
                    <a:pt x="9645" y="14214"/>
                    <a:pt x="9645" y="13842"/>
                  </a:cubicBezTo>
                  <a:cubicBezTo>
                    <a:pt x="9645" y="13284"/>
                    <a:pt x="8518" y="12837"/>
                    <a:pt x="6264" y="12503"/>
                  </a:cubicBezTo>
                  <a:cubicBezTo>
                    <a:pt x="3958" y="12168"/>
                    <a:pt x="2747" y="11889"/>
                    <a:pt x="2638" y="11665"/>
                  </a:cubicBezTo>
                  <a:cubicBezTo>
                    <a:pt x="2473" y="11330"/>
                    <a:pt x="2364" y="10847"/>
                    <a:pt x="2309" y="10214"/>
                  </a:cubicBezTo>
                  <a:cubicBezTo>
                    <a:pt x="2309" y="9619"/>
                    <a:pt x="2200" y="9154"/>
                    <a:pt x="1977" y="8819"/>
                  </a:cubicBezTo>
                  <a:cubicBezTo>
                    <a:pt x="660" y="7554"/>
                    <a:pt x="0" y="6717"/>
                    <a:pt x="0" y="6307"/>
                  </a:cubicBezTo>
                  <a:cubicBezTo>
                    <a:pt x="0" y="5973"/>
                    <a:pt x="328" y="5712"/>
                    <a:pt x="989" y="5526"/>
                  </a:cubicBezTo>
                  <a:cubicBezTo>
                    <a:pt x="1649" y="5302"/>
                    <a:pt x="1977" y="5043"/>
                    <a:pt x="1977" y="4744"/>
                  </a:cubicBezTo>
                  <a:cubicBezTo>
                    <a:pt x="1977" y="4447"/>
                    <a:pt x="1787" y="4094"/>
                    <a:pt x="1401" y="3684"/>
                  </a:cubicBezTo>
                  <a:cubicBezTo>
                    <a:pt x="1018" y="3275"/>
                    <a:pt x="824" y="2977"/>
                    <a:pt x="824" y="2791"/>
                  </a:cubicBezTo>
                  <a:cubicBezTo>
                    <a:pt x="824" y="1973"/>
                    <a:pt x="1153" y="1303"/>
                    <a:pt x="1813" y="782"/>
                  </a:cubicBezTo>
                  <a:cubicBezTo>
                    <a:pt x="2419" y="261"/>
                    <a:pt x="3105" y="0"/>
                    <a:pt x="3874" y="0"/>
                  </a:cubicBezTo>
                  <a:cubicBezTo>
                    <a:pt x="5578" y="0"/>
                    <a:pt x="7613" y="782"/>
                    <a:pt x="9974" y="2344"/>
                  </a:cubicBezTo>
                  <a:cubicBezTo>
                    <a:pt x="12174" y="3796"/>
                    <a:pt x="13355" y="4875"/>
                    <a:pt x="13520" y="5581"/>
                  </a:cubicBezTo>
                  <a:close/>
                  <a:moveTo>
                    <a:pt x="13520" y="558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3" name="AutoShape 60"/>
            <p:cNvSpPr>
              <a:spLocks/>
            </p:cNvSpPr>
            <p:nvPr/>
          </p:nvSpPr>
          <p:spPr bwMode="auto">
            <a:xfrm>
              <a:off x="6890775" y="2011423"/>
              <a:ext cx="42372" cy="23994"/>
            </a:xfrm>
            <a:custGeom>
              <a:avLst/>
              <a:gdLst/>
              <a:ahLst/>
              <a:cxnLst/>
              <a:rect l="0" t="0" r="r" b="b"/>
              <a:pathLst>
                <a:path w="21600" h="21600">
                  <a:moveTo>
                    <a:pt x="7336" y="364"/>
                  </a:moveTo>
                  <a:cubicBezTo>
                    <a:pt x="7477" y="243"/>
                    <a:pt x="7647" y="183"/>
                    <a:pt x="7853" y="183"/>
                  </a:cubicBezTo>
                  <a:cubicBezTo>
                    <a:pt x="9165" y="62"/>
                    <a:pt x="11543" y="665"/>
                    <a:pt x="14987" y="1998"/>
                  </a:cubicBezTo>
                  <a:cubicBezTo>
                    <a:pt x="19396" y="3692"/>
                    <a:pt x="21600" y="5446"/>
                    <a:pt x="21600" y="7261"/>
                  </a:cubicBezTo>
                  <a:cubicBezTo>
                    <a:pt x="21600" y="8350"/>
                    <a:pt x="21289" y="9500"/>
                    <a:pt x="20671" y="10710"/>
                  </a:cubicBezTo>
                  <a:cubicBezTo>
                    <a:pt x="19981" y="11921"/>
                    <a:pt x="19638" y="12829"/>
                    <a:pt x="19638" y="13433"/>
                  </a:cubicBezTo>
                  <a:cubicBezTo>
                    <a:pt x="19638" y="17064"/>
                    <a:pt x="19638" y="18937"/>
                    <a:pt x="19638" y="19058"/>
                  </a:cubicBezTo>
                  <a:cubicBezTo>
                    <a:pt x="19363" y="20754"/>
                    <a:pt x="18467" y="21600"/>
                    <a:pt x="16949" y="21600"/>
                  </a:cubicBezTo>
                  <a:cubicBezTo>
                    <a:pt x="16331" y="21600"/>
                    <a:pt x="15261" y="21055"/>
                    <a:pt x="13747" y="19966"/>
                  </a:cubicBezTo>
                  <a:cubicBezTo>
                    <a:pt x="12298" y="18877"/>
                    <a:pt x="10336" y="18455"/>
                    <a:pt x="7853" y="18696"/>
                  </a:cubicBezTo>
                  <a:cubicBezTo>
                    <a:pt x="4825" y="18817"/>
                    <a:pt x="2721" y="17970"/>
                    <a:pt x="1550" y="16156"/>
                  </a:cubicBezTo>
                  <a:cubicBezTo>
                    <a:pt x="517" y="14461"/>
                    <a:pt x="0" y="11738"/>
                    <a:pt x="0" y="7986"/>
                  </a:cubicBezTo>
                  <a:cubicBezTo>
                    <a:pt x="0" y="2663"/>
                    <a:pt x="1413" y="0"/>
                    <a:pt x="4235" y="0"/>
                  </a:cubicBezTo>
                  <a:cubicBezTo>
                    <a:pt x="4582" y="0"/>
                    <a:pt x="5616" y="122"/>
                    <a:pt x="7336" y="364"/>
                  </a:cubicBezTo>
                  <a:close/>
                  <a:moveTo>
                    <a:pt x="7336" y="36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4" name="AutoShape 61"/>
            <p:cNvSpPr>
              <a:spLocks/>
            </p:cNvSpPr>
            <p:nvPr/>
          </p:nvSpPr>
          <p:spPr bwMode="auto">
            <a:xfrm>
              <a:off x="6772338" y="2084936"/>
              <a:ext cx="90870" cy="109248"/>
            </a:xfrm>
            <a:custGeom>
              <a:avLst/>
              <a:gdLst/>
              <a:ahLst/>
              <a:cxnLst/>
              <a:rect l="0" t="0" r="r" b="b"/>
              <a:pathLst>
                <a:path w="21600" h="21600">
                  <a:moveTo>
                    <a:pt x="20922" y="3982"/>
                  </a:moveTo>
                  <a:cubicBezTo>
                    <a:pt x="20666" y="4572"/>
                    <a:pt x="20537" y="4921"/>
                    <a:pt x="20537" y="5028"/>
                  </a:cubicBezTo>
                  <a:cubicBezTo>
                    <a:pt x="20537" y="5189"/>
                    <a:pt x="20666" y="5431"/>
                    <a:pt x="20922" y="5752"/>
                  </a:cubicBezTo>
                  <a:cubicBezTo>
                    <a:pt x="21181" y="6074"/>
                    <a:pt x="21309" y="6329"/>
                    <a:pt x="21309" y="6516"/>
                  </a:cubicBezTo>
                  <a:cubicBezTo>
                    <a:pt x="21309" y="6704"/>
                    <a:pt x="21117" y="7522"/>
                    <a:pt x="20730" y="8970"/>
                  </a:cubicBezTo>
                  <a:cubicBezTo>
                    <a:pt x="20439" y="9533"/>
                    <a:pt x="20005" y="10230"/>
                    <a:pt x="19425" y="11062"/>
                  </a:cubicBezTo>
                  <a:cubicBezTo>
                    <a:pt x="19425" y="11276"/>
                    <a:pt x="19748" y="11410"/>
                    <a:pt x="20392" y="11464"/>
                  </a:cubicBezTo>
                  <a:cubicBezTo>
                    <a:pt x="21004" y="11544"/>
                    <a:pt x="21309" y="11786"/>
                    <a:pt x="21309" y="12188"/>
                  </a:cubicBezTo>
                  <a:cubicBezTo>
                    <a:pt x="21277" y="12590"/>
                    <a:pt x="21326" y="13019"/>
                    <a:pt x="21455" y="13475"/>
                  </a:cubicBezTo>
                  <a:cubicBezTo>
                    <a:pt x="21551" y="13957"/>
                    <a:pt x="21600" y="14319"/>
                    <a:pt x="21600" y="14561"/>
                  </a:cubicBezTo>
                  <a:cubicBezTo>
                    <a:pt x="21600" y="14990"/>
                    <a:pt x="21600" y="15218"/>
                    <a:pt x="21600" y="15245"/>
                  </a:cubicBezTo>
                  <a:cubicBezTo>
                    <a:pt x="21536" y="15459"/>
                    <a:pt x="21373" y="15566"/>
                    <a:pt x="21117" y="15566"/>
                  </a:cubicBezTo>
                  <a:cubicBezTo>
                    <a:pt x="20858" y="15566"/>
                    <a:pt x="20649" y="15325"/>
                    <a:pt x="20488" y="14842"/>
                  </a:cubicBezTo>
                  <a:cubicBezTo>
                    <a:pt x="20296" y="14333"/>
                    <a:pt x="20086" y="14078"/>
                    <a:pt x="19860" y="14078"/>
                  </a:cubicBezTo>
                  <a:cubicBezTo>
                    <a:pt x="19603" y="14078"/>
                    <a:pt x="19231" y="14494"/>
                    <a:pt x="18748" y="15325"/>
                  </a:cubicBezTo>
                  <a:cubicBezTo>
                    <a:pt x="18265" y="16130"/>
                    <a:pt x="18023" y="16706"/>
                    <a:pt x="18023" y="17055"/>
                  </a:cubicBezTo>
                  <a:cubicBezTo>
                    <a:pt x="18023" y="17108"/>
                    <a:pt x="18249" y="17350"/>
                    <a:pt x="18701" y="17779"/>
                  </a:cubicBezTo>
                  <a:cubicBezTo>
                    <a:pt x="19120" y="18208"/>
                    <a:pt x="19329" y="18557"/>
                    <a:pt x="19329" y="18825"/>
                  </a:cubicBezTo>
                  <a:cubicBezTo>
                    <a:pt x="19329" y="19146"/>
                    <a:pt x="19135" y="19361"/>
                    <a:pt x="18748" y="19468"/>
                  </a:cubicBezTo>
                  <a:cubicBezTo>
                    <a:pt x="18265" y="19603"/>
                    <a:pt x="17959" y="19763"/>
                    <a:pt x="17830" y="19951"/>
                  </a:cubicBezTo>
                  <a:cubicBezTo>
                    <a:pt x="17734" y="20058"/>
                    <a:pt x="17638" y="20380"/>
                    <a:pt x="17540" y="20916"/>
                  </a:cubicBezTo>
                  <a:cubicBezTo>
                    <a:pt x="17508" y="21212"/>
                    <a:pt x="17251" y="21359"/>
                    <a:pt x="16768" y="21359"/>
                  </a:cubicBezTo>
                  <a:cubicBezTo>
                    <a:pt x="15801" y="21359"/>
                    <a:pt x="14850" y="21252"/>
                    <a:pt x="13916" y="21037"/>
                  </a:cubicBezTo>
                  <a:cubicBezTo>
                    <a:pt x="13143" y="20822"/>
                    <a:pt x="12692" y="20716"/>
                    <a:pt x="12564" y="20716"/>
                  </a:cubicBezTo>
                  <a:cubicBezTo>
                    <a:pt x="12337" y="20716"/>
                    <a:pt x="12000" y="20863"/>
                    <a:pt x="11548" y="21158"/>
                  </a:cubicBezTo>
                  <a:cubicBezTo>
                    <a:pt x="11097" y="21453"/>
                    <a:pt x="10727" y="21600"/>
                    <a:pt x="10437" y="21600"/>
                  </a:cubicBezTo>
                  <a:cubicBezTo>
                    <a:pt x="9406" y="21600"/>
                    <a:pt x="8634" y="21305"/>
                    <a:pt x="8117" y="20716"/>
                  </a:cubicBezTo>
                  <a:cubicBezTo>
                    <a:pt x="7732" y="20259"/>
                    <a:pt x="7537" y="19776"/>
                    <a:pt x="7537" y="19267"/>
                  </a:cubicBezTo>
                  <a:cubicBezTo>
                    <a:pt x="7537" y="18945"/>
                    <a:pt x="7909" y="18717"/>
                    <a:pt x="8649" y="18583"/>
                  </a:cubicBezTo>
                  <a:cubicBezTo>
                    <a:pt x="9359" y="18423"/>
                    <a:pt x="9712" y="18261"/>
                    <a:pt x="9712" y="18101"/>
                  </a:cubicBezTo>
                  <a:cubicBezTo>
                    <a:pt x="9712" y="17779"/>
                    <a:pt x="9423" y="17470"/>
                    <a:pt x="8842" y="17175"/>
                  </a:cubicBezTo>
                  <a:cubicBezTo>
                    <a:pt x="8230" y="16880"/>
                    <a:pt x="7924" y="16626"/>
                    <a:pt x="7924" y="16411"/>
                  </a:cubicBezTo>
                  <a:cubicBezTo>
                    <a:pt x="7924" y="16250"/>
                    <a:pt x="8085" y="15942"/>
                    <a:pt x="8407" y="15486"/>
                  </a:cubicBezTo>
                  <a:cubicBezTo>
                    <a:pt x="8698" y="15057"/>
                    <a:pt x="8859" y="14842"/>
                    <a:pt x="8891" y="14842"/>
                  </a:cubicBezTo>
                  <a:cubicBezTo>
                    <a:pt x="9117" y="14842"/>
                    <a:pt x="9423" y="14923"/>
                    <a:pt x="9808" y="15084"/>
                  </a:cubicBezTo>
                  <a:lnTo>
                    <a:pt x="10533" y="15084"/>
                  </a:lnTo>
                  <a:cubicBezTo>
                    <a:pt x="10308" y="14119"/>
                    <a:pt x="10792" y="13354"/>
                    <a:pt x="11983" y="12791"/>
                  </a:cubicBezTo>
                  <a:cubicBezTo>
                    <a:pt x="12660" y="12469"/>
                    <a:pt x="13755" y="12081"/>
                    <a:pt x="15269" y="11625"/>
                  </a:cubicBezTo>
                  <a:lnTo>
                    <a:pt x="15365" y="11544"/>
                  </a:lnTo>
                  <a:cubicBezTo>
                    <a:pt x="15173" y="11384"/>
                    <a:pt x="14963" y="11303"/>
                    <a:pt x="14739" y="11303"/>
                  </a:cubicBezTo>
                  <a:cubicBezTo>
                    <a:pt x="12774" y="11303"/>
                    <a:pt x="11114" y="11451"/>
                    <a:pt x="9761" y="11745"/>
                  </a:cubicBezTo>
                  <a:cubicBezTo>
                    <a:pt x="7473" y="12255"/>
                    <a:pt x="5735" y="12630"/>
                    <a:pt x="4542" y="12872"/>
                  </a:cubicBezTo>
                  <a:cubicBezTo>
                    <a:pt x="4413" y="12899"/>
                    <a:pt x="4285" y="12925"/>
                    <a:pt x="4155" y="12952"/>
                  </a:cubicBezTo>
                  <a:lnTo>
                    <a:pt x="3479" y="12952"/>
                  </a:lnTo>
                  <a:lnTo>
                    <a:pt x="1546" y="13274"/>
                  </a:lnTo>
                  <a:cubicBezTo>
                    <a:pt x="1127" y="13274"/>
                    <a:pt x="772" y="13193"/>
                    <a:pt x="483" y="13032"/>
                  </a:cubicBezTo>
                  <a:cubicBezTo>
                    <a:pt x="160" y="12845"/>
                    <a:pt x="0" y="12603"/>
                    <a:pt x="0" y="12309"/>
                  </a:cubicBezTo>
                  <a:cubicBezTo>
                    <a:pt x="0" y="11987"/>
                    <a:pt x="160" y="11705"/>
                    <a:pt x="483" y="11464"/>
                  </a:cubicBezTo>
                  <a:cubicBezTo>
                    <a:pt x="740" y="11249"/>
                    <a:pt x="982" y="11142"/>
                    <a:pt x="1208" y="11142"/>
                  </a:cubicBezTo>
                  <a:cubicBezTo>
                    <a:pt x="1336" y="11142"/>
                    <a:pt x="1691" y="11223"/>
                    <a:pt x="2271" y="11384"/>
                  </a:cubicBezTo>
                  <a:cubicBezTo>
                    <a:pt x="2560" y="11384"/>
                    <a:pt x="2722" y="11357"/>
                    <a:pt x="2754" y="11303"/>
                  </a:cubicBezTo>
                  <a:lnTo>
                    <a:pt x="2754" y="10981"/>
                  </a:lnTo>
                  <a:cubicBezTo>
                    <a:pt x="2754" y="10820"/>
                    <a:pt x="2690" y="10633"/>
                    <a:pt x="2560" y="10418"/>
                  </a:cubicBezTo>
                  <a:cubicBezTo>
                    <a:pt x="2431" y="10230"/>
                    <a:pt x="2367" y="10123"/>
                    <a:pt x="2367" y="10096"/>
                  </a:cubicBezTo>
                  <a:cubicBezTo>
                    <a:pt x="2367" y="9506"/>
                    <a:pt x="2658" y="9211"/>
                    <a:pt x="3237" y="9211"/>
                  </a:cubicBezTo>
                  <a:cubicBezTo>
                    <a:pt x="3526" y="9211"/>
                    <a:pt x="4251" y="9654"/>
                    <a:pt x="5412" y="10539"/>
                  </a:cubicBezTo>
                  <a:cubicBezTo>
                    <a:pt x="5604" y="10539"/>
                    <a:pt x="5814" y="10365"/>
                    <a:pt x="6040" y="10016"/>
                  </a:cubicBezTo>
                  <a:cubicBezTo>
                    <a:pt x="6040" y="9882"/>
                    <a:pt x="5863" y="9694"/>
                    <a:pt x="5508" y="9453"/>
                  </a:cubicBezTo>
                  <a:cubicBezTo>
                    <a:pt x="5153" y="9211"/>
                    <a:pt x="4976" y="9051"/>
                    <a:pt x="4976" y="8970"/>
                  </a:cubicBezTo>
                  <a:cubicBezTo>
                    <a:pt x="4976" y="8916"/>
                    <a:pt x="5170" y="8729"/>
                    <a:pt x="5557" y="8407"/>
                  </a:cubicBezTo>
                  <a:cubicBezTo>
                    <a:pt x="5942" y="8059"/>
                    <a:pt x="6137" y="7844"/>
                    <a:pt x="6137" y="7763"/>
                  </a:cubicBezTo>
                  <a:cubicBezTo>
                    <a:pt x="6137" y="7442"/>
                    <a:pt x="5701" y="7294"/>
                    <a:pt x="4832" y="7321"/>
                  </a:cubicBezTo>
                  <a:cubicBezTo>
                    <a:pt x="3930" y="7348"/>
                    <a:pt x="3479" y="7093"/>
                    <a:pt x="3479" y="6556"/>
                  </a:cubicBezTo>
                  <a:cubicBezTo>
                    <a:pt x="3479" y="6396"/>
                    <a:pt x="3560" y="6141"/>
                    <a:pt x="3720" y="5792"/>
                  </a:cubicBezTo>
                  <a:cubicBezTo>
                    <a:pt x="3881" y="5444"/>
                    <a:pt x="4026" y="5216"/>
                    <a:pt x="4155" y="5108"/>
                  </a:cubicBezTo>
                  <a:cubicBezTo>
                    <a:pt x="3575" y="4626"/>
                    <a:pt x="3284" y="4183"/>
                    <a:pt x="3284" y="3781"/>
                  </a:cubicBezTo>
                  <a:cubicBezTo>
                    <a:pt x="3284" y="3325"/>
                    <a:pt x="3543" y="2829"/>
                    <a:pt x="4058" y="2293"/>
                  </a:cubicBezTo>
                  <a:cubicBezTo>
                    <a:pt x="4542" y="1756"/>
                    <a:pt x="4976" y="1488"/>
                    <a:pt x="5363" y="1488"/>
                  </a:cubicBezTo>
                  <a:cubicBezTo>
                    <a:pt x="6265" y="1488"/>
                    <a:pt x="6958" y="2011"/>
                    <a:pt x="7441" y="3057"/>
                  </a:cubicBezTo>
                  <a:cubicBezTo>
                    <a:pt x="7700" y="3620"/>
                    <a:pt x="7924" y="4304"/>
                    <a:pt x="8117" y="5108"/>
                  </a:cubicBezTo>
                  <a:cubicBezTo>
                    <a:pt x="8472" y="5967"/>
                    <a:pt x="8955" y="6731"/>
                    <a:pt x="9566" y="7401"/>
                  </a:cubicBezTo>
                  <a:cubicBezTo>
                    <a:pt x="10276" y="8179"/>
                    <a:pt x="10984" y="8568"/>
                    <a:pt x="11694" y="8568"/>
                  </a:cubicBezTo>
                  <a:cubicBezTo>
                    <a:pt x="11854" y="8568"/>
                    <a:pt x="12017" y="8514"/>
                    <a:pt x="12177" y="8407"/>
                  </a:cubicBezTo>
                  <a:cubicBezTo>
                    <a:pt x="12337" y="8273"/>
                    <a:pt x="12419" y="8152"/>
                    <a:pt x="12419" y="8045"/>
                  </a:cubicBezTo>
                  <a:cubicBezTo>
                    <a:pt x="12419" y="7616"/>
                    <a:pt x="12209" y="7334"/>
                    <a:pt x="11790" y="7200"/>
                  </a:cubicBezTo>
                  <a:cubicBezTo>
                    <a:pt x="11339" y="7040"/>
                    <a:pt x="11114" y="6838"/>
                    <a:pt x="11114" y="6597"/>
                  </a:cubicBezTo>
                  <a:cubicBezTo>
                    <a:pt x="11114" y="6302"/>
                    <a:pt x="11243" y="6087"/>
                    <a:pt x="11499" y="5953"/>
                  </a:cubicBezTo>
                  <a:cubicBezTo>
                    <a:pt x="11758" y="5792"/>
                    <a:pt x="11886" y="5618"/>
                    <a:pt x="11886" y="5431"/>
                  </a:cubicBezTo>
                  <a:cubicBezTo>
                    <a:pt x="11886" y="5269"/>
                    <a:pt x="11581" y="5135"/>
                    <a:pt x="10969" y="5028"/>
                  </a:cubicBezTo>
                  <a:cubicBezTo>
                    <a:pt x="10325" y="4948"/>
                    <a:pt x="10002" y="4720"/>
                    <a:pt x="10002" y="4344"/>
                  </a:cubicBezTo>
                  <a:cubicBezTo>
                    <a:pt x="10002" y="4103"/>
                    <a:pt x="10116" y="3929"/>
                    <a:pt x="10340" y="3821"/>
                  </a:cubicBezTo>
                  <a:cubicBezTo>
                    <a:pt x="10533" y="3741"/>
                    <a:pt x="10631" y="3647"/>
                    <a:pt x="10631" y="3540"/>
                  </a:cubicBezTo>
                  <a:cubicBezTo>
                    <a:pt x="10631" y="3245"/>
                    <a:pt x="10244" y="2936"/>
                    <a:pt x="9470" y="2615"/>
                  </a:cubicBezTo>
                  <a:cubicBezTo>
                    <a:pt x="8698" y="2320"/>
                    <a:pt x="8311" y="2011"/>
                    <a:pt x="8311" y="1689"/>
                  </a:cubicBezTo>
                  <a:cubicBezTo>
                    <a:pt x="8311" y="1207"/>
                    <a:pt x="8617" y="805"/>
                    <a:pt x="9229" y="483"/>
                  </a:cubicBezTo>
                  <a:cubicBezTo>
                    <a:pt x="9842" y="161"/>
                    <a:pt x="10599" y="0"/>
                    <a:pt x="11499" y="0"/>
                  </a:cubicBezTo>
                  <a:cubicBezTo>
                    <a:pt x="12337" y="0"/>
                    <a:pt x="13126" y="362"/>
                    <a:pt x="13868" y="1086"/>
                  </a:cubicBezTo>
                  <a:cubicBezTo>
                    <a:pt x="14576" y="1783"/>
                    <a:pt x="15222" y="2132"/>
                    <a:pt x="15801" y="2132"/>
                  </a:cubicBezTo>
                  <a:cubicBezTo>
                    <a:pt x="16413" y="2132"/>
                    <a:pt x="16800" y="1998"/>
                    <a:pt x="16960" y="1730"/>
                  </a:cubicBezTo>
                  <a:cubicBezTo>
                    <a:pt x="17024" y="1622"/>
                    <a:pt x="17057" y="1381"/>
                    <a:pt x="17057" y="1006"/>
                  </a:cubicBezTo>
                  <a:cubicBezTo>
                    <a:pt x="17057" y="791"/>
                    <a:pt x="17155" y="563"/>
                    <a:pt x="17347" y="322"/>
                  </a:cubicBezTo>
                  <a:cubicBezTo>
                    <a:pt x="17508" y="107"/>
                    <a:pt x="17638" y="0"/>
                    <a:pt x="17734" y="0"/>
                  </a:cubicBezTo>
                  <a:cubicBezTo>
                    <a:pt x="17895" y="0"/>
                    <a:pt x="18232" y="215"/>
                    <a:pt x="18748" y="644"/>
                  </a:cubicBezTo>
                  <a:cubicBezTo>
                    <a:pt x="19135" y="992"/>
                    <a:pt x="19425" y="1274"/>
                    <a:pt x="19618" y="1488"/>
                  </a:cubicBezTo>
                  <a:cubicBezTo>
                    <a:pt x="19714" y="1596"/>
                    <a:pt x="20054" y="1824"/>
                    <a:pt x="20634" y="2172"/>
                  </a:cubicBezTo>
                  <a:cubicBezTo>
                    <a:pt x="21085" y="2440"/>
                    <a:pt x="21309" y="2668"/>
                    <a:pt x="21309" y="2856"/>
                  </a:cubicBezTo>
                  <a:cubicBezTo>
                    <a:pt x="21309" y="2990"/>
                    <a:pt x="21181" y="3365"/>
                    <a:pt x="20922" y="3982"/>
                  </a:cubicBezTo>
                  <a:close/>
                  <a:moveTo>
                    <a:pt x="20922" y="398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5" name="AutoShape 62"/>
            <p:cNvSpPr>
              <a:spLocks/>
            </p:cNvSpPr>
            <p:nvPr/>
          </p:nvSpPr>
          <p:spPr bwMode="auto">
            <a:xfrm>
              <a:off x="6792758" y="1991003"/>
              <a:ext cx="23994" cy="15315"/>
            </a:xfrm>
            <a:custGeom>
              <a:avLst/>
              <a:gdLst/>
              <a:ahLst/>
              <a:cxnLst/>
              <a:rect l="0" t="0" r="r" b="b"/>
              <a:pathLst>
                <a:path w="21600" h="21600">
                  <a:moveTo>
                    <a:pt x="21600" y="17337"/>
                  </a:moveTo>
                  <a:cubicBezTo>
                    <a:pt x="21600" y="18284"/>
                    <a:pt x="21479" y="18948"/>
                    <a:pt x="21238" y="19325"/>
                  </a:cubicBezTo>
                  <a:cubicBezTo>
                    <a:pt x="19785" y="17053"/>
                    <a:pt x="17551" y="16770"/>
                    <a:pt x="14523" y="18473"/>
                  </a:cubicBezTo>
                  <a:cubicBezTo>
                    <a:pt x="10531" y="20558"/>
                    <a:pt x="8290" y="21600"/>
                    <a:pt x="7807" y="21600"/>
                  </a:cubicBezTo>
                  <a:cubicBezTo>
                    <a:pt x="5503" y="21600"/>
                    <a:pt x="3631" y="20653"/>
                    <a:pt x="2177" y="18756"/>
                  </a:cubicBezTo>
                  <a:cubicBezTo>
                    <a:pt x="723" y="16864"/>
                    <a:pt x="0" y="14398"/>
                    <a:pt x="0" y="11368"/>
                  </a:cubicBezTo>
                  <a:cubicBezTo>
                    <a:pt x="0" y="8907"/>
                    <a:pt x="723" y="6441"/>
                    <a:pt x="2177" y="3980"/>
                  </a:cubicBezTo>
                  <a:cubicBezTo>
                    <a:pt x="3631" y="1328"/>
                    <a:pt x="5141" y="0"/>
                    <a:pt x="6715" y="0"/>
                  </a:cubicBezTo>
                  <a:cubicBezTo>
                    <a:pt x="9013" y="0"/>
                    <a:pt x="11374" y="1233"/>
                    <a:pt x="13793" y="3694"/>
                  </a:cubicBezTo>
                  <a:cubicBezTo>
                    <a:pt x="15977" y="5969"/>
                    <a:pt x="17608" y="8716"/>
                    <a:pt x="18700" y="11937"/>
                  </a:cubicBezTo>
                  <a:cubicBezTo>
                    <a:pt x="18820" y="12315"/>
                    <a:pt x="18998" y="12884"/>
                    <a:pt x="19239" y="13643"/>
                  </a:cubicBezTo>
                  <a:cubicBezTo>
                    <a:pt x="19487" y="14023"/>
                    <a:pt x="19785" y="14398"/>
                    <a:pt x="20146" y="14779"/>
                  </a:cubicBezTo>
                  <a:cubicBezTo>
                    <a:pt x="21118" y="16106"/>
                    <a:pt x="21600" y="16959"/>
                    <a:pt x="21600" y="17337"/>
                  </a:cubicBezTo>
                  <a:close/>
                  <a:moveTo>
                    <a:pt x="21600" y="1733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6" name="AutoShape 63"/>
            <p:cNvSpPr>
              <a:spLocks/>
            </p:cNvSpPr>
            <p:nvPr/>
          </p:nvSpPr>
          <p:spPr bwMode="auto">
            <a:xfrm>
              <a:off x="6878523" y="2150280"/>
              <a:ext cx="52582" cy="71981"/>
            </a:xfrm>
            <a:custGeom>
              <a:avLst/>
              <a:gdLst/>
              <a:ahLst/>
              <a:cxnLst/>
              <a:rect l="0" t="0" r="r" b="b"/>
              <a:pathLst>
                <a:path w="21600" h="21600">
                  <a:moveTo>
                    <a:pt x="5753" y="3978"/>
                  </a:moveTo>
                  <a:cubicBezTo>
                    <a:pt x="5975" y="4018"/>
                    <a:pt x="6144" y="4079"/>
                    <a:pt x="6255" y="4161"/>
                  </a:cubicBezTo>
                  <a:cubicBezTo>
                    <a:pt x="5864" y="3835"/>
                    <a:pt x="5669" y="3447"/>
                    <a:pt x="5669" y="2998"/>
                  </a:cubicBezTo>
                  <a:cubicBezTo>
                    <a:pt x="5669" y="999"/>
                    <a:pt x="6978" y="0"/>
                    <a:pt x="9591" y="0"/>
                  </a:cubicBezTo>
                  <a:cubicBezTo>
                    <a:pt x="11259" y="0"/>
                    <a:pt x="12677" y="551"/>
                    <a:pt x="13843" y="1652"/>
                  </a:cubicBezTo>
                  <a:cubicBezTo>
                    <a:pt x="16400" y="4059"/>
                    <a:pt x="17736" y="5303"/>
                    <a:pt x="17847" y="5385"/>
                  </a:cubicBezTo>
                  <a:cubicBezTo>
                    <a:pt x="19792" y="6812"/>
                    <a:pt x="20932" y="8057"/>
                    <a:pt x="21268" y="9117"/>
                  </a:cubicBezTo>
                  <a:cubicBezTo>
                    <a:pt x="21489" y="9729"/>
                    <a:pt x="21600" y="11422"/>
                    <a:pt x="21600" y="14196"/>
                  </a:cubicBezTo>
                  <a:cubicBezTo>
                    <a:pt x="21600" y="16277"/>
                    <a:pt x="21268" y="17888"/>
                    <a:pt x="20600" y="19030"/>
                  </a:cubicBezTo>
                  <a:cubicBezTo>
                    <a:pt x="19544" y="20743"/>
                    <a:pt x="17681" y="21600"/>
                    <a:pt x="15012" y="21600"/>
                  </a:cubicBezTo>
                  <a:cubicBezTo>
                    <a:pt x="14068" y="21600"/>
                    <a:pt x="13204" y="21315"/>
                    <a:pt x="12426" y="20743"/>
                  </a:cubicBezTo>
                  <a:cubicBezTo>
                    <a:pt x="12149" y="20540"/>
                    <a:pt x="11621" y="20030"/>
                    <a:pt x="10842" y="19213"/>
                  </a:cubicBezTo>
                  <a:lnTo>
                    <a:pt x="6672" y="16522"/>
                  </a:lnTo>
                  <a:cubicBezTo>
                    <a:pt x="6561" y="16481"/>
                    <a:pt x="6115" y="16420"/>
                    <a:pt x="5336" y="16338"/>
                  </a:cubicBezTo>
                  <a:cubicBezTo>
                    <a:pt x="4669" y="16256"/>
                    <a:pt x="4170" y="16113"/>
                    <a:pt x="3835" y="15910"/>
                  </a:cubicBezTo>
                  <a:cubicBezTo>
                    <a:pt x="3613" y="15787"/>
                    <a:pt x="3473" y="15522"/>
                    <a:pt x="3418" y="15114"/>
                  </a:cubicBezTo>
                  <a:cubicBezTo>
                    <a:pt x="3362" y="14666"/>
                    <a:pt x="3307" y="14339"/>
                    <a:pt x="3251" y="14135"/>
                  </a:cubicBezTo>
                  <a:cubicBezTo>
                    <a:pt x="2974" y="13442"/>
                    <a:pt x="2333" y="12932"/>
                    <a:pt x="1332" y="12605"/>
                  </a:cubicBezTo>
                  <a:cubicBezTo>
                    <a:pt x="443" y="12320"/>
                    <a:pt x="0" y="11749"/>
                    <a:pt x="0" y="10892"/>
                  </a:cubicBezTo>
                  <a:cubicBezTo>
                    <a:pt x="0" y="9791"/>
                    <a:pt x="609" y="8934"/>
                    <a:pt x="1834" y="8322"/>
                  </a:cubicBezTo>
                  <a:cubicBezTo>
                    <a:pt x="3056" y="7669"/>
                    <a:pt x="3668" y="7200"/>
                    <a:pt x="3668" y="6915"/>
                  </a:cubicBezTo>
                  <a:cubicBezTo>
                    <a:pt x="3668" y="6669"/>
                    <a:pt x="3558" y="6343"/>
                    <a:pt x="3336" y="5936"/>
                  </a:cubicBezTo>
                  <a:cubicBezTo>
                    <a:pt x="3056" y="5568"/>
                    <a:pt x="2919" y="5119"/>
                    <a:pt x="2919" y="4590"/>
                  </a:cubicBezTo>
                  <a:cubicBezTo>
                    <a:pt x="2919" y="4181"/>
                    <a:pt x="3668" y="3978"/>
                    <a:pt x="5170" y="3978"/>
                  </a:cubicBezTo>
                  <a:cubicBezTo>
                    <a:pt x="5447" y="3978"/>
                    <a:pt x="5643" y="3978"/>
                    <a:pt x="5753" y="3978"/>
                  </a:cubicBezTo>
                  <a:close/>
                  <a:moveTo>
                    <a:pt x="5753" y="397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7" name="AutoShape 64"/>
            <p:cNvSpPr>
              <a:spLocks/>
            </p:cNvSpPr>
            <p:nvPr/>
          </p:nvSpPr>
          <p:spPr bwMode="auto">
            <a:xfrm>
              <a:off x="6866271" y="2154364"/>
              <a:ext cx="9700" cy="15826"/>
            </a:xfrm>
            <a:custGeom>
              <a:avLst/>
              <a:gdLst/>
              <a:ahLst/>
              <a:cxnLst/>
              <a:rect l="0" t="0" r="r" b="b"/>
              <a:pathLst>
                <a:path w="21600" h="21600">
                  <a:moveTo>
                    <a:pt x="17638" y="17167"/>
                  </a:moveTo>
                  <a:cubicBezTo>
                    <a:pt x="16157" y="20122"/>
                    <a:pt x="13952" y="21600"/>
                    <a:pt x="11024" y="21600"/>
                  </a:cubicBezTo>
                  <a:cubicBezTo>
                    <a:pt x="9250" y="21600"/>
                    <a:pt x="7045" y="20675"/>
                    <a:pt x="4410" y="18829"/>
                  </a:cubicBezTo>
                  <a:cubicBezTo>
                    <a:pt x="1464" y="16799"/>
                    <a:pt x="0" y="14678"/>
                    <a:pt x="0" y="12462"/>
                  </a:cubicBezTo>
                  <a:cubicBezTo>
                    <a:pt x="0" y="9693"/>
                    <a:pt x="1464" y="7017"/>
                    <a:pt x="4410" y="4430"/>
                  </a:cubicBezTo>
                  <a:cubicBezTo>
                    <a:pt x="7631" y="1478"/>
                    <a:pt x="11162" y="0"/>
                    <a:pt x="14986" y="0"/>
                  </a:cubicBezTo>
                  <a:cubicBezTo>
                    <a:pt x="17345" y="0"/>
                    <a:pt x="18947" y="831"/>
                    <a:pt x="19843" y="2492"/>
                  </a:cubicBezTo>
                  <a:cubicBezTo>
                    <a:pt x="20429" y="3602"/>
                    <a:pt x="21014" y="5999"/>
                    <a:pt x="21600" y="9693"/>
                  </a:cubicBezTo>
                  <a:cubicBezTo>
                    <a:pt x="20429" y="11536"/>
                    <a:pt x="19102" y="14031"/>
                    <a:pt x="17638" y="17167"/>
                  </a:cubicBezTo>
                  <a:close/>
                  <a:moveTo>
                    <a:pt x="17638" y="1716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8" name="AutoShape 65"/>
            <p:cNvSpPr>
              <a:spLocks/>
            </p:cNvSpPr>
            <p:nvPr/>
          </p:nvSpPr>
          <p:spPr bwMode="auto">
            <a:xfrm>
              <a:off x="6878523" y="2150280"/>
              <a:ext cx="9189" cy="9700"/>
            </a:xfrm>
            <a:custGeom>
              <a:avLst/>
              <a:gdLst/>
              <a:ahLst/>
              <a:cxnLst/>
              <a:rect l="0" t="0" r="r" b="b"/>
              <a:pathLst>
                <a:path w="21600" h="21600">
                  <a:moveTo>
                    <a:pt x="16313" y="3023"/>
                  </a:moveTo>
                  <a:cubicBezTo>
                    <a:pt x="19838" y="5328"/>
                    <a:pt x="21600" y="8203"/>
                    <a:pt x="21600" y="11666"/>
                  </a:cubicBezTo>
                  <a:cubicBezTo>
                    <a:pt x="21600" y="13101"/>
                    <a:pt x="20306" y="15119"/>
                    <a:pt x="17756" y="17711"/>
                  </a:cubicBezTo>
                  <a:cubicBezTo>
                    <a:pt x="15188" y="20304"/>
                    <a:pt x="12956" y="21600"/>
                    <a:pt x="11025" y="21600"/>
                  </a:cubicBezTo>
                  <a:cubicBezTo>
                    <a:pt x="7838" y="21600"/>
                    <a:pt x="5119" y="20013"/>
                    <a:pt x="2869" y="16846"/>
                  </a:cubicBezTo>
                  <a:cubicBezTo>
                    <a:pt x="956" y="14254"/>
                    <a:pt x="0" y="11666"/>
                    <a:pt x="0" y="9069"/>
                  </a:cubicBezTo>
                  <a:cubicBezTo>
                    <a:pt x="0" y="3023"/>
                    <a:pt x="2400" y="0"/>
                    <a:pt x="7200" y="0"/>
                  </a:cubicBezTo>
                  <a:cubicBezTo>
                    <a:pt x="10069" y="0"/>
                    <a:pt x="13106" y="1009"/>
                    <a:pt x="16313" y="3023"/>
                  </a:cubicBezTo>
                  <a:close/>
                  <a:moveTo>
                    <a:pt x="16313" y="302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89" name="AutoShape 66"/>
            <p:cNvSpPr>
              <a:spLocks/>
            </p:cNvSpPr>
            <p:nvPr/>
          </p:nvSpPr>
          <p:spPr bwMode="auto">
            <a:xfrm>
              <a:off x="6796842" y="2068600"/>
              <a:ext cx="17357" cy="12252"/>
            </a:xfrm>
            <a:custGeom>
              <a:avLst/>
              <a:gdLst/>
              <a:ahLst/>
              <a:cxnLst/>
              <a:rect l="0" t="0" r="r" b="b"/>
              <a:pathLst>
                <a:path w="21600" h="21600">
                  <a:moveTo>
                    <a:pt x="15753" y="0"/>
                  </a:moveTo>
                  <a:cubicBezTo>
                    <a:pt x="16428" y="0"/>
                    <a:pt x="18384" y="1890"/>
                    <a:pt x="21600" y="5666"/>
                  </a:cubicBezTo>
                  <a:cubicBezTo>
                    <a:pt x="21431" y="6140"/>
                    <a:pt x="20498" y="9563"/>
                    <a:pt x="18801" y="15938"/>
                  </a:cubicBezTo>
                  <a:cubicBezTo>
                    <a:pt x="13550" y="19714"/>
                    <a:pt x="9142" y="21600"/>
                    <a:pt x="5589" y="21600"/>
                  </a:cubicBezTo>
                  <a:cubicBezTo>
                    <a:pt x="4239" y="21600"/>
                    <a:pt x="2968" y="20894"/>
                    <a:pt x="1777" y="19478"/>
                  </a:cubicBezTo>
                  <a:cubicBezTo>
                    <a:pt x="596" y="18059"/>
                    <a:pt x="0" y="16879"/>
                    <a:pt x="0" y="15938"/>
                  </a:cubicBezTo>
                  <a:cubicBezTo>
                    <a:pt x="0" y="12394"/>
                    <a:pt x="2452" y="8736"/>
                    <a:pt x="7365" y="4956"/>
                  </a:cubicBezTo>
                  <a:cubicBezTo>
                    <a:pt x="11435" y="1654"/>
                    <a:pt x="14225" y="0"/>
                    <a:pt x="15753" y="0"/>
                  </a:cubicBezTo>
                  <a:close/>
                  <a:moveTo>
                    <a:pt x="15753"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0" name="AutoShape 67"/>
            <p:cNvSpPr>
              <a:spLocks/>
            </p:cNvSpPr>
            <p:nvPr/>
          </p:nvSpPr>
          <p:spPr bwMode="auto">
            <a:xfrm>
              <a:off x="6739666" y="1995087"/>
              <a:ext cx="19399" cy="45945"/>
            </a:xfrm>
            <a:custGeom>
              <a:avLst/>
              <a:gdLst/>
              <a:ahLst/>
              <a:cxnLst/>
              <a:rect l="0" t="0" r="r" b="b"/>
              <a:pathLst>
                <a:path w="21600" h="21600">
                  <a:moveTo>
                    <a:pt x="1565" y="0"/>
                  </a:moveTo>
                  <a:cubicBezTo>
                    <a:pt x="7200" y="253"/>
                    <a:pt x="10983" y="3108"/>
                    <a:pt x="12913" y="8564"/>
                  </a:cubicBezTo>
                  <a:cubicBezTo>
                    <a:pt x="13357" y="9705"/>
                    <a:pt x="14991" y="11070"/>
                    <a:pt x="17809" y="12656"/>
                  </a:cubicBezTo>
                  <a:cubicBezTo>
                    <a:pt x="20339" y="14052"/>
                    <a:pt x="21600" y="15448"/>
                    <a:pt x="21600" y="16842"/>
                  </a:cubicBezTo>
                  <a:cubicBezTo>
                    <a:pt x="21600" y="17794"/>
                    <a:pt x="20704" y="18809"/>
                    <a:pt x="18922" y="19887"/>
                  </a:cubicBezTo>
                  <a:cubicBezTo>
                    <a:pt x="16852" y="21029"/>
                    <a:pt x="14696" y="21600"/>
                    <a:pt x="12470" y="21600"/>
                  </a:cubicBezTo>
                  <a:cubicBezTo>
                    <a:pt x="7870" y="21600"/>
                    <a:pt x="4530" y="19602"/>
                    <a:pt x="2452" y="15606"/>
                  </a:cubicBezTo>
                  <a:cubicBezTo>
                    <a:pt x="817" y="12625"/>
                    <a:pt x="0" y="9104"/>
                    <a:pt x="0" y="5043"/>
                  </a:cubicBezTo>
                  <a:cubicBezTo>
                    <a:pt x="0" y="3012"/>
                    <a:pt x="0" y="1934"/>
                    <a:pt x="0" y="1807"/>
                  </a:cubicBezTo>
                  <a:cubicBezTo>
                    <a:pt x="157" y="919"/>
                    <a:pt x="670" y="316"/>
                    <a:pt x="1565" y="0"/>
                  </a:cubicBezTo>
                  <a:close/>
                  <a:moveTo>
                    <a:pt x="1565"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1" name="AutoShape 68"/>
            <p:cNvSpPr>
              <a:spLocks/>
            </p:cNvSpPr>
            <p:nvPr/>
          </p:nvSpPr>
          <p:spPr bwMode="auto">
            <a:xfrm>
              <a:off x="6747834" y="2072684"/>
              <a:ext cx="23994" cy="24504"/>
            </a:xfrm>
            <a:custGeom>
              <a:avLst/>
              <a:gdLst/>
              <a:ahLst/>
              <a:cxnLst/>
              <a:rect l="0" t="0" r="r" b="b"/>
              <a:pathLst>
                <a:path w="21600" h="21600">
                  <a:moveTo>
                    <a:pt x="6900" y="0"/>
                  </a:moveTo>
                  <a:cubicBezTo>
                    <a:pt x="10531" y="0"/>
                    <a:pt x="13977" y="2202"/>
                    <a:pt x="17246" y="6603"/>
                  </a:cubicBezTo>
                  <a:cubicBezTo>
                    <a:pt x="20153" y="10414"/>
                    <a:pt x="21600" y="13568"/>
                    <a:pt x="21600" y="16066"/>
                  </a:cubicBezTo>
                  <a:cubicBezTo>
                    <a:pt x="21600" y="16780"/>
                    <a:pt x="21479" y="17495"/>
                    <a:pt x="21238" y="18208"/>
                  </a:cubicBezTo>
                  <a:cubicBezTo>
                    <a:pt x="19664" y="18922"/>
                    <a:pt x="17246" y="19697"/>
                    <a:pt x="13977" y="20531"/>
                  </a:cubicBezTo>
                  <a:lnTo>
                    <a:pt x="9438" y="21600"/>
                  </a:lnTo>
                  <a:cubicBezTo>
                    <a:pt x="4723" y="21600"/>
                    <a:pt x="2361" y="20232"/>
                    <a:pt x="2361" y="17495"/>
                  </a:cubicBezTo>
                  <a:cubicBezTo>
                    <a:pt x="2844" y="16303"/>
                    <a:pt x="3085" y="15412"/>
                    <a:pt x="3085" y="14817"/>
                  </a:cubicBezTo>
                  <a:cubicBezTo>
                    <a:pt x="3085" y="13390"/>
                    <a:pt x="2602" y="11603"/>
                    <a:pt x="1631" y="9461"/>
                  </a:cubicBezTo>
                  <a:cubicBezTo>
                    <a:pt x="546" y="7319"/>
                    <a:pt x="0" y="5951"/>
                    <a:pt x="0" y="5356"/>
                  </a:cubicBezTo>
                  <a:cubicBezTo>
                    <a:pt x="0" y="3927"/>
                    <a:pt x="1028" y="2617"/>
                    <a:pt x="3085" y="1429"/>
                  </a:cubicBezTo>
                  <a:cubicBezTo>
                    <a:pt x="4659" y="476"/>
                    <a:pt x="5928" y="0"/>
                    <a:pt x="6900" y="0"/>
                  </a:cubicBezTo>
                  <a:close/>
                  <a:moveTo>
                    <a:pt x="6900"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2" name="AutoShape 69"/>
            <p:cNvSpPr>
              <a:spLocks/>
            </p:cNvSpPr>
            <p:nvPr/>
          </p:nvSpPr>
          <p:spPr bwMode="auto">
            <a:xfrm>
              <a:off x="6747834" y="2097188"/>
              <a:ext cx="28588" cy="16336"/>
            </a:xfrm>
            <a:custGeom>
              <a:avLst/>
              <a:gdLst/>
              <a:ahLst/>
              <a:cxnLst/>
              <a:rect l="0" t="0" r="r" b="b"/>
              <a:pathLst>
                <a:path w="21600" h="21600">
                  <a:moveTo>
                    <a:pt x="6635" y="5269"/>
                  </a:moveTo>
                  <a:cubicBezTo>
                    <a:pt x="8486" y="2986"/>
                    <a:pt x="9769" y="1581"/>
                    <a:pt x="10493" y="1055"/>
                  </a:cubicBezTo>
                  <a:cubicBezTo>
                    <a:pt x="11620" y="353"/>
                    <a:pt x="13163" y="0"/>
                    <a:pt x="15121" y="0"/>
                  </a:cubicBezTo>
                  <a:cubicBezTo>
                    <a:pt x="19436" y="0"/>
                    <a:pt x="21600" y="2636"/>
                    <a:pt x="21600" y="7903"/>
                  </a:cubicBezTo>
                  <a:cubicBezTo>
                    <a:pt x="21600" y="11767"/>
                    <a:pt x="20105" y="15103"/>
                    <a:pt x="17122" y="17911"/>
                  </a:cubicBezTo>
                  <a:cubicBezTo>
                    <a:pt x="14452" y="20372"/>
                    <a:pt x="11620" y="21600"/>
                    <a:pt x="8636" y="21600"/>
                  </a:cubicBezTo>
                  <a:cubicBezTo>
                    <a:pt x="7094" y="21600"/>
                    <a:pt x="5605" y="20985"/>
                    <a:pt x="4165" y="19757"/>
                  </a:cubicBezTo>
                  <a:cubicBezTo>
                    <a:pt x="2519" y="17999"/>
                    <a:pt x="1133" y="16596"/>
                    <a:pt x="0" y="15543"/>
                  </a:cubicBezTo>
                  <a:cubicBezTo>
                    <a:pt x="0" y="13085"/>
                    <a:pt x="874" y="10889"/>
                    <a:pt x="2622" y="8958"/>
                  </a:cubicBezTo>
                  <a:cubicBezTo>
                    <a:pt x="3550" y="7903"/>
                    <a:pt x="4833" y="6760"/>
                    <a:pt x="6479" y="5532"/>
                  </a:cubicBezTo>
                  <a:cubicBezTo>
                    <a:pt x="6479" y="5357"/>
                    <a:pt x="6533" y="5269"/>
                    <a:pt x="6635" y="5269"/>
                  </a:cubicBezTo>
                  <a:close/>
                  <a:moveTo>
                    <a:pt x="6635" y="526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3" name="AutoShape 70"/>
            <p:cNvSpPr>
              <a:spLocks/>
            </p:cNvSpPr>
            <p:nvPr/>
          </p:nvSpPr>
          <p:spPr bwMode="auto">
            <a:xfrm>
              <a:off x="6756002" y="2113524"/>
              <a:ext cx="22973" cy="11231"/>
            </a:xfrm>
            <a:custGeom>
              <a:avLst/>
              <a:gdLst/>
              <a:ahLst/>
              <a:cxnLst/>
              <a:rect l="0" t="0" r="r" b="b"/>
              <a:pathLst>
                <a:path w="21600" h="21600">
                  <a:moveTo>
                    <a:pt x="0" y="17430"/>
                  </a:moveTo>
                  <a:cubicBezTo>
                    <a:pt x="0" y="13389"/>
                    <a:pt x="2464" y="9344"/>
                    <a:pt x="7392" y="5304"/>
                  </a:cubicBezTo>
                  <a:cubicBezTo>
                    <a:pt x="11558" y="1763"/>
                    <a:pt x="14718" y="0"/>
                    <a:pt x="16864" y="0"/>
                  </a:cubicBezTo>
                  <a:cubicBezTo>
                    <a:pt x="17871" y="0"/>
                    <a:pt x="18943" y="1011"/>
                    <a:pt x="20083" y="3030"/>
                  </a:cubicBezTo>
                  <a:cubicBezTo>
                    <a:pt x="21097" y="4800"/>
                    <a:pt x="21600" y="6315"/>
                    <a:pt x="21600" y="7578"/>
                  </a:cubicBezTo>
                  <a:cubicBezTo>
                    <a:pt x="21600" y="10359"/>
                    <a:pt x="19136" y="13515"/>
                    <a:pt x="14208" y="17056"/>
                  </a:cubicBezTo>
                  <a:cubicBezTo>
                    <a:pt x="9790" y="20085"/>
                    <a:pt x="6823" y="21600"/>
                    <a:pt x="5306" y="21600"/>
                  </a:cubicBezTo>
                  <a:cubicBezTo>
                    <a:pt x="1769" y="21600"/>
                    <a:pt x="0" y="20211"/>
                    <a:pt x="0" y="17430"/>
                  </a:cubicBezTo>
                  <a:close/>
                  <a:moveTo>
                    <a:pt x="0" y="1743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4" name="AutoShape 71"/>
            <p:cNvSpPr>
              <a:spLocks/>
            </p:cNvSpPr>
            <p:nvPr/>
          </p:nvSpPr>
          <p:spPr bwMode="auto">
            <a:xfrm>
              <a:off x="6633481" y="2048179"/>
              <a:ext cx="93422" cy="129668"/>
            </a:xfrm>
            <a:custGeom>
              <a:avLst/>
              <a:gdLst/>
              <a:ahLst/>
              <a:cxnLst/>
              <a:rect l="0" t="0" r="r" b="b"/>
              <a:pathLst>
                <a:path w="21600" h="21600">
                  <a:moveTo>
                    <a:pt x="0" y="20785"/>
                  </a:moveTo>
                  <a:lnTo>
                    <a:pt x="2495" y="13313"/>
                  </a:lnTo>
                  <a:cubicBezTo>
                    <a:pt x="2838" y="13404"/>
                    <a:pt x="3294" y="13517"/>
                    <a:pt x="3859" y="13653"/>
                  </a:cubicBezTo>
                  <a:cubicBezTo>
                    <a:pt x="5052" y="13902"/>
                    <a:pt x="5804" y="14027"/>
                    <a:pt x="6118" y="14027"/>
                  </a:cubicBezTo>
                  <a:cubicBezTo>
                    <a:pt x="6588" y="14027"/>
                    <a:pt x="6965" y="13834"/>
                    <a:pt x="7247" y="13449"/>
                  </a:cubicBezTo>
                  <a:cubicBezTo>
                    <a:pt x="7498" y="13110"/>
                    <a:pt x="7623" y="12680"/>
                    <a:pt x="7623" y="12159"/>
                  </a:cubicBezTo>
                  <a:cubicBezTo>
                    <a:pt x="7623" y="11570"/>
                    <a:pt x="7169" y="11038"/>
                    <a:pt x="6259" y="10563"/>
                  </a:cubicBezTo>
                  <a:cubicBezTo>
                    <a:pt x="4941" y="9861"/>
                    <a:pt x="4204" y="9430"/>
                    <a:pt x="4046" y="9272"/>
                  </a:cubicBezTo>
                  <a:cubicBezTo>
                    <a:pt x="4329" y="9182"/>
                    <a:pt x="5004" y="8944"/>
                    <a:pt x="6070" y="8559"/>
                  </a:cubicBezTo>
                  <a:cubicBezTo>
                    <a:pt x="6980" y="8174"/>
                    <a:pt x="7436" y="7812"/>
                    <a:pt x="7436" y="7472"/>
                  </a:cubicBezTo>
                  <a:cubicBezTo>
                    <a:pt x="7436" y="6883"/>
                    <a:pt x="6855" y="6181"/>
                    <a:pt x="5693" y="5366"/>
                  </a:cubicBezTo>
                  <a:cubicBezTo>
                    <a:pt x="5631" y="5321"/>
                    <a:pt x="5585" y="5287"/>
                    <a:pt x="5553" y="5264"/>
                  </a:cubicBezTo>
                  <a:lnTo>
                    <a:pt x="6024" y="3226"/>
                  </a:lnTo>
                  <a:cubicBezTo>
                    <a:pt x="6180" y="3272"/>
                    <a:pt x="6291" y="3294"/>
                    <a:pt x="6353" y="3294"/>
                  </a:cubicBezTo>
                  <a:cubicBezTo>
                    <a:pt x="6949" y="3294"/>
                    <a:pt x="7623" y="2751"/>
                    <a:pt x="8377" y="1664"/>
                  </a:cubicBezTo>
                  <a:cubicBezTo>
                    <a:pt x="9129" y="555"/>
                    <a:pt x="9914" y="0"/>
                    <a:pt x="10730" y="0"/>
                  </a:cubicBezTo>
                  <a:cubicBezTo>
                    <a:pt x="10949" y="0"/>
                    <a:pt x="11169" y="45"/>
                    <a:pt x="11388" y="136"/>
                  </a:cubicBezTo>
                  <a:cubicBezTo>
                    <a:pt x="11640" y="227"/>
                    <a:pt x="11765" y="340"/>
                    <a:pt x="11765" y="476"/>
                  </a:cubicBezTo>
                  <a:cubicBezTo>
                    <a:pt x="11765" y="521"/>
                    <a:pt x="11921" y="747"/>
                    <a:pt x="12236" y="1155"/>
                  </a:cubicBezTo>
                  <a:lnTo>
                    <a:pt x="11011" y="4042"/>
                  </a:lnTo>
                  <a:cubicBezTo>
                    <a:pt x="11011" y="4155"/>
                    <a:pt x="11309" y="4449"/>
                    <a:pt x="11907" y="4925"/>
                  </a:cubicBezTo>
                  <a:cubicBezTo>
                    <a:pt x="12471" y="5400"/>
                    <a:pt x="12752" y="5740"/>
                    <a:pt x="12752" y="5944"/>
                  </a:cubicBezTo>
                  <a:cubicBezTo>
                    <a:pt x="12752" y="6125"/>
                    <a:pt x="12440" y="6476"/>
                    <a:pt x="11811" y="6996"/>
                  </a:cubicBezTo>
                  <a:cubicBezTo>
                    <a:pt x="11153" y="7517"/>
                    <a:pt x="10824" y="7891"/>
                    <a:pt x="10824" y="8117"/>
                  </a:cubicBezTo>
                  <a:cubicBezTo>
                    <a:pt x="10824" y="8230"/>
                    <a:pt x="11232" y="8377"/>
                    <a:pt x="12046" y="8559"/>
                  </a:cubicBezTo>
                  <a:cubicBezTo>
                    <a:pt x="12613" y="8695"/>
                    <a:pt x="13223" y="8932"/>
                    <a:pt x="13883" y="9272"/>
                  </a:cubicBezTo>
                  <a:cubicBezTo>
                    <a:pt x="13693" y="9589"/>
                    <a:pt x="13239" y="9895"/>
                    <a:pt x="12517" y="10189"/>
                  </a:cubicBezTo>
                  <a:cubicBezTo>
                    <a:pt x="11890" y="10415"/>
                    <a:pt x="11576" y="10721"/>
                    <a:pt x="11576" y="11106"/>
                  </a:cubicBezTo>
                  <a:lnTo>
                    <a:pt x="11765" y="11276"/>
                  </a:lnTo>
                  <a:cubicBezTo>
                    <a:pt x="11921" y="11389"/>
                    <a:pt x="12094" y="11446"/>
                    <a:pt x="12282" y="11446"/>
                  </a:cubicBezTo>
                  <a:cubicBezTo>
                    <a:pt x="12440" y="11446"/>
                    <a:pt x="12738" y="11378"/>
                    <a:pt x="13177" y="11242"/>
                  </a:cubicBezTo>
                  <a:cubicBezTo>
                    <a:pt x="13616" y="11083"/>
                    <a:pt x="13898" y="11004"/>
                    <a:pt x="14024" y="11004"/>
                  </a:cubicBezTo>
                  <a:cubicBezTo>
                    <a:pt x="14337" y="11004"/>
                    <a:pt x="14651" y="11050"/>
                    <a:pt x="14966" y="11140"/>
                  </a:cubicBezTo>
                  <a:cubicBezTo>
                    <a:pt x="15341" y="11253"/>
                    <a:pt x="15530" y="11400"/>
                    <a:pt x="15530" y="11581"/>
                  </a:cubicBezTo>
                  <a:cubicBezTo>
                    <a:pt x="15530" y="11649"/>
                    <a:pt x="15436" y="11876"/>
                    <a:pt x="15247" y="12261"/>
                  </a:cubicBezTo>
                  <a:cubicBezTo>
                    <a:pt x="15059" y="12623"/>
                    <a:pt x="14966" y="12849"/>
                    <a:pt x="14966" y="12940"/>
                  </a:cubicBezTo>
                  <a:cubicBezTo>
                    <a:pt x="14966" y="13030"/>
                    <a:pt x="14997" y="13132"/>
                    <a:pt x="15059" y="13245"/>
                  </a:cubicBezTo>
                  <a:cubicBezTo>
                    <a:pt x="15153" y="13427"/>
                    <a:pt x="15309" y="13517"/>
                    <a:pt x="15530" y="13517"/>
                  </a:cubicBezTo>
                  <a:cubicBezTo>
                    <a:pt x="15969" y="13517"/>
                    <a:pt x="16282" y="12883"/>
                    <a:pt x="16471" y="11615"/>
                  </a:cubicBezTo>
                  <a:cubicBezTo>
                    <a:pt x="16659" y="10325"/>
                    <a:pt x="17287" y="9679"/>
                    <a:pt x="18354" y="9679"/>
                  </a:cubicBezTo>
                  <a:cubicBezTo>
                    <a:pt x="19389" y="9679"/>
                    <a:pt x="20219" y="10144"/>
                    <a:pt x="20848" y="11072"/>
                  </a:cubicBezTo>
                  <a:cubicBezTo>
                    <a:pt x="21350" y="11842"/>
                    <a:pt x="21600" y="12713"/>
                    <a:pt x="21600" y="13687"/>
                  </a:cubicBezTo>
                  <a:cubicBezTo>
                    <a:pt x="21600" y="14049"/>
                    <a:pt x="21161" y="14966"/>
                    <a:pt x="20282" y="16438"/>
                  </a:cubicBezTo>
                  <a:cubicBezTo>
                    <a:pt x="20001" y="17117"/>
                    <a:pt x="19216" y="18045"/>
                    <a:pt x="17929" y="19223"/>
                  </a:cubicBezTo>
                  <a:cubicBezTo>
                    <a:pt x="17427" y="19766"/>
                    <a:pt x="17067" y="20140"/>
                    <a:pt x="16848" y="20343"/>
                  </a:cubicBezTo>
                  <a:cubicBezTo>
                    <a:pt x="16502" y="20683"/>
                    <a:pt x="16032" y="20921"/>
                    <a:pt x="15436" y="21056"/>
                  </a:cubicBezTo>
                  <a:cubicBezTo>
                    <a:pt x="14056" y="21419"/>
                    <a:pt x="13114" y="21600"/>
                    <a:pt x="12613" y="21600"/>
                  </a:cubicBezTo>
                  <a:cubicBezTo>
                    <a:pt x="12046" y="21600"/>
                    <a:pt x="11482" y="21271"/>
                    <a:pt x="10918" y="20615"/>
                  </a:cubicBezTo>
                  <a:cubicBezTo>
                    <a:pt x="10322" y="19936"/>
                    <a:pt x="9883" y="19596"/>
                    <a:pt x="9600" y="19596"/>
                  </a:cubicBezTo>
                  <a:cubicBezTo>
                    <a:pt x="8282" y="20094"/>
                    <a:pt x="7513" y="20343"/>
                    <a:pt x="7294" y="20343"/>
                  </a:cubicBezTo>
                  <a:cubicBezTo>
                    <a:pt x="6572" y="20343"/>
                    <a:pt x="6197" y="20094"/>
                    <a:pt x="6164" y="19596"/>
                  </a:cubicBezTo>
                  <a:cubicBezTo>
                    <a:pt x="6164" y="19075"/>
                    <a:pt x="5976" y="18815"/>
                    <a:pt x="5599" y="18815"/>
                  </a:cubicBezTo>
                  <a:cubicBezTo>
                    <a:pt x="4785" y="18815"/>
                    <a:pt x="3827" y="19166"/>
                    <a:pt x="2730" y="19867"/>
                  </a:cubicBezTo>
                  <a:cubicBezTo>
                    <a:pt x="1976" y="20343"/>
                    <a:pt x="1066" y="20649"/>
                    <a:pt x="0" y="20785"/>
                  </a:cubicBezTo>
                  <a:close/>
                  <a:moveTo>
                    <a:pt x="0" y="2078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5" name="AutoShape 72"/>
            <p:cNvSpPr>
              <a:spLocks/>
            </p:cNvSpPr>
            <p:nvPr/>
          </p:nvSpPr>
          <p:spPr bwMode="auto">
            <a:xfrm>
              <a:off x="6764170" y="2121692"/>
              <a:ext cx="17868" cy="13273"/>
            </a:xfrm>
            <a:custGeom>
              <a:avLst/>
              <a:gdLst/>
              <a:ahLst/>
              <a:cxnLst/>
              <a:rect l="0" t="0" r="r" b="b"/>
              <a:pathLst>
                <a:path w="21600" h="21600">
                  <a:moveTo>
                    <a:pt x="5585" y="21600"/>
                  </a:moveTo>
                  <a:cubicBezTo>
                    <a:pt x="1858" y="21600"/>
                    <a:pt x="0" y="19857"/>
                    <a:pt x="0" y="16364"/>
                  </a:cubicBezTo>
                  <a:cubicBezTo>
                    <a:pt x="0" y="12001"/>
                    <a:pt x="2427" y="8182"/>
                    <a:pt x="7282" y="4910"/>
                  </a:cubicBezTo>
                  <a:cubicBezTo>
                    <a:pt x="10838" y="2508"/>
                    <a:pt x="14403" y="873"/>
                    <a:pt x="17959" y="0"/>
                  </a:cubicBezTo>
                  <a:lnTo>
                    <a:pt x="20149" y="0"/>
                  </a:lnTo>
                  <a:cubicBezTo>
                    <a:pt x="20149" y="2402"/>
                    <a:pt x="20633" y="4584"/>
                    <a:pt x="21600" y="6547"/>
                  </a:cubicBezTo>
                  <a:cubicBezTo>
                    <a:pt x="21600" y="8508"/>
                    <a:pt x="19742" y="11454"/>
                    <a:pt x="16015" y="15385"/>
                  </a:cubicBezTo>
                  <a:cubicBezTo>
                    <a:pt x="11976" y="19531"/>
                    <a:pt x="8496" y="21600"/>
                    <a:pt x="5585" y="21600"/>
                  </a:cubicBezTo>
                  <a:close/>
                  <a:moveTo>
                    <a:pt x="5585"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6" name="AutoShape 73"/>
            <p:cNvSpPr>
              <a:spLocks/>
            </p:cNvSpPr>
            <p:nvPr/>
          </p:nvSpPr>
          <p:spPr bwMode="auto">
            <a:xfrm>
              <a:off x="6727414" y="2154364"/>
              <a:ext cx="23483" cy="25525"/>
            </a:xfrm>
            <a:custGeom>
              <a:avLst/>
              <a:gdLst/>
              <a:ahLst/>
              <a:cxnLst/>
              <a:rect l="0" t="0" r="r" b="b"/>
              <a:pathLst>
                <a:path w="21600" h="21600">
                  <a:moveTo>
                    <a:pt x="3566" y="8229"/>
                  </a:moveTo>
                  <a:cubicBezTo>
                    <a:pt x="3940" y="7657"/>
                    <a:pt x="4321" y="7143"/>
                    <a:pt x="4696" y="6687"/>
                  </a:cubicBezTo>
                  <a:cubicBezTo>
                    <a:pt x="8078" y="2228"/>
                    <a:pt x="10829" y="0"/>
                    <a:pt x="12957" y="0"/>
                  </a:cubicBezTo>
                  <a:cubicBezTo>
                    <a:pt x="18218" y="0"/>
                    <a:pt x="20844" y="3716"/>
                    <a:pt x="20844" y="11143"/>
                  </a:cubicBezTo>
                  <a:lnTo>
                    <a:pt x="21600" y="15943"/>
                  </a:lnTo>
                  <a:cubicBezTo>
                    <a:pt x="21600" y="19714"/>
                    <a:pt x="18841" y="21600"/>
                    <a:pt x="13331" y="21600"/>
                  </a:cubicBezTo>
                  <a:cubicBezTo>
                    <a:pt x="11835" y="21600"/>
                    <a:pt x="9325" y="20856"/>
                    <a:pt x="5818" y="19370"/>
                  </a:cubicBezTo>
                  <a:cubicBezTo>
                    <a:pt x="5070" y="19029"/>
                    <a:pt x="4446" y="18742"/>
                    <a:pt x="3940" y="18514"/>
                  </a:cubicBezTo>
                  <a:cubicBezTo>
                    <a:pt x="1313" y="17142"/>
                    <a:pt x="0" y="15886"/>
                    <a:pt x="0" y="14743"/>
                  </a:cubicBezTo>
                  <a:cubicBezTo>
                    <a:pt x="0" y="13601"/>
                    <a:pt x="1189" y="11430"/>
                    <a:pt x="3566" y="8229"/>
                  </a:cubicBezTo>
                  <a:close/>
                  <a:moveTo>
                    <a:pt x="3566" y="822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7" name="AutoShape 74"/>
            <p:cNvSpPr>
              <a:spLocks/>
            </p:cNvSpPr>
            <p:nvPr/>
          </p:nvSpPr>
          <p:spPr bwMode="auto">
            <a:xfrm>
              <a:off x="6751918" y="2268717"/>
              <a:ext cx="125584" cy="179697"/>
            </a:xfrm>
            <a:custGeom>
              <a:avLst/>
              <a:gdLst/>
              <a:ahLst/>
              <a:cxnLst/>
              <a:rect l="0" t="0" r="r" b="b"/>
              <a:pathLst>
                <a:path w="21600" h="21600">
                  <a:moveTo>
                    <a:pt x="7189" y="710"/>
                  </a:moveTo>
                  <a:cubicBezTo>
                    <a:pt x="7469" y="710"/>
                    <a:pt x="7820" y="791"/>
                    <a:pt x="8241" y="954"/>
                  </a:cubicBezTo>
                  <a:cubicBezTo>
                    <a:pt x="8475" y="1052"/>
                    <a:pt x="8754" y="1175"/>
                    <a:pt x="9082" y="1321"/>
                  </a:cubicBezTo>
                  <a:cubicBezTo>
                    <a:pt x="9176" y="1272"/>
                    <a:pt x="9223" y="1207"/>
                    <a:pt x="9223" y="1125"/>
                  </a:cubicBezTo>
                  <a:lnTo>
                    <a:pt x="8872" y="318"/>
                  </a:lnTo>
                  <a:cubicBezTo>
                    <a:pt x="8872" y="236"/>
                    <a:pt x="8919" y="163"/>
                    <a:pt x="9012" y="98"/>
                  </a:cubicBezTo>
                  <a:cubicBezTo>
                    <a:pt x="9082" y="33"/>
                    <a:pt x="9151" y="0"/>
                    <a:pt x="9223" y="0"/>
                  </a:cubicBezTo>
                  <a:cubicBezTo>
                    <a:pt x="9409" y="0"/>
                    <a:pt x="9806" y="269"/>
                    <a:pt x="10414" y="808"/>
                  </a:cubicBezTo>
                  <a:cubicBezTo>
                    <a:pt x="11046" y="1345"/>
                    <a:pt x="12005" y="1615"/>
                    <a:pt x="13290" y="1615"/>
                  </a:cubicBezTo>
                  <a:cubicBezTo>
                    <a:pt x="13991" y="1615"/>
                    <a:pt x="14821" y="1419"/>
                    <a:pt x="15780" y="1027"/>
                  </a:cubicBezTo>
                  <a:cubicBezTo>
                    <a:pt x="16715" y="620"/>
                    <a:pt x="17428" y="416"/>
                    <a:pt x="17918" y="416"/>
                  </a:cubicBezTo>
                  <a:cubicBezTo>
                    <a:pt x="18526" y="416"/>
                    <a:pt x="19065" y="677"/>
                    <a:pt x="19532" y="1199"/>
                  </a:cubicBezTo>
                  <a:cubicBezTo>
                    <a:pt x="19766" y="1460"/>
                    <a:pt x="19929" y="1729"/>
                    <a:pt x="20022" y="2006"/>
                  </a:cubicBezTo>
                  <a:cubicBezTo>
                    <a:pt x="20022" y="2332"/>
                    <a:pt x="19660" y="2585"/>
                    <a:pt x="18936" y="2764"/>
                  </a:cubicBezTo>
                  <a:cubicBezTo>
                    <a:pt x="18211" y="2944"/>
                    <a:pt x="17848" y="3131"/>
                    <a:pt x="17848" y="3327"/>
                  </a:cubicBezTo>
                  <a:cubicBezTo>
                    <a:pt x="17848" y="3360"/>
                    <a:pt x="18013" y="3433"/>
                    <a:pt x="18340" y="3547"/>
                  </a:cubicBezTo>
                  <a:cubicBezTo>
                    <a:pt x="18644" y="3678"/>
                    <a:pt x="18795" y="3841"/>
                    <a:pt x="18795" y="4036"/>
                  </a:cubicBezTo>
                  <a:cubicBezTo>
                    <a:pt x="18795" y="4085"/>
                    <a:pt x="18106" y="4721"/>
                    <a:pt x="16726" y="5944"/>
                  </a:cubicBezTo>
                  <a:cubicBezTo>
                    <a:pt x="15300" y="7233"/>
                    <a:pt x="14506" y="7983"/>
                    <a:pt x="14342" y="8195"/>
                  </a:cubicBezTo>
                  <a:lnTo>
                    <a:pt x="14342" y="8635"/>
                  </a:lnTo>
                  <a:cubicBezTo>
                    <a:pt x="14599" y="8538"/>
                    <a:pt x="15032" y="8301"/>
                    <a:pt x="15639" y="7926"/>
                  </a:cubicBezTo>
                  <a:cubicBezTo>
                    <a:pt x="16061" y="7665"/>
                    <a:pt x="16422" y="7535"/>
                    <a:pt x="16726" y="7535"/>
                  </a:cubicBezTo>
                  <a:cubicBezTo>
                    <a:pt x="17100" y="7535"/>
                    <a:pt x="17392" y="7640"/>
                    <a:pt x="17603" y="7853"/>
                  </a:cubicBezTo>
                  <a:cubicBezTo>
                    <a:pt x="17814" y="8015"/>
                    <a:pt x="18000" y="8293"/>
                    <a:pt x="18165" y="8684"/>
                  </a:cubicBezTo>
                  <a:cubicBezTo>
                    <a:pt x="18258" y="8929"/>
                    <a:pt x="18503" y="9076"/>
                    <a:pt x="18900" y="9125"/>
                  </a:cubicBezTo>
                  <a:cubicBezTo>
                    <a:pt x="19251" y="9173"/>
                    <a:pt x="19426" y="9336"/>
                    <a:pt x="19426" y="9614"/>
                  </a:cubicBezTo>
                  <a:cubicBezTo>
                    <a:pt x="19426" y="9679"/>
                    <a:pt x="19333" y="9834"/>
                    <a:pt x="19145" y="10079"/>
                  </a:cubicBezTo>
                  <a:cubicBezTo>
                    <a:pt x="18982" y="10307"/>
                    <a:pt x="18912" y="10445"/>
                    <a:pt x="18936" y="10494"/>
                  </a:cubicBezTo>
                  <a:cubicBezTo>
                    <a:pt x="18982" y="10494"/>
                    <a:pt x="19065" y="10511"/>
                    <a:pt x="19181" y="10543"/>
                  </a:cubicBezTo>
                  <a:cubicBezTo>
                    <a:pt x="19274" y="10543"/>
                    <a:pt x="19508" y="10478"/>
                    <a:pt x="19882" y="10348"/>
                  </a:cubicBezTo>
                  <a:cubicBezTo>
                    <a:pt x="20256" y="10217"/>
                    <a:pt x="20548" y="10152"/>
                    <a:pt x="20759" y="10152"/>
                  </a:cubicBezTo>
                  <a:cubicBezTo>
                    <a:pt x="21133" y="10152"/>
                    <a:pt x="21321" y="10307"/>
                    <a:pt x="21321" y="10617"/>
                  </a:cubicBezTo>
                  <a:cubicBezTo>
                    <a:pt x="21321" y="10845"/>
                    <a:pt x="21249" y="11065"/>
                    <a:pt x="21110" y="11277"/>
                  </a:cubicBezTo>
                  <a:cubicBezTo>
                    <a:pt x="21110" y="11293"/>
                    <a:pt x="21192" y="11383"/>
                    <a:pt x="21355" y="11546"/>
                  </a:cubicBezTo>
                  <a:cubicBezTo>
                    <a:pt x="21519" y="11709"/>
                    <a:pt x="21600" y="11929"/>
                    <a:pt x="21600" y="12207"/>
                  </a:cubicBezTo>
                  <a:cubicBezTo>
                    <a:pt x="21600" y="12549"/>
                    <a:pt x="21414" y="12794"/>
                    <a:pt x="21040" y="12941"/>
                  </a:cubicBezTo>
                  <a:cubicBezTo>
                    <a:pt x="20643" y="13087"/>
                    <a:pt x="20444" y="13242"/>
                    <a:pt x="20444" y="13405"/>
                  </a:cubicBezTo>
                  <a:cubicBezTo>
                    <a:pt x="20444" y="13422"/>
                    <a:pt x="20537" y="13536"/>
                    <a:pt x="20723" y="13748"/>
                  </a:cubicBezTo>
                  <a:cubicBezTo>
                    <a:pt x="20888" y="13960"/>
                    <a:pt x="20970" y="14115"/>
                    <a:pt x="20970" y="14213"/>
                  </a:cubicBezTo>
                  <a:cubicBezTo>
                    <a:pt x="20970" y="14506"/>
                    <a:pt x="20829" y="14783"/>
                    <a:pt x="20548" y="15044"/>
                  </a:cubicBezTo>
                  <a:cubicBezTo>
                    <a:pt x="20245" y="15289"/>
                    <a:pt x="20093" y="15460"/>
                    <a:pt x="20093" y="15558"/>
                  </a:cubicBezTo>
                  <a:cubicBezTo>
                    <a:pt x="20093" y="15721"/>
                    <a:pt x="20256" y="15843"/>
                    <a:pt x="20584" y="15925"/>
                  </a:cubicBezTo>
                  <a:cubicBezTo>
                    <a:pt x="20888" y="16006"/>
                    <a:pt x="21040" y="16218"/>
                    <a:pt x="21040" y="16561"/>
                  </a:cubicBezTo>
                  <a:cubicBezTo>
                    <a:pt x="21040" y="16838"/>
                    <a:pt x="20864" y="17075"/>
                    <a:pt x="20514" y="17270"/>
                  </a:cubicBezTo>
                  <a:cubicBezTo>
                    <a:pt x="20280" y="17319"/>
                    <a:pt x="20117" y="17360"/>
                    <a:pt x="20022" y="17393"/>
                  </a:cubicBezTo>
                  <a:cubicBezTo>
                    <a:pt x="19859" y="17425"/>
                    <a:pt x="19743" y="17523"/>
                    <a:pt x="19671" y="17686"/>
                  </a:cubicBezTo>
                  <a:cubicBezTo>
                    <a:pt x="19485" y="18094"/>
                    <a:pt x="19286" y="18387"/>
                    <a:pt x="19076" y="18567"/>
                  </a:cubicBezTo>
                  <a:cubicBezTo>
                    <a:pt x="18819" y="18779"/>
                    <a:pt x="18480" y="18885"/>
                    <a:pt x="18059" y="18885"/>
                  </a:cubicBezTo>
                  <a:cubicBezTo>
                    <a:pt x="17802" y="18885"/>
                    <a:pt x="17404" y="18844"/>
                    <a:pt x="16866" y="18762"/>
                  </a:cubicBezTo>
                  <a:cubicBezTo>
                    <a:pt x="16329" y="18681"/>
                    <a:pt x="15943" y="18640"/>
                    <a:pt x="15710" y="18640"/>
                  </a:cubicBezTo>
                  <a:cubicBezTo>
                    <a:pt x="15499" y="18640"/>
                    <a:pt x="15254" y="18689"/>
                    <a:pt x="14973" y="18787"/>
                  </a:cubicBezTo>
                  <a:cubicBezTo>
                    <a:pt x="14692" y="18885"/>
                    <a:pt x="14553" y="18966"/>
                    <a:pt x="14553" y="19032"/>
                  </a:cubicBezTo>
                  <a:cubicBezTo>
                    <a:pt x="14553" y="19129"/>
                    <a:pt x="14787" y="19300"/>
                    <a:pt x="15254" y="19545"/>
                  </a:cubicBezTo>
                  <a:cubicBezTo>
                    <a:pt x="15698" y="19806"/>
                    <a:pt x="15920" y="19977"/>
                    <a:pt x="15920" y="20059"/>
                  </a:cubicBezTo>
                  <a:cubicBezTo>
                    <a:pt x="15920" y="20238"/>
                    <a:pt x="15767" y="20393"/>
                    <a:pt x="15463" y="20524"/>
                  </a:cubicBezTo>
                  <a:cubicBezTo>
                    <a:pt x="15394" y="20540"/>
                    <a:pt x="15324" y="20556"/>
                    <a:pt x="15254" y="20573"/>
                  </a:cubicBezTo>
                  <a:cubicBezTo>
                    <a:pt x="14739" y="20719"/>
                    <a:pt x="14459" y="20825"/>
                    <a:pt x="14411" y="20890"/>
                  </a:cubicBezTo>
                  <a:cubicBezTo>
                    <a:pt x="14132" y="21233"/>
                    <a:pt x="13957" y="21421"/>
                    <a:pt x="13885" y="21453"/>
                  </a:cubicBezTo>
                  <a:cubicBezTo>
                    <a:pt x="13746" y="21551"/>
                    <a:pt x="13535" y="21600"/>
                    <a:pt x="13255" y="21600"/>
                  </a:cubicBezTo>
                  <a:cubicBezTo>
                    <a:pt x="12998" y="21600"/>
                    <a:pt x="12776" y="21502"/>
                    <a:pt x="12588" y="21306"/>
                  </a:cubicBezTo>
                  <a:cubicBezTo>
                    <a:pt x="12402" y="21127"/>
                    <a:pt x="12332" y="20972"/>
                    <a:pt x="12379" y="20842"/>
                  </a:cubicBezTo>
                  <a:lnTo>
                    <a:pt x="12203" y="20842"/>
                  </a:lnTo>
                  <a:cubicBezTo>
                    <a:pt x="11923" y="21005"/>
                    <a:pt x="11735" y="21086"/>
                    <a:pt x="11642" y="21086"/>
                  </a:cubicBezTo>
                  <a:cubicBezTo>
                    <a:pt x="11314" y="21086"/>
                    <a:pt x="11080" y="20988"/>
                    <a:pt x="10940" y="20793"/>
                  </a:cubicBezTo>
                  <a:cubicBezTo>
                    <a:pt x="10871" y="20695"/>
                    <a:pt x="10835" y="20564"/>
                    <a:pt x="10835" y="20401"/>
                  </a:cubicBezTo>
                  <a:cubicBezTo>
                    <a:pt x="10905" y="19896"/>
                    <a:pt x="10917" y="19594"/>
                    <a:pt x="10871" y="19496"/>
                  </a:cubicBezTo>
                  <a:cubicBezTo>
                    <a:pt x="10754" y="19105"/>
                    <a:pt x="10649" y="18803"/>
                    <a:pt x="10554" y="18591"/>
                  </a:cubicBezTo>
                  <a:cubicBezTo>
                    <a:pt x="10414" y="18200"/>
                    <a:pt x="10262" y="17931"/>
                    <a:pt x="10099" y="17784"/>
                  </a:cubicBezTo>
                  <a:cubicBezTo>
                    <a:pt x="9421" y="17230"/>
                    <a:pt x="8906" y="16781"/>
                    <a:pt x="8556" y="16438"/>
                  </a:cubicBezTo>
                  <a:cubicBezTo>
                    <a:pt x="8065" y="15998"/>
                    <a:pt x="7702" y="15607"/>
                    <a:pt x="7469" y="15264"/>
                  </a:cubicBezTo>
                  <a:cubicBezTo>
                    <a:pt x="7446" y="15199"/>
                    <a:pt x="7423" y="15150"/>
                    <a:pt x="7398" y="15118"/>
                  </a:cubicBezTo>
                  <a:cubicBezTo>
                    <a:pt x="7352" y="15036"/>
                    <a:pt x="7305" y="14963"/>
                    <a:pt x="7258" y="14897"/>
                  </a:cubicBezTo>
                  <a:cubicBezTo>
                    <a:pt x="7165" y="14751"/>
                    <a:pt x="7037" y="14620"/>
                    <a:pt x="6872" y="14506"/>
                  </a:cubicBezTo>
                  <a:cubicBezTo>
                    <a:pt x="6616" y="14310"/>
                    <a:pt x="6346" y="14229"/>
                    <a:pt x="6067" y="14261"/>
                  </a:cubicBezTo>
                  <a:cubicBezTo>
                    <a:pt x="5763" y="14278"/>
                    <a:pt x="5505" y="14147"/>
                    <a:pt x="5294" y="13870"/>
                  </a:cubicBezTo>
                  <a:cubicBezTo>
                    <a:pt x="5061" y="13593"/>
                    <a:pt x="4874" y="13454"/>
                    <a:pt x="4734" y="13454"/>
                  </a:cubicBezTo>
                  <a:cubicBezTo>
                    <a:pt x="4360" y="13520"/>
                    <a:pt x="4115" y="13552"/>
                    <a:pt x="3997" y="13552"/>
                  </a:cubicBezTo>
                  <a:cubicBezTo>
                    <a:pt x="3693" y="13552"/>
                    <a:pt x="3272" y="13267"/>
                    <a:pt x="2735" y="12696"/>
                  </a:cubicBezTo>
                  <a:cubicBezTo>
                    <a:pt x="2220" y="12076"/>
                    <a:pt x="1916" y="11709"/>
                    <a:pt x="1823" y="11595"/>
                  </a:cubicBezTo>
                  <a:cubicBezTo>
                    <a:pt x="1286" y="11139"/>
                    <a:pt x="900" y="10796"/>
                    <a:pt x="666" y="10568"/>
                  </a:cubicBezTo>
                  <a:cubicBezTo>
                    <a:pt x="222" y="10177"/>
                    <a:pt x="0" y="9826"/>
                    <a:pt x="0" y="9516"/>
                  </a:cubicBezTo>
                  <a:cubicBezTo>
                    <a:pt x="0" y="8961"/>
                    <a:pt x="152" y="8423"/>
                    <a:pt x="456" y="7902"/>
                  </a:cubicBezTo>
                  <a:cubicBezTo>
                    <a:pt x="760" y="7363"/>
                    <a:pt x="1111" y="7094"/>
                    <a:pt x="1508" y="7094"/>
                  </a:cubicBezTo>
                  <a:cubicBezTo>
                    <a:pt x="2466" y="7094"/>
                    <a:pt x="3238" y="7673"/>
                    <a:pt x="3822" y="8831"/>
                  </a:cubicBezTo>
                  <a:cubicBezTo>
                    <a:pt x="4407" y="9972"/>
                    <a:pt x="4863" y="10543"/>
                    <a:pt x="5190" y="10543"/>
                  </a:cubicBezTo>
                  <a:cubicBezTo>
                    <a:pt x="6872" y="10543"/>
                    <a:pt x="7715" y="9940"/>
                    <a:pt x="7715" y="8733"/>
                  </a:cubicBezTo>
                  <a:cubicBezTo>
                    <a:pt x="7715" y="8603"/>
                    <a:pt x="7924" y="8529"/>
                    <a:pt x="8346" y="8513"/>
                  </a:cubicBezTo>
                  <a:cubicBezTo>
                    <a:pt x="8743" y="8497"/>
                    <a:pt x="8942" y="8366"/>
                    <a:pt x="8942" y="8122"/>
                  </a:cubicBezTo>
                  <a:cubicBezTo>
                    <a:pt x="8942" y="7893"/>
                    <a:pt x="8708" y="7616"/>
                    <a:pt x="8241" y="7290"/>
                  </a:cubicBezTo>
                  <a:cubicBezTo>
                    <a:pt x="7749" y="6964"/>
                    <a:pt x="7504" y="6678"/>
                    <a:pt x="7504" y="6434"/>
                  </a:cubicBezTo>
                  <a:cubicBezTo>
                    <a:pt x="7504" y="6369"/>
                    <a:pt x="7691" y="6165"/>
                    <a:pt x="8065" y="5822"/>
                  </a:cubicBezTo>
                  <a:cubicBezTo>
                    <a:pt x="8205" y="5871"/>
                    <a:pt x="8615" y="6075"/>
                    <a:pt x="9293" y="6434"/>
                  </a:cubicBezTo>
                  <a:cubicBezTo>
                    <a:pt x="9409" y="6434"/>
                    <a:pt x="9502" y="6360"/>
                    <a:pt x="9573" y="6214"/>
                  </a:cubicBezTo>
                  <a:cubicBezTo>
                    <a:pt x="9573" y="6018"/>
                    <a:pt x="9432" y="5773"/>
                    <a:pt x="9151" y="5480"/>
                  </a:cubicBezTo>
                  <a:cubicBezTo>
                    <a:pt x="8872" y="5186"/>
                    <a:pt x="8638" y="5039"/>
                    <a:pt x="8450" y="5039"/>
                  </a:cubicBezTo>
                  <a:cubicBezTo>
                    <a:pt x="8147" y="5039"/>
                    <a:pt x="7878" y="5088"/>
                    <a:pt x="7645" y="5186"/>
                  </a:cubicBezTo>
                  <a:cubicBezTo>
                    <a:pt x="7434" y="5284"/>
                    <a:pt x="7235" y="5333"/>
                    <a:pt x="7047" y="5333"/>
                  </a:cubicBezTo>
                  <a:cubicBezTo>
                    <a:pt x="6487" y="5333"/>
                    <a:pt x="5915" y="5048"/>
                    <a:pt x="5330" y="4477"/>
                  </a:cubicBezTo>
                  <a:cubicBezTo>
                    <a:pt x="4816" y="3988"/>
                    <a:pt x="4559" y="3629"/>
                    <a:pt x="4559" y="3400"/>
                  </a:cubicBezTo>
                  <a:cubicBezTo>
                    <a:pt x="4559" y="3221"/>
                    <a:pt x="4734" y="3131"/>
                    <a:pt x="5085" y="3131"/>
                  </a:cubicBezTo>
                  <a:cubicBezTo>
                    <a:pt x="5201" y="3131"/>
                    <a:pt x="5482" y="3213"/>
                    <a:pt x="5926" y="3376"/>
                  </a:cubicBezTo>
                  <a:cubicBezTo>
                    <a:pt x="6371" y="3539"/>
                    <a:pt x="6663" y="3621"/>
                    <a:pt x="6802" y="3621"/>
                  </a:cubicBezTo>
                  <a:cubicBezTo>
                    <a:pt x="6967" y="3621"/>
                    <a:pt x="7106" y="3604"/>
                    <a:pt x="7223" y="3572"/>
                  </a:cubicBezTo>
                  <a:lnTo>
                    <a:pt x="7223" y="3229"/>
                  </a:lnTo>
                  <a:cubicBezTo>
                    <a:pt x="7176" y="3164"/>
                    <a:pt x="6884" y="2968"/>
                    <a:pt x="6346" y="2642"/>
                  </a:cubicBezTo>
                  <a:cubicBezTo>
                    <a:pt x="5856" y="2365"/>
                    <a:pt x="5611" y="2145"/>
                    <a:pt x="5611" y="1982"/>
                  </a:cubicBezTo>
                  <a:cubicBezTo>
                    <a:pt x="5611" y="1819"/>
                    <a:pt x="5833" y="1566"/>
                    <a:pt x="6276" y="1223"/>
                  </a:cubicBezTo>
                  <a:cubicBezTo>
                    <a:pt x="6697" y="881"/>
                    <a:pt x="7001" y="710"/>
                    <a:pt x="7189" y="710"/>
                  </a:cubicBezTo>
                  <a:close/>
                  <a:moveTo>
                    <a:pt x="7189" y="71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8" name="AutoShape 75"/>
            <p:cNvSpPr>
              <a:spLocks/>
            </p:cNvSpPr>
            <p:nvPr/>
          </p:nvSpPr>
          <p:spPr bwMode="auto">
            <a:xfrm>
              <a:off x="6821346" y="2256465"/>
              <a:ext cx="28588" cy="19399"/>
            </a:xfrm>
            <a:custGeom>
              <a:avLst/>
              <a:gdLst/>
              <a:ahLst/>
              <a:cxnLst/>
              <a:rect l="0" t="0" r="r" b="b"/>
              <a:pathLst>
                <a:path w="21600" h="21600">
                  <a:moveTo>
                    <a:pt x="21297" y="0"/>
                  </a:moveTo>
                  <a:lnTo>
                    <a:pt x="21600" y="2252"/>
                  </a:lnTo>
                  <a:cubicBezTo>
                    <a:pt x="21600" y="3901"/>
                    <a:pt x="20792" y="5999"/>
                    <a:pt x="19170" y="8550"/>
                  </a:cubicBezTo>
                  <a:cubicBezTo>
                    <a:pt x="18255" y="9901"/>
                    <a:pt x="17494" y="11027"/>
                    <a:pt x="16888" y="11924"/>
                  </a:cubicBezTo>
                  <a:cubicBezTo>
                    <a:pt x="16484" y="12975"/>
                    <a:pt x="16127" y="13949"/>
                    <a:pt x="15824" y="14851"/>
                  </a:cubicBezTo>
                  <a:cubicBezTo>
                    <a:pt x="14707" y="16951"/>
                    <a:pt x="13643" y="18526"/>
                    <a:pt x="12627" y="19575"/>
                  </a:cubicBezTo>
                  <a:cubicBezTo>
                    <a:pt x="11106" y="20927"/>
                    <a:pt x="9181" y="21600"/>
                    <a:pt x="6845" y="21600"/>
                  </a:cubicBezTo>
                  <a:cubicBezTo>
                    <a:pt x="5734" y="21600"/>
                    <a:pt x="4314" y="20701"/>
                    <a:pt x="2585" y="18899"/>
                  </a:cubicBezTo>
                  <a:cubicBezTo>
                    <a:pt x="862" y="17250"/>
                    <a:pt x="0" y="15975"/>
                    <a:pt x="0" y="15073"/>
                  </a:cubicBezTo>
                  <a:cubicBezTo>
                    <a:pt x="0" y="13274"/>
                    <a:pt x="2638" y="10499"/>
                    <a:pt x="7909" y="6751"/>
                  </a:cubicBezTo>
                  <a:cubicBezTo>
                    <a:pt x="11665" y="4051"/>
                    <a:pt x="15266" y="1801"/>
                    <a:pt x="18712" y="0"/>
                  </a:cubicBezTo>
                  <a:cubicBezTo>
                    <a:pt x="18712" y="0"/>
                    <a:pt x="21297" y="0"/>
                    <a:pt x="21297" y="0"/>
                  </a:cubicBezTo>
                  <a:close/>
                  <a:moveTo>
                    <a:pt x="21297"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99" name="AutoShape 76"/>
            <p:cNvSpPr>
              <a:spLocks/>
            </p:cNvSpPr>
            <p:nvPr/>
          </p:nvSpPr>
          <p:spPr bwMode="auto">
            <a:xfrm>
              <a:off x="6666153" y="2264633"/>
              <a:ext cx="51050" cy="56666"/>
            </a:xfrm>
            <a:custGeom>
              <a:avLst/>
              <a:gdLst/>
              <a:ahLst/>
              <a:cxnLst/>
              <a:rect l="0" t="0" r="r" b="b"/>
              <a:pathLst>
                <a:path w="21600" h="21600">
                  <a:moveTo>
                    <a:pt x="18513" y="2314"/>
                  </a:moveTo>
                  <a:cubicBezTo>
                    <a:pt x="20572" y="3754"/>
                    <a:pt x="21600" y="5169"/>
                    <a:pt x="21600" y="6557"/>
                  </a:cubicBezTo>
                  <a:cubicBezTo>
                    <a:pt x="21600" y="7894"/>
                    <a:pt x="21027" y="9515"/>
                    <a:pt x="19886" y="11418"/>
                  </a:cubicBezTo>
                  <a:cubicBezTo>
                    <a:pt x="19256" y="12446"/>
                    <a:pt x="18255" y="14066"/>
                    <a:pt x="16886" y="16277"/>
                  </a:cubicBezTo>
                  <a:cubicBezTo>
                    <a:pt x="16028" y="17769"/>
                    <a:pt x="15114" y="19029"/>
                    <a:pt x="14143" y="20058"/>
                  </a:cubicBezTo>
                  <a:cubicBezTo>
                    <a:pt x="13112" y="21087"/>
                    <a:pt x="12198" y="21600"/>
                    <a:pt x="11398" y="21600"/>
                  </a:cubicBezTo>
                  <a:cubicBezTo>
                    <a:pt x="11227" y="21600"/>
                    <a:pt x="11086" y="21600"/>
                    <a:pt x="10969" y="21600"/>
                  </a:cubicBezTo>
                  <a:cubicBezTo>
                    <a:pt x="9543" y="21138"/>
                    <a:pt x="8629" y="19852"/>
                    <a:pt x="8227" y="17743"/>
                  </a:cubicBezTo>
                  <a:cubicBezTo>
                    <a:pt x="7942" y="14863"/>
                    <a:pt x="7540" y="12832"/>
                    <a:pt x="7028" y="11649"/>
                  </a:cubicBezTo>
                  <a:cubicBezTo>
                    <a:pt x="6399" y="10261"/>
                    <a:pt x="5515" y="9026"/>
                    <a:pt x="4370" y="7946"/>
                  </a:cubicBezTo>
                  <a:cubicBezTo>
                    <a:pt x="3743" y="7381"/>
                    <a:pt x="2284" y="6300"/>
                    <a:pt x="0" y="4706"/>
                  </a:cubicBezTo>
                  <a:cubicBezTo>
                    <a:pt x="1885" y="2958"/>
                    <a:pt x="3656" y="1748"/>
                    <a:pt x="5314" y="1080"/>
                  </a:cubicBezTo>
                  <a:cubicBezTo>
                    <a:pt x="7028" y="360"/>
                    <a:pt x="9198" y="0"/>
                    <a:pt x="11826" y="0"/>
                  </a:cubicBezTo>
                  <a:cubicBezTo>
                    <a:pt x="14113" y="0"/>
                    <a:pt x="16343" y="771"/>
                    <a:pt x="18513" y="2314"/>
                  </a:cubicBezTo>
                  <a:close/>
                  <a:moveTo>
                    <a:pt x="18513" y="231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0" name="AutoShape 77"/>
            <p:cNvSpPr>
              <a:spLocks/>
            </p:cNvSpPr>
            <p:nvPr/>
          </p:nvSpPr>
          <p:spPr bwMode="auto">
            <a:xfrm>
              <a:off x="6384355" y="2285053"/>
              <a:ext cx="383899" cy="318044"/>
            </a:xfrm>
            <a:custGeom>
              <a:avLst/>
              <a:gdLst/>
              <a:ahLst/>
              <a:cxnLst/>
              <a:rect l="0" t="0" r="r" b="b"/>
              <a:pathLst>
                <a:path w="21600" h="21600">
                  <a:moveTo>
                    <a:pt x="12246" y="1052"/>
                  </a:moveTo>
                  <a:cubicBezTo>
                    <a:pt x="12422" y="1218"/>
                    <a:pt x="12613" y="1472"/>
                    <a:pt x="12820" y="1814"/>
                  </a:cubicBezTo>
                  <a:cubicBezTo>
                    <a:pt x="13241" y="2479"/>
                    <a:pt x="13451" y="3018"/>
                    <a:pt x="13451" y="3434"/>
                  </a:cubicBezTo>
                  <a:cubicBezTo>
                    <a:pt x="13451" y="3535"/>
                    <a:pt x="13405" y="3734"/>
                    <a:pt x="13313" y="4029"/>
                  </a:cubicBezTo>
                  <a:cubicBezTo>
                    <a:pt x="13222" y="4315"/>
                    <a:pt x="13176" y="4477"/>
                    <a:pt x="13176" y="4514"/>
                  </a:cubicBezTo>
                  <a:cubicBezTo>
                    <a:pt x="13176" y="4542"/>
                    <a:pt x="13210" y="4597"/>
                    <a:pt x="13279" y="4680"/>
                  </a:cubicBezTo>
                  <a:cubicBezTo>
                    <a:pt x="13348" y="4763"/>
                    <a:pt x="13382" y="4837"/>
                    <a:pt x="13382" y="4902"/>
                  </a:cubicBezTo>
                  <a:cubicBezTo>
                    <a:pt x="13382" y="4948"/>
                    <a:pt x="13359" y="5045"/>
                    <a:pt x="13313" y="5192"/>
                  </a:cubicBezTo>
                  <a:cubicBezTo>
                    <a:pt x="13313" y="5211"/>
                    <a:pt x="13290" y="5299"/>
                    <a:pt x="13245" y="5456"/>
                  </a:cubicBezTo>
                  <a:cubicBezTo>
                    <a:pt x="13245" y="5585"/>
                    <a:pt x="13287" y="5691"/>
                    <a:pt x="13371" y="5774"/>
                  </a:cubicBezTo>
                  <a:cubicBezTo>
                    <a:pt x="13455" y="5848"/>
                    <a:pt x="13497" y="5917"/>
                    <a:pt x="13497" y="5982"/>
                  </a:cubicBezTo>
                  <a:cubicBezTo>
                    <a:pt x="13497" y="6046"/>
                    <a:pt x="13444" y="6185"/>
                    <a:pt x="13336" y="6397"/>
                  </a:cubicBezTo>
                  <a:cubicBezTo>
                    <a:pt x="13229" y="6609"/>
                    <a:pt x="13176" y="6766"/>
                    <a:pt x="13176" y="6868"/>
                  </a:cubicBezTo>
                  <a:cubicBezTo>
                    <a:pt x="13176" y="6988"/>
                    <a:pt x="13214" y="7103"/>
                    <a:pt x="13290" y="7214"/>
                  </a:cubicBezTo>
                  <a:cubicBezTo>
                    <a:pt x="13382" y="7343"/>
                    <a:pt x="13501" y="7408"/>
                    <a:pt x="13646" y="7408"/>
                  </a:cubicBezTo>
                  <a:cubicBezTo>
                    <a:pt x="13715" y="7408"/>
                    <a:pt x="13849" y="7288"/>
                    <a:pt x="14048" y="7048"/>
                  </a:cubicBezTo>
                  <a:cubicBezTo>
                    <a:pt x="14247" y="6798"/>
                    <a:pt x="14346" y="6627"/>
                    <a:pt x="14346" y="6535"/>
                  </a:cubicBezTo>
                  <a:cubicBezTo>
                    <a:pt x="14346" y="6508"/>
                    <a:pt x="14331" y="6434"/>
                    <a:pt x="14300" y="6314"/>
                  </a:cubicBezTo>
                  <a:cubicBezTo>
                    <a:pt x="14270" y="6194"/>
                    <a:pt x="14255" y="6069"/>
                    <a:pt x="14255" y="5940"/>
                  </a:cubicBezTo>
                  <a:lnTo>
                    <a:pt x="14278" y="5469"/>
                  </a:lnTo>
                  <a:cubicBezTo>
                    <a:pt x="14278" y="5423"/>
                    <a:pt x="14308" y="5271"/>
                    <a:pt x="14369" y="5012"/>
                  </a:cubicBezTo>
                  <a:cubicBezTo>
                    <a:pt x="14423" y="4745"/>
                    <a:pt x="14450" y="4532"/>
                    <a:pt x="14450" y="4375"/>
                  </a:cubicBezTo>
                  <a:cubicBezTo>
                    <a:pt x="14450" y="4292"/>
                    <a:pt x="14434" y="4154"/>
                    <a:pt x="14404" y="3960"/>
                  </a:cubicBezTo>
                  <a:cubicBezTo>
                    <a:pt x="14365" y="3775"/>
                    <a:pt x="14346" y="3651"/>
                    <a:pt x="14346" y="3586"/>
                  </a:cubicBezTo>
                  <a:cubicBezTo>
                    <a:pt x="14346" y="3494"/>
                    <a:pt x="14365" y="3360"/>
                    <a:pt x="14404" y="3185"/>
                  </a:cubicBezTo>
                  <a:cubicBezTo>
                    <a:pt x="14434" y="3009"/>
                    <a:pt x="14450" y="2903"/>
                    <a:pt x="14450" y="2866"/>
                  </a:cubicBezTo>
                  <a:lnTo>
                    <a:pt x="14392" y="2008"/>
                  </a:lnTo>
                  <a:cubicBezTo>
                    <a:pt x="14430" y="1740"/>
                    <a:pt x="14450" y="1565"/>
                    <a:pt x="14450" y="1482"/>
                  </a:cubicBezTo>
                  <a:cubicBezTo>
                    <a:pt x="14450" y="1361"/>
                    <a:pt x="14423" y="1255"/>
                    <a:pt x="14369" y="1163"/>
                  </a:cubicBezTo>
                  <a:cubicBezTo>
                    <a:pt x="14308" y="1071"/>
                    <a:pt x="14278" y="1011"/>
                    <a:pt x="14278" y="983"/>
                  </a:cubicBezTo>
                  <a:cubicBezTo>
                    <a:pt x="14278" y="974"/>
                    <a:pt x="14323" y="886"/>
                    <a:pt x="14415" y="720"/>
                  </a:cubicBezTo>
                  <a:cubicBezTo>
                    <a:pt x="14499" y="545"/>
                    <a:pt x="14542" y="305"/>
                    <a:pt x="14542" y="0"/>
                  </a:cubicBezTo>
                  <a:lnTo>
                    <a:pt x="14771" y="0"/>
                  </a:lnTo>
                  <a:cubicBezTo>
                    <a:pt x="14894" y="28"/>
                    <a:pt x="15043" y="92"/>
                    <a:pt x="15219" y="194"/>
                  </a:cubicBezTo>
                  <a:cubicBezTo>
                    <a:pt x="15371" y="295"/>
                    <a:pt x="15467" y="374"/>
                    <a:pt x="15506" y="429"/>
                  </a:cubicBezTo>
                  <a:cubicBezTo>
                    <a:pt x="15521" y="448"/>
                    <a:pt x="15555" y="554"/>
                    <a:pt x="15609" y="748"/>
                  </a:cubicBezTo>
                  <a:cubicBezTo>
                    <a:pt x="15640" y="877"/>
                    <a:pt x="15701" y="942"/>
                    <a:pt x="15792" y="942"/>
                  </a:cubicBezTo>
                  <a:cubicBezTo>
                    <a:pt x="15854" y="942"/>
                    <a:pt x="15915" y="905"/>
                    <a:pt x="15976" y="831"/>
                  </a:cubicBezTo>
                  <a:cubicBezTo>
                    <a:pt x="16037" y="748"/>
                    <a:pt x="16079" y="706"/>
                    <a:pt x="16102" y="706"/>
                  </a:cubicBezTo>
                  <a:cubicBezTo>
                    <a:pt x="16187" y="706"/>
                    <a:pt x="16256" y="835"/>
                    <a:pt x="16309" y="1094"/>
                  </a:cubicBezTo>
                  <a:cubicBezTo>
                    <a:pt x="16378" y="1408"/>
                    <a:pt x="16424" y="1583"/>
                    <a:pt x="16447" y="1620"/>
                  </a:cubicBezTo>
                  <a:cubicBezTo>
                    <a:pt x="16722" y="2045"/>
                    <a:pt x="16887" y="2335"/>
                    <a:pt x="16940" y="2492"/>
                  </a:cubicBezTo>
                  <a:cubicBezTo>
                    <a:pt x="17239" y="3379"/>
                    <a:pt x="17388" y="4154"/>
                    <a:pt x="17388" y="4818"/>
                  </a:cubicBezTo>
                  <a:cubicBezTo>
                    <a:pt x="17388" y="4865"/>
                    <a:pt x="17365" y="4994"/>
                    <a:pt x="17319" y="5206"/>
                  </a:cubicBezTo>
                  <a:cubicBezTo>
                    <a:pt x="17273" y="5428"/>
                    <a:pt x="17250" y="5571"/>
                    <a:pt x="17250" y="5635"/>
                  </a:cubicBezTo>
                  <a:lnTo>
                    <a:pt x="17296" y="6743"/>
                  </a:lnTo>
                  <a:lnTo>
                    <a:pt x="17250" y="7048"/>
                  </a:lnTo>
                  <a:cubicBezTo>
                    <a:pt x="17250" y="7334"/>
                    <a:pt x="17357" y="7606"/>
                    <a:pt x="17571" y="7865"/>
                  </a:cubicBezTo>
                  <a:cubicBezTo>
                    <a:pt x="17778" y="8114"/>
                    <a:pt x="17881" y="8442"/>
                    <a:pt x="17881" y="8848"/>
                  </a:cubicBezTo>
                  <a:cubicBezTo>
                    <a:pt x="17881" y="9032"/>
                    <a:pt x="17831" y="9221"/>
                    <a:pt x="17732" y="9415"/>
                  </a:cubicBezTo>
                  <a:cubicBezTo>
                    <a:pt x="17625" y="9628"/>
                    <a:pt x="17571" y="9775"/>
                    <a:pt x="17571" y="9858"/>
                  </a:cubicBezTo>
                  <a:cubicBezTo>
                    <a:pt x="17564" y="10015"/>
                    <a:pt x="17522" y="10200"/>
                    <a:pt x="17445" y="10412"/>
                  </a:cubicBezTo>
                  <a:cubicBezTo>
                    <a:pt x="17376" y="10615"/>
                    <a:pt x="17342" y="10754"/>
                    <a:pt x="17342" y="10828"/>
                  </a:cubicBezTo>
                  <a:cubicBezTo>
                    <a:pt x="17342" y="11077"/>
                    <a:pt x="17472" y="11395"/>
                    <a:pt x="17732" y="11783"/>
                  </a:cubicBezTo>
                  <a:cubicBezTo>
                    <a:pt x="18069" y="12282"/>
                    <a:pt x="18268" y="12591"/>
                    <a:pt x="18329" y="12711"/>
                  </a:cubicBezTo>
                  <a:cubicBezTo>
                    <a:pt x="18337" y="12692"/>
                    <a:pt x="18352" y="12665"/>
                    <a:pt x="18375" y="12628"/>
                  </a:cubicBezTo>
                  <a:cubicBezTo>
                    <a:pt x="18398" y="12581"/>
                    <a:pt x="18425" y="12558"/>
                    <a:pt x="18455" y="12558"/>
                  </a:cubicBezTo>
                  <a:cubicBezTo>
                    <a:pt x="18463" y="12558"/>
                    <a:pt x="18501" y="12683"/>
                    <a:pt x="18570" y="12932"/>
                  </a:cubicBezTo>
                  <a:cubicBezTo>
                    <a:pt x="18677" y="13209"/>
                    <a:pt x="18834" y="13403"/>
                    <a:pt x="19041" y="13514"/>
                  </a:cubicBezTo>
                  <a:cubicBezTo>
                    <a:pt x="19071" y="13477"/>
                    <a:pt x="19106" y="13408"/>
                    <a:pt x="19144" y="13306"/>
                  </a:cubicBezTo>
                  <a:cubicBezTo>
                    <a:pt x="19175" y="13223"/>
                    <a:pt x="19228" y="13182"/>
                    <a:pt x="19305" y="13182"/>
                  </a:cubicBezTo>
                  <a:cubicBezTo>
                    <a:pt x="19327" y="13182"/>
                    <a:pt x="19362" y="13195"/>
                    <a:pt x="19408" y="13223"/>
                  </a:cubicBezTo>
                  <a:cubicBezTo>
                    <a:pt x="19453" y="13251"/>
                    <a:pt x="19496" y="13265"/>
                    <a:pt x="19534" y="13265"/>
                  </a:cubicBezTo>
                  <a:cubicBezTo>
                    <a:pt x="19534" y="13495"/>
                    <a:pt x="19542" y="13634"/>
                    <a:pt x="19557" y="13680"/>
                  </a:cubicBezTo>
                  <a:cubicBezTo>
                    <a:pt x="19595" y="13800"/>
                    <a:pt x="19699" y="13957"/>
                    <a:pt x="19867" y="14151"/>
                  </a:cubicBezTo>
                  <a:cubicBezTo>
                    <a:pt x="19882" y="14169"/>
                    <a:pt x="19897" y="14188"/>
                    <a:pt x="19913" y="14206"/>
                  </a:cubicBezTo>
                  <a:cubicBezTo>
                    <a:pt x="19966" y="14262"/>
                    <a:pt x="20108" y="14437"/>
                    <a:pt x="20338" y="14732"/>
                  </a:cubicBezTo>
                  <a:cubicBezTo>
                    <a:pt x="20521" y="14963"/>
                    <a:pt x="20628" y="15088"/>
                    <a:pt x="20659" y="15106"/>
                  </a:cubicBezTo>
                  <a:cubicBezTo>
                    <a:pt x="20705" y="15124"/>
                    <a:pt x="20770" y="15129"/>
                    <a:pt x="20854" y="15120"/>
                  </a:cubicBezTo>
                  <a:cubicBezTo>
                    <a:pt x="20915" y="15138"/>
                    <a:pt x="20945" y="15212"/>
                    <a:pt x="20945" y="15341"/>
                  </a:cubicBezTo>
                  <a:cubicBezTo>
                    <a:pt x="20945" y="15378"/>
                    <a:pt x="20938" y="15452"/>
                    <a:pt x="20923" y="15563"/>
                  </a:cubicBezTo>
                  <a:cubicBezTo>
                    <a:pt x="20930" y="15674"/>
                    <a:pt x="20969" y="15738"/>
                    <a:pt x="21037" y="15757"/>
                  </a:cubicBezTo>
                  <a:cubicBezTo>
                    <a:pt x="21152" y="15794"/>
                    <a:pt x="21290" y="15826"/>
                    <a:pt x="21451" y="15854"/>
                  </a:cubicBezTo>
                  <a:cubicBezTo>
                    <a:pt x="21550" y="15891"/>
                    <a:pt x="21600" y="16001"/>
                    <a:pt x="21600" y="16186"/>
                  </a:cubicBezTo>
                  <a:cubicBezTo>
                    <a:pt x="21600" y="16325"/>
                    <a:pt x="21573" y="16449"/>
                    <a:pt x="21519" y="16560"/>
                  </a:cubicBezTo>
                  <a:cubicBezTo>
                    <a:pt x="21466" y="16661"/>
                    <a:pt x="21439" y="16772"/>
                    <a:pt x="21439" y="16892"/>
                  </a:cubicBezTo>
                  <a:lnTo>
                    <a:pt x="21485" y="17349"/>
                  </a:lnTo>
                  <a:cubicBezTo>
                    <a:pt x="21485" y="17478"/>
                    <a:pt x="21470" y="17612"/>
                    <a:pt x="21439" y="17751"/>
                  </a:cubicBezTo>
                  <a:cubicBezTo>
                    <a:pt x="21393" y="17926"/>
                    <a:pt x="21336" y="18014"/>
                    <a:pt x="21267" y="18014"/>
                  </a:cubicBezTo>
                  <a:cubicBezTo>
                    <a:pt x="21053" y="18014"/>
                    <a:pt x="20923" y="17908"/>
                    <a:pt x="20877" y="17695"/>
                  </a:cubicBezTo>
                  <a:cubicBezTo>
                    <a:pt x="20862" y="17631"/>
                    <a:pt x="20854" y="17455"/>
                    <a:pt x="20854" y="17169"/>
                  </a:cubicBezTo>
                  <a:lnTo>
                    <a:pt x="20831" y="16878"/>
                  </a:lnTo>
                  <a:cubicBezTo>
                    <a:pt x="20770" y="16980"/>
                    <a:pt x="20724" y="17183"/>
                    <a:pt x="20693" y="17488"/>
                  </a:cubicBezTo>
                  <a:cubicBezTo>
                    <a:pt x="20670" y="17645"/>
                    <a:pt x="20559" y="17723"/>
                    <a:pt x="20360" y="17723"/>
                  </a:cubicBezTo>
                  <a:cubicBezTo>
                    <a:pt x="20093" y="17723"/>
                    <a:pt x="19959" y="17589"/>
                    <a:pt x="19959" y="17321"/>
                  </a:cubicBezTo>
                  <a:lnTo>
                    <a:pt x="20004" y="16865"/>
                  </a:lnTo>
                  <a:cubicBezTo>
                    <a:pt x="20004" y="16782"/>
                    <a:pt x="20004" y="16735"/>
                    <a:pt x="20004" y="16726"/>
                  </a:cubicBezTo>
                  <a:cubicBezTo>
                    <a:pt x="19997" y="16689"/>
                    <a:pt x="19970" y="16671"/>
                    <a:pt x="19924" y="16671"/>
                  </a:cubicBezTo>
                  <a:cubicBezTo>
                    <a:pt x="19794" y="16671"/>
                    <a:pt x="19657" y="16777"/>
                    <a:pt x="19511" y="16989"/>
                  </a:cubicBezTo>
                  <a:cubicBezTo>
                    <a:pt x="19503" y="17008"/>
                    <a:pt x="19496" y="17026"/>
                    <a:pt x="19488" y="17044"/>
                  </a:cubicBezTo>
                  <a:cubicBezTo>
                    <a:pt x="19412" y="17165"/>
                    <a:pt x="19347" y="17289"/>
                    <a:pt x="19293" y="17418"/>
                  </a:cubicBezTo>
                  <a:cubicBezTo>
                    <a:pt x="19278" y="17455"/>
                    <a:pt x="19274" y="17617"/>
                    <a:pt x="19281" y="17903"/>
                  </a:cubicBezTo>
                  <a:cubicBezTo>
                    <a:pt x="19297" y="18143"/>
                    <a:pt x="19255" y="18263"/>
                    <a:pt x="19155" y="18263"/>
                  </a:cubicBezTo>
                  <a:cubicBezTo>
                    <a:pt x="19102" y="18263"/>
                    <a:pt x="19014" y="18217"/>
                    <a:pt x="18891" y="18125"/>
                  </a:cubicBezTo>
                  <a:cubicBezTo>
                    <a:pt x="18769" y="18032"/>
                    <a:pt x="18681" y="17986"/>
                    <a:pt x="18627" y="17986"/>
                  </a:cubicBezTo>
                  <a:cubicBezTo>
                    <a:pt x="18444" y="17986"/>
                    <a:pt x="18348" y="18065"/>
                    <a:pt x="18340" y="18221"/>
                  </a:cubicBezTo>
                  <a:cubicBezTo>
                    <a:pt x="18340" y="18323"/>
                    <a:pt x="18337" y="18517"/>
                    <a:pt x="18329" y="18803"/>
                  </a:cubicBezTo>
                  <a:lnTo>
                    <a:pt x="18329" y="19329"/>
                  </a:lnTo>
                  <a:cubicBezTo>
                    <a:pt x="18398" y="19246"/>
                    <a:pt x="18543" y="19062"/>
                    <a:pt x="18765" y="18775"/>
                  </a:cubicBezTo>
                  <a:cubicBezTo>
                    <a:pt x="18987" y="18526"/>
                    <a:pt x="19167" y="18402"/>
                    <a:pt x="19305" y="18402"/>
                  </a:cubicBezTo>
                  <a:cubicBezTo>
                    <a:pt x="19450" y="18402"/>
                    <a:pt x="19603" y="18508"/>
                    <a:pt x="19764" y="18720"/>
                  </a:cubicBezTo>
                  <a:cubicBezTo>
                    <a:pt x="19894" y="18886"/>
                    <a:pt x="19959" y="19006"/>
                    <a:pt x="19959" y="19080"/>
                  </a:cubicBezTo>
                  <a:cubicBezTo>
                    <a:pt x="19959" y="19265"/>
                    <a:pt x="19878" y="19380"/>
                    <a:pt x="19718" y="19426"/>
                  </a:cubicBezTo>
                  <a:cubicBezTo>
                    <a:pt x="19549" y="19472"/>
                    <a:pt x="19465" y="19551"/>
                    <a:pt x="19465" y="19661"/>
                  </a:cubicBezTo>
                  <a:cubicBezTo>
                    <a:pt x="19465" y="19745"/>
                    <a:pt x="19473" y="19795"/>
                    <a:pt x="19488" y="19814"/>
                  </a:cubicBezTo>
                  <a:cubicBezTo>
                    <a:pt x="19496" y="19832"/>
                    <a:pt x="19519" y="19841"/>
                    <a:pt x="19557" y="19841"/>
                  </a:cubicBezTo>
                  <a:cubicBezTo>
                    <a:pt x="19580" y="19841"/>
                    <a:pt x="19626" y="19819"/>
                    <a:pt x="19695" y="19772"/>
                  </a:cubicBezTo>
                  <a:cubicBezTo>
                    <a:pt x="19771" y="19726"/>
                    <a:pt x="19852" y="19703"/>
                    <a:pt x="19936" y="19703"/>
                  </a:cubicBezTo>
                  <a:cubicBezTo>
                    <a:pt x="20058" y="19703"/>
                    <a:pt x="20173" y="19768"/>
                    <a:pt x="20280" y="19897"/>
                  </a:cubicBezTo>
                  <a:cubicBezTo>
                    <a:pt x="20380" y="20017"/>
                    <a:pt x="20429" y="20132"/>
                    <a:pt x="20429" y="20243"/>
                  </a:cubicBezTo>
                  <a:cubicBezTo>
                    <a:pt x="20429" y="20335"/>
                    <a:pt x="20299" y="20479"/>
                    <a:pt x="20039" y="20672"/>
                  </a:cubicBezTo>
                  <a:cubicBezTo>
                    <a:pt x="19794" y="20866"/>
                    <a:pt x="19584" y="20986"/>
                    <a:pt x="19408" y="21032"/>
                  </a:cubicBezTo>
                  <a:cubicBezTo>
                    <a:pt x="19316" y="21051"/>
                    <a:pt x="19102" y="21152"/>
                    <a:pt x="18765" y="21337"/>
                  </a:cubicBezTo>
                  <a:cubicBezTo>
                    <a:pt x="18451" y="21512"/>
                    <a:pt x="18260" y="21600"/>
                    <a:pt x="18191" y="21600"/>
                  </a:cubicBezTo>
                  <a:cubicBezTo>
                    <a:pt x="18122" y="21600"/>
                    <a:pt x="18035" y="21549"/>
                    <a:pt x="17927" y="21448"/>
                  </a:cubicBezTo>
                  <a:cubicBezTo>
                    <a:pt x="17820" y="21346"/>
                    <a:pt x="17751" y="21295"/>
                    <a:pt x="17721" y="21295"/>
                  </a:cubicBezTo>
                  <a:cubicBezTo>
                    <a:pt x="17453" y="21231"/>
                    <a:pt x="17296" y="21189"/>
                    <a:pt x="17250" y="21171"/>
                  </a:cubicBezTo>
                  <a:cubicBezTo>
                    <a:pt x="16691" y="20792"/>
                    <a:pt x="16355" y="20603"/>
                    <a:pt x="16240" y="20603"/>
                  </a:cubicBezTo>
                  <a:cubicBezTo>
                    <a:pt x="16194" y="20603"/>
                    <a:pt x="16133" y="20631"/>
                    <a:pt x="16057" y="20686"/>
                  </a:cubicBezTo>
                  <a:cubicBezTo>
                    <a:pt x="15980" y="20732"/>
                    <a:pt x="15926" y="20755"/>
                    <a:pt x="15896" y="20755"/>
                  </a:cubicBezTo>
                  <a:cubicBezTo>
                    <a:pt x="15865" y="20755"/>
                    <a:pt x="15731" y="20695"/>
                    <a:pt x="15494" y="20575"/>
                  </a:cubicBezTo>
                  <a:cubicBezTo>
                    <a:pt x="15272" y="20455"/>
                    <a:pt x="15142" y="20409"/>
                    <a:pt x="15104" y="20437"/>
                  </a:cubicBezTo>
                  <a:lnTo>
                    <a:pt x="15104" y="20271"/>
                  </a:lnTo>
                  <a:cubicBezTo>
                    <a:pt x="15134" y="20188"/>
                    <a:pt x="15188" y="20100"/>
                    <a:pt x="15264" y="20008"/>
                  </a:cubicBezTo>
                  <a:cubicBezTo>
                    <a:pt x="15311" y="19943"/>
                    <a:pt x="15333" y="19869"/>
                    <a:pt x="15333" y="19786"/>
                  </a:cubicBezTo>
                  <a:cubicBezTo>
                    <a:pt x="15333" y="19657"/>
                    <a:pt x="15226" y="19565"/>
                    <a:pt x="15012" y="19509"/>
                  </a:cubicBezTo>
                  <a:cubicBezTo>
                    <a:pt x="14729" y="19435"/>
                    <a:pt x="14564" y="19375"/>
                    <a:pt x="14518" y="19329"/>
                  </a:cubicBezTo>
                  <a:cubicBezTo>
                    <a:pt x="14465" y="19283"/>
                    <a:pt x="14304" y="19223"/>
                    <a:pt x="14036" y="19149"/>
                  </a:cubicBezTo>
                  <a:cubicBezTo>
                    <a:pt x="13838" y="19094"/>
                    <a:pt x="13738" y="18992"/>
                    <a:pt x="13738" y="18845"/>
                  </a:cubicBezTo>
                  <a:cubicBezTo>
                    <a:pt x="13738" y="18798"/>
                    <a:pt x="13765" y="18720"/>
                    <a:pt x="13818" y="18609"/>
                  </a:cubicBezTo>
                  <a:cubicBezTo>
                    <a:pt x="13872" y="18498"/>
                    <a:pt x="13899" y="18397"/>
                    <a:pt x="13899" y="18305"/>
                  </a:cubicBezTo>
                  <a:lnTo>
                    <a:pt x="13876" y="17820"/>
                  </a:lnTo>
                  <a:cubicBezTo>
                    <a:pt x="13876" y="17737"/>
                    <a:pt x="13853" y="17649"/>
                    <a:pt x="13807" y="17557"/>
                  </a:cubicBezTo>
                  <a:cubicBezTo>
                    <a:pt x="13761" y="17465"/>
                    <a:pt x="13723" y="17418"/>
                    <a:pt x="13692" y="17418"/>
                  </a:cubicBezTo>
                  <a:cubicBezTo>
                    <a:pt x="13509" y="17418"/>
                    <a:pt x="13355" y="17561"/>
                    <a:pt x="13233" y="17848"/>
                  </a:cubicBezTo>
                  <a:cubicBezTo>
                    <a:pt x="13149" y="18023"/>
                    <a:pt x="13088" y="18235"/>
                    <a:pt x="13050" y="18485"/>
                  </a:cubicBezTo>
                  <a:cubicBezTo>
                    <a:pt x="13019" y="18642"/>
                    <a:pt x="12988" y="18757"/>
                    <a:pt x="12958" y="18831"/>
                  </a:cubicBezTo>
                  <a:cubicBezTo>
                    <a:pt x="12919" y="18923"/>
                    <a:pt x="12851" y="19034"/>
                    <a:pt x="12751" y="19163"/>
                  </a:cubicBezTo>
                  <a:lnTo>
                    <a:pt x="12338" y="19482"/>
                  </a:lnTo>
                  <a:cubicBezTo>
                    <a:pt x="12032" y="19500"/>
                    <a:pt x="11775" y="19523"/>
                    <a:pt x="11569" y="19551"/>
                  </a:cubicBezTo>
                  <a:cubicBezTo>
                    <a:pt x="11133" y="19588"/>
                    <a:pt x="10815" y="19629"/>
                    <a:pt x="10616" y="19675"/>
                  </a:cubicBezTo>
                  <a:cubicBezTo>
                    <a:pt x="10601" y="19675"/>
                    <a:pt x="10341" y="19832"/>
                    <a:pt x="9836" y="20146"/>
                  </a:cubicBezTo>
                  <a:cubicBezTo>
                    <a:pt x="9369" y="20432"/>
                    <a:pt x="8994" y="20575"/>
                    <a:pt x="8711" y="20575"/>
                  </a:cubicBezTo>
                  <a:cubicBezTo>
                    <a:pt x="8474" y="20575"/>
                    <a:pt x="8202" y="20488"/>
                    <a:pt x="7896" y="20312"/>
                  </a:cubicBezTo>
                  <a:cubicBezTo>
                    <a:pt x="7590" y="20128"/>
                    <a:pt x="7326" y="20035"/>
                    <a:pt x="7104" y="20035"/>
                  </a:cubicBezTo>
                  <a:cubicBezTo>
                    <a:pt x="6913" y="20035"/>
                    <a:pt x="6737" y="20128"/>
                    <a:pt x="6576" y="20312"/>
                  </a:cubicBezTo>
                  <a:cubicBezTo>
                    <a:pt x="6416" y="20488"/>
                    <a:pt x="6232" y="20575"/>
                    <a:pt x="6026" y="20575"/>
                  </a:cubicBezTo>
                  <a:cubicBezTo>
                    <a:pt x="5857" y="20575"/>
                    <a:pt x="5731" y="20548"/>
                    <a:pt x="5647" y="20492"/>
                  </a:cubicBezTo>
                  <a:cubicBezTo>
                    <a:pt x="5624" y="20474"/>
                    <a:pt x="5586" y="20423"/>
                    <a:pt x="5532" y="20340"/>
                  </a:cubicBezTo>
                  <a:cubicBezTo>
                    <a:pt x="5494" y="20285"/>
                    <a:pt x="5452" y="20261"/>
                    <a:pt x="5406" y="20271"/>
                  </a:cubicBezTo>
                  <a:cubicBezTo>
                    <a:pt x="5337" y="20271"/>
                    <a:pt x="5195" y="20238"/>
                    <a:pt x="4981" y="20174"/>
                  </a:cubicBezTo>
                  <a:cubicBezTo>
                    <a:pt x="4767" y="20100"/>
                    <a:pt x="4656" y="20063"/>
                    <a:pt x="4648" y="20063"/>
                  </a:cubicBezTo>
                  <a:cubicBezTo>
                    <a:pt x="4587" y="20063"/>
                    <a:pt x="4511" y="20081"/>
                    <a:pt x="4419" y="20118"/>
                  </a:cubicBezTo>
                  <a:cubicBezTo>
                    <a:pt x="4327" y="20146"/>
                    <a:pt x="4247" y="20160"/>
                    <a:pt x="4178" y="20160"/>
                  </a:cubicBezTo>
                  <a:cubicBezTo>
                    <a:pt x="4055" y="20160"/>
                    <a:pt x="3986" y="20155"/>
                    <a:pt x="3971" y="20146"/>
                  </a:cubicBezTo>
                  <a:cubicBezTo>
                    <a:pt x="3941" y="20100"/>
                    <a:pt x="3906" y="20026"/>
                    <a:pt x="3868" y="19925"/>
                  </a:cubicBezTo>
                  <a:cubicBezTo>
                    <a:pt x="3860" y="19906"/>
                    <a:pt x="3856" y="19878"/>
                    <a:pt x="3856" y="19841"/>
                  </a:cubicBezTo>
                  <a:cubicBezTo>
                    <a:pt x="4002" y="19648"/>
                    <a:pt x="4074" y="19546"/>
                    <a:pt x="4074" y="19537"/>
                  </a:cubicBezTo>
                  <a:cubicBezTo>
                    <a:pt x="4074" y="19482"/>
                    <a:pt x="4002" y="19302"/>
                    <a:pt x="3856" y="18997"/>
                  </a:cubicBezTo>
                  <a:cubicBezTo>
                    <a:pt x="3703" y="18692"/>
                    <a:pt x="3627" y="18475"/>
                    <a:pt x="3627" y="18346"/>
                  </a:cubicBezTo>
                  <a:cubicBezTo>
                    <a:pt x="3627" y="18162"/>
                    <a:pt x="3673" y="17885"/>
                    <a:pt x="3765" y="17515"/>
                  </a:cubicBezTo>
                  <a:cubicBezTo>
                    <a:pt x="3856" y="17183"/>
                    <a:pt x="3902" y="17012"/>
                    <a:pt x="3902" y="17003"/>
                  </a:cubicBezTo>
                  <a:cubicBezTo>
                    <a:pt x="3902" y="16901"/>
                    <a:pt x="3745" y="16661"/>
                    <a:pt x="3432" y="16283"/>
                  </a:cubicBezTo>
                  <a:cubicBezTo>
                    <a:pt x="3126" y="15914"/>
                    <a:pt x="2923" y="15711"/>
                    <a:pt x="2823" y="15674"/>
                  </a:cubicBezTo>
                  <a:cubicBezTo>
                    <a:pt x="1951" y="15434"/>
                    <a:pt x="1423" y="15254"/>
                    <a:pt x="1239" y="15134"/>
                  </a:cubicBezTo>
                  <a:cubicBezTo>
                    <a:pt x="857" y="14875"/>
                    <a:pt x="616" y="14640"/>
                    <a:pt x="516" y="14428"/>
                  </a:cubicBezTo>
                  <a:cubicBezTo>
                    <a:pt x="425" y="14224"/>
                    <a:pt x="367" y="14045"/>
                    <a:pt x="344" y="13888"/>
                  </a:cubicBezTo>
                  <a:cubicBezTo>
                    <a:pt x="337" y="13731"/>
                    <a:pt x="329" y="13606"/>
                    <a:pt x="321" y="13514"/>
                  </a:cubicBezTo>
                  <a:cubicBezTo>
                    <a:pt x="306" y="13366"/>
                    <a:pt x="264" y="13255"/>
                    <a:pt x="195" y="13182"/>
                  </a:cubicBezTo>
                  <a:cubicBezTo>
                    <a:pt x="111" y="13089"/>
                    <a:pt x="61" y="13011"/>
                    <a:pt x="46" y="12946"/>
                  </a:cubicBezTo>
                  <a:cubicBezTo>
                    <a:pt x="15" y="12817"/>
                    <a:pt x="0" y="12526"/>
                    <a:pt x="0" y="12074"/>
                  </a:cubicBezTo>
                  <a:cubicBezTo>
                    <a:pt x="0" y="11797"/>
                    <a:pt x="23" y="11608"/>
                    <a:pt x="69" y="11506"/>
                  </a:cubicBezTo>
                  <a:cubicBezTo>
                    <a:pt x="115" y="11405"/>
                    <a:pt x="191" y="11326"/>
                    <a:pt x="298" y="11271"/>
                  </a:cubicBezTo>
                  <a:lnTo>
                    <a:pt x="5842" y="13154"/>
                  </a:lnTo>
                  <a:lnTo>
                    <a:pt x="5853" y="13306"/>
                  </a:lnTo>
                  <a:lnTo>
                    <a:pt x="5807" y="13749"/>
                  </a:lnTo>
                  <a:cubicBezTo>
                    <a:pt x="5807" y="13915"/>
                    <a:pt x="5865" y="13998"/>
                    <a:pt x="5980" y="13998"/>
                  </a:cubicBezTo>
                  <a:cubicBezTo>
                    <a:pt x="6079" y="13998"/>
                    <a:pt x="6194" y="13915"/>
                    <a:pt x="6324" y="13749"/>
                  </a:cubicBezTo>
                  <a:cubicBezTo>
                    <a:pt x="6355" y="13712"/>
                    <a:pt x="6431" y="13597"/>
                    <a:pt x="6553" y="13403"/>
                  </a:cubicBezTo>
                  <a:lnTo>
                    <a:pt x="9514" y="14400"/>
                  </a:lnTo>
                  <a:lnTo>
                    <a:pt x="11821" y="3074"/>
                  </a:lnTo>
                  <a:cubicBezTo>
                    <a:pt x="11860" y="3046"/>
                    <a:pt x="11879" y="3009"/>
                    <a:pt x="11879" y="2963"/>
                  </a:cubicBezTo>
                  <a:cubicBezTo>
                    <a:pt x="11856" y="2834"/>
                    <a:pt x="11852" y="2737"/>
                    <a:pt x="11867" y="2672"/>
                  </a:cubicBezTo>
                  <a:cubicBezTo>
                    <a:pt x="11974" y="2432"/>
                    <a:pt x="12028" y="2275"/>
                    <a:pt x="12028" y="2202"/>
                  </a:cubicBezTo>
                  <a:cubicBezTo>
                    <a:pt x="12028" y="2174"/>
                    <a:pt x="12024" y="2142"/>
                    <a:pt x="12017" y="2105"/>
                  </a:cubicBezTo>
                  <a:cubicBezTo>
                    <a:pt x="12017" y="2105"/>
                    <a:pt x="12246" y="1052"/>
                    <a:pt x="12246" y="1052"/>
                  </a:cubicBezTo>
                  <a:close/>
                  <a:moveTo>
                    <a:pt x="12246" y="105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1" name="AutoShape 78"/>
            <p:cNvSpPr>
              <a:spLocks/>
            </p:cNvSpPr>
            <p:nvPr/>
          </p:nvSpPr>
          <p:spPr bwMode="auto">
            <a:xfrm>
              <a:off x="6890775" y="2252381"/>
              <a:ext cx="107716" cy="148557"/>
            </a:xfrm>
            <a:custGeom>
              <a:avLst/>
              <a:gdLst/>
              <a:ahLst/>
              <a:cxnLst/>
              <a:rect l="0" t="0" r="r" b="b"/>
              <a:pathLst>
                <a:path w="21593" h="21600">
                  <a:moveTo>
                    <a:pt x="13325" y="917"/>
                  </a:moveTo>
                  <a:cubicBezTo>
                    <a:pt x="13680" y="1292"/>
                    <a:pt x="13857" y="1647"/>
                    <a:pt x="13857" y="1983"/>
                  </a:cubicBezTo>
                  <a:cubicBezTo>
                    <a:pt x="13911" y="1983"/>
                    <a:pt x="14020" y="2002"/>
                    <a:pt x="14183" y="2042"/>
                  </a:cubicBezTo>
                  <a:cubicBezTo>
                    <a:pt x="14212" y="2042"/>
                    <a:pt x="14580" y="1923"/>
                    <a:pt x="15290" y="1686"/>
                  </a:cubicBezTo>
                  <a:cubicBezTo>
                    <a:pt x="15998" y="1450"/>
                    <a:pt x="16463" y="1331"/>
                    <a:pt x="16681" y="1331"/>
                  </a:cubicBezTo>
                  <a:cubicBezTo>
                    <a:pt x="17117" y="1331"/>
                    <a:pt x="18032" y="1509"/>
                    <a:pt x="19423" y="1864"/>
                  </a:cubicBezTo>
                  <a:cubicBezTo>
                    <a:pt x="20870" y="2239"/>
                    <a:pt x="21593" y="2505"/>
                    <a:pt x="21593" y="2663"/>
                  </a:cubicBezTo>
                  <a:lnTo>
                    <a:pt x="20570" y="4172"/>
                  </a:lnTo>
                  <a:cubicBezTo>
                    <a:pt x="19860" y="5257"/>
                    <a:pt x="19423" y="5987"/>
                    <a:pt x="19260" y="6361"/>
                  </a:cubicBezTo>
                  <a:cubicBezTo>
                    <a:pt x="18360" y="8236"/>
                    <a:pt x="17404" y="9143"/>
                    <a:pt x="16395" y="9084"/>
                  </a:cubicBezTo>
                  <a:cubicBezTo>
                    <a:pt x="16395" y="9123"/>
                    <a:pt x="16367" y="9143"/>
                    <a:pt x="16313" y="9143"/>
                  </a:cubicBezTo>
                  <a:cubicBezTo>
                    <a:pt x="16422" y="9439"/>
                    <a:pt x="16612" y="9597"/>
                    <a:pt x="16886" y="9616"/>
                  </a:cubicBezTo>
                  <a:cubicBezTo>
                    <a:pt x="17105" y="9656"/>
                    <a:pt x="17213" y="9755"/>
                    <a:pt x="17213" y="9912"/>
                  </a:cubicBezTo>
                  <a:cubicBezTo>
                    <a:pt x="17213" y="10129"/>
                    <a:pt x="16817" y="10988"/>
                    <a:pt x="16025" y="12487"/>
                  </a:cubicBezTo>
                  <a:cubicBezTo>
                    <a:pt x="15971" y="12546"/>
                    <a:pt x="15931" y="12605"/>
                    <a:pt x="15904" y="12664"/>
                  </a:cubicBezTo>
                  <a:cubicBezTo>
                    <a:pt x="15522" y="13275"/>
                    <a:pt x="15235" y="13660"/>
                    <a:pt x="15044" y="13818"/>
                  </a:cubicBezTo>
                  <a:cubicBezTo>
                    <a:pt x="14689" y="14114"/>
                    <a:pt x="14156" y="14262"/>
                    <a:pt x="13448" y="14262"/>
                  </a:cubicBezTo>
                  <a:cubicBezTo>
                    <a:pt x="13310" y="14262"/>
                    <a:pt x="13147" y="14252"/>
                    <a:pt x="12955" y="14232"/>
                  </a:cubicBezTo>
                  <a:cubicBezTo>
                    <a:pt x="12546" y="14153"/>
                    <a:pt x="12014" y="14005"/>
                    <a:pt x="11359" y="13788"/>
                  </a:cubicBezTo>
                  <a:cubicBezTo>
                    <a:pt x="10377" y="13453"/>
                    <a:pt x="9817" y="13286"/>
                    <a:pt x="9680" y="13286"/>
                  </a:cubicBezTo>
                  <a:cubicBezTo>
                    <a:pt x="9653" y="13286"/>
                    <a:pt x="9462" y="13404"/>
                    <a:pt x="9107" y="13640"/>
                  </a:cubicBezTo>
                  <a:cubicBezTo>
                    <a:pt x="8752" y="13858"/>
                    <a:pt x="8452" y="13966"/>
                    <a:pt x="8207" y="13966"/>
                  </a:cubicBezTo>
                  <a:lnTo>
                    <a:pt x="6979" y="13818"/>
                  </a:lnTo>
                  <a:cubicBezTo>
                    <a:pt x="6733" y="13818"/>
                    <a:pt x="6461" y="13907"/>
                    <a:pt x="6160" y="14084"/>
                  </a:cubicBezTo>
                  <a:cubicBezTo>
                    <a:pt x="5914" y="14242"/>
                    <a:pt x="5791" y="14341"/>
                    <a:pt x="5791" y="14380"/>
                  </a:cubicBezTo>
                  <a:cubicBezTo>
                    <a:pt x="5874" y="14459"/>
                    <a:pt x="6079" y="14489"/>
                    <a:pt x="6405" y="14469"/>
                  </a:cubicBezTo>
                  <a:cubicBezTo>
                    <a:pt x="6760" y="14469"/>
                    <a:pt x="7006" y="14499"/>
                    <a:pt x="7142" y="14558"/>
                  </a:cubicBezTo>
                  <a:cubicBezTo>
                    <a:pt x="7252" y="14597"/>
                    <a:pt x="7484" y="14883"/>
                    <a:pt x="7838" y="15416"/>
                  </a:cubicBezTo>
                  <a:cubicBezTo>
                    <a:pt x="7921" y="15534"/>
                    <a:pt x="8261" y="15771"/>
                    <a:pt x="8861" y="16126"/>
                  </a:cubicBezTo>
                  <a:cubicBezTo>
                    <a:pt x="9134" y="16284"/>
                    <a:pt x="9339" y="16432"/>
                    <a:pt x="9475" y="16570"/>
                  </a:cubicBezTo>
                  <a:cubicBezTo>
                    <a:pt x="9613" y="16688"/>
                    <a:pt x="9680" y="16806"/>
                    <a:pt x="9680" y="16925"/>
                  </a:cubicBezTo>
                  <a:cubicBezTo>
                    <a:pt x="9680" y="17103"/>
                    <a:pt x="9039" y="17813"/>
                    <a:pt x="7756" y="19055"/>
                  </a:cubicBezTo>
                  <a:cubicBezTo>
                    <a:pt x="7511" y="19252"/>
                    <a:pt x="7334" y="19627"/>
                    <a:pt x="7224" y="20180"/>
                  </a:cubicBezTo>
                  <a:cubicBezTo>
                    <a:pt x="7169" y="20515"/>
                    <a:pt x="6952" y="20781"/>
                    <a:pt x="6570" y="20979"/>
                  </a:cubicBezTo>
                  <a:cubicBezTo>
                    <a:pt x="6405" y="21058"/>
                    <a:pt x="6160" y="21146"/>
                    <a:pt x="5833" y="21245"/>
                  </a:cubicBezTo>
                  <a:cubicBezTo>
                    <a:pt x="5532" y="21304"/>
                    <a:pt x="5164" y="21363"/>
                    <a:pt x="4728" y="21422"/>
                  </a:cubicBezTo>
                  <a:cubicBezTo>
                    <a:pt x="3990" y="21521"/>
                    <a:pt x="3364" y="21580"/>
                    <a:pt x="2844" y="21600"/>
                  </a:cubicBezTo>
                  <a:cubicBezTo>
                    <a:pt x="2762" y="21600"/>
                    <a:pt x="2694" y="21600"/>
                    <a:pt x="2639" y="21600"/>
                  </a:cubicBezTo>
                  <a:cubicBezTo>
                    <a:pt x="2230" y="21600"/>
                    <a:pt x="1998" y="21580"/>
                    <a:pt x="1944" y="21541"/>
                  </a:cubicBezTo>
                  <a:cubicBezTo>
                    <a:pt x="1889" y="21521"/>
                    <a:pt x="1862" y="21432"/>
                    <a:pt x="1862" y="21274"/>
                  </a:cubicBezTo>
                  <a:cubicBezTo>
                    <a:pt x="1862" y="21038"/>
                    <a:pt x="2107" y="20831"/>
                    <a:pt x="2599" y="20653"/>
                  </a:cubicBezTo>
                  <a:cubicBezTo>
                    <a:pt x="3063" y="20456"/>
                    <a:pt x="3295" y="20259"/>
                    <a:pt x="3295" y="20061"/>
                  </a:cubicBezTo>
                  <a:cubicBezTo>
                    <a:pt x="3295" y="19982"/>
                    <a:pt x="3063" y="19864"/>
                    <a:pt x="2599" y="19706"/>
                  </a:cubicBezTo>
                  <a:cubicBezTo>
                    <a:pt x="2107" y="19548"/>
                    <a:pt x="1862" y="19124"/>
                    <a:pt x="1862" y="18434"/>
                  </a:cubicBezTo>
                  <a:cubicBezTo>
                    <a:pt x="1862" y="18059"/>
                    <a:pt x="1902" y="17753"/>
                    <a:pt x="1985" y="17517"/>
                  </a:cubicBezTo>
                  <a:cubicBezTo>
                    <a:pt x="2067" y="17280"/>
                    <a:pt x="2107" y="17053"/>
                    <a:pt x="2107" y="16836"/>
                  </a:cubicBezTo>
                  <a:cubicBezTo>
                    <a:pt x="2107" y="16501"/>
                    <a:pt x="1793" y="15890"/>
                    <a:pt x="1167" y="15002"/>
                  </a:cubicBezTo>
                  <a:cubicBezTo>
                    <a:pt x="511" y="14114"/>
                    <a:pt x="183" y="13384"/>
                    <a:pt x="183" y="12812"/>
                  </a:cubicBezTo>
                  <a:lnTo>
                    <a:pt x="348" y="9409"/>
                  </a:lnTo>
                  <a:cubicBezTo>
                    <a:pt x="348" y="8778"/>
                    <a:pt x="294" y="7959"/>
                    <a:pt x="183" y="6953"/>
                  </a:cubicBezTo>
                  <a:cubicBezTo>
                    <a:pt x="75" y="5927"/>
                    <a:pt x="20" y="5355"/>
                    <a:pt x="20" y="5237"/>
                  </a:cubicBezTo>
                  <a:cubicBezTo>
                    <a:pt x="-7" y="5060"/>
                    <a:pt x="-7" y="4892"/>
                    <a:pt x="20" y="4734"/>
                  </a:cubicBezTo>
                  <a:cubicBezTo>
                    <a:pt x="75" y="4438"/>
                    <a:pt x="265" y="4290"/>
                    <a:pt x="593" y="4290"/>
                  </a:cubicBezTo>
                  <a:cubicBezTo>
                    <a:pt x="893" y="4290"/>
                    <a:pt x="1466" y="4557"/>
                    <a:pt x="2312" y="5089"/>
                  </a:cubicBezTo>
                  <a:cubicBezTo>
                    <a:pt x="3186" y="5622"/>
                    <a:pt x="3759" y="5888"/>
                    <a:pt x="4032" y="5888"/>
                  </a:cubicBezTo>
                  <a:cubicBezTo>
                    <a:pt x="4331" y="5750"/>
                    <a:pt x="4481" y="5622"/>
                    <a:pt x="4481" y="5503"/>
                  </a:cubicBezTo>
                  <a:cubicBezTo>
                    <a:pt x="4481" y="5247"/>
                    <a:pt x="4126" y="5099"/>
                    <a:pt x="3418" y="5060"/>
                  </a:cubicBezTo>
                  <a:cubicBezTo>
                    <a:pt x="2708" y="5020"/>
                    <a:pt x="2353" y="4645"/>
                    <a:pt x="2353" y="3935"/>
                  </a:cubicBezTo>
                  <a:cubicBezTo>
                    <a:pt x="2516" y="3758"/>
                    <a:pt x="2599" y="3570"/>
                    <a:pt x="2599" y="3373"/>
                  </a:cubicBezTo>
                  <a:cubicBezTo>
                    <a:pt x="2599" y="3314"/>
                    <a:pt x="2395" y="3225"/>
                    <a:pt x="1985" y="3107"/>
                  </a:cubicBezTo>
                  <a:cubicBezTo>
                    <a:pt x="1576" y="3008"/>
                    <a:pt x="1371" y="2860"/>
                    <a:pt x="1371" y="2663"/>
                  </a:cubicBezTo>
                  <a:cubicBezTo>
                    <a:pt x="1371" y="2288"/>
                    <a:pt x="2067" y="1844"/>
                    <a:pt x="3458" y="1331"/>
                  </a:cubicBezTo>
                  <a:cubicBezTo>
                    <a:pt x="4686" y="878"/>
                    <a:pt x="5465" y="651"/>
                    <a:pt x="5791" y="651"/>
                  </a:cubicBezTo>
                  <a:cubicBezTo>
                    <a:pt x="6064" y="651"/>
                    <a:pt x="6338" y="710"/>
                    <a:pt x="6610" y="828"/>
                  </a:cubicBezTo>
                  <a:cubicBezTo>
                    <a:pt x="6883" y="947"/>
                    <a:pt x="7075" y="1006"/>
                    <a:pt x="7184" y="1006"/>
                  </a:cubicBezTo>
                  <a:cubicBezTo>
                    <a:pt x="7265" y="1006"/>
                    <a:pt x="7579" y="838"/>
                    <a:pt x="8125" y="503"/>
                  </a:cubicBezTo>
                  <a:cubicBezTo>
                    <a:pt x="8807" y="168"/>
                    <a:pt x="9613" y="0"/>
                    <a:pt x="10540" y="0"/>
                  </a:cubicBezTo>
                  <a:cubicBezTo>
                    <a:pt x="11795" y="0"/>
                    <a:pt x="12723" y="306"/>
                    <a:pt x="13325" y="917"/>
                  </a:cubicBezTo>
                  <a:close/>
                  <a:moveTo>
                    <a:pt x="13325" y="91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2" name="AutoShape 79"/>
            <p:cNvSpPr>
              <a:spLocks/>
            </p:cNvSpPr>
            <p:nvPr/>
          </p:nvSpPr>
          <p:spPr bwMode="auto">
            <a:xfrm>
              <a:off x="6862187" y="2321809"/>
              <a:ext cx="14294" cy="17357"/>
            </a:xfrm>
            <a:custGeom>
              <a:avLst/>
              <a:gdLst/>
              <a:ahLst/>
              <a:cxnLst/>
              <a:rect l="0" t="0" r="r" b="b"/>
              <a:pathLst>
                <a:path w="21600" h="21600">
                  <a:moveTo>
                    <a:pt x="9301" y="0"/>
                  </a:moveTo>
                  <a:cubicBezTo>
                    <a:pt x="11901" y="0"/>
                    <a:pt x="14502" y="1004"/>
                    <a:pt x="17102" y="3012"/>
                  </a:cubicBezTo>
                  <a:cubicBezTo>
                    <a:pt x="20101" y="5356"/>
                    <a:pt x="21600" y="8036"/>
                    <a:pt x="21600" y="11050"/>
                  </a:cubicBezTo>
                  <a:cubicBezTo>
                    <a:pt x="21600" y="13228"/>
                    <a:pt x="20792" y="15402"/>
                    <a:pt x="19199" y="17582"/>
                  </a:cubicBezTo>
                  <a:cubicBezTo>
                    <a:pt x="17196" y="20260"/>
                    <a:pt x="14502" y="21600"/>
                    <a:pt x="11105" y="21600"/>
                  </a:cubicBezTo>
                  <a:cubicBezTo>
                    <a:pt x="8106" y="21600"/>
                    <a:pt x="5599" y="20594"/>
                    <a:pt x="3608" y="18583"/>
                  </a:cubicBezTo>
                  <a:cubicBezTo>
                    <a:pt x="1207" y="16239"/>
                    <a:pt x="0" y="13311"/>
                    <a:pt x="0" y="9794"/>
                  </a:cubicBezTo>
                  <a:cubicBezTo>
                    <a:pt x="0" y="6779"/>
                    <a:pt x="1007" y="4354"/>
                    <a:pt x="2999" y="2511"/>
                  </a:cubicBezTo>
                  <a:cubicBezTo>
                    <a:pt x="4803" y="837"/>
                    <a:pt x="6899" y="0"/>
                    <a:pt x="9301" y="0"/>
                  </a:cubicBezTo>
                  <a:close/>
                  <a:moveTo>
                    <a:pt x="9301"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3" name="AutoShape 80"/>
            <p:cNvSpPr>
              <a:spLocks/>
            </p:cNvSpPr>
            <p:nvPr/>
          </p:nvSpPr>
          <p:spPr bwMode="auto">
            <a:xfrm>
              <a:off x="6792758" y="2542347"/>
              <a:ext cx="107716" cy="93933"/>
            </a:xfrm>
            <a:custGeom>
              <a:avLst/>
              <a:gdLst/>
              <a:ahLst/>
              <a:cxnLst/>
              <a:rect l="0" t="0" r="r" b="b"/>
              <a:pathLst>
                <a:path w="21600" h="21600">
                  <a:moveTo>
                    <a:pt x="6750" y="16727"/>
                  </a:moveTo>
                  <a:cubicBezTo>
                    <a:pt x="6723" y="16602"/>
                    <a:pt x="6681" y="16493"/>
                    <a:pt x="6627" y="16399"/>
                  </a:cubicBezTo>
                  <a:lnTo>
                    <a:pt x="6587" y="16352"/>
                  </a:lnTo>
                  <a:cubicBezTo>
                    <a:pt x="6560" y="16321"/>
                    <a:pt x="6533" y="16305"/>
                    <a:pt x="6504" y="16305"/>
                  </a:cubicBezTo>
                  <a:cubicBezTo>
                    <a:pt x="6449" y="16243"/>
                    <a:pt x="6395" y="16211"/>
                    <a:pt x="6341" y="16211"/>
                  </a:cubicBezTo>
                  <a:cubicBezTo>
                    <a:pt x="6232" y="16211"/>
                    <a:pt x="6095" y="16321"/>
                    <a:pt x="5932" y="16540"/>
                  </a:cubicBezTo>
                  <a:cubicBezTo>
                    <a:pt x="5769" y="16758"/>
                    <a:pt x="5604" y="16868"/>
                    <a:pt x="5441" y="16868"/>
                  </a:cubicBezTo>
                  <a:cubicBezTo>
                    <a:pt x="5114" y="16868"/>
                    <a:pt x="4773" y="16524"/>
                    <a:pt x="4418" y="15837"/>
                  </a:cubicBezTo>
                  <a:cubicBezTo>
                    <a:pt x="4064" y="15119"/>
                    <a:pt x="3627" y="14759"/>
                    <a:pt x="3110" y="14759"/>
                  </a:cubicBezTo>
                  <a:cubicBezTo>
                    <a:pt x="2891" y="14759"/>
                    <a:pt x="2713" y="14947"/>
                    <a:pt x="2578" y="15322"/>
                  </a:cubicBezTo>
                  <a:cubicBezTo>
                    <a:pt x="2442" y="15666"/>
                    <a:pt x="2373" y="16086"/>
                    <a:pt x="2373" y="16586"/>
                  </a:cubicBezTo>
                  <a:lnTo>
                    <a:pt x="1922" y="16586"/>
                  </a:lnTo>
                  <a:cubicBezTo>
                    <a:pt x="1159" y="15806"/>
                    <a:pt x="695" y="15291"/>
                    <a:pt x="532" y="15040"/>
                  </a:cubicBezTo>
                  <a:cubicBezTo>
                    <a:pt x="177" y="14541"/>
                    <a:pt x="0" y="13979"/>
                    <a:pt x="0" y="13354"/>
                  </a:cubicBezTo>
                  <a:cubicBezTo>
                    <a:pt x="0" y="12791"/>
                    <a:pt x="981" y="12089"/>
                    <a:pt x="2945" y="11246"/>
                  </a:cubicBezTo>
                  <a:cubicBezTo>
                    <a:pt x="4909" y="10402"/>
                    <a:pt x="5890" y="9074"/>
                    <a:pt x="5890" y="7263"/>
                  </a:cubicBezTo>
                  <a:cubicBezTo>
                    <a:pt x="5727" y="6357"/>
                    <a:pt x="5646" y="5717"/>
                    <a:pt x="5646" y="5342"/>
                  </a:cubicBezTo>
                  <a:cubicBezTo>
                    <a:pt x="5646" y="4998"/>
                    <a:pt x="5727" y="4701"/>
                    <a:pt x="5890" y="4452"/>
                  </a:cubicBezTo>
                  <a:cubicBezTo>
                    <a:pt x="6028" y="4233"/>
                    <a:pt x="6163" y="4123"/>
                    <a:pt x="6299" y="4123"/>
                  </a:cubicBezTo>
                  <a:cubicBezTo>
                    <a:pt x="6627" y="4123"/>
                    <a:pt x="6859" y="4233"/>
                    <a:pt x="6996" y="4452"/>
                  </a:cubicBezTo>
                  <a:lnTo>
                    <a:pt x="7405" y="4452"/>
                  </a:lnTo>
                  <a:cubicBezTo>
                    <a:pt x="7514" y="3764"/>
                    <a:pt x="7896" y="2874"/>
                    <a:pt x="8549" y="1781"/>
                  </a:cubicBezTo>
                  <a:cubicBezTo>
                    <a:pt x="9286" y="594"/>
                    <a:pt x="9914" y="0"/>
                    <a:pt x="10432" y="0"/>
                  </a:cubicBezTo>
                  <a:cubicBezTo>
                    <a:pt x="10786" y="0"/>
                    <a:pt x="11918" y="1593"/>
                    <a:pt x="13827" y="4780"/>
                  </a:cubicBezTo>
                  <a:cubicBezTo>
                    <a:pt x="13936" y="4936"/>
                    <a:pt x="14032" y="5107"/>
                    <a:pt x="14113" y="5295"/>
                  </a:cubicBezTo>
                  <a:cubicBezTo>
                    <a:pt x="15013" y="6732"/>
                    <a:pt x="15942" y="8263"/>
                    <a:pt x="16896" y="9886"/>
                  </a:cubicBezTo>
                  <a:cubicBezTo>
                    <a:pt x="17958" y="11105"/>
                    <a:pt x="18655" y="12511"/>
                    <a:pt x="18981" y="14103"/>
                  </a:cubicBezTo>
                  <a:cubicBezTo>
                    <a:pt x="19118" y="14884"/>
                    <a:pt x="19446" y="15540"/>
                    <a:pt x="19964" y="16071"/>
                  </a:cubicBezTo>
                  <a:cubicBezTo>
                    <a:pt x="20454" y="16602"/>
                    <a:pt x="20972" y="16805"/>
                    <a:pt x="21519" y="16680"/>
                  </a:cubicBezTo>
                  <a:cubicBezTo>
                    <a:pt x="21519" y="16743"/>
                    <a:pt x="21546" y="16883"/>
                    <a:pt x="21600" y="17102"/>
                  </a:cubicBezTo>
                  <a:cubicBezTo>
                    <a:pt x="21600" y="17414"/>
                    <a:pt x="21300" y="17664"/>
                    <a:pt x="20700" y="17851"/>
                  </a:cubicBezTo>
                  <a:cubicBezTo>
                    <a:pt x="20427" y="17851"/>
                    <a:pt x="20237" y="17805"/>
                    <a:pt x="20127" y="17711"/>
                  </a:cubicBezTo>
                  <a:cubicBezTo>
                    <a:pt x="20018" y="17617"/>
                    <a:pt x="19922" y="17570"/>
                    <a:pt x="19841" y="17570"/>
                  </a:cubicBezTo>
                  <a:cubicBezTo>
                    <a:pt x="19623" y="17570"/>
                    <a:pt x="19227" y="17929"/>
                    <a:pt x="18655" y="18648"/>
                  </a:cubicBezTo>
                  <a:lnTo>
                    <a:pt x="18613" y="18695"/>
                  </a:lnTo>
                  <a:cubicBezTo>
                    <a:pt x="18150" y="19257"/>
                    <a:pt x="17877" y="19616"/>
                    <a:pt x="17795" y="19773"/>
                  </a:cubicBezTo>
                  <a:cubicBezTo>
                    <a:pt x="17223" y="20210"/>
                    <a:pt x="16868" y="20679"/>
                    <a:pt x="16731" y="21178"/>
                  </a:cubicBezTo>
                  <a:cubicBezTo>
                    <a:pt x="16677" y="21459"/>
                    <a:pt x="16405" y="21600"/>
                    <a:pt x="15913" y="21600"/>
                  </a:cubicBezTo>
                  <a:cubicBezTo>
                    <a:pt x="15422" y="21600"/>
                    <a:pt x="14946" y="21397"/>
                    <a:pt x="14481" y="20991"/>
                  </a:cubicBezTo>
                  <a:cubicBezTo>
                    <a:pt x="13990" y="20553"/>
                    <a:pt x="13581" y="20335"/>
                    <a:pt x="13254" y="20335"/>
                  </a:cubicBezTo>
                  <a:lnTo>
                    <a:pt x="12314" y="20522"/>
                  </a:lnTo>
                  <a:cubicBezTo>
                    <a:pt x="11686" y="20522"/>
                    <a:pt x="11114" y="20210"/>
                    <a:pt x="10595" y="19585"/>
                  </a:cubicBezTo>
                  <a:cubicBezTo>
                    <a:pt x="10023" y="18836"/>
                    <a:pt x="9545" y="18289"/>
                    <a:pt x="9163" y="17945"/>
                  </a:cubicBezTo>
                  <a:cubicBezTo>
                    <a:pt x="8918" y="17727"/>
                    <a:pt x="8401" y="17539"/>
                    <a:pt x="7610" y="17383"/>
                  </a:cubicBezTo>
                  <a:cubicBezTo>
                    <a:pt x="7228" y="17289"/>
                    <a:pt x="6942" y="17071"/>
                    <a:pt x="6750" y="16727"/>
                  </a:cubicBezTo>
                  <a:close/>
                  <a:moveTo>
                    <a:pt x="6750" y="1672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4" name="AutoShape 81"/>
            <p:cNvSpPr>
              <a:spLocks/>
            </p:cNvSpPr>
            <p:nvPr/>
          </p:nvSpPr>
          <p:spPr bwMode="auto">
            <a:xfrm>
              <a:off x="6118893" y="4139203"/>
              <a:ext cx="371647" cy="316002"/>
            </a:xfrm>
            <a:custGeom>
              <a:avLst/>
              <a:gdLst/>
              <a:ahLst/>
              <a:cxnLst/>
              <a:rect l="0" t="0" r="r" b="b"/>
              <a:pathLst>
                <a:path w="21600" h="21600">
                  <a:moveTo>
                    <a:pt x="640" y="13721"/>
                  </a:moveTo>
                  <a:lnTo>
                    <a:pt x="2075" y="3988"/>
                  </a:lnTo>
                  <a:cubicBezTo>
                    <a:pt x="2185" y="3161"/>
                    <a:pt x="2276" y="2505"/>
                    <a:pt x="2347" y="2022"/>
                  </a:cubicBezTo>
                  <a:cubicBezTo>
                    <a:pt x="2363" y="1873"/>
                    <a:pt x="2375" y="1738"/>
                    <a:pt x="2383" y="1618"/>
                  </a:cubicBezTo>
                  <a:cubicBezTo>
                    <a:pt x="2509" y="669"/>
                    <a:pt x="2600" y="130"/>
                    <a:pt x="2656" y="0"/>
                  </a:cubicBezTo>
                  <a:cubicBezTo>
                    <a:pt x="7753" y="930"/>
                    <a:pt x="10519" y="1422"/>
                    <a:pt x="10954" y="1478"/>
                  </a:cubicBezTo>
                  <a:lnTo>
                    <a:pt x="21564" y="2900"/>
                  </a:lnTo>
                  <a:lnTo>
                    <a:pt x="21600" y="2775"/>
                  </a:lnTo>
                  <a:lnTo>
                    <a:pt x="20841" y="12271"/>
                  </a:lnTo>
                  <a:cubicBezTo>
                    <a:pt x="20446" y="17440"/>
                    <a:pt x="20225" y="20550"/>
                    <a:pt x="20177" y="21600"/>
                  </a:cubicBezTo>
                  <a:cubicBezTo>
                    <a:pt x="17585" y="21284"/>
                    <a:pt x="14155" y="20833"/>
                    <a:pt x="9887" y="20248"/>
                  </a:cubicBezTo>
                  <a:cubicBezTo>
                    <a:pt x="8496" y="20061"/>
                    <a:pt x="7093" y="19825"/>
                    <a:pt x="5679" y="19536"/>
                  </a:cubicBezTo>
                  <a:cubicBezTo>
                    <a:pt x="4240" y="19267"/>
                    <a:pt x="2861" y="18964"/>
                    <a:pt x="1541" y="18630"/>
                  </a:cubicBezTo>
                  <a:lnTo>
                    <a:pt x="0" y="18212"/>
                  </a:lnTo>
                  <a:cubicBezTo>
                    <a:pt x="0" y="18212"/>
                    <a:pt x="640" y="13721"/>
                    <a:pt x="640" y="13721"/>
                  </a:cubicBezTo>
                  <a:close/>
                  <a:moveTo>
                    <a:pt x="640" y="1372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5" name="AutoShape 82"/>
            <p:cNvSpPr>
              <a:spLocks/>
            </p:cNvSpPr>
            <p:nvPr/>
          </p:nvSpPr>
          <p:spPr bwMode="auto">
            <a:xfrm>
              <a:off x="6490540" y="4731388"/>
              <a:ext cx="453327" cy="252189"/>
            </a:xfrm>
            <a:custGeom>
              <a:avLst/>
              <a:gdLst/>
              <a:ahLst/>
              <a:cxnLst/>
              <a:rect l="0" t="0" r="r" b="b"/>
              <a:pathLst>
                <a:path w="21594" h="21600">
                  <a:moveTo>
                    <a:pt x="185" y="0"/>
                  </a:moveTo>
                  <a:cubicBezTo>
                    <a:pt x="1034" y="117"/>
                    <a:pt x="1890" y="216"/>
                    <a:pt x="2753" y="297"/>
                  </a:cubicBezTo>
                  <a:cubicBezTo>
                    <a:pt x="6040" y="693"/>
                    <a:pt x="9451" y="1025"/>
                    <a:pt x="12985" y="1292"/>
                  </a:cubicBezTo>
                  <a:cubicBezTo>
                    <a:pt x="17570" y="1618"/>
                    <a:pt x="20274" y="1711"/>
                    <a:pt x="21097" y="1572"/>
                  </a:cubicBezTo>
                  <a:cubicBezTo>
                    <a:pt x="21104" y="2096"/>
                    <a:pt x="21114" y="2637"/>
                    <a:pt x="21127" y="3196"/>
                  </a:cubicBezTo>
                  <a:lnTo>
                    <a:pt x="21204" y="4523"/>
                  </a:lnTo>
                  <a:lnTo>
                    <a:pt x="21272" y="6548"/>
                  </a:lnTo>
                  <a:cubicBezTo>
                    <a:pt x="21253" y="6990"/>
                    <a:pt x="21305" y="7631"/>
                    <a:pt x="21428" y="8469"/>
                  </a:cubicBezTo>
                  <a:cubicBezTo>
                    <a:pt x="21545" y="9295"/>
                    <a:pt x="21600" y="9941"/>
                    <a:pt x="21594" y="10407"/>
                  </a:cubicBezTo>
                  <a:cubicBezTo>
                    <a:pt x="21587" y="11350"/>
                    <a:pt x="21587" y="12910"/>
                    <a:pt x="21594" y="15087"/>
                  </a:cubicBezTo>
                  <a:cubicBezTo>
                    <a:pt x="21587" y="15425"/>
                    <a:pt x="21564" y="15966"/>
                    <a:pt x="21526" y="16711"/>
                  </a:cubicBezTo>
                  <a:cubicBezTo>
                    <a:pt x="21486" y="17456"/>
                    <a:pt x="21467" y="18003"/>
                    <a:pt x="21467" y="18352"/>
                  </a:cubicBezTo>
                  <a:cubicBezTo>
                    <a:pt x="21467" y="18399"/>
                    <a:pt x="21473" y="18794"/>
                    <a:pt x="21486" y="19540"/>
                  </a:cubicBezTo>
                  <a:cubicBezTo>
                    <a:pt x="21493" y="20342"/>
                    <a:pt x="21496" y="21029"/>
                    <a:pt x="21496" y="21600"/>
                  </a:cubicBezTo>
                  <a:cubicBezTo>
                    <a:pt x="21192" y="21320"/>
                    <a:pt x="20935" y="21070"/>
                    <a:pt x="20728" y="20849"/>
                  </a:cubicBezTo>
                  <a:cubicBezTo>
                    <a:pt x="19995" y="19987"/>
                    <a:pt x="19622" y="19557"/>
                    <a:pt x="19609" y="19557"/>
                  </a:cubicBezTo>
                  <a:cubicBezTo>
                    <a:pt x="19551" y="19557"/>
                    <a:pt x="19473" y="19667"/>
                    <a:pt x="19376" y="19888"/>
                  </a:cubicBezTo>
                  <a:cubicBezTo>
                    <a:pt x="19278" y="20110"/>
                    <a:pt x="19155" y="20221"/>
                    <a:pt x="19006" y="20221"/>
                  </a:cubicBezTo>
                  <a:cubicBezTo>
                    <a:pt x="18870" y="20209"/>
                    <a:pt x="18792" y="20093"/>
                    <a:pt x="18773" y="19871"/>
                  </a:cubicBezTo>
                  <a:cubicBezTo>
                    <a:pt x="18753" y="19650"/>
                    <a:pt x="18682" y="19528"/>
                    <a:pt x="18559" y="19505"/>
                  </a:cubicBezTo>
                  <a:cubicBezTo>
                    <a:pt x="18527" y="19505"/>
                    <a:pt x="18449" y="19656"/>
                    <a:pt x="18325" y="19959"/>
                  </a:cubicBezTo>
                  <a:cubicBezTo>
                    <a:pt x="18209" y="20226"/>
                    <a:pt x="18098" y="20360"/>
                    <a:pt x="17995" y="20360"/>
                  </a:cubicBezTo>
                  <a:cubicBezTo>
                    <a:pt x="17988" y="20360"/>
                    <a:pt x="17875" y="20221"/>
                    <a:pt x="17654" y="19941"/>
                  </a:cubicBezTo>
                  <a:cubicBezTo>
                    <a:pt x="17635" y="19941"/>
                    <a:pt x="17521" y="20086"/>
                    <a:pt x="17314" y="20378"/>
                  </a:cubicBezTo>
                  <a:cubicBezTo>
                    <a:pt x="17204" y="20552"/>
                    <a:pt x="17045" y="20703"/>
                    <a:pt x="16837" y="20831"/>
                  </a:cubicBezTo>
                  <a:lnTo>
                    <a:pt x="16594" y="21041"/>
                  </a:lnTo>
                  <a:cubicBezTo>
                    <a:pt x="16607" y="20878"/>
                    <a:pt x="16510" y="20640"/>
                    <a:pt x="16302" y="20325"/>
                  </a:cubicBezTo>
                  <a:cubicBezTo>
                    <a:pt x="16075" y="20011"/>
                    <a:pt x="15936" y="19842"/>
                    <a:pt x="15884" y="19819"/>
                  </a:cubicBezTo>
                  <a:cubicBezTo>
                    <a:pt x="15819" y="19819"/>
                    <a:pt x="15783" y="19865"/>
                    <a:pt x="15777" y="19959"/>
                  </a:cubicBezTo>
                  <a:cubicBezTo>
                    <a:pt x="15777" y="20040"/>
                    <a:pt x="15748" y="20081"/>
                    <a:pt x="15689" y="20081"/>
                  </a:cubicBezTo>
                  <a:cubicBezTo>
                    <a:pt x="15495" y="20069"/>
                    <a:pt x="15346" y="19964"/>
                    <a:pt x="15242" y="19767"/>
                  </a:cubicBezTo>
                  <a:cubicBezTo>
                    <a:pt x="15145" y="19568"/>
                    <a:pt x="15093" y="19469"/>
                    <a:pt x="15086" y="19469"/>
                  </a:cubicBezTo>
                  <a:lnTo>
                    <a:pt x="14678" y="20116"/>
                  </a:lnTo>
                  <a:cubicBezTo>
                    <a:pt x="14678" y="20162"/>
                    <a:pt x="14684" y="20232"/>
                    <a:pt x="14697" y="20325"/>
                  </a:cubicBezTo>
                  <a:cubicBezTo>
                    <a:pt x="14723" y="20418"/>
                    <a:pt x="14736" y="20494"/>
                    <a:pt x="14736" y="20552"/>
                  </a:cubicBezTo>
                  <a:cubicBezTo>
                    <a:pt x="14736" y="20575"/>
                    <a:pt x="14717" y="20610"/>
                    <a:pt x="14678" y="20657"/>
                  </a:cubicBezTo>
                  <a:cubicBezTo>
                    <a:pt x="14632" y="20715"/>
                    <a:pt x="14587" y="20744"/>
                    <a:pt x="14542" y="20744"/>
                  </a:cubicBezTo>
                  <a:cubicBezTo>
                    <a:pt x="14496" y="20744"/>
                    <a:pt x="14467" y="20610"/>
                    <a:pt x="14454" y="20342"/>
                  </a:cubicBezTo>
                  <a:cubicBezTo>
                    <a:pt x="14454" y="20075"/>
                    <a:pt x="14386" y="19936"/>
                    <a:pt x="14250" y="19923"/>
                  </a:cubicBezTo>
                  <a:cubicBezTo>
                    <a:pt x="14165" y="19923"/>
                    <a:pt x="14085" y="19953"/>
                    <a:pt x="14007" y="20011"/>
                  </a:cubicBezTo>
                  <a:cubicBezTo>
                    <a:pt x="13935" y="20069"/>
                    <a:pt x="13864" y="20098"/>
                    <a:pt x="13793" y="20098"/>
                  </a:cubicBezTo>
                  <a:cubicBezTo>
                    <a:pt x="13683" y="20086"/>
                    <a:pt x="13585" y="19941"/>
                    <a:pt x="13501" y="19662"/>
                  </a:cubicBezTo>
                  <a:cubicBezTo>
                    <a:pt x="13417" y="19370"/>
                    <a:pt x="13326" y="19219"/>
                    <a:pt x="13228" y="19208"/>
                  </a:cubicBezTo>
                  <a:cubicBezTo>
                    <a:pt x="13209" y="19208"/>
                    <a:pt x="13154" y="19342"/>
                    <a:pt x="13063" y="19609"/>
                  </a:cubicBezTo>
                  <a:cubicBezTo>
                    <a:pt x="12979" y="19865"/>
                    <a:pt x="12898" y="19987"/>
                    <a:pt x="12820" y="19976"/>
                  </a:cubicBezTo>
                  <a:cubicBezTo>
                    <a:pt x="12593" y="19964"/>
                    <a:pt x="12483" y="19848"/>
                    <a:pt x="12489" y="19627"/>
                  </a:cubicBezTo>
                  <a:cubicBezTo>
                    <a:pt x="12502" y="19336"/>
                    <a:pt x="12389" y="19121"/>
                    <a:pt x="12149" y="18981"/>
                  </a:cubicBezTo>
                  <a:lnTo>
                    <a:pt x="12178" y="18283"/>
                  </a:lnTo>
                  <a:cubicBezTo>
                    <a:pt x="12048" y="18224"/>
                    <a:pt x="11967" y="18195"/>
                    <a:pt x="11935" y="18195"/>
                  </a:cubicBezTo>
                  <a:cubicBezTo>
                    <a:pt x="11714" y="18172"/>
                    <a:pt x="11533" y="18253"/>
                    <a:pt x="11390" y="18439"/>
                  </a:cubicBezTo>
                  <a:cubicBezTo>
                    <a:pt x="11325" y="18532"/>
                    <a:pt x="11270" y="18626"/>
                    <a:pt x="11225" y="18719"/>
                  </a:cubicBezTo>
                  <a:cubicBezTo>
                    <a:pt x="11179" y="18719"/>
                    <a:pt x="11131" y="18614"/>
                    <a:pt x="11079" y="18404"/>
                  </a:cubicBezTo>
                  <a:cubicBezTo>
                    <a:pt x="11027" y="18183"/>
                    <a:pt x="10962" y="18073"/>
                    <a:pt x="10884" y="18073"/>
                  </a:cubicBezTo>
                  <a:lnTo>
                    <a:pt x="10291" y="18108"/>
                  </a:lnTo>
                  <a:cubicBezTo>
                    <a:pt x="10213" y="18108"/>
                    <a:pt x="10145" y="18044"/>
                    <a:pt x="10087" y="17915"/>
                  </a:cubicBezTo>
                  <a:cubicBezTo>
                    <a:pt x="10041" y="17776"/>
                    <a:pt x="9989" y="17706"/>
                    <a:pt x="9931" y="17706"/>
                  </a:cubicBezTo>
                  <a:cubicBezTo>
                    <a:pt x="9899" y="17695"/>
                    <a:pt x="9834" y="17700"/>
                    <a:pt x="9737" y="17724"/>
                  </a:cubicBezTo>
                  <a:cubicBezTo>
                    <a:pt x="9646" y="17759"/>
                    <a:pt x="9581" y="17770"/>
                    <a:pt x="9542" y="17759"/>
                  </a:cubicBezTo>
                  <a:cubicBezTo>
                    <a:pt x="9393" y="17759"/>
                    <a:pt x="9299" y="17508"/>
                    <a:pt x="9260" y="17008"/>
                  </a:cubicBezTo>
                  <a:cubicBezTo>
                    <a:pt x="9228" y="16495"/>
                    <a:pt x="9092" y="16193"/>
                    <a:pt x="8851" y="16100"/>
                  </a:cubicBezTo>
                  <a:cubicBezTo>
                    <a:pt x="8838" y="16135"/>
                    <a:pt x="8813" y="16210"/>
                    <a:pt x="8774" y="16327"/>
                  </a:cubicBezTo>
                  <a:cubicBezTo>
                    <a:pt x="8728" y="16431"/>
                    <a:pt x="8712" y="16530"/>
                    <a:pt x="8725" y="16624"/>
                  </a:cubicBezTo>
                  <a:lnTo>
                    <a:pt x="8608" y="16624"/>
                  </a:lnTo>
                  <a:cubicBezTo>
                    <a:pt x="8537" y="16530"/>
                    <a:pt x="8492" y="16478"/>
                    <a:pt x="8472" y="16466"/>
                  </a:cubicBezTo>
                  <a:cubicBezTo>
                    <a:pt x="8452" y="16466"/>
                    <a:pt x="8417" y="16460"/>
                    <a:pt x="8365" y="16449"/>
                  </a:cubicBezTo>
                  <a:cubicBezTo>
                    <a:pt x="8339" y="16449"/>
                    <a:pt x="8294" y="16478"/>
                    <a:pt x="8229" y="16536"/>
                  </a:cubicBezTo>
                  <a:cubicBezTo>
                    <a:pt x="8158" y="16583"/>
                    <a:pt x="8112" y="16606"/>
                    <a:pt x="8093" y="16606"/>
                  </a:cubicBezTo>
                  <a:cubicBezTo>
                    <a:pt x="8041" y="16594"/>
                    <a:pt x="7947" y="16391"/>
                    <a:pt x="7811" y="15995"/>
                  </a:cubicBezTo>
                  <a:cubicBezTo>
                    <a:pt x="7674" y="15541"/>
                    <a:pt x="7538" y="15285"/>
                    <a:pt x="7402" y="15227"/>
                  </a:cubicBezTo>
                  <a:lnTo>
                    <a:pt x="7237" y="15209"/>
                  </a:lnTo>
                  <a:lnTo>
                    <a:pt x="7587" y="4034"/>
                  </a:lnTo>
                  <a:lnTo>
                    <a:pt x="0" y="3004"/>
                  </a:lnTo>
                  <a:cubicBezTo>
                    <a:pt x="97" y="1234"/>
                    <a:pt x="159" y="233"/>
                    <a:pt x="185" y="0"/>
                  </a:cubicBezTo>
                  <a:close/>
                  <a:moveTo>
                    <a:pt x="185"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6" name="AutoShape 83"/>
            <p:cNvSpPr>
              <a:spLocks/>
            </p:cNvSpPr>
            <p:nvPr/>
          </p:nvSpPr>
          <p:spPr bwMode="auto">
            <a:xfrm>
              <a:off x="6629397" y="3199366"/>
              <a:ext cx="492126" cy="755546"/>
            </a:xfrm>
            <a:custGeom>
              <a:avLst/>
              <a:gdLst/>
              <a:ahLst/>
              <a:cxnLst/>
              <a:rect l="0" t="0" r="r" b="b"/>
              <a:pathLst>
                <a:path w="21600" h="21597">
                  <a:moveTo>
                    <a:pt x="0" y="21281"/>
                  </a:moveTo>
                  <a:lnTo>
                    <a:pt x="385" y="15704"/>
                  </a:lnTo>
                  <a:lnTo>
                    <a:pt x="1757" y="0"/>
                  </a:lnTo>
                  <a:lnTo>
                    <a:pt x="12664" y="298"/>
                  </a:lnTo>
                  <a:cubicBezTo>
                    <a:pt x="12700" y="457"/>
                    <a:pt x="12718" y="609"/>
                    <a:pt x="12718" y="753"/>
                  </a:cubicBezTo>
                  <a:cubicBezTo>
                    <a:pt x="12718" y="916"/>
                    <a:pt x="12682" y="1221"/>
                    <a:pt x="12610" y="1668"/>
                  </a:cubicBezTo>
                  <a:cubicBezTo>
                    <a:pt x="12598" y="1808"/>
                    <a:pt x="12464" y="1997"/>
                    <a:pt x="12207" y="2234"/>
                  </a:cubicBezTo>
                  <a:cubicBezTo>
                    <a:pt x="12207" y="2281"/>
                    <a:pt x="12285" y="2326"/>
                    <a:pt x="12440" y="2369"/>
                  </a:cubicBezTo>
                  <a:cubicBezTo>
                    <a:pt x="12637" y="2423"/>
                    <a:pt x="12757" y="2468"/>
                    <a:pt x="12799" y="2503"/>
                  </a:cubicBezTo>
                  <a:cubicBezTo>
                    <a:pt x="12948" y="2615"/>
                    <a:pt x="13035" y="2676"/>
                    <a:pt x="13058" y="2683"/>
                  </a:cubicBezTo>
                  <a:cubicBezTo>
                    <a:pt x="13083" y="2691"/>
                    <a:pt x="13181" y="2695"/>
                    <a:pt x="13354" y="2695"/>
                  </a:cubicBezTo>
                  <a:cubicBezTo>
                    <a:pt x="13516" y="2695"/>
                    <a:pt x="13668" y="2680"/>
                    <a:pt x="13811" y="2649"/>
                  </a:cubicBezTo>
                  <a:cubicBezTo>
                    <a:pt x="13955" y="2617"/>
                    <a:pt x="14092" y="2602"/>
                    <a:pt x="14224" y="2602"/>
                  </a:cubicBezTo>
                  <a:cubicBezTo>
                    <a:pt x="14660" y="2602"/>
                    <a:pt x="14908" y="2621"/>
                    <a:pt x="14968" y="2660"/>
                  </a:cubicBezTo>
                  <a:cubicBezTo>
                    <a:pt x="15051" y="2711"/>
                    <a:pt x="15093" y="2901"/>
                    <a:pt x="15093" y="3232"/>
                  </a:cubicBezTo>
                  <a:cubicBezTo>
                    <a:pt x="15093" y="3438"/>
                    <a:pt x="15338" y="3800"/>
                    <a:pt x="15828" y="4317"/>
                  </a:cubicBezTo>
                  <a:cubicBezTo>
                    <a:pt x="15834" y="4332"/>
                    <a:pt x="15846" y="4352"/>
                    <a:pt x="15864" y="4375"/>
                  </a:cubicBezTo>
                  <a:cubicBezTo>
                    <a:pt x="15888" y="4410"/>
                    <a:pt x="15900" y="4443"/>
                    <a:pt x="15900" y="4474"/>
                  </a:cubicBezTo>
                  <a:cubicBezTo>
                    <a:pt x="15900" y="4490"/>
                    <a:pt x="15891" y="4515"/>
                    <a:pt x="15873" y="4550"/>
                  </a:cubicBezTo>
                  <a:cubicBezTo>
                    <a:pt x="15855" y="4589"/>
                    <a:pt x="15846" y="4632"/>
                    <a:pt x="15846" y="4679"/>
                  </a:cubicBezTo>
                  <a:cubicBezTo>
                    <a:pt x="15846" y="4780"/>
                    <a:pt x="15900" y="4873"/>
                    <a:pt x="16007" y="4959"/>
                  </a:cubicBezTo>
                  <a:cubicBezTo>
                    <a:pt x="16109" y="5040"/>
                    <a:pt x="16160" y="5101"/>
                    <a:pt x="16160" y="5140"/>
                  </a:cubicBezTo>
                  <a:cubicBezTo>
                    <a:pt x="16160" y="5190"/>
                    <a:pt x="16142" y="5248"/>
                    <a:pt x="16106" y="5314"/>
                  </a:cubicBezTo>
                  <a:cubicBezTo>
                    <a:pt x="16070" y="5377"/>
                    <a:pt x="16052" y="5447"/>
                    <a:pt x="16052" y="5525"/>
                  </a:cubicBezTo>
                  <a:cubicBezTo>
                    <a:pt x="16052" y="5567"/>
                    <a:pt x="16067" y="5624"/>
                    <a:pt x="16097" y="5694"/>
                  </a:cubicBezTo>
                  <a:cubicBezTo>
                    <a:pt x="16127" y="5764"/>
                    <a:pt x="16142" y="5810"/>
                    <a:pt x="16142" y="5834"/>
                  </a:cubicBezTo>
                  <a:cubicBezTo>
                    <a:pt x="16142" y="5892"/>
                    <a:pt x="16085" y="5962"/>
                    <a:pt x="15971" y="6044"/>
                  </a:cubicBezTo>
                  <a:cubicBezTo>
                    <a:pt x="15852" y="6125"/>
                    <a:pt x="15792" y="6191"/>
                    <a:pt x="15792" y="6242"/>
                  </a:cubicBezTo>
                  <a:cubicBezTo>
                    <a:pt x="15792" y="6273"/>
                    <a:pt x="15822" y="6289"/>
                    <a:pt x="15882" y="6289"/>
                  </a:cubicBezTo>
                  <a:cubicBezTo>
                    <a:pt x="15960" y="6289"/>
                    <a:pt x="16019" y="6269"/>
                    <a:pt x="16061" y="6230"/>
                  </a:cubicBezTo>
                  <a:cubicBezTo>
                    <a:pt x="16103" y="6188"/>
                    <a:pt x="16178" y="6166"/>
                    <a:pt x="16285" y="6166"/>
                  </a:cubicBezTo>
                  <a:cubicBezTo>
                    <a:pt x="16315" y="6166"/>
                    <a:pt x="16411" y="6186"/>
                    <a:pt x="16572" y="6225"/>
                  </a:cubicBezTo>
                  <a:cubicBezTo>
                    <a:pt x="16596" y="6225"/>
                    <a:pt x="16832" y="6098"/>
                    <a:pt x="17280" y="5845"/>
                  </a:cubicBezTo>
                  <a:cubicBezTo>
                    <a:pt x="17728" y="5589"/>
                    <a:pt x="18227" y="5460"/>
                    <a:pt x="18777" y="5460"/>
                  </a:cubicBezTo>
                  <a:cubicBezTo>
                    <a:pt x="19034" y="5460"/>
                    <a:pt x="19186" y="5493"/>
                    <a:pt x="19234" y="5559"/>
                  </a:cubicBezTo>
                  <a:cubicBezTo>
                    <a:pt x="19305" y="5665"/>
                    <a:pt x="19452" y="5748"/>
                    <a:pt x="19673" y="5810"/>
                  </a:cubicBezTo>
                  <a:cubicBezTo>
                    <a:pt x="19882" y="5869"/>
                    <a:pt x="20214" y="5976"/>
                    <a:pt x="20668" y="6131"/>
                  </a:cubicBezTo>
                  <a:cubicBezTo>
                    <a:pt x="20811" y="6178"/>
                    <a:pt x="21122" y="6228"/>
                    <a:pt x="21600" y="6283"/>
                  </a:cubicBezTo>
                  <a:lnTo>
                    <a:pt x="11893" y="14182"/>
                  </a:lnTo>
                  <a:lnTo>
                    <a:pt x="11947" y="20645"/>
                  </a:lnTo>
                  <a:lnTo>
                    <a:pt x="11956" y="21596"/>
                  </a:lnTo>
                  <a:cubicBezTo>
                    <a:pt x="11341" y="21600"/>
                    <a:pt x="10143" y="21583"/>
                    <a:pt x="8362" y="21544"/>
                  </a:cubicBezTo>
                  <a:cubicBezTo>
                    <a:pt x="7651" y="21528"/>
                    <a:pt x="6844" y="21509"/>
                    <a:pt x="5942" y="21485"/>
                  </a:cubicBezTo>
                  <a:lnTo>
                    <a:pt x="1470" y="21363"/>
                  </a:lnTo>
                  <a:cubicBezTo>
                    <a:pt x="1034" y="21343"/>
                    <a:pt x="544" y="21316"/>
                    <a:pt x="0" y="21281"/>
                  </a:cubicBezTo>
                  <a:close/>
                  <a:moveTo>
                    <a:pt x="0" y="2128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7" name="AutoShape 84"/>
            <p:cNvSpPr>
              <a:spLocks/>
            </p:cNvSpPr>
            <p:nvPr/>
          </p:nvSpPr>
          <p:spPr bwMode="auto">
            <a:xfrm>
              <a:off x="7887279" y="2987506"/>
              <a:ext cx="80660" cy="78618"/>
            </a:xfrm>
            <a:custGeom>
              <a:avLst/>
              <a:gdLst/>
              <a:ahLst/>
              <a:cxnLst/>
              <a:rect l="0" t="0" r="r" b="b"/>
              <a:pathLst>
                <a:path w="21600" h="21600">
                  <a:moveTo>
                    <a:pt x="0" y="949"/>
                  </a:moveTo>
                  <a:cubicBezTo>
                    <a:pt x="145" y="837"/>
                    <a:pt x="326" y="725"/>
                    <a:pt x="545" y="614"/>
                  </a:cubicBezTo>
                  <a:cubicBezTo>
                    <a:pt x="1345" y="205"/>
                    <a:pt x="2001" y="0"/>
                    <a:pt x="2508" y="0"/>
                  </a:cubicBezTo>
                  <a:cubicBezTo>
                    <a:pt x="3128" y="0"/>
                    <a:pt x="3473" y="37"/>
                    <a:pt x="3546" y="111"/>
                  </a:cubicBezTo>
                  <a:cubicBezTo>
                    <a:pt x="3618" y="111"/>
                    <a:pt x="3891" y="428"/>
                    <a:pt x="4364" y="1060"/>
                  </a:cubicBezTo>
                  <a:cubicBezTo>
                    <a:pt x="4473" y="1209"/>
                    <a:pt x="4564" y="1489"/>
                    <a:pt x="4637" y="1898"/>
                  </a:cubicBezTo>
                  <a:cubicBezTo>
                    <a:pt x="4709" y="2381"/>
                    <a:pt x="4801" y="2716"/>
                    <a:pt x="4909" y="2902"/>
                  </a:cubicBezTo>
                  <a:cubicBezTo>
                    <a:pt x="5163" y="3386"/>
                    <a:pt x="5655" y="3907"/>
                    <a:pt x="6382" y="4465"/>
                  </a:cubicBezTo>
                  <a:cubicBezTo>
                    <a:pt x="6599" y="4762"/>
                    <a:pt x="6710" y="5153"/>
                    <a:pt x="6710" y="5637"/>
                  </a:cubicBezTo>
                  <a:cubicBezTo>
                    <a:pt x="6746" y="5897"/>
                    <a:pt x="6746" y="6269"/>
                    <a:pt x="6710" y="6754"/>
                  </a:cubicBezTo>
                  <a:cubicBezTo>
                    <a:pt x="6782" y="6754"/>
                    <a:pt x="6910" y="6791"/>
                    <a:pt x="7091" y="6865"/>
                  </a:cubicBezTo>
                  <a:cubicBezTo>
                    <a:pt x="7128" y="6865"/>
                    <a:pt x="7272" y="6716"/>
                    <a:pt x="7528" y="6418"/>
                  </a:cubicBezTo>
                  <a:cubicBezTo>
                    <a:pt x="7782" y="6121"/>
                    <a:pt x="7982" y="5972"/>
                    <a:pt x="8127" y="5972"/>
                  </a:cubicBezTo>
                  <a:cubicBezTo>
                    <a:pt x="8419" y="5972"/>
                    <a:pt x="8781" y="6400"/>
                    <a:pt x="9218" y="7256"/>
                  </a:cubicBezTo>
                  <a:cubicBezTo>
                    <a:pt x="9474" y="7702"/>
                    <a:pt x="9763" y="8298"/>
                    <a:pt x="10092" y="9042"/>
                  </a:cubicBezTo>
                  <a:cubicBezTo>
                    <a:pt x="10309" y="9525"/>
                    <a:pt x="10709" y="9935"/>
                    <a:pt x="11291" y="10270"/>
                  </a:cubicBezTo>
                  <a:cubicBezTo>
                    <a:pt x="11982" y="10642"/>
                    <a:pt x="12474" y="11032"/>
                    <a:pt x="12764" y="11441"/>
                  </a:cubicBezTo>
                  <a:cubicBezTo>
                    <a:pt x="12836" y="11405"/>
                    <a:pt x="13145" y="11144"/>
                    <a:pt x="13690" y="10660"/>
                  </a:cubicBezTo>
                  <a:cubicBezTo>
                    <a:pt x="14055" y="10363"/>
                    <a:pt x="14364" y="10214"/>
                    <a:pt x="14619" y="10214"/>
                  </a:cubicBezTo>
                  <a:cubicBezTo>
                    <a:pt x="15093" y="10214"/>
                    <a:pt x="15327" y="10493"/>
                    <a:pt x="15327" y="11051"/>
                  </a:cubicBezTo>
                  <a:lnTo>
                    <a:pt x="15001" y="12502"/>
                  </a:lnTo>
                  <a:cubicBezTo>
                    <a:pt x="15001" y="12837"/>
                    <a:pt x="15254" y="13135"/>
                    <a:pt x="15764" y="13395"/>
                  </a:cubicBezTo>
                  <a:cubicBezTo>
                    <a:pt x="16237" y="13656"/>
                    <a:pt x="16710" y="13786"/>
                    <a:pt x="17183" y="13786"/>
                  </a:cubicBezTo>
                  <a:cubicBezTo>
                    <a:pt x="17509" y="13786"/>
                    <a:pt x="17745" y="13582"/>
                    <a:pt x="17892" y="13172"/>
                  </a:cubicBezTo>
                  <a:cubicBezTo>
                    <a:pt x="18001" y="12725"/>
                    <a:pt x="18255" y="12502"/>
                    <a:pt x="18655" y="12502"/>
                  </a:cubicBezTo>
                  <a:cubicBezTo>
                    <a:pt x="18947" y="12502"/>
                    <a:pt x="19201" y="12837"/>
                    <a:pt x="19418" y="13507"/>
                  </a:cubicBezTo>
                  <a:cubicBezTo>
                    <a:pt x="19601" y="14102"/>
                    <a:pt x="19964" y="14270"/>
                    <a:pt x="20509" y="14009"/>
                  </a:cubicBezTo>
                  <a:lnTo>
                    <a:pt x="21600" y="14009"/>
                  </a:lnTo>
                  <a:lnTo>
                    <a:pt x="21600" y="14791"/>
                  </a:lnTo>
                  <a:cubicBezTo>
                    <a:pt x="21093" y="15758"/>
                    <a:pt x="19964" y="16744"/>
                    <a:pt x="18218" y="17749"/>
                  </a:cubicBezTo>
                  <a:cubicBezTo>
                    <a:pt x="18144" y="17787"/>
                    <a:pt x="18071" y="17824"/>
                    <a:pt x="18001" y="17860"/>
                  </a:cubicBezTo>
                  <a:lnTo>
                    <a:pt x="18054" y="17917"/>
                  </a:lnTo>
                  <a:cubicBezTo>
                    <a:pt x="17400" y="18437"/>
                    <a:pt x="16582" y="19088"/>
                    <a:pt x="15600" y="19870"/>
                  </a:cubicBezTo>
                  <a:cubicBezTo>
                    <a:pt x="14219" y="21023"/>
                    <a:pt x="13345" y="21600"/>
                    <a:pt x="12983" y="21600"/>
                  </a:cubicBezTo>
                  <a:cubicBezTo>
                    <a:pt x="12582" y="21600"/>
                    <a:pt x="12018" y="20986"/>
                    <a:pt x="11291" y="19759"/>
                  </a:cubicBezTo>
                  <a:cubicBezTo>
                    <a:pt x="10528" y="18493"/>
                    <a:pt x="10145" y="17525"/>
                    <a:pt x="10145" y="16856"/>
                  </a:cubicBezTo>
                  <a:lnTo>
                    <a:pt x="10364" y="15349"/>
                  </a:lnTo>
                  <a:cubicBezTo>
                    <a:pt x="10364" y="15126"/>
                    <a:pt x="10309" y="14865"/>
                    <a:pt x="10200" y="14567"/>
                  </a:cubicBezTo>
                  <a:cubicBezTo>
                    <a:pt x="10055" y="14158"/>
                    <a:pt x="9855" y="13898"/>
                    <a:pt x="9599" y="13786"/>
                  </a:cubicBezTo>
                  <a:cubicBezTo>
                    <a:pt x="9418" y="14344"/>
                    <a:pt x="9254" y="14735"/>
                    <a:pt x="9109" y="14958"/>
                  </a:cubicBezTo>
                  <a:cubicBezTo>
                    <a:pt x="8892" y="15330"/>
                    <a:pt x="8547" y="15516"/>
                    <a:pt x="8074" y="15516"/>
                  </a:cubicBezTo>
                  <a:cubicBezTo>
                    <a:pt x="7673" y="15516"/>
                    <a:pt x="6983" y="14865"/>
                    <a:pt x="6000" y="13563"/>
                  </a:cubicBezTo>
                  <a:cubicBezTo>
                    <a:pt x="5090" y="12335"/>
                    <a:pt x="4581" y="11498"/>
                    <a:pt x="4473" y="11051"/>
                  </a:cubicBezTo>
                  <a:cubicBezTo>
                    <a:pt x="4581" y="9451"/>
                    <a:pt x="4436" y="8465"/>
                    <a:pt x="4036" y="8093"/>
                  </a:cubicBezTo>
                  <a:cubicBezTo>
                    <a:pt x="3637" y="8019"/>
                    <a:pt x="3290" y="7925"/>
                    <a:pt x="3000" y="7814"/>
                  </a:cubicBezTo>
                  <a:cubicBezTo>
                    <a:pt x="2491" y="7665"/>
                    <a:pt x="2235" y="7349"/>
                    <a:pt x="2235" y="6865"/>
                  </a:cubicBezTo>
                  <a:lnTo>
                    <a:pt x="3218" y="4409"/>
                  </a:lnTo>
                  <a:cubicBezTo>
                    <a:pt x="3218" y="3963"/>
                    <a:pt x="2691" y="3684"/>
                    <a:pt x="1636" y="3572"/>
                  </a:cubicBezTo>
                  <a:cubicBezTo>
                    <a:pt x="545" y="3497"/>
                    <a:pt x="0" y="2828"/>
                    <a:pt x="0" y="1562"/>
                  </a:cubicBezTo>
                  <a:cubicBezTo>
                    <a:pt x="0" y="1377"/>
                    <a:pt x="0" y="1172"/>
                    <a:pt x="0" y="949"/>
                  </a:cubicBezTo>
                  <a:close/>
                  <a:moveTo>
                    <a:pt x="0" y="94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8" name="AutoShape 85"/>
            <p:cNvSpPr>
              <a:spLocks/>
            </p:cNvSpPr>
            <p:nvPr/>
          </p:nvSpPr>
          <p:spPr bwMode="auto">
            <a:xfrm>
              <a:off x="7924035" y="3044683"/>
              <a:ext cx="524288" cy="492636"/>
            </a:xfrm>
            <a:custGeom>
              <a:avLst/>
              <a:gdLst/>
              <a:ahLst/>
              <a:cxnLst/>
              <a:rect l="0" t="0" r="r" b="b"/>
              <a:pathLst>
                <a:path w="21600" h="21600">
                  <a:moveTo>
                    <a:pt x="20372" y="16359"/>
                  </a:moveTo>
                  <a:lnTo>
                    <a:pt x="19565" y="14794"/>
                  </a:lnTo>
                  <a:cubicBezTo>
                    <a:pt x="14812" y="17280"/>
                    <a:pt x="12231" y="18607"/>
                    <a:pt x="11821" y="18774"/>
                  </a:cubicBezTo>
                  <a:cubicBezTo>
                    <a:pt x="11311" y="18982"/>
                    <a:pt x="11023" y="19105"/>
                    <a:pt x="10955" y="19140"/>
                  </a:cubicBezTo>
                  <a:cubicBezTo>
                    <a:pt x="10692" y="19301"/>
                    <a:pt x="10462" y="19441"/>
                    <a:pt x="10266" y="19561"/>
                  </a:cubicBezTo>
                  <a:cubicBezTo>
                    <a:pt x="9885" y="19793"/>
                    <a:pt x="9652" y="19910"/>
                    <a:pt x="9568" y="19910"/>
                  </a:cubicBezTo>
                  <a:cubicBezTo>
                    <a:pt x="9501" y="19910"/>
                    <a:pt x="9442" y="19805"/>
                    <a:pt x="9392" y="19596"/>
                  </a:cubicBezTo>
                  <a:cubicBezTo>
                    <a:pt x="9335" y="19364"/>
                    <a:pt x="9305" y="19248"/>
                    <a:pt x="9299" y="19248"/>
                  </a:cubicBezTo>
                  <a:cubicBezTo>
                    <a:pt x="9238" y="19188"/>
                    <a:pt x="9089" y="19125"/>
                    <a:pt x="8853" y="19060"/>
                  </a:cubicBezTo>
                  <a:cubicBezTo>
                    <a:pt x="8713" y="19018"/>
                    <a:pt x="8643" y="18902"/>
                    <a:pt x="8643" y="18711"/>
                  </a:cubicBezTo>
                  <a:cubicBezTo>
                    <a:pt x="8643" y="18473"/>
                    <a:pt x="8752" y="18261"/>
                    <a:pt x="8971" y="18076"/>
                  </a:cubicBezTo>
                  <a:cubicBezTo>
                    <a:pt x="9190" y="17897"/>
                    <a:pt x="9299" y="17793"/>
                    <a:pt x="9299" y="17763"/>
                  </a:cubicBezTo>
                  <a:cubicBezTo>
                    <a:pt x="9299" y="17673"/>
                    <a:pt x="9260" y="17629"/>
                    <a:pt x="9181" y="17629"/>
                  </a:cubicBezTo>
                  <a:lnTo>
                    <a:pt x="8895" y="17691"/>
                  </a:lnTo>
                  <a:cubicBezTo>
                    <a:pt x="8794" y="17691"/>
                    <a:pt x="8710" y="17548"/>
                    <a:pt x="8643" y="17262"/>
                  </a:cubicBezTo>
                  <a:cubicBezTo>
                    <a:pt x="8571" y="16970"/>
                    <a:pt x="8439" y="16824"/>
                    <a:pt x="8248" y="16824"/>
                  </a:cubicBezTo>
                  <a:cubicBezTo>
                    <a:pt x="8192" y="16824"/>
                    <a:pt x="8150" y="16860"/>
                    <a:pt x="8122" y="16931"/>
                  </a:cubicBezTo>
                  <a:cubicBezTo>
                    <a:pt x="8105" y="16985"/>
                    <a:pt x="8088" y="17089"/>
                    <a:pt x="8072" y="17244"/>
                  </a:cubicBezTo>
                  <a:cubicBezTo>
                    <a:pt x="8066" y="17292"/>
                    <a:pt x="8035" y="17363"/>
                    <a:pt x="7979" y="17459"/>
                  </a:cubicBezTo>
                  <a:cubicBezTo>
                    <a:pt x="7928" y="17554"/>
                    <a:pt x="7903" y="17635"/>
                    <a:pt x="7903" y="17700"/>
                  </a:cubicBezTo>
                  <a:lnTo>
                    <a:pt x="7937" y="17879"/>
                  </a:lnTo>
                  <a:cubicBezTo>
                    <a:pt x="7937" y="17927"/>
                    <a:pt x="7920" y="18031"/>
                    <a:pt x="7886" y="18192"/>
                  </a:cubicBezTo>
                  <a:cubicBezTo>
                    <a:pt x="7886" y="18300"/>
                    <a:pt x="7903" y="18389"/>
                    <a:pt x="7937" y="18461"/>
                  </a:cubicBezTo>
                  <a:cubicBezTo>
                    <a:pt x="7959" y="18520"/>
                    <a:pt x="8010" y="18607"/>
                    <a:pt x="8088" y="18720"/>
                  </a:cubicBezTo>
                  <a:cubicBezTo>
                    <a:pt x="8150" y="18809"/>
                    <a:pt x="8237" y="18890"/>
                    <a:pt x="8349" y="18961"/>
                  </a:cubicBezTo>
                  <a:cubicBezTo>
                    <a:pt x="8444" y="19021"/>
                    <a:pt x="8498" y="19063"/>
                    <a:pt x="8509" y="19087"/>
                  </a:cubicBezTo>
                  <a:cubicBezTo>
                    <a:pt x="8486" y="19087"/>
                    <a:pt x="8475" y="19099"/>
                    <a:pt x="8475" y="19122"/>
                  </a:cubicBezTo>
                  <a:cubicBezTo>
                    <a:pt x="8475" y="19152"/>
                    <a:pt x="8469" y="19170"/>
                    <a:pt x="8458" y="19176"/>
                  </a:cubicBezTo>
                  <a:cubicBezTo>
                    <a:pt x="8458" y="19236"/>
                    <a:pt x="8506" y="19337"/>
                    <a:pt x="8601" y="19480"/>
                  </a:cubicBezTo>
                  <a:cubicBezTo>
                    <a:pt x="8652" y="19552"/>
                    <a:pt x="8699" y="19620"/>
                    <a:pt x="8744" y="19686"/>
                  </a:cubicBezTo>
                  <a:cubicBezTo>
                    <a:pt x="8744" y="19692"/>
                    <a:pt x="8710" y="19772"/>
                    <a:pt x="8643" y="19927"/>
                  </a:cubicBezTo>
                  <a:cubicBezTo>
                    <a:pt x="8576" y="20088"/>
                    <a:pt x="8542" y="20187"/>
                    <a:pt x="8542" y="20223"/>
                  </a:cubicBezTo>
                  <a:cubicBezTo>
                    <a:pt x="8542" y="20407"/>
                    <a:pt x="8590" y="20536"/>
                    <a:pt x="8685" y="20607"/>
                  </a:cubicBezTo>
                  <a:cubicBezTo>
                    <a:pt x="8853" y="20732"/>
                    <a:pt x="8966" y="20843"/>
                    <a:pt x="9021" y="20938"/>
                  </a:cubicBezTo>
                  <a:cubicBezTo>
                    <a:pt x="8954" y="20980"/>
                    <a:pt x="8909" y="21013"/>
                    <a:pt x="8887" y="21037"/>
                  </a:cubicBezTo>
                  <a:cubicBezTo>
                    <a:pt x="8865" y="21066"/>
                    <a:pt x="8853" y="21135"/>
                    <a:pt x="8853" y="21242"/>
                  </a:cubicBezTo>
                  <a:cubicBezTo>
                    <a:pt x="8853" y="21439"/>
                    <a:pt x="8842" y="21558"/>
                    <a:pt x="8820" y="21600"/>
                  </a:cubicBezTo>
                  <a:cubicBezTo>
                    <a:pt x="8797" y="21576"/>
                    <a:pt x="8694" y="21513"/>
                    <a:pt x="8509" y="21412"/>
                  </a:cubicBezTo>
                  <a:cubicBezTo>
                    <a:pt x="8346" y="21329"/>
                    <a:pt x="8265" y="21269"/>
                    <a:pt x="8265" y="21233"/>
                  </a:cubicBezTo>
                  <a:cubicBezTo>
                    <a:pt x="8287" y="21156"/>
                    <a:pt x="8299" y="21102"/>
                    <a:pt x="8299" y="21072"/>
                  </a:cubicBezTo>
                  <a:cubicBezTo>
                    <a:pt x="8299" y="20983"/>
                    <a:pt x="8229" y="20911"/>
                    <a:pt x="8088" y="20858"/>
                  </a:cubicBezTo>
                  <a:cubicBezTo>
                    <a:pt x="7892" y="20780"/>
                    <a:pt x="7791" y="20738"/>
                    <a:pt x="7786" y="20732"/>
                  </a:cubicBezTo>
                  <a:cubicBezTo>
                    <a:pt x="7505" y="20512"/>
                    <a:pt x="7284" y="20401"/>
                    <a:pt x="7121" y="20401"/>
                  </a:cubicBezTo>
                  <a:cubicBezTo>
                    <a:pt x="7026" y="20401"/>
                    <a:pt x="6906" y="20428"/>
                    <a:pt x="6760" y="20482"/>
                  </a:cubicBezTo>
                  <a:cubicBezTo>
                    <a:pt x="6603" y="20536"/>
                    <a:pt x="6524" y="20586"/>
                    <a:pt x="6524" y="20634"/>
                  </a:cubicBezTo>
                  <a:lnTo>
                    <a:pt x="6566" y="20741"/>
                  </a:lnTo>
                  <a:cubicBezTo>
                    <a:pt x="6595" y="20819"/>
                    <a:pt x="6608" y="20873"/>
                    <a:pt x="6608" y="20902"/>
                  </a:cubicBezTo>
                  <a:cubicBezTo>
                    <a:pt x="6608" y="20962"/>
                    <a:pt x="6558" y="20992"/>
                    <a:pt x="6457" y="20992"/>
                  </a:cubicBezTo>
                  <a:lnTo>
                    <a:pt x="6222" y="20956"/>
                  </a:lnTo>
                  <a:cubicBezTo>
                    <a:pt x="6127" y="21063"/>
                    <a:pt x="6068" y="21117"/>
                    <a:pt x="6045" y="21117"/>
                  </a:cubicBezTo>
                  <a:cubicBezTo>
                    <a:pt x="6034" y="21117"/>
                    <a:pt x="5970" y="21078"/>
                    <a:pt x="5852" y="21001"/>
                  </a:cubicBezTo>
                  <a:cubicBezTo>
                    <a:pt x="5734" y="20923"/>
                    <a:pt x="5625" y="20884"/>
                    <a:pt x="5524" y="20884"/>
                  </a:cubicBezTo>
                  <a:cubicBezTo>
                    <a:pt x="5423" y="20884"/>
                    <a:pt x="5370" y="20950"/>
                    <a:pt x="5364" y="21081"/>
                  </a:cubicBezTo>
                  <a:cubicBezTo>
                    <a:pt x="5358" y="21206"/>
                    <a:pt x="5336" y="21269"/>
                    <a:pt x="5297" y="21269"/>
                  </a:cubicBezTo>
                  <a:cubicBezTo>
                    <a:pt x="5218" y="21269"/>
                    <a:pt x="5126" y="21201"/>
                    <a:pt x="5019" y="21063"/>
                  </a:cubicBezTo>
                  <a:cubicBezTo>
                    <a:pt x="4919" y="20926"/>
                    <a:pt x="4868" y="20816"/>
                    <a:pt x="4868" y="20732"/>
                  </a:cubicBezTo>
                  <a:cubicBezTo>
                    <a:pt x="4868" y="20703"/>
                    <a:pt x="4882" y="20658"/>
                    <a:pt x="4910" y="20598"/>
                  </a:cubicBezTo>
                  <a:cubicBezTo>
                    <a:pt x="4938" y="20539"/>
                    <a:pt x="4952" y="20479"/>
                    <a:pt x="4952" y="20419"/>
                  </a:cubicBezTo>
                  <a:cubicBezTo>
                    <a:pt x="4952" y="20229"/>
                    <a:pt x="4905" y="20073"/>
                    <a:pt x="4809" y="19954"/>
                  </a:cubicBezTo>
                  <a:cubicBezTo>
                    <a:pt x="4708" y="19829"/>
                    <a:pt x="4658" y="19665"/>
                    <a:pt x="4658" y="19462"/>
                  </a:cubicBezTo>
                  <a:cubicBezTo>
                    <a:pt x="4658" y="19039"/>
                    <a:pt x="4523" y="18827"/>
                    <a:pt x="4254" y="18827"/>
                  </a:cubicBezTo>
                  <a:cubicBezTo>
                    <a:pt x="4221" y="18827"/>
                    <a:pt x="4184" y="18869"/>
                    <a:pt x="4145" y="18952"/>
                  </a:cubicBezTo>
                  <a:cubicBezTo>
                    <a:pt x="4106" y="19036"/>
                    <a:pt x="4086" y="19120"/>
                    <a:pt x="4086" y="19203"/>
                  </a:cubicBezTo>
                  <a:cubicBezTo>
                    <a:pt x="4086" y="19245"/>
                    <a:pt x="4103" y="19322"/>
                    <a:pt x="4137" y="19435"/>
                  </a:cubicBezTo>
                  <a:cubicBezTo>
                    <a:pt x="4165" y="19555"/>
                    <a:pt x="4179" y="19632"/>
                    <a:pt x="4179" y="19668"/>
                  </a:cubicBezTo>
                  <a:cubicBezTo>
                    <a:pt x="4179" y="19775"/>
                    <a:pt x="4109" y="19874"/>
                    <a:pt x="3968" y="19963"/>
                  </a:cubicBezTo>
                  <a:cubicBezTo>
                    <a:pt x="3851" y="20035"/>
                    <a:pt x="3753" y="20071"/>
                    <a:pt x="3674" y="20071"/>
                  </a:cubicBezTo>
                  <a:cubicBezTo>
                    <a:pt x="3551" y="20071"/>
                    <a:pt x="3458" y="19901"/>
                    <a:pt x="3397" y="19561"/>
                  </a:cubicBezTo>
                  <a:cubicBezTo>
                    <a:pt x="3352" y="19322"/>
                    <a:pt x="3329" y="19072"/>
                    <a:pt x="3329" y="18809"/>
                  </a:cubicBezTo>
                  <a:cubicBezTo>
                    <a:pt x="3329" y="18768"/>
                    <a:pt x="3341" y="18687"/>
                    <a:pt x="3363" y="18568"/>
                  </a:cubicBezTo>
                  <a:cubicBezTo>
                    <a:pt x="3386" y="18449"/>
                    <a:pt x="3397" y="18359"/>
                    <a:pt x="3397" y="18300"/>
                  </a:cubicBezTo>
                  <a:cubicBezTo>
                    <a:pt x="3397" y="18198"/>
                    <a:pt x="3329" y="18127"/>
                    <a:pt x="3195" y="18085"/>
                  </a:cubicBezTo>
                  <a:cubicBezTo>
                    <a:pt x="3044" y="18055"/>
                    <a:pt x="2951" y="18034"/>
                    <a:pt x="2917" y="18022"/>
                  </a:cubicBezTo>
                  <a:cubicBezTo>
                    <a:pt x="2890" y="18010"/>
                    <a:pt x="2825" y="17954"/>
                    <a:pt x="2724" y="17852"/>
                  </a:cubicBezTo>
                  <a:cubicBezTo>
                    <a:pt x="2640" y="17757"/>
                    <a:pt x="2556" y="17709"/>
                    <a:pt x="2472" y="17709"/>
                  </a:cubicBezTo>
                  <a:cubicBezTo>
                    <a:pt x="2433" y="17709"/>
                    <a:pt x="2399" y="17721"/>
                    <a:pt x="2371" y="17745"/>
                  </a:cubicBezTo>
                  <a:cubicBezTo>
                    <a:pt x="2337" y="17769"/>
                    <a:pt x="2298" y="17781"/>
                    <a:pt x="2253" y="17781"/>
                  </a:cubicBezTo>
                  <a:cubicBezTo>
                    <a:pt x="2130" y="17781"/>
                    <a:pt x="2060" y="17742"/>
                    <a:pt x="2043" y="17665"/>
                  </a:cubicBezTo>
                  <a:cubicBezTo>
                    <a:pt x="2049" y="17575"/>
                    <a:pt x="2046" y="17510"/>
                    <a:pt x="2035" y="17468"/>
                  </a:cubicBezTo>
                  <a:cubicBezTo>
                    <a:pt x="2029" y="17444"/>
                    <a:pt x="1925" y="17345"/>
                    <a:pt x="1724" y="17173"/>
                  </a:cubicBezTo>
                  <a:cubicBezTo>
                    <a:pt x="1538" y="17024"/>
                    <a:pt x="1424" y="16928"/>
                    <a:pt x="1379" y="16886"/>
                  </a:cubicBezTo>
                  <a:cubicBezTo>
                    <a:pt x="1256" y="16755"/>
                    <a:pt x="1194" y="16639"/>
                    <a:pt x="1194" y="16538"/>
                  </a:cubicBezTo>
                  <a:cubicBezTo>
                    <a:pt x="1194" y="16490"/>
                    <a:pt x="1227" y="16397"/>
                    <a:pt x="1295" y="16260"/>
                  </a:cubicBezTo>
                  <a:cubicBezTo>
                    <a:pt x="1362" y="16123"/>
                    <a:pt x="1396" y="16034"/>
                    <a:pt x="1396" y="15992"/>
                  </a:cubicBezTo>
                  <a:cubicBezTo>
                    <a:pt x="1396" y="15932"/>
                    <a:pt x="1334" y="15858"/>
                    <a:pt x="1211" y="15768"/>
                  </a:cubicBezTo>
                  <a:cubicBezTo>
                    <a:pt x="1082" y="15673"/>
                    <a:pt x="1017" y="15545"/>
                    <a:pt x="1017" y="15384"/>
                  </a:cubicBezTo>
                  <a:cubicBezTo>
                    <a:pt x="1017" y="15271"/>
                    <a:pt x="1028" y="15208"/>
                    <a:pt x="1051" y="15196"/>
                  </a:cubicBezTo>
                  <a:cubicBezTo>
                    <a:pt x="1068" y="15178"/>
                    <a:pt x="1099" y="15169"/>
                    <a:pt x="1143" y="15169"/>
                  </a:cubicBezTo>
                  <a:cubicBezTo>
                    <a:pt x="1154" y="15169"/>
                    <a:pt x="1166" y="15166"/>
                    <a:pt x="1177" y="15160"/>
                  </a:cubicBezTo>
                  <a:cubicBezTo>
                    <a:pt x="1211" y="15154"/>
                    <a:pt x="1236" y="15148"/>
                    <a:pt x="1253" y="15142"/>
                  </a:cubicBezTo>
                  <a:cubicBezTo>
                    <a:pt x="1309" y="15113"/>
                    <a:pt x="1382" y="15059"/>
                    <a:pt x="1471" y="14981"/>
                  </a:cubicBezTo>
                  <a:cubicBezTo>
                    <a:pt x="1606" y="14868"/>
                    <a:pt x="1673" y="14799"/>
                    <a:pt x="1673" y="14776"/>
                  </a:cubicBezTo>
                  <a:cubicBezTo>
                    <a:pt x="1673" y="14710"/>
                    <a:pt x="1513" y="14546"/>
                    <a:pt x="1194" y="14284"/>
                  </a:cubicBezTo>
                  <a:cubicBezTo>
                    <a:pt x="869" y="14027"/>
                    <a:pt x="706" y="13837"/>
                    <a:pt x="706" y="13711"/>
                  </a:cubicBezTo>
                  <a:cubicBezTo>
                    <a:pt x="706" y="13693"/>
                    <a:pt x="717" y="13673"/>
                    <a:pt x="740" y="13649"/>
                  </a:cubicBezTo>
                  <a:cubicBezTo>
                    <a:pt x="757" y="13655"/>
                    <a:pt x="838" y="13682"/>
                    <a:pt x="984" y="13729"/>
                  </a:cubicBezTo>
                  <a:cubicBezTo>
                    <a:pt x="1135" y="13783"/>
                    <a:pt x="1239" y="13828"/>
                    <a:pt x="1295" y="13863"/>
                  </a:cubicBezTo>
                  <a:cubicBezTo>
                    <a:pt x="1373" y="13917"/>
                    <a:pt x="1488" y="13995"/>
                    <a:pt x="1640" y="14096"/>
                  </a:cubicBezTo>
                  <a:cubicBezTo>
                    <a:pt x="1768" y="14173"/>
                    <a:pt x="1894" y="14212"/>
                    <a:pt x="2018" y="14212"/>
                  </a:cubicBezTo>
                  <a:cubicBezTo>
                    <a:pt x="2158" y="14212"/>
                    <a:pt x="2228" y="14170"/>
                    <a:pt x="2228" y="14087"/>
                  </a:cubicBezTo>
                  <a:cubicBezTo>
                    <a:pt x="2228" y="14009"/>
                    <a:pt x="2096" y="13789"/>
                    <a:pt x="1833" y="13425"/>
                  </a:cubicBezTo>
                  <a:cubicBezTo>
                    <a:pt x="1547" y="13032"/>
                    <a:pt x="1373" y="12787"/>
                    <a:pt x="1311" y="12692"/>
                  </a:cubicBezTo>
                  <a:lnTo>
                    <a:pt x="1429" y="12638"/>
                  </a:lnTo>
                  <a:cubicBezTo>
                    <a:pt x="1547" y="12638"/>
                    <a:pt x="1752" y="12748"/>
                    <a:pt x="2043" y="12969"/>
                  </a:cubicBezTo>
                  <a:cubicBezTo>
                    <a:pt x="2323" y="13184"/>
                    <a:pt x="2539" y="13282"/>
                    <a:pt x="2691" y="13264"/>
                  </a:cubicBezTo>
                  <a:cubicBezTo>
                    <a:pt x="2819" y="13252"/>
                    <a:pt x="3010" y="13270"/>
                    <a:pt x="3262" y="13318"/>
                  </a:cubicBezTo>
                  <a:cubicBezTo>
                    <a:pt x="3324" y="13330"/>
                    <a:pt x="3402" y="13377"/>
                    <a:pt x="3498" y="13461"/>
                  </a:cubicBezTo>
                  <a:cubicBezTo>
                    <a:pt x="3587" y="13544"/>
                    <a:pt x="3660" y="13586"/>
                    <a:pt x="3716" y="13586"/>
                  </a:cubicBezTo>
                  <a:cubicBezTo>
                    <a:pt x="3778" y="13586"/>
                    <a:pt x="3842" y="13541"/>
                    <a:pt x="3910" y="13452"/>
                  </a:cubicBezTo>
                  <a:cubicBezTo>
                    <a:pt x="3977" y="13362"/>
                    <a:pt x="4050" y="13324"/>
                    <a:pt x="4128" y="13336"/>
                  </a:cubicBezTo>
                  <a:cubicBezTo>
                    <a:pt x="4218" y="13348"/>
                    <a:pt x="4296" y="13348"/>
                    <a:pt x="4364" y="13336"/>
                  </a:cubicBezTo>
                  <a:cubicBezTo>
                    <a:pt x="4397" y="13330"/>
                    <a:pt x="4434" y="13306"/>
                    <a:pt x="4473" y="13264"/>
                  </a:cubicBezTo>
                  <a:cubicBezTo>
                    <a:pt x="4523" y="13216"/>
                    <a:pt x="4557" y="13190"/>
                    <a:pt x="4574" y="13184"/>
                  </a:cubicBezTo>
                  <a:cubicBezTo>
                    <a:pt x="4647" y="13148"/>
                    <a:pt x="4736" y="13118"/>
                    <a:pt x="4843" y="13094"/>
                  </a:cubicBezTo>
                  <a:cubicBezTo>
                    <a:pt x="4983" y="13058"/>
                    <a:pt x="5073" y="13035"/>
                    <a:pt x="5112" y="13023"/>
                  </a:cubicBezTo>
                  <a:cubicBezTo>
                    <a:pt x="5146" y="13011"/>
                    <a:pt x="5238" y="12951"/>
                    <a:pt x="5389" y="12844"/>
                  </a:cubicBezTo>
                  <a:cubicBezTo>
                    <a:pt x="5513" y="12754"/>
                    <a:pt x="5619" y="12710"/>
                    <a:pt x="5709" y="12710"/>
                  </a:cubicBezTo>
                  <a:cubicBezTo>
                    <a:pt x="5765" y="12710"/>
                    <a:pt x="5956" y="12757"/>
                    <a:pt x="6281" y="12853"/>
                  </a:cubicBezTo>
                  <a:cubicBezTo>
                    <a:pt x="6415" y="12853"/>
                    <a:pt x="6502" y="12817"/>
                    <a:pt x="6541" y="12745"/>
                  </a:cubicBezTo>
                  <a:cubicBezTo>
                    <a:pt x="6547" y="12721"/>
                    <a:pt x="6558" y="12647"/>
                    <a:pt x="6575" y="12522"/>
                  </a:cubicBezTo>
                  <a:cubicBezTo>
                    <a:pt x="6631" y="12194"/>
                    <a:pt x="6659" y="12012"/>
                    <a:pt x="6659" y="11976"/>
                  </a:cubicBezTo>
                  <a:cubicBezTo>
                    <a:pt x="6659" y="11845"/>
                    <a:pt x="6592" y="11702"/>
                    <a:pt x="6457" y="11547"/>
                  </a:cubicBezTo>
                  <a:cubicBezTo>
                    <a:pt x="6317" y="11392"/>
                    <a:pt x="6247" y="11225"/>
                    <a:pt x="6247" y="11046"/>
                  </a:cubicBezTo>
                  <a:cubicBezTo>
                    <a:pt x="6247" y="10950"/>
                    <a:pt x="6325" y="10819"/>
                    <a:pt x="6482" y="10652"/>
                  </a:cubicBezTo>
                  <a:cubicBezTo>
                    <a:pt x="6634" y="10486"/>
                    <a:pt x="6709" y="10369"/>
                    <a:pt x="6709" y="10304"/>
                  </a:cubicBezTo>
                  <a:cubicBezTo>
                    <a:pt x="6709" y="10250"/>
                    <a:pt x="6681" y="10187"/>
                    <a:pt x="6625" y="10116"/>
                  </a:cubicBezTo>
                  <a:cubicBezTo>
                    <a:pt x="6569" y="10044"/>
                    <a:pt x="6541" y="9979"/>
                    <a:pt x="6541" y="9919"/>
                  </a:cubicBezTo>
                  <a:cubicBezTo>
                    <a:pt x="6541" y="9740"/>
                    <a:pt x="6415" y="9671"/>
                    <a:pt x="6163" y="9713"/>
                  </a:cubicBezTo>
                  <a:cubicBezTo>
                    <a:pt x="6062" y="9725"/>
                    <a:pt x="5886" y="9639"/>
                    <a:pt x="5633" y="9454"/>
                  </a:cubicBezTo>
                  <a:cubicBezTo>
                    <a:pt x="5398" y="9275"/>
                    <a:pt x="5280" y="9159"/>
                    <a:pt x="5280" y="9105"/>
                  </a:cubicBezTo>
                  <a:cubicBezTo>
                    <a:pt x="5280" y="9051"/>
                    <a:pt x="5308" y="8956"/>
                    <a:pt x="5364" y="8819"/>
                  </a:cubicBezTo>
                  <a:lnTo>
                    <a:pt x="5440" y="8631"/>
                  </a:lnTo>
                  <a:cubicBezTo>
                    <a:pt x="5440" y="8571"/>
                    <a:pt x="5403" y="8542"/>
                    <a:pt x="5330" y="8542"/>
                  </a:cubicBezTo>
                  <a:cubicBezTo>
                    <a:pt x="5022" y="8715"/>
                    <a:pt x="4812" y="8801"/>
                    <a:pt x="4700" y="8801"/>
                  </a:cubicBezTo>
                  <a:cubicBezTo>
                    <a:pt x="4605" y="8801"/>
                    <a:pt x="4557" y="8771"/>
                    <a:pt x="4557" y="8711"/>
                  </a:cubicBezTo>
                  <a:cubicBezTo>
                    <a:pt x="4613" y="8586"/>
                    <a:pt x="4641" y="8500"/>
                    <a:pt x="4641" y="8452"/>
                  </a:cubicBezTo>
                  <a:cubicBezTo>
                    <a:pt x="4641" y="8440"/>
                    <a:pt x="4630" y="8422"/>
                    <a:pt x="4607" y="8398"/>
                  </a:cubicBezTo>
                  <a:cubicBezTo>
                    <a:pt x="4585" y="8375"/>
                    <a:pt x="4563" y="8363"/>
                    <a:pt x="4540" y="8363"/>
                  </a:cubicBezTo>
                  <a:cubicBezTo>
                    <a:pt x="4394" y="8422"/>
                    <a:pt x="4307" y="8452"/>
                    <a:pt x="4280" y="8452"/>
                  </a:cubicBezTo>
                  <a:cubicBezTo>
                    <a:pt x="4229" y="8452"/>
                    <a:pt x="4165" y="8410"/>
                    <a:pt x="4086" y="8327"/>
                  </a:cubicBezTo>
                  <a:cubicBezTo>
                    <a:pt x="3996" y="8231"/>
                    <a:pt x="3952" y="8148"/>
                    <a:pt x="3952" y="8077"/>
                  </a:cubicBezTo>
                  <a:cubicBezTo>
                    <a:pt x="3952" y="7975"/>
                    <a:pt x="4019" y="7901"/>
                    <a:pt x="4153" y="7853"/>
                  </a:cubicBezTo>
                  <a:cubicBezTo>
                    <a:pt x="4282" y="7811"/>
                    <a:pt x="4347" y="7772"/>
                    <a:pt x="4347" y="7737"/>
                  </a:cubicBezTo>
                  <a:cubicBezTo>
                    <a:pt x="4347" y="7647"/>
                    <a:pt x="4252" y="7522"/>
                    <a:pt x="4061" y="7361"/>
                  </a:cubicBezTo>
                  <a:cubicBezTo>
                    <a:pt x="3859" y="7206"/>
                    <a:pt x="3753" y="7114"/>
                    <a:pt x="3742" y="7084"/>
                  </a:cubicBezTo>
                  <a:cubicBezTo>
                    <a:pt x="3781" y="6958"/>
                    <a:pt x="3800" y="6860"/>
                    <a:pt x="3800" y="6788"/>
                  </a:cubicBezTo>
                  <a:cubicBezTo>
                    <a:pt x="3800" y="6729"/>
                    <a:pt x="3781" y="6619"/>
                    <a:pt x="3742" y="6458"/>
                  </a:cubicBezTo>
                  <a:cubicBezTo>
                    <a:pt x="3697" y="6273"/>
                    <a:pt x="3669" y="6145"/>
                    <a:pt x="3657" y="6073"/>
                  </a:cubicBezTo>
                  <a:cubicBezTo>
                    <a:pt x="3590" y="5685"/>
                    <a:pt x="3517" y="5414"/>
                    <a:pt x="3439" y="5259"/>
                  </a:cubicBezTo>
                  <a:cubicBezTo>
                    <a:pt x="3411" y="5211"/>
                    <a:pt x="3349" y="4958"/>
                    <a:pt x="3254" y="4499"/>
                  </a:cubicBezTo>
                  <a:cubicBezTo>
                    <a:pt x="3198" y="4225"/>
                    <a:pt x="3055" y="4087"/>
                    <a:pt x="2825" y="4087"/>
                  </a:cubicBezTo>
                  <a:cubicBezTo>
                    <a:pt x="2673" y="4123"/>
                    <a:pt x="2581" y="4141"/>
                    <a:pt x="2547" y="4141"/>
                  </a:cubicBezTo>
                  <a:cubicBezTo>
                    <a:pt x="2402" y="4141"/>
                    <a:pt x="2309" y="4108"/>
                    <a:pt x="2270" y="4043"/>
                  </a:cubicBezTo>
                  <a:cubicBezTo>
                    <a:pt x="2231" y="3941"/>
                    <a:pt x="2189" y="3846"/>
                    <a:pt x="2144" y="3756"/>
                  </a:cubicBezTo>
                  <a:cubicBezTo>
                    <a:pt x="2105" y="3679"/>
                    <a:pt x="1987" y="3616"/>
                    <a:pt x="1791" y="3569"/>
                  </a:cubicBezTo>
                  <a:cubicBezTo>
                    <a:pt x="1622" y="3527"/>
                    <a:pt x="1538" y="3443"/>
                    <a:pt x="1538" y="3318"/>
                  </a:cubicBezTo>
                  <a:cubicBezTo>
                    <a:pt x="1538" y="3229"/>
                    <a:pt x="1575" y="3166"/>
                    <a:pt x="1648" y="3130"/>
                  </a:cubicBezTo>
                  <a:cubicBezTo>
                    <a:pt x="1726" y="3089"/>
                    <a:pt x="1777" y="2975"/>
                    <a:pt x="1799" y="2791"/>
                  </a:cubicBezTo>
                  <a:cubicBezTo>
                    <a:pt x="1816" y="2659"/>
                    <a:pt x="1858" y="2555"/>
                    <a:pt x="1925" y="2478"/>
                  </a:cubicBezTo>
                  <a:cubicBezTo>
                    <a:pt x="1987" y="2412"/>
                    <a:pt x="2018" y="2328"/>
                    <a:pt x="2018" y="2227"/>
                  </a:cubicBezTo>
                  <a:cubicBezTo>
                    <a:pt x="2018" y="2084"/>
                    <a:pt x="1948" y="2012"/>
                    <a:pt x="1808" y="2012"/>
                  </a:cubicBezTo>
                  <a:cubicBezTo>
                    <a:pt x="1662" y="2006"/>
                    <a:pt x="1589" y="1950"/>
                    <a:pt x="1589" y="1842"/>
                  </a:cubicBezTo>
                  <a:cubicBezTo>
                    <a:pt x="1589" y="1795"/>
                    <a:pt x="1670" y="1693"/>
                    <a:pt x="1833" y="1538"/>
                  </a:cubicBezTo>
                  <a:cubicBezTo>
                    <a:pt x="1990" y="1383"/>
                    <a:pt x="2068" y="1270"/>
                    <a:pt x="2068" y="1198"/>
                  </a:cubicBezTo>
                  <a:cubicBezTo>
                    <a:pt x="2068" y="1175"/>
                    <a:pt x="2040" y="1133"/>
                    <a:pt x="1984" y="1073"/>
                  </a:cubicBezTo>
                  <a:cubicBezTo>
                    <a:pt x="1917" y="1008"/>
                    <a:pt x="1855" y="975"/>
                    <a:pt x="1799" y="975"/>
                  </a:cubicBezTo>
                  <a:cubicBezTo>
                    <a:pt x="1598" y="975"/>
                    <a:pt x="1454" y="1076"/>
                    <a:pt x="1370" y="1279"/>
                  </a:cubicBezTo>
                  <a:cubicBezTo>
                    <a:pt x="1281" y="1482"/>
                    <a:pt x="1196" y="1583"/>
                    <a:pt x="1118" y="1583"/>
                  </a:cubicBezTo>
                  <a:cubicBezTo>
                    <a:pt x="1068" y="1583"/>
                    <a:pt x="1028" y="1550"/>
                    <a:pt x="1000" y="1485"/>
                  </a:cubicBezTo>
                  <a:cubicBezTo>
                    <a:pt x="972" y="1413"/>
                    <a:pt x="888" y="1377"/>
                    <a:pt x="748" y="1377"/>
                  </a:cubicBezTo>
                  <a:cubicBezTo>
                    <a:pt x="625" y="1377"/>
                    <a:pt x="529" y="1392"/>
                    <a:pt x="462" y="1422"/>
                  </a:cubicBezTo>
                  <a:cubicBezTo>
                    <a:pt x="395" y="1446"/>
                    <a:pt x="322" y="1458"/>
                    <a:pt x="244" y="1458"/>
                  </a:cubicBezTo>
                  <a:cubicBezTo>
                    <a:pt x="176" y="1458"/>
                    <a:pt x="118" y="1431"/>
                    <a:pt x="67" y="1377"/>
                  </a:cubicBezTo>
                  <a:cubicBezTo>
                    <a:pt x="22" y="1330"/>
                    <a:pt x="0" y="1288"/>
                    <a:pt x="0" y="1252"/>
                  </a:cubicBezTo>
                  <a:cubicBezTo>
                    <a:pt x="0" y="1192"/>
                    <a:pt x="11" y="1157"/>
                    <a:pt x="34" y="1145"/>
                  </a:cubicBezTo>
                  <a:cubicBezTo>
                    <a:pt x="50" y="1133"/>
                    <a:pt x="95" y="1127"/>
                    <a:pt x="168" y="1127"/>
                  </a:cubicBezTo>
                  <a:cubicBezTo>
                    <a:pt x="482" y="1127"/>
                    <a:pt x="689" y="1073"/>
                    <a:pt x="790" y="966"/>
                  </a:cubicBezTo>
                  <a:cubicBezTo>
                    <a:pt x="1082" y="650"/>
                    <a:pt x="1317" y="420"/>
                    <a:pt x="1496" y="277"/>
                  </a:cubicBezTo>
                  <a:cubicBezTo>
                    <a:pt x="1553" y="253"/>
                    <a:pt x="1622" y="212"/>
                    <a:pt x="1707" y="152"/>
                  </a:cubicBezTo>
                  <a:cubicBezTo>
                    <a:pt x="1852" y="51"/>
                    <a:pt x="1936" y="0"/>
                    <a:pt x="1959" y="0"/>
                  </a:cubicBezTo>
                  <a:cubicBezTo>
                    <a:pt x="2049" y="0"/>
                    <a:pt x="2096" y="57"/>
                    <a:pt x="2102" y="170"/>
                  </a:cubicBezTo>
                  <a:cubicBezTo>
                    <a:pt x="2113" y="301"/>
                    <a:pt x="2161" y="391"/>
                    <a:pt x="2245" y="438"/>
                  </a:cubicBezTo>
                  <a:cubicBezTo>
                    <a:pt x="2407" y="528"/>
                    <a:pt x="2497" y="605"/>
                    <a:pt x="2514" y="671"/>
                  </a:cubicBezTo>
                  <a:cubicBezTo>
                    <a:pt x="2514" y="689"/>
                    <a:pt x="2578" y="698"/>
                    <a:pt x="2707" y="698"/>
                  </a:cubicBezTo>
                  <a:cubicBezTo>
                    <a:pt x="2746" y="698"/>
                    <a:pt x="2786" y="716"/>
                    <a:pt x="2825" y="751"/>
                  </a:cubicBezTo>
                  <a:cubicBezTo>
                    <a:pt x="2870" y="781"/>
                    <a:pt x="2901" y="817"/>
                    <a:pt x="2917" y="859"/>
                  </a:cubicBezTo>
                  <a:cubicBezTo>
                    <a:pt x="2945" y="918"/>
                    <a:pt x="3044" y="948"/>
                    <a:pt x="3212" y="948"/>
                  </a:cubicBezTo>
                  <a:cubicBezTo>
                    <a:pt x="3212" y="966"/>
                    <a:pt x="3217" y="984"/>
                    <a:pt x="3229" y="1002"/>
                  </a:cubicBezTo>
                  <a:cubicBezTo>
                    <a:pt x="3229" y="1032"/>
                    <a:pt x="3114" y="1115"/>
                    <a:pt x="2884" y="1252"/>
                  </a:cubicBezTo>
                  <a:cubicBezTo>
                    <a:pt x="2654" y="1389"/>
                    <a:pt x="2539" y="1497"/>
                    <a:pt x="2539" y="1574"/>
                  </a:cubicBezTo>
                  <a:cubicBezTo>
                    <a:pt x="2539" y="1616"/>
                    <a:pt x="2550" y="1640"/>
                    <a:pt x="2573" y="1646"/>
                  </a:cubicBezTo>
                  <a:lnTo>
                    <a:pt x="2657" y="1646"/>
                  </a:lnTo>
                  <a:cubicBezTo>
                    <a:pt x="2718" y="1646"/>
                    <a:pt x="2867" y="1568"/>
                    <a:pt x="3102" y="1413"/>
                  </a:cubicBezTo>
                  <a:cubicBezTo>
                    <a:pt x="3338" y="1252"/>
                    <a:pt x="3484" y="1172"/>
                    <a:pt x="3540" y="1172"/>
                  </a:cubicBezTo>
                  <a:cubicBezTo>
                    <a:pt x="3624" y="1172"/>
                    <a:pt x="3694" y="1219"/>
                    <a:pt x="3750" y="1315"/>
                  </a:cubicBezTo>
                  <a:cubicBezTo>
                    <a:pt x="3795" y="1398"/>
                    <a:pt x="3817" y="1494"/>
                    <a:pt x="3817" y="1601"/>
                  </a:cubicBezTo>
                  <a:cubicBezTo>
                    <a:pt x="3817" y="1649"/>
                    <a:pt x="3604" y="1992"/>
                    <a:pt x="3178" y="2629"/>
                  </a:cubicBezTo>
                  <a:cubicBezTo>
                    <a:pt x="3178" y="2653"/>
                    <a:pt x="3201" y="2680"/>
                    <a:pt x="3245" y="2710"/>
                  </a:cubicBezTo>
                  <a:cubicBezTo>
                    <a:pt x="3290" y="2740"/>
                    <a:pt x="3329" y="2755"/>
                    <a:pt x="3363" y="2755"/>
                  </a:cubicBezTo>
                  <a:cubicBezTo>
                    <a:pt x="3514" y="2755"/>
                    <a:pt x="3657" y="2650"/>
                    <a:pt x="3792" y="2442"/>
                  </a:cubicBezTo>
                  <a:cubicBezTo>
                    <a:pt x="3921" y="2233"/>
                    <a:pt x="4027" y="2129"/>
                    <a:pt x="4111" y="2129"/>
                  </a:cubicBezTo>
                  <a:cubicBezTo>
                    <a:pt x="4285" y="2129"/>
                    <a:pt x="4372" y="2236"/>
                    <a:pt x="4372" y="2451"/>
                  </a:cubicBezTo>
                  <a:cubicBezTo>
                    <a:pt x="4372" y="2474"/>
                    <a:pt x="4349" y="2549"/>
                    <a:pt x="4305" y="2674"/>
                  </a:cubicBezTo>
                  <a:cubicBezTo>
                    <a:pt x="4305" y="2811"/>
                    <a:pt x="4355" y="2880"/>
                    <a:pt x="4456" y="2880"/>
                  </a:cubicBezTo>
                  <a:cubicBezTo>
                    <a:pt x="4506" y="2880"/>
                    <a:pt x="4557" y="2811"/>
                    <a:pt x="4607" y="2674"/>
                  </a:cubicBezTo>
                  <a:cubicBezTo>
                    <a:pt x="4652" y="2531"/>
                    <a:pt x="4736" y="2460"/>
                    <a:pt x="4860" y="2460"/>
                  </a:cubicBezTo>
                  <a:cubicBezTo>
                    <a:pt x="4910" y="2460"/>
                    <a:pt x="4963" y="2498"/>
                    <a:pt x="5019" y="2576"/>
                  </a:cubicBezTo>
                  <a:cubicBezTo>
                    <a:pt x="5104" y="2689"/>
                    <a:pt x="5162" y="2761"/>
                    <a:pt x="5196" y="2791"/>
                  </a:cubicBezTo>
                  <a:cubicBezTo>
                    <a:pt x="5246" y="2832"/>
                    <a:pt x="5373" y="2856"/>
                    <a:pt x="5574" y="2862"/>
                  </a:cubicBezTo>
                  <a:lnTo>
                    <a:pt x="5574" y="2943"/>
                  </a:lnTo>
                  <a:cubicBezTo>
                    <a:pt x="5574" y="3038"/>
                    <a:pt x="5546" y="3118"/>
                    <a:pt x="5490" y="3184"/>
                  </a:cubicBezTo>
                  <a:cubicBezTo>
                    <a:pt x="5389" y="3315"/>
                    <a:pt x="5294" y="3461"/>
                    <a:pt x="5204" y="3622"/>
                  </a:cubicBezTo>
                  <a:lnTo>
                    <a:pt x="5162" y="3756"/>
                  </a:lnTo>
                  <a:cubicBezTo>
                    <a:pt x="5162" y="3906"/>
                    <a:pt x="5190" y="3980"/>
                    <a:pt x="5246" y="3980"/>
                  </a:cubicBezTo>
                  <a:cubicBezTo>
                    <a:pt x="5274" y="3980"/>
                    <a:pt x="5350" y="3926"/>
                    <a:pt x="5473" y="3819"/>
                  </a:cubicBezTo>
                  <a:cubicBezTo>
                    <a:pt x="5591" y="3706"/>
                    <a:pt x="5720" y="3649"/>
                    <a:pt x="5860" y="3649"/>
                  </a:cubicBezTo>
                  <a:cubicBezTo>
                    <a:pt x="5939" y="3649"/>
                    <a:pt x="6020" y="3721"/>
                    <a:pt x="6104" y="3864"/>
                  </a:cubicBezTo>
                  <a:cubicBezTo>
                    <a:pt x="6188" y="4007"/>
                    <a:pt x="6300" y="4070"/>
                    <a:pt x="6440" y="4052"/>
                  </a:cubicBezTo>
                  <a:cubicBezTo>
                    <a:pt x="6564" y="4034"/>
                    <a:pt x="6690" y="4078"/>
                    <a:pt x="6819" y="4186"/>
                  </a:cubicBezTo>
                  <a:cubicBezTo>
                    <a:pt x="6948" y="4287"/>
                    <a:pt x="7012" y="4401"/>
                    <a:pt x="7012" y="4526"/>
                  </a:cubicBezTo>
                  <a:cubicBezTo>
                    <a:pt x="7012" y="4579"/>
                    <a:pt x="6987" y="4666"/>
                    <a:pt x="6937" y="4785"/>
                  </a:cubicBezTo>
                  <a:cubicBezTo>
                    <a:pt x="6880" y="4904"/>
                    <a:pt x="6852" y="4988"/>
                    <a:pt x="6852" y="5036"/>
                  </a:cubicBezTo>
                  <a:cubicBezTo>
                    <a:pt x="6852" y="5095"/>
                    <a:pt x="6892" y="5167"/>
                    <a:pt x="6970" y="5250"/>
                  </a:cubicBezTo>
                  <a:cubicBezTo>
                    <a:pt x="7043" y="5334"/>
                    <a:pt x="7079" y="5399"/>
                    <a:pt x="7079" y="5447"/>
                  </a:cubicBezTo>
                  <a:cubicBezTo>
                    <a:pt x="7079" y="5489"/>
                    <a:pt x="7026" y="5525"/>
                    <a:pt x="6919" y="5554"/>
                  </a:cubicBezTo>
                  <a:cubicBezTo>
                    <a:pt x="6830" y="5578"/>
                    <a:pt x="6746" y="5590"/>
                    <a:pt x="6667" y="5590"/>
                  </a:cubicBezTo>
                  <a:cubicBezTo>
                    <a:pt x="6600" y="5590"/>
                    <a:pt x="6491" y="5578"/>
                    <a:pt x="6339" y="5554"/>
                  </a:cubicBezTo>
                  <a:cubicBezTo>
                    <a:pt x="6182" y="5530"/>
                    <a:pt x="6093" y="5519"/>
                    <a:pt x="6070" y="5519"/>
                  </a:cubicBezTo>
                  <a:cubicBezTo>
                    <a:pt x="5992" y="5519"/>
                    <a:pt x="5941" y="5525"/>
                    <a:pt x="5919" y="5536"/>
                  </a:cubicBezTo>
                  <a:cubicBezTo>
                    <a:pt x="5897" y="5548"/>
                    <a:pt x="5886" y="5572"/>
                    <a:pt x="5886" y="5608"/>
                  </a:cubicBezTo>
                  <a:cubicBezTo>
                    <a:pt x="5886" y="5668"/>
                    <a:pt x="5933" y="5721"/>
                    <a:pt x="6028" y="5769"/>
                  </a:cubicBezTo>
                  <a:cubicBezTo>
                    <a:pt x="6146" y="5817"/>
                    <a:pt x="6219" y="5873"/>
                    <a:pt x="6247" y="5939"/>
                  </a:cubicBezTo>
                  <a:cubicBezTo>
                    <a:pt x="6107" y="5993"/>
                    <a:pt x="5978" y="6046"/>
                    <a:pt x="5860" y="6100"/>
                  </a:cubicBezTo>
                  <a:cubicBezTo>
                    <a:pt x="5636" y="6207"/>
                    <a:pt x="5535" y="6306"/>
                    <a:pt x="5557" y="6395"/>
                  </a:cubicBezTo>
                  <a:cubicBezTo>
                    <a:pt x="5580" y="6407"/>
                    <a:pt x="5628" y="6413"/>
                    <a:pt x="5700" y="6413"/>
                  </a:cubicBezTo>
                  <a:cubicBezTo>
                    <a:pt x="5835" y="6413"/>
                    <a:pt x="6087" y="6323"/>
                    <a:pt x="6457" y="6145"/>
                  </a:cubicBezTo>
                  <a:cubicBezTo>
                    <a:pt x="6822" y="5960"/>
                    <a:pt x="7018" y="5867"/>
                    <a:pt x="7046" y="5867"/>
                  </a:cubicBezTo>
                  <a:cubicBezTo>
                    <a:pt x="7124" y="5867"/>
                    <a:pt x="7163" y="5906"/>
                    <a:pt x="7163" y="5983"/>
                  </a:cubicBezTo>
                  <a:cubicBezTo>
                    <a:pt x="7163" y="6013"/>
                    <a:pt x="7107" y="6118"/>
                    <a:pt x="6995" y="6297"/>
                  </a:cubicBezTo>
                  <a:cubicBezTo>
                    <a:pt x="6995" y="6368"/>
                    <a:pt x="7088" y="6407"/>
                    <a:pt x="7273" y="6413"/>
                  </a:cubicBezTo>
                  <a:cubicBezTo>
                    <a:pt x="7452" y="6419"/>
                    <a:pt x="7542" y="6487"/>
                    <a:pt x="7542" y="6619"/>
                  </a:cubicBezTo>
                  <a:cubicBezTo>
                    <a:pt x="7542" y="6648"/>
                    <a:pt x="7502" y="6741"/>
                    <a:pt x="7424" y="6896"/>
                  </a:cubicBezTo>
                  <a:cubicBezTo>
                    <a:pt x="7424" y="6955"/>
                    <a:pt x="7463" y="6985"/>
                    <a:pt x="7542" y="6985"/>
                  </a:cubicBezTo>
                  <a:cubicBezTo>
                    <a:pt x="7648" y="6985"/>
                    <a:pt x="7738" y="6914"/>
                    <a:pt x="7811" y="6771"/>
                  </a:cubicBezTo>
                  <a:cubicBezTo>
                    <a:pt x="7884" y="6622"/>
                    <a:pt x="7973" y="6547"/>
                    <a:pt x="8080" y="6547"/>
                  </a:cubicBezTo>
                  <a:cubicBezTo>
                    <a:pt x="8153" y="6547"/>
                    <a:pt x="8209" y="6595"/>
                    <a:pt x="8248" y="6690"/>
                  </a:cubicBezTo>
                  <a:cubicBezTo>
                    <a:pt x="8304" y="6821"/>
                    <a:pt x="8363" y="6914"/>
                    <a:pt x="8425" y="6967"/>
                  </a:cubicBezTo>
                  <a:cubicBezTo>
                    <a:pt x="8436" y="6979"/>
                    <a:pt x="8498" y="7051"/>
                    <a:pt x="8610" y="7182"/>
                  </a:cubicBezTo>
                  <a:cubicBezTo>
                    <a:pt x="8705" y="7295"/>
                    <a:pt x="8764" y="7352"/>
                    <a:pt x="8786" y="7352"/>
                  </a:cubicBezTo>
                  <a:cubicBezTo>
                    <a:pt x="8820" y="7352"/>
                    <a:pt x="8890" y="7298"/>
                    <a:pt x="8996" y="7191"/>
                  </a:cubicBezTo>
                  <a:cubicBezTo>
                    <a:pt x="9097" y="7078"/>
                    <a:pt x="9193" y="7021"/>
                    <a:pt x="9282" y="7021"/>
                  </a:cubicBezTo>
                  <a:cubicBezTo>
                    <a:pt x="9344" y="7021"/>
                    <a:pt x="9439" y="7084"/>
                    <a:pt x="9568" y="7209"/>
                  </a:cubicBezTo>
                  <a:cubicBezTo>
                    <a:pt x="9703" y="7328"/>
                    <a:pt x="9798" y="7388"/>
                    <a:pt x="9854" y="7388"/>
                  </a:cubicBezTo>
                  <a:cubicBezTo>
                    <a:pt x="9910" y="7388"/>
                    <a:pt x="9955" y="7340"/>
                    <a:pt x="9988" y="7245"/>
                  </a:cubicBezTo>
                  <a:cubicBezTo>
                    <a:pt x="10017" y="7143"/>
                    <a:pt x="10059" y="7093"/>
                    <a:pt x="10114" y="7093"/>
                  </a:cubicBezTo>
                  <a:cubicBezTo>
                    <a:pt x="10193" y="7093"/>
                    <a:pt x="10247" y="7170"/>
                    <a:pt x="10274" y="7325"/>
                  </a:cubicBezTo>
                  <a:cubicBezTo>
                    <a:pt x="10302" y="7498"/>
                    <a:pt x="10325" y="7593"/>
                    <a:pt x="10342" y="7611"/>
                  </a:cubicBezTo>
                  <a:cubicBezTo>
                    <a:pt x="10359" y="7623"/>
                    <a:pt x="10445" y="7674"/>
                    <a:pt x="10602" y="7763"/>
                  </a:cubicBezTo>
                  <a:cubicBezTo>
                    <a:pt x="10681" y="7805"/>
                    <a:pt x="10720" y="7862"/>
                    <a:pt x="10720" y="7933"/>
                  </a:cubicBezTo>
                  <a:cubicBezTo>
                    <a:pt x="10720" y="7975"/>
                    <a:pt x="10697" y="8032"/>
                    <a:pt x="10653" y="8103"/>
                  </a:cubicBezTo>
                  <a:cubicBezTo>
                    <a:pt x="10602" y="8169"/>
                    <a:pt x="10577" y="8226"/>
                    <a:pt x="10577" y="8273"/>
                  </a:cubicBezTo>
                  <a:cubicBezTo>
                    <a:pt x="10577" y="8297"/>
                    <a:pt x="10591" y="8327"/>
                    <a:pt x="10619" y="8363"/>
                  </a:cubicBezTo>
                  <a:cubicBezTo>
                    <a:pt x="10647" y="8398"/>
                    <a:pt x="10675" y="8416"/>
                    <a:pt x="10703" y="8416"/>
                  </a:cubicBezTo>
                  <a:cubicBezTo>
                    <a:pt x="10748" y="8416"/>
                    <a:pt x="10812" y="8369"/>
                    <a:pt x="10896" y="8273"/>
                  </a:cubicBezTo>
                  <a:cubicBezTo>
                    <a:pt x="10981" y="8172"/>
                    <a:pt x="11053" y="8121"/>
                    <a:pt x="11115" y="8121"/>
                  </a:cubicBezTo>
                  <a:lnTo>
                    <a:pt x="11384" y="8193"/>
                  </a:lnTo>
                  <a:cubicBezTo>
                    <a:pt x="11463" y="8193"/>
                    <a:pt x="11505" y="8145"/>
                    <a:pt x="11510" y="8050"/>
                  </a:cubicBezTo>
                  <a:cubicBezTo>
                    <a:pt x="11499" y="7948"/>
                    <a:pt x="11494" y="7889"/>
                    <a:pt x="11494" y="7871"/>
                  </a:cubicBezTo>
                  <a:cubicBezTo>
                    <a:pt x="11494" y="7817"/>
                    <a:pt x="11552" y="7790"/>
                    <a:pt x="11670" y="7790"/>
                  </a:cubicBezTo>
                  <a:cubicBezTo>
                    <a:pt x="11883" y="7790"/>
                    <a:pt x="12004" y="7895"/>
                    <a:pt x="12032" y="8103"/>
                  </a:cubicBezTo>
                  <a:cubicBezTo>
                    <a:pt x="12065" y="8395"/>
                    <a:pt x="12180" y="8616"/>
                    <a:pt x="12376" y="8765"/>
                  </a:cubicBezTo>
                  <a:cubicBezTo>
                    <a:pt x="12376" y="8735"/>
                    <a:pt x="12385" y="8694"/>
                    <a:pt x="12402" y="8640"/>
                  </a:cubicBezTo>
                  <a:cubicBezTo>
                    <a:pt x="12418" y="8586"/>
                    <a:pt x="12427" y="8533"/>
                    <a:pt x="12427" y="8479"/>
                  </a:cubicBezTo>
                  <a:cubicBezTo>
                    <a:pt x="12427" y="8336"/>
                    <a:pt x="12413" y="8193"/>
                    <a:pt x="12385" y="8050"/>
                  </a:cubicBezTo>
                  <a:cubicBezTo>
                    <a:pt x="12357" y="7936"/>
                    <a:pt x="12343" y="7874"/>
                    <a:pt x="12343" y="7862"/>
                  </a:cubicBezTo>
                  <a:cubicBezTo>
                    <a:pt x="12343" y="7832"/>
                    <a:pt x="12365" y="7802"/>
                    <a:pt x="12410" y="7772"/>
                  </a:cubicBezTo>
                  <a:cubicBezTo>
                    <a:pt x="12444" y="7748"/>
                    <a:pt x="12469" y="7737"/>
                    <a:pt x="12486" y="7737"/>
                  </a:cubicBezTo>
                  <a:cubicBezTo>
                    <a:pt x="12497" y="7737"/>
                    <a:pt x="12530" y="7766"/>
                    <a:pt x="12587" y="7826"/>
                  </a:cubicBezTo>
                  <a:cubicBezTo>
                    <a:pt x="12648" y="7898"/>
                    <a:pt x="12682" y="7954"/>
                    <a:pt x="12687" y="7996"/>
                  </a:cubicBezTo>
                  <a:cubicBezTo>
                    <a:pt x="12727" y="7972"/>
                    <a:pt x="12772" y="7927"/>
                    <a:pt x="12822" y="7862"/>
                  </a:cubicBezTo>
                  <a:cubicBezTo>
                    <a:pt x="12861" y="7814"/>
                    <a:pt x="12898" y="7790"/>
                    <a:pt x="12931" y="7790"/>
                  </a:cubicBezTo>
                  <a:cubicBezTo>
                    <a:pt x="13004" y="7790"/>
                    <a:pt x="13077" y="7877"/>
                    <a:pt x="13150" y="8050"/>
                  </a:cubicBezTo>
                  <a:cubicBezTo>
                    <a:pt x="13223" y="8223"/>
                    <a:pt x="13332" y="8309"/>
                    <a:pt x="13478" y="8309"/>
                  </a:cubicBezTo>
                  <a:cubicBezTo>
                    <a:pt x="13635" y="8309"/>
                    <a:pt x="13820" y="8285"/>
                    <a:pt x="14033" y="8237"/>
                  </a:cubicBezTo>
                  <a:cubicBezTo>
                    <a:pt x="14251" y="8184"/>
                    <a:pt x="14360" y="8136"/>
                    <a:pt x="14360" y="8094"/>
                  </a:cubicBezTo>
                  <a:cubicBezTo>
                    <a:pt x="14360" y="8059"/>
                    <a:pt x="14333" y="7975"/>
                    <a:pt x="14276" y="7844"/>
                  </a:cubicBezTo>
                  <a:cubicBezTo>
                    <a:pt x="14215" y="7719"/>
                    <a:pt x="14184" y="7644"/>
                    <a:pt x="14184" y="7620"/>
                  </a:cubicBezTo>
                  <a:cubicBezTo>
                    <a:pt x="14184" y="7591"/>
                    <a:pt x="14209" y="7564"/>
                    <a:pt x="14260" y="7540"/>
                  </a:cubicBezTo>
                  <a:cubicBezTo>
                    <a:pt x="14310" y="7516"/>
                    <a:pt x="14355" y="7504"/>
                    <a:pt x="14394" y="7504"/>
                  </a:cubicBezTo>
                  <a:cubicBezTo>
                    <a:pt x="14517" y="7504"/>
                    <a:pt x="14605" y="7576"/>
                    <a:pt x="14655" y="7719"/>
                  </a:cubicBezTo>
                  <a:cubicBezTo>
                    <a:pt x="14705" y="7856"/>
                    <a:pt x="14764" y="7924"/>
                    <a:pt x="14831" y="7924"/>
                  </a:cubicBezTo>
                  <a:cubicBezTo>
                    <a:pt x="14921" y="7924"/>
                    <a:pt x="15081" y="7868"/>
                    <a:pt x="15311" y="7754"/>
                  </a:cubicBezTo>
                  <a:cubicBezTo>
                    <a:pt x="15361" y="7754"/>
                    <a:pt x="15499" y="7829"/>
                    <a:pt x="15723" y="7978"/>
                  </a:cubicBezTo>
                  <a:cubicBezTo>
                    <a:pt x="15801" y="8032"/>
                    <a:pt x="15866" y="8068"/>
                    <a:pt x="15916" y="8085"/>
                  </a:cubicBezTo>
                  <a:cubicBezTo>
                    <a:pt x="15927" y="8097"/>
                    <a:pt x="15933" y="8160"/>
                    <a:pt x="15933" y="8273"/>
                  </a:cubicBezTo>
                  <a:cubicBezTo>
                    <a:pt x="15933" y="8482"/>
                    <a:pt x="15897" y="8619"/>
                    <a:pt x="15824" y="8685"/>
                  </a:cubicBezTo>
                  <a:cubicBezTo>
                    <a:pt x="15667" y="8786"/>
                    <a:pt x="15496" y="8899"/>
                    <a:pt x="15311" y="9025"/>
                  </a:cubicBezTo>
                  <a:cubicBezTo>
                    <a:pt x="15249" y="9066"/>
                    <a:pt x="15185" y="9132"/>
                    <a:pt x="15117" y="9221"/>
                  </a:cubicBezTo>
                  <a:cubicBezTo>
                    <a:pt x="15022" y="9341"/>
                    <a:pt x="14972" y="9403"/>
                    <a:pt x="14966" y="9409"/>
                  </a:cubicBezTo>
                  <a:cubicBezTo>
                    <a:pt x="14932" y="9505"/>
                    <a:pt x="14899" y="9588"/>
                    <a:pt x="14865" y="9660"/>
                  </a:cubicBezTo>
                  <a:cubicBezTo>
                    <a:pt x="14809" y="9791"/>
                    <a:pt x="14680" y="9922"/>
                    <a:pt x="14478" y="10053"/>
                  </a:cubicBezTo>
                  <a:cubicBezTo>
                    <a:pt x="14462" y="10059"/>
                    <a:pt x="14445" y="10068"/>
                    <a:pt x="14428" y="10080"/>
                  </a:cubicBezTo>
                  <a:cubicBezTo>
                    <a:pt x="14321" y="10134"/>
                    <a:pt x="14159" y="10262"/>
                    <a:pt x="13940" y="10465"/>
                  </a:cubicBezTo>
                  <a:cubicBezTo>
                    <a:pt x="13666" y="10715"/>
                    <a:pt x="13528" y="10882"/>
                    <a:pt x="13528" y="10965"/>
                  </a:cubicBezTo>
                  <a:cubicBezTo>
                    <a:pt x="13528" y="10995"/>
                    <a:pt x="13534" y="11022"/>
                    <a:pt x="13545" y="11046"/>
                  </a:cubicBezTo>
                  <a:lnTo>
                    <a:pt x="13587" y="11046"/>
                  </a:lnTo>
                  <a:cubicBezTo>
                    <a:pt x="13666" y="11046"/>
                    <a:pt x="13795" y="10933"/>
                    <a:pt x="13974" y="10706"/>
                  </a:cubicBezTo>
                  <a:cubicBezTo>
                    <a:pt x="14164" y="10462"/>
                    <a:pt x="14327" y="10318"/>
                    <a:pt x="14462" y="10277"/>
                  </a:cubicBezTo>
                  <a:lnTo>
                    <a:pt x="14462" y="10402"/>
                  </a:lnTo>
                  <a:cubicBezTo>
                    <a:pt x="14248" y="10772"/>
                    <a:pt x="14097" y="11025"/>
                    <a:pt x="14007" y="11162"/>
                  </a:cubicBezTo>
                  <a:cubicBezTo>
                    <a:pt x="13862" y="11383"/>
                    <a:pt x="13680" y="11559"/>
                    <a:pt x="13461" y="11690"/>
                  </a:cubicBezTo>
                  <a:cubicBezTo>
                    <a:pt x="13343" y="11732"/>
                    <a:pt x="13259" y="11767"/>
                    <a:pt x="13209" y="11797"/>
                  </a:cubicBezTo>
                  <a:cubicBezTo>
                    <a:pt x="13125" y="11851"/>
                    <a:pt x="13077" y="11955"/>
                    <a:pt x="13066" y="12110"/>
                  </a:cubicBezTo>
                  <a:cubicBezTo>
                    <a:pt x="13049" y="12349"/>
                    <a:pt x="13032" y="12489"/>
                    <a:pt x="13015" y="12531"/>
                  </a:cubicBezTo>
                  <a:cubicBezTo>
                    <a:pt x="12976" y="12644"/>
                    <a:pt x="12881" y="12701"/>
                    <a:pt x="12729" y="12701"/>
                  </a:cubicBezTo>
                  <a:lnTo>
                    <a:pt x="12301" y="12638"/>
                  </a:lnTo>
                  <a:cubicBezTo>
                    <a:pt x="12138" y="12638"/>
                    <a:pt x="11967" y="12683"/>
                    <a:pt x="11788" y="12772"/>
                  </a:cubicBezTo>
                  <a:cubicBezTo>
                    <a:pt x="11580" y="12873"/>
                    <a:pt x="11477" y="12996"/>
                    <a:pt x="11477" y="13139"/>
                  </a:cubicBezTo>
                  <a:cubicBezTo>
                    <a:pt x="11477" y="13234"/>
                    <a:pt x="11561" y="13282"/>
                    <a:pt x="11729" y="13282"/>
                  </a:cubicBezTo>
                  <a:cubicBezTo>
                    <a:pt x="11847" y="13282"/>
                    <a:pt x="11998" y="13240"/>
                    <a:pt x="12183" y="13157"/>
                  </a:cubicBezTo>
                  <a:cubicBezTo>
                    <a:pt x="12368" y="13067"/>
                    <a:pt x="12500" y="13023"/>
                    <a:pt x="12578" y="13023"/>
                  </a:cubicBezTo>
                  <a:cubicBezTo>
                    <a:pt x="12757" y="13023"/>
                    <a:pt x="12906" y="13148"/>
                    <a:pt x="13024" y="13398"/>
                  </a:cubicBezTo>
                  <a:cubicBezTo>
                    <a:pt x="13136" y="13643"/>
                    <a:pt x="13209" y="13765"/>
                    <a:pt x="13242" y="13765"/>
                  </a:cubicBezTo>
                  <a:cubicBezTo>
                    <a:pt x="13360" y="13765"/>
                    <a:pt x="13466" y="13610"/>
                    <a:pt x="13562" y="13300"/>
                  </a:cubicBezTo>
                  <a:cubicBezTo>
                    <a:pt x="13618" y="13115"/>
                    <a:pt x="13663" y="12915"/>
                    <a:pt x="13696" y="12701"/>
                  </a:cubicBezTo>
                  <a:cubicBezTo>
                    <a:pt x="13741" y="12385"/>
                    <a:pt x="13943" y="11997"/>
                    <a:pt x="14302" y="11538"/>
                  </a:cubicBezTo>
                  <a:lnTo>
                    <a:pt x="14840" y="10259"/>
                  </a:lnTo>
                  <a:cubicBezTo>
                    <a:pt x="14935" y="10146"/>
                    <a:pt x="15100" y="10035"/>
                    <a:pt x="15336" y="9928"/>
                  </a:cubicBezTo>
                  <a:cubicBezTo>
                    <a:pt x="15639" y="9832"/>
                    <a:pt x="15790" y="9749"/>
                    <a:pt x="15790" y="9678"/>
                  </a:cubicBezTo>
                  <a:cubicBezTo>
                    <a:pt x="15790" y="9612"/>
                    <a:pt x="15748" y="9579"/>
                    <a:pt x="15664" y="9579"/>
                  </a:cubicBezTo>
                  <a:cubicBezTo>
                    <a:pt x="15613" y="9579"/>
                    <a:pt x="15535" y="9600"/>
                    <a:pt x="15429" y="9642"/>
                  </a:cubicBezTo>
                  <a:cubicBezTo>
                    <a:pt x="15322" y="9684"/>
                    <a:pt x="15241" y="9704"/>
                    <a:pt x="15185" y="9704"/>
                  </a:cubicBezTo>
                  <a:lnTo>
                    <a:pt x="15134" y="9704"/>
                  </a:lnTo>
                  <a:cubicBezTo>
                    <a:pt x="15151" y="9675"/>
                    <a:pt x="15274" y="9591"/>
                    <a:pt x="15504" y="9454"/>
                  </a:cubicBezTo>
                  <a:cubicBezTo>
                    <a:pt x="15728" y="9317"/>
                    <a:pt x="15846" y="9248"/>
                    <a:pt x="15857" y="9248"/>
                  </a:cubicBezTo>
                  <a:cubicBezTo>
                    <a:pt x="15924" y="9236"/>
                    <a:pt x="16028" y="9183"/>
                    <a:pt x="16168" y="9087"/>
                  </a:cubicBezTo>
                  <a:cubicBezTo>
                    <a:pt x="16303" y="8998"/>
                    <a:pt x="16387" y="8953"/>
                    <a:pt x="16420" y="8953"/>
                  </a:cubicBezTo>
                  <a:cubicBezTo>
                    <a:pt x="16482" y="8953"/>
                    <a:pt x="16600" y="9156"/>
                    <a:pt x="16774" y="9561"/>
                  </a:cubicBezTo>
                  <a:cubicBezTo>
                    <a:pt x="16785" y="9579"/>
                    <a:pt x="16852" y="9663"/>
                    <a:pt x="16975" y="9812"/>
                  </a:cubicBezTo>
                  <a:cubicBezTo>
                    <a:pt x="17048" y="9895"/>
                    <a:pt x="17085" y="9988"/>
                    <a:pt x="17085" y="10089"/>
                  </a:cubicBezTo>
                  <a:lnTo>
                    <a:pt x="17051" y="10366"/>
                  </a:lnTo>
                  <a:cubicBezTo>
                    <a:pt x="17051" y="10420"/>
                    <a:pt x="17194" y="10652"/>
                    <a:pt x="17480" y="11064"/>
                  </a:cubicBezTo>
                  <a:lnTo>
                    <a:pt x="17513" y="11064"/>
                  </a:lnTo>
                  <a:cubicBezTo>
                    <a:pt x="17536" y="10873"/>
                    <a:pt x="17547" y="10763"/>
                    <a:pt x="17547" y="10733"/>
                  </a:cubicBezTo>
                  <a:lnTo>
                    <a:pt x="17513" y="10152"/>
                  </a:lnTo>
                  <a:cubicBezTo>
                    <a:pt x="17513" y="10002"/>
                    <a:pt x="17558" y="9853"/>
                    <a:pt x="17648" y="9704"/>
                  </a:cubicBezTo>
                  <a:cubicBezTo>
                    <a:pt x="17743" y="9543"/>
                    <a:pt x="17847" y="9463"/>
                    <a:pt x="17959" y="9463"/>
                  </a:cubicBezTo>
                  <a:cubicBezTo>
                    <a:pt x="18004" y="9463"/>
                    <a:pt x="18052" y="9516"/>
                    <a:pt x="18102" y="9624"/>
                  </a:cubicBezTo>
                  <a:cubicBezTo>
                    <a:pt x="18153" y="9725"/>
                    <a:pt x="18220" y="9776"/>
                    <a:pt x="18304" y="9776"/>
                  </a:cubicBezTo>
                  <a:cubicBezTo>
                    <a:pt x="18304" y="9800"/>
                    <a:pt x="18382" y="9785"/>
                    <a:pt x="18539" y="9731"/>
                  </a:cubicBezTo>
                  <a:cubicBezTo>
                    <a:pt x="18685" y="9684"/>
                    <a:pt x="18786" y="9645"/>
                    <a:pt x="18842" y="9615"/>
                  </a:cubicBezTo>
                  <a:cubicBezTo>
                    <a:pt x="18859" y="9603"/>
                    <a:pt x="18907" y="9576"/>
                    <a:pt x="18985" y="9534"/>
                  </a:cubicBezTo>
                  <a:cubicBezTo>
                    <a:pt x="19058" y="9499"/>
                    <a:pt x="19100" y="9481"/>
                    <a:pt x="19111" y="9481"/>
                  </a:cubicBezTo>
                  <a:cubicBezTo>
                    <a:pt x="19218" y="9481"/>
                    <a:pt x="19302" y="9546"/>
                    <a:pt x="19363" y="9678"/>
                  </a:cubicBezTo>
                  <a:cubicBezTo>
                    <a:pt x="19436" y="9844"/>
                    <a:pt x="19492" y="9940"/>
                    <a:pt x="19531" y="9964"/>
                  </a:cubicBezTo>
                  <a:cubicBezTo>
                    <a:pt x="19588" y="10000"/>
                    <a:pt x="19688" y="10050"/>
                    <a:pt x="19834" y="10116"/>
                  </a:cubicBezTo>
                  <a:cubicBezTo>
                    <a:pt x="19958" y="10181"/>
                    <a:pt x="20019" y="10250"/>
                    <a:pt x="20019" y="10321"/>
                  </a:cubicBezTo>
                  <a:cubicBezTo>
                    <a:pt x="20019" y="10471"/>
                    <a:pt x="19885" y="10593"/>
                    <a:pt x="19615" y="10688"/>
                  </a:cubicBezTo>
                  <a:cubicBezTo>
                    <a:pt x="19341" y="10778"/>
                    <a:pt x="19204" y="10846"/>
                    <a:pt x="19204" y="10894"/>
                  </a:cubicBezTo>
                  <a:cubicBezTo>
                    <a:pt x="19204" y="10965"/>
                    <a:pt x="19341" y="11052"/>
                    <a:pt x="19615" y="11153"/>
                  </a:cubicBezTo>
                  <a:cubicBezTo>
                    <a:pt x="19649" y="11153"/>
                    <a:pt x="19691" y="11118"/>
                    <a:pt x="19742" y="11046"/>
                  </a:cubicBezTo>
                  <a:cubicBezTo>
                    <a:pt x="19798" y="10974"/>
                    <a:pt x="19862" y="10939"/>
                    <a:pt x="19935" y="10939"/>
                  </a:cubicBezTo>
                  <a:cubicBezTo>
                    <a:pt x="20036" y="10939"/>
                    <a:pt x="20131" y="10968"/>
                    <a:pt x="20221" y="11028"/>
                  </a:cubicBezTo>
                  <a:cubicBezTo>
                    <a:pt x="20305" y="11082"/>
                    <a:pt x="20347" y="11135"/>
                    <a:pt x="20347" y="11189"/>
                  </a:cubicBezTo>
                  <a:cubicBezTo>
                    <a:pt x="20347" y="11225"/>
                    <a:pt x="20327" y="11272"/>
                    <a:pt x="20288" y="11332"/>
                  </a:cubicBezTo>
                  <a:cubicBezTo>
                    <a:pt x="20243" y="11392"/>
                    <a:pt x="20221" y="11436"/>
                    <a:pt x="20221" y="11466"/>
                  </a:cubicBezTo>
                  <a:cubicBezTo>
                    <a:pt x="20221" y="11580"/>
                    <a:pt x="20325" y="11663"/>
                    <a:pt x="20532" y="11717"/>
                  </a:cubicBezTo>
                  <a:cubicBezTo>
                    <a:pt x="20739" y="11770"/>
                    <a:pt x="20843" y="11836"/>
                    <a:pt x="20843" y="11914"/>
                  </a:cubicBezTo>
                  <a:cubicBezTo>
                    <a:pt x="20843" y="11961"/>
                    <a:pt x="20810" y="12012"/>
                    <a:pt x="20742" y="12066"/>
                  </a:cubicBezTo>
                  <a:cubicBezTo>
                    <a:pt x="20675" y="12119"/>
                    <a:pt x="20616" y="12146"/>
                    <a:pt x="20566" y="12146"/>
                  </a:cubicBezTo>
                  <a:cubicBezTo>
                    <a:pt x="20577" y="12229"/>
                    <a:pt x="20596" y="12283"/>
                    <a:pt x="20624" y="12307"/>
                  </a:cubicBezTo>
                  <a:cubicBezTo>
                    <a:pt x="20658" y="12337"/>
                    <a:pt x="20726" y="12352"/>
                    <a:pt x="20826" y="12352"/>
                  </a:cubicBezTo>
                  <a:cubicBezTo>
                    <a:pt x="20933" y="12352"/>
                    <a:pt x="21059" y="12331"/>
                    <a:pt x="21205" y="12289"/>
                  </a:cubicBezTo>
                  <a:cubicBezTo>
                    <a:pt x="21238" y="12289"/>
                    <a:pt x="21269" y="12301"/>
                    <a:pt x="21297" y="12325"/>
                  </a:cubicBezTo>
                  <a:cubicBezTo>
                    <a:pt x="21331" y="12349"/>
                    <a:pt x="21359" y="12364"/>
                    <a:pt x="21381" y="12370"/>
                  </a:cubicBezTo>
                  <a:lnTo>
                    <a:pt x="21381" y="12459"/>
                  </a:lnTo>
                  <a:cubicBezTo>
                    <a:pt x="21320" y="12513"/>
                    <a:pt x="21213" y="12566"/>
                    <a:pt x="21062" y="12620"/>
                  </a:cubicBezTo>
                  <a:cubicBezTo>
                    <a:pt x="20950" y="12662"/>
                    <a:pt x="20894" y="12707"/>
                    <a:pt x="20894" y="12754"/>
                  </a:cubicBezTo>
                  <a:cubicBezTo>
                    <a:pt x="20894" y="12862"/>
                    <a:pt x="21011" y="12915"/>
                    <a:pt x="21247" y="12915"/>
                  </a:cubicBezTo>
                  <a:cubicBezTo>
                    <a:pt x="21482" y="12915"/>
                    <a:pt x="21600" y="13014"/>
                    <a:pt x="21600" y="13210"/>
                  </a:cubicBezTo>
                  <a:cubicBezTo>
                    <a:pt x="21600" y="13371"/>
                    <a:pt x="21435" y="13935"/>
                    <a:pt x="21104" y="14901"/>
                  </a:cubicBezTo>
                  <a:cubicBezTo>
                    <a:pt x="21104" y="14990"/>
                    <a:pt x="21121" y="15119"/>
                    <a:pt x="21154" y="15285"/>
                  </a:cubicBezTo>
                  <a:cubicBezTo>
                    <a:pt x="21154" y="15435"/>
                    <a:pt x="21090" y="15593"/>
                    <a:pt x="20961" y="15760"/>
                  </a:cubicBezTo>
                  <a:cubicBezTo>
                    <a:pt x="20804" y="15950"/>
                    <a:pt x="20714" y="16079"/>
                    <a:pt x="20692" y="16144"/>
                  </a:cubicBezTo>
                  <a:cubicBezTo>
                    <a:pt x="20664" y="16222"/>
                    <a:pt x="20574" y="16287"/>
                    <a:pt x="20423" y="16341"/>
                  </a:cubicBezTo>
                  <a:cubicBezTo>
                    <a:pt x="20406" y="16347"/>
                    <a:pt x="20389" y="16353"/>
                    <a:pt x="20372" y="16359"/>
                  </a:cubicBezTo>
                  <a:close/>
                  <a:moveTo>
                    <a:pt x="20372" y="1635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09" name="AutoShape 86"/>
            <p:cNvSpPr>
              <a:spLocks/>
            </p:cNvSpPr>
            <p:nvPr/>
          </p:nvSpPr>
          <p:spPr bwMode="auto">
            <a:xfrm>
              <a:off x="7985295" y="4041186"/>
              <a:ext cx="85254" cy="183781"/>
            </a:xfrm>
            <a:custGeom>
              <a:avLst/>
              <a:gdLst/>
              <a:ahLst/>
              <a:cxnLst/>
              <a:rect l="0" t="0" r="r" b="b"/>
              <a:pathLst>
                <a:path w="21528" h="21579">
                  <a:moveTo>
                    <a:pt x="21115" y="18281"/>
                  </a:moveTo>
                  <a:cubicBezTo>
                    <a:pt x="20908" y="18217"/>
                    <a:pt x="20686" y="18201"/>
                    <a:pt x="20445" y="18233"/>
                  </a:cubicBezTo>
                  <a:cubicBezTo>
                    <a:pt x="19895" y="18248"/>
                    <a:pt x="19414" y="18376"/>
                    <a:pt x="19001" y="18615"/>
                  </a:cubicBezTo>
                  <a:cubicBezTo>
                    <a:pt x="18177" y="19093"/>
                    <a:pt x="17557" y="19459"/>
                    <a:pt x="17146" y="19715"/>
                  </a:cubicBezTo>
                  <a:cubicBezTo>
                    <a:pt x="16389" y="20177"/>
                    <a:pt x="15892" y="20408"/>
                    <a:pt x="15650" y="20408"/>
                  </a:cubicBezTo>
                  <a:cubicBezTo>
                    <a:pt x="15237" y="20424"/>
                    <a:pt x="12815" y="20639"/>
                    <a:pt x="8383" y="21053"/>
                  </a:cubicBezTo>
                  <a:lnTo>
                    <a:pt x="1990" y="21579"/>
                  </a:lnTo>
                  <a:cubicBezTo>
                    <a:pt x="2024" y="21515"/>
                    <a:pt x="2042" y="21436"/>
                    <a:pt x="2042" y="21340"/>
                  </a:cubicBezTo>
                  <a:cubicBezTo>
                    <a:pt x="2008" y="21180"/>
                    <a:pt x="1785" y="21038"/>
                    <a:pt x="1372" y="20910"/>
                  </a:cubicBezTo>
                  <a:cubicBezTo>
                    <a:pt x="856" y="20782"/>
                    <a:pt x="530" y="20687"/>
                    <a:pt x="393" y="20623"/>
                  </a:cubicBezTo>
                  <a:cubicBezTo>
                    <a:pt x="117" y="20496"/>
                    <a:pt x="31" y="20360"/>
                    <a:pt x="135" y="20217"/>
                  </a:cubicBezTo>
                  <a:cubicBezTo>
                    <a:pt x="204" y="20057"/>
                    <a:pt x="359" y="19898"/>
                    <a:pt x="599" y="19739"/>
                  </a:cubicBezTo>
                  <a:cubicBezTo>
                    <a:pt x="770" y="19675"/>
                    <a:pt x="925" y="19619"/>
                    <a:pt x="1062" y="19571"/>
                  </a:cubicBezTo>
                  <a:cubicBezTo>
                    <a:pt x="1269" y="19571"/>
                    <a:pt x="1356" y="19388"/>
                    <a:pt x="1319" y="19022"/>
                  </a:cubicBezTo>
                  <a:cubicBezTo>
                    <a:pt x="1285" y="18814"/>
                    <a:pt x="1201" y="18615"/>
                    <a:pt x="1062" y="18424"/>
                  </a:cubicBezTo>
                  <a:lnTo>
                    <a:pt x="651" y="18065"/>
                  </a:lnTo>
                  <a:cubicBezTo>
                    <a:pt x="546" y="17970"/>
                    <a:pt x="512" y="17803"/>
                    <a:pt x="546" y="17564"/>
                  </a:cubicBezTo>
                  <a:cubicBezTo>
                    <a:pt x="546" y="17229"/>
                    <a:pt x="546" y="16990"/>
                    <a:pt x="546" y="16846"/>
                  </a:cubicBezTo>
                  <a:cubicBezTo>
                    <a:pt x="651" y="16528"/>
                    <a:pt x="701" y="16296"/>
                    <a:pt x="701" y="16153"/>
                  </a:cubicBezTo>
                  <a:cubicBezTo>
                    <a:pt x="770" y="15898"/>
                    <a:pt x="701" y="15747"/>
                    <a:pt x="496" y="15699"/>
                  </a:cubicBezTo>
                  <a:cubicBezTo>
                    <a:pt x="83" y="15571"/>
                    <a:pt x="-72" y="15301"/>
                    <a:pt x="31" y="14886"/>
                  </a:cubicBezTo>
                  <a:lnTo>
                    <a:pt x="496" y="13356"/>
                  </a:lnTo>
                  <a:cubicBezTo>
                    <a:pt x="1080" y="13277"/>
                    <a:pt x="1372" y="13134"/>
                    <a:pt x="1372" y="12926"/>
                  </a:cubicBezTo>
                  <a:lnTo>
                    <a:pt x="1424" y="9795"/>
                  </a:lnTo>
                  <a:cubicBezTo>
                    <a:pt x="1285" y="9683"/>
                    <a:pt x="1148" y="9556"/>
                    <a:pt x="1011" y="9412"/>
                  </a:cubicBezTo>
                  <a:cubicBezTo>
                    <a:pt x="770" y="9142"/>
                    <a:pt x="822" y="8910"/>
                    <a:pt x="1166" y="8720"/>
                  </a:cubicBezTo>
                  <a:cubicBezTo>
                    <a:pt x="1372" y="8624"/>
                    <a:pt x="1871" y="8464"/>
                    <a:pt x="2660" y="8241"/>
                  </a:cubicBezTo>
                  <a:cubicBezTo>
                    <a:pt x="3279" y="8050"/>
                    <a:pt x="3710" y="7867"/>
                    <a:pt x="3949" y="7691"/>
                  </a:cubicBezTo>
                  <a:cubicBezTo>
                    <a:pt x="4120" y="7548"/>
                    <a:pt x="4344" y="7413"/>
                    <a:pt x="4620" y="7285"/>
                  </a:cubicBezTo>
                  <a:cubicBezTo>
                    <a:pt x="4928" y="7141"/>
                    <a:pt x="5117" y="7022"/>
                    <a:pt x="5186" y="6927"/>
                  </a:cubicBezTo>
                  <a:cubicBezTo>
                    <a:pt x="5701" y="6560"/>
                    <a:pt x="5890" y="6217"/>
                    <a:pt x="5753" y="5899"/>
                  </a:cubicBezTo>
                  <a:cubicBezTo>
                    <a:pt x="5685" y="5724"/>
                    <a:pt x="5564" y="5564"/>
                    <a:pt x="5393" y="5421"/>
                  </a:cubicBezTo>
                  <a:cubicBezTo>
                    <a:pt x="5117" y="5293"/>
                    <a:pt x="4912" y="5190"/>
                    <a:pt x="4775" y="5110"/>
                  </a:cubicBezTo>
                  <a:cubicBezTo>
                    <a:pt x="4567" y="4934"/>
                    <a:pt x="4412" y="4799"/>
                    <a:pt x="4310" y="4704"/>
                  </a:cubicBezTo>
                  <a:cubicBezTo>
                    <a:pt x="4207" y="4512"/>
                    <a:pt x="4241" y="4329"/>
                    <a:pt x="4412" y="4154"/>
                  </a:cubicBezTo>
                  <a:cubicBezTo>
                    <a:pt x="4620" y="3947"/>
                    <a:pt x="4757" y="3700"/>
                    <a:pt x="4825" y="3413"/>
                  </a:cubicBezTo>
                  <a:cubicBezTo>
                    <a:pt x="4825" y="3126"/>
                    <a:pt x="4791" y="2903"/>
                    <a:pt x="4722" y="2744"/>
                  </a:cubicBezTo>
                  <a:lnTo>
                    <a:pt x="4362" y="2385"/>
                  </a:lnTo>
                  <a:lnTo>
                    <a:pt x="4362" y="2361"/>
                  </a:lnTo>
                  <a:cubicBezTo>
                    <a:pt x="4465" y="2314"/>
                    <a:pt x="4551" y="1907"/>
                    <a:pt x="4620" y="1142"/>
                  </a:cubicBezTo>
                  <a:cubicBezTo>
                    <a:pt x="4654" y="473"/>
                    <a:pt x="5014" y="107"/>
                    <a:pt x="5701" y="43"/>
                  </a:cubicBezTo>
                  <a:cubicBezTo>
                    <a:pt x="6321" y="-21"/>
                    <a:pt x="6921" y="-13"/>
                    <a:pt x="7505" y="67"/>
                  </a:cubicBezTo>
                  <a:cubicBezTo>
                    <a:pt x="7713" y="83"/>
                    <a:pt x="7868" y="74"/>
                    <a:pt x="7970" y="43"/>
                  </a:cubicBezTo>
                  <a:lnTo>
                    <a:pt x="17094" y="13237"/>
                  </a:lnTo>
                  <a:lnTo>
                    <a:pt x="17042" y="14097"/>
                  </a:lnTo>
                  <a:cubicBezTo>
                    <a:pt x="17042" y="14145"/>
                    <a:pt x="17215" y="14185"/>
                    <a:pt x="17557" y="14217"/>
                  </a:cubicBezTo>
                  <a:cubicBezTo>
                    <a:pt x="17867" y="14281"/>
                    <a:pt x="18038" y="14384"/>
                    <a:pt x="18073" y="14528"/>
                  </a:cubicBezTo>
                  <a:cubicBezTo>
                    <a:pt x="18109" y="14688"/>
                    <a:pt x="18212" y="14823"/>
                    <a:pt x="18383" y="14934"/>
                  </a:cubicBezTo>
                  <a:cubicBezTo>
                    <a:pt x="18588" y="15014"/>
                    <a:pt x="18812" y="15054"/>
                    <a:pt x="19053" y="15054"/>
                  </a:cubicBezTo>
                  <a:cubicBezTo>
                    <a:pt x="19569" y="15070"/>
                    <a:pt x="19877" y="15221"/>
                    <a:pt x="19982" y="15507"/>
                  </a:cubicBezTo>
                  <a:cubicBezTo>
                    <a:pt x="20084" y="15651"/>
                    <a:pt x="20239" y="15858"/>
                    <a:pt x="20445" y="16129"/>
                  </a:cubicBezTo>
                  <a:cubicBezTo>
                    <a:pt x="20721" y="16400"/>
                    <a:pt x="20994" y="16600"/>
                    <a:pt x="21270" y="16727"/>
                  </a:cubicBezTo>
                  <a:cubicBezTo>
                    <a:pt x="21270" y="16759"/>
                    <a:pt x="21304" y="16878"/>
                    <a:pt x="21373" y="17086"/>
                  </a:cubicBezTo>
                  <a:cubicBezTo>
                    <a:pt x="21476" y="17293"/>
                    <a:pt x="21528" y="17436"/>
                    <a:pt x="21528" y="17515"/>
                  </a:cubicBezTo>
                  <a:cubicBezTo>
                    <a:pt x="21528" y="17627"/>
                    <a:pt x="21441" y="17770"/>
                    <a:pt x="21270" y="17946"/>
                  </a:cubicBezTo>
                  <a:cubicBezTo>
                    <a:pt x="21166" y="18073"/>
                    <a:pt x="21115" y="18185"/>
                    <a:pt x="21115" y="18281"/>
                  </a:cubicBezTo>
                  <a:close/>
                  <a:moveTo>
                    <a:pt x="21115" y="1828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0" name="AutoShape 87"/>
            <p:cNvSpPr>
              <a:spLocks/>
            </p:cNvSpPr>
            <p:nvPr/>
          </p:nvSpPr>
          <p:spPr bwMode="auto">
            <a:xfrm>
              <a:off x="7270590" y="4396497"/>
              <a:ext cx="161830" cy="289456"/>
            </a:xfrm>
            <a:custGeom>
              <a:avLst/>
              <a:gdLst/>
              <a:ahLst/>
              <a:cxnLst/>
              <a:rect l="0" t="0" r="r" b="b"/>
              <a:pathLst>
                <a:path w="21600" h="21600">
                  <a:moveTo>
                    <a:pt x="1088" y="1020"/>
                  </a:moveTo>
                  <a:cubicBezTo>
                    <a:pt x="1542" y="1253"/>
                    <a:pt x="2032" y="1375"/>
                    <a:pt x="2558" y="1385"/>
                  </a:cubicBezTo>
                  <a:cubicBezTo>
                    <a:pt x="3319" y="1395"/>
                    <a:pt x="3972" y="1279"/>
                    <a:pt x="4516" y="1035"/>
                  </a:cubicBezTo>
                  <a:cubicBezTo>
                    <a:pt x="4698" y="944"/>
                    <a:pt x="4978" y="802"/>
                    <a:pt x="5359" y="609"/>
                  </a:cubicBezTo>
                  <a:lnTo>
                    <a:pt x="18580" y="0"/>
                  </a:lnTo>
                  <a:lnTo>
                    <a:pt x="18608" y="183"/>
                  </a:lnTo>
                  <a:cubicBezTo>
                    <a:pt x="19332" y="2760"/>
                    <a:pt x="19913" y="6155"/>
                    <a:pt x="20348" y="10366"/>
                  </a:cubicBezTo>
                  <a:lnTo>
                    <a:pt x="20348" y="10610"/>
                  </a:lnTo>
                  <a:cubicBezTo>
                    <a:pt x="20366" y="10721"/>
                    <a:pt x="20412" y="10934"/>
                    <a:pt x="20484" y="11249"/>
                  </a:cubicBezTo>
                  <a:cubicBezTo>
                    <a:pt x="20520" y="11533"/>
                    <a:pt x="20593" y="11771"/>
                    <a:pt x="20702" y="11964"/>
                  </a:cubicBezTo>
                  <a:cubicBezTo>
                    <a:pt x="20756" y="12076"/>
                    <a:pt x="20874" y="12289"/>
                    <a:pt x="21056" y="12604"/>
                  </a:cubicBezTo>
                  <a:cubicBezTo>
                    <a:pt x="21164" y="12888"/>
                    <a:pt x="21219" y="13081"/>
                    <a:pt x="21219" y="13182"/>
                  </a:cubicBezTo>
                  <a:cubicBezTo>
                    <a:pt x="21219" y="13212"/>
                    <a:pt x="21200" y="13253"/>
                    <a:pt x="21164" y="13304"/>
                  </a:cubicBezTo>
                  <a:cubicBezTo>
                    <a:pt x="21128" y="13355"/>
                    <a:pt x="21064" y="13410"/>
                    <a:pt x="20974" y="13471"/>
                  </a:cubicBezTo>
                  <a:cubicBezTo>
                    <a:pt x="20810" y="13603"/>
                    <a:pt x="20729" y="13725"/>
                    <a:pt x="20729" y="13837"/>
                  </a:cubicBezTo>
                  <a:cubicBezTo>
                    <a:pt x="20748" y="13908"/>
                    <a:pt x="20829" y="13963"/>
                    <a:pt x="20974" y="14004"/>
                  </a:cubicBezTo>
                  <a:cubicBezTo>
                    <a:pt x="21101" y="14055"/>
                    <a:pt x="21164" y="14131"/>
                    <a:pt x="21164" y="14232"/>
                  </a:cubicBezTo>
                  <a:lnTo>
                    <a:pt x="21083" y="14461"/>
                  </a:lnTo>
                  <a:cubicBezTo>
                    <a:pt x="21083" y="14491"/>
                    <a:pt x="21174" y="14557"/>
                    <a:pt x="21355" y="14659"/>
                  </a:cubicBezTo>
                  <a:cubicBezTo>
                    <a:pt x="21518" y="14740"/>
                    <a:pt x="21600" y="14811"/>
                    <a:pt x="21600" y="14872"/>
                  </a:cubicBezTo>
                  <a:cubicBezTo>
                    <a:pt x="21600" y="15014"/>
                    <a:pt x="21472" y="15090"/>
                    <a:pt x="21219" y="15100"/>
                  </a:cubicBezTo>
                  <a:cubicBezTo>
                    <a:pt x="20928" y="15100"/>
                    <a:pt x="20756" y="15095"/>
                    <a:pt x="20702" y="15085"/>
                  </a:cubicBezTo>
                  <a:cubicBezTo>
                    <a:pt x="20466" y="15085"/>
                    <a:pt x="20204" y="15186"/>
                    <a:pt x="19913" y="15389"/>
                  </a:cubicBezTo>
                  <a:cubicBezTo>
                    <a:pt x="19641" y="15582"/>
                    <a:pt x="19406" y="15678"/>
                    <a:pt x="19206" y="15678"/>
                  </a:cubicBezTo>
                  <a:cubicBezTo>
                    <a:pt x="19116" y="15678"/>
                    <a:pt x="19042" y="15648"/>
                    <a:pt x="18988" y="15587"/>
                  </a:cubicBezTo>
                  <a:cubicBezTo>
                    <a:pt x="18934" y="15506"/>
                    <a:pt x="18888" y="15465"/>
                    <a:pt x="18852" y="15465"/>
                  </a:cubicBezTo>
                  <a:cubicBezTo>
                    <a:pt x="18398" y="15455"/>
                    <a:pt x="18118" y="15455"/>
                    <a:pt x="18008" y="15465"/>
                  </a:cubicBezTo>
                  <a:cubicBezTo>
                    <a:pt x="17556" y="15486"/>
                    <a:pt x="17328" y="15567"/>
                    <a:pt x="17328" y="15709"/>
                  </a:cubicBezTo>
                  <a:cubicBezTo>
                    <a:pt x="17328" y="15780"/>
                    <a:pt x="17347" y="15902"/>
                    <a:pt x="17384" y="16074"/>
                  </a:cubicBezTo>
                  <a:cubicBezTo>
                    <a:pt x="17456" y="16247"/>
                    <a:pt x="17492" y="16359"/>
                    <a:pt x="17492" y="16409"/>
                  </a:cubicBezTo>
                  <a:cubicBezTo>
                    <a:pt x="17474" y="16582"/>
                    <a:pt x="17347" y="16729"/>
                    <a:pt x="17111" y="16851"/>
                  </a:cubicBezTo>
                  <a:cubicBezTo>
                    <a:pt x="16784" y="16993"/>
                    <a:pt x="16594" y="17104"/>
                    <a:pt x="16540" y="17186"/>
                  </a:cubicBezTo>
                  <a:cubicBezTo>
                    <a:pt x="16468" y="17277"/>
                    <a:pt x="16358" y="17444"/>
                    <a:pt x="16214" y="17688"/>
                  </a:cubicBezTo>
                  <a:cubicBezTo>
                    <a:pt x="16014" y="17911"/>
                    <a:pt x="15806" y="18043"/>
                    <a:pt x="15588" y="18084"/>
                  </a:cubicBezTo>
                  <a:cubicBezTo>
                    <a:pt x="15007" y="18175"/>
                    <a:pt x="14726" y="18469"/>
                    <a:pt x="14744" y="18966"/>
                  </a:cubicBezTo>
                  <a:cubicBezTo>
                    <a:pt x="14726" y="19423"/>
                    <a:pt x="14491" y="19646"/>
                    <a:pt x="14037" y="19636"/>
                  </a:cubicBezTo>
                  <a:cubicBezTo>
                    <a:pt x="13529" y="19636"/>
                    <a:pt x="12931" y="19484"/>
                    <a:pt x="12241" y="19180"/>
                  </a:cubicBezTo>
                  <a:cubicBezTo>
                    <a:pt x="11697" y="18906"/>
                    <a:pt x="11417" y="18768"/>
                    <a:pt x="11399" y="18768"/>
                  </a:cubicBezTo>
                  <a:cubicBezTo>
                    <a:pt x="11199" y="18768"/>
                    <a:pt x="11091" y="18799"/>
                    <a:pt x="11072" y="18860"/>
                  </a:cubicBezTo>
                  <a:cubicBezTo>
                    <a:pt x="11053" y="18911"/>
                    <a:pt x="11017" y="19012"/>
                    <a:pt x="10963" y="19164"/>
                  </a:cubicBezTo>
                  <a:cubicBezTo>
                    <a:pt x="10927" y="19246"/>
                    <a:pt x="10837" y="19332"/>
                    <a:pt x="10691" y="19423"/>
                  </a:cubicBezTo>
                  <a:cubicBezTo>
                    <a:pt x="10509" y="19545"/>
                    <a:pt x="10411" y="19616"/>
                    <a:pt x="10391" y="19636"/>
                  </a:cubicBezTo>
                  <a:cubicBezTo>
                    <a:pt x="10337" y="19687"/>
                    <a:pt x="10255" y="19865"/>
                    <a:pt x="10147" y="20169"/>
                  </a:cubicBezTo>
                  <a:cubicBezTo>
                    <a:pt x="10021" y="20423"/>
                    <a:pt x="9911" y="20545"/>
                    <a:pt x="9821" y="20535"/>
                  </a:cubicBezTo>
                  <a:cubicBezTo>
                    <a:pt x="9385" y="20535"/>
                    <a:pt x="9023" y="20433"/>
                    <a:pt x="8733" y="20230"/>
                  </a:cubicBezTo>
                  <a:cubicBezTo>
                    <a:pt x="8533" y="20037"/>
                    <a:pt x="8397" y="19941"/>
                    <a:pt x="8325" y="19941"/>
                  </a:cubicBezTo>
                  <a:cubicBezTo>
                    <a:pt x="7962" y="19931"/>
                    <a:pt x="7608" y="20108"/>
                    <a:pt x="7263" y="20474"/>
                  </a:cubicBezTo>
                  <a:cubicBezTo>
                    <a:pt x="6901" y="20839"/>
                    <a:pt x="6701" y="21021"/>
                    <a:pt x="6665" y="21021"/>
                  </a:cubicBezTo>
                  <a:cubicBezTo>
                    <a:pt x="6647" y="21021"/>
                    <a:pt x="5940" y="20763"/>
                    <a:pt x="4543" y="20245"/>
                  </a:cubicBezTo>
                  <a:cubicBezTo>
                    <a:pt x="4452" y="20245"/>
                    <a:pt x="4126" y="20377"/>
                    <a:pt x="3564" y="20641"/>
                  </a:cubicBezTo>
                  <a:lnTo>
                    <a:pt x="2720" y="21036"/>
                  </a:lnTo>
                  <a:cubicBezTo>
                    <a:pt x="2594" y="21036"/>
                    <a:pt x="2494" y="20986"/>
                    <a:pt x="2422" y="20884"/>
                  </a:cubicBezTo>
                  <a:cubicBezTo>
                    <a:pt x="2348" y="20783"/>
                    <a:pt x="2250" y="20732"/>
                    <a:pt x="2122" y="20732"/>
                  </a:cubicBezTo>
                  <a:cubicBezTo>
                    <a:pt x="2032" y="20732"/>
                    <a:pt x="1796" y="20752"/>
                    <a:pt x="1414" y="20793"/>
                  </a:cubicBezTo>
                  <a:cubicBezTo>
                    <a:pt x="1034" y="20844"/>
                    <a:pt x="826" y="20879"/>
                    <a:pt x="790" y="20900"/>
                  </a:cubicBezTo>
                  <a:cubicBezTo>
                    <a:pt x="790" y="20961"/>
                    <a:pt x="816" y="21042"/>
                    <a:pt x="870" y="21143"/>
                  </a:cubicBezTo>
                  <a:cubicBezTo>
                    <a:pt x="870" y="21174"/>
                    <a:pt x="635" y="21291"/>
                    <a:pt x="164" y="21493"/>
                  </a:cubicBezTo>
                  <a:cubicBezTo>
                    <a:pt x="109" y="21534"/>
                    <a:pt x="54" y="21569"/>
                    <a:pt x="0" y="21600"/>
                  </a:cubicBezTo>
                  <a:lnTo>
                    <a:pt x="54" y="20945"/>
                  </a:lnTo>
                  <a:cubicBezTo>
                    <a:pt x="73" y="20773"/>
                    <a:pt x="64" y="20600"/>
                    <a:pt x="28" y="20428"/>
                  </a:cubicBezTo>
                  <a:cubicBezTo>
                    <a:pt x="10" y="20245"/>
                    <a:pt x="10" y="20073"/>
                    <a:pt x="28" y="19910"/>
                  </a:cubicBezTo>
                  <a:cubicBezTo>
                    <a:pt x="10" y="19657"/>
                    <a:pt x="146" y="19347"/>
                    <a:pt x="436" y="18982"/>
                  </a:cubicBezTo>
                  <a:cubicBezTo>
                    <a:pt x="708" y="18677"/>
                    <a:pt x="1062" y="18368"/>
                    <a:pt x="1496" y="18053"/>
                  </a:cubicBezTo>
                  <a:cubicBezTo>
                    <a:pt x="1696" y="17891"/>
                    <a:pt x="1868" y="17703"/>
                    <a:pt x="2014" y="17490"/>
                  </a:cubicBezTo>
                  <a:cubicBezTo>
                    <a:pt x="2104" y="17287"/>
                    <a:pt x="2186" y="17130"/>
                    <a:pt x="2258" y="17018"/>
                  </a:cubicBezTo>
                  <a:cubicBezTo>
                    <a:pt x="2366" y="16906"/>
                    <a:pt x="2530" y="16769"/>
                    <a:pt x="2748" y="16607"/>
                  </a:cubicBezTo>
                  <a:cubicBezTo>
                    <a:pt x="2892" y="16475"/>
                    <a:pt x="2974" y="16348"/>
                    <a:pt x="2992" y="16226"/>
                  </a:cubicBezTo>
                  <a:cubicBezTo>
                    <a:pt x="2812" y="15678"/>
                    <a:pt x="2712" y="15283"/>
                    <a:pt x="2694" y="15039"/>
                  </a:cubicBezTo>
                  <a:cubicBezTo>
                    <a:pt x="2676" y="15019"/>
                    <a:pt x="2648" y="15004"/>
                    <a:pt x="2612" y="14994"/>
                  </a:cubicBezTo>
                  <a:cubicBezTo>
                    <a:pt x="2484" y="14902"/>
                    <a:pt x="2294" y="14781"/>
                    <a:pt x="2040" y="14628"/>
                  </a:cubicBezTo>
                  <a:cubicBezTo>
                    <a:pt x="1896" y="14537"/>
                    <a:pt x="1832" y="14379"/>
                    <a:pt x="1850" y="14156"/>
                  </a:cubicBezTo>
                  <a:cubicBezTo>
                    <a:pt x="1868" y="14034"/>
                    <a:pt x="1950" y="13867"/>
                    <a:pt x="2094" y="13654"/>
                  </a:cubicBezTo>
                  <a:cubicBezTo>
                    <a:pt x="2222" y="13431"/>
                    <a:pt x="2294" y="13111"/>
                    <a:pt x="2312" y="12695"/>
                  </a:cubicBezTo>
                  <a:cubicBezTo>
                    <a:pt x="2312" y="12269"/>
                    <a:pt x="2268" y="11594"/>
                    <a:pt x="2176" y="10670"/>
                  </a:cubicBezTo>
                  <a:cubicBezTo>
                    <a:pt x="2104" y="9747"/>
                    <a:pt x="2050" y="9163"/>
                    <a:pt x="2014" y="8920"/>
                  </a:cubicBezTo>
                  <a:cubicBezTo>
                    <a:pt x="1978" y="8656"/>
                    <a:pt x="1668" y="6023"/>
                    <a:pt x="1088" y="1020"/>
                  </a:cubicBezTo>
                  <a:close/>
                  <a:moveTo>
                    <a:pt x="1088" y="102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1" name="AutoShape 88"/>
            <p:cNvSpPr>
              <a:spLocks/>
            </p:cNvSpPr>
            <p:nvPr/>
          </p:nvSpPr>
          <p:spPr bwMode="auto">
            <a:xfrm>
              <a:off x="8185413" y="3632783"/>
              <a:ext cx="126605" cy="31651"/>
            </a:xfrm>
            <a:custGeom>
              <a:avLst/>
              <a:gdLst/>
              <a:ahLst/>
              <a:cxnLst/>
              <a:rect l="0" t="0" r="r" b="b"/>
              <a:pathLst>
                <a:path w="21600" h="21600">
                  <a:moveTo>
                    <a:pt x="20381" y="4015"/>
                  </a:moveTo>
                  <a:cubicBezTo>
                    <a:pt x="21194" y="5585"/>
                    <a:pt x="21600" y="6924"/>
                    <a:pt x="21600" y="8031"/>
                  </a:cubicBezTo>
                  <a:cubicBezTo>
                    <a:pt x="21600" y="11447"/>
                    <a:pt x="20045" y="14676"/>
                    <a:pt x="16932" y="17723"/>
                  </a:cubicBezTo>
                  <a:cubicBezTo>
                    <a:pt x="14284" y="20309"/>
                    <a:pt x="12160" y="21600"/>
                    <a:pt x="10556" y="21600"/>
                  </a:cubicBezTo>
                  <a:cubicBezTo>
                    <a:pt x="9790" y="21600"/>
                    <a:pt x="8955" y="20538"/>
                    <a:pt x="8048" y="18416"/>
                  </a:cubicBezTo>
                  <a:cubicBezTo>
                    <a:pt x="6632" y="15184"/>
                    <a:pt x="5899" y="13523"/>
                    <a:pt x="5853" y="13431"/>
                  </a:cubicBezTo>
                  <a:lnTo>
                    <a:pt x="2684" y="12600"/>
                  </a:lnTo>
                  <a:cubicBezTo>
                    <a:pt x="895" y="12140"/>
                    <a:pt x="0" y="10846"/>
                    <a:pt x="0" y="8724"/>
                  </a:cubicBezTo>
                  <a:cubicBezTo>
                    <a:pt x="0" y="7154"/>
                    <a:pt x="361" y="5585"/>
                    <a:pt x="1081" y="4015"/>
                  </a:cubicBezTo>
                  <a:cubicBezTo>
                    <a:pt x="1916" y="2169"/>
                    <a:pt x="2961" y="1248"/>
                    <a:pt x="4216" y="1248"/>
                  </a:cubicBezTo>
                  <a:cubicBezTo>
                    <a:pt x="4936" y="1248"/>
                    <a:pt x="6004" y="1616"/>
                    <a:pt x="7421" y="2355"/>
                  </a:cubicBezTo>
                  <a:cubicBezTo>
                    <a:pt x="7515" y="2355"/>
                    <a:pt x="8292" y="1985"/>
                    <a:pt x="9755" y="1248"/>
                  </a:cubicBezTo>
                  <a:cubicBezTo>
                    <a:pt x="11242" y="415"/>
                    <a:pt x="12160" y="0"/>
                    <a:pt x="12508" y="0"/>
                  </a:cubicBezTo>
                  <a:cubicBezTo>
                    <a:pt x="13367" y="0"/>
                    <a:pt x="13971" y="231"/>
                    <a:pt x="14319" y="693"/>
                  </a:cubicBezTo>
                  <a:cubicBezTo>
                    <a:pt x="14598" y="1062"/>
                    <a:pt x="14923" y="1846"/>
                    <a:pt x="15295" y="3046"/>
                  </a:cubicBezTo>
                  <a:cubicBezTo>
                    <a:pt x="15341" y="3138"/>
                    <a:pt x="15388" y="3325"/>
                    <a:pt x="15434" y="3598"/>
                  </a:cubicBezTo>
                  <a:cubicBezTo>
                    <a:pt x="16271" y="3138"/>
                    <a:pt x="16816" y="2816"/>
                    <a:pt x="17071" y="2632"/>
                  </a:cubicBezTo>
                  <a:cubicBezTo>
                    <a:pt x="17839" y="2077"/>
                    <a:pt x="18477" y="1800"/>
                    <a:pt x="18987" y="1800"/>
                  </a:cubicBezTo>
                  <a:cubicBezTo>
                    <a:pt x="19174" y="1800"/>
                    <a:pt x="19638" y="2539"/>
                    <a:pt x="20381" y="4015"/>
                  </a:cubicBezTo>
                  <a:close/>
                  <a:moveTo>
                    <a:pt x="20381" y="401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2" name="AutoShape 89"/>
            <p:cNvSpPr>
              <a:spLocks/>
            </p:cNvSpPr>
            <p:nvPr/>
          </p:nvSpPr>
          <p:spPr bwMode="auto">
            <a:xfrm>
              <a:off x="8430455" y="3375489"/>
              <a:ext cx="304260" cy="322128"/>
            </a:xfrm>
            <a:custGeom>
              <a:avLst/>
              <a:gdLst/>
              <a:ahLst/>
              <a:cxnLst/>
              <a:rect l="0" t="0" r="r" b="b"/>
              <a:pathLst>
                <a:path w="21600" h="21600">
                  <a:moveTo>
                    <a:pt x="2987" y="328"/>
                  </a:moveTo>
                  <a:lnTo>
                    <a:pt x="2929" y="1135"/>
                  </a:lnTo>
                  <a:cubicBezTo>
                    <a:pt x="2929" y="1245"/>
                    <a:pt x="2910" y="1322"/>
                    <a:pt x="2871" y="1368"/>
                  </a:cubicBezTo>
                  <a:cubicBezTo>
                    <a:pt x="2861" y="1395"/>
                    <a:pt x="2760" y="1500"/>
                    <a:pt x="2567" y="1683"/>
                  </a:cubicBezTo>
                  <a:cubicBezTo>
                    <a:pt x="2605" y="1719"/>
                    <a:pt x="2721" y="1801"/>
                    <a:pt x="2914" y="1929"/>
                  </a:cubicBezTo>
                  <a:cubicBezTo>
                    <a:pt x="3030" y="2011"/>
                    <a:pt x="3132" y="2134"/>
                    <a:pt x="3219" y="2298"/>
                  </a:cubicBezTo>
                  <a:cubicBezTo>
                    <a:pt x="3422" y="2873"/>
                    <a:pt x="3523" y="3196"/>
                    <a:pt x="3523" y="3269"/>
                  </a:cubicBezTo>
                  <a:cubicBezTo>
                    <a:pt x="3523" y="3461"/>
                    <a:pt x="3470" y="3602"/>
                    <a:pt x="3364" y="3693"/>
                  </a:cubicBezTo>
                  <a:cubicBezTo>
                    <a:pt x="3248" y="3785"/>
                    <a:pt x="3079" y="3807"/>
                    <a:pt x="2857" y="3762"/>
                  </a:cubicBezTo>
                  <a:cubicBezTo>
                    <a:pt x="2924" y="3981"/>
                    <a:pt x="3093" y="4222"/>
                    <a:pt x="3364" y="4487"/>
                  </a:cubicBezTo>
                  <a:cubicBezTo>
                    <a:pt x="3586" y="4706"/>
                    <a:pt x="3697" y="4938"/>
                    <a:pt x="3697" y="5184"/>
                  </a:cubicBezTo>
                  <a:cubicBezTo>
                    <a:pt x="3697" y="5394"/>
                    <a:pt x="3654" y="5618"/>
                    <a:pt x="3567" y="5855"/>
                  </a:cubicBezTo>
                  <a:cubicBezTo>
                    <a:pt x="3479" y="6128"/>
                    <a:pt x="3422" y="6402"/>
                    <a:pt x="3393" y="6676"/>
                  </a:cubicBezTo>
                  <a:cubicBezTo>
                    <a:pt x="3383" y="6785"/>
                    <a:pt x="3340" y="7022"/>
                    <a:pt x="3262" y="7387"/>
                  </a:cubicBezTo>
                  <a:cubicBezTo>
                    <a:pt x="3195" y="7715"/>
                    <a:pt x="3161" y="7934"/>
                    <a:pt x="3161" y="8044"/>
                  </a:cubicBezTo>
                  <a:cubicBezTo>
                    <a:pt x="3161" y="8053"/>
                    <a:pt x="3397" y="8627"/>
                    <a:pt x="3871" y="9767"/>
                  </a:cubicBezTo>
                  <a:lnTo>
                    <a:pt x="4118" y="9767"/>
                  </a:lnTo>
                  <a:cubicBezTo>
                    <a:pt x="4253" y="9065"/>
                    <a:pt x="4330" y="8577"/>
                    <a:pt x="4349" y="8304"/>
                  </a:cubicBezTo>
                  <a:cubicBezTo>
                    <a:pt x="4330" y="7984"/>
                    <a:pt x="4330" y="7743"/>
                    <a:pt x="4349" y="7578"/>
                  </a:cubicBezTo>
                  <a:cubicBezTo>
                    <a:pt x="4379" y="7277"/>
                    <a:pt x="4519" y="7127"/>
                    <a:pt x="4770" y="7127"/>
                  </a:cubicBezTo>
                  <a:cubicBezTo>
                    <a:pt x="4847" y="7127"/>
                    <a:pt x="4925" y="7173"/>
                    <a:pt x="5002" y="7264"/>
                  </a:cubicBezTo>
                  <a:cubicBezTo>
                    <a:pt x="5070" y="7355"/>
                    <a:pt x="5137" y="7401"/>
                    <a:pt x="5205" y="7401"/>
                  </a:cubicBezTo>
                  <a:cubicBezTo>
                    <a:pt x="5408" y="7401"/>
                    <a:pt x="5596" y="7355"/>
                    <a:pt x="5770" y="7264"/>
                  </a:cubicBezTo>
                  <a:cubicBezTo>
                    <a:pt x="6263" y="6990"/>
                    <a:pt x="6563" y="6831"/>
                    <a:pt x="6669" y="6785"/>
                  </a:cubicBezTo>
                  <a:lnTo>
                    <a:pt x="6973" y="6785"/>
                  </a:lnTo>
                  <a:lnTo>
                    <a:pt x="6973" y="7127"/>
                  </a:lnTo>
                  <a:cubicBezTo>
                    <a:pt x="6500" y="7702"/>
                    <a:pt x="6142" y="8167"/>
                    <a:pt x="5901" y="8522"/>
                  </a:cubicBezTo>
                  <a:cubicBezTo>
                    <a:pt x="5978" y="8559"/>
                    <a:pt x="6094" y="8577"/>
                    <a:pt x="6248" y="8577"/>
                  </a:cubicBezTo>
                  <a:cubicBezTo>
                    <a:pt x="6297" y="8577"/>
                    <a:pt x="6379" y="8559"/>
                    <a:pt x="6495" y="8522"/>
                  </a:cubicBezTo>
                  <a:cubicBezTo>
                    <a:pt x="6601" y="8486"/>
                    <a:pt x="6679" y="8468"/>
                    <a:pt x="6727" y="8468"/>
                  </a:cubicBezTo>
                  <a:cubicBezTo>
                    <a:pt x="6882" y="8468"/>
                    <a:pt x="6973" y="8572"/>
                    <a:pt x="7002" y="8782"/>
                  </a:cubicBezTo>
                  <a:cubicBezTo>
                    <a:pt x="7031" y="8983"/>
                    <a:pt x="7128" y="9083"/>
                    <a:pt x="7292" y="9083"/>
                  </a:cubicBezTo>
                  <a:cubicBezTo>
                    <a:pt x="7582" y="9083"/>
                    <a:pt x="7891" y="8901"/>
                    <a:pt x="8220" y="8536"/>
                  </a:cubicBezTo>
                  <a:cubicBezTo>
                    <a:pt x="8423" y="8308"/>
                    <a:pt x="8583" y="8080"/>
                    <a:pt x="8698" y="7852"/>
                  </a:cubicBezTo>
                  <a:cubicBezTo>
                    <a:pt x="8853" y="8089"/>
                    <a:pt x="8930" y="8267"/>
                    <a:pt x="8930" y="8386"/>
                  </a:cubicBezTo>
                  <a:cubicBezTo>
                    <a:pt x="8930" y="8477"/>
                    <a:pt x="8892" y="8655"/>
                    <a:pt x="8814" y="8919"/>
                  </a:cubicBezTo>
                  <a:cubicBezTo>
                    <a:pt x="8814" y="9220"/>
                    <a:pt x="8921" y="9371"/>
                    <a:pt x="9133" y="9371"/>
                  </a:cubicBezTo>
                  <a:cubicBezTo>
                    <a:pt x="9365" y="9371"/>
                    <a:pt x="9718" y="9015"/>
                    <a:pt x="10191" y="8304"/>
                  </a:cubicBezTo>
                  <a:cubicBezTo>
                    <a:pt x="10675" y="7592"/>
                    <a:pt x="10926" y="7236"/>
                    <a:pt x="10945" y="7236"/>
                  </a:cubicBezTo>
                  <a:cubicBezTo>
                    <a:pt x="11013" y="7236"/>
                    <a:pt x="11105" y="7287"/>
                    <a:pt x="11221" y="7387"/>
                  </a:cubicBezTo>
                  <a:cubicBezTo>
                    <a:pt x="11337" y="7478"/>
                    <a:pt x="11433" y="7524"/>
                    <a:pt x="11511" y="7524"/>
                  </a:cubicBezTo>
                  <a:cubicBezTo>
                    <a:pt x="11578" y="7524"/>
                    <a:pt x="11815" y="7346"/>
                    <a:pt x="12221" y="6990"/>
                  </a:cubicBezTo>
                  <a:cubicBezTo>
                    <a:pt x="12714" y="6635"/>
                    <a:pt x="13182" y="6457"/>
                    <a:pt x="13627" y="6457"/>
                  </a:cubicBezTo>
                  <a:cubicBezTo>
                    <a:pt x="13830" y="6457"/>
                    <a:pt x="13951" y="6511"/>
                    <a:pt x="13989" y="6621"/>
                  </a:cubicBezTo>
                  <a:lnTo>
                    <a:pt x="13989" y="7004"/>
                  </a:lnTo>
                  <a:cubicBezTo>
                    <a:pt x="13989" y="7195"/>
                    <a:pt x="13951" y="7478"/>
                    <a:pt x="13874" y="7852"/>
                  </a:cubicBezTo>
                  <a:cubicBezTo>
                    <a:pt x="13787" y="8226"/>
                    <a:pt x="13743" y="8504"/>
                    <a:pt x="13743" y="8687"/>
                  </a:cubicBezTo>
                  <a:cubicBezTo>
                    <a:pt x="13743" y="8814"/>
                    <a:pt x="13767" y="8928"/>
                    <a:pt x="13816" y="9029"/>
                  </a:cubicBezTo>
                  <a:cubicBezTo>
                    <a:pt x="13874" y="9147"/>
                    <a:pt x="13960" y="9206"/>
                    <a:pt x="14077" y="9206"/>
                  </a:cubicBezTo>
                  <a:cubicBezTo>
                    <a:pt x="14231" y="9206"/>
                    <a:pt x="14342" y="9165"/>
                    <a:pt x="14410" y="9083"/>
                  </a:cubicBezTo>
                  <a:cubicBezTo>
                    <a:pt x="14565" y="9229"/>
                    <a:pt x="14642" y="9371"/>
                    <a:pt x="14642" y="9507"/>
                  </a:cubicBezTo>
                  <a:cubicBezTo>
                    <a:pt x="14642" y="9599"/>
                    <a:pt x="14603" y="9786"/>
                    <a:pt x="14526" y="10068"/>
                  </a:cubicBezTo>
                  <a:cubicBezTo>
                    <a:pt x="14526" y="10232"/>
                    <a:pt x="14545" y="10337"/>
                    <a:pt x="14584" y="10383"/>
                  </a:cubicBezTo>
                  <a:cubicBezTo>
                    <a:pt x="14613" y="10419"/>
                    <a:pt x="14681" y="10437"/>
                    <a:pt x="14787" y="10437"/>
                  </a:cubicBezTo>
                  <a:cubicBezTo>
                    <a:pt x="14941" y="10437"/>
                    <a:pt x="15193" y="10264"/>
                    <a:pt x="15541" y="9918"/>
                  </a:cubicBezTo>
                  <a:cubicBezTo>
                    <a:pt x="15734" y="9726"/>
                    <a:pt x="16009" y="9430"/>
                    <a:pt x="16367" y="9029"/>
                  </a:cubicBezTo>
                  <a:cubicBezTo>
                    <a:pt x="16377" y="9038"/>
                    <a:pt x="16430" y="9106"/>
                    <a:pt x="16526" y="9234"/>
                  </a:cubicBezTo>
                  <a:cubicBezTo>
                    <a:pt x="16623" y="9343"/>
                    <a:pt x="16671" y="9425"/>
                    <a:pt x="16671" y="9480"/>
                  </a:cubicBezTo>
                  <a:cubicBezTo>
                    <a:pt x="16671" y="9644"/>
                    <a:pt x="16594" y="9795"/>
                    <a:pt x="16440" y="9931"/>
                  </a:cubicBezTo>
                  <a:cubicBezTo>
                    <a:pt x="16275" y="10077"/>
                    <a:pt x="16193" y="10209"/>
                    <a:pt x="16193" y="10328"/>
                  </a:cubicBezTo>
                  <a:cubicBezTo>
                    <a:pt x="16193" y="10374"/>
                    <a:pt x="16213" y="10442"/>
                    <a:pt x="16251" y="10533"/>
                  </a:cubicBezTo>
                  <a:cubicBezTo>
                    <a:pt x="16290" y="10624"/>
                    <a:pt x="16309" y="10693"/>
                    <a:pt x="16309" y="10739"/>
                  </a:cubicBezTo>
                  <a:cubicBezTo>
                    <a:pt x="16309" y="10884"/>
                    <a:pt x="16222" y="11053"/>
                    <a:pt x="16048" y="11245"/>
                  </a:cubicBezTo>
                  <a:cubicBezTo>
                    <a:pt x="15826" y="11454"/>
                    <a:pt x="15676" y="11596"/>
                    <a:pt x="15599" y="11669"/>
                  </a:cubicBezTo>
                  <a:cubicBezTo>
                    <a:pt x="15656" y="11751"/>
                    <a:pt x="15845" y="11865"/>
                    <a:pt x="16164" y="12011"/>
                  </a:cubicBezTo>
                  <a:cubicBezTo>
                    <a:pt x="16483" y="12157"/>
                    <a:pt x="16691" y="12307"/>
                    <a:pt x="16787" y="12462"/>
                  </a:cubicBezTo>
                  <a:cubicBezTo>
                    <a:pt x="16836" y="12535"/>
                    <a:pt x="16903" y="12740"/>
                    <a:pt x="16991" y="13078"/>
                  </a:cubicBezTo>
                  <a:cubicBezTo>
                    <a:pt x="17116" y="13379"/>
                    <a:pt x="17304" y="13529"/>
                    <a:pt x="17556" y="13529"/>
                  </a:cubicBezTo>
                  <a:cubicBezTo>
                    <a:pt x="17788" y="13529"/>
                    <a:pt x="17928" y="13511"/>
                    <a:pt x="17976" y="13474"/>
                  </a:cubicBezTo>
                  <a:cubicBezTo>
                    <a:pt x="18015" y="13447"/>
                    <a:pt x="18034" y="13351"/>
                    <a:pt x="18034" y="13187"/>
                  </a:cubicBezTo>
                  <a:cubicBezTo>
                    <a:pt x="18034" y="13105"/>
                    <a:pt x="17966" y="12918"/>
                    <a:pt x="17831" y="12626"/>
                  </a:cubicBezTo>
                  <a:cubicBezTo>
                    <a:pt x="17686" y="12334"/>
                    <a:pt x="17613" y="12138"/>
                    <a:pt x="17613" y="12038"/>
                  </a:cubicBezTo>
                  <a:cubicBezTo>
                    <a:pt x="17613" y="11901"/>
                    <a:pt x="17735" y="11641"/>
                    <a:pt x="17976" y="11258"/>
                  </a:cubicBezTo>
                  <a:cubicBezTo>
                    <a:pt x="18208" y="10866"/>
                    <a:pt x="18387" y="10647"/>
                    <a:pt x="18513" y="10602"/>
                  </a:cubicBezTo>
                  <a:cubicBezTo>
                    <a:pt x="18570" y="10702"/>
                    <a:pt x="18628" y="11149"/>
                    <a:pt x="18687" y="11942"/>
                  </a:cubicBezTo>
                  <a:cubicBezTo>
                    <a:pt x="18803" y="12699"/>
                    <a:pt x="19078" y="13078"/>
                    <a:pt x="19513" y="13078"/>
                  </a:cubicBezTo>
                  <a:cubicBezTo>
                    <a:pt x="19551" y="13078"/>
                    <a:pt x="19629" y="12996"/>
                    <a:pt x="19745" y="12831"/>
                  </a:cubicBezTo>
                  <a:cubicBezTo>
                    <a:pt x="19890" y="12631"/>
                    <a:pt x="19996" y="12508"/>
                    <a:pt x="20064" y="12462"/>
                  </a:cubicBezTo>
                  <a:cubicBezTo>
                    <a:pt x="20354" y="12590"/>
                    <a:pt x="20518" y="12868"/>
                    <a:pt x="20556" y="13296"/>
                  </a:cubicBezTo>
                  <a:cubicBezTo>
                    <a:pt x="20585" y="13543"/>
                    <a:pt x="20619" y="13917"/>
                    <a:pt x="20658" y="14418"/>
                  </a:cubicBezTo>
                  <a:cubicBezTo>
                    <a:pt x="21286" y="15750"/>
                    <a:pt x="21600" y="16470"/>
                    <a:pt x="21600" y="16580"/>
                  </a:cubicBezTo>
                  <a:cubicBezTo>
                    <a:pt x="21600" y="16716"/>
                    <a:pt x="21445" y="16835"/>
                    <a:pt x="21136" y="16935"/>
                  </a:cubicBezTo>
                  <a:cubicBezTo>
                    <a:pt x="20846" y="17045"/>
                    <a:pt x="20644" y="17068"/>
                    <a:pt x="20527" y="17004"/>
                  </a:cubicBezTo>
                  <a:cubicBezTo>
                    <a:pt x="20479" y="17104"/>
                    <a:pt x="20455" y="17250"/>
                    <a:pt x="20455" y="17442"/>
                  </a:cubicBezTo>
                  <a:cubicBezTo>
                    <a:pt x="20426" y="17596"/>
                    <a:pt x="20310" y="17674"/>
                    <a:pt x="20107" y="17674"/>
                  </a:cubicBezTo>
                  <a:cubicBezTo>
                    <a:pt x="19817" y="17674"/>
                    <a:pt x="19643" y="17350"/>
                    <a:pt x="19585" y="16703"/>
                  </a:cubicBezTo>
                  <a:cubicBezTo>
                    <a:pt x="19527" y="16046"/>
                    <a:pt x="19315" y="15718"/>
                    <a:pt x="18948" y="15718"/>
                  </a:cubicBezTo>
                  <a:cubicBezTo>
                    <a:pt x="18754" y="15718"/>
                    <a:pt x="18628" y="15791"/>
                    <a:pt x="18570" y="15937"/>
                  </a:cubicBezTo>
                  <a:cubicBezTo>
                    <a:pt x="18532" y="16019"/>
                    <a:pt x="18513" y="16151"/>
                    <a:pt x="18513" y="16333"/>
                  </a:cubicBezTo>
                  <a:cubicBezTo>
                    <a:pt x="18513" y="16489"/>
                    <a:pt x="18551" y="16675"/>
                    <a:pt x="18628" y="16894"/>
                  </a:cubicBezTo>
                  <a:lnTo>
                    <a:pt x="18628" y="17565"/>
                  </a:lnTo>
                  <a:cubicBezTo>
                    <a:pt x="18561" y="17601"/>
                    <a:pt x="18479" y="17619"/>
                    <a:pt x="18382" y="17619"/>
                  </a:cubicBezTo>
                  <a:cubicBezTo>
                    <a:pt x="18111" y="17619"/>
                    <a:pt x="17903" y="17469"/>
                    <a:pt x="17758" y="17168"/>
                  </a:cubicBezTo>
                  <a:cubicBezTo>
                    <a:pt x="17643" y="16912"/>
                    <a:pt x="17594" y="16616"/>
                    <a:pt x="17613" y="16279"/>
                  </a:cubicBezTo>
                  <a:cubicBezTo>
                    <a:pt x="17604" y="16124"/>
                    <a:pt x="17508" y="15709"/>
                    <a:pt x="17324" y="15034"/>
                  </a:cubicBezTo>
                  <a:cubicBezTo>
                    <a:pt x="17227" y="14715"/>
                    <a:pt x="16937" y="14414"/>
                    <a:pt x="16454" y="14131"/>
                  </a:cubicBezTo>
                  <a:cubicBezTo>
                    <a:pt x="15835" y="13766"/>
                    <a:pt x="15488" y="13547"/>
                    <a:pt x="15410" y="13474"/>
                  </a:cubicBezTo>
                  <a:cubicBezTo>
                    <a:pt x="15372" y="13547"/>
                    <a:pt x="15352" y="13721"/>
                    <a:pt x="15352" y="13994"/>
                  </a:cubicBezTo>
                  <a:cubicBezTo>
                    <a:pt x="15352" y="14277"/>
                    <a:pt x="15434" y="14582"/>
                    <a:pt x="15599" y="14911"/>
                  </a:cubicBezTo>
                  <a:cubicBezTo>
                    <a:pt x="15753" y="15248"/>
                    <a:pt x="15831" y="15499"/>
                    <a:pt x="15831" y="15663"/>
                  </a:cubicBezTo>
                  <a:cubicBezTo>
                    <a:pt x="15705" y="15745"/>
                    <a:pt x="15570" y="15836"/>
                    <a:pt x="15425" y="15937"/>
                  </a:cubicBezTo>
                  <a:cubicBezTo>
                    <a:pt x="15135" y="16156"/>
                    <a:pt x="14951" y="16343"/>
                    <a:pt x="14874" y="16498"/>
                  </a:cubicBezTo>
                  <a:cubicBezTo>
                    <a:pt x="14796" y="16634"/>
                    <a:pt x="14729" y="16853"/>
                    <a:pt x="14671" y="17154"/>
                  </a:cubicBezTo>
                  <a:cubicBezTo>
                    <a:pt x="14603" y="17464"/>
                    <a:pt x="14574" y="17752"/>
                    <a:pt x="14584" y="18016"/>
                  </a:cubicBezTo>
                  <a:cubicBezTo>
                    <a:pt x="14603" y="18727"/>
                    <a:pt x="14458" y="19243"/>
                    <a:pt x="14149" y="19562"/>
                  </a:cubicBezTo>
                  <a:cubicBezTo>
                    <a:pt x="13859" y="19863"/>
                    <a:pt x="13449" y="19986"/>
                    <a:pt x="12917" y="19931"/>
                  </a:cubicBezTo>
                  <a:cubicBezTo>
                    <a:pt x="12878" y="19740"/>
                    <a:pt x="12859" y="19598"/>
                    <a:pt x="12859" y="19507"/>
                  </a:cubicBezTo>
                  <a:cubicBezTo>
                    <a:pt x="12859" y="19334"/>
                    <a:pt x="13009" y="19037"/>
                    <a:pt x="13308" y="18618"/>
                  </a:cubicBezTo>
                  <a:cubicBezTo>
                    <a:pt x="13608" y="18207"/>
                    <a:pt x="13753" y="17875"/>
                    <a:pt x="13743" y="17619"/>
                  </a:cubicBezTo>
                  <a:cubicBezTo>
                    <a:pt x="13724" y="17200"/>
                    <a:pt x="13821" y="16821"/>
                    <a:pt x="14033" y="16484"/>
                  </a:cubicBezTo>
                  <a:cubicBezTo>
                    <a:pt x="14246" y="16138"/>
                    <a:pt x="14352" y="15891"/>
                    <a:pt x="14352" y="15745"/>
                  </a:cubicBezTo>
                  <a:cubicBezTo>
                    <a:pt x="14352" y="15663"/>
                    <a:pt x="14299" y="15595"/>
                    <a:pt x="14193" y="15540"/>
                  </a:cubicBezTo>
                  <a:cubicBezTo>
                    <a:pt x="14115" y="15504"/>
                    <a:pt x="14057" y="15485"/>
                    <a:pt x="14019" y="15485"/>
                  </a:cubicBezTo>
                  <a:cubicBezTo>
                    <a:pt x="13497" y="15485"/>
                    <a:pt x="13125" y="15686"/>
                    <a:pt x="12902" y="16087"/>
                  </a:cubicBezTo>
                  <a:cubicBezTo>
                    <a:pt x="12787" y="16297"/>
                    <a:pt x="12671" y="16716"/>
                    <a:pt x="12554" y="17346"/>
                  </a:cubicBezTo>
                  <a:cubicBezTo>
                    <a:pt x="12497" y="17346"/>
                    <a:pt x="12289" y="17400"/>
                    <a:pt x="11931" y="17510"/>
                  </a:cubicBezTo>
                  <a:cubicBezTo>
                    <a:pt x="11574" y="17619"/>
                    <a:pt x="11327" y="17674"/>
                    <a:pt x="11192" y="17674"/>
                  </a:cubicBezTo>
                  <a:cubicBezTo>
                    <a:pt x="11037" y="17629"/>
                    <a:pt x="10960" y="17556"/>
                    <a:pt x="10960" y="17455"/>
                  </a:cubicBezTo>
                  <a:cubicBezTo>
                    <a:pt x="10960" y="17410"/>
                    <a:pt x="11018" y="17291"/>
                    <a:pt x="11134" y="17100"/>
                  </a:cubicBezTo>
                  <a:cubicBezTo>
                    <a:pt x="11250" y="16899"/>
                    <a:pt x="11308" y="16762"/>
                    <a:pt x="11308" y="16689"/>
                  </a:cubicBezTo>
                  <a:cubicBezTo>
                    <a:pt x="11308" y="16516"/>
                    <a:pt x="11269" y="16384"/>
                    <a:pt x="11192" y="16292"/>
                  </a:cubicBezTo>
                  <a:cubicBezTo>
                    <a:pt x="11086" y="16210"/>
                    <a:pt x="11008" y="16147"/>
                    <a:pt x="10960" y="16101"/>
                  </a:cubicBezTo>
                  <a:cubicBezTo>
                    <a:pt x="10554" y="16940"/>
                    <a:pt x="10003" y="17583"/>
                    <a:pt x="9307" y="18030"/>
                  </a:cubicBezTo>
                  <a:cubicBezTo>
                    <a:pt x="8650" y="18440"/>
                    <a:pt x="7809" y="18718"/>
                    <a:pt x="6785" y="18864"/>
                  </a:cubicBezTo>
                  <a:cubicBezTo>
                    <a:pt x="6369" y="18919"/>
                    <a:pt x="5871" y="19179"/>
                    <a:pt x="5291" y="19644"/>
                  </a:cubicBezTo>
                  <a:cubicBezTo>
                    <a:pt x="4663" y="20173"/>
                    <a:pt x="4209" y="20524"/>
                    <a:pt x="3929" y="20697"/>
                  </a:cubicBezTo>
                  <a:cubicBezTo>
                    <a:pt x="3707" y="20834"/>
                    <a:pt x="3364" y="21003"/>
                    <a:pt x="2900" y="21203"/>
                  </a:cubicBezTo>
                  <a:cubicBezTo>
                    <a:pt x="2300" y="21468"/>
                    <a:pt x="1880" y="21600"/>
                    <a:pt x="1638" y="21600"/>
                  </a:cubicBezTo>
                  <a:cubicBezTo>
                    <a:pt x="1600" y="21600"/>
                    <a:pt x="1489" y="21491"/>
                    <a:pt x="1305" y="21272"/>
                  </a:cubicBezTo>
                  <a:cubicBezTo>
                    <a:pt x="1199" y="21162"/>
                    <a:pt x="1078" y="21021"/>
                    <a:pt x="943" y="20848"/>
                  </a:cubicBezTo>
                  <a:cubicBezTo>
                    <a:pt x="933" y="20829"/>
                    <a:pt x="923" y="20816"/>
                    <a:pt x="914" y="20807"/>
                  </a:cubicBezTo>
                  <a:cubicBezTo>
                    <a:pt x="827" y="20697"/>
                    <a:pt x="783" y="20565"/>
                    <a:pt x="783" y="20410"/>
                  </a:cubicBezTo>
                  <a:cubicBezTo>
                    <a:pt x="783" y="20072"/>
                    <a:pt x="1030" y="19589"/>
                    <a:pt x="1522" y="18960"/>
                  </a:cubicBezTo>
                  <a:cubicBezTo>
                    <a:pt x="2016" y="18331"/>
                    <a:pt x="2262" y="17770"/>
                    <a:pt x="2262" y="17277"/>
                  </a:cubicBezTo>
                  <a:cubicBezTo>
                    <a:pt x="2262" y="17058"/>
                    <a:pt x="2141" y="16949"/>
                    <a:pt x="1900" y="16949"/>
                  </a:cubicBezTo>
                  <a:cubicBezTo>
                    <a:pt x="1803" y="16949"/>
                    <a:pt x="1537" y="17086"/>
                    <a:pt x="1102" y="17359"/>
                  </a:cubicBezTo>
                  <a:cubicBezTo>
                    <a:pt x="696" y="17606"/>
                    <a:pt x="469" y="17752"/>
                    <a:pt x="421" y="17797"/>
                  </a:cubicBezTo>
                  <a:lnTo>
                    <a:pt x="0" y="17797"/>
                  </a:lnTo>
                  <a:lnTo>
                    <a:pt x="0" y="17510"/>
                  </a:lnTo>
                  <a:cubicBezTo>
                    <a:pt x="78" y="17173"/>
                    <a:pt x="339" y="16954"/>
                    <a:pt x="783" y="16853"/>
                  </a:cubicBezTo>
                  <a:cubicBezTo>
                    <a:pt x="1180" y="16771"/>
                    <a:pt x="1377" y="16580"/>
                    <a:pt x="1377" y="16279"/>
                  </a:cubicBezTo>
                  <a:cubicBezTo>
                    <a:pt x="1175" y="15394"/>
                    <a:pt x="1073" y="14847"/>
                    <a:pt x="1073" y="14637"/>
                  </a:cubicBezTo>
                  <a:cubicBezTo>
                    <a:pt x="1073" y="14491"/>
                    <a:pt x="1223" y="14350"/>
                    <a:pt x="1522" y="14213"/>
                  </a:cubicBezTo>
                  <a:cubicBezTo>
                    <a:pt x="1823" y="14076"/>
                    <a:pt x="1972" y="13903"/>
                    <a:pt x="1972" y="13693"/>
                  </a:cubicBezTo>
                  <a:cubicBezTo>
                    <a:pt x="1972" y="13474"/>
                    <a:pt x="1774" y="13356"/>
                    <a:pt x="1377" y="13338"/>
                  </a:cubicBezTo>
                  <a:cubicBezTo>
                    <a:pt x="982" y="13328"/>
                    <a:pt x="783" y="13110"/>
                    <a:pt x="783" y="12681"/>
                  </a:cubicBezTo>
                  <a:cubicBezTo>
                    <a:pt x="783" y="12453"/>
                    <a:pt x="904" y="12252"/>
                    <a:pt x="1146" y="12079"/>
                  </a:cubicBezTo>
                  <a:cubicBezTo>
                    <a:pt x="1377" y="11906"/>
                    <a:pt x="1494" y="11742"/>
                    <a:pt x="1494" y="11586"/>
                  </a:cubicBezTo>
                  <a:cubicBezTo>
                    <a:pt x="1494" y="11568"/>
                    <a:pt x="1368" y="11276"/>
                    <a:pt x="1117" y="10711"/>
                  </a:cubicBezTo>
                  <a:cubicBezTo>
                    <a:pt x="856" y="10137"/>
                    <a:pt x="725" y="9753"/>
                    <a:pt x="725" y="9562"/>
                  </a:cubicBezTo>
                  <a:cubicBezTo>
                    <a:pt x="725" y="9261"/>
                    <a:pt x="846" y="9001"/>
                    <a:pt x="1088" y="8782"/>
                  </a:cubicBezTo>
                  <a:cubicBezTo>
                    <a:pt x="1320" y="8572"/>
                    <a:pt x="1436" y="8431"/>
                    <a:pt x="1436" y="8358"/>
                  </a:cubicBezTo>
                  <a:cubicBezTo>
                    <a:pt x="1436" y="8212"/>
                    <a:pt x="1320" y="8103"/>
                    <a:pt x="1088" y="8030"/>
                  </a:cubicBezTo>
                  <a:cubicBezTo>
                    <a:pt x="846" y="7957"/>
                    <a:pt x="725" y="7843"/>
                    <a:pt x="725" y="7688"/>
                  </a:cubicBezTo>
                  <a:cubicBezTo>
                    <a:pt x="803" y="7396"/>
                    <a:pt x="841" y="7205"/>
                    <a:pt x="841" y="7113"/>
                  </a:cubicBezTo>
                  <a:cubicBezTo>
                    <a:pt x="841" y="6840"/>
                    <a:pt x="725" y="6594"/>
                    <a:pt x="493" y="6375"/>
                  </a:cubicBezTo>
                  <a:cubicBezTo>
                    <a:pt x="251" y="6147"/>
                    <a:pt x="131" y="6014"/>
                    <a:pt x="131" y="5978"/>
                  </a:cubicBezTo>
                  <a:cubicBezTo>
                    <a:pt x="131" y="5859"/>
                    <a:pt x="223" y="5713"/>
                    <a:pt x="406" y="5540"/>
                  </a:cubicBezTo>
                  <a:cubicBezTo>
                    <a:pt x="580" y="5358"/>
                    <a:pt x="667" y="5144"/>
                    <a:pt x="667" y="4897"/>
                  </a:cubicBezTo>
                  <a:cubicBezTo>
                    <a:pt x="667" y="4724"/>
                    <a:pt x="629" y="4569"/>
                    <a:pt x="551" y="4432"/>
                  </a:cubicBezTo>
                  <a:cubicBezTo>
                    <a:pt x="464" y="4295"/>
                    <a:pt x="421" y="4163"/>
                    <a:pt x="421" y="4035"/>
                  </a:cubicBezTo>
                  <a:cubicBezTo>
                    <a:pt x="421" y="3999"/>
                    <a:pt x="474" y="3844"/>
                    <a:pt x="580" y="3570"/>
                  </a:cubicBezTo>
                  <a:cubicBezTo>
                    <a:pt x="677" y="3306"/>
                    <a:pt x="725" y="3123"/>
                    <a:pt x="725" y="3023"/>
                  </a:cubicBezTo>
                  <a:cubicBezTo>
                    <a:pt x="725" y="2996"/>
                    <a:pt x="696" y="2900"/>
                    <a:pt x="638" y="2736"/>
                  </a:cubicBezTo>
                  <a:cubicBezTo>
                    <a:pt x="570" y="2581"/>
                    <a:pt x="537" y="2471"/>
                    <a:pt x="537" y="2408"/>
                  </a:cubicBezTo>
                  <a:cubicBezTo>
                    <a:pt x="537" y="2216"/>
                    <a:pt x="638" y="1974"/>
                    <a:pt x="841" y="1683"/>
                  </a:cubicBezTo>
                  <a:cubicBezTo>
                    <a:pt x="996" y="1455"/>
                    <a:pt x="1155" y="1268"/>
                    <a:pt x="1320" y="1122"/>
                  </a:cubicBezTo>
                  <a:cubicBezTo>
                    <a:pt x="1503" y="948"/>
                    <a:pt x="1764" y="716"/>
                    <a:pt x="2102" y="424"/>
                  </a:cubicBezTo>
                  <a:cubicBezTo>
                    <a:pt x="2431" y="141"/>
                    <a:pt x="2605" y="0"/>
                    <a:pt x="2624" y="0"/>
                  </a:cubicBezTo>
                  <a:cubicBezTo>
                    <a:pt x="2692" y="0"/>
                    <a:pt x="2769" y="36"/>
                    <a:pt x="2857" y="109"/>
                  </a:cubicBezTo>
                  <a:cubicBezTo>
                    <a:pt x="2943" y="182"/>
                    <a:pt x="2987" y="255"/>
                    <a:pt x="2987" y="328"/>
                  </a:cubicBezTo>
                  <a:close/>
                  <a:moveTo>
                    <a:pt x="2987" y="32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3" name="AutoShape 90"/>
            <p:cNvSpPr>
              <a:spLocks/>
            </p:cNvSpPr>
            <p:nvPr/>
          </p:nvSpPr>
          <p:spPr bwMode="auto">
            <a:xfrm>
              <a:off x="6935699" y="4776312"/>
              <a:ext cx="258315" cy="247084"/>
            </a:xfrm>
            <a:custGeom>
              <a:avLst/>
              <a:gdLst/>
              <a:ahLst/>
              <a:cxnLst/>
              <a:rect l="0" t="0" r="r" b="b"/>
              <a:pathLst>
                <a:path w="21600" h="21600">
                  <a:moveTo>
                    <a:pt x="21463" y="2959"/>
                  </a:moveTo>
                  <a:cubicBezTo>
                    <a:pt x="21463" y="2971"/>
                    <a:pt x="21463" y="2994"/>
                    <a:pt x="21463" y="3029"/>
                  </a:cubicBezTo>
                  <a:cubicBezTo>
                    <a:pt x="21463" y="3065"/>
                    <a:pt x="21492" y="3149"/>
                    <a:pt x="21549" y="3279"/>
                  </a:cubicBezTo>
                  <a:cubicBezTo>
                    <a:pt x="21583" y="3434"/>
                    <a:pt x="21600" y="3529"/>
                    <a:pt x="21600" y="3564"/>
                  </a:cubicBezTo>
                  <a:cubicBezTo>
                    <a:pt x="21600" y="3683"/>
                    <a:pt x="21497" y="3879"/>
                    <a:pt x="21293" y="4153"/>
                  </a:cubicBezTo>
                  <a:cubicBezTo>
                    <a:pt x="21110" y="4402"/>
                    <a:pt x="20940" y="4580"/>
                    <a:pt x="20780" y="4687"/>
                  </a:cubicBezTo>
                  <a:cubicBezTo>
                    <a:pt x="20746" y="4759"/>
                    <a:pt x="20724" y="4818"/>
                    <a:pt x="20712" y="4866"/>
                  </a:cubicBezTo>
                  <a:cubicBezTo>
                    <a:pt x="20712" y="4913"/>
                    <a:pt x="20735" y="4990"/>
                    <a:pt x="20780" y="5097"/>
                  </a:cubicBezTo>
                  <a:cubicBezTo>
                    <a:pt x="20826" y="5180"/>
                    <a:pt x="20849" y="5252"/>
                    <a:pt x="20849" y="5311"/>
                  </a:cubicBezTo>
                  <a:cubicBezTo>
                    <a:pt x="20849" y="5406"/>
                    <a:pt x="20746" y="5513"/>
                    <a:pt x="20541" y="5632"/>
                  </a:cubicBezTo>
                  <a:cubicBezTo>
                    <a:pt x="20325" y="5763"/>
                    <a:pt x="20211" y="5875"/>
                    <a:pt x="20200" y="5970"/>
                  </a:cubicBezTo>
                  <a:cubicBezTo>
                    <a:pt x="20166" y="6173"/>
                    <a:pt x="20052" y="6309"/>
                    <a:pt x="19859" y="6380"/>
                  </a:cubicBezTo>
                  <a:cubicBezTo>
                    <a:pt x="19699" y="6440"/>
                    <a:pt x="19619" y="6547"/>
                    <a:pt x="19619" y="6701"/>
                  </a:cubicBezTo>
                  <a:cubicBezTo>
                    <a:pt x="19619" y="6808"/>
                    <a:pt x="19704" y="6992"/>
                    <a:pt x="19875" y="7254"/>
                  </a:cubicBezTo>
                  <a:cubicBezTo>
                    <a:pt x="20081" y="7551"/>
                    <a:pt x="20177" y="7741"/>
                    <a:pt x="20166" y="7824"/>
                  </a:cubicBezTo>
                  <a:cubicBezTo>
                    <a:pt x="20166" y="7955"/>
                    <a:pt x="20069" y="8127"/>
                    <a:pt x="19875" y="8341"/>
                  </a:cubicBezTo>
                  <a:cubicBezTo>
                    <a:pt x="19614" y="8626"/>
                    <a:pt x="19483" y="8781"/>
                    <a:pt x="19483" y="8804"/>
                  </a:cubicBezTo>
                  <a:cubicBezTo>
                    <a:pt x="19448" y="8840"/>
                    <a:pt x="19420" y="8899"/>
                    <a:pt x="19398" y="8982"/>
                  </a:cubicBezTo>
                  <a:cubicBezTo>
                    <a:pt x="19375" y="9113"/>
                    <a:pt x="19340" y="9267"/>
                    <a:pt x="19295" y="9445"/>
                  </a:cubicBezTo>
                  <a:cubicBezTo>
                    <a:pt x="19261" y="9719"/>
                    <a:pt x="19176" y="9873"/>
                    <a:pt x="19039" y="9909"/>
                  </a:cubicBezTo>
                  <a:cubicBezTo>
                    <a:pt x="18663" y="10004"/>
                    <a:pt x="18390" y="10301"/>
                    <a:pt x="18219" y="10800"/>
                  </a:cubicBezTo>
                  <a:cubicBezTo>
                    <a:pt x="18185" y="10979"/>
                    <a:pt x="18122" y="11388"/>
                    <a:pt x="18032" y="12030"/>
                  </a:cubicBezTo>
                  <a:lnTo>
                    <a:pt x="18048" y="12618"/>
                  </a:lnTo>
                  <a:cubicBezTo>
                    <a:pt x="18026" y="12856"/>
                    <a:pt x="17900" y="12992"/>
                    <a:pt x="17673" y="13028"/>
                  </a:cubicBezTo>
                  <a:cubicBezTo>
                    <a:pt x="17411" y="13040"/>
                    <a:pt x="17252" y="13153"/>
                    <a:pt x="17195" y="13366"/>
                  </a:cubicBezTo>
                  <a:cubicBezTo>
                    <a:pt x="17093" y="13676"/>
                    <a:pt x="16944" y="13842"/>
                    <a:pt x="16751" y="13866"/>
                  </a:cubicBezTo>
                  <a:cubicBezTo>
                    <a:pt x="16603" y="13877"/>
                    <a:pt x="16523" y="14032"/>
                    <a:pt x="16512" y="14329"/>
                  </a:cubicBezTo>
                  <a:cubicBezTo>
                    <a:pt x="16523" y="14495"/>
                    <a:pt x="16558" y="14733"/>
                    <a:pt x="16614" y="15042"/>
                  </a:cubicBezTo>
                  <a:cubicBezTo>
                    <a:pt x="16603" y="15137"/>
                    <a:pt x="16512" y="15208"/>
                    <a:pt x="16341" y="15256"/>
                  </a:cubicBezTo>
                  <a:cubicBezTo>
                    <a:pt x="16181" y="15315"/>
                    <a:pt x="16102" y="15487"/>
                    <a:pt x="16102" y="15772"/>
                  </a:cubicBezTo>
                  <a:lnTo>
                    <a:pt x="16136" y="16236"/>
                  </a:lnTo>
                  <a:cubicBezTo>
                    <a:pt x="16136" y="16307"/>
                    <a:pt x="16057" y="16420"/>
                    <a:pt x="15897" y="16574"/>
                  </a:cubicBezTo>
                  <a:cubicBezTo>
                    <a:pt x="15761" y="16729"/>
                    <a:pt x="15698" y="16865"/>
                    <a:pt x="15709" y="16984"/>
                  </a:cubicBezTo>
                  <a:cubicBezTo>
                    <a:pt x="15721" y="17091"/>
                    <a:pt x="15641" y="17216"/>
                    <a:pt x="15470" y="17358"/>
                  </a:cubicBezTo>
                  <a:cubicBezTo>
                    <a:pt x="15334" y="17489"/>
                    <a:pt x="15265" y="17625"/>
                    <a:pt x="15265" y="17768"/>
                  </a:cubicBezTo>
                  <a:cubicBezTo>
                    <a:pt x="15265" y="17947"/>
                    <a:pt x="15328" y="18196"/>
                    <a:pt x="15453" y="18517"/>
                  </a:cubicBezTo>
                  <a:cubicBezTo>
                    <a:pt x="15578" y="18861"/>
                    <a:pt x="15646" y="19057"/>
                    <a:pt x="15658" y="19105"/>
                  </a:cubicBezTo>
                  <a:cubicBezTo>
                    <a:pt x="15715" y="19473"/>
                    <a:pt x="15806" y="19693"/>
                    <a:pt x="15931" y="19764"/>
                  </a:cubicBezTo>
                  <a:cubicBezTo>
                    <a:pt x="16033" y="19836"/>
                    <a:pt x="16079" y="19996"/>
                    <a:pt x="16068" y="20246"/>
                  </a:cubicBezTo>
                  <a:cubicBezTo>
                    <a:pt x="16068" y="20448"/>
                    <a:pt x="16039" y="20560"/>
                    <a:pt x="15983" y="20584"/>
                  </a:cubicBezTo>
                  <a:cubicBezTo>
                    <a:pt x="15891" y="20632"/>
                    <a:pt x="15806" y="20739"/>
                    <a:pt x="15727" y="20905"/>
                  </a:cubicBezTo>
                  <a:cubicBezTo>
                    <a:pt x="15715" y="20976"/>
                    <a:pt x="15692" y="21035"/>
                    <a:pt x="15658" y="21083"/>
                  </a:cubicBezTo>
                  <a:cubicBezTo>
                    <a:pt x="15624" y="21143"/>
                    <a:pt x="15606" y="21196"/>
                    <a:pt x="15606" y="21244"/>
                  </a:cubicBezTo>
                  <a:lnTo>
                    <a:pt x="2459" y="21600"/>
                  </a:lnTo>
                  <a:lnTo>
                    <a:pt x="2476" y="18321"/>
                  </a:lnTo>
                  <a:cubicBezTo>
                    <a:pt x="2339" y="18261"/>
                    <a:pt x="2249" y="18226"/>
                    <a:pt x="2203" y="18214"/>
                  </a:cubicBezTo>
                  <a:cubicBezTo>
                    <a:pt x="2169" y="18202"/>
                    <a:pt x="2067" y="18184"/>
                    <a:pt x="1896" y="18160"/>
                  </a:cubicBezTo>
                  <a:cubicBezTo>
                    <a:pt x="1565" y="18160"/>
                    <a:pt x="1292" y="18214"/>
                    <a:pt x="1076" y="18321"/>
                  </a:cubicBezTo>
                  <a:cubicBezTo>
                    <a:pt x="882" y="18214"/>
                    <a:pt x="694" y="18113"/>
                    <a:pt x="512" y="18018"/>
                  </a:cubicBezTo>
                  <a:cubicBezTo>
                    <a:pt x="512" y="17436"/>
                    <a:pt x="507" y="16734"/>
                    <a:pt x="495" y="15915"/>
                  </a:cubicBezTo>
                  <a:cubicBezTo>
                    <a:pt x="472" y="15154"/>
                    <a:pt x="461" y="14751"/>
                    <a:pt x="461" y="14703"/>
                  </a:cubicBezTo>
                  <a:cubicBezTo>
                    <a:pt x="461" y="14347"/>
                    <a:pt x="495" y="13788"/>
                    <a:pt x="564" y="13028"/>
                  </a:cubicBezTo>
                  <a:cubicBezTo>
                    <a:pt x="632" y="12267"/>
                    <a:pt x="672" y="11715"/>
                    <a:pt x="683" y="11370"/>
                  </a:cubicBezTo>
                  <a:cubicBezTo>
                    <a:pt x="672" y="9149"/>
                    <a:pt x="672" y="7556"/>
                    <a:pt x="683" y="6594"/>
                  </a:cubicBezTo>
                  <a:cubicBezTo>
                    <a:pt x="694" y="6119"/>
                    <a:pt x="598" y="5459"/>
                    <a:pt x="393" y="4616"/>
                  </a:cubicBezTo>
                  <a:cubicBezTo>
                    <a:pt x="177" y="3761"/>
                    <a:pt x="85" y="3107"/>
                    <a:pt x="119" y="2655"/>
                  </a:cubicBezTo>
                  <a:lnTo>
                    <a:pt x="0" y="588"/>
                  </a:lnTo>
                  <a:lnTo>
                    <a:pt x="7889" y="464"/>
                  </a:lnTo>
                  <a:cubicBezTo>
                    <a:pt x="13501" y="356"/>
                    <a:pt x="17201" y="214"/>
                    <a:pt x="18987" y="36"/>
                  </a:cubicBezTo>
                  <a:cubicBezTo>
                    <a:pt x="19067" y="12"/>
                    <a:pt x="19141" y="0"/>
                    <a:pt x="19210" y="0"/>
                  </a:cubicBezTo>
                  <a:cubicBezTo>
                    <a:pt x="19369" y="0"/>
                    <a:pt x="19534" y="160"/>
                    <a:pt x="19704" y="481"/>
                  </a:cubicBezTo>
                  <a:cubicBezTo>
                    <a:pt x="19864" y="766"/>
                    <a:pt x="19933" y="1028"/>
                    <a:pt x="19910" y="1266"/>
                  </a:cubicBezTo>
                  <a:cubicBezTo>
                    <a:pt x="19910" y="1456"/>
                    <a:pt x="19710" y="1693"/>
                    <a:pt x="19312" y="1979"/>
                  </a:cubicBezTo>
                  <a:cubicBezTo>
                    <a:pt x="18948" y="2240"/>
                    <a:pt x="18760" y="2525"/>
                    <a:pt x="18749" y="2834"/>
                  </a:cubicBezTo>
                  <a:cubicBezTo>
                    <a:pt x="18749" y="2929"/>
                    <a:pt x="18828" y="3012"/>
                    <a:pt x="18987" y="3083"/>
                  </a:cubicBezTo>
                  <a:cubicBezTo>
                    <a:pt x="19079" y="3107"/>
                    <a:pt x="19181" y="3119"/>
                    <a:pt x="19295" y="3119"/>
                  </a:cubicBezTo>
                  <a:cubicBezTo>
                    <a:pt x="19477" y="3119"/>
                    <a:pt x="19864" y="3095"/>
                    <a:pt x="20456" y="3048"/>
                  </a:cubicBezTo>
                  <a:cubicBezTo>
                    <a:pt x="21014" y="2988"/>
                    <a:pt x="21350" y="2959"/>
                    <a:pt x="21463" y="2959"/>
                  </a:cubicBezTo>
                  <a:close/>
                  <a:moveTo>
                    <a:pt x="21463" y="295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4" name="AutoShape 91"/>
            <p:cNvSpPr>
              <a:spLocks/>
            </p:cNvSpPr>
            <p:nvPr/>
          </p:nvSpPr>
          <p:spPr bwMode="auto">
            <a:xfrm>
              <a:off x="7429867" y="2950240"/>
              <a:ext cx="988336" cy="1149655"/>
            </a:xfrm>
            <a:custGeom>
              <a:avLst/>
              <a:gdLst/>
              <a:ahLst/>
              <a:cxnLst/>
              <a:rect l="0" t="0" r="r" b="b"/>
              <a:pathLst>
                <a:path w="21600" h="21600">
                  <a:moveTo>
                    <a:pt x="21600" y="8822"/>
                  </a:moveTo>
                  <a:cubicBezTo>
                    <a:pt x="21523" y="8837"/>
                    <a:pt x="21472" y="8849"/>
                    <a:pt x="21448" y="8856"/>
                  </a:cubicBezTo>
                  <a:cubicBezTo>
                    <a:pt x="21377" y="8874"/>
                    <a:pt x="21294" y="8937"/>
                    <a:pt x="21199" y="9044"/>
                  </a:cubicBezTo>
                  <a:cubicBezTo>
                    <a:pt x="21169" y="9075"/>
                    <a:pt x="21066" y="9142"/>
                    <a:pt x="20891" y="9247"/>
                  </a:cubicBezTo>
                  <a:cubicBezTo>
                    <a:pt x="20742" y="9337"/>
                    <a:pt x="20653" y="9416"/>
                    <a:pt x="20623" y="9485"/>
                  </a:cubicBezTo>
                  <a:cubicBezTo>
                    <a:pt x="20570" y="9597"/>
                    <a:pt x="20515" y="9702"/>
                    <a:pt x="20458" y="9799"/>
                  </a:cubicBezTo>
                  <a:cubicBezTo>
                    <a:pt x="20440" y="9830"/>
                    <a:pt x="20422" y="9886"/>
                    <a:pt x="20405" y="9968"/>
                  </a:cubicBezTo>
                  <a:cubicBezTo>
                    <a:pt x="20393" y="10011"/>
                    <a:pt x="20379" y="10075"/>
                    <a:pt x="20364" y="10160"/>
                  </a:cubicBezTo>
                  <a:lnTo>
                    <a:pt x="20360" y="10244"/>
                  </a:lnTo>
                  <a:cubicBezTo>
                    <a:pt x="20360" y="10303"/>
                    <a:pt x="20354" y="10362"/>
                    <a:pt x="20342" y="10420"/>
                  </a:cubicBezTo>
                  <a:cubicBezTo>
                    <a:pt x="20324" y="10492"/>
                    <a:pt x="20312" y="10579"/>
                    <a:pt x="20306" y="10681"/>
                  </a:cubicBezTo>
                  <a:cubicBezTo>
                    <a:pt x="20292" y="10791"/>
                    <a:pt x="20269" y="10888"/>
                    <a:pt x="20239" y="10973"/>
                  </a:cubicBezTo>
                  <a:cubicBezTo>
                    <a:pt x="20180" y="11151"/>
                    <a:pt x="20100" y="11241"/>
                    <a:pt x="19999" y="11241"/>
                  </a:cubicBezTo>
                  <a:cubicBezTo>
                    <a:pt x="19951" y="11241"/>
                    <a:pt x="19927" y="11201"/>
                    <a:pt x="19927" y="11122"/>
                  </a:cubicBezTo>
                  <a:cubicBezTo>
                    <a:pt x="19924" y="11043"/>
                    <a:pt x="19900" y="11003"/>
                    <a:pt x="19856" y="11003"/>
                  </a:cubicBezTo>
                  <a:cubicBezTo>
                    <a:pt x="19817" y="11003"/>
                    <a:pt x="19787" y="11034"/>
                    <a:pt x="19767" y="11095"/>
                  </a:cubicBezTo>
                  <a:cubicBezTo>
                    <a:pt x="19755" y="11126"/>
                    <a:pt x="19746" y="11160"/>
                    <a:pt x="19740" y="11199"/>
                  </a:cubicBezTo>
                  <a:cubicBezTo>
                    <a:pt x="19710" y="11275"/>
                    <a:pt x="19642" y="11355"/>
                    <a:pt x="19535" y="11436"/>
                  </a:cubicBezTo>
                  <a:cubicBezTo>
                    <a:pt x="19419" y="11516"/>
                    <a:pt x="19285" y="11604"/>
                    <a:pt x="19133" y="11701"/>
                  </a:cubicBezTo>
                  <a:cubicBezTo>
                    <a:pt x="18904" y="11844"/>
                    <a:pt x="18772" y="11916"/>
                    <a:pt x="18736" y="11916"/>
                  </a:cubicBezTo>
                  <a:cubicBezTo>
                    <a:pt x="18718" y="11916"/>
                    <a:pt x="18700" y="11895"/>
                    <a:pt x="18683" y="11854"/>
                  </a:cubicBezTo>
                  <a:cubicBezTo>
                    <a:pt x="18662" y="11811"/>
                    <a:pt x="18628" y="11789"/>
                    <a:pt x="18580" y="11789"/>
                  </a:cubicBezTo>
                  <a:cubicBezTo>
                    <a:pt x="18535" y="11789"/>
                    <a:pt x="18381" y="11840"/>
                    <a:pt x="18116" y="11943"/>
                  </a:cubicBezTo>
                  <a:cubicBezTo>
                    <a:pt x="17869" y="12035"/>
                    <a:pt x="17709" y="12100"/>
                    <a:pt x="17634" y="12138"/>
                  </a:cubicBezTo>
                  <a:cubicBezTo>
                    <a:pt x="17524" y="12194"/>
                    <a:pt x="17370" y="12253"/>
                    <a:pt x="17170" y="12314"/>
                  </a:cubicBezTo>
                  <a:cubicBezTo>
                    <a:pt x="16962" y="12381"/>
                    <a:pt x="16821" y="12432"/>
                    <a:pt x="16747" y="12468"/>
                  </a:cubicBezTo>
                  <a:cubicBezTo>
                    <a:pt x="16396" y="12624"/>
                    <a:pt x="16040" y="12731"/>
                    <a:pt x="15680" y="12790"/>
                  </a:cubicBezTo>
                  <a:cubicBezTo>
                    <a:pt x="15466" y="12826"/>
                    <a:pt x="15272" y="12888"/>
                    <a:pt x="15096" y="12978"/>
                  </a:cubicBezTo>
                  <a:cubicBezTo>
                    <a:pt x="14965" y="13031"/>
                    <a:pt x="14870" y="13072"/>
                    <a:pt x="14810" y="13100"/>
                  </a:cubicBezTo>
                  <a:cubicBezTo>
                    <a:pt x="14703" y="13146"/>
                    <a:pt x="14650" y="13183"/>
                    <a:pt x="14650" y="13211"/>
                  </a:cubicBezTo>
                  <a:cubicBezTo>
                    <a:pt x="14650" y="13227"/>
                    <a:pt x="14654" y="13249"/>
                    <a:pt x="14663" y="13277"/>
                  </a:cubicBezTo>
                  <a:cubicBezTo>
                    <a:pt x="14663" y="13302"/>
                    <a:pt x="14642" y="13329"/>
                    <a:pt x="14601" y="13357"/>
                  </a:cubicBezTo>
                  <a:cubicBezTo>
                    <a:pt x="14589" y="13365"/>
                    <a:pt x="14552" y="13379"/>
                    <a:pt x="14489" y="13399"/>
                  </a:cubicBezTo>
                  <a:cubicBezTo>
                    <a:pt x="14445" y="13412"/>
                    <a:pt x="14421" y="13429"/>
                    <a:pt x="14418" y="13449"/>
                  </a:cubicBezTo>
                  <a:cubicBezTo>
                    <a:pt x="14406" y="13495"/>
                    <a:pt x="14385" y="13578"/>
                    <a:pt x="14355" y="13698"/>
                  </a:cubicBezTo>
                  <a:cubicBezTo>
                    <a:pt x="14338" y="13757"/>
                    <a:pt x="14321" y="13810"/>
                    <a:pt x="14306" y="13856"/>
                  </a:cubicBezTo>
                  <a:cubicBezTo>
                    <a:pt x="14303" y="13863"/>
                    <a:pt x="14302" y="13871"/>
                    <a:pt x="14302" y="13879"/>
                  </a:cubicBezTo>
                  <a:lnTo>
                    <a:pt x="14271" y="14158"/>
                  </a:lnTo>
                  <a:cubicBezTo>
                    <a:pt x="14271" y="14202"/>
                    <a:pt x="14278" y="14247"/>
                    <a:pt x="14293" y="14293"/>
                  </a:cubicBezTo>
                  <a:cubicBezTo>
                    <a:pt x="14305" y="14336"/>
                    <a:pt x="14311" y="14378"/>
                    <a:pt x="14311" y="14419"/>
                  </a:cubicBezTo>
                  <a:cubicBezTo>
                    <a:pt x="14311" y="14483"/>
                    <a:pt x="14226" y="14552"/>
                    <a:pt x="14057" y="14626"/>
                  </a:cubicBezTo>
                  <a:cubicBezTo>
                    <a:pt x="13848" y="14700"/>
                    <a:pt x="13707" y="14753"/>
                    <a:pt x="13633" y="14783"/>
                  </a:cubicBezTo>
                  <a:cubicBezTo>
                    <a:pt x="13558" y="14812"/>
                    <a:pt x="13481" y="14888"/>
                    <a:pt x="13401" y="15013"/>
                  </a:cubicBezTo>
                  <a:cubicBezTo>
                    <a:pt x="13329" y="15123"/>
                    <a:pt x="13276" y="15233"/>
                    <a:pt x="13240" y="15343"/>
                  </a:cubicBezTo>
                  <a:cubicBezTo>
                    <a:pt x="13225" y="15389"/>
                    <a:pt x="13182" y="15502"/>
                    <a:pt x="13111" y="15680"/>
                  </a:cubicBezTo>
                  <a:cubicBezTo>
                    <a:pt x="13042" y="15857"/>
                    <a:pt x="13002" y="15988"/>
                    <a:pt x="12990" y="16075"/>
                  </a:cubicBezTo>
                  <a:cubicBezTo>
                    <a:pt x="12981" y="16134"/>
                    <a:pt x="12952" y="16199"/>
                    <a:pt x="12901" y="16271"/>
                  </a:cubicBezTo>
                  <a:cubicBezTo>
                    <a:pt x="12848" y="16343"/>
                    <a:pt x="12813" y="16387"/>
                    <a:pt x="12799" y="16405"/>
                  </a:cubicBezTo>
                  <a:cubicBezTo>
                    <a:pt x="12751" y="16451"/>
                    <a:pt x="12712" y="16491"/>
                    <a:pt x="12683" y="16524"/>
                  </a:cubicBezTo>
                  <a:cubicBezTo>
                    <a:pt x="12620" y="16588"/>
                    <a:pt x="12589" y="16630"/>
                    <a:pt x="12589" y="16650"/>
                  </a:cubicBezTo>
                  <a:lnTo>
                    <a:pt x="12625" y="16712"/>
                  </a:lnTo>
                  <a:cubicBezTo>
                    <a:pt x="12648" y="16750"/>
                    <a:pt x="12660" y="16813"/>
                    <a:pt x="12660" y="16900"/>
                  </a:cubicBezTo>
                  <a:lnTo>
                    <a:pt x="12651" y="17091"/>
                  </a:lnTo>
                  <a:cubicBezTo>
                    <a:pt x="12628" y="17158"/>
                    <a:pt x="12601" y="17250"/>
                    <a:pt x="12571" y="17367"/>
                  </a:cubicBezTo>
                  <a:cubicBezTo>
                    <a:pt x="12541" y="17472"/>
                    <a:pt x="12495" y="17565"/>
                    <a:pt x="12433" y="17647"/>
                  </a:cubicBezTo>
                  <a:cubicBezTo>
                    <a:pt x="12427" y="17655"/>
                    <a:pt x="12286" y="17911"/>
                    <a:pt x="12009" y="18414"/>
                  </a:cubicBezTo>
                  <a:cubicBezTo>
                    <a:pt x="12009" y="18429"/>
                    <a:pt x="12016" y="18450"/>
                    <a:pt x="12031" y="18475"/>
                  </a:cubicBezTo>
                  <a:cubicBezTo>
                    <a:pt x="12180" y="18404"/>
                    <a:pt x="12338" y="18184"/>
                    <a:pt x="12504" y="17816"/>
                  </a:cubicBezTo>
                  <a:cubicBezTo>
                    <a:pt x="12537" y="17742"/>
                    <a:pt x="12599" y="17624"/>
                    <a:pt x="12692" y="17463"/>
                  </a:cubicBezTo>
                  <a:cubicBezTo>
                    <a:pt x="12778" y="17307"/>
                    <a:pt x="12834" y="17196"/>
                    <a:pt x="12861" y="17130"/>
                  </a:cubicBezTo>
                  <a:cubicBezTo>
                    <a:pt x="12909" y="16989"/>
                    <a:pt x="12944" y="16883"/>
                    <a:pt x="12968" y="16812"/>
                  </a:cubicBezTo>
                  <a:cubicBezTo>
                    <a:pt x="13013" y="16686"/>
                    <a:pt x="13057" y="16590"/>
                    <a:pt x="13102" y="16524"/>
                  </a:cubicBezTo>
                  <a:cubicBezTo>
                    <a:pt x="13153" y="16445"/>
                    <a:pt x="13193" y="16353"/>
                    <a:pt x="13222" y="16248"/>
                  </a:cubicBezTo>
                  <a:cubicBezTo>
                    <a:pt x="13264" y="16169"/>
                    <a:pt x="13362" y="16087"/>
                    <a:pt x="13517" y="16003"/>
                  </a:cubicBezTo>
                  <a:cubicBezTo>
                    <a:pt x="13579" y="15875"/>
                    <a:pt x="13639" y="15775"/>
                    <a:pt x="13695" y="15703"/>
                  </a:cubicBezTo>
                  <a:cubicBezTo>
                    <a:pt x="13799" y="15573"/>
                    <a:pt x="13932" y="15458"/>
                    <a:pt x="14092" y="15358"/>
                  </a:cubicBezTo>
                  <a:cubicBezTo>
                    <a:pt x="14185" y="15300"/>
                    <a:pt x="14303" y="15209"/>
                    <a:pt x="14449" y="15086"/>
                  </a:cubicBezTo>
                  <a:cubicBezTo>
                    <a:pt x="14604" y="14953"/>
                    <a:pt x="14701" y="14874"/>
                    <a:pt x="14739" y="14849"/>
                  </a:cubicBezTo>
                  <a:cubicBezTo>
                    <a:pt x="14876" y="14751"/>
                    <a:pt x="15097" y="14571"/>
                    <a:pt x="15404" y="14308"/>
                  </a:cubicBezTo>
                  <a:cubicBezTo>
                    <a:pt x="15698" y="14091"/>
                    <a:pt x="15973" y="13982"/>
                    <a:pt x="16229" y="13982"/>
                  </a:cubicBezTo>
                  <a:lnTo>
                    <a:pt x="16492" y="13990"/>
                  </a:lnTo>
                  <a:cubicBezTo>
                    <a:pt x="16543" y="13990"/>
                    <a:pt x="16617" y="13992"/>
                    <a:pt x="16715" y="13997"/>
                  </a:cubicBezTo>
                  <a:cubicBezTo>
                    <a:pt x="16778" y="13997"/>
                    <a:pt x="16876" y="14024"/>
                    <a:pt x="17010" y="14078"/>
                  </a:cubicBezTo>
                  <a:cubicBezTo>
                    <a:pt x="17155" y="14137"/>
                    <a:pt x="17228" y="14189"/>
                    <a:pt x="17228" y="14235"/>
                  </a:cubicBezTo>
                  <a:cubicBezTo>
                    <a:pt x="17228" y="14253"/>
                    <a:pt x="17213" y="14280"/>
                    <a:pt x="17184" y="14316"/>
                  </a:cubicBezTo>
                  <a:cubicBezTo>
                    <a:pt x="17184" y="14331"/>
                    <a:pt x="17218" y="14362"/>
                    <a:pt x="17286" y="14408"/>
                  </a:cubicBezTo>
                  <a:cubicBezTo>
                    <a:pt x="17352" y="14451"/>
                    <a:pt x="17384" y="14507"/>
                    <a:pt x="17384" y="14576"/>
                  </a:cubicBezTo>
                  <a:cubicBezTo>
                    <a:pt x="17384" y="14633"/>
                    <a:pt x="17309" y="14776"/>
                    <a:pt x="17157" y="15006"/>
                  </a:cubicBezTo>
                  <a:cubicBezTo>
                    <a:pt x="16993" y="15236"/>
                    <a:pt x="16903" y="15365"/>
                    <a:pt x="16885" y="15393"/>
                  </a:cubicBezTo>
                  <a:cubicBezTo>
                    <a:pt x="16840" y="15454"/>
                    <a:pt x="16745" y="15490"/>
                    <a:pt x="16599" y="15500"/>
                  </a:cubicBezTo>
                  <a:cubicBezTo>
                    <a:pt x="16403" y="15513"/>
                    <a:pt x="16299" y="15521"/>
                    <a:pt x="16287" y="15523"/>
                  </a:cubicBezTo>
                  <a:cubicBezTo>
                    <a:pt x="16186" y="15551"/>
                    <a:pt x="16088" y="15606"/>
                    <a:pt x="15993" y="15688"/>
                  </a:cubicBezTo>
                  <a:cubicBezTo>
                    <a:pt x="15918" y="15752"/>
                    <a:pt x="15865" y="15798"/>
                    <a:pt x="15832" y="15826"/>
                  </a:cubicBezTo>
                  <a:cubicBezTo>
                    <a:pt x="15823" y="15836"/>
                    <a:pt x="15813" y="15847"/>
                    <a:pt x="15801" y="15857"/>
                  </a:cubicBezTo>
                  <a:cubicBezTo>
                    <a:pt x="15685" y="15936"/>
                    <a:pt x="15532" y="16037"/>
                    <a:pt x="15341" y="16160"/>
                  </a:cubicBezTo>
                  <a:cubicBezTo>
                    <a:pt x="15071" y="16334"/>
                    <a:pt x="14919" y="16420"/>
                    <a:pt x="14886" y="16420"/>
                  </a:cubicBezTo>
                  <a:cubicBezTo>
                    <a:pt x="14839" y="16420"/>
                    <a:pt x="14793" y="16395"/>
                    <a:pt x="14748" y="16344"/>
                  </a:cubicBezTo>
                  <a:cubicBezTo>
                    <a:pt x="14701" y="16290"/>
                    <a:pt x="14657" y="16263"/>
                    <a:pt x="14619" y="16263"/>
                  </a:cubicBezTo>
                  <a:cubicBezTo>
                    <a:pt x="14595" y="16263"/>
                    <a:pt x="14553" y="16273"/>
                    <a:pt x="14494" y="16294"/>
                  </a:cubicBezTo>
                  <a:cubicBezTo>
                    <a:pt x="14405" y="16325"/>
                    <a:pt x="14339" y="16346"/>
                    <a:pt x="14297" y="16359"/>
                  </a:cubicBezTo>
                  <a:cubicBezTo>
                    <a:pt x="14271" y="16364"/>
                    <a:pt x="14243" y="16395"/>
                    <a:pt x="14213" y="16451"/>
                  </a:cubicBezTo>
                  <a:cubicBezTo>
                    <a:pt x="14183" y="16502"/>
                    <a:pt x="14152" y="16528"/>
                    <a:pt x="14119" y="16528"/>
                  </a:cubicBezTo>
                  <a:lnTo>
                    <a:pt x="14034" y="16528"/>
                  </a:lnTo>
                  <a:cubicBezTo>
                    <a:pt x="13987" y="16533"/>
                    <a:pt x="13963" y="16548"/>
                    <a:pt x="13963" y="16574"/>
                  </a:cubicBezTo>
                  <a:cubicBezTo>
                    <a:pt x="13963" y="16594"/>
                    <a:pt x="13988" y="16636"/>
                    <a:pt x="14039" y="16700"/>
                  </a:cubicBezTo>
                  <a:cubicBezTo>
                    <a:pt x="14086" y="16787"/>
                    <a:pt x="14110" y="16893"/>
                    <a:pt x="14110" y="17019"/>
                  </a:cubicBezTo>
                  <a:cubicBezTo>
                    <a:pt x="14110" y="17098"/>
                    <a:pt x="14073" y="17178"/>
                    <a:pt x="13999" y="17260"/>
                  </a:cubicBezTo>
                  <a:cubicBezTo>
                    <a:pt x="13877" y="17380"/>
                    <a:pt x="13758" y="17491"/>
                    <a:pt x="13642" y="17594"/>
                  </a:cubicBezTo>
                  <a:cubicBezTo>
                    <a:pt x="13630" y="17586"/>
                    <a:pt x="13618" y="17577"/>
                    <a:pt x="13606" y="17567"/>
                  </a:cubicBezTo>
                  <a:cubicBezTo>
                    <a:pt x="13514" y="17485"/>
                    <a:pt x="13440" y="17444"/>
                    <a:pt x="13383" y="17444"/>
                  </a:cubicBezTo>
                  <a:cubicBezTo>
                    <a:pt x="13273" y="17444"/>
                    <a:pt x="13181" y="17555"/>
                    <a:pt x="13106" y="17778"/>
                  </a:cubicBezTo>
                  <a:cubicBezTo>
                    <a:pt x="13044" y="17962"/>
                    <a:pt x="13013" y="18138"/>
                    <a:pt x="13013" y="18307"/>
                  </a:cubicBezTo>
                  <a:cubicBezTo>
                    <a:pt x="13013" y="18348"/>
                    <a:pt x="13020" y="18446"/>
                    <a:pt x="13035" y="18602"/>
                  </a:cubicBezTo>
                  <a:cubicBezTo>
                    <a:pt x="13050" y="18758"/>
                    <a:pt x="13057" y="18858"/>
                    <a:pt x="13057" y="18901"/>
                  </a:cubicBezTo>
                  <a:cubicBezTo>
                    <a:pt x="13057" y="18934"/>
                    <a:pt x="13048" y="18990"/>
                    <a:pt x="13031" y="19070"/>
                  </a:cubicBezTo>
                  <a:cubicBezTo>
                    <a:pt x="13031" y="19151"/>
                    <a:pt x="13050" y="19297"/>
                    <a:pt x="13089" y="19507"/>
                  </a:cubicBezTo>
                  <a:cubicBezTo>
                    <a:pt x="13124" y="19716"/>
                    <a:pt x="13142" y="19836"/>
                    <a:pt x="13142" y="19867"/>
                  </a:cubicBezTo>
                  <a:cubicBezTo>
                    <a:pt x="13142" y="19964"/>
                    <a:pt x="13121" y="20123"/>
                    <a:pt x="13080" y="20343"/>
                  </a:cubicBezTo>
                  <a:lnTo>
                    <a:pt x="13053" y="20454"/>
                  </a:lnTo>
                  <a:cubicBezTo>
                    <a:pt x="13011" y="20426"/>
                    <a:pt x="12973" y="20406"/>
                    <a:pt x="12937" y="20396"/>
                  </a:cubicBezTo>
                  <a:cubicBezTo>
                    <a:pt x="12898" y="20381"/>
                    <a:pt x="12864" y="20420"/>
                    <a:pt x="12834" y="20515"/>
                  </a:cubicBezTo>
                  <a:cubicBezTo>
                    <a:pt x="12825" y="20528"/>
                    <a:pt x="12816" y="20539"/>
                    <a:pt x="12808" y="20549"/>
                  </a:cubicBezTo>
                  <a:cubicBezTo>
                    <a:pt x="12799" y="20555"/>
                    <a:pt x="12785" y="20556"/>
                    <a:pt x="12767" y="20553"/>
                  </a:cubicBezTo>
                  <a:cubicBezTo>
                    <a:pt x="12717" y="20541"/>
                    <a:pt x="12665" y="20539"/>
                    <a:pt x="12611" y="20549"/>
                  </a:cubicBezTo>
                  <a:cubicBezTo>
                    <a:pt x="12552" y="20560"/>
                    <a:pt x="12521" y="20619"/>
                    <a:pt x="12518" y="20726"/>
                  </a:cubicBezTo>
                  <a:cubicBezTo>
                    <a:pt x="12512" y="20849"/>
                    <a:pt x="12504" y="20914"/>
                    <a:pt x="12495" y="20921"/>
                  </a:cubicBezTo>
                  <a:lnTo>
                    <a:pt x="12495" y="20925"/>
                  </a:lnTo>
                  <a:cubicBezTo>
                    <a:pt x="12465" y="20943"/>
                    <a:pt x="12220" y="21001"/>
                    <a:pt x="11759" y="21098"/>
                  </a:cubicBezTo>
                  <a:cubicBezTo>
                    <a:pt x="11381" y="21180"/>
                    <a:pt x="11077" y="21242"/>
                    <a:pt x="10845" y="21286"/>
                  </a:cubicBezTo>
                  <a:cubicBezTo>
                    <a:pt x="10839" y="21286"/>
                    <a:pt x="10791" y="21296"/>
                    <a:pt x="10702" y="21316"/>
                  </a:cubicBezTo>
                  <a:cubicBezTo>
                    <a:pt x="10586" y="21342"/>
                    <a:pt x="10396" y="21385"/>
                    <a:pt x="10131" y="21447"/>
                  </a:cubicBezTo>
                  <a:cubicBezTo>
                    <a:pt x="9765" y="21531"/>
                    <a:pt x="9512" y="21578"/>
                    <a:pt x="9373" y="21588"/>
                  </a:cubicBezTo>
                  <a:cubicBezTo>
                    <a:pt x="9343" y="21591"/>
                    <a:pt x="9315" y="21595"/>
                    <a:pt x="9288" y="21600"/>
                  </a:cubicBezTo>
                  <a:cubicBezTo>
                    <a:pt x="9285" y="21600"/>
                    <a:pt x="9282" y="21600"/>
                    <a:pt x="9279" y="21600"/>
                  </a:cubicBezTo>
                  <a:lnTo>
                    <a:pt x="9279" y="21592"/>
                  </a:lnTo>
                  <a:cubicBezTo>
                    <a:pt x="9279" y="21585"/>
                    <a:pt x="9285" y="21571"/>
                    <a:pt x="9297" y="21550"/>
                  </a:cubicBezTo>
                  <a:lnTo>
                    <a:pt x="9288" y="21542"/>
                  </a:lnTo>
                  <a:lnTo>
                    <a:pt x="9297" y="21542"/>
                  </a:lnTo>
                  <a:cubicBezTo>
                    <a:pt x="9297" y="21527"/>
                    <a:pt x="9307" y="21504"/>
                    <a:pt x="9328" y="21473"/>
                  </a:cubicBezTo>
                  <a:cubicBezTo>
                    <a:pt x="9349" y="21445"/>
                    <a:pt x="9359" y="21426"/>
                    <a:pt x="9359" y="21416"/>
                  </a:cubicBezTo>
                  <a:lnTo>
                    <a:pt x="9368" y="21389"/>
                  </a:lnTo>
                  <a:cubicBezTo>
                    <a:pt x="9368" y="21374"/>
                    <a:pt x="9361" y="21353"/>
                    <a:pt x="9346" y="21328"/>
                  </a:cubicBezTo>
                  <a:cubicBezTo>
                    <a:pt x="9331" y="21302"/>
                    <a:pt x="9323" y="21287"/>
                    <a:pt x="9323" y="21282"/>
                  </a:cubicBezTo>
                  <a:cubicBezTo>
                    <a:pt x="9199" y="21154"/>
                    <a:pt x="9136" y="21061"/>
                    <a:pt x="9136" y="21002"/>
                  </a:cubicBezTo>
                  <a:cubicBezTo>
                    <a:pt x="9074" y="20915"/>
                    <a:pt x="9011" y="20872"/>
                    <a:pt x="8949" y="20872"/>
                  </a:cubicBezTo>
                  <a:cubicBezTo>
                    <a:pt x="8883" y="20872"/>
                    <a:pt x="8711" y="20960"/>
                    <a:pt x="8431" y="21136"/>
                  </a:cubicBezTo>
                  <a:cubicBezTo>
                    <a:pt x="8149" y="21312"/>
                    <a:pt x="7966" y="21401"/>
                    <a:pt x="7883" y="21401"/>
                  </a:cubicBezTo>
                  <a:cubicBezTo>
                    <a:pt x="7844" y="21401"/>
                    <a:pt x="7801" y="21393"/>
                    <a:pt x="7753" y="21378"/>
                  </a:cubicBezTo>
                  <a:cubicBezTo>
                    <a:pt x="7709" y="21362"/>
                    <a:pt x="7661" y="21355"/>
                    <a:pt x="7611" y="21355"/>
                  </a:cubicBezTo>
                  <a:cubicBezTo>
                    <a:pt x="7575" y="21355"/>
                    <a:pt x="7536" y="21367"/>
                    <a:pt x="7494" y="21393"/>
                  </a:cubicBezTo>
                  <a:cubicBezTo>
                    <a:pt x="7453" y="21419"/>
                    <a:pt x="7417" y="21431"/>
                    <a:pt x="7388" y="21431"/>
                  </a:cubicBezTo>
                  <a:cubicBezTo>
                    <a:pt x="7144" y="21431"/>
                    <a:pt x="6974" y="21366"/>
                    <a:pt x="6879" y="21236"/>
                  </a:cubicBezTo>
                  <a:cubicBezTo>
                    <a:pt x="6787" y="21103"/>
                    <a:pt x="6706" y="21036"/>
                    <a:pt x="6638" y="21036"/>
                  </a:cubicBezTo>
                  <a:lnTo>
                    <a:pt x="6495" y="21052"/>
                  </a:lnTo>
                  <a:cubicBezTo>
                    <a:pt x="6424" y="21052"/>
                    <a:pt x="6376" y="21042"/>
                    <a:pt x="6353" y="21021"/>
                  </a:cubicBezTo>
                  <a:cubicBezTo>
                    <a:pt x="6308" y="20985"/>
                    <a:pt x="6274" y="20962"/>
                    <a:pt x="6250" y="20952"/>
                  </a:cubicBezTo>
                  <a:cubicBezTo>
                    <a:pt x="6190" y="20929"/>
                    <a:pt x="6073" y="20915"/>
                    <a:pt x="5897" y="20910"/>
                  </a:cubicBezTo>
                  <a:cubicBezTo>
                    <a:pt x="5820" y="20907"/>
                    <a:pt x="5698" y="20893"/>
                    <a:pt x="5532" y="20868"/>
                  </a:cubicBezTo>
                  <a:cubicBezTo>
                    <a:pt x="5374" y="20845"/>
                    <a:pt x="5248" y="20833"/>
                    <a:pt x="5152" y="20833"/>
                  </a:cubicBezTo>
                  <a:cubicBezTo>
                    <a:pt x="4965" y="20833"/>
                    <a:pt x="4852" y="20829"/>
                    <a:pt x="4813" y="20822"/>
                  </a:cubicBezTo>
                  <a:cubicBezTo>
                    <a:pt x="4715" y="20806"/>
                    <a:pt x="4642" y="20759"/>
                    <a:pt x="4595" y="20680"/>
                  </a:cubicBezTo>
                  <a:cubicBezTo>
                    <a:pt x="4553" y="20608"/>
                    <a:pt x="4491" y="20547"/>
                    <a:pt x="4407" y="20496"/>
                  </a:cubicBezTo>
                  <a:cubicBezTo>
                    <a:pt x="4309" y="20445"/>
                    <a:pt x="4237" y="20403"/>
                    <a:pt x="4189" y="20369"/>
                  </a:cubicBezTo>
                  <a:cubicBezTo>
                    <a:pt x="4162" y="20352"/>
                    <a:pt x="4107" y="20293"/>
                    <a:pt x="4024" y="20193"/>
                  </a:cubicBezTo>
                  <a:cubicBezTo>
                    <a:pt x="3929" y="20081"/>
                    <a:pt x="3863" y="20009"/>
                    <a:pt x="3828" y="19978"/>
                  </a:cubicBezTo>
                  <a:cubicBezTo>
                    <a:pt x="3795" y="19948"/>
                    <a:pt x="3782" y="19908"/>
                    <a:pt x="3787" y="19859"/>
                  </a:cubicBezTo>
                  <a:cubicBezTo>
                    <a:pt x="3793" y="19808"/>
                    <a:pt x="3789" y="19775"/>
                    <a:pt x="3774" y="19760"/>
                  </a:cubicBezTo>
                  <a:cubicBezTo>
                    <a:pt x="3744" y="19729"/>
                    <a:pt x="3713" y="19702"/>
                    <a:pt x="3680" y="19679"/>
                  </a:cubicBezTo>
                  <a:cubicBezTo>
                    <a:pt x="3633" y="19644"/>
                    <a:pt x="3599" y="19617"/>
                    <a:pt x="3578" y="19599"/>
                  </a:cubicBezTo>
                  <a:lnTo>
                    <a:pt x="2525" y="14603"/>
                  </a:lnTo>
                  <a:cubicBezTo>
                    <a:pt x="2525" y="14601"/>
                    <a:pt x="2525" y="14598"/>
                    <a:pt x="2525" y="14596"/>
                  </a:cubicBezTo>
                  <a:cubicBezTo>
                    <a:pt x="2525" y="14580"/>
                    <a:pt x="2519" y="14550"/>
                    <a:pt x="2507" y="14504"/>
                  </a:cubicBezTo>
                  <a:cubicBezTo>
                    <a:pt x="2495" y="14458"/>
                    <a:pt x="2489" y="14420"/>
                    <a:pt x="2489" y="14392"/>
                  </a:cubicBezTo>
                  <a:cubicBezTo>
                    <a:pt x="2486" y="14351"/>
                    <a:pt x="2486" y="14322"/>
                    <a:pt x="2489" y="14304"/>
                  </a:cubicBezTo>
                  <a:cubicBezTo>
                    <a:pt x="2495" y="14271"/>
                    <a:pt x="2516" y="14254"/>
                    <a:pt x="2552" y="14254"/>
                  </a:cubicBezTo>
                  <a:cubicBezTo>
                    <a:pt x="2564" y="14254"/>
                    <a:pt x="2610" y="14273"/>
                    <a:pt x="2690" y="14312"/>
                  </a:cubicBezTo>
                  <a:cubicBezTo>
                    <a:pt x="2788" y="14358"/>
                    <a:pt x="2861" y="14388"/>
                    <a:pt x="2909" y="14404"/>
                  </a:cubicBezTo>
                  <a:cubicBezTo>
                    <a:pt x="2950" y="14417"/>
                    <a:pt x="2983" y="14456"/>
                    <a:pt x="3007" y="14523"/>
                  </a:cubicBezTo>
                  <a:cubicBezTo>
                    <a:pt x="3022" y="14558"/>
                    <a:pt x="3035" y="14603"/>
                    <a:pt x="3047" y="14657"/>
                  </a:cubicBezTo>
                  <a:lnTo>
                    <a:pt x="3123" y="14657"/>
                  </a:lnTo>
                  <a:cubicBezTo>
                    <a:pt x="3206" y="14588"/>
                    <a:pt x="3248" y="14510"/>
                    <a:pt x="3248" y="14423"/>
                  </a:cubicBezTo>
                  <a:cubicBezTo>
                    <a:pt x="3248" y="14390"/>
                    <a:pt x="3176" y="14326"/>
                    <a:pt x="3033" y="14231"/>
                  </a:cubicBezTo>
                  <a:cubicBezTo>
                    <a:pt x="2891" y="14137"/>
                    <a:pt x="2819" y="14074"/>
                    <a:pt x="2819" y="14043"/>
                  </a:cubicBezTo>
                  <a:cubicBezTo>
                    <a:pt x="2819" y="14003"/>
                    <a:pt x="2854" y="13962"/>
                    <a:pt x="2922" y="13921"/>
                  </a:cubicBezTo>
                  <a:cubicBezTo>
                    <a:pt x="2955" y="13898"/>
                    <a:pt x="2990" y="13879"/>
                    <a:pt x="3029" y="13863"/>
                  </a:cubicBezTo>
                  <a:cubicBezTo>
                    <a:pt x="3109" y="13761"/>
                    <a:pt x="3152" y="13665"/>
                    <a:pt x="3158" y="13576"/>
                  </a:cubicBezTo>
                  <a:cubicBezTo>
                    <a:pt x="3161" y="13509"/>
                    <a:pt x="3228" y="13461"/>
                    <a:pt x="3359" y="13430"/>
                  </a:cubicBezTo>
                  <a:cubicBezTo>
                    <a:pt x="3493" y="13399"/>
                    <a:pt x="3569" y="13338"/>
                    <a:pt x="3587" y="13246"/>
                  </a:cubicBezTo>
                  <a:cubicBezTo>
                    <a:pt x="3575" y="13238"/>
                    <a:pt x="3561" y="13234"/>
                    <a:pt x="3546" y="13234"/>
                  </a:cubicBezTo>
                  <a:cubicBezTo>
                    <a:pt x="3517" y="13234"/>
                    <a:pt x="3469" y="13260"/>
                    <a:pt x="3404" y="13311"/>
                  </a:cubicBezTo>
                  <a:cubicBezTo>
                    <a:pt x="3341" y="13360"/>
                    <a:pt x="3289" y="13384"/>
                    <a:pt x="3248" y="13384"/>
                  </a:cubicBezTo>
                  <a:cubicBezTo>
                    <a:pt x="3185" y="13384"/>
                    <a:pt x="3141" y="13352"/>
                    <a:pt x="3114" y="13288"/>
                  </a:cubicBezTo>
                  <a:cubicBezTo>
                    <a:pt x="3081" y="13209"/>
                    <a:pt x="3041" y="13158"/>
                    <a:pt x="2993" y="13135"/>
                  </a:cubicBezTo>
                  <a:cubicBezTo>
                    <a:pt x="2815" y="13050"/>
                    <a:pt x="2726" y="12965"/>
                    <a:pt x="2726" y="12878"/>
                  </a:cubicBezTo>
                  <a:cubicBezTo>
                    <a:pt x="2726" y="12865"/>
                    <a:pt x="2735" y="12842"/>
                    <a:pt x="2752" y="12809"/>
                  </a:cubicBezTo>
                  <a:cubicBezTo>
                    <a:pt x="2767" y="12776"/>
                    <a:pt x="2775" y="12758"/>
                    <a:pt x="2775" y="12755"/>
                  </a:cubicBezTo>
                  <a:cubicBezTo>
                    <a:pt x="2775" y="12722"/>
                    <a:pt x="2760" y="12690"/>
                    <a:pt x="2730" y="12659"/>
                  </a:cubicBezTo>
                  <a:cubicBezTo>
                    <a:pt x="2677" y="12603"/>
                    <a:pt x="2636" y="12552"/>
                    <a:pt x="2610" y="12506"/>
                  </a:cubicBezTo>
                  <a:cubicBezTo>
                    <a:pt x="2595" y="12483"/>
                    <a:pt x="2587" y="12452"/>
                    <a:pt x="2587" y="12414"/>
                  </a:cubicBezTo>
                  <a:cubicBezTo>
                    <a:pt x="2581" y="12366"/>
                    <a:pt x="2577" y="12335"/>
                    <a:pt x="2574" y="12322"/>
                  </a:cubicBezTo>
                  <a:cubicBezTo>
                    <a:pt x="2562" y="12284"/>
                    <a:pt x="2534" y="12231"/>
                    <a:pt x="2489" y="12165"/>
                  </a:cubicBezTo>
                  <a:cubicBezTo>
                    <a:pt x="2462" y="12127"/>
                    <a:pt x="2415" y="12019"/>
                    <a:pt x="2347" y="11843"/>
                  </a:cubicBezTo>
                  <a:cubicBezTo>
                    <a:pt x="2278" y="11677"/>
                    <a:pt x="2214" y="11553"/>
                    <a:pt x="2155" y="11471"/>
                  </a:cubicBezTo>
                  <a:cubicBezTo>
                    <a:pt x="2104" y="11445"/>
                    <a:pt x="2051" y="11379"/>
                    <a:pt x="1994" y="11272"/>
                  </a:cubicBezTo>
                  <a:cubicBezTo>
                    <a:pt x="1932" y="11157"/>
                    <a:pt x="1877" y="11076"/>
                    <a:pt x="1829" y="11030"/>
                  </a:cubicBezTo>
                  <a:cubicBezTo>
                    <a:pt x="1817" y="11020"/>
                    <a:pt x="1789" y="10987"/>
                    <a:pt x="1744" y="10930"/>
                  </a:cubicBezTo>
                  <a:cubicBezTo>
                    <a:pt x="1720" y="10900"/>
                    <a:pt x="1679" y="10869"/>
                    <a:pt x="1619" y="10838"/>
                  </a:cubicBezTo>
                  <a:cubicBezTo>
                    <a:pt x="1557" y="10820"/>
                    <a:pt x="1508" y="10805"/>
                    <a:pt x="1472" y="10792"/>
                  </a:cubicBezTo>
                  <a:cubicBezTo>
                    <a:pt x="1401" y="10772"/>
                    <a:pt x="1365" y="10745"/>
                    <a:pt x="1365" y="10712"/>
                  </a:cubicBezTo>
                  <a:cubicBezTo>
                    <a:pt x="1853" y="10282"/>
                    <a:pt x="2126" y="10020"/>
                    <a:pt x="2186" y="9926"/>
                  </a:cubicBezTo>
                  <a:cubicBezTo>
                    <a:pt x="2230" y="9854"/>
                    <a:pt x="2382" y="9719"/>
                    <a:pt x="2641" y="9519"/>
                  </a:cubicBezTo>
                  <a:cubicBezTo>
                    <a:pt x="2882" y="9335"/>
                    <a:pt x="3002" y="9233"/>
                    <a:pt x="3002" y="9213"/>
                  </a:cubicBezTo>
                  <a:cubicBezTo>
                    <a:pt x="3002" y="9195"/>
                    <a:pt x="2996" y="9181"/>
                    <a:pt x="2984" y="9171"/>
                  </a:cubicBezTo>
                  <a:lnTo>
                    <a:pt x="2895" y="9186"/>
                  </a:lnTo>
                  <a:cubicBezTo>
                    <a:pt x="2889" y="9186"/>
                    <a:pt x="2882" y="9181"/>
                    <a:pt x="2873" y="9171"/>
                  </a:cubicBezTo>
                  <a:lnTo>
                    <a:pt x="2864" y="9155"/>
                  </a:lnTo>
                  <a:cubicBezTo>
                    <a:pt x="3028" y="8859"/>
                    <a:pt x="3120" y="8667"/>
                    <a:pt x="3141" y="8580"/>
                  </a:cubicBezTo>
                  <a:cubicBezTo>
                    <a:pt x="3158" y="8452"/>
                    <a:pt x="3178" y="8366"/>
                    <a:pt x="3198" y="8319"/>
                  </a:cubicBezTo>
                  <a:cubicBezTo>
                    <a:pt x="3228" y="8243"/>
                    <a:pt x="3291" y="8204"/>
                    <a:pt x="3386" y="8204"/>
                  </a:cubicBezTo>
                  <a:lnTo>
                    <a:pt x="3618" y="8227"/>
                  </a:lnTo>
                  <a:cubicBezTo>
                    <a:pt x="3633" y="8210"/>
                    <a:pt x="3655" y="8187"/>
                    <a:pt x="3685" y="8158"/>
                  </a:cubicBezTo>
                  <a:cubicBezTo>
                    <a:pt x="3718" y="8125"/>
                    <a:pt x="3734" y="8101"/>
                    <a:pt x="3734" y="8086"/>
                  </a:cubicBezTo>
                  <a:cubicBezTo>
                    <a:pt x="3734" y="8060"/>
                    <a:pt x="3710" y="8029"/>
                    <a:pt x="3663" y="7994"/>
                  </a:cubicBezTo>
                  <a:cubicBezTo>
                    <a:pt x="3606" y="7955"/>
                    <a:pt x="3569" y="7928"/>
                    <a:pt x="3551" y="7913"/>
                  </a:cubicBezTo>
                  <a:cubicBezTo>
                    <a:pt x="3545" y="7908"/>
                    <a:pt x="3520" y="7871"/>
                    <a:pt x="3475" y="7802"/>
                  </a:cubicBezTo>
                  <a:cubicBezTo>
                    <a:pt x="3434" y="7741"/>
                    <a:pt x="3407" y="7710"/>
                    <a:pt x="3395" y="7710"/>
                  </a:cubicBezTo>
                  <a:cubicBezTo>
                    <a:pt x="3356" y="7710"/>
                    <a:pt x="3338" y="7778"/>
                    <a:pt x="3341" y="7913"/>
                  </a:cubicBezTo>
                  <a:cubicBezTo>
                    <a:pt x="3341" y="8049"/>
                    <a:pt x="3328" y="8116"/>
                    <a:pt x="3301" y="8116"/>
                  </a:cubicBezTo>
                  <a:cubicBezTo>
                    <a:pt x="3269" y="8116"/>
                    <a:pt x="3237" y="8081"/>
                    <a:pt x="3208" y="8009"/>
                  </a:cubicBezTo>
                  <a:cubicBezTo>
                    <a:pt x="3184" y="7950"/>
                    <a:pt x="3170" y="7900"/>
                    <a:pt x="3167" y="7859"/>
                  </a:cubicBezTo>
                  <a:cubicBezTo>
                    <a:pt x="3161" y="7816"/>
                    <a:pt x="3142" y="7766"/>
                    <a:pt x="3109" y="7710"/>
                  </a:cubicBezTo>
                  <a:cubicBezTo>
                    <a:pt x="3071" y="7636"/>
                    <a:pt x="3047" y="7589"/>
                    <a:pt x="3038" y="7568"/>
                  </a:cubicBezTo>
                  <a:cubicBezTo>
                    <a:pt x="2987" y="7420"/>
                    <a:pt x="2949" y="7312"/>
                    <a:pt x="2922" y="7246"/>
                  </a:cubicBezTo>
                  <a:cubicBezTo>
                    <a:pt x="2874" y="7134"/>
                    <a:pt x="2825" y="7052"/>
                    <a:pt x="2775" y="7001"/>
                  </a:cubicBezTo>
                  <a:cubicBezTo>
                    <a:pt x="2748" y="6975"/>
                    <a:pt x="2696" y="6886"/>
                    <a:pt x="2619" y="6732"/>
                  </a:cubicBezTo>
                  <a:cubicBezTo>
                    <a:pt x="2598" y="6691"/>
                    <a:pt x="2544" y="6633"/>
                    <a:pt x="2458" y="6556"/>
                  </a:cubicBezTo>
                  <a:cubicBezTo>
                    <a:pt x="2378" y="6482"/>
                    <a:pt x="2333" y="6433"/>
                    <a:pt x="2324" y="6410"/>
                  </a:cubicBezTo>
                  <a:cubicBezTo>
                    <a:pt x="2309" y="6369"/>
                    <a:pt x="2260" y="6274"/>
                    <a:pt x="2177" y="6123"/>
                  </a:cubicBezTo>
                  <a:cubicBezTo>
                    <a:pt x="2132" y="6041"/>
                    <a:pt x="2100" y="5974"/>
                    <a:pt x="2079" y="5923"/>
                  </a:cubicBezTo>
                  <a:cubicBezTo>
                    <a:pt x="2070" y="5905"/>
                    <a:pt x="2064" y="5890"/>
                    <a:pt x="2061" y="5877"/>
                  </a:cubicBezTo>
                  <a:cubicBezTo>
                    <a:pt x="2052" y="5867"/>
                    <a:pt x="2045" y="5859"/>
                    <a:pt x="2039" y="5854"/>
                  </a:cubicBezTo>
                  <a:cubicBezTo>
                    <a:pt x="2030" y="5844"/>
                    <a:pt x="2021" y="5836"/>
                    <a:pt x="2012" y="5831"/>
                  </a:cubicBezTo>
                  <a:cubicBezTo>
                    <a:pt x="1997" y="5821"/>
                    <a:pt x="1958" y="5806"/>
                    <a:pt x="1896" y="5785"/>
                  </a:cubicBezTo>
                  <a:cubicBezTo>
                    <a:pt x="1732" y="5750"/>
                    <a:pt x="1613" y="5719"/>
                    <a:pt x="1539" y="5693"/>
                  </a:cubicBezTo>
                  <a:cubicBezTo>
                    <a:pt x="1379" y="5635"/>
                    <a:pt x="1231" y="5572"/>
                    <a:pt x="1097" y="5505"/>
                  </a:cubicBezTo>
                  <a:cubicBezTo>
                    <a:pt x="934" y="5424"/>
                    <a:pt x="852" y="5365"/>
                    <a:pt x="852" y="5329"/>
                  </a:cubicBezTo>
                  <a:lnTo>
                    <a:pt x="843" y="5287"/>
                  </a:lnTo>
                  <a:cubicBezTo>
                    <a:pt x="843" y="5208"/>
                    <a:pt x="827" y="5151"/>
                    <a:pt x="794" y="5118"/>
                  </a:cubicBezTo>
                  <a:cubicBezTo>
                    <a:pt x="758" y="5088"/>
                    <a:pt x="741" y="5050"/>
                    <a:pt x="741" y="5007"/>
                  </a:cubicBezTo>
                  <a:cubicBezTo>
                    <a:pt x="741" y="4951"/>
                    <a:pt x="787" y="4896"/>
                    <a:pt x="879" y="4842"/>
                  </a:cubicBezTo>
                  <a:cubicBezTo>
                    <a:pt x="953" y="4796"/>
                    <a:pt x="1041" y="4759"/>
                    <a:pt x="1142" y="4731"/>
                  </a:cubicBezTo>
                  <a:cubicBezTo>
                    <a:pt x="1175" y="4721"/>
                    <a:pt x="1230" y="4682"/>
                    <a:pt x="1307" y="4616"/>
                  </a:cubicBezTo>
                  <a:cubicBezTo>
                    <a:pt x="1382" y="4550"/>
                    <a:pt x="1419" y="4509"/>
                    <a:pt x="1419" y="4493"/>
                  </a:cubicBezTo>
                  <a:cubicBezTo>
                    <a:pt x="1419" y="4468"/>
                    <a:pt x="1393" y="4435"/>
                    <a:pt x="1343" y="4394"/>
                  </a:cubicBezTo>
                  <a:cubicBezTo>
                    <a:pt x="1289" y="4353"/>
                    <a:pt x="1262" y="4317"/>
                    <a:pt x="1262" y="4286"/>
                  </a:cubicBezTo>
                  <a:cubicBezTo>
                    <a:pt x="1268" y="4274"/>
                    <a:pt x="1268" y="4265"/>
                    <a:pt x="1262" y="4259"/>
                  </a:cubicBezTo>
                  <a:cubicBezTo>
                    <a:pt x="1265" y="4208"/>
                    <a:pt x="1283" y="4170"/>
                    <a:pt x="1316" y="4144"/>
                  </a:cubicBezTo>
                  <a:cubicBezTo>
                    <a:pt x="1346" y="4121"/>
                    <a:pt x="1383" y="4110"/>
                    <a:pt x="1428" y="4110"/>
                  </a:cubicBezTo>
                  <a:cubicBezTo>
                    <a:pt x="1463" y="4110"/>
                    <a:pt x="1539" y="4112"/>
                    <a:pt x="1655" y="4118"/>
                  </a:cubicBezTo>
                  <a:cubicBezTo>
                    <a:pt x="1753" y="4107"/>
                    <a:pt x="1802" y="4068"/>
                    <a:pt x="1802" y="3999"/>
                  </a:cubicBezTo>
                  <a:cubicBezTo>
                    <a:pt x="1802" y="3983"/>
                    <a:pt x="1755" y="3971"/>
                    <a:pt x="1659" y="3960"/>
                  </a:cubicBezTo>
                  <a:cubicBezTo>
                    <a:pt x="1564" y="3953"/>
                    <a:pt x="1517" y="3940"/>
                    <a:pt x="1517" y="3922"/>
                  </a:cubicBezTo>
                  <a:lnTo>
                    <a:pt x="1508" y="3849"/>
                  </a:lnTo>
                  <a:cubicBezTo>
                    <a:pt x="1508" y="3826"/>
                    <a:pt x="1523" y="3792"/>
                    <a:pt x="1552" y="3746"/>
                  </a:cubicBezTo>
                  <a:cubicBezTo>
                    <a:pt x="1579" y="3700"/>
                    <a:pt x="1593" y="3666"/>
                    <a:pt x="1593" y="3646"/>
                  </a:cubicBezTo>
                  <a:cubicBezTo>
                    <a:pt x="1593" y="3595"/>
                    <a:pt x="1570" y="3569"/>
                    <a:pt x="1526" y="3569"/>
                  </a:cubicBezTo>
                  <a:cubicBezTo>
                    <a:pt x="1520" y="3569"/>
                    <a:pt x="1496" y="3595"/>
                    <a:pt x="1454" y="3646"/>
                  </a:cubicBezTo>
                  <a:cubicBezTo>
                    <a:pt x="1413" y="3695"/>
                    <a:pt x="1359" y="3719"/>
                    <a:pt x="1294" y="3719"/>
                  </a:cubicBezTo>
                  <a:cubicBezTo>
                    <a:pt x="1264" y="3719"/>
                    <a:pt x="1234" y="3710"/>
                    <a:pt x="1204" y="3692"/>
                  </a:cubicBezTo>
                  <a:cubicBezTo>
                    <a:pt x="1175" y="3674"/>
                    <a:pt x="1160" y="3655"/>
                    <a:pt x="1160" y="3635"/>
                  </a:cubicBezTo>
                  <a:cubicBezTo>
                    <a:pt x="1160" y="3601"/>
                    <a:pt x="1184" y="3560"/>
                    <a:pt x="1231" y="3512"/>
                  </a:cubicBezTo>
                  <a:cubicBezTo>
                    <a:pt x="1276" y="3466"/>
                    <a:pt x="1298" y="3433"/>
                    <a:pt x="1298" y="3412"/>
                  </a:cubicBezTo>
                  <a:cubicBezTo>
                    <a:pt x="1298" y="3366"/>
                    <a:pt x="1261" y="3316"/>
                    <a:pt x="1187" y="3263"/>
                  </a:cubicBezTo>
                  <a:cubicBezTo>
                    <a:pt x="1100" y="3211"/>
                    <a:pt x="1045" y="3176"/>
                    <a:pt x="1022" y="3155"/>
                  </a:cubicBezTo>
                  <a:cubicBezTo>
                    <a:pt x="1004" y="3142"/>
                    <a:pt x="995" y="3112"/>
                    <a:pt x="995" y="3063"/>
                  </a:cubicBezTo>
                  <a:cubicBezTo>
                    <a:pt x="998" y="3012"/>
                    <a:pt x="998" y="2985"/>
                    <a:pt x="995" y="2983"/>
                  </a:cubicBezTo>
                  <a:cubicBezTo>
                    <a:pt x="983" y="2960"/>
                    <a:pt x="961" y="2935"/>
                    <a:pt x="928" y="2910"/>
                  </a:cubicBezTo>
                  <a:cubicBezTo>
                    <a:pt x="907" y="2895"/>
                    <a:pt x="897" y="2866"/>
                    <a:pt x="897" y="2826"/>
                  </a:cubicBezTo>
                  <a:cubicBezTo>
                    <a:pt x="897" y="2782"/>
                    <a:pt x="927" y="2754"/>
                    <a:pt x="986" y="2741"/>
                  </a:cubicBezTo>
                  <a:cubicBezTo>
                    <a:pt x="1051" y="2728"/>
                    <a:pt x="1092" y="2698"/>
                    <a:pt x="1106" y="2649"/>
                  </a:cubicBezTo>
                  <a:lnTo>
                    <a:pt x="959" y="2649"/>
                  </a:lnTo>
                  <a:cubicBezTo>
                    <a:pt x="837" y="2703"/>
                    <a:pt x="766" y="2730"/>
                    <a:pt x="745" y="2730"/>
                  </a:cubicBezTo>
                  <a:cubicBezTo>
                    <a:pt x="694" y="2730"/>
                    <a:pt x="650" y="2714"/>
                    <a:pt x="611" y="2684"/>
                  </a:cubicBezTo>
                  <a:cubicBezTo>
                    <a:pt x="570" y="2653"/>
                    <a:pt x="549" y="2617"/>
                    <a:pt x="549" y="2576"/>
                  </a:cubicBezTo>
                  <a:cubicBezTo>
                    <a:pt x="549" y="2564"/>
                    <a:pt x="574" y="2511"/>
                    <a:pt x="625" y="2419"/>
                  </a:cubicBezTo>
                  <a:cubicBezTo>
                    <a:pt x="672" y="2330"/>
                    <a:pt x="696" y="2262"/>
                    <a:pt x="696" y="2216"/>
                  </a:cubicBezTo>
                  <a:lnTo>
                    <a:pt x="674" y="2116"/>
                  </a:lnTo>
                  <a:cubicBezTo>
                    <a:pt x="674" y="2078"/>
                    <a:pt x="687" y="2023"/>
                    <a:pt x="714" y="1951"/>
                  </a:cubicBezTo>
                  <a:cubicBezTo>
                    <a:pt x="738" y="1877"/>
                    <a:pt x="749" y="1815"/>
                    <a:pt x="749" y="1764"/>
                  </a:cubicBezTo>
                  <a:cubicBezTo>
                    <a:pt x="779" y="1628"/>
                    <a:pt x="794" y="1551"/>
                    <a:pt x="794" y="1534"/>
                  </a:cubicBezTo>
                  <a:cubicBezTo>
                    <a:pt x="770" y="1482"/>
                    <a:pt x="758" y="1448"/>
                    <a:pt x="758" y="1430"/>
                  </a:cubicBezTo>
                  <a:lnTo>
                    <a:pt x="665" y="1503"/>
                  </a:lnTo>
                  <a:cubicBezTo>
                    <a:pt x="623" y="1534"/>
                    <a:pt x="586" y="1549"/>
                    <a:pt x="553" y="1549"/>
                  </a:cubicBezTo>
                  <a:cubicBezTo>
                    <a:pt x="515" y="1549"/>
                    <a:pt x="421" y="1504"/>
                    <a:pt x="272" y="1415"/>
                  </a:cubicBezTo>
                  <a:cubicBezTo>
                    <a:pt x="91" y="1305"/>
                    <a:pt x="0" y="1197"/>
                    <a:pt x="0" y="1093"/>
                  </a:cubicBezTo>
                  <a:cubicBezTo>
                    <a:pt x="0" y="1077"/>
                    <a:pt x="37" y="1012"/>
                    <a:pt x="112" y="897"/>
                  </a:cubicBezTo>
                  <a:cubicBezTo>
                    <a:pt x="192" y="772"/>
                    <a:pt x="234" y="707"/>
                    <a:pt x="236" y="702"/>
                  </a:cubicBezTo>
                  <a:cubicBezTo>
                    <a:pt x="284" y="594"/>
                    <a:pt x="318" y="528"/>
                    <a:pt x="339" y="502"/>
                  </a:cubicBezTo>
                  <a:cubicBezTo>
                    <a:pt x="369" y="466"/>
                    <a:pt x="415" y="449"/>
                    <a:pt x="477" y="449"/>
                  </a:cubicBezTo>
                  <a:cubicBezTo>
                    <a:pt x="534" y="449"/>
                    <a:pt x="596" y="452"/>
                    <a:pt x="665" y="460"/>
                  </a:cubicBezTo>
                  <a:lnTo>
                    <a:pt x="665" y="464"/>
                  </a:lnTo>
                  <a:cubicBezTo>
                    <a:pt x="665" y="492"/>
                    <a:pt x="821" y="472"/>
                    <a:pt x="1133" y="403"/>
                  </a:cubicBezTo>
                  <a:cubicBezTo>
                    <a:pt x="1163" y="403"/>
                    <a:pt x="1204" y="418"/>
                    <a:pt x="1258" y="449"/>
                  </a:cubicBezTo>
                  <a:cubicBezTo>
                    <a:pt x="1309" y="479"/>
                    <a:pt x="1358" y="495"/>
                    <a:pt x="1405" y="495"/>
                  </a:cubicBezTo>
                  <a:cubicBezTo>
                    <a:pt x="1447" y="495"/>
                    <a:pt x="1480" y="491"/>
                    <a:pt x="1503" y="483"/>
                  </a:cubicBezTo>
                  <a:lnTo>
                    <a:pt x="1508" y="479"/>
                  </a:lnTo>
                  <a:cubicBezTo>
                    <a:pt x="1538" y="464"/>
                    <a:pt x="1566" y="456"/>
                    <a:pt x="1593" y="456"/>
                  </a:cubicBezTo>
                  <a:cubicBezTo>
                    <a:pt x="1637" y="456"/>
                    <a:pt x="1683" y="479"/>
                    <a:pt x="1731" y="525"/>
                  </a:cubicBezTo>
                  <a:cubicBezTo>
                    <a:pt x="1778" y="569"/>
                    <a:pt x="1805" y="590"/>
                    <a:pt x="1811" y="590"/>
                  </a:cubicBezTo>
                  <a:cubicBezTo>
                    <a:pt x="1838" y="590"/>
                    <a:pt x="1874" y="560"/>
                    <a:pt x="1918" y="498"/>
                  </a:cubicBezTo>
                  <a:cubicBezTo>
                    <a:pt x="1966" y="434"/>
                    <a:pt x="2018" y="403"/>
                    <a:pt x="2074" y="403"/>
                  </a:cubicBezTo>
                  <a:cubicBezTo>
                    <a:pt x="2101" y="403"/>
                    <a:pt x="2123" y="414"/>
                    <a:pt x="2141" y="437"/>
                  </a:cubicBezTo>
                  <a:cubicBezTo>
                    <a:pt x="2162" y="465"/>
                    <a:pt x="2171" y="504"/>
                    <a:pt x="2168" y="552"/>
                  </a:cubicBezTo>
                  <a:lnTo>
                    <a:pt x="2177" y="560"/>
                  </a:lnTo>
                  <a:cubicBezTo>
                    <a:pt x="2272" y="527"/>
                    <a:pt x="2338" y="480"/>
                    <a:pt x="2373" y="422"/>
                  </a:cubicBezTo>
                  <a:cubicBezTo>
                    <a:pt x="2418" y="355"/>
                    <a:pt x="2474" y="304"/>
                    <a:pt x="2543" y="268"/>
                  </a:cubicBezTo>
                  <a:cubicBezTo>
                    <a:pt x="2587" y="245"/>
                    <a:pt x="2650" y="188"/>
                    <a:pt x="2730" y="96"/>
                  </a:cubicBezTo>
                  <a:cubicBezTo>
                    <a:pt x="2784" y="32"/>
                    <a:pt x="2861" y="0"/>
                    <a:pt x="2962" y="0"/>
                  </a:cubicBezTo>
                  <a:cubicBezTo>
                    <a:pt x="2992" y="0"/>
                    <a:pt x="3042" y="8"/>
                    <a:pt x="3114" y="23"/>
                  </a:cubicBezTo>
                  <a:cubicBezTo>
                    <a:pt x="3185" y="38"/>
                    <a:pt x="3227" y="50"/>
                    <a:pt x="3239" y="57"/>
                  </a:cubicBezTo>
                  <a:cubicBezTo>
                    <a:pt x="3304" y="86"/>
                    <a:pt x="3384" y="128"/>
                    <a:pt x="3480" y="184"/>
                  </a:cubicBezTo>
                  <a:cubicBezTo>
                    <a:pt x="3500" y="192"/>
                    <a:pt x="3588" y="197"/>
                    <a:pt x="3743" y="199"/>
                  </a:cubicBezTo>
                  <a:cubicBezTo>
                    <a:pt x="3853" y="199"/>
                    <a:pt x="3908" y="235"/>
                    <a:pt x="3908" y="307"/>
                  </a:cubicBezTo>
                  <a:cubicBezTo>
                    <a:pt x="3908" y="337"/>
                    <a:pt x="3899" y="374"/>
                    <a:pt x="3881" y="418"/>
                  </a:cubicBezTo>
                  <a:cubicBezTo>
                    <a:pt x="3863" y="464"/>
                    <a:pt x="3854" y="516"/>
                    <a:pt x="3854" y="575"/>
                  </a:cubicBezTo>
                  <a:cubicBezTo>
                    <a:pt x="3854" y="580"/>
                    <a:pt x="3863" y="590"/>
                    <a:pt x="3881" y="606"/>
                  </a:cubicBezTo>
                  <a:cubicBezTo>
                    <a:pt x="3902" y="624"/>
                    <a:pt x="3918" y="633"/>
                    <a:pt x="3930" y="633"/>
                  </a:cubicBezTo>
                  <a:cubicBezTo>
                    <a:pt x="3984" y="633"/>
                    <a:pt x="4022" y="592"/>
                    <a:pt x="4046" y="510"/>
                  </a:cubicBezTo>
                  <a:cubicBezTo>
                    <a:pt x="4028" y="472"/>
                    <a:pt x="4019" y="446"/>
                    <a:pt x="4019" y="433"/>
                  </a:cubicBezTo>
                  <a:cubicBezTo>
                    <a:pt x="4019" y="408"/>
                    <a:pt x="4036" y="395"/>
                    <a:pt x="4068" y="395"/>
                  </a:cubicBezTo>
                  <a:cubicBezTo>
                    <a:pt x="4110" y="395"/>
                    <a:pt x="4141" y="410"/>
                    <a:pt x="4162" y="441"/>
                  </a:cubicBezTo>
                  <a:cubicBezTo>
                    <a:pt x="4189" y="484"/>
                    <a:pt x="4214" y="514"/>
                    <a:pt x="4238" y="529"/>
                  </a:cubicBezTo>
                  <a:cubicBezTo>
                    <a:pt x="4265" y="547"/>
                    <a:pt x="4302" y="567"/>
                    <a:pt x="4349" y="590"/>
                  </a:cubicBezTo>
                  <a:cubicBezTo>
                    <a:pt x="4385" y="613"/>
                    <a:pt x="4403" y="640"/>
                    <a:pt x="4403" y="671"/>
                  </a:cubicBezTo>
                  <a:cubicBezTo>
                    <a:pt x="4403" y="684"/>
                    <a:pt x="4396" y="698"/>
                    <a:pt x="4381" y="713"/>
                  </a:cubicBezTo>
                  <a:cubicBezTo>
                    <a:pt x="4366" y="728"/>
                    <a:pt x="4358" y="739"/>
                    <a:pt x="4358" y="744"/>
                  </a:cubicBezTo>
                  <a:cubicBezTo>
                    <a:pt x="4358" y="767"/>
                    <a:pt x="4364" y="782"/>
                    <a:pt x="4376" y="790"/>
                  </a:cubicBezTo>
                  <a:cubicBezTo>
                    <a:pt x="4385" y="795"/>
                    <a:pt x="4402" y="797"/>
                    <a:pt x="4425" y="797"/>
                  </a:cubicBezTo>
                  <a:cubicBezTo>
                    <a:pt x="4535" y="797"/>
                    <a:pt x="4580" y="750"/>
                    <a:pt x="4559" y="656"/>
                  </a:cubicBezTo>
                  <a:cubicBezTo>
                    <a:pt x="4565" y="656"/>
                    <a:pt x="4575" y="653"/>
                    <a:pt x="4590" y="648"/>
                  </a:cubicBezTo>
                  <a:cubicBezTo>
                    <a:pt x="4721" y="648"/>
                    <a:pt x="4787" y="675"/>
                    <a:pt x="4787" y="728"/>
                  </a:cubicBezTo>
                  <a:cubicBezTo>
                    <a:pt x="4787" y="754"/>
                    <a:pt x="4772" y="782"/>
                    <a:pt x="4742" y="813"/>
                  </a:cubicBezTo>
                  <a:cubicBezTo>
                    <a:pt x="4712" y="843"/>
                    <a:pt x="4697" y="866"/>
                    <a:pt x="4697" y="882"/>
                  </a:cubicBezTo>
                  <a:cubicBezTo>
                    <a:pt x="4697" y="923"/>
                    <a:pt x="4705" y="962"/>
                    <a:pt x="4720" y="1001"/>
                  </a:cubicBezTo>
                  <a:cubicBezTo>
                    <a:pt x="4747" y="1059"/>
                    <a:pt x="4788" y="1094"/>
                    <a:pt x="4845" y="1104"/>
                  </a:cubicBezTo>
                  <a:cubicBezTo>
                    <a:pt x="4877" y="1109"/>
                    <a:pt x="4941" y="1145"/>
                    <a:pt x="5037" y="1211"/>
                  </a:cubicBezTo>
                  <a:cubicBezTo>
                    <a:pt x="5066" y="1211"/>
                    <a:pt x="5098" y="1187"/>
                    <a:pt x="5130" y="1139"/>
                  </a:cubicBezTo>
                  <a:cubicBezTo>
                    <a:pt x="5166" y="1088"/>
                    <a:pt x="5210" y="1062"/>
                    <a:pt x="5264" y="1062"/>
                  </a:cubicBezTo>
                  <a:cubicBezTo>
                    <a:pt x="5303" y="1062"/>
                    <a:pt x="5352" y="1091"/>
                    <a:pt x="5411" y="1150"/>
                  </a:cubicBezTo>
                  <a:cubicBezTo>
                    <a:pt x="5471" y="1209"/>
                    <a:pt x="5512" y="1238"/>
                    <a:pt x="5536" y="1238"/>
                  </a:cubicBezTo>
                  <a:cubicBezTo>
                    <a:pt x="5557" y="1238"/>
                    <a:pt x="5584" y="1224"/>
                    <a:pt x="5616" y="1196"/>
                  </a:cubicBezTo>
                  <a:cubicBezTo>
                    <a:pt x="5655" y="1163"/>
                    <a:pt x="5691" y="1143"/>
                    <a:pt x="5723" y="1135"/>
                  </a:cubicBezTo>
                  <a:cubicBezTo>
                    <a:pt x="5774" y="1122"/>
                    <a:pt x="5819" y="1100"/>
                    <a:pt x="5857" y="1070"/>
                  </a:cubicBezTo>
                  <a:cubicBezTo>
                    <a:pt x="5890" y="1044"/>
                    <a:pt x="5908" y="1031"/>
                    <a:pt x="5911" y="1031"/>
                  </a:cubicBezTo>
                  <a:cubicBezTo>
                    <a:pt x="5926" y="1031"/>
                    <a:pt x="5985" y="1094"/>
                    <a:pt x="6089" y="1219"/>
                  </a:cubicBezTo>
                  <a:cubicBezTo>
                    <a:pt x="6137" y="1217"/>
                    <a:pt x="6187" y="1177"/>
                    <a:pt x="6241" y="1100"/>
                  </a:cubicBezTo>
                  <a:cubicBezTo>
                    <a:pt x="6294" y="1026"/>
                    <a:pt x="6317" y="973"/>
                    <a:pt x="6308" y="939"/>
                  </a:cubicBezTo>
                  <a:cubicBezTo>
                    <a:pt x="6314" y="934"/>
                    <a:pt x="6327" y="932"/>
                    <a:pt x="6348" y="932"/>
                  </a:cubicBezTo>
                  <a:cubicBezTo>
                    <a:pt x="6375" y="932"/>
                    <a:pt x="6431" y="952"/>
                    <a:pt x="6518" y="993"/>
                  </a:cubicBezTo>
                  <a:cubicBezTo>
                    <a:pt x="6622" y="1042"/>
                    <a:pt x="6674" y="1090"/>
                    <a:pt x="6674" y="1139"/>
                  </a:cubicBezTo>
                  <a:cubicBezTo>
                    <a:pt x="6674" y="1195"/>
                    <a:pt x="6648" y="1250"/>
                    <a:pt x="6598" y="1304"/>
                  </a:cubicBezTo>
                  <a:cubicBezTo>
                    <a:pt x="6544" y="1357"/>
                    <a:pt x="6518" y="1407"/>
                    <a:pt x="6518" y="1453"/>
                  </a:cubicBezTo>
                  <a:cubicBezTo>
                    <a:pt x="6518" y="1491"/>
                    <a:pt x="6709" y="1702"/>
                    <a:pt x="7093" y="2086"/>
                  </a:cubicBezTo>
                  <a:cubicBezTo>
                    <a:pt x="7019" y="2111"/>
                    <a:pt x="6910" y="2158"/>
                    <a:pt x="6767" y="2227"/>
                  </a:cubicBezTo>
                  <a:cubicBezTo>
                    <a:pt x="6660" y="2281"/>
                    <a:pt x="6544" y="2321"/>
                    <a:pt x="6419" y="2346"/>
                  </a:cubicBezTo>
                  <a:cubicBezTo>
                    <a:pt x="6410" y="2349"/>
                    <a:pt x="6272" y="2355"/>
                    <a:pt x="6005" y="2365"/>
                  </a:cubicBezTo>
                  <a:cubicBezTo>
                    <a:pt x="5829" y="2373"/>
                    <a:pt x="5741" y="2404"/>
                    <a:pt x="5741" y="2458"/>
                  </a:cubicBezTo>
                  <a:cubicBezTo>
                    <a:pt x="5741" y="2488"/>
                    <a:pt x="5765" y="2504"/>
                    <a:pt x="5813" y="2504"/>
                  </a:cubicBezTo>
                  <a:cubicBezTo>
                    <a:pt x="5837" y="2504"/>
                    <a:pt x="5933" y="2481"/>
                    <a:pt x="6103" y="2434"/>
                  </a:cubicBezTo>
                  <a:cubicBezTo>
                    <a:pt x="6138" y="2434"/>
                    <a:pt x="6171" y="2438"/>
                    <a:pt x="6201" y="2446"/>
                  </a:cubicBezTo>
                  <a:cubicBezTo>
                    <a:pt x="6228" y="2454"/>
                    <a:pt x="6265" y="2458"/>
                    <a:pt x="6312" y="2458"/>
                  </a:cubicBezTo>
                  <a:cubicBezTo>
                    <a:pt x="6369" y="2458"/>
                    <a:pt x="6482" y="2440"/>
                    <a:pt x="6651" y="2404"/>
                  </a:cubicBezTo>
                  <a:cubicBezTo>
                    <a:pt x="6821" y="2365"/>
                    <a:pt x="6928" y="2346"/>
                    <a:pt x="6973" y="2346"/>
                  </a:cubicBezTo>
                  <a:cubicBezTo>
                    <a:pt x="7026" y="2346"/>
                    <a:pt x="7086" y="2383"/>
                    <a:pt x="7151" y="2458"/>
                  </a:cubicBezTo>
                  <a:cubicBezTo>
                    <a:pt x="7217" y="2532"/>
                    <a:pt x="7249" y="2598"/>
                    <a:pt x="7249" y="2657"/>
                  </a:cubicBezTo>
                  <a:cubicBezTo>
                    <a:pt x="7249" y="2672"/>
                    <a:pt x="7240" y="2725"/>
                    <a:pt x="7222" y="2814"/>
                  </a:cubicBezTo>
                  <a:cubicBezTo>
                    <a:pt x="7205" y="2904"/>
                    <a:pt x="7196" y="2958"/>
                    <a:pt x="7196" y="2979"/>
                  </a:cubicBezTo>
                  <a:cubicBezTo>
                    <a:pt x="7196" y="3007"/>
                    <a:pt x="7225" y="3021"/>
                    <a:pt x="7285" y="3021"/>
                  </a:cubicBezTo>
                  <a:cubicBezTo>
                    <a:pt x="7315" y="3021"/>
                    <a:pt x="7344" y="3003"/>
                    <a:pt x="7374" y="2967"/>
                  </a:cubicBezTo>
                  <a:cubicBezTo>
                    <a:pt x="7404" y="2932"/>
                    <a:pt x="7432" y="2914"/>
                    <a:pt x="7459" y="2914"/>
                  </a:cubicBezTo>
                  <a:cubicBezTo>
                    <a:pt x="7474" y="2914"/>
                    <a:pt x="7496" y="2921"/>
                    <a:pt x="7526" y="2937"/>
                  </a:cubicBezTo>
                  <a:cubicBezTo>
                    <a:pt x="7555" y="2955"/>
                    <a:pt x="7570" y="2970"/>
                    <a:pt x="7570" y="2983"/>
                  </a:cubicBezTo>
                  <a:cubicBezTo>
                    <a:pt x="7570" y="2998"/>
                    <a:pt x="7551" y="3029"/>
                    <a:pt x="7512" y="3075"/>
                  </a:cubicBezTo>
                  <a:cubicBezTo>
                    <a:pt x="7471" y="3121"/>
                    <a:pt x="7450" y="3154"/>
                    <a:pt x="7450" y="3174"/>
                  </a:cubicBezTo>
                  <a:cubicBezTo>
                    <a:pt x="7450" y="3195"/>
                    <a:pt x="7460" y="3208"/>
                    <a:pt x="7481" y="3213"/>
                  </a:cubicBezTo>
                  <a:cubicBezTo>
                    <a:pt x="7484" y="3213"/>
                    <a:pt x="7503" y="3213"/>
                    <a:pt x="7539" y="3213"/>
                  </a:cubicBezTo>
                  <a:lnTo>
                    <a:pt x="7646" y="3197"/>
                  </a:lnTo>
                  <a:cubicBezTo>
                    <a:pt x="7694" y="3197"/>
                    <a:pt x="7718" y="3214"/>
                    <a:pt x="7718" y="3247"/>
                  </a:cubicBezTo>
                  <a:cubicBezTo>
                    <a:pt x="7718" y="3278"/>
                    <a:pt x="7695" y="3312"/>
                    <a:pt x="7651" y="3351"/>
                  </a:cubicBezTo>
                  <a:cubicBezTo>
                    <a:pt x="7600" y="3387"/>
                    <a:pt x="7567" y="3412"/>
                    <a:pt x="7553" y="3427"/>
                  </a:cubicBezTo>
                  <a:cubicBezTo>
                    <a:pt x="7541" y="3440"/>
                    <a:pt x="7529" y="3479"/>
                    <a:pt x="7517" y="3543"/>
                  </a:cubicBezTo>
                  <a:cubicBezTo>
                    <a:pt x="7508" y="3596"/>
                    <a:pt x="7484" y="3623"/>
                    <a:pt x="7446" y="3623"/>
                  </a:cubicBezTo>
                  <a:cubicBezTo>
                    <a:pt x="7431" y="3623"/>
                    <a:pt x="7399" y="3605"/>
                    <a:pt x="7352" y="3569"/>
                  </a:cubicBezTo>
                  <a:cubicBezTo>
                    <a:pt x="7304" y="3534"/>
                    <a:pt x="7264" y="3516"/>
                    <a:pt x="7231" y="3516"/>
                  </a:cubicBezTo>
                  <a:cubicBezTo>
                    <a:pt x="7202" y="3516"/>
                    <a:pt x="7187" y="3531"/>
                    <a:pt x="7187" y="3562"/>
                  </a:cubicBezTo>
                  <a:cubicBezTo>
                    <a:pt x="7187" y="3577"/>
                    <a:pt x="7199" y="3603"/>
                    <a:pt x="7222" y="3638"/>
                  </a:cubicBezTo>
                  <a:cubicBezTo>
                    <a:pt x="7243" y="3672"/>
                    <a:pt x="7255" y="3698"/>
                    <a:pt x="7258" y="3719"/>
                  </a:cubicBezTo>
                  <a:cubicBezTo>
                    <a:pt x="7249" y="3742"/>
                    <a:pt x="7236" y="3758"/>
                    <a:pt x="7218" y="3769"/>
                  </a:cubicBezTo>
                  <a:cubicBezTo>
                    <a:pt x="7185" y="3787"/>
                    <a:pt x="7166" y="3798"/>
                    <a:pt x="7160" y="3803"/>
                  </a:cubicBezTo>
                  <a:cubicBezTo>
                    <a:pt x="7184" y="3836"/>
                    <a:pt x="7212" y="3853"/>
                    <a:pt x="7245" y="3853"/>
                  </a:cubicBezTo>
                  <a:cubicBezTo>
                    <a:pt x="7268" y="3853"/>
                    <a:pt x="7292" y="3847"/>
                    <a:pt x="7316" y="3834"/>
                  </a:cubicBezTo>
                  <a:cubicBezTo>
                    <a:pt x="7340" y="3819"/>
                    <a:pt x="7358" y="3811"/>
                    <a:pt x="7370" y="3811"/>
                  </a:cubicBezTo>
                  <a:cubicBezTo>
                    <a:pt x="7390" y="3811"/>
                    <a:pt x="7414" y="3826"/>
                    <a:pt x="7441" y="3857"/>
                  </a:cubicBezTo>
                  <a:cubicBezTo>
                    <a:pt x="7468" y="3885"/>
                    <a:pt x="7493" y="3899"/>
                    <a:pt x="7517" y="3899"/>
                  </a:cubicBezTo>
                  <a:cubicBezTo>
                    <a:pt x="7555" y="3899"/>
                    <a:pt x="7578" y="3881"/>
                    <a:pt x="7584" y="3845"/>
                  </a:cubicBezTo>
                  <a:cubicBezTo>
                    <a:pt x="7596" y="3789"/>
                    <a:pt x="7606" y="3755"/>
                    <a:pt x="7615" y="3742"/>
                  </a:cubicBezTo>
                  <a:cubicBezTo>
                    <a:pt x="7621" y="3732"/>
                    <a:pt x="7649" y="3702"/>
                    <a:pt x="7700" y="3654"/>
                  </a:cubicBezTo>
                  <a:cubicBezTo>
                    <a:pt x="7759" y="3595"/>
                    <a:pt x="7808" y="3553"/>
                    <a:pt x="7847" y="3527"/>
                  </a:cubicBezTo>
                  <a:cubicBezTo>
                    <a:pt x="7880" y="3507"/>
                    <a:pt x="7938" y="3463"/>
                    <a:pt x="8021" y="3397"/>
                  </a:cubicBezTo>
                  <a:cubicBezTo>
                    <a:pt x="8098" y="3343"/>
                    <a:pt x="8164" y="3316"/>
                    <a:pt x="8217" y="3316"/>
                  </a:cubicBezTo>
                  <a:cubicBezTo>
                    <a:pt x="8306" y="3316"/>
                    <a:pt x="8375" y="3356"/>
                    <a:pt x="8422" y="3435"/>
                  </a:cubicBezTo>
                  <a:cubicBezTo>
                    <a:pt x="8491" y="3548"/>
                    <a:pt x="8564" y="3626"/>
                    <a:pt x="8641" y="3669"/>
                  </a:cubicBezTo>
                  <a:cubicBezTo>
                    <a:pt x="8689" y="3697"/>
                    <a:pt x="8720" y="3723"/>
                    <a:pt x="8735" y="3746"/>
                  </a:cubicBezTo>
                  <a:cubicBezTo>
                    <a:pt x="8752" y="3771"/>
                    <a:pt x="8762" y="3807"/>
                    <a:pt x="8762" y="3853"/>
                  </a:cubicBezTo>
                  <a:cubicBezTo>
                    <a:pt x="8759" y="3899"/>
                    <a:pt x="8762" y="3972"/>
                    <a:pt x="8770" y="4072"/>
                  </a:cubicBezTo>
                  <a:cubicBezTo>
                    <a:pt x="8770" y="4120"/>
                    <a:pt x="8695" y="4239"/>
                    <a:pt x="8543" y="4428"/>
                  </a:cubicBezTo>
                  <a:cubicBezTo>
                    <a:pt x="8382" y="4625"/>
                    <a:pt x="8290" y="4740"/>
                    <a:pt x="8266" y="4773"/>
                  </a:cubicBezTo>
                  <a:lnTo>
                    <a:pt x="8266" y="4789"/>
                  </a:lnTo>
                  <a:cubicBezTo>
                    <a:pt x="8341" y="4755"/>
                    <a:pt x="8431" y="4682"/>
                    <a:pt x="8538" y="4570"/>
                  </a:cubicBezTo>
                  <a:cubicBezTo>
                    <a:pt x="8595" y="4511"/>
                    <a:pt x="8660" y="4442"/>
                    <a:pt x="8735" y="4363"/>
                  </a:cubicBezTo>
                  <a:cubicBezTo>
                    <a:pt x="8756" y="4342"/>
                    <a:pt x="8784" y="4282"/>
                    <a:pt x="8819" y="4183"/>
                  </a:cubicBezTo>
                  <a:cubicBezTo>
                    <a:pt x="8855" y="4078"/>
                    <a:pt x="8873" y="4000"/>
                    <a:pt x="8873" y="3949"/>
                  </a:cubicBezTo>
                  <a:cubicBezTo>
                    <a:pt x="8843" y="3811"/>
                    <a:pt x="8824" y="3712"/>
                    <a:pt x="8815" y="3654"/>
                  </a:cubicBezTo>
                  <a:lnTo>
                    <a:pt x="8815" y="3577"/>
                  </a:lnTo>
                  <a:cubicBezTo>
                    <a:pt x="8913" y="3582"/>
                    <a:pt x="8974" y="3631"/>
                    <a:pt x="8998" y="3723"/>
                  </a:cubicBezTo>
                  <a:cubicBezTo>
                    <a:pt x="9010" y="3769"/>
                    <a:pt x="9020" y="3815"/>
                    <a:pt x="9029" y="3861"/>
                  </a:cubicBezTo>
                  <a:cubicBezTo>
                    <a:pt x="9056" y="3861"/>
                    <a:pt x="9075" y="3851"/>
                    <a:pt x="9087" y="3830"/>
                  </a:cubicBezTo>
                  <a:cubicBezTo>
                    <a:pt x="9093" y="3804"/>
                    <a:pt x="9097" y="3788"/>
                    <a:pt x="9100" y="3780"/>
                  </a:cubicBezTo>
                  <a:lnTo>
                    <a:pt x="9114" y="3780"/>
                  </a:lnTo>
                  <a:cubicBezTo>
                    <a:pt x="9129" y="3780"/>
                    <a:pt x="9153" y="3825"/>
                    <a:pt x="9185" y="3914"/>
                  </a:cubicBezTo>
                  <a:cubicBezTo>
                    <a:pt x="9215" y="4004"/>
                    <a:pt x="9252" y="4049"/>
                    <a:pt x="9297" y="4049"/>
                  </a:cubicBezTo>
                  <a:cubicBezTo>
                    <a:pt x="9329" y="4049"/>
                    <a:pt x="9349" y="4031"/>
                    <a:pt x="9355" y="3995"/>
                  </a:cubicBezTo>
                  <a:cubicBezTo>
                    <a:pt x="9355" y="3992"/>
                    <a:pt x="9355" y="3968"/>
                    <a:pt x="9355" y="3922"/>
                  </a:cubicBezTo>
                  <a:cubicBezTo>
                    <a:pt x="9343" y="3863"/>
                    <a:pt x="9337" y="3829"/>
                    <a:pt x="9337" y="3819"/>
                  </a:cubicBezTo>
                  <a:cubicBezTo>
                    <a:pt x="9337" y="3760"/>
                    <a:pt x="9413" y="3658"/>
                    <a:pt x="9564" y="3512"/>
                  </a:cubicBezTo>
                  <a:cubicBezTo>
                    <a:pt x="9713" y="3369"/>
                    <a:pt x="9788" y="3289"/>
                    <a:pt x="9788" y="3274"/>
                  </a:cubicBezTo>
                  <a:cubicBezTo>
                    <a:pt x="9749" y="3159"/>
                    <a:pt x="9730" y="3096"/>
                    <a:pt x="9730" y="3086"/>
                  </a:cubicBezTo>
                  <a:cubicBezTo>
                    <a:pt x="9730" y="3050"/>
                    <a:pt x="9737" y="3015"/>
                    <a:pt x="9752" y="2979"/>
                  </a:cubicBezTo>
                  <a:cubicBezTo>
                    <a:pt x="9764" y="2941"/>
                    <a:pt x="9770" y="2905"/>
                    <a:pt x="9770" y="2872"/>
                  </a:cubicBezTo>
                  <a:lnTo>
                    <a:pt x="9841" y="2872"/>
                  </a:lnTo>
                  <a:cubicBezTo>
                    <a:pt x="9948" y="2900"/>
                    <a:pt x="10031" y="2934"/>
                    <a:pt x="10091" y="2975"/>
                  </a:cubicBezTo>
                  <a:cubicBezTo>
                    <a:pt x="10174" y="3031"/>
                    <a:pt x="10228" y="3109"/>
                    <a:pt x="10251" y="3209"/>
                  </a:cubicBezTo>
                  <a:lnTo>
                    <a:pt x="10260" y="3224"/>
                  </a:lnTo>
                  <a:cubicBezTo>
                    <a:pt x="10287" y="3206"/>
                    <a:pt x="10301" y="3174"/>
                    <a:pt x="10301" y="3128"/>
                  </a:cubicBezTo>
                  <a:cubicBezTo>
                    <a:pt x="10301" y="2932"/>
                    <a:pt x="10245" y="2824"/>
                    <a:pt x="10135" y="2806"/>
                  </a:cubicBezTo>
                  <a:cubicBezTo>
                    <a:pt x="10082" y="2806"/>
                    <a:pt x="10045" y="2804"/>
                    <a:pt x="10024" y="2799"/>
                  </a:cubicBezTo>
                  <a:cubicBezTo>
                    <a:pt x="9988" y="2791"/>
                    <a:pt x="9970" y="2767"/>
                    <a:pt x="9970" y="2726"/>
                  </a:cubicBezTo>
                  <a:cubicBezTo>
                    <a:pt x="9970" y="2703"/>
                    <a:pt x="9999" y="2689"/>
                    <a:pt x="10055" y="2684"/>
                  </a:cubicBezTo>
                  <a:cubicBezTo>
                    <a:pt x="10085" y="2681"/>
                    <a:pt x="10118" y="2681"/>
                    <a:pt x="10153" y="2684"/>
                  </a:cubicBezTo>
                  <a:cubicBezTo>
                    <a:pt x="10159" y="2656"/>
                    <a:pt x="10162" y="2635"/>
                    <a:pt x="10162" y="2622"/>
                  </a:cubicBezTo>
                  <a:cubicBezTo>
                    <a:pt x="10162" y="2594"/>
                    <a:pt x="10155" y="2578"/>
                    <a:pt x="10140" y="2572"/>
                  </a:cubicBezTo>
                  <a:cubicBezTo>
                    <a:pt x="10116" y="2560"/>
                    <a:pt x="10100" y="2547"/>
                    <a:pt x="10091" y="2534"/>
                  </a:cubicBezTo>
                  <a:cubicBezTo>
                    <a:pt x="10144" y="2501"/>
                    <a:pt x="10179" y="2474"/>
                    <a:pt x="10193" y="2454"/>
                  </a:cubicBezTo>
                  <a:lnTo>
                    <a:pt x="10189" y="2381"/>
                  </a:lnTo>
                  <a:cubicBezTo>
                    <a:pt x="10189" y="2340"/>
                    <a:pt x="10159" y="2302"/>
                    <a:pt x="10100" y="2266"/>
                  </a:cubicBezTo>
                  <a:cubicBezTo>
                    <a:pt x="10037" y="2233"/>
                    <a:pt x="10006" y="2210"/>
                    <a:pt x="10006" y="2197"/>
                  </a:cubicBezTo>
                  <a:cubicBezTo>
                    <a:pt x="10006" y="2174"/>
                    <a:pt x="10025" y="2151"/>
                    <a:pt x="10064" y="2128"/>
                  </a:cubicBezTo>
                  <a:cubicBezTo>
                    <a:pt x="10106" y="2102"/>
                    <a:pt x="10129" y="2074"/>
                    <a:pt x="10135" y="2043"/>
                  </a:cubicBezTo>
                  <a:cubicBezTo>
                    <a:pt x="10141" y="2003"/>
                    <a:pt x="10155" y="1967"/>
                    <a:pt x="10176" y="1936"/>
                  </a:cubicBezTo>
                  <a:cubicBezTo>
                    <a:pt x="10190" y="1913"/>
                    <a:pt x="10198" y="1884"/>
                    <a:pt x="10198" y="1848"/>
                  </a:cubicBezTo>
                  <a:cubicBezTo>
                    <a:pt x="10198" y="1820"/>
                    <a:pt x="10165" y="1799"/>
                    <a:pt x="10100" y="1787"/>
                  </a:cubicBezTo>
                  <a:cubicBezTo>
                    <a:pt x="10022" y="1771"/>
                    <a:pt x="9979" y="1760"/>
                    <a:pt x="9970" y="1752"/>
                  </a:cubicBezTo>
                  <a:cubicBezTo>
                    <a:pt x="9854" y="1637"/>
                    <a:pt x="9796" y="1557"/>
                    <a:pt x="9796" y="1511"/>
                  </a:cubicBezTo>
                  <a:cubicBezTo>
                    <a:pt x="9796" y="1416"/>
                    <a:pt x="9814" y="1319"/>
                    <a:pt x="9850" y="1219"/>
                  </a:cubicBezTo>
                  <a:cubicBezTo>
                    <a:pt x="9844" y="1132"/>
                    <a:pt x="9857" y="1076"/>
                    <a:pt x="9890" y="1051"/>
                  </a:cubicBezTo>
                  <a:cubicBezTo>
                    <a:pt x="9926" y="1022"/>
                    <a:pt x="9944" y="990"/>
                    <a:pt x="9944" y="955"/>
                  </a:cubicBezTo>
                  <a:cubicBezTo>
                    <a:pt x="9944" y="934"/>
                    <a:pt x="9939" y="915"/>
                    <a:pt x="9930" y="897"/>
                  </a:cubicBezTo>
                  <a:cubicBezTo>
                    <a:pt x="9921" y="877"/>
                    <a:pt x="9917" y="857"/>
                    <a:pt x="9917" y="840"/>
                  </a:cubicBezTo>
                  <a:cubicBezTo>
                    <a:pt x="9917" y="806"/>
                    <a:pt x="9944" y="776"/>
                    <a:pt x="9997" y="748"/>
                  </a:cubicBezTo>
                  <a:cubicBezTo>
                    <a:pt x="9997" y="763"/>
                    <a:pt x="9997" y="777"/>
                    <a:pt x="9997" y="790"/>
                  </a:cubicBezTo>
                  <a:cubicBezTo>
                    <a:pt x="9997" y="877"/>
                    <a:pt x="10042" y="923"/>
                    <a:pt x="10131" y="928"/>
                  </a:cubicBezTo>
                  <a:cubicBezTo>
                    <a:pt x="10217" y="935"/>
                    <a:pt x="10260" y="955"/>
                    <a:pt x="10260" y="985"/>
                  </a:cubicBezTo>
                  <a:lnTo>
                    <a:pt x="10180" y="1154"/>
                  </a:lnTo>
                  <a:cubicBezTo>
                    <a:pt x="10180" y="1187"/>
                    <a:pt x="10201" y="1209"/>
                    <a:pt x="10243" y="1219"/>
                  </a:cubicBezTo>
                  <a:cubicBezTo>
                    <a:pt x="10266" y="1227"/>
                    <a:pt x="10295" y="1233"/>
                    <a:pt x="10327" y="1238"/>
                  </a:cubicBezTo>
                  <a:cubicBezTo>
                    <a:pt x="10360" y="1264"/>
                    <a:pt x="10372" y="1332"/>
                    <a:pt x="10363" y="1442"/>
                  </a:cubicBezTo>
                  <a:cubicBezTo>
                    <a:pt x="10372" y="1472"/>
                    <a:pt x="10413" y="1530"/>
                    <a:pt x="10488" y="1614"/>
                  </a:cubicBezTo>
                  <a:cubicBezTo>
                    <a:pt x="10568" y="1704"/>
                    <a:pt x="10625" y="1748"/>
                    <a:pt x="10657" y="1748"/>
                  </a:cubicBezTo>
                  <a:cubicBezTo>
                    <a:pt x="10696" y="1748"/>
                    <a:pt x="10724" y="1735"/>
                    <a:pt x="10742" y="1710"/>
                  </a:cubicBezTo>
                  <a:cubicBezTo>
                    <a:pt x="10754" y="1695"/>
                    <a:pt x="10767" y="1668"/>
                    <a:pt x="10782" y="1629"/>
                  </a:cubicBezTo>
                  <a:cubicBezTo>
                    <a:pt x="10803" y="1637"/>
                    <a:pt x="10819" y="1655"/>
                    <a:pt x="10831" y="1683"/>
                  </a:cubicBezTo>
                  <a:cubicBezTo>
                    <a:pt x="10840" y="1704"/>
                    <a:pt x="10845" y="1721"/>
                    <a:pt x="10845" y="1737"/>
                  </a:cubicBezTo>
                  <a:lnTo>
                    <a:pt x="10827" y="1840"/>
                  </a:lnTo>
                  <a:cubicBezTo>
                    <a:pt x="10827" y="1886"/>
                    <a:pt x="10858" y="1953"/>
                    <a:pt x="10921" y="2040"/>
                  </a:cubicBezTo>
                  <a:cubicBezTo>
                    <a:pt x="10980" y="2124"/>
                    <a:pt x="11026" y="2166"/>
                    <a:pt x="11059" y="2166"/>
                  </a:cubicBezTo>
                  <a:cubicBezTo>
                    <a:pt x="11089" y="2166"/>
                    <a:pt x="11160" y="2127"/>
                    <a:pt x="11273" y="2047"/>
                  </a:cubicBezTo>
                  <a:cubicBezTo>
                    <a:pt x="11353" y="1994"/>
                    <a:pt x="11420" y="1949"/>
                    <a:pt x="11474" y="1913"/>
                  </a:cubicBezTo>
                  <a:cubicBezTo>
                    <a:pt x="11489" y="1928"/>
                    <a:pt x="11509" y="1936"/>
                    <a:pt x="11536" y="1936"/>
                  </a:cubicBezTo>
                  <a:cubicBezTo>
                    <a:pt x="11548" y="1936"/>
                    <a:pt x="11564" y="1934"/>
                    <a:pt x="11585" y="1928"/>
                  </a:cubicBezTo>
                  <a:cubicBezTo>
                    <a:pt x="11490" y="1990"/>
                    <a:pt x="11365" y="2088"/>
                    <a:pt x="11211" y="2224"/>
                  </a:cubicBezTo>
                  <a:cubicBezTo>
                    <a:pt x="11157" y="2270"/>
                    <a:pt x="11047" y="2293"/>
                    <a:pt x="10880" y="2293"/>
                  </a:cubicBezTo>
                  <a:cubicBezTo>
                    <a:pt x="10842" y="2293"/>
                    <a:pt x="10818" y="2295"/>
                    <a:pt x="10809" y="2300"/>
                  </a:cubicBezTo>
                  <a:cubicBezTo>
                    <a:pt x="10797" y="2305"/>
                    <a:pt x="10791" y="2321"/>
                    <a:pt x="10791" y="2346"/>
                  </a:cubicBezTo>
                  <a:cubicBezTo>
                    <a:pt x="10791" y="2362"/>
                    <a:pt x="10803" y="2380"/>
                    <a:pt x="10827" y="2400"/>
                  </a:cubicBezTo>
                  <a:cubicBezTo>
                    <a:pt x="10854" y="2423"/>
                    <a:pt x="10885" y="2434"/>
                    <a:pt x="10921" y="2434"/>
                  </a:cubicBezTo>
                  <a:cubicBezTo>
                    <a:pt x="10962" y="2434"/>
                    <a:pt x="11001" y="2429"/>
                    <a:pt x="11037" y="2419"/>
                  </a:cubicBezTo>
                  <a:cubicBezTo>
                    <a:pt x="11072" y="2406"/>
                    <a:pt x="11123" y="2400"/>
                    <a:pt x="11188" y="2400"/>
                  </a:cubicBezTo>
                  <a:cubicBezTo>
                    <a:pt x="11263" y="2400"/>
                    <a:pt x="11307" y="2415"/>
                    <a:pt x="11322" y="2446"/>
                  </a:cubicBezTo>
                  <a:cubicBezTo>
                    <a:pt x="11337" y="2474"/>
                    <a:pt x="11358" y="2488"/>
                    <a:pt x="11384" y="2488"/>
                  </a:cubicBezTo>
                  <a:cubicBezTo>
                    <a:pt x="11426" y="2488"/>
                    <a:pt x="11471" y="2445"/>
                    <a:pt x="11518" y="2358"/>
                  </a:cubicBezTo>
                  <a:cubicBezTo>
                    <a:pt x="11563" y="2271"/>
                    <a:pt x="11639" y="2227"/>
                    <a:pt x="11746" y="2227"/>
                  </a:cubicBezTo>
                  <a:cubicBezTo>
                    <a:pt x="11776" y="2227"/>
                    <a:pt x="11808" y="2242"/>
                    <a:pt x="11844" y="2270"/>
                  </a:cubicBezTo>
                  <a:cubicBezTo>
                    <a:pt x="11874" y="2295"/>
                    <a:pt x="11889" y="2313"/>
                    <a:pt x="11889" y="2323"/>
                  </a:cubicBezTo>
                  <a:cubicBezTo>
                    <a:pt x="11889" y="2354"/>
                    <a:pt x="11847" y="2403"/>
                    <a:pt x="11764" y="2469"/>
                  </a:cubicBezTo>
                  <a:cubicBezTo>
                    <a:pt x="11678" y="2535"/>
                    <a:pt x="11634" y="2579"/>
                    <a:pt x="11634" y="2599"/>
                  </a:cubicBezTo>
                  <a:cubicBezTo>
                    <a:pt x="11634" y="2645"/>
                    <a:pt x="11673" y="2670"/>
                    <a:pt x="11750" y="2672"/>
                  </a:cubicBezTo>
                  <a:cubicBezTo>
                    <a:pt x="11825" y="2672"/>
                    <a:pt x="11862" y="2703"/>
                    <a:pt x="11862" y="2764"/>
                  </a:cubicBezTo>
                  <a:cubicBezTo>
                    <a:pt x="11862" y="2808"/>
                    <a:pt x="11845" y="2843"/>
                    <a:pt x="11813" y="2872"/>
                  </a:cubicBezTo>
                  <a:cubicBezTo>
                    <a:pt x="11777" y="2905"/>
                    <a:pt x="11755" y="2950"/>
                    <a:pt x="11746" y="3006"/>
                  </a:cubicBezTo>
                  <a:cubicBezTo>
                    <a:pt x="11734" y="3085"/>
                    <a:pt x="11707" y="3134"/>
                    <a:pt x="11665" y="3151"/>
                  </a:cubicBezTo>
                  <a:cubicBezTo>
                    <a:pt x="11627" y="3167"/>
                    <a:pt x="11607" y="3194"/>
                    <a:pt x="11607" y="3232"/>
                  </a:cubicBezTo>
                  <a:cubicBezTo>
                    <a:pt x="11607" y="3286"/>
                    <a:pt x="11652" y="3321"/>
                    <a:pt x="11741" y="3339"/>
                  </a:cubicBezTo>
                  <a:cubicBezTo>
                    <a:pt x="11845" y="3360"/>
                    <a:pt x="11908" y="3387"/>
                    <a:pt x="11929" y="3420"/>
                  </a:cubicBezTo>
                  <a:cubicBezTo>
                    <a:pt x="11952" y="3458"/>
                    <a:pt x="11975" y="3499"/>
                    <a:pt x="11996" y="3543"/>
                  </a:cubicBezTo>
                  <a:cubicBezTo>
                    <a:pt x="12016" y="3571"/>
                    <a:pt x="12066" y="3585"/>
                    <a:pt x="12143" y="3585"/>
                  </a:cubicBezTo>
                  <a:cubicBezTo>
                    <a:pt x="12161" y="3585"/>
                    <a:pt x="12210" y="3577"/>
                    <a:pt x="12290" y="3562"/>
                  </a:cubicBezTo>
                  <a:cubicBezTo>
                    <a:pt x="12412" y="3562"/>
                    <a:pt x="12488" y="3620"/>
                    <a:pt x="12518" y="3738"/>
                  </a:cubicBezTo>
                  <a:cubicBezTo>
                    <a:pt x="12568" y="3935"/>
                    <a:pt x="12601" y="4043"/>
                    <a:pt x="12616" y="4064"/>
                  </a:cubicBezTo>
                  <a:cubicBezTo>
                    <a:pt x="12657" y="4130"/>
                    <a:pt x="12696" y="4247"/>
                    <a:pt x="12732" y="4413"/>
                  </a:cubicBezTo>
                  <a:cubicBezTo>
                    <a:pt x="12738" y="4443"/>
                    <a:pt x="12752" y="4498"/>
                    <a:pt x="12776" y="4578"/>
                  </a:cubicBezTo>
                  <a:cubicBezTo>
                    <a:pt x="12797" y="4647"/>
                    <a:pt x="12808" y="4694"/>
                    <a:pt x="12808" y="4719"/>
                  </a:cubicBezTo>
                  <a:cubicBezTo>
                    <a:pt x="12808" y="4750"/>
                    <a:pt x="12797" y="4792"/>
                    <a:pt x="12776" y="4846"/>
                  </a:cubicBezTo>
                  <a:cubicBezTo>
                    <a:pt x="12782" y="4859"/>
                    <a:pt x="12839" y="4898"/>
                    <a:pt x="12946" y="4965"/>
                  </a:cubicBezTo>
                  <a:cubicBezTo>
                    <a:pt x="13047" y="5034"/>
                    <a:pt x="13098" y="5088"/>
                    <a:pt x="13098" y="5126"/>
                  </a:cubicBezTo>
                  <a:cubicBezTo>
                    <a:pt x="13098" y="5141"/>
                    <a:pt x="13063" y="5158"/>
                    <a:pt x="12995" y="5176"/>
                  </a:cubicBezTo>
                  <a:cubicBezTo>
                    <a:pt x="12923" y="5196"/>
                    <a:pt x="12888" y="5228"/>
                    <a:pt x="12888" y="5272"/>
                  </a:cubicBezTo>
                  <a:cubicBezTo>
                    <a:pt x="12888" y="5302"/>
                    <a:pt x="12912" y="5338"/>
                    <a:pt x="12959" y="5379"/>
                  </a:cubicBezTo>
                  <a:cubicBezTo>
                    <a:pt x="13001" y="5415"/>
                    <a:pt x="13035" y="5433"/>
                    <a:pt x="13062" y="5433"/>
                  </a:cubicBezTo>
                  <a:cubicBezTo>
                    <a:pt x="13077" y="5433"/>
                    <a:pt x="13123" y="5420"/>
                    <a:pt x="13200" y="5394"/>
                  </a:cubicBezTo>
                  <a:cubicBezTo>
                    <a:pt x="13212" y="5394"/>
                    <a:pt x="13224" y="5399"/>
                    <a:pt x="13236" y="5410"/>
                  </a:cubicBezTo>
                  <a:cubicBezTo>
                    <a:pt x="13248" y="5420"/>
                    <a:pt x="13254" y="5427"/>
                    <a:pt x="13254" y="5433"/>
                  </a:cubicBezTo>
                  <a:cubicBezTo>
                    <a:pt x="13254" y="5453"/>
                    <a:pt x="13239" y="5490"/>
                    <a:pt x="13209" y="5544"/>
                  </a:cubicBezTo>
                  <a:cubicBezTo>
                    <a:pt x="13209" y="5569"/>
                    <a:pt x="13234" y="5582"/>
                    <a:pt x="13285" y="5582"/>
                  </a:cubicBezTo>
                  <a:cubicBezTo>
                    <a:pt x="13344" y="5582"/>
                    <a:pt x="13456" y="5545"/>
                    <a:pt x="13619" y="5471"/>
                  </a:cubicBezTo>
                  <a:cubicBezTo>
                    <a:pt x="13658" y="5471"/>
                    <a:pt x="13677" y="5484"/>
                    <a:pt x="13677" y="5509"/>
                  </a:cubicBezTo>
                  <a:lnTo>
                    <a:pt x="13637" y="5590"/>
                  </a:lnTo>
                  <a:cubicBezTo>
                    <a:pt x="13608" y="5649"/>
                    <a:pt x="13593" y="5689"/>
                    <a:pt x="13593" y="5712"/>
                  </a:cubicBezTo>
                  <a:cubicBezTo>
                    <a:pt x="13593" y="5735"/>
                    <a:pt x="13655" y="5785"/>
                    <a:pt x="13780" y="5862"/>
                  </a:cubicBezTo>
                  <a:cubicBezTo>
                    <a:pt x="13914" y="5941"/>
                    <a:pt x="14007" y="5978"/>
                    <a:pt x="14061" y="5973"/>
                  </a:cubicBezTo>
                  <a:cubicBezTo>
                    <a:pt x="14195" y="5955"/>
                    <a:pt x="14262" y="5985"/>
                    <a:pt x="14262" y="6061"/>
                  </a:cubicBezTo>
                  <a:cubicBezTo>
                    <a:pt x="14262" y="6087"/>
                    <a:pt x="14277" y="6115"/>
                    <a:pt x="14306" y="6146"/>
                  </a:cubicBezTo>
                  <a:cubicBezTo>
                    <a:pt x="14336" y="6176"/>
                    <a:pt x="14351" y="6203"/>
                    <a:pt x="14351" y="6226"/>
                  </a:cubicBezTo>
                  <a:cubicBezTo>
                    <a:pt x="14351" y="6254"/>
                    <a:pt x="14311" y="6304"/>
                    <a:pt x="14231" y="6376"/>
                  </a:cubicBezTo>
                  <a:cubicBezTo>
                    <a:pt x="14147" y="6447"/>
                    <a:pt x="14106" y="6503"/>
                    <a:pt x="14106" y="6544"/>
                  </a:cubicBezTo>
                  <a:cubicBezTo>
                    <a:pt x="14106" y="6621"/>
                    <a:pt x="14143" y="6693"/>
                    <a:pt x="14217" y="6759"/>
                  </a:cubicBezTo>
                  <a:cubicBezTo>
                    <a:pt x="14289" y="6826"/>
                    <a:pt x="14324" y="6887"/>
                    <a:pt x="14324" y="6943"/>
                  </a:cubicBezTo>
                  <a:cubicBezTo>
                    <a:pt x="14324" y="6958"/>
                    <a:pt x="14309" y="7036"/>
                    <a:pt x="14280" y="7177"/>
                  </a:cubicBezTo>
                  <a:cubicBezTo>
                    <a:pt x="14271" y="7231"/>
                    <a:pt x="14265" y="7263"/>
                    <a:pt x="14262" y="7273"/>
                  </a:cubicBezTo>
                  <a:cubicBezTo>
                    <a:pt x="14241" y="7304"/>
                    <a:pt x="14195" y="7319"/>
                    <a:pt x="14124" y="7319"/>
                  </a:cubicBezTo>
                  <a:cubicBezTo>
                    <a:pt x="13951" y="7278"/>
                    <a:pt x="13850" y="7258"/>
                    <a:pt x="13820" y="7258"/>
                  </a:cubicBezTo>
                  <a:cubicBezTo>
                    <a:pt x="13773" y="7258"/>
                    <a:pt x="13716" y="7277"/>
                    <a:pt x="13651" y="7315"/>
                  </a:cubicBezTo>
                  <a:cubicBezTo>
                    <a:pt x="13570" y="7361"/>
                    <a:pt x="13521" y="7387"/>
                    <a:pt x="13503" y="7392"/>
                  </a:cubicBezTo>
                  <a:cubicBezTo>
                    <a:pt x="13483" y="7397"/>
                    <a:pt x="13435" y="7407"/>
                    <a:pt x="13361" y="7422"/>
                  </a:cubicBezTo>
                  <a:cubicBezTo>
                    <a:pt x="13304" y="7433"/>
                    <a:pt x="13257" y="7445"/>
                    <a:pt x="13218" y="7461"/>
                  </a:cubicBezTo>
                  <a:cubicBezTo>
                    <a:pt x="13209" y="7463"/>
                    <a:pt x="13191" y="7475"/>
                    <a:pt x="13164" y="7495"/>
                  </a:cubicBezTo>
                  <a:cubicBezTo>
                    <a:pt x="13144" y="7513"/>
                    <a:pt x="13124" y="7523"/>
                    <a:pt x="13106" y="7526"/>
                  </a:cubicBezTo>
                  <a:cubicBezTo>
                    <a:pt x="13071" y="7531"/>
                    <a:pt x="13029" y="7531"/>
                    <a:pt x="12981" y="7526"/>
                  </a:cubicBezTo>
                  <a:cubicBezTo>
                    <a:pt x="12940" y="7521"/>
                    <a:pt x="12901" y="7537"/>
                    <a:pt x="12866" y="7576"/>
                  </a:cubicBezTo>
                  <a:cubicBezTo>
                    <a:pt x="12830" y="7614"/>
                    <a:pt x="12796" y="7633"/>
                    <a:pt x="12763" y="7633"/>
                  </a:cubicBezTo>
                  <a:cubicBezTo>
                    <a:pt x="12733" y="7633"/>
                    <a:pt x="12694" y="7615"/>
                    <a:pt x="12647" y="7580"/>
                  </a:cubicBezTo>
                  <a:cubicBezTo>
                    <a:pt x="12596" y="7544"/>
                    <a:pt x="12555" y="7523"/>
                    <a:pt x="12522" y="7518"/>
                  </a:cubicBezTo>
                  <a:cubicBezTo>
                    <a:pt x="12388" y="7498"/>
                    <a:pt x="12287" y="7490"/>
                    <a:pt x="12219" y="7495"/>
                  </a:cubicBezTo>
                  <a:cubicBezTo>
                    <a:pt x="12138" y="7503"/>
                    <a:pt x="12024" y="7461"/>
                    <a:pt x="11875" y="7369"/>
                  </a:cubicBezTo>
                  <a:cubicBezTo>
                    <a:pt x="11721" y="7274"/>
                    <a:pt x="11612" y="7227"/>
                    <a:pt x="11550" y="7227"/>
                  </a:cubicBezTo>
                  <a:lnTo>
                    <a:pt x="11487" y="7250"/>
                  </a:lnTo>
                  <a:cubicBezTo>
                    <a:pt x="11520" y="7291"/>
                    <a:pt x="11612" y="7396"/>
                    <a:pt x="11764" y="7564"/>
                  </a:cubicBezTo>
                  <a:cubicBezTo>
                    <a:pt x="11904" y="7720"/>
                    <a:pt x="11973" y="7815"/>
                    <a:pt x="11973" y="7848"/>
                  </a:cubicBezTo>
                  <a:cubicBezTo>
                    <a:pt x="11973" y="7884"/>
                    <a:pt x="11936" y="7902"/>
                    <a:pt x="11862" y="7902"/>
                  </a:cubicBezTo>
                  <a:cubicBezTo>
                    <a:pt x="11796" y="7902"/>
                    <a:pt x="11729" y="7885"/>
                    <a:pt x="11661" y="7852"/>
                  </a:cubicBezTo>
                  <a:cubicBezTo>
                    <a:pt x="11581" y="7808"/>
                    <a:pt x="11520" y="7775"/>
                    <a:pt x="11478" y="7752"/>
                  </a:cubicBezTo>
                  <a:cubicBezTo>
                    <a:pt x="11448" y="7737"/>
                    <a:pt x="11393" y="7718"/>
                    <a:pt x="11313" y="7695"/>
                  </a:cubicBezTo>
                  <a:cubicBezTo>
                    <a:pt x="11236" y="7674"/>
                    <a:pt x="11193" y="7663"/>
                    <a:pt x="11184" y="7660"/>
                  </a:cubicBezTo>
                  <a:cubicBezTo>
                    <a:pt x="11172" y="7670"/>
                    <a:pt x="11166" y="7679"/>
                    <a:pt x="11166" y="7687"/>
                  </a:cubicBezTo>
                  <a:cubicBezTo>
                    <a:pt x="11166" y="7741"/>
                    <a:pt x="11252" y="7822"/>
                    <a:pt x="11425" y="7932"/>
                  </a:cubicBezTo>
                  <a:cubicBezTo>
                    <a:pt x="11594" y="8045"/>
                    <a:pt x="11679" y="8115"/>
                    <a:pt x="11679" y="8143"/>
                  </a:cubicBezTo>
                  <a:cubicBezTo>
                    <a:pt x="11679" y="8153"/>
                    <a:pt x="11643" y="8183"/>
                    <a:pt x="11572" y="8231"/>
                  </a:cubicBezTo>
                  <a:cubicBezTo>
                    <a:pt x="11524" y="8265"/>
                    <a:pt x="11486" y="8288"/>
                    <a:pt x="11456" y="8300"/>
                  </a:cubicBezTo>
                  <a:cubicBezTo>
                    <a:pt x="11447" y="8303"/>
                    <a:pt x="11434" y="8305"/>
                    <a:pt x="11416" y="8308"/>
                  </a:cubicBezTo>
                  <a:cubicBezTo>
                    <a:pt x="11410" y="8311"/>
                    <a:pt x="11404" y="8312"/>
                    <a:pt x="11398" y="8312"/>
                  </a:cubicBezTo>
                  <a:cubicBezTo>
                    <a:pt x="11374" y="8312"/>
                    <a:pt x="11358" y="8316"/>
                    <a:pt x="11349" y="8323"/>
                  </a:cubicBezTo>
                  <a:cubicBezTo>
                    <a:pt x="11337" y="8328"/>
                    <a:pt x="11331" y="8355"/>
                    <a:pt x="11331" y="8404"/>
                  </a:cubicBezTo>
                  <a:cubicBezTo>
                    <a:pt x="11331" y="8473"/>
                    <a:pt x="11365" y="8528"/>
                    <a:pt x="11434" y="8569"/>
                  </a:cubicBezTo>
                  <a:cubicBezTo>
                    <a:pt x="11499" y="8607"/>
                    <a:pt x="11532" y="8639"/>
                    <a:pt x="11532" y="8665"/>
                  </a:cubicBezTo>
                  <a:cubicBezTo>
                    <a:pt x="11532" y="8682"/>
                    <a:pt x="11514" y="8721"/>
                    <a:pt x="11478" y="8780"/>
                  </a:cubicBezTo>
                  <a:cubicBezTo>
                    <a:pt x="11442" y="8838"/>
                    <a:pt x="11425" y="8878"/>
                    <a:pt x="11425" y="8898"/>
                  </a:cubicBezTo>
                  <a:cubicBezTo>
                    <a:pt x="11425" y="8942"/>
                    <a:pt x="11457" y="8992"/>
                    <a:pt x="11523" y="9048"/>
                  </a:cubicBezTo>
                  <a:cubicBezTo>
                    <a:pt x="11547" y="9066"/>
                    <a:pt x="11607" y="9107"/>
                    <a:pt x="11706" y="9171"/>
                  </a:cubicBezTo>
                  <a:cubicBezTo>
                    <a:pt x="11813" y="9245"/>
                    <a:pt x="11868" y="9287"/>
                    <a:pt x="11871" y="9297"/>
                  </a:cubicBezTo>
                  <a:cubicBezTo>
                    <a:pt x="11877" y="9315"/>
                    <a:pt x="11878" y="9343"/>
                    <a:pt x="11875" y="9381"/>
                  </a:cubicBezTo>
                  <a:cubicBezTo>
                    <a:pt x="11884" y="9415"/>
                    <a:pt x="11921" y="9431"/>
                    <a:pt x="11987" y="9431"/>
                  </a:cubicBezTo>
                  <a:cubicBezTo>
                    <a:pt x="12011" y="9431"/>
                    <a:pt x="12031" y="9426"/>
                    <a:pt x="12049" y="9416"/>
                  </a:cubicBezTo>
                  <a:cubicBezTo>
                    <a:pt x="12064" y="9406"/>
                    <a:pt x="12082" y="9401"/>
                    <a:pt x="12103" y="9401"/>
                  </a:cubicBezTo>
                  <a:cubicBezTo>
                    <a:pt x="12147" y="9401"/>
                    <a:pt x="12192" y="9421"/>
                    <a:pt x="12237" y="9462"/>
                  </a:cubicBezTo>
                  <a:cubicBezTo>
                    <a:pt x="12290" y="9505"/>
                    <a:pt x="12324" y="9530"/>
                    <a:pt x="12339" y="9535"/>
                  </a:cubicBezTo>
                  <a:cubicBezTo>
                    <a:pt x="12357" y="9540"/>
                    <a:pt x="12406" y="9549"/>
                    <a:pt x="12486" y="9562"/>
                  </a:cubicBezTo>
                  <a:cubicBezTo>
                    <a:pt x="12558" y="9580"/>
                    <a:pt x="12593" y="9610"/>
                    <a:pt x="12593" y="9654"/>
                  </a:cubicBezTo>
                  <a:cubicBezTo>
                    <a:pt x="12593" y="9679"/>
                    <a:pt x="12587" y="9718"/>
                    <a:pt x="12576" y="9769"/>
                  </a:cubicBezTo>
                  <a:cubicBezTo>
                    <a:pt x="12564" y="9820"/>
                    <a:pt x="12558" y="9854"/>
                    <a:pt x="12558" y="9872"/>
                  </a:cubicBezTo>
                  <a:cubicBezTo>
                    <a:pt x="12558" y="9985"/>
                    <a:pt x="12570" y="10092"/>
                    <a:pt x="12593" y="10194"/>
                  </a:cubicBezTo>
                  <a:cubicBezTo>
                    <a:pt x="12626" y="10340"/>
                    <a:pt x="12675" y="10413"/>
                    <a:pt x="12741" y="10413"/>
                  </a:cubicBezTo>
                  <a:cubicBezTo>
                    <a:pt x="12782" y="10413"/>
                    <a:pt x="12834" y="10397"/>
                    <a:pt x="12897" y="10367"/>
                  </a:cubicBezTo>
                  <a:cubicBezTo>
                    <a:pt x="12971" y="10328"/>
                    <a:pt x="13008" y="10286"/>
                    <a:pt x="13008" y="10240"/>
                  </a:cubicBezTo>
                  <a:cubicBezTo>
                    <a:pt x="13008" y="10225"/>
                    <a:pt x="13001" y="10192"/>
                    <a:pt x="12986" y="10141"/>
                  </a:cubicBezTo>
                  <a:cubicBezTo>
                    <a:pt x="12968" y="10092"/>
                    <a:pt x="12959" y="10059"/>
                    <a:pt x="12959" y="10041"/>
                  </a:cubicBezTo>
                  <a:cubicBezTo>
                    <a:pt x="12959" y="10005"/>
                    <a:pt x="12970" y="9969"/>
                    <a:pt x="12990" y="9934"/>
                  </a:cubicBezTo>
                  <a:cubicBezTo>
                    <a:pt x="13011" y="9898"/>
                    <a:pt x="13031" y="9880"/>
                    <a:pt x="13048" y="9880"/>
                  </a:cubicBezTo>
                  <a:cubicBezTo>
                    <a:pt x="13191" y="9880"/>
                    <a:pt x="13263" y="9971"/>
                    <a:pt x="13263" y="10152"/>
                  </a:cubicBezTo>
                  <a:cubicBezTo>
                    <a:pt x="13263" y="10239"/>
                    <a:pt x="13289" y="10309"/>
                    <a:pt x="13343" y="10363"/>
                  </a:cubicBezTo>
                  <a:cubicBezTo>
                    <a:pt x="13393" y="10414"/>
                    <a:pt x="13419" y="10481"/>
                    <a:pt x="13419" y="10562"/>
                  </a:cubicBezTo>
                  <a:cubicBezTo>
                    <a:pt x="13419" y="10588"/>
                    <a:pt x="13411" y="10613"/>
                    <a:pt x="13396" y="10639"/>
                  </a:cubicBezTo>
                  <a:cubicBezTo>
                    <a:pt x="13382" y="10665"/>
                    <a:pt x="13374" y="10684"/>
                    <a:pt x="13374" y="10697"/>
                  </a:cubicBezTo>
                  <a:cubicBezTo>
                    <a:pt x="13374" y="10732"/>
                    <a:pt x="13401" y="10780"/>
                    <a:pt x="13454" y="10838"/>
                  </a:cubicBezTo>
                  <a:cubicBezTo>
                    <a:pt x="13511" y="10897"/>
                    <a:pt x="13560" y="10927"/>
                    <a:pt x="13602" y="10927"/>
                  </a:cubicBezTo>
                  <a:cubicBezTo>
                    <a:pt x="13622" y="10927"/>
                    <a:pt x="13634" y="10900"/>
                    <a:pt x="13637" y="10846"/>
                  </a:cubicBezTo>
                  <a:cubicBezTo>
                    <a:pt x="13640" y="10790"/>
                    <a:pt x="13669" y="10762"/>
                    <a:pt x="13722" y="10762"/>
                  </a:cubicBezTo>
                  <a:cubicBezTo>
                    <a:pt x="13776" y="10762"/>
                    <a:pt x="13834" y="10778"/>
                    <a:pt x="13896" y="10812"/>
                  </a:cubicBezTo>
                  <a:cubicBezTo>
                    <a:pt x="13959" y="10845"/>
                    <a:pt x="13993" y="10861"/>
                    <a:pt x="13999" y="10861"/>
                  </a:cubicBezTo>
                  <a:cubicBezTo>
                    <a:pt x="14010" y="10861"/>
                    <a:pt x="14042" y="10838"/>
                    <a:pt x="14092" y="10792"/>
                  </a:cubicBezTo>
                  <a:lnTo>
                    <a:pt x="14217" y="10808"/>
                  </a:lnTo>
                  <a:cubicBezTo>
                    <a:pt x="14271" y="10808"/>
                    <a:pt x="14297" y="10795"/>
                    <a:pt x="14297" y="10769"/>
                  </a:cubicBezTo>
                  <a:cubicBezTo>
                    <a:pt x="14297" y="10757"/>
                    <a:pt x="14290" y="10734"/>
                    <a:pt x="14275" y="10700"/>
                  </a:cubicBezTo>
                  <a:lnTo>
                    <a:pt x="14253" y="10654"/>
                  </a:lnTo>
                  <a:cubicBezTo>
                    <a:pt x="14253" y="10634"/>
                    <a:pt x="14294" y="10612"/>
                    <a:pt x="14378" y="10589"/>
                  </a:cubicBezTo>
                  <a:cubicBezTo>
                    <a:pt x="14455" y="10566"/>
                    <a:pt x="14519" y="10555"/>
                    <a:pt x="14570" y="10555"/>
                  </a:cubicBezTo>
                  <a:cubicBezTo>
                    <a:pt x="14656" y="10555"/>
                    <a:pt x="14773" y="10602"/>
                    <a:pt x="14922" y="10697"/>
                  </a:cubicBezTo>
                  <a:cubicBezTo>
                    <a:pt x="14925" y="10699"/>
                    <a:pt x="14979" y="10717"/>
                    <a:pt x="15083" y="10750"/>
                  </a:cubicBezTo>
                  <a:cubicBezTo>
                    <a:pt x="15157" y="10773"/>
                    <a:pt x="15194" y="10804"/>
                    <a:pt x="15194" y="10842"/>
                  </a:cubicBezTo>
                  <a:cubicBezTo>
                    <a:pt x="15194" y="10855"/>
                    <a:pt x="15188" y="10878"/>
                    <a:pt x="15176" y="10911"/>
                  </a:cubicBezTo>
                  <a:cubicBezTo>
                    <a:pt x="15176" y="10927"/>
                    <a:pt x="15219" y="10952"/>
                    <a:pt x="15306" y="10988"/>
                  </a:cubicBezTo>
                  <a:cubicBezTo>
                    <a:pt x="15404" y="11031"/>
                    <a:pt x="15459" y="11058"/>
                    <a:pt x="15471" y="11068"/>
                  </a:cubicBezTo>
                  <a:cubicBezTo>
                    <a:pt x="15483" y="11050"/>
                    <a:pt x="15488" y="10999"/>
                    <a:pt x="15488" y="10915"/>
                  </a:cubicBezTo>
                  <a:cubicBezTo>
                    <a:pt x="15488" y="10869"/>
                    <a:pt x="15495" y="10840"/>
                    <a:pt x="15506" y="10827"/>
                  </a:cubicBezTo>
                  <a:cubicBezTo>
                    <a:pt x="15518" y="10817"/>
                    <a:pt x="15542" y="10803"/>
                    <a:pt x="15578" y="10785"/>
                  </a:cubicBezTo>
                  <a:cubicBezTo>
                    <a:pt x="15548" y="10744"/>
                    <a:pt x="15488" y="10697"/>
                    <a:pt x="15399" y="10643"/>
                  </a:cubicBezTo>
                  <a:cubicBezTo>
                    <a:pt x="15349" y="10612"/>
                    <a:pt x="15323" y="10557"/>
                    <a:pt x="15323" y="10478"/>
                  </a:cubicBezTo>
                  <a:cubicBezTo>
                    <a:pt x="15323" y="10463"/>
                    <a:pt x="15341" y="10420"/>
                    <a:pt x="15377" y="10351"/>
                  </a:cubicBezTo>
                  <a:cubicBezTo>
                    <a:pt x="15413" y="10285"/>
                    <a:pt x="15431" y="10251"/>
                    <a:pt x="15431" y="10248"/>
                  </a:cubicBezTo>
                  <a:cubicBezTo>
                    <a:pt x="15407" y="10220"/>
                    <a:pt x="15381" y="10190"/>
                    <a:pt x="15355" y="10160"/>
                  </a:cubicBezTo>
                  <a:cubicBezTo>
                    <a:pt x="15304" y="10098"/>
                    <a:pt x="15279" y="10055"/>
                    <a:pt x="15279" y="10029"/>
                  </a:cubicBezTo>
                  <a:cubicBezTo>
                    <a:pt x="15285" y="10027"/>
                    <a:pt x="15288" y="10019"/>
                    <a:pt x="15288" y="10006"/>
                  </a:cubicBezTo>
                  <a:cubicBezTo>
                    <a:pt x="15288" y="9996"/>
                    <a:pt x="15294" y="9991"/>
                    <a:pt x="15306" y="9991"/>
                  </a:cubicBezTo>
                  <a:cubicBezTo>
                    <a:pt x="15300" y="9981"/>
                    <a:pt x="15272" y="9963"/>
                    <a:pt x="15221" y="9937"/>
                  </a:cubicBezTo>
                  <a:cubicBezTo>
                    <a:pt x="15161" y="9907"/>
                    <a:pt x="15115" y="9872"/>
                    <a:pt x="15083" y="9834"/>
                  </a:cubicBezTo>
                  <a:cubicBezTo>
                    <a:pt x="15041" y="9785"/>
                    <a:pt x="15014" y="9748"/>
                    <a:pt x="15002" y="9723"/>
                  </a:cubicBezTo>
                  <a:cubicBezTo>
                    <a:pt x="14985" y="9692"/>
                    <a:pt x="14975" y="9654"/>
                    <a:pt x="14975" y="9608"/>
                  </a:cubicBezTo>
                  <a:cubicBezTo>
                    <a:pt x="14993" y="9539"/>
                    <a:pt x="15002" y="9494"/>
                    <a:pt x="15002" y="9473"/>
                  </a:cubicBezTo>
                  <a:lnTo>
                    <a:pt x="14985" y="9397"/>
                  </a:lnTo>
                  <a:cubicBezTo>
                    <a:pt x="14985" y="9369"/>
                    <a:pt x="14998" y="9334"/>
                    <a:pt x="15025" y="9293"/>
                  </a:cubicBezTo>
                  <a:cubicBezTo>
                    <a:pt x="15054" y="9252"/>
                    <a:pt x="15071" y="9222"/>
                    <a:pt x="15074" y="9201"/>
                  </a:cubicBezTo>
                  <a:cubicBezTo>
                    <a:pt x="15083" y="9135"/>
                    <a:pt x="15092" y="9090"/>
                    <a:pt x="15100" y="9067"/>
                  </a:cubicBezTo>
                  <a:cubicBezTo>
                    <a:pt x="15115" y="9036"/>
                    <a:pt x="15138" y="9021"/>
                    <a:pt x="15167" y="9021"/>
                  </a:cubicBezTo>
                  <a:cubicBezTo>
                    <a:pt x="15269" y="9021"/>
                    <a:pt x="15338" y="9084"/>
                    <a:pt x="15377" y="9209"/>
                  </a:cubicBezTo>
                  <a:cubicBezTo>
                    <a:pt x="15413" y="9332"/>
                    <a:pt x="15457" y="9393"/>
                    <a:pt x="15511" y="9393"/>
                  </a:cubicBezTo>
                  <a:lnTo>
                    <a:pt x="15663" y="9366"/>
                  </a:lnTo>
                  <a:cubicBezTo>
                    <a:pt x="15704" y="9366"/>
                    <a:pt x="15725" y="9385"/>
                    <a:pt x="15725" y="9424"/>
                  </a:cubicBezTo>
                  <a:cubicBezTo>
                    <a:pt x="15725" y="9436"/>
                    <a:pt x="15667" y="9481"/>
                    <a:pt x="15551" y="9558"/>
                  </a:cubicBezTo>
                  <a:cubicBezTo>
                    <a:pt x="15435" y="9637"/>
                    <a:pt x="15377" y="9728"/>
                    <a:pt x="15377" y="9830"/>
                  </a:cubicBezTo>
                  <a:cubicBezTo>
                    <a:pt x="15377" y="9912"/>
                    <a:pt x="15414" y="9962"/>
                    <a:pt x="15488" y="9980"/>
                  </a:cubicBezTo>
                  <a:cubicBezTo>
                    <a:pt x="15613" y="10008"/>
                    <a:pt x="15692" y="10035"/>
                    <a:pt x="15725" y="10060"/>
                  </a:cubicBezTo>
                  <a:cubicBezTo>
                    <a:pt x="15728" y="10060"/>
                    <a:pt x="15744" y="10110"/>
                    <a:pt x="15774" y="10210"/>
                  </a:cubicBezTo>
                  <a:cubicBezTo>
                    <a:pt x="15801" y="10299"/>
                    <a:pt x="15832" y="10344"/>
                    <a:pt x="15868" y="10344"/>
                  </a:cubicBezTo>
                  <a:cubicBezTo>
                    <a:pt x="15912" y="10344"/>
                    <a:pt x="16036" y="10294"/>
                    <a:pt x="16238" y="10194"/>
                  </a:cubicBezTo>
                  <a:cubicBezTo>
                    <a:pt x="16342" y="10143"/>
                    <a:pt x="16464" y="10083"/>
                    <a:pt x="16604" y="10014"/>
                  </a:cubicBezTo>
                  <a:cubicBezTo>
                    <a:pt x="16639" y="9999"/>
                    <a:pt x="16793" y="9946"/>
                    <a:pt x="17063" y="9857"/>
                  </a:cubicBezTo>
                  <a:cubicBezTo>
                    <a:pt x="17280" y="9785"/>
                    <a:pt x="18650" y="9217"/>
                    <a:pt x="21172" y="8151"/>
                  </a:cubicBezTo>
                  <a:cubicBezTo>
                    <a:pt x="21172" y="8151"/>
                    <a:pt x="21600" y="8822"/>
                    <a:pt x="21600" y="8822"/>
                  </a:cubicBezTo>
                  <a:close/>
                  <a:moveTo>
                    <a:pt x="21600" y="882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5" name="AutoShape 92"/>
            <p:cNvSpPr>
              <a:spLocks/>
            </p:cNvSpPr>
            <p:nvPr/>
          </p:nvSpPr>
          <p:spPr bwMode="auto">
            <a:xfrm>
              <a:off x="7956707" y="4196380"/>
              <a:ext cx="176124" cy="94954"/>
            </a:xfrm>
            <a:custGeom>
              <a:avLst/>
              <a:gdLst/>
              <a:ahLst/>
              <a:cxnLst/>
              <a:rect l="0" t="0" r="r" b="b"/>
              <a:pathLst>
                <a:path w="21600" h="21569">
                  <a:moveTo>
                    <a:pt x="13450" y="17833"/>
                  </a:moveTo>
                  <a:cubicBezTo>
                    <a:pt x="13017" y="16050"/>
                    <a:pt x="12708" y="15005"/>
                    <a:pt x="12525" y="14697"/>
                  </a:cubicBezTo>
                  <a:cubicBezTo>
                    <a:pt x="12325" y="14452"/>
                    <a:pt x="11625" y="14575"/>
                    <a:pt x="10425" y="15066"/>
                  </a:cubicBezTo>
                  <a:lnTo>
                    <a:pt x="10175" y="15159"/>
                  </a:lnTo>
                  <a:cubicBezTo>
                    <a:pt x="6975" y="16910"/>
                    <a:pt x="5116" y="17817"/>
                    <a:pt x="4600" y="17880"/>
                  </a:cubicBezTo>
                  <a:cubicBezTo>
                    <a:pt x="4233" y="17911"/>
                    <a:pt x="3408" y="18156"/>
                    <a:pt x="2125" y="18618"/>
                  </a:cubicBezTo>
                  <a:lnTo>
                    <a:pt x="350" y="19216"/>
                  </a:lnTo>
                  <a:lnTo>
                    <a:pt x="0" y="19124"/>
                  </a:lnTo>
                  <a:lnTo>
                    <a:pt x="250" y="7917"/>
                  </a:lnTo>
                  <a:cubicBezTo>
                    <a:pt x="750" y="7702"/>
                    <a:pt x="2241" y="7225"/>
                    <a:pt x="4725" y="6487"/>
                  </a:cubicBezTo>
                  <a:lnTo>
                    <a:pt x="7825" y="5473"/>
                  </a:lnTo>
                  <a:cubicBezTo>
                    <a:pt x="9975" y="4673"/>
                    <a:pt x="11150" y="4259"/>
                    <a:pt x="11350" y="4228"/>
                  </a:cubicBezTo>
                  <a:cubicBezTo>
                    <a:pt x="11467" y="4228"/>
                    <a:pt x="11708" y="3781"/>
                    <a:pt x="12075" y="2891"/>
                  </a:cubicBezTo>
                  <a:cubicBezTo>
                    <a:pt x="12275" y="2398"/>
                    <a:pt x="12575" y="1691"/>
                    <a:pt x="12975" y="768"/>
                  </a:cubicBezTo>
                  <a:cubicBezTo>
                    <a:pt x="13175" y="307"/>
                    <a:pt x="13408" y="61"/>
                    <a:pt x="13675" y="30"/>
                  </a:cubicBezTo>
                  <a:cubicBezTo>
                    <a:pt x="13792" y="-31"/>
                    <a:pt x="13900" y="0"/>
                    <a:pt x="14000" y="123"/>
                  </a:cubicBezTo>
                  <a:cubicBezTo>
                    <a:pt x="14000" y="184"/>
                    <a:pt x="14000" y="246"/>
                    <a:pt x="14000" y="307"/>
                  </a:cubicBezTo>
                  <a:cubicBezTo>
                    <a:pt x="14000" y="492"/>
                    <a:pt x="14059" y="677"/>
                    <a:pt x="14175" y="861"/>
                  </a:cubicBezTo>
                  <a:cubicBezTo>
                    <a:pt x="14359" y="1199"/>
                    <a:pt x="14450" y="1383"/>
                    <a:pt x="14450" y="1414"/>
                  </a:cubicBezTo>
                  <a:cubicBezTo>
                    <a:pt x="14484" y="1507"/>
                    <a:pt x="14542" y="1768"/>
                    <a:pt x="14625" y="2198"/>
                  </a:cubicBezTo>
                  <a:cubicBezTo>
                    <a:pt x="14741" y="2628"/>
                    <a:pt x="14859" y="2844"/>
                    <a:pt x="14975" y="2844"/>
                  </a:cubicBezTo>
                  <a:cubicBezTo>
                    <a:pt x="15025" y="2844"/>
                    <a:pt x="15083" y="2798"/>
                    <a:pt x="15150" y="2706"/>
                  </a:cubicBezTo>
                  <a:cubicBezTo>
                    <a:pt x="15234" y="2645"/>
                    <a:pt x="15309" y="2613"/>
                    <a:pt x="15375" y="2613"/>
                  </a:cubicBezTo>
                  <a:cubicBezTo>
                    <a:pt x="15575" y="2613"/>
                    <a:pt x="15700" y="2660"/>
                    <a:pt x="15750" y="2752"/>
                  </a:cubicBezTo>
                  <a:cubicBezTo>
                    <a:pt x="15800" y="2875"/>
                    <a:pt x="15817" y="3137"/>
                    <a:pt x="15800" y="3535"/>
                  </a:cubicBezTo>
                  <a:cubicBezTo>
                    <a:pt x="15800" y="3597"/>
                    <a:pt x="15734" y="3751"/>
                    <a:pt x="15600" y="3997"/>
                  </a:cubicBezTo>
                  <a:cubicBezTo>
                    <a:pt x="15434" y="4274"/>
                    <a:pt x="15325" y="4473"/>
                    <a:pt x="15275" y="4596"/>
                  </a:cubicBezTo>
                  <a:lnTo>
                    <a:pt x="15000" y="4596"/>
                  </a:lnTo>
                  <a:cubicBezTo>
                    <a:pt x="14817" y="4596"/>
                    <a:pt x="14642" y="5197"/>
                    <a:pt x="14475" y="6396"/>
                  </a:cubicBezTo>
                  <a:cubicBezTo>
                    <a:pt x="14309" y="7410"/>
                    <a:pt x="14225" y="8087"/>
                    <a:pt x="14225" y="8425"/>
                  </a:cubicBezTo>
                  <a:cubicBezTo>
                    <a:pt x="14225" y="8640"/>
                    <a:pt x="14275" y="8871"/>
                    <a:pt x="14375" y="9117"/>
                  </a:cubicBezTo>
                  <a:cubicBezTo>
                    <a:pt x="14508" y="9301"/>
                    <a:pt x="14642" y="9394"/>
                    <a:pt x="14775" y="9394"/>
                  </a:cubicBezTo>
                  <a:cubicBezTo>
                    <a:pt x="14842" y="9394"/>
                    <a:pt x="14958" y="9348"/>
                    <a:pt x="15125" y="9255"/>
                  </a:cubicBezTo>
                  <a:cubicBezTo>
                    <a:pt x="15309" y="9163"/>
                    <a:pt x="15434" y="9117"/>
                    <a:pt x="15500" y="9117"/>
                  </a:cubicBezTo>
                  <a:cubicBezTo>
                    <a:pt x="15583" y="9117"/>
                    <a:pt x="15866" y="9455"/>
                    <a:pt x="16350" y="10131"/>
                  </a:cubicBezTo>
                  <a:cubicBezTo>
                    <a:pt x="16800" y="10838"/>
                    <a:pt x="17025" y="11269"/>
                    <a:pt x="17025" y="11423"/>
                  </a:cubicBezTo>
                  <a:cubicBezTo>
                    <a:pt x="17025" y="11515"/>
                    <a:pt x="16934" y="11607"/>
                    <a:pt x="16750" y="11700"/>
                  </a:cubicBezTo>
                  <a:cubicBezTo>
                    <a:pt x="16583" y="11822"/>
                    <a:pt x="16500" y="11992"/>
                    <a:pt x="16500" y="12206"/>
                  </a:cubicBezTo>
                  <a:cubicBezTo>
                    <a:pt x="16500" y="12268"/>
                    <a:pt x="16684" y="12422"/>
                    <a:pt x="17050" y="12668"/>
                  </a:cubicBezTo>
                  <a:cubicBezTo>
                    <a:pt x="17467" y="12914"/>
                    <a:pt x="17750" y="13375"/>
                    <a:pt x="17900" y="14052"/>
                  </a:cubicBezTo>
                  <a:cubicBezTo>
                    <a:pt x="17934" y="14175"/>
                    <a:pt x="17925" y="14406"/>
                    <a:pt x="17875" y="14743"/>
                  </a:cubicBezTo>
                  <a:cubicBezTo>
                    <a:pt x="17925" y="15113"/>
                    <a:pt x="18076" y="15297"/>
                    <a:pt x="18326" y="15297"/>
                  </a:cubicBezTo>
                  <a:cubicBezTo>
                    <a:pt x="18442" y="15297"/>
                    <a:pt x="18609" y="15359"/>
                    <a:pt x="18826" y="15481"/>
                  </a:cubicBezTo>
                  <a:cubicBezTo>
                    <a:pt x="19042" y="15636"/>
                    <a:pt x="19192" y="15711"/>
                    <a:pt x="19275" y="15711"/>
                  </a:cubicBezTo>
                  <a:cubicBezTo>
                    <a:pt x="19508" y="15711"/>
                    <a:pt x="19826" y="15359"/>
                    <a:pt x="20225" y="14651"/>
                  </a:cubicBezTo>
                  <a:cubicBezTo>
                    <a:pt x="20609" y="13975"/>
                    <a:pt x="20800" y="13436"/>
                    <a:pt x="20800" y="13038"/>
                  </a:cubicBezTo>
                  <a:cubicBezTo>
                    <a:pt x="20817" y="12914"/>
                    <a:pt x="20701" y="12637"/>
                    <a:pt x="20451" y="12206"/>
                  </a:cubicBezTo>
                  <a:cubicBezTo>
                    <a:pt x="20167" y="11715"/>
                    <a:pt x="20025" y="11408"/>
                    <a:pt x="20025" y="11284"/>
                  </a:cubicBezTo>
                  <a:cubicBezTo>
                    <a:pt x="19992" y="11007"/>
                    <a:pt x="19833" y="10792"/>
                    <a:pt x="19550" y="10639"/>
                  </a:cubicBezTo>
                  <a:cubicBezTo>
                    <a:pt x="19167" y="10547"/>
                    <a:pt x="18975" y="10485"/>
                    <a:pt x="18975" y="10454"/>
                  </a:cubicBezTo>
                  <a:cubicBezTo>
                    <a:pt x="18992" y="10238"/>
                    <a:pt x="19109" y="10116"/>
                    <a:pt x="19326" y="10085"/>
                  </a:cubicBezTo>
                  <a:cubicBezTo>
                    <a:pt x="19342" y="10085"/>
                    <a:pt x="19467" y="10085"/>
                    <a:pt x="19701" y="10085"/>
                  </a:cubicBezTo>
                  <a:cubicBezTo>
                    <a:pt x="20083" y="10116"/>
                    <a:pt x="20309" y="10316"/>
                    <a:pt x="20375" y="10685"/>
                  </a:cubicBezTo>
                  <a:cubicBezTo>
                    <a:pt x="20525" y="11330"/>
                    <a:pt x="20750" y="11900"/>
                    <a:pt x="21050" y="12391"/>
                  </a:cubicBezTo>
                  <a:cubicBezTo>
                    <a:pt x="21201" y="12607"/>
                    <a:pt x="21326" y="13084"/>
                    <a:pt x="21425" y="13821"/>
                  </a:cubicBezTo>
                  <a:cubicBezTo>
                    <a:pt x="21542" y="14437"/>
                    <a:pt x="21600" y="14882"/>
                    <a:pt x="21600" y="15159"/>
                  </a:cubicBezTo>
                  <a:cubicBezTo>
                    <a:pt x="21600" y="15405"/>
                    <a:pt x="21275" y="15850"/>
                    <a:pt x="20625" y="16496"/>
                  </a:cubicBezTo>
                  <a:cubicBezTo>
                    <a:pt x="20576" y="16496"/>
                    <a:pt x="20500" y="16481"/>
                    <a:pt x="20400" y="16449"/>
                  </a:cubicBezTo>
                  <a:cubicBezTo>
                    <a:pt x="20317" y="16326"/>
                    <a:pt x="20242" y="16265"/>
                    <a:pt x="20175" y="16265"/>
                  </a:cubicBezTo>
                  <a:cubicBezTo>
                    <a:pt x="19892" y="16234"/>
                    <a:pt x="19675" y="16404"/>
                    <a:pt x="19525" y="16773"/>
                  </a:cubicBezTo>
                  <a:cubicBezTo>
                    <a:pt x="19359" y="17172"/>
                    <a:pt x="19150" y="17419"/>
                    <a:pt x="18900" y="17511"/>
                  </a:cubicBezTo>
                  <a:cubicBezTo>
                    <a:pt x="18750" y="17572"/>
                    <a:pt x="18583" y="17925"/>
                    <a:pt x="18400" y="18571"/>
                  </a:cubicBezTo>
                  <a:cubicBezTo>
                    <a:pt x="18250" y="19216"/>
                    <a:pt x="18083" y="19524"/>
                    <a:pt x="17900" y="19494"/>
                  </a:cubicBezTo>
                  <a:cubicBezTo>
                    <a:pt x="17734" y="19494"/>
                    <a:pt x="17576" y="19063"/>
                    <a:pt x="17425" y="18203"/>
                  </a:cubicBezTo>
                  <a:cubicBezTo>
                    <a:pt x="17225" y="17372"/>
                    <a:pt x="17000" y="16957"/>
                    <a:pt x="16750" y="16957"/>
                  </a:cubicBezTo>
                  <a:cubicBezTo>
                    <a:pt x="16517" y="16957"/>
                    <a:pt x="16375" y="17294"/>
                    <a:pt x="16325" y="17972"/>
                  </a:cubicBezTo>
                  <a:cubicBezTo>
                    <a:pt x="16309" y="18309"/>
                    <a:pt x="16292" y="18710"/>
                    <a:pt x="16275" y="19170"/>
                  </a:cubicBezTo>
                  <a:cubicBezTo>
                    <a:pt x="16242" y="19263"/>
                    <a:pt x="16109" y="19524"/>
                    <a:pt x="15875" y="19954"/>
                  </a:cubicBezTo>
                  <a:cubicBezTo>
                    <a:pt x="15692" y="20293"/>
                    <a:pt x="15592" y="20569"/>
                    <a:pt x="15575" y="20785"/>
                  </a:cubicBezTo>
                  <a:lnTo>
                    <a:pt x="15075" y="20739"/>
                  </a:lnTo>
                  <a:lnTo>
                    <a:pt x="14900" y="21291"/>
                  </a:lnTo>
                  <a:cubicBezTo>
                    <a:pt x="14833" y="21476"/>
                    <a:pt x="14725" y="21569"/>
                    <a:pt x="14575" y="21569"/>
                  </a:cubicBezTo>
                  <a:cubicBezTo>
                    <a:pt x="14375" y="21569"/>
                    <a:pt x="14275" y="21261"/>
                    <a:pt x="14275" y="20647"/>
                  </a:cubicBezTo>
                  <a:cubicBezTo>
                    <a:pt x="14275" y="20493"/>
                    <a:pt x="14342" y="20323"/>
                    <a:pt x="14475" y="20138"/>
                  </a:cubicBezTo>
                  <a:cubicBezTo>
                    <a:pt x="14592" y="19985"/>
                    <a:pt x="14650" y="19800"/>
                    <a:pt x="14650" y="19586"/>
                  </a:cubicBezTo>
                  <a:cubicBezTo>
                    <a:pt x="14650" y="19401"/>
                    <a:pt x="14475" y="19032"/>
                    <a:pt x="14125" y="18479"/>
                  </a:cubicBezTo>
                  <a:cubicBezTo>
                    <a:pt x="13825" y="17925"/>
                    <a:pt x="13650" y="17649"/>
                    <a:pt x="13600" y="17649"/>
                  </a:cubicBezTo>
                  <a:cubicBezTo>
                    <a:pt x="13550" y="17649"/>
                    <a:pt x="13500" y="17711"/>
                    <a:pt x="13450" y="17833"/>
                  </a:cubicBezTo>
                  <a:close/>
                  <a:moveTo>
                    <a:pt x="13450" y="1783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6" name="AutoShape 93"/>
            <p:cNvSpPr>
              <a:spLocks/>
            </p:cNvSpPr>
            <p:nvPr/>
          </p:nvSpPr>
          <p:spPr bwMode="auto">
            <a:xfrm>
              <a:off x="7482959" y="4678295"/>
              <a:ext cx="466601" cy="209817"/>
            </a:xfrm>
            <a:custGeom>
              <a:avLst/>
              <a:gdLst/>
              <a:ahLst/>
              <a:cxnLst/>
              <a:rect l="0" t="0" r="r" b="b"/>
              <a:pathLst>
                <a:path w="21594" h="21600">
                  <a:moveTo>
                    <a:pt x="2966" y="17527"/>
                  </a:moveTo>
                  <a:lnTo>
                    <a:pt x="0" y="18241"/>
                  </a:lnTo>
                  <a:cubicBezTo>
                    <a:pt x="0" y="18017"/>
                    <a:pt x="0" y="17786"/>
                    <a:pt x="0" y="17549"/>
                  </a:cubicBezTo>
                  <a:cubicBezTo>
                    <a:pt x="0" y="17073"/>
                    <a:pt x="9" y="16793"/>
                    <a:pt x="28" y="16709"/>
                  </a:cubicBezTo>
                  <a:cubicBezTo>
                    <a:pt x="91" y="16457"/>
                    <a:pt x="211" y="16282"/>
                    <a:pt x="387" y="16184"/>
                  </a:cubicBezTo>
                  <a:cubicBezTo>
                    <a:pt x="576" y="16086"/>
                    <a:pt x="667" y="15863"/>
                    <a:pt x="661" y="15512"/>
                  </a:cubicBezTo>
                  <a:cubicBezTo>
                    <a:pt x="655" y="15359"/>
                    <a:pt x="677" y="15177"/>
                    <a:pt x="727" y="14966"/>
                  </a:cubicBezTo>
                  <a:cubicBezTo>
                    <a:pt x="772" y="14771"/>
                    <a:pt x="828" y="14596"/>
                    <a:pt x="897" y="14442"/>
                  </a:cubicBezTo>
                  <a:cubicBezTo>
                    <a:pt x="1093" y="14050"/>
                    <a:pt x="1250" y="13819"/>
                    <a:pt x="1370" y="13749"/>
                  </a:cubicBezTo>
                  <a:cubicBezTo>
                    <a:pt x="1489" y="13679"/>
                    <a:pt x="1640" y="13679"/>
                    <a:pt x="1823" y="13749"/>
                  </a:cubicBezTo>
                  <a:lnTo>
                    <a:pt x="2295" y="12657"/>
                  </a:lnTo>
                  <a:cubicBezTo>
                    <a:pt x="2497" y="12238"/>
                    <a:pt x="2701" y="11965"/>
                    <a:pt x="2909" y="11839"/>
                  </a:cubicBezTo>
                  <a:cubicBezTo>
                    <a:pt x="3079" y="11727"/>
                    <a:pt x="3161" y="11538"/>
                    <a:pt x="3155" y="11272"/>
                  </a:cubicBezTo>
                  <a:cubicBezTo>
                    <a:pt x="3155" y="11146"/>
                    <a:pt x="3167" y="11006"/>
                    <a:pt x="3193" y="10853"/>
                  </a:cubicBezTo>
                  <a:cubicBezTo>
                    <a:pt x="3212" y="10656"/>
                    <a:pt x="3237" y="10544"/>
                    <a:pt x="3268" y="10516"/>
                  </a:cubicBezTo>
                  <a:cubicBezTo>
                    <a:pt x="3312" y="10446"/>
                    <a:pt x="3378" y="10467"/>
                    <a:pt x="3467" y="10579"/>
                  </a:cubicBezTo>
                  <a:cubicBezTo>
                    <a:pt x="3479" y="10453"/>
                    <a:pt x="3495" y="10334"/>
                    <a:pt x="3514" y="10223"/>
                  </a:cubicBezTo>
                  <a:cubicBezTo>
                    <a:pt x="3551" y="9970"/>
                    <a:pt x="3599" y="9830"/>
                    <a:pt x="3656" y="9803"/>
                  </a:cubicBezTo>
                  <a:cubicBezTo>
                    <a:pt x="3719" y="9747"/>
                    <a:pt x="3775" y="9753"/>
                    <a:pt x="3826" y="9824"/>
                  </a:cubicBezTo>
                  <a:cubicBezTo>
                    <a:pt x="3876" y="9880"/>
                    <a:pt x="3904" y="9956"/>
                    <a:pt x="3910" y="10055"/>
                  </a:cubicBezTo>
                  <a:cubicBezTo>
                    <a:pt x="3923" y="10180"/>
                    <a:pt x="3955" y="10258"/>
                    <a:pt x="4005" y="10286"/>
                  </a:cubicBezTo>
                  <a:cubicBezTo>
                    <a:pt x="4049" y="10300"/>
                    <a:pt x="4093" y="10258"/>
                    <a:pt x="4137" y="10160"/>
                  </a:cubicBezTo>
                  <a:cubicBezTo>
                    <a:pt x="4156" y="10118"/>
                    <a:pt x="4200" y="9956"/>
                    <a:pt x="4269" y="9677"/>
                  </a:cubicBezTo>
                  <a:cubicBezTo>
                    <a:pt x="4320" y="9439"/>
                    <a:pt x="4367" y="9271"/>
                    <a:pt x="4411" y="9173"/>
                  </a:cubicBezTo>
                  <a:cubicBezTo>
                    <a:pt x="4487" y="9019"/>
                    <a:pt x="4572" y="8893"/>
                    <a:pt x="4666" y="8795"/>
                  </a:cubicBezTo>
                  <a:cubicBezTo>
                    <a:pt x="4767" y="8655"/>
                    <a:pt x="4836" y="8585"/>
                    <a:pt x="4874" y="8585"/>
                  </a:cubicBezTo>
                  <a:cubicBezTo>
                    <a:pt x="4899" y="8599"/>
                    <a:pt x="4928" y="8704"/>
                    <a:pt x="4959" y="8900"/>
                  </a:cubicBezTo>
                  <a:cubicBezTo>
                    <a:pt x="4990" y="9040"/>
                    <a:pt x="5025" y="9068"/>
                    <a:pt x="5063" y="8984"/>
                  </a:cubicBezTo>
                  <a:cubicBezTo>
                    <a:pt x="5113" y="8900"/>
                    <a:pt x="5176" y="8683"/>
                    <a:pt x="5252" y="8333"/>
                  </a:cubicBezTo>
                  <a:cubicBezTo>
                    <a:pt x="5296" y="8109"/>
                    <a:pt x="5331" y="7928"/>
                    <a:pt x="5356" y="7788"/>
                  </a:cubicBezTo>
                  <a:cubicBezTo>
                    <a:pt x="5393" y="7535"/>
                    <a:pt x="5438" y="7375"/>
                    <a:pt x="5488" y="7305"/>
                  </a:cubicBezTo>
                  <a:cubicBezTo>
                    <a:pt x="5582" y="7193"/>
                    <a:pt x="5686" y="7046"/>
                    <a:pt x="5800" y="6864"/>
                  </a:cubicBezTo>
                  <a:lnTo>
                    <a:pt x="5866" y="6780"/>
                  </a:lnTo>
                  <a:lnTo>
                    <a:pt x="5847" y="5080"/>
                  </a:lnTo>
                  <a:lnTo>
                    <a:pt x="7538" y="4786"/>
                  </a:lnTo>
                  <a:cubicBezTo>
                    <a:pt x="8923" y="4422"/>
                    <a:pt x="10284" y="3988"/>
                    <a:pt x="11618" y="3485"/>
                  </a:cubicBezTo>
                  <a:cubicBezTo>
                    <a:pt x="13212" y="2855"/>
                    <a:pt x="14969" y="2127"/>
                    <a:pt x="16890" y="1301"/>
                  </a:cubicBezTo>
                  <a:cubicBezTo>
                    <a:pt x="18798" y="518"/>
                    <a:pt x="19808" y="84"/>
                    <a:pt x="19922" y="0"/>
                  </a:cubicBezTo>
                  <a:cubicBezTo>
                    <a:pt x="19940" y="84"/>
                    <a:pt x="19960" y="175"/>
                    <a:pt x="19978" y="273"/>
                  </a:cubicBezTo>
                  <a:cubicBezTo>
                    <a:pt x="20085" y="679"/>
                    <a:pt x="20151" y="959"/>
                    <a:pt x="20176" y="1113"/>
                  </a:cubicBezTo>
                  <a:cubicBezTo>
                    <a:pt x="20328" y="1868"/>
                    <a:pt x="20630" y="2932"/>
                    <a:pt x="21083" y="4303"/>
                  </a:cubicBezTo>
                  <a:cubicBezTo>
                    <a:pt x="21178" y="4471"/>
                    <a:pt x="21282" y="4912"/>
                    <a:pt x="21395" y="5626"/>
                  </a:cubicBezTo>
                  <a:cubicBezTo>
                    <a:pt x="21534" y="6437"/>
                    <a:pt x="21600" y="7137"/>
                    <a:pt x="21593" y="7724"/>
                  </a:cubicBezTo>
                  <a:cubicBezTo>
                    <a:pt x="21587" y="8088"/>
                    <a:pt x="21556" y="8424"/>
                    <a:pt x="21499" y="8732"/>
                  </a:cubicBezTo>
                  <a:cubicBezTo>
                    <a:pt x="21430" y="9138"/>
                    <a:pt x="21332" y="9299"/>
                    <a:pt x="21206" y="9215"/>
                  </a:cubicBezTo>
                  <a:cubicBezTo>
                    <a:pt x="21187" y="9103"/>
                    <a:pt x="21178" y="9033"/>
                    <a:pt x="21178" y="9005"/>
                  </a:cubicBezTo>
                  <a:lnTo>
                    <a:pt x="21338" y="8438"/>
                  </a:lnTo>
                  <a:cubicBezTo>
                    <a:pt x="21433" y="8060"/>
                    <a:pt x="21480" y="7731"/>
                    <a:pt x="21480" y="7452"/>
                  </a:cubicBezTo>
                  <a:cubicBezTo>
                    <a:pt x="21486" y="7172"/>
                    <a:pt x="21458" y="6808"/>
                    <a:pt x="21395" y="6360"/>
                  </a:cubicBezTo>
                  <a:cubicBezTo>
                    <a:pt x="21345" y="5968"/>
                    <a:pt x="21291" y="5668"/>
                    <a:pt x="21235" y="5458"/>
                  </a:cubicBezTo>
                  <a:cubicBezTo>
                    <a:pt x="21209" y="5388"/>
                    <a:pt x="21178" y="5240"/>
                    <a:pt x="21140" y="5017"/>
                  </a:cubicBezTo>
                  <a:cubicBezTo>
                    <a:pt x="21109" y="4807"/>
                    <a:pt x="21074" y="4653"/>
                    <a:pt x="21036" y="4555"/>
                  </a:cubicBezTo>
                  <a:cubicBezTo>
                    <a:pt x="21011" y="4485"/>
                    <a:pt x="20945" y="4380"/>
                    <a:pt x="20838" y="4240"/>
                  </a:cubicBezTo>
                  <a:cubicBezTo>
                    <a:pt x="20737" y="4086"/>
                    <a:pt x="20683" y="3981"/>
                    <a:pt x="20677" y="3926"/>
                  </a:cubicBezTo>
                  <a:cubicBezTo>
                    <a:pt x="20488" y="3142"/>
                    <a:pt x="20353" y="2519"/>
                    <a:pt x="20271" y="2057"/>
                  </a:cubicBezTo>
                  <a:cubicBezTo>
                    <a:pt x="20258" y="1973"/>
                    <a:pt x="20214" y="1833"/>
                    <a:pt x="20139" y="1637"/>
                  </a:cubicBezTo>
                  <a:cubicBezTo>
                    <a:pt x="20057" y="1413"/>
                    <a:pt x="20007" y="1238"/>
                    <a:pt x="19988" y="1113"/>
                  </a:cubicBezTo>
                  <a:cubicBezTo>
                    <a:pt x="19975" y="987"/>
                    <a:pt x="19912" y="805"/>
                    <a:pt x="19799" y="567"/>
                  </a:cubicBezTo>
                  <a:cubicBezTo>
                    <a:pt x="19692" y="329"/>
                    <a:pt x="19626" y="217"/>
                    <a:pt x="19600" y="231"/>
                  </a:cubicBezTo>
                  <a:cubicBezTo>
                    <a:pt x="19575" y="231"/>
                    <a:pt x="19553" y="273"/>
                    <a:pt x="19534" y="357"/>
                  </a:cubicBezTo>
                  <a:cubicBezTo>
                    <a:pt x="19515" y="427"/>
                    <a:pt x="19506" y="483"/>
                    <a:pt x="19506" y="525"/>
                  </a:cubicBezTo>
                  <a:lnTo>
                    <a:pt x="19846" y="1281"/>
                  </a:lnTo>
                  <a:cubicBezTo>
                    <a:pt x="20092" y="1924"/>
                    <a:pt x="20255" y="2519"/>
                    <a:pt x="20337" y="3065"/>
                  </a:cubicBezTo>
                  <a:lnTo>
                    <a:pt x="20337" y="3296"/>
                  </a:lnTo>
                  <a:lnTo>
                    <a:pt x="20271" y="3317"/>
                  </a:lnTo>
                  <a:cubicBezTo>
                    <a:pt x="20246" y="3317"/>
                    <a:pt x="20211" y="3219"/>
                    <a:pt x="20167" y="3023"/>
                  </a:cubicBezTo>
                  <a:cubicBezTo>
                    <a:pt x="20123" y="2841"/>
                    <a:pt x="20076" y="2743"/>
                    <a:pt x="20026" y="2729"/>
                  </a:cubicBezTo>
                  <a:cubicBezTo>
                    <a:pt x="19981" y="2729"/>
                    <a:pt x="19940" y="2771"/>
                    <a:pt x="19903" y="2855"/>
                  </a:cubicBezTo>
                  <a:cubicBezTo>
                    <a:pt x="19871" y="2911"/>
                    <a:pt x="19821" y="2938"/>
                    <a:pt x="19751" y="2938"/>
                  </a:cubicBezTo>
                  <a:cubicBezTo>
                    <a:pt x="19689" y="2925"/>
                    <a:pt x="19626" y="2862"/>
                    <a:pt x="19562" y="2750"/>
                  </a:cubicBezTo>
                  <a:cubicBezTo>
                    <a:pt x="19493" y="2596"/>
                    <a:pt x="19440" y="2484"/>
                    <a:pt x="19402" y="2414"/>
                  </a:cubicBezTo>
                  <a:lnTo>
                    <a:pt x="19346" y="2414"/>
                  </a:lnTo>
                  <a:lnTo>
                    <a:pt x="19355" y="2603"/>
                  </a:lnTo>
                  <a:cubicBezTo>
                    <a:pt x="19361" y="2631"/>
                    <a:pt x="19405" y="2680"/>
                    <a:pt x="19487" y="2750"/>
                  </a:cubicBezTo>
                  <a:cubicBezTo>
                    <a:pt x="19544" y="2820"/>
                    <a:pt x="19572" y="2897"/>
                    <a:pt x="19572" y="2981"/>
                  </a:cubicBezTo>
                  <a:cubicBezTo>
                    <a:pt x="19572" y="3037"/>
                    <a:pt x="19455" y="3177"/>
                    <a:pt x="19223" y="3401"/>
                  </a:cubicBezTo>
                  <a:cubicBezTo>
                    <a:pt x="18971" y="3652"/>
                    <a:pt x="18841" y="3778"/>
                    <a:pt x="18835" y="3778"/>
                  </a:cubicBezTo>
                  <a:cubicBezTo>
                    <a:pt x="18798" y="3848"/>
                    <a:pt x="18760" y="3988"/>
                    <a:pt x="18722" y="4198"/>
                  </a:cubicBezTo>
                  <a:cubicBezTo>
                    <a:pt x="18697" y="4352"/>
                    <a:pt x="18625" y="4471"/>
                    <a:pt x="18505" y="4555"/>
                  </a:cubicBezTo>
                  <a:cubicBezTo>
                    <a:pt x="18391" y="4583"/>
                    <a:pt x="18313" y="4611"/>
                    <a:pt x="18268" y="4639"/>
                  </a:cubicBezTo>
                  <a:cubicBezTo>
                    <a:pt x="18180" y="4667"/>
                    <a:pt x="18136" y="4758"/>
                    <a:pt x="18136" y="4912"/>
                  </a:cubicBezTo>
                  <a:cubicBezTo>
                    <a:pt x="18136" y="5052"/>
                    <a:pt x="18199" y="5129"/>
                    <a:pt x="18325" y="5143"/>
                  </a:cubicBezTo>
                  <a:lnTo>
                    <a:pt x="18325" y="5184"/>
                  </a:lnTo>
                  <a:cubicBezTo>
                    <a:pt x="18332" y="5240"/>
                    <a:pt x="18369" y="5248"/>
                    <a:pt x="18439" y="5206"/>
                  </a:cubicBezTo>
                  <a:cubicBezTo>
                    <a:pt x="18527" y="5192"/>
                    <a:pt x="18618" y="5073"/>
                    <a:pt x="18712" y="4849"/>
                  </a:cubicBezTo>
                  <a:cubicBezTo>
                    <a:pt x="18775" y="4695"/>
                    <a:pt x="18813" y="4604"/>
                    <a:pt x="18826" y="4576"/>
                  </a:cubicBezTo>
                  <a:cubicBezTo>
                    <a:pt x="18870" y="4506"/>
                    <a:pt x="18923" y="4485"/>
                    <a:pt x="18987" y="4513"/>
                  </a:cubicBezTo>
                  <a:cubicBezTo>
                    <a:pt x="19012" y="4513"/>
                    <a:pt x="19043" y="4569"/>
                    <a:pt x="19081" y="4681"/>
                  </a:cubicBezTo>
                  <a:cubicBezTo>
                    <a:pt x="19112" y="4793"/>
                    <a:pt x="19150" y="4849"/>
                    <a:pt x="19194" y="4849"/>
                  </a:cubicBezTo>
                  <a:cubicBezTo>
                    <a:pt x="19226" y="4849"/>
                    <a:pt x="19267" y="4723"/>
                    <a:pt x="19317" y="4471"/>
                  </a:cubicBezTo>
                  <a:cubicBezTo>
                    <a:pt x="19355" y="4191"/>
                    <a:pt x="19478" y="4051"/>
                    <a:pt x="19685" y="4051"/>
                  </a:cubicBezTo>
                  <a:cubicBezTo>
                    <a:pt x="19818" y="4051"/>
                    <a:pt x="19890" y="4142"/>
                    <a:pt x="19903" y="4324"/>
                  </a:cubicBezTo>
                  <a:cubicBezTo>
                    <a:pt x="19909" y="4758"/>
                    <a:pt x="19934" y="5087"/>
                    <a:pt x="19978" y="5311"/>
                  </a:cubicBezTo>
                  <a:lnTo>
                    <a:pt x="19969" y="5436"/>
                  </a:lnTo>
                  <a:cubicBezTo>
                    <a:pt x="19931" y="5436"/>
                    <a:pt x="19900" y="5444"/>
                    <a:pt x="19874" y="5458"/>
                  </a:cubicBezTo>
                  <a:cubicBezTo>
                    <a:pt x="19812" y="5513"/>
                    <a:pt x="19780" y="5584"/>
                    <a:pt x="19780" y="5668"/>
                  </a:cubicBezTo>
                  <a:cubicBezTo>
                    <a:pt x="19780" y="5724"/>
                    <a:pt x="19805" y="5765"/>
                    <a:pt x="19855" y="5793"/>
                  </a:cubicBezTo>
                  <a:cubicBezTo>
                    <a:pt x="19912" y="5807"/>
                    <a:pt x="19940" y="5863"/>
                    <a:pt x="19940" y="5961"/>
                  </a:cubicBezTo>
                  <a:cubicBezTo>
                    <a:pt x="19940" y="6031"/>
                    <a:pt x="19922" y="6150"/>
                    <a:pt x="19884" y="6318"/>
                  </a:cubicBezTo>
                  <a:cubicBezTo>
                    <a:pt x="19884" y="6430"/>
                    <a:pt x="19922" y="6500"/>
                    <a:pt x="19997" y="6528"/>
                  </a:cubicBezTo>
                  <a:cubicBezTo>
                    <a:pt x="20060" y="6528"/>
                    <a:pt x="20095" y="6381"/>
                    <a:pt x="20101" y="6087"/>
                  </a:cubicBezTo>
                  <a:cubicBezTo>
                    <a:pt x="20101" y="5821"/>
                    <a:pt x="20095" y="5591"/>
                    <a:pt x="20082" y="5394"/>
                  </a:cubicBezTo>
                  <a:cubicBezTo>
                    <a:pt x="20057" y="5212"/>
                    <a:pt x="20044" y="5052"/>
                    <a:pt x="20044" y="4912"/>
                  </a:cubicBezTo>
                  <a:cubicBezTo>
                    <a:pt x="20044" y="4758"/>
                    <a:pt x="20079" y="4625"/>
                    <a:pt x="20148" y="4513"/>
                  </a:cubicBezTo>
                  <a:cubicBezTo>
                    <a:pt x="20186" y="4443"/>
                    <a:pt x="20255" y="4331"/>
                    <a:pt x="20356" y="4177"/>
                  </a:cubicBezTo>
                  <a:cubicBezTo>
                    <a:pt x="20381" y="4303"/>
                    <a:pt x="20457" y="4653"/>
                    <a:pt x="20583" y="5226"/>
                  </a:cubicBezTo>
                  <a:cubicBezTo>
                    <a:pt x="20703" y="5787"/>
                    <a:pt x="20759" y="6158"/>
                    <a:pt x="20753" y="6339"/>
                  </a:cubicBezTo>
                  <a:cubicBezTo>
                    <a:pt x="20753" y="6507"/>
                    <a:pt x="20706" y="6633"/>
                    <a:pt x="20611" y="6717"/>
                  </a:cubicBezTo>
                  <a:cubicBezTo>
                    <a:pt x="20542" y="6773"/>
                    <a:pt x="20469" y="6801"/>
                    <a:pt x="20394" y="6801"/>
                  </a:cubicBezTo>
                  <a:cubicBezTo>
                    <a:pt x="20369" y="6941"/>
                    <a:pt x="20347" y="7151"/>
                    <a:pt x="20328" y="7431"/>
                  </a:cubicBezTo>
                  <a:cubicBezTo>
                    <a:pt x="20296" y="7711"/>
                    <a:pt x="20243" y="7928"/>
                    <a:pt x="20167" y="8081"/>
                  </a:cubicBezTo>
                  <a:cubicBezTo>
                    <a:pt x="20142" y="8123"/>
                    <a:pt x="20120" y="8221"/>
                    <a:pt x="20101" y="8375"/>
                  </a:cubicBezTo>
                  <a:cubicBezTo>
                    <a:pt x="20089" y="8516"/>
                    <a:pt x="20048" y="8613"/>
                    <a:pt x="19978" y="8669"/>
                  </a:cubicBezTo>
                  <a:cubicBezTo>
                    <a:pt x="19896" y="8725"/>
                    <a:pt x="19843" y="8767"/>
                    <a:pt x="19818" y="8795"/>
                  </a:cubicBezTo>
                  <a:cubicBezTo>
                    <a:pt x="19780" y="8823"/>
                    <a:pt x="19717" y="8837"/>
                    <a:pt x="19629" y="8837"/>
                  </a:cubicBezTo>
                  <a:cubicBezTo>
                    <a:pt x="19528" y="8837"/>
                    <a:pt x="19412" y="8788"/>
                    <a:pt x="19279" y="8690"/>
                  </a:cubicBezTo>
                  <a:cubicBezTo>
                    <a:pt x="19160" y="8592"/>
                    <a:pt x="19071" y="8571"/>
                    <a:pt x="19015" y="8627"/>
                  </a:cubicBezTo>
                  <a:cubicBezTo>
                    <a:pt x="18933" y="8669"/>
                    <a:pt x="18870" y="8592"/>
                    <a:pt x="18826" y="8396"/>
                  </a:cubicBezTo>
                  <a:cubicBezTo>
                    <a:pt x="18794" y="8172"/>
                    <a:pt x="18769" y="8025"/>
                    <a:pt x="18750" y="7955"/>
                  </a:cubicBezTo>
                  <a:lnTo>
                    <a:pt x="18675" y="7955"/>
                  </a:lnTo>
                  <a:lnTo>
                    <a:pt x="18665" y="8144"/>
                  </a:lnTo>
                  <a:cubicBezTo>
                    <a:pt x="18665" y="8228"/>
                    <a:pt x="18678" y="8340"/>
                    <a:pt x="18703" y="8480"/>
                  </a:cubicBezTo>
                  <a:cubicBezTo>
                    <a:pt x="18722" y="8536"/>
                    <a:pt x="18744" y="8641"/>
                    <a:pt x="18769" y="8795"/>
                  </a:cubicBezTo>
                  <a:lnTo>
                    <a:pt x="18580" y="8837"/>
                  </a:lnTo>
                  <a:lnTo>
                    <a:pt x="17806" y="8564"/>
                  </a:lnTo>
                  <a:cubicBezTo>
                    <a:pt x="17793" y="8578"/>
                    <a:pt x="17781" y="8578"/>
                    <a:pt x="17768" y="8564"/>
                  </a:cubicBezTo>
                  <a:cubicBezTo>
                    <a:pt x="17856" y="8704"/>
                    <a:pt x="18149" y="8921"/>
                    <a:pt x="18646" y="9215"/>
                  </a:cubicBezTo>
                  <a:cubicBezTo>
                    <a:pt x="19043" y="9481"/>
                    <a:pt x="19239" y="9712"/>
                    <a:pt x="19232" y="9908"/>
                  </a:cubicBezTo>
                  <a:cubicBezTo>
                    <a:pt x="19232" y="10173"/>
                    <a:pt x="19182" y="10292"/>
                    <a:pt x="19081" y="10265"/>
                  </a:cubicBezTo>
                  <a:cubicBezTo>
                    <a:pt x="18968" y="10265"/>
                    <a:pt x="18911" y="10334"/>
                    <a:pt x="18911" y="10474"/>
                  </a:cubicBezTo>
                  <a:cubicBezTo>
                    <a:pt x="18905" y="10530"/>
                    <a:pt x="18914" y="10593"/>
                    <a:pt x="18939" y="10663"/>
                  </a:cubicBezTo>
                  <a:cubicBezTo>
                    <a:pt x="18964" y="10720"/>
                    <a:pt x="18977" y="10775"/>
                    <a:pt x="18977" y="10832"/>
                  </a:cubicBezTo>
                  <a:cubicBezTo>
                    <a:pt x="18971" y="11055"/>
                    <a:pt x="18898" y="11286"/>
                    <a:pt x="18760" y="11524"/>
                  </a:cubicBezTo>
                  <a:cubicBezTo>
                    <a:pt x="18627" y="11748"/>
                    <a:pt x="18533" y="11860"/>
                    <a:pt x="18476" y="11860"/>
                  </a:cubicBezTo>
                  <a:cubicBezTo>
                    <a:pt x="18401" y="11846"/>
                    <a:pt x="18322" y="11762"/>
                    <a:pt x="18240" y="11608"/>
                  </a:cubicBezTo>
                  <a:lnTo>
                    <a:pt x="18061" y="11272"/>
                  </a:lnTo>
                  <a:lnTo>
                    <a:pt x="17938" y="11272"/>
                  </a:lnTo>
                  <a:cubicBezTo>
                    <a:pt x="17925" y="11370"/>
                    <a:pt x="18007" y="11566"/>
                    <a:pt x="18184" y="11860"/>
                  </a:cubicBezTo>
                  <a:cubicBezTo>
                    <a:pt x="18354" y="12196"/>
                    <a:pt x="18470" y="12371"/>
                    <a:pt x="18533" y="12385"/>
                  </a:cubicBezTo>
                  <a:cubicBezTo>
                    <a:pt x="18646" y="12385"/>
                    <a:pt x="18753" y="12315"/>
                    <a:pt x="18854" y="12174"/>
                  </a:cubicBezTo>
                  <a:cubicBezTo>
                    <a:pt x="18993" y="11965"/>
                    <a:pt x="19078" y="11853"/>
                    <a:pt x="19109" y="11839"/>
                  </a:cubicBezTo>
                  <a:cubicBezTo>
                    <a:pt x="19166" y="11783"/>
                    <a:pt x="19219" y="11629"/>
                    <a:pt x="19270" y="11377"/>
                  </a:cubicBezTo>
                  <a:cubicBezTo>
                    <a:pt x="19320" y="11125"/>
                    <a:pt x="19364" y="10999"/>
                    <a:pt x="19402" y="10999"/>
                  </a:cubicBezTo>
                  <a:cubicBezTo>
                    <a:pt x="19446" y="10999"/>
                    <a:pt x="19459" y="11223"/>
                    <a:pt x="19440" y="11671"/>
                  </a:cubicBezTo>
                  <a:lnTo>
                    <a:pt x="19534" y="11671"/>
                  </a:lnTo>
                  <a:cubicBezTo>
                    <a:pt x="19572" y="11629"/>
                    <a:pt x="19607" y="11531"/>
                    <a:pt x="19638" y="11377"/>
                  </a:cubicBezTo>
                  <a:cubicBezTo>
                    <a:pt x="19651" y="11293"/>
                    <a:pt x="19695" y="11251"/>
                    <a:pt x="19771" y="11251"/>
                  </a:cubicBezTo>
                  <a:cubicBezTo>
                    <a:pt x="19789" y="11251"/>
                    <a:pt x="19808" y="11279"/>
                    <a:pt x="19827" y="11335"/>
                  </a:cubicBezTo>
                  <a:cubicBezTo>
                    <a:pt x="19840" y="11391"/>
                    <a:pt x="19843" y="11440"/>
                    <a:pt x="19837" y="11482"/>
                  </a:cubicBezTo>
                  <a:cubicBezTo>
                    <a:pt x="19837" y="11608"/>
                    <a:pt x="19818" y="11769"/>
                    <a:pt x="19780" y="11965"/>
                  </a:cubicBezTo>
                  <a:cubicBezTo>
                    <a:pt x="19742" y="12161"/>
                    <a:pt x="19689" y="12350"/>
                    <a:pt x="19619" y="12532"/>
                  </a:cubicBezTo>
                  <a:cubicBezTo>
                    <a:pt x="19594" y="12588"/>
                    <a:pt x="19556" y="12755"/>
                    <a:pt x="19506" y="13036"/>
                  </a:cubicBezTo>
                  <a:cubicBezTo>
                    <a:pt x="19455" y="13259"/>
                    <a:pt x="19402" y="13399"/>
                    <a:pt x="19346" y="13455"/>
                  </a:cubicBezTo>
                  <a:cubicBezTo>
                    <a:pt x="19264" y="13343"/>
                    <a:pt x="19207" y="13259"/>
                    <a:pt x="19175" y="13203"/>
                  </a:cubicBezTo>
                  <a:lnTo>
                    <a:pt x="19109" y="13203"/>
                  </a:lnTo>
                  <a:cubicBezTo>
                    <a:pt x="19103" y="13273"/>
                    <a:pt x="19097" y="13371"/>
                    <a:pt x="19090" y="13497"/>
                  </a:cubicBezTo>
                  <a:cubicBezTo>
                    <a:pt x="19090" y="13567"/>
                    <a:pt x="19075" y="13602"/>
                    <a:pt x="19043" y="13602"/>
                  </a:cubicBezTo>
                  <a:cubicBezTo>
                    <a:pt x="18999" y="13602"/>
                    <a:pt x="18964" y="13539"/>
                    <a:pt x="18939" y="13413"/>
                  </a:cubicBezTo>
                  <a:cubicBezTo>
                    <a:pt x="18914" y="13259"/>
                    <a:pt x="18882" y="13183"/>
                    <a:pt x="18845" y="13183"/>
                  </a:cubicBezTo>
                  <a:cubicBezTo>
                    <a:pt x="18807" y="13169"/>
                    <a:pt x="18782" y="13183"/>
                    <a:pt x="18769" y="13224"/>
                  </a:cubicBezTo>
                  <a:cubicBezTo>
                    <a:pt x="18750" y="13322"/>
                    <a:pt x="18728" y="13420"/>
                    <a:pt x="18703" y="13518"/>
                  </a:cubicBezTo>
                  <a:cubicBezTo>
                    <a:pt x="18703" y="13532"/>
                    <a:pt x="18747" y="13595"/>
                    <a:pt x="18835" y="13707"/>
                  </a:cubicBezTo>
                  <a:cubicBezTo>
                    <a:pt x="18911" y="13819"/>
                    <a:pt x="18948" y="13910"/>
                    <a:pt x="18948" y="13980"/>
                  </a:cubicBezTo>
                  <a:cubicBezTo>
                    <a:pt x="18942" y="14106"/>
                    <a:pt x="18895" y="14204"/>
                    <a:pt x="18807" y="14274"/>
                  </a:cubicBezTo>
                  <a:cubicBezTo>
                    <a:pt x="18732" y="14344"/>
                    <a:pt x="18668" y="14379"/>
                    <a:pt x="18618" y="14379"/>
                  </a:cubicBezTo>
                  <a:cubicBezTo>
                    <a:pt x="18523" y="14309"/>
                    <a:pt x="18470" y="14274"/>
                    <a:pt x="18457" y="14274"/>
                  </a:cubicBezTo>
                  <a:cubicBezTo>
                    <a:pt x="18439" y="14260"/>
                    <a:pt x="18404" y="14316"/>
                    <a:pt x="18354" y="14442"/>
                  </a:cubicBezTo>
                  <a:cubicBezTo>
                    <a:pt x="18297" y="14540"/>
                    <a:pt x="18243" y="14589"/>
                    <a:pt x="18193" y="14589"/>
                  </a:cubicBezTo>
                  <a:cubicBezTo>
                    <a:pt x="18086" y="14575"/>
                    <a:pt x="18020" y="14484"/>
                    <a:pt x="17995" y="14316"/>
                  </a:cubicBezTo>
                  <a:cubicBezTo>
                    <a:pt x="17963" y="14190"/>
                    <a:pt x="17929" y="14134"/>
                    <a:pt x="17891" y="14148"/>
                  </a:cubicBezTo>
                  <a:cubicBezTo>
                    <a:pt x="17847" y="14148"/>
                    <a:pt x="17781" y="14372"/>
                    <a:pt x="17692" y="14820"/>
                  </a:cubicBezTo>
                  <a:cubicBezTo>
                    <a:pt x="17623" y="15282"/>
                    <a:pt x="17529" y="15512"/>
                    <a:pt x="17409" y="15512"/>
                  </a:cubicBezTo>
                  <a:cubicBezTo>
                    <a:pt x="17377" y="15512"/>
                    <a:pt x="17359" y="15443"/>
                    <a:pt x="17352" y="15302"/>
                  </a:cubicBezTo>
                  <a:lnTo>
                    <a:pt x="17343" y="15008"/>
                  </a:lnTo>
                  <a:lnTo>
                    <a:pt x="17277" y="14987"/>
                  </a:lnTo>
                  <a:cubicBezTo>
                    <a:pt x="17233" y="15099"/>
                    <a:pt x="17211" y="15197"/>
                    <a:pt x="17211" y="15282"/>
                  </a:cubicBezTo>
                  <a:cubicBezTo>
                    <a:pt x="17204" y="15561"/>
                    <a:pt x="17245" y="15722"/>
                    <a:pt x="17333" y="15764"/>
                  </a:cubicBezTo>
                  <a:cubicBezTo>
                    <a:pt x="17422" y="15792"/>
                    <a:pt x="17466" y="15863"/>
                    <a:pt x="17466" y="15975"/>
                  </a:cubicBezTo>
                  <a:cubicBezTo>
                    <a:pt x="17466" y="16254"/>
                    <a:pt x="17352" y="16541"/>
                    <a:pt x="17126" y="16835"/>
                  </a:cubicBezTo>
                  <a:cubicBezTo>
                    <a:pt x="16830" y="17212"/>
                    <a:pt x="16644" y="17500"/>
                    <a:pt x="16568" y="17696"/>
                  </a:cubicBezTo>
                  <a:cubicBezTo>
                    <a:pt x="16486" y="17905"/>
                    <a:pt x="16411" y="18353"/>
                    <a:pt x="16342" y="19039"/>
                  </a:cubicBezTo>
                  <a:cubicBezTo>
                    <a:pt x="16279" y="19599"/>
                    <a:pt x="16244" y="19949"/>
                    <a:pt x="16238" y="20089"/>
                  </a:cubicBezTo>
                  <a:cubicBezTo>
                    <a:pt x="16238" y="20214"/>
                    <a:pt x="16241" y="20333"/>
                    <a:pt x="16247" y="20445"/>
                  </a:cubicBezTo>
                  <a:cubicBezTo>
                    <a:pt x="16247" y="20669"/>
                    <a:pt x="16247" y="20788"/>
                    <a:pt x="16247" y="20802"/>
                  </a:cubicBezTo>
                  <a:cubicBezTo>
                    <a:pt x="15945" y="20872"/>
                    <a:pt x="15703" y="20949"/>
                    <a:pt x="15520" y="21033"/>
                  </a:cubicBezTo>
                  <a:cubicBezTo>
                    <a:pt x="15237" y="21131"/>
                    <a:pt x="15003" y="21320"/>
                    <a:pt x="14821" y="21600"/>
                  </a:cubicBezTo>
                  <a:lnTo>
                    <a:pt x="11600" y="15911"/>
                  </a:lnTo>
                  <a:lnTo>
                    <a:pt x="9040" y="16898"/>
                  </a:lnTo>
                  <a:cubicBezTo>
                    <a:pt x="8970" y="16940"/>
                    <a:pt x="8914" y="16919"/>
                    <a:pt x="8870" y="16835"/>
                  </a:cubicBezTo>
                  <a:cubicBezTo>
                    <a:pt x="8832" y="16765"/>
                    <a:pt x="8813" y="16674"/>
                    <a:pt x="8813" y="16562"/>
                  </a:cubicBezTo>
                  <a:cubicBezTo>
                    <a:pt x="8819" y="16464"/>
                    <a:pt x="8801" y="16317"/>
                    <a:pt x="8756" y="16121"/>
                  </a:cubicBezTo>
                  <a:cubicBezTo>
                    <a:pt x="8693" y="15813"/>
                    <a:pt x="8659" y="15645"/>
                    <a:pt x="8652" y="15617"/>
                  </a:cubicBezTo>
                  <a:cubicBezTo>
                    <a:pt x="8627" y="15478"/>
                    <a:pt x="8574" y="15373"/>
                    <a:pt x="8492" y="15302"/>
                  </a:cubicBezTo>
                  <a:cubicBezTo>
                    <a:pt x="8423" y="15261"/>
                    <a:pt x="8382" y="15225"/>
                    <a:pt x="8369" y="15197"/>
                  </a:cubicBezTo>
                  <a:cubicBezTo>
                    <a:pt x="8331" y="15113"/>
                    <a:pt x="8265" y="15030"/>
                    <a:pt x="8171" y="14946"/>
                  </a:cubicBezTo>
                  <a:cubicBezTo>
                    <a:pt x="8051" y="14834"/>
                    <a:pt x="7957" y="14778"/>
                    <a:pt x="7887" y="14778"/>
                  </a:cubicBezTo>
                  <a:cubicBezTo>
                    <a:pt x="7799" y="14764"/>
                    <a:pt x="7377" y="14820"/>
                    <a:pt x="6621" y="14946"/>
                  </a:cubicBezTo>
                  <a:cubicBezTo>
                    <a:pt x="5872" y="15072"/>
                    <a:pt x="5416" y="15149"/>
                    <a:pt x="5252" y="15177"/>
                  </a:cubicBezTo>
                  <a:cubicBezTo>
                    <a:pt x="5126" y="15204"/>
                    <a:pt x="4994" y="15289"/>
                    <a:pt x="4855" y="15428"/>
                  </a:cubicBezTo>
                  <a:cubicBezTo>
                    <a:pt x="4685" y="15610"/>
                    <a:pt x="4550" y="15743"/>
                    <a:pt x="4449" y="15827"/>
                  </a:cubicBezTo>
                  <a:cubicBezTo>
                    <a:pt x="4336" y="15939"/>
                    <a:pt x="4194" y="16107"/>
                    <a:pt x="4024" y="16331"/>
                  </a:cubicBezTo>
                  <a:cubicBezTo>
                    <a:pt x="3854" y="16569"/>
                    <a:pt x="3719" y="16730"/>
                    <a:pt x="3618" y="16814"/>
                  </a:cubicBezTo>
                  <a:cubicBezTo>
                    <a:pt x="3492" y="16954"/>
                    <a:pt x="3350" y="17122"/>
                    <a:pt x="3193" y="17317"/>
                  </a:cubicBezTo>
                  <a:lnTo>
                    <a:pt x="3004" y="17549"/>
                  </a:lnTo>
                  <a:cubicBezTo>
                    <a:pt x="3004" y="17549"/>
                    <a:pt x="2966" y="17527"/>
                    <a:pt x="2966" y="17527"/>
                  </a:cubicBezTo>
                  <a:close/>
                  <a:moveTo>
                    <a:pt x="2966" y="1752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7" name="AutoShape 94"/>
            <p:cNvSpPr>
              <a:spLocks/>
            </p:cNvSpPr>
            <p:nvPr/>
          </p:nvSpPr>
          <p:spPr bwMode="auto">
            <a:xfrm>
              <a:off x="7274674" y="4862077"/>
              <a:ext cx="200118" cy="336933"/>
            </a:xfrm>
            <a:custGeom>
              <a:avLst/>
              <a:gdLst/>
              <a:ahLst/>
              <a:cxnLst/>
              <a:rect l="0" t="0" r="r" b="b"/>
              <a:pathLst>
                <a:path w="21557" h="21600">
                  <a:moveTo>
                    <a:pt x="15033" y="0"/>
                  </a:moveTo>
                  <a:lnTo>
                    <a:pt x="18504" y="7683"/>
                  </a:lnTo>
                  <a:cubicBezTo>
                    <a:pt x="19207" y="9286"/>
                    <a:pt x="19668" y="10166"/>
                    <a:pt x="19887" y="10323"/>
                  </a:cubicBezTo>
                  <a:lnTo>
                    <a:pt x="20371" y="10598"/>
                  </a:lnTo>
                  <a:cubicBezTo>
                    <a:pt x="20708" y="10807"/>
                    <a:pt x="20861" y="10989"/>
                    <a:pt x="20832" y="11146"/>
                  </a:cubicBezTo>
                  <a:cubicBezTo>
                    <a:pt x="20759" y="11399"/>
                    <a:pt x="20854" y="11573"/>
                    <a:pt x="21118" y="11669"/>
                  </a:cubicBezTo>
                  <a:cubicBezTo>
                    <a:pt x="21235" y="11712"/>
                    <a:pt x="21271" y="11760"/>
                    <a:pt x="21228" y="11813"/>
                  </a:cubicBezTo>
                  <a:cubicBezTo>
                    <a:pt x="21213" y="11900"/>
                    <a:pt x="21095" y="11987"/>
                    <a:pt x="20876" y="12074"/>
                  </a:cubicBezTo>
                  <a:cubicBezTo>
                    <a:pt x="20525" y="12266"/>
                    <a:pt x="20327" y="12527"/>
                    <a:pt x="20283" y="12858"/>
                  </a:cubicBezTo>
                  <a:cubicBezTo>
                    <a:pt x="20283" y="12919"/>
                    <a:pt x="20239" y="13080"/>
                    <a:pt x="20151" y="13342"/>
                  </a:cubicBezTo>
                  <a:cubicBezTo>
                    <a:pt x="20063" y="13516"/>
                    <a:pt x="20049" y="13673"/>
                    <a:pt x="20107" y="13812"/>
                  </a:cubicBezTo>
                  <a:cubicBezTo>
                    <a:pt x="20195" y="14108"/>
                    <a:pt x="20393" y="14317"/>
                    <a:pt x="20701" y="14439"/>
                  </a:cubicBezTo>
                  <a:cubicBezTo>
                    <a:pt x="20803" y="14491"/>
                    <a:pt x="20861" y="14535"/>
                    <a:pt x="20876" y="14570"/>
                  </a:cubicBezTo>
                  <a:cubicBezTo>
                    <a:pt x="20906" y="14622"/>
                    <a:pt x="20920" y="14740"/>
                    <a:pt x="20920" y="14923"/>
                  </a:cubicBezTo>
                  <a:cubicBezTo>
                    <a:pt x="20920" y="15193"/>
                    <a:pt x="20861" y="15624"/>
                    <a:pt x="20744" y="16216"/>
                  </a:cubicBezTo>
                  <a:lnTo>
                    <a:pt x="20942" y="16373"/>
                  </a:lnTo>
                  <a:cubicBezTo>
                    <a:pt x="21118" y="16495"/>
                    <a:pt x="21257" y="16608"/>
                    <a:pt x="21360" y="16713"/>
                  </a:cubicBezTo>
                  <a:cubicBezTo>
                    <a:pt x="21403" y="16826"/>
                    <a:pt x="21469" y="17000"/>
                    <a:pt x="21557" y="17235"/>
                  </a:cubicBezTo>
                  <a:cubicBezTo>
                    <a:pt x="18994" y="17392"/>
                    <a:pt x="17442" y="17484"/>
                    <a:pt x="16900" y="17510"/>
                  </a:cubicBezTo>
                  <a:cubicBezTo>
                    <a:pt x="10398" y="17850"/>
                    <a:pt x="6957" y="18015"/>
                    <a:pt x="6576" y="18007"/>
                  </a:cubicBezTo>
                  <a:cubicBezTo>
                    <a:pt x="6327" y="17998"/>
                    <a:pt x="6122" y="18107"/>
                    <a:pt x="5961" y="18333"/>
                  </a:cubicBezTo>
                  <a:cubicBezTo>
                    <a:pt x="5829" y="18516"/>
                    <a:pt x="5785" y="18660"/>
                    <a:pt x="5829" y="18765"/>
                  </a:cubicBezTo>
                  <a:cubicBezTo>
                    <a:pt x="5844" y="18834"/>
                    <a:pt x="5969" y="18930"/>
                    <a:pt x="6203" y="19052"/>
                  </a:cubicBezTo>
                  <a:cubicBezTo>
                    <a:pt x="6334" y="19113"/>
                    <a:pt x="6510" y="19204"/>
                    <a:pt x="6730" y="19326"/>
                  </a:cubicBezTo>
                  <a:cubicBezTo>
                    <a:pt x="6803" y="19379"/>
                    <a:pt x="6935" y="19440"/>
                    <a:pt x="7125" y="19509"/>
                  </a:cubicBezTo>
                  <a:cubicBezTo>
                    <a:pt x="7272" y="19596"/>
                    <a:pt x="7330" y="19679"/>
                    <a:pt x="7301" y="19758"/>
                  </a:cubicBezTo>
                  <a:cubicBezTo>
                    <a:pt x="7287" y="19836"/>
                    <a:pt x="7250" y="19962"/>
                    <a:pt x="7191" y="20137"/>
                  </a:cubicBezTo>
                  <a:cubicBezTo>
                    <a:pt x="7162" y="20284"/>
                    <a:pt x="7177" y="20393"/>
                    <a:pt x="7235" y="20463"/>
                  </a:cubicBezTo>
                  <a:cubicBezTo>
                    <a:pt x="7220" y="20498"/>
                    <a:pt x="7213" y="20546"/>
                    <a:pt x="7213" y="20607"/>
                  </a:cubicBezTo>
                  <a:cubicBezTo>
                    <a:pt x="7184" y="20807"/>
                    <a:pt x="7111" y="20933"/>
                    <a:pt x="6993" y="20986"/>
                  </a:cubicBezTo>
                  <a:cubicBezTo>
                    <a:pt x="6906" y="21020"/>
                    <a:pt x="6723" y="21060"/>
                    <a:pt x="6444" y="21103"/>
                  </a:cubicBezTo>
                  <a:cubicBezTo>
                    <a:pt x="6151" y="21138"/>
                    <a:pt x="5975" y="21178"/>
                    <a:pt x="5917" y="21221"/>
                  </a:cubicBezTo>
                  <a:cubicBezTo>
                    <a:pt x="5800" y="21308"/>
                    <a:pt x="5631" y="21365"/>
                    <a:pt x="5412" y="21391"/>
                  </a:cubicBezTo>
                  <a:cubicBezTo>
                    <a:pt x="5177" y="21434"/>
                    <a:pt x="4995" y="21465"/>
                    <a:pt x="4863" y="21482"/>
                  </a:cubicBezTo>
                  <a:cubicBezTo>
                    <a:pt x="4643" y="21535"/>
                    <a:pt x="4423" y="21561"/>
                    <a:pt x="4204" y="21561"/>
                  </a:cubicBezTo>
                  <a:cubicBezTo>
                    <a:pt x="3867" y="21569"/>
                    <a:pt x="3648" y="21583"/>
                    <a:pt x="3545" y="21600"/>
                  </a:cubicBezTo>
                  <a:lnTo>
                    <a:pt x="3412" y="21600"/>
                  </a:lnTo>
                  <a:cubicBezTo>
                    <a:pt x="3545" y="21530"/>
                    <a:pt x="3874" y="21482"/>
                    <a:pt x="4401" y="21456"/>
                  </a:cubicBezTo>
                  <a:cubicBezTo>
                    <a:pt x="4782" y="21430"/>
                    <a:pt x="4972" y="21334"/>
                    <a:pt x="4972" y="21168"/>
                  </a:cubicBezTo>
                  <a:cubicBezTo>
                    <a:pt x="4987" y="21047"/>
                    <a:pt x="4848" y="20955"/>
                    <a:pt x="4555" y="20894"/>
                  </a:cubicBezTo>
                  <a:cubicBezTo>
                    <a:pt x="4218" y="20816"/>
                    <a:pt x="4050" y="20676"/>
                    <a:pt x="4050" y="20476"/>
                  </a:cubicBezTo>
                  <a:cubicBezTo>
                    <a:pt x="4050" y="20267"/>
                    <a:pt x="4028" y="20097"/>
                    <a:pt x="3984" y="19966"/>
                  </a:cubicBezTo>
                  <a:cubicBezTo>
                    <a:pt x="3940" y="19714"/>
                    <a:pt x="3757" y="19587"/>
                    <a:pt x="3435" y="19587"/>
                  </a:cubicBezTo>
                  <a:cubicBezTo>
                    <a:pt x="3215" y="19587"/>
                    <a:pt x="3105" y="19845"/>
                    <a:pt x="3105" y="20358"/>
                  </a:cubicBezTo>
                  <a:cubicBezTo>
                    <a:pt x="3149" y="20873"/>
                    <a:pt x="2952" y="21125"/>
                    <a:pt x="2512" y="21116"/>
                  </a:cubicBezTo>
                  <a:cubicBezTo>
                    <a:pt x="2395" y="21116"/>
                    <a:pt x="2293" y="21090"/>
                    <a:pt x="2204" y="21038"/>
                  </a:cubicBezTo>
                  <a:cubicBezTo>
                    <a:pt x="2131" y="20994"/>
                    <a:pt x="2044" y="20972"/>
                    <a:pt x="1941" y="20972"/>
                  </a:cubicBezTo>
                  <a:lnTo>
                    <a:pt x="1524" y="20999"/>
                  </a:lnTo>
                  <a:lnTo>
                    <a:pt x="1326" y="20986"/>
                  </a:lnTo>
                  <a:cubicBezTo>
                    <a:pt x="1077" y="19539"/>
                    <a:pt x="857" y="18459"/>
                    <a:pt x="667" y="17745"/>
                  </a:cubicBezTo>
                  <a:cubicBezTo>
                    <a:pt x="477" y="17031"/>
                    <a:pt x="323" y="16469"/>
                    <a:pt x="206" y="16059"/>
                  </a:cubicBezTo>
                  <a:cubicBezTo>
                    <a:pt x="15" y="15345"/>
                    <a:pt x="-43" y="14605"/>
                    <a:pt x="30" y="13838"/>
                  </a:cubicBezTo>
                  <a:lnTo>
                    <a:pt x="909" y="1111"/>
                  </a:lnTo>
                  <a:cubicBezTo>
                    <a:pt x="806" y="1085"/>
                    <a:pt x="704" y="1054"/>
                    <a:pt x="601" y="1019"/>
                  </a:cubicBezTo>
                  <a:cubicBezTo>
                    <a:pt x="411" y="915"/>
                    <a:pt x="316" y="841"/>
                    <a:pt x="316" y="797"/>
                  </a:cubicBezTo>
                  <a:lnTo>
                    <a:pt x="316" y="693"/>
                  </a:lnTo>
                  <a:cubicBezTo>
                    <a:pt x="403" y="632"/>
                    <a:pt x="601" y="593"/>
                    <a:pt x="909" y="575"/>
                  </a:cubicBezTo>
                  <a:cubicBezTo>
                    <a:pt x="1934" y="549"/>
                    <a:pt x="4101" y="475"/>
                    <a:pt x="7411" y="353"/>
                  </a:cubicBezTo>
                  <a:cubicBezTo>
                    <a:pt x="11525" y="196"/>
                    <a:pt x="14001" y="83"/>
                    <a:pt x="14835" y="13"/>
                  </a:cubicBezTo>
                  <a:cubicBezTo>
                    <a:pt x="14835" y="13"/>
                    <a:pt x="15033" y="0"/>
                    <a:pt x="15033" y="0"/>
                  </a:cubicBezTo>
                  <a:close/>
                  <a:moveTo>
                    <a:pt x="15033"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8" name="AutoShape 95"/>
            <p:cNvSpPr>
              <a:spLocks/>
            </p:cNvSpPr>
            <p:nvPr/>
          </p:nvSpPr>
          <p:spPr bwMode="auto">
            <a:xfrm>
              <a:off x="5465448" y="4184127"/>
              <a:ext cx="415040" cy="745336"/>
            </a:xfrm>
            <a:custGeom>
              <a:avLst/>
              <a:gdLst/>
              <a:ahLst/>
              <a:cxnLst/>
              <a:rect l="0" t="0" r="r" b="b"/>
              <a:pathLst>
                <a:path w="21600" h="21594">
                  <a:moveTo>
                    <a:pt x="12357" y="1678"/>
                  </a:moveTo>
                  <a:cubicBezTo>
                    <a:pt x="10742" y="5081"/>
                    <a:pt x="9831" y="6970"/>
                    <a:pt x="9626" y="7344"/>
                  </a:cubicBezTo>
                  <a:cubicBezTo>
                    <a:pt x="16801" y="13705"/>
                    <a:pt x="20492" y="16952"/>
                    <a:pt x="20697" y="17086"/>
                  </a:cubicBezTo>
                  <a:cubicBezTo>
                    <a:pt x="20647" y="17173"/>
                    <a:pt x="20626" y="17275"/>
                    <a:pt x="20633" y="17393"/>
                  </a:cubicBezTo>
                  <a:cubicBezTo>
                    <a:pt x="20633" y="17397"/>
                    <a:pt x="20708" y="17494"/>
                    <a:pt x="20856" y="17683"/>
                  </a:cubicBezTo>
                  <a:cubicBezTo>
                    <a:pt x="21005" y="17927"/>
                    <a:pt x="21040" y="18150"/>
                    <a:pt x="20963" y="18350"/>
                  </a:cubicBezTo>
                  <a:lnTo>
                    <a:pt x="20963" y="18356"/>
                  </a:lnTo>
                  <a:cubicBezTo>
                    <a:pt x="21062" y="18356"/>
                    <a:pt x="21189" y="18394"/>
                    <a:pt x="21345" y="18469"/>
                  </a:cubicBezTo>
                  <a:cubicBezTo>
                    <a:pt x="21515" y="18540"/>
                    <a:pt x="21600" y="18595"/>
                    <a:pt x="21600" y="18634"/>
                  </a:cubicBezTo>
                  <a:cubicBezTo>
                    <a:pt x="21593" y="18677"/>
                    <a:pt x="21522" y="18725"/>
                    <a:pt x="21388" y="18776"/>
                  </a:cubicBezTo>
                  <a:cubicBezTo>
                    <a:pt x="21310" y="18808"/>
                    <a:pt x="21154" y="18859"/>
                    <a:pt x="20920" y="18930"/>
                  </a:cubicBezTo>
                  <a:cubicBezTo>
                    <a:pt x="20467" y="19099"/>
                    <a:pt x="20226" y="19337"/>
                    <a:pt x="20198" y="19644"/>
                  </a:cubicBezTo>
                  <a:cubicBezTo>
                    <a:pt x="20190" y="19707"/>
                    <a:pt x="20088" y="19816"/>
                    <a:pt x="19889" y="19969"/>
                  </a:cubicBezTo>
                  <a:cubicBezTo>
                    <a:pt x="19698" y="20127"/>
                    <a:pt x="19542" y="20229"/>
                    <a:pt x="19422" y="20277"/>
                  </a:cubicBezTo>
                  <a:cubicBezTo>
                    <a:pt x="19330" y="20324"/>
                    <a:pt x="19259" y="20428"/>
                    <a:pt x="19209" y="20590"/>
                  </a:cubicBezTo>
                  <a:cubicBezTo>
                    <a:pt x="19181" y="20692"/>
                    <a:pt x="19167" y="20795"/>
                    <a:pt x="19167" y="20897"/>
                  </a:cubicBezTo>
                  <a:cubicBezTo>
                    <a:pt x="19167" y="20909"/>
                    <a:pt x="19252" y="20954"/>
                    <a:pt x="19422" y="21033"/>
                  </a:cubicBezTo>
                  <a:cubicBezTo>
                    <a:pt x="19578" y="21108"/>
                    <a:pt x="19652" y="21220"/>
                    <a:pt x="19645" y="21370"/>
                  </a:cubicBezTo>
                  <a:cubicBezTo>
                    <a:pt x="19645" y="21464"/>
                    <a:pt x="19521" y="21531"/>
                    <a:pt x="19273" y="21570"/>
                  </a:cubicBezTo>
                  <a:cubicBezTo>
                    <a:pt x="19075" y="21594"/>
                    <a:pt x="18937" y="21600"/>
                    <a:pt x="18859" y="21588"/>
                  </a:cubicBezTo>
                  <a:lnTo>
                    <a:pt x="11942" y="20997"/>
                  </a:lnTo>
                  <a:cubicBezTo>
                    <a:pt x="11921" y="20950"/>
                    <a:pt x="11886" y="20907"/>
                    <a:pt x="11836" y="20868"/>
                  </a:cubicBezTo>
                  <a:cubicBezTo>
                    <a:pt x="11744" y="20800"/>
                    <a:pt x="11701" y="20755"/>
                    <a:pt x="11708" y="20732"/>
                  </a:cubicBezTo>
                  <a:cubicBezTo>
                    <a:pt x="11708" y="20633"/>
                    <a:pt x="11719" y="20558"/>
                    <a:pt x="11740" y="20507"/>
                  </a:cubicBezTo>
                  <a:cubicBezTo>
                    <a:pt x="11762" y="20436"/>
                    <a:pt x="11790" y="20349"/>
                    <a:pt x="11825" y="20247"/>
                  </a:cubicBezTo>
                  <a:cubicBezTo>
                    <a:pt x="11825" y="20227"/>
                    <a:pt x="11825" y="20212"/>
                    <a:pt x="11825" y="20200"/>
                  </a:cubicBezTo>
                  <a:cubicBezTo>
                    <a:pt x="11847" y="19987"/>
                    <a:pt x="11811" y="19792"/>
                    <a:pt x="11719" y="19615"/>
                  </a:cubicBezTo>
                  <a:cubicBezTo>
                    <a:pt x="11634" y="19442"/>
                    <a:pt x="11506" y="19310"/>
                    <a:pt x="11337" y="19219"/>
                  </a:cubicBezTo>
                  <a:cubicBezTo>
                    <a:pt x="10763" y="18900"/>
                    <a:pt x="10448" y="18670"/>
                    <a:pt x="10391" y="18528"/>
                  </a:cubicBezTo>
                  <a:cubicBezTo>
                    <a:pt x="10327" y="18477"/>
                    <a:pt x="10271" y="18431"/>
                    <a:pt x="10221" y="18392"/>
                  </a:cubicBezTo>
                  <a:cubicBezTo>
                    <a:pt x="10136" y="18305"/>
                    <a:pt x="10040" y="18264"/>
                    <a:pt x="9934" y="18268"/>
                  </a:cubicBezTo>
                  <a:cubicBezTo>
                    <a:pt x="9863" y="18268"/>
                    <a:pt x="9799" y="18280"/>
                    <a:pt x="9743" y="18303"/>
                  </a:cubicBezTo>
                  <a:cubicBezTo>
                    <a:pt x="9693" y="18327"/>
                    <a:pt x="9658" y="18339"/>
                    <a:pt x="9637" y="18339"/>
                  </a:cubicBezTo>
                  <a:cubicBezTo>
                    <a:pt x="9452" y="18339"/>
                    <a:pt x="9364" y="18307"/>
                    <a:pt x="9371" y="18244"/>
                  </a:cubicBezTo>
                  <a:cubicBezTo>
                    <a:pt x="9385" y="18079"/>
                    <a:pt x="9392" y="17947"/>
                    <a:pt x="9392" y="17848"/>
                  </a:cubicBezTo>
                  <a:cubicBezTo>
                    <a:pt x="9406" y="17722"/>
                    <a:pt x="9399" y="17648"/>
                    <a:pt x="9371" y="17624"/>
                  </a:cubicBezTo>
                  <a:cubicBezTo>
                    <a:pt x="9343" y="17600"/>
                    <a:pt x="9240" y="17588"/>
                    <a:pt x="9063" y="17588"/>
                  </a:cubicBezTo>
                  <a:cubicBezTo>
                    <a:pt x="8609" y="17580"/>
                    <a:pt x="8337" y="17567"/>
                    <a:pt x="8245" y="17547"/>
                  </a:cubicBezTo>
                  <a:cubicBezTo>
                    <a:pt x="8061" y="17460"/>
                    <a:pt x="7912" y="17391"/>
                    <a:pt x="7799" y="17340"/>
                  </a:cubicBezTo>
                  <a:cubicBezTo>
                    <a:pt x="7565" y="17242"/>
                    <a:pt x="7437" y="17177"/>
                    <a:pt x="7416" y="17145"/>
                  </a:cubicBezTo>
                  <a:cubicBezTo>
                    <a:pt x="7395" y="17114"/>
                    <a:pt x="7366" y="17035"/>
                    <a:pt x="7331" y="16909"/>
                  </a:cubicBezTo>
                  <a:cubicBezTo>
                    <a:pt x="7317" y="16814"/>
                    <a:pt x="7271" y="16742"/>
                    <a:pt x="7193" y="16690"/>
                  </a:cubicBezTo>
                  <a:cubicBezTo>
                    <a:pt x="7065" y="16608"/>
                    <a:pt x="6942" y="16551"/>
                    <a:pt x="6821" y="16519"/>
                  </a:cubicBezTo>
                  <a:cubicBezTo>
                    <a:pt x="6686" y="16487"/>
                    <a:pt x="6517" y="16470"/>
                    <a:pt x="6311" y="16466"/>
                  </a:cubicBezTo>
                  <a:cubicBezTo>
                    <a:pt x="6162" y="16470"/>
                    <a:pt x="6010" y="16434"/>
                    <a:pt x="5854" y="16360"/>
                  </a:cubicBezTo>
                  <a:cubicBezTo>
                    <a:pt x="5698" y="16277"/>
                    <a:pt x="5585" y="16220"/>
                    <a:pt x="5514" y="16188"/>
                  </a:cubicBezTo>
                  <a:cubicBezTo>
                    <a:pt x="5238" y="16169"/>
                    <a:pt x="5089" y="16157"/>
                    <a:pt x="5068" y="16153"/>
                  </a:cubicBezTo>
                  <a:cubicBezTo>
                    <a:pt x="4848" y="16125"/>
                    <a:pt x="4686" y="16092"/>
                    <a:pt x="4579" y="16052"/>
                  </a:cubicBezTo>
                  <a:cubicBezTo>
                    <a:pt x="4374" y="15966"/>
                    <a:pt x="4236" y="15909"/>
                    <a:pt x="4165" y="15881"/>
                  </a:cubicBezTo>
                  <a:cubicBezTo>
                    <a:pt x="4059" y="15818"/>
                    <a:pt x="4009" y="15731"/>
                    <a:pt x="4016" y="15621"/>
                  </a:cubicBezTo>
                  <a:cubicBezTo>
                    <a:pt x="4016" y="15590"/>
                    <a:pt x="4052" y="15536"/>
                    <a:pt x="4122" y="15462"/>
                  </a:cubicBezTo>
                  <a:cubicBezTo>
                    <a:pt x="4207" y="15383"/>
                    <a:pt x="4264" y="15310"/>
                    <a:pt x="4292" y="15243"/>
                  </a:cubicBezTo>
                  <a:cubicBezTo>
                    <a:pt x="4307" y="15172"/>
                    <a:pt x="4338" y="15089"/>
                    <a:pt x="4388" y="14995"/>
                  </a:cubicBezTo>
                  <a:cubicBezTo>
                    <a:pt x="4438" y="14904"/>
                    <a:pt x="4473" y="14841"/>
                    <a:pt x="4494" y="14806"/>
                  </a:cubicBezTo>
                  <a:cubicBezTo>
                    <a:pt x="4494" y="14739"/>
                    <a:pt x="4491" y="14689"/>
                    <a:pt x="4484" y="14658"/>
                  </a:cubicBezTo>
                  <a:cubicBezTo>
                    <a:pt x="4477" y="14607"/>
                    <a:pt x="4423" y="14577"/>
                    <a:pt x="4324" y="14569"/>
                  </a:cubicBezTo>
                  <a:cubicBezTo>
                    <a:pt x="4168" y="14558"/>
                    <a:pt x="4073" y="14534"/>
                    <a:pt x="4037" y="14499"/>
                  </a:cubicBezTo>
                  <a:cubicBezTo>
                    <a:pt x="4009" y="14479"/>
                    <a:pt x="3995" y="14426"/>
                    <a:pt x="3995" y="14339"/>
                  </a:cubicBezTo>
                  <a:cubicBezTo>
                    <a:pt x="4002" y="14276"/>
                    <a:pt x="4037" y="14229"/>
                    <a:pt x="4101" y="14197"/>
                  </a:cubicBezTo>
                  <a:cubicBezTo>
                    <a:pt x="4165" y="14166"/>
                    <a:pt x="4197" y="14146"/>
                    <a:pt x="4197" y="14138"/>
                  </a:cubicBezTo>
                  <a:cubicBezTo>
                    <a:pt x="4197" y="14118"/>
                    <a:pt x="4179" y="14095"/>
                    <a:pt x="4144" y="14067"/>
                  </a:cubicBezTo>
                  <a:cubicBezTo>
                    <a:pt x="4108" y="14036"/>
                    <a:pt x="4076" y="14010"/>
                    <a:pt x="4048" y="13991"/>
                  </a:cubicBezTo>
                  <a:cubicBezTo>
                    <a:pt x="4027" y="13983"/>
                    <a:pt x="3967" y="13959"/>
                    <a:pt x="3867" y="13919"/>
                  </a:cubicBezTo>
                  <a:cubicBezTo>
                    <a:pt x="3797" y="13896"/>
                    <a:pt x="3754" y="13874"/>
                    <a:pt x="3740" y="13854"/>
                  </a:cubicBezTo>
                  <a:cubicBezTo>
                    <a:pt x="3740" y="13835"/>
                    <a:pt x="3736" y="13794"/>
                    <a:pt x="3729" y="13730"/>
                  </a:cubicBezTo>
                  <a:cubicBezTo>
                    <a:pt x="3708" y="13675"/>
                    <a:pt x="3690" y="13634"/>
                    <a:pt x="3676" y="13606"/>
                  </a:cubicBezTo>
                  <a:cubicBezTo>
                    <a:pt x="3655" y="13579"/>
                    <a:pt x="3616" y="13541"/>
                    <a:pt x="3559" y="13494"/>
                  </a:cubicBezTo>
                  <a:cubicBezTo>
                    <a:pt x="3496" y="13455"/>
                    <a:pt x="3457" y="13431"/>
                    <a:pt x="3442" y="13423"/>
                  </a:cubicBezTo>
                  <a:cubicBezTo>
                    <a:pt x="3336" y="13329"/>
                    <a:pt x="3248" y="13224"/>
                    <a:pt x="3177" y="13110"/>
                  </a:cubicBezTo>
                  <a:cubicBezTo>
                    <a:pt x="3127" y="13024"/>
                    <a:pt x="3074" y="12890"/>
                    <a:pt x="3017" y="12708"/>
                  </a:cubicBezTo>
                  <a:cubicBezTo>
                    <a:pt x="2975" y="12594"/>
                    <a:pt x="2876" y="12468"/>
                    <a:pt x="2720" y="12330"/>
                  </a:cubicBezTo>
                  <a:cubicBezTo>
                    <a:pt x="2522" y="12177"/>
                    <a:pt x="2383" y="12060"/>
                    <a:pt x="2306" y="11982"/>
                  </a:cubicBezTo>
                  <a:cubicBezTo>
                    <a:pt x="2334" y="11659"/>
                    <a:pt x="2355" y="11432"/>
                    <a:pt x="2369" y="11302"/>
                  </a:cubicBezTo>
                  <a:cubicBezTo>
                    <a:pt x="2546" y="11239"/>
                    <a:pt x="2677" y="11194"/>
                    <a:pt x="2762" y="11166"/>
                  </a:cubicBezTo>
                  <a:cubicBezTo>
                    <a:pt x="2911" y="11119"/>
                    <a:pt x="2986" y="11062"/>
                    <a:pt x="2986" y="10995"/>
                  </a:cubicBezTo>
                  <a:cubicBezTo>
                    <a:pt x="3000" y="10715"/>
                    <a:pt x="2964" y="10572"/>
                    <a:pt x="2879" y="10564"/>
                  </a:cubicBezTo>
                  <a:lnTo>
                    <a:pt x="2518" y="10581"/>
                  </a:lnTo>
                  <a:cubicBezTo>
                    <a:pt x="2306" y="10585"/>
                    <a:pt x="2167" y="10544"/>
                    <a:pt x="2104" y="10457"/>
                  </a:cubicBezTo>
                  <a:lnTo>
                    <a:pt x="1955" y="10245"/>
                  </a:lnTo>
                  <a:lnTo>
                    <a:pt x="1955" y="10239"/>
                  </a:lnTo>
                  <a:cubicBezTo>
                    <a:pt x="1919" y="10188"/>
                    <a:pt x="1891" y="10144"/>
                    <a:pt x="1870" y="10109"/>
                  </a:cubicBezTo>
                  <a:cubicBezTo>
                    <a:pt x="1820" y="10034"/>
                    <a:pt x="1796" y="9983"/>
                    <a:pt x="1796" y="9955"/>
                  </a:cubicBezTo>
                  <a:cubicBezTo>
                    <a:pt x="1810" y="9908"/>
                    <a:pt x="1842" y="9847"/>
                    <a:pt x="1891" y="9772"/>
                  </a:cubicBezTo>
                  <a:cubicBezTo>
                    <a:pt x="1948" y="9697"/>
                    <a:pt x="1980" y="9624"/>
                    <a:pt x="1987" y="9553"/>
                  </a:cubicBezTo>
                  <a:cubicBezTo>
                    <a:pt x="1987" y="9514"/>
                    <a:pt x="1969" y="9453"/>
                    <a:pt x="1934" y="9370"/>
                  </a:cubicBezTo>
                  <a:cubicBezTo>
                    <a:pt x="1891" y="9284"/>
                    <a:pt x="1866" y="9229"/>
                    <a:pt x="1859" y="9205"/>
                  </a:cubicBezTo>
                  <a:cubicBezTo>
                    <a:pt x="1866" y="9166"/>
                    <a:pt x="1881" y="9108"/>
                    <a:pt x="1902" y="9033"/>
                  </a:cubicBezTo>
                  <a:cubicBezTo>
                    <a:pt x="1909" y="8971"/>
                    <a:pt x="1916" y="8935"/>
                    <a:pt x="1923" y="8927"/>
                  </a:cubicBezTo>
                  <a:cubicBezTo>
                    <a:pt x="1937" y="8915"/>
                    <a:pt x="1962" y="8910"/>
                    <a:pt x="1997" y="8910"/>
                  </a:cubicBezTo>
                  <a:cubicBezTo>
                    <a:pt x="2033" y="8906"/>
                    <a:pt x="2054" y="8904"/>
                    <a:pt x="2061" y="8904"/>
                  </a:cubicBezTo>
                  <a:cubicBezTo>
                    <a:pt x="2068" y="8904"/>
                    <a:pt x="2104" y="8904"/>
                    <a:pt x="2167" y="8904"/>
                  </a:cubicBezTo>
                  <a:cubicBezTo>
                    <a:pt x="2245" y="8915"/>
                    <a:pt x="2299" y="8935"/>
                    <a:pt x="2327" y="8963"/>
                  </a:cubicBezTo>
                  <a:cubicBezTo>
                    <a:pt x="2383" y="9006"/>
                    <a:pt x="2430" y="9073"/>
                    <a:pt x="2465" y="9163"/>
                  </a:cubicBezTo>
                  <a:cubicBezTo>
                    <a:pt x="2557" y="9380"/>
                    <a:pt x="2702" y="9486"/>
                    <a:pt x="2901" y="9483"/>
                  </a:cubicBezTo>
                  <a:cubicBezTo>
                    <a:pt x="2915" y="9455"/>
                    <a:pt x="2925" y="9425"/>
                    <a:pt x="2932" y="9394"/>
                  </a:cubicBezTo>
                  <a:cubicBezTo>
                    <a:pt x="2925" y="9351"/>
                    <a:pt x="2922" y="9313"/>
                    <a:pt x="2922" y="9282"/>
                  </a:cubicBezTo>
                  <a:cubicBezTo>
                    <a:pt x="2922" y="9160"/>
                    <a:pt x="2901" y="9075"/>
                    <a:pt x="2858" y="9028"/>
                  </a:cubicBezTo>
                  <a:cubicBezTo>
                    <a:pt x="2844" y="9016"/>
                    <a:pt x="2808" y="9004"/>
                    <a:pt x="2752" y="8992"/>
                  </a:cubicBezTo>
                  <a:cubicBezTo>
                    <a:pt x="2709" y="8980"/>
                    <a:pt x="2688" y="8961"/>
                    <a:pt x="2688" y="8933"/>
                  </a:cubicBezTo>
                  <a:cubicBezTo>
                    <a:pt x="2695" y="8831"/>
                    <a:pt x="2695" y="8772"/>
                    <a:pt x="2688" y="8756"/>
                  </a:cubicBezTo>
                  <a:cubicBezTo>
                    <a:pt x="2681" y="8728"/>
                    <a:pt x="2656" y="8685"/>
                    <a:pt x="2614" y="8626"/>
                  </a:cubicBezTo>
                  <a:cubicBezTo>
                    <a:pt x="2564" y="8587"/>
                    <a:pt x="2539" y="8555"/>
                    <a:pt x="2539" y="8531"/>
                  </a:cubicBezTo>
                  <a:cubicBezTo>
                    <a:pt x="2546" y="8449"/>
                    <a:pt x="2646" y="8399"/>
                    <a:pt x="2837" y="8384"/>
                  </a:cubicBezTo>
                  <a:cubicBezTo>
                    <a:pt x="3021" y="8364"/>
                    <a:pt x="3113" y="8352"/>
                    <a:pt x="3113" y="8348"/>
                  </a:cubicBezTo>
                  <a:cubicBezTo>
                    <a:pt x="3113" y="8344"/>
                    <a:pt x="3085" y="8323"/>
                    <a:pt x="3028" y="8283"/>
                  </a:cubicBezTo>
                  <a:cubicBezTo>
                    <a:pt x="2971" y="8244"/>
                    <a:pt x="2929" y="8222"/>
                    <a:pt x="2901" y="8218"/>
                  </a:cubicBezTo>
                  <a:cubicBezTo>
                    <a:pt x="2865" y="8199"/>
                    <a:pt x="2798" y="8173"/>
                    <a:pt x="2699" y="8141"/>
                  </a:cubicBezTo>
                  <a:cubicBezTo>
                    <a:pt x="2635" y="8118"/>
                    <a:pt x="2589" y="8106"/>
                    <a:pt x="2561" y="8106"/>
                  </a:cubicBezTo>
                  <a:cubicBezTo>
                    <a:pt x="2539" y="8145"/>
                    <a:pt x="2497" y="8269"/>
                    <a:pt x="2433" y="8478"/>
                  </a:cubicBezTo>
                  <a:cubicBezTo>
                    <a:pt x="2362" y="8663"/>
                    <a:pt x="2260" y="8756"/>
                    <a:pt x="2125" y="8756"/>
                  </a:cubicBezTo>
                  <a:lnTo>
                    <a:pt x="2061" y="8744"/>
                  </a:lnTo>
                  <a:lnTo>
                    <a:pt x="2051" y="8738"/>
                  </a:lnTo>
                  <a:cubicBezTo>
                    <a:pt x="2043" y="8714"/>
                    <a:pt x="2005" y="8677"/>
                    <a:pt x="1934" y="8626"/>
                  </a:cubicBezTo>
                  <a:cubicBezTo>
                    <a:pt x="1835" y="8555"/>
                    <a:pt x="1757" y="8488"/>
                    <a:pt x="1700" y="8425"/>
                  </a:cubicBezTo>
                  <a:cubicBezTo>
                    <a:pt x="1565" y="8299"/>
                    <a:pt x="1463" y="8218"/>
                    <a:pt x="1392" y="8183"/>
                  </a:cubicBezTo>
                  <a:lnTo>
                    <a:pt x="1243" y="8136"/>
                  </a:lnTo>
                  <a:cubicBezTo>
                    <a:pt x="1165" y="8112"/>
                    <a:pt x="1123" y="8092"/>
                    <a:pt x="1116" y="8076"/>
                  </a:cubicBezTo>
                  <a:cubicBezTo>
                    <a:pt x="1123" y="8017"/>
                    <a:pt x="1179" y="7958"/>
                    <a:pt x="1286" y="7899"/>
                  </a:cubicBezTo>
                  <a:cubicBezTo>
                    <a:pt x="1378" y="7840"/>
                    <a:pt x="1427" y="7763"/>
                    <a:pt x="1434" y="7669"/>
                  </a:cubicBezTo>
                  <a:cubicBezTo>
                    <a:pt x="1434" y="7618"/>
                    <a:pt x="1388" y="7564"/>
                    <a:pt x="1296" y="7509"/>
                  </a:cubicBezTo>
                  <a:cubicBezTo>
                    <a:pt x="1211" y="7450"/>
                    <a:pt x="1169" y="7413"/>
                    <a:pt x="1169" y="7397"/>
                  </a:cubicBezTo>
                  <a:cubicBezTo>
                    <a:pt x="1169" y="7385"/>
                    <a:pt x="1197" y="7342"/>
                    <a:pt x="1254" y="7267"/>
                  </a:cubicBezTo>
                  <a:cubicBezTo>
                    <a:pt x="1282" y="7196"/>
                    <a:pt x="1254" y="7143"/>
                    <a:pt x="1169" y="7108"/>
                  </a:cubicBezTo>
                  <a:cubicBezTo>
                    <a:pt x="1006" y="7033"/>
                    <a:pt x="914" y="6987"/>
                    <a:pt x="893" y="6972"/>
                  </a:cubicBezTo>
                  <a:cubicBezTo>
                    <a:pt x="836" y="6924"/>
                    <a:pt x="786" y="6865"/>
                    <a:pt x="744" y="6794"/>
                  </a:cubicBezTo>
                  <a:cubicBezTo>
                    <a:pt x="694" y="6712"/>
                    <a:pt x="662" y="6657"/>
                    <a:pt x="648" y="6629"/>
                  </a:cubicBezTo>
                  <a:cubicBezTo>
                    <a:pt x="563" y="6530"/>
                    <a:pt x="436" y="6426"/>
                    <a:pt x="266" y="6316"/>
                  </a:cubicBezTo>
                  <a:cubicBezTo>
                    <a:pt x="159" y="6237"/>
                    <a:pt x="110" y="6146"/>
                    <a:pt x="117" y="6044"/>
                  </a:cubicBezTo>
                  <a:cubicBezTo>
                    <a:pt x="124" y="5973"/>
                    <a:pt x="163" y="5924"/>
                    <a:pt x="234" y="5896"/>
                  </a:cubicBezTo>
                  <a:cubicBezTo>
                    <a:pt x="312" y="5873"/>
                    <a:pt x="351" y="5798"/>
                    <a:pt x="351" y="5672"/>
                  </a:cubicBezTo>
                  <a:lnTo>
                    <a:pt x="351" y="5548"/>
                  </a:lnTo>
                  <a:cubicBezTo>
                    <a:pt x="344" y="5473"/>
                    <a:pt x="340" y="5394"/>
                    <a:pt x="340" y="5311"/>
                  </a:cubicBezTo>
                  <a:lnTo>
                    <a:pt x="383" y="5063"/>
                  </a:lnTo>
                  <a:cubicBezTo>
                    <a:pt x="482" y="4957"/>
                    <a:pt x="560" y="4872"/>
                    <a:pt x="616" y="4809"/>
                  </a:cubicBezTo>
                  <a:cubicBezTo>
                    <a:pt x="730" y="4703"/>
                    <a:pt x="786" y="4595"/>
                    <a:pt x="786" y="4484"/>
                  </a:cubicBezTo>
                  <a:cubicBezTo>
                    <a:pt x="786" y="4437"/>
                    <a:pt x="776" y="4362"/>
                    <a:pt x="754" y="4260"/>
                  </a:cubicBezTo>
                  <a:cubicBezTo>
                    <a:pt x="733" y="4153"/>
                    <a:pt x="722" y="4098"/>
                    <a:pt x="722" y="4094"/>
                  </a:cubicBezTo>
                  <a:cubicBezTo>
                    <a:pt x="751" y="4012"/>
                    <a:pt x="694" y="3917"/>
                    <a:pt x="553" y="3811"/>
                  </a:cubicBezTo>
                  <a:cubicBezTo>
                    <a:pt x="425" y="3708"/>
                    <a:pt x="305" y="3608"/>
                    <a:pt x="191" y="3509"/>
                  </a:cubicBezTo>
                  <a:cubicBezTo>
                    <a:pt x="71" y="3407"/>
                    <a:pt x="7" y="3342"/>
                    <a:pt x="0" y="3314"/>
                  </a:cubicBezTo>
                  <a:cubicBezTo>
                    <a:pt x="0" y="3310"/>
                    <a:pt x="0" y="3307"/>
                    <a:pt x="0" y="3303"/>
                  </a:cubicBezTo>
                  <a:cubicBezTo>
                    <a:pt x="35" y="3054"/>
                    <a:pt x="120" y="2863"/>
                    <a:pt x="255" y="2730"/>
                  </a:cubicBezTo>
                  <a:cubicBezTo>
                    <a:pt x="375" y="2607"/>
                    <a:pt x="531" y="2505"/>
                    <a:pt x="722" y="2422"/>
                  </a:cubicBezTo>
                  <a:cubicBezTo>
                    <a:pt x="822" y="2379"/>
                    <a:pt x="900" y="2340"/>
                    <a:pt x="956" y="2304"/>
                  </a:cubicBezTo>
                  <a:cubicBezTo>
                    <a:pt x="956" y="2292"/>
                    <a:pt x="963" y="2271"/>
                    <a:pt x="977" y="2239"/>
                  </a:cubicBezTo>
                  <a:cubicBezTo>
                    <a:pt x="985" y="2200"/>
                    <a:pt x="992" y="2176"/>
                    <a:pt x="999" y="2168"/>
                  </a:cubicBezTo>
                  <a:cubicBezTo>
                    <a:pt x="1048" y="2117"/>
                    <a:pt x="1116" y="2062"/>
                    <a:pt x="1201" y="2003"/>
                  </a:cubicBezTo>
                  <a:cubicBezTo>
                    <a:pt x="1229" y="1967"/>
                    <a:pt x="1243" y="1930"/>
                    <a:pt x="1243" y="1891"/>
                  </a:cubicBezTo>
                  <a:lnTo>
                    <a:pt x="1233" y="1731"/>
                  </a:lnTo>
                  <a:cubicBezTo>
                    <a:pt x="1233" y="1672"/>
                    <a:pt x="1342" y="1574"/>
                    <a:pt x="1562" y="1436"/>
                  </a:cubicBezTo>
                  <a:cubicBezTo>
                    <a:pt x="1789" y="1302"/>
                    <a:pt x="1902" y="1144"/>
                    <a:pt x="1902" y="963"/>
                  </a:cubicBezTo>
                  <a:lnTo>
                    <a:pt x="1902" y="744"/>
                  </a:lnTo>
                  <a:cubicBezTo>
                    <a:pt x="1895" y="733"/>
                    <a:pt x="1891" y="723"/>
                    <a:pt x="1891" y="715"/>
                  </a:cubicBezTo>
                  <a:cubicBezTo>
                    <a:pt x="1877" y="620"/>
                    <a:pt x="1870" y="538"/>
                    <a:pt x="1870" y="467"/>
                  </a:cubicBezTo>
                  <a:cubicBezTo>
                    <a:pt x="1877" y="341"/>
                    <a:pt x="1923" y="238"/>
                    <a:pt x="2008" y="160"/>
                  </a:cubicBezTo>
                  <a:cubicBezTo>
                    <a:pt x="2086" y="85"/>
                    <a:pt x="2128" y="32"/>
                    <a:pt x="2136" y="0"/>
                  </a:cubicBezTo>
                  <a:cubicBezTo>
                    <a:pt x="5004" y="532"/>
                    <a:pt x="7395" y="941"/>
                    <a:pt x="9307" y="1229"/>
                  </a:cubicBezTo>
                  <a:cubicBezTo>
                    <a:pt x="9307" y="1229"/>
                    <a:pt x="12357" y="1678"/>
                    <a:pt x="12357" y="1678"/>
                  </a:cubicBezTo>
                  <a:close/>
                  <a:moveTo>
                    <a:pt x="12357" y="167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19" name="AutoShape 96"/>
            <p:cNvSpPr>
              <a:spLocks/>
            </p:cNvSpPr>
            <p:nvPr/>
          </p:nvSpPr>
          <p:spPr bwMode="auto">
            <a:xfrm>
              <a:off x="5857515" y="2317725"/>
              <a:ext cx="838758" cy="879598"/>
            </a:xfrm>
            <a:custGeom>
              <a:avLst/>
              <a:gdLst/>
              <a:ahLst/>
              <a:cxnLst/>
              <a:rect l="0" t="0" r="r" b="b"/>
              <a:pathLst>
                <a:path w="21600" h="21600">
                  <a:moveTo>
                    <a:pt x="11300" y="3436"/>
                  </a:moveTo>
                  <a:lnTo>
                    <a:pt x="10290" y="5764"/>
                  </a:lnTo>
                  <a:lnTo>
                    <a:pt x="14302" y="11308"/>
                  </a:lnTo>
                  <a:lnTo>
                    <a:pt x="15601" y="11614"/>
                  </a:lnTo>
                  <a:lnTo>
                    <a:pt x="16310" y="12881"/>
                  </a:lnTo>
                  <a:lnTo>
                    <a:pt x="21600" y="14584"/>
                  </a:lnTo>
                  <a:lnTo>
                    <a:pt x="21463" y="16166"/>
                  </a:lnTo>
                  <a:lnTo>
                    <a:pt x="20853" y="21600"/>
                  </a:lnTo>
                  <a:lnTo>
                    <a:pt x="14018" y="20684"/>
                  </a:lnTo>
                  <a:lnTo>
                    <a:pt x="13965" y="20669"/>
                  </a:lnTo>
                  <a:lnTo>
                    <a:pt x="5631" y="18515"/>
                  </a:lnTo>
                  <a:lnTo>
                    <a:pt x="2466" y="17403"/>
                  </a:lnTo>
                  <a:cubicBezTo>
                    <a:pt x="2466" y="17336"/>
                    <a:pt x="2463" y="17268"/>
                    <a:pt x="2455" y="17198"/>
                  </a:cubicBezTo>
                  <a:cubicBezTo>
                    <a:pt x="2445" y="17124"/>
                    <a:pt x="2440" y="17056"/>
                    <a:pt x="2440" y="16993"/>
                  </a:cubicBezTo>
                  <a:cubicBezTo>
                    <a:pt x="2440" y="16956"/>
                    <a:pt x="2454" y="16877"/>
                    <a:pt x="2482" y="16757"/>
                  </a:cubicBezTo>
                  <a:lnTo>
                    <a:pt x="2519" y="16577"/>
                  </a:lnTo>
                  <a:cubicBezTo>
                    <a:pt x="2519" y="16550"/>
                    <a:pt x="2496" y="16527"/>
                    <a:pt x="2450" y="16507"/>
                  </a:cubicBezTo>
                  <a:cubicBezTo>
                    <a:pt x="2408" y="16490"/>
                    <a:pt x="2387" y="16465"/>
                    <a:pt x="2387" y="16432"/>
                  </a:cubicBezTo>
                  <a:cubicBezTo>
                    <a:pt x="2366" y="16285"/>
                    <a:pt x="2356" y="16183"/>
                    <a:pt x="2356" y="16126"/>
                  </a:cubicBezTo>
                  <a:cubicBezTo>
                    <a:pt x="2356" y="16049"/>
                    <a:pt x="2401" y="15999"/>
                    <a:pt x="2492" y="15976"/>
                  </a:cubicBezTo>
                  <a:cubicBezTo>
                    <a:pt x="2580" y="15956"/>
                    <a:pt x="2624" y="15906"/>
                    <a:pt x="2624" y="15826"/>
                  </a:cubicBezTo>
                  <a:cubicBezTo>
                    <a:pt x="2624" y="15772"/>
                    <a:pt x="2603" y="15720"/>
                    <a:pt x="2561" y="15670"/>
                  </a:cubicBezTo>
                  <a:cubicBezTo>
                    <a:pt x="2522" y="15624"/>
                    <a:pt x="2484" y="15600"/>
                    <a:pt x="2445" y="15600"/>
                  </a:cubicBezTo>
                  <a:cubicBezTo>
                    <a:pt x="2424" y="15600"/>
                    <a:pt x="2396" y="15619"/>
                    <a:pt x="2361" y="15655"/>
                  </a:cubicBezTo>
                  <a:cubicBezTo>
                    <a:pt x="2326" y="15689"/>
                    <a:pt x="2278" y="15707"/>
                    <a:pt x="2219" y="15710"/>
                  </a:cubicBezTo>
                  <a:cubicBezTo>
                    <a:pt x="2163" y="15710"/>
                    <a:pt x="2117" y="15722"/>
                    <a:pt x="2082" y="15746"/>
                  </a:cubicBezTo>
                  <a:cubicBezTo>
                    <a:pt x="2044" y="15769"/>
                    <a:pt x="2009" y="15781"/>
                    <a:pt x="1977" y="15781"/>
                  </a:cubicBezTo>
                  <a:lnTo>
                    <a:pt x="1867" y="15781"/>
                  </a:lnTo>
                  <a:cubicBezTo>
                    <a:pt x="1867" y="15767"/>
                    <a:pt x="1839" y="15734"/>
                    <a:pt x="1782" y="15680"/>
                  </a:cubicBezTo>
                  <a:cubicBezTo>
                    <a:pt x="1737" y="15637"/>
                    <a:pt x="1698" y="15604"/>
                    <a:pt x="1667" y="15580"/>
                  </a:cubicBezTo>
                  <a:cubicBezTo>
                    <a:pt x="1656" y="15574"/>
                    <a:pt x="1635" y="15537"/>
                    <a:pt x="1604" y="15470"/>
                  </a:cubicBezTo>
                  <a:cubicBezTo>
                    <a:pt x="1576" y="15420"/>
                    <a:pt x="1546" y="15395"/>
                    <a:pt x="1514" y="15395"/>
                  </a:cubicBezTo>
                  <a:cubicBezTo>
                    <a:pt x="1497" y="15395"/>
                    <a:pt x="1478" y="15403"/>
                    <a:pt x="1456" y="15420"/>
                  </a:cubicBezTo>
                  <a:cubicBezTo>
                    <a:pt x="1435" y="15437"/>
                    <a:pt x="1418" y="15445"/>
                    <a:pt x="1404" y="15445"/>
                  </a:cubicBezTo>
                  <a:cubicBezTo>
                    <a:pt x="1376" y="15445"/>
                    <a:pt x="1357" y="15425"/>
                    <a:pt x="1346" y="15385"/>
                  </a:cubicBezTo>
                  <a:cubicBezTo>
                    <a:pt x="1332" y="15345"/>
                    <a:pt x="1313" y="15325"/>
                    <a:pt x="1288" y="15325"/>
                  </a:cubicBezTo>
                  <a:cubicBezTo>
                    <a:pt x="1236" y="15352"/>
                    <a:pt x="1208" y="15365"/>
                    <a:pt x="1204" y="15365"/>
                  </a:cubicBezTo>
                  <a:cubicBezTo>
                    <a:pt x="1194" y="15365"/>
                    <a:pt x="1164" y="15345"/>
                    <a:pt x="1115" y="15305"/>
                  </a:cubicBezTo>
                  <a:cubicBezTo>
                    <a:pt x="1066" y="15265"/>
                    <a:pt x="1032" y="15245"/>
                    <a:pt x="1015" y="15245"/>
                  </a:cubicBezTo>
                  <a:cubicBezTo>
                    <a:pt x="941" y="15318"/>
                    <a:pt x="903" y="15355"/>
                    <a:pt x="899" y="15355"/>
                  </a:cubicBezTo>
                  <a:cubicBezTo>
                    <a:pt x="878" y="15355"/>
                    <a:pt x="845" y="15322"/>
                    <a:pt x="799" y="15255"/>
                  </a:cubicBezTo>
                  <a:cubicBezTo>
                    <a:pt x="757" y="15188"/>
                    <a:pt x="736" y="15141"/>
                    <a:pt x="736" y="15115"/>
                  </a:cubicBezTo>
                  <a:cubicBezTo>
                    <a:pt x="768" y="15044"/>
                    <a:pt x="785" y="14994"/>
                    <a:pt x="789" y="14964"/>
                  </a:cubicBezTo>
                  <a:lnTo>
                    <a:pt x="794" y="14959"/>
                  </a:lnTo>
                  <a:cubicBezTo>
                    <a:pt x="804" y="14946"/>
                    <a:pt x="813" y="14928"/>
                    <a:pt x="820" y="14904"/>
                  </a:cubicBezTo>
                  <a:lnTo>
                    <a:pt x="831" y="14869"/>
                  </a:lnTo>
                  <a:cubicBezTo>
                    <a:pt x="831" y="14852"/>
                    <a:pt x="817" y="14827"/>
                    <a:pt x="789" y="14794"/>
                  </a:cubicBezTo>
                  <a:cubicBezTo>
                    <a:pt x="761" y="14761"/>
                    <a:pt x="747" y="14736"/>
                    <a:pt x="747" y="14719"/>
                  </a:cubicBezTo>
                  <a:cubicBezTo>
                    <a:pt x="747" y="14699"/>
                    <a:pt x="762" y="14667"/>
                    <a:pt x="794" y="14624"/>
                  </a:cubicBezTo>
                  <a:cubicBezTo>
                    <a:pt x="829" y="14577"/>
                    <a:pt x="852" y="14530"/>
                    <a:pt x="862" y="14484"/>
                  </a:cubicBezTo>
                  <a:cubicBezTo>
                    <a:pt x="866" y="14470"/>
                    <a:pt x="894" y="14407"/>
                    <a:pt x="946" y="14293"/>
                  </a:cubicBezTo>
                  <a:cubicBezTo>
                    <a:pt x="999" y="14186"/>
                    <a:pt x="1025" y="14116"/>
                    <a:pt x="1025" y="14083"/>
                  </a:cubicBezTo>
                  <a:cubicBezTo>
                    <a:pt x="1025" y="14039"/>
                    <a:pt x="988" y="14001"/>
                    <a:pt x="915" y="13968"/>
                  </a:cubicBezTo>
                  <a:cubicBezTo>
                    <a:pt x="834" y="13931"/>
                    <a:pt x="792" y="13911"/>
                    <a:pt x="789" y="13908"/>
                  </a:cubicBezTo>
                  <a:cubicBezTo>
                    <a:pt x="708" y="13784"/>
                    <a:pt x="659" y="13682"/>
                    <a:pt x="641" y="13602"/>
                  </a:cubicBezTo>
                  <a:cubicBezTo>
                    <a:pt x="610" y="13455"/>
                    <a:pt x="596" y="13347"/>
                    <a:pt x="599" y="13276"/>
                  </a:cubicBezTo>
                  <a:cubicBezTo>
                    <a:pt x="599" y="13257"/>
                    <a:pt x="587" y="13206"/>
                    <a:pt x="563" y="13126"/>
                  </a:cubicBezTo>
                  <a:cubicBezTo>
                    <a:pt x="535" y="13043"/>
                    <a:pt x="521" y="12991"/>
                    <a:pt x="521" y="12971"/>
                  </a:cubicBezTo>
                  <a:cubicBezTo>
                    <a:pt x="521" y="12941"/>
                    <a:pt x="536" y="12903"/>
                    <a:pt x="568" y="12856"/>
                  </a:cubicBezTo>
                  <a:cubicBezTo>
                    <a:pt x="596" y="12812"/>
                    <a:pt x="610" y="12769"/>
                    <a:pt x="610" y="12726"/>
                  </a:cubicBezTo>
                  <a:cubicBezTo>
                    <a:pt x="610" y="12689"/>
                    <a:pt x="601" y="12654"/>
                    <a:pt x="584" y="12621"/>
                  </a:cubicBezTo>
                  <a:cubicBezTo>
                    <a:pt x="563" y="12577"/>
                    <a:pt x="533" y="12555"/>
                    <a:pt x="494" y="12555"/>
                  </a:cubicBezTo>
                  <a:cubicBezTo>
                    <a:pt x="424" y="12595"/>
                    <a:pt x="380" y="12616"/>
                    <a:pt x="363" y="12616"/>
                  </a:cubicBezTo>
                  <a:cubicBezTo>
                    <a:pt x="338" y="12616"/>
                    <a:pt x="307" y="12595"/>
                    <a:pt x="268" y="12555"/>
                  </a:cubicBezTo>
                  <a:cubicBezTo>
                    <a:pt x="216" y="12502"/>
                    <a:pt x="186" y="12472"/>
                    <a:pt x="179" y="12465"/>
                  </a:cubicBezTo>
                  <a:cubicBezTo>
                    <a:pt x="60" y="12415"/>
                    <a:pt x="0" y="12360"/>
                    <a:pt x="0" y="12300"/>
                  </a:cubicBezTo>
                  <a:cubicBezTo>
                    <a:pt x="0" y="12283"/>
                    <a:pt x="25" y="12252"/>
                    <a:pt x="74" y="12205"/>
                  </a:cubicBezTo>
                  <a:cubicBezTo>
                    <a:pt x="123" y="12155"/>
                    <a:pt x="151" y="12106"/>
                    <a:pt x="158" y="12060"/>
                  </a:cubicBezTo>
                  <a:cubicBezTo>
                    <a:pt x="161" y="11999"/>
                    <a:pt x="191" y="11961"/>
                    <a:pt x="247" y="11944"/>
                  </a:cubicBezTo>
                  <a:cubicBezTo>
                    <a:pt x="303" y="11924"/>
                    <a:pt x="331" y="11896"/>
                    <a:pt x="331" y="11859"/>
                  </a:cubicBezTo>
                  <a:cubicBezTo>
                    <a:pt x="331" y="11786"/>
                    <a:pt x="314" y="11704"/>
                    <a:pt x="279" y="11614"/>
                  </a:cubicBezTo>
                  <a:cubicBezTo>
                    <a:pt x="244" y="11524"/>
                    <a:pt x="226" y="11423"/>
                    <a:pt x="226" y="11313"/>
                  </a:cubicBezTo>
                  <a:cubicBezTo>
                    <a:pt x="226" y="11240"/>
                    <a:pt x="249" y="11185"/>
                    <a:pt x="294" y="11148"/>
                  </a:cubicBezTo>
                  <a:cubicBezTo>
                    <a:pt x="305" y="11141"/>
                    <a:pt x="366" y="11110"/>
                    <a:pt x="479" y="11053"/>
                  </a:cubicBezTo>
                  <a:cubicBezTo>
                    <a:pt x="514" y="10983"/>
                    <a:pt x="531" y="10944"/>
                    <a:pt x="531" y="10938"/>
                  </a:cubicBezTo>
                  <a:cubicBezTo>
                    <a:pt x="531" y="10911"/>
                    <a:pt x="508" y="10881"/>
                    <a:pt x="463" y="10848"/>
                  </a:cubicBezTo>
                  <a:cubicBezTo>
                    <a:pt x="417" y="10814"/>
                    <a:pt x="394" y="10793"/>
                    <a:pt x="394" y="10782"/>
                  </a:cubicBezTo>
                  <a:lnTo>
                    <a:pt x="436" y="10652"/>
                  </a:lnTo>
                  <a:cubicBezTo>
                    <a:pt x="436" y="10609"/>
                    <a:pt x="415" y="10559"/>
                    <a:pt x="373" y="10502"/>
                  </a:cubicBezTo>
                  <a:cubicBezTo>
                    <a:pt x="331" y="10442"/>
                    <a:pt x="310" y="10397"/>
                    <a:pt x="310" y="10367"/>
                  </a:cubicBezTo>
                  <a:cubicBezTo>
                    <a:pt x="310" y="10330"/>
                    <a:pt x="394" y="10283"/>
                    <a:pt x="563" y="10227"/>
                  </a:cubicBezTo>
                  <a:cubicBezTo>
                    <a:pt x="727" y="10170"/>
                    <a:pt x="810" y="10061"/>
                    <a:pt x="810" y="9901"/>
                  </a:cubicBezTo>
                  <a:cubicBezTo>
                    <a:pt x="810" y="9854"/>
                    <a:pt x="785" y="9813"/>
                    <a:pt x="736" y="9776"/>
                  </a:cubicBezTo>
                  <a:cubicBezTo>
                    <a:pt x="687" y="9736"/>
                    <a:pt x="663" y="9699"/>
                    <a:pt x="663" y="9666"/>
                  </a:cubicBezTo>
                  <a:cubicBezTo>
                    <a:pt x="663" y="9639"/>
                    <a:pt x="666" y="9622"/>
                    <a:pt x="673" y="9616"/>
                  </a:cubicBezTo>
                  <a:cubicBezTo>
                    <a:pt x="680" y="9609"/>
                    <a:pt x="694" y="9606"/>
                    <a:pt x="715" y="9606"/>
                  </a:cubicBezTo>
                  <a:cubicBezTo>
                    <a:pt x="726" y="9606"/>
                    <a:pt x="761" y="9619"/>
                    <a:pt x="820" y="9646"/>
                  </a:cubicBezTo>
                  <a:cubicBezTo>
                    <a:pt x="834" y="9646"/>
                    <a:pt x="848" y="9639"/>
                    <a:pt x="862" y="9626"/>
                  </a:cubicBezTo>
                  <a:cubicBezTo>
                    <a:pt x="876" y="9612"/>
                    <a:pt x="883" y="9599"/>
                    <a:pt x="883" y="9586"/>
                  </a:cubicBezTo>
                  <a:cubicBezTo>
                    <a:pt x="883" y="9545"/>
                    <a:pt x="848" y="9494"/>
                    <a:pt x="778" y="9430"/>
                  </a:cubicBezTo>
                  <a:cubicBezTo>
                    <a:pt x="705" y="9360"/>
                    <a:pt x="666" y="9317"/>
                    <a:pt x="663" y="9300"/>
                  </a:cubicBezTo>
                  <a:cubicBezTo>
                    <a:pt x="663" y="9297"/>
                    <a:pt x="638" y="9232"/>
                    <a:pt x="589" y="9105"/>
                  </a:cubicBezTo>
                  <a:cubicBezTo>
                    <a:pt x="557" y="9021"/>
                    <a:pt x="542" y="8945"/>
                    <a:pt x="542" y="8874"/>
                  </a:cubicBezTo>
                  <a:cubicBezTo>
                    <a:pt x="542" y="8821"/>
                    <a:pt x="564" y="8786"/>
                    <a:pt x="610" y="8769"/>
                  </a:cubicBezTo>
                  <a:cubicBezTo>
                    <a:pt x="652" y="8753"/>
                    <a:pt x="673" y="8709"/>
                    <a:pt x="673" y="8639"/>
                  </a:cubicBezTo>
                  <a:cubicBezTo>
                    <a:pt x="670" y="8582"/>
                    <a:pt x="684" y="8536"/>
                    <a:pt x="715" y="8499"/>
                  </a:cubicBezTo>
                  <a:cubicBezTo>
                    <a:pt x="743" y="8459"/>
                    <a:pt x="757" y="8420"/>
                    <a:pt x="757" y="8384"/>
                  </a:cubicBezTo>
                  <a:cubicBezTo>
                    <a:pt x="757" y="8364"/>
                    <a:pt x="736" y="8317"/>
                    <a:pt x="694" y="8243"/>
                  </a:cubicBezTo>
                  <a:cubicBezTo>
                    <a:pt x="652" y="8170"/>
                    <a:pt x="624" y="8133"/>
                    <a:pt x="610" y="8133"/>
                  </a:cubicBezTo>
                  <a:cubicBezTo>
                    <a:pt x="596" y="8133"/>
                    <a:pt x="582" y="8142"/>
                    <a:pt x="568" y="8158"/>
                  </a:cubicBezTo>
                  <a:cubicBezTo>
                    <a:pt x="550" y="8175"/>
                    <a:pt x="529" y="8183"/>
                    <a:pt x="505" y="8183"/>
                  </a:cubicBezTo>
                  <a:cubicBezTo>
                    <a:pt x="459" y="8183"/>
                    <a:pt x="412" y="8173"/>
                    <a:pt x="363" y="8153"/>
                  </a:cubicBezTo>
                  <a:cubicBezTo>
                    <a:pt x="300" y="8127"/>
                    <a:pt x="268" y="8091"/>
                    <a:pt x="268" y="8048"/>
                  </a:cubicBezTo>
                  <a:cubicBezTo>
                    <a:pt x="268" y="8008"/>
                    <a:pt x="301" y="7981"/>
                    <a:pt x="368" y="7968"/>
                  </a:cubicBezTo>
                  <a:cubicBezTo>
                    <a:pt x="435" y="7955"/>
                    <a:pt x="468" y="7935"/>
                    <a:pt x="468" y="7908"/>
                  </a:cubicBezTo>
                  <a:cubicBezTo>
                    <a:pt x="468" y="7888"/>
                    <a:pt x="450" y="7864"/>
                    <a:pt x="415" y="7838"/>
                  </a:cubicBezTo>
                  <a:cubicBezTo>
                    <a:pt x="380" y="7811"/>
                    <a:pt x="363" y="7784"/>
                    <a:pt x="363" y="7758"/>
                  </a:cubicBezTo>
                  <a:cubicBezTo>
                    <a:pt x="363" y="7738"/>
                    <a:pt x="373" y="7714"/>
                    <a:pt x="394" y="7687"/>
                  </a:cubicBezTo>
                  <a:cubicBezTo>
                    <a:pt x="415" y="7661"/>
                    <a:pt x="426" y="7634"/>
                    <a:pt x="426" y="7607"/>
                  </a:cubicBezTo>
                  <a:cubicBezTo>
                    <a:pt x="426" y="7581"/>
                    <a:pt x="394" y="7534"/>
                    <a:pt x="331" y="7467"/>
                  </a:cubicBezTo>
                  <a:cubicBezTo>
                    <a:pt x="279" y="7414"/>
                    <a:pt x="233" y="7374"/>
                    <a:pt x="195" y="7347"/>
                  </a:cubicBezTo>
                  <a:cubicBezTo>
                    <a:pt x="167" y="7293"/>
                    <a:pt x="147" y="7257"/>
                    <a:pt x="137" y="7237"/>
                  </a:cubicBezTo>
                  <a:cubicBezTo>
                    <a:pt x="119" y="7203"/>
                    <a:pt x="110" y="7178"/>
                    <a:pt x="110" y="7162"/>
                  </a:cubicBezTo>
                  <a:cubicBezTo>
                    <a:pt x="110" y="7105"/>
                    <a:pt x="175" y="7055"/>
                    <a:pt x="305" y="7011"/>
                  </a:cubicBezTo>
                  <a:cubicBezTo>
                    <a:pt x="431" y="6968"/>
                    <a:pt x="494" y="6920"/>
                    <a:pt x="494" y="6866"/>
                  </a:cubicBezTo>
                  <a:cubicBezTo>
                    <a:pt x="494" y="6839"/>
                    <a:pt x="468" y="6794"/>
                    <a:pt x="415" y="6731"/>
                  </a:cubicBezTo>
                  <a:cubicBezTo>
                    <a:pt x="359" y="6668"/>
                    <a:pt x="331" y="6621"/>
                    <a:pt x="331" y="6591"/>
                  </a:cubicBezTo>
                  <a:cubicBezTo>
                    <a:pt x="331" y="6537"/>
                    <a:pt x="361" y="6507"/>
                    <a:pt x="421" y="6501"/>
                  </a:cubicBezTo>
                  <a:cubicBezTo>
                    <a:pt x="536" y="6484"/>
                    <a:pt x="613" y="6467"/>
                    <a:pt x="652" y="6450"/>
                  </a:cubicBezTo>
                  <a:cubicBezTo>
                    <a:pt x="691" y="6430"/>
                    <a:pt x="752" y="6387"/>
                    <a:pt x="836" y="6320"/>
                  </a:cubicBezTo>
                  <a:cubicBezTo>
                    <a:pt x="920" y="6250"/>
                    <a:pt x="969" y="6212"/>
                    <a:pt x="983" y="6205"/>
                  </a:cubicBezTo>
                  <a:cubicBezTo>
                    <a:pt x="1018" y="6185"/>
                    <a:pt x="1048" y="6135"/>
                    <a:pt x="1073" y="6055"/>
                  </a:cubicBezTo>
                  <a:cubicBezTo>
                    <a:pt x="1080" y="6041"/>
                    <a:pt x="1095" y="5975"/>
                    <a:pt x="1120" y="5855"/>
                  </a:cubicBezTo>
                  <a:cubicBezTo>
                    <a:pt x="1127" y="5811"/>
                    <a:pt x="1171" y="5764"/>
                    <a:pt x="1251" y="5714"/>
                  </a:cubicBezTo>
                  <a:cubicBezTo>
                    <a:pt x="1329" y="5668"/>
                    <a:pt x="1367" y="5641"/>
                    <a:pt x="1367" y="5634"/>
                  </a:cubicBezTo>
                  <a:cubicBezTo>
                    <a:pt x="1367" y="5601"/>
                    <a:pt x="1343" y="5569"/>
                    <a:pt x="1293" y="5539"/>
                  </a:cubicBezTo>
                  <a:cubicBezTo>
                    <a:pt x="1251" y="5512"/>
                    <a:pt x="1220" y="5499"/>
                    <a:pt x="1199" y="5499"/>
                  </a:cubicBezTo>
                  <a:cubicBezTo>
                    <a:pt x="1129" y="5526"/>
                    <a:pt x="1085" y="5539"/>
                    <a:pt x="1067" y="5539"/>
                  </a:cubicBezTo>
                  <a:cubicBezTo>
                    <a:pt x="1011" y="5532"/>
                    <a:pt x="983" y="5516"/>
                    <a:pt x="983" y="5489"/>
                  </a:cubicBezTo>
                  <a:cubicBezTo>
                    <a:pt x="983" y="5476"/>
                    <a:pt x="996" y="5456"/>
                    <a:pt x="1020" y="5429"/>
                  </a:cubicBezTo>
                  <a:cubicBezTo>
                    <a:pt x="1045" y="5402"/>
                    <a:pt x="1057" y="5382"/>
                    <a:pt x="1057" y="5369"/>
                  </a:cubicBezTo>
                  <a:cubicBezTo>
                    <a:pt x="1057" y="5302"/>
                    <a:pt x="978" y="5260"/>
                    <a:pt x="820" y="5244"/>
                  </a:cubicBezTo>
                  <a:cubicBezTo>
                    <a:pt x="659" y="5230"/>
                    <a:pt x="578" y="5178"/>
                    <a:pt x="578" y="5088"/>
                  </a:cubicBezTo>
                  <a:cubicBezTo>
                    <a:pt x="578" y="5042"/>
                    <a:pt x="626" y="4991"/>
                    <a:pt x="720" y="4938"/>
                  </a:cubicBezTo>
                  <a:cubicBezTo>
                    <a:pt x="811" y="4888"/>
                    <a:pt x="857" y="4848"/>
                    <a:pt x="857" y="4818"/>
                  </a:cubicBezTo>
                  <a:cubicBezTo>
                    <a:pt x="857" y="4794"/>
                    <a:pt x="847" y="4766"/>
                    <a:pt x="826" y="4733"/>
                  </a:cubicBezTo>
                  <a:cubicBezTo>
                    <a:pt x="801" y="4703"/>
                    <a:pt x="789" y="4669"/>
                    <a:pt x="789" y="4632"/>
                  </a:cubicBezTo>
                  <a:cubicBezTo>
                    <a:pt x="789" y="4562"/>
                    <a:pt x="820" y="4531"/>
                    <a:pt x="883" y="4537"/>
                  </a:cubicBezTo>
                  <a:cubicBezTo>
                    <a:pt x="953" y="4541"/>
                    <a:pt x="994" y="4514"/>
                    <a:pt x="1004" y="4457"/>
                  </a:cubicBezTo>
                  <a:cubicBezTo>
                    <a:pt x="1011" y="4417"/>
                    <a:pt x="1046" y="4379"/>
                    <a:pt x="1109" y="4342"/>
                  </a:cubicBezTo>
                  <a:cubicBezTo>
                    <a:pt x="1166" y="4309"/>
                    <a:pt x="1194" y="4269"/>
                    <a:pt x="1194" y="4222"/>
                  </a:cubicBezTo>
                  <a:lnTo>
                    <a:pt x="1173" y="4082"/>
                  </a:lnTo>
                  <a:cubicBezTo>
                    <a:pt x="1173" y="4058"/>
                    <a:pt x="1201" y="4020"/>
                    <a:pt x="1257" y="3966"/>
                  </a:cubicBezTo>
                  <a:cubicBezTo>
                    <a:pt x="1309" y="3913"/>
                    <a:pt x="1336" y="3863"/>
                    <a:pt x="1336" y="3816"/>
                  </a:cubicBezTo>
                  <a:cubicBezTo>
                    <a:pt x="1336" y="3810"/>
                    <a:pt x="1332" y="3805"/>
                    <a:pt x="1325" y="3801"/>
                  </a:cubicBezTo>
                  <a:cubicBezTo>
                    <a:pt x="1318" y="3801"/>
                    <a:pt x="1314" y="3796"/>
                    <a:pt x="1314" y="3786"/>
                  </a:cubicBezTo>
                  <a:lnTo>
                    <a:pt x="1304" y="3726"/>
                  </a:lnTo>
                  <a:cubicBezTo>
                    <a:pt x="1304" y="3669"/>
                    <a:pt x="1320" y="3634"/>
                    <a:pt x="1351" y="3621"/>
                  </a:cubicBezTo>
                  <a:cubicBezTo>
                    <a:pt x="1376" y="3614"/>
                    <a:pt x="1430" y="3601"/>
                    <a:pt x="1514" y="3581"/>
                  </a:cubicBezTo>
                  <a:lnTo>
                    <a:pt x="1514" y="3571"/>
                  </a:lnTo>
                  <a:lnTo>
                    <a:pt x="158" y="2749"/>
                  </a:lnTo>
                  <a:lnTo>
                    <a:pt x="799" y="1883"/>
                  </a:lnTo>
                  <a:lnTo>
                    <a:pt x="684" y="1753"/>
                  </a:lnTo>
                  <a:lnTo>
                    <a:pt x="2040" y="40"/>
                  </a:lnTo>
                  <a:cubicBezTo>
                    <a:pt x="2079" y="70"/>
                    <a:pt x="2103" y="90"/>
                    <a:pt x="2114" y="100"/>
                  </a:cubicBezTo>
                  <a:cubicBezTo>
                    <a:pt x="2152" y="137"/>
                    <a:pt x="2182" y="182"/>
                    <a:pt x="2203" y="235"/>
                  </a:cubicBezTo>
                  <a:cubicBezTo>
                    <a:pt x="2214" y="259"/>
                    <a:pt x="2231" y="317"/>
                    <a:pt x="2256" y="411"/>
                  </a:cubicBezTo>
                  <a:cubicBezTo>
                    <a:pt x="2266" y="444"/>
                    <a:pt x="2280" y="504"/>
                    <a:pt x="2298" y="591"/>
                  </a:cubicBezTo>
                  <a:cubicBezTo>
                    <a:pt x="2322" y="661"/>
                    <a:pt x="2354" y="696"/>
                    <a:pt x="2392" y="696"/>
                  </a:cubicBezTo>
                  <a:cubicBezTo>
                    <a:pt x="2406" y="696"/>
                    <a:pt x="2426" y="676"/>
                    <a:pt x="2450" y="636"/>
                  </a:cubicBezTo>
                  <a:cubicBezTo>
                    <a:pt x="2450" y="593"/>
                    <a:pt x="2445" y="548"/>
                    <a:pt x="2434" y="501"/>
                  </a:cubicBezTo>
                  <a:cubicBezTo>
                    <a:pt x="2424" y="461"/>
                    <a:pt x="2419" y="437"/>
                    <a:pt x="2419" y="431"/>
                  </a:cubicBezTo>
                  <a:cubicBezTo>
                    <a:pt x="2419" y="411"/>
                    <a:pt x="2429" y="392"/>
                    <a:pt x="2450" y="376"/>
                  </a:cubicBezTo>
                  <a:cubicBezTo>
                    <a:pt x="2468" y="362"/>
                    <a:pt x="2480" y="356"/>
                    <a:pt x="2487" y="356"/>
                  </a:cubicBezTo>
                  <a:cubicBezTo>
                    <a:pt x="2536" y="356"/>
                    <a:pt x="2613" y="394"/>
                    <a:pt x="2718" y="471"/>
                  </a:cubicBezTo>
                  <a:cubicBezTo>
                    <a:pt x="2820" y="544"/>
                    <a:pt x="2871" y="594"/>
                    <a:pt x="2871" y="621"/>
                  </a:cubicBezTo>
                  <a:cubicBezTo>
                    <a:pt x="2871" y="638"/>
                    <a:pt x="2866" y="666"/>
                    <a:pt x="2855" y="706"/>
                  </a:cubicBezTo>
                  <a:cubicBezTo>
                    <a:pt x="2845" y="746"/>
                    <a:pt x="2839" y="778"/>
                    <a:pt x="2839" y="801"/>
                  </a:cubicBezTo>
                  <a:cubicBezTo>
                    <a:pt x="2839" y="1005"/>
                    <a:pt x="2887" y="1107"/>
                    <a:pt x="2981" y="1107"/>
                  </a:cubicBezTo>
                  <a:cubicBezTo>
                    <a:pt x="3034" y="1107"/>
                    <a:pt x="3069" y="972"/>
                    <a:pt x="3086" y="701"/>
                  </a:cubicBezTo>
                  <a:cubicBezTo>
                    <a:pt x="3104" y="431"/>
                    <a:pt x="3162" y="296"/>
                    <a:pt x="3260" y="296"/>
                  </a:cubicBezTo>
                  <a:cubicBezTo>
                    <a:pt x="3281" y="296"/>
                    <a:pt x="3306" y="302"/>
                    <a:pt x="3334" y="315"/>
                  </a:cubicBezTo>
                  <a:cubicBezTo>
                    <a:pt x="3358" y="329"/>
                    <a:pt x="3383" y="336"/>
                    <a:pt x="3407" y="336"/>
                  </a:cubicBezTo>
                  <a:cubicBezTo>
                    <a:pt x="3456" y="336"/>
                    <a:pt x="3514" y="326"/>
                    <a:pt x="3581" y="305"/>
                  </a:cubicBezTo>
                  <a:cubicBezTo>
                    <a:pt x="3647" y="285"/>
                    <a:pt x="3696" y="275"/>
                    <a:pt x="3728" y="275"/>
                  </a:cubicBezTo>
                  <a:cubicBezTo>
                    <a:pt x="3770" y="275"/>
                    <a:pt x="3952" y="305"/>
                    <a:pt x="4275" y="366"/>
                  </a:cubicBezTo>
                  <a:cubicBezTo>
                    <a:pt x="4313" y="366"/>
                    <a:pt x="4376" y="327"/>
                    <a:pt x="4464" y="250"/>
                  </a:cubicBezTo>
                  <a:cubicBezTo>
                    <a:pt x="4552" y="170"/>
                    <a:pt x="4624" y="130"/>
                    <a:pt x="4680" y="130"/>
                  </a:cubicBezTo>
                  <a:cubicBezTo>
                    <a:pt x="4701" y="130"/>
                    <a:pt x="4741" y="152"/>
                    <a:pt x="4801" y="195"/>
                  </a:cubicBezTo>
                  <a:cubicBezTo>
                    <a:pt x="4864" y="112"/>
                    <a:pt x="4914" y="70"/>
                    <a:pt x="4953" y="70"/>
                  </a:cubicBezTo>
                  <a:cubicBezTo>
                    <a:pt x="4995" y="70"/>
                    <a:pt x="5055" y="93"/>
                    <a:pt x="5132" y="140"/>
                  </a:cubicBezTo>
                  <a:cubicBezTo>
                    <a:pt x="5209" y="184"/>
                    <a:pt x="5263" y="205"/>
                    <a:pt x="5295" y="205"/>
                  </a:cubicBezTo>
                  <a:cubicBezTo>
                    <a:pt x="5344" y="205"/>
                    <a:pt x="5421" y="184"/>
                    <a:pt x="5526" y="140"/>
                  </a:cubicBezTo>
                  <a:cubicBezTo>
                    <a:pt x="5628" y="93"/>
                    <a:pt x="5680" y="70"/>
                    <a:pt x="5684" y="70"/>
                  </a:cubicBezTo>
                  <a:cubicBezTo>
                    <a:pt x="5708" y="70"/>
                    <a:pt x="5735" y="87"/>
                    <a:pt x="5763" y="120"/>
                  </a:cubicBezTo>
                  <a:cubicBezTo>
                    <a:pt x="5791" y="154"/>
                    <a:pt x="5812" y="170"/>
                    <a:pt x="5826" y="170"/>
                  </a:cubicBezTo>
                  <a:lnTo>
                    <a:pt x="5963" y="85"/>
                  </a:lnTo>
                  <a:cubicBezTo>
                    <a:pt x="6054" y="28"/>
                    <a:pt x="6154" y="0"/>
                    <a:pt x="6262" y="0"/>
                  </a:cubicBezTo>
                  <a:cubicBezTo>
                    <a:pt x="6346" y="0"/>
                    <a:pt x="6411" y="40"/>
                    <a:pt x="6457" y="120"/>
                  </a:cubicBezTo>
                  <a:cubicBezTo>
                    <a:pt x="6502" y="197"/>
                    <a:pt x="6550" y="235"/>
                    <a:pt x="6599" y="235"/>
                  </a:cubicBezTo>
                  <a:cubicBezTo>
                    <a:pt x="6616" y="235"/>
                    <a:pt x="6692" y="217"/>
                    <a:pt x="6825" y="180"/>
                  </a:cubicBezTo>
                  <a:cubicBezTo>
                    <a:pt x="6867" y="180"/>
                    <a:pt x="6902" y="202"/>
                    <a:pt x="6930" y="245"/>
                  </a:cubicBezTo>
                  <a:cubicBezTo>
                    <a:pt x="6951" y="279"/>
                    <a:pt x="6962" y="314"/>
                    <a:pt x="6962" y="351"/>
                  </a:cubicBezTo>
                  <a:cubicBezTo>
                    <a:pt x="6962" y="434"/>
                    <a:pt x="6860" y="494"/>
                    <a:pt x="6657" y="531"/>
                  </a:cubicBezTo>
                  <a:cubicBezTo>
                    <a:pt x="6429" y="558"/>
                    <a:pt x="6289" y="576"/>
                    <a:pt x="6236" y="586"/>
                  </a:cubicBezTo>
                  <a:lnTo>
                    <a:pt x="5952" y="656"/>
                  </a:lnTo>
                  <a:cubicBezTo>
                    <a:pt x="5840" y="683"/>
                    <a:pt x="5738" y="696"/>
                    <a:pt x="5647" y="696"/>
                  </a:cubicBezTo>
                  <a:cubicBezTo>
                    <a:pt x="5553" y="696"/>
                    <a:pt x="5461" y="673"/>
                    <a:pt x="5374" y="626"/>
                  </a:cubicBezTo>
                  <a:cubicBezTo>
                    <a:pt x="5286" y="576"/>
                    <a:pt x="5218" y="551"/>
                    <a:pt x="5169" y="551"/>
                  </a:cubicBezTo>
                  <a:cubicBezTo>
                    <a:pt x="5085" y="551"/>
                    <a:pt x="4964" y="578"/>
                    <a:pt x="4806" y="631"/>
                  </a:cubicBezTo>
                  <a:cubicBezTo>
                    <a:pt x="4659" y="684"/>
                    <a:pt x="4578" y="713"/>
                    <a:pt x="4564" y="716"/>
                  </a:cubicBezTo>
                  <a:cubicBezTo>
                    <a:pt x="4455" y="719"/>
                    <a:pt x="4368" y="726"/>
                    <a:pt x="4301" y="736"/>
                  </a:cubicBezTo>
                  <a:cubicBezTo>
                    <a:pt x="4175" y="753"/>
                    <a:pt x="4112" y="795"/>
                    <a:pt x="4112" y="861"/>
                  </a:cubicBezTo>
                  <a:cubicBezTo>
                    <a:pt x="4112" y="891"/>
                    <a:pt x="4152" y="910"/>
                    <a:pt x="4233" y="916"/>
                  </a:cubicBezTo>
                  <a:cubicBezTo>
                    <a:pt x="4271" y="916"/>
                    <a:pt x="4320" y="915"/>
                    <a:pt x="4380" y="912"/>
                  </a:cubicBezTo>
                  <a:cubicBezTo>
                    <a:pt x="4422" y="912"/>
                    <a:pt x="4496" y="922"/>
                    <a:pt x="4601" y="942"/>
                  </a:cubicBezTo>
                  <a:cubicBezTo>
                    <a:pt x="4678" y="942"/>
                    <a:pt x="4760" y="918"/>
                    <a:pt x="4848" y="871"/>
                  </a:cubicBezTo>
                  <a:cubicBezTo>
                    <a:pt x="4932" y="825"/>
                    <a:pt x="4999" y="801"/>
                    <a:pt x="5048" y="801"/>
                  </a:cubicBezTo>
                  <a:cubicBezTo>
                    <a:pt x="5114" y="801"/>
                    <a:pt x="5151" y="851"/>
                    <a:pt x="5158" y="952"/>
                  </a:cubicBezTo>
                  <a:cubicBezTo>
                    <a:pt x="5179" y="952"/>
                    <a:pt x="5211" y="945"/>
                    <a:pt x="5253" y="931"/>
                  </a:cubicBezTo>
                  <a:cubicBezTo>
                    <a:pt x="5305" y="915"/>
                    <a:pt x="5342" y="898"/>
                    <a:pt x="5363" y="881"/>
                  </a:cubicBezTo>
                  <a:lnTo>
                    <a:pt x="5416" y="881"/>
                  </a:lnTo>
                  <a:lnTo>
                    <a:pt x="5426" y="957"/>
                  </a:lnTo>
                  <a:cubicBezTo>
                    <a:pt x="5426" y="1000"/>
                    <a:pt x="5354" y="1102"/>
                    <a:pt x="5211" y="1262"/>
                  </a:cubicBezTo>
                  <a:cubicBezTo>
                    <a:pt x="5218" y="1262"/>
                    <a:pt x="5232" y="1265"/>
                    <a:pt x="5253" y="1272"/>
                  </a:cubicBezTo>
                  <a:cubicBezTo>
                    <a:pt x="5263" y="1272"/>
                    <a:pt x="5397" y="1187"/>
                    <a:pt x="5652" y="1017"/>
                  </a:cubicBezTo>
                  <a:cubicBezTo>
                    <a:pt x="5908" y="843"/>
                    <a:pt x="6168" y="756"/>
                    <a:pt x="6431" y="756"/>
                  </a:cubicBezTo>
                  <a:lnTo>
                    <a:pt x="6962" y="766"/>
                  </a:lnTo>
                  <a:cubicBezTo>
                    <a:pt x="6895" y="833"/>
                    <a:pt x="6848" y="881"/>
                    <a:pt x="6820" y="912"/>
                  </a:cubicBezTo>
                  <a:cubicBezTo>
                    <a:pt x="6774" y="965"/>
                    <a:pt x="6746" y="1010"/>
                    <a:pt x="6736" y="1047"/>
                  </a:cubicBezTo>
                  <a:lnTo>
                    <a:pt x="6983" y="1047"/>
                  </a:lnTo>
                  <a:cubicBezTo>
                    <a:pt x="7197" y="983"/>
                    <a:pt x="7326" y="905"/>
                    <a:pt x="7372" y="811"/>
                  </a:cubicBezTo>
                  <a:cubicBezTo>
                    <a:pt x="7407" y="741"/>
                    <a:pt x="7482" y="706"/>
                    <a:pt x="7598" y="706"/>
                  </a:cubicBezTo>
                  <a:lnTo>
                    <a:pt x="7698" y="726"/>
                  </a:lnTo>
                  <a:cubicBezTo>
                    <a:pt x="7747" y="726"/>
                    <a:pt x="7789" y="710"/>
                    <a:pt x="7824" y="676"/>
                  </a:cubicBezTo>
                  <a:cubicBezTo>
                    <a:pt x="7859" y="643"/>
                    <a:pt x="7877" y="603"/>
                    <a:pt x="7877" y="556"/>
                  </a:cubicBezTo>
                  <a:cubicBezTo>
                    <a:pt x="7877" y="523"/>
                    <a:pt x="7871" y="487"/>
                    <a:pt x="7861" y="451"/>
                  </a:cubicBezTo>
                  <a:cubicBezTo>
                    <a:pt x="7850" y="411"/>
                    <a:pt x="7845" y="376"/>
                    <a:pt x="7845" y="346"/>
                  </a:cubicBezTo>
                  <a:cubicBezTo>
                    <a:pt x="7845" y="222"/>
                    <a:pt x="7905" y="160"/>
                    <a:pt x="8024" y="160"/>
                  </a:cubicBezTo>
                  <a:cubicBezTo>
                    <a:pt x="8150" y="160"/>
                    <a:pt x="8227" y="229"/>
                    <a:pt x="8255" y="366"/>
                  </a:cubicBezTo>
                  <a:cubicBezTo>
                    <a:pt x="8262" y="399"/>
                    <a:pt x="8266" y="492"/>
                    <a:pt x="8266" y="646"/>
                  </a:cubicBezTo>
                  <a:cubicBezTo>
                    <a:pt x="8266" y="750"/>
                    <a:pt x="8224" y="915"/>
                    <a:pt x="8139" y="1142"/>
                  </a:cubicBezTo>
                  <a:cubicBezTo>
                    <a:pt x="8052" y="1369"/>
                    <a:pt x="8008" y="1583"/>
                    <a:pt x="8008" y="1783"/>
                  </a:cubicBezTo>
                  <a:cubicBezTo>
                    <a:pt x="8008" y="2290"/>
                    <a:pt x="8129" y="2544"/>
                    <a:pt x="8371" y="2544"/>
                  </a:cubicBezTo>
                  <a:cubicBezTo>
                    <a:pt x="8451" y="2544"/>
                    <a:pt x="8492" y="2526"/>
                    <a:pt x="8492" y="2489"/>
                  </a:cubicBezTo>
                  <a:cubicBezTo>
                    <a:pt x="8495" y="2402"/>
                    <a:pt x="8506" y="2339"/>
                    <a:pt x="8523" y="2299"/>
                  </a:cubicBezTo>
                  <a:cubicBezTo>
                    <a:pt x="8548" y="2245"/>
                    <a:pt x="8586" y="2209"/>
                    <a:pt x="8639" y="2189"/>
                  </a:cubicBezTo>
                  <a:cubicBezTo>
                    <a:pt x="8671" y="2175"/>
                    <a:pt x="8720" y="2157"/>
                    <a:pt x="8786" y="2133"/>
                  </a:cubicBezTo>
                  <a:cubicBezTo>
                    <a:pt x="8811" y="2120"/>
                    <a:pt x="8844" y="2078"/>
                    <a:pt x="8886" y="2008"/>
                  </a:cubicBezTo>
                  <a:cubicBezTo>
                    <a:pt x="8928" y="1941"/>
                    <a:pt x="8970" y="1895"/>
                    <a:pt x="9012" y="1868"/>
                  </a:cubicBezTo>
                  <a:cubicBezTo>
                    <a:pt x="9065" y="1835"/>
                    <a:pt x="9105" y="1780"/>
                    <a:pt x="9133" y="1703"/>
                  </a:cubicBezTo>
                  <a:cubicBezTo>
                    <a:pt x="9154" y="1643"/>
                    <a:pt x="9182" y="1613"/>
                    <a:pt x="9217" y="1613"/>
                  </a:cubicBezTo>
                  <a:cubicBezTo>
                    <a:pt x="9259" y="1613"/>
                    <a:pt x="9324" y="1623"/>
                    <a:pt x="9412" y="1643"/>
                  </a:cubicBezTo>
                  <a:cubicBezTo>
                    <a:pt x="9426" y="1643"/>
                    <a:pt x="9450" y="1638"/>
                    <a:pt x="9486" y="1628"/>
                  </a:cubicBezTo>
                  <a:cubicBezTo>
                    <a:pt x="9521" y="1618"/>
                    <a:pt x="9554" y="1613"/>
                    <a:pt x="9585" y="1613"/>
                  </a:cubicBezTo>
                  <a:cubicBezTo>
                    <a:pt x="9656" y="1613"/>
                    <a:pt x="9691" y="1639"/>
                    <a:pt x="9691" y="1693"/>
                  </a:cubicBezTo>
                  <a:cubicBezTo>
                    <a:pt x="9691" y="1776"/>
                    <a:pt x="9629" y="1888"/>
                    <a:pt x="9507" y="2028"/>
                  </a:cubicBezTo>
                  <a:cubicBezTo>
                    <a:pt x="9384" y="2165"/>
                    <a:pt x="9322" y="2237"/>
                    <a:pt x="9322" y="2244"/>
                  </a:cubicBezTo>
                  <a:cubicBezTo>
                    <a:pt x="9322" y="2270"/>
                    <a:pt x="9349" y="2290"/>
                    <a:pt x="9401" y="2304"/>
                  </a:cubicBezTo>
                  <a:cubicBezTo>
                    <a:pt x="9429" y="2314"/>
                    <a:pt x="9464" y="2322"/>
                    <a:pt x="9507" y="2329"/>
                  </a:cubicBezTo>
                  <a:cubicBezTo>
                    <a:pt x="9475" y="2396"/>
                    <a:pt x="9394" y="2466"/>
                    <a:pt x="9265" y="2539"/>
                  </a:cubicBezTo>
                  <a:cubicBezTo>
                    <a:pt x="9152" y="2603"/>
                    <a:pt x="9096" y="2661"/>
                    <a:pt x="9096" y="2714"/>
                  </a:cubicBezTo>
                  <a:cubicBezTo>
                    <a:pt x="9096" y="2764"/>
                    <a:pt x="9168" y="2821"/>
                    <a:pt x="9312" y="2885"/>
                  </a:cubicBezTo>
                  <a:cubicBezTo>
                    <a:pt x="9452" y="2948"/>
                    <a:pt x="9568" y="2980"/>
                    <a:pt x="9659" y="2980"/>
                  </a:cubicBezTo>
                  <a:cubicBezTo>
                    <a:pt x="9677" y="2980"/>
                    <a:pt x="9748" y="2896"/>
                    <a:pt x="9875" y="2729"/>
                  </a:cubicBezTo>
                  <a:cubicBezTo>
                    <a:pt x="10018" y="2559"/>
                    <a:pt x="10148" y="2474"/>
                    <a:pt x="10264" y="2474"/>
                  </a:cubicBezTo>
                  <a:cubicBezTo>
                    <a:pt x="10334" y="2474"/>
                    <a:pt x="10581" y="2608"/>
                    <a:pt x="11005" y="2875"/>
                  </a:cubicBezTo>
                  <a:cubicBezTo>
                    <a:pt x="11114" y="2985"/>
                    <a:pt x="11212" y="3172"/>
                    <a:pt x="11300" y="3436"/>
                  </a:cubicBezTo>
                  <a:close/>
                  <a:moveTo>
                    <a:pt x="11300" y="343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0" name="AutoShape 97"/>
            <p:cNvSpPr>
              <a:spLocks/>
            </p:cNvSpPr>
            <p:nvPr/>
          </p:nvSpPr>
          <p:spPr bwMode="auto">
            <a:xfrm>
              <a:off x="7527884" y="2930330"/>
              <a:ext cx="24504" cy="13784"/>
            </a:xfrm>
            <a:custGeom>
              <a:avLst/>
              <a:gdLst/>
              <a:ahLst/>
              <a:cxnLst/>
              <a:rect l="0" t="0" r="r" b="b"/>
              <a:pathLst>
                <a:path w="21600" h="21600">
                  <a:moveTo>
                    <a:pt x="20533" y="2780"/>
                  </a:moveTo>
                  <a:cubicBezTo>
                    <a:pt x="21244" y="4424"/>
                    <a:pt x="21600" y="6378"/>
                    <a:pt x="21600" y="8639"/>
                  </a:cubicBezTo>
                  <a:cubicBezTo>
                    <a:pt x="21600" y="9053"/>
                    <a:pt x="21126" y="10286"/>
                    <a:pt x="20170" y="12342"/>
                  </a:cubicBezTo>
                  <a:cubicBezTo>
                    <a:pt x="19933" y="12756"/>
                    <a:pt x="19759" y="13166"/>
                    <a:pt x="19640" y="13579"/>
                  </a:cubicBezTo>
                  <a:cubicBezTo>
                    <a:pt x="19277" y="13989"/>
                    <a:pt x="18985" y="14402"/>
                    <a:pt x="18747" y="14812"/>
                  </a:cubicBezTo>
                  <a:cubicBezTo>
                    <a:pt x="18510" y="15017"/>
                    <a:pt x="18210" y="15328"/>
                    <a:pt x="17855" y="15735"/>
                  </a:cubicBezTo>
                  <a:cubicBezTo>
                    <a:pt x="16662" y="16558"/>
                    <a:pt x="15176" y="17487"/>
                    <a:pt x="13391" y="18515"/>
                  </a:cubicBezTo>
                  <a:cubicBezTo>
                    <a:pt x="9702" y="20572"/>
                    <a:pt x="7023" y="21600"/>
                    <a:pt x="5356" y="21600"/>
                  </a:cubicBezTo>
                  <a:cubicBezTo>
                    <a:pt x="4875" y="21600"/>
                    <a:pt x="3927" y="21187"/>
                    <a:pt x="2497" y="20364"/>
                  </a:cubicBezTo>
                  <a:cubicBezTo>
                    <a:pt x="830" y="19338"/>
                    <a:pt x="0" y="18515"/>
                    <a:pt x="0" y="17897"/>
                  </a:cubicBezTo>
                  <a:cubicBezTo>
                    <a:pt x="0" y="15840"/>
                    <a:pt x="2797" y="12240"/>
                    <a:pt x="8390" y="7098"/>
                  </a:cubicBezTo>
                  <a:cubicBezTo>
                    <a:pt x="13510" y="2367"/>
                    <a:pt x="16425" y="0"/>
                    <a:pt x="17136" y="0"/>
                  </a:cubicBezTo>
                  <a:cubicBezTo>
                    <a:pt x="18566" y="0"/>
                    <a:pt x="19696" y="926"/>
                    <a:pt x="20533" y="2780"/>
                  </a:cubicBezTo>
                  <a:close/>
                  <a:moveTo>
                    <a:pt x="20533" y="278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1" name="AutoShape 98"/>
            <p:cNvSpPr>
              <a:spLocks/>
            </p:cNvSpPr>
            <p:nvPr/>
          </p:nvSpPr>
          <p:spPr bwMode="auto">
            <a:xfrm>
              <a:off x="6833599" y="4302564"/>
              <a:ext cx="317533" cy="215433"/>
            </a:xfrm>
            <a:custGeom>
              <a:avLst/>
              <a:gdLst/>
              <a:ahLst/>
              <a:cxnLst/>
              <a:rect l="0" t="0" r="r" b="b"/>
              <a:pathLst>
                <a:path w="21591" h="21600">
                  <a:moveTo>
                    <a:pt x="17500" y="21600"/>
                  </a:moveTo>
                  <a:cubicBezTo>
                    <a:pt x="17417" y="21586"/>
                    <a:pt x="17316" y="21423"/>
                    <a:pt x="17195" y="21110"/>
                  </a:cubicBezTo>
                  <a:cubicBezTo>
                    <a:pt x="17093" y="20810"/>
                    <a:pt x="16987" y="20647"/>
                    <a:pt x="16876" y="20620"/>
                  </a:cubicBezTo>
                  <a:cubicBezTo>
                    <a:pt x="16738" y="20566"/>
                    <a:pt x="16622" y="20409"/>
                    <a:pt x="16530" y="20150"/>
                  </a:cubicBezTo>
                  <a:lnTo>
                    <a:pt x="16419" y="19742"/>
                  </a:lnTo>
                  <a:cubicBezTo>
                    <a:pt x="14329" y="20205"/>
                    <a:pt x="11441" y="20422"/>
                    <a:pt x="7752" y="20395"/>
                  </a:cubicBezTo>
                  <a:lnTo>
                    <a:pt x="2829" y="20171"/>
                  </a:lnTo>
                  <a:cubicBezTo>
                    <a:pt x="2792" y="20022"/>
                    <a:pt x="2718" y="19912"/>
                    <a:pt x="2607" y="19845"/>
                  </a:cubicBezTo>
                  <a:cubicBezTo>
                    <a:pt x="2515" y="19803"/>
                    <a:pt x="2473" y="19695"/>
                    <a:pt x="2482" y="19518"/>
                  </a:cubicBezTo>
                  <a:cubicBezTo>
                    <a:pt x="2482" y="19368"/>
                    <a:pt x="2524" y="19116"/>
                    <a:pt x="2607" y="18762"/>
                  </a:cubicBezTo>
                  <a:cubicBezTo>
                    <a:pt x="2672" y="18409"/>
                    <a:pt x="2704" y="18205"/>
                    <a:pt x="2704" y="18150"/>
                  </a:cubicBezTo>
                  <a:cubicBezTo>
                    <a:pt x="2713" y="18014"/>
                    <a:pt x="2681" y="17878"/>
                    <a:pt x="2607" y="17742"/>
                  </a:cubicBezTo>
                  <a:cubicBezTo>
                    <a:pt x="2524" y="17592"/>
                    <a:pt x="2482" y="17483"/>
                    <a:pt x="2482" y="17415"/>
                  </a:cubicBezTo>
                  <a:cubicBezTo>
                    <a:pt x="2482" y="17306"/>
                    <a:pt x="2510" y="17191"/>
                    <a:pt x="2566" y="17068"/>
                  </a:cubicBezTo>
                  <a:cubicBezTo>
                    <a:pt x="2612" y="16918"/>
                    <a:pt x="2635" y="16823"/>
                    <a:pt x="2635" y="16782"/>
                  </a:cubicBezTo>
                  <a:cubicBezTo>
                    <a:pt x="2635" y="16646"/>
                    <a:pt x="2589" y="16517"/>
                    <a:pt x="2496" y="16394"/>
                  </a:cubicBezTo>
                  <a:cubicBezTo>
                    <a:pt x="2422" y="16272"/>
                    <a:pt x="2390" y="16143"/>
                    <a:pt x="2399" y="16006"/>
                  </a:cubicBezTo>
                  <a:cubicBezTo>
                    <a:pt x="2399" y="15788"/>
                    <a:pt x="2371" y="15578"/>
                    <a:pt x="2316" y="15373"/>
                  </a:cubicBezTo>
                  <a:cubicBezTo>
                    <a:pt x="2251" y="15196"/>
                    <a:pt x="2219" y="15094"/>
                    <a:pt x="2219" y="15067"/>
                  </a:cubicBezTo>
                  <a:cubicBezTo>
                    <a:pt x="2228" y="14686"/>
                    <a:pt x="2186" y="14455"/>
                    <a:pt x="2094" y="14373"/>
                  </a:cubicBezTo>
                  <a:cubicBezTo>
                    <a:pt x="1955" y="14237"/>
                    <a:pt x="1854" y="13897"/>
                    <a:pt x="1789" y="13352"/>
                  </a:cubicBezTo>
                  <a:cubicBezTo>
                    <a:pt x="1761" y="13148"/>
                    <a:pt x="1734" y="12822"/>
                    <a:pt x="1706" y="12372"/>
                  </a:cubicBezTo>
                  <a:cubicBezTo>
                    <a:pt x="1669" y="11950"/>
                    <a:pt x="1632" y="11630"/>
                    <a:pt x="1595" y="11413"/>
                  </a:cubicBezTo>
                  <a:cubicBezTo>
                    <a:pt x="1558" y="11100"/>
                    <a:pt x="1400" y="10535"/>
                    <a:pt x="1123" y="9718"/>
                  </a:cubicBezTo>
                  <a:cubicBezTo>
                    <a:pt x="938" y="9146"/>
                    <a:pt x="818" y="8629"/>
                    <a:pt x="763" y="8166"/>
                  </a:cubicBezTo>
                  <a:cubicBezTo>
                    <a:pt x="781" y="7527"/>
                    <a:pt x="657" y="6901"/>
                    <a:pt x="389" y="6288"/>
                  </a:cubicBezTo>
                  <a:cubicBezTo>
                    <a:pt x="120" y="5703"/>
                    <a:pt x="-9" y="5349"/>
                    <a:pt x="0" y="5227"/>
                  </a:cubicBezTo>
                  <a:cubicBezTo>
                    <a:pt x="0" y="5213"/>
                    <a:pt x="55" y="5063"/>
                    <a:pt x="167" y="4777"/>
                  </a:cubicBezTo>
                  <a:cubicBezTo>
                    <a:pt x="278" y="4464"/>
                    <a:pt x="338" y="4247"/>
                    <a:pt x="347" y="4124"/>
                  </a:cubicBezTo>
                  <a:cubicBezTo>
                    <a:pt x="356" y="3907"/>
                    <a:pt x="421" y="3696"/>
                    <a:pt x="541" y="3491"/>
                  </a:cubicBezTo>
                  <a:cubicBezTo>
                    <a:pt x="652" y="3301"/>
                    <a:pt x="707" y="3110"/>
                    <a:pt x="707" y="2919"/>
                  </a:cubicBezTo>
                  <a:cubicBezTo>
                    <a:pt x="707" y="2852"/>
                    <a:pt x="698" y="2797"/>
                    <a:pt x="679" y="2756"/>
                  </a:cubicBezTo>
                  <a:cubicBezTo>
                    <a:pt x="643" y="2743"/>
                    <a:pt x="573" y="2736"/>
                    <a:pt x="471" y="2736"/>
                  </a:cubicBezTo>
                  <a:lnTo>
                    <a:pt x="471" y="2695"/>
                  </a:lnTo>
                  <a:cubicBezTo>
                    <a:pt x="471" y="2450"/>
                    <a:pt x="435" y="2273"/>
                    <a:pt x="360" y="2164"/>
                  </a:cubicBezTo>
                  <a:cubicBezTo>
                    <a:pt x="287" y="2041"/>
                    <a:pt x="254" y="1967"/>
                    <a:pt x="263" y="1939"/>
                  </a:cubicBezTo>
                  <a:cubicBezTo>
                    <a:pt x="263" y="1885"/>
                    <a:pt x="296" y="1790"/>
                    <a:pt x="360" y="1654"/>
                  </a:cubicBezTo>
                  <a:cubicBezTo>
                    <a:pt x="416" y="1559"/>
                    <a:pt x="444" y="1463"/>
                    <a:pt x="444" y="1368"/>
                  </a:cubicBezTo>
                  <a:cubicBezTo>
                    <a:pt x="444" y="1273"/>
                    <a:pt x="416" y="1178"/>
                    <a:pt x="360" y="1082"/>
                  </a:cubicBezTo>
                  <a:cubicBezTo>
                    <a:pt x="278" y="1000"/>
                    <a:pt x="222" y="933"/>
                    <a:pt x="194" y="878"/>
                  </a:cubicBezTo>
                  <a:lnTo>
                    <a:pt x="181" y="347"/>
                  </a:lnTo>
                  <a:lnTo>
                    <a:pt x="360" y="286"/>
                  </a:lnTo>
                  <a:lnTo>
                    <a:pt x="679" y="306"/>
                  </a:lnTo>
                  <a:lnTo>
                    <a:pt x="8737" y="327"/>
                  </a:lnTo>
                  <a:cubicBezTo>
                    <a:pt x="14099" y="286"/>
                    <a:pt x="17038" y="177"/>
                    <a:pt x="17556" y="0"/>
                  </a:cubicBezTo>
                  <a:cubicBezTo>
                    <a:pt x="17593" y="259"/>
                    <a:pt x="17722" y="531"/>
                    <a:pt x="17944" y="816"/>
                  </a:cubicBezTo>
                  <a:cubicBezTo>
                    <a:pt x="18157" y="1144"/>
                    <a:pt x="18263" y="1375"/>
                    <a:pt x="18263" y="1511"/>
                  </a:cubicBezTo>
                  <a:cubicBezTo>
                    <a:pt x="18263" y="1593"/>
                    <a:pt x="18199" y="1783"/>
                    <a:pt x="18069" y="2083"/>
                  </a:cubicBezTo>
                  <a:cubicBezTo>
                    <a:pt x="17958" y="2395"/>
                    <a:pt x="17902" y="2613"/>
                    <a:pt x="17902" y="2736"/>
                  </a:cubicBezTo>
                  <a:cubicBezTo>
                    <a:pt x="17902" y="2913"/>
                    <a:pt x="17991" y="3355"/>
                    <a:pt x="18166" y="4063"/>
                  </a:cubicBezTo>
                  <a:cubicBezTo>
                    <a:pt x="18259" y="4431"/>
                    <a:pt x="18351" y="4791"/>
                    <a:pt x="18443" y="5145"/>
                  </a:cubicBezTo>
                  <a:cubicBezTo>
                    <a:pt x="18489" y="5512"/>
                    <a:pt x="18725" y="5689"/>
                    <a:pt x="19150" y="5676"/>
                  </a:cubicBezTo>
                  <a:cubicBezTo>
                    <a:pt x="19539" y="5676"/>
                    <a:pt x="19737" y="5880"/>
                    <a:pt x="19747" y="6288"/>
                  </a:cubicBezTo>
                  <a:cubicBezTo>
                    <a:pt x="19747" y="6383"/>
                    <a:pt x="19761" y="6492"/>
                    <a:pt x="19788" y="6615"/>
                  </a:cubicBezTo>
                  <a:cubicBezTo>
                    <a:pt x="19834" y="6860"/>
                    <a:pt x="19941" y="7105"/>
                    <a:pt x="20107" y="7350"/>
                  </a:cubicBezTo>
                  <a:cubicBezTo>
                    <a:pt x="20237" y="7568"/>
                    <a:pt x="20440" y="7874"/>
                    <a:pt x="20717" y="8268"/>
                  </a:cubicBezTo>
                  <a:cubicBezTo>
                    <a:pt x="20810" y="8472"/>
                    <a:pt x="20925" y="8670"/>
                    <a:pt x="21064" y="8861"/>
                  </a:cubicBezTo>
                  <a:cubicBezTo>
                    <a:pt x="21221" y="9092"/>
                    <a:pt x="21332" y="9249"/>
                    <a:pt x="21397" y="9330"/>
                  </a:cubicBezTo>
                  <a:cubicBezTo>
                    <a:pt x="21415" y="9398"/>
                    <a:pt x="21457" y="9616"/>
                    <a:pt x="21522" y="9984"/>
                  </a:cubicBezTo>
                  <a:cubicBezTo>
                    <a:pt x="21568" y="10296"/>
                    <a:pt x="21591" y="10514"/>
                    <a:pt x="21591" y="10637"/>
                  </a:cubicBezTo>
                  <a:cubicBezTo>
                    <a:pt x="21582" y="10950"/>
                    <a:pt x="21480" y="11249"/>
                    <a:pt x="21286" y="11535"/>
                  </a:cubicBezTo>
                  <a:cubicBezTo>
                    <a:pt x="21073" y="11807"/>
                    <a:pt x="20972" y="12087"/>
                    <a:pt x="20981" y="12372"/>
                  </a:cubicBezTo>
                  <a:lnTo>
                    <a:pt x="20953" y="12781"/>
                  </a:lnTo>
                  <a:cubicBezTo>
                    <a:pt x="20999" y="12971"/>
                    <a:pt x="20976" y="13121"/>
                    <a:pt x="20884" y="13230"/>
                  </a:cubicBezTo>
                  <a:cubicBezTo>
                    <a:pt x="20838" y="13284"/>
                    <a:pt x="20713" y="13366"/>
                    <a:pt x="20509" y="13474"/>
                  </a:cubicBezTo>
                  <a:cubicBezTo>
                    <a:pt x="20445" y="13502"/>
                    <a:pt x="20320" y="13570"/>
                    <a:pt x="20135" y="13679"/>
                  </a:cubicBezTo>
                  <a:cubicBezTo>
                    <a:pt x="19950" y="13802"/>
                    <a:pt x="19830" y="13876"/>
                    <a:pt x="19774" y="13904"/>
                  </a:cubicBezTo>
                  <a:cubicBezTo>
                    <a:pt x="19183" y="14026"/>
                    <a:pt x="18836" y="14128"/>
                    <a:pt x="18734" y="14210"/>
                  </a:cubicBezTo>
                  <a:cubicBezTo>
                    <a:pt x="18633" y="14291"/>
                    <a:pt x="18577" y="14618"/>
                    <a:pt x="18568" y="15189"/>
                  </a:cubicBezTo>
                  <a:cubicBezTo>
                    <a:pt x="18550" y="15516"/>
                    <a:pt x="18637" y="15822"/>
                    <a:pt x="18832" y="16108"/>
                  </a:cubicBezTo>
                  <a:cubicBezTo>
                    <a:pt x="19044" y="16421"/>
                    <a:pt x="19146" y="16789"/>
                    <a:pt x="19137" y="17211"/>
                  </a:cubicBezTo>
                  <a:cubicBezTo>
                    <a:pt x="19137" y="17415"/>
                    <a:pt x="19104" y="17551"/>
                    <a:pt x="19040" y="17619"/>
                  </a:cubicBezTo>
                  <a:cubicBezTo>
                    <a:pt x="18854" y="17864"/>
                    <a:pt x="18739" y="18021"/>
                    <a:pt x="18693" y="18089"/>
                  </a:cubicBezTo>
                  <a:cubicBezTo>
                    <a:pt x="18656" y="18184"/>
                    <a:pt x="18633" y="18368"/>
                    <a:pt x="18624" y="18640"/>
                  </a:cubicBezTo>
                  <a:cubicBezTo>
                    <a:pt x="18633" y="18940"/>
                    <a:pt x="18615" y="19137"/>
                    <a:pt x="18568" y="19232"/>
                  </a:cubicBezTo>
                  <a:cubicBezTo>
                    <a:pt x="18467" y="19436"/>
                    <a:pt x="18259" y="19586"/>
                    <a:pt x="17944" y="19681"/>
                  </a:cubicBezTo>
                  <a:cubicBezTo>
                    <a:pt x="17694" y="19803"/>
                    <a:pt x="17565" y="20015"/>
                    <a:pt x="17556" y="20314"/>
                  </a:cubicBezTo>
                  <a:lnTo>
                    <a:pt x="17681" y="20518"/>
                  </a:lnTo>
                  <a:cubicBezTo>
                    <a:pt x="17754" y="20655"/>
                    <a:pt x="17792" y="20783"/>
                    <a:pt x="17792" y="20906"/>
                  </a:cubicBezTo>
                  <a:cubicBezTo>
                    <a:pt x="17792" y="20960"/>
                    <a:pt x="17732" y="21096"/>
                    <a:pt x="17611" y="21314"/>
                  </a:cubicBezTo>
                  <a:cubicBezTo>
                    <a:pt x="17565" y="21396"/>
                    <a:pt x="17528" y="21491"/>
                    <a:pt x="17500" y="21600"/>
                  </a:cubicBezTo>
                  <a:close/>
                  <a:moveTo>
                    <a:pt x="17500"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2" name="AutoShape 99"/>
            <p:cNvSpPr>
              <a:spLocks/>
            </p:cNvSpPr>
            <p:nvPr/>
          </p:nvSpPr>
          <p:spPr bwMode="auto">
            <a:xfrm>
              <a:off x="6445616" y="1970583"/>
              <a:ext cx="142941" cy="86275"/>
            </a:xfrm>
            <a:custGeom>
              <a:avLst/>
              <a:gdLst/>
              <a:ahLst/>
              <a:cxnLst/>
              <a:rect l="0" t="0" r="r" b="b"/>
              <a:pathLst>
                <a:path w="21600" h="21600">
                  <a:moveTo>
                    <a:pt x="19070" y="1532"/>
                  </a:moveTo>
                  <a:cubicBezTo>
                    <a:pt x="19234" y="511"/>
                    <a:pt x="19440" y="0"/>
                    <a:pt x="19687" y="0"/>
                  </a:cubicBezTo>
                  <a:cubicBezTo>
                    <a:pt x="19810" y="0"/>
                    <a:pt x="20150" y="595"/>
                    <a:pt x="20705" y="1787"/>
                  </a:cubicBezTo>
                  <a:cubicBezTo>
                    <a:pt x="21302" y="3047"/>
                    <a:pt x="21600" y="4017"/>
                    <a:pt x="21600" y="4698"/>
                  </a:cubicBezTo>
                  <a:cubicBezTo>
                    <a:pt x="21600" y="5753"/>
                    <a:pt x="21260" y="6281"/>
                    <a:pt x="20582" y="6281"/>
                  </a:cubicBezTo>
                  <a:cubicBezTo>
                    <a:pt x="20109" y="6213"/>
                    <a:pt x="19749" y="6213"/>
                    <a:pt x="19502" y="6281"/>
                  </a:cubicBezTo>
                  <a:cubicBezTo>
                    <a:pt x="19070" y="6383"/>
                    <a:pt x="18854" y="6758"/>
                    <a:pt x="18854" y="7404"/>
                  </a:cubicBezTo>
                  <a:cubicBezTo>
                    <a:pt x="18854" y="7541"/>
                    <a:pt x="18926" y="7812"/>
                    <a:pt x="19070" y="8221"/>
                  </a:cubicBezTo>
                  <a:cubicBezTo>
                    <a:pt x="19193" y="8629"/>
                    <a:pt x="19255" y="9056"/>
                    <a:pt x="19255" y="9498"/>
                  </a:cubicBezTo>
                  <a:cubicBezTo>
                    <a:pt x="19255" y="10179"/>
                    <a:pt x="19090" y="10536"/>
                    <a:pt x="18761" y="10570"/>
                  </a:cubicBezTo>
                  <a:cubicBezTo>
                    <a:pt x="18412" y="10604"/>
                    <a:pt x="18236" y="10808"/>
                    <a:pt x="18236" y="11183"/>
                  </a:cubicBezTo>
                  <a:cubicBezTo>
                    <a:pt x="18236" y="11285"/>
                    <a:pt x="18278" y="11455"/>
                    <a:pt x="18360" y="11694"/>
                  </a:cubicBezTo>
                  <a:cubicBezTo>
                    <a:pt x="18442" y="11932"/>
                    <a:pt x="18483" y="12136"/>
                    <a:pt x="18483" y="12306"/>
                  </a:cubicBezTo>
                  <a:cubicBezTo>
                    <a:pt x="18483" y="13055"/>
                    <a:pt x="18247" y="13890"/>
                    <a:pt x="17774" y="14809"/>
                  </a:cubicBezTo>
                  <a:cubicBezTo>
                    <a:pt x="17712" y="14876"/>
                    <a:pt x="17517" y="14944"/>
                    <a:pt x="17187" y="15012"/>
                  </a:cubicBezTo>
                  <a:cubicBezTo>
                    <a:pt x="16776" y="15047"/>
                    <a:pt x="16488" y="15081"/>
                    <a:pt x="16323" y="15115"/>
                  </a:cubicBezTo>
                  <a:cubicBezTo>
                    <a:pt x="15932" y="15183"/>
                    <a:pt x="15490" y="15847"/>
                    <a:pt x="14996" y="17106"/>
                  </a:cubicBezTo>
                  <a:cubicBezTo>
                    <a:pt x="14523" y="18297"/>
                    <a:pt x="14173" y="18893"/>
                    <a:pt x="13947" y="18893"/>
                  </a:cubicBezTo>
                  <a:cubicBezTo>
                    <a:pt x="13639" y="18893"/>
                    <a:pt x="13413" y="18417"/>
                    <a:pt x="13269" y="17463"/>
                  </a:cubicBezTo>
                  <a:cubicBezTo>
                    <a:pt x="13207" y="17089"/>
                    <a:pt x="13166" y="16698"/>
                    <a:pt x="13145" y="16289"/>
                  </a:cubicBezTo>
                  <a:cubicBezTo>
                    <a:pt x="13125" y="16051"/>
                    <a:pt x="13114" y="15813"/>
                    <a:pt x="13114" y="15574"/>
                  </a:cubicBezTo>
                  <a:cubicBezTo>
                    <a:pt x="13114" y="15506"/>
                    <a:pt x="13125" y="15455"/>
                    <a:pt x="13145" y="15421"/>
                  </a:cubicBezTo>
                  <a:cubicBezTo>
                    <a:pt x="13227" y="14571"/>
                    <a:pt x="13382" y="13855"/>
                    <a:pt x="13608" y="13277"/>
                  </a:cubicBezTo>
                  <a:cubicBezTo>
                    <a:pt x="13834" y="12698"/>
                    <a:pt x="14297" y="11915"/>
                    <a:pt x="14996" y="10928"/>
                  </a:cubicBezTo>
                  <a:lnTo>
                    <a:pt x="14996" y="10111"/>
                  </a:lnTo>
                  <a:lnTo>
                    <a:pt x="13176" y="10111"/>
                  </a:lnTo>
                  <a:cubicBezTo>
                    <a:pt x="12641" y="10281"/>
                    <a:pt x="12353" y="10757"/>
                    <a:pt x="12312" y="11540"/>
                  </a:cubicBezTo>
                  <a:cubicBezTo>
                    <a:pt x="12250" y="12562"/>
                    <a:pt x="12137" y="13192"/>
                    <a:pt x="11973" y="13430"/>
                  </a:cubicBezTo>
                  <a:cubicBezTo>
                    <a:pt x="11828" y="13361"/>
                    <a:pt x="11715" y="13260"/>
                    <a:pt x="11633" y="13124"/>
                  </a:cubicBezTo>
                  <a:cubicBezTo>
                    <a:pt x="11551" y="12988"/>
                    <a:pt x="11469" y="12919"/>
                    <a:pt x="11386" y="12919"/>
                  </a:cubicBezTo>
                  <a:cubicBezTo>
                    <a:pt x="11283" y="12919"/>
                    <a:pt x="11181" y="12953"/>
                    <a:pt x="11078" y="13021"/>
                  </a:cubicBezTo>
                  <a:cubicBezTo>
                    <a:pt x="10872" y="13124"/>
                    <a:pt x="10769" y="13277"/>
                    <a:pt x="10769" y="13481"/>
                  </a:cubicBezTo>
                  <a:cubicBezTo>
                    <a:pt x="10769" y="13651"/>
                    <a:pt x="10882" y="13821"/>
                    <a:pt x="11109" y="13992"/>
                  </a:cubicBezTo>
                  <a:cubicBezTo>
                    <a:pt x="11335" y="14196"/>
                    <a:pt x="11448" y="14417"/>
                    <a:pt x="11448" y="14656"/>
                  </a:cubicBezTo>
                  <a:cubicBezTo>
                    <a:pt x="10604" y="17345"/>
                    <a:pt x="9874" y="18689"/>
                    <a:pt x="9257" y="18689"/>
                  </a:cubicBezTo>
                  <a:cubicBezTo>
                    <a:pt x="8990" y="18689"/>
                    <a:pt x="8856" y="18485"/>
                    <a:pt x="8856" y="18076"/>
                  </a:cubicBezTo>
                  <a:cubicBezTo>
                    <a:pt x="9062" y="16851"/>
                    <a:pt x="9165" y="15966"/>
                    <a:pt x="9165" y="15421"/>
                  </a:cubicBezTo>
                  <a:cubicBezTo>
                    <a:pt x="9165" y="14876"/>
                    <a:pt x="9072" y="14604"/>
                    <a:pt x="8887" y="14604"/>
                  </a:cubicBezTo>
                  <a:cubicBezTo>
                    <a:pt x="8681" y="14604"/>
                    <a:pt x="8506" y="14859"/>
                    <a:pt x="8362" y="15369"/>
                  </a:cubicBezTo>
                  <a:lnTo>
                    <a:pt x="8115" y="16698"/>
                  </a:lnTo>
                  <a:cubicBezTo>
                    <a:pt x="8054" y="16970"/>
                    <a:pt x="7869" y="17413"/>
                    <a:pt x="7560" y="18025"/>
                  </a:cubicBezTo>
                  <a:cubicBezTo>
                    <a:pt x="7292" y="18604"/>
                    <a:pt x="7159" y="18978"/>
                    <a:pt x="7159" y="19149"/>
                  </a:cubicBezTo>
                  <a:cubicBezTo>
                    <a:pt x="7159" y="20783"/>
                    <a:pt x="6809" y="21600"/>
                    <a:pt x="6110" y="21600"/>
                  </a:cubicBezTo>
                  <a:cubicBezTo>
                    <a:pt x="5822" y="21600"/>
                    <a:pt x="5575" y="21328"/>
                    <a:pt x="5369" y="20783"/>
                  </a:cubicBezTo>
                  <a:cubicBezTo>
                    <a:pt x="5163" y="20238"/>
                    <a:pt x="5060" y="19625"/>
                    <a:pt x="5060" y="18944"/>
                  </a:cubicBezTo>
                  <a:cubicBezTo>
                    <a:pt x="5184" y="17889"/>
                    <a:pt x="5246" y="17140"/>
                    <a:pt x="5246" y="16698"/>
                  </a:cubicBezTo>
                  <a:cubicBezTo>
                    <a:pt x="5246" y="16596"/>
                    <a:pt x="5215" y="16408"/>
                    <a:pt x="5153" y="16136"/>
                  </a:cubicBezTo>
                  <a:cubicBezTo>
                    <a:pt x="5071" y="15796"/>
                    <a:pt x="4999" y="15591"/>
                    <a:pt x="4937" y="15523"/>
                  </a:cubicBezTo>
                  <a:cubicBezTo>
                    <a:pt x="4608" y="16204"/>
                    <a:pt x="4320" y="16749"/>
                    <a:pt x="4073" y="17157"/>
                  </a:cubicBezTo>
                  <a:cubicBezTo>
                    <a:pt x="3621" y="17974"/>
                    <a:pt x="3322" y="18383"/>
                    <a:pt x="3178" y="18383"/>
                  </a:cubicBezTo>
                  <a:cubicBezTo>
                    <a:pt x="2787" y="18383"/>
                    <a:pt x="2592" y="17872"/>
                    <a:pt x="2592" y="16851"/>
                  </a:cubicBezTo>
                  <a:cubicBezTo>
                    <a:pt x="2715" y="15694"/>
                    <a:pt x="2777" y="14995"/>
                    <a:pt x="2777" y="14757"/>
                  </a:cubicBezTo>
                  <a:cubicBezTo>
                    <a:pt x="2777" y="14451"/>
                    <a:pt x="2736" y="14230"/>
                    <a:pt x="2654" y="14093"/>
                  </a:cubicBezTo>
                  <a:cubicBezTo>
                    <a:pt x="2510" y="14127"/>
                    <a:pt x="2180" y="14520"/>
                    <a:pt x="1666" y="15268"/>
                  </a:cubicBezTo>
                  <a:cubicBezTo>
                    <a:pt x="1173" y="16017"/>
                    <a:pt x="833" y="16391"/>
                    <a:pt x="648" y="16391"/>
                  </a:cubicBezTo>
                  <a:cubicBezTo>
                    <a:pt x="463" y="16391"/>
                    <a:pt x="370" y="16255"/>
                    <a:pt x="370" y="15983"/>
                  </a:cubicBezTo>
                  <a:cubicBezTo>
                    <a:pt x="370" y="15710"/>
                    <a:pt x="504" y="15403"/>
                    <a:pt x="771" y="15064"/>
                  </a:cubicBezTo>
                  <a:cubicBezTo>
                    <a:pt x="1018" y="14723"/>
                    <a:pt x="1142" y="14400"/>
                    <a:pt x="1142" y="14093"/>
                  </a:cubicBezTo>
                  <a:cubicBezTo>
                    <a:pt x="1142" y="13719"/>
                    <a:pt x="1018" y="13515"/>
                    <a:pt x="771" y="13481"/>
                  </a:cubicBezTo>
                  <a:cubicBezTo>
                    <a:pt x="401" y="13413"/>
                    <a:pt x="144" y="13260"/>
                    <a:pt x="0" y="13021"/>
                  </a:cubicBezTo>
                  <a:cubicBezTo>
                    <a:pt x="288" y="12204"/>
                    <a:pt x="771" y="11404"/>
                    <a:pt x="1450" y="10621"/>
                  </a:cubicBezTo>
                  <a:cubicBezTo>
                    <a:pt x="2067" y="9906"/>
                    <a:pt x="2510" y="9549"/>
                    <a:pt x="2777" y="9549"/>
                  </a:cubicBezTo>
                  <a:cubicBezTo>
                    <a:pt x="2818" y="9549"/>
                    <a:pt x="3312" y="9770"/>
                    <a:pt x="4258" y="10213"/>
                  </a:cubicBezTo>
                  <a:cubicBezTo>
                    <a:pt x="4711" y="10213"/>
                    <a:pt x="5040" y="10060"/>
                    <a:pt x="5246" y="9753"/>
                  </a:cubicBezTo>
                  <a:cubicBezTo>
                    <a:pt x="5246" y="9719"/>
                    <a:pt x="5482" y="9191"/>
                    <a:pt x="5955" y="8170"/>
                  </a:cubicBezTo>
                  <a:cubicBezTo>
                    <a:pt x="6099" y="7829"/>
                    <a:pt x="6428" y="7524"/>
                    <a:pt x="6943" y="7251"/>
                  </a:cubicBezTo>
                  <a:cubicBezTo>
                    <a:pt x="7560" y="6945"/>
                    <a:pt x="7951" y="6689"/>
                    <a:pt x="8115" y="6485"/>
                  </a:cubicBezTo>
                  <a:cubicBezTo>
                    <a:pt x="8856" y="5600"/>
                    <a:pt x="9895" y="4442"/>
                    <a:pt x="11232" y="3012"/>
                  </a:cubicBezTo>
                  <a:cubicBezTo>
                    <a:pt x="12754" y="1413"/>
                    <a:pt x="13608" y="613"/>
                    <a:pt x="13793" y="613"/>
                  </a:cubicBezTo>
                  <a:cubicBezTo>
                    <a:pt x="14102" y="613"/>
                    <a:pt x="14328" y="647"/>
                    <a:pt x="14472" y="715"/>
                  </a:cubicBezTo>
                  <a:cubicBezTo>
                    <a:pt x="14945" y="953"/>
                    <a:pt x="15295" y="1123"/>
                    <a:pt x="15521" y="1225"/>
                  </a:cubicBezTo>
                  <a:cubicBezTo>
                    <a:pt x="15789" y="1327"/>
                    <a:pt x="16004" y="1599"/>
                    <a:pt x="16169" y="2043"/>
                  </a:cubicBezTo>
                  <a:cubicBezTo>
                    <a:pt x="16333" y="2451"/>
                    <a:pt x="16426" y="2910"/>
                    <a:pt x="16447" y="3421"/>
                  </a:cubicBezTo>
                  <a:cubicBezTo>
                    <a:pt x="16550" y="3455"/>
                    <a:pt x="16725" y="3336"/>
                    <a:pt x="16971" y="3064"/>
                  </a:cubicBezTo>
                  <a:cubicBezTo>
                    <a:pt x="17218" y="2826"/>
                    <a:pt x="17413" y="2706"/>
                    <a:pt x="17558" y="2706"/>
                  </a:cubicBezTo>
                  <a:lnTo>
                    <a:pt x="18144" y="3012"/>
                  </a:lnTo>
                  <a:cubicBezTo>
                    <a:pt x="18597" y="3012"/>
                    <a:pt x="18905" y="2519"/>
                    <a:pt x="19070" y="1532"/>
                  </a:cubicBezTo>
                  <a:close/>
                  <a:moveTo>
                    <a:pt x="19070" y="153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3" name="AutoShape 100"/>
            <p:cNvSpPr>
              <a:spLocks/>
            </p:cNvSpPr>
            <p:nvPr/>
          </p:nvSpPr>
          <p:spPr bwMode="auto">
            <a:xfrm>
              <a:off x="6641649" y="1917490"/>
              <a:ext cx="55134" cy="31141"/>
            </a:xfrm>
            <a:custGeom>
              <a:avLst/>
              <a:gdLst/>
              <a:ahLst/>
              <a:cxnLst/>
              <a:rect l="0" t="0" r="r" b="b"/>
              <a:pathLst>
                <a:path w="21600" h="21600">
                  <a:moveTo>
                    <a:pt x="20803" y="11643"/>
                  </a:moveTo>
                  <a:cubicBezTo>
                    <a:pt x="20644" y="12202"/>
                    <a:pt x="20485" y="12857"/>
                    <a:pt x="20324" y="13606"/>
                  </a:cubicBezTo>
                  <a:cubicBezTo>
                    <a:pt x="19583" y="16879"/>
                    <a:pt x="18969" y="19310"/>
                    <a:pt x="18493" y="20900"/>
                  </a:cubicBezTo>
                  <a:cubicBezTo>
                    <a:pt x="18331" y="20993"/>
                    <a:pt x="18200" y="21087"/>
                    <a:pt x="18094" y="21181"/>
                  </a:cubicBezTo>
                  <a:cubicBezTo>
                    <a:pt x="17562" y="21462"/>
                    <a:pt x="17136" y="21600"/>
                    <a:pt x="16818" y="21600"/>
                  </a:cubicBezTo>
                  <a:cubicBezTo>
                    <a:pt x="15542" y="21600"/>
                    <a:pt x="14561" y="20525"/>
                    <a:pt x="13870" y="18375"/>
                  </a:cubicBezTo>
                  <a:cubicBezTo>
                    <a:pt x="13231" y="15757"/>
                    <a:pt x="12699" y="14025"/>
                    <a:pt x="12276" y="13185"/>
                  </a:cubicBezTo>
                  <a:lnTo>
                    <a:pt x="11796" y="13185"/>
                  </a:lnTo>
                  <a:cubicBezTo>
                    <a:pt x="11585" y="14400"/>
                    <a:pt x="11373" y="15757"/>
                    <a:pt x="11158" y="17253"/>
                  </a:cubicBezTo>
                  <a:cubicBezTo>
                    <a:pt x="10893" y="18187"/>
                    <a:pt x="10336" y="18656"/>
                    <a:pt x="9486" y="18656"/>
                  </a:cubicBezTo>
                  <a:cubicBezTo>
                    <a:pt x="8742" y="18656"/>
                    <a:pt x="7970" y="17674"/>
                    <a:pt x="7173" y="15710"/>
                  </a:cubicBezTo>
                  <a:cubicBezTo>
                    <a:pt x="6323" y="13652"/>
                    <a:pt x="5554" y="12623"/>
                    <a:pt x="4863" y="12623"/>
                  </a:cubicBezTo>
                  <a:cubicBezTo>
                    <a:pt x="4598" y="12623"/>
                    <a:pt x="3985" y="12951"/>
                    <a:pt x="3029" y="13606"/>
                  </a:cubicBezTo>
                  <a:cubicBezTo>
                    <a:pt x="2073" y="14167"/>
                    <a:pt x="1410" y="14448"/>
                    <a:pt x="1037" y="14448"/>
                  </a:cubicBezTo>
                  <a:cubicBezTo>
                    <a:pt x="346" y="14448"/>
                    <a:pt x="0" y="13606"/>
                    <a:pt x="0" y="11923"/>
                  </a:cubicBezTo>
                  <a:cubicBezTo>
                    <a:pt x="0" y="10519"/>
                    <a:pt x="427" y="9351"/>
                    <a:pt x="1276" y="8415"/>
                  </a:cubicBezTo>
                  <a:cubicBezTo>
                    <a:pt x="1968" y="7575"/>
                    <a:pt x="2684" y="7154"/>
                    <a:pt x="3428" y="7154"/>
                  </a:cubicBezTo>
                  <a:lnTo>
                    <a:pt x="6298" y="7714"/>
                  </a:lnTo>
                  <a:cubicBezTo>
                    <a:pt x="7307" y="7714"/>
                    <a:pt x="9433" y="6452"/>
                    <a:pt x="12674" y="3929"/>
                  </a:cubicBezTo>
                  <a:cubicBezTo>
                    <a:pt x="15968" y="1309"/>
                    <a:pt x="17696" y="0"/>
                    <a:pt x="17855" y="0"/>
                  </a:cubicBezTo>
                  <a:cubicBezTo>
                    <a:pt x="18810" y="0"/>
                    <a:pt x="19688" y="748"/>
                    <a:pt x="20485" y="2245"/>
                  </a:cubicBezTo>
                  <a:cubicBezTo>
                    <a:pt x="21230" y="3741"/>
                    <a:pt x="21600" y="5331"/>
                    <a:pt x="21600" y="7013"/>
                  </a:cubicBezTo>
                  <a:cubicBezTo>
                    <a:pt x="21600" y="7575"/>
                    <a:pt x="21335" y="9117"/>
                    <a:pt x="20803" y="11643"/>
                  </a:cubicBezTo>
                  <a:close/>
                  <a:moveTo>
                    <a:pt x="20803" y="1164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4" name="AutoShape 101"/>
            <p:cNvSpPr>
              <a:spLocks/>
            </p:cNvSpPr>
            <p:nvPr/>
          </p:nvSpPr>
          <p:spPr bwMode="auto">
            <a:xfrm>
              <a:off x="6625313" y="1958331"/>
              <a:ext cx="62281" cy="44414"/>
            </a:xfrm>
            <a:custGeom>
              <a:avLst/>
              <a:gdLst/>
              <a:ahLst/>
              <a:cxnLst/>
              <a:rect l="0" t="0" r="r" b="b"/>
              <a:pathLst>
                <a:path w="21600" h="21600">
                  <a:moveTo>
                    <a:pt x="3518" y="4026"/>
                  </a:moveTo>
                  <a:cubicBezTo>
                    <a:pt x="3660" y="3896"/>
                    <a:pt x="3801" y="3798"/>
                    <a:pt x="3941" y="3732"/>
                  </a:cubicBezTo>
                  <a:cubicBezTo>
                    <a:pt x="5114" y="2946"/>
                    <a:pt x="6895" y="2161"/>
                    <a:pt x="9289" y="1375"/>
                  </a:cubicBezTo>
                  <a:cubicBezTo>
                    <a:pt x="11960" y="459"/>
                    <a:pt x="13603" y="0"/>
                    <a:pt x="14213" y="0"/>
                  </a:cubicBezTo>
                  <a:cubicBezTo>
                    <a:pt x="14587" y="0"/>
                    <a:pt x="15010" y="393"/>
                    <a:pt x="15477" y="1179"/>
                  </a:cubicBezTo>
                  <a:cubicBezTo>
                    <a:pt x="15947" y="1899"/>
                    <a:pt x="16299" y="2260"/>
                    <a:pt x="16533" y="2260"/>
                  </a:cubicBezTo>
                  <a:cubicBezTo>
                    <a:pt x="16675" y="2260"/>
                    <a:pt x="17659" y="1998"/>
                    <a:pt x="19489" y="1473"/>
                  </a:cubicBezTo>
                  <a:cubicBezTo>
                    <a:pt x="19957" y="1473"/>
                    <a:pt x="20427" y="1866"/>
                    <a:pt x="20896" y="2651"/>
                  </a:cubicBezTo>
                  <a:cubicBezTo>
                    <a:pt x="21364" y="3503"/>
                    <a:pt x="21600" y="4452"/>
                    <a:pt x="21600" y="5499"/>
                  </a:cubicBezTo>
                  <a:cubicBezTo>
                    <a:pt x="21600" y="6742"/>
                    <a:pt x="21037" y="7561"/>
                    <a:pt x="19910" y="7954"/>
                  </a:cubicBezTo>
                  <a:cubicBezTo>
                    <a:pt x="18503" y="8150"/>
                    <a:pt x="17494" y="8379"/>
                    <a:pt x="16884" y="8641"/>
                  </a:cubicBezTo>
                  <a:cubicBezTo>
                    <a:pt x="14917" y="9361"/>
                    <a:pt x="13908" y="9753"/>
                    <a:pt x="13861" y="9818"/>
                  </a:cubicBezTo>
                  <a:cubicBezTo>
                    <a:pt x="13111" y="10147"/>
                    <a:pt x="12570" y="10637"/>
                    <a:pt x="12243" y="11291"/>
                  </a:cubicBezTo>
                  <a:cubicBezTo>
                    <a:pt x="12570" y="11685"/>
                    <a:pt x="12806" y="11978"/>
                    <a:pt x="12946" y="12175"/>
                  </a:cubicBezTo>
                  <a:cubicBezTo>
                    <a:pt x="12993" y="12240"/>
                    <a:pt x="13227" y="12273"/>
                    <a:pt x="13650" y="12273"/>
                  </a:cubicBezTo>
                  <a:lnTo>
                    <a:pt x="16392" y="11881"/>
                  </a:lnTo>
                  <a:cubicBezTo>
                    <a:pt x="17846" y="11881"/>
                    <a:pt x="18574" y="12798"/>
                    <a:pt x="18574" y="14630"/>
                  </a:cubicBezTo>
                  <a:cubicBezTo>
                    <a:pt x="18574" y="15547"/>
                    <a:pt x="18058" y="16790"/>
                    <a:pt x="17027" y="18361"/>
                  </a:cubicBezTo>
                  <a:cubicBezTo>
                    <a:pt x="15854" y="20127"/>
                    <a:pt x="14727" y="21012"/>
                    <a:pt x="13650" y="21012"/>
                  </a:cubicBezTo>
                  <a:lnTo>
                    <a:pt x="11187" y="20521"/>
                  </a:lnTo>
                  <a:cubicBezTo>
                    <a:pt x="10531" y="20521"/>
                    <a:pt x="9709" y="20717"/>
                    <a:pt x="8725" y="21110"/>
                  </a:cubicBezTo>
                  <a:cubicBezTo>
                    <a:pt x="7692" y="21437"/>
                    <a:pt x="6873" y="21600"/>
                    <a:pt x="6263" y="21600"/>
                  </a:cubicBezTo>
                  <a:cubicBezTo>
                    <a:pt x="4856" y="21600"/>
                    <a:pt x="3919" y="20324"/>
                    <a:pt x="3449" y="17772"/>
                  </a:cubicBezTo>
                  <a:cubicBezTo>
                    <a:pt x="3262" y="16790"/>
                    <a:pt x="2627" y="15972"/>
                    <a:pt x="1550" y="15317"/>
                  </a:cubicBezTo>
                  <a:cubicBezTo>
                    <a:pt x="517" y="14727"/>
                    <a:pt x="0" y="14303"/>
                    <a:pt x="0" y="14041"/>
                  </a:cubicBezTo>
                  <a:cubicBezTo>
                    <a:pt x="0" y="13125"/>
                    <a:pt x="258" y="12240"/>
                    <a:pt x="775" y="11390"/>
                  </a:cubicBezTo>
                  <a:cubicBezTo>
                    <a:pt x="1292" y="10539"/>
                    <a:pt x="1550" y="9623"/>
                    <a:pt x="1550" y="8641"/>
                  </a:cubicBezTo>
                  <a:cubicBezTo>
                    <a:pt x="1550" y="6939"/>
                    <a:pt x="2207" y="5400"/>
                    <a:pt x="3518" y="4026"/>
                  </a:cubicBezTo>
                  <a:close/>
                  <a:moveTo>
                    <a:pt x="3518" y="402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5" name="AutoShape 102"/>
            <p:cNvSpPr>
              <a:spLocks/>
            </p:cNvSpPr>
            <p:nvPr/>
          </p:nvSpPr>
          <p:spPr bwMode="auto">
            <a:xfrm>
              <a:off x="6608977" y="1950163"/>
              <a:ext cx="17357" cy="21952"/>
            </a:xfrm>
            <a:custGeom>
              <a:avLst/>
              <a:gdLst/>
              <a:ahLst/>
              <a:cxnLst/>
              <a:rect l="0" t="0" r="r" b="b"/>
              <a:pathLst>
                <a:path w="21600" h="21600">
                  <a:moveTo>
                    <a:pt x="3012" y="17837"/>
                  </a:moveTo>
                  <a:cubicBezTo>
                    <a:pt x="1003" y="15327"/>
                    <a:pt x="0" y="12023"/>
                    <a:pt x="0" y="7927"/>
                  </a:cubicBezTo>
                  <a:cubicBezTo>
                    <a:pt x="0" y="6606"/>
                    <a:pt x="837" y="5086"/>
                    <a:pt x="2512" y="3370"/>
                  </a:cubicBezTo>
                  <a:cubicBezTo>
                    <a:pt x="4688" y="1123"/>
                    <a:pt x="7453" y="0"/>
                    <a:pt x="10801" y="0"/>
                  </a:cubicBezTo>
                  <a:cubicBezTo>
                    <a:pt x="13985" y="0"/>
                    <a:pt x="15575" y="1255"/>
                    <a:pt x="15575" y="3765"/>
                  </a:cubicBezTo>
                  <a:cubicBezTo>
                    <a:pt x="15575" y="4427"/>
                    <a:pt x="15153" y="5417"/>
                    <a:pt x="14319" y="6738"/>
                  </a:cubicBezTo>
                  <a:cubicBezTo>
                    <a:pt x="14319" y="7400"/>
                    <a:pt x="15575" y="8984"/>
                    <a:pt x="18087" y="11494"/>
                  </a:cubicBezTo>
                  <a:cubicBezTo>
                    <a:pt x="20432" y="14136"/>
                    <a:pt x="21600" y="15920"/>
                    <a:pt x="21600" y="16845"/>
                  </a:cubicBezTo>
                  <a:cubicBezTo>
                    <a:pt x="21600" y="20016"/>
                    <a:pt x="18166" y="21600"/>
                    <a:pt x="11304" y="21600"/>
                  </a:cubicBezTo>
                  <a:cubicBezTo>
                    <a:pt x="7786" y="21600"/>
                    <a:pt x="5024" y="20347"/>
                    <a:pt x="3012" y="17837"/>
                  </a:cubicBezTo>
                  <a:close/>
                  <a:moveTo>
                    <a:pt x="3012" y="1783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6" name="AutoShape 103"/>
            <p:cNvSpPr>
              <a:spLocks/>
            </p:cNvSpPr>
            <p:nvPr/>
          </p:nvSpPr>
          <p:spPr bwMode="auto">
            <a:xfrm>
              <a:off x="6261834" y="2117608"/>
              <a:ext cx="244021" cy="218496"/>
            </a:xfrm>
            <a:custGeom>
              <a:avLst/>
              <a:gdLst/>
              <a:ahLst/>
              <a:cxnLst/>
              <a:rect l="0" t="0" r="r" b="b"/>
              <a:pathLst>
                <a:path w="21600" h="21600">
                  <a:moveTo>
                    <a:pt x="6989" y="5858"/>
                  </a:moveTo>
                  <a:cubicBezTo>
                    <a:pt x="7567" y="5241"/>
                    <a:pt x="8073" y="4731"/>
                    <a:pt x="8506" y="4328"/>
                  </a:cubicBezTo>
                  <a:cubicBezTo>
                    <a:pt x="8663" y="4153"/>
                    <a:pt x="8741" y="3778"/>
                    <a:pt x="8741" y="3200"/>
                  </a:cubicBezTo>
                  <a:lnTo>
                    <a:pt x="8669" y="2234"/>
                  </a:lnTo>
                  <a:cubicBezTo>
                    <a:pt x="8669" y="2006"/>
                    <a:pt x="8777" y="1818"/>
                    <a:pt x="8994" y="1671"/>
                  </a:cubicBezTo>
                  <a:cubicBezTo>
                    <a:pt x="9090" y="1590"/>
                    <a:pt x="9193" y="1523"/>
                    <a:pt x="9301" y="1470"/>
                  </a:cubicBezTo>
                  <a:cubicBezTo>
                    <a:pt x="9325" y="1443"/>
                    <a:pt x="9337" y="1396"/>
                    <a:pt x="9337" y="1329"/>
                  </a:cubicBezTo>
                  <a:cubicBezTo>
                    <a:pt x="9337" y="1275"/>
                    <a:pt x="9283" y="1181"/>
                    <a:pt x="9174" y="1047"/>
                  </a:cubicBezTo>
                  <a:cubicBezTo>
                    <a:pt x="9054" y="913"/>
                    <a:pt x="8994" y="785"/>
                    <a:pt x="8994" y="664"/>
                  </a:cubicBezTo>
                  <a:cubicBezTo>
                    <a:pt x="8994" y="382"/>
                    <a:pt x="9042" y="201"/>
                    <a:pt x="9138" y="121"/>
                  </a:cubicBezTo>
                  <a:cubicBezTo>
                    <a:pt x="9211" y="40"/>
                    <a:pt x="9361" y="0"/>
                    <a:pt x="9590" y="0"/>
                  </a:cubicBezTo>
                  <a:cubicBezTo>
                    <a:pt x="9903" y="0"/>
                    <a:pt x="10132" y="33"/>
                    <a:pt x="10276" y="101"/>
                  </a:cubicBezTo>
                  <a:cubicBezTo>
                    <a:pt x="10348" y="127"/>
                    <a:pt x="10529" y="242"/>
                    <a:pt x="10818" y="443"/>
                  </a:cubicBezTo>
                  <a:cubicBezTo>
                    <a:pt x="10914" y="510"/>
                    <a:pt x="11005" y="671"/>
                    <a:pt x="11089" y="926"/>
                  </a:cubicBezTo>
                  <a:cubicBezTo>
                    <a:pt x="11161" y="1154"/>
                    <a:pt x="11306" y="1295"/>
                    <a:pt x="11522" y="1349"/>
                  </a:cubicBezTo>
                  <a:cubicBezTo>
                    <a:pt x="11534" y="1134"/>
                    <a:pt x="11583" y="993"/>
                    <a:pt x="11667" y="926"/>
                  </a:cubicBezTo>
                  <a:cubicBezTo>
                    <a:pt x="11739" y="859"/>
                    <a:pt x="11877" y="825"/>
                    <a:pt x="12082" y="825"/>
                  </a:cubicBezTo>
                  <a:cubicBezTo>
                    <a:pt x="12106" y="825"/>
                    <a:pt x="12522" y="906"/>
                    <a:pt x="13328" y="1067"/>
                  </a:cubicBezTo>
                  <a:cubicBezTo>
                    <a:pt x="14159" y="1282"/>
                    <a:pt x="14641" y="1530"/>
                    <a:pt x="14773" y="1812"/>
                  </a:cubicBezTo>
                  <a:cubicBezTo>
                    <a:pt x="14870" y="2027"/>
                    <a:pt x="14936" y="2302"/>
                    <a:pt x="14972" y="2637"/>
                  </a:cubicBezTo>
                  <a:cubicBezTo>
                    <a:pt x="15008" y="2932"/>
                    <a:pt x="15068" y="3154"/>
                    <a:pt x="15153" y="3301"/>
                  </a:cubicBezTo>
                  <a:cubicBezTo>
                    <a:pt x="15261" y="3476"/>
                    <a:pt x="15423" y="3717"/>
                    <a:pt x="15640" y="4026"/>
                  </a:cubicBezTo>
                  <a:cubicBezTo>
                    <a:pt x="15809" y="4294"/>
                    <a:pt x="15893" y="4509"/>
                    <a:pt x="15893" y="4670"/>
                  </a:cubicBezTo>
                  <a:lnTo>
                    <a:pt x="15766" y="4972"/>
                  </a:lnTo>
                  <a:cubicBezTo>
                    <a:pt x="15682" y="5160"/>
                    <a:pt x="15640" y="5281"/>
                    <a:pt x="15640" y="5335"/>
                  </a:cubicBezTo>
                  <a:cubicBezTo>
                    <a:pt x="15640" y="5442"/>
                    <a:pt x="15652" y="5522"/>
                    <a:pt x="15676" y="5576"/>
                  </a:cubicBezTo>
                  <a:cubicBezTo>
                    <a:pt x="15688" y="5576"/>
                    <a:pt x="15803" y="5489"/>
                    <a:pt x="16019" y="5314"/>
                  </a:cubicBezTo>
                  <a:cubicBezTo>
                    <a:pt x="16212" y="5180"/>
                    <a:pt x="16375" y="5113"/>
                    <a:pt x="16507" y="5113"/>
                  </a:cubicBezTo>
                  <a:cubicBezTo>
                    <a:pt x="16688" y="5113"/>
                    <a:pt x="16778" y="5207"/>
                    <a:pt x="16778" y="5395"/>
                  </a:cubicBezTo>
                  <a:cubicBezTo>
                    <a:pt x="16778" y="5583"/>
                    <a:pt x="16736" y="5744"/>
                    <a:pt x="16652" y="5878"/>
                  </a:cubicBezTo>
                  <a:cubicBezTo>
                    <a:pt x="16567" y="5999"/>
                    <a:pt x="16525" y="6126"/>
                    <a:pt x="16525" y="6260"/>
                  </a:cubicBezTo>
                  <a:cubicBezTo>
                    <a:pt x="16525" y="6381"/>
                    <a:pt x="16537" y="6468"/>
                    <a:pt x="16561" y="6522"/>
                  </a:cubicBezTo>
                  <a:cubicBezTo>
                    <a:pt x="16706" y="6509"/>
                    <a:pt x="16910" y="6294"/>
                    <a:pt x="17175" y="5878"/>
                  </a:cubicBezTo>
                  <a:cubicBezTo>
                    <a:pt x="17440" y="5475"/>
                    <a:pt x="17705" y="5274"/>
                    <a:pt x="17970" y="5274"/>
                  </a:cubicBezTo>
                  <a:cubicBezTo>
                    <a:pt x="18150" y="5274"/>
                    <a:pt x="18391" y="5328"/>
                    <a:pt x="18692" y="5435"/>
                  </a:cubicBezTo>
                  <a:cubicBezTo>
                    <a:pt x="19053" y="5543"/>
                    <a:pt x="19282" y="5670"/>
                    <a:pt x="19378" y="5818"/>
                  </a:cubicBezTo>
                  <a:cubicBezTo>
                    <a:pt x="19511" y="6019"/>
                    <a:pt x="19643" y="6294"/>
                    <a:pt x="19776" y="6643"/>
                  </a:cubicBezTo>
                  <a:cubicBezTo>
                    <a:pt x="19836" y="6831"/>
                    <a:pt x="19926" y="7106"/>
                    <a:pt x="20047" y="7468"/>
                  </a:cubicBezTo>
                  <a:cubicBezTo>
                    <a:pt x="20191" y="7871"/>
                    <a:pt x="20504" y="8542"/>
                    <a:pt x="20986" y="9482"/>
                  </a:cubicBezTo>
                  <a:cubicBezTo>
                    <a:pt x="21395" y="10381"/>
                    <a:pt x="21600" y="11152"/>
                    <a:pt x="21600" y="11796"/>
                  </a:cubicBezTo>
                  <a:cubicBezTo>
                    <a:pt x="21600" y="12038"/>
                    <a:pt x="21293" y="12313"/>
                    <a:pt x="20679" y="12622"/>
                  </a:cubicBezTo>
                  <a:cubicBezTo>
                    <a:pt x="20246" y="12837"/>
                    <a:pt x="19788" y="13018"/>
                    <a:pt x="19306" y="13165"/>
                  </a:cubicBezTo>
                  <a:cubicBezTo>
                    <a:pt x="19210" y="13192"/>
                    <a:pt x="18746" y="13306"/>
                    <a:pt x="17916" y="13508"/>
                  </a:cubicBezTo>
                  <a:cubicBezTo>
                    <a:pt x="17386" y="13628"/>
                    <a:pt x="16886" y="13790"/>
                    <a:pt x="16417" y="13991"/>
                  </a:cubicBezTo>
                  <a:cubicBezTo>
                    <a:pt x="15827" y="14205"/>
                    <a:pt x="15327" y="14400"/>
                    <a:pt x="14918" y="14574"/>
                  </a:cubicBezTo>
                  <a:cubicBezTo>
                    <a:pt x="14135" y="14883"/>
                    <a:pt x="13659" y="15131"/>
                    <a:pt x="13491" y="15319"/>
                  </a:cubicBezTo>
                  <a:cubicBezTo>
                    <a:pt x="13045" y="15936"/>
                    <a:pt x="12738" y="16332"/>
                    <a:pt x="12570" y="16507"/>
                  </a:cubicBezTo>
                  <a:cubicBezTo>
                    <a:pt x="12317" y="16762"/>
                    <a:pt x="11890" y="16889"/>
                    <a:pt x="11287" y="16889"/>
                  </a:cubicBezTo>
                  <a:cubicBezTo>
                    <a:pt x="11167" y="16889"/>
                    <a:pt x="11077" y="16842"/>
                    <a:pt x="11017" y="16749"/>
                  </a:cubicBezTo>
                  <a:cubicBezTo>
                    <a:pt x="10944" y="16655"/>
                    <a:pt x="10866" y="16608"/>
                    <a:pt x="10782" y="16608"/>
                  </a:cubicBezTo>
                  <a:cubicBezTo>
                    <a:pt x="10469" y="16608"/>
                    <a:pt x="10011" y="17312"/>
                    <a:pt x="9409" y="18721"/>
                  </a:cubicBezTo>
                  <a:cubicBezTo>
                    <a:pt x="8819" y="20117"/>
                    <a:pt x="8157" y="20815"/>
                    <a:pt x="7423" y="20815"/>
                  </a:cubicBezTo>
                  <a:cubicBezTo>
                    <a:pt x="7218" y="20708"/>
                    <a:pt x="7086" y="20654"/>
                    <a:pt x="7025" y="20654"/>
                  </a:cubicBezTo>
                  <a:cubicBezTo>
                    <a:pt x="6929" y="20654"/>
                    <a:pt x="6821" y="20734"/>
                    <a:pt x="6700" y="20896"/>
                  </a:cubicBezTo>
                  <a:cubicBezTo>
                    <a:pt x="6592" y="21056"/>
                    <a:pt x="6484" y="21137"/>
                    <a:pt x="6375" y="21137"/>
                  </a:cubicBezTo>
                  <a:cubicBezTo>
                    <a:pt x="6098" y="21137"/>
                    <a:pt x="5924" y="20990"/>
                    <a:pt x="5851" y="20694"/>
                  </a:cubicBezTo>
                  <a:cubicBezTo>
                    <a:pt x="5840" y="20386"/>
                    <a:pt x="5827" y="20218"/>
                    <a:pt x="5815" y="20191"/>
                  </a:cubicBezTo>
                  <a:lnTo>
                    <a:pt x="5436" y="20191"/>
                  </a:lnTo>
                  <a:cubicBezTo>
                    <a:pt x="4774" y="20567"/>
                    <a:pt x="4262" y="20855"/>
                    <a:pt x="3901" y="21056"/>
                  </a:cubicBezTo>
                  <a:cubicBezTo>
                    <a:pt x="3215" y="21419"/>
                    <a:pt x="2823" y="21600"/>
                    <a:pt x="2727" y="21600"/>
                  </a:cubicBezTo>
                  <a:cubicBezTo>
                    <a:pt x="2679" y="21600"/>
                    <a:pt x="2601" y="21587"/>
                    <a:pt x="2492" y="21560"/>
                  </a:cubicBezTo>
                  <a:cubicBezTo>
                    <a:pt x="2456" y="21546"/>
                    <a:pt x="2426" y="21540"/>
                    <a:pt x="2402" y="21540"/>
                  </a:cubicBezTo>
                  <a:lnTo>
                    <a:pt x="2438" y="21520"/>
                  </a:lnTo>
                  <a:cubicBezTo>
                    <a:pt x="2426" y="21479"/>
                    <a:pt x="2372" y="21332"/>
                    <a:pt x="2276" y="21077"/>
                  </a:cubicBezTo>
                  <a:cubicBezTo>
                    <a:pt x="2240" y="20969"/>
                    <a:pt x="2221" y="20862"/>
                    <a:pt x="2221" y="20754"/>
                  </a:cubicBezTo>
                  <a:lnTo>
                    <a:pt x="2330" y="19708"/>
                  </a:lnTo>
                  <a:cubicBezTo>
                    <a:pt x="2330" y="19386"/>
                    <a:pt x="2372" y="19023"/>
                    <a:pt x="2456" y="18621"/>
                  </a:cubicBezTo>
                  <a:cubicBezTo>
                    <a:pt x="2540" y="18218"/>
                    <a:pt x="2583" y="17923"/>
                    <a:pt x="2583" y="17735"/>
                  </a:cubicBezTo>
                  <a:cubicBezTo>
                    <a:pt x="2583" y="17400"/>
                    <a:pt x="2426" y="16970"/>
                    <a:pt x="2113" y="16447"/>
                  </a:cubicBezTo>
                  <a:cubicBezTo>
                    <a:pt x="1848" y="16017"/>
                    <a:pt x="1613" y="15722"/>
                    <a:pt x="1409" y="15561"/>
                  </a:cubicBezTo>
                  <a:cubicBezTo>
                    <a:pt x="1312" y="15494"/>
                    <a:pt x="1240" y="15319"/>
                    <a:pt x="1192" y="15037"/>
                  </a:cubicBezTo>
                  <a:cubicBezTo>
                    <a:pt x="1132" y="14769"/>
                    <a:pt x="1054" y="14601"/>
                    <a:pt x="957" y="14534"/>
                  </a:cubicBezTo>
                  <a:cubicBezTo>
                    <a:pt x="716" y="14413"/>
                    <a:pt x="530" y="14319"/>
                    <a:pt x="397" y="14252"/>
                  </a:cubicBezTo>
                  <a:cubicBezTo>
                    <a:pt x="157" y="14118"/>
                    <a:pt x="24" y="13977"/>
                    <a:pt x="0" y="13830"/>
                  </a:cubicBezTo>
                  <a:cubicBezTo>
                    <a:pt x="457" y="13642"/>
                    <a:pt x="855" y="13286"/>
                    <a:pt x="1192" y="12763"/>
                  </a:cubicBezTo>
                  <a:cubicBezTo>
                    <a:pt x="1686" y="11998"/>
                    <a:pt x="1963" y="11582"/>
                    <a:pt x="2023" y="11515"/>
                  </a:cubicBezTo>
                  <a:cubicBezTo>
                    <a:pt x="2107" y="11421"/>
                    <a:pt x="2312" y="11253"/>
                    <a:pt x="2637" y="11011"/>
                  </a:cubicBezTo>
                  <a:cubicBezTo>
                    <a:pt x="2926" y="10797"/>
                    <a:pt x="3131" y="10609"/>
                    <a:pt x="3251" y="10448"/>
                  </a:cubicBezTo>
                  <a:cubicBezTo>
                    <a:pt x="3383" y="10246"/>
                    <a:pt x="3516" y="9897"/>
                    <a:pt x="3648" y="9401"/>
                  </a:cubicBezTo>
                  <a:cubicBezTo>
                    <a:pt x="3756" y="9025"/>
                    <a:pt x="3865" y="8837"/>
                    <a:pt x="3973" y="8837"/>
                  </a:cubicBezTo>
                  <a:cubicBezTo>
                    <a:pt x="3997" y="8837"/>
                    <a:pt x="4202" y="8904"/>
                    <a:pt x="4587" y="9038"/>
                  </a:cubicBezTo>
                  <a:cubicBezTo>
                    <a:pt x="4708" y="9038"/>
                    <a:pt x="4822" y="8971"/>
                    <a:pt x="4930" y="8837"/>
                  </a:cubicBezTo>
                  <a:cubicBezTo>
                    <a:pt x="5027" y="8703"/>
                    <a:pt x="5075" y="8582"/>
                    <a:pt x="5075" y="8475"/>
                  </a:cubicBezTo>
                  <a:cubicBezTo>
                    <a:pt x="5075" y="8421"/>
                    <a:pt x="5045" y="8327"/>
                    <a:pt x="4985" y="8193"/>
                  </a:cubicBezTo>
                  <a:cubicBezTo>
                    <a:pt x="4912" y="8059"/>
                    <a:pt x="4876" y="7958"/>
                    <a:pt x="4876" y="7891"/>
                  </a:cubicBezTo>
                  <a:cubicBezTo>
                    <a:pt x="4876" y="7770"/>
                    <a:pt x="5177" y="7442"/>
                    <a:pt x="5779" y="6905"/>
                  </a:cubicBezTo>
                  <a:cubicBezTo>
                    <a:pt x="6562" y="6234"/>
                    <a:pt x="6965" y="5885"/>
                    <a:pt x="6989" y="5858"/>
                  </a:cubicBezTo>
                  <a:close/>
                  <a:moveTo>
                    <a:pt x="6989" y="585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7" name="AutoShape 104"/>
            <p:cNvSpPr>
              <a:spLocks/>
            </p:cNvSpPr>
            <p:nvPr/>
          </p:nvSpPr>
          <p:spPr bwMode="auto">
            <a:xfrm>
              <a:off x="5975952" y="2297305"/>
              <a:ext cx="39819" cy="32162"/>
            </a:xfrm>
            <a:custGeom>
              <a:avLst/>
              <a:gdLst/>
              <a:ahLst/>
              <a:cxnLst/>
              <a:rect l="0" t="0" r="r" b="b"/>
              <a:pathLst>
                <a:path w="21600" h="21600">
                  <a:moveTo>
                    <a:pt x="19274" y="1094"/>
                  </a:moveTo>
                  <a:cubicBezTo>
                    <a:pt x="19570" y="1731"/>
                    <a:pt x="19717" y="2143"/>
                    <a:pt x="19717" y="2325"/>
                  </a:cubicBezTo>
                  <a:lnTo>
                    <a:pt x="17945" y="8067"/>
                  </a:lnTo>
                  <a:cubicBezTo>
                    <a:pt x="17945" y="8613"/>
                    <a:pt x="18572" y="9342"/>
                    <a:pt x="19828" y="10252"/>
                  </a:cubicBezTo>
                  <a:cubicBezTo>
                    <a:pt x="21009" y="11074"/>
                    <a:pt x="21600" y="12030"/>
                    <a:pt x="21600" y="13125"/>
                  </a:cubicBezTo>
                  <a:cubicBezTo>
                    <a:pt x="21600" y="14127"/>
                    <a:pt x="20123" y="15675"/>
                    <a:pt x="17169" y="17771"/>
                  </a:cubicBezTo>
                  <a:cubicBezTo>
                    <a:pt x="14732" y="19413"/>
                    <a:pt x="12480" y="20689"/>
                    <a:pt x="10413" y="21600"/>
                  </a:cubicBezTo>
                  <a:cubicBezTo>
                    <a:pt x="10339" y="21600"/>
                    <a:pt x="10265" y="21600"/>
                    <a:pt x="10191" y="21600"/>
                  </a:cubicBezTo>
                  <a:cubicBezTo>
                    <a:pt x="8714" y="21508"/>
                    <a:pt x="6831" y="20871"/>
                    <a:pt x="4542" y="19686"/>
                  </a:cubicBezTo>
                  <a:cubicBezTo>
                    <a:pt x="1514" y="18136"/>
                    <a:pt x="0" y="16451"/>
                    <a:pt x="0" y="14628"/>
                  </a:cubicBezTo>
                  <a:cubicBezTo>
                    <a:pt x="0" y="13352"/>
                    <a:pt x="295" y="12303"/>
                    <a:pt x="886" y="11484"/>
                  </a:cubicBezTo>
                  <a:cubicBezTo>
                    <a:pt x="1847" y="10207"/>
                    <a:pt x="2364" y="9479"/>
                    <a:pt x="2437" y="9297"/>
                  </a:cubicBezTo>
                  <a:cubicBezTo>
                    <a:pt x="2289" y="7566"/>
                    <a:pt x="2179" y="6334"/>
                    <a:pt x="2105" y="5606"/>
                  </a:cubicBezTo>
                  <a:cubicBezTo>
                    <a:pt x="2105" y="4512"/>
                    <a:pt x="2400" y="3965"/>
                    <a:pt x="2991" y="3965"/>
                  </a:cubicBezTo>
                  <a:cubicBezTo>
                    <a:pt x="4172" y="3965"/>
                    <a:pt x="5170" y="4648"/>
                    <a:pt x="5982" y="6016"/>
                  </a:cubicBezTo>
                  <a:cubicBezTo>
                    <a:pt x="6794" y="7383"/>
                    <a:pt x="8124" y="8067"/>
                    <a:pt x="9969" y="8067"/>
                  </a:cubicBezTo>
                  <a:cubicBezTo>
                    <a:pt x="13145" y="8067"/>
                    <a:pt x="15249" y="6744"/>
                    <a:pt x="16283" y="4101"/>
                  </a:cubicBezTo>
                  <a:cubicBezTo>
                    <a:pt x="17243" y="1367"/>
                    <a:pt x="17908" y="0"/>
                    <a:pt x="18277" y="0"/>
                  </a:cubicBezTo>
                  <a:cubicBezTo>
                    <a:pt x="18572" y="0"/>
                    <a:pt x="18904" y="365"/>
                    <a:pt x="19274" y="1094"/>
                  </a:cubicBezTo>
                  <a:close/>
                  <a:moveTo>
                    <a:pt x="19274" y="109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8" name="AutoShape 105"/>
            <p:cNvSpPr>
              <a:spLocks/>
            </p:cNvSpPr>
            <p:nvPr/>
          </p:nvSpPr>
          <p:spPr bwMode="auto">
            <a:xfrm>
              <a:off x="5955532" y="2301389"/>
              <a:ext cx="15826" cy="29099"/>
            </a:xfrm>
            <a:custGeom>
              <a:avLst/>
              <a:gdLst/>
              <a:ahLst/>
              <a:cxnLst/>
              <a:rect l="0" t="0" r="r" b="b"/>
              <a:pathLst>
                <a:path w="21600" h="21600">
                  <a:moveTo>
                    <a:pt x="18552" y="21005"/>
                  </a:moveTo>
                  <a:cubicBezTo>
                    <a:pt x="17814" y="21402"/>
                    <a:pt x="17354" y="21600"/>
                    <a:pt x="17167" y="21600"/>
                  </a:cubicBezTo>
                  <a:cubicBezTo>
                    <a:pt x="13847" y="21600"/>
                    <a:pt x="10060" y="19565"/>
                    <a:pt x="5814" y="15493"/>
                  </a:cubicBezTo>
                  <a:cubicBezTo>
                    <a:pt x="1936" y="11818"/>
                    <a:pt x="0" y="9286"/>
                    <a:pt x="0" y="7894"/>
                  </a:cubicBezTo>
                  <a:cubicBezTo>
                    <a:pt x="0" y="5313"/>
                    <a:pt x="1385" y="3278"/>
                    <a:pt x="4154" y="1788"/>
                  </a:cubicBezTo>
                  <a:cubicBezTo>
                    <a:pt x="6369" y="597"/>
                    <a:pt x="8584" y="0"/>
                    <a:pt x="10799" y="0"/>
                  </a:cubicBezTo>
                  <a:cubicBezTo>
                    <a:pt x="15045" y="0"/>
                    <a:pt x="17354" y="3328"/>
                    <a:pt x="17722" y="9980"/>
                  </a:cubicBezTo>
                  <a:cubicBezTo>
                    <a:pt x="17722" y="10775"/>
                    <a:pt x="18368" y="12215"/>
                    <a:pt x="19661" y="14301"/>
                  </a:cubicBezTo>
                  <a:cubicBezTo>
                    <a:pt x="20954" y="16287"/>
                    <a:pt x="21600" y="17726"/>
                    <a:pt x="21600" y="18620"/>
                  </a:cubicBezTo>
                  <a:lnTo>
                    <a:pt x="21600" y="19067"/>
                  </a:lnTo>
                  <a:cubicBezTo>
                    <a:pt x="21229" y="19266"/>
                    <a:pt x="20770" y="19565"/>
                    <a:pt x="20215" y="19961"/>
                  </a:cubicBezTo>
                  <a:cubicBezTo>
                    <a:pt x="20215" y="19961"/>
                    <a:pt x="18552" y="21005"/>
                    <a:pt x="18552" y="21005"/>
                  </a:cubicBezTo>
                  <a:close/>
                  <a:moveTo>
                    <a:pt x="18552" y="2100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29" name="AutoShape 106"/>
            <p:cNvSpPr>
              <a:spLocks/>
            </p:cNvSpPr>
            <p:nvPr/>
          </p:nvSpPr>
          <p:spPr bwMode="auto">
            <a:xfrm>
              <a:off x="6506876" y="2044095"/>
              <a:ext cx="136815" cy="149578"/>
            </a:xfrm>
            <a:custGeom>
              <a:avLst/>
              <a:gdLst/>
              <a:ahLst/>
              <a:cxnLst/>
              <a:rect l="0" t="0" r="r" b="b"/>
              <a:pathLst>
                <a:path w="21600" h="21600">
                  <a:moveTo>
                    <a:pt x="21600" y="12255"/>
                  </a:moveTo>
                  <a:lnTo>
                    <a:pt x="19891" y="18720"/>
                  </a:lnTo>
                  <a:cubicBezTo>
                    <a:pt x="19505" y="18779"/>
                    <a:pt x="19107" y="18798"/>
                    <a:pt x="18699" y="18779"/>
                  </a:cubicBezTo>
                  <a:cubicBezTo>
                    <a:pt x="18462" y="18779"/>
                    <a:pt x="17559" y="19249"/>
                    <a:pt x="15990" y="20190"/>
                  </a:cubicBezTo>
                  <a:cubicBezTo>
                    <a:pt x="14421" y="21130"/>
                    <a:pt x="13325" y="21600"/>
                    <a:pt x="12702" y="21600"/>
                  </a:cubicBezTo>
                  <a:cubicBezTo>
                    <a:pt x="11025" y="21600"/>
                    <a:pt x="9746" y="21238"/>
                    <a:pt x="8866" y="20513"/>
                  </a:cubicBezTo>
                  <a:cubicBezTo>
                    <a:pt x="8672" y="20356"/>
                    <a:pt x="8328" y="19964"/>
                    <a:pt x="7834" y="19337"/>
                  </a:cubicBezTo>
                  <a:cubicBezTo>
                    <a:pt x="7254" y="18613"/>
                    <a:pt x="6963" y="18132"/>
                    <a:pt x="6963" y="17897"/>
                  </a:cubicBezTo>
                  <a:cubicBezTo>
                    <a:pt x="6963" y="17603"/>
                    <a:pt x="7071" y="17329"/>
                    <a:pt x="7286" y="17075"/>
                  </a:cubicBezTo>
                  <a:cubicBezTo>
                    <a:pt x="7565" y="16722"/>
                    <a:pt x="7941" y="16546"/>
                    <a:pt x="8414" y="16546"/>
                  </a:cubicBezTo>
                  <a:cubicBezTo>
                    <a:pt x="8607" y="16546"/>
                    <a:pt x="9080" y="16644"/>
                    <a:pt x="9833" y="16839"/>
                  </a:cubicBezTo>
                  <a:cubicBezTo>
                    <a:pt x="10155" y="16839"/>
                    <a:pt x="10488" y="16653"/>
                    <a:pt x="10832" y="16281"/>
                  </a:cubicBezTo>
                  <a:cubicBezTo>
                    <a:pt x="11176" y="15889"/>
                    <a:pt x="11627" y="15693"/>
                    <a:pt x="12186" y="15693"/>
                  </a:cubicBezTo>
                  <a:cubicBezTo>
                    <a:pt x="12465" y="15693"/>
                    <a:pt x="12702" y="15752"/>
                    <a:pt x="12895" y="15870"/>
                  </a:cubicBezTo>
                  <a:cubicBezTo>
                    <a:pt x="13089" y="16006"/>
                    <a:pt x="13400" y="16065"/>
                    <a:pt x="13830" y="16046"/>
                  </a:cubicBezTo>
                  <a:cubicBezTo>
                    <a:pt x="14002" y="16026"/>
                    <a:pt x="14271" y="16065"/>
                    <a:pt x="14636" y="16163"/>
                  </a:cubicBezTo>
                  <a:cubicBezTo>
                    <a:pt x="14743" y="16222"/>
                    <a:pt x="14969" y="16349"/>
                    <a:pt x="15313" y="16546"/>
                  </a:cubicBezTo>
                  <a:cubicBezTo>
                    <a:pt x="15485" y="16546"/>
                    <a:pt x="16409" y="15860"/>
                    <a:pt x="18086" y="14489"/>
                  </a:cubicBezTo>
                  <a:lnTo>
                    <a:pt x="18086" y="13930"/>
                  </a:lnTo>
                  <a:lnTo>
                    <a:pt x="17699" y="13930"/>
                  </a:lnTo>
                  <a:cubicBezTo>
                    <a:pt x="17269" y="14205"/>
                    <a:pt x="16979" y="14361"/>
                    <a:pt x="16828" y="14400"/>
                  </a:cubicBezTo>
                  <a:cubicBezTo>
                    <a:pt x="16742" y="14420"/>
                    <a:pt x="16474" y="14430"/>
                    <a:pt x="16022" y="14430"/>
                  </a:cubicBezTo>
                  <a:cubicBezTo>
                    <a:pt x="15206" y="14430"/>
                    <a:pt x="14679" y="14253"/>
                    <a:pt x="14443" y="13901"/>
                  </a:cubicBezTo>
                  <a:cubicBezTo>
                    <a:pt x="14206" y="13529"/>
                    <a:pt x="13948" y="13342"/>
                    <a:pt x="13669" y="13342"/>
                  </a:cubicBezTo>
                  <a:cubicBezTo>
                    <a:pt x="13411" y="13342"/>
                    <a:pt x="13185" y="13499"/>
                    <a:pt x="12992" y="13813"/>
                  </a:cubicBezTo>
                  <a:cubicBezTo>
                    <a:pt x="12777" y="14106"/>
                    <a:pt x="12616" y="14253"/>
                    <a:pt x="12508" y="14253"/>
                  </a:cubicBezTo>
                  <a:cubicBezTo>
                    <a:pt x="12337" y="14253"/>
                    <a:pt x="12154" y="14214"/>
                    <a:pt x="11960" y="14136"/>
                  </a:cubicBezTo>
                  <a:cubicBezTo>
                    <a:pt x="11767" y="14058"/>
                    <a:pt x="11595" y="14018"/>
                    <a:pt x="11445" y="14018"/>
                  </a:cubicBezTo>
                  <a:cubicBezTo>
                    <a:pt x="11208" y="14018"/>
                    <a:pt x="10972" y="14077"/>
                    <a:pt x="10735" y="14195"/>
                  </a:cubicBezTo>
                  <a:cubicBezTo>
                    <a:pt x="10520" y="14312"/>
                    <a:pt x="10316" y="14371"/>
                    <a:pt x="10123" y="14371"/>
                  </a:cubicBezTo>
                  <a:cubicBezTo>
                    <a:pt x="9693" y="14371"/>
                    <a:pt x="9478" y="14234"/>
                    <a:pt x="9478" y="13959"/>
                  </a:cubicBezTo>
                  <a:cubicBezTo>
                    <a:pt x="9478" y="13862"/>
                    <a:pt x="9693" y="13695"/>
                    <a:pt x="10123" y="13460"/>
                  </a:cubicBezTo>
                  <a:cubicBezTo>
                    <a:pt x="10510" y="13225"/>
                    <a:pt x="10681" y="12960"/>
                    <a:pt x="10639" y="12667"/>
                  </a:cubicBezTo>
                  <a:cubicBezTo>
                    <a:pt x="10596" y="12392"/>
                    <a:pt x="10778" y="12118"/>
                    <a:pt x="11186" y="11844"/>
                  </a:cubicBezTo>
                  <a:cubicBezTo>
                    <a:pt x="11445" y="11687"/>
                    <a:pt x="11842" y="11423"/>
                    <a:pt x="12379" y="11050"/>
                  </a:cubicBezTo>
                  <a:cubicBezTo>
                    <a:pt x="12164" y="11050"/>
                    <a:pt x="11842" y="10972"/>
                    <a:pt x="11412" y="10815"/>
                  </a:cubicBezTo>
                  <a:cubicBezTo>
                    <a:pt x="10982" y="10658"/>
                    <a:pt x="10703" y="10580"/>
                    <a:pt x="10574" y="10580"/>
                  </a:cubicBezTo>
                  <a:cubicBezTo>
                    <a:pt x="10510" y="10580"/>
                    <a:pt x="10327" y="10835"/>
                    <a:pt x="10026" y="11344"/>
                  </a:cubicBezTo>
                  <a:cubicBezTo>
                    <a:pt x="9704" y="11834"/>
                    <a:pt x="9489" y="12079"/>
                    <a:pt x="9381" y="12079"/>
                  </a:cubicBezTo>
                  <a:cubicBezTo>
                    <a:pt x="9252" y="12079"/>
                    <a:pt x="9134" y="12010"/>
                    <a:pt x="9027" y="11873"/>
                  </a:cubicBezTo>
                  <a:cubicBezTo>
                    <a:pt x="8898" y="11716"/>
                    <a:pt x="8769" y="11638"/>
                    <a:pt x="8640" y="11638"/>
                  </a:cubicBezTo>
                  <a:cubicBezTo>
                    <a:pt x="8446" y="11638"/>
                    <a:pt x="8350" y="11736"/>
                    <a:pt x="8350" y="11932"/>
                  </a:cubicBezTo>
                  <a:cubicBezTo>
                    <a:pt x="8350" y="12578"/>
                    <a:pt x="8328" y="12970"/>
                    <a:pt x="8285" y="13108"/>
                  </a:cubicBezTo>
                  <a:cubicBezTo>
                    <a:pt x="8092" y="13715"/>
                    <a:pt x="7619" y="14018"/>
                    <a:pt x="6867" y="14018"/>
                  </a:cubicBezTo>
                  <a:cubicBezTo>
                    <a:pt x="6394" y="14018"/>
                    <a:pt x="6157" y="13881"/>
                    <a:pt x="6157" y="13607"/>
                  </a:cubicBezTo>
                  <a:cubicBezTo>
                    <a:pt x="6157" y="13411"/>
                    <a:pt x="6265" y="13117"/>
                    <a:pt x="6480" y="12725"/>
                  </a:cubicBezTo>
                  <a:lnTo>
                    <a:pt x="6480" y="12255"/>
                  </a:lnTo>
                  <a:lnTo>
                    <a:pt x="5964" y="12255"/>
                  </a:lnTo>
                  <a:cubicBezTo>
                    <a:pt x="5534" y="12314"/>
                    <a:pt x="5190" y="12539"/>
                    <a:pt x="4932" y="12931"/>
                  </a:cubicBezTo>
                  <a:cubicBezTo>
                    <a:pt x="4717" y="13323"/>
                    <a:pt x="4470" y="13518"/>
                    <a:pt x="4191" y="13518"/>
                  </a:cubicBezTo>
                  <a:cubicBezTo>
                    <a:pt x="3718" y="13518"/>
                    <a:pt x="3514" y="13098"/>
                    <a:pt x="3578" y="12255"/>
                  </a:cubicBezTo>
                  <a:cubicBezTo>
                    <a:pt x="3664" y="11413"/>
                    <a:pt x="3492" y="10991"/>
                    <a:pt x="3063" y="10991"/>
                  </a:cubicBezTo>
                  <a:cubicBezTo>
                    <a:pt x="2955" y="10991"/>
                    <a:pt x="2815" y="11050"/>
                    <a:pt x="2643" y="11167"/>
                  </a:cubicBezTo>
                  <a:cubicBezTo>
                    <a:pt x="2493" y="11285"/>
                    <a:pt x="2321" y="11344"/>
                    <a:pt x="2128" y="11344"/>
                  </a:cubicBezTo>
                  <a:cubicBezTo>
                    <a:pt x="1870" y="11344"/>
                    <a:pt x="1451" y="11109"/>
                    <a:pt x="870" y="10639"/>
                  </a:cubicBezTo>
                  <a:cubicBezTo>
                    <a:pt x="290" y="10149"/>
                    <a:pt x="0" y="9777"/>
                    <a:pt x="0" y="9522"/>
                  </a:cubicBezTo>
                  <a:cubicBezTo>
                    <a:pt x="0" y="9208"/>
                    <a:pt x="333" y="8875"/>
                    <a:pt x="999" y="8523"/>
                  </a:cubicBezTo>
                  <a:cubicBezTo>
                    <a:pt x="1623" y="8190"/>
                    <a:pt x="2138" y="8023"/>
                    <a:pt x="2547" y="8023"/>
                  </a:cubicBezTo>
                  <a:cubicBezTo>
                    <a:pt x="2826" y="8023"/>
                    <a:pt x="3245" y="8150"/>
                    <a:pt x="3804" y="8405"/>
                  </a:cubicBezTo>
                  <a:cubicBezTo>
                    <a:pt x="4363" y="8640"/>
                    <a:pt x="4761" y="8758"/>
                    <a:pt x="4997" y="8758"/>
                  </a:cubicBezTo>
                  <a:cubicBezTo>
                    <a:pt x="6910" y="8288"/>
                    <a:pt x="7931" y="7808"/>
                    <a:pt x="8060" y="7318"/>
                  </a:cubicBezTo>
                  <a:cubicBezTo>
                    <a:pt x="7888" y="7239"/>
                    <a:pt x="7748" y="7200"/>
                    <a:pt x="7640" y="7200"/>
                  </a:cubicBezTo>
                  <a:cubicBezTo>
                    <a:pt x="7533" y="7200"/>
                    <a:pt x="7006" y="7279"/>
                    <a:pt x="6061" y="7436"/>
                  </a:cubicBezTo>
                  <a:cubicBezTo>
                    <a:pt x="5115" y="7592"/>
                    <a:pt x="4503" y="7671"/>
                    <a:pt x="4223" y="7671"/>
                  </a:cubicBezTo>
                  <a:cubicBezTo>
                    <a:pt x="3557" y="7671"/>
                    <a:pt x="3095" y="7631"/>
                    <a:pt x="2837" y="7553"/>
                  </a:cubicBezTo>
                  <a:cubicBezTo>
                    <a:pt x="2364" y="7396"/>
                    <a:pt x="2128" y="7083"/>
                    <a:pt x="2128" y="6612"/>
                  </a:cubicBezTo>
                  <a:cubicBezTo>
                    <a:pt x="2128" y="6162"/>
                    <a:pt x="2590" y="5829"/>
                    <a:pt x="3514" y="5613"/>
                  </a:cubicBezTo>
                  <a:cubicBezTo>
                    <a:pt x="4159" y="5457"/>
                    <a:pt x="4836" y="5378"/>
                    <a:pt x="5545" y="5378"/>
                  </a:cubicBezTo>
                  <a:cubicBezTo>
                    <a:pt x="5781" y="5378"/>
                    <a:pt x="6276" y="5427"/>
                    <a:pt x="7028" y="5525"/>
                  </a:cubicBezTo>
                  <a:cubicBezTo>
                    <a:pt x="7780" y="5623"/>
                    <a:pt x="8328" y="5672"/>
                    <a:pt x="8672" y="5672"/>
                  </a:cubicBezTo>
                  <a:lnTo>
                    <a:pt x="9672" y="5554"/>
                  </a:lnTo>
                  <a:cubicBezTo>
                    <a:pt x="9500" y="5300"/>
                    <a:pt x="8876" y="5143"/>
                    <a:pt x="7801" y="5085"/>
                  </a:cubicBezTo>
                  <a:cubicBezTo>
                    <a:pt x="7243" y="5123"/>
                    <a:pt x="6727" y="5133"/>
                    <a:pt x="6254" y="5114"/>
                  </a:cubicBezTo>
                  <a:cubicBezTo>
                    <a:pt x="5309" y="5075"/>
                    <a:pt x="4836" y="4898"/>
                    <a:pt x="4836" y="4585"/>
                  </a:cubicBezTo>
                  <a:cubicBezTo>
                    <a:pt x="4836" y="4330"/>
                    <a:pt x="5169" y="3889"/>
                    <a:pt x="5835" y="3262"/>
                  </a:cubicBezTo>
                  <a:cubicBezTo>
                    <a:pt x="6501" y="2616"/>
                    <a:pt x="7006" y="2293"/>
                    <a:pt x="7350" y="2293"/>
                  </a:cubicBezTo>
                  <a:cubicBezTo>
                    <a:pt x="7694" y="2293"/>
                    <a:pt x="8188" y="2488"/>
                    <a:pt x="8833" y="2880"/>
                  </a:cubicBezTo>
                  <a:cubicBezTo>
                    <a:pt x="9478" y="3253"/>
                    <a:pt x="9919" y="3439"/>
                    <a:pt x="10155" y="3439"/>
                  </a:cubicBezTo>
                  <a:cubicBezTo>
                    <a:pt x="10198" y="3439"/>
                    <a:pt x="10252" y="3419"/>
                    <a:pt x="10316" y="3380"/>
                  </a:cubicBezTo>
                  <a:cubicBezTo>
                    <a:pt x="10402" y="3321"/>
                    <a:pt x="10445" y="3262"/>
                    <a:pt x="10445" y="3203"/>
                  </a:cubicBezTo>
                  <a:cubicBezTo>
                    <a:pt x="10445" y="3086"/>
                    <a:pt x="10080" y="2802"/>
                    <a:pt x="9349" y="2351"/>
                  </a:cubicBezTo>
                  <a:cubicBezTo>
                    <a:pt x="8597" y="1900"/>
                    <a:pt x="8221" y="1548"/>
                    <a:pt x="8221" y="1293"/>
                  </a:cubicBezTo>
                  <a:cubicBezTo>
                    <a:pt x="8221" y="431"/>
                    <a:pt x="9241" y="0"/>
                    <a:pt x="11283" y="0"/>
                  </a:cubicBezTo>
                  <a:cubicBezTo>
                    <a:pt x="11670" y="0"/>
                    <a:pt x="12057" y="128"/>
                    <a:pt x="12444" y="382"/>
                  </a:cubicBezTo>
                  <a:cubicBezTo>
                    <a:pt x="12874" y="657"/>
                    <a:pt x="13089" y="999"/>
                    <a:pt x="13089" y="1411"/>
                  </a:cubicBezTo>
                  <a:cubicBezTo>
                    <a:pt x="13089" y="1509"/>
                    <a:pt x="13013" y="1656"/>
                    <a:pt x="12863" y="1852"/>
                  </a:cubicBezTo>
                  <a:cubicBezTo>
                    <a:pt x="12712" y="2028"/>
                    <a:pt x="12637" y="2175"/>
                    <a:pt x="12637" y="2293"/>
                  </a:cubicBezTo>
                  <a:cubicBezTo>
                    <a:pt x="12637" y="2508"/>
                    <a:pt x="12766" y="2753"/>
                    <a:pt x="13024" y="3027"/>
                  </a:cubicBezTo>
                  <a:cubicBezTo>
                    <a:pt x="13325" y="3341"/>
                    <a:pt x="13658" y="3497"/>
                    <a:pt x="14024" y="3497"/>
                  </a:cubicBezTo>
                  <a:cubicBezTo>
                    <a:pt x="14367" y="3497"/>
                    <a:pt x="14797" y="3497"/>
                    <a:pt x="15313" y="3497"/>
                  </a:cubicBezTo>
                  <a:cubicBezTo>
                    <a:pt x="15678" y="3576"/>
                    <a:pt x="15969" y="3899"/>
                    <a:pt x="16183" y="4467"/>
                  </a:cubicBezTo>
                  <a:cubicBezTo>
                    <a:pt x="16248" y="4624"/>
                    <a:pt x="16302" y="4879"/>
                    <a:pt x="16345" y="5231"/>
                  </a:cubicBezTo>
                  <a:cubicBezTo>
                    <a:pt x="16366" y="5467"/>
                    <a:pt x="16463" y="5701"/>
                    <a:pt x="16635" y="5936"/>
                  </a:cubicBezTo>
                  <a:cubicBezTo>
                    <a:pt x="16742" y="6074"/>
                    <a:pt x="16979" y="6289"/>
                    <a:pt x="17344" y="6583"/>
                  </a:cubicBezTo>
                  <a:cubicBezTo>
                    <a:pt x="17623" y="6779"/>
                    <a:pt x="17763" y="6985"/>
                    <a:pt x="17763" y="7200"/>
                  </a:cubicBezTo>
                  <a:cubicBezTo>
                    <a:pt x="17763" y="7377"/>
                    <a:pt x="17634" y="7494"/>
                    <a:pt x="17376" y="7553"/>
                  </a:cubicBezTo>
                  <a:cubicBezTo>
                    <a:pt x="16989" y="7671"/>
                    <a:pt x="16785" y="7729"/>
                    <a:pt x="16764" y="7729"/>
                  </a:cubicBezTo>
                  <a:cubicBezTo>
                    <a:pt x="16721" y="8102"/>
                    <a:pt x="17043" y="8337"/>
                    <a:pt x="17731" y="8434"/>
                  </a:cubicBezTo>
                  <a:cubicBezTo>
                    <a:pt x="18419" y="8533"/>
                    <a:pt x="18763" y="8719"/>
                    <a:pt x="18763" y="8993"/>
                  </a:cubicBezTo>
                  <a:cubicBezTo>
                    <a:pt x="18763" y="9169"/>
                    <a:pt x="18580" y="9414"/>
                    <a:pt x="18215" y="9728"/>
                  </a:cubicBezTo>
                  <a:cubicBezTo>
                    <a:pt x="17828" y="10041"/>
                    <a:pt x="17634" y="10247"/>
                    <a:pt x="17634" y="10345"/>
                  </a:cubicBezTo>
                  <a:cubicBezTo>
                    <a:pt x="17634" y="10737"/>
                    <a:pt x="17785" y="11031"/>
                    <a:pt x="18086" y="11226"/>
                  </a:cubicBezTo>
                  <a:cubicBezTo>
                    <a:pt x="18322" y="11383"/>
                    <a:pt x="18590" y="11462"/>
                    <a:pt x="18891" y="11462"/>
                  </a:cubicBezTo>
                  <a:lnTo>
                    <a:pt x="19858" y="11344"/>
                  </a:lnTo>
                  <a:cubicBezTo>
                    <a:pt x="19988" y="11344"/>
                    <a:pt x="20278" y="11510"/>
                    <a:pt x="20729" y="11844"/>
                  </a:cubicBezTo>
                  <a:cubicBezTo>
                    <a:pt x="20880" y="11961"/>
                    <a:pt x="21051" y="12049"/>
                    <a:pt x="21245" y="12108"/>
                  </a:cubicBezTo>
                  <a:cubicBezTo>
                    <a:pt x="21309" y="12147"/>
                    <a:pt x="21427" y="12196"/>
                    <a:pt x="21600" y="12255"/>
                  </a:cubicBezTo>
                  <a:close/>
                  <a:moveTo>
                    <a:pt x="21600" y="1225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0" name="AutoShape 107"/>
            <p:cNvSpPr>
              <a:spLocks/>
            </p:cNvSpPr>
            <p:nvPr/>
          </p:nvSpPr>
          <p:spPr bwMode="auto">
            <a:xfrm>
              <a:off x="6649817" y="2068600"/>
              <a:ext cx="8679" cy="13784"/>
            </a:xfrm>
            <a:custGeom>
              <a:avLst/>
              <a:gdLst/>
              <a:ahLst/>
              <a:cxnLst/>
              <a:rect l="0" t="0" r="r" b="b"/>
              <a:pathLst>
                <a:path w="21600" h="21600">
                  <a:moveTo>
                    <a:pt x="16694" y="21600"/>
                  </a:moveTo>
                  <a:cubicBezTo>
                    <a:pt x="5558" y="14297"/>
                    <a:pt x="0" y="9078"/>
                    <a:pt x="0" y="5948"/>
                  </a:cubicBezTo>
                  <a:cubicBezTo>
                    <a:pt x="0" y="1983"/>
                    <a:pt x="3776" y="0"/>
                    <a:pt x="11289" y="0"/>
                  </a:cubicBezTo>
                  <a:cubicBezTo>
                    <a:pt x="12918" y="0"/>
                    <a:pt x="15371" y="627"/>
                    <a:pt x="18648" y="1879"/>
                  </a:cubicBezTo>
                  <a:cubicBezTo>
                    <a:pt x="19626" y="2298"/>
                    <a:pt x="20603" y="2607"/>
                    <a:pt x="21600" y="2815"/>
                  </a:cubicBezTo>
                  <a:cubicBezTo>
                    <a:pt x="21600" y="2815"/>
                    <a:pt x="16694" y="21600"/>
                    <a:pt x="16694" y="21600"/>
                  </a:cubicBezTo>
                  <a:close/>
                  <a:moveTo>
                    <a:pt x="16694"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1" name="AutoShape 108"/>
            <p:cNvSpPr>
              <a:spLocks/>
            </p:cNvSpPr>
            <p:nvPr/>
          </p:nvSpPr>
          <p:spPr bwMode="auto">
            <a:xfrm>
              <a:off x="6388439" y="2252381"/>
              <a:ext cx="204712" cy="243510"/>
            </a:xfrm>
            <a:custGeom>
              <a:avLst/>
              <a:gdLst/>
              <a:ahLst/>
              <a:cxnLst/>
              <a:rect l="0" t="0" r="r" b="b"/>
              <a:pathLst>
                <a:path w="21600" h="21600">
                  <a:moveTo>
                    <a:pt x="21600" y="6802"/>
                  </a:moveTo>
                  <a:lnTo>
                    <a:pt x="17276" y="21600"/>
                  </a:lnTo>
                  <a:lnTo>
                    <a:pt x="11725" y="20298"/>
                  </a:lnTo>
                  <a:cubicBezTo>
                    <a:pt x="11496" y="20551"/>
                    <a:pt x="11352" y="20702"/>
                    <a:pt x="11295" y="20750"/>
                  </a:cubicBezTo>
                  <a:cubicBezTo>
                    <a:pt x="11051" y="20967"/>
                    <a:pt x="10836" y="21075"/>
                    <a:pt x="10649" y="21075"/>
                  </a:cubicBezTo>
                  <a:cubicBezTo>
                    <a:pt x="10434" y="21075"/>
                    <a:pt x="10327" y="20967"/>
                    <a:pt x="10327" y="20750"/>
                  </a:cubicBezTo>
                  <a:lnTo>
                    <a:pt x="10413" y="20171"/>
                  </a:lnTo>
                  <a:lnTo>
                    <a:pt x="10391" y="19972"/>
                  </a:lnTo>
                  <a:lnTo>
                    <a:pt x="0" y="17512"/>
                  </a:lnTo>
                  <a:cubicBezTo>
                    <a:pt x="201" y="17439"/>
                    <a:pt x="595" y="17409"/>
                    <a:pt x="1183" y="17421"/>
                  </a:cubicBezTo>
                  <a:cubicBezTo>
                    <a:pt x="1757" y="17421"/>
                    <a:pt x="2352" y="17403"/>
                    <a:pt x="2969" y="17367"/>
                  </a:cubicBezTo>
                  <a:cubicBezTo>
                    <a:pt x="3586" y="17331"/>
                    <a:pt x="4490" y="17343"/>
                    <a:pt x="5680" y="17403"/>
                  </a:cubicBezTo>
                  <a:cubicBezTo>
                    <a:pt x="6612" y="17451"/>
                    <a:pt x="7344" y="17439"/>
                    <a:pt x="7874" y="17367"/>
                  </a:cubicBezTo>
                  <a:cubicBezTo>
                    <a:pt x="8204" y="17488"/>
                    <a:pt x="8850" y="17747"/>
                    <a:pt x="9811" y="18145"/>
                  </a:cubicBezTo>
                  <a:cubicBezTo>
                    <a:pt x="10843" y="18567"/>
                    <a:pt x="11489" y="18814"/>
                    <a:pt x="11747" y="18887"/>
                  </a:cubicBezTo>
                  <a:cubicBezTo>
                    <a:pt x="11790" y="18814"/>
                    <a:pt x="11847" y="18700"/>
                    <a:pt x="11919" y="18543"/>
                  </a:cubicBezTo>
                  <a:cubicBezTo>
                    <a:pt x="12005" y="18422"/>
                    <a:pt x="12112" y="18350"/>
                    <a:pt x="12242" y="18326"/>
                  </a:cubicBezTo>
                  <a:cubicBezTo>
                    <a:pt x="12342" y="18314"/>
                    <a:pt x="12485" y="18308"/>
                    <a:pt x="12672" y="18308"/>
                  </a:cubicBezTo>
                  <a:cubicBezTo>
                    <a:pt x="12830" y="18296"/>
                    <a:pt x="12908" y="18211"/>
                    <a:pt x="12908" y="18055"/>
                  </a:cubicBezTo>
                  <a:cubicBezTo>
                    <a:pt x="12908" y="17729"/>
                    <a:pt x="12507" y="17313"/>
                    <a:pt x="11704" y="16806"/>
                  </a:cubicBezTo>
                  <a:cubicBezTo>
                    <a:pt x="11517" y="16685"/>
                    <a:pt x="10901" y="16354"/>
                    <a:pt x="9853" y="15811"/>
                  </a:cubicBezTo>
                  <a:cubicBezTo>
                    <a:pt x="9136" y="15437"/>
                    <a:pt x="7867" y="15311"/>
                    <a:pt x="6046" y="15431"/>
                  </a:cubicBezTo>
                  <a:cubicBezTo>
                    <a:pt x="5572" y="15455"/>
                    <a:pt x="4984" y="15286"/>
                    <a:pt x="4282" y="14925"/>
                  </a:cubicBezTo>
                  <a:cubicBezTo>
                    <a:pt x="3593" y="14575"/>
                    <a:pt x="3048" y="14424"/>
                    <a:pt x="2646" y="14472"/>
                  </a:cubicBezTo>
                  <a:cubicBezTo>
                    <a:pt x="2474" y="14485"/>
                    <a:pt x="2159" y="14340"/>
                    <a:pt x="1700" y="14038"/>
                  </a:cubicBezTo>
                  <a:cubicBezTo>
                    <a:pt x="1284" y="13761"/>
                    <a:pt x="1040" y="13574"/>
                    <a:pt x="968" y="13477"/>
                  </a:cubicBezTo>
                  <a:cubicBezTo>
                    <a:pt x="452" y="12778"/>
                    <a:pt x="194" y="12223"/>
                    <a:pt x="194" y="11813"/>
                  </a:cubicBezTo>
                  <a:cubicBezTo>
                    <a:pt x="194" y="11126"/>
                    <a:pt x="1025" y="10649"/>
                    <a:pt x="2689" y="10384"/>
                  </a:cubicBezTo>
                  <a:cubicBezTo>
                    <a:pt x="3564" y="10239"/>
                    <a:pt x="4575" y="10167"/>
                    <a:pt x="5723" y="10167"/>
                  </a:cubicBezTo>
                  <a:cubicBezTo>
                    <a:pt x="5938" y="10167"/>
                    <a:pt x="6139" y="10215"/>
                    <a:pt x="6325" y="10312"/>
                  </a:cubicBezTo>
                  <a:cubicBezTo>
                    <a:pt x="6426" y="10372"/>
                    <a:pt x="6591" y="10469"/>
                    <a:pt x="6820" y="10601"/>
                  </a:cubicBezTo>
                  <a:lnTo>
                    <a:pt x="6842" y="10601"/>
                  </a:lnTo>
                  <a:lnTo>
                    <a:pt x="6863" y="10583"/>
                  </a:lnTo>
                  <a:cubicBezTo>
                    <a:pt x="6877" y="10535"/>
                    <a:pt x="6885" y="10486"/>
                    <a:pt x="6885" y="10438"/>
                  </a:cubicBezTo>
                  <a:cubicBezTo>
                    <a:pt x="6799" y="10282"/>
                    <a:pt x="6756" y="10191"/>
                    <a:pt x="6756" y="10167"/>
                  </a:cubicBezTo>
                  <a:cubicBezTo>
                    <a:pt x="6756" y="10131"/>
                    <a:pt x="6727" y="10113"/>
                    <a:pt x="6669" y="10113"/>
                  </a:cubicBezTo>
                  <a:cubicBezTo>
                    <a:pt x="6698" y="10064"/>
                    <a:pt x="6720" y="10040"/>
                    <a:pt x="6734" y="10040"/>
                  </a:cubicBezTo>
                  <a:lnTo>
                    <a:pt x="6863" y="10040"/>
                  </a:lnTo>
                  <a:lnTo>
                    <a:pt x="7293" y="10113"/>
                  </a:lnTo>
                  <a:cubicBezTo>
                    <a:pt x="7408" y="10113"/>
                    <a:pt x="7523" y="10064"/>
                    <a:pt x="7638" y="9968"/>
                  </a:cubicBezTo>
                  <a:cubicBezTo>
                    <a:pt x="7724" y="9884"/>
                    <a:pt x="7767" y="9823"/>
                    <a:pt x="7767" y="9787"/>
                  </a:cubicBezTo>
                  <a:cubicBezTo>
                    <a:pt x="7767" y="9666"/>
                    <a:pt x="7458" y="9570"/>
                    <a:pt x="6842" y="9497"/>
                  </a:cubicBezTo>
                  <a:cubicBezTo>
                    <a:pt x="6368" y="9437"/>
                    <a:pt x="5960" y="9407"/>
                    <a:pt x="5615" y="9407"/>
                  </a:cubicBezTo>
                  <a:lnTo>
                    <a:pt x="4174" y="9497"/>
                  </a:lnTo>
                  <a:cubicBezTo>
                    <a:pt x="4045" y="9497"/>
                    <a:pt x="3772" y="9455"/>
                    <a:pt x="3356" y="9371"/>
                  </a:cubicBezTo>
                  <a:cubicBezTo>
                    <a:pt x="2955" y="9274"/>
                    <a:pt x="2704" y="9226"/>
                    <a:pt x="2603" y="9226"/>
                  </a:cubicBezTo>
                  <a:cubicBezTo>
                    <a:pt x="2331" y="9250"/>
                    <a:pt x="2094" y="9262"/>
                    <a:pt x="1893" y="9262"/>
                  </a:cubicBezTo>
                  <a:cubicBezTo>
                    <a:pt x="1535" y="9262"/>
                    <a:pt x="1355" y="9184"/>
                    <a:pt x="1355" y="9027"/>
                  </a:cubicBezTo>
                  <a:cubicBezTo>
                    <a:pt x="1355" y="8871"/>
                    <a:pt x="1570" y="8768"/>
                    <a:pt x="2001" y="8720"/>
                  </a:cubicBezTo>
                  <a:cubicBezTo>
                    <a:pt x="2431" y="8671"/>
                    <a:pt x="2646" y="8527"/>
                    <a:pt x="2646" y="8286"/>
                  </a:cubicBezTo>
                  <a:cubicBezTo>
                    <a:pt x="2646" y="8092"/>
                    <a:pt x="2460" y="7966"/>
                    <a:pt x="2087" y="7906"/>
                  </a:cubicBezTo>
                  <a:cubicBezTo>
                    <a:pt x="1700" y="7845"/>
                    <a:pt x="1492" y="7755"/>
                    <a:pt x="1463" y="7634"/>
                  </a:cubicBezTo>
                  <a:cubicBezTo>
                    <a:pt x="1406" y="7429"/>
                    <a:pt x="1241" y="7278"/>
                    <a:pt x="968" y="7182"/>
                  </a:cubicBezTo>
                  <a:cubicBezTo>
                    <a:pt x="710" y="7097"/>
                    <a:pt x="581" y="6941"/>
                    <a:pt x="581" y="6712"/>
                  </a:cubicBezTo>
                  <a:cubicBezTo>
                    <a:pt x="581" y="6470"/>
                    <a:pt x="825" y="6096"/>
                    <a:pt x="1312" y="5590"/>
                  </a:cubicBezTo>
                  <a:cubicBezTo>
                    <a:pt x="1743" y="5144"/>
                    <a:pt x="2037" y="4884"/>
                    <a:pt x="2194" y="4812"/>
                  </a:cubicBezTo>
                  <a:cubicBezTo>
                    <a:pt x="2467" y="4667"/>
                    <a:pt x="2897" y="4541"/>
                    <a:pt x="3485" y="4432"/>
                  </a:cubicBezTo>
                  <a:cubicBezTo>
                    <a:pt x="3844" y="4360"/>
                    <a:pt x="4023" y="4209"/>
                    <a:pt x="4023" y="3980"/>
                  </a:cubicBezTo>
                  <a:cubicBezTo>
                    <a:pt x="4023" y="3859"/>
                    <a:pt x="3945" y="3721"/>
                    <a:pt x="3787" y="3564"/>
                  </a:cubicBezTo>
                  <a:cubicBezTo>
                    <a:pt x="3614" y="3395"/>
                    <a:pt x="3529" y="3274"/>
                    <a:pt x="3529" y="3202"/>
                  </a:cubicBezTo>
                  <a:cubicBezTo>
                    <a:pt x="3529" y="2888"/>
                    <a:pt x="4037" y="2490"/>
                    <a:pt x="5056" y="2008"/>
                  </a:cubicBezTo>
                  <a:cubicBezTo>
                    <a:pt x="5773" y="1658"/>
                    <a:pt x="6275" y="1447"/>
                    <a:pt x="6562" y="1375"/>
                  </a:cubicBezTo>
                  <a:cubicBezTo>
                    <a:pt x="7623" y="977"/>
                    <a:pt x="8785" y="651"/>
                    <a:pt x="10047" y="398"/>
                  </a:cubicBezTo>
                  <a:cubicBezTo>
                    <a:pt x="11309" y="133"/>
                    <a:pt x="12507" y="0"/>
                    <a:pt x="13640" y="0"/>
                  </a:cubicBezTo>
                  <a:cubicBezTo>
                    <a:pt x="13841" y="0"/>
                    <a:pt x="13991" y="199"/>
                    <a:pt x="14092" y="597"/>
                  </a:cubicBezTo>
                  <a:cubicBezTo>
                    <a:pt x="14178" y="923"/>
                    <a:pt x="14221" y="1308"/>
                    <a:pt x="14221" y="1755"/>
                  </a:cubicBezTo>
                  <a:cubicBezTo>
                    <a:pt x="14221" y="2165"/>
                    <a:pt x="13941" y="2629"/>
                    <a:pt x="13382" y="3148"/>
                  </a:cubicBezTo>
                  <a:cubicBezTo>
                    <a:pt x="12794" y="3618"/>
                    <a:pt x="12457" y="3920"/>
                    <a:pt x="12371" y="4052"/>
                  </a:cubicBezTo>
                  <a:cubicBezTo>
                    <a:pt x="12399" y="4064"/>
                    <a:pt x="12414" y="4094"/>
                    <a:pt x="12414" y="4143"/>
                  </a:cubicBezTo>
                  <a:cubicBezTo>
                    <a:pt x="12442" y="4179"/>
                    <a:pt x="12514" y="4197"/>
                    <a:pt x="12629" y="4197"/>
                  </a:cubicBezTo>
                  <a:cubicBezTo>
                    <a:pt x="12700" y="4197"/>
                    <a:pt x="12851" y="4125"/>
                    <a:pt x="13080" y="3980"/>
                  </a:cubicBezTo>
                  <a:cubicBezTo>
                    <a:pt x="13138" y="3968"/>
                    <a:pt x="13267" y="3950"/>
                    <a:pt x="13468" y="3926"/>
                  </a:cubicBezTo>
                  <a:cubicBezTo>
                    <a:pt x="13511" y="3986"/>
                    <a:pt x="13575" y="4088"/>
                    <a:pt x="13661" y="4233"/>
                  </a:cubicBezTo>
                  <a:cubicBezTo>
                    <a:pt x="13748" y="4354"/>
                    <a:pt x="13848" y="4414"/>
                    <a:pt x="13963" y="4414"/>
                  </a:cubicBezTo>
                  <a:cubicBezTo>
                    <a:pt x="14120" y="4414"/>
                    <a:pt x="14264" y="4378"/>
                    <a:pt x="14393" y="4306"/>
                  </a:cubicBezTo>
                  <a:cubicBezTo>
                    <a:pt x="14536" y="4221"/>
                    <a:pt x="14608" y="4118"/>
                    <a:pt x="14608" y="3998"/>
                  </a:cubicBezTo>
                  <a:lnTo>
                    <a:pt x="14522" y="3600"/>
                  </a:lnTo>
                  <a:cubicBezTo>
                    <a:pt x="14522" y="3431"/>
                    <a:pt x="14716" y="3208"/>
                    <a:pt x="15103" y="2931"/>
                  </a:cubicBezTo>
                  <a:cubicBezTo>
                    <a:pt x="15461" y="2665"/>
                    <a:pt x="15712" y="2533"/>
                    <a:pt x="15856" y="2533"/>
                  </a:cubicBezTo>
                  <a:cubicBezTo>
                    <a:pt x="16071" y="2533"/>
                    <a:pt x="16394" y="2683"/>
                    <a:pt x="16824" y="2985"/>
                  </a:cubicBezTo>
                  <a:cubicBezTo>
                    <a:pt x="17053" y="3154"/>
                    <a:pt x="17376" y="3407"/>
                    <a:pt x="17792" y="3745"/>
                  </a:cubicBezTo>
                  <a:cubicBezTo>
                    <a:pt x="17950" y="3865"/>
                    <a:pt x="18222" y="4058"/>
                    <a:pt x="18610" y="4324"/>
                  </a:cubicBezTo>
                  <a:cubicBezTo>
                    <a:pt x="18925" y="4577"/>
                    <a:pt x="19083" y="4830"/>
                    <a:pt x="19083" y="5083"/>
                  </a:cubicBezTo>
                  <a:lnTo>
                    <a:pt x="19040" y="5590"/>
                  </a:lnTo>
                  <a:cubicBezTo>
                    <a:pt x="19040" y="5916"/>
                    <a:pt x="18810" y="6223"/>
                    <a:pt x="18351" y="6513"/>
                  </a:cubicBezTo>
                  <a:cubicBezTo>
                    <a:pt x="17892" y="6790"/>
                    <a:pt x="17663" y="7001"/>
                    <a:pt x="17663" y="7146"/>
                  </a:cubicBezTo>
                  <a:cubicBezTo>
                    <a:pt x="17663" y="7182"/>
                    <a:pt x="17692" y="7224"/>
                    <a:pt x="17749" y="7272"/>
                  </a:cubicBezTo>
                  <a:cubicBezTo>
                    <a:pt x="17878" y="7224"/>
                    <a:pt x="18014" y="7146"/>
                    <a:pt x="18158" y="7037"/>
                  </a:cubicBezTo>
                  <a:cubicBezTo>
                    <a:pt x="18244" y="6977"/>
                    <a:pt x="18337" y="6947"/>
                    <a:pt x="18437" y="6947"/>
                  </a:cubicBezTo>
                  <a:cubicBezTo>
                    <a:pt x="18566" y="6947"/>
                    <a:pt x="18660" y="7019"/>
                    <a:pt x="18717" y="7164"/>
                  </a:cubicBezTo>
                  <a:cubicBezTo>
                    <a:pt x="18760" y="7309"/>
                    <a:pt x="18832" y="7381"/>
                    <a:pt x="18932" y="7381"/>
                  </a:cubicBezTo>
                  <a:cubicBezTo>
                    <a:pt x="19047" y="7381"/>
                    <a:pt x="19219" y="7218"/>
                    <a:pt x="19449" y="6893"/>
                  </a:cubicBezTo>
                  <a:cubicBezTo>
                    <a:pt x="19678" y="6555"/>
                    <a:pt x="19929" y="6386"/>
                    <a:pt x="20202" y="6386"/>
                  </a:cubicBezTo>
                  <a:cubicBezTo>
                    <a:pt x="20259" y="6386"/>
                    <a:pt x="20438" y="6464"/>
                    <a:pt x="20739" y="6621"/>
                  </a:cubicBezTo>
                  <a:cubicBezTo>
                    <a:pt x="21041" y="6766"/>
                    <a:pt x="21234" y="6838"/>
                    <a:pt x="21320" y="6838"/>
                  </a:cubicBezTo>
                  <a:cubicBezTo>
                    <a:pt x="21435" y="6838"/>
                    <a:pt x="21528" y="6826"/>
                    <a:pt x="21600" y="6802"/>
                  </a:cubicBezTo>
                  <a:close/>
                  <a:moveTo>
                    <a:pt x="21600" y="680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2" name="AutoShape 109"/>
            <p:cNvSpPr>
              <a:spLocks/>
            </p:cNvSpPr>
            <p:nvPr/>
          </p:nvSpPr>
          <p:spPr bwMode="auto">
            <a:xfrm>
              <a:off x="6588557" y="2297305"/>
              <a:ext cx="11231" cy="18889"/>
            </a:xfrm>
            <a:custGeom>
              <a:avLst/>
              <a:gdLst/>
              <a:ahLst/>
              <a:cxnLst/>
              <a:rect l="0" t="0" r="r" b="b"/>
              <a:pathLst>
                <a:path w="21600" h="21600">
                  <a:moveTo>
                    <a:pt x="21600" y="3947"/>
                  </a:moveTo>
                  <a:lnTo>
                    <a:pt x="13887" y="21600"/>
                  </a:lnTo>
                  <a:cubicBezTo>
                    <a:pt x="13114" y="19743"/>
                    <a:pt x="10926" y="17265"/>
                    <a:pt x="7329" y="14168"/>
                  </a:cubicBezTo>
                  <a:cubicBezTo>
                    <a:pt x="2444" y="9987"/>
                    <a:pt x="0" y="7200"/>
                    <a:pt x="0" y="5806"/>
                  </a:cubicBezTo>
                  <a:cubicBezTo>
                    <a:pt x="0" y="1936"/>
                    <a:pt x="2188" y="0"/>
                    <a:pt x="6557" y="0"/>
                  </a:cubicBezTo>
                  <a:cubicBezTo>
                    <a:pt x="10926" y="0"/>
                    <a:pt x="15943" y="1317"/>
                    <a:pt x="21600" y="3947"/>
                  </a:cubicBezTo>
                  <a:close/>
                  <a:moveTo>
                    <a:pt x="21600" y="394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3" name="AutoShape 110"/>
            <p:cNvSpPr>
              <a:spLocks/>
            </p:cNvSpPr>
            <p:nvPr/>
          </p:nvSpPr>
          <p:spPr bwMode="auto">
            <a:xfrm>
              <a:off x="6588557" y="2023675"/>
              <a:ext cx="19399" cy="13273"/>
            </a:xfrm>
            <a:custGeom>
              <a:avLst/>
              <a:gdLst/>
              <a:ahLst/>
              <a:cxnLst/>
              <a:rect l="0" t="0" r="r" b="b"/>
              <a:pathLst>
                <a:path w="21600" h="21600">
                  <a:moveTo>
                    <a:pt x="21600" y="12764"/>
                  </a:moveTo>
                  <a:cubicBezTo>
                    <a:pt x="21006" y="15599"/>
                    <a:pt x="20487" y="17563"/>
                    <a:pt x="20041" y="18654"/>
                  </a:cubicBezTo>
                  <a:cubicBezTo>
                    <a:pt x="19149" y="20618"/>
                    <a:pt x="17442" y="21600"/>
                    <a:pt x="14920" y="21600"/>
                  </a:cubicBezTo>
                  <a:cubicBezTo>
                    <a:pt x="12693" y="21600"/>
                    <a:pt x="9649" y="19636"/>
                    <a:pt x="5789" y="15707"/>
                  </a:cubicBezTo>
                  <a:cubicBezTo>
                    <a:pt x="1931" y="11779"/>
                    <a:pt x="0" y="8509"/>
                    <a:pt x="0" y="5889"/>
                  </a:cubicBezTo>
                  <a:cubicBezTo>
                    <a:pt x="0" y="3273"/>
                    <a:pt x="1335" y="1523"/>
                    <a:pt x="4008" y="653"/>
                  </a:cubicBezTo>
                  <a:cubicBezTo>
                    <a:pt x="5345" y="218"/>
                    <a:pt x="6754" y="0"/>
                    <a:pt x="8239" y="0"/>
                  </a:cubicBezTo>
                  <a:cubicBezTo>
                    <a:pt x="9575" y="0"/>
                    <a:pt x="11951" y="1414"/>
                    <a:pt x="15366" y="4255"/>
                  </a:cubicBezTo>
                  <a:cubicBezTo>
                    <a:pt x="18482" y="6872"/>
                    <a:pt x="20487" y="9274"/>
                    <a:pt x="21376" y="11453"/>
                  </a:cubicBezTo>
                  <a:cubicBezTo>
                    <a:pt x="21526" y="11888"/>
                    <a:pt x="21600" y="12329"/>
                    <a:pt x="21600" y="12764"/>
                  </a:cubicBezTo>
                  <a:close/>
                  <a:moveTo>
                    <a:pt x="21600" y="1276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4" name="AutoShape 111"/>
            <p:cNvSpPr>
              <a:spLocks/>
            </p:cNvSpPr>
            <p:nvPr/>
          </p:nvSpPr>
          <p:spPr bwMode="auto">
            <a:xfrm>
              <a:off x="6490540" y="2056347"/>
              <a:ext cx="39309" cy="30630"/>
            </a:xfrm>
            <a:custGeom>
              <a:avLst/>
              <a:gdLst/>
              <a:ahLst/>
              <a:cxnLst/>
              <a:rect l="0" t="0" r="r" b="b"/>
              <a:pathLst>
                <a:path w="21600" h="21600">
                  <a:moveTo>
                    <a:pt x="21600" y="1279"/>
                  </a:moveTo>
                  <a:cubicBezTo>
                    <a:pt x="21600" y="2605"/>
                    <a:pt x="20667" y="4688"/>
                    <a:pt x="18802" y="7531"/>
                  </a:cubicBezTo>
                  <a:cubicBezTo>
                    <a:pt x="17533" y="9521"/>
                    <a:pt x="16377" y="11274"/>
                    <a:pt x="15332" y="12789"/>
                  </a:cubicBezTo>
                  <a:cubicBezTo>
                    <a:pt x="14586" y="13643"/>
                    <a:pt x="13915" y="14447"/>
                    <a:pt x="13318" y="15205"/>
                  </a:cubicBezTo>
                  <a:cubicBezTo>
                    <a:pt x="11901" y="17289"/>
                    <a:pt x="10819" y="18757"/>
                    <a:pt x="10072" y="19610"/>
                  </a:cubicBezTo>
                  <a:cubicBezTo>
                    <a:pt x="8804" y="20936"/>
                    <a:pt x="7311" y="21600"/>
                    <a:pt x="5596" y="21600"/>
                  </a:cubicBezTo>
                  <a:cubicBezTo>
                    <a:pt x="4925" y="21600"/>
                    <a:pt x="3843" y="20652"/>
                    <a:pt x="2351" y="18757"/>
                  </a:cubicBezTo>
                  <a:cubicBezTo>
                    <a:pt x="784" y="16767"/>
                    <a:pt x="0" y="15111"/>
                    <a:pt x="0" y="13784"/>
                  </a:cubicBezTo>
                  <a:cubicBezTo>
                    <a:pt x="0" y="12078"/>
                    <a:pt x="1419" y="10372"/>
                    <a:pt x="4254" y="8668"/>
                  </a:cubicBezTo>
                  <a:cubicBezTo>
                    <a:pt x="5895" y="7721"/>
                    <a:pt x="8393" y="6394"/>
                    <a:pt x="11751" y="4688"/>
                  </a:cubicBezTo>
                  <a:cubicBezTo>
                    <a:pt x="16675" y="1564"/>
                    <a:pt x="19585" y="0"/>
                    <a:pt x="20481" y="0"/>
                  </a:cubicBezTo>
                  <a:cubicBezTo>
                    <a:pt x="21226" y="0"/>
                    <a:pt x="21600" y="425"/>
                    <a:pt x="21600" y="1279"/>
                  </a:cubicBezTo>
                  <a:close/>
                  <a:moveTo>
                    <a:pt x="21600" y="127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5" name="AutoShape 112"/>
            <p:cNvSpPr>
              <a:spLocks/>
            </p:cNvSpPr>
            <p:nvPr/>
          </p:nvSpPr>
          <p:spPr bwMode="auto">
            <a:xfrm>
              <a:off x="5980036" y="3828817"/>
              <a:ext cx="535008" cy="349695"/>
            </a:xfrm>
            <a:custGeom>
              <a:avLst/>
              <a:gdLst/>
              <a:ahLst/>
              <a:cxnLst/>
              <a:rect l="0" t="0" r="r" b="b"/>
              <a:pathLst>
                <a:path w="21600" h="21600">
                  <a:moveTo>
                    <a:pt x="11195" y="3562"/>
                  </a:moveTo>
                  <a:lnTo>
                    <a:pt x="15784" y="4708"/>
                  </a:lnTo>
                  <a:cubicBezTo>
                    <a:pt x="17975" y="5228"/>
                    <a:pt x="19914" y="5664"/>
                    <a:pt x="21600" y="6017"/>
                  </a:cubicBezTo>
                  <a:lnTo>
                    <a:pt x="21501" y="7754"/>
                  </a:lnTo>
                  <a:cubicBezTo>
                    <a:pt x="21391" y="9701"/>
                    <a:pt x="21317" y="10934"/>
                    <a:pt x="21279" y="11455"/>
                  </a:cubicBezTo>
                  <a:cubicBezTo>
                    <a:pt x="21251" y="11941"/>
                    <a:pt x="21144" y="14035"/>
                    <a:pt x="20957" y="17736"/>
                  </a:cubicBezTo>
                  <a:lnTo>
                    <a:pt x="20875" y="19020"/>
                  </a:lnTo>
                  <a:cubicBezTo>
                    <a:pt x="20815" y="20253"/>
                    <a:pt x="20746" y="21076"/>
                    <a:pt x="20669" y="21487"/>
                  </a:cubicBezTo>
                  <a:lnTo>
                    <a:pt x="20644" y="21600"/>
                  </a:lnTo>
                  <a:lnTo>
                    <a:pt x="13271" y="20316"/>
                  </a:lnTo>
                  <a:cubicBezTo>
                    <a:pt x="12969" y="20266"/>
                    <a:pt x="11047" y="19821"/>
                    <a:pt x="7505" y="18982"/>
                  </a:cubicBezTo>
                  <a:cubicBezTo>
                    <a:pt x="7466" y="19099"/>
                    <a:pt x="7403" y="19586"/>
                    <a:pt x="7315" y="20442"/>
                  </a:cubicBezTo>
                  <a:cubicBezTo>
                    <a:pt x="7310" y="20551"/>
                    <a:pt x="7302" y="20673"/>
                    <a:pt x="7291" y="20807"/>
                  </a:cubicBezTo>
                  <a:cubicBezTo>
                    <a:pt x="7065" y="20371"/>
                    <a:pt x="6887" y="20035"/>
                    <a:pt x="6755" y="19800"/>
                  </a:cubicBezTo>
                  <a:cubicBezTo>
                    <a:pt x="6750" y="19825"/>
                    <a:pt x="6692" y="19951"/>
                    <a:pt x="6582" y="20177"/>
                  </a:cubicBezTo>
                  <a:cubicBezTo>
                    <a:pt x="6494" y="20388"/>
                    <a:pt x="6448" y="20517"/>
                    <a:pt x="6442" y="20568"/>
                  </a:cubicBezTo>
                  <a:lnTo>
                    <a:pt x="6335" y="20580"/>
                  </a:lnTo>
                  <a:cubicBezTo>
                    <a:pt x="6137" y="20547"/>
                    <a:pt x="6019" y="20530"/>
                    <a:pt x="5981" y="20530"/>
                  </a:cubicBezTo>
                  <a:cubicBezTo>
                    <a:pt x="5926" y="20547"/>
                    <a:pt x="5874" y="20517"/>
                    <a:pt x="5824" y="20442"/>
                  </a:cubicBezTo>
                  <a:cubicBezTo>
                    <a:pt x="5764" y="20366"/>
                    <a:pt x="5728" y="20325"/>
                    <a:pt x="5717" y="20316"/>
                  </a:cubicBezTo>
                  <a:cubicBezTo>
                    <a:pt x="5684" y="20274"/>
                    <a:pt x="5632" y="20253"/>
                    <a:pt x="5561" y="20253"/>
                  </a:cubicBezTo>
                  <a:cubicBezTo>
                    <a:pt x="5478" y="20253"/>
                    <a:pt x="5429" y="20253"/>
                    <a:pt x="5412" y="20253"/>
                  </a:cubicBezTo>
                  <a:cubicBezTo>
                    <a:pt x="5259" y="20136"/>
                    <a:pt x="5176" y="20077"/>
                    <a:pt x="5165" y="20077"/>
                  </a:cubicBezTo>
                  <a:cubicBezTo>
                    <a:pt x="5138" y="20077"/>
                    <a:pt x="5058" y="20127"/>
                    <a:pt x="4926" y="20228"/>
                  </a:cubicBezTo>
                  <a:cubicBezTo>
                    <a:pt x="4789" y="20362"/>
                    <a:pt x="4690" y="20425"/>
                    <a:pt x="4630" y="20417"/>
                  </a:cubicBezTo>
                  <a:cubicBezTo>
                    <a:pt x="4613" y="20417"/>
                    <a:pt x="4578" y="20375"/>
                    <a:pt x="4523" y="20291"/>
                  </a:cubicBezTo>
                  <a:cubicBezTo>
                    <a:pt x="4457" y="20199"/>
                    <a:pt x="4366" y="20148"/>
                    <a:pt x="4251" y="20140"/>
                  </a:cubicBezTo>
                  <a:cubicBezTo>
                    <a:pt x="4086" y="20132"/>
                    <a:pt x="3987" y="20203"/>
                    <a:pt x="3954" y="20354"/>
                  </a:cubicBezTo>
                  <a:cubicBezTo>
                    <a:pt x="3927" y="20496"/>
                    <a:pt x="3877" y="20568"/>
                    <a:pt x="3806" y="20568"/>
                  </a:cubicBezTo>
                  <a:cubicBezTo>
                    <a:pt x="3724" y="20559"/>
                    <a:pt x="3669" y="20320"/>
                    <a:pt x="3641" y="19850"/>
                  </a:cubicBezTo>
                  <a:cubicBezTo>
                    <a:pt x="3630" y="19372"/>
                    <a:pt x="3619" y="19103"/>
                    <a:pt x="3608" y="19045"/>
                  </a:cubicBezTo>
                  <a:cubicBezTo>
                    <a:pt x="3592" y="18910"/>
                    <a:pt x="3556" y="18793"/>
                    <a:pt x="3501" y="18692"/>
                  </a:cubicBezTo>
                  <a:cubicBezTo>
                    <a:pt x="3435" y="18558"/>
                    <a:pt x="3378" y="18499"/>
                    <a:pt x="3328" y="18516"/>
                  </a:cubicBezTo>
                  <a:cubicBezTo>
                    <a:pt x="3207" y="18524"/>
                    <a:pt x="3122" y="18512"/>
                    <a:pt x="3073" y="18478"/>
                  </a:cubicBezTo>
                  <a:cubicBezTo>
                    <a:pt x="3007" y="18436"/>
                    <a:pt x="2977" y="18344"/>
                    <a:pt x="2982" y="18201"/>
                  </a:cubicBezTo>
                  <a:cubicBezTo>
                    <a:pt x="2982" y="18126"/>
                    <a:pt x="3004" y="17966"/>
                    <a:pt x="3048" y="17723"/>
                  </a:cubicBezTo>
                  <a:cubicBezTo>
                    <a:pt x="3086" y="17488"/>
                    <a:pt x="3106" y="17333"/>
                    <a:pt x="3106" y="17257"/>
                  </a:cubicBezTo>
                  <a:cubicBezTo>
                    <a:pt x="3111" y="17156"/>
                    <a:pt x="3067" y="17031"/>
                    <a:pt x="2974" y="16880"/>
                  </a:cubicBezTo>
                  <a:cubicBezTo>
                    <a:pt x="2875" y="16712"/>
                    <a:pt x="2809" y="16594"/>
                    <a:pt x="2776" y="16527"/>
                  </a:cubicBezTo>
                  <a:cubicBezTo>
                    <a:pt x="2721" y="16443"/>
                    <a:pt x="2699" y="16297"/>
                    <a:pt x="2710" y="16086"/>
                  </a:cubicBezTo>
                  <a:cubicBezTo>
                    <a:pt x="2721" y="15793"/>
                    <a:pt x="2732" y="15625"/>
                    <a:pt x="2743" y="15583"/>
                  </a:cubicBezTo>
                  <a:cubicBezTo>
                    <a:pt x="2732" y="15398"/>
                    <a:pt x="2719" y="15227"/>
                    <a:pt x="2702" y="15067"/>
                  </a:cubicBezTo>
                  <a:cubicBezTo>
                    <a:pt x="2658" y="14756"/>
                    <a:pt x="2587" y="14597"/>
                    <a:pt x="2488" y="14589"/>
                  </a:cubicBezTo>
                  <a:cubicBezTo>
                    <a:pt x="2043" y="14975"/>
                    <a:pt x="1796" y="15168"/>
                    <a:pt x="1746" y="15168"/>
                  </a:cubicBezTo>
                  <a:cubicBezTo>
                    <a:pt x="1713" y="15168"/>
                    <a:pt x="1678" y="15122"/>
                    <a:pt x="1639" y="15029"/>
                  </a:cubicBezTo>
                  <a:cubicBezTo>
                    <a:pt x="1584" y="14912"/>
                    <a:pt x="1540" y="14845"/>
                    <a:pt x="1508" y="14828"/>
                  </a:cubicBezTo>
                  <a:cubicBezTo>
                    <a:pt x="1370" y="14719"/>
                    <a:pt x="1302" y="14593"/>
                    <a:pt x="1302" y="14450"/>
                  </a:cubicBezTo>
                  <a:cubicBezTo>
                    <a:pt x="1302" y="14366"/>
                    <a:pt x="1332" y="14295"/>
                    <a:pt x="1392" y="14236"/>
                  </a:cubicBezTo>
                  <a:cubicBezTo>
                    <a:pt x="1447" y="14161"/>
                    <a:pt x="1477" y="14035"/>
                    <a:pt x="1483" y="13859"/>
                  </a:cubicBezTo>
                  <a:cubicBezTo>
                    <a:pt x="1488" y="13733"/>
                    <a:pt x="1535" y="13628"/>
                    <a:pt x="1623" y="13544"/>
                  </a:cubicBezTo>
                  <a:cubicBezTo>
                    <a:pt x="1716" y="13452"/>
                    <a:pt x="1763" y="13397"/>
                    <a:pt x="1763" y="13380"/>
                  </a:cubicBezTo>
                  <a:cubicBezTo>
                    <a:pt x="1763" y="13246"/>
                    <a:pt x="1744" y="13116"/>
                    <a:pt x="1705" y="12990"/>
                  </a:cubicBezTo>
                  <a:cubicBezTo>
                    <a:pt x="1672" y="12864"/>
                    <a:pt x="1656" y="12797"/>
                    <a:pt x="1656" y="12789"/>
                  </a:cubicBezTo>
                  <a:cubicBezTo>
                    <a:pt x="1661" y="12562"/>
                    <a:pt x="1774" y="12109"/>
                    <a:pt x="1994" y="11429"/>
                  </a:cubicBezTo>
                  <a:cubicBezTo>
                    <a:pt x="2224" y="10792"/>
                    <a:pt x="2340" y="10469"/>
                    <a:pt x="2340" y="10460"/>
                  </a:cubicBezTo>
                  <a:cubicBezTo>
                    <a:pt x="2345" y="10393"/>
                    <a:pt x="2337" y="10339"/>
                    <a:pt x="2315" y="10296"/>
                  </a:cubicBezTo>
                  <a:cubicBezTo>
                    <a:pt x="2287" y="10229"/>
                    <a:pt x="2254" y="10196"/>
                    <a:pt x="2216" y="10196"/>
                  </a:cubicBezTo>
                  <a:cubicBezTo>
                    <a:pt x="2106" y="10238"/>
                    <a:pt x="2029" y="10259"/>
                    <a:pt x="1985" y="10259"/>
                  </a:cubicBezTo>
                  <a:cubicBezTo>
                    <a:pt x="1958" y="10250"/>
                    <a:pt x="1900" y="10196"/>
                    <a:pt x="1812" y="10095"/>
                  </a:cubicBezTo>
                  <a:cubicBezTo>
                    <a:pt x="1719" y="9978"/>
                    <a:pt x="1664" y="9869"/>
                    <a:pt x="1648" y="9768"/>
                  </a:cubicBezTo>
                  <a:cubicBezTo>
                    <a:pt x="1631" y="9692"/>
                    <a:pt x="1579" y="9587"/>
                    <a:pt x="1491" y="9453"/>
                  </a:cubicBezTo>
                  <a:cubicBezTo>
                    <a:pt x="1420" y="9352"/>
                    <a:pt x="1384" y="9256"/>
                    <a:pt x="1384" y="9164"/>
                  </a:cubicBezTo>
                  <a:cubicBezTo>
                    <a:pt x="1389" y="8929"/>
                    <a:pt x="1334" y="8652"/>
                    <a:pt x="1219" y="8333"/>
                  </a:cubicBezTo>
                  <a:cubicBezTo>
                    <a:pt x="1076" y="7955"/>
                    <a:pt x="1002" y="7724"/>
                    <a:pt x="997" y="7641"/>
                  </a:cubicBezTo>
                  <a:cubicBezTo>
                    <a:pt x="854" y="7330"/>
                    <a:pt x="703" y="7070"/>
                    <a:pt x="544" y="6860"/>
                  </a:cubicBezTo>
                  <a:cubicBezTo>
                    <a:pt x="395" y="6650"/>
                    <a:pt x="316" y="6499"/>
                    <a:pt x="305" y="6407"/>
                  </a:cubicBezTo>
                  <a:cubicBezTo>
                    <a:pt x="294" y="6323"/>
                    <a:pt x="313" y="6172"/>
                    <a:pt x="362" y="5954"/>
                  </a:cubicBezTo>
                  <a:cubicBezTo>
                    <a:pt x="401" y="5744"/>
                    <a:pt x="423" y="5601"/>
                    <a:pt x="428" y="5526"/>
                  </a:cubicBezTo>
                  <a:cubicBezTo>
                    <a:pt x="434" y="5375"/>
                    <a:pt x="362" y="5081"/>
                    <a:pt x="214" y="4645"/>
                  </a:cubicBezTo>
                  <a:cubicBezTo>
                    <a:pt x="71" y="4200"/>
                    <a:pt x="0" y="3915"/>
                    <a:pt x="0" y="3789"/>
                  </a:cubicBezTo>
                  <a:lnTo>
                    <a:pt x="305" y="1775"/>
                  </a:lnTo>
                  <a:cubicBezTo>
                    <a:pt x="393" y="1187"/>
                    <a:pt x="469" y="596"/>
                    <a:pt x="535" y="0"/>
                  </a:cubicBezTo>
                  <a:lnTo>
                    <a:pt x="2356" y="730"/>
                  </a:lnTo>
                  <a:cubicBezTo>
                    <a:pt x="3070" y="1007"/>
                    <a:pt x="3740" y="1267"/>
                    <a:pt x="4366" y="1511"/>
                  </a:cubicBezTo>
                  <a:cubicBezTo>
                    <a:pt x="5838" y="2056"/>
                    <a:pt x="7065" y="2480"/>
                    <a:pt x="8048" y="2782"/>
                  </a:cubicBezTo>
                  <a:cubicBezTo>
                    <a:pt x="8048" y="2782"/>
                    <a:pt x="11195" y="3562"/>
                    <a:pt x="11195" y="3562"/>
                  </a:cubicBezTo>
                  <a:close/>
                  <a:moveTo>
                    <a:pt x="11195" y="356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6" name="AutoShape 113"/>
            <p:cNvSpPr>
              <a:spLocks/>
            </p:cNvSpPr>
            <p:nvPr/>
          </p:nvSpPr>
          <p:spPr bwMode="auto">
            <a:xfrm>
              <a:off x="6122977" y="4694631"/>
              <a:ext cx="370626" cy="392578"/>
            </a:xfrm>
            <a:custGeom>
              <a:avLst/>
              <a:gdLst/>
              <a:ahLst/>
              <a:cxnLst/>
              <a:rect l="0" t="0" r="r" b="b"/>
              <a:pathLst>
                <a:path w="21600" h="21600">
                  <a:moveTo>
                    <a:pt x="21374" y="3916"/>
                  </a:moveTo>
                  <a:cubicBezTo>
                    <a:pt x="21191" y="5457"/>
                    <a:pt x="20922" y="8071"/>
                    <a:pt x="20565" y="11759"/>
                  </a:cubicBezTo>
                  <a:cubicBezTo>
                    <a:pt x="20263" y="14834"/>
                    <a:pt x="19962" y="17863"/>
                    <a:pt x="19660" y="20848"/>
                  </a:cubicBezTo>
                  <a:lnTo>
                    <a:pt x="8021" y="19625"/>
                  </a:lnTo>
                  <a:lnTo>
                    <a:pt x="8414" y="20523"/>
                  </a:lnTo>
                  <a:lnTo>
                    <a:pt x="3130" y="19827"/>
                  </a:lnTo>
                  <a:lnTo>
                    <a:pt x="2725" y="21600"/>
                  </a:lnTo>
                  <a:lnTo>
                    <a:pt x="0" y="21207"/>
                  </a:lnTo>
                  <a:cubicBezTo>
                    <a:pt x="135" y="20751"/>
                    <a:pt x="1226" y="13682"/>
                    <a:pt x="3273" y="0"/>
                  </a:cubicBezTo>
                  <a:cubicBezTo>
                    <a:pt x="9287" y="860"/>
                    <a:pt x="14678" y="1470"/>
                    <a:pt x="19446" y="1829"/>
                  </a:cubicBezTo>
                  <a:cubicBezTo>
                    <a:pt x="20160" y="1873"/>
                    <a:pt x="20878" y="1926"/>
                    <a:pt x="21600" y="1986"/>
                  </a:cubicBezTo>
                  <a:cubicBezTo>
                    <a:pt x="21568" y="2136"/>
                    <a:pt x="21493" y="2779"/>
                    <a:pt x="21374" y="3916"/>
                  </a:cubicBezTo>
                  <a:close/>
                  <a:moveTo>
                    <a:pt x="21374" y="391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7" name="AutoShape 114"/>
            <p:cNvSpPr>
              <a:spLocks/>
            </p:cNvSpPr>
            <p:nvPr/>
          </p:nvSpPr>
          <p:spPr bwMode="auto">
            <a:xfrm>
              <a:off x="7928119" y="4768144"/>
              <a:ext cx="7658" cy="9700"/>
            </a:xfrm>
            <a:custGeom>
              <a:avLst/>
              <a:gdLst/>
              <a:ahLst/>
              <a:cxnLst/>
              <a:rect l="0" t="0" r="r" b="b"/>
              <a:pathLst>
                <a:path w="21600" h="21600">
                  <a:moveTo>
                    <a:pt x="5683" y="9898"/>
                  </a:moveTo>
                  <a:cubicBezTo>
                    <a:pt x="9479" y="5701"/>
                    <a:pt x="13453" y="2402"/>
                    <a:pt x="17626" y="0"/>
                  </a:cubicBezTo>
                  <a:lnTo>
                    <a:pt x="21600" y="0"/>
                  </a:lnTo>
                  <a:lnTo>
                    <a:pt x="21600" y="5402"/>
                  </a:lnTo>
                  <a:cubicBezTo>
                    <a:pt x="19336" y="8095"/>
                    <a:pt x="17804" y="10796"/>
                    <a:pt x="17049" y="13505"/>
                  </a:cubicBezTo>
                  <a:cubicBezTo>
                    <a:pt x="11366" y="17702"/>
                    <a:pt x="5683" y="20412"/>
                    <a:pt x="0" y="21600"/>
                  </a:cubicBezTo>
                  <a:cubicBezTo>
                    <a:pt x="0" y="18609"/>
                    <a:pt x="1909" y="14702"/>
                    <a:pt x="5683" y="9898"/>
                  </a:cubicBezTo>
                  <a:close/>
                  <a:moveTo>
                    <a:pt x="5683" y="989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8" name="AutoShape 115"/>
            <p:cNvSpPr>
              <a:spLocks/>
            </p:cNvSpPr>
            <p:nvPr/>
          </p:nvSpPr>
          <p:spPr bwMode="auto">
            <a:xfrm>
              <a:off x="7903615" y="4796732"/>
              <a:ext cx="13273" cy="20931"/>
            </a:xfrm>
            <a:custGeom>
              <a:avLst/>
              <a:gdLst/>
              <a:ahLst/>
              <a:cxnLst/>
              <a:rect l="0" t="0" r="r" b="b"/>
              <a:pathLst>
                <a:path w="21600" h="21467">
                  <a:moveTo>
                    <a:pt x="19964" y="214"/>
                  </a:moveTo>
                  <a:cubicBezTo>
                    <a:pt x="19964" y="351"/>
                    <a:pt x="20514" y="1246"/>
                    <a:pt x="21600" y="2896"/>
                  </a:cubicBezTo>
                  <a:cubicBezTo>
                    <a:pt x="20731" y="5509"/>
                    <a:pt x="18648" y="7985"/>
                    <a:pt x="15376" y="10324"/>
                  </a:cubicBezTo>
                  <a:cubicBezTo>
                    <a:pt x="9714" y="14450"/>
                    <a:pt x="4588" y="18164"/>
                    <a:pt x="0" y="21467"/>
                  </a:cubicBezTo>
                  <a:lnTo>
                    <a:pt x="0" y="20850"/>
                  </a:lnTo>
                  <a:cubicBezTo>
                    <a:pt x="217" y="18922"/>
                    <a:pt x="3055" y="15002"/>
                    <a:pt x="8512" y="9086"/>
                  </a:cubicBezTo>
                  <a:cubicBezTo>
                    <a:pt x="13970" y="2896"/>
                    <a:pt x="17344" y="-133"/>
                    <a:pt x="18648" y="4"/>
                  </a:cubicBezTo>
                  <a:cubicBezTo>
                    <a:pt x="19095" y="4"/>
                    <a:pt x="19529" y="73"/>
                    <a:pt x="19964" y="214"/>
                  </a:cubicBezTo>
                  <a:close/>
                  <a:moveTo>
                    <a:pt x="19964" y="21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39" name="AutoShape 116"/>
            <p:cNvSpPr>
              <a:spLocks/>
            </p:cNvSpPr>
            <p:nvPr/>
          </p:nvSpPr>
          <p:spPr bwMode="auto">
            <a:xfrm>
              <a:off x="7919951" y="4780396"/>
              <a:ext cx="6126" cy="6637"/>
            </a:xfrm>
            <a:custGeom>
              <a:avLst/>
              <a:gdLst/>
              <a:ahLst/>
              <a:cxnLst/>
              <a:rect l="0" t="0" r="r" b="b"/>
              <a:pathLst>
                <a:path w="21600" h="20520">
                  <a:moveTo>
                    <a:pt x="21600" y="7205"/>
                  </a:moveTo>
                  <a:cubicBezTo>
                    <a:pt x="21152" y="10022"/>
                    <a:pt x="18910" y="12851"/>
                    <a:pt x="14848" y="15679"/>
                  </a:cubicBezTo>
                  <a:cubicBezTo>
                    <a:pt x="11262" y="18910"/>
                    <a:pt x="7437" y="20520"/>
                    <a:pt x="3376" y="20520"/>
                  </a:cubicBezTo>
                  <a:cubicBezTo>
                    <a:pt x="1582" y="20520"/>
                    <a:pt x="448" y="19916"/>
                    <a:pt x="0" y="18709"/>
                  </a:cubicBezTo>
                  <a:cubicBezTo>
                    <a:pt x="1345" y="15064"/>
                    <a:pt x="4062" y="11028"/>
                    <a:pt x="8097" y="6601"/>
                  </a:cubicBezTo>
                  <a:cubicBezTo>
                    <a:pt x="12607" y="944"/>
                    <a:pt x="16668" y="-1080"/>
                    <a:pt x="20255" y="541"/>
                  </a:cubicBezTo>
                  <a:cubicBezTo>
                    <a:pt x="19358" y="1749"/>
                    <a:pt x="19121" y="2755"/>
                    <a:pt x="19569" y="3571"/>
                  </a:cubicBezTo>
                  <a:cubicBezTo>
                    <a:pt x="20941" y="4376"/>
                    <a:pt x="21600" y="5583"/>
                    <a:pt x="21600" y="7205"/>
                  </a:cubicBezTo>
                  <a:close/>
                  <a:moveTo>
                    <a:pt x="21600" y="720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0" name="AutoShape 117"/>
            <p:cNvSpPr>
              <a:spLocks/>
            </p:cNvSpPr>
            <p:nvPr/>
          </p:nvSpPr>
          <p:spPr bwMode="auto">
            <a:xfrm>
              <a:off x="7295094" y="5196967"/>
              <a:ext cx="7147" cy="5616"/>
            </a:xfrm>
            <a:custGeom>
              <a:avLst/>
              <a:gdLst/>
              <a:ahLst/>
              <a:cxnLst/>
              <a:rect l="0" t="0" r="r" b="b"/>
              <a:pathLst>
                <a:path w="21600" h="21600">
                  <a:moveTo>
                    <a:pt x="1806" y="21600"/>
                  </a:moveTo>
                  <a:cubicBezTo>
                    <a:pt x="586" y="20559"/>
                    <a:pt x="0" y="18764"/>
                    <a:pt x="0" y="16185"/>
                  </a:cubicBezTo>
                  <a:cubicBezTo>
                    <a:pt x="0" y="13108"/>
                    <a:pt x="1595" y="9503"/>
                    <a:pt x="4808" y="5400"/>
                  </a:cubicBezTo>
                  <a:cubicBezTo>
                    <a:pt x="8396" y="1780"/>
                    <a:pt x="12594" y="0"/>
                    <a:pt x="17402" y="0"/>
                  </a:cubicBezTo>
                  <a:cubicBezTo>
                    <a:pt x="18199" y="0"/>
                    <a:pt x="19020" y="513"/>
                    <a:pt x="19818" y="1539"/>
                  </a:cubicBezTo>
                  <a:lnTo>
                    <a:pt x="21014" y="2323"/>
                  </a:lnTo>
                  <a:cubicBezTo>
                    <a:pt x="21014" y="3349"/>
                    <a:pt x="21201" y="4374"/>
                    <a:pt x="21600" y="5400"/>
                  </a:cubicBezTo>
                  <a:lnTo>
                    <a:pt x="21600" y="6184"/>
                  </a:lnTo>
                  <a:cubicBezTo>
                    <a:pt x="21600" y="9774"/>
                    <a:pt x="19607" y="13108"/>
                    <a:pt x="15596" y="16185"/>
                  </a:cubicBezTo>
                  <a:cubicBezTo>
                    <a:pt x="11609" y="19790"/>
                    <a:pt x="7810" y="21600"/>
                    <a:pt x="4198" y="21600"/>
                  </a:cubicBezTo>
                  <a:cubicBezTo>
                    <a:pt x="4198" y="21600"/>
                    <a:pt x="1806" y="21600"/>
                    <a:pt x="1806" y="21600"/>
                  </a:cubicBezTo>
                  <a:close/>
                  <a:moveTo>
                    <a:pt x="1806"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1" name="AutoShape 118"/>
            <p:cNvSpPr>
              <a:spLocks/>
            </p:cNvSpPr>
            <p:nvPr/>
          </p:nvSpPr>
          <p:spPr bwMode="auto">
            <a:xfrm>
              <a:off x="6817262" y="3918665"/>
              <a:ext cx="768819" cy="857646"/>
            </a:xfrm>
            <a:custGeom>
              <a:avLst/>
              <a:gdLst/>
              <a:ahLst/>
              <a:cxnLst/>
              <a:rect l="0" t="0" r="r" b="b"/>
              <a:pathLst>
                <a:path w="21596" h="21597">
                  <a:moveTo>
                    <a:pt x="20598" y="17421"/>
                  </a:moveTo>
                  <a:cubicBezTo>
                    <a:pt x="20594" y="17425"/>
                    <a:pt x="20592" y="17430"/>
                    <a:pt x="20592" y="17436"/>
                  </a:cubicBezTo>
                  <a:cubicBezTo>
                    <a:pt x="20585" y="17471"/>
                    <a:pt x="20583" y="17496"/>
                    <a:pt x="20587" y="17513"/>
                  </a:cubicBezTo>
                  <a:cubicBezTo>
                    <a:pt x="20594" y="17578"/>
                    <a:pt x="20621" y="17680"/>
                    <a:pt x="20667" y="17817"/>
                  </a:cubicBezTo>
                  <a:cubicBezTo>
                    <a:pt x="20682" y="17912"/>
                    <a:pt x="20730" y="18017"/>
                    <a:pt x="20810" y="18130"/>
                  </a:cubicBezTo>
                  <a:cubicBezTo>
                    <a:pt x="20860" y="18188"/>
                    <a:pt x="20923" y="18274"/>
                    <a:pt x="21000" y="18387"/>
                  </a:cubicBezTo>
                  <a:cubicBezTo>
                    <a:pt x="21049" y="18476"/>
                    <a:pt x="21112" y="18559"/>
                    <a:pt x="21189" y="18638"/>
                  </a:cubicBezTo>
                  <a:cubicBezTo>
                    <a:pt x="21304" y="18758"/>
                    <a:pt x="21395" y="18818"/>
                    <a:pt x="21464" y="18818"/>
                  </a:cubicBezTo>
                  <a:cubicBezTo>
                    <a:pt x="21502" y="18818"/>
                    <a:pt x="21546" y="18811"/>
                    <a:pt x="21596" y="18797"/>
                  </a:cubicBezTo>
                  <a:cubicBezTo>
                    <a:pt x="21569" y="18910"/>
                    <a:pt x="21533" y="18991"/>
                    <a:pt x="21487" y="19039"/>
                  </a:cubicBezTo>
                  <a:cubicBezTo>
                    <a:pt x="21430" y="19104"/>
                    <a:pt x="21378" y="19157"/>
                    <a:pt x="21332" y="19198"/>
                  </a:cubicBezTo>
                  <a:cubicBezTo>
                    <a:pt x="21256" y="19273"/>
                    <a:pt x="21181" y="19335"/>
                    <a:pt x="21108" y="19383"/>
                  </a:cubicBezTo>
                  <a:cubicBezTo>
                    <a:pt x="21082" y="19397"/>
                    <a:pt x="21005" y="19434"/>
                    <a:pt x="20879" y="19496"/>
                  </a:cubicBezTo>
                  <a:cubicBezTo>
                    <a:pt x="20814" y="19530"/>
                    <a:pt x="20772" y="19571"/>
                    <a:pt x="20753" y="19619"/>
                  </a:cubicBezTo>
                  <a:cubicBezTo>
                    <a:pt x="20745" y="19636"/>
                    <a:pt x="20745" y="19677"/>
                    <a:pt x="20753" y="19742"/>
                  </a:cubicBezTo>
                  <a:cubicBezTo>
                    <a:pt x="20757" y="19777"/>
                    <a:pt x="20730" y="19809"/>
                    <a:pt x="20673" y="19840"/>
                  </a:cubicBezTo>
                  <a:cubicBezTo>
                    <a:pt x="20585" y="19885"/>
                    <a:pt x="20537" y="19912"/>
                    <a:pt x="20529" y="19922"/>
                  </a:cubicBezTo>
                  <a:cubicBezTo>
                    <a:pt x="20491" y="19950"/>
                    <a:pt x="20462" y="19984"/>
                    <a:pt x="20443" y="20025"/>
                  </a:cubicBezTo>
                  <a:cubicBezTo>
                    <a:pt x="20432" y="20066"/>
                    <a:pt x="20416" y="20100"/>
                    <a:pt x="20397" y="20128"/>
                  </a:cubicBezTo>
                  <a:cubicBezTo>
                    <a:pt x="20371" y="20148"/>
                    <a:pt x="20334" y="20176"/>
                    <a:pt x="20288" y="20210"/>
                  </a:cubicBezTo>
                  <a:cubicBezTo>
                    <a:pt x="20258" y="20227"/>
                    <a:pt x="20223" y="20258"/>
                    <a:pt x="20185" y="20302"/>
                  </a:cubicBezTo>
                  <a:cubicBezTo>
                    <a:pt x="20147" y="20347"/>
                    <a:pt x="20103" y="20381"/>
                    <a:pt x="20053" y="20405"/>
                  </a:cubicBezTo>
                  <a:cubicBezTo>
                    <a:pt x="19996" y="20436"/>
                    <a:pt x="19873" y="20491"/>
                    <a:pt x="19686" y="20569"/>
                  </a:cubicBezTo>
                  <a:lnTo>
                    <a:pt x="19393" y="20703"/>
                  </a:lnTo>
                  <a:lnTo>
                    <a:pt x="19336" y="20723"/>
                  </a:lnTo>
                  <a:cubicBezTo>
                    <a:pt x="17784" y="20857"/>
                    <a:pt x="16722" y="20942"/>
                    <a:pt x="16153" y="20980"/>
                  </a:cubicBezTo>
                  <a:lnTo>
                    <a:pt x="12906" y="21145"/>
                  </a:lnTo>
                  <a:lnTo>
                    <a:pt x="12992" y="21463"/>
                  </a:lnTo>
                  <a:cubicBezTo>
                    <a:pt x="12644" y="21487"/>
                    <a:pt x="12290" y="21511"/>
                    <a:pt x="11931" y="21535"/>
                  </a:cubicBezTo>
                  <a:cubicBezTo>
                    <a:pt x="11208" y="21579"/>
                    <a:pt x="10816" y="21600"/>
                    <a:pt x="10755" y="21596"/>
                  </a:cubicBezTo>
                  <a:cubicBezTo>
                    <a:pt x="10763" y="21559"/>
                    <a:pt x="10782" y="21538"/>
                    <a:pt x="10812" y="21535"/>
                  </a:cubicBezTo>
                  <a:cubicBezTo>
                    <a:pt x="10828" y="21528"/>
                    <a:pt x="10854" y="21525"/>
                    <a:pt x="10893" y="21525"/>
                  </a:cubicBezTo>
                  <a:cubicBezTo>
                    <a:pt x="10927" y="21518"/>
                    <a:pt x="10946" y="21506"/>
                    <a:pt x="10950" y="21489"/>
                  </a:cubicBezTo>
                  <a:cubicBezTo>
                    <a:pt x="10950" y="21430"/>
                    <a:pt x="10983" y="21401"/>
                    <a:pt x="11048" y="21401"/>
                  </a:cubicBezTo>
                  <a:cubicBezTo>
                    <a:pt x="11158" y="21398"/>
                    <a:pt x="11216" y="21395"/>
                    <a:pt x="11220" y="21391"/>
                  </a:cubicBezTo>
                  <a:cubicBezTo>
                    <a:pt x="11250" y="21388"/>
                    <a:pt x="11267" y="21350"/>
                    <a:pt x="11271" y="21278"/>
                  </a:cubicBezTo>
                  <a:lnTo>
                    <a:pt x="11260" y="21134"/>
                  </a:lnTo>
                  <a:cubicBezTo>
                    <a:pt x="11264" y="21097"/>
                    <a:pt x="11271" y="21073"/>
                    <a:pt x="11283" y="21062"/>
                  </a:cubicBezTo>
                  <a:cubicBezTo>
                    <a:pt x="11298" y="21049"/>
                    <a:pt x="11327" y="21042"/>
                    <a:pt x="11369" y="21042"/>
                  </a:cubicBezTo>
                  <a:lnTo>
                    <a:pt x="11369" y="20960"/>
                  </a:lnTo>
                  <a:cubicBezTo>
                    <a:pt x="11373" y="20898"/>
                    <a:pt x="11361" y="20838"/>
                    <a:pt x="11334" y="20780"/>
                  </a:cubicBezTo>
                  <a:cubicBezTo>
                    <a:pt x="11304" y="20725"/>
                    <a:pt x="11269" y="20679"/>
                    <a:pt x="11231" y="20641"/>
                  </a:cubicBezTo>
                  <a:cubicBezTo>
                    <a:pt x="11266" y="20610"/>
                    <a:pt x="11300" y="20566"/>
                    <a:pt x="11334" y="20508"/>
                  </a:cubicBezTo>
                  <a:cubicBezTo>
                    <a:pt x="11415" y="20374"/>
                    <a:pt x="11495" y="20309"/>
                    <a:pt x="11575" y="20312"/>
                  </a:cubicBezTo>
                  <a:cubicBezTo>
                    <a:pt x="11610" y="20312"/>
                    <a:pt x="11707" y="20352"/>
                    <a:pt x="11868" y="20431"/>
                  </a:cubicBezTo>
                  <a:cubicBezTo>
                    <a:pt x="12025" y="20506"/>
                    <a:pt x="12126" y="20545"/>
                    <a:pt x="12172" y="20549"/>
                  </a:cubicBezTo>
                  <a:cubicBezTo>
                    <a:pt x="12206" y="20549"/>
                    <a:pt x="12239" y="20525"/>
                    <a:pt x="12269" y="20477"/>
                  </a:cubicBezTo>
                  <a:cubicBezTo>
                    <a:pt x="12292" y="20436"/>
                    <a:pt x="12304" y="20400"/>
                    <a:pt x="12304" y="20369"/>
                  </a:cubicBezTo>
                  <a:cubicBezTo>
                    <a:pt x="12304" y="20321"/>
                    <a:pt x="12283" y="20265"/>
                    <a:pt x="12241" y="20200"/>
                  </a:cubicBezTo>
                  <a:cubicBezTo>
                    <a:pt x="12202" y="20141"/>
                    <a:pt x="12185" y="20095"/>
                    <a:pt x="12189" y="20061"/>
                  </a:cubicBezTo>
                  <a:cubicBezTo>
                    <a:pt x="12189" y="20013"/>
                    <a:pt x="12290" y="19958"/>
                    <a:pt x="12493" y="19897"/>
                  </a:cubicBezTo>
                  <a:cubicBezTo>
                    <a:pt x="12688" y="19838"/>
                    <a:pt x="12770" y="19746"/>
                    <a:pt x="12740" y="19619"/>
                  </a:cubicBezTo>
                  <a:cubicBezTo>
                    <a:pt x="12736" y="19616"/>
                    <a:pt x="12730" y="19612"/>
                    <a:pt x="12722" y="19609"/>
                  </a:cubicBezTo>
                  <a:cubicBezTo>
                    <a:pt x="12715" y="19595"/>
                    <a:pt x="12703" y="19578"/>
                    <a:pt x="12688" y="19558"/>
                  </a:cubicBezTo>
                  <a:cubicBezTo>
                    <a:pt x="12673" y="19537"/>
                    <a:pt x="12665" y="19513"/>
                    <a:pt x="12665" y="19486"/>
                  </a:cubicBezTo>
                  <a:cubicBezTo>
                    <a:pt x="12669" y="19434"/>
                    <a:pt x="12707" y="19378"/>
                    <a:pt x="12780" y="19316"/>
                  </a:cubicBezTo>
                  <a:cubicBezTo>
                    <a:pt x="12791" y="19306"/>
                    <a:pt x="12803" y="19294"/>
                    <a:pt x="12814" y="19280"/>
                  </a:cubicBezTo>
                  <a:cubicBezTo>
                    <a:pt x="12914" y="19212"/>
                    <a:pt x="12963" y="19172"/>
                    <a:pt x="12963" y="19162"/>
                  </a:cubicBezTo>
                  <a:cubicBezTo>
                    <a:pt x="12952" y="19128"/>
                    <a:pt x="12946" y="19101"/>
                    <a:pt x="12946" y="19080"/>
                  </a:cubicBezTo>
                  <a:cubicBezTo>
                    <a:pt x="12954" y="19073"/>
                    <a:pt x="12998" y="19061"/>
                    <a:pt x="13078" y="19044"/>
                  </a:cubicBezTo>
                  <a:cubicBezTo>
                    <a:pt x="13158" y="19030"/>
                    <a:pt x="13208" y="19023"/>
                    <a:pt x="13227" y="19023"/>
                  </a:cubicBezTo>
                  <a:cubicBezTo>
                    <a:pt x="13254" y="19023"/>
                    <a:pt x="13275" y="19041"/>
                    <a:pt x="13290" y="19075"/>
                  </a:cubicBezTo>
                  <a:cubicBezTo>
                    <a:pt x="13306" y="19109"/>
                    <a:pt x="13327" y="19126"/>
                    <a:pt x="13353" y="19126"/>
                  </a:cubicBezTo>
                  <a:lnTo>
                    <a:pt x="13531" y="18993"/>
                  </a:lnTo>
                  <a:cubicBezTo>
                    <a:pt x="13650" y="18904"/>
                    <a:pt x="13719" y="18859"/>
                    <a:pt x="13738" y="18859"/>
                  </a:cubicBezTo>
                  <a:cubicBezTo>
                    <a:pt x="14032" y="19034"/>
                    <a:pt x="14181" y="19121"/>
                    <a:pt x="14185" y="19121"/>
                  </a:cubicBezTo>
                  <a:cubicBezTo>
                    <a:pt x="14193" y="19121"/>
                    <a:pt x="14235" y="19059"/>
                    <a:pt x="14311" y="18936"/>
                  </a:cubicBezTo>
                  <a:cubicBezTo>
                    <a:pt x="14384" y="18813"/>
                    <a:pt x="14459" y="18753"/>
                    <a:pt x="14535" y="18756"/>
                  </a:cubicBezTo>
                  <a:cubicBezTo>
                    <a:pt x="14550" y="18756"/>
                    <a:pt x="14579" y="18789"/>
                    <a:pt x="14621" y="18854"/>
                  </a:cubicBezTo>
                  <a:cubicBezTo>
                    <a:pt x="14682" y="18922"/>
                    <a:pt x="14759" y="18957"/>
                    <a:pt x="14851" y="18957"/>
                  </a:cubicBezTo>
                  <a:cubicBezTo>
                    <a:pt x="14870" y="18960"/>
                    <a:pt x="14893" y="18919"/>
                    <a:pt x="14919" y="18834"/>
                  </a:cubicBezTo>
                  <a:cubicBezTo>
                    <a:pt x="14942" y="18731"/>
                    <a:pt x="14959" y="18671"/>
                    <a:pt x="14971" y="18654"/>
                  </a:cubicBezTo>
                  <a:cubicBezTo>
                    <a:pt x="14975" y="18647"/>
                    <a:pt x="14996" y="18623"/>
                    <a:pt x="15034" y="18582"/>
                  </a:cubicBezTo>
                  <a:cubicBezTo>
                    <a:pt x="15065" y="18551"/>
                    <a:pt x="15084" y="18522"/>
                    <a:pt x="15091" y="18495"/>
                  </a:cubicBezTo>
                  <a:cubicBezTo>
                    <a:pt x="15103" y="18443"/>
                    <a:pt x="15110" y="18409"/>
                    <a:pt x="15114" y="18392"/>
                  </a:cubicBezTo>
                  <a:cubicBezTo>
                    <a:pt x="15118" y="18371"/>
                    <a:pt x="15141" y="18361"/>
                    <a:pt x="15183" y="18361"/>
                  </a:cubicBezTo>
                  <a:cubicBezTo>
                    <a:pt x="15187" y="18361"/>
                    <a:pt x="15246" y="18407"/>
                    <a:pt x="15361" y="18500"/>
                  </a:cubicBezTo>
                  <a:cubicBezTo>
                    <a:pt x="15506" y="18602"/>
                    <a:pt x="15633" y="18654"/>
                    <a:pt x="15740" y="18654"/>
                  </a:cubicBezTo>
                  <a:cubicBezTo>
                    <a:pt x="15835" y="18657"/>
                    <a:pt x="15885" y="18582"/>
                    <a:pt x="15889" y="18428"/>
                  </a:cubicBezTo>
                  <a:cubicBezTo>
                    <a:pt x="15885" y="18260"/>
                    <a:pt x="15944" y="18161"/>
                    <a:pt x="16067" y="18130"/>
                  </a:cubicBezTo>
                  <a:cubicBezTo>
                    <a:pt x="16113" y="18116"/>
                    <a:pt x="16156" y="18072"/>
                    <a:pt x="16199" y="17996"/>
                  </a:cubicBezTo>
                  <a:cubicBezTo>
                    <a:pt x="16229" y="17914"/>
                    <a:pt x="16252" y="17858"/>
                    <a:pt x="16267" y="17827"/>
                  </a:cubicBezTo>
                  <a:cubicBezTo>
                    <a:pt x="16279" y="17799"/>
                    <a:pt x="16319" y="17762"/>
                    <a:pt x="16388" y="17714"/>
                  </a:cubicBezTo>
                  <a:cubicBezTo>
                    <a:pt x="16438" y="17673"/>
                    <a:pt x="16464" y="17623"/>
                    <a:pt x="16468" y="17565"/>
                  </a:cubicBezTo>
                  <a:cubicBezTo>
                    <a:pt x="16468" y="17548"/>
                    <a:pt x="16460" y="17510"/>
                    <a:pt x="16445" y="17452"/>
                  </a:cubicBezTo>
                  <a:cubicBezTo>
                    <a:pt x="16438" y="17394"/>
                    <a:pt x="16434" y="17353"/>
                    <a:pt x="16434" y="17329"/>
                  </a:cubicBezTo>
                  <a:cubicBezTo>
                    <a:pt x="16434" y="17281"/>
                    <a:pt x="16482" y="17253"/>
                    <a:pt x="16577" y="17246"/>
                  </a:cubicBezTo>
                  <a:cubicBezTo>
                    <a:pt x="16600" y="17243"/>
                    <a:pt x="16659" y="17243"/>
                    <a:pt x="16755" y="17246"/>
                  </a:cubicBezTo>
                  <a:cubicBezTo>
                    <a:pt x="16763" y="17246"/>
                    <a:pt x="16772" y="17260"/>
                    <a:pt x="16784" y="17288"/>
                  </a:cubicBezTo>
                  <a:cubicBezTo>
                    <a:pt x="16795" y="17308"/>
                    <a:pt x="16810" y="17318"/>
                    <a:pt x="16830" y="17318"/>
                  </a:cubicBezTo>
                  <a:cubicBezTo>
                    <a:pt x="16872" y="17318"/>
                    <a:pt x="16921" y="17286"/>
                    <a:pt x="16979" y="17221"/>
                  </a:cubicBezTo>
                  <a:cubicBezTo>
                    <a:pt x="17040" y="17152"/>
                    <a:pt x="17095" y="17118"/>
                    <a:pt x="17145" y="17118"/>
                  </a:cubicBezTo>
                  <a:cubicBezTo>
                    <a:pt x="17156" y="17121"/>
                    <a:pt x="17193" y="17123"/>
                    <a:pt x="17254" y="17123"/>
                  </a:cubicBezTo>
                  <a:cubicBezTo>
                    <a:pt x="17307" y="17120"/>
                    <a:pt x="17334" y="17094"/>
                    <a:pt x="17334" y="17046"/>
                  </a:cubicBezTo>
                  <a:cubicBezTo>
                    <a:pt x="17334" y="17025"/>
                    <a:pt x="17317" y="17002"/>
                    <a:pt x="17283" y="16974"/>
                  </a:cubicBezTo>
                  <a:cubicBezTo>
                    <a:pt x="17244" y="16940"/>
                    <a:pt x="17225" y="16918"/>
                    <a:pt x="17225" y="16907"/>
                  </a:cubicBezTo>
                  <a:lnTo>
                    <a:pt x="17242" y="16830"/>
                  </a:lnTo>
                  <a:cubicBezTo>
                    <a:pt x="17242" y="16796"/>
                    <a:pt x="17229" y="16770"/>
                    <a:pt x="17202" y="16753"/>
                  </a:cubicBezTo>
                  <a:cubicBezTo>
                    <a:pt x="17172" y="16740"/>
                    <a:pt x="17155" y="16721"/>
                    <a:pt x="17151" y="16697"/>
                  </a:cubicBezTo>
                  <a:cubicBezTo>
                    <a:pt x="17151" y="16659"/>
                    <a:pt x="17168" y="16618"/>
                    <a:pt x="17202" y="16574"/>
                  </a:cubicBezTo>
                  <a:cubicBezTo>
                    <a:pt x="17221" y="16553"/>
                    <a:pt x="17235" y="16534"/>
                    <a:pt x="17242" y="16517"/>
                  </a:cubicBezTo>
                  <a:lnTo>
                    <a:pt x="17329" y="16517"/>
                  </a:lnTo>
                  <a:cubicBezTo>
                    <a:pt x="17363" y="16586"/>
                    <a:pt x="17453" y="16620"/>
                    <a:pt x="17598" y="16620"/>
                  </a:cubicBezTo>
                  <a:cubicBezTo>
                    <a:pt x="17678" y="16620"/>
                    <a:pt x="17786" y="16620"/>
                    <a:pt x="17919" y="16620"/>
                  </a:cubicBezTo>
                  <a:cubicBezTo>
                    <a:pt x="17961" y="16627"/>
                    <a:pt x="18024" y="16721"/>
                    <a:pt x="18109" y="16902"/>
                  </a:cubicBezTo>
                  <a:cubicBezTo>
                    <a:pt x="18135" y="16961"/>
                    <a:pt x="18166" y="17000"/>
                    <a:pt x="18200" y="17020"/>
                  </a:cubicBezTo>
                  <a:cubicBezTo>
                    <a:pt x="18227" y="17031"/>
                    <a:pt x="18269" y="17038"/>
                    <a:pt x="18326" y="17041"/>
                  </a:cubicBezTo>
                  <a:lnTo>
                    <a:pt x="18590" y="17025"/>
                  </a:lnTo>
                  <a:cubicBezTo>
                    <a:pt x="18640" y="17025"/>
                    <a:pt x="18692" y="17063"/>
                    <a:pt x="18745" y="17139"/>
                  </a:cubicBezTo>
                  <a:cubicBezTo>
                    <a:pt x="18787" y="17210"/>
                    <a:pt x="18843" y="17246"/>
                    <a:pt x="18912" y="17246"/>
                  </a:cubicBezTo>
                  <a:cubicBezTo>
                    <a:pt x="18954" y="17250"/>
                    <a:pt x="19007" y="17221"/>
                    <a:pt x="19072" y="17159"/>
                  </a:cubicBezTo>
                  <a:cubicBezTo>
                    <a:pt x="19130" y="17097"/>
                    <a:pt x="19197" y="17067"/>
                    <a:pt x="19273" y="17067"/>
                  </a:cubicBezTo>
                  <a:cubicBezTo>
                    <a:pt x="19311" y="17067"/>
                    <a:pt x="19348" y="17089"/>
                    <a:pt x="19382" y="17133"/>
                  </a:cubicBezTo>
                  <a:cubicBezTo>
                    <a:pt x="19416" y="17178"/>
                    <a:pt x="19457" y="17200"/>
                    <a:pt x="19502" y="17200"/>
                  </a:cubicBezTo>
                  <a:cubicBezTo>
                    <a:pt x="19640" y="17204"/>
                    <a:pt x="19741" y="17156"/>
                    <a:pt x="19806" y="17056"/>
                  </a:cubicBezTo>
                  <a:cubicBezTo>
                    <a:pt x="19871" y="16961"/>
                    <a:pt x="19927" y="16913"/>
                    <a:pt x="19973" y="16913"/>
                  </a:cubicBezTo>
                  <a:cubicBezTo>
                    <a:pt x="20011" y="16913"/>
                    <a:pt x="20040" y="16948"/>
                    <a:pt x="20059" y="17020"/>
                  </a:cubicBezTo>
                  <a:cubicBezTo>
                    <a:pt x="20082" y="17092"/>
                    <a:pt x="20112" y="17135"/>
                    <a:pt x="20151" y="17149"/>
                  </a:cubicBezTo>
                  <a:cubicBezTo>
                    <a:pt x="20170" y="17159"/>
                    <a:pt x="20219" y="17173"/>
                    <a:pt x="20300" y="17190"/>
                  </a:cubicBezTo>
                  <a:cubicBezTo>
                    <a:pt x="20361" y="17200"/>
                    <a:pt x="20405" y="17217"/>
                    <a:pt x="20432" y="17241"/>
                  </a:cubicBezTo>
                  <a:cubicBezTo>
                    <a:pt x="20436" y="17248"/>
                    <a:pt x="20464" y="17269"/>
                    <a:pt x="20518" y="17303"/>
                  </a:cubicBezTo>
                  <a:cubicBezTo>
                    <a:pt x="20564" y="17330"/>
                    <a:pt x="20588" y="17349"/>
                    <a:pt x="20592" y="17359"/>
                  </a:cubicBezTo>
                  <a:cubicBezTo>
                    <a:pt x="20596" y="17373"/>
                    <a:pt x="20598" y="17394"/>
                    <a:pt x="20598" y="17421"/>
                  </a:cubicBezTo>
                  <a:close/>
                  <a:moveTo>
                    <a:pt x="80" y="791"/>
                  </a:moveTo>
                  <a:cubicBezTo>
                    <a:pt x="1220" y="825"/>
                    <a:pt x="1987" y="841"/>
                    <a:pt x="2380" y="837"/>
                  </a:cubicBezTo>
                  <a:lnTo>
                    <a:pt x="2375" y="0"/>
                  </a:lnTo>
                  <a:cubicBezTo>
                    <a:pt x="2585" y="79"/>
                    <a:pt x="2765" y="265"/>
                    <a:pt x="2914" y="560"/>
                  </a:cubicBezTo>
                  <a:cubicBezTo>
                    <a:pt x="2994" y="714"/>
                    <a:pt x="3080" y="904"/>
                    <a:pt x="3172" y="1130"/>
                  </a:cubicBezTo>
                  <a:cubicBezTo>
                    <a:pt x="3183" y="1150"/>
                    <a:pt x="3285" y="1173"/>
                    <a:pt x="3476" y="1197"/>
                  </a:cubicBezTo>
                  <a:cubicBezTo>
                    <a:pt x="3709" y="1224"/>
                    <a:pt x="3845" y="1241"/>
                    <a:pt x="3883" y="1248"/>
                  </a:cubicBezTo>
                  <a:cubicBezTo>
                    <a:pt x="3937" y="1258"/>
                    <a:pt x="4023" y="1298"/>
                    <a:pt x="4142" y="1366"/>
                  </a:cubicBezTo>
                  <a:cubicBezTo>
                    <a:pt x="4249" y="1424"/>
                    <a:pt x="4333" y="1454"/>
                    <a:pt x="4394" y="1454"/>
                  </a:cubicBezTo>
                  <a:cubicBezTo>
                    <a:pt x="4463" y="1454"/>
                    <a:pt x="4535" y="1430"/>
                    <a:pt x="4612" y="1382"/>
                  </a:cubicBezTo>
                  <a:cubicBezTo>
                    <a:pt x="4692" y="1330"/>
                    <a:pt x="4770" y="1305"/>
                    <a:pt x="4847" y="1305"/>
                  </a:cubicBezTo>
                  <a:cubicBezTo>
                    <a:pt x="5118" y="1305"/>
                    <a:pt x="5354" y="1359"/>
                    <a:pt x="5552" y="1469"/>
                  </a:cubicBezTo>
                  <a:cubicBezTo>
                    <a:pt x="5675" y="1537"/>
                    <a:pt x="5864" y="1664"/>
                    <a:pt x="6120" y="1849"/>
                  </a:cubicBezTo>
                  <a:cubicBezTo>
                    <a:pt x="6189" y="1894"/>
                    <a:pt x="6285" y="1929"/>
                    <a:pt x="6407" y="1957"/>
                  </a:cubicBezTo>
                  <a:cubicBezTo>
                    <a:pt x="6583" y="1998"/>
                    <a:pt x="6679" y="2020"/>
                    <a:pt x="6694" y="2024"/>
                  </a:cubicBezTo>
                  <a:cubicBezTo>
                    <a:pt x="6732" y="2037"/>
                    <a:pt x="6813" y="2075"/>
                    <a:pt x="6935" y="2137"/>
                  </a:cubicBezTo>
                  <a:cubicBezTo>
                    <a:pt x="7019" y="2181"/>
                    <a:pt x="7103" y="2203"/>
                    <a:pt x="7187" y="2203"/>
                  </a:cubicBezTo>
                  <a:cubicBezTo>
                    <a:pt x="7264" y="2203"/>
                    <a:pt x="7363" y="2173"/>
                    <a:pt x="7485" y="2111"/>
                  </a:cubicBezTo>
                  <a:cubicBezTo>
                    <a:pt x="7612" y="2046"/>
                    <a:pt x="7711" y="2013"/>
                    <a:pt x="7784" y="2013"/>
                  </a:cubicBezTo>
                  <a:lnTo>
                    <a:pt x="8076" y="2060"/>
                  </a:lnTo>
                  <a:cubicBezTo>
                    <a:pt x="8268" y="2090"/>
                    <a:pt x="8430" y="2106"/>
                    <a:pt x="8564" y="2106"/>
                  </a:cubicBezTo>
                  <a:cubicBezTo>
                    <a:pt x="8606" y="2106"/>
                    <a:pt x="8660" y="2116"/>
                    <a:pt x="8724" y="2137"/>
                  </a:cubicBezTo>
                  <a:cubicBezTo>
                    <a:pt x="8755" y="2147"/>
                    <a:pt x="8795" y="2159"/>
                    <a:pt x="8845" y="2173"/>
                  </a:cubicBezTo>
                  <a:cubicBezTo>
                    <a:pt x="8749" y="2210"/>
                    <a:pt x="8635" y="2260"/>
                    <a:pt x="8501" y="2322"/>
                  </a:cubicBezTo>
                  <a:cubicBezTo>
                    <a:pt x="8336" y="2383"/>
                    <a:pt x="8187" y="2463"/>
                    <a:pt x="8053" y="2563"/>
                  </a:cubicBezTo>
                  <a:cubicBezTo>
                    <a:pt x="7939" y="2642"/>
                    <a:pt x="7862" y="2708"/>
                    <a:pt x="7824" y="2763"/>
                  </a:cubicBezTo>
                  <a:cubicBezTo>
                    <a:pt x="7820" y="2770"/>
                    <a:pt x="7816" y="2775"/>
                    <a:pt x="7813" y="2779"/>
                  </a:cubicBezTo>
                  <a:cubicBezTo>
                    <a:pt x="7660" y="2936"/>
                    <a:pt x="7524" y="3070"/>
                    <a:pt x="7405" y="3179"/>
                  </a:cubicBezTo>
                  <a:cubicBezTo>
                    <a:pt x="7401" y="3182"/>
                    <a:pt x="7279" y="3285"/>
                    <a:pt x="7038" y="3487"/>
                  </a:cubicBezTo>
                  <a:cubicBezTo>
                    <a:pt x="6717" y="3761"/>
                    <a:pt x="6486" y="3943"/>
                    <a:pt x="6344" y="4032"/>
                  </a:cubicBezTo>
                  <a:lnTo>
                    <a:pt x="6355" y="4032"/>
                  </a:lnTo>
                  <a:cubicBezTo>
                    <a:pt x="6344" y="4045"/>
                    <a:pt x="6338" y="4057"/>
                    <a:pt x="6338" y="4068"/>
                  </a:cubicBezTo>
                  <a:cubicBezTo>
                    <a:pt x="6338" y="4071"/>
                    <a:pt x="6342" y="4080"/>
                    <a:pt x="6350" y="4093"/>
                  </a:cubicBezTo>
                  <a:cubicBezTo>
                    <a:pt x="6357" y="4100"/>
                    <a:pt x="6361" y="4110"/>
                    <a:pt x="6361" y="4124"/>
                  </a:cubicBezTo>
                  <a:cubicBezTo>
                    <a:pt x="6361" y="4151"/>
                    <a:pt x="6333" y="4172"/>
                    <a:pt x="6275" y="4186"/>
                  </a:cubicBezTo>
                  <a:cubicBezTo>
                    <a:pt x="6214" y="4203"/>
                    <a:pt x="6182" y="4246"/>
                    <a:pt x="6178" y="4314"/>
                  </a:cubicBezTo>
                  <a:cubicBezTo>
                    <a:pt x="6174" y="4485"/>
                    <a:pt x="6178" y="4633"/>
                    <a:pt x="6189" y="4756"/>
                  </a:cubicBezTo>
                  <a:cubicBezTo>
                    <a:pt x="6189" y="4995"/>
                    <a:pt x="6189" y="5127"/>
                    <a:pt x="6189" y="5151"/>
                  </a:cubicBezTo>
                  <a:cubicBezTo>
                    <a:pt x="6185" y="5168"/>
                    <a:pt x="6071" y="5273"/>
                    <a:pt x="5845" y="5465"/>
                  </a:cubicBezTo>
                  <a:cubicBezTo>
                    <a:pt x="5616" y="5663"/>
                    <a:pt x="5493" y="5811"/>
                    <a:pt x="5478" y="5906"/>
                  </a:cubicBezTo>
                  <a:cubicBezTo>
                    <a:pt x="5455" y="5999"/>
                    <a:pt x="5491" y="6090"/>
                    <a:pt x="5587" y="6179"/>
                  </a:cubicBezTo>
                  <a:cubicBezTo>
                    <a:pt x="5686" y="6267"/>
                    <a:pt x="5734" y="6338"/>
                    <a:pt x="5730" y="6389"/>
                  </a:cubicBezTo>
                  <a:cubicBezTo>
                    <a:pt x="5730" y="6392"/>
                    <a:pt x="5725" y="6410"/>
                    <a:pt x="5713" y="6440"/>
                  </a:cubicBezTo>
                  <a:cubicBezTo>
                    <a:pt x="5705" y="6461"/>
                    <a:pt x="5703" y="6482"/>
                    <a:pt x="5707" y="6502"/>
                  </a:cubicBezTo>
                  <a:cubicBezTo>
                    <a:pt x="5711" y="6509"/>
                    <a:pt x="5713" y="6524"/>
                    <a:pt x="5713" y="6548"/>
                  </a:cubicBezTo>
                  <a:cubicBezTo>
                    <a:pt x="5709" y="6583"/>
                    <a:pt x="5690" y="6619"/>
                    <a:pt x="5656" y="6656"/>
                  </a:cubicBezTo>
                  <a:cubicBezTo>
                    <a:pt x="5629" y="6690"/>
                    <a:pt x="5616" y="6721"/>
                    <a:pt x="5616" y="6749"/>
                  </a:cubicBezTo>
                  <a:lnTo>
                    <a:pt x="5627" y="6867"/>
                  </a:lnTo>
                  <a:cubicBezTo>
                    <a:pt x="5627" y="6884"/>
                    <a:pt x="5617" y="6913"/>
                    <a:pt x="5598" y="6954"/>
                  </a:cubicBezTo>
                  <a:cubicBezTo>
                    <a:pt x="5579" y="6995"/>
                    <a:pt x="5570" y="7023"/>
                    <a:pt x="5570" y="7036"/>
                  </a:cubicBezTo>
                  <a:cubicBezTo>
                    <a:pt x="5570" y="7047"/>
                    <a:pt x="5583" y="7074"/>
                    <a:pt x="5610" y="7118"/>
                  </a:cubicBezTo>
                  <a:cubicBezTo>
                    <a:pt x="5637" y="7159"/>
                    <a:pt x="5648" y="7201"/>
                    <a:pt x="5644" y="7242"/>
                  </a:cubicBezTo>
                  <a:cubicBezTo>
                    <a:pt x="5644" y="7276"/>
                    <a:pt x="5623" y="7365"/>
                    <a:pt x="5581" y="7509"/>
                  </a:cubicBezTo>
                  <a:cubicBezTo>
                    <a:pt x="5581" y="7516"/>
                    <a:pt x="5627" y="7550"/>
                    <a:pt x="5719" y="7612"/>
                  </a:cubicBezTo>
                  <a:cubicBezTo>
                    <a:pt x="5826" y="7687"/>
                    <a:pt x="5891" y="7735"/>
                    <a:pt x="5914" y="7755"/>
                  </a:cubicBezTo>
                  <a:cubicBezTo>
                    <a:pt x="5945" y="7779"/>
                    <a:pt x="6004" y="7791"/>
                    <a:pt x="6092" y="7791"/>
                  </a:cubicBezTo>
                  <a:cubicBezTo>
                    <a:pt x="6176" y="7788"/>
                    <a:pt x="6231" y="7813"/>
                    <a:pt x="6258" y="7868"/>
                  </a:cubicBezTo>
                  <a:cubicBezTo>
                    <a:pt x="6308" y="7933"/>
                    <a:pt x="6407" y="8004"/>
                    <a:pt x="6556" y="8079"/>
                  </a:cubicBezTo>
                  <a:cubicBezTo>
                    <a:pt x="6702" y="8144"/>
                    <a:pt x="6788" y="8221"/>
                    <a:pt x="6814" y="8310"/>
                  </a:cubicBezTo>
                  <a:cubicBezTo>
                    <a:pt x="6864" y="8433"/>
                    <a:pt x="6967" y="8538"/>
                    <a:pt x="7124" y="8623"/>
                  </a:cubicBezTo>
                  <a:cubicBezTo>
                    <a:pt x="7361" y="8750"/>
                    <a:pt x="7485" y="8817"/>
                    <a:pt x="7497" y="8823"/>
                  </a:cubicBezTo>
                  <a:cubicBezTo>
                    <a:pt x="7593" y="8909"/>
                    <a:pt x="7657" y="9036"/>
                    <a:pt x="7692" y="9204"/>
                  </a:cubicBezTo>
                  <a:cubicBezTo>
                    <a:pt x="7707" y="9262"/>
                    <a:pt x="7721" y="9385"/>
                    <a:pt x="7732" y="9573"/>
                  </a:cubicBezTo>
                  <a:cubicBezTo>
                    <a:pt x="7728" y="9573"/>
                    <a:pt x="7723" y="9575"/>
                    <a:pt x="7715" y="9578"/>
                  </a:cubicBezTo>
                  <a:cubicBezTo>
                    <a:pt x="7501" y="9623"/>
                    <a:pt x="6285" y="9650"/>
                    <a:pt x="4067" y="9661"/>
                  </a:cubicBezTo>
                  <a:lnTo>
                    <a:pt x="734" y="9655"/>
                  </a:lnTo>
                  <a:cubicBezTo>
                    <a:pt x="742" y="9467"/>
                    <a:pt x="745" y="9253"/>
                    <a:pt x="745" y="9014"/>
                  </a:cubicBezTo>
                  <a:cubicBezTo>
                    <a:pt x="750" y="8959"/>
                    <a:pt x="759" y="8664"/>
                    <a:pt x="774" y="8130"/>
                  </a:cubicBezTo>
                  <a:lnTo>
                    <a:pt x="786" y="7524"/>
                  </a:lnTo>
                  <a:cubicBezTo>
                    <a:pt x="793" y="7158"/>
                    <a:pt x="805" y="6906"/>
                    <a:pt x="820" y="6769"/>
                  </a:cubicBezTo>
                  <a:cubicBezTo>
                    <a:pt x="801" y="6639"/>
                    <a:pt x="704" y="6516"/>
                    <a:pt x="528" y="6399"/>
                  </a:cubicBezTo>
                  <a:cubicBezTo>
                    <a:pt x="359" y="6283"/>
                    <a:pt x="270" y="6148"/>
                    <a:pt x="258" y="5994"/>
                  </a:cubicBezTo>
                  <a:cubicBezTo>
                    <a:pt x="407" y="5911"/>
                    <a:pt x="518" y="5802"/>
                    <a:pt x="591" y="5665"/>
                  </a:cubicBezTo>
                  <a:cubicBezTo>
                    <a:pt x="618" y="5607"/>
                    <a:pt x="640" y="5542"/>
                    <a:pt x="659" y="5470"/>
                  </a:cubicBezTo>
                  <a:cubicBezTo>
                    <a:pt x="659" y="5466"/>
                    <a:pt x="661" y="5465"/>
                    <a:pt x="665" y="5465"/>
                  </a:cubicBezTo>
                  <a:cubicBezTo>
                    <a:pt x="684" y="5372"/>
                    <a:pt x="696" y="5271"/>
                    <a:pt x="700" y="5162"/>
                  </a:cubicBezTo>
                  <a:cubicBezTo>
                    <a:pt x="700" y="5093"/>
                    <a:pt x="683" y="5007"/>
                    <a:pt x="648" y="4905"/>
                  </a:cubicBezTo>
                  <a:cubicBezTo>
                    <a:pt x="594" y="4785"/>
                    <a:pt x="549" y="4684"/>
                    <a:pt x="510" y="4602"/>
                  </a:cubicBezTo>
                  <a:cubicBezTo>
                    <a:pt x="384" y="4280"/>
                    <a:pt x="323" y="3925"/>
                    <a:pt x="327" y="3539"/>
                  </a:cubicBezTo>
                  <a:cubicBezTo>
                    <a:pt x="331" y="3474"/>
                    <a:pt x="342" y="3366"/>
                    <a:pt x="361" y="3215"/>
                  </a:cubicBezTo>
                  <a:cubicBezTo>
                    <a:pt x="380" y="3064"/>
                    <a:pt x="390" y="2953"/>
                    <a:pt x="390" y="2881"/>
                  </a:cubicBezTo>
                  <a:cubicBezTo>
                    <a:pt x="394" y="2683"/>
                    <a:pt x="331" y="2448"/>
                    <a:pt x="201" y="2178"/>
                  </a:cubicBezTo>
                  <a:cubicBezTo>
                    <a:pt x="63" y="1900"/>
                    <a:pt x="-4" y="1640"/>
                    <a:pt x="0" y="1397"/>
                  </a:cubicBezTo>
                  <a:cubicBezTo>
                    <a:pt x="4" y="1346"/>
                    <a:pt x="19" y="1263"/>
                    <a:pt x="46" y="1150"/>
                  </a:cubicBezTo>
                  <a:cubicBezTo>
                    <a:pt x="73" y="1038"/>
                    <a:pt x="88" y="962"/>
                    <a:pt x="92" y="924"/>
                  </a:cubicBezTo>
                  <a:cubicBezTo>
                    <a:pt x="92" y="883"/>
                    <a:pt x="88" y="839"/>
                    <a:pt x="80" y="791"/>
                  </a:cubicBezTo>
                  <a:close/>
                  <a:moveTo>
                    <a:pt x="80" y="79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2" name="AutoShape 119"/>
            <p:cNvSpPr>
              <a:spLocks/>
            </p:cNvSpPr>
            <p:nvPr/>
          </p:nvSpPr>
          <p:spPr bwMode="auto">
            <a:xfrm>
              <a:off x="7099061" y="4874329"/>
              <a:ext cx="187865" cy="333870"/>
            </a:xfrm>
            <a:custGeom>
              <a:avLst/>
              <a:gdLst/>
              <a:ahLst/>
              <a:cxnLst/>
              <a:rect l="0" t="0" r="r" b="b"/>
              <a:pathLst>
                <a:path w="21586" h="21600">
                  <a:moveTo>
                    <a:pt x="14212" y="21547"/>
                  </a:moveTo>
                  <a:cubicBezTo>
                    <a:pt x="14212" y="21494"/>
                    <a:pt x="14127" y="21420"/>
                    <a:pt x="13955" y="21323"/>
                  </a:cubicBezTo>
                  <a:cubicBezTo>
                    <a:pt x="13783" y="21244"/>
                    <a:pt x="13674" y="21182"/>
                    <a:pt x="13626" y="21138"/>
                  </a:cubicBezTo>
                  <a:cubicBezTo>
                    <a:pt x="13518" y="21085"/>
                    <a:pt x="13432" y="20993"/>
                    <a:pt x="13369" y="20861"/>
                  </a:cubicBezTo>
                  <a:cubicBezTo>
                    <a:pt x="13307" y="20685"/>
                    <a:pt x="13268" y="20575"/>
                    <a:pt x="13252" y="20532"/>
                  </a:cubicBezTo>
                  <a:cubicBezTo>
                    <a:pt x="13206" y="20487"/>
                    <a:pt x="12948" y="20316"/>
                    <a:pt x="12480" y="20017"/>
                  </a:cubicBezTo>
                  <a:cubicBezTo>
                    <a:pt x="12105" y="19779"/>
                    <a:pt x="11925" y="19564"/>
                    <a:pt x="11941" y="19370"/>
                  </a:cubicBezTo>
                  <a:cubicBezTo>
                    <a:pt x="11941" y="19273"/>
                    <a:pt x="11980" y="19199"/>
                    <a:pt x="12058" y="19146"/>
                  </a:cubicBezTo>
                  <a:cubicBezTo>
                    <a:pt x="12168" y="19102"/>
                    <a:pt x="12222" y="19045"/>
                    <a:pt x="12222" y="18974"/>
                  </a:cubicBezTo>
                  <a:lnTo>
                    <a:pt x="12175" y="18790"/>
                  </a:lnTo>
                  <a:cubicBezTo>
                    <a:pt x="12175" y="18719"/>
                    <a:pt x="12254" y="18631"/>
                    <a:pt x="12409" y="18526"/>
                  </a:cubicBezTo>
                  <a:cubicBezTo>
                    <a:pt x="12581" y="18420"/>
                    <a:pt x="12667" y="18332"/>
                    <a:pt x="12667" y="18262"/>
                  </a:cubicBezTo>
                  <a:lnTo>
                    <a:pt x="12597" y="18064"/>
                  </a:lnTo>
                  <a:cubicBezTo>
                    <a:pt x="5028" y="18169"/>
                    <a:pt x="1102" y="18257"/>
                    <a:pt x="821" y="18328"/>
                  </a:cubicBezTo>
                  <a:lnTo>
                    <a:pt x="399" y="18315"/>
                  </a:lnTo>
                  <a:lnTo>
                    <a:pt x="399" y="18222"/>
                  </a:lnTo>
                  <a:cubicBezTo>
                    <a:pt x="462" y="18161"/>
                    <a:pt x="494" y="18038"/>
                    <a:pt x="494" y="17853"/>
                  </a:cubicBezTo>
                  <a:cubicBezTo>
                    <a:pt x="509" y="17695"/>
                    <a:pt x="431" y="17558"/>
                    <a:pt x="259" y="17444"/>
                  </a:cubicBezTo>
                  <a:cubicBezTo>
                    <a:pt x="72" y="17356"/>
                    <a:pt x="-14" y="17299"/>
                    <a:pt x="2" y="17272"/>
                  </a:cubicBezTo>
                  <a:cubicBezTo>
                    <a:pt x="-14" y="17193"/>
                    <a:pt x="119" y="17136"/>
                    <a:pt x="399" y="17101"/>
                  </a:cubicBezTo>
                  <a:cubicBezTo>
                    <a:pt x="681" y="17092"/>
                    <a:pt x="821" y="17044"/>
                    <a:pt x="821" y="16956"/>
                  </a:cubicBezTo>
                  <a:cubicBezTo>
                    <a:pt x="821" y="16894"/>
                    <a:pt x="790" y="16824"/>
                    <a:pt x="728" y="16744"/>
                  </a:cubicBezTo>
                  <a:cubicBezTo>
                    <a:pt x="650" y="16674"/>
                    <a:pt x="611" y="16630"/>
                    <a:pt x="611" y="16612"/>
                  </a:cubicBezTo>
                  <a:cubicBezTo>
                    <a:pt x="611" y="16560"/>
                    <a:pt x="650" y="16529"/>
                    <a:pt x="728" y="16520"/>
                  </a:cubicBezTo>
                  <a:cubicBezTo>
                    <a:pt x="759" y="16520"/>
                    <a:pt x="852" y="16520"/>
                    <a:pt x="1008" y="16520"/>
                  </a:cubicBezTo>
                  <a:lnTo>
                    <a:pt x="1008" y="16414"/>
                  </a:lnTo>
                  <a:cubicBezTo>
                    <a:pt x="852" y="16309"/>
                    <a:pt x="790" y="16230"/>
                    <a:pt x="821" y="16177"/>
                  </a:cubicBezTo>
                  <a:cubicBezTo>
                    <a:pt x="821" y="16063"/>
                    <a:pt x="907" y="15979"/>
                    <a:pt x="1079" y="15926"/>
                  </a:cubicBezTo>
                  <a:cubicBezTo>
                    <a:pt x="1235" y="15865"/>
                    <a:pt x="1328" y="15728"/>
                    <a:pt x="1360" y="15517"/>
                  </a:cubicBezTo>
                  <a:cubicBezTo>
                    <a:pt x="1360" y="15385"/>
                    <a:pt x="1477" y="15262"/>
                    <a:pt x="1711" y="15148"/>
                  </a:cubicBezTo>
                  <a:cubicBezTo>
                    <a:pt x="1991" y="15051"/>
                    <a:pt x="2132" y="14950"/>
                    <a:pt x="2132" y="14844"/>
                  </a:cubicBezTo>
                  <a:lnTo>
                    <a:pt x="2062" y="14660"/>
                  </a:lnTo>
                  <a:cubicBezTo>
                    <a:pt x="2062" y="14492"/>
                    <a:pt x="2194" y="14343"/>
                    <a:pt x="2460" y="14211"/>
                  </a:cubicBezTo>
                  <a:cubicBezTo>
                    <a:pt x="2819" y="14097"/>
                    <a:pt x="3060" y="14013"/>
                    <a:pt x="3186" y="13960"/>
                  </a:cubicBezTo>
                  <a:lnTo>
                    <a:pt x="3818" y="13314"/>
                  </a:lnTo>
                  <a:cubicBezTo>
                    <a:pt x="3818" y="13217"/>
                    <a:pt x="3693" y="13160"/>
                    <a:pt x="3443" y="13142"/>
                  </a:cubicBezTo>
                  <a:cubicBezTo>
                    <a:pt x="3209" y="13142"/>
                    <a:pt x="3092" y="13107"/>
                    <a:pt x="3092" y="13037"/>
                  </a:cubicBezTo>
                  <a:cubicBezTo>
                    <a:pt x="3092" y="13010"/>
                    <a:pt x="3334" y="12904"/>
                    <a:pt x="3818" y="12720"/>
                  </a:cubicBezTo>
                  <a:cubicBezTo>
                    <a:pt x="4067" y="12606"/>
                    <a:pt x="4317" y="12504"/>
                    <a:pt x="4567" y="12417"/>
                  </a:cubicBezTo>
                  <a:cubicBezTo>
                    <a:pt x="4567" y="12302"/>
                    <a:pt x="4489" y="12245"/>
                    <a:pt x="4333" y="12245"/>
                  </a:cubicBezTo>
                  <a:cubicBezTo>
                    <a:pt x="4130" y="12254"/>
                    <a:pt x="3997" y="12227"/>
                    <a:pt x="3935" y="12166"/>
                  </a:cubicBezTo>
                  <a:cubicBezTo>
                    <a:pt x="3857" y="12104"/>
                    <a:pt x="3716" y="12021"/>
                    <a:pt x="3513" y="11915"/>
                  </a:cubicBezTo>
                  <a:cubicBezTo>
                    <a:pt x="3373" y="11836"/>
                    <a:pt x="3303" y="11792"/>
                    <a:pt x="3303" y="11783"/>
                  </a:cubicBezTo>
                  <a:cubicBezTo>
                    <a:pt x="3303" y="11712"/>
                    <a:pt x="3365" y="11660"/>
                    <a:pt x="3490" y="11625"/>
                  </a:cubicBezTo>
                  <a:cubicBezTo>
                    <a:pt x="3615" y="11589"/>
                    <a:pt x="3677" y="11523"/>
                    <a:pt x="3677" y="11427"/>
                  </a:cubicBezTo>
                  <a:cubicBezTo>
                    <a:pt x="3693" y="11242"/>
                    <a:pt x="3654" y="11150"/>
                    <a:pt x="3560" y="11150"/>
                  </a:cubicBezTo>
                  <a:cubicBezTo>
                    <a:pt x="3513" y="11150"/>
                    <a:pt x="3459" y="11163"/>
                    <a:pt x="3396" y="11189"/>
                  </a:cubicBezTo>
                  <a:cubicBezTo>
                    <a:pt x="3349" y="11216"/>
                    <a:pt x="3295" y="11229"/>
                    <a:pt x="3232" y="11229"/>
                  </a:cubicBezTo>
                  <a:cubicBezTo>
                    <a:pt x="3155" y="11229"/>
                    <a:pt x="3084" y="11216"/>
                    <a:pt x="3022" y="11189"/>
                  </a:cubicBezTo>
                  <a:cubicBezTo>
                    <a:pt x="2975" y="11154"/>
                    <a:pt x="2952" y="11110"/>
                    <a:pt x="2952" y="11057"/>
                  </a:cubicBezTo>
                  <a:cubicBezTo>
                    <a:pt x="2952" y="11004"/>
                    <a:pt x="3022" y="10938"/>
                    <a:pt x="3162" y="10859"/>
                  </a:cubicBezTo>
                  <a:cubicBezTo>
                    <a:pt x="3303" y="10789"/>
                    <a:pt x="3373" y="10727"/>
                    <a:pt x="3373" y="10674"/>
                  </a:cubicBezTo>
                  <a:cubicBezTo>
                    <a:pt x="3373" y="10587"/>
                    <a:pt x="3279" y="10534"/>
                    <a:pt x="3092" y="10516"/>
                  </a:cubicBezTo>
                  <a:cubicBezTo>
                    <a:pt x="2905" y="10463"/>
                    <a:pt x="2811" y="10384"/>
                    <a:pt x="2811" y="10279"/>
                  </a:cubicBezTo>
                  <a:cubicBezTo>
                    <a:pt x="2826" y="10191"/>
                    <a:pt x="2912" y="10120"/>
                    <a:pt x="3069" y="10068"/>
                  </a:cubicBezTo>
                  <a:cubicBezTo>
                    <a:pt x="3241" y="9988"/>
                    <a:pt x="3326" y="9918"/>
                    <a:pt x="3326" y="9857"/>
                  </a:cubicBezTo>
                  <a:cubicBezTo>
                    <a:pt x="3342" y="9628"/>
                    <a:pt x="3209" y="9514"/>
                    <a:pt x="2928" y="9514"/>
                  </a:cubicBezTo>
                  <a:cubicBezTo>
                    <a:pt x="2663" y="9505"/>
                    <a:pt x="2523" y="9461"/>
                    <a:pt x="2506" y="9382"/>
                  </a:cubicBezTo>
                  <a:cubicBezTo>
                    <a:pt x="2506" y="9346"/>
                    <a:pt x="2530" y="9307"/>
                    <a:pt x="2577" y="9263"/>
                  </a:cubicBezTo>
                  <a:cubicBezTo>
                    <a:pt x="2623" y="9227"/>
                    <a:pt x="2655" y="9183"/>
                    <a:pt x="2671" y="9131"/>
                  </a:cubicBezTo>
                  <a:cubicBezTo>
                    <a:pt x="2780" y="9008"/>
                    <a:pt x="2897" y="8928"/>
                    <a:pt x="3022" y="8893"/>
                  </a:cubicBezTo>
                  <a:cubicBezTo>
                    <a:pt x="3100" y="8876"/>
                    <a:pt x="3139" y="8792"/>
                    <a:pt x="3139" y="8643"/>
                  </a:cubicBezTo>
                  <a:cubicBezTo>
                    <a:pt x="3155" y="8458"/>
                    <a:pt x="3092" y="8339"/>
                    <a:pt x="2952" y="8286"/>
                  </a:cubicBezTo>
                  <a:cubicBezTo>
                    <a:pt x="2780" y="8233"/>
                    <a:pt x="2655" y="8071"/>
                    <a:pt x="2577" y="7798"/>
                  </a:cubicBezTo>
                  <a:cubicBezTo>
                    <a:pt x="2561" y="7763"/>
                    <a:pt x="2468" y="7618"/>
                    <a:pt x="2296" y="7363"/>
                  </a:cubicBezTo>
                  <a:cubicBezTo>
                    <a:pt x="2124" y="7125"/>
                    <a:pt x="2038" y="6940"/>
                    <a:pt x="2038" y="6808"/>
                  </a:cubicBezTo>
                  <a:cubicBezTo>
                    <a:pt x="2038" y="6703"/>
                    <a:pt x="2132" y="6602"/>
                    <a:pt x="2320" y="6505"/>
                  </a:cubicBezTo>
                  <a:cubicBezTo>
                    <a:pt x="2554" y="6399"/>
                    <a:pt x="2663" y="6307"/>
                    <a:pt x="2647" y="6228"/>
                  </a:cubicBezTo>
                  <a:cubicBezTo>
                    <a:pt x="2632" y="6140"/>
                    <a:pt x="2718" y="6039"/>
                    <a:pt x="2905" y="5924"/>
                  </a:cubicBezTo>
                  <a:cubicBezTo>
                    <a:pt x="3124" y="5810"/>
                    <a:pt x="3232" y="5726"/>
                    <a:pt x="3232" y="5674"/>
                  </a:cubicBezTo>
                  <a:lnTo>
                    <a:pt x="3186" y="5331"/>
                  </a:lnTo>
                  <a:cubicBezTo>
                    <a:pt x="3186" y="5120"/>
                    <a:pt x="3295" y="4992"/>
                    <a:pt x="3513" y="4948"/>
                  </a:cubicBezTo>
                  <a:cubicBezTo>
                    <a:pt x="3747" y="4913"/>
                    <a:pt x="3873" y="4860"/>
                    <a:pt x="3888" y="4790"/>
                  </a:cubicBezTo>
                  <a:cubicBezTo>
                    <a:pt x="3810" y="4561"/>
                    <a:pt x="3763" y="4385"/>
                    <a:pt x="3747" y="4262"/>
                  </a:cubicBezTo>
                  <a:cubicBezTo>
                    <a:pt x="3763" y="4042"/>
                    <a:pt x="3873" y="3928"/>
                    <a:pt x="4076" y="3919"/>
                  </a:cubicBezTo>
                  <a:cubicBezTo>
                    <a:pt x="4341" y="3901"/>
                    <a:pt x="4544" y="3778"/>
                    <a:pt x="4684" y="3549"/>
                  </a:cubicBezTo>
                  <a:cubicBezTo>
                    <a:pt x="4762" y="3391"/>
                    <a:pt x="4981" y="3308"/>
                    <a:pt x="5339" y="3299"/>
                  </a:cubicBezTo>
                  <a:cubicBezTo>
                    <a:pt x="5651" y="3272"/>
                    <a:pt x="5823" y="3171"/>
                    <a:pt x="5854" y="2995"/>
                  </a:cubicBezTo>
                  <a:lnTo>
                    <a:pt x="5831" y="2560"/>
                  </a:lnTo>
                  <a:cubicBezTo>
                    <a:pt x="5956" y="2085"/>
                    <a:pt x="6042" y="1781"/>
                    <a:pt x="6088" y="1649"/>
                  </a:cubicBezTo>
                  <a:cubicBezTo>
                    <a:pt x="6322" y="1280"/>
                    <a:pt x="6697" y="1060"/>
                    <a:pt x="7212" y="990"/>
                  </a:cubicBezTo>
                  <a:cubicBezTo>
                    <a:pt x="7400" y="963"/>
                    <a:pt x="7517" y="849"/>
                    <a:pt x="7563" y="646"/>
                  </a:cubicBezTo>
                  <a:cubicBezTo>
                    <a:pt x="7626" y="515"/>
                    <a:pt x="7673" y="400"/>
                    <a:pt x="7704" y="303"/>
                  </a:cubicBezTo>
                  <a:lnTo>
                    <a:pt x="20510" y="0"/>
                  </a:lnTo>
                  <a:cubicBezTo>
                    <a:pt x="20510" y="44"/>
                    <a:pt x="20611" y="119"/>
                    <a:pt x="20814" y="224"/>
                  </a:cubicBezTo>
                  <a:cubicBezTo>
                    <a:pt x="20923" y="259"/>
                    <a:pt x="21033" y="290"/>
                    <a:pt x="21142" y="316"/>
                  </a:cubicBezTo>
                  <a:lnTo>
                    <a:pt x="20205" y="13168"/>
                  </a:lnTo>
                  <a:cubicBezTo>
                    <a:pt x="20127" y="13943"/>
                    <a:pt x="20190" y="14690"/>
                    <a:pt x="20393" y="15412"/>
                  </a:cubicBezTo>
                  <a:cubicBezTo>
                    <a:pt x="20517" y="15825"/>
                    <a:pt x="20682" y="16392"/>
                    <a:pt x="20884" y="17114"/>
                  </a:cubicBezTo>
                  <a:cubicBezTo>
                    <a:pt x="21087" y="17835"/>
                    <a:pt x="21321" y="18926"/>
                    <a:pt x="21586" y="20386"/>
                  </a:cubicBezTo>
                  <a:lnTo>
                    <a:pt x="21352" y="20360"/>
                  </a:lnTo>
                  <a:cubicBezTo>
                    <a:pt x="21196" y="20360"/>
                    <a:pt x="21118" y="20391"/>
                    <a:pt x="21118" y="20452"/>
                  </a:cubicBezTo>
                  <a:cubicBezTo>
                    <a:pt x="21118" y="20487"/>
                    <a:pt x="21134" y="20518"/>
                    <a:pt x="21165" y="20544"/>
                  </a:cubicBezTo>
                  <a:cubicBezTo>
                    <a:pt x="21181" y="20571"/>
                    <a:pt x="21188" y="20598"/>
                    <a:pt x="21188" y="20624"/>
                  </a:cubicBezTo>
                  <a:cubicBezTo>
                    <a:pt x="21188" y="20694"/>
                    <a:pt x="21079" y="20738"/>
                    <a:pt x="20861" y="20755"/>
                  </a:cubicBezTo>
                  <a:lnTo>
                    <a:pt x="20533" y="20703"/>
                  </a:lnTo>
                  <a:cubicBezTo>
                    <a:pt x="20549" y="20650"/>
                    <a:pt x="20541" y="20598"/>
                    <a:pt x="20510" y="20544"/>
                  </a:cubicBezTo>
                  <a:cubicBezTo>
                    <a:pt x="20463" y="20492"/>
                    <a:pt x="20384" y="20465"/>
                    <a:pt x="20276" y="20465"/>
                  </a:cubicBezTo>
                  <a:cubicBezTo>
                    <a:pt x="20150" y="20465"/>
                    <a:pt x="20049" y="20496"/>
                    <a:pt x="19971" y="20558"/>
                  </a:cubicBezTo>
                  <a:cubicBezTo>
                    <a:pt x="19862" y="20619"/>
                    <a:pt x="19721" y="20646"/>
                    <a:pt x="19549" y="20637"/>
                  </a:cubicBezTo>
                  <a:cubicBezTo>
                    <a:pt x="19253" y="20637"/>
                    <a:pt x="19058" y="20598"/>
                    <a:pt x="18964" y="20518"/>
                  </a:cubicBezTo>
                  <a:cubicBezTo>
                    <a:pt x="18855" y="20421"/>
                    <a:pt x="18746" y="20373"/>
                    <a:pt x="18637" y="20373"/>
                  </a:cubicBezTo>
                  <a:cubicBezTo>
                    <a:pt x="18527" y="20373"/>
                    <a:pt x="18277" y="20430"/>
                    <a:pt x="17888" y="20544"/>
                  </a:cubicBezTo>
                  <a:cubicBezTo>
                    <a:pt x="17466" y="20668"/>
                    <a:pt x="17232" y="20729"/>
                    <a:pt x="17186" y="20729"/>
                  </a:cubicBezTo>
                  <a:cubicBezTo>
                    <a:pt x="16826" y="20747"/>
                    <a:pt x="16530" y="20773"/>
                    <a:pt x="16296" y="20808"/>
                  </a:cubicBezTo>
                  <a:cubicBezTo>
                    <a:pt x="15952" y="20861"/>
                    <a:pt x="15616" y="20993"/>
                    <a:pt x="15289" y="21204"/>
                  </a:cubicBezTo>
                  <a:cubicBezTo>
                    <a:pt x="15196" y="21222"/>
                    <a:pt x="15047" y="21296"/>
                    <a:pt x="14844" y="21428"/>
                  </a:cubicBezTo>
                  <a:cubicBezTo>
                    <a:pt x="14688" y="21543"/>
                    <a:pt x="14571" y="21600"/>
                    <a:pt x="14493" y="21600"/>
                  </a:cubicBezTo>
                  <a:cubicBezTo>
                    <a:pt x="14384" y="21565"/>
                    <a:pt x="14306" y="21547"/>
                    <a:pt x="14259" y="21547"/>
                  </a:cubicBezTo>
                  <a:cubicBezTo>
                    <a:pt x="14259" y="21547"/>
                    <a:pt x="14212" y="21547"/>
                    <a:pt x="14212" y="21547"/>
                  </a:cubicBezTo>
                  <a:close/>
                  <a:moveTo>
                    <a:pt x="14212" y="2154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3" name="AutoShape 120"/>
            <p:cNvSpPr>
              <a:spLocks/>
            </p:cNvSpPr>
            <p:nvPr/>
          </p:nvSpPr>
          <p:spPr bwMode="auto">
            <a:xfrm>
              <a:off x="6261834" y="4768144"/>
              <a:ext cx="733594" cy="742783"/>
            </a:xfrm>
            <a:custGeom>
              <a:avLst/>
              <a:gdLst/>
              <a:ahLst/>
              <a:cxnLst/>
              <a:rect l="0" t="0" r="r" b="b"/>
              <a:pathLst>
                <a:path w="21596" h="21594">
                  <a:moveTo>
                    <a:pt x="15333" y="21476"/>
                  </a:moveTo>
                  <a:cubicBezTo>
                    <a:pt x="15269" y="21436"/>
                    <a:pt x="15155" y="21468"/>
                    <a:pt x="14990" y="21570"/>
                  </a:cubicBezTo>
                  <a:cubicBezTo>
                    <a:pt x="14954" y="21594"/>
                    <a:pt x="14906" y="21600"/>
                    <a:pt x="14846" y="21588"/>
                  </a:cubicBezTo>
                  <a:cubicBezTo>
                    <a:pt x="14782" y="21568"/>
                    <a:pt x="14732" y="21531"/>
                    <a:pt x="14696" y="21476"/>
                  </a:cubicBezTo>
                  <a:cubicBezTo>
                    <a:pt x="14664" y="21424"/>
                    <a:pt x="14584" y="21359"/>
                    <a:pt x="14455" y="21280"/>
                  </a:cubicBezTo>
                  <a:lnTo>
                    <a:pt x="14281" y="21179"/>
                  </a:lnTo>
                  <a:cubicBezTo>
                    <a:pt x="13856" y="21171"/>
                    <a:pt x="13588" y="21157"/>
                    <a:pt x="13476" y="21137"/>
                  </a:cubicBezTo>
                  <a:cubicBezTo>
                    <a:pt x="13404" y="21126"/>
                    <a:pt x="13333" y="21076"/>
                    <a:pt x="13265" y="20989"/>
                  </a:cubicBezTo>
                  <a:cubicBezTo>
                    <a:pt x="13189" y="20882"/>
                    <a:pt x="13137" y="20813"/>
                    <a:pt x="13109" y="20781"/>
                  </a:cubicBezTo>
                  <a:cubicBezTo>
                    <a:pt x="13085" y="20738"/>
                    <a:pt x="13031" y="20718"/>
                    <a:pt x="12947" y="20722"/>
                  </a:cubicBezTo>
                  <a:cubicBezTo>
                    <a:pt x="12855" y="20738"/>
                    <a:pt x="12795" y="20746"/>
                    <a:pt x="12766" y="20746"/>
                  </a:cubicBezTo>
                  <a:cubicBezTo>
                    <a:pt x="12734" y="20746"/>
                    <a:pt x="12702" y="20730"/>
                    <a:pt x="12670" y="20699"/>
                  </a:cubicBezTo>
                  <a:cubicBezTo>
                    <a:pt x="12622" y="20647"/>
                    <a:pt x="12586" y="20607"/>
                    <a:pt x="12562" y="20580"/>
                  </a:cubicBezTo>
                  <a:cubicBezTo>
                    <a:pt x="12510" y="20525"/>
                    <a:pt x="12386" y="20495"/>
                    <a:pt x="12189" y="20491"/>
                  </a:cubicBezTo>
                  <a:cubicBezTo>
                    <a:pt x="12133" y="20491"/>
                    <a:pt x="12093" y="20477"/>
                    <a:pt x="12069" y="20449"/>
                  </a:cubicBezTo>
                  <a:cubicBezTo>
                    <a:pt x="12037" y="20422"/>
                    <a:pt x="12023" y="20378"/>
                    <a:pt x="12027" y="20319"/>
                  </a:cubicBezTo>
                  <a:cubicBezTo>
                    <a:pt x="12027" y="20275"/>
                    <a:pt x="12003" y="20250"/>
                    <a:pt x="11955" y="20242"/>
                  </a:cubicBezTo>
                  <a:cubicBezTo>
                    <a:pt x="11911" y="20230"/>
                    <a:pt x="11887" y="20208"/>
                    <a:pt x="11883" y="20177"/>
                  </a:cubicBezTo>
                  <a:cubicBezTo>
                    <a:pt x="11887" y="20030"/>
                    <a:pt x="11869" y="19880"/>
                    <a:pt x="11829" y="19726"/>
                  </a:cubicBezTo>
                  <a:cubicBezTo>
                    <a:pt x="11809" y="19670"/>
                    <a:pt x="11737" y="19556"/>
                    <a:pt x="11612" y="19382"/>
                  </a:cubicBezTo>
                  <a:cubicBezTo>
                    <a:pt x="11492" y="19220"/>
                    <a:pt x="11430" y="19123"/>
                    <a:pt x="11426" y="19091"/>
                  </a:cubicBezTo>
                  <a:cubicBezTo>
                    <a:pt x="11422" y="19060"/>
                    <a:pt x="11426" y="18994"/>
                    <a:pt x="11438" y="18896"/>
                  </a:cubicBezTo>
                  <a:cubicBezTo>
                    <a:pt x="11458" y="18789"/>
                    <a:pt x="11468" y="18731"/>
                    <a:pt x="11468" y="18724"/>
                  </a:cubicBezTo>
                  <a:cubicBezTo>
                    <a:pt x="11468" y="18716"/>
                    <a:pt x="11440" y="18694"/>
                    <a:pt x="11384" y="18658"/>
                  </a:cubicBezTo>
                  <a:cubicBezTo>
                    <a:pt x="11332" y="18631"/>
                    <a:pt x="11324" y="18595"/>
                    <a:pt x="11360" y="18552"/>
                  </a:cubicBezTo>
                  <a:cubicBezTo>
                    <a:pt x="11404" y="18512"/>
                    <a:pt x="11414" y="18451"/>
                    <a:pt x="11390" y="18368"/>
                  </a:cubicBezTo>
                  <a:lnTo>
                    <a:pt x="11342" y="18255"/>
                  </a:lnTo>
                  <a:cubicBezTo>
                    <a:pt x="11350" y="18136"/>
                    <a:pt x="11306" y="18051"/>
                    <a:pt x="11210" y="18000"/>
                  </a:cubicBezTo>
                  <a:cubicBezTo>
                    <a:pt x="11097" y="17961"/>
                    <a:pt x="11027" y="17935"/>
                    <a:pt x="10999" y="17923"/>
                  </a:cubicBezTo>
                  <a:cubicBezTo>
                    <a:pt x="10971" y="17915"/>
                    <a:pt x="10929" y="17832"/>
                    <a:pt x="10873" y="17674"/>
                  </a:cubicBezTo>
                  <a:cubicBezTo>
                    <a:pt x="10797" y="17472"/>
                    <a:pt x="10749" y="17356"/>
                    <a:pt x="10729" y="17324"/>
                  </a:cubicBezTo>
                  <a:cubicBezTo>
                    <a:pt x="10697" y="17233"/>
                    <a:pt x="10591" y="17104"/>
                    <a:pt x="10410" y="16938"/>
                  </a:cubicBezTo>
                  <a:cubicBezTo>
                    <a:pt x="10282" y="16808"/>
                    <a:pt x="10176" y="16711"/>
                    <a:pt x="10092" y="16648"/>
                  </a:cubicBezTo>
                  <a:cubicBezTo>
                    <a:pt x="10052" y="16608"/>
                    <a:pt x="10028" y="16539"/>
                    <a:pt x="10020" y="16440"/>
                  </a:cubicBezTo>
                  <a:cubicBezTo>
                    <a:pt x="10008" y="16310"/>
                    <a:pt x="9994" y="16211"/>
                    <a:pt x="9977" y="16144"/>
                  </a:cubicBezTo>
                  <a:cubicBezTo>
                    <a:pt x="9970" y="16080"/>
                    <a:pt x="9931" y="15993"/>
                    <a:pt x="9863" y="15883"/>
                  </a:cubicBezTo>
                  <a:cubicBezTo>
                    <a:pt x="9791" y="15748"/>
                    <a:pt x="9739" y="15624"/>
                    <a:pt x="9707" y="15509"/>
                  </a:cubicBezTo>
                  <a:cubicBezTo>
                    <a:pt x="9675" y="15378"/>
                    <a:pt x="9621" y="15260"/>
                    <a:pt x="9545" y="15153"/>
                  </a:cubicBezTo>
                  <a:cubicBezTo>
                    <a:pt x="9473" y="15070"/>
                    <a:pt x="9427" y="15011"/>
                    <a:pt x="9406" y="14975"/>
                  </a:cubicBezTo>
                  <a:cubicBezTo>
                    <a:pt x="9362" y="14865"/>
                    <a:pt x="9326" y="14778"/>
                    <a:pt x="9298" y="14714"/>
                  </a:cubicBezTo>
                  <a:cubicBezTo>
                    <a:pt x="9238" y="14600"/>
                    <a:pt x="9184" y="14519"/>
                    <a:pt x="9136" y="14471"/>
                  </a:cubicBezTo>
                  <a:cubicBezTo>
                    <a:pt x="9044" y="14400"/>
                    <a:pt x="8930" y="14299"/>
                    <a:pt x="8793" y="14169"/>
                  </a:cubicBezTo>
                  <a:cubicBezTo>
                    <a:pt x="8617" y="13999"/>
                    <a:pt x="8511" y="13882"/>
                    <a:pt x="8475" y="13819"/>
                  </a:cubicBezTo>
                  <a:cubicBezTo>
                    <a:pt x="8443" y="13748"/>
                    <a:pt x="8383" y="13666"/>
                    <a:pt x="8295" y="13576"/>
                  </a:cubicBezTo>
                  <a:lnTo>
                    <a:pt x="8180" y="13439"/>
                  </a:lnTo>
                  <a:lnTo>
                    <a:pt x="7904" y="13576"/>
                  </a:lnTo>
                  <a:cubicBezTo>
                    <a:pt x="7860" y="13520"/>
                    <a:pt x="7802" y="13475"/>
                    <a:pt x="7730" y="13439"/>
                  </a:cubicBezTo>
                  <a:cubicBezTo>
                    <a:pt x="7686" y="13419"/>
                    <a:pt x="7589" y="13417"/>
                    <a:pt x="7441" y="13433"/>
                  </a:cubicBezTo>
                  <a:lnTo>
                    <a:pt x="7231" y="13463"/>
                  </a:lnTo>
                  <a:lnTo>
                    <a:pt x="6918" y="13220"/>
                  </a:lnTo>
                  <a:cubicBezTo>
                    <a:pt x="6786" y="13354"/>
                    <a:pt x="6664" y="13429"/>
                    <a:pt x="6552" y="13445"/>
                  </a:cubicBezTo>
                  <a:cubicBezTo>
                    <a:pt x="6439" y="13465"/>
                    <a:pt x="6361" y="13485"/>
                    <a:pt x="6317" y="13504"/>
                  </a:cubicBezTo>
                  <a:cubicBezTo>
                    <a:pt x="6237" y="13548"/>
                    <a:pt x="6171" y="13619"/>
                    <a:pt x="6119" y="13718"/>
                  </a:cubicBezTo>
                  <a:cubicBezTo>
                    <a:pt x="6063" y="13833"/>
                    <a:pt x="5953" y="14009"/>
                    <a:pt x="5788" y="14246"/>
                  </a:cubicBezTo>
                  <a:cubicBezTo>
                    <a:pt x="5628" y="14475"/>
                    <a:pt x="5504" y="14645"/>
                    <a:pt x="5416" y="14756"/>
                  </a:cubicBezTo>
                  <a:cubicBezTo>
                    <a:pt x="5347" y="14843"/>
                    <a:pt x="5277" y="14890"/>
                    <a:pt x="5205" y="14898"/>
                  </a:cubicBezTo>
                  <a:cubicBezTo>
                    <a:pt x="5161" y="14898"/>
                    <a:pt x="5093" y="14888"/>
                    <a:pt x="5001" y="14869"/>
                  </a:cubicBezTo>
                  <a:cubicBezTo>
                    <a:pt x="4937" y="14845"/>
                    <a:pt x="4871" y="14793"/>
                    <a:pt x="4802" y="14714"/>
                  </a:cubicBezTo>
                  <a:cubicBezTo>
                    <a:pt x="4746" y="14651"/>
                    <a:pt x="4712" y="14592"/>
                    <a:pt x="4700" y="14536"/>
                  </a:cubicBezTo>
                  <a:cubicBezTo>
                    <a:pt x="4696" y="14501"/>
                    <a:pt x="4644" y="14481"/>
                    <a:pt x="4544" y="14477"/>
                  </a:cubicBezTo>
                  <a:lnTo>
                    <a:pt x="4388" y="14471"/>
                  </a:lnTo>
                  <a:cubicBezTo>
                    <a:pt x="4316" y="14329"/>
                    <a:pt x="4263" y="14246"/>
                    <a:pt x="4231" y="14222"/>
                  </a:cubicBezTo>
                  <a:cubicBezTo>
                    <a:pt x="4223" y="14214"/>
                    <a:pt x="4175" y="14216"/>
                    <a:pt x="4087" y="14228"/>
                  </a:cubicBezTo>
                  <a:cubicBezTo>
                    <a:pt x="4003" y="14236"/>
                    <a:pt x="3933" y="14220"/>
                    <a:pt x="3877" y="14181"/>
                  </a:cubicBezTo>
                  <a:cubicBezTo>
                    <a:pt x="3837" y="14149"/>
                    <a:pt x="3783" y="14062"/>
                    <a:pt x="3715" y="13920"/>
                  </a:cubicBezTo>
                  <a:cubicBezTo>
                    <a:pt x="3642" y="13789"/>
                    <a:pt x="3568" y="13700"/>
                    <a:pt x="3492" y="13653"/>
                  </a:cubicBezTo>
                  <a:cubicBezTo>
                    <a:pt x="3292" y="13538"/>
                    <a:pt x="3130" y="13364"/>
                    <a:pt x="3005" y="13131"/>
                  </a:cubicBezTo>
                  <a:cubicBezTo>
                    <a:pt x="2909" y="12949"/>
                    <a:pt x="2885" y="12718"/>
                    <a:pt x="2933" y="12437"/>
                  </a:cubicBezTo>
                  <a:cubicBezTo>
                    <a:pt x="2941" y="12370"/>
                    <a:pt x="2927" y="12302"/>
                    <a:pt x="2891" y="12235"/>
                  </a:cubicBezTo>
                  <a:cubicBezTo>
                    <a:pt x="2831" y="12129"/>
                    <a:pt x="2791" y="12053"/>
                    <a:pt x="2771" y="12010"/>
                  </a:cubicBezTo>
                  <a:cubicBezTo>
                    <a:pt x="2747" y="11943"/>
                    <a:pt x="2727" y="11840"/>
                    <a:pt x="2711" y="11701"/>
                  </a:cubicBezTo>
                  <a:cubicBezTo>
                    <a:pt x="2699" y="11591"/>
                    <a:pt x="2677" y="11504"/>
                    <a:pt x="2645" y="11441"/>
                  </a:cubicBezTo>
                  <a:cubicBezTo>
                    <a:pt x="2613" y="11397"/>
                    <a:pt x="2466" y="11271"/>
                    <a:pt x="2206" y="11061"/>
                  </a:cubicBezTo>
                  <a:cubicBezTo>
                    <a:pt x="1949" y="10867"/>
                    <a:pt x="1803" y="10733"/>
                    <a:pt x="1767" y="10658"/>
                  </a:cubicBezTo>
                  <a:cubicBezTo>
                    <a:pt x="1727" y="10587"/>
                    <a:pt x="1655" y="10470"/>
                    <a:pt x="1551" y="10308"/>
                  </a:cubicBezTo>
                  <a:cubicBezTo>
                    <a:pt x="1431" y="10134"/>
                    <a:pt x="1350" y="10011"/>
                    <a:pt x="1310" y="9940"/>
                  </a:cubicBezTo>
                  <a:cubicBezTo>
                    <a:pt x="1286" y="9908"/>
                    <a:pt x="1156" y="9829"/>
                    <a:pt x="920" y="9703"/>
                  </a:cubicBezTo>
                  <a:cubicBezTo>
                    <a:pt x="731" y="9600"/>
                    <a:pt x="635" y="9479"/>
                    <a:pt x="631" y="9341"/>
                  </a:cubicBezTo>
                  <a:cubicBezTo>
                    <a:pt x="619" y="9195"/>
                    <a:pt x="545" y="9058"/>
                    <a:pt x="409" y="8932"/>
                  </a:cubicBezTo>
                  <a:lnTo>
                    <a:pt x="198" y="8778"/>
                  </a:lnTo>
                  <a:lnTo>
                    <a:pt x="0" y="8303"/>
                  </a:lnTo>
                  <a:lnTo>
                    <a:pt x="5878" y="8949"/>
                  </a:lnTo>
                  <a:cubicBezTo>
                    <a:pt x="6031" y="7372"/>
                    <a:pt x="6183" y="5771"/>
                    <a:pt x="6335" y="4146"/>
                  </a:cubicBezTo>
                  <a:cubicBezTo>
                    <a:pt x="6515" y="2196"/>
                    <a:pt x="6652" y="814"/>
                    <a:pt x="6744" y="0"/>
                  </a:cubicBezTo>
                  <a:lnTo>
                    <a:pt x="11432" y="350"/>
                  </a:lnTo>
                  <a:lnTo>
                    <a:pt x="11216" y="4146"/>
                  </a:lnTo>
                  <a:lnTo>
                    <a:pt x="11318" y="4152"/>
                  </a:lnTo>
                  <a:cubicBezTo>
                    <a:pt x="11402" y="4171"/>
                    <a:pt x="11486" y="4258"/>
                    <a:pt x="11570" y="4412"/>
                  </a:cubicBezTo>
                  <a:cubicBezTo>
                    <a:pt x="11654" y="4547"/>
                    <a:pt x="11713" y="4616"/>
                    <a:pt x="11745" y="4620"/>
                  </a:cubicBezTo>
                  <a:cubicBezTo>
                    <a:pt x="11757" y="4620"/>
                    <a:pt x="11785" y="4612"/>
                    <a:pt x="11829" y="4596"/>
                  </a:cubicBezTo>
                  <a:cubicBezTo>
                    <a:pt x="11869" y="4577"/>
                    <a:pt x="11897" y="4567"/>
                    <a:pt x="11913" y="4567"/>
                  </a:cubicBezTo>
                  <a:cubicBezTo>
                    <a:pt x="11945" y="4571"/>
                    <a:pt x="11967" y="4573"/>
                    <a:pt x="11979" y="4573"/>
                  </a:cubicBezTo>
                  <a:cubicBezTo>
                    <a:pt x="11991" y="4577"/>
                    <a:pt x="12019" y="4594"/>
                    <a:pt x="12063" y="4626"/>
                  </a:cubicBezTo>
                  <a:lnTo>
                    <a:pt x="12135" y="4626"/>
                  </a:lnTo>
                  <a:cubicBezTo>
                    <a:pt x="12127" y="4594"/>
                    <a:pt x="12137" y="4561"/>
                    <a:pt x="12165" y="4525"/>
                  </a:cubicBezTo>
                  <a:cubicBezTo>
                    <a:pt x="12189" y="4486"/>
                    <a:pt x="12205" y="4460"/>
                    <a:pt x="12213" y="4448"/>
                  </a:cubicBezTo>
                  <a:cubicBezTo>
                    <a:pt x="12362" y="4480"/>
                    <a:pt x="12446" y="4582"/>
                    <a:pt x="12466" y="4756"/>
                  </a:cubicBezTo>
                  <a:cubicBezTo>
                    <a:pt x="12490" y="4927"/>
                    <a:pt x="12548" y="5012"/>
                    <a:pt x="12640" y="5012"/>
                  </a:cubicBezTo>
                  <a:cubicBezTo>
                    <a:pt x="12664" y="5016"/>
                    <a:pt x="12704" y="5012"/>
                    <a:pt x="12760" y="5000"/>
                  </a:cubicBezTo>
                  <a:cubicBezTo>
                    <a:pt x="12821" y="4992"/>
                    <a:pt x="12860" y="4990"/>
                    <a:pt x="12881" y="4994"/>
                  </a:cubicBezTo>
                  <a:cubicBezTo>
                    <a:pt x="12917" y="4994"/>
                    <a:pt x="12949" y="5018"/>
                    <a:pt x="12977" y="5065"/>
                  </a:cubicBezTo>
                  <a:cubicBezTo>
                    <a:pt x="13013" y="5108"/>
                    <a:pt x="13055" y="5130"/>
                    <a:pt x="13103" y="5130"/>
                  </a:cubicBezTo>
                  <a:lnTo>
                    <a:pt x="13470" y="5118"/>
                  </a:lnTo>
                  <a:cubicBezTo>
                    <a:pt x="13518" y="5118"/>
                    <a:pt x="13558" y="5156"/>
                    <a:pt x="13590" y="5231"/>
                  </a:cubicBezTo>
                  <a:cubicBezTo>
                    <a:pt x="13622" y="5302"/>
                    <a:pt x="13652" y="5338"/>
                    <a:pt x="13680" y="5338"/>
                  </a:cubicBezTo>
                  <a:cubicBezTo>
                    <a:pt x="13708" y="5306"/>
                    <a:pt x="13742" y="5274"/>
                    <a:pt x="13782" y="5243"/>
                  </a:cubicBezTo>
                  <a:cubicBezTo>
                    <a:pt x="13870" y="5180"/>
                    <a:pt x="13983" y="5152"/>
                    <a:pt x="14119" y="5160"/>
                  </a:cubicBezTo>
                  <a:cubicBezTo>
                    <a:pt x="14139" y="5160"/>
                    <a:pt x="14189" y="5170"/>
                    <a:pt x="14269" y="5190"/>
                  </a:cubicBezTo>
                  <a:lnTo>
                    <a:pt x="14251" y="5427"/>
                  </a:lnTo>
                  <a:cubicBezTo>
                    <a:pt x="14399" y="5474"/>
                    <a:pt x="14469" y="5547"/>
                    <a:pt x="14461" y="5646"/>
                  </a:cubicBezTo>
                  <a:cubicBezTo>
                    <a:pt x="14457" y="5721"/>
                    <a:pt x="14526" y="5761"/>
                    <a:pt x="14666" y="5765"/>
                  </a:cubicBezTo>
                  <a:cubicBezTo>
                    <a:pt x="14714" y="5769"/>
                    <a:pt x="14764" y="5727"/>
                    <a:pt x="14816" y="5640"/>
                  </a:cubicBezTo>
                  <a:cubicBezTo>
                    <a:pt x="14872" y="5549"/>
                    <a:pt x="14906" y="5504"/>
                    <a:pt x="14918" y="5504"/>
                  </a:cubicBezTo>
                  <a:cubicBezTo>
                    <a:pt x="14978" y="5508"/>
                    <a:pt x="15034" y="5559"/>
                    <a:pt x="15086" y="5658"/>
                  </a:cubicBezTo>
                  <a:cubicBezTo>
                    <a:pt x="15139" y="5753"/>
                    <a:pt x="15199" y="5802"/>
                    <a:pt x="15267" y="5806"/>
                  </a:cubicBezTo>
                  <a:cubicBezTo>
                    <a:pt x="15311" y="5806"/>
                    <a:pt x="15355" y="5796"/>
                    <a:pt x="15399" y="5776"/>
                  </a:cubicBezTo>
                  <a:cubicBezTo>
                    <a:pt x="15447" y="5757"/>
                    <a:pt x="15497" y="5747"/>
                    <a:pt x="15549" y="5747"/>
                  </a:cubicBezTo>
                  <a:cubicBezTo>
                    <a:pt x="15633" y="5751"/>
                    <a:pt x="15676" y="5798"/>
                    <a:pt x="15676" y="5889"/>
                  </a:cubicBezTo>
                  <a:cubicBezTo>
                    <a:pt x="15684" y="5980"/>
                    <a:pt x="15702" y="6026"/>
                    <a:pt x="15730" y="6026"/>
                  </a:cubicBezTo>
                  <a:cubicBezTo>
                    <a:pt x="15758" y="6026"/>
                    <a:pt x="15786" y="6016"/>
                    <a:pt x="15814" y="5996"/>
                  </a:cubicBezTo>
                  <a:cubicBezTo>
                    <a:pt x="15838" y="5980"/>
                    <a:pt x="15850" y="5968"/>
                    <a:pt x="15850" y="5960"/>
                  </a:cubicBezTo>
                  <a:cubicBezTo>
                    <a:pt x="15850" y="5941"/>
                    <a:pt x="15842" y="5915"/>
                    <a:pt x="15826" y="5883"/>
                  </a:cubicBezTo>
                  <a:cubicBezTo>
                    <a:pt x="15818" y="5852"/>
                    <a:pt x="15814" y="5828"/>
                    <a:pt x="15814" y="5812"/>
                  </a:cubicBezTo>
                  <a:lnTo>
                    <a:pt x="16066" y="5593"/>
                  </a:lnTo>
                  <a:cubicBezTo>
                    <a:pt x="16070" y="5593"/>
                    <a:pt x="16102" y="5626"/>
                    <a:pt x="16162" y="5694"/>
                  </a:cubicBezTo>
                  <a:cubicBezTo>
                    <a:pt x="16226" y="5761"/>
                    <a:pt x="16319" y="5796"/>
                    <a:pt x="16439" y="5800"/>
                  </a:cubicBezTo>
                  <a:cubicBezTo>
                    <a:pt x="16475" y="5800"/>
                    <a:pt x="16493" y="5786"/>
                    <a:pt x="16493" y="5759"/>
                  </a:cubicBezTo>
                  <a:cubicBezTo>
                    <a:pt x="16497" y="5727"/>
                    <a:pt x="16519" y="5711"/>
                    <a:pt x="16559" y="5711"/>
                  </a:cubicBezTo>
                  <a:cubicBezTo>
                    <a:pt x="16591" y="5719"/>
                    <a:pt x="16677" y="5776"/>
                    <a:pt x="16818" y="5883"/>
                  </a:cubicBezTo>
                  <a:cubicBezTo>
                    <a:pt x="16946" y="5990"/>
                    <a:pt x="17006" y="6071"/>
                    <a:pt x="16998" y="6126"/>
                  </a:cubicBezTo>
                  <a:lnTo>
                    <a:pt x="17148" y="6055"/>
                  </a:lnTo>
                  <a:cubicBezTo>
                    <a:pt x="17276" y="6012"/>
                    <a:pt x="17374" y="5960"/>
                    <a:pt x="17443" y="5901"/>
                  </a:cubicBezTo>
                  <a:cubicBezTo>
                    <a:pt x="17571" y="5802"/>
                    <a:pt x="17641" y="5753"/>
                    <a:pt x="17653" y="5753"/>
                  </a:cubicBezTo>
                  <a:cubicBezTo>
                    <a:pt x="17789" y="5848"/>
                    <a:pt x="17859" y="5895"/>
                    <a:pt x="17863" y="5895"/>
                  </a:cubicBezTo>
                  <a:cubicBezTo>
                    <a:pt x="17927" y="5895"/>
                    <a:pt x="17995" y="5850"/>
                    <a:pt x="18068" y="5759"/>
                  </a:cubicBezTo>
                  <a:cubicBezTo>
                    <a:pt x="18144" y="5656"/>
                    <a:pt x="18192" y="5605"/>
                    <a:pt x="18212" y="5605"/>
                  </a:cubicBezTo>
                  <a:cubicBezTo>
                    <a:pt x="18288" y="5613"/>
                    <a:pt x="18332" y="5654"/>
                    <a:pt x="18344" y="5729"/>
                  </a:cubicBezTo>
                  <a:cubicBezTo>
                    <a:pt x="18356" y="5804"/>
                    <a:pt x="18404" y="5844"/>
                    <a:pt x="18488" y="5848"/>
                  </a:cubicBezTo>
                  <a:cubicBezTo>
                    <a:pt x="18581" y="5848"/>
                    <a:pt x="18657" y="5810"/>
                    <a:pt x="18717" y="5735"/>
                  </a:cubicBezTo>
                  <a:cubicBezTo>
                    <a:pt x="18777" y="5660"/>
                    <a:pt x="18825" y="5622"/>
                    <a:pt x="18861" y="5622"/>
                  </a:cubicBezTo>
                  <a:cubicBezTo>
                    <a:pt x="18869" y="5622"/>
                    <a:pt x="19099" y="5769"/>
                    <a:pt x="19552" y="6061"/>
                  </a:cubicBezTo>
                  <a:cubicBezTo>
                    <a:pt x="19681" y="6136"/>
                    <a:pt x="19839" y="6221"/>
                    <a:pt x="20027" y="6316"/>
                  </a:cubicBezTo>
                  <a:cubicBezTo>
                    <a:pt x="20091" y="6348"/>
                    <a:pt x="20157" y="6381"/>
                    <a:pt x="20225" y="6417"/>
                  </a:cubicBezTo>
                  <a:cubicBezTo>
                    <a:pt x="20302" y="6381"/>
                    <a:pt x="20398" y="6364"/>
                    <a:pt x="20514" y="6364"/>
                  </a:cubicBezTo>
                  <a:cubicBezTo>
                    <a:pt x="20574" y="6372"/>
                    <a:pt x="20610" y="6378"/>
                    <a:pt x="20622" y="6381"/>
                  </a:cubicBezTo>
                  <a:cubicBezTo>
                    <a:pt x="20638" y="6385"/>
                    <a:pt x="20670" y="6397"/>
                    <a:pt x="20718" y="6417"/>
                  </a:cubicBezTo>
                  <a:lnTo>
                    <a:pt x="20712" y="7508"/>
                  </a:lnTo>
                  <a:lnTo>
                    <a:pt x="20706" y="9483"/>
                  </a:lnTo>
                  <a:cubicBezTo>
                    <a:pt x="20730" y="9511"/>
                    <a:pt x="20786" y="9561"/>
                    <a:pt x="20875" y="9632"/>
                  </a:cubicBezTo>
                  <a:cubicBezTo>
                    <a:pt x="20951" y="9707"/>
                    <a:pt x="21007" y="9768"/>
                    <a:pt x="21043" y="9816"/>
                  </a:cubicBezTo>
                  <a:cubicBezTo>
                    <a:pt x="21071" y="9867"/>
                    <a:pt x="21093" y="9952"/>
                    <a:pt x="21109" y="10070"/>
                  </a:cubicBezTo>
                  <a:cubicBezTo>
                    <a:pt x="21109" y="10138"/>
                    <a:pt x="21115" y="10225"/>
                    <a:pt x="21127" y="10332"/>
                  </a:cubicBezTo>
                  <a:cubicBezTo>
                    <a:pt x="21127" y="10363"/>
                    <a:pt x="21151" y="10385"/>
                    <a:pt x="21199" y="10397"/>
                  </a:cubicBezTo>
                  <a:cubicBezTo>
                    <a:pt x="21243" y="10405"/>
                    <a:pt x="21269" y="10436"/>
                    <a:pt x="21277" y="10492"/>
                  </a:cubicBezTo>
                  <a:cubicBezTo>
                    <a:pt x="21281" y="10496"/>
                    <a:pt x="21297" y="10533"/>
                    <a:pt x="21326" y="10604"/>
                  </a:cubicBezTo>
                  <a:cubicBezTo>
                    <a:pt x="21357" y="10668"/>
                    <a:pt x="21376" y="10715"/>
                    <a:pt x="21380" y="10747"/>
                  </a:cubicBezTo>
                  <a:cubicBezTo>
                    <a:pt x="21384" y="10830"/>
                    <a:pt x="21420" y="10913"/>
                    <a:pt x="21488" y="10996"/>
                  </a:cubicBezTo>
                  <a:cubicBezTo>
                    <a:pt x="21564" y="11071"/>
                    <a:pt x="21600" y="11134"/>
                    <a:pt x="21596" y="11185"/>
                  </a:cubicBezTo>
                  <a:cubicBezTo>
                    <a:pt x="21596" y="11276"/>
                    <a:pt x="21580" y="11496"/>
                    <a:pt x="21548" y="11844"/>
                  </a:cubicBezTo>
                  <a:cubicBezTo>
                    <a:pt x="21544" y="11868"/>
                    <a:pt x="21504" y="11953"/>
                    <a:pt x="21428" y="12099"/>
                  </a:cubicBezTo>
                  <a:cubicBezTo>
                    <a:pt x="21343" y="12237"/>
                    <a:pt x="21299" y="12340"/>
                    <a:pt x="21295" y="12407"/>
                  </a:cubicBezTo>
                  <a:cubicBezTo>
                    <a:pt x="21295" y="12419"/>
                    <a:pt x="21311" y="12472"/>
                    <a:pt x="21343" y="12567"/>
                  </a:cubicBezTo>
                  <a:cubicBezTo>
                    <a:pt x="21339" y="12587"/>
                    <a:pt x="21318" y="12615"/>
                    <a:pt x="21277" y="12650"/>
                  </a:cubicBezTo>
                  <a:cubicBezTo>
                    <a:pt x="21241" y="12682"/>
                    <a:pt x="21223" y="12729"/>
                    <a:pt x="21223" y="12793"/>
                  </a:cubicBezTo>
                  <a:cubicBezTo>
                    <a:pt x="21219" y="12872"/>
                    <a:pt x="21237" y="12925"/>
                    <a:pt x="21277" y="12953"/>
                  </a:cubicBezTo>
                  <a:cubicBezTo>
                    <a:pt x="21313" y="12976"/>
                    <a:pt x="21330" y="13042"/>
                    <a:pt x="21326" y="13149"/>
                  </a:cubicBezTo>
                  <a:cubicBezTo>
                    <a:pt x="21330" y="13228"/>
                    <a:pt x="21279" y="13352"/>
                    <a:pt x="21175" y="13522"/>
                  </a:cubicBezTo>
                  <a:cubicBezTo>
                    <a:pt x="21063" y="13704"/>
                    <a:pt x="20999" y="13815"/>
                    <a:pt x="20983" y="13854"/>
                  </a:cubicBezTo>
                  <a:lnTo>
                    <a:pt x="20977" y="13854"/>
                  </a:lnTo>
                  <a:cubicBezTo>
                    <a:pt x="20965" y="13902"/>
                    <a:pt x="20973" y="13941"/>
                    <a:pt x="21001" y="13973"/>
                  </a:cubicBezTo>
                  <a:cubicBezTo>
                    <a:pt x="21017" y="13997"/>
                    <a:pt x="21041" y="14026"/>
                    <a:pt x="21073" y="14062"/>
                  </a:cubicBezTo>
                  <a:cubicBezTo>
                    <a:pt x="21045" y="14066"/>
                    <a:pt x="21027" y="14072"/>
                    <a:pt x="21019" y="14080"/>
                  </a:cubicBezTo>
                  <a:cubicBezTo>
                    <a:pt x="20891" y="14115"/>
                    <a:pt x="20813" y="14135"/>
                    <a:pt x="20785" y="14139"/>
                  </a:cubicBezTo>
                  <a:cubicBezTo>
                    <a:pt x="20740" y="14151"/>
                    <a:pt x="20684" y="14179"/>
                    <a:pt x="20616" y="14222"/>
                  </a:cubicBezTo>
                  <a:cubicBezTo>
                    <a:pt x="20544" y="14262"/>
                    <a:pt x="20486" y="14287"/>
                    <a:pt x="20442" y="14299"/>
                  </a:cubicBezTo>
                  <a:cubicBezTo>
                    <a:pt x="20241" y="14339"/>
                    <a:pt x="19997" y="14475"/>
                    <a:pt x="19708" y="14708"/>
                  </a:cubicBezTo>
                  <a:cubicBezTo>
                    <a:pt x="19556" y="14827"/>
                    <a:pt x="19358" y="15001"/>
                    <a:pt x="19114" y="15230"/>
                  </a:cubicBezTo>
                  <a:lnTo>
                    <a:pt x="19077" y="15230"/>
                  </a:lnTo>
                  <a:cubicBezTo>
                    <a:pt x="19073" y="15226"/>
                    <a:pt x="19071" y="15215"/>
                    <a:pt x="19071" y="15195"/>
                  </a:cubicBezTo>
                  <a:cubicBezTo>
                    <a:pt x="19071" y="15191"/>
                    <a:pt x="19194" y="15046"/>
                    <a:pt x="19438" y="14762"/>
                  </a:cubicBezTo>
                  <a:cubicBezTo>
                    <a:pt x="19470" y="14722"/>
                    <a:pt x="19536" y="14665"/>
                    <a:pt x="19636" y="14590"/>
                  </a:cubicBezTo>
                  <a:cubicBezTo>
                    <a:pt x="19741" y="14523"/>
                    <a:pt x="19831" y="14467"/>
                    <a:pt x="19907" y="14424"/>
                  </a:cubicBezTo>
                  <a:cubicBezTo>
                    <a:pt x="19891" y="14404"/>
                    <a:pt x="19871" y="14394"/>
                    <a:pt x="19847" y="14394"/>
                  </a:cubicBezTo>
                  <a:cubicBezTo>
                    <a:pt x="19835" y="14394"/>
                    <a:pt x="19807" y="14402"/>
                    <a:pt x="19763" y="14418"/>
                  </a:cubicBezTo>
                  <a:cubicBezTo>
                    <a:pt x="19703" y="14434"/>
                    <a:pt x="19665" y="14440"/>
                    <a:pt x="19648" y="14435"/>
                  </a:cubicBezTo>
                  <a:cubicBezTo>
                    <a:pt x="19624" y="14435"/>
                    <a:pt x="19600" y="14424"/>
                    <a:pt x="19576" y="14400"/>
                  </a:cubicBezTo>
                  <a:cubicBezTo>
                    <a:pt x="19548" y="14376"/>
                    <a:pt x="19534" y="14360"/>
                    <a:pt x="19534" y="14353"/>
                  </a:cubicBezTo>
                  <a:cubicBezTo>
                    <a:pt x="19534" y="14313"/>
                    <a:pt x="19554" y="14269"/>
                    <a:pt x="19594" y="14222"/>
                  </a:cubicBezTo>
                  <a:cubicBezTo>
                    <a:pt x="19626" y="14175"/>
                    <a:pt x="19642" y="14117"/>
                    <a:pt x="19642" y="14050"/>
                  </a:cubicBezTo>
                  <a:cubicBezTo>
                    <a:pt x="19646" y="13967"/>
                    <a:pt x="19622" y="13926"/>
                    <a:pt x="19570" y="13926"/>
                  </a:cubicBezTo>
                  <a:cubicBezTo>
                    <a:pt x="19518" y="13926"/>
                    <a:pt x="19476" y="13963"/>
                    <a:pt x="19444" y="14038"/>
                  </a:cubicBezTo>
                  <a:cubicBezTo>
                    <a:pt x="19412" y="14117"/>
                    <a:pt x="19360" y="14157"/>
                    <a:pt x="19288" y="14157"/>
                  </a:cubicBezTo>
                  <a:cubicBezTo>
                    <a:pt x="19248" y="14161"/>
                    <a:pt x="19202" y="14147"/>
                    <a:pt x="19149" y="14115"/>
                  </a:cubicBezTo>
                  <a:lnTo>
                    <a:pt x="19095" y="14115"/>
                  </a:lnTo>
                  <a:lnTo>
                    <a:pt x="19089" y="14169"/>
                  </a:lnTo>
                  <a:cubicBezTo>
                    <a:pt x="19085" y="14283"/>
                    <a:pt x="19118" y="14358"/>
                    <a:pt x="19186" y="14394"/>
                  </a:cubicBezTo>
                  <a:cubicBezTo>
                    <a:pt x="19254" y="14430"/>
                    <a:pt x="19288" y="14461"/>
                    <a:pt x="19288" y="14489"/>
                  </a:cubicBezTo>
                  <a:lnTo>
                    <a:pt x="19270" y="14584"/>
                  </a:lnTo>
                  <a:cubicBezTo>
                    <a:pt x="19270" y="14600"/>
                    <a:pt x="19286" y="14611"/>
                    <a:pt x="19318" y="14619"/>
                  </a:cubicBezTo>
                  <a:cubicBezTo>
                    <a:pt x="19346" y="14627"/>
                    <a:pt x="19360" y="14653"/>
                    <a:pt x="19360" y="14697"/>
                  </a:cubicBezTo>
                  <a:cubicBezTo>
                    <a:pt x="19356" y="14768"/>
                    <a:pt x="19250" y="14910"/>
                    <a:pt x="19041" y="15124"/>
                  </a:cubicBezTo>
                  <a:cubicBezTo>
                    <a:pt x="19025" y="15143"/>
                    <a:pt x="18987" y="15161"/>
                    <a:pt x="18927" y="15177"/>
                  </a:cubicBezTo>
                  <a:cubicBezTo>
                    <a:pt x="18883" y="15205"/>
                    <a:pt x="18861" y="15244"/>
                    <a:pt x="18861" y="15295"/>
                  </a:cubicBezTo>
                  <a:cubicBezTo>
                    <a:pt x="18865" y="15347"/>
                    <a:pt x="18855" y="15392"/>
                    <a:pt x="18831" y="15432"/>
                  </a:cubicBezTo>
                  <a:lnTo>
                    <a:pt x="18753" y="15556"/>
                  </a:lnTo>
                  <a:cubicBezTo>
                    <a:pt x="18749" y="15556"/>
                    <a:pt x="18743" y="15560"/>
                    <a:pt x="18735" y="15568"/>
                  </a:cubicBezTo>
                  <a:cubicBezTo>
                    <a:pt x="18302" y="15865"/>
                    <a:pt x="18020" y="16011"/>
                    <a:pt x="17887" y="16007"/>
                  </a:cubicBezTo>
                  <a:cubicBezTo>
                    <a:pt x="17883" y="16007"/>
                    <a:pt x="17869" y="15999"/>
                    <a:pt x="17845" y="15984"/>
                  </a:cubicBezTo>
                  <a:cubicBezTo>
                    <a:pt x="17813" y="15972"/>
                    <a:pt x="17779" y="15964"/>
                    <a:pt x="17743" y="15960"/>
                  </a:cubicBezTo>
                  <a:cubicBezTo>
                    <a:pt x="17695" y="15960"/>
                    <a:pt x="17653" y="15970"/>
                    <a:pt x="17617" y="15990"/>
                  </a:cubicBezTo>
                  <a:cubicBezTo>
                    <a:pt x="17585" y="16013"/>
                    <a:pt x="17563" y="16041"/>
                    <a:pt x="17551" y="16073"/>
                  </a:cubicBezTo>
                  <a:cubicBezTo>
                    <a:pt x="17563" y="16073"/>
                    <a:pt x="17609" y="16073"/>
                    <a:pt x="17689" y="16073"/>
                  </a:cubicBezTo>
                  <a:cubicBezTo>
                    <a:pt x="17749" y="16076"/>
                    <a:pt x="17779" y="16090"/>
                    <a:pt x="17779" y="16114"/>
                  </a:cubicBezTo>
                  <a:cubicBezTo>
                    <a:pt x="17439" y="16300"/>
                    <a:pt x="17208" y="16409"/>
                    <a:pt x="17088" y="16440"/>
                  </a:cubicBezTo>
                  <a:cubicBezTo>
                    <a:pt x="17088" y="16432"/>
                    <a:pt x="17090" y="16424"/>
                    <a:pt x="17094" y="16416"/>
                  </a:cubicBezTo>
                  <a:cubicBezTo>
                    <a:pt x="17098" y="16393"/>
                    <a:pt x="17140" y="16359"/>
                    <a:pt x="17220" y="16316"/>
                  </a:cubicBezTo>
                  <a:cubicBezTo>
                    <a:pt x="17304" y="16272"/>
                    <a:pt x="17354" y="16246"/>
                    <a:pt x="17370" y="16239"/>
                  </a:cubicBezTo>
                  <a:cubicBezTo>
                    <a:pt x="17358" y="16215"/>
                    <a:pt x="17336" y="16203"/>
                    <a:pt x="17304" y="16203"/>
                  </a:cubicBezTo>
                  <a:cubicBezTo>
                    <a:pt x="17280" y="16199"/>
                    <a:pt x="17250" y="16201"/>
                    <a:pt x="17214" y="16209"/>
                  </a:cubicBezTo>
                  <a:cubicBezTo>
                    <a:pt x="17174" y="16225"/>
                    <a:pt x="17148" y="16233"/>
                    <a:pt x="17136" y="16233"/>
                  </a:cubicBezTo>
                  <a:cubicBezTo>
                    <a:pt x="17108" y="16233"/>
                    <a:pt x="17084" y="16207"/>
                    <a:pt x="17064" y="16156"/>
                  </a:cubicBezTo>
                  <a:cubicBezTo>
                    <a:pt x="17048" y="16100"/>
                    <a:pt x="17024" y="16073"/>
                    <a:pt x="16992" y="16073"/>
                  </a:cubicBezTo>
                  <a:cubicBezTo>
                    <a:pt x="16968" y="16073"/>
                    <a:pt x="16948" y="16084"/>
                    <a:pt x="16932" y="16108"/>
                  </a:cubicBezTo>
                  <a:cubicBezTo>
                    <a:pt x="16912" y="16136"/>
                    <a:pt x="16892" y="16150"/>
                    <a:pt x="16872" y="16150"/>
                  </a:cubicBezTo>
                  <a:cubicBezTo>
                    <a:pt x="16860" y="16150"/>
                    <a:pt x="16845" y="16140"/>
                    <a:pt x="16830" y="16120"/>
                  </a:cubicBezTo>
                  <a:cubicBezTo>
                    <a:pt x="16814" y="16104"/>
                    <a:pt x="16799" y="16096"/>
                    <a:pt x="16787" y="16096"/>
                  </a:cubicBezTo>
                  <a:cubicBezTo>
                    <a:pt x="16784" y="16096"/>
                    <a:pt x="16769" y="16102"/>
                    <a:pt x="16745" y="16114"/>
                  </a:cubicBezTo>
                  <a:cubicBezTo>
                    <a:pt x="16745" y="16126"/>
                    <a:pt x="16751" y="16140"/>
                    <a:pt x="16763" y="16156"/>
                  </a:cubicBezTo>
                  <a:cubicBezTo>
                    <a:pt x="16775" y="16171"/>
                    <a:pt x="16781" y="16187"/>
                    <a:pt x="16781" y="16203"/>
                  </a:cubicBezTo>
                  <a:cubicBezTo>
                    <a:pt x="16781" y="16250"/>
                    <a:pt x="16723" y="16274"/>
                    <a:pt x="16607" y="16274"/>
                  </a:cubicBezTo>
                  <a:cubicBezTo>
                    <a:pt x="16551" y="16270"/>
                    <a:pt x="16511" y="16223"/>
                    <a:pt x="16487" y="16132"/>
                  </a:cubicBezTo>
                  <a:cubicBezTo>
                    <a:pt x="16467" y="16041"/>
                    <a:pt x="16433" y="15995"/>
                    <a:pt x="16385" y="15995"/>
                  </a:cubicBezTo>
                  <a:cubicBezTo>
                    <a:pt x="16353" y="15991"/>
                    <a:pt x="16337" y="16023"/>
                    <a:pt x="16337" y="16090"/>
                  </a:cubicBezTo>
                  <a:cubicBezTo>
                    <a:pt x="16337" y="16102"/>
                    <a:pt x="16409" y="16181"/>
                    <a:pt x="16553" y="16328"/>
                  </a:cubicBezTo>
                  <a:cubicBezTo>
                    <a:pt x="16689" y="16478"/>
                    <a:pt x="16757" y="16565"/>
                    <a:pt x="16757" y="16588"/>
                  </a:cubicBezTo>
                  <a:cubicBezTo>
                    <a:pt x="16757" y="16723"/>
                    <a:pt x="16719" y="16812"/>
                    <a:pt x="16643" y="16855"/>
                  </a:cubicBezTo>
                  <a:cubicBezTo>
                    <a:pt x="16467" y="16946"/>
                    <a:pt x="16333" y="17035"/>
                    <a:pt x="16240" y="17122"/>
                  </a:cubicBezTo>
                  <a:cubicBezTo>
                    <a:pt x="16200" y="17162"/>
                    <a:pt x="16092" y="17245"/>
                    <a:pt x="15916" y="17371"/>
                  </a:cubicBezTo>
                  <a:cubicBezTo>
                    <a:pt x="15804" y="17462"/>
                    <a:pt x="15728" y="17545"/>
                    <a:pt x="15688" y="17621"/>
                  </a:cubicBezTo>
                  <a:lnTo>
                    <a:pt x="15669" y="17621"/>
                  </a:lnTo>
                  <a:lnTo>
                    <a:pt x="15676" y="17543"/>
                  </a:lnTo>
                  <a:cubicBezTo>
                    <a:pt x="15696" y="17441"/>
                    <a:pt x="15764" y="17348"/>
                    <a:pt x="15880" y="17265"/>
                  </a:cubicBezTo>
                  <a:cubicBezTo>
                    <a:pt x="16020" y="17162"/>
                    <a:pt x="16100" y="17093"/>
                    <a:pt x="16120" y="17057"/>
                  </a:cubicBezTo>
                  <a:cubicBezTo>
                    <a:pt x="16148" y="17006"/>
                    <a:pt x="16239" y="16944"/>
                    <a:pt x="16391" y="16873"/>
                  </a:cubicBezTo>
                  <a:cubicBezTo>
                    <a:pt x="16543" y="16802"/>
                    <a:pt x="16629" y="16735"/>
                    <a:pt x="16649" y="16671"/>
                  </a:cubicBezTo>
                  <a:lnTo>
                    <a:pt x="16589" y="16671"/>
                  </a:lnTo>
                  <a:cubicBezTo>
                    <a:pt x="16577" y="16671"/>
                    <a:pt x="16523" y="16703"/>
                    <a:pt x="16427" y="16766"/>
                  </a:cubicBezTo>
                  <a:cubicBezTo>
                    <a:pt x="16383" y="16802"/>
                    <a:pt x="16333" y="16818"/>
                    <a:pt x="16277" y="16814"/>
                  </a:cubicBezTo>
                  <a:cubicBezTo>
                    <a:pt x="16228" y="16814"/>
                    <a:pt x="16190" y="16774"/>
                    <a:pt x="16162" y="16695"/>
                  </a:cubicBezTo>
                  <a:cubicBezTo>
                    <a:pt x="16142" y="16620"/>
                    <a:pt x="16110" y="16581"/>
                    <a:pt x="16066" y="16577"/>
                  </a:cubicBezTo>
                  <a:cubicBezTo>
                    <a:pt x="16042" y="16577"/>
                    <a:pt x="16030" y="16590"/>
                    <a:pt x="16030" y="16618"/>
                  </a:cubicBezTo>
                  <a:cubicBezTo>
                    <a:pt x="16026" y="16646"/>
                    <a:pt x="16040" y="16685"/>
                    <a:pt x="16072" y="16737"/>
                  </a:cubicBezTo>
                  <a:cubicBezTo>
                    <a:pt x="16100" y="16788"/>
                    <a:pt x="16114" y="16834"/>
                    <a:pt x="16114" y="16873"/>
                  </a:cubicBezTo>
                  <a:cubicBezTo>
                    <a:pt x="16110" y="16909"/>
                    <a:pt x="16076" y="16962"/>
                    <a:pt x="16012" y="17033"/>
                  </a:cubicBezTo>
                  <a:cubicBezTo>
                    <a:pt x="15936" y="17116"/>
                    <a:pt x="15876" y="17156"/>
                    <a:pt x="15832" y="17152"/>
                  </a:cubicBezTo>
                  <a:cubicBezTo>
                    <a:pt x="15816" y="17152"/>
                    <a:pt x="15782" y="17136"/>
                    <a:pt x="15730" y="17104"/>
                  </a:cubicBezTo>
                  <a:cubicBezTo>
                    <a:pt x="15677" y="17065"/>
                    <a:pt x="15621" y="17043"/>
                    <a:pt x="15561" y="17039"/>
                  </a:cubicBezTo>
                  <a:cubicBezTo>
                    <a:pt x="15537" y="17039"/>
                    <a:pt x="15509" y="17075"/>
                    <a:pt x="15477" y="17146"/>
                  </a:cubicBezTo>
                  <a:cubicBezTo>
                    <a:pt x="15453" y="17205"/>
                    <a:pt x="15441" y="17245"/>
                    <a:pt x="15441" y="17265"/>
                  </a:cubicBezTo>
                  <a:cubicBezTo>
                    <a:pt x="15441" y="17304"/>
                    <a:pt x="15457" y="17324"/>
                    <a:pt x="15489" y="17324"/>
                  </a:cubicBezTo>
                  <a:cubicBezTo>
                    <a:pt x="15525" y="17324"/>
                    <a:pt x="15547" y="17296"/>
                    <a:pt x="15555" y="17241"/>
                  </a:cubicBezTo>
                  <a:cubicBezTo>
                    <a:pt x="15563" y="17189"/>
                    <a:pt x="15585" y="17164"/>
                    <a:pt x="15621" y="17164"/>
                  </a:cubicBezTo>
                  <a:cubicBezTo>
                    <a:pt x="15661" y="17168"/>
                    <a:pt x="15681" y="17211"/>
                    <a:pt x="15681" y="17294"/>
                  </a:cubicBezTo>
                  <a:cubicBezTo>
                    <a:pt x="15677" y="17354"/>
                    <a:pt x="15625" y="17450"/>
                    <a:pt x="15525" y="17585"/>
                  </a:cubicBezTo>
                  <a:cubicBezTo>
                    <a:pt x="15421" y="17711"/>
                    <a:pt x="15357" y="17775"/>
                    <a:pt x="15333" y="17775"/>
                  </a:cubicBezTo>
                  <a:cubicBezTo>
                    <a:pt x="15317" y="17775"/>
                    <a:pt x="15281" y="17755"/>
                    <a:pt x="15225" y="17715"/>
                  </a:cubicBezTo>
                  <a:cubicBezTo>
                    <a:pt x="15173" y="17672"/>
                    <a:pt x="15098" y="17650"/>
                    <a:pt x="15002" y="17650"/>
                  </a:cubicBezTo>
                  <a:cubicBezTo>
                    <a:pt x="14902" y="17650"/>
                    <a:pt x="14852" y="17672"/>
                    <a:pt x="14852" y="17715"/>
                  </a:cubicBezTo>
                  <a:cubicBezTo>
                    <a:pt x="14852" y="17731"/>
                    <a:pt x="14922" y="17790"/>
                    <a:pt x="15062" y="17893"/>
                  </a:cubicBezTo>
                  <a:cubicBezTo>
                    <a:pt x="15106" y="17925"/>
                    <a:pt x="15147" y="17957"/>
                    <a:pt x="15183" y="17988"/>
                  </a:cubicBezTo>
                  <a:cubicBezTo>
                    <a:pt x="15067" y="18506"/>
                    <a:pt x="14944" y="18765"/>
                    <a:pt x="14816" y="18765"/>
                  </a:cubicBezTo>
                  <a:cubicBezTo>
                    <a:pt x="14796" y="18765"/>
                    <a:pt x="14774" y="18749"/>
                    <a:pt x="14750" y="18718"/>
                  </a:cubicBezTo>
                  <a:cubicBezTo>
                    <a:pt x="14730" y="18682"/>
                    <a:pt x="14708" y="18664"/>
                    <a:pt x="14684" y="18664"/>
                  </a:cubicBezTo>
                  <a:cubicBezTo>
                    <a:pt x="14632" y="18660"/>
                    <a:pt x="14580" y="18666"/>
                    <a:pt x="14527" y="18682"/>
                  </a:cubicBezTo>
                  <a:cubicBezTo>
                    <a:pt x="14467" y="18702"/>
                    <a:pt x="14437" y="18733"/>
                    <a:pt x="14437" y="18777"/>
                  </a:cubicBezTo>
                  <a:cubicBezTo>
                    <a:pt x="14433" y="18832"/>
                    <a:pt x="14531" y="18866"/>
                    <a:pt x="14732" y="18878"/>
                  </a:cubicBezTo>
                  <a:cubicBezTo>
                    <a:pt x="14760" y="18878"/>
                    <a:pt x="14802" y="18870"/>
                    <a:pt x="14858" y="18854"/>
                  </a:cubicBezTo>
                  <a:cubicBezTo>
                    <a:pt x="14902" y="18854"/>
                    <a:pt x="14930" y="18860"/>
                    <a:pt x="14942" y="18872"/>
                  </a:cubicBezTo>
                  <a:cubicBezTo>
                    <a:pt x="14950" y="18880"/>
                    <a:pt x="14954" y="18903"/>
                    <a:pt x="14954" y="18943"/>
                  </a:cubicBezTo>
                  <a:cubicBezTo>
                    <a:pt x="14954" y="19097"/>
                    <a:pt x="14904" y="19210"/>
                    <a:pt x="14804" y="19281"/>
                  </a:cubicBezTo>
                  <a:cubicBezTo>
                    <a:pt x="14700" y="19348"/>
                    <a:pt x="14648" y="19402"/>
                    <a:pt x="14648" y="19441"/>
                  </a:cubicBezTo>
                  <a:cubicBezTo>
                    <a:pt x="14648" y="19461"/>
                    <a:pt x="14674" y="19483"/>
                    <a:pt x="14726" y="19506"/>
                  </a:cubicBezTo>
                  <a:cubicBezTo>
                    <a:pt x="14778" y="19522"/>
                    <a:pt x="14802" y="19546"/>
                    <a:pt x="14798" y="19578"/>
                  </a:cubicBezTo>
                  <a:cubicBezTo>
                    <a:pt x="14798" y="19597"/>
                    <a:pt x="14782" y="19615"/>
                    <a:pt x="14750" y="19631"/>
                  </a:cubicBezTo>
                  <a:cubicBezTo>
                    <a:pt x="14718" y="19647"/>
                    <a:pt x="14702" y="19672"/>
                    <a:pt x="14702" y="19708"/>
                  </a:cubicBezTo>
                  <a:lnTo>
                    <a:pt x="14780" y="19821"/>
                  </a:lnTo>
                  <a:cubicBezTo>
                    <a:pt x="14836" y="19900"/>
                    <a:pt x="14870" y="19991"/>
                    <a:pt x="14882" y="20093"/>
                  </a:cubicBezTo>
                  <a:cubicBezTo>
                    <a:pt x="14886" y="20153"/>
                    <a:pt x="14892" y="20232"/>
                    <a:pt x="14900" y="20331"/>
                  </a:cubicBezTo>
                  <a:cubicBezTo>
                    <a:pt x="14904" y="20402"/>
                    <a:pt x="14914" y="20459"/>
                    <a:pt x="14930" y="20503"/>
                  </a:cubicBezTo>
                  <a:lnTo>
                    <a:pt x="15020" y="20853"/>
                  </a:lnTo>
                  <a:cubicBezTo>
                    <a:pt x="15028" y="20864"/>
                    <a:pt x="15054" y="20910"/>
                    <a:pt x="15098" y="20989"/>
                  </a:cubicBezTo>
                  <a:cubicBezTo>
                    <a:pt x="15135" y="21052"/>
                    <a:pt x="15152" y="21102"/>
                    <a:pt x="15152" y="21137"/>
                  </a:cubicBezTo>
                  <a:cubicBezTo>
                    <a:pt x="15152" y="21169"/>
                    <a:pt x="15136" y="21205"/>
                    <a:pt x="15105" y="21244"/>
                  </a:cubicBezTo>
                  <a:cubicBezTo>
                    <a:pt x="15064" y="21276"/>
                    <a:pt x="15046" y="21315"/>
                    <a:pt x="15050" y="21363"/>
                  </a:cubicBezTo>
                  <a:cubicBezTo>
                    <a:pt x="15050" y="21394"/>
                    <a:pt x="15062" y="21412"/>
                    <a:pt x="15086" y="21416"/>
                  </a:cubicBezTo>
                  <a:cubicBezTo>
                    <a:pt x="15118" y="21416"/>
                    <a:pt x="15143" y="21390"/>
                    <a:pt x="15159" y="21339"/>
                  </a:cubicBezTo>
                  <a:cubicBezTo>
                    <a:pt x="15179" y="21288"/>
                    <a:pt x="15203" y="21262"/>
                    <a:pt x="15231" y="21262"/>
                  </a:cubicBezTo>
                  <a:cubicBezTo>
                    <a:pt x="15275" y="21262"/>
                    <a:pt x="15309" y="21333"/>
                    <a:pt x="15333" y="21476"/>
                  </a:cubicBezTo>
                  <a:close/>
                  <a:moveTo>
                    <a:pt x="15333" y="2147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4" name="AutoShape 121"/>
            <p:cNvSpPr>
              <a:spLocks/>
            </p:cNvSpPr>
            <p:nvPr/>
          </p:nvSpPr>
          <p:spPr bwMode="auto">
            <a:xfrm>
              <a:off x="7086808" y="4359741"/>
              <a:ext cx="205223" cy="381347"/>
            </a:xfrm>
            <a:custGeom>
              <a:avLst/>
              <a:gdLst/>
              <a:ahLst/>
              <a:cxnLst/>
              <a:rect l="0" t="0" r="r" b="b"/>
              <a:pathLst>
                <a:path w="21600" h="21600">
                  <a:moveTo>
                    <a:pt x="18251" y="0"/>
                  </a:moveTo>
                  <a:cubicBezTo>
                    <a:pt x="18251" y="8"/>
                    <a:pt x="18251" y="16"/>
                    <a:pt x="18251" y="23"/>
                  </a:cubicBezTo>
                  <a:cubicBezTo>
                    <a:pt x="18279" y="54"/>
                    <a:pt x="18294" y="146"/>
                    <a:pt x="18294" y="300"/>
                  </a:cubicBezTo>
                  <a:cubicBezTo>
                    <a:pt x="18322" y="362"/>
                    <a:pt x="18330" y="481"/>
                    <a:pt x="18315" y="658"/>
                  </a:cubicBezTo>
                  <a:cubicBezTo>
                    <a:pt x="18315" y="820"/>
                    <a:pt x="18330" y="904"/>
                    <a:pt x="18358" y="912"/>
                  </a:cubicBezTo>
                  <a:cubicBezTo>
                    <a:pt x="18415" y="997"/>
                    <a:pt x="18508" y="1093"/>
                    <a:pt x="18637" y="1201"/>
                  </a:cubicBezTo>
                  <a:cubicBezTo>
                    <a:pt x="18766" y="1286"/>
                    <a:pt x="18845" y="1355"/>
                    <a:pt x="18873" y="1408"/>
                  </a:cubicBezTo>
                  <a:cubicBezTo>
                    <a:pt x="18902" y="1455"/>
                    <a:pt x="18945" y="1493"/>
                    <a:pt x="19002" y="1524"/>
                  </a:cubicBezTo>
                  <a:cubicBezTo>
                    <a:pt x="19031" y="1555"/>
                    <a:pt x="19124" y="1601"/>
                    <a:pt x="19281" y="1663"/>
                  </a:cubicBezTo>
                  <a:cubicBezTo>
                    <a:pt x="19339" y="1693"/>
                    <a:pt x="19382" y="1816"/>
                    <a:pt x="19410" y="2032"/>
                  </a:cubicBezTo>
                  <a:lnTo>
                    <a:pt x="19861" y="2759"/>
                  </a:lnTo>
                  <a:cubicBezTo>
                    <a:pt x="19933" y="2790"/>
                    <a:pt x="20011" y="2828"/>
                    <a:pt x="20097" y="2875"/>
                  </a:cubicBezTo>
                  <a:cubicBezTo>
                    <a:pt x="20555" y="6669"/>
                    <a:pt x="20799" y="8666"/>
                    <a:pt x="20828" y="8866"/>
                  </a:cubicBezTo>
                  <a:cubicBezTo>
                    <a:pt x="20856" y="9051"/>
                    <a:pt x="20899" y="9494"/>
                    <a:pt x="20956" y="10194"/>
                  </a:cubicBezTo>
                  <a:cubicBezTo>
                    <a:pt x="21028" y="10894"/>
                    <a:pt x="21063" y="11406"/>
                    <a:pt x="21063" y="11729"/>
                  </a:cubicBezTo>
                  <a:cubicBezTo>
                    <a:pt x="21049" y="12045"/>
                    <a:pt x="20992" y="12287"/>
                    <a:pt x="20891" y="12457"/>
                  </a:cubicBezTo>
                  <a:cubicBezTo>
                    <a:pt x="20777" y="12618"/>
                    <a:pt x="20713" y="12745"/>
                    <a:pt x="20698" y="12838"/>
                  </a:cubicBezTo>
                  <a:cubicBezTo>
                    <a:pt x="20684" y="13007"/>
                    <a:pt x="20734" y="13126"/>
                    <a:pt x="20848" y="13196"/>
                  </a:cubicBezTo>
                  <a:cubicBezTo>
                    <a:pt x="21049" y="13311"/>
                    <a:pt x="21199" y="13403"/>
                    <a:pt x="21300" y="13473"/>
                  </a:cubicBezTo>
                  <a:cubicBezTo>
                    <a:pt x="21328" y="13480"/>
                    <a:pt x="21350" y="13492"/>
                    <a:pt x="21364" y="13507"/>
                  </a:cubicBezTo>
                  <a:cubicBezTo>
                    <a:pt x="21379" y="13692"/>
                    <a:pt x="21457" y="13992"/>
                    <a:pt x="21600" y="14408"/>
                  </a:cubicBezTo>
                  <a:cubicBezTo>
                    <a:pt x="21586" y="14500"/>
                    <a:pt x="21521" y="14596"/>
                    <a:pt x="21407" y="14696"/>
                  </a:cubicBezTo>
                  <a:cubicBezTo>
                    <a:pt x="21235" y="14820"/>
                    <a:pt x="21106" y="14923"/>
                    <a:pt x="21020" y="15008"/>
                  </a:cubicBezTo>
                  <a:cubicBezTo>
                    <a:pt x="20963" y="15093"/>
                    <a:pt x="20899" y="15212"/>
                    <a:pt x="20828" y="15366"/>
                  </a:cubicBezTo>
                  <a:cubicBezTo>
                    <a:pt x="20713" y="15527"/>
                    <a:pt x="20577" y="15670"/>
                    <a:pt x="20419" y="15793"/>
                  </a:cubicBezTo>
                  <a:cubicBezTo>
                    <a:pt x="20076" y="16032"/>
                    <a:pt x="19797" y="16266"/>
                    <a:pt x="19582" y="16497"/>
                  </a:cubicBezTo>
                  <a:cubicBezTo>
                    <a:pt x="19353" y="16774"/>
                    <a:pt x="19246" y="17009"/>
                    <a:pt x="19260" y="17201"/>
                  </a:cubicBezTo>
                  <a:cubicBezTo>
                    <a:pt x="19246" y="17325"/>
                    <a:pt x="19246" y="17456"/>
                    <a:pt x="19260" y="17594"/>
                  </a:cubicBezTo>
                  <a:cubicBezTo>
                    <a:pt x="19288" y="17725"/>
                    <a:pt x="19296" y="17856"/>
                    <a:pt x="19281" y="17987"/>
                  </a:cubicBezTo>
                  <a:lnTo>
                    <a:pt x="19238" y="18483"/>
                  </a:lnTo>
                  <a:cubicBezTo>
                    <a:pt x="18966" y="18622"/>
                    <a:pt x="18823" y="18749"/>
                    <a:pt x="18809" y="18864"/>
                  </a:cubicBezTo>
                  <a:cubicBezTo>
                    <a:pt x="18809" y="18926"/>
                    <a:pt x="18837" y="18979"/>
                    <a:pt x="18895" y="19026"/>
                  </a:cubicBezTo>
                  <a:cubicBezTo>
                    <a:pt x="18952" y="19072"/>
                    <a:pt x="18995" y="19110"/>
                    <a:pt x="19023" y="19141"/>
                  </a:cubicBezTo>
                  <a:cubicBezTo>
                    <a:pt x="19052" y="19149"/>
                    <a:pt x="19074" y="19156"/>
                    <a:pt x="19088" y="19164"/>
                  </a:cubicBezTo>
                  <a:cubicBezTo>
                    <a:pt x="19203" y="19449"/>
                    <a:pt x="18895" y="19657"/>
                    <a:pt x="18165" y="19788"/>
                  </a:cubicBezTo>
                  <a:cubicBezTo>
                    <a:pt x="17406" y="19926"/>
                    <a:pt x="17026" y="20049"/>
                    <a:pt x="17026" y="20157"/>
                  </a:cubicBezTo>
                  <a:cubicBezTo>
                    <a:pt x="17012" y="20234"/>
                    <a:pt x="17077" y="20338"/>
                    <a:pt x="17220" y="20469"/>
                  </a:cubicBezTo>
                  <a:cubicBezTo>
                    <a:pt x="17378" y="20615"/>
                    <a:pt x="17456" y="20742"/>
                    <a:pt x="17456" y="20850"/>
                  </a:cubicBezTo>
                  <a:cubicBezTo>
                    <a:pt x="17456" y="20919"/>
                    <a:pt x="17413" y="21000"/>
                    <a:pt x="17327" y="21092"/>
                  </a:cubicBezTo>
                  <a:cubicBezTo>
                    <a:pt x="17213" y="21200"/>
                    <a:pt x="17091" y="21254"/>
                    <a:pt x="16963" y="21254"/>
                  </a:cubicBezTo>
                  <a:cubicBezTo>
                    <a:pt x="16791" y="21246"/>
                    <a:pt x="16412" y="21158"/>
                    <a:pt x="15824" y="20988"/>
                  </a:cubicBezTo>
                  <a:cubicBezTo>
                    <a:pt x="15223" y="20811"/>
                    <a:pt x="14858" y="20722"/>
                    <a:pt x="14729" y="20722"/>
                  </a:cubicBezTo>
                  <a:cubicBezTo>
                    <a:pt x="14429" y="20715"/>
                    <a:pt x="14128" y="20861"/>
                    <a:pt x="13827" y="21161"/>
                  </a:cubicBezTo>
                  <a:cubicBezTo>
                    <a:pt x="13698" y="21292"/>
                    <a:pt x="13570" y="21392"/>
                    <a:pt x="13441" y="21462"/>
                  </a:cubicBezTo>
                  <a:cubicBezTo>
                    <a:pt x="13226" y="21554"/>
                    <a:pt x="13005" y="21600"/>
                    <a:pt x="12776" y="21600"/>
                  </a:cubicBezTo>
                  <a:cubicBezTo>
                    <a:pt x="12661" y="21592"/>
                    <a:pt x="12418" y="21465"/>
                    <a:pt x="12045" y="21219"/>
                  </a:cubicBezTo>
                  <a:cubicBezTo>
                    <a:pt x="11658" y="20942"/>
                    <a:pt x="11466" y="20757"/>
                    <a:pt x="11466" y="20665"/>
                  </a:cubicBezTo>
                  <a:cubicBezTo>
                    <a:pt x="11494" y="20511"/>
                    <a:pt x="11595" y="20392"/>
                    <a:pt x="11766" y="20307"/>
                  </a:cubicBezTo>
                  <a:cubicBezTo>
                    <a:pt x="11923" y="20230"/>
                    <a:pt x="12010" y="20149"/>
                    <a:pt x="12024" y="20065"/>
                  </a:cubicBezTo>
                  <a:cubicBezTo>
                    <a:pt x="12024" y="19895"/>
                    <a:pt x="11938" y="19788"/>
                    <a:pt x="11766" y="19741"/>
                  </a:cubicBezTo>
                  <a:cubicBezTo>
                    <a:pt x="11580" y="19695"/>
                    <a:pt x="11466" y="19538"/>
                    <a:pt x="11423" y="19268"/>
                  </a:cubicBezTo>
                  <a:cubicBezTo>
                    <a:pt x="11423" y="19060"/>
                    <a:pt x="11308" y="18906"/>
                    <a:pt x="11079" y="18806"/>
                  </a:cubicBezTo>
                  <a:cubicBezTo>
                    <a:pt x="10793" y="18729"/>
                    <a:pt x="10571" y="18644"/>
                    <a:pt x="10414" y="18552"/>
                  </a:cubicBezTo>
                  <a:cubicBezTo>
                    <a:pt x="10285" y="18452"/>
                    <a:pt x="10185" y="18383"/>
                    <a:pt x="10113" y="18344"/>
                  </a:cubicBezTo>
                  <a:cubicBezTo>
                    <a:pt x="9999" y="18275"/>
                    <a:pt x="9841" y="18221"/>
                    <a:pt x="9640" y="18183"/>
                  </a:cubicBezTo>
                  <a:cubicBezTo>
                    <a:pt x="9583" y="18167"/>
                    <a:pt x="9454" y="18156"/>
                    <a:pt x="9254" y="18148"/>
                  </a:cubicBezTo>
                  <a:cubicBezTo>
                    <a:pt x="9097" y="18148"/>
                    <a:pt x="8974" y="18137"/>
                    <a:pt x="8889" y="18114"/>
                  </a:cubicBezTo>
                  <a:cubicBezTo>
                    <a:pt x="8746" y="18075"/>
                    <a:pt x="8502" y="17983"/>
                    <a:pt x="8159" y="17836"/>
                  </a:cubicBezTo>
                  <a:cubicBezTo>
                    <a:pt x="7887" y="17706"/>
                    <a:pt x="7694" y="17625"/>
                    <a:pt x="7579" y="17594"/>
                  </a:cubicBezTo>
                  <a:cubicBezTo>
                    <a:pt x="7565" y="17586"/>
                    <a:pt x="7550" y="17583"/>
                    <a:pt x="7536" y="17583"/>
                  </a:cubicBezTo>
                  <a:cubicBezTo>
                    <a:pt x="7379" y="17521"/>
                    <a:pt x="7242" y="17456"/>
                    <a:pt x="7128" y="17386"/>
                  </a:cubicBezTo>
                  <a:cubicBezTo>
                    <a:pt x="6985" y="17271"/>
                    <a:pt x="6863" y="17175"/>
                    <a:pt x="6764" y="17098"/>
                  </a:cubicBezTo>
                  <a:cubicBezTo>
                    <a:pt x="6491" y="16921"/>
                    <a:pt x="6369" y="16728"/>
                    <a:pt x="6398" y="16520"/>
                  </a:cubicBezTo>
                  <a:cubicBezTo>
                    <a:pt x="6398" y="16428"/>
                    <a:pt x="6570" y="16162"/>
                    <a:pt x="6914" y="15724"/>
                  </a:cubicBezTo>
                  <a:cubicBezTo>
                    <a:pt x="7242" y="15300"/>
                    <a:pt x="7408" y="14989"/>
                    <a:pt x="7408" y="14789"/>
                  </a:cubicBezTo>
                  <a:cubicBezTo>
                    <a:pt x="7408" y="14650"/>
                    <a:pt x="7272" y="14500"/>
                    <a:pt x="6999" y="14338"/>
                  </a:cubicBezTo>
                  <a:cubicBezTo>
                    <a:pt x="6728" y="14169"/>
                    <a:pt x="6427" y="14081"/>
                    <a:pt x="6098" y="14073"/>
                  </a:cubicBezTo>
                  <a:cubicBezTo>
                    <a:pt x="5998" y="14073"/>
                    <a:pt x="5869" y="14123"/>
                    <a:pt x="5711" y="14223"/>
                  </a:cubicBezTo>
                  <a:cubicBezTo>
                    <a:pt x="5525" y="14315"/>
                    <a:pt x="5382" y="14361"/>
                    <a:pt x="5282" y="14361"/>
                  </a:cubicBezTo>
                  <a:cubicBezTo>
                    <a:pt x="4809" y="14361"/>
                    <a:pt x="4566" y="14254"/>
                    <a:pt x="4552" y="14038"/>
                  </a:cubicBezTo>
                  <a:cubicBezTo>
                    <a:pt x="4609" y="13777"/>
                    <a:pt x="4623" y="13592"/>
                    <a:pt x="4595" y="13484"/>
                  </a:cubicBezTo>
                  <a:cubicBezTo>
                    <a:pt x="4552" y="13338"/>
                    <a:pt x="4358" y="13157"/>
                    <a:pt x="4015" y="12942"/>
                  </a:cubicBezTo>
                  <a:cubicBezTo>
                    <a:pt x="3914" y="12849"/>
                    <a:pt x="3614" y="12672"/>
                    <a:pt x="3113" y="12410"/>
                  </a:cubicBezTo>
                  <a:cubicBezTo>
                    <a:pt x="1825" y="11687"/>
                    <a:pt x="1102" y="11275"/>
                    <a:pt x="944" y="11175"/>
                  </a:cubicBezTo>
                  <a:cubicBezTo>
                    <a:pt x="315" y="10775"/>
                    <a:pt x="0" y="10456"/>
                    <a:pt x="0" y="10217"/>
                  </a:cubicBezTo>
                  <a:cubicBezTo>
                    <a:pt x="29" y="10071"/>
                    <a:pt x="49" y="9924"/>
                    <a:pt x="64" y="9778"/>
                  </a:cubicBezTo>
                  <a:lnTo>
                    <a:pt x="43" y="9132"/>
                  </a:lnTo>
                  <a:cubicBezTo>
                    <a:pt x="71" y="9016"/>
                    <a:pt x="122" y="8909"/>
                    <a:pt x="193" y="8809"/>
                  </a:cubicBezTo>
                  <a:cubicBezTo>
                    <a:pt x="236" y="8747"/>
                    <a:pt x="294" y="8693"/>
                    <a:pt x="365" y="8647"/>
                  </a:cubicBezTo>
                  <a:cubicBezTo>
                    <a:pt x="551" y="8524"/>
                    <a:pt x="644" y="8447"/>
                    <a:pt x="644" y="8416"/>
                  </a:cubicBezTo>
                  <a:cubicBezTo>
                    <a:pt x="644" y="8347"/>
                    <a:pt x="586" y="8274"/>
                    <a:pt x="472" y="8197"/>
                  </a:cubicBezTo>
                  <a:lnTo>
                    <a:pt x="278" y="8081"/>
                  </a:lnTo>
                  <a:cubicBezTo>
                    <a:pt x="294" y="7912"/>
                    <a:pt x="493" y="7792"/>
                    <a:pt x="880" y="7723"/>
                  </a:cubicBezTo>
                  <a:cubicBezTo>
                    <a:pt x="1367" y="7669"/>
                    <a:pt x="1689" y="7585"/>
                    <a:pt x="1846" y="7470"/>
                  </a:cubicBezTo>
                  <a:cubicBezTo>
                    <a:pt x="1918" y="7416"/>
                    <a:pt x="1947" y="7304"/>
                    <a:pt x="1932" y="7135"/>
                  </a:cubicBezTo>
                  <a:cubicBezTo>
                    <a:pt x="1947" y="6981"/>
                    <a:pt x="1982" y="6877"/>
                    <a:pt x="2040" y="6823"/>
                  </a:cubicBezTo>
                  <a:cubicBezTo>
                    <a:pt x="2111" y="6785"/>
                    <a:pt x="2290" y="6696"/>
                    <a:pt x="2577" y="6558"/>
                  </a:cubicBezTo>
                  <a:cubicBezTo>
                    <a:pt x="2676" y="6519"/>
                    <a:pt x="2727" y="6442"/>
                    <a:pt x="2727" y="6327"/>
                  </a:cubicBezTo>
                  <a:cubicBezTo>
                    <a:pt x="2741" y="6088"/>
                    <a:pt x="2583" y="5880"/>
                    <a:pt x="2255" y="5703"/>
                  </a:cubicBezTo>
                  <a:cubicBezTo>
                    <a:pt x="1953" y="5541"/>
                    <a:pt x="1818" y="5368"/>
                    <a:pt x="1846" y="5184"/>
                  </a:cubicBezTo>
                  <a:cubicBezTo>
                    <a:pt x="1860" y="4860"/>
                    <a:pt x="1947" y="4676"/>
                    <a:pt x="2104" y="4630"/>
                  </a:cubicBezTo>
                  <a:cubicBezTo>
                    <a:pt x="2261" y="4583"/>
                    <a:pt x="2798" y="4526"/>
                    <a:pt x="3714" y="4457"/>
                  </a:cubicBezTo>
                  <a:cubicBezTo>
                    <a:pt x="3800" y="4441"/>
                    <a:pt x="3987" y="4399"/>
                    <a:pt x="4273" y="4329"/>
                  </a:cubicBezTo>
                  <a:cubicBezTo>
                    <a:pt x="4559" y="4268"/>
                    <a:pt x="4752" y="4229"/>
                    <a:pt x="4852" y="4214"/>
                  </a:cubicBezTo>
                  <a:cubicBezTo>
                    <a:pt x="5167" y="4152"/>
                    <a:pt x="5360" y="4106"/>
                    <a:pt x="5432" y="4075"/>
                  </a:cubicBezTo>
                  <a:cubicBezTo>
                    <a:pt x="5575" y="4014"/>
                    <a:pt x="5611" y="3929"/>
                    <a:pt x="5539" y="3822"/>
                  </a:cubicBezTo>
                  <a:lnTo>
                    <a:pt x="5583" y="3590"/>
                  </a:lnTo>
                  <a:cubicBezTo>
                    <a:pt x="5568" y="3429"/>
                    <a:pt x="5725" y="3271"/>
                    <a:pt x="6055" y="3117"/>
                  </a:cubicBezTo>
                  <a:cubicBezTo>
                    <a:pt x="6355" y="2956"/>
                    <a:pt x="6513" y="2786"/>
                    <a:pt x="6527" y="2609"/>
                  </a:cubicBezTo>
                  <a:cubicBezTo>
                    <a:pt x="6527" y="2540"/>
                    <a:pt x="6491" y="2417"/>
                    <a:pt x="6420" y="2240"/>
                  </a:cubicBezTo>
                  <a:cubicBezTo>
                    <a:pt x="6320" y="2032"/>
                    <a:pt x="6255" y="1909"/>
                    <a:pt x="6227" y="1870"/>
                  </a:cubicBezTo>
                  <a:cubicBezTo>
                    <a:pt x="6126" y="1824"/>
                    <a:pt x="5954" y="1735"/>
                    <a:pt x="5711" y="1605"/>
                  </a:cubicBezTo>
                  <a:cubicBezTo>
                    <a:pt x="5496" y="1497"/>
                    <a:pt x="5318" y="1385"/>
                    <a:pt x="5174" y="1270"/>
                  </a:cubicBezTo>
                  <a:cubicBezTo>
                    <a:pt x="4745" y="1047"/>
                    <a:pt x="4430" y="874"/>
                    <a:pt x="4230" y="750"/>
                  </a:cubicBezTo>
                  <a:cubicBezTo>
                    <a:pt x="3972" y="612"/>
                    <a:pt x="3807" y="473"/>
                    <a:pt x="3736" y="335"/>
                  </a:cubicBezTo>
                  <a:cubicBezTo>
                    <a:pt x="3736" y="335"/>
                    <a:pt x="18251" y="0"/>
                    <a:pt x="18251" y="0"/>
                  </a:cubicBezTo>
                  <a:close/>
                  <a:moveTo>
                    <a:pt x="18251"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5" name="AutoShape 122"/>
            <p:cNvSpPr>
              <a:spLocks/>
            </p:cNvSpPr>
            <p:nvPr/>
          </p:nvSpPr>
          <p:spPr bwMode="auto">
            <a:xfrm>
              <a:off x="7548304" y="4445505"/>
              <a:ext cx="234321" cy="241468"/>
            </a:xfrm>
            <a:custGeom>
              <a:avLst/>
              <a:gdLst/>
              <a:ahLst/>
              <a:cxnLst/>
              <a:rect l="0" t="0" r="r" b="b"/>
              <a:pathLst>
                <a:path w="21594" h="21600">
                  <a:moveTo>
                    <a:pt x="3316" y="19684"/>
                  </a:moveTo>
                  <a:cubicBezTo>
                    <a:pt x="3153" y="19733"/>
                    <a:pt x="3009" y="19758"/>
                    <a:pt x="2884" y="19758"/>
                  </a:cubicBezTo>
                  <a:cubicBezTo>
                    <a:pt x="2657" y="19758"/>
                    <a:pt x="2357" y="19545"/>
                    <a:pt x="1981" y="19119"/>
                  </a:cubicBezTo>
                  <a:cubicBezTo>
                    <a:pt x="1730" y="18839"/>
                    <a:pt x="1523" y="18541"/>
                    <a:pt x="1360" y="18225"/>
                  </a:cubicBezTo>
                  <a:cubicBezTo>
                    <a:pt x="1110" y="17823"/>
                    <a:pt x="903" y="17520"/>
                    <a:pt x="740" y="17313"/>
                  </a:cubicBezTo>
                  <a:cubicBezTo>
                    <a:pt x="477" y="16911"/>
                    <a:pt x="320" y="16541"/>
                    <a:pt x="269" y="16200"/>
                  </a:cubicBezTo>
                  <a:cubicBezTo>
                    <a:pt x="119" y="15714"/>
                    <a:pt x="31" y="15355"/>
                    <a:pt x="6" y="15123"/>
                  </a:cubicBezTo>
                  <a:cubicBezTo>
                    <a:pt x="-6" y="15063"/>
                    <a:pt x="0" y="14972"/>
                    <a:pt x="25" y="14850"/>
                  </a:cubicBezTo>
                  <a:cubicBezTo>
                    <a:pt x="25" y="14825"/>
                    <a:pt x="31" y="14808"/>
                    <a:pt x="44" y="14795"/>
                  </a:cubicBezTo>
                  <a:cubicBezTo>
                    <a:pt x="546" y="14661"/>
                    <a:pt x="934" y="14448"/>
                    <a:pt x="1210" y="14157"/>
                  </a:cubicBezTo>
                  <a:cubicBezTo>
                    <a:pt x="1298" y="14059"/>
                    <a:pt x="1398" y="13859"/>
                    <a:pt x="1511" y="13555"/>
                  </a:cubicBezTo>
                  <a:cubicBezTo>
                    <a:pt x="1611" y="13312"/>
                    <a:pt x="1661" y="13166"/>
                    <a:pt x="1661" y="13117"/>
                  </a:cubicBezTo>
                  <a:cubicBezTo>
                    <a:pt x="1661" y="13068"/>
                    <a:pt x="1636" y="12904"/>
                    <a:pt x="1586" y="12624"/>
                  </a:cubicBezTo>
                  <a:cubicBezTo>
                    <a:pt x="1523" y="12344"/>
                    <a:pt x="1492" y="12150"/>
                    <a:pt x="1492" y="12041"/>
                  </a:cubicBezTo>
                  <a:cubicBezTo>
                    <a:pt x="1504" y="11894"/>
                    <a:pt x="1573" y="11670"/>
                    <a:pt x="1699" y="11365"/>
                  </a:cubicBezTo>
                  <a:cubicBezTo>
                    <a:pt x="1849" y="11037"/>
                    <a:pt x="1981" y="10879"/>
                    <a:pt x="2093" y="10891"/>
                  </a:cubicBezTo>
                  <a:cubicBezTo>
                    <a:pt x="2244" y="10891"/>
                    <a:pt x="2369" y="10958"/>
                    <a:pt x="2469" y="11092"/>
                  </a:cubicBezTo>
                  <a:cubicBezTo>
                    <a:pt x="2570" y="11238"/>
                    <a:pt x="2683" y="11317"/>
                    <a:pt x="2808" y="11329"/>
                  </a:cubicBezTo>
                  <a:cubicBezTo>
                    <a:pt x="2896" y="11329"/>
                    <a:pt x="3040" y="11116"/>
                    <a:pt x="3241" y="10691"/>
                  </a:cubicBezTo>
                  <a:cubicBezTo>
                    <a:pt x="3241" y="10654"/>
                    <a:pt x="3191" y="10599"/>
                    <a:pt x="3090" y="10526"/>
                  </a:cubicBezTo>
                  <a:cubicBezTo>
                    <a:pt x="3015" y="10453"/>
                    <a:pt x="2978" y="10386"/>
                    <a:pt x="2978" y="10326"/>
                  </a:cubicBezTo>
                  <a:cubicBezTo>
                    <a:pt x="2978" y="10253"/>
                    <a:pt x="3040" y="10070"/>
                    <a:pt x="3166" y="9778"/>
                  </a:cubicBezTo>
                  <a:cubicBezTo>
                    <a:pt x="3341" y="9425"/>
                    <a:pt x="3479" y="9219"/>
                    <a:pt x="3579" y="9158"/>
                  </a:cubicBezTo>
                  <a:cubicBezTo>
                    <a:pt x="3679" y="9085"/>
                    <a:pt x="3799" y="8860"/>
                    <a:pt x="3936" y="8483"/>
                  </a:cubicBezTo>
                  <a:cubicBezTo>
                    <a:pt x="4087" y="8142"/>
                    <a:pt x="4206" y="7978"/>
                    <a:pt x="4294" y="7990"/>
                  </a:cubicBezTo>
                  <a:cubicBezTo>
                    <a:pt x="4331" y="7990"/>
                    <a:pt x="4400" y="8014"/>
                    <a:pt x="4500" y="8063"/>
                  </a:cubicBezTo>
                  <a:cubicBezTo>
                    <a:pt x="4601" y="8100"/>
                    <a:pt x="4670" y="8118"/>
                    <a:pt x="4707" y="8118"/>
                  </a:cubicBezTo>
                  <a:cubicBezTo>
                    <a:pt x="4958" y="8130"/>
                    <a:pt x="5297" y="7930"/>
                    <a:pt x="5723" y="7516"/>
                  </a:cubicBezTo>
                  <a:cubicBezTo>
                    <a:pt x="6074" y="7139"/>
                    <a:pt x="6406" y="6738"/>
                    <a:pt x="6719" y="6312"/>
                  </a:cubicBezTo>
                  <a:cubicBezTo>
                    <a:pt x="6732" y="6300"/>
                    <a:pt x="6757" y="6281"/>
                    <a:pt x="6794" y="6257"/>
                  </a:cubicBezTo>
                  <a:cubicBezTo>
                    <a:pt x="6882" y="6111"/>
                    <a:pt x="6945" y="5905"/>
                    <a:pt x="6982" y="5637"/>
                  </a:cubicBezTo>
                  <a:cubicBezTo>
                    <a:pt x="6982" y="5248"/>
                    <a:pt x="6982" y="4962"/>
                    <a:pt x="6982" y="4780"/>
                  </a:cubicBezTo>
                  <a:cubicBezTo>
                    <a:pt x="7158" y="3795"/>
                    <a:pt x="7252" y="3211"/>
                    <a:pt x="7264" y="3028"/>
                  </a:cubicBezTo>
                  <a:cubicBezTo>
                    <a:pt x="7264" y="2943"/>
                    <a:pt x="7252" y="2858"/>
                    <a:pt x="7227" y="2773"/>
                  </a:cubicBezTo>
                  <a:cubicBezTo>
                    <a:pt x="7214" y="2724"/>
                    <a:pt x="7209" y="2670"/>
                    <a:pt x="7209" y="2609"/>
                  </a:cubicBezTo>
                  <a:cubicBezTo>
                    <a:pt x="7209" y="2548"/>
                    <a:pt x="7239" y="2463"/>
                    <a:pt x="7303" y="2353"/>
                  </a:cubicBezTo>
                  <a:cubicBezTo>
                    <a:pt x="7365" y="2220"/>
                    <a:pt x="7397" y="2110"/>
                    <a:pt x="7397" y="2025"/>
                  </a:cubicBezTo>
                  <a:cubicBezTo>
                    <a:pt x="7397" y="1745"/>
                    <a:pt x="7303" y="1484"/>
                    <a:pt x="7115" y="1241"/>
                  </a:cubicBezTo>
                  <a:cubicBezTo>
                    <a:pt x="6927" y="997"/>
                    <a:pt x="6838" y="784"/>
                    <a:pt x="6851" y="602"/>
                  </a:cubicBezTo>
                  <a:cubicBezTo>
                    <a:pt x="6851" y="480"/>
                    <a:pt x="6957" y="359"/>
                    <a:pt x="7170" y="237"/>
                  </a:cubicBezTo>
                  <a:cubicBezTo>
                    <a:pt x="7283" y="164"/>
                    <a:pt x="7440" y="85"/>
                    <a:pt x="7640" y="0"/>
                  </a:cubicBezTo>
                  <a:cubicBezTo>
                    <a:pt x="7691" y="547"/>
                    <a:pt x="7741" y="906"/>
                    <a:pt x="7791" y="1076"/>
                  </a:cubicBezTo>
                  <a:cubicBezTo>
                    <a:pt x="7967" y="1843"/>
                    <a:pt x="8161" y="3272"/>
                    <a:pt x="8374" y="5364"/>
                  </a:cubicBezTo>
                  <a:lnTo>
                    <a:pt x="13414" y="4597"/>
                  </a:lnTo>
                  <a:cubicBezTo>
                    <a:pt x="13439" y="5971"/>
                    <a:pt x="13508" y="7054"/>
                    <a:pt x="13620" y="7845"/>
                  </a:cubicBezTo>
                  <a:lnTo>
                    <a:pt x="13620" y="7936"/>
                  </a:lnTo>
                  <a:cubicBezTo>
                    <a:pt x="14209" y="7218"/>
                    <a:pt x="14774" y="6628"/>
                    <a:pt x="15313" y="6166"/>
                  </a:cubicBezTo>
                  <a:cubicBezTo>
                    <a:pt x="15376" y="6105"/>
                    <a:pt x="15564" y="5953"/>
                    <a:pt x="15877" y="5710"/>
                  </a:cubicBezTo>
                  <a:cubicBezTo>
                    <a:pt x="16065" y="5576"/>
                    <a:pt x="16184" y="5461"/>
                    <a:pt x="16234" y="5364"/>
                  </a:cubicBezTo>
                  <a:cubicBezTo>
                    <a:pt x="16309" y="5095"/>
                    <a:pt x="16366" y="4944"/>
                    <a:pt x="16403" y="4907"/>
                  </a:cubicBezTo>
                  <a:cubicBezTo>
                    <a:pt x="16478" y="4774"/>
                    <a:pt x="16586" y="4707"/>
                    <a:pt x="16723" y="4707"/>
                  </a:cubicBezTo>
                  <a:cubicBezTo>
                    <a:pt x="16799" y="4719"/>
                    <a:pt x="16868" y="4816"/>
                    <a:pt x="16930" y="4998"/>
                  </a:cubicBezTo>
                  <a:cubicBezTo>
                    <a:pt x="17005" y="5169"/>
                    <a:pt x="17093" y="5254"/>
                    <a:pt x="17193" y="5254"/>
                  </a:cubicBezTo>
                  <a:cubicBezTo>
                    <a:pt x="17482" y="5266"/>
                    <a:pt x="17657" y="5181"/>
                    <a:pt x="17720" y="4998"/>
                  </a:cubicBezTo>
                  <a:cubicBezTo>
                    <a:pt x="17782" y="4780"/>
                    <a:pt x="17971" y="4652"/>
                    <a:pt x="18284" y="4616"/>
                  </a:cubicBezTo>
                  <a:cubicBezTo>
                    <a:pt x="18334" y="4591"/>
                    <a:pt x="18516" y="4433"/>
                    <a:pt x="18829" y="4141"/>
                  </a:cubicBezTo>
                  <a:cubicBezTo>
                    <a:pt x="19155" y="3862"/>
                    <a:pt x="19343" y="3722"/>
                    <a:pt x="19393" y="3722"/>
                  </a:cubicBezTo>
                  <a:cubicBezTo>
                    <a:pt x="19444" y="3709"/>
                    <a:pt x="19600" y="3819"/>
                    <a:pt x="19863" y="4050"/>
                  </a:cubicBezTo>
                  <a:cubicBezTo>
                    <a:pt x="20190" y="4257"/>
                    <a:pt x="20528" y="4366"/>
                    <a:pt x="20879" y="4379"/>
                  </a:cubicBezTo>
                  <a:cubicBezTo>
                    <a:pt x="21017" y="4379"/>
                    <a:pt x="21111" y="4451"/>
                    <a:pt x="21161" y="4597"/>
                  </a:cubicBezTo>
                  <a:cubicBezTo>
                    <a:pt x="21186" y="4658"/>
                    <a:pt x="21193" y="4774"/>
                    <a:pt x="21180" y="4944"/>
                  </a:cubicBezTo>
                  <a:cubicBezTo>
                    <a:pt x="21180" y="5138"/>
                    <a:pt x="21243" y="5248"/>
                    <a:pt x="21368" y="5272"/>
                  </a:cubicBezTo>
                  <a:cubicBezTo>
                    <a:pt x="21518" y="5321"/>
                    <a:pt x="21594" y="5369"/>
                    <a:pt x="21594" y="5418"/>
                  </a:cubicBezTo>
                  <a:cubicBezTo>
                    <a:pt x="21594" y="5479"/>
                    <a:pt x="21587" y="5588"/>
                    <a:pt x="21575" y="5747"/>
                  </a:cubicBezTo>
                  <a:cubicBezTo>
                    <a:pt x="21575" y="5868"/>
                    <a:pt x="21569" y="6026"/>
                    <a:pt x="21556" y="6221"/>
                  </a:cubicBezTo>
                  <a:cubicBezTo>
                    <a:pt x="21506" y="6610"/>
                    <a:pt x="21362" y="6805"/>
                    <a:pt x="21124" y="6805"/>
                  </a:cubicBezTo>
                  <a:cubicBezTo>
                    <a:pt x="21073" y="6792"/>
                    <a:pt x="20748" y="6598"/>
                    <a:pt x="20146" y="6221"/>
                  </a:cubicBezTo>
                  <a:cubicBezTo>
                    <a:pt x="19544" y="5856"/>
                    <a:pt x="19193" y="5674"/>
                    <a:pt x="19093" y="5674"/>
                  </a:cubicBezTo>
                  <a:cubicBezTo>
                    <a:pt x="18855" y="5662"/>
                    <a:pt x="18717" y="5856"/>
                    <a:pt x="18679" y="6257"/>
                  </a:cubicBezTo>
                  <a:cubicBezTo>
                    <a:pt x="18654" y="6500"/>
                    <a:pt x="18641" y="6847"/>
                    <a:pt x="18641" y="7297"/>
                  </a:cubicBezTo>
                  <a:cubicBezTo>
                    <a:pt x="18616" y="7662"/>
                    <a:pt x="18441" y="8027"/>
                    <a:pt x="18115" y="8392"/>
                  </a:cubicBezTo>
                  <a:cubicBezTo>
                    <a:pt x="17726" y="8805"/>
                    <a:pt x="17500" y="9091"/>
                    <a:pt x="17438" y="9249"/>
                  </a:cubicBezTo>
                  <a:cubicBezTo>
                    <a:pt x="17350" y="9419"/>
                    <a:pt x="17244" y="9529"/>
                    <a:pt x="17118" y="9578"/>
                  </a:cubicBezTo>
                  <a:cubicBezTo>
                    <a:pt x="16893" y="9626"/>
                    <a:pt x="16692" y="9669"/>
                    <a:pt x="16517" y="9705"/>
                  </a:cubicBezTo>
                  <a:cubicBezTo>
                    <a:pt x="16329" y="9754"/>
                    <a:pt x="16210" y="9870"/>
                    <a:pt x="16159" y="10052"/>
                  </a:cubicBezTo>
                  <a:cubicBezTo>
                    <a:pt x="16096" y="10332"/>
                    <a:pt x="16052" y="10484"/>
                    <a:pt x="16027" y="10508"/>
                  </a:cubicBezTo>
                  <a:cubicBezTo>
                    <a:pt x="15889" y="10739"/>
                    <a:pt x="15739" y="11189"/>
                    <a:pt x="15576" y="11858"/>
                  </a:cubicBezTo>
                  <a:cubicBezTo>
                    <a:pt x="15488" y="12211"/>
                    <a:pt x="15231" y="12381"/>
                    <a:pt x="14805" y="12369"/>
                  </a:cubicBezTo>
                  <a:cubicBezTo>
                    <a:pt x="14605" y="12369"/>
                    <a:pt x="14479" y="12266"/>
                    <a:pt x="14429" y="12059"/>
                  </a:cubicBezTo>
                  <a:cubicBezTo>
                    <a:pt x="14367" y="11852"/>
                    <a:pt x="14260" y="11748"/>
                    <a:pt x="14109" y="11748"/>
                  </a:cubicBezTo>
                  <a:cubicBezTo>
                    <a:pt x="13683" y="11724"/>
                    <a:pt x="13414" y="11980"/>
                    <a:pt x="13301" y="12515"/>
                  </a:cubicBezTo>
                  <a:cubicBezTo>
                    <a:pt x="13238" y="12807"/>
                    <a:pt x="13138" y="13257"/>
                    <a:pt x="13000" y="13865"/>
                  </a:cubicBezTo>
                  <a:cubicBezTo>
                    <a:pt x="12962" y="13950"/>
                    <a:pt x="12693" y="14613"/>
                    <a:pt x="12192" y="15853"/>
                  </a:cubicBezTo>
                  <a:cubicBezTo>
                    <a:pt x="11878" y="16559"/>
                    <a:pt x="11747" y="17143"/>
                    <a:pt x="11796" y="17605"/>
                  </a:cubicBezTo>
                  <a:cubicBezTo>
                    <a:pt x="11697" y="18091"/>
                    <a:pt x="11489" y="18559"/>
                    <a:pt x="11176" y="19009"/>
                  </a:cubicBezTo>
                  <a:cubicBezTo>
                    <a:pt x="11113" y="19119"/>
                    <a:pt x="10881" y="19198"/>
                    <a:pt x="10480" y="19247"/>
                  </a:cubicBezTo>
                  <a:cubicBezTo>
                    <a:pt x="10104" y="19308"/>
                    <a:pt x="9923" y="19362"/>
                    <a:pt x="9935" y="19411"/>
                  </a:cubicBezTo>
                  <a:cubicBezTo>
                    <a:pt x="9935" y="19472"/>
                    <a:pt x="9935" y="19575"/>
                    <a:pt x="9935" y="19721"/>
                  </a:cubicBezTo>
                  <a:cubicBezTo>
                    <a:pt x="9897" y="19830"/>
                    <a:pt x="9765" y="19879"/>
                    <a:pt x="9540" y="19867"/>
                  </a:cubicBezTo>
                  <a:cubicBezTo>
                    <a:pt x="9465" y="19867"/>
                    <a:pt x="9364" y="19848"/>
                    <a:pt x="9239" y="19812"/>
                  </a:cubicBezTo>
                  <a:cubicBezTo>
                    <a:pt x="9101" y="19752"/>
                    <a:pt x="9026" y="19721"/>
                    <a:pt x="9013" y="19721"/>
                  </a:cubicBezTo>
                  <a:cubicBezTo>
                    <a:pt x="8963" y="19721"/>
                    <a:pt x="8901" y="19855"/>
                    <a:pt x="8825" y="20122"/>
                  </a:cubicBezTo>
                  <a:cubicBezTo>
                    <a:pt x="8725" y="20390"/>
                    <a:pt x="8581" y="20542"/>
                    <a:pt x="8393" y="20578"/>
                  </a:cubicBezTo>
                  <a:cubicBezTo>
                    <a:pt x="8180" y="20591"/>
                    <a:pt x="7942" y="20676"/>
                    <a:pt x="7679" y="20834"/>
                  </a:cubicBezTo>
                  <a:cubicBezTo>
                    <a:pt x="7427" y="20980"/>
                    <a:pt x="7234" y="21053"/>
                    <a:pt x="7095" y="21053"/>
                  </a:cubicBezTo>
                  <a:cubicBezTo>
                    <a:pt x="7046" y="21053"/>
                    <a:pt x="6964" y="20992"/>
                    <a:pt x="6851" y="20870"/>
                  </a:cubicBezTo>
                  <a:cubicBezTo>
                    <a:pt x="6738" y="20785"/>
                    <a:pt x="6663" y="20743"/>
                    <a:pt x="6625" y="20743"/>
                  </a:cubicBezTo>
                  <a:cubicBezTo>
                    <a:pt x="6512" y="20743"/>
                    <a:pt x="6337" y="20876"/>
                    <a:pt x="6099" y="21144"/>
                  </a:cubicBezTo>
                  <a:cubicBezTo>
                    <a:pt x="5886" y="21448"/>
                    <a:pt x="5679" y="21600"/>
                    <a:pt x="5478" y="21600"/>
                  </a:cubicBezTo>
                  <a:cubicBezTo>
                    <a:pt x="5303" y="21588"/>
                    <a:pt x="5046" y="21497"/>
                    <a:pt x="4707" y="21326"/>
                  </a:cubicBezTo>
                  <a:cubicBezTo>
                    <a:pt x="4470" y="21181"/>
                    <a:pt x="4312" y="21071"/>
                    <a:pt x="4237" y="20998"/>
                  </a:cubicBezTo>
                  <a:lnTo>
                    <a:pt x="4218" y="20961"/>
                  </a:lnTo>
                  <a:lnTo>
                    <a:pt x="4218" y="20943"/>
                  </a:lnTo>
                  <a:lnTo>
                    <a:pt x="4200" y="20925"/>
                  </a:lnTo>
                  <a:cubicBezTo>
                    <a:pt x="4087" y="20792"/>
                    <a:pt x="3936" y="20554"/>
                    <a:pt x="3748" y="20214"/>
                  </a:cubicBezTo>
                  <a:lnTo>
                    <a:pt x="3429" y="19648"/>
                  </a:lnTo>
                  <a:cubicBezTo>
                    <a:pt x="3429" y="19648"/>
                    <a:pt x="3316" y="19684"/>
                    <a:pt x="3316" y="19684"/>
                  </a:cubicBezTo>
                  <a:close/>
                  <a:moveTo>
                    <a:pt x="3316" y="1968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6" name="AutoShape 123"/>
            <p:cNvSpPr>
              <a:spLocks/>
            </p:cNvSpPr>
            <p:nvPr/>
          </p:nvSpPr>
          <p:spPr bwMode="auto">
            <a:xfrm>
              <a:off x="7919951" y="4061606"/>
              <a:ext cx="87296" cy="169998"/>
            </a:xfrm>
            <a:custGeom>
              <a:avLst/>
              <a:gdLst/>
              <a:ahLst/>
              <a:cxnLst/>
              <a:rect l="0" t="0" r="r" b="b"/>
              <a:pathLst>
                <a:path w="21509" h="21600">
                  <a:moveTo>
                    <a:pt x="17814" y="20797"/>
                  </a:moveTo>
                  <a:cubicBezTo>
                    <a:pt x="12843" y="21211"/>
                    <a:pt x="9858" y="21479"/>
                    <a:pt x="8857" y="21600"/>
                  </a:cubicBezTo>
                  <a:cubicBezTo>
                    <a:pt x="8791" y="20633"/>
                    <a:pt x="8540" y="19960"/>
                    <a:pt x="8106" y="19580"/>
                  </a:cubicBezTo>
                  <a:cubicBezTo>
                    <a:pt x="7338" y="18924"/>
                    <a:pt x="6922" y="18319"/>
                    <a:pt x="6855" y="17767"/>
                  </a:cubicBezTo>
                  <a:cubicBezTo>
                    <a:pt x="6855" y="17284"/>
                    <a:pt x="6838" y="16903"/>
                    <a:pt x="6804" y="16627"/>
                  </a:cubicBezTo>
                  <a:cubicBezTo>
                    <a:pt x="6771" y="16213"/>
                    <a:pt x="6621" y="15825"/>
                    <a:pt x="6355" y="15462"/>
                  </a:cubicBezTo>
                  <a:cubicBezTo>
                    <a:pt x="6087" y="14927"/>
                    <a:pt x="5921" y="14625"/>
                    <a:pt x="5854" y="14556"/>
                  </a:cubicBezTo>
                  <a:cubicBezTo>
                    <a:pt x="5722" y="14417"/>
                    <a:pt x="5471" y="14383"/>
                    <a:pt x="5104" y="14452"/>
                  </a:cubicBezTo>
                  <a:cubicBezTo>
                    <a:pt x="4537" y="14556"/>
                    <a:pt x="4169" y="14616"/>
                    <a:pt x="4003" y="14634"/>
                  </a:cubicBezTo>
                  <a:cubicBezTo>
                    <a:pt x="3736" y="14634"/>
                    <a:pt x="3603" y="14460"/>
                    <a:pt x="3603" y="14115"/>
                  </a:cubicBezTo>
                  <a:cubicBezTo>
                    <a:pt x="3603" y="13925"/>
                    <a:pt x="3651" y="13562"/>
                    <a:pt x="3753" y="13027"/>
                  </a:cubicBezTo>
                  <a:cubicBezTo>
                    <a:pt x="3786" y="12682"/>
                    <a:pt x="3720" y="12449"/>
                    <a:pt x="3552" y="12328"/>
                  </a:cubicBezTo>
                  <a:cubicBezTo>
                    <a:pt x="3151" y="12052"/>
                    <a:pt x="2918" y="11879"/>
                    <a:pt x="2852" y="11810"/>
                  </a:cubicBezTo>
                  <a:cubicBezTo>
                    <a:pt x="2584" y="11586"/>
                    <a:pt x="2451" y="11344"/>
                    <a:pt x="2451" y="11085"/>
                  </a:cubicBezTo>
                  <a:cubicBezTo>
                    <a:pt x="2385" y="10516"/>
                    <a:pt x="2451" y="9928"/>
                    <a:pt x="2651" y="9324"/>
                  </a:cubicBezTo>
                  <a:cubicBezTo>
                    <a:pt x="2719" y="9134"/>
                    <a:pt x="2719" y="8961"/>
                    <a:pt x="2651" y="8806"/>
                  </a:cubicBezTo>
                  <a:cubicBezTo>
                    <a:pt x="2584" y="8719"/>
                    <a:pt x="2418" y="8521"/>
                    <a:pt x="2150" y="8210"/>
                  </a:cubicBezTo>
                  <a:cubicBezTo>
                    <a:pt x="1918" y="8020"/>
                    <a:pt x="1918" y="7761"/>
                    <a:pt x="2150" y="7433"/>
                  </a:cubicBezTo>
                  <a:cubicBezTo>
                    <a:pt x="2285" y="7191"/>
                    <a:pt x="2301" y="7019"/>
                    <a:pt x="2201" y="6915"/>
                  </a:cubicBezTo>
                  <a:cubicBezTo>
                    <a:pt x="2068" y="6881"/>
                    <a:pt x="1834" y="6803"/>
                    <a:pt x="1501" y="6682"/>
                  </a:cubicBezTo>
                  <a:cubicBezTo>
                    <a:pt x="1167" y="6613"/>
                    <a:pt x="899" y="6475"/>
                    <a:pt x="700" y="6267"/>
                  </a:cubicBezTo>
                  <a:cubicBezTo>
                    <a:pt x="567" y="6060"/>
                    <a:pt x="483" y="5758"/>
                    <a:pt x="450" y="5361"/>
                  </a:cubicBezTo>
                  <a:lnTo>
                    <a:pt x="450" y="4584"/>
                  </a:lnTo>
                  <a:cubicBezTo>
                    <a:pt x="450" y="4446"/>
                    <a:pt x="383" y="4316"/>
                    <a:pt x="250" y="4195"/>
                  </a:cubicBezTo>
                  <a:lnTo>
                    <a:pt x="0" y="4092"/>
                  </a:lnTo>
                  <a:lnTo>
                    <a:pt x="0" y="2642"/>
                  </a:lnTo>
                  <a:cubicBezTo>
                    <a:pt x="1001" y="2504"/>
                    <a:pt x="1534" y="2434"/>
                    <a:pt x="1601" y="2434"/>
                  </a:cubicBezTo>
                  <a:cubicBezTo>
                    <a:pt x="4203" y="2141"/>
                    <a:pt x="7622" y="1718"/>
                    <a:pt x="11859" y="1166"/>
                  </a:cubicBezTo>
                  <a:cubicBezTo>
                    <a:pt x="17030" y="510"/>
                    <a:pt x="19782" y="121"/>
                    <a:pt x="20116" y="0"/>
                  </a:cubicBezTo>
                  <a:lnTo>
                    <a:pt x="20466" y="389"/>
                  </a:lnTo>
                  <a:cubicBezTo>
                    <a:pt x="20533" y="561"/>
                    <a:pt x="20566" y="803"/>
                    <a:pt x="20566" y="1114"/>
                  </a:cubicBezTo>
                  <a:cubicBezTo>
                    <a:pt x="20499" y="1424"/>
                    <a:pt x="20367" y="1692"/>
                    <a:pt x="20165" y="1917"/>
                  </a:cubicBezTo>
                  <a:cubicBezTo>
                    <a:pt x="19999" y="2106"/>
                    <a:pt x="19966" y="2305"/>
                    <a:pt x="20066" y="2512"/>
                  </a:cubicBezTo>
                  <a:cubicBezTo>
                    <a:pt x="20165" y="2616"/>
                    <a:pt x="20316" y="2762"/>
                    <a:pt x="20517" y="2952"/>
                  </a:cubicBezTo>
                  <a:cubicBezTo>
                    <a:pt x="20650" y="3039"/>
                    <a:pt x="20849" y="3151"/>
                    <a:pt x="21117" y="3289"/>
                  </a:cubicBezTo>
                  <a:cubicBezTo>
                    <a:pt x="21283" y="3445"/>
                    <a:pt x="21401" y="3617"/>
                    <a:pt x="21467" y="3807"/>
                  </a:cubicBezTo>
                  <a:cubicBezTo>
                    <a:pt x="21600" y="4152"/>
                    <a:pt x="21416" y="4524"/>
                    <a:pt x="20916" y="4921"/>
                  </a:cubicBezTo>
                  <a:cubicBezTo>
                    <a:pt x="20849" y="5024"/>
                    <a:pt x="20666" y="5154"/>
                    <a:pt x="20367" y="5310"/>
                  </a:cubicBezTo>
                  <a:cubicBezTo>
                    <a:pt x="20099" y="5448"/>
                    <a:pt x="19882" y="5594"/>
                    <a:pt x="19716" y="5750"/>
                  </a:cubicBezTo>
                  <a:cubicBezTo>
                    <a:pt x="19483" y="5939"/>
                    <a:pt x="19065" y="6138"/>
                    <a:pt x="18465" y="6345"/>
                  </a:cubicBezTo>
                  <a:cubicBezTo>
                    <a:pt x="17698" y="6587"/>
                    <a:pt x="17214" y="6760"/>
                    <a:pt x="17014" y="6864"/>
                  </a:cubicBezTo>
                  <a:cubicBezTo>
                    <a:pt x="16680" y="7070"/>
                    <a:pt x="16629" y="7321"/>
                    <a:pt x="16864" y="7614"/>
                  </a:cubicBezTo>
                  <a:cubicBezTo>
                    <a:pt x="16997" y="7770"/>
                    <a:pt x="17129" y="7908"/>
                    <a:pt x="17264" y="8029"/>
                  </a:cubicBezTo>
                  <a:lnTo>
                    <a:pt x="17214" y="11422"/>
                  </a:lnTo>
                  <a:cubicBezTo>
                    <a:pt x="17214" y="11646"/>
                    <a:pt x="16930" y="11802"/>
                    <a:pt x="16363" y="11888"/>
                  </a:cubicBezTo>
                  <a:lnTo>
                    <a:pt x="15912" y="13545"/>
                  </a:lnTo>
                  <a:cubicBezTo>
                    <a:pt x="15812" y="13995"/>
                    <a:pt x="15962" y="14288"/>
                    <a:pt x="16363" y="14426"/>
                  </a:cubicBezTo>
                  <a:cubicBezTo>
                    <a:pt x="16563" y="14478"/>
                    <a:pt x="16629" y="14642"/>
                    <a:pt x="16563" y="14918"/>
                  </a:cubicBezTo>
                  <a:cubicBezTo>
                    <a:pt x="16563" y="15073"/>
                    <a:pt x="16514" y="15324"/>
                    <a:pt x="16412" y="15669"/>
                  </a:cubicBezTo>
                  <a:cubicBezTo>
                    <a:pt x="16412" y="15825"/>
                    <a:pt x="16412" y="16084"/>
                    <a:pt x="16412" y="16446"/>
                  </a:cubicBezTo>
                  <a:cubicBezTo>
                    <a:pt x="16379" y="16705"/>
                    <a:pt x="16412" y="16886"/>
                    <a:pt x="16514" y="16990"/>
                  </a:cubicBezTo>
                  <a:lnTo>
                    <a:pt x="16913" y="17379"/>
                  </a:lnTo>
                  <a:cubicBezTo>
                    <a:pt x="17047" y="17585"/>
                    <a:pt x="17129" y="17801"/>
                    <a:pt x="17163" y="18026"/>
                  </a:cubicBezTo>
                  <a:cubicBezTo>
                    <a:pt x="17198" y="18423"/>
                    <a:pt x="17114" y="18621"/>
                    <a:pt x="16913" y="18621"/>
                  </a:cubicBezTo>
                  <a:cubicBezTo>
                    <a:pt x="16780" y="18674"/>
                    <a:pt x="16629" y="18734"/>
                    <a:pt x="16463" y="18803"/>
                  </a:cubicBezTo>
                  <a:cubicBezTo>
                    <a:pt x="16230" y="18975"/>
                    <a:pt x="16080" y="19148"/>
                    <a:pt x="16013" y="19321"/>
                  </a:cubicBezTo>
                  <a:cubicBezTo>
                    <a:pt x="15912" y="19476"/>
                    <a:pt x="15996" y="19623"/>
                    <a:pt x="16264" y="19761"/>
                  </a:cubicBezTo>
                  <a:cubicBezTo>
                    <a:pt x="16396" y="19830"/>
                    <a:pt x="16713" y="19934"/>
                    <a:pt x="17214" y="20072"/>
                  </a:cubicBezTo>
                  <a:cubicBezTo>
                    <a:pt x="17614" y="20210"/>
                    <a:pt x="17831" y="20365"/>
                    <a:pt x="17864" y="20538"/>
                  </a:cubicBezTo>
                  <a:cubicBezTo>
                    <a:pt x="17864" y="20642"/>
                    <a:pt x="17847" y="20728"/>
                    <a:pt x="17814" y="20797"/>
                  </a:cubicBezTo>
                  <a:close/>
                  <a:moveTo>
                    <a:pt x="17814" y="2079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7" name="AutoShape 124"/>
            <p:cNvSpPr>
              <a:spLocks/>
            </p:cNvSpPr>
            <p:nvPr/>
          </p:nvSpPr>
          <p:spPr bwMode="auto">
            <a:xfrm>
              <a:off x="5845263" y="3820649"/>
              <a:ext cx="313449" cy="517141"/>
            </a:xfrm>
            <a:custGeom>
              <a:avLst/>
              <a:gdLst/>
              <a:ahLst/>
              <a:cxnLst/>
              <a:rect l="0" t="0" r="r" b="b"/>
              <a:pathLst>
                <a:path w="21600" h="21600">
                  <a:moveTo>
                    <a:pt x="9794" y="20476"/>
                  </a:moveTo>
                  <a:cubicBezTo>
                    <a:pt x="7411" y="20186"/>
                    <a:pt x="4869" y="19857"/>
                    <a:pt x="2167" y="19488"/>
                  </a:cubicBezTo>
                  <a:cubicBezTo>
                    <a:pt x="1548" y="19408"/>
                    <a:pt x="825" y="19303"/>
                    <a:pt x="0" y="19173"/>
                  </a:cubicBezTo>
                  <a:cubicBezTo>
                    <a:pt x="38" y="19002"/>
                    <a:pt x="174" y="18622"/>
                    <a:pt x="408" y="18031"/>
                  </a:cubicBezTo>
                  <a:cubicBezTo>
                    <a:pt x="624" y="17498"/>
                    <a:pt x="779" y="17063"/>
                    <a:pt x="872" y="16728"/>
                  </a:cubicBezTo>
                  <a:cubicBezTo>
                    <a:pt x="966" y="16382"/>
                    <a:pt x="1135" y="15930"/>
                    <a:pt x="1379" y="15374"/>
                  </a:cubicBezTo>
                  <a:cubicBezTo>
                    <a:pt x="1632" y="14806"/>
                    <a:pt x="1764" y="14485"/>
                    <a:pt x="1773" y="14411"/>
                  </a:cubicBezTo>
                  <a:cubicBezTo>
                    <a:pt x="1792" y="14230"/>
                    <a:pt x="1933" y="14019"/>
                    <a:pt x="2195" y="13781"/>
                  </a:cubicBezTo>
                  <a:cubicBezTo>
                    <a:pt x="2467" y="13531"/>
                    <a:pt x="2608" y="13321"/>
                    <a:pt x="2617" y="13151"/>
                  </a:cubicBezTo>
                  <a:cubicBezTo>
                    <a:pt x="2617" y="13054"/>
                    <a:pt x="2481" y="12975"/>
                    <a:pt x="2209" y="12912"/>
                  </a:cubicBezTo>
                  <a:cubicBezTo>
                    <a:pt x="1956" y="12838"/>
                    <a:pt x="1839" y="12691"/>
                    <a:pt x="1857" y="12469"/>
                  </a:cubicBezTo>
                  <a:cubicBezTo>
                    <a:pt x="1867" y="12203"/>
                    <a:pt x="2064" y="11961"/>
                    <a:pt x="2448" y="11745"/>
                  </a:cubicBezTo>
                  <a:cubicBezTo>
                    <a:pt x="2974" y="11473"/>
                    <a:pt x="3335" y="11214"/>
                    <a:pt x="3532" y="10970"/>
                  </a:cubicBezTo>
                  <a:cubicBezTo>
                    <a:pt x="3719" y="10721"/>
                    <a:pt x="4067" y="10425"/>
                    <a:pt x="4573" y="10084"/>
                  </a:cubicBezTo>
                  <a:cubicBezTo>
                    <a:pt x="4704" y="9999"/>
                    <a:pt x="4869" y="9872"/>
                    <a:pt x="5066" y="9701"/>
                  </a:cubicBezTo>
                  <a:cubicBezTo>
                    <a:pt x="5216" y="9582"/>
                    <a:pt x="5357" y="9494"/>
                    <a:pt x="5488" y="9437"/>
                  </a:cubicBezTo>
                  <a:cubicBezTo>
                    <a:pt x="5488" y="9426"/>
                    <a:pt x="5493" y="9417"/>
                    <a:pt x="5502" y="9412"/>
                  </a:cubicBezTo>
                  <a:cubicBezTo>
                    <a:pt x="5502" y="9293"/>
                    <a:pt x="5450" y="9173"/>
                    <a:pt x="5347" y="9054"/>
                  </a:cubicBezTo>
                  <a:cubicBezTo>
                    <a:pt x="5282" y="8986"/>
                    <a:pt x="5159" y="8898"/>
                    <a:pt x="4981" y="8790"/>
                  </a:cubicBezTo>
                  <a:cubicBezTo>
                    <a:pt x="4916" y="8744"/>
                    <a:pt x="4803" y="8614"/>
                    <a:pt x="4644" y="8398"/>
                  </a:cubicBezTo>
                  <a:cubicBezTo>
                    <a:pt x="4522" y="8228"/>
                    <a:pt x="4451" y="8128"/>
                    <a:pt x="4433" y="8100"/>
                  </a:cubicBezTo>
                  <a:lnTo>
                    <a:pt x="4433" y="8083"/>
                  </a:lnTo>
                  <a:cubicBezTo>
                    <a:pt x="4433" y="7924"/>
                    <a:pt x="4442" y="7805"/>
                    <a:pt x="4461" y="7725"/>
                  </a:cubicBezTo>
                  <a:cubicBezTo>
                    <a:pt x="4461" y="7708"/>
                    <a:pt x="4498" y="7657"/>
                    <a:pt x="4573" y="7572"/>
                  </a:cubicBezTo>
                  <a:cubicBezTo>
                    <a:pt x="4639" y="7493"/>
                    <a:pt x="4672" y="7441"/>
                    <a:pt x="4672" y="7419"/>
                  </a:cubicBezTo>
                  <a:cubicBezTo>
                    <a:pt x="4681" y="7333"/>
                    <a:pt x="4620" y="7254"/>
                    <a:pt x="4489" y="7180"/>
                  </a:cubicBezTo>
                  <a:cubicBezTo>
                    <a:pt x="4348" y="7106"/>
                    <a:pt x="4278" y="7052"/>
                    <a:pt x="4278" y="7018"/>
                  </a:cubicBezTo>
                  <a:cubicBezTo>
                    <a:pt x="4503" y="6797"/>
                    <a:pt x="4639" y="6646"/>
                    <a:pt x="4686" y="6567"/>
                  </a:cubicBezTo>
                  <a:cubicBezTo>
                    <a:pt x="4714" y="6510"/>
                    <a:pt x="4742" y="6453"/>
                    <a:pt x="4770" y="6396"/>
                  </a:cubicBezTo>
                  <a:lnTo>
                    <a:pt x="7725" y="0"/>
                  </a:lnTo>
                  <a:lnTo>
                    <a:pt x="10061" y="375"/>
                  </a:lnTo>
                  <a:cubicBezTo>
                    <a:pt x="9948" y="778"/>
                    <a:pt x="9817" y="1178"/>
                    <a:pt x="9667" y="1576"/>
                  </a:cubicBezTo>
                  <a:lnTo>
                    <a:pt x="9147" y="2938"/>
                  </a:lnTo>
                  <a:cubicBezTo>
                    <a:pt x="9147" y="3024"/>
                    <a:pt x="9268" y="3217"/>
                    <a:pt x="9512" y="3518"/>
                  </a:cubicBezTo>
                  <a:cubicBezTo>
                    <a:pt x="9766" y="3813"/>
                    <a:pt x="9888" y="4012"/>
                    <a:pt x="9878" y="4114"/>
                  </a:cubicBezTo>
                  <a:cubicBezTo>
                    <a:pt x="9869" y="4165"/>
                    <a:pt x="9831" y="4261"/>
                    <a:pt x="9766" y="4403"/>
                  </a:cubicBezTo>
                  <a:cubicBezTo>
                    <a:pt x="9681" y="4551"/>
                    <a:pt x="9648" y="4653"/>
                    <a:pt x="9667" y="4710"/>
                  </a:cubicBezTo>
                  <a:cubicBezTo>
                    <a:pt x="9686" y="4772"/>
                    <a:pt x="9822" y="4875"/>
                    <a:pt x="10075" y="5017"/>
                  </a:cubicBezTo>
                  <a:cubicBezTo>
                    <a:pt x="10347" y="5159"/>
                    <a:pt x="10605" y="5335"/>
                    <a:pt x="10849" y="5545"/>
                  </a:cubicBezTo>
                  <a:cubicBezTo>
                    <a:pt x="10858" y="5602"/>
                    <a:pt x="10985" y="5758"/>
                    <a:pt x="11229" y="6013"/>
                  </a:cubicBezTo>
                  <a:cubicBezTo>
                    <a:pt x="11426" y="6229"/>
                    <a:pt x="11520" y="6416"/>
                    <a:pt x="11511" y="6575"/>
                  </a:cubicBezTo>
                  <a:cubicBezTo>
                    <a:pt x="11511" y="6638"/>
                    <a:pt x="11572" y="6703"/>
                    <a:pt x="11693" y="6771"/>
                  </a:cubicBezTo>
                  <a:cubicBezTo>
                    <a:pt x="11843" y="6862"/>
                    <a:pt x="11933" y="6933"/>
                    <a:pt x="11961" y="6984"/>
                  </a:cubicBezTo>
                  <a:cubicBezTo>
                    <a:pt x="11989" y="7052"/>
                    <a:pt x="12083" y="7126"/>
                    <a:pt x="12242" y="7206"/>
                  </a:cubicBezTo>
                  <a:cubicBezTo>
                    <a:pt x="12392" y="7274"/>
                    <a:pt x="12491" y="7311"/>
                    <a:pt x="12538" y="7316"/>
                  </a:cubicBezTo>
                  <a:cubicBezTo>
                    <a:pt x="12613" y="7316"/>
                    <a:pt x="12744" y="7302"/>
                    <a:pt x="12932" y="7274"/>
                  </a:cubicBezTo>
                  <a:cubicBezTo>
                    <a:pt x="12997" y="7274"/>
                    <a:pt x="13054" y="7296"/>
                    <a:pt x="13101" y="7342"/>
                  </a:cubicBezTo>
                  <a:cubicBezTo>
                    <a:pt x="13138" y="7370"/>
                    <a:pt x="13152" y="7407"/>
                    <a:pt x="13143" y="7453"/>
                  </a:cubicBezTo>
                  <a:cubicBezTo>
                    <a:pt x="13143" y="7458"/>
                    <a:pt x="12946" y="7677"/>
                    <a:pt x="12552" y="8109"/>
                  </a:cubicBezTo>
                  <a:cubicBezTo>
                    <a:pt x="12177" y="8568"/>
                    <a:pt x="11984" y="8875"/>
                    <a:pt x="11975" y="9028"/>
                  </a:cubicBezTo>
                  <a:cubicBezTo>
                    <a:pt x="11975" y="9034"/>
                    <a:pt x="12003" y="9079"/>
                    <a:pt x="12059" y="9165"/>
                  </a:cubicBezTo>
                  <a:cubicBezTo>
                    <a:pt x="12125" y="9250"/>
                    <a:pt x="12158" y="9338"/>
                    <a:pt x="12158" y="9429"/>
                  </a:cubicBezTo>
                  <a:cubicBezTo>
                    <a:pt x="12158" y="9440"/>
                    <a:pt x="12078" y="9477"/>
                    <a:pt x="11919" y="9540"/>
                  </a:cubicBezTo>
                  <a:cubicBezTo>
                    <a:pt x="11768" y="9596"/>
                    <a:pt x="11689" y="9667"/>
                    <a:pt x="11679" y="9752"/>
                  </a:cubicBezTo>
                  <a:cubicBezTo>
                    <a:pt x="11670" y="9872"/>
                    <a:pt x="11618" y="9957"/>
                    <a:pt x="11525" y="10008"/>
                  </a:cubicBezTo>
                  <a:cubicBezTo>
                    <a:pt x="11421" y="10047"/>
                    <a:pt x="11370" y="10096"/>
                    <a:pt x="11370" y="10153"/>
                  </a:cubicBezTo>
                  <a:cubicBezTo>
                    <a:pt x="11370" y="10249"/>
                    <a:pt x="11487" y="10334"/>
                    <a:pt x="11722" y="10408"/>
                  </a:cubicBezTo>
                  <a:cubicBezTo>
                    <a:pt x="11778" y="10420"/>
                    <a:pt x="11853" y="10465"/>
                    <a:pt x="11947" y="10544"/>
                  </a:cubicBezTo>
                  <a:cubicBezTo>
                    <a:pt x="12012" y="10607"/>
                    <a:pt x="12073" y="10638"/>
                    <a:pt x="12130" y="10638"/>
                  </a:cubicBezTo>
                  <a:cubicBezTo>
                    <a:pt x="12214" y="10638"/>
                    <a:pt x="12636" y="10508"/>
                    <a:pt x="13396" y="10246"/>
                  </a:cubicBezTo>
                  <a:cubicBezTo>
                    <a:pt x="13565" y="10252"/>
                    <a:pt x="13687" y="10360"/>
                    <a:pt x="13762" y="10570"/>
                  </a:cubicBezTo>
                  <a:cubicBezTo>
                    <a:pt x="13790" y="10678"/>
                    <a:pt x="13814" y="10794"/>
                    <a:pt x="13832" y="10919"/>
                  </a:cubicBezTo>
                  <a:cubicBezTo>
                    <a:pt x="13814" y="10948"/>
                    <a:pt x="13795" y="11061"/>
                    <a:pt x="13776" y="11260"/>
                  </a:cubicBezTo>
                  <a:cubicBezTo>
                    <a:pt x="13757" y="11402"/>
                    <a:pt x="13795" y="11501"/>
                    <a:pt x="13889" y="11558"/>
                  </a:cubicBezTo>
                  <a:cubicBezTo>
                    <a:pt x="13945" y="11603"/>
                    <a:pt x="14057" y="11683"/>
                    <a:pt x="14226" y="11796"/>
                  </a:cubicBezTo>
                  <a:cubicBezTo>
                    <a:pt x="14386" y="11899"/>
                    <a:pt x="14461" y="11984"/>
                    <a:pt x="14452" y="12052"/>
                  </a:cubicBezTo>
                  <a:cubicBezTo>
                    <a:pt x="14452" y="12103"/>
                    <a:pt x="14419" y="12208"/>
                    <a:pt x="14353" y="12367"/>
                  </a:cubicBezTo>
                  <a:cubicBezTo>
                    <a:pt x="14278" y="12532"/>
                    <a:pt x="14240" y="12640"/>
                    <a:pt x="14240" y="12691"/>
                  </a:cubicBezTo>
                  <a:cubicBezTo>
                    <a:pt x="14231" y="12787"/>
                    <a:pt x="14283" y="12850"/>
                    <a:pt x="14395" y="12878"/>
                  </a:cubicBezTo>
                  <a:cubicBezTo>
                    <a:pt x="14480" y="12901"/>
                    <a:pt x="14625" y="12909"/>
                    <a:pt x="14831" y="12904"/>
                  </a:cubicBezTo>
                  <a:cubicBezTo>
                    <a:pt x="14916" y="12892"/>
                    <a:pt x="15014" y="12932"/>
                    <a:pt x="15127" y="13023"/>
                  </a:cubicBezTo>
                  <a:cubicBezTo>
                    <a:pt x="15221" y="13091"/>
                    <a:pt x="15282" y="13171"/>
                    <a:pt x="15310" y="13261"/>
                  </a:cubicBezTo>
                  <a:cubicBezTo>
                    <a:pt x="15329" y="13301"/>
                    <a:pt x="15347" y="13483"/>
                    <a:pt x="15366" y="13807"/>
                  </a:cubicBezTo>
                  <a:cubicBezTo>
                    <a:pt x="15413" y="14125"/>
                    <a:pt x="15507" y="14286"/>
                    <a:pt x="15648" y="14292"/>
                  </a:cubicBezTo>
                  <a:cubicBezTo>
                    <a:pt x="15770" y="14292"/>
                    <a:pt x="15854" y="14244"/>
                    <a:pt x="15901" y="14147"/>
                  </a:cubicBezTo>
                  <a:cubicBezTo>
                    <a:pt x="15957" y="14045"/>
                    <a:pt x="16126" y="13997"/>
                    <a:pt x="16408" y="14003"/>
                  </a:cubicBezTo>
                  <a:cubicBezTo>
                    <a:pt x="16605" y="14008"/>
                    <a:pt x="16759" y="14042"/>
                    <a:pt x="16872" y="14105"/>
                  </a:cubicBezTo>
                  <a:cubicBezTo>
                    <a:pt x="16966" y="14162"/>
                    <a:pt x="17027" y="14190"/>
                    <a:pt x="17055" y="14190"/>
                  </a:cubicBezTo>
                  <a:cubicBezTo>
                    <a:pt x="17158" y="14196"/>
                    <a:pt x="17327" y="14153"/>
                    <a:pt x="17561" y="14062"/>
                  </a:cubicBezTo>
                  <a:cubicBezTo>
                    <a:pt x="17787" y="13994"/>
                    <a:pt x="17923" y="13960"/>
                    <a:pt x="17969" y="13960"/>
                  </a:cubicBezTo>
                  <a:cubicBezTo>
                    <a:pt x="17988" y="13960"/>
                    <a:pt x="18129" y="14000"/>
                    <a:pt x="18392" y="14079"/>
                  </a:cubicBezTo>
                  <a:cubicBezTo>
                    <a:pt x="18420" y="14079"/>
                    <a:pt x="18504" y="14079"/>
                    <a:pt x="18645" y="14079"/>
                  </a:cubicBezTo>
                  <a:cubicBezTo>
                    <a:pt x="18767" y="14079"/>
                    <a:pt x="18856" y="14093"/>
                    <a:pt x="18912" y="14122"/>
                  </a:cubicBezTo>
                  <a:cubicBezTo>
                    <a:pt x="18931" y="14128"/>
                    <a:pt x="18992" y="14156"/>
                    <a:pt x="19095" y="14207"/>
                  </a:cubicBezTo>
                  <a:cubicBezTo>
                    <a:pt x="19180" y="14258"/>
                    <a:pt x="19269" y="14278"/>
                    <a:pt x="19363" y="14267"/>
                  </a:cubicBezTo>
                  <a:cubicBezTo>
                    <a:pt x="19428" y="14267"/>
                    <a:pt x="19630" y="14278"/>
                    <a:pt x="19968" y="14301"/>
                  </a:cubicBezTo>
                  <a:lnTo>
                    <a:pt x="20151" y="14292"/>
                  </a:lnTo>
                  <a:cubicBezTo>
                    <a:pt x="20160" y="14258"/>
                    <a:pt x="20240" y="14170"/>
                    <a:pt x="20390" y="14028"/>
                  </a:cubicBezTo>
                  <a:cubicBezTo>
                    <a:pt x="20577" y="13875"/>
                    <a:pt x="20676" y="13790"/>
                    <a:pt x="20685" y="13772"/>
                  </a:cubicBezTo>
                  <a:cubicBezTo>
                    <a:pt x="20910" y="13932"/>
                    <a:pt x="21215" y="14159"/>
                    <a:pt x="21600" y="14454"/>
                  </a:cubicBezTo>
                  <a:cubicBezTo>
                    <a:pt x="21515" y="14749"/>
                    <a:pt x="21408" y="15150"/>
                    <a:pt x="21276" y="15655"/>
                  </a:cubicBezTo>
                  <a:lnTo>
                    <a:pt x="19574" y="21600"/>
                  </a:lnTo>
                  <a:cubicBezTo>
                    <a:pt x="18485" y="21526"/>
                    <a:pt x="15817" y="21228"/>
                    <a:pt x="11567" y="20706"/>
                  </a:cubicBezTo>
                  <a:cubicBezTo>
                    <a:pt x="11567" y="20706"/>
                    <a:pt x="9794" y="20476"/>
                    <a:pt x="9794" y="20476"/>
                  </a:cubicBezTo>
                  <a:close/>
                  <a:moveTo>
                    <a:pt x="9794" y="2047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8" name="AutoShape 125"/>
            <p:cNvSpPr>
              <a:spLocks/>
            </p:cNvSpPr>
            <p:nvPr/>
          </p:nvSpPr>
          <p:spPr bwMode="auto">
            <a:xfrm>
              <a:off x="6478288" y="4118783"/>
              <a:ext cx="367563" cy="263931"/>
            </a:xfrm>
            <a:custGeom>
              <a:avLst/>
              <a:gdLst/>
              <a:ahLst/>
              <a:cxnLst/>
              <a:rect l="0" t="0" r="r" b="b"/>
              <a:pathLst>
                <a:path w="21600" h="21600">
                  <a:moveTo>
                    <a:pt x="1187" y="0"/>
                  </a:moveTo>
                  <a:lnTo>
                    <a:pt x="9630" y="1001"/>
                  </a:lnTo>
                  <a:cubicBezTo>
                    <a:pt x="15587" y="1613"/>
                    <a:pt x="19465" y="1802"/>
                    <a:pt x="21264" y="1569"/>
                  </a:cubicBezTo>
                  <a:cubicBezTo>
                    <a:pt x="21224" y="1802"/>
                    <a:pt x="21176" y="2014"/>
                    <a:pt x="21120" y="2203"/>
                  </a:cubicBezTo>
                  <a:cubicBezTo>
                    <a:pt x="20968" y="2648"/>
                    <a:pt x="20737" y="3005"/>
                    <a:pt x="20425" y="3272"/>
                  </a:cubicBezTo>
                  <a:cubicBezTo>
                    <a:pt x="20449" y="3772"/>
                    <a:pt x="20637" y="4212"/>
                    <a:pt x="20989" y="4590"/>
                  </a:cubicBezTo>
                  <a:cubicBezTo>
                    <a:pt x="21356" y="4969"/>
                    <a:pt x="21560" y="5369"/>
                    <a:pt x="21600" y="5792"/>
                  </a:cubicBezTo>
                  <a:cubicBezTo>
                    <a:pt x="21568" y="6237"/>
                    <a:pt x="21544" y="7055"/>
                    <a:pt x="21528" y="8246"/>
                  </a:cubicBezTo>
                  <a:lnTo>
                    <a:pt x="21504" y="10216"/>
                  </a:lnTo>
                  <a:cubicBezTo>
                    <a:pt x="21472" y="11952"/>
                    <a:pt x="21452" y="12909"/>
                    <a:pt x="21444" y="13087"/>
                  </a:cubicBezTo>
                  <a:cubicBezTo>
                    <a:pt x="21444" y="13866"/>
                    <a:pt x="21436" y="14561"/>
                    <a:pt x="21420" y="15173"/>
                  </a:cubicBezTo>
                  <a:lnTo>
                    <a:pt x="21144" y="15157"/>
                  </a:lnTo>
                  <a:lnTo>
                    <a:pt x="20989" y="15207"/>
                  </a:lnTo>
                  <a:lnTo>
                    <a:pt x="21000" y="15641"/>
                  </a:lnTo>
                  <a:cubicBezTo>
                    <a:pt x="21024" y="15685"/>
                    <a:pt x="21072" y="15741"/>
                    <a:pt x="21144" y="15808"/>
                  </a:cubicBezTo>
                  <a:cubicBezTo>
                    <a:pt x="21192" y="15886"/>
                    <a:pt x="21216" y="15963"/>
                    <a:pt x="21216" y="16041"/>
                  </a:cubicBezTo>
                  <a:cubicBezTo>
                    <a:pt x="21216" y="16119"/>
                    <a:pt x="21192" y="16197"/>
                    <a:pt x="21144" y="16275"/>
                  </a:cubicBezTo>
                  <a:cubicBezTo>
                    <a:pt x="21088" y="16386"/>
                    <a:pt x="21060" y="16464"/>
                    <a:pt x="21060" y="16509"/>
                  </a:cubicBezTo>
                  <a:cubicBezTo>
                    <a:pt x="21052" y="16531"/>
                    <a:pt x="21080" y="16592"/>
                    <a:pt x="21144" y="16693"/>
                  </a:cubicBezTo>
                  <a:cubicBezTo>
                    <a:pt x="21208" y="16782"/>
                    <a:pt x="21240" y="16926"/>
                    <a:pt x="21240" y="17127"/>
                  </a:cubicBezTo>
                  <a:lnTo>
                    <a:pt x="21240" y="17160"/>
                  </a:lnTo>
                  <a:cubicBezTo>
                    <a:pt x="21328" y="17160"/>
                    <a:pt x="21388" y="17165"/>
                    <a:pt x="21420" y="17176"/>
                  </a:cubicBezTo>
                  <a:cubicBezTo>
                    <a:pt x="21436" y="17210"/>
                    <a:pt x="21444" y="17254"/>
                    <a:pt x="21444" y="17310"/>
                  </a:cubicBezTo>
                  <a:cubicBezTo>
                    <a:pt x="21444" y="17466"/>
                    <a:pt x="21396" y="17622"/>
                    <a:pt x="21300" y="17777"/>
                  </a:cubicBezTo>
                  <a:cubicBezTo>
                    <a:pt x="21196" y="17944"/>
                    <a:pt x="21140" y="18117"/>
                    <a:pt x="21132" y="18295"/>
                  </a:cubicBezTo>
                  <a:cubicBezTo>
                    <a:pt x="21124" y="18395"/>
                    <a:pt x="21072" y="18573"/>
                    <a:pt x="20976" y="18829"/>
                  </a:cubicBezTo>
                  <a:cubicBezTo>
                    <a:pt x="20880" y="19063"/>
                    <a:pt x="20833" y="19185"/>
                    <a:pt x="20833" y="19196"/>
                  </a:cubicBezTo>
                  <a:cubicBezTo>
                    <a:pt x="20825" y="19297"/>
                    <a:pt x="20937" y="19586"/>
                    <a:pt x="21169" y="20064"/>
                  </a:cubicBezTo>
                  <a:cubicBezTo>
                    <a:pt x="21400" y="20565"/>
                    <a:pt x="21508" y="21077"/>
                    <a:pt x="21492" y="21600"/>
                  </a:cubicBezTo>
                  <a:cubicBezTo>
                    <a:pt x="21476" y="21511"/>
                    <a:pt x="21472" y="21422"/>
                    <a:pt x="21480" y="21333"/>
                  </a:cubicBezTo>
                  <a:cubicBezTo>
                    <a:pt x="21432" y="20743"/>
                    <a:pt x="20981" y="20148"/>
                    <a:pt x="20125" y="19547"/>
                  </a:cubicBezTo>
                  <a:cubicBezTo>
                    <a:pt x="19302" y="19002"/>
                    <a:pt x="18546" y="18718"/>
                    <a:pt x="17858" y="18696"/>
                  </a:cubicBezTo>
                  <a:cubicBezTo>
                    <a:pt x="17610" y="18684"/>
                    <a:pt x="17418" y="18762"/>
                    <a:pt x="17282" y="18929"/>
                  </a:cubicBezTo>
                  <a:cubicBezTo>
                    <a:pt x="17147" y="19096"/>
                    <a:pt x="17027" y="19179"/>
                    <a:pt x="16923" y="19179"/>
                  </a:cubicBezTo>
                  <a:cubicBezTo>
                    <a:pt x="16699" y="19179"/>
                    <a:pt x="16447" y="18974"/>
                    <a:pt x="16167" y="18562"/>
                  </a:cubicBezTo>
                  <a:cubicBezTo>
                    <a:pt x="15895" y="18195"/>
                    <a:pt x="15719" y="17972"/>
                    <a:pt x="15639" y="17894"/>
                  </a:cubicBezTo>
                  <a:cubicBezTo>
                    <a:pt x="15631" y="17850"/>
                    <a:pt x="15619" y="17833"/>
                    <a:pt x="15603" y="17844"/>
                  </a:cubicBezTo>
                  <a:cubicBezTo>
                    <a:pt x="14380" y="17855"/>
                    <a:pt x="11434" y="17611"/>
                    <a:pt x="6764" y="17110"/>
                  </a:cubicBezTo>
                  <a:lnTo>
                    <a:pt x="0" y="16342"/>
                  </a:lnTo>
                  <a:lnTo>
                    <a:pt x="768" y="4974"/>
                  </a:lnTo>
                  <a:cubicBezTo>
                    <a:pt x="879" y="4429"/>
                    <a:pt x="979" y="3338"/>
                    <a:pt x="1067" y="1702"/>
                  </a:cubicBezTo>
                  <a:cubicBezTo>
                    <a:pt x="1067" y="1702"/>
                    <a:pt x="1187" y="0"/>
                    <a:pt x="1187" y="0"/>
                  </a:cubicBezTo>
                  <a:close/>
                  <a:moveTo>
                    <a:pt x="1187"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49" name="AutoShape 126"/>
            <p:cNvSpPr>
              <a:spLocks/>
            </p:cNvSpPr>
            <p:nvPr/>
          </p:nvSpPr>
          <p:spPr bwMode="auto">
            <a:xfrm>
              <a:off x="5816675" y="4645623"/>
              <a:ext cx="359395" cy="434949"/>
            </a:xfrm>
            <a:custGeom>
              <a:avLst/>
              <a:gdLst/>
              <a:ahLst/>
              <a:cxnLst/>
              <a:rect l="0" t="0" r="r" b="b"/>
              <a:pathLst>
                <a:path w="21600" h="21600">
                  <a:moveTo>
                    <a:pt x="18229" y="21600"/>
                  </a:moveTo>
                  <a:lnTo>
                    <a:pt x="11756" y="20790"/>
                  </a:lnTo>
                  <a:lnTo>
                    <a:pt x="0" y="14684"/>
                  </a:lnTo>
                  <a:lnTo>
                    <a:pt x="588" y="14117"/>
                  </a:lnTo>
                  <a:cubicBezTo>
                    <a:pt x="678" y="14137"/>
                    <a:pt x="838" y="14127"/>
                    <a:pt x="1067" y="14086"/>
                  </a:cubicBezTo>
                  <a:cubicBezTo>
                    <a:pt x="1353" y="14019"/>
                    <a:pt x="1496" y="13904"/>
                    <a:pt x="1496" y="13742"/>
                  </a:cubicBezTo>
                  <a:cubicBezTo>
                    <a:pt x="1504" y="13486"/>
                    <a:pt x="1418" y="13293"/>
                    <a:pt x="1238" y="13165"/>
                  </a:cubicBezTo>
                  <a:cubicBezTo>
                    <a:pt x="1042" y="13030"/>
                    <a:pt x="944" y="12952"/>
                    <a:pt x="944" y="12932"/>
                  </a:cubicBezTo>
                  <a:cubicBezTo>
                    <a:pt x="944" y="12756"/>
                    <a:pt x="960" y="12581"/>
                    <a:pt x="993" y="12405"/>
                  </a:cubicBezTo>
                  <a:cubicBezTo>
                    <a:pt x="1050" y="12128"/>
                    <a:pt x="1132" y="11949"/>
                    <a:pt x="1238" y="11868"/>
                  </a:cubicBezTo>
                  <a:cubicBezTo>
                    <a:pt x="1377" y="11787"/>
                    <a:pt x="1557" y="11612"/>
                    <a:pt x="1778" y="11342"/>
                  </a:cubicBezTo>
                  <a:cubicBezTo>
                    <a:pt x="2006" y="11078"/>
                    <a:pt x="2125" y="10893"/>
                    <a:pt x="2133" y="10785"/>
                  </a:cubicBezTo>
                  <a:cubicBezTo>
                    <a:pt x="2166" y="10258"/>
                    <a:pt x="2444" y="9850"/>
                    <a:pt x="2967" y="9560"/>
                  </a:cubicBezTo>
                  <a:cubicBezTo>
                    <a:pt x="3236" y="9438"/>
                    <a:pt x="3416" y="9350"/>
                    <a:pt x="3506" y="9296"/>
                  </a:cubicBezTo>
                  <a:cubicBezTo>
                    <a:pt x="3661" y="9208"/>
                    <a:pt x="3743" y="9127"/>
                    <a:pt x="3751" y="9053"/>
                  </a:cubicBezTo>
                  <a:cubicBezTo>
                    <a:pt x="3751" y="8986"/>
                    <a:pt x="3653" y="8891"/>
                    <a:pt x="3457" y="8770"/>
                  </a:cubicBezTo>
                  <a:cubicBezTo>
                    <a:pt x="3277" y="8641"/>
                    <a:pt x="3130" y="8577"/>
                    <a:pt x="3016" y="8577"/>
                  </a:cubicBezTo>
                  <a:lnTo>
                    <a:pt x="3016" y="8567"/>
                  </a:lnTo>
                  <a:cubicBezTo>
                    <a:pt x="3106" y="8223"/>
                    <a:pt x="3065" y="7841"/>
                    <a:pt x="2893" y="7423"/>
                  </a:cubicBezTo>
                  <a:cubicBezTo>
                    <a:pt x="2721" y="7099"/>
                    <a:pt x="2636" y="6933"/>
                    <a:pt x="2636" y="6927"/>
                  </a:cubicBezTo>
                  <a:cubicBezTo>
                    <a:pt x="2627" y="6724"/>
                    <a:pt x="2652" y="6549"/>
                    <a:pt x="2709" y="6400"/>
                  </a:cubicBezTo>
                  <a:cubicBezTo>
                    <a:pt x="2750" y="6272"/>
                    <a:pt x="2815" y="6154"/>
                    <a:pt x="2905" y="6046"/>
                  </a:cubicBezTo>
                  <a:cubicBezTo>
                    <a:pt x="3085" y="5836"/>
                    <a:pt x="3175" y="5644"/>
                    <a:pt x="3175" y="5468"/>
                  </a:cubicBezTo>
                  <a:cubicBezTo>
                    <a:pt x="3183" y="5225"/>
                    <a:pt x="3101" y="5131"/>
                    <a:pt x="2930" y="5185"/>
                  </a:cubicBezTo>
                  <a:cubicBezTo>
                    <a:pt x="2905" y="5084"/>
                    <a:pt x="2893" y="5002"/>
                    <a:pt x="2893" y="4942"/>
                  </a:cubicBezTo>
                  <a:cubicBezTo>
                    <a:pt x="2893" y="4759"/>
                    <a:pt x="2950" y="4632"/>
                    <a:pt x="3065" y="4557"/>
                  </a:cubicBezTo>
                  <a:cubicBezTo>
                    <a:pt x="3179" y="4476"/>
                    <a:pt x="3236" y="4425"/>
                    <a:pt x="3236" y="4405"/>
                  </a:cubicBezTo>
                  <a:cubicBezTo>
                    <a:pt x="3236" y="4324"/>
                    <a:pt x="3199" y="4240"/>
                    <a:pt x="3126" y="4152"/>
                  </a:cubicBezTo>
                  <a:cubicBezTo>
                    <a:pt x="3061" y="4071"/>
                    <a:pt x="3028" y="4017"/>
                    <a:pt x="3028" y="3990"/>
                  </a:cubicBezTo>
                  <a:cubicBezTo>
                    <a:pt x="3028" y="3882"/>
                    <a:pt x="3085" y="3781"/>
                    <a:pt x="3199" y="3686"/>
                  </a:cubicBezTo>
                  <a:cubicBezTo>
                    <a:pt x="3289" y="3598"/>
                    <a:pt x="3334" y="3541"/>
                    <a:pt x="3334" y="3514"/>
                  </a:cubicBezTo>
                  <a:cubicBezTo>
                    <a:pt x="3334" y="3467"/>
                    <a:pt x="3306" y="3430"/>
                    <a:pt x="3249" y="3403"/>
                  </a:cubicBezTo>
                  <a:cubicBezTo>
                    <a:pt x="3183" y="3382"/>
                    <a:pt x="3151" y="3342"/>
                    <a:pt x="3151" y="3281"/>
                  </a:cubicBezTo>
                  <a:cubicBezTo>
                    <a:pt x="3159" y="3180"/>
                    <a:pt x="3224" y="3062"/>
                    <a:pt x="3347" y="2927"/>
                  </a:cubicBezTo>
                  <a:cubicBezTo>
                    <a:pt x="3486" y="2771"/>
                    <a:pt x="3637" y="2690"/>
                    <a:pt x="3800" y="2684"/>
                  </a:cubicBezTo>
                  <a:cubicBezTo>
                    <a:pt x="3898" y="2684"/>
                    <a:pt x="3992" y="2718"/>
                    <a:pt x="4082" y="2785"/>
                  </a:cubicBezTo>
                  <a:cubicBezTo>
                    <a:pt x="4188" y="2846"/>
                    <a:pt x="4315" y="2883"/>
                    <a:pt x="4462" y="2896"/>
                  </a:cubicBezTo>
                  <a:cubicBezTo>
                    <a:pt x="4552" y="2917"/>
                    <a:pt x="4626" y="2988"/>
                    <a:pt x="4683" y="3109"/>
                  </a:cubicBezTo>
                  <a:cubicBezTo>
                    <a:pt x="4740" y="3231"/>
                    <a:pt x="4814" y="3291"/>
                    <a:pt x="4903" y="3291"/>
                  </a:cubicBezTo>
                  <a:cubicBezTo>
                    <a:pt x="5042" y="3298"/>
                    <a:pt x="5169" y="3221"/>
                    <a:pt x="5283" y="3058"/>
                  </a:cubicBezTo>
                  <a:cubicBezTo>
                    <a:pt x="5300" y="3025"/>
                    <a:pt x="5365" y="2900"/>
                    <a:pt x="5480" y="2684"/>
                  </a:cubicBezTo>
                  <a:lnTo>
                    <a:pt x="5492" y="2653"/>
                  </a:lnTo>
                  <a:lnTo>
                    <a:pt x="6142" y="0"/>
                  </a:lnTo>
                  <a:cubicBezTo>
                    <a:pt x="8896" y="675"/>
                    <a:pt x="13624" y="1448"/>
                    <a:pt x="20325" y="2319"/>
                  </a:cubicBezTo>
                  <a:cubicBezTo>
                    <a:pt x="20742" y="2366"/>
                    <a:pt x="21167" y="2414"/>
                    <a:pt x="21600" y="2461"/>
                  </a:cubicBezTo>
                  <a:cubicBezTo>
                    <a:pt x="19491" y="14809"/>
                    <a:pt x="18368" y="21188"/>
                    <a:pt x="18229" y="21600"/>
                  </a:cubicBezTo>
                  <a:close/>
                  <a:moveTo>
                    <a:pt x="18229"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0" name="AutoShape 127"/>
            <p:cNvSpPr>
              <a:spLocks/>
            </p:cNvSpPr>
            <p:nvPr/>
          </p:nvSpPr>
          <p:spPr bwMode="auto">
            <a:xfrm>
              <a:off x="6772338" y="5376664"/>
              <a:ext cx="16336" cy="36756"/>
            </a:xfrm>
            <a:custGeom>
              <a:avLst/>
              <a:gdLst/>
              <a:ahLst/>
              <a:cxnLst/>
              <a:rect l="0" t="0" r="r" b="b"/>
              <a:pathLst>
                <a:path w="21467" h="21600">
                  <a:moveTo>
                    <a:pt x="19051" y="4628"/>
                  </a:moveTo>
                  <a:cubicBezTo>
                    <a:pt x="18873" y="4786"/>
                    <a:pt x="18695" y="4944"/>
                    <a:pt x="18517" y="5104"/>
                  </a:cubicBezTo>
                  <a:cubicBezTo>
                    <a:pt x="17095" y="6291"/>
                    <a:pt x="16373" y="6925"/>
                    <a:pt x="16373" y="7004"/>
                  </a:cubicBezTo>
                  <a:cubicBezTo>
                    <a:pt x="14595" y="8743"/>
                    <a:pt x="11917" y="11432"/>
                    <a:pt x="8340" y="15072"/>
                  </a:cubicBezTo>
                  <a:cubicBezTo>
                    <a:pt x="4239" y="19424"/>
                    <a:pt x="1833" y="21600"/>
                    <a:pt x="1112" y="21600"/>
                  </a:cubicBezTo>
                  <a:cubicBezTo>
                    <a:pt x="223" y="21600"/>
                    <a:pt x="-133" y="21285"/>
                    <a:pt x="45" y="20649"/>
                  </a:cubicBezTo>
                  <a:cubicBezTo>
                    <a:pt x="45" y="20018"/>
                    <a:pt x="1562" y="17605"/>
                    <a:pt x="4595" y="13411"/>
                  </a:cubicBezTo>
                  <a:cubicBezTo>
                    <a:pt x="8162" y="8901"/>
                    <a:pt x="10756" y="6092"/>
                    <a:pt x="12356" y="4983"/>
                  </a:cubicBezTo>
                  <a:cubicBezTo>
                    <a:pt x="12900" y="4589"/>
                    <a:pt x="13883" y="3955"/>
                    <a:pt x="15306" y="3085"/>
                  </a:cubicBezTo>
                  <a:cubicBezTo>
                    <a:pt x="17984" y="1422"/>
                    <a:pt x="19595" y="397"/>
                    <a:pt x="20128" y="0"/>
                  </a:cubicBezTo>
                  <a:cubicBezTo>
                    <a:pt x="21017" y="79"/>
                    <a:pt x="21467" y="554"/>
                    <a:pt x="21467" y="1422"/>
                  </a:cubicBezTo>
                  <a:cubicBezTo>
                    <a:pt x="21467" y="1977"/>
                    <a:pt x="20662" y="3046"/>
                    <a:pt x="19051" y="4628"/>
                  </a:cubicBezTo>
                  <a:close/>
                  <a:moveTo>
                    <a:pt x="19051" y="462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1" name="AutoShape 128"/>
            <p:cNvSpPr>
              <a:spLocks/>
            </p:cNvSpPr>
            <p:nvPr/>
          </p:nvSpPr>
          <p:spPr bwMode="auto">
            <a:xfrm>
              <a:off x="6768254" y="5425673"/>
              <a:ext cx="11742" cy="66365"/>
            </a:xfrm>
            <a:custGeom>
              <a:avLst/>
              <a:gdLst/>
              <a:ahLst/>
              <a:cxnLst/>
              <a:rect l="0" t="0" r="r" b="b"/>
              <a:pathLst>
                <a:path w="20769" h="21600">
                  <a:moveTo>
                    <a:pt x="20019" y="21600"/>
                  </a:moveTo>
                  <a:lnTo>
                    <a:pt x="17570" y="21600"/>
                  </a:lnTo>
                  <a:cubicBezTo>
                    <a:pt x="16872" y="20807"/>
                    <a:pt x="13247" y="17659"/>
                    <a:pt x="6708" y="12154"/>
                  </a:cubicBezTo>
                  <a:cubicBezTo>
                    <a:pt x="1811" y="7925"/>
                    <a:pt x="-405" y="4558"/>
                    <a:pt x="60" y="2045"/>
                  </a:cubicBezTo>
                  <a:cubicBezTo>
                    <a:pt x="60" y="682"/>
                    <a:pt x="1113" y="0"/>
                    <a:pt x="3206" y="0"/>
                  </a:cubicBezTo>
                  <a:lnTo>
                    <a:pt x="4260" y="0"/>
                  </a:lnTo>
                  <a:cubicBezTo>
                    <a:pt x="4492" y="44"/>
                    <a:pt x="4615" y="199"/>
                    <a:pt x="4615" y="462"/>
                  </a:cubicBezTo>
                  <a:lnTo>
                    <a:pt x="3562" y="2706"/>
                  </a:lnTo>
                  <a:cubicBezTo>
                    <a:pt x="3330" y="5877"/>
                    <a:pt x="6243" y="8873"/>
                    <a:pt x="12317" y="11692"/>
                  </a:cubicBezTo>
                  <a:cubicBezTo>
                    <a:pt x="18391" y="14509"/>
                    <a:pt x="21195" y="17240"/>
                    <a:pt x="20716" y="19883"/>
                  </a:cubicBezTo>
                  <a:cubicBezTo>
                    <a:pt x="20716" y="20851"/>
                    <a:pt x="20484" y="21424"/>
                    <a:pt x="20019" y="21600"/>
                  </a:cubicBezTo>
                  <a:close/>
                  <a:moveTo>
                    <a:pt x="20019"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2" name="AutoShape 129"/>
            <p:cNvSpPr>
              <a:spLocks/>
            </p:cNvSpPr>
            <p:nvPr/>
          </p:nvSpPr>
          <p:spPr bwMode="auto">
            <a:xfrm>
              <a:off x="7270590" y="5201051"/>
              <a:ext cx="9189" cy="4084"/>
            </a:xfrm>
            <a:custGeom>
              <a:avLst/>
              <a:gdLst/>
              <a:ahLst/>
              <a:cxnLst/>
              <a:rect l="0" t="0" r="r" b="b"/>
              <a:pathLst>
                <a:path w="21600" h="21600">
                  <a:moveTo>
                    <a:pt x="13444" y="3097"/>
                  </a:moveTo>
                  <a:cubicBezTo>
                    <a:pt x="14400" y="3761"/>
                    <a:pt x="15844" y="5128"/>
                    <a:pt x="17775" y="7200"/>
                  </a:cubicBezTo>
                  <a:cubicBezTo>
                    <a:pt x="18731" y="8568"/>
                    <a:pt x="19856" y="10619"/>
                    <a:pt x="21131" y="13374"/>
                  </a:cubicBezTo>
                  <a:cubicBezTo>
                    <a:pt x="21131" y="14058"/>
                    <a:pt x="21281" y="14742"/>
                    <a:pt x="21600" y="15426"/>
                  </a:cubicBezTo>
                  <a:cubicBezTo>
                    <a:pt x="16800" y="19549"/>
                    <a:pt x="11850" y="21600"/>
                    <a:pt x="6731" y="21600"/>
                  </a:cubicBezTo>
                  <a:cubicBezTo>
                    <a:pt x="2250" y="20916"/>
                    <a:pt x="0" y="18181"/>
                    <a:pt x="0" y="13374"/>
                  </a:cubicBezTo>
                  <a:cubicBezTo>
                    <a:pt x="0" y="9935"/>
                    <a:pt x="656" y="6858"/>
                    <a:pt x="1931" y="4103"/>
                  </a:cubicBezTo>
                  <a:cubicBezTo>
                    <a:pt x="3844" y="1368"/>
                    <a:pt x="5775" y="0"/>
                    <a:pt x="7687" y="0"/>
                  </a:cubicBezTo>
                  <a:cubicBezTo>
                    <a:pt x="10256" y="0"/>
                    <a:pt x="12169" y="1026"/>
                    <a:pt x="13444" y="3097"/>
                  </a:cubicBezTo>
                  <a:close/>
                  <a:moveTo>
                    <a:pt x="13444" y="309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3" name="AutoShape 130"/>
            <p:cNvSpPr>
              <a:spLocks/>
            </p:cNvSpPr>
            <p:nvPr/>
          </p:nvSpPr>
          <p:spPr bwMode="auto">
            <a:xfrm>
              <a:off x="8054724" y="3759388"/>
              <a:ext cx="425760" cy="315491"/>
            </a:xfrm>
            <a:custGeom>
              <a:avLst/>
              <a:gdLst/>
              <a:ahLst/>
              <a:cxnLst/>
              <a:rect l="0" t="0" r="r" b="b"/>
              <a:pathLst>
                <a:path w="21600" h="21600">
                  <a:moveTo>
                    <a:pt x="6790" y="16183"/>
                  </a:moveTo>
                  <a:cubicBezTo>
                    <a:pt x="6734" y="16210"/>
                    <a:pt x="6679" y="16257"/>
                    <a:pt x="6624" y="16322"/>
                  </a:cubicBezTo>
                  <a:cubicBezTo>
                    <a:pt x="6541" y="16424"/>
                    <a:pt x="6414" y="16410"/>
                    <a:pt x="6241" y="16280"/>
                  </a:cubicBezTo>
                  <a:cubicBezTo>
                    <a:pt x="6068" y="16141"/>
                    <a:pt x="5965" y="16024"/>
                    <a:pt x="5930" y="15931"/>
                  </a:cubicBezTo>
                  <a:lnTo>
                    <a:pt x="5423" y="14772"/>
                  </a:lnTo>
                  <a:lnTo>
                    <a:pt x="4740" y="14563"/>
                  </a:lnTo>
                  <a:lnTo>
                    <a:pt x="3312" y="8726"/>
                  </a:lnTo>
                  <a:lnTo>
                    <a:pt x="1728" y="7498"/>
                  </a:lnTo>
                  <a:lnTo>
                    <a:pt x="1511" y="8210"/>
                  </a:lnTo>
                  <a:cubicBezTo>
                    <a:pt x="1490" y="8247"/>
                    <a:pt x="1466" y="8294"/>
                    <a:pt x="1438" y="8350"/>
                  </a:cubicBezTo>
                  <a:cubicBezTo>
                    <a:pt x="1363" y="8461"/>
                    <a:pt x="1263" y="8587"/>
                    <a:pt x="1138" y="8726"/>
                  </a:cubicBezTo>
                  <a:cubicBezTo>
                    <a:pt x="918" y="8978"/>
                    <a:pt x="714" y="9103"/>
                    <a:pt x="528" y="9103"/>
                  </a:cubicBezTo>
                  <a:cubicBezTo>
                    <a:pt x="362" y="9103"/>
                    <a:pt x="186" y="8992"/>
                    <a:pt x="0" y="8769"/>
                  </a:cubicBezTo>
                  <a:cubicBezTo>
                    <a:pt x="269" y="8396"/>
                    <a:pt x="545" y="7991"/>
                    <a:pt x="828" y="7554"/>
                  </a:cubicBezTo>
                  <a:cubicBezTo>
                    <a:pt x="1001" y="7256"/>
                    <a:pt x="1087" y="6963"/>
                    <a:pt x="1087" y="6674"/>
                  </a:cubicBezTo>
                  <a:cubicBezTo>
                    <a:pt x="1087" y="6218"/>
                    <a:pt x="1032" y="5832"/>
                    <a:pt x="921" y="5515"/>
                  </a:cubicBezTo>
                  <a:cubicBezTo>
                    <a:pt x="804" y="5283"/>
                    <a:pt x="745" y="5129"/>
                    <a:pt x="745" y="5054"/>
                  </a:cubicBezTo>
                  <a:cubicBezTo>
                    <a:pt x="745" y="4961"/>
                    <a:pt x="800" y="4906"/>
                    <a:pt x="911" y="4887"/>
                  </a:cubicBezTo>
                  <a:lnTo>
                    <a:pt x="1107" y="4887"/>
                  </a:lnTo>
                  <a:cubicBezTo>
                    <a:pt x="1183" y="4887"/>
                    <a:pt x="1256" y="4794"/>
                    <a:pt x="1325" y="4608"/>
                  </a:cubicBezTo>
                  <a:cubicBezTo>
                    <a:pt x="1394" y="4403"/>
                    <a:pt x="1459" y="4291"/>
                    <a:pt x="1521" y="4273"/>
                  </a:cubicBezTo>
                  <a:cubicBezTo>
                    <a:pt x="1618" y="4226"/>
                    <a:pt x="1770" y="4147"/>
                    <a:pt x="1977" y="4035"/>
                  </a:cubicBezTo>
                  <a:cubicBezTo>
                    <a:pt x="2115" y="3961"/>
                    <a:pt x="2211" y="3924"/>
                    <a:pt x="2266" y="3924"/>
                  </a:cubicBezTo>
                  <a:cubicBezTo>
                    <a:pt x="2356" y="3924"/>
                    <a:pt x="2456" y="4021"/>
                    <a:pt x="2567" y="4217"/>
                  </a:cubicBezTo>
                  <a:cubicBezTo>
                    <a:pt x="2670" y="4403"/>
                    <a:pt x="2777" y="4496"/>
                    <a:pt x="2887" y="4496"/>
                  </a:cubicBezTo>
                  <a:cubicBezTo>
                    <a:pt x="2963" y="4496"/>
                    <a:pt x="3316" y="4180"/>
                    <a:pt x="3943" y="3547"/>
                  </a:cubicBezTo>
                  <a:cubicBezTo>
                    <a:pt x="4385" y="3100"/>
                    <a:pt x="4740" y="2732"/>
                    <a:pt x="5009" y="2443"/>
                  </a:cubicBezTo>
                  <a:lnTo>
                    <a:pt x="5144" y="2443"/>
                  </a:lnTo>
                  <a:cubicBezTo>
                    <a:pt x="5392" y="2369"/>
                    <a:pt x="5751" y="2253"/>
                    <a:pt x="6220" y="2094"/>
                  </a:cubicBezTo>
                  <a:cubicBezTo>
                    <a:pt x="6379" y="2094"/>
                    <a:pt x="6531" y="2229"/>
                    <a:pt x="6676" y="2499"/>
                  </a:cubicBezTo>
                  <a:cubicBezTo>
                    <a:pt x="6820" y="2760"/>
                    <a:pt x="6914" y="2890"/>
                    <a:pt x="6955" y="2890"/>
                  </a:cubicBezTo>
                  <a:cubicBezTo>
                    <a:pt x="6997" y="2890"/>
                    <a:pt x="7131" y="2690"/>
                    <a:pt x="7359" y="2290"/>
                  </a:cubicBezTo>
                  <a:cubicBezTo>
                    <a:pt x="7586" y="1890"/>
                    <a:pt x="7787" y="1690"/>
                    <a:pt x="7959" y="1690"/>
                  </a:cubicBezTo>
                  <a:cubicBezTo>
                    <a:pt x="8000" y="1690"/>
                    <a:pt x="8114" y="1750"/>
                    <a:pt x="8300" y="1871"/>
                  </a:cubicBezTo>
                  <a:cubicBezTo>
                    <a:pt x="8494" y="2011"/>
                    <a:pt x="8608" y="2113"/>
                    <a:pt x="8642" y="2178"/>
                  </a:cubicBezTo>
                  <a:cubicBezTo>
                    <a:pt x="8663" y="2234"/>
                    <a:pt x="8697" y="2453"/>
                    <a:pt x="8746" y="2835"/>
                  </a:cubicBezTo>
                  <a:cubicBezTo>
                    <a:pt x="8794" y="3197"/>
                    <a:pt x="8818" y="3421"/>
                    <a:pt x="8818" y="3505"/>
                  </a:cubicBezTo>
                  <a:cubicBezTo>
                    <a:pt x="8818" y="3626"/>
                    <a:pt x="8759" y="3924"/>
                    <a:pt x="8642" y="4398"/>
                  </a:cubicBezTo>
                  <a:cubicBezTo>
                    <a:pt x="8511" y="4892"/>
                    <a:pt x="8442" y="5194"/>
                    <a:pt x="8435" y="5306"/>
                  </a:cubicBezTo>
                  <a:cubicBezTo>
                    <a:pt x="8449" y="5306"/>
                    <a:pt x="8476" y="5315"/>
                    <a:pt x="8518" y="5334"/>
                  </a:cubicBezTo>
                  <a:cubicBezTo>
                    <a:pt x="8601" y="5334"/>
                    <a:pt x="8718" y="5264"/>
                    <a:pt x="8870" y="5124"/>
                  </a:cubicBezTo>
                  <a:cubicBezTo>
                    <a:pt x="9022" y="4975"/>
                    <a:pt x="9142" y="4901"/>
                    <a:pt x="9232" y="4901"/>
                  </a:cubicBezTo>
                  <a:cubicBezTo>
                    <a:pt x="9411" y="4901"/>
                    <a:pt x="9522" y="5017"/>
                    <a:pt x="9563" y="5250"/>
                  </a:cubicBezTo>
                  <a:cubicBezTo>
                    <a:pt x="9577" y="5324"/>
                    <a:pt x="9584" y="5506"/>
                    <a:pt x="9584" y="5794"/>
                  </a:cubicBezTo>
                  <a:cubicBezTo>
                    <a:pt x="9584" y="6046"/>
                    <a:pt x="10063" y="6818"/>
                    <a:pt x="11022" y="8112"/>
                  </a:cubicBezTo>
                  <a:cubicBezTo>
                    <a:pt x="11064" y="8103"/>
                    <a:pt x="11202" y="8075"/>
                    <a:pt x="11436" y="8028"/>
                  </a:cubicBezTo>
                  <a:cubicBezTo>
                    <a:pt x="11664" y="7982"/>
                    <a:pt x="11830" y="7959"/>
                    <a:pt x="11933" y="7959"/>
                  </a:cubicBezTo>
                  <a:lnTo>
                    <a:pt x="12544" y="7931"/>
                  </a:lnTo>
                  <a:cubicBezTo>
                    <a:pt x="12579" y="7931"/>
                    <a:pt x="12640" y="7912"/>
                    <a:pt x="12730" y="7875"/>
                  </a:cubicBezTo>
                  <a:cubicBezTo>
                    <a:pt x="12758" y="7875"/>
                    <a:pt x="12796" y="7903"/>
                    <a:pt x="12844" y="7959"/>
                  </a:cubicBezTo>
                  <a:cubicBezTo>
                    <a:pt x="12899" y="8024"/>
                    <a:pt x="12927" y="8080"/>
                    <a:pt x="12927" y="8126"/>
                  </a:cubicBezTo>
                  <a:cubicBezTo>
                    <a:pt x="12927" y="8303"/>
                    <a:pt x="12858" y="8475"/>
                    <a:pt x="12720" y="8643"/>
                  </a:cubicBezTo>
                  <a:cubicBezTo>
                    <a:pt x="12554" y="8829"/>
                    <a:pt x="12454" y="8983"/>
                    <a:pt x="12420" y="9103"/>
                  </a:cubicBezTo>
                  <a:cubicBezTo>
                    <a:pt x="12447" y="9141"/>
                    <a:pt x="12478" y="9159"/>
                    <a:pt x="12513" y="9159"/>
                  </a:cubicBezTo>
                  <a:lnTo>
                    <a:pt x="13672" y="8796"/>
                  </a:lnTo>
                  <a:cubicBezTo>
                    <a:pt x="14458" y="8545"/>
                    <a:pt x="14917" y="8419"/>
                    <a:pt x="15048" y="8419"/>
                  </a:cubicBezTo>
                  <a:cubicBezTo>
                    <a:pt x="15048" y="8429"/>
                    <a:pt x="15048" y="8438"/>
                    <a:pt x="15048" y="8447"/>
                  </a:cubicBezTo>
                  <a:cubicBezTo>
                    <a:pt x="15048" y="8410"/>
                    <a:pt x="15190" y="8410"/>
                    <a:pt x="15473" y="8447"/>
                  </a:cubicBezTo>
                  <a:cubicBezTo>
                    <a:pt x="15480" y="8447"/>
                    <a:pt x="15576" y="8485"/>
                    <a:pt x="15763" y="8559"/>
                  </a:cubicBezTo>
                  <a:cubicBezTo>
                    <a:pt x="16025" y="8559"/>
                    <a:pt x="16325" y="8280"/>
                    <a:pt x="16663" y="7721"/>
                  </a:cubicBezTo>
                  <a:cubicBezTo>
                    <a:pt x="17001" y="7153"/>
                    <a:pt x="17184" y="6870"/>
                    <a:pt x="17212" y="6870"/>
                  </a:cubicBezTo>
                  <a:cubicBezTo>
                    <a:pt x="17336" y="6870"/>
                    <a:pt x="17450" y="6995"/>
                    <a:pt x="17553" y="7247"/>
                  </a:cubicBezTo>
                  <a:cubicBezTo>
                    <a:pt x="17650" y="7488"/>
                    <a:pt x="17722" y="7610"/>
                    <a:pt x="17770" y="7610"/>
                  </a:cubicBezTo>
                  <a:cubicBezTo>
                    <a:pt x="17846" y="7610"/>
                    <a:pt x="17929" y="7572"/>
                    <a:pt x="18019" y="7498"/>
                  </a:cubicBezTo>
                  <a:cubicBezTo>
                    <a:pt x="18067" y="7451"/>
                    <a:pt x="18146" y="7368"/>
                    <a:pt x="18257" y="7247"/>
                  </a:cubicBezTo>
                  <a:cubicBezTo>
                    <a:pt x="18388" y="7107"/>
                    <a:pt x="18454" y="6991"/>
                    <a:pt x="18454" y="6897"/>
                  </a:cubicBezTo>
                  <a:lnTo>
                    <a:pt x="18474" y="6562"/>
                  </a:lnTo>
                  <a:cubicBezTo>
                    <a:pt x="18474" y="6479"/>
                    <a:pt x="18409" y="6330"/>
                    <a:pt x="18278" y="6116"/>
                  </a:cubicBezTo>
                  <a:cubicBezTo>
                    <a:pt x="18140" y="5902"/>
                    <a:pt x="18071" y="5701"/>
                    <a:pt x="18071" y="5515"/>
                  </a:cubicBezTo>
                  <a:cubicBezTo>
                    <a:pt x="18071" y="5441"/>
                    <a:pt x="18088" y="5241"/>
                    <a:pt x="18123" y="4915"/>
                  </a:cubicBezTo>
                  <a:cubicBezTo>
                    <a:pt x="18143" y="4645"/>
                    <a:pt x="18146" y="4435"/>
                    <a:pt x="18133" y="4286"/>
                  </a:cubicBezTo>
                  <a:cubicBezTo>
                    <a:pt x="18112" y="4147"/>
                    <a:pt x="18123" y="3947"/>
                    <a:pt x="18164" y="3686"/>
                  </a:cubicBezTo>
                  <a:cubicBezTo>
                    <a:pt x="18212" y="3398"/>
                    <a:pt x="18243" y="3137"/>
                    <a:pt x="18257" y="2904"/>
                  </a:cubicBezTo>
                  <a:cubicBezTo>
                    <a:pt x="18271" y="2848"/>
                    <a:pt x="18285" y="2802"/>
                    <a:pt x="18298" y="2765"/>
                  </a:cubicBezTo>
                  <a:cubicBezTo>
                    <a:pt x="18298" y="2737"/>
                    <a:pt x="18298" y="2713"/>
                    <a:pt x="18298" y="2695"/>
                  </a:cubicBezTo>
                  <a:lnTo>
                    <a:pt x="18288" y="2625"/>
                  </a:lnTo>
                  <a:cubicBezTo>
                    <a:pt x="18302" y="2588"/>
                    <a:pt x="18309" y="2546"/>
                    <a:pt x="18309" y="2499"/>
                  </a:cubicBezTo>
                  <a:cubicBezTo>
                    <a:pt x="18350" y="2164"/>
                    <a:pt x="18371" y="1918"/>
                    <a:pt x="18371" y="1759"/>
                  </a:cubicBezTo>
                  <a:cubicBezTo>
                    <a:pt x="18330" y="1452"/>
                    <a:pt x="18309" y="1238"/>
                    <a:pt x="18309" y="1117"/>
                  </a:cubicBezTo>
                  <a:cubicBezTo>
                    <a:pt x="18309" y="373"/>
                    <a:pt x="18433" y="0"/>
                    <a:pt x="18681" y="0"/>
                  </a:cubicBezTo>
                  <a:cubicBezTo>
                    <a:pt x="18888" y="0"/>
                    <a:pt x="19054" y="182"/>
                    <a:pt x="19178" y="545"/>
                  </a:cubicBezTo>
                  <a:cubicBezTo>
                    <a:pt x="19275" y="842"/>
                    <a:pt x="19323" y="1187"/>
                    <a:pt x="19323" y="1578"/>
                  </a:cubicBezTo>
                  <a:cubicBezTo>
                    <a:pt x="19316" y="1783"/>
                    <a:pt x="19323" y="1997"/>
                    <a:pt x="19343" y="2220"/>
                  </a:cubicBezTo>
                  <a:cubicBezTo>
                    <a:pt x="19371" y="2453"/>
                    <a:pt x="19399" y="2611"/>
                    <a:pt x="19426" y="2695"/>
                  </a:cubicBezTo>
                  <a:cubicBezTo>
                    <a:pt x="19461" y="2797"/>
                    <a:pt x="19527" y="2900"/>
                    <a:pt x="19623" y="3002"/>
                  </a:cubicBezTo>
                  <a:cubicBezTo>
                    <a:pt x="19692" y="3076"/>
                    <a:pt x="19727" y="3179"/>
                    <a:pt x="19727" y="3309"/>
                  </a:cubicBezTo>
                  <a:lnTo>
                    <a:pt x="19685" y="3602"/>
                  </a:lnTo>
                  <a:cubicBezTo>
                    <a:pt x="19685" y="3649"/>
                    <a:pt x="19727" y="3728"/>
                    <a:pt x="19809" y="3840"/>
                  </a:cubicBezTo>
                  <a:cubicBezTo>
                    <a:pt x="19892" y="3747"/>
                    <a:pt x="19955" y="3593"/>
                    <a:pt x="19996" y="3379"/>
                  </a:cubicBezTo>
                  <a:cubicBezTo>
                    <a:pt x="20024" y="3230"/>
                    <a:pt x="20082" y="3156"/>
                    <a:pt x="20172" y="3156"/>
                  </a:cubicBezTo>
                  <a:lnTo>
                    <a:pt x="20441" y="3295"/>
                  </a:lnTo>
                  <a:cubicBezTo>
                    <a:pt x="20524" y="3295"/>
                    <a:pt x="20569" y="3207"/>
                    <a:pt x="20576" y="3030"/>
                  </a:cubicBezTo>
                  <a:cubicBezTo>
                    <a:pt x="20582" y="2844"/>
                    <a:pt x="20655" y="2751"/>
                    <a:pt x="20793" y="2751"/>
                  </a:cubicBezTo>
                  <a:cubicBezTo>
                    <a:pt x="20882" y="2751"/>
                    <a:pt x="20945" y="2797"/>
                    <a:pt x="20979" y="2890"/>
                  </a:cubicBezTo>
                  <a:cubicBezTo>
                    <a:pt x="21034" y="3049"/>
                    <a:pt x="21100" y="3165"/>
                    <a:pt x="21176" y="3239"/>
                  </a:cubicBezTo>
                  <a:cubicBezTo>
                    <a:pt x="21217" y="3286"/>
                    <a:pt x="21310" y="3323"/>
                    <a:pt x="21455" y="3351"/>
                  </a:cubicBezTo>
                  <a:cubicBezTo>
                    <a:pt x="21552" y="3379"/>
                    <a:pt x="21600" y="3458"/>
                    <a:pt x="21600" y="3588"/>
                  </a:cubicBezTo>
                  <a:cubicBezTo>
                    <a:pt x="21600" y="3653"/>
                    <a:pt x="21569" y="3714"/>
                    <a:pt x="21507" y="3770"/>
                  </a:cubicBezTo>
                  <a:cubicBezTo>
                    <a:pt x="21424" y="3854"/>
                    <a:pt x="21355" y="3956"/>
                    <a:pt x="21300" y="4077"/>
                  </a:cubicBezTo>
                  <a:cubicBezTo>
                    <a:pt x="21279" y="4124"/>
                    <a:pt x="21252" y="4235"/>
                    <a:pt x="21217" y="4412"/>
                  </a:cubicBezTo>
                  <a:cubicBezTo>
                    <a:pt x="21183" y="4598"/>
                    <a:pt x="21162" y="4705"/>
                    <a:pt x="21155" y="4733"/>
                  </a:cubicBezTo>
                  <a:cubicBezTo>
                    <a:pt x="21031" y="5050"/>
                    <a:pt x="20945" y="5250"/>
                    <a:pt x="20896" y="5334"/>
                  </a:cubicBezTo>
                  <a:cubicBezTo>
                    <a:pt x="20814" y="5483"/>
                    <a:pt x="20679" y="5646"/>
                    <a:pt x="20493" y="5822"/>
                  </a:cubicBezTo>
                  <a:cubicBezTo>
                    <a:pt x="19982" y="6353"/>
                    <a:pt x="19634" y="6697"/>
                    <a:pt x="19447" y="6856"/>
                  </a:cubicBezTo>
                  <a:cubicBezTo>
                    <a:pt x="19302" y="6902"/>
                    <a:pt x="19181" y="6949"/>
                    <a:pt x="19085" y="6995"/>
                  </a:cubicBezTo>
                  <a:cubicBezTo>
                    <a:pt x="18906" y="7070"/>
                    <a:pt x="18816" y="7172"/>
                    <a:pt x="18816" y="7302"/>
                  </a:cubicBezTo>
                  <a:cubicBezTo>
                    <a:pt x="18816" y="7358"/>
                    <a:pt x="18868" y="7414"/>
                    <a:pt x="18971" y="7470"/>
                  </a:cubicBezTo>
                  <a:cubicBezTo>
                    <a:pt x="19068" y="7517"/>
                    <a:pt x="19116" y="7596"/>
                    <a:pt x="19116" y="7707"/>
                  </a:cubicBezTo>
                  <a:cubicBezTo>
                    <a:pt x="19116" y="7754"/>
                    <a:pt x="19099" y="7861"/>
                    <a:pt x="19064" y="8028"/>
                  </a:cubicBezTo>
                  <a:cubicBezTo>
                    <a:pt x="19064" y="8103"/>
                    <a:pt x="19113" y="8149"/>
                    <a:pt x="19209" y="8168"/>
                  </a:cubicBezTo>
                  <a:cubicBezTo>
                    <a:pt x="19278" y="8168"/>
                    <a:pt x="19347" y="8140"/>
                    <a:pt x="19416" y="8084"/>
                  </a:cubicBezTo>
                  <a:cubicBezTo>
                    <a:pt x="19485" y="8028"/>
                    <a:pt x="19551" y="8001"/>
                    <a:pt x="19613" y="8001"/>
                  </a:cubicBezTo>
                  <a:cubicBezTo>
                    <a:pt x="19661" y="8001"/>
                    <a:pt x="19706" y="8019"/>
                    <a:pt x="19748" y="8056"/>
                  </a:cubicBezTo>
                  <a:cubicBezTo>
                    <a:pt x="19789" y="8093"/>
                    <a:pt x="19809" y="8131"/>
                    <a:pt x="19809" y="8168"/>
                  </a:cubicBezTo>
                  <a:cubicBezTo>
                    <a:pt x="19809" y="8419"/>
                    <a:pt x="19678" y="8694"/>
                    <a:pt x="19416" y="8992"/>
                  </a:cubicBezTo>
                  <a:cubicBezTo>
                    <a:pt x="18885" y="9606"/>
                    <a:pt x="18543" y="10020"/>
                    <a:pt x="18391" y="10235"/>
                  </a:cubicBezTo>
                  <a:cubicBezTo>
                    <a:pt x="18212" y="10476"/>
                    <a:pt x="17977" y="10816"/>
                    <a:pt x="17688" y="11254"/>
                  </a:cubicBezTo>
                  <a:cubicBezTo>
                    <a:pt x="17481" y="11552"/>
                    <a:pt x="17243" y="11887"/>
                    <a:pt x="16974" y="12259"/>
                  </a:cubicBezTo>
                  <a:cubicBezTo>
                    <a:pt x="16801" y="12622"/>
                    <a:pt x="16694" y="12841"/>
                    <a:pt x="16653" y="12915"/>
                  </a:cubicBezTo>
                  <a:cubicBezTo>
                    <a:pt x="16563" y="13055"/>
                    <a:pt x="16453" y="13129"/>
                    <a:pt x="16321" y="13139"/>
                  </a:cubicBezTo>
                  <a:cubicBezTo>
                    <a:pt x="16232" y="13139"/>
                    <a:pt x="16159" y="13264"/>
                    <a:pt x="16104" y="13516"/>
                  </a:cubicBezTo>
                  <a:cubicBezTo>
                    <a:pt x="16042" y="13767"/>
                    <a:pt x="15945" y="13893"/>
                    <a:pt x="15814" y="13893"/>
                  </a:cubicBezTo>
                  <a:lnTo>
                    <a:pt x="15525" y="13837"/>
                  </a:lnTo>
                  <a:cubicBezTo>
                    <a:pt x="15490" y="13827"/>
                    <a:pt x="15459" y="13827"/>
                    <a:pt x="15432" y="13837"/>
                  </a:cubicBezTo>
                  <a:cubicBezTo>
                    <a:pt x="15383" y="13846"/>
                    <a:pt x="15359" y="13883"/>
                    <a:pt x="15359" y="13948"/>
                  </a:cubicBezTo>
                  <a:cubicBezTo>
                    <a:pt x="15359" y="13986"/>
                    <a:pt x="15404" y="14042"/>
                    <a:pt x="15493" y="14116"/>
                  </a:cubicBezTo>
                  <a:cubicBezTo>
                    <a:pt x="15583" y="14191"/>
                    <a:pt x="15628" y="14279"/>
                    <a:pt x="15628" y="14381"/>
                  </a:cubicBezTo>
                  <a:cubicBezTo>
                    <a:pt x="15628" y="14540"/>
                    <a:pt x="15590" y="14679"/>
                    <a:pt x="15514" y="14800"/>
                  </a:cubicBezTo>
                  <a:cubicBezTo>
                    <a:pt x="15432" y="14921"/>
                    <a:pt x="15331" y="14982"/>
                    <a:pt x="15214" y="14982"/>
                  </a:cubicBezTo>
                  <a:cubicBezTo>
                    <a:pt x="15104" y="14982"/>
                    <a:pt x="15021" y="14935"/>
                    <a:pt x="14966" y="14842"/>
                  </a:cubicBezTo>
                  <a:cubicBezTo>
                    <a:pt x="14897" y="14730"/>
                    <a:pt x="14800" y="14656"/>
                    <a:pt x="14676" y="14619"/>
                  </a:cubicBezTo>
                  <a:cubicBezTo>
                    <a:pt x="14724" y="15149"/>
                    <a:pt x="14679" y="15415"/>
                    <a:pt x="14541" y="15415"/>
                  </a:cubicBezTo>
                  <a:cubicBezTo>
                    <a:pt x="14521" y="15415"/>
                    <a:pt x="14483" y="15368"/>
                    <a:pt x="14427" y="15275"/>
                  </a:cubicBezTo>
                  <a:cubicBezTo>
                    <a:pt x="14372" y="15182"/>
                    <a:pt x="14331" y="15131"/>
                    <a:pt x="14303" y="15121"/>
                  </a:cubicBezTo>
                  <a:cubicBezTo>
                    <a:pt x="14235" y="15196"/>
                    <a:pt x="14186" y="15247"/>
                    <a:pt x="14159" y="15275"/>
                  </a:cubicBezTo>
                  <a:cubicBezTo>
                    <a:pt x="14124" y="15331"/>
                    <a:pt x="14107" y="15396"/>
                    <a:pt x="14107" y="15470"/>
                  </a:cubicBezTo>
                  <a:cubicBezTo>
                    <a:pt x="14107" y="15526"/>
                    <a:pt x="14145" y="15643"/>
                    <a:pt x="14220" y="15820"/>
                  </a:cubicBezTo>
                  <a:cubicBezTo>
                    <a:pt x="14283" y="16005"/>
                    <a:pt x="14314" y="16136"/>
                    <a:pt x="14314" y="16210"/>
                  </a:cubicBezTo>
                  <a:cubicBezTo>
                    <a:pt x="14314" y="16397"/>
                    <a:pt x="14248" y="16629"/>
                    <a:pt x="14117" y="16909"/>
                  </a:cubicBezTo>
                  <a:cubicBezTo>
                    <a:pt x="13972" y="17197"/>
                    <a:pt x="13893" y="17458"/>
                    <a:pt x="13879" y="17691"/>
                  </a:cubicBezTo>
                  <a:cubicBezTo>
                    <a:pt x="13914" y="17988"/>
                    <a:pt x="13886" y="18258"/>
                    <a:pt x="13796" y="18500"/>
                  </a:cubicBezTo>
                  <a:cubicBezTo>
                    <a:pt x="13769" y="18556"/>
                    <a:pt x="13641" y="18793"/>
                    <a:pt x="13413" y="19212"/>
                  </a:cubicBezTo>
                  <a:cubicBezTo>
                    <a:pt x="13386" y="19259"/>
                    <a:pt x="13348" y="19384"/>
                    <a:pt x="13299" y="19590"/>
                  </a:cubicBezTo>
                  <a:cubicBezTo>
                    <a:pt x="13258" y="19766"/>
                    <a:pt x="13203" y="19883"/>
                    <a:pt x="13134" y="19938"/>
                  </a:cubicBezTo>
                  <a:cubicBezTo>
                    <a:pt x="13030" y="19995"/>
                    <a:pt x="12948" y="20045"/>
                    <a:pt x="12885" y="20092"/>
                  </a:cubicBezTo>
                  <a:cubicBezTo>
                    <a:pt x="12782" y="20185"/>
                    <a:pt x="12741" y="20287"/>
                    <a:pt x="12761" y="20399"/>
                  </a:cubicBezTo>
                  <a:cubicBezTo>
                    <a:pt x="12727" y="20911"/>
                    <a:pt x="12703" y="21190"/>
                    <a:pt x="12689" y="21236"/>
                  </a:cubicBezTo>
                  <a:cubicBezTo>
                    <a:pt x="12634" y="21479"/>
                    <a:pt x="12513" y="21600"/>
                    <a:pt x="12327" y="21600"/>
                  </a:cubicBezTo>
                  <a:cubicBezTo>
                    <a:pt x="12188" y="21600"/>
                    <a:pt x="12030" y="21446"/>
                    <a:pt x="11850" y="21139"/>
                  </a:cubicBezTo>
                  <a:cubicBezTo>
                    <a:pt x="11657" y="20823"/>
                    <a:pt x="11516" y="20664"/>
                    <a:pt x="11426" y="20664"/>
                  </a:cubicBezTo>
                  <a:cubicBezTo>
                    <a:pt x="11143" y="20785"/>
                    <a:pt x="10995" y="20846"/>
                    <a:pt x="10981" y="20846"/>
                  </a:cubicBezTo>
                  <a:cubicBezTo>
                    <a:pt x="10940" y="20846"/>
                    <a:pt x="10847" y="20720"/>
                    <a:pt x="10701" y="20469"/>
                  </a:cubicBezTo>
                  <a:cubicBezTo>
                    <a:pt x="10564" y="20236"/>
                    <a:pt x="10481" y="20097"/>
                    <a:pt x="10453" y="20050"/>
                  </a:cubicBezTo>
                  <a:lnTo>
                    <a:pt x="10453" y="20036"/>
                  </a:lnTo>
                  <a:cubicBezTo>
                    <a:pt x="10343" y="19775"/>
                    <a:pt x="10250" y="19487"/>
                    <a:pt x="10174" y="19170"/>
                  </a:cubicBezTo>
                  <a:cubicBezTo>
                    <a:pt x="10112" y="18901"/>
                    <a:pt x="10080" y="18686"/>
                    <a:pt x="10080" y="18528"/>
                  </a:cubicBezTo>
                  <a:cubicBezTo>
                    <a:pt x="10074" y="18342"/>
                    <a:pt x="10112" y="18081"/>
                    <a:pt x="10194" y="17746"/>
                  </a:cubicBezTo>
                  <a:cubicBezTo>
                    <a:pt x="10270" y="17402"/>
                    <a:pt x="10308" y="17220"/>
                    <a:pt x="10308" y="17202"/>
                  </a:cubicBezTo>
                  <a:cubicBezTo>
                    <a:pt x="10287" y="17006"/>
                    <a:pt x="10277" y="16876"/>
                    <a:pt x="10277" y="16811"/>
                  </a:cubicBezTo>
                  <a:cubicBezTo>
                    <a:pt x="10277" y="16708"/>
                    <a:pt x="10325" y="16611"/>
                    <a:pt x="10422" y="16518"/>
                  </a:cubicBezTo>
                  <a:cubicBezTo>
                    <a:pt x="10436" y="16508"/>
                    <a:pt x="10505" y="16443"/>
                    <a:pt x="10629" y="16322"/>
                  </a:cubicBezTo>
                  <a:cubicBezTo>
                    <a:pt x="10746" y="16201"/>
                    <a:pt x="10805" y="16103"/>
                    <a:pt x="10805" y="16029"/>
                  </a:cubicBezTo>
                  <a:cubicBezTo>
                    <a:pt x="10777" y="15926"/>
                    <a:pt x="10764" y="15852"/>
                    <a:pt x="10764" y="15805"/>
                  </a:cubicBezTo>
                  <a:cubicBezTo>
                    <a:pt x="10764" y="15703"/>
                    <a:pt x="10895" y="15424"/>
                    <a:pt x="11157" y="14968"/>
                  </a:cubicBezTo>
                  <a:cubicBezTo>
                    <a:pt x="11371" y="14595"/>
                    <a:pt x="11519" y="14353"/>
                    <a:pt x="11602" y="14242"/>
                  </a:cubicBezTo>
                  <a:cubicBezTo>
                    <a:pt x="11664" y="14158"/>
                    <a:pt x="11875" y="13772"/>
                    <a:pt x="12233" y="13083"/>
                  </a:cubicBezTo>
                  <a:cubicBezTo>
                    <a:pt x="12447" y="12645"/>
                    <a:pt x="12630" y="12427"/>
                    <a:pt x="12782" y="12427"/>
                  </a:cubicBezTo>
                  <a:cubicBezTo>
                    <a:pt x="12809" y="12427"/>
                    <a:pt x="12875" y="12515"/>
                    <a:pt x="12978" y="12692"/>
                  </a:cubicBezTo>
                  <a:cubicBezTo>
                    <a:pt x="13089" y="12869"/>
                    <a:pt x="13189" y="12957"/>
                    <a:pt x="13279" y="12957"/>
                  </a:cubicBezTo>
                  <a:cubicBezTo>
                    <a:pt x="13341" y="12957"/>
                    <a:pt x="13403" y="12883"/>
                    <a:pt x="13465" y="12734"/>
                  </a:cubicBezTo>
                  <a:cubicBezTo>
                    <a:pt x="13493" y="12659"/>
                    <a:pt x="13524" y="12566"/>
                    <a:pt x="13558" y="12454"/>
                  </a:cubicBezTo>
                  <a:cubicBezTo>
                    <a:pt x="13614" y="12240"/>
                    <a:pt x="13707" y="12045"/>
                    <a:pt x="13838" y="11868"/>
                  </a:cubicBezTo>
                  <a:cubicBezTo>
                    <a:pt x="14507" y="11291"/>
                    <a:pt x="14841" y="10960"/>
                    <a:pt x="14841" y="10877"/>
                  </a:cubicBezTo>
                  <a:cubicBezTo>
                    <a:pt x="14841" y="10812"/>
                    <a:pt x="14817" y="10774"/>
                    <a:pt x="14769" y="10765"/>
                  </a:cubicBezTo>
                  <a:cubicBezTo>
                    <a:pt x="14707" y="10765"/>
                    <a:pt x="14659" y="10765"/>
                    <a:pt x="14624" y="10765"/>
                  </a:cubicBezTo>
                  <a:cubicBezTo>
                    <a:pt x="14507" y="10765"/>
                    <a:pt x="14265" y="10863"/>
                    <a:pt x="13900" y="11058"/>
                  </a:cubicBezTo>
                  <a:cubicBezTo>
                    <a:pt x="13513" y="11272"/>
                    <a:pt x="13279" y="11398"/>
                    <a:pt x="13196" y="11435"/>
                  </a:cubicBezTo>
                  <a:cubicBezTo>
                    <a:pt x="13044" y="11491"/>
                    <a:pt x="12930" y="11538"/>
                    <a:pt x="12854" y="11575"/>
                  </a:cubicBezTo>
                  <a:cubicBezTo>
                    <a:pt x="12730" y="11631"/>
                    <a:pt x="12620" y="11701"/>
                    <a:pt x="12523" y="11784"/>
                  </a:cubicBezTo>
                  <a:cubicBezTo>
                    <a:pt x="12406" y="11924"/>
                    <a:pt x="12306" y="12036"/>
                    <a:pt x="12223" y="12119"/>
                  </a:cubicBezTo>
                  <a:cubicBezTo>
                    <a:pt x="12071" y="12287"/>
                    <a:pt x="11937" y="12371"/>
                    <a:pt x="11819" y="12371"/>
                  </a:cubicBezTo>
                  <a:cubicBezTo>
                    <a:pt x="11751" y="12371"/>
                    <a:pt x="11681" y="12324"/>
                    <a:pt x="11612" y="12231"/>
                  </a:cubicBezTo>
                  <a:cubicBezTo>
                    <a:pt x="11537" y="12129"/>
                    <a:pt x="11499" y="12017"/>
                    <a:pt x="11499" y="11896"/>
                  </a:cubicBezTo>
                  <a:cubicBezTo>
                    <a:pt x="11499" y="11747"/>
                    <a:pt x="11578" y="11477"/>
                    <a:pt x="11736" y="11086"/>
                  </a:cubicBezTo>
                  <a:cubicBezTo>
                    <a:pt x="11895" y="10686"/>
                    <a:pt x="11975" y="10421"/>
                    <a:pt x="11975" y="10290"/>
                  </a:cubicBezTo>
                  <a:cubicBezTo>
                    <a:pt x="11968" y="10104"/>
                    <a:pt x="11913" y="10011"/>
                    <a:pt x="11809" y="10011"/>
                  </a:cubicBezTo>
                  <a:cubicBezTo>
                    <a:pt x="11788" y="10011"/>
                    <a:pt x="11740" y="10127"/>
                    <a:pt x="11664" y="10360"/>
                  </a:cubicBezTo>
                  <a:cubicBezTo>
                    <a:pt x="11567" y="10621"/>
                    <a:pt x="11506" y="10774"/>
                    <a:pt x="11478" y="10821"/>
                  </a:cubicBezTo>
                  <a:cubicBezTo>
                    <a:pt x="11257" y="11165"/>
                    <a:pt x="11105" y="11449"/>
                    <a:pt x="11022" y="11673"/>
                  </a:cubicBezTo>
                  <a:cubicBezTo>
                    <a:pt x="10940" y="11896"/>
                    <a:pt x="10781" y="12212"/>
                    <a:pt x="10546" y="12622"/>
                  </a:cubicBezTo>
                  <a:cubicBezTo>
                    <a:pt x="10291" y="13078"/>
                    <a:pt x="10115" y="13395"/>
                    <a:pt x="10019" y="13571"/>
                  </a:cubicBezTo>
                  <a:cubicBezTo>
                    <a:pt x="9915" y="13767"/>
                    <a:pt x="9829" y="13902"/>
                    <a:pt x="9760" y="13976"/>
                  </a:cubicBezTo>
                  <a:cubicBezTo>
                    <a:pt x="9656" y="14088"/>
                    <a:pt x="9549" y="14149"/>
                    <a:pt x="9439" y="14158"/>
                  </a:cubicBezTo>
                  <a:cubicBezTo>
                    <a:pt x="9363" y="14158"/>
                    <a:pt x="9274" y="14237"/>
                    <a:pt x="9170" y="14395"/>
                  </a:cubicBezTo>
                  <a:cubicBezTo>
                    <a:pt x="9067" y="14544"/>
                    <a:pt x="9004" y="14679"/>
                    <a:pt x="8984" y="14800"/>
                  </a:cubicBezTo>
                  <a:cubicBezTo>
                    <a:pt x="8928" y="15042"/>
                    <a:pt x="8539" y="15354"/>
                    <a:pt x="7814" y="15736"/>
                  </a:cubicBezTo>
                  <a:cubicBezTo>
                    <a:pt x="7759" y="15736"/>
                    <a:pt x="7700" y="15722"/>
                    <a:pt x="7638" y="15694"/>
                  </a:cubicBezTo>
                  <a:cubicBezTo>
                    <a:pt x="7569" y="15656"/>
                    <a:pt x="7500" y="15638"/>
                    <a:pt x="7431" y="15638"/>
                  </a:cubicBezTo>
                  <a:cubicBezTo>
                    <a:pt x="7314" y="15638"/>
                    <a:pt x="7197" y="15698"/>
                    <a:pt x="7079" y="15820"/>
                  </a:cubicBezTo>
                  <a:cubicBezTo>
                    <a:pt x="6955" y="15978"/>
                    <a:pt x="6858" y="16099"/>
                    <a:pt x="6790" y="16183"/>
                  </a:cubicBezTo>
                  <a:close/>
                  <a:moveTo>
                    <a:pt x="6790" y="1618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4" name="AutoShape 131"/>
            <p:cNvSpPr>
              <a:spLocks/>
            </p:cNvSpPr>
            <p:nvPr/>
          </p:nvSpPr>
          <p:spPr bwMode="auto">
            <a:xfrm>
              <a:off x="7540136" y="4821236"/>
              <a:ext cx="264441" cy="208286"/>
            </a:xfrm>
            <a:custGeom>
              <a:avLst/>
              <a:gdLst/>
              <a:ahLst/>
              <a:cxnLst/>
              <a:rect l="0" t="0" r="r" b="b"/>
              <a:pathLst>
                <a:path w="21582" h="21588">
                  <a:moveTo>
                    <a:pt x="12772" y="21588"/>
                  </a:moveTo>
                  <a:cubicBezTo>
                    <a:pt x="12339" y="21531"/>
                    <a:pt x="12039" y="21503"/>
                    <a:pt x="11872" y="21503"/>
                  </a:cubicBezTo>
                  <a:cubicBezTo>
                    <a:pt x="11762" y="21503"/>
                    <a:pt x="11684" y="21405"/>
                    <a:pt x="11640" y="21208"/>
                  </a:cubicBezTo>
                  <a:cubicBezTo>
                    <a:pt x="11606" y="21110"/>
                    <a:pt x="11573" y="20891"/>
                    <a:pt x="11539" y="20554"/>
                  </a:cubicBezTo>
                  <a:cubicBezTo>
                    <a:pt x="11495" y="20258"/>
                    <a:pt x="11346" y="19759"/>
                    <a:pt x="11090" y="19056"/>
                  </a:cubicBezTo>
                  <a:cubicBezTo>
                    <a:pt x="11012" y="18817"/>
                    <a:pt x="10918" y="18655"/>
                    <a:pt x="10807" y="18570"/>
                  </a:cubicBezTo>
                  <a:cubicBezTo>
                    <a:pt x="10696" y="18458"/>
                    <a:pt x="10557" y="18402"/>
                    <a:pt x="10391" y="18402"/>
                  </a:cubicBezTo>
                  <a:cubicBezTo>
                    <a:pt x="10202" y="18388"/>
                    <a:pt x="10085" y="18353"/>
                    <a:pt x="10041" y="18296"/>
                  </a:cubicBezTo>
                  <a:cubicBezTo>
                    <a:pt x="9963" y="18226"/>
                    <a:pt x="9924" y="18113"/>
                    <a:pt x="9924" y="17958"/>
                  </a:cubicBezTo>
                  <a:cubicBezTo>
                    <a:pt x="9935" y="17663"/>
                    <a:pt x="9935" y="17459"/>
                    <a:pt x="9924" y="17347"/>
                  </a:cubicBezTo>
                  <a:cubicBezTo>
                    <a:pt x="9924" y="17037"/>
                    <a:pt x="9863" y="16721"/>
                    <a:pt x="9741" y="16397"/>
                  </a:cubicBezTo>
                  <a:cubicBezTo>
                    <a:pt x="9641" y="16059"/>
                    <a:pt x="9503" y="15743"/>
                    <a:pt x="9325" y="15448"/>
                  </a:cubicBezTo>
                  <a:cubicBezTo>
                    <a:pt x="9147" y="15166"/>
                    <a:pt x="8986" y="15012"/>
                    <a:pt x="8842" y="14984"/>
                  </a:cubicBezTo>
                  <a:cubicBezTo>
                    <a:pt x="8686" y="14942"/>
                    <a:pt x="8481" y="14793"/>
                    <a:pt x="8226" y="14540"/>
                  </a:cubicBezTo>
                  <a:cubicBezTo>
                    <a:pt x="7959" y="14302"/>
                    <a:pt x="7776" y="14076"/>
                    <a:pt x="7676" y="13865"/>
                  </a:cubicBezTo>
                  <a:cubicBezTo>
                    <a:pt x="7265" y="12993"/>
                    <a:pt x="6932" y="12459"/>
                    <a:pt x="6677" y="12261"/>
                  </a:cubicBezTo>
                  <a:cubicBezTo>
                    <a:pt x="6521" y="12163"/>
                    <a:pt x="6288" y="11910"/>
                    <a:pt x="5977" y="11502"/>
                  </a:cubicBezTo>
                  <a:cubicBezTo>
                    <a:pt x="5666" y="11066"/>
                    <a:pt x="5478" y="10813"/>
                    <a:pt x="5411" y="10742"/>
                  </a:cubicBezTo>
                  <a:cubicBezTo>
                    <a:pt x="5344" y="10644"/>
                    <a:pt x="5123" y="10433"/>
                    <a:pt x="4745" y="10109"/>
                  </a:cubicBezTo>
                  <a:cubicBezTo>
                    <a:pt x="4356" y="9744"/>
                    <a:pt x="4084" y="9476"/>
                    <a:pt x="3929" y="9307"/>
                  </a:cubicBezTo>
                  <a:cubicBezTo>
                    <a:pt x="3718" y="9082"/>
                    <a:pt x="3440" y="8717"/>
                    <a:pt x="3096" y="8210"/>
                  </a:cubicBezTo>
                  <a:cubicBezTo>
                    <a:pt x="2796" y="7746"/>
                    <a:pt x="2608" y="7415"/>
                    <a:pt x="2530" y="7219"/>
                  </a:cubicBezTo>
                  <a:cubicBezTo>
                    <a:pt x="2274" y="6459"/>
                    <a:pt x="2075" y="6093"/>
                    <a:pt x="1930" y="6121"/>
                  </a:cubicBezTo>
                  <a:cubicBezTo>
                    <a:pt x="1720" y="6206"/>
                    <a:pt x="1603" y="6248"/>
                    <a:pt x="1581" y="6248"/>
                  </a:cubicBezTo>
                  <a:cubicBezTo>
                    <a:pt x="1448" y="6276"/>
                    <a:pt x="1342" y="6206"/>
                    <a:pt x="1264" y="6037"/>
                  </a:cubicBezTo>
                  <a:cubicBezTo>
                    <a:pt x="1131" y="5756"/>
                    <a:pt x="915" y="5516"/>
                    <a:pt x="615" y="5319"/>
                  </a:cubicBezTo>
                  <a:cubicBezTo>
                    <a:pt x="448" y="5221"/>
                    <a:pt x="332" y="5144"/>
                    <a:pt x="265" y="5087"/>
                  </a:cubicBezTo>
                  <a:cubicBezTo>
                    <a:pt x="143" y="5017"/>
                    <a:pt x="60" y="4898"/>
                    <a:pt x="15" y="4728"/>
                  </a:cubicBezTo>
                  <a:cubicBezTo>
                    <a:pt x="-18" y="4560"/>
                    <a:pt x="4" y="4349"/>
                    <a:pt x="82" y="4096"/>
                  </a:cubicBezTo>
                  <a:cubicBezTo>
                    <a:pt x="160" y="3843"/>
                    <a:pt x="287" y="3638"/>
                    <a:pt x="465" y="3484"/>
                  </a:cubicBezTo>
                  <a:cubicBezTo>
                    <a:pt x="598" y="3371"/>
                    <a:pt x="670" y="3223"/>
                    <a:pt x="681" y="3040"/>
                  </a:cubicBezTo>
                  <a:lnTo>
                    <a:pt x="681" y="2766"/>
                  </a:lnTo>
                  <a:lnTo>
                    <a:pt x="748" y="2788"/>
                  </a:lnTo>
                  <a:lnTo>
                    <a:pt x="1081" y="2555"/>
                  </a:lnTo>
                  <a:cubicBezTo>
                    <a:pt x="1359" y="2359"/>
                    <a:pt x="1608" y="2190"/>
                    <a:pt x="1831" y="2049"/>
                  </a:cubicBezTo>
                  <a:cubicBezTo>
                    <a:pt x="2008" y="1964"/>
                    <a:pt x="2247" y="1803"/>
                    <a:pt x="2546" y="1563"/>
                  </a:cubicBezTo>
                  <a:cubicBezTo>
                    <a:pt x="2846" y="1338"/>
                    <a:pt x="3096" y="1170"/>
                    <a:pt x="3296" y="1057"/>
                  </a:cubicBezTo>
                  <a:cubicBezTo>
                    <a:pt x="3474" y="972"/>
                    <a:pt x="3712" y="839"/>
                    <a:pt x="4012" y="656"/>
                  </a:cubicBezTo>
                  <a:cubicBezTo>
                    <a:pt x="4257" y="515"/>
                    <a:pt x="4490" y="431"/>
                    <a:pt x="4711" y="403"/>
                  </a:cubicBezTo>
                  <a:cubicBezTo>
                    <a:pt x="5000" y="375"/>
                    <a:pt x="5806" y="297"/>
                    <a:pt x="7126" y="171"/>
                  </a:cubicBezTo>
                  <a:cubicBezTo>
                    <a:pt x="8458" y="45"/>
                    <a:pt x="9203" y="-12"/>
                    <a:pt x="9358" y="2"/>
                  </a:cubicBezTo>
                  <a:cubicBezTo>
                    <a:pt x="9480" y="2"/>
                    <a:pt x="9647" y="59"/>
                    <a:pt x="9858" y="171"/>
                  </a:cubicBezTo>
                  <a:cubicBezTo>
                    <a:pt x="10024" y="255"/>
                    <a:pt x="10141" y="339"/>
                    <a:pt x="10207" y="424"/>
                  </a:cubicBezTo>
                  <a:cubicBezTo>
                    <a:pt x="10230" y="452"/>
                    <a:pt x="10302" y="487"/>
                    <a:pt x="10424" y="530"/>
                  </a:cubicBezTo>
                  <a:cubicBezTo>
                    <a:pt x="10568" y="600"/>
                    <a:pt x="10662" y="706"/>
                    <a:pt x="10707" y="846"/>
                  </a:cubicBezTo>
                  <a:cubicBezTo>
                    <a:pt x="10718" y="874"/>
                    <a:pt x="10779" y="1043"/>
                    <a:pt x="10890" y="1352"/>
                  </a:cubicBezTo>
                  <a:cubicBezTo>
                    <a:pt x="10968" y="1549"/>
                    <a:pt x="11001" y="1697"/>
                    <a:pt x="10990" y="1796"/>
                  </a:cubicBezTo>
                  <a:cubicBezTo>
                    <a:pt x="10990" y="1908"/>
                    <a:pt x="11024" y="1999"/>
                    <a:pt x="11090" y="2070"/>
                  </a:cubicBezTo>
                  <a:cubicBezTo>
                    <a:pt x="11168" y="2154"/>
                    <a:pt x="11267" y="2176"/>
                    <a:pt x="11390" y="2133"/>
                  </a:cubicBezTo>
                  <a:lnTo>
                    <a:pt x="15903" y="1142"/>
                  </a:lnTo>
                  <a:lnTo>
                    <a:pt x="21582" y="6860"/>
                  </a:lnTo>
                  <a:cubicBezTo>
                    <a:pt x="21505" y="6902"/>
                    <a:pt x="21438" y="6951"/>
                    <a:pt x="21382" y="7007"/>
                  </a:cubicBezTo>
                  <a:cubicBezTo>
                    <a:pt x="20827" y="7612"/>
                    <a:pt x="20350" y="8316"/>
                    <a:pt x="19950" y="9118"/>
                  </a:cubicBezTo>
                  <a:cubicBezTo>
                    <a:pt x="19528" y="9933"/>
                    <a:pt x="19317" y="10609"/>
                    <a:pt x="19317" y="11143"/>
                  </a:cubicBezTo>
                  <a:cubicBezTo>
                    <a:pt x="19306" y="11228"/>
                    <a:pt x="19312" y="11530"/>
                    <a:pt x="19334" y="12051"/>
                  </a:cubicBezTo>
                  <a:cubicBezTo>
                    <a:pt x="19345" y="12416"/>
                    <a:pt x="19323" y="12614"/>
                    <a:pt x="19267" y="12642"/>
                  </a:cubicBezTo>
                  <a:cubicBezTo>
                    <a:pt x="19068" y="12824"/>
                    <a:pt x="18867" y="13099"/>
                    <a:pt x="18668" y="13464"/>
                  </a:cubicBezTo>
                  <a:cubicBezTo>
                    <a:pt x="18534" y="13690"/>
                    <a:pt x="18379" y="13816"/>
                    <a:pt x="18201" y="13844"/>
                  </a:cubicBezTo>
                  <a:cubicBezTo>
                    <a:pt x="17990" y="13844"/>
                    <a:pt x="17841" y="13859"/>
                    <a:pt x="17752" y="13887"/>
                  </a:cubicBezTo>
                  <a:lnTo>
                    <a:pt x="17718" y="14625"/>
                  </a:lnTo>
                  <a:lnTo>
                    <a:pt x="17685" y="14625"/>
                  </a:lnTo>
                  <a:cubicBezTo>
                    <a:pt x="17652" y="14779"/>
                    <a:pt x="17558" y="14976"/>
                    <a:pt x="17402" y="15216"/>
                  </a:cubicBezTo>
                  <a:cubicBezTo>
                    <a:pt x="17202" y="15497"/>
                    <a:pt x="17024" y="15638"/>
                    <a:pt x="16869" y="15638"/>
                  </a:cubicBezTo>
                  <a:cubicBezTo>
                    <a:pt x="16814" y="15638"/>
                    <a:pt x="16752" y="15595"/>
                    <a:pt x="16686" y="15511"/>
                  </a:cubicBezTo>
                  <a:cubicBezTo>
                    <a:pt x="16630" y="15370"/>
                    <a:pt x="16569" y="15300"/>
                    <a:pt x="16502" y="15300"/>
                  </a:cubicBezTo>
                  <a:cubicBezTo>
                    <a:pt x="16425" y="15300"/>
                    <a:pt x="16381" y="15384"/>
                    <a:pt x="16369" y="15553"/>
                  </a:cubicBezTo>
                  <a:cubicBezTo>
                    <a:pt x="16369" y="15623"/>
                    <a:pt x="16441" y="15736"/>
                    <a:pt x="16586" y="15891"/>
                  </a:cubicBezTo>
                  <a:cubicBezTo>
                    <a:pt x="16708" y="16031"/>
                    <a:pt x="16763" y="16193"/>
                    <a:pt x="16752" y="16376"/>
                  </a:cubicBezTo>
                  <a:cubicBezTo>
                    <a:pt x="16763" y="16573"/>
                    <a:pt x="16419" y="16918"/>
                    <a:pt x="15720" y="17410"/>
                  </a:cubicBezTo>
                  <a:cubicBezTo>
                    <a:pt x="15087" y="17945"/>
                    <a:pt x="14709" y="18198"/>
                    <a:pt x="14587" y="18169"/>
                  </a:cubicBezTo>
                  <a:cubicBezTo>
                    <a:pt x="14510" y="18169"/>
                    <a:pt x="14393" y="18141"/>
                    <a:pt x="14238" y="18085"/>
                  </a:cubicBezTo>
                  <a:cubicBezTo>
                    <a:pt x="14082" y="18029"/>
                    <a:pt x="13999" y="18001"/>
                    <a:pt x="13988" y="18001"/>
                  </a:cubicBezTo>
                  <a:cubicBezTo>
                    <a:pt x="13877" y="18001"/>
                    <a:pt x="13810" y="18022"/>
                    <a:pt x="13788" y="18064"/>
                  </a:cubicBezTo>
                  <a:cubicBezTo>
                    <a:pt x="13766" y="18078"/>
                    <a:pt x="13754" y="18141"/>
                    <a:pt x="13754" y="18254"/>
                  </a:cubicBezTo>
                  <a:cubicBezTo>
                    <a:pt x="13754" y="18324"/>
                    <a:pt x="13883" y="18395"/>
                    <a:pt x="14138" y="18465"/>
                  </a:cubicBezTo>
                  <a:cubicBezTo>
                    <a:pt x="14404" y="18549"/>
                    <a:pt x="14532" y="18817"/>
                    <a:pt x="14521" y="19267"/>
                  </a:cubicBezTo>
                  <a:cubicBezTo>
                    <a:pt x="14521" y="19478"/>
                    <a:pt x="14343" y="19724"/>
                    <a:pt x="13988" y="20006"/>
                  </a:cubicBezTo>
                  <a:cubicBezTo>
                    <a:pt x="13855" y="20006"/>
                    <a:pt x="13754" y="19963"/>
                    <a:pt x="13688" y="19879"/>
                  </a:cubicBezTo>
                  <a:cubicBezTo>
                    <a:pt x="13655" y="19822"/>
                    <a:pt x="13621" y="19689"/>
                    <a:pt x="13588" y="19478"/>
                  </a:cubicBezTo>
                  <a:cubicBezTo>
                    <a:pt x="13555" y="19379"/>
                    <a:pt x="13455" y="19316"/>
                    <a:pt x="13288" y="19288"/>
                  </a:cubicBezTo>
                  <a:cubicBezTo>
                    <a:pt x="13110" y="19288"/>
                    <a:pt x="13011" y="19281"/>
                    <a:pt x="12989" y="19267"/>
                  </a:cubicBezTo>
                  <a:lnTo>
                    <a:pt x="12955" y="19646"/>
                  </a:lnTo>
                  <a:cubicBezTo>
                    <a:pt x="12955" y="19661"/>
                    <a:pt x="13044" y="19773"/>
                    <a:pt x="13222" y="19984"/>
                  </a:cubicBezTo>
                  <a:cubicBezTo>
                    <a:pt x="13399" y="20210"/>
                    <a:pt x="13483" y="20427"/>
                    <a:pt x="13471" y="20639"/>
                  </a:cubicBezTo>
                  <a:cubicBezTo>
                    <a:pt x="13483" y="20681"/>
                    <a:pt x="13250" y="20997"/>
                    <a:pt x="12772" y="21588"/>
                  </a:cubicBezTo>
                  <a:close/>
                  <a:moveTo>
                    <a:pt x="12772" y="2158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5" name="AutoShape 132"/>
            <p:cNvSpPr>
              <a:spLocks/>
            </p:cNvSpPr>
            <p:nvPr/>
          </p:nvSpPr>
          <p:spPr bwMode="auto">
            <a:xfrm>
              <a:off x="5612473" y="3747136"/>
              <a:ext cx="346122" cy="266994"/>
            </a:xfrm>
            <a:custGeom>
              <a:avLst/>
              <a:gdLst/>
              <a:ahLst/>
              <a:cxnLst/>
              <a:rect l="0" t="0" r="r" b="b"/>
              <a:pathLst>
                <a:path w="21600" h="21591">
                  <a:moveTo>
                    <a:pt x="6873" y="0"/>
                  </a:moveTo>
                  <a:cubicBezTo>
                    <a:pt x="11710" y="2120"/>
                    <a:pt x="16619" y="4093"/>
                    <a:pt x="21600" y="5916"/>
                  </a:cubicBezTo>
                  <a:lnTo>
                    <a:pt x="18927" y="18293"/>
                  </a:lnTo>
                  <a:cubicBezTo>
                    <a:pt x="18902" y="18403"/>
                    <a:pt x="18876" y="18513"/>
                    <a:pt x="18851" y="18623"/>
                  </a:cubicBezTo>
                  <a:cubicBezTo>
                    <a:pt x="18808" y="18776"/>
                    <a:pt x="18685" y="19068"/>
                    <a:pt x="18482" y="19496"/>
                  </a:cubicBezTo>
                  <a:cubicBezTo>
                    <a:pt x="18482" y="19562"/>
                    <a:pt x="18545" y="19666"/>
                    <a:pt x="18673" y="19809"/>
                  </a:cubicBezTo>
                  <a:cubicBezTo>
                    <a:pt x="18791" y="19952"/>
                    <a:pt x="18847" y="20106"/>
                    <a:pt x="18838" y="20271"/>
                  </a:cubicBezTo>
                  <a:cubicBezTo>
                    <a:pt x="18838" y="20315"/>
                    <a:pt x="18808" y="20414"/>
                    <a:pt x="18749" y="20567"/>
                  </a:cubicBezTo>
                  <a:cubicBezTo>
                    <a:pt x="18681" y="20732"/>
                    <a:pt x="18647" y="20831"/>
                    <a:pt x="18647" y="20864"/>
                  </a:cubicBezTo>
                  <a:cubicBezTo>
                    <a:pt x="18630" y="21018"/>
                    <a:pt x="18622" y="21249"/>
                    <a:pt x="18622" y="21556"/>
                  </a:cubicBezTo>
                  <a:lnTo>
                    <a:pt x="18622" y="21589"/>
                  </a:lnTo>
                  <a:cubicBezTo>
                    <a:pt x="18359" y="21600"/>
                    <a:pt x="18053" y="21551"/>
                    <a:pt x="17705" y="21441"/>
                  </a:cubicBezTo>
                  <a:cubicBezTo>
                    <a:pt x="17535" y="21364"/>
                    <a:pt x="17179" y="21210"/>
                    <a:pt x="16636" y="20979"/>
                  </a:cubicBezTo>
                  <a:cubicBezTo>
                    <a:pt x="16373" y="20869"/>
                    <a:pt x="15983" y="20743"/>
                    <a:pt x="15465" y="20600"/>
                  </a:cubicBezTo>
                  <a:cubicBezTo>
                    <a:pt x="15024" y="20490"/>
                    <a:pt x="14744" y="20425"/>
                    <a:pt x="14625" y="20403"/>
                  </a:cubicBezTo>
                  <a:lnTo>
                    <a:pt x="14599" y="20370"/>
                  </a:lnTo>
                  <a:cubicBezTo>
                    <a:pt x="14362" y="20271"/>
                    <a:pt x="14035" y="20106"/>
                    <a:pt x="13619" y="19875"/>
                  </a:cubicBezTo>
                  <a:cubicBezTo>
                    <a:pt x="13204" y="19633"/>
                    <a:pt x="12992" y="19512"/>
                    <a:pt x="12983" y="19512"/>
                  </a:cubicBezTo>
                  <a:cubicBezTo>
                    <a:pt x="12822" y="19512"/>
                    <a:pt x="12733" y="19595"/>
                    <a:pt x="12716" y="19760"/>
                  </a:cubicBezTo>
                  <a:cubicBezTo>
                    <a:pt x="12682" y="19914"/>
                    <a:pt x="12622" y="19985"/>
                    <a:pt x="12537" y="19974"/>
                  </a:cubicBezTo>
                  <a:cubicBezTo>
                    <a:pt x="12291" y="19974"/>
                    <a:pt x="12143" y="19881"/>
                    <a:pt x="12092" y="19694"/>
                  </a:cubicBezTo>
                  <a:cubicBezTo>
                    <a:pt x="12024" y="19529"/>
                    <a:pt x="11863" y="19441"/>
                    <a:pt x="11608" y="19430"/>
                  </a:cubicBezTo>
                  <a:cubicBezTo>
                    <a:pt x="11294" y="19430"/>
                    <a:pt x="11103" y="19463"/>
                    <a:pt x="11036" y="19529"/>
                  </a:cubicBezTo>
                  <a:cubicBezTo>
                    <a:pt x="10968" y="19617"/>
                    <a:pt x="10675" y="19672"/>
                    <a:pt x="10157" y="19694"/>
                  </a:cubicBezTo>
                  <a:cubicBezTo>
                    <a:pt x="9860" y="19683"/>
                    <a:pt x="9597" y="19738"/>
                    <a:pt x="9368" y="19859"/>
                  </a:cubicBezTo>
                  <a:cubicBezTo>
                    <a:pt x="9148" y="19958"/>
                    <a:pt x="8974" y="20007"/>
                    <a:pt x="8846" y="20007"/>
                  </a:cubicBezTo>
                  <a:cubicBezTo>
                    <a:pt x="8685" y="19996"/>
                    <a:pt x="8520" y="19870"/>
                    <a:pt x="8350" y="19628"/>
                  </a:cubicBezTo>
                  <a:cubicBezTo>
                    <a:pt x="8189" y="19397"/>
                    <a:pt x="8057" y="19282"/>
                    <a:pt x="7955" y="19282"/>
                  </a:cubicBezTo>
                  <a:cubicBezTo>
                    <a:pt x="7896" y="19282"/>
                    <a:pt x="7781" y="19342"/>
                    <a:pt x="7612" y="19463"/>
                  </a:cubicBezTo>
                  <a:cubicBezTo>
                    <a:pt x="7442" y="19595"/>
                    <a:pt x="7315" y="19661"/>
                    <a:pt x="7230" y="19661"/>
                  </a:cubicBezTo>
                  <a:lnTo>
                    <a:pt x="7052" y="19628"/>
                  </a:lnTo>
                  <a:cubicBezTo>
                    <a:pt x="7035" y="19606"/>
                    <a:pt x="6988" y="19584"/>
                    <a:pt x="6912" y="19562"/>
                  </a:cubicBezTo>
                  <a:cubicBezTo>
                    <a:pt x="6827" y="19562"/>
                    <a:pt x="6767" y="19562"/>
                    <a:pt x="6733" y="19562"/>
                  </a:cubicBezTo>
                  <a:cubicBezTo>
                    <a:pt x="6453" y="19551"/>
                    <a:pt x="6309" y="19545"/>
                    <a:pt x="6301" y="19545"/>
                  </a:cubicBezTo>
                  <a:cubicBezTo>
                    <a:pt x="6241" y="19403"/>
                    <a:pt x="6118" y="19199"/>
                    <a:pt x="5932" y="18936"/>
                  </a:cubicBezTo>
                  <a:cubicBezTo>
                    <a:pt x="5821" y="18804"/>
                    <a:pt x="5677" y="18677"/>
                    <a:pt x="5499" y="18557"/>
                  </a:cubicBezTo>
                  <a:cubicBezTo>
                    <a:pt x="5278" y="18403"/>
                    <a:pt x="5062" y="18331"/>
                    <a:pt x="4850" y="18342"/>
                  </a:cubicBezTo>
                  <a:cubicBezTo>
                    <a:pt x="4739" y="18331"/>
                    <a:pt x="4574" y="18392"/>
                    <a:pt x="4353" y="18524"/>
                  </a:cubicBezTo>
                  <a:cubicBezTo>
                    <a:pt x="4150" y="18634"/>
                    <a:pt x="3857" y="18683"/>
                    <a:pt x="3475" y="18672"/>
                  </a:cubicBezTo>
                  <a:cubicBezTo>
                    <a:pt x="3288" y="18650"/>
                    <a:pt x="3131" y="18595"/>
                    <a:pt x="3004" y="18507"/>
                  </a:cubicBezTo>
                  <a:cubicBezTo>
                    <a:pt x="2749" y="18331"/>
                    <a:pt x="2605" y="18200"/>
                    <a:pt x="2571" y="18112"/>
                  </a:cubicBezTo>
                  <a:cubicBezTo>
                    <a:pt x="2529" y="18013"/>
                    <a:pt x="2465" y="17892"/>
                    <a:pt x="2380" y="17749"/>
                  </a:cubicBezTo>
                  <a:cubicBezTo>
                    <a:pt x="2295" y="17606"/>
                    <a:pt x="2266" y="17387"/>
                    <a:pt x="2291" y="17090"/>
                  </a:cubicBezTo>
                  <a:cubicBezTo>
                    <a:pt x="2308" y="16782"/>
                    <a:pt x="2329" y="16579"/>
                    <a:pt x="2355" y="16480"/>
                  </a:cubicBezTo>
                  <a:cubicBezTo>
                    <a:pt x="2380" y="16381"/>
                    <a:pt x="2397" y="16150"/>
                    <a:pt x="2406" y="15788"/>
                  </a:cubicBezTo>
                  <a:cubicBezTo>
                    <a:pt x="2423" y="15425"/>
                    <a:pt x="2406" y="15140"/>
                    <a:pt x="2355" y="14931"/>
                  </a:cubicBezTo>
                  <a:cubicBezTo>
                    <a:pt x="2304" y="14711"/>
                    <a:pt x="2100" y="14338"/>
                    <a:pt x="1744" y="13810"/>
                  </a:cubicBezTo>
                  <a:lnTo>
                    <a:pt x="1744" y="13711"/>
                  </a:lnTo>
                  <a:cubicBezTo>
                    <a:pt x="1625" y="13272"/>
                    <a:pt x="1290" y="12931"/>
                    <a:pt x="738" y="12690"/>
                  </a:cubicBezTo>
                  <a:cubicBezTo>
                    <a:pt x="246" y="12470"/>
                    <a:pt x="0" y="12168"/>
                    <a:pt x="0" y="11783"/>
                  </a:cubicBezTo>
                  <a:cubicBezTo>
                    <a:pt x="0" y="11410"/>
                    <a:pt x="153" y="11157"/>
                    <a:pt x="458" y="11025"/>
                  </a:cubicBezTo>
                  <a:cubicBezTo>
                    <a:pt x="755" y="10882"/>
                    <a:pt x="904" y="10739"/>
                    <a:pt x="904" y="10597"/>
                  </a:cubicBezTo>
                  <a:cubicBezTo>
                    <a:pt x="878" y="10509"/>
                    <a:pt x="866" y="10437"/>
                    <a:pt x="866" y="10382"/>
                  </a:cubicBezTo>
                  <a:cubicBezTo>
                    <a:pt x="849" y="10360"/>
                    <a:pt x="836" y="10344"/>
                    <a:pt x="827" y="10333"/>
                  </a:cubicBezTo>
                  <a:cubicBezTo>
                    <a:pt x="743" y="10201"/>
                    <a:pt x="632" y="10047"/>
                    <a:pt x="496" y="9872"/>
                  </a:cubicBezTo>
                  <a:cubicBezTo>
                    <a:pt x="513" y="9740"/>
                    <a:pt x="624" y="9553"/>
                    <a:pt x="827" y="9311"/>
                  </a:cubicBezTo>
                  <a:cubicBezTo>
                    <a:pt x="1031" y="9092"/>
                    <a:pt x="1133" y="8905"/>
                    <a:pt x="1133" y="8751"/>
                  </a:cubicBezTo>
                  <a:cubicBezTo>
                    <a:pt x="1090" y="8597"/>
                    <a:pt x="1069" y="8487"/>
                    <a:pt x="1069" y="8422"/>
                  </a:cubicBezTo>
                  <a:lnTo>
                    <a:pt x="891" y="8422"/>
                  </a:lnTo>
                  <a:cubicBezTo>
                    <a:pt x="823" y="8487"/>
                    <a:pt x="781" y="8520"/>
                    <a:pt x="764" y="8520"/>
                  </a:cubicBezTo>
                  <a:cubicBezTo>
                    <a:pt x="738" y="8520"/>
                    <a:pt x="709" y="8498"/>
                    <a:pt x="675" y="8454"/>
                  </a:cubicBezTo>
                  <a:cubicBezTo>
                    <a:pt x="641" y="8399"/>
                    <a:pt x="624" y="8339"/>
                    <a:pt x="624" y="8273"/>
                  </a:cubicBezTo>
                  <a:lnTo>
                    <a:pt x="853" y="4483"/>
                  </a:lnTo>
                  <a:lnTo>
                    <a:pt x="840" y="2587"/>
                  </a:lnTo>
                  <a:cubicBezTo>
                    <a:pt x="840" y="2247"/>
                    <a:pt x="933" y="1873"/>
                    <a:pt x="1120" y="1467"/>
                  </a:cubicBezTo>
                  <a:cubicBezTo>
                    <a:pt x="1298" y="1093"/>
                    <a:pt x="1443" y="906"/>
                    <a:pt x="1553" y="906"/>
                  </a:cubicBezTo>
                  <a:cubicBezTo>
                    <a:pt x="1757" y="906"/>
                    <a:pt x="2079" y="1192"/>
                    <a:pt x="2520" y="1763"/>
                  </a:cubicBezTo>
                  <a:cubicBezTo>
                    <a:pt x="3029" y="2401"/>
                    <a:pt x="3517" y="2813"/>
                    <a:pt x="3984" y="2999"/>
                  </a:cubicBezTo>
                  <a:cubicBezTo>
                    <a:pt x="4162" y="3065"/>
                    <a:pt x="4336" y="3175"/>
                    <a:pt x="4506" y="3329"/>
                  </a:cubicBezTo>
                  <a:cubicBezTo>
                    <a:pt x="4557" y="3384"/>
                    <a:pt x="4714" y="3554"/>
                    <a:pt x="4977" y="3840"/>
                  </a:cubicBezTo>
                  <a:cubicBezTo>
                    <a:pt x="5079" y="3950"/>
                    <a:pt x="5274" y="4082"/>
                    <a:pt x="5562" y="4235"/>
                  </a:cubicBezTo>
                  <a:cubicBezTo>
                    <a:pt x="5707" y="4323"/>
                    <a:pt x="5779" y="4488"/>
                    <a:pt x="5779" y="4730"/>
                  </a:cubicBezTo>
                  <a:lnTo>
                    <a:pt x="5779" y="5125"/>
                  </a:lnTo>
                  <a:cubicBezTo>
                    <a:pt x="5762" y="5235"/>
                    <a:pt x="5698" y="5345"/>
                    <a:pt x="5588" y="5455"/>
                  </a:cubicBezTo>
                  <a:cubicBezTo>
                    <a:pt x="5520" y="5521"/>
                    <a:pt x="5410" y="5587"/>
                    <a:pt x="5257" y="5653"/>
                  </a:cubicBezTo>
                  <a:cubicBezTo>
                    <a:pt x="5121" y="5708"/>
                    <a:pt x="5036" y="5757"/>
                    <a:pt x="5002" y="5801"/>
                  </a:cubicBezTo>
                  <a:cubicBezTo>
                    <a:pt x="4671" y="6197"/>
                    <a:pt x="4455" y="6493"/>
                    <a:pt x="4353" y="6691"/>
                  </a:cubicBezTo>
                  <a:cubicBezTo>
                    <a:pt x="4243" y="6922"/>
                    <a:pt x="4188" y="7213"/>
                    <a:pt x="4188" y="7564"/>
                  </a:cubicBezTo>
                  <a:lnTo>
                    <a:pt x="4213" y="7828"/>
                  </a:lnTo>
                  <a:lnTo>
                    <a:pt x="4328" y="7828"/>
                  </a:lnTo>
                  <a:cubicBezTo>
                    <a:pt x="4353" y="7806"/>
                    <a:pt x="4637" y="7498"/>
                    <a:pt x="5181" y="6905"/>
                  </a:cubicBezTo>
                  <a:cubicBezTo>
                    <a:pt x="5656" y="6356"/>
                    <a:pt x="5932" y="6081"/>
                    <a:pt x="6008" y="6081"/>
                  </a:cubicBezTo>
                  <a:cubicBezTo>
                    <a:pt x="6059" y="6081"/>
                    <a:pt x="6131" y="6147"/>
                    <a:pt x="6224" y="6279"/>
                  </a:cubicBezTo>
                  <a:cubicBezTo>
                    <a:pt x="6309" y="6411"/>
                    <a:pt x="6377" y="6482"/>
                    <a:pt x="6428" y="6493"/>
                  </a:cubicBezTo>
                  <a:cubicBezTo>
                    <a:pt x="6572" y="5955"/>
                    <a:pt x="6687" y="5499"/>
                    <a:pt x="6772" y="5125"/>
                  </a:cubicBezTo>
                  <a:cubicBezTo>
                    <a:pt x="6941" y="4422"/>
                    <a:pt x="7026" y="3884"/>
                    <a:pt x="7026" y="3510"/>
                  </a:cubicBezTo>
                  <a:cubicBezTo>
                    <a:pt x="7026" y="3356"/>
                    <a:pt x="6971" y="3225"/>
                    <a:pt x="6861" y="3115"/>
                  </a:cubicBezTo>
                  <a:cubicBezTo>
                    <a:pt x="6733" y="3016"/>
                    <a:pt x="6670" y="2900"/>
                    <a:pt x="6670" y="2769"/>
                  </a:cubicBezTo>
                  <a:cubicBezTo>
                    <a:pt x="6670" y="2604"/>
                    <a:pt x="6733" y="2494"/>
                    <a:pt x="6861" y="2439"/>
                  </a:cubicBezTo>
                  <a:cubicBezTo>
                    <a:pt x="7047" y="2340"/>
                    <a:pt x="7153" y="2274"/>
                    <a:pt x="7179" y="2241"/>
                  </a:cubicBezTo>
                  <a:cubicBezTo>
                    <a:pt x="7255" y="2010"/>
                    <a:pt x="7315" y="1884"/>
                    <a:pt x="7357" y="1862"/>
                  </a:cubicBezTo>
                  <a:cubicBezTo>
                    <a:pt x="7383" y="1851"/>
                    <a:pt x="7446" y="1840"/>
                    <a:pt x="7548" y="1829"/>
                  </a:cubicBezTo>
                  <a:cubicBezTo>
                    <a:pt x="7650" y="1807"/>
                    <a:pt x="7701" y="1758"/>
                    <a:pt x="7701" y="1681"/>
                  </a:cubicBezTo>
                  <a:cubicBezTo>
                    <a:pt x="7701" y="1637"/>
                    <a:pt x="7548" y="1445"/>
                    <a:pt x="7243" y="1104"/>
                  </a:cubicBezTo>
                  <a:cubicBezTo>
                    <a:pt x="6929" y="764"/>
                    <a:pt x="6772" y="478"/>
                    <a:pt x="6772" y="247"/>
                  </a:cubicBezTo>
                  <a:cubicBezTo>
                    <a:pt x="6772" y="225"/>
                    <a:pt x="6789" y="176"/>
                    <a:pt x="6823" y="99"/>
                  </a:cubicBezTo>
                  <a:cubicBezTo>
                    <a:pt x="6839" y="55"/>
                    <a:pt x="6856" y="22"/>
                    <a:pt x="6873" y="0"/>
                  </a:cubicBezTo>
                  <a:close/>
                  <a:moveTo>
                    <a:pt x="6873"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6" name="AutoShape 133"/>
            <p:cNvSpPr>
              <a:spLocks/>
            </p:cNvSpPr>
            <p:nvPr/>
          </p:nvSpPr>
          <p:spPr bwMode="auto">
            <a:xfrm>
              <a:off x="4640474" y="1786801"/>
              <a:ext cx="1244608" cy="1459531"/>
            </a:xfrm>
            <a:custGeom>
              <a:avLst/>
              <a:gdLst/>
              <a:ahLst/>
              <a:cxnLst/>
              <a:rect l="0" t="0" r="r" b="b"/>
              <a:pathLst>
                <a:path w="21600" h="21600">
                  <a:moveTo>
                    <a:pt x="15042" y="14745"/>
                  </a:moveTo>
                  <a:cubicBezTo>
                    <a:pt x="15028" y="14781"/>
                    <a:pt x="15021" y="14822"/>
                    <a:pt x="15021" y="14866"/>
                  </a:cubicBezTo>
                  <a:lnTo>
                    <a:pt x="15028" y="15180"/>
                  </a:lnTo>
                  <a:cubicBezTo>
                    <a:pt x="15028" y="15259"/>
                    <a:pt x="15031" y="15311"/>
                    <a:pt x="15035" y="15337"/>
                  </a:cubicBezTo>
                  <a:cubicBezTo>
                    <a:pt x="15045" y="15400"/>
                    <a:pt x="15070" y="15431"/>
                    <a:pt x="15110" y="15431"/>
                  </a:cubicBezTo>
                  <a:cubicBezTo>
                    <a:pt x="15138" y="15431"/>
                    <a:pt x="15161" y="15420"/>
                    <a:pt x="15177" y="15398"/>
                  </a:cubicBezTo>
                  <a:cubicBezTo>
                    <a:pt x="15196" y="15373"/>
                    <a:pt x="15211" y="15361"/>
                    <a:pt x="15223" y="15361"/>
                  </a:cubicBezTo>
                  <a:cubicBezTo>
                    <a:pt x="15254" y="15361"/>
                    <a:pt x="15285" y="15419"/>
                    <a:pt x="15315" y="15533"/>
                  </a:cubicBezTo>
                  <a:cubicBezTo>
                    <a:pt x="15315" y="15547"/>
                    <a:pt x="15274" y="15560"/>
                    <a:pt x="15191" y="15570"/>
                  </a:cubicBezTo>
                  <a:cubicBezTo>
                    <a:pt x="15106" y="15582"/>
                    <a:pt x="15064" y="15606"/>
                    <a:pt x="15064" y="15642"/>
                  </a:cubicBezTo>
                  <a:cubicBezTo>
                    <a:pt x="15064" y="15662"/>
                    <a:pt x="15074" y="15686"/>
                    <a:pt x="15096" y="15715"/>
                  </a:cubicBezTo>
                  <a:cubicBezTo>
                    <a:pt x="15117" y="15743"/>
                    <a:pt x="15127" y="15766"/>
                    <a:pt x="15127" y="15784"/>
                  </a:cubicBezTo>
                  <a:cubicBezTo>
                    <a:pt x="15127" y="15822"/>
                    <a:pt x="15110" y="15869"/>
                    <a:pt x="15074" y="15923"/>
                  </a:cubicBezTo>
                  <a:cubicBezTo>
                    <a:pt x="15039" y="15977"/>
                    <a:pt x="15021" y="16039"/>
                    <a:pt x="15021" y="16107"/>
                  </a:cubicBezTo>
                  <a:cubicBezTo>
                    <a:pt x="15021" y="16129"/>
                    <a:pt x="15028" y="16142"/>
                    <a:pt x="15042" y="16146"/>
                  </a:cubicBezTo>
                  <a:lnTo>
                    <a:pt x="15092" y="16146"/>
                  </a:lnTo>
                  <a:cubicBezTo>
                    <a:pt x="15156" y="16146"/>
                    <a:pt x="15253" y="16146"/>
                    <a:pt x="15383" y="16146"/>
                  </a:cubicBezTo>
                  <a:cubicBezTo>
                    <a:pt x="15496" y="16144"/>
                    <a:pt x="15593" y="16134"/>
                    <a:pt x="15673" y="16116"/>
                  </a:cubicBezTo>
                  <a:cubicBezTo>
                    <a:pt x="15725" y="16104"/>
                    <a:pt x="15792" y="16069"/>
                    <a:pt x="15875" y="16011"/>
                  </a:cubicBezTo>
                  <a:cubicBezTo>
                    <a:pt x="15887" y="16004"/>
                    <a:pt x="15919" y="15970"/>
                    <a:pt x="15971" y="15908"/>
                  </a:cubicBezTo>
                  <a:cubicBezTo>
                    <a:pt x="16011" y="15860"/>
                    <a:pt x="16058" y="15835"/>
                    <a:pt x="16112" y="15835"/>
                  </a:cubicBezTo>
                  <a:cubicBezTo>
                    <a:pt x="16117" y="15835"/>
                    <a:pt x="16147" y="15847"/>
                    <a:pt x="16201" y="15872"/>
                  </a:cubicBezTo>
                  <a:cubicBezTo>
                    <a:pt x="16253" y="15896"/>
                    <a:pt x="16289" y="15908"/>
                    <a:pt x="16311" y="15908"/>
                  </a:cubicBezTo>
                  <a:lnTo>
                    <a:pt x="16495" y="15884"/>
                  </a:lnTo>
                  <a:cubicBezTo>
                    <a:pt x="16585" y="15884"/>
                    <a:pt x="16641" y="15906"/>
                    <a:pt x="16665" y="15950"/>
                  </a:cubicBezTo>
                  <a:cubicBezTo>
                    <a:pt x="16679" y="15976"/>
                    <a:pt x="16686" y="16034"/>
                    <a:pt x="16686" y="16122"/>
                  </a:cubicBezTo>
                  <a:lnTo>
                    <a:pt x="16665" y="16180"/>
                  </a:lnTo>
                  <a:cubicBezTo>
                    <a:pt x="16665" y="16200"/>
                    <a:pt x="16672" y="16221"/>
                    <a:pt x="16686" y="16243"/>
                  </a:cubicBezTo>
                  <a:cubicBezTo>
                    <a:pt x="16710" y="16275"/>
                    <a:pt x="16699" y="16375"/>
                    <a:pt x="16654" y="16542"/>
                  </a:cubicBezTo>
                  <a:cubicBezTo>
                    <a:pt x="16654" y="16544"/>
                    <a:pt x="16654" y="16549"/>
                    <a:pt x="16654" y="16557"/>
                  </a:cubicBezTo>
                  <a:cubicBezTo>
                    <a:pt x="16652" y="16579"/>
                    <a:pt x="16651" y="16621"/>
                    <a:pt x="16651" y="16681"/>
                  </a:cubicBezTo>
                  <a:cubicBezTo>
                    <a:pt x="16651" y="16707"/>
                    <a:pt x="16663" y="16812"/>
                    <a:pt x="16686" y="16995"/>
                  </a:cubicBezTo>
                  <a:cubicBezTo>
                    <a:pt x="16686" y="17029"/>
                    <a:pt x="16693" y="17095"/>
                    <a:pt x="16708" y="17191"/>
                  </a:cubicBezTo>
                  <a:cubicBezTo>
                    <a:pt x="16722" y="17286"/>
                    <a:pt x="16729" y="17342"/>
                    <a:pt x="16729" y="17360"/>
                  </a:cubicBezTo>
                  <a:lnTo>
                    <a:pt x="16686" y="17919"/>
                  </a:lnTo>
                  <a:lnTo>
                    <a:pt x="16700" y="18073"/>
                  </a:lnTo>
                  <a:lnTo>
                    <a:pt x="16686" y="18348"/>
                  </a:lnTo>
                  <a:lnTo>
                    <a:pt x="16700" y="18496"/>
                  </a:lnTo>
                  <a:cubicBezTo>
                    <a:pt x="16700" y="18558"/>
                    <a:pt x="16693" y="18616"/>
                    <a:pt x="16679" y="18668"/>
                  </a:cubicBezTo>
                  <a:lnTo>
                    <a:pt x="16693" y="18777"/>
                  </a:lnTo>
                  <a:cubicBezTo>
                    <a:pt x="16693" y="18811"/>
                    <a:pt x="16684" y="18857"/>
                    <a:pt x="16665" y="18916"/>
                  </a:cubicBezTo>
                  <a:lnTo>
                    <a:pt x="16693" y="18982"/>
                  </a:lnTo>
                  <a:cubicBezTo>
                    <a:pt x="16693" y="19006"/>
                    <a:pt x="16677" y="19031"/>
                    <a:pt x="16644" y="19057"/>
                  </a:cubicBezTo>
                  <a:cubicBezTo>
                    <a:pt x="16608" y="19084"/>
                    <a:pt x="16591" y="19126"/>
                    <a:pt x="16591" y="19184"/>
                  </a:cubicBezTo>
                  <a:cubicBezTo>
                    <a:pt x="16591" y="19214"/>
                    <a:pt x="16598" y="19250"/>
                    <a:pt x="16612" y="19290"/>
                  </a:cubicBezTo>
                  <a:cubicBezTo>
                    <a:pt x="16624" y="19332"/>
                    <a:pt x="16630" y="19358"/>
                    <a:pt x="16630" y="19368"/>
                  </a:cubicBezTo>
                  <a:cubicBezTo>
                    <a:pt x="16630" y="19393"/>
                    <a:pt x="16617" y="19426"/>
                    <a:pt x="16591" y="19468"/>
                  </a:cubicBezTo>
                  <a:cubicBezTo>
                    <a:pt x="16562" y="19512"/>
                    <a:pt x="16548" y="19558"/>
                    <a:pt x="16548" y="19604"/>
                  </a:cubicBezTo>
                  <a:cubicBezTo>
                    <a:pt x="16548" y="19614"/>
                    <a:pt x="16556" y="19619"/>
                    <a:pt x="16573" y="19619"/>
                  </a:cubicBezTo>
                  <a:cubicBezTo>
                    <a:pt x="16578" y="19649"/>
                    <a:pt x="16580" y="19694"/>
                    <a:pt x="16580" y="19752"/>
                  </a:cubicBezTo>
                  <a:cubicBezTo>
                    <a:pt x="16587" y="19814"/>
                    <a:pt x="16615" y="19865"/>
                    <a:pt x="16665" y="19903"/>
                  </a:cubicBezTo>
                  <a:cubicBezTo>
                    <a:pt x="16672" y="19909"/>
                    <a:pt x="16730" y="19938"/>
                    <a:pt x="16839" y="19990"/>
                  </a:cubicBezTo>
                  <a:cubicBezTo>
                    <a:pt x="16909" y="20027"/>
                    <a:pt x="16954" y="20068"/>
                    <a:pt x="16973" y="20114"/>
                  </a:cubicBezTo>
                  <a:cubicBezTo>
                    <a:pt x="16976" y="20122"/>
                    <a:pt x="16993" y="20175"/>
                    <a:pt x="17026" y="20271"/>
                  </a:cubicBezTo>
                  <a:cubicBezTo>
                    <a:pt x="17048" y="20340"/>
                    <a:pt x="17075" y="20402"/>
                    <a:pt x="17108" y="20459"/>
                  </a:cubicBezTo>
                  <a:cubicBezTo>
                    <a:pt x="17120" y="20477"/>
                    <a:pt x="17161" y="20517"/>
                    <a:pt x="17232" y="20579"/>
                  </a:cubicBezTo>
                  <a:cubicBezTo>
                    <a:pt x="17293" y="20632"/>
                    <a:pt x="17324" y="20674"/>
                    <a:pt x="17324" y="20706"/>
                  </a:cubicBezTo>
                  <a:cubicBezTo>
                    <a:pt x="17324" y="20718"/>
                    <a:pt x="17279" y="20795"/>
                    <a:pt x="17189" y="20936"/>
                  </a:cubicBezTo>
                  <a:cubicBezTo>
                    <a:pt x="17088" y="21091"/>
                    <a:pt x="17032" y="21178"/>
                    <a:pt x="17023" y="21198"/>
                  </a:cubicBezTo>
                  <a:cubicBezTo>
                    <a:pt x="16985" y="21273"/>
                    <a:pt x="16959" y="21342"/>
                    <a:pt x="16945" y="21407"/>
                  </a:cubicBezTo>
                  <a:cubicBezTo>
                    <a:pt x="16940" y="21429"/>
                    <a:pt x="16908" y="21454"/>
                    <a:pt x="16849" y="21482"/>
                  </a:cubicBezTo>
                  <a:cubicBezTo>
                    <a:pt x="16790" y="21508"/>
                    <a:pt x="16758" y="21531"/>
                    <a:pt x="16754" y="21549"/>
                  </a:cubicBezTo>
                  <a:cubicBezTo>
                    <a:pt x="16751" y="21539"/>
                    <a:pt x="16748" y="21529"/>
                    <a:pt x="16743" y="21518"/>
                  </a:cubicBezTo>
                  <a:cubicBezTo>
                    <a:pt x="16729" y="21494"/>
                    <a:pt x="16709" y="21482"/>
                    <a:pt x="16683" y="21482"/>
                  </a:cubicBezTo>
                  <a:cubicBezTo>
                    <a:pt x="16645" y="21482"/>
                    <a:pt x="16585" y="21502"/>
                    <a:pt x="16502" y="21543"/>
                  </a:cubicBezTo>
                  <a:cubicBezTo>
                    <a:pt x="16422" y="21581"/>
                    <a:pt x="16372" y="21600"/>
                    <a:pt x="16353" y="21600"/>
                  </a:cubicBezTo>
                  <a:cubicBezTo>
                    <a:pt x="16334" y="21600"/>
                    <a:pt x="16275" y="21562"/>
                    <a:pt x="16176" y="21485"/>
                  </a:cubicBezTo>
                  <a:cubicBezTo>
                    <a:pt x="16176" y="21417"/>
                    <a:pt x="16209" y="21383"/>
                    <a:pt x="16275" y="21383"/>
                  </a:cubicBezTo>
                  <a:cubicBezTo>
                    <a:pt x="16285" y="21383"/>
                    <a:pt x="16301" y="21386"/>
                    <a:pt x="16325" y="21392"/>
                  </a:cubicBezTo>
                  <a:cubicBezTo>
                    <a:pt x="16353" y="21400"/>
                    <a:pt x="16372" y="21409"/>
                    <a:pt x="16382" y="21419"/>
                  </a:cubicBezTo>
                  <a:cubicBezTo>
                    <a:pt x="16467" y="21387"/>
                    <a:pt x="16521" y="21360"/>
                    <a:pt x="16545" y="21340"/>
                  </a:cubicBezTo>
                  <a:cubicBezTo>
                    <a:pt x="16578" y="21312"/>
                    <a:pt x="16594" y="21267"/>
                    <a:pt x="16594" y="21204"/>
                  </a:cubicBezTo>
                  <a:cubicBezTo>
                    <a:pt x="16594" y="21184"/>
                    <a:pt x="16574" y="21164"/>
                    <a:pt x="16534" y="21144"/>
                  </a:cubicBezTo>
                  <a:cubicBezTo>
                    <a:pt x="16491" y="21122"/>
                    <a:pt x="16470" y="21098"/>
                    <a:pt x="16470" y="21072"/>
                  </a:cubicBezTo>
                  <a:cubicBezTo>
                    <a:pt x="16470" y="21057"/>
                    <a:pt x="16500" y="20997"/>
                    <a:pt x="16559" y="20890"/>
                  </a:cubicBezTo>
                  <a:cubicBezTo>
                    <a:pt x="16618" y="20782"/>
                    <a:pt x="16647" y="20694"/>
                    <a:pt x="16647" y="20628"/>
                  </a:cubicBezTo>
                  <a:lnTo>
                    <a:pt x="16630" y="20486"/>
                  </a:lnTo>
                  <a:cubicBezTo>
                    <a:pt x="16630" y="20468"/>
                    <a:pt x="16650" y="20436"/>
                    <a:pt x="16690" y="20392"/>
                  </a:cubicBezTo>
                  <a:cubicBezTo>
                    <a:pt x="16728" y="20346"/>
                    <a:pt x="16746" y="20319"/>
                    <a:pt x="16746" y="20311"/>
                  </a:cubicBezTo>
                  <a:cubicBezTo>
                    <a:pt x="16746" y="20284"/>
                    <a:pt x="16732" y="20271"/>
                    <a:pt x="16704" y="20271"/>
                  </a:cubicBezTo>
                  <a:cubicBezTo>
                    <a:pt x="16694" y="20271"/>
                    <a:pt x="16644" y="20285"/>
                    <a:pt x="16552" y="20314"/>
                  </a:cubicBezTo>
                  <a:cubicBezTo>
                    <a:pt x="16455" y="20342"/>
                    <a:pt x="16389" y="20359"/>
                    <a:pt x="16353" y="20365"/>
                  </a:cubicBezTo>
                  <a:cubicBezTo>
                    <a:pt x="16263" y="20377"/>
                    <a:pt x="16176" y="20413"/>
                    <a:pt x="16091" y="20474"/>
                  </a:cubicBezTo>
                  <a:cubicBezTo>
                    <a:pt x="16013" y="20530"/>
                    <a:pt x="15965" y="20558"/>
                    <a:pt x="15946" y="20558"/>
                  </a:cubicBezTo>
                  <a:cubicBezTo>
                    <a:pt x="15903" y="20558"/>
                    <a:pt x="15877" y="20551"/>
                    <a:pt x="15868" y="20537"/>
                  </a:cubicBezTo>
                  <a:cubicBezTo>
                    <a:pt x="15863" y="20531"/>
                    <a:pt x="15861" y="20512"/>
                    <a:pt x="15861" y="20480"/>
                  </a:cubicBezTo>
                  <a:cubicBezTo>
                    <a:pt x="15861" y="20437"/>
                    <a:pt x="15868" y="20399"/>
                    <a:pt x="15882" y="20365"/>
                  </a:cubicBezTo>
                  <a:cubicBezTo>
                    <a:pt x="15903" y="20315"/>
                    <a:pt x="15936" y="20289"/>
                    <a:pt x="15981" y="20289"/>
                  </a:cubicBezTo>
                  <a:cubicBezTo>
                    <a:pt x="16021" y="20289"/>
                    <a:pt x="16096" y="20254"/>
                    <a:pt x="16204" y="20184"/>
                  </a:cubicBezTo>
                  <a:cubicBezTo>
                    <a:pt x="16313" y="20113"/>
                    <a:pt x="16371" y="20078"/>
                    <a:pt x="16378" y="20078"/>
                  </a:cubicBezTo>
                  <a:cubicBezTo>
                    <a:pt x="16392" y="20078"/>
                    <a:pt x="16412" y="20087"/>
                    <a:pt x="16438" y="20105"/>
                  </a:cubicBezTo>
                  <a:cubicBezTo>
                    <a:pt x="16467" y="20121"/>
                    <a:pt x="16490" y="20129"/>
                    <a:pt x="16509" y="20129"/>
                  </a:cubicBezTo>
                  <a:cubicBezTo>
                    <a:pt x="16552" y="20129"/>
                    <a:pt x="16573" y="20117"/>
                    <a:pt x="16573" y="20093"/>
                  </a:cubicBezTo>
                  <a:cubicBezTo>
                    <a:pt x="16573" y="20069"/>
                    <a:pt x="16529" y="20008"/>
                    <a:pt x="16442" y="19909"/>
                  </a:cubicBezTo>
                  <a:cubicBezTo>
                    <a:pt x="16439" y="19907"/>
                    <a:pt x="16437" y="19905"/>
                    <a:pt x="16435" y="19903"/>
                  </a:cubicBezTo>
                  <a:cubicBezTo>
                    <a:pt x="16371" y="19830"/>
                    <a:pt x="16332" y="19778"/>
                    <a:pt x="16318" y="19746"/>
                  </a:cubicBezTo>
                  <a:cubicBezTo>
                    <a:pt x="16313" y="19736"/>
                    <a:pt x="16311" y="19729"/>
                    <a:pt x="16311" y="19725"/>
                  </a:cubicBezTo>
                  <a:cubicBezTo>
                    <a:pt x="16311" y="19715"/>
                    <a:pt x="16313" y="19704"/>
                    <a:pt x="16318" y="19692"/>
                  </a:cubicBezTo>
                  <a:cubicBezTo>
                    <a:pt x="16323" y="19675"/>
                    <a:pt x="16332" y="19657"/>
                    <a:pt x="16346" y="19637"/>
                  </a:cubicBezTo>
                  <a:cubicBezTo>
                    <a:pt x="16367" y="19603"/>
                    <a:pt x="16378" y="19577"/>
                    <a:pt x="16378" y="19559"/>
                  </a:cubicBezTo>
                  <a:cubicBezTo>
                    <a:pt x="16378" y="19539"/>
                    <a:pt x="16370" y="19521"/>
                    <a:pt x="16353" y="19507"/>
                  </a:cubicBezTo>
                  <a:cubicBezTo>
                    <a:pt x="16334" y="19491"/>
                    <a:pt x="16325" y="19476"/>
                    <a:pt x="16325" y="19462"/>
                  </a:cubicBezTo>
                  <a:cubicBezTo>
                    <a:pt x="16325" y="19450"/>
                    <a:pt x="16327" y="19439"/>
                    <a:pt x="16332" y="19429"/>
                  </a:cubicBezTo>
                  <a:cubicBezTo>
                    <a:pt x="16334" y="19417"/>
                    <a:pt x="16340" y="19406"/>
                    <a:pt x="16350" y="19396"/>
                  </a:cubicBezTo>
                  <a:cubicBezTo>
                    <a:pt x="16364" y="19375"/>
                    <a:pt x="16371" y="19360"/>
                    <a:pt x="16371" y="19350"/>
                  </a:cubicBezTo>
                  <a:cubicBezTo>
                    <a:pt x="16371" y="19332"/>
                    <a:pt x="16354" y="19312"/>
                    <a:pt x="16321" y="19290"/>
                  </a:cubicBezTo>
                  <a:cubicBezTo>
                    <a:pt x="16286" y="19266"/>
                    <a:pt x="16268" y="19245"/>
                    <a:pt x="16268" y="19227"/>
                  </a:cubicBezTo>
                  <a:cubicBezTo>
                    <a:pt x="16268" y="19198"/>
                    <a:pt x="16289" y="19155"/>
                    <a:pt x="16332" y="19097"/>
                  </a:cubicBezTo>
                  <a:cubicBezTo>
                    <a:pt x="16372" y="19036"/>
                    <a:pt x="16392" y="19004"/>
                    <a:pt x="16392" y="19000"/>
                  </a:cubicBezTo>
                  <a:cubicBezTo>
                    <a:pt x="16392" y="18974"/>
                    <a:pt x="16376" y="18961"/>
                    <a:pt x="16343" y="18961"/>
                  </a:cubicBezTo>
                  <a:cubicBezTo>
                    <a:pt x="16293" y="18973"/>
                    <a:pt x="16261" y="18979"/>
                    <a:pt x="16247" y="18979"/>
                  </a:cubicBezTo>
                  <a:cubicBezTo>
                    <a:pt x="16219" y="18979"/>
                    <a:pt x="16201" y="18965"/>
                    <a:pt x="16194" y="18937"/>
                  </a:cubicBezTo>
                  <a:cubicBezTo>
                    <a:pt x="16184" y="18904"/>
                    <a:pt x="16168" y="18883"/>
                    <a:pt x="16144" y="18873"/>
                  </a:cubicBezTo>
                  <a:cubicBezTo>
                    <a:pt x="16085" y="18849"/>
                    <a:pt x="16052" y="18835"/>
                    <a:pt x="16045" y="18831"/>
                  </a:cubicBezTo>
                  <a:cubicBezTo>
                    <a:pt x="16033" y="18823"/>
                    <a:pt x="16027" y="18804"/>
                    <a:pt x="16027" y="18774"/>
                  </a:cubicBezTo>
                  <a:cubicBezTo>
                    <a:pt x="16027" y="18755"/>
                    <a:pt x="16032" y="18737"/>
                    <a:pt x="16041" y="18719"/>
                  </a:cubicBezTo>
                  <a:cubicBezTo>
                    <a:pt x="16053" y="18695"/>
                    <a:pt x="16071" y="18683"/>
                    <a:pt x="16095" y="18683"/>
                  </a:cubicBezTo>
                  <a:cubicBezTo>
                    <a:pt x="16114" y="18683"/>
                    <a:pt x="16163" y="18699"/>
                    <a:pt x="16243" y="18731"/>
                  </a:cubicBezTo>
                  <a:cubicBezTo>
                    <a:pt x="16255" y="18731"/>
                    <a:pt x="16272" y="18727"/>
                    <a:pt x="16293" y="18719"/>
                  </a:cubicBezTo>
                  <a:cubicBezTo>
                    <a:pt x="16317" y="18709"/>
                    <a:pt x="16330" y="18699"/>
                    <a:pt x="16332" y="18689"/>
                  </a:cubicBezTo>
                  <a:cubicBezTo>
                    <a:pt x="16285" y="18663"/>
                    <a:pt x="16254" y="18645"/>
                    <a:pt x="16240" y="18635"/>
                  </a:cubicBezTo>
                  <a:cubicBezTo>
                    <a:pt x="16219" y="18617"/>
                    <a:pt x="16208" y="18583"/>
                    <a:pt x="16208" y="18535"/>
                  </a:cubicBezTo>
                  <a:cubicBezTo>
                    <a:pt x="16208" y="18493"/>
                    <a:pt x="16230" y="18459"/>
                    <a:pt x="16275" y="18432"/>
                  </a:cubicBezTo>
                  <a:cubicBezTo>
                    <a:pt x="16311" y="18412"/>
                    <a:pt x="16344" y="18402"/>
                    <a:pt x="16374" y="18402"/>
                  </a:cubicBezTo>
                  <a:cubicBezTo>
                    <a:pt x="16417" y="18402"/>
                    <a:pt x="16437" y="18415"/>
                    <a:pt x="16435" y="18441"/>
                  </a:cubicBezTo>
                  <a:cubicBezTo>
                    <a:pt x="16430" y="18484"/>
                    <a:pt x="16449" y="18520"/>
                    <a:pt x="16491" y="18550"/>
                  </a:cubicBezTo>
                  <a:cubicBezTo>
                    <a:pt x="16508" y="18526"/>
                    <a:pt x="16516" y="18511"/>
                    <a:pt x="16516" y="18505"/>
                  </a:cubicBezTo>
                  <a:cubicBezTo>
                    <a:pt x="16519" y="18501"/>
                    <a:pt x="16520" y="18483"/>
                    <a:pt x="16520" y="18450"/>
                  </a:cubicBezTo>
                  <a:cubicBezTo>
                    <a:pt x="16520" y="18396"/>
                    <a:pt x="16503" y="18361"/>
                    <a:pt x="16470" y="18345"/>
                  </a:cubicBezTo>
                  <a:cubicBezTo>
                    <a:pt x="16437" y="18327"/>
                    <a:pt x="16421" y="18288"/>
                    <a:pt x="16421" y="18230"/>
                  </a:cubicBezTo>
                  <a:cubicBezTo>
                    <a:pt x="16421" y="18178"/>
                    <a:pt x="16437" y="18147"/>
                    <a:pt x="16470" y="18139"/>
                  </a:cubicBezTo>
                  <a:cubicBezTo>
                    <a:pt x="16491" y="18135"/>
                    <a:pt x="16545" y="18130"/>
                    <a:pt x="16630" y="18124"/>
                  </a:cubicBezTo>
                  <a:lnTo>
                    <a:pt x="16630" y="18112"/>
                  </a:lnTo>
                  <a:cubicBezTo>
                    <a:pt x="16618" y="18104"/>
                    <a:pt x="16594" y="18093"/>
                    <a:pt x="16559" y="18079"/>
                  </a:cubicBezTo>
                  <a:cubicBezTo>
                    <a:pt x="16516" y="18063"/>
                    <a:pt x="16485" y="18055"/>
                    <a:pt x="16467" y="18055"/>
                  </a:cubicBezTo>
                  <a:cubicBezTo>
                    <a:pt x="16400" y="18055"/>
                    <a:pt x="16367" y="18059"/>
                    <a:pt x="16367" y="18067"/>
                  </a:cubicBezTo>
                  <a:cubicBezTo>
                    <a:pt x="16330" y="18067"/>
                    <a:pt x="16311" y="18055"/>
                    <a:pt x="16311" y="18031"/>
                  </a:cubicBezTo>
                  <a:cubicBezTo>
                    <a:pt x="16311" y="18003"/>
                    <a:pt x="16352" y="17976"/>
                    <a:pt x="16435" y="17952"/>
                  </a:cubicBezTo>
                  <a:cubicBezTo>
                    <a:pt x="16517" y="17926"/>
                    <a:pt x="16559" y="17896"/>
                    <a:pt x="16559" y="17862"/>
                  </a:cubicBezTo>
                  <a:lnTo>
                    <a:pt x="16559" y="17825"/>
                  </a:lnTo>
                  <a:cubicBezTo>
                    <a:pt x="16556" y="17809"/>
                    <a:pt x="16546" y="17801"/>
                    <a:pt x="16527" y="17801"/>
                  </a:cubicBezTo>
                  <a:cubicBezTo>
                    <a:pt x="16508" y="17801"/>
                    <a:pt x="16480" y="17810"/>
                    <a:pt x="16442" y="17828"/>
                  </a:cubicBezTo>
                  <a:cubicBezTo>
                    <a:pt x="16404" y="17845"/>
                    <a:pt x="16374" y="17853"/>
                    <a:pt x="16353" y="17853"/>
                  </a:cubicBezTo>
                  <a:cubicBezTo>
                    <a:pt x="16344" y="17853"/>
                    <a:pt x="16334" y="17847"/>
                    <a:pt x="16325" y="17837"/>
                  </a:cubicBezTo>
                  <a:cubicBezTo>
                    <a:pt x="16315" y="17827"/>
                    <a:pt x="16311" y="17818"/>
                    <a:pt x="16311" y="17810"/>
                  </a:cubicBezTo>
                  <a:cubicBezTo>
                    <a:pt x="16311" y="17794"/>
                    <a:pt x="16323" y="17769"/>
                    <a:pt x="16346" y="17735"/>
                  </a:cubicBezTo>
                  <a:cubicBezTo>
                    <a:pt x="16370" y="17701"/>
                    <a:pt x="16382" y="17674"/>
                    <a:pt x="16382" y="17656"/>
                  </a:cubicBezTo>
                  <a:cubicBezTo>
                    <a:pt x="16382" y="17630"/>
                    <a:pt x="16358" y="17606"/>
                    <a:pt x="16311" y="17584"/>
                  </a:cubicBezTo>
                  <a:cubicBezTo>
                    <a:pt x="16261" y="17560"/>
                    <a:pt x="16236" y="17533"/>
                    <a:pt x="16236" y="17505"/>
                  </a:cubicBezTo>
                  <a:cubicBezTo>
                    <a:pt x="16236" y="17441"/>
                    <a:pt x="16209" y="17398"/>
                    <a:pt x="16155" y="17375"/>
                  </a:cubicBezTo>
                  <a:cubicBezTo>
                    <a:pt x="16098" y="17355"/>
                    <a:pt x="16070" y="17291"/>
                    <a:pt x="16070" y="17182"/>
                  </a:cubicBezTo>
                  <a:cubicBezTo>
                    <a:pt x="16070" y="17130"/>
                    <a:pt x="16089" y="17085"/>
                    <a:pt x="16126" y="17046"/>
                  </a:cubicBezTo>
                  <a:cubicBezTo>
                    <a:pt x="16183" y="16990"/>
                    <a:pt x="16217" y="16949"/>
                    <a:pt x="16229" y="16922"/>
                  </a:cubicBezTo>
                  <a:cubicBezTo>
                    <a:pt x="16215" y="16922"/>
                    <a:pt x="16197" y="16918"/>
                    <a:pt x="16176" y="16910"/>
                  </a:cubicBezTo>
                  <a:cubicBezTo>
                    <a:pt x="16155" y="16900"/>
                    <a:pt x="16142" y="16895"/>
                    <a:pt x="16137" y="16895"/>
                  </a:cubicBezTo>
                  <a:lnTo>
                    <a:pt x="16137" y="16859"/>
                  </a:lnTo>
                  <a:cubicBezTo>
                    <a:pt x="16137" y="16855"/>
                    <a:pt x="16175" y="16792"/>
                    <a:pt x="16250" y="16669"/>
                  </a:cubicBezTo>
                  <a:cubicBezTo>
                    <a:pt x="16324" y="16548"/>
                    <a:pt x="16360" y="16457"/>
                    <a:pt x="16360" y="16397"/>
                  </a:cubicBezTo>
                  <a:cubicBezTo>
                    <a:pt x="16360" y="16363"/>
                    <a:pt x="16348" y="16331"/>
                    <a:pt x="16325" y="16300"/>
                  </a:cubicBezTo>
                  <a:cubicBezTo>
                    <a:pt x="16289" y="16325"/>
                    <a:pt x="16249" y="16387"/>
                    <a:pt x="16204" y="16488"/>
                  </a:cubicBezTo>
                  <a:cubicBezTo>
                    <a:pt x="16181" y="16546"/>
                    <a:pt x="16143" y="16644"/>
                    <a:pt x="16091" y="16781"/>
                  </a:cubicBezTo>
                  <a:cubicBezTo>
                    <a:pt x="16082" y="16805"/>
                    <a:pt x="16058" y="16853"/>
                    <a:pt x="16020" y="16926"/>
                  </a:cubicBezTo>
                  <a:cubicBezTo>
                    <a:pt x="15990" y="16986"/>
                    <a:pt x="15969" y="17030"/>
                    <a:pt x="15960" y="17058"/>
                  </a:cubicBezTo>
                  <a:cubicBezTo>
                    <a:pt x="15875" y="17236"/>
                    <a:pt x="15806" y="17324"/>
                    <a:pt x="15754" y="17324"/>
                  </a:cubicBezTo>
                  <a:cubicBezTo>
                    <a:pt x="15707" y="17324"/>
                    <a:pt x="15684" y="17294"/>
                    <a:pt x="15684" y="17234"/>
                  </a:cubicBezTo>
                  <a:cubicBezTo>
                    <a:pt x="15684" y="17211"/>
                    <a:pt x="15695" y="17179"/>
                    <a:pt x="15719" y="17137"/>
                  </a:cubicBezTo>
                  <a:cubicBezTo>
                    <a:pt x="15740" y="17095"/>
                    <a:pt x="15751" y="17066"/>
                    <a:pt x="15751" y="17052"/>
                  </a:cubicBezTo>
                  <a:cubicBezTo>
                    <a:pt x="15751" y="17048"/>
                    <a:pt x="15746" y="17040"/>
                    <a:pt x="15737" y="17028"/>
                  </a:cubicBezTo>
                  <a:cubicBezTo>
                    <a:pt x="15725" y="17014"/>
                    <a:pt x="15714" y="17007"/>
                    <a:pt x="15705" y="17007"/>
                  </a:cubicBezTo>
                  <a:cubicBezTo>
                    <a:pt x="15653" y="17025"/>
                    <a:pt x="15616" y="17034"/>
                    <a:pt x="15595" y="17034"/>
                  </a:cubicBezTo>
                  <a:cubicBezTo>
                    <a:pt x="15579" y="17034"/>
                    <a:pt x="15562" y="17027"/>
                    <a:pt x="15545" y="17013"/>
                  </a:cubicBezTo>
                  <a:cubicBezTo>
                    <a:pt x="15531" y="17001"/>
                    <a:pt x="15524" y="16991"/>
                    <a:pt x="15524" y="16983"/>
                  </a:cubicBezTo>
                  <a:cubicBezTo>
                    <a:pt x="15524" y="16969"/>
                    <a:pt x="15537" y="16939"/>
                    <a:pt x="15563" y="16892"/>
                  </a:cubicBezTo>
                  <a:cubicBezTo>
                    <a:pt x="15592" y="16844"/>
                    <a:pt x="15608" y="16798"/>
                    <a:pt x="15613" y="16753"/>
                  </a:cubicBezTo>
                  <a:cubicBezTo>
                    <a:pt x="15618" y="16699"/>
                    <a:pt x="15642" y="16657"/>
                    <a:pt x="15687" y="16627"/>
                  </a:cubicBezTo>
                  <a:cubicBezTo>
                    <a:pt x="15730" y="16598"/>
                    <a:pt x="15751" y="16565"/>
                    <a:pt x="15751" y="16527"/>
                  </a:cubicBezTo>
                  <a:cubicBezTo>
                    <a:pt x="15734" y="16493"/>
                    <a:pt x="15721" y="16476"/>
                    <a:pt x="15712" y="16476"/>
                  </a:cubicBezTo>
                  <a:cubicBezTo>
                    <a:pt x="15698" y="16476"/>
                    <a:pt x="15681" y="16491"/>
                    <a:pt x="15662" y="16521"/>
                  </a:cubicBezTo>
                  <a:cubicBezTo>
                    <a:pt x="15643" y="16549"/>
                    <a:pt x="15626" y="16563"/>
                    <a:pt x="15609" y="16563"/>
                  </a:cubicBezTo>
                  <a:cubicBezTo>
                    <a:pt x="15586" y="16563"/>
                    <a:pt x="15567" y="16515"/>
                    <a:pt x="15553" y="16418"/>
                  </a:cubicBezTo>
                  <a:cubicBezTo>
                    <a:pt x="15538" y="16320"/>
                    <a:pt x="15502" y="16270"/>
                    <a:pt x="15443" y="16270"/>
                  </a:cubicBezTo>
                  <a:cubicBezTo>
                    <a:pt x="15410" y="16286"/>
                    <a:pt x="15388" y="16294"/>
                    <a:pt x="15379" y="16294"/>
                  </a:cubicBezTo>
                  <a:cubicBezTo>
                    <a:pt x="15320" y="16258"/>
                    <a:pt x="15287" y="16240"/>
                    <a:pt x="15280" y="16240"/>
                  </a:cubicBezTo>
                  <a:cubicBezTo>
                    <a:pt x="15275" y="16240"/>
                    <a:pt x="15264" y="16248"/>
                    <a:pt x="15248" y="16264"/>
                  </a:cubicBezTo>
                  <a:cubicBezTo>
                    <a:pt x="15229" y="16282"/>
                    <a:pt x="15220" y="16298"/>
                    <a:pt x="15220" y="16312"/>
                  </a:cubicBezTo>
                  <a:cubicBezTo>
                    <a:pt x="15220" y="16325"/>
                    <a:pt x="15248" y="16352"/>
                    <a:pt x="15305" y="16394"/>
                  </a:cubicBezTo>
                  <a:cubicBezTo>
                    <a:pt x="15359" y="16436"/>
                    <a:pt x="15386" y="16473"/>
                    <a:pt x="15386" y="16503"/>
                  </a:cubicBezTo>
                  <a:cubicBezTo>
                    <a:pt x="15386" y="16509"/>
                    <a:pt x="15365" y="16545"/>
                    <a:pt x="15322" y="16611"/>
                  </a:cubicBezTo>
                  <a:cubicBezTo>
                    <a:pt x="15322" y="16634"/>
                    <a:pt x="15341" y="16657"/>
                    <a:pt x="15379" y="16681"/>
                  </a:cubicBezTo>
                  <a:cubicBezTo>
                    <a:pt x="15414" y="16703"/>
                    <a:pt x="15432" y="16728"/>
                    <a:pt x="15432" y="16756"/>
                  </a:cubicBezTo>
                  <a:cubicBezTo>
                    <a:pt x="15432" y="16779"/>
                    <a:pt x="15412" y="16815"/>
                    <a:pt x="15372" y="16865"/>
                  </a:cubicBezTo>
                  <a:cubicBezTo>
                    <a:pt x="15329" y="16919"/>
                    <a:pt x="15294" y="16947"/>
                    <a:pt x="15266" y="16947"/>
                  </a:cubicBezTo>
                  <a:cubicBezTo>
                    <a:pt x="15254" y="16947"/>
                    <a:pt x="15234" y="16931"/>
                    <a:pt x="15205" y="16898"/>
                  </a:cubicBezTo>
                  <a:cubicBezTo>
                    <a:pt x="15177" y="16864"/>
                    <a:pt x="15156" y="16847"/>
                    <a:pt x="15142" y="16847"/>
                  </a:cubicBezTo>
                  <a:cubicBezTo>
                    <a:pt x="15135" y="16847"/>
                    <a:pt x="15122" y="16857"/>
                    <a:pt x="15103" y="16877"/>
                  </a:cubicBezTo>
                  <a:cubicBezTo>
                    <a:pt x="15084" y="16895"/>
                    <a:pt x="15068" y="16904"/>
                    <a:pt x="15057" y="16904"/>
                  </a:cubicBezTo>
                  <a:cubicBezTo>
                    <a:pt x="15038" y="16904"/>
                    <a:pt x="15018" y="16886"/>
                    <a:pt x="14996" y="16850"/>
                  </a:cubicBezTo>
                  <a:cubicBezTo>
                    <a:pt x="14977" y="16806"/>
                    <a:pt x="14964" y="16778"/>
                    <a:pt x="14957" y="16765"/>
                  </a:cubicBezTo>
                  <a:lnTo>
                    <a:pt x="14954" y="16765"/>
                  </a:lnTo>
                  <a:cubicBezTo>
                    <a:pt x="14930" y="16719"/>
                    <a:pt x="14888" y="16645"/>
                    <a:pt x="14826" y="16542"/>
                  </a:cubicBezTo>
                  <a:cubicBezTo>
                    <a:pt x="14779" y="16461"/>
                    <a:pt x="14755" y="16408"/>
                    <a:pt x="14755" y="16382"/>
                  </a:cubicBezTo>
                  <a:cubicBezTo>
                    <a:pt x="14755" y="16368"/>
                    <a:pt x="14768" y="16353"/>
                    <a:pt x="14794" y="16337"/>
                  </a:cubicBezTo>
                  <a:cubicBezTo>
                    <a:pt x="14820" y="16325"/>
                    <a:pt x="14833" y="16318"/>
                    <a:pt x="14833" y="16316"/>
                  </a:cubicBezTo>
                  <a:cubicBezTo>
                    <a:pt x="14833" y="16299"/>
                    <a:pt x="14811" y="16285"/>
                    <a:pt x="14766" y="16273"/>
                  </a:cubicBezTo>
                  <a:cubicBezTo>
                    <a:pt x="14719" y="16261"/>
                    <a:pt x="14695" y="16201"/>
                    <a:pt x="14695" y="16092"/>
                  </a:cubicBezTo>
                  <a:cubicBezTo>
                    <a:pt x="14707" y="15981"/>
                    <a:pt x="14712" y="15905"/>
                    <a:pt x="14709" y="15863"/>
                  </a:cubicBezTo>
                  <a:cubicBezTo>
                    <a:pt x="14707" y="15824"/>
                    <a:pt x="14718" y="15790"/>
                    <a:pt x="14741" y="15760"/>
                  </a:cubicBezTo>
                  <a:cubicBezTo>
                    <a:pt x="14774" y="15730"/>
                    <a:pt x="14796" y="15709"/>
                    <a:pt x="14805" y="15696"/>
                  </a:cubicBezTo>
                  <a:cubicBezTo>
                    <a:pt x="14810" y="15690"/>
                    <a:pt x="14864" y="15655"/>
                    <a:pt x="14968" y="15591"/>
                  </a:cubicBezTo>
                  <a:cubicBezTo>
                    <a:pt x="15067" y="15530"/>
                    <a:pt x="15117" y="15498"/>
                    <a:pt x="15117" y="15494"/>
                  </a:cubicBezTo>
                  <a:cubicBezTo>
                    <a:pt x="15117" y="15468"/>
                    <a:pt x="15075" y="15455"/>
                    <a:pt x="14993" y="15455"/>
                  </a:cubicBezTo>
                  <a:cubicBezTo>
                    <a:pt x="14922" y="15455"/>
                    <a:pt x="14871" y="15482"/>
                    <a:pt x="14840" y="15536"/>
                  </a:cubicBezTo>
                  <a:cubicBezTo>
                    <a:pt x="14810" y="15589"/>
                    <a:pt x="14786" y="15615"/>
                    <a:pt x="14770" y="15615"/>
                  </a:cubicBezTo>
                  <a:cubicBezTo>
                    <a:pt x="14748" y="15615"/>
                    <a:pt x="14727" y="15603"/>
                    <a:pt x="14706" y="15579"/>
                  </a:cubicBezTo>
                  <a:cubicBezTo>
                    <a:pt x="14682" y="15555"/>
                    <a:pt x="14665" y="15542"/>
                    <a:pt x="14653" y="15542"/>
                  </a:cubicBezTo>
                  <a:cubicBezTo>
                    <a:pt x="14636" y="15542"/>
                    <a:pt x="14623" y="15548"/>
                    <a:pt x="14614" y="15561"/>
                  </a:cubicBezTo>
                  <a:cubicBezTo>
                    <a:pt x="14607" y="15573"/>
                    <a:pt x="14597" y="15579"/>
                    <a:pt x="14585" y="15579"/>
                  </a:cubicBezTo>
                  <a:cubicBezTo>
                    <a:pt x="14557" y="15579"/>
                    <a:pt x="14533" y="15541"/>
                    <a:pt x="14515" y="15467"/>
                  </a:cubicBezTo>
                  <a:cubicBezTo>
                    <a:pt x="14498" y="15380"/>
                    <a:pt x="14486" y="15327"/>
                    <a:pt x="14479" y="15307"/>
                  </a:cubicBezTo>
                  <a:cubicBezTo>
                    <a:pt x="14465" y="15267"/>
                    <a:pt x="14419" y="15204"/>
                    <a:pt x="14341" y="15120"/>
                  </a:cubicBezTo>
                  <a:cubicBezTo>
                    <a:pt x="14268" y="15043"/>
                    <a:pt x="14231" y="15004"/>
                    <a:pt x="14231" y="15002"/>
                  </a:cubicBezTo>
                  <a:cubicBezTo>
                    <a:pt x="14231" y="14956"/>
                    <a:pt x="14261" y="14924"/>
                    <a:pt x="14320" y="14908"/>
                  </a:cubicBezTo>
                  <a:cubicBezTo>
                    <a:pt x="14353" y="14900"/>
                    <a:pt x="14404" y="14890"/>
                    <a:pt x="14472" y="14878"/>
                  </a:cubicBezTo>
                  <a:cubicBezTo>
                    <a:pt x="14481" y="14874"/>
                    <a:pt x="14515" y="14841"/>
                    <a:pt x="14571" y="14778"/>
                  </a:cubicBezTo>
                  <a:cubicBezTo>
                    <a:pt x="14621" y="14722"/>
                    <a:pt x="14665" y="14694"/>
                    <a:pt x="14702" y="14694"/>
                  </a:cubicBezTo>
                  <a:cubicBezTo>
                    <a:pt x="14721" y="14694"/>
                    <a:pt x="14731" y="14707"/>
                    <a:pt x="14731" y="14733"/>
                  </a:cubicBezTo>
                  <a:cubicBezTo>
                    <a:pt x="14731" y="14767"/>
                    <a:pt x="14711" y="14811"/>
                    <a:pt x="14670" y="14863"/>
                  </a:cubicBezTo>
                  <a:cubicBezTo>
                    <a:pt x="14630" y="14915"/>
                    <a:pt x="14610" y="14952"/>
                    <a:pt x="14610" y="14972"/>
                  </a:cubicBezTo>
                  <a:lnTo>
                    <a:pt x="14617" y="15053"/>
                  </a:lnTo>
                  <a:cubicBezTo>
                    <a:pt x="14629" y="14987"/>
                    <a:pt x="14676" y="14929"/>
                    <a:pt x="14759" y="14881"/>
                  </a:cubicBezTo>
                  <a:cubicBezTo>
                    <a:pt x="14839" y="14845"/>
                    <a:pt x="14879" y="14826"/>
                    <a:pt x="14879" y="14824"/>
                  </a:cubicBezTo>
                  <a:cubicBezTo>
                    <a:pt x="14879" y="14814"/>
                    <a:pt x="14865" y="14789"/>
                    <a:pt x="14837" y="14748"/>
                  </a:cubicBezTo>
                  <a:cubicBezTo>
                    <a:pt x="14806" y="14706"/>
                    <a:pt x="14791" y="14682"/>
                    <a:pt x="14791" y="14676"/>
                  </a:cubicBezTo>
                  <a:cubicBezTo>
                    <a:pt x="14815" y="14617"/>
                    <a:pt x="14826" y="14581"/>
                    <a:pt x="14826" y="14567"/>
                  </a:cubicBezTo>
                  <a:cubicBezTo>
                    <a:pt x="14826" y="14539"/>
                    <a:pt x="14809" y="14525"/>
                    <a:pt x="14773" y="14525"/>
                  </a:cubicBezTo>
                  <a:cubicBezTo>
                    <a:pt x="14761" y="14525"/>
                    <a:pt x="14734" y="14533"/>
                    <a:pt x="14692" y="14549"/>
                  </a:cubicBezTo>
                  <a:cubicBezTo>
                    <a:pt x="14654" y="14565"/>
                    <a:pt x="14629" y="14575"/>
                    <a:pt x="14617" y="14579"/>
                  </a:cubicBezTo>
                  <a:cubicBezTo>
                    <a:pt x="14518" y="14605"/>
                    <a:pt x="14434" y="14618"/>
                    <a:pt x="14366" y="14618"/>
                  </a:cubicBezTo>
                  <a:cubicBezTo>
                    <a:pt x="14288" y="14618"/>
                    <a:pt x="14203" y="14587"/>
                    <a:pt x="14111" y="14525"/>
                  </a:cubicBezTo>
                  <a:cubicBezTo>
                    <a:pt x="14033" y="14472"/>
                    <a:pt x="13977" y="14419"/>
                    <a:pt x="13944" y="14365"/>
                  </a:cubicBezTo>
                  <a:cubicBezTo>
                    <a:pt x="13939" y="14357"/>
                    <a:pt x="13936" y="14350"/>
                    <a:pt x="13934" y="14344"/>
                  </a:cubicBezTo>
                  <a:cubicBezTo>
                    <a:pt x="13912" y="14295"/>
                    <a:pt x="13889" y="14251"/>
                    <a:pt x="13863" y="14211"/>
                  </a:cubicBezTo>
                  <a:cubicBezTo>
                    <a:pt x="13841" y="14177"/>
                    <a:pt x="13831" y="14153"/>
                    <a:pt x="13831" y="14141"/>
                  </a:cubicBezTo>
                  <a:cubicBezTo>
                    <a:pt x="13831" y="14125"/>
                    <a:pt x="13846" y="14113"/>
                    <a:pt x="13877" y="14105"/>
                  </a:cubicBezTo>
                  <a:cubicBezTo>
                    <a:pt x="13905" y="14097"/>
                    <a:pt x="13919" y="14084"/>
                    <a:pt x="13919" y="14066"/>
                  </a:cubicBezTo>
                  <a:cubicBezTo>
                    <a:pt x="13919" y="14034"/>
                    <a:pt x="13909" y="14012"/>
                    <a:pt x="13887" y="14002"/>
                  </a:cubicBezTo>
                  <a:cubicBezTo>
                    <a:pt x="13878" y="13998"/>
                    <a:pt x="13850" y="13993"/>
                    <a:pt x="13802" y="13987"/>
                  </a:cubicBezTo>
                  <a:cubicBezTo>
                    <a:pt x="13776" y="13983"/>
                    <a:pt x="13746" y="13972"/>
                    <a:pt x="13710" y="13954"/>
                  </a:cubicBezTo>
                  <a:cubicBezTo>
                    <a:pt x="13673" y="13932"/>
                    <a:pt x="13645" y="13916"/>
                    <a:pt x="13629" y="13906"/>
                  </a:cubicBezTo>
                  <a:cubicBezTo>
                    <a:pt x="13598" y="13890"/>
                    <a:pt x="13549" y="13834"/>
                    <a:pt x="13480" y="13740"/>
                  </a:cubicBezTo>
                  <a:cubicBezTo>
                    <a:pt x="13412" y="13647"/>
                    <a:pt x="13367" y="13595"/>
                    <a:pt x="13345" y="13583"/>
                  </a:cubicBezTo>
                  <a:cubicBezTo>
                    <a:pt x="13322" y="13569"/>
                    <a:pt x="13271" y="13548"/>
                    <a:pt x="13193" y="13522"/>
                  </a:cubicBezTo>
                  <a:cubicBezTo>
                    <a:pt x="13108" y="13496"/>
                    <a:pt x="13047" y="13473"/>
                    <a:pt x="13009" y="13453"/>
                  </a:cubicBezTo>
                  <a:cubicBezTo>
                    <a:pt x="12773" y="13334"/>
                    <a:pt x="12655" y="13248"/>
                    <a:pt x="12655" y="13196"/>
                  </a:cubicBezTo>
                  <a:cubicBezTo>
                    <a:pt x="12655" y="13190"/>
                    <a:pt x="12669" y="13167"/>
                    <a:pt x="12697" y="13127"/>
                  </a:cubicBezTo>
                  <a:cubicBezTo>
                    <a:pt x="12725" y="13088"/>
                    <a:pt x="12740" y="13068"/>
                    <a:pt x="12740" y="13066"/>
                  </a:cubicBezTo>
                  <a:cubicBezTo>
                    <a:pt x="12740" y="13060"/>
                    <a:pt x="12727" y="13041"/>
                    <a:pt x="12701" y="13009"/>
                  </a:cubicBezTo>
                  <a:cubicBezTo>
                    <a:pt x="12670" y="12971"/>
                    <a:pt x="12652" y="12948"/>
                    <a:pt x="12648" y="12939"/>
                  </a:cubicBezTo>
                  <a:cubicBezTo>
                    <a:pt x="12619" y="12895"/>
                    <a:pt x="12600" y="12866"/>
                    <a:pt x="12591" y="12852"/>
                  </a:cubicBezTo>
                  <a:cubicBezTo>
                    <a:pt x="12579" y="12832"/>
                    <a:pt x="12573" y="12805"/>
                    <a:pt x="12573" y="12770"/>
                  </a:cubicBezTo>
                  <a:cubicBezTo>
                    <a:pt x="12573" y="12728"/>
                    <a:pt x="12587" y="12695"/>
                    <a:pt x="12616" y="12671"/>
                  </a:cubicBezTo>
                  <a:cubicBezTo>
                    <a:pt x="12642" y="12647"/>
                    <a:pt x="12655" y="12621"/>
                    <a:pt x="12655" y="12595"/>
                  </a:cubicBezTo>
                  <a:cubicBezTo>
                    <a:pt x="12626" y="12543"/>
                    <a:pt x="12591" y="12517"/>
                    <a:pt x="12548" y="12517"/>
                  </a:cubicBezTo>
                  <a:cubicBezTo>
                    <a:pt x="12539" y="12517"/>
                    <a:pt x="12527" y="12523"/>
                    <a:pt x="12513" y="12535"/>
                  </a:cubicBezTo>
                  <a:cubicBezTo>
                    <a:pt x="12499" y="12545"/>
                    <a:pt x="12480" y="12550"/>
                    <a:pt x="12456" y="12550"/>
                  </a:cubicBezTo>
                  <a:cubicBezTo>
                    <a:pt x="12421" y="12550"/>
                    <a:pt x="12390" y="12535"/>
                    <a:pt x="12364" y="12505"/>
                  </a:cubicBezTo>
                  <a:cubicBezTo>
                    <a:pt x="12338" y="12472"/>
                    <a:pt x="12325" y="12432"/>
                    <a:pt x="12325" y="12384"/>
                  </a:cubicBezTo>
                  <a:lnTo>
                    <a:pt x="12343" y="12191"/>
                  </a:lnTo>
                  <a:cubicBezTo>
                    <a:pt x="12343" y="12116"/>
                    <a:pt x="12322" y="12064"/>
                    <a:pt x="12279" y="12034"/>
                  </a:cubicBezTo>
                  <a:cubicBezTo>
                    <a:pt x="12234" y="12003"/>
                    <a:pt x="12212" y="11979"/>
                    <a:pt x="12212" y="11961"/>
                  </a:cubicBezTo>
                  <a:cubicBezTo>
                    <a:pt x="12212" y="11929"/>
                    <a:pt x="12244" y="11904"/>
                    <a:pt x="12307" y="11886"/>
                  </a:cubicBezTo>
                  <a:cubicBezTo>
                    <a:pt x="12378" y="11867"/>
                    <a:pt x="12418" y="11848"/>
                    <a:pt x="12428" y="11828"/>
                  </a:cubicBezTo>
                  <a:cubicBezTo>
                    <a:pt x="12392" y="11822"/>
                    <a:pt x="12359" y="11816"/>
                    <a:pt x="12329" y="11810"/>
                  </a:cubicBezTo>
                  <a:cubicBezTo>
                    <a:pt x="12270" y="11798"/>
                    <a:pt x="12240" y="11781"/>
                    <a:pt x="12240" y="11759"/>
                  </a:cubicBezTo>
                  <a:cubicBezTo>
                    <a:pt x="12240" y="11737"/>
                    <a:pt x="12261" y="11706"/>
                    <a:pt x="12304" y="11668"/>
                  </a:cubicBezTo>
                  <a:cubicBezTo>
                    <a:pt x="12349" y="11628"/>
                    <a:pt x="12388" y="11608"/>
                    <a:pt x="12421" y="11608"/>
                  </a:cubicBezTo>
                  <a:cubicBezTo>
                    <a:pt x="12433" y="11608"/>
                    <a:pt x="12454" y="11612"/>
                    <a:pt x="12485" y="11620"/>
                  </a:cubicBezTo>
                  <a:lnTo>
                    <a:pt x="12552" y="11614"/>
                  </a:lnTo>
                  <a:lnTo>
                    <a:pt x="12545" y="11614"/>
                  </a:lnTo>
                  <a:cubicBezTo>
                    <a:pt x="12528" y="11590"/>
                    <a:pt x="12500" y="11570"/>
                    <a:pt x="12460" y="11553"/>
                  </a:cubicBezTo>
                  <a:cubicBezTo>
                    <a:pt x="12417" y="11535"/>
                    <a:pt x="12378" y="11526"/>
                    <a:pt x="12343" y="11526"/>
                  </a:cubicBezTo>
                  <a:cubicBezTo>
                    <a:pt x="12329" y="11526"/>
                    <a:pt x="12305" y="11530"/>
                    <a:pt x="12272" y="11538"/>
                  </a:cubicBezTo>
                  <a:cubicBezTo>
                    <a:pt x="12239" y="11546"/>
                    <a:pt x="12212" y="11550"/>
                    <a:pt x="12191" y="11550"/>
                  </a:cubicBezTo>
                  <a:cubicBezTo>
                    <a:pt x="12167" y="11550"/>
                    <a:pt x="12150" y="11546"/>
                    <a:pt x="12141" y="11538"/>
                  </a:cubicBezTo>
                  <a:cubicBezTo>
                    <a:pt x="12131" y="11524"/>
                    <a:pt x="12123" y="11512"/>
                    <a:pt x="12116" y="11502"/>
                  </a:cubicBezTo>
                  <a:cubicBezTo>
                    <a:pt x="12104" y="11472"/>
                    <a:pt x="12075" y="11442"/>
                    <a:pt x="12028" y="11412"/>
                  </a:cubicBezTo>
                  <a:cubicBezTo>
                    <a:pt x="11976" y="11377"/>
                    <a:pt x="11927" y="11360"/>
                    <a:pt x="11882" y="11360"/>
                  </a:cubicBezTo>
                  <a:cubicBezTo>
                    <a:pt x="11778" y="11366"/>
                    <a:pt x="11726" y="11358"/>
                    <a:pt x="11726" y="11336"/>
                  </a:cubicBezTo>
                  <a:cubicBezTo>
                    <a:pt x="11726" y="11274"/>
                    <a:pt x="11777" y="11232"/>
                    <a:pt x="11879" y="11212"/>
                  </a:cubicBezTo>
                  <a:cubicBezTo>
                    <a:pt x="11985" y="11190"/>
                    <a:pt x="12043" y="11157"/>
                    <a:pt x="12052" y="11113"/>
                  </a:cubicBezTo>
                  <a:lnTo>
                    <a:pt x="12052" y="11046"/>
                  </a:lnTo>
                  <a:lnTo>
                    <a:pt x="12010" y="11046"/>
                  </a:lnTo>
                  <a:cubicBezTo>
                    <a:pt x="11965" y="11066"/>
                    <a:pt x="11934" y="11076"/>
                    <a:pt x="11918" y="11076"/>
                  </a:cubicBezTo>
                  <a:cubicBezTo>
                    <a:pt x="11913" y="11076"/>
                    <a:pt x="11891" y="11066"/>
                    <a:pt x="11850" y="11046"/>
                  </a:cubicBezTo>
                  <a:cubicBezTo>
                    <a:pt x="11808" y="11024"/>
                    <a:pt x="11775" y="11013"/>
                    <a:pt x="11751" y="11013"/>
                  </a:cubicBezTo>
                  <a:cubicBezTo>
                    <a:pt x="11695" y="11013"/>
                    <a:pt x="11658" y="11034"/>
                    <a:pt x="11641" y="11076"/>
                  </a:cubicBezTo>
                  <a:cubicBezTo>
                    <a:pt x="11625" y="11117"/>
                    <a:pt x="11605" y="11137"/>
                    <a:pt x="11581" y="11137"/>
                  </a:cubicBezTo>
                  <a:cubicBezTo>
                    <a:pt x="11572" y="11137"/>
                    <a:pt x="11555" y="11130"/>
                    <a:pt x="11532" y="11116"/>
                  </a:cubicBezTo>
                  <a:cubicBezTo>
                    <a:pt x="11508" y="11101"/>
                    <a:pt x="11489" y="11094"/>
                    <a:pt x="11475" y="11094"/>
                  </a:cubicBezTo>
                  <a:cubicBezTo>
                    <a:pt x="11439" y="11094"/>
                    <a:pt x="11416" y="11096"/>
                    <a:pt x="11404" y="11100"/>
                  </a:cubicBezTo>
                  <a:cubicBezTo>
                    <a:pt x="11380" y="11106"/>
                    <a:pt x="11369" y="11122"/>
                    <a:pt x="11369" y="11146"/>
                  </a:cubicBezTo>
                  <a:cubicBezTo>
                    <a:pt x="11369" y="11164"/>
                    <a:pt x="11377" y="11182"/>
                    <a:pt x="11393" y="11200"/>
                  </a:cubicBezTo>
                  <a:cubicBezTo>
                    <a:pt x="11410" y="11218"/>
                    <a:pt x="11418" y="11246"/>
                    <a:pt x="11418" y="11285"/>
                  </a:cubicBezTo>
                  <a:cubicBezTo>
                    <a:pt x="11418" y="11291"/>
                    <a:pt x="11418" y="11304"/>
                    <a:pt x="11418" y="11324"/>
                  </a:cubicBezTo>
                  <a:cubicBezTo>
                    <a:pt x="11416" y="11340"/>
                    <a:pt x="11403" y="11348"/>
                    <a:pt x="11379" y="11348"/>
                  </a:cubicBezTo>
                  <a:lnTo>
                    <a:pt x="11195" y="11294"/>
                  </a:lnTo>
                  <a:cubicBezTo>
                    <a:pt x="11181" y="11294"/>
                    <a:pt x="11165" y="11300"/>
                    <a:pt x="11149" y="11312"/>
                  </a:cubicBezTo>
                  <a:cubicBezTo>
                    <a:pt x="11130" y="11324"/>
                    <a:pt x="11121" y="11337"/>
                    <a:pt x="11121" y="11351"/>
                  </a:cubicBezTo>
                  <a:cubicBezTo>
                    <a:pt x="11121" y="11377"/>
                    <a:pt x="11158" y="11396"/>
                    <a:pt x="11234" y="11408"/>
                  </a:cubicBezTo>
                  <a:cubicBezTo>
                    <a:pt x="11310" y="11419"/>
                    <a:pt x="11347" y="11438"/>
                    <a:pt x="11347" y="11466"/>
                  </a:cubicBezTo>
                  <a:cubicBezTo>
                    <a:pt x="11347" y="11506"/>
                    <a:pt x="11307" y="11540"/>
                    <a:pt x="11227" y="11568"/>
                  </a:cubicBezTo>
                  <a:lnTo>
                    <a:pt x="11036" y="11638"/>
                  </a:lnTo>
                  <a:cubicBezTo>
                    <a:pt x="11043" y="11670"/>
                    <a:pt x="11043" y="11703"/>
                    <a:pt x="11036" y="11738"/>
                  </a:cubicBezTo>
                  <a:lnTo>
                    <a:pt x="10954" y="11738"/>
                  </a:lnTo>
                  <a:cubicBezTo>
                    <a:pt x="10949" y="11728"/>
                    <a:pt x="10936" y="11718"/>
                    <a:pt x="10915" y="11710"/>
                  </a:cubicBezTo>
                  <a:cubicBezTo>
                    <a:pt x="10894" y="11702"/>
                    <a:pt x="10875" y="11698"/>
                    <a:pt x="10858" y="11698"/>
                  </a:cubicBezTo>
                  <a:cubicBezTo>
                    <a:pt x="10849" y="11698"/>
                    <a:pt x="10830" y="11703"/>
                    <a:pt x="10802" y="11713"/>
                  </a:cubicBezTo>
                  <a:cubicBezTo>
                    <a:pt x="10771" y="11724"/>
                    <a:pt x="10752" y="11729"/>
                    <a:pt x="10745" y="11729"/>
                  </a:cubicBezTo>
                  <a:cubicBezTo>
                    <a:pt x="10729" y="11729"/>
                    <a:pt x="10710" y="11724"/>
                    <a:pt x="10688" y="11713"/>
                  </a:cubicBezTo>
                  <a:cubicBezTo>
                    <a:pt x="10667" y="11701"/>
                    <a:pt x="10654" y="11694"/>
                    <a:pt x="10649" y="11692"/>
                  </a:cubicBezTo>
                  <a:cubicBezTo>
                    <a:pt x="10619" y="11684"/>
                    <a:pt x="10596" y="11677"/>
                    <a:pt x="10582" y="11671"/>
                  </a:cubicBezTo>
                  <a:cubicBezTo>
                    <a:pt x="10561" y="11661"/>
                    <a:pt x="10544" y="11648"/>
                    <a:pt x="10532" y="11632"/>
                  </a:cubicBezTo>
                  <a:cubicBezTo>
                    <a:pt x="10518" y="11586"/>
                    <a:pt x="10507" y="11551"/>
                    <a:pt x="10497" y="11529"/>
                  </a:cubicBezTo>
                  <a:cubicBezTo>
                    <a:pt x="10483" y="11491"/>
                    <a:pt x="10455" y="11472"/>
                    <a:pt x="10412" y="11472"/>
                  </a:cubicBezTo>
                  <a:cubicBezTo>
                    <a:pt x="10393" y="11472"/>
                    <a:pt x="10366" y="11489"/>
                    <a:pt x="10331" y="11523"/>
                  </a:cubicBezTo>
                  <a:cubicBezTo>
                    <a:pt x="10290" y="11565"/>
                    <a:pt x="10244" y="11596"/>
                    <a:pt x="10192" y="11614"/>
                  </a:cubicBezTo>
                  <a:cubicBezTo>
                    <a:pt x="10188" y="11608"/>
                    <a:pt x="10185" y="11599"/>
                    <a:pt x="10185" y="11587"/>
                  </a:cubicBezTo>
                  <a:cubicBezTo>
                    <a:pt x="10185" y="11577"/>
                    <a:pt x="10189" y="11570"/>
                    <a:pt x="10196" y="11565"/>
                  </a:cubicBezTo>
                  <a:cubicBezTo>
                    <a:pt x="10203" y="11561"/>
                    <a:pt x="10207" y="11553"/>
                    <a:pt x="10207" y="11541"/>
                  </a:cubicBezTo>
                  <a:cubicBezTo>
                    <a:pt x="10207" y="11499"/>
                    <a:pt x="10195" y="11478"/>
                    <a:pt x="10171" y="11478"/>
                  </a:cubicBezTo>
                  <a:cubicBezTo>
                    <a:pt x="10164" y="11478"/>
                    <a:pt x="10133" y="11499"/>
                    <a:pt x="10079" y="11541"/>
                  </a:cubicBezTo>
                  <a:cubicBezTo>
                    <a:pt x="10022" y="11584"/>
                    <a:pt x="9987" y="11605"/>
                    <a:pt x="9973" y="11605"/>
                  </a:cubicBezTo>
                  <a:cubicBezTo>
                    <a:pt x="9933" y="11605"/>
                    <a:pt x="9892" y="11593"/>
                    <a:pt x="9852" y="11568"/>
                  </a:cubicBezTo>
                  <a:cubicBezTo>
                    <a:pt x="9810" y="11544"/>
                    <a:pt x="9774" y="11532"/>
                    <a:pt x="9746" y="11532"/>
                  </a:cubicBezTo>
                  <a:cubicBezTo>
                    <a:pt x="9732" y="11532"/>
                    <a:pt x="9685" y="11555"/>
                    <a:pt x="9604" y="11602"/>
                  </a:cubicBezTo>
                  <a:cubicBezTo>
                    <a:pt x="9526" y="11646"/>
                    <a:pt x="9465" y="11668"/>
                    <a:pt x="9420" y="11668"/>
                  </a:cubicBezTo>
                  <a:cubicBezTo>
                    <a:pt x="9401" y="11668"/>
                    <a:pt x="9387" y="11660"/>
                    <a:pt x="9378" y="11644"/>
                  </a:cubicBezTo>
                  <a:cubicBezTo>
                    <a:pt x="9420" y="11630"/>
                    <a:pt x="9456" y="11618"/>
                    <a:pt x="9484" y="11608"/>
                  </a:cubicBezTo>
                  <a:cubicBezTo>
                    <a:pt x="9533" y="11586"/>
                    <a:pt x="9558" y="11561"/>
                    <a:pt x="9558" y="11535"/>
                  </a:cubicBezTo>
                  <a:cubicBezTo>
                    <a:pt x="9558" y="11489"/>
                    <a:pt x="9505" y="11466"/>
                    <a:pt x="9399" y="11466"/>
                  </a:cubicBezTo>
                  <a:cubicBezTo>
                    <a:pt x="9366" y="11466"/>
                    <a:pt x="9317" y="11477"/>
                    <a:pt x="9254" y="11499"/>
                  </a:cubicBezTo>
                  <a:cubicBezTo>
                    <a:pt x="9192" y="11521"/>
                    <a:pt x="9158" y="11532"/>
                    <a:pt x="9151" y="11532"/>
                  </a:cubicBezTo>
                  <a:cubicBezTo>
                    <a:pt x="9108" y="11532"/>
                    <a:pt x="9086" y="11510"/>
                    <a:pt x="9084" y="11466"/>
                  </a:cubicBezTo>
                  <a:cubicBezTo>
                    <a:pt x="9084" y="11420"/>
                    <a:pt x="9053" y="11397"/>
                    <a:pt x="8991" y="11399"/>
                  </a:cubicBezTo>
                  <a:cubicBezTo>
                    <a:pt x="8991" y="11405"/>
                    <a:pt x="8987" y="11420"/>
                    <a:pt x="8977" y="11442"/>
                  </a:cubicBezTo>
                  <a:cubicBezTo>
                    <a:pt x="8965" y="11470"/>
                    <a:pt x="8954" y="11488"/>
                    <a:pt x="8942" y="11496"/>
                  </a:cubicBezTo>
                  <a:cubicBezTo>
                    <a:pt x="8871" y="11470"/>
                    <a:pt x="8808" y="11433"/>
                    <a:pt x="8754" y="11384"/>
                  </a:cubicBezTo>
                  <a:cubicBezTo>
                    <a:pt x="8695" y="11330"/>
                    <a:pt x="8666" y="11280"/>
                    <a:pt x="8666" y="11233"/>
                  </a:cubicBezTo>
                  <a:cubicBezTo>
                    <a:pt x="8666" y="11213"/>
                    <a:pt x="8687" y="11184"/>
                    <a:pt x="8729" y="11146"/>
                  </a:cubicBezTo>
                  <a:cubicBezTo>
                    <a:pt x="8774" y="11103"/>
                    <a:pt x="8815" y="11082"/>
                    <a:pt x="8853" y="11082"/>
                  </a:cubicBezTo>
                  <a:cubicBezTo>
                    <a:pt x="8891" y="11082"/>
                    <a:pt x="8928" y="11097"/>
                    <a:pt x="8963" y="11128"/>
                  </a:cubicBezTo>
                  <a:cubicBezTo>
                    <a:pt x="9001" y="11162"/>
                    <a:pt x="9038" y="11180"/>
                    <a:pt x="9073" y="11182"/>
                  </a:cubicBezTo>
                  <a:cubicBezTo>
                    <a:pt x="9066" y="11210"/>
                    <a:pt x="9068" y="11227"/>
                    <a:pt x="9080" y="11233"/>
                  </a:cubicBezTo>
                  <a:cubicBezTo>
                    <a:pt x="9085" y="11235"/>
                    <a:pt x="9101" y="11236"/>
                    <a:pt x="9130" y="11236"/>
                  </a:cubicBezTo>
                  <a:cubicBezTo>
                    <a:pt x="9172" y="11236"/>
                    <a:pt x="9226" y="11229"/>
                    <a:pt x="9293" y="11215"/>
                  </a:cubicBezTo>
                  <a:cubicBezTo>
                    <a:pt x="9373" y="11197"/>
                    <a:pt x="9427" y="11176"/>
                    <a:pt x="9456" y="11152"/>
                  </a:cubicBezTo>
                  <a:lnTo>
                    <a:pt x="9456" y="11106"/>
                  </a:lnTo>
                  <a:cubicBezTo>
                    <a:pt x="9366" y="11092"/>
                    <a:pt x="9290" y="11079"/>
                    <a:pt x="9229" y="11067"/>
                  </a:cubicBezTo>
                  <a:cubicBezTo>
                    <a:pt x="9113" y="11041"/>
                    <a:pt x="9055" y="10995"/>
                    <a:pt x="9055" y="10928"/>
                  </a:cubicBezTo>
                  <a:cubicBezTo>
                    <a:pt x="9055" y="10882"/>
                    <a:pt x="9144" y="10817"/>
                    <a:pt x="9321" y="10732"/>
                  </a:cubicBezTo>
                  <a:cubicBezTo>
                    <a:pt x="9482" y="10656"/>
                    <a:pt x="9585" y="10615"/>
                    <a:pt x="9633" y="10611"/>
                  </a:cubicBezTo>
                  <a:cubicBezTo>
                    <a:pt x="9730" y="10599"/>
                    <a:pt x="9839" y="10535"/>
                    <a:pt x="9962" y="10418"/>
                  </a:cubicBezTo>
                  <a:cubicBezTo>
                    <a:pt x="10080" y="10307"/>
                    <a:pt x="10179" y="10252"/>
                    <a:pt x="10260" y="10252"/>
                  </a:cubicBezTo>
                  <a:cubicBezTo>
                    <a:pt x="10300" y="10252"/>
                    <a:pt x="10329" y="10261"/>
                    <a:pt x="10348" y="10279"/>
                  </a:cubicBezTo>
                  <a:cubicBezTo>
                    <a:pt x="10379" y="10305"/>
                    <a:pt x="10424" y="10327"/>
                    <a:pt x="10483" y="10346"/>
                  </a:cubicBezTo>
                  <a:cubicBezTo>
                    <a:pt x="10499" y="10350"/>
                    <a:pt x="10560" y="10361"/>
                    <a:pt x="10664" y="10379"/>
                  </a:cubicBezTo>
                  <a:cubicBezTo>
                    <a:pt x="10718" y="10387"/>
                    <a:pt x="10745" y="10404"/>
                    <a:pt x="10745" y="10430"/>
                  </a:cubicBezTo>
                  <a:cubicBezTo>
                    <a:pt x="10745" y="10440"/>
                    <a:pt x="10739" y="10462"/>
                    <a:pt x="10727" y="10496"/>
                  </a:cubicBezTo>
                  <a:cubicBezTo>
                    <a:pt x="10727" y="10523"/>
                    <a:pt x="10779" y="10543"/>
                    <a:pt x="10883" y="10557"/>
                  </a:cubicBezTo>
                  <a:cubicBezTo>
                    <a:pt x="10904" y="10559"/>
                    <a:pt x="10934" y="10575"/>
                    <a:pt x="10972" y="10605"/>
                  </a:cubicBezTo>
                  <a:cubicBezTo>
                    <a:pt x="11000" y="10627"/>
                    <a:pt x="11021" y="10649"/>
                    <a:pt x="11036" y="10669"/>
                  </a:cubicBezTo>
                  <a:cubicBezTo>
                    <a:pt x="11045" y="10681"/>
                    <a:pt x="11071" y="10727"/>
                    <a:pt x="11114" y="10808"/>
                  </a:cubicBezTo>
                  <a:cubicBezTo>
                    <a:pt x="11163" y="10884"/>
                    <a:pt x="11216" y="10922"/>
                    <a:pt x="11273" y="10922"/>
                  </a:cubicBezTo>
                  <a:cubicBezTo>
                    <a:pt x="11294" y="10922"/>
                    <a:pt x="11307" y="10920"/>
                    <a:pt x="11312" y="10916"/>
                  </a:cubicBezTo>
                  <a:lnTo>
                    <a:pt x="11312" y="10877"/>
                  </a:lnTo>
                  <a:cubicBezTo>
                    <a:pt x="11255" y="10758"/>
                    <a:pt x="11212" y="10678"/>
                    <a:pt x="11181" y="10635"/>
                  </a:cubicBezTo>
                  <a:cubicBezTo>
                    <a:pt x="11160" y="10607"/>
                    <a:pt x="11124" y="10570"/>
                    <a:pt x="11075" y="10524"/>
                  </a:cubicBezTo>
                  <a:cubicBezTo>
                    <a:pt x="11058" y="10510"/>
                    <a:pt x="11050" y="10477"/>
                    <a:pt x="11050" y="10427"/>
                  </a:cubicBezTo>
                  <a:cubicBezTo>
                    <a:pt x="11050" y="10399"/>
                    <a:pt x="11064" y="10376"/>
                    <a:pt x="11092" y="10358"/>
                  </a:cubicBezTo>
                  <a:cubicBezTo>
                    <a:pt x="11121" y="10337"/>
                    <a:pt x="11155" y="10327"/>
                    <a:pt x="11195" y="10327"/>
                  </a:cubicBezTo>
                  <a:cubicBezTo>
                    <a:pt x="11230" y="10327"/>
                    <a:pt x="11288" y="10334"/>
                    <a:pt x="11369" y="10349"/>
                  </a:cubicBezTo>
                  <a:cubicBezTo>
                    <a:pt x="11449" y="10363"/>
                    <a:pt x="11515" y="10370"/>
                    <a:pt x="11567" y="10370"/>
                  </a:cubicBezTo>
                  <a:lnTo>
                    <a:pt x="11652" y="10370"/>
                  </a:lnTo>
                  <a:cubicBezTo>
                    <a:pt x="11685" y="10368"/>
                    <a:pt x="11702" y="10359"/>
                    <a:pt x="11702" y="10343"/>
                  </a:cubicBezTo>
                  <a:cubicBezTo>
                    <a:pt x="11702" y="10318"/>
                    <a:pt x="11652" y="10295"/>
                    <a:pt x="11553" y="10273"/>
                  </a:cubicBezTo>
                  <a:cubicBezTo>
                    <a:pt x="11451" y="10257"/>
                    <a:pt x="11397" y="10248"/>
                    <a:pt x="11390" y="10246"/>
                  </a:cubicBezTo>
                  <a:cubicBezTo>
                    <a:pt x="11371" y="10238"/>
                    <a:pt x="11293" y="10229"/>
                    <a:pt x="11156" y="10219"/>
                  </a:cubicBezTo>
                  <a:cubicBezTo>
                    <a:pt x="11059" y="10211"/>
                    <a:pt x="11011" y="10180"/>
                    <a:pt x="11011" y="10128"/>
                  </a:cubicBezTo>
                  <a:cubicBezTo>
                    <a:pt x="11011" y="10102"/>
                    <a:pt x="11173" y="10016"/>
                    <a:pt x="11496" y="9871"/>
                  </a:cubicBezTo>
                  <a:cubicBezTo>
                    <a:pt x="11817" y="9724"/>
                    <a:pt x="11978" y="9604"/>
                    <a:pt x="11978" y="9509"/>
                  </a:cubicBezTo>
                  <a:lnTo>
                    <a:pt x="11978" y="9491"/>
                  </a:lnTo>
                  <a:cubicBezTo>
                    <a:pt x="11921" y="9513"/>
                    <a:pt x="11835" y="9564"/>
                    <a:pt x="11719" y="9645"/>
                  </a:cubicBezTo>
                  <a:cubicBezTo>
                    <a:pt x="11691" y="9659"/>
                    <a:pt x="11626" y="9684"/>
                    <a:pt x="11524" y="9720"/>
                  </a:cubicBezTo>
                  <a:cubicBezTo>
                    <a:pt x="11428" y="9753"/>
                    <a:pt x="11364" y="9779"/>
                    <a:pt x="11333" y="9799"/>
                  </a:cubicBezTo>
                  <a:cubicBezTo>
                    <a:pt x="11168" y="9898"/>
                    <a:pt x="11032" y="9981"/>
                    <a:pt x="10926" y="10050"/>
                  </a:cubicBezTo>
                  <a:cubicBezTo>
                    <a:pt x="10883" y="10070"/>
                    <a:pt x="10785" y="10080"/>
                    <a:pt x="10632" y="10080"/>
                  </a:cubicBezTo>
                  <a:cubicBezTo>
                    <a:pt x="10542" y="10080"/>
                    <a:pt x="10457" y="10068"/>
                    <a:pt x="10377" y="10044"/>
                  </a:cubicBezTo>
                  <a:cubicBezTo>
                    <a:pt x="10294" y="10017"/>
                    <a:pt x="10243" y="10004"/>
                    <a:pt x="10224" y="10004"/>
                  </a:cubicBezTo>
                  <a:cubicBezTo>
                    <a:pt x="10198" y="10004"/>
                    <a:pt x="10165" y="10016"/>
                    <a:pt x="10125" y="10041"/>
                  </a:cubicBezTo>
                  <a:cubicBezTo>
                    <a:pt x="10083" y="10063"/>
                    <a:pt x="10032" y="10074"/>
                    <a:pt x="9973" y="10074"/>
                  </a:cubicBezTo>
                  <a:cubicBezTo>
                    <a:pt x="9829" y="10074"/>
                    <a:pt x="9726" y="10094"/>
                    <a:pt x="9665" y="10134"/>
                  </a:cubicBezTo>
                  <a:cubicBezTo>
                    <a:pt x="9606" y="10172"/>
                    <a:pt x="9505" y="10192"/>
                    <a:pt x="9363" y="10192"/>
                  </a:cubicBezTo>
                  <a:cubicBezTo>
                    <a:pt x="9267" y="10192"/>
                    <a:pt x="9212" y="10156"/>
                    <a:pt x="9200" y="10086"/>
                  </a:cubicBezTo>
                  <a:cubicBezTo>
                    <a:pt x="9189" y="10015"/>
                    <a:pt x="9167" y="9980"/>
                    <a:pt x="9137" y="9980"/>
                  </a:cubicBezTo>
                  <a:cubicBezTo>
                    <a:pt x="9132" y="9980"/>
                    <a:pt x="9121" y="9986"/>
                    <a:pt x="9105" y="9998"/>
                  </a:cubicBezTo>
                  <a:cubicBezTo>
                    <a:pt x="9084" y="10012"/>
                    <a:pt x="9073" y="10023"/>
                    <a:pt x="9073" y="10031"/>
                  </a:cubicBezTo>
                  <a:cubicBezTo>
                    <a:pt x="9073" y="10052"/>
                    <a:pt x="9086" y="10078"/>
                    <a:pt x="9112" y="10110"/>
                  </a:cubicBezTo>
                  <a:cubicBezTo>
                    <a:pt x="9138" y="10140"/>
                    <a:pt x="9151" y="10168"/>
                    <a:pt x="9151" y="10195"/>
                  </a:cubicBezTo>
                  <a:cubicBezTo>
                    <a:pt x="9151" y="10215"/>
                    <a:pt x="9130" y="10248"/>
                    <a:pt x="9087" y="10294"/>
                  </a:cubicBezTo>
                  <a:cubicBezTo>
                    <a:pt x="9040" y="10345"/>
                    <a:pt x="8996" y="10370"/>
                    <a:pt x="8956" y="10370"/>
                  </a:cubicBezTo>
                  <a:cubicBezTo>
                    <a:pt x="8914" y="10370"/>
                    <a:pt x="8865" y="10353"/>
                    <a:pt x="8811" y="10318"/>
                  </a:cubicBezTo>
                  <a:cubicBezTo>
                    <a:pt x="8756" y="10282"/>
                    <a:pt x="8720" y="10264"/>
                    <a:pt x="8701" y="10264"/>
                  </a:cubicBezTo>
                  <a:cubicBezTo>
                    <a:pt x="8687" y="10268"/>
                    <a:pt x="8677" y="10270"/>
                    <a:pt x="8673" y="10270"/>
                  </a:cubicBezTo>
                  <a:cubicBezTo>
                    <a:pt x="8675" y="10300"/>
                    <a:pt x="8664" y="10327"/>
                    <a:pt x="8641" y="10352"/>
                  </a:cubicBezTo>
                  <a:cubicBezTo>
                    <a:pt x="8617" y="10372"/>
                    <a:pt x="8592" y="10382"/>
                    <a:pt x="8566" y="10382"/>
                  </a:cubicBezTo>
                  <a:cubicBezTo>
                    <a:pt x="8524" y="10382"/>
                    <a:pt x="8503" y="10369"/>
                    <a:pt x="8503" y="10343"/>
                  </a:cubicBezTo>
                  <a:cubicBezTo>
                    <a:pt x="8514" y="10322"/>
                    <a:pt x="8520" y="10307"/>
                    <a:pt x="8520" y="10297"/>
                  </a:cubicBezTo>
                  <a:cubicBezTo>
                    <a:pt x="8520" y="10247"/>
                    <a:pt x="8473" y="10222"/>
                    <a:pt x="8379" y="10222"/>
                  </a:cubicBezTo>
                  <a:cubicBezTo>
                    <a:pt x="8320" y="10222"/>
                    <a:pt x="8262" y="10248"/>
                    <a:pt x="8205" y="10300"/>
                  </a:cubicBezTo>
                  <a:cubicBezTo>
                    <a:pt x="8148" y="10351"/>
                    <a:pt x="8099" y="10376"/>
                    <a:pt x="8056" y="10376"/>
                  </a:cubicBezTo>
                  <a:cubicBezTo>
                    <a:pt x="8042" y="10376"/>
                    <a:pt x="8018" y="10366"/>
                    <a:pt x="7985" y="10346"/>
                  </a:cubicBezTo>
                  <a:cubicBezTo>
                    <a:pt x="7952" y="10325"/>
                    <a:pt x="7925" y="10315"/>
                    <a:pt x="7904" y="10315"/>
                  </a:cubicBezTo>
                  <a:cubicBezTo>
                    <a:pt x="7878" y="10315"/>
                    <a:pt x="7841" y="10325"/>
                    <a:pt x="7794" y="10346"/>
                  </a:cubicBezTo>
                  <a:cubicBezTo>
                    <a:pt x="7759" y="10364"/>
                    <a:pt x="7729" y="10380"/>
                    <a:pt x="7705" y="10394"/>
                  </a:cubicBezTo>
                  <a:cubicBezTo>
                    <a:pt x="7694" y="10402"/>
                    <a:pt x="7656" y="10421"/>
                    <a:pt x="7592" y="10451"/>
                  </a:cubicBezTo>
                  <a:cubicBezTo>
                    <a:pt x="7535" y="10483"/>
                    <a:pt x="7507" y="10511"/>
                    <a:pt x="7507" y="10533"/>
                  </a:cubicBezTo>
                  <a:cubicBezTo>
                    <a:pt x="7507" y="10541"/>
                    <a:pt x="7539" y="10563"/>
                    <a:pt x="7603" y="10599"/>
                  </a:cubicBezTo>
                  <a:cubicBezTo>
                    <a:pt x="7666" y="10635"/>
                    <a:pt x="7698" y="10670"/>
                    <a:pt x="7698" y="10702"/>
                  </a:cubicBezTo>
                  <a:lnTo>
                    <a:pt x="7677" y="10771"/>
                  </a:lnTo>
                  <a:cubicBezTo>
                    <a:pt x="7677" y="10785"/>
                    <a:pt x="7685" y="10801"/>
                    <a:pt x="7702" y="10817"/>
                  </a:cubicBezTo>
                  <a:cubicBezTo>
                    <a:pt x="7718" y="10833"/>
                    <a:pt x="7727" y="10847"/>
                    <a:pt x="7727" y="10859"/>
                  </a:cubicBezTo>
                  <a:cubicBezTo>
                    <a:pt x="7727" y="10867"/>
                    <a:pt x="7722" y="10875"/>
                    <a:pt x="7713" y="10883"/>
                  </a:cubicBezTo>
                  <a:cubicBezTo>
                    <a:pt x="7703" y="10889"/>
                    <a:pt x="7698" y="10897"/>
                    <a:pt x="7698" y="10907"/>
                  </a:cubicBezTo>
                  <a:cubicBezTo>
                    <a:pt x="7635" y="10992"/>
                    <a:pt x="7568" y="11034"/>
                    <a:pt x="7500" y="11034"/>
                  </a:cubicBezTo>
                  <a:cubicBezTo>
                    <a:pt x="7472" y="11034"/>
                    <a:pt x="7440" y="11025"/>
                    <a:pt x="7404" y="11007"/>
                  </a:cubicBezTo>
                  <a:cubicBezTo>
                    <a:pt x="7371" y="10989"/>
                    <a:pt x="7341" y="10981"/>
                    <a:pt x="7312" y="10983"/>
                  </a:cubicBezTo>
                  <a:cubicBezTo>
                    <a:pt x="7263" y="10985"/>
                    <a:pt x="7225" y="10980"/>
                    <a:pt x="7199" y="10968"/>
                  </a:cubicBezTo>
                  <a:cubicBezTo>
                    <a:pt x="7170" y="10953"/>
                    <a:pt x="7145" y="10946"/>
                    <a:pt x="7121" y="10946"/>
                  </a:cubicBezTo>
                  <a:cubicBezTo>
                    <a:pt x="7107" y="10946"/>
                    <a:pt x="7088" y="10953"/>
                    <a:pt x="7064" y="10968"/>
                  </a:cubicBezTo>
                  <a:cubicBezTo>
                    <a:pt x="7031" y="10988"/>
                    <a:pt x="6995" y="11006"/>
                    <a:pt x="6954" y="11022"/>
                  </a:cubicBezTo>
                  <a:cubicBezTo>
                    <a:pt x="6919" y="11066"/>
                    <a:pt x="6884" y="11096"/>
                    <a:pt x="6848" y="11113"/>
                  </a:cubicBezTo>
                  <a:cubicBezTo>
                    <a:pt x="6822" y="11125"/>
                    <a:pt x="6788" y="11131"/>
                    <a:pt x="6745" y="11131"/>
                  </a:cubicBezTo>
                  <a:cubicBezTo>
                    <a:pt x="6670" y="11111"/>
                    <a:pt x="6630" y="11100"/>
                    <a:pt x="6625" y="11100"/>
                  </a:cubicBezTo>
                  <a:cubicBezTo>
                    <a:pt x="6585" y="11100"/>
                    <a:pt x="6507" y="11077"/>
                    <a:pt x="6391" y="11031"/>
                  </a:cubicBezTo>
                  <a:cubicBezTo>
                    <a:pt x="6273" y="10983"/>
                    <a:pt x="6181" y="10959"/>
                    <a:pt x="6115" y="10959"/>
                  </a:cubicBezTo>
                  <a:cubicBezTo>
                    <a:pt x="5931" y="10993"/>
                    <a:pt x="5828" y="11011"/>
                    <a:pt x="5807" y="11013"/>
                  </a:cubicBezTo>
                  <a:lnTo>
                    <a:pt x="5743" y="11013"/>
                  </a:lnTo>
                  <a:cubicBezTo>
                    <a:pt x="5743" y="10930"/>
                    <a:pt x="5727" y="10889"/>
                    <a:pt x="5697" y="10889"/>
                  </a:cubicBezTo>
                  <a:cubicBezTo>
                    <a:pt x="5680" y="10889"/>
                    <a:pt x="5662" y="10895"/>
                    <a:pt x="5644" y="10907"/>
                  </a:cubicBezTo>
                  <a:cubicBezTo>
                    <a:pt x="5627" y="10917"/>
                    <a:pt x="5613" y="10922"/>
                    <a:pt x="5601" y="10922"/>
                  </a:cubicBezTo>
                  <a:cubicBezTo>
                    <a:pt x="5582" y="10922"/>
                    <a:pt x="5561" y="10912"/>
                    <a:pt x="5537" y="10892"/>
                  </a:cubicBezTo>
                  <a:cubicBezTo>
                    <a:pt x="5514" y="10870"/>
                    <a:pt x="5498" y="10859"/>
                    <a:pt x="5491" y="10859"/>
                  </a:cubicBezTo>
                  <a:cubicBezTo>
                    <a:pt x="5472" y="10859"/>
                    <a:pt x="5450" y="10865"/>
                    <a:pt x="5424" y="10877"/>
                  </a:cubicBezTo>
                  <a:cubicBezTo>
                    <a:pt x="5398" y="10889"/>
                    <a:pt x="5378" y="10895"/>
                    <a:pt x="5364" y="10895"/>
                  </a:cubicBezTo>
                  <a:cubicBezTo>
                    <a:pt x="5347" y="10895"/>
                    <a:pt x="5333" y="10880"/>
                    <a:pt x="5321" y="10850"/>
                  </a:cubicBezTo>
                  <a:cubicBezTo>
                    <a:pt x="5309" y="10820"/>
                    <a:pt x="5274" y="10805"/>
                    <a:pt x="5215" y="10805"/>
                  </a:cubicBezTo>
                  <a:lnTo>
                    <a:pt x="5006" y="10817"/>
                  </a:lnTo>
                  <a:cubicBezTo>
                    <a:pt x="4992" y="10833"/>
                    <a:pt x="4981" y="10872"/>
                    <a:pt x="4974" y="10934"/>
                  </a:cubicBezTo>
                  <a:cubicBezTo>
                    <a:pt x="4953" y="10991"/>
                    <a:pt x="4902" y="11019"/>
                    <a:pt x="4822" y="11019"/>
                  </a:cubicBezTo>
                  <a:cubicBezTo>
                    <a:pt x="4777" y="11019"/>
                    <a:pt x="4721" y="11004"/>
                    <a:pt x="4655" y="10974"/>
                  </a:cubicBezTo>
                  <a:cubicBezTo>
                    <a:pt x="4596" y="10943"/>
                    <a:pt x="4565" y="10928"/>
                    <a:pt x="4563" y="10928"/>
                  </a:cubicBezTo>
                  <a:cubicBezTo>
                    <a:pt x="4542" y="10928"/>
                    <a:pt x="4509" y="10931"/>
                    <a:pt x="4464" y="10937"/>
                  </a:cubicBezTo>
                  <a:cubicBezTo>
                    <a:pt x="4421" y="10943"/>
                    <a:pt x="4388" y="10946"/>
                    <a:pt x="4365" y="10946"/>
                  </a:cubicBezTo>
                  <a:cubicBezTo>
                    <a:pt x="4329" y="10946"/>
                    <a:pt x="4299" y="10924"/>
                    <a:pt x="4273" y="10880"/>
                  </a:cubicBezTo>
                  <a:cubicBezTo>
                    <a:pt x="4247" y="10834"/>
                    <a:pt x="4204" y="10811"/>
                    <a:pt x="4145" y="10811"/>
                  </a:cubicBezTo>
                  <a:cubicBezTo>
                    <a:pt x="4121" y="10811"/>
                    <a:pt x="4097" y="10829"/>
                    <a:pt x="4071" y="10865"/>
                  </a:cubicBezTo>
                  <a:cubicBezTo>
                    <a:pt x="4042" y="10899"/>
                    <a:pt x="4021" y="10916"/>
                    <a:pt x="4007" y="10916"/>
                  </a:cubicBezTo>
                  <a:cubicBezTo>
                    <a:pt x="3981" y="10916"/>
                    <a:pt x="3956" y="10907"/>
                    <a:pt x="3932" y="10889"/>
                  </a:cubicBezTo>
                  <a:cubicBezTo>
                    <a:pt x="3906" y="10871"/>
                    <a:pt x="3893" y="10853"/>
                    <a:pt x="3893" y="10835"/>
                  </a:cubicBezTo>
                  <a:cubicBezTo>
                    <a:pt x="3893" y="10831"/>
                    <a:pt x="3897" y="10826"/>
                    <a:pt x="3904" y="10820"/>
                  </a:cubicBezTo>
                  <a:cubicBezTo>
                    <a:pt x="3909" y="10814"/>
                    <a:pt x="3911" y="10808"/>
                    <a:pt x="3911" y="10802"/>
                  </a:cubicBezTo>
                  <a:cubicBezTo>
                    <a:pt x="3911" y="10779"/>
                    <a:pt x="3889" y="10761"/>
                    <a:pt x="3844" y="10747"/>
                  </a:cubicBezTo>
                  <a:cubicBezTo>
                    <a:pt x="3804" y="10735"/>
                    <a:pt x="3761" y="10729"/>
                    <a:pt x="3716" y="10729"/>
                  </a:cubicBezTo>
                  <a:cubicBezTo>
                    <a:pt x="3700" y="10729"/>
                    <a:pt x="3692" y="10741"/>
                    <a:pt x="3692" y="10765"/>
                  </a:cubicBezTo>
                  <a:cubicBezTo>
                    <a:pt x="3692" y="10781"/>
                    <a:pt x="3692" y="10790"/>
                    <a:pt x="3692" y="10792"/>
                  </a:cubicBezTo>
                  <a:cubicBezTo>
                    <a:pt x="3694" y="10798"/>
                    <a:pt x="3703" y="10805"/>
                    <a:pt x="3720" y="10811"/>
                  </a:cubicBezTo>
                  <a:lnTo>
                    <a:pt x="3720" y="10853"/>
                  </a:lnTo>
                  <a:cubicBezTo>
                    <a:pt x="3682" y="10851"/>
                    <a:pt x="3634" y="10831"/>
                    <a:pt x="3575" y="10792"/>
                  </a:cubicBezTo>
                  <a:cubicBezTo>
                    <a:pt x="3506" y="10750"/>
                    <a:pt x="3458" y="10725"/>
                    <a:pt x="3429" y="10717"/>
                  </a:cubicBezTo>
                  <a:cubicBezTo>
                    <a:pt x="3425" y="10717"/>
                    <a:pt x="3363" y="10713"/>
                    <a:pt x="3245" y="10705"/>
                  </a:cubicBezTo>
                  <a:cubicBezTo>
                    <a:pt x="3179" y="10701"/>
                    <a:pt x="3146" y="10675"/>
                    <a:pt x="3146" y="10626"/>
                  </a:cubicBezTo>
                  <a:cubicBezTo>
                    <a:pt x="3146" y="10614"/>
                    <a:pt x="3158" y="10582"/>
                    <a:pt x="3181" y="10530"/>
                  </a:cubicBezTo>
                  <a:cubicBezTo>
                    <a:pt x="3203" y="10479"/>
                    <a:pt x="3213" y="10447"/>
                    <a:pt x="3213" y="10433"/>
                  </a:cubicBezTo>
                  <a:cubicBezTo>
                    <a:pt x="3209" y="10419"/>
                    <a:pt x="3206" y="10410"/>
                    <a:pt x="3206" y="10406"/>
                  </a:cubicBezTo>
                  <a:cubicBezTo>
                    <a:pt x="3187" y="10412"/>
                    <a:pt x="3158" y="10433"/>
                    <a:pt x="3118" y="10469"/>
                  </a:cubicBezTo>
                  <a:cubicBezTo>
                    <a:pt x="3073" y="10508"/>
                    <a:pt x="3050" y="10537"/>
                    <a:pt x="3050" y="10557"/>
                  </a:cubicBezTo>
                  <a:cubicBezTo>
                    <a:pt x="3050" y="10571"/>
                    <a:pt x="3063" y="10626"/>
                    <a:pt x="3089" y="10723"/>
                  </a:cubicBezTo>
                  <a:cubicBezTo>
                    <a:pt x="3089" y="10749"/>
                    <a:pt x="3055" y="10776"/>
                    <a:pt x="2986" y="10805"/>
                  </a:cubicBezTo>
                  <a:cubicBezTo>
                    <a:pt x="2925" y="10829"/>
                    <a:pt x="2877" y="10841"/>
                    <a:pt x="2841" y="10841"/>
                  </a:cubicBezTo>
                  <a:cubicBezTo>
                    <a:pt x="2803" y="10841"/>
                    <a:pt x="2726" y="10813"/>
                    <a:pt x="2607" y="10756"/>
                  </a:cubicBezTo>
                  <a:cubicBezTo>
                    <a:pt x="2492" y="10698"/>
                    <a:pt x="2413" y="10669"/>
                    <a:pt x="2370" y="10669"/>
                  </a:cubicBezTo>
                  <a:cubicBezTo>
                    <a:pt x="2332" y="10669"/>
                    <a:pt x="2282" y="10684"/>
                    <a:pt x="2218" y="10714"/>
                  </a:cubicBezTo>
                  <a:cubicBezTo>
                    <a:pt x="2154" y="10744"/>
                    <a:pt x="2108" y="10759"/>
                    <a:pt x="2080" y="10759"/>
                  </a:cubicBezTo>
                  <a:cubicBezTo>
                    <a:pt x="2061" y="10759"/>
                    <a:pt x="2050" y="10759"/>
                    <a:pt x="2048" y="10759"/>
                  </a:cubicBezTo>
                  <a:cubicBezTo>
                    <a:pt x="2038" y="10757"/>
                    <a:pt x="2034" y="10749"/>
                    <a:pt x="2034" y="10735"/>
                  </a:cubicBezTo>
                  <a:cubicBezTo>
                    <a:pt x="2034" y="10711"/>
                    <a:pt x="2077" y="10672"/>
                    <a:pt x="2165" y="10617"/>
                  </a:cubicBezTo>
                  <a:cubicBezTo>
                    <a:pt x="2252" y="10565"/>
                    <a:pt x="2296" y="10535"/>
                    <a:pt x="2296" y="10527"/>
                  </a:cubicBezTo>
                  <a:cubicBezTo>
                    <a:pt x="2296" y="10494"/>
                    <a:pt x="2271" y="10477"/>
                    <a:pt x="2221" y="10475"/>
                  </a:cubicBezTo>
                  <a:cubicBezTo>
                    <a:pt x="2143" y="10473"/>
                    <a:pt x="2090" y="10465"/>
                    <a:pt x="2062" y="10451"/>
                  </a:cubicBezTo>
                  <a:cubicBezTo>
                    <a:pt x="2019" y="10431"/>
                    <a:pt x="1971" y="10415"/>
                    <a:pt x="1917" y="10403"/>
                  </a:cubicBezTo>
                  <a:cubicBezTo>
                    <a:pt x="1855" y="10393"/>
                    <a:pt x="1807" y="10384"/>
                    <a:pt x="1771" y="10376"/>
                  </a:cubicBezTo>
                  <a:cubicBezTo>
                    <a:pt x="1752" y="10372"/>
                    <a:pt x="1731" y="10361"/>
                    <a:pt x="1708" y="10343"/>
                  </a:cubicBezTo>
                  <a:cubicBezTo>
                    <a:pt x="1684" y="10326"/>
                    <a:pt x="1669" y="10317"/>
                    <a:pt x="1662" y="10315"/>
                  </a:cubicBezTo>
                  <a:cubicBezTo>
                    <a:pt x="1640" y="10309"/>
                    <a:pt x="1613" y="10306"/>
                    <a:pt x="1580" y="10306"/>
                  </a:cubicBezTo>
                  <a:cubicBezTo>
                    <a:pt x="1545" y="10304"/>
                    <a:pt x="1521" y="10302"/>
                    <a:pt x="1509" y="10300"/>
                  </a:cubicBezTo>
                  <a:cubicBezTo>
                    <a:pt x="1448" y="10296"/>
                    <a:pt x="1404" y="10289"/>
                    <a:pt x="1378" y="10279"/>
                  </a:cubicBezTo>
                  <a:cubicBezTo>
                    <a:pt x="1340" y="10263"/>
                    <a:pt x="1278" y="10205"/>
                    <a:pt x="1190" y="10104"/>
                  </a:cubicBezTo>
                  <a:cubicBezTo>
                    <a:pt x="1195" y="10054"/>
                    <a:pt x="1207" y="10026"/>
                    <a:pt x="1226" y="10022"/>
                  </a:cubicBezTo>
                  <a:cubicBezTo>
                    <a:pt x="1256" y="10022"/>
                    <a:pt x="1284" y="10016"/>
                    <a:pt x="1307" y="10004"/>
                  </a:cubicBezTo>
                  <a:cubicBezTo>
                    <a:pt x="1350" y="9980"/>
                    <a:pt x="1372" y="9967"/>
                    <a:pt x="1375" y="9965"/>
                  </a:cubicBezTo>
                  <a:cubicBezTo>
                    <a:pt x="1389" y="9955"/>
                    <a:pt x="1396" y="9941"/>
                    <a:pt x="1396" y="9923"/>
                  </a:cubicBezTo>
                  <a:cubicBezTo>
                    <a:pt x="1396" y="9878"/>
                    <a:pt x="1360" y="9856"/>
                    <a:pt x="1290" y="9856"/>
                  </a:cubicBezTo>
                  <a:cubicBezTo>
                    <a:pt x="1261" y="9856"/>
                    <a:pt x="1190" y="9878"/>
                    <a:pt x="1077" y="9923"/>
                  </a:cubicBezTo>
                  <a:cubicBezTo>
                    <a:pt x="964" y="9965"/>
                    <a:pt x="838" y="9986"/>
                    <a:pt x="701" y="9986"/>
                  </a:cubicBezTo>
                  <a:cubicBezTo>
                    <a:pt x="673" y="9986"/>
                    <a:pt x="626" y="9961"/>
                    <a:pt x="560" y="9911"/>
                  </a:cubicBezTo>
                  <a:cubicBezTo>
                    <a:pt x="496" y="9862"/>
                    <a:pt x="464" y="9830"/>
                    <a:pt x="464" y="9814"/>
                  </a:cubicBezTo>
                  <a:cubicBezTo>
                    <a:pt x="464" y="9788"/>
                    <a:pt x="485" y="9758"/>
                    <a:pt x="528" y="9723"/>
                  </a:cubicBezTo>
                  <a:cubicBezTo>
                    <a:pt x="568" y="9689"/>
                    <a:pt x="588" y="9667"/>
                    <a:pt x="588" y="9657"/>
                  </a:cubicBezTo>
                  <a:cubicBezTo>
                    <a:pt x="588" y="9641"/>
                    <a:pt x="574" y="9633"/>
                    <a:pt x="546" y="9633"/>
                  </a:cubicBezTo>
                  <a:cubicBezTo>
                    <a:pt x="515" y="9633"/>
                    <a:pt x="484" y="9656"/>
                    <a:pt x="453" y="9702"/>
                  </a:cubicBezTo>
                  <a:cubicBezTo>
                    <a:pt x="423" y="9747"/>
                    <a:pt x="385" y="9769"/>
                    <a:pt x="340" y="9769"/>
                  </a:cubicBezTo>
                  <a:cubicBezTo>
                    <a:pt x="309" y="9769"/>
                    <a:pt x="280" y="9761"/>
                    <a:pt x="252" y="9745"/>
                  </a:cubicBezTo>
                  <a:cubicBezTo>
                    <a:pt x="218" y="9724"/>
                    <a:pt x="202" y="9699"/>
                    <a:pt x="202" y="9669"/>
                  </a:cubicBezTo>
                  <a:cubicBezTo>
                    <a:pt x="202" y="9643"/>
                    <a:pt x="216" y="9618"/>
                    <a:pt x="244" y="9594"/>
                  </a:cubicBezTo>
                  <a:cubicBezTo>
                    <a:pt x="270" y="9567"/>
                    <a:pt x="283" y="9551"/>
                    <a:pt x="283" y="9545"/>
                  </a:cubicBezTo>
                  <a:cubicBezTo>
                    <a:pt x="283" y="9535"/>
                    <a:pt x="273" y="9525"/>
                    <a:pt x="252" y="9515"/>
                  </a:cubicBezTo>
                  <a:cubicBezTo>
                    <a:pt x="233" y="9507"/>
                    <a:pt x="217" y="9503"/>
                    <a:pt x="205" y="9503"/>
                  </a:cubicBezTo>
                  <a:cubicBezTo>
                    <a:pt x="111" y="9555"/>
                    <a:pt x="55" y="9582"/>
                    <a:pt x="39" y="9582"/>
                  </a:cubicBezTo>
                  <a:cubicBezTo>
                    <a:pt x="13" y="9582"/>
                    <a:pt x="0" y="9563"/>
                    <a:pt x="0" y="9527"/>
                  </a:cubicBezTo>
                  <a:cubicBezTo>
                    <a:pt x="0" y="9507"/>
                    <a:pt x="21" y="9476"/>
                    <a:pt x="64" y="9434"/>
                  </a:cubicBezTo>
                  <a:cubicBezTo>
                    <a:pt x="104" y="9393"/>
                    <a:pt x="132" y="9373"/>
                    <a:pt x="149" y="9373"/>
                  </a:cubicBezTo>
                  <a:cubicBezTo>
                    <a:pt x="165" y="9373"/>
                    <a:pt x="192" y="9383"/>
                    <a:pt x="230" y="9403"/>
                  </a:cubicBezTo>
                  <a:cubicBezTo>
                    <a:pt x="270" y="9423"/>
                    <a:pt x="312" y="9436"/>
                    <a:pt x="354" y="9440"/>
                  </a:cubicBezTo>
                  <a:cubicBezTo>
                    <a:pt x="390" y="9442"/>
                    <a:pt x="438" y="9475"/>
                    <a:pt x="500" y="9539"/>
                  </a:cubicBezTo>
                  <a:lnTo>
                    <a:pt x="595" y="9515"/>
                  </a:lnTo>
                  <a:cubicBezTo>
                    <a:pt x="609" y="9515"/>
                    <a:pt x="631" y="9520"/>
                    <a:pt x="659" y="9530"/>
                  </a:cubicBezTo>
                  <a:cubicBezTo>
                    <a:pt x="687" y="9540"/>
                    <a:pt x="707" y="9545"/>
                    <a:pt x="719" y="9545"/>
                  </a:cubicBezTo>
                  <a:cubicBezTo>
                    <a:pt x="736" y="9545"/>
                    <a:pt x="769" y="9530"/>
                    <a:pt x="818" y="9500"/>
                  </a:cubicBezTo>
                  <a:cubicBezTo>
                    <a:pt x="868" y="9468"/>
                    <a:pt x="909" y="9452"/>
                    <a:pt x="942" y="9452"/>
                  </a:cubicBezTo>
                  <a:cubicBezTo>
                    <a:pt x="968" y="9452"/>
                    <a:pt x="1075" y="9482"/>
                    <a:pt x="1261" y="9542"/>
                  </a:cubicBezTo>
                  <a:cubicBezTo>
                    <a:pt x="1445" y="9601"/>
                    <a:pt x="1553" y="9639"/>
                    <a:pt x="1584" y="9657"/>
                  </a:cubicBezTo>
                  <a:cubicBezTo>
                    <a:pt x="1619" y="9675"/>
                    <a:pt x="1698" y="9703"/>
                    <a:pt x="1821" y="9742"/>
                  </a:cubicBezTo>
                  <a:cubicBezTo>
                    <a:pt x="1930" y="9784"/>
                    <a:pt x="1984" y="9831"/>
                    <a:pt x="1984" y="9884"/>
                  </a:cubicBezTo>
                  <a:cubicBezTo>
                    <a:pt x="1984" y="9918"/>
                    <a:pt x="1958" y="9951"/>
                    <a:pt x="1906" y="9983"/>
                  </a:cubicBezTo>
                  <a:cubicBezTo>
                    <a:pt x="1852" y="10015"/>
                    <a:pt x="1824" y="10035"/>
                    <a:pt x="1824" y="10044"/>
                  </a:cubicBezTo>
                  <a:cubicBezTo>
                    <a:pt x="1824" y="10090"/>
                    <a:pt x="1848" y="10110"/>
                    <a:pt x="1895" y="10104"/>
                  </a:cubicBezTo>
                  <a:cubicBezTo>
                    <a:pt x="1954" y="10096"/>
                    <a:pt x="1991" y="10100"/>
                    <a:pt x="2005" y="10116"/>
                  </a:cubicBezTo>
                  <a:cubicBezTo>
                    <a:pt x="2012" y="10126"/>
                    <a:pt x="2022" y="10159"/>
                    <a:pt x="2034" y="10216"/>
                  </a:cubicBezTo>
                  <a:cubicBezTo>
                    <a:pt x="2041" y="10256"/>
                    <a:pt x="2056" y="10276"/>
                    <a:pt x="2080" y="10276"/>
                  </a:cubicBezTo>
                  <a:cubicBezTo>
                    <a:pt x="2103" y="10276"/>
                    <a:pt x="2115" y="10248"/>
                    <a:pt x="2115" y="10192"/>
                  </a:cubicBezTo>
                  <a:cubicBezTo>
                    <a:pt x="2115" y="10177"/>
                    <a:pt x="2111" y="10164"/>
                    <a:pt x="2104" y="10152"/>
                  </a:cubicBezTo>
                  <a:cubicBezTo>
                    <a:pt x="2097" y="10142"/>
                    <a:pt x="2094" y="10135"/>
                    <a:pt x="2094" y="10131"/>
                  </a:cubicBezTo>
                  <a:cubicBezTo>
                    <a:pt x="2094" y="10083"/>
                    <a:pt x="2163" y="10045"/>
                    <a:pt x="2303" y="10016"/>
                  </a:cubicBezTo>
                  <a:cubicBezTo>
                    <a:pt x="2400" y="9996"/>
                    <a:pt x="2489" y="9986"/>
                    <a:pt x="2572" y="9986"/>
                  </a:cubicBezTo>
                  <a:cubicBezTo>
                    <a:pt x="2676" y="9986"/>
                    <a:pt x="2855" y="10013"/>
                    <a:pt x="3110" y="10068"/>
                  </a:cubicBezTo>
                  <a:cubicBezTo>
                    <a:pt x="3328" y="10114"/>
                    <a:pt x="3468" y="10151"/>
                    <a:pt x="3532" y="10179"/>
                  </a:cubicBezTo>
                  <a:cubicBezTo>
                    <a:pt x="3558" y="10198"/>
                    <a:pt x="3578" y="10224"/>
                    <a:pt x="3592" y="10258"/>
                  </a:cubicBezTo>
                  <a:cubicBezTo>
                    <a:pt x="3602" y="10280"/>
                    <a:pt x="3619" y="10291"/>
                    <a:pt x="3645" y="10291"/>
                  </a:cubicBezTo>
                  <a:cubicBezTo>
                    <a:pt x="3648" y="10291"/>
                    <a:pt x="3740" y="10262"/>
                    <a:pt x="3922" y="10204"/>
                  </a:cubicBezTo>
                  <a:cubicBezTo>
                    <a:pt x="4115" y="10145"/>
                    <a:pt x="4242" y="10116"/>
                    <a:pt x="4301" y="10116"/>
                  </a:cubicBezTo>
                  <a:cubicBezTo>
                    <a:pt x="4343" y="10116"/>
                    <a:pt x="4368" y="10134"/>
                    <a:pt x="4375" y="10170"/>
                  </a:cubicBezTo>
                  <a:cubicBezTo>
                    <a:pt x="4382" y="10205"/>
                    <a:pt x="4402" y="10222"/>
                    <a:pt x="4435" y="10222"/>
                  </a:cubicBezTo>
                  <a:cubicBezTo>
                    <a:pt x="4461" y="10222"/>
                    <a:pt x="4496" y="10210"/>
                    <a:pt x="4538" y="10185"/>
                  </a:cubicBezTo>
                  <a:cubicBezTo>
                    <a:pt x="4578" y="10161"/>
                    <a:pt x="4619" y="10148"/>
                    <a:pt x="4659" y="10146"/>
                  </a:cubicBezTo>
                  <a:cubicBezTo>
                    <a:pt x="4725" y="10140"/>
                    <a:pt x="4794" y="10118"/>
                    <a:pt x="4868" y="10080"/>
                  </a:cubicBezTo>
                  <a:cubicBezTo>
                    <a:pt x="4991" y="10007"/>
                    <a:pt x="5087" y="9952"/>
                    <a:pt x="5158" y="9914"/>
                  </a:cubicBezTo>
                  <a:cubicBezTo>
                    <a:pt x="5283" y="9845"/>
                    <a:pt x="5365" y="9811"/>
                    <a:pt x="5403" y="9811"/>
                  </a:cubicBezTo>
                  <a:cubicBezTo>
                    <a:pt x="5414" y="9811"/>
                    <a:pt x="5478" y="9814"/>
                    <a:pt x="5594" y="9820"/>
                  </a:cubicBezTo>
                  <a:lnTo>
                    <a:pt x="5594" y="9793"/>
                  </a:lnTo>
                  <a:cubicBezTo>
                    <a:pt x="5570" y="9773"/>
                    <a:pt x="5557" y="9760"/>
                    <a:pt x="5555" y="9754"/>
                  </a:cubicBezTo>
                  <a:cubicBezTo>
                    <a:pt x="5553" y="9750"/>
                    <a:pt x="5551" y="9740"/>
                    <a:pt x="5551" y="9723"/>
                  </a:cubicBezTo>
                  <a:cubicBezTo>
                    <a:pt x="5551" y="9715"/>
                    <a:pt x="5583" y="9686"/>
                    <a:pt x="5647" y="9636"/>
                  </a:cubicBezTo>
                  <a:cubicBezTo>
                    <a:pt x="5718" y="9580"/>
                    <a:pt x="5772" y="9551"/>
                    <a:pt x="5810" y="9551"/>
                  </a:cubicBezTo>
                  <a:cubicBezTo>
                    <a:pt x="5829" y="9551"/>
                    <a:pt x="5859" y="9565"/>
                    <a:pt x="5899" y="9594"/>
                  </a:cubicBezTo>
                  <a:cubicBezTo>
                    <a:pt x="5936" y="9620"/>
                    <a:pt x="5974" y="9633"/>
                    <a:pt x="6012" y="9633"/>
                  </a:cubicBezTo>
                  <a:cubicBezTo>
                    <a:pt x="6043" y="9633"/>
                    <a:pt x="6088" y="9615"/>
                    <a:pt x="6147" y="9579"/>
                  </a:cubicBezTo>
                  <a:cubicBezTo>
                    <a:pt x="6208" y="9540"/>
                    <a:pt x="6253" y="9521"/>
                    <a:pt x="6281" y="9521"/>
                  </a:cubicBezTo>
                  <a:lnTo>
                    <a:pt x="6462" y="9521"/>
                  </a:lnTo>
                  <a:cubicBezTo>
                    <a:pt x="6554" y="9515"/>
                    <a:pt x="6600" y="9497"/>
                    <a:pt x="6600" y="9467"/>
                  </a:cubicBezTo>
                  <a:cubicBezTo>
                    <a:pt x="6600" y="9435"/>
                    <a:pt x="6483" y="9409"/>
                    <a:pt x="6249" y="9391"/>
                  </a:cubicBezTo>
                  <a:cubicBezTo>
                    <a:pt x="5975" y="9371"/>
                    <a:pt x="5802" y="9349"/>
                    <a:pt x="5729" y="9325"/>
                  </a:cubicBezTo>
                  <a:cubicBezTo>
                    <a:pt x="5691" y="9309"/>
                    <a:pt x="5661" y="9279"/>
                    <a:pt x="5640" y="9234"/>
                  </a:cubicBezTo>
                  <a:cubicBezTo>
                    <a:pt x="5623" y="9200"/>
                    <a:pt x="5615" y="9166"/>
                    <a:pt x="5615" y="9132"/>
                  </a:cubicBezTo>
                  <a:cubicBezTo>
                    <a:pt x="5615" y="9071"/>
                    <a:pt x="5651" y="9022"/>
                    <a:pt x="5722" y="8984"/>
                  </a:cubicBezTo>
                  <a:cubicBezTo>
                    <a:pt x="5816" y="8933"/>
                    <a:pt x="5879" y="8883"/>
                    <a:pt x="5909" y="8833"/>
                  </a:cubicBezTo>
                  <a:lnTo>
                    <a:pt x="5729" y="8827"/>
                  </a:lnTo>
                  <a:cubicBezTo>
                    <a:pt x="5684" y="8827"/>
                    <a:pt x="5635" y="8835"/>
                    <a:pt x="5583" y="8851"/>
                  </a:cubicBezTo>
                  <a:cubicBezTo>
                    <a:pt x="5522" y="8869"/>
                    <a:pt x="5482" y="8892"/>
                    <a:pt x="5463" y="8920"/>
                  </a:cubicBezTo>
                  <a:cubicBezTo>
                    <a:pt x="5427" y="8973"/>
                    <a:pt x="5373" y="9018"/>
                    <a:pt x="5300" y="9056"/>
                  </a:cubicBezTo>
                  <a:cubicBezTo>
                    <a:pt x="5229" y="9094"/>
                    <a:pt x="5194" y="9100"/>
                    <a:pt x="5194" y="9074"/>
                  </a:cubicBezTo>
                  <a:cubicBezTo>
                    <a:pt x="5156" y="9074"/>
                    <a:pt x="5130" y="9070"/>
                    <a:pt x="5116" y="9062"/>
                  </a:cubicBezTo>
                  <a:cubicBezTo>
                    <a:pt x="5097" y="9050"/>
                    <a:pt x="5087" y="9029"/>
                    <a:pt x="5087" y="8999"/>
                  </a:cubicBezTo>
                  <a:cubicBezTo>
                    <a:pt x="5087" y="8962"/>
                    <a:pt x="5130" y="8870"/>
                    <a:pt x="5215" y="8721"/>
                  </a:cubicBezTo>
                  <a:cubicBezTo>
                    <a:pt x="5298" y="8572"/>
                    <a:pt x="5339" y="8494"/>
                    <a:pt x="5339" y="8488"/>
                  </a:cubicBezTo>
                  <a:cubicBezTo>
                    <a:pt x="5339" y="8468"/>
                    <a:pt x="5332" y="8451"/>
                    <a:pt x="5318" y="8437"/>
                  </a:cubicBezTo>
                  <a:cubicBezTo>
                    <a:pt x="5301" y="8421"/>
                    <a:pt x="5280" y="8413"/>
                    <a:pt x="5254" y="8413"/>
                  </a:cubicBezTo>
                  <a:lnTo>
                    <a:pt x="5148" y="8425"/>
                  </a:lnTo>
                  <a:lnTo>
                    <a:pt x="5116" y="8425"/>
                  </a:lnTo>
                  <a:cubicBezTo>
                    <a:pt x="5102" y="8421"/>
                    <a:pt x="5094" y="8411"/>
                    <a:pt x="5094" y="8395"/>
                  </a:cubicBezTo>
                  <a:cubicBezTo>
                    <a:pt x="5094" y="8389"/>
                    <a:pt x="5099" y="8378"/>
                    <a:pt x="5109" y="8362"/>
                  </a:cubicBezTo>
                  <a:cubicBezTo>
                    <a:pt x="5118" y="8345"/>
                    <a:pt x="5123" y="8330"/>
                    <a:pt x="5123" y="8316"/>
                  </a:cubicBezTo>
                  <a:cubicBezTo>
                    <a:pt x="5123" y="8300"/>
                    <a:pt x="5117" y="8280"/>
                    <a:pt x="5105" y="8256"/>
                  </a:cubicBezTo>
                  <a:cubicBezTo>
                    <a:pt x="5093" y="8232"/>
                    <a:pt x="5087" y="8214"/>
                    <a:pt x="5087" y="8202"/>
                  </a:cubicBezTo>
                  <a:cubicBezTo>
                    <a:pt x="5087" y="8151"/>
                    <a:pt x="5152" y="8100"/>
                    <a:pt x="5282" y="8048"/>
                  </a:cubicBezTo>
                  <a:cubicBezTo>
                    <a:pt x="5412" y="7993"/>
                    <a:pt x="5477" y="7953"/>
                    <a:pt x="5477" y="7927"/>
                  </a:cubicBezTo>
                  <a:cubicBezTo>
                    <a:pt x="5472" y="7923"/>
                    <a:pt x="5470" y="7919"/>
                    <a:pt x="5470" y="7915"/>
                  </a:cubicBezTo>
                  <a:lnTo>
                    <a:pt x="5420" y="7915"/>
                  </a:lnTo>
                  <a:cubicBezTo>
                    <a:pt x="5413" y="7917"/>
                    <a:pt x="5355" y="7933"/>
                    <a:pt x="5247" y="7963"/>
                  </a:cubicBezTo>
                  <a:cubicBezTo>
                    <a:pt x="5150" y="7989"/>
                    <a:pt x="5080" y="8002"/>
                    <a:pt x="5038" y="8002"/>
                  </a:cubicBezTo>
                  <a:cubicBezTo>
                    <a:pt x="4991" y="8002"/>
                    <a:pt x="4946" y="7988"/>
                    <a:pt x="4903" y="7960"/>
                  </a:cubicBezTo>
                  <a:cubicBezTo>
                    <a:pt x="4896" y="7954"/>
                    <a:pt x="4881" y="7937"/>
                    <a:pt x="4857" y="7909"/>
                  </a:cubicBezTo>
                  <a:cubicBezTo>
                    <a:pt x="4838" y="7884"/>
                    <a:pt x="4823" y="7872"/>
                    <a:pt x="4811" y="7872"/>
                  </a:cubicBezTo>
                  <a:cubicBezTo>
                    <a:pt x="4731" y="7868"/>
                    <a:pt x="4673" y="7853"/>
                    <a:pt x="4637" y="7827"/>
                  </a:cubicBezTo>
                  <a:cubicBezTo>
                    <a:pt x="4602" y="7803"/>
                    <a:pt x="4583" y="7791"/>
                    <a:pt x="4581" y="7791"/>
                  </a:cubicBezTo>
                  <a:cubicBezTo>
                    <a:pt x="4496" y="7809"/>
                    <a:pt x="4446" y="7818"/>
                    <a:pt x="4432" y="7818"/>
                  </a:cubicBezTo>
                  <a:cubicBezTo>
                    <a:pt x="4394" y="7818"/>
                    <a:pt x="4343" y="7799"/>
                    <a:pt x="4280" y="7761"/>
                  </a:cubicBezTo>
                  <a:cubicBezTo>
                    <a:pt x="4211" y="7718"/>
                    <a:pt x="4177" y="7680"/>
                    <a:pt x="4177" y="7646"/>
                  </a:cubicBezTo>
                  <a:cubicBezTo>
                    <a:pt x="4177" y="7620"/>
                    <a:pt x="4195" y="7607"/>
                    <a:pt x="4230" y="7607"/>
                  </a:cubicBezTo>
                  <a:cubicBezTo>
                    <a:pt x="4254" y="7607"/>
                    <a:pt x="4280" y="7625"/>
                    <a:pt x="4308" y="7661"/>
                  </a:cubicBezTo>
                  <a:cubicBezTo>
                    <a:pt x="4336" y="7695"/>
                    <a:pt x="4354" y="7712"/>
                    <a:pt x="4361" y="7712"/>
                  </a:cubicBezTo>
                  <a:lnTo>
                    <a:pt x="4446" y="7700"/>
                  </a:lnTo>
                  <a:cubicBezTo>
                    <a:pt x="4458" y="7700"/>
                    <a:pt x="4471" y="7703"/>
                    <a:pt x="4485" y="7709"/>
                  </a:cubicBezTo>
                  <a:cubicBezTo>
                    <a:pt x="4497" y="7715"/>
                    <a:pt x="4510" y="7718"/>
                    <a:pt x="4524" y="7718"/>
                  </a:cubicBezTo>
                  <a:cubicBezTo>
                    <a:pt x="4533" y="7718"/>
                    <a:pt x="4556" y="7682"/>
                    <a:pt x="4591" y="7610"/>
                  </a:cubicBezTo>
                  <a:cubicBezTo>
                    <a:pt x="4627" y="7537"/>
                    <a:pt x="4682" y="7501"/>
                    <a:pt x="4758" y="7501"/>
                  </a:cubicBezTo>
                  <a:cubicBezTo>
                    <a:pt x="4791" y="7501"/>
                    <a:pt x="4817" y="7508"/>
                    <a:pt x="4836" y="7522"/>
                  </a:cubicBezTo>
                  <a:cubicBezTo>
                    <a:pt x="4829" y="7472"/>
                    <a:pt x="4816" y="7444"/>
                    <a:pt x="4797" y="7438"/>
                  </a:cubicBezTo>
                  <a:cubicBezTo>
                    <a:pt x="4773" y="7434"/>
                    <a:pt x="4755" y="7430"/>
                    <a:pt x="4744" y="7428"/>
                  </a:cubicBezTo>
                  <a:cubicBezTo>
                    <a:pt x="4725" y="7426"/>
                    <a:pt x="4715" y="7417"/>
                    <a:pt x="4715" y="7401"/>
                  </a:cubicBezTo>
                  <a:cubicBezTo>
                    <a:pt x="4715" y="7383"/>
                    <a:pt x="4733" y="7351"/>
                    <a:pt x="4769" y="7305"/>
                  </a:cubicBezTo>
                  <a:cubicBezTo>
                    <a:pt x="4806" y="7258"/>
                    <a:pt x="4839" y="7232"/>
                    <a:pt x="4868" y="7226"/>
                  </a:cubicBezTo>
                  <a:cubicBezTo>
                    <a:pt x="4913" y="7214"/>
                    <a:pt x="4998" y="7212"/>
                    <a:pt x="5123" y="7220"/>
                  </a:cubicBezTo>
                  <a:cubicBezTo>
                    <a:pt x="5208" y="7220"/>
                    <a:pt x="5274" y="7180"/>
                    <a:pt x="5321" y="7099"/>
                  </a:cubicBezTo>
                  <a:cubicBezTo>
                    <a:pt x="5425" y="6918"/>
                    <a:pt x="5495" y="6805"/>
                    <a:pt x="5530" y="6761"/>
                  </a:cubicBezTo>
                  <a:cubicBezTo>
                    <a:pt x="5651" y="6610"/>
                    <a:pt x="5720" y="6525"/>
                    <a:pt x="5739" y="6504"/>
                  </a:cubicBezTo>
                  <a:cubicBezTo>
                    <a:pt x="5796" y="6452"/>
                    <a:pt x="5860" y="6425"/>
                    <a:pt x="5931" y="6423"/>
                  </a:cubicBezTo>
                  <a:lnTo>
                    <a:pt x="5931" y="6426"/>
                  </a:lnTo>
                  <a:lnTo>
                    <a:pt x="5934" y="6426"/>
                  </a:lnTo>
                  <a:cubicBezTo>
                    <a:pt x="5941" y="6430"/>
                    <a:pt x="6032" y="6435"/>
                    <a:pt x="6207" y="6441"/>
                  </a:cubicBezTo>
                  <a:cubicBezTo>
                    <a:pt x="6299" y="6443"/>
                    <a:pt x="6391" y="6445"/>
                    <a:pt x="6483" y="6447"/>
                  </a:cubicBezTo>
                  <a:cubicBezTo>
                    <a:pt x="6516" y="6447"/>
                    <a:pt x="6546" y="6443"/>
                    <a:pt x="6572" y="6435"/>
                  </a:cubicBezTo>
                  <a:cubicBezTo>
                    <a:pt x="6600" y="6425"/>
                    <a:pt x="6614" y="6414"/>
                    <a:pt x="6614" y="6402"/>
                  </a:cubicBezTo>
                  <a:cubicBezTo>
                    <a:pt x="6614" y="6366"/>
                    <a:pt x="6561" y="6328"/>
                    <a:pt x="6455" y="6290"/>
                  </a:cubicBezTo>
                  <a:cubicBezTo>
                    <a:pt x="6363" y="6258"/>
                    <a:pt x="6293" y="6242"/>
                    <a:pt x="6246" y="6242"/>
                  </a:cubicBezTo>
                  <a:cubicBezTo>
                    <a:pt x="6062" y="6242"/>
                    <a:pt x="5907" y="6286"/>
                    <a:pt x="5782" y="6375"/>
                  </a:cubicBezTo>
                  <a:cubicBezTo>
                    <a:pt x="5720" y="6419"/>
                    <a:pt x="5662" y="6463"/>
                    <a:pt x="5608" y="6507"/>
                  </a:cubicBezTo>
                  <a:cubicBezTo>
                    <a:pt x="5599" y="6507"/>
                    <a:pt x="5586" y="6503"/>
                    <a:pt x="5569" y="6495"/>
                  </a:cubicBezTo>
                  <a:cubicBezTo>
                    <a:pt x="5553" y="6487"/>
                    <a:pt x="5540" y="6483"/>
                    <a:pt x="5530" y="6483"/>
                  </a:cubicBezTo>
                  <a:cubicBezTo>
                    <a:pt x="5528" y="6483"/>
                    <a:pt x="5502" y="6493"/>
                    <a:pt x="5452" y="6514"/>
                  </a:cubicBezTo>
                  <a:cubicBezTo>
                    <a:pt x="5403" y="6532"/>
                    <a:pt x="5354" y="6541"/>
                    <a:pt x="5307" y="6541"/>
                  </a:cubicBezTo>
                  <a:cubicBezTo>
                    <a:pt x="5043" y="6541"/>
                    <a:pt x="4896" y="6520"/>
                    <a:pt x="4868" y="6477"/>
                  </a:cubicBezTo>
                  <a:cubicBezTo>
                    <a:pt x="4861" y="6467"/>
                    <a:pt x="4851" y="6437"/>
                    <a:pt x="4839" y="6387"/>
                  </a:cubicBezTo>
                  <a:cubicBezTo>
                    <a:pt x="4825" y="6326"/>
                    <a:pt x="4816" y="6290"/>
                    <a:pt x="4811" y="6278"/>
                  </a:cubicBezTo>
                  <a:cubicBezTo>
                    <a:pt x="4802" y="6252"/>
                    <a:pt x="4783" y="6216"/>
                    <a:pt x="4754" y="6169"/>
                  </a:cubicBezTo>
                  <a:cubicBezTo>
                    <a:pt x="4738" y="6143"/>
                    <a:pt x="4730" y="6113"/>
                    <a:pt x="4730" y="6079"/>
                  </a:cubicBezTo>
                  <a:cubicBezTo>
                    <a:pt x="4730" y="6044"/>
                    <a:pt x="4743" y="6018"/>
                    <a:pt x="4769" y="6000"/>
                  </a:cubicBezTo>
                  <a:cubicBezTo>
                    <a:pt x="4785" y="5988"/>
                    <a:pt x="4802" y="5982"/>
                    <a:pt x="4818" y="5982"/>
                  </a:cubicBezTo>
                  <a:cubicBezTo>
                    <a:pt x="4856" y="5982"/>
                    <a:pt x="4884" y="5991"/>
                    <a:pt x="4903" y="6009"/>
                  </a:cubicBezTo>
                  <a:cubicBezTo>
                    <a:pt x="4929" y="6035"/>
                    <a:pt x="4961" y="6056"/>
                    <a:pt x="4999" y="6070"/>
                  </a:cubicBezTo>
                  <a:cubicBezTo>
                    <a:pt x="5008" y="6049"/>
                    <a:pt x="5013" y="6036"/>
                    <a:pt x="5013" y="6030"/>
                  </a:cubicBezTo>
                  <a:cubicBezTo>
                    <a:pt x="5013" y="6022"/>
                    <a:pt x="5007" y="6010"/>
                    <a:pt x="4995" y="5994"/>
                  </a:cubicBezTo>
                  <a:cubicBezTo>
                    <a:pt x="4983" y="5978"/>
                    <a:pt x="4978" y="5967"/>
                    <a:pt x="4978" y="5961"/>
                  </a:cubicBezTo>
                  <a:cubicBezTo>
                    <a:pt x="5037" y="5931"/>
                    <a:pt x="5066" y="5914"/>
                    <a:pt x="5066" y="5910"/>
                  </a:cubicBezTo>
                  <a:cubicBezTo>
                    <a:pt x="5066" y="5869"/>
                    <a:pt x="5033" y="5841"/>
                    <a:pt x="4967" y="5825"/>
                  </a:cubicBezTo>
                  <a:cubicBezTo>
                    <a:pt x="4901" y="5809"/>
                    <a:pt x="4868" y="5787"/>
                    <a:pt x="4868" y="5759"/>
                  </a:cubicBezTo>
                  <a:cubicBezTo>
                    <a:pt x="4868" y="5730"/>
                    <a:pt x="4921" y="5687"/>
                    <a:pt x="5027" y="5629"/>
                  </a:cubicBezTo>
                  <a:cubicBezTo>
                    <a:pt x="5124" y="5574"/>
                    <a:pt x="5183" y="5547"/>
                    <a:pt x="5204" y="5547"/>
                  </a:cubicBezTo>
                  <a:cubicBezTo>
                    <a:pt x="5254" y="5545"/>
                    <a:pt x="5314" y="5537"/>
                    <a:pt x="5385" y="5523"/>
                  </a:cubicBezTo>
                  <a:cubicBezTo>
                    <a:pt x="5451" y="5511"/>
                    <a:pt x="5500" y="5505"/>
                    <a:pt x="5530" y="5505"/>
                  </a:cubicBezTo>
                  <a:cubicBezTo>
                    <a:pt x="5611" y="5505"/>
                    <a:pt x="5670" y="5524"/>
                    <a:pt x="5707" y="5562"/>
                  </a:cubicBezTo>
                  <a:cubicBezTo>
                    <a:pt x="5743" y="5599"/>
                    <a:pt x="5789" y="5617"/>
                    <a:pt x="5846" y="5617"/>
                  </a:cubicBezTo>
                  <a:cubicBezTo>
                    <a:pt x="5881" y="5617"/>
                    <a:pt x="5914" y="5606"/>
                    <a:pt x="5945" y="5583"/>
                  </a:cubicBezTo>
                  <a:cubicBezTo>
                    <a:pt x="5973" y="5561"/>
                    <a:pt x="5987" y="5538"/>
                    <a:pt x="5987" y="5514"/>
                  </a:cubicBezTo>
                  <a:cubicBezTo>
                    <a:pt x="5987" y="5480"/>
                    <a:pt x="5949" y="5443"/>
                    <a:pt x="5874" y="5405"/>
                  </a:cubicBezTo>
                  <a:cubicBezTo>
                    <a:pt x="5796" y="5367"/>
                    <a:pt x="5757" y="5326"/>
                    <a:pt x="5757" y="5281"/>
                  </a:cubicBezTo>
                  <a:cubicBezTo>
                    <a:pt x="5757" y="5275"/>
                    <a:pt x="5762" y="5266"/>
                    <a:pt x="5771" y="5254"/>
                  </a:cubicBezTo>
                  <a:cubicBezTo>
                    <a:pt x="5781" y="5240"/>
                    <a:pt x="5785" y="5231"/>
                    <a:pt x="5785" y="5227"/>
                  </a:cubicBezTo>
                  <a:cubicBezTo>
                    <a:pt x="5785" y="5223"/>
                    <a:pt x="5772" y="5207"/>
                    <a:pt x="5746" y="5179"/>
                  </a:cubicBezTo>
                  <a:cubicBezTo>
                    <a:pt x="5718" y="5149"/>
                    <a:pt x="5704" y="5129"/>
                    <a:pt x="5704" y="5121"/>
                  </a:cubicBezTo>
                  <a:cubicBezTo>
                    <a:pt x="5704" y="5095"/>
                    <a:pt x="5722" y="5082"/>
                    <a:pt x="5757" y="5082"/>
                  </a:cubicBezTo>
                  <a:lnTo>
                    <a:pt x="5853" y="5094"/>
                  </a:lnTo>
                  <a:cubicBezTo>
                    <a:pt x="5895" y="5094"/>
                    <a:pt x="5916" y="5082"/>
                    <a:pt x="5916" y="5058"/>
                  </a:cubicBezTo>
                  <a:cubicBezTo>
                    <a:pt x="5916" y="5040"/>
                    <a:pt x="5899" y="5023"/>
                    <a:pt x="5863" y="5007"/>
                  </a:cubicBezTo>
                  <a:cubicBezTo>
                    <a:pt x="5825" y="4993"/>
                    <a:pt x="5807" y="4978"/>
                    <a:pt x="5807" y="4964"/>
                  </a:cubicBezTo>
                  <a:cubicBezTo>
                    <a:pt x="5807" y="4950"/>
                    <a:pt x="5820" y="4937"/>
                    <a:pt x="5846" y="4925"/>
                  </a:cubicBezTo>
                  <a:cubicBezTo>
                    <a:pt x="5869" y="4913"/>
                    <a:pt x="5881" y="4899"/>
                    <a:pt x="5881" y="4883"/>
                  </a:cubicBezTo>
                  <a:cubicBezTo>
                    <a:pt x="5881" y="4867"/>
                    <a:pt x="5842" y="4858"/>
                    <a:pt x="5764" y="4856"/>
                  </a:cubicBezTo>
                  <a:cubicBezTo>
                    <a:pt x="5686" y="4854"/>
                    <a:pt x="5647" y="4840"/>
                    <a:pt x="5647" y="4813"/>
                  </a:cubicBezTo>
                  <a:cubicBezTo>
                    <a:pt x="5647" y="4785"/>
                    <a:pt x="5711" y="4731"/>
                    <a:pt x="5838" y="4650"/>
                  </a:cubicBezTo>
                  <a:cubicBezTo>
                    <a:pt x="5964" y="4570"/>
                    <a:pt x="6026" y="4527"/>
                    <a:pt x="6026" y="4521"/>
                  </a:cubicBezTo>
                  <a:cubicBezTo>
                    <a:pt x="6026" y="4504"/>
                    <a:pt x="6001" y="4483"/>
                    <a:pt x="5952" y="4457"/>
                  </a:cubicBezTo>
                  <a:cubicBezTo>
                    <a:pt x="5900" y="4429"/>
                    <a:pt x="5874" y="4390"/>
                    <a:pt x="5874" y="4339"/>
                  </a:cubicBezTo>
                  <a:cubicBezTo>
                    <a:pt x="5874" y="4325"/>
                    <a:pt x="5886" y="4309"/>
                    <a:pt x="5909" y="4291"/>
                  </a:cubicBezTo>
                  <a:cubicBezTo>
                    <a:pt x="5931" y="4273"/>
                    <a:pt x="5948" y="4264"/>
                    <a:pt x="5962" y="4264"/>
                  </a:cubicBezTo>
                  <a:cubicBezTo>
                    <a:pt x="5981" y="4264"/>
                    <a:pt x="6027" y="4294"/>
                    <a:pt x="6101" y="4354"/>
                  </a:cubicBezTo>
                  <a:cubicBezTo>
                    <a:pt x="6174" y="4415"/>
                    <a:pt x="6236" y="4445"/>
                    <a:pt x="6288" y="4445"/>
                  </a:cubicBezTo>
                  <a:cubicBezTo>
                    <a:pt x="6331" y="4445"/>
                    <a:pt x="6352" y="4420"/>
                    <a:pt x="6352" y="4370"/>
                  </a:cubicBezTo>
                  <a:cubicBezTo>
                    <a:pt x="6352" y="4319"/>
                    <a:pt x="6290" y="4268"/>
                    <a:pt x="6164" y="4215"/>
                  </a:cubicBezTo>
                  <a:cubicBezTo>
                    <a:pt x="6037" y="4165"/>
                    <a:pt x="5973" y="4125"/>
                    <a:pt x="5973" y="4095"/>
                  </a:cubicBezTo>
                  <a:cubicBezTo>
                    <a:pt x="5973" y="4083"/>
                    <a:pt x="5978" y="4072"/>
                    <a:pt x="5987" y="4061"/>
                  </a:cubicBezTo>
                  <a:cubicBezTo>
                    <a:pt x="5997" y="4049"/>
                    <a:pt x="6008" y="4043"/>
                    <a:pt x="6023" y="4043"/>
                  </a:cubicBezTo>
                  <a:cubicBezTo>
                    <a:pt x="6046" y="4043"/>
                    <a:pt x="6075" y="4052"/>
                    <a:pt x="6108" y="4071"/>
                  </a:cubicBezTo>
                  <a:cubicBezTo>
                    <a:pt x="6141" y="4089"/>
                    <a:pt x="6161" y="4098"/>
                    <a:pt x="6168" y="4098"/>
                  </a:cubicBezTo>
                  <a:cubicBezTo>
                    <a:pt x="6199" y="4098"/>
                    <a:pt x="6215" y="4075"/>
                    <a:pt x="6217" y="4028"/>
                  </a:cubicBezTo>
                  <a:cubicBezTo>
                    <a:pt x="6217" y="3980"/>
                    <a:pt x="6234" y="3956"/>
                    <a:pt x="6267" y="3956"/>
                  </a:cubicBezTo>
                  <a:cubicBezTo>
                    <a:pt x="6310" y="3956"/>
                    <a:pt x="6346" y="3974"/>
                    <a:pt x="6377" y="4010"/>
                  </a:cubicBezTo>
                  <a:cubicBezTo>
                    <a:pt x="6408" y="4044"/>
                    <a:pt x="6443" y="4061"/>
                    <a:pt x="6483" y="4061"/>
                  </a:cubicBezTo>
                  <a:cubicBezTo>
                    <a:pt x="6488" y="4061"/>
                    <a:pt x="6491" y="4061"/>
                    <a:pt x="6494" y="4061"/>
                  </a:cubicBezTo>
                  <a:cubicBezTo>
                    <a:pt x="6501" y="4053"/>
                    <a:pt x="6509" y="4047"/>
                    <a:pt x="6519" y="4043"/>
                  </a:cubicBezTo>
                  <a:cubicBezTo>
                    <a:pt x="6573" y="4005"/>
                    <a:pt x="6670" y="3970"/>
                    <a:pt x="6809" y="3938"/>
                  </a:cubicBezTo>
                  <a:cubicBezTo>
                    <a:pt x="6948" y="3905"/>
                    <a:pt x="7075" y="3889"/>
                    <a:pt x="7188" y="3889"/>
                  </a:cubicBezTo>
                  <a:cubicBezTo>
                    <a:pt x="7228" y="3889"/>
                    <a:pt x="7269" y="3894"/>
                    <a:pt x="7309" y="3904"/>
                  </a:cubicBezTo>
                  <a:cubicBezTo>
                    <a:pt x="7363" y="3917"/>
                    <a:pt x="7401" y="3936"/>
                    <a:pt x="7422" y="3962"/>
                  </a:cubicBezTo>
                  <a:cubicBezTo>
                    <a:pt x="7446" y="3988"/>
                    <a:pt x="7466" y="4005"/>
                    <a:pt x="7482" y="4013"/>
                  </a:cubicBezTo>
                  <a:cubicBezTo>
                    <a:pt x="7501" y="4021"/>
                    <a:pt x="7532" y="4025"/>
                    <a:pt x="7574" y="4025"/>
                  </a:cubicBezTo>
                  <a:cubicBezTo>
                    <a:pt x="7652" y="4023"/>
                    <a:pt x="7714" y="4044"/>
                    <a:pt x="7759" y="4089"/>
                  </a:cubicBezTo>
                  <a:cubicBezTo>
                    <a:pt x="7785" y="4115"/>
                    <a:pt x="7820" y="4172"/>
                    <a:pt x="7865" y="4261"/>
                  </a:cubicBezTo>
                  <a:cubicBezTo>
                    <a:pt x="7903" y="4225"/>
                    <a:pt x="7931" y="4197"/>
                    <a:pt x="7950" y="4179"/>
                  </a:cubicBezTo>
                  <a:cubicBezTo>
                    <a:pt x="7988" y="4147"/>
                    <a:pt x="8018" y="4131"/>
                    <a:pt x="8042" y="4131"/>
                  </a:cubicBezTo>
                  <a:cubicBezTo>
                    <a:pt x="8063" y="4131"/>
                    <a:pt x="8118" y="4159"/>
                    <a:pt x="8205" y="4215"/>
                  </a:cubicBezTo>
                  <a:cubicBezTo>
                    <a:pt x="8212" y="4218"/>
                    <a:pt x="8243" y="4223"/>
                    <a:pt x="8297" y="4231"/>
                  </a:cubicBezTo>
                  <a:cubicBezTo>
                    <a:pt x="8332" y="4237"/>
                    <a:pt x="8357" y="4245"/>
                    <a:pt x="8371" y="4255"/>
                  </a:cubicBezTo>
                  <a:cubicBezTo>
                    <a:pt x="8386" y="4263"/>
                    <a:pt x="8393" y="4284"/>
                    <a:pt x="8393" y="4318"/>
                  </a:cubicBezTo>
                  <a:cubicBezTo>
                    <a:pt x="8393" y="4356"/>
                    <a:pt x="8399" y="4385"/>
                    <a:pt x="8410" y="4403"/>
                  </a:cubicBezTo>
                  <a:cubicBezTo>
                    <a:pt x="8444" y="4453"/>
                    <a:pt x="8464" y="4481"/>
                    <a:pt x="8471" y="4487"/>
                  </a:cubicBezTo>
                  <a:cubicBezTo>
                    <a:pt x="8485" y="4497"/>
                    <a:pt x="8516" y="4502"/>
                    <a:pt x="8563" y="4502"/>
                  </a:cubicBezTo>
                  <a:cubicBezTo>
                    <a:pt x="8565" y="4502"/>
                    <a:pt x="8699" y="4491"/>
                    <a:pt x="8963" y="4469"/>
                  </a:cubicBezTo>
                  <a:cubicBezTo>
                    <a:pt x="9020" y="4469"/>
                    <a:pt x="9073" y="4478"/>
                    <a:pt x="9123" y="4496"/>
                  </a:cubicBezTo>
                  <a:cubicBezTo>
                    <a:pt x="9170" y="4514"/>
                    <a:pt x="9193" y="4533"/>
                    <a:pt x="9193" y="4551"/>
                  </a:cubicBezTo>
                  <a:cubicBezTo>
                    <a:pt x="9193" y="4569"/>
                    <a:pt x="9183" y="4583"/>
                    <a:pt x="9161" y="4593"/>
                  </a:cubicBezTo>
                  <a:cubicBezTo>
                    <a:pt x="9145" y="4599"/>
                    <a:pt x="9130" y="4602"/>
                    <a:pt x="9115" y="4602"/>
                  </a:cubicBezTo>
                  <a:cubicBezTo>
                    <a:pt x="9257" y="4731"/>
                    <a:pt x="9354" y="4809"/>
                    <a:pt x="9406" y="4838"/>
                  </a:cubicBezTo>
                  <a:cubicBezTo>
                    <a:pt x="9479" y="4878"/>
                    <a:pt x="9578" y="4898"/>
                    <a:pt x="9704" y="4898"/>
                  </a:cubicBezTo>
                  <a:cubicBezTo>
                    <a:pt x="9848" y="4898"/>
                    <a:pt x="10002" y="4832"/>
                    <a:pt x="10168" y="4699"/>
                  </a:cubicBezTo>
                  <a:cubicBezTo>
                    <a:pt x="10333" y="4566"/>
                    <a:pt x="10416" y="4442"/>
                    <a:pt x="10416" y="4327"/>
                  </a:cubicBezTo>
                  <a:cubicBezTo>
                    <a:pt x="10416" y="4315"/>
                    <a:pt x="10411" y="4297"/>
                    <a:pt x="10401" y="4273"/>
                  </a:cubicBezTo>
                  <a:cubicBezTo>
                    <a:pt x="10392" y="4249"/>
                    <a:pt x="10387" y="4230"/>
                    <a:pt x="10387" y="4215"/>
                  </a:cubicBezTo>
                  <a:cubicBezTo>
                    <a:pt x="10387" y="4195"/>
                    <a:pt x="10397" y="4177"/>
                    <a:pt x="10416" y="4161"/>
                  </a:cubicBezTo>
                  <a:cubicBezTo>
                    <a:pt x="10434" y="4145"/>
                    <a:pt x="10455" y="4137"/>
                    <a:pt x="10476" y="4137"/>
                  </a:cubicBezTo>
                  <a:cubicBezTo>
                    <a:pt x="10511" y="4137"/>
                    <a:pt x="10534" y="4170"/>
                    <a:pt x="10543" y="4237"/>
                  </a:cubicBezTo>
                  <a:cubicBezTo>
                    <a:pt x="10550" y="4301"/>
                    <a:pt x="10615" y="4333"/>
                    <a:pt x="10738" y="4333"/>
                  </a:cubicBezTo>
                  <a:cubicBezTo>
                    <a:pt x="10809" y="4333"/>
                    <a:pt x="10876" y="4307"/>
                    <a:pt x="10940" y="4255"/>
                  </a:cubicBezTo>
                  <a:cubicBezTo>
                    <a:pt x="10997" y="4208"/>
                    <a:pt x="11025" y="4170"/>
                    <a:pt x="11025" y="4140"/>
                  </a:cubicBezTo>
                  <a:cubicBezTo>
                    <a:pt x="11025" y="4057"/>
                    <a:pt x="10977" y="4015"/>
                    <a:pt x="10880" y="4013"/>
                  </a:cubicBezTo>
                  <a:cubicBezTo>
                    <a:pt x="10785" y="4011"/>
                    <a:pt x="10739" y="3970"/>
                    <a:pt x="10742" y="3889"/>
                  </a:cubicBezTo>
                  <a:cubicBezTo>
                    <a:pt x="10742" y="3859"/>
                    <a:pt x="10720" y="3844"/>
                    <a:pt x="10678" y="3844"/>
                  </a:cubicBezTo>
                  <a:cubicBezTo>
                    <a:pt x="10616" y="3842"/>
                    <a:pt x="10580" y="3838"/>
                    <a:pt x="10568" y="3832"/>
                  </a:cubicBezTo>
                  <a:cubicBezTo>
                    <a:pt x="10544" y="3818"/>
                    <a:pt x="10510" y="3803"/>
                    <a:pt x="10465" y="3787"/>
                  </a:cubicBezTo>
                  <a:cubicBezTo>
                    <a:pt x="10406" y="3763"/>
                    <a:pt x="10365" y="3750"/>
                    <a:pt x="10341" y="3750"/>
                  </a:cubicBezTo>
                  <a:cubicBezTo>
                    <a:pt x="10310" y="3750"/>
                    <a:pt x="10240" y="3764"/>
                    <a:pt x="10129" y="3790"/>
                  </a:cubicBezTo>
                  <a:cubicBezTo>
                    <a:pt x="10020" y="3814"/>
                    <a:pt x="9953" y="3826"/>
                    <a:pt x="9927" y="3826"/>
                  </a:cubicBezTo>
                  <a:cubicBezTo>
                    <a:pt x="9894" y="3826"/>
                    <a:pt x="9877" y="3819"/>
                    <a:pt x="9877" y="3805"/>
                  </a:cubicBezTo>
                  <a:cubicBezTo>
                    <a:pt x="9889" y="3795"/>
                    <a:pt x="9898" y="3781"/>
                    <a:pt x="9905" y="3763"/>
                  </a:cubicBezTo>
                  <a:cubicBezTo>
                    <a:pt x="9908" y="3759"/>
                    <a:pt x="9911" y="3755"/>
                    <a:pt x="9916" y="3753"/>
                  </a:cubicBezTo>
                  <a:cubicBezTo>
                    <a:pt x="9963" y="3709"/>
                    <a:pt x="10006" y="3667"/>
                    <a:pt x="10044" y="3627"/>
                  </a:cubicBezTo>
                  <a:cubicBezTo>
                    <a:pt x="10126" y="3544"/>
                    <a:pt x="10168" y="3480"/>
                    <a:pt x="10168" y="3433"/>
                  </a:cubicBezTo>
                  <a:cubicBezTo>
                    <a:pt x="10168" y="3423"/>
                    <a:pt x="10161" y="3410"/>
                    <a:pt x="10146" y="3394"/>
                  </a:cubicBezTo>
                  <a:cubicBezTo>
                    <a:pt x="10130" y="3376"/>
                    <a:pt x="10117" y="3367"/>
                    <a:pt x="10107" y="3367"/>
                  </a:cubicBezTo>
                  <a:cubicBezTo>
                    <a:pt x="10070" y="3367"/>
                    <a:pt x="10055" y="3404"/>
                    <a:pt x="10065" y="3479"/>
                  </a:cubicBezTo>
                  <a:cubicBezTo>
                    <a:pt x="10074" y="3553"/>
                    <a:pt x="10041" y="3590"/>
                    <a:pt x="9966" y="3590"/>
                  </a:cubicBezTo>
                  <a:cubicBezTo>
                    <a:pt x="9954" y="3590"/>
                    <a:pt x="9943" y="3584"/>
                    <a:pt x="9934" y="3572"/>
                  </a:cubicBezTo>
                  <a:cubicBezTo>
                    <a:pt x="9924" y="3560"/>
                    <a:pt x="9920" y="3550"/>
                    <a:pt x="9920" y="3542"/>
                  </a:cubicBezTo>
                  <a:cubicBezTo>
                    <a:pt x="9920" y="3524"/>
                    <a:pt x="9931" y="3495"/>
                    <a:pt x="9955" y="3455"/>
                  </a:cubicBezTo>
                  <a:cubicBezTo>
                    <a:pt x="9976" y="3414"/>
                    <a:pt x="9987" y="3384"/>
                    <a:pt x="9987" y="3364"/>
                  </a:cubicBezTo>
                  <a:cubicBezTo>
                    <a:pt x="9987" y="3318"/>
                    <a:pt x="9960" y="3258"/>
                    <a:pt x="9905" y="3186"/>
                  </a:cubicBezTo>
                  <a:cubicBezTo>
                    <a:pt x="9861" y="3125"/>
                    <a:pt x="9824" y="3086"/>
                    <a:pt x="9796" y="3068"/>
                  </a:cubicBezTo>
                  <a:cubicBezTo>
                    <a:pt x="9777" y="3058"/>
                    <a:pt x="9730" y="3040"/>
                    <a:pt x="9654" y="3014"/>
                  </a:cubicBezTo>
                  <a:cubicBezTo>
                    <a:pt x="9593" y="2994"/>
                    <a:pt x="9552" y="2970"/>
                    <a:pt x="9533" y="2944"/>
                  </a:cubicBezTo>
                  <a:cubicBezTo>
                    <a:pt x="9515" y="2920"/>
                    <a:pt x="9497" y="2872"/>
                    <a:pt x="9480" y="2799"/>
                  </a:cubicBezTo>
                  <a:cubicBezTo>
                    <a:pt x="9466" y="2733"/>
                    <a:pt x="9446" y="2688"/>
                    <a:pt x="9420" y="2663"/>
                  </a:cubicBezTo>
                  <a:cubicBezTo>
                    <a:pt x="9392" y="2635"/>
                    <a:pt x="9367" y="2587"/>
                    <a:pt x="9346" y="2518"/>
                  </a:cubicBezTo>
                  <a:cubicBezTo>
                    <a:pt x="9327" y="2456"/>
                    <a:pt x="9317" y="2402"/>
                    <a:pt x="9317" y="2355"/>
                  </a:cubicBezTo>
                  <a:cubicBezTo>
                    <a:pt x="9317" y="2279"/>
                    <a:pt x="9340" y="2217"/>
                    <a:pt x="9385" y="2171"/>
                  </a:cubicBezTo>
                  <a:cubicBezTo>
                    <a:pt x="9415" y="2139"/>
                    <a:pt x="9476" y="2099"/>
                    <a:pt x="9565" y="2050"/>
                  </a:cubicBezTo>
                  <a:cubicBezTo>
                    <a:pt x="9580" y="2042"/>
                    <a:pt x="9634" y="1986"/>
                    <a:pt x="9728" y="1881"/>
                  </a:cubicBezTo>
                  <a:cubicBezTo>
                    <a:pt x="9820" y="1781"/>
                    <a:pt x="9870" y="1730"/>
                    <a:pt x="9877" y="1730"/>
                  </a:cubicBezTo>
                  <a:cubicBezTo>
                    <a:pt x="9884" y="1730"/>
                    <a:pt x="9891" y="1736"/>
                    <a:pt x="9898" y="1748"/>
                  </a:cubicBezTo>
                  <a:cubicBezTo>
                    <a:pt x="9903" y="1758"/>
                    <a:pt x="9905" y="1767"/>
                    <a:pt x="9905" y="1773"/>
                  </a:cubicBezTo>
                  <a:lnTo>
                    <a:pt x="9891" y="1836"/>
                  </a:lnTo>
                  <a:lnTo>
                    <a:pt x="10129" y="1984"/>
                  </a:lnTo>
                  <a:cubicBezTo>
                    <a:pt x="10143" y="1984"/>
                    <a:pt x="10153" y="1962"/>
                    <a:pt x="10161" y="1917"/>
                  </a:cubicBezTo>
                  <a:cubicBezTo>
                    <a:pt x="10161" y="1811"/>
                    <a:pt x="10125" y="1748"/>
                    <a:pt x="10054" y="1730"/>
                  </a:cubicBezTo>
                  <a:cubicBezTo>
                    <a:pt x="9983" y="1712"/>
                    <a:pt x="9948" y="1643"/>
                    <a:pt x="9948" y="1522"/>
                  </a:cubicBezTo>
                  <a:cubicBezTo>
                    <a:pt x="9948" y="1449"/>
                    <a:pt x="9961" y="1364"/>
                    <a:pt x="9987" y="1265"/>
                  </a:cubicBezTo>
                  <a:cubicBezTo>
                    <a:pt x="10018" y="1144"/>
                    <a:pt x="10054" y="1084"/>
                    <a:pt x="10097" y="1084"/>
                  </a:cubicBezTo>
                  <a:cubicBezTo>
                    <a:pt x="10137" y="1084"/>
                    <a:pt x="10184" y="1111"/>
                    <a:pt x="10238" y="1166"/>
                  </a:cubicBezTo>
                  <a:cubicBezTo>
                    <a:pt x="10293" y="1220"/>
                    <a:pt x="10329" y="1247"/>
                    <a:pt x="10348" y="1247"/>
                  </a:cubicBezTo>
                  <a:cubicBezTo>
                    <a:pt x="10365" y="1247"/>
                    <a:pt x="10407" y="1228"/>
                    <a:pt x="10476" y="1190"/>
                  </a:cubicBezTo>
                  <a:cubicBezTo>
                    <a:pt x="10502" y="1190"/>
                    <a:pt x="10529" y="1210"/>
                    <a:pt x="10557" y="1250"/>
                  </a:cubicBezTo>
                  <a:cubicBezTo>
                    <a:pt x="10588" y="1298"/>
                    <a:pt x="10610" y="1326"/>
                    <a:pt x="10625" y="1332"/>
                  </a:cubicBezTo>
                  <a:cubicBezTo>
                    <a:pt x="10655" y="1346"/>
                    <a:pt x="10706" y="1362"/>
                    <a:pt x="10777" y="1380"/>
                  </a:cubicBezTo>
                  <a:cubicBezTo>
                    <a:pt x="10845" y="1396"/>
                    <a:pt x="10904" y="1407"/>
                    <a:pt x="10954" y="1413"/>
                  </a:cubicBezTo>
                  <a:cubicBezTo>
                    <a:pt x="11030" y="1421"/>
                    <a:pt x="11079" y="1479"/>
                    <a:pt x="11103" y="1585"/>
                  </a:cubicBezTo>
                  <a:cubicBezTo>
                    <a:pt x="11124" y="1686"/>
                    <a:pt x="11161" y="1736"/>
                    <a:pt x="11213" y="1736"/>
                  </a:cubicBezTo>
                  <a:cubicBezTo>
                    <a:pt x="11225" y="1736"/>
                    <a:pt x="11236" y="1709"/>
                    <a:pt x="11248" y="1655"/>
                  </a:cubicBezTo>
                  <a:cubicBezTo>
                    <a:pt x="11258" y="1600"/>
                    <a:pt x="11306" y="1573"/>
                    <a:pt x="11393" y="1573"/>
                  </a:cubicBezTo>
                  <a:cubicBezTo>
                    <a:pt x="11455" y="1573"/>
                    <a:pt x="11527" y="1603"/>
                    <a:pt x="11610" y="1664"/>
                  </a:cubicBezTo>
                  <a:cubicBezTo>
                    <a:pt x="11699" y="1728"/>
                    <a:pt x="11774" y="1765"/>
                    <a:pt x="11833" y="1773"/>
                  </a:cubicBezTo>
                  <a:cubicBezTo>
                    <a:pt x="11913" y="1783"/>
                    <a:pt x="11979" y="1815"/>
                    <a:pt x="12031" y="1869"/>
                  </a:cubicBezTo>
                  <a:cubicBezTo>
                    <a:pt x="12059" y="1899"/>
                    <a:pt x="12100" y="1964"/>
                    <a:pt x="12152" y="2062"/>
                  </a:cubicBezTo>
                  <a:cubicBezTo>
                    <a:pt x="12097" y="2054"/>
                    <a:pt x="12044" y="2077"/>
                    <a:pt x="11992" y="2129"/>
                  </a:cubicBezTo>
                  <a:cubicBezTo>
                    <a:pt x="11935" y="2185"/>
                    <a:pt x="11873" y="2213"/>
                    <a:pt x="11804" y="2213"/>
                  </a:cubicBezTo>
                  <a:cubicBezTo>
                    <a:pt x="11790" y="2213"/>
                    <a:pt x="11764" y="2208"/>
                    <a:pt x="11726" y="2198"/>
                  </a:cubicBezTo>
                  <a:cubicBezTo>
                    <a:pt x="11693" y="2188"/>
                    <a:pt x="11673" y="2180"/>
                    <a:pt x="11666" y="2174"/>
                  </a:cubicBezTo>
                  <a:cubicBezTo>
                    <a:pt x="11659" y="2172"/>
                    <a:pt x="11654" y="2172"/>
                    <a:pt x="11652" y="2174"/>
                  </a:cubicBezTo>
                  <a:lnTo>
                    <a:pt x="11652" y="2195"/>
                  </a:lnTo>
                  <a:cubicBezTo>
                    <a:pt x="11652" y="2213"/>
                    <a:pt x="11659" y="2242"/>
                    <a:pt x="11673" y="2280"/>
                  </a:cubicBezTo>
                  <a:cubicBezTo>
                    <a:pt x="11673" y="2304"/>
                    <a:pt x="11660" y="2326"/>
                    <a:pt x="11634" y="2346"/>
                  </a:cubicBezTo>
                  <a:cubicBezTo>
                    <a:pt x="11606" y="2364"/>
                    <a:pt x="11592" y="2384"/>
                    <a:pt x="11592" y="2404"/>
                  </a:cubicBezTo>
                  <a:cubicBezTo>
                    <a:pt x="11592" y="2480"/>
                    <a:pt x="11619" y="2545"/>
                    <a:pt x="11673" y="2597"/>
                  </a:cubicBezTo>
                  <a:cubicBezTo>
                    <a:pt x="11780" y="2702"/>
                    <a:pt x="11835" y="2757"/>
                    <a:pt x="11840" y="2763"/>
                  </a:cubicBezTo>
                  <a:cubicBezTo>
                    <a:pt x="11866" y="2799"/>
                    <a:pt x="11886" y="2857"/>
                    <a:pt x="11900" y="2935"/>
                  </a:cubicBezTo>
                  <a:cubicBezTo>
                    <a:pt x="11907" y="2977"/>
                    <a:pt x="11917" y="3034"/>
                    <a:pt x="11928" y="3104"/>
                  </a:cubicBezTo>
                  <a:lnTo>
                    <a:pt x="11978" y="3104"/>
                  </a:lnTo>
                  <a:cubicBezTo>
                    <a:pt x="12091" y="3056"/>
                    <a:pt x="12188" y="3032"/>
                    <a:pt x="12268" y="3032"/>
                  </a:cubicBezTo>
                  <a:cubicBezTo>
                    <a:pt x="12356" y="3032"/>
                    <a:pt x="12400" y="3052"/>
                    <a:pt x="12400" y="3092"/>
                  </a:cubicBezTo>
                  <a:cubicBezTo>
                    <a:pt x="12400" y="3122"/>
                    <a:pt x="12377" y="3174"/>
                    <a:pt x="12332" y="3246"/>
                  </a:cubicBezTo>
                  <a:cubicBezTo>
                    <a:pt x="12332" y="3256"/>
                    <a:pt x="12338" y="3266"/>
                    <a:pt x="12350" y="3276"/>
                  </a:cubicBezTo>
                  <a:cubicBezTo>
                    <a:pt x="12359" y="3284"/>
                    <a:pt x="12370" y="3288"/>
                    <a:pt x="12382" y="3288"/>
                  </a:cubicBezTo>
                  <a:cubicBezTo>
                    <a:pt x="12413" y="3288"/>
                    <a:pt x="12448" y="3274"/>
                    <a:pt x="12488" y="3246"/>
                  </a:cubicBezTo>
                  <a:cubicBezTo>
                    <a:pt x="12526" y="3218"/>
                    <a:pt x="12545" y="3194"/>
                    <a:pt x="12545" y="3174"/>
                  </a:cubicBezTo>
                  <a:cubicBezTo>
                    <a:pt x="12545" y="3101"/>
                    <a:pt x="12513" y="3033"/>
                    <a:pt x="12449" y="2968"/>
                  </a:cubicBezTo>
                  <a:cubicBezTo>
                    <a:pt x="12430" y="2950"/>
                    <a:pt x="12389" y="2940"/>
                    <a:pt x="12325" y="2938"/>
                  </a:cubicBezTo>
                  <a:cubicBezTo>
                    <a:pt x="12273" y="2936"/>
                    <a:pt x="12247" y="2921"/>
                    <a:pt x="12247" y="2893"/>
                  </a:cubicBezTo>
                  <a:cubicBezTo>
                    <a:pt x="12247" y="2885"/>
                    <a:pt x="12292" y="2852"/>
                    <a:pt x="12382" y="2793"/>
                  </a:cubicBezTo>
                  <a:cubicBezTo>
                    <a:pt x="12479" y="2731"/>
                    <a:pt x="12550" y="2697"/>
                    <a:pt x="12594" y="2691"/>
                  </a:cubicBezTo>
                  <a:cubicBezTo>
                    <a:pt x="12594" y="2693"/>
                    <a:pt x="12583" y="2719"/>
                    <a:pt x="12559" y="2769"/>
                  </a:cubicBezTo>
                  <a:cubicBezTo>
                    <a:pt x="12535" y="2819"/>
                    <a:pt x="12524" y="2853"/>
                    <a:pt x="12524" y="2869"/>
                  </a:cubicBezTo>
                  <a:cubicBezTo>
                    <a:pt x="12524" y="2889"/>
                    <a:pt x="12539" y="2907"/>
                    <a:pt x="12570" y="2923"/>
                  </a:cubicBezTo>
                  <a:cubicBezTo>
                    <a:pt x="12607" y="2943"/>
                    <a:pt x="12636" y="2985"/>
                    <a:pt x="12655" y="3050"/>
                  </a:cubicBezTo>
                  <a:cubicBezTo>
                    <a:pt x="12662" y="3072"/>
                    <a:pt x="12666" y="3109"/>
                    <a:pt x="12669" y="3162"/>
                  </a:cubicBezTo>
                  <a:cubicBezTo>
                    <a:pt x="12678" y="3212"/>
                    <a:pt x="12700" y="3250"/>
                    <a:pt x="12733" y="3276"/>
                  </a:cubicBezTo>
                  <a:cubicBezTo>
                    <a:pt x="12744" y="3286"/>
                    <a:pt x="12773" y="3305"/>
                    <a:pt x="12818" y="3331"/>
                  </a:cubicBezTo>
                  <a:cubicBezTo>
                    <a:pt x="12853" y="3351"/>
                    <a:pt x="12886" y="3378"/>
                    <a:pt x="12917" y="3412"/>
                  </a:cubicBezTo>
                  <a:cubicBezTo>
                    <a:pt x="12924" y="3420"/>
                    <a:pt x="12949" y="3452"/>
                    <a:pt x="12991" y="3506"/>
                  </a:cubicBezTo>
                  <a:cubicBezTo>
                    <a:pt x="13034" y="3554"/>
                    <a:pt x="13069" y="3578"/>
                    <a:pt x="13097" y="3578"/>
                  </a:cubicBezTo>
                  <a:cubicBezTo>
                    <a:pt x="13126" y="3578"/>
                    <a:pt x="13140" y="3552"/>
                    <a:pt x="13140" y="3500"/>
                  </a:cubicBezTo>
                  <a:cubicBezTo>
                    <a:pt x="13140" y="3456"/>
                    <a:pt x="13110" y="3424"/>
                    <a:pt x="13051" y="3406"/>
                  </a:cubicBezTo>
                  <a:cubicBezTo>
                    <a:pt x="12990" y="3388"/>
                    <a:pt x="12959" y="3369"/>
                    <a:pt x="12959" y="3349"/>
                  </a:cubicBezTo>
                  <a:cubicBezTo>
                    <a:pt x="12964" y="3341"/>
                    <a:pt x="12966" y="3335"/>
                    <a:pt x="12966" y="3331"/>
                  </a:cubicBezTo>
                  <a:lnTo>
                    <a:pt x="13016" y="3331"/>
                  </a:lnTo>
                  <a:cubicBezTo>
                    <a:pt x="13028" y="3335"/>
                    <a:pt x="13059" y="3352"/>
                    <a:pt x="13108" y="3382"/>
                  </a:cubicBezTo>
                  <a:cubicBezTo>
                    <a:pt x="13144" y="3402"/>
                    <a:pt x="13175" y="3412"/>
                    <a:pt x="13204" y="3412"/>
                  </a:cubicBezTo>
                  <a:cubicBezTo>
                    <a:pt x="13239" y="3412"/>
                    <a:pt x="13257" y="3395"/>
                    <a:pt x="13257" y="3361"/>
                  </a:cubicBezTo>
                  <a:cubicBezTo>
                    <a:pt x="13257" y="3325"/>
                    <a:pt x="13217" y="3285"/>
                    <a:pt x="13136" y="3243"/>
                  </a:cubicBezTo>
                  <a:cubicBezTo>
                    <a:pt x="13073" y="3209"/>
                    <a:pt x="13028" y="3190"/>
                    <a:pt x="13002" y="3186"/>
                  </a:cubicBezTo>
                  <a:cubicBezTo>
                    <a:pt x="12922" y="3168"/>
                    <a:pt x="12878" y="3142"/>
                    <a:pt x="12871" y="3110"/>
                  </a:cubicBezTo>
                  <a:cubicBezTo>
                    <a:pt x="12875" y="3062"/>
                    <a:pt x="12878" y="3019"/>
                    <a:pt x="12878" y="2980"/>
                  </a:cubicBezTo>
                  <a:cubicBezTo>
                    <a:pt x="12878" y="2958"/>
                    <a:pt x="12851" y="2936"/>
                    <a:pt x="12796" y="2914"/>
                  </a:cubicBezTo>
                  <a:lnTo>
                    <a:pt x="12711" y="2887"/>
                  </a:lnTo>
                  <a:cubicBezTo>
                    <a:pt x="12711" y="2883"/>
                    <a:pt x="12709" y="2879"/>
                    <a:pt x="12704" y="2875"/>
                  </a:cubicBezTo>
                  <a:cubicBezTo>
                    <a:pt x="12700" y="2873"/>
                    <a:pt x="12697" y="2869"/>
                    <a:pt x="12697" y="2863"/>
                  </a:cubicBezTo>
                  <a:cubicBezTo>
                    <a:pt x="12697" y="2790"/>
                    <a:pt x="12724" y="2727"/>
                    <a:pt x="12779" y="2672"/>
                  </a:cubicBezTo>
                  <a:cubicBezTo>
                    <a:pt x="12826" y="2622"/>
                    <a:pt x="12875" y="2597"/>
                    <a:pt x="12927" y="2597"/>
                  </a:cubicBezTo>
                  <a:cubicBezTo>
                    <a:pt x="12932" y="2597"/>
                    <a:pt x="12949" y="2602"/>
                    <a:pt x="12977" y="2612"/>
                  </a:cubicBezTo>
                  <a:cubicBezTo>
                    <a:pt x="13005" y="2622"/>
                    <a:pt x="13028" y="2627"/>
                    <a:pt x="13044" y="2627"/>
                  </a:cubicBezTo>
                  <a:cubicBezTo>
                    <a:pt x="13073" y="2627"/>
                    <a:pt x="13090" y="2623"/>
                    <a:pt x="13097" y="2615"/>
                  </a:cubicBezTo>
                  <a:cubicBezTo>
                    <a:pt x="13102" y="2609"/>
                    <a:pt x="13105" y="2598"/>
                    <a:pt x="13105" y="2582"/>
                  </a:cubicBezTo>
                  <a:cubicBezTo>
                    <a:pt x="13105" y="2531"/>
                    <a:pt x="13061" y="2471"/>
                    <a:pt x="12973" y="2401"/>
                  </a:cubicBezTo>
                  <a:cubicBezTo>
                    <a:pt x="12886" y="2330"/>
                    <a:pt x="12842" y="2284"/>
                    <a:pt x="12842" y="2262"/>
                  </a:cubicBezTo>
                  <a:cubicBezTo>
                    <a:pt x="12842" y="2238"/>
                    <a:pt x="12861" y="2219"/>
                    <a:pt x="12899" y="2207"/>
                  </a:cubicBezTo>
                  <a:cubicBezTo>
                    <a:pt x="12935" y="2197"/>
                    <a:pt x="12964" y="2197"/>
                    <a:pt x="12988" y="2207"/>
                  </a:cubicBezTo>
                  <a:lnTo>
                    <a:pt x="13048" y="2207"/>
                  </a:lnTo>
                  <a:cubicBezTo>
                    <a:pt x="13053" y="2203"/>
                    <a:pt x="13055" y="2196"/>
                    <a:pt x="13055" y="2186"/>
                  </a:cubicBezTo>
                  <a:cubicBezTo>
                    <a:pt x="13055" y="2142"/>
                    <a:pt x="13036" y="2116"/>
                    <a:pt x="12998" y="2108"/>
                  </a:cubicBezTo>
                  <a:cubicBezTo>
                    <a:pt x="12944" y="2108"/>
                    <a:pt x="12903" y="2108"/>
                    <a:pt x="12874" y="2108"/>
                  </a:cubicBezTo>
                  <a:cubicBezTo>
                    <a:pt x="12751" y="2104"/>
                    <a:pt x="12690" y="2015"/>
                    <a:pt x="12690" y="1842"/>
                  </a:cubicBezTo>
                  <a:lnTo>
                    <a:pt x="12835" y="1718"/>
                  </a:lnTo>
                  <a:cubicBezTo>
                    <a:pt x="12939" y="1628"/>
                    <a:pt x="13010" y="1559"/>
                    <a:pt x="13048" y="1513"/>
                  </a:cubicBezTo>
                  <a:cubicBezTo>
                    <a:pt x="13131" y="1408"/>
                    <a:pt x="13207" y="1225"/>
                    <a:pt x="13278" y="963"/>
                  </a:cubicBezTo>
                  <a:cubicBezTo>
                    <a:pt x="13278" y="959"/>
                    <a:pt x="13278" y="956"/>
                    <a:pt x="13278" y="954"/>
                  </a:cubicBezTo>
                  <a:cubicBezTo>
                    <a:pt x="13292" y="884"/>
                    <a:pt x="13301" y="828"/>
                    <a:pt x="13303" y="788"/>
                  </a:cubicBezTo>
                  <a:cubicBezTo>
                    <a:pt x="13305" y="764"/>
                    <a:pt x="13307" y="712"/>
                    <a:pt x="13307" y="631"/>
                  </a:cubicBezTo>
                  <a:cubicBezTo>
                    <a:pt x="13307" y="563"/>
                    <a:pt x="13327" y="498"/>
                    <a:pt x="13367" y="438"/>
                  </a:cubicBezTo>
                  <a:cubicBezTo>
                    <a:pt x="13405" y="379"/>
                    <a:pt x="13423" y="339"/>
                    <a:pt x="13423" y="317"/>
                  </a:cubicBezTo>
                  <a:lnTo>
                    <a:pt x="13409" y="184"/>
                  </a:lnTo>
                  <a:cubicBezTo>
                    <a:pt x="13409" y="154"/>
                    <a:pt x="13414" y="129"/>
                    <a:pt x="13423" y="109"/>
                  </a:cubicBezTo>
                  <a:cubicBezTo>
                    <a:pt x="13438" y="89"/>
                    <a:pt x="13447" y="73"/>
                    <a:pt x="13452" y="63"/>
                  </a:cubicBezTo>
                  <a:cubicBezTo>
                    <a:pt x="13459" y="67"/>
                    <a:pt x="13494" y="105"/>
                    <a:pt x="13558" y="175"/>
                  </a:cubicBezTo>
                  <a:cubicBezTo>
                    <a:pt x="13619" y="240"/>
                    <a:pt x="13662" y="272"/>
                    <a:pt x="13686" y="272"/>
                  </a:cubicBezTo>
                  <a:lnTo>
                    <a:pt x="13866" y="136"/>
                  </a:lnTo>
                  <a:cubicBezTo>
                    <a:pt x="14001" y="45"/>
                    <a:pt x="14100" y="0"/>
                    <a:pt x="14164" y="0"/>
                  </a:cubicBezTo>
                  <a:cubicBezTo>
                    <a:pt x="14195" y="0"/>
                    <a:pt x="14210" y="25"/>
                    <a:pt x="14210" y="75"/>
                  </a:cubicBezTo>
                  <a:cubicBezTo>
                    <a:pt x="14210" y="102"/>
                    <a:pt x="14208" y="132"/>
                    <a:pt x="14203" y="166"/>
                  </a:cubicBezTo>
                  <a:cubicBezTo>
                    <a:pt x="14203" y="228"/>
                    <a:pt x="14239" y="292"/>
                    <a:pt x="14313" y="356"/>
                  </a:cubicBezTo>
                  <a:cubicBezTo>
                    <a:pt x="14327" y="368"/>
                    <a:pt x="14408" y="428"/>
                    <a:pt x="14557" y="534"/>
                  </a:cubicBezTo>
                  <a:cubicBezTo>
                    <a:pt x="14659" y="609"/>
                    <a:pt x="14726" y="654"/>
                    <a:pt x="14759" y="670"/>
                  </a:cubicBezTo>
                  <a:cubicBezTo>
                    <a:pt x="14830" y="707"/>
                    <a:pt x="14911" y="725"/>
                    <a:pt x="15003" y="725"/>
                  </a:cubicBezTo>
                  <a:cubicBezTo>
                    <a:pt x="15008" y="725"/>
                    <a:pt x="15057" y="714"/>
                    <a:pt x="15149" y="692"/>
                  </a:cubicBezTo>
                  <a:cubicBezTo>
                    <a:pt x="15241" y="669"/>
                    <a:pt x="15333" y="658"/>
                    <a:pt x="15425" y="658"/>
                  </a:cubicBezTo>
                  <a:cubicBezTo>
                    <a:pt x="15477" y="658"/>
                    <a:pt x="15525" y="647"/>
                    <a:pt x="15570" y="625"/>
                  </a:cubicBezTo>
                  <a:cubicBezTo>
                    <a:pt x="15582" y="625"/>
                    <a:pt x="15594" y="647"/>
                    <a:pt x="15606" y="692"/>
                  </a:cubicBezTo>
                  <a:cubicBezTo>
                    <a:pt x="15620" y="736"/>
                    <a:pt x="15635" y="758"/>
                    <a:pt x="15652" y="758"/>
                  </a:cubicBezTo>
                  <a:cubicBezTo>
                    <a:pt x="15685" y="758"/>
                    <a:pt x="15706" y="733"/>
                    <a:pt x="15716" y="682"/>
                  </a:cubicBezTo>
                  <a:cubicBezTo>
                    <a:pt x="15723" y="628"/>
                    <a:pt x="15727" y="597"/>
                    <a:pt x="15730" y="589"/>
                  </a:cubicBezTo>
                  <a:lnTo>
                    <a:pt x="15765" y="589"/>
                  </a:lnTo>
                  <a:cubicBezTo>
                    <a:pt x="15845" y="692"/>
                    <a:pt x="15901" y="748"/>
                    <a:pt x="15932" y="758"/>
                  </a:cubicBezTo>
                  <a:lnTo>
                    <a:pt x="15946" y="758"/>
                  </a:lnTo>
                  <a:lnTo>
                    <a:pt x="15953" y="664"/>
                  </a:lnTo>
                  <a:cubicBezTo>
                    <a:pt x="15953" y="648"/>
                    <a:pt x="15945" y="629"/>
                    <a:pt x="15928" y="607"/>
                  </a:cubicBezTo>
                  <a:cubicBezTo>
                    <a:pt x="15907" y="583"/>
                    <a:pt x="15894" y="567"/>
                    <a:pt x="15889" y="559"/>
                  </a:cubicBezTo>
                  <a:lnTo>
                    <a:pt x="15935" y="553"/>
                  </a:lnTo>
                  <a:cubicBezTo>
                    <a:pt x="15987" y="553"/>
                    <a:pt x="16050" y="559"/>
                    <a:pt x="16123" y="571"/>
                  </a:cubicBezTo>
                  <a:cubicBezTo>
                    <a:pt x="16206" y="585"/>
                    <a:pt x="16247" y="600"/>
                    <a:pt x="16247" y="616"/>
                  </a:cubicBezTo>
                  <a:cubicBezTo>
                    <a:pt x="16223" y="721"/>
                    <a:pt x="16199" y="790"/>
                    <a:pt x="16173" y="824"/>
                  </a:cubicBezTo>
                  <a:lnTo>
                    <a:pt x="16173" y="855"/>
                  </a:lnTo>
                  <a:cubicBezTo>
                    <a:pt x="16191" y="840"/>
                    <a:pt x="16224" y="783"/>
                    <a:pt x="16272" y="682"/>
                  </a:cubicBezTo>
                  <a:cubicBezTo>
                    <a:pt x="16314" y="588"/>
                    <a:pt x="16343" y="540"/>
                    <a:pt x="16357" y="540"/>
                  </a:cubicBezTo>
                  <a:cubicBezTo>
                    <a:pt x="16399" y="540"/>
                    <a:pt x="16472" y="573"/>
                    <a:pt x="16576" y="637"/>
                  </a:cubicBezTo>
                  <a:cubicBezTo>
                    <a:pt x="16687" y="704"/>
                    <a:pt x="16751" y="739"/>
                    <a:pt x="16768" y="743"/>
                  </a:cubicBezTo>
                  <a:cubicBezTo>
                    <a:pt x="16917" y="769"/>
                    <a:pt x="17004" y="782"/>
                    <a:pt x="17030" y="782"/>
                  </a:cubicBezTo>
                  <a:cubicBezTo>
                    <a:pt x="17056" y="780"/>
                    <a:pt x="17097" y="786"/>
                    <a:pt x="17154" y="800"/>
                  </a:cubicBezTo>
                  <a:cubicBezTo>
                    <a:pt x="17213" y="814"/>
                    <a:pt x="17242" y="827"/>
                    <a:pt x="17242" y="839"/>
                  </a:cubicBezTo>
                  <a:cubicBezTo>
                    <a:pt x="17242" y="854"/>
                    <a:pt x="17200" y="881"/>
                    <a:pt x="17115" y="921"/>
                  </a:cubicBezTo>
                  <a:cubicBezTo>
                    <a:pt x="17025" y="961"/>
                    <a:pt x="16971" y="1006"/>
                    <a:pt x="16952" y="1054"/>
                  </a:cubicBezTo>
                  <a:lnTo>
                    <a:pt x="16952" y="1123"/>
                  </a:lnTo>
                  <a:lnTo>
                    <a:pt x="16987" y="1123"/>
                  </a:lnTo>
                  <a:cubicBezTo>
                    <a:pt x="17105" y="1041"/>
                    <a:pt x="17167" y="999"/>
                    <a:pt x="17172" y="999"/>
                  </a:cubicBezTo>
                  <a:cubicBezTo>
                    <a:pt x="17188" y="999"/>
                    <a:pt x="17214" y="1013"/>
                    <a:pt x="17250" y="1039"/>
                  </a:cubicBezTo>
                  <a:cubicBezTo>
                    <a:pt x="17290" y="1067"/>
                    <a:pt x="17320" y="1084"/>
                    <a:pt x="17342" y="1090"/>
                  </a:cubicBezTo>
                  <a:cubicBezTo>
                    <a:pt x="17349" y="1028"/>
                    <a:pt x="17355" y="979"/>
                    <a:pt x="17359" y="945"/>
                  </a:cubicBezTo>
                  <a:cubicBezTo>
                    <a:pt x="17374" y="885"/>
                    <a:pt x="17422" y="855"/>
                    <a:pt x="17505" y="855"/>
                  </a:cubicBezTo>
                  <a:cubicBezTo>
                    <a:pt x="17561" y="855"/>
                    <a:pt x="17668" y="896"/>
                    <a:pt x="17823" y="978"/>
                  </a:cubicBezTo>
                  <a:lnTo>
                    <a:pt x="17823" y="999"/>
                  </a:lnTo>
                  <a:cubicBezTo>
                    <a:pt x="17807" y="1016"/>
                    <a:pt x="17779" y="1023"/>
                    <a:pt x="17738" y="1021"/>
                  </a:cubicBezTo>
                  <a:cubicBezTo>
                    <a:pt x="17694" y="1015"/>
                    <a:pt x="17663" y="1012"/>
                    <a:pt x="17646" y="1012"/>
                  </a:cubicBezTo>
                  <a:cubicBezTo>
                    <a:pt x="17599" y="1012"/>
                    <a:pt x="17575" y="1035"/>
                    <a:pt x="17575" y="1081"/>
                  </a:cubicBezTo>
                  <a:cubicBezTo>
                    <a:pt x="17575" y="1091"/>
                    <a:pt x="17588" y="1101"/>
                    <a:pt x="17614" y="1111"/>
                  </a:cubicBezTo>
                  <a:cubicBezTo>
                    <a:pt x="17626" y="1111"/>
                    <a:pt x="17649" y="1106"/>
                    <a:pt x="17682" y="1096"/>
                  </a:cubicBezTo>
                  <a:cubicBezTo>
                    <a:pt x="17703" y="1096"/>
                    <a:pt x="17730" y="1111"/>
                    <a:pt x="17763" y="1141"/>
                  </a:cubicBezTo>
                  <a:cubicBezTo>
                    <a:pt x="17780" y="1160"/>
                    <a:pt x="17802" y="1184"/>
                    <a:pt x="17831" y="1214"/>
                  </a:cubicBezTo>
                  <a:cubicBezTo>
                    <a:pt x="17897" y="1274"/>
                    <a:pt x="17955" y="1308"/>
                    <a:pt x="18004" y="1314"/>
                  </a:cubicBezTo>
                  <a:cubicBezTo>
                    <a:pt x="18144" y="1330"/>
                    <a:pt x="18310" y="1338"/>
                    <a:pt x="18504" y="1338"/>
                  </a:cubicBezTo>
                  <a:cubicBezTo>
                    <a:pt x="18575" y="1338"/>
                    <a:pt x="18645" y="1349"/>
                    <a:pt x="18716" y="1371"/>
                  </a:cubicBezTo>
                  <a:cubicBezTo>
                    <a:pt x="18804" y="1399"/>
                    <a:pt x="18847" y="1434"/>
                    <a:pt x="18847" y="1477"/>
                  </a:cubicBezTo>
                  <a:cubicBezTo>
                    <a:pt x="18847" y="1487"/>
                    <a:pt x="18831" y="1511"/>
                    <a:pt x="18798" y="1549"/>
                  </a:cubicBezTo>
                  <a:cubicBezTo>
                    <a:pt x="18798" y="1565"/>
                    <a:pt x="18805" y="1591"/>
                    <a:pt x="18819" y="1628"/>
                  </a:cubicBezTo>
                  <a:cubicBezTo>
                    <a:pt x="18833" y="1664"/>
                    <a:pt x="18840" y="1689"/>
                    <a:pt x="18840" y="1703"/>
                  </a:cubicBezTo>
                  <a:cubicBezTo>
                    <a:pt x="18840" y="1727"/>
                    <a:pt x="18819" y="1748"/>
                    <a:pt x="18776" y="1767"/>
                  </a:cubicBezTo>
                  <a:cubicBezTo>
                    <a:pt x="18739" y="1783"/>
                    <a:pt x="18700" y="1791"/>
                    <a:pt x="18660" y="1791"/>
                  </a:cubicBezTo>
                  <a:cubicBezTo>
                    <a:pt x="18629" y="1791"/>
                    <a:pt x="18595" y="1779"/>
                    <a:pt x="18557" y="1754"/>
                  </a:cubicBezTo>
                  <a:cubicBezTo>
                    <a:pt x="18519" y="1730"/>
                    <a:pt x="18486" y="1718"/>
                    <a:pt x="18458" y="1718"/>
                  </a:cubicBezTo>
                  <a:cubicBezTo>
                    <a:pt x="18429" y="1718"/>
                    <a:pt x="18412" y="1724"/>
                    <a:pt x="18404" y="1736"/>
                  </a:cubicBezTo>
                  <a:cubicBezTo>
                    <a:pt x="18400" y="1742"/>
                    <a:pt x="18397" y="1755"/>
                    <a:pt x="18397" y="1776"/>
                  </a:cubicBezTo>
                  <a:cubicBezTo>
                    <a:pt x="18397" y="1800"/>
                    <a:pt x="18415" y="1831"/>
                    <a:pt x="18451" y="1869"/>
                  </a:cubicBezTo>
                  <a:cubicBezTo>
                    <a:pt x="18486" y="1905"/>
                    <a:pt x="18507" y="1953"/>
                    <a:pt x="18514" y="2011"/>
                  </a:cubicBezTo>
                  <a:lnTo>
                    <a:pt x="18521" y="2068"/>
                  </a:lnTo>
                  <a:lnTo>
                    <a:pt x="18528" y="2075"/>
                  </a:lnTo>
                  <a:cubicBezTo>
                    <a:pt x="18566" y="2050"/>
                    <a:pt x="18598" y="2011"/>
                    <a:pt x="18624" y="1957"/>
                  </a:cubicBezTo>
                  <a:cubicBezTo>
                    <a:pt x="18643" y="1918"/>
                    <a:pt x="18682" y="1899"/>
                    <a:pt x="18741" y="1899"/>
                  </a:cubicBezTo>
                  <a:cubicBezTo>
                    <a:pt x="18802" y="1899"/>
                    <a:pt x="18858" y="1905"/>
                    <a:pt x="18908" y="1917"/>
                  </a:cubicBezTo>
                  <a:cubicBezTo>
                    <a:pt x="18974" y="1934"/>
                    <a:pt x="19007" y="1958"/>
                    <a:pt x="19007" y="1990"/>
                  </a:cubicBezTo>
                  <a:cubicBezTo>
                    <a:pt x="19007" y="2018"/>
                    <a:pt x="18978" y="2052"/>
                    <a:pt x="18922" y="2093"/>
                  </a:cubicBezTo>
                  <a:cubicBezTo>
                    <a:pt x="18863" y="2131"/>
                    <a:pt x="18833" y="2166"/>
                    <a:pt x="18833" y="2198"/>
                  </a:cubicBezTo>
                  <a:cubicBezTo>
                    <a:pt x="18833" y="2253"/>
                    <a:pt x="18850" y="2291"/>
                    <a:pt x="18883" y="2313"/>
                  </a:cubicBezTo>
                  <a:cubicBezTo>
                    <a:pt x="18904" y="2325"/>
                    <a:pt x="18965" y="2346"/>
                    <a:pt x="19067" y="2376"/>
                  </a:cubicBezTo>
                  <a:cubicBezTo>
                    <a:pt x="19088" y="2383"/>
                    <a:pt x="19127" y="2406"/>
                    <a:pt x="19184" y="2446"/>
                  </a:cubicBezTo>
                  <a:cubicBezTo>
                    <a:pt x="19245" y="2488"/>
                    <a:pt x="19276" y="2516"/>
                    <a:pt x="19276" y="2530"/>
                  </a:cubicBezTo>
                  <a:cubicBezTo>
                    <a:pt x="19276" y="2567"/>
                    <a:pt x="19261" y="2596"/>
                    <a:pt x="19230" y="2618"/>
                  </a:cubicBezTo>
                  <a:cubicBezTo>
                    <a:pt x="19190" y="2640"/>
                    <a:pt x="19161" y="2657"/>
                    <a:pt x="19145" y="2669"/>
                  </a:cubicBezTo>
                  <a:cubicBezTo>
                    <a:pt x="19159" y="2677"/>
                    <a:pt x="19170" y="2681"/>
                    <a:pt x="19177" y="2681"/>
                  </a:cubicBezTo>
                  <a:cubicBezTo>
                    <a:pt x="19203" y="2681"/>
                    <a:pt x="19228" y="2676"/>
                    <a:pt x="19251" y="2666"/>
                  </a:cubicBezTo>
                  <a:cubicBezTo>
                    <a:pt x="19275" y="2656"/>
                    <a:pt x="19295" y="2651"/>
                    <a:pt x="19311" y="2651"/>
                  </a:cubicBezTo>
                  <a:cubicBezTo>
                    <a:pt x="19335" y="2651"/>
                    <a:pt x="19357" y="2665"/>
                    <a:pt x="19379" y="2694"/>
                  </a:cubicBezTo>
                  <a:cubicBezTo>
                    <a:pt x="19398" y="2720"/>
                    <a:pt x="19407" y="2745"/>
                    <a:pt x="19407" y="2769"/>
                  </a:cubicBezTo>
                  <a:cubicBezTo>
                    <a:pt x="19407" y="2827"/>
                    <a:pt x="19350" y="2875"/>
                    <a:pt x="19237" y="2911"/>
                  </a:cubicBezTo>
                  <a:cubicBezTo>
                    <a:pt x="19124" y="2945"/>
                    <a:pt x="19067" y="2971"/>
                    <a:pt x="19067" y="2990"/>
                  </a:cubicBezTo>
                  <a:cubicBezTo>
                    <a:pt x="19067" y="3006"/>
                    <a:pt x="19091" y="3033"/>
                    <a:pt x="19138" y="3071"/>
                  </a:cubicBezTo>
                  <a:cubicBezTo>
                    <a:pt x="19185" y="3107"/>
                    <a:pt x="19210" y="3136"/>
                    <a:pt x="19212" y="3159"/>
                  </a:cubicBezTo>
                  <a:cubicBezTo>
                    <a:pt x="19207" y="3159"/>
                    <a:pt x="19178" y="3169"/>
                    <a:pt x="19124" y="3189"/>
                  </a:cubicBezTo>
                  <a:cubicBezTo>
                    <a:pt x="19128" y="3193"/>
                    <a:pt x="19165" y="3230"/>
                    <a:pt x="19233" y="3301"/>
                  </a:cubicBezTo>
                  <a:cubicBezTo>
                    <a:pt x="19293" y="3363"/>
                    <a:pt x="19336" y="3403"/>
                    <a:pt x="19365" y="3421"/>
                  </a:cubicBezTo>
                  <a:cubicBezTo>
                    <a:pt x="19369" y="3425"/>
                    <a:pt x="19407" y="3441"/>
                    <a:pt x="19478" y="3470"/>
                  </a:cubicBezTo>
                  <a:cubicBezTo>
                    <a:pt x="19537" y="3492"/>
                    <a:pt x="19566" y="3508"/>
                    <a:pt x="19566" y="3518"/>
                  </a:cubicBezTo>
                  <a:lnTo>
                    <a:pt x="19517" y="3596"/>
                  </a:lnTo>
                  <a:cubicBezTo>
                    <a:pt x="19517" y="3625"/>
                    <a:pt x="19564" y="3655"/>
                    <a:pt x="19659" y="3687"/>
                  </a:cubicBezTo>
                  <a:cubicBezTo>
                    <a:pt x="19760" y="3719"/>
                    <a:pt x="19822" y="3770"/>
                    <a:pt x="19843" y="3838"/>
                  </a:cubicBezTo>
                  <a:cubicBezTo>
                    <a:pt x="19855" y="3876"/>
                    <a:pt x="19871" y="3938"/>
                    <a:pt x="19892" y="4022"/>
                  </a:cubicBezTo>
                  <a:cubicBezTo>
                    <a:pt x="19914" y="4101"/>
                    <a:pt x="19936" y="4169"/>
                    <a:pt x="19960" y="4228"/>
                  </a:cubicBezTo>
                  <a:cubicBezTo>
                    <a:pt x="19976" y="4270"/>
                    <a:pt x="20002" y="4343"/>
                    <a:pt x="20038" y="4448"/>
                  </a:cubicBezTo>
                  <a:cubicBezTo>
                    <a:pt x="20071" y="4535"/>
                    <a:pt x="20096" y="4585"/>
                    <a:pt x="20112" y="4599"/>
                  </a:cubicBezTo>
                  <a:cubicBezTo>
                    <a:pt x="20138" y="4619"/>
                    <a:pt x="20203" y="4655"/>
                    <a:pt x="20307" y="4708"/>
                  </a:cubicBezTo>
                  <a:cubicBezTo>
                    <a:pt x="20387" y="4746"/>
                    <a:pt x="20432" y="4782"/>
                    <a:pt x="20442" y="4816"/>
                  </a:cubicBezTo>
                  <a:lnTo>
                    <a:pt x="20434" y="4816"/>
                  </a:lnTo>
                  <a:cubicBezTo>
                    <a:pt x="20434" y="4820"/>
                    <a:pt x="20432" y="4822"/>
                    <a:pt x="20427" y="4822"/>
                  </a:cubicBezTo>
                  <a:cubicBezTo>
                    <a:pt x="20446" y="4839"/>
                    <a:pt x="20462" y="4866"/>
                    <a:pt x="20473" y="4904"/>
                  </a:cubicBezTo>
                  <a:cubicBezTo>
                    <a:pt x="20495" y="4970"/>
                    <a:pt x="20508" y="5010"/>
                    <a:pt x="20512" y="5022"/>
                  </a:cubicBezTo>
                  <a:cubicBezTo>
                    <a:pt x="20538" y="5034"/>
                    <a:pt x="20571" y="5060"/>
                    <a:pt x="20612" y="5100"/>
                  </a:cubicBezTo>
                  <a:cubicBezTo>
                    <a:pt x="20659" y="5145"/>
                    <a:pt x="20690" y="5172"/>
                    <a:pt x="20704" y="5182"/>
                  </a:cubicBezTo>
                  <a:cubicBezTo>
                    <a:pt x="20732" y="5198"/>
                    <a:pt x="20775" y="5214"/>
                    <a:pt x="20831" y="5230"/>
                  </a:cubicBezTo>
                  <a:cubicBezTo>
                    <a:pt x="20897" y="5248"/>
                    <a:pt x="20936" y="5259"/>
                    <a:pt x="20948" y="5263"/>
                  </a:cubicBezTo>
                  <a:cubicBezTo>
                    <a:pt x="20984" y="5277"/>
                    <a:pt x="21011" y="5301"/>
                    <a:pt x="21030" y="5333"/>
                  </a:cubicBezTo>
                  <a:cubicBezTo>
                    <a:pt x="21051" y="5367"/>
                    <a:pt x="21066" y="5389"/>
                    <a:pt x="21076" y="5399"/>
                  </a:cubicBezTo>
                  <a:cubicBezTo>
                    <a:pt x="21080" y="5379"/>
                    <a:pt x="21093" y="5369"/>
                    <a:pt x="21115" y="5369"/>
                  </a:cubicBezTo>
                  <a:cubicBezTo>
                    <a:pt x="21171" y="5369"/>
                    <a:pt x="21230" y="5420"/>
                    <a:pt x="21292" y="5523"/>
                  </a:cubicBezTo>
                  <a:cubicBezTo>
                    <a:pt x="21344" y="5612"/>
                    <a:pt x="21370" y="5678"/>
                    <a:pt x="21370" y="5722"/>
                  </a:cubicBezTo>
                  <a:cubicBezTo>
                    <a:pt x="21370" y="5748"/>
                    <a:pt x="21366" y="5777"/>
                    <a:pt x="21359" y="5807"/>
                  </a:cubicBezTo>
                  <a:cubicBezTo>
                    <a:pt x="21352" y="5835"/>
                    <a:pt x="21348" y="5857"/>
                    <a:pt x="21348" y="5873"/>
                  </a:cubicBezTo>
                  <a:cubicBezTo>
                    <a:pt x="21348" y="5893"/>
                    <a:pt x="21367" y="5928"/>
                    <a:pt x="21405" y="5976"/>
                  </a:cubicBezTo>
                  <a:cubicBezTo>
                    <a:pt x="21441" y="6024"/>
                    <a:pt x="21458" y="6058"/>
                    <a:pt x="21458" y="6076"/>
                  </a:cubicBezTo>
                  <a:lnTo>
                    <a:pt x="21451" y="6115"/>
                  </a:lnTo>
                  <a:cubicBezTo>
                    <a:pt x="21451" y="6129"/>
                    <a:pt x="21446" y="6147"/>
                    <a:pt x="21437" y="6169"/>
                  </a:cubicBezTo>
                  <a:cubicBezTo>
                    <a:pt x="21428" y="6189"/>
                    <a:pt x="21423" y="6208"/>
                    <a:pt x="21423" y="6224"/>
                  </a:cubicBezTo>
                  <a:cubicBezTo>
                    <a:pt x="21428" y="6224"/>
                    <a:pt x="21437" y="6226"/>
                    <a:pt x="21451" y="6230"/>
                  </a:cubicBezTo>
                  <a:cubicBezTo>
                    <a:pt x="21461" y="6230"/>
                    <a:pt x="21478" y="6224"/>
                    <a:pt x="21504" y="6212"/>
                  </a:cubicBezTo>
                  <a:cubicBezTo>
                    <a:pt x="21533" y="6199"/>
                    <a:pt x="21550" y="6193"/>
                    <a:pt x="21557" y="6193"/>
                  </a:cubicBezTo>
                  <a:cubicBezTo>
                    <a:pt x="21579" y="6193"/>
                    <a:pt x="21593" y="6208"/>
                    <a:pt x="21600" y="6236"/>
                  </a:cubicBezTo>
                  <a:lnTo>
                    <a:pt x="14320" y="13942"/>
                  </a:lnTo>
                  <a:cubicBezTo>
                    <a:pt x="14317" y="13946"/>
                    <a:pt x="14316" y="13955"/>
                    <a:pt x="14316" y="13969"/>
                  </a:cubicBezTo>
                  <a:cubicBezTo>
                    <a:pt x="14316" y="13999"/>
                    <a:pt x="14333" y="14040"/>
                    <a:pt x="14366" y="14090"/>
                  </a:cubicBezTo>
                  <a:cubicBezTo>
                    <a:pt x="14396" y="14138"/>
                    <a:pt x="14421" y="14162"/>
                    <a:pt x="14440" y="14162"/>
                  </a:cubicBezTo>
                  <a:cubicBezTo>
                    <a:pt x="14454" y="14162"/>
                    <a:pt x="14471" y="14159"/>
                    <a:pt x="14490" y="14153"/>
                  </a:cubicBezTo>
                  <a:cubicBezTo>
                    <a:pt x="14509" y="14147"/>
                    <a:pt x="14524" y="14144"/>
                    <a:pt x="14536" y="14144"/>
                  </a:cubicBezTo>
                  <a:cubicBezTo>
                    <a:pt x="14611" y="14144"/>
                    <a:pt x="14654" y="14182"/>
                    <a:pt x="14663" y="14256"/>
                  </a:cubicBezTo>
                  <a:cubicBezTo>
                    <a:pt x="14673" y="14329"/>
                    <a:pt x="14696" y="14365"/>
                    <a:pt x="14734" y="14365"/>
                  </a:cubicBezTo>
                  <a:cubicBezTo>
                    <a:pt x="14739" y="14365"/>
                    <a:pt x="14790" y="14339"/>
                    <a:pt x="14887" y="14286"/>
                  </a:cubicBezTo>
                  <a:cubicBezTo>
                    <a:pt x="14946" y="14286"/>
                    <a:pt x="15055" y="14362"/>
                    <a:pt x="15216" y="14513"/>
                  </a:cubicBezTo>
                  <a:cubicBezTo>
                    <a:pt x="15216" y="14533"/>
                    <a:pt x="15184" y="14571"/>
                    <a:pt x="15120" y="14628"/>
                  </a:cubicBezTo>
                  <a:cubicBezTo>
                    <a:pt x="15083" y="14660"/>
                    <a:pt x="15057" y="14699"/>
                    <a:pt x="15042" y="14745"/>
                  </a:cubicBezTo>
                  <a:close/>
                  <a:moveTo>
                    <a:pt x="15042" y="1474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7" name="AutoShape 134"/>
            <p:cNvSpPr>
              <a:spLocks/>
            </p:cNvSpPr>
            <p:nvPr/>
          </p:nvSpPr>
          <p:spPr bwMode="auto">
            <a:xfrm>
              <a:off x="7617733" y="4306648"/>
              <a:ext cx="301708" cy="199096"/>
            </a:xfrm>
            <a:custGeom>
              <a:avLst/>
              <a:gdLst/>
              <a:ahLst/>
              <a:cxnLst/>
              <a:rect l="0" t="0" r="r" b="b"/>
              <a:pathLst>
                <a:path w="21600" h="21559">
                  <a:moveTo>
                    <a:pt x="20622" y="3864"/>
                  </a:moveTo>
                  <a:cubicBezTo>
                    <a:pt x="20543" y="4114"/>
                    <a:pt x="20437" y="4342"/>
                    <a:pt x="20300" y="4548"/>
                  </a:cubicBezTo>
                  <a:cubicBezTo>
                    <a:pt x="20222" y="4680"/>
                    <a:pt x="20159" y="4857"/>
                    <a:pt x="20110" y="5077"/>
                  </a:cubicBezTo>
                  <a:cubicBezTo>
                    <a:pt x="20081" y="5210"/>
                    <a:pt x="20062" y="5401"/>
                    <a:pt x="20052" y="5651"/>
                  </a:cubicBezTo>
                  <a:cubicBezTo>
                    <a:pt x="20023" y="5901"/>
                    <a:pt x="19901" y="6247"/>
                    <a:pt x="19687" y="6688"/>
                  </a:cubicBezTo>
                  <a:cubicBezTo>
                    <a:pt x="19609" y="6864"/>
                    <a:pt x="19561" y="7004"/>
                    <a:pt x="19541" y="7107"/>
                  </a:cubicBezTo>
                  <a:cubicBezTo>
                    <a:pt x="19531" y="7195"/>
                    <a:pt x="19551" y="7298"/>
                    <a:pt x="19599" y="7416"/>
                  </a:cubicBezTo>
                  <a:cubicBezTo>
                    <a:pt x="19619" y="7475"/>
                    <a:pt x="19672" y="7585"/>
                    <a:pt x="19760" y="7747"/>
                  </a:cubicBezTo>
                  <a:cubicBezTo>
                    <a:pt x="19828" y="7879"/>
                    <a:pt x="19872" y="8041"/>
                    <a:pt x="19891" y="8233"/>
                  </a:cubicBezTo>
                  <a:cubicBezTo>
                    <a:pt x="19901" y="8379"/>
                    <a:pt x="19857" y="8504"/>
                    <a:pt x="19760" y="8608"/>
                  </a:cubicBezTo>
                  <a:cubicBezTo>
                    <a:pt x="19634" y="8740"/>
                    <a:pt x="19565" y="8880"/>
                    <a:pt x="19555" y="9027"/>
                  </a:cubicBezTo>
                  <a:cubicBezTo>
                    <a:pt x="19517" y="9262"/>
                    <a:pt x="19561" y="9527"/>
                    <a:pt x="19687" y="9821"/>
                  </a:cubicBezTo>
                  <a:cubicBezTo>
                    <a:pt x="19765" y="9983"/>
                    <a:pt x="19916" y="10233"/>
                    <a:pt x="20140" y="10571"/>
                  </a:cubicBezTo>
                  <a:cubicBezTo>
                    <a:pt x="20373" y="10895"/>
                    <a:pt x="20860" y="11505"/>
                    <a:pt x="21600" y="12402"/>
                  </a:cubicBezTo>
                  <a:cubicBezTo>
                    <a:pt x="21473" y="12785"/>
                    <a:pt x="21298" y="13160"/>
                    <a:pt x="21074" y="13528"/>
                  </a:cubicBezTo>
                  <a:cubicBezTo>
                    <a:pt x="20928" y="13778"/>
                    <a:pt x="20812" y="14028"/>
                    <a:pt x="20724" y="14278"/>
                  </a:cubicBezTo>
                  <a:cubicBezTo>
                    <a:pt x="20695" y="14352"/>
                    <a:pt x="20636" y="14565"/>
                    <a:pt x="20549" y="14918"/>
                  </a:cubicBezTo>
                  <a:cubicBezTo>
                    <a:pt x="20470" y="15197"/>
                    <a:pt x="20203" y="15499"/>
                    <a:pt x="19745" y="15822"/>
                  </a:cubicBezTo>
                  <a:cubicBezTo>
                    <a:pt x="19619" y="15704"/>
                    <a:pt x="19395" y="15682"/>
                    <a:pt x="19073" y="15756"/>
                  </a:cubicBezTo>
                  <a:cubicBezTo>
                    <a:pt x="18879" y="15815"/>
                    <a:pt x="18713" y="16021"/>
                    <a:pt x="18577" y="16374"/>
                  </a:cubicBezTo>
                  <a:lnTo>
                    <a:pt x="18402" y="17080"/>
                  </a:lnTo>
                  <a:cubicBezTo>
                    <a:pt x="15559" y="17934"/>
                    <a:pt x="13874" y="18433"/>
                    <a:pt x="13349" y="18580"/>
                  </a:cubicBezTo>
                  <a:lnTo>
                    <a:pt x="5404" y="20632"/>
                  </a:lnTo>
                  <a:lnTo>
                    <a:pt x="1490" y="21559"/>
                  </a:lnTo>
                  <a:cubicBezTo>
                    <a:pt x="1324" y="19029"/>
                    <a:pt x="1173" y="17301"/>
                    <a:pt x="1037" y="16374"/>
                  </a:cubicBezTo>
                  <a:cubicBezTo>
                    <a:pt x="998" y="16168"/>
                    <a:pt x="959" y="15734"/>
                    <a:pt x="920" y="15072"/>
                  </a:cubicBezTo>
                  <a:cubicBezTo>
                    <a:pt x="813" y="14013"/>
                    <a:pt x="662" y="12402"/>
                    <a:pt x="467" y="10240"/>
                  </a:cubicBezTo>
                  <a:lnTo>
                    <a:pt x="0" y="5121"/>
                  </a:lnTo>
                  <a:cubicBezTo>
                    <a:pt x="136" y="5004"/>
                    <a:pt x="419" y="4754"/>
                    <a:pt x="847" y="4371"/>
                  </a:cubicBezTo>
                  <a:cubicBezTo>
                    <a:pt x="886" y="4327"/>
                    <a:pt x="964" y="4209"/>
                    <a:pt x="1080" y="4018"/>
                  </a:cubicBezTo>
                  <a:cubicBezTo>
                    <a:pt x="1178" y="3842"/>
                    <a:pt x="1285" y="3694"/>
                    <a:pt x="1402" y="3577"/>
                  </a:cubicBezTo>
                  <a:cubicBezTo>
                    <a:pt x="1509" y="3459"/>
                    <a:pt x="1694" y="3246"/>
                    <a:pt x="1957" y="2938"/>
                  </a:cubicBezTo>
                  <a:cubicBezTo>
                    <a:pt x="2045" y="2820"/>
                    <a:pt x="2181" y="2614"/>
                    <a:pt x="2366" y="2320"/>
                  </a:cubicBezTo>
                  <a:lnTo>
                    <a:pt x="2760" y="5121"/>
                  </a:lnTo>
                  <a:cubicBezTo>
                    <a:pt x="3763" y="4636"/>
                    <a:pt x="6489" y="3687"/>
                    <a:pt x="10939" y="2276"/>
                  </a:cubicBezTo>
                  <a:cubicBezTo>
                    <a:pt x="15398" y="863"/>
                    <a:pt x="17691" y="120"/>
                    <a:pt x="17818" y="47"/>
                  </a:cubicBezTo>
                  <a:cubicBezTo>
                    <a:pt x="17934" y="-41"/>
                    <a:pt x="18017" y="-5"/>
                    <a:pt x="18066" y="157"/>
                  </a:cubicBezTo>
                  <a:cubicBezTo>
                    <a:pt x="18105" y="290"/>
                    <a:pt x="18192" y="422"/>
                    <a:pt x="18329" y="554"/>
                  </a:cubicBezTo>
                  <a:cubicBezTo>
                    <a:pt x="18455" y="687"/>
                    <a:pt x="18591" y="775"/>
                    <a:pt x="18737" y="819"/>
                  </a:cubicBezTo>
                  <a:cubicBezTo>
                    <a:pt x="18854" y="878"/>
                    <a:pt x="18927" y="974"/>
                    <a:pt x="18956" y="1106"/>
                  </a:cubicBezTo>
                  <a:lnTo>
                    <a:pt x="19000" y="1569"/>
                  </a:lnTo>
                  <a:cubicBezTo>
                    <a:pt x="19040" y="2010"/>
                    <a:pt x="19156" y="2459"/>
                    <a:pt x="19351" y="2915"/>
                  </a:cubicBezTo>
                  <a:cubicBezTo>
                    <a:pt x="19429" y="3106"/>
                    <a:pt x="19536" y="3224"/>
                    <a:pt x="19672" y="3268"/>
                  </a:cubicBezTo>
                  <a:cubicBezTo>
                    <a:pt x="19760" y="3283"/>
                    <a:pt x="19882" y="3290"/>
                    <a:pt x="20037" y="3290"/>
                  </a:cubicBezTo>
                  <a:cubicBezTo>
                    <a:pt x="20203" y="3349"/>
                    <a:pt x="20397" y="3540"/>
                    <a:pt x="20622" y="3864"/>
                  </a:cubicBezTo>
                  <a:close/>
                  <a:moveTo>
                    <a:pt x="20622" y="386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8" name="AutoShape 135"/>
            <p:cNvSpPr>
              <a:spLocks/>
            </p:cNvSpPr>
            <p:nvPr/>
          </p:nvSpPr>
          <p:spPr bwMode="auto">
            <a:xfrm>
              <a:off x="8246673" y="4004430"/>
              <a:ext cx="8168" cy="17357"/>
            </a:xfrm>
            <a:custGeom>
              <a:avLst/>
              <a:gdLst/>
              <a:ahLst/>
              <a:cxnLst/>
              <a:rect l="0" t="0" r="r" b="b"/>
              <a:pathLst>
                <a:path w="21600" h="21600">
                  <a:moveTo>
                    <a:pt x="21600" y="3766"/>
                  </a:moveTo>
                  <a:cubicBezTo>
                    <a:pt x="21600" y="7950"/>
                    <a:pt x="20053" y="13233"/>
                    <a:pt x="16979" y="19597"/>
                  </a:cubicBezTo>
                  <a:cubicBezTo>
                    <a:pt x="12860" y="20937"/>
                    <a:pt x="9424" y="21600"/>
                    <a:pt x="6691" y="21600"/>
                  </a:cubicBezTo>
                  <a:cubicBezTo>
                    <a:pt x="5666" y="21600"/>
                    <a:pt x="4280" y="20515"/>
                    <a:pt x="2572" y="18340"/>
                  </a:cubicBezTo>
                  <a:cubicBezTo>
                    <a:pt x="864" y="16159"/>
                    <a:pt x="0" y="14736"/>
                    <a:pt x="0" y="14068"/>
                  </a:cubicBezTo>
                  <a:cubicBezTo>
                    <a:pt x="0" y="11554"/>
                    <a:pt x="2230" y="8706"/>
                    <a:pt x="6691" y="5524"/>
                  </a:cubicBezTo>
                  <a:cubicBezTo>
                    <a:pt x="11493" y="2008"/>
                    <a:pt x="16115" y="167"/>
                    <a:pt x="20575" y="0"/>
                  </a:cubicBezTo>
                  <a:cubicBezTo>
                    <a:pt x="21258" y="668"/>
                    <a:pt x="21600" y="1925"/>
                    <a:pt x="21600" y="3766"/>
                  </a:cubicBezTo>
                  <a:close/>
                  <a:moveTo>
                    <a:pt x="21600" y="376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59" name="AutoShape 136"/>
            <p:cNvSpPr>
              <a:spLocks/>
            </p:cNvSpPr>
            <p:nvPr/>
          </p:nvSpPr>
          <p:spPr bwMode="auto">
            <a:xfrm>
              <a:off x="5857515" y="2154364"/>
              <a:ext cx="0" cy="0"/>
            </a:xfrm>
            <a:custGeom>
              <a:avLst/>
              <a:gdLst/>
              <a:ahLst/>
              <a:cxnLst/>
              <a:rect l="0" t="0" r="r" b="b"/>
              <a:pathLst>
                <a:path w="21600" h="21600">
                  <a:moveTo>
                    <a:pt x="10853" y="0"/>
                  </a:moveTo>
                  <a:cubicBezTo>
                    <a:pt x="3688" y="7165"/>
                    <a:pt x="0" y="14435"/>
                    <a:pt x="0" y="21600"/>
                  </a:cubicBezTo>
                  <a:lnTo>
                    <a:pt x="21600" y="21600"/>
                  </a:lnTo>
                  <a:cubicBezTo>
                    <a:pt x="14435" y="14435"/>
                    <a:pt x="10853" y="7165"/>
                    <a:pt x="10853" y="0"/>
                  </a:cubicBezTo>
                  <a:close/>
                  <a:moveTo>
                    <a:pt x="10853"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0" name="AutoShape 137"/>
            <p:cNvSpPr>
              <a:spLocks/>
            </p:cNvSpPr>
            <p:nvPr/>
          </p:nvSpPr>
          <p:spPr bwMode="auto">
            <a:xfrm>
              <a:off x="5367431" y="1941995"/>
              <a:ext cx="12763" cy="15826"/>
            </a:xfrm>
            <a:custGeom>
              <a:avLst/>
              <a:gdLst/>
              <a:ahLst/>
              <a:cxnLst/>
              <a:rect l="0" t="0" r="r" b="b"/>
              <a:pathLst>
                <a:path w="21600" h="21600">
                  <a:moveTo>
                    <a:pt x="3429" y="6922"/>
                  </a:moveTo>
                  <a:cubicBezTo>
                    <a:pt x="6171" y="2308"/>
                    <a:pt x="9144" y="0"/>
                    <a:pt x="12342" y="0"/>
                  </a:cubicBezTo>
                  <a:cubicBezTo>
                    <a:pt x="13715" y="0"/>
                    <a:pt x="15429" y="736"/>
                    <a:pt x="17485" y="2216"/>
                  </a:cubicBezTo>
                  <a:cubicBezTo>
                    <a:pt x="20231" y="4062"/>
                    <a:pt x="21600" y="6183"/>
                    <a:pt x="21600" y="8584"/>
                  </a:cubicBezTo>
                  <a:cubicBezTo>
                    <a:pt x="18171" y="17259"/>
                    <a:pt x="14056" y="21600"/>
                    <a:pt x="9258" y="21600"/>
                  </a:cubicBezTo>
                  <a:cubicBezTo>
                    <a:pt x="6971" y="21600"/>
                    <a:pt x="4801" y="20675"/>
                    <a:pt x="2742" y="18832"/>
                  </a:cubicBezTo>
                  <a:cubicBezTo>
                    <a:pt x="914" y="16983"/>
                    <a:pt x="0" y="15325"/>
                    <a:pt x="0" y="13844"/>
                  </a:cubicBezTo>
                  <a:cubicBezTo>
                    <a:pt x="0" y="13844"/>
                    <a:pt x="3429" y="6922"/>
                    <a:pt x="3429" y="6922"/>
                  </a:cubicBezTo>
                  <a:close/>
                  <a:moveTo>
                    <a:pt x="3429" y="692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1" name="AutoShape 138"/>
            <p:cNvSpPr>
              <a:spLocks/>
            </p:cNvSpPr>
            <p:nvPr/>
          </p:nvSpPr>
          <p:spPr bwMode="auto">
            <a:xfrm>
              <a:off x="4873264" y="2076768"/>
              <a:ext cx="44924" cy="65344"/>
            </a:xfrm>
            <a:custGeom>
              <a:avLst/>
              <a:gdLst/>
              <a:ahLst/>
              <a:cxnLst/>
              <a:rect l="0" t="0" r="r" b="b"/>
              <a:pathLst>
                <a:path w="21600" h="21600">
                  <a:moveTo>
                    <a:pt x="6227" y="0"/>
                  </a:moveTo>
                  <a:cubicBezTo>
                    <a:pt x="7460" y="2549"/>
                    <a:pt x="8757" y="4427"/>
                    <a:pt x="10119" y="5635"/>
                  </a:cubicBezTo>
                  <a:cubicBezTo>
                    <a:pt x="11740" y="7066"/>
                    <a:pt x="13913" y="8027"/>
                    <a:pt x="16638" y="8519"/>
                  </a:cubicBezTo>
                  <a:cubicBezTo>
                    <a:pt x="17481" y="8653"/>
                    <a:pt x="17968" y="9256"/>
                    <a:pt x="18098" y="10330"/>
                  </a:cubicBezTo>
                  <a:cubicBezTo>
                    <a:pt x="18162" y="10912"/>
                    <a:pt x="18259" y="11739"/>
                    <a:pt x="18389" y="12812"/>
                  </a:cubicBezTo>
                  <a:cubicBezTo>
                    <a:pt x="18584" y="13394"/>
                    <a:pt x="19200" y="14087"/>
                    <a:pt x="20237" y="14892"/>
                  </a:cubicBezTo>
                  <a:cubicBezTo>
                    <a:pt x="21146" y="15518"/>
                    <a:pt x="21600" y="16278"/>
                    <a:pt x="21600" y="17172"/>
                  </a:cubicBezTo>
                  <a:cubicBezTo>
                    <a:pt x="21600" y="17798"/>
                    <a:pt x="20271" y="18491"/>
                    <a:pt x="17611" y="19252"/>
                  </a:cubicBezTo>
                  <a:cubicBezTo>
                    <a:pt x="17091" y="19520"/>
                    <a:pt x="16508" y="20035"/>
                    <a:pt x="15859" y="20795"/>
                  </a:cubicBezTo>
                  <a:cubicBezTo>
                    <a:pt x="15471" y="21331"/>
                    <a:pt x="14854" y="21600"/>
                    <a:pt x="14011" y="21600"/>
                  </a:cubicBezTo>
                  <a:cubicBezTo>
                    <a:pt x="13103" y="21600"/>
                    <a:pt x="12227" y="21175"/>
                    <a:pt x="11384" y="20325"/>
                  </a:cubicBezTo>
                  <a:cubicBezTo>
                    <a:pt x="10606" y="19431"/>
                    <a:pt x="9828" y="18984"/>
                    <a:pt x="9048" y="18984"/>
                  </a:cubicBezTo>
                  <a:lnTo>
                    <a:pt x="2822" y="18849"/>
                  </a:lnTo>
                  <a:cubicBezTo>
                    <a:pt x="2432" y="17821"/>
                    <a:pt x="2173" y="16748"/>
                    <a:pt x="2044" y="15629"/>
                  </a:cubicBezTo>
                  <a:cubicBezTo>
                    <a:pt x="2044" y="14378"/>
                    <a:pt x="1978" y="13371"/>
                    <a:pt x="1849" y="12611"/>
                  </a:cubicBezTo>
                  <a:cubicBezTo>
                    <a:pt x="1719" y="11538"/>
                    <a:pt x="1363" y="10598"/>
                    <a:pt x="778" y="9793"/>
                  </a:cubicBezTo>
                  <a:cubicBezTo>
                    <a:pt x="259" y="9078"/>
                    <a:pt x="0" y="8541"/>
                    <a:pt x="0" y="8184"/>
                  </a:cubicBezTo>
                  <a:cubicBezTo>
                    <a:pt x="0" y="7289"/>
                    <a:pt x="844" y="5746"/>
                    <a:pt x="2530" y="3555"/>
                  </a:cubicBezTo>
                  <a:cubicBezTo>
                    <a:pt x="4087" y="1498"/>
                    <a:pt x="5190" y="313"/>
                    <a:pt x="5838" y="0"/>
                  </a:cubicBezTo>
                  <a:cubicBezTo>
                    <a:pt x="5838" y="0"/>
                    <a:pt x="6227" y="0"/>
                    <a:pt x="6227" y="0"/>
                  </a:cubicBezTo>
                  <a:close/>
                  <a:moveTo>
                    <a:pt x="6227"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2" name="AutoShape 139"/>
            <p:cNvSpPr>
              <a:spLocks/>
            </p:cNvSpPr>
            <p:nvPr/>
          </p:nvSpPr>
          <p:spPr bwMode="auto">
            <a:xfrm>
              <a:off x="4942692" y="2121692"/>
              <a:ext cx="26546" cy="33183"/>
            </a:xfrm>
            <a:custGeom>
              <a:avLst/>
              <a:gdLst/>
              <a:ahLst/>
              <a:cxnLst/>
              <a:rect l="0" t="0" r="r" b="b"/>
              <a:pathLst>
                <a:path w="21600" h="21600">
                  <a:moveTo>
                    <a:pt x="3792" y="0"/>
                  </a:moveTo>
                  <a:cubicBezTo>
                    <a:pt x="5001" y="0"/>
                    <a:pt x="7364" y="702"/>
                    <a:pt x="10882" y="2107"/>
                  </a:cubicBezTo>
                  <a:cubicBezTo>
                    <a:pt x="12531" y="2721"/>
                    <a:pt x="14784" y="3336"/>
                    <a:pt x="17642" y="3950"/>
                  </a:cubicBezTo>
                  <a:cubicBezTo>
                    <a:pt x="18082" y="4127"/>
                    <a:pt x="18851" y="5662"/>
                    <a:pt x="19951" y="8561"/>
                  </a:cubicBezTo>
                  <a:cubicBezTo>
                    <a:pt x="21051" y="11458"/>
                    <a:pt x="21600" y="13390"/>
                    <a:pt x="21600" y="14357"/>
                  </a:cubicBezTo>
                  <a:cubicBezTo>
                    <a:pt x="21600" y="16374"/>
                    <a:pt x="20611" y="18130"/>
                    <a:pt x="18632" y="19624"/>
                  </a:cubicBezTo>
                  <a:cubicBezTo>
                    <a:pt x="16874" y="20941"/>
                    <a:pt x="15004" y="21600"/>
                    <a:pt x="13025" y="21600"/>
                  </a:cubicBezTo>
                  <a:cubicBezTo>
                    <a:pt x="6100" y="21600"/>
                    <a:pt x="1758" y="20941"/>
                    <a:pt x="0" y="19624"/>
                  </a:cubicBezTo>
                  <a:cubicBezTo>
                    <a:pt x="3626" y="14971"/>
                    <a:pt x="5441" y="12556"/>
                    <a:pt x="5441" y="12381"/>
                  </a:cubicBezTo>
                  <a:cubicBezTo>
                    <a:pt x="5441" y="11766"/>
                    <a:pt x="5056" y="10493"/>
                    <a:pt x="4287" y="8561"/>
                  </a:cubicBezTo>
                  <a:cubicBezTo>
                    <a:pt x="3517" y="6718"/>
                    <a:pt x="3132" y="5445"/>
                    <a:pt x="3132" y="4742"/>
                  </a:cubicBezTo>
                  <a:cubicBezTo>
                    <a:pt x="3132" y="4742"/>
                    <a:pt x="3792" y="0"/>
                    <a:pt x="3792" y="0"/>
                  </a:cubicBezTo>
                  <a:close/>
                  <a:moveTo>
                    <a:pt x="3792"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3" name="AutoShape 140"/>
            <p:cNvSpPr>
              <a:spLocks/>
            </p:cNvSpPr>
            <p:nvPr/>
          </p:nvSpPr>
          <p:spPr bwMode="auto">
            <a:xfrm>
              <a:off x="4897768" y="2325893"/>
              <a:ext cx="21441" cy="10210"/>
            </a:xfrm>
            <a:custGeom>
              <a:avLst/>
              <a:gdLst/>
              <a:ahLst/>
              <a:cxnLst/>
              <a:rect l="0" t="0" r="r" b="b"/>
              <a:pathLst>
                <a:path w="21600" h="21600">
                  <a:moveTo>
                    <a:pt x="7066" y="0"/>
                  </a:moveTo>
                  <a:cubicBezTo>
                    <a:pt x="9219" y="0"/>
                    <a:pt x="14063" y="2256"/>
                    <a:pt x="21600" y="6772"/>
                  </a:cubicBezTo>
                  <a:lnTo>
                    <a:pt x="21198" y="12286"/>
                  </a:lnTo>
                  <a:cubicBezTo>
                    <a:pt x="18371" y="13975"/>
                    <a:pt x="15409" y="16376"/>
                    <a:pt x="12314" y="19481"/>
                  </a:cubicBezTo>
                  <a:cubicBezTo>
                    <a:pt x="10968" y="20896"/>
                    <a:pt x="8882" y="21600"/>
                    <a:pt x="6057" y="21600"/>
                  </a:cubicBezTo>
                  <a:cubicBezTo>
                    <a:pt x="2019" y="21600"/>
                    <a:pt x="0" y="17510"/>
                    <a:pt x="0" y="9318"/>
                  </a:cubicBezTo>
                  <a:cubicBezTo>
                    <a:pt x="0" y="6772"/>
                    <a:pt x="1009" y="4516"/>
                    <a:pt x="3028" y="2538"/>
                  </a:cubicBezTo>
                  <a:cubicBezTo>
                    <a:pt x="4643" y="844"/>
                    <a:pt x="5988" y="0"/>
                    <a:pt x="7066" y="0"/>
                  </a:cubicBezTo>
                  <a:close/>
                  <a:moveTo>
                    <a:pt x="7066"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4" name="AutoShape 141"/>
            <p:cNvSpPr>
              <a:spLocks/>
            </p:cNvSpPr>
            <p:nvPr/>
          </p:nvSpPr>
          <p:spPr bwMode="auto">
            <a:xfrm>
              <a:off x="4387264" y="2321809"/>
              <a:ext cx="69429" cy="25015"/>
            </a:xfrm>
            <a:custGeom>
              <a:avLst/>
              <a:gdLst/>
              <a:ahLst/>
              <a:cxnLst/>
              <a:rect l="0" t="0" r="r" b="b"/>
              <a:pathLst>
                <a:path w="21600" h="21600">
                  <a:moveTo>
                    <a:pt x="13723" y="3863"/>
                  </a:moveTo>
                  <a:cubicBezTo>
                    <a:pt x="14485" y="6321"/>
                    <a:pt x="15036" y="7551"/>
                    <a:pt x="15374" y="7551"/>
                  </a:cubicBezTo>
                  <a:cubicBezTo>
                    <a:pt x="15798" y="7551"/>
                    <a:pt x="16116" y="7141"/>
                    <a:pt x="16327" y="6321"/>
                  </a:cubicBezTo>
                  <a:cubicBezTo>
                    <a:pt x="16582" y="5385"/>
                    <a:pt x="16835" y="4917"/>
                    <a:pt x="17090" y="4917"/>
                  </a:cubicBezTo>
                  <a:cubicBezTo>
                    <a:pt x="17640" y="4917"/>
                    <a:pt x="18551" y="6614"/>
                    <a:pt x="19821" y="10011"/>
                  </a:cubicBezTo>
                  <a:cubicBezTo>
                    <a:pt x="21008" y="13172"/>
                    <a:pt x="21600" y="15102"/>
                    <a:pt x="21600" y="15804"/>
                  </a:cubicBezTo>
                  <a:cubicBezTo>
                    <a:pt x="21600" y="17445"/>
                    <a:pt x="21092" y="18907"/>
                    <a:pt x="20076" y="20196"/>
                  </a:cubicBezTo>
                  <a:cubicBezTo>
                    <a:pt x="19271" y="21131"/>
                    <a:pt x="18636" y="21600"/>
                    <a:pt x="18170" y="21600"/>
                  </a:cubicBezTo>
                  <a:cubicBezTo>
                    <a:pt x="17662" y="21600"/>
                    <a:pt x="16941" y="20780"/>
                    <a:pt x="16010" y="19141"/>
                  </a:cubicBezTo>
                  <a:cubicBezTo>
                    <a:pt x="15798" y="18672"/>
                    <a:pt x="15608" y="18322"/>
                    <a:pt x="15438" y="18087"/>
                  </a:cubicBezTo>
                  <a:cubicBezTo>
                    <a:pt x="15142" y="17503"/>
                    <a:pt x="14929" y="17093"/>
                    <a:pt x="14803" y="16858"/>
                  </a:cubicBezTo>
                  <a:cubicBezTo>
                    <a:pt x="14718" y="16858"/>
                    <a:pt x="14655" y="16800"/>
                    <a:pt x="14612" y="16683"/>
                  </a:cubicBezTo>
                  <a:cubicBezTo>
                    <a:pt x="13384" y="15979"/>
                    <a:pt x="10948" y="15044"/>
                    <a:pt x="7306" y="13872"/>
                  </a:cubicBezTo>
                  <a:cubicBezTo>
                    <a:pt x="2436" y="12235"/>
                    <a:pt x="0" y="10302"/>
                    <a:pt x="0" y="8078"/>
                  </a:cubicBezTo>
                  <a:cubicBezTo>
                    <a:pt x="0" y="5854"/>
                    <a:pt x="975" y="4565"/>
                    <a:pt x="2923" y="4213"/>
                  </a:cubicBezTo>
                  <a:cubicBezTo>
                    <a:pt x="4320" y="3980"/>
                    <a:pt x="5337" y="4097"/>
                    <a:pt x="5972" y="4565"/>
                  </a:cubicBezTo>
                  <a:cubicBezTo>
                    <a:pt x="7370" y="4917"/>
                    <a:pt x="8555" y="4273"/>
                    <a:pt x="9529" y="2634"/>
                  </a:cubicBezTo>
                  <a:cubicBezTo>
                    <a:pt x="10588" y="879"/>
                    <a:pt x="11393" y="0"/>
                    <a:pt x="11944" y="0"/>
                  </a:cubicBezTo>
                  <a:cubicBezTo>
                    <a:pt x="12367" y="0"/>
                    <a:pt x="12960" y="1289"/>
                    <a:pt x="13723" y="3863"/>
                  </a:cubicBezTo>
                  <a:close/>
                  <a:moveTo>
                    <a:pt x="13723" y="386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5" name="AutoShape 142"/>
            <p:cNvSpPr>
              <a:spLocks/>
            </p:cNvSpPr>
            <p:nvPr/>
          </p:nvSpPr>
          <p:spPr bwMode="auto">
            <a:xfrm>
              <a:off x="4530205" y="2374902"/>
              <a:ext cx="12252" cy="15826"/>
            </a:xfrm>
            <a:custGeom>
              <a:avLst/>
              <a:gdLst/>
              <a:ahLst/>
              <a:cxnLst/>
              <a:rect l="0" t="0" r="r" b="b"/>
              <a:pathLst>
                <a:path w="21600" h="21600">
                  <a:moveTo>
                    <a:pt x="11149" y="0"/>
                  </a:moveTo>
                  <a:cubicBezTo>
                    <a:pt x="13238" y="0"/>
                    <a:pt x="15330" y="736"/>
                    <a:pt x="17419" y="2214"/>
                  </a:cubicBezTo>
                  <a:cubicBezTo>
                    <a:pt x="19742" y="3876"/>
                    <a:pt x="20903" y="5722"/>
                    <a:pt x="20903" y="7752"/>
                  </a:cubicBezTo>
                  <a:lnTo>
                    <a:pt x="21600" y="15786"/>
                  </a:lnTo>
                  <a:cubicBezTo>
                    <a:pt x="19045" y="19662"/>
                    <a:pt x="15214" y="21600"/>
                    <a:pt x="10104" y="21600"/>
                  </a:cubicBezTo>
                  <a:cubicBezTo>
                    <a:pt x="7549" y="21600"/>
                    <a:pt x="5226" y="20677"/>
                    <a:pt x="3137" y="18831"/>
                  </a:cubicBezTo>
                  <a:cubicBezTo>
                    <a:pt x="1044" y="16982"/>
                    <a:pt x="0" y="15231"/>
                    <a:pt x="0" y="13566"/>
                  </a:cubicBezTo>
                  <a:cubicBezTo>
                    <a:pt x="0" y="4520"/>
                    <a:pt x="3715" y="0"/>
                    <a:pt x="11149" y="0"/>
                  </a:cubicBezTo>
                  <a:close/>
                  <a:moveTo>
                    <a:pt x="11149"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6" name="AutoShape 143"/>
            <p:cNvSpPr>
              <a:spLocks/>
            </p:cNvSpPr>
            <p:nvPr/>
          </p:nvSpPr>
          <p:spPr bwMode="auto">
            <a:xfrm>
              <a:off x="4448524" y="2350398"/>
              <a:ext cx="67897" cy="34204"/>
            </a:xfrm>
            <a:custGeom>
              <a:avLst/>
              <a:gdLst/>
              <a:ahLst/>
              <a:cxnLst/>
              <a:rect l="0" t="0" r="r" b="b"/>
              <a:pathLst>
                <a:path w="21600" h="21600">
                  <a:moveTo>
                    <a:pt x="0" y="3986"/>
                  </a:moveTo>
                  <a:cubicBezTo>
                    <a:pt x="0" y="2700"/>
                    <a:pt x="259" y="2058"/>
                    <a:pt x="778" y="2058"/>
                  </a:cubicBezTo>
                  <a:cubicBezTo>
                    <a:pt x="1427" y="2058"/>
                    <a:pt x="2508" y="3472"/>
                    <a:pt x="4021" y="6300"/>
                  </a:cubicBezTo>
                  <a:cubicBezTo>
                    <a:pt x="4108" y="6472"/>
                    <a:pt x="4259" y="6686"/>
                    <a:pt x="4475" y="6944"/>
                  </a:cubicBezTo>
                  <a:cubicBezTo>
                    <a:pt x="4648" y="7029"/>
                    <a:pt x="4865" y="7201"/>
                    <a:pt x="5124" y="7458"/>
                  </a:cubicBezTo>
                  <a:cubicBezTo>
                    <a:pt x="5859" y="8057"/>
                    <a:pt x="6443" y="8357"/>
                    <a:pt x="6875" y="8357"/>
                  </a:cubicBezTo>
                  <a:cubicBezTo>
                    <a:pt x="7264" y="8357"/>
                    <a:pt x="7827" y="8014"/>
                    <a:pt x="8562" y="7329"/>
                  </a:cubicBezTo>
                  <a:cubicBezTo>
                    <a:pt x="9340" y="6643"/>
                    <a:pt x="10032" y="6300"/>
                    <a:pt x="10638" y="6300"/>
                  </a:cubicBezTo>
                  <a:cubicBezTo>
                    <a:pt x="11632" y="6300"/>
                    <a:pt x="12086" y="7072"/>
                    <a:pt x="12000" y="8615"/>
                  </a:cubicBezTo>
                  <a:cubicBezTo>
                    <a:pt x="11956" y="10072"/>
                    <a:pt x="12281" y="10801"/>
                    <a:pt x="12973" y="10801"/>
                  </a:cubicBezTo>
                  <a:cubicBezTo>
                    <a:pt x="13838" y="10801"/>
                    <a:pt x="14270" y="10030"/>
                    <a:pt x="14270" y="8487"/>
                  </a:cubicBezTo>
                  <a:cubicBezTo>
                    <a:pt x="14270" y="7886"/>
                    <a:pt x="14205" y="7372"/>
                    <a:pt x="14075" y="6944"/>
                  </a:cubicBezTo>
                  <a:cubicBezTo>
                    <a:pt x="13946" y="6428"/>
                    <a:pt x="13881" y="5785"/>
                    <a:pt x="13881" y="5015"/>
                  </a:cubicBezTo>
                  <a:cubicBezTo>
                    <a:pt x="13881" y="3902"/>
                    <a:pt x="14011" y="2914"/>
                    <a:pt x="14270" y="2058"/>
                  </a:cubicBezTo>
                  <a:cubicBezTo>
                    <a:pt x="14659" y="686"/>
                    <a:pt x="15286" y="0"/>
                    <a:pt x="16151" y="0"/>
                  </a:cubicBezTo>
                  <a:cubicBezTo>
                    <a:pt x="16843" y="0"/>
                    <a:pt x="17341" y="599"/>
                    <a:pt x="17643" y="1801"/>
                  </a:cubicBezTo>
                  <a:cubicBezTo>
                    <a:pt x="17816" y="2571"/>
                    <a:pt x="18119" y="3986"/>
                    <a:pt x="18551" y="6043"/>
                  </a:cubicBezTo>
                  <a:cubicBezTo>
                    <a:pt x="18984" y="7500"/>
                    <a:pt x="19654" y="8315"/>
                    <a:pt x="20562" y="8487"/>
                  </a:cubicBezTo>
                  <a:cubicBezTo>
                    <a:pt x="21254" y="8658"/>
                    <a:pt x="21600" y="9643"/>
                    <a:pt x="21600" y="11443"/>
                  </a:cubicBezTo>
                  <a:cubicBezTo>
                    <a:pt x="21600" y="12387"/>
                    <a:pt x="21146" y="13415"/>
                    <a:pt x="20237" y="14529"/>
                  </a:cubicBezTo>
                  <a:cubicBezTo>
                    <a:pt x="19460" y="15472"/>
                    <a:pt x="18616" y="16158"/>
                    <a:pt x="17708" y="16585"/>
                  </a:cubicBezTo>
                  <a:cubicBezTo>
                    <a:pt x="16800" y="16929"/>
                    <a:pt x="16086" y="17915"/>
                    <a:pt x="15568" y="19543"/>
                  </a:cubicBezTo>
                  <a:cubicBezTo>
                    <a:pt x="15048" y="20914"/>
                    <a:pt x="14529" y="21600"/>
                    <a:pt x="14011" y="21600"/>
                  </a:cubicBezTo>
                  <a:cubicBezTo>
                    <a:pt x="13751" y="21600"/>
                    <a:pt x="13470" y="21344"/>
                    <a:pt x="13168" y="20828"/>
                  </a:cubicBezTo>
                  <a:cubicBezTo>
                    <a:pt x="12692" y="19972"/>
                    <a:pt x="12432" y="19500"/>
                    <a:pt x="12389" y="19415"/>
                  </a:cubicBezTo>
                  <a:cubicBezTo>
                    <a:pt x="12173" y="19072"/>
                    <a:pt x="11892" y="18942"/>
                    <a:pt x="11546" y="19029"/>
                  </a:cubicBezTo>
                  <a:cubicBezTo>
                    <a:pt x="11070" y="19115"/>
                    <a:pt x="10638" y="19157"/>
                    <a:pt x="10249" y="19157"/>
                  </a:cubicBezTo>
                  <a:cubicBezTo>
                    <a:pt x="9643" y="19072"/>
                    <a:pt x="9059" y="18514"/>
                    <a:pt x="8497" y="17487"/>
                  </a:cubicBezTo>
                  <a:cubicBezTo>
                    <a:pt x="7676" y="15944"/>
                    <a:pt x="7200" y="15085"/>
                    <a:pt x="7070" y="14914"/>
                  </a:cubicBezTo>
                  <a:cubicBezTo>
                    <a:pt x="5600" y="13886"/>
                    <a:pt x="4324" y="12772"/>
                    <a:pt x="3243" y="11572"/>
                  </a:cubicBezTo>
                  <a:cubicBezTo>
                    <a:pt x="1081" y="9342"/>
                    <a:pt x="0" y="6815"/>
                    <a:pt x="0" y="3986"/>
                  </a:cubicBezTo>
                  <a:close/>
                  <a:moveTo>
                    <a:pt x="0" y="398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7" name="AutoShape 144"/>
            <p:cNvSpPr>
              <a:spLocks/>
            </p:cNvSpPr>
            <p:nvPr/>
          </p:nvSpPr>
          <p:spPr bwMode="auto">
            <a:xfrm>
              <a:off x="4579213" y="2395322"/>
              <a:ext cx="61260" cy="52071"/>
            </a:xfrm>
            <a:custGeom>
              <a:avLst/>
              <a:gdLst/>
              <a:ahLst/>
              <a:cxnLst/>
              <a:rect l="0" t="0" r="r" b="b"/>
              <a:pathLst>
                <a:path w="21600" h="21600">
                  <a:moveTo>
                    <a:pt x="17223" y="5147"/>
                  </a:moveTo>
                  <a:cubicBezTo>
                    <a:pt x="17270" y="5204"/>
                    <a:pt x="18012" y="5850"/>
                    <a:pt x="19447" y="7088"/>
                  </a:cubicBezTo>
                  <a:cubicBezTo>
                    <a:pt x="20882" y="8438"/>
                    <a:pt x="21600" y="9365"/>
                    <a:pt x="21600" y="9872"/>
                  </a:cubicBezTo>
                  <a:cubicBezTo>
                    <a:pt x="21600" y="10547"/>
                    <a:pt x="21050" y="11531"/>
                    <a:pt x="19950" y="12825"/>
                  </a:cubicBezTo>
                  <a:cubicBezTo>
                    <a:pt x="18802" y="14119"/>
                    <a:pt x="18228" y="15215"/>
                    <a:pt x="18228" y="16115"/>
                  </a:cubicBezTo>
                  <a:cubicBezTo>
                    <a:pt x="18228" y="16678"/>
                    <a:pt x="18443" y="17297"/>
                    <a:pt x="18873" y="17972"/>
                  </a:cubicBezTo>
                  <a:cubicBezTo>
                    <a:pt x="19256" y="18590"/>
                    <a:pt x="19447" y="19210"/>
                    <a:pt x="19447" y="19828"/>
                  </a:cubicBezTo>
                  <a:cubicBezTo>
                    <a:pt x="19447" y="20334"/>
                    <a:pt x="19280" y="20756"/>
                    <a:pt x="18945" y="21094"/>
                  </a:cubicBezTo>
                  <a:cubicBezTo>
                    <a:pt x="18610" y="21432"/>
                    <a:pt x="18228" y="21600"/>
                    <a:pt x="17797" y="21600"/>
                  </a:cubicBezTo>
                  <a:cubicBezTo>
                    <a:pt x="17558" y="21600"/>
                    <a:pt x="17366" y="21347"/>
                    <a:pt x="17223" y="20841"/>
                  </a:cubicBezTo>
                  <a:cubicBezTo>
                    <a:pt x="17031" y="20109"/>
                    <a:pt x="16673" y="19462"/>
                    <a:pt x="16146" y="18900"/>
                  </a:cubicBezTo>
                  <a:cubicBezTo>
                    <a:pt x="15907" y="18675"/>
                    <a:pt x="15476" y="18449"/>
                    <a:pt x="14855" y="18225"/>
                  </a:cubicBezTo>
                  <a:cubicBezTo>
                    <a:pt x="14185" y="18000"/>
                    <a:pt x="13731" y="17747"/>
                    <a:pt x="13491" y="17466"/>
                  </a:cubicBezTo>
                  <a:cubicBezTo>
                    <a:pt x="13156" y="17072"/>
                    <a:pt x="12438" y="16425"/>
                    <a:pt x="11338" y="15526"/>
                  </a:cubicBezTo>
                  <a:cubicBezTo>
                    <a:pt x="10573" y="14906"/>
                    <a:pt x="10070" y="14288"/>
                    <a:pt x="9831" y="13669"/>
                  </a:cubicBezTo>
                  <a:cubicBezTo>
                    <a:pt x="8588" y="10800"/>
                    <a:pt x="7129" y="9422"/>
                    <a:pt x="5454" y="9534"/>
                  </a:cubicBezTo>
                  <a:cubicBezTo>
                    <a:pt x="3923" y="9590"/>
                    <a:pt x="2774" y="9590"/>
                    <a:pt x="2009" y="9534"/>
                  </a:cubicBezTo>
                  <a:cubicBezTo>
                    <a:pt x="670" y="9478"/>
                    <a:pt x="0" y="8973"/>
                    <a:pt x="0" y="8015"/>
                  </a:cubicBezTo>
                  <a:cubicBezTo>
                    <a:pt x="0" y="7566"/>
                    <a:pt x="215" y="6695"/>
                    <a:pt x="646" y="5401"/>
                  </a:cubicBezTo>
                  <a:cubicBezTo>
                    <a:pt x="1076" y="4106"/>
                    <a:pt x="1292" y="3263"/>
                    <a:pt x="1292" y="2869"/>
                  </a:cubicBezTo>
                  <a:cubicBezTo>
                    <a:pt x="1292" y="1969"/>
                    <a:pt x="1627" y="1238"/>
                    <a:pt x="2297" y="675"/>
                  </a:cubicBezTo>
                  <a:cubicBezTo>
                    <a:pt x="2870" y="225"/>
                    <a:pt x="3492" y="0"/>
                    <a:pt x="4162" y="0"/>
                  </a:cubicBezTo>
                  <a:cubicBezTo>
                    <a:pt x="4688" y="0"/>
                    <a:pt x="5478" y="253"/>
                    <a:pt x="6530" y="760"/>
                  </a:cubicBezTo>
                  <a:cubicBezTo>
                    <a:pt x="7583" y="1266"/>
                    <a:pt x="8324" y="1519"/>
                    <a:pt x="8755" y="1519"/>
                  </a:cubicBezTo>
                  <a:cubicBezTo>
                    <a:pt x="8803" y="1519"/>
                    <a:pt x="9162" y="1266"/>
                    <a:pt x="9831" y="760"/>
                  </a:cubicBezTo>
                  <a:cubicBezTo>
                    <a:pt x="10501" y="253"/>
                    <a:pt x="11099" y="0"/>
                    <a:pt x="11626" y="0"/>
                  </a:cubicBezTo>
                  <a:cubicBezTo>
                    <a:pt x="12487" y="0"/>
                    <a:pt x="13324" y="816"/>
                    <a:pt x="14137" y="2447"/>
                  </a:cubicBezTo>
                  <a:cubicBezTo>
                    <a:pt x="14281" y="2785"/>
                    <a:pt x="14759" y="3235"/>
                    <a:pt x="15572" y="3797"/>
                  </a:cubicBezTo>
                  <a:cubicBezTo>
                    <a:pt x="16481" y="4472"/>
                    <a:pt x="17031" y="4922"/>
                    <a:pt x="17223" y="5147"/>
                  </a:cubicBezTo>
                  <a:close/>
                  <a:moveTo>
                    <a:pt x="17223" y="514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8" name="AutoShape 145"/>
            <p:cNvSpPr>
              <a:spLocks/>
            </p:cNvSpPr>
            <p:nvPr/>
          </p:nvSpPr>
          <p:spPr bwMode="auto">
            <a:xfrm>
              <a:off x="4959028" y="2562767"/>
              <a:ext cx="97506" cy="63302"/>
            </a:xfrm>
            <a:custGeom>
              <a:avLst/>
              <a:gdLst/>
              <a:ahLst/>
              <a:cxnLst/>
              <a:rect l="0" t="0" r="r" b="b"/>
              <a:pathLst>
                <a:path w="21600" h="21600">
                  <a:moveTo>
                    <a:pt x="2485" y="2014"/>
                  </a:moveTo>
                  <a:cubicBezTo>
                    <a:pt x="2485" y="1134"/>
                    <a:pt x="2711" y="695"/>
                    <a:pt x="3163" y="695"/>
                  </a:cubicBezTo>
                  <a:cubicBezTo>
                    <a:pt x="3314" y="695"/>
                    <a:pt x="3525" y="787"/>
                    <a:pt x="3796" y="972"/>
                  </a:cubicBezTo>
                  <a:cubicBezTo>
                    <a:pt x="3886" y="972"/>
                    <a:pt x="4383" y="810"/>
                    <a:pt x="5287" y="486"/>
                  </a:cubicBezTo>
                  <a:cubicBezTo>
                    <a:pt x="6221" y="162"/>
                    <a:pt x="6839" y="0"/>
                    <a:pt x="7140" y="0"/>
                  </a:cubicBezTo>
                  <a:cubicBezTo>
                    <a:pt x="7652" y="0"/>
                    <a:pt x="8149" y="185"/>
                    <a:pt x="8631" y="556"/>
                  </a:cubicBezTo>
                  <a:cubicBezTo>
                    <a:pt x="9173" y="972"/>
                    <a:pt x="9444" y="1482"/>
                    <a:pt x="9444" y="2084"/>
                  </a:cubicBezTo>
                  <a:cubicBezTo>
                    <a:pt x="9444" y="2269"/>
                    <a:pt x="9248" y="2940"/>
                    <a:pt x="8857" y="4098"/>
                  </a:cubicBezTo>
                  <a:cubicBezTo>
                    <a:pt x="8465" y="5209"/>
                    <a:pt x="8270" y="6019"/>
                    <a:pt x="8270" y="6529"/>
                  </a:cubicBezTo>
                  <a:lnTo>
                    <a:pt x="8360" y="6599"/>
                  </a:lnTo>
                  <a:cubicBezTo>
                    <a:pt x="8571" y="6599"/>
                    <a:pt x="8947" y="7131"/>
                    <a:pt x="9489" y="8196"/>
                  </a:cubicBezTo>
                  <a:cubicBezTo>
                    <a:pt x="9520" y="8196"/>
                    <a:pt x="9550" y="8196"/>
                    <a:pt x="9580" y="8196"/>
                  </a:cubicBezTo>
                  <a:cubicBezTo>
                    <a:pt x="10152" y="7872"/>
                    <a:pt x="10680" y="6575"/>
                    <a:pt x="11161" y="4306"/>
                  </a:cubicBezTo>
                  <a:cubicBezTo>
                    <a:pt x="11674" y="1991"/>
                    <a:pt x="12367" y="834"/>
                    <a:pt x="13240" y="834"/>
                  </a:cubicBezTo>
                  <a:cubicBezTo>
                    <a:pt x="14174" y="834"/>
                    <a:pt x="14641" y="1436"/>
                    <a:pt x="14641" y="2640"/>
                  </a:cubicBezTo>
                  <a:cubicBezTo>
                    <a:pt x="14641" y="3195"/>
                    <a:pt x="14475" y="3774"/>
                    <a:pt x="14144" y="4376"/>
                  </a:cubicBezTo>
                  <a:cubicBezTo>
                    <a:pt x="13963" y="4700"/>
                    <a:pt x="13662" y="5209"/>
                    <a:pt x="13240" y="5904"/>
                  </a:cubicBezTo>
                  <a:lnTo>
                    <a:pt x="13240" y="7362"/>
                  </a:lnTo>
                  <a:lnTo>
                    <a:pt x="13647" y="7362"/>
                  </a:lnTo>
                  <a:cubicBezTo>
                    <a:pt x="14370" y="6622"/>
                    <a:pt x="14897" y="6251"/>
                    <a:pt x="15228" y="6251"/>
                  </a:cubicBezTo>
                  <a:cubicBezTo>
                    <a:pt x="15469" y="6251"/>
                    <a:pt x="15771" y="6460"/>
                    <a:pt x="16132" y="6876"/>
                  </a:cubicBezTo>
                  <a:cubicBezTo>
                    <a:pt x="16493" y="7293"/>
                    <a:pt x="16704" y="7502"/>
                    <a:pt x="16765" y="7502"/>
                  </a:cubicBezTo>
                  <a:cubicBezTo>
                    <a:pt x="16855" y="7502"/>
                    <a:pt x="17126" y="7246"/>
                    <a:pt x="17578" y="6737"/>
                  </a:cubicBezTo>
                  <a:cubicBezTo>
                    <a:pt x="18000" y="6181"/>
                    <a:pt x="18316" y="5904"/>
                    <a:pt x="18527" y="5904"/>
                  </a:cubicBezTo>
                  <a:cubicBezTo>
                    <a:pt x="19160" y="5904"/>
                    <a:pt x="19476" y="6367"/>
                    <a:pt x="19476" y="7293"/>
                  </a:cubicBezTo>
                  <a:cubicBezTo>
                    <a:pt x="19476" y="8219"/>
                    <a:pt x="19145" y="8983"/>
                    <a:pt x="18482" y="9585"/>
                  </a:cubicBezTo>
                  <a:cubicBezTo>
                    <a:pt x="17789" y="10234"/>
                    <a:pt x="17443" y="10766"/>
                    <a:pt x="17443" y="11182"/>
                  </a:cubicBezTo>
                  <a:cubicBezTo>
                    <a:pt x="17443" y="11784"/>
                    <a:pt x="17639" y="12085"/>
                    <a:pt x="18030" y="12085"/>
                  </a:cubicBezTo>
                  <a:cubicBezTo>
                    <a:pt x="18180" y="12085"/>
                    <a:pt x="18542" y="11877"/>
                    <a:pt x="19115" y="11460"/>
                  </a:cubicBezTo>
                  <a:cubicBezTo>
                    <a:pt x="19687" y="10997"/>
                    <a:pt x="20063" y="10766"/>
                    <a:pt x="20244" y="10766"/>
                  </a:cubicBezTo>
                  <a:cubicBezTo>
                    <a:pt x="20425" y="10766"/>
                    <a:pt x="20666" y="10858"/>
                    <a:pt x="20967" y="11043"/>
                  </a:cubicBezTo>
                  <a:cubicBezTo>
                    <a:pt x="21389" y="11322"/>
                    <a:pt x="21600" y="11692"/>
                    <a:pt x="21600" y="12155"/>
                  </a:cubicBezTo>
                  <a:cubicBezTo>
                    <a:pt x="21600" y="12988"/>
                    <a:pt x="21118" y="13821"/>
                    <a:pt x="20154" y="14654"/>
                  </a:cubicBezTo>
                  <a:cubicBezTo>
                    <a:pt x="19190" y="15534"/>
                    <a:pt x="18708" y="16414"/>
                    <a:pt x="18708" y="17293"/>
                  </a:cubicBezTo>
                  <a:cubicBezTo>
                    <a:pt x="18708" y="17572"/>
                    <a:pt x="18843" y="17942"/>
                    <a:pt x="19115" y="18405"/>
                  </a:cubicBezTo>
                  <a:cubicBezTo>
                    <a:pt x="19356" y="18868"/>
                    <a:pt x="19476" y="19215"/>
                    <a:pt x="19476" y="19447"/>
                  </a:cubicBezTo>
                  <a:cubicBezTo>
                    <a:pt x="19476" y="19864"/>
                    <a:pt x="19325" y="20304"/>
                    <a:pt x="19024" y="20766"/>
                  </a:cubicBezTo>
                  <a:cubicBezTo>
                    <a:pt x="18663" y="21322"/>
                    <a:pt x="18241" y="21600"/>
                    <a:pt x="17759" y="21600"/>
                  </a:cubicBezTo>
                  <a:cubicBezTo>
                    <a:pt x="17428" y="21600"/>
                    <a:pt x="17156" y="21322"/>
                    <a:pt x="16945" y="20766"/>
                  </a:cubicBezTo>
                  <a:cubicBezTo>
                    <a:pt x="16765" y="20304"/>
                    <a:pt x="16674" y="19795"/>
                    <a:pt x="16674" y="19238"/>
                  </a:cubicBezTo>
                  <a:lnTo>
                    <a:pt x="16855" y="17641"/>
                  </a:lnTo>
                  <a:cubicBezTo>
                    <a:pt x="16855" y="17131"/>
                    <a:pt x="16674" y="16645"/>
                    <a:pt x="16313" y="16182"/>
                  </a:cubicBezTo>
                  <a:cubicBezTo>
                    <a:pt x="15952" y="15720"/>
                    <a:pt x="15620" y="15488"/>
                    <a:pt x="15319" y="15488"/>
                  </a:cubicBezTo>
                  <a:cubicBezTo>
                    <a:pt x="14897" y="15488"/>
                    <a:pt x="14686" y="15789"/>
                    <a:pt x="14686" y="16391"/>
                  </a:cubicBezTo>
                  <a:cubicBezTo>
                    <a:pt x="14626" y="17316"/>
                    <a:pt x="14490" y="18011"/>
                    <a:pt x="14280" y="18474"/>
                  </a:cubicBezTo>
                  <a:cubicBezTo>
                    <a:pt x="14099" y="18104"/>
                    <a:pt x="13948" y="17826"/>
                    <a:pt x="13828" y="17641"/>
                  </a:cubicBezTo>
                  <a:cubicBezTo>
                    <a:pt x="13617" y="17270"/>
                    <a:pt x="13406" y="17085"/>
                    <a:pt x="13195" y="17085"/>
                  </a:cubicBezTo>
                  <a:cubicBezTo>
                    <a:pt x="13044" y="17085"/>
                    <a:pt x="12788" y="17293"/>
                    <a:pt x="12427" y="17711"/>
                  </a:cubicBezTo>
                  <a:cubicBezTo>
                    <a:pt x="12065" y="18127"/>
                    <a:pt x="11764" y="18335"/>
                    <a:pt x="11523" y="18335"/>
                  </a:cubicBezTo>
                  <a:cubicBezTo>
                    <a:pt x="11312" y="18335"/>
                    <a:pt x="10965" y="18011"/>
                    <a:pt x="10484" y="17363"/>
                  </a:cubicBezTo>
                  <a:cubicBezTo>
                    <a:pt x="10002" y="16669"/>
                    <a:pt x="9580" y="16321"/>
                    <a:pt x="9218" y="16321"/>
                  </a:cubicBezTo>
                  <a:cubicBezTo>
                    <a:pt x="8857" y="16321"/>
                    <a:pt x="8556" y="16599"/>
                    <a:pt x="8315" y="17154"/>
                  </a:cubicBezTo>
                  <a:cubicBezTo>
                    <a:pt x="8104" y="17664"/>
                    <a:pt x="7893" y="17919"/>
                    <a:pt x="7682" y="17919"/>
                  </a:cubicBezTo>
                  <a:cubicBezTo>
                    <a:pt x="7531" y="17919"/>
                    <a:pt x="7305" y="17780"/>
                    <a:pt x="7004" y="17502"/>
                  </a:cubicBezTo>
                  <a:cubicBezTo>
                    <a:pt x="6703" y="17224"/>
                    <a:pt x="6462" y="17085"/>
                    <a:pt x="6281" y="17085"/>
                  </a:cubicBezTo>
                  <a:cubicBezTo>
                    <a:pt x="6070" y="17085"/>
                    <a:pt x="5694" y="17549"/>
                    <a:pt x="5152" y="18474"/>
                  </a:cubicBezTo>
                  <a:cubicBezTo>
                    <a:pt x="4639" y="19354"/>
                    <a:pt x="4082" y="19795"/>
                    <a:pt x="3480" y="19795"/>
                  </a:cubicBezTo>
                  <a:cubicBezTo>
                    <a:pt x="3088" y="19795"/>
                    <a:pt x="2636" y="19678"/>
                    <a:pt x="2124" y="19447"/>
                  </a:cubicBezTo>
                  <a:cubicBezTo>
                    <a:pt x="1522" y="19169"/>
                    <a:pt x="1220" y="18868"/>
                    <a:pt x="1220" y="18544"/>
                  </a:cubicBezTo>
                  <a:cubicBezTo>
                    <a:pt x="1220" y="18081"/>
                    <a:pt x="1627" y="17780"/>
                    <a:pt x="2440" y="17641"/>
                  </a:cubicBezTo>
                  <a:cubicBezTo>
                    <a:pt x="3224" y="17502"/>
                    <a:pt x="3615" y="17108"/>
                    <a:pt x="3615" y="16460"/>
                  </a:cubicBezTo>
                  <a:cubicBezTo>
                    <a:pt x="3615" y="16090"/>
                    <a:pt x="3570" y="15789"/>
                    <a:pt x="3480" y="15557"/>
                  </a:cubicBezTo>
                  <a:cubicBezTo>
                    <a:pt x="3389" y="15280"/>
                    <a:pt x="3344" y="15025"/>
                    <a:pt x="3344" y="14794"/>
                  </a:cubicBezTo>
                  <a:cubicBezTo>
                    <a:pt x="3344" y="14516"/>
                    <a:pt x="3570" y="14053"/>
                    <a:pt x="4022" y="13405"/>
                  </a:cubicBezTo>
                  <a:cubicBezTo>
                    <a:pt x="4444" y="12757"/>
                    <a:pt x="4655" y="12271"/>
                    <a:pt x="4655" y="11946"/>
                  </a:cubicBezTo>
                  <a:lnTo>
                    <a:pt x="3705" y="9099"/>
                  </a:lnTo>
                  <a:cubicBezTo>
                    <a:pt x="3103" y="9562"/>
                    <a:pt x="2561" y="10604"/>
                    <a:pt x="2079" y="12224"/>
                  </a:cubicBezTo>
                  <a:cubicBezTo>
                    <a:pt x="1627" y="13567"/>
                    <a:pt x="1160" y="14238"/>
                    <a:pt x="678" y="14238"/>
                  </a:cubicBezTo>
                  <a:cubicBezTo>
                    <a:pt x="226" y="14238"/>
                    <a:pt x="0" y="13682"/>
                    <a:pt x="0" y="12571"/>
                  </a:cubicBezTo>
                  <a:cubicBezTo>
                    <a:pt x="0" y="11322"/>
                    <a:pt x="467" y="9677"/>
                    <a:pt x="1401" y="7640"/>
                  </a:cubicBezTo>
                  <a:cubicBezTo>
                    <a:pt x="2335" y="5649"/>
                    <a:pt x="2802" y="4422"/>
                    <a:pt x="2802" y="3958"/>
                  </a:cubicBezTo>
                  <a:cubicBezTo>
                    <a:pt x="2591" y="2940"/>
                    <a:pt x="2485" y="2292"/>
                    <a:pt x="2485" y="2014"/>
                  </a:cubicBezTo>
                  <a:close/>
                  <a:moveTo>
                    <a:pt x="2485" y="201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69" name="AutoShape 146"/>
            <p:cNvSpPr>
              <a:spLocks/>
            </p:cNvSpPr>
            <p:nvPr/>
          </p:nvSpPr>
          <p:spPr bwMode="auto">
            <a:xfrm>
              <a:off x="4620054" y="2468835"/>
              <a:ext cx="8168" cy="10721"/>
            </a:xfrm>
            <a:custGeom>
              <a:avLst/>
              <a:gdLst/>
              <a:ahLst/>
              <a:cxnLst/>
              <a:rect l="0" t="0" r="r" b="b"/>
              <a:pathLst>
                <a:path w="21600" h="21600">
                  <a:moveTo>
                    <a:pt x="20545" y="6926"/>
                  </a:moveTo>
                  <a:cubicBezTo>
                    <a:pt x="21250" y="7472"/>
                    <a:pt x="21600" y="9101"/>
                    <a:pt x="21600" y="11818"/>
                  </a:cubicBezTo>
                  <a:cubicBezTo>
                    <a:pt x="21600" y="18342"/>
                    <a:pt x="19141" y="21600"/>
                    <a:pt x="14227" y="21600"/>
                  </a:cubicBezTo>
                  <a:cubicBezTo>
                    <a:pt x="12822" y="21600"/>
                    <a:pt x="10188" y="20238"/>
                    <a:pt x="6324" y="17525"/>
                  </a:cubicBezTo>
                  <a:cubicBezTo>
                    <a:pt x="2104" y="14534"/>
                    <a:pt x="0" y="11818"/>
                    <a:pt x="0" y="9372"/>
                  </a:cubicBezTo>
                  <a:cubicBezTo>
                    <a:pt x="0" y="8556"/>
                    <a:pt x="700" y="6926"/>
                    <a:pt x="2104" y="4481"/>
                  </a:cubicBezTo>
                  <a:cubicBezTo>
                    <a:pt x="3509" y="2039"/>
                    <a:pt x="4564" y="542"/>
                    <a:pt x="5269" y="0"/>
                  </a:cubicBezTo>
                  <a:cubicBezTo>
                    <a:pt x="11592" y="2987"/>
                    <a:pt x="16681" y="5297"/>
                    <a:pt x="20545" y="6926"/>
                  </a:cubicBezTo>
                  <a:close/>
                  <a:moveTo>
                    <a:pt x="20545" y="692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0" name="AutoShape 147"/>
            <p:cNvSpPr>
              <a:spLocks/>
            </p:cNvSpPr>
            <p:nvPr/>
          </p:nvSpPr>
          <p:spPr bwMode="auto">
            <a:xfrm>
              <a:off x="4713986" y="2489255"/>
              <a:ext cx="15315" cy="17868"/>
            </a:xfrm>
            <a:custGeom>
              <a:avLst/>
              <a:gdLst/>
              <a:ahLst/>
              <a:cxnLst/>
              <a:rect l="0" t="0" r="r" b="b"/>
              <a:pathLst>
                <a:path w="21600" h="21600">
                  <a:moveTo>
                    <a:pt x="21600" y="7921"/>
                  </a:moveTo>
                  <a:lnTo>
                    <a:pt x="20462" y="11280"/>
                  </a:lnTo>
                  <a:cubicBezTo>
                    <a:pt x="20082" y="11601"/>
                    <a:pt x="19799" y="11840"/>
                    <a:pt x="19610" y="12000"/>
                  </a:cubicBezTo>
                  <a:cubicBezTo>
                    <a:pt x="16199" y="15680"/>
                    <a:pt x="13738" y="18082"/>
                    <a:pt x="12220" y="19198"/>
                  </a:cubicBezTo>
                  <a:cubicBezTo>
                    <a:pt x="10327" y="20800"/>
                    <a:pt x="8714" y="21600"/>
                    <a:pt x="7391" y="21600"/>
                  </a:cubicBezTo>
                  <a:cubicBezTo>
                    <a:pt x="6064" y="21600"/>
                    <a:pt x="4452" y="20800"/>
                    <a:pt x="2559" y="19198"/>
                  </a:cubicBezTo>
                  <a:cubicBezTo>
                    <a:pt x="852" y="17760"/>
                    <a:pt x="0" y="16639"/>
                    <a:pt x="0" y="15839"/>
                  </a:cubicBezTo>
                  <a:cubicBezTo>
                    <a:pt x="0" y="12638"/>
                    <a:pt x="1232" y="9359"/>
                    <a:pt x="3694" y="6000"/>
                  </a:cubicBezTo>
                  <a:cubicBezTo>
                    <a:pt x="6536" y="2003"/>
                    <a:pt x="9947" y="0"/>
                    <a:pt x="13926" y="0"/>
                  </a:cubicBezTo>
                  <a:cubicBezTo>
                    <a:pt x="16388" y="0"/>
                    <a:pt x="18378" y="962"/>
                    <a:pt x="19893" y="2880"/>
                  </a:cubicBezTo>
                  <a:cubicBezTo>
                    <a:pt x="21031" y="4480"/>
                    <a:pt x="21600" y="6159"/>
                    <a:pt x="21600" y="7921"/>
                  </a:cubicBezTo>
                  <a:close/>
                  <a:moveTo>
                    <a:pt x="21600" y="792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1" name="AutoShape 148"/>
            <p:cNvSpPr>
              <a:spLocks/>
            </p:cNvSpPr>
            <p:nvPr/>
          </p:nvSpPr>
          <p:spPr bwMode="auto">
            <a:xfrm>
              <a:off x="4942692" y="2619944"/>
              <a:ext cx="9700" cy="8679"/>
            </a:xfrm>
            <a:custGeom>
              <a:avLst/>
              <a:gdLst/>
              <a:ahLst/>
              <a:cxnLst/>
              <a:rect l="0" t="0" r="r" b="b"/>
              <a:pathLst>
                <a:path w="21600" h="21600">
                  <a:moveTo>
                    <a:pt x="9449" y="0"/>
                  </a:moveTo>
                  <a:lnTo>
                    <a:pt x="15751" y="1006"/>
                  </a:lnTo>
                  <a:cubicBezTo>
                    <a:pt x="16950" y="1674"/>
                    <a:pt x="18150" y="2847"/>
                    <a:pt x="19350" y="4521"/>
                  </a:cubicBezTo>
                  <a:cubicBezTo>
                    <a:pt x="20853" y="6200"/>
                    <a:pt x="21600" y="7702"/>
                    <a:pt x="21600" y="9043"/>
                  </a:cubicBezTo>
                  <a:cubicBezTo>
                    <a:pt x="21600" y="12057"/>
                    <a:pt x="20853" y="14737"/>
                    <a:pt x="19350" y="17079"/>
                  </a:cubicBezTo>
                  <a:cubicBezTo>
                    <a:pt x="17249" y="20093"/>
                    <a:pt x="14401" y="21600"/>
                    <a:pt x="10802" y="21600"/>
                  </a:cubicBezTo>
                  <a:cubicBezTo>
                    <a:pt x="8099" y="21600"/>
                    <a:pt x="5700" y="20594"/>
                    <a:pt x="3599" y="18591"/>
                  </a:cubicBezTo>
                  <a:cubicBezTo>
                    <a:pt x="1200" y="16244"/>
                    <a:pt x="0" y="13397"/>
                    <a:pt x="0" y="10049"/>
                  </a:cubicBezTo>
                  <a:cubicBezTo>
                    <a:pt x="0" y="8036"/>
                    <a:pt x="751" y="6033"/>
                    <a:pt x="2250" y="4021"/>
                  </a:cubicBezTo>
                  <a:cubicBezTo>
                    <a:pt x="4052" y="1340"/>
                    <a:pt x="6451" y="0"/>
                    <a:pt x="9449" y="0"/>
                  </a:cubicBezTo>
                  <a:close/>
                  <a:moveTo>
                    <a:pt x="9449"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2" name="AutoShape 149"/>
            <p:cNvSpPr>
              <a:spLocks/>
            </p:cNvSpPr>
            <p:nvPr/>
          </p:nvSpPr>
          <p:spPr bwMode="auto">
            <a:xfrm>
              <a:off x="4922272" y="2611776"/>
              <a:ext cx="14294" cy="11742"/>
            </a:xfrm>
            <a:custGeom>
              <a:avLst/>
              <a:gdLst/>
              <a:ahLst/>
              <a:cxnLst/>
              <a:rect l="0" t="0" r="r" b="b"/>
              <a:pathLst>
                <a:path w="21600" h="21600">
                  <a:moveTo>
                    <a:pt x="0" y="13913"/>
                  </a:moveTo>
                  <a:cubicBezTo>
                    <a:pt x="0" y="11469"/>
                    <a:pt x="1500" y="8664"/>
                    <a:pt x="4499" y="5493"/>
                  </a:cubicBezTo>
                  <a:cubicBezTo>
                    <a:pt x="7903" y="1829"/>
                    <a:pt x="11600" y="0"/>
                    <a:pt x="15601" y="0"/>
                  </a:cubicBezTo>
                  <a:lnTo>
                    <a:pt x="20100" y="2562"/>
                  </a:lnTo>
                  <a:cubicBezTo>
                    <a:pt x="20499" y="4516"/>
                    <a:pt x="20997" y="6588"/>
                    <a:pt x="21600" y="8785"/>
                  </a:cubicBezTo>
                  <a:cubicBezTo>
                    <a:pt x="21600" y="11716"/>
                    <a:pt x="20598" y="14404"/>
                    <a:pt x="18600" y="16841"/>
                  </a:cubicBezTo>
                  <a:cubicBezTo>
                    <a:pt x="15800" y="20018"/>
                    <a:pt x="11699" y="21600"/>
                    <a:pt x="6301" y="21600"/>
                  </a:cubicBezTo>
                  <a:cubicBezTo>
                    <a:pt x="4499" y="21600"/>
                    <a:pt x="3000" y="20874"/>
                    <a:pt x="1801" y="19406"/>
                  </a:cubicBezTo>
                  <a:cubicBezTo>
                    <a:pt x="600" y="17939"/>
                    <a:pt x="0" y="16107"/>
                    <a:pt x="0" y="13913"/>
                  </a:cubicBezTo>
                  <a:close/>
                  <a:moveTo>
                    <a:pt x="0" y="1391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3" name="AutoShape 150"/>
            <p:cNvSpPr>
              <a:spLocks/>
            </p:cNvSpPr>
            <p:nvPr/>
          </p:nvSpPr>
          <p:spPr bwMode="auto">
            <a:xfrm>
              <a:off x="5020289" y="2619944"/>
              <a:ext cx="8679" cy="10210"/>
            </a:xfrm>
            <a:custGeom>
              <a:avLst/>
              <a:gdLst/>
              <a:ahLst/>
              <a:cxnLst/>
              <a:rect l="0" t="0" r="r" b="b"/>
              <a:pathLst>
                <a:path w="21600" h="19960">
                  <a:moveTo>
                    <a:pt x="4522" y="18018"/>
                  </a:moveTo>
                  <a:cubicBezTo>
                    <a:pt x="1511" y="16467"/>
                    <a:pt x="0" y="14139"/>
                    <a:pt x="0" y="11037"/>
                  </a:cubicBezTo>
                  <a:cubicBezTo>
                    <a:pt x="0" y="6896"/>
                    <a:pt x="3683" y="3532"/>
                    <a:pt x="11050" y="946"/>
                  </a:cubicBezTo>
                  <a:cubicBezTo>
                    <a:pt x="18083" y="-1640"/>
                    <a:pt x="21600" y="1075"/>
                    <a:pt x="21600" y="9096"/>
                  </a:cubicBezTo>
                  <a:cubicBezTo>
                    <a:pt x="21600" y="12459"/>
                    <a:pt x="21428" y="14659"/>
                    <a:pt x="21095" y="15694"/>
                  </a:cubicBezTo>
                  <a:cubicBezTo>
                    <a:pt x="19756" y="18538"/>
                    <a:pt x="16911" y="19960"/>
                    <a:pt x="12556" y="19960"/>
                  </a:cubicBezTo>
                  <a:cubicBezTo>
                    <a:pt x="9544" y="19960"/>
                    <a:pt x="6866" y="19315"/>
                    <a:pt x="4522" y="18018"/>
                  </a:cubicBezTo>
                  <a:close/>
                  <a:moveTo>
                    <a:pt x="4522" y="1801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4" name="AutoShape 151"/>
            <p:cNvSpPr>
              <a:spLocks/>
            </p:cNvSpPr>
            <p:nvPr/>
          </p:nvSpPr>
          <p:spPr bwMode="auto">
            <a:xfrm>
              <a:off x="4991701" y="2619944"/>
              <a:ext cx="19399" cy="11231"/>
            </a:xfrm>
            <a:custGeom>
              <a:avLst/>
              <a:gdLst/>
              <a:ahLst/>
              <a:cxnLst/>
              <a:rect l="0" t="0" r="r" b="b"/>
              <a:pathLst>
                <a:path w="21600" h="21600">
                  <a:moveTo>
                    <a:pt x="8461" y="16674"/>
                  </a:moveTo>
                  <a:cubicBezTo>
                    <a:pt x="6087" y="15915"/>
                    <a:pt x="4306" y="15159"/>
                    <a:pt x="3118" y="14400"/>
                  </a:cubicBezTo>
                  <a:cubicBezTo>
                    <a:pt x="1039" y="13389"/>
                    <a:pt x="0" y="11367"/>
                    <a:pt x="0" y="8337"/>
                  </a:cubicBezTo>
                  <a:cubicBezTo>
                    <a:pt x="0" y="2778"/>
                    <a:pt x="2153" y="0"/>
                    <a:pt x="6458" y="0"/>
                  </a:cubicBezTo>
                  <a:cubicBezTo>
                    <a:pt x="13732" y="0"/>
                    <a:pt x="18630" y="4422"/>
                    <a:pt x="21154" y="13263"/>
                  </a:cubicBezTo>
                  <a:cubicBezTo>
                    <a:pt x="21154" y="14526"/>
                    <a:pt x="21302" y="16041"/>
                    <a:pt x="21600" y="17811"/>
                  </a:cubicBezTo>
                  <a:cubicBezTo>
                    <a:pt x="21600" y="20337"/>
                    <a:pt x="20263" y="21600"/>
                    <a:pt x="17592" y="21600"/>
                  </a:cubicBezTo>
                  <a:cubicBezTo>
                    <a:pt x="16553" y="21600"/>
                    <a:pt x="14994" y="20967"/>
                    <a:pt x="12915" y="19707"/>
                  </a:cubicBezTo>
                  <a:cubicBezTo>
                    <a:pt x="10688" y="18189"/>
                    <a:pt x="9205" y="17178"/>
                    <a:pt x="8461" y="16674"/>
                  </a:cubicBezTo>
                  <a:close/>
                  <a:moveTo>
                    <a:pt x="8461" y="1667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5" name="AutoShape 152"/>
            <p:cNvSpPr>
              <a:spLocks/>
            </p:cNvSpPr>
            <p:nvPr/>
          </p:nvSpPr>
          <p:spPr bwMode="auto">
            <a:xfrm>
              <a:off x="4812003" y="2517843"/>
              <a:ext cx="19399" cy="13784"/>
            </a:xfrm>
            <a:custGeom>
              <a:avLst/>
              <a:gdLst/>
              <a:ahLst/>
              <a:cxnLst/>
              <a:rect l="0" t="0" r="r" b="b"/>
              <a:pathLst>
                <a:path w="21062" h="19587">
                  <a:moveTo>
                    <a:pt x="13175" y="14472"/>
                  </a:moveTo>
                  <a:cubicBezTo>
                    <a:pt x="7920" y="17879"/>
                    <a:pt x="4345" y="19587"/>
                    <a:pt x="2447" y="19587"/>
                  </a:cubicBezTo>
                  <a:cubicBezTo>
                    <a:pt x="1425" y="19587"/>
                    <a:pt x="623" y="19398"/>
                    <a:pt x="39" y="19018"/>
                  </a:cubicBezTo>
                  <a:cubicBezTo>
                    <a:pt x="-399" y="15607"/>
                    <a:pt x="2812" y="10681"/>
                    <a:pt x="9671" y="4241"/>
                  </a:cubicBezTo>
                  <a:cubicBezTo>
                    <a:pt x="16386" y="-2013"/>
                    <a:pt x="20181" y="-1349"/>
                    <a:pt x="21056" y="6229"/>
                  </a:cubicBezTo>
                  <a:cubicBezTo>
                    <a:pt x="21201" y="8126"/>
                    <a:pt x="18576" y="10873"/>
                    <a:pt x="13175" y="14472"/>
                  </a:cubicBezTo>
                  <a:close/>
                  <a:moveTo>
                    <a:pt x="13175" y="1447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6" name="AutoShape 153"/>
            <p:cNvSpPr>
              <a:spLocks/>
            </p:cNvSpPr>
            <p:nvPr/>
          </p:nvSpPr>
          <p:spPr bwMode="auto">
            <a:xfrm>
              <a:off x="5081549" y="2048179"/>
              <a:ext cx="28588" cy="16336"/>
            </a:xfrm>
            <a:custGeom>
              <a:avLst/>
              <a:gdLst/>
              <a:ahLst/>
              <a:cxnLst/>
              <a:rect l="0" t="0" r="r" b="b"/>
              <a:pathLst>
                <a:path w="21600" h="21600">
                  <a:moveTo>
                    <a:pt x="9411" y="20545"/>
                  </a:moveTo>
                  <a:cubicBezTo>
                    <a:pt x="9308" y="20194"/>
                    <a:pt x="9206" y="19929"/>
                    <a:pt x="9102" y="19754"/>
                  </a:cubicBezTo>
                  <a:cubicBezTo>
                    <a:pt x="8486" y="17999"/>
                    <a:pt x="8074" y="16768"/>
                    <a:pt x="7868" y="16065"/>
                  </a:cubicBezTo>
                  <a:cubicBezTo>
                    <a:pt x="7354" y="14838"/>
                    <a:pt x="6532" y="13432"/>
                    <a:pt x="5400" y="11852"/>
                  </a:cubicBezTo>
                  <a:cubicBezTo>
                    <a:pt x="4680" y="10799"/>
                    <a:pt x="3395" y="10008"/>
                    <a:pt x="1543" y="9481"/>
                  </a:cubicBezTo>
                  <a:cubicBezTo>
                    <a:pt x="514" y="9131"/>
                    <a:pt x="0" y="7725"/>
                    <a:pt x="0" y="5267"/>
                  </a:cubicBezTo>
                  <a:cubicBezTo>
                    <a:pt x="0" y="2808"/>
                    <a:pt x="1080" y="1228"/>
                    <a:pt x="3239" y="525"/>
                  </a:cubicBezTo>
                  <a:cubicBezTo>
                    <a:pt x="4371" y="175"/>
                    <a:pt x="5451" y="0"/>
                    <a:pt x="6480" y="0"/>
                  </a:cubicBezTo>
                  <a:cubicBezTo>
                    <a:pt x="11314" y="0"/>
                    <a:pt x="14862" y="525"/>
                    <a:pt x="17125" y="1578"/>
                  </a:cubicBezTo>
                  <a:cubicBezTo>
                    <a:pt x="20108" y="2986"/>
                    <a:pt x="21600" y="5529"/>
                    <a:pt x="21600" y="9218"/>
                  </a:cubicBezTo>
                  <a:cubicBezTo>
                    <a:pt x="21600" y="13257"/>
                    <a:pt x="20211" y="16506"/>
                    <a:pt x="17434" y="18964"/>
                  </a:cubicBezTo>
                  <a:cubicBezTo>
                    <a:pt x="15377" y="20720"/>
                    <a:pt x="13474" y="21600"/>
                    <a:pt x="11725" y="21600"/>
                  </a:cubicBezTo>
                  <a:cubicBezTo>
                    <a:pt x="11005" y="21600"/>
                    <a:pt x="10337" y="21335"/>
                    <a:pt x="9720" y="20810"/>
                  </a:cubicBezTo>
                  <a:cubicBezTo>
                    <a:pt x="9617" y="20632"/>
                    <a:pt x="9513" y="20545"/>
                    <a:pt x="9411" y="20545"/>
                  </a:cubicBezTo>
                  <a:close/>
                  <a:moveTo>
                    <a:pt x="9411" y="2054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7" name="AutoShape 154"/>
            <p:cNvSpPr>
              <a:spLocks/>
            </p:cNvSpPr>
            <p:nvPr/>
          </p:nvSpPr>
          <p:spPr bwMode="auto">
            <a:xfrm>
              <a:off x="5040709" y="2566851"/>
              <a:ext cx="10721" cy="10210"/>
            </a:xfrm>
            <a:custGeom>
              <a:avLst/>
              <a:gdLst/>
              <a:ahLst/>
              <a:cxnLst/>
              <a:rect l="0" t="0" r="r" b="b"/>
              <a:pathLst>
                <a:path w="21600" h="21600">
                  <a:moveTo>
                    <a:pt x="11601" y="426"/>
                  </a:moveTo>
                  <a:cubicBezTo>
                    <a:pt x="12132" y="426"/>
                    <a:pt x="12667" y="708"/>
                    <a:pt x="13198" y="1275"/>
                  </a:cubicBezTo>
                  <a:cubicBezTo>
                    <a:pt x="14265" y="1556"/>
                    <a:pt x="15335" y="2545"/>
                    <a:pt x="16401" y="4234"/>
                  </a:cubicBezTo>
                  <a:cubicBezTo>
                    <a:pt x="17999" y="6498"/>
                    <a:pt x="19733" y="10024"/>
                    <a:pt x="21600" y="14821"/>
                  </a:cubicBezTo>
                  <a:cubicBezTo>
                    <a:pt x="21600" y="15951"/>
                    <a:pt x="20932" y="17366"/>
                    <a:pt x="19600" y="19059"/>
                  </a:cubicBezTo>
                  <a:cubicBezTo>
                    <a:pt x="18264" y="20752"/>
                    <a:pt x="16800" y="21600"/>
                    <a:pt x="15198" y="21600"/>
                  </a:cubicBezTo>
                  <a:cubicBezTo>
                    <a:pt x="12534" y="21600"/>
                    <a:pt x="9468" y="20189"/>
                    <a:pt x="6000" y="17366"/>
                  </a:cubicBezTo>
                  <a:cubicBezTo>
                    <a:pt x="2000" y="14262"/>
                    <a:pt x="0" y="11013"/>
                    <a:pt x="0" y="7628"/>
                  </a:cubicBezTo>
                  <a:cubicBezTo>
                    <a:pt x="0" y="2545"/>
                    <a:pt x="2133" y="0"/>
                    <a:pt x="6402" y="0"/>
                  </a:cubicBezTo>
                  <a:cubicBezTo>
                    <a:pt x="9335" y="0"/>
                    <a:pt x="11066" y="145"/>
                    <a:pt x="11601" y="426"/>
                  </a:cubicBezTo>
                  <a:close/>
                  <a:moveTo>
                    <a:pt x="11601" y="42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8" name="AutoShape 155"/>
            <p:cNvSpPr>
              <a:spLocks/>
            </p:cNvSpPr>
            <p:nvPr/>
          </p:nvSpPr>
          <p:spPr bwMode="auto">
            <a:xfrm>
              <a:off x="5052961" y="2566851"/>
              <a:ext cx="32162" cy="26036"/>
            </a:xfrm>
            <a:custGeom>
              <a:avLst/>
              <a:gdLst/>
              <a:ahLst/>
              <a:cxnLst/>
              <a:rect l="0" t="0" r="r" b="b"/>
              <a:pathLst>
                <a:path w="21600" h="21600">
                  <a:moveTo>
                    <a:pt x="1093" y="4186"/>
                  </a:moveTo>
                  <a:cubicBezTo>
                    <a:pt x="1913" y="2736"/>
                    <a:pt x="2961" y="2009"/>
                    <a:pt x="4237" y="2009"/>
                  </a:cubicBezTo>
                  <a:cubicBezTo>
                    <a:pt x="5149" y="2009"/>
                    <a:pt x="6334" y="2957"/>
                    <a:pt x="7791" y="4857"/>
                  </a:cubicBezTo>
                  <a:cubicBezTo>
                    <a:pt x="9615" y="7089"/>
                    <a:pt x="10663" y="8316"/>
                    <a:pt x="10937" y="8539"/>
                  </a:cubicBezTo>
                  <a:cubicBezTo>
                    <a:pt x="11757" y="7534"/>
                    <a:pt x="12212" y="5636"/>
                    <a:pt x="12304" y="2846"/>
                  </a:cubicBezTo>
                  <a:cubicBezTo>
                    <a:pt x="12395" y="947"/>
                    <a:pt x="13488" y="0"/>
                    <a:pt x="15584" y="0"/>
                  </a:cubicBezTo>
                  <a:cubicBezTo>
                    <a:pt x="16405" y="0"/>
                    <a:pt x="17635" y="1060"/>
                    <a:pt x="19276" y="3181"/>
                  </a:cubicBezTo>
                  <a:cubicBezTo>
                    <a:pt x="20826" y="5189"/>
                    <a:pt x="21600" y="6473"/>
                    <a:pt x="21600" y="7033"/>
                  </a:cubicBezTo>
                  <a:cubicBezTo>
                    <a:pt x="21600" y="7478"/>
                    <a:pt x="21053" y="8205"/>
                    <a:pt x="19959" y="9209"/>
                  </a:cubicBezTo>
                  <a:cubicBezTo>
                    <a:pt x="18775" y="10325"/>
                    <a:pt x="18182" y="11050"/>
                    <a:pt x="18182" y="11386"/>
                  </a:cubicBezTo>
                  <a:cubicBezTo>
                    <a:pt x="18182" y="12166"/>
                    <a:pt x="18728" y="12837"/>
                    <a:pt x="19823" y="13395"/>
                  </a:cubicBezTo>
                  <a:cubicBezTo>
                    <a:pt x="20826" y="14066"/>
                    <a:pt x="21326" y="15069"/>
                    <a:pt x="21326" y="16409"/>
                  </a:cubicBezTo>
                  <a:cubicBezTo>
                    <a:pt x="20142" y="19869"/>
                    <a:pt x="19002" y="21600"/>
                    <a:pt x="17909" y="21600"/>
                  </a:cubicBezTo>
                  <a:cubicBezTo>
                    <a:pt x="17453" y="21600"/>
                    <a:pt x="16770" y="21265"/>
                    <a:pt x="15858" y="20595"/>
                  </a:cubicBezTo>
                  <a:cubicBezTo>
                    <a:pt x="14946" y="19926"/>
                    <a:pt x="14217" y="19591"/>
                    <a:pt x="13671" y="19591"/>
                  </a:cubicBezTo>
                  <a:cubicBezTo>
                    <a:pt x="12486" y="20037"/>
                    <a:pt x="11666" y="20260"/>
                    <a:pt x="11209" y="20260"/>
                  </a:cubicBezTo>
                  <a:cubicBezTo>
                    <a:pt x="9570" y="20260"/>
                    <a:pt x="8567" y="19757"/>
                    <a:pt x="8203" y="18753"/>
                  </a:cubicBezTo>
                  <a:cubicBezTo>
                    <a:pt x="7655" y="17190"/>
                    <a:pt x="6698" y="15963"/>
                    <a:pt x="5331" y="15069"/>
                  </a:cubicBezTo>
                  <a:cubicBezTo>
                    <a:pt x="3599" y="14287"/>
                    <a:pt x="2415" y="13675"/>
                    <a:pt x="1777" y="13228"/>
                  </a:cubicBezTo>
                  <a:cubicBezTo>
                    <a:pt x="591" y="12333"/>
                    <a:pt x="0" y="10883"/>
                    <a:pt x="0" y="8874"/>
                  </a:cubicBezTo>
                  <a:cubicBezTo>
                    <a:pt x="0" y="6977"/>
                    <a:pt x="364" y="5413"/>
                    <a:pt x="1093" y="4186"/>
                  </a:cubicBezTo>
                  <a:close/>
                  <a:moveTo>
                    <a:pt x="1093" y="418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79" name="AutoShape 156"/>
            <p:cNvSpPr>
              <a:spLocks/>
            </p:cNvSpPr>
            <p:nvPr/>
          </p:nvSpPr>
          <p:spPr bwMode="auto">
            <a:xfrm>
              <a:off x="5318423" y="2599524"/>
              <a:ext cx="17868" cy="20420"/>
            </a:xfrm>
            <a:custGeom>
              <a:avLst/>
              <a:gdLst/>
              <a:ahLst/>
              <a:cxnLst/>
              <a:rect l="0" t="0" r="r" b="b"/>
              <a:pathLst>
                <a:path w="21600" h="21600">
                  <a:moveTo>
                    <a:pt x="12136" y="2780"/>
                  </a:moveTo>
                  <a:cubicBezTo>
                    <a:pt x="13916" y="4203"/>
                    <a:pt x="15210" y="5917"/>
                    <a:pt x="16018" y="7911"/>
                  </a:cubicBezTo>
                  <a:cubicBezTo>
                    <a:pt x="16179" y="8338"/>
                    <a:pt x="16343" y="8768"/>
                    <a:pt x="16504" y="9195"/>
                  </a:cubicBezTo>
                  <a:cubicBezTo>
                    <a:pt x="16504" y="9337"/>
                    <a:pt x="16585" y="9479"/>
                    <a:pt x="16746" y="9625"/>
                  </a:cubicBezTo>
                  <a:cubicBezTo>
                    <a:pt x="17393" y="10478"/>
                    <a:pt x="18365" y="11617"/>
                    <a:pt x="19659" y="13045"/>
                  </a:cubicBezTo>
                  <a:cubicBezTo>
                    <a:pt x="20953" y="14613"/>
                    <a:pt x="21600" y="16111"/>
                    <a:pt x="21600" y="17535"/>
                  </a:cubicBezTo>
                  <a:cubicBezTo>
                    <a:pt x="21600" y="20243"/>
                    <a:pt x="19173" y="21600"/>
                    <a:pt x="14319" y="21600"/>
                  </a:cubicBezTo>
                  <a:cubicBezTo>
                    <a:pt x="11244" y="21600"/>
                    <a:pt x="8170" y="20243"/>
                    <a:pt x="5096" y="17535"/>
                  </a:cubicBezTo>
                  <a:cubicBezTo>
                    <a:pt x="1697" y="14399"/>
                    <a:pt x="0" y="10767"/>
                    <a:pt x="0" y="6628"/>
                  </a:cubicBezTo>
                  <a:cubicBezTo>
                    <a:pt x="0" y="5487"/>
                    <a:pt x="566" y="4132"/>
                    <a:pt x="1697" y="2565"/>
                  </a:cubicBezTo>
                  <a:cubicBezTo>
                    <a:pt x="2830" y="855"/>
                    <a:pt x="3963" y="0"/>
                    <a:pt x="5096" y="0"/>
                  </a:cubicBezTo>
                  <a:cubicBezTo>
                    <a:pt x="7523" y="0"/>
                    <a:pt x="9870" y="926"/>
                    <a:pt x="12136" y="2780"/>
                  </a:cubicBezTo>
                  <a:close/>
                  <a:moveTo>
                    <a:pt x="12136" y="278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0" name="AutoShape 157"/>
            <p:cNvSpPr>
              <a:spLocks/>
            </p:cNvSpPr>
            <p:nvPr/>
          </p:nvSpPr>
          <p:spPr bwMode="auto">
            <a:xfrm>
              <a:off x="5085633" y="2562767"/>
              <a:ext cx="9700" cy="8168"/>
            </a:xfrm>
            <a:custGeom>
              <a:avLst/>
              <a:gdLst/>
              <a:ahLst/>
              <a:cxnLst/>
              <a:rect l="0" t="0" r="r" b="b"/>
              <a:pathLst>
                <a:path w="21600" h="21600">
                  <a:moveTo>
                    <a:pt x="18074" y="3091"/>
                  </a:moveTo>
                  <a:cubicBezTo>
                    <a:pt x="20425" y="5141"/>
                    <a:pt x="21600" y="7543"/>
                    <a:pt x="21600" y="10287"/>
                  </a:cubicBezTo>
                  <a:cubicBezTo>
                    <a:pt x="21600" y="12685"/>
                    <a:pt x="21014" y="14916"/>
                    <a:pt x="19839" y="16976"/>
                  </a:cubicBezTo>
                  <a:cubicBezTo>
                    <a:pt x="18074" y="20057"/>
                    <a:pt x="15430" y="21600"/>
                    <a:pt x="11900" y="21600"/>
                  </a:cubicBezTo>
                  <a:cubicBezTo>
                    <a:pt x="10725" y="21600"/>
                    <a:pt x="8520" y="20057"/>
                    <a:pt x="5287" y="16976"/>
                  </a:cubicBezTo>
                  <a:cubicBezTo>
                    <a:pt x="1761" y="13544"/>
                    <a:pt x="0" y="10634"/>
                    <a:pt x="0" y="8232"/>
                  </a:cubicBezTo>
                  <a:cubicBezTo>
                    <a:pt x="0" y="2749"/>
                    <a:pt x="2936" y="0"/>
                    <a:pt x="8817" y="0"/>
                  </a:cubicBezTo>
                  <a:cubicBezTo>
                    <a:pt x="12636" y="0"/>
                    <a:pt x="15723" y="1030"/>
                    <a:pt x="18074" y="3091"/>
                  </a:cubicBezTo>
                  <a:close/>
                  <a:moveTo>
                    <a:pt x="18074" y="309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1" name="AutoShape 158"/>
            <p:cNvSpPr>
              <a:spLocks/>
            </p:cNvSpPr>
            <p:nvPr/>
          </p:nvSpPr>
          <p:spPr bwMode="auto">
            <a:xfrm>
              <a:off x="5269415" y="2595439"/>
              <a:ext cx="44414" cy="21441"/>
            </a:xfrm>
            <a:custGeom>
              <a:avLst/>
              <a:gdLst/>
              <a:ahLst/>
              <a:cxnLst/>
              <a:rect l="0" t="0" r="r" b="b"/>
              <a:pathLst>
                <a:path w="21600" h="21600">
                  <a:moveTo>
                    <a:pt x="21600" y="3028"/>
                  </a:moveTo>
                  <a:cubicBezTo>
                    <a:pt x="21468" y="3567"/>
                    <a:pt x="21205" y="4846"/>
                    <a:pt x="20811" y="6864"/>
                  </a:cubicBezTo>
                  <a:cubicBezTo>
                    <a:pt x="20679" y="7403"/>
                    <a:pt x="20581" y="7941"/>
                    <a:pt x="20516" y="8480"/>
                  </a:cubicBezTo>
                  <a:cubicBezTo>
                    <a:pt x="19660" y="10899"/>
                    <a:pt x="16931" y="12651"/>
                    <a:pt x="12328" y="13728"/>
                  </a:cubicBezTo>
                  <a:cubicBezTo>
                    <a:pt x="10948" y="14671"/>
                    <a:pt x="9501" y="16417"/>
                    <a:pt x="7989" y="18974"/>
                  </a:cubicBezTo>
                  <a:cubicBezTo>
                    <a:pt x="6937" y="20726"/>
                    <a:pt x="5655" y="21600"/>
                    <a:pt x="4142" y="21600"/>
                  </a:cubicBezTo>
                  <a:cubicBezTo>
                    <a:pt x="3091" y="21600"/>
                    <a:pt x="2104" y="20793"/>
                    <a:pt x="1184" y="19177"/>
                  </a:cubicBezTo>
                  <a:cubicBezTo>
                    <a:pt x="395" y="17697"/>
                    <a:pt x="0" y="16553"/>
                    <a:pt x="0" y="15748"/>
                  </a:cubicBezTo>
                  <a:cubicBezTo>
                    <a:pt x="0" y="12114"/>
                    <a:pt x="1381" y="10094"/>
                    <a:pt x="4142" y="9691"/>
                  </a:cubicBezTo>
                  <a:cubicBezTo>
                    <a:pt x="5655" y="9557"/>
                    <a:pt x="7792" y="9419"/>
                    <a:pt x="10553" y="9285"/>
                  </a:cubicBezTo>
                  <a:cubicBezTo>
                    <a:pt x="12788" y="8075"/>
                    <a:pt x="16143" y="4980"/>
                    <a:pt x="20614" y="0"/>
                  </a:cubicBezTo>
                  <a:lnTo>
                    <a:pt x="21600" y="0"/>
                  </a:lnTo>
                  <a:cubicBezTo>
                    <a:pt x="21600" y="0"/>
                    <a:pt x="21600" y="3028"/>
                    <a:pt x="21600" y="3028"/>
                  </a:cubicBezTo>
                  <a:close/>
                  <a:moveTo>
                    <a:pt x="21600" y="302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2" name="AutoShape 159"/>
            <p:cNvSpPr>
              <a:spLocks/>
            </p:cNvSpPr>
            <p:nvPr/>
          </p:nvSpPr>
          <p:spPr bwMode="auto">
            <a:xfrm>
              <a:off x="5498120" y="2942582"/>
              <a:ext cx="49519" cy="63302"/>
            </a:xfrm>
            <a:custGeom>
              <a:avLst/>
              <a:gdLst/>
              <a:ahLst/>
              <a:cxnLst/>
              <a:rect l="0" t="0" r="r" b="b"/>
              <a:pathLst>
                <a:path w="21600" h="21600">
                  <a:moveTo>
                    <a:pt x="15934" y="3324"/>
                  </a:moveTo>
                  <a:cubicBezTo>
                    <a:pt x="15757" y="3738"/>
                    <a:pt x="15669" y="4107"/>
                    <a:pt x="15669" y="4431"/>
                  </a:cubicBezTo>
                  <a:cubicBezTo>
                    <a:pt x="15669" y="5815"/>
                    <a:pt x="16672" y="6831"/>
                    <a:pt x="18678" y="7477"/>
                  </a:cubicBezTo>
                  <a:cubicBezTo>
                    <a:pt x="20626" y="8123"/>
                    <a:pt x="21600" y="9323"/>
                    <a:pt x="21600" y="11077"/>
                  </a:cubicBezTo>
                  <a:cubicBezTo>
                    <a:pt x="21600" y="11492"/>
                    <a:pt x="21540" y="11769"/>
                    <a:pt x="21423" y="11908"/>
                  </a:cubicBezTo>
                  <a:cubicBezTo>
                    <a:pt x="21304" y="12000"/>
                    <a:pt x="21010" y="12046"/>
                    <a:pt x="20538" y="12046"/>
                  </a:cubicBezTo>
                  <a:cubicBezTo>
                    <a:pt x="19770" y="11862"/>
                    <a:pt x="19239" y="11769"/>
                    <a:pt x="18944" y="11769"/>
                  </a:cubicBezTo>
                  <a:cubicBezTo>
                    <a:pt x="18413" y="11769"/>
                    <a:pt x="18147" y="11977"/>
                    <a:pt x="18147" y="12392"/>
                  </a:cubicBezTo>
                  <a:cubicBezTo>
                    <a:pt x="18147" y="12531"/>
                    <a:pt x="18324" y="12992"/>
                    <a:pt x="18678" y="13777"/>
                  </a:cubicBezTo>
                  <a:cubicBezTo>
                    <a:pt x="18678" y="14054"/>
                    <a:pt x="18502" y="14376"/>
                    <a:pt x="18147" y="14746"/>
                  </a:cubicBezTo>
                  <a:cubicBezTo>
                    <a:pt x="17793" y="15161"/>
                    <a:pt x="17439" y="15369"/>
                    <a:pt x="17085" y="15369"/>
                  </a:cubicBezTo>
                  <a:cubicBezTo>
                    <a:pt x="16672" y="15369"/>
                    <a:pt x="15934" y="14631"/>
                    <a:pt x="14872" y="13154"/>
                  </a:cubicBezTo>
                  <a:cubicBezTo>
                    <a:pt x="13869" y="11677"/>
                    <a:pt x="13220" y="10939"/>
                    <a:pt x="12924" y="10939"/>
                  </a:cubicBezTo>
                  <a:cubicBezTo>
                    <a:pt x="11921" y="10939"/>
                    <a:pt x="11420" y="11353"/>
                    <a:pt x="11420" y="12185"/>
                  </a:cubicBezTo>
                  <a:cubicBezTo>
                    <a:pt x="11420" y="13154"/>
                    <a:pt x="12275" y="14284"/>
                    <a:pt x="13986" y="15577"/>
                  </a:cubicBezTo>
                  <a:cubicBezTo>
                    <a:pt x="15698" y="16915"/>
                    <a:pt x="16554" y="18092"/>
                    <a:pt x="16554" y="19108"/>
                  </a:cubicBezTo>
                  <a:cubicBezTo>
                    <a:pt x="16554" y="19569"/>
                    <a:pt x="16318" y="20076"/>
                    <a:pt x="15846" y="20631"/>
                  </a:cubicBezTo>
                  <a:cubicBezTo>
                    <a:pt x="15256" y="21277"/>
                    <a:pt x="14577" y="21600"/>
                    <a:pt x="13809" y="21600"/>
                  </a:cubicBezTo>
                  <a:cubicBezTo>
                    <a:pt x="12748" y="21600"/>
                    <a:pt x="11508" y="20192"/>
                    <a:pt x="10092" y="17377"/>
                  </a:cubicBezTo>
                  <a:cubicBezTo>
                    <a:pt x="8675" y="14515"/>
                    <a:pt x="7938" y="13085"/>
                    <a:pt x="7879" y="13085"/>
                  </a:cubicBezTo>
                  <a:cubicBezTo>
                    <a:pt x="7170" y="13085"/>
                    <a:pt x="6551" y="14054"/>
                    <a:pt x="6019" y="15992"/>
                  </a:cubicBezTo>
                  <a:cubicBezTo>
                    <a:pt x="5489" y="17931"/>
                    <a:pt x="4278" y="18900"/>
                    <a:pt x="2390" y="18900"/>
                  </a:cubicBezTo>
                  <a:cubicBezTo>
                    <a:pt x="1741" y="18900"/>
                    <a:pt x="1180" y="18669"/>
                    <a:pt x="708" y="18208"/>
                  </a:cubicBezTo>
                  <a:cubicBezTo>
                    <a:pt x="236" y="17746"/>
                    <a:pt x="0" y="17215"/>
                    <a:pt x="0" y="16615"/>
                  </a:cubicBezTo>
                  <a:cubicBezTo>
                    <a:pt x="0" y="16384"/>
                    <a:pt x="354" y="15854"/>
                    <a:pt x="1062" y="15023"/>
                  </a:cubicBezTo>
                  <a:cubicBezTo>
                    <a:pt x="1712" y="14238"/>
                    <a:pt x="2036" y="13754"/>
                    <a:pt x="2036" y="13569"/>
                  </a:cubicBezTo>
                  <a:cubicBezTo>
                    <a:pt x="1387" y="11723"/>
                    <a:pt x="1062" y="10615"/>
                    <a:pt x="1062" y="10247"/>
                  </a:cubicBezTo>
                  <a:lnTo>
                    <a:pt x="1416" y="8862"/>
                  </a:lnTo>
                  <a:cubicBezTo>
                    <a:pt x="826" y="7753"/>
                    <a:pt x="531" y="7107"/>
                    <a:pt x="531" y="6923"/>
                  </a:cubicBezTo>
                  <a:cubicBezTo>
                    <a:pt x="531" y="6000"/>
                    <a:pt x="944" y="5538"/>
                    <a:pt x="1770" y="5538"/>
                  </a:cubicBezTo>
                  <a:cubicBezTo>
                    <a:pt x="2065" y="5538"/>
                    <a:pt x="2449" y="5608"/>
                    <a:pt x="2921" y="5746"/>
                  </a:cubicBezTo>
                  <a:cubicBezTo>
                    <a:pt x="3393" y="5884"/>
                    <a:pt x="3748" y="5954"/>
                    <a:pt x="3984" y="5954"/>
                  </a:cubicBezTo>
                  <a:cubicBezTo>
                    <a:pt x="4514" y="5954"/>
                    <a:pt x="4810" y="5077"/>
                    <a:pt x="4869" y="3324"/>
                  </a:cubicBezTo>
                  <a:cubicBezTo>
                    <a:pt x="4928" y="1570"/>
                    <a:pt x="5695" y="693"/>
                    <a:pt x="7170" y="693"/>
                  </a:cubicBezTo>
                  <a:lnTo>
                    <a:pt x="10003" y="970"/>
                  </a:lnTo>
                  <a:cubicBezTo>
                    <a:pt x="10357" y="970"/>
                    <a:pt x="10771" y="808"/>
                    <a:pt x="11243" y="485"/>
                  </a:cubicBezTo>
                  <a:cubicBezTo>
                    <a:pt x="11715" y="162"/>
                    <a:pt x="12187" y="0"/>
                    <a:pt x="12659" y="0"/>
                  </a:cubicBezTo>
                  <a:cubicBezTo>
                    <a:pt x="13426" y="0"/>
                    <a:pt x="14222" y="277"/>
                    <a:pt x="15049" y="831"/>
                  </a:cubicBezTo>
                  <a:cubicBezTo>
                    <a:pt x="15816" y="1339"/>
                    <a:pt x="16200" y="1801"/>
                    <a:pt x="16200" y="2216"/>
                  </a:cubicBezTo>
                  <a:cubicBezTo>
                    <a:pt x="16200" y="2493"/>
                    <a:pt x="16111" y="2861"/>
                    <a:pt x="15934" y="3324"/>
                  </a:cubicBezTo>
                  <a:close/>
                  <a:moveTo>
                    <a:pt x="15934" y="332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3" name="AutoShape 160"/>
            <p:cNvSpPr>
              <a:spLocks/>
            </p:cNvSpPr>
            <p:nvPr/>
          </p:nvSpPr>
          <p:spPr bwMode="auto">
            <a:xfrm>
              <a:off x="5498120" y="2999759"/>
              <a:ext cx="25525" cy="56155"/>
            </a:xfrm>
            <a:custGeom>
              <a:avLst/>
              <a:gdLst/>
              <a:ahLst/>
              <a:cxnLst/>
              <a:rect l="0" t="0" r="r" b="b"/>
              <a:pathLst>
                <a:path w="21600" h="21600">
                  <a:moveTo>
                    <a:pt x="7086" y="2183"/>
                  </a:moveTo>
                  <a:cubicBezTo>
                    <a:pt x="8122" y="727"/>
                    <a:pt x="9504" y="0"/>
                    <a:pt x="11232" y="0"/>
                  </a:cubicBezTo>
                  <a:cubicBezTo>
                    <a:pt x="13767" y="0"/>
                    <a:pt x="16762" y="1663"/>
                    <a:pt x="20218" y="4990"/>
                  </a:cubicBezTo>
                  <a:cubicBezTo>
                    <a:pt x="18605" y="5510"/>
                    <a:pt x="17798" y="6186"/>
                    <a:pt x="17798" y="7018"/>
                  </a:cubicBezTo>
                  <a:cubicBezTo>
                    <a:pt x="17798" y="7538"/>
                    <a:pt x="18433" y="8058"/>
                    <a:pt x="19700" y="8578"/>
                  </a:cubicBezTo>
                  <a:cubicBezTo>
                    <a:pt x="20967" y="9097"/>
                    <a:pt x="21600" y="9487"/>
                    <a:pt x="21600" y="9747"/>
                  </a:cubicBezTo>
                  <a:cubicBezTo>
                    <a:pt x="21600" y="10475"/>
                    <a:pt x="20390" y="11723"/>
                    <a:pt x="17972" y="13491"/>
                  </a:cubicBezTo>
                  <a:cubicBezTo>
                    <a:pt x="15437" y="15206"/>
                    <a:pt x="14170" y="16169"/>
                    <a:pt x="14170" y="16376"/>
                  </a:cubicBezTo>
                  <a:cubicBezTo>
                    <a:pt x="14170" y="16636"/>
                    <a:pt x="14573" y="17026"/>
                    <a:pt x="15380" y="17546"/>
                  </a:cubicBezTo>
                  <a:cubicBezTo>
                    <a:pt x="16187" y="18065"/>
                    <a:pt x="16590" y="18559"/>
                    <a:pt x="16590" y="19027"/>
                  </a:cubicBezTo>
                  <a:cubicBezTo>
                    <a:pt x="16590" y="19288"/>
                    <a:pt x="16129" y="19677"/>
                    <a:pt x="15206" y="20197"/>
                  </a:cubicBezTo>
                  <a:cubicBezTo>
                    <a:pt x="14285" y="20717"/>
                    <a:pt x="13595" y="20977"/>
                    <a:pt x="13134" y="20977"/>
                  </a:cubicBezTo>
                  <a:cubicBezTo>
                    <a:pt x="12442" y="20977"/>
                    <a:pt x="11867" y="20820"/>
                    <a:pt x="11406" y="20509"/>
                  </a:cubicBezTo>
                  <a:cubicBezTo>
                    <a:pt x="10945" y="20197"/>
                    <a:pt x="10253" y="20041"/>
                    <a:pt x="9332" y="20041"/>
                  </a:cubicBezTo>
                  <a:cubicBezTo>
                    <a:pt x="7950" y="20041"/>
                    <a:pt x="6855" y="20301"/>
                    <a:pt x="6048" y="20820"/>
                  </a:cubicBezTo>
                  <a:cubicBezTo>
                    <a:pt x="5127" y="21341"/>
                    <a:pt x="3974" y="21600"/>
                    <a:pt x="2592" y="21600"/>
                  </a:cubicBezTo>
                  <a:cubicBezTo>
                    <a:pt x="979" y="21600"/>
                    <a:pt x="461" y="20977"/>
                    <a:pt x="1038" y="19729"/>
                  </a:cubicBezTo>
                  <a:cubicBezTo>
                    <a:pt x="1153" y="19365"/>
                    <a:pt x="1038" y="18845"/>
                    <a:pt x="692" y="18170"/>
                  </a:cubicBezTo>
                  <a:cubicBezTo>
                    <a:pt x="231" y="17389"/>
                    <a:pt x="0" y="16844"/>
                    <a:pt x="0" y="16531"/>
                  </a:cubicBezTo>
                  <a:cubicBezTo>
                    <a:pt x="0" y="15752"/>
                    <a:pt x="1613" y="14686"/>
                    <a:pt x="4838" y="13334"/>
                  </a:cubicBezTo>
                  <a:cubicBezTo>
                    <a:pt x="7950" y="11982"/>
                    <a:pt x="9504" y="10423"/>
                    <a:pt x="9504" y="8656"/>
                  </a:cubicBezTo>
                  <a:cubicBezTo>
                    <a:pt x="9504" y="8084"/>
                    <a:pt x="8929" y="7408"/>
                    <a:pt x="7776" y="6628"/>
                  </a:cubicBezTo>
                  <a:cubicBezTo>
                    <a:pt x="6625" y="5900"/>
                    <a:pt x="6048" y="5146"/>
                    <a:pt x="6048" y="4367"/>
                  </a:cubicBezTo>
                  <a:cubicBezTo>
                    <a:pt x="6279" y="3638"/>
                    <a:pt x="6625" y="2911"/>
                    <a:pt x="7086" y="2183"/>
                  </a:cubicBezTo>
                  <a:close/>
                  <a:moveTo>
                    <a:pt x="7086" y="218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4" name="AutoShape 161"/>
            <p:cNvSpPr>
              <a:spLocks/>
            </p:cNvSpPr>
            <p:nvPr/>
          </p:nvSpPr>
          <p:spPr bwMode="auto">
            <a:xfrm>
              <a:off x="5530793" y="2971170"/>
              <a:ext cx="42882" cy="69939"/>
            </a:xfrm>
            <a:custGeom>
              <a:avLst/>
              <a:gdLst/>
              <a:ahLst/>
              <a:cxnLst/>
              <a:rect l="0" t="0" r="r" b="b"/>
              <a:pathLst>
                <a:path w="21600" h="21600">
                  <a:moveTo>
                    <a:pt x="14606" y="0"/>
                  </a:moveTo>
                  <a:cubicBezTo>
                    <a:pt x="15498" y="0"/>
                    <a:pt x="16835" y="336"/>
                    <a:pt x="18618" y="1005"/>
                  </a:cubicBezTo>
                  <a:cubicBezTo>
                    <a:pt x="20607" y="1759"/>
                    <a:pt x="21600" y="2491"/>
                    <a:pt x="21600" y="3202"/>
                  </a:cubicBezTo>
                  <a:cubicBezTo>
                    <a:pt x="21600" y="3244"/>
                    <a:pt x="20469" y="4333"/>
                    <a:pt x="18206" y="6468"/>
                  </a:cubicBezTo>
                  <a:cubicBezTo>
                    <a:pt x="15943" y="8644"/>
                    <a:pt x="14812" y="10549"/>
                    <a:pt x="14812" y="12182"/>
                  </a:cubicBezTo>
                  <a:cubicBezTo>
                    <a:pt x="14812" y="13103"/>
                    <a:pt x="15018" y="13730"/>
                    <a:pt x="15429" y="14065"/>
                  </a:cubicBezTo>
                  <a:cubicBezTo>
                    <a:pt x="15840" y="14358"/>
                    <a:pt x="16046" y="14651"/>
                    <a:pt x="16046" y="14945"/>
                  </a:cubicBezTo>
                  <a:cubicBezTo>
                    <a:pt x="16046" y="15447"/>
                    <a:pt x="15669" y="15803"/>
                    <a:pt x="14914" y="16011"/>
                  </a:cubicBezTo>
                  <a:cubicBezTo>
                    <a:pt x="14160" y="16221"/>
                    <a:pt x="13783" y="16619"/>
                    <a:pt x="13783" y="17205"/>
                  </a:cubicBezTo>
                  <a:cubicBezTo>
                    <a:pt x="13783" y="17414"/>
                    <a:pt x="13921" y="17727"/>
                    <a:pt x="14195" y="18147"/>
                  </a:cubicBezTo>
                  <a:cubicBezTo>
                    <a:pt x="14195" y="18314"/>
                    <a:pt x="14057" y="18482"/>
                    <a:pt x="13783" y="18648"/>
                  </a:cubicBezTo>
                  <a:cubicBezTo>
                    <a:pt x="13509" y="18816"/>
                    <a:pt x="13167" y="18900"/>
                    <a:pt x="12755" y="18900"/>
                  </a:cubicBezTo>
                  <a:cubicBezTo>
                    <a:pt x="12412" y="18900"/>
                    <a:pt x="12000" y="18733"/>
                    <a:pt x="11520" y="18398"/>
                  </a:cubicBezTo>
                  <a:cubicBezTo>
                    <a:pt x="11040" y="18105"/>
                    <a:pt x="10595" y="17937"/>
                    <a:pt x="10183" y="17895"/>
                  </a:cubicBezTo>
                  <a:cubicBezTo>
                    <a:pt x="10183" y="18231"/>
                    <a:pt x="9977" y="18733"/>
                    <a:pt x="9567" y="19402"/>
                  </a:cubicBezTo>
                  <a:cubicBezTo>
                    <a:pt x="9155" y="20197"/>
                    <a:pt x="8743" y="20596"/>
                    <a:pt x="8332" y="20596"/>
                  </a:cubicBezTo>
                  <a:cubicBezTo>
                    <a:pt x="7989" y="20596"/>
                    <a:pt x="7544" y="20302"/>
                    <a:pt x="6995" y="19716"/>
                  </a:cubicBezTo>
                  <a:cubicBezTo>
                    <a:pt x="6652" y="20010"/>
                    <a:pt x="5897" y="20386"/>
                    <a:pt x="4732" y="20846"/>
                  </a:cubicBezTo>
                  <a:cubicBezTo>
                    <a:pt x="3566" y="21348"/>
                    <a:pt x="2709" y="21600"/>
                    <a:pt x="2161" y="21600"/>
                  </a:cubicBezTo>
                  <a:cubicBezTo>
                    <a:pt x="720" y="21600"/>
                    <a:pt x="0" y="21160"/>
                    <a:pt x="0" y="20281"/>
                  </a:cubicBezTo>
                  <a:cubicBezTo>
                    <a:pt x="0" y="19026"/>
                    <a:pt x="549" y="18062"/>
                    <a:pt x="1646" y="17393"/>
                  </a:cubicBezTo>
                  <a:cubicBezTo>
                    <a:pt x="2607" y="16849"/>
                    <a:pt x="3840" y="16577"/>
                    <a:pt x="5349" y="16577"/>
                  </a:cubicBezTo>
                  <a:cubicBezTo>
                    <a:pt x="6241" y="16577"/>
                    <a:pt x="6755" y="16368"/>
                    <a:pt x="6892" y="15949"/>
                  </a:cubicBezTo>
                  <a:cubicBezTo>
                    <a:pt x="6960" y="15363"/>
                    <a:pt x="7063" y="14945"/>
                    <a:pt x="7200" y="14693"/>
                  </a:cubicBezTo>
                  <a:cubicBezTo>
                    <a:pt x="7338" y="14400"/>
                    <a:pt x="7784" y="14086"/>
                    <a:pt x="8538" y="13751"/>
                  </a:cubicBezTo>
                  <a:cubicBezTo>
                    <a:pt x="9223" y="13416"/>
                    <a:pt x="9567" y="13165"/>
                    <a:pt x="9567" y="12998"/>
                  </a:cubicBezTo>
                  <a:cubicBezTo>
                    <a:pt x="8812" y="13165"/>
                    <a:pt x="8126" y="13082"/>
                    <a:pt x="7509" y="12747"/>
                  </a:cubicBezTo>
                  <a:cubicBezTo>
                    <a:pt x="6892" y="12412"/>
                    <a:pt x="6583" y="11972"/>
                    <a:pt x="6583" y="11428"/>
                  </a:cubicBezTo>
                  <a:cubicBezTo>
                    <a:pt x="8298" y="8833"/>
                    <a:pt x="9429" y="7033"/>
                    <a:pt x="9977" y="6028"/>
                  </a:cubicBezTo>
                  <a:cubicBezTo>
                    <a:pt x="11006" y="3642"/>
                    <a:pt x="11692" y="2115"/>
                    <a:pt x="12034" y="1444"/>
                  </a:cubicBezTo>
                  <a:cubicBezTo>
                    <a:pt x="12583" y="482"/>
                    <a:pt x="13441" y="0"/>
                    <a:pt x="14606" y="0"/>
                  </a:cubicBezTo>
                  <a:close/>
                  <a:moveTo>
                    <a:pt x="14606"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5" name="AutoShape 162"/>
            <p:cNvSpPr>
              <a:spLocks/>
            </p:cNvSpPr>
            <p:nvPr/>
          </p:nvSpPr>
          <p:spPr bwMode="auto">
            <a:xfrm>
              <a:off x="5522625" y="3056935"/>
              <a:ext cx="15826" cy="26036"/>
            </a:xfrm>
            <a:custGeom>
              <a:avLst/>
              <a:gdLst/>
              <a:ahLst/>
              <a:cxnLst/>
              <a:rect l="0" t="0" r="r" b="b"/>
              <a:pathLst>
                <a:path w="21600" h="21600">
                  <a:moveTo>
                    <a:pt x="10524" y="4019"/>
                  </a:moveTo>
                  <a:cubicBezTo>
                    <a:pt x="11814" y="6029"/>
                    <a:pt x="12460" y="7868"/>
                    <a:pt x="12460" y="9544"/>
                  </a:cubicBezTo>
                  <a:cubicBezTo>
                    <a:pt x="12460" y="10660"/>
                    <a:pt x="14031" y="11776"/>
                    <a:pt x="17168" y="12892"/>
                  </a:cubicBezTo>
                  <a:cubicBezTo>
                    <a:pt x="20121" y="13897"/>
                    <a:pt x="21600" y="15013"/>
                    <a:pt x="21600" y="16242"/>
                  </a:cubicBezTo>
                  <a:cubicBezTo>
                    <a:pt x="21600" y="17581"/>
                    <a:pt x="18093" y="18810"/>
                    <a:pt x="11076" y="19926"/>
                  </a:cubicBezTo>
                  <a:cubicBezTo>
                    <a:pt x="10338" y="20037"/>
                    <a:pt x="9599" y="20148"/>
                    <a:pt x="8861" y="20261"/>
                  </a:cubicBezTo>
                  <a:cubicBezTo>
                    <a:pt x="6463" y="20931"/>
                    <a:pt x="4800" y="21377"/>
                    <a:pt x="3878" y="21600"/>
                  </a:cubicBezTo>
                  <a:cubicBezTo>
                    <a:pt x="1663" y="19815"/>
                    <a:pt x="554" y="18252"/>
                    <a:pt x="554" y="16911"/>
                  </a:cubicBezTo>
                  <a:cubicBezTo>
                    <a:pt x="554" y="16131"/>
                    <a:pt x="1017" y="15180"/>
                    <a:pt x="1939" y="14066"/>
                  </a:cubicBezTo>
                  <a:cubicBezTo>
                    <a:pt x="2864" y="13059"/>
                    <a:pt x="3323" y="12445"/>
                    <a:pt x="3323" y="12223"/>
                  </a:cubicBezTo>
                  <a:cubicBezTo>
                    <a:pt x="3323" y="11665"/>
                    <a:pt x="2769" y="10156"/>
                    <a:pt x="1663" y="7705"/>
                  </a:cubicBezTo>
                  <a:cubicBezTo>
                    <a:pt x="554" y="5247"/>
                    <a:pt x="0" y="3181"/>
                    <a:pt x="0" y="1507"/>
                  </a:cubicBezTo>
                  <a:cubicBezTo>
                    <a:pt x="0" y="1060"/>
                    <a:pt x="646" y="671"/>
                    <a:pt x="1939" y="335"/>
                  </a:cubicBezTo>
                  <a:cubicBezTo>
                    <a:pt x="2864" y="111"/>
                    <a:pt x="3602" y="0"/>
                    <a:pt x="4153" y="0"/>
                  </a:cubicBezTo>
                  <a:cubicBezTo>
                    <a:pt x="6739" y="0"/>
                    <a:pt x="8861" y="1339"/>
                    <a:pt x="10524" y="4019"/>
                  </a:cubicBezTo>
                  <a:close/>
                  <a:moveTo>
                    <a:pt x="10524" y="401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6" name="AutoShape 163"/>
            <p:cNvSpPr>
              <a:spLocks/>
            </p:cNvSpPr>
            <p:nvPr/>
          </p:nvSpPr>
          <p:spPr bwMode="auto">
            <a:xfrm>
              <a:off x="5514457" y="3101859"/>
              <a:ext cx="36756" cy="125074"/>
            </a:xfrm>
            <a:custGeom>
              <a:avLst/>
              <a:gdLst/>
              <a:ahLst/>
              <a:cxnLst/>
              <a:rect l="0" t="0" r="r" b="b"/>
              <a:pathLst>
                <a:path w="21600" h="21600">
                  <a:moveTo>
                    <a:pt x="8189" y="1794"/>
                  </a:moveTo>
                  <a:cubicBezTo>
                    <a:pt x="8268" y="1278"/>
                    <a:pt x="8348" y="903"/>
                    <a:pt x="8427" y="668"/>
                  </a:cubicBezTo>
                  <a:cubicBezTo>
                    <a:pt x="8665" y="223"/>
                    <a:pt x="9574" y="0"/>
                    <a:pt x="11156" y="0"/>
                  </a:cubicBezTo>
                  <a:cubicBezTo>
                    <a:pt x="12976" y="0"/>
                    <a:pt x="14202" y="329"/>
                    <a:pt x="14835" y="985"/>
                  </a:cubicBezTo>
                  <a:cubicBezTo>
                    <a:pt x="15073" y="1267"/>
                    <a:pt x="15904" y="1478"/>
                    <a:pt x="17328" y="1618"/>
                  </a:cubicBezTo>
                  <a:cubicBezTo>
                    <a:pt x="18594" y="1759"/>
                    <a:pt x="19226" y="1970"/>
                    <a:pt x="19226" y="2252"/>
                  </a:cubicBezTo>
                  <a:cubicBezTo>
                    <a:pt x="19226" y="2557"/>
                    <a:pt x="18633" y="2873"/>
                    <a:pt x="17446" y="3201"/>
                  </a:cubicBezTo>
                  <a:cubicBezTo>
                    <a:pt x="16181" y="3483"/>
                    <a:pt x="15548" y="3776"/>
                    <a:pt x="15548" y="4081"/>
                  </a:cubicBezTo>
                  <a:cubicBezTo>
                    <a:pt x="15548" y="4245"/>
                    <a:pt x="16102" y="4386"/>
                    <a:pt x="17209" y="4503"/>
                  </a:cubicBezTo>
                  <a:cubicBezTo>
                    <a:pt x="18238" y="4644"/>
                    <a:pt x="18752" y="4878"/>
                    <a:pt x="18752" y="5207"/>
                  </a:cubicBezTo>
                  <a:lnTo>
                    <a:pt x="18277" y="6016"/>
                  </a:lnTo>
                  <a:cubicBezTo>
                    <a:pt x="18277" y="6250"/>
                    <a:pt x="18752" y="6544"/>
                    <a:pt x="19702" y="6895"/>
                  </a:cubicBezTo>
                  <a:cubicBezTo>
                    <a:pt x="20651" y="7247"/>
                    <a:pt x="21126" y="7564"/>
                    <a:pt x="21126" y="7845"/>
                  </a:cubicBezTo>
                  <a:cubicBezTo>
                    <a:pt x="21126" y="7986"/>
                    <a:pt x="20928" y="8314"/>
                    <a:pt x="20533" y="8830"/>
                  </a:cubicBezTo>
                  <a:cubicBezTo>
                    <a:pt x="20136" y="9370"/>
                    <a:pt x="19939" y="9768"/>
                    <a:pt x="19939" y="10026"/>
                  </a:cubicBezTo>
                  <a:cubicBezTo>
                    <a:pt x="19939" y="10144"/>
                    <a:pt x="20492" y="10753"/>
                    <a:pt x="21600" y="11856"/>
                  </a:cubicBezTo>
                  <a:cubicBezTo>
                    <a:pt x="21600" y="12043"/>
                    <a:pt x="21284" y="12137"/>
                    <a:pt x="20651" y="12137"/>
                  </a:cubicBezTo>
                  <a:cubicBezTo>
                    <a:pt x="20334" y="12137"/>
                    <a:pt x="19662" y="12078"/>
                    <a:pt x="18633" y="11961"/>
                  </a:cubicBezTo>
                  <a:cubicBezTo>
                    <a:pt x="17684" y="11844"/>
                    <a:pt x="17130" y="11786"/>
                    <a:pt x="16972" y="11786"/>
                  </a:cubicBezTo>
                  <a:cubicBezTo>
                    <a:pt x="16576" y="11786"/>
                    <a:pt x="16181" y="11985"/>
                    <a:pt x="15785" y="12384"/>
                  </a:cubicBezTo>
                  <a:cubicBezTo>
                    <a:pt x="15469" y="12712"/>
                    <a:pt x="15310" y="12946"/>
                    <a:pt x="15310" y="13087"/>
                  </a:cubicBezTo>
                  <a:cubicBezTo>
                    <a:pt x="15310" y="13533"/>
                    <a:pt x="16022" y="13872"/>
                    <a:pt x="17446" y="14107"/>
                  </a:cubicBezTo>
                  <a:cubicBezTo>
                    <a:pt x="18792" y="14318"/>
                    <a:pt x="19464" y="14517"/>
                    <a:pt x="19464" y="14705"/>
                  </a:cubicBezTo>
                  <a:cubicBezTo>
                    <a:pt x="19464" y="14963"/>
                    <a:pt x="19029" y="15256"/>
                    <a:pt x="18159" y="15585"/>
                  </a:cubicBezTo>
                  <a:cubicBezTo>
                    <a:pt x="17209" y="15889"/>
                    <a:pt x="16735" y="16183"/>
                    <a:pt x="16735" y="16464"/>
                  </a:cubicBezTo>
                  <a:cubicBezTo>
                    <a:pt x="16735" y="16558"/>
                    <a:pt x="17249" y="16792"/>
                    <a:pt x="18277" y="17168"/>
                  </a:cubicBezTo>
                  <a:cubicBezTo>
                    <a:pt x="18277" y="17378"/>
                    <a:pt x="17249" y="17742"/>
                    <a:pt x="15192" y="18258"/>
                  </a:cubicBezTo>
                  <a:cubicBezTo>
                    <a:pt x="13135" y="18798"/>
                    <a:pt x="12106" y="19079"/>
                    <a:pt x="12106" y="19102"/>
                  </a:cubicBezTo>
                  <a:cubicBezTo>
                    <a:pt x="12106" y="19243"/>
                    <a:pt x="12541" y="19360"/>
                    <a:pt x="13412" y="19454"/>
                  </a:cubicBezTo>
                  <a:cubicBezTo>
                    <a:pt x="14202" y="19525"/>
                    <a:pt x="14599" y="19653"/>
                    <a:pt x="14599" y="19841"/>
                  </a:cubicBezTo>
                  <a:cubicBezTo>
                    <a:pt x="14599" y="20005"/>
                    <a:pt x="14202" y="20334"/>
                    <a:pt x="13412" y="20826"/>
                  </a:cubicBezTo>
                  <a:cubicBezTo>
                    <a:pt x="12541" y="21342"/>
                    <a:pt x="11868" y="21600"/>
                    <a:pt x="11394" y="21600"/>
                  </a:cubicBezTo>
                  <a:cubicBezTo>
                    <a:pt x="11235" y="21600"/>
                    <a:pt x="10840" y="21542"/>
                    <a:pt x="10207" y="21424"/>
                  </a:cubicBezTo>
                  <a:cubicBezTo>
                    <a:pt x="9494" y="21307"/>
                    <a:pt x="8743" y="21248"/>
                    <a:pt x="7952" y="21248"/>
                  </a:cubicBezTo>
                  <a:cubicBezTo>
                    <a:pt x="7557" y="21225"/>
                    <a:pt x="7161" y="21096"/>
                    <a:pt x="6765" y="20862"/>
                  </a:cubicBezTo>
                  <a:cubicBezTo>
                    <a:pt x="6449" y="20650"/>
                    <a:pt x="6291" y="20463"/>
                    <a:pt x="6291" y="20299"/>
                  </a:cubicBezTo>
                  <a:cubicBezTo>
                    <a:pt x="6291" y="20064"/>
                    <a:pt x="6568" y="19700"/>
                    <a:pt x="7121" y="19208"/>
                  </a:cubicBezTo>
                  <a:cubicBezTo>
                    <a:pt x="7675" y="18716"/>
                    <a:pt x="7952" y="18411"/>
                    <a:pt x="7952" y="18293"/>
                  </a:cubicBezTo>
                  <a:cubicBezTo>
                    <a:pt x="7952" y="18153"/>
                    <a:pt x="7517" y="18035"/>
                    <a:pt x="6647" y="17942"/>
                  </a:cubicBezTo>
                  <a:cubicBezTo>
                    <a:pt x="5776" y="17848"/>
                    <a:pt x="5341" y="17672"/>
                    <a:pt x="5341" y="17414"/>
                  </a:cubicBezTo>
                  <a:cubicBezTo>
                    <a:pt x="5341" y="17273"/>
                    <a:pt x="5657" y="16874"/>
                    <a:pt x="6291" y="16218"/>
                  </a:cubicBezTo>
                  <a:cubicBezTo>
                    <a:pt x="6924" y="15585"/>
                    <a:pt x="7240" y="15139"/>
                    <a:pt x="7240" y="14881"/>
                  </a:cubicBezTo>
                  <a:cubicBezTo>
                    <a:pt x="7240" y="14388"/>
                    <a:pt x="6053" y="13861"/>
                    <a:pt x="3680" y="13298"/>
                  </a:cubicBezTo>
                  <a:cubicBezTo>
                    <a:pt x="1227" y="12735"/>
                    <a:pt x="0" y="12254"/>
                    <a:pt x="0" y="11856"/>
                  </a:cubicBezTo>
                  <a:cubicBezTo>
                    <a:pt x="0" y="11715"/>
                    <a:pt x="238" y="11598"/>
                    <a:pt x="713" y="11504"/>
                  </a:cubicBezTo>
                  <a:cubicBezTo>
                    <a:pt x="1108" y="11410"/>
                    <a:pt x="1544" y="11363"/>
                    <a:pt x="2018" y="11363"/>
                  </a:cubicBezTo>
                  <a:cubicBezTo>
                    <a:pt x="2414" y="11363"/>
                    <a:pt x="3047" y="11410"/>
                    <a:pt x="3917" y="11504"/>
                  </a:cubicBezTo>
                  <a:cubicBezTo>
                    <a:pt x="4550" y="11504"/>
                    <a:pt x="4945" y="11422"/>
                    <a:pt x="5104" y="11258"/>
                  </a:cubicBezTo>
                  <a:cubicBezTo>
                    <a:pt x="5341" y="11000"/>
                    <a:pt x="5816" y="10765"/>
                    <a:pt x="6527" y="10554"/>
                  </a:cubicBezTo>
                  <a:cubicBezTo>
                    <a:pt x="6844" y="10437"/>
                    <a:pt x="7517" y="10367"/>
                    <a:pt x="8545" y="10343"/>
                  </a:cubicBezTo>
                  <a:cubicBezTo>
                    <a:pt x="9178" y="10296"/>
                    <a:pt x="9494" y="10144"/>
                    <a:pt x="9494" y="9886"/>
                  </a:cubicBezTo>
                  <a:cubicBezTo>
                    <a:pt x="9494" y="9463"/>
                    <a:pt x="8308" y="9147"/>
                    <a:pt x="5934" y="8936"/>
                  </a:cubicBezTo>
                  <a:cubicBezTo>
                    <a:pt x="3560" y="8725"/>
                    <a:pt x="2374" y="8432"/>
                    <a:pt x="2374" y="8056"/>
                  </a:cubicBezTo>
                  <a:cubicBezTo>
                    <a:pt x="2374" y="7916"/>
                    <a:pt x="4313" y="7224"/>
                    <a:pt x="8189" y="5981"/>
                  </a:cubicBezTo>
                  <a:cubicBezTo>
                    <a:pt x="11987" y="4714"/>
                    <a:pt x="13886" y="4010"/>
                    <a:pt x="13886" y="3870"/>
                  </a:cubicBezTo>
                  <a:cubicBezTo>
                    <a:pt x="13886" y="3729"/>
                    <a:pt x="13609" y="3600"/>
                    <a:pt x="13055" y="3483"/>
                  </a:cubicBezTo>
                  <a:cubicBezTo>
                    <a:pt x="12422" y="3342"/>
                    <a:pt x="11750" y="3272"/>
                    <a:pt x="11038" y="3272"/>
                  </a:cubicBezTo>
                  <a:cubicBezTo>
                    <a:pt x="7714" y="3553"/>
                    <a:pt x="5460" y="3694"/>
                    <a:pt x="4273" y="3694"/>
                  </a:cubicBezTo>
                  <a:cubicBezTo>
                    <a:pt x="1900" y="3694"/>
                    <a:pt x="713" y="3541"/>
                    <a:pt x="713" y="3237"/>
                  </a:cubicBezTo>
                  <a:cubicBezTo>
                    <a:pt x="713" y="2932"/>
                    <a:pt x="1780" y="2662"/>
                    <a:pt x="3917" y="2427"/>
                  </a:cubicBezTo>
                  <a:cubicBezTo>
                    <a:pt x="5816" y="2193"/>
                    <a:pt x="7201" y="1993"/>
                    <a:pt x="8071" y="1830"/>
                  </a:cubicBezTo>
                  <a:cubicBezTo>
                    <a:pt x="8071" y="1830"/>
                    <a:pt x="8189" y="1794"/>
                    <a:pt x="8189" y="1794"/>
                  </a:cubicBezTo>
                  <a:close/>
                  <a:moveTo>
                    <a:pt x="8189" y="179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7" name="AutoShape 164"/>
            <p:cNvSpPr>
              <a:spLocks/>
            </p:cNvSpPr>
            <p:nvPr/>
          </p:nvSpPr>
          <p:spPr bwMode="auto">
            <a:xfrm>
              <a:off x="5510373" y="3085523"/>
              <a:ext cx="16336" cy="26036"/>
            </a:xfrm>
            <a:custGeom>
              <a:avLst/>
              <a:gdLst/>
              <a:ahLst/>
              <a:cxnLst/>
              <a:rect l="0" t="0" r="r" b="b"/>
              <a:pathLst>
                <a:path w="21600" h="21600">
                  <a:moveTo>
                    <a:pt x="18362" y="333"/>
                  </a:moveTo>
                  <a:cubicBezTo>
                    <a:pt x="20522" y="775"/>
                    <a:pt x="21600" y="1551"/>
                    <a:pt x="21600" y="2658"/>
                  </a:cubicBezTo>
                  <a:cubicBezTo>
                    <a:pt x="21600" y="3212"/>
                    <a:pt x="20160" y="4875"/>
                    <a:pt x="17281" y="7642"/>
                  </a:cubicBezTo>
                  <a:cubicBezTo>
                    <a:pt x="15480" y="9417"/>
                    <a:pt x="14312" y="10745"/>
                    <a:pt x="13772" y="11631"/>
                  </a:cubicBezTo>
                  <a:cubicBezTo>
                    <a:pt x="13410" y="11963"/>
                    <a:pt x="13231" y="12239"/>
                    <a:pt x="13231" y="12461"/>
                  </a:cubicBezTo>
                  <a:cubicBezTo>
                    <a:pt x="12332" y="13348"/>
                    <a:pt x="11072" y="15009"/>
                    <a:pt x="9450" y="17446"/>
                  </a:cubicBezTo>
                  <a:cubicBezTo>
                    <a:pt x="7652" y="20217"/>
                    <a:pt x="6212" y="21600"/>
                    <a:pt x="5131" y="21600"/>
                  </a:cubicBezTo>
                  <a:cubicBezTo>
                    <a:pt x="3330" y="21600"/>
                    <a:pt x="1980" y="20217"/>
                    <a:pt x="1081" y="17446"/>
                  </a:cubicBezTo>
                  <a:cubicBezTo>
                    <a:pt x="361" y="15452"/>
                    <a:pt x="0" y="13403"/>
                    <a:pt x="0" y="11299"/>
                  </a:cubicBezTo>
                  <a:cubicBezTo>
                    <a:pt x="0" y="9084"/>
                    <a:pt x="1171" y="6812"/>
                    <a:pt x="3512" y="4487"/>
                  </a:cubicBezTo>
                  <a:cubicBezTo>
                    <a:pt x="6391" y="1496"/>
                    <a:pt x="10170" y="0"/>
                    <a:pt x="14850" y="0"/>
                  </a:cubicBezTo>
                  <a:cubicBezTo>
                    <a:pt x="15032" y="0"/>
                    <a:pt x="16200" y="110"/>
                    <a:pt x="18362" y="333"/>
                  </a:cubicBezTo>
                  <a:close/>
                  <a:moveTo>
                    <a:pt x="18362" y="33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8" name="AutoShape 165"/>
            <p:cNvSpPr>
              <a:spLocks/>
            </p:cNvSpPr>
            <p:nvPr/>
          </p:nvSpPr>
          <p:spPr bwMode="auto">
            <a:xfrm>
              <a:off x="5489952" y="3056935"/>
              <a:ext cx="18889" cy="30630"/>
            </a:xfrm>
            <a:custGeom>
              <a:avLst/>
              <a:gdLst/>
              <a:ahLst/>
              <a:cxnLst/>
              <a:rect l="0" t="0" r="r" b="b"/>
              <a:pathLst>
                <a:path w="21600" h="21600">
                  <a:moveTo>
                    <a:pt x="18844" y="0"/>
                  </a:moveTo>
                  <a:lnTo>
                    <a:pt x="21600" y="0"/>
                  </a:lnTo>
                  <a:lnTo>
                    <a:pt x="21600" y="2843"/>
                  </a:lnTo>
                  <a:cubicBezTo>
                    <a:pt x="19609" y="6822"/>
                    <a:pt x="16775" y="10801"/>
                    <a:pt x="13099" y="14780"/>
                  </a:cubicBezTo>
                  <a:cubicBezTo>
                    <a:pt x="8808" y="19327"/>
                    <a:pt x="5285" y="21600"/>
                    <a:pt x="2527" y="21600"/>
                  </a:cubicBezTo>
                  <a:cubicBezTo>
                    <a:pt x="842" y="21600"/>
                    <a:pt x="0" y="21268"/>
                    <a:pt x="0" y="20606"/>
                  </a:cubicBezTo>
                  <a:lnTo>
                    <a:pt x="6205" y="8669"/>
                  </a:lnTo>
                  <a:cubicBezTo>
                    <a:pt x="8808" y="4028"/>
                    <a:pt x="13021" y="1139"/>
                    <a:pt x="18844" y="0"/>
                  </a:cubicBezTo>
                  <a:close/>
                  <a:moveTo>
                    <a:pt x="18844"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89" name="AutoShape 166"/>
            <p:cNvSpPr>
              <a:spLocks/>
            </p:cNvSpPr>
            <p:nvPr/>
          </p:nvSpPr>
          <p:spPr bwMode="auto">
            <a:xfrm>
              <a:off x="5502204" y="3183540"/>
              <a:ext cx="8168" cy="32672"/>
            </a:xfrm>
            <a:custGeom>
              <a:avLst/>
              <a:gdLst/>
              <a:ahLst/>
              <a:cxnLst/>
              <a:rect l="0" t="0" r="r" b="b"/>
              <a:pathLst>
                <a:path w="21600" h="21600">
                  <a:moveTo>
                    <a:pt x="21600" y="3200"/>
                  </a:moveTo>
                  <a:cubicBezTo>
                    <a:pt x="21600" y="3556"/>
                    <a:pt x="21070" y="4400"/>
                    <a:pt x="20021" y="5735"/>
                  </a:cubicBezTo>
                  <a:cubicBezTo>
                    <a:pt x="18966" y="7068"/>
                    <a:pt x="18436" y="8222"/>
                    <a:pt x="18436" y="9201"/>
                  </a:cubicBezTo>
                  <a:lnTo>
                    <a:pt x="20545" y="15068"/>
                  </a:lnTo>
                  <a:cubicBezTo>
                    <a:pt x="20545" y="15422"/>
                    <a:pt x="20021" y="16000"/>
                    <a:pt x="18966" y="16801"/>
                  </a:cubicBezTo>
                  <a:cubicBezTo>
                    <a:pt x="18616" y="17067"/>
                    <a:pt x="18261" y="17378"/>
                    <a:pt x="17912" y="17734"/>
                  </a:cubicBezTo>
                  <a:cubicBezTo>
                    <a:pt x="17562" y="18178"/>
                    <a:pt x="17387" y="18623"/>
                    <a:pt x="17387" y="19067"/>
                  </a:cubicBezTo>
                  <a:cubicBezTo>
                    <a:pt x="17032" y="19511"/>
                    <a:pt x="16857" y="20000"/>
                    <a:pt x="16857" y="20533"/>
                  </a:cubicBezTo>
                  <a:cubicBezTo>
                    <a:pt x="16507" y="21244"/>
                    <a:pt x="14573" y="21600"/>
                    <a:pt x="11065" y="21600"/>
                  </a:cubicBezTo>
                  <a:cubicBezTo>
                    <a:pt x="7202" y="21600"/>
                    <a:pt x="4218" y="20134"/>
                    <a:pt x="2109" y="17200"/>
                  </a:cubicBezTo>
                  <a:cubicBezTo>
                    <a:pt x="705" y="15244"/>
                    <a:pt x="0" y="13332"/>
                    <a:pt x="0" y="11466"/>
                  </a:cubicBezTo>
                  <a:cubicBezTo>
                    <a:pt x="0" y="3823"/>
                    <a:pt x="5448" y="0"/>
                    <a:pt x="16332" y="0"/>
                  </a:cubicBezTo>
                  <a:cubicBezTo>
                    <a:pt x="19841" y="0"/>
                    <a:pt x="21600" y="1068"/>
                    <a:pt x="21600" y="3200"/>
                  </a:cubicBezTo>
                  <a:close/>
                  <a:moveTo>
                    <a:pt x="21600" y="32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0" name="AutoShape 167"/>
            <p:cNvSpPr>
              <a:spLocks/>
            </p:cNvSpPr>
            <p:nvPr/>
          </p:nvSpPr>
          <p:spPr bwMode="auto">
            <a:xfrm>
              <a:off x="5575717" y="3020179"/>
              <a:ext cx="8679" cy="7658"/>
            </a:xfrm>
            <a:custGeom>
              <a:avLst/>
              <a:gdLst/>
              <a:ahLst/>
              <a:cxnLst/>
              <a:rect l="0" t="0" r="r" b="b"/>
              <a:pathLst>
                <a:path w="21600" h="21600">
                  <a:moveTo>
                    <a:pt x="0" y="10521"/>
                  </a:moveTo>
                  <a:cubicBezTo>
                    <a:pt x="0" y="3507"/>
                    <a:pt x="2845" y="0"/>
                    <a:pt x="8541" y="0"/>
                  </a:cubicBezTo>
                  <a:cubicBezTo>
                    <a:pt x="9208" y="0"/>
                    <a:pt x="12892" y="1288"/>
                    <a:pt x="19594" y="3875"/>
                  </a:cubicBezTo>
                  <a:cubicBezTo>
                    <a:pt x="19927" y="5726"/>
                    <a:pt x="20594" y="7934"/>
                    <a:pt x="21600" y="10521"/>
                  </a:cubicBezTo>
                  <a:cubicBezTo>
                    <a:pt x="21600" y="13476"/>
                    <a:pt x="20261" y="16058"/>
                    <a:pt x="17582" y="18277"/>
                  </a:cubicBezTo>
                  <a:cubicBezTo>
                    <a:pt x="14570" y="20491"/>
                    <a:pt x="11386" y="21600"/>
                    <a:pt x="8036" y="21600"/>
                  </a:cubicBezTo>
                  <a:cubicBezTo>
                    <a:pt x="2679" y="21600"/>
                    <a:pt x="0" y="17903"/>
                    <a:pt x="0" y="10521"/>
                  </a:cubicBezTo>
                  <a:close/>
                  <a:moveTo>
                    <a:pt x="0" y="1052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1" name="AutoShape 168"/>
            <p:cNvSpPr>
              <a:spLocks/>
            </p:cNvSpPr>
            <p:nvPr/>
          </p:nvSpPr>
          <p:spPr bwMode="auto">
            <a:xfrm>
              <a:off x="5538961" y="3052851"/>
              <a:ext cx="30630" cy="46456"/>
            </a:xfrm>
            <a:custGeom>
              <a:avLst/>
              <a:gdLst/>
              <a:ahLst/>
              <a:cxnLst/>
              <a:rect l="0" t="0" r="r" b="b"/>
              <a:pathLst>
                <a:path w="21600" h="21600">
                  <a:moveTo>
                    <a:pt x="5542" y="0"/>
                  </a:moveTo>
                  <a:cubicBezTo>
                    <a:pt x="6299" y="0"/>
                    <a:pt x="9189" y="1610"/>
                    <a:pt x="14211" y="4831"/>
                  </a:cubicBezTo>
                  <a:cubicBezTo>
                    <a:pt x="19137" y="7989"/>
                    <a:pt x="21600" y="9663"/>
                    <a:pt x="21600" y="9852"/>
                  </a:cubicBezTo>
                  <a:cubicBezTo>
                    <a:pt x="21600" y="10484"/>
                    <a:pt x="20701" y="11810"/>
                    <a:pt x="18901" y="13832"/>
                  </a:cubicBezTo>
                  <a:cubicBezTo>
                    <a:pt x="17101" y="15726"/>
                    <a:pt x="16011" y="16673"/>
                    <a:pt x="15632" y="16673"/>
                  </a:cubicBezTo>
                  <a:cubicBezTo>
                    <a:pt x="14306" y="16673"/>
                    <a:pt x="13642" y="16106"/>
                    <a:pt x="13642" y="14969"/>
                  </a:cubicBezTo>
                  <a:lnTo>
                    <a:pt x="14779" y="13832"/>
                  </a:lnTo>
                  <a:cubicBezTo>
                    <a:pt x="14494" y="13579"/>
                    <a:pt x="14258" y="13168"/>
                    <a:pt x="14068" y="12600"/>
                  </a:cubicBezTo>
                  <a:cubicBezTo>
                    <a:pt x="13880" y="12348"/>
                    <a:pt x="13501" y="12221"/>
                    <a:pt x="12932" y="12221"/>
                  </a:cubicBezTo>
                  <a:cubicBezTo>
                    <a:pt x="11511" y="12221"/>
                    <a:pt x="10610" y="13800"/>
                    <a:pt x="10231" y="16958"/>
                  </a:cubicBezTo>
                  <a:cubicBezTo>
                    <a:pt x="9852" y="20053"/>
                    <a:pt x="8763" y="21600"/>
                    <a:pt x="6963" y="21600"/>
                  </a:cubicBezTo>
                  <a:cubicBezTo>
                    <a:pt x="6395" y="21600"/>
                    <a:pt x="5732" y="21317"/>
                    <a:pt x="4974" y="20747"/>
                  </a:cubicBezTo>
                  <a:cubicBezTo>
                    <a:pt x="4120" y="20117"/>
                    <a:pt x="3410" y="19800"/>
                    <a:pt x="2842" y="19800"/>
                  </a:cubicBezTo>
                  <a:cubicBezTo>
                    <a:pt x="1610" y="19737"/>
                    <a:pt x="805" y="19453"/>
                    <a:pt x="426" y="18948"/>
                  </a:cubicBezTo>
                  <a:cubicBezTo>
                    <a:pt x="142" y="18695"/>
                    <a:pt x="0" y="18221"/>
                    <a:pt x="0" y="17527"/>
                  </a:cubicBezTo>
                  <a:cubicBezTo>
                    <a:pt x="0" y="16452"/>
                    <a:pt x="899" y="15158"/>
                    <a:pt x="2699" y="13642"/>
                  </a:cubicBezTo>
                  <a:cubicBezTo>
                    <a:pt x="4405" y="12063"/>
                    <a:pt x="5257" y="10484"/>
                    <a:pt x="5257" y="8904"/>
                  </a:cubicBezTo>
                  <a:cubicBezTo>
                    <a:pt x="5257" y="8274"/>
                    <a:pt x="5068" y="7074"/>
                    <a:pt x="4689" y="5305"/>
                  </a:cubicBezTo>
                  <a:cubicBezTo>
                    <a:pt x="4215" y="3600"/>
                    <a:pt x="3979" y="2400"/>
                    <a:pt x="3979" y="1705"/>
                  </a:cubicBezTo>
                  <a:cubicBezTo>
                    <a:pt x="3979" y="568"/>
                    <a:pt x="4499" y="0"/>
                    <a:pt x="5542" y="0"/>
                  </a:cubicBezTo>
                  <a:close/>
                  <a:moveTo>
                    <a:pt x="5542"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2" name="AutoShape 169"/>
            <p:cNvSpPr>
              <a:spLocks/>
            </p:cNvSpPr>
            <p:nvPr/>
          </p:nvSpPr>
          <p:spPr bwMode="auto">
            <a:xfrm>
              <a:off x="5563465" y="3167204"/>
              <a:ext cx="33693" cy="53092"/>
            </a:xfrm>
            <a:custGeom>
              <a:avLst/>
              <a:gdLst/>
              <a:ahLst/>
              <a:cxnLst/>
              <a:rect l="0" t="0" r="r" b="b"/>
              <a:pathLst>
                <a:path w="21600" h="21600">
                  <a:moveTo>
                    <a:pt x="2342" y="8442"/>
                  </a:moveTo>
                  <a:cubicBezTo>
                    <a:pt x="4163" y="7337"/>
                    <a:pt x="5335" y="6566"/>
                    <a:pt x="5856" y="6124"/>
                  </a:cubicBezTo>
                  <a:cubicBezTo>
                    <a:pt x="10973" y="2041"/>
                    <a:pt x="14833" y="0"/>
                    <a:pt x="17436" y="0"/>
                  </a:cubicBezTo>
                  <a:cubicBezTo>
                    <a:pt x="18304" y="0"/>
                    <a:pt x="19127" y="332"/>
                    <a:pt x="19909" y="993"/>
                  </a:cubicBezTo>
                  <a:cubicBezTo>
                    <a:pt x="20256" y="1324"/>
                    <a:pt x="20820" y="1958"/>
                    <a:pt x="21600" y="2896"/>
                  </a:cubicBezTo>
                  <a:cubicBezTo>
                    <a:pt x="21600" y="4165"/>
                    <a:pt x="21210" y="5434"/>
                    <a:pt x="20428" y="6703"/>
                  </a:cubicBezTo>
                  <a:cubicBezTo>
                    <a:pt x="18954" y="9186"/>
                    <a:pt x="17914" y="11034"/>
                    <a:pt x="17306" y="12248"/>
                  </a:cubicBezTo>
                  <a:cubicBezTo>
                    <a:pt x="14617" y="18483"/>
                    <a:pt x="11970" y="21600"/>
                    <a:pt x="9368" y="21600"/>
                  </a:cubicBezTo>
                  <a:cubicBezTo>
                    <a:pt x="7547" y="21600"/>
                    <a:pt x="6636" y="20028"/>
                    <a:pt x="6636" y="16883"/>
                  </a:cubicBezTo>
                  <a:cubicBezTo>
                    <a:pt x="6636" y="16551"/>
                    <a:pt x="7504" y="15337"/>
                    <a:pt x="9238" y="13241"/>
                  </a:cubicBezTo>
                  <a:lnTo>
                    <a:pt x="11711" y="10179"/>
                  </a:lnTo>
                  <a:lnTo>
                    <a:pt x="11711" y="9186"/>
                  </a:lnTo>
                  <a:cubicBezTo>
                    <a:pt x="11537" y="9076"/>
                    <a:pt x="11233" y="9021"/>
                    <a:pt x="10800" y="9021"/>
                  </a:cubicBezTo>
                  <a:cubicBezTo>
                    <a:pt x="10279" y="9021"/>
                    <a:pt x="9064" y="9656"/>
                    <a:pt x="7157" y="10924"/>
                  </a:cubicBezTo>
                  <a:cubicBezTo>
                    <a:pt x="5335" y="12138"/>
                    <a:pt x="3859" y="12745"/>
                    <a:pt x="2732" y="12745"/>
                  </a:cubicBezTo>
                  <a:cubicBezTo>
                    <a:pt x="2211" y="12745"/>
                    <a:pt x="1648" y="12579"/>
                    <a:pt x="1041" y="12248"/>
                  </a:cubicBezTo>
                  <a:cubicBezTo>
                    <a:pt x="347" y="11917"/>
                    <a:pt x="0" y="11586"/>
                    <a:pt x="0" y="11255"/>
                  </a:cubicBezTo>
                  <a:cubicBezTo>
                    <a:pt x="0" y="10427"/>
                    <a:pt x="780" y="9490"/>
                    <a:pt x="2342" y="8442"/>
                  </a:cubicBezTo>
                  <a:close/>
                  <a:moveTo>
                    <a:pt x="2342" y="844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3" name="AutoShape 170"/>
            <p:cNvSpPr>
              <a:spLocks/>
            </p:cNvSpPr>
            <p:nvPr/>
          </p:nvSpPr>
          <p:spPr bwMode="auto">
            <a:xfrm>
              <a:off x="5551213" y="3105943"/>
              <a:ext cx="13273" cy="13273"/>
            </a:xfrm>
            <a:custGeom>
              <a:avLst/>
              <a:gdLst/>
              <a:ahLst/>
              <a:cxnLst/>
              <a:rect l="0" t="0" r="r" b="b"/>
              <a:pathLst>
                <a:path w="21600" h="21600">
                  <a:moveTo>
                    <a:pt x="10472" y="0"/>
                  </a:moveTo>
                  <a:cubicBezTo>
                    <a:pt x="12217" y="0"/>
                    <a:pt x="13307" y="110"/>
                    <a:pt x="13745" y="325"/>
                  </a:cubicBezTo>
                  <a:cubicBezTo>
                    <a:pt x="14400" y="539"/>
                    <a:pt x="15272" y="1934"/>
                    <a:pt x="16362" y="4515"/>
                  </a:cubicBezTo>
                  <a:cubicBezTo>
                    <a:pt x="17017" y="4943"/>
                    <a:pt x="17672" y="5479"/>
                    <a:pt x="18328" y="6125"/>
                  </a:cubicBezTo>
                  <a:cubicBezTo>
                    <a:pt x="20507" y="7845"/>
                    <a:pt x="21600" y="9669"/>
                    <a:pt x="21600" y="11607"/>
                  </a:cubicBezTo>
                  <a:cubicBezTo>
                    <a:pt x="21600" y="13752"/>
                    <a:pt x="20945" y="15797"/>
                    <a:pt x="19635" y="17731"/>
                  </a:cubicBezTo>
                  <a:cubicBezTo>
                    <a:pt x="17672" y="20311"/>
                    <a:pt x="14943" y="21600"/>
                    <a:pt x="11454" y="21600"/>
                  </a:cubicBezTo>
                  <a:cubicBezTo>
                    <a:pt x="8836" y="21600"/>
                    <a:pt x="6328" y="20526"/>
                    <a:pt x="3928" y="18374"/>
                  </a:cubicBezTo>
                  <a:cubicBezTo>
                    <a:pt x="1310" y="16011"/>
                    <a:pt x="0" y="13112"/>
                    <a:pt x="0" y="9669"/>
                  </a:cubicBezTo>
                  <a:cubicBezTo>
                    <a:pt x="0" y="3223"/>
                    <a:pt x="3490" y="0"/>
                    <a:pt x="10472" y="0"/>
                  </a:cubicBezTo>
                  <a:close/>
                  <a:moveTo>
                    <a:pt x="10472"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4" name="AutoShape 171"/>
            <p:cNvSpPr>
              <a:spLocks/>
            </p:cNvSpPr>
            <p:nvPr/>
          </p:nvSpPr>
          <p:spPr bwMode="auto">
            <a:xfrm>
              <a:off x="5571633" y="3126363"/>
              <a:ext cx="9700" cy="17357"/>
            </a:xfrm>
            <a:custGeom>
              <a:avLst/>
              <a:gdLst/>
              <a:ahLst/>
              <a:cxnLst/>
              <a:rect l="0" t="0" r="r" b="b"/>
              <a:pathLst>
                <a:path w="21600" h="21600">
                  <a:moveTo>
                    <a:pt x="17191" y="7201"/>
                  </a:moveTo>
                  <a:cubicBezTo>
                    <a:pt x="17488" y="7863"/>
                    <a:pt x="17928" y="8608"/>
                    <a:pt x="18517" y="9438"/>
                  </a:cubicBezTo>
                  <a:cubicBezTo>
                    <a:pt x="20571" y="13572"/>
                    <a:pt x="21600" y="16634"/>
                    <a:pt x="21600" y="18621"/>
                  </a:cubicBezTo>
                  <a:cubicBezTo>
                    <a:pt x="21600" y="19948"/>
                    <a:pt x="21307" y="20773"/>
                    <a:pt x="20722" y="21103"/>
                  </a:cubicBezTo>
                  <a:cubicBezTo>
                    <a:pt x="20132" y="21435"/>
                    <a:pt x="18664" y="21600"/>
                    <a:pt x="16313" y="21600"/>
                  </a:cubicBezTo>
                  <a:cubicBezTo>
                    <a:pt x="12490" y="21600"/>
                    <a:pt x="8817" y="19860"/>
                    <a:pt x="5291" y="16389"/>
                  </a:cubicBezTo>
                  <a:cubicBezTo>
                    <a:pt x="1761" y="13077"/>
                    <a:pt x="0" y="9768"/>
                    <a:pt x="0" y="6458"/>
                  </a:cubicBezTo>
                  <a:cubicBezTo>
                    <a:pt x="0" y="2154"/>
                    <a:pt x="2204" y="0"/>
                    <a:pt x="6613" y="0"/>
                  </a:cubicBezTo>
                  <a:cubicBezTo>
                    <a:pt x="8964" y="0"/>
                    <a:pt x="11314" y="1160"/>
                    <a:pt x="13665" y="3477"/>
                  </a:cubicBezTo>
                  <a:cubicBezTo>
                    <a:pt x="14841" y="4471"/>
                    <a:pt x="16016" y="5714"/>
                    <a:pt x="17191" y="7201"/>
                  </a:cubicBezTo>
                  <a:close/>
                  <a:moveTo>
                    <a:pt x="17191" y="720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5" name="AutoShape 172"/>
            <p:cNvSpPr>
              <a:spLocks/>
            </p:cNvSpPr>
            <p:nvPr/>
          </p:nvSpPr>
          <p:spPr bwMode="auto">
            <a:xfrm>
              <a:off x="5563465" y="3089607"/>
              <a:ext cx="11742" cy="16336"/>
            </a:xfrm>
            <a:custGeom>
              <a:avLst/>
              <a:gdLst/>
              <a:ahLst/>
              <a:cxnLst/>
              <a:rect l="0" t="0" r="r" b="b"/>
              <a:pathLst>
                <a:path w="21317" h="21600">
                  <a:moveTo>
                    <a:pt x="19253" y="3161"/>
                  </a:moveTo>
                  <a:cubicBezTo>
                    <a:pt x="20240" y="4919"/>
                    <a:pt x="20736" y="6850"/>
                    <a:pt x="20736" y="8958"/>
                  </a:cubicBezTo>
                  <a:cubicBezTo>
                    <a:pt x="20736" y="9308"/>
                    <a:pt x="20859" y="9746"/>
                    <a:pt x="21105" y="10274"/>
                  </a:cubicBezTo>
                  <a:cubicBezTo>
                    <a:pt x="21600" y="12207"/>
                    <a:pt x="21231" y="14400"/>
                    <a:pt x="19994" y="16858"/>
                  </a:cubicBezTo>
                  <a:cubicBezTo>
                    <a:pt x="18266" y="20022"/>
                    <a:pt x="15799" y="21600"/>
                    <a:pt x="12588" y="21600"/>
                  </a:cubicBezTo>
                  <a:cubicBezTo>
                    <a:pt x="9381" y="21600"/>
                    <a:pt x="6419" y="20110"/>
                    <a:pt x="3703" y="17121"/>
                  </a:cubicBezTo>
                  <a:cubicBezTo>
                    <a:pt x="1233" y="14663"/>
                    <a:pt x="0" y="12644"/>
                    <a:pt x="0" y="11064"/>
                  </a:cubicBezTo>
                  <a:cubicBezTo>
                    <a:pt x="0" y="8783"/>
                    <a:pt x="1233" y="6497"/>
                    <a:pt x="3703" y="4217"/>
                  </a:cubicBezTo>
                  <a:cubicBezTo>
                    <a:pt x="6665" y="1406"/>
                    <a:pt x="10122" y="0"/>
                    <a:pt x="14071" y="0"/>
                  </a:cubicBezTo>
                  <a:cubicBezTo>
                    <a:pt x="16291" y="0"/>
                    <a:pt x="18020" y="1055"/>
                    <a:pt x="19253" y="3161"/>
                  </a:cubicBezTo>
                  <a:close/>
                  <a:moveTo>
                    <a:pt x="19253" y="316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6" name="AutoShape 173"/>
            <p:cNvSpPr>
              <a:spLocks/>
            </p:cNvSpPr>
            <p:nvPr/>
          </p:nvSpPr>
          <p:spPr bwMode="auto">
            <a:xfrm>
              <a:off x="5559381" y="3203960"/>
              <a:ext cx="8168" cy="18378"/>
            </a:xfrm>
            <a:custGeom>
              <a:avLst/>
              <a:gdLst/>
              <a:ahLst/>
              <a:cxnLst/>
              <a:rect l="0" t="0" r="r" b="b"/>
              <a:pathLst>
                <a:path w="21088" h="21600">
                  <a:moveTo>
                    <a:pt x="19546" y="9971"/>
                  </a:moveTo>
                  <a:cubicBezTo>
                    <a:pt x="21600" y="12026"/>
                    <a:pt x="21600" y="14480"/>
                    <a:pt x="19546" y="17329"/>
                  </a:cubicBezTo>
                  <a:cubicBezTo>
                    <a:pt x="16799" y="20178"/>
                    <a:pt x="13545" y="21600"/>
                    <a:pt x="9773" y="21600"/>
                  </a:cubicBezTo>
                  <a:cubicBezTo>
                    <a:pt x="5318" y="21600"/>
                    <a:pt x="2401" y="20732"/>
                    <a:pt x="1030" y="18990"/>
                  </a:cubicBezTo>
                  <a:cubicBezTo>
                    <a:pt x="347" y="18039"/>
                    <a:pt x="0" y="16378"/>
                    <a:pt x="0" y="14005"/>
                  </a:cubicBezTo>
                  <a:cubicBezTo>
                    <a:pt x="0" y="11629"/>
                    <a:pt x="1718" y="8783"/>
                    <a:pt x="5143" y="5459"/>
                  </a:cubicBezTo>
                  <a:cubicBezTo>
                    <a:pt x="8914" y="1821"/>
                    <a:pt x="12515" y="0"/>
                    <a:pt x="15945" y="0"/>
                  </a:cubicBezTo>
                  <a:cubicBezTo>
                    <a:pt x="19370" y="0"/>
                    <a:pt x="21088" y="1977"/>
                    <a:pt x="21088" y="5934"/>
                  </a:cubicBezTo>
                  <a:cubicBezTo>
                    <a:pt x="21088" y="6725"/>
                    <a:pt x="20570" y="8071"/>
                    <a:pt x="19546" y="9971"/>
                  </a:cubicBezTo>
                  <a:close/>
                  <a:moveTo>
                    <a:pt x="19546" y="997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7" name="AutoShape 174"/>
            <p:cNvSpPr>
              <a:spLocks/>
            </p:cNvSpPr>
            <p:nvPr/>
          </p:nvSpPr>
          <p:spPr bwMode="auto">
            <a:xfrm>
              <a:off x="5624725" y="3877825"/>
              <a:ext cx="1532" cy="2553"/>
            </a:xfrm>
            <a:custGeom>
              <a:avLst/>
              <a:gdLst/>
              <a:ahLst/>
              <a:cxnLst/>
              <a:rect l="0" t="0" r="r" b="b"/>
              <a:pathLst>
                <a:path w="21600" h="21600">
                  <a:moveTo>
                    <a:pt x="0" y="0"/>
                  </a:moveTo>
                  <a:cubicBezTo>
                    <a:pt x="7997" y="7757"/>
                    <a:pt x="15197" y="14963"/>
                    <a:pt x="21600" y="21600"/>
                  </a:cubicBezTo>
                  <a:cubicBezTo>
                    <a:pt x="15197" y="14963"/>
                    <a:pt x="7997" y="7757"/>
                    <a:pt x="0" y="0"/>
                  </a:cubicBezTo>
                  <a:close/>
                  <a:moveTo>
                    <a:pt x="0"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8" name="AutoShape 175"/>
            <p:cNvSpPr>
              <a:spLocks/>
            </p:cNvSpPr>
            <p:nvPr/>
          </p:nvSpPr>
          <p:spPr bwMode="auto">
            <a:xfrm>
              <a:off x="6498708" y="3926833"/>
              <a:ext cx="343059" cy="210328"/>
            </a:xfrm>
            <a:custGeom>
              <a:avLst/>
              <a:gdLst/>
              <a:ahLst/>
              <a:cxnLst/>
              <a:rect l="0" t="0" r="r" b="b"/>
              <a:pathLst>
                <a:path w="21600" h="21430">
                  <a:moveTo>
                    <a:pt x="21510" y="21309"/>
                  </a:moveTo>
                  <a:cubicBezTo>
                    <a:pt x="19582" y="21600"/>
                    <a:pt x="15428" y="21365"/>
                    <a:pt x="9046" y="20602"/>
                  </a:cubicBezTo>
                  <a:lnTo>
                    <a:pt x="0" y="19355"/>
                  </a:lnTo>
                  <a:cubicBezTo>
                    <a:pt x="291" y="13243"/>
                    <a:pt x="458" y="9785"/>
                    <a:pt x="501" y="8981"/>
                  </a:cubicBezTo>
                  <a:cubicBezTo>
                    <a:pt x="561" y="8122"/>
                    <a:pt x="677" y="6085"/>
                    <a:pt x="848" y="2869"/>
                  </a:cubicBezTo>
                  <a:lnTo>
                    <a:pt x="1002" y="0"/>
                  </a:lnTo>
                  <a:cubicBezTo>
                    <a:pt x="3898" y="638"/>
                    <a:pt x="6305" y="1116"/>
                    <a:pt x="8224" y="1434"/>
                  </a:cubicBezTo>
                  <a:cubicBezTo>
                    <a:pt x="9003" y="1559"/>
                    <a:pt x="9706" y="1656"/>
                    <a:pt x="10331" y="1726"/>
                  </a:cubicBezTo>
                  <a:lnTo>
                    <a:pt x="16743" y="2162"/>
                  </a:lnTo>
                  <a:cubicBezTo>
                    <a:pt x="18036" y="2245"/>
                    <a:pt x="19193" y="2315"/>
                    <a:pt x="20212" y="2370"/>
                  </a:cubicBezTo>
                  <a:cubicBezTo>
                    <a:pt x="20229" y="2564"/>
                    <a:pt x="20238" y="2744"/>
                    <a:pt x="20238" y="2911"/>
                  </a:cubicBezTo>
                  <a:cubicBezTo>
                    <a:pt x="20229" y="3063"/>
                    <a:pt x="20195" y="3368"/>
                    <a:pt x="20135" y="3825"/>
                  </a:cubicBezTo>
                  <a:cubicBezTo>
                    <a:pt x="20075" y="4283"/>
                    <a:pt x="20041" y="4615"/>
                    <a:pt x="20032" y="4823"/>
                  </a:cubicBezTo>
                  <a:cubicBezTo>
                    <a:pt x="20023" y="5807"/>
                    <a:pt x="20174" y="6861"/>
                    <a:pt x="20482" y="7983"/>
                  </a:cubicBezTo>
                  <a:cubicBezTo>
                    <a:pt x="20773" y="9079"/>
                    <a:pt x="20914" y="10028"/>
                    <a:pt x="20906" y="10832"/>
                  </a:cubicBezTo>
                  <a:cubicBezTo>
                    <a:pt x="20906" y="11122"/>
                    <a:pt x="20885" y="11573"/>
                    <a:pt x="20842" y="12183"/>
                  </a:cubicBezTo>
                  <a:cubicBezTo>
                    <a:pt x="20799" y="12792"/>
                    <a:pt x="20773" y="13229"/>
                    <a:pt x="20765" y="13492"/>
                  </a:cubicBezTo>
                  <a:cubicBezTo>
                    <a:pt x="20756" y="15058"/>
                    <a:pt x="20893" y="16493"/>
                    <a:pt x="21176" y="17796"/>
                  </a:cubicBezTo>
                  <a:cubicBezTo>
                    <a:pt x="21262" y="18129"/>
                    <a:pt x="21364" y="18537"/>
                    <a:pt x="21484" y="19022"/>
                  </a:cubicBezTo>
                  <a:cubicBezTo>
                    <a:pt x="21561" y="19438"/>
                    <a:pt x="21600" y="19785"/>
                    <a:pt x="21600" y="20062"/>
                  </a:cubicBezTo>
                  <a:cubicBezTo>
                    <a:pt x="21591" y="20505"/>
                    <a:pt x="21565" y="20914"/>
                    <a:pt x="21523" y="21288"/>
                  </a:cubicBezTo>
                  <a:cubicBezTo>
                    <a:pt x="21514" y="21288"/>
                    <a:pt x="21510" y="21295"/>
                    <a:pt x="21510" y="21309"/>
                  </a:cubicBezTo>
                  <a:close/>
                  <a:moveTo>
                    <a:pt x="21510" y="2130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399" name="AutoShape 176"/>
            <p:cNvSpPr>
              <a:spLocks/>
            </p:cNvSpPr>
            <p:nvPr/>
          </p:nvSpPr>
          <p:spPr bwMode="auto">
            <a:xfrm>
              <a:off x="6547716" y="4527186"/>
              <a:ext cx="387473" cy="223090"/>
            </a:xfrm>
            <a:custGeom>
              <a:avLst/>
              <a:gdLst/>
              <a:ahLst/>
              <a:cxnLst/>
              <a:rect l="0" t="0" r="r" b="b"/>
              <a:pathLst>
                <a:path w="21554" h="21514">
                  <a:moveTo>
                    <a:pt x="674" y="0"/>
                  </a:moveTo>
                  <a:lnTo>
                    <a:pt x="2117" y="314"/>
                  </a:lnTo>
                  <a:cubicBezTo>
                    <a:pt x="3359" y="576"/>
                    <a:pt x="4676" y="805"/>
                    <a:pt x="6070" y="1001"/>
                  </a:cubicBezTo>
                  <a:cubicBezTo>
                    <a:pt x="10560" y="1617"/>
                    <a:pt x="15009" y="1826"/>
                    <a:pt x="19416" y="1630"/>
                  </a:cubicBezTo>
                  <a:cubicBezTo>
                    <a:pt x="19492" y="1891"/>
                    <a:pt x="19583" y="2094"/>
                    <a:pt x="19689" y="2239"/>
                  </a:cubicBezTo>
                  <a:cubicBezTo>
                    <a:pt x="19749" y="2304"/>
                    <a:pt x="19927" y="2408"/>
                    <a:pt x="20223" y="2553"/>
                  </a:cubicBezTo>
                  <a:cubicBezTo>
                    <a:pt x="20465" y="2671"/>
                    <a:pt x="20616" y="2873"/>
                    <a:pt x="20677" y="3161"/>
                  </a:cubicBezTo>
                  <a:cubicBezTo>
                    <a:pt x="20669" y="3319"/>
                    <a:pt x="20609" y="3430"/>
                    <a:pt x="20495" y="3495"/>
                  </a:cubicBezTo>
                  <a:cubicBezTo>
                    <a:pt x="20366" y="3561"/>
                    <a:pt x="20279" y="3613"/>
                    <a:pt x="20234" y="3652"/>
                  </a:cubicBezTo>
                  <a:cubicBezTo>
                    <a:pt x="20226" y="3914"/>
                    <a:pt x="20188" y="4143"/>
                    <a:pt x="20120" y="4340"/>
                  </a:cubicBezTo>
                  <a:cubicBezTo>
                    <a:pt x="20045" y="4510"/>
                    <a:pt x="20006" y="4608"/>
                    <a:pt x="20006" y="4634"/>
                  </a:cubicBezTo>
                  <a:cubicBezTo>
                    <a:pt x="20006" y="4726"/>
                    <a:pt x="20101" y="4916"/>
                    <a:pt x="20290" y="5204"/>
                  </a:cubicBezTo>
                  <a:cubicBezTo>
                    <a:pt x="20502" y="5557"/>
                    <a:pt x="20631" y="5812"/>
                    <a:pt x="20677" y="5970"/>
                  </a:cubicBezTo>
                  <a:cubicBezTo>
                    <a:pt x="20707" y="6048"/>
                    <a:pt x="20707" y="6185"/>
                    <a:pt x="20677" y="6382"/>
                  </a:cubicBezTo>
                  <a:cubicBezTo>
                    <a:pt x="20662" y="6565"/>
                    <a:pt x="20684" y="6709"/>
                    <a:pt x="20745" y="6814"/>
                  </a:cubicBezTo>
                  <a:cubicBezTo>
                    <a:pt x="20798" y="6919"/>
                    <a:pt x="20946" y="7095"/>
                    <a:pt x="21188" y="7344"/>
                  </a:cubicBezTo>
                  <a:cubicBezTo>
                    <a:pt x="21453" y="7606"/>
                    <a:pt x="21574" y="8247"/>
                    <a:pt x="21551" y="9269"/>
                  </a:cubicBezTo>
                  <a:cubicBezTo>
                    <a:pt x="21536" y="9779"/>
                    <a:pt x="21499" y="10361"/>
                    <a:pt x="21438" y="11016"/>
                  </a:cubicBezTo>
                  <a:cubicBezTo>
                    <a:pt x="21423" y="11893"/>
                    <a:pt x="21419" y="13215"/>
                    <a:pt x="21426" y="14983"/>
                  </a:cubicBezTo>
                  <a:cubicBezTo>
                    <a:pt x="21434" y="16711"/>
                    <a:pt x="21426" y="18099"/>
                    <a:pt x="21404" y="19146"/>
                  </a:cubicBezTo>
                  <a:cubicBezTo>
                    <a:pt x="21389" y="19866"/>
                    <a:pt x="21396" y="20631"/>
                    <a:pt x="21426" y="21443"/>
                  </a:cubicBezTo>
                  <a:cubicBezTo>
                    <a:pt x="20465" y="21600"/>
                    <a:pt x="17307" y="21496"/>
                    <a:pt x="11953" y="21129"/>
                  </a:cubicBezTo>
                  <a:cubicBezTo>
                    <a:pt x="7827" y="20828"/>
                    <a:pt x="3844" y="20455"/>
                    <a:pt x="4" y="20009"/>
                  </a:cubicBezTo>
                  <a:cubicBezTo>
                    <a:pt x="-26" y="19276"/>
                    <a:pt x="114" y="14728"/>
                    <a:pt x="425" y="6362"/>
                  </a:cubicBezTo>
                  <a:cubicBezTo>
                    <a:pt x="425" y="6362"/>
                    <a:pt x="674" y="0"/>
                    <a:pt x="674" y="0"/>
                  </a:cubicBezTo>
                  <a:close/>
                  <a:moveTo>
                    <a:pt x="674"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0" name="AutoShape 177"/>
            <p:cNvSpPr>
              <a:spLocks/>
            </p:cNvSpPr>
            <p:nvPr/>
          </p:nvSpPr>
          <p:spPr bwMode="auto">
            <a:xfrm>
              <a:off x="7327766" y="5123454"/>
              <a:ext cx="471195" cy="386452"/>
            </a:xfrm>
            <a:custGeom>
              <a:avLst/>
              <a:gdLst/>
              <a:ahLst/>
              <a:cxnLst/>
              <a:rect l="0" t="0" r="r" b="b"/>
              <a:pathLst>
                <a:path w="21588" h="21600">
                  <a:moveTo>
                    <a:pt x="6699" y="558"/>
                  </a:moveTo>
                  <a:lnTo>
                    <a:pt x="6746" y="752"/>
                  </a:lnTo>
                  <a:cubicBezTo>
                    <a:pt x="6764" y="813"/>
                    <a:pt x="6796" y="866"/>
                    <a:pt x="6839" y="911"/>
                  </a:cubicBezTo>
                  <a:cubicBezTo>
                    <a:pt x="6883" y="965"/>
                    <a:pt x="6923" y="1033"/>
                    <a:pt x="6961" y="1116"/>
                  </a:cubicBezTo>
                  <a:cubicBezTo>
                    <a:pt x="6973" y="1139"/>
                    <a:pt x="6989" y="1242"/>
                    <a:pt x="7007" y="1424"/>
                  </a:cubicBezTo>
                  <a:cubicBezTo>
                    <a:pt x="7020" y="1523"/>
                    <a:pt x="7063" y="1576"/>
                    <a:pt x="7138" y="1584"/>
                  </a:cubicBezTo>
                  <a:cubicBezTo>
                    <a:pt x="7225" y="1599"/>
                    <a:pt x="8107" y="1553"/>
                    <a:pt x="9783" y="1447"/>
                  </a:cubicBezTo>
                  <a:cubicBezTo>
                    <a:pt x="11447" y="1333"/>
                    <a:pt x="12353" y="1272"/>
                    <a:pt x="12503" y="1265"/>
                  </a:cubicBezTo>
                  <a:cubicBezTo>
                    <a:pt x="12671" y="1234"/>
                    <a:pt x="13117" y="1189"/>
                    <a:pt x="13839" y="1128"/>
                  </a:cubicBezTo>
                  <a:lnTo>
                    <a:pt x="13942" y="1219"/>
                  </a:lnTo>
                  <a:cubicBezTo>
                    <a:pt x="14011" y="1302"/>
                    <a:pt x="14048" y="1382"/>
                    <a:pt x="14054" y="1458"/>
                  </a:cubicBezTo>
                  <a:cubicBezTo>
                    <a:pt x="14061" y="1587"/>
                    <a:pt x="14067" y="1663"/>
                    <a:pt x="14073" y="1686"/>
                  </a:cubicBezTo>
                  <a:cubicBezTo>
                    <a:pt x="14098" y="1747"/>
                    <a:pt x="14151" y="1793"/>
                    <a:pt x="14232" y="1823"/>
                  </a:cubicBezTo>
                  <a:cubicBezTo>
                    <a:pt x="14326" y="1853"/>
                    <a:pt x="14407" y="1850"/>
                    <a:pt x="14475" y="1811"/>
                  </a:cubicBezTo>
                  <a:cubicBezTo>
                    <a:pt x="14531" y="1758"/>
                    <a:pt x="14559" y="1675"/>
                    <a:pt x="14559" y="1561"/>
                  </a:cubicBezTo>
                  <a:cubicBezTo>
                    <a:pt x="14584" y="1416"/>
                    <a:pt x="14600" y="1314"/>
                    <a:pt x="14606" y="1253"/>
                  </a:cubicBezTo>
                  <a:cubicBezTo>
                    <a:pt x="14618" y="1155"/>
                    <a:pt x="14597" y="1067"/>
                    <a:pt x="14540" y="991"/>
                  </a:cubicBezTo>
                  <a:cubicBezTo>
                    <a:pt x="14472" y="877"/>
                    <a:pt x="14428" y="794"/>
                    <a:pt x="14410" y="740"/>
                  </a:cubicBezTo>
                  <a:cubicBezTo>
                    <a:pt x="14385" y="665"/>
                    <a:pt x="14385" y="573"/>
                    <a:pt x="14410" y="467"/>
                  </a:cubicBezTo>
                  <a:cubicBezTo>
                    <a:pt x="14434" y="338"/>
                    <a:pt x="14453" y="258"/>
                    <a:pt x="14466" y="228"/>
                  </a:cubicBezTo>
                  <a:cubicBezTo>
                    <a:pt x="14491" y="182"/>
                    <a:pt x="14550" y="137"/>
                    <a:pt x="14643" y="91"/>
                  </a:cubicBezTo>
                  <a:lnTo>
                    <a:pt x="14821" y="0"/>
                  </a:lnTo>
                  <a:cubicBezTo>
                    <a:pt x="14846" y="0"/>
                    <a:pt x="14905" y="42"/>
                    <a:pt x="14999" y="125"/>
                  </a:cubicBezTo>
                  <a:cubicBezTo>
                    <a:pt x="15223" y="308"/>
                    <a:pt x="15397" y="383"/>
                    <a:pt x="15522" y="353"/>
                  </a:cubicBezTo>
                  <a:cubicBezTo>
                    <a:pt x="15597" y="346"/>
                    <a:pt x="15696" y="300"/>
                    <a:pt x="15821" y="216"/>
                  </a:cubicBezTo>
                  <a:lnTo>
                    <a:pt x="15989" y="228"/>
                  </a:lnTo>
                  <a:cubicBezTo>
                    <a:pt x="16058" y="228"/>
                    <a:pt x="16092" y="270"/>
                    <a:pt x="16092" y="353"/>
                  </a:cubicBezTo>
                  <a:cubicBezTo>
                    <a:pt x="16092" y="391"/>
                    <a:pt x="16076" y="490"/>
                    <a:pt x="16045" y="650"/>
                  </a:cubicBezTo>
                  <a:cubicBezTo>
                    <a:pt x="16020" y="809"/>
                    <a:pt x="16005" y="915"/>
                    <a:pt x="15999" y="968"/>
                  </a:cubicBezTo>
                  <a:cubicBezTo>
                    <a:pt x="15999" y="1052"/>
                    <a:pt x="16042" y="1139"/>
                    <a:pt x="16129" y="1230"/>
                  </a:cubicBezTo>
                  <a:cubicBezTo>
                    <a:pt x="16223" y="1337"/>
                    <a:pt x="16282" y="1439"/>
                    <a:pt x="16307" y="1538"/>
                  </a:cubicBezTo>
                  <a:cubicBezTo>
                    <a:pt x="16326" y="1584"/>
                    <a:pt x="16338" y="1697"/>
                    <a:pt x="16344" y="1880"/>
                  </a:cubicBezTo>
                  <a:cubicBezTo>
                    <a:pt x="16338" y="2085"/>
                    <a:pt x="16338" y="2203"/>
                    <a:pt x="16344" y="2233"/>
                  </a:cubicBezTo>
                  <a:cubicBezTo>
                    <a:pt x="16351" y="2263"/>
                    <a:pt x="16376" y="2301"/>
                    <a:pt x="16419" y="2347"/>
                  </a:cubicBezTo>
                  <a:cubicBezTo>
                    <a:pt x="16463" y="2385"/>
                    <a:pt x="16488" y="2412"/>
                    <a:pt x="16494" y="2427"/>
                  </a:cubicBezTo>
                  <a:cubicBezTo>
                    <a:pt x="16513" y="2465"/>
                    <a:pt x="16525" y="2571"/>
                    <a:pt x="16531" y="2746"/>
                  </a:cubicBezTo>
                  <a:cubicBezTo>
                    <a:pt x="16544" y="2867"/>
                    <a:pt x="16616" y="3068"/>
                    <a:pt x="16746" y="3349"/>
                  </a:cubicBezTo>
                  <a:cubicBezTo>
                    <a:pt x="17145" y="4322"/>
                    <a:pt x="17569" y="5278"/>
                    <a:pt x="18018" y="6220"/>
                  </a:cubicBezTo>
                  <a:cubicBezTo>
                    <a:pt x="18036" y="6304"/>
                    <a:pt x="18108" y="6410"/>
                    <a:pt x="18232" y="6539"/>
                  </a:cubicBezTo>
                  <a:cubicBezTo>
                    <a:pt x="18394" y="6714"/>
                    <a:pt x="18491" y="6824"/>
                    <a:pt x="18522" y="6870"/>
                  </a:cubicBezTo>
                  <a:cubicBezTo>
                    <a:pt x="18535" y="6885"/>
                    <a:pt x="18581" y="6999"/>
                    <a:pt x="18662" y="7211"/>
                  </a:cubicBezTo>
                  <a:cubicBezTo>
                    <a:pt x="18731" y="7356"/>
                    <a:pt x="18793" y="7443"/>
                    <a:pt x="18849" y="7474"/>
                  </a:cubicBezTo>
                  <a:cubicBezTo>
                    <a:pt x="18943" y="7527"/>
                    <a:pt x="19018" y="7610"/>
                    <a:pt x="19074" y="7724"/>
                  </a:cubicBezTo>
                  <a:cubicBezTo>
                    <a:pt x="19117" y="7785"/>
                    <a:pt x="19180" y="7883"/>
                    <a:pt x="19261" y="8020"/>
                  </a:cubicBezTo>
                  <a:cubicBezTo>
                    <a:pt x="19292" y="8058"/>
                    <a:pt x="19301" y="8301"/>
                    <a:pt x="19289" y="8749"/>
                  </a:cubicBezTo>
                  <a:cubicBezTo>
                    <a:pt x="19289" y="8802"/>
                    <a:pt x="19286" y="8882"/>
                    <a:pt x="19279" y="8989"/>
                  </a:cubicBezTo>
                  <a:cubicBezTo>
                    <a:pt x="19273" y="9072"/>
                    <a:pt x="19282" y="9129"/>
                    <a:pt x="19307" y="9159"/>
                  </a:cubicBezTo>
                  <a:cubicBezTo>
                    <a:pt x="19413" y="9478"/>
                    <a:pt x="19526" y="9759"/>
                    <a:pt x="19644" y="10002"/>
                  </a:cubicBezTo>
                  <a:cubicBezTo>
                    <a:pt x="19713" y="10124"/>
                    <a:pt x="19768" y="10295"/>
                    <a:pt x="19812" y="10515"/>
                  </a:cubicBezTo>
                  <a:cubicBezTo>
                    <a:pt x="19868" y="10735"/>
                    <a:pt x="19921" y="10906"/>
                    <a:pt x="19971" y="11028"/>
                  </a:cubicBezTo>
                  <a:cubicBezTo>
                    <a:pt x="20064" y="11256"/>
                    <a:pt x="20186" y="11609"/>
                    <a:pt x="20335" y="12087"/>
                  </a:cubicBezTo>
                  <a:cubicBezTo>
                    <a:pt x="20504" y="12497"/>
                    <a:pt x="20688" y="12816"/>
                    <a:pt x="20887" y="13044"/>
                  </a:cubicBezTo>
                  <a:cubicBezTo>
                    <a:pt x="21105" y="13492"/>
                    <a:pt x="21245" y="13815"/>
                    <a:pt x="21308" y="14013"/>
                  </a:cubicBezTo>
                  <a:cubicBezTo>
                    <a:pt x="21464" y="14430"/>
                    <a:pt x="21532" y="14860"/>
                    <a:pt x="21513" y="15300"/>
                  </a:cubicBezTo>
                  <a:lnTo>
                    <a:pt x="21476" y="16143"/>
                  </a:lnTo>
                  <a:cubicBezTo>
                    <a:pt x="21476" y="16371"/>
                    <a:pt x="21497" y="16602"/>
                    <a:pt x="21541" y="16838"/>
                  </a:cubicBezTo>
                  <a:cubicBezTo>
                    <a:pt x="21572" y="17066"/>
                    <a:pt x="21588" y="17218"/>
                    <a:pt x="21588" y="17294"/>
                  </a:cubicBezTo>
                  <a:cubicBezTo>
                    <a:pt x="21588" y="17301"/>
                    <a:pt x="21529" y="17571"/>
                    <a:pt x="21410" y="18102"/>
                  </a:cubicBezTo>
                  <a:cubicBezTo>
                    <a:pt x="21292" y="18687"/>
                    <a:pt x="21223" y="19067"/>
                    <a:pt x="21205" y="19242"/>
                  </a:cubicBezTo>
                  <a:cubicBezTo>
                    <a:pt x="21230" y="19310"/>
                    <a:pt x="21251" y="19374"/>
                    <a:pt x="21270" y="19435"/>
                  </a:cubicBezTo>
                  <a:cubicBezTo>
                    <a:pt x="21289" y="19496"/>
                    <a:pt x="21298" y="19557"/>
                    <a:pt x="21298" y="19618"/>
                  </a:cubicBezTo>
                  <a:cubicBezTo>
                    <a:pt x="21298" y="19693"/>
                    <a:pt x="21279" y="19762"/>
                    <a:pt x="21242" y="19823"/>
                  </a:cubicBezTo>
                  <a:cubicBezTo>
                    <a:pt x="21174" y="19929"/>
                    <a:pt x="21133" y="20001"/>
                    <a:pt x="21121" y="20039"/>
                  </a:cubicBezTo>
                  <a:lnTo>
                    <a:pt x="21121" y="20267"/>
                  </a:lnTo>
                  <a:lnTo>
                    <a:pt x="21130" y="20278"/>
                  </a:lnTo>
                  <a:cubicBezTo>
                    <a:pt x="21174" y="20241"/>
                    <a:pt x="21217" y="20168"/>
                    <a:pt x="21261" y="20062"/>
                  </a:cubicBezTo>
                  <a:cubicBezTo>
                    <a:pt x="21317" y="19918"/>
                    <a:pt x="21354" y="19838"/>
                    <a:pt x="21373" y="19823"/>
                  </a:cubicBezTo>
                  <a:lnTo>
                    <a:pt x="21420" y="19834"/>
                  </a:lnTo>
                  <a:lnTo>
                    <a:pt x="21438" y="19982"/>
                  </a:lnTo>
                  <a:lnTo>
                    <a:pt x="21214" y="20620"/>
                  </a:lnTo>
                  <a:cubicBezTo>
                    <a:pt x="21033" y="21068"/>
                    <a:pt x="20862" y="21395"/>
                    <a:pt x="20700" y="21600"/>
                  </a:cubicBezTo>
                  <a:cubicBezTo>
                    <a:pt x="20669" y="21562"/>
                    <a:pt x="20653" y="21512"/>
                    <a:pt x="20653" y="21452"/>
                  </a:cubicBezTo>
                  <a:cubicBezTo>
                    <a:pt x="20653" y="21422"/>
                    <a:pt x="20712" y="21296"/>
                    <a:pt x="20831" y="21076"/>
                  </a:cubicBezTo>
                  <a:cubicBezTo>
                    <a:pt x="20974" y="20803"/>
                    <a:pt x="21064" y="20620"/>
                    <a:pt x="21102" y="20529"/>
                  </a:cubicBezTo>
                  <a:cubicBezTo>
                    <a:pt x="21090" y="20522"/>
                    <a:pt x="21055" y="20514"/>
                    <a:pt x="20999" y="20506"/>
                  </a:cubicBezTo>
                  <a:cubicBezTo>
                    <a:pt x="20956" y="20506"/>
                    <a:pt x="20928" y="20495"/>
                    <a:pt x="20915" y="20472"/>
                  </a:cubicBezTo>
                  <a:cubicBezTo>
                    <a:pt x="20884" y="20343"/>
                    <a:pt x="20853" y="20278"/>
                    <a:pt x="20822" y="20278"/>
                  </a:cubicBezTo>
                  <a:cubicBezTo>
                    <a:pt x="20722" y="20271"/>
                    <a:pt x="20641" y="20343"/>
                    <a:pt x="20579" y="20495"/>
                  </a:cubicBezTo>
                  <a:cubicBezTo>
                    <a:pt x="20516" y="20639"/>
                    <a:pt x="20442" y="20711"/>
                    <a:pt x="20354" y="20711"/>
                  </a:cubicBezTo>
                  <a:lnTo>
                    <a:pt x="20158" y="20666"/>
                  </a:lnTo>
                  <a:cubicBezTo>
                    <a:pt x="20033" y="20666"/>
                    <a:pt x="19890" y="20738"/>
                    <a:pt x="19728" y="20882"/>
                  </a:cubicBezTo>
                  <a:cubicBezTo>
                    <a:pt x="19566" y="21019"/>
                    <a:pt x="19445" y="21087"/>
                    <a:pt x="19363" y="21087"/>
                  </a:cubicBezTo>
                  <a:cubicBezTo>
                    <a:pt x="19258" y="21080"/>
                    <a:pt x="19167" y="21023"/>
                    <a:pt x="19093" y="20916"/>
                  </a:cubicBezTo>
                  <a:cubicBezTo>
                    <a:pt x="19005" y="20803"/>
                    <a:pt x="18961" y="20654"/>
                    <a:pt x="18961" y="20472"/>
                  </a:cubicBezTo>
                  <a:cubicBezTo>
                    <a:pt x="18961" y="20411"/>
                    <a:pt x="19030" y="20381"/>
                    <a:pt x="19167" y="20381"/>
                  </a:cubicBezTo>
                  <a:cubicBezTo>
                    <a:pt x="19261" y="20388"/>
                    <a:pt x="19326" y="20445"/>
                    <a:pt x="19363" y="20552"/>
                  </a:cubicBezTo>
                  <a:cubicBezTo>
                    <a:pt x="19407" y="20658"/>
                    <a:pt x="19451" y="20711"/>
                    <a:pt x="19494" y="20711"/>
                  </a:cubicBezTo>
                  <a:cubicBezTo>
                    <a:pt x="19519" y="20711"/>
                    <a:pt x="19554" y="20685"/>
                    <a:pt x="19597" y="20632"/>
                  </a:cubicBezTo>
                  <a:cubicBezTo>
                    <a:pt x="19634" y="20571"/>
                    <a:pt x="19653" y="20525"/>
                    <a:pt x="19653" y="20495"/>
                  </a:cubicBezTo>
                  <a:cubicBezTo>
                    <a:pt x="19653" y="20396"/>
                    <a:pt x="19575" y="20320"/>
                    <a:pt x="19420" y="20267"/>
                  </a:cubicBezTo>
                  <a:cubicBezTo>
                    <a:pt x="19220" y="20191"/>
                    <a:pt x="19114" y="20146"/>
                    <a:pt x="19102" y="20130"/>
                  </a:cubicBezTo>
                  <a:cubicBezTo>
                    <a:pt x="19046" y="20054"/>
                    <a:pt x="18971" y="19948"/>
                    <a:pt x="18877" y="19811"/>
                  </a:cubicBezTo>
                  <a:cubicBezTo>
                    <a:pt x="18778" y="19659"/>
                    <a:pt x="18709" y="19545"/>
                    <a:pt x="18672" y="19469"/>
                  </a:cubicBezTo>
                  <a:cubicBezTo>
                    <a:pt x="18609" y="19325"/>
                    <a:pt x="18482" y="19109"/>
                    <a:pt x="18288" y="18820"/>
                  </a:cubicBezTo>
                  <a:cubicBezTo>
                    <a:pt x="18058" y="18478"/>
                    <a:pt x="17896" y="18304"/>
                    <a:pt x="17803" y="18296"/>
                  </a:cubicBezTo>
                  <a:lnTo>
                    <a:pt x="17298" y="18364"/>
                  </a:lnTo>
                  <a:cubicBezTo>
                    <a:pt x="17248" y="18364"/>
                    <a:pt x="17189" y="18304"/>
                    <a:pt x="17120" y="18182"/>
                  </a:cubicBezTo>
                  <a:cubicBezTo>
                    <a:pt x="17058" y="18045"/>
                    <a:pt x="17020" y="17966"/>
                    <a:pt x="17008" y="17943"/>
                  </a:cubicBezTo>
                  <a:cubicBezTo>
                    <a:pt x="16946" y="17806"/>
                    <a:pt x="16899" y="17723"/>
                    <a:pt x="16868" y="17692"/>
                  </a:cubicBezTo>
                  <a:cubicBezTo>
                    <a:pt x="16830" y="17647"/>
                    <a:pt x="16815" y="17518"/>
                    <a:pt x="16821" y="17305"/>
                  </a:cubicBezTo>
                  <a:cubicBezTo>
                    <a:pt x="16815" y="17131"/>
                    <a:pt x="16787" y="16979"/>
                    <a:pt x="16737" y="16849"/>
                  </a:cubicBezTo>
                  <a:cubicBezTo>
                    <a:pt x="16669" y="16743"/>
                    <a:pt x="16618" y="16663"/>
                    <a:pt x="16587" y="16610"/>
                  </a:cubicBezTo>
                  <a:cubicBezTo>
                    <a:pt x="16556" y="16526"/>
                    <a:pt x="16497" y="16477"/>
                    <a:pt x="16410" y="16462"/>
                  </a:cubicBezTo>
                  <a:cubicBezTo>
                    <a:pt x="16335" y="16439"/>
                    <a:pt x="16298" y="16382"/>
                    <a:pt x="16298" y="16291"/>
                  </a:cubicBezTo>
                  <a:cubicBezTo>
                    <a:pt x="16298" y="16284"/>
                    <a:pt x="16319" y="16226"/>
                    <a:pt x="16363" y="16120"/>
                  </a:cubicBezTo>
                  <a:cubicBezTo>
                    <a:pt x="16413" y="16029"/>
                    <a:pt x="16447" y="15953"/>
                    <a:pt x="16466" y="15892"/>
                  </a:cubicBezTo>
                  <a:lnTo>
                    <a:pt x="16466" y="15847"/>
                  </a:lnTo>
                  <a:lnTo>
                    <a:pt x="16456" y="15847"/>
                  </a:lnTo>
                  <a:cubicBezTo>
                    <a:pt x="16438" y="15855"/>
                    <a:pt x="16397" y="15904"/>
                    <a:pt x="16335" y="15995"/>
                  </a:cubicBezTo>
                  <a:cubicBezTo>
                    <a:pt x="16285" y="16109"/>
                    <a:pt x="16217" y="16166"/>
                    <a:pt x="16129" y="16166"/>
                  </a:cubicBezTo>
                  <a:cubicBezTo>
                    <a:pt x="16061" y="16166"/>
                    <a:pt x="16002" y="16128"/>
                    <a:pt x="15952" y="16052"/>
                  </a:cubicBezTo>
                  <a:cubicBezTo>
                    <a:pt x="15896" y="15976"/>
                    <a:pt x="15868" y="15892"/>
                    <a:pt x="15868" y="15801"/>
                  </a:cubicBezTo>
                  <a:cubicBezTo>
                    <a:pt x="15868" y="15763"/>
                    <a:pt x="15883" y="15630"/>
                    <a:pt x="15915" y="15403"/>
                  </a:cubicBezTo>
                  <a:cubicBezTo>
                    <a:pt x="15946" y="15213"/>
                    <a:pt x="15964" y="15076"/>
                    <a:pt x="15970" y="14992"/>
                  </a:cubicBezTo>
                  <a:cubicBezTo>
                    <a:pt x="15958" y="14894"/>
                    <a:pt x="15896" y="14829"/>
                    <a:pt x="15784" y="14799"/>
                  </a:cubicBezTo>
                  <a:cubicBezTo>
                    <a:pt x="15609" y="14738"/>
                    <a:pt x="15519" y="14704"/>
                    <a:pt x="15513" y="14696"/>
                  </a:cubicBezTo>
                  <a:lnTo>
                    <a:pt x="15485" y="14696"/>
                  </a:lnTo>
                  <a:lnTo>
                    <a:pt x="15475" y="14730"/>
                  </a:lnTo>
                  <a:cubicBezTo>
                    <a:pt x="15475" y="14753"/>
                    <a:pt x="15516" y="14799"/>
                    <a:pt x="15597" y="14867"/>
                  </a:cubicBezTo>
                  <a:cubicBezTo>
                    <a:pt x="15671" y="14951"/>
                    <a:pt x="15706" y="15030"/>
                    <a:pt x="15700" y="15106"/>
                  </a:cubicBezTo>
                  <a:cubicBezTo>
                    <a:pt x="15693" y="15144"/>
                    <a:pt x="15659" y="15179"/>
                    <a:pt x="15597" y="15209"/>
                  </a:cubicBezTo>
                  <a:cubicBezTo>
                    <a:pt x="15535" y="15254"/>
                    <a:pt x="15469" y="15277"/>
                    <a:pt x="15401" y="15277"/>
                  </a:cubicBezTo>
                  <a:cubicBezTo>
                    <a:pt x="15295" y="15262"/>
                    <a:pt x="15154" y="15122"/>
                    <a:pt x="14980" y="14856"/>
                  </a:cubicBezTo>
                  <a:cubicBezTo>
                    <a:pt x="14867" y="14689"/>
                    <a:pt x="14777" y="14541"/>
                    <a:pt x="14709" y="14411"/>
                  </a:cubicBezTo>
                  <a:cubicBezTo>
                    <a:pt x="14665" y="14336"/>
                    <a:pt x="14634" y="14279"/>
                    <a:pt x="14615" y="14240"/>
                  </a:cubicBezTo>
                  <a:cubicBezTo>
                    <a:pt x="14572" y="14157"/>
                    <a:pt x="14550" y="14096"/>
                    <a:pt x="14550" y="14058"/>
                  </a:cubicBezTo>
                  <a:lnTo>
                    <a:pt x="14456" y="13694"/>
                  </a:lnTo>
                  <a:cubicBezTo>
                    <a:pt x="14444" y="13671"/>
                    <a:pt x="14407" y="13587"/>
                    <a:pt x="14344" y="13443"/>
                  </a:cubicBezTo>
                  <a:cubicBezTo>
                    <a:pt x="14313" y="13360"/>
                    <a:pt x="14291" y="13291"/>
                    <a:pt x="14279" y="13238"/>
                  </a:cubicBezTo>
                  <a:cubicBezTo>
                    <a:pt x="14273" y="13238"/>
                    <a:pt x="14195" y="13204"/>
                    <a:pt x="14045" y="13135"/>
                  </a:cubicBezTo>
                  <a:cubicBezTo>
                    <a:pt x="13939" y="13075"/>
                    <a:pt x="13886" y="12995"/>
                    <a:pt x="13886" y="12896"/>
                  </a:cubicBezTo>
                  <a:cubicBezTo>
                    <a:pt x="13886" y="12873"/>
                    <a:pt x="13930" y="12851"/>
                    <a:pt x="14017" y="12828"/>
                  </a:cubicBezTo>
                  <a:cubicBezTo>
                    <a:pt x="14104" y="12782"/>
                    <a:pt x="14151" y="12752"/>
                    <a:pt x="14157" y="12737"/>
                  </a:cubicBezTo>
                  <a:cubicBezTo>
                    <a:pt x="14176" y="12699"/>
                    <a:pt x="14198" y="12638"/>
                    <a:pt x="14223" y="12554"/>
                  </a:cubicBezTo>
                  <a:cubicBezTo>
                    <a:pt x="14229" y="12456"/>
                    <a:pt x="14238" y="12391"/>
                    <a:pt x="14251" y="12361"/>
                  </a:cubicBezTo>
                  <a:cubicBezTo>
                    <a:pt x="14469" y="11981"/>
                    <a:pt x="14581" y="11734"/>
                    <a:pt x="14587" y="11620"/>
                  </a:cubicBezTo>
                  <a:cubicBezTo>
                    <a:pt x="14587" y="11559"/>
                    <a:pt x="14575" y="11491"/>
                    <a:pt x="14550" y="11415"/>
                  </a:cubicBezTo>
                  <a:cubicBezTo>
                    <a:pt x="14519" y="11309"/>
                    <a:pt x="14487" y="11256"/>
                    <a:pt x="14456" y="11256"/>
                  </a:cubicBezTo>
                  <a:cubicBezTo>
                    <a:pt x="14407" y="11278"/>
                    <a:pt x="14360" y="11290"/>
                    <a:pt x="14316" y="11290"/>
                  </a:cubicBezTo>
                  <a:cubicBezTo>
                    <a:pt x="14267" y="11282"/>
                    <a:pt x="14198" y="11225"/>
                    <a:pt x="14111" y="11119"/>
                  </a:cubicBezTo>
                  <a:cubicBezTo>
                    <a:pt x="14023" y="11028"/>
                    <a:pt x="13946" y="10978"/>
                    <a:pt x="13877" y="10971"/>
                  </a:cubicBezTo>
                  <a:cubicBezTo>
                    <a:pt x="13833" y="10971"/>
                    <a:pt x="13812" y="10990"/>
                    <a:pt x="13812" y="11028"/>
                  </a:cubicBezTo>
                  <a:cubicBezTo>
                    <a:pt x="13812" y="11051"/>
                    <a:pt x="13865" y="11123"/>
                    <a:pt x="13970" y="11244"/>
                  </a:cubicBezTo>
                  <a:cubicBezTo>
                    <a:pt x="14070" y="11366"/>
                    <a:pt x="14120" y="11465"/>
                    <a:pt x="14120" y="11541"/>
                  </a:cubicBezTo>
                  <a:cubicBezTo>
                    <a:pt x="14120" y="11601"/>
                    <a:pt x="14114" y="11639"/>
                    <a:pt x="14101" y="11654"/>
                  </a:cubicBezTo>
                  <a:cubicBezTo>
                    <a:pt x="14083" y="11662"/>
                    <a:pt x="14070" y="11689"/>
                    <a:pt x="14064" y="11734"/>
                  </a:cubicBezTo>
                  <a:lnTo>
                    <a:pt x="14083" y="12008"/>
                  </a:lnTo>
                  <a:cubicBezTo>
                    <a:pt x="14083" y="12106"/>
                    <a:pt x="14054" y="12156"/>
                    <a:pt x="13999" y="12156"/>
                  </a:cubicBezTo>
                  <a:cubicBezTo>
                    <a:pt x="13961" y="12156"/>
                    <a:pt x="13911" y="12129"/>
                    <a:pt x="13849" y="12076"/>
                  </a:cubicBezTo>
                  <a:cubicBezTo>
                    <a:pt x="13786" y="12038"/>
                    <a:pt x="13706" y="12011"/>
                    <a:pt x="13606" y="11996"/>
                  </a:cubicBezTo>
                  <a:cubicBezTo>
                    <a:pt x="13550" y="11981"/>
                    <a:pt x="13500" y="11924"/>
                    <a:pt x="13456" y="11825"/>
                  </a:cubicBezTo>
                  <a:cubicBezTo>
                    <a:pt x="13425" y="11727"/>
                    <a:pt x="13410" y="11632"/>
                    <a:pt x="13410" y="11541"/>
                  </a:cubicBezTo>
                  <a:cubicBezTo>
                    <a:pt x="13422" y="11442"/>
                    <a:pt x="13459" y="11305"/>
                    <a:pt x="13522" y="11130"/>
                  </a:cubicBezTo>
                  <a:cubicBezTo>
                    <a:pt x="13572" y="10956"/>
                    <a:pt x="13556" y="10815"/>
                    <a:pt x="13475" y="10709"/>
                  </a:cubicBezTo>
                  <a:lnTo>
                    <a:pt x="13494" y="10549"/>
                  </a:lnTo>
                  <a:cubicBezTo>
                    <a:pt x="13494" y="10511"/>
                    <a:pt x="13487" y="10481"/>
                    <a:pt x="13475" y="10458"/>
                  </a:cubicBezTo>
                  <a:lnTo>
                    <a:pt x="13485" y="10253"/>
                  </a:lnTo>
                  <a:cubicBezTo>
                    <a:pt x="13453" y="10299"/>
                    <a:pt x="13459" y="10181"/>
                    <a:pt x="13503" y="9900"/>
                  </a:cubicBezTo>
                  <a:cubicBezTo>
                    <a:pt x="13503" y="9885"/>
                    <a:pt x="13519" y="9847"/>
                    <a:pt x="13550" y="9786"/>
                  </a:cubicBezTo>
                  <a:cubicBezTo>
                    <a:pt x="13575" y="9710"/>
                    <a:pt x="13590" y="9646"/>
                    <a:pt x="13597" y="9592"/>
                  </a:cubicBezTo>
                  <a:cubicBezTo>
                    <a:pt x="13621" y="9372"/>
                    <a:pt x="13634" y="9239"/>
                    <a:pt x="13634" y="9194"/>
                  </a:cubicBezTo>
                  <a:cubicBezTo>
                    <a:pt x="13634" y="9080"/>
                    <a:pt x="13631" y="8985"/>
                    <a:pt x="13625" y="8909"/>
                  </a:cubicBezTo>
                  <a:cubicBezTo>
                    <a:pt x="13625" y="8840"/>
                    <a:pt x="13621" y="8719"/>
                    <a:pt x="13615" y="8544"/>
                  </a:cubicBezTo>
                  <a:cubicBezTo>
                    <a:pt x="13615" y="8529"/>
                    <a:pt x="13618" y="8518"/>
                    <a:pt x="13625" y="8510"/>
                  </a:cubicBezTo>
                  <a:cubicBezTo>
                    <a:pt x="13643" y="8252"/>
                    <a:pt x="13650" y="8039"/>
                    <a:pt x="13643" y="7872"/>
                  </a:cubicBezTo>
                  <a:cubicBezTo>
                    <a:pt x="13625" y="7735"/>
                    <a:pt x="13578" y="7629"/>
                    <a:pt x="13503" y="7553"/>
                  </a:cubicBezTo>
                  <a:cubicBezTo>
                    <a:pt x="13379" y="7424"/>
                    <a:pt x="13307" y="7337"/>
                    <a:pt x="13288" y="7291"/>
                  </a:cubicBezTo>
                  <a:cubicBezTo>
                    <a:pt x="13201" y="7101"/>
                    <a:pt x="13142" y="6964"/>
                    <a:pt x="13111" y="6881"/>
                  </a:cubicBezTo>
                  <a:cubicBezTo>
                    <a:pt x="13054" y="6759"/>
                    <a:pt x="12980" y="6699"/>
                    <a:pt x="12886" y="6699"/>
                  </a:cubicBezTo>
                  <a:cubicBezTo>
                    <a:pt x="12774" y="6714"/>
                    <a:pt x="12652" y="6710"/>
                    <a:pt x="12522" y="6687"/>
                  </a:cubicBezTo>
                  <a:cubicBezTo>
                    <a:pt x="12384" y="6672"/>
                    <a:pt x="12294" y="6649"/>
                    <a:pt x="12250" y="6619"/>
                  </a:cubicBezTo>
                  <a:lnTo>
                    <a:pt x="11363" y="5377"/>
                  </a:lnTo>
                  <a:cubicBezTo>
                    <a:pt x="11350" y="5240"/>
                    <a:pt x="11288" y="5138"/>
                    <a:pt x="11176" y="5069"/>
                  </a:cubicBezTo>
                  <a:cubicBezTo>
                    <a:pt x="11051" y="5001"/>
                    <a:pt x="10967" y="4940"/>
                    <a:pt x="10923" y="4887"/>
                  </a:cubicBezTo>
                  <a:cubicBezTo>
                    <a:pt x="10855" y="4826"/>
                    <a:pt x="10765" y="4705"/>
                    <a:pt x="10652" y="4523"/>
                  </a:cubicBezTo>
                  <a:cubicBezTo>
                    <a:pt x="10515" y="4341"/>
                    <a:pt x="10425" y="4211"/>
                    <a:pt x="10381" y="4135"/>
                  </a:cubicBezTo>
                  <a:cubicBezTo>
                    <a:pt x="10388" y="4037"/>
                    <a:pt x="10375" y="3953"/>
                    <a:pt x="10344" y="3885"/>
                  </a:cubicBezTo>
                  <a:lnTo>
                    <a:pt x="10260" y="3885"/>
                  </a:lnTo>
                  <a:cubicBezTo>
                    <a:pt x="10110" y="3915"/>
                    <a:pt x="10026" y="3930"/>
                    <a:pt x="10007" y="3930"/>
                  </a:cubicBezTo>
                  <a:cubicBezTo>
                    <a:pt x="9927" y="3930"/>
                    <a:pt x="9852" y="3885"/>
                    <a:pt x="9783" y="3793"/>
                  </a:cubicBezTo>
                  <a:cubicBezTo>
                    <a:pt x="9702" y="3695"/>
                    <a:pt x="9581" y="3646"/>
                    <a:pt x="9419" y="3646"/>
                  </a:cubicBezTo>
                  <a:lnTo>
                    <a:pt x="9409" y="3646"/>
                  </a:lnTo>
                  <a:cubicBezTo>
                    <a:pt x="9366" y="3615"/>
                    <a:pt x="9310" y="3592"/>
                    <a:pt x="9241" y="3577"/>
                  </a:cubicBezTo>
                  <a:cubicBezTo>
                    <a:pt x="9104" y="3562"/>
                    <a:pt x="8970" y="3600"/>
                    <a:pt x="8839" y="3691"/>
                  </a:cubicBezTo>
                  <a:cubicBezTo>
                    <a:pt x="8796" y="3729"/>
                    <a:pt x="8733" y="3813"/>
                    <a:pt x="8652" y="3942"/>
                  </a:cubicBezTo>
                  <a:cubicBezTo>
                    <a:pt x="8584" y="4048"/>
                    <a:pt x="8550" y="4109"/>
                    <a:pt x="8550" y="4124"/>
                  </a:cubicBezTo>
                  <a:cubicBezTo>
                    <a:pt x="8550" y="4170"/>
                    <a:pt x="8578" y="4238"/>
                    <a:pt x="8633" y="4329"/>
                  </a:cubicBezTo>
                  <a:cubicBezTo>
                    <a:pt x="8665" y="4367"/>
                    <a:pt x="8702" y="4416"/>
                    <a:pt x="8746" y="4477"/>
                  </a:cubicBezTo>
                  <a:cubicBezTo>
                    <a:pt x="8677" y="4545"/>
                    <a:pt x="8574" y="4580"/>
                    <a:pt x="8437" y="4580"/>
                  </a:cubicBezTo>
                  <a:cubicBezTo>
                    <a:pt x="8300" y="4572"/>
                    <a:pt x="8198" y="4606"/>
                    <a:pt x="8129" y="4682"/>
                  </a:cubicBezTo>
                  <a:cubicBezTo>
                    <a:pt x="8023" y="4796"/>
                    <a:pt x="7939" y="4880"/>
                    <a:pt x="7877" y="4933"/>
                  </a:cubicBezTo>
                  <a:cubicBezTo>
                    <a:pt x="7746" y="5047"/>
                    <a:pt x="7665" y="5115"/>
                    <a:pt x="7633" y="5138"/>
                  </a:cubicBezTo>
                  <a:cubicBezTo>
                    <a:pt x="7559" y="5183"/>
                    <a:pt x="7459" y="5218"/>
                    <a:pt x="7334" y="5240"/>
                  </a:cubicBezTo>
                  <a:cubicBezTo>
                    <a:pt x="7210" y="5278"/>
                    <a:pt x="7076" y="5328"/>
                    <a:pt x="6932" y="5388"/>
                  </a:cubicBezTo>
                  <a:cubicBezTo>
                    <a:pt x="6715" y="5518"/>
                    <a:pt x="6583" y="5598"/>
                    <a:pt x="6540" y="5628"/>
                  </a:cubicBezTo>
                  <a:cubicBezTo>
                    <a:pt x="6484" y="5658"/>
                    <a:pt x="6387" y="5673"/>
                    <a:pt x="6250" y="5673"/>
                  </a:cubicBezTo>
                  <a:lnTo>
                    <a:pt x="6110" y="5673"/>
                  </a:lnTo>
                  <a:cubicBezTo>
                    <a:pt x="6091" y="5666"/>
                    <a:pt x="6082" y="5639"/>
                    <a:pt x="6082" y="5594"/>
                  </a:cubicBezTo>
                  <a:cubicBezTo>
                    <a:pt x="6076" y="5518"/>
                    <a:pt x="6095" y="5464"/>
                    <a:pt x="6138" y="5434"/>
                  </a:cubicBezTo>
                  <a:cubicBezTo>
                    <a:pt x="6169" y="5411"/>
                    <a:pt x="6188" y="5347"/>
                    <a:pt x="6194" y="5240"/>
                  </a:cubicBezTo>
                  <a:cubicBezTo>
                    <a:pt x="6194" y="5043"/>
                    <a:pt x="6032" y="4826"/>
                    <a:pt x="5708" y="4591"/>
                  </a:cubicBezTo>
                  <a:cubicBezTo>
                    <a:pt x="5384" y="4341"/>
                    <a:pt x="5222" y="4177"/>
                    <a:pt x="5222" y="4101"/>
                  </a:cubicBezTo>
                  <a:lnTo>
                    <a:pt x="5241" y="4021"/>
                  </a:lnTo>
                  <a:cubicBezTo>
                    <a:pt x="5328" y="4060"/>
                    <a:pt x="5456" y="4131"/>
                    <a:pt x="5624" y="4238"/>
                  </a:cubicBezTo>
                  <a:cubicBezTo>
                    <a:pt x="5655" y="4238"/>
                    <a:pt x="5671" y="4211"/>
                    <a:pt x="5671" y="4158"/>
                  </a:cubicBezTo>
                  <a:cubicBezTo>
                    <a:pt x="5671" y="4075"/>
                    <a:pt x="5593" y="4006"/>
                    <a:pt x="5437" y="3953"/>
                  </a:cubicBezTo>
                  <a:cubicBezTo>
                    <a:pt x="5275" y="3885"/>
                    <a:pt x="5194" y="3809"/>
                    <a:pt x="5194" y="3725"/>
                  </a:cubicBezTo>
                  <a:cubicBezTo>
                    <a:pt x="5194" y="3665"/>
                    <a:pt x="5216" y="3619"/>
                    <a:pt x="5260" y="3589"/>
                  </a:cubicBezTo>
                  <a:cubicBezTo>
                    <a:pt x="5291" y="3573"/>
                    <a:pt x="5334" y="3555"/>
                    <a:pt x="5390" y="3532"/>
                  </a:cubicBezTo>
                  <a:lnTo>
                    <a:pt x="5400" y="3384"/>
                  </a:lnTo>
                  <a:lnTo>
                    <a:pt x="5325" y="3372"/>
                  </a:lnTo>
                  <a:cubicBezTo>
                    <a:pt x="5300" y="3387"/>
                    <a:pt x="5253" y="3422"/>
                    <a:pt x="5185" y="3475"/>
                  </a:cubicBezTo>
                  <a:cubicBezTo>
                    <a:pt x="5135" y="3520"/>
                    <a:pt x="5098" y="3543"/>
                    <a:pt x="5073" y="3543"/>
                  </a:cubicBezTo>
                  <a:cubicBezTo>
                    <a:pt x="5041" y="3543"/>
                    <a:pt x="5004" y="3528"/>
                    <a:pt x="4960" y="3497"/>
                  </a:cubicBezTo>
                  <a:cubicBezTo>
                    <a:pt x="4911" y="3475"/>
                    <a:pt x="4876" y="3463"/>
                    <a:pt x="4858" y="3463"/>
                  </a:cubicBezTo>
                  <a:cubicBezTo>
                    <a:pt x="4839" y="3463"/>
                    <a:pt x="4817" y="3475"/>
                    <a:pt x="4792" y="3497"/>
                  </a:cubicBezTo>
                  <a:cubicBezTo>
                    <a:pt x="4773" y="3528"/>
                    <a:pt x="4764" y="3547"/>
                    <a:pt x="4764" y="3555"/>
                  </a:cubicBezTo>
                  <a:cubicBezTo>
                    <a:pt x="4764" y="3623"/>
                    <a:pt x="4805" y="3706"/>
                    <a:pt x="4886" y="3805"/>
                  </a:cubicBezTo>
                  <a:cubicBezTo>
                    <a:pt x="4967" y="3927"/>
                    <a:pt x="5014" y="4006"/>
                    <a:pt x="5026" y="4044"/>
                  </a:cubicBezTo>
                  <a:cubicBezTo>
                    <a:pt x="5001" y="4075"/>
                    <a:pt x="4967" y="4086"/>
                    <a:pt x="4923" y="4078"/>
                  </a:cubicBezTo>
                  <a:cubicBezTo>
                    <a:pt x="4792" y="3957"/>
                    <a:pt x="4646" y="3839"/>
                    <a:pt x="4484" y="3725"/>
                  </a:cubicBezTo>
                  <a:cubicBezTo>
                    <a:pt x="4179" y="3475"/>
                    <a:pt x="3864" y="3338"/>
                    <a:pt x="3540" y="3315"/>
                  </a:cubicBezTo>
                  <a:cubicBezTo>
                    <a:pt x="3490" y="3315"/>
                    <a:pt x="3437" y="3327"/>
                    <a:pt x="3381" y="3349"/>
                  </a:cubicBezTo>
                  <a:cubicBezTo>
                    <a:pt x="3318" y="3372"/>
                    <a:pt x="3272" y="3384"/>
                    <a:pt x="3241" y="3384"/>
                  </a:cubicBezTo>
                  <a:cubicBezTo>
                    <a:pt x="3210" y="3384"/>
                    <a:pt x="3191" y="3369"/>
                    <a:pt x="3184" y="3338"/>
                  </a:cubicBezTo>
                  <a:cubicBezTo>
                    <a:pt x="3172" y="3308"/>
                    <a:pt x="3147" y="3292"/>
                    <a:pt x="3110" y="3292"/>
                  </a:cubicBezTo>
                  <a:cubicBezTo>
                    <a:pt x="3160" y="3209"/>
                    <a:pt x="3281" y="3167"/>
                    <a:pt x="3474" y="3167"/>
                  </a:cubicBezTo>
                  <a:cubicBezTo>
                    <a:pt x="3674" y="3167"/>
                    <a:pt x="3795" y="3114"/>
                    <a:pt x="3839" y="3008"/>
                  </a:cubicBezTo>
                  <a:cubicBezTo>
                    <a:pt x="3814" y="3000"/>
                    <a:pt x="3742" y="2989"/>
                    <a:pt x="3624" y="2974"/>
                  </a:cubicBezTo>
                  <a:cubicBezTo>
                    <a:pt x="3512" y="2943"/>
                    <a:pt x="3446" y="2928"/>
                    <a:pt x="3428" y="2928"/>
                  </a:cubicBezTo>
                  <a:cubicBezTo>
                    <a:pt x="3365" y="2928"/>
                    <a:pt x="3281" y="2947"/>
                    <a:pt x="3175" y="2985"/>
                  </a:cubicBezTo>
                  <a:cubicBezTo>
                    <a:pt x="3082" y="3031"/>
                    <a:pt x="3004" y="3076"/>
                    <a:pt x="2942" y="3122"/>
                  </a:cubicBezTo>
                  <a:cubicBezTo>
                    <a:pt x="2917" y="3152"/>
                    <a:pt x="2836" y="3198"/>
                    <a:pt x="2698" y="3258"/>
                  </a:cubicBezTo>
                  <a:cubicBezTo>
                    <a:pt x="2580" y="3334"/>
                    <a:pt x="2459" y="3410"/>
                    <a:pt x="2334" y="3486"/>
                  </a:cubicBezTo>
                  <a:cubicBezTo>
                    <a:pt x="2328" y="3486"/>
                    <a:pt x="2322" y="3490"/>
                    <a:pt x="2315" y="3497"/>
                  </a:cubicBezTo>
                  <a:cubicBezTo>
                    <a:pt x="2284" y="3505"/>
                    <a:pt x="2206" y="3501"/>
                    <a:pt x="2082" y="3486"/>
                  </a:cubicBezTo>
                  <a:cubicBezTo>
                    <a:pt x="1982" y="3486"/>
                    <a:pt x="1885" y="3513"/>
                    <a:pt x="1792" y="3566"/>
                  </a:cubicBezTo>
                  <a:cubicBezTo>
                    <a:pt x="1742" y="3581"/>
                    <a:pt x="1639" y="3646"/>
                    <a:pt x="1483" y="3760"/>
                  </a:cubicBezTo>
                  <a:cubicBezTo>
                    <a:pt x="1347" y="3843"/>
                    <a:pt x="1253" y="3896"/>
                    <a:pt x="1203" y="3919"/>
                  </a:cubicBezTo>
                  <a:lnTo>
                    <a:pt x="1119" y="3919"/>
                  </a:lnTo>
                  <a:lnTo>
                    <a:pt x="1119" y="3850"/>
                  </a:lnTo>
                  <a:cubicBezTo>
                    <a:pt x="1593" y="3494"/>
                    <a:pt x="1829" y="3266"/>
                    <a:pt x="1829" y="3167"/>
                  </a:cubicBezTo>
                  <a:cubicBezTo>
                    <a:pt x="1829" y="3137"/>
                    <a:pt x="1804" y="3091"/>
                    <a:pt x="1755" y="3031"/>
                  </a:cubicBezTo>
                  <a:cubicBezTo>
                    <a:pt x="1705" y="2954"/>
                    <a:pt x="1677" y="2917"/>
                    <a:pt x="1670" y="2917"/>
                  </a:cubicBezTo>
                  <a:cubicBezTo>
                    <a:pt x="1639" y="2917"/>
                    <a:pt x="1599" y="2966"/>
                    <a:pt x="1549" y="3065"/>
                  </a:cubicBezTo>
                  <a:cubicBezTo>
                    <a:pt x="1493" y="3163"/>
                    <a:pt x="1452" y="3216"/>
                    <a:pt x="1428" y="3224"/>
                  </a:cubicBezTo>
                  <a:cubicBezTo>
                    <a:pt x="1415" y="3194"/>
                    <a:pt x="1409" y="3148"/>
                    <a:pt x="1409" y="3088"/>
                  </a:cubicBezTo>
                  <a:cubicBezTo>
                    <a:pt x="1415" y="3034"/>
                    <a:pt x="1418" y="2992"/>
                    <a:pt x="1418" y="2962"/>
                  </a:cubicBezTo>
                  <a:cubicBezTo>
                    <a:pt x="1418" y="2917"/>
                    <a:pt x="1399" y="2890"/>
                    <a:pt x="1362" y="2882"/>
                  </a:cubicBezTo>
                  <a:cubicBezTo>
                    <a:pt x="1343" y="2882"/>
                    <a:pt x="1265" y="3072"/>
                    <a:pt x="1128" y="3452"/>
                  </a:cubicBezTo>
                  <a:cubicBezTo>
                    <a:pt x="985" y="3816"/>
                    <a:pt x="811" y="3995"/>
                    <a:pt x="605" y="3987"/>
                  </a:cubicBezTo>
                  <a:cubicBezTo>
                    <a:pt x="543" y="3987"/>
                    <a:pt x="514" y="3957"/>
                    <a:pt x="521" y="3896"/>
                  </a:cubicBezTo>
                  <a:cubicBezTo>
                    <a:pt x="521" y="3835"/>
                    <a:pt x="561" y="3763"/>
                    <a:pt x="642" y="3680"/>
                  </a:cubicBezTo>
                  <a:cubicBezTo>
                    <a:pt x="723" y="3581"/>
                    <a:pt x="764" y="3490"/>
                    <a:pt x="764" y="3406"/>
                  </a:cubicBezTo>
                  <a:cubicBezTo>
                    <a:pt x="770" y="3353"/>
                    <a:pt x="770" y="3323"/>
                    <a:pt x="764" y="3315"/>
                  </a:cubicBezTo>
                  <a:cubicBezTo>
                    <a:pt x="758" y="3292"/>
                    <a:pt x="736" y="3281"/>
                    <a:pt x="698" y="3281"/>
                  </a:cubicBezTo>
                  <a:cubicBezTo>
                    <a:pt x="655" y="3273"/>
                    <a:pt x="624" y="3304"/>
                    <a:pt x="605" y="3372"/>
                  </a:cubicBezTo>
                  <a:cubicBezTo>
                    <a:pt x="580" y="3312"/>
                    <a:pt x="574" y="3216"/>
                    <a:pt x="586" y="3088"/>
                  </a:cubicBezTo>
                  <a:cubicBezTo>
                    <a:pt x="611" y="2935"/>
                    <a:pt x="627" y="2825"/>
                    <a:pt x="633" y="2757"/>
                  </a:cubicBezTo>
                  <a:cubicBezTo>
                    <a:pt x="646" y="2689"/>
                    <a:pt x="621" y="2616"/>
                    <a:pt x="558" y="2540"/>
                  </a:cubicBezTo>
                  <a:cubicBezTo>
                    <a:pt x="477" y="2480"/>
                    <a:pt x="421" y="2427"/>
                    <a:pt x="390" y="2381"/>
                  </a:cubicBezTo>
                  <a:cubicBezTo>
                    <a:pt x="297" y="2275"/>
                    <a:pt x="222" y="2195"/>
                    <a:pt x="166" y="2142"/>
                  </a:cubicBezTo>
                  <a:cubicBezTo>
                    <a:pt x="66" y="2035"/>
                    <a:pt x="13" y="1952"/>
                    <a:pt x="7" y="1891"/>
                  </a:cubicBezTo>
                  <a:cubicBezTo>
                    <a:pt x="-12" y="1800"/>
                    <a:pt x="7" y="1675"/>
                    <a:pt x="63" y="1515"/>
                  </a:cubicBezTo>
                  <a:cubicBezTo>
                    <a:pt x="131" y="1318"/>
                    <a:pt x="219" y="1223"/>
                    <a:pt x="325" y="1230"/>
                  </a:cubicBezTo>
                  <a:cubicBezTo>
                    <a:pt x="487" y="1238"/>
                    <a:pt x="1951" y="1094"/>
                    <a:pt x="4717" y="797"/>
                  </a:cubicBezTo>
                  <a:cubicBezTo>
                    <a:pt x="4948" y="775"/>
                    <a:pt x="5608" y="695"/>
                    <a:pt x="6699" y="558"/>
                  </a:cubicBezTo>
                  <a:close/>
                  <a:moveTo>
                    <a:pt x="6699" y="55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1" name="AutoShape 178"/>
            <p:cNvSpPr>
              <a:spLocks/>
            </p:cNvSpPr>
            <p:nvPr/>
          </p:nvSpPr>
          <p:spPr bwMode="auto">
            <a:xfrm>
              <a:off x="5506288" y="2783305"/>
              <a:ext cx="578911" cy="1070016"/>
            </a:xfrm>
            <a:custGeom>
              <a:avLst/>
              <a:gdLst/>
              <a:ahLst/>
              <a:cxnLst/>
              <a:rect l="0" t="0" r="r" b="b"/>
              <a:pathLst>
                <a:path w="21600" h="21600">
                  <a:moveTo>
                    <a:pt x="18058" y="21106"/>
                  </a:moveTo>
                  <a:lnTo>
                    <a:pt x="16794" y="20925"/>
                  </a:lnTo>
                  <a:cubicBezTo>
                    <a:pt x="13814" y="20469"/>
                    <a:pt x="10876" y="19976"/>
                    <a:pt x="7982" y="19447"/>
                  </a:cubicBezTo>
                  <a:cubicBezTo>
                    <a:pt x="7860" y="19361"/>
                    <a:pt x="7784" y="19307"/>
                    <a:pt x="7753" y="19282"/>
                  </a:cubicBezTo>
                  <a:cubicBezTo>
                    <a:pt x="7698" y="19241"/>
                    <a:pt x="7670" y="19194"/>
                    <a:pt x="7670" y="19142"/>
                  </a:cubicBezTo>
                  <a:cubicBezTo>
                    <a:pt x="7670" y="19095"/>
                    <a:pt x="7713" y="19072"/>
                    <a:pt x="7799" y="19072"/>
                  </a:cubicBezTo>
                  <a:cubicBezTo>
                    <a:pt x="7860" y="19072"/>
                    <a:pt x="7931" y="19087"/>
                    <a:pt x="8012" y="19117"/>
                  </a:cubicBezTo>
                  <a:cubicBezTo>
                    <a:pt x="8094" y="19145"/>
                    <a:pt x="8152" y="19158"/>
                    <a:pt x="8188" y="19158"/>
                  </a:cubicBezTo>
                  <a:cubicBezTo>
                    <a:pt x="8309" y="19158"/>
                    <a:pt x="8370" y="19134"/>
                    <a:pt x="8370" y="19084"/>
                  </a:cubicBezTo>
                  <a:cubicBezTo>
                    <a:pt x="8370" y="19032"/>
                    <a:pt x="8243" y="18990"/>
                    <a:pt x="7990" y="18957"/>
                  </a:cubicBezTo>
                  <a:cubicBezTo>
                    <a:pt x="7736" y="18926"/>
                    <a:pt x="7609" y="18862"/>
                    <a:pt x="7609" y="18763"/>
                  </a:cubicBezTo>
                  <a:cubicBezTo>
                    <a:pt x="7609" y="18733"/>
                    <a:pt x="7667" y="18675"/>
                    <a:pt x="7784" y="18590"/>
                  </a:cubicBezTo>
                  <a:cubicBezTo>
                    <a:pt x="7896" y="18502"/>
                    <a:pt x="7952" y="18441"/>
                    <a:pt x="7952" y="18405"/>
                  </a:cubicBezTo>
                  <a:cubicBezTo>
                    <a:pt x="7952" y="18355"/>
                    <a:pt x="7906" y="18331"/>
                    <a:pt x="7814" y="18331"/>
                  </a:cubicBezTo>
                  <a:cubicBezTo>
                    <a:pt x="7753" y="18331"/>
                    <a:pt x="7644" y="18362"/>
                    <a:pt x="7487" y="18425"/>
                  </a:cubicBezTo>
                  <a:cubicBezTo>
                    <a:pt x="7329" y="18486"/>
                    <a:pt x="7230" y="18516"/>
                    <a:pt x="7190" y="18516"/>
                  </a:cubicBezTo>
                  <a:cubicBezTo>
                    <a:pt x="7083" y="18516"/>
                    <a:pt x="7030" y="18480"/>
                    <a:pt x="7030" y="18409"/>
                  </a:cubicBezTo>
                  <a:cubicBezTo>
                    <a:pt x="7030" y="18382"/>
                    <a:pt x="7050" y="18344"/>
                    <a:pt x="7091" y="18298"/>
                  </a:cubicBezTo>
                  <a:cubicBezTo>
                    <a:pt x="7131" y="18254"/>
                    <a:pt x="7152" y="18199"/>
                    <a:pt x="7152" y="18133"/>
                  </a:cubicBezTo>
                  <a:cubicBezTo>
                    <a:pt x="7152" y="18097"/>
                    <a:pt x="7126" y="18055"/>
                    <a:pt x="7076" y="18005"/>
                  </a:cubicBezTo>
                  <a:cubicBezTo>
                    <a:pt x="7020" y="17953"/>
                    <a:pt x="6992" y="17920"/>
                    <a:pt x="6992" y="17907"/>
                  </a:cubicBezTo>
                  <a:cubicBezTo>
                    <a:pt x="7048" y="17824"/>
                    <a:pt x="7076" y="17772"/>
                    <a:pt x="7076" y="17750"/>
                  </a:cubicBezTo>
                  <a:cubicBezTo>
                    <a:pt x="7086" y="17706"/>
                    <a:pt x="7071" y="17684"/>
                    <a:pt x="7030" y="17684"/>
                  </a:cubicBezTo>
                  <a:cubicBezTo>
                    <a:pt x="6928" y="17684"/>
                    <a:pt x="6829" y="17717"/>
                    <a:pt x="6733" y="17783"/>
                  </a:cubicBezTo>
                  <a:cubicBezTo>
                    <a:pt x="6641" y="17846"/>
                    <a:pt x="6542" y="17878"/>
                    <a:pt x="6436" y="17878"/>
                  </a:cubicBezTo>
                  <a:cubicBezTo>
                    <a:pt x="6329" y="17878"/>
                    <a:pt x="6212" y="17816"/>
                    <a:pt x="6086" y="17693"/>
                  </a:cubicBezTo>
                  <a:cubicBezTo>
                    <a:pt x="5974" y="17583"/>
                    <a:pt x="5918" y="17499"/>
                    <a:pt x="5918" y="17441"/>
                  </a:cubicBezTo>
                  <a:cubicBezTo>
                    <a:pt x="5918" y="17403"/>
                    <a:pt x="5951" y="17373"/>
                    <a:pt x="6017" y="17351"/>
                  </a:cubicBezTo>
                  <a:cubicBezTo>
                    <a:pt x="6108" y="17323"/>
                    <a:pt x="6169" y="17296"/>
                    <a:pt x="6200" y="17268"/>
                  </a:cubicBezTo>
                  <a:cubicBezTo>
                    <a:pt x="6215" y="17252"/>
                    <a:pt x="6223" y="17229"/>
                    <a:pt x="6223" y="17198"/>
                  </a:cubicBezTo>
                  <a:cubicBezTo>
                    <a:pt x="6223" y="17163"/>
                    <a:pt x="6225" y="17141"/>
                    <a:pt x="6230" y="17133"/>
                  </a:cubicBezTo>
                  <a:cubicBezTo>
                    <a:pt x="6245" y="17105"/>
                    <a:pt x="6271" y="17079"/>
                    <a:pt x="6306" y="17054"/>
                  </a:cubicBezTo>
                  <a:cubicBezTo>
                    <a:pt x="6337" y="17038"/>
                    <a:pt x="6352" y="17019"/>
                    <a:pt x="6352" y="16997"/>
                  </a:cubicBezTo>
                  <a:cubicBezTo>
                    <a:pt x="6352" y="16980"/>
                    <a:pt x="6342" y="16964"/>
                    <a:pt x="6322" y="16947"/>
                  </a:cubicBezTo>
                  <a:cubicBezTo>
                    <a:pt x="6296" y="16925"/>
                    <a:pt x="6268" y="16914"/>
                    <a:pt x="6238" y="16914"/>
                  </a:cubicBezTo>
                  <a:cubicBezTo>
                    <a:pt x="6141" y="16914"/>
                    <a:pt x="6091" y="16914"/>
                    <a:pt x="6086" y="16914"/>
                  </a:cubicBezTo>
                  <a:cubicBezTo>
                    <a:pt x="6014" y="16909"/>
                    <a:pt x="5979" y="16895"/>
                    <a:pt x="5979" y="16873"/>
                  </a:cubicBezTo>
                  <a:cubicBezTo>
                    <a:pt x="5999" y="16840"/>
                    <a:pt x="6009" y="16817"/>
                    <a:pt x="6009" y="16803"/>
                  </a:cubicBezTo>
                  <a:cubicBezTo>
                    <a:pt x="6009" y="16737"/>
                    <a:pt x="5966" y="16695"/>
                    <a:pt x="5880" y="16676"/>
                  </a:cubicBezTo>
                  <a:cubicBezTo>
                    <a:pt x="5849" y="16667"/>
                    <a:pt x="5758" y="16656"/>
                    <a:pt x="5606" y="16643"/>
                  </a:cubicBezTo>
                  <a:cubicBezTo>
                    <a:pt x="5529" y="16637"/>
                    <a:pt x="5438" y="16606"/>
                    <a:pt x="5331" y="16548"/>
                  </a:cubicBezTo>
                  <a:cubicBezTo>
                    <a:pt x="5235" y="16493"/>
                    <a:pt x="5184" y="16466"/>
                    <a:pt x="5179" y="16466"/>
                  </a:cubicBezTo>
                  <a:lnTo>
                    <a:pt x="5004" y="16482"/>
                  </a:lnTo>
                  <a:cubicBezTo>
                    <a:pt x="4948" y="16482"/>
                    <a:pt x="4879" y="16468"/>
                    <a:pt x="4798" y="16441"/>
                  </a:cubicBezTo>
                  <a:cubicBezTo>
                    <a:pt x="4712" y="16408"/>
                    <a:pt x="4648" y="16385"/>
                    <a:pt x="4608" y="16371"/>
                  </a:cubicBezTo>
                  <a:cubicBezTo>
                    <a:pt x="4491" y="16354"/>
                    <a:pt x="4395" y="16339"/>
                    <a:pt x="4318" y="16326"/>
                  </a:cubicBezTo>
                  <a:cubicBezTo>
                    <a:pt x="4176" y="16301"/>
                    <a:pt x="4105" y="16267"/>
                    <a:pt x="4105" y="16223"/>
                  </a:cubicBezTo>
                  <a:cubicBezTo>
                    <a:pt x="4105" y="16198"/>
                    <a:pt x="4148" y="16186"/>
                    <a:pt x="4235" y="16186"/>
                  </a:cubicBezTo>
                  <a:lnTo>
                    <a:pt x="4577" y="16202"/>
                  </a:lnTo>
                  <a:cubicBezTo>
                    <a:pt x="4669" y="16202"/>
                    <a:pt x="4715" y="16190"/>
                    <a:pt x="4715" y="16165"/>
                  </a:cubicBezTo>
                  <a:cubicBezTo>
                    <a:pt x="4715" y="16151"/>
                    <a:pt x="4692" y="16133"/>
                    <a:pt x="4646" y="16111"/>
                  </a:cubicBezTo>
                  <a:cubicBezTo>
                    <a:pt x="4595" y="16089"/>
                    <a:pt x="4570" y="16070"/>
                    <a:pt x="4570" y="16054"/>
                  </a:cubicBezTo>
                  <a:cubicBezTo>
                    <a:pt x="4570" y="16043"/>
                    <a:pt x="4582" y="16028"/>
                    <a:pt x="4608" y="16008"/>
                  </a:cubicBezTo>
                  <a:cubicBezTo>
                    <a:pt x="4628" y="15987"/>
                    <a:pt x="4638" y="15971"/>
                    <a:pt x="4638" y="15963"/>
                  </a:cubicBezTo>
                  <a:cubicBezTo>
                    <a:pt x="4638" y="15933"/>
                    <a:pt x="4603" y="15906"/>
                    <a:pt x="4532" y="15881"/>
                  </a:cubicBezTo>
                  <a:cubicBezTo>
                    <a:pt x="4456" y="15859"/>
                    <a:pt x="4417" y="15836"/>
                    <a:pt x="4417" y="15811"/>
                  </a:cubicBezTo>
                  <a:cubicBezTo>
                    <a:pt x="4428" y="15803"/>
                    <a:pt x="4433" y="15796"/>
                    <a:pt x="4433" y="15790"/>
                  </a:cubicBezTo>
                  <a:cubicBezTo>
                    <a:pt x="4544" y="15793"/>
                    <a:pt x="4633" y="15774"/>
                    <a:pt x="4699" y="15733"/>
                  </a:cubicBezTo>
                  <a:cubicBezTo>
                    <a:pt x="4694" y="15733"/>
                    <a:pt x="4616" y="15702"/>
                    <a:pt x="4463" y="15642"/>
                  </a:cubicBezTo>
                  <a:cubicBezTo>
                    <a:pt x="4397" y="15617"/>
                    <a:pt x="4316" y="15605"/>
                    <a:pt x="4219" y="15605"/>
                  </a:cubicBezTo>
                  <a:cubicBezTo>
                    <a:pt x="4123" y="15621"/>
                    <a:pt x="4047" y="15630"/>
                    <a:pt x="3991" y="15630"/>
                  </a:cubicBezTo>
                  <a:cubicBezTo>
                    <a:pt x="3925" y="15630"/>
                    <a:pt x="3834" y="15609"/>
                    <a:pt x="3717" y="15568"/>
                  </a:cubicBezTo>
                  <a:cubicBezTo>
                    <a:pt x="3600" y="15524"/>
                    <a:pt x="3526" y="15502"/>
                    <a:pt x="3496" y="15502"/>
                  </a:cubicBezTo>
                  <a:cubicBezTo>
                    <a:pt x="3481" y="15502"/>
                    <a:pt x="3458" y="15514"/>
                    <a:pt x="3427" y="15539"/>
                  </a:cubicBezTo>
                  <a:cubicBezTo>
                    <a:pt x="3397" y="15561"/>
                    <a:pt x="3371" y="15572"/>
                    <a:pt x="3351" y="15572"/>
                  </a:cubicBezTo>
                  <a:cubicBezTo>
                    <a:pt x="3331" y="15572"/>
                    <a:pt x="3293" y="15553"/>
                    <a:pt x="3237" y="15514"/>
                  </a:cubicBezTo>
                  <a:cubicBezTo>
                    <a:pt x="3227" y="15506"/>
                    <a:pt x="3217" y="15499"/>
                    <a:pt x="3207" y="15494"/>
                  </a:cubicBezTo>
                  <a:cubicBezTo>
                    <a:pt x="3044" y="15381"/>
                    <a:pt x="2932" y="15300"/>
                    <a:pt x="2871" y="15251"/>
                  </a:cubicBezTo>
                  <a:cubicBezTo>
                    <a:pt x="2765" y="15163"/>
                    <a:pt x="2711" y="15078"/>
                    <a:pt x="2711" y="14996"/>
                  </a:cubicBezTo>
                  <a:cubicBezTo>
                    <a:pt x="2711" y="14935"/>
                    <a:pt x="2765" y="14905"/>
                    <a:pt x="2871" y="14905"/>
                  </a:cubicBezTo>
                  <a:cubicBezTo>
                    <a:pt x="2902" y="14905"/>
                    <a:pt x="2937" y="14909"/>
                    <a:pt x="2978" y="14917"/>
                  </a:cubicBezTo>
                  <a:cubicBezTo>
                    <a:pt x="3013" y="14926"/>
                    <a:pt x="3052" y="14930"/>
                    <a:pt x="3092" y="14930"/>
                  </a:cubicBezTo>
                  <a:cubicBezTo>
                    <a:pt x="3153" y="14930"/>
                    <a:pt x="3194" y="14927"/>
                    <a:pt x="3214" y="14922"/>
                  </a:cubicBezTo>
                  <a:lnTo>
                    <a:pt x="3214" y="14884"/>
                  </a:lnTo>
                  <a:cubicBezTo>
                    <a:pt x="3199" y="14865"/>
                    <a:pt x="3138" y="14846"/>
                    <a:pt x="3031" y="14827"/>
                  </a:cubicBezTo>
                  <a:cubicBezTo>
                    <a:pt x="2925" y="14805"/>
                    <a:pt x="2861" y="14783"/>
                    <a:pt x="2841" y="14761"/>
                  </a:cubicBezTo>
                  <a:cubicBezTo>
                    <a:pt x="2882" y="14747"/>
                    <a:pt x="2920" y="14735"/>
                    <a:pt x="2955" y="14724"/>
                  </a:cubicBezTo>
                  <a:cubicBezTo>
                    <a:pt x="3021" y="14702"/>
                    <a:pt x="3080" y="14691"/>
                    <a:pt x="3130" y="14691"/>
                  </a:cubicBezTo>
                  <a:cubicBezTo>
                    <a:pt x="3161" y="14691"/>
                    <a:pt x="3217" y="14705"/>
                    <a:pt x="3298" y="14732"/>
                  </a:cubicBezTo>
                  <a:cubicBezTo>
                    <a:pt x="3379" y="14757"/>
                    <a:pt x="3458" y="14769"/>
                    <a:pt x="3534" y="14769"/>
                  </a:cubicBezTo>
                  <a:cubicBezTo>
                    <a:pt x="3570" y="14769"/>
                    <a:pt x="3587" y="14755"/>
                    <a:pt x="3587" y="14728"/>
                  </a:cubicBezTo>
                  <a:cubicBezTo>
                    <a:pt x="3587" y="14698"/>
                    <a:pt x="3570" y="14676"/>
                    <a:pt x="3534" y="14662"/>
                  </a:cubicBezTo>
                  <a:cubicBezTo>
                    <a:pt x="3498" y="14646"/>
                    <a:pt x="3481" y="14621"/>
                    <a:pt x="3481" y="14588"/>
                  </a:cubicBezTo>
                  <a:cubicBezTo>
                    <a:pt x="3481" y="14558"/>
                    <a:pt x="3531" y="14526"/>
                    <a:pt x="3633" y="14493"/>
                  </a:cubicBezTo>
                  <a:cubicBezTo>
                    <a:pt x="3729" y="14463"/>
                    <a:pt x="3778" y="14440"/>
                    <a:pt x="3778" y="14423"/>
                  </a:cubicBezTo>
                  <a:cubicBezTo>
                    <a:pt x="3778" y="14412"/>
                    <a:pt x="3768" y="14397"/>
                    <a:pt x="3747" y="14378"/>
                  </a:cubicBezTo>
                  <a:cubicBezTo>
                    <a:pt x="3722" y="14356"/>
                    <a:pt x="3691" y="14345"/>
                    <a:pt x="3656" y="14345"/>
                  </a:cubicBezTo>
                  <a:cubicBezTo>
                    <a:pt x="3605" y="14345"/>
                    <a:pt x="3544" y="14366"/>
                    <a:pt x="3473" y="14407"/>
                  </a:cubicBezTo>
                  <a:cubicBezTo>
                    <a:pt x="3397" y="14445"/>
                    <a:pt x="3326" y="14464"/>
                    <a:pt x="3260" y="14464"/>
                  </a:cubicBezTo>
                  <a:cubicBezTo>
                    <a:pt x="3219" y="14464"/>
                    <a:pt x="3184" y="14459"/>
                    <a:pt x="3153" y="14448"/>
                  </a:cubicBezTo>
                  <a:cubicBezTo>
                    <a:pt x="3107" y="14434"/>
                    <a:pt x="3085" y="14412"/>
                    <a:pt x="3085" y="14382"/>
                  </a:cubicBezTo>
                  <a:cubicBezTo>
                    <a:pt x="3085" y="14357"/>
                    <a:pt x="3128" y="14278"/>
                    <a:pt x="3214" y="14143"/>
                  </a:cubicBezTo>
                  <a:cubicBezTo>
                    <a:pt x="3311" y="14003"/>
                    <a:pt x="3384" y="13910"/>
                    <a:pt x="3435" y="13863"/>
                  </a:cubicBezTo>
                  <a:cubicBezTo>
                    <a:pt x="3496" y="13806"/>
                    <a:pt x="3539" y="13764"/>
                    <a:pt x="3564" y="13740"/>
                  </a:cubicBezTo>
                  <a:cubicBezTo>
                    <a:pt x="3600" y="13696"/>
                    <a:pt x="3613" y="13656"/>
                    <a:pt x="3602" y="13620"/>
                  </a:cubicBezTo>
                  <a:cubicBezTo>
                    <a:pt x="3587" y="13585"/>
                    <a:pt x="3615" y="13542"/>
                    <a:pt x="3686" y="13493"/>
                  </a:cubicBezTo>
                  <a:cubicBezTo>
                    <a:pt x="3757" y="13443"/>
                    <a:pt x="3793" y="13405"/>
                    <a:pt x="3793" y="13377"/>
                  </a:cubicBezTo>
                  <a:cubicBezTo>
                    <a:pt x="3793" y="13331"/>
                    <a:pt x="3737" y="13307"/>
                    <a:pt x="3625" y="13307"/>
                  </a:cubicBezTo>
                  <a:cubicBezTo>
                    <a:pt x="3331" y="13332"/>
                    <a:pt x="3184" y="13314"/>
                    <a:pt x="3184" y="13254"/>
                  </a:cubicBezTo>
                  <a:cubicBezTo>
                    <a:pt x="3184" y="13232"/>
                    <a:pt x="3217" y="13198"/>
                    <a:pt x="3283" y="13151"/>
                  </a:cubicBezTo>
                  <a:cubicBezTo>
                    <a:pt x="3349" y="13102"/>
                    <a:pt x="3382" y="13067"/>
                    <a:pt x="3382" y="13048"/>
                  </a:cubicBezTo>
                  <a:cubicBezTo>
                    <a:pt x="3382" y="12999"/>
                    <a:pt x="3260" y="12963"/>
                    <a:pt x="3016" y="12941"/>
                  </a:cubicBezTo>
                  <a:cubicBezTo>
                    <a:pt x="2772" y="12919"/>
                    <a:pt x="2650" y="12882"/>
                    <a:pt x="2650" y="12830"/>
                  </a:cubicBezTo>
                  <a:cubicBezTo>
                    <a:pt x="2650" y="12819"/>
                    <a:pt x="2668" y="12798"/>
                    <a:pt x="2704" y="12768"/>
                  </a:cubicBezTo>
                  <a:cubicBezTo>
                    <a:pt x="2739" y="12738"/>
                    <a:pt x="2757" y="12716"/>
                    <a:pt x="2757" y="12702"/>
                  </a:cubicBezTo>
                  <a:cubicBezTo>
                    <a:pt x="2656" y="12549"/>
                    <a:pt x="2605" y="12430"/>
                    <a:pt x="2605" y="12348"/>
                  </a:cubicBezTo>
                  <a:cubicBezTo>
                    <a:pt x="2605" y="12277"/>
                    <a:pt x="2638" y="12220"/>
                    <a:pt x="2704" y="12179"/>
                  </a:cubicBezTo>
                  <a:cubicBezTo>
                    <a:pt x="2729" y="12160"/>
                    <a:pt x="2815" y="12119"/>
                    <a:pt x="2963" y="12056"/>
                  </a:cubicBezTo>
                  <a:cubicBezTo>
                    <a:pt x="2993" y="12042"/>
                    <a:pt x="3021" y="12015"/>
                    <a:pt x="3047" y="11973"/>
                  </a:cubicBezTo>
                  <a:cubicBezTo>
                    <a:pt x="3077" y="11919"/>
                    <a:pt x="3095" y="11887"/>
                    <a:pt x="3100" y="11879"/>
                  </a:cubicBezTo>
                  <a:cubicBezTo>
                    <a:pt x="3100" y="11876"/>
                    <a:pt x="3135" y="11857"/>
                    <a:pt x="3207" y="11821"/>
                  </a:cubicBezTo>
                  <a:cubicBezTo>
                    <a:pt x="3272" y="11788"/>
                    <a:pt x="3306" y="11763"/>
                    <a:pt x="3306" y="11747"/>
                  </a:cubicBezTo>
                  <a:cubicBezTo>
                    <a:pt x="3306" y="11722"/>
                    <a:pt x="3285" y="11696"/>
                    <a:pt x="3245" y="11669"/>
                  </a:cubicBezTo>
                  <a:cubicBezTo>
                    <a:pt x="3239" y="11666"/>
                    <a:pt x="3234" y="11663"/>
                    <a:pt x="3229" y="11661"/>
                  </a:cubicBezTo>
                  <a:cubicBezTo>
                    <a:pt x="3224" y="11658"/>
                    <a:pt x="3219" y="11655"/>
                    <a:pt x="3214" y="11652"/>
                  </a:cubicBezTo>
                  <a:cubicBezTo>
                    <a:pt x="3179" y="11633"/>
                    <a:pt x="3120" y="11610"/>
                    <a:pt x="3039" y="11582"/>
                  </a:cubicBezTo>
                  <a:cubicBezTo>
                    <a:pt x="2963" y="11555"/>
                    <a:pt x="2912" y="11508"/>
                    <a:pt x="2887" y="11442"/>
                  </a:cubicBezTo>
                  <a:cubicBezTo>
                    <a:pt x="2851" y="11365"/>
                    <a:pt x="2823" y="11308"/>
                    <a:pt x="2803" y="11269"/>
                  </a:cubicBezTo>
                  <a:cubicBezTo>
                    <a:pt x="2767" y="11198"/>
                    <a:pt x="2750" y="11140"/>
                    <a:pt x="2750" y="11096"/>
                  </a:cubicBezTo>
                  <a:cubicBezTo>
                    <a:pt x="2750" y="11022"/>
                    <a:pt x="2722" y="10923"/>
                    <a:pt x="2666" y="10800"/>
                  </a:cubicBezTo>
                  <a:cubicBezTo>
                    <a:pt x="2605" y="10687"/>
                    <a:pt x="2574" y="10626"/>
                    <a:pt x="2574" y="10615"/>
                  </a:cubicBezTo>
                  <a:cubicBezTo>
                    <a:pt x="2574" y="10582"/>
                    <a:pt x="2590" y="10553"/>
                    <a:pt x="2620" y="10528"/>
                  </a:cubicBezTo>
                  <a:cubicBezTo>
                    <a:pt x="2656" y="10501"/>
                    <a:pt x="2701" y="10487"/>
                    <a:pt x="2757" y="10487"/>
                  </a:cubicBezTo>
                  <a:cubicBezTo>
                    <a:pt x="2782" y="10487"/>
                    <a:pt x="2838" y="10493"/>
                    <a:pt x="2925" y="10504"/>
                  </a:cubicBezTo>
                  <a:cubicBezTo>
                    <a:pt x="3001" y="10504"/>
                    <a:pt x="3039" y="10490"/>
                    <a:pt x="3039" y="10462"/>
                  </a:cubicBezTo>
                  <a:cubicBezTo>
                    <a:pt x="3039" y="10427"/>
                    <a:pt x="2948" y="10387"/>
                    <a:pt x="2765" y="10343"/>
                  </a:cubicBezTo>
                  <a:cubicBezTo>
                    <a:pt x="2577" y="10302"/>
                    <a:pt x="2483" y="10245"/>
                    <a:pt x="2483" y="10174"/>
                  </a:cubicBezTo>
                  <a:cubicBezTo>
                    <a:pt x="2483" y="10141"/>
                    <a:pt x="2501" y="10114"/>
                    <a:pt x="2536" y="10092"/>
                  </a:cubicBezTo>
                  <a:cubicBezTo>
                    <a:pt x="2572" y="10073"/>
                    <a:pt x="2590" y="10056"/>
                    <a:pt x="2590" y="10042"/>
                  </a:cubicBezTo>
                  <a:cubicBezTo>
                    <a:pt x="2590" y="10026"/>
                    <a:pt x="2574" y="10003"/>
                    <a:pt x="2544" y="9972"/>
                  </a:cubicBezTo>
                  <a:cubicBezTo>
                    <a:pt x="2513" y="9942"/>
                    <a:pt x="2498" y="9922"/>
                    <a:pt x="2498" y="9911"/>
                  </a:cubicBezTo>
                  <a:cubicBezTo>
                    <a:pt x="2498" y="9883"/>
                    <a:pt x="2574" y="9835"/>
                    <a:pt x="2727" y="9767"/>
                  </a:cubicBezTo>
                  <a:cubicBezTo>
                    <a:pt x="2874" y="9701"/>
                    <a:pt x="2970" y="9668"/>
                    <a:pt x="3016" y="9668"/>
                  </a:cubicBezTo>
                  <a:cubicBezTo>
                    <a:pt x="3036" y="9668"/>
                    <a:pt x="3067" y="9683"/>
                    <a:pt x="3107" y="9713"/>
                  </a:cubicBezTo>
                  <a:cubicBezTo>
                    <a:pt x="3148" y="9743"/>
                    <a:pt x="3181" y="9758"/>
                    <a:pt x="3207" y="9758"/>
                  </a:cubicBezTo>
                  <a:cubicBezTo>
                    <a:pt x="3237" y="9758"/>
                    <a:pt x="3265" y="9721"/>
                    <a:pt x="3290" y="9647"/>
                  </a:cubicBezTo>
                  <a:cubicBezTo>
                    <a:pt x="3316" y="9565"/>
                    <a:pt x="3344" y="9515"/>
                    <a:pt x="3374" y="9499"/>
                  </a:cubicBezTo>
                  <a:cubicBezTo>
                    <a:pt x="3389" y="9488"/>
                    <a:pt x="3458" y="9456"/>
                    <a:pt x="3580" y="9404"/>
                  </a:cubicBezTo>
                  <a:cubicBezTo>
                    <a:pt x="3681" y="9360"/>
                    <a:pt x="3732" y="9329"/>
                    <a:pt x="3732" y="9309"/>
                  </a:cubicBezTo>
                  <a:cubicBezTo>
                    <a:pt x="3732" y="9299"/>
                    <a:pt x="3729" y="9287"/>
                    <a:pt x="3724" y="9277"/>
                  </a:cubicBezTo>
                  <a:cubicBezTo>
                    <a:pt x="3735" y="9252"/>
                    <a:pt x="3803" y="9222"/>
                    <a:pt x="3930" y="9186"/>
                  </a:cubicBezTo>
                  <a:cubicBezTo>
                    <a:pt x="4057" y="9148"/>
                    <a:pt x="4126" y="9113"/>
                    <a:pt x="4136" y="9083"/>
                  </a:cubicBezTo>
                  <a:cubicBezTo>
                    <a:pt x="4166" y="8995"/>
                    <a:pt x="4222" y="8900"/>
                    <a:pt x="4303" y="8799"/>
                  </a:cubicBezTo>
                  <a:cubicBezTo>
                    <a:pt x="4324" y="8771"/>
                    <a:pt x="4443" y="8652"/>
                    <a:pt x="4661" y="8441"/>
                  </a:cubicBezTo>
                  <a:cubicBezTo>
                    <a:pt x="4854" y="8249"/>
                    <a:pt x="4951" y="8144"/>
                    <a:pt x="4951" y="8128"/>
                  </a:cubicBezTo>
                  <a:cubicBezTo>
                    <a:pt x="4951" y="8084"/>
                    <a:pt x="4885" y="8026"/>
                    <a:pt x="4753" y="7955"/>
                  </a:cubicBezTo>
                  <a:cubicBezTo>
                    <a:pt x="4600" y="7870"/>
                    <a:pt x="4511" y="7815"/>
                    <a:pt x="4486" y="7790"/>
                  </a:cubicBezTo>
                  <a:cubicBezTo>
                    <a:pt x="4415" y="7713"/>
                    <a:pt x="4357" y="7628"/>
                    <a:pt x="4311" y="7535"/>
                  </a:cubicBezTo>
                  <a:cubicBezTo>
                    <a:pt x="4240" y="7403"/>
                    <a:pt x="4202" y="7332"/>
                    <a:pt x="4197" y="7321"/>
                  </a:cubicBezTo>
                  <a:cubicBezTo>
                    <a:pt x="4156" y="7258"/>
                    <a:pt x="4059" y="7201"/>
                    <a:pt x="3907" y="7152"/>
                  </a:cubicBezTo>
                  <a:cubicBezTo>
                    <a:pt x="3674" y="7081"/>
                    <a:pt x="3549" y="7041"/>
                    <a:pt x="3534" y="7033"/>
                  </a:cubicBezTo>
                  <a:cubicBezTo>
                    <a:pt x="3427" y="6980"/>
                    <a:pt x="3366" y="6912"/>
                    <a:pt x="3351" y="6827"/>
                  </a:cubicBezTo>
                  <a:cubicBezTo>
                    <a:pt x="3351" y="6747"/>
                    <a:pt x="3346" y="6687"/>
                    <a:pt x="3336" y="6645"/>
                  </a:cubicBezTo>
                  <a:cubicBezTo>
                    <a:pt x="3300" y="6645"/>
                    <a:pt x="3283" y="6639"/>
                    <a:pt x="3283" y="6625"/>
                  </a:cubicBezTo>
                  <a:cubicBezTo>
                    <a:pt x="3283" y="6562"/>
                    <a:pt x="3313" y="6500"/>
                    <a:pt x="3374" y="6440"/>
                  </a:cubicBezTo>
                  <a:cubicBezTo>
                    <a:pt x="3430" y="6382"/>
                    <a:pt x="3458" y="6337"/>
                    <a:pt x="3458" y="6304"/>
                  </a:cubicBezTo>
                  <a:cubicBezTo>
                    <a:pt x="3458" y="6290"/>
                    <a:pt x="3445" y="6254"/>
                    <a:pt x="3420" y="6197"/>
                  </a:cubicBezTo>
                  <a:cubicBezTo>
                    <a:pt x="3389" y="6142"/>
                    <a:pt x="3374" y="6094"/>
                    <a:pt x="3374" y="6053"/>
                  </a:cubicBezTo>
                  <a:cubicBezTo>
                    <a:pt x="3374" y="5973"/>
                    <a:pt x="3412" y="5915"/>
                    <a:pt x="3488" y="5880"/>
                  </a:cubicBezTo>
                  <a:cubicBezTo>
                    <a:pt x="3559" y="5844"/>
                    <a:pt x="3595" y="5810"/>
                    <a:pt x="3595" y="5777"/>
                  </a:cubicBezTo>
                  <a:lnTo>
                    <a:pt x="3534" y="5686"/>
                  </a:lnTo>
                  <a:cubicBezTo>
                    <a:pt x="3575" y="5607"/>
                    <a:pt x="3595" y="5543"/>
                    <a:pt x="3595" y="5497"/>
                  </a:cubicBezTo>
                  <a:lnTo>
                    <a:pt x="3564" y="5349"/>
                  </a:lnTo>
                  <a:cubicBezTo>
                    <a:pt x="3595" y="5277"/>
                    <a:pt x="3610" y="5199"/>
                    <a:pt x="3610" y="5114"/>
                  </a:cubicBezTo>
                  <a:lnTo>
                    <a:pt x="3580" y="4912"/>
                  </a:lnTo>
                  <a:lnTo>
                    <a:pt x="3610" y="4537"/>
                  </a:lnTo>
                  <a:lnTo>
                    <a:pt x="3580" y="4327"/>
                  </a:lnTo>
                  <a:lnTo>
                    <a:pt x="3671" y="3566"/>
                  </a:lnTo>
                  <a:cubicBezTo>
                    <a:pt x="3671" y="3541"/>
                    <a:pt x="3656" y="3464"/>
                    <a:pt x="3625" y="3335"/>
                  </a:cubicBezTo>
                  <a:cubicBezTo>
                    <a:pt x="3595" y="3203"/>
                    <a:pt x="3580" y="3114"/>
                    <a:pt x="3580" y="3067"/>
                  </a:cubicBezTo>
                  <a:cubicBezTo>
                    <a:pt x="3529" y="2818"/>
                    <a:pt x="3503" y="2675"/>
                    <a:pt x="3503" y="2639"/>
                  </a:cubicBezTo>
                  <a:cubicBezTo>
                    <a:pt x="3503" y="2557"/>
                    <a:pt x="3506" y="2501"/>
                    <a:pt x="3511" y="2470"/>
                  </a:cubicBezTo>
                  <a:cubicBezTo>
                    <a:pt x="3511" y="2459"/>
                    <a:pt x="3511" y="2453"/>
                    <a:pt x="3511" y="2450"/>
                  </a:cubicBezTo>
                  <a:cubicBezTo>
                    <a:pt x="3608" y="2222"/>
                    <a:pt x="3630" y="2086"/>
                    <a:pt x="3580" y="2042"/>
                  </a:cubicBezTo>
                  <a:cubicBezTo>
                    <a:pt x="3549" y="2012"/>
                    <a:pt x="3534" y="1983"/>
                    <a:pt x="3534" y="1956"/>
                  </a:cubicBezTo>
                  <a:lnTo>
                    <a:pt x="3580" y="1878"/>
                  </a:lnTo>
                  <a:cubicBezTo>
                    <a:pt x="3580" y="1757"/>
                    <a:pt x="3564" y="1679"/>
                    <a:pt x="3534" y="1643"/>
                  </a:cubicBezTo>
                  <a:cubicBezTo>
                    <a:pt x="3483" y="1582"/>
                    <a:pt x="3361" y="1552"/>
                    <a:pt x="3168" y="1552"/>
                  </a:cubicBezTo>
                  <a:lnTo>
                    <a:pt x="2772" y="1585"/>
                  </a:lnTo>
                  <a:cubicBezTo>
                    <a:pt x="2727" y="1585"/>
                    <a:pt x="2648" y="1569"/>
                    <a:pt x="2536" y="1536"/>
                  </a:cubicBezTo>
                  <a:cubicBezTo>
                    <a:pt x="2419" y="1503"/>
                    <a:pt x="2356" y="1486"/>
                    <a:pt x="2346" y="1486"/>
                  </a:cubicBezTo>
                  <a:cubicBezTo>
                    <a:pt x="2229" y="1486"/>
                    <a:pt x="2128" y="1519"/>
                    <a:pt x="2041" y="1585"/>
                  </a:cubicBezTo>
                  <a:cubicBezTo>
                    <a:pt x="1930" y="1670"/>
                    <a:pt x="1861" y="1717"/>
                    <a:pt x="1836" y="1725"/>
                  </a:cubicBezTo>
                  <a:cubicBezTo>
                    <a:pt x="1658" y="1805"/>
                    <a:pt x="1513" y="1853"/>
                    <a:pt x="1401" y="1869"/>
                  </a:cubicBezTo>
                  <a:cubicBezTo>
                    <a:pt x="1229" y="1894"/>
                    <a:pt x="1021" y="1908"/>
                    <a:pt x="777" y="1910"/>
                  </a:cubicBezTo>
                  <a:cubicBezTo>
                    <a:pt x="498" y="1910"/>
                    <a:pt x="289" y="1910"/>
                    <a:pt x="152" y="1910"/>
                  </a:cubicBezTo>
                  <a:lnTo>
                    <a:pt x="46" y="1910"/>
                  </a:lnTo>
                  <a:cubicBezTo>
                    <a:pt x="15" y="1905"/>
                    <a:pt x="0" y="1887"/>
                    <a:pt x="0" y="1857"/>
                  </a:cubicBezTo>
                  <a:cubicBezTo>
                    <a:pt x="0" y="1764"/>
                    <a:pt x="38" y="1680"/>
                    <a:pt x="114" y="1606"/>
                  </a:cubicBezTo>
                  <a:cubicBezTo>
                    <a:pt x="190" y="1532"/>
                    <a:pt x="228" y="1469"/>
                    <a:pt x="228" y="1416"/>
                  </a:cubicBezTo>
                  <a:cubicBezTo>
                    <a:pt x="228" y="1392"/>
                    <a:pt x="206" y="1360"/>
                    <a:pt x="160" y="1322"/>
                  </a:cubicBezTo>
                  <a:cubicBezTo>
                    <a:pt x="114" y="1283"/>
                    <a:pt x="91" y="1250"/>
                    <a:pt x="91" y="1223"/>
                  </a:cubicBezTo>
                  <a:cubicBezTo>
                    <a:pt x="91" y="1173"/>
                    <a:pt x="183" y="1141"/>
                    <a:pt x="366" y="1124"/>
                  </a:cubicBezTo>
                  <a:cubicBezTo>
                    <a:pt x="543" y="1110"/>
                    <a:pt x="632" y="1094"/>
                    <a:pt x="632" y="1075"/>
                  </a:cubicBezTo>
                  <a:cubicBezTo>
                    <a:pt x="566" y="918"/>
                    <a:pt x="500" y="840"/>
                    <a:pt x="434" y="840"/>
                  </a:cubicBezTo>
                  <a:cubicBezTo>
                    <a:pt x="409" y="840"/>
                    <a:pt x="376" y="856"/>
                    <a:pt x="335" y="889"/>
                  </a:cubicBezTo>
                  <a:cubicBezTo>
                    <a:pt x="300" y="920"/>
                    <a:pt x="251" y="935"/>
                    <a:pt x="190" y="935"/>
                  </a:cubicBezTo>
                  <a:cubicBezTo>
                    <a:pt x="104" y="935"/>
                    <a:pt x="51" y="892"/>
                    <a:pt x="30" y="807"/>
                  </a:cubicBezTo>
                  <a:cubicBezTo>
                    <a:pt x="20" y="771"/>
                    <a:pt x="15" y="700"/>
                    <a:pt x="15" y="593"/>
                  </a:cubicBezTo>
                  <a:lnTo>
                    <a:pt x="0" y="165"/>
                  </a:lnTo>
                  <a:cubicBezTo>
                    <a:pt x="0" y="104"/>
                    <a:pt x="15" y="49"/>
                    <a:pt x="46" y="0"/>
                  </a:cubicBezTo>
                  <a:lnTo>
                    <a:pt x="12148" y="3590"/>
                  </a:lnTo>
                  <a:lnTo>
                    <a:pt x="16672" y="4887"/>
                  </a:lnTo>
                  <a:lnTo>
                    <a:pt x="21257" y="5801"/>
                  </a:lnTo>
                  <a:lnTo>
                    <a:pt x="15994" y="13855"/>
                  </a:lnTo>
                  <a:cubicBezTo>
                    <a:pt x="15984" y="13880"/>
                    <a:pt x="15997" y="13902"/>
                    <a:pt x="16032" y="13921"/>
                  </a:cubicBezTo>
                  <a:cubicBezTo>
                    <a:pt x="16088" y="13948"/>
                    <a:pt x="16116" y="13968"/>
                    <a:pt x="16116" y="13979"/>
                  </a:cubicBezTo>
                  <a:cubicBezTo>
                    <a:pt x="16116" y="13987"/>
                    <a:pt x="16098" y="14007"/>
                    <a:pt x="16063" y="14040"/>
                  </a:cubicBezTo>
                  <a:cubicBezTo>
                    <a:pt x="16063" y="14049"/>
                    <a:pt x="16086" y="14061"/>
                    <a:pt x="16131" y="14077"/>
                  </a:cubicBezTo>
                  <a:cubicBezTo>
                    <a:pt x="16172" y="14094"/>
                    <a:pt x="16192" y="14109"/>
                    <a:pt x="16192" y="14123"/>
                  </a:cubicBezTo>
                  <a:cubicBezTo>
                    <a:pt x="16192" y="14153"/>
                    <a:pt x="16131" y="14167"/>
                    <a:pt x="16010" y="14164"/>
                  </a:cubicBezTo>
                  <a:cubicBezTo>
                    <a:pt x="15883" y="14161"/>
                    <a:pt x="15819" y="14178"/>
                    <a:pt x="15819" y="14213"/>
                  </a:cubicBezTo>
                  <a:cubicBezTo>
                    <a:pt x="15819" y="14252"/>
                    <a:pt x="15857" y="14283"/>
                    <a:pt x="15933" y="14308"/>
                  </a:cubicBezTo>
                  <a:cubicBezTo>
                    <a:pt x="16010" y="14335"/>
                    <a:pt x="16053" y="14366"/>
                    <a:pt x="16063" y="14399"/>
                  </a:cubicBezTo>
                  <a:cubicBezTo>
                    <a:pt x="16073" y="14437"/>
                    <a:pt x="16114" y="14477"/>
                    <a:pt x="16185" y="14518"/>
                  </a:cubicBezTo>
                  <a:cubicBezTo>
                    <a:pt x="16256" y="14556"/>
                    <a:pt x="16319" y="14578"/>
                    <a:pt x="16375" y="14584"/>
                  </a:cubicBezTo>
                  <a:cubicBezTo>
                    <a:pt x="16467" y="14592"/>
                    <a:pt x="16525" y="14661"/>
                    <a:pt x="16550" y="14790"/>
                  </a:cubicBezTo>
                  <a:cubicBezTo>
                    <a:pt x="16576" y="14913"/>
                    <a:pt x="16639" y="14975"/>
                    <a:pt x="16741" y="14975"/>
                  </a:cubicBezTo>
                  <a:cubicBezTo>
                    <a:pt x="16786" y="14975"/>
                    <a:pt x="16830" y="14961"/>
                    <a:pt x="16870" y="14934"/>
                  </a:cubicBezTo>
                  <a:cubicBezTo>
                    <a:pt x="16911" y="14904"/>
                    <a:pt x="16941" y="14889"/>
                    <a:pt x="16962" y="14889"/>
                  </a:cubicBezTo>
                  <a:cubicBezTo>
                    <a:pt x="17028" y="14889"/>
                    <a:pt x="17124" y="14954"/>
                    <a:pt x="17251" y="15086"/>
                  </a:cubicBezTo>
                  <a:cubicBezTo>
                    <a:pt x="17251" y="15105"/>
                    <a:pt x="17238" y="15120"/>
                    <a:pt x="17213" y="15131"/>
                  </a:cubicBezTo>
                  <a:cubicBezTo>
                    <a:pt x="17188" y="15140"/>
                    <a:pt x="17175" y="15155"/>
                    <a:pt x="17175" y="15177"/>
                  </a:cubicBezTo>
                  <a:cubicBezTo>
                    <a:pt x="17175" y="15188"/>
                    <a:pt x="17190" y="15206"/>
                    <a:pt x="17221" y="15230"/>
                  </a:cubicBezTo>
                  <a:cubicBezTo>
                    <a:pt x="17246" y="15255"/>
                    <a:pt x="17259" y="15276"/>
                    <a:pt x="17259" y="15292"/>
                  </a:cubicBezTo>
                  <a:cubicBezTo>
                    <a:pt x="17259" y="15303"/>
                    <a:pt x="17241" y="15332"/>
                    <a:pt x="17205" y="15379"/>
                  </a:cubicBezTo>
                  <a:cubicBezTo>
                    <a:pt x="17205" y="15409"/>
                    <a:pt x="17251" y="15439"/>
                    <a:pt x="17342" y="15469"/>
                  </a:cubicBezTo>
                  <a:cubicBezTo>
                    <a:pt x="17429" y="15499"/>
                    <a:pt x="17472" y="15551"/>
                    <a:pt x="17472" y="15626"/>
                  </a:cubicBezTo>
                  <a:lnTo>
                    <a:pt x="17457" y="15790"/>
                  </a:lnTo>
                  <a:cubicBezTo>
                    <a:pt x="17452" y="15820"/>
                    <a:pt x="17434" y="15840"/>
                    <a:pt x="17403" y="15848"/>
                  </a:cubicBezTo>
                  <a:cubicBezTo>
                    <a:pt x="17378" y="15853"/>
                    <a:pt x="17365" y="15869"/>
                    <a:pt x="17365" y="15893"/>
                  </a:cubicBezTo>
                  <a:cubicBezTo>
                    <a:pt x="17365" y="15904"/>
                    <a:pt x="17378" y="15921"/>
                    <a:pt x="17403" y="15943"/>
                  </a:cubicBezTo>
                  <a:cubicBezTo>
                    <a:pt x="17429" y="15965"/>
                    <a:pt x="17441" y="15981"/>
                    <a:pt x="17441" y="15992"/>
                  </a:cubicBezTo>
                  <a:cubicBezTo>
                    <a:pt x="17441" y="16000"/>
                    <a:pt x="17424" y="16013"/>
                    <a:pt x="17388" y="16029"/>
                  </a:cubicBezTo>
                  <a:cubicBezTo>
                    <a:pt x="17353" y="16043"/>
                    <a:pt x="17335" y="16059"/>
                    <a:pt x="17335" y="16078"/>
                  </a:cubicBezTo>
                  <a:cubicBezTo>
                    <a:pt x="17335" y="16103"/>
                    <a:pt x="17355" y="16127"/>
                    <a:pt x="17396" y="16149"/>
                  </a:cubicBezTo>
                  <a:cubicBezTo>
                    <a:pt x="17431" y="16168"/>
                    <a:pt x="17469" y="16177"/>
                    <a:pt x="17510" y="16177"/>
                  </a:cubicBezTo>
                  <a:cubicBezTo>
                    <a:pt x="17535" y="16177"/>
                    <a:pt x="17568" y="16169"/>
                    <a:pt x="17609" y="16153"/>
                  </a:cubicBezTo>
                  <a:cubicBezTo>
                    <a:pt x="17650" y="16133"/>
                    <a:pt x="17678" y="16124"/>
                    <a:pt x="17693" y="16124"/>
                  </a:cubicBezTo>
                  <a:cubicBezTo>
                    <a:pt x="17738" y="16124"/>
                    <a:pt x="17815" y="16150"/>
                    <a:pt x="17921" y="16202"/>
                  </a:cubicBezTo>
                  <a:cubicBezTo>
                    <a:pt x="18023" y="16251"/>
                    <a:pt x="18074" y="16284"/>
                    <a:pt x="18074" y="16301"/>
                  </a:cubicBezTo>
                  <a:cubicBezTo>
                    <a:pt x="18074" y="16312"/>
                    <a:pt x="18043" y="16321"/>
                    <a:pt x="17982" y="16330"/>
                  </a:cubicBezTo>
                  <a:cubicBezTo>
                    <a:pt x="17921" y="16341"/>
                    <a:pt x="17891" y="16361"/>
                    <a:pt x="17891" y="16391"/>
                  </a:cubicBezTo>
                  <a:cubicBezTo>
                    <a:pt x="17891" y="16433"/>
                    <a:pt x="18018" y="16527"/>
                    <a:pt x="18272" y="16676"/>
                  </a:cubicBezTo>
                  <a:cubicBezTo>
                    <a:pt x="18388" y="16739"/>
                    <a:pt x="18500" y="16772"/>
                    <a:pt x="18607" y="16774"/>
                  </a:cubicBezTo>
                  <a:cubicBezTo>
                    <a:pt x="18663" y="16774"/>
                    <a:pt x="18690" y="16802"/>
                    <a:pt x="18690" y="16857"/>
                  </a:cubicBezTo>
                  <a:lnTo>
                    <a:pt x="18660" y="16951"/>
                  </a:lnTo>
                  <a:cubicBezTo>
                    <a:pt x="18660" y="16984"/>
                    <a:pt x="18696" y="17016"/>
                    <a:pt x="18767" y="17046"/>
                  </a:cubicBezTo>
                  <a:cubicBezTo>
                    <a:pt x="18838" y="17079"/>
                    <a:pt x="18873" y="17115"/>
                    <a:pt x="18873" y="17153"/>
                  </a:cubicBezTo>
                  <a:cubicBezTo>
                    <a:pt x="18873" y="17161"/>
                    <a:pt x="18866" y="17176"/>
                    <a:pt x="18850" y="17198"/>
                  </a:cubicBezTo>
                  <a:cubicBezTo>
                    <a:pt x="18835" y="17220"/>
                    <a:pt x="18828" y="17242"/>
                    <a:pt x="18828" y="17264"/>
                  </a:cubicBezTo>
                  <a:cubicBezTo>
                    <a:pt x="18828" y="17322"/>
                    <a:pt x="18871" y="17351"/>
                    <a:pt x="18957" y="17351"/>
                  </a:cubicBezTo>
                  <a:cubicBezTo>
                    <a:pt x="19008" y="17351"/>
                    <a:pt x="19069" y="17343"/>
                    <a:pt x="19140" y="17326"/>
                  </a:cubicBezTo>
                  <a:cubicBezTo>
                    <a:pt x="19196" y="17326"/>
                    <a:pt x="19229" y="17349"/>
                    <a:pt x="19239" y="17396"/>
                  </a:cubicBezTo>
                  <a:cubicBezTo>
                    <a:pt x="19264" y="17476"/>
                    <a:pt x="19282" y="17522"/>
                    <a:pt x="19292" y="17536"/>
                  </a:cubicBezTo>
                  <a:cubicBezTo>
                    <a:pt x="19328" y="17585"/>
                    <a:pt x="19373" y="17623"/>
                    <a:pt x="19429" y="17647"/>
                  </a:cubicBezTo>
                  <a:cubicBezTo>
                    <a:pt x="19470" y="17664"/>
                    <a:pt x="19490" y="17691"/>
                    <a:pt x="19490" y="17730"/>
                  </a:cubicBezTo>
                  <a:lnTo>
                    <a:pt x="19460" y="17911"/>
                  </a:lnTo>
                  <a:cubicBezTo>
                    <a:pt x="19460" y="17955"/>
                    <a:pt x="19472" y="17988"/>
                    <a:pt x="19498" y="18010"/>
                  </a:cubicBezTo>
                  <a:cubicBezTo>
                    <a:pt x="19523" y="18026"/>
                    <a:pt x="19587" y="18064"/>
                    <a:pt x="19688" y="18125"/>
                  </a:cubicBezTo>
                  <a:cubicBezTo>
                    <a:pt x="19698" y="18130"/>
                    <a:pt x="19711" y="18137"/>
                    <a:pt x="19726" y="18145"/>
                  </a:cubicBezTo>
                  <a:cubicBezTo>
                    <a:pt x="19742" y="18156"/>
                    <a:pt x="19759" y="18173"/>
                    <a:pt x="19780" y="18195"/>
                  </a:cubicBezTo>
                  <a:cubicBezTo>
                    <a:pt x="19800" y="18225"/>
                    <a:pt x="19810" y="18251"/>
                    <a:pt x="19810" y="18273"/>
                  </a:cubicBezTo>
                  <a:cubicBezTo>
                    <a:pt x="19810" y="18314"/>
                    <a:pt x="19866" y="18353"/>
                    <a:pt x="19978" y="18388"/>
                  </a:cubicBezTo>
                  <a:cubicBezTo>
                    <a:pt x="19998" y="18397"/>
                    <a:pt x="20056" y="18438"/>
                    <a:pt x="20153" y="18512"/>
                  </a:cubicBezTo>
                  <a:cubicBezTo>
                    <a:pt x="20254" y="18594"/>
                    <a:pt x="20305" y="18646"/>
                    <a:pt x="20305" y="18668"/>
                  </a:cubicBezTo>
                  <a:cubicBezTo>
                    <a:pt x="20305" y="18690"/>
                    <a:pt x="20280" y="18714"/>
                    <a:pt x="20229" y="18738"/>
                  </a:cubicBezTo>
                  <a:cubicBezTo>
                    <a:pt x="20178" y="18763"/>
                    <a:pt x="20153" y="18784"/>
                    <a:pt x="20153" y="18800"/>
                  </a:cubicBezTo>
                  <a:cubicBezTo>
                    <a:pt x="20153" y="18830"/>
                    <a:pt x="20204" y="18870"/>
                    <a:pt x="20305" y="18920"/>
                  </a:cubicBezTo>
                  <a:cubicBezTo>
                    <a:pt x="20407" y="18969"/>
                    <a:pt x="20463" y="19006"/>
                    <a:pt x="20473" y="19031"/>
                  </a:cubicBezTo>
                  <a:cubicBezTo>
                    <a:pt x="20488" y="19066"/>
                    <a:pt x="20498" y="19112"/>
                    <a:pt x="20503" y="19167"/>
                  </a:cubicBezTo>
                  <a:cubicBezTo>
                    <a:pt x="20523" y="19211"/>
                    <a:pt x="20574" y="19241"/>
                    <a:pt x="20656" y="19257"/>
                  </a:cubicBezTo>
                  <a:cubicBezTo>
                    <a:pt x="20706" y="19268"/>
                    <a:pt x="20793" y="19283"/>
                    <a:pt x="20915" y="19302"/>
                  </a:cubicBezTo>
                  <a:cubicBezTo>
                    <a:pt x="21011" y="19324"/>
                    <a:pt x="21054" y="19363"/>
                    <a:pt x="21044" y="19418"/>
                  </a:cubicBezTo>
                  <a:cubicBezTo>
                    <a:pt x="21029" y="19489"/>
                    <a:pt x="21054" y="19545"/>
                    <a:pt x="21120" y="19587"/>
                  </a:cubicBezTo>
                  <a:cubicBezTo>
                    <a:pt x="21191" y="19630"/>
                    <a:pt x="21227" y="19662"/>
                    <a:pt x="21227" y="19681"/>
                  </a:cubicBezTo>
                  <a:cubicBezTo>
                    <a:pt x="21227" y="19692"/>
                    <a:pt x="21204" y="19740"/>
                    <a:pt x="21158" y="19825"/>
                  </a:cubicBezTo>
                  <a:cubicBezTo>
                    <a:pt x="21113" y="19932"/>
                    <a:pt x="21090" y="20034"/>
                    <a:pt x="21090" y="20130"/>
                  </a:cubicBezTo>
                  <a:cubicBezTo>
                    <a:pt x="21090" y="20157"/>
                    <a:pt x="21072" y="20179"/>
                    <a:pt x="21036" y="20196"/>
                  </a:cubicBezTo>
                  <a:cubicBezTo>
                    <a:pt x="21001" y="20210"/>
                    <a:pt x="20983" y="20236"/>
                    <a:pt x="20983" y="20274"/>
                  </a:cubicBezTo>
                  <a:cubicBezTo>
                    <a:pt x="20983" y="20296"/>
                    <a:pt x="20998" y="20337"/>
                    <a:pt x="21029" y="20398"/>
                  </a:cubicBezTo>
                  <a:lnTo>
                    <a:pt x="20846" y="20513"/>
                  </a:lnTo>
                  <a:cubicBezTo>
                    <a:pt x="20724" y="20595"/>
                    <a:pt x="20663" y="20650"/>
                    <a:pt x="20663" y="20678"/>
                  </a:cubicBezTo>
                  <a:cubicBezTo>
                    <a:pt x="20663" y="20694"/>
                    <a:pt x="20694" y="20711"/>
                    <a:pt x="20755" y="20727"/>
                  </a:cubicBezTo>
                  <a:cubicBezTo>
                    <a:pt x="20810" y="20744"/>
                    <a:pt x="20861" y="20752"/>
                    <a:pt x="20907" y="20752"/>
                  </a:cubicBezTo>
                  <a:lnTo>
                    <a:pt x="20922" y="20809"/>
                  </a:lnTo>
                  <a:lnTo>
                    <a:pt x="20892" y="20986"/>
                  </a:lnTo>
                  <a:cubicBezTo>
                    <a:pt x="20892" y="21017"/>
                    <a:pt x="20925" y="21054"/>
                    <a:pt x="20991" y="21098"/>
                  </a:cubicBezTo>
                  <a:cubicBezTo>
                    <a:pt x="21026" y="21122"/>
                    <a:pt x="21069" y="21148"/>
                    <a:pt x="21120" y="21176"/>
                  </a:cubicBezTo>
                  <a:cubicBezTo>
                    <a:pt x="21161" y="21201"/>
                    <a:pt x="21214" y="21249"/>
                    <a:pt x="21280" y="21320"/>
                  </a:cubicBezTo>
                  <a:cubicBezTo>
                    <a:pt x="21407" y="21378"/>
                    <a:pt x="21493" y="21433"/>
                    <a:pt x="21539" y="21485"/>
                  </a:cubicBezTo>
                  <a:cubicBezTo>
                    <a:pt x="21570" y="21515"/>
                    <a:pt x="21590" y="21553"/>
                    <a:pt x="21600" y="21600"/>
                  </a:cubicBezTo>
                  <a:cubicBezTo>
                    <a:pt x="21021" y="21520"/>
                    <a:pt x="20402" y="21435"/>
                    <a:pt x="19742" y="21345"/>
                  </a:cubicBezTo>
                  <a:cubicBezTo>
                    <a:pt x="19742" y="21345"/>
                    <a:pt x="18058" y="21106"/>
                    <a:pt x="18058" y="21106"/>
                  </a:cubicBezTo>
                  <a:close/>
                  <a:moveTo>
                    <a:pt x="18058" y="2110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2" name="AutoShape 179"/>
            <p:cNvSpPr>
              <a:spLocks/>
            </p:cNvSpPr>
            <p:nvPr/>
          </p:nvSpPr>
          <p:spPr bwMode="auto">
            <a:xfrm>
              <a:off x="5555297" y="3297893"/>
              <a:ext cx="15315" cy="27057"/>
            </a:xfrm>
            <a:custGeom>
              <a:avLst/>
              <a:gdLst/>
              <a:ahLst/>
              <a:cxnLst/>
              <a:rect l="0" t="0" r="r" b="b"/>
              <a:pathLst>
                <a:path w="21600" h="21600">
                  <a:moveTo>
                    <a:pt x="1987" y="1920"/>
                  </a:moveTo>
                  <a:cubicBezTo>
                    <a:pt x="3506" y="641"/>
                    <a:pt x="5493" y="0"/>
                    <a:pt x="7958" y="0"/>
                  </a:cubicBezTo>
                  <a:cubicBezTo>
                    <a:pt x="12127" y="0"/>
                    <a:pt x="14589" y="1066"/>
                    <a:pt x="15346" y="3199"/>
                  </a:cubicBezTo>
                  <a:cubicBezTo>
                    <a:pt x="15727" y="4479"/>
                    <a:pt x="15727" y="6347"/>
                    <a:pt x="15346" y="8799"/>
                  </a:cubicBezTo>
                  <a:cubicBezTo>
                    <a:pt x="15535" y="10400"/>
                    <a:pt x="16579" y="12160"/>
                    <a:pt x="18475" y="14080"/>
                  </a:cubicBezTo>
                  <a:cubicBezTo>
                    <a:pt x="20559" y="15894"/>
                    <a:pt x="21600" y="17387"/>
                    <a:pt x="21600" y="18560"/>
                  </a:cubicBezTo>
                  <a:cubicBezTo>
                    <a:pt x="21600" y="20588"/>
                    <a:pt x="20273" y="21600"/>
                    <a:pt x="17620" y="21600"/>
                  </a:cubicBezTo>
                  <a:cubicBezTo>
                    <a:pt x="14211" y="21600"/>
                    <a:pt x="12315" y="20695"/>
                    <a:pt x="11935" y="18881"/>
                  </a:cubicBezTo>
                  <a:cubicBezTo>
                    <a:pt x="11177" y="16107"/>
                    <a:pt x="10514" y="14507"/>
                    <a:pt x="9948" y="14080"/>
                  </a:cubicBezTo>
                  <a:cubicBezTo>
                    <a:pt x="3314" y="9067"/>
                    <a:pt x="0" y="6133"/>
                    <a:pt x="0" y="5279"/>
                  </a:cubicBezTo>
                  <a:cubicBezTo>
                    <a:pt x="0" y="4106"/>
                    <a:pt x="663" y="2987"/>
                    <a:pt x="1987" y="1920"/>
                  </a:cubicBezTo>
                  <a:close/>
                  <a:moveTo>
                    <a:pt x="1987" y="192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3" name="AutoShape 180"/>
            <p:cNvSpPr>
              <a:spLocks/>
            </p:cNvSpPr>
            <p:nvPr/>
          </p:nvSpPr>
          <p:spPr bwMode="auto">
            <a:xfrm>
              <a:off x="5547129" y="3326481"/>
              <a:ext cx="17357" cy="42372"/>
            </a:xfrm>
            <a:custGeom>
              <a:avLst/>
              <a:gdLst/>
              <a:ahLst/>
              <a:cxnLst/>
              <a:rect l="0" t="0" r="r" b="b"/>
              <a:pathLst>
                <a:path w="21600" h="21600">
                  <a:moveTo>
                    <a:pt x="0" y="0"/>
                  </a:moveTo>
                  <a:cubicBezTo>
                    <a:pt x="3015" y="1245"/>
                    <a:pt x="7032" y="3219"/>
                    <a:pt x="12056" y="5919"/>
                  </a:cubicBezTo>
                  <a:cubicBezTo>
                    <a:pt x="18419" y="9312"/>
                    <a:pt x="21600" y="11492"/>
                    <a:pt x="21600" y="12461"/>
                  </a:cubicBezTo>
                  <a:cubicBezTo>
                    <a:pt x="21600" y="13915"/>
                    <a:pt x="20511" y="16961"/>
                    <a:pt x="18335" y="21600"/>
                  </a:cubicBezTo>
                  <a:cubicBezTo>
                    <a:pt x="17163" y="21461"/>
                    <a:pt x="16243" y="21080"/>
                    <a:pt x="15573" y="20457"/>
                  </a:cubicBezTo>
                  <a:cubicBezTo>
                    <a:pt x="15573" y="20388"/>
                    <a:pt x="15573" y="20319"/>
                    <a:pt x="15573" y="20250"/>
                  </a:cubicBezTo>
                  <a:cubicBezTo>
                    <a:pt x="12392" y="19349"/>
                    <a:pt x="10550" y="17758"/>
                    <a:pt x="10047" y="15472"/>
                  </a:cubicBezTo>
                  <a:cubicBezTo>
                    <a:pt x="9711" y="12634"/>
                    <a:pt x="9208" y="10973"/>
                    <a:pt x="8538" y="10488"/>
                  </a:cubicBezTo>
                  <a:cubicBezTo>
                    <a:pt x="3851" y="7027"/>
                    <a:pt x="1003" y="4257"/>
                    <a:pt x="0" y="2181"/>
                  </a:cubicBezTo>
                  <a:cubicBezTo>
                    <a:pt x="0" y="2181"/>
                    <a:pt x="0" y="0"/>
                    <a:pt x="0" y="0"/>
                  </a:cubicBezTo>
                  <a:close/>
                  <a:moveTo>
                    <a:pt x="0"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4" name="AutoShape 181"/>
            <p:cNvSpPr>
              <a:spLocks/>
            </p:cNvSpPr>
            <p:nvPr/>
          </p:nvSpPr>
          <p:spPr bwMode="auto">
            <a:xfrm>
              <a:off x="5567549" y="3330565"/>
              <a:ext cx="10721" cy="32162"/>
            </a:xfrm>
            <a:custGeom>
              <a:avLst/>
              <a:gdLst/>
              <a:ahLst/>
              <a:cxnLst/>
              <a:rect l="0" t="0" r="r" b="b"/>
              <a:pathLst>
                <a:path w="21600" h="21600">
                  <a:moveTo>
                    <a:pt x="6000" y="0"/>
                  </a:moveTo>
                  <a:cubicBezTo>
                    <a:pt x="8933" y="1640"/>
                    <a:pt x="12132" y="3691"/>
                    <a:pt x="15600" y="6152"/>
                  </a:cubicBezTo>
                  <a:cubicBezTo>
                    <a:pt x="19600" y="9251"/>
                    <a:pt x="21600" y="11302"/>
                    <a:pt x="21600" y="12304"/>
                  </a:cubicBezTo>
                  <a:cubicBezTo>
                    <a:pt x="21600" y="13124"/>
                    <a:pt x="21198" y="13853"/>
                    <a:pt x="20401" y="14492"/>
                  </a:cubicBezTo>
                  <a:cubicBezTo>
                    <a:pt x="20131" y="14855"/>
                    <a:pt x="19065" y="15584"/>
                    <a:pt x="17198" y="16677"/>
                  </a:cubicBezTo>
                  <a:cubicBezTo>
                    <a:pt x="15866" y="17407"/>
                    <a:pt x="14265" y="18272"/>
                    <a:pt x="12401" y="19276"/>
                  </a:cubicBezTo>
                  <a:cubicBezTo>
                    <a:pt x="9734" y="20824"/>
                    <a:pt x="6933" y="21600"/>
                    <a:pt x="4000" y="21600"/>
                  </a:cubicBezTo>
                  <a:cubicBezTo>
                    <a:pt x="2402" y="21417"/>
                    <a:pt x="1336" y="21326"/>
                    <a:pt x="801" y="21326"/>
                  </a:cubicBezTo>
                  <a:lnTo>
                    <a:pt x="801" y="15721"/>
                  </a:lnTo>
                  <a:lnTo>
                    <a:pt x="2402" y="11757"/>
                  </a:lnTo>
                  <a:cubicBezTo>
                    <a:pt x="2402" y="10845"/>
                    <a:pt x="2000" y="9614"/>
                    <a:pt x="1199" y="8066"/>
                  </a:cubicBezTo>
                  <a:cubicBezTo>
                    <a:pt x="402" y="6518"/>
                    <a:pt x="0" y="5422"/>
                    <a:pt x="0" y="4785"/>
                  </a:cubicBezTo>
                  <a:cubicBezTo>
                    <a:pt x="0" y="3054"/>
                    <a:pt x="535" y="1459"/>
                    <a:pt x="1601" y="0"/>
                  </a:cubicBezTo>
                  <a:cubicBezTo>
                    <a:pt x="1601" y="0"/>
                    <a:pt x="6000" y="0"/>
                    <a:pt x="6000" y="0"/>
                  </a:cubicBezTo>
                  <a:close/>
                  <a:moveTo>
                    <a:pt x="6000"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5" name="AutoShape 182"/>
            <p:cNvSpPr>
              <a:spLocks/>
            </p:cNvSpPr>
            <p:nvPr/>
          </p:nvSpPr>
          <p:spPr bwMode="auto">
            <a:xfrm>
              <a:off x="5465448" y="3248884"/>
              <a:ext cx="55134" cy="69939"/>
            </a:xfrm>
            <a:custGeom>
              <a:avLst/>
              <a:gdLst/>
              <a:ahLst/>
              <a:cxnLst/>
              <a:rect l="0" t="0" r="r" b="b"/>
              <a:pathLst>
                <a:path w="21600" h="21600">
                  <a:moveTo>
                    <a:pt x="8449" y="4912"/>
                  </a:moveTo>
                  <a:cubicBezTo>
                    <a:pt x="7599" y="5416"/>
                    <a:pt x="7174" y="5794"/>
                    <a:pt x="7174" y="6045"/>
                  </a:cubicBezTo>
                  <a:cubicBezTo>
                    <a:pt x="7439" y="6255"/>
                    <a:pt x="7678" y="6361"/>
                    <a:pt x="7890" y="6361"/>
                  </a:cubicBezTo>
                  <a:cubicBezTo>
                    <a:pt x="7997" y="6361"/>
                    <a:pt x="8635" y="6130"/>
                    <a:pt x="9804" y="5668"/>
                  </a:cubicBezTo>
                  <a:cubicBezTo>
                    <a:pt x="11026" y="5164"/>
                    <a:pt x="11903" y="4912"/>
                    <a:pt x="12434" y="4912"/>
                  </a:cubicBezTo>
                  <a:cubicBezTo>
                    <a:pt x="12753" y="4912"/>
                    <a:pt x="13018" y="5080"/>
                    <a:pt x="13231" y="5416"/>
                  </a:cubicBezTo>
                  <a:cubicBezTo>
                    <a:pt x="13443" y="5710"/>
                    <a:pt x="13550" y="6004"/>
                    <a:pt x="13550" y="6298"/>
                  </a:cubicBezTo>
                  <a:cubicBezTo>
                    <a:pt x="13550" y="6969"/>
                    <a:pt x="13151" y="7809"/>
                    <a:pt x="12354" y="8817"/>
                  </a:cubicBezTo>
                  <a:cubicBezTo>
                    <a:pt x="11504" y="9824"/>
                    <a:pt x="10760" y="10370"/>
                    <a:pt x="10123" y="10454"/>
                  </a:cubicBezTo>
                  <a:cubicBezTo>
                    <a:pt x="8210" y="10496"/>
                    <a:pt x="6881" y="10538"/>
                    <a:pt x="6138" y="10580"/>
                  </a:cubicBezTo>
                  <a:cubicBezTo>
                    <a:pt x="4915" y="10622"/>
                    <a:pt x="4277" y="11021"/>
                    <a:pt x="4224" y="11776"/>
                  </a:cubicBezTo>
                  <a:cubicBezTo>
                    <a:pt x="4543" y="11944"/>
                    <a:pt x="5154" y="12007"/>
                    <a:pt x="6057" y="11965"/>
                  </a:cubicBezTo>
                  <a:cubicBezTo>
                    <a:pt x="6695" y="11965"/>
                    <a:pt x="7014" y="12217"/>
                    <a:pt x="7014" y="12721"/>
                  </a:cubicBezTo>
                  <a:cubicBezTo>
                    <a:pt x="7014" y="12931"/>
                    <a:pt x="6907" y="13309"/>
                    <a:pt x="6695" y="13854"/>
                  </a:cubicBezTo>
                  <a:cubicBezTo>
                    <a:pt x="6801" y="13854"/>
                    <a:pt x="6961" y="13896"/>
                    <a:pt x="7174" y="13981"/>
                  </a:cubicBezTo>
                  <a:cubicBezTo>
                    <a:pt x="7599" y="13981"/>
                    <a:pt x="9591" y="12952"/>
                    <a:pt x="13151" y="10895"/>
                  </a:cubicBezTo>
                  <a:cubicBezTo>
                    <a:pt x="16712" y="8796"/>
                    <a:pt x="19289" y="7746"/>
                    <a:pt x="20883" y="7746"/>
                  </a:cubicBezTo>
                  <a:cubicBezTo>
                    <a:pt x="21361" y="7746"/>
                    <a:pt x="21600" y="7956"/>
                    <a:pt x="21600" y="8375"/>
                  </a:cubicBezTo>
                  <a:cubicBezTo>
                    <a:pt x="21600" y="9761"/>
                    <a:pt x="19846" y="11944"/>
                    <a:pt x="16340" y="14925"/>
                  </a:cubicBezTo>
                  <a:cubicBezTo>
                    <a:pt x="15330" y="15806"/>
                    <a:pt x="14240" y="16710"/>
                    <a:pt x="13071" y="17633"/>
                  </a:cubicBezTo>
                  <a:cubicBezTo>
                    <a:pt x="11849" y="18178"/>
                    <a:pt x="10574" y="18934"/>
                    <a:pt x="9246" y="19900"/>
                  </a:cubicBezTo>
                  <a:cubicBezTo>
                    <a:pt x="7864" y="20865"/>
                    <a:pt x="6961" y="21348"/>
                    <a:pt x="6536" y="21348"/>
                  </a:cubicBezTo>
                  <a:cubicBezTo>
                    <a:pt x="5792" y="21054"/>
                    <a:pt x="5074" y="20908"/>
                    <a:pt x="4384" y="20908"/>
                  </a:cubicBezTo>
                  <a:cubicBezTo>
                    <a:pt x="3959" y="20908"/>
                    <a:pt x="3480" y="21033"/>
                    <a:pt x="2949" y="21286"/>
                  </a:cubicBezTo>
                  <a:cubicBezTo>
                    <a:pt x="2418" y="21495"/>
                    <a:pt x="2072" y="21600"/>
                    <a:pt x="1912" y="21600"/>
                  </a:cubicBezTo>
                  <a:cubicBezTo>
                    <a:pt x="1487" y="21600"/>
                    <a:pt x="1115" y="21411"/>
                    <a:pt x="797" y="21033"/>
                  </a:cubicBezTo>
                  <a:cubicBezTo>
                    <a:pt x="478" y="20655"/>
                    <a:pt x="318" y="20194"/>
                    <a:pt x="318" y="19648"/>
                  </a:cubicBezTo>
                  <a:cubicBezTo>
                    <a:pt x="318" y="18010"/>
                    <a:pt x="664" y="17192"/>
                    <a:pt x="1355" y="17192"/>
                  </a:cubicBezTo>
                  <a:cubicBezTo>
                    <a:pt x="1568" y="17192"/>
                    <a:pt x="2152" y="17360"/>
                    <a:pt x="3108" y="17696"/>
                  </a:cubicBezTo>
                  <a:cubicBezTo>
                    <a:pt x="3427" y="17696"/>
                    <a:pt x="3587" y="17360"/>
                    <a:pt x="3587" y="16689"/>
                  </a:cubicBezTo>
                  <a:cubicBezTo>
                    <a:pt x="3587" y="16017"/>
                    <a:pt x="3002" y="15051"/>
                    <a:pt x="1833" y="13791"/>
                  </a:cubicBezTo>
                  <a:cubicBezTo>
                    <a:pt x="611" y="12490"/>
                    <a:pt x="0" y="11293"/>
                    <a:pt x="0" y="10202"/>
                  </a:cubicBezTo>
                  <a:cubicBezTo>
                    <a:pt x="0" y="10033"/>
                    <a:pt x="212" y="9383"/>
                    <a:pt x="637" y="8250"/>
                  </a:cubicBezTo>
                  <a:cubicBezTo>
                    <a:pt x="1062" y="7074"/>
                    <a:pt x="1275" y="6234"/>
                    <a:pt x="1275" y="5731"/>
                  </a:cubicBezTo>
                  <a:lnTo>
                    <a:pt x="957" y="3464"/>
                  </a:lnTo>
                  <a:cubicBezTo>
                    <a:pt x="957" y="2792"/>
                    <a:pt x="1382" y="2057"/>
                    <a:pt x="2232" y="1260"/>
                  </a:cubicBezTo>
                  <a:cubicBezTo>
                    <a:pt x="3135" y="420"/>
                    <a:pt x="4065" y="0"/>
                    <a:pt x="5021" y="0"/>
                  </a:cubicBezTo>
                  <a:cubicBezTo>
                    <a:pt x="5712" y="0"/>
                    <a:pt x="6642" y="420"/>
                    <a:pt x="7811" y="1260"/>
                  </a:cubicBezTo>
                  <a:cubicBezTo>
                    <a:pt x="9033" y="2099"/>
                    <a:pt x="9644" y="2855"/>
                    <a:pt x="9644" y="3526"/>
                  </a:cubicBezTo>
                  <a:cubicBezTo>
                    <a:pt x="9644" y="3947"/>
                    <a:pt x="9246" y="4408"/>
                    <a:pt x="8449" y="4912"/>
                  </a:cubicBezTo>
                  <a:close/>
                  <a:moveTo>
                    <a:pt x="8449" y="491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6" name="AutoShape 183"/>
            <p:cNvSpPr>
              <a:spLocks/>
            </p:cNvSpPr>
            <p:nvPr/>
          </p:nvSpPr>
          <p:spPr bwMode="auto">
            <a:xfrm>
              <a:off x="5461364" y="3322397"/>
              <a:ext cx="30630" cy="81170"/>
            </a:xfrm>
            <a:custGeom>
              <a:avLst/>
              <a:gdLst/>
              <a:ahLst/>
              <a:cxnLst/>
              <a:rect l="0" t="0" r="r" b="b"/>
              <a:pathLst>
                <a:path w="21600" h="21600">
                  <a:moveTo>
                    <a:pt x="20747" y="3834"/>
                  </a:moveTo>
                  <a:cubicBezTo>
                    <a:pt x="20085" y="4158"/>
                    <a:pt x="19421" y="4320"/>
                    <a:pt x="18758" y="4320"/>
                  </a:cubicBezTo>
                  <a:cubicBezTo>
                    <a:pt x="17904" y="4320"/>
                    <a:pt x="16911" y="4176"/>
                    <a:pt x="15773" y="3888"/>
                  </a:cubicBezTo>
                  <a:cubicBezTo>
                    <a:pt x="14636" y="3564"/>
                    <a:pt x="13879" y="3402"/>
                    <a:pt x="13500" y="3402"/>
                  </a:cubicBezTo>
                  <a:cubicBezTo>
                    <a:pt x="12648" y="3402"/>
                    <a:pt x="12220" y="3582"/>
                    <a:pt x="12220" y="3942"/>
                  </a:cubicBezTo>
                  <a:cubicBezTo>
                    <a:pt x="12220" y="4230"/>
                    <a:pt x="13027" y="4626"/>
                    <a:pt x="14636" y="5130"/>
                  </a:cubicBezTo>
                  <a:cubicBezTo>
                    <a:pt x="16152" y="5599"/>
                    <a:pt x="16911" y="5994"/>
                    <a:pt x="16911" y="6318"/>
                  </a:cubicBezTo>
                  <a:cubicBezTo>
                    <a:pt x="16911" y="7038"/>
                    <a:pt x="15916" y="7398"/>
                    <a:pt x="13926" y="7398"/>
                  </a:cubicBezTo>
                  <a:cubicBezTo>
                    <a:pt x="13263" y="7398"/>
                    <a:pt x="12458" y="7344"/>
                    <a:pt x="11510" y="7236"/>
                  </a:cubicBezTo>
                  <a:cubicBezTo>
                    <a:pt x="10563" y="7128"/>
                    <a:pt x="9994" y="7074"/>
                    <a:pt x="9806" y="7074"/>
                  </a:cubicBezTo>
                  <a:cubicBezTo>
                    <a:pt x="8479" y="7074"/>
                    <a:pt x="7247" y="7488"/>
                    <a:pt x="6110" y="8316"/>
                  </a:cubicBezTo>
                  <a:cubicBezTo>
                    <a:pt x="5164" y="9000"/>
                    <a:pt x="4689" y="9576"/>
                    <a:pt x="4689" y="10044"/>
                  </a:cubicBezTo>
                  <a:cubicBezTo>
                    <a:pt x="4689" y="10872"/>
                    <a:pt x="5826" y="11898"/>
                    <a:pt x="8100" y="13122"/>
                  </a:cubicBezTo>
                  <a:cubicBezTo>
                    <a:pt x="10279" y="14347"/>
                    <a:pt x="11368" y="15660"/>
                    <a:pt x="11368" y="17064"/>
                  </a:cubicBezTo>
                  <a:lnTo>
                    <a:pt x="11937" y="18684"/>
                  </a:lnTo>
                  <a:lnTo>
                    <a:pt x="11794" y="19116"/>
                  </a:lnTo>
                  <a:cubicBezTo>
                    <a:pt x="11227" y="19260"/>
                    <a:pt x="10848" y="19674"/>
                    <a:pt x="10658" y="20358"/>
                  </a:cubicBezTo>
                  <a:cubicBezTo>
                    <a:pt x="10563" y="20394"/>
                    <a:pt x="10516" y="20448"/>
                    <a:pt x="10516" y="20520"/>
                  </a:cubicBezTo>
                  <a:cubicBezTo>
                    <a:pt x="10232" y="21240"/>
                    <a:pt x="9663" y="21600"/>
                    <a:pt x="8811" y="21600"/>
                  </a:cubicBezTo>
                  <a:cubicBezTo>
                    <a:pt x="8053" y="21600"/>
                    <a:pt x="7247" y="20898"/>
                    <a:pt x="6395" y="19494"/>
                  </a:cubicBezTo>
                  <a:cubicBezTo>
                    <a:pt x="5637" y="18270"/>
                    <a:pt x="5258" y="17424"/>
                    <a:pt x="5258" y="16956"/>
                  </a:cubicBezTo>
                  <a:cubicBezTo>
                    <a:pt x="5258" y="16668"/>
                    <a:pt x="5447" y="16200"/>
                    <a:pt x="5826" y="15552"/>
                  </a:cubicBezTo>
                  <a:cubicBezTo>
                    <a:pt x="6205" y="14868"/>
                    <a:pt x="6395" y="14454"/>
                    <a:pt x="6395" y="14310"/>
                  </a:cubicBezTo>
                  <a:cubicBezTo>
                    <a:pt x="6395" y="14058"/>
                    <a:pt x="5731" y="13392"/>
                    <a:pt x="4405" y="12312"/>
                  </a:cubicBezTo>
                  <a:cubicBezTo>
                    <a:pt x="2984" y="11196"/>
                    <a:pt x="2273" y="10512"/>
                    <a:pt x="2273" y="10260"/>
                  </a:cubicBezTo>
                  <a:cubicBezTo>
                    <a:pt x="2273" y="9540"/>
                    <a:pt x="1894" y="8802"/>
                    <a:pt x="1137" y="8046"/>
                  </a:cubicBezTo>
                  <a:cubicBezTo>
                    <a:pt x="379" y="7326"/>
                    <a:pt x="0" y="6912"/>
                    <a:pt x="0" y="6804"/>
                  </a:cubicBezTo>
                  <a:cubicBezTo>
                    <a:pt x="0" y="6516"/>
                    <a:pt x="758" y="6174"/>
                    <a:pt x="2273" y="5778"/>
                  </a:cubicBezTo>
                  <a:cubicBezTo>
                    <a:pt x="3694" y="5382"/>
                    <a:pt x="4405" y="5112"/>
                    <a:pt x="4405" y="4968"/>
                  </a:cubicBezTo>
                  <a:cubicBezTo>
                    <a:pt x="4405" y="4608"/>
                    <a:pt x="3743" y="4338"/>
                    <a:pt x="2416" y="4158"/>
                  </a:cubicBezTo>
                  <a:cubicBezTo>
                    <a:pt x="995" y="3942"/>
                    <a:pt x="284" y="3654"/>
                    <a:pt x="284" y="3295"/>
                  </a:cubicBezTo>
                  <a:cubicBezTo>
                    <a:pt x="284" y="3186"/>
                    <a:pt x="852" y="2736"/>
                    <a:pt x="1990" y="1945"/>
                  </a:cubicBezTo>
                  <a:cubicBezTo>
                    <a:pt x="3221" y="1080"/>
                    <a:pt x="4216" y="612"/>
                    <a:pt x="4974" y="540"/>
                  </a:cubicBezTo>
                  <a:cubicBezTo>
                    <a:pt x="5543" y="468"/>
                    <a:pt x="7152" y="360"/>
                    <a:pt x="9806" y="216"/>
                  </a:cubicBezTo>
                  <a:cubicBezTo>
                    <a:pt x="12552" y="72"/>
                    <a:pt x="14400" y="0"/>
                    <a:pt x="15347" y="0"/>
                  </a:cubicBezTo>
                  <a:cubicBezTo>
                    <a:pt x="16862" y="0"/>
                    <a:pt x="18283" y="288"/>
                    <a:pt x="19610" y="864"/>
                  </a:cubicBezTo>
                  <a:cubicBezTo>
                    <a:pt x="20937" y="1440"/>
                    <a:pt x="21600" y="2088"/>
                    <a:pt x="21600" y="2808"/>
                  </a:cubicBezTo>
                  <a:cubicBezTo>
                    <a:pt x="21600" y="3168"/>
                    <a:pt x="21316" y="3510"/>
                    <a:pt x="20747" y="3834"/>
                  </a:cubicBezTo>
                  <a:close/>
                  <a:moveTo>
                    <a:pt x="20747" y="383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7" name="AutoShape 184"/>
            <p:cNvSpPr>
              <a:spLocks/>
            </p:cNvSpPr>
            <p:nvPr/>
          </p:nvSpPr>
          <p:spPr bwMode="auto">
            <a:xfrm>
              <a:off x="5543045" y="3538851"/>
              <a:ext cx="141920" cy="237895"/>
            </a:xfrm>
            <a:custGeom>
              <a:avLst/>
              <a:gdLst/>
              <a:ahLst/>
              <a:cxnLst/>
              <a:rect l="0" t="0" r="r" b="b"/>
              <a:pathLst>
                <a:path w="21600" h="21600">
                  <a:moveTo>
                    <a:pt x="1335" y="0"/>
                  </a:moveTo>
                  <a:cubicBezTo>
                    <a:pt x="2204" y="0"/>
                    <a:pt x="2845" y="123"/>
                    <a:pt x="3259" y="370"/>
                  </a:cubicBezTo>
                  <a:lnTo>
                    <a:pt x="4128" y="759"/>
                  </a:lnTo>
                  <a:cubicBezTo>
                    <a:pt x="4541" y="957"/>
                    <a:pt x="4821" y="1142"/>
                    <a:pt x="4965" y="1315"/>
                  </a:cubicBezTo>
                  <a:cubicBezTo>
                    <a:pt x="5255" y="1661"/>
                    <a:pt x="5886" y="2112"/>
                    <a:pt x="6859" y="2668"/>
                  </a:cubicBezTo>
                  <a:cubicBezTo>
                    <a:pt x="7376" y="2964"/>
                    <a:pt x="8079" y="3365"/>
                    <a:pt x="8969" y="3872"/>
                  </a:cubicBezTo>
                  <a:cubicBezTo>
                    <a:pt x="9445" y="4180"/>
                    <a:pt x="10955" y="4854"/>
                    <a:pt x="13500" y="5891"/>
                  </a:cubicBezTo>
                  <a:cubicBezTo>
                    <a:pt x="14865" y="6447"/>
                    <a:pt x="15548" y="7280"/>
                    <a:pt x="15548" y="8392"/>
                  </a:cubicBezTo>
                  <a:cubicBezTo>
                    <a:pt x="15548" y="8836"/>
                    <a:pt x="15610" y="9170"/>
                    <a:pt x="15734" y="9392"/>
                  </a:cubicBezTo>
                  <a:cubicBezTo>
                    <a:pt x="15817" y="9553"/>
                    <a:pt x="16024" y="9917"/>
                    <a:pt x="16355" y="10485"/>
                  </a:cubicBezTo>
                  <a:cubicBezTo>
                    <a:pt x="16603" y="11028"/>
                    <a:pt x="16717" y="11448"/>
                    <a:pt x="16696" y="11745"/>
                  </a:cubicBezTo>
                  <a:cubicBezTo>
                    <a:pt x="16634" y="12128"/>
                    <a:pt x="16800" y="12486"/>
                    <a:pt x="17193" y="12819"/>
                  </a:cubicBezTo>
                  <a:cubicBezTo>
                    <a:pt x="17627" y="13214"/>
                    <a:pt x="18517" y="13838"/>
                    <a:pt x="19862" y="14690"/>
                  </a:cubicBezTo>
                  <a:cubicBezTo>
                    <a:pt x="20979" y="15543"/>
                    <a:pt x="21538" y="16389"/>
                    <a:pt x="21538" y="17228"/>
                  </a:cubicBezTo>
                  <a:lnTo>
                    <a:pt x="21600" y="19340"/>
                  </a:lnTo>
                  <a:cubicBezTo>
                    <a:pt x="21600" y="20847"/>
                    <a:pt x="21217" y="21600"/>
                    <a:pt x="20451" y="21600"/>
                  </a:cubicBezTo>
                  <a:cubicBezTo>
                    <a:pt x="19728" y="21600"/>
                    <a:pt x="19045" y="21409"/>
                    <a:pt x="18403" y="21026"/>
                  </a:cubicBezTo>
                  <a:cubicBezTo>
                    <a:pt x="17410" y="20223"/>
                    <a:pt x="16841" y="19772"/>
                    <a:pt x="16696" y="19674"/>
                  </a:cubicBezTo>
                  <a:cubicBezTo>
                    <a:pt x="16614" y="19612"/>
                    <a:pt x="16303" y="19439"/>
                    <a:pt x="15765" y="19155"/>
                  </a:cubicBezTo>
                  <a:cubicBezTo>
                    <a:pt x="15331" y="18920"/>
                    <a:pt x="15020" y="18698"/>
                    <a:pt x="14834" y="18488"/>
                  </a:cubicBezTo>
                  <a:cubicBezTo>
                    <a:pt x="14441" y="18241"/>
                    <a:pt x="14079" y="18019"/>
                    <a:pt x="13748" y="17821"/>
                  </a:cubicBezTo>
                  <a:cubicBezTo>
                    <a:pt x="13293" y="17525"/>
                    <a:pt x="13014" y="17290"/>
                    <a:pt x="12910" y="17117"/>
                  </a:cubicBezTo>
                  <a:cubicBezTo>
                    <a:pt x="12890" y="17080"/>
                    <a:pt x="12879" y="17055"/>
                    <a:pt x="12879" y="17043"/>
                  </a:cubicBezTo>
                  <a:cubicBezTo>
                    <a:pt x="12879" y="17018"/>
                    <a:pt x="12879" y="16994"/>
                    <a:pt x="12879" y="16969"/>
                  </a:cubicBezTo>
                  <a:cubicBezTo>
                    <a:pt x="12900" y="16771"/>
                    <a:pt x="12921" y="16635"/>
                    <a:pt x="12941" y="16561"/>
                  </a:cubicBezTo>
                  <a:cubicBezTo>
                    <a:pt x="12962" y="16401"/>
                    <a:pt x="13045" y="16296"/>
                    <a:pt x="13189" y="16246"/>
                  </a:cubicBezTo>
                  <a:cubicBezTo>
                    <a:pt x="14038" y="16148"/>
                    <a:pt x="14462" y="16049"/>
                    <a:pt x="14462" y="15950"/>
                  </a:cubicBezTo>
                  <a:cubicBezTo>
                    <a:pt x="14462" y="15864"/>
                    <a:pt x="14307" y="15734"/>
                    <a:pt x="13996" y="15561"/>
                  </a:cubicBezTo>
                  <a:cubicBezTo>
                    <a:pt x="13686" y="15388"/>
                    <a:pt x="13458" y="15302"/>
                    <a:pt x="13314" y="15302"/>
                  </a:cubicBezTo>
                  <a:cubicBezTo>
                    <a:pt x="12921" y="15376"/>
                    <a:pt x="12672" y="15413"/>
                    <a:pt x="12569" y="15413"/>
                  </a:cubicBezTo>
                  <a:cubicBezTo>
                    <a:pt x="10603" y="15005"/>
                    <a:pt x="9620" y="14672"/>
                    <a:pt x="9620" y="14412"/>
                  </a:cubicBezTo>
                  <a:lnTo>
                    <a:pt x="9683" y="14153"/>
                  </a:lnTo>
                  <a:lnTo>
                    <a:pt x="10241" y="14153"/>
                  </a:lnTo>
                  <a:lnTo>
                    <a:pt x="10645" y="14264"/>
                  </a:lnTo>
                  <a:cubicBezTo>
                    <a:pt x="10707" y="14264"/>
                    <a:pt x="10769" y="14227"/>
                    <a:pt x="10831" y="14153"/>
                  </a:cubicBezTo>
                  <a:cubicBezTo>
                    <a:pt x="10872" y="14091"/>
                    <a:pt x="10893" y="14042"/>
                    <a:pt x="10893" y="14005"/>
                  </a:cubicBezTo>
                  <a:cubicBezTo>
                    <a:pt x="10893" y="13820"/>
                    <a:pt x="10572" y="13461"/>
                    <a:pt x="9931" y="12930"/>
                  </a:cubicBezTo>
                  <a:cubicBezTo>
                    <a:pt x="9269" y="12412"/>
                    <a:pt x="8907" y="12115"/>
                    <a:pt x="8845" y="12041"/>
                  </a:cubicBezTo>
                  <a:cubicBezTo>
                    <a:pt x="8721" y="11881"/>
                    <a:pt x="8224" y="11646"/>
                    <a:pt x="7355" y="11337"/>
                  </a:cubicBezTo>
                  <a:cubicBezTo>
                    <a:pt x="6610" y="11078"/>
                    <a:pt x="6238" y="10788"/>
                    <a:pt x="6238" y="10467"/>
                  </a:cubicBezTo>
                  <a:cubicBezTo>
                    <a:pt x="6238" y="10405"/>
                    <a:pt x="6321" y="10325"/>
                    <a:pt x="6486" y="10226"/>
                  </a:cubicBezTo>
                  <a:cubicBezTo>
                    <a:pt x="6672" y="10115"/>
                    <a:pt x="6859" y="10059"/>
                    <a:pt x="7045" y="10059"/>
                  </a:cubicBezTo>
                  <a:cubicBezTo>
                    <a:pt x="7065" y="10059"/>
                    <a:pt x="7293" y="10127"/>
                    <a:pt x="7728" y="10263"/>
                  </a:cubicBezTo>
                  <a:cubicBezTo>
                    <a:pt x="8162" y="10386"/>
                    <a:pt x="8596" y="10448"/>
                    <a:pt x="9031" y="10448"/>
                  </a:cubicBezTo>
                  <a:lnTo>
                    <a:pt x="9559" y="10448"/>
                  </a:lnTo>
                  <a:cubicBezTo>
                    <a:pt x="9683" y="10423"/>
                    <a:pt x="9745" y="10349"/>
                    <a:pt x="9745" y="10226"/>
                  </a:cubicBezTo>
                  <a:cubicBezTo>
                    <a:pt x="9745" y="10003"/>
                    <a:pt x="9362" y="9868"/>
                    <a:pt x="8596" y="9818"/>
                  </a:cubicBezTo>
                  <a:cubicBezTo>
                    <a:pt x="7810" y="9769"/>
                    <a:pt x="7386" y="9584"/>
                    <a:pt x="7324" y="9263"/>
                  </a:cubicBezTo>
                  <a:cubicBezTo>
                    <a:pt x="6869" y="8102"/>
                    <a:pt x="6434" y="7521"/>
                    <a:pt x="6021" y="7521"/>
                  </a:cubicBezTo>
                  <a:lnTo>
                    <a:pt x="5183" y="7632"/>
                  </a:lnTo>
                  <a:cubicBezTo>
                    <a:pt x="4976" y="7632"/>
                    <a:pt x="4800" y="7595"/>
                    <a:pt x="4655" y="7521"/>
                  </a:cubicBezTo>
                  <a:cubicBezTo>
                    <a:pt x="4490" y="7435"/>
                    <a:pt x="4407" y="7324"/>
                    <a:pt x="4407" y="7188"/>
                  </a:cubicBezTo>
                  <a:cubicBezTo>
                    <a:pt x="4407" y="6965"/>
                    <a:pt x="4531" y="6756"/>
                    <a:pt x="4779" y="6558"/>
                  </a:cubicBezTo>
                  <a:cubicBezTo>
                    <a:pt x="5028" y="6348"/>
                    <a:pt x="5152" y="6206"/>
                    <a:pt x="5152" y="6132"/>
                  </a:cubicBezTo>
                  <a:cubicBezTo>
                    <a:pt x="5152" y="6058"/>
                    <a:pt x="5090" y="5965"/>
                    <a:pt x="4965" y="5854"/>
                  </a:cubicBezTo>
                  <a:cubicBezTo>
                    <a:pt x="4779" y="5693"/>
                    <a:pt x="4541" y="5613"/>
                    <a:pt x="4252" y="5613"/>
                  </a:cubicBezTo>
                  <a:lnTo>
                    <a:pt x="3631" y="5965"/>
                  </a:lnTo>
                  <a:cubicBezTo>
                    <a:pt x="3548" y="5965"/>
                    <a:pt x="3445" y="5940"/>
                    <a:pt x="3321" y="5891"/>
                  </a:cubicBezTo>
                  <a:cubicBezTo>
                    <a:pt x="3176" y="5829"/>
                    <a:pt x="3103" y="5755"/>
                    <a:pt x="3103" y="5669"/>
                  </a:cubicBezTo>
                  <a:cubicBezTo>
                    <a:pt x="3352" y="5125"/>
                    <a:pt x="3217" y="4854"/>
                    <a:pt x="2700" y="4854"/>
                  </a:cubicBezTo>
                  <a:cubicBezTo>
                    <a:pt x="2597" y="4854"/>
                    <a:pt x="2462" y="4897"/>
                    <a:pt x="2297" y="4983"/>
                  </a:cubicBezTo>
                  <a:cubicBezTo>
                    <a:pt x="2131" y="5057"/>
                    <a:pt x="1955" y="5094"/>
                    <a:pt x="1769" y="5094"/>
                  </a:cubicBezTo>
                  <a:cubicBezTo>
                    <a:pt x="1645" y="5094"/>
                    <a:pt x="1500" y="5064"/>
                    <a:pt x="1335" y="5002"/>
                  </a:cubicBezTo>
                  <a:cubicBezTo>
                    <a:pt x="1128" y="4928"/>
                    <a:pt x="1024" y="4841"/>
                    <a:pt x="1024" y="4742"/>
                  </a:cubicBezTo>
                  <a:cubicBezTo>
                    <a:pt x="1024" y="4607"/>
                    <a:pt x="1190" y="4495"/>
                    <a:pt x="1521" y="4409"/>
                  </a:cubicBezTo>
                  <a:cubicBezTo>
                    <a:pt x="1831" y="4310"/>
                    <a:pt x="1986" y="4205"/>
                    <a:pt x="1986" y="4094"/>
                  </a:cubicBezTo>
                  <a:cubicBezTo>
                    <a:pt x="1986" y="4020"/>
                    <a:pt x="1914" y="3909"/>
                    <a:pt x="1769" y="3761"/>
                  </a:cubicBezTo>
                  <a:cubicBezTo>
                    <a:pt x="1604" y="3612"/>
                    <a:pt x="1521" y="3470"/>
                    <a:pt x="1521" y="3334"/>
                  </a:cubicBezTo>
                  <a:cubicBezTo>
                    <a:pt x="1521" y="3223"/>
                    <a:pt x="1604" y="3125"/>
                    <a:pt x="1769" y="3038"/>
                  </a:cubicBezTo>
                  <a:cubicBezTo>
                    <a:pt x="1934" y="2939"/>
                    <a:pt x="2121" y="2890"/>
                    <a:pt x="2328" y="2890"/>
                  </a:cubicBezTo>
                  <a:cubicBezTo>
                    <a:pt x="2742" y="2890"/>
                    <a:pt x="3052" y="3026"/>
                    <a:pt x="3259" y="3297"/>
                  </a:cubicBezTo>
                  <a:cubicBezTo>
                    <a:pt x="3466" y="3557"/>
                    <a:pt x="3766" y="3687"/>
                    <a:pt x="4159" y="3687"/>
                  </a:cubicBezTo>
                  <a:cubicBezTo>
                    <a:pt x="4262" y="3687"/>
                    <a:pt x="4366" y="3606"/>
                    <a:pt x="4469" y="3446"/>
                  </a:cubicBezTo>
                  <a:cubicBezTo>
                    <a:pt x="4552" y="3297"/>
                    <a:pt x="4593" y="3168"/>
                    <a:pt x="4593" y="3057"/>
                  </a:cubicBezTo>
                  <a:cubicBezTo>
                    <a:pt x="4593" y="2711"/>
                    <a:pt x="4293" y="2464"/>
                    <a:pt x="3693" y="2316"/>
                  </a:cubicBezTo>
                  <a:cubicBezTo>
                    <a:pt x="3590" y="2291"/>
                    <a:pt x="3362" y="2161"/>
                    <a:pt x="3010" y="1927"/>
                  </a:cubicBezTo>
                  <a:lnTo>
                    <a:pt x="2514" y="1593"/>
                  </a:lnTo>
                  <a:cubicBezTo>
                    <a:pt x="2431" y="1593"/>
                    <a:pt x="2214" y="1661"/>
                    <a:pt x="1862" y="1797"/>
                  </a:cubicBezTo>
                  <a:cubicBezTo>
                    <a:pt x="1490" y="1933"/>
                    <a:pt x="1241" y="2001"/>
                    <a:pt x="1117" y="2001"/>
                  </a:cubicBezTo>
                  <a:cubicBezTo>
                    <a:pt x="848" y="2001"/>
                    <a:pt x="600" y="1939"/>
                    <a:pt x="372" y="1815"/>
                  </a:cubicBezTo>
                  <a:cubicBezTo>
                    <a:pt x="124" y="1680"/>
                    <a:pt x="0" y="1525"/>
                    <a:pt x="0" y="1352"/>
                  </a:cubicBezTo>
                  <a:cubicBezTo>
                    <a:pt x="0" y="1068"/>
                    <a:pt x="104" y="790"/>
                    <a:pt x="310" y="519"/>
                  </a:cubicBezTo>
                  <a:cubicBezTo>
                    <a:pt x="559" y="173"/>
                    <a:pt x="900" y="0"/>
                    <a:pt x="1335" y="0"/>
                  </a:cubicBezTo>
                  <a:close/>
                  <a:moveTo>
                    <a:pt x="1335"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8" name="AutoShape 185"/>
            <p:cNvSpPr>
              <a:spLocks/>
            </p:cNvSpPr>
            <p:nvPr/>
          </p:nvSpPr>
          <p:spPr bwMode="auto">
            <a:xfrm>
              <a:off x="5567549" y="3395909"/>
              <a:ext cx="7147" cy="26546"/>
            </a:xfrm>
            <a:custGeom>
              <a:avLst/>
              <a:gdLst/>
              <a:ahLst/>
              <a:cxnLst/>
              <a:rect l="0" t="0" r="r" b="b"/>
              <a:pathLst>
                <a:path w="21600" h="21600">
                  <a:moveTo>
                    <a:pt x="11088" y="0"/>
                  </a:moveTo>
                  <a:cubicBezTo>
                    <a:pt x="18094" y="0"/>
                    <a:pt x="21600" y="2362"/>
                    <a:pt x="21600" y="7089"/>
                  </a:cubicBezTo>
                  <a:lnTo>
                    <a:pt x="21013" y="13190"/>
                  </a:lnTo>
                  <a:cubicBezTo>
                    <a:pt x="20238" y="13412"/>
                    <a:pt x="19650" y="13850"/>
                    <a:pt x="19263" y="14508"/>
                  </a:cubicBezTo>
                  <a:cubicBezTo>
                    <a:pt x="18875" y="15388"/>
                    <a:pt x="18482" y="16600"/>
                    <a:pt x="18094" y="18137"/>
                  </a:cubicBezTo>
                  <a:cubicBezTo>
                    <a:pt x="17706" y="20225"/>
                    <a:pt x="15762" y="21379"/>
                    <a:pt x="12257" y="21600"/>
                  </a:cubicBezTo>
                  <a:cubicBezTo>
                    <a:pt x="10313" y="20720"/>
                    <a:pt x="7975" y="19126"/>
                    <a:pt x="5250" y="16819"/>
                  </a:cubicBezTo>
                  <a:cubicBezTo>
                    <a:pt x="1750" y="13628"/>
                    <a:pt x="0" y="10663"/>
                    <a:pt x="0" y="7914"/>
                  </a:cubicBezTo>
                  <a:cubicBezTo>
                    <a:pt x="0" y="2638"/>
                    <a:pt x="3694" y="0"/>
                    <a:pt x="11088" y="0"/>
                  </a:cubicBezTo>
                  <a:close/>
                  <a:moveTo>
                    <a:pt x="11088"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09" name="AutoShape 186"/>
            <p:cNvSpPr>
              <a:spLocks/>
            </p:cNvSpPr>
            <p:nvPr/>
          </p:nvSpPr>
          <p:spPr bwMode="auto">
            <a:xfrm>
              <a:off x="6466036" y="4318900"/>
              <a:ext cx="428823" cy="227174"/>
            </a:xfrm>
            <a:custGeom>
              <a:avLst/>
              <a:gdLst/>
              <a:ahLst/>
              <a:cxnLst/>
              <a:rect l="0" t="0" r="r" b="b"/>
              <a:pathLst>
                <a:path w="21600" h="21477">
                  <a:moveTo>
                    <a:pt x="576" y="0"/>
                  </a:moveTo>
                  <a:lnTo>
                    <a:pt x="6371" y="887"/>
                  </a:lnTo>
                  <a:cubicBezTo>
                    <a:pt x="10372" y="1466"/>
                    <a:pt x="12896" y="1749"/>
                    <a:pt x="13944" y="1736"/>
                  </a:cubicBezTo>
                  <a:lnTo>
                    <a:pt x="13944" y="1755"/>
                  </a:lnTo>
                  <a:cubicBezTo>
                    <a:pt x="13951" y="1755"/>
                    <a:pt x="13962" y="1768"/>
                    <a:pt x="13975" y="1794"/>
                  </a:cubicBezTo>
                  <a:cubicBezTo>
                    <a:pt x="14044" y="1884"/>
                    <a:pt x="14194" y="2141"/>
                    <a:pt x="14427" y="2565"/>
                  </a:cubicBezTo>
                  <a:cubicBezTo>
                    <a:pt x="14667" y="3041"/>
                    <a:pt x="14883" y="3278"/>
                    <a:pt x="15075" y="3278"/>
                  </a:cubicBezTo>
                  <a:cubicBezTo>
                    <a:pt x="15164" y="3278"/>
                    <a:pt x="15267" y="3182"/>
                    <a:pt x="15383" y="2989"/>
                  </a:cubicBezTo>
                  <a:cubicBezTo>
                    <a:pt x="15499" y="2796"/>
                    <a:pt x="15664" y="2706"/>
                    <a:pt x="15876" y="2719"/>
                  </a:cubicBezTo>
                  <a:cubicBezTo>
                    <a:pt x="16466" y="2745"/>
                    <a:pt x="17113" y="3073"/>
                    <a:pt x="17818" y="3703"/>
                  </a:cubicBezTo>
                  <a:cubicBezTo>
                    <a:pt x="18552" y="4397"/>
                    <a:pt x="18939" y="5085"/>
                    <a:pt x="18980" y="5767"/>
                  </a:cubicBezTo>
                  <a:cubicBezTo>
                    <a:pt x="18973" y="5869"/>
                    <a:pt x="18976" y="5972"/>
                    <a:pt x="18990" y="6075"/>
                  </a:cubicBezTo>
                  <a:cubicBezTo>
                    <a:pt x="19031" y="6512"/>
                    <a:pt x="19120" y="7001"/>
                    <a:pt x="19257" y="7541"/>
                  </a:cubicBezTo>
                  <a:cubicBezTo>
                    <a:pt x="19463" y="8313"/>
                    <a:pt x="19579" y="8846"/>
                    <a:pt x="19607" y="9142"/>
                  </a:cubicBezTo>
                  <a:cubicBezTo>
                    <a:pt x="19634" y="9347"/>
                    <a:pt x="19661" y="9649"/>
                    <a:pt x="19689" y="10048"/>
                  </a:cubicBezTo>
                  <a:cubicBezTo>
                    <a:pt x="19709" y="10473"/>
                    <a:pt x="19730" y="10781"/>
                    <a:pt x="19750" y="10974"/>
                  </a:cubicBezTo>
                  <a:cubicBezTo>
                    <a:pt x="19798" y="11489"/>
                    <a:pt x="19874" y="11810"/>
                    <a:pt x="19976" y="11938"/>
                  </a:cubicBezTo>
                  <a:cubicBezTo>
                    <a:pt x="20045" y="12015"/>
                    <a:pt x="20076" y="12234"/>
                    <a:pt x="20069" y="12594"/>
                  </a:cubicBezTo>
                  <a:cubicBezTo>
                    <a:pt x="20069" y="12620"/>
                    <a:pt x="20093" y="12716"/>
                    <a:pt x="20141" y="12883"/>
                  </a:cubicBezTo>
                  <a:cubicBezTo>
                    <a:pt x="20182" y="13076"/>
                    <a:pt x="20203" y="13275"/>
                    <a:pt x="20203" y="13481"/>
                  </a:cubicBezTo>
                  <a:cubicBezTo>
                    <a:pt x="20196" y="13610"/>
                    <a:pt x="20220" y="13732"/>
                    <a:pt x="20275" y="13848"/>
                  </a:cubicBezTo>
                  <a:cubicBezTo>
                    <a:pt x="20343" y="13963"/>
                    <a:pt x="20377" y="14085"/>
                    <a:pt x="20377" y="14214"/>
                  </a:cubicBezTo>
                  <a:cubicBezTo>
                    <a:pt x="20377" y="14252"/>
                    <a:pt x="20360" y="14342"/>
                    <a:pt x="20326" y="14484"/>
                  </a:cubicBezTo>
                  <a:cubicBezTo>
                    <a:pt x="20285" y="14600"/>
                    <a:pt x="20264" y="14709"/>
                    <a:pt x="20264" y="14812"/>
                  </a:cubicBezTo>
                  <a:cubicBezTo>
                    <a:pt x="20264" y="14876"/>
                    <a:pt x="20295" y="14979"/>
                    <a:pt x="20357" y="15120"/>
                  </a:cubicBezTo>
                  <a:cubicBezTo>
                    <a:pt x="20411" y="15249"/>
                    <a:pt x="20436" y="15378"/>
                    <a:pt x="20429" y="15506"/>
                  </a:cubicBezTo>
                  <a:cubicBezTo>
                    <a:pt x="20429" y="15558"/>
                    <a:pt x="20405" y="15751"/>
                    <a:pt x="20357" y="16085"/>
                  </a:cubicBezTo>
                  <a:cubicBezTo>
                    <a:pt x="20295" y="16419"/>
                    <a:pt x="20264" y="16657"/>
                    <a:pt x="20264" y="16799"/>
                  </a:cubicBezTo>
                  <a:cubicBezTo>
                    <a:pt x="20257" y="16965"/>
                    <a:pt x="20288" y="17068"/>
                    <a:pt x="20357" y="17107"/>
                  </a:cubicBezTo>
                  <a:cubicBezTo>
                    <a:pt x="20439" y="17171"/>
                    <a:pt x="20494" y="17274"/>
                    <a:pt x="20521" y="17415"/>
                  </a:cubicBezTo>
                  <a:lnTo>
                    <a:pt x="20541" y="17589"/>
                  </a:lnTo>
                  <a:cubicBezTo>
                    <a:pt x="20556" y="17820"/>
                    <a:pt x="20579" y="17988"/>
                    <a:pt x="20614" y="18090"/>
                  </a:cubicBezTo>
                  <a:cubicBezTo>
                    <a:pt x="20655" y="18219"/>
                    <a:pt x="20713" y="18290"/>
                    <a:pt x="20788" y="18302"/>
                  </a:cubicBezTo>
                  <a:cubicBezTo>
                    <a:pt x="20836" y="18315"/>
                    <a:pt x="20864" y="18476"/>
                    <a:pt x="20871" y="18785"/>
                  </a:cubicBezTo>
                  <a:cubicBezTo>
                    <a:pt x="20871" y="19106"/>
                    <a:pt x="20901" y="19292"/>
                    <a:pt x="20963" y="19344"/>
                  </a:cubicBezTo>
                  <a:cubicBezTo>
                    <a:pt x="21018" y="19408"/>
                    <a:pt x="21073" y="19543"/>
                    <a:pt x="21128" y="19749"/>
                  </a:cubicBezTo>
                  <a:cubicBezTo>
                    <a:pt x="21203" y="20006"/>
                    <a:pt x="21251" y="20173"/>
                    <a:pt x="21271" y="20250"/>
                  </a:cubicBezTo>
                  <a:cubicBezTo>
                    <a:pt x="21360" y="20430"/>
                    <a:pt x="21446" y="20732"/>
                    <a:pt x="21528" y="21157"/>
                  </a:cubicBezTo>
                  <a:cubicBezTo>
                    <a:pt x="21549" y="21247"/>
                    <a:pt x="21573" y="21330"/>
                    <a:pt x="21600" y="21407"/>
                  </a:cubicBezTo>
                  <a:cubicBezTo>
                    <a:pt x="17613" y="21600"/>
                    <a:pt x="13588" y="21395"/>
                    <a:pt x="9526" y="20790"/>
                  </a:cubicBezTo>
                  <a:cubicBezTo>
                    <a:pt x="8265" y="20597"/>
                    <a:pt x="7073" y="20373"/>
                    <a:pt x="5950" y="20115"/>
                  </a:cubicBezTo>
                  <a:lnTo>
                    <a:pt x="4645" y="19807"/>
                  </a:lnTo>
                  <a:lnTo>
                    <a:pt x="4861" y="13616"/>
                  </a:lnTo>
                  <a:cubicBezTo>
                    <a:pt x="4176" y="13629"/>
                    <a:pt x="2555" y="13391"/>
                    <a:pt x="0" y="12902"/>
                  </a:cubicBezTo>
                  <a:cubicBezTo>
                    <a:pt x="41" y="11450"/>
                    <a:pt x="233" y="7149"/>
                    <a:pt x="576" y="0"/>
                  </a:cubicBezTo>
                  <a:close/>
                  <a:moveTo>
                    <a:pt x="576"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0" name="AutoShape 187"/>
            <p:cNvSpPr>
              <a:spLocks/>
            </p:cNvSpPr>
            <p:nvPr/>
          </p:nvSpPr>
          <p:spPr bwMode="auto">
            <a:xfrm>
              <a:off x="5922860" y="4310732"/>
              <a:ext cx="295582" cy="383389"/>
            </a:xfrm>
            <a:custGeom>
              <a:avLst/>
              <a:gdLst/>
              <a:ahLst/>
              <a:cxnLst/>
              <a:rect l="0" t="0" r="r" b="b"/>
              <a:pathLst>
                <a:path w="21600" h="21600">
                  <a:moveTo>
                    <a:pt x="15265" y="1516"/>
                  </a:moveTo>
                  <a:lnTo>
                    <a:pt x="14460" y="5216"/>
                  </a:lnTo>
                  <a:lnTo>
                    <a:pt x="16398" y="5561"/>
                  </a:lnTo>
                  <a:cubicBezTo>
                    <a:pt x="18057" y="5836"/>
                    <a:pt x="19791" y="6085"/>
                    <a:pt x="21600" y="6308"/>
                  </a:cubicBezTo>
                  <a:cubicBezTo>
                    <a:pt x="20537" y="12083"/>
                    <a:pt x="19602" y="17180"/>
                    <a:pt x="18798" y="21600"/>
                  </a:cubicBezTo>
                  <a:cubicBezTo>
                    <a:pt x="18271" y="21546"/>
                    <a:pt x="17754" y="21493"/>
                    <a:pt x="17247" y="21439"/>
                  </a:cubicBezTo>
                  <a:cubicBezTo>
                    <a:pt x="9098" y="20451"/>
                    <a:pt x="3349" y="19574"/>
                    <a:pt x="0" y="18808"/>
                  </a:cubicBezTo>
                  <a:lnTo>
                    <a:pt x="4904" y="0"/>
                  </a:lnTo>
                  <a:lnTo>
                    <a:pt x="6783" y="310"/>
                  </a:lnTo>
                  <a:cubicBezTo>
                    <a:pt x="11285" y="1015"/>
                    <a:pt x="14112" y="1417"/>
                    <a:pt x="15265" y="1516"/>
                  </a:cubicBezTo>
                  <a:close/>
                  <a:moveTo>
                    <a:pt x="15265" y="151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1" name="AutoShape 188"/>
            <p:cNvSpPr>
              <a:spLocks/>
            </p:cNvSpPr>
            <p:nvPr/>
          </p:nvSpPr>
          <p:spPr bwMode="auto">
            <a:xfrm>
              <a:off x="7670825" y="5417505"/>
              <a:ext cx="9700" cy="4084"/>
            </a:xfrm>
            <a:custGeom>
              <a:avLst/>
              <a:gdLst/>
              <a:ahLst/>
              <a:cxnLst/>
              <a:rect l="0" t="0" r="r" b="b"/>
              <a:pathLst>
                <a:path w="21321" h="21009">
                  <a:moveTo>
                    <a:pt x="19102" y="7323"/>
                  </a:moveTo>
                  <a:cubicBezTo>
                    <a:pt x="19691" y="9409"/>
                    <a:pt x="20437" y="11168"/>
                    <a:pt x="21321" y="12559"/>
                  </a:cubicBezTo>
                  <a:cubicBezTo>
                    <a:pt x="21321" y="18818"/>
                    <a:pt x="18079" y="21600"/>
                    <a:pt x="11561" y="20905"/>
                  </a:cubicBezTo>
                  <a:cubicBezTo>
                    <a:pt x="3569" y="17427"/>
                    <a:pt x="-279" y="12559"/>
                    <a:pt x="16" y="6259"/>
                  </a:cubicBezTo>
                  <a:cubicBezTo>
                    <a:pt x="16" y="2086"/>
                    <a:pt x="1056" y="0"/>
                    <a:pt x="3136" y="0"/>
                  </a:cubicBezTo>
                  <a:cubicBezTo>
                    <a:pt x="4315" y="0"/>
                    <a:pt x="5788" y="1391"/>
                    <a:pt x="7574" y="4173"/>
                  </a:cubicBezTo>
                  <a:cubicBezTo>
                    <a:pt x="9047" y="6259"/>
                    <a:pt x="10521" y="7323"/>
                    <a:pt x="12012" y="7323"/>
                  </a:cubicBezTo>
                  <a:cubicBezTo>
                    <a:pt x="12601" y="7323"/>
                    <a:pt x="14231" y="6627"/>
                    <a:pt x="16883" y="5236"/>
                  </a:cubicBezTo>
                  <a:cubicBezTo>
                    <a:pt x="18374" y="5932"/>
                    <a:pt x="19102" y="6627"/>
                    <a:pt x="19102" y="7323"/>
                  </a:cubicBezTo>
                  <a:close/>
                  <a:moveTo>
                    <a:pt x="19102" y="732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2" name="AutoShape 189"/>
            <p:cNvSpPr>
              <a:spLocks/>
            </p:cNvSpPr>
            <p:nvPr/>
          </p:nvSpPr>
          <p:spPr bwMode="auto">
            <a:xfrm>
              <a:off x="7478875" y="5213303"/>
              <a:ext cx="22462" cy="14294"/>
            </a:xfrm>
            <a:custGeom>
              <a:avLst/>
              <a:gdLst/>
              <a:ahLst/>
              <a:cxnLst/>
              <a:rect l="0" t="0" r="r" b="b"/>
              <a:pathLst>
                <a:path w="21600" h="21410">
                  <a:moveTo>
                    <a:pt x="21009" y="13"/>
                  </a:moveTo>
                  <a:cubicBezTo>
                    <a:pt x="21408" y="13"/>
                    <a:pt x="21600" y="112"/>
                    <a:pt x="21600" y="309"/>
                  </a:cubicBezTo>
                  <a:cubicBezTo>
                    <a:pt x="20948" y="3086"/>
                    <a:pt x="18003" y="7343"/>
                    <a:pt x="12764" y="13081"/>
                  </a:cubicBezTo>
                  <a:cubicBezTo>
                    <a:pt x="7264" y="18634"/>
                    <a:pt x="3605" y="21410"/>
                    <a:pt x="1772" y="21410"/>
                  </a:cubicBezTo>
                  <a:cubicBezTo>
                    <a:pt x="591" y="21410"/>
                    <a:pt x="0" y="21015"/>
                    <a:pt x="0" y="20219"/>
                  </a:cubicBezTo>
                  <a:cubicBezTo>
                    <a:pt x="130" y="18634"/>
                    <a:pt x="1243" y="17246"/>
                    <a:pt x="3337" y="16055"/>
                  </a:cubicBezTo>
                  <a:cubicBezTo>
                    <a:pt x="4518" y="15265"/>
                    <a:pt x="5569" y="14771"/>
                    <a:pt x="6482" y="14568"/>
                  </a:cubicBezTo>
                  <a:lnTo>
                    <a:pt x="7463" y="14568"/>
                  </a:lnTo>
                  <a:cubicBezTo>
                    <a:pt x="10079" y="13383"/>
                    <a:pt x="12833" y="10712"/>
                    <a:pt x="15709" y="6547"/>
                  </a:cubicBezTo>
                  <a:cubicBezTo>
                    <a:pt x="18724" y="1994"/>
                    <a:pt x="20488" y="-190"/>
                    <a:pt x="21009" y="13"/>
                  </a:cubicBezTo>
                  <a:close/>
                  <a:moveTo>
                    <a:pt x="21009" y="1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3" name="AutoShape 190"/>
            <p:cNvSpPr>
              <a:spLocks/>
            </p:cNvSpPr>
            <p:nvPr/>
          </p:nvSpPr>
          <p:spPr bwMode="auto">
            <a:xfrm>
              <a:off x="7768842" y="5515521"/>
              <a:ext cx="2553" cy="2553"/>
            </a:xfrm>
            <a:custGeom>
              <a:avLst/>
              <a:gdLst/>
              <a:ahLst/>
              <a:cxnLst/>
              <a:rect l="0" t="0" r="r" b="b"/>
              <a:pathLst>
                <a:path w="21600" h="20597">
                  <a:moveTo>
                    <a:pt x="21600" y="1001"/>
                  </a:moveTo>
                  <a:lnTo>
                    <a:pt x="21600" y="7042"/>
                  </a:lnTo>
                  <a:cubicBezTo>
                    <a:pt x="16086" y="16088"/>
                    <a:pt x="11092" y="20597"/>
                    <a:pt x="6616" y="20597"/>
                  </a:cubicBezTo>
                  <a:cubicBezTo>
                    <a:pt x="5514" y="20597"/>
                    <a:pt x="4411" y="19595"/>
                    <a:pt x="3308" y="17591"/>
                  </a:cubicBezTo>
                  <a:cubicBezTo>
                    <a:pt x="1103" y="16589"/>
                    <a:pt x="0" y="15558"/>
                    <a:pt x="0" y="14556"/>
                  </a:cubicBezTo>
                  <a:cubicBezTo>
                    <a:pt x="0" y="11550"/>
                    <a:pt x="2205" y="8044"/>
                    <a:pt x="6616" y="4036"/>
                  </a:cubicBezTo>
                  <a:cubicBezTo>
                    <a:pt x="12195" y="-1"/>
                    <a:pt x="17189" y="-1003"/>
                    <a:pt x="21600" y="1001"/>
                  </a:cubicBezTo>
                  <a:close/>
                  <a:moveTo>
                    <a:pt x="21600" y="100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4" name="AutoShape 191"/>
            <p:cNvSpPr>
              <a:spLocks/>
            </p:cNvSpPr>
            <p:nvPr/>
          </p:nvSpPr>
          <p:spPr bwMode="auto">
            <a:xfrm>
              <a:off x="7736169" y="5527774"/>
              <a:ext cx="5105" cy="6126"/>
            </a:xfrm>
            <a:custGeom>
              <a:avLst/>
              <a:gdLst/>
              <a:ahLst/>
              <a:cxnLst/>
              <a:rect l="0" t="0" r="r" b="b"/>
              <a:pathLst>
                <a:path w="21600" h="21263">
                  <a:moveTo>
                    <a:pt x="20787" y="9920"/>
                  </a:moveTo>
                  <a:lnTo>
                    <a:pt x="21600" y="17862"/>
                  </a:lnTo>
                  <a:cubicBezTo>
                    <a:pt x="21600" y="20514"/>
                    <a:pt x="20256" y="21600"/>
                    <a:pt x="17599" y="21173"/>
                  </a:cubicBezTo>
                  <a:cubicBezTo>
                    <a:pt x="5877" y="12792"/>
                    <a:pt x="0" y="6829"/>
                    <a:pt x="0" y="3311"/>
                  </a:cubicBezTo>
                  <a:cubicBezTo>
                    <a:pt x="1063" y="1099"/>
                    <a:pt x="2407" y="0"/>
                    <a:pt x="4001" y="0"/>
                  </a:cubicBezTo>
                  <a:cubicBezTo>
                    <a:pt x="7190" y="0"/>
                    <a:pt x="9597" y="1099"/>
                    <a:pt x="11191" y="3311"/>
                  </a:cubicBezTo>
                  <a:cubicBezTo>
                    <a:pt x="16005" y="6377"/>
                    <a:pt x="19193" y="8588"/>
                    <a:pt x="20787" y="9920"/>
                  </a:cubicBezTo>
                  <a:close/>
                  <a:moveTo>
                    <a:pt x="20787" y="992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5" name="AutoShape 192"/>
            <p:cNvSpPr>
              <a:spLocks/>
            </p:cNvSpPr>
            <p:nvPr/>
          </p:nvSpPr>
          <p:spPr bwMode="auto">
            <a:xfrm>
              <a:off x="7711665" y="5535942"/>
              <a:ext cx="20420" cy="10721"/>
            </a:xfrm>
            <a:custGeom>
              <a:avLst/>
              <a:gdLst/>
              <a:ahLst/>
              <a:cxnLst/>
              <a:rect l="0" t="0" r="r" b="b"/>
              <a:pathLst>
                <a:path w="21482" h="21600">
                  <a:moveTo>
                    <a:pt x="16808" y="5104"/>
                  </a:moveTo>
                  <a:cubicBezTo>
                    <a:pt x="19216" y="1704"/>
                    <a:pt x="20569" y="0"/>
                    <a:pt x="20851" y="0"/>
                  </a:cubicBezTo>
                  <a:cubicBezTo>
                    <a:pt x="21274" y="0"/>
                    <a:pt x="21482" y="391"/>
                    <a:pt x="21482" y="1182"/>
                  </a:cubicBezTo>
                  <a:cubicBezTo>
                    <a:pt x="21482" y="1965"/>
                    <a:pt x="21341" y="3270"/>
                    <a:pt x="21059" y="5104"/>
                  </a:cubicBezTo>
                  <a:cubicBezTo>
                    <a:pt x="20918" y="5887"/>
                    <a:pt x="20776" y="6540"/>
                    <a:pt x="20635" y="7070"/>
                  </a:cubicBezTo>
                  <a:cubicBezTo>
                    <a:pt x="20353" y="9165"/>
                    <a:pt x="19647" y="10608"/>
                    <a:pt x="18510" y="11391"/>
                  </a:cubicBezTo>
                  <a:cubicBezTo>
                    <a:pt x="16385" y="12696"/>
                    <a:pt x="14683" y="13870"/>
                    <a:pt x="13413" y="14922"/>
                  </a:cubicBezTo>
                  <a:cubicBezTo>
                    <a:pt x="6755" y="19374"/>
                    <a:pt x="2787" y="21600"/>
                    <a:pt x="1509" y="21600"/>
                  </a:cubicBezTo>
                  <a:cubicBezTo>
                    <a:pt x="380" y="21600"/>
                    <a:pt x="-118" y="21078"/>
                    <a:pt x="23" y="20026"/>
                  </a:cubicBezTo>
                  <a:cubicBezTo>
                    <a:pt x="1152" y="17409"/>
                    <a:pt x="2854" y="16096"/>
                    <a:pt x="5120" y="16096"/>
                  </a:cubicBezTo>
                  <a:cubicBezTo>
                    <a:pt x="5543" y="16096"/>
                    <a:pt x="6465" y="15444"/>
                    <a:pt x="7884" y="14131"/>
                  </a:cubicBezTo>
                  <a:cubicBezTo>
                    <a:pt x="9586" y="12573"/>
                    <a:pt x="10649" y="11652"/>
                    <a:pt x="11072" y="11391"/>
                  </a:cubicBezTo>
                  <a:cubicBezTo>
                    <a:pt x="12209" y="10869"/>
                    <a:pt x="14119" y="8774"/>
                    <a:pt x="16808" y="5104"/>
                  </a:cubicBezTo>
                  <a:close/>
                  <a:moveTo>
                    <a:pt x="16808" y="510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6" name="AutoShape 193"/>
            <p:cNvSpPr>
              <a:spLocks/>
            </p:cNvSpPr>
            <p:nvPr/>
          </p:nvSpPr>
          <p:spPr bwMode="auto">
            <a:xfrm>
              <a:off x="7756590" y="5519605"/>
              <a:ext cx="7147" cy="6126"/>
            </a:xfrm>
            <a:custGeom>
              <a:avLst/>
              <a:gdLst/>
              <a:ahLst/>
              <a:cxnLst/>
              <a:rect l="0" t="0" r="r" b="b"/>
              <a:pathLst>
                <a:path w="21600" h="20529">
                  <a:moveTo>
                    <a:pt x="0" y="17549"/>
                  </a:moveTo>
                  <a:cubicBezTo>
                    <a:pt x="422" y="16203"/>
                    <a:pt x="1616" y="14620"/>
                    <a:pt x="3608" y="12839"/>
                  </a:cubicBezTo>
                  <a:cubicBezTo>
                    <a:pt x="5997" y="11018"/>
                    <a:pt x="7801" y="9909"/>
                    <a:pt x="8996" y="9461"/>
                  </a:cubicBezTo>
                  <a:cubicBezTo>
                    <a:pt x="10613" y="8102"/>
                    <a:pt x="11995" y="6083"/>
                    <a:pt x="13213" y="3378"/>
                  </a:cubicBezTo>
                  <a:cubicBezTo>
                    <a:pt x="14010" y="1583"/>
                    <a:pt x="15415" y="449"/>
                    <a:pt x="17407" y="0"/>
                  </a:cubicBezTo>
                  <a:cubicBezTo>
                    <a:pt x="20194" y="449"/>
                    <a:pt x="21600" y="1583"/>
                    <a:pt x="21600" y="3378"/>
                  </a:cubicBezTo>
                  <a:cubicBezTo>
                    <a:pt x="21600" y="5172"/>
                    <a:pt x="20991" y="6531"/>
                    <a:pt x="19796" y="7429"/>
                  </a:cubicBezTo>
                  <a:cubicBezTo>
                    <a:pt x="19000" y="7877"/>
                    <a:pt x="18601" y="8550"/>
                    <a:pt x="18601" y="9461"/>
                  </a:cubicBezTo>
                  <a:cubicBezTo>
                    <a:pt x="10613" y="17998"/>
                    <a:pt x="4404" y="21600"/>
                    <a:pt x="0" y="20254"/>
                  </a:cubicBezTo>
                  <a:cubicBezTo>
                    <a:pt x="0" y="20254"/>
                    <a:pt x="0" y="17549"/>
                    <a:pt x="0" y="17549"/>
                  </a:cubicBezTo>
                  <a:close/>
                  <a:moveTo>
                    <a:pt x="0" y="1754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7" name="AutoShape 194"/>
            <p:cNvSpPr>
              <a:spLocks/>
            </p:cNvSpPr>
            <p:nvPr/>
          </p:nvSpPr>
          <p:spPr bwMode="auto">
            <a:xfrm>
              <a:off x="7772926" y="5511437"/>
              <a:ext cx="4595" cy="6126"/>
            </a:xfrm>
            <a:custGeom>
              <a:avLst/>
              <a:gdLst/>
              <a:ahLst/>
              <a:cxnLst/>
              <a:rect l="0" t="0" r="r" b="b"/>
              <a:pathLst>
                <a:path w="21600" h="21600">
                  <a:moveTo>
                    <a:pt x="15036" y="0"/>
                  </a:moveTo>
                  <a:lnTo>
                    <a:pt x="21600" y="0"/>
                  </a:lnTo>
                  <a:lnTo>
                    <a:pt x="20647" y="7654"/>
                  </a:lnTo>
                  <a:cubicBezTo>
                    <a:pt x="18153" y="9043"/>
                    <a:pt x="15952" y="10909"/>
                    <a:pt x="14082" y="13238"/>
                  </a:cubicBezTo>
                  <a:cubicBezTo>
                    <a:pt x="12835" y="15553"/>
                    <a:pt x="11588" y="17419"/>
                    <a:pt x="10342" y="18808"/>
                  </a:cubicBezTo>
                  <a:cubicBezTo>
                    <a:pt x="10342" y="19748"/>
                    <a:pt x="9388" y="20674"/>
                    <a:pt x="7518" y="21600"/>
                  </a:cubicBezTo>
                  <a:lnTo>
                    <a:pt x="0" y="21600"/>
                  </a:lnTo>
                  <a:cubicBezTo>
                    <a:pt x="2494" y="13701"/>
                    <a:pt x="7518" y="6510"/>
                    <a:pt x="15036" y="0"/>
                  </a:cubicBezTo>
                  <a:close/>
                  <a:moveTo>
                    <a:pt x="15036"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8" name="AutoShape 195"/>
            <p:cNvSpPr>
              <a:spLocks/>
            </p:cNvSpPr>
            <p:nvPr/>
          </p:nvSpPr>
          <p:spPr bwMode="auto">
            <a:xfrm>
              <a:off x="7797430" y="5466513"/>
              <a:ext cx="4084" cy="6126"/>
            </a:xfrm>
            <a:custGeom>
              <a:avLst/>
              <a:gdLst/>
              <a:ahLst/>
              <a:cxnLst/>
              <a:rect l="0" t="0" r="r" b="b"/>
              <a:pathLst>
                <a:path w="21600" h="21232">
                  <a:moveTo>
                    <a:pt x="10781" y="0"/>
                  </a:moveTo>
                  <a:lnTo>
                    <a:pt x="18646" y="0"/>
                  </a:lnTo>
                  <a:lnTo>
                    <a:pt x="21600" y="10559"/>
                  </a:lnTo>
                  <a:cubicBezTo>
                    <a:pt x="20948" y="13381"/>
                    <a:pt x="20296" y="15501"/>
                    <a:pt x="19643" y="16906"/>
                  </a:cubicBezTo>
                  <a:cubicBezTo>
                    <a:pt x="18339" y="19728"/>
                    <a:pt x="15039" y="21132"/>
                    <a:pt x="9822" y="21132"/>
                  </a:cubicBezTo>
                  <a:cubicBezTo>
                    <a:pt x="7827" y="21600"/>
                    <a:pt x="5563" y="20430"/>
                    <a:pt x="2916" y="17608"/>
                  </a:cubicBezTo>
                  <a:cubicBezTo>
                    <a:pt x="959" y="15267"/>
                    <a:pt x="0" y="12913"/>
                    <a:pt x="0" y="10559"/>
                  </a:cubicBezTo>
                  <a:cubicBezTo>
                    <a:pt x="0" y="3992"/>
                    <a:pt x="3606" y="468"/>
                    <a:pt x="10781" y="0"/>
                  </a:cubicBezTo>
                  <a:close/>
                  <a:moveTo>
                    <a:pt x="10781"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19" name="AutoShape 196"/>
            <p:cNvSpPr>
              <a:spLocks/>
            </p:cNvSpPr>
            <p:nvPr/>
          </p:nvSpPr>
          <p:spPr bwMode="auto">
            <a:xfrm>
              <a:off x="7164405" y="4727303"/>
              <a:ext cx="444649" cy="152130"/>
            </a:xfrm>
            <a:custGeom>
              <a:avLst/>
              <a:gdLst/>
              <a:ahLst/>
              <a:cxnLst/>
              <a:rect l="0" t="0" r="r" b="b"/>
              <a:pathLst>
                <a:path w="21600" h="21600">
                  <a:moveTo>
                    <a:pt x="10949" y="3556"/>
                  </a:moveTo>
                  <a:lnTo>
                    <a:pt x="5335" y="4481"/>
                  </a:lnTo>
                  <a:lnTo>
                    <a:pt x="5484" y="6274"/>
                  </a:lnTo>
                  <a:cubicBezTo>
                    <a:pt x="4882" y="6409"/>
                    <a:pt x="4271" y="6544"/>
                    <a:pt x="3649" y="6679"/>
                  </a:cubicBezTo>
                  <a:cubicBezTo>
                    <a:pt x="2400" y="6930"/>
                    <a:pt x="1722" y="7046"/>
                    <a:pt x="1616" y="7026"/>
                  </a:cubicBezTo>
                  <a:lnTo>
                    <a:pt x="1200" y="11827"/>
                  </a:lnTo>
                  <a:cubicBezTo>
                    <a:pt x="1200" y="11846"/>
                    <a:pt x="1200" y="11884"/>
                    <a:pt x="1200" y="11941"/>
                  </a:cubicBezTo>
                  <a:cubicBezTo>
                    <a:pt x="1200" y="12000"/>
                    <a:pt x="1216" y="12135"/>
                    <a:pt x="1249" y="12347"/>
                  </a:cubicBezTo>
                  <a:cubicBezTo>
                    <a:pt x="1269" y="12598"/>
                    <a:pt x="1279" y="12752"/>
                    <a:pt x="1279" y="12809"/>
                  </a:cubicBezTo>
                  <a:cubicBezTo>
                    <a:pt x="1279" y="13002"/>
                    <a:pt x="1220" y="13320"/>
                    <a:pt x="1101" y="13764"/>
                  </a:cubicBezTo>
                  <a:cubicBezTo>
                    <a:pt x="995" y="14169"/>
                    <a:pt x="896" y="14458"/>
                    <a:pt x="803" y="14631"/>
                  </a:cubicBezTo>
                  <a:cubicBezTo>
                    <a:pt x="783" y="14747"/>
                    <a:pt x="770" y="14843"/>
                    <a:pt x="764" y="14921"/>
                  </a:cubicBezTo>
                  <a:cubicBezTo>
                    <a:pt x="764" y="14998"/>
                    <a:pt x="777" y="15122"/>
                    <a:pt x="803" y="15296"/>
                  </a:cubicBezTo>
                  <a:cubicBezTo>
                    <a:pt x="830" y="15431"/>
                    <a:pt x="843" y="15547"/>
                    <a:pt x="843" y="15643"/>
                  </a:cubicBezTo>
                  <a:cubicBezTo>
                    <a:pt x="843" y="15798"/>
                    <a:pt x="783" y="15971"/>
                    <a:pt x="664" y="16164"/>
                  </a:cubicBezTo>
                  <a:cubicBezTo>
                    <a:pt x="539" y="16376"/>
                    <a:pt x="473" y="16559"/>
                    <a:pt x="466" y="16713"/>
                  </a:cubicBezTo>
                  <a:cubicBezTo>
                    <a:pt x="446" y="17041"/>
                    <a:pt x="380" y="17263"/>
                    <a:pt x="268" y="17379"/>
                  </a:cubicBezTo>
                  <a:cubicBezTo>
                    <a:pt x="175" y="17475"/>
                    <a:pt x="129" y="17648"/>
                    <a:pt x="129" y="17899"/>
                  </a:cubicBezTo>
                  <a:cubicBezTo>
                    <a:pt x="129" y="18073"/>
                    <a:pt x="178" y="18371"/>
                    <a:pt x="277" y="18796"/>
                  </a:cubicBezTo>
                  <a:cubicBezTo>
                    <a:pt x="397" y="19277"/>
                    <a:pt x="453" y="19586"/>
                    <a:pt x="446" y="19721"/>
                  </a:cubicBezTo>
                  <a:cubicBezTo>
                    <a:pt x="446" y="19933"/>
                    <a:pt x="390" y="20212"/>
                    <a:pt x="277" y="20559"/>
                  </a:cubicBezTo>
                  <a:cubicBezTo>
                    <a:pt x="126" y="21022"/>
                    <a:pt x="50" y="21273"/>
                    <a:pt x="50" y="21311"/>
                  </a:cubicBezTo>
                  <a:cubicBezTo>
                    <a:pt x="29" y="21369"/>
                    <a:pt x="13" y="21465"/>
                    <a:pt x="0" y="21600"/>
                  </a:cubicBezTo>
                  <a:lnTo>
                    <a:pt x="5425" y="20935"/>
                  </a:lnTo>
                  <a:lnTo>
                    <a:pt x="5425" y="20704"/>
                  </a:lnTo>
                  <a:cubicBezTo>
                    <a:pt x="5464" y="20569"/>
                    <a:pt x="5554" y="20482"/>
                    <a:pt x="5692" y="20444"/>
                  </a:cubicBezTo>
                  <a:cubicBezTo>
                    <a:pt x="6155" y="20386"/>
                    <a:pt x="7134" y="20222"/>
                    <a:pt x="8628" y="19952"/>
                  </a:cubicBezTo>
                  <a:cubicBezTo>
                    <a:pt x="10486" y="19605"/>
                    <a:pt x="11603" y="19354"/>
                    <a:pt x="11980" y="19200"/>
                  </a:cubicBezTo>
                  <a:lnTo>
                    <a:pt x="12070" y="19171"/>
                  </a:lnTo>
                  <a:lnTo>
                    <a:pt x="15441" y="18130"/>
                  </a:lnTo>
                  <a:cubicBezTo>
                    <a:pt x="15441" y="17822"/>
                    <a:pt x="15441" y="17503"/>
                    <a:pt x="15441" y="17176"/>
                  </a:cubicBezTo>
                  <a:cubicBezTo>
                    <a:pt x="15441" y="16521"/>
                    <a:pt x="15451" y="16135"/>
                    <a:pt x="15471" y="16019"/>
                  </a:cubicBezTo>
                  <a:cubicBezTo>
                    <a:pt x="15537" y="15672"/>
                    <a:pt x="15663" y="15431"/>
                    <a:pt x="15848" y="15296"/>
                  </a:cubicBezTo>
                  <a:cubicBezTo>
                    <a:pt x="16046" y="15161"/>
                    <a:pt x="16142" y="14853"/>
                    <a:pt x="16136" y="14371"/>
                  </a:cubicBezTo>
                  <a:cubicBezTo>
                    <a:pt x="16129" y="14159"/>
                    <a:pt x="16152" y="13908"/>
                    <a:pt x="16205" y="13619"/>
                  </a:cubicBezTo>
                  <a:cubicBezTo>
                    <a:pt x="16252" y="13349"/>
                    <a:pt x="16311" y="13108"/>
                    <a:pt x="16384" y="12896"/>
                  </a:cubicBezTo>
                  <a:cubicBezTo>
                    <a:pt x="16589" y="12356"/>
                    <a:pt x="16754" y="12038"/>
                    <a:pt x="16880" y="11941"/>
                  </a:cubicBezTo>
                  <a:cubicBezTo>
                    <a:pt x="17005" y="11846"/>
                    <a:pt x="17164" y="11846"/>
                    <a:pt x="17356" y="11941"/>
                  </a:cubicBezTo>
                  <a:lnTo>
                    <a:pt x="17851" y="10438"/>
                  </a:lnTo>
                  <a:cubicBezTo>
                    <a:pt x="18063" y="9860"/>
                    <a:pt x="18278" y="9484"/>
                    <a:pt x="18496" y="9310"/>
                  </a:cubicBezTo>
                  <a:cubicBezTo>
                    <a:pt x="18674" y="9156"/>
                    <a:pt x="18760" y="8896"/>
                    <a:pt x="18754" y="8530"/>
                  </a:cubicBezTo>
                  <a:cubicBezTo>
                    <a:pt x="18754" y="8356"/>
                    <a:pt x="18767" y="8163"/>
                    <a:pt x="18794" y="7952"/>
                  </a:cubicBezTo>
                  <a:cubicBezTo>
                    <a:pt x="18813" y="7682"/>
                    <a:pt x="18840" y="7527"/>
                    <a:pt x="18873" y="7489"/>
                  </a:cubicBezTo>
                  <a:cubicBezTo>
                    <a:pt x="18919" y="7392"/>
                    <a:pt x="18989" y="7421"/>
                    <a:pt x="19081" y="7575"/>
                  </a:cubicBezTo>
                  <a:cubicBezTo>
                    <a:pt x="19094" y="7402"/>
                    <a:pt x="19111" y="7238"/>
                    <a:pt x="19131" y="7084"/>
                  </a:cubicBezTo>
                  <a:cubicBezTo>
                    <a:pt x="19170" y="6737"/>
                    <a:pt x="19220" y="6544"/>
                    <a:pt x="19279" y="6505"/>
                  </a:cubicBezTo>
                  <a:cubicBezTo>
                    <a:pt x="19346" y="6429"/>
                    <a:pt x="19405" y="6438"/>
                    <a:pt x="19458" y="6534"/>
                  </a:cubicBezTo>
                  <a:cubicBezTo>
                    <a:pt x="19511" y="6612"/>
                    <a:pt x="19541" y="6717"/>
                    <a:pt x="19547" y="6852"/>
                  </a:cubicBezTo>
                  <a:cubicBezTo>
                    <a:pt x="19560" y="7026"/>
                    <a:pt x="19594" y="7132"/>
                    <a:pt x="19646" y="7171"/>
                  </a:cubicBezTo>
                  <a:cubicBezTo>
                    <a:pt x="19693" y="7190"/>
                    <a:pt x="19739" y="7132"/>
                    <a:pt x="19785" y="6997"/>
                  </a:cubicBezTo>
                  <a:cubicBezTo>
                    <a:pt x="19805" y="6939"/>
                    <a:pt x="19851" y="6717"/>
                    <a:pt x="19924" y="6332"/>
                  </a:cubicBezTo>
                  <a:cubicBezTo>
                    <a:pt x="19977" y="6004"/>
                    <a:pt x="20027" y="5773"/>
                    <a:pt x="20073" y="5638"/>
                  </a:cubicBezTo>
                  <a:cubicBezTo>
                    <a:pt x="20152" y="5426"/>
                    <a:pt x="20241" y="5252"/>
                    <a:pt x="20341" y="5117"/>
                  </a:cubicBezTo>
                  <a:cubicBezTo>
                    <a:pt x="20446" y="4925"/>
                    <a:pt x="20519" y="4828"/>
                    <a:pt x="20559" y="4828"/>
                  </a:cubicBezTo>
                  <a:cubicBezTo>
                    <a:pt x="20585" y="4847"/>
                    <a:pt x="20615" y="4992"/>
                    <a:pt x="20648" y="5262"/>
                  </a:cubicBezTo>
                  <a:cubicBezTo>
                    <a:pt x="20681" y="5455"/>
                    <a:pt x="20717" y="5494"/>
                    <a:pt x="20757" y="5378"/>
                  </a:cubicBezTo>
                  <a:cubicBezTo>
                    <a:pt x="20810" y="5262"/>
                    <a:pt x="20876" y="4963"/>
                    <a:pt x="20955" y="4481"/>
                  </a:cubicBezTo>
                  <a:cubicBezTo>
                    <a:pt x="21002" y="4173"/>
                    <a:pt x="21038" y="3922"/>
                    <a:pt x="21065" y="3730"/>
                  </a:cubicBezTo>
                  <a:cubicBezTo>
                    <a:pt x="21104" y="3382"/>
                    <a:pt x="21151" y="3161"/>
                    <a:pt x="21203" y="3064"/>
                  </a:cubicBezTo>
                  <a:cubicBezTo>
                    <a:pt x="21302" y="2910"/>
                    <a:pt x="21412" y="2708"/>
                    <a:pt x="21531" y="2457"/>
                  </a:cubicBezTo>
                  <a:lnTo>
                    <a:pt x="21600" y="2342"/>
                  </a:lnTo>
                  <a:lnTo>
                    <a:pt x="21580" y="0"/>
                  </a:lnTo>
                  <a:lnTo>
                    <a:pt x="16453" y="2110"/>
                  </a:lnTo>
                  <a:cubicBezTo>
                    <a:pt x="13769" y="2862"/>
                    <a:pt x="11934" y="3344"/>
                    <a:pt x="10949" y="3556"/>
                  </a:cubicBezTo>
                  <a:close/>
                  <a:moveTo>
                    <a:pt x="10949" y="355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20" name="AutoShape 197"/>
            <p:cNvSpPr>
              <a:spLocks/>
            </p:cNvSpPr>
            <p:nvPr/>
          </p:nvSpPr>
          <p:spPr bwMode="auto">
            <a:xfrm>
              <a:off x="7503380" y="4510850"/>
              <a:ext cx="409424" cy="232790"/>
            </a:xfrm>
            <a:custGeom>
              <a:avLst/>
              <a:gdLst/>
              <a:ahLst/>
              <a:cxnLst/>
              <a:rect l="0" t="0" r="r" b="b"/>
              <a:pathLst>
                <a:path w="21600" h="21588">
                  <a:moveTo>
                    <a:pt x="21460" y="15148"/>
                  </a:moveTo>
                  <a:cubicBezTo>
                    <a:pt x="21403" y="14783"/>
                    <a:pt x="21356" y="14512"/>
                    <a:pt x="21320" y="14336"/>
                  </a:cubicBezTo>
                  <a:cubicBezTo>
                    <a:pt x="21256" y="14109"/>
                    <a:pt x="21188" y="13971"/>
                    <a:pt x="21116" y="13920"/>
                  </a:cubicBezTo>
                  <a:cubicBezTo>
                    <a:pt x="21109" y="13908"/>
                    <a:pt x="21101" y="13895"/>
                    <a:pt x="21094" y="13882"/>
                  </a:cubicBezTo>
                  <a:cubicBezTo>
                    <a:pt x="21022" y="13769"/>
                    <a:pt x="20900" y="13681"/>
                    <a:pt x="20729" y="13618"/>
                  </a:cubicBezTo>
                  <a:cubicBezTo>
                    <a:pt x="20585" y="13555"/>
                    <a:pt x="20459" y="13517"/>
                    <a:pt x="20352" y="13505"/>
                  </a:cubicBezTo>
                  <a:cubicBezTo>
                    <a:pt x="20259" y="13505"/>
                    <a:pt x="20169" y="13593"/>
                    <a:pt x="20083" y="13769"/>
                  </a:cubicBezTo>
                  <a:cubicBezTo>
                    <a:pt x="20004" y="13945"/>
                    <a:pt x="19896" y="14033"/>
                    <a:pt x="19760" y="14033"/>
                  </a:cubicBezTo>
                  <a:cubicBezTo>
                    <a:pt x="19674" y="14021"/>
                    <a:pt x="19591" y="13964"/>
                    <a:pt x="19512" y="13864"/>
                  </a:cubicBezTo>
                  <a:cubicBezTo>
                    <a:pt x="19433" y="13737"/>
                    <a:pt x="19379" y="13581"/>
                    <a:pt x="19351" y="13392"/>
                  </a:cubicBezTo>
                  <a:cubicBezTo>
                    <a:pt x="19322" y="13215"/>
                    <a:pt x="19250" y="13058"/>
                    <a:pt x="19136" y="12919"/>
                  </a:cubicBezTo>
                  <a:cubicBezTo>
                    <a:pt x="18978" y="12806"/>
                    <a:pt x="18867" y="12717"/>
                    <a:pt x="18802" y="12655"/>
                  </a:cubicBezTo>
                  <a:cubicBezTo>
                    <a:pt x="18716" y="12566"/>
                    <a:pt x="18504" y="12516"/>
                    <a:pt x="18167" y="12504"/>
                  </a:cubicBezTo>
                  <a:cubicBezTo>
                    <a:pt x="17858" y="12491"/>
                    <a:pt x="17643" y="12378"/>
                    <a:pt x="17521" y="12164"/>
                  </a:cubicBezTo>
                  <a:lnTo>
                    <a:pt x="17521" y="12144"/>
                  </a:lnTo>
                  <a:lnTo>
                    <a:pt x="17833" y="12144"/>
                  </a:lnTo>
                  <a:cubicBezTo>
                    <a:pt x="18393" y="12170"/>
                    <a:pt x="18748" y="12271"/>
                    <a:pt x="18899" y="12447"/>
                  </a:cubicBezTo>
                  <a:cubicBezTo>
                    <a:pt x="18949" y="12485"/>
                    <a:pt x="19103" y="12692"/>
                    <a:pt x="19361" y="13070"/>
                  </a:cubicBezTo>
                  <a:cubicBezTo>
                    <a:pt x="19584" y="13398"/>
                    <a:pt x="19713" y="13561"/>
                    <a:pt x="19749" y="13561"/>
                  </a:cubicBezTo>
                  <a:cubicBezTo>
                    <a:pt x="19842" y="13561"/>
                    <a:pt x="19921" y="13517"/>
                    <a:pt x="19986" y="13429"/>
                  </a:cubicBezTo>
                  <a:cubicBezTo>
                    <a:pt x="20086" y="13341"/>
                    <a:pt x="20140" y="13196"/>
                    <a:pt x="20147" y="12995"/>
                  </a:cubicBezTo>
                  <a:cubicBezTo>
                    <a:pt x="20147" y="12831"/>
                    <a:pt x="20104" y="12717"/>
                    <a:pt x="20018" y="12655"/>
                  </a:cubicBezTo>
                  <a:cubicBezTo>
                    <a:pt x="19932" y="12566"/>
                    <a:pt x="19885" y="12460"/>
                    <a:pt x="19878" y="12333"/>
                  </a:cubicBezTo>
                  <a:cubicBezTo>
                    <a:pt x="19871" y="12132"/>
                    <a:pt x="19803" y="12032"/>
                    <a:pt x="19674" y="12032"/>
                  </a:cubicBezTo>
                  <a:cubicBezTo>
                    <a:pt x="19530" y="12070"/>
                    <a:pt x="19433" y="12075"/>
                    <a:pt x="19383" y="12050"/>
                  </a:cubicBezTo>
                  <a:cubicBezTo>
                    <a:pt x="19283" y="12000"/>
                    <a:pt x="19143" y="11849"/>
                    <a:pt x="18963" y="11597"/>
                  </a:cubicBezTo>
                  <a:cubicBezTo>
                    <a:pt x="18705" y="11194"/>
                    <a:pt x="18547" y="10961"/>
                    <a:pt x="18490" y="10898"/>
                  </a:cubicBezTo>
                  <a:lnTo>
                    <a:pt x="18490" y="10728"/>
                  </a:lnTo>
                  <a:lnTo>
                    <a:pt x="18554" y="10728"/>
                  </a:lnTo>
                  <a:cubicBezTo>
                    <a:pt x="18590" y="10804"/>
                    <a:pt x="18719" y="10986"/>
                    <a:pt x="18942" y="11276"/>
                  </a:cubicBezTo>
                  <a:cubicBezTo>
                    <a:pt x="19207" y="11591"/>
                    <a:pt x="19365" y="11748"/>
                    <a:pt x="19415" y="11748"/>
                  </a:cubicBezTo>
                  <a:cubicBezTo>
                    <a:pt x="19437" y="11748"/>
                    <a:pt x="19451" y="11748"/>
                    <a:pt x="19458" y="11748"/>
                  </a:cubicBezTo>
                  <a:lnTo>
                    <a:pt x="19491" y="11672"/>
                  </a:lnTo>
                  <a:cubicBezTo>
                    <a:pt x="19512" y="11660"/>
                    <a:pt x="19538" y="11641"/>
                    <a:pt x="19566" y="11616"/>
                  </a:cubicBezTo>
                  <a:cubicBezTo>
                    <a:pt x="19602" y="11591"/>
                    <a:pt x="19620" y="11565"/>
                    <a:pt x="19620" y="11540"/>
                  </a:cubicBezTo>
                  <a:cubicBezTo>
                    <a:pt x="19620" y="11503"/>
                    <a:pt x="19602" y="11433"/>
                    <a:pt x="19566" y="11333"/>
                  </a:cubicBezTo>
                  <a:lnTo>
                    <a:pt x="19501" y="11200"/>
                  </a:lnTo>
                  <a:cubicBezTo>
                    <a:pt x="19501" y="11150"/>
                    <a:pt x="19512" y="11099"/>
                    <a:pt x="19534" y="11049"/>
                  </a:cubicBezTo>
                  <a:cubicBezTo>
                    <a:pt x="19562" y="11012"/>
                    <a:pt x="19591" y="10993"/>
                    <a:pt x="19620" y="10993"/>
                  </a:cubicBezTo>
                  <a:cubicBezTo>
                    <a:pt x="19634" y="10993"/>
                    <a:pt x="19663" y="11031"/>
                    <a:pt x="19706" y="11106"/>
                  </a:cubicBezTo>
                  <a:cubicBezTo>
                    <a:pt x="19742" y="11181"/>
                    <a:pt x="19785" y="11219"/>
                    <a:pt x="19835" y="11219"/>
                  </a:cubicBezTo>
                  <a:cubicBezTo>
                    <a:pt x="19914" y="11219"/>
                    <a:pt x="19968" y="11194"/>
                    <a:pt x="19997" y="11144"/>
                  </a:cubicBezTo>
                  <a:cubicBezTo>
                    <a:pt x="20018" y="11093"/>
                    <a:pt x="20032" y="10999"/>
                    <a:pt x="20039" y="10861"/>
                  </a:cubicBezTo>
                  <a:cubicBezTo>
                    <a:pt x="20039" y="10634"/>
                    <a:pt x="20015" y="10483"/>
                    <a:pt x="19964" y="10407"/>
                  </a:cubicBezTo>
                  <a:cubicBezTo>
                    <a:pt x="19849" y="10231"/>
                    <a:pt x="19778" y="10111"/>
                    <a:pt x="19749" y="10048"/>
                  </a:cubicBezTo>
                  <a:cubicBezTo>
                    <a:pt x="19699" y="9897"/>
                    <a:pt x="19591" y="9803"/>
                    <a:pt x="19426" y="9765"/>
                  </a:cubicBezTo>
                  <a:cubicBezTo>
                    <a:pt x="19239" y="9715"/>
                    <a:pt x="19128" y="9683"/>
                    <a:pt x="19092" y="9670"/>
                  </a:cubicBezTo>
                  <a:lnTo>
                    <a:pt x="17984" y="8046"/>
                  </a:lnTo>
                  <a:lnTo>
                    <a:pt x="17984" y="7914"/>
                  </a:lnTo>
                  <a:lnTo>
                    <a:pt x="18027" y="7914"/>
                  </a:lnTo>
                  <a:cubicBezTo>
                    <a:pt x="18127" y="8040"/>
                    <a:pt x="18347" y="8336"/>
                    <a:pt x="18684" y="8802"/>
                  </a:cubicBezTo>
                  <a:cubicBezTo>
                    <a:pt x="19021" y="9204"/>
                    <a:pt x="19276" y="9406"/>
                    <a:pt x="19448" y="9406"/>
                  </a:cubicBezTo>
                  <a:cubicBezTo>
                    <a:pt x="19484" y="9406"/>
                    <a:pt x="19523" y="9337"/>
                    <a:pt x="19566" y="9198"/>
                  </a:cubicBezTo>
                  <a:cubicBezTo>
                    <a:pt x="19609" y="9085"/>
                    <a:pt x="19630" y="8959"/>
                    <a:pt x="19630" y="8821"/>
                  </a:cubicBezTo>
                  <a:cubicBezTo>
                    <a:pt x="19638" y="8670"/>
                    <a:pt x="19627" y="8531"/>
                    <a:pt x="19598" y="8405"/>
                  </a:cubicBezTo>
                  <a:cubicBezTo>
                    <a:pt x="19562" y="8254"/>
                    <a:pt x="19545" y="8159"/>
                    <a:pt x="19545" y="8122"/>
                  </a:cubicBezTo>
                  <a:cubicBezTo>
                    <a:pt x="19552" y="7983"/>
                    <a:pt x="19630" y="7921"/>
                    <a:pt x="19781" y="7933"/>
                  </a:cubicBezTo>
                  <a:cubicBezTo>
                    <a:pt x="19774" y="7769"/>
                    <a:pt x="19667" y="7631"/>
                    <a:pt x="19458" y="7517"/>
                  </a:cubicBezTo>
                  <a:cubicBezTo>
                    <a:pt x="19157" y="7392"/>
                    <a:pt x="18963" y="7284"/>
                    <a:pt x="18877" y="7196"/>
                  </a:cubicBezTo>
                  <a:cubicBezTo>
                    <a:pt x="18827" y="7133"/>
                    <a:pt x="18755" y="7032"/>
                    <a:pt x="18662" y="6894"/>
                  </a:cubicBezTo>
                  <a:cubicBezTo>
                    <a:pt x="18576" y="6743"/>
                    <a:pt x="18504" y="6636"/>
                    <a:pt x="18447" y="6573"/>
                  </a:cubicBezTo>
                  <a:cubicBezTo>
                    <a:pt x="18432" y="6560"/>
                    <a:pt x="18321" y="6491"/>
                    <a:pt x="18113" y="6365"/>
                  </a:cubicBezTo>
                  <a:cubicBezTo>
                    <a:pt x="17977" y="6277"/>
                    <a:pt x="17894" y="6170"/>
                    <a:pt x="17866" y="6044"/>
                  </a:cubicBezTo>
                  <a:lnTo>
                    <a:pt x="17908" y="6044"/>
                  </a:lnTo>
                  <a:cubicBezTo>
                    <a:pt x="17830" y="5918"/>
                    <a:pt x="17733" y="5799"/>
                    <a:pt x="17618" y="5685"/>
                  </a:cubicBezTo>
                  <a:cubicBezTo>
                    <a:pt x="17496" y="5559"/>
                    <a:pt x="17410" y="5496"/>
                    <a:pt x="17360" y="5496"/>
                  </a:cubicBezTo>
                  <a:cubicBezTo>
                    <a:pt x="17346" y="5509"/>
                    <a:pt x="17220" y="5603"/>
                    <a:pt x="16983" y="5780"/>
                  </a:cubicBezTo>
                  <a:cubicBezTo>
                    <a:pt x="16746" y="5956"/>
                    <a:pt x="16610" y="6044"/>
                    <a:pt x="16574" y="6044"/>
                  </a:cubicBezTo>
                  <a:cubicBezTo>
                    <a:pt x="16509" y="6044"/>
                    <a:pt x="16470" y="5950"/>
                    <a:pt x="16456" y="5761"/>
                  </a:cubicBezTo>
                  <a:cubicBezTo>
                    <a:pt x="16441" y="5648"/>
                    <a:pt x="16438" y="5459"/>
                    <a:pt x="16445" y="5194"/>
                  </a:cubicBezTo>
                  <a:cubicBezTo>
                    <a:pt x="16452" y="4779"/>
                    <a:pt x="16506" y="4445"/>
                    <a:pt x="16606" y="4193"/>
                  </a:cubicBezTo>
                  <a:cubicBezTo>
                    <a:pt x="16721" y="3916"/>
                    <a:pt x="16811" y="3683"/>
                    <a:pt x="16876" y="3494"/>
                  </a:cubicBezTo>
                  <a:lnTo>
                    <a:pt x="17037" y="3079"/>
                  </a:lnTo>
                  <a:cubicBezTo>
                    <a:pt x="16886" y="2928"/>
                    <a:pt x="16768" y="2795"/>
                    <a:pt x="16682" y="2682"/>
                  </a:cubicBezTo>
                  <a:cubicBezTo>
                    <a:pt x="16502" y="2481"/>
                    <a:pt x="16409" y="2304"/>
                    <a:pt x="16402" y="2153"/>
                  </a:cubicBezTo>
                  <a:cubicBezTo>
                    <a:pt x="16373" y="1813"/>
                    <a:pt x="16287" y="1612"/>
                    <a:pt x="16144" y="1549"/>
                  </a:cubicBezTo>
                  <a:cubicBezTo>
                    <a:pt x="16101" y="1549"/>
                    <a:pt x="16061" y="1543"/>
                    <a:pt x="16025" y="1530"/>
                  </a:cubicBezTo>
                  <a:cubicBezTo>
                    <a:pt x="15896" y="1517"/>
                    <a:pt x="15785" y="1473"/>
                    <a:pt x="15692" y="1398"/>
                  </a:cubicBezTo>
                  <a:cubicBezTo>
                    <a:pt x="15634" y="1347"/>
                    <a:pt x="15584" y="1152"/>
                    <a:pt x="15541" y="812"/>
                  </a:cubicBezTo>
                  <a:cubicBezTo>
                    <a:pt x="15505" y="497"/>
                    <a:pt x="15455" y="334"/>
                    <a:pt x="15390" y="321"/>
                  </a:cubicBezTo>
                  <a:cubicBezTo>
                    <a:pt x="15175" y="233"/>
                    <a:pt x="14942" y="151"/>
                    <a:pt x="14691" y="76"/>
                  </a:cubicBezTo>
                  <a:cubicBezTo>
                    <a:pt x="14691" y="202"/>
                    <a:pt x="14687" y="365"/>
                    <a:pt x="14680" y="567"/>
                  </a:cubicBezTo>
                  <a:cubicBezTo>
                    <a:pt x="14651" y="970"/>
                    <a:pt x="14569" y="1171"/>
                    <a:pt x="14433" y="1171"/>
                  </a:cubicBezTo>
                  <a:cubicBezTo>
                    <a:pt x="14404" y="1159"/>
                    <a:pt x="14217" y="957"/>
                    <a:pt x="13873" y="567"/>
                  </a:cubicBezTo>
                  <a:cubicBezTo>
                    <a:pt x="13528" y="189"/>
                    <a:pt x="13327" y="1"/>
                    <a:pt x="13270" y="1"/>
                  </a:cubicBezTo>
                  <a:cubicBezTo>
                    <a:pt x="13134" y="-12"/>
                    <a:pt x="13055" y="189"/>
                    <a:pt x="13033" y="604"/>
                  </a:cubicBezTo>
                  <a:cubicBezTo>
                    <a:pt x="13019" y="856"/>
                    <a:pt x="13012" y="1215"/>
                    <a:pt x="13012" y="1681"/>
                  </a:cubicBezTo>
                  <a:cubicBezTo>
                    <a:pt x="12997" y="2059"/>
                    <a:pt x="12897" y="2437"/>
                    <a:pt x="12711" y="2815"/>
                  </a:cubicBezTo>
                  <a:cubicBezTo>
                    <a:pt x="12488" y="3243"/>
                    <a:pt x="12359" y="3538"/>
                    <a:pt x="12323" y="3702"/>
                  </a:cubicBezTo>
                  <a:cubicBezTo>
                    <a:pt x="12273" y="3878"/>
                    <a:pt x="12212" y="3992"/>
                    <a:pt x="12140" y="4042"/>
                  </a:cubicBezTo>
                  <a:cubicBezTo>
                    <a:pt x="12011" y="4092"/>
                    <a:pt x="11896" y="4137"/>
                    <a:pt x="11796" y="4174"/>
                  </a:cubicBezTo>
                  <a:cubicBezTo>
                    <a:pt x="11688" y="4225"/>
                    <a:pt x="11620" y="4344"/>
                    <a:pt x="11591" y="4533"/>
                  </a:cubicBezTo>
                  <a:cubicBezTo>
                    <a:pt x="11555" y="4823"/>
                    <a:pt x="11530" y="4980"/>
                    <a:pt x="11516" y="5005"/>
                  </a:cubicBezTo>
                  <a:cubicBezTo>
                    <a:pt x="11437" y="5244"/>
                    <a:pt x="11351" y="5710"/>
                    <a:pt x="11258" y="6403"/>
                  </a:cubicBezTo>
                  <a:cubicBezTo>
                    <a:pt x="11207" y="6768"/>
                    <a:pt x="11060" y="6944"/>
                    <a:pt x="10816" y="6932"/>
                  </a:cubicBezTo>
                  <a:cubicBezTo>
                    <a:pt x="10701" y="6932"/>
                    <a:pt x="10629" y="6825"/>
                    <a:pt x="10601" y="6611"/>
                  </a:cubicBezTo>
                  <a:cubicBezTo>
                    <a:pt x="10565" y="6397"/>
                    <a:pt x="10504" y="6290"/>
                    <a:pt x="10418" y="6290"/>
                  </a:cubicBezTo>
                  <a:cubicBezTo>
                    <a:pt x="10174" y="6264"/>
                    <a:pt x="10020" y="6529"/>
                    <a:pt x="9955" y="7083"/>
                  </a:cubicBezTo>
                  <a:cubicBezTo>
                    <a:pt x="9919" y="7385"/>
                    <a:pt x="9862" y="7851"/>
                    <a:pt x="9783" y="8481"/>
                  </a:cubicBezTo>
                  <a:cubicBezTo>
                    <a:pt x="9761" y="8569"/>
                    <a:pt x="9607" y="9255"/>
                    <a:pt x="9320" y="10539"/>
                  </a:cubicBezTo>
                  <a:cubicBezTo>
                    <a:pt x="9141" y="11270"/>
                    <a:pt x="9066" y="11874"/>
                    <a:pt x="9094" y="12353"/>
                  </a:cubicBezTo>
                  <a:cubicBezTo>
                    <a:pt x="9037" y="12856"/>
                    <a:pt x="8918" y="13341"/>
                    <a:pt x="8739" y="13807"/>
                  </a:cubicBezTo>
                  <a:cubicBezTo>
                    <a:pt x="8703" y="13920"/>
                    <a:pt x="8570" y="14002"/>
                    <a:pt x="8341" y="14053"/>
                  </a:cubicBezTo>
                  <a:cubicBezTo>
                    <a:pt x="8126" y="14115"/>
                    <a:pt x="8022" y="14172"/>
                    <a:pt x="8029" y="14222"/>
                  </a:cubicBezTo>
                  <a:cubicBezTo>
                    <a:pt x="8029" y="14285"/>
                    <a:pt x="8029" y="14392"/>
                    <a:pt x="8029" y="14544"/>
                  </a:cubicBezTo>
                  <a:cubicBezTo>
                    <a:pt x="8007" y="14657"/>
                    <a:pt x="7932" y="14707"/>
                    <a:pt x="7803" y="14694"/>
                  </a:cubicBezTo>
                  <a:cubicBezTo>
                    <a:pt x="7760" y="14694"/>
                    <a:pt x="7702" y="14675"/>
                    <a:pt x="7630" y="14638"/>
                  </a:cubicBezTo>
                  <a:cubicBezTo>
                    <a:pt x="7552" y="14575"/>
                    <a:pt x="7508" y="14544"/>
                    <a:pt x="7501" y="14544"/>
                  </a:cubicBezTo>
                  <a:cubicBezTo>
                    <a:pt x="7473" y="14544"/>
                    <a:pt x="7437" y="14682"/>
                    <a:pt x="7394" y="14959"/>
                  </a:cubicBezTo>
                  <a:cubicBezTo>
                    <a:pt x="7336" y="15236"/>
                    <a:pt x="7254" y="15393"/>
                    <a:pt x="7146" y="15431"/>
                  </a:cubicBezTo>
                  <a:cubicBezTo>
                    <a:pt x="7024" y="15444"/>
                    <a:pt x="6888" y="15532"/>
                    <a:pt x="6737" y="15695"/>
                  </a:cubicBezTo>
                  <a:cubicBezTo>
                    <a:pt x="6594" y="15847"/>
                    <a:pt x="6483" y="15922"/>
                    <a:pt x="6404" y="15922"/>
                  </a:cubicBezTo>
                  <a:cubicBezTo>
                    <a:pt x="6375" y="15922"/>
                    <a:pt x="6328" y="15859"/>
                    <a:pt x="6264" y="15733"/>
                  </a:cubicBezTo>
                  <a:cubicBezTo>
                    <a:pt x="6199" y="15645"/>
                    <a:pt x="6156" y="15601"/>
                    <a:pt x="6134" y="15601"/>
                  </a:cubicBezTo>
                  <a:cubicBezTo>
                    <a:pt x="6070" y="15601"/>
                    <a:pt x="5970" y="15739"/>
                    <a:pt x="5833" y="16017"/>
                  </a:cubicBezTo>
                  <a:cubicBezTo>
                    <a:pt x="5711" y="16332"/>
                    <a:pt x="5593" y="16489"/>
                    <a:pt x="5478" y="16489"/>
                  </a:cubicBezTo>
                  <a:cubicBezTo>
                    <a:pt x="5378" y="16476"/>
                    <a:pt x="5231" y="16382"/>
                    <a:pt x="5037" y="16205"/>
                  </a:cubicBezTo>
                  <a:cubicBezTo>
                    <a:pt x="4901" y="16055"/>
                    <a:pt x="4811" y="15941"/>
                    <a:pt x="4768" y="15866"/>
                  </a:cubicBezTo>
                  <a:lnTo>
                    <a:pt x="4757" y="15828"/>
                  </a:lnTo>
                  <a:lnTo>
                    <a:pt x="4757" y="15809"/>
                  </a:lnTo>
                  <a:lnTo>
                    <a:pt x="4746" y="15790"/>
                  </a:lnTo>
                  <a:cubicBezTo>
                    <a:pt x="4682" y="15652"/>
                    <a:pt x="4595" y="15406"/>
                    <a:pt x="4488" y="15053"/>
                  </a:cubicBezTo>
                  <a:lnTo>
                    <a:pt x="4305" y="14468"/>
                  </a:lnTo>
                  <a:lnTo>
                    <a:pt x="4240" y="14506"/>
                  </a:lnTo>
                  <a:cubicBezTo>
                    <a:pt x="4190" y="14921"/>
                    <a:pt x="4122" y="15217"/>
                    <a:pt x="4036" y="15393"/>
                  </a:cubicBezTo>
                  <a:cubicBezTo>
                    <a:pt x="3928" y="15633"/>
                    <a:pt x="3832" y="15828"/>
                    <a:pt x="3745" y="15979"/>
                  </a:cubicBezTo>
                  <a:cubicBezTo>
                    <a:pt x="3602" y="16256"/>
                    <a:pt x="3462" y="16482"/>
                    <a:pt x="3325" y="16659"/>
                  </a:cubicBezTo>
                  <a:cubicBezTo>
                    <a:pt x="3275" y="16709"/>
                    <a:pt x="3132" y="16848"/>
                    <a:pt x="2895" y="17075"/>
                  </a:cubicBezTo>
                  <a:cubicBezTo>
                    <a:pt x="2773" y="17200"/>
                    <a:pt x="2694" y="17352"/>
                    <a:pt x="2658" y="17528"/>
                  </a:cubicBezTo>
                  <a:cubicBezTo>
                    <a:pt x="2644" y="17591"/>
                    <a:pt x="2644" y="17742"/>
                    <a:pt x="2658" y="17981"/>
                  </a:cubicBezTo>
                  <a:cubicBezTo>
                    <a:pt x="2665" y="18107"/>
                    <a:pt x="2615" y="18226"/>
                    <a:pt x="2508" y="18340"/>
                  </a:cubicBezTo>
                  <a:cubicBezTo>
                    <a:pt x="2342" y="18504"/>
                    <a:pt x="2253" y="18604"/>
                    <a:pt x="2239" y="18642"/>
                  </a:cubicBezTo>
                  <a:cubicBezTo>
                    <a:pt x="2167" y="18743"/>
                    <a:pt x="2113" y="18869"/>
                    <a:pt x="2077" y="19020"/>
                  </a:cubicBezTo>
                  <a:cubicBezTo>
                    <a:pt x="2056" y="19171"/>
                    <a:pt x="2027" y="19297"/>
                    <a:pt x="1991" y="19397"/>
                  </a:cubicBezTo>
                  <a:cubicBezTo>
                    <a:pt x="1941" y="19473"/>
                    <a:pt x="1872" y="19574"/>
                    <a:pt x="1787" y="19700"/>
                  </a:cubicBezTo>
                  <a:cubicBezTo>
                    <a:pt x="1729" y="19763"/>
                    <a:pt x="1665" y="19876"/>
                    <a:pt x="1593" y="20040"/>
                  </a:cubicBezTo>
                  <a:cubicBezTo>
                    <a:pt x="1521" y="20203"/>
                    <a:pt x="1439" y="20329"/>
                    <a:pt x="1345" y="20417"/>
                  </a:cubicBezTo>
                  <a:cubicBezTo>
                    <a:pt x="1238" y="20530"/>
                    <a:pt x="1008" y="20732"/>
                    <a:pt x="657" y="21021"/>
                  </a:cubicBezTo>
                  <a:lnTo>
                    <a:pt x="108" y="21513"/>
                  </a:lnTo>
                  <a:lnTo>
                    <a:pt x="0" y="21588"/>
                  </a:lnTo>
                  <a:lnTo>
                    <a:pt x="5564" y="20210"/>
                  </a:lnTo>
                  <a:lnTo>
                    <a:pt x="7491" y="19945"/>
                  </a:lnTo>
                  <a:cubicBezTo>
                    <a:pt x="9069" y="19618"/>
                    <a:pt x="10619" y="19228"/>
                    <a:pt x="12140" y="18774"/>
                  </a:cubicBezTo>
                  <a:cubicBezTo>
                    <a:pt x="13955" y="18208"/>
                    <a:pt x="15957" y="17553"/>
                    <a:pt x="18146" y="16810"/>
                  </a:cubicBezTo>
                  <a:cubicBezTo>
                    <a:pt x="20319" y="16105"/>
                    <a:pt x="21471" y="15714"/>
                    <a:pt x="21600" y="15639"/>
                  </a:cubicBezTo>
                  <a:cubicBezTo>
                    <a:pt x="21536" y="15437"/>
                    <a:pt x="21489" y="15274"/>
                    <a:pt x="21460" y="15148"/>
                  </a:cubicBezTo>
                  <a:close/>
                  <a:moveTo>
                    <a:pt x="21460" y="1514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21" name="AutoShape 198"/>
            <p:cNvSpPr>
              <a:spLocks/>
            </p:cNvSpPr>
            <p:nvPr/>
          </p:nvSpPr>
          <p:spPr bwMode="auto">
            <a:xfrm>
              <a:off x="6874439" y="4498598"/>
              <a:ext cx="346632" cy="315491"/>
            </a:xfrm>
            <a:custGeom>
              <a:avLst/>
              <a:gdLst/>
              <a:ahLst/>
              <a:cxnLst/>
              <a:rect l="0" t="0" r="r" b="b"/>
              <a:pathLst>
                <a:path w="21593" h="21600">
                  <a:moveTo>
                    <a:pt x="20358" y="18991"/>
                  </a:moveTo>
                  <a:cubicBezTo>
                    <a:pt x="20393" y="18972"/>
                    <a:pt x="20452" y="18963"/>
                    <a:pt x="20537" y="18963"/>
                  </a:cubicBezTo>
                  <a:cubicBezTo>
                    <a:pt x="20613" y="18944"/>
                    <a:pt x="20655" y="18912"/>
                    <a:pt x="20664" y="18865"/>
                  </a:cubicBezTo>
                  <a:cubicBezTo>
                    <a:pt x="20664" y="18707"/>
                    <a:pt x="20736" y="18628"/>
                    <a:pt x="20880" y="18628"/>
                  </a:cubicBezTo>
                  <a:cubicBezTo>
                    <a:pt x="21125" y="18619"/>
                    <a:pt x="21253" y="18609"/>
                    <a:pt x="21261" y="18600"/>
                  </a:cubicBezTo>
                  <a:cubicBezTo>
                    <a:pt x="21329" y="18591"/>
                    <a:pt x="21367" y="18489"/>
                    <a:pt x="21375" y="18293"/>
                  </a:cubicBezTo>
                  <a:lnTo>
                    <a:pt x="21350" y="17902"/>
                  </a:lnTo>
                  <a:cubicBezTo>
                    <a:pt x="21358" y="17800"/>
                    <a:pt x="21375" y="17735"/>
                    <a:pt x="21401" y="17707"/>
                  </a:cubicBezTo>
                  <a:cubicBezTo>
                    <a:pt x="21435" y="17670"/>
                    <a:pt x="21498" y="17651"/>
                    <a:pt x="21592" y="17651"/>
                  </a:cubicBezTo>
                  <a:lnTo>
                    <a:pt x="21592" y="17428"/>
                  </a:lnTo>
                  <a:cubicBezTo>
                    <a:pt x="21600" y="17261"/>
                    <a:pt x="21575" y="17098"/>
                    <a:pt x="21515" y="16940"/>
                  </a:cubicBezTo>
                  <a:cubicBezTo>
                    <a:pt x="21448" y="16791"/>
                    <a:pt x="21371" y="16665"/>
                    <a:pt x="21286" y="16563"/>
                  </a:cubicBezTo>
                  <a:cubicBezTo>
                    <a:pt x="21159" y="16674"/>
                    <a:pt x="21028" y="16730"/>
                    <a:pt x="20893" y="16730"/>
                  </a:cubicBezTo>
                  <a:cubicBezTo>
                    <a:pt x="20825" y="16721"/>
                    <a:pt x="20681" y="16568"/>
                    <a:pt x="20460" y="16270"/>
                  </a:cubicBezTo>
                  <a:cubicBezTo>
                    <a:pt x="20231" y="15935"/>
                    <a:pt x="20117" y="15712"/>
                    <a:pt x="20117" y="15600"/>
                  </a:cubicBezTo>
                  <a:cubicBezTo>
                    <a:pt x="20134" y="15414"/>
                    <a:pt x="20194" y="15270"/>
                    <a:pt x="20295" y="15168"/>
                  </a:cubicBezTo>
                  <a:cubicBezTo>
                    <a:pt x="20388" y="15075"/>
                    <a:pt x="20439" y="14977"/>
                    <a:pt x="20448" y="14875"/>
                  </a:cubicBezTo>
                  <a:cubicBezTo>
                    <a:pt x="20448" y="14670"/>
                    <a:pt x="20397" y="14540"/>
                    <a:pt x="20295" y="14484"/>
                  </a:cubicBezTo>
                  <a:cubicBezTo>
                    <a:pt x="20185" y="14428"/>
                    <a:pt x="20117" y="14238"/>
                    <a:pt x="20092" y="13912"/>
                  </a:cubicBezTo>
                  <a:cubicBezTo>
                    <a:pt x="20092" y="13661"/>
                    <a:pt x="20024" y="13475"/>
                    <a:pt x="19888" y="13354"/>
                  </a:cubicBezTo>
                  <a:cubicBezTo>
                    <a:pt x="19719" y="13261"/>
                    <a:pt x="19588" y="13158"/>
                    <a:pt x="19495" y="13047"/>
                  </a:cubicBezTo>
                  <a:cubicBezTo>
                    <a:pt x="19418" y="12926"/>
                    <a:pt x="19359" y="12842"/>
                    <a:pt x="19317" y="12795"/>
                  </a:cubicBezTo>
                  <a:cubicBezTo>
                    <a:pt x="19249" y="12712"/>
                    <a:pt x="19156" y="12647"/>
                    <a:pt x="19037" y="12600"/>
                  </a:cubicBezTo>
                  <a:cubicBezTo>
                    <a:pt x="19003" y="12582"/>
                    <a:pt x="18927" y="12568"/>
                    <a:pt x="18808" y="12558"/>
                  </a:cubicBezTo>
                  <a:cubicBezTo>
                    <a:pt x="18715" y="12558"/>
                    <a:pt x="18643" y="12544"/>
                    <a:pt x="18592" y="12516"/>
                  </a:cubicBezTo>
                  <a:cubicBezTo>
                    <a:pt x="18507" y="12470"/>
                    <a:pt x="18363" y="12358"/>
                    <a:pt x="18160" y="12181"/>
                  </a:cubicBezTo>
                  <a:cubicBezTo>
                    <a:pt x="17999" y="12023"/>
                    <a:pt x="17885" y="11926"/>
                    <a:pt x="17817" y="11888"/>
                  </a:cubicBezTo>
                  <a:cubicBezTo>
                    <a:pt x="17808" y="11879"/>
                    <a:pt x="17800" y="11875"/>
                    <a:pt x="17792" y="11875"/>
                  </a:cubicBezTo>
                  <a:cubicBezTo>
                    <a:pt x="17699" y="11800"/>
                    <a:pt x="17618" y="11721"/>
                    <a:pt x="17550" y="11637"/>
                  </a:cubicBezTo>
                  <a:cubicBezTo>
                    <a:pt x="17465" y="11498"/>
                    <a:pt x="17393" y="11381"/>
                    <a:pt x="17334" y="11288"/>
                  </a:cubicBezTo>
                  <a:cubicBezTo>
                    <a:pt x="17173" y="11075"/>
                    <a:pt x="17101" y="10842"/>
                    <a:pt x="17118" y="10591"/>
                  </a:cubicBezTo>
                  <a:cubicBezTo>
                    <a:pt x="17118" y="10479"/>
                    <a:pt x="17220" y="10158"/>
                    <a:pt x="17423" y="9628"/>
                  </a:cubicBezTo>
                  <a:cubicBezTo>
                    <a:pt x="17618" y="9116"/>
                    <a:pt x="17716" y="8739"/>
                    <a:pt x="17716" y="8498"/>
                  </a:cubicBezTo>
                  <a:cubicBezTo>
                    <a:pt x="17716" y="8330"/>
                    <a:pt x="17635" y="8149"/>
                    <a:pt x="17474" y="7953"/>
                  </a:cubicBezTo>
                  <a:cubicBezTo>
                    <a:pt x="17313" y="7749"/>
                    <a:pt x="17135" y="7642"/>
                    <a:pt x="16940" y="7632"/>
                  </a:cubicBezTo>
                  <a:cubicBezTo>
                    <a:pt x="16881" y="7632"/>
                    <a:pt x="16805" y="7693"/>
                    <a:pt x="16711" y="7814"/>
                  </a:cubicBezTo>
                  <a:cubicBezTo>
                    <a:pt x="16601" y="7925"/>
                    <a:pt x="16517" y="7981"/>
                    <a:pt x="16457" y="7981"/>
                  </a:cubicBezTo>
                  <a:cubicBezTo>
                    <a:pt x="16178" y="7981"/>
                    <a:pt x="16034" y="7851"/>
                    <a:pt x="16025" y="7591"/>
                  </a:cubicBezTo>
                  <a:cubicBezTo>
                    <a:pt x="16059" y="7274"/>
                    <a:pt x="16068" y="7051"/>
                    <a:pt x="16051" y="6921"/>
                  </a:cubicBezTo>
                  <a:cubicBezTo>
                    <a:pt x="16025" y="6744"/>
                    <a:pt x="15911" y="6525"/>
                    <a:pt x="15708" y="6265"/>
                  </a:cubicBezTo>
                  <a:cubicBezTo>
                    <a:pt x="15648" y="6153"/>
                    <a:pt x="15470" y="5939"/>
                    <a:pt x="15174" y="5623"/>
                  </a:cubicBezTo>
                  <a:cubicBezTo>
                    <a:pt x="14412" y="4749"/>
                    <a:pt x="13984" y="4251"/>
                    <a:pt x="13890" y="4130"/>
                  </a:cubicBezTo>
                  <a:cubicBezTo>
                    <a:pt x="13517" y="3646"/>
                    <a:pt x="13331" y="3261"/>
                    <a:pt x="13331" y="2972"/>
                  </a:cubicBezTo>
                  <a:cubicBezTo>
                    <a:pt x="13348" y="2795"/>
                    <a:pt x="13361" y="2618"/>
                    <a:pt x="13369" y="2442"/>
                  </a:cubicBezTo>
                  <a:lnTo>
                    <a:pt x="13357" y="1660"/>
                  </a:lnTo>
                  <a:cubicBezTo>
                    <a:pt x="13374" y="1521"/>
                    <a:pt x="13403" y="1391"/>
                    <a:pt x="13445" y="1270"/>
                  </a:cubicBezTo>
                  <a:cubicBezTo>
                    <a:pt x="13369" y="1260"/>
                    <a:pt x="13276" y="1148"/>
                    <a:pt x="13166" y="935"/>
                  </a:cubicBezTo>
                  <a:cubicBezTo>
                    <a:pt x="13073" y="730"/>
                    <a:pt x="12975" y="619"/>
                    <a:pt x="12874" y="600"/>
                  </a:cubicBezTo>
                  <a:cubicBezTo>
                    <a:pt x="12747" y="563"/>
                    <a:pt x="12641" y="455"/>
                    <a:pt x="12556" y="279"/>
                  </a:cubicBezTo>
                  <a:lnTo>
                    <a:pt x="12454" y="0"/>
                  </a:lnTo>
                  <a:cubicBezTo>
                    <a:pt x="10540" y="316"/>
                    <a:pt x="7892" y="465"/>
                    <a:pt x="4511" y="446"/>
                  </a:cubicBezTo>
                  <a:lnTo>
                    <a:pt x="0" y="293"/>
                  </a:lnTo>
                  <a:lnTo>
                    <a:pt x="25" y="418"/>
                  </a:lnTo>
                  <a:cubicBezTo>
                    <a:pt x="43" y="586"/>
                    <a:pt x="72" y="707"/>
                    <a:pt x="115" y="781"/>
                  </a:cubicBezTo>
                  <a:cubicBezTo>
                    <a:pt x="165" y="874"/>
                    <a:pt x="237" y="925"/>
                    <a:pt x="331" y="935"/>
                  </a:cubicBezTo>
                  <a:cubicBezTo>
                    <a:pt x="390" y="944"/>
                    <a:pt x="424" y="1060"/>
                    <a:pt x="432" y="1283"/>
                  </a:cubicBezTo>
                  <a:cubicBezTo>
                    <a:pt x="432" y="1516"/>
                    <a:pt x="470" y="1651"/>
                    <a:pt x="547" y="1688"/>
                  </a:cubicBezTo>
                  <a:cubicBezTo>
                    <a:pt x="615" y="1735"/>
                    <a:pt x="682" y="1832"/>
                    <a:pt x="750" y="1981"/>
                  </a:cubicBezTo>
                  <a:cubicBezTo>
                    <a:pt x="843" y="2167"/>
                    <a:pt x="902" y="2288"/>
                    <a:pt x="928" y="2344"/>
                  </a:cubicBezTo>
                  <a:cubicBezTo>
                    <a:pt x="1038" y="2474"/>
                    <a:pt x="1144" y="2693"/>
                    <a:pt x="1245" y="3000"/>
                  </a:cubicBezTo>
                  <a:cubicBezTo>
                    <a:pt x="1271" y="3065"/>
                    <a:pt x="1301" y="3126"/>
                    <a:pt x="1334" y="3181"/>
                  </a:cubicBezTo>
                  <a:cubicBezTo>
                    <a:pt x="1419" y="3367"/>
                    <a:pt x="1521" y="3511"/>
                    <a:pt x="1640" y="3614"/>
                  </a:cubicBezTo>
                  <a:cubicBezTo>
                    <a:pt x="1707" y="3660"/>
                    <a:pt x="1906" y="3735"/>
                    <a:pt x="2237" y="3837"/>
                  </a:cubicBezTo>
                  <a:cubicBezTo>
                    <a:pt x="2508" y="3921"/>
                    <a:pt x="2677" y="4065"/>
                    <a:pt x="2745" y="4270"/>
                  </a:cubicBezTo>
                  <a:cubicBezTo>
                    <a:pt x="2737" y="4381"/>
                    <a:pt x="2669" y="4460"/>
                    <a:pt x="2542" y="4507"/>
                  </a:cubicBezTo>
                  <a:cubicBezTo>
                    <a:pt x="2398" y="4553"/>
                    <a:pt x="2300" y="4591"/>
                    <a:pt x="2249" y="4618"/>
                  </a:cubicBezTo>
                  <a:cubicBezTo>
                    <a:pt x="2241" y="4805"/>
                    <a:pt x="2199" y="4967"/>
                    <a:pt x="2122" y="5107"/>
                  </a:cubicBezTo>
                  <a:cubicBezTo>
                    <a:pt x="2038" y="5228"/>
                    <a:pt x="1995" y="5298"/>
                    <a:pt x="1995" y="5316"/>
                  </a:cubicBezTo>
                  <a:cubicBezTo>
                    <a:pt x="1995" y="5381"/>
                    <a:pt x="2101" y="5516"/>
                    <a:pt x="2313" y="5721"/>
                  </a:cubicBezTo>
                  <a:cubicBezTo>
                    <a:pt x="2550" y="5972"/>
                    <a:pt x="2694" y="6153"/>
                    <a:pt x="2745" y="6265"/>
                  </a:cubicBezTo>
                  <a:cubicBezTo>
                    <a:pt x="2779" y="6321"/>
                    <a:pt x="2779" y="6419"/>
                    <a:pt x="2745" y="6558"/>
                  </a:cubicBezTo>
                  <a:cubicBezTo>
                    <a:pt x="2728" y="6689"/>
                    <a:pt x="2754" y="6791"/>
                    <a:pt x="2821" y="6865"/>
                  </a:cubicBezTo>
                  <a:cubicBezTo>
                    <a:pt x="2881" y="6939"/>
                    <a:pt x="3046" y="7065"/>
                    <a:pt x="3317" y="7242"/>
                  </a:cubicBezTo>
                  <a:cubicBezTo>
                    <a:pt x="3613" y="7428"/>
                    <a:pt x="3749" y="7884"/>
                    <a:pt x="3724" y="8609"/>
                  </a:cubicBezTo>
                  <a:cubicBezTo>
                    <a:pt x="3707" y="8972"/>
                    <a:pt x="3664" y="9386"/>
                    <a:pt x="3596" y="9851"/>
                  </a:cubicBezTo>
                  <a:cubicBezTo>
                    <a:pt x="3580" y="10475"/>
                    <a:pt x="3575" y="11414"/>
                    <a:pt x="3584" y="12670"/>
                  </a:cubicBezTo>
                  <a:cubicBezTo>
                    <a:pt x="3593" y="13898"/>
                    <a:pt x="3584" y="14884"/>
                    <a:pt x="3558" y="15628"/>
                  </a:cubicBezTo>
                  <a:cubicBezTo>
                    <a:pt x="3541" y="16140"/>
                    <a:pt x="3550" y="16684"/>
                    <a:pt x="3584" y="17261"/>
                  </a:cubicBezTo>
                  <a:cubicBezTo>
                    <a:pt x="3593" y="17679"/>
                    <a:pt x="3605" y="18112"/>
                    <a:pt x="3622" y="18558"/>
                  </a:cubicBezTo>
                  <a:lnTo>
                    <a:pt x="3724" y="19619"/>
                  </a:lnTo>
                  <a:lnTo>
                    <a:pt x="9595" y="19521"/>
                  </a:lnTo>
                  <a:cubicBezTo>
                    <a:pt x="13772" y="19437"/>
                    <a:pt x="16525" y="19326"/>
                    <a:pt x="17855" y="19186"/>
                  </a:cubicBezTo>
                  <a:cubicBezTo>
                    <a:pt x="17915" y="19168"/>
                    <a:pt x="17970" y="19158"/>
                    <a:pt x="18020" y="19158"/>
                  </a:cubicBezTo>
                  <a:cubicBezTo>
                    <a:pt x="18139" y="19158"/>
                    <a:pt x="18262" y="19284"/>
                    <a:pt x="18389" y="19535"/>
                  </a:cubicBezTo>
                  <a:cubicBezTo>
                    <a:pt x="18507" y="19758"/>
                    <a:pt x="18559" y="19963"/>
                    <a:pt x="18542" y="20149"/>
                  </a:cubicBezTo>
                  <a:cubicBezTo>
                    <a:pt x="18542" y="20298"/>
                    <a:pt x="18393" y="20484"/>
                    <a:pt x="18097" y="20707"/>
                  </a:cubicBezTo>
                  <a:cubicBezTo>
                    <a:pt x="17826" y="20912"/>
                    <a:pt x="17686" y="21135"/>
                    <a:pt x="17677" y="21377"/>
                  </a:cubicBezTo>
                  <a:cubicBezTo>
                    <a:pt x="17677" y="21451"/>
                    <a:pt x="17736" y="21517"/>
                    <a:pt x="17855" y="21572"/>
                  </a:cubicBezTo>
                  <a:cubicBezTo>
                    <a:pt x="17923" y="21591"/>
                    <a:pt x="17999" y="21600"/>
                    <a:pt x="18084" y="21600"/>
                  </a:cubicBezTo>
                  <a:cubicBezTo>
                    <a:pt x="18219" y="21600"/>
                    <a:pt x="18507" y="21581"/>
                    <a:pt x="18948" y="21544"/>
                  </a:cubicBezTo>
                  <a:cubicBezTo>
                    <a:pt x="19363" y="21498"/>
                    <a:pt x="19613" y="21475"/>
                    <a:pt x="19698" y="21475"/>
                  </a:cubicBezTo>
                  <a:lnTo>
                    <a:pt x="20231" y="19158"/>
                  </a:lnTo>
                  <a:cubicBezTo>
                    <a:pt x="20249" y="19056"/>
                    <a:pt x="20291" y="19000"/>
                    <a:pt x="20358" y="18991"/>
                  </a:cubicBezTo>
                  <a:close/>
                  <a:moveTo>
                    <a:pt x="20358" y="18991"/>
                  </a:moveTo>
                </a:path>
              </a:pathLst>
            </a:custGeom>
            <a:grpFill/>
            <a:ln w="3175" cap="flat">
              <a:solidFill>
                <a:schemeClr val="bg1"/>
              </a:solidFill>
              <a:miter lim="800000"/>
              <a:headEnd type="none" w="med" len="med"/>
              <a:tailEnd type="none" w="med" len="med"/>
            </a:ln>
          </p:spPr>
          <p:txBody>
            <a:bodyPr lIns="0" tIns="0" rIns="0" bIns="0"/>
            <a:lstStyle/>
            <a:p>
              <a:endParaRPr lang="en-US"/>
            </a:p>
          </p:txBody>
        </p:sp>
      </p:grpSp>
      <p:grpSp>
        <p:nvGrpSpPr>
          <p:cNvPr id="3" name="Group 2">
            <a:extLst>
              <a:ext uri="{FF2B5EF4-FFF2-40B4-BE49-F238E27FC236}">
                <a16:creationId xmlns:a16="http://schemas.microsoft.com/office/drawing/2014/main" id="{593BB243-6F96-AA44-A0A7-FABDB3DD00B8}"/>
              </a:ext>
            </a:extLst>
          </p:cNvPr>
          <p:cNvGrpSpPr/>
          <p:nvPr/>
        </p:nvGrpSpPr>
        <p:grpSpPr>
          <a:xfrm>
            <a:off x="5894149" y="1586806"/>
            <a:ext cx="4370832" cy="3959856"/>
            <a:chOff x="5894149" y="1586806"/>
            <a:chExt cx="4370832" cy="3959856"/>
          </a:xfrm>
          <a:solidFill>
            <a:schemeClr val="bg1">
              <a:lumMod val="75000"/>
            </a:schemeClr>
          </a:solidFill>
        </p:grpSpPr>
        <p:sp>
          <p:nvSpPr>
            <p:cNvPr id="424" name="Rectangle 423"/>
            <p:cNvSpPr/>
            <p:nvPr/>
          </p:nvSpPr>
          <p:spPr bwMode="auto">
            <a:xfrm rot="446716">
              <a:off x="7665639" y="4449549"/>
              <a:ext cx="1046881" cy="1043557"/>
            </a:xfrm>
            <a:custGeom>
              <a:avLst/>
              <a:gdLst>
                <a:gd name="connsiteX0" fmla="*/ 823027 w 1046881"/>
                <a:gd name="connsiteY0" fmla="*/ 497313 h 1043557"/>
                <a:gd name="connsiteX1" fmla="*/ 807558 w 1046881"/>
                <a:gd name="connsiteY1" fmla="*/ 499112 h 1043557"/>
                <a:gd name="connsiteX2" fmla="*/ 807558 w 1046881"/>
                <a:gd name="connsiteY2" fmla="*/ 502257 h 1043557"/>
                <a:gd name="connsiteX3" fmla="*/ 816598 w 1046881"/>
                <a:gd name="connsiteY3" fmla="*/ 499326 h 1043557"/>
                <a:gd name="connsiteX4" fmla="*/ 823384 w 1046881"/>
                <a:gd name="connsiteY4" fmla="*/ 500160 h 1043557"/>
                <a:gd name="connsiteX5" fmla="*/ 823027 w 1046881"/>
                <a:gd name="connsiteY5" fmla="*/ 497313 h 1043557"/>
                <a:gd name="connsiteX6" fmla="*/ 1003014 w 1046881"/>
                <a:gd name="connsiteY6" fmla="*/ 279043 h 1043557"/>
                <a:gd name="connsiteX7" fmla="*/ 998449 w 1046881"/>
                <a:gd name="connsiteY7" fmla="*/ 285862 h 1043557"/>
                <a:gd name="connsiteX8" fmla="*/ 998204 w 1046881"/>
                <a:gd name="connsiteY8" fmla="*/ 286340 h 1043557"/>
                <a:gd name="connsiteX9" fmla="*/ 998204 w 1046881"/>
                <a:gd name="connsiteY9" fmla="*/ 286410 h 1043557"/>
                <a:gd name="connsiteX10" fmla="*/ 1003060 w 1046881"/>
                <a:gd name="connsiteY10" fmla="*/ 279153 h 1043557"/>
                <a:gd name="connsiteX11" fmla="*/ 1003014 w 1046881"/>
                <a:gd name="connsiteY11" fmla="*/ 279043 h 1043557"/>
                <a:gd name="connsiteX12" fmla="*/ 721538 w 1046881"/>
                <a:gd name="connsiteY12" fmla="*/ 82028 h 1043557"/>
                <a:gd name="connsiteX13" fmla="*/ 719542 w 1046881"/>
                <a:gd name="connsiteY13" fmla="*/ 84784 h 1043557"/>
                <a:gd name="connsiteX14" fmla="*/ 719411 w 1046881"/>
                <a:gd name="connsiteY14" fmla="*/ 85010 h 1043557"/>
                <a:gd name="connsiteX15" fmla="*/ 721556 w 1046881"/>
                <a:gd name="connsiteY15" fmla="*/ 82039 h 1043557"/>
                <a:gd name="connsiteX16" fmla="*/ 721538 w 1046881"/>
                <a:gd name="connsiteY16" fmla="*/ 82028 h 1043557"/>
                <a:gd name="connsiteX17" fmla="*/ 9852 w 1046881"/>
                <a:gd name="connsiteY17" fmla="*/ 38008 h 1043557"/>
                <a:gd name="connsiteX18" fmla="*/ 83022 w 1046881"/>
                <a:gd name="connsiteY18" fmla="*/ 38941 h 1043557"/>
                <a:gd name="connsiteX19" fmla="*/ 261203 w 1046881"/>
                <a:gd name="connsiteY19" fmla="*/ 35587 h 1043557"/>
                <a:gd name="connsiteX20" fmla="*/ 357880 w 1046881"/>
                <a:gd name="connsiteY20" fmla="*/ 30573 h 1043557"/>
                <a:gd name="connsiteX21" fmla="*/ 362042 w 1046881"/>
                <a:gd name="connsiteY21" fmla="*/ 95017 h 1043557"/>
                <a:gd name="connsiteX22" fmla="*/ 387674 w 1046881"/>
                <a:gd name="connsiteY22" fmla="*/ 94887 h 1043557"/>
                <a:gd name="connsiteX23" fmla="*/ 459061 w 1046881"/>
                <a:gd name="connsiteY23" fmla="*/ 92743 h 1043557"/>
                <a:gd name="connsiteX24" fmla="*/ 696362 w 1046881"/>
                <a:gd name="connsiteY24" fmla="*/ 68270 h 1043557"/>
                <a:gd name="connsiteX25" fmla="*/ 695276 w 1046881"/>
                <a:gd name="connsiteY25" fmla="*/ 66765 h 1043557"/>
                <a:gd name="connsiteX26" fmla="*/ 688988 w 1046881"/>
                <a:gd name="connsiteY26" fmla="*/ 57924 h 1043557"/>
                <a:gd name="connsiteX27" fmla="*/ 685468 w 1046881"/>
                <a:gd name="connsiteY27" fmla="*/ 53037 h 1043557"/>
                <a:gd name="connsiteX28" fmla="*/ 681682 w 1046881"/>
                <a:gd name="connsiteY28" fmla="*/ 49216 h 1043557"/>
                <a:gd name="connsiteX29" fmla="*/ 679085 w 1046881"/>
                <a:gd name="connsiteY29" fmla="*/ 43589 h 1043557"/>
                <a:gd name="connsiteX30" fmla="*/ 676819 w 1046881"/>
                <a:gd name="connsiteY30" fmla="*/ 38759 h 1043557"/>
                <a:gd name="connsiteX31" fmla="*/ 673089 w 1046881"/>
                <a:gd name="connsiteY31" fmla="*/ 36979 h 1043557"/>
                <a:gd name="connsiteX32" fmla="*/ 670969 w 1046881"/>
                <a:gd name="connsiteY32" fmla="*/ 31908 h 1043557"/>
                <a:gd name="connsiteX33" fmla="*/ 670335 w 1046881"/>
                <a:gd name="connsiteY33" fmla="*/ 30150 h 1043557"/>
                <a:gd name="connsiteX34" fmla="*/ 742429 w 1046881"/>
                <a:gd name="connsiteY34" fmla="*/ 22983 h 1043557"/>
                <a:gd name="connsiteX35" fmla="*/ 868019 w 1046881"/>
                <a:gd name="connsiteY35" fmla="*/ 0 h 1043557"/>
                <a:gd name="connsiteX36" fmla="*/ 870170 w 1046881"/>
                <a:gd name="connsiteY36" fmla="*/ 3829 h 1043557"/>
                <a:gd name="connsiteX37" fmla="*/ 875839 w 1046881"/>
                <a:gd name="connsiteY37" fmla="*/ 7816 h 1043557"/>
                <a:gd name="connsiteX38" fmla="*/ 881121 w 1046881"/>
                <a:gd name="connsiteY38" fmla="*/ 12061 h 1043557"/>
                <a:gd name="connsiteX39" fmla="*/ 886197 w 1046881"/>
                <a:gd name="connsiteY39" fmla="*/ 16332 h 1043557"/>
                <a:gd name="connsiteX40" fmla="*/ 885534 w 1046881"/>
                <a:gd name="connsiteY40" fmla="*/ 22164 h 1043557"/>
                <a:gd name="connsiteX41" fmla="*/ 887205 w 1046881"/>
                <a:gd name="connsiteY41" fmla="*/ 33464 h 1043557"/>
                <a:gd name="connsiteX42" fmla="*/ 887603 w 1046881"/>
                <a:gd name="connsiteY42" fmla="*/ 41219 h 1043557"/>
                <a:gd name="connsiteX43" fmla="*/ 898693 w 1046881"/>
                <a:gd name="connsiteY43" fmla="*/ 56828 h 1043557"/>
                <a:gd name="connsiteX44" fmla="*/ 921957 w 1046881"/>
                <a:gd name="connsiteY44" fmla="*/ 75780 h 1043557"/>
                <a:gd name="connsiteX45" fmla="*/ 931672 w 1046881"/>
                <a:gd name="connsiteY45" fmla="*/ 83967 h 1043557"/>
                <a:gd name="connsiteX46" fmla="*/ 938373 w 1046881"/>
                <a:gd name="connsiteY46" fmla="*/ 92754 h 1043557"/>
                <a:gd name="connsiteX47" fmla="*/ 939227 w 1046881"/>
                <a:gd name="connsiteY47" fmla="*/ 102512 h 1043557"/>
                <a:gd name="connsiteX48" fmla="*/ 946842 w 1046881"/>
                <a:gd name="connsiteY48" fmla="*/ 107262 h 1043557"/>
                <a:gd name="connsiteX49" fmla="*/ 953870 w 1046881"/>
                <a:gd name="connsiteY49" fmla="*/ 101203 h 1043557"/>
                <a:gd name="connsiteX50" fmla="*/ 962977 w 1046881"/>
                <a:gd name="connsiteY50" fmla="*/ 104741 h 1043557"/>
                <a:gd name="connsiteX51" fmla="*/ 967861 w 1046881"/>
                <a:gd name="connsiteY51" fmla="*/ 112131 h 1043557"/>
                <a:gd name="connsiteX52" fmla="*/ 965336 w 1046881"/>
                <a:gd name="connsiteY52" fmla="*/ 129106 h 1043557"/>
                <a:gd name="connsiteX53" fmla="*/ 962303 w 1046881"/>
                <a:gd name="connsiteY53" fmla="*/ 143688 h 1043557"/>
                <a:gd name="connsiteX54" fmla="*/ 967061 w 1046881"/>
                <a:gd name="connsiteY54" fmla="*/ 153333 h 1043557"/>
                <a:gd name="connsiteX55" fmla="*/ 971160 w 1046881"/>
                <a:gd name="connsiteY55" fmla="*/ 157938 h 1043557"/>
                <a:gd name="connsiteX56" fmla="*/ 975462 w 1046881"/>
                <a:gd name="connsiteY56" fmla="*/ 160881 h 1043557"/>
                <a:gd name="connsiteX57" fmla="*/ 975885 w 1046881"/>
                <a:gd name="connsiteY57" fmla="*/ 161018 h 1043557"/>
                <a:gd name="connsiteX58" fmla="*/ 981899 w 1046881"/>
                <a:gd name="connsiteY58" fmla="*/ 164548 h 1043557"/>
                <a:gd name="connsiteX59" fmla="*/ 989409 w 1046881"/>
                <a:gd name="connsiteY59" fmla="*/ 168501 h 1043557"/>
                <a:gd name="connsiteX60" fmla="*/ 992927 w 1046881"/>
                <a:gd name="connsiteY60" fmla="*/ 168660 h 1043557"/>
                <a:gd name="connsiteX61" fmla="*/ 1001478 w 1046881"/>
                <a:gd name="connsiteY61" fmla="*/ 171033 h 1043557"/>
                <a:gd name="connsiteX62" fmla="*/ 1004788 w 1046881"/>
                <a:gd name="connsiteY62" fmla="*/ 174313 h 1043557"/>
                <a:gd name="connsiteX63" fmla="*/ 1011624 w 1046881"/>
                <a:gd name="connsiteY63" fmla="*/ 177942 h 1043557"/>
                <a:gd name="connsiteX64" fmla="*/ 1015928 w 1046881"/>
                <a:gd name="connsiteY64" fmla="*/ 185599 h 1043557"/>
                <a:gd name="connsiteX65" fmla="*/ 1020241 w 1046881"/>
                <a:gd name="connsiteY65" fmla="*/ 193461 h 1043557"/>
                <a:gd name="connsiteX66" fmla="*/ 1023417 w 1046881"/>
                <a:gd name="connsiteY66" fmla="*/ 198805 h 1043557"/>
                <a:gd name="connsiteX67" fmla="*/ 1021536 w 1046881"/>
                <a:gd name="connsiteY67" fmla="*/ 203367 h 1043557"/>
                <a:gd name="connsiteX68" fmla="*/ 1019521 w 1046881"/>
                <a:gd name="connsiteY68" fmla="*/ 209994 h 1043557"/>
                <a:gd name="connsiteX69" fmla="*/ 1026248 w 1046881"/>
                <a:gd name="connsiteY69" fmla="*/ 218984 h 1043557"/>
                <a:gd name="connsiteX70" fmla="*/ 1034011 w 1046881"/>
                <a:gd name="connsiteY70" fmla="*/ 224746 h 1043557"/>
                <a:gd name="connsiteX71" fmla="*/ 1039951 w 1046881"/>
                <a:gd name="connsiteY71" fmla="*/ 221509 h 1043557"/>
                <a:gd name="connsiteX72" fmla="*/ 1044310 w 1046881"/>
                <a:gd name="connsiteY72" fmla="*/ 226493 h 1043557"/>
                <a:gd name="connsiteX73" fmla="*/ 1046459 w 1046881"/>
                <a:gd name="connsiteY73" fmla="*/ 233401 h 1043557"/>
                <a:gd name="connsiteX74" fmla="*/ 1046881 w 1046881"/>
                <a:gd name="connsiteY74" fmla="*/ 236630 h 1043557"/>
                <a:gd name="connsiteX75" fmla="*/ 1043947 w 1046881"/>
                <a:gd name="connsiteY75" fmla="*/ 237839 h 1043557"/>
                <a:gd name="connsiteX76" fmla="*/ 1044642 w 1046881"/>
                <a:gd name="connsiteY76" fmla="*/ 246380 h 1043557"/>
                <a:gd name="connsiteX77" fmla="*/ 1037396 w 1046881"/>
                <a:gd name="connsiteY77" fmla="*/ 252261 h 1043557"/>
                <a:gd name="connsiteX78" fmla="*/ 1034407 w 1046881"/>
                <a:gd name="connsiteY78" fmla="*/ 256143 h 1043557"/>
                <a:gd name="connsiteX79" fmla="*/ 1032571 w 1046881"/>
                <a:gd name="connsiteY79" fmla="*/ 257827 h 1043557"/>
                <a:gd name="connsiteX80" fmla="*/ 1029775 w 1046881"/>
                <a:gd name="connsiteY80" fmla="*/ 258605 h 1043557"/>
                <a:gd name="connsiteX81" fmla="*/ 1028069 w 1046881"/>
                <a:gd name="connsiteY81" fmla="*/ 261287 h 1043557"/>
                <a:gd name="connsiteX82" fmla="*/ 1024212 w 1046881"/>
                <a:gd name="connsiteY82" fmla="*/ 293904 h 1043557"/>
                <a:gd name="connsiteX83" fmla="*/ 1025408 w 1046881"/>
                <a:gd name="connsiteY83" fmla="*/ 293644 h 1043557"/>
                <a:gd name="connsiteX84" fmla="*/ 1025512 w 1046881"/>
                <a:gd name="connsiteY84" fmla="*/ 294438 h 1043557"/>
                <a:gd name="connsiteX85" fmla="*/ 1026902 w 1046881"/>
                <a:gd name="connsiteY85" fmla="*/ 297140 h 1043557"/>
                <a:gd name="connsiteX86" fmla="*/ 1025162 w 1046881"/>
                <a:gd name="connsiteY86" fmla="*/ 307451 h 1043557"/>
                <a:gd name="connsiteX87" fmla="*/ 1019870 w 1046881"/>
                <a:gd name="connsiteY87" fmla="*/ 314303 h 1043557"/>
                <a:gd name="connsiteX88" fmla="*/ 1019330 w 1046881"/>
                <a:gd name="connsiteY88" fmla="*/ 316438 h 1043557"/>
                <a:gd name="connsiteX89" fmla="*/ 1020478 w 1046881"/>
                <a:gd name="connsiteY89" fmla="*/ 318953 h 1043557"/>
                <a:gd name="connsiteX90" fmla="*/ 1021614 w 1046881"/>
                <a:gd name="connsiteY90" fmla="*/ 321273 h 1043557"/>
                <a:gd name="connsiteX91" fmla="*/ 1018437 w 1046881"/>
                <a:gd name="connsiteY91" fmla="*/ 325392 h 1043557"/>
                <a:gd name="connsiteX92" fmla="*/ 1014895 w 1046881"/>
                <a:gd name="connsiteY92" fmla="*/ 329754 h 1043557"/>
                <a:gd name="connsiteX93" fmla="*/ 1011459 w 1046881"/>
                <a:gd name="connsiteY93" fmla="*/ 334933 h 1043557"/>
                <a:gd name="connsiteX94" fmla="*/ 1009088 w 1046881"/>
                <a:gd name="connsiteY94" fmla="*/ 338945 h 1043557"/>
                <a:gd name="connsiteX95" fmla="*/ 1012944 w 1046881"/>
                <a:gd name="connsiteY95" fmla="*/ 344821 h 1043557"/>
                <a:gd name="connsiteX96" fmla="*/ 1017240 w 1046881"/>
                <a:gd name="connsiteY96" fmla="*/ 350836 h 1043557"/>
                <a:gd name="connsiteX97" fmla="*/ 1014555 w 1046881"/>
                <a:gd name="connsiteY97" fmla="*/ 357151 h 1043557"/>
                <a:gd name="connsiteX98" fmla="*/ 1010593 w 1046881"/>
                <a:gd name="connsiteY98" fmla="*/ 363010 h 1043557"/>
                <a:gd name="connsiteX99" fmla="*/ 1009849 w 1046881"/>
                <a:gd name="connsiteY99" fmla="*/ 365161 h 1043557"/>
                <a:gd name="connsiteX100" fmla="*/ 1009314 w 1046881"/>
                <a:gd name="connsiteY100" fmla="*/ 370572 h 1043557"/>
                <a:gd name="connsiteX101" fmla="*/ 1006966 w 1046881"/>
                <a:gd name="connsiteY101" fmla="*/ 376232 h 1043557"/>
                <a:gd name="connsiteX102" fmla="*/ 998563 w 1046881"/>
                <a:gd name="connsiteY102" fmla="*/ 387609 h 1043557"/>
                <a:gd name="connsiteX103" fmla="*/ 998168 w 1046881"/>
                <a:gd name="connsiteY103" fmla="*/ 401850 h 1043557"/>
                <a:gd name="connsiteX104" fmla="*/ 999230 w 1046881"/>
                <a:gd name="connsiteY104" fmla="*/ 408494 h 1043557"/>
                <a:gd name="connsiteX105" fmla="*/ 995391 w 1046881"/>
                <a:gd name="connsiteY105" fmla="*/ 413726 h 1043557"/>
                <a:gd name="connsiteX106" fmla="*/ 990223 w 1046881"/>
                <a:gd name="connsiteY106" fmla="*/ 418300 h 1043557"/>
                <a:gd name="connsiteX107" fmla="*/ 985699 w 1046881"/>
                <a:gd name="connsiteY107" fmla="*/ 424660 h 1043557"/>
                <a:gd name="connsiteX108" fmla="*/ 983552 w 1046881"/>
                <a:gd name="connsiteY108" fmla="*/ 430282 h 1043557"/>
                <a:gd name="connsiteX109" fmla="*/ 985818 w 1046881"/>
                <a:gd name="connsiteY109" fmla="*/ 438211 h 1043557"/>
                <a:gd name="connsiteX110" fmla="*/ 982898 w 1046881"/>
                <a:gd name="connsiteY110" fmla="*/ 441062 h 1043557"/>
                <a:gd name="connsiteX111" fmla="*/ 980829 w 1046881"/>
                <a:gd name="connsiteY111" fmla="*/ 447285 h 1043557"/>
                <a:gd name="connsiteX112" fmla="*/ 981920 w 1046881"/>
                <a:gd name="connsiteY112" fmla="*/ 452495 h 1043557"/>
                <a:gd name="connsiteX113" fmla="*/ 979586 w 1046881"/>
                <a:gd name="connsiteY113" fmla="*/ 456699 h 1043557"/>
                <a:gd name="connsiteX114" fmla="*/ 977965 w 1046881"/>
                <a:gd name="connsiteY114" fmla="*/ 461641 h 1043557"/>
                <a:gd name="connsiteX115" fmla="*/ 975685 w 1046881"/>
                <a:gd name="connsiteY115" fmla="*/ 466254 h 1043557"/>
                <a:gd name="connsiteX116" fmla="*/ 973862 w 1046881"/>
                <a:gd name="connsiteY116" fmla="*/ 471222 h 1043557"/>
                <a:gd name="connsiteX117" fmla="*/ 977202 w 1046881"/>
                <a:gd name="connsiteY117" fmla="*/ 479426 h 1043557"/>
                <a:gd name="connsiteX118" fmla="*/ 980504 w 1046881"/>
                <a:gd name="connsiteY118" fmla="*/ 485778 h 1043557"/>
                <a:gd name="connsiteX119" fmla="*/ 984718 w 1046881"/>
                <a:gd name="connsiteY119" fmla="*/ 492830 h 1043557"/>
                <a:gd name="connsiteX120" fmla="*/ 987057 w 1046881"/>
                <a:gd name="connsiteY120" fmla="*/ 498084 h 1043557"/>
                <a:gd name="connsiteX121" fmla="*/ 983990 w 1046881"/>
                <a:gd name="connsiteY121" fmla="*/ 506088 h 1043557"/>
                <a:gd name="connsiteX122" fmla="*/ 983436 w 1046881"/>
                <a:gd name="connsiteY122" fmla="*/ 508214 h 1043557"/>
                <a:gd name="connsiteX123" fmla="*/ 983058 w 1046881"/>
                <a:gd name="connsiteY123" fmla="*/ 510120 h 1043557"/>
                <a:gd name="connsiteX124" fmla="*/ 827992 w 1046881"/>
                <a:gd name="connsiteY124" fmla="*/ 534483 h 1043557"/>
                <a:gd name="connsiteX125" fmla="*/ 828366 w 1046881"/>
                <a:gd name="connsiteY125" fmla="*/ 537474 h 1043557"/>
                <a:gd name="connsiteX126" fmla="*/ 836967 w 1046881"/>
                <a:gd name="connsiteY126" fmla="*/ 604863 h 1043557"/>
                <a:gd name="connsiteX127" fmla="*/ 843324 w 1046881"/>
                <a:gd name="connsiteY127" fmla="*/ 609201 h 1043557"/>
                <a:gd name="connsiteX128" fmla="*/ 849802 w 1046881"/>
                <a:gd name="connsiteY128" fmla="*/ 614737 h 1043557"/>
                <a:gd name="connsiteX129" fmla="*/ 853157 w 1046881"/>
                <a:gd name="connsiteY129" fmla="*/ 623110 h 1043557"/>
                <a:gd name="connsiteX130" fmla="*/ 854931 w 1046881"/>
                <a:gd name="connsiteY130" fmla="*/ 631967 h 1043557"/>
                <a:gd name="connsiteX131" fmla="*/ 857647 w 1046881"/>
                <a:gd name="connsiteY131" fmla="*/ 633867 h 1043557"/>
                <a:gd name="connsiteX132" fmla="*/ 860697 w 1046881"/>
                <a:gd name="connsiteY132" fmla="*/ 636764 h 1043557"/>
                <a:gd name="connsiteX133" fmla="*/ 862847 w 1046881"/>
                <a:gd name="connsiteY133" fmla="*/ 640369 h 1043557"/>
                <a:gd name="connsiteX134" fmla="*/ 865303 w 1046881"/>
                <a:gd name="connsiteY134" fmla="*/ 645008 h 1043557"/>
                <a:gd name="connsiteX135" fmla="*/ 870051 w 1046881"/>
                <a:gd name="connsiteY135" fmla="*/ 653025 h 1043557"/>
                <a:gd name="connsiteX136" fmla="*/ 874531 w 1046881"/>
                <a:gd name="connsiteY136" fmla="*/ 658997 h 1043557"/>
                <a:gd name="connsiteX137" fmla="*/ 875851 w 1046881"/>
                <a:gd name="connsiteY137" fmla="*/ 681685 h 1043557"/>
                <a:gd name="connsiteX138" fmla="*/ 872946 w 1046881"/>
                <a:gd name="connsiteY138" fmla="*/ 690910 h 1043557"/>
                <a:gd name="connsiteX139" fmla="*/ 869839 w 1046881"/>
                <a:gd name="connsiteY139" fmla="*/ 702001 h 1043557"/>
                <a:gd name="connsiteX140" fmla="*/ 872169 w 1046881"/>
                <a:gd name="connsiteY140" fmla="*/ 707247 h 1043557"/>
                <a:gd name="connsiteX141" fmla="*/ 870316 w 1046881"/>
                <a:gd name="connsiteY141" fmla="*/ 710368 h 1043557"/>
                <a:gd name="connsiteX142" fmla="*/ 869134 w 1046881"/>
                <a:gd name="connsiteY142" fmla="*/ 715483 h 1043557"/>
                <a:gd name="connsiteX143" fmla="*/ 871666 w 1046881"/>
                <a:gd name="connsiteY143" fmla="*/ 720703 h 1043557"/>
                <a:gd name="connsiteX144" fmla="*/ 874190 w 1046881"/>
                <a:gd name="connsiteY144" fmla="*/ 727173 h 1043557"/>
                <a:gd name="connsiteX145" fmla="*/ 870767 w 1046881"/>
                <a:gd name="connsiteY145" fmla="*/ 740559 h 1043557"/>
                <a:gd name="connsiteX146" fmla="*/ 865779 w 1046881"/>
                <a:gd name="connsiteY146" fmla="*/ 752728 h 1043557"/>
                <a:gd name="connsiteX147" fmla="*/ 865577 w 1046881"/>
                <a:gd name="connsiteY147" fmla="*/ 752754 h 1043557"/>
                <a:gd name="connsiteX148" fmla="*/ 866916 w 1046881"/>
                <a:gd name="connsiteY148" fmla="*/ 756708 h 1043557"/>
                <a:gd name="connsiteX149" fmla="*/ 869738 w 1046881"/>
                <a:gd name="connsiteY149" fmla="*/ 759426 h 1043557"/>
                <a:gd name="connsiteX150" fmla="*/ 860381 w 1046881"/>
                <a:gd name="connsiteY150" fmla="*/ 763320 h 1043557"/>
                <a:gd name="connsiteX151" fmla="*/ 855058 w 1046881"/>
                <a:gd name="connsiteY151" fmla="*/ 766895 h 1043557"/>
                <a:gd name="connsiteX152" fmla="*/ 849541 w 1046881"/>
                <a:gd name="connsiteY152" fmla="*/ 770287 h 1043557"/>
                <a:gd name="connsiteX153" fmla="*/ 826641 w 1046881"/>
                <a:gd name="connsiteY153" fmla="*/ 787468 h 1043557"/>
                <a:gd name="connsiteX154" fmla="*/ 808960 w 1046881"/>
                <a:gd name="connsiteY154" fmla="*/ 807887 h 1043557"/>
                <a:gd name="connsiteX155" fmla="*/ 807714 w 1046881"/>
                <a:gd name="connsiteY155" fmla="*/ 808050 h 1043557"/>
                <a:gd name="connsiteX156" fmla="*/ 807356 w 1046881"/>
                <a:gd name="connsiteY156" fmla="*/ 806882 h 1043557"/>
                <a:gd name="connsiteX157" fmla="*/ 817787 w 1046881"/>
                <a:gd name="connsiteY157" fmla="*/ 790498 h 1043557"/>
                <a:gd name="connsiteX158" fmla="*/ 823690 w 1046881"/>
                <a:gd name="connsiteY158" fmla="*/ 783760 h 1043557"/>
                <a:gd name="connsiteX159" fmla="*/ 832078 w 1046881"/>
                <a:gd name="connsiteY159" fmla="*/ 776906 h 1043557"/>
                <a:gd name="connsiteX160" fmla="*/ 829923 w 1046881"/>
                <a:gd name="connsiteY160" fmla="*/ 776147 h 1043557"/>
                <a:gd name="connsiteX161" fmla="*/ 827201 w 1046881"/>
                <a:gd name="connsiteY161" fmla="*/ 777335 h 1043557"/>
                <a:gd name="connsiteX162" fmla="*/ 820822 w 1046881"/>
                <a:gd name="connsiteY162" fmla="*/ 777544 h 1043557"/>
                <a:gd name="connsiteX163" fmla="*/ 820635 w 1046881"/>
                <a:gd name="connsiteY163" fmla="*/ 771394 h 1043557"/>
                <a:gd name="connsiteX164" fmla="*/ 821485 w 1046881"/>
                <a:gd name="connsiteY164" fmla="*/ 765316 h 1043557"/>
                <a:gd name="connsiteX165" fmla="*/ 818507 w 1046881"/>
                <a:gd name="connsiteY165" fmla="*/ 761403 h 1043557"/>
                <a:gd name="connsiteX166" fmla="*/ 814762 w 1046881"/>
                <a:gd name="connsiteY166" fmla="*/ 765778 h 1043557"/>
                <a:gd name="connsiteX167" fmla="*/ 810038 w 1046881"/>
                <a:gd name="connsiteY167" fmla="*/ 770523 h 1043557"/>
                <a:gd name="connsiteX168" fmla="*/ 805169 w 1046881"/>
                <a:gd name="connsiteY168" fmla="*/ 769703 h 1043557"/>
                <a:gd name="connsiteX169" fmla="*/ 803350 w 1046881"/>
                <a:gd name="connsiteY169" fmla="*/ 769941 h 1043557"/>
                <a:gd name="connsiteX170" fmla="*/ 803389 w 1046881"/>
                <a:gd name="connsiteY170" fmla="*/ 771809 h 1043557"/>
                <a:gd name="connsiteX171" fmla="*/ 807659 w 1046881"/>
                <a:gd name="connsiteY171" fmla="*/ 779056 h 1043557"/>
                <a:gd name="connsiteX172" fmla="*/ 811335 w 1046881"/>
                <a:gd name="connsiteY172" fmla="*/ 785167 h 1043557"/>
                <a:gd name="connsiteX173" fmla="*/ 813108 w 1046881"/>
                <a:gd name="connsiteY173" fmla="*/ 786149 h 1043557"/>
                <a:gd name="connsiteX174" fmla="*/ 814870 w 1046881"/>
                <a:gd name="connsiteY174" fmla="*/ 788625 h 1043557"/>
                <a:gd name="connsiteX175" fmla="*/ 806028 w 1046881"/>
                <a:gd name="connsiteY175" fmla="*/ 804593 h 1043557"/>
                <a:gd name="connsiteX176" fmla="*/ 802425 w 1046881"/>
                <a:gd name="connsiteY176" fmla="*/ 806902 h 1043557"/>
                <a:gd name="connsiteX177" fmla="*/ 800728 w 1046881"/>
                <a:gd name="connsiteY177" fmla="*/ 811217 h 1043557"/>
                <a:gd name="connsiteX178" fmla="*/ 800328 w 1046881"/>
                <a:gd name="connsiteY178" fmla="*/ 816022 h 1043557"/>
                <a:gd name="connsiteX179" fmla="*/ 798253 w 1046881"/>
                <a:gd name="connsiteY179" fmla="*/ 820595 h 1043557"/>
                <a:gd name="connsiteX180" fmla="*/ 797701 w 1046881"/>
                <a:gd name="connsiteY180" fmla="*/ 821083 h 1043557"/>
                <a:gd name="connsiteX181" fmla="*/ 771095 w 1046881"/>
                <a:gd name="connsiteY181" fmla="*/ 839789 h 1043557"/>
                <a:gd name="connsiteX182" fmla="*/ 769578 w 1046881"/>
                <a:gd name="connsiteY182" fmla="*/ 839190 h 1043557"/>
                <a:gd name="connsiteX183" fmla="*/ 766035 w 1046881"/>
                <a:gd name="connsiteY183" fmla="*/ 838820 h 1043557"/>
                <a:gd name="connsiteX184" fmla="*/ 761925 w 1046881"/>
                <a:gd name="connsiteY184" fmla="*/ 840398 h 1043557"/>
                <a:gd name="connsiteX185" fmla="*/ 760071 w 1046881"/>
                <a:gd name="connsiteY185" fmla="*/ 843519 h 1043557"/>
                <a:gd name="connsiteX186" fmla="*/ 764719 w 1046881"/>
                <a:gd name="connsiteY186" fmla="*/ 842912 h 1043557"/>
                <a:gd name="connsiteX187" fmla="*/ 746112 w 1046881"/>
                <a:gd name="connsiteY187" fmla="*/ 858075 h 1043557"/>
                <a:gd name="connsiteX188" fmla="*/ 746207 w 1046881"/>
                <a:gd name="connsiteY188" fmla="*/ 857230 h 1043557"/>
                <a:gd name="connsiteX189" fmla="*/ 750006 w 1046881"/>
                <a:gd name="connsiteY189" fmla="*/ 853264 h 1043557"/>
                <a:gd name="connsiteX190" fmla="*/ 754715 w 1046881"/>
                <a:gd name="connsiteY190" fmla="*/ 849978 h 1043557"/>
                <a:gd name="connsiteX191" fmla="*/ 752331 w 1046881"/>
                <a:gd name="connsiteY191" fmla="*/ 849040 h 1043557"/>
                <a:gd name="connsiteX192" fmla="*/ 749327 w 1046881"/>
                <a:gd name="connsiteY192" fmla="*/ 849641 h 1043557"/>
                <a:gd name="connsiteX193" fmla="*/ 744038 w 1046881"/>
                <a:gd name="connsiteY193" fmla="*/ 848494 h 1043557"/>
                <a:gd name="connsiteX194" fmla="*/ 741243 w 1046881"/>
                <a:gd name="connsiteY194" fmla="*/ 845980 h 1043557"/>
                <a:gd name="connsiteX195" fmla="*/ 739378 w 1046881"/>
                <a:gd name="connsiteY195" fmla="*/ 847438 h 1043557"/>
                <a:gd name="connsiteX196" fmla="*/ 737544 w 1046881"/>
                <a:gd name="connsiteY196" fmla="*/ 849134 h 1043557"/>
                <a:gd name="connsiteX197" fmla="*/ 735996 w 1046881"/>
                <a:gd name="connsiteY197" fmla="*/ 848296 h 1043557"/>
                <a:gd name="connsiteX198" fmla="*/ 734440 w 1046881"/>
                <a:gd name="connsiteY198" fmla="*/ 847667 h 1043557"/>
                <a:gd name="connsiteX199" fmla="*/ 733106 w 1046881"/>
                <a:gd name="connsiteY199" fmla="*/ 848466 h 1043557"/>
                <a:gd name="connsiteX200" fmla="*/ 733900 w 1046881"/>
                <a:gd name="connsiteY200" fmla="*/ 849819 h 1043557"/>
                <a:gd name="connsiteX201" fmla="*/ 734715 w 1046881"/>
                <a:gd name="connsiteY201" fmla="*/ 851342 h 1043557"/>
                <a:gd name="connsiteX202" fmla="*/ 729171 w 1046881"/>
                <a:gd name="connsiteY202" fmla="*/ 854530 h 1043557"/>
                <a:gd name="connsiteX203" fmla="*/ 724496 w 1046881"/>
                <a:gd name="connsiteY203" fmla="*/ 850215 h 1043557"/>
                <a:gd name="connsiteX204" fmla="*/ 720450 w 1046881"/>
                <a:gd name="connsiteY204" fmla="*/ 845991 h 1043557"/>
                <a:gd name="connsiteX205" fmla="*/ 719256 w 1046881"/>
                <a:gd name="connsiteY205" fmla="*/ 849443 h 1043557"/>
                <a:gd name="connsiteX206" fmla="*/ 727593 w 1046881"/>
                <a:gd name="connsiteY206" fmla="*/ 856610 h 1043557"/>
                <a:gd name="connsiteX207" fmla="*/ 735623 w 1046881"/>
                <a:gd name="connsiteY207" fmla="*/ 864580 h 1043557"/>
                <a:gd name="connsiteX208" fmla="*/ 732973 w 1046881"/>
                <a:gd name="connsiteY208" fmla="*/ 874188 h 1043557"/>
                <a:gd name="connsiteX209" fmla="*/ 720589 w 1046881"/>
                <a:gd name="connsiteY209" fmla="*/ 885069 h 1043557"/>
                <a:gd name="connsiteX210" fmla="*/ 710786 w 1046881"/>
                <a:gd name="connsiteY210" fmla="*/ 894988 h 1043557"/>
                <a:gd name="connsiteX211" fmla="*/ 704220 w 1046881"/>
                <a:gd name="connsiteY211" fmla="*/ 904518 h 1043557"/>
                <a:gd name="connsiteX212" fmla="*/ 703581 w 1046881"/>
                <a:gd name="connsiteY212" fmla="*/ 904602 h 1043557"/>
                <a:gd name="connsiteX213" fmla="*/ 703469 w 1046881"/>
                <a:gd name="connsiteY213" fmla="*/ 901911 h 1043557"/>
                <a:gd name="connsiteX214" fmla="*/ 709101 w 1046881"/>
                <a:gd name="connsiteY214" fmla="*/ 891531 h 1043557"/>
                <a:gd name="connsiteX215" fmla="*/ 716258 w 1046881"/>
                <a:gd name="connsiteY215" fmla="*/ 883380 h 1043557"/>
                <a:gd name="connsiteX216" fmla="*/ 724565 w 1046881"/>
                <a:gd name="connsiteY216" fmla="*/ 875911 h 1043557"/>
                <a:gd name="connsiteX217" fmla="*/ 732355 w 1046881"/>
                <a:gd name="connsiteY217" fmla="*/ 867886 h 1043557"/>
                <a:gd name="connsiteX218" fmla="*/ 730334 w 1046881"/>
                <a:gd name="connsiteY218" fmla="*/ 868150 h 1043557"/>
                <a:gd name="connsiteX219" fmla="*/ 725301 w 1046881"/>
                <a:gd name="connsiteY219" fmla="*/ 872103 h 1043557"/>
                <a:gd name="connsiteX220" fmla="*/ 720463 w 1046881"/>
                <a:gd name="connsiteY220" fmla="*/ 874401 h 1043557"/>
                <a:gd name="connsiteX221" fmla="*/ 716059 w 1046881"/>
                <a:gd name="connsiteY221" fmla="*/ 870848 h 1043557"/>
                <a:gd name="connsiteX222" fmla="*/ 712299 w 1046881"/>
                <a:gd name="connsiteY222" fmla="*/ 867246 h 1043557"/>
                <a:gd name="connsiteX223" fmla="*/ 711269 w 1046881"/>
                <a:gd name="connsiteY223" fmla="*/ 868803 h 1043557"/>
                <a:gd name="connsiteX224" fmla="*/ 713215 w 1046881"/>
                <a:gd name="connsiteY224" fmla="*/ 872677 h 1043557"/>
                <a:gd name="connsiteX225" fmla="*/ 715235 w 1046881"/>
                <a:gd name="connsiteY225" fmla="*/ 877131 h 1043557"/>
                <a:gd name="connsiteX226" fmla="*/ 712513 w 1046881"/>
                <a:gd name="connsiteY226" fmla="*/ 883037 h 1043557"/>
                <a:gd name="connsiteX227" fmla="*/ 706981 w 1046881"/>
                <a:gd name="connsiteY227" fmla="*/ 887888 h 1043557"/>
                <a:gd name="connsiteX228" fmla="*/ 703331 w 1046881"/>
                <a:gd name="connsiteY228" fmla="*/ 886700 h 1043557"/>
                <a:gd name="connsiteX229" fmla="*/ 697349 w 1046881"/>
                <a:gd name="connsiteY229" fmla="*/ 885227 h 1043557"/>
                <a:gd name="connsiteX230" fmla="*/ 694996 w 1046881"/>
                <a:gd name="connsiteY230" fmla="*/ 889246 h 1043557"/>
                <a:gd name="connsiteX231" fmla="*/ 696194 w 1046881"/>
                <a:gd name="connsiteY231" fmla="*/ 895264 h 1043557"/>
                <a:gd name="connsiteX232" fmla="*/ 698047 w 1046881"/>
                <a:gd name="connsiteY232" fmla="*/ 892143 h 1043557"/>
                <a:gd name="connsiteX233" fmla="*/ 699927 w 1046881"/>
                <a:gd name="connsiteY233" fmla="*/ 889226 h 1043557"/>
                <a:gd name="connsiteX234" fmla="*/ 702527 w 1046881"/>
                <a:gd name="connsiteY234" fmla="*/ 893396 h 1043557"/>
                <a:gd name="connsiteX235" fmla="*/ 698570 w 1046881"/>
                <a:gd name="connsiteY235" fmla="*/ 904008 h 1043557"/>
                <a:gd name="connsiteX236" fmla="*/ 692950 w 1046881"/>
                <a:gd name="connsiteY236" fmla="*/ 911334 h 1043557"/>
                <a:gd name="connsiteX237" fmla="*/ 689044 w 1046881"/>
                <a:gd name="connsiteY237" fmla="*/ 909762 h 1043557"/>
                <a:gd name="connsiteX238" fmla="*/ 681243 w 1046881"/>
                <a:gd name="connsiteY238" fmla="*/ 908527 h 1043557"/>
                <a:gd name="connsiteX239" fmla="*/ 676481 w 1046881"/>
                <a:gd name="connsiteY239" fmla="*/ 911404 h 1043557"/>
                <a:gd name="connsiteX240" fmla="*/ 684347 w 1046881"/>
                <a:gd name="connsiteY240" fmla="*/ 916551 h 1043557"/>
                <a:gd name="connsiteX241" fmla="*/ 688847 w 1046881"/>
                <a:gd name="connsiteY241" fmla="*/ 919259 h 1043557"/>
                <a:gd name="connsiteX242" fmla="*/ 679949 w 1046881"/>
                <a:gd name="connsiteY242" fmla="*/ 947376 h 1043557"/>
                <a:gd name="connsiteX243" fmla="*/ 677516 w 1046881"/>
                <a:gd name="connsiteY243" fmla="*/ 946063 h 1043557"/>
                <a:gd name="connsiteX244" fmla="*/ 675052 w 1046881"/>
                <a:gd name="connsiteY244" fmla="*/ 944512 h 1043557"/>
                <a:gd name="connsiteX245" fmla="*/ 669844 w 1046881"/>
                <a:gd name="connsiteY245" fmla="*/ 945817 h 1043557"/>
                <a:gd name="connsiteX246" fmla="*/ 667236 w 1046881"/>
                <a:gd name="connsiteY246" fmla="*/ 949453 h 1043557"/>
                <a:gd name="connsiteX247" fmla="*/ 677623 w 1046881"/>
                <a:gd name="connsiteY247" fmla="*/ 951600 h 1043557"/>
                <a:gd name="connsiteX248" fmla="*/ 681760 w 1046881"/>
                <a:gd name="connsiteY248" fmla="*/ 950227 h 1043557"/>
                <a:gd name="connsiteX249" fmla="*/ 685390 w 1046881"/>
                <a:gd name="connsiteY249" fmla="*/ 952840 h 1043557"/>
                <a:gd name="connsiteX250" fmla="*/ 681844 w 1046881"/>
                <a:gd name="connsiteY250" fmla="*/ 965028 h 1043557"/>
                <a:gd name="connsiteX251" fmla="*/ 677303 w 1046881"/>
                <a:gd name="connsiteY251" fmla="*/ 971172 h 1043557"/>
                <a:gd name="connsiteX252" fmla="*/ 680220 w 1046881"/>
                <a:gd name="connsiteY252" fmla="*/ 973045 h 1043557"/>
                <a:gd name="connsiteX253" fmla="*/ 682966 w 1046881"/>
                <a:gd name="connsiteY253" fmla="*/ 975185 h 1043557"/>
                <a:gd name="connsiteX254" fmla="*/ 681585 w 1046881"/>
                <a:gd name="connsiteY254" fmla="*/ 977204 h 1043557"/>
                <a:gd name="connsiteX255" fmla="*/ 680312 w 1046881"/>
                <a:gd name="connsiteY255" fmla="*/ 980041 h 1043557"/>
                <a:gd name="connsiteX256" fmla="*/ 683443 w 1046881"/>
                <a:gd name="connsiteY256" fmla="*/ 983552 h 1043557"/>
                <a:gd name="connsiteX257" fmla="*/ 688091 w 1046881"/>
                <a:gd name="connsiteY257" fmla="*/ 992380 h 1043557"/>
                <a:gd name="connsiteX258" fmla="*/ 689758 w 1046881"/>
                <a:gd name="connsiteY258" fmla="*/ 1000419 h 1043557"/>
                <a:gd name="connsiteX259" fmla="*/ 691535 w 1046881"/>
                <a:gd name="connsiteY259" fmla="*/ 1006153 h 1043557"/>
                <a:gd name="connsiteX260" fmla="*/ 696126 w 1046881"/>
                <a:gd name="connsiteY260" fmla="*/ 1017695 h 1043557"/>
                <a:gd name="connsiteX261" fmla="*/ 699360 w 1046881"/>
                <a:gd name="connsiteY261" fmla="*/ 1021990 h 1043557"/>
                <a:gd name="connsiteX262" fmla="*/ 701838 w 1046881"/>
                <a:gd name="connsiteY262" fmla="*/ 1026800 h 1043557"/>
                <a:gd name="connsiteX263" fmla="*/ 700732 w 1046881"/>
                <a:gd name="connsiteY263" fmla="*/ 1030657 h 1043557"/>
                <a:gd name="connsiteX264" fmla="*/ 699410 w 1046881"/>
                <a:gd name="connsiteY264" fmla="*/ 1034957 h 1043557"/>
                <a:gd name="connsiteX265" fmla="*/ 700859 w 1046881"/>
                <a:gd name="connsiteY265" fmla="*/ 1036606 h 1043557"/>
                <a:gd name="connsiteX266" fmla="*/ 702974 w 1046881"/>
                <a:gd name="connsiteY266" fmla="*/ 1033659 h 1043557"/>
                <a:gd name="connsiteX267" fmla="*/ 705056 w 1046881"/>
                <a:gd name="connsiteY267" fmla="*/ 1030716 h 1043557"/>
                <a:gd name="connsiteX268" fmla="*/ 709446 w 1046881"/>
                <a:gd name="connsiteY268" fmla="*/ 1037566 h 1043557"/>
                <a:gd name="connsiteX269" fmla="*/ 698312 w 1046881"/>
                <a:gd name="connsiteY269" fmla="*/ 1042282 h 1043557"/>
                <a:gd name="connsiteX270" fmla="*/ 693542 w 1046881"/>
                <a:gd name="connsiteY270" fmla="*/ 1043529 h 1043557"/>
                <a:gd name="connsiteX271" fmla="*/ 687990 w 1046881"/>
                <a:gd name="connsiteY271" fmla="*/ 1040370 h 1043557"/>
                <a:gd name="connsiteX272" fmla="*/ 678999 w 1046881"/>
                <a:gd name="connsiteY272" fmla="*/ 1034745 h 1043557"/>
                <a:gd name="connsiteX273" fmla="*/ 672688 w 1046881"/>
                <a:gd name="connsiteY273" fmla="*/ 1032067 h 1043557"/>
                <a:gd name="connsiteX274" fmla="*/ 645386 w 1046881"/>
                <a:gd name="connsiteY274" fmla="*/ 1034177 h 1043557"/>
                <a:gd name="connsiteX275" fmla="*/ 637620 w 1046881"/>
                <a:gd name="connsiteY275" fmla="*/ 1030058 h 1043557"/>
                <a:gd name="connsiteX276" fmla="*/ 631438 w 1046881"/>
                <a:gd name="connsiteY276" fmla="*/ 1023650 h 1043557"/>
                <a:gd name="connsiteX277" fmla="*/ 625719 w 1046881"/>
                <a:gd name="connsiteY277" fmla="*/ 1022351 h 1043557"/>
                <a:gd name="connsiteX278" fmla="*/ 619729 w 1046881"/>
                <a:gd name="connsiteY278" fmla="*/ 1023967 h 1043557"/>
                <a:gd name="connsiteX279" fmla="*/ 616286 w 1046881"/>
                <a:gd name="connsiteY279" fmla="*/ 1022786 h 1043557"/>
                <a:gd name="connsiteX280" fmla="*/ 612117 w 1046881"/>
                <a:gd name="connsiteY280" fmla="*/ 1019203 h 1043557"/>
                <a:gd name="connsiteX281" fmla="*/ 599158 w 1046881"/>
                <a:gd name="connsiteY281" fmla="*/ 1017809 h 1043557"/>
                <a:gd name="connsiteX282" fmla="*/ 594928 w 1046881"/>
                <a:gd name="connsiteY282" fmla="*/ 1016904 h 1043557"/>
                <a:gd name="connsiteX283" fmla="*/ 592934 w 1046881"/>
                <a:gd name="connsiteY283" fmla="*/ 1012655 h 1043557"/>
                <a:gd name="connsiteX284" fmla="*/ 590166 w 1046881"/>
                <a:gd name="connsiteY284" fmla="*/ 1010346 h 1043557"/>
                <a:gd name="connsiteX285" fmla="*/ 587451 w 1046881"/>
                <a:gd name="connsiteY285" fmla="*/ 1008446 h 1043557"/>
                <a:gd name="connsiteX286" fmla="*/ 583622 w 1046881"/>
                <a:gd name="connsiteY286" fmla="*/ 993301 h 1043557"/>
                <a:gd name="connsiteX287" fmla="*/ 574780 w 1046881"/>
                <a:gd name="connsiteY287" fmla="*/ 982523 h 1043557"/>
                <a:gd name="connsiteX288" fmla="*/ 567217 w 1046881"/>
                <a:gd name="connsiteY288" fmla="*/ 973416 h 1043557"/>
                <a:gd name="connsiteX289" fmla="*/ 566752 w 1046881"/>
                <a:gd name="connsiteY289" fmla="*/ 966713 h 1043557"/>
                <a:gd name="connsiteX290" fmla="*/ 566996 w 1046881"/>
                <a:gd name="connsiteY290" fmla="*/ 960714 h 1043557"/>
                <a:gd name="connsiteX291" fmla="*/ 563873 w 1046881"/>
                <a:gd name="connsiteY291" fmla="*/ 958833 h 1043557"/>
                <a:gd name="connsiteX292" fmla="*/ 562592 w 1046881"/>
                <a:gd name="connsiteY292" fmla="*/ 955323 h 1043557"/>
                <a:gd name="connsiteX293" fmla="*/ 562782 w 1046881"/>
                <a:gd name="connsiteY293" fmla="*/ 948915 h 1043557"/>
                <a:gd name="connsiteX294" fmla="*/ 560662 w 1046881"/>
                <a:gd name="connsiteY294" fmla="*/ 945272 h 1043557"/>
                <a:gd name="connsiteX295" fmla="*/ 555079 w 1046881"/>
                <a:gd name="connsiteY295" fmla="*/ 937156 h 1043557"/>
                <a:gd name="connsiteX296" fmla="*/ 547629 w 1046881"/>
                <a:gd name="connsiteY296" fmla="*/ 935458 h 1043557"/>
                <a:gd name="connsiteX297" fmla="*/ 542275 w 1046881"/>
                <a:gd name="connsiteY297" fmla="*/ 927520 h 1043557"/>
                <a:gd name="connsiteX298" fmla="*/ 535865 w 1046881"/>
                <a:gd name="connsiteY298" fmla="*/ 916216 h 1043557"/>
                <a:gd name="connsiteX299" fmla="*/ 523400 w 1046881"/>
                <a:gd name="connsiteY299" fmla="*/ 904455 h 1043557"/>
                <a:gd name="connsiteX300" fmla="*/ 511396 w 1046881"/>
                <a:gd name="connsiteY300" fmla="*/ 895963 h 1043557"/>
                <a:gd name="connsiteX301" fmla="*/ 508044 w 1046881"/>
                <a:gd name="connsiteY301" fmla="*/ 889186 h 1043557"/>
                <a:gd name="connsiteX302" fmla="*/ 505276 w 1046881"/>
                <a:gd name="connsiteY302" fmla="*/ 879279 h 1043557"/>
                <a:gd name="connsiteX303" fmla="*/ 500273 w 1046881"/>
                <a:gd name="connsiteY303" fmla="*/ 870879 h 1043557"/>
                <a:gd name="connsiteX304" fmla="*/ 493351 w 1046881"/>
                <a:gd name="connsiteY304" fmla="*/ 858809 h 1043557"/>
                <a:gd name="connsiteX305" fmla="*/ 486308 w 1046881"/>
                <a:gd name="connsiteY305" fmla="*/ 847380 h 1043557"/>
                <a:gd name="connsiteX306" fmla="*/ 480833 w 1046881"/>
                <a:gd name="connsiteY306" fmla="*/ 841921 h 1043557"/>
                <a:gd name="connsiteX307" fmla="*/ 476032 w 1046881"/>
                <a:gd name="connsiteY307" fmla="*/ 833494 h 1043557"/>
                <a:gd name="connsiteX308" fmla="*/ 469492 w 1046881"/>
                <a:gd name="connsiteY308" fmla="*/ 825919 h 1043557"/>
                <a:gd name="connsiteX309" fmla="*/ 456593 w 1046881"/>
                <a:gd name="connsiteY309" fmla="*/ 817128 h 1043557"/>
                <a:gd name="connsiteX310" fmla="*/ 444322 w 1046881"/>
                <a:gd name="connsiteY310" fmla="*/ 806590 h 1043557"/>
                <a:gd name="connsiteX311" fmla="*/ 437176 w 1046881"/>
                <a:gd name="connsiteY311" fmla="*/ 799094 h 1043557"/>
                <a:gd name="connsiteX312" fmla="*/ 432691 w 1046881"/>
                <a:gd name="connsiteY312" fmla="*/ 794928 h 1043557"/>
                <a:gd name="connsiteX313" fmla="*/ 424006 w 1046881"/>
                <a:gd name="connsiteY313" fmla="*/ 800815 h 1043557"/>
                <a:gd name="connsiteX314" fmla="*/ 417534 w 1046881"/>
                <a:gd name="connsiteY314" fmla="*/ 796909 h 1043557"/>
                <a:gd name="connsiteX315" fmla="*/ 407773 w 1046881"/>
                <a:gd name="connsiteY315" fmla="*/ 797976 h 1043557"/>
                <a:gd name="connsiteX316" fmla="*/ 400834 w 1046881"/>
                <a:gd name="connsiteY316" fmla="*/ 799923 h 1043557"/>
                <a:gd name="connsiteX317" fmla="*/ 389208 w 1046881"/>
                <a:gd name="connsiteY317" fmla="*/ 793013 h 1043557"/>
                <a:gd name="connsiteX318" fmla="*/ 377883 w 1046881"/>
                <a:gd name="connsiteY318" fmla="*/ 802298 h 1043557"/>
                <a:gd name="connsiteX319" fmla="*/ 370231 w 1046881"/>
                <a:gd name="connsiteY319" fmla="*/ 805345 h 1043557"/>
                <a:gd name="connsiteX320" fmla="*/ 364515 w 1046881"/>
                <a:gd name="connsiteY320" fmla="*/ 813516 h 1043557"/>
                <a:gd name="connsiteX321" fmla="*/ 355720 w 1046881"/>
                <a:gd name="connsiteY321" fmla="*/ 832981 h 1043557"/>
                <a:gd name="connsiteX322" fmla="*/ 345463 w 1046881"/>
                <a:gd name="connsiteY322" fmla="*/ 852014 h 1043557"/>
                <a:gd name="connsiteX323" fmla="*/ 338989 w 1046881"/>
                <a:gd name="connsiteY323" fmla="*/ 857786 h 1043557"/>
                <a:gd name="connsiteX324" fmla="*/ 331989 w 1046881"/>
                <a:gd name="connsiteY324" fmla="*/ 857695 h 1043557"/>
                <a:gd name="connsiteX325" fmla="*/ 324595 w 1046881"/>
                <a:gd name="connsiteY325" fmla="*/ 853284 h 1043557"/>
                <a:gd name="connsiteX326" fmla="*/ 320366 w 1046881"/>
                <a:gd name="connsiteY326" fmla="*/ 847662 h 1043557"/>
                <a:gd name="connsiteX327" fmla="*/ 314848 w 1046881"/>
                <a:gd name="connsiteY327" fmla="*/ 846336 h 1043557"/>
                <a:gd name="connsiteX328" fmla="*/ 309567 w 1046881"/>
                <a:gd name="connsiteY328" fmla="*/ 846818 h 1043557"/>
                <a:gd name="connsiteX329" fmla="*/ 303169 w 1046881"/>
                <a:gd name="connsiteY329" fmla="*/ 839016 h 1043557"/>
                <a:gd name="connsiteX330" fmla="*/ 298345 w 1046881"/>
                <a:gd name="connsiteY330" fmla="*/ 839855 h 1043557"/>
                <a:gd name="connsiteX331" fmla="*/ 291062 w 1046881"/>
                <a:gd name="connsiteY331" fmla="*/ 839176 h 1043557"/>
                <a:gd name="connsiteX332" fmla="*/ 284443 w 1046881"/>
                <a:gd name="connsiteY332" fmla="*/ 830987 h 1043557"/>
                <a:gd name="connsiteX333" fmla="*/ 275741 w 1046881"/>
                <a:gd name="connsiteY333" fmla="*/ 822862 h 1043557"/>
                <a:gd name="connsiteX334" fmla="*/ 257012 w 1046881"/>
                <a:gd name="connsiteY334" fmla="*/ 807201 h 1043557"/>
                <a:gd name="connsiteX335" fmla="*/ 251493 w 1046881"/>
                <a:gd name="connsiteY335" fmla="*/ 783847 h 1043557"/>
                <a:gd name="connsiteX336" fmla="*/ 249178 w 1046881"/>
                <a:gd name="connsiteY336" fmla="*/ 777143 h 1043557"/>
                <a:gd name="connsiteX337" fmla="*/ 244133 w 1046881"/>
                <a:gd name="connsiteY337" fmla="*/ 769997 h 1043557"/>
                <a:gd name="connsiteX338" fmla="*/ 240735 w 1046881"/>
                <a:gd name="connsiteY338" fmla="*/ 759721 h 1043557"/>
                <a:gd name="connsiteX339" fmla="*/ 237353 w 1046881"/>
                <a:gd name="connsiteY339" fmla="*/ 751144 h 1043557"/>
                <a:gd name="connsiteX340" fmla="*/ 220873 w 1046881"/>
                <a:gd name="connsiteY340" fmla="*/ 740115 h 1043557"/>
                <a:gd name="connsiteX341" fmla="*/ 204289 w 1046881"/>
                <a:gd name="connsiteY341" fmla="*/ 728302 h 1043557"/>
                <a:gd name="connsiteX342" fmla="*/ 195454 w 1046881"/>
                <a:gd name="connsiteY342" fmla="*/ 717315 h 1043557"/>
                <a:gd name="connsiteX343" fmla="*/ 185697 w 1046881"/>
                <a:gd name="connsiteY343" fmla="*/ 705824 h 1043557"/>
                <a:gd name="connsiteX344" fmla="*/ 171504 w 1046881"/>
                <a:gd name="connsiteY344" fmla="*/ 699458 h 1043557"/>
                <a:gd name="connsiteX345" fmla="*/ 160156 w 1046881"/>
                <a:gd name="connsiteY345" fmla="*/ 688383 h 1043557"/>
                <a:gd name="connsiteX346" fmla="*/ 150856 w 1046881"/>
                <a:gd name="connsiteY346" fmla="*/ 675410 h 1043557"/>
                <a:gd name="connsiteX347" fmla="*/ 143062 w 1046881"/>
                <a:gd name="connsiteY347" fmla="*/ 671086 h 1043557"/>
                <a:gd name="connsiteX348" fmla="*/ 136420 w 1046881"/>
                <a:gd name="connsiteY348" fmla="*/ 659498 h 1043557"/>
                <a:gd name="connsiteX349" fmla="*/ 136190 w 1046881"/>
                <a:gd name="connsiteY349" fmla="*/ 659498 h 1043557"/>
                <a:gd name="connsiteX350" fmla="*/ 141544 w 1046881"/>
                <a:gd name="connsiteY350" fmla="*/ 668812 h 1043557"/>
                <a:gd name="connsiteX351" fmla="*/ 50003 w 1046881"/>
                <a:gd name="connsiteY351" fmla="*/ 668017 h 1043557"/>
                <a:gd name="connsiteX352" fmla="*/ 47288 w 1046881"/>
                <a:gd name="connsiteY352" fmla="*/ 700870 h 1043557"/>
                <a:gd name="connsiteX353" fmla="*/ 0 w 1046881"/>
                <a:gd name="connsiteY353" fmla="*/ 699846 h 1043557"/>
                <a:gd name="connsiteX354" fmla="*/ 5742 w 1046881"/>
                <a:gd name="connsiteY354" fmla="*/ 310383 h 1043557"/>
                <a:gd name="connsiteX355" fmla="*/ 7002 w 1046881"/>
                <a:gd name="connsiteY355" fmla="*/ 310391 h 1043557"/>
                <a:gd name="connsiteX356" fmla="*/ 9852 w 1046881"/>
                <a:gd name="connsiteY356" fmla="*/ 38008 h 1043557"/>
                <a:gd name="connsiteX0" fmla="*/ 823384 w 1046881"/>
                <a:gd name="connsiteY0" fmla="*/ 500160 h 1043557"/>
                <a:gd name="connsiteX1" fmla="*/ 807558 w 1046881"/>
                <a:gd name="connsiteY1" fmla="*/ 499112 h 1043557"/>
                <a:gd name="connsiteX2" fmla="*/ 807558 w 1046881"/>
                <a:gd name="connsiteY2" fmla="*/ 502257 h 1043557"/>
                <a:gd name="connsiteX3" fmla="*/ 816598 w 1046881"/>
                <a:gd name="connsiteY3" fmla="*/ 499326 h 1043557"/>
                <a:gd name="connsiteX4" fmla="*/ 823384 w 1046881"/>
                <a:gd name="connsiteY4" fmla="*/ 500160 h 1043557"/>
                <a:gd name="connsiteX5" fmla="*/ 1003014 w 1046881"/>
                <a:gd name="connsiteY5" fmla="*/ 279043 h 1043557"/>
                <a:gd name="connsiteX6" fmla="*/ 998449 w 1046881"/>
                <a:gd name="connsiteY6" fmla="*/ 285862 h 1043557"/>
                <a:gd name="connsiteX7" fmla="*/ 998204 w 1046881"/>
                <a:gd name="connsiteY7" fmla="*/ 286340 h 1043557"/>
                <a:gd name="connsiteX8" fmla="*/ 998204 w 1046881"/>
                <a:gd name="connsiteY8" fmla="*/ 286410 h 1043557"/>
                <a:gd name="connsiteX9" fmla="*/ 1003060 w 1046881"/>
                <a:gd name="connsiteY9" fmla="*/ 279153 h 1043557"/>
                <a:gd name="connsiteX10" fmla="*/ 1003014 w 1046881"/>
                <a:gd name="connsiteY10" fmla="*/ 279043 h 1043557"/>
                <a:gd name="connsiteX11" fmla="*/ 721538 w 1046881"/>
                <a:gd name="connsiteY11" fmla="*/ 82028 h 1043557"/>
                <a:gd name="connsiteX12" fmla="*/ 719542 w 1046881"/>
                <a:gd name="connsiteY12" fmla="*/ 84784 h 1043557"/>
                <a:gd name="connsiteX13" fmla="*/ 719411 w 1046881"/>
                <a:gd name="connsiteY13" fmla="*/ 85010 h 1043557"/>
                <a:gd name="connsiteX14" fmla="*/ 721556 w 1046881"/>
                <a:gd name="connsiteY14" fmla="*/ 82039 h 1043557"/>
                <a:gd name="connsiteX15" fmla="*/ 721538 w 1046881"/>
                <a:gd name="connsiteY15" fmla="*/ 82028 h 1043557"/>
                <a:gd name="connsiteX16" fmla="*/ 9852 w 1046881"/>
                <a:gd name="connsiteY16" fmla="*/ 38008 h 1043557"/>
                <a:gd name="connsiteX17" fmla="*/ 83022 w 1046881"/>
                <a:gd name="connsiteY17" fmla="*/ 38941 h 1043557"/>
                <a:gd name="connsiteX18" fmla="*/ 261203 w 1046881"/>
                <a:gd name="connsiteY18" fmla="*/ 35587 h 1043557"/>
                <a:gd name="connsiteX19" fmla="*/ 357880 w 1046881"/>
                <a:gd name="connsiteY19" fmla="*/ 30573 h 1043557"/>
                <a:gd name="connsiteX20" fmla="*/ 362042 w 1046881"/>
                <a:gd name="connsiteY20" fmla="*/ 95017 h 1043557"/>
                <a:gd name="connsiteX21" fmla="*/ 387674 w 1046881"/>
                <a:gd name="connsiteY21" fmla="*/ 94887 h 1043557"/>
                <a:gd name="connsiteX22" fmla="*/ 459061 w 1046881"/>
                <a:gd name="connsiteY22" fmla="*/ 92743 h 1043557"/>
                <a:gd name="connsiteX23" fmla="*/ 696362 w 1046881"/>
                <a:gd name="connsiteY23" fmla="*/ 68270 h 1043557"/>
                <a:gd name="connsiteX24" fmla="*/ 695276 w 1046881"/>
                <a:gd name="connsiteY24" fmla="*/ 66765 h 1043557"/>
                <a:gd name="connsiteX25" fmla="*/ 688988 w 1046881"/>
                <a:gd name="connsiteY25" fmla="*/ 57924 h 1043557"/>
                <a:gd name="connsiteX26" fmla="*/ 685468 w 1046881"/>
                <a:gd name="connsiteY26" fmla="*/ 53037 h 1043557"/>
                <a:gd name="connsiteX27" fmla="*/ 681682 w 1046881"/>
                <a:gd name="connsiteY27" fmla="*/ 49216 h 1043557"/>
                <a:gd name="connsiteX28" fmla="*/ 679085 w 1046881"/>
                <a:gd name="connsiteY28" fmla="*/ 43589 h 1043557"/>
                <a:gd name="connsiteX29" fmla="*/ 676819 w 1046881"/>
                <a:gd name="connsiteY29" fmla="*/ 38759 h 1043557"/>
                <a:gd name="connsiteX30" fmla="*/ 673089 w 1046881"/>
                <a:gd name="connsiteY30" fmla="*/ 36979 h 1043557"/>
                <a:gd name="connsiteX31" fmla="*/ 670969 w 1046881"/>
                <a:gd name="connsiteY31" fmla="*/ 31908 h 1043557"/>
                <a:gd name="connsiteX32" fmla="*/ 670335 w 1046881"/>
                <a:gd name="connsiteY32" fmla="*/ 30150 h 1043557"/>
                <a:gd name="connsiteX33" fmla="*/ 742429 w 1046881"/>
                <a:gd name="connsiteY33" fmla="*/ 22983 h 1043557"/>
                <a:gd name="connsiteX34" fmla="*/ 868019 w 1046881"/>
                <a:gd name="connsiteY34" fmla="*/ 0 h 1043557"/>
                <a:gd name="connsiteX35" fmla="*/ 870170 w 1046881"/>
                <a:gd name="connsiteY35" fmla="*/ 3829 h 1043557"/>
                <a:gd name="connsiteX36" fmla="*/ 875839 w 1046881"/>
                <a:gd name="connsiteY36" fmla="*/ 7816 h 1043557"/>
                <a:gd name="connsiteX37" fmla="*/ 881121 w 1046881"/>
                <a:gd name="connsiteY37" fmla="*/ 12061 h 1043557"/>
                <a:gd name="connsiteX38" fmla="*/ 886197 w 1046881"/>
                <a:gd name="connsiteY38" fmla="*/ 16332 h 1043557"/>
                <a:gd name="connsiteX39" fmla="*/ 885534 w 1046881"/>
                <a:gd name="connsiteY39" fmla="*/ 22164 h 1043557"/>
                <a:gd name="connsiteX40" fmla="*/ 887205 w 1046881"/>
                <a:gd name="connsiteY40" fmla="*/ 33464 h 1043557"/>
                <a:gd name="connsiteX41" fmla="*/ 887603 w 1046881"/>
                <a:gd name="connsiteY41" fmla="*/ 41219 h 1043557"/>
                <a:gd name="connsiteX42" fmla="*/ 898693 w 1046881"/>
                <a:gd name="connsiteY42" fmla="*/ 56828 h 1043557"/>
                <a:gd name="connsiteX43" fmla="*/ 921957 w 1046881"/>
                <a:gd name="connsiteY43" fmla="*/ 75780 h 1043557"/>
                <a:gd name="connsiteX44" fmla="*/ 931672 w 1046881"/>
                <a:gd name="connsiteY44" fmla="*/ 83967 h 1043557"/>
                <a:gd name="connsiteX45" fmla="*/ 938373 w 1046881"/>
                <a:gd name="connsiteY45" fmla="*/ 92754 h 1043557"/>
                <a:gd name="connsiteX46" fmla="*/ 939227 w 1046881"/>
                <a:gd name="connsiteY46" fmla="*/ 102512 h 1043557"/>
                <a:gd name="connsiteX47" fmla="*/ 946842 w 1046881"/>
                <a:gd name="connsiteY47" fmla="*/ 107262 h 1043557"/>
                <a:gd name="connsiteX48" fmla="*/ 953870 w 1046881"/>
                <a:gd name="connsiteY48" fmla="*/ 101203 h 1043557"/>
                <a:gd name="connsiteX49" fmla="*/ 962977 w 1046881"/>
                <a:gd name="connsiteY49" fmla="*/ 104741 h 1043557"/>
                <a:gd name="connsiteX50" fmla="*/ 967861 w 1046881"/>
                <a:gd name="connsiteY50" fmla="*/ 112131 h 1043557"/>
                <a:gd name="connsiteX51" fmla="*/ 965336 w 1046881"/>
                <a:gd name="connsiteY51" fmla="*/ 129106 h 1043557"/>
                <a:gd name="connsiteX52" fmla="*/ 962303 w 1046881"/>
                <a:gd name="connsiteY52" fmla="*/ 143688 h 1043557"/>
                <a:gd name="connsiteX53" fmla="*/ 967061 w 1046881"/>
                <a:gd name="connsiteY53" fmla="*/ 153333 h 1043557"/>
                <a:gd name="connsiteX54" fmla="*/ 971160 w 1046881"/>
                <a:gd name="connsiteY54" fmla="*/ 157938 h 1043557"/>
                <a:gd name="connsiteX55" fmla="*/ 975462 w 1046881"/>
                <a:gd name="connsiteY55" fmla="*/ 160881 h 1043557"/>
                <a:gd name="connsiteX56" fmla="*/ 975885 w 1046881"/>
                <a:gd name="connsiteY56" fmla="*/ 161018 h 1043557"/>
                <a:gd name="connsiteX57" fmla="*/ 981899 w 1046881"/>
                <a:gd name="connsiteY57" fmla="*/ 164548 h 1043557"/>
                <a:gd name="connsiteX58" fmla="*/ 989409 w 1046881"/>
                <a:gd name="connsiteY58" fmla="*/ 168501 h 1043557"/>
                <a:gd name="connsiteX59" fmla="*/ 992927 w 1046881"/>
                <a:gd name="connsiteY59" fmla="*/ 168660 h 1043557"/>
                <a:gd name="connsiteX60" fmla="*/ 1001478 w 1046881"/>
                <a:gd name="connsiteY60" fmla="*/ 171033 h 1043557"/>
                <a:gd name="connsiteX61" fmla="*/ 1004788 w 1046881"/>
                <a:gd name="connsiteY61" fmla="*/ 174313 h 1043557"/>
                <a:gd name="connsiteX62" fmla="*/ 1011624 w 1046881"/>
                <a:gd name="connsiteY62" fmla="*/ 177942 h 1043557"/>
                <a:gd name="connsiteX63" fmla="*/ 1015928 w 1046881"/>
                <a:gd name="connsiteY63" fmla="*/ 185599 h 1043557"/>
                <a:gd name="connsiteX64" fmla="*/ 1020241 w 1046881"/>
                <a:gd name="connsiteY64" fmla="*/ 193461 h 1043557"/>
                <a:gd name="connsiteX65" fmla="*/ 1023417 w 1046881"/>
                <a:gd name="connsiteY65" fmla="*/ 198805 h 1043557"/>
                <a:gd name="connsiteX66" fmla="*/ 1021536 w 1046881"/>
                <a:gd name="connsiteY66" fmla="*/ 203367 h 1043557"/>
                <a:gd name="connsiteX67" fmla="*/ 1019521 w 1046881"/>
                <a:gd name="connsiteY67" fmla="*/ 209994 h 1043557"/>
                <a:gd name="connsiteX68" fmla="*/ 1026248 w 1046881"/>
                <a:gd name="connsiteY68" fmla="*/ 218984 h 1043557"/>
                <a:gd name="connsiteX69" fmla="*/ 1034011 w 1046881"/>
                <a:gd name="connsiteY69" fmla="*/ 224746 h 1043557"/>
                <a:gd name="connsiteX70" fmla="*/ 1039951 w 1046881"/>
                <a:gd name="connsiteY70" fmla="*/ 221509 h 1043557"/>
                <a:gd name="connsiteX71" fmla="*/ 1044310 w 1046881"/>
                <a:gd name="connsiteY71" fmla="*/ 226493 h 1043557"/>
                <a:gd name="connsiteX72" fmla="*/ 1046459 w 1046881"/>
                <a:gd name="connsiteY72" fmla="*/ 233401 h 1043557"/>
                <a:gd name="connsiteX73" fmla="*/ 1046881 w 1046881"/>
                <a:gd name="connsiteY73" fmla="*/ 236630 h 1043557"/>
                <a:gd name="connsiteX74" fmla="*/ 1043947 w 1046881"/>
                <a:gd name="connsiteY74" fmla="*/ 237839 h 1043557"/>
                <a:gd name="connsiteX75" fmla="*/ 1044642 w 1046881"/>
                <a:gd name="connsiteY75" fmla="*/ 246380 h 1043557"/>
                <a:gd name="connsiteX76" fmla="*/ 1037396 w 1046881"/>
                <a:gd name="connsiteY76" fmla="*/ 252261 h 1043557"/>
                <a:gd name="connsiteX77" fmla="*/ 1034407 w 1046881"/>
                <a:gd name="connsiteY77" fmla="*/ 256143 h 1043557"/>
                <a:gd name="connsiteX78" fmla="*/ 1032571 w 1046881"/>
                <a:gd name="connsiteY78" fmla="*/ 257827 h 1043557"/>
                <a:gd name="connsiteX79" fmla="*/ 1029775 w 1046881"/>
                <a:gd name="connsiteY79" fmla="*/ 258605 h 1043557"/>
                <a:gd name="connsiteX80" fmla="*/ 1028069 w 1046881"/>
                <a:gd name="connsiteY80" fmla="*/ 261287 h 1043557"/>
                <a:gd name="connsiteX81" fmla="*/ 1024212 w 1046881"/>
                <a:gd name="connsiteY81" fmla="*/ 293904 h 1043557"/>
                <a:gd name="connsiteX82" fmla="*/ 1025408 w 1046881"/>
                <a:gd name="connsiteY82" fmla="*/ 293644 h 1043557"/>
                <a:gd name="connsiteX83" fmla="*/ 1025512 w 1046881"/>
                <a:gd name="connsiteY83" fmla="*/ 294438 h 1043557"/>
                <a:gd name="connsiteX84" fmla="*/ 1026902 w 1046881"/>
                <a:gd name="connsiteY84" fmla="*/ 297140 h 1043557"/>
                <a:gd name="connsiteX85" fmla="*/ 1025162 w 1046881"/>
                <a:gd name="connsiteY85" fmla="*/ 307451 h 1043557"/>
                <a:gd name="connsiteX86" fmla="*/ 1019870 w 1046881"/>
                <a:gd name="connsiteY86" fmla="*/ 314303 h 1043557"/>
                <a:gd name="connsiteX87" fmla="*/ 1019330 w 1046881"/>
                <a:gd name="connsiteY87" fmla="*/ 316438 h 1043557"/>
                <a:gd name="connsiteX88" fmla="*/ 1020478 w 1046881"/>
                <a:gd name="connsiteY88" fmla="*/ 318953 h 1043557"/>
                <a:gd name="connsiteX89" fmla="*/ 1021614 w 1046881"/>
                <a:gd name="connsiteY89" fmla="*/ 321273 h 1043557"/>
                <a:gd name="connsiteX90" fmla="*/ 1018437 w 1046881"/>
                <a:gd name="connsiteY90" fmla="*/ 325392 h 1043557"/>
                <a:gd name="connsiteX91" fmla="*/ 1014895 w 1046881"/>
                <a:gd name="connsiteY91" fmla="*/ 329754 h 1043557"/>
                <a:gd name="connsiteX92" fmla="*/ 1011459 w 1046881"/>
                <a:gd name="connsiteY92" fmla="*/ 334933 h 1043557"/>
                <a:gd name="connsiteX93" fmla="*/ 1009088 w 1046881"/>
                <a:gd name="connsiteY93" fmla="*/ 338945 h 1043557"/>
                <a:gd name="connsiteX94" fmla="*/ 1012944 w 1046881"/>
                <a:gd name="connsiteY94" fmla="*/ 344821 h 1043557"/>
                <a:gd name="connsiteX95" fmla="*/ 1017240 w 1046881"/>
                <a:gd name="connsiteY95" fmla="*/ 350836 h 1043557"/>
                <a:gd name="connsiteX96" fmla="*/ 1014555 w 1046881"/>
                <a:gd name="connsiteY96" fmla="*/ 357151 h 1043557"/>
                <a:gd name="connsiteX97" fmla="*/ 1010593 w 1046881"/>
                <a:gd name="connsiteY97" fmla="*/ 363010 h 1043557"/>
                <a:gd name="connsiteX98" fmla="*/ 1009849 w 1046881"/>
                <a:gd name="connsiteY98" fmla="*/ 365161 h 1043557"/>
                <a:gd name="connsiteX99" fmla="*/ 1009314 w 1046881"/>
                <a:gd name="connsiteY99" fmla="*/ 370572 h 1043557"/>
                <a:gd name="connsiteX100" fmla="*/ 1006966 w 1046881"/>
                <a:gd name="connsiteY100" fmla="*/ 376232 h 1043557"/>
                <a:gd name="connsiteX101" fmla="*/ 998563 w 1046881"/>
                <a:gd name="connsiteY101" fmla="*/ 387609 h 1043557"/>
                <a:gd name="connsiteX102" fmla="*/ 998168 w 1046881"/>
                <a:gd name="connsiteY102" fmla="*/ 401850 h 1043557"/>
                <a:gd name="connsiteX103" fmla="*/ 999230 w 1046881"/>
                <a:gd name="connsiteY103" fmla="*/ 408494 h 1043557"/>
                <a:gd name="connsiteX104" fmla="*/ 995391 w 1046881"/>
                <a:gd name="connsiteY104" fmla="*/ 413726 h 1043557"/>
                <a:gd name="connsiteX105" fmla="*/ 990223 w 1046881"/>
                <a:gd name="connsiteY105" fmla="*/ 418300 h 1043557"/>
                <a:gd name="connsiteX106" fmla="*/ 985699 w 1046881"/>
                <a:gd name="connsiteY106" fmla="*/ 424660 h 1043557"/>
                <a:gd name="connsiteX107" fmla="*/ 983552 w 1046881"/>
                <a:gd name="connsiteY107" fmla="*/ 430282 h 1043557"/>
                <a:gd name="connsiteX108" fmla="*/ 985818 w 1046881"/>
                <a:gd name="connsiteY108" fmla="*/ 438211 h 1043557"/>
                <a:gd name="connsiteX109" fmla="*/ 982898 w 1046881"/>
                <a:gd name="connsiteY109" fmla="*/ 441062 h 1043557"/>
                <a:gd name="connsiteX110" fmla="*/ 980829 w 1046881"/>
                <a:gd name="connsiteY110" fmla="*/ 447285 h 1043557"/>
                <a:gd name="connsiteX111" fmla="*/ 981920 w 1046881"/>
                <a:gd name="connsiteY111" fmla="*/ 452495 h 1043557"/>
                <a:gd name="connsiteX112" fmla="*/ 979586 w 1046881"/>
                <a:gd name="connsiteY112" fmla="*/ 456699 h 1043557"/>
                <a:gd name="connsiteX113" fmla="*/ 977965 w 1046881"/>
                <a:gd name="connsiteY113" fmla="*/ 461641 h 1043557"/>
                <a:gd name="connsiteX114" fmla="*/ 975685 w 1046881"/>
                <a:gd name="connsiteY114" fmla="*/ 466254 h 1043557"/>
                <a:gd name="connsiteX115" fmla="*/ 973862 w 1046881"/>
                <a:gd name="connsiteY115" fmla="*/ 471222 h 1043557"/>
                <a:gd name="connsiteX116" fmla="*/ 977202 w 1046881"/>
                <a:gd name="connsiteY116" fmla="*/ 479426 h 1043557"/>
                <a:gd name="connsiteX117" fmla="*/ 980504 w 1046881"/>
                <a:gd name="connsiteY117" fmla="*/ 485778 h 1043557"/>
                <a:gd name="connsiteX118" fmla="*/ 984718 w 1046881"/>
                <a:gd name="connsiteY118" fmla="*/ 492830 h 1043557"/>
                <a:gd name="connsiteX119" fmla="*/ 987057 w 1046881"/>
                <a:gd name="connsiteY119" fmla="*/ 498084 h 1043557"/>
                <a:gd name="connsiteX120" fmla="*/ 983990 w 1046881"/>
                <a:gd name="connsiteY120" fmla="*/ 506088 h 1043557"/>
                <a:gd name="connsiteX121" fmla="*/ 983436 w 1046881"/>
                <a:gd name="connsiteY121" fmla="*/ 508214 h 1043557"/>
                <a:gd name="connsiteX122" fmla="*/ 983058 w 1046881"/>
                <a:gd name="connsiteY122" fmla="*/ 510120 h 1043557"/>
                <a:gd name="connsiteX123" fmla="*/ 827992 w 1046881"/>
                <a:gd name="connsiteY123" fmla="*/ 534483 h 1043557"/>
                <a:gd name="connsiteX124" fmla="*/ 828366 w 1046881"/>
                <a:gd name="connsiteY124" fmla="*/ 537474 h 1043557"/>
                <a:gd name="connsiteX125" fmla="*/ 836967 w 1046881"/>
                <a:gd name="connsiteY125" fmla="*/ 604863 h 1043557"/>
                <a:gd name="connsiteX126" fmla="*/ 843324 w 1046881"/>
                <a:gd name="connsiteY126" fmla="*/ 609201 h 1043557"/>
                <a:gd name="connsiteX127" fmla="*/ 849802 w 1046881"/>
                <a:gd name="connsiteY127" fmla="*/ 614737 h 1043557"/>
                <a:gd name="connsiteX128" fmla="*/ 853157 w 1046881"/>
                <a:gd name="connsiteY128" fmla="*/ 623110 h 1043557"/>
                <a:gd name="connsiteX129" fmla="*/ 854931 w 1046881"/>
                <a:gd name="connsiteY129" fmla="*/ 631967 h 1043557"/>
                <a:gd name="connsiteX130" fmla="*/ 857647 w 1046881"/>
                <a:gd name="connsiteY130" fmla="*/ 633867 h 1043557"/>
                <a:gd name="connsiteX131" fmla="*/ 860697 w 1046881"/>
                <a:gd name="connsiteY131" fmla="*/ 636764 h 1043557"/>
                <a:gd name="connsiteX132" fmla="*/ 862847 w 1046881"/>
                <a:gd name="connsiteY132" fmla="*/ 640369 h 1043557"/>
                <a:gd name="connsiteX133" fmla="*/ 865303 w 1046881"/>
                <a:gd name="connsiteY133" fmla="*/ 645008 h 1043557"/>
                <a:gd name="connsiteX134" fmla="*/ 870051 w 1046881"/>
                <a:gd name="connsiteY134" fmla="*/ 653025 h 1043557"/>
                <a:gd name="connsiteX135" fmla="*/ 874531 w 1046881"/>
                <a:gd name="connsiteY135" fmla="*/ 658997 h 1043557"/>
                <a:gd name="connsiteX136" fmla="*/ 875851 w 1046881"/>
                <a:gd name="connsiteY136" fmla="*/ 681685 h 1043557"/>
                <a:gd name="connsiteX137" fmla="*/ 872946 w 1046881"/>
                <a:gd name="connsiteY137" fmla="*/ 690910 h 1043557"/>
                <a:gd name="connsiteX138" fmla="*/ 869839 w 1046881"/>
                <a:gd name="connsiteY138" fmla="*/ 702001 h 1043557"/>
                <a:gd name="connsiteX139" fmla="*/ 872169 w 1046881"/>
                <a:gd name="connsiteY139" fmla="*/ 707247 h 1043557"/>
                <a:gd name="connsiteX140" fmla="*/ 870316 w 1046881"/>
                <a:gd name="connsiteY140" fmla="*/ 710368 h 1043557"/>
                <a:gd name="connsiteX141" fmla="*/ 869134 w 1046881"/>
                <a:gd name="connsiteY141" fmla="*/ 715483 h 1043557"/>
                <a:gd name="connsiteX142" fmla="*/ 871666 w 1046881"/>
                <a:gd name="connsiteY142" fmla="*/ 720703 h 1043557"/>
                <a:gd name="connsiteX143" fmla="*/ 874190 w 1046881"/>
                <a:gd name="connsiteY143" fmla="*/ 727173 h 1043557"/>
                <a:gd name="connsiteX144" fmla="*/ 870767 w 1046881"/>
                <a:gd name="connsiteY144" fmla="*/ 740559 h 1043557"/>
                <a:gd name="connsiteX145" fmla="*/ 865779 w 1046881"/>
                <a:gd name="connsiteY145" fmla="*/ 752728 h 1043557"/>
                <a:gd name="connsiteX146" fmla="*/ 865577 w 1046881"/>
                <a:gd name="connsiteY146" fmla="*/ 752754 h 1043557"/>
                <a:gd name="connsiteX147" fmla="*/ 866916 w 1046881"/>
                <a:gd name="connsiteY147" fmla="*/ 756708 h 1043557"/>
                <a:gd name="connsiteX148" fmla="*/ 869738 w 1046881"/>
                <a:gd name="connsiteY148" fmla="*/ 759426 h 1043557"/>
                <a:gd name="connsiteX149" fmla="*/ 860381 w 1046881"/>
                <a:gd name="connsiteY149" fmla="*/ 763320 h 1043557"/>
                <a:gd name="connsiteX150" fmla="*/ 855058 w 1046881"/>
                <a:gd name="connsiteY150" fmla="*/ 766895 h 1043557"/>
                <a:gd name="connsiteX151" fmla="*/ 849541 w 1046881"/>
                <a:gd name="connsiteY151" fmla="*/ 770287 h 1043557"/>
                <a:gd name="connsiteX152" fmla="*/ 826641 w 1046881"/>
                <a:gd name="connsiteY152" fmla="*/ 787468 h 1043557"/>
                <a:gd name="connsiteX153" fmla="*/ 808960 w 1046881"/>
                <a:gd name="connsiteY153" fmla="*/ 807887 h 1043557"/>
                <a:gd name="connsiteX154" fmla="*/ 807714 w 1046881"/>
                <a:gd name="connsiteY154" fmla="*/ 808050 h 1043557"/>
                <a:gd name="connsiteX155" fmla="*/ 807356 w 1046881"/>
                <a:gd name="connsiteY155" fmla="*/ 806882 h 1043557"/>
                <a:gd name="connsiteX156" fmla="*/ 817787 w 1046881"/>
                <a:gd name="connsiteY156" fmla="*/ 790498 h 1043557"/>
                <a:gd name="connsiteX157" fmla="*/ 823690 w 1046881"/>
                <a:gd name="connsiteY157" fmla="*/ 783760 h 1043557"/>
                <a:gd name="connsiteX158" fmla="*/ 832078 w 1046881"/>
                <a:gd name="connsiteY158" fmla="*/ 776906 h 1043557"/>
                <a:gd name="connsiteX159" fmla="*/ 829923 w 1046881"/>
                <a:gd name="connsiteY159" fmla="*/ 776147 h 1043557"/>
                <a:gd name="connsiteX160" fmla="*/ 827201 w 1046881"/>
                <a:gd name="connsiteY160" fmla="*/ 777335 h 1043557"/>
                <a:gd name="connsiteX161" fmla="*/ 820822 w 1046881"/>
                <a:gd name="connsiteY161" fmla="*/ 777544 h 1043557"/>
                <a:gd name="connsiteX162" fmla="*/ 820635 w 1046881"/>
                <a:gd name="connsiteY162" fmla="*/ 771394 h 1043557"/>
                <a:gd name="connsiteX163" fmla="*/ 821485 w 1046881"/>
                <a:gd name="connsiteY163" fmla="*/ 765316 h 1043557"/>
                <a:gd name="connsiteX164" fmla="*/ 818507 w 1046881"/>
                <a:gd name="connsiteY164" fmla="*/ 761403 h 1043557"/>
                <a:gd name="connsiteX165" fmla="*/ 814762 w 1046881"/>
                <a:gd name="connsiteY165" fmla="*/ 765778 h 1043557"/>
                <a:gd name="connsiteX166" fmla="*/ 810038 w 1046881"/>
                <a:gd name="connsiteY166" fmla="*/ 770523 h 1043557"/>
                <a:gd name="connsiteX167" fmla="*/ 805169 w 1046881"/>
                <a:gd name="connsiteY167" fmla="*/ 769703 h 1043557"/>
                <a:gd name="connsiteX168" fmla="*/ 803350 w 1046881"/>
                <a:gd name="connsiteY168" fmla="*/ 769941 h 1043557"/>
                <a:gd name="connsiteX169" fmla="*/ 803389 w 1046881"/>
                <a:gd name="connsiteY169" fmla="*/ 771809 h 1043557"/>
                <a:gd name="connsiteX170" fmla="*/ 807659 w 1046881"/>
                <a:gd name="connsiteY170" fmla="*/ 779056 h 1043557"/>
                <a:gd name="connsiteX171" fmla="*/ 811335 w 1046881"/>
                <a:gd name="connsiteY171" fmla="*/ 785167 h 1043557"/>
                <a:gd name="connsiteX172" fmla="*/ 813108 w 1046881"/>
                <a:gd name="connsiteY172" fmla="*/ 786149 h 1043557"/>
                <a:gd name="connsiteX173" fmla="*/ 814870 w 1046881"/>
                <a:gd name="connsiteY173" fmla="*/ 788625 h 1043557"/>
                <a:gd name="connsiteX174" fmla="*/ 806028 w 1046881"/>
                <a:gd name="connsiteY174" fmla="*/ 804593 h 1043557"/>
                <a:gd name="connsiteX175" fmla="*/ 802425 w 1046881"/>
                <a:gd name="connsiteY175" fmla="*/ 806902 h 1043557"/>
                <a:gd name="connsiteX176" fmla="*/ 800728 w 1046881"/>
                <a:gd name="connsiteY176" fmla="*/ 811217 h 1043557"/>
                <a:gd name="connsiteX177" fmla="*/ 800328 w 1046881"/>
                <a:gd name="connsiteY177" fmla="*/ 816022 h 1043557"/>
                <a:gd name="connsiteX178" fmla="*/ 798253 w 1046881"/>
                <a:gd name="connsiteY178" fmla="*/ 820595 h 1043557"/>
                <a:gd name="connsiteX179" fmla="*/ 797701 w 1046881"/>
                <a:gd name="connsiteY179" fmla="*/ 821083 h 1043557"/>
                <a:gd name="connsiteX180" fmla="*/ 771095 w 1046881"/>
                <a:gd name="connsiteY180" fmla="*/ 839789 h 1043557"/>
                <a:gd name="connsiteX181" fmla="*/ 769578 w 1046881"/>
                <a:gd name="connsiteY181" fmla="*/ 839190 h 1043557"/>
                <a:gd name="connsiteX182" fmla="*/ 766035 w 1046881"/>
                <a:gd name="connsiteY182" fmla="*/ 838820 h 1043557"/>
                <a:gd name="connsiteX183" fmla="*/ 761925 w 1046881"/>
                <a:gd name="connsiteY183" fmla="*/ 840398 h 1043557"/>
                <a:gd name="connsiteX184" fmla="*/ 760071 w 1046881"/>
                <a:gd name="connsiteY184" fmla="*/ 843519 h 1043557"/>
                <a:gd name="connsiteX185" fmla="*/ 764719 w 1046881"/>
                <a:gd name="connsiteY185" fmla="*/ 842912 h 1043557"/>
                <a:gd name="connsiteX186" fmla="*/ 746112 w 1046881"/>
                <a:gd name="connsiteY186" fmla="*/ 858075 h 1043557"/>
                <a:gd name="connsiteX187" fmla="*/ 746207 w 1046881"/>
                <a:gd name="connsiteY187" fmla="*/ 857230 h 1043557"/>
                <a:gd name="connsiteX188" fmla="*/ 750006 w 1046881"/>
                <a:gd name="connsiteY188" fmla="*/ 853264 h 1043557"/>
                <a:gd name="connsiteX189" fmla="*/ 754715 w 1046881"/>
                <a:gd name="connsiteY189" fmla="*/ 849978 h 1043557"/>
                <a:gd name="connsiteX190" fmla="*/ 752331 w 1046881"/>
                <a:gd name="connsiteY190" fmla="*/ 849040 h 1043557"/>
                <a:gd name="connsiteX191" fmla="*/ 749327 w 1046881"/>
                <a:gd name="connsiteY191" fmla="*/ 849641 h 1043557"/>
                <a:gd name="connsiteX192" fmla="*/ 744038 w 1046881"/>
                <a:gd name="connsiteY192" fmla="*/ 848494 h 1043557"/>
                <a:gd name="connsiteX193" fmla="*/ 741243 w 1046881"/>
                <a:gd name="connsiteY193" fmla="*/ 845980 h 1043557"/>
                <a:gd name="connsiteX194" fmla="*/ 739378 w 1046881"/>
                <a:gd name="connsiteY194" fmla="*/ 847438 h 1043557"/>
                <a:gd name="connsiteX195" fmla="*/ 737544 w 1046881"/>
                <a:gd name="connsiteY195" fmla="*/ 849134 h 1043557"/>
                <a:gd name="connsiteX196" fmla="*/ 735996 w 1046881"/>
                <a:gd name="connsiteY196" fmla="*/ 848296 h 1043557"/>
                <a:gd name="connsiteX197" fmla="*/ 734440 w 1046881"/>
                <a:gd name="connsiteY197" fmla="*/ 847667 h 1043557"/>
                <a:gd name="connsiteX198" fmla="*/ 733106 w 1046881"/>
                <a:gd name="connsiteY198" fmla="*/ 848466 h 1043557"/>
                <a:gd name="connsiteX199" fmla="*/ 733900 w 1046881"/>
                <a:gd name="connsiteY199" fmla="*/ 849819 h 1043557"/>
                <a:gd name="connsiteX200" fmla="*/ 734715 w 1046881"/>
                <a:gd name="connsiteY200" fmla="*/ 851342 h 1043557"/>
                <a:gd name="connsiteX201" fmla="*/ 729171 w 1046881"/>
                <a:gd name="connsiteY201" fmla="*/ 854530 h 1043557"/>
                <a:gd name="connsiteX202" fmla="*/ 724496 w 1046881"/>
                <a:gd name="connsiteY202" fmla="*/ 850215 h 1043557"/>
                <a:gd name="connsiteX203" fmla="*/ 720450 w 1046881"/>
                <a:gd name="connsiteY203" fmla="*/ 845991 h 1043557"/>
                <a:gd name="connsiteX204" fmla="*/ 719256 w 1046881"/>
                <a:gd name="connsiteY204" fmla="*/ 849443 h 1043557"/>
                <a:gd name="connsiteX205" fmla="*/ 727593 w 1046881"/>
                <a:gd name="connsiteY205" fmla="*/ 856610 h 1043557"/>
                <a:gd name="connsiteX206" fmla="*/ 735623 w 1046881"/>
                <a:gd name="connsiteY206" fmla="*/ 864580 h 1043557"/>
                <a:gd name="connsiteX207" fmla="*/ 732973 w 1046881"/>
                <a:gd name="connsiteY207" fmla="*/ 874188 h 1043557"/>
                <a:gd name="connsiteX208" fmla="*/ 720589 w 1046881"/>
                <a:gd name="connsiteY208" fmla="*/ 885069 h 1043557"/>
                <a:gd name="connsiteX209" fmla="*/ 710786 w 1046881"/>
                <a:gd name="connsiteY209" fmla="*/ 894988 h 1043557"/>
                <a:gd name="connsiteX210" fmla="*/ 704220 w 1046881"/>
                <a:gd name="connsiteY210" fmla="*/ 904518 h 1043557"/>
                <a:gd name="connsiteX211" fmla="*/ 703581 w 1046881"/>
                <a:gd name="connsiteY211" fmla="*/ 904602 h 1043557"/>
                <a:gd name="connsiteX212" fmla="*/ 703469 w 1046881"/>
                <a:gd name="connsiteY212" fmla="*/ 901911 h 1043557"/>
                <a:gd name="connsiteX213" fmla="*/ 709101 w 1046881"/>
                <a:gd name="connsiteY213" fmla="*/ 891531 h 1043557"/>
                <a:gd name="connsiteX214" fmla="*/ 716258 w 1046881"/>
                <a:gd name="connsiteY214" fmla="*/ 883380 h 1043557"/>
                <a:gd name="connsiteX215" fmla="*/ 724565 w 1046881"/>
                <a:gd name="connsiteY215" fmla="*/ 875911 h 1043557"/>
                <a:gd name="connsiteX216" fmla="*/ 732355 w 1046881"/>
                <a:gd name="connsiteY216" fmla="*/ 867886 h 1043557"/>
                <a:gd name="connsiteX217" fmla="*/ 730334 w 1046881"/>
                <a:gd name="connsiteY217" fmla="*/ 868150 h 1043557"/>
                <a:gd name="connsiteX218" fmla="*/ 725301 w 1046881"/>
                <a:gd name="connsiteY218" fmla="*/ 872103 h 1043557"/>
                <a:gd name="connsiteX219" fmla="*/ 720463 w 1046881"/>
                <a:gd name="connsiteY219" fmla="*/ 874401 h 1043557"/>
                <a:gd name="connsiteX220" fmla="*/ 716059 w 1046881"/>
                <a:gd name="connsiteY220" fmla="*/ 870848 h 1043557"/>
                <a:gd name="connsiteX221" fmla="*/ 712299 w 1046881"/>
                <a:gd name="connsiteY221" fmla="*/ 867246 h 1043557"/>
                <a:gd name="connsiteX222" fmla="*/ 711269 w 1046881"/>
                <a:gd name="connsiteY222" fmla="*/ 868803 h 1043557"/>
                <a:gd name="connsiteX223" fmla="*/ 713215 w 1046881"/>
                <a:gd name="connsiteY223" fmla="*/ 872677 h 1043557"/>
                <a:gd name="connsiteX224" fmla="*/ 715235 w 1046881"/>
                <a:gd name="connsiteY224" fmla="*/ 877131 h 1043557"/>
                <a:gd name="connsiteX225" fmla="*/ 712513 w 1046881"/>
                <a:gd name="connsiteY225" fmla="*/ 883037 h 1043557"/>
                <a:gd name="connsiteX226" fmla="*/ 706981 w 1046881"/>
                <a:gd name="connsiteY226" fmla="*/ 887888 h 1043557"/>
                <a:gd name="connsiteX227" fmla="*/ 703331 w 1046881"/>
                <a:gd name="connsiteY227" fmla="*/ 886700 h 1043557"/>
                <a:gd name="connsiteX228" fmla="*/ 697349 w 1046881"/>
                <a:gd name="connsiteY228" fmla="*/ 885227 h 1043557"/>
                <a:gd name="connsiteX229" fmla="*/ 694996 w 1046881"/>
                <a:gd name="connsiteY229" fmla="*/ 889246 h 1043557"/>
                <a:gd name="connsiteX230" fmla="*/ 696194 w 1046881"/>
                <a:gd name="connsiteY230" fmla="*/ 895264 h 1043557"/>
                <a:gd name="connsiteX231" fmla="*/ 698047 w 1046881"/>
                <a:gd name="connsiteY231" fmla="*/ 892143 h 1043557"/>
                <a:gd name="connsiteX232" fmla="*/ 699927 w 1046881"/>
                <a:gd name="connsiteY232" fmla="*/ 889226 h 1043557"/>
                <a:gd name="connsiteX233" fmla="*/ 702527 w 1046881"/>
                <a:gd name="connsiteY233" fmla="*/ 893396 h 1043557"/>
                <a:gd name="connsiteX234" fmla="*/ 698570 w 1046881"/>
                <a:gd name="connsiteY234" fmla="*/ 904008 h 1043557"/>
                <a:gd name="connsiteX235" fmla="*/ 692950 w 1046881"/>
                <a:gd name="connsiteY235" fmla="*/ 911334 h 1043557"/>
                <a:gd name="connsiteX236" fmla="*/ 689044 w 1046881"/>
                <a:gd name="connsiteY236" fmla="*/ 909762 h 1043557"/>
                <a:gd name="connsiteX237" fmla="*/ 681243 w 1046881"/>
                <a:gd name="connsiteY237" fmla="*/ 908527 h 1043557"/>
                <a:gd name="connsiteX238" fmla="*/ 676481 w 1046881"/>
                <a:gd name="connsiteY238" fmla="*/ 911404 h 1043557"/>
                <a:gd name="connsiteX239" fmla="*/ 684347 w 1046881"/>
                <a:gd name="connsiteY239" fmla="*/ 916551 h 1043557"/>
                <a:gd name="connsiteX240" fmla="*/ 688847 w 1046881"/>
                <a:gd name="connsiteY240" fmla="*/ 919259 h 1043557"/>
                <a:gd name="connsiteX241" fmla="*/ 679949 w 1046881"/>
                <a:gd name="connsiteY241" fmla="*/ 947376 h 1043557"/>
                <a:gd name="connsiteX242" fmla="*/ 677516 w 1046881"/>
                <a:gd name="connsiteY242" fmla="*/ 946063 h 1043557"/>
                <a:gd name="connsiteX243" fmla="*/ 675052 w 1046881"/>
                <a:gd name="connsiteY243" fmla="*/ 944512 h 1043557"/>
                <a:gd name="connsiteX244" fmla="*/ 669844 w 1046881"/>
                <a:gd name="connsiteY244" fmla="*/ 945817 h 1043557"/>
                <a:gd name="connsiteX245" fmla="*/ 667236 w 1046881"/>
                <a:gd name="connsiteY245" fmla="*/ 949453 h 1043557"/>
                <a:gd name="connsiteX246" fmla="*/ 677623 w 1046881"/>
                <a:gd name="connsiteY246" fmla="*/ 951600 h 1043557"/>
                <a:gd name="connsiteX247" fmla="*/ 681760 w 1046881"/>
                <a:gd name="connsiteY247" fmla="*/ 950227 h 1043557"/>
                <a:gd name="connsiteX248" fmla="*/ 685390 w 1046881"/>
                <a:gd name="connsiteY248" fmla="*/ 952840 h 1043557"/>
                <a:gd name="connsiteX249" fmla="*/ 681844 w 1046881"/>
                <a:gd name="connsiteY249" fmla="*/ 965028 h 1043557"/>
                <a:gd name="connsiteX250" fmla="*/ 677303 w 1046881"/>
                <a:gd name="connsiteY250" fmla="*/ 971172 h 1043557"/>
                <a:gd name="connsiteX251" fmla="*/ 680220 w 1046881"/>
                <a:gd name="connsiteY251" fmla="*/ 973045 h 1043557"/>
                <a:gd name="connsiteX252" fmla="*/ 682966 w 1046881"/>
                <a:gd name="connsiteY252" fmla="*/ 975185 h 1043557"/>
                <a:gd name="connsiteX253" fmla="*/ 681585 w 1046881"/>
                <a:gd name="connsiteY253" fmla="*/ 977204 h 1043557"/>
                <a:gd name="connsiteX254" fmla="*/ 680312 w 1046881"/>
                <a:gd name="connsiteY254" fmla="*/ 980041 h 1043557"/>
                <a:gd name="connsiteX255" fmla="*/ 683443 w 1046881"/>
                <a:gd name="connsiteY255" fmla="*/ 983552 h 1043557"/>
                <a:gd name="connsiteX256" fmla="*/ 688091 w 1046881"/>
                <a:gd name="connsiteY256" fmla="*/ 992380 h 1043557"/>
                <a:gd name="connsiteX257" fmla="*/ 689758 w 1046881"/>
                <a:gd name="connsiteY257" fmla="*/ 1000419 h 1043557"/>
                <a:gd name="connsiteX258" fmla="*/ 691535 w 1046881"/>
                <a:gd name="connsiteY258" fmla="*/ 1006153 h 1043557"/>
                <a:gd name="connsiteX259" fmla="*/ 696126 w 1046881"/>
                <a:gd name="connsiteY259" fmla="*/ 1017695 h 1043557"/>
                <a:gd name="connsiteX260" fmla="*/ 699360 w 1046881"/>
                <a:gd name="connsiteY260" fmla="*/ 1021990 h 1043557"/>
                <a:gd name="connsiteX261" fmla="*/ 701838 w 1046881"/>
                <a:gd name="connsiteY261" fmla="*/ 1026800 h 1043557"/>
                <a:gd name="connsiteX262" fmla="*/ 700732 w 1046881"/>
                <a:gd name="connsiteY262" fmla="*/ 1030657 h 1043557"/>
                <a:gd name="connsiteX263" fmla="*/ 699410 w 1046881"/>
                <a:gd name="connsiteY263" fmla="*/ 1034957 h 1043557"/>
                <a:gd name="connsiteX264" fmla="*/ 700859 w 1046881"/>
                <a:gd name="connsiteY264" fmla="*/ 1036606 h 1043557"/>
                <a:gd name="connsiteX265" fmla="*/ 702974 w 1046881"/>
                <a:gd name="connsiteY265" fmla="*/ 1033659 h 1043557"/>
                <a:gd name="connsiteX266" fmla="*/ 705056 w 1046881"/>
                <a:gd name="connsiteY266" fmla="*/ 1030716 h 1043557"/>
                <a:gd name="connsiteX267" fmla="*/ 709446 w 1046881"/>
                <a:gd name="connsiteY267" fmla="*/ 1037566 h 1043557"/>
                <a:gd name="connsiteX268" fmla="*/ 698312 w 1046881"/>
                <a:gd name="connsiteY268" fmla="*/ 1042282 h 1043557"/>
                <a:gd name="connsiteX269" fmla="*/ 693542 w 1046881"/>
                <a:gd name="connsiteY269" fmla="*/ 1043529 h 1043557"/>
                <a:gd name="connsiteX270" fmla="*/ 687990 w 1046881"/>
                <a:gd name="connsiteY270" fmla="*/ 1040370 h 1043557"/>
                <a:gd name="connsiteX271" fmla="*/ 678999 w 1046881"/>
                <a:gd name="connsiteY271" fmla="*/ 1034745 h 1043557"/>
                <a:gd name="connsiteX272" fmla="*/ 672688 w 1046881"/>
                <a:gd name="connsiteY272" fmla="*/ 1032067 h 1043557"/>
                <a:gd name="connsiteX273" fmla="*/ 645386 w 1046881"/>
                <a:gd name="connsiteY273" fmla="*/ 1034177 h 1043557"/>
                <a:gd name="connsiteX274" fmla="*/ 637620 w 1046881"/>
                <a:gd name="connsiteY274" fmla="*/ 1030058 h 1043557"/>
                <a:gd name="connsiteX275" fmla="*/ 631438 w 1046881"/>
                <a:gd name="connsiteY275" fmla="*/ 1023650 h 1043557"/>
                <a:gd name="connsiteX276" fmla="*/ 625719 w 1046881"/>
                <a:gd name="connsiteY276" fmla="*/ 1022351 h 1043557"/>
                <a:gd name="connsiteX277" fmla="*/ 619729 w 1046881"/>
                <a:gd name="connsiteY277" fmla="*/ 1023967 h 1043557"/>
                <a:gd name="connsiteX278" fmla="*/ 616286 w 1046881"/>
                <a:gd name="connsiteY278" fmla="*/ 1022786 h 1043557"/>
                <a:gd name="connsiteX279" fmla="*/ 612117 w 1046881"/>
                <a:gd name="connsiteY279" fmla="*/ 1019203 h 1043557"/>
                <a:gd name="connsiteX280" fmla="*/ 599158 w 1046881"/>
                <a:gd name="connsiteY280" fmla="*/ 1017809 h 1043557"/>
                <a:gd name="connsiteX281" fmla="*/ 594928 w 1046881"/>
                <a:gd name="connsiteY281" fmla="*/ 1016904 h 1043557"/>
                <a:gd name="connsiteX282" fmla="*/ 592934 w 1046881"/>
                <a:gd name="connsiteY282" fmla="*/ 1012655 h 1043557"/>
                <a:gd name="connsiteX283" fmla="*/ 590166 w 1046881"/>
                <a:gd name="connsiteY283" fmla="*/ 1010346 h 1043557"/>
                <a:gd name="connsiteX284" fmla="*/ 587451 w 1046881"/>
                <a:gd name="connsiteY284" fmla="*/ 1008446 h 1043557"/>
                <a:gd name="connsiteX285" fmla="*/ 583622 w 1046881"/>
                <a:gd name="connsiteY285" fmla="*/ 993301 h 1043557"/>
                <a:gd name="connsiteX286" fmla="*/ 574780 w 1046881"/>
                <a:gd name="connsiteY286" fmla="*/ 982523 h 1043557"/>
                <a:gd name="connsiteX287" fmla="*/ 567217 w 1046881"/>
                <a:gd name="connsiteY287" fmla="*/ 973416 h 1043557"/>
                <a:gd name="connsiteX288" fmla="*/ 566752 w 1046881"/>
                <a:gd name="connsiteY288" fmla="*/ 966713 h 1043557"/>
                <a:gd name="connsiteX289" fmla="*/ 566996 w 1046881"/>
                <a:gd name="connsiteY289" fmla="*/ 960714 h 1043557"/>
                <a:gd name="connsiteX290" fmla="*/ 563873 w 1046881"/>
                <a:gd name="connsiteY290" fmla="*/ 958833 h 1043557"/>
                <a:gd name="connsiteX291" fmla="*/ 562592 w 1046881"/>
                <a:gd name="connsiteY291" fmla="*/ 955323 h 1043557"/>
                <a:gd name="connsiteX292" fmla="*/ 562782 w 1046881"/>
                <a:gd name="connsiteY292" fmla="*/ 948915 h 1043557"/>
                <a:gd name="connsiteX293" fmla="*/ 560662 w 1046881"/>
                <a:gd name="connsiteY293" fmla="*/ 945272 h 1043557"/>
                <a:gd name="connsiteX294" fmla="*/ 555079 w 1046881"/>
                <a:gd name="connsiteY294" fmla="*/ 937156 h 1043557"/>
                <a:gd name="connsiteX295" fmla="*/ 547629 w 1046881"/>
                <a:gd name="connsiteY295" fmla="*/ 935458 h 1043557"/>
                <a:gd name="connsiteX296" fmla="*/ 542275 w 1046881"/>
                <a:gd name="connsiteY296" fmla="*/ 927520 h 1043557"/>
                <a:gd name="connsiteX297" fmla="*/ 535865 w 1046881"/>
                <a:gd name="connsiteY297" fmla="*/ 916216 h 1043557"/>
                <a:gd name="connsiteX298" fmla="*/ 523400 w 1046881"/>
                <a:gd name="connsiteY298" fmla="*/ 904455 h 1043557"/>
                <a:gd name="connsiteX299" fmla="*/ 511396 w 1046881"/>
                <a:gd name="connsiteY299" fmla="*/ 895963 h 1043557"/>
                <a:gd name="connsiteX300" fmla="*/ 508044 w 1046881"/>
                <a:gd name="connsiteY300" fmla="*/ 889186 h 1043557"/>
                <a:gd name="connsiteX301" fmla="*/ 505276 w 1046881"/>
                <a:gd name="connsiteY301" fmla="*/ 879279 h 1043557"/>
                <a:gd name="connsiteX302" fmla="*/ 500273 w 1046881"/>
                <a:gd name="connsiteY302" fmla="*/ 870879 h 1043557"/>
                <a:gd name="connsiteX303" fmla="*/ 493351 w 1046881"/>
                <a:gd name="connsiteY303" fmla="*/ 858809 h 1043557"/>
                <a:gd name="connsiteX304" fmla="*/ 486308 w 1046881"/>
                <a:gd name="connsiteY304" fmla="*/ 847380 h 1043557"/>
                <a:gd name="connsiteX305" fmla="*/ 480833 w 1046881"/>
                <a:gd name="connsiteY305" fmla="*/ 841921 h 1043557"/>
                <a:gd name="connsiteX306" fmla="*/ 476032 w 1046881"/>
                <a:gd name="connsiteY306" fmla="*/ 833494 h 1043557"/>
                <a:gd name="connsiteX307" fmla="*/ 469492 w 1046881"/>
                <a:gd name="connsiteY307" fmla="*/ 825919 h 1043557"/>
                <a:gd name="connsiteX308" fmla="*/ 456593 w 1046881"/>
                <a:gd name="connsiteY308" fmla="*/ 817128 h 1043557"/>
                <a:gd name="connsiteX309" fmla="*/ 444322 w 1046881"/>
                <a:gd name="connsiteY309" fmla="*/ 806590 h 1043557"/>
                <a:gd name="connsiteX310" fmla="*/ 437176 w 1046881"/>
                <a:gd name="connsiteY310" fmla="*/ 799094 h 1043557"/>
                <a:gd name="connsiteX311" fmla="*/ 432691 w 1046881"/>
                <a:gd name="connsiteY311" fmla="*/ 794928 h 1043557"/>
                <a:gd name="connsiteX312" fmla="*/ 424006 w 1046881"/>
                <a:gd name="connsiteY312" fmla="*/ 800815 h 1043557"/>
                <a:gd name="connsiteX313" fmla="*/ 417534 w 1046881"/>
                <a:gd name="connsiteY313" fmla="*/ 796909 h 1043557"/>
                <a:gd name="connsiteX314" fmla="*/ 407773 w 1046881"/>
                <a:gd name="connsiteY314" fmla="*/ 797976 h 1043557"/>
                <a:gd name="connsiteX315" fmla="*/ 400834 w 1046881"/>
                <a:gd name="connsiteY315" fmla="*/ 799923 h 1043557"/>
                <a:gd name="connsiteX316" fmla="*/ 389208 w 1046881"/>
                <a:gd name="connsiteY316" fmla="*/ 793013 h 1043557"/>
                <a:gd name="connsiteX317" fmla="*/ 377883 w 1046881"/>
                <a:gd name="connsiteY317" fmla="*/ 802298 h 1043557"/>
                <a:gd name="connsiteX318" fmla="*/ 370231 w 1046881"/>
                <a:gd name="connsiteY318" fmla="*/ 805345 h 1043557"/>
                <a:gd name="connsiteX319" fmla="*/ 364515 w 1046881"/>
                <a:gd name="connsiteY319" fmla="*/ 813516 h 1043557"/>
                <a:gd name="connsiteX320" fmla="*/ 355720 w 1046881"/>
                <a:gd name="connsiteY320" fmla="*/ 832981 h 1043557"/>
                <a:gd name="connsiteX321" fmla="*/ 345463 w 1046881"/>
                <a:gd name="connsiteY321" fmla="*/ 852014 h 1043557"/>
                <a:gd name="connsiteX322" fmla="*/ 338989 w 1046881"/>
                <a:gd name="connsiteY322" fmla="*/ 857786 h 1043557"/>
                <a:gd name="connsiteX323" fmla="*/ 331989 w 1046881"/>
                <a:gd name="connsiteY323" fmla="*/ 857695 h 1043557"/>
                <a:gd name="connsiteX324" fmla="*/ 324595 w 1046881"/>
                <a:gd name="connsiteY324" fmla="*/ 853284 h 1043557"/>
                <a:gd name="connsiteX325" fmla="*/ 320366 w 1046881"/>
                <a:gd name="connsiteY325" fmla="*/ 847662 h 1043557"/>
                <a:gd name="connsiteX326" fmla="*/ 314848 w 1046881"/>
                <a:gd name="connsiteY326" fmla="*/ 846336 h 1043557"/>
                <a:gd name="connsiteX327" fmla="*/ 309567 w 1046881"/>
                <a:gd name="connsiteY327" fmla="*/ 846818 h 1043557"/>
                <a:gd name="connsiteX328" fmla="*/ 303169 w 1046881"/>
                <a:gd name="connsiteY328" fmla="*/ 839016 h 1043557"/>
                <a:gd name="connsiteX329" fmla="*/ 298345 w 1046881"/>
                <a:gd name="connsiteY329" fmla="*/ 839855 h 1043557"/>
                <a:gd name="connsiteX330" fmla="*/ 291062 w 1046881"/>
                <a:gd name="connsiteY330" fmla="*/ 839176 h 1043557"/>
                <a:gd name="connsiteX331" fmla="*/ 284443 w 1046881"/>
                <a:gd name="connsiteY331" fmla="*/ 830987 h 1043557"/>
                <a:gd name="connsiteX332" fmla="*/ 275741 w 1046881"/>
                <a:gd name="connsiteY332" fmla="*/ 822862 h 1043557"/>
                <a:gd name="connsiteX333" fmla="*/ 257012 w 1046881"/>
                <a:gd name="connsiteY333" fmla="*/ 807201 h 1043557"/>
                <a:gd name="connsiteX334" fmla="*/ 251493 w 1046881"/>
                <a:gd name="connsiteY334" fmla="*/ 783847 h 1043557"/>
                <a:gd name="connsiteX335" fmla="*/ 249178 w 1046881"/>
                <a:gd name="connsiteY335" fmla="*/ 777143 h 1043557"/>
                <a:gd name="connsiteX336" fmla="*/ 244133 w 1046881"/>
                <a:gd name="connsiteY336" fmla="*/ 769997 h 1043557"/>
                <a:gd name="connsiteX337" fmla="*/ 240735 w 1046881"/>
                <a:gd name="connsiteY337" fmla="*/ 759721 h 1043557"/>
                <a:gd name="connsiteX338" fmla="*/ 237353 w 1046881"/>
                <a:gd name="connsiteY338" fmla="*/ 751144 h 1043557"/>
                <a:gd name="connsiteX339" fmla="*/ 220873 w 1046881"/>
                <a:gd name="connsiteY339" fmla="*/ 740115 h 1043557"/>
                <a:gd name="connsiteX340" fmla="*/ 204289 w 1046881"/>
                <a:gd name="connsiteY340" fmla="*/ 728302 h 1043557"/>
                <a:gd name="connsiteX341" fmla="*/ 195454 w 1046881"/>
                <a:gd name="connsiteY341" fmla="*/ 717315 h 1043557"/>
                <a:gd name="connsiteX342" fmla="*/ 185697 w 1046881"/>
                <a:gd name="connsiteY342" fmla="*/ 705824 h 1043557"/>
                <a:gd name="connsiteX343" fmla="*/ 171504 w 1046881"/>
                <a:gd name="connsiteY343" fmla="*/ 699458 h 1043557"/>
                <a:gd name="connsiteX344" fmla="*/ 160156 w 1046881"/>
                <a:gd name="connsiteY344" fmla="*/ 688383 h 1043557"/>
                <a:gd name="connsiteX345" fmla="*/ 150856 w 1046881"/>
                <a:gd name="connsiteY345" fmla="*/ 675410 h 1043557"/>
                <a:gd name="connsiteX346" fmla="*/ 143062 w 1046881"/>
                <a:gd name="connsiteY346" fmla="*/ 671086 h 1043557"/>
                <a:gd name="connsiteX347" fmla="*/ 136420 w 1046881"/>
                <a:gd name="connsiteY347" fmla="*/ 659498 h 1043557"/>
                <a:gd name="connsiteX348" fmla="*/ 136190 w 1046881"/>
                <a:gd name="connsiteY348" fmla="*/ 659498 h 1043557"/>
                <a:gd name="connsiteX349" fmla="*/ 141544 w 1046881"/>
                <a:gd name="connsiteY349" fmla="*/ 668812 h 1043557"/>
                <a:gd name="connsiteX350" fmla="*/ 50003 w 1046881"/>
                <a:gd name="connsiteY350" fmla="*/ 668017 h 1043557"/>
                <a:gd name="connsiteX351" fmla="*/ 47288 w 1046881"/>
                <a:gd name="connsiteY351" fmla="*/ 700870 h 1043557"/>
                <a:gd name="connsiteX352" fmla="*/ 0 w 1046881"/>
                <a:gd name="connsiteY352" fmla="*/ 699846 h 1043557"/>
                <a:gd name="connsiteX353" fmla="*/ 5742 w 1046881"/>
                <a:gd name="connsiteY353" fmla="*/ 310383 h 1043557"/>
                <a:gd name="connsiteX354" fmla="*/ 7002 w 1046881"/>
                <a:gd name="connsiteY354" fmla="*/ 310391 h 1043557"/>
                <a:gd name="connsiteX355" fmla="*/ 9852 w 1046881"/>
                <a:gd name="connsiteY355" fmla="*/ 38008 h 1043557"/>
                <a:gd name="connsiteX0" fmla="*/ 816598 w 1046881"/>
                <a:gd name="connsiteY0" fmla="*/ 499326 h 1043557"/>
                <a:gd name="connsiteX1" fmla="*/ 807558 w 1046881"/>
                <a:gd name="connsiteY1" fmla="*/ 499112 h 1043557"/>
                <a:gd name="connsiteX2" fmla="*/ 807558 w 1046881"/>
                <a:gd name="connsiteY2" fmla="*/ 502257 h 1043557"/>
                <a:gd name="connsiteX3" fmla="*/ 816598 w 1046881"/>
                <a:gd name="connsiteY3" fmla="*/ 499326 h 1043557"/>
                <a:gd name="connsiteX4" fmla="*/ 1003014 w 1046881"/>
                <a:gd name="connsiteY4" fmla="*/ 279043 h 1043557"/>
                <a:gd name="connsiteX5" fmla="*/ 998449 w 1046881"/>
                <a:gd name="connsiteY5" fmla="*/ 285862 h 1043557"/>
                <a:gd name="connsiteX6" fmla="*/ 998204 w 1046881"/>
                <a:gd name="connsiteY6" fmla="*/ 286340 h 1043557"/>
                <a:gd name="connsiteX7" fmla="*/ 998204 w 1046881"/>
                <a:gd name="connsiteY7" fmla="*/ 286410 h 1043557"/>
                <a:gd name="connsiteX8" fmla="*/ 1003060 w 1046881"/>
                <a:gd name="connsiteY8" fmla="*/ 279153 h 1043557"/>
                <a:gd name="connsiteX9" fmla="*/ 1003014 w 1046881"/>
                <a:gd name="connsiteY9" fmla="*/ 279043 h 1043557"/>
                <a:gd name="connsiteX10" fmla="*/ 721538 w 1046881"/>
                <a:gd name="connsiteY10" fmla="*/ 82028 h 1043557"/>
                <a:gd name="connsiteX11" fmla="*/ 719542 w 1046881"/>
                <a:gd name="connsiteY11" fmla="*/ 84784 h 1043557"/>
                <a:gd name="connsiteX12" fmla="*/ 719411 w 1046881"/>
                <a:gd name="connsiteY12" fmla="*/ 85010 h 1043557"/>
                <a:gd name="connsiteX13" fmla="*/ 721556 w 1046881"/>
                <a:gd name="connsiteY13" fmla="*/ 82039 h 1043557"/>
                <a:gd name="connsiteX14" fmla="*/ 721538 w 1046881"/>
                <a:gd name="connsiteY14" fmla="*/ 82028 h 1043557"/>
                <a:gd name="connsiteX15" fmla="*/ 9852 w 1046881"/>
                <a:gd name="connsiteY15" fmla="*/ 38008 h 1043557"/>
                <a:gd name="connsiteX16" fmla="*/ 83022 w 1046881"/>
                <a:gd name="connsiteY16" fmla="*/ 38941 h 1043557"/>
                <a:gd name="connsiteX17" fmla="*/ 261203 w 1046881"/>
                <a:gd name="connsiteY17" fmla="*/ 35587 h 1043557"/>
                <a:gd name="connsiteX18" fmla="*/ 357880 w 1046881"/>
                <a:gd name="connsiteY18" fmla="*/ 30573 h 1043557"/>
                <a:gd name="connsiteX19" fmla="*/ 362042 w 1046881"/>
                <a:gd name="connsiteY19" fmla="*/ 95017 h 1043557"/>
                <a:gd name="connsiteX20" fmla="*/ 387674 w 1046881"/>
                <a:gd name="connsiteY20" fmla="*/ 94887 h 1043557"/>
                <a:gd name="connsiteX21" fmla="*/ 459061 w 1046881"/>
                <a:gd name="connsiteY21" fmla="*/ 92743 h 1043557"/>
                <a:gd name="connsiteX22" fmla="*/ 696362 w 1046881"/>
                <a:gd name="connsiteY22" fmla="*/ 68270 h 1043557"/>
                <a:gd name="connsiteX23" fmla="*/ 695276 w 1046881"/>
                <a:gd name="connsiteY23" fmla="*/ 66765 h 1043557"/>
                <a:gd name="connsiteX24" fmla="*/ 688988 w 1046881"/>
                <a:gd name="connsiteY24" fmla="*/ 57924 h 1043557"/>
                <a:gd name="connsiteX25" fmla="*/ 685468 w 1046881"/>
                <a:gd name="connsiteY25" fmla="*/ 53037 h 1043557"/>
                <a:gd name="connsiteX26" fmla="*/ 681682 w 1046881"/>
                <a:gd name="connsiteY26" fmla="*/ 49216 h 1043557"/>
                <a:gd name="connsiteX27" fmla="*/ 679085 w 1046881"/>
                <a:gd name="connsiteY27" fmla="*/ 43589 h 1043557"/>
                <a:gd name="connsiteX28" fmla="*/ 676819 w 1046881"/>
                <a:gd name="connsiteY28" fmla="*/ 38759 h 1043557"/>
                <a:gd name="connsiteX29" fmla="*/ 673089 w 1046881"/>
                <a:gd name="connsiteY29" fmla="*/ 36979 h 1043557"/>
                <a:gd name="connsiteX30" fmla="*/ 670969 w 1046881"/>
                <a:gd name="connsiteY30" fmla="*/ 31908 h 1043557"/>
                <a:gd name="connsiteX31" fmla="*/ 670335 w 1046881"/>
                <a:gd name="connsiteY31" fmla="*/ 30150 h 1043557"/>
                <a:gd name="connsiteX32" fmla="*/ 742429 w 1046881"/>
                <a:gd name="connsiteY32" fmla="*/ 22983 h 1043557"/>
                <a:gd name="connsiteX33" fmla="*/ 868019 w 1046881"/>
                <a:gd name="connsiteY33" fmla="*/ 0 h 1043557"/>
                <a:gd name="connsiteX34" fmla="*/ 870170 w 1046881"/>
                <a:gd name="connsiteY34" fmla="*/ 3829 h 1043557"/>
                <a:gd name="connsiteX35" fmla="*/ 875839 w 1046881"/>
                <a:gd name="connsiteY35" fmla="*/ 7816 h 1043557"/>
                <a:gd name="connsiteX36" fmla="*/ 881121 w 1046881"/>
                <a:gd name="connsiteY36" fmla="*/ 12061 h 1043557"/>
                <a:gd name="connsiteX37" fmla="*/ 886197 w 1046881"/>
                <a:gd name="connsiteY37" fmla="*/ 16332 h 1043557"/>
                <a:gd name="connsiteX38" fmla="*/ 885534 w 1046881"/>
                <a:gd name="connsiteY38" fmla="*/ 22164 h 1043557"/>
                <a:gd name="connsiteX39" fmla="*/ 887205 w 1046881"/>
                <a:gd name="connsiteY39" fmla="*/ 33464 h 1043557"/>
                <a:gd name="connsiteX40" fmla="*/ 887603 w 1046881"/>
                <a:gd name="connsiteY40" fmla="*/ 41219 h 1043557"/>
                <a:gd name="connsiteX41" fmla="*/ 898693 w 1046881"/>
                <a:gd name="connsiteY41" fmla="*/ 56828 h 1043557"/>
                <a:gd name="connsiteX42" fmla="*/ 921957 w 1046881"/>
                <a:gd name="connsiteY42" fmla="*/ 75780 h 1043557"/>
                <a:gd name="connsiteX43" fmla="*/ 931672 w 1046881"/>
                <a:gd name="connsiteY43" fmla="*/ 83967 h 1043557"/>
                <a:gd name="connsiteX44" fmla="*/ 938373 w 1046881"/>
                <a:gd name="connsiteY44" fmla="*/ 92754 h 1043557"/>
                <a:gd name="connsiteX45" fmla="*/ 939227 w 1046881"/>
                <a:gd name="connsiteY45" fmla="*/ 102512 h 1043557"/>
                <a:gd name="connsiteX46" fmla="*/ 946842 w 1046881"/>
                <a:gd name="connsiteY46" fmla="*/ 107262 h 1043557"/>
                <a:gd name="connsiteX47" fmla="*/ 953870 w 1046881"/>
                <a:gd name="connsiteY47" fmla="*/ 101203 h 1043557"/>
                <a:gd name="connsiteX48" fmla="*/ 962977 w 1046881"/>
                <a:gd name="connsiteY48" fmla="*/ 104741 h 1043557"/>
                <a:gd name="connsiteX49" fmla="*/ 967861 w 1046881"/>
                <a:gd name="connsiteY49" fmla="*/ 112131 h 1043557"/>
                <a:gd name="connsiteX50" fmla="*/ 965336 w 1046881"/>
                <a:gd name="connsiteY50" fmla="*/ 129106 h 1043557"/>
                <a:gd name="connsiteX51" fmla="*/ 962303 w 1046881"/>
                <a:gd name="connsiteY51" fmla="*/ 143688 h 1043557"/>
                <a:gd name="connsiteX52" fmla="*/ 967061 w 1046881"/>
                <a:gd name="connsiteY52" fmla="*/ 153333 h 1043557"/>
                <a:gd name="connsiteX53" fmla="*/ 971160 w 1046881"/>
                <a:gd name="connsiteY53" fmla="*/ 157938 h 1043557"/>
                <a:gd name="connsiteX54" fmla="*/ 975462 w 1046881"/>
                <a:gd name="connsiteY54" fmla="*/ 160881 h 1043557"/>
                <a:gd name="connsiteX55" fmla="*/ 975885 w 1046881"/>
                <a:gd name="connsiteY55" fmla="*/ 161018 h 1043557"/>
                <a:gd name="connsiteX56" fmla="*/ 981899 w 1046881"/>
                <a:gd name="connsiteY56" fmla="*/ 164548 h 1043557"/>
                <a:gd name="connsiteX57" fmla="*/ 989409 w 1046881"/>
                <a:gd name="connsiteY57" fmla="*/ 168501 h 1043557"/>
                <a:gd name="connsiteX58" fmla="*/ 992927 w 1046881"/>
                <a:gd name="connsiteY58" fmla="*/ 168660 h 1043557"/>
                <a:gd name="connsiteX59" fmla="*/ 1001478 w 1046881"/>
                <a:gd name="connsiteY59" fmla="*/ 171033 h 1043557"/>
                <a:gd name="connsiteX60" fmla="*/ 1004788 w 1046881"/>
                <a:gd name="connsiteY60" fmla="*/ 174313 h 1043557"/>
                <a:gd name="connsiteX61" fmla="*/ 1011624 w 1046881"/>
                <a:gd name="connsiteY61" fmla="*/ 177942 h 1043557"/>
                <a:gd name="connsiteX62" fmla="*/ 1015928 w 1046881"/>
                <a:gd name="connsiteY62" fmla="*/ 185599 h 1043557"/>
                <a:gd name="connsiteX63" fmla="*/ 1020241 w 1046881"/>
                <a:gd name="connsiteY63" fmla="*/ 193461 h 1043557"/>
                <a:gd name="connsiteX64" fmla="*/ 1023417 w 1046881"/>
                <a:gd name="connsiteY64" fmla="*/ 198805 h 1043557"/>
                <a:gd name="connsiteX65" fmla="*/ 1021536 w 1046881"/>
                <a:gd name="connsiteY65" fmla="*/ 203367 h 1043557"/>
                <a:gd name="connsiteX66" fmla="*/ 1019521 w 1046881"/>
                <a:gd name="connsiteY66" fmla="*/ 209994 h 1043557"/>
                <a:gd name="connsiteX67" fmla="*/ 1026248 w 1046881"/>
                <a:gd name="connsiteY67" fmla="*/ 218984 h 1043557"/>
                <a:gd name="connsiteX68" fmla="*/ 1034011 w 1046881"/>
                <a:gd name="connsiteY68" fmla="*/ 224746 h 1043557"/>
                <a:gd name="connsiteX69" fmla="*/ 1039951 w 1046881"/>
                <a:gd name="connsiteY69" fmla="*/ 221509 h 1043557"/>
                <a:gd name="connsiteX70" fmla="*/ 1044310 w 1046881"/>
                <a:gd name="connsiteY70" fmla="*/ 226493 h 1043557"/>
                <a:gd name="connsiteX71" fmla="*/ 1046459 w 1046881"/>
                <a:gd name="connsiteY71" fmla="*/ 233401 h 1043557"/>
                <a:gd name="connsiteX72" fmla="*/ 1046881 w 1046881"/>
                <a:gd name="connsiteY72" fmla="*/ 236630 h 1043557"/>
                <a:gd name="connsiteX73" fmla="*/ 1043947 w 1046881"/>
                <a:gd name="connsiteY73" fmla="*/ 237839 h 1043557"/>
                <a:gd name="connsiteX74" fmla="*/ 1044642 w 1046881"/>
                <a:gd name="connsiteY74" fmla="*/ 246380 h 1043557"/>
                <a:gd name="connsiteX75" fmla="*/ 1037396 w 1046881"/>
                <a:gd name="connsiteY75" fmla="*/ 252261 h 1043557"/>
                <a:gd name="connsiteX76" fmla="*/ 1034407 w 1046881"/>
                <a:gd name="connsiteY76" fmla="*/ 256143 h 1043557"/>
                <a:gd name="connsiteX77" fmla="*/ 1032571 w 1046881"/>
                <a:gd name="connsiteY77" fmla="*/ 257827 h 1043557"/>
                <a:gd name="connsiteX78" fmla="*/ 1029775 w 1046881"/>
                <a:gd name="connsiteY78" fmla="*/ 258605 h 1043557"/>
                <a:gd name="connsiteX79" fmla="*/ 1028069 w 1046881"/>
                <a:gd name="connsiteY79" fmla="*/ 261287 h 1043557"/>
                <a:gd name="connsiteX80" fmla="*/ 1024212 w 1046881"/>
                <a:gd name="connsiteY80" fmla="*/ 293904 h 1043557"/>
                <a:gd name="connsiteX81" fmla="*/ 1025408 w 1046881"/>
                <a:gd name="connsiteY81" fmla="*/ 293644 h 1043557"/>
                <a:gd name="connsiteX82" fmla="*/ 1025512 w 1046881"/>
                <a:gd name="connsiteY82" fmla="*/ 294438 h 1043557"/>
                <a:gd name="connsiteX83" fmla="*/ 1026902 w 1046881"/>
                <a:gd name="connsiteY83" fmla="*/ 297140 h 1043557"/>
                <a:gd name="connsiteX84" fmla="*/ 1025162 w 1046881"/>
                <a:gd name="connsiteY84" fmla="*/ 307451 h 1043557"/>
                <a:gd name="connsiteX85" fmla="*/ 1019870 w 1046881"/>
                <a:gd name="connsiteY85" fmla="*/ 314303 h 1043557"/>
                <a:gd name="connsiteX86" fmla="*/ 1019330 w 1046881"/>
                <a:gd name="connsiteY86" fmla="*/ 316438 h 1043557"/>
                <a:gd name="connsiteX87" fmla="*/ 1020478 w 1046881"/>
                <a:gd name="connsiteY87" fmla="*/ 318953 h 1043557"/>
                <a:gd name="connsiteX88" fmla="*/ 1021614 w 1046881"/>
                <a:gd name="connsiteY88" fmla="*/ 321273 h 1043557"/>
                <a:gd name="connsiteX89" fmla="*/ 1018437 w 1046881"/>
                <a:gd name="connsiteY89" fmla="*/ 325392 h 1043557"/>
                <a:gd name="connsiteX90" fmla="*/ 1014895 w 1046881"/>
                <a:gd name="connsiteY90" fmla="*/ 329754 h 1043557"/>
                <a:gd name="connsiteX91" fmla="*/ 1011459 w 1046881"/>
                <a:gd name="connsiteY91" fmla="*/ 334933 h 1043557"/>
                <a:gd name="connsiteX92" fmla="*/ 1009088 w 1046881"/>
                <a:gd name="connsiteY92" fmla="*/ 338945 h 1043557"/>
                <a:gd name="connsiteX93" fmla="*/ 1012944 w 1046881"/>
                <a:gd name="connsiteY93" fmla="*/ 344821 h 1043557"/>
                <a:gd name="connsiteX94" fmla="*/ 1017240 w 1046881"/>
                <a:gd name="connsiteY94" fmla="*/ 350836 h 1043557"/>
                <a:gd name="connsiteX95" fmla="*/ 1014555 w 1046881"/>
                <a:gd name="connsiteY95" fmla="*/ 357151 h 1043557"/>
                <a:gd name="connsiteX96" fmla="*/ 1010593 w 1046881"/>
                <a:gd name="connsiteY96" fmla="*/ 363010 h 1043557"/>
                <a:gd name="connsiteX97" fmla="*/ 1009849 w 1046881"/>
                <a:gd name="connsiteY97" fmla="*/ 365161 h 1043557"/>
                <a:gd name="connsiteX98" fmla="*/ 1009314 w 1046881"/>
                <a:gd name="connsiteY98" fmla="*/ 370572 h 1043557"/>
                <a:gd name="connsiteX99" fmla="*/ 1006966 w 1046881"/>
                <a:gd name="connsiteY99" fmla="*/ 376232 h 1043557"/>
                <a:gd name="connsiteX100" fmla="*/ 998563 w 1046881"/>
                <a:gd name="connsiteY100" fmla="*/ 387609 h 1043557"/>
                <a:gd name="connsiteX101" fmla="*/ 998168 w 1046881"/>
                <a:gd name="connsiteY101" fmla="*/ 401850 h 1043557"/>
                <a:gd name="connsiteX102" fmla="*/ 999230 w 1046881"/>
                <a:gd name="connsiteY102" fmla="*/ 408494 h 1043557"/>
                <a:gd name="connsiteX103" fmla="*/ 995391 w 1046881"/>
                <a:gd name="connsiteY103" fmla="*/ 413726 h 1043557"/>
                <a:gd name="connsiteX104" fmla="*/ 990223 w 1046881"/>
                <a:gd name="connsiteY104" fmla="*/ 418300 h 1043557"/>
                <a:gd name="connsiteX105" fmla="*/ 985699 w 1046881"/>
                <a:gd name="connsiteY105" fmla="*/ 424660 h 1043557"/>
                <a:gd name="connsiteX106" fmla="*/ 983552 w 1046881"/>
                <a:gd name="connsiteY106" fmla="*/ 430282 h 1043557"/>
                <a:gd name="connsiteX107" fmla="*/ 985818 w 1046881"/>
                <a:gd name="connsiteY107" fmla="*/ 438211 h 1043557"/>
                <a:gd name="connsiteX108" fmla="*/ 982898 w 1046881"/>
                <a:gd name="connsiteY108" fmla="*/ 441062 h 1043557"/>
                <a:gd name="connsiteX109" fmla="*/ 980829 w 1046881"/>
                <a:gd name="connsiteY109" fmla="*/ 447285 h 1043557"/>
                <a:gd name="connsiteX110" fmla="*/ 981920 w 1046881"/>
                <a:gd name="connsiteY110" fmla="*/ 452495 h 1043557"/>
                <a:gd name="connsiteX111" fmla="*/ 979586 w 1046881"/>
                <a:gd name="connsiteY111" fmla="*/ 456699 h 1043557"/>
                <a:gd name="connsiteX112" fmla="*/ 977965 w 1046881"/>
                <a:gd name="connsiteY112" fmla="*/ 461641 h 1043557"/>
                <a:gd name="connsiteX113" fmla="*/ 975685 w 1046881"/>
                <a:gd name="connsiteY113" fmla="*/ 466254 h 1043557"/>
                <a:gd name="connsiteX114" fmla="*/ 973862 w 1046881"/>
                <a:gd name="connsiteY114" fmla="*/ 471222 h 1043557"/>
                <a:gd name="connsiteX115" fmla="*/ 977202 w 1046881"/>
                <a:gd name="connsiteY115" fmla="*/ 479426 h 1043557"/>
                <a:gd name="connsiteX116" fmla="*/ 980504 w 1046881"/>
                <a:gd name="connsiteY116" fmla="*/ 485778 h 1043557"/>
                <a:gd name="connsiteX117" fmla="*/ 984718 w 1046881"/>
                <a:gd name="connsiteY117" fmla="*/ 492830 h 1043557"/>
                <a:gd name="connsiteX118" fmla="*/ 987057 w 1046881"/>
                <a:gd name="connsiteY118" fmla="*/ 498084 h 1043557"/>
                <a:gd name="connsiteX119" fmla="*/ 983990 w 1046881"/>
                <a:gd name="connsiteY119" fmla="*/ 506088 h 1043557"/>
                <a:gd name="connsiteX120" fmla="*/ 983436 w 1046881"/>
                <a:gd name="connsiteY120" fmla="*/ 508214 h 1043557"/>
                <a:gd name="connsiteX121" fmla="*/ 983058 w 1046881"/>
                <a:gd name="connsiteY121" fmla="*/ 510120 h 1043557"/>
                <a:gd name="connsiteX122" fmla="*/ 827992 w 1046881"/>
                <a:gd name="connsiteY122" fmla="*/ 534483 h 1043557"/>
                <a:gd name="connsiteX123" fmla="*/ 828366 w 1046881"/>
                <a:gd name="connsiteY123" fmla="*/ 537474 h 1043557"/>
                <a:gd name="connsiteX124" fmla="*/ 836967 w 1046881"/>
                <a:gd name="connsiteY124" fmla="*/ 604863 h 1043557"/>
                <a:gd name="connsiteX125" fmla="*/ 843324 w 1046881"/>
                <a:gd name="connsiteY125" fmla="*/ 609201 h 1043557"/>
                <a:gd name="connsiteX126" fmla="*/ 849802 w 1046881"/>
                <a:gd name="connsiteY126" fmla="*/ 614737 h 1043557"/>
                <a:gd name="connsiteX127" fmla="*/ 853157 w 1046881"/>
                <a:gd name="connsiteY127" fmla="*/ 623110 h 1043557"/>
                <a:gd name="connsiteX128" fmla="*/ 854931 w 1046881"/>
                <a:gd name="connsiteY128" fmla="*/ 631967 h 1043557"/>
                <a:gd name="connsiteX129" fmla="*/ 857647 w 1046881"/>
                <a:gd name="connsiteY129" fmla="*/ 633867 h 1043557"/>
                <a:gd name="connsiteX130" fmla="*/ 860697 w 1046881"/>
                <a:gd name="connsiteY130" fmla="*/ 636764 h 1043557"/>
                <a:gd name="connsiteX131" fmla="*/ 862847 w 1046881"/>
                <a:gd name="connsiteY131" fmla="*/ 640369 h 1043557"/>
                <a:gd name="connsiteX132" fmla="*/ 865303 w 1046881"/>
                <a:gd name="connsiteY132" fmla="*/ 645008 h 1043557"/>
                <a:gd name="connsiteX133" fmla="*/ 870051 w 1046881"/>
                <a:gd name="connsiteY133" fmla="*/ 653025 h 1043557"/>
                <a:gd name="connsiteX134" fmla="*/ 874531 w 1046881"/>
                <a:gd name="connsiteY134" fmla="*/ 658997 h 1043557"/>
                <a:gd name="connsiteX135" fmla="*/ 875851 w 1046881"/>
                <a:gd name="connsiteY135" fmla="*/ 681685 h 1043557"/>
                <a:gd name="connsiteX136" fmla="*/ 872946 w 1046881"/>
                <a:gd name="connsiteY136" fmla="*/ 690910 h 1043557"/>
                <a:gd name="connsiteX137" fmla="*/ 869839 w 1046881"/>
                <a:gd name="connsiteY137" fmla="*/ 702001 h 1043557"/>
                <a:gd name="connsiteX138" fmla="*/ 872169 w 1046881"/>
                <a:gd name="connsiteY138" fmla="*/ 707247 h 1043557"/>
                <a:gd name="connsiteX139" fmla="*/ 870316 w 1046881"/>
                <a:gd name="connsiteY139" fmla="*/ 710368 h 1043557"/>
                <a:gd name="connsiteX140" fmla="*/ 869134 w 1046881"/>
                <a:gd name="connsiteY140" fmla="*/ 715483 h 1043557"/>
                <a:gd name="connsiteX141" fmla="*/ 871666 w 1046881"/>
                <a:gd name="connsiteY141" fmla="*/ 720703 h 1043557"/>
                <a:gd name="connsiteX142" fmla="*/ 874190 w 1046881"/>
                <a:gd name="connsiteY142" fmla="*/ 727173 h 1043557"/>
                <a:gd name="connsiteX143" fmla="*/ 870767 w 1046881"/>
                <a:gd name="connsiteY143" fmla="*/ 740559 h 1043557"/>
                <a:gd name="connsiteX144" fmla="*/ 865779 w 1046881"/>
                <a:gd name="connsiteY144" fmla="*/ 752728 h 1043557"/>
                <a:gd name="connsiteX145" fmla="*/ 865577 w 1046881"/>
                <a:gd name="connsiteY145" fmla="*/ 752754 h 1043557"/>
                <a:gd name="connsiteX146" fmla="*/ 866916 w 1046881"/>
                <a:gd name="connsiteY146" fmla="*/ 756708 h 1043557"/>
                <a:gd name="connsiteX147" fmla="*/ 869738 w 1046881"/>
                <a:gd name="connsiteY147" fmla="*/ 759426 h 1043557"/>
                <a:gd name="connsiteX148" fmla="*/ 860381 w 1046881"/>
                <a:gd name="connsiteY148" fmla="*/ 763320 h 1043557"/>
                <a:gd name="connsiteX149" fmla="*/ 855058 w 1046881"/>
                <a:gd name="connsiteY149" fmla="*/ 766895 h 1043557"/>
                <a:gd name="connsiteX150" fmla="*/ 849541 w 1046881"/>
                <a:gd name="connsiteY150" fmla="*/ 770287 h 1043557"/>
                <a:gd name="connsiteX151" fmla="*/ 826641 w 1046881"/>
                <a:gd name="connsiteY151" fmla="*/ 787468 h 1043557"/>
                <a:gd name="connsiteX152" fmla="*/ 808960 w 1046881"/>
                <a:gd name="connsiteY152" fmla="*/ 807887 h 1043557"/>
                <a:gd name="connsiteX153" fmla="*/ 807714 w 1046881"/>
                <a:gd name="connsiteY153" fmla="*/ 808050 h 1043557"/>
                <a:gd name="connsiteX154" fmla="*/ 807356 w 1046881"/>
                <a:gd name="connsiteY154" fmla="*/ 806882 h 1043557"/>
                <a:gd name="connsiteX155" fmla="*/ 817787 w 1046881"/>
                <a:gd name="connsiteY155" fmla="*/ 790498 h 1043557"/>
                <a:gd name="connsiteX156" fmla="*/ 823690 w 1046881"/>
                <a:gd name="connsiteY156" fmla="*/ 783760 h 1043557"/>
                <a:gd name="connsiteX157" fmla="*/ 832078 w 1046881"/>
                <a:gd name="connsiteY157" fmla="*/ 776906 h 1043557"/>
                <a:gd name="connsiteX158" fmla="*/ 829923 w 1046881"/>
                <a:gd name="connsiteY158" fmla="*/ 776147 h 1043557"/>
                <a:gd name="connsiteX159" fmla="*/ 827201 w 1046881"/>
                <a:gd name="connsiteY159" fmla="*/ 777335 h 1043557"/>
                <a:gd name="connsiteX160" fmla="*/ 820822 w 1046881"/>
                <a:gd name="connsiteY160" fmla="*/ 777544 h 1043557"/>
                <a:gd name="connsiteX161" fmla="*/ 820635 w 1046881"/>
                <a:gd name="connsiteY161" fmla="*/ 771394 h 1043557"/>
                <a:gd name="connsiteX162" fmla="*/ 821485 w 1046881"/>
                <a:gd name="connsiteY162" fmla="*/ 765316 h 1043557"/>
                <a:gd name="connsiteX163" fmla="*/ 818507 w 1046881"/>
                <a:gd name="connsiteY163" fmla="*/ 761403 h 1043557"/>
                <a:gd name="connsiteX164" fmla="*/ 814762 w 1046881"/>
                <a:gd name="connsiteY164" fmla="*/ 765778 h 1043557"/>
                <a:gd name="connsiteX165" fmla="*/ 810038 w 1046881"/>
                <a:gd name="connsiteY165" fmla="*/ 770523 h 1043557"/>
                <a:gd name="connsiteX166" fmla="*/ 805169 w 1046881"/>
                <a:gd name="connsiteY166" fmla="*/ 769703 h 1043557"/>
                <a:gd name="connsiteX167" fmla="*/ 803350 w 1046881"/>
                <a:gd name="connsiteY167" fmla="*/ 769941 h 1043557"/>
                <a:gd name="connsiteX168" fmla="*/ 803389 w 1046881"/>
                <a:gd name="connsiteY168" fmla="*/ 771809 h 1043557"/>
                <a:gd name="connsiteX169" fmla="*/ 807659 w 1046881"/>
                <a:gd name="connsiteY169" fmla="*/ 779056 h 1043557"/>
                <a:gd name="connsiteX170" fmla="*/ 811335 w 1046881"/>
                <a:gd name="connsiteY170" fmla="*/ 785167 h 1043557"/>
                <a:gd name="connsiteX171" fmla="*/ 813108 w 1046881"/>
                <a:gd name="connsiteY171" fmla="*/ 786149 h 1043557"/>
                <a:gd name="connsiteX172" fmla="*/ 814870 w 1046881"/>
                <a:gd name="connsiteY172" fmla="*/ 788625 h 1043557"/>
                <a:gd name="connsiteX173" fmla="*/ 806028 w 1046881"/>
                <a:gd name="connsiteY173" fmla="*/ 804593 h 1043557"/>
                <a:gd name="connsiteX174" fmla="*/ 802425 w 1046881"/>
                <a:gd name="connsiteY174" fmla="*/ 806902 h 1043557"/>
                <a:gd name="connsiteX175" fmla="*/ 800728 w 1046881"/>
                <a:gd name="connsiteY175" fmla="*/ 811217 h 1043557"/>
                <a:gd name="connsiteX176" fmla="*/ 800328 w 1046881"/>
                <a:gd name="connsiteY176" fmla="*/ 816022 h 1043557"/>
                <a:gd name="connsiteX177" fmla="*/ 798253 w 1046881"/>
                <a:gd name="connsiteY177" fmla="*/ 820595 h 1043557"/>
                <a:gd name="connsiteX178" fmla="*/ 797701 w 1046881"/>
                <a:gd name="connsiteY178" fmla="*/ 821083 h 1043557"/>
                <a:gd name="connsiteX179" fmla="*/ 771095 w 1046881"/>
                <a:gd name="connsiteY179" fmla="*/ 839789 h 1043557"/>
                <a:gd name="connsiteX180" fmla="*/ 769578 w 1046881"/>
                <a:gd name="connsiteY180" fmla="*/ 839190 h 1043557"/>
                <a:gd name="connsiteX181" fmla="*/ 766035 w 1046881"/>
                <a:gd name="connsiteY181" fmla="*/ 838820 h 1043557"/>
                <a:gd name="connsiteX182" fmla="*/ 761925 w 1046881"/>
                <a:gd name="connsiteY182" fmla="*/ 840398 h 1043557"/>
                <a:gd name="connsiteX183" fmla="*/ 760071 w 1046881"/>
                <a:gd name="connsiteY183" fmla="*/ 843519 h 1043557"/>
                <a:gd name="connsiteX184" fmla="*/ 764719 w 1046881"/>
                <a:gd name="connsiteY184" fmla="*/ 842912 h 1043557"/>
                <a:gd name="connsiteX185" fmla="*/ 746112 w 1046881"/>
                <a:gd name="connsiteY185" fmla="*/ 858075 h 1043557"/>
                <a:gd name="connsiteX186" fmla="*/ 746207 w 1046881"/>
                <a:gd name="connsiteY186" fmla="*/ 857230 h 1043557"/>
                <a:gd name="connsiteX187" fmla="*/ 750006 w 1046881"/>
                <a:gd name="connsiteY187" fmla="*/ 853264 h 1043557"/>
                <a:gd name="connsiteX188" fmla="*/ 754715 w 1046881"/>
                <a:gd name="connsiteY188" fmla="*/ 849978 h 1043557"/>
                <a:gd name="connsiteX189" fmla="*/ 752331 w 1046881"/>
                <a:gd name="connsiteY189" fmla="*/ 849040 h 1043557"/>
                <a:gd name="connsiteX190" fmla="*/ 749327 w 1046881"/>
                <a:gd name="connsiteY190" fmla="*/ 849641 h 1043557"/>
                <a:gd name="connsiteX191" fmla="*/ 744038 w 1046881"/>
                <a:gd name="connsiteY191" fmla="*/ 848494 h 1043557"/>
                <a:gd name="connsiteX192" fmla="*/ 741243 w 1046881"/>
                <a:gd name="connsiteY192" fmla="*/ 845980 h 1043557"/>
                <a:gd name="connsiteX193" fmla="*/ 739378 w 1046881"/>
                <a:gd name="connsiteY193" fmla="*/ 847438 h 1043557"/>
                <a:gd name="connsiteX194" fmla="*/ 737544 w 1046881"/>
                <a:gd name="connsiteY194" fmla="*/ 849134 h 1043557"/>
                <a:gd name="connsiteX195" fmla="*/ 735996 w 1046881"/>
                <a:gd name="connsiteY195" fmla="*/ 848296 h 1043557"/>
                <a:gd name="connsiteX196" fmla="*/ 734440 w 1046881"/>
                <a:gd name="connsiteY196" fmla="*/ 847667 h 1043557"/>
                <a:gd name="connsiteX197" fmla="*/ 733106 w 1046881"/>
                <a:gd name="connsiteY197" fmla="*/ 848466 h 1043557"/>
                <a:gd name="connsiteX198" fmla="*/ 733900 w 1046881"/>
                <a:gd name="connsiteY198" fmla="*/ 849819 h 1043557"/>
                <a:gd name="connsiteX199" fmla="*/ 734715 w 1046881"/>
                <a:gd name="connsiteY199" fmla="*/ 851342 h 1043557"/>
                <a:gd name="connsiteX200" fmla="*/ 729171 w 1046881"/>
                <a:gd name="connsiteY200" fmla="*/ 854530 h 1043557"/>
                <a:gd name="connsiteX201" fmla="*/ 724496 w 1046881"/>
                <a:gd name="connsiteY201" fmla="*/ 850215 h 1043557"/>
                <a:gd name="connsiteX202" fmla="*/ 720450 w 1046881"/>
                <a:gd name="connsiteY202" fmla="*/ 845991 h 1043557"/>
                <a:gd name="connsiteX203" fmla="*/ 719256 w 1046881"/>
                <a:gd name="connsiteY203" fmla="*/ 849443 h 1043557"/>
                <a:gd name="connsiteX204" fmla="*/ 727593 w 1046881"/>
                <a:gd name="connsiteY204" fmla="*/ 856610 h 1043557"/>
                <a:gd name="connsiteX205" fmla="*/ 735623 w 1046881"/>
                <a:gd name="connsiteY205" fmla="*/ 864580 h 1043557"/>
                <a:gd name="connsiteX206" fmla="*/ 732973 w 1046881"/>
                <a:gd name="connsiteY206" fmla="*/ 874188 h 1043557"/>
                <a:gd name="connsiteX207" fmla="*/ 720589 w 1046881"/>
                <a:gd name="connsiteY207" fmla="*/ 885069 h 1043557"/>
                <a:gd name="connsiteX208" fmla="*/ 710786 w 1046881"/>
                <a:gd name="connsiteY208" fmla="*/ 894988 h 1043557"/>
                <a:gd name="connsiteX209" fmla="*/ 704220 w 1046881"/>
                <a:gd name="connsiteY209" fmla="*/ 904518 h 1043557"/>
                <a:gd name="connsiteX210" fmla="*/ 703581 w 1046881"/>
                <a:gd name="connsiteY210" fmla="*/ 904602 h 1043557"/>
                <a:gd name="connsiteX211" fmla="*/ 703469 w 1046881"/>
                <a:gd name="connsiteY211" fmla="*/ 901911 h 1043557"/>
                <a:gd name="connsiteX212" fmla="*/ 709101 w 1046881"/>
                <a:gd name="connsiteY212" fmla="*/ 891531 h 1043557"/>
                <a:gd name="connsiteX213" fmla="*/ 716258 w 1046881"/>
                <a:gd name="connsiteY213" fmla="*/ 883380 h 1043557"/>
                <a:gd name="connsiteX214" fmla="*/ 724565 w 1046881"/>
                <a:gd name="connsiteY214" fmla="*/ 875911 h 1043557"/>
                <a:gd name="connsiteX215" fmla="*/ 732355 w 1046881"/>
                <a:gd name="connsiteY215" fmla="*/ 867886 h 1043557"/>
                <a:gd name="connsiteX216" fmla="*/ 730334 w 1046881"/>
                <a:gd name="connsiteY216" fmla="*/ 868150 h 1043557"/>
                <a:gd name="connsiteX217" fmla="*/ 725301 w 1046881"/>
                <a:gd name="connsiteY217" fmla="*/ 872103 h 1043557"/>
                <a:gd name="connsiteX218" fmla="*/ 720463 w 1046881"/>
                <a:gd name="connsiteY218" fmla="*/ 874401 h 1043557"/>
                <a:gd name="connsiteX219" fmla="*/ 716059 w 1046881"/>
                <a:gd name="connsiteY219" fmla="*/ 870848 h 1043557"/>
                <a:gd name="connsiteX220" fmla="*/ 712299 w 1046881"/>
                <a:gd name="connsiteY220" fmla="*/ 867246 h 1043557"/>
                <a:gd name="connsiteX221" fmla="*/ 711269 w 1046881"/>
                <a:gd name="connsiteY221" fmla="*/ 868803 h 1043557"/>
                <a:gd name="connsiteX222" fmla="*/ 713215 w 1046881"/>
                <a:gd name="connsiteY222" fmla="*/ 872677 h 1043557"/>
                <a:gd name="connsiteX223" fmla="*/ 715235 w 1046881"/>
                <a:gd name="connsiteY223" fmla="*/ 877131 h 1043557"/>
                <a:gd name="connsiteX224" fmla="*/ 712513 w 1046881"/>
                <a:gd name="connsiteY224" fmla="*/ 883037 h 1043557"/>
                <a:gd name="connsiteX225" fmla="*/ 706981 w 1046881"/>
                <a:gd name="connsiteY225" fmla="*/ 887888 h 1043557"/>
                <a:gd name="connsiteX226" fmla="*/ 703331 w 1046881"/>
                <a:gd name="connsiteY226" fmla="*/ 886700 h 1043557"/>
                <a:gd name="connsiteX227" fmla="*/ 697349 w 1046881"/>
                <a:gd name="connsiteY227" fmla="*/ 885227 h 1043557"/>
                <a:gd name="connsiteX228" fmla="*/ 694996 w 1046881"/>
                <a:gd name="connsiteY228" fmla="*/ 889246 h 1043557"/>
                <a:gd name="connsiteX229" fmla="*/ 696194 w 1046881"/>
                <a:gd name="connsiteY229" fmla="*/ 895264 h 1043557"/>
                <a:gd name="connsiteX230" fmla="*/ 698047 w 1046881"/>
                <a:gd name="connsiteY230" fmla="*/ 892143 h 1043557"/>
                <a:gd name="connsiteX231" fmla="*/ 699927 w 1046881"/>
                <a:gd name="connsiteY231" fmla="*/ 889226 h 1043557"/>
                <a:gd name="connsiteX232" fmla="*/ 702527 w 1046881"/>
                <a:gd name="connsiteY232" fmla="*/ 893396 h 1043557"/>
                <a:gd name="connsiteX233" fmla="*/ 698570 w 1046881"/>
                <a:gd name="connsiteY233" fmla="*/ 904008 h 1043557"/>
                <a:gd name="connsiteX234" fmla="*/ 692950 w 1046881"/>
                <a:gd name="connsiteY234" fmla="*/ 911334 h 1043557"/>
                <a:gd name="connsiteX235" fmla="*/ 689044 w 1046881"/>
                <a:gd name="connsiteY235" fmla="*/ 909762 h 1043557"/>
                <a:gd name="connsiteX236" fmla="*/ 681243 w 1046881"/>
                <a:gd name="connsiteY236" fmla="*/ 908527 h 1043557"/>
                <a:gd name="connsiteX237" fmla="*/ 676481 w 1046881"/>
                <a:gd name="connsiteY237" fmla="*/ 911404 h 1043557"/>
                <a:gd name="connsiteX238" fmla="*/ 684347 w 1046881"/>
                <a:gd name="connsiteY238" fmla="*/ 916551 h 1043557"/>
                <a:gd name="connsiteX239" fmla="*/ 688847 w 1046881"/>
                <a:gd name="connsiteY239" fmla="*/ 919259 h 1043557"/>
                <a:gd name="connsiteX240" fmla="*/ 679949 w 1046881"/>
                <a:gd name="connsiteY240" fmla="*/ 947376 h 1043557"/>
                <a:gd name="connsiteX241" fmla="*/ 677516 w 1046881"/>
                <a:gd name="connsiteY241" fmla="*/ 946063 h 1043557"/>
                <a:gd name="connsiteX242" fmla="*/ 675052 w 1046881"/>
                <a:gd name="connsiteY242" fmla="*/ 944512 h 1043557"/>
                <a:gd name="connsiteX243" fmla="*/ 669844 w 1046881"/>
                <a:gd name="connsiteY243" fmla="*/ 945817 h 1043557"/>
                <a:gd name="connsiteX244" fmla="*/ 667236 w 1046881"/>
                <a:gd name="connsiteY244" fmla="*/ 949453 h 1043557"/>
                <a:gd name="connsiteX245" fmla="*/ 677623 w 1046881"/>
                <a:gd name="connsiteY245" fmla="*/ 951600 h 1043557"/>
                <a:gd name="connsiteX246" fmla="*/ 681760 w 1046881"/>
                <a:gd name="connsiteY246" fmla="*/ 950227 h 1043557"/>
                <a:gd name="connsiteX247" fmla="*/ 685390 w 1046881"/>
                <a:gd name="connsiteY247" fmla="*/ 952840 h 1043557"/>
                <a:gd name="connsiteX248" fmla="*/ 681844 w 1046881"/>
                <a:gd name="connsiteY248" fmla="*/ 965028 h 1043557"/>
                <a:gd name="connsiteX249" fmla="*/ 677303 w 1046881"/>
                <a:gd name="connsiteY249" fmla="*/ 971172 h 1043557"/>
                <a:gd name="connsiteX250" fmla="*/ 680220 w 1046881"/>
                <a:gd name="connsiteY250" fmla="*/ 973045 h 1043557"/>
                <a:gd name="connsiteX251" fmla="*/ 682966 w 1046881"/>
                <a:gd name="connsiteY251" fmla="*/ 975185 h 1043557"/>
                <a:gd name="connsiteX252" fmla="*/ 681585 w 1046881"/>
                <a:gd name="connsiteY252" fmla="*/ 977204 h 1043557"/>
                <a:gd name="connsiteX253" fmla="*/ 680312 w 1046881"/>
                <a:gd name="connsiteY253" fmla="*/ 980041 h 1043557"/>
                <a:gd name="connsiteX254" fmla="*/ 683443 w 1046881"/>
                <a:gd name="connsiteY254" fmla="*/ 983552 h 1043557"/>
                <a:gd name="connsiteX255" fmla="*/ 688091 w 1046881"/>
                <a:gd name="connsiteY255" fmla="*/ 992380 h 1043557"/>
                <a:gd name="connsiteX256" fmla="*/ 689758 w 1046881"/>
                <a:gd name="connsiteY256" fmla="*/ 1000419 h 1043557"/>
                <a:gd name="connsiteX257" fmla="*/ 691535 w 1046881"/>
                <a:gd name="connsiteY257" fmla="*/ 1006153 h 1043557"/>
                <a:gd name="connsiteX258" fmla="*/ 696126 w 1046881"/>
                <a:gd name="connsiteY258" fmla="*/ 1017695 h 1043557"/>
                <a:gd name="connsiteX259" fmla="*/ 699360 w 1046881"/>
                <a:gd name="connsiteY259" fmla="*/ 1021990 h 1043557"/>
                <a:gd name="connsiteX260" fmla="*/ 701838 w 1046881"/>
                <a:gd name="connsiteY260" fmla="*/ 1026800 h 1043557"/>
                <a:gd name="connsiteX261" fmla="*/ 700732 w 1046881"/>
                <a:gd name="connsiteY261" fmla="*/ 1030657 h 1043557"/>
                <a:gd name="connsiteX262" fmla="*/ 699410 w 1046881"/>
                <a:gd name="connsiteY262" fmla="*/ 1034957 h 1043557"/>
                <a:gd name="connsiteX263" fmla="*/ 700859 w 1046881"/>
                <a:gd name="connsiteY263" fmla="*/ 1036606 h 1043557"/>
                <a:gd name="connsiteX264" fmla="*/ 702974 w 1046881"/>
                <a:gd name="connsiteY264" fmla="*/ 1033659 h 1043557"/>
                <a:gd name="connsiteX265" fmla="*/ 705056 w 1046881"/>
                <a:gd name="connsiteY265" fmla="*/ 1030716 h 1043557"/>
                <a:gd name="connsiteX266" fmla="*/ 709446 w 1046881"/>
                <a:gd name="connsiteY266" fmla="*/ 1037566 h 1043557"/>
                <a:gd name="connsiteX267" fmla="*/ 698312 w 1046881"/>
                <a:gd name="connsiteY267" fmla="*/ 1042282 h 1043557"/>
                <a:gd name="connsiteX268" fmla="*/ 693542 w 1046881"/>
                <a:gd name="connsiteY268" fmla="*/ 1043529 h 1043557"/>
                <a:gd name="connsiteX269" fmla="*/ 687990 w 1046881"/>
                <a:gd name="connsiteY269" fmla="*/ 1040370 h 1043557"/>
                <a:gd name="connsiteX270" fmla="*/ 678999 w 1046881"/>
                <a:gd name="connsiteY270" fmla="*/ 1034745 h 1043557"/>
                <a:gd name="connsiteX271" fmla="*/ 672688 w 1046881"/>
                <a:gd name="connsiteY271" fmla="*/ 1032067 h 1043557"/>
                <a:gd name="connsiteX272" fmla="*/ 645386 w 1046881"/>
                <a:gd name="connsiteY272" fmla="*/ 1034177 h 1043557"/>
                <a:gd name="connsiteX273" fmla="*/ 637620 w 1046881"/>
                <a:gd name="connsiteY273" fmla="*/ 1030058 h 1043557"/>
                <a:gd name="connsiteX274" fmla="*/ 631438 w 1046881"/>
                <a:gd name="connsiteY274" fmla="*/ 1023650 h 1043557"/>
                <a:gd name="connsiteX275" fmla="*/ 625719 w 1046881"/>
                <a:gd name="connsiteY275" fmla="*/ 1022351 h 1043557"/>
                <a:gd name="connsiteX276" fmla="*/ 619729 w 1046881"/>
                <a:gd name="connsiteY276" fmla="*/ 1023967 h 1043557"/>
                <a:gd name="connsiteX277" fmla="*/ 616286 w 1046881"/>
                <a:gd name="connsiteY277" fmla="*/ 1022786 h 1043557"/>
                <a:gd name="connsiteX278" fmla="*/ 612117 w 1046881"/>
                <a:gd name="connsiteY278" fmla="*/ 1019203 h 1043557"/>
                <a:gd name="connsiteX279" fmla="*/ 599158 w 1046881"/>
                <a:gd name="connsiteY279" fmla="*/ 1017809 h 1043557"/>
                <a:gd name="connsiteX280" fmla="*/ 594928 w 1046881"/>
                <a:gd name="connsiteY280" fmla="*/ 1016904 h 1043557"/>
                <a:gd name="connsiteX281" fmla="*/ 592934 w 1046881"/>
                <a:gd name="connsiteY281" fmla="*/ 1012655 h 1043557"/>
                <a:gd name="connsiteX282" fmla="*/ 590166 w 1046881"/>
                <a:gd name="connsiteY282" fmla="*/ 1010346 h 1043557"/>
                <a:gd name="connsiteX283" fmla="*/ 587451 w 1046881"/>
                <a:gd name="connsiteY283" fmla="*/ 1008446 h 1043557"/>
                <a:gd name="connsiteX284" fmla="*/ 583622 w 1046881"/>
                <a:gd name="connsiteY284" fmla="*/ 993301 h 1043557"/>
                <a:gd name="connsiteX285" fmla="*/ 574780 w 1046881"/>
                <a:gd name="connsiteY285" fmla="*/ 982523 h 1043557"/>
                <a:gd name="connsiteX286" fmla="*/ 567217 w 1046881"/>
                <a:gd name="connsiteY286" fmla="*/ 973416 h 1043557"/>
                <a:gd name="connsiteX287" fmla="*/ 566752 w 1046881"/>
                <a:gd name="connsiteY287" fmla="*/ 966713 h 1043557"/>
                <a:gd name="connsiteX288" fmla="*/ 566996 w 1046881"/>
                <a:gd name="connsiteY288" fmla="*/ 960714 h 1043557"/>
                <a:gd name="connsiteX289" fmla="*/ 563873 w 1046881"/>
                <a:gd name="connsiteY289" fmla="*/ 958833 h 1043557"/>
                <a:gd name="connsiteX290" fmla="*/ 562592 w 1046881"/>
                <a:gd name="connsiteY290" fmla="*/ 955323 h 1043557"/>
                <a:gd name="connsiteX291" fmla="*/ 562782 w 1046881"/>
                <a:gd name="connsiteY291" fmla="*/ 948915 h 1043557"/>
                <a:gd name="connsiteX292" fmla="*/ 560662 w 1046881"/>
                <a:gd name="connsiteY292" fmla="*/ 945272 h 1043557"/>
                <a:gd name="connsiteX293" fmla="*/ 555079 w 1046881"/>
                <a:gd name="connsiteY293" fmla="*/ 937156 h 1043557"/>
                <a:gd name="connsiteX294" fmla="*/ 547629 w 1046881"/>
                <a:gd name="connsiteY294" fmla="*/ 935458 h 1043557"/>
                <a:gd name="connsiteX295" fmla="*/ 542275 w 1046881"/>
                <a:gd name="connsiteY295" fmla="*/ 927520 h 1043557"/>
                <a:gd name="connsiteX296" fmla="*/ 535865 w 1046881"/>
                <a:gd name="connsiteY296" fmla="*/ 916216 h 1043557"/>
                <a:gd name="connsiteX297" fmla="*/ 523400 w 1046881"/>
                <a:gd name="connsiteY297" fmla="*/ 904455 h 1043557"/>
                <a:gd name="connsiteX298" fmla="*/ 511396 w 1046881"/>
                <a:gd name="connsiteY298" fmla="*/ 895963 h 1043557"/>
                <a:gd name="connsiteX299" fmla="*/ 508044 w 1046881"/>
                <a:gd name="connsiteY299" fmla="*/ 889186 h 1043557"/>
                <a:gd name="connsiteX300" fmla="*/ 505276 w 1046881"/>
                <a:gd name="connsiteY300" fmla="*/ 879279 h 1043557"/>
                <a:gd name="connsiteX301" fmla="*/ 500273 w 1046881"/>
                <a:gd name="connsiteY301" fmla="*/ 870879 h 1043557"/>
                <a:gd name="connsiteX302" fmla="*/ 493351 w 1046881"/>
                <a:gd name="connsiteY302" fmla="*/ 858809 h 1043557"/>
                <a:gd name="connsiteX303" fmla="*/ 486308 w 1046881"/>
                <a:gd name="connsiteY303" fmla="*/ 847380 h 1043557"/>
                <a:gd name="connsiteX304" fmla="*/ 480833 w 1046881"/>
                <a:gd name="connsiteY304" fmla="*/ 841921 h 1043557"/>
                <a:gd name="connsiteX305" fmla="*/ 476032 w 1046881"/>
                <a:gd name="connsiteY305" fmla="*/ 833494 h 1043557"/>
                <a:gd name="connsiteX306" fmla="*/ 469492 w 1046881"/>
                <a:gd name="connsiteY306" fmla="*/ 825919 h 1043557"/>
                <a:gd name="connsiteX307" fmla="*/ 456593 w 1046881"/>
                <a:gd name="connsiteY307" fmla="*/ 817128 h 1043557"/>
                <a:gd name="connsiteX308" fmla="*/ 444322 w 1046881"/>
                <a:gd name="connsiteY308" fmla="*/ 806590 h 1043557"/>
                <a:gd name="connsiteX309" fmla="*/ 437176 w 1046881"/>
                <a:gd name="connsiteY309" fmla="*/ 799094 h 1043557"/>
                <a:gd name="connsiteX310" fmla="*/ 432691 w 1046881"/>
                <a:gd name="connsiteY310" fmla="*/ 794928 h 1043557"/>
                <a:gd name="connsiteX311" fmla="*/ 424006 w 1046881"/>
                <a:gd name="connsiteY311" fmla="*/ 800815 h 1043557"/>
                <a:gd name="connsiteX312" fmla="*/ 417534 w 1046881"/>
                <a:gd name="connsiteY312" fmla="*/ 796909 h 1043557"/>
                <a:gd name="connsiteX313" fmla="*/ 407773 w 1046881"/>
                <a:gd name="connsiteY313" fmla="*/ 797976 h 1043557"/>
                <a:gd name="connsiteX314" fmla="*/ 400834 w 1046881"/>
                <a:gd name="connsiteY314" fmla="*/ 799923 h 1043557"/>
                <a:gd name="connsiteX315" fmla="*/ 389208 w 1046881"/>
                <a:gd name="connsiteY315" fmla="*/ 793013 h 1043557"/>
                <a:gd name="connsiteX316" fmla="*/ 377883 w 1046881"/>
                <a:gd name="connsiteY316" fmla="*/ 802298 h 1043557"/>
                <a:gd name="connsiteX317" fmla="*/ 370231 w 1046881"/>
                <a:gd name="connsiteY317" fmla="*/ 805345 h 1043557"/>
                <a:gd name="connsiteX318" fmla="*/ 364515 w 1046881"/>
                <a:gd name="connsiteY318" fmla="*/ 813516 h 1043557"/>
                <a:gd name="connsiteX319" fmla="*/ 355720 w 1046881"/>
                <a:gd name="connsiteY319" fmla="*/ 832981 h 1043557"/>
                <a:gd name="connsiteX320" fmla="*/ 345463 w 1046881"/>
                <a:gd name="connsiteY320" fmla="*/ 852014 h 1043557"/>
                <a:gd name="connsiteX321" fmla="*/ 338989 w 1046881"/>
                <a:gd name="connsiteY321" fmla="*/ 857786 h 1043557"/>
                <a:gd name="connsiteX322" fmla="*/ 331989 w 1046881"/>
                <a:gd name="connsiteY322" fmla="*/ 857695 h 1043557"/>
                <a:gd name="connsiteX323" fmla="*/ 324595 w 1046881"/>
                <a:gd name="connsiteY323" fmla="*/ 853284 h 1043557"/>
                <a:gd name="connsiteX324" fmla="*/ 320366 w 1046881"/>
                <a:gd name="connsiteY324" fmla="*/ 847662 h 1043557"/>
                <a:gd name="connsiteX325" fmla="*/ 314848 w 1046881"/>
                <a:gd name="connsiteY325" fmla="*/ 846336 h 1043557"/>
                <a:gd name="connsiteX326" fmla="*/ 309567 w 1046881"/>
                <a:gd name="connsiteY326" fmla="*/ 846818 h 1043557"/>
                <a:gd name="connsiteX327" fmla="*/ 303169 w 1046881"/>
                <a:gd name="connsiteY327" fmla="*/ 839016 h 1043557"/>
                <a:gd name="connsiteX328" fmla="*/ 298345 w 1046881"/>
                <a:gd name="connsiteY328" fmla="*/ 839855 h 1043557"/>
                <a:gd name="connsiteX329" fmla="*/ 291062 w 1046881"/>
                <a:gd name="connsiteY329" fmla="*/ 839176 h 1043557"/>
                <a:gd name="connsiteX330" fmla="*/ 284443 w 1046881"/>
                <a:gd name="connsiteY330" fmla="*/ 830987 h 1043557"/>
                <a:gd name="connsiteX331" fmla="*/ 275741 w 1046881"/>
                <a:gd name="connsiteY331" fmla="*/ 822862 h 1043557"/>
                <a:gd name="connsiteX332" fmla="*/ 257012 w 1046881"/>
                <a:gd name="connsiteY332" fmla="*/ 807201 h 1043557"/>
                <a:gd name="connsiteX333" fmla="*/ 251493 w 1046881"/>
                <a:gd name="connsiteY333" fmla="*/ 783847 h 1043557"/>
                <a:gd name="connsiteX334" fmla="*/ 249178 w 1046881"/>
                <a:gd name="connsiteY334" fmla="*/ 777143 h 1043557"/>
                <a:gd name="connsiteX335" fmla="*/ 244133 w 1046881"/>
                <a:gd name="connsiteY335" fmla="*/ 769997 h 1043557"/>
                <a:gd name="connsiteX336" fmla="*/ 240735 w 1046881"/>
                <a:gd name="connsiteY336" fmla="*/ 759721 h 1043557"/>
                <a:gd name="connsiteX337" fmla="*/ 237353 w 1046881"/>
                <a:gd name="connsiteY337" fmla="*/ 751144 h 1043557"/>
                <a:gd name="connsiteX338" fmla="*/ 220873 w 1046881"/>
                <a:gd name="connsiteY338" fmla="*/ 740115 h 1043557"/>
                <a:gd name="connsiteX339" fmla="*/ 204289 w 1046881"/>
                <a:gd name="connsiteY339" fmla="*/ 728302 h 1043557"/>
                <a:gd name="connsiteX340" fmla="*/ 195454 w 1046881"/>
                <a:gd name="connsiteY340" fmla="*/ 717315 h 1043557"/>
                <a:gd name="connsiteX341" fmla="*/ 185697 w 1046881"/>
                <a:gd name="connsiteY341" fmla="*/ 705824 h 1043557"/>
                <a:gd name="connsiteX342" fmla="*/ 171504 w 1046881"/>
                <a:gd name="connsiteY342" fmla="*/ 699458 h 1043557"/>
                <a:gd name="connsiteX343" fmla="*/ 160156 w 1046881"/>
                <a:gd name="connsiteY343" fmla="*/ 688383 h 1043557"/>
                <a:gd name="connsiteX344" fmla="*/ 150856 w 1046881"/>
                <a:gd name="connsiteY344" fmla="*/ 675410 h 1043557"/>
                <a:gd name="connsiteX345" fmla="*/ 143062 w 1046881"/>
                <a:gd name="connsiteY345" fmla="*/ 671086 h 1043557"/>
                <a:gd name="connsiteX346" fmla="*/ 136420 w 1046881"/>
                <a:gd name="connsiteY346" fmla="*/ 659498 h 1043557"/>
                <a:gd name="connsiteX347" fmla="*/ 136190 w 1046881"/>
                <a:gd name="connsiteY347" fmla="*/ 659498 h 1043557"/>
                <a:gd name="connsiteX348" fmla="*/ 141544 w 1046881"/>
                <a:gd name="connsiteY348" fmla="*/ 668812 h 1043557"/>
                <a:gd name="connsiteX349" fmla="*/ 50003 w 1046881"/>
                <a:gd name="connsiteY349" fmla="*/ 668017 h 1043557"/>
                <a:gd name="connsiteX350" fmla="*/ 47288 w 1046881"/>
                <a:gd name="connsiteY350" fmla="*/ 700870 h 1043557"/>
                <a:gd name="connsiteX351" fmla="*/ 0 w 1046881"/>
                <a:gd name="connsiteY351" fmla="*/ 699846 h 1043557"/>
                <a:gd name="connsiteX352" fmla="*/ 5742 w 1046881"/>
                <a:gd name="connsiteY352" fmla="*/ 310383 h 1043557"/>
                <a:gd name="connsiteX353" fmla="*/ 7002 w 1046881"/>
                <a:gd name="connsiteY353" fmla="*/ 310391 h 1043557"/>
                <a:gd name="connsiteX354" fmla="*/ 9852 w 1046881"/>
                <a:gd name="connsiteY354" fmla="*/ 38008 h 1043557"/>
                <a:gd name="connsiteX0" fmla="*/ 807558 w 1046881"/>
                <a:gd name="connsiteY0" fmla="*/ 502257 h 1043557"/>
                <a:gd name="connsiteX1" fmla="*/ 807558 w 1046881"/>
                <a:gd name="connsiteY1" fmla="*/ 499112 h 1043557"/>
                <a:gd name="connsiteX2" fmla="*/ 807558 w 1046881"/>
                <a:gd name="connsiteY2" fmla="*/ 502257 h 1043557"/>
                <a:gd name="connsiteX3" fmla="*/ 1003014 w 1046881"/>
                <a:gd name="connsiteY3" fmla="*/ 279043 h 1043557"/>
                <a:gd name="connsiteX4" fmla="*/ 998449 w 1046881"/>
                <a:gd name="connsiteY4" fmla="*/ 285862 h 1043557"/>
                <a:gd name="connsiteX5" fmla="*/ 998204 w 1046881"/>
                <a:gd name="connsiteY5" fmla="*/ 286340 h 1043557"/>
                <a:gd name="connsiteX6" fmla="*/ 998204 w 1046881"/>
                <a:gd name="connsiteY6" fmla="*/ 286410 h 1043557"/>
                <a:gd name="connsiteX7" fmla="*/ 1003060 w 1046881"/>
                <a:gd name="connsiteY7" fmla="*/ 279153 h 1043557"/>
                <a:gd name="connsiteX8" fmla="*/ 1003014 w 1046881"/>
                <a:gd name="connsiteY8" fmla="*/ 279043 h 1043557"/>
                <a:gd name="connsiteX9" fmla="*/ 721538 w 1046881"/>
                <a:gd name="connsiteY9" fmla="*/ 82028 h 1043557"/>
                <a:gd name="connsiteX10" fmla="*/ 719542 w 1046881"/>
                <a:gd name="connsiteY10" fmla="*/ 84784 h 1043557"/>
                <a:gd name="connsiteX11" fmla="*/ 719411 w 1046881"/>
                <a:gd name="connsiteY11" fmla="*/ 85010 h 1043557"/>
                <a:gd name="connsiteX12" fmla="*/ 721556 w 1046881"/>
                <a:gd name="connsiteY12" fmla="*/ 82039 h 1043557"/>
                <a:gd name="connsiteX13" fmla="*/ 721538 w 1046881"/>
                <a:gd name="connsiteY13" fmla="*/ 82028 h 1043557"/>
                <a:gd name="connsiteX14" fmla="*/ 9852 w 1046881"/>
                <a:gd name="connsiteY14" fmla="*/ 38008 h 1043557"/>
                <a:gd name="connsiteX15" fmla="*/ 83022 w 1046881"/>
                <a:gd name="connsiteY15" fmla="*/ 38941 h 1043557"/>
                <a:gd name="connsiteX16" fmla="*/ 261203 w 1046881"/>
                <a:gd name="connsiteY16" fmla="*/ 35587 h 1043557"/>
                <a:gd name="connsiteX17" fmla="*/ 357880 w 1046881"/>
                <a:gd name="connsiteY17" fmla="*/ 30573 h 1043557"/>
                <a:gd name="connsiteX18" fmla="*/ 362042 w 1046881"/>
                <a:gd name="connsiteY18" fmla="*/ 95017 h 1043557"/>
                <a:gd name="connsiteX19" fmla="*/ 387674 w 1046881"/>
                <a:gd name="connsiteY19" fmla="*/ 94887 h 1043557"/>
                <a:gd name="connsiteX20" fmla="*/ 459061 w 1046881"/>
                <a:gd name="connsiteY20" fmla="*/ 92743 h 1043557"/>
                <a:gd name="connsiteX21" fmla="*/ 696362 w 1046881"/>
                <a:gd name="connsiteY21" fmla="*/ 68270 h 1043557"/>
                <a:gd name="connsiteX22" fmla="*/ 695276 w 1046881"/>
                <a:gd name="connsiteY22" fmla="*/ 66765 h 1043557"/>
                <a:gd name="connsiteX23" fmla="*/ 688988 w 1046881"/>
                <a:gd name="connsiteY23" fmla="*/ 57924 h 1043557"/>
                <a:gd name="connsiteX24" fmla="*/ 685468 w 1046881"/>
                <a:gd name="connsiteY24" fmla="*/ 53037 h 1043557"/>
                <a:gd name="connsiteX25" fmla="*/ 681682 w 1046881"/>
                <a:gd name="connsiteY25" fmla="*/ 49216 h 1043557"/>
                <a:gd name="connsiteX26" fmla="*/ 679085 w 1046881"/>
                <a:gd name="connsiteY26" fmla="*/ 43589 h 1043557"/>
                <a:gd name="connsiteX27" fmla="*/ 676819 w 1046881"/>
                <a:gd name="connsiteY27" fmla="*/ 38759 h 1043557"/>
                <a:gd name="connsiteX28" fmla="*/ 673089 w 1046881"/>
                <a:gd name="connsiteY28" fmla="*/ 36979 h 1043557"/>
                <a:gd name="connsiteX29" fmla="*/ 670969 w 1046881"/>
                <a:gd name="connsiteY29" fmla="*/ 31908 h 1043557"/>
                <a:gd name="connsiteX30" fmla="*/ 670335 w 1046881"/>
                <a:gd name="connsiteY30" fmla="*/ 30150 h 1043557"/>
                <a:gd name="connsiteX31" fmla="*/ 742429 w 1046881"/>
                <a:gd name="connsiteY31" fmla="*/ 22983 h 1043557"/>
                <a:gd name="connsiteX32" fmla="*/ 868019 w 1046881"/>
                <a:gd name="connsiteY32" fmla="*/ 0 h 1043557"/>
                <a:gd name="connsiteX33" fmla="*/ 870170 w 1046881"/>
                <a:gd name="connsiteY33" fmla="*/ 3829 h 1043557"/>
                <a:gd name="connsiteX34" fmla="*/ 875839 w 1046881"/>
                <a:gd name="connsiteY34" fmla="*/ 7816 h 1043557"/>
                <a:gd name="connsiteX35" fmla="*/ 881121 w 1046881"/>
                <a:gd name="connsiteY35" fmla="*/ 12061 h 1043557"/>
                <a:gd name="connsiteX36" fmla="*/ 886197 w 1046881"/>
                <a:gd name="connsiteY36" fmla="*/ 16332 h 1043557"/>
                <a:gd name="connsiteX37" fmla="*/ 885534 w 1046881"/>
                <a:gd name="connsiteY37" fmla="*/ 22164 h 1043557"/>
                <a:gd name="connsiteX38" fmla="*/ 887205 w 1046881"/>
                <a:gd name="connsiteY38" fmla="*/ 33464 h 1043557"/>
                <a:gd name="connsiteX39" fmla="*/ 887603 w 1046881"/>
                <a:gd name="connsiteY39" fmla="*/ 41219 h 1043557"/>
                <a:gd name="connsiteX40" fmla="*/ 898693 w 1046881"/>
                <a:gd name="connsiteY40" fmla="*/ 56828 h 1043557"/>
                <a:gd name="connsiteX41" fmla="*/ 921957 w 1046881"/>
                <a:gd name="connsiteY41" fmla="*/ 75780 h 1043557"/>
                <a:gd name="connsiteX42" fmla="*/ 931672 w 1046881"/>
                <a:gd name="connsiteY42" fmla="*/ 83967 h 1043557"/>
                <a:gd name="connsiteX43" fmla="*/ 938373 w 1046881"/>
                <a:gd name="connsiteY43" fmla="*/ 92754 h 1043557"/>
                <a:gd name="connsiteX44" fmla="*/ 939227 w 1046881"/>
                <a:gd name="connsiteY44" fmla="*/ 102512 h 1043557"/>
                <a:gd name="connsiteX45" fmla="*/ 946842 w 1046881"/>
                <a:gd name="connsiteY45" fmla="*/ 107262 h 1043557"/>
                <a:gd name="connsiteX46" fmla="*/ 953870 w 1046881"/>
                <a:gd name="connsiteY46" fmla="*/ 101203 h 1043557"/>
                <a:gd name="connsiteX47" fmla="*/ 962977 w 1046881"/>
                <a:gd name="connsiteY47" fmla="*/ 104741 h 1043557"/>
                <a:gd name="connsiteX48" fmla="*/ 967861 w 1046881"/>
                <a:gd name="connsiteY48" fmla="*/ 112131 h 1043557"/>
                <a:gd name="connsiteX49" fmla="*/ 965336 w 1046881"/>
                <a:gd name="connsiteY49" fmla="*/ 129106 h 1043557"/>
                <a:gd name="connsiteX50" fmla="*/ 962303 w 1046881"/>
                <a:gd name="connsiteY50" fmla="*/ 143688 h 1043557"/>
                <a:gd name="connsiteX51" fmla="*/ 967061 w 1046881"/>
                <a:gd name="connsiteY51" fmla="*/ 153333 h 1043557"/>
                <a:gd name="connsiteX52" fmla="*/ 971160 w 1046881"/>
                <a:gd name="connsiteY52" fmla="*/ 157938 h 1043557"/>
                <a:gd name="connsiteX53" fmla="*/ 975462 w 1046881"/>
                <a:gd name="connsiteY53" fmla="*/ 160881 h 1043557"/>
                <a:gd name="connsiteX54" fmla="*/ 975885 w 1046881"/>
                <a:gd name="connsiteY54" fmla="*/ 161018 h 1043557"/>
                <a:gd name="connsiteX55" fmla="*/ 981899 w 1046881"/>
                <a:gd name="connsiteY55" fmla="*/ 164548 h 1043557"/>
                <a:gd name="connsiteX56" fmla="*/ 989409 w 1046881"/>
                <a:gd name="connsiteY56" fmla="*/ 168501 h 1043557"/>
                <a:gd name="connsiteX57" fmla="*/ 992927 w 1046881"/>
                <a:gd name="connsiteY57" fmla="*/ 168660 h 1043557"/>
                <a:gd name="connsiteX58" fmla="*/ 1001478 w 1046881"/>
                <a:gd name="connsiteY58" fmla="*/ 171033 h 1043557"/>
                <a:gd name="connsiteX59" fmla="*/ 1004788 w 1046881"/>
                <a:gd name="connsiteY59" fmla="*/ 174313 h 1043557"/>
                <a:gd name="connsiteX60" fmla="*/ 1011624 w 1046881"/>
                <a:gd name="connsiteY60" fmla="*/ 177942 h 1043557"/>
                <a:gd name="connsiteX61" fmla="*/ 1015928 w 1046881"/>
                <a:gd name="connsiteY61" fmla="*/ 185599 h 1043557"/>
                <a:gd name="connsiteX62" fmla="*/ 1020241 w 1046881"/>
                <a:gd name="connsiteY62" fmla="*/ 193461 h 1043557"/>
                <a:gd name="connsiteX63" fmla="*/ 1023417 w 1046881"/>
                <a:gd name="connsiteY63" fmla="*/ 198805 h 1043557"/>
                <a:gd name="connsiteX64" fmla="*/ 1021536 w 1046881"/>
                <a:gd name="connsiteY64" fmla="*/ 203367 h 1043557"/>
                <a:gd name="connsiteX65" fmla="*/ 1019521 w 1046881"/>
                <a:gd name="connsiteY65" fmla="*/ 209994 h 1043557"/>
                <a:gd name="connsiteX66" fmla="*/ 1026248 w 1046881"/>
                <a:gd name="connsiteY66" fmla="*/ 218984 h 1043557"/>
                <a:gd name="connsiteX67" fmla="*/ 1034011 w 1046881"/>
                <a:gd name="connsiteY67" fmla="*/ 224746 h 1043557"/>
                <a:gd name="connsiteX68" fmla="*/ 1039951 w 1046881"/>
                <a:gd name="connsiteY68" fmla="*/ 221509 h 1043557"/>
                <a:gd name="connsiteX69" fmla="*/ 1044310 w 1046881"/>
                <a:gd name="connsiteY69" fmla="*/ 226493 h 1043557"/>
                <a:gd name="connsiteX70" fmla="*/ 1046459 w 1046881"/>
                <a:gd name="connsiteY70" fmla="*/ 233401 h 1043557"/>
                <a:gd name="connsiteX71" fmla="*/ 1046881 w 1046881"/>
                <a:gd name="connsiteY71" fmla="*/ 236630 h 1043557"/>
                <a:gd name="connsiteX72" fmla="*/ 1043947 w 1046881"/>
                <a:gd name="connsiteY72" fmla="*/ 237839 h 1043557"/>
                <a:gd name="connsiteX73" fmla="*/ 1044642 w 1046881"/>
                <a:gd name="connsiteY73" fmla="*/ 246380 h 1043557"/>
                <a:gd name="connsiteX74" fmla="*/ 1037396 w 1046881"/>
                <a:gd name="connsiteY74" fmla="*/ 252261 h 1043557"/>
                <a:gd name="connsiteX75" fmla="*/ 1034407 w 1046881"/>
                <a:gd name="connsiteY75" fmla="*/ 256143 h 1043557"/>
                <a:gd name="connsiteX76" fmla="*/ 1032571 w 1046881"/>
                <a:gd name="connsiteY76" fmla="*/ 257827 h 1043557"/>
                <a:gd name="connsiteX77" fmla="*/ 1029775 w 1046881"/>
                <a:gd name="connsiteY77" fmla="*/ 258605 h 1043557"/>
                <a:gd name="connsiteX78" fmla="*/ 1028069 w 1046881"/>
                <a:gd name="connsiteY78" fmla="*/ 261287 h 1043557"/>
                <a:gd name="connsiteX79" fmla="*/ 1024212 w 1046881"/>
                <a:gd name="connsiteY79" fmla="*/ 293904 h 1043557"/>
                <a:gd name="connsiteX80" fmla="*/ 1025408 w 1046881"/>
                <a:gd name="connsiteY80" fmla="*/ 293644 h 1043557"/>
                <a:gd name="connsiteX81" fmla="*/ 1025512 w 1046881"/>
                <a:gd name="connsiteY81" fmla="*/ 294438 h 1043557"/>
                <a:gd name="connsiteX82" fmla="*/ 1026902 w 1046881"/>
                <a:gd name="connsiteY82" fmla="*/ 297140 h 1043557"/>
                <a:gd name="connsiteX83" fmla="*/ 1025162 w 1046881"/>
                <a:gd name="connsiteY83" fmla="*/ 307451 h 1043557"/>
                <a:gd name="connsiteX84" fmla="*/ 1019870 w 1046881"/>
                <a:gd name="connsiteY84" fmla="*/ 314303 h 1043557"/>
                <a:gd name="connsiteX85" fmla="*/ 1019330 w 1046881"/>
                <a:gd name="connsiteY85" fmla="*/ 316438 h 1043557"/>
                <a:gd name="connsiteX86" fmla="*/ 1020478 w 1046881"/>
                <a:gd name="connsiteY86" fmla="*/ 318953 h 1043557"/>
                <a:gd name="connsiteX87" fmla="*/ 1021614 w 1046881"/>
                <a:gd name="connsiteY87" fmla="*/ 321273 h 1043557"/>
                <a:gd name="connsiteX88" fmla="*/ 1018437 w 1046881"/>
                <a:gd name="connsiteY88" fmla="*/ 325392 h 1043557"/>
                <a:gd name="connsiteX89" fmla="*/ 1014895 w 1046881"/>
                <a:gd name="connsiteY89" fmla="*/ 329754 h 1043557"/>
                <a:gd name="connsiteX90" fmla="*/ 1011459 w 1046881"/>
                <a:gd name="connsiteY90" fmla="*/ 334933 h 1043557"/>
                <a:gd name="connsiteX91" fmla="*/ 1009088 w 1046881"/>
                <a:gd name="connsiteY91" fmla="*/ 338945 h 1043557"/>
                <a:gd name="connsiteX92" fmla="*/ 1012944 w 1046881"/>
                <a:gd name="connsiteY92" fmla="*/ 344821 h 1043557"/>
                <a:gd name="connsiteX93" fmla="*/ 1017240 w 1046881"/>
                <a:gd name="connsiteY93" fmla="*/ 350836 h 1043557"/>
                <a:gd name="connsiteX94" fmla="*/ 1014555 w 1046881"/>
                <a:gd name="connsiteY94" fmla="*/ 357151 h 1043557"/>
                <a:gd name="connsiteX95" fmla="*/ 1010593 w 1046881"/>
                <a:gd name="connsiteY95" fmla="*/ 363010 h 1043557"/>
                <a:gd name="connsiteX96" fmla="*/ 1009849 w 1046881"/>
                <a:gd name="connsiteY96" fmla="*/ 365161 h 1043557"/>
                <a:gd name="connsiteX97" fmla="*/ 1009314 w 1046881"/>
                <a:gd name="connsiteY97" fmla="*/ 370572 h 1043557"/>
                <a:gd name="connsiteX98" fmla="*/ 1006966 w 1046881"/>
                <a:gd name="connsiteY98" fmla="*/ 376232 h 1043557"/>
                <a:gd name="connsiteX99" fmla="*/ 998563 w 1046881"/>
                <a:gd name="connsiteY99" fmla="*/ 387609 h 1043557"/>
                <a:gd name="connsiteX100" fmla="*/ 998168 w 1046881"/>
                <a:gd name="connsiteY100" fmla="*/ 401850 h 1043557"/>
                <a:gd name="connsiteX101" fmla="*/ 999230 w 1046881"/>
                <a:gd name="connsiteY101" fmla="*/ 408494 h 1043557"/>
                <a:gd name="connsiteX102" fmla="*/ 995391 w 1046881"/>
                <a:gd name="connsiteY102" fmla="*/ 413726 h 1043557"/>
                <a:gd name="connsiteX103" fmla="*/ 990223 w 1046881"/>
                <a:gd name="connsiteY103" fmla="*/ 418300 h 1043557"/>
                <a:gd name="connsiteX104" fmla="*/ 985699 w 1046881"/>
                <a:gd name="connsiteY104" fmla="*/ 424660 h 1043557"/>
                <a:gd name="connsiteX105" fmla="*/ 983552 w 1046881"/>
                <a:gd name="connsiteY105" fmla="*/ 430282 h 1043557"/>
                <a:gd name="connsiteX106" fmla="*/ 985818 w 1046881"/>
                <a:gd name="connsiteY106" fmla="*/ 438211 h 1043557"/>
                <a:gd name="connsiteX107" fmla="*/ 982898 w 1046881"/>
                <a:gd name="connsiteY107" fmla="*/ 441062 h 1043557"/>
                <a:gd name="connsiteX108" fmla="*/ 980829 w 1046881"/>
                <a:gd name="connsiteY108" fmla="*/ 447285 h 1043557"/>
                <a:gd name="connsiteX109" fmla="*/ 981920 w 1046881"/>
                <a:gd name="connsiteY109" fmla="*/ 452495 h 1043557"/>
                <a:gd name="connsiteX110" fmla="*/ 979586 w 1046881"/>
                <a:gd name="connsiteY110" fmla="*/ 456699 h 1043557"/>
                <a:gd name="connsiteX111" fmla="*/ 977965 w 1046881"/>
                <a:gd name="connsiteY111" fmla="*/ 461641 h 1043557"/>
                <a:gd name="connsiteX112" fmla="*/ 975685 w 1046881"/>
                <a:gd name="connsiteY112" fmla="*/ 466254 h 1043557"/>
                <a:gd name="connsiteX113" fmla="*/ 973862 w 1046881"/>
                <a:gd name="connsiteY113" fmla="*/ 471222 h 1043557"/>
                <a:gd name="connsiteX114" fmla="*/ 977202 w 1046881"/>
                <a:gd name="connsiteY114" fmla="*/ 479426 h 1043557"/>
                <a:gd name="connsiteX115" fmla="*/ 980504 w 1046881"/>
                <a:gd name="connsiteY115" fmla="*/ 485778 h 1043557"/>
                <a:gd name="connsiteX116" fmla="*/ 984718 w 1046881"/>
                <a:gd name="connsiteY116" fmla="*/ 492830 h 1043557"/>
                <a:gd name="connsiteX117" fmla="*/ 987057 w 1046881"/>
                <a:gd name="connsiteY117" fmla="*/ 498084 h 1043557"/>
                <a:gd name="connsiteX118" fmla="*/ 983990 w 1046881"/>
                <a:gd name="connsiteY118" fmla="*/ 506088 h 1043557"/>
                <a:gd name="connsiteX119" fmla="*/ 983436 w 1046881"/>
                <a:gd name="connsiteY119" fmla="*/ 508214 h 1043557"/>
                <a:gd name="connsiteX120" fmla="*/ 983058 w 1046881"/>
                <a:gd name="connsiteY120" fmla="*/ 510120 h 1043557"/>
                <a:gd name="connsiteX121" fmla="*/ 827992 w 1046881"/>
                <a:gd name="connsiteY121" fmla="*/ 534483 h 1043557"/>
                <a:gd name="connsiteX122" fmla="*/ 828366 w 1046881"/>
                <a:gd name="connsiteY122" fmla="*/ 537474 h 1043557"/>
                <a:gd name="connsiteX123" fmla="*/ 836967 w 1046881"/>
                <a:gd name="connsiteY123" fmla="*/ 604863 h 1043557"/>
                <a:gd name="connsiteX124" fmla="*/ 843324 w 1046881"/>
                <a:gd name="connsiteY124" fmla="*/ 609201 h 1043557"/>
                <a:gd name="connsiteX125" fmla="*/ 849802 w 1046881"/>
                <a:gd name="connsiteY125" fmla="*/ 614737 h 1043557"/>
                <a:gd name="connsiteX126" fmla="*/ 853157 w 1046881"/>
                <a:gd name="connsiteY126" fmla="*/ 623110 h 1043557"/>
                <a:gd name="connsiteX127" fmla="*/ 854931 w 1046881"/>
                <a:gd name="connsiteY127" fmla="*/ 631967 h 1043557"/>
                <a:gd name="connsiteX128" fmla="*/ 857647 w 1046881"/>
                <a:gd name="connsiteY128" fmla="*/ 633867 h 1043557"/>
                <a:gd name="connsiteX129" fmla="*/ 860697 w 1046881"/>
                <a:gd name="connsiteY129" fmla="*/ 636764 h 1043557"/>
                <a:gd name="connsiteX130" fmla="*/ 862847 w 1046881"/>
                <a:gd name="connsiteY130" fmla="*/ 640369 h 1043557"/>
                <a:gd name="connsiteX131" fmla="*/ 865303 w 1046881"/>
                <a:gd name="connsiteY131" fmla="*/ 645008 h 1043557"/>
                <a:gd name="connsiteX132" fmla="*/ 870051 w 1046881"/>
                <a:gd name="connsiteY132" fmla="*/ 653025 h 1043557"/>
                <a:gd name="connsiteX133" fmla="*/ 874531 w 1046881"/>
                <a:gd name="connsiteY133" fmla="*/ 658997 h 1043557"/>
                <a:gd name="connsiteX134" fmla="*/ 875851 w 1046881"/>
                <a:gd name="connsiteY134" fmla="*/ 681685 h 1043557"/>
                <a:gd name="connsiteX135" fmla="*/ 872946 w 1046881"/>
                <a:gd name="connsiteY135" fmla="*/ 690910 h 1043557"/>
                <a:gd name="connsiteX136" fmla="*/ 869839 w 1046881"/>
                <a:gd name="connsiteY136" fmla="*/ 702001 h 1043557"/>
                <a:gd name="connsiteX137" fmla="*/ 872169 w 1046881"/>
                <a:gd name="connsiteY137" fmla="*/ 707247 h 1043557"/>
                <a:gd name="connsiteX138" fmla="*/ 870316 w 1046881"/>
                <a:gd name="connsiteY138" fmla="*/ 710368 h 1043557"/>
                <a:gd name="connsiteX139" fmla="*/ 869134 w 1046881"/>
                <a:gd name="connsiteY139" fmla="*/ 715483 h 1043557"/>
                <a:gd name="connsiteX140" fmla="*/ 871666 w 1046881"/>
                <a:gd name="connsiteY140" fmla="*/ 720703 h 1043557"/>
                <a:gd name="connsiteX141" fmla="*/ 874190 w 1046881"/>
                <a:gd name="connsiteY141" fmla="*/ 727173 h 1043557"/>
                <a:gd name="connsiteX142" fmla="*/ 870767 w 1046881"/>
                <a:gd name="connsiteY142" fmla="*/ 740559 h 1043557"/>
                <a:gd name="connsiteX143" fmla="*/ 865779 w 1046881"/>
                <a:gd name="connsiteY143" fmla="*/ 752728 h 1043557"/>
                <a:gd name="connsiteX144" fmla="*/ 865577 w 1046881"/>
                <a:gd name="connsiteY144" fmla="*/ 752754 h 1043557"/>
                <a:gd name="connsiteX145" fmla="*/ 866916 w 1046881"/>
                <a:gd name="connsiteY145" fmla="*/ 756708 h 1043557"/>
                <a:gd name="connsiteX146" fmla="*/ 869738 w 1046881"/>
                <a:gd name="connsiteY146" fmla="*/ 759426 h 1043557"/>
                <a:gd name="connsiteX147" fmla="*/ 860381 w 1046881"/>
                <a:gd name="connsiteY147" fmla="*/ 763320 h 1043557"/>
                <a:gd name="connsiteX148" fmla="*/ 855058 w 1046881"/>
                <a:gd name="connsiteY148" fmla="*/ 766895 h 1043557"/>
                <a:gd name="connsiteX149" fmla="*/ 849541 w 1046881"/>
                <a:gd name="connsiteY149" fmla="*/ 770287 h 1043557"/>
                <a:gd name="connsiteX150" fmla="*/ 826641 w 1046881"/>
                <a:gd name="connsiteY150" fmla="*/ 787468 h 1043557"/>
                <a:gd name="connsiteX151" fmla="*/ 808960 w 1046881"/>
                <a:gd name="connsiteY151" fmla="*/ 807887 h 1043557"/>
                <a:gd name="connsiteX152" fmla="*/ 807714 w 1046881"/>
                <a:gd name="connsiteY152" fmla="*/ 808050 h 1043557"/>
                <a:gd name="connsiteX153" fmla="*/ 807356 w 1046881"/>
                <a:gd name="connsiteY153" fmla="*/ 806882 h 1043557"/>
                <a:gd name="connsiteX154" fmla="*/ 817787 w 1046881"/>
                <a:gd name="connsiteY154" fmla="*/ 790498 h 1043557"/>
                <a:gd name="connsiteX155" fmla="*/ 823690 w 1046881"/>
                <a:gd name="connsiteY155" fmla="*/ 783760 h 1043557"/>
                <a:gd name="connsiteX156" fmla="*/ 832078 w 1046881"/>
                <a:gd name="connsiteY156" fmla="*/ 776906 h 1043557"/>
                <a:gd name="connsiteX157" fmla="*/ 829923 w 1046881"/>
                <a:gd name="connsiteY157" fmla="*/ 776147 h 1043557"/>
                <a:gd name="connsiteX158" fmla="*/ 827201 w 1046881"/>
                <a:gd name="connsiteY158" fmla="*/ 777335 h 1043557"/>
                <a:gd name="connsiteX159" fmla="*/ 820822 w 1046881"/>
                <a:gd name="connsiteY159" fmla="*/ 777544 h 1043557"/>
                <a:gd name="connsiteX160" fmla="*/ 820635 w 1046881"/>
                <a:gd name="connsiteY160" fmla="*/ 771394 h 1043557"/>
                <a:gd name="connsiteX161" fmla="*/ 821485 w 1046881"/>
                <a:gd name="connsiteY161" fmla="*/ 765316 h 1043557"/>
                <a:gd name="connsiteX162" fmla="*/ 818507 w 1046881"/>
                <a:gd name="connsiteY162" fmla="*/ 761403 h 1043557"/>
                <a:gd name="connsiteX163" fmla="*/ 814762 w 1046881"/>
                <a:gd name="connsiteY163" fmla="*/ 765778 h 1043557"/>
                <a:gd name="connsiteX164" fmla="*/ 810038 w 1046881"/>
                <a:gd name="connsiteY164" fmla="*/ 770523 h 1043557"/>
                <a:gd name="connsiteX165" fmla="*/ 805169 w 1046881"/>
                <a:gd name="connsiteY165" fmla="*/ 769703 h 1043557"/>
                <a:gd name="connsiteX166" fmla="*/ 803350 w 1046881"/>
                <a:gd name="connsiteY166" fmla="*/ 769941 h 1043557"/>
                <a:gd name="connsiteX167" fmla="*/ 803389 w 1046881"/>
                <a:gd name="connsiteY167" fmla="*/ 771809 h 1043557"/>
                <a:gd name="connsiteX168" fmla="*/ 807659 w 1046881"/>
                <a:gd name="connsiteY168" fmla="*/ 779056 h 1043557"/>
                <a:gd name="connsiteX169" fmla="*/ 811335 w 1046881"/>
                <a:gd name="connsiteY169" fmla="*/ 785167 h 1043557"/>
                <a:gd name="connsiteX170" fmla="*/ 813108 w 1046881"/>
                <a:gd name="connsiteY170" fmla="*/ 786149 h 1043557"/>
                <a:gd name="connsiteX171" fmla="*/ 814870 w 1046881"/>
                <a:gd name="connsiteY171" fmla="*/ 788625 h 1043557"/>
                <a:gd name="connsiteX172" fmla="*/ 806028 w 1046881"/>
                <a:gd name="connsiteY172" fmla="*/ 804593 h 1043557"/>
                <a:gd name="connsiteX173" fmla="*/ 802425 w 1046881"/>
                <a:gd name="connsiteY173" fmla="*/ 806902 h 1043557"/>
                <a:gd name="connsiteX174" fmla="*/ 800728 w 1046881"/>
                <a:gd name="connsiteY174" fmla="*/ 811217 h 1043557"/>
                <a:gd name="connsiteX175" fmla="*/ 800328 w 1046881"/>
                <a:gd name="connsiteY175" fmla="*/ 816022 h 1043557"/>
                <a:gd name="connsiteX176" fmla="*/ 798253 w 1046881"/>
                <a:gd name="connsiteY176" fmla="*/ 820595 h 1043557"/>
                <a:gd name="connsiteX177" fmla="*/ 797701 w 1046881"/>
                <a:gd name="connsiteY177" fmla="*/ 821083 h 1043557"/>
                <a:gd name="connsiteX178" fmla="*/ 771095 w 1046881"/>
                <a:gd name="connsiteY178" fmla="*/ 839789 h 1043557"/>
                <a:gd name="connsiteX179" fmla="*/ 769578 w 1046881"/>
                <a:gd name="connsiteY179" fmla="*/ 839190 h 1043557"/>
                <a:gd name="connsiteX180" fmla="*/ 766035 w 1046881"/>
                <a:gd name="connsiteY180" fmla="*/ 838820 h 1043557"/>
                <a:gd name="connsiteX181" fmla="*/ 761925 w 1046881"/>
                <a:gd name="connsiteY181" fmla="*/ 840398 h 1043557"/>
                <a:gd name="connsiteX182" fmla="*/ 760071 w 1046881"/>
                <a:gd name="connsiteY182" fmla="*/ 843519 h 1043557"/>
                <a:gd name="connsiteX183" fmla="*/ 764719 w 1046881"/>
                <a:gd name="connsiteY183" fmla="*/ 842912 h 1043557"/>
                <a:gd name="connsiteX184" fmla="*/ 746112 w 1046881"/>
                <a:gd name="connsiteY184" fmla="*/ 858075 h 1043557"/>
                <a:gd name="connsiteX185" fmla="*/ 746207 w 1046881"/>
                <a:gd name="connsiteY185" fmla="*/ 857230 h 1043557"/>
                <a:gd name="connsiteX186" fmla="*/ 750006 w 1046881"/>
                <a:gd name="connsiteY186" fmla="*/ 853264 h 1043557"/>
                <a:gd name="connsiteX187" fmla="*/ 754715 w 1046881"/>
                <a:gd name="connsiteY187" fmla="*/ 849978 h 1043557"/>
                <a:gd name="connsiteX188" fmla="*/ 752331 w 1046881"/>
                <a:gd name="connsiteY188" fmla="*/ 849040 h 1043557"/>
                <a:gd name="connsiteX189" fmla="*/ 749327 w 1046881"/>
                <a:gd name="connsiteY189" fmla="*/ 849641 h 1043557"/>
                <a:gd name="connsiteX190" fmla="*/ 744038 w 1046881"/>
                <a:gd name="connsiteY190" fmla="*/ 848494 h 1043557"/>
                <a:gd name="connsiteX191" fmla="*/ 741243 w 1046881"/>
                <a:gd name="connsiteY191" fmla="*/ 845980 h 1043557"/>
                <a:gd name="connsiteX192" fmla="*/ 739378 w 1046881"/>
                <a:gd name="connsiteY192" fmla="*/ 847438 h 1043557"/>
                <a:gd name="connsiteX193" fmla="*/ 737544 w 1046881"/>
                <a:gd name="connsiteY193" fmla="*/ 849134 h 1043557"/>
                <a:gd name="connsiteX194" fmla="*/ 735996 w 1046881"/>
                <a:gd name="connsiteY194" fmla="*/ 848296 h 1043557"/>
                <a:gd name="connsiteX195" fmla="*/ 734440 w 1046881"/>
                <a:gd name="connsiteY195" fmla="*/ 847667 h 1043557"/>
                <a:gd name="connsiteX196" fmla="*/ 733106 w 1046881"/>
                <a:gd name="connsiteY196" fmla="*/ 848466 h 1043557"/>
                <a:gd name="connsiteX197" fmla="*/ 733900 w 1046881"/>
                <a:gd name="connsiteY197" fmla="*/ 849819 h 1043557"/>
                <a:gd name="connsiteX198" fmla="*/ 734715 w 1046881"/>
                <a:gd name="connsiteY198" fmla="*/ 851342 h 1043557"/>
                <a:gd name="connsiteX199" fmla="*/ 729171 w 1046881"/>
                <a:gd name="connsiteY199" fmla="*/ 854530 h 1043557"/>
                <a:gd name="connsiteX200" fmla="*/ 724496 w 1046881"/>
                <a:gd name="connsiteY200" fmla="*/ 850215 h 1043557"/>
                <a:gd name="connsiteX201" fmla="*/ 720450 w 1046881"/>
                <a:gd name="connsiteY201" fmla="*/ 845991 h 1043557"/>
                <a:gd name="connsiteX202" fmla="*/ 719256 w 1046881"/>
                <a:gd name="connsiteY202" fmla="*/ 849443 h 1043557"/>
                <a:gd name="connsiteX203" fmla="*/ 727593 w 1046881"/>
                <a:gd name="connsiteY203" fmla="*/ 856610 h 1043557"/>
                <a:gd name="connsiteX204" fmla="*/ 735623 w 1046881"/>
                <a:gd name="connsiteY204" fmla="*/ 864580 h 1043557"/>
                <a:gd name="connsiteX205" fmla="*/ 732973 w 1046881"/>
                <a:gd name="connsiteY205" fmla="*/ 874188 h 1043557"/>
                <a:gd name="connsiteX206" fmla="*/ 720589 w 1046881"/>
                <a:gd name="connsiteY206" fmla="*/ 885069 h 1043557"/>
                <a:gd name="connsiteX207" fmla="*/ 710786 w 1046881"/>
                <a:gd name="connsiteY207" fmla="*/ 894988 h 1043557"/>
                <a:gd name="connsiteX208" fmla="*/ 704220 w 1046881"/>
                <a:gd name="connsiteY208" fmla="*/ 904518 h 1043557"/>
                <a:gd name="connsiteX209" fmla="*/ 703581 w 1046881"/>
                <a:gd name="connsiteY209" fmla="*/ 904602 h 1043557"/>
                <a:gd name="connsiteX210" fmla="*/ 703469 w 1046881"/>
                <a:gd name="connsiteY210" fmla="*/ 901911 h 1043557"/>
                <a:gd name="connsiteX211" fmla="*/ 709101 w 1046881"/>
                <a:gd name="connsiteY211" fmla="*/ 891531 h 1043557"/>
                <a:gd name="connsiteX212" fmla="*/ 716258 w 1046881"/>
                <a:gd name="connsiteY212" fmla="*/ 883380 h 1043557"/>
                <a:gd name="connsiteX213" fmla="*/ 724565 w 1046881"/>
                <a:gd name="connsiteY213" fmla="*/ 875911 h 1043557"/>
                <a:gd name="connsiteX214" fmla="*/ 732355 w 1046881"/>
                <a:gd name="connsiteY214" fmla="*/ 867886 h 1043557"/>
                <a:gd name="connsiteX215" fmla="*/ 730334 w 1046881"/>
                <a:gd name="connsiteY215" fmla="*/ 868150 h 1043557"/>
                <a:gd name="connsiteX216" fmla="*/ 725301 w 1046881"/>
                <a:gd name="connsiteY216" fmla="*/ 872103 h 1043557"/>
                <a:gd name="connsiteX217" fmla="*/ 720463 w 1046881"/>
                <a:gd name="connsiteY217" fmla="*/ 874401 h 1043557"/>
                <a:gd name="connsiteX218" fmla="*/ 716059 w 1046881"/>
                <a:gd name="connsiteY218" fmla="*/ 870848 h 1043557"/>
                <a:gd name="connsiteX219" fmla="*/ 712299 w 1046881"/>
                <a:gd name="connsiteY219" fmla="*/ 867246 h 1043557"/>
                <a:gd name="connsiteX220" fmla="*/ 711269 w 1046881"/>
                <a:gd name="connsiteY220" fmla="*/ 868803 h 1043557"/>
                <a:gd name="connsiteX221" fmla="*/ 713215 w 1046881"/>
                <a:gd name="connsiteY221" fmla="*/ 872677 h 1043557"/>
                <a:gd name="connsiteX222" fmla="*/ 715235 w 1046881"/>
                <a:gd name="connsiteY222" fmla="*/ 877131 h 1043557"/>
                <a:gd name="connsiteX223" fmla="*/ 712513 w 1046881"/>
                <a:gd name="connsiteY223" fmla="*/ 883037 h 1043557"/>
                <a:gd name="connsiteX224" fmla="*/ 706981 w 1046881"/>
                <a:gd name="connsiteY224" fmla="*/ 887888 h 1043557"/>
                <a:gd name="connsiteX225" fmla="*/ 703331 w 1046881"/>
                <a:gd name="connsiteY225" fmla="*/ 886700 h 1043557"/>
                <a:gd name="connsiteX226" fmla="*/ 697349 w 1046881"/>
                <a:gd name="connsiteY226" fmla="*/ 885227 h 1043557"/>
                <a:gd name="connsiteX227" fmla="*/ 694996 w 1046881"/>
                <a:gd name="connsiteY227" fmla="*/ 889246 h 1043557"/>
                <a:gd name="connsiteX228" fmla="*/ 696194 w 1046881"/>
                <a:gd name="connsiteY228" fmla="*/ 895264 h 1043557"/>
                <a:gd name="connsiteX229" fmla="*/ 698047 w 1046881"/>
                <a:gd name="connsiteY229" fmla="*/ 892143 h 1043557"/>
                <a:gd name="connsiteX230" fmla="*/ 699927 w 1046881"/>
                <a:gd name="connsiteY230" fmla="*/ 889226 h 1043557"/>
                <a:gd name="connsiteX231" fmla="*/ 702527 w 1046881"/>
                <a:gd name="connsiteY231" fmla="*/ 893396 h 1043557"/>
                <a:gd name="connsiteX232" fmla="*/ 698570 w 1046881"/>
                <a:gd name="connsiteY232" fmla="*/ 904008 h 1043557"/>
                <a:gd name="connsiteX233" fmla="*/ 692950 w 1046881"/>
                <a:gd name="connsiteY233" fmla="*/ 911334 h 1043557"/>
                <a:gd name="connsiteX234" fmla="*/ 689044 w 1046881"/>
                <a:gd name="connsiteY234" fmla="*/ 909762 h 1043557"/>
                <a:gd name="connsiteX235" fmla="*/ 681243 w 1046881"/>
                <a:gd name="connsiteY235" fmla="*/ 908527 h 1043557"/>
                <a:gd name="connsiteX236" fmla="*/ 676481 w 1046881"/>
                <a:gd name="connsiteY236" fmla="*/ 911404 h 1043557"/>
                <a:gd name="connsiteX237" fmla="*/ 684347 w 1046881"/>
                <a:gd name="connsiteY237" fmla="*/ 916551 h 1043557"/>
                <a:gd name="connsiteX238" fmla="*/ 688847 w 1046881"/>
                <a:gd name="connsiteY238" fmla="*/ 919259 h 1043557"/>
                <a:gd name="connsiteX239" fmla="*/ 679949 w 1046881"/>
                <a:gd name="connsiteY239" fmla="*/ 947376 h 1043557"/>
                <a:gd name="connsiteX240" fmla="*/ 677516 w 1046881"/>
                <a:gd name="connsiteY240" fmla="*/ 946063 h 1043557"/>
                <a:gd name="connsiteX241" fmla="*/ 675052 w 1046881"/>
                <a:gd name="connsiteY241" fmla="*/ 944512 h 1043557"/>
                <a:gd name="connsiteX242" fmla="*/ 669844 w 1046881"/>
                <a:gd name="connsiteY242" fmla="*/ 945817 h 1043557"/>
                <a:gd name="connsiteX243" fmla="*/ 667236 w 1046881"/>
                <a:gd name="connsiteY243" fmla="*/ 949453 h 1043557"/>
                <a:gd name="connsiteX244" fmla="*/ 677623 w 1046881"/>
                <a:gd name="connsiteY244" fmla="*/ 951600 h 1043557"/>
                <a:gd name="connsiteX245" fmla="*/ 681760 w 1046881"/>
                <a:gd name="connsiteY245" fmla="*/ 950227 h 1043557"/>
                <a:gd name="connsiteX246" fmla="*/ 685390 w 1046881"/>
                <a:gd name="connsiteY246" fmla="*/ 952840 h 1043557"/>
                <a:gd name="connsiteX247" fmla="*/ 681844 w 1046881"/>
                <a:gd name="connsiteY247" fmla="*/ 965028 h 1043557"/>
                <a:gd name="connsiteX248" fmla="*/ 677303 w 1046881"/>
                <a:gd name="connsiteY248" fmla="*/ 971172 h 1043557"/>
                <a:gd name="connsiteX249" fmla="*/ 680220 w 1046881"/>
                <a:gd name="connsiteY249" fmla="*/ 973045 h 1043557"/>
                <a:gd name="connsiteX250" fmla="*/ 682966 w 1046881"/>
                <a:gd name="connsiteY250" fmla="*/ 975185 h 1043557"/>
                <a:gd name="connsiteX251" fmla="*/ 681585 w 1046881"/>
                <a:gd name="connsiteY251" fmla="*/ 977204 h 1043557"/>
                <a:gd name="connsiteX252" fmla="*/ 680312 w 1046881"/>
                <a:gd name="connsiteY252" fmla="*/ 980041 h 1043557"/>
                <a:gd name="connsiteX253" fmla="*/ 683443 w 1046881"/>
                <a:gd name="connsiteY253" fmla="*/ 983552 h 1043557"/>
                <a:gd name="connsiteX254" fmla="*/ 688091 w 1046881"/>
                <a:gd name="connsiteY254" fmla="*/ 992380 h 1043557"/>
                <a:gd name="connsiteX255" fmla="*/ 689758 w 1046881"/>
                <a:gd name="connsiteY255" fmla="*/ 1000419 h 1043557"/>
                <a:gd name="connsiteX256" fmla="*/ 691535 w 1046881"/>
                <a:gd name="connsiteY256" fmla="*/ 1006153 h 1043557"/>
                <a:gd name="connsiteX257" fmla="*/ 696126 w 1046881"/>
                <a:gd name="connsiteY257" fmla="*/ 1017695 h 1043557"/>
                <a:gd name="connsiteX258" fmla="*/ 699360 w 1046881"/>
                <a:gd name="connsiteY258" fmla="*/ 1021990 h 1043557"/>
                <a:gd name="connsiteX259" fmla="*/ 701838 w 1046881"/>
                <a:gd name="connsiteY259" fmla="*/ 1026800 h 1043557"/>
                <a:gd name="connsiteX260" fmla="*/ 700732 w 1046881"/>
                <a:gd name="connsiteY260" fmla="*/ 1030657 h 1043557"/>
                <a:gd name="connsiteX261" fmla="*/ 699410 w 1046881"/>
                <a:gd name="connsiteY261" fmla="*/ 1034957 h 1043557"/>
                <a:gd name="connsiteX262" fmla="*/ 700859 w 1046881"/>
                <a:gd name="connsiteY262" fmla="*/ 1036606 h 1043557"/>
                <a:gd name="connsiteX263" fmla="*/ 702974 w 1046881"/>
                <a:gd name="connsiteY263" fmla="*/ 1033659 h 1043557"/>
                <a:gd name="connsiteX264" fmla="*/ 705056 w 1046881"/>
                <a:gd name="connsiteY264" fmla="*/ 1030716 h 1043557"/>
                <a:gd name="connsiteX265" fmla="*/ 709446 w 1046881"/>
                <a:gd name="connsiteY265" fmla="*/ 1037566 h 1043557"/>
                <a:gd name="connsiteX266" fmla="*/ 698312 w 1046881"/>
                <a:gd name="connsiteY266" fmla="*/ 1042282 h 1043557"/>
                <a:gd name="connsiteX267" fmla="*/ 693542 w 1046881"/>
                <a:gd name="connsiteY267" fmla="*/ 1043529 h 1043557"/>
                <a:gd name="connsiteX268" fmla="*/ 687990 w 1046881"/>
                <a:gd name="connsiteY268" fmla="*/ 1040370 h 1043557"/>
                <a:gd name="connsiteX269" fmla="*/ 678999 w 1046881"/>
                <a:gd name="connsiteY269" fmla="*/ 1034745 h 1043557"/>
                <a:gd name="connsiteX270" fmla="*/ 672688 w 1046881"/>
                <a:gd name="connsiteY270" fmla="*/ 1032067 h 1043557"/>
                <a:gd name="connsiteX271" fmla="*/ 645386 w 1046881"/>
                <a:gd name="connsiteY271" fmla="*/ 1034177 h 1043557"/>
                <a:gd name="connsiteX272" fmla="*/ 637620 w 1046881"/>
                <a:gd name="connsiteY272" fmla="*/ 1030058 h 1043557"/>
                <a:gd name="connsiteX273" fmla="*/ 631438 w 1046881"/>
                <a:gd name="connsiteY273" fmla="*/ 1023650 h 1043557"/>
                <a:gd name="connsiteX274" fmla="*/ 625719 w 1046881"/>
                <a:gd name="connsiteY274" fmla="*/ 1022351 h 1043557"/>
                <a:gd name="connsiteX275" fmla="*/ 619729 w 1046881"/>
                <a:gd name="connsiteY275" fmla="*/ 1023967 h 1043557"/>
                <a:gd name="connsiteX276" fmla="*/ 616286 w 1046881"/>
                <a:gd name="connsiteY276" fmla="*/ 1022786 h 1043557"/>
                <a:gd name="connsiteX277" fmla="*/ 612117 w 1046881"/>
                <a:gd name="connsiteY277" fmla="*/ 1019203 h 1043557"/>
                <a:gd name="connsiteX278" fmla="*/ 599158 w 1046881"/>
                <a:gd name="connsiteY278" fmla="*/ 1017809 h 1043557"/>
                <a:gd name="connsiteX279" fmla="*/ 594928 w 1046881"/>
                <a:gd name="connsiteY279" fmla="*/ 1016904 h 1043557"/>
                <a:gd name="connsiteX280" fmla="*/ 592934 w 1046881"/>
                <a:gd name="connsiteY280" fmla="*/ 1012655 h 1043557"/>
                <a:gd name="connsiteX281" fmla="*/ 590166 w 1046881"/>
                <a:gd name="connsiteY281" fmla="*/ 1010346 h 1043557"/>
                <a:gd name="connsiteX282" fmla="*/ 587451 w 1046881"/>
                <a:gd name="connsiteY282" fmla="*/ 1008446 h 1043557"/>
                <a:gd name="connsiteX283" fmla="*/ 583622 w 1046881"/>
                <a:gd name="connsiteY283" fmla="*/ 993301 h 1043557"/>
                <a:gd name="connsiteX284" fmla="*/ 574780 w 1046881"/>
                <a:gd name="connsiteY284" fmla="*/ 982523 h 1043557"/>
                <a:gd name="connsiteX285" fmla="*/ 567217 w 1046881"/>
                <a:gd name="connsiteY285" fmla="*/ 973416 h 1043557"/>
                <a:gd name="connsiteX286" fmla="*/ 566752 w 1046881"/>
                <a:gd name="connsiteY286" fmla="*/ 966713 h 1043557"/>
                <a:gd name="connsiteX287" fmla="*/ 566996 w 1046881"/>
                <a:gd name="connsiteY287" fmla="*/ 960714 h 1043557"/>
                <a:gd name="connsiteX288" fmla="*/ 563873 w 1046881"/>
                <a:gd name="connsiteY288" fmla="*/ 958833 h 1043557"/>
                <a:gd name="connsiteX289" fmla="*/ 562592 w 1046881"/>
                <a:gd name="connsiteY289" fmla="*/ 955323 h 1043557"/>
                <a:gd name="connsiteX290" fmla="*/ 562782 w 1046881"/>
                <a:gd name="connsiteY290" fmla="*/ 948915 h 1043557"/>
                <a:gd name="connsiteX291" fmla="*/ 560662 w 1046881"/>
                <a:gd name="connsiteY291" fmla="*/ 945272 h 1043557"/>
                <a:gd name="connsiteX292" fmla="*/ 555079 w 1046881"/>
                <a:gd name="connsiteY292" fmla="*/ 937156 h 1043557"/>
                <a:gd name="connsiteX293" fmla="*/ 547629 w 1046881"/>
                <a:gd name="connsiteY293" fmla="*/ 935458 h 1043557"/>
                <a:gd name="connsiteX294" fmla="*/ 542275 w 1046881"/>
                <a:gd name="connsiteY294" fmla="*/ 927520 h 1043557"/>
                <a:gd name="connsiteX295" fmla="*/ 535865 w 1046881"/>
                <a:gd name="connsiteY295" fmla="*/ 916216 h 1043557"/>
                <a:gd name="connsiteX296" fmla="*/ 523400 w 1046881"/>
                <a:gd name="connsiteY296" fmla="*/ 904455 h 1043557"/>
                <a:gd name="connsiteX297" fmla="*/ 511396 w 1046881"/>
                <a:gd name="connsiteY297" fmla="*/ 895963 h 1043557"/>
                <a:gd name="connsiteX298" fmla="*/ 508044 w 1046881"/>
                <a:gd name="connsiteY298" fmla="*/ 889186 h 1043557"/>
                <a:gd name="connsiteX299" fmla="*/ 505276 w 1046881"/>
                <a:gd name="connsiteY299" fmla="*/ 879279 h 1043557"/>
                <a:gd name="connsiteX300" fmla="*/ 500273 w 1046881"/>
                <a:gd name="connsiteY300" fmla="*/ 870879 h 1043557"/>
                <a:gd name="connsiteX301" fmla="*/ 493351 w 1046881"/>
                <a:gd name="connsiteY301" fmla="*/ 858809 h 1043557"/>
                <a:gd name="connsiteX302" fmla="*/ 486308 w 1046881"/>
                <a:gd name="connsiteY302" fmla="*/ 847380 h 1043557"/>
                <a:gd name="connsiteX303" fmla="*/ 480833 w 1046881"/>
                <a:gd name="connsiteY303" fmla="*/ 841921 h 1043557"/>
                <a:gd name="connsiteX304" fmla="*/ 476032 w 1046881"/>
                <a:gd name="connsiteY304" fmla="*/ 833494 h 1043557"/>
                <a:gd name="connsiteX305" fmla="*/ 469492 w 1046881"/>
                <a:gd name="connsiteY305" fmla="*/ 825919 h 1043557"/>
                <a:gd name="connsiteX306" fmla="*/ 456593 w 1046881"/>
                <a:gd name="connsiteY306" fmla="*/ 817128 h 1043557"/>
                <a:gd name="connsiteX307" fmla="*/ 444322 w 1046881"/>
                <a:gd name="connsiteY307" fmla="*/ 806590 h 1043557"/>
                <a:gd name="connsiteX308" fmla="*/ 437176 w 1046881"/>
                <a:gd name="connsiteY308" fmla="*/ 799094 h 1043557"/>
                <a:gd name="connsiteX309" fmla="*/ 432691 w 1046881"/>
                <a:gd name="connsiteY309" fmla="*/ 794928 h 1043557"/>
                <a:gd name="connsiteX310" fmla="*/ 424006 w 1046881"/>
                <a:gd name="connsiteY310" fmla="*/ 800815 h 1043557"/>
                <a:gd name="connsiteX311" fmla="*/ 417534 w 1046881"/>
                <a:gd name="connsiteY311" fmla="*/ 796909 h 1043557"/>
                <a:gd name="connsiteX312" fmla="*/ 407773 w 1046881"/>
                <a:gd name="connsiteY312" fmla="*/ 797976 h 1043557"/>
                <a:gd name="connsiteX313" fmla="*/ 400834 w 1046881"/>
                <a:gd name="connsiteY313" fmla="*/ 799923 h 1043557"/>
                <a:gd name="connsiteX314" fmla="*/ 389208 w 1046881"/>
                <a:gd name="connsiteY314" fmla="*/ 793013 h 1043557"/>
                <a:gd name="connsiteX315" fmla="*/ 377883 w 1046881"/>
                <a:gd name="connsiteY315" fmla="*/ 802298 h 1043557"/>
                <a:gd name="connsiteX316" fmla="*/ 370231 w 1046881"/>
                <a:gd name="connsiteY316" fmla="*/ 805345 h 1043557"/>
                <a:gd name="connsiteX317" fmla="*/ 364515 w 1046881"/>
                <a:gd name="connsiteY317" fmla="*/ 813516 h 1043557"/>
                <a:gd name="connsiteX318" fmla="*/ 355720 w 1046881"/>
                <a:gd name="connsiteY318" fmla="*/ 832981 h 1043557"/>
                <a:gd name="connsiteX319" fmla="*/ 345463 w 1046881"/>
                <a:gd name="connsiteY319" fmla="*/ 852014 h 1043557"/>
                <a:gd name="connsiteX320" fmla="*/ 338989 w 1046881"/>
                <a:gd name="connsiteY320" fmla="*/ 857786 h 1043557"/>
                <a:gd name="connsiteX321" fmla="*/ 331989 w 1046881"/>
                <a:gd name="connsiteY321" fmla="*/ 857695 h 1043557"/>
                <a:gd name="connsiteX322" fmla="*/ 324595 w 1046881"/>
                <a:gd name="connsiteY322" fmla="*/ 853284 h 1043557"/>
                <a:gd name="connsiteX323" fmla="*/ 320366 w 1046881"/>
                <a:gd name="connsiteY323" fmla="*/ 847662 h 1043557"/>
                <a:gd name="connsiteX324" fmla="*/ 314848 w 1046881"/>
                <a:gd name="connsiteY324" fmla="*/ 846336 h 1043557"/>
                <a:gd name="connsiteX325" fmla="*/ 309567 w 1046881"/>
                <a:gd name="connsiteY325" fmla="*/ 846818 h 1043557"/>
                <a:gd name="connsiteX326" fmla="*/ 303169 w 1046881"/>
                <a:gd name="connsiteY326" fmla="*/ 839016 h 1043557"/>
                <a:gd name="connsiteX327" fmla="*/ 298345 w 1046881"/>
                <a:gd name="connsiteY327" fmla="*/ 839855 h 1043557"/>
                <a:gd name="connsiteX328" fmla="*/ 291062 w 1046881"/>
                <a:gd name="connsiteY328" fmla="*/ 839176 h 1043557"/>
                <a:gd name="connsiteX329" fmla="*/ 284443 w 1046881"/>
                <a:gd name="connsiteY329" fmla="*/ 830987 h 1043557"/>
                <a:gd name="connsiteX330" fmla="*/ 275741 w 1046881"/>
                <a:gd name="connsiteY330" fmla="*/ 822862 h 1043557"/>
                <a:gd name="connsiteX331" fmla="*/ 257012 w 1046881"/>
                <a:gd name="connsiteY331" fmla="*/ 807201 h 1043557"/>
                <a:gd name="connsiteX332" fmla="*/ 251493 w 1046881"/>
                <a:gd name="connsiteY332" fmla="*/ 783847 h 1043557"/>
                <a:gd name="connsiteX333" fmla="*/ 249178 w 1046881"/>
                <a:gd name="connsiteY333" fmla="*/ 777143 h 1043557"/>
                <a:gd name="connsiteX334" fmla="*/ 244133 w 1046881"/>
                <a:gd name="connsiteY334" fmla="*/ 769997 h 1043557"/>
                <a:gd name="connsiteX335" fmla="*/ 240735 w 1046881"/>
                <a:gd name="connsiteY335" fmla="*/ 759721 h 1043557"/>
                <a:gd name="connsiteX336" fmla="*/ 237353 w 1046881"/>
                <a:gd name="connsiteY336" fmla="*/ 751144 h 1043557"/>
                <a:gd name="connsiteX337" fmla="*/ 220873 w 1046881"/>
                <a:gd name="connsiteY337" fmla="*/ 740115 h 1043557"/>
                <a:gd name="connsiteX338" fmla="*/ 204289 w 1046881"/>
                <a:gd name="connsiteY338" fmla="*/ 728302 h 1043557"/>
                <a:gd name="connsiteX339" fmla="*/ 195454 w 1046881"/>
                <a:gd name="connsiteY339" fmla="*/ 717315 h 1043557"/>
                <a:gd name="connsiteX340" fmla="*/ 185697 w 1046881"/>
                <a:gd name="connsiteY340" fmla="*/ 705824 h 1043557"/>
                <a:gd name="connsiteX341" fmla="*/ 171504 w 1046881"/>
                <a:gd name="connsiteY341" fmla="*/ 699458 h 1043557"/>
                <a:gd name="connsiteX342" fmla="*/ 160156 w 1046881"/>
                <a:gd name="connsiteY342" fmla="*/ 688383 h 1043557"/>
                <a:gd name="connsiteX343" fmla="*/ 150856 w 1046881"/>
                <a:gd name="connsiteY343" fmla="*/ 675410 h 1043557"/>
                <a:gd name="connsiteX344" fmla="*/ 143062 w 1046881"/>
                <a:gd name="connsiteY344" fmla="*/ 671086 h 1043557"/>
                <a:gd name="connsiteX345" fmla="*/ 136420 w 1046881"/>
                <a:gd name="connsiteY345" fmla="*/ 659498 h 1043557"/>
                <a:gd name="connsiteX346" fmla="*/ 136190 w 1046881"/>
                <a:gd name="connsiteY346" fmla="*/ 659498 h 1043557"/>
                <a:gd name="connsiteX347" fmla="*/ 141544 w 1046881"/>
                <a:gd name="connsiteY347" fmla="*/ 668812 h 1043557"/>
                <a:gd name="connsiteX348" fmla="*/ 50003 w 1046881"/>
                <a:gd name="connsiteY348" fmla="*/ 668017 h 1043557"/>
                <a:gd name="connsiteX349" fmla="*/ 47288 w 1046881"/>
                <a:gd name="connsiteY349" fmla="*/ 700870 h 1043557"/>
                <a:gd name="connsiteX350" fmla="*/ 0 w 1046881"/>
                <a:gd name="connsiteY350" fmla="*/ 699846 h 1043557"/>
                <a:gd name="connsiteX351" fmla="*/ 5742 w 1046881"/>
                <a:gd name="connsiteY351" fmla="*/ 310383 h 1043557"/>
                <a:gd name="connsiteX352" fmla="*/ 7002 w 1046881"/>
                <a:gd name="connsiteY352" fmla="*/ 310391 h 1043557"/>
                <a:gd name="connsiteX353" fmla="*/ 9852 w 1046881"/>
                <a:gd name="connsiteY353" fmla="*/ 38008 h 1043557"/>
                <a:gd name="connsiteX0" fmla="*/ 1003014 w 1046881"/>
                <a:gd name="connsiteY0" fmla="*/ 279043 h 1043557"/>
                <a:gd name="connsiteX1" fmla="*/ 998449 w 1046881"/>
                <a:gd name="connsiteY1" fmla="*/ 285862 h 1043557"/>
                <a:gd name="connsiteX2" fmla="*/ 998204 w 1046881"/>
                <a:gd name="connsiteY2" fmla="*/ 286340 h 1043557"/>
                <a:gd name="connsiteX3" fmla="*/ 998204 w 1046881"/>
                <a:gd name="connsiteY3" fmla="*/ 286410 h 1043557"/>
                <a:gd name="connsiteX4" fmla="*/ 1003060 w 1046881"/>
                <a:gd name="connsiteY4" fmla="*/ 279153 h 1043557"/>
                <a:gd name="connsiteX5" fmla="*/ 1003014 w 1046881"/>
                <a:gd name="connsiteY5" fmla="*/ 279043 h 1043557"/>
                <a:gd name="connsiteX6" fmla="*/ 721538 w 1046881"/>
                <a:gd name="connsiteY6" fmla="*/ 82028 h 1043557"/>
                <a:gd name="connsiteX7" fmla="*/ 719542 w 1046881"/>
                <a:gd name="connsiteY7" fmla="*/ 84784 h 1043557"/>
                <a:gd name="connsiteX8" fmla="*/ 719411 w 1046881"/>
                <a:gd name="connsiteY8" fmla="*/ 85010 h 1043557"/>
                <a:gd name="connsiteX9" fmla="*/ 721556 w 1046881"/>
                <a:gd name="connsiteY9" fmla="*/ 82039 h 1043557"/>
                <a:gd name="connsiteX10" fmla="*/ 721538 w 1046881"/>
                <a:gd name="connsiteY10" fmla="*/ 82028 h 1043557"/>
                <a:gd name="connsiteX11" fmla="*/ 9852 w 1046881"/>
                <a:gd name="connsiteY11" fmla="*/ 38008 h 1043557"/>
                <a:gd name="connsiteX12" fmla="*/ 83022 w 1046881"/>
                <a:gd name="connsiteY12" fmla="*/ 38941 h 1043557"/>
                <a:gd name="connsiteX13" fmla="*/ 261203 w 1046881"/>
                <a:gd name="connsiteY13" fmla="*/ 35587 h 1043557"/>
                <a:gd name="connsiteX14" fmla="*/ 357880 w 1046881"/>
                <a:gd name="connsiteY14" fmla="*/ 30573 h 1043557"/>
                <a:gd name="connsiteX15" fmla="*/ 362042 w 1046881"/>
                <a:gd name="connsiteY15" fmla="*/ 95017 h 1043557"/>
                <a:gd name="connsiteX16" fmla="*/ 387674 w 1046881"/>
                <a:gd name="connsiteY16" fmla="*/ 94887 h 1043557"/>
                <a:gd name="connsiteX17" fmla="*/ 459061 w 1046881"/>
                <a:gd name="connsiteY17" fmla="*/ 92743 h 1043557"/>
                <a:gd name="connsiteX18" fmla="*/ 696362 w 1046881"/>
                <a:gd name="connsiteY18" fmla="*/ 68270 h 1043557"/>
                <a:gd name="connsiteX19" fmla="*/ 695276 w 1046881"/>
                <a:gd name="connsiteY19" fmla="*/ 66765 h 1043557"/>
                <a:gd name="connsiteX20" fmla="*/ 688988 w 1046881"/>
                <a:gd name="connsiteY20" fmla="*/ 57924 h 1043557"/>
                <a:gd name="connsiteX21" fmla="*/ 685468 w 1046881"/>
                <a:gd name="connsiteY21" fmla="*/ 53037 h 1043557"/>
                <a:gd name="connsiteX22" fmla="*/ 681682 w 1046881"/>
                <a:gd name="connsiteY22" fmla="*/ 49216 h 1043557"/>
                <a:gd name="connsiteX23" fmla="*/ 679085 w 1046881"/>
                <a:gd name="connsiteY23" fmla="*/ 43589 h 1043557"/>
                <a:gd name="connsiteX24" fmla="*/ 676819 w 1046881"/>
                <a:gd name="connsiteY24" fmla="*/ 38759 h 1043557"/>
                <a:gd name="connsiteX25" fmla="*/ 673089 w 1046881"/>
                <a:gd name="connsiteY25" fmla="*/ 36979 h 1043557"/>
                <a:gd name="connsiteX26" fmla="*/ 670969 w 1046881"/>
                <a:gd name="connsiteY26" fmla="*/ 31908 h 1043557"/>
                <a:gd name="connsiteX27" fmla="*/ 670335 w 1046881"/>
                <a:gd name="connsiteY27" fmla="*/ 30150 h 1043557"/>
                <a:gd name="connsiteX28" fmla="*/ 742429 w 1046881"/>
                <a:gd name="connsiteY28" fmla="*/ 22983 h 1043557"/>
                <a:gd name="connsiteX29" fmla="*/ 868019 w 1046881"/>
                <a:gd name="connsiteY29" fmla="*/ 0 h 1043557"/>
                <a:gd name="connsiteX30" fmla="*/ 870170 w 1046881"/>
                <a:gd name="connsiteY30" fmla="*/ 3829 h 1043557"/>
                <a:gd name="connsiteX31" fmla="*/ 875839 w 1046881"/>
                <a:gd name="connsiteY31" fmla="*/ 7816 h 1043557"/>
                <a:gd name="connsiteX32" fmla="*/ 881121 w 1046881"/>
                <a:gd name="connsiteY32" fmla="*/ 12061 h 1043557"/>
                <a:gd name="connsiteX33" fmla="*/ 886197 w 1046881"/>
                <a:gd name="connsiteY33" fmla="*/ 16332 h 1043557"/>
                <a:gd name="connsiteX34" fmla="*/ 885534 w 1046881"/>
                <a:gd name="connsiteY34" fmla="*/ 22164 h 1043557"/>
                <a:gd name="connsiteX35" fmla="*/ 887205 w 1046881"/>
                <a:gd name="connsiteY35" fmla="*/ 33464 h 1043557"/>
                <a:gd name="connsiteX36" fmla="*/ 887603 w 1046881"/>
                <a:gd name="connsiteY36" fmla="*/ 41219 h 1043557"/>
                <a:gd name="connsiteX37" fmla="*/ 898693 w 1046881"/>
                <a:gd name="connsiteY37" fmla="*/ 56828 h 1043557"/>
                <a:gd name="connsiteX38" fmla="*/ 921957 w 1046881"/>
                <a:gd name="connsiteY38" fmla="*/ 75780 h 1043557"/>
                <a:gd name="connsiteX39" fmla="*/ 931672 w 1046881"/>
                <a:gd name="connsiteY39" fmla="*/ 83967 h 1043557"/>
                <a:gd name="connsiteX40" fmla="*/ 938373 w 1046881"/>
                <a:gd name="connsiteY40" fmla="*/ 92754 h 1043557"/>
                <a:gd name="connsiteX41" fmla="*/ 939227 w 1046881"/>
                <a:gd name="connsiteY41" fmla="*/ 102512 h 1043557"/>
                <a:gd name="connsiteX42" fmla="*/ 946842 w 1046881"/>
                <a:gd name="connsiteY42" fmla="*/ 107262 h 1043557"/>
                <a:gd name="connsiteX43" fmla="*/ 953870 w 1046881"/>
                <a:gd name="connsiteY43" fmla="*/ 101203 h 1043557"/>
                <a:gd name="connsiteX44" fmla="*/ 962977 w 1046881"/>
                <a:gd name="connsiteY44" fmla="*/ 104741 h 1043557"/>
                <a:gd name="connsiteX45" fmla="*/ 967861 w 1046881"/>
                <a:gd name="connsiteY45" fmla="*/ 112131 h 1043557"/>
                <a:gd name="connsiteX46" fmla="*/ 965336 w 1046881"/>
                <a:gd name="connsiteY46" fmla="*/ 129106 h 1043557"/>
                <a:gd name="connsiteX47" fmla="*/ 962303 w 1046881"/>
                <a:gd name="connsiteY47" fmla="*/ 143688 h 1043557"/>
                <a:gd name="connsiteX48" fmla="*/ 967061 w 1046881"/>
                <a:gd name="connsiteY48" fmla="*/ 153333 h 1043557"/>
                <a:gd name="connsiteX49" fmla="*/ 971160 w 1046881"/>
                <a:gd name="connsiteY49" fmla="*/ 157938 h 1043557"/>
                <a:gd name="connsiteX50" fmla="*/ 975462 w 1046881"/>
                <a:gd name="connsiteY50" fmla="*/ 160881 h 1043557"/>
                <a:gd name="connsiteX51" fmla="*/ 975885 w 1046881"/>
                <a:gd name="connsiteY51" fmla="*/ 161018 h 1043557"/>
                <a:gd name="connsiteX52" fmla="*/ 981899 w 1046881"/>
                <a:gd name="connsiteY52" fmla="*/ 164548 h 1043557"/>
                <a:gd name="connsiteX53" fmla="*/ 989409 w 1046881"/>
                <a:gd name="connsiteY53" fmla="*/ 168501 h 1043557"/>
                <a:gd name="connsiteX54" fmla="*/ 992927 w 1046881"/>
                <a:gd name="connsiteY54" fmla="*/ 168660 h 1043557"/>
                <a:gd name="connsiteX55" fmla="*/ 1001478 w 1046881"/>
                <a:gd name="connsiteY55" fmla="*/ 171033 h 1043557"/>
                <a:gd name="connsiteX56" fmla="*/ 1004788 w 1046881"/>
                <a:gd name="connsiteY56" fmla="*/ 174313 h 1043557"/>
                <a:gd name="connsiteX57" fmla="*/ 1011624 w 1046881"/>
                <a:gd name="connsiteY57" fmla="*/ 177942 h 1043557"/>
                <a:gd name="connsiteX58" fmla="*/ 1015928 w 1046881"/>
                <a:gd name="connsiteY58" fmla="*/ 185599 h 1043557"/>
                <a:gd name="connsiteX59" fmla="*/ 1020241 w 1046881"/>
                <a:gd name="connsiteY59" fmla="*/ 193461 h 1043557"/>
                <a:gd name="connsiteX60" fmla="*/ 1023417 w 1046881"/>
                <a:gd name="connsiteY60" fmla="*/ 198805 h 1043557"/>
                <a:gd name="connsiteX61" fmla="*/ 1021536 w 1046881"/>
                <a:gd name="connsiteY61" fmla="*/ 203367 h 1043557"/>
                <a:gd name="connsiteX62" fmla="*/ 1019521 w 1046881"/>
                <a:gd name="connsiteY62" fmla="*/ 209994 h 1043557"/>
                <a:gd name="connsiteX63" fmla="*/ 1026248 w 1046881"/>
                <a:gd name="connsiteY63" fmla="*/ 218984 h 1043557"/>
                <a:gd name="connsiteX64" fmla="*/ 1034011 w 1046881"/>
                <a:gd name="connsiteY64" fmla="*/ 224746 h 1043557"/>
                <a:gd name="connsiteX65" fmla="*/ 1039951 w 1046881"/>
                <a:gd name="connsiteY65" fmla="*/ 221509 h 1043557"/>
                <a:gd name="connsiteX66" fmla="*/ 1044310 w 1046881"/>
                <a:gd name="connsiteY66" fmla="*/ 226493 h 1043557"/>
                <a:gd name="connsiteX67" fmla="*/ 1046459 w 1046881"/>
                <a:gd name="connsiteY67" fmla="*/ 233401 h 1043557"/>
                <a:gd name="connsiteX68" fmla="*/ 1046881 w 1046881"/>
                <a:gd name="connsiteY68" fmla="*/ 236630 h 1043557"/>
                <a:gd name="connsiteX69" fmla="*/ 1043947 w 1046881"/>
                <a:gd name="connsiteY69" fmla="*/ 237839 h 1043557"/>
                <a:gd name="connsiteX70" fmla="*/ 1044642 w 1046881"/>
                <a:gd name="connsiteY70" fmla="*/ 246380 h 1043557"/>
                <a:gd name="connsiteX71" fmla="*/ 1037396 w 1046881"/>
                <a:gd name="connsiteY71" fmla="*/ 252261 h 1043557"/>
                <a:gd name="connsiteX72" fmla="*/ 1034407 w 1046881"/>
                <a:gd name="connsiteY72" fmla="*/ 256143 h 1043557"/>
                <a:gd name="connsiteX73" fmla="*/ 1032571 w 1046881"/>
                <a:gd name="connsiteY73" fmla="*/ 257827 h 1043557"/>
                <a:gd name="connsiteX74" fmla="*/ 1029775 w 1046881"/>
                <a:gd name="connsiteY74" fmla="*/ 258605 h 1043557"/>
                <a:gd name="connsiteX75" fmla="*/ 1028069 w 1046881"/>
                <a:gd name="connsiteY75" fmla="*/ 261287 h 1043557"/>
                <a:gd name="connsiteX76" fmla="*/ 1024212 w 1046881"/>
                <a:gd name="connsiteY76" fmla="*/ 293904 h 1043557"/>
                <a:gd name="connsiteX77" fmla="*/ 1025408 w 1046881"/>
                <a:gd name="connsiteY77" fmla="*/ 293644 h 1043557"/>
                <a:gd name="connsiteX78" fmla="*/ 1025512 w 1046881"/>
                <a:gd name="connsiteY78" fmla="*/ 294438 h 1043557"/>
                <a:gd name="connsiteX79" fmla="*/ 1026902 w 1046881"/>
                <a:gd name="connsiteY79" fmla="*/ 297140 h 1043557"/>
                <a:gd name="connsiteX80" fmla="*/ 1025162 w 1046881"/>
                <a:gd name="connsiteY80" fmla="*/ 307451 h 1043557"/>
                <a:gd name="connsiteX81" fmla="*/ 1019870 w 1046881"/>
                <a:gd name="connsiteY81" fmla="*/ 314303 h 1043557"/>
                <a:gd name="connsiteX82" fmla="*/ 1019330 w 1046881"/>
                <a:gd name="connsiteY82" fmla="*/ 316438 h 1043557"/>
                <a:gd name="connsiteX83" fmla="*/ 1020478 w 1046881"/>
                <a:gd name="connsiteY83" fmla="*/ 318953 h 1043557"/>
                <a:gd name="connsiteX84" fmla="*/ 1021614 w 1046881"/>
                <a:gd name="connsiteY84" fmla="*/ 321273 h 1043557"/>
                <a:gd name="connsiteX85" fmla="*/ 1018437 w 1046881"/>
                <a:gd name="connsiteY85" fmla="*/ 325392 h 1043557"/>
                <a:gd name="connsiteX86" fmla="*/ 1014895 w 1046881"/>
                <a:gd name="connsiteY86" fmla="*/ 329754 h 1043557"/>
                <a:gd name="connsiteX87" fmla="*/ 1011459 w 1046881"/>
                <a:gd name="connsiteY87" fmla="*/ 334933 h 1043557"/>
                <a:gd name="connsiteX88" fmla="*/ 1009088 w 1046881"/>
                <a:gd name="connsiteY88" fmla="*/ 338945 h 1043557"/>
                <a:gd name="connsiteX89" fmla="*/ 1012944 w 1046881"/>
                <a:gd name="connsiteY89" fmla="*/ 344821 h 1043557"/>
                <a:gd name="connsiteX90" fmla="*/ 1017240 w 1046881"/>
                <a:gd name="connsiteY90" fmla="*/ 350836 h 1043557"/>
                <a:gd name="connsiteX91" fmla="*/ 1014555 w 1046881"/>
                <a:gd name="connsiteY91" fmla="*/ 357151 h 1043557"/>
                <a:gd name="connsiteX92" fmla="*/ 1010593 w 1046881"/>
                <a:gd name="connsiteY92" fmla="*/ 363010 h 1043557"/>
                <a:gd name="connsiteX93" fmla="*/ 1009849 w 1046881"/>
                <a:gd name="connsiteY93" fmla="*/ 365161 h 1043557"/>
                <a:gd name="connsiteX94" fmla="*/ 1009314 w 1046881"/>
                <a:gd name="connsiteY94" fmla="*/ 370572 h 1043557"/>
                <a:gd name="connsiteX95" fmla="*/ 1006966 w 1046881"/>
                <a:gd name="connsiteY95" fmla="*/ 376232 h 1043557"/>
                <a:gd name="connsiteX96" fmla="*/ 998563 w 1046881"/>
                <a:gd name="connsiteY96" fmla="*/ 387609 h 1043557"/>
                <a:gd name="connsiteX97" fmla="*/ 998168 w 1046881"/>
                <a:gd name="connsiteY97" fmla="*/ 401850 h 1043557"/>
                <a:gd name="connsiteX98" fmla="*/ 999230 w 1046881"/>
                <a:gd name="connsiteY98" fmla="*/ 408494 h 1043557"/>
                <a:gd name="connsiteX99" fmla="*/ 995391 w 1046881"/>
                <a:gd name="connsiteY99" fmla="*/ 413726 h 1043557"/>
                <a:gd name="connsiteX100" fmla="*/ 990223 w 1046881"/>
                <a:gd name="connsiteY100" fmla="*/ 418300 h 1043557"/>
                <a:gd name="connsiteX101" fmla="*/ 985699 w 1046881"/>
                <a:gd name="connsiteY101" fmla="*/ 424660 h 1043557"/>
                <a:gd name="connsiteX102" fmla="*/ 983552 w 1046881"/>
                <a:gd name="connsiteY102" fmla="*/ 430282 h 1043557"/>
                <a:gd name="connsiteX103" fmla="*/ 985818 w 1046881"/>
                <a:gd name="connsiteY103" fmla="*/ 438211 h 1043557"/>
                <a:gd name="connsiteX104" fmla="*/ 982898 w 1046881"/>
                <a:gd name="connsiteY104" fmla="*/ 441062 h 1043557"/>
                <a:gd name="connsiteX105" fmla="*/ 980829 w 1046881"/>
                <a:gd name="connsiteY105" fmla="*/ 447285 h 1043557"/>
                <a:gd name="connsiteX106" fmla="*/ 981920 w 1046881"/>
                <a:gd name="connsiteY106" fmla="*/ 452495 h 1043557"/>
                <a:gd name="connsiteX107" fmla="*/ 979586 w 1046881"/>
                <a:gd name="connsiteY107" fmla="*/ 456699 h 1043557"/>
                <a:gd name="connsiteX108" fmla="*/ 977965 w 1046881"/>
                <a:gd name="connsiteY108" fmla="*/ 461641 h 1043557"/>
                <a:gd name="connsiteX109" fmla="*/ 975685 w 1046881"/>
                <a:gd name="connsiteY109" fmla="*/ 466254 h 1043557"/>
                <a:gd name="connsiteX110" fmla="*/ 973862 w 1046881"/>
                <a:gd name="connsiteY110" fmla="*/ 471222 h 1043557"/>
                <a:gd name="connsiteX111" fmla="*/ 977202 w 1046881"/>
                <a:gd name="connsiteY111" fmla="*/ 479426 h 1043557"/>
                <a:gd name="connsiteX112" fmla="*/ 980504 w 1046881"/>
                <a:gd name="connsiteY112" fmla="*/ 485778 h 1043557"/>
                <a:gd name="connsiteX113" fmla="*/ 984718 w 1046881"/>
                <a:gd name="connsiteY113" fmla="*/ 492830 h 1043557"/>
                <a:gd name="connsiteX114" fmla="*/ 987057 w 1046881"/>
                <a:gd name="connsiteY114" fmla="*/ 498084 h 1043557"/>
                <a:gd name="connsiteX115" fmla="*/ 983990 w 1046881"/>
                <a:gd name="connsiteY115" fmla="*/ 506088 h 1043557"/>
                <a:gd name="connsiteX116" fmla="*/ 983436 w 1046881"/>
                <a:gd name="connsiteY116" fmla="*/ 508214 h 1043557"/>
                <a:gd name="connsiteX117" fmla="*/ 983058 w 1046881"/>
                <a:gd name="connsiteY117" fmla="*/ 510120 h 1043557"/>
                <a:gd name="connsiteX118" fmla="*/ 827992 w 1046881"/>
                <a:gd name="connsiteY118" fmla="*/ 534483 h 1043557"/>
                <a:gd name="connsiteX119" fmla="*/ 828366 w 1046881"/>
                <a:gd name="connsiteY119" fmla="*/ 537474 h 1043557"/>
                <a:gd name="connsiteX120" fmla="*/ 836967 w 1046881"/>
                <a:gd name="connsiteY120" fmla="*/ 604863 h 1043557"/>
                <a:gd name="connsiteX121" fmla="*/ 843324 w 1046881"/>
                <a:gd name="connsiteY121" fmla="*/ 609201 h 1043557"/>
                <a:gd name="connsiteX122" fmla="*/ 849802 w 1046881"/>
                <a:gd name="connsiteY122" fmla="*/ 614737 h 1043557"/>
                <a:gd name="connsiteX123" fmla="*/ 853157 w 1046881"/>
                <a:gd name="connsiteY123" fmla="*/ 623110 h 1043557"/>
                <a:gd name="connsiteX124" fmla="*/ 854931 w 1046881"/>
                <a:gd name="connsiteY124" fmla="*/ 631967 h 1043557"/>
                <a:gd name="connsiteX125" fmla="*/ 857647 w 1046881"/>
                <a:gd name="connsiteY125" fmla="*/ 633867 h 1043557"/>
                <a:gd name="connsiteX126" fmla="*/ 860697 w 1046881"/>
                <a:gd name="connsiteY126" fmla="*/ 636764 h 1043557"/>
                <a:gd name="connsiteX127" fmla="*/ 862847 w 1046881"/>
                <a:gd name="connsiteY127" fmla="*/ 640369 h 1043557"/>
                <a:gd name="connsiteX128" fmla="*/ 865303 w 1046881"/>
                <a:gd name="connsiteY128" fmla="*/ 645008 h 1043557"/>
                <a:gd name="connsiteX129" fmla="*/ 870051 w 1046881"/>
                <a:gd name="connsiteY129" fmla="*/ 653025 h 1043557"/>
                <a:gd name="connsiteX130" fmla="*/ 874531 w 1046881"/>
                <a:gd name="connsiteY130" fmla="*/ 658997 h 1043557"/>
                <a:gd name="connsiteX131" fmla="*/ 875851 w 1046881"/>
                <a:gd name="connsiteY131" fmla="*/ 681685 h 1043557"/>
                <a:gd name="connsiteX132" fmla="*/ 872946 w 1046881"/>
                <a:gd name="connsiteY132" fmla="*/ 690910 h 1043557"/>
                <a:gd name="connsiteX133" fmla="*/ 869839 w 1046881"/>
                <a:gd name="connsiteY133" fmla="*/ 702001 h 1043557"/>
                <a:gd name="connsiteX134" fmla="*/ 872169 w 1046881"/>
                <a:gd name="connsiteY134" fmla="*/ 707247 h 1043557"/>
                <a:gd name="connsiteX135" fmla="*/ 870316 w 1046881"/>
                <a:gd name="connsiteY135" fmla="*/ 710368 h 1043557"/>
                <a:gd name="connsiteX136" fmla="*/ 869134 w 1046881"/>
                <a:gd name="connsiteY136" fmla="*/ 715483 h 1043557"/>
                <a:gd name="connsiteX137" fmla="*/ 871666 w 1046881"/>
                <a:gd name="connsiteY137" fmla="*/ 720703 h 1043557"/>
                <a:gd name="connsiteX138" fmla="*/ 874190 w 1046881"/>
                <a:gd name="connsiteY138" fmla="*/ 727173 h 1043557"/>
                <a:gd name="connsiteX139" fmla="*/ 870767 w 1046881"/>
                <a:gd name="connsiteY139" fmla="*/ 740559 h 1043557"/>
                <a:gd name="connsiteX140" fmla="*/ 865779 w 1046881"/>
                <a:gd name="connsiteY140" fmla="*/ 752728 h 1043557"/>
                <a:gd name="connsiteX141" fmla="*/ 865577 w 1046881"/>
                <a:gd name="connsiteY141" fmla="*/ 752754 h 1043557"/>
                <a:gd name="connsiteX142" fmla="*/ 866916 w 1046881"/>
                <a:gd name="connsiteY142" fmla="*/ 756708 h 1043557"/>
                <a:gd name="connsiteX143" fmla="*/ 869738 w 1046881"/>
                <a:gd name="connsiteY143" fmla="*/ 759426 h 1043557"/>
                <a:gd name="connsiteX144" fmla="*/ 860381 w 1046881"/>
                <a:gd name="connsiteY144" fmla="*/ 763320 h 1043557"/>
                <a:gd name="connsiteX145" fmla="*/ 855058 w 1046881"/>
                <a:gd name="connsiteY145" fmla="*/ 766895 h 1043557"/>
                <a:gd name="connsiteX146" fmla="*/ 849541 w 1046881"/>
                <a:gd name="connsiteY146" fmla="*/ 770287 h 1043557"/>
                <a:gd name="connsiteX147" fmla="*/ 826641 w 1046881"/>
                <a:gd name="connsiteY147" fmla="*/ 787468 h 1043557"/>
                <a:gd name="connsiteX148" fmla="*/ 808960 w 1046881"/>
                <a:gd name="connsiteY148" fmla="*/ 807887 h 1043557"/>
                <a:gd name="connsiteX149" fmla="*/ 807714 w 1046881"/>
                <a:gd name="connsiteY149" fmla="*/ 808050 h 1043557"/>
                <a:gd name="connsiteX150" fmla="*/ 807356 w 1046881"/>
                <a:gd name="connsiteY150" fmla="*/ 806882 h 1043557"/>
                <a:gd name="connsiteX151" fmla="*/ 817787 w 1046881"/>
                <a:gd name="connsiteY151" fmla="*/ 790498 h 1043557"/>
                <a:gd name="connsiteX152" fmla="*/ 823690 w 1046881"/>
                <a:gd name="connsiteY152" fmla="*/ 783760 h 1043557"/>
                <a:gd name="connsiteX153" fmla="*/ 832078 w 1046881"/>
                <a:gd name="connsiteY153" fmla="*/ 776906 h 1043557"/>
                <a:gd name="connsiteX154" fmla="*/ 829923 w 1046881"/>
                <a:gd name="connsiteY154" fmla="*/ 776147 h 1043557"/>
                <a:gd name="connsiteX155" fmla="*/ 827201 w 1046881"/>
                <a:gd name="connsiteY155" fmla="*/ 777335 h 1043557"/>
                <a:gd name="connsiteX156" fmla="*/ 820822 w 1046881"/>
                <a:gd name="connsiteY156" fmla="*/ 777544 h 1043557"/>
                <a:gd name="connsiteX157" fmla="*/ 820635 w 1046881"/>
                <a:gd name="connsiteY157" fmla="*/ 771394 h 1043557"/>
                <a:gd name="connsiteX158" fmla="*/ 821485 w 1046881"/>
                <a:gd name="connsiteY158" fmla="*/ 765316 h 1043557"/>
                <a:gd name="connsiteX159" fmla="*/ 818507 w 1046881"/>
                <a:gd name="connsiteY159" fmla="*/ 761403 h 1043557"/>
                <a:gd name="connsiteX160" fmla="*/ 814762 w 1046881"/>
                <a:gd name="connsiteY160" fmla="*/ 765778 h 1043557"/>
                <a:gd name="connsiteX161" fmla="*/ 810038 w 1046881"/>
                <a:gd name="connsiteY161" fmla="*/ 770523 h 1043557"/>
                <a:gd name="connsiteX162" fmla="*/ 805169 w 1046881"/>
                <a:gd name="connsiteY162" fmla="*/ 769703 h 1043557"/>
                <a:gd name="connsiteX163" fmla="*/ 803350 w 1046881"/>
                <a:gd name="connsiteY163" fmla="*/ 769941 h 1043557"/>
                <a:gd name="connsiteX164" fmla="*/ 803389 w 1046881"/>
                <a:gd name="connsiteY164" fmla="*/ 771809 h 1043557"/>
                <a:gd name="connsiteX165" fmla="*/ 807659 w 1046881"/>
                <a:gd name="connsiteY165" fmla="*/ 779056 h 1043557"/>
                <a:gd name="connsiteX166" fmla="*/ 811335 w 1046881"/>
                <a:gd name="connsiteY166" fmla="*/ 785167 h 1043557"/>
                <a:gd name="connsiteX167" fmla="*/ 813108 w 1046881"/>
                <a:gd name="connsiteY167" fmla="*/ 786149 h 1043557"/>
                <a:gd name="connsiteX168" fmla="*/ 814870 w 1046881"/>
                <a:gd name="connsiteY168" fmla="*/ 788625 h 1043557"/>
                <a:gd name="connsiteX169" fmla="*/ 806028 w 1046881"/>
                <a:gd name="connsiteY169" fmla="*/ 804593 h 1043557"/>
                <a:gd name="connsiteX170" fmla="*/ 802425 w 1046881"/>
                <a:gd name="connsiteY170" fmla="*/ 806902 h 1043557"/>
                <a:gd name="connsiteX171" fmla="*/ 800728 w 1046881"/>
                <a:gd name="connsiteY171" fmla="*/ 811217 h 1043557"/>
                <a:gd name="connsiteX172" fmla="*/ 800328 w 1046881"/>
                <a:gd name="connsiteY172" fmla="*/ 816022 h 1043557"/>
                <a:gd name="connsiteX173" fmla="*/ 798253 w 1046881"/>
                <a:gd name="connsiteY173" fmla="*/ 820595 h 1043557"/>
                <a:gd name="connsiteX174" fmla="*/ 797701 w 1046881"/>
                <a:gd name="connsiteY174" fmla="*/ 821083 h 1043557"/>
                <a:gd name="connsiteX175" fmla="*/ 771095 w 1046881"/>
                <a:gd name="connsiteY175" fmla="*/ 839789 h 1043557"/>
                <a:gd name="connsiteX176" fmla="*/ 769578 w 1046881"/>
                <a:gd name="connsiteY176" fmla="*/ 839190 h 1043557"/>
                <a:gd name="connsiteX177" fmla="*/ 766035 w 1046881"/>
                <a:gd name="connsiteY177" fmla="*/ 838820 h 1043557"/>
                <a:gd name="connsiteX178" fmla="*/ 761925 w 1046881"/>
                <a:gd name="connsiteY178" fmla="*/ 840398 h 1043557"/>
                <a:gd name="connsiteX179" fmla="*/ 760071 w 1046881"/>
                <a:gd name="connsiteY179" fmla="*/ 843519 h 1043557"/>
                <a:gd name="connsiteX180" fmla="*/ 764719 w 1046881"/>
                <a:gd name="connsiteY180" fmla="*/ 842912 h 1043557"/>
                <a:gd name="connsiteX181" fmla="*/ 746112 w 1046881"/>
                <a:gd name="connsiteY181" fmla="*/ 858075 h 1043557"/>
                <a:gd name="connsiteX182" fmla="*/ 746207 w 1046881"/>
                <a:gd name="connsiteY182" fmla="*/ 857230 h 1043557"/>
                <a:gd name="connsiteX183" fmla="*/ 750006 w 1046881"/>
                <a:gd name="connsiteY183" fmla="*/ 853264 h 1043557"/>
                <a:gd name="connsiteX184" fmla="*/ 754715 w 1046881"/>
                <a:gd name="connsiteY184" fmla="*/ 849978 h 1043557"/>
                <a:gd name="connsiteX185" fmla="*/ 752331 w 1046881"/>
                <a:gd name="connsiteY185" fmla="*/ 849040 h 1043557"/>
                <a:gd name="connsiteX186" fmla="*/ 749327 w 1046881"/>
                <a:gd name="connsiteY186" fmla="*/ 849641 h 1043557"/>
                <a:gd name="connsiteX187" fmla="*/ 744038 w 1046881"/>
                <a:gd name="connsiteY187" fmla="*/ 848494 h 1043557"/>
                <a:gd name="connsiteX188" fmla="*/ 741243 w 1046881"/>
                <a:gd name="connsiteY188" fmla="*/ 845980 h 1043557"/>
                <a:gd name="connsiteX189" fmla="*/ 739378 w 1046881"/>
                <a:gd name="connsiteY189" fmla="*/ 847438 h 1043557"/>
                <a:gd name="connsiteX190" fmla="*/ 737544 w 1046881"/>
                <a:gd name="connsiteY190" fmla="*/ 849134 h 1043557"/>
                <a:gd name="connsiteX191" fmla="*/ 735996 w 1046881"/>
                <a:gd name="connsiteY191" fmla="*/ 848296 h 1043557"/>
                <a:gd name="connsiteX192" fmla="*/ 734440 w 1046881"/>
                <a:gd name="connsiteY192" fmla="*/ 847667 h 1043557"/>
                <a:gd name="connsiteX193" fmla="*/ 733106 w 1046881"/>
                <a:gd name="connsiteY193" fmla="*/ 848466 h 1043557"/>
                <a:gd name="connsiteX194" fmla="*/ 733900 w 1046881"/>
                <a:gd name="connsiteY194" fmla="*/ 849819 h 1043557"/>
                <a:gd name="connsiteX195" fmla="*/ 734715 w 1046881"/>
                <a:gd name="connsiteY195" fmla="*/ 851342 h 1043557"/>
                <a:gd name="connsiteX196" fmla="*/ 729171 w 1046881"/>
                <a:gd name="connsiteY196" fmla="*/ 854530 h 1043557"/>
                <a:gd name="connsiteX197" fmla="*/ 724496 w 1046881"/>
                <a:gd name="connsiteY197" fmla="*/ 850215 h 1043557"/>
                <a:gd name="connsiteX198" fmla="*/ 720450 w 1046881"/>
                <a:gd name="connsiteY198" fmla="*/ 845991 h 1043557"/>
                <a:gd name="connsiteX199" fmla="*/ 719256 w 1046881"/>
                <a:gd name="connsiteY199" fmla="*/ 849443 h 1043557"/>
                <a:gd name="connsiteX200" fmla="*/ 727593 w 1046881"/>
                <a:gd name="connsiteY200" fmla="*/ 856610 h 1043557"/>
                <a:gd name="connsiteX201" fmla="*/ 735623 w 1046881"/>
                <a:gd name="connsiteY201" fmla="*/ 864580 h 1043557"/>
                <a:gd name="connsiteX202" fmla="*/ 732973 w 1046881"/>
                <a:gd name="connsiteY202" fmla="*/ 874188 h 1043557"/>
                <a:gd name="connsiteX203" fmla="*/ 720589 w 1046881"/>
                <a:gd name="connsiteY203" fmla="*/ 885069 h 1043557"/>
                <a:gd name="connsiteX204" fmla="*/ 710786 w 1046881"/>
                <a:gd name="connsiteY204" fmla="*/ 894988 h 1043557"/>
                <a:gd name="connsiteX205" fmla="*/ 704220 w 1046881"/>
                <a:gd name="connsiteY205" fmla="*/ 904518 h 1043557"/>
                <a:gd name="connsiteX206" fmla="*/ 703581 w 1046881"/>
                <a:gd name="connsiteY206" fmla="*/ 904602 h 1043557"/>
                <a:gd name="connsiteX207" fmla="*/ 703469 w 1046881"/>
                <a:gd name="connsiteY207" fmla="*/ 901911 h 1043557"/>
                <a:gd name="connsiteX208" fmla="*/ 709101 w 1046881"/>
                <a:gd name="connsiteY208" fmla="*/ 891531 h 1043557"/>
                <a:gd name="connsiteX209" fmla="*/ 716258 w 1046881"/>
                <a:gd name="connsiteY209" fmla="*/ 883380 h 1043557"/>
                <a:gd name="connsiteX210" fmla="*/ 724565 w 1046881"/>
                <a:gd name="connsiteY210" fmla="*/ 875911 h 1043557"/>
                <a:gd name="connsiteX211" fmla="*/ 732355 w 1046881"/>
                <a:gd name="connsiteY211" fmla="*/ 867886 h 1043557"/>
                <a:gd name="connsiteX212" fmla="*/ 730334 w 1046881"/>
                <a:gd name="connsiteY212" fmla="*/ 868150 h 1043557"/>
                <a:gd name="connsiteX213" fmla="*/ 725301 w 1046881"/>
                <a:gd name="connsiteY213" fmla="*/ 872103 h 1043557"/>
                <a:gd name="connsiteX214" fmla="*/ 720463 w 1046881"/>
                <a:gd name="connsiteY214" fmla="*/ 874401 h 1043557"/>
                <a:gd name="connsiteX215" fmla="*/ 716059 w 1046881"/>
                <a:gd name="connsiteY215" fmla="*/ 870848 h 1043557"/>
                <a:gd name="connsiteX216" fmla="*/ 712299 w 1046881"/>
                <a:gd name="connsiteY216" fmla="*/ 867246 h 1043557"/>
                <a:gd name="connsiteX217" fmla="*/ 711269 w 1046881"/>
                <a:gd name="connsiteY217" fmla="*/ 868803 h 1043557"/>
                <a:gd name="connsiteX218" fmla="*/ 713215 w 1046881"/>
                <a:gd name="connsiteY218" fmla="*/ 872677 h 1043557"/>
                <a:gd name="connsiteX219" fmla="*/ 715235 w 1046881"/>
                <a:gd name="connsiteY219" fmla="*/ 877131 h 1043557"/>
                <a:gd name="connsiteX220" fmla="*/ 712513 w 1046881"/>
                <a:gd name="connsiteY220" fmla="*/ 883037 h 1043557"/>
                <a:gd name="connsiteX221" fmla="*/ 706981 w 1046881"/>
                <a:gd name="connsiteY221" fmla="*/ 887888 h 1043557"/>
                <a:gd name="connsiteX222" fmla="*/ 703331 w 1046881"/>
                <a:gd name="connsiteY222" fmla="*/ 886700 h 1043557"/>
                <a:gd name="connsiteX223" fmla="*/ 697349 w 1046881"/>
                <a:gd name="connsiteY223" fmla="*/ 885227 h 1043557"/>
                <a:gd name="connsiteX224" fmla="*/ 694996 w 1046881"/>
                <a:gd name="connsiteY224" fmla="*/ 889246 h 1043557"/>
                <a:gd name="connsiteX225" fmla="*/ 696194 w 1046881"/>
                <a:gd name="connsiteY225" fmla="*/ 895264 h 1043557"/>
                <a:gd name="connsiteX226" fmla="*/ 698047 w 1046881"/>
                <a:gd name="connsiteY226" fmla="*/ 892143 h 1043557"/>
                <a:gd name="connsiteX227" fmla="*/ 699927 w 1046881"/>
                <a:gd name="connsiteY227" fmla="*/ 889226 h 1043557"/>
                <a:gd name="connsiteX228" fmla="*/ 702527 w 1046881"/>
                <a:gd name="connsiteY228" fmla="*/ 893396 h 1043557"/>
                <a:gd name="connsiteX229" fmla="*/ 698570 w 1046881"/>
                <a:gd name="connsiteY229" fmla="*/ 904008 h 1043557"/>
                <a:gd name="connsiteX230" fmla="*/ 692950 w 1046881"/>
                <a:gd name="connsiteY230" fmla="*/ 911334 h 1043557"/>
                <a:gd name="connsiteX231" fmla="*/ 689044 w 1046881"/>
                <a:gd name="connsiteY231" fmla="*/ 909762 h 1043557"/>
                <a:gd name="connsiteX232" fmla="*/ 681243 w 1046881"/>
                <a:gd name="connsiteY232" fmla="*/ 908527 h 1043557"/>
                <a:gd name="connsiteX233" fmla="*/ 676481 w 1046881"/>
                <a:gd name="connsiteY233" fmla="*/ 911404 h 1043557"/>
                <a:gd name="connsiteX234" fmla="*/ 684347 w 1046881"/>
                <a:gd name="connsiteY234" fmla="*/ 916551 h 1043557"/>
                <a:gd name="connsiteX235" fmla="*/ 688847 w 1046881"/>
                <a:gd name="connsiteY235" fmla="*/ 919259 h 1043557"/>
                <a:gd name="connsiteX236" fmla="*/ 679949 w 1046881"/>
                <a:gd name="connsiteY236" fmla="*/ 947376 h 1043557"/>
                <a:gd name="connsiteX237" fmla="*/ 677516 w 1046881"/>
                <a:gd name="connsiteY237" fmla="*/ 946063 h 1043557"/>
                <a:gd name="connsiteX238" fmla="*/ 675052 w 1046881"/>
                <a:gd name="connsiteY238" fmla="*/ 944512 h 1043557"/>
                <a:gd name="connsiteX239" fmla="*/ 669844 w 1046881"/>
                <a:gd name="connsiteY239" fmla="*/ 945817 h 1043557"/>
                <a:gd name="connsiteX240" fmla="*/ 667236 w 1046881"/>
                <a:gd name="connsiteY240" fmla="*/ 949453 h 1043557"/>
                <a:gd name="connsiteX241" fmla="*/ 677623 w 1046881"/>
                <a:gd name="connsiteY241" fmla="*/ 951600 h 1043557"/>
                <a:gd name="connsiteX242" fmla="*/ 681760 w 1046881"/>
                <a:gd name="connsiteY242" fmla="*/ 950227 h 1043557"/>
                <a:gd name="connsiteX243" fmla="*/ 685390 w 1046881"/>
                <a:gd name="connsiteY243" fmla="*/ 952840 h 1043557"/>
                <a:gd name="connsiteX244" fmla="*/ 681844 w 1046881"/>
                <a:gd name="connsiteY244" fmla="*/ 965028 h 1043557"/>
                <a:gd name="connsiteX245" fmla="*/ 677303 w 1046881"/>
                <a:gd name="connsiteY245" fmla="*/ 971172 h 1043557"/>
                <a:gd name="connsiteX246" fmla="*/ 680220 w 1046881"/>
                <a:gd name="connsiteY246" fmla="*/ 973045 h 1043557"/>
                <a:gd name="connsiteX247" fmla="*/ 682966 w 1046881"/>
                <a:gd name="connsiteY247" fmla="*/ 975185 h 1043557"/>
                <a:gd name="connsiteX248" fmla="*/ 681585 w 1046881"/>
                <a:gd name="connsiteY248" fmla="*/ 977204 h 1043557"/>
                <a:gd name="connsiteX249" fmla="*/ 680312 w 1046881"/>
                <a:gd name="connsiteY249" fmla="*/ 980041 h 1043557"/>
                <a:gd name="connsiteX250" fmla="*/ 683443 w 1046881"/>
                <a:gd name="connsiteY250" fmla="*/ 983552 h 1043557"/>
                <a:gd name="connsiteX251" fmla="*/ 688091 w 1046881"/>
                <a:gd name="connsiteY251" fmla="*/ 992380 h 1043557"/>
                <a:gd name="connsiteX252" fmla="*/ 689758 w 1046881"/>
                <a:gd name="connsiteY252" fmla="*/ 1000419 h 1043557"/>
                <a:gd name="connsiteX253" fmla="*/ 691535 w 1046881"/>
                <a:gd name="connsiteY253" fmla="*/ 1006153 h 1043557"/>
                <a:gd name="connsiteX254" fmla="*/ 696126 w 1046881"/>
                <a:gd name="connsiteY254" fmla="*/ 1017695 h 1043557"/>
                <a:gd name="connsiteX255" fmla="*/ 699360 w 1046881"/>
                <a:gd name="connsiteY255" fmla="*/ 1021990 h 1043557"/>
                <a:gd name="connsiteX256" fmla="*/ 701838 w 1046881"/>
                <a:gd name="connsiteY256" fmla="*/ 1026800 h 1043557"/>
                <a:gd name="connsiteX257" fmla="*/ 700732 w 1046881"/>
                <a:gd name="connsiteY257" fmla="*/ 1030657 h 1043557"/>
                <a:gd name="connsiteX258" fmla="*/ 699410 w 1046881"/>
                <a:gd name="connsiteY258" fmla="*/ 1034957 h 1043557"/>
                <a:gd name="connsiteX259" fmla="*/ 700859 w 1046881"/>
                <a:gd name="connsiteY259" fmla="*/ 1036606 h 1043557"/>
                <a:gd name="connsiteX260" fmla="*/ 702974 w 1046881"/>
                <a:gd name="connsiteY260" fmla="*/ 1033659 h 1043557"/>
                <a:gd name="connsiteX261" fmla="*/ 705056 w 1046881"/>
                <a:gd name="connsiteY261" fmla="*/ 1030716 h 1043557"/>
                <a:gd name="connsiteX262" fmla="*/ 709446 w 1046881"/>
                <a:gd name="connsiteY262" fmla="*/ 1037566 h 1043557"/>
                <a:gd name="connsiteX263" fmla="*/ 698312 w 1046881"/>
                <a:gd name="connsiteY263" fmla="*/ 1042282 h 1043557"/>
                <a:gd name="connsiteX264" fmla="*/ 693542 w 1046881"/>
                <a:gd name="connsiteY264" fmla="*/ 1043529 h 1043557"/>
                <a:gd name="connsiteX265" fmla="*/ 687990 w 1046881"/>
                <a:gd name="connsiteY265" fmla="*/ 1040370 h 1043557"/>
                <a:gd name="connsiteX266" fmla="*/ 678999 w 1046881"/>
                <a:gd name="connsiteY266" fmla="*/ 1034745 h 1043557"/>
                <a:gd name="connsiteX267" fmla="*/ 672688 w 1046881"/>
                <a:gd name="connsiteY267" fmla="*/ 1032067 h 1043557"/>
                <a:gd name="connsiteX268" fmla="*/ 645386 w 1046881"/>
                <a:gd name="connsiteY268" fmla="*/ 1034177 h 1043557"/>
                <a:gd name="connsiteX269" fmla="*/ 637620 w 1046881"/>
                <a:gd name="connsiteY269" fmla="*/ 1030058 h 1043557"/>
                <a:gd name="connsiteX270" fmla="*/ 631438 w 1046881"/>
                <a:gd name="connsiteY270" fmla="*/ 1023650 h 1043557"/>
                <a:gd name="connsiteX271" fmla="*/ 625719 w 1046881"/>
                <a:gd name="connsiteY271" fmla="*/ 1022351 h 1043557"/>
                <a:gd name="connsiteX272" fmla="*/ 619729 w 1046881"/>
                <a:gd name="connsiteY272" fmla="*/ 1023967 h 1043557"/>
                <a:gd name="connsiteX273" fmla="*/ 616286 w 1046881"/>
                <a:gd name="connsiteY273" fmla="*/ 1022786 h 1043557"/>
                <a:gd name="connsiteX274" fmla="*/ 612117 w 1046881"/>
                <a:gd name="connsiteY274" fmla="*/ 1019203 h 1043557"/>
                <a:gd name="connsiteX275" fmla="*/ 599158 w 1046881"/>
                <a:gd name="connsiteY275" fmla="*/ 1017809 h 1043557"/>
                <a:gd name="connsiteX276" fmla="*/ 594928 w 1046881"/>
                <a:gd name="connsiteY276" fmla="*/ 1016904 h 1043557"/>
                <a:gd name="connsiteX277" fmla="*/ 592934 w 1046881"/>
                <a:gd name="connsiteY277" fmla="*/ 1012655 h 1043557"/>
                <a:gd name="connsiteX278" fmla="*/ 590166 w 1046881"/>
                <a:gd name="connsiteY278" fmla="*/ 1010346 h 1043557"/>
                <a:gd name="connsiteX279" fmla="*/ 587451 w 1046881"/>
                <a:gd name="connsiteY279" fmla="*/ 1008446 h 1043557"/>
                <a:gd name="connsiteX280" fmla="*/ 583622 w 1046881"/>
                <a:gd name="connsiteY280" fmla="*/ 993301 h 1043557"/>
                <a:gd name="connsiteX281" fmla="*/ 574780 w 1046881"/>
                <a:gd name="connsiteY281" fmla="*/ 982523 h 1043557"/>
                <a:gd name="connsiteX282" fmla="*/ 567217 w 1046881"/>
                <a:gd name="connsiteY282" fmla="*/ 973416 h 1043557"/>
                <a:gd name="connsiteX283" fmla="*/ 566752 w 1046881"/>
                <a:gd name="connsiteY283" fmla="*/ 966713 h 1043557"/>
                <a:gd name="connsiteX284" fmla="*/ 566996 w 1046881"/>
                <a:gd name="connsiteY284" fmla="*/ 960714 h 1043557"/>
                <a:gd name="connsiteX285" fmla="*/ 563873 w 1046881"/>
                <a:gd name="connsiteY285" fmla="*/ 958833 h 1043557"/>
                <a:gd name="connsiteX286" fmla="*/ 562592 w 1046881"/>
                <a:gd name="connsiteY286" fmla="*/ 955323 h 1043557"/>
                <a:gd name="connsiteX287" fmla="*/ 562782 w 1046881"/>
                <a:gd name="connsiteY287" fmla="*/ 948915 h 1043557"/>
                <a:gd name="connsiteX288" fmla="*/ 560662 w 1046881"/>
                <a:gd name="connsiteY288" fmla="*/ 945272 h 1043557"/>
                <a:gd name="connsiteX289" fmla="*/ 555079 w 1046881"/>
                <a:gd name="connsiteY289" fmla="*/ 937156 h 1043557"/>
                <a:gd name="connsiteX290" fmla="*/ 547629 w 1046881"/>
                <a:gd name="connsiteY290" fmla="*/ 935458 h 1043557"/>
                <a:gd name="connsiteX291" fmla="*/ 542275 w 1046881"/>
                <a:gd name="connsiteY291" fmla="*/ 927520 h 1043557"/>
                <a:gd name="connsiteX292" fmla="*/ 535865 w 1046881"/>
                <a:gd name="connsiteY292" fmla="*/ 916216 h 1043557"/>
                <a:gd name="connsiteX293" fmla="*/ 523400 w 1046881"/>
                <a:gd name="connsiteY293" fmla="*/ 904455 h 1043557"/>
                <a:gd name="connsiteX294" fmla="*/ 511396 w 1046881"/>
                <a:gd name="connsiteY294" fmla="*/ 895963 h 1043557"/>
                <a:gd name="connsiteX295" fmla="*/ 508044 w 1046881"/>
                <a:gd name="connsiteY295" fmla="*/ 889186 h 1043557"/>
                <a:gd name="connsiteX296" fmla="*/ 505276 w 1046881"/>
                <a:gd name="connsiteY296" fmla="*/ 879279 h 1043557"/>
                <a:gd name="connsiteX297" fmla="*/ 500273 w 1046881"/>
                <a:gd name="connsiteY297" fmla="*/ 870879 h 1043557"/>
                <a:gd name="connsiteX298" fmla="*/ 493351 w 1046881"/>
                <a:gd name="connsiteY298" fmla="*/ 858809 h 1043557"/>
                <a:gd name="connsiteX299" fmla="*/ 486308 w 1046881"/>
                <a:gd name="connsiteY299" fmla="*/ 847380 h 1043557"/>
                <a:gd name="connsiteX300" fmla="*/ 480833 w 1046881"/>
                <a:gd name="connsiteY300" fmla="*/ 841921 h 1043557"/>
                <a:gd name="connsiteX301" fmla="*/ 476032 w 1046881"/>
                <a:gd name="connsiteY301" fmla="*/ 833494 h 1043557"/>
                <a:gd name="connsiteX302" fmla="*/ 469492 w 1046881"/>
                <a:gd name="connsiteY302" fmla="*/ 825919 h 1043557"/>
                <a:gd name="connsiteX303" fmla="*/ 456593 w 1046881"/>
                <a:gd name="connsiteY303" fmla="*/ 817128 h 1043557"/>
                <a:gd name="connsiteX304" fmla="*/ 444322 w 1046881"/>
                <a:gd name="connsiteY304" fmla="*/ 806590 h 1043557"/>
                <a:gd name="connsiteX305" fmla="*/ 437176 w 1046881"/>
                <a:gd name="connsiteY305" fmla="*/ 799094 h 1043557"/>
                <a:gd name="connsiteX306" fmla="*/ 432691 w 1046881"/>
                <a:gd name="connsiteY306" fmla="*/ 794928 h 1043557"/>
                <a:gd name="connsiteX307" fmla="*/ 424006 w 1046881"/>
                <a:gd name="connsiteY307" fmla="*/ 800815 h 1043557"/>
                <a:gd name="connsiteX308" fmla="*/ 417534 w 1046881"/>
                <a:gd name="connsiteY308" fmla="*/ 796909 h 1043557"/>
                <a:gd name="connsiteX309" fmla="*/ 407773 w 1046881"/>
                <a:gd name="connsiteY309" fmla="*/ 797976 h 1043557"/>
                <a:gd name="connsiteX310" fmla="*/ 400834 w 1046881"/>
                <a:gd name="connsiteY310" fmla="*/ 799923 h 1043557"/>
                <a:gd name="connsiteX311" fmla="*/ 389208 w 1046881"/>
                <a:gd name="connsiteY311" fmla="*/ 793013 h 1043557"/>
                <a:gd name="connsiteX312" fmla="*/ 377883 w 1046881"/>
                <a:gd name="connsiteY312" fmla="*/ 802298 h 1043557"/>
                <a:gd name="connsiteX313" fmla="*/ 370231 w 1046881"/>
                <a:gd name="connsiteY313" fmla="*/ 805345 h 1043557"/>
                <a:gd name="connsiteX314" fmla="*/ 364515 w 1046881"/>
                <a:gd name="connsiteY314" fmla="*/ 813516 h 1043557"/>
                <a:gd name="connsiteX315" fmla="*/ 355720 w 1046881"/>
                <a:gd name="connsiteY315" fmla="*/ 832981 h 1043557"/>
                <a:gd name="connsiteX316" fmla="*/ 345463 w 1046881"/>
                <a:gd name="connsiteY316" fmla="*/ 852014 h 1043557"/>
                <a:gd name="connsiteX317" fmla="*/ 338989 w 1046881"/>
                <a:gd name="connsiteY317" fmla="*/ 857786 h 1043557"/>
                <a:gd name="connsiteX318" fmla="*/ 331989 w 1046881"/>
                <a:gd name="connsiteY318" fmla="*/ 857695 h 1043557"/>
                <a:gd name="connsiteX319" fmla="*/ 324595 w 1046881"/>
                <a:gd name="connsiteY319" fmla="*/ 853284 h 1043557"/>
                <a:gd name="connsiteX320" fmla="*/ 320366 w 1046881"/>
                <a:gd name="connsiteY320" fmla="*/ 847662 h 1043557"/>
                <a:gd name="connsiteX321" fmla="*/ 314848 w 1046881"/>
                <a:gd name="connsiteY321" fmla="*/ 846336 h 1043557"/>
                <a:gd name="connsiteX322" fmla="*/ 309567 w 1046881"/>
                <a:gd name="connsiteY322" fmla="*/ 846818 h 1043557"/>
                <a:gd name="connsiteX323" fmla="*/ 303169 w 1046881"/>
                <a:gd name="connsiteY323" fmla="*/ 839016 h 1043557"/>
                <a:gd name="connsiteX324" fmla="*/ 298345 w 1046881"/>
                <a:gd name="connsiteY324" fmla="*/ 839855 h 1043557"/>
                <a:gd name="connsiteX325" fmla="*/ 291062 w 1046881"/>
                <a:gd name="connsiteY325" fmla="*/ 839176 h 1043557"/>
                <a:gd name="connsiteX326" fmla="*/ 284443 w 1046881"/>
                <a:gd name="connsiteY326" fmla="*/ 830987 h 1043557"/>
                <a:gd name="connsiteX327" fmla="*/ 275741 w 1046881"/>
                <a:gd name="connsiteY327" fmla="*/ 822862 h 1043557"/>
                <a:gd name="connsiteX328" fmla="*/ 257012 w 1046881"/>
                <a:gd name="connsiteY328" fmla="*/ 807201 h 1043557"/>
                <a:gd name="connsiteX329" fmla="*/ 251493 w 1046881"/>
                <a:gd name="connsiteY329" fmla="*/ 783847 h 1043557"/>
                <a:gd name="connsiteX330" fmla="*/ 249178 w 1046881"/>
                <a:gd name="connsiteY330" fmla="*/ 777143 h 1043557"/>
                <a:gd name="connsiteX331" fmla="*/ 244133 w 1046881"/>
                <a:gd name="connsiteY331" fmla="*/ 769997 h 1043557"/>
                <a:gd name="connsiteX332" fmla="*/ 240735 w 1046881"/>
                <a:gd name="connsiteY332" fmla="*/ 759721 h 1043557"/>
                <a:gd name="connsiteX333" fmla="*/ 237353 w 1046881"/>
                <a:gd name="connsiteY333" fmla="*/ 751144 h 1043557"/>
                <a:gd name="connsiteX334" fmla="*/ 220873 w 1046881"/>
                <a:gd name="connsiteY334" fmla="*/ 740115 h 1043557"/>
                <a:gd name="connsiteX335" fmla="*/ 204289 w 1046881"/>
                <a:gd name="connsiteY335" fmla="*/ 728302 h 1043557"/>
                <a:gd name="connsiteX336" fmla="*/ 195454 w 1046881"/>
                <a:gd name="connsiteY336" fmla="*/ 717315 h 1043557"/>
                <a:gd name="connsiteX337" fmla="*/ 185697 w 1046881"/>
                <a:gd name="connsiteY337" fmla="*/ 705824 h 1043557"/>
                <a:gd name="connsiteX338" fmla="*/ 171504 w 1046881"/>
                <a:gd name="connsiteY338" fmla="*/ 699458 h 1043557"/>
                <a:gd name="connsiteX339" fmla="*/ 160156 w 1046881"/>
                <a:gd name="connsiteY339" fmla="*/ 688383 h 1043557"/>
                <a:gd name="connsiteX340" fmla="*/ 150856 w 1046881"/>
                <a:gd name="connsiteY340" fmla="*/ 675410 h 1043557"/>
                <a:gd name="connsiteX341" fmla="*/ 143062 w 1046881"/>
                <a:gd name="connsiteY341" fmla="*/ 671086 h 1043557"/>
                <a:gd name="connsiteX342" fmla="*/ 136420 w 1046881"/>
                <a:gd name="connsiteY342" fmla="*/ 659498 h 1043557"/>
                <a:gd name="connsiteX343" fmla="*/ 136190 w 1046881"/>
                <a:gd name="connsiteY343" fmla="*/ 659498 h 1043557"/>
                <a:gd name="connsiteX344" fmla="*/ 141544 w 1046881"/>
                <a:gd name="connsiteY344" fmla="*/ 668812 h 1043557"/>
                <a:gd name="connsiteX345" fmla="*/ 50003 w 1046881"/>
                <a:gd name="connsiteY345" fmla="*/ 668017 h 1043557"/>
                <a:gd name="connsiteX346" fmla="*/ 47288 w 1046881"/>
                <a:gd name="connsiteY346" fmla="*/ 700870 h 1043557"/>
                <a:gd name="connsiteX347" fmla="*/ 0 w 1046881"/>
                <a:gd name="connsiteY347" fmla="*/ 699846 h 1043557"/>
                <a:gd name="connsiteX348" fmla="*/ 5742 w 1046881"/>
                <a:gd name="connsiteY348" fmla="*/ 310383 h 1043557"/>
                <a:gd name="connsiteX349" fmla="*/ 7002 w 1046881"/>
                <a:gd name="connsiteY349" fmla="*/ 310391 h 1043557"/>
                <a:gd name="connsiteX350" fmla="*/ 9852 w 1046881"/>
                <a:gd name="connsiteY350" fmla="*/ 38008 h 1043557"/>
                <a:gd name="connsiteX0" fmla="*/ 1003060 w 1046881"/>
                <a:gd name="connsiteY0" fmla="*/ 279153 h 1043557"/>
                <a:gd name="connsiteX1" fmla="*/ 998449 w 1046881"/>
                <a:gd name="connsiteY1" fmla="*/ 285862 h 1043557"/>
                <a:gd name="connsiteX2" fmla="*/ 998204 w 1046881"/>
                <a:gd name="connsiteY2" fmla="*/ 286340 h 1043557"/>
                <a:gd name="connsiteX3" fmla="*/ 998204 w 1046881"/>
                <a:gd name="connsiteY3" fmla="*/ 286410 h 1043557"/>
                <a:gd name="connsiteX4" fmla="*/ 1003060 w 1046881"/>
                <a:gd name="connsiteY4" fmla="*/ 279153 h 1043557"/>
                <a:gd name="connsiteX5" fmla="*/ 721538 w 1046881"/>
                <a:gd name="connsiteY5" fmla="*/ 82028 h 1043557"/>
                <a:gd name="connsiteX6" fmla="*/ 719542 w 1046881"/>
                <a:gd name="connsiteY6" fmla="*/ 84784 h 1043557"/>
                <a:gd name="connsiteX7" fmla="*/ 719411 w 1046881"/>
                <a:gd name="connsiteY7" fmla="*/ 85010 h 1043557"/>
                <a:gd name="connsiteX8" fmla="*/ 721556 w 1046881"/>
                <a:gd name="connsiteY8" fmla="*/ 82039 h 1043557"/>
                <a:gd name="connsiteX9" fmla="*/ 721538 w 1046881"/>
                <a:gd name="connsiteY9" fmla="*/ 82028 h 1043557"/>
                <a:gd name="connsiteX10" fmla="*/ 9852 w 1046881"/>
                <a:gd name="connsiteY10" fmla="*/ 38008 h 1043557"/>
                <a:gd name="connsiteX11" fmla="*/ 83022 w 1046881"/>
                <a:gd name="connsiteY11" fmla="*/ 38941 h 1043557"/>
                <a:gd name="connsiteX12" fmla="*/ 261203 w 1046881"/>
                <a:gd name="connsiteY12" fmla="*/ 35587 h 1043557"/>
                <a:gd name="connsiteX13" fmla="*/ 357880 w 1046881"/>
                <a:gd name="connsiteY13" fmla="*/ 30573 h 1043557"/>
                <a:gd name="connsiteX14" fmla="*/ 362042 w 1046881"/>
                <a:gd name="connsiteY14" fmla="*/ 95017 h 1043557"/>
                <a:gd name="connsiteX15" fmla="*/ 387674 w 1046881"/>
                <a:gd name="connsiteY15" fmla="*/ 94887 h 1043557"/>
                <a:gd name="connsiteX16" fmla="*/ 459061 w 1046881"/>
                <a:gd name="connsiteY16" fmla="*/ 92743 h 1043557"/>
                <a:gd name="connsiteX17" fmla="*/ 696362 w 1046881"/>
                <a:gd name="connsiteY17" fmla="*/ 68270 h 1043557"/>
                <a:gd name="connsiteX18" fmla="*/ 695276 w 1046881"/>
                <a:gd name="connsiteY18" fmla="*/ 66765 h 1043557"/>
                <a:gd name="connsiteX19" fmla="*/ 688988 w 1046881"/>
                <a:gd name="connsiteY19" fmla="*/ 57924 h 1043557"/>
                <a:gd name="connsiteX20" fmla="*/ 685468 w 1046881"/>
                <a:gd name="connsiteY20" fmla="*/ 53037 h 1043557"/>
                <a:gd name="connsiteX21" fmla="*/ 681682 w 1046881"/>
                <a:gd name="connsiteY21" fmla="*/ 49216 h 1043557"/>
                <a:gd name="connsiteX22" fmla="*/ 679085 w 1046881"/>
                <a:gd name="connsiteY22" fmla="*/ 43589 h 1043557"/>
                <a:gd name="connsiteX23" fmla="*/ 676819 w 1046881"/>
                <a:gd name="connsiteY23" fmla="*/ 38759 h 1043557"/>
                <a:gd name="connsiteX24" fmla="*/ 673089 w 1046881"/>
                <a:gd name="connsiteY24" fmla="*/ 36979 h 1043557"/>
                <a:gd name="connsiteX25" fmla="*/ 670969 w 1046881"/>
                <a:gd name="connsiteY25" fmla="*/ 31908 h 1043557"/>
                <a:gd name="connsiteX26" fmla="*/ 670335 w 1046881"/>
                <a:gd name="connsiteY26" fmla="*/ 30150 h 1043557"/>
                <a:gd name="connsiteX27" fmla="*/ 742429 w 1046881"/>
                <a:gd name="connsiteY27" fmla="*/ 22983 h 1043557"/>
                <a:gd name="connsiteX28" fmla="*/ 868019 w 1046881"/>
                <a:gd name="connsiteY28" fmla="*/ 0 h 1043557"/>
                <a:gd name="connsiteX29" fmla="*/ 870170 w 1046881"/>
                <a:gd name="connsiteY29" fmla="*/ 3829 h 1043557"/>
                <a:gd name="connsiteX30" fmla="*/ 875839 w 1046881"/>
                <a:gd name="connsiteY30" fmla="*/ 7816 h 1043557"/>
                <a:gd name="connsiteX31" fmla="*/ 881121 w 1046881"/>
                <a:gd name="connsiteY31" fmla="*/ 12061 h 1043557"/>
                <a:gd name="connsiteX32" fmla="*/ 886197 w 1046881"/>
                <a:gd name="connsiteY32" fmla="*/ 16332 h 1043557"/>
                <a:gd name="connsiteX33" fmla="*/ 885534 w 1046881"/>
                <a:gd name="connsiteY33" fmla="*/ 22164 h 1043557"/>
                <a:gd name="connsiteX34" fmla="*/ 887205 w 1046881"/>
                <a:gd name="connsiteY34" fmla="*/ 33464 h 1043557"/>
                <a:gd name="connsiteX35" fmla="*/ 887603 w 1046881"/>
                <a:gd name="connsiteY35" fmla="*/ 41219 h 1043557"/>
                <a:gd name="connsiteX36" fmla="*/ 898693 w 1046881"/>
                <a:gd name="connsiteY36" fmla="*/ 56828 h 1043557"/>
                <a:gd name="connsiteX37" fmla="*/ 921957 w 1046881"/>
                <a:gd name="connsiteY37" fmla="*/ 75780 h 1043557"/>
                <a:gd name="connsiteX38" fmla="*/ 931672 w 1046881"/>
                <a:gd name="connsiteY38" fmla="*/ 83967 h 1043557"/>
                <a:gd name="connsiteX39" fmla="*/ 938373 w 1046881"/>
                <a:gd name="connsiteY39" fmla="*/ 92754 h 1043557"/>
                <a:gd name="connsiteX40" fmla="*/ 939227 w 1046881"/>
                <a:gd name="connsiteY40" fmla="*/ 102512 h 1043557"/>
                <a:gd name="connsiteX41" fmla="*/ 946842 w 1046881"/>
                <a:gd name="connsiteY41" fmla="*/ 107262 h 1043557"/>
                <a:gd name="connsiteX42" fmla="*/ 953870 w 1046881"/>
                <a:gd name="connsiteY42" fmla="*/ 101203 h 1043557"/>
                <a:gd name="connsiteX43" fmla="*/ 962977 w 1046881"/>
                <a:gd name="connsiteY43" fmla="*/ 104741 h 1043557"/>
                <a:gd name="connsiteX44" fmla="*/ 967861 w 1046881"/>
                <a:gd name="connsiteY44" fmla="*/ 112131 h 1043557"/>
                <a:gd name="connsiteX45" fmla="*/ 965336 w 1046881"/>
                <a:gd name="connsiteY45" fmla="*/ 129106 h 1043557"/>
                <a:gd name="connsiteX46" fmla="*/ 962303 w 1046881"/>
                <a:gd name="connsiteY46" fmla="*/ 143688 h 1043557"/>
                <a:gd name="connsiteX47" fmla="*/ 967061 w 1046881"/>
                <a:gd name="connsiteY47" fmla="*/ 153333 h 1043557"/>
                <a:gd name="connsiteX48" fmla="*/ 971160 w 1046881"/>
                <a:gd name="connsiteY48" fmla="*/ 157938 h 1043557"/>
                <a:gd name="connsiteX49" fmla="*/ 975462 w 1046881"/>
                <a:gd name="connsiteY49" fmla="*/ 160881 h 1043557"/>
                <a:gd name="connsiteX50" fmla="*/ 975885 w 1046881"/>
                <a:gd name="connsiteY50" fmla="*/ 161018 h 1043557"/>
                <a:gd name="connsiteX51" fmla="*/ 981899 w 1046881"/>
                <a:gd name="connsiteY51" fmla="*/ 164548 h 1043557"/>
                <a:gd name="connsiteX52" fmla="*/ 989409 w 1046881"/>
                <a:gd name="connsiteY52" fmla="*/ 168501 h 1043557"/>
                <a:gd name="connsiteX53" fmla="*/ 992927 w 1046881"/>
                <a:gd name="connsiteY53" fmla="*/ 168660 h 1043557"/>
                <a:gd name="connsiteX54" fmla="*/ 1001478 w 1046881"/>
                <a:gd name="connsiteY54" fmla="*/ 171033 h 1043557"/>
                <a:gd name="connsiteX55" fmla="*/ 1004788 w 1046881"/>
                <a:gd name="connsiteY55" fmla="*/ 174313 h 1043557"/>
                <a:gd name="connsiteX56" fmla="*/ 1011624 w 1046881"/>
                <a:gd name="connsiteY56" fmla="*/ 177942 h 1043557"/>
                <a:gd name="connsiteX57" fmla="*/ 1015928 w 1046881"/>
                <a:gd name="connsiteY57" fmla="*/ 185599 h 1043557"/>
                <a:gd name="connsiteX58" fmla="*/ 1020241 w 1046881"/>
                <a:gd name="connsiteY58" fmla="*/ 193461 h 1043557"/>
                <a:gd name="connsiteX59" fmla="*/ 1023417 w 1046881"/>
                <a:gd name="connsiteY59" fmla="*/ 198805 h 1043557"/>
                <a:gd name="connsiteX60" fmla="*/ 1021536 w 1046881"/>
                <a:gd name="connsiteY60" fmla="*/ 203367 h 1043557"/>
                <a:gd name="connsiteX61" fmla="*/ 1019521 w 1046881"/>
                <a:gd name="connsiteY61" fmla="*/ 209994 h 1043557"/>
                <a:gd name="connsiteX62" fmla="*/ 1026248 w 1046881"/>
                <a:gd name="connsiteY62" fmla="*/ 218984 h 1043557"/>
                <a:gd name="connsiteX63" fmla="*/ 1034011 w 1046881"/>
                <a:gd name="connsiteY63" fmla="*/ 224746 h 1043557"/>
                <a:gd name="connsiteX64" fmla="*/ 1039951 w 1046881"/>
                <a:gd name="connsiteY64" fmla="*/ 221509 h 1043557"/>
                <a:gd name="connsiteX65" fmla="*/ 1044310 w 1046881"/>
                <a:gd name="connsiteY65" fmla="*/ 226493 h 1043557"/>
                <a:gd name="connsiteX66" fmla="*/ 1046459 w 1046881"/>
                <a:gd name="connsiteY66" fmla="*/ 233401 h 1043557"/>
                <a:gd name="connsiteX67" fmla="*/ 1046881 w 1046881"/>
                <a:gd name="connsiteY67" fmla="*/ 236630 h 1043557"/>
                <a:gd name="connsiteX68" fmla="*/ 1043947 w 1046881"/>
                <a:gd name="connsiteY68" fmla="*/ 237839 h 1043557"/>
                <a:gd name="connsiteX69" fmla="*/ 1044642 w 1046881"/>
                <a:gd name="connsiteY69" fmla="*/ 246380 h 1043557"/>
                <a:gd name="connsiteX70" fmla="*/ 1037396 w 1046881"/>
                <a:gd name="connsiteY70" fmla="*/ 252261 h 1043557"/>
                <a:gd name="connsiteX71" fmla="*/ 1034407 w 1046881"/>
                <a:gd name="connsiteY71" fmla="*/ 256143 h 1043557"/>
                <a:gd name="connsiteX72" fmla="*/ 1032571 w 1046881"/>
                <a:gd name="connsiteY72" fmla="*/ 257827 h 1043557"/>
                <a:gd name="connsiteX73" fmla="*/ 1029775 w 1046881"/>
                <a:gd name="connsiteY73" fmla="*/ 258605 h 1043557"/>
                <a:gd name="connsiteX74" fmla="*/ 1028069 w 1046881"/>
                <a:gd name="connsiteY74" fmla="*/ 261287 h 1043557"/>
                <a:gd name="connsiteX75" fmla="*/ 1024212 w 1046881"/>
                <a:gd name="connsiteY75" fmla="*/ 293904 h 1043557"/>
                <a:gd name="connsiteX76" fmla="*/ 1025408 w 1046881"/>
                <a:gd name="connsiteY76" fmla="*/ 293644 h 1043557"/>
                <a:gd name="connsiteX77" fmla="*/ 1025512 w 1046881"/>
                <a:gd name="connsiteY77" fmla="*/ 294438 h 1043557"/>
                <a:gd name="connsiteX78" fmla="*/ 1026902 w 1046881"/>
                <a:gd name="connsiteY78" fmla="*/ 297140 h 1043557"/>
                <a:gd name="connsiteX79" fmla="*/ 1025162 w 1046881"/>
                <a:gd name="connsiteY79" fmla="*/ 307451 h 1043557"/>
                <a:gd name="connsiteX80" fmla="*/ 1019870 w 1046881"/>
                <a:gd name="connsiteY80" fmla="*/ 314303 h 1043557"/>
                <a:gd name="connsiteX81" fmla="*/ 1019330 w 1046881"/>
                <a:gd name="connsiteY81" fmla="*/ 316438 h 1043557"/>
                <a:gd name="connsiteX82" fmla="*/ 1020478 w 1046881"/>
                <a:gd name="connsiteY82" fmla="*/ 318953 h 1043557"/>
                <a:gd name="connsiteX83" fmla="*/ 1021614 w 1046881"/>
                <a:gd name="connsiteY83" fmla="*/ 321273 h 1043557"/>
                <a:gd name="connsiteX84" fmla="*/ 1018437 w 1046881"/>
                <a:gd name="connsiteY84" fmla="*/ 325392 h 1043557"/>
                <a:gd name="connsiteX85" fmla="*/ 1014895 w 1046881"/>
                <a:gd name="connsiteY85" fmla="*/ 329754 h 1043557"/>
                <a:gd name="connsiteX86" fmla="*/ 1011459 w 1046881"/>
                <a:gd name="connsiteY86" fmla="*/ 334933 h 1043557"/>
                <a:gd name="connsiteX87" fmla="*/ 1009088 w 1046881"/>
                <a:gd name="connsiteY87" fmla="*/ 338945 h 1043557"/>
                <a:gd name="connsiteX88" fmla="*/ 1012944 w 1046881"/>
                <a:gd name="connsiteY88" fmla="*/ 344821 h 1043557"/>
                <a:gd name="connsiteX89" fmla="*/ 1017240 w 1046881"/>
                <a:gd name="connsiteY89" fmla="*/ 350836 h 1043557"/>
                <a:gd name="connsiteX90" fmla="*/ 1014555 w 1046881"/>
                <a:gd name="connsiteY90" fmla="*/ 357151 h 1043557"/>
                <a:gd name="connsiteX91" fmla="*/ 1010593 w 1046881"/>
                <a:gd name="connsiteY91" fmla="*/ 363010 h 1043557"/>
                <a:gd name="connsiteX92" fmla="*/ 1009849 w 1046881"/>
                <a:gd name="connsiteY92" fmla="*/ 365161 h 1043557"/>
                <a:gd name="connsiteX93" fmla="*/ 1009314 w 1046881"/>
                <a:gd name="connsiteY93" fmla="*/ 370572 h 1043557"/>
                <a:gd name="connsiteX94" fmla="*/ 1006966 w 1046881"/>
                <a:gd name="connsiteY94" fmla="*/ 376232 h 1043557"/>
                <a:gd name="connsiteX95" fmla="*/ 998563 w 1046881"/>
                <a:gd name="connsiteY95" fmla="*/ 387609 h 1043557"/>
                <a:gd name="connsiteX96" fmla="*/ 998168 w 1046881"/>
                <a:gd name="connsiteY96" fmla="*/ 401850 h 1043557"/>
                <a:gd name="connsiteX97" fmla="*/ 999230 w 1046881"/>
                <a:gd name="connsiteY97" fmla="*/ 408494 h 1043557"/>
                <a:gd name="connsiteX98" fmla="*/ 995391 w 1046881"/>
                <a:gd name="connsiteY98" fmla="*/ 413726 h 1043557"/>
                <a:gd name="connsiteX99" fmla="*/ 990223 w 1046881"/>
                <a:gd name="connsiteY99" fmla="*/ 418300 h 1043557"/>
                <a:gd name="connsiteX100" fmla="*/ 985699 w 1046881"/>
                <a:gd name="connsiteY100" fmla="*/ 424660 h 1043557"/>
                <a:gd name="connsiteX101" fmla="*/ 983552 w 1046881"/>
                <a:gd name="connsiteY101" fmla="*/ 430282 h 1043557"/>
                <a:gd name="connsiteX102" fmla="*/ 985818 w 1046881"/>
                <a:gd name="connsiteY102" fmla="*/ 438211 h 1043557"/>
                <a:gd name="connsiteX103" fmla="*/ 982898 w 1046881"/>
                <a:gd name="connsiteY103" fmla="*/ 441062 h 1043557"/>
                <a:gd name="connsiteX104" fmla="*/ 980829 w 1046881"/>
                <a:gd name="connsiteY104" fmla="*/ 447285 h 1043557"/>
                <a:gd name="connsiteX105" fmla="*/ 981920 w 1046881"/>
                <a:gd name="connsiteY105" fmla="*/ 452495 h 1043557"/>
                <a:gd name="connsiteX106" fmla="*/ 979586 w 1046881"/>
                <a:gd name="connsiteY106" fmla="*/ 456699 h 1043557"/>
                <a:gd name="connsiteX107" fmla="*/ 977965 w 1046881"/>
                <a:gd name="connsiteY107" fmla="*/ 461641 h 1043557"/>
                <a:gd name="connsiteX108" fmla="*/ 975685 w 1046881"/>
                <a:gd name="connsiteY108" fmla="*/ 466254 h 1043557"/>
                <a:gd name="connsiteX109" fmla="*/ 973862 w 1046881"/>
                <a:gd name="connsiteY109" fmla="*/ 471222 h 1043557"/>
                <a:gd name="connsiteX110" fmla="*/ 977202 w 1046881"/>
                <a:gd name="connsiteY110" fmla="*/ 479426 h 1043557"/>
                <a:gd name="connsiteX111" fmla="*/ 980504 w 1046881"/>
                <a:gd name="connsiteY111" fmla="*/ 485778 h 1043557"/>
                <a:gd name="connsiteX112" fmla="*/ 984718 w 1046881"/>
                <a:gd name="connsiteY112" fmla="*/ 492830 h 1043557"/>
                <a:gd name="connsiteX113" fmla="*/ 987057 w 1046881"/>
                <a:gd name="connsiteY113" fmla="*/ 498084 h 1043557"/>
                <a:gd name="connsiteX114" fmla="*/ 983990 w 1046881"/>
                <a:gd name="connsiteY114" fmla="*/ 506088 h 1043557"/>
                <a:gd name="connsiteX115" fmla="*/ 983436 w 1046881"/>
                <a:gd name="connsiteY115" fmla="*/ 508214 h 1043557"/>
                <a:gd name="connsiteX116" fmla="*/ 983058 w 1046881"/>
                <a:gd name="connsiteY116" fmla="*/ 510120 h 1043557"/>
                <a:gd name="connsiteX117" fmla="*/ 827992 w 1046881"/>
                <a:gd name="connsiteY117" fmla="*/ 534483 h 1043557"/>
                <a:gd name="connsiteX118" fmla="*/ 828366 w 1046881"/>
                <a:gd name="connsiteY118" fmla="*/ 537474 h 1043557"/>
                <a:gd name="connsiteX119" fmla="*/ 836967 w 1046881"/>
                <a:gd name="connsiteY119" fmla="*/ 604863 h 1043557"/>
                <a:gd name="connsiteX120" fmla="*/ 843324 w 1046881"/>
                <a:gd name="connsiteY120" fmla="*/ 609201 h 1043557"/>
                <a:gd name="connsiteX121" fmla="*/ 849802 w 1046881"/>
                <a:gd name="connsiteY121" fmla="*/ 614737 h 1043557"/>
                <a:gd name="connsiteX122" fmla="*/ 853157 w 1046881"/>
                <a:gd name="connsiteY122" fmla="*/ 623110 h 1043557"/>
                <a:gd name="connsiteX123" fmla="*/ 854931 w 1046881"/>
                <a:gd name="connsiteY123" fmla="*/ 631967 h 1043557"/>
                <a:gd name="connsiteX124" fmla="*/ 857647 w 1046881"/>
                <a:gd name="connsiteY124" fmla="*/ 633867 h 1043557"/>
                <a:gd name="connsiteX125" fmla="*/ 860697 w 1046881"/>
                <a:gd name="connsiteY125" fmla="*/ 636764 h 1043557"/>
                <a:gd name="connsiteX126" fmla="*/ 862847 w 1046881"/>
                <a:gd name="connsiteY126" fmla="*/ 640369 h 1043557"/>
                <a:gd name="connsiteX127" fmla="*/ 865303 w 1046881"/>
                <a:gd name="connsiteY127" fmla="*/ 645008 h 1043557"/>
                <a:gd name="connsiteX128" fmla="*/ 870051 w 1046881"/>
                <a:gd name="connsiteY128" fmla="*/ 653025 h 1043557"/>
                <a:gd name="connsiteX129" fmla="*/ 874531 w 1046881"/>
                <a:gd name="connsiteY129" fmla="*/ 658997 h 1043557"/>
                <a:gd name="connsiteX130" fmla="*/ 875851 w 1046881"/>
                <a:gd name="connsiteY130" fmla="*/ 681685 h 1043557"/>
                <a:gd name="connsiteX131" fmla="*/ 872946 w 1046881"/>
                <a:gd name="connsiteY131" fmla="*/ 690910 h 1043557"/>
                <a:gd name="connsiteX132" fmla="*/ 869839 w 1046881"/>
                <a:gd name="connsiteY132" fmla="*/ 702001 h 1043557"/>
                <a:gd name="connsiteX133" fmla="*/ 872169 w 1046881"/>
                <a:gd name="connsiteY133" fmla="*/ 707247 h 1043557"/>
                <a:gd name="connsiteX134" fmla="*/ 870316 w 1046881"/>
                <a:gd name="connsiteY134" fmla="*/ 710368 h 1043557"/>
                <a:gd name="connsiteX135" fmla="*/ 869134 w 1046881"/>
                <a:gd name="connsiteY135" fmla="*/ 715483 h 1043557"/>
                <a:gd name="connsiteX136" fmla="*/ 871666 w 1046881"/>
                <a:gd name="connsiteY136" fmla="*/ 720703 h 1043557"/>
                <a:gd name="connsiteX137" fmla="*/ 874190 w 1046881"/>
                <a:gd name="connsiteY137" fmla="*/ 727173 h 1043557"/>
                <a:gd name="connsiteX138" fmla="*/ 870767 w 1046881"/>
                <a:gd name="connsiteY138" fmla="*/ 740559 h 1043557"/>
                <a:gd name="connsiteX139" fmla="*/ 865779 w 1046881"/>
                <a:gd name="connsiteY139" fmla="*/ 752728 h 1043557"/>
                <a:gd name="connsiteX140" fmla="*/ 865577 w 1046881"/>
                <a:gd name="connsiteY140" fmla="*/ 752754 h 1043557"/>
                <a:gd name="connsiteX141" fmla="*/ 866916 w 1046881"/>
                <a:gd name="connsiteY141" fmla="*/ 756708 h 1043557"/>
                <a:gd name="connsiteX142" fmla="*/ 869738 w 1046881"/>
                <a:gd name="connsiteY142" fmla="*/ 759426 h 1043557"/>
                <a:gd name="connsiteX143" fmla="*/ 860381 w 1046881"/>
                <a:gd name="connsiteY143" fmla="*/ 763320 h 1043557"/>
                <a:gd name="connsiteX144" fmla="*/ 855058 w 1046881"/>
                <a:gd name="connsiteY144" fmla="*/ 766895 h 1043557"/>
                <a:gd name="connsiteX145" fmla="*/ 849541 w 1046881"/>
                <a:gd name="connsiteY145" fmla="*/ 770287 h 1043557"/>
                <a:gd name="connsiteX146" fmla="*/ 826641 w 1046881"/>
                <a:gd name="connsiteY146" fmla="*/ 787468 h 1043557"/>
                <a:gd name="connsiteX147" fmla="*/ 808960 w 1046881"/>
                <a:gd name="connsiteY147" fmla="*/ 807887 h 1043557"/>
                <a:gd name="connsiteX148" fmla="*/ 807714 w 1046881"/>
                <a:gd name="connsiteY148" fmla="*/ 808050 h 1043557"/>
                <a:gd name="connsiteX149" fmla="*/ 807356 w 1046881"/>
                <a:gd name="connsiteY149" fmla="*/ 806882 h 1043557"/>
                <a:gd name="connsiteX150" fmla="*/ 817787 w 1046881"/>
                <a:gd name="connsiteY150" fmla="*/ 790498 h 1043557"/>
                <a:gd name="connsiteX151" fmla="*/ 823690 w 1046881"/>
                <a:gd name="connsiteY151" fmla="*/ 783760 h 1043557"/>
                <a:gd name="connsiteX152" fmla="*/ 832078 w 1046881"/>
                <a:gd name="connsiteY152" fmla="*/ 776906 h 1043557"/>
                <a:gd name="connsiteX153" fmla="*/ 829923 w 1046881"/>
                <a:gd name="connsiteY153" fmla="*/ 776147 h 1043557"/>
                <a:gd name="connsiteX154" fmla="*/ 827201 w 1046881"/>
                <a:gd name="connsiteY154" fmla="*/ 777335 h 1043557"/>
                <a:gd name="connsiteX155" fmla="*/ 820822 w 1046881"/>
                <a:gd name="connsiteY155" fmla="*/ 777544 h 1043557"/>
                <a:gd name="connsiteX156" fmla="*/ 820635 w 1046881"/>
                <a:gd name="connsiteY156" fmla="*/ 771394 h 1043557"/>
                <a:gd name="connsiteX157" fmla="*/ 821485 w 1046881"/>
                <a:gd name="connsiteY157" fmla="*/ 765316 h 1043557"/>
                <a:gd name="connsiteX158" fmla="*/ 818507 w 1046881"/>
                <a:gd name="connsiteY158" fmla="*/ 761403 h 1043557"/>
                <a:gd name="connsiteX159" fmla="*/ 814762 w 1046881"/>
                <a:gd name="connsiteY159" fmla="*/ 765778 h 1043557"/>
                <a:gd name="connsiteX160" fmla="*/ 810038 w 1046881"/>
                <a:gd name="connsiteY160" fmla="*/ 770523 h 1043557"/>
                <a:gd name="connsiteX161" fmla="*/ 805169 w 1046881"/>
                <a:gd name="connsiteY161" fmla="*/ 769703 h 1043557"/>
                <a:gd name="connsiteX162" fmla="*/ 803350 w 1046881"/>
                <a:gd name="connsiteY162" fmla="*/ 769941 h 1043557"/>
                <a:gd name="connsiteX163" fmla="*/ 803389 w 1046881"/>
                <a:gd name="connsiteY163" fmla="*/ 771809 h 1043557"/>
                <a:gd name="connsiteX164" fmla="*/ 807659 w 1046881"/>
                <a:gd name="connsiteY164" fmla="*/ 779056 h 1043557"/>
                <a:gd name="connsiteX165" fmla="*/ 811335 w 1046881"/>
                <a:gd name="connsiteY165" fmla="*/ 785167 h 1043557"/>
                <a:gd name="connsiteX166" fmla="*/ 813108 w 1046881"/>
                <a:gd name="connsiteY166" fmla="*/ 786149 h 1043557"/>
                <a:gd name="connsiteX167" fmla="*/ 814870 w 1046881"/>
                <a:gd name="connsiteY167" fmla="*/ 788625 h 1043557"/>
                <a:gd name="connsiteX168" fmla="*/ 806028 w 1046881"/>
                <a:gd name="connsiteY168" fmla="*/ 804593 h 1043557"/>
                <a:gd name="connsiteX169" fmla="*/ 802425 w 1046881"/>
                <a:gd name="connsiteY169" fmla="*/ 806902 h 1043557"/>
                <a:gd name="connsiteX170" fmla="*/ 800728 w 1046881"/>
                <a:gd name="connsiteY170" fmla="*/ 811217 h 1043557"/>
                <a:gd name="connsiteX171" fmla="*/ 800328 w 1046881"/>
                <a:gd name="connsiteY171" fmla="*/ 816022 h 1043557"/>
                <a:gd name="connsiteX172" fmla="*/ 798253 w 1046881"/>
                <a:gd name="connsiteY172" fmla="*/ 820595 h 1043557"/>
                <a:gd name="connsiteX173" fmla="*/ 797701 w 1046881"/>
                <a:gd name="connsiteY173" fmla="*/ 821083 h 1043557"/>
                <a:gd name="connsiteX174" fmla="*/ 771095 w 1046881"/>
                <a:gd name="connsiteY174" fmla="*/ 839789 h 1043557"/>
                <a:gd name="connsiteX175" fmla="*/ 769578 w 1046881"/>
                <a:gd name="connsiteY175" fmla="*/ 839190 h 1043557"/>
                <a:gd name="connsiteX176" fmla="*/ 766035 w 1046881"/>
                <a:gd name="connsiteY176" fmla="*/ 838820 h 1043557"/>
                <a:gd name="connsiteX177" fmla="*/ 761925 w 1046881"/>
                <a:gd name="connsiteY177" fmla="*/ 840398 h 1043557"/>
                <a:gd name="connsiteX178" fmla="*/ 760071 w 1046881"/>
                <a:gd name="connsiteY178" fmla="*/ 843519 h 1043557"/>
                <a:gd name="connsiteX179" fmla="*/ 764719 w 1046881"/>
                <a:gd name="connsiteY179" fmla="*/ 842912 h 1043557"/>
                <a:gd name="connsiteX180" fmla="*/ 746112 w 1046881"/>
                <a:gd name="connsiteY180" fmla="*/ 858075 h 1043557"/>
                <a:gd name="connsiteX181" fmla="*/ 746207 w 1046881"/>
                <a:gd name="connsiteY181" fmla="*/ 857230 h 1043557"/>
                <a:gd name="connsiteX182" fmla="*/ 750006 w 1046881"/>
                <a:gd name="connsiteY182" fmla="*/ 853264 h 1043557"/>
                <a:gd name="connsiteX183" fmla="*/ 754715 w 1046881"/>
                <a:gd name="connsiteY183" fmla="*/ 849978 h 1043557"/>
                <a:gd name="connsiteX184" fmla="*/ 752331 w 1046881"/>
                <a:gd name="connsiteY184" fmla="*/ 849040 h 1043557"/>
                <a:gd name="connsiteX185" fmla="*/ 749327 w 1046881"/>
                <a:gd name="connsiteY185" fmla="*/ 849641 h 1043557"/>
                <a:gd name="connsiteX186" fmla="*/ 744038 w 1046881"/>
                <a:gd name="connsiteY186" fmla="*/ 848494 h 1043557"/>
                <a:gd name="connsiteX187" fmla="*/ 741243 w 1046881"/>
                <a:gd name="connsiteY187" fmla="*/ 845980 h 1043557"/>
                <a:gd name="connsiteX188" fmla="*/ 739378 w 1046881"/>
                <a:gd name="connsiteY188" fmla="*/ 847438 h 1043557"/>
                <a:gd name="connsiteX189" fmla="*/ 737544 w 1046881"/>
                <a:gd name="connsiteY189" fmla="*/ 849134 h 1043557"/>
                <a:gd name="connsiteX190" fmla="*/ 735996 w 1046881"/>
                <a:gd name="connsiteY190" fmla="*/ 848296 h 1043557"/>
                <a:gd name="connsiteX191" fmla="*/ 734440 w 1046881"/>
                <a:gd name="connsiteY191" fmla="*/ 847667 h 1043557"/>
                <a:gd name="connsiteX192" fmla="*/ 733106 w 1046881"/>
                <a:gd name="connsiteY192" fmla="*/ 848466 h 1043557"/>
                <a:gd name="connsiteX193" fmla="*/ 733900 w 1046881"/>
                <a:gd name="connsiteY193" fmla="*/ 849819 h 1043557"/>
                <a:gd name="connsiteX194" fmla="*/ 734715 w 1046881"/>
                <a:gd name="connsiteY194" fmla="*/ 851342 h 1043557"/>
                <a:gd name="connsiteX195" fmla="*/ 729171 w 1046881"/>
                <a:gd name="connsiteY195" fmla="*/ 854530 h 1043557"/>
                <a:gd name="connsiteX196" fmla="*/ 724496 w 1046881"/>
                <a:gd name="connsiteY196" fmla="*/ 850215 h 1043557"/>
                <a:gd name="connsiteX197" fmla="*/ 720450 w 1046881"/>
                <a:gd name="connsiteY197" fmla="*/ 845991 h 1043557"/>
                <a:gd name="connsiteX198" fmla="*/ 719256 w 1046881"/>
                <a:gd name="connsiteY198" fmla="*/ 849443 h 1043557"/>
                <a:gd name="connsiteX199" fmla="*/ 727593 w 1046881"/>
                <a:gd name="connsiteY199" fmla="*/ 856610 h 1043557"/>
                <a:gd name="connsiteX200" fmla="*/ 735623 w 1046881"/>
                <a:gd name="connsiteY200" fmla="*/ 864580 h 1043557"/>
                <a:gd name="connsiteX201" fmla="*/ 732973 w 1046881"/>
                <a:gd name="connsiteY201" fmla="*/ 874188 h 1043557"/>
                <a:gd name="connsiteX202" fmla="*/ 720589 w 1046881"/>
                <a:gd name="connsiteY202" fmla="*/ 885069 h 1043557"/>
                <a:gd name="connsiteX203" fmla="*/ 710786 w 1046881"/>
                <a:gd name="connsiteY203" fmla="*/ 894988 h 1043557"/>
                <a:gd name="connsiteX204" fmla="*/ 704220 w 1046881"/>
                <a:gd name="connsiteY204" fmla="*/ 904518 h 1043557"/>
                <a:gd name="connsiteX205" fmla="*/ 703581 w 1046881"/>
                <a:gd name="connsiteY205" fmla="*/ 904602 h 1043557"/>
                <a:gd name="connsiteX206" fmla="*/ 703469 w 1046881"/>
                <a:gd name="connsiteY206" fmla="*/ 901911 h 1043557"/>
                <a:gd name="connsiteX207" fmla="*/ 709101 w 1046881"/>
                <a:gd name="connsiteY207" fmla="*/ 891531 h 1043557"/>
                <a:gd name="connsiteX208" fmla="*/ 716258 w 1046881"/>
                <a:gd name="connsiteY208" fmla="*/ 883380 h 1043557"/>
                <a:gd name="connsiteX209" fmla="*/ 724565 w 1046881"/>
                <a:gd name="connsiteY209" fmla="*/ 875911 h 1043557"/>
                <a:gd name="connsiteX210" fmla="*/ 732355 w 1046881"/>
                <a:gd name="connsiteY210" fmla="*/ 867886 h 1043557"/>
                <a:gd name="connsiteX211" fmla="*/ 730334 w 1046881"/>
                <a:gd name="connsiteY211" fmla="*/ 868150 h 1043557"/>
                <a:gd name="connsiteX212" fmla="*/ 725301 w 1046881"/>
                <a:gd name="connsiteY212" fmla="*/ 872103 h 1043557"/>
                <a:gd name="connsiteX213" fmla="*/ 720463 w 1046881"/>
                <a:gd name="connsiteY213" fmla="*/ 874401 h 1043557"/>
                <a:gd name="connsiteX214" fmla="*/ 716059 w 1046881"/>
                <a:gd name="connsiteY214" fmla="*/ 870848 h 1043557"/>
                <a:gd name="connsiteX215" fmla="*/ 712299 w 1046881"/>
                <a:gd name="connsiteY215" fmla="*/ 867246 h 1043557"/>
                <a:gd name="connsiteX216" fmla="*/ 711269 w 1046881"/>
                <a:gd name="connsiteY216" fmla="*/ 868803 h 1043557"/>
                <a:gd name="connsiteX217" fmla="*/ 713215 w 1046881"/>
                <a:gd name="connsiteY217" fmla="*/ 872677 h 1043557"/>
                <a:gd name="connsiteX218" fmla="*/ 715235 w 1046881"/>
                <a:gd name="connsiteY218" fmla="*/ 877131 h 1043557"/>
                <a:gd name="connsiteX219" fmla="*/ 712513 w 1046881"/>
                <a:gd name="connsiteY219" fmla="*/ 883037 h 1043557"/>
                <a:gd name="connsiteX220" fmla="*/ 706981 w 1046881"/>
                <a:gd name="connsiteY220" fmla="*/ 887888 h 1043557"/>
                <a:gd name="connsiteX221" fmla="*/ 703331 w 1046881"/>
                <a:gd name="connsiteY221" fmla="*/ 886700 h 1043557"/>
                <a:gd name="connsiteX222" fmla="*/ 697349 w 1046881"/>
                <a:gd name="connsiteY222" fmla="*/ 885227 h 1043557"/>
                <a:gd name="connsiteX223" fmla="*/ 694996 w 1046881"/>
                <a:gd name="connsiteY223" fmla="*/ 889246 h 1043557"/>
                <a:gd name="connsiteX224" fmla="*/ 696194 w 1046881"/>
                <a:gd name="connsiteY224" fmla="*/ 895264 h 1043557"/>
                <a:gd name="connsiteX225" fmla="*/ 698047 w 1046881"/>
                <a:gd name="connsiteY225" fmla="*/ 892143 h 1043557"/>
                <a:gd name="connsiteX226" fmla="*/ 699927 w 1046881"/>
                <a:gd name="connsiteY226" fmla="*/ 889226 h 1043557"/>
                <a:gd name="connsiteX227" fmla="*/ 702527 w 1046881"/>
                <a:gd name="connsiteY227" fmla="*/ 893396 h 1043557"/>
                <a:gd name="connsiteX228" fmla="*/ 698570 w 1046881"/>
                <a:gd name="connsiteY228" fmla="*/ 904008 h 1043557"/>
                <a:gd name="connsiteX229" fmla="*/ 692950 w 1046881"/>
                <a:gd name="connsiteY229" fmla="*/ 911334 h 1043557"/>
                <a:gd name="connsiteX230" fmla="*/ 689044 w 1046881"/>
                <a:gd name="connsiteY230" fmla="*/ 909762 h 1043557"/>
                <a:gd name="connsiteX231" fmla="*/ 681243 w 1046881"/>
                <a:gd name="connsiteY231" fmla="*/ 908527 h 1043557"/>
                <a:gd name="connsiteX232" fmla="*/ 676481 w 1046881"/>
                <a:gd name="connsiteY232" fmla="*/ 911404 h 1043557"/>
                <a:gd name="connsiteX233" fmla="*/ 684347 w 1046881"/>
                <a:gd name="connsiteY233" fmla="*/ 916551 h 1043557"/>
                <a:gd name="connsiteX234" fmla="*/ 688847 w 1046881"/>
                <a:gd name="connsiteY234" fmla="*/ 919259 h 1043557"/>
                <a:gd name="connsiteX235" fmla="*/ 679949 w 1046881"/>
                <a:gd name="connsiteY235" fmla="*/ 947376 h 1043557"/>
                <a:gd name="connsiteX236" fmla="*/ 677516 w 1046881"/>
                <a:gd name="connsiteY236" fmla="*/ 946063 h 1043557"/>
                <a:gd name="connsiteX237" fmla="*/ 675052 w 1046881"/>
                <a:gd name="connsiteY237" fmla="*/ 944512 h 1043557"/>
                <a:gd name="connsiteX238" fmla="*/ 669844 w 1046881"/>
                <a:gd name="connsiteY238" fmla="*/ 945817 h 1043557"/>
                <a:gd name="connsiteX239" fmla="*/ 667236 w 1046881"/>
                <a:gd name="connsiteY239" fmla="*/ 949453 h 1043557"/>
                <a:gd name="connsiteX240" fmla="*/ 677623 w 1046881"/>
                <a:gd name="connsiteY240" fmla="*/ 951600 h 1043557"/>
                <a:gd name="connsiteX241" fmla="*/ 681760 w 1046881"/>
                <a:gd name="connsiteY241" fmla="*/ 950227 h 1043557"/>
                <a:gd name="connsiteX242" fmla="*/ 685390 w 1046881"/>
                <a:gd name="connsiteY242" fmla="*/ 952840 h 1043557"/>
                <a:gd name="connsiteX243" fmla="*/ 681844 w 1046881"/>
                <a:gd name="connsiteY243" fmla="*/ 965028 h 1043557"/>
                <a:gd name="connsiteX244" fmla="*/ 677303 w 1046881"/>
                <a:gd name="connsiteY244" fmla="*/ 971172 h 1043557"/>
                <a:gd name="connsiteX245" fmla="*/ 680220 w 1046881"/>
                <a:gd name="connsiteY245" fmla="*/ 973045 h 1043557"/>
                <a:gd name="connsiteX246" fmla="*/ 682966 w 1046881"/>
                <a:gd name="connsiteY246" fmla="*/ 975185 h 1043557"/>
                <a:gd name="connsiteX247" fmla="*/ 681585 w 1046881"/>
                <a:gd name="connsiteY247" fmla="*/ 977204 h 1043557"/>
                <a:gd name="connsiteX248" fmla="*/ 680312 w 1046881"/>
                <a:gd name="connsiteY248" fmla="*/ 980041 h 1043557"/>
                <a:gd name="connsiteX249" fmla="*/ 683443 w 1046881"/>
                <a:gd name="connsiteY249" fmla="*/ 983552 h 1043557"/>
                <a:gd name="connsiteX250" fmla="*/ 688091 w 1046881"/>
                <a:gd name="connsiteY250" fmla="*/ 992380 h 1043557"/>
                <a:gd name="connsiteX251" fmla="*/ 689758 w 1046881"/>
                <a:gd name="connsiteY251" fmla="*/ 1000419 h 1043557"/>
                <a:gd name="connsiteX252" fmla="*/ 691535 w 1046881"/>
                <a:gd name="connsiteY252" fmla="*/ 1006153 h 1043557"/>
                <a:gd name="connsiteX253" fmla="*/ 696126 w 1046881"/>
                <a:gd name="connsiteY253" fmla="*/ 1017695 h 1043557"/>
                <a:gd name="connsiteX254" fmla="*/ 699360 w 1046881"/>
                <a:gd name="connsiteY254" fmla="*/ 1021990 h 1043557"/>
                <a:gd name="connsiteX255" fmla="*/ 701838 w 1046881"/>
                <a:gd name="connsiteY255" fmla="*/ 1026800 h 1043557"/>
                <a:gd name="connsiteX256" fmla="*/ 700732 w 1046881"/>
                <a:gd name="connsiteY256" fmla="*/ 1030657 h 1043557"/>
                <a:gd name="connsiteX257" fmla="*/ 699410 w 1046881"/>
                <a:gd name="connsiteY257" fmla="*/ 1034957 h 1043557"/>
                <a:gd name="connsiteX258" fmla="*/ 700859 w 1046881"/>
                <a:gd name="connsiteY258" fmla="*/ 1036606 h 1043557"/>
                <a:gd name="connsiteX259" fmla="*/ 702974 w 1046881"/>
                <a:gd name="connsiteY259" fmla="*/ 1033659 h 1043557"/>
                <a:gd name="connsiteX260" fmla="*/ 705056 w 1046881"/>
                <a:gd name="connsiteY260" fmla="*/ 1030716 h 1043557"/>
                <a:gd name="connsiteX261" fmla="*/ 709446 w 1046881"/>
                <a:gd name="connsiteY261" fmla="*/ 1037566 h 1043557"/>
                <a:gd name="connsiteX262" fmla="*/ 698312 w 1046881"/>
                <a:gd name="connsiteY262" fmla="*/ 1042282 h 1043557"/>
                <a:gd name="connsiteX263" fmla="*/ 693542 w 1046881"/>
                <a:gd name="connsiteY263" fmla="*/ 1043529 h 1043557"/>
                <a:gd name="connsiteX264" fmla="*/ 687990 w 1046881"/>
                <a:gd name="connsiteY264" fmla="*/ 1040370 h 1043557"/>
                <a:gd name="connsiteX265" fmla="*/ 678999 w 1046881"/>
                <a:gd name="connsiteY265" fmla="*/ 1034745 h 1043557"/>
                <a:gd name="connsiteX266" fmla="*/ 672688 w 1046881"/>
                <a:gd name="connsiteY266" fmla="*/ 1032067 h 1043557"/>
                <a:gd name="connsiteX267" fmla="*/ 645386 w 1046881"/>
                <a:gd name="connsiteY267" fmla="*/ 1034177 h 1043557"/>
                <a:gd name="connsiteX268" fmla="*/ 637620 w 1046881"/>
                <a:gd name="connsiteY268" fmla="*/ 1030058 h 1043557"/>
                <a:gd name="connsiteX269" fmla="*/ 631438 w 1046881"/>
                <a:gd name="connsiteY269" fmla="*/ 1023650 h 1043557"/>
                <a:gd name="connsiteX270" fmla="*/ 625719 w 1046881"/>
                <a:gd name="connsiteY270" fmla="*/ 1022351 h 1043557"/>
                <a:gd name="connsiteX271" fmla="*/ 619729 w 1046881"/>
                <a:gd name="connsiteY271" fmla="*/ 1023967 h 1043557"/>
                <a:gd name="connsiteX272" fmla="*/ 616286 w 1046881"/>
                <a:gd name="connsiteY272" fmla="*/ 1022786 h 1043557"/>
                <a:gd name="connsiteX273" fmla="*/ 612117 w 1046881"/>
                <a:gd name="connsiteY273" fmla="*/ 1019203 h 1043557"/>
                <a:gd name="connsiteX274" fmla="*/ 599158 w 1046881"/>
                <a:gd name="connsiteY274" fmla="*/ 1017809 h 1043557"/>
                <a:gd name="connsiteX275" fmla="*/ 594928 w 1046881"/>
                <a:gd name="connsiteY275" fmla="*/ 1016904 h 1043557"/>
                <a:gd name="connsiteX276" fmla="*/ 592934 w 1046881"/>
                <a:gd name="connsiteY276" fmla="*/ 1012655 h 1043557"/>
                <a:gd name="connsiteX277" fmla="*/ 590166 w 1046881"/>
                <a:gd name="connsiteY277" fmla="*/ 1010346 h 1043557"/>
                <a:gd name="connsiteX278" fmla="*/ 587451 w 1046881"/>
                <a:gd name="connsiteY278" fmla="*/ 1008446 h 1043557"/>
                <a:gd name="connsiteX279" fmla="*/ 583622 w 1046881"/>
                <a:gd name="connsiteY279" fmla="*/ 993301 h 1043557"/>
                <a:gd name="connsiteX280" fmla="*/ 574780 w 1046881"/>
                <a:gd name="connsiteY280" fmla="*/ 982523 h 1043557"/>
                <a:gd name="connsiteX281" fmla="*/ 567217 w 1046881"/>
                <a:gd name="connsiteY281" fmla="*/ 973416 h 1043557"/>
                <a:gd name="connsiteX282" fmla="*/ 566752 w 1046881"/>
                <a:gd name="connsiteY282" fmla="*/ 966713 h 1043557"/>
                <a:gd name="connsiteX283" fmla="*/ 566996 w 1046881"/>
                <a:gd name="connsiteY283" fmla="*/ 960714 h 1043557"/>
                <a:gd name="connsiteX284" fmla="*/ 563873 w 1046881"/>
                <a:gd name="connsiteY284" fmla="*/ 958833 h 1043557"/>
                <a:gd name="connsiteX285" fmla="*/ 562592 w 1046881"/>
                <a:gd name="connsiteY285" fmla="*/ 955323 h 1043557"/>
                <a:gd name="connsiteX286" fmla="*/ 562782 w 1046881"/>
                <a:gd name="connsiteY286" fmla="*/ 948915 h 1043557"/>
                <a:gd name="connsiteX287" fmla="*/ 560662 w 1046881"/>
                <a:gd name="connsiteY287" fmla="*/ 945272 h 1043557"/>
                <a:gd name="connsiteX288" fmla="*/ 555079 w 1046881"/>
                <a:gd name="connsiteY288" fmla="*/ 937156 h 1043557"/>
                <a:gd name="connsiteX289" fmla="*/ 547629 w 1046881"/>
                <a:gd name="connsiteY289" fmla="*/ 935458 h 1043557"/>
                <a:gd name="connsiteX290" fmla="*/ 542275 w 1046881"/>
                <a:gd name="connsiteY290" fmla="*/ 927520 h 1043557"/>
                <a:gd name="connsiteX291" fmla="*/ 535865 w 1046881"/>
                <a:gd name="connsiteY291" fmla="*/ 916216 h 1043557"/>
                <a:gd name="connsiteX292" fmla="*/ 523400 w 1046881"/>
                <a:gd name="connsiteY292" fmla="*/ 904455 h 1043557"/>
                <a:gd name="connsiteX293" fmla="*/ 511396 w 1046881"/>
                <a:gd name="connsiteY293" fmla="*/ 895963 h 1043557"/>
                <a:gd name="connsiteX294" fmla="*/ 508044 w 1046881"/>
                <a:gd name="connsiteY294" fmla="*/ 889186 h 1043557"/>
                <a:gd name="connsiteX295" fmla="*/ 505276 w 1046881"/>
                <a:gd name="connsiteY295" fmla="*/ 879279 h 1043557"/>
                <a:gd name="connsiteX296" fmla="*/ 500273 w 1046881"/>
                <a:gd name="connsiteY296" fmla="*/ 870879 h 1043557"/>
                <a:gd name="connsiteX297" fmla="*/ 493351 w 1046881"/>
                <a:gd name="connsiteY297" fmla="*/ 858809 h 1043557"/>
                <a:gd name="connsiteX298" fmla="*/ 486308 w 1046881"/>
                <a:gd name="connsiteY298" fmla="*/ 847380 h 1043557"/>
                <a:gd name="connsiteX299" fmla="*/ 480833 w 1046881"/>
                <a:gd name="connsiteY299" fmla="*/ 841921 h 1043557"/>
                <a:gd name="connsiteX300" fmla="*/ 476032 w 1046881"/>
                <a:gd name="connsiteY300" fmla="*/ 833494 h 1043557"/>
                <a:gd name="connsiteX301" fmla="*/ 469492 w 1046881"/>
                <a:gd name="connsiteY301" fmla="*/ 825919 h 1043557"/>
                <a:gd name="connsiteX302" fmla="*/ 456593 w 1046881"/>
                <a:gd name="connsiteY302" fmla="*/ 817128 h 1043557"/>
                <a:gd name="connsiteX303" fmla="*/ 444322 w 1046881"/>
                <a:gd name="connsiteY303" fmla="*/ 806590 h 1043557"/>
                <a:gd name="connsiteX304" fmla="*/ 437176 w 1046881"/>
                <a:gd name="connsiteY304" fmla="*/ 799094 h 1043557"/>
                <a:gd name="connsiteX305" fmla="*/ 432691 w 1046881"/>
                <a:gd name="connsiteY305" fmla="*/ 794928 h 1043557"/>
                <a:gd name="connsiteX306" fmla="*/ 424006 w 1046881"/>
                <a:gd name="connsiteY306" fmla="*/ 800815 h 1043557"/>
                <a:gd name="connsiteX307" fmla="*/ 417534 w 1046881"/>
                <a:gd name="connsiteY307" fmla="*/ 796909 h 1043557"/>
                <a:gd name="connsiteX308" fmla="*/ 407773 w 1046881"/>
                <a:gd name="connsiteY308" fmla="*/ 797976 h 1043557"/>
                <a:gd name="connsiteX309" fmla="*/ 400834 w 1046881"/>
                <a:gd name="connsiteY309" fmla="*/ 799923 h 1043557"/>
                <a:gd name="connsiteX310" fmla="*/ 389208 w 1046881"/>
                <a:gd name="connsiteY310" fmla="*/ 793013 h 1043557"/>
                <a:gd name="connsiteX311" fmla="*/ 377883 w 1046881"/>
                <a:gd name="connsiteY311" fmla="*/ 802298 h 1043557"/>
                <a:gd name="connsiteX312" fmla="*/ 370231 w 1046881"/>
                <a:gd name="connsiteY312" fmla="*/ 805345 h 1043557"/>
                <a:gd name="connsiteX313" fmla="*/ 364515 w 1046881"/>
                <a:gd name="connsiteY313" fmla="*/ 813516 h 1043557"/>
                <a:gd name="connsiteX314" fmla="*/ 355720 w 1046881"/>
                <a:gd name="connsiteY314" fmla="*/ 832981 h 1043557"/>
                <a:gd name="connsiteX315" fmla="*/ 345463 w 1046881"/>
                <a:gd name="connsiteY315" fmla="*/ 852014 h 1043557"/>
                <a:gd name="connsiteX316" fmla="*/ 338989 w 1046881"/>
                <a:gd name="connsiteY316" fmla="*/ 857786 h 1043557"/>
                <a:gd name="connsiteX317" fmla="*/ 331989 w 1046881"/>
                <a:gd name="connsiteY317" fmla="*/ 857695 h 1043557"/>
                <a:gd name="connsiteX318" fmla="*/ 324595 w 1046881"/>
                <a:gd name="connsiteY318" fmla="*/ 853284 h 1043557"/>
                <a:gd name="connsiteX319" fmla="*/ 320366 w 1046881"/>
                <a:gd name="connsiteY319" fmla="*/ 847662 h 1043557"/>
                <a:gd name="connsiteX320" fmla="*/ 314848 w 1046881"/>
                <a:gd name="connsiteY320" fmla="*/ 846336 h 1043557"/>
                <a:gd name="connsiteX321" fmla="*/ 309567 w 1046881"/>
                <a:gd name="connsiteY321" fmla="*/ 846818 h 1043557"/>
                <a:gd name="connsiteX322" fmla="*/ 303169 w 1046881"/>
                <a:gd name="connsiteY322" fmla="*/ 839016 h 1043557"/>
                <a:gd name="connsiteX323" fmla="*/ 298345 w 1046881"/>
                <a:gd name="connsiteY323" fmla="*/ 839855 h 1043557"/>
                <a:gd name="connsiteX324" fmla="*/ 291062 w 1046881"/>
                <a:gd name="connsiteY324" fmla="*/ 839176 h 1043557"/>
                <a:gd name="connsiteX325" fmla="*/ 284443 w 1046881"/>
                <a:gd name="connsiteY325" fmla="*/ 830987 h 1043557"/>
                <a:gd name="connsiteX326" fmla="*/ 275741 w 1046881"/>
                <a:gd name="connsiteY326" fmla="*/ 822862 h 1043557"/>
                <a:gd name="connsiteX327" fmla="*/ 257012 w 1046881"/>
                <a:gd name="connsiteY327" fmla="*/ 807201 h 1043557"/>
                <a:gd name="connsiteX328" fmla="*/ 251493 w 1046881"/>
                <a:gd name="connsiteY328" fmla="*/ 783847 h 1043557"/>
                <a:gd name="connsiteX329" fmla="*/ 249178 w 1046881"/>
                <a:gd name="connsiteY329" fmla="*/ 777143 h 1043557"/>
                <a:gd name="connsiteX330" fmla="*/ 244133 w 1046881"/>
                <a:gd name="connsiteY330" fmla="*/ 769997 h 1043557"/>
                <a:gd name="connsiteX331" fmla="*/ 240735 w 1046881"/>
                <a:gd name="connsiteY331" fmla="*/ 759721 h 1043557"/>
                <a:gd name="connsiteX332" fmla="*/ 237353 w 1046881"/>
                <a:gd name="connsiteY332" fmla="*/ 751144 h 1043557"/>
                <a:gd name="connsiteX333" fmla="*/ 220873 w 1046881"/>
                <a:gd name="connsiteY333" fmla="*/ 740115 h 1043557"/>
                <a:gd name="connsiteX334" fmla="*/ 204289 w 1046881"/>
                <a:gd name="connsiteY334" fmla="*/ 728302 h 1043557"/>
                <a:gd name="connsiteX335" fmla="*/ 195454 w 1046881"/>
                <a:gd name="connsiteY335" fmla="*/ 717315 h 1043557"/>
                <a:gd name="connsiteX336" fmla="*/ 185697 w 1046881"/>
                <a:gd name="connsiteY336" fmla="*/ 705824 h 1043557"/>
                <a:gd name="connsiteX337" fmla="*/ 171504 w 1046881"/>
                <a:gd name="connsiteY337" fmla="*/ 699458 h 1043557"/>
                <a:gd name="connsiteX338" fmla="*/ 160156 w 1046881"/>
                <a:gd name="connsiteY338" fmla="*/ 688383 h 1043557"/>
                <a:gd name="connsiteX339" fmla="*/ 150856 w 1046881"/>
                <a:gd name="connsiteY339" fmla="*/ 675410 h 1043557"/>
                <a:gd name="connsiteX340" fmla="*/ 143062 w 1046881"/>
                <a:gd name="connsiteY340" fmla="*/ 671086 h 1043557"/>
                <a:gd name="connsiteX341" fmla="*/ 136420 w 1046881"/>
                <a:gd name="connsiteY341" fmla="*/ 659498 h 1043557"/>
                <a:gd name="connsiteX342" fmla="*/ 136190 w 1046881"/>
                <a:gd name="connsiteY342" fmla="*/ 659498 h 1043557"/>
                <a:gd name="connsiteX343" fmla="*/ 141544 w 1046881"/>
                <a:gd name="connsiteY343" fmla="*/ 668812 h 1043557"/>
                <a:gd name="connsiteX344" fmla="*/ 50003 w 1046881"/>
                <a:gd name="connsiteY344" fmla="*/ 668017 h 1043557"/>
                <a:gd name="connsiteX345" fmla="*/ 47288 w 1046881"/>
                <a:gd name="connsiteY345" fmla="*/ 700870 h 1043557"/>
                <a:gd name="connsiteX346" fmla="*/ 0 w 1046881"/>
                <a:gd name="connsiteY346" fmla="*/ 699846 h 1043557"/>
                <a:gd name="connsiteX347" fmla="*/ 5742 w 1046881"/>
                <a:gd name="connsiteY347" fmla="*/ 310383 h 1043557"/>
                <a:gd name="connsiteX348" fmla="*/ 7002 w 1046881"/>
                <a:gd name="connsiteY348" fmla="*/ 310391 h 1043557"/>
                <a:gd name="connsiteX349" fmla="*/ 9852 w 1046881"/>
                <a:gd name="connsiteY349" fmla="*/ 38008 h 1043557"/>
                <a:gd name="connsiteX0" fmla="*/ 998204 w 1046881"/>
                <a:gd name="connsiteY0" fmla="*/ 286410 h 1043557"/>
                <a:gd name="connsiteX1" fmla="*/ 998449 w 1046881"/>
                <a:gd name="connsiteY1" fmla="*/ 285862 h 1043557"/>
                <a:gd name="connsiteX2" fmla="*/ 998204 w 1046881"/>
                <a:gd name="connsiteY2" fmla="*/ 286340 h 1043557"/>
                <a:gd name="connsiteX3" fmla="*/ 998204 w 1046881"/>
                <a:gd name="connsiteY3" fmla="*/ 286410 h 1043557"/>
                <a:gd name="connsiteX4" fmla="*/ 721538 w 1046881"/>
                <a:gd name="connsiteY4" fmla="*/ 82028 h 1043557"/>
                <a:gd name="connsiteX5" fmla="*/ 719542 w 1046881"/>
                <a:gd name="connsiteY5" fmla="*/ 84784 h 1043557"/>
                <a:gd name="connsiteX6" fmla="*/ 719411 w 1046881"/>
                <a:gd name="connsiteY6" fmla="*/ 85010 h 1043557"/>
                <a:gd name="connsiteX7" fmla="*/ 721556 w 1046881"/>
                <a:gd name="connsiteY7" fmla="*/ 82039 h 1043557"/>
                <a:gd name="connsiteX8" fmla="*/ 721538 w 1046881"/>
                <a:gd name="connsiteY8" fmla="*/ 82028 h 1043557"/>
                <a:gd name="connsiteX9" fmla="*/ 9852 w 1046881"/>
                <a:gd name="connsiteY9" fmla="*/ 38008 h 1043557"/>
                <a:gd name="connsiteX10" fmla="*/ 83022 w 1046881"/>
                <a:gd name="connsiteY10" fmla="*/ 38941 h 1043557"/>
                <a:gd name="connsiteX11" fmla="*/ 261203 w 1046881"/>
                <a:gd name="connsiteY11" fmla="*/ 35587 h 1043557"/>
                <a:gd name="connsiteX12" fmla="*/ 357880 w 1046881"/>
                <a:gd name="connsiteY12" fmla="*/ 30573 h 1043557"/>
                <a:gd name="connsiteX13" fmla="*/ 362042 w 1046881"/>
                <a:gd name="connsiteY13" fmla="*/ 95017 h 1043557"/>
                <a:gd name="connsiteX14" fmla="*/ 387674 w 1046881"/>
                <a:gd name="connsiteY14" fmla="*/ 94887 h 1043557"/>
                <a:gd name="connsiteX15" fmla="*/ 459061 w 1046881"/>
                <a:gd name="connsiteY15" fmla="*/ 92743 h 1043557"/>
                <a:gd name="connsiteX16" fmla="*/ 696362 w 1046881"/>
                <a:gd name="connsiteY16" fmla="*/ 68270 h 1043557"/>
                <a:gd name="connsiteX17" fmla="*/ 695276 w 1046881"/>
                <a:gd name="connsiteY17" fmla="*/ 66765 h 1043557"/>
                <a:gd name="connsiteX18" fmla="*/ 688988 w 1046881"/>
                <a:gd name="connsiteY18" fmla="*/ 57924 h 1043557"/>
                <a:gd name="connsiteX19" fmla="*/ 685468 w 1046881"/>
                <a:gd name="connsiteY19" fmla="*/ 53037 h 1043557"/>
                <a:gd name="connsiteX20" fmla="*/ 681682 w 1046881"/>
                <a:gd name="connsiteY20" fmla="*/ 49216 h 1043557"/>
                <a:gd name="connsiteX21" fmla="*/ 679085 w 1046881"/>
                <a:gd name="connsiteY21" fmla="*/ 43589 h 1043557"/>
                <a:gd name="connsiteX22" fmla="*/ 676819 w 1046881"/>
                <a:gd name="connsiteY22" fmla="*/ 38759 h 1043557"/>
                <a:gd name="connsiteX23" fmla="*/ 673089 w 1046881"/>
                <a:gd name="connsiteY23" fmla="*/ 36979 h 1043557"/>
                <a:gd name="connsiteX24" fmla="*/ 670969 w 1046881"/>
                <a:gd name="connsiteY24" fmla="*/ 31908 h 1043557"/>
                <a:gd name="connsiteX25" fmla="*/ 670335 w 1046881"/>
                <a:gd name="connsiteY25" fmla="*/ 30150 h 1043557"/>
                <a:gd name="connsiteX26" fmla="*/ 742429 w 1046881"/>
                <a:gd name="connsiteY26" fmla="*/ 22983 h 1043557"/>
                <a:gd name="connsiteX27" fmla="*/ 868019 w 1046881"/>
                <a:gd name="connsiteY27" fmla="*/ 0 h 1043557"/>
                <a:gd name="connsiteX28" fmla="*/ 870170 w 1046881"/>
                <a:gd name="connsiteY28" fmla="*/ 3829 h 1043557"/>
                <a:gd name="connsiteX29" fmla="*/ 875839 w 1046881"/>
                <a:gd name="connsiteY29" fmla="*/ 7816 h 1043557"/>
                <a:gd name="connsiteX30" fmla="*/ 881121 w 1046881"/>
                <a:gd name="connsiteY30" fmla="*/ 12061 h 1043557"/>
                <a:gd name="connsiteX31" fmla="*/ 886197 w 1046881"/>
                <a:gd name="connsiteY31" fmla="*/ 16332 h 1043557"/>
                <a:gd name="connsiteX32" fmla="*/ 885534 w 1046881"/>
                <a:gd name="connsiteY32" fmla="*/ 22164 h 1043557"/>
                <a:gd name="connsiteX33" fmla="*/ 887205 w 1046881"/>
                <a:gd name="connsiteY33" fmla="*/ 33464 h 1043557"/>
                <a:gd name="connsiteX34" fmla="*/ 887603 w 1046881"/>
                <a:gd name="connsiteY34" fmla="*/ 41219 h 1043557"/>
                <a:gd name="connsiteX35" fmla="*/ 898693 w 1046881"/>
                <a:gd name="connsiteY35" fmla="*/ 56828 h 1043557"/>
                <a:gd name="connsiteX36" fmla="*/ 921957 w 1046881"/>
                <a:gd name="connsiteY36" fmla="*/ 75780 h 1043557"/>
                <a:gd name="connsiteX37" fmla="*/ 931672 w 1046881"/>
                <a:gd name="connsiteY37" fmla="*/ 83967 h 1043557"/>
                <a:gd name="connsiteX38" fmla="*/ 938373 w 1046881"/>
                <a:gd name="connsiteY38" fmla="*/ 92754 h 1043557"/>
                <a:gd name="connsiteX39" fmla="*/ 939227 w 1046881"/>
                <a:gd name="connsiteY39" fmla="*/ 102512 h 1043557"/>
                <a:gd name="connsiteX40" fmla="*/ 946842 w 1046881"/>
                <a:gd name="connsiteY40" fmla="*/ 107262 h 1043557"/>
                <a:gd name="connsiteX41" fmla="*/ 953870 w 1046881"/>
                <a:gd name="connsiteY41" fmla="*/ 101203 h 1043557"/>
                <a:gd name="connsiteX42" fmla="*/ 962977 w 1046881"/>
                <a:gd name="connsiteY42" fmla="*/ 104741 h 1043557"/>
                <a:gd name="connsiteX43" fmla="*/ 967861 w 1046881"/>
                <a:gd name="connsiteY43" fmla="*/ 112131 h 1043557"/>
                <a:gd name="connsiteX44" fmla="*/ 965336 w 1046881"/>
                <a:gd name="connsiteY44" fmla="*/ 129106 h 1043557"/>
                <a:gd name="connsiteX45" fmla="*/ 962303 w 1046881"/>
                <a:gd name="connsiteY45" fmla="*/ 143688 h 1043557"/>
                <a:gd name="connsiteX46" fmla="*/ 967061 w 1046881"/>
                <a:gd name="connsiteY46" fmla="*/ 153333 h 1043557"/>
                <a:gd name="connsiteX47" fmla="*/ 971160 w 1046881"/>
                <a:gd name="connsiteY47" fmla="*/ 157938 h 1043557"/>
                <a:gd name="connsiteX48" fmla="*/ 975462 w 1046881"/>
                <a:gd name="connsiteY48" fmla="*/ 160881 h 1043557"/>
                <a:gd name="connsiteX49" fmla="*/ 975885 w 1046881"/>
                <a:gd name="connsiteY49" fmla="*/ 161018 h 1043557"/>
                <a:gd name="connsiteX50" fmla="*/ 981899 w 1046881"/>
                <a:gd name="connsiteY50" fmla="*/ 164548 h 1043557"/>
                <a:gd name="connsiteX51" fmla="*/ 989409 w 1046881"/>
                <a:gd name="connsiteY51" fmla="*/ 168501 h 1043557"/>
                <a:gd name="connsiteX52" fmla="*/ 992927 w 1046881"/>
                <a:gd name="connsiteY52" fmla="*/ 168660 h 1043557"/>
                <a:gd name="connsiteX53" fmla="*/ 1001478 w 1046881"/>
                <a:gd name="connsiteY53" fmla="*/ 171033 h 1043557"/>
                <a:gd name="connsiteX54" fmla="*/ 1004788 w 1046881"/>
                <a:gd name="connsiteY54" fmla="*/ 174313 h 1043557"/>
                <a:gd name="connsiteX55" fmla="*/ 1011624 w 1046881"/>
                <a:gd name="connsiteY55" fmla="*/ 177942 h 1043557"/>
                <a:gd name="connsiteX56" fmla="*/ 1015928 w 1046881"/>
                <a:gd name="connsiteY56" fmla="*/ 185599 h 1043557"/>
                <a:gd name="connsiteX57" fmla="*/ 1020241 w 1046881"/>
                <a:gd name="connsiteY57" fmla="*/ 193461 h 1043557"/>
                <a:gd name="connsiteX58" fmla="*/ 1023417 w 1046881"/>
                <a:gd name="connsiteY58" fmla="*/ 198805 h 1043557"/>
                <a:gd name="connsiteX59" fmla="*/ 1021536 w 1046881"/>
                <a:gd name="connsiteY59" fmla="*/ 203367 h 1043557"/>
                <a:gd name="connsiteX60" fmla="*/ 1019521 w 1046881"/>
                <a:gd name="connsiteY60" fmla="*/ 209994 h 1043557"/>
                <a:gd name="connsiteX61" fmla="*/ 1026248 w 1046881"/>
                <a:gd name="connsiteY61" fmla="*/ 218984 h 1043557"/>
                <a:gd name="connsiteX62" fmla="*/ 1034011 w 1046881"/>
                <a:gd name="connsiteY62" fmla="*/ 224746 h 1043557"/>
                <a:gd name="connsiteX63" fmla="*/ 1039951 w 1046881"/>
                <a:gd name="connsiteY63" fmla="*/ 221509 h 1043557"/>
                <a:gd name="connsiteX64" fmla="*/ 1044310 w 1046881"/>
                <a:gd name="connsiteY64" fmla="*/ 226493 h 1043557"/>
                <a:gd name="connsiteX65" fmla="*/ 1046459 w 1046881"/>
                <a:gd name="connsiteY65" fmla="*/ 233401 h 1043557"/>
                <a:gd name="connsiteX66" fmla="*/ 1046881 w 1046881"/>
                <a:gd name="connsiteY66" fmla="*/ 236630 h 1043557"/>
                <a:gd name="connsiteX67" fmla="*/ 1043947 w 1046881"/>
                <a:gd name="connsiteY67" fmla="*/ 237839 h 1043557"/>
                <a:gd name="connsiteX68" fmla="*/ 1044642 w 1046881"/>
                <a:gd name="connsiteY68" fmla="*/ 246380 h 1043557"/>
                <a:gd name="connsiteX69" fmla="*/ 1037396 w 1046881"/>
                <a:gd name="connsiteY69" fmla="*/ 252261 h 1043557"/>
                <a:gd name="connsiteX70" fmla="*/ 1034407 w 1046881"/>
                <a:gd name="connsiteY70" fmla="*/ 256143 h 1043557"/>
                <a:gd name="connsiteX71" fmla="*/ 1032571 w 1046881"/>
                <a:gd name="connsiteY71" fmla="*/ 257827 h 1043557"/>
                <a:gd name="connsiteX72" fmla="*/ 1029775 w 1046881"/>
                <a:gd name="connsiteY72" fmla="*/ 258605 h 1043557"/>
                <a:gd name="connsiteX73" fmla="*/ 1028069 w 1046881"/>
                <a:gd name="connsiteY73" fmla="*/ 261287 h 1043557"/>
                <a:gd name="connsiteX74" fmla="*/ 1024212 w 1046881"/>
                <a:gd name="connsiteY74" fmla="*/ 293904 h 1043557"/>
                <a:gd name="connsiteX75" fmla="*/ 1025408 w 1046881"/>
                <a:gd name="connsiteY75" fmla="*/ 293644 h 1043557"/>
                <a:gd name="connsiteX76" fmla="*/ 1025512 w 1046881"/>
                <a:gd name="connsiteY76" fmla="*/ 294438 h 1043557"/>
                <a:gd name="connsiteX77" fmla="*/ 1026902 w 1046881"/>
                <a:gd name="connsiteY77" fmla="*/ 297140 h 1043557"/>
                <a:gd name="connsiteX78" fmla="*/ 1025162 w 1046881"/>
                <a:gd name="connsiteY78" fmla="*/ 307451 h 1043557"/>
                <a:gd name="connsiteX79" fmla="*/ 1019870 w 1046881"/>
                <a:gd name="connsiteY79" fmla="*/ 314303 h 1043557"/>
                <a:gd name="connsiteX80" fmla="*/ 1019330 w 1046881"/>
                <a:gd name="connsiteY80" fmla="*/ 316438 h 1043557"/>
                <a:gd name="connsiteX81" fmla="*/ 1020478 w 1046881"/>
                <a:gd name="connsiteY81" fmla="*/ 318953 h 1043557"/>
                <a:gd name="connsiteX82" fmla="*/ 1021614 w 1046881"/>
                <a:gd name="connsiteY82" fmla="*/ 321273 h 1043557"/>
                <a:gd name="connsiteX83" fmla="*/ 1018437 w 1046881"/>
                <a:gd name="connsiteY83" fmla="*/ 325392 h 1043557"/>
                <a:gd name="connsiteX84" fmla="*/ 1014895 w 1046881"/>
                <a:gd name="connsiteY84" fmla="*/ 329754 h 1043557"/>
                <a:gd name="connsiteX85" fmla="*/ 1011459 w 1046881"/>
                <a:gd name="connsiteY85" fmla="*/ 334933 h 1043557"/>
                <a:gd name="connsiteX86" fmla="*/ 1009088 w 1046881"/>
                <a:gd name="connsiteY86" fmla="*/ 338945 h 1043557"/>
                <a:gd name="connsiteX87" fmla="*/ 1012944 w 1046881"/>
                <a:gd name="connsiteY87" fmla="*/ 344821 h 1043557"/>
                <a:gd name="connsiteX88" fmla="*/ 1017240 w 1046881"/>
                <a:gd name="connsiteY88" fmla="*/ 350836 h 1043557"/>
                <a:gd name="connsiteX89" fmla="*/ 1014555 w 1046881"/>
                <a:gd name="connsiteY89" fmla="*/ 357151 h 1043557"/>
                <a:gd name="connsiteX90" fmla="*/ 1010593 w 1046881"/>
                <a:gd name="connsiteY90" fmla="*/ 363010 h 1043557"/>
                <a:gd name="connsiteX91" fmla="*/ 1009849 w 1046881"/>
                <a:gd name="connsiteY91" fmla="*/ 365161 h 1043557"/>
                <a:gd name="connsiteX92" fmla="*/ 1009314 w 1046881"/>
                <a:gd name="connsiteY92" fmla="*/ 370572 h 1043557"/>
                <a:gd name="connsiteX93" fmla="*/ 1006966 w 1046881"/>
                <a:gd name="connsiteY93" fmla="*/ 376232 h 1043557"/>
                <a:gd name="connsiteX94" fmla="*/ 998563 w 1046881"/>
                <a:gd name="connsiteY94" fmla="*/ 387609 h 1043557"/>
                <a:gd name="connsiteX95" fmla="*/ 998168 w 1046881"/>
                <a:gd name="connsiteY95" fmla="*/ 401850 h 1043557"/>
                <a:gd name="connsiteX96" fmla="*/ 999230 w 1046881"/>
                <a:gd name="connsiteY96" fmla="*/ 408494 h 1043557"/>
                <a:gd name="connsiteX97" fmla="*/ 995391 w 1046881"/>
                <a:gd name="connsiteY97" fmla="*/ 413726 h 1043557"/>
                <a:gd name="connsiteX98" fmla="*/ 990223 w 1046881"/>
                <a:gd name="connsiteY98" fmla="*/ 418300 h 1043557"/>
                <a:gd name="connsiteX99" fmla="*/ 985699 w 1046881"/>
                <a:gd name="connsiteY99" fmla="*/ 424660 h 1043557"/>
                <a:gd name="connsiteX100" fmla="*/ 983552 w 1046881"/>
                <a:gd name="connsiteY100" fmla="*/ 430282 h 1043557"/>
                <a:gd name="connsiteX101" fmla="*/ 985818 w 1046881"/>
                <a:gd name="connsiteY101" fmla="*/ 438211 h 1043557"/>
                <a:gd name="connsiteX102" fmla="*/ 982898 w 1046881"/>
                <a:gd name="connsiteY102" fmla="*/ 441062 h 1043557"/>
                <a:gd name="connsiteX103" fmla="*/ 980829 w 1046881"/>
                <a:gd name="connsiteY103" fmla="*/ 447285 h 1043557"/>
                <a:gd name="connsiteX104" fmla="*/ 981920 w 1046881"/>
                <a:gd name="connsiteY104" fmla="*/ 452495 h 1043557"/>
                <a:gd name="connsiteX105" fmla="*/ 979586 w 1046881"/>
                <a:gd name="connsiteY105" fmla="*/ 456699 h 1043557"/>
                <a:gd name="connsiteX106" fmla="*/ 977965 w 1046881"/>
                <a:gd name="connsiteY106" fmla="*/ 461641 h 1043557"/>
                <a:gd name="connsiteX107" fmla="*/ 975685 w 1046881"/>
                <a:gd name="connsiteY107" fmla="*/ 466254 h 1043557"/>
                <a:gd name="connsiteX108" fmla="*/ 973862 w 1046881"/>
                <a:gd name="connsiteY108" fmla="*/ 471222 h 1043557"/>
                <a:gd name="connsiteX109" fmla="*/ 977202 w 1046881"/>
                <a:gd name="connsiteY109" fmla="*/ 479426 h 1043557"/>
                <a:gd name="connsiteX110" fmla="*/ 980504 w 1046881"/>
                <a:gd name="connsiteY110" fmla="*/ 485778 h 1043557"/>
                <a:gd name="connsiteX111" fmla="*/ 984718 w 1046881"/>
                <a:gd name="connsiteY111" fmla="*/ 492830 h 1043557"/>
                <a:gd name="connsiteX112" fmla="*/ 987057 w 1046881"/>
                <a:gd name="connsiteY112" fmla="*/ 498084 h 1043557"/>
                <a:gd name="connsiteX113" fmla="*/ 983990 w 1046881"/>
                <a:gd name="connsiteY113" fmla="*/ 506088 h 1043557"/>
                <a:gd name="connsiteX114" fmla="*/ 983436 w 1046881"/>
                <a:gd name="connsiteY114" fmla="*/ 508214 h 1043557"/>
                <a:gd name="connsiteX115" fmla="*/ 983058 w 1046881"/>
                <a:gd name="connsiteY115" fmla="*/ 510120 h 1043557"/>
                <a:gd name="connsiteX116" fmla="*/ 827992 w 1046881"/>
                <a:gd name="connsiteY116" fmla="*/ 534483 h 1043557"/>
                <a:gd name="connsiteX117" fmla="*/ 828366 w 1046881"/>
                <a:gd name="connsiteY117" fmla="*/ 537474 h 1043557"/>
                <a:gd name="connsiteX118" fmla="*/ 836967 w 1046881"/>
                <a:gd name="connsiteY118" fmla="*/ 604863 h 1043557"/>
                <a:gd name="connsiteX119" fmla="*/ 843324 w 1046881"/>
                <a:gd name="connsiteY119" fmla="*/ 609201 h 1043557"/>
                <a:gd name="connsiteX120" fmla="*/ 849802 w 1046881"/>
                <a:gd name="connsiteY120" fmla="*/ 614737 h 1043557"/>
                <a:gd name="connsiteX121" fmla="*/ 853157 w 1046881"/>
                <a:gd name="connsiteY121" fmla="*/ 623110 h 1043557"/>
                <a:gd name="connsiteX122" fmla="*/ 854931 w 1046881"/>
                <a:gd name="connsiteY122" fmla="*/ 631967 h 1043557"/>
                <a:gd name="connsiteX123" fmla="*/ 857647 w 1046881"/>
                <a:gd name="connsiteY123" fmla="*/ 633867 h 1043557"/>
                <a:gd name="connsiteX124" fmla="*/ 860697 w 1046881"/>
                <a:gd name="connsiteY124" fmla="*/ 636764 h 1043557"/>
                <a:gd name="connsiteX125" fmla="*/ 862847 w 1046881"/>
                <a:gd name="connsiteY125" fmla="*/ 640369 h 1043557"/>
                <a:gd name="connsiteX126" fmla="*/ 865303 w 1046881"/>
                <a:gd name="connsiteY126" fmla="*/ 645008 h 1043557"/>
                <a:gd name="connsiteX127" fmla="*/ 870051 w 1046881"/>
                <a:gd name="connsiteY127" fmla="*/ 653025 h 1043557"/>
                <a:gd name="connsiteX128" fmla="*/ 874531 w 1046881"/>
                <a:gd name="connsiteY128" fmla="*/ 658997 h 1043557"/>
                <a:gd name="connsiteX129" fmla="*/ 875851 w 1046881"/>
                <a:gd name="connsiteY129" fmla="*/ 681685 h 1043557"/>
                <a:gd name="connsiteX130" fmla="*/ 872946 w 1046881"/>
                <a:gd name="connsiteY130" fmla="*/ 690910 h 1043557"/>
                <a:gd name="connsiteX131" fmla="*/ 869839 w 1046881"/>
                <a:gd name="connsiteY131" fmla="*/ 702001 h 1043557"/>
                <a:gd name="connsiteX132" fmla="*/ 872169 w 1046881"/>
                <a:gd name="connsiteY132" fmla="*/ 707247 h 1043557"/>
                <a:gd name="connsiteX133" fmla="*/ 870316 w 1046881"/>
                <a:gd name="connsiteY133" fmla="*/ 710368 h 1043557"/>
                <a:gd name="connsiteX134" fmla="*/ 869134 w 1046881"/>
                <a:gd name="connsiteY134" fmla="*/ 715483 h 1043557"/>
                <a:gd name="connsiteX135" fmla="*/ 871666 w 1046881"/>
                <a:gd name="connsiteY135" fmla="*/ 720703 h 1043557"/>
                <a:gd name="connsiteX136" fmla="*/ 874190 w 1046881"/>
                <a:gd name="connsiteY136" fmla="*/ 727173 h 1043557"/>
                <a:gd name="connsiteX137" fmla="*/ 870767 w 1046881"/>
                <a:gd name="connsiteY137" fmla="*/ 740559 h 1043557"/>
                <a:gd name="connsiteX138" fmla="*/ 865779 w 1046881"/>
                <a:gd name="connsiteY138" fmla="*/ 752728 h 1043557"/>
                <a:gd name="connsiteX139" fmla="*/ 865577 w 1046881"/>
                <a:gd name="connsiteY139" fmla="*/ 752754 h 1043557"/>
                <a:gd name="connsiteX140" fmla="*/ 866916 w 1046881"/>
                <a:gd name="connsiteY140" fmla="*/ 756708 h 1043557"/>
                <a:gd name="connsiteX141" fmla="*/ 869738 w 1046881"/>
                <a:gd name="connsiteY141" fmla="*/ 759426 h 1043557"/>
                <a:gd name="connsiteX142" fmla="*/ 860381 w 1046881"/>
                <a:gd name="connsiteY142" fmla="*/ 763320 h 1043557"/>
                <a:gd name="connsiteX143" fmla="*/ 855058 w 1046881"/>
                <a:gd name="connsiteY143" fmla="*/ 766895 h 1043557"/>
                <a:gd name="connsiteX144" fmla="*/ 849541 w 1046881"/>
                <a:gd name="connsiteY144" fmla="*/ 770287 h 1043557"/>
                <a:gd name="connsiteX145" fmla="*/ 826641 w 1046881"/>
                <a:gd name="connsiteY145" fmla="*/ 787468 h 1043557"/>
                <a:gd name="connsiteX146" fmla="*/ 808960 w 1046881"/>
                <a:gd name="connsiteY146" fmla="*/ 807887 h 1043557"/>
                <a:gd name="connsiteX147" fmla="*/ 807714 w 1046881"/>
                <a:gd name="connsiteY147" fmla="*/ 808050 h 1043557"/>
                <a:gd name="connsiteX148" fmla="*/ 807356 w 1046881"/>
                <a:gd name="connsiteY148" fmla="*/ 806882 h 1043557"/>
                <a:gd name="connsiteX149" fmla="*/ 817787 w 1046881"/>
                <a:gd name="connsiteY149" fmla="*/ 790498 h 1043557"/>
                <a:gd name="connsiteX150" fmla="*/ 823690 w 1046881"/>
                <a:gd name="connsiteY150" fmla="*/ 783760 h 1043557"/>
                <a:gd name="connsiteX151" fmla="*/ 832078 w 1046881"/>
                <a:gd name="connsiteY151" fmla="*/ 776906 h 1043557"/>
                <a:gd name="connsiteX152" fmla="*/ 829923 w 1046881"/>
                <a:gd name="connsiteY152" fmla="*/ 776147 h 1043557"/>
                <a:gd name="connsiteX153" fmla="*/ 827201 w 1046881"/>
                <a:gd name="connsiteY153" fmla="*/ 777335 h 1043557"/>
                <a:gd name="connsiteX154" fmla="*/ 820822 w 1046881"/>
                <a:gd name="connsiteY154" fmla="*/ 777544 h 1043557"/>
                <a:gd name="connsiteX155" fmla="*/ 820635 w 1046881"/>
                <a:gd name="connsiteY155" fmla="*/ 771394 h 1043557"/>
                <a:gd name="connsiteX156" fmla="*/ 821485 w 1046881"/>
                <a:gd name="connsiteY156" fmla="*/ 765316 h 1043557"/>
                <a:gd name="connsiteX157" fmla="*/ 818507 w 1046881"/>
                <a:gd name="connsiteY157" fmla="*/ 761403 h 1043557"/>
                <a:gd name="connsiteX158" fmla="*/ 814762 w 1046881"/>
                <a:gd name="connsiteY158" fmla="*/ 765778 h 1043557"/>
                <a:gd name="connsiteX159" fmla="*/ 810038 w 1046881"/>
                <a:gd name="connsiteY159" fmla="*/ 770523 h 1043557"/>
                <a:gd name="connsiteX160" fmla="*/ 805169 w 1046881"/>
                <a:gd name="connsiteY160" fmla="*/ 769703 h 1043557"/>
                <a:gd name="connsiteX161" fmla="*/ 803350 w 1046881"/>
                <a:gd name="connsiteY161" fmla="*/ 769941 h 1043557"/>
                <a:gd name="connsiteX162" fmla="*/ 803389 w 1046881"/>
                <a:gd name="connsiteY162" fmla="*/ 771809 h 1043557"/>
                <a:gd name="connsiteX163" fmla="*/ 807659 w 1046881"/>
                <a:gd name="connsiteY163" fmla="*/ 779056 h 1043557"/>
                <a:gd name="connsiteX164" fmla="*/ 811335 w 1046881"/>
                <a:gd name="connsiteY164" fmla="*/ 785167 h 1043557"/>
                <a:gd name="connsiteX165" fmla="*/ 813108 w 1046881"/>
                <a:gd name="connsiteY165" fmla="*/ 786149 h 1043557"/>
                <a:gd name="connsiteX166" fmla="*/ 814870 w 1046881"/>
                <a:gd name="connsiteY166" fmla="*/ 788625 h 1043557"/>
                <a:gd name="connsiteX167" fmla="*/ 806028 w 1046881"/>
                <a:gd name="connsiteY167" fmla="*/ 804593 h 1043557"/>
                <a:gd name="connsiteX168" fmla="*/ 802425 w 1046881"/>
                <a:gd name="connsiteY168" fmla="*/ 806902 h 1043557"/>
                <a:gd name="connsiteX169" fmla="*/ 800728 w 1046881"/>
                <a:gd name="connsiteY169" fmla="*/ 811217 h 1043557"/>
                <a:gd name="connsiteX170" fmla="*/ 800328 w 1046881"/>
                <a:gd name="connsiteY170" fmla="*/ 816022 h 1043557"/>
                <a:gd name="connsiteX171" fmla="*/ 798253 w 1046881"/>
                <a:gd name="connsiteY171" fmla="*/ 820595 h 1043557"/>
                <a:gd name="connsiteX172" fmla="*/ 797701 w 1046881"/>
                <a:gd name="connsiteY172" fmla="*/ 821083 h 1043557"/>
                <a:gd name="connsiteX173" fmla="*/ 771095 w 1046881"/>
                <a:gd name="connsiteY173" fmla="*/ 839789 h 1043557"/>
                <a:gd name="connsiteX174" fmla="*/ 769578 w 1046881"/>
                <a:gd name="connsiteY174" fmla="*/ 839190 h 1043557"/>
                <a:gd name="connsiteX175" fmla="*/ 766035 w 1046881"/>
                <a:gd name="connsiteY175" fmla="*/ 838820 h 1043557"/>
                <a:gd name="connsiteX176" fmla="*/ 761925 w 1046881"/>
                <a:gd name="connsiteY176" fmla="*/ 840398 h 1043557"/>
                <a:gd name="connsiteX177" fmla="*/ 760071 w 1046881"/>
                <a:gd name="connsiteY177" fmla="*/ 843519 h 1043557"/>
                <a:gd name="connsiteX178" fmla="*/ 764719 w 1046881"/>
                <a:gd name="connsiteY178" fmla="*/ 842912 h 1043557"/>
                <a:gd name="connsiteX179" fmla="*/ 746112 w 1046881"/>
                <a:gd name="connsiteY179" fmla="*/ 858075 h 1043557"/>
                <a:gd name="connsiteX180" fmla="*/ 746207 w 1046881"/>
                <a:gd name="connsiteY180" fmla="*/ 857230 h 1043557"/>
                <a:gd name="connsiteX181" fmla="*/ 750006 w 1046881"/>
                <a:gd name="connsiteY181" fmla="*/ 853264 h 1043557"/>
                <a:gd name="connsiteX182" fmla="*/ 754715 w 1046881"/>
                <a:gd name="connsiteY182" fmla="*/ 849978 h 1043557"/>
                <a:gd name="connsiteX183" fmla="*/ 752331 w 1046881"/>
                <a:gd name="connsiteY183" fmla="*/ 849040 h 1043557"/>
                <a:gd name="connsiteX184" fmla="*/ 749327 w 1046881"/>
                <a:gd name="connsiteY184" fmla="*/ 849641 h 1043557"/>
                <a:gd name="connsiteX185" fmla="*/ 744038 w 1046881"/>
                <a:gd name="connsiteY185" fmla="*/ 848494 h 1043557"/>
                <a:gd name="connsiteX186" fmla="*/ 741243 w 1046881"/>
                <a:gd name="connsiteY186" fmla="*/ 845980 h 1043557"/>
                <a:gd name="connsiteX187" fmla="*/ 739378 w 1046881"/>
                <a:gd name="connsiteY187" fmla="*/ 847438 h 1043557"/>
                <a:gd name="connsiteX188" fmla="*/ 737544 w 1046881"/>
                <a:gd name="connsiteY188" fmla="*/ 849134 h 1043557"/>
                <a:gd name="connsiteX189" fmla="*/ 735996 w 1046881"/>
                <a:gd name="connsiteY189" fmla="*/ 848296 h 1043557"/>
                <a:gd name="connsiteX190" fmla="*/ 734440 w 1046881"/>
                <a:gd name="connsiteY190" fmla="*/ 847667 h 1043557"/>
                <a:gd name="connsiteX191" fmla="*/ 733106 w 1046881"/>
                <a:gd name="connsiteY191" fmla="*/ 848466 h 1043557"/>
                <a:gd name="connsiteX192" fmla="*/ 733900 w 1046881"/>
                <a:gd name="connsiteY192" fmla="*/ 849819 h 1043557"/>
                <a:gd name="connsiteX193" fmla="*/ 734715 w 1046881"/>
                <a:gd name="connsiteY193" fmla="*/ 851342 h 1043557"/>
                <a:gd name="connsiteX194" fmla="*/ 729171 w 1046881"/>
                <a:gd name="connsiteY194" fmla="*/ 854530 h 1043557"/>
                <a:gd name="connsiteX195" fmla="*/ 724496 w 1046881"/>
                <a:gd name="connsiteY195" fmla="*/ 850215 h 1043557"/>
                <a:gd name="connsiteX196" fmla="*/ 720450 w 1046881"/>
                <a:gd name="connsiteY196" fmla="*/ 845991 h 1043557"/>
                <a:gd name="connsiteX197" fmla="*/ 719256 w 1046881"/>
                <a:gd name="connsiteY197" fmla="*/ 849443 h 1043557"/>
                <a:gd name="connsiteX198" fmla="*/ 727593 w 1046881"/>
                <a:gd name="connsiteY198" fmla="*/ 856610 h 1043557"/>
                <a:gd name="connsiteX199" fmla="*/ 735623 w 1046881"/>
                <a:gd name="connsiteY199" fmla="*/ 864580 h 1043557"/>
                <a:gd name="connsiteX200" fmla="*/ 732973 w 1046881"/>
                <a:gd name="connsiteY200" fmla="*/ 874188 h 1043557"/>
                <a:gd name="connsiteX201" fmla="*/ 720589 w 1046881"/>
                <a:gd name="connsiteY201" fmla="*/ 885069 h 1043557"/>
                <a:gd name="connsiteX202" fmla="*/ 710786 w 1046881"/>
                <a:gd name="connsiteY202" fmla="*/ 894988 h 1043557"/>
                <a:gd name="connsiteX203" fmla="*/ 704220 w 1046881"/>
                <a:gd name="connsiteY203" fmla="*/ 904518 h 1043557"/>
                <a:gd name="connsiteX204" fmla="*/ 703581 w 1046881"/>
                <a:gd name="connsiteY204" fmla="*/ 904602 h 1043557"/>
                <a:gd name="connsiteX205" fmla="*/ 703469 w 1046881"/>
                <a:gd name="connsiteY205" fmla="*/ 901911 h 1043557"/>
                <a:gd name="connsiteX206" fmla="*/ 709101 w 1046881"/>
                <a:gd name="connsiteY206" fmla="*/ 891531 h 1043557"/>
                <a:gd name="connsiteX207" fmla="*/ 716258 w 1046881"/>
                <a:gd name="connsiteY207" fmla="*/ 883380 h 1043557"/>
                <a:gd name="connsiteX208" fmla="*/ 724565 w 1046881"/>
                <a:gd name="connsiteY208" fmla="*/ 875911 h 1043557"/>
                <a:gd name="connsiteX209" fmla="*/ 732355 w 1046881"/>
                <a:gd name="connsiteY209" fmla="*/ 867886 h 1043557"/>
                <a:gd name="connsiteX210" fmla="*/ 730334 w 1046881"/>
                <a:gd name="connsiteY210" fmla="*/ 868150 h 1043557"/>
                <a:gd name="connsiteX211" fmla="*/ 725301 w 1046881"/>
                <a:gd name="connsiteY211" fmla="*/ 872103 h 1043557"/>
                <a:gd name="connsiteX212" fmla="*/ 720463 w 1046881"/>
                <a:gd name="connsiteY212" fmla="*/ 874401 h 1043557"/>
                <a:gd name="connsiteX213" fmla="*/ 716059 w 1046881"/>
                <a:gd name="connsiteY213" fmla="*/ 870848 h 1043557"/>
                <a:gd name="connsiteX214" fmla="*/ 712299 w 1046881"/>
                <a:gd name="connsiteY214" fmla="*/ 867246 h 1043557"/>
                <a:gd name="connsiteX215" fmla="*/ 711269 w 1046881"/>
                <a:gd name="connsiteY215" fmla="*/ 868803 h 1043557"/>
                <a:gd name="connsiteX216" fmla="*/ 713215 w 1046881"/>
                <a:gd name="connsiteY216" fmla="*/ 872677 h 1043557"/>
                <a:gd name="connsiteX217" fmla="*/ 715235 w 1046881"/>
                <a:gd name="connsiteY217" fmla="*/ 877131 h 1043557"/>
                <a:gd name="connsiteX218" fmla="*/ 712513 w 1046881"/>
                <a:gd name="connsiteY218" fmla="*/ 883037 h 1043557"/>
                <a:gd name="connsiteX219" fmla="*/ 706981 w 1046881"/>
                <a:gd name="connsiteY219" fmla="*/ 887888 h 1043557"/>
                <a:gd name="connsiteX220" fmla="*/ 703331 w 1046881"/>
                <a:gd name="connsiteY220" fmla="*/ 886700 h 1043557"/>
                <a:gd name="connsiteX221" fmla="*/ 697349 w 1046881"/>
                <a:gd name="connsiteY221" fmla="*/ 885227 h 1043557"/>
                <a:gd name="connsiteX222" fmla="*/ 694996 w 1046881"/>
                <a:gd name="connsiteY222" fmla="*/ 889246 h 1043557"/>
                <a:gd name="connsiteX223" fmla="*/ 696194 w 1046881"/>
                <a:gd name="connsiteY223" fmla="*/ 895264 h 1043557"/>
                <a:gd name="connsiteX224" fmla="*/ 698047 w 1046881"/>
                <a:gd name="connsiteY224" fmla="*/ 892143 h 1043557"/>
                <a:gd name="connsiteX225" fmla="*/ 699927 w 1046881"/>
                <a:gd name="connsiteY225" fmla="*/ 889226 h 1043557"/>
                <a:gd name="connsiteX226" fmla="*/ 702527 w 1046881"/>
                <a:gd name="connsiteY226" fmla="*/ 893396 h 1043557"/>
                <a:gd name="connsiteX227" fmla="*/ 698570 w 1046881"/>
                <a:gd name="connsiteY227" fmla="*/ 904008 h 1043557"/>
                <a:gd name="connsiteX228" fmla="*/ 692950 w 1046881"/>
                <a:gd name="connsiteY228" fmla="*/ 911334 h 1043557"/>
                <a:gd name="connsiteX229" fmla="*/ 689044 w 1046881"/>
                <a:gd name="connsiteY229" fmla="*/ 909762 h 1043557"/>
                <a:gd name="connsiteX230" fmla="*/ 681243 w 1046881"/>
                <a:gd name="connsiteY230" fmla="*/ 908527 h 1043557"/>
                <a:gd name="connsiteX231" fmla="*/ 676481 w 1046881"/>
                <a:gd name="connsiteY231" fmla="*/ 911404 h 1043557"/>
                <a:gd name="connsiteX232" fmla="*/ 684347 w 1046881"/>
                <a:gd name="connsiteY232" fmla="*/ 916551 h 1043557"/>
                <a:gd name="connsiteX233" fmla="*/ 688847 w 1046881"/>
                <a:gd name="connsiteY233" fmla="*/ 919259 h 1043557"/>
                <a:gd name="connsiteX234" fmla="*/ 679949 w 1046881"/>
                <a:gd name="connsiteY234" fmla="*/ 947376 h 1043557"/>
                <a:gd name="connsiteX235" fmla="*/ 677516 w 1046881"/>
                <a:gd name="connsiteY235" fmla="*/ 946063 h 1043557"/>
                <a:gd name="connsiteX236" fmla="*/ 675052 w 1046881"/>
                <a:gd name="connsiteY236" fmla="*/ 944512 h 1043557"/>
                <a:gd name="connsiteX237" fmla="*/ 669844 w 1046881"/>
                <a:gd name="connsiteY237" fmla="*/ 945817 h 1043557"/>
                <a:gd name="connsiteX238" fmla="*/ 667236 w 1046881"/>
                <a:gd name="connsiteY238" fmla="*/ 949453 h 1043557"/>
                <a:gd name="connsiteX239" fmla="*/ 677623 w 1046881"/>
                <a:gd name="connsiteY239" fmla="*/ 951600 h 1043557"/>
                <a:gd name="connsiteX240" fmla="*/ 681760 w 1046881"/>
                <a:gd name="connsiteY240" fmla="*/ 950227 h 1043557"/>
                <a:gd name="connsiteX241" fmla="*/ 685390 w 1046881"/>
                <a:gd name="connsiteY241" fmla="*/ 952840 h 1043557"/>
                <a:gd name="connsiteX242" fmla="*/ 681844 w 1046881"/>
                <a:gd name="connsiteY242" fmla="*/ 965028 h 1043557"/>
                <a:gd name="connsiteX243" fmla="*/ 677303 w 1046881"/>
                <a:gd name="connsiteY243" fmla="*/ 971172 h 1043557"/>
                <a:gd name="connsiteX244" fmla="*/ 680220 w 1046881"/>
                <a:gd name="connsiteY244" fmla="*/ 973045 h 1043557"/>
                <a:gd name="connsiteX245" fmla="*/ 682966 w 1046881"/>
                <a:gd name="connsiteY245" fmla="*/ 975185 h 1043557"/>
                <a:gd name="connsiteX246" fmla="*/ 681585 w 1046881"/>
                <a:gd name="connsiteY246" fmla="*/ 977204 h 1043557"/>
                <a:gd name="connsiteX247" fmla="*/ 680312 w 1046881"/>
                <a:gd name="connsiteY247" fmla="*/ 980041 h 1043557"/>
                <a:gd name="connsiteX248" fmla="*/ 683443 w 1046881"/>
                <a:gd name="connsiteY248" fmla="*/ 983552 h 1043557"/>
                <a:gd name="connsiteX249" fmla="*/ 688091 w 1046881"/>
                <a:gd name="connsiteY249" fmla="*/ 992380 h 1043557"/>
                <a:gd name="connsiteX250" fmla="*/ 689758 w 1046881"/>
                <a:gd name="connsiteY250" fmla="*/ 1000419 h 1043557"/>
                <a:gd name="connsiteX251" fmla="*/ 691535 w 1046881"/>
                <a:gd name="connsiteY251" fmla="*/ 1006153 h 1043557"/>
                <a:gd name="connsiteX252" fmla="*/ 696126 w 1046881"/>
                <a:gd name="connsiteY252" fmla="*/ 1017695 h 1043557"/>
                <a:gd name="connsiteX253" fmla="*/ 699360 w 1046881"/>
                <a:gd name="connsiteY253" fmla="*/ 1021990 h 1043557"/>
                <a:gd name="connsiteX254" fmla="*/ 701838 w 1046881"/>
                <a:gd name="connsiteY254" fmla="*/ 1026800 h 1043557"/>
                <a:gd name="connsiteX255" fmla="*/ 700732 w 1046881"/>
                <a:gd name="connsiteY255" fmla="*/ 1030657 h 1043557"/>
                <a:gd name="connsiteX256" fmla="*/ 699410 w 1046881"/>
                <a:gd name="connsiteY256" fmla="*/ 1034957 h 1043557"/>
                <a:gd name="connsiteX257" fmla="*/ 700859 w 1046881"/>
                <a:gd name="connsiteY257" fmla="*/ 1036606 h 1043557"/>
                <a:gd name="connsiteX258" fmla="*/ 702974 w 1046881"/>
                <a:gd name="connsiteY258" fmla="*/ 1033659 h 1043557"/>
                <a:gd name="connsiteX259" fmla="*/ 705056 w 1046881"/>
                <a:gd name="connsiteY259" fmla="*/ 1030716 h 1043557"/>
                <a:gd name="connsiteX260" fmla="*/ 709446 w 1046881"/>
                <a:gd name="connsiteY260" fmla="*/ 1037566 h 1043557"/>
                <a:gd name="connsiteX261" fmla="*/ 698312 w 1046881"/>
                <a:gd name="connsiteY261" fmla="*/ 1042282 h 1043557"/>
                <a:gd name="connsiteX262" fmla="*/ 693542 w 1046881"/>
                <a:gd name="connsiteY262" fmla="*/ 1043529 h 1043557"/>
                <a:gd name="connsiteX263" fmla="*/ 687990 w 1046881"/>
                <a:gd name="connsiteY263" fmla="*/ 1040370 h 1043557"/>
                <a:gd name="connsiteX264" fmla="*/ 678999 w 1046881"/>
                <a:gd name="connsiteY264" fmla="*/ 1034745 h 1043557"/>
                <a:gd name="connsiteX265" fmla="*/ 672688 w 1046881"/>
                <a:gd name="connsiteY265" fmla="*/ 1032067 h 1043557"/>
                <a:gd name="connsiteX266" fmla="*/ 645386 w 1046881"/>
                <a:gd name="connsiteY266" fmla="*/ 1034177 h 1043557"/>
                <a:gd name="connsiteX267" fmla="*/ 637620 w 1046881"/>
                <a:gd name="connsiteY267" fmla="*/ 1030058 h 1043557"/>
                <a:gd name="connsiteX268" fmla="*/ 631438 w 1046881"/>
                <a:gd name="connsiteY268" fmla="*/ 1023650 h 1043557"/>
                <a:gd name="connsiteX269" fmla="*/ 625719 w 1046881"/>
                <a:gd name="connsiteY269" fmla="*/ 1022351 h 1043557"/>
                <a:gd name="connsiteX270" fmla="*/ 619729 w 1046881"/>
                <a:gd name="connsiteY270" fmla="*/ 1023967 h 1043557"/>
                <a:gd name="connsiteX271" fmla="*/ 616286 w 1046881"/>
                <a:gd name="connsiteY271" fmla="*/ 1022786 h 1043557"/>
                <a:gd name="connsiteX272" fmla="*/ 612117 w 1046881"/>
                <a:gd name="connsiteY272" fmla="*/ 1019203 h 1043557"/>
                <a:gd name="connsiteX273" fmla="*/ 599158 w 1046881"/>
                <a:gd name="connsiteY273" fmla="*/ 1017809 h 1043557"/>
                <a:gd name="connsiteX274" fmla="*/ 594928 w 1046881"/>
                <a:gd name="connsiteY274" fmla="*/ 1016904 h 1043557"/>
                <a:gd name="connsiteX275" fmla="*/ 592934 w 1046881"/>
                <a:gd name="connsiteY275" fmla="*/ 1012655 h 1043557"/>
                <a:gd name="connsiteX276" fmla="*/ 590166 w 1046881"/>
                <a:gd name="connsiteY276" fmla="*/ 1010346 h 1043557"/>
                <a:gd name="connsiteX277" fmla="*/ 587451 w 1046881"/>
                <a:gd name="connsiteY277" fmla="*/ 1008446 h 1043557"/>
                <a:gd name="connsiteX278" fmla="*/ 583622 w 1046881"/>
                <a:gd name="connsiteY278" fmla="*/ 993301 h 1043557"/>
                <a:gd name="connsiteX279" fmla="*/ 574780 w 1046881"/>
                <a:gd name="connsiteY279" fmla="*/ 982523 h 1043557"/>
                <a:gd name="connsiteX280" fmla="*/ 567217 w 1046881"/>
                <a:gd name="connsiteY280" fmla="*/ 973416 h 1043557"/>
                <a:gd name="connsiteX281" fmla="*/ 566752 w 1046881"/>
                <a:gd name="connsiteY281" fmla="*/ 966713 h 1043557"/>
                <a:gd name="connsiteX282" fmla="*/ 566996 w 1046881"/>
                <a:gd name="connsiteY282" fmla="*/ 960714 h 1043557"/>
                <a:gd name="connsiteX283" fmla="*/ 563873 w 1046881"/>
                <a:gd name="connsiteY283" fmla="*/ 958833 h 1043557"/>
                <a:gd name="connsiteX284" fmla="*/ 562592 w 1046881"/>
                <a:gd name="connsiteY284" fmla="*/ 955323 h 1043557"/>
                <a:gd name="connsiteX285" fmla="*/ 562782 w 1046881"/>
                <a:gd name="connsiteY285" fmla="*/ 948915 h 1043557"/>
                <a:gd name="connsiteX286" fmla="*/ 560662 w 1046881"/>
                <a:gd name="connsiteY286" fmla="*/ 945272 h 1043557"/>
                <a:gd name="connsiteX287" fmla="*/ 555079 w 1046881"/>
                <a:gd name="connsiteY287" fmla="*/ 937156 h 1043557"/>
                <a:gd name="connsiteX288" fmla="*/ 547629 w 1046881"/>
                <a:gd name="connsiteY288" fmla="*/ 935458 h 1043557"/>
                <a:gd name="connsiteX289" fmla="*/ 542275 w 1046881"/>
                <a:gd name="connsiteY289" fmla="*/ 927520 h 1043557"/>
                <a:gd name="connsiteX290" fmla="*/ 535865 w 1046881"/>
                <a:gd name="connsiteY290" fmla="*/ 916216 h 1043557"/>
                <a:gd name="connsiteX291" fmla="*/ 523400 w 1046881"/>
                <a:gd name="connsiteY291" fmla="*/ 904455 h 1043557"/>
                <a:gd name="connsiteX292" fmla="*/ 511396 w 1046881"/>
                <a:gd name="connsiteY292" fmla="*/ 895963 h 1043557"/>
                <a:gd name="connsiteX293" fmla="*/ 508044 w 1046881"/>
                <a:gd name="connsiteY293" fmla="*/ 889186 h 1043557"/>
                <a:gd name="connsiteX294" fmla="*/ 505276 w 1046881"/>
                <a:gd name="connsiteY294" fmla="*/ 879279 h 1043557"/>
                <a:gd name="connsiteX295" fmla="*/ 500273 w 1046881"/>
                <a:gd name="connsiteY295" fmla="*/ 870879 h 1043557"/>
                <a:gd name="connsiteX296" fmla="*/ 493351 w 1046881"/>
                <a:gd name="connsiteY296" fmla="*/ 858809 h 1043557"/>
                <a:gd name="connsiteX297" fmla="*/ 486308 w 1046881"/>
                <a:gd name="connsiteY297" fmla="*/ 847380 h 1043557"/>
                <a:gd name="connsiteX298" fmla="*/ 480833 w 1046881"/>
                <a:gd name="connsiteY298" fmla="*/ 841921 h 1043557"/>
                <a:gd name="connsiteX299" fmla="*/ 476032 w 1046881"/>
                <a:gd name="connsiteY299" fmla="*/ 833494 h 1043557"/>
                <a:gd name="connsiteX300" fmla="*/ 469492 w 1046881"/>
                <a:gd name="connsiteY300" fmla="*/ 825919 h 1043557"/>
                <a:gd name="connsiteX301" fmla="*/ 456593 w 1046881"/>
                <a:gd name="connsiteY301" fmla="*/ 817128 h 1043557"/>
                <a:gd name="connsiteX302" fmla="*/ 444322 w 1046881"/>
                <a:gd name="connsiteY302" fmla="*/ 806590 h 1043557"/>
                <a:gd name="connsiteX303" fmla="*/ 437176 w 1046881"/>
                <a:gd name="connsiteY303" fmla="*/ 799094 h 1043557"/>
                <a:gd name="connsiteX304" fmla="*/ 432691 w 1046881"/>
                <a:gd name="connsiteY304" fmla="*/ 794928 h 1043557"/>
                <a:gd name="connsiteX305" fmla="*/ 424006 w 1046881"/>
                <a:gd name="connsiteY305" fmla="*/ 800815 h 1043557"/>
                <a:gd name="connsiteX306" fmla="*/ 417534 w 1046881"/>
                <a:gd name="connsiteY306" fmla="*/ 796909 h 1043557"/>
                <a:gd name="connsiteX307" fmla="*/ 407773 w 1046881"/>
                <a:gd name="connsiteY307" fmla="*/ 797976 h 1043557"/>
                <a:gd name="connsiteX308" fmla="*/ 400834 w 1046881"/>
                <a:gd name="connsiteY308" fmla="*/ 799923 h 1043557"/>
                <a:gd name="connsiteX309" fmla="*/ 389208 w 1046881"/>
                <a:gd name="connsiteY309" fmla="*/ 793013 h 1043557"/>
                <a:gd name="connsiteX310" fmla="*/ 377883 w 1046881"/>
                <a:gd name="connsiteY310" fmla="*/ 802298 h 1043557"/>
                <a:gd name="connsiteX311" fmla="*/ 370231 w 1046881"/>
                <a:gd name="connsiteY311" fmla="*/ 805345 h 1043557"/>
                <a:gd name="connsiteX312" fmla="*/ 364515 w 1046881"/>
                <a:gd name="connsiteY312" fmla="*/ 813516 h 1043557"/>
                <a:gd name="connsiteX313" fmla="*/ 355720 w 1046881"/>
                <a:gd name="connsiteY313" fmla="*/ 832981 h 1043557"/>
                <a:gd name="connsiteX314" fmla="*/ 345463 w 1046881"/>
                <a:gd name="connsiteY314" fmla="*/ 852014 h 1043557"/>
                <a:gd name="connsiteX315" fmla="*/ 338989 w 1046881"/>
                <a:gd name="connsiteY315" fmla="*/ 857786 h 1043557"/>
                <a:gd name="connsiteX316" fmla="*/ 331989 w 1046881"/>
                <a:gd name="connsiteY316" fmla="*/ 857695 h 1043557"/>
                <a:gd name="connsiteX317" fmla="*/ 324595 w 1046881"/>
                <a:gd name="connsiteY317" fmla="*/ 853284 h 1043557"/>
                <a:gd name="connsiteX318" fmla="*/ 320366 w 1046881"/>
                <a:gd name="connsiteY318" fmla="*/ 847662 h 1043557"/>
                <a:gd name="connsiteX319" fmla="*/ 314848 w 1046881"/>
                <a:gd name="connsiteY319" fmla="*/ 846336 h 1043557"/>
                <a:gd name="connsiteX320" fmla="*/ 309567 w 1046881"/>
                <a:gd name="connsiteY320" fmla="*/ 846818 h 1043557"/>
                <a:gd name="connsiteX321" fmla="*/ 303169 w 1046881"/>
                <a:gd name="connsiteY321" fmla="*/ 839016 h 1043557"/>
                <a:gd name="connsiteX322" fmla="*/ 298345 w 1046881"/>
                <a:gd name="connsiteY322" fmla="*/ 839855 h 1043557"/>
                <a:gd name="connsiteX323" fmla="*/ 291062 w 1046881"/>
                <a:gd name="connsiteY323" fmla="*/ 839176 h 1043557"/>
                <a:gd name="connsiteX324" fmla="*/ 284443 w 1046881"/>
                <a:gd name="connsiteY324" fmla="*/ 830987 h 1043557"/>
                <a:gd name="connsiteX325" fmla="*/ 275741 w 1046881"/>
                <a:gd name="connsiteY325" fmla="*/ 822862 h 1043557"/>
                <a:gd name="connsiteX326" fmla="*/ 257012 w 1046881"/>
                <a:gd name="connsiteY326" fmla="*/ 807201 h 1043557"/>
                <a:gd name="connsiteX327" fmla="*/ 251493 w 1046881"/>
                <a:gd name="connsiteY327" fmla="*/ 783847 h 1043557"/>
                <a:gd name="connsiteX328" fmla="*/ 249178 w 1046881"/>
                <a:gd name="connsiteY328" fmla="*/ 777143 h 1043557"/>
                <a:gd name="connsiteX329" fmla="*/ 244133 w 1046881"/>
                <a:gd name="connsiteY329" fmla="*/ 769997 h 1043557"/>
                <a:gd name="connsiteX330" fmla="*/ 240735 w 1046881"/>
                <a:gd name="connsiteY330" fmla="*/ 759721 h 1043557"/>
                <a:gd name="connsiteX331" fmla="*/ 237353 w 1046881"/>
                <a:gd name="connsiteY331" fmla="*/ 751144 h 1043557"/>
                <a:gd name="connsiteX332" fmla="*/ 220873 w 1046881"/>
                <a:gd name="connsiteY332" fmla="*/ 740115 h 1043557"/>
                <a:gd name="connsiteX333" fmla="*/ 204289 w 1046881"/>
                <a:gd name="connsiteY333" fmla="*/ 728302 h 1043557"/>
                <a:gd name="connsiteX334" fmla="*/ 195454 w 1046881"/>
                <a:gd name="connsiteY334" fmla="*/ 717315 h 1043557"/>
                <a:gd name="connsiteX335" fmla="*/ 185697 w 1046881"/>
                <a:gd name="connsiteY335" fmla="*/ 705824 h 1043557"/>
                <a:gd name="connsiteX336" fmla="*/ 171504 w 1046881"/>
                <a:gd name="connsiteY336" fmla="*/ 699458 h 1043557"/>
                <a:gd name="connsiteX337" fmla="*/ 160156 w 1046881"/>
                <a:gd name="connsiteY337" fmla="*/ 688383 h 1043557"/>
                <a:gd name="connsiteX338" fmla="*/ 150856 w 1046881"/>
                <a:gd name="connsiteY338" fmla="*/ 675410 h 1043557"/>
                <a:gd name="connsiteX339" fmla="*/ 143062 w 1046881"/>
                <a:gd name="connsiteY339" fmla="*/ 671086 h 1043557"/>
                <a:gd name="connsiteX340" fmla="*/ 136420 w 1046881"/>
                <a:gd name="connsiteY340" fmla="*/ 659498 h 1043557"/>
                <a:gd name="connsiteX341" fmla="*/ 136190 w 1046881"/>
                <a:gd name="connsiteY341" fmla="*/ 659498 h 1043557"/>
                <a:gd name="connsiteX342" fmla="*/ 141544 w 1046881"/>
                <a:gd name="connsiteY342" fmla="*/ 668812 h 1043557"/>
                <a:gd name="connsiteX343" fmla="*/ 50003 w 1046881"/>
                <a:gd name="connsiteY343" fmla="*/ 668017 h 1043557"/>
                <a:gd name="connsiteX344" fmla="*/ 47288 w 1046881"/>
                <a:gd name="connsiteY344" fmla="*/ 700870 h 1043557"/>
                <a:gd name="connsiteX345" fmla="*/ 0 w 1046881"/>
                <a:gd name="connsiteY345" fmla="*/ 699846 h 1043557"/>
                <a:gd name="connsiteX346" fmla="*/ 5742 w 1046881"/>
                <a:gd name="connsiteY346" fmla="*/ 310383 h 1043557"/>
                <a:gd name="connsiteX347" fmla="*/ 7002 w 1046881"/>
                <a:gd name="connsiteY347" fmla="*/ 310391 h 1043557"/>
                <a:gd name="connsiteX348" fmla="*/ 9852 w 1046881"/>
                <a:gd name="connsiteY348" fmla="*/ 38008 h 1043557"/>
                <a:gd name="connsiteX0" fmla="*/ 998204 w 1046881"/>
                <a:gd name="connsiteY0" fmla="*/ 286340 h 1043557"/>
                <a:gd name="connsiteX1" fmla="*/ 998449 w 1046881"/>
                <a:gd name="connsiteY1" fmla="*/ 285862 h 1043557"/>
                <a:gd name="connsiteX2" fmla="*/ 998204 w 1046881"/>
                <a:gd name="connsiteY2" fmla="*/ 286340 h 1043557"/>
                <a:gd name="connsiteX3" fmla="*/ 721538 w 1046881"/>
                <a:gd name="connsiteY3" fmla="*/ 82028 h 1043557"/>
                <a:gd name="connsiteX4" fmla="*/ 719542 w 1046881"/>
                <a:gd name="connsiteY4" fmla="*/ 84784 h 1043557"/>
                <a:gd name="connsiteX5" fmla="*/ 719411 w 1046881"/>
                <a:gd name="connsiteY5" fmla="*/ 85010 h 1043557"/>
                <a:gd name="connsiteX6" fmla="*/ 721556 w 1046881"/>
                <a:gd name="connsiteY6" fmla="*/ 82039 h 1043557"/>
                <a:gd name="connsiteX7" fmla="*/ 721538 w 1046881"/>
                <a:gd name="connsiteY7" fmla="*/ 82028 h 1043557"/>
                <a:gd name="connsiteX8" fmla="*/ 9852 w 1046881"/>
                <a:gd name="connsiteY8" fmla="*/ 38008 h 1043557"/>
                <a:gd name="connsiteX9" fmla="*/ 83022 w 1046881"/>
                <a:gd name="connsiteY9" fmla="*/ 38941 h 1043557"/>
                <a:gd name="connsiteX10" fmla="*/ 261203 w 1046881"/>
                <a:gd name="connsiteY10" fmla="*/ 35587 h 1043557"/>
                <a:gd name="connsiteX11" fmla="*/ 357880 w 1046881"/>
                <a:gd name="connsiteY11" fmla="*/ 30573 h 1043557"/>
                <a:gd name="connsiteX12" fmla="*/ 362042 w 1046881"/>
                <a:gd name="connsiteY12" fmla="*/ 95017 h 1043557"/>
                <a:gd name="connsiteX13" fmla="*/ 387674 w 1046881"/>
                <a:gd name="connsiteY13" fmla="*/ 94887 h 1043557"/>
                <a:gd name="connsiteX14" fmla="*/ 459061 w 1046881"/>
                <a:gd name="connsiteY14" fmla="*/ 92743 h 1043557"/>
                <a:gd name="connsiteX15" fmla="*/ 696362 w 1046881"/>
                <a:gd name="connsiteY15" fmla="*/ 68270 h 1043557"/>
                <a:gd name="connsiteX16" fmla="*/ 695276 w 1046881"/>
                <a:gd name="connsiteY16" fmla="*/ 66765 h 1043557"/>
                <a:gd name="connsiteX17" fmla="*/ 688988 w 1046881"/>
                <a:gd name="connsiteY17" fmla="*/ 57924 h 1043557"/>
                <a:gd name="connsiteX18" fmla="*/ 685468 w 1046881"/>
                <a:gd name="connsiteY18" fmla="*/ 53037 h 1043557"/>
                <a:gd name="connsiteX19" fmla="*/ 681682 w 1046881"/>
                <a:gd name="connsiteY19" fmla="*/ 49216 h 1043557"/>
                <a:gd name="connsiteX20" fmla="*/ 679085 w 1046881"/>
                <a:gd name="connsiteY20" fmla="*/ 43589 h 1043557"/>
                <a:gd name="connsiteX21" fmla="*/ 676819 w 1046881"/>
                <a:gd name="connsiteY21" fmla="*/ 38759 h 1043557"/>
                <a:gd name="connsiteX22" fmla="*/ 673089 w 1046881"/>
                <a:gd name="connsiteY22" fmla="*/ 36979 h 1043557"/>
                <a:gd name="connsiteX23" fmla="*/ 670969 w 1046881"/>
                <a:gd name="connsiteY23" fmla="*/ 31908 h 1043557"/>
                <a:gd name="connsiteX24" fmla="*/ 670335 w 1046881"/>
                <a:gd name="connsiteY24" fmla="*/ 30150 h 1043557"/>
                <a:gd name="connsiteX25" fmla="*/ 742429 w 1046881"/>
                <a:gd name="connsiteY25" fmla="*/ 22983 h 1043557"/>
                <a:gd name="connsiteX26" fmla="*/ 868019 w 1046881"/>
                <a:gd name="connsiteY26" fmla="*/ 0 h 1043557"/>
                <a:gd name="connsiteX27" fmla="*/ 870170 w 1046881"/>
                <a:gd name="connsiteY27" fmla="*/ 3829 h 1043557"/>
                <a:gd name="connsiteX28" fmla="*/ 875839 w 1046881"/>
                <a:gd name="connsiteY28" fmla="*/ 7816 h 1043557"/>
                <a:gd name="connsiteX29" fmla="*/ 881121 w 1046881"/>
                <a:gd name="connsiteY29" fmla="*/ 12061 h 1043557"/>
                <a:gd name="connsiteX30" fmla="*/ 886197 w 1046881"/>
                <a:gd name="connsiteY30" fmla="*/ 16332 h 1043557"/>
                <a:gd name="connsiteX31" fmla="*/ 885534 w 1046881"/>
                <a:gd name="connsiteY31" fmla="*/ 22164 h 1043557"/>
                <a:gd name="connsiteX32" fmla="*/ 887205 w 1046881"/>
                <a:gd name="connsiteY32" fmla="*/ 33464 h 1043557"/>
                <a:gd name="connsiteX33" fmla="*/ 887603 w 1046881"/>
                <a:gd name="connsiteY33" fmla="*/ 41219 h 1043557"/>
                <a:gd name="connsiteX34" fmla="*/ 898693 w 1046881"/>
                <a:gd name="connsiteY34" fmla="*/ 56828 h 1043557"/>
                <a:gd name="connsiteX35" fmla="*/ 921957 w 1046881"/>
                <a:gd name="connsiteY35" fmla="*/ 75780 h 1043557"/>
                <a:gd name="connsiteX36" fmla="*/ 931672 w 1046881"/>
                <a:gd name="connsiteY36" fmla="*/ 83967 h 1043557"/>
                <a:gd name="connsiteX37" fmla="*/ 938373 w 1046881"/>
                <a:gd name="connsiteY37" fmla="*/ 92754 h 1043557"/>
                <a:gd name="connsiteX38" fmla="*/ 939227 w 1046881"/>
                <a:gd name="connsiteY38" fmla="*/ 102512 h 1043557"/>
                <a:gd name="connsiteX39" fmla="*/ 946842 w 1046881"/>
                <a:gd name="connsiteY39" fmla="*/ 107262 h 1043557"/>
                <a:gd name="connsiteX40" fmla="*/ 953870 w 1046881"/>
                <a:gd name="connsiteY40" fmla="*/ 101203 h 1043557"/>
                <a:gd name="connsiteX41" fmla="*/ 962977 w 1046881"/>
                <a:gd name="connsiteY41" fmla="*/ 104741 h 1043557"/>
                <a:gd name="connsiteX42" fmla="*/ 967861 w 1046881"/>
                <a:gd name="connsiteY42" fmla="*/ 112131 h 1043557"/>
                <a:gd name="connsiteX43" fmla="*/ 965336 w 1046881"/>
                <a:gd name="connsiteY43" fmla="*/ 129106 h 1043557"/>
                <a:gd name="connsiteX44" fmla="*/ 962303 w 1046881"/>
                <a:gd name="connsiteY44" fmla="*/ 143688 h 1043557"/>
                <a:gd name="connsiteX45" fmla="*/ 967061 w 1046881"/>
                <a:gd name="connsiteY45" fmla="*/ 153333 h 1043557"/>
                <a:gd name="connsiteX46" fmla="*/ 971160 w 1046881"/>
                <a:gd name="connsiteY46" fmla="*/ 157938 h 1043557"/>
                <a:gd name="connsiteX47" fmla="*/ 975462 w 1046881"/>
                <a:gd name="connsiteY47" fmla="*/ 160881 h 1043557"/>
                <a:gd name="connsiteX48" fmla="*/ 975885 w 1046881"/>
                <a:gd name="connsiteY48" fmla="*/ 161018 h 1043557"/>
                <a:gd name="connsiteX49" fmla="*/ 981899 w 1046881"/>
                <a:gd name="connsiteY49" fmla="*/ 164548 h 1043557"/>
                <a:gd name="connsiteX50" fmla="*/ 989409 w 1046881"/>
                <a:gd name="connsiteY50" fmla="*/ 168501 h 1043557"/>
                <a:gd name="connsiteX51" fmla="*/ 992927 w 1046881"/>
                <a:gd name="connsiteY51" fmla="*/ 168660 h 1043557"/>
                <a:gd name="connsiteX52" fmla="*/ 1001478 w 1046881"/>
                <a:gd name="connsiteY52" fmla="*/ 171033 h 1043557"/>
                <a:gd name="connsiteX53" fmla="*/ 1004788 w 1046881"/>
                <a:gd name="connsiteY53" fmla="*/ 174313 h 1043557"/>
                <a:gd name="connsiteX54" fmla="*/ 1011624 w 1046881"/>
                <a:gd name="connsiteY54" fmla="*/ 177942 h 1043557"/>
                <a:gd name="connsiteX55" fmla="*/ 1015928 w 1046881"/>
                <a:gd name="connsiteY55" fmla="*/ 185599 h 1043557"/>
                <a:gd name="connsiteX56" fmla="*/ 1020241 w 1046881"/>
                <a:gd name="connsiteY56" fmla="*/ 193461 h 1043557"/>
                <a:gd name="connsiteX57" fmla="*/ 1023417 w 1046881"/>
                <a:gd name="connsiteY57" fmla="*/ 198805 h 1043557"/>
                <a:gd name="connsiteX58" fmla="*/ 1021536 w 1046881"/>
                <a:gd name="connsiteY58" fmla="*/ 203367 h 1043557"/>
                <a:gd name="connsiteX59" fmla="*/ 1019521 w 1046881"/>
                <a:gd name="connsiteY59" fmla="*/ 209994 h 1043557"/>
                <a:gd name="connsiteX60" fmla="*/ 1026248 w 1046881"/>
                <a:gd name="connsiteY60" fmla="*/ 218984 h 1043557"/>
                <a:gd name="connsiteX61" fmla="*/ 1034011 w 1046881"/>
                <a:gd name="connsiteY61" fmla="*/ 224746 h 1043557"/>
                <a:gd name="connsiteX62" fmla="*/ 1039951 w 1046881"/>
                <a:gd name="connsiteY62" fmla="*/ 221509 h 1043557"/>
                <a:gd name="connsiteX63" fmla="*/ 1044310 w 1046881"/>
                <a:gd name="connsiteY63" fmla="*/ 226493 h 1043557"/>
                <a:gd name="connsiteX64" fmla="*/ 1046459 w 1046881"/>
                <a:gd name="connsiteY64" fmla="*/ 233401 h 1043557"/>
                <a:gd name="connsiteX65" fmla="*/ 1046881 w 1046881"/>
                <a:gd name="connsiteY65" fmla="*/ 236630 h 1043557"/>
                <a:gd name="connsiteX66" fmla="*/ 1043947 w 1046881"/>
                <a:gd name="connsiteY66" fmla="*/ 237839 h 1043557"/>
                <a:gd name="connsiteX67" fmla="*/ 1044642 w 1046881"/>
                <a:gd name="connsiteY67" fmla="*/ 246380 h 1043557"/>
                <a:gd name="connsiteX68" fmla="*/ 1037396 w 1046881"/>
                <a:gd name="connsiteY68" fmla="*/ 252261 h 1043557"/>
                <a:gd name="connsiteX69" fmla="*/ 1034407 w 1046881"/>
                <a:gd name="connsiteY69" fmla="*/ 256143 h 1043557"/>
                <a:gd name="connsiteX70" fmla="*/ 1032571 w 1046881"/>
                <a:gd name="connsiteY70" fmla="*/ 257827 h 1043557"/>
                <a:gd name="connsiteX71" fmla="*/ 1029775 w 1046881"/>
                <a:gd name="connsiteY71" fmla="*/ 258605 h 1043557"/>
                <a:gd name="connsiteX72" fmla="*/ 1028069 w 1046881"/>
                <a:gd name="connsiteY72" fmla="*/ 261287 h 1043557"/>
                <a:gd name="connsiteX73" fmla="*/ 1024212 w 1046881"/>
                <a:gd name="connsiteY73" fmla="*/ 293904 h 1043557"/>
                <a:gd name="connsiteX74" fmla="*/ 1025408 w 1046881"/>
                <a:gd name="connsiteY74" fmla="*/ 293644 h 1043557"/>
                <a:gd name="connsiteX75" fmla="*/ 1025512 w 1046881"/>
                <a:gd name="connsiteY75" fmla="*/ 294438 h 1043557"/>
                <a:gd name="connsiteX76" fmla="*/ 1026902 w 1046881"/>
                <a:gd name="connsiteY76" fmla="*/ 297140 h 1043557"/>
                <a:gd name="connsiteX77" fmla="*/ 1025162 w 1046881"/>
                <a:gd name="connsiteY77" fmla="*/ 307451 h 1043557"/>
                <a:gd name="connsiteX78" fmla="*/ 1019870 w 1046881"/>
                <a:gd name="connsiteY78" fmla="*/ 314303 h 1043557"/>
                <a:gd name="connsiteX79" fmla="*/ 1019330 w 1046881"/>
                <a:gd name="connsiteY79" fmla="*/ 316438 h 1043557"/>
                <a:gd name="connsiteX80" fmla="*/ 1020478 w 1046881"/>
                <a:gd name="connsiteY80" fmla="*/ 318953 h 1043557"/>
                <a:gd name="connsiteX81" fmla="*/ 1021614 w 1046881"/>
                <a:gd name="connsiteY81" fmla="*/ 321273 h 1043557"/>
                <a:gd name="connsiteX82" fmla="*/ 1018437 w 1046881"/>
                <a:gd name="connsiteY82" fmla="*/ 325392 h 1043557"/>
                <a:gd name="connsiteX83" fmla="*/ 1014895 w 1046881"/>
                <a:gd name="connsiteY83" fmla="*/ 329754 h 1043557"/>
                <a:gd name="connsiteX84" fmla="*/ 1011459 w 1046881"/>
                <a:gd name="connsiteY84" fmla="*/ 334933 h 1043557"/>
                <a:gd name="connsiteX85" fmla="*/ 1009088 w 1046881"/>
                <a:gd name="connsiteY85" fmla="*/ 338945 h 1043557"/>
                <a:gd name="connsiteX86" fmla="*/ 1012944 w 1046881"/>
                <a:gd name="connsiteY86" fmla="*/ 344821 h 1043557"/>
                <a:gd name="connsiteX87" fmla="*/ 1017240 w 1046881"/>
                <a:gd name="connsiteY87" fmla="*/ 350836 h 1043557"/>
                <a:gd name="connsiteX88" fmla="*/ 1014555 w 1046881"/>
                <a:gd name="connsiteY88" fmla="*/ 357151 h 1043557"/>
                <a:gd name="connsiteX89" fmla="*/ 1010593 w 1046881"/>
                <a:gd name="connsiteY89" fmla="*/ 363010 h 1043557"/>
                <a:gd name="connsiteX90" fmla="*/ 1009849 w 1046881"/>
                <a:gd name="connsiteY90" fmla="*/ 365161 h 1043557"/>
                <a:gd name="connsiteX91" fmla="*/ 1009314 w 1046881"/>
                <a:gd name="connsiteY91" fmla="*/ 370572 h 1043557"/>
                <a:gd name="connsiteX92" fmla="*/ 1006966 w 1046881"/>
                <a:gd name="connsiteY92" fmla="*/ 376232 h 1043557"/>
                <a:gd name="connsiteX93" fmla="*/ 998563 w 1046881"/>
                <a:gd name="connsiteY93" fmla="*/ 387609 h 1043557"/>
                <a:gd name="connsiteX94" fmla="*/ 998168 w 1046881"/>
                <a:gd name="connsiteY94" fmla="*/ 401850 h 1043557"/>
                <a:gd name="connsiteX95" fmla="*/ 999230 w 1046881"/>
                <a:gd name="connsiteY95" fmla="*/ 408494 h 1043557"/>
                <a:gd name="connsiteX96" fmla="*/ 995391 w 1046881"/>
                <a:gd name="connsiteY96" fmla="*/ 413726 h 1043557"/>
                <a:gd name="connsiteX97" fmla="*/ 990223 w 1046881"/>
                <a:gd name="connsiteY97" fmla="*/ 418300 h 1043557"/>
                <a:gd name="connsiteX98" fmla="*/ 985699 w 1046881"/>
                <a:gd name="connsiteY98" fmla="*/ 424660 h 1043557"/>
                <a:gd name="connsiteX99" fmla="*/ 983552 w 1046881"/>
                <a:gd name="connsiteY99" fmla="*/ 430282 h 1043557"/>
                <a:gd name="connsiteX100" fmla="*/ 985818 w 1046881"/>
                <a:gd name="connsiteY100" fmla="*/ 438211 h 1043557"/>
                <a:gd name="connsiteX101" fmla="*/ 982898 w 1046881"/>
                <a:gd name="connsiteY101" fmla="*/ 441062 h 1043557"/>
                <a:gd name="connsiteX102" fmla="*/ 980829 w 1046881"/>
                <a:gd name="connsiteY102" fmla="*/ 447285 h 1043557"/>
                <a:gd name="connsiteX103" fmla="*/ 981920 w 1046881"/>
                <a:gd name="connsiteY103" fmla="*/ 452495 h 1043557"/>
                <a:gd name="connsiteX104" fmla="*/ 979586 w 1046881"/>
                <a:gd name="connsiteY104" fmla="*/ 456699 h 1043557"/>
                <a:gd name="connsiteX105" fmla="*/ 977965 w 1046881"/>
                <a:gd name="connsiteY105" fmla="*/ 461641 h 1043557"/>
                <a:gd name="connsiteX106" fmla="*/ 975685 w 1046881"/>
                <a:gd name="connsiteY106" fmla="*/ 466254 h 1043557"/>
                <a:gd name="connsiteX107" fmla="*/ 973862 w 1046881"/>
                <a:gd name="connsiteY107" fmla="*/ 471222 h 1043557"/>
                <a:gd name="connsiteX108" fmla="*/ 977202 w 1046881"/>
                <a:gd name="connsiteY108" fmla="*/ 479426 h 1043557"/>
                <a:gd name="connsiteX109" fmla="*/ 980504 w 1046881"/>
                <a:gd name="connsiteY109" fmla="*/ 485778 h 1043557"/>
                <a:gd name="connsiteX110" fmla="*/ 984718 w 1046881"/>
                <a:gd name="connsiteY110" fmla="*/ 492830 h 1043557"/>
                <a:gd name="connsiteX111" fmla="*/ 987057 w 1046881"/>
                <a:gd name="connsiteY111" fmla="*/ 498084 h 1043557"/>
                <a:gd name="connsiteX112" fmla="*/ 983990 w 1046881"/>
                <a:gd name="connsiteY112" fmla="*/ 506088 h 1043557"/>
                <a:gd name="connsiteX113" fmla="*/ 983436 w 1046881"/>
                <a:gd name="connsiteY113" fmla="*/ 508214 h 1043557"/>
                <a:gd name="connsiteX114" fmla="*/ 983058 w 1046881"/>
                <a:gd name="connsiteY114" fmla="*/ 510120 h 1043557"/>
                <a:gd name="connsiteX115" fmla="*/ 827992 w 1046881"/>
                <a:gd name="connsiteY115" fmla="*/ 534483 h 1043557"/>
                <a:gd name="connsiteX116" fmla="*/ 828366 w 1046881"/>
                <a:gd name="connsiteY116" fmla="*/ 537474 h 1043557"/>
                <a:gd name="connsiteX117" fmla="*/ 836967 w 1046881"/>
                <a:gd name="connsiteY117" fmla="*/ 604863 h 1043557"/>
                <a:gd name="connsiteX118" fmla="*/ 843324 w 1046881"/>
                <a:gd name="connsiteY118" fmla="*/ 609201 h 1043557"/>
                <a:gd name="connsiteX119" fmla="*/ 849802 w 1046881"/>
                <a:gd name="connsiteY119" fmla="*/ 614737 h 1043557"/>
                <a:gd name="connsiteX120" fmla="*/ 853157 w 1046881"/>
                <a:gd name="connsiteY120" fmla="*/ 623110 h 1043557"/>
                <a:gd name="connsiteX121" fmla="*/ 854931 w 1046881"/>
                <a:gd name="connsiteY121" fmla="*/ 631967 h 1043557"/>
                <a:gd name="connsiteX122" fmla="*/ 857647 w 1046881"/>
                <a:gd name="connsiteY122" fmla="*/ 633867 h 1043557"/>
                <a:gd name="connsiteX123" fmla="*/ 860697 w 1046881"/>
                <a:gd name="connsiteY123" fmla="*/ 636764 h 1043557"/>
                <a:gd name="connsiteX124" fmla="*/ 862847 w 1046881"/>
                <a:gd name="connsiteY124" fmla="*/ 640369 h 1043557"/>
                <a:gd name="connsiteX125" fmla="*/ 865303 w 1046881"/>
                <a:gd name="connsiteY125" fmla="*/ 645008 h 1043557"/>
                <a:gd name="connsiteX126" fmla="*/ 870051 w 1046881"/>
                <a:gd name="connsiteY126" fmla="*/ 653025 h 1043557"/>
                <a:gd name="connsiteX127" fmla="*/ 874531 w 1046881"/>
                <a:gd name="connsiteY127" fmla="*/ 658997 h 1043557"/>
                <a:gd name="connsiteX128" fmla="*/ 875851 w 1046881"/>
                <a:gd name="connsiteY128" fmla="*/ 681685 h 1043557"/>
                <a:gd name="connsiteX129" fmla="*/ 872946 w 1046881"/>
                <a:gd name="connsiteY129" fmla="*/ 690910 h 1043557"/>
                <a:gd name="connsiteX130" fmla="*/ 869839 w 1046881"/>
                <a:gd name="connsiteY130" fmla="*/ 702001 h 1043557"/>
                <a:gd name="connsiteX131" fmla="*/ 872169 w 1046881"/>
                <a:gd name="connsiteY131" fmla="*/ 707247 h 1043557"/>
                <a:gd name="connsiteX132" fmla="*/ 870316 w 1046881"/>
                <a:gd name="connsiteY132" fmla="*/ 710368 h 1043557"/>
                <a:gd name="connsiteX133" fmla="*/ 869134 w 1046881"/>
                <a:gd name="connsiteY133" fmla="*/ 715483 h 1043557"/>
                <a:gd name="connsiteX134" fmla="*/ 871666 w 1046881"/>
                <a:gd name="connsiteY134" fmla="*/ 720703 h 1043557"/>
                <a:gd name="connsiteX135" fmla="*/ 874190 w 1046881"/>
                <a:gd name="connsiteY135" fmla="*/ 727173 h 1043557"/>
                <a:gd name="connsiteX136" fmla="*/ 870767 w 1046881"/>
                <a:gd name="connsiteY136" fmla="*/ 740559 h 1043557"/>
                <a:gd name="connsiteX137" fmla="*/ 865779 w 1046881"/>
                <a:gd name="connsiteY137" fmla="*/ 752728 h 1043557"/>
                <a:gd name="connsiteX138" fmla="*/ 865577 w 1046881"/>
                <a:gd name="connsiteY138" fmla="*/ 752754 h 1043557"/>
                <a:gd name="connsiteX139" fmla="*/ 866916 w 1046881"/>
                <a:gd name="connsiteY139" fmla="*/ 756708 h 1043557"/>
                <a:gd name="connsiteX140" fmla="*/ 869738 w 1046881"/>
                <a:gd name="connsiteY140" fmla="*/ 759426 h 1043557"/>
                <a:gd name="connsiteX141" fmla="*/ 860381 w 1046881"/>
                <a:gd name="connsiteY141" fmla="*/ 763320 h 1043557"/>
                <a:gd name="connsiteX142" fmla="*/ 855058 w 1046881"/>
                <a:gd name="connsiteY142" fmla="*/ 766895 h 1043557"/>
                <a:gd name="connsiteX143" fmla="*/ 849541 w 1046881"/>
                <a:gd name="connsiteY143" fmla="*/ 770287 h 1043557"/>
                <a:gd name="connsiteX144" fmla="*/ 826641 w 1046881"/>
                <a:gd name="connsiteY144" fmla="*/ 787468 h 1043557"/>
                <a:gd name="connsiteX145" fmla="*/ 808960 w 1046881"/>
                <a:gd name="connsiteY145" fmla="*/ 807887 h 1043557"/>
                <a:gd name="connsiteX146" fmla="*/ 807714 w 1046881"/>
                <a:gd name="connsiteY146" fmla="*/ 808050 h 1043557"/>
                <a:gd name="connsiteX147" fmla="*/ 807356 w 1046881"/>
                <a:gd name="connsiteY147" fmla="*/ 806882 h 1043557"/>
                <a:gd name="connsiteX148" fmla="*/ 817787 w 1046881"/>
                <a:gd name="connsiteY148" fmla="*/ 790498 h 1043557"/>
                <a:gd name="connsiteX149" fmla="*/ 823690 w 1046881"/>
                <a:gd name="connsiteY149" fmla="*/ 783760 h 1043557"/>
                <a:gd name="connsiteX150" fmla="*/ 832078 w 1046881"/>
                <a:gd name="connsiteY150" fmla="*/ 776906 h 1043557"/>
                <a:gd name="connsiteX151" fmla="*/ 829923 w 1046881"/>
                <a:gd name="connsiteY151" fmla="*/ 776147 h 1043557"/>
                <a:gd name="connsiteX152" fmla="*/ 827201 w 1046881"/>
                <a:gd name="connsiteY152" fmla="*/ 777335 h 1043557"/>
                <a:gd name="connsiteX153" fmla="*/ 820822 w 1046881"/>
                <a:gd name="connsiteY153" fmla="*/ 777544 h 1043557"/>
                <a:gd name="connsiteX154" fmla="*/ 820635 w 1046881"/>
                <a:gd name="connsiteY154" fmla="*/ 771394 h 1043557"/>
                <a:gd name="connsiteX155" fmla="*/ 821485 w 1046881"/>
                <a:gd name="connsiteY155" fmla="*/ 765316 h 1043557"/>
                <a:gd name="connsiteX156" fmla="*/ 818507 w 1046881"/>
                <a:gd name="connsiteY156" fmla="*/ 761403 h 1043557"/>
                <a:gd name="connsiteX157" fmla="*/ 814762 w 1046881"/>
                <a:gd name="connsiteY157" fmla="*/ 765778 h 1043557"/>
                <a:gd name="connsiteX158" fmla="*/ 810038 w 1046881"/>
                <a:gd name="connsiteY158" fmla="*/ 770523 h 1043557"/>
                <a:gd name="connsiteX159" fmla="*/ 805169 w 1046881"/>
                <a:gd name="connsiteY159" fmla="*/ 769703 h 1043557"/>
                <a:gd name="connsiteX160" fmla="*/ 803350 w 1046881"/>
                <a:gd name="connsiteY160" fmla="*/ 769941 h 1043557"/>
                <a:gd name="connsiteX161" fmla="*/ 803389 w 1046881"/>
                <a:gd name="connsiteY161" fmla="*/ 771809 h 1043557"/>
                <a:gd name="connsiteX162" fmla="*/ 807659 w 1046881"/>
                <a:gd name="connsiteY162" fmla="*/ 779056 h 1043557"/>
                <a:gd name="connsiteX163" fmla="*/ 811335 w 1046881"/>
                <a:gd name="connsiteY163" fmla="*/ 785167 h 1043557"/>
                <a:gd name="connsiteX164" fmla="*/ 813108 w 1046881"/>
                <a:gd name="connsiteY164" fmla="*/ 786149 h 1043557"/>
                <a:gd name="connsiteX165" fmla="*/ 814870 w 1046881"/>
                <a:gd name="connsiteY165" fmla="*/ 788625 h 1043557"/>
                <a:gd name="connsiteX166" fmla="*/ 806028 w 1046881"/>
                <a:gd name="connsiteY166" fmla="*/ 804593 h 1043557"/>
                <a:gd name="connsiteX167" fmla="*/ 802425 w 1046881"/>
                <a:gd name="connsiteY167" fmla="*/ 806902 h 1043557"/>
                <a:gd name="connsiteX168" fmla="*/ 800728 w 1046881"/>
                <a:gd name="connsiteY168" fmla="*/ 811217 h 1043557"/>
                <a:gd name="connsiteX169" fmla="*/ 800328 w 1046881"/>
                <a:gd name="connsiteY169" fmla="*/ 816022 h 1043557"/>
                <a:gd name="connsiteX170" fmla="*/ 798253 w 1046881"/>
                <a:gd name="connsiteY170" fmla="*/ 820595 h 1043557"/>
                <a:gd name="connsiteX171" fmla="*/ 797701 w 1046881"/>
                <a:gd name="connsiteY171" fmla="*/ 821083 h 1043557"/>
                <a:gd name="connsiteX172" fmla="*/ 771095 w 1046881"/>
                <a:gd name="connsiteY172" fmla="*/ 839789 h 1043557"/>
                <a:gd name="connsiteX173" fmla="*/ 769578 w 1046881"/>
                <a:gd name="connsiteY173" fmla="*/ 839190 h 1043557"/>
                <a:gd name="connsiteX174" fmla="*/ 766035 w 1046881"/>
                <a:gd name="connsiteY174" fmla="*/ 838820 h 1043557"/>
                <a:gd name="connsiteX175" fmla="*/ 761925 w 1046881"/>
                <a:gd name="connsiteY175" fmla="*/ 840398 h 1043557"/>
                <a:gd name="connsiteX176" fmla="*/ 760071 w 1046881"/>
                <a:gd name="connsiteY176" fmla="*/ 843519 h 1043557"/>
                <a:gd name="connsiteX177" fmla="*/ 764719 w 1046881"/>
                <a:gd name="connsiteY177" fmla="*/ 842912 h 1043557"/>
                <a:gd name="connsiteX178" fmla="*/ 746112 w 1046881"/>
                <a:gd name="connsiteY178" fmla="*/ 858075 h 1043557"/>
                <a:gd name="connsiteX179" fmla="*/ 746207 w 1046881"/>
                <a:gd name="connsiteY179" fmla="*/ 857230 h 1043557"/>
                <a:gd name="connsiteX180" fmla="*/ 750006 w 1046881"/>
                <a:gd name="connsiteY180" fmla="*/ 853264 h 1043557"/>
                <a:gd name="connsiteX181" fmla="*/ 754715 w 1046881"/>
                <a:gd name="connsiteY181" fmla="*/ 849978 h 1043557"/>
                <a:gd name="connsiteX182" fmla="*/ 752331 w 1046881"/>
                <a:gd name="connsiteY182" fmla="*/ 849040 h 1043557"/>
                <a:gd name="connsiteX183" fmla="*/ 749327 w 1046881"/>
                <a:gd name="connsiteY183" fmla="*/ 849641 h 1043557"/>
                <a:gd name="connsiteX184" fmla="*/ 744038 w 1046881"/>
                <a:gd name="connsiteY184" fmla="*/ 848494 h 1043557"/>
                <a:gd name="connsiteX185" fmla="*/ 741243 w 1046881"/>
                <a:gd name="connsiteY185" fmla="*/ 845980 h 1043557"/>
                <a:gd name="connsiteX186" fmla="*/ 739378 w 1046881"/>
                <a:gd name="connsiteY186" fmla="*/ 847438 h 1043557"/>
                <a:gd name="connsiteX187" fmla="*/ 737544 w 1046881"/>
                <a:gd name="connsiteY187" fmla="*/ 849134 h 1043557"/>
                <a:gd name="connsiteX188" fmla="*/ 735996 w 1046881"/>
                <a:gd name="connsiteY188" fmla="*/ 848296 h 1043557"/>
                <a:gd name="connsiteX189" fmla="*/ 734440 w 1046881"/>
                <a:gd name="connsiteY189" fmla="*/ 847667 h 1043557"/>
                <a:gd name="connsiteX190" fmla="*/ 733106 w 1046881"/>
                <a:gd name="connsiteY190" fmla="*/ 848466 h 1043557"/>
                <a:gd name="connsiteX191" fmla="*/ 733900 w 1046881"/>
                <a:gd name="connsiteY191" fmla="*/ 849819 h 1043557"/>
                <a:gd name="connsiteX192" fmla="*/ 734715 w 1046881"/>
                <a:gd name="connsiteY192" fmla="*/ 851342 h 1043557"/>
                <a:gd name="connsiteX193" fmla="*/ 729171 w 1046881"/>
                <a:gd name="connsiteY193" fmla="*/ 854530 h 1043557"/>
                <a:gd name="connsiteX194" fmla="*/ 724496 w 1046881"/>
                <a:gd name="connsiteY194" fmla="*/ 850215 h 1043557"/>
                <a:gd name="connsiteX195" fmla="*/ 720450 w 1046881"/>
                <a:gd name="connsiteY195" fmla="*/ 845991 h 1043557"/>
                <a:gd name="connsiteX196" fmla="*/ 719256 w 1046881"/>
                <a:gd name="connsiteY196" fmla="*/ 849443 h 1043557"/>
                <a:gd name="connsiteX197" fmla="*/ 727593 w 1046881"/>
                <a:gd name="connsiteY197" fmla="*/ 856610 h 1043557"/>
                <a:gd name="connsiteX198" fmla="*/ 735623 w 1046881"/>
                <a:gd name="connsiteY198" fmla="*/ 864580 h 1043557"/>
                <a:gd name="connsiteX199" fmla="*/ 732973 w 1046881"/>
                <a:gd name="connsiteY199" fmla="*/ 874188 h 1043557"/>
                <a:gd name="connsiteX200" fmla="*/ 720589 w 1046881"/>
                <a:gd name="connsiteY200" fmla="*/ 885069 h 1043557"/>
                <a:gd name="connsiteX201" fmla="*/ 710786 w 1046881"/>
                <a:gd name="connsiteY201" fmla="*/ 894988 h 1043557"/>
                <a:gd name="connsiteX202" fmla="*/ 704220 w 1046881"/>
                <a:gd name="connsiteY202" fmla="*/ 904518 h 1043557"/>
                <a:gd name="connsiteX203" fmla="*/ 703581 w 1046881"/>
                <a:gd name="connsiteY203" fmla="*/ 904602 h 1043557"/>
                <a:gd name="connsiteX204" fmla="*/ 703469 w 1046881"/>
                <a:gd name="connsiteY204" fmla="*/ 901911 h 1043557"/>
                <a:gd name="connsiteX205" fmla="*/ 709101 w 1046881"/>
                <a:gd name="connsiteY205" fmla="*/ 891531 h 1043557"/>
                <a:gd name="connsiteX206" fmla="*/ 716258 w 1046881"/>
                <a:gd name="connsiteY206" fmla="*/ 883380 h 1043557"/>
                <a:gd name="connsiteX207" fmla="*/ 724565 w 1046881"/>
                <a:gd name="connsiteY207" fmla="*/ 875911 h 1043557"/>
                <a:gd name="connsiteX208" fmla="*/ 732355 w 1046881"/>
                <a:gd name="connsiteY208" fmla="*/ 867886 h 1043557"/>
                <a:gd name="connsiteX209" fmla="*/ 730334 w 1046881"/>
                <a:gd name="connsiteY209" fmla="*/ 868150 h 1043557"/>
                <a:gd name="connsiteX210" fmla="*/ 725301 w 1046881"/>
                <a:gd name="connsiteY210" fmla="*/ 872103 h 1043557"/>
                <a:gd name="connsiteX211" fmla="*/ 720463 w 1046881"/>
                <a:gd name="connsiteY211" fmla="*/ 874401 h 1043557"/>
                <a:gd name="connsiteX212" fmla="*/ 716059 w 1046881"/>
                <a:gd name="connsiteY212" fmla="*/ 870848 h 1043557"/>
                <a:gd name="connsiteX213" fmla="*/ 712299 w 1046881"/>
                <a:gd name="connsiteY213" fmla="*/ 867246 h 1043557"/>
                <a:gd name="connsiteX214" fmla="*/ 711269 w 1046881"/>
                <a:gd name="connsiteY214" fmla="*/ 868803 h 1043557"/>
                <a:gd name="connsiteX215" fmla="*/ 713215 w 1046881"/>
                <a:gd name="connsiteY215" fmla="*/ 872677 h 1043557"/>
                <a:gd name="connsiteX216" fmla="*/ 715235 w 1046881"/>
                <a:gd name="connsiteY216" fmla="*/ 877131 h 1043557"/>
                <a:gd name="connsiteX217" fmla="*/ 712513 w 1046881"/>
                <a:gd name="connsiteY217" fmla="*/ 883037 h 1043557"/>
                <a:gd name="connsiteX218" fmla="*/ 706981 w 1046881"/>
                <a:gd name="connsiteY218" fmla="*/ 887888 h 1043557"/>
                <a:gd name="connsiteX219" fmla="*/ 703331 w 1046881"/>
                <a:gd name="connsiteY219" fmla="*/ 886700 h 1043557"/>
                <a:gd name="connsiteX220" fmla="*/ 697349 w 1046881"/>
                <a:gd name="connsiteY220" fmla="*/ 885227 h 1043557"/>
                <a:gd name="connsiteX221" fmla="*/ 694996 w 1046881"/>
                <a:gd name="connsiteY221" fmla="*/ 889246 h 1043557"/>
                <a:gd name="connsiteX222" fmla="*/ 696194 w 1046881"/>
                <a:gd name="connsiteY222" fmla="*/ 895264 h 1043557"/>
                <a:gd name="connsiteX223" fmla="*/ 698047 w 1046881"/>
                <a:gd name="connsiteY223" fmla="*/ 892143 h 1043557"/>
                <a:gd name="connsiteX224" fmla="*/ 699927 w 1046881"/>
                <a:gd name="connsiteY224" fmla="*/ 889226 h 1043557"/>
                <a:gd name="connsiteX225" fmla="*/ 702527 w 1046881"/>
                <a:gd name="connsiteY225" fmla="*/ 893396 h 1043557"/>
                <a:gd name="connsiteX226" fmla="*/ 698570 w 1046881"/>
                <a:gd name="connsiteY226" fmla="*/ 904008 h 1043557"/>
                <a:gd name="connsiteX227" fmla="*/ 692950 w 1046881"/>
                <a:gd name="connsiteY227" fmla="*/ 911334 h 1043557"/>
                <a:gd name="connsiteX228" fmla="*/ 689044 w 1046881"/>
                <a:gd name="connsiteY228" fmla="*/ 909762 h 1043557"/>
                <a:gd name="connsiteX229" fmla="*/ 681243 w 1046881"/>
                <a:gd name="connsiteY229" fmla="*/ 908527 h 1043557"/>
                <a:gd name="connsiteX230" fmla="*/ 676481 w 1046881"/>
                <a:gd name="connsiteY230" fmla="*/ 911404 h 1043557"/>
                <a:gd name="connsiteX231" fmla="*/ 684347 w 1046881"/>
                <a:gd name="connsiteY231" fmla="*/ 916551 h 1043557"/>
                <a:gd name="connsiteX232" fmla="*/ 688847 w 1046881"/>
                <a:gd name="connsiteY232" fmla="*/ 919259 h 1043557"/>
                <a:gd name="connsiteX233" fmla="*/ 679949 w 1046881"/>
                <a:gd name="connsiteY233" fmla="*/ 947376 h 1043557"/>
                <a:gd name="connsiteX234" fmla="*/ 677516 w 1046881"/>
                <a:gd name="connsiteY234" fmla="*/ 946063 h 1043557"/>
                <a:gd name="connsiteX235" fmla="*/ 675052 w 1046881"/>
                <a:gd name="connsiteY235" fmla="*/ 944512 h 1043557"/>
                <a:gd name="connsiteX236" fmla="*/ 669844 w 1046881"/>
                <a:gd name="connsiteY236" fmla="*/ 945817 h 1043557"/>
                <a:gd name="connsiteX237" fmla="*/ 667236 w 1046881"/>
                <a:gd name="connsiteY237" fmla="*/ 949453 h 1043557"/>
                <a:gd name="connsiteX238" fmla="*/ 677623 w 1046881"/>
                <a:gd name="connsiteY238" fmla="*/ 951600 h 1043557"/>
                <a:gd name="connsiteX239" fmla="*/ 681760 w 1046881"/>
                <a:gd name="connsiteY239" fmla="*/ 950227 h 1043557"/>
                <a:gd name="connsiteX240" fmla="*/ 685390 w 1046881"/>
                <a:gd name="connsiteY240" fmla="*/ 952840 h 1043557"/>
                <a:gd name="connsiteX241" fmla="*/ 681844 w 1046881"/>
                <a:gd name="connsiteY241" fmla="*/ 965028 h 1043557"/>
                <a:gd name="connsiteX242" fmla="*/ 677303 w 1046881"/>
                <a:gd name="connsiteY242" fmla="*/ 971172 h 1043557"/>
                <a:gd name="connsiteX243" fmla="*/ 680220 w 1046881"/>
                <a:gd name="connsiteY243" fmla="*/ 973045 h 1043557"/>
                <a:gd name="connsiteX244" fmla="*/ 682966 w 1046881"/>
                <a:gd name="connsiteY244" fmla="*/ 975185 h 1043557"/>
                <a:gd name="connsiteX245" fmla="*/ 681585 w 1046881"/>
                <a:gd name="connsiteY245" fmla="*/ 977204 h 1043557"/>
                <a:gd name="connsiteX246" fmla="*/ 680312 w 1046881"/>
                <a:gd name="connsiteY246" fmla="*/ 980041 h 1043557"/>
                <a:gd name="connsiteX247" fmla="*/ 683443 w 1046881"/>
                <a:gd name="connsiteY247" fmla="*/ 983552 h 1043557"/>
                <a:gd name="connsiteX248" fmla="*/ 688091 w 1046881"/>
                <a:gd name="connsiteY248" fmla="*/ 992380 h 1043557"/>
                <a:gd name="connsiteX249" fmla="*/ 689758 w 1046881"/>
                <a:gd name="connsiteY249" fmla="*/ 1000419 h 1043557"/>
                <a:gd name="connsiteX250" fmla="*/ 691535 w 1046881"/>
                <a:gd name="connsiteY250" fmla="*/ 1006153 h 1043557"/>
                <a:gd name="connsiteX251" fmla="*/ 696126 w 1046881"/>
                <a:gd name="connsiteY251" fmla="*/ 1017695 h 1043557"/>
                <a:gd name="connsiteX252" fmla="*/ 699360 w 1046881"/>
                <a:gd name="connsiteY252" fmla="*/ 1021990 h 1043557"/>
                <a:gd name="connsiteX253" fmla="*/ 701838 w 1046881"/>
                <a:gd name="connsiteY253" fmla="*/ 1026800 h 1043557"/>
                <a:gd name="connsiteX254" fmla="*/ 700732 w 1046881"/>
                <a:gd name="connsiteY254" fmla="*/ 1030657 h 1043557"/>
                <a:gd name="connsiteX255" fmla="*/ 699410 w 1046881"/>
                <a:gd name="connsiteY255" fmla="*/ 1034957 h 1043557"/>
                <a:gd name="connsiteX256" fmla="*/ 700859 w 1046881"/>
                <a:gd name="connsiteY256" fmla="*/ 1036606 h 1043557"/>
                <a:gd name="connsiteX257" fmla="*/ 702974 w 1046881"/>
                <a:gd name="connsiteY257" fmla="*/ 1033659 h 1043557"/>
                <a:gd name="connsiteX258" fmla="*/ 705056 w 1046881"/>
                <a:gd name="connsiteY258" fmla="*/ 1030716 h 1043557"/>
                <a:gd name="connsiteX259" fmla="*/ 709446 w 1046881"/>
                <a:gd name="connsiteY259" fmla="*/ 1037566 h 1043557"/>
                <a:gd name="connsiteX260" fmla="*/ 698312 w 1046881"/>
                <a:gd name="connsiteY260" fmla="*/ 1042282 h 1043557"/>
                <a:gd name="connsiteX261" fmla="*/ 693542 w 1046881"/>
                <a:gd name="connsiteY261" fmla="*/ 1043529 h 1043557"/>
                <a:gd name="connsiteX262" fmla="*/ 687990 w 1046881"/>
                <a:gd name="connsiteY262" fmla="*/ 1040370 h 1043557"/>
                <a:gd name="connsiteX263" fmla="*/ 678999 w 1046881"/>
                <a:gd name="connsiteY263" fmla="*/ 1034745 h 1043557"/>
                <a:gd name="connsiteX264" fmla="*/ 672688 w 1046881"/>
                <a:gd name="connsiteY264" fmla="*/ 1032067 h 1043557"/>
                <a:gd name="connsiteX265" fmla="*/ 645386 w 1046881"/>
                <a:gd name="connsiteY265" fmla="*/ 1034177 h 1043557"/>
                <a:gd name="connsiteX266" fmla="*/ 637620 w 1046881"/>
                <a:gd name="connsiteY266" fmla="*/ 1030058 h 1043557"/>
                <a:gd name="connsiteX267" fmla="*/ 631438 w 1046881"/>
                <a:gd name="connsiteY267" fmla="*/ 1023650 h 1043557"/>
                <a:gd name="connsiteX268" fmla="*/ 625719 w 1046881"/>
                <a:gd name="connsiteY268" fmla="*/ 1022351 h 1043557"/>
                <a:gd name="connsiteX269" fmla="*/ 619729 w 1046881"/>
                <a:gd name="connsiteY269" fmla="*/ 1023967 h 1043557"/>
                <a:gd name="connsiteX270" fmla="*/ 616286 w 1046881"/>
                <a:gd name="connsiteY270" fmla="*/ 1022786 h 1043557"/>
                <a:gd name="connsiteX271" fmla="*/ 612117 w 1046881"/>
                <a:gd name="connsiteY271" fmla="*/ 1019203 h 1043557"/>
                <a:gd name="connsiteX272" fmla="*/ 599158 w 1046881"/>
                <a:gd name="connsiteY272" fmla="*/ 1017809 h 1043557"/>
                <a:gd name="connsiteX273" fmla="*/ 594928 w 1046881"/>
                <a:gd name="connsiteY273" fmla="*/ 1016904 h 1043557"/>
                <a:gd name="connsiteX274" fmla="*/ 592934 w 1046881"/>
                <a:gd name="connsiteY274" fmla="*/ 1012655 h 1043557"/>
                <a:gd name="connsiteX275" fmla="*/ 590166 w 1046881"/>
                <a:gd name="connsiteY275" fmla="*/ 1010346 h 1043557"/>
                <a:gd name="connsiteX276" fmla="*/ 587451 w 1046881"/>
                <a:gd name="connsiteY276" fmla="*/ 1008446 h 1043557"/>
                <a:gd name="connsiteX277" fmla="*/ 583622 w 1046881"/>
                <a:gd name="connsiteY277" fmla="*/ 993301 h 1043557"/>
                <a:gd name="connsiteX278" fmla="*/ 574780 w 1046881"/>
                <a:gd name="connsiteY278" fmla="*/ 982523 h 1043557"/>
                <a:gd name="connsiteX279" fmla="*/ 567217 w 1046881"/>
                <a:gd name="connsiteY279" fmla="*/ 973416 h 1043557"/>
                <a:gd name="connsiteX280" fmla="*/ 566752 w 1046881"/>
                <a:gd name="connsiteY280" fmla="*/ 966713 h 1043557"/>
                <a:gd name="connsiteX281" fmla="*/ 566996 w 1046881"/>
                <a:gd name="connsiteY281" fmla="*/ 960714 h 1043557"/>
                <a:gd name="connsiteX282" fmla="*/ 563873 w 1046881"/>
                <a:gd name="connsiteY282" fmla="*/ 958833 h 1043557"/>
                <a:gd name="connsiteX283" fmla="*/ 562592 w 1046881"/>
                <a:gd name="connsiteY283" fmla="*/ 955323 h 1043557"/>
                <a:gd name="connsiteX284" fmla="*/ 562782 w 1046881"/>
                <a:gd name="connsiteY284" fmla="*/ 948915 h 1043557"/>
                <a:gd name="connsiteX285" fmla="*/ 560662 w 1046881"/>
                <a:gd name="connsiteY285" fmla="*/ 945272 h 1043557"/>
                <a:gd name="connsiteX286" fmla="*/ 555079 w 1046881"/>
                <a:gd name="connsiteY286" fmla="*/ 937156 h 1043557"/>
                <a:gd name="connsiteX287" fmla="*/ 547629 w 1046881"/>
                <a:gd name="connsiteY287" fmla="*/ 935458 h 1043557"/>
                <a:gd name="connsiteX288" fmla="*/ 542275 w 1046881"/>
                <a:gd name="connsiteY288" fmla="*/ 927520 h 1043557"/>
                <a:gd name="connsiteX289" fmla="*/ 535865 w 1046881"/>
                <a:gd name="connsiteY289" fmla="*/ 916216 h 1043557"/>
                <a:gd name="connsiteX290" fmla="*/ 523400 w 1046881"/>
                <a:gd name="connsiteY290" fmla="*/ 904455 h 1043557"/>
                <a:gd name="connsiteX291" fmla="*/ 511396 w 1046881"/>
                <a:gd name="connsiteY291" fmla="*/ 895963 h 1043557"/>
                <a:gd name="connsiteX292" fmla="*/ 508044 w 1046881"/>
                <a:gd name="connsiteY292" fmla="*/ 889186 h 1043557"/>
                <a:gd name="connsiteX293" fmla="*/ 505276 w 1046881"/>
                <a:gd name="connsiteY293" fmla="*/ 879279 h 1043557"/>
                <a:gd name="connsiteX294" fmla="*/ 500273 w 1046881"/>
                <a:gd name="connsiteY294" fmla="*/ 870879 h 1043557"/>
                <a:gd name="connsiteX295" fmla="*/ 493351 w 1046881"/>
                <a:gd name="connsiteY295" fmla="*/ 858809 h 1043557"/>
                <a:gd name="connsiteX296" fmla="*/ 486308 w 1046881"/>
                <a:gd name="connsiteY296" fmla="*/ 847380 h 1043557"/>
                <a:gd name="connsiteX297" fmla="*/ 480833 w 1046881"/>
                <a:gd name="connsiteY297" fmla="*/ 841921 h 1043557"/>
                <a:gd name="connsiteX298" fmla="*/ 476032 w 1046881"/>
                <a:gd name="connsiteY298" fmla="*/ 833494 h 1043557"/>
                <a:gd name="connsiteX299" fmla="*/ 469492 w 1046881"/>
                <a:gd name="connsiteY299" fmla="*/ 825919 h 1043557"/>
                <a:gd name="connsiteX300" fmla="*/ 456593 w 1046881"/>
                <a:gd name="connsiteY300" fmla="*/ 817128 h 1043557"/>
                <a:gd name="connsiteX301" fmla="*/ 444322 w 1046881"/>
                <a:gd name="connsiteY301" fmla="*/ 806590 h 1043557"/>
                <a:gd name="connsiteX302" fmla="*/ 437176 w 1046881"/>
                <a:gd name="connsiteY302" fmla="*/ 799094 h 1043557"/>
                <a:gd name="connsiteX303" fmla="*/ 432691 w 1046881"/>
                <a:gd name="connsiteY303" fmla="*/ 794928 h 1043557"/>
                <a:gd name="connsiteX304" fmla="*/ 424006 w 1046881"/>
                <a:gd name="connsiteY304" fmla="*/ 800815 h 1043557"/>
                <a:gd name="connsiteX305" fmla="*/ 417534 w 1046881"/>
                <a:gd name="connsiteY305" fmla="*/ 796909 h 1043557"/>
                <a:gd name="connsiteX306" fmla="*/ 407773 w 1046881"/>
                <a:gd name="connsiteY306" fmla="*/ 797976 h 1043557"/>
                <a:gd name="connsiteX307" fmla="*/ 400834 w 1046881"/>
                <a:gd name="connsiteY307" fmla="*/ 799923 h 1043557"/>
                <a:gd name="connsiteX308" fmla="*/ 389208 w 1046881"/>
                <a:gd name="connsiteY308" fmla="*/ 793013 h 1043557"/>
                <a:gd name="connsiteX309" fmla="*/ 377883 w 1046881"/>
                <a:gd name="connsiteY309" fmla="*/ 802298 h 1043557"/>
                <a:gd name="connsiteX310" fmla="*/ 370231 w 1046881"/>
                <a:gd name="connsiteY310" fmla="*/ 805345 h 1043557"/>
                <a:gd name="connsiteX311" fmla="*/ 364515 w 1046881"/>
                <a:gd name="connsiteY311" fmla="*/ 813516 h 1043557"/>
                <a:gd name="connsiteX312" fmla="*/ 355720 w 1046881"/>
                <a:gd name="connsiteY312" fmla="*/ 832981 h 1043557"/>
                <a:gd name="connsiteX313" fmla="*/ 345463 w 1046881"/>
                <a:gd name="connsiteY313" fmla="*/ 852014 h 1043557"/>
                <a:gd name="connsiteX314" fmla="*/ 338989 w 1046881"/>
                <a:gd name="connsiteY314" fmla="*/ 857786 h 1043557"/>
                <a:gd name="connsiteX315" fmla="*/ 331989 w 1046881"/>
                <a:gd name="connsiteY315" fmla="*/ 857695 h 1043557"/>
                <a:gd name="connsiteX316" fmla="*/ 324595 w 1046881"/>
                <a:gd name="connsiteY316" fmla="*/ 853284 h 1043557"/>
                <a:gd name="connsiteX317" fmla="*/ 320366 w 1046881"/>
                <a:gd name="connsiteY317" fmla="*/ 847662 h 1043557"/>
                <a:gd name="connsiteX318" fmla="*/ 314848 w 1046881"/>
                <a:gd name="connsiteY318" fmla="*/ 846336 h 1043557"/>
                <a:gd name="connsiteX319" fmla="*/ 309567 w 1046881"/>
                <a:gd name="connsiteY319" fmla="*/ 846818 h 1043557"/>
                <a:gd name="connsiteX320" fmla="*/ 303169 w 1046881"/>
                <a:gd name="connsiteY320" fmla="*/ 839016 h 1043557"/>
                <a:gd name="connsiteX321" fmla="*/ 298345 w 1046881"/>
                <a:gd name="connsiteY321" fmla="*/ 839855 h 1043557"/>
                <a:gd name="connsiteX322" fmla="*/ 291062 w 1046881"/>
                <a:gd name="connsiteY322" fmla="*/ 839176 h 1043557"/>
                <a:gd name="connsiteX323" fmla="*/ 284443 w 1046881"/>
                <a:gd name="connsiteY323" fmla="*/ 830987 h 1043557"/>
                <a:gd name="connsiteX324" fmla="*/ 275741 w 1046881"/>
                <a:gd name="connsiteY324" fmla="*/ 822862 h 1043557"/>
                <a:gd name="connsiteX325" fmla="*/ 257012 w 1046881"/>
                <a:gd name="connsiteY325" fmla="*/ 807201 h 1043557"/>
                <a:gd name="connsiteX326" fmla="*/ 251493 w 1046881"/>
                <a:gd name="connsiteY326" fmla="*/ 783847 h 1043557"/>
                <a:gd name="connsiteX327" fmla="*/ 249178 w 1046881"/>
                <a:gd name="connsiteY327" fmla="*/ 777143 h 1043557"/>
                <a:gd name="connsiteX328" fmla="*/ 244133 w 1046881"/>
                <a:gd name="connsiteY328" fmla="*/ 769997 h 1043557"/>
                <a:gd name="connsiteX329" fmla="*/ 240735 w 1046881"/>
                <a:gd name="connsiteY329" fmla="*/ 759721 h 1043557"/>
                <a:gd name="connsiteX330" fmla="*/ 237353 w 1046881"/>
                <a:gd name="connsiteY330" fmla="*/ 751144 h 1043557"/>
                <a:gd name="connsiteX331" fmla="*/ 220873 w 1046881"/>
                <a:gd name="connsiteY331" fmla="*/ 740115 h 1043557"/>
                <a:gd name="connsiteX332" fmla="*/ 204289 w 1046881"/>
                <a:gd name="connsiteY332" fmla="*/ 728302 h 1043557"/>
                <a:gd name="connsiteX333" fmla="*/ 195454 w 1046881"/>
                <a:gd name="connsiteY333" fmla="*/ 717315 h 1043557"/>
                <a:gd name="connsiteX334" fmla="*/ 185697 w 1046881"/>
                <a:gd name="connsiteY334" fmla="*/ 705824 h 1043557"/>
                <a:gd name="connsiteX335" fmla="*/ 171504 w 1046881"/>
                <a:gd name="connsiteY335" fmla="*/ 699458 h 1043557"/>
                <a:gd name="connsiteX336" fmla="*/ 160156 w 1046881"/>
                <a:gd name="connsiteY336" fmla="*/ 688383 h 1043557"/>
                <a:gd name="connsiteX337" fmla="*/ 150856 w 1046881"/>
                <a:gd name="connsiteY337" fmla="*/ 675410 h 1043557"/>
                <a:gd name="connsiteX338" fmla="*/ 143062 w 1046881"/>
                <a:gd name="connsiteY338" fmla="*/ 671086 h 1043557"/>
                <a:gd name="connsiteX339" fmla="*/ 136420 w 1046881"/>
                <a:gd name="connsiteY339" fmla="*/ 659498 h 1043557"/>
                <a:gd name="connsiteX340" fmla="*/ 136190 w 1046881"/>
                <a:gd name="connsiteY340" fmla="*/ 659498 h 1043557"/>
                <a:gd name="connsiteX341" fmla="*/ 141544 w 1046881"/>
                <a:gd name="connsiteY341" fmla="*/ 668812 h 1043557"/>
                <a:gd name="connsiteX342" fmla="*/ 50003 w 1046881"/>
                <a:gd name="connsiteY342" fmla="*/ 668017 h 1043557"/>
                <a:gd name="connsiteX343" fmla="*/ 47288 w 1046881"/>
                <a:gd name="connsiteY343" fmla="*/ 700870 h 1043557"/>
                <a:gd name="connsiteX344" fmla="*/ 0 w 1046881"/>
                <a:gd name="connsiteY344" fmla="*/ 699846 h 1043557"/>
                <a:gd name="connsiteX345" fmla="*/ 5742 w 1046881"/>
                <a:gd name="connsiteY345" fmla="*/ 310383 h 1043557"/>
                <a:gd name="connsiteX346" fmla="*/ 7002 w 1046881"/>
                <a:gd name="connsiteY346" fmla="*/ 310391 h 1043557"/>
                <a:gd name="connsiteX347" fmla="*/ 9852 w 1046881"/>
                <a:gd name="connsiteY347" fmla="*/ 38008 h 1043557"/>
                <a:gd name="connsiteX0" fmla="*/ 721538 w 1046881"/>
                <a:gd name="connsiteY0" fmla="*/ 82028 h 1043557"/>
                <a:gd name="connsiteX1" fmla="*/ 719542 w 1046881"/>
                <a:gd name="connsiteY1" fmla="*/ 84784 h 1043557"/>
                <a:gd name="connsiteX2" fmla="*/ 719411 w 1046881"/>
                <a:gd name="connsiteY2" fmla="*/ 85010 h 1043557"/>
                <a:gd name="connsiteX3" fmla="*/ 721556 w 1046881"/>
                <a:gd name="connsiteY3" fmla="*/ 82039 h 1043557"/>
                <a:gd name="connsiteX4" fmla="*/ 721538 w 1046881"/>
                <a:gd name="connsiteY4" fmla="*/ 82028 h 1043557"/>
                <a:gd name="connsiteX5" fmla="*/ 9852 w 1046881"/>
                <a:gd name="connsiteY5" fmla="*/ 38008 h 1043557"/>
                <a:gd name="connsiteX6" fmla="*/ 83022 w 1046881"/>
                <a:gd name="connsiteY6" fmla="*/ 38941 h 1043557"/>
                <a:gd name="connsiteX7" fmla="*/ 261203 w 1046881"/>
                <a:gd name="connsiteY7" fmla="*/ 35587 h 1043557"/>
                <a:gd name="connsiteX8" fmla="*/ 357880 w 1046881"/>
                <a:gd name="connsiteY8" fmla="*/ 30573 h 1043557"/>
                <a:gd name="connsiteX9" fmla="*/ 362042 w 1046881"/>
                <a:gd name="connsiteY9" fmla="*/ 95017 h 1043557"/>
                <a:gd name="connsiteX10" fmla="*/ 387674 w 1046881"/>
                <a:gd name="connsiteY10" fmla="*/ 94887 h 1043557"/>
                <a:gd name="connsiteX11" fmla="*/ 459061 w 1046881"/>
                <a:gd name="connsiteY11" fmla="*/ 92743 h 1043557"/>
                <a:gd name="connsiteX12" fmla="*/ 696362 w 1046881"/>
                <a:gd name="connsiteY12" fmla="*/ 68270 h 1043557"/>
                <a:gd name="connsiteX13" fmla="*/ 695276 w 1046881"/>
                <a:gd name="connsiteY13" fmla="*/ 66765 h 1043557"/>
                <a:gd name="connsiteX14" fmla="*/ 688988 w 1046881"/>
                <a:gd name="connsiteY14" fmla="*/ 57924 h 1043557"/>
                <a:gd name="connsiteX15" fmla="*/ 685468 w 1046881"/>
                <a:gd name="connsiteY15" fmla="*/ 53037 h 1043557"/>
                <a:gd name="connsiteX16" fmla="*/ 681682 w 1046881"/>
                <a:gd name="connsiteY16" fmla="*/ 49216 h 1043557"/>
                <a:gd name="connsiteX17" fmla="*/ 679085 w 1046881"/>
                <a:gd name="connsiteY17" fmla="*/ 43589 h 1043557"/>
                <a:gd name="connsiteX18" fmla="*/ 676819 w 1046881"/>
                <a:gd name="connsiteY18" fmla="*/ 38759 h 1043557"/>
                <a:gd name="connsiteX19" fmla="*/ 673089 w 1046881"/>
                <a:gd name="connsiteY19" fmla="*/ 36979 h 1043557"/>
                <a:gd name="connsiteX20" fmla="*/ 670969 w 1046881"/>
                <a:gd name="connsiteY20" fmla="*/ 31908 h 1043557"/>
                <a:gd name="connsiteX21" fmla="*/ 670335 w 1046881"/>
                <a:gd name="connsiteY21" fmla="*/ 30150 h 1043557"/>
                <a:gd name="connsiteX22" fmla="*/ 742429 w 1046881"/>
                <a:gd name="connsiteY22" fmla="*/ 22983 h 1043557"/>
                <a:gd name="connsiteX23" fmla="*/ 868019 w 1046881"/>
                <a:gd name="connsiteY23" fmla="*/ 0 h 1043557"/>
                <a:gd name="connsiteX24" fmla="*/ 870170 w 1046881"/>
                <a:gd name="connsiteY24" fmla="*/ 3829 h 1043557"/>
                <a:gd name="connsiteX25" fmla="*/ 875839 w 1046881"/>
                <a:gd name="connsiteY25" fmla="*/ 7816 h 1043557"/>
                <a:gd name="connsiteX26" fmla="*/ 881121 w 1046881"/>
                <a:gd name="connsiteY26" fmla="*/ 12061 h 1043557"/>
                <a:gd name="connsiteX27" fmla="*/ 886197 w 1046881"/>
                <a:gd name="connsiteY27" fmla="*/ 16332 h 1043557"/>
                <a:gd name="connsiteX28" fmla="*/ 885534 w 1046881"/>
                <a:gd name="connsiteY28" fmla="*/ 22164 h 1043557"/>
                <a:gd name="connsiteX29" fmla="*/ 887205 w 1046881"/>
                <a:gd name="connsiteY29" fmla="*/ 33464 h 1043557"/>
                <a:gd name="connsiteX30" fmla="*/ 887603 w 1046881"/>
                <a:gd name="connsiteY30" fmla="*/ 41219 h 1043557"/>
                <a:gd name="connsiteX31" fmla="*/ 898693 w 1046881"/>
                <a:gd name="connsiteY31" fmla="*/ 56828 h 1043557"/>
                <a:gd name="connsiteX32" fmla="*/ 921957 w 1046881"/>
                <a:gd name="connsiteY32" fmla="*/ 75780 h 1043557"/>
                <a:gd name="connsiteX33" fmla="*/ 931672 w 1046881"/>
                <a:gd name="connsiteY33" fmla="*/ 83967 h 1043557"/>
                <a:gd name="connsiteX34" fmla="*/ 938373 w 1046881"/>
                <a:gd name="connsiteY34" fmla="*/ 92754 h 1043557"/>
                <a:gd name="connsiteX35" fmla="*/ 939227 w 1046881"/>
                <a:gd name="connsiteY35" fmla="*/ 102512 h 1043557"/>
                <a:gd name="connsiteX36" fmla="*/ 946842 w 1046881"/>
                <a:gd name="connsiteY36" fmla="*/ 107262 h 1043557"/>
                <a:gd name="connsiteX37" fmla="*/ 953870 w 1046881"/>
                <a:gd name="connsiteY37" fmla="*/ 101203 h 1043557"/>
                <a:gd name="connsiteX38" fmla="*/ 962977 w 1046881"/>
                <a:gd name="connsiteY38" fmla="*/ 104741 h 1043557"/>
                <a:gd name="connsiteX39" fmla="*/ 967861 w 1046881"/>
                <a:gd name="connsiteY39" fmla="*/ 112131 h 1043557"/>
                <a:gd name="connsiteX40" fmla="*/ 965336 w 1046881"/>
                <a:gd name="connsiteY40" fmla="*/ 129106 h 1043557"/>
                <a:gd name="connsiteX41" fmla="*/ 962303 w 1046881"/>
                <a:gd name="connsiteY41" fmla="*/ 143688 h 1043557"/>
                <a:gd name="connsiteX42" fmla="*/ 967061 w 1046881"/>
                <a:gd name="connsiteY42" fmla="*/ 153333 h 1043557"/>
                <a:gd name="connsiteX43" fmla="*/ 971160 w 1046881"/>
                <a:gd name="connsiteY43" fmla="*/ 157938 h 1043557"/>
                <a:gd name="connsiteX44" fmla="*/ 975462 w 1046881"/>
                <a:gd name="connsiteY44" fmla="*/ 160881 h 1043557"/>
                <a:gd name="connsiteX45" fmla="*/ 975885 w 1046881"/>
                <a:gd name="connsiteY45" fmla="*/ 161018 h 1043557"/>
                <a:gd name="connsiteX46" fmla="*/ 981899 w 1046881"/>
                <a:gd name="connsiteY46" fmla="*/ 164548 h 1043557"/>
                <a:gd name="connsiteX47" fmla="*/ 989409 w 1046881"/>
                <a:gd name="connsiteY47" fmla="*/ 168501 h 1043557"/>
                <a:gd name="connsiteX48" fmla="*/ 992927 w 1046881"/>
                <a:gd name="connsiteY48" fmla="*/ 168660 h 1043557"/>
                <a:gd name="connsiteX49" fmla="*/ 1001478 w 1046881"/>
                <a:gd name="connsiteY49" fmla="*/ 171033 h 1043557"/>
                <a:gd name="connsiteX50" fmla="*/ 1004788 w 1046881"/>
                <a:gd name="connsiteY50" fmla="*/ 174313 h 1043557"/>
                <a:gd name="connsiteX51" fmla="*/ 1011624 w 1046881"/>
                <a:gd name="connsiteY51" fmla="*/ 177942 h 1043557"/>
                <a:gd name="connsiteX52" fmla="*/ 1015928 w 1046881"/>
                <a:gd name="connsiteY52" fmla="*/ 185599 h 1043557"/>
                <a:gd name="connsiteX53" fmla="*/ 1020241 w 1046881"/>
                <a:gd name="connsiteY53" fmla="*/ 193461 h 1043557"/>
                <a:gd name="connsiteX54" fmla="*/ 1023417 w 1046881"/>
                <a:gd name="connsiteY54" fmla="*/ 198805 h 1043557"/>
                <a:gd name="connsiteX55" fmla="*/ 1021536 w 1046881"/>
                <a:gd name="connsiteY55" fmla="*/ 203367 h 1043557"/>
                <a:gd name="connsiteX56" fmla="*/ 1019521 w 1046881"/>
                <a:gd name="connsiteY56" fmla="*/ 209994 h 1043557"/>
                <a:gd name="connsiteX57" fmla="*/ 1026248 w 1046881"/>
                <a:gd name="connsiteY57" fmla="*/ 218984 h 1043557"/>
                <a:gd name="connsiteX58" fmla="*/ 1034011 w 1046881"/>
                <a:gd name="connsiteY58" fmla="*/ 224746 h 1043557"/>
                <a:gd name="connsiteX59" fmla="*/ 1039951 w 1046881"/>
                <a:gd name="connsiteY59" fmla="*/ 221509 h 1043557"/>
                <a:gd name="connsiteX60" fmla="*/ 1044310 w 1046881"/>
                <a:gd name="connsiteY60" fmla="*/ 226493 h 1043557"/>
                <a:gd name="connsiteX61" fmla="*/ 1046459 w 1046881"/>
                <a:gd name="connsiteY61" fmla="*/ 233401 h 1043557"/>
                <a:gd name="connsiteX62" fmla="*/ 1046881 w 1046881"/>
                <a:gd name="connsiteY62" fmla="*/ 236630 h 1043557"/>
                <a:gd name="connsiteX63" fmla="*/ 1043947 w 1046881"/>
                <a:gd name="connsiteY63" fmla="*/ 237839 h 1043557"/>
                <a:gd name="connsiteX64" fmla="*/ 1044642 w 1046881"/>
                <a:gd name="connsiteY64" fmla="*/ 246380 h 1043557"/>
                <a:gd name="connsiteX65" fmla="*/ 1037396 w 1046881"/>
                <a:gd name="connsiteY65" fmla="*/ 252261 h 1043557"/>
                <a:gd name="connsiteX66" fmla="*/ 1034407 w 1046881"/>
                <a:gd name="connsiteY66" fmla="*/ 256143 h 1043557"/>
                <a:gd name="connsiteX67" fmla="*/ 1032571 w 1046881"/>
                <a:gd name="connsiteY67" fmla="*/ 257827 h 1043557"/>
                <a:gd name="connsiteX68" fmla="*/ 1029775 w 1046881"/>
                <a:gd name="connsiteY68" fmla="*/ 258605 h 1043557"/>
                <a:gd name="connsiteX69" fmla="*/ 1028069 w 1046881"/>
                <a:gd name="connsiteY69" fmla="*/ 261287 h 1043557"/>
                <a:gd name="connsiteX70" fmla="*/ 1024212 w 1046881"/>
                <a:gd name="connsiteY70" fmla="*/ 293904 h 1043557"/>
                <a:gd name="connsiteX71" fmla="*/ 1025408 w 1046881"/>
                <a:gd name="connsiteY71" fmla="*/ 293644 h 1043557"/>
                <a:gd name="connsiteX72" fmla="*/ 1025512 w 1046881"/>
                <a:gd name="connsiteY72" fmla="*/ 294438 h 1043557"/>
                <a:gd name="connsiteX73" fmla="*/ 1026902 w 1046881"/>
                <a:gd name="connsiteY73" fmla="*/ 297140 h 1043557"/>
                <a:gd name="connsiteX74" fmla="*/ 1025162 w 1046881"/>
                <a:gd name="connsiteY74" fmla="*/ 307451 h 1043557"/>
                <a:gd name="connsiteX75" fmla="*/ 1019870 w 1046881"/>
                <a:gd name="connsiteY75" fmla="*/ 314303 h 1043557"/>
                <a:gd name="connsiteX76" fmla="*/ 1019330 w 1046881"/>
                <a:gd name="connsiteY76" fmla="*/ 316438 h 1043557"/>
                <a:gd name="connsiteX77" fmla="*/ 1020478 w 1046881"/>
                <a:gd name="connsiteY77" fmla="*/ 318953 h 1043557"/>
                <a:gd name="connsiteX78" fmla="*/ 1021614 w 1046881"/>
                <a:gd name="connsiteY78" fmla="*/ 321273 h 1043557"/>
                <a:gd name="connsiteX79" fmla="*/ 1018437 w 1046881"/>
                <a:gd name="connsiteY79" fmla="*/ 325392 h 1043557"/>
                <a:gd name="connsiteX80" fmla="*/ 1014895 w 1046881"/>
                <a:gd name="connsiteY80" fmla="*/ 329754 h 1043557"/>
                <a:gd name="connsiteX81" fmla="*/ 1011459 w 1046881"/>
                <a:gd name="connsiteY81" fmla="*/ 334933 h 1043557"/>
                <a:gd name="connsiteX82" fmla="*/ 1009088 w 1046881"/>
                <a:gd name="connsiteY82" fmla="*/ 338945 h 1043557"/>
                <a:gd name="connsiteX83" fmla="*/ 1012944 w 1046881"/>
                <a:gd name="connsiteY83" fmla="*/ 344821 h 1043557"/>
                <a:gd name="connsiteX84" fmla="*/ 1017240 w 1046881"/>
                <a:gd name="connsiteY84" fmla="*/ 350836 h 1043557"/>
                <a:gd name="connsiteX85" fmla="*/ 1014555 w 1046881"/>
                <a:gd name="connsiteY85" fmla="*/ 357151 h 1043557"/>
                <a:gd name="connsiteX86" fmla="*/ 1010593 w 1046881"/>
                <a:gd name="connsiteY86" fmla="*/ 363010 h 1043557"/>
                <a:gd name="connsiteX87" fmla="*/ 1009849 w 1046881"/>
                <a:gd name="connsiteY87" fmla="*/ 365161 h 1043557"/>
                <a:gd name="connsiteX88" fmla="*/ 1009314 w 1046881"/>
                <a:gd name="connsiteY88" fmla="*/ 370572 h 1043557"/>
                <a:gd name="connsiteX89" fmla="*/ 1006966 w 1046881"/>
                <a:gd name="connsiteY89" fmla="*/ 376232 h 1043557"/>
                <a:gd name="connsiteX90" fmla="*/ 998563 w 1046881"/>
                <a:gd name="connsiteY90" fmla="*/ 387609 h 1043557"/>
                <a:gd name="connsiteX91" fmla="*/ 998168 w 1046881"/>
                <a:gd name="connsiteY91" fmla="*/ 401850 h 1043557"/>
                <a:gd name="connsiteX92" fmla="*/ 999230 w 1046881"/>
                <a:gd name="connsiteY92" fmla="*/ 408494 h 1043557"/>
                <a:gd name="connsiteX93" fmla="*/ 995391 w 1046881"/>
                <a:gd name="connsiteY93" fmla="*/ 413726 h 1043557"/>
                <a:gd name="connsiteX94" fmla="*/ 990223 w 1046881"/>
                <a:gd name="connsiteY94" fmla="*/ 418300 h 1043557"/>
                <a:gd name="connsiteX95" fmla="*/ 985699 w 1046881"/>
                <a:gd name="connsiteY95" fmla="*/ 424660 h 1043557"/>
                <a:gd name="connsiteX96" fmla="*/ 983552 w 1046881"/>
                <a:gd name="connsiteY96" fmla="*/ 430282 h 1043557"/>
                <a:gd name="connsiteX97" fmla="*/ 985818 w 1046881"/>
                <a:gd name="connsiteY97" fmla="*/ 438211 h 1043557"/>
                <a:gd name="connsiteX98" fmla="*/ 982898 w 1046881"/>
                <a:gd name="connsiteY98" fmla="*/ 441062 h 1043557"/>
                <a:gd name="connsiteX99" fmla="*/ 980829 w 1046881"/>
                <a:gd name="connsiteY99" fmla="*/ 447285 h 1043557"/>
                <a:gd name="connsiteX100" fmla="*/ 981920 w 1046881"/>
                <a:gd name="connsiteY100" fmla="*/ 452495 h 1043557"/>
                <a:gd name="connsiteX101" fmla="*/ 979586 w 1046881"/>
                <a:gd name="connsiteY101" fmla="*/ 456699 h 1043557"/>
                <a:gd name="connsiteX102" fmla="*/ 977965 w 1046881"/>
                <a:gd name="connsiteY102" fmla="*/ 461641 h 1043557"/>
                <a:gd name="connsiteX103" fmla="*/ 975685 w 1046881"/>
                <a:gd name="connsiteY103" fmla="*/ 466254 h 1043557"/>
                <a:gd name="connsiteX104" fmla="*/ 973862 w 1046881"/>
                <a:gd name="connsiteY104" fmla="*/ 471222 h 1043557"/>
                <a:gd name="connsiteX105" fmla="*/ 977202 w 1046881"/>
                <a:gd name="connsiteY105" fmla="*/ 479426 h 1043557"/>
                <a:gd name="connsiteX106" fmla="*/ 980504 w 1046881"/>
                <a:gd name="connsiteY106" fmla="*/ 485778 h 1043557"/>
                <a:gd name="connsiteX107" fmla="*/ 984718 w 1046881"/>
                <a:gd name="connsiteY107" fmla="*/ 492830 h 1043557"/>
                <a:gd name="connsiteX108" fmla="*/ 987057 w 1046881"/>
                <a:gd name="connsiteY108" fmla="*/ 498084 h 1043557"/>
                <a:gd name="connsiteX109" fmla="*/ 983990 w 1046881"/>
                <a:gd name="connsiteY109" fmla="*/ 506088 h 1043557"/>
                <a:gd name="connsiteX110" fmla="*/ 983436 w 1046881"/>
                <a:gd name="connsiteY110" fmla="*/ 508214 h 1043557"/>
                <a:gd name="connsiteX111" fmla="*/ 983058 w 1046881"/>
                <a:gd name="connsiteY111" fmla="*/ 510120 h 1043557"/>
                <a:gd name="connsiteX112" fmla="*/ 827992 w 1046881"/>
                <a:gd name="connsiteY112" fmla="*/ 534483 h 1043557"/>
                <a:gd name="connsiteX113" fmla="*/ 828366 w 1046881"/>
                <a:gd name="connsiteY113" fmla="*/ 537474 h 1043557"/>
                <a:gd name="connsiteX114" fmla="*/ 836967 w 1046881"/>
                <a:gd name="connsiteY114" fmla="*/ 604863 h 1043557"/>
                <a:gd name="connsiteX115" fmla="*/ 843324 w 1046881"/>
                <a:gd name="connsiteY115" fmla="*/ 609201 h 1043557"/>
                <a:gd name="connsiteX116" fmla="*/ 849802 w 1046881"/>
                <a:gd name="connsiteY116" fmla="*/ 614737 h 1043557"/>
                <a:gd name="connsiteX117" fmla="*/ 853157 w 1046881"/>
                <a:gd name="connsiteY117" fmla="*/ 623110 h 1043557"/>
                <a:gd name="connsiteX118" fmla="*/ 854931 w 1046881"/>
                <a:gd name="connsiteY118" fmla="*/ 631967 h 1043557"/>
                <a:gd name="connsiteX119" fmla="*/ 857647 w 1046881"/>
                <a:gd name="connsiteY119" fmla="*/ 633867 h 1043557"/>
                <a:gd name="connsiteX120" fmla="*/ 860697 w 1046881"/>
                <a:gd name="connsiteY120" fmla="*/ 636764 h 1043557"/>
                <a:gd name="connsiteX121" fmla="*/ 862847 w 1046881"/>
                <a:gd name="connsiteY121" fmla="*/ 640369 h 1043557"/>
                <a:gd name="connsiteX122" fmla="*/ 865303 w 1046881"/>
                <a:gd name="connsiteY122" fmla="*/ 645008 h 1043557"/>
                <a:gd name="connsiteX123" fmla="*/ 870051 w 1046881"/>
                <a:gd name="connsiteY123" fmla="*/ 653025 h 1043557"/>
                <a:gd name="connsiteX124" fmla="*/ 874531 w 1046881"/>
                <a:gd name="connsiteY124" fmla="*/ 658997 h 1043557"/>
                <a:gd name="connsiteX125" fmla="*/ 875851 w 1046881"/>
                <a:gd name="connsiteY125" fmla="*/ 681685 h 1043557"/>
                <a:gd name="connsiteX126" fmla="*/ 872946 w 1046881"/>
                <a:gd name="connsiteY126" fmla="*/ 690910 h 1043557"/>
                <a:gd name="connsiteX127" fmla="*/ 869839 w 1046881"/>
                <a:gd name="connsiteY127" fmla="*/ 702001 h 1043557"/>
                <a:gd name="connsiteX128" fmla="*/ 872169 w 1046881"/>
                <a:gd name="connsiteY128" fmla="*/ 707247 h 1043557"/>
                <a:gd name="connsiteX129" fmla="*/ 870316 w 1046881"/>
                <a:gd name="connsiteY129" fmla="*/ 710368 h 1043557"/>
                <a:gd name="connsiteX130" fmla="*/ 869134 w 1046881"/>
                <a:gd name="connsiteY130" fmla="*/ 715483 h 1043557"/>
                <a:gd name="connsiteX131" fmla="*/ 871666 w 1046881"/>
                <a:gd name="connsiteY131" fmla="*/ 720703 h 1043557"/>
                <a:gd name="connsiteX132" fmla="*/ 874190 w 1046881"/>
                <a:gd name="connsiteY132" fmla="*/ 727173 h 1043557"/>
                <a:gd name="connsiteX133" fmla="*/ 870767 w 1046881"/>
                <a:gd name="connsiteY133" fmla="*/ 740559 h 1043557"/>
                <a:gd name="connsiteX134" fmla="*/ 865779 w 1046881"/>
                <a:gd name="connsiteY134" fmla="*/ 752728 h 1043557"/>
                <a:gd name="connsiteX135" fmla="*/ 865577 w 1046881"/>
                <a:gd name="connsiteY135" fmla="*/ 752754 h 1043557"/>
                <a:gd name="connsiteX136" fmla="*/ 866916 w 1046881"/>
                <a:gd name="connsiteY136" fmla="*/ 756708 h 1043557"/>
                <a:gd name="connsiteX137" fmla="*/ 869738 w 1046881"/>
                <a:gd name="connsiteY137" fmla="*/ 759426 h 1043557"/>
                <a:gd name="connsiteX138" fmla="*/ 860381 w 1046881"/>
                <a:gd name="connsiteY138" fmla="*/ 763320 h 1043557"/>
                <a:gd name="connsiteX139" fmla="*/ 855058 w 1046881"/>
                <a:gd name="connsiteY139" fmla="*/ 766895 h 1043557"/>
                <a:gd name="connsiteX140" fmla="*/ 849541 w 1046881"/>
                <a:gd name="connsiteY140" fmla="*/ 770287 h 1043557"/>
                <a:gd name="connsiteX141" fmla="*/ 826641 w 1046881"/>
                <a:gd name="connsiteY141" fmla="*/ 787468 h 1043557"/>
                <a:gd name="connsiteX142" fmla="*/ 808960 w 1046881"/>
                <a:gd name="connsiteY142" fmla="*/ 807887 h 1043557"/>
                <a:gd name="connsiteX143" fmla="*/ 807714 w 1046881"/>
                <a:gd name="connsiteY143" fmla="*/ 808050 h 1043557"/>
                <a:gd name="connsiteX144" fmla="*/ 807356 w 1046881"/>
                <a:gd name="connsiteY144" fmla="*/ 806882 h 1043557"/>
                <a:gd name="connsiteX145" fmla="*/ 817787 w 1046881"/>
                <a:gd name="connsiteY145" fmla="*/ 790498 h 1043557"/>
                <a:gd name="connsiteX146" fmla="*/ 823690 w 1046881"/>
                <a:gd name="connsiteY146" fmla="*/ 783760 h 1043557"/>
                <a:gd name="connsiteX147" fmla="*/ 832078 w 1046881"/>
                <a:gd name="connsiteY147" fmla="*/ 776906 h 1043557"/>
                <a:gd name="connsiteX148" fmla="*/ 829923 w 1046881"/>
                <a:gd name="connsiteY148" fmla="*/ 776147 h 1043557"/>
                <a:gd name="connsiteX149" fmla="*/ 827201 w 1046881"/>
                <a:gd name="connsiteY149" fmla="*/ 777335 h 1043557"/>
                <a:gd name="connsiteX150" fmla="*/ 820822 w 1046881"/>
                <a:gd name="connsiteY150" fmla="*/ 777544 h 1043557"/>
                <a:gd name="connsiteX151" fmla="*/ 820635 w 1046881"/>
                <a:gd name="connsiteY151" fmla="*/ 771394 h 1043557"/>
                <a:gd name="connsiteX152" fmla="*/ 821485 w 1046881"/>
                <a:gd name="connsiteY152" fmla="*/ 765316 h 1043557"/>
                <a:gd name="connsiteX153" fmla="*/ 818507 w 1046881"/>
                <a:gd name="connsiteY153" fmla="*/ 761403 h 1043557"/>
                <a:gd name="connsiteX154" fmla="*/ 814762 w 1046881"/>
                <a:gd name="connsiteY154" fmla="*/ 765778 h 1043557"/>
                <a:gd name="connsiteX155" fmla="*/ 810038 w 1046881"/>
                <a:gd name="connsiteY155" fmla="*/ 770523 h 1043557"/>
                <a:gd name="connsiteX156" fmla="*/ 805169 w 1046881"/>
                <a:gd name="connsiteY156" fmla="*/ 769703 h 1043557"/>
                <a:gd name="connsiteX157" fmla="*/ 803350 w 1046881"/>
                <a:gd name="connsiteY157" fmla="*/ 769941 h 1043557"/>
                <a:gd name="connsiteX158" fmla="*/ 803389 w 1046881"/>
                <a:gd name="connsiteY158" fmla="*/ 771809 h 1043557"/>
                <a:gd name="connsiteX159" fmla="*/ 807659 w 1046881"/>
                <a:gd name="connsiteY159" fmla="*/ 779056 h 1043557"/>
                <a:gd name="connsiteX160" fmla="*/ 811335 w 1046881"/>
                <a:gd name="connsiteY160" fmla="*/ 785167 h 1043557"/>
                <a:gd name="connsiteX161" fmla="*/ 813108 w 1046881"/>
                <a:gd name="connsiteY161" fmla="*/ 786149 h 1043557"/>
                <a:gd name="connsiteX162" fmla="*/ 814870 w 1046881"/>
                <a:gd name="connsiteY162" fmla="*/ 788625 h 1043557"/>
                <a:gd name="connsiteX163" fmla="*/ 806028 w 1046881"/>
                <a:gd name="connsiteY163" fmla="*/ 804593 h 1043557"/>
                <a:gd name="connsiteX164" fmla="*/ 802425 w 1046881"/>
                <a:gd name="connsiteY164" fmla="*/ 806902 h 1043557"/>
                <a:gd name="connsiteX165" fmla="*/ 800728 w 1046881"/>
                <a:gd name="connsiteY165" fmla="*/ 811217 h 1043557"/>
                <a:gd name="connsiteX166" fmla="*/ 800328 w 1046881"/>
                <a:gd name="connsiteY166" fmla="*/ 816022 h 1043557"/>
                <a:gd name="connsiteX167" fmla="*/ 798253 w 1046881"/>
                <a:gd name="connsiteY167" fmla="*/ 820595 h 1043557"/>
                <a:gd name="connsiteX168" fmla="*/ 797701 w 1046881"/>
                <a:gd name="connsiteY168" fmla="*/ 821083 h 1043557"/>
                <a:gd name="connsiteX169" fmla="*/ 771095 w 1046881"/>
                <a:gd name="connsiteY169" fmla="*/ 839789 h 1043557"/>
                <a:gd name="connsiteX170" fmla="*/ 769578 w 1046881"/>
                <a:gd name="connsiteY170" fmla="*/ 839190 h 1043557"/>
                <a:gd name="connsiteX171" fmla="*/ 766035 w 1046881"/>
                <a:gd name="connsiteY171" fmla="*/ 838820 h 1043557"/>
                <a:gd name="connsiteX172" fmla="*/ 761925 w 1046881"/>
                <a:gd name="connsiteY172" fmla="*/ 840398 h 1043557"/>
                <a:gd name="connsiteX173" fmla="*/ 760071 w 1046881"/>
                <a:gd name="connsiteY173" fmla="*/ 843519 h 1043557"/>
                <a:gd name="connsiteX174" fmla="*/ 764719 w 1046881"/>
                <a:gd name="connsiteY174" fmla="*/ 842912 h 1043557"/>
                <a:gd name="connsiteX175" fmla="*/ 746112 w 1046881"/>
                <a:gd name="connsiteY175" fmla="*/ 858075 h 1043557"/>
                <a:gd name="connsiteX176" fmla="*/ 746207 w 1046881"/>
                <a:gd name="connsiteY176" fmla="*/ 857230 h 1043557"/>
                <a:gd name="connsiteX177" fmla="*/ 750006 w 1046881"/>
                <a:gd name="connsiteY177" fmla="*/ 853264 h 1043557"/>
                <a:gd name="connsiteX178" fmla="*/ 754715 w 1046881"/>
                <a:gd name="connsiteY178" fmla="*/ 849978 h 1043557"/>
                <a:gd name="connsiteX179" fmla="*/ 752331 w 1046881"/>
                <a:gd name="connsiteY179" fmla="*/ 849040 h 1043557"/>
                <a:gd name="connsiteX180" fmla="*/ 749327 w 1046881"/>
                <a:gd name="connsiteY180" fmla="*/ 849641 h 1043557"/>
                <a:gd name="connsiteX181" fmla="*/ 744038 w 1046881"/>
                <a:gd name="connsiteY181" fmla="*/ 848494 h 1043557"/>
                <a:gd name="connsiteX182" fmla="*/ 741243 w 1046881"/>
                <a:gd name="connsiteY182" fmla="*/ 845980 h 1043557"/>
                <a:gd name="connsiteX183" fmla="*/ 739378 w 1046881"/>
                <a:gd name="connsiteY183" fmla="*/ 847438 h 1043557"/>
                <a:gd name="connsiteX184" fmla="*/ 737544 w 1046881"/>
                <a:gd name="connsiteY184" fmla="*/ 849134 h 1043557"/>
                <a:gd name="connsiteX185" fmla="*/ 735996 w 1046881"/>
                <a:gd name="connsiteY185" fmla="*/ 848296 h 1043557"/>
                <a:gd name="connsiteX186" fmla="*/ 734440 w 1046881"/>
                <a:gd name="connsiteY186" fmla="*/ 847667 h 1043557"/>
                <a:gd name="connsiteX187" fmla="*/ 733106 w 1046881"/>
                <a:gd name="connsiteY187" fmla="*/ 848466 h 1043557"/>
                <a:gd name="connsiteX188" fmla="*/ 733900 w 1046881"/>
                <a:gd name="connsiteY188" fmla="*/ 849819 h 1043557"/>
                <a:gd name="connsiteX189" fmla="*/ 734715 w 1046881"/>
                <a:gd name="connsiteY189" fmla="*/ 851342 h 1043557"/>
                <a:gd name="connsiteX190" fmla="*/ 729171 w 1046881"/>
                <a:gd name="connsiteY190" fmla="*/ 854530 h 1043557"/>
                <a:gd name="connsiteX191" fmla="*/ 724496 w 1046881"/>
                <a:gd name="connsiteY191" fmla="*/ 850215 h 1043557"/>
                <a:gd name="connsiteX192" fmla="*/ 720450 w 1046881"/>
                <a:gd name="connsiteY192" fmla="*/ 845991 h 1043557"/>
                <a:gd name="connsiteX193" fmla="*/ 719256 w 1046881"/>
                <a:gd name="connsiteY193" fmla="*/ 849443 h 1043557"/>
                <a:gd name="connsiteX194" fmla="*/ 727593 w 1046881"/>
                <a:gd name="connsiteY194" fmla="*/ 856610 h 1043557"/>
                <a:gd name="connsiteX195" fmla="*/ 735623 w 1046881"/>
                <a:gd name="connsiteY195" fmla="*/ 864580 h 1043557"/>
                <a:gd name="connsiteX196" fmla="*/ 732973 w 1046881"/>
                <a:gd name="connsiteY196" fmla="*/ 874188 h 1043557"/>
                <a:gd name="connsiteX197" fmla="*/ 720589 w 1046881"/>
                <a:gd name="connsiteY197" fmla="*/ 885069 h 1043557"/>
                <a:gd name="connsiteX198" fmla="*/ 710786 w 1046881"/>
                <a:gd name="connsiteY198" fmla="*/ 894988 h 1043557"/>
                <a:gd name="connsiteX199" fmla="*/ 704220 w 1046881"/>
                <a:gd name="connsiteY199" fmla="*/ 904518 h 1043557"/>
                <a:gd name="connsiteX200" fmla="*/ 703581 w 1046881"/>
                <a:gd name="connsiteY200" fmla="*/ 904602 h 1043557"/>
                <a:gd name="connsiteX201" fmla="*/ 703469 w 1046881"/>
                <a:gd name="connsiteY201" fmla="*/ 901911 h 1043557"/>
                <a:gd name="connsiteX202" fmla="*/ 709101 w 1046881"/>
                <a:gd name="connsiteY202" fmla="*/ 891531 h 1043557"/>
                <a:gd name="connsiteX203" fmla="*/ 716258 w 1046881"/>
                <a:gd name="connsiteY203" fmla="*/ 883380 h 1043557"/>
                <a:gd name="connsiteX204" fmla="*/ 724565 w 1046881"/>
                <a:gd name="connsiteY204" fmla="*/ 875911 h 1043557"/>
                <a:gd name="connsiteX205" fmla="*/ 732355 w 1046881"/>
                <a:gd name="connsiteY205" fmla="*/ 867886 h 1043557"/>
                <a:gd name="connsiteX206" fmla="*/ 730334 w 1046881"/>
                <a:gd name="connsiteY206" fmla="*/ 868150 h 1043557"/>
                <a:gd name="connsiteX207" fmla="*/ 725301 w 1046881"/>
                <a:gd name="connsiteY207" fmla="*/ 872103 h 1043557"/>
                <a:gd name="connsiteX208" fmla="*/ 720463 w 1046881"/>
                <a:gd name="connsiteY208" fmla="*/ 874401 h 1043557"/>
                <a:gd name="connsiteX209" fmla="*/ 716059 w 1046881"/>
                <a:gd name="connsiteY209" fmla="*/ 870848 h 1043557"/>
                <a:gd name="connsiteX210" fmla="*/ 712299 w 1046881"/>
                <a:gd name="connsiteY210" fmla="*/ 867246 h 1043557"/>
                <a:gd name="connsiteX211" fmla="*/ 711269 w 1046881"/>
                <a:gd name="connsiteY211" fmla="*/ 868803 h 1043557"/>
                <a:gd name="connsiteX212" fmla="*/ 713215 w 1046881"/>
                <a:gd name="connsiteY212" fmla="*/ 872677 h 1043557"/>
                <a:gd name="connsiteX213" fmla="*/ 715235 w 1046881"/>
                <a:gd name="connsiteY213" fmla="*/ 877131 h 1043557"/>
                <a:gd name="connsiteX214" fmla="*/ 712513 w 1046881"/>
                <a:gd name="connsiteY214" fmla="*/ 883037 h 1043557"/>
                <a:gd name="connsiteX215" fmla="*/ 706981 w 1046881"/>
                <a:gd name="connsiteY215" fmla="*/ 887888 h 1043557"/>
                <a:gd name="connsiteX216" fmla="*/ 703331 w 1046881"/>
                <a:gd name="connsiteY216" fmla="*/ 886700 h 1043557"/>
                <a:gd name="connsiteX217" fmla="*/ 697349 w 1046881"/>
                <a:gd name="connsiteY217" fmla="*/ 885227 h 1043557"/>
                <a:gd name="connsiteX218" fmla="*/ 694996 w 1046881"/>
                <a:gd name="connsiteY218" fmla="*/ 889246 h 1043557"/>
                <a:gd name="connsiteX219" fmla="*/ 696194 w 1046881"/>
                <a:gd name="connsiteY219" fmla="*/ 895264 h 1043557"/>
                <a:gd name="connsiteX220" fmla="*/ 698047 w 1046881"/>
                <a:gd name="connsiteY220" fmla="*/ 892143 h 1043557"/>
                <a:gd name="connsiteX221" fmla="*/ 699927 w 1046881"/>
                <a:gd name="connsiteY221" fmla="*/ 889226 h 1043557"/>
                <a:gd name="connsiteX222" fmla="*/ 702527 w 1046881"/>
                <a:gd name="connsiteY222" fmla="*/ 893396 h 1043557"/>
                <a:gd name="connsiteX223" fmla="*/ 698570 w 1046881"/>
                <a:gd name="connsiteY223" fmla="*/ 904008 h 1043557"/>
                <a:gd name="connsiteX224" fmla="*/ 692950 w 1046881"/>
                <a:gd name="connsiteY224" fmla="*/ 911334 h 1043557"/>
                <a:gd name="connsiteX225" fmla="*/ 689044 w 1046881"/>
                <a:gd name="connsiteY225" fmla="*/ 909762 h 1043557"/>
                <a:gd name="connsiteX226" fmla="*/ 681243 w 1046881"/>
                <a:gd name="connsiteY226" fmla="*/ 908527 h 1043557"/>
                <a:gd name="connsiteX227" fmla="*/ 676481 w 1046881"/>
                <a:gd name="connsiteY227" fmla="*/ 911404 h 1043557"/>
                <a:gd name="connsiteX228" fmla="*/ 684347 w 1046881"/>
                <a:gd name="connsiteY228" fmla="*/ 916551 h 1043557"/>
                <a:gd name="connsiteX229" fmla="*/ 688847 w 1046881"/>
                <a:gd name="connsiteY229" fmla="*/ 919259 h 1043557"/>
                <a:gd name="connsiteX230" fmla="*/ 679949 w 1046881"/>
                <a:gd name="connsiteY230" fmla="*/ 947376 h 1043557"/>
                <a:gd name="connsiteX231" fmla="*/ 677516 w 1046881"/>
                <a:gd name="connsiteY231" fmla="*/ 946063 h 1043557"/>
                <a:gd name="connsiteX232" fmla="*/ 675052 w 1046881"/>
                <a:gd name="connsiteY232" fmla="*/ 944512 h 1043557"/>
                <a:gd name="connsiteX233" fmla="*/ 669844 w 1046881"/>
                <a:gd name="connsiteY233" fmla="*/ 945817 h 1043557"/>
                <a:gd name="connsiteX234" fmla="*/ 667236 w 1046881"/>
                <a:gd name="connsiteY234" fmla="*/ 949453 h 1043557"/>
                <a:gd name="connsiteX235" fmla="*/ 677623 w 1046881"/>
                <a:gd name="connsiteY235" fmla="*/ 951600 h 1043557"/>
                <a:gd name="connsiteX236" fmla="*/ 681760 w 1046881"/>
                <a:gd name="connsiteY236" fmla="*/ 950227 h 1043557"/>
                <a:gd name="connsiteX237" fmla="*/ 685390 w 1046881"/>
                <a:gd name="connsiteY237" fmla="*/ 952840 h 1043557"/>
                <a:gd name="connsiteX238" fmla="*/ 681844 w 1046881"/>
                <a:gd name="connsiteY238" fmla="*/ 965028 h 1043557"/>
                <a:gd name="connsiteX239" fmla="*/ 677303 w 1046881"/>
                <a:gd name="connsiteY239" fmla="*/ 971172 h 1043557"/>
                <a:gd name="connsiteX240" fmla="*/ 680220 w 1046881"/>
                <a:gd name="connsiteY240" fmla="*/ 973045 h 1043557"/>
                <a:gd name="connsiteX241" fmla="*/ 682966 w 1046881"/>
                <a:gd name="connsiteY241" fmla="*/ 975185 h 1043557"/>
                <a:gd name="connsiteX242" fmla="*/ 681585 w 1046881"/>
                <a:gd name="connsiteY242" fmla="*/ 977204 h 1043557"/>
                <a:gd name="connsiteX243" fmla="*/ 680312 w 1046881"/>
                <a:gd name="connsiteY243" fmla="*/ 980041 h 1043557"/>
                <a:gd name="connsiteX244" fmla="*/ 683443 w 1046881"/>
                <a:gd name="connsiteY244" fmla="*/ 983552 h 1043557"/>
                <a:gd name="connsiteX245" fmla="*/ 688091 w 1046881"/>
                <a:gd name="connsiteY245" fmla="*/ 992380 h 1043557"/>
                <a:gd name="connsiteX246" fmla="*/ 689758 w 1046881"/>
                <a:gd name="connsiteY246" fmla="*/ 1000419 h 1043557"/>
                <a:gd name="connsiteX247" fmla="*/ 691535 w 1046881"/>
                <a:gd name="connsiteY247" fmla="*/ 1006153 h 1043557"/>
                <a:gd name="connsiteX248" fmla="*/ 696126 w 1046881"/>
                <a:gd name="connsiteY248" fmla="*/ 1017695 h 1043557"/>
                <a:gd name="connsiteX249" fmla="*/ 699360 w 1046881"/>
                <a:gd name="connsiteY249" fmla="*/ 1021990 h 1043557"/>
                <a:gd name="connsiteX250" fmla="*/ 701838 w 1046881"/>
                <a:gd name="connsiteY250" fmla="*/ 1026800 h 1043557"/>
                <a:gd name="connsiteX251" fmla="*/ 700732 w 1046881"/>
                <a:gd name="connsiteY251" fmla="*/ 1030657 h 1043557"/>
                <a:gd name="connsiteX252" fmla="*/ 699410 w 1046881"/>
                <a:gd name="connsiteY252" fmla="*/ 1034957 h 1043557"/>
                <a:gd name="connsiteX253" fmla="*/ 700859 w 1046881"/>
                <a:gd name="connsiteY253" fmla="*/ 1036606 h 1043557"/>
                <a:gd name="connsiteX254" fmla="*/ 702974 w 1046881"/>
                <a:gd name="connsiteY254" fmla="*/ 1033659 h 1043557"/>
                <a:gd name="connsiteX255" fmla="*/ 705056 w 1046881"/>
                <a:gd name="connsiteY255" fmla="*/ 1030716 h 1043557"/>
                <a:gd name="connsiteX256" fmla="*/ 709446 w 1046881"/>
                <a:gd name="connsiteY256" fmla="*/ 1037566 h 1043557"/>
                <a:gd name="connsiteX257" fmla="*/ 698312 w 1046881"/>
                <a:gd name="connsiteY257" fmla="*/ 1042282 h 1043557"/>
                <a:gd name="connsiteX258" fmla="*/ 693542 w 1046881"/>
                <a:gd name="connsiteY258" fmla="*/ 1043529 h 1043557"/>
                <a:gd name="connsiteX259" fmla="*/ 687990 w 1046881"/>
                <a:gd name="connsiteY259" fmla="*/ 1040370 h 1043557"/>
                <a:gd name="connsiteX260" fmla="*/ 678999 w 1046881"/>
                <a:gd name="connsiteY260" fmla="*/ 1034745 h 1043557"/>
                <a:gd name="connsiteX261" fmla="*/ 672688 w 1046881"/>
                <a:gd name="connsiteY261" fmla="*/ 1032067 h 1043557"/>
                <a:gd name="connsiteX262" fmla="*/ 645386 w 1046881"/>
                <a:gd name="connsiteY262" fmla="*/ 1034177 h 1043557"/>
                <a:gd name="connsiteX263" fmla="*/ 637620 w 1046881"/>
                <a:gd name="connsiteY263" fmla="*/ 1030058 h 1043557"/>
                <a:gd name="connsiteX264" fmla="*/ 631438 w 1046881"/>
                <a:gd name="connsiteY264" fmla="*/ 1023650 h 1043557"/>
                <a:gd name="connsiteX265" fmla="*/ 625719 w 1046881"/>
                <a:gd name="connsiteY265" fmla="*/ 1022351 h 1043557"/>
                <a:gd name="connsiteX266" fmla="*/ 619729 w 1046881"/>
                <a:gd name="connsiteY266" fmla="*/ 1023967 h 1043557"/>
                <a:gd name="connsiteX267" fmla="*/ 616286 w 1046881"/>
                <a:gd name="connsiteY267" fmla="*/ 1022786 h 1043557"/>
                <a:gd name="connsiteX268" fmla="*/ 612117 w 1046881"/>
                <a:gd name="connsiteY268" fmla="*/ 1019203 h 1043557"/>
                <a:gd name="connsiteX269" fmla="*/ 599158 w 1046881"/>
                <a:gd name="connsiteY269" fmla="*/ 1017809 h 1043557"/>
                <a:gd name="connsiteX270" fmla="*/ 594928 w 1046881"/>
                <a:gd name="connsiteY270" fmla="*/ 1016904 h 1043557"/>
                <a:gd name="connsiteX271" fmla="*/ 592934 w 1046881"/>
                <a:gd name="connsiteY271" fmla="*/ 1012655 h 1043557"/>
                <a:gd name="connsiteX272" fmla="*/ 590166 w 1046881"/>
                <a:gd name="connsiteY272" fmla="*/ 1010346 h 1043557"/>
                <a:gd name="connsiteX273" fmla="*/ 587451 w 1046881"/>
                <a:gd name="connsiteY273" fmla="*/ 1008446 h 1043557"/>
                <a:gd name="connsiteX274" fmla="*/ 583622 w 1046881"/>
                <a:gd name="connsiteY274" fmla="*/ 993301 h 1043557"/>
                <a:gd name="connsiteX275" fmla="*/ 574780 w 1046881"/>
                <a:gd name="connsiteY275" fmla="*/ 982523 h 1043557"/>
                <a:gd name="connsiteX276" fmla="*/ 567217 w 1046881"/>
                <a:gd name="connsiteY276" fmla="*/ 973416 h 1043557"/>
                <a:gd name="connsiteX277" fmla="*/ 566752 w 1046881"/>
                <a:gd name="connsiteY277" fmla="*/ 966713 h 1043557"/>
                <a:gd name="connsiteX278" fmla="*/ 566996 w 1046881"/>
                <a:gd name="connsiteY278" fmla="*/ 960714 h 1043557"/>
                <a:gd name="connsiteX279" fmla="*/ 563873 w 1046881"/>
                <a:gd name="connsiteY279" fmla="*/ 958833 h 1043557"/>
                <a:gd name="connsiteX280" fmla="*/ 562592 w 1046881"/>
                <a:gd name="connsiteY280" fmla="*/ 955323 h 1043557"/>
                <a:gd name="connsiteX281" fmla="*/ 562782 w 1046881"/>
                <a:gd name="connsiteY281" fmla="*/ 948915 h 1043557"/>
                <a:gd name="connsiteX282" fmla="*/ 560662 w 1046881"/>
                <a:gd name="connsiteY282" fmla="*/ 945272 h 1043557"/>
                <a:gd name="connsiteX283" fmla="*/ 555079 w 1046881"/>
                <a:gd name="connsiteY283" fmla="*/ 937156 h 1043557"/>
                <a:gd name="connsiteX284" fmla="*/ 547629 w 1046881"/>
                <a:gd name="connsiteY284" fmla="*/ 935458 h 1043557"/>
                <a:gd name="connsiteX285" fmla="*/ 542275 w 1046881"/>
                <a:gd name="connsiteY285" fmla="*/ 927520 h 1043557"/>
                <a:gd name="connsiteX286" fmla="*/ 535865 w 1046881"/>
                <a:gd name="connsiteY286" fmla="*/ 916216 h 1043557"/>
                <a:gd name="connsiteX287" fmla="*/ 523400 w 1046881"/>
                <a:gd name="connsiteY287" fmla="*/ 904455 h 1043557"/>
                <a:gd name="connsiteX288" fmla="*/ 511396 w 1046881"/>
                <a:gd name="connsiteY288" fmla="*/ 895963 h 1043557"/>
                <a:gd name="connsiteX289" fmla="*/ 508044 w 1046881"/>
                <a:gd name="connsiteY289" fmla="*/ 889186 h 1043557"/>
                <a:gd name="connsiteX290" fmla="*/ 505276 w 1046881"/>
                <a:gd name="connsiteY290" fmla="*/ 879279 h 1043557"/>
                <a:gd name="connsiteX291" fmla="*/ 500273 w 1046881"/>
                <a:gd name="connsiteY291" fmla="*/ 870879 h 1043557"/>
                <a:gd name="connsiteX292" fmla="*/ 493351 w 1046881"/>
                <a:gd name="connsiteY292" fmla="*/ 858809 h 1043557"/>
                <a:gd name="connsiteX293" fmla="*/ 486308 w 1046881"/>
                <a:gd name="connsiteY293" fmla="*/ 847380 h 1043557"/>
                <a:gd name="connsiteX294" fmla="*/ 480833 w 1046881"/>
                <a:gd name="connsiteY294" fmla="*/ 841921 h 1043557"/>
                <a:gd name="connsiteX295" fmla="*/ 476032 w 1046881"/>
                <a:gd name="connsiteY295" fmla="*/ 833494 h 1043557"/>
                <a:gd name="connsiteX296" fmla="*/ 469492 w 1046881"/>
                <a:gd name="connsiteY296" fmla="*/ 825919 h 1043557"/>
                <a:gd name="connsiteX297" fmla="*/ 456593 w 1046881"/>
                <a:gd name="connsiteY297" fmla="*/ 817128 h 1043557"/>
                <a:gd name="connsiteX298" fmla="*/ 444322 w 1046881"/>
                <a:gd name="connsiteY298" fmla="*/ 806590 h 1043557"/>
                <a:gd name="connsiteX299" fmla="*/ 437176 w 1046881"/>
                <a:gd name="connsiteY299" fmla="*/ 799094 h 1043557"/>
                <a:gd name="connsiteX300" fmla="*/ 432691 w 1046881"/>
                <a:gd name="connsiteY300" fmla="*/ 794928 h 1043557"/>
                <a:gd name="connsiteX301" fmla="*/ 424006 w 1046881"/>
                <a:gd name="connsiteY301" fmla="*/ 800815 h 1043557"/>
                <a:gd name="connsiteX302" fmla="*/ 417534 w 1046881"/>
                <a:gd name="connsiteY302" fmla="*/ 796909 h 1043557"/>
                <a:gd name="connsiteX303" fmla="*/ 407773 w 1046881"/>
                <a:gd name="connsiteY303" fmla="*/ 797976 h 1043557"/>
                <a:gd name="connsiteX304" fmla="*/ 400834 w 1046881"/>
                <a:gd name="connsiteY304" fmla="*/ 799923 h 1043557"/>
                <a:gd name="connsiteX305" fmla="*/ 389208 w 1046881"/>
                <a:gd name="connsiteY305" fmla="*/ 793013 h 1043557"/>
                <a:gd name="connsiteX306" fmla="*/ 377883 w 1046881"/>
                <a:gd name="connsiteY306" fmla="*/ 802298 h 1043557"/>
                <a:gd name="connsiteX307" fmla="*/ 370231 w 1046881"/>
                <a:gd name="connsiteY307" fmla="*/ 805345 h 1043557"/>
                <a:gd name="connsiteX308" fmla="*/ 364515 w 1046881"/>
                <a:gd name="connsiteY308" fmla="*/ 813516 h 1043557"/>
                <a:gd name="connsiteX309" fmla="*/ 355720 w 1046881"/>
                <a:gd name="connsiteY309" fmla="*/ 832981 h 1043557"/>
                <a:gd name="connsiteX310" fmla="*/ 345463 w 1046881"/>
                <a:gd name="connsiteY310" fmla="*/ 852014 h 1043557"/>
                <a:gd name="connsiteX311" fmla="*/ 338989 w 1046881"/>
                <a:gd name="connsiteY311" fmla="*/ 857786 h 1043557"/>
                <a:gd name="connsiteX312" fmla="*/ 331989 w 1046881"/>
                <a:gd name="connsiteY312" fmla="*/ 857695 h 1043557"/>
                <a:gd name="connsiteX313" fmla="*/ 324595 w 1046881"/>
                <a:gd name="connsiteY313" fmla="*/ 853284 h 1043557"/>
                <a:gd name="connsiteX314" fmla="*/ 320366 w 1046881"/>
                <a:gd name="connsiteY314" fmla="*/ 847662 h 1043557"/>
                <a:gd name="connsiteX315" fmla="*/ 314848 w 1046881"/>
                <a:gd name="connsiteY315" fmla="*/ 846336 h 1043557"/>
                <a:gd name="connsiteX316" fmla="*/ 309567 w 1046881"/>
                <a:gd name="connsiteY316" fmla="*/ 846818 h 1043557"/>
                <a:gd name="connsiteX317" fmla="*/ 303169 w 1046881"/>
                <a:gd name="connsiteY317" fmla="*/ 839016 h 1043557"/>
                <a:gd name="connsiteX318" fmla="*/ 298345 w 1046881"/>
                <a:gd name="connsiteY318" fmla="*/ 839855 h 1043557"/>
                <a:gd name="connsiteX319" fmla="*/ 291062 w 1046881"/>
                <a:gd name="connsiteY319" fmla="*/ 839176 h 1043557"/>
                <a:gd name="connsiteX320" fmla="*/ 284443 w 1046881"/>
                <a:gd name="connsiteY320" fmla="*/ 830987 h 1043557"/>
                <a:gd name="connsiteX321" fmla="*/ 275741 w 1046881"/>
                <a:gd name="connsiteY321" fmla="*/ 822862 h 1043557"/>
                <a:gd name="connsiteX322" fmla="*/ 257012 w 1046881"/>
                <a:gd name="connsiteY322" fmla="*/ 807201 h 1043557"/>
                <a:gd name="connsiteX323" fmla="*/ 251493 w 1046881"/>
                <a:gd name="connsiteY323" fmla="*/ 783847 h 1043557"/>
                <a:gd name="connsiteX324" fmla="*/ 249178 w 1046881"/>
                <a:gd name="connsiteY324" fmla="*/ 777143 h 1043557"/>
                <a:gd name="connsiteX325" fmla="*/ 244133 w 1046881"/>
                <a:gd name="connsiteY325" fmla="*/ 769997 h 1043557"/>
                <a:gd name="connsiteX326" fmla="*/ 240735 w 1046881"/>
                <a:gd name="connsiteY326" fmla="*/ 759721 h 1043557"/>
                <a:gd name="connsiteX327" fmla="*/ 237353 w 1046881"/>
                <a:gd name="connsiteY327" fmla="*/ 751144 h 1043557"/>
                <a:gd name="connsiteX328" fmla="*/ 220873 w 1046881"/>
                <a:gd name="connsiteY328" fmla="*/ 740115 h 1043557"/>
                <a:gd name="connsiteX329" fmla="*/ 204289 w 1046881"/>
                <a:gd name="connsiteY329" fmla="*/ 728302 h 1043557"/>
                <a:gd name="connsiteX330" fmla="*/ 195454 w 1046881"/>
                <a:gd name="connsiteY330" fmla="*/ 717315 h 1043557"/>
                <a:gd name="connsiteX331" fmla="*/ 185697 w 1046881"/>
                <a:gd name="connsiteY331" fmla="*/ 705824 h 1043557"/>
                <a:gd name="connsiteX332" fmla="*/ 171504 w 1046881"/>
                <a:gd name="connsiteY332" fmla="*/ 699458 h 1043557"/>
                <a:gd name="connsiteX333" fmla="*/ 160156 w 1046881"/>
                <a:gd name="connsiteY333" fmla="*/ 688383 h 1043557"/>
                <a:gd name="connsiteX334" fmla="*/ 150856 w 1046881"/>
                <a:gd name="connsiteY334" fmla="*/ 675410 h 1043557"/>
                <a:gd name="connsiteX335" fmla="*/ 143062 w 1046881"/>
                <a:gd name="connsiteY335" fmla="*/ 671086 h 1043557"/>
                <a:gd name="connsiteX336" fmla="*/ 136420 w 1046881"/>
                <a:gd name="connsiteY336" fmla="*/ 659498 h 1043557"/>
                <a:gd name="connsiteX337" fmla="*/ 136190 w 1046881"/>
                <a:gd name="connsiteY337" fmla="*/ 659498 h 1043557"/>
                <a:gd name="connsiteX338" fmla="*/ 141544 w 1046881"/>
                <a:gd name="connsiteY338" fmla="*/ 668812 h 1043557"/>
                <a:gd name="connsiteX339" fmla="*/ 50003 w 1046881"/>
                <a:gd name="connsiteY339" fmla="*/ 668017 h 1043557"/>
                <a:gd name="connsiteX340" fmla="*/ 47288 w 1046881"/>
                <a:gd name="connsiteY340" fmla="*/ 700870 h 1043557"/>
                <a:gd name="connsiteX341" fmla="*/ 0 w 1046881"/>
                <a:gd name="connsiteY341" fmla="*/ 699846 h 1043557"/>
                <a:gd name="connsiteX342" fmla="*/ 5742 w 1046881"/>
                <a:gd name="connsiteY342" fmla="*/ 310383 h 1043557"/>
                <a:gd name="connsiteX343" fmla="*/ 7002 w 1046881"/>
                <a:gd name="connsiteY343" fmla="*/ 310391 h 1043557"/>
                <a:gd name="connsiteX344" fmla="*/ 9852 w 1046881"/>
                <a:gd name="connsiteY344" fmla="*/ 38008 h 1043557"/>
                <a:gd name="connsiteX0" fmla="*/ 721556 w 1046881"/>
                <a:gd name="connsiteY0" fmla="*/ 82039 h 1043557"/>
                <a:gd name="connsiteX1" fmla="*/ 719542 w 1046881"/>
                <a:gd name="connsiteY1" fmla="*/ 84784 h 1043557"/>
                <a:gd name="connsiteX2" fmla="*/ 719411 w 1046881"/>
                <a:gd name="connsiteY2" fmla="*/ 85010 h 1043557"/>
                <a:gd name="connsiteX3" fmla="*/ 721556 w 1046881"/>
                <a:gd name="connsiteY3" fmla="*/ 82039 h 1043557"/>
                <a:gd name="connsiteX4" fmla="*/ 9852 w 1046881"/>
                <a:gd name="connsiteY4" fmla="*/ 38008 h 1043557"/>
                <a:gd name="connsiteX5" fmla="*/ 83022 w 1046881"/>
                <a:gd name="connsiteY5" fmla="*/ 38941 h 1043557"/>
                <a:gd name="connsiteX6" fmla="*/ 261203 w 1046881"/>
                <a:gd name="connsiteY6" fmla="*/ 35587 h 1043557"/>
                <a:gd name="connsiteX7" fmla="*/ 357880 w 1046881"/>
                <a:gd name="connsiteY7" fmla="*/ 30573 h 1043557"/>
                <a:gd name="connsiteX8" fmla="*/ 362042 w 1046881"/>
                <a:gd name="connsiteY8" fmla="*/ 95017 h 1043557"/>
                <a:gd name="connsiteX9" fmla="*/ 387674 w 1046881"/>
                <a:gd name="connsiteY9" fmla="*/ 94887 h 1043557"/>
                <a:gd name="connsiteX10" fmla="*/ 459061 w 1046881"/>
                <a:gd name="connsiteY10" fmla="*/ 92743 h 1043557"/>
                <a:gd name="connsiteX11" fmla="*/ 696362 w 1046881"/>
                <a:gd name="connsiteY11" fmla="*/ 68270 h 1043557"/>
                <a:gd name="connsiteX12" fmla="*/ 695276 w 1046881"/>
                <a:gd name="connsiteY12" fmla="*/ 66765 h 1043557"/>
                <a:gd name="connsiteX13" fmla="*/ 688988 w 1046881"/>
                <a:gd name="connsiteY13" fmla="*/ 57924 h 1043557"/>
                <a:gd name="connsiteX14" fmla="*/ 685468 w 1046881"/>
                <a:gd name="connsiteY14" fmla="*/ 53037 h 1043557"/>
                <a:gd name="connsiteX15" fmla="*/ 681682 w 1046881"/>
                <a:gd name="connsiteY15" fmla="*/ 49216 h 1043557"/>
                <a:gd name="connsiteX16" fmla="*/ 679085 w 1046881"/>
                <a:gd name="connsiteY16" fmla="*/ 43589 h 1043557"/>
                <a:gd name="connsiteX17" fmla="*/ 676819 w 1046881"/>
                <a:gd name="connsiteY17" fmla="*/ 38759 h 1043557"/>
                <a:gd name="connsiteX18" fmla="*/ 673089 w 1046881"/>
                <a:gd name="connsiteY18" fmla="*/ 36979 h 1043557"/>
                <a:gd name="connsiteX19" fmla="*/ 670969 w 1046881"/>
                <a:gd name="connsiteY19" fmla="*/ 31908 h 1043557"/>
                <a:gd name="connsiteX20" fmla="*/ 670335 w 1046881"/>
                <a:gd name="connsiteY20" fmla="*/ 30150 h 1043557"/>
                <a:gd name="connsiteX21" fmla="*/ 742429 w 1046881"/>
                <a:gd name="connsiteY21" fmla="*/ 22983 h 1043557"/>
                <a:gd name="connsiteX22" fmla="*/ 868019 w 1046881"/>
                <a:gd name="connsiteY22" fmla="*/ 0 h 1043557"/>
                <a:gd name="connsiteX23" fmla="*/ 870170 w 1046881"/>
                <a:gd name="connsiteY23" fmla="*/ 3829 h 1043557"/>
                <a:gd name="connsiteX24" fmla="*/ 875839 w 1046881"/>
                <a:gd name="connsiteY24" fmla="*/ 7816 h 1043557"/>
                <a:gd name="connsiteX25" fmla="*/ 881121 w 1046881"/>
                <a:gd name="connsiteY25" fmla="*/ 12061 h 1043557"/>
                <a:gd name="connsiteX26" fmla="*/ 886197 w 1046881"/>
                <a:gd name="connsiteY26" fmla="*/ 16332 h 1043557"/>
                <a:gd name="connsiteX27" fmla="*/ 885534 w 1046881"/>
                <a:gd name="connsiteY27" fmla="*/ 22164 h 1043557"/>
                <a:gd name="connsiteX28" fmla="*/ 887205 w 1046881"/>
                <a:gd name="connsiteY28" fmla="*/ 33464 h 1043557"/>
                <a:gd name="connsiteX29" fmla="*/ 887603 w 1046881"/>
                <a:gd name="connsiteY29" fmla="*/ 41219 h 1043557"/>
                <a:gd name="connsiteX30" fmla="*/ 898693 w 1046881"/>
                <a:gd name="connsiteY30" fmla="*/ 56828 h 1043557"/>
                <a:gd name="connsiteX31" fmla="*/ 921957 w 1046881"/>
                <a:gd name="connsiteY31" fmla="*/ 75780 h 1043557"/>
                <a:gd name="connsiteX32" fmla="*/ 931672 w 1046881"/>
                <a:gd name="connsiteY32" fmla="*/ 83967 h 1043557"/>
                <a:gd name="connsiteX33" fmla="*/ 938373 w 1046881"/>
                <a:gd name="connsiteY33" fmla="*/ 92754 h 1043557"/>
                <a:gd name="connsiteX34" fmla="*/ 939227 w 1046881"/>
                <a:gd name="connsiteY34" fmla="*/ 102512 h 1043557"/>
                <a:gd name="connsiteX35" fmla="*/ 946842 w 1046881"/>
                <a:gd name="connsiteY35" fmla="*/ 107262 h 1043557"/>
                <a:gd name="connsiteX36" fmla="*/ 953870 w 1046881"/>
                <a:gd name="connsiteY36" fmla="*/ 101203 h 1043557"/>
                <a:gd name="connsiteX37" fmla="*/ 962977 w 1046881"/>
                <a:gd name="connsiteY37" fmla="*/ 104741 h 1043557"/>
                <a:gd name="connsiteX38" fmla="*/ 967861 w 1046881"/>
                <a:gd name="connsiteY38" fmla="*/ 112131 h 1043557"/>
                <a:gd name="connsiteX39" fmla="*/ 965336 w 1046881"/>
                <a:gd name="connsiteY39" fmla="*/ 129106 h 1043557"/>
                <a:gd name="connsiteX40" fmla="*/ 962303 w 1046881"/>
                <a:gd name="connsiteY40" fmla="*/ 143688 h 1043557"/>
                <a:gd name="connsiteX41" fmla="*/ 967061 w 1046881"/>
                <a:gd name="connsiteY41" fmla="*/ 153333 h 1043557"/>
                <a:gd name="connsiteX42" fmla="*/ 971160 w 1046881"/>
                <a:gd name="connsiteY42" fmla="*/ 157938 h 1043557"/>
                <a:gd name="connsiteX43" fmla="*/ 975462 w 1046881"/>
                <a:gd name="connsiteY43" fmla="*/ 160881 h 1043557"/>
                <a:gd name="connsiteX44" fmla="*/ 975885 w 1046881"/>
                <a:gd name="connsiteY44" fmla="*/ 161018 h 1043557"/>
                <a:gd name="connsiteX45" fmla="*/ 981899 w 1046881"/>
                <a:gd name="connsiteY45" fmla="*/ 164548 h 1043557"/>
                <a:gd name="connsiteX46" fmla="*/ 989409 w 1046881"/>
                <a:gd name="connsiteY46" fmla="*/ 168501 h 1043557"/>
                <a:gd name="connsiteX47" fmla="*/ 992927 w 1046881"/>
                <a:gd name="connsiteY47" fmla="*/ 168660 h 1043557"/>
                <a:gd name="connsiteX48" fmla="*/ 1001478 w 1046881"/>
                <a:gd name="connsiteY48" fmla="*/ 171033 h 1043557"/>
                <a:gd name="connsiteX49" fmla="*/ 1004788 w 1046881"/>
                <a:gd name="connsiteY49" fmla="*/ 174313 h 1043557"/>
                <a:gd name="connsiteX50" fmla="*/ 1011624 w 1046881"/>
                <a:gd name="connsiteY50" fmla="*/ 177942 h 1043557"/>
                <a:gd name="connsiteX51" fmla="*/ 1015928 w 1046881"/>
                <a:gd name="connsiteY51" fmla="*/ 185599 h 1043557"/>
                <a:gd name="connsiteX52" fmla="*/ 1020241 w 1046881"/>
                <a:gd name="connsiteY52" fmla="*/ 193461 h 1043557"/>
                <a:gd name="connsiteX53" fmla="*/ 1023417 w 1046881"/>
                <a:gd name="connsiteY53" fmla="*/ 198805 h 1043557"/>
                <a:gd name="connsiteX54" fmla="*/ 1021536 w 1046881"/>
                <a:gd name="connsiteY54" fmla="*/ 203367 h 1043557"/>
                <a:gd name="connsiteX55" fmla="*/ 1019521 w 1046881"/>
                <a:gd name="connsiteY55" fmla="*/ 209994 h 1043557"/>
                <a:gd name="connsiteX56" fmla="*/ 1026248 w 1046881"/>
                <a:gd name="connsiteY56" fmla="*/ 218984 h 1043557"/>
                <a:gd name="connsiteX57" fmla="*/ 1034011 w 1046881"/>
                <a:gd name="connsiteY57" fmla="*/ 224746 h 1043557"/>
                <a:gd name="connsiteX58" fmla="*/ 1039951 w 1046881"/>
                <a:gd name="connsiteY58" fmla="*/ 221509 h 1043557"/>
                <a:gd name="connsiteX59" fmla="*/ 1044310 w 1046881"/>
                <a:gd name="connsiteY59" fmla="*/ 226493 h 1043557"/>
                <a:gd name="connsiteX60" fmla="*/ 1046459 w 1046881"/>
                <a:gd name="connsiteY60" fmla="*/ 233401 h 1043557"/>
                <a:gd name="connsiteX61" fmla="*/ 1046881 w 1046881"/>
                <a:gd name="connsiteY61" fmla="*/ 236630 h 1043557"/>
                <a:gd name="connsiteX62" fmla="*/ 1043947 w 1046881"/>
                <a:gd name="connsiteY62" fmla="*/ 237839 h 1043557"/>
                <a:gd name="connsiteX63" fmla="*/ 1044642 w 1046881"/>
                <a:gd name="connsiteY63" fmla="*/ 246380 h 1043557"/>
                <a:gd name="connsiteX64" fmla="*/ 1037396 w 1046881"/>
                <a:gd name="connsiteY64" fmla="*/ 252261 h 1043557"/>
                <a:gd name="connsiteX65" fmla="*/ 1034407 w 1046881"/>
                <a:gd name="connsiteY65" fmla="*/ 256143 h 1043557"/>
                <a:gd name="connsiteX66" fmla="*/ 1032571 w 1046881"/>
                <a:gd name="connsiteY66" fmla="*/ 257827 h 1043557"/>
                <a:gd name="connsiteX67" fmla="*/ 1029775 w 1046881"/>
                <a:gd name="connsiteY67" fmla="*/ 258605 h 1043557"/>
                <a:gd name="connsiteX68" fmla="*/ 1028069 w 1046881"/>
                <a:gd name="connsiteY68" fmla="*/ 261287 h 1043557"/>
                <a:gd name="connsiteX69" fmla="*/ 1024212 w 1046881"/>
                <a:gd name="connsiteY69" fmla="*/ 293904 h 1043557"/>
                <a:gd name="connsiteX70" fmla="*/ 1025408 w 1046881"/>
                <a:gd name="connsiteY70" fmla="*/ 293644 h 1043557"/>
                <a:gd name="connsiteX71" fmla="*/ 1025512 w 1046881"/>
                <a:gd name="connsiteY71" fmla="*/ 294438 h 1043557"/>
                <a:gd name="connsiteX72" fmla="*/ 1026902 w 1046881"/>
                <a:gd name="connsiteY72" fmla="*/ 297140 h 1043557"/>
                <a:gd name="connsiteX73" fmla="*/ 1025162 w 1046881"/>
                <a:gd name="connsiteY73" fmla="*/ 307451 h 1043557"/>
                <a:gd name="connsiteX74" fmla="*/ 1019870 w 1046881"/>
                <a:gd name="connsiteY74" fmla="*/ 314303 h 1043557"/>
                <a:gd name="connsiteX75" fmla="*/ 1019330 w 1046881"/>
                <a:gd name="connsiteY75" fmla="*/ 316438 h 1043557"/>
                <a:gd name="connsiteX76" fmla="*/ 1020478 w 1046881"/>
                <a:gd name="connsiteY76" fmla="*/ 318953 h 1043557"/>
                <a:gd name="connsiteX77" fmla="*/ 1021614 w 1046881"/>
                <a:gd name="connsiteY77" fmla="*/ 321273 h 1043557"/>
                <a:gd name="connsiteX78" fmla="*/ 1018437 w 1046881"/>
                <a:gd name="connsiteY78" fmla="*/ 325392 h 1043557"/>
                <a:gd name="connsiteX79" fmla="*/ 1014895 w 1046881"/>
                <a:gd name="connsiteY79" fmla="*/ 329754 h 1043557"/>
                <a:gd name="connsiteX80" fmla="*/ 1011459 w 1046881"/>
                <a:gd name="connsiteY80" fmla="*/ 334933 h 1043557"/>
                <a:gd name="connsiteX81" fmla="*/ 1009088 w 1046881"/>
                <a:gd name="connsiteY81" fmla="*/ 338945 h 1043557"/>
                <a:gd name="connsiteX82" fmla="*/ 1012944 w 1046881"/>
                <a:gd name="connsiteY82" fmla="*/ 344821 h 1043557"/>
                <a:gd name="connsiteX83" fmla="*/ 1017240 w 1046881"/>
                <a:gd name="connsiteY83" fmla="*/ 350836 h 1043557"/>
                <a:gd name="connsiteX84" fmla="*/ 1014555 w 1046881"/>
                <a:gd name="connsiteY84" fmla="*/ 357151 h 1043557"/>
                <a:gd name="connsiteX85" fmla="*/ 1010593 w 1046881"/>
                <a:gd name="connsiteY85" fmla="*/ 363010 h 1043557"/>
                <a:gd name="connsiteX86" fmla="*/ 1009849 w 1046881"/>
                <a:gd name="connsiteY86" fmla="*/ 365161 h 1043557"/>
                <a:gd name="connsiteX87" fmla="*/ 1009314 w 1046881"/>
                <a:gd name="connsiteY87" fmla="*/ 370572 h 1043557"/>
                <a:gd name="connsiteX88" fmla="*/ 1006966 w 1046881"/>
                <a:gd name="connsiteY88" fmla="*/ 376232 h 1043557"/>
                <a:gd name="connsiteX89" fmla="*/ 998563 w 1046881"/>
                <a:gd name="connsiteY89" fmla="*/ 387609 h 1043557"/>
                <a:gd name="connsiteX90" fmla="*/ 998168 w 1046881"/>
                <a:gd name="connsiteY90" fmla="*/ 401850 h 1043557"/>
                <a:gd name="connsiteX91" fmla="*/ 999230 w 1046881"/>
                <a:gd name="connsiteY91" fmla="*/ 408494 h 1043557"/>
                <a:gd name="connsiteX92" fmla="*/ 995391 w 1046881"/>
                <a:gd name="connsiteY92" fmla="*/ 413726 h 1043557"/>
                <a:gd name="connsiteX93" fmla="*/ 990223 w 1046881"/>
                <a:gd name="connsiteY93" fmla="*/ 418300 h 1043557"/>
                <a:gd name="connsiteX94" fmla="*/ 985699 w 1046881"/>
                <a:gd name="connsiteY94" fmla="*/ 424660 h 1043557"/>
                <a:gd name="connsiteX95" fmla="*/ 983552 w 1046881"/>
                <a:gd name="connsiteY95" fmla="*/ 430282 h 1043557"/>
                <a:gd name="connsiteX96" fmla="*/ 985818 w 1046881"/>
                <a:gd name="connsiteY96" fmla="*/ 438211 h 1043557"/>
                <a:gd name="connsiteX97" fmla="*/ 982898 w 1046881"/>
                <a:gd name="connsiteY97" fmla="*/ 441062 h 1043557"/>
                <a:gd name="connsiteX98" fmla="*/ 980829 w 1046881"/>
                <a:gd name="connsiteY98" fmla="*/ 447285 h 1043557"/>
                <a:gd name="connsiteX99" fmla="*/ 981920 w 1046881"/>
                <a:gd name="connsiteY99" fmla="*/ 452495 h 1043557"/>
                <a:gd name="connsiteX100" fmla="*/ 979586 w 1046881"/>
                <a:gd name="connsiteY100" fmla="*/ 456699 h 1043557"/>
                <a:gd name="connsiteX101" fmla="*/ 977965 w 1046881"/>
                <a:gd name="connsiteY101" fmla="*/ 461641 h 1043557"/>
                <a:gd name="connsiteX102" fmla="*/ 975685 w 1046881"/>
                <a:gd name="connsiteY102" fmla="*/ 466254 h 1043557"/>
                <a:gd name="connsiteX103" fmla="*/ 973862 w 1046881"/>
                <a:gd name="connsiteY103" fmla="*/ 471222 h 1043557"/>
                <a:gd name="connsiteX104" fmla="*/ 977202 w 1046881"/>
                <a:gd name="connsiteY104" fmla="*/ 479426 h 1043557"/>
                <a:gd name="connsiteX105" fmla="*/ 980504 w 1046881"/>
                <a:gd name="connsiteY105" fmla="*/ 485778 h 1043557"/>
                <a:gd name="connsiteX106" fmla="*/ 984718 w 1046881"/>
                <a:gd name="connsiteY106" fmla="*/ 492830 h 1043557"/>
                <a:gd name="connsiteX107" fmla="*/ 987057 w 1046881"/>
                <a:gd name="connsiteY107" fmla="*/ 498084 h 1043557"/>
                <a:gd name="connsiteX108" fmla="*/ 983990 w 1046881"/>
                <a:gd name="connsiteY108" fmla="*/ 506088 h 1043557"/>
                <a:gd name="connsiteX109" fmla="*/ 983436 w 1046881"/>
                <a:gd name="connsiteY109" fmla="*/ 508214 h 1043557"/>
                <a:gd name="connsiteX110" fmla="*/ 983058 w 1046881"/>
                <a:gd name="connsiteY110" fmla="*/ 510120 h 1043557"/>
                <a:gd name="connsiteX111" fmla="*/ 827992 w 1046881"/>
                <a:gd name="connsiteY111" fmla="*/ 534483 h 1043557"/>
                <a:gd name="connsiteX112" fmla="*/ 828366 w 1046881"/>
                <a:gd name="connsiteY112" fmla="*/ 537474 h 1043557"/>
                <a:gd name="connsiteX113" fmla="*/ 836967 w 1046881"/>
                <a:gd name="connsiteY113" fmla="*/ 604863 h 1043557"/>
                <a:gd name="connsiteX114" fmla="*/ 843324 w 1046881"/>
                <a:gd name="connsiteY114" fmla="*/ 609201 h 1043557"/>
                <a:gd name="connsiteX115" fmla="*/ 849802 w 1046881"/>
                <a:gd name="connsiteY115" fmla="*/ 614737 h 1043557"/>
                <a:gd name="connsiteX116" fmla="*/ 853157 w 1046881"/>
                <a:gd name="connsiteY116" fmla="*/ 623110 h 1043557"/>
                <a:gd name="connsiteX117" fmla="*/ 854931 w 1046881"/>
                <a:gd name="connsiteY117" fmla="*/ 631967 h 1043557"/>
                <a:gd name="connsiteX118" fmla="*/ 857647 w 1046881"/>
                <a:gd name="connsiteY118" fmla="*/ 633867 h 1043557"/>
                <a:gd name="connsiteX119" fmla="*/ 860697 w 1046881"/>
                <a:gd name="connsiteY119" fmla="*/ 636764 h 1043557"/>
                <a:gd name="connsiteX120" fmla="*/ 862847 w 1046881"/>
                <a:gd name="connsiteY120" fmla="*/ 640369 h 1043557"/>
                <a:gd name="connsiteX121" fmla="*/ 865303 w 1046881"/>
                <a:gd name="connsiteY121" fmla="*/ 645008 h 1043557"/>
                <a:gd name="connsiteX122" fmla="*/ 870051 w 1046881"/>
                <a:gd name="connsiteY122" fmla="*/ 653025 h 1043557"/>
                <a:gd name="connsiteX123" fmla="*/ 874531 w 1046881"/>
                <a:gd name="connsiteY123" fmla="*/ 658997 h 1043557"/>
                <a:gd name="connsiteX124" fmla="*/ 875851 w 1046881"/>
                <a:gd name="connsiteY124" fmla="*/ 681685 h 1043557"/>
                <a:gd name="connsiteX125" fmla="*/ 872946 w 1046881"/>
                <a:gd name="connsiteY125" fmla="*/ 690910 h 1043557"/>
                <a:gd name="connsiteX126" fmla="*/ 869839 w 1046881"/>
                <a:gd name="connsiteY126" fmla="*/ 702001 h 1043557"/>
                <a:gd name="connsiteX127" fmla="*/ 872169 w 1046881"/>
                <a:gd name="connsiteY127" fmla="*/ 707247 h 1043557"/>
                <a:gd name="connsiteX128" fmla="*/ 870316 w 1046881"/>
                <a:gd name="connsiteY128" fmla="*/ 710368 h 1043557"/>
                <a:gd name="connsiteX129" fmla="*/ 869134 w 1046881"/>
                <a:gd name="connsiteY129" fmla="*/ 715483 h 1043557"/>
                <a:gd name="connsiteX130" fmla="*/ 871666 w 1046881"/>
                <a:gd name="connsiteY130" fmla="*/ 720703 h 1043557"/>
                <a:gd name="connsiteX131" fmla="*/ 874190 w 1046881"/>
                <a:gd name="connsiteY131" fmla="*/ 727173 h 1043557"/>
                <a:gd name="connsiteX132" fmla="*/ 870767 w 1046881"/>
                <a:gd name="connsiteY132" fmla="*/ 740559 h 1043557"/>
                <a:gd name="connsiteX133" fmla="*/ 865779 w 1046881"/>
                <a:gd name="connsiteY133" fmla="*/ 752728 h 1043557"/>
                <a:gd name="connsiteX134" fmla="*/ 865577 w 1046881"/>
                <a:gd name="connsiteY134" fmla="*/ 752754 h 1043557"/>
                <a:gd name="connsiteX135" fmla="*/ 866916 w 1046881"/>
                <a:gd name="connsiteY135" fmla="*/ 756708 h 1043557"/>
                <a:gd name="connsiteX136" fmla="*/ 869738 w 1046881"/>
                <a:gd name="connsiteY136" fmla="*/ 759426 h 1043557"/>
                <a:gd name="connsiteX137" fmla="*/ 860381 w 1046881"/>
                <a:gd name="connsiteY137" fmla="*/ 763320 h 1043557"/>
                <a:gd name="connsiteX138" fmla="*/ 855058 w 1046881"/>
                <a:gd name="connsiteY138" fmla="*/ 766895 h 1043557"/>
                <a:gd name="connsiteX139" fmla="*/ 849541 w 1046881"/>
                <a:gd name="connsiteY139" fmla="*/ 770287 h 1043557"/>
                <a:gd name="connsiteX140" fmla="*/ 826641 w 1046881"/>
                <a:gd name="connsiteY140" fmla="*/ 787468 h 1043557"/>
                <a:gd name="connsiteX141" fmla="*/ 808960 w 1046881"/>
                <a:gd name="connsiteY141" fmla="*/ 807887 h 1043557"/>
                <a:gd name="connsiteX142" fmla="*/ 807714 w 1046881"/>
                <a:gd name="connsiteY142" fmla="*/ 808050 h 1043557"/>
                <a:gd name="connsiteX143" fmla="*/ 807356 w 1046881"/>
                <a:gd name="connsiteY143" fmla="*/ 806882 h 1043557"/>
                <a:gd name="connsiteX144" fmla="*/ 817787 w 1046881"/>
                <a:gd name="connsiteY144" fmla="*/ 790498 h 1043557"/>
                <a:gd name="connsiteX145" fmla="*/ 823690 w 1046881"/>
                <a:gd name="connsiteY145" fmla="*/ 783760 h 1043557"/>
                <a:gd name="connsiteX146" fmla="*/ 832078 w 1046881"/>
                <a:gd name="connsiteY146" fmla="*/ 776906 h 1043557"/>
                <a:gd name="connsiteX147" fmla="*/ 829923 w 1046881"/>
                <a:gd name="connsiteY147" fmla="*/ 776147 h 1043557"/>
                <a:gd name="connsiteX148" fmla="*/ 827201 w 1046881"/>
                <a:gd name="connsiteY148" fmla="*/ 777335 h 1043557"/>
                <a:gd name="connsiteX149" fmla="*/ 820822 w 1046881"/>
                <a:gd name="connsiteY149" fmla="*/ 777544 h 1043557"/>
                <a:gd name="connsiteX150" fmla="*/ 820635 w 1046881"/>
                <a:gd name="connsiteY150" fmla="*/ 771394 h 1043557"/>
                <a:gd name="connsiteX151" fmla="*/ 821485 w 1046881"/>
                <a:gd name="connsiteY151" fmla="*/ 765316 h 1043557"/>
                <a:gd name="connsiteX152" fmla="*/ 818507 w 1046881"/>
                <a:gd name="connsiteY152" fmla="*/ 761403 h 1043557"/>
                <a:gd name="connsiteX153" fmla="*/ 814762 w 1046881"/>
                <a:gd name="connsiteY153" fmla="*/ 765778 h 1043557"/>
                <a:gd name="connsiteX154" fmla="*/ 810038 w 1046881"/>
                <a:gd name="connsiteY154" fmla="*/ 770523 h 1043557"/>
                <a:gd name="connsiteX155" fmla="*/ 805169 w 1046881"/>
                <a:gd name="connsiteY155" fmla="*/ 769703 h 1043557"/>
                <a:gd name="connsiteX156" fmla="*/ 803350 w 1046881"/>
                <a:gd name="connsiteY156" fmla="*/ 769941 h 1043557"/>
                <a:gd name="connsiteX157" fmla="*/ 803389 w 1046881"/>
                <a:gd name="connsiteY157" fmla="*/ 771809 h 1043557"/>
                <a:gd name="connsiteX158" fmla="*/ 807659 w 1046881"/>
                <a:gd name="connsiteY158" fmla="*/ 779056 h 1043557"/>
                <a:gd name="connsiteX159" fmla="*/ 811335 w 1046881"/>
                <a:gd name="connsiteY159" fmla="*/ 785167 h 1043557"/>
                <a:gd name="connsiteX160" fmla="*/ 813108 w 1046881"/>
                <a:gd name="connsiteY160" fmla="*/ 786149 h 1043557"/>
                <a:gd name="connsiteX161" fmla="*/ 814870 w 1046881"/>
                <a:gd name="connsiteY161" fmla="*/ 788625 h 1043557"/>
                <a:gd name="connsiteX162" fmla="*/ 806028 w 1046881"/>
                <a:gd name="connsiteY162" fmla="*/ 804593 h 1043557"/>
                <a:gd name="connsiteX163" fmla="*/ 802425 w 1046881"/>
                <a:gd name="connsiteY163" fmla="*/ 806902 h 1043557"/>
                <a:gd name="connsiteX164" fmla="*/ 800728 w 1046881"/>
                <a:gd name="connsiteY164" fmla="*/ 811217 h 1043557"/>
                <a:gd name="connsiteX165" fmla="*/ 800328 w 1046881"/>
                <a:gd name="connsiteY165" fmla="*/ 816022 h 1043557"/>
                <a:gd name="connsiteX166" fmla="*/ 798253 w 1046881"/>
                <a:gd name="connsiteY166" fmla="*/ 820595 h 1043557"/>
                <a:gd name="connsiteX167" fmla="*/ 797701 w 1046881"/>
                <a:gd name="connsiteY167" fmla="*/ 821083 h 1043557"/>
                <a:gd name="connsiteX168" fmla="*/ 771095 w 1046881"/>
                <a:gd name="connsiteY168" fmla="*/ 839789 h 1043557"/>
                <a:gd name="connsiteX169" fmla="*/ 769578 w 1046881"/>
                <a:gd name="connsiteY169" fmla="*/ 839190 h 1043557"/>
                <a:gd name="connsiteX170" fmla="*/ 766035 w 1046881"/>
                <a:gd name="connsiteY170" fmla="*/ 838820 h 1043557"/>
                <a:gd name="connsiteX171" fmla="*/ 761925 w 1046881"/>
                <a:gd name="connsiteY171" fmla="*/ 840398 h 1043557"/>
                <a:gd name="connsiteX172" fmla="*/ 760071 w 1046881"/>
                <a:gd name="connsiteY172" fmla="*/ 843519 h 1043557"/>
                <a:gd name="connsiteX173" fmla="*/ 764719 w 1046881"/>
                <a:gd name="connsiteY173" fmla="*/ 842912 h 1043557"/>
                <a:gd name="connsiteX174" fmla="*/ 746112 w 1046881"/>
                <a:gd name="connsiteY174" fmla="*/ 858075 h 1043557"/>
                <a:gd name="connsiteX175" fmla="*/ 746207 w 1046881"/>
                <a:gd name="connsiteY175" fmla="*/ 857230 h 1043557"/>
                <a:gd name="connsiteX176" fmla="*/ 750006 w 1046881"/>
                <a:gd name="connsiteY176" fmla="*/ 853264 h 1043557"/>
                <a:gd name="connsiteX177" fmla="*/ 754715 w 1046881"/>
                <a:gd name="connsiteY177" fmla="*/ 849978 h 1043557"/>
                <a:gd name="connsiteX178" fmla="*/ 752331 w 1046881"/>
                <a:gd name="connsiteY178" fmla="*/ 849040 h 1043557"/>
                <a:gd name="connsiteX179" fmla="*/ 749327 w 1046881"/>
                <a:gd name="connsiteY179" fmla="*/ 849641 h 1043557"/>
                <a:gd name="connsiteX180" fmla="*/ 744038 w 1046881"/>
                <a:gd name="connsiteY180" fmla="*/ 848494 h 1043557"/>
                <a:gd name="connsiteX181" fmla="*/ 741243 w 1046881"/>
                <a:gd name="connsiteY181" fmla="*/ 845980 h 1043557"/>
                <a:gd name="connsiteX182" fmla="*/ 739378 w 1046881"/>
                <a:gd name="connsiteY182" fmla="*/ 847438 h 1043557"/>
                <a:gd name="connsiteX183" fmla="*/ 737544 w 1046881"/>
                <a:gd name="connsiteY183" fmla="*/ 849134 h 1043557"/>
                <a:gd name="connsiteX184" fmla="*/ 735996 w 1046881"/>
                <a:gd name="connsiteY184" fmla="*/ 848296 h 1043557"/>
                <a:gd name="connsiteX185" fmla="*/ 734440 w 1046881"/>
                <a:gd name="connsiteY185" fmla="*/ 847667 h 1043557"/>
                <a:gd name="connsiteX186" fmla="*/ 733106 w 1046881"/>
                <a:gd name="connsiteY186" fmla="*/ 848466 h 1043557"/>
                <a:gd name="connsiteX187" fmla="*/ 733900 w 1046881"/>
                <a:gd name="connsiteY187" fmla="*/ 849819 h 1043557"/>
                <a:gd name="connsiteX188" fmla="*/ 734715 w 1046881"/>
                <a:gd name="connsiteY188" fmla="*/ 851342 h 1043557"/>
                <a:gd name="connsiteX189" fmla="*/ 729171 w 1046881"/>
                <a:gd name="connsiteY189" fmla="*/ 854530 h 1043557"/>
                <a:gd name="connsiteX190" fmla="*/ 724496 w 1046881"/>
                <a:gd name="connsiteY190" fmla="*/ 850215 h 1043557"/>
                <a:gd name="connsiteX191" fmla="*/ 720450 w 1046881"/>
                <a:gd name="connsiteY191" fmla="*/ 845991 h 1043557"/>
                <a:gd name="connsiteX192" fmla="*/ 719256 w 1046881"/>
                <a:gd name="connsiteY192" fmla="*/ 849443 h 1043557"/>
                <a:gd name="connsiteX193" fmla="*/ 727593 w 1046881"/>
                <a:gd name="connsiteY193" fmla="*/ 856610 h 1043557"/>
                <a:gd name="connsiteX194" fmla="*/ 735623 w 1046881"/>
                <a:gd name="connsiteY194" fmla="*/ 864580 h 1043557"/>
                <a:gd name="connsiteX195" fmla="*/ 732973 w 1046881"/>
                <a:gd name="connsiteY195" fmla="*/ 874188 h 1043557"/>
                <a:gd name="connsiteX196" fmla="*/ 720589 w 1046881"/>
                <a:gd name="connsiteY196" fmla="*/ 885069 h 1043557"/>
                <a:gd name="connsiteX197" fmla="*/ 710786 w 1046881"/>
                <a:gd name="connsiteY197" fmla="*/ 894988 h 1043557"/>
                <a:gd name="connsiteX198" fmla="*/ 704220 w 1046881"/>
                <a:gd name="connsiteY198" fmla="*/ 904518 h 1043557"/>
                <a:gd name="connsiteX199" fmla="*/ 703581 w 1046881"/>
                <a:gd name="connsiteY199" fmla="*/ 904602 h 1043557"/>
                <a:gd name="connsiteX200" fmla="*/ 703469 w 1046881"/>
                <a:gd name="connsiteY200" fmla="*/ 901911 h 1043557"/>
                <a:gd name="connsiteX201" fmla="*/ 709101 w 1046881"/>
                <a:gd name="connsiteY201" fmla="*/ 891531 h 1043557"/>
                <a:gd name="connsiteX202" fmla="*/ 716258 w 1046881"/>
                <a:gd name="connsiteY202" fmla="*/ 883380 h 1043557"/>
                <a:gd name="connsiteX203" fmla="*/ 724565 w 1046881"/>
                <a:gd name="connsiteY203" fmla="*/ 875911 h 1043557"/>
                <a:gd name="connsiteX204" fmla="*/ 732355 w 1046881"/>
                <a:gd name="connsiteY204" fmla="*/ 867886 h 1043557"/>
                <a:gd name="connsiteX205" fmla="*/ 730334 w 1046881"/>
                <a:gd name="connsiteY205" fmla="*/ 868150 h 1043557"/>
                <a:gd name="connsiteX206" fmla="*/ 725301 w 1046881"/>
                <a:gd name="connsiteY206" fmla="*/ 872103 h 1043557"/>
                <a:gd name="connsiteX207" fmla="*/ 720463 w 1046881"/>
                <a:gd name="connsiteY207" fmla="*/ 874401 h 1043557"/>
                <a:gd name="connsiteX208" fmla="*/ 716059 w 1046881"/>
                <a:gd name="connsiteY208" fmla="*/ 870848 h 1043557"/>
                <a:gd name="connsiteX209" fmla="*/ 712299 w 1046881"/>
                <a:gd name="connsiteY209" fmla="*/ 867246 h 1043557"/>
                <a:gd name="connsiteX210" fmla="*/ 711269 w 1046881"/>
                <a:gd name="connsiteY210" fmla="*/ 868803 h 1043557"/>
                <a:gd name="connsiteX211" fmla="*/ 713215 w 1046881"/>
                <a:gd name="connsiteY211" fmla="*/ 872677 h 1043557"/>
                <a:gd name="connsiteX212" fmla="*/ 715235 w 1046881"/>
                <a:gd name="connsiteY212" fmla="*/ 877131 h 1043557"/>
                <a:gd name="connsiteX213" fmla="*/ 712513 w 1046881"/>
                <a:gd name="connsiteY213" fmla="*/ 883037 h 1043557"/>
                <a:gd name="connsiteX214" fmla="*/ 706981 w 1046881"/>
                <a:gd name="connsiteY214" fmla="*/ 887888 h 1043557"/>
                <a:gd name="connsiteX215" fmla="*/ 703331 w 1046881"/>
                <a:gd name="connsiteY215" fmla="*/ 886700 h 1043557"/>
                <a:gd name="connsiteX216" fmla="*/ 697349 w 1046881"/>
                <a:gd name="connsiteY216" fmla="*/ 885227 h 1043557"/>
                <a:gd name="connsiteX217" fmla="*/ 694996 w 1046881"/>
                <a:gd name="connsiteY217" fmla="*/ 889246 h 1043557"/>
                <a:gd name="connsiteX218" fmla="*/ 696194 w 1046881"/>
                <a:gd name="connsiteY218" fmla="*/ 895264 h 1043557"/>
                <a:gd name="connsiteX219" fmla="*/ 698047 w 1046881"/>
                <a:gd name="connsiteY219" fmla="*/ 892143 h 1043557"/>
                <a:gd name="connsiteX220" fmla="*/ 699927 w 1046881"/>
                <a:gd name="connsiteY220" fmla="*/ 889226 h 1043557"/>
                <a:gd name="connsiteX221" fmla="*/ 702527 w 1046881"/>
                <a:gd name="connsiteY221" fmla="*/ 893396 h 1043557"/>
                <a:gd name="connsiteX222" fmla="*/ 698570 w 1046881"/>
                <a:gd name="connsiteY222" fmla="*/ 904008 h 1043557"/>
                <a:gd name="connsiteX223" fmla="*/ 692950 w 1046881"/>
                <a:gd name="connsiteY223" fmla="*/ 911334 h 1043557"/>
                <a:gd name="connsiteX224" fmla="*/ 689044 w 1046881"/>
                <a:gd name="connsiteY224" fmla="*/ 909762 h 1043557"/>
                <a:gd name="connsiteX225" fmla="*/ 681243 w 1046881"/>
                <a:gd name="connsiteY225" fmla="*/ 908527 h 1043557"/>
                <a:gd name="connsiteX226" fmla="*/ 676481 w 1046881"/>
                <a:gd name="connsiteY226" fmla="*/ 911404 h 1043557"/>
                <a:gd name="connsiteX227" fmla="*/ 684347 w 1046881"/>
                <a:gd name="connsiteY227" fmla="*/ 916551 h 1043557"/>
                <a:gd name="connsiteX228" fmla="*/ 688847 w 1046881"/>
                <a:gd name="connsiteY228" fmla="*/ 919259 h 1043557"/>
                <a:gd name="connsiteX229" fmla="*/ 679949 w 1046881"/>
                <a:gd name="connsiteY229" fmla="*/ 947376 h 1043557"/>
                <a:gd name="connsiteX230" fmla="*/ 677516 w 1046881"/>
                <a:gd name="connsiteY230" fmla="*/ 946063 h 1043557"/>
                <a:gd name="connsiteX231" fmla="*/ 675052 w 1046881"/>
                <a:gd name="connsiteY231" fmla="*/ 944512 h 1043557"/>
                <a:gd name="connsiteX232" fmla="*/ 669844 w 1046881"/>
                <a:gd name="connsiteY232" fmla="*/ 945817 h 1043557"/>
                <a:gd name="connsiteX233" fmla="*/ 667236 w 1046881"/>
                <a:gd name="connsiteY233" fmla="*/ 949453 h 1043557"/>
                <a:gd name="connsiteX234" fmla="*/ 677623 w 1046881"/>
                <a:gd name="connsiteY234" fmla="*/ 951600 h 1043557"/>
                <a:gd name="connsiteX235" fmla="*/ 681760 w 1046881"/>
                <a:gd name="connsiteY235" fmla="*/ 950227 h 1043557"/>
                <a:gd name="connsiteX236" fmla="*/ 685390 w 1046881"/>
                <a:gd name="connsiteY236" fmla="*/ 952840 h 1043557"/>
                <a:gd name="connsiteX237" fmla="*/ 681844 w 1046881"/>
                <a:gd name="connsiteY237" fmla="*/ 965028 h 1043557"/>
                <a:gd name="connsiteX238" fmla="*/ 677303 w 1046881"/>
                <a:gd name="connsiteY238" fmla="*/ 971172 h 1043557"/>
                <a:gd name="connsiteX239" fmla="*/ 680220 w 1046881"/>
                <a:gd name="connsiteY239" fmla="*/ 973045 h 1043557"/>
                <a:gd name="connsiteX240" fmla="*/ 682966 w 1046881"/>
                <a:gd name="connsiteY240" fmla="*/ 975185 h 1043557"/>
                <a:gd name="connsiteX241" fmla="*/ 681585 w 1046881"/>
                <a:gd name="connsiteY241" fmla="*/ 977204 h 1043557"/>
                <a:gd name="connsiteX242" fmla="*/ 680312 w 1046881"/>
                <a:gd name="connsiteY242" fmla="*/ 980041 h 1043557"/>
                <a:gd name="connsiteX243" fmla="*/ 683443 w 1046881"/>
                <a:gd name="connsiteY243" fmla="*/ 983552 h 1043557"/>
                <a:gd name="connsiteX244" fmla="*/ 688091 w 1046881"/>
                <a:gd name="connsiteY244" fmla="*/ 992380 h 1043557"/>
                <a:gd name="connsiteX245" fmla="*/ 689758 w 1046881"/>
                <a:gd name="connsiteY245" fmla="*/ 1000419 h 1043557"/>
                <a:gd name="connsiteX246" fmla="*/ 691535 w 1046881"/>
                <a:gd name="connsiteY246" fmla="*/ 1006153 h 1043557"/>
                <a:gd name="connsiteX247" fmla="*/ 696126 w 1046881"/>
                <a:gd name="connsiteY247" fmla="*/ 1017695 h 1043557"/>
                <a:gd name="connsiteX248" fmla="*/ 699360 w 1046881"/>
                <a:gd name="connsiteY248" fmla="*/ 1021990 h 1043557"/>
                <a:gd name="connsiteX249" fmla="*/ 701838 w 1046881"/>
                <a:gd name="connsiteY249" fmla="*/ 1026800 h 1043557"/>
                <a:gd name="connsiteX250" fmla="*/ 700732 w 1046881"/>
                <a:gd name="connsiteY250" fmla="*/ 1030657 h 1043557"/>
                <a:gd name="connsiteX251" fmla="*/ 699410 w 1046881"/>
                <a:gd name="connsiteY251" fmla="*/ 1034957 h 1043557"/>
                <a:gd name="connsiteX252" fmla="*/ 700859 w 1046881"/>
                <a:gd name="connsiteY252" fmla="*/ 1036606 h 1043557"/>
                <a:gd name="connsiteX253" fmla="*/ 702974 w 1046881"/>
                <a:gd name="connsiteY253" fmla="*/ 1033659 h 1043557"/>
                <a:gd name="connsiteX254" fmla="*/ 705056 w 1046881"/>
                <a:gd name="connsiteY254" fmla="*/ 1030716 h 1043557"/>
                <a:gd name="connsiteX255" fmla="*/ 709446 w 1046881"/>
                <a:gd name="connsiteY255" fmla="*/ 1037566 h 1043557"/>
                <a:gd name="connsiteX256" fmla="*/ 698312 w 1046881"/>
                <a:gd name="connsiteY256" fmla="*/ 1042282 h 1043557"/>
                <a:gd name="connsiteX257" fmla="*/ 693542 w 1046881"/>
                <a:gd name="connsiteY257" fmla="*/ 1043529 h 1043557"/>
                <a:gd name="connsiteX258" fmla="*/ 687990 w 1046881"/>
                <a:gd name="connsiteY258" fmla="*/ 1040370 h 1043557"/>
                <a:gd name="connsiteX259" fmla="*/ 678999 w 1046881"/>
                <a:gd name="connsiteY259" fmla="*/ 1034745 h 1043557"/>
                <a:gd name="connsiteX260" fmla="*/ 672688 w 1046881"/>
                <a:gd name="connsiteY260" fmla="*/ 1032067 h 1043557"/>
                <a:gd name="connsiteX261" fmla="*/ 645386 w 1046881"/>
                <a:gd name="connsiteY261" fmla="*/ 1034177 h 1043557"/>
                <a:gd name="connsiteX262" fmla="*/ 637620 w 1046881"/>
                <a:gd name="connsiteY262" fmla="*/ 1030058 h 1043557"/>
                <a:gd name="connsiteX263" fmla="*/ 631438 w 1046881"/>
                <a:gd name="connsiteY263" fmla="*/ 1023650 h 1043557"/>
                <a:gd name="connsiteX264" fmla="*/ 625719 w 1046881"/>
                <a:gd name="connsiteY264" fmla="*/ 1022351 h 1043557"/>
                <a:gd name="connsiteX265" fmla="*/ 619729 w 1046881"/>
                <a:gd name="connsiteY265" fmla="*/ 1023967 h 1043557"/>
                <a:gd name="connsiteX266" fmla="*/ 616286 w 1046881"/>
                <a:gd name="connsiteY266" fmla="*/ 1022786 h 1043557"/>
                <a:gd name="connsiteX267" fmla="*/ 612117 w 1046881"/>
                <a:gd name="connsiteY267" fmla="*/ 1019203 h 1043557"/>
                <a:gd name="connsiteX268" fmla="*/ 599158 w 1046881"/>
                <a:gd name="connsiteY268" fmla="*/ 1017809 h 1043557"/>
                <a:gd name="connsiteX269" fmla="*/ 594928 w 1046881"/>
                <a:gd name="connsiteY269" fmla="*/ 1016904 h 1043557"/>
                <a:gd name="connsiteX270" fmla="*/ 592934 w 1046881"/>
                <a:gd name="connsiteY270" fmla="*/ 1012655 h 1043557"/>
                <a:gd name="connsiteX271" fmla="*/ 590166 w 1046881"/>
                <a:gd name="connsiteY271" fmla="*/ 1010346 h 1043557"/>
                <a:gd name="connsiteX272" fmla="*/ 587451 w 1046881"/>
                <a:gd name="connsiteY272" fmla="*/ 1008446 h 1043557"/>
                <a:gd name="connsiteX273" fmla="*/ 583622 w 1046881"/>
                <a:gd name="connsiteY273" fmla="*/ 993301 h 1043557"/>
                <a:gd name="connsiteX274" fmla="*/ 574780 w 1046881"/>
                <a:gd name="connsiteY274" fmla="*/ 982523 h 1043557"/>
                <a:gd name="connsiteX275" fmla="*/ 567217 w 1046881"/>
                <a:gd name="connsiteY275" fmla="*/ 973416 h 1043557"/>
                <a:gd name="connsiteX276" fmla="*/ 566752 w 1046881"/>
                <a:gd name="connsiteY276" fmla="*/ 966713 h 1043557"/>
                <a:gd name="connsiteX277" fmla="*/ 566996 w 1046881"/>
                <a:gd name="connsiteY277" fmla="*/ 960714 h 1043557"/>
                <a:gd name="connsiteX278" fmla="*/ 563873 w 1046881"/>
                <a:gd name="connsiteY278" fmla="*/ 958833 h 1043557"/>
                <a:gd name="connsiteX279" fmla="*/ 562592 w 1046881"/>
                <a:gd name="connsiteY279" fmla="*/ 955323 h 1043557"/>
                <a:gd name="connsiteX280" fmla="*/ 562782 w 1046881"/>
                <a:gd name="connsiteY280" fmla="*/ 948915 h 1043557"/>
                <a:gd name="connsiteX281" fmla="*/ 560662 w 1046881"/>
                <a:gd name="connsiteY281" fmla="*/ 945272 h 1043557"/>
                <a:gd name="connsiteX282" fmla="*/ 555079 w 1046881"/>
                <a:gd name="connsiteY282" fmla="*/ 937156 h 1043557"/>
                <a:gd name="connsiteX283" fmla="*/ 547629 w 1046881"/>
                <a:gd name="connsiteY283" fmla="*/ 935458 h 1043557"/>
                <a:gd name="connsiteX284" fmla="*/ 542275 w 1046881"/>
                <a:gd name="connsiteY284" fmla="*/ 927520 h 1043557"/>
                <a:gd name="connsiteX285" fmla="*/ 535865 w 1046881"/>
                <a:gd name="connsiteY285" fmla="*/ 916216 h 1043557"/>
                <a:gd name="connsiteX286" fmla="*/ 523400 w 1046881"/>
                <a:gd name="connsiteY286" fmla="*/ 904455 h 1043557"/>
                <a:gd name="connsiteX287" fmla="*/ 511396 w 1046881"/>
                <a:gd name="connsiteY287" fmla="*/ 895963 h 1043557"/>
                <a:gd name="connsiteX288" fmla="*/ 508044 w 1046881"/>
                <a:gd name="connsiteY288" fmla="*/ 889186 h 1043557"/>
                <a:gd name="connsiteX289" fmla="*/ 505276 w 1046881"/>
                <a:gd name="connsiteY289" fmla="*/ 879279 h 1043557"/>
                <a:gd name="connsiteX290" fmla="*/ 500273 w 1046881"/>
                <a:gd name="connsiteY290" fmla="*/ 870879 h 1043557"/>
                <a:gd name="connsiteX291" fmla="*/ 493351 w 1046881"/>
                <a:gd name="connsiteY291" fmla="*/ 858809 h 1043557"/>
                <a:gd name="connsiteX292" fmla="*/ 486308 w 1046881"/>
                <a:gd name="connsiteY292" fmla="*/ 847380 h 1043557"/>
                <a:gd name="connsiteX293" fmla="*/ 480833 w 1046881"/>
                <a:gd name="connsiteY293" fmla="*/ 841921 h 1043557"/>
                <a:gd name="connsiteX294" fmla="*/ 476032 w 1046881"/>
                <a:gd name="connsiteY294" fmla="*/ 833494 h 1043557"/>
                <a:gd name="connsiteX295" fmla="*/ 469492 w 1046881"/>
                <a:gd name="connsiteY295" fmla="*/ 825919 h 1043557"/>
                <a:gd name="connsiteX296" fmla="*/ 456593 w 1046881"/>
                <a:gd name="connsiteY296" fmla="*/ 817128 h 1043557"/>
                <a:gd name="connsiteX297" fmla="*/ 444322 w 1046881"/>
                <a:gd name="connsiteY297" fmla="*/ 806590 h 1043557"/>
                <a:gd name="connsiteX298" fmla="*/ 437176 w 1046881"/>
                <a:gd name="connsiteY298" fmla="*/ 799094 h 1043557"/>
                <a:gd name="connsiteX299" fmla="*/ 432691 w 1046881"/>
                <a:gd name="connsiteY299" fmla="*/ 794928 h 1043557"/>
                <a:gd name="connsiteX300" fmla="*/ 424006 w 1046881"/>
                <a:gd name="connsiteY300" fmla="*/ 800815 h 1043557"/>
                <a:gd name="connsiteX301" fmla="*/ 417534 w 1046881"/>
                <a:gd name="connsiteY301" fmla="*/ 796909 h 1043557"/>
                <a:gd name="connsiteX302" fmla="*/ 407773 w 1046881"/>
                <a:gd name="connsiteY302" fmla="*/ 797976 h 1043557"/>
                <a:gd name="connsiteX303" fmla="*/ 400834 w 1046881"/>
                <a:gd name="connsiteY303" fmla="*/ 799923 h 1043557"/>
                <a:gd name="connsiteX304" fmla="*/ 389208 w 1046881"/>
                <a:gd name="connsiteY304" fmla="*/ 793013 h 1043557"/>
                <a:gd name="connsiteX305" fmla="*/ 377883 w 1046881"/>
                <a:gd name="connsiteY305" fmla="*/ 802298 h 1043557"/>
                <a:gd name="connsiteX306" fmla="*/ 370231 w 1046881"/>
                <a:gd name="connsiteY306" fmla="*/ 805345 h 1043557"/>
                <a:gd name="connsiteX307" fmla="*/ 364515 w 1046881"/>
                <a:gd name="connsiteY307" fmla="*/ 813516 h 1043557"/>
                <a:gd name="connsiteX308" fmla="*/ 355720 w 1046881"/>
                <a:gd name="connsiteY308" fmla="*/ 832981 h 1043557"/>
                <a:gd name="connsiteX309" fmla="*/ 345463 w 1046881"/>
                <a:gd name="connsiteY309" fmla="*/ 852014 h 1043557"/>
                <a:gd name="connsiteX310" fmla="*/ 338989 w 1046881"/>
                <a:gd name="connsiteY310" fmla="*/ 857786 h 1043557"/>
                <a:gd name="connsiteX311" fmla="*/ 331989 w 1046881"/>
                <a:gd name="connsiteY311" fmla="*/ 857695 h 1043557"/>
                <a:gd name="connsiteX312" fmla="*/ 324595 w 1046881"/>
                <a:gd name="connsiteY312" fmla="*/ 853284 h 1043557"/>
                <a:gd name="connsiteX313" fmla="*/ 320366 w 1046881"/>
                <a:gd name="connsiteY313" fmla="*/ 847662 h 1043557"/>
                <a:gd name="connsiteX314" fmla="*/ 314848 w 1046881"/>
                <a:gd name="connsiteY314" fmla="*/ 846336 h 1043557"/>
                <a:gd name="connsiteX315" fmla="*/ 309567 w 1046881"/>
                <a:gd name="connsiteY315" fmla="*/ 846818 h 1043557"/>
                <a:gd name="connsiteX316" fmla="*/ 303169 w 1046881"/>
                <a:gd name="connsiteY316" fmla="*/ 839016 h 1043557"/>
                <a:gd name="connsiteX317" fmla="*/ 298345 w 1046881"/>
                <a:gd name="connsiteY317" fmla="*/ 839855 h 1043557"/>
                <a:gd name="connsiteX318" fmla="*/ 291062 w 1046881"/>
                <a:gd name="connsiteY318" fmla="*/ 839176 h 1043557"/>
                <a:gd name="connsiteX319" fmla="*/ 284443 w 1046881"/>
                <a:gd name="connsiteY319" fmla="*/ 830987 h 1043557"/>
                <a:gd name="connsiteX320" fmla="*/ 275741 w 1046881"/>
                <a:gd name="connsiteY320" fmla="*/ 822862 h 1043557"/>
                <a:gd name="connsiteX321" fmla="*/ 257012 w 1046881"/>
                <a:gd name="connsiteY321" fmla="*/ 807201 h 1043557"/>
                <a:gd name="connsiteX322" fmla="*/ 251493 w 1046881"/>
                <a:gd name="connsiteY322" fmla="*/ 783847 h 1043557"/>
                <a:gd name="connsiteX323" fmla="*/ 249178 w 1046881"/>
                <a:gd name="connsiteY323" fmla="*/ 777143 h 1043557"/>
                <a:gd name="connsiteX324" fmla="*/ 244133 w 1046881"/>
                <a:gd name="connsiteY324" fmla="*/ 769997 h 1043557"/>
                <a:gd name="connsiteX325" fmla="*/ 240735 w 1046881"/>
                <a:gd name="connsiteY325" fmla="*/ 759721 h 1043557"/>
                <a:gd name="connsiteX326" fmla="*/ 237353 w 1046881"/>
                <a:gd name="connsiteY326" fmla="*/ 751144 h 1043557"/>
                <a:gd name="connsiteX327" fmla="*/ 220873 w 1046881"/>
                <a:gd name="connsiteY327" fmla="*/ 740115 h 1043557"/>
                <a:gd name="connsiteX328" fmla="*/ 204289 w 1046881"/>
                <a:gd name="connsiteY328" fmla="*/ 728302 h 1043557"/>
                <a:gd name="connsiteX329" fmla="*/ 195454 w 1046881"/>
                <a:gd name="connsiteY329" fmla="*/ 717315 h 1043557"/>
                <a:gd name="connsiteX330" fmla="*/ 185697 w 1046881"/>
                <a:gd name="connsiteY330" fmla="*/ 705824 h 1043557"/>
                <a:gd name="connsiteX331" fmla="*/ 171504 w 1046881"/>
                <a:gd name="connsiteY331" fmla="*/ 699458 h 1043557"/>
                <a:gd name="connsiteX332" fmla="*/ 160156 w 1046881"/>
                <a:gd name="connsiteY332" fmla="*/ 688383 h 1043557"/>
                <a:gd name="connsiteX333" fmla="*/ 150856 w 1046881"/>
                <a:gd name="connsiteY333" fmla="*/ 675410 h 1043557"/>
                <a:gd name="connsiteX334" fmla="*/ 143062 w 1046881"/>
                <a:gd name="connsiteY334" fmla="*/ 671086 h 1043557"/>
                <a:gd name="connsiteX335" fmla="*/ 136420 w 1046881"/>
                <a:gd name="connsiteY335" fmla="*/ 659498 h 1043557"/>
                <a:gd name="connsiteX336" fmla="*/ 136190 w 1046881"/>
                <a:gd name="connsiteY336" fmla="*/ 659498 h 1043557"/>
                <a:gd name="connsiteX337" fmla="*/ 141544 w 1046881"/>
                <a:gd name="connsiteY337" fmla="*/ 668812 h 1043557"/>
                <a:gd name="connsiteX338" fmla="*/ 50003 w 1046881"/>
                <a:gd name="connsiteY338" fmla="*/ 668017 h 1043557"/>
                <a:gd name="connsiteX339" fmla="*/ 47288 w 1046881"/>
                <a:gd name="connsiteY339" fmla="*/ 700870 h 1043557"/>
                <a:gd name="connsiteX340" fmla="*/ 0 w 1046881"/>
                <a:gd name="connsiteY340" fmla="*/ 699846 h 1043557"/>
                <a:gd name="connsiteX341" fmla="*/ 5742 w 1046881"/>
                <a:gd name="connsiteY341" fmla="*/ 310383 h 1043557"/>
                <a:gd name="connsiteX342" fmla="*/ 7002 w 1046881"/>
                <a:gd name="connsiteY342" fmla="*/ 310391 h 1043557"/>
                <a:gd name="connsiteX343" fmla="*/ 9852 w 1046881"/>
                <a:gd name="connsiteY343" fmla="*/ 38008 h 1043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Lst>
              <a:rect l="l" t="t" r="r" b="b"/>
              <a:pathLst>
                <a:path w="1046881" h="1043557">
                  <a:moveTo>
                    <a:pt x="721556" y="82039"/>
                  </a:moveTo>
                  <a:lnTo>
                    <a:pt x="719542" y="84784"/>
                  </a:lnTo>
                  <a:cubicBezTo>
                    <a:pt x="719498" y="84859"/>
                    <a:pt x="719455" y="84935"/>
                    <a:pt x="719411" y="85010"/>
                  </a:cubicBezTo>
                  <a:lnTo>
                    <a:pt x="721556" y="82039"/>
                  </a:lnTo>
                  <a:close/>
                  <a:moveTo>
                    <a:pt x="9852" y="38008"/>
                  </a:moveTo>
                  <a:cubicBezTo>
                    <a:pt x="34557" y="39033"/>
                    <a:pt x="58933" y="39331"/>
                    <a:pt x="83022" y="38941"/>
                  </a:cubicBezTo>
                  <a:lnTo>
                    <a:pt x="261203" y="35587"/>
                  </a:lnTo>
                  <a:cubicBezTo>
                    <a:pt x="312183" y="34135"/>
                    <a:pt x="344415" y="32464"/>
                    <a:pt x="357880" y="30573"/>
                  </a:cubicBezTo>
                  <a:lnTo>
                    <a:pt x="362042" y="95017"/>
                  </a:lnTo>
                  <a:lnTo>
                    <a:pt x="387674" y="94887"/>
                  </a:lnTo>
                  <a:cubicBezTo>
                    <a:pt x="410165" y="94688"/>
                    <a:pt x="433949" y="93975"/>
                    <a:pt x="459061" y="92743"/>
                  </a:cubicBezTo>
                  <a:lnTo>
                    <a:pt x="696362" y="68270"/>
                  </a:lnTo>
                  <a:lnTo>
                    <a:pt x="695276" y="66765"/>
                  </a:lnTo>
                  <a:cubicBezTo>
                    <a:pt x="693087" y="62529"/>
                    <a:pt x="690985" y="59578"/>
                    <a:pt x="688988" y="57924"/>
                  </a:cubicBezTo>
                  <a:lnTo>
                    <a:pt x="685468" y="53037"/>
                  </a:lnTo>
                  <a:cubicBezTo>
                    <a:pt x="684103" y="51021"/>
                    <a:pt x="682853" y="49755"/>
                    <a:pt x="681682" y="49216"/>
                  </a:cubicBezTo>
                  <a:lnTo>
                    <a:pt x="679085" y="43589"/>
                  </a:lnTo>
                  <a:lnTo>
                    <a:pt x="676819" y="38759"/>
                  </a:lnTo>
                  <a:cubicBezTo>
                    <a:pt x="675303" y="38810"/>
                    <a:pt x="674061" y="38221"/>
                    <a:pt x="673089" y="36979"/>
                  </a:cubicBezTo>
                  <a:cubicBezTo>
                    <a:pt x="672265" y="35996"/>
                    <a:pt x="671574" y="34304"/>
                    <a:pt x="670969" y="31908"/>
                  </a:cubicBezTo>
                  <a:lnTo>
                    <a:pt x="670335" y="30150"/>
                  </a:lnTo>
                  <a:lnTo>
                    <a:pt x="742429" y="22983"/>
                  </a:lnTo>
                  <a:cubicBezTo>
                    <a:pt x="796282" y="16225"/>
                    <a:pt x="838150" y="8558"/>
                    <a:pt x="868019" y="0"/>
                  </a:cubicBezTo>
                  <a:lnTo>
                    <a:pt x="870170" y="3829"/>
                  </a:lnTo>
                  <a:cubicBezTo>
                    <a:pt x="871856" y="6202"/>
                    <a:pt x="873748" y="7545"/>
                    <a:pt x="875839" y="7816"/>
                  </a:cubicBezTo>
                  <a:cubicBezTo>
                    <a:pt x="877483" y="7882"/>
                    <a:pt x="879253" y="9286"/>
                    <a:pt x="881121" y="12061"/>
                  </a:cubicBezTo>
                  <a:lnTo>
                    <a:pt x="886197" y="16332"/>
                  </a:lnTo>
                  <a:cubicBezTo>
                    <a:pt x="885757" y="18172"/>
                    <a:pt x="885541" y="20115"/>
                    <a:pt x="885534" y="22164"/>
                  </a:cubicBezTo>
                  <a:lnTo>
                    <a:pt x="887205" y="33464"/>
                  </a:lnTo>
                  <a:cubicBezTo>
                    <a:pt x="887411" y="36030"/>
                    <a:pt x="887539" y="38621"/>
                    <a:pt x="887603" y="41219"/>
                  </a:cubicBezTo>
                  <a:cubicBezTo>
                    <a:pt x="888150" y="45405"/>
                    <a:pt x="891839" y="50594"/>
                    <a:pt x="898693" y="56828"/>
                  </a:cubicBezTo>
                  <a:cubicBezTo>
                    <a:pt x="900418" y="58385"/>
                    <a:pt x="908173" y="64707"/>
                    <a:pt x="921957" y="75780"/>
                  </a:cubicBezTo>
                  <a:lnTo>
                    <a:pt x="931672" y="83967"/>
                  </a:lnTo>
                  <a:cubicBezTo>
                    <a:pt x="935395" y="87310"/>
                    <a:pt x="937624" y="90245"/>
                    <a:pt x="938373" y="92754"/>
                  </a:cubicBezTo>
                  <a:cubicBezTo>
                    <a:pt x="938658" y="96007"/>
                    <a:pt x="938942" y="99259"/>
                    <a:pt x="939227" y="102512"/>
                  </a:cubicBezTo>
                  <a:cubicBezTo>
                    <a:pt x="939863" y="106259"/>
                    <a:pt x="942401" y="107842"/>
                    <a:pt x="946842" y="107262"/>
                  </a:cubicBezTo>
                  <a:lnTo>
                    <a:pt x="953870" y="101203"/>
                  </a:lnTo>
                  <a:cubicBezTo>
                    <a:pt x="956993" y="100942"/>
                    <a:pt x="960028" y="102121"/>
                    <a:pt x="962977" y="104741"/>
                  </a:cubicBezTo>
                  <a:cubicBezTo>
                    <a:pt x="965911" y="107245"/>
                    <a:pt x="967543" y="109698"/>
                    <a:pt x="967861" y="112131"/>
                  </a:cubicBezTo>
                  <a:lnTo>
                    <a:pt x="965336" y="129106"/>
                  </a:lnTo>
                  <a:lnTo>
                    <a:pt x="962303" y="143688"/>
                  </a:lnTo>
                  <a:cubicBezTo>
                    <a:pt x="962508" y="147358"/>
                    <a:pt x="964095" y="150583"/>
                    <a:pt x="967061" y="153333"/>
                  </a:cubicBezTo>
                  <a:cubicBezTo>
                    <a:pt x="968176" y="154557"/>
                    <a:pt x="969544" y="156102"/>
                    <a:pt x="971160" y="157938"/>
                  </a:cubicBezTo>
                  <a:cubicBezTo>
                    <a:pt x="972401" y="159013"/>
                    <a:pt x="973839" y="159989"/>
                    <a:pt x="975462" y="160881"/>
                  </a:cubicBezTo>
                  <a:cubicBezTo>
                    <a:pt x="975589" y="160865"/>
                    <a:pt x="975724" y="160906"/>
                    <a:pt x="975885" y="161018"/>
                  </a:cubicBezTo>
                  <a:lnTo>
                    <a:pt x="981899" y="164548"/>
                  </a:lnTo>
                  <a:lnTo>
                    <a:pt x="989409" y="168501"/>
                  </a:lnTo>
                  <a:cubicBezTo>
                    <a:pt x="990274" y="168800"/>
                    <a:pt x="991447" y="168853"/>
                    <a:pt x="992927" y="168660"/>
                  </a:cubicBezTo>
                  <a:cubicBezTo>
                    <a:pt x="998635" y="169225"/>
                    <a:pt x="1000238" y="169973"/>
                    <a:pt x="1001478" y="171033"/>
                  </a:cubicBezTo>
                  <a:cubicBezTo>
                    <a:pt x="1002235" y="171627"/>
                    <a:pt x="1003333" y="172721"/>
                    <a:pt x="1004788" y="174313"/>
                  </a:cubicBezTo>
                  <a:cubicBezTo>
                    <a:pt x="1006479" y="175727"/>
                    <a:pt x="1008758" y="176946"/>
                    <a:pt x="1011624" y="177942"/>
                  </a:cubicBezTo>
                  <a:cubicBezTo>
                    <a:pt x="1014018" y="179411"/>
                    <a:pt x="1015453" y="181964"/>
                    <a:pt x="1015928" y="185599"/>
                  </a:cubicBezTo>
                  <a:lnTo>
                    <a:pt x="1020241" y="193461"/>
                  </a:lnTo>
                  <a:cubicBezTo>
                    <a:pt x="1021971" y="194060"/>
                    <a:pt x="1023029" y="195836"/>
                    <a:pt x="1023417" y="198805"/>
                  </a:cubicBezTo>
                  <a:cubicBezTo>
                    <a:pt x="1023467" y="200301"/>
                    <a:pt x="1022840" y="201827"/>
                    <a:pt x="1021536" y="203367"/>
                  </a:cubicBezTo>
                  <a:cubicBezTo>
                    <a:pt x="1020122" y="205054"/>
                    <a:pt x="1019439" y="207265"/>
                    <a:pt x="1019521" y="209994"/>
                  </a:cubicBezTo>
                  <a:lnTo>
                    <a:pt x="1026248" y="218984"/>
                  </a:lnTo>
                  <a:lnTo>
                    <a:pt x="1034011" y="224746"/>
                  </a:lnTo>
                  <a:cubicBezTo>
                    <a:pt x="1036160" y="224465"/>
                    <a:pt x="1038139" y="223381"/>
                    <a:pt x="1039951" y="221509"/>
                  </a:cubicBezTo>
                  <a:cubicBezTo>
                    <a:pt x="1041497" y="222810"/>
                    <a:pt x="1042961" y="224475"/>
                    <a:pt x="1044310" y="226493"/>
                  </a:cubicBezTo>
                  <a:cubicBezTo>
                    <a:pt x="1045564" y="228657"/>
                    <a:pt x="1046270" y="230966"/>
                    <a:pt x="1046459" y="233401"/>
                  </a:cubicBezTo>
                  <a:cubicBezTo>
                    <a:pt x="1046600" y="234477"/>
                    <a:pt x="1046740" y="235554"/>
                    <a:pt x="1046881" y="236630"/>
                  </a:cubicBezTo>
                  <a:cubicBezTo>
                    <a:pt x="1045385" y="236826"/>
                    <a:pt x="1044418" y="237232"/>
                    <a:pt x="1043947" y="237839"/>
                  </a:cubicBezTo>
                  <a:cubicBezTo>
                    <a:pt x="1044179" y="240686"/>
                    <a:pt x="1044410" y="243533"/>
                    <a:pt x="1044642" y="246380"/>
                  </a:cubicBezTo>
                  <a:lnTo>
                    <a:pt x="1037396" y="252261"/>
                  </a:lnTo>
                  <a:cubicBezTo>
                    <a:pt x="1035104" y="252561"/>
                    <a:pt x="1034108" y="253854"/>
                    <a:pt x="1034407" y="256143"/>
                  </a:cubicBezTo>
                  <a:cubicBezTo>
                    <a:pt x="1034353" y="256842"/>
                    <a:pt x="1033745" y="257393"/>
                    <a:pt x="1032571" y="257827"/>
                  </a:cubicBezTo>
                  <a:cubicBezTo>
                    <a:pt x="1031218" y="258003"/>
                    <a:pt x="1030296" y="258256"/>
                    <a:pt x="1029775" y="258605"/>
                  </a:cubicBezTo>
                  <a:cubicBezTo>
                    <a:pt x="1028725" y="258874"/>
                    <a:pt x="1028163" y="259772"/>
                    <a:pt x="1028069" y="261287"/>
                  </a:cubicBezTo>
                  <a:lnTo>
                    <a:pt x="1024212" y="293904"/>
                  </a:lnTo>
                  <a:cubicBezTo>
                    <a:pt x="1024721" y="293749"/>
                    <a:pt x="1025124" y="293681"/>
                    <a:pt x="1025408" y="293644"/>
                  </a:cubicBezTo>
                  <a:cubicBezTo>
                    <a:pt x="1025426" y="293780"/>
                    <a:pt x="1025460" y="294041"/>
                    <a:pt x="1025512" y="294438"/>
                  </a:cubicBezTo>
                  <a:cubicBezTo>
                    <a:pt x="1025565" y="294847"/>
                    <a:pt x="1026034" y="295754"/>
                    <a:pt x="1026902" y="297140"/>
                  </a:cubicBezTo>
                  <a:cubicBezTo>
                    <a:pt x="1028106" y="301644"/>
                    <a:pt x="1027175" y="304026"/>
                    <a:pt x="1025162" y="307451"/>
                  </a:cubicBezTo>
                  <a:cubicBezTo>
                    <a:pt x="1023361" y="310559"/>
                    <a:pt x="1021609" y="312841"/>
                    <a:pt x="1019870" y="314303"/>
                  </a:cubicBezTo>
                  <a:cubicBezTo>
                    <a:pt x="1019574" y="315172"/>
                    <a:pt x="1019401" y="315875"/>
                    <a:pt x="1019330" y="316438"/>
                  </a:cubicBezTo>
                  <a:cubicBezTo>
                    <a:pt x="1019399" y="316971"/>
                    <a:pt x="1019786" y="317809"/>
                    <a:pt x="1020478" y="318953"/>
                  </a:cubicBezTo>
                  <a:cubicBezTo>
                    <a:pt x="1021147" y="319823"/>
                    <a:pt x="1021526" y="320604"/>
                    <a:pt x="1021614" y="321273"/>
                  </a:cubicBezTo>
                  <a:cubicBezTo>
                    <a:pt x="1021755" y="322351"/>
                    <a:pt x="1020692" y="323724"/>
                    <a:pt x="1018437" y="325392"/>
                  </a:cubicBezTo>
                  <a:lnTo>
                    <a:pt x="1014895" y="329754"/>
                  </a:lnTo>
                  <a:cubicBezTo>
                    <a:pt x="1014792" y="332109"/>
                    <a:pt x="1013642" y="333828"/>
                    <a:pt x="1011459" y="334933"/>
                  </a:cubicBezTo>
                  <a:cubicBezTo>
                    <a:pt x="1009650" y="335861"/>
                    <a:pt x="1008860" y="337199"/>
                    <a:pt x="1009088" y="338945"/>
                  </a:cubicBezTo>
                  <a:cubicBezTo>
                    <a:pt x="1009247" y="340159"/>
                    <a:pt x="1010528" y="342115"/>
                    <a:pt x="1012944" y="344821"/>
                  </a:cubicBezTo>
                  <a:lnTo>
                    <a:pt x="1017240" y="350836"/>
                  </a:lnTo>
                  <a:cubicBezTo>
                    <a:pt x="1017434" y="352322"/>
                    <a:pt x="1016538" y="354423"/>
                    <a:pt x="1014555" y="357151"/>
                  </a:cubicBezTo>
                  <a:lnTo>
                    <a:pt x="1010593" y="363010"/>
                  </a:lnTo>
                  <a:cubicBezTo>
                    <a:pt x="1010231" y="363473"/>
                    <a:pt x="1009987" y="364185"/>
                    <a:pt x="1009849" y="365161"/>
                  </a:cubicBezTo>
                  <a:cubicBezTo>
                    <a:pt x="1009770" y="366682"/>
                    <a:pt x="1009583" y="368483"/>
                    <a:pt x="1009314" y="370572"/>
                  </a:cubicBezTo>
                  <a:cubicBezTo>
                    <a:pt x="1009317" y="373733"/>
                    <a:pt x="1008537" y="375611"/>
                    <a:pt x="1006966" y="376232"/>
                  </a:cubicBezTo>
                  <a:cubicBezTo>
                    <a:pt x="1002648" y="377892"/>
                    <a:pt x="999851" y="381684"/>
                    <a:pt x="998563" y="387609"/>
                  </a:cubicBezTo>
                  <a:cubicBezTo>
                    <a:pt x="998425" y="389692"/>
                    <a:pt x="998284" y="394428"/>
                    <a:pt x="998168" y="401850"/>
                  </a:cubicBezTo>
                  <a:lnTo>
                    <a:pt x="999230" y="408494"/>
                  </a:lnTo>
                  <a:cubicBezTo>
                    <a:pt x="999322" y="411228"/>
                    <a:pt x="998029" y="412966"/>
                    <a:pt x="995391" y="413726"/>
                  </a:cubicBezTo>
                  <a:cubicBezTo>
                    <a:pt x="992301" y="414268"/>
                    <a:pt x="990583" y="415796"/>
                    <a:pt x="990223" y="418300"/>
                  </a:cubicBezTo>
                  <a:cubicBezTo>
                    <a:pt x="989473" y="421975"/>
                    <a:pt x="987953" y="424089"/>
                    <a:pt x="985699" y="424660"/>
                  </a:cubicBezTo>
                  <a:cubicBezTo>
                    <a:pt x="983961" y="425014"/>
                    <a:pt x="983242" y="426896"/>
                    <a:pt x="983552" y="430282"/>
                  </a:cubicBezTo>
                  <a:cubicBezTo>
                    <a:pt x="983928" y="432148"/>
                    <a:pt x="984696" y="434793"/>
                    <a:pt x="985818" y="438211"/>
                  </a:cubicBezTo>
                  <a:cubicBezTo>
                    <a:pt x="985829" y="439306"/>
                    <a:pt x="984855" y="440252"/>
                    <a:pt x="982898" y="441062"/>
                  </a:cubicBezTo>
                  <a:cubicBezTo>
                    <a:pt x="981088" y="441979"/>
                    <a:pt x="980407" y="444052"/>
                    <a:pt x="980829" y="447285"/>
                  </a:cubicBezTo>
                  <a:lnTo>
                    <a:pt x="981920" y="452495"/>
                  </a:lnTo>
                  <a:cubicBezTo>
                    <a:pt x="982025" y="453300"/>
                    <a:pt x="981255" y="454704"/>
                    <a:pt x="979586" y="456699"/>
                  </a:cubicBezTo>
                  <a:cubicBezTo>
                    <a:pt x="978203" y="458668"/>
                    <a:pt x="977658" y="460308"/>
                    <a:pt x="977965" y="461641"/>
                  </a:cubicBezTo>
                  <a:cubicBezTo>
                    <a:pt x="978266" y="462836"/>
                    <a:pt x="977502" y="464378"/>
                    <a:pt x="975685" y="466254"/>
                  </a:cubicBezTo>
                  <a:cubicBezTo>
                    <a:pt x="974266" y="467950"/>
                    <a:pt x="973650" y="469600"/>
                    <a:pt x="973862" y="471222"/>
                  </a:cubicBezTo>
                  <a:cubicBezTo>
                    <a:pt x="974127" y="473252"/>
                    <a:pt x="975244" y="475979"/>
                    <a:pt x="977202" y="479426"/>
                  </a:cubicBezTo>
                  <a:lnTo>
                    <a:pt x="980504" y="485778"/>
                  </a:lnTo>
                  <a:lnTo>
                    <a:pt x="984718" y="492830"/>
                  </a:lnTo>
                  <a:cubicBezTo>
                    <a:pt x="986034" y="493488"/>
                    <a:pt x="986817" y="495232"/>
                    <a:pt x="987057" y="498084"/>
                  </a:cubicBezTo>
                  <a:cubicBezTo>
                    <a:pt x="985531" y="502737"/>
                    <a:pt x="984681" y="504082"/>
                    <a:pt x="983990" y="506088"/>
                  </a:cubicBezTo>
                  <a:cubicBezTo>
                    <a:pt x="983953" y="506912"/>
                    <a:pt x="983768" y="507616"/>
                    <a:pt x="983436" y="508214"/>
                  </a:cubicBezTo>
                  <a:cubicBezTo>
                    <a:pt x="983122" y="508947"/>
                    <a:pt x="982987" y="509576"/>
                    <a:pt x="983058" y="510120"/>
                  </a:cubicBezTo>
                  <a:lnTo>
                    <a:pt x="827992" y="534483"/>
                  </a:lnTo>
                  <a:cubicBezTo>
                    <a:pt x="828117" y="535480"/>
                    <a:pt x="828241" y="536477"/>
                    <a:pt x="828366" y="537474"/>
                  </a:cubicBezTo>
                  <a:lnTo>
                    <a:pt x="836967" y="604863"/>
                  </a:lnTo>
                  <a:cubicBezTo>
                    <a:pt x="837900" y="605712"/>
                    <a:pt x="840009" y="607171"/>
                    <a:pt x="843324" y="609201"/>
                  </a:cubicBezTo>
                  <a:cubicBezTo>
                    <a:pt x="846218" y="611424"/>
                    <a:pt x="848375" y="613259"/>
                    <a:pt x="849802" y="614737"/>
                  </a:cubicBezTo>
                  <a:cubicBezTo>
                    <a:pt x="850972" y="616353"/>
                    <a:pt x="852092" y="619156"/>
                    <a:pt x="853157" y="623110"/>
                  </a:cubicBezTo>
                  <a:cubicBezTo>
                    <a:pt x="853460" y="625429"/>
                    <a:pt x="854050" y="628370"/>
                    <a:pt x="854931" y="631967"/>
                  </a:cubicBezTo>
                  <a:cubicBezTo>
                    <a:pt x="855070" y="633024"/>
                    <a:pt x="855976" y="633669"/>
                    <a:pt x="857647" y="633867"/>
                  </a:cubicBezTo>
                  <a:cubicBezTo>
                    <a:pt x="859164" y="633946"/>
                    <a:pt x="860178" y="634889"/>
                    <a:pt x="860697" y="636764"/>
                  </a:cubicBezTo>
                  <a:cubicBezTo>
                    <a:pt x="860850" y="636883"/>
                    <a:pt x="861553" y="638074"/>
                    <a:pt x="862847" y="640369"/>
                  </a:cubicBezTo>
                  <a:cubicBezTo>
                    <a:pt x="864176" y="642415"/>
                    <a:pt x="865026" y="643934"/>
                    <a:pt x="865303" y="645008"/>
                  </a:cubicBezTo>
                  <a:cubicBezTo>
                    <a:pt x="865808" y="647821"/>
                    <a:pt x="867390" y="650494"/>
                    <a:pt x="870051" y="653025"/>
                  </a:cubicBezTo>
                  <a:cubicBezTo>
                    <a:pt x="872945" y="655249"/>
                    <a:pt x="874438" y="657239"/>
                    <a:pt x="874531" y="658997"/>
                  </a:cubicBezTo>
                  <a:cubicBezTo>
                    <a:pt x="874936" y="662100"/>
                    <a:pt x="875378" y="669674"/>
                    <a:pt x="875851" y="681685"/>
                  </a:cubicBezTo>
                  <a:cubicBezTo>
                    <a:pt x="875823" y="682521"/>
                    <a:pt x="874855" y="685596"/>
                    <a:pt x="872946" y="690910"/>
                  </a:cubicBezTo>
                  <a:lnTo>
                    <a:pt x="869839" y="702001"/>
                  </a:lnTo>
                  <a:cubicBezTo>
                    <a:pt x="869893" y="702410"/>
                    <a:pt x="870668" y="704147"/>
                    <a:pt x="872169" y="707247"/>
                  </a:cubicBezTo>
                  <a:cubicBezTo>
                    <a:pt x="872123" y="707947"/>
                    <a:pt x="871541" y="708994"/>
                    <a:pt x="870316" y="710368"/>
                  </a:cubicBezTo>
                  <a:cubicBezTo>
                    <a:pt x="869246" y="711618"/>
                    <a:pt x="868849" y="713301"/>
                    <a:pt x="869134" y="715483"/>
                  </a:cubicBezTo>
                  <a:cubicBezTo>
                    <a:pt x="869351" y="718195"/>
                    <a:pt x="870194" y="719924"/>
                    <a:pt x="871666" y="720703"/>
                  </a:cubicBezTo>
                  <a:cubicBezTo>
                    <a:pt x="872982" y="721329"/>
                    <a:pt x="873848" y="723505"/>
                    <a:pt x="874190" y="727173"/>
                  </a:cubicBezTo>
                  <a:cubicBezTo>
                    <a:pt x="874677" y="729849"/>
                    <a:pt x="873512" y="734303"/>
                    <a:pt x="870767" y="740559"/>
                  </a:cubicBezTo>
                  <a:lnTo>
                    <a:pt x="865779" y="752728"/>
                  </a:lnTo>
                  <a:lnTo>
                    <a:pt x="865577" y="752754"/>
                  </a:lnTo>
                  <a:cubicBezTo>
                    <a:pt x="865387" y="754444"/>
                    <a:pt x="865831" y="755739"/>
                    <a:pt x="866916" y="756708"/>
                  </a:cubicBezTo>
                  <a:cubicBezTo>
                    <a:pt x="867562" y="757456"/>
                    <a:pt x="868500" y="758339"/>
                    <a:pt x="869738" y="759426"/>
                  </a:cubicBezTo>
                  <a:lnTo>
                    <a:pt x="860381" y="763320"/>
                  </a:lnTo>
                  <a:cubicBezTo>
                    <a:pt x="858918" y="763927"/>
                    <a:pt x="857157" y="765129"/>
                    <a:pt x="855058" y="766895"/>
                  </a:cubicBezTo>
                  <a:cubicBezTo>
                    <a:pt x="852811" y="768576"/>
                    <a:pt x="850969" y="769684"/>
                    <a:pt x="849541" y="770287"/>
                  </a:cubicBezTo>
                  <a:cubicBezTo>
                    <a:pt x="842949" y="772536"/>
                    <a:pt x="835336" y="778249"/>
                    <a:pt x="826641" y="787468"/>
                  </a:cubicBezTo>
                  <a:cubicBezTo>
                    <a:pt x="822051" y="792196"/>
                    <a:pt x="816158" y="799002"/>
                    <a:pt x="808960" y="807887"/>
                  </a:cubicBezTo>
                  <a:lnTo>
                    <a:pt x="807714" y="808050"/>
                  </a:lnTo>
                  <a:cubicBezTo>
                    <a:pt x="807561" y="807931"/>
                    <a:pt x="807445" y="807565"/>
                    <a:pt x="807356" y="806882"/>
                  </a:cubicBezTo>
                  <a:cubicBezTo>
                    <a:pt x="807338" y="806746"/>
                    <a:pt x="810834" y="801259"/>
                    <a:pt x="817787" y="790498"/>
                  </a:cubicBezTo>
                  <a:cubicBezTo>
                    <a:pt x="818687" y="788993"/>
                    <a:pt x="820656" y="786758"/>
                    <a:pt x="823690" y="783760"/>
                  </a:cubicBezTo>
                  <a:cubicBezTo>
                    <a:pt x="826928" y="781013"/>
                    <a:pt x="829710" y="778707"/>
                    <a:pt x="832078" y="776906"/>
                  </a:cubicBezTo>
                  <a:cubicBezTo>
                    <a:pt x="831450" y="776294"/>
                    <a:pt x="830731" y="776041"/>
                    <a:pt x="829923" y="776147"/>
                  </a:cubicBezTo>
                  <a:cubicBezTo>
                    <a:pt x="829519" y="776199"/>
                    <a:pt x="828611" y="776595"/>
                    <a:pt x="827201" y="777335"/>
                  </a:cubicBezTo>
                  <a:cubicBezTo>
                    <a:pt x="822594" y="778526"/>
                    <a:pt x="821737" y="778257"/>
                    <a:pt x="820822" y="777544"/>
                  </a:cubicBezTo>
                  <a:cubicBezTo>
                    <a:pt x="819019" y="774761"/>
                    <a:pt x="819497" y="773172"/>
                    <a:pt x="820635" y="771394"/>
                  </a:cubicBezTo>
                  <a:cubicBezTo>
                    <a:pt x="821503" y="769650"/>
                    <a:pt x="821783" y="767601"/>
                    <a:pt x="821485" y="765316"/>
                  </a:cubicBezTo>
                  <a:cubicBezTo>
                    <a:pt x="821250" y="762467"/>
                    <a:pt x="820258" y="761175"/>
                    <a:pt x="818507" y="761403"/>
                  </a:cubicBezTo>
                  <a:cubicBezTo>
                    <a:pt x="816756" y="761632"/>
                    <a:pt x="815506" y="763079"/>
                    <a:pt x="814762" y="765778"/>
                  </a:cubicBezTo>
                  <a:cubicBezTo>
                    <a:pt x="814037" y="768613"/>
                    <a:pt x="812463" y="770206"/>
                    <a:pt x="810038" y="770523"/>
                  </a:cubicBezTo>
                  <a:cubicBezTo>
                    <a:pt x="808709" y="770836"/>
                    <a:pt x="807097" y="770561"/>
                    <a:pt x="805169" y="769703"/>
                  </a:cubicBezTo>
                  <a:lnTo>
                    <a:pt x="803350" y="769941"/>
                  </a:lnTo>
                  <a:cubicBezTo>
                    <a:pt x="803363" y="770564"/>
                    <a:pt x="803376" y="771186"/>
                    <a:pt x="803389" y="771809"/>
                  </a:cubicBezTo>
                  <a:cubicBezTo>
                    <a:pt x="803762" y="775714"/>
                    <a:pt x="805208" y="778127"/>
                    <a:pt x="807659" y="779056"/>
                  </a:cubicBezTo>
                  <a:lnTo>
                    <a:pt x="811335" y="785167"/>
                  </a:lnTo>
                  <a:cubicBezTo>
                    <a:pt x="811406" y="785713"/>
                    <a:pt x="811994" y="786017"/>
                    <a:pt x="813108" y="786149"/>
                  </a:cubicBezTo>
                  <a:cubicBezTo>
                    <a:pt x="814087" y="786299"/>
                    <a:pt x="814674" y="787124"/>
                    <a:pt x="814870" y="788625"/>
                  </a:cubicBezTo>
                  <a:cubicBezTo>
                    <a:pt x="815052" y="791064"/>
                    <a:pt x="812115" y="796374"/>
                    <a:pt x="806028" y="804593"/>
                  </a:cubicBezTo>
                  <a:cubicBezTo>
                    <a:pt x="805575" y="805311"/>
                    <a:pt x="804375" y="806093"/>
                    <a:pt x="802425" y="806902"/>
                  </a:cubicBezTo>
                  <a:cubicBezTo>
                    <a:pt x="801068" y="808051"/>
                    <a:pt x="800501" y="809478"/>
                    <a:pt x="800728" y="811217"/>
                  </a:cubicBezTo>
                  <a:cubicBezTo>
                    <a:pt x="801094" y="812974"/>
                    <a:pt x="800958" y="814552"/>
                    <a:pt x="800328" y="816022"/>
                  </a:cubicBezTo>
                  <a:lnTo>
                    <a:pt x="798253" y="820595"/>
                  </a:lnTo>
                  <a:cubicBezTo>
                    <a:pt x="798119" y="820613"/>
                    <a:pt x="797935" y="820775"/>
                    <a:pt x="797701" y="821083"/>
                  </a:cubicBezTo>
                  <a:cubicBezTo>
                    <a:pt x="784440" y="833120"/>
                    <a:pt x="775592" y="839340"/>
                    <a:pt x="771095" y="839789"/>
                  </a:cubicBezTo>
                  <a:cubicBezTo>
                    <a:pt x="770960" y="839807"/>
                    <a:pt x="770453" y="839596"/>
                    <a:pt x="769578" y="839190"/>
                  </a:cubicBezTo>
                  <a:cubicBezTo>
                    <a:pt x="768446" y="838921"/>
                    <a:pt x="767265" y="838798"/>
                    <a:pt x="766035" y="838820"/>
                  </a:cubicBezTo>
                  <a:cubicBezTo>
                    <a:pt x="764418" y="839031"/>
                    <a:pt x="763048" y="839557"/>
                    <a:pt x="761925" y="840398"/>
                  </a:cubicBezTo>
                  <a:cubicBezTo>
                    <a:pt x="760949" y="841323"/>
                    <a:pt x="760333" y="842375"/>
                    <a:pt x="760071" y="843519"/>
                  </a:cubicBezTo>
                  <a:lnTo>
                    <a:pt x="764719" y="842912"/>
                  </a:lnTo>
                  <a:lnTo>
                    <a:pt x="746112" y="858075"/>
                  </a:lnTo>
                  <a:cubicBezTo>
                    <a:pt x="746077" y="857802"/>
                    <a:pt x="746108" y="857520"/>
                    <a:pt x="746207" y="857230"/>
                  </a:cubicBezTo>
                  <a:cubicBezTo>
                    <a:pt x="746240" y="856428"/>
                    <a:pt x="747502" y="855083"/>
                    <a:pt x="750006" y="853264"/>
                  </a:cubicBezTo>
                  <a:lnTo>
                    <a:pt x="754715" y="849978"/>
                  </a:lnTo>
                  <a:cubicBezTo>
                    <a:pt x="754204" y="849212"/>
                    <a:pt x="753409" y="848900"/>
                    <a:pt x="752331" y="849040"/>
                  </a:cubicBezTo>
                  <a:cubicBezTo>
                    <a:pt x="751505" y="849010"/>
                    <a:pt x="750504" y="849210"/>
                    <a:pt x="749327" y="849641"/>
                  </a:cubicBezTo>
                  <a:cubicBezTo>
                    <a:pt x="745863" y="850926"/>
                    <a:pt x="744939" y="850146"/>
                    <a:pt x="744038" y="848494"/>
                  </a:cubicBezTo>
                  <a:cubicBezTo>
                    <a:pt x="743249" y="846654"/>
                    <a:pt x="742321" y="845839"/>
                    <a:pt x="741243" y="845980"/>
                  </a:cubicBezTo>
                  <a:cubicBezTo>
                    <a:pt x="740434" y="846086"/>
                    <a:pt x="739810" y="846549"/>
                    <a:pt x="739378" y="847438"/>
                  </a:cubicBezTo>
                  <a:cubicBezTo>
                    <a:pt x="738829" y="848481"/>
                    <a:pt x="738218" y="849046"/>
                    <a:pt x="737544" y="849134"/>
                  </a:cubicBezTo>
                  <a:cubicBezTo>
                    <a:pt x="737140" y="849187"/>
                    <a:pt x="736590" y="848912"/>
                    <a:pt x="735996" y="848296"/>
                  </a:cubicBezTo>
                  <a:cubicBezTo>
                    <a:pt x="735386" y="847821"/>
                    <a:pt x="734845" y="847614"/>
                    <a:pt x="734440" y="847667"/>
                  </a:cubicBezTo>
                  <a:cubicBezTo>
                    <a:pt x="734339" y="847680"/>
                    <a:pt x="733861" y="847951"/>
                    <a:pt x="733106" y="848466"/>
                  </a:cubicBezTo>
                  <a:cubicBezTo>
                    <a:pt x="733160" y="848875"/>
                    <a:pt x="733424" y="849326"/>
                    <a:pt x="733900" y="849819"/>
                  </a:cubicBezTo>
                  <a:cubicBezTo>
                    <a:pt x="734371" y="850278"/>
                    <a:pt x="734644" y="850797"/>
                    <a:pt x="734715" y="851342"/>
                  </a:cubicBezTo>
                  <a:cubicBezTo>
                    <a:pt x="734925" y="852946"/>
                    <a:pt x="733078" y="854020"/>
                    <a:pt x="729171" y="854530"/>
                  </a:cubicBezTo>
                  <a:cubicBezTo>
                    <a:pt x="727267" y="854640"/>
                    <a:pt x="725710" y="853213"/>
                    <a:pt x="724496" y="850215"/>
                  </a:cubicBezTo>
                  <a:cubicBezTo>
                    <a:pt x="723417" y="847200"/>
                    <a:pt x="722066" y="845780"/>
                    <a:pt x="720450" y="845991"/>
                  </a:cubicBezTo>
                  <a:cubicBezTo>
                    <a:pt x="719354" y="845996"/>
                    <a:pt x="718958" y="847157"/>
                    <a:pt x="719256" y="849443"/>
                  </a:cubicBezTo>
                  <a:cubicBezTo>
                    <a:pt x="719310" y="849852"/>
                    <a:pt x="722087" y="852230"/>
                    <a:pt x="727593" y="856610"/>
                  </a:cubicBezTo>
                  <a:lnTo>
                    <a:pt x="735623" y="864580"/>
                  </a:lnTo>
                  <a:cubicBezTo>
                    <a:pt x="736225" y="869184"/>
                    <a:pt x="735342" y="872387"/>
                    <a:pt x="732973" y="874188"/>
                  </a:cubicBezTo>
                  <a:cubicBezTo>
                    <a:pt x="727451" y="878067"/>
                    <a:pt x="723334" y="881692"/>
                    <a:pt x="720589" y="885069"/>
                  </a:cubicBezTo>
                  <a:cubicBezTo>
                    <a:pt x="719420" y="886609"/>
                    <a:pt x="716153" y="889915"/>
                    <a:pt x="710786" y="894988"/>
                  </a:cubicBezTo>
                  <a:cubicBezTo>
                    <a:pt x="707419" y="898585"/>
                    <a:pt x="705229" y="901750"/>
                    <a:pt x="704220" y="904518"/>
                  </a:cubicBezTo>
                  <a:lnTo>
                    <a:pt x="703581" y="904602"/>
                  </a:lnTo>
                  <a:cubicBezTo>
                    <a:pt x="703544" y="903705"/>
                    <a:pt x="703506" y="902808"/>
                    <a:pt x="703469" y="901911"/>
                  </a:cubicBezTo>
                  <a:cubicBezTo>
                    <a:pt x="703688" y="898344"/>
                    <a:pt x="705564" y="894872"/>
                    <a:pt x="709101" y="891531"/>
                  </a:cubicBezTo>
                  <a:lnTo>
                    <a:pt x="716258" y="883380"/>
                  </a:lnTo>
                  <a:cubicBezTo>
                    <a:pt x="716973" y="881517"/>
                    <a:pt x="719762" y="879002"/>
                    <a:pt x="724565" y="875911"/>
                  </a:cubicBezTo>
                  <a:lnTo>
                    <a:pt x="732355" y="867886"/>
                  </a:lnTo>
                  <a:lnTo>
                    <a:pt x="730334" y="868150"/>
                  </a:lnTo>
                  <a:cubicBezTo>
                    <a:pt x="729930" y="868203"/>
                    <a:pt x="728254" y="869532"/>
                    <a:pt x="725301" y="872103"/>
                  </a:cubicBezTo>
                  <a:cubicBezTo>
                    <a:pt x="723979" y="873525"/>
                    <a:pt x="722366" y="874291"/>
                    <a:pt x="720463" y="874401"/>
                  </a:cubicBezTo>
                  <a:cubicBezTo>
                    <a:pt x="718812" y="874616"/>
                    <a:pt x="717354" y="873419"/>
                    <a:pt x="716059" y="870848"/>
                  </a:cubicBezTo>
                  <a:cubicBezTo>
                    <a:pt x="715051" y="868378"/>
                    <a:pt x="713799" y="867189"/>
                    <a:pt x="712299" y="867246"/>
                  </a:cubicBezTo>
                  <a:cubicBezTo>
                    <a:pt x="711491" y="867352"/>
                    <a:pt x="711144" y="867848"/>
                    <a:pt x="711269" y="868803"/>
                  </a:cubicBezTo>
                  <a:cubicBezTo>
                    <a:pt x="711260" y="869776"/>
                    <a:pt x="711905" y="871044"/>
                    <a:pt x="713215" y="872677"/>
                  </a:cubicBezTo>
                  <a:cubicBezTo>
                    <a:pt x="714385" y="874293"/>
                    <a:pt x="715061" y="875800"/>
                    <a:pt x="715235" y="877131"/>
                  </a:cubicBezTo>
                  <a:cubicBezTo>
                    <a:pt x="715261" y="878376"/>
                    <a:pt x="714352" y="880334"/>
                    <a:pt x="712513" y="883037"/>
                  </a:cubicBezTo>
                  <a:lnTo>
                    <a:pt x="706981" y="887888"/>
                  </a:lnTo>
                  <a:cubicBezTo>
                    <a:pt x="706442" y="887958"/>
                    <a:pt x="705225" y="887562"/>
                    <a:pt x="703331" y="886700"/>
                  </a:cubicBezTo>
                  <a:cubicBezTo>
                    <a:pt x="701372" y="885603"/>
                    <a:pt x="699388" y="885099"/>
                    <a:pt x="697349" y="885227"/>
                  </a:cubicBezTo>
                  <a:cubicBezTo>
                    <a:pt x="696540" y="885332"/>
                    <a:pt x="695758" y="886683"/>
                    <a:pt x="694996" y="889246"/>
                  </a:cubicBezTo>
                  <a:cubicBezTo>
                    <a:pt x="694488" y="894793"/>
                    <a:pt x="695116" y="895405"/>
                    <a:pt x="696194" y="895264"/>
                  </a:cubicBezTo>
                  <a:cubicBezTo>
                    <a:pt x="697407" y="895106"/>
                    <a:pt x="698023" y="894054"/>
                    <a:pt x="698047" y="892143"/>
                  </a:cubicBezTo>
                  <a:cubicBezTo>
                    <a:pt x="698085" y="890334"/>
                    <a:pt x="698714" y="889385"/>
                    <a:pt x="699927" y="889226"/>
                  </a:cubicBezTo>
                  <a:cubicBezTo>
                    <a:pt x="701292" y="889186"/>
                    <a:pt x="702157" y="890565"/>
                    <a:pt x="702527" y="893396"/>
                  </a:cubicBezTo>
                  <a:cubicBezTo>
                    <a:pt x="702660" y="895460"/>
                    <a:pt x="701336" y="898963"/>
                    <a:pt x="698570" y="904008"/>
                  </a:cubicBezTo>
                  <a:lnTo>
                    <a:pt x="692950" y="911334"/>
                  </a:lnTo>
                  <a:cubicBezTo>
                    <a:pt x="692411" y="911404"/>
                    <a:pt x="691109" y="910880"/>
                    <a:pt x="689044" y="909762"/>
                  </a:cubicBezTo>
                  <a:cubicBezTo>
                    <a:pt x="687101" y="908525"/>
                    <a:pt x="684477" y="908104"/>
                    <a:pt x="681243" y="908527"/>
                  </a:cubicBezTo>
                  <a:lnTo>
                    <a:pt x="676481" y="911404"/>
                  </a:lnTo>
                  <a:cubicBezTo>
                    <a:pt x="676552" y="911950"/>
                    <a:pt x="679173" y="913654"/>
                    <a:pt x="684347" y="916551"/>
                  </a:cubicBezTo>
                  <a:cubicBezTo>
                    <a:pt x="685972" y="917449"/>
                    <a:pt x="687496" y="918360"/>
                    <a:pt x="688847" y="919259"/>
                  </a:cubicBezTo>
                  <a:cubicBezTo>
                    <a:pt x="687248" y="937437"/>
                    <a:pt x="684260" y="946812"/>
                    <a:pt x="679949" y="947376"/>
                  </a:cubicBezTo>
                  <a:cubicBezTo>
                    <a:pt x="679275" y="947464"/>
                    <a:pt x="678462" y="947015"/>
                    <a:pt x="677516" y="946063"/>
                  </a:cubicBezTo>
                  <a:cubicBezTo>
                    <a:pt x="676682" y="944923"/>
                    <a:pt x="675860" y="944406"/>
                    <a:pt x="675052" y="944512"/>
                  </a:cubicBezTo>
                  <a:cubicBezTo>
                    <a:pt x="673283" y="944604"/>
                    <a:pt x="671558" y="945038"/>
                    <a:pt x="669844" y="945817"/>
                  </a:cubicBezTo>
                  <a:cubicBezTo>
                    <a:pt x="667912" y="946763"/>
                    <a:pt x="667040" y="947952"/>
                    <a:pt x="667236" y="949453"/>
                  </a:cubicBezTo>
                  <a:cubicBezTo>
                    <a:pt x="667346" y="951347"/>
                    <a:pt x="670799" y="952075"/>
                    <a:pt x="677623" y="951600"/>
                  </a:cubicBezTo>
                  <a:cubicBezTo>
                    <a:pt x="678566" y="951476"/>
                    <a:pt x="679945" y="951019"/>
                    <a:pt x="681760" y="950227"/>
                  </a:cubicBezTo>
                  <a:cubicBezTo>
                    <a:pt x="684974" y="950709"/>
                    <a:pt x="685212" y="951475"/>
                    <a:pt x="685390" y="952840"/>
                  </a:cubicBezTo>
                  <a:cubicBezTo>
                    <a:pt x="686076" y="958092"/>
                    <a:pt x="684896" y="962166"/>
                    <a:pt x="681844" y="965028"/>
                  </a:cubicBezTo>
                  <a:lnTo>
                    <a:pt x="677303" y="971172"/>
                  </a:lnTo>
                  <a:cubicBezTo>
                    <a:pt x="677392" y="971854"/>
                    <a:pt x="678366" y="972490"/>
                    <a:pt x="680220" y="973045"/>
                  </a:cubicBezTo>
                  <a:cubicBezTo>
                    <a:pt x="682043" y="973362"/>
                    <a:pt x="682958" y="974075"/>
                    <a:pt x="682966" y="975185"/>
                  </a:cubicBezTo>
                  <a:cubicBezTo>
                    <a:pt x="683051" y="975833"/>
                    <a:pt x="682592" y="976517"/>
                    <a:pt x="681585" y="977204"/>
                  </a:cubicBezTo>
                  <a:cubicBezTo>
                    <a:pt x="680579" y="977890"/>
                    <a:pt x="680151" y="978813"/>
                    <a:pt x="680312" y="980041"/>
                  </a:cubicBezTo>
                  <a:lnTo>
                    <a:pt x="683443" y="983552"/>
                  </a:lnTo>
                  <a:cubicBezTo>
                    <a:pt x="685681" y="986000"/>
                    <a:pt x="687232" y="988954"/>
                    <a:pt x="688091" y="992380"/>
                  </a:cubicBezTo>
                  <a:cubicBezTo>
                    <a:pt x="688493" y="994409"/>
                    <a:pt x="689047" y="997077"/>
                    <a:pt x="689758" y="1000419"/>
                  </a:cubicBezTo>
                  <a:cubicBezTo>
                    <a:pt x="690209" y="1002823"/>
                    <a:pt x="690800" y="1004723"/>
                    <a:pt x="691535" y="1006153"/>
                  </a:cubicBezTo>
                  <a:lnTo>
                    <a:pt x="696126" y="1017695"/>
                  </a:lnTo>
                  <a:cubicBezTo>
                    <a:pt x="696445" y="1018034"/>
                    <a:pt x="697526" y="1019489"/>
                    <a:pt x="699360" y="1021990"/>
                  </a:cubicBezTo>
                  <a:cubicBezTo>
                    <a:pt x="700887" y="1023976"/>
                    <a:pt x="701682" y="1025607"/>
                    <a:pt x="701838" y="1026800"/>
                  </a:cubicBezTo>
                  <a:cubicBezTo>
                    <a:pt x="701981" y="1027892"/>
                    <a:pt x="701603" y="1029190"/>
                    <a:pt x="700732" y="1030657"/>
                  </a:cubicBezTo>
                  <a:cubicBezTo>
                    <a:pt x="699494" y="1031928"/>
                    <a:pt x="699061" y="1033338"/>
                    <a:pt x="699410" y="1034957"/>
                  </a:cubicBezTo>
                  <a:cubicBezTo>
                    <a:pt x="699548" y="1036015"/>
                    <a:pt x="700032" y="1036576"/>
                    <a:pt x="700859" y="1036606"/>
                  </a:cubicBezTo>
                  <a:cubicBezTo>
                    <a:pt x="701937" y="1036466"/>
                    <a:pt x="702663" y="1035469"/>
                    <a:pt x="702974" y="1033659"/>
                  </a:cubicBezTo>
                  <a:cubicBezTo>
                    <a:pt x="703421" y="1031832"/>
                    <a:pt x="704113" y="1030839"/>
                    <a:pt x="705056" y="1030716"/>
                  </a:cubicBezTo>
                  <a:lnTo>
                    <a:pt x="709446" y="1037566"/>
                  </a:lnTo>
                  <a:cubicBezTo>
                    <a:pt x="707112" y="1036483"/>
                    <a:pt x="703415" y="1038077"/>
                    <a:pt x="698312" y="1042282"/>
                  </a:cubicBezTo>
                  <a:cubicBezTo>
                    <a:pt x="697206" y="1043259"/>
                    <a:pt x="695616" y="1043675"/>
                    <a:pt x="693542" y="1043529"/>
                  </a:cubicBezTo>
                  <a:cubicBezTo>
                    <a:pt x="691297" y="1043129"/>
                    <a:pt x="689448" y="1042087"/>
                    <a:pt x="687990" y="1040370"/>
                  </a:cubicBezTo>
                  <a:cubicBezTo>
                    <a:pt x="686680" y="1038737"/>
                    <a:pt x="683696" y="1036872"/>
                    <a:pt x="678999" y="1034745"/>
                  </a:cubicBezTo>
                  <a:lnTo>
                    <a:pt x="672688" y="1032067"/>
                  </a:lnTo>
                  <a:cubicBezTo>
                    <a:pt x="658337" y="1033665"/>
                    <a:pt x="649248" y="1034366"/>
                    <a:pt x="645386" y="1034177"/>
                  </a:cubicBezTo>
                  <a:cubicBezTo>
                    <a:pt x="642912" y="1034119"/>
                    <a:pt x="640298" y="1032726"/>
                    <a:pt x="637620" y="1030058"/>
                  </a:cubicBezTo>
                  <a:lnTo>
                    <a:pt x="631438" y="1023650"/>
                  </a:lnTo>
                  <a:cubicBezTo>
                    <a:pt x="630438" y="1022289"/>
                    <a:pt x="628530" y="1021845"/>
                    <a:pt x="625719" y="1022351"/>
                  </a:cubicBezTo>
                  <a:lnTo>
                    <a:pt x="619729" y="1023967"/>
                  </a:lnTo>
                  <a:cubicBezTo>
                    <a:pt x="618651" y="1024107"/>
                    <a:pt x="617502" y="1023702"/>
                    <a:pt x="616286" y="1022786"/>
                  </a:cubicBezTo>
                  <a:cubicBezTo>
                    <a:pt x="614437" y="1021224"/>
                    <a:pt x="613046" y="1020018"/>
                    <a:pt x="612117" y="1019203"/>
                  </a:cubicBezTo>
                  <a:cubicBezTo>
                    <a:pt x="610121" y="1017556"/>
                    <a:pt x="605810" y="1017078"/>
                    <a:pt x="599158" y="1017809"/>
                  </a:cubicBezTo>
                  <a:cubicBezTo>
                    <a:pt x="597271" y="1018055"/>
                    <a:pt x="595862" y="1017754"/>
                    <a:pt x="594928" y="1016904"/>
                  </a:cubicBezTo>
                  <a:cubicBezTo>
                    <a:pt x="593730" y="1016124"/>
                    <a:pt x="593062" y="1014685"/>
                    <a:pt x="592934" y="1012655"/>
                  </a:cubicBezTo>
                  <a:cubicBezTo>
                    <a:pt x="592738" y="1011155"/>
                    <a:pt x="591818" y="1010407"/>
                    <a:pt x="590166" y="1010346"/>
                  </a:cubicBezTo>
                  <a:cubicBezTo>
                    <a:pt x="588630" y="1010130"/>
                    <a:pt x="587724" y="1009486"/>
                    <a:pt x="587451" y="1008446"/>
                  </a:cubicBezTo>
                  <a:cubicBezTo>
                    <a:pt x="586930" y="1003414"/>
                    <a:pt x="585656" y="998378"/>
                    <a:pt x="583622" y="993301"/>
                  </a:cubicBezTo>
                  <a:cubicBezTo>
                    <a:pt x="582699" y="991479"/>
                    <a:pt x="579765" y="987908"/>
                    <a:pt x="574780" y="982523"/>
                  </a:cubicBezTo>
                  <a:lnTo>
                    <a:pt x="567217" y="973416"/>
                  </a:lnTo>
                  <a:cubicBezTo>
                    <a:pt x="566944" y="972377"/>
                    <a:pt x="566785" y="970108"/>
                    <a:pt x="566752" y="966713"/>
                  </a:cubicBezTo>
                  <a:cubicBezTo>
                    <a:pt x="566833" y="964713"/>
                    <a:pt x="566915" y="962714"/>
                    <a:pt x="566996" y="960714"/>
                  </a:cubicBezTo>
                  <a:cubicBezTo>
                    <a:pt x="566960" y="960441"/>
                    <a:pt x="565919" y="959814"/>
                    <a:pt x="563873" y="958833"/>
                  </a:cubicBezTo>
                  <a:cubicBezTo>
                    <a:pt x="562001" y="958141"/>
                    <a:pt x="561571" y="956948"/>
                    <a:pt x="562592" y="955323"/>
                  </a:cubicBezTo>
                  <a:cubicBezTo>
                    <a:pt x="563896" y="953765"/>
                    <a:pt x="563961" y="951640"/>
                    <a:pt x="562782" y="948915"/>
                  </a:cubicBezTo>
                  <a:lnTo>
                    <a:pt x="560662" y="945272"/>
                  </a:lnTo>
                  <a:cubicBezTo>
                    <a:pt x="560401" y="941178"/>
                    <a:pt x="558540" y="938473"/>
                    <a:pt x="555079" y="937156"/>
                  </a:cubicBezTo>
                  <a:lnTo>
                    <a:pt x="547629" y="935458"/>
                  </a:lnTo>
                  <a:cubicBezTo>
                    <a:pt x="546650" y="935309"/>
                    <a:pt x="544866" y="932663"/>
                    <a:pt x="542275" y="927520"/>
                  </a:cubicBezTo>
                  <a:lnTo>
                    <a:pt x="535865" y="916216"/>
                  </a:lnTo>
                  <a:cubicBezTo>
                    <a:pt x="534381" y="913253"/>
                    <a:pt x="530236" y="909320"/>
                    <a:pt x="523400" y="904455"/>
                  </a:cubicBezTo>
                  <a:cubicBezTo>
                    <a:pt x="518509" y="900584"/>
                    <a:pt x="514506" y="897742"/>
                    <a:pt x="511396" y="895963"/>
                  </a:cubicBezTo>
                  <a:cubicBezTo>
                    <a:pt x="509870" y="894775"/>
                    <a:pt x="508755" y="892527"/>
                    <a:pt x="508044" y="889186"/>
                  </a:cubicBezTo>
                  <a:cubicBezTo>
                    <a:pt x="507060" y="884805"/>
                    <a:pt x="506147" y="881490"/>
                    <a:pt x="505276" y="879279"/>
                  </a:cubicBezTo>
                  <a:cubicBezTo>
                    <a:pt x="504755" y="877127"/>
                    <a:pt x="503054" y="874331"/>
                    <a:pt x="500273" y="870879"/>
                  </a:cubicBezTo>
                  <a:cubicBezTo>
                    <a:pt x="497246" y="866591"/>
                    <a:pt x="494942" y="862591"/>
                    <a:pt x="493351" y="858809"/>
                  </a:cubicBezTo>
                  <a:cubicBezTo>
                    <a:pt x="491690" y="854482"/>
                    <a:pt x="489345" y="850695"/>
                    <a:pt x="486308" y="847380"/>
                  </a:cubicBezTo>
                  <a:lnTo>
                    <a:pt x="480833" y="841921"/>
                  </a:lnTo>
                  <a:cubicBezTo>
                    <a:pt x="478860" y="838362"/>
                    <a:pt x="477260" y="835554"/>
                    <a:pt x="476032" y="833494"/>
                  </a:cubicBezTo>
                  <a:cubicBezTo>
                    <a:pt x="473503" y="829870"/>
                    <a:pt x="471323" y="827345"/>
                    <a:pt x="469492" y="825919"/>
                  </a:cubicBezTo>
                  <a:cubicBezTo>
                    <a:pt x="466077" y="823902"/>
                    <a:pt x="461787" y="820959"/>
                    <a:pt x="456593" y="817128"/>
                  </a:cubicBezTo>
                  <a:lnTo>
                    <a:pt x="444322" y="806590"/>
                  </a:lnTo>
                  <a:cubicBezTo>
                    <a:pt x="442927" y="804309"/>
                    <a:pt x="440541" y="801777"/>
                    <a:pt x="437176" y="799094"/>
                  </a:cubicBezTo>
                  <a:lnTo>
                    <a:pt x="432691" y="794928"/>
                  </a:lnTo>
                  <a:lnTo>
                    <a:pt x="424006" y="800815"/>
                  </a:lnTo>
                  <a:cubicBezTo>
                    <a:pt x="422274" y="799099"/>
                    <a:pt x="420120" y="797820"/>
                    <a:pt x="417534" y="796909"/>
                  </a:cubicBezTo>
                  <a:cubicBezTo>
                    <a:pt x="415963" y="796420"/>
                    <a:pt x="412687" y="796779"/>
                    <a:pt x="407773" y="797976"/>
                  </a:cubicBezTo>
                  <a:lnTo>
                    <a:pt x="400834" y="799923"/>
                  </a:lnTo>
                  <a:lnTo>
                    <a:pt x="389208" y="793013"/>
                  </a:lnTo>
                  <a:cubicBezTo>
                    <a:pt x="385359" y="798165"/>
                    <a:pt x="381584" y="801260"/>
                    <a:pt x="377883" y="802298"/>
                  </a:cubicBezTo>
                  <a:lnTo>
                    <a:pt x="370231" y="805345"/>
                  </a:lnTo>
                  <a:cubicBezTo>
                    <a:pt x="367732" y="807198"/>
                    <a:pt x="365826" y="809910"/>
                    <a:pt x="364515" y="813516"/>
                  </a:cubicBezTo>
                  <a:cubicBezTo>
                    <a:pt x="363142" y="817685"/>
                    <a:pt x="360221" y="824172"/>
                    <a:pt x="355720" y="832981"/>
                  </a:cubicBezTo>
                  <a:cubicBezTo>
                    <a:pt x="351351" y="841496"/>
                    <a:pt x="347932" y="847840"/>
                    <a:pt x="345463" y="852014"/>
                  </a:cubicBezTo>
                  <a:cubicBezTo>
                    <a:pt x="343527" y="855285"/>
                    <a:pt x="341379" y="857196"/>
                    <a:pt x="338989" y="857786"/>
                  </a:cubicBezTo>
                  <a:cubicBezTo>
                    <a:pt x="337507" y="857980"/>
                    <a:pt x="335172" y="857938"/>
                    <a:pt x="331989" y="857695"/>
                  </a:cubicBezTo>
                  <a:cubicBezTo>
                    <a:pt x="329726" y="857158"/>
                    <a:pt x="327271" y="855675"/>
                    <a:pt x="324595" y="853284"/>
                  </a:cubicBezTo>
                  <a:cubicBezTo>
                    <a:pt x="322428" y="851382"/>
                    <a:pt x="321020" y="849519"/>
                    <a:pt x="320366" y="847662"/>
                  </a:cubicBezTo>
                  <a:cubicBezTo>
                    <a:pt x="320075" y="846486"/>
                    <a:pt x="318234" y="846032"/>
                    <a:pt x="314848" y="846336"/>
                  </a:cubicBezTo>
                  <a:lnTo>
                    <a:pt x="309567" y="846818"/>
                  </a:lnTo>
                  <a:lnTo>
                    <a:pt x="303169" y="839016"/>
                  </a:lnTo>
                  <a:cubicBezTo>
                    <a:pt x="302864" y="838779"/>
                    <a:pt x="301256" y="839058"/>
                    <a:pt x="298345" y="839855"/>
                  </a:cubicBezTo>
                  <a:cubicBezTo>
                    <a:pt x="295552" y="840497"/>
                    <a:pt x="293123" y="840260"/>
                    <a:pt x="291062" y="839176"/>
                  </a:cubicBezTo>
                  <a:cubicBezTo>
                    <a:pt x="289573" y="838261"/>
                    <a:pt x="287366" y="835531"/>
                    <a:pt x="284443" y="830987"/>
                  </a:cubicBezTo>
                  <a:cubicBezTo>
                    <a:pt x="281400" y="826840"/>
                    <a:pt x="278511" y="824130"/>
                    <a:pt x="275741" y="822862"/>
                  </a:cubicBezTo>
                  <a:cubicBezTo>
                    <a:pt x="268493" y="819820"/>
                    <a:pt x="262260" y="814598"/>
                    <a:pt x="257012" y="807201"/>
                  </a:cubicBezTo>
                  <a:cubicBezTo>
                    <a:pt x="252967" y="801416"/>
                    <a:pt x="251129" y="793643"/>
                    <a:pt x="251493" y="783847"/>
                  </a:cubicBezTo>
                  <a:cubicBezTo>
                    <a:pt x="251464" y="781527"/>
                    <a:pt x="250689" y="779269"/>
                    <a:pt x="249178" y="777143"/>
                  </a:cubicBezTo>
                  <a:lnTo>
                    <a:pt x="244133" y="769997"/>
                  </a:lnTo>
                  <a:cubicBezTo>
                    <a:pt x="243026" y="767817"/>
                    <a:pt x="241893" y="764392"/>
                    <a:pt x="240735" y="759721"/>
                  </a:cubicBezTo>
                  <a:cubicBezTo>
                    <a:pt x="239841" y="756022"/>
                    <a:pt x="238712" y="753152"/>
                    <a:pt x="237353" y="751144"/>
                  </a:cubicBezTo>
                  <a:cubicBezTo>
                    <a:pt x="236079" y="749784"/>
                    <a:pt x="230566" y="746134"/>
                    <a:pt x="220873" y="740115"/>
                  </a:cubicBezTo>
                  <a:lnTo>
                    <a:pt x="204289" y="728302"/>
                  </a:lnTo>
                  <a:cubicBezTo>
                    <a:pt x="202626" y="726057"/>
                    <a:pt x="199679" y="722383"/>
                    <a:pt x="195454" y="717315"/>
                  </a:cubicBezTo>
                  <a:lnTo>
                    <a:pt x="185697" y="705824"/>
                  </a:lnTo>
                  <a:cubicBezTo>
                    <a:pt x="184745" y="704839"/>
                    <a:pt x="180014" y="702716"/>
                    <a:pt x="171504" y="699458"/>
                  </a:cubicBezTo>
                  <a:cubicBezTo>
                    <a:pt x="164679" y="696777"/>
                    <a:pt x="160906" y="693072"/>
                    <a:pt x="160156" y="688383"/>
                  </a:cubicBezTo>
                  <a:cubicBezTo>
                    <a:pt x="159101" y="683456"/>
                    <a:pt x="155998" y="679109"/>
                    <a:pt x="150856" y="675410"/>
                  </a:cubicBezTo>
                  <a:lnTo>
                    <a:pt x="143062" y="671086"/>
                  </a:lnTo>
                  <a:lnTo>
                    <a:pt x="136420" y="659498"/>
                  </a:lnTo>
                  <a:lnTo>
                    <a:pt x="136190" y="659498"/>
                  </a:lnTo>
                  <a:lnTo>
                    <a:pt x="141544" y="668812"/>
                  </a:lnTo>
                  <a:lnTo>
                    <a:pt x="50003" y="668017"/>
                  </a:lnTo>
                  <a:lnTo>
                    <a:pt x="47288" y="700870"/>
                  </a:lnTo>
                  <a:lnTo>
                    <a:pt x="0" y="699846"/>
                  </a:lnTo>
                  <a:cubicBezTo>
                    <a:pt x="1223" y="691328"/>
                    <a:pt x="3137" y="561507"/>
                    <a:pt x="5742" y="310383"/>
                  </a:cubicBezTo>
                  <a:lnTo>
                    <a:pt x="7002" y="310391"/>
                  </a:lnTo>
                  <a:cubicBezTo>
                    <a:pt x="7759" y="231578"/>
                    <a:pt x="8722" y="140788"/>
                    <a:pt x="9852" y="38008"/>
                  </a:cubicBezTo>
                  <a:close/>
                </a:path>
              </a:pathLst>
            </a:custGeom>
            <a:grpFill/>
            <a:ln w="3175">
              <a:solidFill>
                <a:schemeClr val="bg1"/>
              </a:solidFill>
            </a:ln>
          </p:spPr>
          <p:txBody>
            <a:bodyPr lIns="0" tIns="0" rIns="0" bIns="0" rtlCol="0" anchor="ctr"/>
            <a:lstStyle/>
            <a:p>
              <a:pPr algn="ctr"/>
              <a:endParaRPr lang="en-US"/>
            </a:p>
          </p:txBody>
        </p:sp>
        <p:sp>
          <p:nvSpPr>
            <p:cNvPr id="422" name="AutoShape 132"/>
            <p:cNvSpPr>
              <a:spLocks/>
            </p:cNvSpPr>
            <p:nvPr/>
          </p:nvSpPr>
          <p:spPr bwMode="auto">
            <a:xfrm>
              <a:off x="6989448" y="3747136"/>
              <a:ext cx="752994" cy="1333436"/>
            </a:xfrm>
            <a:custGeom>
              <a:avLst/>
              <a:gdLst>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17792 w 752994"/>
                <a:gd name="connsiteY19" fmla="*/ 388371 h 1333436"/>
                <a:gd name="connsiteX20" fmla="*/ 413732 w 752994"/>
                <a:gd name="connsiteY20" fmla="*/ 385175 h 1333436"/>
                <a:gd name="connsiteX21" fmla="*/ 417583 w 752994"/>
                <a:gd name="connsiteY21" fmla="*/ 388884 h 1333436"/>
                <a:gd name="connsiteX22" fmla="*/ 417792 w 752994"/>
                <a:gd name="connsiteY22" fmla="*/ 388371 h 1333436"/>
                <a:gd name="connsiteX23" fmla="*/ 453481 w 752994"/>
                <a:gd name="connsiteY23" fmla="*/ 285608 h 1333436"/>
                <a:gd name="connsiteX24" fmla="*/ 453944 w 752994"/>
                <a:gd name="connsiteY24" fmla="*/ 286495 h 1333436"/>
                <a:gd name="connsiteX25" fmla="*/ 457539 w 752994"/>
                <a:gd name="connsiteY25" fmla="*/ 290781 h 1333436"/>
                <a:gd name="connsiteX26" fmla="*/ 457408 w 752994"/>
                <a:gd name="connsiteY26" fmla="*/ 290281 h 1333436"/>
                <a:gd name="connsiteX27" fmla="*/ 453481 w 752994"/>
                <a:gd name="connsiteY27" fmla="*/ 285608 h 1333436"/>
                <a:gd name="connsiteX28" fmla="*/ 184180 w 752994"/>
                <a:gd name="connsiteY28" fmla="*/ 213866 h 1333436"/>
                <a:gd name="connsiteX29" fmla="*/ 184117 w 752994"/>
                <a:gd name="connsiteY29" fmla="*/ 214326 h 1333436"/>
                <a:gd name="connsiteX30" fmla="*/ 185553 w 752994"/>
                <a:gd name="connsiteY30" fmla="*/ 222494 h 1333436"/>
                <a:gd name="connsiteX31" fmla="*/ 188600 w 752994"/>
                <a:gd name="connsiteY31" fmla="*/ 226970 h 1333436"/>
                <a:gd name="connsiteX32" fmla="*/ 195542 w 752994"/>
                <a:gd name="connsiteY32" fmla="*/ 231871 h 1333436"/>
                <a:gd name="connsiteX33" fmla="*/ 203093 w 752994"/>
                <a:gd name="connsiteY33" fmla="*/ 233896 h 1333436"/>
                <a:gd name="connsiteX34" fmla="*/ 217192 w 752994"/>
                <a:gd name="connsiteY34" fmla="*/ 232075 h 1333436"/>
                <a:gd name="connsiteX35" fmla="*/ 225136 w 752994"/>
                <a:gd name="connsiteY35" fmla="*/ 229829 h 1333436"/>
                <a:gd name="connsiteX36" fmla="*/ 235558 w 752994"/>
                <a:gd name="connsiteY36" fmla="*/ 232483 h 1333436"/>
                <a:gd name="connsiteX37" fmla="*/ 242499 w 752994"/>
                <a:gd name="connsiteY37" fmla="*/ 237163 h 1333436"/>
                <a:gd name="connsiteX38" fmla="*/ 248418 w 752994"/>
                <a:gd name="connsiteY38" fmla="*/ 244701 h 1333436"/>
                <a:gd name="connsiteX39" fmla="*/ 255359 w 752994"/>
                <a:gd name="connsiteY39" fmla="*/ 244906 h 1333436"/>
                <a:gd name="connsiteX40" fmla="*/ 258210 w 752994"/>
                <a:gd name="connsiteY40" fmla="*/ 244906 h 1333436"/>
                <a:gd name="connsiteX41" fmla="*/ 263303 w 752994"/>
                <a:gd name="connsiteY41" fmla="*/ 246131 h 1333436"/>
                <a:gd name="connsiteX42" fmla="*/ 269438 w 752994"/>
                <a:gd name="connsiteY42" fmla="*/ 243697 h 1333436"/>
                <a:gd name="connsiteX43" fmla="*/ 274944 w 752994"/>
                <a:gd name="connsiteY43" fmla="*/ 241451 h 1333436"/>
                <a:gd name="connsiteX44" fmla="*/ 281276 w 752994"/>
                <a:gd name="connsiteY44" fmla="*/ 245722 h 1333436"/>
                <a:gd name="connsiteX45" fmla="*/ 289240 w 752994"/>
                <a:gd name="connsiteY45" fmla="*/ 250419 h 1333436"/>
                <a:gd name="connsiteX46" fmla="*/ 297597 w 752994"/>
                <a:gd name="connsiteY46" fmla="*/ 248581 h 1333436"/>
                <a:gd name="connsiteX47" fmla="*/ 310261 w 752994"/>
                <a:gd name="connsiteY47" fmla="*/ 246539 h 1333436"/>
                <a:gd name="connsiteX48" fmla="*/ 324340 w 752994"/>
                <a:gd name="connsiteY48" fmla="*/ 244497 h 1333436"/>
                <a:gd name="connsiteX49" fmla="*/ 333523 w 752994"/>
                <a:gd name="connsiteY49" fmla="*/ 243289 h 1333436"/>
                <a:gd name="connsiteX50" fmla="*/ 341271 w 752994"/>
                <a:gd name="connsiteY50" fmla="*/ 246539 h 1333436"/>
                <a:gd name="connsiteX51" fmla="*/ 348428 w 752994"/>
                <a:gd name="connsiteY51" fmla="*/ 250011 h 1333436"/>
                <a:gd name="connsiteX52" fmla="*/ 351279 w 752994"/>
                <a:gd name="connsiteY52" fmla="*/ 247356 h 1333436"/>
                <a:gd name="connsiteX53" fmla="*/ 355566 w 752994"/>
                <a:gd name="connsiteY53" fmla="*/ 244293 h 1333436"/>
                <a:gd name="connsiteX54" fmla="*/ 365772 w 752994"/>
                <a:gd name="connsiteY54" fmla="*/ 248785 h 1333436"/>
                <a:gd name="connsiteX55" fmla="*/ 381483 w 752994"/>
                <a:gd name="connsiteY55" fmla="*/ 254912 h 1333436"/>
                <a:gd name="connsiteX56" fmla="*/ 381896 w 752994"/>
                <a:gd name="connsiteY56" fmla="*/ 255320 h 1333436"/>
                <a:gd name="connsiteX57" fmla="*/ 395366 w 752994"/>
                <a:gd name="connsiteY57" fmla="*/ 257753 h 1333436"/>
                <a:gd name="connsiteX58" fmla="*/ 414145 w 752994"/>
                <a:gd name="connsiteY58" fmla="*/ 262450 h 1333436"/>
                <a:gd name="connsiteX59" fmla="*/ 431292 w 752994"/>
                <a:gd name="connsiteY59" fmla="*/ 268151 h 1333436"/>
                <a:gd name="connsiteX60" fmla="*/ 445196 w 752994"/>
                <a:gd name="connsiteY60" fmla="*/ 269890 h 1333436"/>
                <a:gd name="connsiteX61" fmla="*/ 444145 w 752994"/>
                <a:gd name="connsiteY61" fmla="*/ 267441 h 1333436"/>
                <a:gd name="connsiteX62" fmla="*/ 444145 w 752994"/>
                <a:gd name="connsiteY62" fmla="*/ 267034 h 1333436"/>
                <a:gd name="connsiteX63" fmla="*/ 444155 w 752994"/>
                <a:gd name="connsiteY63" fmla="*/ 266811 h 1333436"/>
                <a:gd name="connsiteX64" fmla="*/ 430733 w 752994"/>
                <a:gd name="connsiteY64" fmla="*/ 265139 h 1333436"/>
                <a:gd name="connsiteX65" fmla="*/ 413603 w 752994"/>
                <a:gd name="connsiteY65" fmla="*/ 259426 h 1333436"/>
                <a:gd name="connsiteX66" fmla="*/ 394839 w 752994"/>
                <a:gd name="connsiteY66" fmla="*/ 254739 h 1333436"/>
                <a:gd name="connsiteX67" fmla="*/ 381379 w 752994"/>
                <a:gd name="connsiteY67" fmla="*/ 252303 h 1333436"/>
                <a:gd name="connsiteX68" fmla="*/ 380962 w 752994"/>
                <a:gd name="connsiteY68" fmla="*/ 251895 h 1333436"/>
                <a:gd name="connsiteX69" fmla="*/ 365258 w 752994"/>
                <a:gd name="connsiteY69" fmla="*/ 245774 h 1333436"/>
                <a:gd name="connsiteX70" fmla="*/ 355067 w 752994"/>
                <a:gd name="connsiteY70" fmla="*/ 241285 h 1333436"/>
                <a:gd name="connsiteX71" fmla="*/ 350789 w 752994"/>
                <a:gd name="connsiteY71" fmla="*/ 244352 h 1333436"/>
                <a:gd name="connsiteX72" fmla="*/ 347920 w 752994"/>
                <a:gd name="connsiteY72" fmla="*/ 246998 h 1333436"/>
                <a:gd name="connsiteX73" fmla="*/ 340789 w 752994"/>
                <a:gd name="connsiteY73" fmla="*/ 243536 h 1333436"/>
                <a:gd name="connsiteX74" fmla="*/ 333034 w 752994"/>
                <a:gd name="connsiteY74" fmla="*/ 240271 h 1333436"/>
                <a:gd name="connsiteX75" fmla="*/ 323868 w 752994"/>
                <a:gd name="connsiteY75" fmla="*/ 241495 h 1333436"/>
                <a:gd name="connsiteX76" fmla="*/ 309783 w 752994"/>
                <a:gd name="connsiteY76" fmla="*/ 243536 h 1333436"/>
                <a:gd name="connsiteX77" fmla="*/ 297140 w 752994"/>
                <a:gd name="connsiteY77" fmla="*/ 245576 h 1333436"/>
                <a:gd name="connsiteX78" fmla="*/ 288775 w 752994"/>
                <a:gd name="connsiteY78" fmla="*/ 247406 h 1333436"/>
                <a:gd name="connsiteX79" fmla="*/ 280827 w 752994"/>
                <a:gd name="connsiteY79" fmla="*/ 242720 h 1333436"/>
                <a:gd name="connsiteX80" fmla="*/ 274497 w 752994"/>
                <a:gd name="connsiteY80" fmla="*/ 238441 h 1333436"/>
                <a:gd name="connsiteX81" fmla="*/ 269001 w 752994"/>
                <a:gd name="connsiteY81" fmla="*/ 240679 h 1333436"/>
                <a:gd name="connsiteX82" fmla="*/ 262880 w 752994"/>
                <a:gd name="connsiteY82" fmla="*/ 243128 h 1333436"/>
                <a:gd name="connsiteX83" fmla="*/ 260028 w 752994"/>
                <a:gd name="connsiteY83" fmla="*/ 242720 h 1333436"/>
                <a:gd name="connsiteX84" fmla="*/ 257784 w 752994"/>
                <a:gd name="connsiteY84" fmla="*/ 241904 h 1333436"/>
                <a:gd name="connsiteX85" fmla="*/ 247994 w 752994"/>
                <a:gd name="connsiteY85" fmla="*/ 241693 h 1333436"/>
                <a:gd name="connsiteX86" fmla="*/ 242081 w 752994"/>
                <a:gd name="connsiteY86" fmla="*/ 234162 h 1333436"/>
                <a:gd name="connsiteX87" fmla="*/ 235142 w 752994"/>
                <a:gd name="connsiteY87" fmla="*/ 229476 h 1333436"/>
                <a:gd name="connsiteX88" fmla="*/ 224742 w 752994"/>
                <a:gd name="connsiteY88" fmla="*/ 226817 h 1333436"/>
                <a:gd name="connsiteX89" fmla="*/ 216778 w 752994"/>
                <a:gd name="connsiteY89" fmla="*/ 229068 h 1333436"/>
                <a:gd name="connsiteX90" fmla="*/ 202709 w 752994"/>
                <a:gd name="connsiteY90" fmla="*/ 230898 h 1333436"/>
                <a:gd name="connsiteX91" fmla="*/ 195162 w 752994"/>
                <a:gd name="connsiteY91" fmla="*/ 228857 h 1333436"/>
                <a:gd name="connsiteX92" fmla="*/ 188223 w 752994"/>
                <a:gd name="connsiteY92" fmla="*/ 223973 h 1333436"/>
                <a:gd name="connsiteX93" fmla="*/ 185163 w 752994"/>
                <a:gd name="connsiteY93" fmla="*/ 219484 h 1333436"/>
                <a:gd name="connsiteX94" fmla="*/ 184180 w 752994"/>
                <a:gd name="connsiteY94" fmla="*/ 213866 h 1333436"/>
                <a:gd name="connsiteX95" fmla="*/ 257159 w 752994"/>
                <a:gd name="connsiteY95" fmla="*/ 0 h 1333436"/>
                <a:gd name="connsiteX96" fmla="*/ 493147 w 752994"/>
                <a:gd name="connsiteY96" fmla="*/ 73157 h 1333436"/>
                <a:gd name="connsiteX97" fmla="*/ 492970 w 752994"/>
                <a:gd name="connsiteY97" fmla="*/ 73792 h 1333436"/>
                <a:gd name="connsiteX98" fmla="*/ 525816 w 752994"/>
                <a:gd name="connsiteY98" fmla="*/ 82491 h 1333436"/>
                <a:gd name="connsiteX99" fmla="*/ 520098 w 752994"/>
                <a:gd name="connsiteY99" fmla="*/ 111245 h 1333436"/>
                <a:gd name="connsiteX100" fmla="*/ 512552 w 752994"/>
                <a:gd name="connsiteY100" fmla="*/ 143854 h 1333436"/>
                <a:gd name="connsiteX101" fmla="*/ 517849 w 752994"/>
                <a:gd name="connsiteY101" fmla="*/ 157740 h 1333436"/>
                <a:gd name="connsiteX102" fmla="*/ 523160 w 752994"/>
                <a:gd name="connsiteY102" fmla="*/ 172009 h 1333436"/>
                <a:gd name="connsiteX103" fmla="*/ 521535 w 752994"/>
                <a:gd name="connsiteY103" fmla="*/ 178928 h 1333436"/>
                <a:gd name="connsiteX104" fmla="*/ 520098 w 752994"/>
                <a:gd name="connsiteY104" fmla="*/ 186279 h 1333436"/>
                <a:gd name="connsiteX105" fmla="*/ 526019 w 752994"/>
                <a:gd name="connsiteY105" fmla="*/ 193629 h 1333436"/>
                <a:gd name="connsiteX106" fmla="*/ 537251 w 752994"/>
                <a:gd name="connsiteY106" fmla="*/ 206270 h 1333436"/>
                <a:gd name="connsiteX107" fmla="*/ 542765 w 752994"/>
                <a:gd name="connsiteY107" fmla="*/ 217475 h 1333436"/>
                <a:gd name="connsiteX108" fmla="*/ 546857 w 752994"/>
                <a:gd name="connsiteY108" fmla="*/ 230930 h 1333436"/>
                <a:gd name="connsiteX109" fmla="*/ 549499 w 752994"/>
                <a:gd name="connsiteY109" fmla="*/ 235622 h 1333436"/>
                <a:gd name="connsiteX110" fmla="*/ 553388 w 752994"/>
                <a:gd name="connsiteY110" fmla="*/ 240722 h 1333436"/>
                <a:gd name="connsiteX111" fmla="*/ 557465 w 752994"/>
                <a:gd name="connsiteY111" fmla="*/ 246037 h 1333436"/>
                <a:gd name="connsiteX112" fmla="*/ 561761 w 752994"/>
                <a:gd name="connsiteY112" fmla="*/ 248671 h 1333436"/>
                <a:gd name="connsiteX113" fmla="*/ 567478 w 752994"/>
                <a:gd name="connsiteY113" fmla="*/ 247665 h 1333436"/>
                <a:gd name="connsiteX114" fmla="*/ 569931 w 752994"/>
                <a:gd name="connsiteY114" fmla="*/ 249293 h 1333436"/>
                <a:gd name="connsiteX115" fmla="*/ 570540 w 752994"/>
                <a:gd name="connsiteY115" fmla="*/ 251951 h 1333436"/>
                <a:gd name="connsiteX116" fmla="*/ 561964 w 752994"/>
                <a:gd name="connsiteY116" fmla="*/ 267656 h 1333436"/>
                <a:gd name="connsiteX117" fmla="*/ 553591 w 752994"/>
                <a:gd name="connsiteY117" fmla="*/ 289659 h 1333436"/>
                <a:gd name="connsiteX118" fmla="*/ 554810 w 752994"/>
                <a:gd name="connsiteY118" fmla="*/ 292939 h 1333436"/>
                <a:gd name="connsiteX119" fmla="*/ 556246 w 752994"/>
                <a:gd name="connsiteY119" fmla="*/ 299260 h 1333436"/>
                <a:gd name="connsiteX120" fmla="*/ 552778 w 752994"/>
                <a:gd name="connsiteY120" fmla="*/ 301917 h 1333436"/>
                <a:gd name="connsiteX121" fmla="*/ 549295 w 752994"/>
                <a:gd name="connsiteY121" fmla="*/ 306993 h 1333436"/>
                <a:gd name="connsiteX122" fmla="*/ 547061 w 752994"/>
                <a:gd name="connsiteY122" fmla="*/ 313122 h 1333436"/>
                <a:gd name="connsiteX123" fmla="*/ 544811 w 752994"/>
                <a:gd name="connsiteY123" fmla="*/ 316593 h 1333436"/>
                <a:gd name="connsiteX124" fmla="*/ 549919 w 752994"/>
                <a:gd name="connsiteY124" fmla="*/ 322698 h 1333436"/>
                <a:gd name="connsiteX125" fmla="*/ 553184 w 752994"/>
                <a:gd name="connsiteY125" fmla="*/ 325955 h 1333436"/>
                <a:gd name="connsiteX126" fmla="*/ 555840 w 752994"/>
                <a:gd name="connsiteY126" fmla="*/ 328205 h 1333436"/>
                <a:gd name="connsiteX127" fmla="*/ 574212 w 752994"/>
                <a:gd name="connsiteY127" fmla="*/ 318820 h 1333436"/>
                <a:gd name="connsiteX128" fmla="*/ 579523 w 752994"/>
                <a:gd name="connsiteY128" fmla="*/ 326577 h 1333436"/>
                <a:gd name="connsiteX129" fmla="*/ 580539 w 752994"/>
                <a:gd name="connsiteY129" fmla="*/ 334933 h 1333436"/>
                <a:gd name="connsiteX130" fmla="*/ 579726 w 752994"/>
                <a:gd name="connsiteY130" fmla="*/ 343097 h 1333436"/>
                <a:gd name="connsiteX131" fmla="*/ 581366 w 752994"/>
                <a:gd name="connsiteY131" fmla="*/ 350231 h 1333436"/>
                <a:gd name="connsiteX132" fmla="*/ 586256 w 752994"/>
                <a:gd name="connsiteY132" fmla="*/ 355930 h 1333436"/>
                <a:gd name="connsiteX133" fmla="*/ 589536 w 752994"/>
                <a:gd name="connsiteY133" fmla="*/ 362059 h 1333436"/>
                <a:gd name="connsiteX134" fmla="*/ 588099 w 752994"/>
                <a:gd name="connsiteY134" fmla="*/ 369600 h 1333436"/>
                <a:gd name="connsiteX135" fmla="*/ 586459 w 752994"/>
                <a:gd name="connsiteY135" fmla="*/ 377357 h 1333436"/>
                <a:gd name="connsiteX136" fmla="*/ 588709 w 752994"/>
                <a:gd name="connsiteY136" fmla="*/ 381835 h 1333436"/>
                <a:gd name="connsiteX137" fmla="*/ 595036 w 752994"/>
                <a:gd name="connsiteY137" fmla="*/ 382457 h 1333436"/>
                <a:gd name="connsiteX138" fmla="*/ 599331 w 752994"/>
                <a:gd name="connsiteY138" fmla="*/ 385306 h 1333436"/>
                <a:gd name="connsiteX139" fmla="*/ 601987 w 752994"/>
                <a:gd name="connsiteY139" fmla="*/ 391004 h 1333436"/>
                <a:gd name="connsiteX140" fmla="*/ 602799 w 752994"/>
                <a:gd name="connsiteY140" fmla="*/ 404076 h 1333436"/>
                <a:gd name="connsiteX141" fmla="*/ 606892 w 752994"/>
                <a:gd name="connsiteY141" fmla="*/ 415688 h 1333436"/>
                <a:gd name="connsiteX142" fmla="*/ 610563 w 752994"/>
                <a:gd name="connsiteY142" fmla="*/ 412217 h 1333436"/>
                <a:gd name="connsiteX143" fmla="*/ 617920 w 752994"/>
                <a:gd name="connsiteY143" fmla="*/ 408769 h 1333436"/>
                <a:gd name="connsiteX144" fmla="*/ 624654 w 752994"/>
                <a:gd name="connsiteY144" fmla="*/ 411211 h 1333436"/>
                <a:gd name="connsiteX145" fmla="*/ 634652 w 752994"/>
                <a:gd name="connsiteY145" fmla="*/ 410182 h 1333436"/>
                <a:gd name="connsiteX146" fmla="*/ 640573 w 752994"/>
                <a:gd name="connsiteY146" fmla="*/ 407739 h 1333436"/>
                <a:gd name="connsiteX147" fmla="*/ 646711 w 752994"/>
                <a:gd name="connsiteY147" fmla="*/ 410589 h 1333436"/>
                <a:gd name="connsiteX148" fmla="*/ 650383 w 752994"/>
                <a:gd name="connsiteY148" fmla="*/ 410589 h 1333436"/>
                <a:gd name="connsiteX149" fmla="*/ 654257 w 752994"/>
                <a:gd name="connsiteY149" fmla="*/ 411618 h 1333436"/>
                <a:gd name="connsiteX150" fmla="*/ 656913 w 752994"/>
                <a:gd name="connsiteY150" fmla="*/ 413653 h 1333436"/>
                <a:gd name="connsiteX151" fmla="*/ 660802 w 752994"/>
                <a:gd name="connsiteY151" fmla="*/ 415090 h 1333436"/>
                <a:gd name="connsiteX152" fmla="*/ 669581 w 752994"/>
                <a:gd name="connsiteY152" fmla="*/ 415904 h 1333436"/>
                <a:gd name="connsiteX153" fmla="*/ 672237 w 752994"/>
                <a:gd name="connsiteY153" fmla="*/ 415688 h 1333436"/>
                <a:gd name="connsiteX154" fmla="*/ 675705 w 752994"/>
                <a:gd name="connsiteY154" fmla="*/ 409367 h 1333436"/>
                <a:gd name="connsiteX155" fmla="*/ 679986 w 752994"/>
                <a:gd name="connsiteY155" fmla="*/ 403238 h 1333436"/>
                <a:gd name="connsiteX156" fmla="*/ 693264 w 752994"/>
                <a:gd name="connsiteY156" fmla="*/ 419567 h 1333436"/>
                <a:gd name="connsiteX157" fmla="*/ 688563 w 752994"/>
                <a:gd name="connsiteY157" fmla="*/ 448321 h 1333436"/>
                <a:gd name="connsiteX158" fmla="*/ 663949 w 752994"/>
                <a:gd name="connsiteY158" fmla="*/ 590165 h 1333436"/>
                <a:gd name="connsiteX159" fmla="*/ 666304 w 752994"/>
                <a:gd name="connsiteY159" fmla="*/ 590504 h 1333436"/>
                <a:gd name="connsiteX160" fmla="*/ 655288 w 752994"/>
                <a:gd name="connsiteY160" fmla="*/ 656178 h 1333436"/>
                <a:gd name="connsiteX161" fmla="*/ 681808 w 752994"/>
                <a:gd name="connsiteY161" fmla="*/ 662301 h 1333436"/>
                <a:gd name="connsiteX162" fmla="*/ 752994 w 752994"/>
                <a:gd name="connsiteY162" fmla="*/ 675560 h 1333436"/>
                <a:gd name="connsiteX163" fmla="*/ 714651 w 752994"/>
                <a:gd name="connsiteY163" fmla="*/ 946985 h 1333436"/>
                <a:gd name="connsiteX164" fmla="*/ 693426 w 752994"/>
                <a:gd name="connsiteY164" fmla="*/ 944128 h 1333436"/>
                <a:gd name="connsiteX165" fmla="*/ 457412 w 752994"/>
                <a:gd name="connsiteY165" fmla="*/ 897429 h 1333436"/>
                <a:gd name="connsiteX166" fmla="*/ 524385 w 752994"/>
                <a:gd name="connsiteY166" fmla="*/ 564267 h 1333436"/>
                <a:gd name="connsiteX167" fmla="*/ 520684 w 752994"/>
                <a:gd name="connsiteY167" fmla="*/ 563475 h 1333436"/>
                <a:gd name="connsiteX168" fmla="*/ 453578 w 752994"/>
                <a:gd name="connsiteY168" fmla="*/ 897215 h 1333436"/>
                <a:gd name="connsiteX169" fmla="*/ 442753 w 752994"/>
                <a:gd name="connsiteY169" fmla="*/ 950656 h 1333436"/>
                <a:gd name="connsiteX170" fmla="*/ 442550 w 752994"/>
                <a:gd name="connsiteY170" fmla="*/ 951272 h 1333436"/>
                <a:gd name="connsiteX171" fmla="*/ 439290 w 752994"/>
                <a:gd name="connsiteY171" fmla="*/ 958807 h 1333436"/>
                <a:gd name="connsiteX172" fmla="*/ 432957 w 752994"/>
                <a:gd name="connsiteY172" fmla="*/ 963487 h 1333436"/>
                <a:gd name="connsiteX173" fmla="*/ 429291 w 752994"/>
                <a:gd name="connsiteY173" fmla="*/ 959817 h 1333436"/>
                <a:gd name="connsiteX174" fmla="*/ 425610 w 752994"/>
                <a:gd name="connsiteY174" fmla="*/ 955532 h 1333436"/>
                <a:gd name="connsiteX175" fmla="*/ 419292 w 752994"/>
                <a:gd name="connsiteY175" fmla="*/ 953291 h 1333436"/>
                <a:gd name="connsiteX176" fmla="*/ 414597 w 752994"/>
                <a:gd name="connsiteY176" fmla="*/ 951272 h 1333436"/>
                <a:gd name="connsiteX177" fmla="*/ 407047 w 752994"/>
                <a:gd name="connsiteY177" fmla="*/ 956148 h 1333436"/>
                <a:gd name="connsiteX178" fmla="*/ 403787 w 752994"/>
                <a:gd name="connsiteY178" fmla="*/ 963290 h 1333436"/>
                <a:gd name="connsiteX179" fmla="*/ 404052 w 752994"/>
                <a:gd name="connsiteY179" fmla="*/ 963688 h 1333436"/>
                <a:gd name="connsiteX180" fmla="*/ 406917 w 752994"/>
                <a:gd name="connsiteY180" fmla="*/ 957427 h 1333436"/>
                <a:gd name="connsiteX181" fmla="*/ 414454 w 752994"/>
                <a:gd name="connsiteY181" fmla="*/ 952534 h 1333436"/>
                <a:gd name="connsiteX182" fmla="*/ 419146 w 752994"/>
                <a:gd name="connsiteY182" fmla="*/ 954567 h 1333436"/>
                <a:gd name="connsiteX183" fmla="*/ 425469 w 752994"/>
                <a:gd name="connsiteY183" fmla="*/ 956803 h 1333436"/>
                <a:gd name="connsiteX184" fmla="*/ 429146 w 752994"/>
                <a:gd name="connsiteY184" fmla="*/ 961092 h 1333436"/>
                <a:gd name="connsiteX185" fmla="*/ 432807 w 752994"/>
                <a:gd name="connsiteY185" fmla="*/ 964757 h 1333436"/>
                <a:gd name="connsiteX186" fmla="*/ 439129 w 752994"/>
                <a:gd name="connsiteY186" fmla="*/ 960065 h 1333436"/>
                <a:gd name="connsiteX187" fmla="*/ 442407 w 752994"/>
                <a:gd name="connsiteY187" fmla="*/ 952534 h 1333436"/>
                <a:gd name="connsiteX188" fmla="*/ 442607 w 752994"/>
                <a:gd name="connsiteY188" fmla="*/ 951909 h 1333436"/>
                <a:gd name="connsiteX189" fmla="*/ 453422 w 752994"/>
                <a:gd name="connsiteY189" fmla="*/ 898487 h 1333436"/>
                <a:gd name="connsiteX190" fmla="*/ 689408 w 752994"/>
                <a:gd name="connsiteY190" fmla="*/ 945184 h 1333436"/>
                <a:gd name="connsiteX191" fmla="*/ 710622 w 752994"/>
                <a:gd name="connsiteY191" fmla="*/ 948043 h 1333436"/>
                <a:gd name="connsiteX192" fmla="*/ 654533 w 752994"/>
                <a:gd name="connsiteY192" fmla="*/ 1333436 h 1333436"/>
                <a:gd name="connsiteX193" fmla="*/ 546831 w 752994"/>
                <a:gd name="connsiteY193" fmla="*/ 1317126 h 1333436"/>
                <a:gd name="connsiteX194" fmla="*/ 351227 w 752994"/>
                <a:gd name="connsiteY194" fmla="*/ 1194172 h 1333436"/>
                <a:gd name="connsiteX195" fmla="*/ 361011 w 752994"/>
                <a:gd name="connsiteY195" fmla="*/ 1182755 h 1333436"/>
                <a:gd name="connsiteX196" fmla="*/ 368981 w 752994"/>
                <a:gd name="connsiteY196" fmla="*/ 1182130 h 1333436"/>
                <a:gd name="connsiteX197" fmla="*/ 369571 w 752994"/>
                <a:gd name="connsiteY197" fmla="*/ 1181558 h 1333436"/>
                <a:gd name="connsiteX198" fmla="*/ 362372 w 752994"/>
                <a:gd name="connsiteY198" fmla="*/ 1182120 h 1333436"/>
                <a:gd name="connsiteX199" fmla="*/ 229464 w 752994"/>
                <a:gd name="connsiteY199" fmla="*/ 1161721 h 1333436"/>
                <a:gd name="connsiteX200" fmla="*/ 227427 w 752994"/>
                <a:gd name="connsiteY200" fmla="*/ 1157269 h 1333436"/>
                <a:gd name="connsiteX201" fmla="*/ 224967 w 752994"/>
                <a:gd name="connsiteY201" fmla="*/ 1152575 h 1333436"/>
                <a:gd name="connsiteX202" fmla="*/ 225582 w 752994"/>
                <a:gd name="connsiteY202" fmla="*/ 1144808 h 1333436"/>
                <a:gd name="connsiteX203" fmla="*/ 227215 w 752994"/>
                <a:gd name="connsiteY203" fmla="*/ 1135834 h 1333436"/>
                <a:gd name="connsiteX204" fmla="*/ 227215 w 752994"/>
                <a:gd name="connsiteY204" fmla="*/ 1134212 h 1333436"/>
                <a:gd name="connsiteX205" fmla="*/ 225179 w 752994"/>
                <a:gd name="connsiteY205" fmla="*/ 1114020 h 1333436"/>
                <a:gd name="connsiteX206" fmla="*/ 217839 w 752994"/>
                <a:gd name="connsiteY206" fmla="*/ 1100352 h 1333436"/>
                <a:gd name="connsiteX207" fmla="*/ 199661 w 752994"/>
                <a:gd name="connsiteY207" fmla="*/ 1076502 h 1333436"/>
                <a:gd name="connsiteX208" fmla="*/ 196395 w 752994"/>
                <a:gd name="connsiteY208" fmla="*/ 1071807 h 1333436"/>
                <a:gd name="connsiteX209" fmla="*/ 190880 w 752994"/>
                <a:gd name="connsiteY209" fmla="*/ 1067527 h 1333436"/>
                <a:gd name="connsiteX210" fmla="*/ 187210 w 752994"/>
                <a:gd name="connsiteY210" fmla="*/ 1068735 h 1333436"/>
                <a:gd name="connsiteX211" fmla="*/ 180062 w 752994"/>
                <a:gd name="connsiteY211" fmla="*/ 1066699 h 1333436"/>
                <a:gd name="connsiteX212" fmla="*/ 180466 w 752994"/>
                <a:gd name="connsiteY212" fmla="*/ 1053031 h 1333436"/>
                <a:gd name="connsiteX213" fmla="*/ 180062 w 752994"/>
                <a:gd name="connsiteY213" fmla="*/ 1045299 h 1333436"/>
                <a:gd name="connsiteX214" fmla="*/ 174144 w 752994"/>
                <a:gd name="connsiteY214" fmla="*/ 1044057 h 1333436"/>
                <a:gd name="connsiteX215" fmla="*/ 158426 w 752994"/>
                <a:gd name="connsiteY215" fmla="*/ 1042641 h 1333436"/>
                <a:gd name="connsiteX216" fmla="*/ 149857 w 752994"/>
                <a:gd name="connsiteY216" fmla="*/ 1035497 h 1333436"/>
                <a:gd name="connsiteX217" fmla="*/ 142497 w 752994"/>
                <a:gd name="connsiteY217" fmla="*/ 1028766 h 1333436"/>
                <a:gd name="connsiteX218" fmla="*/ 140864 w 752994"/>
                <a:gd name="connsiteY218" fmla="*/ 1020620 h 1333436"/>
                <a:gd name="connsiteX219" fmla="*/ 138212 w 752994"/>
                <a:gd name="connsiteY219" fmla="*/ 1013061 h 1333436"/>
                <a:gd name="connsiteX220" fmla="*/ 131064 w 752994"/>
                <a:gd name="connsiteY220" fmla="*/ 1007159 h 1333436"/>
                <a:gd name="connsiteX221" fmla="*/ 121264 w 752994"/>
                <a:gd name="connsiteY221" fmla="*/ 1005330 h 1333436"/>
                <a:gd name="connsiteX222" fmla="*/ 112483 w 752994"/>
                <a:gd name="connsiteY222" fmla="*/ 1001671 h 1333436"/>
                <a:gd name="connsiteX223" fmla="*/ 105950 w 752994"/>
                <a:gd name="connsiteY223" fmla="*/ 995734 h 1333436"/>
                <a:gd name="connsiteX224" fmla="*/ 97380 w 752994"/>
                <a:gd name="connsiteY224" fmla="*/ 994526 h 1333436"/>
                <a:gd name="connsiteX225" fmla="*/ 87984 w 752994"/>
                <a:gd name="connsiteY225" fmla="*/ 991040 h 1333436"/>
                <a:gd name="connsiteX226" fmla="*/ 80029 w 752994"/>
                <a:gd name="connsiteY226" fmla="*/ 985138 h 1333436"/>
                <a:gd name="connsiteX227" fmla="*/ 77166 w 752994"/>
                <a:gd name="connsiteY227" fmla="*/ 976164 h 1333436"/>
                <a:gd name="connsiteX228" fmla="*/ 79203 w 752994"/>
                <a:gd name="connsiteY228" fmla="*/ 970676 h 1333436"/>
                <a:gd name="connsiteX229" fmla="*/ 82470 w 752994"/>
                <a:gd name="connsiteY229" fmla="*/ 963117 h 1333436"/>
                <a:gd name="connsiteX230" fmla="*/ 84314 w 752994"/>
                <a:gd name="connsiteY230" fmla="*/ 954557 h 1333436"/>
                <a:gd name="connsiteX231" fmla="*/ 86351 w 752994"/>
                <a:gd name="connsiteY231" fmla="*/ 948033 h 1333436"/>
                <a:gd name="connsiteX232" fmla="*/ 86159 w 752994"/>
                <a:gd name="connsiteY232" fmla="*/ 942925 h 1333436"/>
                <a:gd name="connsiteX233" fmla="*/ 83085 w 752994"/>
                <a:gd name="connsiteY233" fmla="*/ 939853 h 1333436"/>
                <a:gd name="connsiteX234" fmla="*/ 77570 w 752994"/>
                <a:gd name="connsiteY234" fmla="*/ 937437 h 1333436"/>
                <a:gd name="connsiteX235" fmla="*/ 76763 w 752994"/>
                <a:gd name="connsiteY235" fmla="*/ 931915 h 1333436"/>
                <a:gd name="connsiteX236" fmla="*/ 78800 w 752994"/>
                <a:gd name="connsiteY236" fmla="*/ 927013 h 1333436"/>
                <a:gd name="connsiteX237" fmla="*/ 79626 w 752994"/>
                <a:gd name="connsiteY237" fmla="*/ 922526 h 1333436"/>
                <a:gd name="connsiteX238" fmla="*/ 77781 w 752994"/>
                <a:gd name="connsiteY238" fmla="*/ 919903 h 1333436"/>
                <a:gd name="connsiteX239" fmla="*/ 74303 w 752994"/>
                <a:gd name="connsiteY239" fmla="*/ 917418 h 1333436"/>
                <a:gd name="connsiteX240" fmla="*/ 71863 w 752994"/>
                <a:gd name="connsiteY240" fmla="*/ 915174 h 1333436"/>
                <a:gd name="connsiteX241" fmla="*/ 71652 w 752994"/>
                <a:gd name="connsiteY241" fmla="*/ 910894 h 1333436"/>
                <a:gd name="connsiteX242" fmla="*/ 70633 w 752994"/>
                <a:gd name="connsiteY242" fmla="*/ 906614 h 1333436"/>
                <a:gd name="connsiteX243" fmla="*/ 68385 w 752994"/>
                <a:gd name="connsiteY243" fmla="*/ 902749 h 1333436"/>
                <a:gd name="connsiteX244" fmla="*/ 61045 w 752994"/>
                <a:gd name="connsiteY244" fmla="*/ 889494 h 1333436"/>
                <a:gd name="connsiteX245" fmla="*/ 57971 w 752994"/>
                <a:gd name="connsiteY245" fmla="*/ 875619 h 1333436"/>
                <a:gd name="connsiteX246" fmla="*/ 52264 w 752994"/>
                <a:gd name="connsiteY246" fmla="*/ 862572 h 1333436"/>
                <a:gd name="connsiteX247" fmla="*/ 44309 w 752994"/>
                <a:gd name="connsiteY247" fmla="*/ 850561 h 1333436"/>
                <a:gd name="connsiteX248" fmla="*/ 45520 w 752994"/>
                <a:gd name="connsiteY248" fmla="*/ 827090 h 1333436"/>
                <a:gd name="connsiteX249" fmla="*/ 53071 w 752994"/>
                <a:gd name="connsiteY249" fmla="*/ 822396 h 1333436"/>
                <a:gd name="connsiteX250" fmla="*/ 57375 w 752994"/>
                <a:gd name="connsiteY250" fmla="*/ 816493 h 1333436"/>
                <a:gd name="connsiteX251" fmla="*/ 55319 w 752994"/>
                <a:gd name="connsiteY251" fmla="*/ 801617 h 1333436"/>
                <a:gd name="connsiteX252" fmla="*/ 48383 w 752994"/>
                <a:gd name="connsiteY252" fmla="*/ 802204 h 1333436"/>
                <a:gd name="connsiteX253" fmla="*/ 40428 w 752994"/>
                <a:gd name="connsiteY253" fmla="*/ 797924 h 1333436"/>
                <a:gd name="connsiteX254" fmla="*/ 37565 w 752994"/>
                <a:gd name="connsiteY254" fmla="*/ 790606 h 1333436"/>
                <a:gd name="connsiteX255" fmla="*/ 37565 w 752994"/>
                <a:gd name="connsiteY255" fmla="*/ 790399 h 1333436"/>
                <a:gd name="connsiteX256" fmla="*/ 35931 w 752994"/>
                <a:gd name="connsiteY256" fmla="*/ 785912 h 1333436"/>
                <a:gd name="connsiteX257" fmla="*/ 34510 w 752994"/>
                <a:gd name="connsiteY257" fmla="*/ 780597 h 1333436"/>
                <a:gd name="connsiteX258" fmla="*/ 36335 w 752994"/>
                <a:gd name="connsiteY258" fmla="*/ 774280 h 1333436"/>
                <a:gd name="connsiteX259" fmla="*/ 38180 w 752994"/>
                <a:gd name="connsiteY259" fmla="*/ 766721 h 1333436"/>
                <a:gd name="connsiteX260" fmla="*/ 37161 w 752994"/>
                <a:gd name="connsiteY260" fmla="*/ 760405 h 1333436"/>
                <a:gd name="connsiteX261" fmla="*/ 35720 w 752994"/>
                <a:gd name="connsiteY261" fmla="*/ 754710 h 1333436"/>
                <a:gd name="connsiteX262" fmla="*/ 36546 w 752994"/>
                <a:gd name="connsiteY262" fmla="*/ 748773 h 1333436"/>
                <a:gd name="connsiteX263" fmla="*/ 38372 w 752994"/>
                <a:gd name="connsiteY263" fmla="*/ 744528 h 1333436"/>
                <a:gd name="connsiteX264" fmla="*/ 41638 w 752994"/>
                <a:gd name="connsiteY264" fmla="*/ 744321 h 1333436"/>
                <a:gd name="connsiteX265" fmla="*/ 44713 w 752994"/>
                <a:gd name="connsiteY265" fmla="*/ 746357 h 1333436"/>
                <a:gd name="connsiteX266" fmla="*/ 47364 w 752994"/>
                <a:gd name="connsiteY266" fmla="*/ 753260 h 1333436"/>
                <a:gd name="connsiteX267" fmla="*/ 55742 w 752994"/>
                <a:gd name="connsiteY267" fmla="*/ 764305 h 1333436"/>
                <a:gd name="connsiteX268" fmla="*/ 56338 w 752994"/>
                <a:gd name="connsiteY268" fmla="*/ 761233 h 1333436"/>
                <a:gd name="connsiteX269" fmla="*/ 56145 w 752994"/>
                <a:gd name="connsiteY269" fmla="*/ 757368 h 1333436"/>
                <a:gd name="connsiteX270" fmla="*/ 54916 w 752994"/>
                <a:gd name="connsiteY270" fmla="*/ 748601 h 1333436"/>
                <a:gd name="connsiteX271" fmla="*/ 52879 w 752994"/>
                <a:gd name="connsiteY271" fmla="*/ 747358 h 1333436"/>
                <a:gd name="connsiteX272" fmla="*/ 51649 w 752994"/>
                <a:gd name="connsiteY272" fmla="*/ 745322 h 1333436"/>
                <a:gd name="connsiteX273" fmla="*/ 51649 w 752994"/>
                <a:gd name="connsiteY273" fmla="*/ 739212 h 1333436"/>
                <a:gd name="connsiteX274" fmla="*/ 50227 w 752994"/>
                <a:gd name="connsiteY274" fmla="*/ 734725 h 1333436"/>
                <a:gd name="connsiteX275" fmla="*/ 48786 w 752994"/>
                <a:gd name="connsiteY275" fmla="*/ 731446 h 1333436"/>
                <a:gd name="connsiteX276" fmla="*/ 54512 w 752994"/>
                <a:gd name="connsiteY276" fmla="*/ 726372 h 1333436"/>
                <a:gd name="connsiteX277" fmla="*/ 59815 w 752994"/>
                <a:gd name="connsiteY277" fmla="*/ 725130 h 1333436"/>
                <a:gd name="connsiteX278" fmla="*/ 58182 w 752994"/>
                <a:gd name="connsiteY278" fmla="*/ 722886 h 1333436"/>
                <a:gd name="connsiteX279" fmla="*/ 51861 w 752994"/>
                <a:gd name="connsiteY279" fmla="*/ 717985 h 1333436"/>
                <a:gd name="connsiteX280" fmla="*/ 46749 w 752994"/>
                <a:gd name="connsiteY280" fmla="*/ 729617 h 1333436"/>
                <a:gd name="connsiteX281" fmla="*/ 40831 w 752994"/>
                <a:gd name="connsiteY281" fmla="*/ 739212 h 1333436"/>
                <a:gd name="connsiteX282" fmla="*/ 39601 w 752994"/>
                <a:gd name="connsiteY282" fmla="*/ 738798 h 1333436"/>
                <a:gd name="connsiteX283" fmla="*/ 39409 w 752994"/>
                <a:gd name="connsiteY283" fmla="*/ 738591 h 1333436"/>
                <a:gd name="connsiteX284" fmla="*/ 37161 w 752994"/>
                <a:gd name="connsiteY284" fmla="*/ 734725 h 1333436"/>
                <a:gd name="connsiteX285" fmla="*/ 32665 w 752994"/>
                <a:gd name="connsiteY285" fmla="*/ 727788 h 1333436"/>
                <a:gd name="connsiteX286" fmla="*/ 26747 w 752994"/>
                <a:gd name="connsiteY286" fmla="*/ 719435 h 1333436"/>
                <a:gd name="connsiteX287" fmla="*/ 23884 w 752994"/>
                <a:gd name="connsiteY287" fmla="*/ 717812 h 1333436"/>
                <a:gd name="connsiteX288" fmla="*/ 24710 w 752994"/>
                <a:gd name="connsiteY288" fmla="*/ 709632 h 1333436"/>
                <a:gd name="connsiteX289" fmla="*/ 27554 w 752994"/>
                <a:gd name="connsiteY289" fmla="*/ 701694 h 1333436"/>
                <a:gd name="connsiteX290" fmla="*/ 24902 w 752994"/>
                <a:gd name="connsiteY290" fmla="*/ 696171 h 1333436"/>
                <a:gd name="connsiteX291" fmla="*/ 24095 w 752994"/>
                <a:gd name="connsiteY291" fmla="*/ 687818 h 1333436"/>
                <a:gd name="connsiteX292" fmla="*/ 22462 w 752994"/>
                <a:gd name="connsiteY292" fmla="*/ 682330 h 1333436"/>
                <a:gd name="connsiteX293" fmla="*/ 17159 w 752994"/>
                <a:gd name="connsiteY293" fmla="*/ 677636 h 1333436"/>
                <a:gd name="connsiteX294" fmla="*/ 14296 w 752994"/>
                <a:gd name="connsiteY294" fmla="*/ 671492 h 1333436"/>
                <a:gd name="connsiteX295" fmla="*/ 12451 w 752994"/>
                <a:gd name="connsiteY295" fmla="*/ 665797 h 1333436"/>
                <a:gd name="connsiteX296" fmla="*/ 5111 w 752994"/>
                <a:gd name="connsiteY296" fmla="*/ 654994 h 1333436"/>
                <a:gd name="connsiteX297" fmla="*/ 2248 w 752994"/>
                <a:gd name="connsiteY297" fmla="*/ 645605 h 1333436"/>
                <a:gd name="connsiteX298" fmla="*/ 4496 w 752994"/>
                <a:gd name="connsiteY298" fmla="*/ 640497 h 1333436"/>
                <a:gd name="connsiteX299" fmla="*/ 6744 w 752994"/>
                <a:gd name="connsiteY299" fmla="*/ 632765 h 1333436"/>
                <a:gd name="connsiteX300" fmla="*/ 6744 w 752994"/>
                <a:gd name="connsiteY300" fmla="*/ 628485 h 1333436"/>
                <a:gd name="connsiteX301" fmla="*/ 6533 w 752994"/>
                <a:gd name="connsiteY301" fmla="*/ 620305 h 1333436"/>
                <a:gd name="connsiteX302" fmla="*/ 7359 w 752994"/>
                <a:gd name="connsiteY302" fmla="*/ 611745 h 1333436"/>
                <a:gd name="connsiteX303" fmla="*/ 11836 w 752994"/>
                <a:gd name="connsiteY303" fmla="*/ 602978 h 1333436"/>
                <a:gd name="connsiteX304" fmla="*/ 15103 w 752994"/>
                <a:gd name="connsiteY304" fmla="*/ 591760 h 1333436"/>
                <a:gd name="connsiteX305" fmla="*/ 14488 w 752994"/>
                <a:gd name="connsiteY305" fmla="*/ 584029 h 1333436"/>
                <a:gd name="connsiteX306" fmla="*/ 13873 w 752994"/>
                <a:gd name="connsiteY306" fmla="*/ 578299 h 1333436"/>
                <a:gd name="connsiteX307" fmla="*/ 10626 w 752994"/>
                <a:gd name="connsiteY307" fmla="*/ 568531 h 1333436"/>
                <a:gd name="connsiteX308" fmla="*/ 3670 w 752994"/>
                <a:gd name="connsiteY308" fmla="*/ 558107 h 1333436"/>
                <a:gd name="connsiteX309" fmla="*/ 0 w 752994"/>
                <a:gd name="connsiteY309" fmla="*/ 551377 h 1333436"/>
                <a:gd name="connsiteX310" fmla="*/ 0 w 752994"/>
                <a:gd name="connsiteY310" fmla="*/ 550997 h 1333436"/>
                <a:gd name="connsiteX311" fmla="*/ 4900 w 752994"/>
                <a:gd name="connsiteY311" fmla="*/ 531220 h 1333436"/>
                <a:gd name="connsiteX312" fmla="*/ 13873 w 752994"/>
                <a:gd name="connsiteY312" fmla="*/ 520589 h 1333436"/>
                <a:gd name="connsiteX313" fmla="*/ 18369 w 752994"/>
                <a:gd name="connsiteY313" fmla="*/ 516516 h 1333436"/>
                <a:gd name="connsiteX314" fmla="*/ 18773 w 752994"/>
                <a:gd name="connsiteY314" fmla="*/ 514272 h 1333436"/>
                <a:gd name="connsiteX315" fmla="*/ 23077 w 752994"/>
                <a:gd name="connsiteY315" fmla="*/ 506127 h 1333436"/>
                <a:gd name="connsiteX316" fmla="*/ 23884 w 752994"/>
                <a:gd name="connsiteY316" fmla="*/ 502261 h 1333436"/>
                <a:gd name="connsiteX317" fmla="*/ 23692 w 752994"/>
                <a:gd name="connsiteY317" fmla="*/ 496738 h 1333436"/>
                <a:gd name="connsiteX318" fmla="*/ 30013 w 752994"/>
                <a:gd name="connsiteY318" fmla="*/ 486556 h 1333436"/>
                <a:gd name="connsiteX319" fmla="*/ 36546 w 752994"/>
                <a:gd name="connsiteY319" fmla="*/ 470230 h 1333436"/>
                <a:gd name="connsiteX320" fmla="*/ 36546 w 752994"/>
                <a:gd name="connsiteY320" fmla="*/ 462671 h 1333436"/>
                <a:gd name="connsiteX321" fmla="*/ 36335 w 752994"/>
                <a:gd name="connsiteY321" fmla="*/ 461670 h 1333436"/>
                <a:gd name="connsiteX322" fmla="*/ 35931 w 752994"/>
                <a:gd name="connsiteY322" fmla="*/ 453110 h 1333436"/>
                <a:gd name="connsiteX323" fmla="*/ 38583 w 752994"/>
                <a:gd name="connsiteY323" fmla="*/ 442514 h 1333436"/>
                <a:gd name="connsiteX324" fmla="*/ 41043 w 752994"/>
                <a:gd name="connsiteY324" fmla="*/ 436991 h 1333436"/>
                <a:gd name="connsiteX325" fmla="*/ 41650 w 752994"/>
                <a:gd name="connsiteY325" fmla="*/ 437186 h 1333436"/>
                <a:gd name="connsiteX326" fmla="*/ 41239 w 752994"/>
                <a:gd name="connsiteY326" fmla="*/ 436549 h 1333436"/>
                <a:gd name="connsiteX327" fmla="*/ 37778 w 752994"/>
                <a:gd name="connsiteY327" fmla="*/ 433894 h 1333436"/>
                <a:gd name="connsiteX328" fmla="*/ 37169 w 752994"/>
                <a:gd name="connsiteY328" fmla="*/ 432261 h 1333436"/>
                <a:gd name="connsiteX329" fmla="*/ 37365 w 752994"/>
                <a:gd name="connsiteY329" fmla="*/ 429198 h 1333436"/>
                <a:gd name="connsiteX330" fmla="*/ 36756 w 752994"/>
                <a:gd name="connsiteY330" fmla="*/ 422272 h 1333436"/>
                <a:gd name="connsiteX331" fmla="*/ 36952 w 752994"/>
                <a:gd name="connsiteY331" fmla="*/ 418800 h 1333436"/>
                <a:gd name="connsiteX332" fmla="*/ 36756 w 752994"/>
                <a:gd name="connsiteY332" fmla="*/ 412487 h 1333436"/>
                <a:gd name="connsiteX333" fmla="*/ 40433 w 752994"/>
                <a:gd name="connsiteY333" fmla="*/ 406174 h 1333436"/>
                <a:gd name="connsiteX334" fmla="*/ 44720 w 752994"/>
                <a:gd name="connsiteY334" fmla="*/ 399435 h 1333436"/>
                <a:gd name="connsiteX335" fmla="*/ 44110 w 752994"/>
                <a:gd name="connsiteY335" fmla="*/ 389651 h 1333436"/>
                <a:gd name="connsiteX336" fmla="*/ 43894 w 752994"/>
                <a:gd name="connsiteY336" fmla="*/ 378437 h 1333436"/>
                <a:gd name="connsiteX337" fmla="*/ 47158 w 752994"/>
                <a:gd name="connsiteY337" fmla="*/ 371102 h 1333436"/>
                <a:gd name="connsiteX338" fmla="*/ 55731 w 752994"/>
                <a:gd name="connsiteY338" fmla="*/ 360909 h 1333436"/>
                <a:gd name="connsiteX339" fmla="*/ 57580 w 752994"/>
                <a:gd name="connsiteY339" fmla="*/ 355804 h 1333436"/>
                <a:gd name="connsiteX340" fmla="*/ 62673 w 752994"/>
                <a:gd name="connsiteY340" fmla="*/ 349695 h 1333436"/>
                <a:gd name="connsiteX341" fmla="*/ 65937 w 752994"/>
                <a:gd name="connsiteY341" fmla="*/ 348470 h 1333436"/>
                <a:gd name="connsiteX342" fmla="*/ 68395 w 752994"/>
                <a:gd name="connsiteY342" fmla="*/ 348674 h 1333436"/>
                <a:gd name="connsiteX343" fmla="*/ 70224 w 752994"/>
                <a:gd name="connsiteY343" fmla="*/ 347449 h 1333436"/>
                <a:gd name="connsiteX344" fmla="*/ 67785 w 752994"/>
                <a:gd name="connsiteY344" fmla="*/ 345203 h 1333436"/>
                <a:gd name="connsiteX345" fmla="*/ 65524 w 752994"/>
                <a:gd name="connsiteY345" fmla="*/ 343178 h 1333436"/>
                <a:gd name="connsiteX346" fmla="*/ 73095 w 752994"/>
                <a:gd name="connsiteY346" fmla="*/ 333376 h 1333436"/>
                <a:gd name="connsiteX347" fmla="*/ 73291 w 752994"/>
                <a:gd name="connsiteY347" fmla="*/ 333376 h 1333436"/>
                <a:gd name="connsiteX348" fmla="*/ 77991 w 752994"/>
                <a:gd name="connsiteY348" fmla="*/ 325838 h 1333436"/>
                <a:gd name="connsiteX349" fmla="*/ 82671 w 752994"/>
                <a:gd name="connsiteY349" fmla="*/ 313619 h 1333436"/>
                <a:gd name="connsiteX350" fmla="*/ 87980 w 752994"/>
                <a:gd name="connsiteY350" fmla="*/ 303018 h 1333436"/>
                <a:gd name="connsiteX351" fmla="*/ 92267 w 752994"/>
                <a:gd name="connsiteY351" fmla="*/ 291191 h 1333436"/>
                <a:gd name="connsiteX352" fmla="*/ 96553 w 752994"/>
                <a:gd name="connsiteY352" fmla="*/ 281202 h 1333436"/>
                <a:gd name="connsiteX353" fmla="*/ 99621 w 752994"/>
                <a:gd name="connsiteY353" fmla="*/ 274481 h 1333436"/>
                <a:gd name="connsiteX354" fmla="*/ 103082 w 752994"/>
                <a:gd name="connsiteY354" fmla="*/ 262450 h 1333436"/>
                <a:gd name="connsiteX355" fmla="*/ 107172 w 752994"/>
                <a:gd name="connsiteY355" fmla="*/ 254299 h 1333436"/>
                <a:gd name="connsiteX356" fmla="*/ 112481 w 752994"/>
                <a:gd name="connsiteY356" fmla="*/ 243697 h 1333436"/>
                <a:gd name="connsiteX357" fmla="*/ 117181 w 752994"/>
                <a:gd name="connsiteY357" fmla="*/ 232279 h 1333436"/>
                <a:gd name="connsiteX358" fmla="*/ 125951 w 752994"/>
                <a:gd name="connsiteY358" fmla="*/ 217389 h 1333436"/>
                <a:gd name="connsiteX359" fmla="*/ 136156 w 752994"/>
                <a:gd name="connsiteY359" fmla="*/ 202925 h 1333436"/>
                <a:gd name="connsiteX360" fmla="*/ 138811 w 752994"/>
                <a:gd name="connsiteY360" fmla="*/ 183339 h 1333436"/>
                <a:gd name="connsiteX361" fmla="*/ 148801 w 752994"/>
                <a:gd name="connsiteY361" fmla="*/ 167445 h 1333436"/>
                <a:gd name="connsiteX362" fmla="*/ 159616 w 752994"/>
                <a:gd name="connsiteY362" fmla="*/ 170712 h 1333436"/>
                <a:gd name="connsiteX363" fmla="*/ 173105 w 752994"/>
                <a:gd name="connsiteY363" fmla="*/ 175188 h 1333436"/>
                <a:gd name="connsiteX364" fmla="*/ 175347 w 752994"/>
                <a:gd name="connsiteY364" fmla="*/ 175188 h 1333436"/>
                <a:gd name="connsiteX365" fmla="*/ 175347 w 752994"/>
                <a:gd name="connsiteY365" fmla="*/ 173758 h 1333436"/>
                <a:gd name="connsiteX366" fmla="*/ 184975 w 752994"/>
                <a:gd name="connsiteY366" fmla="*/ 187393 h 1333436"/>
                <a:gd name="connsiteX367" fmla="*/ 184762 w 752994"/>
                <a:gd name="connsiteY367" fmla="*/ 184637 h 1333436"/>
                <a:gd name="connsiteX368" fmla="*/ 174971 w 752994"/>
                <a:gd name="connsiteY368" fmla="*/ 170774 h 1333436"/>
                <a:gd name="connsiteX369" fmla="*/ 174971 w 752994"/>
                <a:gd name="connsiteY369" fmla="*/ 169550 h 1333436"/>
                <a:gd name="connsiteX370" fmla="*/ 158851 w 752994"/>
                <a:gd name="connsiteY370" fmla="*/ 156924 h 1333436"/>
                <a:gd name="connsiteX371" fmla="*/ 147025 w 752994"/>
                <a:gd name="connsiteY371" fmla="*/ 145709 h 1333436"/>
                <a:gd name="connsiteX372" fmla="*/ 154364 w 752994"/>
                <a:gd name="connsiteY372" fmla="*/ 136335 h 1333436"/>
                <a:gd name="connsiteX373" fmla="*/ 161511 w 752994"/>
                <a:gd name="connsiteY373" fmla="*/ 131042 h 1333436"/>
                <a:gd name="connsiteX374" fmla="*/ 160902 w 752994"/>
                <a:gd name="connsiteY374" fmla="*/ 128384 h 1333436"/>
                <a:gd name="connsiteX375" fmla="*/ 160277 w 752994"/>
                <a:gd name="connsiteY375" fmla="*/ 127778 h 1333436"/>
                <a:gd name="connsiteX376" fmla="*/ 154973 w 752994"/>
                <a:gd name="connsiteY376" fmla="*/ 122077 h 1333436"/>
                <a:gd name="connsiteX377" fmla="*/ 160277 w 752994"/>
                <a:gd name="connsiteY377" fmla="*/ 115140 h 1333436"/>
                <a:gd name="connsiteX378" fmla="*/ 165181 w 752994"/>
                <a:gd name="connsiteY378" fmla="*/ 108215 h 1333436"/>
                <a:gd name="connsiteX379" fmla="*/ 161303 w 752994"/>
                <a:gd name="connsiteY379" fmla="*/ 104146 h 1333436"/>
                <a:gd name="connsiteX380" fmla="*/ 157842 w 752994"/>
                <a:gd name="connsiteY380" fmla="*/ 104542 h 1333436"/>
                <a:gd name="connsiteX381" fmla="*/ 157024 w 752994"/>
                <a:gd name="connsiteY381" fmla="*/ 102304 h 1333436"/>
                <a:gd name="connsiteX382" fmla="*/ 160694 w 752994"/>
                <a:gd name="connsiteY382" fmla="*/ 55437 h 1333436"/>
                <a:gd name="connsiteX383" fmla="*/ 160486 w 752994"/>
                <a:gd name="connsiteY383" fmla="*/ 31991 h 1333436"/>
                <a:gd name="connsiteX384" fmla="*/ 164972 w 752994"/>
                <a:gd name="connsiteY384" fmla="*/ 18141 h 1333436"/>
                <a:gd name="connsiteX385" fmla="*/ 171911 w 752994"/>
                <a:gd name="connsiteY385" fmla="*/ 11204 h 1333436"/>
                <a:gd name="connsiteX386" fmla="*/ 187406 w 752994"/>
                <a:gd name="connsiteY386" fmla="*/ 21801 h 1333436"/>
                <a:gd name="connsiteX387" fmla="*/ 210866 w 752994"/>
                <a:gd name="connsiteY387" fmla="*/ 37086 h 1333436"/>
                <a:gd name="connsiteX388" fmla="*/ 219230 w 752994"/>
                <a:gd name="connsiteY388" fmla="*/ 41166 h 1333436"/>
                <a:gd name="connsiteX389" fmla="*/ 226778 w 752994"/>
                <a:gd name="connsiteY389" fmla="*/ 47486 h 1333436"/>
                <a:gd name="connsiteX390" fmla="*/ 236152 w 752994"/>
                <a:gd name="connsiteY390" fmla="*/ 52370 h 1333436"/>
                <a:gd name="connsiteX391" fmla="*/ 239629 w 752994"/>
                <a:gd name="connsiteY391" fmla="*/ 58491 h 1333436"/>
                <a:gd name="connsiteX392" fmla="*/ 239629 w 752994"/>
                <a:gd name="connsiteY392" fmla="*/ 63376 h 1333436"/>
                <a:gd name="connsiteX393" fmla="*/ 236568 w 752994"/>
                <a:gd name="connsiteY393" fmla="*/ 67457 h 1333436"/>
                <a:gd name="connsiteX394" fmla="*/ 231264 w 752994"/>
                <a:gd name="connsiteY394" fmla="*/ 69905 h 1333436"/>
                <a:gd name="connsiteX395" fmla="*/ 216778 w 752994"/>
                <a:gd name="connsiteY395" fmla="*/ 82741 h 1333436"/>
                <a:gd name="connsiteX396" fmla="*/ 214134 w 752994"/>
                <a:gd name="connsiteY396" fmla="*/ 93536 h 1333436"/>
                <a:gd name="connsiteX397" fmla="*/ 214535 w 752994"/>
                <a:gd name="connsiteY397" fmla="*/ 96801 h 1333436"/>
                <a:gd name="connsiteX398" fmla="*/ 216378 w 752994"/>
                <a:gd name="connsiteY398" fmla="*/ 96801 h 1333436"/>
                <a:gd name="connsiteX399" fmla="*/ 230046 w 752994"/>
                <a:gd name="connsiteY399" fmla="*/ 85387 h 1333436"/>
                <a:gd name="connsiteX400" fmla="*/ 243298 w 752994"/>
                <a:gd name="connsiteY400" fmla="*/ 75198 h 1333436"/>
                <a:gd name="connsiteX401" fmla="*/ 246760 w 752994"/>
                <a:gd name="connsiteY401" fmla="*/ 77646 h 1333436"/>
                <a:gd name="connsiteX402" fmla="*/ 255541 w 752994"/>
                <a:gd name="connsiteY402" fmla="*/ 63376 h 1333436"/>
                <a:gd name="connsiteX403" fmla="*/ 259611 w 752994"/>
                <a:gd name="connsiteY403" fmla="*/ 43405 h 1333436"/>
                <a:gd name="connsiteX404" fmla="*/ 256967 w 752994"/>
                <a:gd name="connsiteY404" fmla="*/ 38520 h 1333436"/>
                <a:gd name="connsiteX405" fmla="*/ 253906 w 752994"/>
                <a:gd name="connsiteY405" fmla="*/ 34242 h 1333436"/>
                <a:gd name="connsiteX406" fmla="*/ 256967 w 752994"/>
                <a:gd name="connsiteY406" fmla="*/ 30161 h 1333436"/>
                <a:gd name="connsiteX407" fmla="*/ 262063 w 752994"/>
                <a:gd name="connsiteY407" fmla="*/ 27712 h 1333436"/>
                <a:gd name="connsiteX408" fmla="*/ 264915 w 752994"/>
                <a:gd name="connsiteY408" fmla="*/ 23026 h 1333436"/>
                <a:gd name="connsiteX409" fmla="*/ 267976 w 752994"/>
                <a:gd name="connsiteY409" fmla="*/ 22618 h 1333436"/>
                <a:gd name="connsiteX410" fmla="*/ 270427 w 752994"/>
                <a:gd name="connsiteY410" fmla="*/ 20787 h 1333436"/>
                <a:gd name="connsiteX411" fmla="*/ 263088 w 752994"/>
                <a:gd name="connsiteY411" fmla="*/ 13652 h 1333436"/>
                <a:gd name="connsiteX412" fmla="*/ 255541 w 752994"/>
                <a:gd name="connsiteY412" fmla="*/ 3055 h 1333436"/>
                <a:gd name="connsiteX413" fmla="*/ 256358 w 752994"/>
                <a:gd name="connsiteY413" fmla="*/ 1224 h 1333436"/>
                <a:gd name="connsiteX414" fmla="*/ 257159 w 752994"/>
                <a:gd name="connsiteY414"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17583 w 752994"/>
                <a:gd name="connsiteY19" fmla="*/ 388884 h 1333436"/>
                <a:gd name="connsiteX20" fmla="*/ 413732 w 752994"/>
                <a:gd name="connsiteY20" fmla="*/ 385175 h 1333436"/>
                <a:gd name="connsiteX21" fmla="*/ 417583 w 752994"/>
                <a:gd name="connsiteY21" fmla="*/ 388884 h 1333436"/>
                <a:gd name="connsiteX22" fmla="*/ 453481 w 752994"/>
                <a:gd name="connsiteY22" fmla="*/ 285608 h 1333436"/>
                <a:gd name="connsiteX23" fmla="*/ 453944 w 752994"/>
                <a:gd name="connsiteY23" fmla="*/ 286495 h 1333436"/>
                <a:gd name="connsiteX24" fmla="*/ 457539 w 752994"/>
                <a:gd name="connsiteY24" fmla="*/ 290781 h 1333436"/>
                <a:gd name="connsiteX25" fmla="*/ 457408 w 752994"/>
                <a:gd name="connsiteY25" fmla="*/ 290281 h 1333436"/>
                <a:gd name="connsiteX26" fmla="*/ 453481 w 752994"/>
                <a:gd name="connsiteY26" fmla="*/ 285608 h 1333436"/>
                <a:gd name="connsiteX27" fmla="*/ 184180 w 752994"/>
                <a:gd name="connsiteY27" fmla="*/ 213866 h 1333436"/>
                <a:gd name="connsiteX28" fmla="*/ 184117 w 752994"/>
                <a:gd name="connsiteY28" fmla="*/ 214326 h 1333436"/>
                <a:gd name="connsiteX29" fmla="*/ 185553 w 752994"/>
                <a:gd name="connsiteY29" fmla="*/ 222494 h 1333436"/>
                <a:gd name="connsiteX30" fmla="*/ 188600 w 752994"/>
                <a:gd name="connsiteY30" fmla="*/ 226970 h 1333436"/>
                <a:gd name="connsiteX31" fmla="*/ 195542 w 752994"/>
                <a:gd name="connsiteY31" fmla="*/ 231871 h 1333436"/>
                <a:gd name="connsiteX32" fmla="*/ 203093 w 752994"/>
                <a:gd name="connsiteY32" fmla="*/ 233896 h 1333436"/>
                <a:gd name="connsiteX33" fmla="*/ 217192 w 752994"/>
                <a:gd name="connsiteY33" fmla="*/ 232075 h 1333436"/>
                <a:gd name="connsiteX34" fmla="*/ 225136 w 752994"/>
                <a:gd name="connsiteY34" fmla="*/ 229829 h 1333436"/>
                <a:gd name="connsiteX35" fmla="*/ 235558 w 752994"/>
                <a:gd name="connsiteY35" fmla="*/ 232483 h 1333436"/>
                <a:gd name="connsiteX36" fmla="*/ 242499 w 752994"/>
                <a:gd name="connsiteY36" fmla="*/ 237163 h 1333436"/>
                <a:gd name="connsiteX37" fmla="*/ 248418 w 752994"/>
                <a:gd name="connsiteY37" fmla="*/ 244701 h 1333436"/>
                <a:gd name="connsiteX38" fmla="*/ 255359 w 752994"/>
                <a:gd name="connsiteY38" fmla="*/ 244906 h 1333436"/>
                <a:gd name="connsiteX39" fmla="*/ 258210 w 752994"/>
                <a:gd name="connsiteY39" fmla="*/ 244906 h 1333436"/>
                <a:gd name="connsiteX40" fmla="*/ 263303 w 752994"/>
                <a:gd name="connsiteY40" fmla="*/ 246131 h 1333436"/>
                <a:gd name="connsiteX41" fmla="*/ 269438 w 752994"/>
                <a:gd name="connsiteY41" fmla="*/ 243697 h 1333436"/>
                <a:gd name="connsiteX42" fmla="*/ 274944 w 752994"/>
                <a:gd name="connsiteY42" fmla="*/ 241451 h 1333436"/>
                <a:gd name="connsiteX43" fmla="*/ 281276 w 752994"/>
                <a:gd name="connsiteY43" fmla="*/ 245722 h 1333436"/>
                <a:gd name="connsiteX44" fmla="*/ 289240 w 752994"/>
                <a:gd name="connsiteY44" fmla="*/ 250419 h 1333436"/>
                <a:gd name="connsiteX45" fmla="*/ 297597 w 752994"/>
                <a:gd name="connsiteY45" fmla="*/ 248581 h 1333436"/>
                <a:gd name="connsiteX46" fmla="*/ 310261 w 752994"/>
                <a:gd name="connsiteY46" fmla="*/ 246539 h 1333436"/>
                <a:gd name="connsiteX47" fmla="*/ 324340 w 752994"/>
                <a:gd name="connsiteY47" fmla="*/ 244497 h 1333436"/>
                <a:gd name="connsiteX48" fmla="*/ 333523 w 752994"/>
                <a:gd name="connsiteY48" fmla="*/ 243289 h 1333436"/>
                <a:gd name="connsiteX49" fmla="*/ 341271 w 752994"/>
                <a:gd name="connsiteY49" fmla="*/ 246539 h 1333436"/>
                <a:gd name="connsiteX50" fmla="*/ 348428 w 752994"/>
                <a:gd name="connsiteY50" fmla="*/ 250011 h 1333436"/>
                <a:gd name="connsiteX51" fmla="*/ 351279 w 752994"/>
                <a:gd name="connsiteY51" fmla="*/ 247356 h 1333436"/>
                <a:gd name="connsiteX52" fmla="*/ 355566 w 752994"/>
                <a:gd name="connsiteY52" fmla="*/ 244293 h 1333436"/>
                <a:gd name="connsiteX53" fmla="*/ 365772 w 752994"/>
                <a:gd name="connsiteY53" fmla="*/ 248785 h 1333436"/>
                <a:gd name="connsiteX54" fmla="*/ 381483 w 752994"/>
                <a:gd name="connsiteY54" fmla="*/ 254912 h 1333436"/>
                <a:gd name="connsiteX55" fmla="*/ 381896 w 752994"/>
                <a:gd name="connsiteY55" fmla="*/ 255320 h 1333436"/>
                <a:gd name="connsiteX56" fmla="*/ 395366 w 752994"/>
                <a:gd name="connsiteY56" fmla="*/ 257753 h 1333436"/>
                <a:gd name="connsiteX57" fmla="*/ 414145 w 752994"/>
                <a:gd name="connsiteY57" fmla="*/ 262450 h 1333436"/>
                <a:gd name="connsiteX58" fmla="*/ 431292 w 752994"/>
                <a:gd name="connsiteY58" fmla="*/ 268151 h 1333436"/>
                <a:gd name="connsiteX59" fmla="*/ 445196 w 752994"/>
                <a:gd name="connsiteY59" fmla="*/ 269890 h 1333436"/>
                <a:gd name="connsiteX60" fmla="*/ 444145 w 752994"/>
                <a:gd name="connsiteY60" fmla="*/ 267441 h 1333436"/>
                <a:gd name="connsiteX61" fmla="*/ 444145 w 752994"/>
                <a:gd name="connsiteY61" fmla="*/ 267034 h 1333436"/>
                <a:gd name="connsiteX62" fmla="*/ 444155 w 752994"/>
                <a:gd name="connsiteY62" fmla="*/ 266811 h 1333436"/>
                <a:gd name="connsiteX63" fmla="*/ 430733 w 752994"/>
                <a:gd name="connsiteY63" fmla="*/ 265139 h 1333436"/>
                <a:gd name="connsiteX64" fmla="*/ 413603 w 752994"/>
                <a:gd name="connsiteY64" fmla="*/ 259426 h 1333436"/>
                <a:gd name="connsiteX65" fmla="*/ 394839 w 752994"/>
                <a:gd name="connsiteY65" fmla="*/ 254739 h 1333436"/>
                <a:gd name="connsiteX66" fmla="*/ 381379 w 752994"/>
                <a:gd name="connsiteY66" fmla="*/ 252303 h 1333436"/>
                <a:gd name="connsiteX67" fmla="*/ 380962 w 752994"/>
                <a:gd name="connsiteY67" fmla="*/ 251895 h 1333436"/>
                <a:gd name="connsiteX68" fmla="*/ 365258 w 752994"/>
                <a:gd name="connsiteY68" fmla="*/ 245774 h 1333436"/>
                <a:gd name="connsiteX69" fmla="*/ 355067 w 752994"/>
                <a:gd name="connsiteY69" fmla="*/ 241285 h 1333436"/>
                <a:gd name="connsiteX70" fmla="*/ 350789 w 752994"/>
                <a:gd name="connsiteY70" fmla="*/ 244352 h 1333436"/>
                <a:gd name="connsiteX71" fmla="*/ 347920 w 752994"/>
                <a:gd name="connsiteY71" fmla="*/ 246998 h 1333436"/>
                <a:gd name="connsiteX72" fmla="*/ 340789 w 752994"/>
                <a:gd name="connsiteY72" fmla="*/ 243536 h 1333436"/>
                <a:gd name="connsiteX73" fmla="*/ 333034 w 752994"/>
                <a:gd name="connsiteY73" fmla="*/ 240271 h 1333436"/>
                <a:gd name="connsiteX74" fmla="*/ 323868 w 752994"/>
                <a:gd name="connsiteY74" fmla="*/ 241495 h 1333436"/>
                <a:gd name="connsiteX75" fmla="*/ 309783 w 752994"/>
                <a:gd name="connsiteY75" fmla="*/ 243536 h 1333436"/>
                <a:gd name="connsiteX76" fmla="*/ 297140 w 752994"/>
                <a:gd name="connsiteY76" fmla="*/ 245576 h 1333436"/>
                <a:gd name="connsiteX77" fmla="*/ 288775 w 752994"/>
                <a:gd name="connsiteY77" fmla="*/ 247406 h 1333436"/>
                <a:gd name="connsiteX78" fmla="*/ 280827 w 752994"/>
                <a:gd name="connsiteY78" fmla="*/ 242720 h 1333436"/>
                <a:gd name="connsiteX79" fmla="*/ 274497 w 752994"/>
                <a:gd name="connsiteY79" fmla="*/ 238441 h 1333436"/>
                <a:gd name="connsiteX80" fmla="*/ 269001 w 752994"/>
                <a:gd name="connsiteY80" fmla="*/ 240679 h 1333436"/>
                <a:gd name="connsiteX81" fmla="*/ 262880 w 752994"/>
                <a:gd name="connsiteY81" fmla="*/ 243128 h 1333436"/>
                <a:gd name="connsiteX82" fmla="*/ 260028 w 752994"/>
                <a:gd name="connsiteY82" fmla="*/ 242720 h 1333436"/>
                <a:gd name="connsiteX83" fmla="*/ 257784 w 752994"/>
                <a:gd name="connsiteY83" fmla="*/ 241904 h 1333436"/>
                <a:gd name="connsiteX84" fmla="*/ 247994 w 752994"/>
                <a:gd name="connsiteY84" fmla="*/ 241693 h 1333436"/>
                <a:gd name="connsiteX85" fmla="*/ 242081 w 752994"/>
                <a:gd name="connsiteY85" fmla="*/ 234162 h 1333436"/>
                <a:gd name="connsiteX86" fmla="*/ 235142 w 752994"/>
                <a:gd name="connsiteY86" fmla="*/ 229476 h 1333436"/>
                <a:gd name="connsiteX87" fmla="*/ 224742 w 752994"/>
                <a:gd name="connsiteY87" fmla="*/ 226817 h 1333436"/>
                <a:gd name="connsiteX88" fmla="*/ 216778 w 752994"/>
                <a:gd name="connsiteY88" fmla="*/ 229068 h 1333436"/>
                <a:gd name="connsiteX89" fmla="*/ 202709 w 752994"/>
                <a:gd name="connsiteY89" fmla="*/ 230898 h 1333436"/>
                <a:gd name="connsiteX90" fmla="*/ 195162 w 752994"/>
                <a:gd name="connsiteY90" fmla="*/ 228857 h 1333436"/>
                <a:gd name="connsiteX91" fmla="*/ 188223 w 752994"/>
                <a:gd name="connsiteY91" fmla="*/ 223973 h 1333436"/>
                <a:gd name="connsiteX92" fmla="*/ 185163 w 752994"/>
                <a:gd name="connsiteY92" fmla="*/ 219484 h 1333436"/>
                <a:gd name="connsiteX93" fmla="*/ 184180 w 752994"/>
                <a:gd name="connsiteY93" fmla="*/ 213866 h 1333436"/>
                <a:gd name="connsiteX94" fmla="*/ 257159 w 752994"/>
                <a:gd name="connsiteY94" fmla="*/ 0 h 1333436"/>
                <a:gd name="connsiteX95" fmla="*/ 493147 w 752994"/>
                <a:gd name="connsiteY95" fmla="*/ 73157 h 1333436"/>
                <a:gd name="connsiteX96" fmla="*/ 492970 w 752994"/>
                <a:gd name="connsiteY96" fmla="*/ 73792 h 1333436"/>
                <a:gd name="connsiteX97" fmla="*/ 525816 w 752994"/>
                <a:gd name="connsiteY97" fmla="*/ 82491 h 1333436"/>
                <a:gd name="connsiteX98" fmla="*/ 520098 w 752994"/>
                <a:gd name="connsiteY98" fmla="*/ 111245 h 1333436"/>
                <a:gd name="connsiteX99" fmla="*/ 512552 w 752994"/>
                <a:gd name="connsiteY99" fmla="*/ 143854 h 1333436"/>
                <a:gd name="connsiteX100" fmla="*/ 517849 w 752994"/>
                <a:gd name="connsiteY100" fmla="*/ 157740 h 1333436"/>
                <a:gd name="connsiteX101" fmla="*/ 523160 w 752994"/>
                <a:gd name="connsiteY101" fmla="*/ 172009 h 1333436"/>
                <a:gd name="connsiteX102" fmla="*/ 521535 w 752994"/>
                <a:gd name="connsiteY102" fmla="*/ 178928 h 1333436"/>
                <a:gd name="connsiteX103" fmla="*/ 520098 w 752994"/>
                <a:gd name="connsiteY103" fmla="*/ 186279 h 1333436"/>
                <a:gd name="connsiteX104" fmla="*/ 526019 w 752994"/>
                <a:gd name="connsiteY104" fmla="*/ 193629 h 1333436"/>
                <a:gd name="connsiteX105" fmla="*/ 537251 w 752994"/>
                <a:gd name="connsiteY105" fmla="*/ 206270 h 1333436"/>
                <a:gd name="connsiteX106" fmla="*/ 542765 w 752994"/>
                <a:gd name="connsiteY106" fmla="*/ 217475 h 1333436"/>
                <a:gd name="connsiteX107" fmla="*/ 546857 w 752994"/>
                <a:gd name="connsiteY107" fmla="*/ 230930 h 1333436"/>
                <a:gd name="connsiteX108" fmla="*/ 549499 w 752994"/>
                <a:gd name="connsiteY108" fmla="*/ 235622 h 1333436"/>
                <a:gd name="connsiteX109" fmla="*/ 553388 w 752994"/>
                <a:gd name="connsiteY109" fmla="*/ 240722 h 1333436"/>
                <a:gd name="connsiteX110" fmla="*/ 557465 w 752994"/>
                <a:gd name="connsiteY110" fmla="*/ 246037 h 1333436"/>
                <a:gd name="connsiteX111" fmla="*/ 561761 w 752994"/>
                <a:gd name="connsiteY111" fmla="*/ 248671 h 1333436"/>
                <a:gd name="connsiteX112" fmla="*/ 567478 w 752994"/>
                <a:gd name="connsiteY112" fmla="*/ 247665 h 1333436"/>
                <a:gd name="connsiteX113" fmla="*/ 569931 w 752994"/>
                <a:gd name="connsiteY113" fmla="*/ 249293 h 1333436"/>
                <a:gd name="connsiteX114" fmla="*/ 570540 w 752994"/>
                <a:gd name="connsiteY114" fmla="*/ 251951 h 1333436"/>
                <a:gd name="connsiteX115" fmla="*/ 561964 w 752994"/>
                <a:gd name="connsiteY115" fmla="*/ 267656 h 1333436"/>
                <a:gd name="connsiteX116" fmla="*/ 553591 w 752994"/>
                <a:gd name="connsiteY116" fmla="*/ 289659 h 1333436"/>
                <a:gd name="connsiteX117" fmla="*/ 554810 w 752994"/>
                <a:gd name="connsiteY117" fmla="*/ 292939 h 1333436"/>
                <a:gd name="connsiteX118" fmla="*/ 556246 w 752994"/>
                <a:gd name="connsiteY118" fmla="*/ 299260 h 1333436"/>
                <a:gd name="connsiteX119" fmla="*/ 552778 w 752994"/>
                <a:gd name="connsiteY119" fmla="*/ 301917 h 1333436"/>
                <a:gd name="connsiteX120" fmla="*/ 549295 w 752994"/>
                <a:gd name="connsiteY120" fmla="*/ 306993 h 1333436"/>
                <a:gd name="connsiteX121" fmla="*/ 547061 w 752994"/>
                <a:gd name="connsiteY121" fmla="*/ 313122 h 1333436"/>
                <a:gd name="connsiteX122" fmla="*/ 544811 w 752994"/>
                <a:gd name="connsiteY122" fmla="*/ 316593 h 1333436"/>
                <a:gd name="connsiteX123" fmla="*/ 549919 w 752994"/>
                <a:gd name="connsiteY123" fmla="*/ 322698 h 1333436"/>
                <a:gd name="connsiteX124" fmla="*/ 553184 w 752994"/>
                <a:gd name="connsiteY124" fmla="*/ 325955 h 1333436"/>
                <a:gd name="connsiteX125" fmla="*/ 555840 w 752994"/>
                <a:gd name="connsiteY125" fmla="*/ 328205 h 1333436"/>
                <a:gd name="connsiteX126" fmla="*/ 574212 w 752994"/>
                <a:gd name="connsiteY126" fmla="*/ 318820 h 1333436"/>
                <a:gd name="connsiteX127" fmla="*/ 579523 w 752994"/>
                <a:gd name="connsiteY127" fmla="*/ 326577 h 1333436"/>
                <a:gd name="connsiteX128" fmla="*/ 580539 w 752994"/>
                <a:gd name="connsiteY128" fmla="*/ 334933 h 1333436"/>
                <a:gd name="connsiteX129" fmla="*/ 579726 w 752994"/>
                <a:gd name="connsiteY129" fmla="*/ 343097 h 1333436"/>
                <a:gd name="connsiteX130" fmla="*/ 581366 w 752994"/>
                <a:gd name="connsiteY130" fmla="*/ 350231 h 1333436"/>
                <a:gd name="connsiteX131" fmla="*/ 586256 w 752994"/>
                <a:gd name="connsiteY131" fmla="*/ 355930 h 1333436"/>
                <a:gd name="connsiteX132" fmla="*/ 589536 w 752994"/>
                <a:gd name="connsiteY132" fmla="*/ 362059 h 1333436"/>
                <a:gd name="connsiteX133" fmla="*/ 588099 w 752994"/>
                <a:gd name="connsiteY133" fmla="*/ 369600 h 1333436"/>
                <a:gd name="connsiteX134" fmla="*/ 586459 w 752994"/>
                <a:gd name="connsiteY134" fmla="*/ 377357 h 1333436"/>
                <a:gd name="connsiteX135" fmla="*/ 588709 w 752994"/>
                <a:gd name="connsiteY135" fmla="*/ 381835 h 1333436"/>
                <a:gd name="connsiteX136" fmla="*/ 595036 w 752994"/>
                <a:gd name="connsiteY136" fmla="*/ 382457 h 1333436"/>
                <a:gd name="connsiteX137" fmla="*/ 599331 w 752994"/>
                <a:gd name="connsiteY137" fmla="*/ 385306 h 1333436"/>
                <a:gd name="connsiteX138" fmla="*/ 601987 w 752994"/>
                <a:gd name="connsiteY138" fmla="*/ 391004 h 1333436"/>
                <a:gd name="connsiteX139" fmla="*/ 602799 w 752994"/>
                <a:gd name="connsiteY139" fmla="*/ 404076 h 1333436"/>
                <a:gd name="connsiteX140" fmla="*/ 606892 w 752994"/>
                <a:gd name="connsiteY140" fmla="*/ 415688 h 1333436"/>
                <a:gd name="connsiteX141" fmla="*/ 610563 w 752994"/>
                <a:gd name="connsiteY141" fmla="*/ 412217 h 1333436"/>
                <a:gd name="connsiteX142" fmla="*/ 617920 w 752994"/>
                <a:gd name="connsiteY142" fmla="*/ 408769 h 1333436"/>
                <a:gd name="connsiteX143" fmla="*/ 624654 w 752994"/>
                <a:gd name="connsiteY143" fmla="*/ 411211 h 1333436"/>
                <a:gd name="connsiteX144" fmla="*/ 634652 w 752994"/>
                <a:gd name="connsiteY144" fmla="*/ 410182 h 1333436"/>
                <a:gd name="connsiteX145" fmla="*/ 640573 w 752994"/>
                <a:gd name="connsiteY145" fmla="*/ 407739 h 1333436"/>
                <a:gd name="connsiteX146" fmla="*/ 646711 w 752994"/>
                <a:gd name="connsiteY146" fmla="*/ 410589 h 1333436"/>
                <a:gd name="connsiteX147" fmla="*/ 650383 w 752994"/>
                <a:gd name="connsiteY147" fmla="*/ 410589 h 1333436"/>
                <a:gd name="connsiteX148" fmla="*/ 654257 w 752994"/>
                <a:gd name="connsiteY148" fmla="*/ 411618 h 1333436"/>
                <a:gd name="connsiteX149" fmla="*/ 656913 w 752994"/>
                <a:gd name="connsiteY149" fmla="*/ 413653 h 1333436"/>
                <a:gd name="connsiteX150" fmla="*/ 660802 w 752994"/>
                <a:gd name="connsiteY150" fmla="*/ 415090 h 1333436"/>
                <a:gd name="connsiteX151" fmla="*/ 669581 w 752994"/>
                <a:gd name="connsiteY151" fmla="*/ 415904 h 1333436"/>
                <a:gd name="connsiteX152" fmla="*/ 672237 w 752994"/>
                <a:gd name="connsiteY152" fmla="*/ 415688 h 1333436"/>
                <a:gd name="connsiteX153" fmla="*/ 675705 w 752994"/>
                <a:gd name="connsiteY153" fmla="*/ 409367 h 1333436"/>
                <a:gd name="connsiteX154" fmla="*/ 679986 w 752994"/>
                <a:gd name="connsiteY154" fmla="*/ 403238 h 1333436"/>
                <a:gd name="connsiteX155" fmla="*/ 693264 w 752994"/>
                <a:gd name="connsiteY155" fmla="*/ 419567 h 1333436"/>
                <a:gd name="connsiteX156" fmla="*/ 688563 w 752994"/>
                <a:gd name="connsiteY156" fmla="*/ 448321 h 1333436"/>
                <a:gd name="connsiteX157" fmla="*/ 663949 w 752994"/>
                <a:gd name="connsiteY157" fmla="*/ 590165 h 1333436"/>
                <a:gd name="connsiteX158" fmla="*/ 666304 w 752994"/>
                <a:gd name="connsiteY158" fmla="*/ 590504 h 1333436"/>
                <a:gd name="connsiteX159" fmla="*/ 655288 w 752994"/>
                <a:gd name="connsiteY159" fmla="*/ 656178 h 1333436"/>
                <a:gd name="connsiteX160" fmla="*/ 681808 w 752994"/>
                <a:gd name="connsiteY160" fmla="*/ 662301 h 1333436"/>
                <a:gd name="connsiteX161" fmla="*/ 752994 w 752994"/>
                <a:gd name="connsiteY161" fmla="*/ 675560 h 1333436"/>
                <a:gd name="connsiteX162" fmla="*/ 714651 w 752994"/>
                <a:gd name="connsiteY162" fmla="*/ 946985 h 1333436"/>
                <a:gd name="connsiteX163" fmla="*/ 693426 w 752994"/>
                <a:gd name="connsiteY163" fmla="*/ 944128 h 1333436"/>
                <a:gd name="connsiteX164" fmla="*/ 457412 w 752994"/>
                <a:gd name="connsiteY164" fmla="*/ 897429 h 1333436"/>
                <a:gd name="connsiteX165" fmla="*/ 524385 w 752994"/>
                <a:gd name="connsiteY165" fmla="*/ 564267 h 1333436"/>
                <a:gd name="connsiteX166" fmla="*/ 520684 w 752994"/>
                <a:gd name="connsiteY166" fmla="*/ 563475 h 1333436"/>
                <a:gd name="connsiteX167" fmla="*/ 453578 w 752994"/>
                <a:gd name="connsiteY167" fmla="*/ 897215 h 1333436"/>
                <a:gd name="connsiteX168" fmla="*/ 442753 w 752994"/>
                <a:gd name="connsiteY168" fmla="*/ 950656 h 1333436"/>
                <a:gd name="connsiteX169" fmla="*/ 442550 w 752994"/>
                <a:gd name="connsiteY169" fmla="*/ 951272 h 1333436"/>
                <a:gd name="connsiteX170" fmla="*/ 439290 w 752994"/>
                <a:gd name="connsiteY170" fmla="*/ 958807 h 1333436"/>
                <a:gd name="connsiteX171" fmla="*/ 432957 w 752994"/>
                <a:gd name="connsiteY171" fmla="*/ 963487 h 1333436"/>
                <a:gd name="connsiteX172" fmla="*/ 429291 w 752994"/>
                <a:gd name="connsiteY172" fmla="*/ 959817 h 1333436"/>
                <a:gd name="connsiteX173" fmla="*/ 425610 w 752994"/>
                <a:gd name="connsiteY173" fmla="*/ 955532 h 1333436"/>
                <a:gd name="connsiteX174" fmla="*/ 419292 w 752994"/>
                <a:gd name="connsiteY174" fmla="*/ 953291 h 1333436"/>
                <a:gd name="connsiteX175" fmla="*/ 414597 w 752994"/>
                <a:gd name="connsiteY175" fmla="*/ 951272 h 1333436"/>
                <a:gd name="connsiteX176" fmla="*/ 407047 w 752994"/>
                <a:gd name="connsiteY176" fmla="*/ 956148 h 1333436"/>
                <a:gd name="connsiteX177" fmla="*/ 403787 w 752994"/>
                <a:gd name="connsiteY177" fmla="*/ 963290 h 1333436"/>
                <a:gd name="connsiteX178" fmla="*/ 404052 w 752994"/>
                <a:gd name="connsiteY178" fmla="*/ 963688 h 1333436"/>
                <a:gd name="connsiteX179" fmla="*/ 406917 w 752994"/>
                <a:gd name="connsiteY179" fmla="*/ 957427 h 1333436"/>
                <a:gd name="connsiteX180" fmla="*/ 414454 w 752994"/>
                <a:gd name="connsiteY180" fmla="*/ 952534 h 1333436"/>
                <a:gd name="connsiteX181" fmla="*/ 419146 w 752994"/>
                <a:gd name="connsiteY181" fmla="*/ 954567 h 1333436"/>
                <a:gd name="connsiteX182" fmla="*/ 425469 w 752994"/>
                <a:gd name="connsiteY182" fmla="*/ 956803 h 1333436"/>
                <a:gd name="connsiteX183" fmla="*/ 429146 w 752994"/>
                <a:gd name="connsiteY183" fmla="*/ 961092 h 1333436"/>
                <a:gd name="connsiteX184" fmla="*/ 432807 w 752994"/>
                <a:gd name="connsiteY184" fmla="*/ 964757 h 1333436"/>
                <a:gd name="connsiteX185" fmla="*/ 439129 w 752994"/>
                <a:gd name="connsiteY185" fmla="*/ 960065 h 1333436"/>
                <a:gd name="connsiteX186" fmla="*/ 442407 w 752994"/>
                <a:gd name="connsiteY186" fmla="*/ 952534 h 1333436"/>
                <a:gd name="connsiteX187" fmla="*/ 442607 w 752994"/>
                <a:gd name="connsiteY187" fmla="*/ 951909 h 1333436"/>
                <a:gd name="connsiteX188" fmla="*/ 453422 w 752994"/>
                <a:gd name="connsiteY188" fmla="*/ 898487 h 1333436"/>
                <a:gd name="connsiteX189" fmla="*/ 689408 w 752994"/>
                <a:gd name="connsiteY189" fmla="*/ 945184 h 1333436"/>
                <a:gd name="connsiteX190" fmla="*/ 710622 w 752994"/>
                <a:gd name="connsiteY190" fmla="*/ 948043 h 1333436"/>
                <a:gd name="connsiteX191" fmla="*/ 654533 w 752994"/>
                <a:gd name="connsiteY191" fmla="*/ 1333436 h 1333436"/>
                <a:gd name="connsiteX192" fmla="*/ 546831 w 752994"/>
                <a:gd name="connsiteY192" fmla="*/ 1317126 h 1333436"/>
                <a:gd name="connsiteX193" fmla="*/ 351227 w 752994"/>
                <a:gd name="connsiteY193" fmla="*/ 1194172 h 1333436"/>
                <a:gd name="connsiteX194" fmla="*/ 361011 w 752994"/>
                <a:gd name="connsiteY194" fmla="*/ 1182755 h 1333436"/>
                <a:gd name="connsiteX195" fmla="*/ 368981 w 752994"/>
                <a:gd name="connsiteY195" fmla="*/ 1182130 h 1333436"/>
                <a:gd name="connsiteX196" fmla="*/ 369571 w 752994"/>
                <a:gd name="connsiteY196" fmla="*/ 1181558 h 1333436"/>
                <a:gd name="connsiteX197" fmla="*/ 362372 w 752994"/>
                <a:gd name="connsiteY197" fmla="*/ 1182120 h 1333436"/>
                <a:gd name="connsiteX198" fmla="*/ 229464 w 752994"/>
                <a:gd name="connsiteY198" fmla="*/ 1161721 h 1333436"/>
                <a:gd name="connsiteX199" fmla="*/ 227427 w 752994"/>
                <a:gd name="connsiteY199" fmla="*/ 1157269 h 1333436"/>
                <a:gd name="connsiteX200" fmla="*/ 224967 w 752994"/>
                <a:gd name="connsiteY200" fmla="*/ 1152575 h 1333436"/>
                <a:gd name="connsiteX201" fmla="*/ 225582 w 752994"/>
                <a:gd name="connsiteY201" fmla="*/ 1144808 h 1333436"/>
                <a:gd name="connsiteX202" fmla="*/ 227215 w 752994"/>
                <a:gd name="connsiteY202" fmla="*/ 1135834 h 1333436"/>
                <a:gd name="connsiteX203" fmla="*/ 227215 w 752994"/>
                <a:gd name="connsiteY203" fmla="*/ 1134212 h 1333436"/>
                <a:gd name="connsiteX204" fmla="*/ 225179 w 752994"/>
                <a:gd name="connsiteY204" fmla="*/ 1114020 h 1333436"/>
                <a:gd name="connsiteX205" fmla="*/ 217839 w 752994"/>
                <a:gd name="connsiteY205" fmla="*/ 1100352 h 1333436"/>
                <a:gd name="connsiteX206" fmla="*/ 199661 w 752994"/>
                <a:gd name="connsiteY206" fmla="*/ 1076502 h 1333436"/>
                <a:gd name="connsiteX207" fmla="*/ 196395 w 752994"/>
                <a:gd name="connsiteY207" fmla="*/ 1071807 h 1333436"/>
                <a:gd name="connsiteX208" fmla="*/ 190880 w 752994"/>
                <a:gd name="connsiteY208" fmla="*/ 1067527 h 1333436"/>
                <a:gd name="connsiteX209" fmla="*/ 187210 w 752994"/>
                <a:gd name="connsiteY209" fmla="*/ 1068735 h 1333436"/>
                <a:gd name="connsiteX210" fmla="*/ 180062 w 752994"/>
                <a:gd name="connsiteY210" fmla="*/ 1066699 h 1333436"/>
                <a:gd name="connsiteX211" fmla="*/ 180466 w 752994"/>
                <a:gd name="connsiteY211" fmla="*/ 1053031 h 1333436"/>
                <a:gd name="connsiteX212" fmla="*/ 180062 w 752994"/>
                <a:gd name="connsiteY212" fmla="*/ 1045299 h 1333436"/>
                <a:gd name="connsiteX213" fmla="*/ 174144 w 752994"/>
                <a:gd name="connsiteY213" fmla="*/ 1044057 h 1333436"/>
                <a:gd name="connsiteX214" fmla="*/ 158426 w 752994"/>
                <a:gd name="connsiteY214" fmla="*/ 1042641 h 1333436"/>
                <a:gd name="connsiteX215" fmla="*/ 149857 w 752994"/>
                <a:gd name="connsiteY215" fmla="*/ 1035497 h 1333436"/>
                <a:gd name="connsiteX216" fmla="*/ 142497 w 752994"/>
                <a:gd name="connsiteY216" fmla="*/ 1028766 h 1333436"/>
                <a:gd name="connsiteX217" fmla="*/ 140864 w 752994"/>
                <a:gd name="connsiteY217" fmla="*/ 1020620 h 1333436"/>
                <a:gd name="connsiteX218" fmla="*/ 138212 w 752994"/>
                <a:gd name="connsiteY218" fmla="*/ 1013061 h 1333436"/>
                <a:gd name="connsiteX219" fmla="*/ 131064 w 752994"/>
                <a:gd name="connsiteY219" fmla="*/ 1007159 h 1333436"/>
                <a:gd name="connsiteX220" fmla="*/ 121264 w 752994"/>
                <a:gd name="connsiteY220" fmla="*/ 1005330 h 1333436"/>
                <a:gd name="connsiteX221" fmla="*/ 112483 w 752994"/>
                <a:gd name="connsiteY221" fmla="*/ 1001671 h 1333436"/>
                <a:gd name="connsiteX222" fmla="*/ 105950 w 752994"/>
                <a:gd name="connsiteY222" fmla="*/ 995734 h 1333436"/>
                <a:gd name="connsiteX223" fmla="*/ 97380 w 752994"/>
                <a:gd name="connsiteY223" fmla="*/ 994526 h 1333436"/>
                <a:gd name="connsiteX224" fmla="*/ 87984 w 752994"/>
                <a:gd name="connsiteY224" fmla="*/ 991040 h 1333436"/>
                <a:gd name="connsiteX225" fmla="*/ 80029 w 752994"/>
                <a:gd name="connsiteY225" fmla="*/ 985138 h 1333436"/>
                <a:gd name="connsiteX226" fmla="*/ 77166 w 752994"/>
                <a:gd name="connsiteY226" fmla="*/ 976164 h 1333436"/>
                <a:gd name="connsiteX227" fmla="*/ 79203 w 752994"/>
                <a:gd name="connsiteY227" fmla="*/ 970676 h 1333436"/>
                <a:gd name="connsiteX228" fmla="*/ 82470 w 752994"/>
                <a:gd name="connsiteY228" fmla="*/ 963117 h 1333436"/>
                <a:gd name="connsiteX229" fmla="*/ 84314 w 752994"/>
                <a:gd name="connsiteY229" fmla="*/ 954557 h 1333436"/>
                <a:gd name="connsiteX230" fmla="*/ 86351 w 752994"/>
                <a:gd name="connsiteY230" fmla="*/ 948033 h 1333436"/>
                <a:gd name="connsiteX231" fmla="*/ 86159 w 752994"/>
                <a:gd name="connsiteY231" fmla="*/ 942925 h 1333436"/>
                <a:gd name="connsiteX232" fmla="*/ 83085 w 752994"/>
                <a:gd name="connsiteY232" fmla="*/ 939853 h 1333436"/>
                <a:gd name="connsiteX233" fmla="*/ 77570 w 752994"/>
                <a:gd name="connsiteY233" fmla="*/ 937437 h 1333436"/>
                <a:gd name="connsiteX234" fmla="*/ 76763 w 752994"/>
                <a:gd name="connsiteY234" fmla="*/ 931915 h 1333436"/>
                <a:gd name="connsiteX235" fmla="*/ 78800 w 752994"/>
                <a:gd name="connsiteY235" fmla="*/ 927013 h 1333436"/>
                <a:gd name="connsiteX236" fmla="*/ 79626 w 752994"/>
                <a:gd name="connsiteY236" fmla="*/ 922526 h 1333436"/>
                <a:gd name="connsiteX237" fmla="*/ 77781 w 752994"/>
                <a:gd name="connsiteY237" fmla="*/ 919903 h 1333436"/>
                <a:gd name="connsiteX238" fmla="*/ 74303 w 752994"/>
                <a:gd name="connsiteY238" fmla="*/ 917418 h 1333436"/>
                <a:gd name="connsiteX239" fmla="*/ 71863 w 752994"/>
                <a:gd name="connsiteY239" fmla="*/ 915174 h 1333436"/>
                <a:gd name="connsiteX240" fmla="*/ 71652 w 752994"/>
                <a:gd name="connsiteY240" fmla="*/ 910894 h 1333436"/>
                <a:gd name="connsiteX241" fmla="*/ 70633 w 752994"/>
                <a:gd name="connsiteY241" fmla="*/ 906614 h 1333436"/>
                <a:gd name="connsiteX242" fmla="*/ 68385 w 752994"/>
                <a:gd name="connsiteY242" fmla="*/ 902749 h 1333436"/>
                <a:gd name="connsiteX243" fmla="*/ 61045 w 752994"/>
                <a:gd name="connsiteY243" fmla="*/ 889494 h 1333436"/>
                <a:gd name="connsiteX244" fmla="*/ 57971 w 752994"/>
                <a:gd name="connsiteY244" fmla="*/ 875619 h 1333436"/>
                <a:gd name="connsiteX245" fmla="*/ 52264 w 752994"/>
                <a:gd name="connsiteY245" fmla="*/ 862572 h 1333436"/>
                <a:gd name="connsiteX246" fmla="*/ 44309 w 752994"/>
                <a:gd name="connsiteY246" fmla="*/ 850561 h 1333436"/>
                <a:gd name="connsiteX247" fmla="*/ 45520 w 752994"/>
                <a:gd name="connsiteY247" fmla="*/ 827090 h 1333436"/>
                <a:gd name="connsiteX248" fmla="*/ 53071 w 752994"/>
                <a:gd name="connsiteY248" fmla="*/ 822396 h 1333436"/>
                <a:gd name="connsiteX249" fmla="*/ 57375 w 752994"/>
                <a:gd name="connsiteY249" fmla="*/ 816493 h 1333436"/>
                <a:gd name="connsiteX250" fmla="*/ 55319 w 752994"/>
                <a:gd name="connsiteY250" fmla="*/ 801617 h 1333436"/>
                <a:gd name="connsiteX251" fmla="*/ 48383 w 752994"/>
                <a:gd name="connsiteY251" fmla="*/ 802204 h 1333436"/>
                <a:gd name="connsiteX252" fmla="*/ 40428 w 752994"/>
                <a:gd name="connsiteY252" fmla="*/ 797924 h 1333436"/>
                <a:gd name="connsiteX253" fmla="*/ 37565 w 752994"/>
                <a:gd name="connsiteY253" fmla="*/ 790606 h 1333436"/>
                <a:gd name="connsiteX254" fmla="*/ 37565 w 752994"/>
                <a:gd name="connsiteY254" fmla="*/ 790399 h 1333436"/>
                <a:gd name="connsiteX255" fmla="*/ 35931 w 752994"/>
                <a:gd name="connsiteY255" fmla="*/ 785912 h 1333436"/>
                <a:gd name="connsiteX256" fmla="*/ 34510 w 752994"/>
                <a:gd name="connsiteY256" fmla="*/ 780597 h 1333436"/>
                <a:gd name="connsiteX257" fmla="*/ 36335 w 752994"/>
                <a:gd name="connsiteY257" fmla="*/ 774280 h 1333436"/>
                <a:gd name="connsiteX258" fmla="*/ 38180 w 752994"/>
                <a:gd name="connsiteY258" fmla="*/ 766721 h 1333436"/>
                <a:gd name="connsiteX259" fmla="*/ 37161 w 752994"/>
                <a:gd name="connsiteY259" fmla="*/ 760405 h 1333436"/>
                <a:gd name="connsiteX260" fmla="*/ 35720 w 752994"/>
                <a:gd name="connsiteY260" fmla="*/ 754710 h 1333436"/>
                <a:gd name="connsiteX261" fmla="*/ 36546 w 752994"/>
                <a:gd name="connsiteY261" fmla="*/ 748773 h 1333436"/>
                <a:gd name="connsiteX262" fmla="*/ 38372 w 752994"/>
                <a:gd name="connsiteY262" fmla="*/ 744528 h 1333436"/>
                <a:gd name="connsiteX263" fmla="*/ 41638 w 752994"/>
                <a:gd name="connsiteY263" fmla="*/ 744321 h 1333436"/>
                <a:gd name="connsiteX264" fmla="*/ 44713 w 752994"/>
                <a:gd name="connsiteY264" fmla="*/ 746357 h 1333436"/>
                <a:gd name="connsiteX265" fmla="*/ 47364 w 752994"/>
                <a:gd name="connsiteY265" fmla="*/ 753260 h 1333436"/>
                <a:gd name="connsiteX266" fmla="*/ 55742 w 752994"/>
                <a:gd name="connsiteY266" fmla="*/ 764305 h 1333436"/>
                <a:gd name="connsiteX267" fmla="*/ 56338 w 752994"/>
                <a:gd name="connsiteY267" fmla="*/ 761233 h 1333436"/>
                <a:gd name="connsiteX268" fmla="*/ 56145 w 752994"/>
                <a:gd name="connsiteY268" fmla="*/ 757368 h 1333436"/>
                <a:gd name="connsiteX269" fmla="*/ 54916 w 752994"/>
                <a:gd name="connsiteY269" fmla="*/ 748601 h 1333436"/>
                <a:gd name="connsiteX270" fmla="*/ 52879 w 752994"/>
                <a:gd name="connsiteY270" fmla="*/ 747358 h 1333436"/>
                <a:gd name="connsiteX271" fmla="*/ 51649 w 752994"/>
                <a:gd name="connsiteY271" fmla="*/ 745322 h 1333436"/>
                <a:gd name="connsiteX272" fmla="*/ 51649 w 752994"/>
                <a:gd name="connsiteY272" fmla="*/ 739212 h 1333436"/>
                <a:gd name="connsiteX273" fmla="*/ 50227 w 752994"/>
                <a:gd name="connsiteY273" fmla="*/ 734725 h 1333436"/>
                <a:gd name="connsiteX274" fmla="*/ 48786 w 752994"/>
                <a:gd name="connsiteY274" fmla="*/ 731446 h 1333436"/>
                <a:gd name="connsiteX275" fmla="*/ 54512 w 752994"/>
                <a:gd name="connsiteY275" fmla="*/ 726372 h 1333436"/>
                <a:gd name="connsiteX276" fmla="*/ 59815 w 752994"/>
                <a:gd name="connsiteY276" fmla="*/ 725130 h 1333436"/>
                <a:gd name="connsiteX277" fmla="*/ 58182 w 752994"/>
                <a:gd name="connsiteY277" fmla="*/ 722886 h 1333436"/>
                <a:gd name="connsiteX278" fmla="*/ 51861 w 752994"/>
                <a:gd name="connsiteY278" fmla="*/ 717985 h 1333436"/>
                <a:gd name="connsiteX279" fmla="*/ 46749 w 752994"/>
                <a:gd name="connsiteY279" fmla="*/ 729617 h 1333436"/>
                <a:gd name="connsiteX280" fmla="*/ 40831 w 752994"/>
                <a:gd name="connsiteY280" fmla="*/ 739212 h 1333436"/>
                <a:gd name="connsiteX281" fmla="*/ 39601 w 752994"/>
                <a:gd name="connsiteY281" fmla="*/ 738798 h 1333436"/>
                <a:gd name="connsiteX282" fmla="*/ 39409 w 752994"/>
                <a:gd name="connsiteY282" fmla="*/ 738591 h 1333436"/>
                <a:gd name="connsiteX283" fmla="*/ 37161 w 752994"/>
                <a:gd name="connsiteY283" fmla="*/ 734725 h 1333436"/>
                <a:gd name="connsiteX284" fmla="*/ 32665 w 752994"/>
                <a:gd name="connsiteY284" fmla="*/ 727788 h 1333436"/>
                <a:gd name="connsiteX285" fmla="*/ 26747 w 752994"/>
                <a:gd name="connsiteY285" fmla="*/ 719435 h 1333436"/>
                <a:gd name="connsiteX286" fmla="*/ 23884 w 752994"/>
                <a:gd name="connsiteY286" fmla="*/ 717812 h 1333436"/>
                <a:gd name="connsiteX287" fmla="*/ 24710 w 752994"/>
                <a:gd name="connsiteY287" fmla="*/ 709632 h 1333436"/>
                <a:gd name="connsiteX288" fmla="*/ 27554 w 752994"/>
                <a:gd name="connsiteY288" fmla="*/ 701694 h 1333436"/>
                <a:gd name="connsiteX289" fmla="*/ 24902 w 752994"/>
                <a:gd name="connsiteY289" fmla="*/ 696171 h 1333436"/>
                <a:gd name="connsiteX290" fmla="*/ 24095 w 752994"/>
                <a:gd name="connsiteY290" fmla="*/ 687818 h 1333436"/>
                <a:gd name="connsiteX291" fmla="*/ 22462 w 752994"/>
                <a:gd name="connsiteY291" fmla="*/ 682330 h 1333436"/>
                <a:gd name="connsiteX292" fmla="*/ 17159 w 752994"/>
                <a:gd name="connsiteY292" fmla="*/ 677636 h 1333436"/>
                <a:gd name="connsiteX293" fmla="*/ 14296 w 752994"/>
                <a:gd name="connsiteY293" fmla="*/ 671492 h 1333436"/>
                <a:gd name="connsiteX294" fmla="*/ 12451 w 752994"/>
                <a:gd name="connsiteY294" fmla="*/ 665797 h 1333436"/>
                <a:gd name="connsiteX295" fmla="*/ 5111 w 752994"/>
                <a:gd name="connsiteY295" fmla="*/ 654994 h 1333436"/>
                <a:gd name="connsiteX296" fmla="*/ 2248 w 752994"/>
                <a:gd name="connsiteY296" fmla="*/ 645605 h 1333436"/>
                <a:gd name="connsiteX297" fmla="*/ 4496 w 752994"/>
                <a:gd name="connsiteY297" fmla="*/ 640497 h 1333436"/>
                <a:gd name="connsiteX298" fmla="*/ 6744 w 752994"/>
                <a:gd name="connsiteY298" fmla="*/ 632765 h 1333436"/>
                <a:gd name="connsiteX299" fmla="*/ 6744 w 752994"/>
                <a:gd name="connsiteY299" fmla="*/ 628485 h 1333436"/>
                <a:gd name="connsiteX300" fmla="*/ 6533 w 752994"/>
                <a:gd name="connsiteY300" fmla="*/ 620305 h 1333436"/>
                <a:gd name="connsiteX301" fmla="*/ 7359 w 752994"/>
                <a:gd name="connsiteY301" fmla="*/ 611745 h 1333436"/>
                <a:gd name="connsiteX302" fmla="*/ 11836 w 752994"/>
                <a:gd name="connsiteY302" fmla="*/ 602978 h 1333436"/>
                <a:gd name="connsiteX303" fmla="*/ 15103 w 752994"/>
                <a:gd name="connsiteY303" fmla="*/ 591760 h 1333436"/>
                <a:gd name="connsiteX304" fmla="*/ 14488 w 752994"/>
                <a:gd name="connsiteY304" fmla="*/ 584029 h 1333436"/>
                <a:gd name="connsiteX305" fmla="*/ 13873 w 752994"/>
                <a:gd name="connsiteY305" fmla="*/ 578299 h 1333436"/>
                <a:gd name="connsiteX306" fmla="*/ 10626 w 752994"/>
                <a:gd name="connsiteY306" fmla="*/ 568531 h 1333436"/>
                <a:gd name="connsiteX307" fmla="*/ 3670 w 752994"/>
                <a:gd name="connsiteY307" fmla="*/ 558107 h 1333436"/>
                <a:gd name="connsiteX308" fmla="*/ 0 w 752994"/>
                <a:gd name="connsiteY308" fmla="*/ 551377 h 1333436"/>
                <a:gd name="connsiteX309" fmla="*/ 0 w 752994"/>
                <a:gd name="connsiteY309" fmla="*/ 550997 h 1333436"/>
                <a:gd name="connsiteX310" fmla="*/ 4900 w 752994"/>
                <a:gd name="connsiteY310" fmla="*/ 531220 h 1333436"/>
                <a:gd name="connsiteX311" fmla="*/ 13873 w 752994"/>
                <a:gd name="connsiteY311" fmla="*/ 520589 h 1333436"/>
                <a:gd name="connsiteX312" fmla="*/ 18369 w 752994"/>
                <a:gd name="connsiteY312" fmla="*/ 516516 h 1333436"/>
                <a:gd name="connsiteX313" fmla="*/ 18773 w 752994"/>
                <a:gd name="connsiteY313" fmla="*/ 514272 h 1333436"/>
                <a:gd name="connsiteX314" fmla="*/ 23077 w 752994"/>
                <a:gd name="connsiteY314" fmla="*/ 506127 h 1333436"/>
                <a:gd name="connsiteX315" fmla="*/ 23884 w 752994"/>
                <a:gd name="connsiteY315" fmla="*/ 502261 h 1333436"/>
                <a:gd name="connsiteX316" fmla="*/ 23692 w 752994"/>
                <a:gd name="connsiteY316" fmla="*/ 496738 h 1333436"/>
                <a:gd name="connsiteX317" fmla="*/ 30013 w 752994"/>
                <a:gd name="connsiteY317" fmla="*/ 486556 h 1333436"/>
                <a:gd name="connsiteX318" fmla="*/ 36546 w 752994"/>
                <a:gd name="connsiteY318" fmla="*/ 470230 h 1333436"/>
                <a:gd name="connsiteX319" fmla="*/ 36546 w 752994"/>
                <a:gd name="connsiteY319" fmla="*/ 462671 h 1333436"/>
                <a:gd name="connsiteX320" fmla="*/ 36335 w 752994"/>
                <a:gd name="connsiteY320" fmla="*/ 461670 h 1333436"/>
                <a:gd name="connsiteX321" fmla="*/ 35931 w 752994"/>
                <a:gd name="connsiteY321" fmla="*/ 453110 h 1333436"/>
                <a:gd name="connsiteX322" fmla="*/ 38583 w 752994"/>
                <a:gd name="connsiteY322" fmla="*/ 442514 h 1333436"/>
                <a:gd name="connsiteX323" fmla="*/ 41043 w 752994"/>
                <a:gd name="connsiteY323" fmla="*/ 436991 h 1333436"/>
                <a:gd name="connsiteX324" fmla="*/ 41650 w 752994"/>
                <a:gd name="connsiteY324" fmla="*/ 437186 h 1333436"/>
                <a:gd name="connsiteX325" fmla="*/ 41239 w 752994"/>
                <a:gd name="connsiteY325" fmla="*/ 436549 h 1333436"/>
                <a:gd name="connsiteX326" fmla="*/ 37778 w 752994"/>
                <a:gd name="connsiteY326" fmla="*/ 433894 h 1333436"/>
                <a:gd name="connsiteX327" fmla="*/ 37169 w 752994"/>
                <a:gd name="connsiteY327" fmla="*/ 432261 h 1333436"/>
                <a:gd name="connsiteX328" fmla="*/ 37365 w 752994"/>
                <a:gd name="connsiteY328" fmla="*/ 429198 h 1333436"/>
                <a:gd name="connsiteX329" fmla="*/ 36756 w 752994"/>
                <a:gd name="connsiteY329" fmla="*/ 422272 h 1333436"/>
                <a:gd name="connsiteX330" fmla="*/ 36952 w 752994"/>
                <a:gd name="connsiteY330" fmla="*/ 418800 h 1333436"/>
                <a:gd name="connsiteX331" fmla="*/ 36756 w 752994"/>
                <a:gd name="connsiteY331" fmla="*/ 412487 h 1333436"/>
                <a:gd name="connsiteX332" fmla="*/ 40433 w 752994"/>
                <a:gd name="connsiteY332" fmla="*/ 406174 h 1333436"/>
                <a:gd name="connsiteX333" fmla="*/ 44720 w 752994"/>
                <a:gd name="connsiteY333" fmla="*/ 399435 h 1333436"/>
                <a:gd name="connsiteX334" fmla="*/ 44110 w 752994"/>
                <a:gd name="connsiteY334" fmla="*/ 389651 h 1333436"/>
                <a:gd name="connsiteX335" fmla="*/ 43894 w 752994"/>
                <a:gd name="connsiteY335" fmla="*/ 378437 h 1333436"/>
                <a:gd name="connsiteX336" fmla="*/ 47158 w 752994"/>
                <a:gd name="connsiteY336" fmla="*/ 371102 h 1333436"/>
                <a:gd name="connsiteX337" fmla="*/ 55731 w 752994"/>
                <a:gd name="connsiteY337" fmla="*/ 360909 h 1333436"/>
                <a:gd name="connsiteX338" fmla="*/ 57580 w 752994"/>
                <a:gd name="connsiteY338" fmla="*/ 355804 h 1333436"/>
                <a:gd name="connsiteX339" fmla="*/ 62673 w 752994"/>
                <a:gd name="connsiteY339" fmla="*/ 349695 h 1333436"/>
                <a:gd name="connsiteX340" fmla="*/ 65937 w 752994"/>
                <a:gd name="connsiteY340" fmla="*/ 348470 h 1333436"/>
                <a:gd name="connsiteX341" fmla="*/ 68395 w 752994"/>
                <a:gd name="connsiteY341" fmla="*/ 348674 h 1333436"/>
                <a:gd name="connsiteX342" fmla="*/ 70224 w 752994"/>
                <a:gd name="connsiteY342" fmla="*/ 347449 h 1333436"/>
                <a:gd name="connsiteX343" fmla="*/ 67785 w 752994"/>
                <a:gd name="connsiteY343" fmla="*/ 345203 h 1333436"/>
                <a:gd name="connsiteX344" fmla="*/ 65524 w 752994"/>
                <a:gd name="connsiteY344" fmla="*/ 343178 h 1333436"/>
                <a:gd name="connsiteX345" fmla="*/ 73095 w 752994"/>
                <a:gd name="connsiteY345" fmla="*/ 333376 h 1333436"/>
                <a:gd name="connsiteX346" fmla="*/ 73291 w 752994"/>
                <a:gd name="connsiteY346" fmla="*/ 333376 h 1333436"/>
                <a:gd name="connsiteX347" fmla="*/ 77991 w 752994"/>
                <a:gd name="connsiteY347" fmla="*/ 325838 h 1333436"/>
                <a:gd name="connsiteX348" fmla="*/ 82671 w 752994"/>
                <a:gd name="connsiteY348" fmla="*/ 313619 h 1333436"/>
                <a:gd name="connsiteX349" fmla="*/ 87980 w 752994"/>
                <a:gd name="connsiteY349" fmla="*/ 303018 h 1333436"/>
                <a:gd name="connsiteX350" fmla="*/ 92267 w 752994"/>
                <a:gd name="connsiteY350" fmla="*/ 291191 h 1333436"/>
                <a:gd name="connsiteX351" fmla="*/ 96553 w 752994"/>
                <a:gd name="connsiteY351" fmla="*/ 281202 h 1333436"/>
                <a:gd name="connsiteX352" fmla="*/ 99621 w 752994"/>
                <a:gd name="connsiteY352" fmla="*/ 274481 h 1333436"/>
                <a:gd name="connsiteX353" fmla="*/ 103082 w 752994"/>
                <a:gd name="connsiteY353" fmla="*/ 262450 h 1333436"/>
                <a:gd name="connsiteX354" fmla="*/ 107172 w 752994"/>
                <a:gd name="connsiteY354" fmla="*/ 254299 h 1333436"/>
                <a:gd name="connsiteX355" fmla="*/ 112481 w 752994"/>
                <a:gd name="connsiteY355" fmla="*/ 243697 h 1333436"/>
                <a:gd name="connsiteX356" fmla="*/ 117181 w 752994"/>
                <a:gd name="connsiteY356" fmla="*/ 232279 h 1333436"/>
                <a:gd name="connsiteX357" fmla="*/ 125951 w 752994"/>
                <a:gd name="connsiteY357" fmla="*/ 217389 h 1333436"/>
                <a:gd name="connsiteX358" fmla="*/ 136156 w 752994"/>
                <a:gd name="connsiteY358" fmla="*/ 202925 h 1333436"/>
                <a:gd name="connsiteX359" fmla="*/ 138811 w 752994"/>
                <a:gd name="connsiteY359" fmla="*/ 183339 h 1333436"/>
                <a:gd name="connsiteX360" fmla="*/ 148801 w 752994"/>
                <a:gd name="connsiteY360" fmla="*/ 167445 h 1333436"/>
                <a:gd name="connsiteX361" fmla="*/ 159616 w 752994"/>
                <a:gd name="connsiteY361" fmla="*/ 170712 h 1333436"/>
                <a:gd name="connsiteX362" fmla="*/ 173105 w 752994"/>
                <a:gd name="connsiteY362" fmla="*/ 175188 h 1333436"/>
                <a:gd name="connsiteX363" fmla="*/ 175347 w 752994"/>
                <a:gd name="connsiteY363" fmla="*/ 175188 h 1333436"/>
                <a:gd name="connsiteX364" fmla="*/ 175347 w 752994"/>
                <a:gd name="connsiteY364" fmla="*/ 173758 h 1333436"/>
                <a:gd name="connsiteX365" fmla="*/ 184975 w 752994"/>
                <a:gd name="connsiteY365" fmla="*/ 187393 h 1333436"/>
                <a:gd name="connsiteX366" fmla="*/ 184762 w 752994"/>
                <a:gd name="connsiteY366" fmla="*/ 184637 h 1333436"/>
                <a:gd name="connsiteX367" fmla="*/ 174971 w 752994"/>
                <a:gd name="connsiteY367" fmla="*/ 170774 h 1333436"/>
                <a:gd name="connsiteX368" fmla="*/ 174971 w 752994"/>
                <a:gd name="connsiteY368" fmla="*/ 169550 h 1333436"/>
                <a:gd name="connsiteX369" fmla="*/ 158851 w 752994"/>
                <a:gd name="connsiteY369" fmla="*/ 156924 h 1333436"/>
                <a:gd name="connsiteX370" fmla="*/ 147025 w 752994"/>
                <a:gd name="connsiteY370" fmla="*/ 145709 h 1333436"/>
                <a:gd name="connsiteX371" fmla="*/ 154364 w 752994"/>
                <a:gd name="connsiteY371" fmla="*/ 136335 h 1333436"/>
                <a:gd name="connsiteX372" fmla="*/ 161511 w 752994"/>
                <a:gd name="connsiteY372" fmla="*/ 131042 h 1333436"/>
                <a:gd name="connsiteX373" fmla="*/ 160902 w 752994"/>
                <a:gd name="connsiteY373" fmla="*/ 128384 h 1333436"/>
                <a:gd name="connsiteX374" fmla="*/ 160277 w 752994"/>
                <a:gd name="connsiteY374" fmla="*/ 127778 h 1333436"/>
                <a:gd name="connsiteX375" fmla="*/ 154973 w 752994"/>
                <a:gd name="connsiteY375" fmla="*/ 122077 h 1333436"/>
                <a:gd name="connsiteX376" fmla="*/ 160277 w 752994"/>
                <a:gd name="connsiteY376" fmla="*/ 115140 h 1333436"/>
                <a:gd name="connsiteX377" fmla="*/ 165181 w 752994"/>
                <a:gd name="connsiteY377" fmla="*/ 108215 h 1333436"/>
                <a:gd name="connsiteX378" fmla="*/ 161303 w 752994"/>
                <a:gd name="connsiteY378" fmla="*/ 104146 h 1333436"/>
                <a:gd name="connsiteX379" fmla="*/ 157842 w 752994"/>
                <a:gd name="connsiteY379" fmla="*/ 104542 h 1333436"/>
                <a:gd name="connsiteX380" fmla="*/ 157024 w 752994"/>
                <a:gd name="connsiteY380" fmla="*/ 102304 h 1333436"/>
                <a:gd name="connsiteX381" fmla="*/ 160694 w 752994"/>
                <a:gd name="connsiteY381" fmla="*/ 55437 h 1333436"/>
                <a:gd name="connsiteX382" fmla="*/ 160486 w 752994"/>
                <a:gd name="connsiteY382" fmla="*/ 31991 h 1333436"/>
                <a:gd name="connsiteX383" fmla="*/ 164972 w 752994"/>
                <a:gd name="connsiteY383" fmla="*/ 18141 h 1333436"/>
                <a:gd name="connsiteX384" fmla="*/ 171911 w 752994"/>
                <a:gd name="connsiteY384" fmla="*/ 11204 h 1333436"/>
                <a:gd name="connsiteX385" fmla="*/ 187406 w 752994"/>
                <a:gd name="connsiteY385" fmla="*/ 21801 h 1333436"/>
                <a:gd name="connsiteX386" fmla="*/ 210866 w 752994"/>
                <a:gd name="connsiteY386" fmla="*/ 37086 h 1333436"/>
                <a:gd name="connsiteX387" fmla="*/ 219230 w 752994"/>
                <a:gd name="connsiteY387" fmla="*/ 41166 h 1333436"/>
                <a:gd name="connsiteX388" fmla="*/ 226778 w 752994"/>
                <a:gd name="connsiteY388" fmla="*/ 47486 h 1333436"/>
                <a:gd name="connsiteX389" fmla="*/ 236152 w 752994"/>
                <a:gd name="connsiteY389" fmla="*/ 52370 h 1333436"/>
                <a:gd name="connsiteX390" fmla="*/ 239629 w 752994"/>
                <a:gd name="connsiteY390" fmla="*/ 58491 h 1333436"/>
                <a:gd name="connsiteX391" fmla="*/ 239629 w 752994"/>
                <a:gd name="connsiteY391" fmla="*/ 63376 h 1333436"/>
                <a:gd name="connsiteX392" fmla="*/ 236568 w 752994"/>
                <a:gd name="connsiteY392" fmla="*/ 67457 h 1333436"/>
                <a:gd name="connsiteX393" fmla="*/ 231264 w 752994"/>
                <a:gd name="connsiteY393" fmla="*/ 69905 h 1333436"/>
                <a:gd name="connsiteX394" fmla="*/ 216778 w 752994"/>
                <a:gd name="connsiteY394" fmla="*/ 82741 h 1333436"/>
                <a:gd name="connsiteX395" fmla="*/ 214134 w 752994"/>
                <a:gd name="connsiteY395" fmla="*/ 93536 h 1333436"/>
                <a:gd name="connsiteX396" fmla="*/ 214535 w 752994"/>
                <a:gd name="connsiteY396" fmla="*/ 96801 h 1333436"/>
                <a:gd name="connsiteX397" fmla="*/ 216378 w 752994"/>
                <a:gd name="connsiteY397" fmla="*/ 96801 h 1333436"/>
                <a:gd name="connsiteX398" fmla="*/ 230046 w 752994"/>
                <a:gd name="connsiteY398" fmla="*/ 85387 h 1333436"/>
                <a:gd name="connsiteX399" fmla="*/ 243298 w 752994"/>
                <a:gd name="connsiteY399" fmla="*/ 75198 h 1333436"/>
                <a:gd name="connsiteX400" fmla="*/ 246760 w 752994"/>
                <a:gd name="connsiteY400" fmla="*/ 77646 h 1333436"/>
                <a:gd name="connsiteX401" fmla="*/ 255541 w 752994"/>
                <a:gd name="connsiteY401" fmla="*/ 63376 h 1333436"/>
                <a:gd name="connsiteX402" fmla="*/ 259611 w 752994"/>
                <a:gd name="connsiteY402" fmla="*/ 43405 h 1333436"/>
                <a:gd name="connsiteX403" fmla="*/ 256967 w 752994"/>
                <a:gd name="connsiteY403" fmla="*/ 38520 h 1333436"/>
                <a:gd name="connsiteX404" fmla="*/ 253906 w 752994"/>
                <a:gd name="connsiteY404" fmla="*/ 34242 h 1333436"/>
                <a:gd name="connsiteX405" fmla="*/ 256967 w 752994"/>
                <a:gd name="connsiteY405" fmla="*/ 30161 h 1333436"/>
                <a:gd name="connsiteX406" fmla="*/ 262063 w 752994"/>
                <a:gd name="connsiteY406" fmla="*/ 27712 h 1333436"/>
                <a:gd name="connsiteX407" fmla="*/ 264915 w 752994"/>
                <a:gd name="connsiteY407" fmla="*/ 23026 h 1333436"/>
                <a:gd name="connsiteX408" fmla="*/ 267976 w 752994"/>
                <a:gd name="connsiteY408" fmla="*/ 22618 h 1333436"/>
                <a:gd name="connsiteX409" fmla="*/ 270427 w 752994"/>
                <a:gd name="connsiteY409" fmla="*/ 20787 h 1333436"/>
                <a:gd name="connsiteX410" fmla="*/ 263088 w 752994"/>
                <a:gd name="connsiteY410" fmla="*/ 13652 h 1333436"/>
                <a:gd name="connsiteX411" fmla="*/ 255541 w 752994"/>
                <a:gd name="connsiteY411" fmla="*/ 3055 h 1333436"/>
                <a:gd name="connsiteX412" fmla="*/ 256358 w 752994"/>
                <a:gd name="connsiteY412" fmla="*/ 1224 h 1333436"/>
                <a:gd name="connsiteX413" fmla="*/ 257159 w 752994"/>
                <a:gd name="connsiteY413"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3481 w 752994"/>
                <a:gd name="connsiteY19" fmla="*/ 285608 h 1333436"/>
                <a:gd name="connsiteX20" fmla="*/ 453944 w 752994"/>
                <a:gd name="connsiteY20" fmla="*/ 286495 h 1333436"/>
                <a:gd name="connsiteX21" fmla="*/ 457539 w 752994"/>
                <a:gd name="connsiteY21" fmla="*/ 290781 h 1333436"/>
                <a:gd name="connsiteX22" fmla="*/ 457408 w 752994"/>
                <a:gd name="connsiteY22" fmla="*/ 290281 h 1333436"/>
                <a:gd name="connsiteX23" fmla="*/ 453481 w 752994"/>
                <a:gd name="connsiteY23" fmla="*/ 285608 h 1333436"/>
                <a:gd name="connsiteX24" fmla="*/ 184180 w 752994"/>
                <a:gd name="connsiteY24" fmla="*/ 213866 h 1333436"/>
                <a:gd name="connsiteX25" fmla="*/ 184117 w 752994"/>
                <a:gd name="connsiteY25" fmla="*/ 214326 h 1333436"/>
                <a:gd name="connsiteX26" fmla="*/ 185553 w 752994"/>
                <a:gd name="connsiteY26" fmla="*/ 222494 h 1333436"/>
                <a:gd name="connsiteX27" fmla="*/ 188600 w 752994"/>
                <a:gd name="connsiteY27" fmla="*/ 226970 h 1333436"/>
                <a:gd name="connsiteX28" fmla="*/ 195542 w 752994"/>
                <a:gd name="connsiteY28" fmla="*/ 231871 h 1333436"/>
                <a:gd name="connsiteX29" fmla="*/ 203093 w 752994"/>
                <a:gd name="connsiteY29" fmla="*/ 233896 h 1333436"/>
                <a:gd name="connsiteX30" fmla="*/ 217192 w 752994"/>
                <a:gd name="connsiteY30" fmla="*/ 232075 h 1333436"/>
                <a:gd name="connsiteX31" fmla="*/ 225136 w 752994"/>
                <a:gd name="connsiteY31" fmla="*/ 229829 h 1333436"/>
                <a:gd name="connsiteX32" fmla="*/ 235558 w 752994"/>
                <a:gd name="connsiteY32" fmla="*/ 232483 h 1333436"/>
                <a:gd name="connsiteX33" fmla="*/ 242499 w 752994"/>
                <a:gd name="connsiteY33" fmla="*/ 237163 h 1333436"/>
                <a:gd name="connsiteX34" fmla="*/ 248418 w 752994"/>
                <a:gd name="connsiteY34" fmla="*/ 244701 h 1333436"/>
                <a:gd name="connsiteX35" fmla="*/ 255359 w 752994"/>
                <a:gd name="connsiteY35" fmla="*/ 244906 h 1333436"/>
                <a:gd name="connsiteX36" fmla="*/ 258210 w 752994"/>
                <a:gd name="connsiteY36" fmla="*/ 244906 h 1333436"/>
                <a:gd name="connsiteX37" fmla="*/ 263303 w 752994"/>
                <a:gd name="connsiteY37" fmla="*/ 246131 h 1333436"/>
                <a:gd name="connsiteX38" fmla="*/ 269438 w 752994"/>
                <a:gd name="connsiteY38" fmla="*/ 243697 h 1333436"/>
                <a:gd name="connsiteX39" fmla="*/ 274944 w 752994"/>
                <a:gd name="connsiteY39" fmla="*/ 241451 h 1333436"/>
                <a:gd name="connsiteX40" fmla="*/ 281276 w 752994"/>
                <a:gd name="connsiteY40" fmla="*/ 245722 h 1333436"/>
                <a:gd name="connsiteX41" fmla="*/ 289240 w 752994"/>
                <a:gd name="connsiteY41" fmla="*/ 250419 h 1333436"/>
                <a:gd name="connsiteX42" fmla="*/ 297597 w 752994"/>
                <a:gd name="connsiteY42" fmla="*/ 248581 h 1333436"/>
                <a:gd name="connsiteX43" fmla="*/ 310261 w 752994"/>
                <a:gd name="connsiteY43" fmla="*/ 246539 h 1333436"/>
                <a:gd name="connsiteX44" fmla="*/ 324340 w 752994"/>
                <a:gd name="connsiteY44" fmla="*/ 244497 h 1333436"/>
                <a:gd name="connsiteX45" fmla="*/ 333523 w 752994"/>
                <a:gd name="connsiteY45" fmla="*/ 243289 h 1333436"/>
                <a:gd name="connsiteX46" fmla="*/ 341271 w 752994"/>
                <a:gd name="connsiteY46" fmla="*/ 246539 h 1333436"/>
                <a:gd name="connsiteX47" fmla="*/ 348428 w 752994"/>
                <a:gd name="connsiteY47" fmla="*/ 250011 h 1333436"/>
                <a:gd name="connsiteX48" fmla="*/ 351279 w 752994"/>
                <a:gd name="connsiteY48" fmla="*/ 247356 h 1333436"/>
                <a:gd name="connsiteX49" fmla="*/ 355566 w 752994"/>
                <a:gd name="connsiteY49" fmla="*/ 244293 h 1333436"/>
                <a:gd name="connsiteX50" fmla="*/ 365772 w 752994"/>
                <a:gd name="connsiteY50" fmla="*/ 248785 h 1333436"/>
                <a:gd name="connsiteX51" fmla="*/ 381483 w 752994"/>
                <a:gd name="connsiteY51" fmla="*/ 254912 h 1333436"/>
                <a:gd name="connsiteX52" fmla="*/ 381896 w 752994"/>
                <a:gd name="connsiteY52" fmla="*/ 255320 h 1333436"/>
                <a:gd name="connsiteX53" fmla="*/ 395366 w 752994"/>
                <a:gd name="connsiteY53" fmla="*/ 257753 h 1333436"/>
                <a:gd name="connsiteX54" fmla="*/ 414145 w 752994"/>
                <a:gd name="connsiteY54" fmla="*/ 262450 h 1333436"/>
                <a:gd name="connsiteX55" fmla="*/ 431292 w 752994"/>
                <a:gd name="connsiteY55" fmla="*/ 268151 h 1333436"/>
                <a:gd name="connsiteX56" fmla="*/ 445196 w 752994"/>
                <a:gd name="connsiteY56" fmla="*/ 269890 h 1333436"/>
                <a:gd name="connsiteX57" fmla="*/ 444145 w 752994"/>
                <a:gd name="connsiteY57" fmla="*/ 267441 h 1333436"/>
                <a:gd name="connsiteX58" fmla="*/ 444145 w 752994"/>
                <a:gd name="connsiteY58" fmla="*/ 267034 h 1333436"/>
                <a:gd name="connsiteX59" fmla="*/ 444155 w 752994"/>
                <a:gd name="connsiteY59" fmla="*/ 266811 h 1333436"/>
                <a:gd name="connsiteX60" fmla="*/ 430733 w 752994"/>
                <a:gd name="connsiteY60" fmla="*/ 265139 h 1333436"/>
                <a:gd name="connsiteX61" fmla="*/ 413603 w 752994"/>
                <a:gd name="connsiteY61" fmla="*/ 259426 h 1333436"/>
                <a:gd name="connsiteX62" fmla="*/ 394839 w 752994"/>
                <a:gd name="connsiteY62" fmla="*/ 254739 h 1333436"/>
                <a:gd name="connsiteX63" fmla="*/ 381379 w 752994"/>
                <a:gd name="connsiteY63" fmla="*/ 252303 h 1333436"/>
                <a:gd name="connsiteX64" fmla="*/ 380962 w 752994"/>
                <a:gd name="connsiteY64" fmla="*/ 251895 h 1333436"/>
                <a:gd name="connsiteX65" fmla="*/ 365258 w 752994"/>
                <a:gd name="connsiteY65" fmla="*/ 245774 h 1333436"/>
                <a:gd name="connsiteX66" fmla="*/ 355067 w 752994"/>
                <a:gd name="connsiteY66" fmla="*/ 241285 h 1333436"/>
                <a:gd name="connsiteX67" fmla="*/ 350789 w 752994"/>
                <a:gd name="connsiteY67" fmla="*/ 244352 h 1333436"/>
                <a:gd name="connsiteX68" fmla="*/ 347920 w 752994"/>
                <a:gd name="connsiteY68" fmla="*/ 246998 h 1333436"/>
                <a:gd name="connsiteX69" fmla="*/ 340789 w 752994"/>
                <a:gd name="connsiteY69" fmla="*/ 243536 h 1333436"/>
                <a:gd name="connsiteX70" fmla="*/ 333034 w 752994"/>
                <a:gd name="connsiteY70" fmla="*/ 240271 h 1333436"/>
                <a:gd name="connsiteX71" fmla="*/ 323868 w 752994"/>
                <a:gd name="connsiteY71" fmla="*/ 241495 h 1333436"/>
                <a:gd name="connsiteX72" fmla="*/ 309783 w 752994"/>
                <a:gd name="connsiteY72" fmla="*/ 243536 h 1333436"/>
                <a:gd name="connsiteX73" fmla="*/ 297140 w 752994"/>
                <a:gd name="connsiteY73" fmla="*/ 245576 h 1333436"/>
                <a:gd name="connsiteX74" fmla="*/ 288775 w 752994"/>
                <a:gd name="connsiteY74" fmla="*/ 247406 h 1333436"/>
                <a:gd name="connsiteX75" fmla="*/ 280827 w 752994"/>
                <a:gd name="connsiteY75" fmla="*/ 242720 h 1333436"/>
                <a:gd name="connsiteX76" fmla="*/ 274497 w 752994"/>
                <a:gd name="connsiteY76" fmla="*/ 238441 h 1333436"/>
                <a:gd name="connsiteX77" fmla="*/ 269001 w 752994"/>
                <a:gd name="connsiteY77" fmla="*/ 240679 h 1333436"/>
                <a:gd name="connsiteX78" fmla="*/ 262880 w 752994"/>
                <a:gd name="connsiteY78" fmla="*/ 243128 h 1333436"/>
                <a:gd name="connsiteX79" fmla="*/ 260028 w 752994"/>
                <a:gd name="connsiteY79" fmla="*/ 242720 h 1333436"/>
                <a:gd name="connsiteX80" fmla="*/ 257784 w 752994"/>
                <a:gd name="connsiteY80" fmla="*/ 241904 h 1333436"/>
                <a:gd name="connsiteX81" fmla="*/ 247994 w 752994"/>
                <a:gd name="connsiteY81" fmla="*/ 241693 h 1333436"/>
                <a:gd name="connsiteX82" fmla="*/ 242081 w 752994"/>
                <a:gd name="connsiteY82" fmla="*/ 234162 h 1333436"/>
                <a:gd name="connsiteX83" fmla="*/ 235142 w 752994"/>
                <a:gd name="connsiteY83" fmla="*/ 229476 h 1333436"/>
                <a:gd name="connsiteX84" fmla="*/ 224742 w 752994"/>
                <a:gd name="connsiteY84" fmla="*/ 226817 h 1333436"/>
                <a:gd name="connsiteX85" fmla="*/ 216778 w 752994"/>
                <a:gd name="connsiteY85" fmla="*/ 229068 h 1333436"/>
                <a:gd name="connsiteX86" fmla="*/ 202709 w 752994"/>
                <a:gd name="connsiteY86" fmla="*/ 230898 h 1333436"/>
                <a:gd name="connsiteX87" fmla="*/ 195162 w 752994"/>
                <a:gd name="connsiteY87" fmla="*/ 228857 h 1333436"/>
                <a:gd name="connsiteX88" fmla="*/ 188223 w 752994"/>
                <a:gd name="connsiteY88" fmla="*/ 223973 h 1333436"/>
                <a:gd name="connsiteX89" fmla="*/ 185163 w 752994"/>
                <a:gd name="connsiteY89" fmla="*/ 219484 h 1333436"/>
                <a:gd name="connsiteX90" fmla="*/ 184180 w 752994"/>
                <a:gd name="connsiteY90" fmla="*/ 213866 h 1333436"/>
                <a:gd name="connsiteX91" fmla="*/ 257159 w 752994"/>
                <a:gd name="connsiteY91" fmla="*/ 0 h 1333436"/>
                <a:gd name="connsiteX92" fmla="*/ 493147 w 752994"/>
                <a:gd name="connsiteY92" fmla="*/ 73157 h 1333436"/>
                <a:gd name="connsiteX93" fmla="*/ 492970 w 752994"/>
                <a:gd name="connsiteY93" fmla="*/ 73792 h 1333436"/>
                <a:gd name="connsiteX94" fmla="*/ 525816 w 752994"/>
                <a:gd name="connsiteY94" fmla="*/ 82491 h 1333436"/>
                <a:gd name="connsiteX95" fmla="*/ 520098 w 752994"/>
                <a:gd name="connsiteY95" fmla="*/ 111245 h 1333436"/>
                <a:gd name="connsiteX96" fmla="*/ 512552 w 752994"/>
                <a:gd name="connsiteY96" fmla="*/ 143854 h 1333436"/>
                <a:gd name="connsiteX97" fmla="*/ 517849 w 752994"/>
                <a:gd name="connsiteY97" fmla="*/ 157740 h 1333436"/>
                <a:gd name="connsiteX98" fmla="*/ 523160 w 752994"/>
                <a:gd name="connsiteY98" fmla="*/ 172009 h 1333436"/>
                <a:gd name="connsiteX99" fmla="*/ 521535 w 752994"/>
                <a:gd name="connsiteY99" fmla="*/ 178928 h 1333436"/>
                <a:gd name="connsiteX100" fmla="*/ 520098 w 752994"/>
                <a:gd name="connsiteY100" fmla="*/ 186279 h 1333436"/>
                <a:gd name="connsiteX101" fmla="*/ 526019 w 752994"/>
                <a:gd name="connsiteY101" fmla="*/ 193629 h 1333436"/>
                <a:gd name="connsiteX102" fmla="*/ 537251 w 752994"/>
                <a:gd name="connsiteY102" fmla="*/ 206270 h 1333436"/>
                <a:gd name="connsiteX103" fmla="*/ 542765 w 752994"/>
                <a:gd name="connsiteY103" fmla="*/ 217475 h 1333436"/>
                <a:gd name="connsiteX104" fmla="*/ 546857 w 752994"/>
                <a:gd name="connsiteY104" fmla="*/ 230930 h 1333436"/>
                <a:gd name="connsiteX105" fmla="*/ 549499 w 752994"/>
                <a:gd name="connsiteY105" fmla="*/ 235622 h 1333436"/>
                <a:gd name="connsiteX106" fmla="*/ 553388 w 752994"/>
                <a:gd name="connsiteY106" fmla="*/ 240722 h 1333436"/>
                <a:gd name="connsiteX107" fmla="*/ 557465 w 752994"/>
                <a:gd name="connsiteY107" fmla="*/ 246037 h 1333436"/>
                <a:gd name="connsiteX108" fmla="*/ 561761 w 752994"/>
                <a:gd name="connsiteY108" fmla="*/ 248671 h 1333436"/>
                <a:gd name="connsiteX109" fmla="*/ 567478 w 752994"/>
                <a:gd name="connsiteY109" fmla="*/ 247665 h 1333436"/>
                <a:gd name="connsiteX110" fmla="*/ 569931 w 752994"/>
                <a:gd name="connsiteY110" fmla="*/ 249293 h 1333436"/>
                <a:gd name="connsiteX111" fmla="*/ 570540 w 752994"/>
                <a:gd name="connsiteY111" fmla="*/ 251951 h 1333436"/>
                <a:gd name="connsiteX112" fmla="*/ 561964 w 752994"/>
                <a:gd name="connsiteY112" fmla="*/ 267656 h 1333436"/>
                <a:gd name="connsiteX113" fmla="*/ 553591 w 752994"/>
                <a:gd name="connsiteY113" fmla="*/ 289659 h 1333436"/>
                <a:gd name="connsiteX114" fmla="*/ 554810 w 752994"/>
                <a:gd name="connsiteY114" fmla="*/ 292939 h 1333436"/>
                <a:gd name="connsiteX115" fmla="*/ 556246 w 752994"/>
                <a:gd name="connsiteY115" fmla="*/ 299260 h 1333436"/>
                <a:gd name="connsiteX116" fmla="*/ 552778 w 752994"/>
                <a:gd name="connsiteY116" fmla="*/ 301917 h 1333436"/>
                <a:gd name="connsiteX117" fmla="*/ 549295 w 752994"/>
                <a:gd name="connsiteY117" fmla="*/ 306993 h 1333436"/>
                <a:gd name="connsiteX118" fmla="*/ 547061 w 752994"/>
                <a:gd name="connsiteY118" fmla="*/ 313122 h 1333436"/>
                <a:gd name="connsiteX119" fmla="*/ 544811 w 752994"/>
                <a:gd name="connsiteY119" fmla="*/ 316593 h 1333436"/>
                <a:gd name="connsiteX120" fmla="*/ 549919 w 752994"/>
                <a:gd name="connsiteY120" fmla="*/ 322698 h 1333436"/>
                <a:gd name="connsiteX121" fmla="*/ 553184 w 752994"/>
                <a:gd name="connsiteY121" fmla="*/ 325955 h 1333436"/>
                <a:gd name="connsiteX122" fmla="*/ 555840 w 752994"/>
                <a:gd name="connsiteY122" fmla="*/ 328205 h 1333436"/>
                <a:gd name="connsiteX123" fmla="*/ 574212 w 752994"/>
                <a:gd name="connsiteY123" fmla="*/ 318820 h 1333436"/>
                <a:gd name="connsiteX124" fmla="*/ 579523 w 752994"/>
                <a:gd name="connsiteY124" fmla="*/ 326577 h 1333436"/>
                <a:gd name="connsiteX125" fmla="*/ 580539 w 752994"/>
                <a:gd name="connsiteY125" fmla="*/ 334933 h 1333436"/>
                <a:gd name="connsiteX126" fmla="*/ 579726 w 752994"/>
                <a:gd name="connsiteY126" fmla="*/ 343097 h 1333436"/>
                <a:gd name="connsiteX127" fmla="*/ 581366 w 752994"/>
                <a:gd name="connsiteY127" fmla="*/ 350231 h 1333436"/>
                <a:gd name="connsiteX128" fmla="*/ 586256 w 752994"/>
                <a:gd name="connsiteY128" fmla="*/ 355930 h 1333436"/>
                <a:gd name="connsiteX129" fmla="*/ 589536 w 752994"/>
                <a:gd name="connsiteY129" fmla="*/ 362059 h 1333436"/>
                <a:gd name="connsiteX130" fmla="*/ 588099 w 752994"/>
                <a:gd name="connsiteY130" fmla="*/ 369600 h 1333436"/>
                <a:gd name="connsiteX131" fmla="*/ 586459 w 752994"/>
                <a:gd name="connsiteY131" fmla="*/ 377357 h 1333436"/>
                <a:gd name="connsiteX132" fmla="*/ 588709 w 752994"/>
                <a:gd name="connsiteY132" fmla="*/ 381835 h 1333436"/>
                <a:gd name="connsiteX133" fmla="*/ 595036 w 752994"/>
                <a:gd name="connsiteY133" fmla="*/ 382457 h 1333436"/>
                <a:gd name="connsiteX134" fmla="*/ 599331 w 752994"/>
                <a:gd name="connsiteY134" fmla="*/ 385306 h 1333436"/>
                <a:gd name="connsiteX135" fmla="*/ 601987 w 752994"/>
                <a:gd name="connsiteY135" fmla="*/ 391004 h 1333436"/>
                <a:gd name="connsiteX136" fmla="*/ 602799 w 752994"/>
                <a:gd name="connsiteY136" fmla="*/ 404076 h 1333436"/>
                <a:gd name="connsiteX137" fmla="*/ 606892 w 752994"/>
                <a:gd name="connsiteY137" fmla="*/ 415688 h 1333436"/>
                <a:gd name="connsiteX138" fmla="*/ 610563 w 752994"/>
                <a:gd name="connsiteY138" fmla="*/ 412217 h 1333436"/>
                <a:gd name="connsiteX139" fmla="*/ 617920 w 752994"/>
                <a:gd name="connsiteY139" fmla="*/ 408769 h 1333436"/>
                <a:gd name="connsiteX140" fmla="*/ 624654 w 752994"/>
                <a:gd name="connsiteY140" fmla="*/ 411211 h 1333436"/>
                <a:gd name="connsiteX141" fmla="*/ 634652 w 752994"/>
                <a:gd name="connsiteY141" fmla="*/ 410182 h 1333436"/>
                <a:gd name="connsiteX142" fmla="*/ 640573 w 752994"/>
                <a:gd name="connsiteY142" fmla="*/ 407739 h 1333436"/>
                <a:gd name="connsiteX143" fmla="*/ 646711 w 752994"/>
                <a:gd name="connsiteY143" fmla="*/ 410589 h 1333436"/>
                <a:gd name="connsiteX144" fmla="*/ 650383 w 752994"/>
                <a:gd name="connsiteY144" fmla="*/ 410589 h 1333436"/>
                <a:gd name="connsiteX145" fmla="*/ 654257 w 752994"/>
                <a:gd name="connsiteY145" fmla="*/ 411618 h 1333436"/>
                <a:gd name="connsiteX146" fmla="*/ 656913 w 752994"/>
                <a:gd name="connsiteY146" fmla="*/ 413653 h 1333436"/>
                <a:gd name="connsiteX147" fmla="*/ 660802 w 752994"/>
                <a:gd name="connsiteY147" fmla="*/ 415090 h 1333436"/>
                <a:gd name="connsiteX148" fmla="*/ 669581 w 752994"/>
                <a:gd name="connsiteY148" fmla="*/ 415904 h 1333436"/>
                <a:gd name="connsiteX149" fmla="*/ 672237 w 752994"/>
                <a:gd name="connsiteY149" fmla="*/ 415688 h 1333436"/>
                <a:gd name="connsiteX150" fmla="*/ 675705 w 752994"/>
                <a:gd name="connsiteY150" fmla="*/ 409367 h 1333436"/>
                <a:gd name="connsiteX151" fmla="*/ 679986 w 752994"/>
                <a:gd name="connsiteY151" fmla="*/ 403238 h 1333436"/>
                <a:gd name="connsiteX152" fmla="*/ 693264 w 752994"/>
                <a:gd name="connsiteY152" fmla="*/ 419567 h 1333436"/>
                <a:gd name="connsiteX153" fmla="*/ 688563 w 752994"/>
                <a:gd name="connsiteY153" fmla="*/ 448321 h 1333436"/>
                <a:gd name="connsiteX154" fmla="*/ 663949 w 752994"/>
                <a:gd name="connsiteY154" fmla="*/ 590165 h 1333436"/>
                <a:gd name="connsiteX155" fmla="*/ 666304 w 752994"/>
                <a:gd name="connsiteY155" fmla="*/ 590504 h 1333436"/>
                <a:gd name="connsiteX156" fmla="*/ 655288 w 752994"/>
                <a:gd name="connsiteY156" fmla="*/ 656178 h 1333436"/>
                <a:gd name="connsiteX157" fmla="*/ 681808 w 752994"/>
                <a:gd name="connsiteY157" fmla="*/ 662301 h 1333436"/>
                <a:gd name="connsiteX158" fmla="*/ 752994 w 752994"/>
                <a:gd name="connsiteY158" fmla="*/ 675560 h 1333436"/>
                <a:gd name="connsiteX159" fmla="*/ 714651 w 752994"/>
                <a:gd name="connsiteY159" fmla="*/ 946985 h 1333436"/>
                <a:gd name="connsiteX160" fmla="*/ 693426 w 752994"/>
                <a:gd name="connsiteY160" fmla="*/ 944128 h 1333436"/>
                <a:gd name="connsiteX161" fmla="*/ 457412 w 752994"/>
                <a:gd name="connsiteY161" fmla="*/ 897429 h 1333436"/>
                <a:gd name="connsiteX162" fmla="*/ 524385 w 752994"/>
                <a:gd name="connsiteY162" fmla="*/ 564267 h 1333436"/>
                <a:gd name="connsiteX163" fmla="*/ 520684 w 752994"/>
                <a:gd name="connsiteY163" fmla="*/ 563475 h 1333436"/>
                <a:gd name="connsiteX164" fmla="*/ 453578 w 752994"/>
                <a:gd name="connsiteY164" fmla="*/ 897215 h 1333436"/>
                <a:gd name="connsiteX165" fmla="*/ 442753 w 752994"/>
                <a:gd name="connsiteY165" fmla="*/ 950656 h 1333436"/>
                <a:gd name="connsiteX166" fmla="*/ 442550 w 752994"/>
                <a:gd name="connsiteY166" fmla="*/ 951272 h 1333436"/>
                <a:gd name="connsiteX167" fmla="*/ 439290 w 752994"/>
                <a:gd name="connsiteY167" fmla="*/ 958807 h 1333436"/>
                <a:gd name="connsiteX168" fmla="*/ 432957 w 752994"/>
                <a:gd name="connsiteY168" fmla="*/ 963487 h 1333436"/>
                <a:gd name="connsiteX169" fmla="*/ 429291 w 752994"/>
                <a:gd name="connsiteY169" fmla="*/ 959817 h 1333436"/>
                <a:gd name="connsiteX170" fmla="*/ 425610 w 752994"/>
                <a:gd name="connsiteY170" fmla="*/ 955532 h 1333436"/>
                <a:gd name="connsiteX171" fmla="*/ 419292 w 752994"/>
                <a:gd name="connsiteY171" fmla="*/ 953291 h 1333436"/>
                <a:gd name="connsiteX172" fmla="*/ 414597 w 752994"/>
                <a:gd name="connsiteY172" fmla="*/ 951272 h 1333436"/>
                <a:gd name="connsiteX173" fmla="*/ 407047 w 752994"/>
                <a:gd name="connsiteY173" fmla="*/ 956148 h 1333436"/>
                <a:gd name="connsiteX174" fmla="*/ 403787 w 752994"/>
                <a:gd name="connsiteY174" fmla="*/ 963290 h 1333436"/>
                <a:gd name="connsiteX175" fmla="*/ 404052 w 752994"/>
                <a:gd name="connsiteY175" fmla="*/ 963688 h 1333436"/>
                <a:gd name="connsiteX176" fmla="*/ 406917 w 752994"/>
                <a:gd name="connsiteY176" fmla="*/ 957427 h 1333436"/>
                <a:gd name="connsiteX177" fmla="*/ 414454 w 752994"/>
                <a:gd name="connsiteY177" fmla="*/ 952534 h 1333436"/>
                <a:gd name="connsiteX178" fmla="*/ 419146 w 752994"/>
                <a:gd name="connsiteY178" fmla="*/ 954567 h 1333436"/>
                <a:gd name="connsiteX179" fmla="*/ 425469 w 752994"/>
                <a:gd name="connsiteY179" fmla="*/ 956803 h 1333436"/>
                <a:gd name="connsiteX180" fmla="*/ 429146 w 752994"/>
                <a:gd name="connsiteY180" fmla="*/ 961092 h 1333436"/>
                <a:gd name="connsiteX181" fmla="*/ 432807 w 752994"/>
                <a:gd name="connsiteY181" fmla="*/ 964757 h 1333436"/>
                <a:gd name="connsiteX182" fmla="*/ 439129 w 752994"/>
                <a:gd name="connsiteY182" fmla="*/ 960065 h 1333436"/>
                <a:gd name="connsiteX183" fmla="*/ 442407 w 752994"/>
                <a:gd name="connsiteY183" fmla="*/ 952534 h 1333436"/>
                <a:gd name="connsiteX184" fmla="*/ 442607 w 752994"/>
                <a:gd name="connsiteY184" fmla="*/ 951909 h 1333436"/>
                <a:gd name="connsiteX185" fmla="*/ 453422 w 752994"/>
                <a:gd name="connsiteY185" fmla="*/ 898487 h 1333436"/>
                <a:gd name="connsiteX186" fmla="*/ 689408 w 752994"/>
                <a:gd name="connsiteY186" fmla="*/ 945184 h 1333436"/>
                <a:gd name="connsiteX187" fmla="*/ 710622 w 752994"/>
                <a:gd name="connsiteY187" fmla="*/ 948043 h 1333436"/>
                <a:gd name="connsiteX188" fmla="*/ 654533 w 752994"/>
                <a:gd name="connsiteY188" fmla="*/ 1333436 h 1333436"/>
                <a:gd name="connsiteX189" fmla="*/ 546831 w 752994"/>
                <a:gd name="connsiteY189" fmla="*/ 1317126 h 1333436"/>
                <a:gd name="connsiteX190" fmla="*/ 351227 w 752994"/>
                <a:gd name="connsiteY190" fmla="*/ 1194172 h 1333436"/>
                <a:gd name="connsiteX191" fmla="*/ 361011 w 752994"/>
                <a:gd name="connsiteY191" fmla="*/ 1182755 h 1333436"/>
                <a:gd name="connsiteX192" fmla="*/ 368981 w 752994"/>
                <a:gd name="connsiteY192" fmla="*/ 1182130 h 1333436"/>
                <a:gd name="connsiteX193" fmla="*/ 369571 w 752994"/>
                <a:gd name="connsiteY193" fmla="*/ 1181558 h 1333436"/>
                <a:gd name="connsiteX194" fmla="*/ 362372 w 752994"/>
                <a:gd name="connsiteY194" fmla="*/ 1182120 h 1333436"/>
                <a:gd name="connsiteX195" fmla="*/ 229464 w 752994"/>
                <a:gd name="connsiteY195" fmla="*/ 1161721 h 1333436"/>
                <a:gd name="connsiteX196" fmla="*/ 227427 w 752994"/>
                <a:gd name="connsiteY196" fmla="*/ 1157269 h 1333436"/>
                <a:gd name="connsiteX197" fmla="*/ 224967 w 752994"/>
                <a:gd name="connsiteY197" fmla="*/ 1152575 h 1333436"/>
                <a:gd name="connsiteX198" fmla="*/ 225582 w 752994"/>
                <a:gd name="connsiteY198" fmla="*/ 1144808 h 1333436"/>
                <a:gd name="connsiteX199" fmla="*/ 227215 w 752994"/>
                <a:gd name="connsiteY199" fmla="*/ 1135834 h 1333436"/>
                <a:gd name="connsiteX200" fmla="*/ 227215 w 752994"/>
                <a:gd name="connsiteY200" fmla="*/ 1134212 h 1333436"/>
                <a:gd name="connsiteX201" fmla="*/ 225179 w 752994"/>
                <a:gd name="connsiteY201" fmla="*/ 1114020 h 1333436"/>
                <a:gd name="connsiteX202" fmla="*/ 217839 w 752994"/>
                <a:gd name="connsiteY202" fmla="*/ 1100352 h 1333436"/>
                <a:gd name="connsiteX203" fmla="*/ 199661 w 752994"/>
                <a:gd name="connsiteY203" fmla="*/ 1076502 h 1333436"/>
                <a:gd name="connsiteX204" fmla="*/ 196395 w 752994"/>
                <a:gd name="connsiteY204" fmla="*/ 1071807 h 1333436"/>
                <a:gd name="connsiteX205" fmla="*/ 190880 w 752994"/>
                <a:gd name="connsiteY205" fmla="*/ 1067527 h 1333436"/>
                <a:gd name="connsiteX206" fmla="*/ 187210 w 752994"/>
                <a:gd name="connsiteY206" fmla="*/ 1068735 h 1333436"/>
                <a:gd name="connsiteX207" fmla="*/ 180062 w 752994"/>
                <a:gd name="connsiteY207" fmla="*/ 1066699 h 1333436"/>
                <a:gd name="connsiteX208" fmla="*/ 180466 w 752994"/>
                <a:gd name="connsiteY208" fmla="*/ 1053031 h 1333436"/>
                <a:gd name="connsiteX209" fmla="*/ 180062 w 752994"/>
                <a:gd name="connsiteY209" fmla="*/ 1045299 h 1333436"/>
                <a:gd name="connsiteX210" fmla="*/ 174144 w 752994"/>
                <a:gd name="connsiteY210" fmla="*/ 1044057 h 1333436"/>
                <a:gd name="connsiteX211" fmla="*/ 158426 w 752994"/>
                <a:gd name="connsiteY211" fmla="*/ 1042641 h 1333436"/>
                <a:gd name="connsiteX212" fmla="*/ 149857 w 752994"/>
                <a:gd name="connsiteY212" fmla="*/ 1035497 h 1333436"/>
                <a:gd name="connsiteX213" fmla="*/ 142497 w 752994"/>
                <a:gd name="connsiteY213" fmla="*/ 1028766 h 1333436"/>
                <a:gd name="connsiteX214" fmla="*/ 140864 w 752994"/>
                <a:gd name="connsiteY214" fmla="*/ 1020620 h 1333436"/>
                <a:gd name="connsiteX215" fmla="*/ 138212 w 752994"/>
                <a:gd name="connsiteY215" fmla="*/ 1013061 h 1333436"/>
                <a:gd name="connsiteX216" fmla="*/ 131064 w 752994"/>
                <a:gd name="connsiteY216" fmla="*/ 1007159 h 1333436"/>
                <a:gd name="connsiteX217" fmla="*/ 121264 w 752994"/>
                <a:gd name="connsiteY217" fmla="*/ 1005330 h 1333436"/>
                <a:gd name="connsiteX218" fmla="*/ 112483 w 752994"/>
                <a:gd name="connsiteY218" fmla="*/ 1001671 h 1333436"/>
                <a:gd name="connsiteX219" fmla="*/ 105950 w 752994"/>
                <a:gd name="connsiteY219" fmla="*/ 995734 h 1333436"/>
                <a:gd name="connsiteX220" fmla="*/ 97380 w 752994"/>
                <a:gd name="connsiteY220" fmla="*/ 994526 h 1333436"/>
                <a:gd name="connsiteX221" fmla="*/ 87984 w 752994"/>
                <a:gd name="connsiteY221" fmla="*/ 991040 h 1333436"/>
                <a:gd name="connsiteX222" fmla="*/ 80029 w 752994"/>
                <a:gd name="connsiteY222" fmla="*/ 985138 h 1333436"/>
                <a:gd name="connsiteX223" fmla="*/ 77166 w 752994"/>
                <a:gd name="connsiteY223" fmla="*/ 976164 h 1333436"/>
                <a:gd name="connsiteX224" fmla="*/ 79203 w 752994"/>
                <a:gd name="connsiteY224" fmla="*/ 970676 h 1333436"/>
                <a:gd name="connsiteX225" fmla="*/ 82470 w 752994"/>
                <a:gd name="connsiteY225" fmla="*/ 963117 h 1333436"/>
                <a:gd name="connsiteX226" fmla="*/ 84314 w 752994"/>
                <a:gd name="connsiteY226" fmla="*/ 954557 h 1333436"/>
                <a:gd name="connsiteX227" fmla="*/ 86351 w 752994"/>
                <a:gd name="connsiteY227" fmla="*/ 948033 h 1333436"/>
                <a:gd name="connsiteX228" fmla="*/ 86159 w 752994"/>
                <a:gd name="connsiteY228" fmla="*/ 942925 h 1333436"/>
                <a:gd name="connsiteX229" fmla="*/ 83085 w 752994"/>
                <a:gd name="connsiteY229" fmla="*/ 939853 h 1333436"/>
                <a:gd name="connsiteX230" fmla="*/ 77570 w 752994"/>
                <a:gd name="connsiteY230" fmla="*/ 937437 h 1333436"/>
                <a:gd name="connsiteX231" fmla="*/ 76763 w 752994"/>
                <a:gd name="connsiteY231" fmla="*/ 931915 h 1333436"/>
                <a:gd name="connsiteX232" fmla="*/ 78800 w 752994"/>
                <a:gd name="connsiteY232" fmla="*/ 927013 h 1333436"/>
                <a:gd name="connsiteX233" fmla="*/ 79626 w 752994"/>
                <a:gd name="connsiteY233" fmla="*/ 922526 h 1333436"/>
                <a:gd name="connsiteX234" fmla="*/ 77781 w 752994"/>
                <a:gd name="connsiteY234" fmla="*/ 919903 h 1333436"/>
                <a:gd name="connsiteX235" fmla="*/ 74303 w 752994"/>
                <a:gd name="connsiteY235" fmla="*/ 917418 h 1333436"/>
                <a:gd name="connsiteX236" fmla="*/ 71863 w 752994"/>
                <a:gd name="connsiteY236" fmla="*/ 915174 h 1333436"/>
                <a:gd name="connsiteX237" fmla="*/ 71652 w 752994"/>
                <a:gd name="connsiteY237" fmla="*/ 910894 h 1333436"/>
                <a:gd name="connsiteX238" fmla="*/ 70633 w 752994"/>
                <a:gd name="connsiteY238" fmla="*/ 906614 h 1333436"/>
                <a:gd name="connsiteX239" fmla="*/ 68385 w 752994"/>
                <a:gd name="connsiteY239" fmla="*/ 902749 h 1333436"/>
                <a:gd name="connsiteX240" fmla="*/ 61045 w 752994"/>
                <a:gd name="connsiteY240" fmla="*/ 889494 h 1333436"/>
                <a:gd name="connsiteX241" fmla="*/ 57971 w 752994"/>
                <a:gd name="connsiteY241" fmla="*/ 875619 h 1333436"/>
                <a:gd name="connsiteX242" fmla="*/ 52264 w 752994"/>
                <a:gd name="connsiteY242" fmla="*/ 862572 h 1333436"/>
                <a:gd name="connsiteX243" fmla="*/ 44309 w 752994"/>
                <a:gd name="connsiteY243" fmla="*/ 850561 h 1333436"/>
                <a:gd name="connsiteX244" fmla="*/ 45520 w 752994"/>
                <a:gd name="connsiteY244" fmla="*/ 827090 h 1333436"/>
                <a:gd name="connsiteX245" fmla="*/ 53071 w 752994"/>
                <a:gd name="connsiteY245" fmla="*/ 822396 h 1333436"/>
                <a:gd name="connsiteX246" fmla="*/ 57375 w 752994"/>
                <a:gd name="connsiteY246" fmla="*/ 816493 h 1333436"/>
                <a:gd name="connsiteX247" fmla="*/ 55319 w 752994"/>
                <a:gd name="connsiteY247" fmla="*/ 801617 h 1333436"/>
                <a:gd name="connsiteX248" fmla="*/ 48383 w 752994"/>
                <a:gd name="connsiteY248" fmla="*/ 802204 h 1333436"/>
                <a:gd name="connsiteX249" fmla="*/ 40428 w 752994"/>
                <a:gd name="connsiteY249" fmla="*/ 797924 h 1333436"/>
                <a:gd name="connsiteX250" fmla="*/ 37565 w 752994"/>
                <a:gd name="connsiteY250" fmla="*/ 790606 h 1333436"/>
                <a:gd name="connsiteX251" fmla="*/ 37565 w 752994"/>
                <a:gd name="connsiteY251" fmla="*/ 790399 h 1333436"/>
                <a:gd name="connsiteX252" fmla="*/ 35931 w 752994"/>
                <a:gd name="connsiteY252" fmla="*/ 785912 h 1333436"/>
                <a:gd name="connsiteX253" fmla="*/ 34510 w 752994"/>
                <a:gd name="connsiteY253" fmla="*/ 780597 h 1333436"/>
                <a:gd name="connsiteX254" fmla="*/ 36335 w 752994"/>
                <a:gd name="connsiteY254" fmla="*/ 774280 h 1333436"/>
                <a:gd name="connsiteX255" fmla="*/ 38180 w 752994"/>
                <a:gd name="connsiteY255" fmla="*/ 766721 h 1333436"/>
                <a:gd name="connsiteX256" fmla="*/ 37161 w 752994"/>
                <a:gd name="connsiteY256" fmla="*/ 760405 h 1333436"/>
                <a:gd name="connsiteX257" fmla="*/ 35720 w 752994"/>
                <a:gd name="connsiteY257" fmla="*/ 754710 h 1333436"/>
                <a:gd name="connsiteX258" fmla="*/ 36546 w 752994"/>
                <a:gd name="connsiteY258" fmla="*/ 748773 h 1333436"/>
                <a:gd name="connsiteX259" fmla="*/ 38372 w 752994"/>
                <a:gd name="connsiteY259" fmla="*/ 744528 h 1333436"/>
                <a:gd name="connsiteX260" fmla="*/ 41638 w 752994"/>
                <a:gd name="connsiteY260" fmla="*/ 744321 h 1333436"/>
                <a:gd name="connsiteX261" fmla="*/ 44713 w 752994"/>
                <a:gd name="connsiteY261" fmla="*/ 746357 h 1333436"/>
                <a:gd name="connsiteX262" fmla="*/ 47364 w 752994"/>
                <a:gd name="connsiteY262" fmla="*/ 753260 h 1333436"/>
                <a:gd name="connsiteX263" fmla="*/ 55742 w 752994"/>
                <a:gd name="connsiteY263" fmla="*/ 764305 h 1333436"/>
                <a:gd name="connsiteX264" fmla="*/ 56338 w 752994"/>
                <a:gd name="connsiteY264" fmla="*/ 761233 h 1333436"/>
                <a:gd name="connsiteX265" fmla="*/ 56145 w 752994"/>
                <a:gd name="connsiteY265" fmla="*/ 757368 h 1333436"/>
                <a:gd name="connsiteX266" fmla="*/ 54916 w 752994"/>
                <a:gd name="connsiteY266" fmla="*/ 748601 h 1333436"/>
                <a:gd name="connsiteX267" fmla="*/ 52879 w 752994"/>
                <a:gd name="connsiteY267" fmla="*/ 747358 h 1333436"/>
                <a:gd name="connsiteX268" fmla="*/ 51649 w 752994"/>
                <a:gd name="connsiteY268" fmla="*/ 745322 h 1333436"/>
                <a:gd name="connsiteX269" fmla="*/ 51649 w 752994"/>
                <a:gd name="connsiteY269" fmla="*/ 739212 h 1333436"/>
                <a:gd name="connsiteX270" fmla="*/ 50227 w 752994"/>
                <a:gd name="connsiteY270" fmla="*/ 734725 h 1333436"/>
                <a:gd name="connsiteX271" fmla="*/ 48786 w 752994"/>
                <a:gd name="connsiteY271" fmla="*/ 731446 h 1333436"/>
                <a:gd name="connsiteX272" fmla="*/ 54512 w 752994"/>
                <a:gd name="connsiteY272" fmla="*/ 726372 h 1333436"/>
                <a:gd name="connsiteX273" fmla="*/ 59815 w 752994"/>
                <a:gd name="connsiteY273" fmla="*/ 725130 h 1333436"/>
                <a:gd name="connsiteX274" fmla="*/ 58182 w 752994"/>
                <a:gd name="connsiteY274" fmla="*/ 722886 h 1333436"/>
                <a:gd name="connsiteX275" fmla="*/ 51861 w 752994"/>
                <a:gd name="connsiteY275" fmla="*/ 717985 h 1333436"/>
                <a:gd name="connsiteX276" fmla="*/ 46749 w 752994"/>
                <a:gd name="connsiteY276" fmla="*/ 729617 h 1333436"/>
                <a:gd name="connsiteX277" fmla="*/ 40831 w 752994"/>
                <a:gd name="connsiteY277" fmla="*/ 739212 h 1333436"/>
                <a:gd name="connsiteX278" fmla="*/ 39601 w 752994"/>
                <a:gd name="connsiteY278" fmla="*/ 738798 h 1333436"/>
                <a:gd name="connsiteX279" fmla="*/ 39409 w 752994"/>
                <a:gd name="connsiteY279" fmla="*/ 738591 h 1333436"/>
                <a:gd name="connsiteX280" fmla="*/ 37161 w 752994"/>
                <a:gd name="connsiteY280" fmla="*/ 734725 h 1333436"/>
                <a:gd name="connsiteX281" fmla="*/ 32665 w 752994"/>
                <a:gd name="connsiteY281" fmla="*/ 727788 h 1333436"/>
                <a:gd name="connsiteX282" fmla="*/ 26747 w 752994"/>
                <a:gd name="connsiteY282" fmla="*/ 719435 h 1333436"/>
                <a:gd name="connsiteX283" fmla="*/ 23884 w 752994"/>
                <a:gd name="connsiteY283" fmla="*/ 717812 h 1333436"/>
                <a:gd name="connsiteX284" fmla="*/ 24710 w 752994"/>
                <a:gd name="connsiteY284" fmla="*/ 709632 h 1333436"/>
                <a:gd name="connsiteX285" fmla="*/ 27554 w 752994"/>
                <a:gd name="connsiteY285" fmla="*/ 701694 h 1333436"/>
                <a:gd name="connsiteX286" fmla="*/ 24902 w 752994"/>
                <a:gd name="connsiteY286" fmla="*/ 696171 h 1333436"/>
                <a:gd name="connsiteX287" fmla="*/ 24095 w 752994"/>
                <a:gd name="connsiteY287" fmla="*/ 687818 h 1333436"/>
                <a:gd name="connsiteX288" fmla="*/ 22462 w 752994"/>
                <a:gd name="connsiteY288" fmla="*/ 682330 h 1333436"/>
                <a:gd name="connsiteX289" fmla="*/ 17159 w 752994"/>
                <a:gd name="connsiteY289" fmla="*/ 677636 h 1333436"/>
                <a:gd name="connsiteX290" fmla="*/ 14296 w 752994"/>
                <a:gd name="connsiteY290" fmla="*/ 671492 h 1333436"/>
                <a:gd name="connsiteX291" fmla="*/ 12451 w 752994"/>
                <a:gd name="connsiteY291" fmla="*/ 665797 h 1333436"/>
                <a:gd name="connsiteX292" fmla="*/ 5111 w 752994"/>
                <a:gd name="connsiteY292" fmla="*/ 654994 h 1333436"/>
                <a:gd name="connsiteX293" fmla="*/ 2248 w 752994"/>
                <a:gd name="connsiteY293" fmla="*/ 645605 h 1333436"/>
                <a:gd name="connsiteX294" fmla="*/ 4496 w 752994"/>
                <a:gd name="connsiteY294" fmla="*/ 640497 h 1333436"/>
                <a:gd name="connsiteX295" fmla="*/ 6744 w 752994"/>
                <a:gd name="connsiteY295" fmla="*/ 632765 h 1333436"/>
                <a:gd name="connsiteX296" fmla="*/ 6744 w 752994"/>
                <a:gd name="connsiteY296" fmla="*/ 628485 h 1333436"/>
                <a:gd name="connsiteX297" fmla="*/ 6533 w 752994"/>
                <a:gd name="connsiteY297" fmla="*/ 620305 h 1333436"/>
                <a:gd name="connsiteX298" fmla="*/ 7359 w 752994"/>
                <a:gd name="connsiteY298" fmla="*/ 611745 h 1333436"/>
                <a:gd name="connsiteX299" fmla="*/ 11836 w 752994"/>
                <a:gd name="connsiteY299" fmla="*/ 602978 h 1333436"/>
                <a:gd name="connsiteX300" fmla="*/ 15103 w 752994"/>
                <a:gd name="connsiteY300" fmla="*/ 591760 h 1333436"/>
                <a:gd name="connsiteX301" fmla="*/ 14488 w 752994"/>
                <a:gd name="connsiteY301" fmla="*/ 584029 h 1333436"/>
                <a:gd name="connsiteX302" fmla="*/ 13873 w 752994"/>
                <a:gd name="connsiteY302" fmla="*/ 578299 h 1333436"/>
                <a:gd name="connsiteX303" fmla="*/ 10626 w 752994"/>
                <a:gd name="connsiteY303" fmla="*/ 568531 h 1333436"/>
                <a:gd name="connsiteX304" fmla="*/ 3670 w 752994"/>
                <a:gd name="connsiteY304" fmla="*/ 558107 h 1333436"/>
                <a:gd name="connsiteX305" fmla="*/ 0 w 752994"/>
                <a:gd name="connsiteY305" fmla="*/ 551377 h 1333436"/>
                <a:gd name="connsiteX306" fmla="*/ 0 w 752994"/>
                <a:gd name="connsiteY306" fmla="*/ 550997 h 1333436"/>
                <a:gd name="connsiteX307" fmla="*/ 4900 w 752994"/>
                <a:gd name="connsiteY307" fmla="*/ 531220 h 1333436"/>
                <a:gd name="connsiteX308" fmla="*/ 13873 w 752994"/>
                <a:gd name="connsiteY308" fmla="*/ 520589 h 1333436"/>
                <a:gd name="connsiteX309" fmla="*/ 18369 w 752994"/>
                <a:gd name="connsiteY309" fmla="*/ 516516 h 1333436"/>
                <a:gd name="connsiteX310" fmla="*/ 18773 w 752994"/>
                <a:gd name="connsiteY310" fmla="*/ 514272 h 1333436"/>
                <a:gd name="connsiteX311" fmla="*/ 23077 w 752994"/>
                <a:gd name="connsiteY311" fmla="*/ 506127 h 1333436"/>
                <a:gd name="connsiteX312" fmla="*/ 23884 w 752994"/>
                <a:gd name="connsiteY312" fmla="*/ 502261 h 1333436"/>
                <a:gd name="connsiteX313" fmla="*/ 23692 w 752994"/>
                <a:gd name="connsiteY313" fmla="*/ 496738 h 1333436"/>
                <a:gd name="connsiteX314" fmla="*/ 30013 w 752994"/>
                <a:gd name="connsiteY314" fmla="*/ 486556 h 1333436"/>
                <a:gd name="connsiteX315" fmla="*/ 36546 w 752994"/>
                <a:gd name="connsiteY315" fmla="*/ 470230 h 1333436"/>
                <a:gd name="connsiteX316" fmla="*/ 36546 w 752994"/>
                <a:gd name="connsiteY316" fmla="*/ 462671 h 1333436"/>
                <a:gd name="connsiteX317" fmla="*/ 36335 w 752994"/>
                <a:gd name="connsiteY317" fmla="*/ 461670 h 1333436"/>
                <a:gd name="connsiteX318" fmla="*/ 35931 w 752994"/>
                <a:gd name="connsiteY318" fmla="*/ 453110 h 1333436"/>
                <a:gd name="connsiteX319" fmla="*/ 38583 w 752994"/>
                <a:gd name="connsiteY319" fmla="*/ 442514 h 1333436"/>
                <a:gd name="connsiteX320" fmla="*/ 41043 w 752994"/>
                <a:gd name="connsiteY320" fmla="*/ 436991 h 1333436"/>
                <a:gd name="connsiteX321" fmla="*/ 41650 w 752994"/>
                <a:gd name="connsiteY321" fmla="*/ 437186 h 1333436"/>
                <a:gd name="connsiteX322" fmla="*/ 41239 w 752994"/>
                <a:gd name="connsiteY322" fmla="*/ 436549 h 1333436"/>
                <a:gd name="connsiteX323" fmla="*/ 37778 w 752994"/>
                <a:gd name="connsiteY323" fmla="*/ 433894 h 1333436"/>
                <a:gd name="connsiteX324" fmla="*/ 37169 w 752994"/>
                <a:gd name="connsiteY324" fmla="*/ 432261 h 1333436"/>
                <a:gd name="connsiteX325" fmla="*/ 37365 w 752994"/>
                <a:gd name="connsiteY325" fmla="*/ 429198 h 1333436"/>
                <a:gd name="connsiteX326" fmla="*/ 36756 w 752994"/>
                <a:gd name="connsiteY326" fmla="*/ 422272 h 1333436"/>
                <a:gd name="connsiteX327" fmla="*/ 36952 w 752994"/>
                <a:gd name="connsiteY327" fmla="*/ 418800 h 1333436"/>
                <a:gd name="connsiteX328" fmla="*/ 36756 w 752994"/>
                <a:gd name="connsiteY328" fmla="*/ 412487 h 1333436"/>
                <a:gd name="connsiteX329" fmla="*/ 40433 w 752994"/>
                <a:gd name="connsiteY329" fmla="*/ 406174 h 1333436"/>
                <a:gd name="connsiteX330" fmla="*/ 44720 w 752994"/>
                <a:gd name="connsiteY330" fmla="*/ 399435 h 1333436"/>
                <a:gd name="connsiteX331" fmla="*/ 44110 w 752994"/>
                <a:gd name="connsiteY331" fmla="*/ 389651 h 1333436"/>
                <a:gd name="connsiteX332" fmla="*/ 43894 w 752994"/>
                <a:gd name="connsiteY332" fmla="*/ 378437 h 1333436"/>
                <a:gd name="connsiteX333" fmla="*/ 47158 w 752994"/>
                <a:gd name="connsiteY333" fmla="*/ 371102 h 1333436"/>
                <a:gd name="connsiteX334" fmla="*/ 55731 w 752994"/>
                <a:gd name="connsiteY334" fmla="*/ 360909 h 1333436"/>
                <a:gd name="connsiteX335" fmla="*/ 57580 w 752994"/>
                <a:gd name="connsiteY335" fmla="*/ 355804 h 1333436"/>
                <a:gd name="connsiteX336" fmla="*/ 62673 w 752994"/>
                <a:gd name="connsiteY336" fmla="*/ 349695 h 1333436"/>
                <a:gd name="connsiteX337" fmla="*/ 65937 w 752994"/>
                <a:gd name="connsiteY337" fmla="*/ 348470 h 1333436"/>
                <a:gd name="connsiteX338" fmla="*/ 68395 w 752994"/>
                <a:gd name="connsiteY338" fmla="*/ 348674 h 1333436"/>
                <a:gd name="connsiteX339" fmla="*/ 70224 w 752994"/>
                <a:gd name="connsiteY339" fmla="*/ 347449 h 1333436"/>
                <a:gd name="connsiteX340" fmla="*/ 67785 w 752994"/>
                <a:gd name="connsiteY340" fmla="*/ 345203 h 1333436"/>
                <a:gd name="connsiteX341" fmla="*/ 65524 w 752994"/>
                <a:gd name="connsiteY341" fmla="*/ 343178 h 1333436"/>
                <a:gd name="connsiteX342" fmla="*/ 73095 w 752994"/>
                <a:gd name="connsiteY342" fmla="*/ 333376 h 1333436"/>
                <a:gd name="connsiteX343" fmla="*/ 73291 w 752994"/>
                <a:gd name="connsiteY343" fmla="*/ 333376 h 1333436"/>
                <a:gd name="connsiteX344" fmla="*/ 77991 w 752994"/>
                <a:gd name="connsiteY344" fmla="*/ 325838 h 1333436"/>
                <a:gd name="connsiteX345" fmla="*/ 82671 w 752994"/>
                <a:gd name="connsiteY345" fmla="*/ 313619 h 1333436"/>
                <a:gd name="connsiteX346" fmla="*/ 87980 w 752994"/>
                <a:gd name="connsiteY346" fmla="*/ 303018 h 1333436"/>
                <a:gd name="connsiteX347" fmla="*/ 92267 w 752994"/>
                <a:gd name="connsiteY347" fmla="*/ 291191 h 1333436"/>
                <a:gd name="connsiteX348" fmla="*/ 96553 w 752994"/>
                <a:gd name="connsiteY348" fmla="*/ 281202 h 1333436"/>
                <a:gd name="connsiteX349" fmla="*/ 99621 w 752994"/>
                <a:gd name="connsiteY349" fmla="*/ 274481 h 1333436"/>
                <a:gd name="connsiteX350" fmla="*/ 103082 w 752994"/>
                <a:gd name="connsiteY350" fmla="*/ 262450 h 1333436"/>
                <a:gd name="connsiteX351" fmla="*/ 107172 w 752994"/>
                <a:gd name="connsiteY351" fmla="*/ 254299 h 1333436"/>
                <a:gd name="connsiteX352" fmla="*/ 112481 w 752994"/>
                <a:gd name="connsiteY352" fmla="*/ 243697 h 1333436"/>
                <a:gd name="connsiteX353" fmla="*/ 117181 w 752994"/>
                <a:gd name="connsiteY353" fmla="*/ 232279 h 1333436"/>
                <a:gd name="connsiteX354" fmla="*/ 125951 w 752994"/>
                <a:gd name="connsiteY354" fmla="*/ 217389 h 1333436"/>
                <a:gd name="connsiteX355" fmla="*/ 136156 w 752994"/>
                <a:gd name="connsiteY355" fmla="*/ 202925 h 1333436"/>
                <a:gd name="connsiteX356" fmla="*/ 138811 w 752994"/>
                <a:gd name="connsiteY356" fmla="*/ 183339 h 1333436"/>
                <a:gd name="connsiteX357" fmla="*/ 148801 w 752994"/>
                <a:gd name="connsiteY357" fmla="*/ 167445 h 1333436"/>
                <a:gd name="connsiteX358" fmla="*/ 159616 w 752994"/>
                <a:gd name="connsiteY358" fmla="*/ 170712 h 1333436"/>
                <a:gd name="connsiteX359" fmla="*/ 173105 w 752994"/>
                <a:gd name="connsiteY359" fmla="*/ 175188 h 1333436"/>
                <a:gd name="connsiteX360" fmla="*/ 175347 w 752994"/>
                <a:gd name="connsiteY360" fmla="*/ 175188 h 1333436"/>
                <a:gd name="connsiteX361" fmla="*/ 175347 w 752994"/>
                <a:gd name="connsiteY361" fmla="*/ 173758 h 1333436"/>
                <a:gd name="connsiteX362" fmla="*/ 184975 w 752994"/>
                <a:gd name="connsiteY362" fmla="*/ 187393 h 1333436"/>
                <a:gd name="connsiteX363" fmla="*/ 184762 w 752994"/>
                <a:gd name="connsiteY363" fmla="*/ 184637 h 1333436"/>
                <a:gd name="connsiteX364" fmla="*/ 174971 w 752994"/>
                <a:gd name="connsiteY364" fmla="*/ 170774 h 1333436"/>
                <a:gd name="connsiteX365" fmla="*/ 174971 w 752994"/>
                <a:gd name="connsiteY365" fmla="*/ 169550 h 1333436"/>
                <a:gd name="connsiteX366" fmla="*/ 158851 w 752994"/>
                <a:gd name="connsiteY366" fmla="*/ 156924 h 1333436"/>
                <a:gd name="connsiteX367" fmla="*/ 147025 w 752994"/>
                <a:gd name="connsiteY367" fmla="*/ 145709 h 1333436"/>
                <a:gd name="connsiteX368" fmla="*/ 154364 w 752994"/>
                <a:gd name="connsiteY368" fmla="*/ 136335 h 1333436"/>
                <a:gd name="connsiteX369" fmla="*/ 161511 w 752994"/>
                <a:gd name="connsiteY369" fmla="*/ 131042 h 1333436"/>
                <a:gd name="connsiteX370" fmla="*/ 160902 w 752994"/>
                <a:gd name="connsiteY370" fmla="*/ 128384 h 1333436"/>
                <a:gd name="connsiteX371" fmla="*/ 160277 w 752994"/>
                <a:gd name="connsiteY371" fmla="*/ 127778 h 1333436"/>
                <a:gd name="connsiteX372" fmla="*/ 154973 w 752994"/>
                <a:gd name="connsiteY372" fmla="*/ 122077 h 1333436"/>
                <a:gd name="connsiteX373" fmla="*/ 160277 w 752994"/>
                <a:gd name="connsiteY373" fmla="*/ 115140 h 1333436"/>
                <a:gd name="connsiteX374" fmla="*/ 165181 w 752994"/>
                <a:gd name="connsiteY374" fmla="*/ 108215 h 1333436"/>
                <a:gd name="connsiteX375" fmla="*/ 161303 w 752994"/>
                <a:gd name="connsiteY375" fmla="*/ 104146 h 1333436"/>
                <a:gd name="connsiteX376" fmla="*/ 157842 w 752994"/>
                <a:gd name="connsiteY376" fmla="*/ 104542 h 1333436"/>
                <a:gd name="connsiteX377" fmla="*/ 157024 w 752994"/>
                <a:gd name="connsiteY377" fmla="*/ 102304 h 1333436"/>
                <a:gd name="connsiteX378" fmla="*/ 160694 w 752994"/>
                <a:gd name="connsiteY378" fmla="*/ 55437 h 1333436"/>
                <a:gd name="connsiteX379" fmla="*/ 160486 w 752994"/>
                <a:gd name="connsiteY379" fmla="*/ 31991 h 1333436"/>
                <a:gd name="connsiteX380" fmla="*/ 164972 w 752994"/>
                <a:gd name="connsiteY380" fmla="*/ 18141 h 1333436"/>
                <a:gd name="connsiteX381" fmla="*/ 171911 w 752994"/>
                <a:gd name="connsiteY381" fmla="*/ 11204 h 1333436"/>
                <a:gd name="connsiteX382" fmla="*/ 187406 w 752994"/>
                <a:gd name="connsiteY382" fmla="*/ 21801 h 1333436"/>
                <a:gd name="connsiteX383" fmla="*/ 210866 w 752994"/>
                <a:gd name="connsiteY383" fmla="*/ 37086 h 1333436"/>
                <a:gd name="connsiteX384" fmla="*/ 219230 w 752994"/>
                <a:gd name="connsiteY384" fmla="*/ 41166 h 1333436"/>
                <a:gd name="connsiteX385" fmla="*/ 226778 w 752994"/>
                <a:gd name="connsiteY385" fmla="*/ 47486 h 1333436"/>
                <a:gd name="connsiteX386" fmla="*/ 236152 w 752994"/>
                <a:gd name="connsiteY386" fmla="*/ 52370 h 1333436"/>
                <a:gd name="connsiteX387" fmla="*/ 239629 w 752994"/>
                <a:gd name="connsiteY387" fmla="*/ 58491 h 1333436"/>
                <a:gd name="connsiteX388" fmla="*/ 239629 w 752994"/>
                <a:gd name="connsiteY388" fmla="*/ 63376 h 1333436"/>
                <a:gd name="connsiteX389" fmla="*/ 236568 w 752994"/>
                <a:gd name="connsiteY389" fmla="*/ 67457 h 1333436"/>
                <a:gd name="connsiteX390" fmla="*/ 231264 w 752994"/>
                <a:gd name="connsiteY390" fmla="*/ 69905 h 1333436"/>
                <a:gd name="connsiteX391" fmla="*/ 216778 w 752994"/>
                <a:gd name="connsiteY391" fmla="*/ 82741 h 1333436"/>
                <a:gd name="connsiteX392" fmla="*/ 214134 w 752994"/>
                <a:gd name="connsiteY392" fmla="*/ 93536 h 1333436"/>
                <a:gd name="connsiteX393" fmla="*/ 214535 w 752994"/>
                <a:gd name="connsiteY393" fmla="*/ 96801 h 1333436"/>
                <a:gd name="connsiteX394" fmla="*/ 216378 w 752994"/>
                <a:gd name="connsiteY394" fmla="*/ 96801 h 1333436"/>
                <a:gd name="connsiteX395" fmla="*/ 230046 w 752994"/>
                <a:gd name="connsiteY395" fmla="*/ 85387 h 1333436"/>
                <a:gd name="connsiteX396" fmla="*/ 243298 w 752994"/>
                <a:gd name="connsiteY396" fmla="*/ 75198 h 1333436"/>
                <a:gd name="connsiteX397" fmla="*/ 246760 w 752994"/>
                <a:gd name="connsiteY397" fmla="*/ 77646 h 1333436"/>
                <a:gd name="connsiteX398" fmla="*/ 255541 w 752994"/>
                <a:gd name="connsiteY398" fmla="*/ 63376 h 1333436"/>
                <a:gd name="connsiteX399" fmla="*/ 259611 w 752994"/>
                <a:gd name="connsiteY399" fmla="*/ 43405 h 1333436"/>
                <a:gd name="connsiteX400" fmla="*/ 256967 w 752994"/>
                <a:gd name="connsiteY400" fmla="*/ 38520 h 1333436"/>
                <a:gd name="connsiteX401" fmla="*/ 253906 w 752994"/>
                <a:gd name="connsiteY401" fmla="*/ 34242 h 1333436"/>
                <a:gd name="connsiteX402" fmla="*/ 256967 w 752994"/>
                <a:gd name="connsiteY402" fmla="*/ 30161 h 1333436"/>
                <a:gd name="connsiteX403" fmla="*/ 262063 w 752994"/>
                <a:gd name="connsiteY403" fmla="*/ 27712 h 1333436"/>
                <a:gd name="connsiteX404" fmla="*/ 264915 w 752994"/>
                <a:gd name="connsiteY404" fmla="*/ 23026 h 1333436"/>
                <a:gd name="connsiteX405" fmla="*/ 267976 w 752994"/>
                <a:gd name="connsiteY405" fmla="*/ 22618 h 1333436"/>
                <a:gd name="connsiteX406" fmla="*/ 270427 w 752994"/>
                <a:gd name="connsiteY406" fmla="*/ 20787 h 1333436"/>
                <a:gd name="connsiteX407" fmla="*/ 263088 w 752994"/>
                <a:gd name="connsiteY407" fmla="*/ 13652 h 1333436"/>
                <a:gd name="connsiteX408" fmla="*/ 255541 w 752994"/>
                <a:gd name="connsiteY408" fmla="*/ 3055 h 1333436"/>
                <a:gd name="connsiteX409" fmla="*/ 256358 w 752994"/>
                <a:gd name="connsiteY409" fmla="*/ 1224 h 1333436"/>
                <a:gd name="connsiteX410" fmla="*/ 257159 w 752994"/>
                <a:gd name="connsiteY410"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3481 w 752994"/>
                <a:gd name="connsiteY19" fmla="*/ 285608 h 1333436"/>
                <a:gd name="connsiteX20" fmla="*/ 453944 w 752994"/>
                <a:gd name="connsiteY20" fmla="*/ 286495 h 1333436"/>
                <a:gd name="connsiteX21" fmla="*/ 457539 w 752994"/>
                <a:gd name="connsiteY21" fmla="*/ 290781 h 1333436"/>
                <a:gd name="connsiteX22" fmla="*/ 457408 w 752994"/>
                <a:gd name="connsiteY22" fmla="*/ 290281 h 1333436"/>
                <a:gd name="connsiteX23" fmla="*/ 453481 w 752994"/>
                <a:gd name="connsiteY23" fmla="*/ 285608 h 1333436"/>
                <a:gd name="connsiteX24" fmla="*/ 184180 w 752994"/>
                <a:gd name="connsiteY24" fmla="*/ 213866 h 1333436"/>
                <a:gd name="connsiteX25" fmla="*/ 184117 w 752994"/>
                <a:gd name="connsiteY25" fmla="*/ 214326 h 1333436"/>
                <a:gd name="connsiteX26" fmla="*/ 185553 w 752994"/>
                <a:gd name="connsiteY26" fmla="*/ 222494 h 1333436"/>
                <a:gd name="connsiteX27" fmla="*/ 188600 w 752994"/>
                <a:gd name="connsiteY27" fmla="*/ 226970 h 1333436"/>
                <a:gd name="connsiteX28" fmla="*/ 195542 w 752994"/>
                <a:gd name="connsiteY28" fmla="*/ 231871 h 1333436"/>
                <a:gd name="connsiteX29" fmla="*/ 203093 w 752994"/>
                <a:gd name="connsiteY29" fmla="*/ 233896 h 1333436"/>
                <a:gd name="connsiteX30" fmla="*/ 217192 w 752994"/>
                <a:gd name="connsiteY30" fmla="*/ 232075 h 1333436"/>
                <a:gd name="connsiteX31" fmla="*/ 225136 w 752994"/>
                <a:gd name="connsiteY31" fmla="*/ 229829 h 1333436"/>
                <a:gd name="connsiteX32" fmla="*/ 235558 w 752994"/>
                <a:gd name="connsiteY32" fmla="*/ 232483 h 1333436"/>
                <a:gd name="connsiteX33" fmla="*/ 242499 w 752994"/>
                <a:gd name="connsiteY33" fmla="*/ 237163 h 1333436"/>
                <a:gd name="connsiteX34" fmla="*/ 248418 w 752994"/>
                <a:gd name="connsiteY34" fmla="*/ 244701 h 1333436"/>
                <a:gd name="connsiteX35" fmla="*/ 255359 w 752994"/>
                <a:gd name="connsiteY35" fmla="*/ 244906 h 1333436"/>
                <a:gd name="connsiteX36" fmla="*/ 258210 w 752994"/>
                <a:gd name="connsiteY36" fmla="*/ 244906 h 1333436"/>
                <a:gd name="connsiteX37" fmla="*/ 263303 w 752994"/>
                <a:gd name="connsiteY37" fmla="*/ 246131 h 1333436"/>
                <a:gd name="connsiteX38" fmla="*/ 269438 w 752994"/>
                <a:gd name="connsiteY38" fmla="*/ 243697 h 1333436"/>
                <a:gd name="connsiteX39" fmla="*/ 274944 w 752994"/>
                <a:gd name="connsiteY39" fmla="*/ 241451 h 1333436"/>
                <a:gd name="connsiteX40" fmla="*/ 281276 w 752994"/>
                <a:gd name="connsiteY40" fmla="*/ 245722 h 1333436"/>
                <a:gd name="connsiteX41" fmla="*/ 289240 w 752994"/>
                <a:gd name="connsiteY41" fmla="*/ 250419 h 1333436"/>
                <a:gd name="connsiteX42" fmla="*/ 297597 w 752994"/>
                <a:gd name="connsiteY42" fmla="*/ 248581 h 1333436"/>
                <a:gd name="connsiteX43" fmla="*/ 310261 w 752994"/>
                <a:gd name="connsiteY43" fmla="*/ 246539 h 1333436"/>
                <a:gd name="connsiteX44" fmla="*/ 324340 w 752994"/>
                <a:gd name="connsiteY44" fmla="*/ 244497 h 1333436"/>
                <a:gd name="connsiteX45" fmla="*/ 333523 w 752994"/>
                <a:gd name="connsiteY45" fmla="*/ 243289 h 1333436"/>
                <a:gd name="connsiteX46" fmla="*/ 341271 w 752994"/>
                <a:gd name="connsiteY46" fmla="*/ 246539 h 1333436"/>
                <a:gd name="connsiteX47" fmla="*/ 348428 w 752994"/>
                <a:gd name="connsiteY47" fmla="*/ 250011 h 1333436"/>
                <a:gd name="connsiteX48" fmla="*/ 351279 w 752994"/>
                <a:gd name="connsiteY48" fmla="*/ 247356 h 1333436"/>
                <a:gd name="connsiteX49" fmla="*/ 355566 w 752994"/>
                <a:gd name="connsiteY49" fmla="*/ 244293 h 1333436"/>
                <a:gd name="connsiteX50" fmla="*/ 365772 w 752994"/>
                <a:gd name="connsiteY50" fmla="*/ 248785 h 1333436"/>
                <a:gd name="connsiteX51" fmla="*/ 381483 w 752994"/>
                <a:gd name="connsiteY51" fmla="*/ 254912 h 1333436"/>
                <a:gd name="connsiteX52" fmla="*/ 381896 w 752994"/>
                <a:gd name="connsiteY52" fmla="*/ 255320 h 1333436"/>
                <a:gd name="connsiteX53" fmla="*/ 395366 w 752994"/>
                <a:gd name="connsiteY53" fmla="*/ 257753 h 1333436"/>
                <a:gd name="connsiteX54" fmla="*/ 414145 w 752994"/>
                <a:gd name="connsiteY54" fmla="*/ 262450 h 1333436"/>
                <a:gd name="connsiteX55" fmla="*/ 431292 w 752994"/>
                <a:gd name="connsiteY55" fmla="*/ 268151 h 1333436"/>
                <a:gd name="connsiteX56" fmla="*/ 445196 w 752994"/>
                <a:gd name="connsiteY56" fmla="*/ 269890 h 1333436"/>
                <a:gd name="connsiteX57" fmla="*/ 444145 w 752994"/>
                <a:gd name="connsiteY57" fmla="*/ 267441 h 1333436"/>
                <a:gd name="connsiteX58" fmla="*/ 444145 w 752994"/>
                <a:gd name="connsiteY58" fmla="*/ 267034 h 1333436"/>
                <a:gd name="connsiteX59" fmla="*/ 444155 w 752994"/>
                <a:gd name="connsiteY59" fmla="*/ 266811 h 1333436"/>
                <a:gd name="connsiteX60" fmla="*/ 430733 w 752994"/>
                <a:gd name="connsiteY60" fmla="*/ 265139 h 1333436"/>
                <a:gd name="connsiteX61" fmla="*/ 413603 w 752994"/>
                <a:gd name="connsiteY61" fmla="*/ 259426 h 1333436"/>
                <a:gd name="connsiteX62" fmla="*/ 394839 w 752994"/>
                <a:gd name="connsiteY62" fmla="*/ 254739 h 1333436"/>
                <a:gd name="connsiteX63" fmla="*/ 381379 w 752994"/>
                <a:gd name="connsiteY63" fmla="*/ 252303 h 1333436"/>
                <a:gd name="connsiteX64" fmla="*/ 380962 w 752994"/>
                <a:gd name="connsiteY64" fmla="*/ 251895 h 1333436"/>
                <a:gd name="connsiteX65" fmla="*/ 365258 w 752994"/>
                <a:gd name="connsiteY65" fmla="*/ 245774 h 1333436"/>
                <a:gd name="connsiteX66" fmla="*/ 355067 w 752994"/>
                <a:gd name="connsiteY66" fmla="*/ 241285 h 1333436"/>
                <a:gd name="connsiteX67" fmla="*/ 350789 w 752994"/>
                <a:gd name="connsiteY67" fmla="*/ 244352 h 1333436"/>
                <a:gd name="connsiteX68" fmla="*/ 347920 w 752994"/>
                <a:gd name="connsiteY68" fmla="*/ 246998 h 1333436"/>
                <a:gd name="connsiteX69" fmla="*/ 340789 w 752994"/>
                <a:gd name="connsiteY69" fmla="*/ 243536 h 1333436"/>
                <a:gd name="connsiteX70" fmla="*/ 333034 w 752994"/>
                <a:gd name="connsiteY70" fmla="*/ 240271 h 1333436"/>
                <a:gd name="connsiteX71" fmla="*/ 323868 w 752994"/>
                <a:gd name="connsiteY71" fmla="*/ 241495 h 1333436"/>
                <a:gd name="connsiteX72" fmla="*/ 309783 w 752994"/>
                <a:gd name="connsiteY72" fmla="*/ 243536 h 1333436"/>
                <a:gd name="connsiteX73" fmla="*/ 297140 w 752994"/>
                <a:gd name="connsiteY73" fmla="*/ 245576 h 1333436"/>
                <a:gd name="connsiteX74" fmla="*/ 288775 w 752994"/>
                <a:gd name="connsiteY74" fmla="*/ 247406 h 1333436"/>
                <a:gd name="connsiteX75" fmla="*/ 280827 w 752994"/>
                <a:gd name="connsiteY75" fmla="*/ 242720 h 1333436"/>
                <a:gd name="connsiteX76" fmla="*/ 274497 w 752994"/>
                <a:gd name="connsiteY76" fmla="*/ 238441 h 1333436"/>
                <a:gd name="connsiteX77" fmla="*/ 269001 w 752994"/>
                <a:gd name="connsiteY77" fmla="*/ 240679 h 1333436"/>
                <a:gd name="connsiteX78" fmla="*/ 262880 w 752994"/>
                <a:gd name="connsiteY78" fmla="*/ 243128 h 1333436"/>
                <a:gd name="connsiteX79" fmla="*/ 260028 w 752994"/>
                <a:gd name="connsiteY79" fmla="*/ 242720 h 1333436"/>
                <a:gd name="connsiteX80" fmla="*/ 257784 w 752994"/>
                <a:gd name="connsiteY80" fmla="*/ 241904 h 1333436"/>
                <a:gd name="connsiteX81" fmla="*/ 247994 w 752994"/>
                <a:gd name="connsiteY81" fmla="*/ 241693 h 1333436"/>
                <a:gd name="connsiteX82" fmla="*/ 242081 w 752994"/>
                <a:gd name="connsiteY82" fmla="*/ 234162 h 1333436"/>
                <a:gd name="connsiteX83" fmla="*/ 235142 w 752994"/>
                <a:gd name="connsiteY83" fmla="*/ 229476 h 1333436"/>
                <a:gd name="connsiteX84" fmla="*/ 224742 w 752994"/>
                <a:gd name="connsiteY84" fmla="*/ 226817 h 1333436"/>
                <a:gd name="connsiteX85" fmla="*/ 216778 w 752994"/>
                <a:gd name="connsiteY85" fmla="*/ 229068 h 1333436"/>
                <a:gd name="connsiteX86" fmla="*/ 202709 w 752994"/>
                <a:gd name="connsiteY86" fmla="*/ 230898 h 1333436"/>
                <a:gd name="connsiteX87" fmla="*/ 195162 w 752994"/>
                <a:gd name="connsiteY87" fmla="*/ 228857 h 1333436"/>
                <a:gd name="connsiteX88" fmla="*/ 188223 w 752994"/>
                <a:gd name="connsiteY88" fmla="*/ 223973 h 1333436"/>
                <a:gd name="connsiteX89" fmla="*/ 185163 w 752994"/>
                <a:gd name="connsiteY89" fmla="*/ 219484 h 1333436"/>
                <a:gd name="connsiteX90" fmla="*/ 184180 w 752994"/>
                <a:gd name="connsiteY90" fmla="*/ 213866 h 1333436"/>
                <a:gd name="connsiteX91" fmla="*/ 257159 w 752994"/>
                <a:gd name="connsiteY91" fmla="*/ 0 h 1333436"/>
                <a:gd name="connsiteX92" fmla="*/ 493147 w 752994"/>
                <a:gd name="connsiteY92" fmla="*/ 73157 h 1333436"/>
                <a:gd name="connsiteX93" fmla="*/ 492970 w 752994"/>
                <a:gd name="connsiteY93" fmla="*/ 73792 h 1333436"/>
                <a:gd name="connsiteX94" fmla="*/ 525816 w 752994"/>
                <a:gd name="connsiteY94" fmla="*/ 82491 h 1333436"/>
                <a:gd name="connsiteX95" fmla="*/ 520098 w 752994"/>
                <a:gd name="connsiteY95" fmla="*/ 111245 h 1333436"/>
                <a:gd name="connsiteX96" fmla="*/ 512552 w 752994"/>
                <a:gd name="connsiteY96" fmla="*/ 143854 h 1333436"/>
                <a:gd name="connsiteX97" fmla="*/ 517849 w 752994"/>
                <a:gd name="connsiteY97" fmla="*/ 157740 h 1333436"/>
                <a:gd name="connsiteX98" fmla="*/ 523160 w 752994"/>
                <a:gd name="connsiteY98" fmla="*/ 172009 h 1333436"/>
                <a:gd name="connsiteX99" fmla="*/ 521535 w 752994"/>
                <a:gd name="connsiteY99" fmla="*/ 178928 h 1333436"/>
                <a:gd name="connsiteX100" fmla="*/ 520098 w 752994"/>
                <a:gd name="connsiteY100" fmla="*/ 186279 h 1333436"/>
                <a:gd name="connsiteX101" fmla="*/ 526019 w 752994"/>
                <a:gd name="connsiteY101" fmla="*/ 193629 h 1333436"/>
                <a:gd name="connsiteX102" fmla="*/ 537251 w 752994"/>
                <a:gd name="connsiteY102" fmla="*/ 206270 h 1333436"/>
                <a:gd name="connsiteX103" fmla="*/ 542765 w 752994"/>
                <a:gd name="connsiteY103" fmla="*/ 217475 h 1333436"/>
                <a:gd name="connsiteX104" fmla="*/ 546857 w 752994"/>
                <a:gd name="connsiteY104" fmla="*/ 230930 h 1333436"/>
                <a:gd name="connsiteX105" fmla="*/ 549499 w 752994"/>
                <a:gd name="connsiteY105" fmla="*/ 235622 h 1333436"/>
                <a:gd name="connsiteX106" fmla="*/ 553388 w 752994"/>
                <a:gd name="connsiteY106" fmla="*/ 240722 h 1333436"/>
                <a:gd name="connsiteX107" fmla="*/ 557465 w 752994"/>
                <a:gd name="connsiteY107" fmla="*/ 246037 h 1333436"/>
                <a:gd name="connsiteX108" fmla="*/ 561761 w 752994"/>
                <a:gd name="connsiteY108" fmla="*/ 248671 h 1333436"/>
                <a:gd name="connsiteX109" fmla="*/ 567478 w 752994"/>
                <a:gd name="connsiteY109" fmla="*/ 247665 h 1333436"/>
                <a:gd name="connsiteX110" fmla="*/ 569931 w 752994"/>
                <a:gd name="connsiteY110" fmla="*/ 249293 h 1333436"/>
                <a:gd name="connsiteX111" fmla="*/ 570540 w 752994"/>
                <a:gd name="connsiteY111" fmla="*/ 251951 h 1333436"/>
                <a:gd name="connsiteX112" fmla="*/ 561964 w 752994"/>
                <a:gd name="connsiteY112" fmla="*/ 267656 h 1333436"/>
                <a:gd name="connsiteX113" fmla="*/ 553591 w 752994"/>
                <a:gd name="connsiteY113" fmla="*/ 289659 h 1333436"/>
                <a:gd name="connsiteX114" fmla="*/ 554810 w 752994"/>
                <a:gd name="connsiteY114" fmla="*/ 292939 h 1333436"/>
                <a:gd name="connsiteX115" fmla="*/ 556246 w 752994"/>
                <a:gd name="connsiteY115" fmla="*/ 299260 h 1333436"/>
                <a:gd name="connsiteX116" fmla="*/ 552778 w 752994"/>
                <a:gd name="connsiteY116" fmla="*/ 301917 h 1333436"/>
                <a:gd name="connsiteX117" fmla="*/ 549295 w 752994"/>
                <a:gd name="connsiteY117" fmla="*/ 306993 h 1333436"/>
                <a:gd name="connsiteX118" fmla="*/ 547061 w 752994"/>
                <a:gd name="connsiteY118" fmla="*/ 313122 h 1333436"/>
                <a:gd name="connsiteX119" fmla="*/ 544811 w 752994"/>
                <a:gd name="connsiteY119" fmla="*/ 316593 h 1333436"/>
                <a:gd name="connsiteX120" fmla="*/ 549919 w 752994"/>
                <a:gd name="connsiteY120" fmla="*/ 322698 h 1333436"/>
                <a:gd name="connsiteX121" fmla="*/ 553184 w 752994"/>
                <a:gd name="connsiteY121" fmla="*/ 325955 h 1333436"/>
                <a:gd name="connsiteX122" fmla="*/ 555840 w 752994"/>
                <a:gd name="connsiteY122" fmla="*/ 328205 h 1333436"/>
                <a:gd name="connsiteX123" fmla="*/ 574212 w 752994"/>
                <a:gd name="connsiteY123" fmla="*/ 318820 h 1333436"/>
                <a:gd name="connsiteX124" fmla="*/ 579523 w 752994"/>
                <a:gd name="connsiteY124" fmla="*/ 326577 h 1333436"/>
                <a:gd name="connsiteX125" fmla="*/ 580539 w 752994"/>
                <a:gd name="connsiteY125" fmla="*/ 334933 h 1333436"/>
                <a:gd name="connsiteX126" fmla="*/ 579726 w 752994"/>
                <a:gd name="connsiteY126" fmla="*/ 343097 h 1333436"/>
                <a:gd name="connsiteX127" fmla="*/ 581366 w 752994"/>
                <a:gd name="connsiteY127" fmla="*/ 350231 h 1333436"/>
                <a:gd name="connsiteX128" fmla="*/ 586256 w 752994"/>
                <a:gd name="connsiteY128" fmla="*/ 355930 h 1333436"/>
                <a:gd name="connsiteX129" fmla="*/ 589536 w 752994"/>
                <a:gd name="connsiteY129" fmla="*/ 362059 h 1333436"/>
                <a:gd name="connsiteX130" fmla="*/ 588099 w 752994"/>
                <a:gd name="connsiteY130" fmla="*/ 369600 h 1333436"/>
                <a:gd name="connsiteX131" fmla="*/ 586459 w 752994"/>
                <a:gd name="connsiteY131" fmla="*/ 377357 h 1333436"/>
                <a:gd name="connsiteX132" fmla="*/ 588709 w 752994"/>
                <a:gd name="connsiteY132" fmla="*/ 381835 h 1333436"/>
                <a:gd name="connsiteX133" fmla="*/ 595036 w 752994"/>
                <a:gd name="connsiteY133" fmla="*/ 382457 h 1333436"/>
                <a:gd name="connsiteX134" fmla="*/ 599331 w 752994"/>
                <a:gd name="connsiteY134" fmla="*/ 385306 h 1333436"/>
                <a:gd name="connsiteX135" fmla="*/ 601987 w 752994"/>
                <a:gd name="connsiteY135" fmla="*/ 391004 h 1333436"/>
                <a:gd name="connsiteX136" fmla="*/ 602799 w 752994"/>
                <a:gd name="connsiteY136" fmla="*/ 404076 h 1333436"/>
                <a:gd name="connsiteX137" fmla="*/ 606892 w 752994"/>
                <a:gd name="connsiteY137" fmla="*/ 415688 h 1333436"/>
                <a:gd name="connsiteX138" fmla="*/ 610563 w 752994"/>
                <a:gd name="connsiteY138" fmla="*/ 412217 h 1333436"/>
                <a:gd name="connsiteX139" fmla="*/ 617920 w 752994"/>
                <a:gd name="connsiteY139" fmla="*/ 408769 h 1333436"/>
                <a:gd name="connsiteX140" fmla="*/ 624654 w 752994"/>
                <a:gd name="connsiteY140" fmla="*/ 411211 h 1333436"/>
                <a:gd name="connsiteX141" fmla="*/ 634652 w 752994"/>
                <a:gd name="connsiteY141" fmla="*/ 410182 h 1333436"/>
                <a:gd name="connsiteX142" fmla="*/ 640573 w 752994"/>
                <a:gd name="connsiteY142" fmla="*/ 407739 h 1333436"/>
                <a:gd name="connsiteX143" fmla="*/ 646711 w 752994"/>
                <a:gd name="connsiteY143" fmla="*/ 410589 h 1333436"/>
                <a:gd name="connsiteX144" fmla="*/ 650383 w 752994"/>
                <a:gd name="connsiteY144" fmla="*/ 410589 h 1333436"/>
                <a:gd name="connsiteX145" fmla="*/ 654257 w 752994"/>
                <a:gd name="connsiteY145" fmla="*/ 411618 h 1333436"/>
                <a:gd name="connsiteX146" fmla="*/ 656913 w 752994"/>
                <a:gd name="connsiteY146" fmla="*/ 413653 h 1333436"/>
                <a:gd name="connsiteX147" fmla="*/ 660802 w 752994"/>
                <a:gd name="connsiteY147" fmla="*/ 415090 h 1333436"/>
                <a:gd name="connsiteX148" fmla="*/ 669581 w 752994"/>
                <a:gd name="connsiteY148" fmla="*/ 415904 h 1333436"/>
                <a:gd name="connsiteX149" fmla="*/ 672237 w 752994"/>
                <a:gd name="connsiteY149" fmla="*/ 415688 h 1333436"/>
                <a:gd name="connsiteX150" fmla="*/ 675705 w 752994"/>
                <a:gd name="connsiteY150" fmla="*/ 409367 h 1333436"/>
                <a:gd name="connsiteX151" fmla="*/ 679986 w 752994"/>
                <a:gd name="connsiteY151" fmla="*/ 403238 h 1333436"/>
                <a:gd name="connsiteX152" fmla="*/ 693264 w 752994"/>
                <a:gd name="connsiteY152" fmla="*/ 419567 h 1333436"/>
                <a:gd name="connsiteX153" fmla="*/ 688563 w 752994"/>
                <a:gd name="connsiteY153" fmla="*/ 448321 h 1333436"/>
                <a:gd name="connsiteX154" fmla="*/ 663949 w 752994"/>
                <a:gd name="connsiteY154" fmla="*/ 590165 h 1333436"/>
                <a:gd name="connsiteX155" fmla="*/ 666304 w 752994"/>
                <a:gd name="connsiteY155" fmla="*/ 590504 h 1333436"/>
                <a:gd name="connsiteX156" fmla="*/ 655288 w 752994"/>
                <a:gd name="connsiteY156" fmla="*/ 656178 h 1333436"/>
                <a:gd name="connsiteX157" fmla="*/ 681808 w 752994"/>
                <a:gd name="connsiteY157" fmla="*/ 662301 h 1333436"/>
                <a:gd name="connsiteX158" fmla="*/ 752994 w 752994"/>
                <a:gd name="connsiteY158" fmla="*/ 675560 h 1333436"/>
                <a:gd name="connsiteX159" fmla="*/ 714651 w 752994"/>
                <a:gd name="connsiteY159" fmla="*/ 946985 h 1333436"/>
                <a:gd name="connsiteX160" fmla="*/ 693426 w 752994"/>
                <a:gd name="connsiteY160" fmla="*/ 944128 h 1333436"/>
                <a:gd name="connsiteX161" fmla="*/ 457412 w 752994"/>
                <a:gd name="connsiteY161" fmla="*/ 897429 h 1333436"/>
                <a:gd name="connsiteX162" fmla="*/ 524385 w 752994"/>
                <a:gd name="connsiteY162" fmla="*/ 564267 h 1333436"/>
                <a:gd name="connsiteX163" fmla="*/ 453578 w 752994"/>
                <a:gd name="connsiteY163" fmla="*/ 897215 h 1333436"/>
                <a:gd name="connsiteX164" fmla="*/ 442753 w 752994"/>
                <a:gd name="connsiteY164" fmla="*/ 950656 h 1333436"/>
                <a:gd name="connsiteX165" fmla="*/ 442550 w 752994"/>
                <a:gd name="connsiteY165" fmla="*/ 951272 h 1333436"/>
                <a:gd name="connsiteX166" fmla="*/ 439290 w 752994"/>
                <a:gd name="connsiteY166" fmla="*/ 958807 h 1333436"/>
                <a:gd name="connsiteX167" fmla="*/ 432957 w 752994"/>
                <a:gd name="connsiteY167" fmla="*/ 963487 h 1333436"/>
                <a:gd name="connsiteX168" fmla="*/ 429291 w 752994"/>
                <a:gd name="connsiteY168" fmla="*/ 959817 h 1333436"/>
                <a:gd name="connsiteX169" fmla="*/ 425610 w 752994"/>
                <a:gd name="connsiteY169" fmla="*/ 955532 h 1333436"/>
                <a:gd name="connsiteX170" fmla="*/ 419292 w 752994"/>
                <a:gd name="connsiteY170" fmla="*/ 953291 h 1333436"/>
                <a:gd name="connsiteX171" fmla="*/ 414597 w 752994"/>
                <a:gd name="connsiteY171" fmla="*/ 951272 h 1333436"/>
                <a:gd name="connsiteX172" fmla="*/ 407047 w 752994"/>
                <a:gd name="connsiteY172" fmla="*/ 956148 h 1333436"/>
                <a:gd name="connsiteX173" fmla="*/ 403787 w 752994"/>
                <a:gd name="connsiteY173" fmla="*/ 963290 h 1333436"/>
                <a:gd name="connsiteX174" fmla="*/ 404052 w 752994"/>
                <a:gd name="connsiteY174" fmla="*/ 963688 h 1333436"/>
                <a:gd name="connsiteX175" fmla="*/ 406917 w 752994"/>
                <a:gd name="connsiteY175" fmla="*/ 957427 h 1333436"/>
                <a:gd name="connsiteX176" fmla="*/ 414454 w 752994"/>
                <a:gd name="connsiteY176" fmla="*/ 952534 h 1333436"/>
                <a:gd name="connsiteX177" fmla="*/ 419146 w 752994"/>
                <a:gd name="connsiteY177" fmla="*/ 954567 h 1333436"/>
                <a:gd name="connsiteX178" fmla="*/ 425469 w 752994"/>
                <a:gd name="connsiteY178" fmla="*/ 956803 h 1333436"/>
                <a:gd name="connsiteX179" fmla="*/ 429146 w 752994"/>
                <a:gd name="connsiteY179" fmla="*/ 961092 h 1333436"/>
                <a:gd name="connsiteX180" fmla="*/ 432807 w 752994"/>
                <a:gd name="connsiteY180" fmla="*/ 964757 h 1333436"/>
                <a:gd name="connsiteX181" fmla="*/ 439129 w 752994"/>
                <a:gd name="connsiteY181" fmla="*/ 960065 h 1333436"/>
                <a:gd name="connsiteX182" fmla="*/ 442407 w 752994"/>
                <a:gd name="connsiteY182" fmla="*/ 952534 h 1333436"/>
                <a:gd name="connsiteX183" fmla="*/ 442607 w 752994"/>
                <a:gd name="connsiteY183" fmla="*/ 951909 h 1333436"/>
                <a:gd name="connsiteX184" fmla="*/ 453422 w 752994"/>
                <a:gd name="connsiteY184" fmla="*/ 898487 h 1333436"/>
                <a:gd name="connsiteX185" fmla="*/ 689408 w 752994"/>
                <a:gd name="connsiteY185" fmla="*/ 945184 h 1333436"/>
                <a:gd name="connsiteX186" fmla="*/ 710622 w 752994"/>
                <a:gd name="connsiteY186" fmla="*/ 948043 h 1333436"/>
                <a:gd name="connsiteX187" fmla="*/ 654533 w 752994"/>
                <a:gd name="connsiteY187" fmla="*/ 1333436 h 1333436"/>
                <a:gd name="connsiteX188" fmla="*/ 546831 w 752994"/>
                <a:gd name="connsiteY188" fmla="*/ 1317126 h 1333436"/>
                <a:gd name="connsiteX189" fmla="*/ 351227 w 752994"/>
                <a:gd name="connsiteY189" fmla="*/ 1194172 h 1333436"/>
                <a:gd name="connsiteX190" fmla="*/ 361011 w 752994"/>
                <a:gd name="connsiteY190" fmla="*/ 1182755 h 1333436"/>
                <a:gd name="connsiteX191" fmla="*/ 368981 w 752994"/>
                <a:gd name="connsiteY191" fmla="*/ 1182130 h 1333436"/>
                <a:gd name="connsiteX192" fmla="*/ 369571 w 752994"/>
                <a:gd name="connsiteY192" fmla="*/ 1181558 h 1333436"/>
                <a:gd name="connsiteX193" fmla="*/ 362372 w 752994"/>
                <a:gd name="connsiteY193" fmla="*/ 1182120 h 1333436"/>
                <a:gd name="connsiteX194" fmla="*/ 229464 w 752994"/>
                <a:gd name="connsiteY194" fmla="*/ 1161721 h 1333436"/>
                <a:gd name="connsiteX195" fmla="*/ 227427 w 752994"/>
                <a:gd name="connsiteY195" fmla="*/ 1157269 h 1333436"/>
                <a:gd name="connsiteX196" fmla="*/ 224967 w 752994"/>
                <a:gd name="connsiteY196" fmla="*/ 1152575 h 1333436"/>
                <a:gd name="connsiteX197" fmla="*/ 225582 w 752994"/>
                <a:gd name="connsiteY197" fmla="*/ 1144808 h 1333436"/>
                <a:gd name="connsiteX198" fmla="*/ 227215 w 752994"/>
                <a:gd name="connsiteY198" fmla="*/ 1135834 h 1333436"/>
                <a:gd name="connsiteX199" fmla="*/ 227215 w 752994"/>
                <a:gd name="connsiteY199" fmla="*/ 1134212 h 1333436"/>
                <a:gd name="connsiteX200" fmla="*/ 225179 w 752994"/>
                <a:gd name="connsiteY200" fmla="*/ 1114020 h 1333436"/>
                <a:gd name="connsiteX201" fmla="*/ 217839 w 752994"/>
                <a:gd name="connsiteY201" fmla="*/ 1100352 h 1333436"/>
                <a:gd name="connsiteX202" fmla="*/ 199661 w 752994"/>
                <a:gd name="connsiteY202" fmla="*/ 1076502 h 1333436"/>
                <a:gd name="connsiteX203" fmla="*/ 196395 w 752994"/>
                <a:gd name="connsiteY203" fmla="*/ 1071807 h 1333436"/>
                <a:gd name="connsiteX204" fmla="*/ 190880 w 752994"/>
                <a:gd name="connsiteY204" fmla="*/ 1067527 h 1333436"/>
                <a:gd name="connsiteX205" fmla="*/ 187210 w 752994"/>
                <a:gd name="connsiteY205" fmla="*/ 1068735 h 1333436"/>
                <a:gd name="connsiteX206" fmla="*/ 180062 w 752994"/>
                <a:gd name="connsiteY206" fmla="*/ 1066699 h 1333436"/>
                <a:gd name="connsiteX207" fmla="*/ 180466 w 752994"/>
                <a:gd name="connsiteY207" fmla="*/ 1053031 h 1333436"/>
                <a:gd name="connsiteX208" fmla="*/ 180062 w 752994"/>
                <a:gd name="connsiteY208" fmla="*/ 1045299 h 1333436"/>
                <a:gd name="connsiteX209" fmla="*/ 174144 w 752994"/>
                <a:gd name="connsiteY209" fmla="*/ 1044057 h 1333436"/>
                <a:gd name="connsiteX210" fmla="*/ 158426 w 752994"/>
                <a:gd name="connsiteY210" fmla="*/ 1042641 h 1333436"/>
                <a:gd name="connsiteX211" fmla="*/ 149857 w 752994"/>
                <a:gd name="connsiteY211" fmla="*/ 1035497 h 1333436"/>
                <a:gd name="connsiteX212" fmla="*/ 142497 w 752994"/>
                <a:gd name="connsiteY212" fmla="*/ 1028766 h 1333436"/>
                <a:gd name="connsiteX213" fmla="*/ 140864 w 752994"/>
                <a:gd name="connsiteY213" fmla="*/ 1020620 h 1333436"/>
                <a:gd name="connsiteX214" fmla="*/ 138212 w 752994"/>
                <a:gd name="connsiteY214" fmla="*/ 1013061 h 1333436"/>
                <a:gd name="connsiteX215" fmla="*/ 131064 w 752994"/>
                <a:gd name="connsiteY215" fmla="*/ 1007159 h 1333436"/>
                <a:gd name="connsiteX216" fmla="*/ 121264 w 752994"/>
                <a:gd name="connsiteY216" fmla="*/ 1005330 h 1333436"/>
                <a:gd name="connsiteX217" fmla="*/ 112483 w 752994"/>
                <a:gd name="connsiteY217" fmla="*/ 1001671 h 1333436"/>
                <a:gd name="connsiteX218" fmla="*/ 105950 w 752994"/>
                <a:gd name="connsiteY218" fmla="*/ 995734 h 1333436"/>
                <a:gd name="connsiteX219" fmla="*/ 97380 w 752994"/>
                <a:gd name="connsiteY219" fmla="*/ 994526 h 1333436"/>
                <a:gd name="connsiteX220" fmla="*/ 87984 w 752994"/>
                <a:gd name="connsiteY220" fmla="*/ 991040 h 1333436"/>
                <a:gd name="connsiteX221" fmla="*/ 80029 w 752994"/>
                <a:gd name="connsiteY221" fmla="*/ 985138 h 1333436"/>
                <a:gd name="connsiteX222" fmla="*/ 77166 w 752994"/>
                <a:gd name="connsiteY222" fmla="*/ 976164 h 1333436"/>
                <a:gd name="connsiteX223" fmla="*/ 79203 w 752994"/>
                <a:gd name="connsiteY223" fmla="*/ 970676 h 1333436"/>
                <a:gd name="connsiteX224" fmla="*/ 82470 w 752994"/>
                <a:gd name="connsiteY224" fmla="*/ 963117 h 1333436"/>
                <a:gd name="connsiteX225" fmla="*/ 84314 w 752994"/>
                <a:gd name="connsiteY225" fmla="*/ 954557 h 1333436"/>
                <a:gd name="connsiteX226" fmla="*/ 86351 w 752994"/>
                <a:gd name="connsiteY226" fmla="*/ 948033 h 1333436"/>
                <a:gd name="connsiteX227" fmla="*/ 86159 w 752994"/>
                <a:gd name="connsiteY227" fmla="*/ 942925 h 1333436"/>
                <a:gd name="connsiteX228" fmla="*/ 83085 w 752994"/>
                <a:gd name="connsiteY228" fmla="*/ 939853 h 1333436"/>
                <a:gd name="connsiteX229" fmla="*/ 77570 w 752994"/>
                <a:gd name="connsiteY229" fmla="*/ 937437 h 1333436"/>
                <a:gd name="connsiteX230" fmla="*/ 76763 w 752994"/>
                <a:gd name="connsiteY230" fmla="*/ 931915 h 1333436"/>
                <a:gd name="connsiteX231" fmla="*/ 78800 w 752994"/>
                <a:gd name="connsiteY231" fmla="*/ 927013 h 1333436"/>
                <a:gd name="connsiteX232" fmla="*/ 79626 w 752994"/>
                <a:gd name="connsiteY232" fmla="*/ 922526 h 1333436"/>
                <a:gd name="connsiteX233" fmla="*/ 77781 w 752994"/>
                <a:gd name="connsiteY233" fmla="*/ 919903 h 1333436"/>
                <a:gd name="connsiteX234" fmla="*/ 74303 w 752994"/>
                <a:gd name="connsiteY234" fmla="*/ 917418 h 1333436"/>
                <a:gd name="connsiteX235" fmla="*/ 71863 w 752994"/>
                <a:gd name="connsiteY235" fmla="*/ 915174 h 1333436"/>
                <a:gd name="connsiteX236" fmla="*/ 71652 w 752994"/>
                <a:gd name="connsiteY236" fmla="*/ 910894 h 1333436"/>
                <a:gd name="connsiteX237" fmla="*/ 70633 w 752994"/>
                <a:gd name="connsiteY237" fmla="*/ 906614 h 1333436"/>
                <a:gd name="connsiteX238" fmla="*/ 68385 w 752994"/>
                <a:gd name="connsiteY238" fmla="*/ 902749 h 1333436"/>
                <a:gd name="connsiteX239" fmla="*/ 61045 w 752994"/>
                <a:gd name="connsiteY239" fmla="*/ 889494 h 1333436"/>
                <a:gd name="connsiteX240" fmla="*/ 57971 w 752994"/>
                <a:gd name="connsiteY240" fmla="*/ 875619 h 1333436"/>
                <a:gd name="connsiteX241" fmla="*/ 52264 w 752994"/>
                <a:gd name="connsiteY241" fmla="*/ 862572 h 1333436"/>
                <a:gd name="connsiteX242" fmla="*/ 44309 w 752994"/>
                <a:gd name="connsiteY242" fmla="*/ 850561 h 1333436"/>
                <a:gd name="connsiteX243" fmla="*/ 45520 w 752994"/>
                <a:gd name="connsiteY243" fmla="*/ 827090 h 1333436"/>
                <a:gd name="connsiteX244" fmla="*/ 53071 w 752994"/>
                <a:gd name="connsiteY244" fmla="*/ 822396 h 1333436"/>
                <a:gd name="connsiteX245" fmla="*/ 57375 w 752994"/>
                <a:gd name="connsiteY245" fmla="*/ 816493 h 1333436"/>
                <a:gd name="connsiteX246" fmla="*/ 55319 w 752994"/>
                <a:gd name="connsiteY246" fmla="*/ 801617 h 1333436"/>
                <a:gd name="connsiteX247" fmla="*/ 48383 w 752994"/>
                <a:gd name="connsiteY247" fmla="*/ 802204 h 1333436"/>
                <a:gd name="connsiteX248" fmla="*/ 40428 w 752994"/>
                <a:gd name="connsiteY248" fmla="*/ 797924 h 1333436"/>
                <a:gd name="connsiteX249" fmla="*/ 37565 w 752994"/>
                <a:gd name="connsiteY249" fmla="*/ 790606 h 1333436"/>
                <a:gd name="connsiteX250" fmla="*/ 37565 w 752994"/>
                <a:gd name="connsiteY250" fmla="*/ 790399 h 1333436"/>
                <a:gd name="connsiteX251" fmla="*/ 35931 w 752994"/>
                <a:gd name="connsiteY251" fmla="*/ 785912 h 1333436"/>
                <a:gd name="connsiteX252" fmla="*/ 34510 w 752994"/>
                <a:gd name="connsiteY252" fmla="*/ 780597 h 1333436"/>
                <a:gd name="connsiteX253" fmla="*/ 36335 w 752994"/>
                <a:gd name="connsiteY253" fmla="*/ 774280 h 1333436"/>
                <a:gd name="connsiteX254" fmla="*/ 38180 w 752994"/>
                <a:gd name="connsiteY254" fmla="*/ 766721 h 1333436"/>
                <a:gd name="connsiteX255" fmla="*/ 37161 w 752994"/>
                <a:gd name="connsiteY255" fmla="*/ 760405 h 1333436"/>
                <a:gd name="connsiteX256" fmla="*/ 35720 w 752994"/>
                <a:gd name="connsiteY256" fmla="*/ 754710 h 1333436"/>
                <a:gd name="connsiteX257" fmla="*/ 36546 w 752994"/>
                <a:gd name="connsiteY257" fmla="*/ 748773 h 1333436"/>
                <a:gd name="connsiteX258" fmla="*/ 38372 w 752994"/>
                <a:gd name="connsiteY258" fmla="*/ 744528 h 1333436"/>
                <a:gd name="connsiteX259" fmla="*/ 41638 w 752994"/>
                <a:gd name="connsiteY259" fmla="*/ 744321 h 1333436"/>
                <a:gd name="connsiteX260" fmla="*/ 44713 w 752994"/>
                <a:gd name="connsiteY260" fmla="*/ 746357 h 1333436"/>
                <a:gd name="connsiteX261" fmla="*/ 47364 w 752994"/>
                <a:gd name="connsiteY261" fmla="*/ 753260 h 1333436"/>
                <a:gd name="connsiteX262" fmla="*/ 55742 w 752994"/>
                <a:gd name="connsiteY262" fmla="*/ 764305 h 1333436"/>
                <a:gd name="connsiteX263" fmla="*/ 56338 w 752994"/>
                <a:gd name="connsiteY263" fmla="*/ 761233 h 1333436"/>
                <a:gd name="connsiteX264" fmla="*/ 56145 w 752994"/>
                <a:gd name="connsiteY264" fmla="*/ 757368 h 1333436"/>
                <a:gd name="connsiteX265" fmla="*/ 54916 w 752994"/>
                <a:gd name="connsiteY265" fmla="*/ 748601 h 1333436"/>
                <a:gd name="connsiteX266" fmla="*/ 52879 w 752994"/>
                <a:gd name="connsiteY266" fmla="*/ 747358 h 1333436"/>
                <a:gd name="connsiteX267" fmla="*/ 51649 w 752994"/>
                <a:gd name="connsiteY267" fmla="*/ 745322 h 1333436"/>
                <a:gd name="connsiteX268" fmla="*/ 51649 w 752994"/>
                <a:gd name="connsiteY268" fmla="*/ 739212 h 1333436"/>
                <a:gd name="connsiteX269" fmla="*/ 50227 w 752994"/>
                <a:gd name="connsiteY269" fmla="*/ 734725 h 1333436"/>
                <a:gd name="connsiteX270" fmla="*/ 48786 w 752994"/>
                <a:gd name="connsiteY270" fmla="*/ 731446 h 1333436"/>
                <a:gd name="connsiteX271" fmla="*/ 54512 w 752994"/>
                <a:gd name="connsiteY271" fmla="*/ 726372 h 1333436"/>
                <a:gd name="connsiteX272" fmla="*/ 59815 w 752994"/>
                <a:gd name="connsiteY272" fmla="*/ 725130 h 1333436"/>
                <a:gd name="connsiteX273" fmla="*/ 58182 w 752994"/>
                <a:gd name="connsiteY273" fmla="*/ 722886 h 1333436"/>
                <a:gd name="connsiteX274" fmla="*/ 51861 w 752994"/>
                <a:gd name="connsiteY274" fmla="*/ 717985 h 1333436"/>
                <a:gd name="connsiteX275" fmla="*/ 46749 w 752994"/>
                <a:gd name="connsiteY275" fmla="*/ 729617 h 1333436"/>
                <a:gd name="connsiteX276" fmla="*/ 40831 w 752994"/>
                <a:gd name="connsiteY276" fmla="*/ 739212 h 1333436"/>
                <a:gd name="connsiteX277" fmla="*/ 39601 w 752994"/>
                <a:gd name="connsiteY277" fmla="*/ 738798 h 1333436"/>
                <a:gd name="connsiteX278" fmla="*/ 39409 w 752994"/>
                <a:gd name="connsiteY278" fmla="*/ 738591 h 1333436"/>
                <a:gd name="connsiteX279" fmla="*/ 37161 w 752994"/>
                <a:gd name="connsiteY279" fmla="*/ 734725 h 1333436"/>
                <a:gd name="connsiteX280" fmla="*/ 32665 w 752994"/>
                <a:gd name="connsiteY280" fmla="*/ 727788 h 1333436"/>
                <a:gd name="connsiteX281" fmla="*/ 26747 w 752994"/>
                <a:gd name="connsiteY281" fmla="*/ 719435 h 1333436"/>
                <a:gd name="connsiteX282" fmla="*/ 23884 w 752994"/>
                <a:gd name="connsiteY282" fmla="*/ 717812 h 1333436"/>
                <a:gd name="connsiteX283" fmla="*/ 24710 w 752994"/>
                <a:gd name="connsiteY283" fmla="*/ 709632 h 1333436"/>
                <a:gd name="connsiteX284" fmla="*/ 27554 w 752994"/>
                <a:gd name="connsiteY284" fmla="*/ 701694 h 1333436"/>
                <a:gd name="connsiteX285" fmla="*/ 24902 w 752994"/>
                <a:gd name="connsiteY285" fmla="*/ 696171 h 1333436"/>
                <a:gd name="connsiteX286" fmla="*/ 24095 w 752994"/>
                <a:gd name="connsiteY286" fmla="*/ 687818 h 1333436"/>
                <a:gd name="connsiteX287" fmla="*/ 22462 w 752994"/>
                <a:gd name="connsiteY287" fmla="*/ 682330 h 1333436"/>
                <a:gd name="connsiteX288" fmla="*/ 17159 w 752994"/>
                <a:gd name="connsiteY288" fmla="*/ 677636 h 1333436"/>
                <a:gd name="connsiteX289" fmla="*/ 14296 w 752994"/>
                <a:gd name="connsiteY289" fmla="*/ 671492 h 1333436"/>
                <a:gd name="connsiteX290" fmla="*/ 12451 w 752994"/>
                <a:gd name="connsiteY290" fmla="*/ 665797 h 1333436"/>
                <a:gd name="connsiteX291" fmla="*/ 5111 w 752994"/>
                <a:gd name="connsiteY291" fmla="*/ 654994 h 1333436"/>
                <a:gd name="connsiteX292" fmla="*/ 2248 w 752994"/>
                <a:gd name="connsiteY292" fmla="*/ 645605 h 1333436"/>
                <a:gd name="connsiteX293" fmla="*/ 4496 w 752994"/>
                <a:gd name="connsiteY293" fmla="*/ 640497 h 1333436"/>
                <a:gd name="connsiteX294" fmla="*/ 6744 w 752994"/>
                <a:gd name="connsiteY294" fmla="*/ 632765 h 1333436"/>
                <a:gd name="connsiteX295" fmla="*/ 6744 w 752994"/>
                <a:gd name="connsiteY295" fmla="*/ 628485 h 1333436"/>
                <a:gd name="connsiteX296" fmla="*/ 6533 w 752994"/>
                <a:gd name="connsiteY296" fmla="*/ 620305 h 1333436"/>
                <a:gd name="connsiteX297" fmla="*/ 7359 w 752994"/>
                <a:gd name="connsiteY297" fmla="*/ 611745 h 1333436"/>
                <a:gd name="connsiteX298" fmla="*/ 11836 w 752994"/>
                <a:gd name="connsiteY298" fmla="*/ 602978 h 1333436"/>
                <a:gd name="connsiteX299" fmla="*/ 15103 w 752994"/>
                <a:gd name="connsiteY299" fmla="*/ 591760 h 1333436"/>
                <a:gd name="connsiteX300" fmla="*/ 14488 w 752994"/>
                <a:gd name="connsiteY300" fmla="*/ 584029 h 1333436"/>
                <a:gd name="connsiteX301" fmla="*/ 13873 w 752994"/>
                <a:gd name="connsiteY301" fmla="*/ 578299 h 1333436"/>
                <a:gd name="connsiteX302" fmla="*/ 10626 w 752994"/>
                <a:gd name="connsiteY302" fmla="*/ 568531 h 1333436"/>
                <a:gd name="connsiteX303" fmla="*/ 3670 w 752994"/>
                <a:gd name="connsiteY303" fmla="*/ 558107 h 1333436"/>
                <a:gd name="connsiteX304" fmla="*/ 0 w 752994"/>
                <a:gd name="connsiteY304" fmla="*/ 551377 h 1333436"/>
                <a:gd name="connsiteX305" fmla="*/ 0 w 752994"/>
                <a:gd name="connsiteY305" fmla="*/ 550997 h 1333436"/>
                <a:gd name="connsiteX306" fmla="*/ 4900 w 752994"/>
                <a:gd name="connsiteY306" fmla="*/ 531220 h 1333436"/>
                <a:gd name="connsiteX307" fmla="*/ 13873 w 752994"/>
                <a:gd name="connsiteY307" fmla="*/ 520589 h 1333436"/>
                <a:gd name="connsiteX308" fmla="*/ 18369 w 752994"/>
                <a:gd name="connsiteY308" fmla="*/ 516516 h 1333436"/>
                <a:gd name="connsiteX309" fmla="*/ 18773 w 752994"/>
                <a:gd name="connsiteY309" fmla="*/ 514272 h 1333436"/>
                <a:gd name="connsiteX310" fmla="*/ 23077 w 752994"/>
                <a:gd name="connsiteY310" fmla="*/ 506127 h 1333436"/>
                <a:gd name="connsiteX311" fmla="*/ 23884 w 752994"/>
                <a:gd name="connsiteY311" fmla="*/ 502261 h 1333436"/>
                <a:gd name="connsiteX312" fmla="*/ 23692 w 752994"/>
                <a:gd name="connsiteY312" fmla="*/ 496738 h 1333436"/>
                <a:gd name="connsiteX313" fmla="*/ 30013 w 752994"/>
                <a:gd name="connsiteY313" fmla="*/ 486556 h 1333436"/>
                <a:gd name="connsiteX314" fmla="*/ 36546 w 752994"/>
                <a:gd name="connsiteY314" fmla="*/ 470230 h 1333436"/>
                <a:gd name="connsiteX315" fmla="*/ 36546 w 752994"/>
                <a:gd name="connsiteY315" fmla="*/ 462671 h 1333436"/>
                <a:gd name="connsiteX316" fmla="*/ 36335 w 752994"/>
                <a:gd name="connsiteY316" fmla="*/ 461670 h 1333436"/>
                <a:gd name="connsiteX317" fmla="*/ 35931 w 752994"/>
                <a:gd name="connsiteY317" fmla="*/ 453110 h 1333436"/>
                <a:gd name="connsiteX318" fmla="*/ 38583 w 752994"/>
                <a:gd name="connsiteY318" fmla="*/ 442514 h 1333436"/>
                <a:gd name="connsiteX319" fmla="*/ 41043 w 752994"/>
                <a:gd name="connsiteY319" fmla="*/ 436991 h 1333436"/>
                <a:gd name="connsiteX320" fmla="*/ 41650 w 752994"/>
                <a:gd name="connsiteY320" fmla="*/ 437186 h 1333436"/>
                <a:gd name="connsiteX321" fmla="*/ 41239 w 752994"/>
                <a:gd name="connsiteY321" fmla="*/ 436549 h 1333436"/>
                <a:gd name="connsiteX322" fmla="*/ 37778 w 752994"/>
                <a:gd name="connsiteY322" fmla="*/ 433894 h 1333436"/>
                <a:gd name="connsiteX323" fmla="*/ 37169 w 752994"/>
                <a:gd name="connsiteY323" fmla="*/ 432261 h 1333436"/>
                <a:gd name="connsiteX324" fmla="*/ 37365 w 752994"/>
                <a:gd name="connsiteY324" fmla="*/ 429198 h 1333436"/>
                <a:gd name="connsiteX325" fmla="*/ 36756 w 752994"/>
                <a:gd name="connsiteY325" fmla="*/ 422272 h 1333436"/>
                <a:gd name="connsiteX326" fmla="*/ 36952 w 752994"/>
                <a:gd name="connsiteY326" fmla="*/ 418800 h 1333436"/>
                <a:gd name="connsiteX327" fmla="*/ 36756 w 752994"/>
                <a:gd name="connsiteY327" fmla="*/ 412487 h 1333436"/>
                <a:gd name="connsiteX328" fmla="*/ 40433 w 752994"/>
                <a:gd name="connsiteY328" fmla="*/ 406174 h 1333436"/>
                <a:gd name="connsiteX329" fmla="*/ 44720 w 752994"/>
                <a:gd name="connsiteY329" fmla="*/ 399435 h 1333436"/>
                <a:gd name="connsiteX330" fmla="*/ 44110 w 752994"/>
                <a:gd name="connsiteY330" fmla="*/ 389651 h 1333436"/>
                <a:gd name="connsiteX331" fmla="*/ 43894 w 752994"/>
                <a:gd name="connsiteY331" fmla="*/ 378437 h 1333436"/>
                <a:gd name="connsiteX332" fmla="*/ 47158 w 752994"/>
                <a:gd name="connsiteY332" fmla="*/ 371102 h 1333436"/>
                <a:gd name="connsiteX333" fmla="*/ 55731 w 752994"/>
                <a:gd name="connsiteY333" fmla="*/ 360909 h 1333436"/>
                <a:gd name="connsiteX334" fmla="*/ 57580 w 752994"/>
                <a:gd name="connsiteY334" fmla="*/ 355804 h 1333436"/>
                <a:gd name="connsiteX335" fmla="*/ 62673 w 752994"/>
                <a:gd name="connsiteY335" fmla="*/ 349695 h 1333436"/>
                <a:gd name="connsiteX336" fmla="*/ 65937 w 752994"/>
                <a:gd name="connsiteY336" fmla="*/ 348470 h 1333436"/>
                <a:gd name="connsiteX337" fmla="*/ 68395 w 752994"/>
                <a:gd name="connsiteY337" fmla="*/ 348674 h 1333436"/>
                <a:gd name="connsiteX338" fmla="*/ 70224 w 752994"/>
                <a:gd name="connsiteY338" fmla="*/ 347449 h 1333436"/>
                <a:gd name="connsiteX339" fmla="*/ 67785 w 752994"/>
                <a:gd name="connsiteY339" fmla="*/ 345203 h 1333436"/>
                <a:gd name="connsiteX340" fmla="*/ 65524 w 752994"/>
                <a:gd name="connsiteY340" fmla="*/ 343178 h 1333436"/>
                <a:gd name="connsiteX341" fmla="*/ 73095 w 752994"/>
                <a:gd name="connsiteY341" fmla="*/ 333376 h 1333436"/>
                <a:gd name="connsiteX342" fmla="*/ 73291 w 752994"/>
                <a:gd name="connsiteY342" fmla="*/ 333376 h 1333436"/>
                <a:gd name="connsiteX343" fmla="*/ 77991 w 752994"/>
                <a:gd name="connsiteY343" fmla="*/ 325838 h 1333436"/>
                <a:gd name="connsiteX344" fmla="*/ 82671 w 752994"/>
                <a:gd name="connsiteY344" fmla="*/ 313619 h 1333436"/>
                <a:gd name="connsiteX345" fmla="*/ 87980 w 752994"/>
                <a:gd name="connsiteY345" fmla="*/ 303018 h 1333436"/>
                <a:gd name="connsiteX346" fmla="*/ 92267 w 752994"/>
                <a:gd name="connsiteY346" fmla="*/ 291191 h 1333436"/>
                <a:gd name="connsiteX347" fmla="*/ 96553 w 752994"/>
                <a:gd name="connsiteY347" fmla="*/ 281202 h 1333436"/>
                <a:gd name="connsiteX348" fmla="*/ 99621 w 752994"/>
                <a:gd name="connsiteY348" fmla="*/ 274481 h 1333436"/>
                <a:gd name="connsiteX349" fmla="*/ 103082 w 752994"/>
                <a:gd name="connsiteY349" fmla="*/ 262450 h 1333436"/>
                <a:gd name="connsiteX350" fmla="*/ 107172 w 752994"/>
                <a:gd name="connsiteY350" fmla="*/ 254299 h 1333436"/>
                <a:gd name="connsiteX351" fmla="*/ 112481 w 752994"/>
                <a:gd name="connsiteY351" fmla="*/ 243697 h 1333436"/>
                <a:gd name="connsiteX352" fmla="*/ 117181 w 752994"/>
                <a:gd name="connsiteY352" fmla="*/ 232279 h 1333436"/>
                <a:gd name="connsiteX353" fmla="*/ 125951 w 752994"/>
                <a:gd name="connsiteY353" fmla="*/ 217389 h 1333436"/>
                <a:gd name="connsiteX354" fmla="*/ 136156 w 752994"/>
                <a:gd name="connsiteY354" fmla="*/ 202925 h 1333436"/>
                <a:gd name="connsiteX355" fmla="*/ 138811 w 752994"/>
                <a:gd name="connsiteY355" fmla="*/ 183339 h 1333436"/>
                <a:gd name="connsiteX356" fmla="*/ 148801 w 752994"/>
                <a:gd name="connsiteY356" fmla="*/ 167445 h 1333436"/>
                <a:gd name="connsiteX357" fmla="*/ 159616 w 752994"/>
                <a:gd name="connsiteY357" fmla="*/ 170712 h 1333436"/>
                <a:gd name="connsiteX358" fmla="*/ 173105 w 752994"/>
                <a:gd name="connsiteY358" fmla="*/ 175188 h 1333436"/>
                <a:gd name="connsiteX359" fmla="*/ 175347 w 752994"/>
                <a:gd name="connsiteY359" fmla="*/ 175188 h 1333436"/>
                <a:gd name="connsiteX360" fmla="*/ 175347 w 752994"/>
                <a:gd name="connsiteY360" fmla="*/ 173758 h 1333436"/>
                <a:gd name="connsiteX361" fmla="*/ 184975 w 752994"/>
                <a:gd name="connsiteY361" fmla="*/ 187393 h 1333436"/>
                <a:gd name="connsiteX362" fmla="*/ 184762 w 752994"/>
                <a:gd name="connsiteY362" fmla="*/ 184637 h 1333436"/>
                <a:gd name="connsiteX363" fmla="*/ 174971 w 752994"/>
                <a:gd name="connsiteY363" fmla="*/ 170774 h 1333436"/>
                <a:gd name="connsiteX364" fmla="*/ 174971 w 752994"/>
                <a:gd name="connsiteY364" fmla="*/ 169550 h 1333436"/>
                <a:gd name="connsiteX365" fmla="*/ 158851 w 752994"/>
                <a:gd name="connsiteY365" fmla="*/ 156924 h 1333436"/>
                <a:gd name="connsiteX366" fmla="*/ 147025 w 752994"/>
                <a:gd name="connsiteY366" fmla="*/ 145709 h 1333436"/>
                <a:gd name="connsiteX367" fmla="*/ 154364 w 752994"/>
                <a:gd name="connsiteY367" fmla="*/ 136335 h 1333436"/>
                <a:gd name="connsiteX368" fmla="*/ 161511 w 752994"/>
                <a:gd name="connsiteY368" fmla="*/ 131042 h 1333436"/>
                <a:gd name="connsiteX369" fmla="*/ 160902 w 752994"/>
                <a:gd name="connsiteY369" fmla="*/ 128384 h 1333436"/>
                <a:gd name="connsiteX370" fmla="*/ 160277 w 752994"/>
                <a:gd name="connsiteY370" fmla="*/ 127778 h 1333436"/>
                <a:gd name="connsiteX371" fmla="*/ 154973 w 752994"/>
                <a:gd name="connsiteY371" fmla="*/ 122077 h 1333436"/>
                <a:gd name="connsiteX372" fmla="*/ 160277 w 752994"/>
                <a:gd name="connsiteY372" fmla="*/ 115140 h 1333436"/>
                <a:gd name="connsiteX373" fmla="*/ 165181 w 752994"/>
                <a:gd name="connsiteY373" fmla="*/ 108215 h 1333436"/>
                <a:gd name="connsiteX374" fmla="*/ 161303 w 752994"/>
                <a:gd name="connsiteY374" fmla="*/ 104146 h 1333436"/>
                <a:gd name="connsiteX375" fmla="*/ 157842 w 752994"/>
                <a:gd name="connsiteY375" fmla="*/ 104542 h 1333436"/>
                <a:gd name="connsiteX376" fmla="*/ 157024 w 752994"/>
                <a:gd name="connsiteY376" fmla="*/ 102304 h 1333436"/>
                <a:gd name="connsiteX377" fmla="*/ 160694 w 752994"/>
                <a:gd name="connsiteY377" fmla="*/ 55437 h 1333436"/>
                <a:gd name="connsiteX378" fmla="*/ 160486 w 752994"/>
                <a:gd name="connsiteY378" fmla="*/ 31991 h 1333436"/>
                <a:gd name="connsiteX379" fmla="*/ 164972 w 752994"/>
                <a:gd name="connsiteY379" fmla="*/ 18141 h 1333436"/>
                <a:gd name="connsiteX380" fmla="*/ 171911 w 752994"/>
                <a:gd name="connsiteY380" fmla="*/ 11204 h 1333436"/>
                <a:gd name="connsiteX381" fmla="*/ 187406 w 752994"/>
                <a:gd name="connsiteY381" fmla="*/ 21801 h 1333436"/>
                <a:gd name="connsiteX382" fmla="*/ 210866 w 752994"/>
                <a:gd name="connsiteY382" fmla="*/ 37086 h 1333436"/>
                <a:gd name="connsiteX383" fmla="*/ 219230 w 752994"/>
                <a:gd name="connsiteY383" fmla="*/ 41166 h 1333436"/>
                <a:gd name="connsiteX384" fmla="*/ 226778 w 752994"/>
                <a:gd name="connsiteY384" fmla="*/ 47486 h 1333436"/>
                <a:gd name="connsiteX385" fmla="*/ 236152 w 752994"/>
                <a:gd name="connsiteY385" fmla="*/ 52370 h 1333436"/>
                <a:gd name="connsiteX386" fmla="*/ 239629 w 752994"/>
                <a:gd name="connsiteY386" fmla="*/ 58491 h 1333436"/>
                <a:gd name="connsiteX387" fmla="*/ 239629 w 752994"/>
                <a:gd name="connsiteY387" fmla="*/ 63376 h 1333436"/>
                <a:gd name="connsiteX388" fmla="*/ 236568 w 752994"/>
                <a:gd name="connsiteY388" fmla="*/ 67457 h 1333436"/>
                <a:gd name="connsiteX389" fmla="*/ 231264 w 752994"/>
                <a:gd name="connsiteY389" fmla="*/ 69905 h 1333436"/>
                <a:gd name="connsiteX390" fmla="*/ 216778 w 752994"/>
                <a:gd name="connsiteY390" fmla="*/ 82741 h 1333436"/>
                <a:gd name="connsiteX391" fmla="*/ 214134 w 752994"/>
                <a:gd name="connsiteY391" fmla="*/ 93536 h 1333436"/>
                <a:gd name="connsiteX392" fmla="*/ 214535 w 752994"/>
                <a:gd name="connsiteY392" fmla="*/ 96801 h 1333436"/>
                <a:gd name="connsiteX393" fmla="*/ 216378 w 752994"/>
                <a:gd name="connsiteY393" fmla="*/ 96801 h 1333436"/>
                <a:gd name="connsiteX394" fmla="*/ 230046 w 752994"/>
                <a:gd name="connsiteY394" fmla="*/ 85387 h 1333436"/>
                <a:gd name="connsiteX395" fmla="*/ 243298 w 752994"/>
                <a:gd name="connsiteY395" fmla="*/ 75198 h 1333436"/>
                <a:gd name="connsiteX396" fmla="*/ 246760 w 752994"/>
                <a:gd name="connsiteY396" fmla="*/ 77646 h 1333436"/>
                <a:gd name="connsiteX397" fmla="*/ 255541 w 752994"/>
                <a:gd name="connsiteY397" fmla="*/ 63376 h 1333436"/>
                <a:gd name="connsiteX398" fmla="*/ 259611 w 752994"/>
                <a:gd name="connsiteY398" fmla="*/ 43405 h 1333436"/>
                <a:gd name="connsiteX399" fmla="*/ 256967 w 752994"/>
                <a:gd name="connsiteY399" fmla="*/ 38520 h 1333436"/>
                <a:gd name="connsiteX400" fmla="*/ 253906 w 752994"/>
                <a:gd name="connsiteY400" fmla="*/ 34242 h 1333436"/>
                <a:gd name="connsiteX401" fmla="*/ 256967 w 752994"/>
                <a:gd name="connsiteY401" fmla="*/ 30161 h 1333436"/>
                <a:gd name="connsiteX402" fmla="*/ 262063 w 752994"/>
                <a:gd name="connsiteY402" fmla="*/ 27712 h 1333436"/>
                <a:gd name="connsiteX403" fmla="*/ 264915 w 752994"/>
                <a:gd name="connsiteY403" fmla="*/ 23026 h 1333436"/>
                <a:gd name="connsiteX404" fmla="*/ 267976 w 752994"/>
                <a:gd name="connsiteY404" fmla="*/ 22618 h 1333436"/>
                <a:gd name="connsiteX405" fmla="*/ 270427 w 752994"/>
                <a:gd name="connsiteY405" fmla="*/ 20787 h 1333436"/>
                <a:gd name="connsiteX406" fmla="*/ 263088 w 752994"/>
                <a:gd name="connsiteY406" fmla="*/ 13652 h 1333436"/>
                <a:gd name="connsiteX407" fmla="*/ 255541 w 752994"/>
                <a:gd name="connsiteY407" fmla="*/ 3055 h 1333436"/>
                <a:gd name="connsiteX408" fmla="*/ 256358 w 752994"/>
                <a:gd name="connsiteY408" fmla="*/ 1224 h 1333436"/>
                <a:gd name="connsiteX409" fmla="*/ 257159 w 752994"/>
                <a:gd name="connsiteY409"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7408 w 752994"/>
                <a:gd name="connsiteY19" fmla="*/ 290281 h 1333436"/>
                <a:gd name="connsiteX20" fmla="*/ 453944 w 752994"/>
                <a:gd name="connsiteY20" fmla="*/ 286495 h 1333436"/>
                <a:gd name="connsiteX21" fmla="*/ 457539 w 752994"/>
                <a:gd name="connsiteY21" fmla="*/ 290781 h 1333436"/>
                <a:gd name="connsiteX22" fmla="*/ 457408 w 752994"/>
                <a:gd name="connsiteY22" fmla="*/ 290281 h 1333436"/>
                <a:gd name="connsiteX23" fmla="*/ 184180 w 752994"/>
                <a:gd name="connsiteY23" fmla="*/ 213866 h 1333436"/>
                <a:gd name="connsiteX24" fmla="*/ 184117 w 752994"/>
                <a:gd name="connsiteY24" fmla="*/ 214326 h 1333436"/>
                <a:gd name="connsiteX25" fmla="*/ 185553 w 752994"/>
                <a:gd name="connsiteY25" fmla="*/ 222494 h 1333436"/>
                <a:gd name="connsiteX26" fmla="*/ 188600 w 752994"/>
                <a:gd name="connsiteY26" fmla="*/ 226970 h 1333436"/>
                <a:gd name="connsiteX27" fmla="*/ 195542 w 752994"/>
                <a:gd name="connsiteY27" fmla="*/ 231871 h 1333436"/>
                <a:gd name="connsiteX28" fmla="*/ 203093 w 752994"/>
                <a:gd name="connsiteY28" fmla="*/ 233896 h 1333436"/>
                <a:gd name="connsiteX29" fmla="*/ 217192 w 752994"/>
                <a:gd name="connsiteY29" fmla="*/ 232075 h 1333436"/>
                <a:gd name="connsiteX30" fmla="*/ 225136 w 752994"/>
                <a:gd name="connsiteY30" fmla="*/ 229829 h 1333436"/>
                <a:gd name="connsiteX31" fmla="*/ 235558 w 752994"/>
                <a:gd name="connsiteY31" fmla="*/ 232483 h 1333436"/>
                <a:gd name="connsiteX32" fmla="*/ 242499 w 752994"/>
                <a:gd name="connsiteY32" fmla="*/ 237163 h 1333436"/>
                <a:gd name="connsiteX33" fmla="*/ 248418 w 752994"/>
                <a:gd name="connsiteY33" fmla="*/ 244701 h 1333436"/>
                <a:gd name="connsiteX34" fmla="*/ 255359 w 752994"/>
                <a:gd name="connsiteY34" fmla="*/ 244906 h 1333436"/>
                <a:gd name="connsiteX35" fmla="*/ 258210 w 752994"/>
                <a:gd name="connsiteY35" fmla="*/ 244906 h 1333436"/>
                <a:gd name="connsiteX36" fmla="*/ 263303 w 752994"/>
                <a:gd name="connsiteY36" fmla="*/ 246131 h 1333436"/>
                <a:gd name="connsiteX37" fmla="*/ 269438 w 752994"/>
                <a:gd name="connsiteY37" fmla="*/ 243697 h 1333436"/>
                <a:gd name="connsiteX38" fmla="*/ 274944 w 752994"/>
                <a:gd name="connsiteY38" fmla="*/ 241451 h 1333436"/>
                <a:gd name="connsiteX39" fmla="*/ 281276 w 752994"/>
                <a:gd name="connsiteY39" fmla="*/ 245722 h 1333436"/>
                <a:gd name="connsiteX40" fmla="*/ 289240 w 752994"/>
                <a:gd name="connsiteY40" fmla="*/ 250419 h 1333436"/>
                <a:gd name="connsiteX41" fmla="*/ 297597 w 752994"/>
                <a:gd name="connsiteY41" fmla="*/ 248581 h 1333436"/>
                <a:gd name="connsiteX42" fmla="*/ 310261 w 752994"/>
                <a:gd name="connsiteY42" fmla="*/ 246539 h 1333436"/>
                <a:gd name="connsiteX43" fmla="*/ 324340 w 752994"/>
                <a:gd name="connsiteY43" fmla="*/ 244497 h 1333436"/>
                <a:gd name="connsiteX44" fmla="*/ 333523 w 752994"/>
                <a:gd name="connsiteY44" fmla="*/ 243289 h 1333436"/>
                <a:gd name="connsiteX45" fmla="*/ 341271 w 752994"/>
                <a:gd name="connsiteY45" fmla="*/ 246539 h 1333436"/>
                <a:gd name="connsiteX46" fmla="*/ 348428 w 752994"/>
                <a:gd name="connsiteY46" fmla="*/ 250011 h 1333436"/>
                <a:gd name="connsiteX47" fmla="*/ 351279 w 752994"/>
                <a:gd name="connsiteY47" fmla="*/ 247356 h 1333436"/>
                <a:gd name="connsiteX48" fmla="*/ 355566 w 752994"/>
                <a:gd name="connsiteY48" fmla="*/ 244293 h 1333436"/>
                <a:gd name="connsiteX49" fmla="*/ 365772 w 752994"/>
                <a:gd name="connsiteY49" fmla="*/ 248785 h 1333436"/>
                <a:gd name="connsiteX50" fmla="*/ 381483 w 752994"/>
                <a:gd name="connsiteY50" fmla="*/ 254912 h 1333436"/>
                <a:gd name="connsiteX51" fmla="*/ 381896 w 752994"/>
                <a:gd name="connsiteY51" fmla="*/ 255320 h 1333436"/>
                <a:gd name="connsiteX52" fmla="*/ 395366 w 752994"/>
                <a:gd name="connsiteY52" fmla="*/ 257753 h 1333436"/>
                <a:gd name="connsiteX53" fmla="*/ 414145 w 752994"/>
                <a:gd name="connsiteY53" fmla="*/ 262450 h 1333436"/>
                <a:gd name="connsiteX54" fmla="*/ 431292 w 752994"/>
                <a:gd name="connsiteY54" fmla="*/ 268151 h 1333436"/>
                <a:gd name="connsiteX55" fmla="*/ 445196 w 752994"/>
                <a:gd name="connsiteY55" fmla="*/ 269890 h 1333436"/>
                <a:gd name="connsiteX56" fmla="*/ 444145 w 752994"/>
                <a:gd name="connsiteY56" fmla="*/ 267441 h 1333436"/>
                <a:gd name="connsiteX57" fmla="*/ 444145 w 752994"/>
                <a:gd name="connsiteY57" fmla="*/ 267034 h 1333436"/>
                <a:gd name="connsiteX58" fmla="*/ 444155 w 752994"/>
                <a:gd name="connsiteY58" fmla="*/ 266811 h 1333436"/>
                <a:gd name="connsiteX59" fmla="*/ 430733 w 752994"/>
                <a:gd name="connsiteY59" fmla="*/ 265139 h 1333436"/>
                <a:gd name="connsiteX60" fmla="*/ 413603 w 752994"/>
                <a:gd name="connsiteY60" fmla="*/ 259426 h 1333436"/>
                <a:gd name="connsiteX61" fmla="*/ 394839 w 752994"/>
                <a:gd name="connsiteY61" fmla="*/ 254739 h 1333436"/>
                <a:gd name="connsiteX62" fmla="*/ 381379 w 752994"/>
                <a:gd name="connsiteY62" fmla="*/ 252303 h 1333436"/>
                <a:gd name="connsiteX63" fmla="*/ 380962 w 752994"/>
                <a:gd name="connsiteY63" fmla="*/ 251895 h 1333436"/>
                <a:gd name="connsiteX64" fmla="*/ 365258 w 752994"/>
                <a:gd name="connsiteY64" fmla="*/ 245774 h 1333436"/>
                <a:gd name="connsiteX65" fmla="*/ 355067 w 752994"/>
                <a:gd name="connsiteY65" fmla="*/ 241285 h 1333436"/>
                <a:gd name="connsiteX66" fmla="*/ 350789 w 752994"/>
                <a:gd name="connsiteY66" fmla="*/ 244352 h 1333436"/>
                <a:gd name="connsiteX67" fmla="*/ 347920 w 752994"/>
                <a:gd name="connsiteY67" fmla="*/ 246998 h 1333436"/>
                <a:gd name="connsiteX68" fmla="*/ 340789 w 752994"/>
                <a:gd name="connsiteY68" fmla="*/ 243536 h 1333436"/>
                <a:gd name="connsiteX69" fmla="*/ 333034 w 752994"/>
                <a:gd name="connsiteY69" fmla="*/ 240271 h 1333436"/>
                <a:gd name="connsiteX70" fmla="*/ 323868 w 752994"/>
                <a:gd name="connsiteY70" fmla="*/ 241495 h 1333436"/>
                <a:gd name="connsiteX71" fmla="*/ 309783 w 752994"/>
                <a:gd name="connsiteY71" fmla="*/ 243536 h 1333436"/>
                <a:gd name="connsiteX72" fmla="*/ 297140 w 752994"/>
                <a:gd name="connsiteY72" fmla="*/ 245576 h 1333436"/>
                <a:gd name="connsiteX73" fmla="*/ 288775 w 752994"/>
                <a:gd name="connsiteY73" fmla="*/ 247406 h 1333436"/>
                <a:gd name="connsiteX74" fmla="*/ 280827 w 752994"/>
                <a:gd name="connsiteY74" fmla="*/ 242720 h 1333436"/>
                <a:gd name="connsiteX75" fmla="*/ 274497 w 752994"/>
                <a:gd name="connsiteY75" fmla="*/ 238441 h 1333436"/>
                <a:gd name="connsiteX76" fmla="*/ 269001 w 752994"/>
                <a:gd name="connsiteY76" fmla="*/ 240679 h 1333436"/>
                <a:gd name="connsiteX77" fmla="*/ 262880 w 752994"/>
                <a:gd name="connsiteY77" fmla="*/ 243128 h 1333436"/>
                <a:gd name="connsiteX78" fmla="*/ 260028 w 752994"/>
                <a:gd name="connsiteY78" fmla="*/ 242720 h 1333436"/>
                <a:gd name="connsiteX79" fmla="*/ 257784 w 752994"/>
                <a:gd name="connsiteY79" fmla="*/ 241904 h 1333436"/>
                <a:gd name="connsiteX80" fmla="*/ 247994 w 752994"/>
                <a:gd name="connsiteY80" fmla="*/ 241693 h 1333436"/>
                <a:gd name="connsiteX81" fmla="*/ 242081 w 752994"/>
                <a:gd name="connsiteY81" fmla="*/ 234162 h 1333436"/>
                <a:gd name="connsiteX82" fmla="*/ 235142 w 752994"/>
                <a:gd name="connsiteY82" fmla="*/ 229476 h 1333436"/>
                <a:gd name="connsiteX83" fmla="*/ 224742 w 752994"/>
                <a:gd name="connsiteY83" fmla="*/ 226817 h 1333436"/>
                <a:gd name="connsiteX84" fmla="*/ 216778 w 752994"/>
                <a:gd name="connsiteY84" fmla="*/ 229068 h 1333436"/>
                <a:gd name="connsiteX85" fmla="*/ 202709 w 752994"/>
                <a:gd name="connsiteY85" fmla="*/ 230898 h 1333436"/>
                <a:gd name="connsiteX86" fmla="*/ 195162 w 752994"/>
                <a:gd name="connsiteY86" fmla="*/ 228857 h 1333436"/>
                <a:gd name="connsiteX87" fmla="*/ 188223 w 752994"/>
                <a:gd name="connsiteY87" fmla="*/ 223973 h 1333436"/>
                <a:gd name="connsiteX88" fmla="*/ 185163 w 752994"/>
                <a:gd name="connsiteY88" fmla="*/ 219484 h 1333436"/>
                <a:gd name="connsiteX89" fmla="*/ 184180 w 752994"/>
                <a:gd name="connsiteY89" fmla="*/ 213866 h 1333436"/>
                <a:gd name="connsiteX90" fmla="*/ 257159 w 752994"/>
                <a:gd name="connsiteY90" fmla="*/ 0 h 1333436"/>
                <a:gd name="connsiteX91" fmla="*/ 493147 w 752994"/>
                <a:gd name="connsiteY91" fmla="*/ 73157 h 1333436"/>
                <a:gd name="connsiteX92" fmla="*/ 492970 w 752994"/>
                <a:gd name="connsiteY92" fmla="*/ 73792 h 1333436"/>
                <a:gd name="connsiteX93" fmla="*/ 525816 w 752994"/>
                <a:gd name="connsiteY93" fmla="*/ 82491 h 1333436"/>
                <a:gd name="connsiteX94" fmla="*/ 520098 w 752994"/>
                <a:gd name="connsiteY94" fmla="*/ 111245 h 1333436"/>
                <a:gd name="connsiteX95" fmla="*/ 512552 w 752994"/>
                <a:gd name="connsiteY95" fmla="*/ 143854 h 1333436"/>
                <a:gd name="connsiteX96" fmla="*/ 517849 w 752994"/>
                <a:gd name="connsiteY96" fmla="*/ 157740 h 1333436"/>
                <a:gd name="connsiteX97" fmla="*/ 523160 w 752994"/>
                <a:gd name="connsiteY97" fmla="*/ 172009 h 1333436"/>
                <a:gd name="connsiteX98" fmla="*/ 521535 w 752994"/>
                <a:gd name="connsiteY98" fmla="*/ 178928 h 1333436"/>
                <a:gd name="connsiteX99" fmla="*/ 520098 w 752994"/>
                <a:gd name="connsiteY99" fmla="*/ 186279 h 1333436"/>
                <a:gd name="connsiteX100" fmla="*/ 526019 w 752994"/>
                <a:gd name="connsiteY100" fmla="*/ 193629 h 1333436"/>
                <a:gd name="connsiteX101" fmla="*/ 537251 w 752994"/>
                <a:gd name="connsiteY101" fmla="*/ 206270 h 1333436"/>
                <a:gd name="connsiteX102" fmla="*/ 542765 w 752994"/>
                <a:gd name="connsiteY102" fmla="*/ 217475 h 1333436"/>
                <a:gd name="connsiteX103" fmla="*/ 546857 w 752994"/>
                <a:gd name="connsiteY103" fmla="*/ 230930 h 1333436"/>
                <a:gd name="connsiteX104" fmla="*/ 549499 w 752994"/>
                <a:gd name="connsiteY104" fmla="*/ 235622 h 1333436"/>
                <a:gd name="connsiteX105" fmla="*/ 553388 w 752994"/>
                <a:gd name="connsiteY105" fmla="*/ 240722 h 1333436"/>
                <a:gd name="connsiteX106" fmla="*/ 557465 w 752994"/>
                <a:gd name="connsiteY106" fmla="*/ 246037 h 1333436"/>
                <a:gd name="connsiteX107" fmla="*/ 561761 w 752994"/>
                <a:gd name="connsiteY107" fmla="*/ 248671 h 1333436"/>
                <a:gd name="connsiteX108" fmla="*/ 567478 w 752994"/>
                <a:gd name="connsiteY108" fmla="*/ 247665 h 1333436"/>
                <a:gd name="connsiteX109" fmla="*/ 569931 w 752994"/>
                <a:gd name="connsiteY109" fmla="*/ 249293 h 1333436"/>
                <a:gd name="connsiteX110" fmla="*/ 570540 w 752994"/>
                <a:gd name="connsiteY110" fmla="*/ 251951 h 1333436"/>
                <a:gd name="connsiteX111" fmla="*/ 561964 w 752994"/>
                <a:gd name="connsiteY111" fmla="*/ 267656 h 1333436"/>
                <a:gd name="connsiteX112" fmla="*/ 553591 w 752994"/>
                <a:gd name="connsiteY112" fmla="*/ 289659 h 1333436"/>
                <a:gd name="connsiteX113" fmla="*/ 554810 w 752994"/>
                <a:gd name="connsiteY113" fmla="*/ 292939 h 1333436"/>
                <a:gd name="connsiteX114" fmla="*/ 556246 w 752994"/>
                <a:gd name="connsiteY114" fmla="*/ 299260 h 1333436"/>
                <a:gd name="connsiteX115" fmla="*/ 552778 w 752994"/>
                <a:gd name="connsiteY115" fmla="*/ 301917 h 1333436"/>
                <a:gd name="connsiteX116" fmla="*/ 549295 w 752994"/>
                <a:gd name="connsiteY116" fmla="*/ 306993 h 1333436"/>
                <a:gd name="connsiteX117" fmla="*/ 547061 w 752994"/>
                <a:gd name="connsiteY117" fmla="*/ 313122 h 1333436"/>
                <a:gd name="connsiteX118" fmla="*/ 544811 w 752994"/>
                <a:gd name="connsiteY118" fmla="*/ 316593 h 1333436"/>
                <a:gd name="connsiteX119" fmla="*/ 549919 w 752994"/>
                <a:gd name="connsiteY119" fmla="*/ 322698 h 1333436"/>
                <a:gd name="connsiteX120" fmla="*/ 553184 w 752994"/>
                <a:gd name="connsiteY120" fmla="*/ 325955 h 1333436"/>
                <a:gd name="connsiteX121" fmla="*/ 555840 w 752994"/>
                <a:gd name="connsiteY121" fmla="*/ 328205 h 1333436"/>
                <a:gd name="connsiteX122" fmla="*/ 574212 w 752994"/>
                <a:gd name="connsiteY122" fmla="*/ 318820 h 1333436"/>
                <a:gd name="connsiteX123" fmla="*/ 579523 w 752994"/>
                <a:gd name="connsiteY123" fmla="*/ 326577 h 1333436"/>
                <a:gd name="connsiteX124" fmla="*/ 580539 w 752994"/>
                <a:gd name="connsiteY124" fmla="*/ 334933 h 1333436"/>
                <a:gd name="connsiteX125" fmla="*/ 579726 w 752994"/>
                <a:gd name="connsiteY125" fmla="*/ 343097 h 1333436"/>
                <a:gd name="connsiteX126" fmla="*/ 581366 w 752994"/>
                <a:gd name="connsiteY126" fmla="*/ 350231 h 1333436"/>
                <a:gd name="connsiteX127" fmla="*/ 586256 w 752994"/>
                <a:gd name="connsiteY127" fmla="*/ 355930 h 1333436"/>
                <a:gd name="connsiteX128" fmla="*/ 589536 w 752994"/>
                <a:gd name="connsiteY128" fmla="*/ 362059 h 1333436"/>
                <a:gd name="connsiteX129" fmla="*/ 588099 w 752994"/>
                <a:gd name="connsiteY129" fmla="*/ 369600 h 1333436"/>
                <a:gd name="connsiteX130" fmla="*/ 586459 w 752994"/>
                <a:gd name="connsiteY130" fmla="*/ 377357 h 1333436"/>
                <a:gd name="connsiteX131" fmla="*/ 588709 w 752994"/>
                <a:gd name="connsiteY131" fmla="*/ 381835 h 1333436"/>
                <a:gd name="connsiteX132" fmla="*/ 595036 w 752994"/>
                <a:gd name="connsiteY132" fmla="*/ 382457 h 1333436"/>
                <a:gd name="connsiteX133" fmla="*/ 599331 w 752994"/>
                <a:gd name="connsiteY133" fmla="*/ 385306 h 1333436"/>
                <a:gd name="connsiteX134" fmla="*/ 601987 w 752994"/>
                <a:gd name="connsiteY134" fmla="*/ 391004 h 1333436"/>
                <a:gd name="connsiteX135" fmla="*/ 602799 w 752994"/>
                <a:gd name="connsiteY135" fmla="*/ 404076 h 1333436"/>
                <a:gd name="connsiteX136" fmla="*/ 606892 w 752994"/>
                <a:gd name="connsiteY136" fmla="*/ 415688 h 1333436"/>
                <a:gd name="connsiteX137" fmla="*/ 610563 w 752994"/>
                <a:gd name="connsiteY137" fmla="*/ 412217 h 1333436"/>
                <a:gd name="connsiteX138" fmla="*/ 617920 w 752994"/>
                <a:gd name="connsiteY138" fmla="*/ 408769 h 1333436"/>
                <a:gd name="connsiteX139" fmla="*/ 624654 w 752994"/>
                <a:gd name="connsiteY139" fmla="*/ 411211 h 1333436"/>
                <a:gd name="connsiteX140" fmla="*/ 634652 w 752994"/>
                <a:gd name="connsiteY140" fmla="*/ 410182 h 1333436"/>
                <a:gd name="connsiteX141" fmla="*/ 640573 w 752994"/>
                <a:gd name="connsiteY141" fmla="*/ 407739 h 1333436"/>
                <a:gd name="connsiteX142" fmla="*/ 646711 w 752994"/>
                <a:gd name="connsiteY142" fmla="*/ 410589 h 1333436"/>
                <a:gd name="connsiteX143" fmla="*/ 650383 w 752994"/>
                <a:gd name="connsiteY143" fmla="*/ 410589 h 1333436"/>
                <a:gd name="connsiteX144" fmla="*/ 654257 w 752994"/>
                <a:gd name="connsiteY144" fmla="*/ 411618 h 1333436"/>
                <a:gd name="connsiteX145" fmla="*/ 656913 w 752994"/>
                <a:gd name="connsiteY145" fmla="*/ 413653 h 1333436"/>
                <a:gd name="connsiteX146" fmla="*/ 660802 w 752994"/>
                <a:gd name="connsiteY146" fmla="*/ 415090 h 1333436"/>
                <a:gd name="connsiteX147" fmla="*/ 669581 w 752994"/>
                <a:gd name="connsiteY147" fmla="*/ 415904 h 1333436"/>
                <a:gd name="connsiteX148" fmla="*/ 672237 w 752994"/>
                <a:gd name="connsiteY148" fmla="*/ 415688 h 1333436"/>
                <a:gd name="connsiteX149" fmla="*/ 675705 w 752994"/>
                <a:gd name="connsiteY149" fmla="*/ 409367 h 1333436"/>
                <a:gd name="connsiteX150" fmla="*/ 679986 w 752994"/>
                <a:gd name="connsiteY150" fmla="*/ 403238 h 1333436"/>
                <a:gd name="connsiteX151" fmla="*/ 693264 w 752994"/>
                <a:gd name="connsiteY151" fmla="*/ 419567 h 1333436"/>
                <a:gd name="connsiteX152" fmla="*/ 688563 w 752994"/>
                <a:gd name="connsiteY152" fmla="*/ 448321 h 1333436"/>
                <a:gd name="connsiteX153" fmla="*/ 663949 w 752994"/>
                <a:gd name="connsiteY153" fmla="*/ 590165 h 1333436"/>
                <a:gd name="connsiteX154" fmla="*/ 666304 w 752994"/>
                <a:gd name="connsiteY154" fmla="*/ 590504 h 1333436"/>
                <a:gd name="connsiteX155" fmla="*/ 655288 w 752994"/>
                <a:gd name="connsiteY155" fmla="*/ 656178 h 1333436"/>
                <a:gd name="connsiteX156" fmla="*/ 681808 w 752994"/>
                <a:gd name="connsiteY156" fmla="*/ 662301 h 1333436"/>
                <a:gd name="connsiteX157" fmla="*/ 752994 w 752994"/>
                <a:gd name="connsiteY157" fmla="*/ 675560 h 1333436"/>
                <a:gd name="connsiteX158" fmla="*/ 714651 w 752994"/>
                <a:gd name="connsiteY158" fmla="*/ 946985 h 1333436"/>
                <a:gd name="connsiteX159" fmla="*/ 693426 w 752994"/>
                <a:gd name="connsiteY159" fmla="*/ 944128 h 1333436"/>
                <a:gd name="connsiteX160" fmla="*/ 457412 w 752994"/>
                <a:gd name="connsiteY160" fmla="*/ 897429 h 1333436"/>
                <a:gd name="connsiteX161" fmla="*/ 524385 w 752994"/>
                <a:gd name="connsiteY161" fmla="*/ 564267 h 1333436"/>
                <a:gd name="connsiteX162" fmla="*/ 453578 w 752994"/>
                <a:gd name="connsiteY162" fmla="*/ 897215 h 1333436"/>
                <a:gd name="connsiteX163" fmla="*/ 442753 w 752994"/>
                <a:gd name="connsiteY163" fmla="*/ 950656 h 1333436"/>
                <a:gd name="connsiteX164" fmla="*/ 442550 w 752994"/>
                <a:gd name="connsiteY164" fmla="*/ 951272 h 1333436"/>
                <a:gd name="connsiteX165" fmla="*/ 439290 w 752994"/>
                <a:gd name="connsiteY165" fmla="*/ 958807 h 1333436"/>
                <a:gd name="connsiteX166" fmla="*/ 432957 w 752994"/>
                <a:gd name="connsiteY166" fmla="*/ 963487 h 1333436"/>
                <a:gd name="connsiteX167" fmla="*/ 429291 w 752994"/>
                <a:gd name="connsiteY167" fmla="*/ 959817 h 1333436"/>
                <a:gd name="connsiteX168" fmla="*/ 425610 w 752994"/>
                <a:gd name="connsiteY168" fmla="*/ 955532 h 1333436"/>
                <a:gd name="connsiteX169" fmla="*/ 419292 w 752994"/>
                <a:gd name="connsiteY169" fmla="*/ 953291 h 1333436"/>
                <a:gd name="connsiteX170" fmla="*/ 414597 w 752994"/>
                <a:gd name="connsiteY170" fmla="*/ 951272 h 1333436"/>
                <a:gd name="connsiteX171" fmla="*/ 407047 w 752994"/>
                <a:gd name="connsiteY171" fmla="*/ 956148 h 1333436"/>
                <a:gd name="connsiteX172" fmla="*/ 403787 w 752994"/>
                <a:gd name="connsiteY172" fmla="*/ 963290 h 1333436"/>
                <a:gd name="connsiteX173" fmla="*/ 404052 w 752994"/>
                <a:gd name="connsiteY173" fmla="*/ 963688 h 1333436"/>
                <a:gd name="connsiteX174" fmla="*/ 406917 w 752994"/>
                <a:gd name="connsiteY174" fmla="*/ 957427 h 1333436"/>
                <a:gd name="connsiteX175" fmla="*/ 414454 w 752994"/>
                <a:gd name="connsiteY175" fmla="*/ 952534 h 1333436"/>
                <a:gd name="connsiteX176" fmla="*/ 419146 w 752994"/>
                <a:gd name="connsiteY176" fmla="*/ 954567 h 1333436"/>
                <a:gd name="connsiteX177" fmla="*/ 425469 w 752994"/>
                <a:gd name="connsiteY177" fmla="*/ 956803 h 1333436"/>
                <a:gd name="connsiteX178" fmla="*/ 429146 w 752994"/>
                <a:gd name="connsiteY178" fmla="*/ 961092 h 1333436"/>
                <a:gd name="connsiteX179" fmla="*/ 432807 w 752994"/>
                <a:gd name="connsiteY179" fmla="*/ 964757 h 1333436"/>
                <a:gd name="connsiteX180" fmla="*/ 439129 w 752994"/>
                <a:gd name="connsiteY180" fmla="*/ 960065 h 1333436"/>
                <a:gd name="connsiteX181" fmla="*/ 442407 w 752994"/>
                <a:gd name="connsiteY181" fmla="*/ 952534 h 1333436"/>
                <a:gd name="connsiteX182" fmla="*/ 442607 w 752994"/>
                <a:gd name="connsiteY182" fmla="*/ 951909 h 1333436"/>
                <a:gd name="connsiteX183" fmla="*/ 453422 w 752994"/>
                <a:gd name="connsiteY183" fmla="*/ 898487 h 1333436"/>
                <a:gd name="connsiteX184" fmla="*/ 689408 w 752994"/>
                <a:gd name="connsiteY184" fmla="*/ 945184 h 1333436"/>
                <a:gd name="connsiteX185" fmla="*/ 710622 w 752994"/>
                <a:gd name="connsiteY185" fmla="*/ 948043 h 1333436"/>
                <a:gd name="connsiteX186" fmla="*/ 654533 w 752994"/>
                <a:gd name="connsiteY186" fmla="*/ 1333436 h 1333436"/>
                <a:gd name="connsiteX187" fmla="*/ 546831 w 752994"/>
                <a:gd name="connsiteY187" fmla="*/ 1317126 h 1333436"/>
                <a:gd name="connsiteX188" fmla="*/ 351227 w 752994"/>
                <a:gd name="connsiteY188" fmla="*/ 1194172 h 1333436"/>
                <a:gd name="connsiteX189" fmla="*/ 361011 w 752994"/>
                <a:gd name="connsiteY189" fmla="*/ 1182755 h 1333436"/>
                <a:gd name="connsiteX190" fmla="*/ 368981 w 752994"/>
                <a:gd name="connsiteY190" fmla="*/ 1182130 h 1333436"/>
                <a:gd name="connsiteX191" fmla="*/ 369571 w 752994"/>
                <a:gd name="connsiteY191" fmla="*/ 1181558 h 1333436"/>
                <a:gd name="connsiteX192" fmla="*/ 362372 w 752994"/>
                <a:gd name="connsiteY192" fmla="*/ 1182120 h 1333436"/>
                <a:gd name="connsiteX193" fmla="*/ 229464 w 752994"/>
                <a:gd name="connsiteY193" fmla="*/ 1161721 h 1333436"/>
                <a:gd name="connsiteX194" fmla="*/ 227427 w 752994"/>
                <a:gd name="connsiteY194" fmla="*/ 1157269 h 1333436"/>
                <a:gd name="connsiteX195" fmla="*/ 224967 w 752994"/>
                <a:gd name="connsiteY195" fmla="*/ 1152575 h 1333436"/>
                <a:gd name="connsiteX196" fmla="*/ 225582 w 752994"/>
                <a:gd name="connsiteY196" fmla="*/ 1144808 h 1333436"/>
                <a:gd name="connsiteX197" fmla="*/ 227215 w 752994"/>
                <a:gd name="connsiteY197" fmla="*/ 1135834 h 1333436"/>
                <a:gd name="connsiteX198" fmla="*/ 227215 w 752994"/>
                <a:gd name="connsiteY198" fmla="*/ 1134212 h 1333436"/>
                <a:gd name="connsiteX199" fmla="*/ 225179 w 752994"/>
                <a:gd name="connsiteY199" fmla="*/ 1114020 h 1333436"/>
                <a:gd name="connsiteX200" fmla="*/ 217839 w 752994"/>
                <a:gd name="connsiteY200" fmla="*/ 1100352 h 1333436"/>
                <a:gd name="connsiteX201" fmla="*/ 199661 w 752994"/>
                <a:gd name="connsiteY201" fmla="*/ 1076502 h 1333436"/>
                <a:gd name="connsiteX202" fmla="*/ 196395 w 752994"/>
                <a:gd name="connsiteY202" fmla="*/ 1071807 h 1333436"/>
                <a:gd name="connsiteX203" fmla="*/ 190880 w 752994"/>
                <a:gd name="connsiteY203" fmla="*/ 1067527 h 1333436"/>
                <a:gd name="connsiteX204" fmla="*/ 187210 w 752994"/>
                <a:gd name="connsiteY204" fmla="*/ 1068735 h 1333436"/>
                <a:gd name="connsiteX205" fmla="*/ 180062 w 752994"/>
                <a:gd name="connsiteY205" fmla="*/ 1066699 h 1333436"/>
                <a:gd name="connsiteX206" fmla="*/ 180466 w 752994"/>
                <a:gd name="connsiteY206" fmla="*/ 1053031 h 1333436"/>
                <a:gd name="connsiteX207" fmla="*/ 180062 w 752994"/>
                <a:gd name="connsiteY207" fmla="*/ 1045299 h 1333436"/>
                <a:gd name="connsiteX208" fmla="*/ 174144 w 752994"/>
                <a:gd name="connsiteY208" fmla="*/ 1044057 h 1333436"/>
                <a:gd name="connsiteX209" fmla="*/ 158426 w 752994"/>
                <a:gd name="connsiteY209" fmla="*/ 1042641 h 1333436"/>
                <a:gd name="connsiteX210" fmla="*/ 149857 w 752994"/>
                <a:gd name="connsiteY210" fmla="*/ 1035497 h 1333436"/>
                <a:gd name="connsiteX211" fmla="*/ 142497 w 752994"/>
                <a:gd name="connsiteY211" fmla="*/ 1028766 h 1333436"/>
                <a:gd name="connsiteX212" fmla="*/ 140864 w 752994"/>
                <a:gd name="connsiteY212" fmla="*/ 1020620 h 1333436"/>
                <a:gd name="connsiteX213" fmla="*/ 138212 w 752994"/>
                <a:gd name="connsiteY213" fmla="*/ 1013061 h 1333436"/>
                <a:gd name="connsiteX214" fmla="*/ 131064 w 752994"/>
                <a:gd name="connsiteY214" fmla="*/ 1007159 h 1333436"/>
                <a:gd name="connsiteX215" fmla="*/ 121264 w 752994"/>
                <a:gd name="connsiteY215" fmla="*/ 1005330 h 1333436"/>
                <a:gd name="connsiteX216" fmla="*/ 112483 w 752994"/>
                <a:gd name="connsiteY216" fmla="*/ 1001671 h 1333436"/>
                <a:gd name="connsiteX217" fmla="*/ 105950 w 752994"/>
                <a:gd name="connsiteY217" fmla="*/ 995734 h 1333436"/>
                <a:gd name="connsiteX218" fmla="*/ 97380 w 752994"/>
                <a:gd name="connsiteY218" fmla="*/ 994526 h 1333436"/>
                <a:gd name="connsiteX219" fmla="*/ 87984 w 752994"/>
                <a:gd name="connsiteY219" fmla="*/ 991040 h 1333436"/>
                <a:gd name="connsiteX220" fmla="*/ 80029 w 752994"/>
                <a:gd name="connsiteY220" fmla="*/ 985138 h 1333436"/>
                <a:gd name="connsiteX221" fmla="*/ 77166 w 752994"/>
                <a:gd name="connsiteY221" fmla="*/ 976164 h 1333436"/>
                <a:gd name="connsiteX222" fmla="*/ 79203 w 752994"/>
                <a:gd name="connsiteY222" fmla="*/ 970676 h 1333436"/>
                <a:gd name="connsiteX223" fmla="*/ 82470 w 752994"/>
                <a:gd name="connsiteY223" fmla="*/ 963117 h 1333436"/>
                <a:gd name="connsiteX224" fmla="*/ 84314 w 752994"/>
                <a:gd name="connsiteY224" fmla="*/ 954557 h 1333436"/>
                <a:gd name="connsiteX225" fmla="*/ 86351 w 752994"/>
                <a:gd name="connsiteY225" fmla="*/ 948033 h 1333436"/>
                <a:gd name="connsiteX226" fmla="*/ 86159 w 752994"/>
                <a:gd name="connsiteY226" fmla="*/ 942925 h 1333436"/>
                <a:gd name="connsiteX227" fmla="*/ 83085 w 752994"/>
                <a:gd name="connsiteY227" fmla="*/ 939853 h 1333436"/>
                <a:gd name="connsiteX228" fmla="*/ 77570 w 752994"/>
                <a:gd name="connsiteY228" fmla="*/ 937437 h 1333436"/>
                <a:gd name="connsiteX229" fmla="*/ 76763 w 752994"/>
                <a:gd name="connsiteY229" fmla="*/ 931915 h 1333436"/>
                <a:gd name="connsiteX230" fmla="*/ 78800 w 752994"/>
                <a:gd name="connsiteY230" fmla="*/ 927013 h 1333436"/>
                <a:gd name="connsiteX231" fmla="*/ 79626 w 752994"/>
                <a:gd name="connsiteY231" fmla="*/ 922526 h 1333436"/>
                <a:gd name="connsiteX232" fmla="*/ 77781 w 752994"/>
                <a:gd name="connsiteY232" fmla="*/ 919903 h 1333436"/>
                <a:gd name="connsiteX233" fmla="*/ 74303 w 752994"/>
                <a:gd name="connsiteY233" fmla="*/ 917418 h 1333436"/>
                <a:gd name="connsiteX234" fmla="*/ 71863 w 752994"/>
                <a:gd name="connsiteY234" fmla="*/ 915174 h 1333436"/>
                <a:gd name="connsiteX235" fmla="*/ 71652 w 752994"/>
                <a:gd name="connsiteY235" fmla="*/ 910894 h 1333436"/>
                <a:gd name="connsiteX236" fmla="*/ 70633 w 752994"/>
                <a:gd name="connsiteY236" fmla="*/ 906614 h 1333436"/>
                <a:gd name="connsiteX237" fmla="*/ 68385 w 752994"/>
                <a:gd name="connsiteY237" fmla="*/ 902749 h 1333436"/>
                <a:gd name="connsiteX238" fmla="*/ 61045 w 752994"/>
                <a:gd name="connsiteY238" fmla="*/ 889494 h 1333436"/>
                <a:gd name="connsiteX239" fmla="*/ 57971 w 752994"/>
                <a:gd name="connsiteY239" fmla="*/ 875619 h 1333436"/>
                <a:gd name="connsiteX240" fmla="*/ 52264 w 752994"/>
                <a:gd name="connsiteY240" fmla="*/ 862572 h 1333436"/>
                <a:gd name="connsiteX241" fmla="*/ 44309 w 752994"/>
                <a:gd name="connsiteY241" fmla="*/ 850561 h 1333436"/>
                <a:gd name="connsiteX242" fmla="*/ 45520 w 752994"/>
                <a:gd name="connsiteY242" fmla="*/ 827090 h 1333436"/>
                <a:gd name="connsiteX243" fmla="*/ 53071 w 752994"/>
                <a:gd name="connsiteY243" fmla="*/ 822396 h 1333436"/>
                <a:gd name="connsiteX244" fmla="*/ 57375 w 752994"/>
                <a:gd name="connsiteY244" fmla="*/ 816493 h 1333436"/>
                <a:gd name="connsiteX245" fmla="*/ 55319 w 752994"/>
                <a:gd name="connsiteY245" fmla="*/ 801617 h 1333436"/>
                <a:gd name="connsiteX246" fmla="*/ 48383 w 752994"/>
                <a:gd name="connsiteY246" fmla="*/ 802204 h 1333436"/>
                <a:gd name="connsiteX247" fmla="*/ 40428 w 752994"/>
                <a:gd name="connsiteY247" fmla="*/ 797924 h 1333436"/>
                <a:gd name="connsiteX248" fmla="*/ 37565 w 752994"/>
                <a:gd name="connsiteY248" fmla="*/ 790606 h 1333436"/>
                <a:gd name="connsiteX249" fmla="*/ 37565 w 752994"/>
                <a:gd name="connsiteY249" fmla="*/ 790399 h 1333436"/>
                <a:gd name="connsiteX250" fmla="*/ 35931 w 752994"/>
                <a:gd name="connsiteY250" fmla="*/ 785912 h 1333436"/>
                <a:gd name="connsiteX251" fmla="*/ 34510 w 752994"/>
                <a:gd name="connsiteY251" fmla="*/ 780597 h 1333436"/>
                <a:gd name="connsiteX252" fmla="*/ 36335 w 752994"/>
                <a:gd name="connsiteY252" fmla="*/ 774280 h 1333436"/>
                <a:gd name="connsiteX253" fmla="*/ 38180 w 752994"/>
                <a:gd name="connsiteY253" fmla="*/ 766721 h 1333436"/>
                <a:gd name="connsiteX254" fmla="*/ 37161 w 752994"/>
                <a:gd name="connsiteY254" fmla="*/ 760405 h 1333436"/>
                <a:gd name="connsiteX255" fmla="*/ 35720 w 752994"/>
                <a:gd name="connsiteY255" fmla="*/ 754710 h 1333436"/>
                <a:gd name="connsiteX256" fmla="*/ 36546 w 752994"/>
                <a:gd name="connsiteY256" fmla="*/ 748773 h 1333436"/>
                <a:gd name="connsiteX257" fmla="*/ 38372 w 752994"/>
                <a:gd name="connsiteY257" fmla="*/ 744528 h 1333436"/>
                <a:gd name="connsiteX258" fmla="*/ 41638 w 752994"/>
                <a:gd name="connsiteY258" fmla="*/ 744321 h 1333436"/>
                <a:gd name="connsiteX259" fmla="*/ 44713 w 752994"/>
                <a:gd name="connsiteY259" fmla="*/ 746357 h 1333436"/>
                <a:gd name="connsiteX260" fmla="*/ 47364 w 752994"/>
                <a:gd name="connsiteY260" fmla="*/ 753260 h 1333436"/>
                <a:gd name="connsiteX261" fmla="*/ 55742 w 752994"/>
                <a:gd name="connsiteY261" fmla="*/ 764305 h 1333436"/>
                <a:gd name="connsiteX262" fmla="*/ 56338 w 752994"/>
                <a:gd name="connsiteY262" fmla="*/ 761233 h 1333436"/>
                <a:gd name="connsiteX263" fmla="*/ 56145 w 752994"/>
                <a:gd name="connsiteY263" fmla="*/ 757368 h 1333436"/>
                <a:gd name="connsiteX264" fmla="*/ 54916 w 752994"/>
                <a:gd name="connsiteY264" fmla="*/ 748601 h 1333436"/>
                <a:gd name="connsiteX265" fmla="*/ 52879 w 752994"/>
                <a:gd name="connsiteY265" fmla="*/ 747358 h 1333436"/>
                <a:gd name="connsiteX266" fmla="*/ 51649 w 752994"/>
                <a:gd name="connsiteY266" fmla="*/ 745322 h 1333436"/>
                <a:gd name="connsiteX267" fmla="*/ 51649 w 752994"/>
                <a:gd name="connsiteY267" fmla="*/ 739212 h 1333436"/>
                <a:gd name="connsiteX268" fmla="*/ 50227 w 752994"/>
                <a:gd name="connsiteY268" fmla="*/ 734725 h 1333436"/>
                <a:gd name="connsiteX269" fmla="*/ 48786 w 752994"/>
                <a:gd name="connsiteY269" fmla="*/ 731446 h 1333436"/>
                <a:gd name="connsiteX270" fmla="*/ 54512 w 752994"/>
                <a:gd name="connsiteY270" fmla="*/ 726372 h 1333436"/>
                <a:gd name="connsiteX271" fmla="*/ 59815 w 752994"/>
                <a:gd name="connsiteY271" fmla="*/ 725130 h 1333436"/>
                <a:gd name="connsiteX272" fmla="*/ 58182 w 752994"/>
                <a:gd name="connsiteY272" fmla="*/ 722886 h 1333436"/>
                <a:gd name="connsiteX273" fmla="*/ 51861 w 752994"/>
                <a:gd name="connsiteY273" fmla="*/ 717985 h 1333436"/>
                <a:gd name="connsiteX274" fmla="*/ 46749 w 752994"/>
                <a:gd name="connsiteY274" fmla="*/ 729617 h 1333436"/>
                <a:gd name="connsiteX275" fmla="*/ 40831 w 752994"/>
                <a:gd name="connsiteY275" fmla="*/ 739212 h 1333436"/>
                <a:gd name="connsiteX276" fmla="*/ 39601 w 752994"/>
                <a:gd name="connsiteY276" fmla="*/ 738798 h 1333436"/>
                <a:gd name="connsiteX277" fmla="*/ 39409 w 752994"/>
                <a:gd name="connsiteY277" fmla="*/ 738591 h 1333436"/>
                <a:gd name="connsiteX278" fmla="*/ 37161 w 752994"/>
                <a:gd name="connsiteY278" fmla="*/ 734725 h 1333436"/>
                <a:gd name="connsiteX279" fmla="*/ 32665 w 752994"/>
                <a:gd name="connsiteY279" fmla="*/ 727788 h 1333436"/>
                <a:gd name="connsiteX280" fmla="*/ 26747 w 752994"/>
                <a:gd name="connsiteY280" fmla="*/ 719435 h 1333436"/>
                <a:gd name="connsiteX281" fmla="*/ 23884 w 752994"/>
                <a:gd name="connsiteY281" fmla="*/ 717812 h 1333436"/>
                <a:gd name="connsiteX282" fmla="*/ 24710 w 752994"/>
                <a:gd name="connsiteY282" fmla="*/ 709632 h 1333436"/>
                <a:gd name="connsiteX283" fmla="*/ 27554 w 752994"/>
                <a:gd name="connsiteY283" fmla="*/ 701694 h 1333436"/>
                <a:gd name="connsiteX284" fmla="*/ 24902 w 752994"/>
                <a:gd name="connsiteY284" fmla="*/ 696171 h 1333436"/>
                <a:gd name="connsiteX285" fmla="*/ 24095 w 752994"/>
                <a:gd name="connsiteY285" fmla="*/ 687818 h 1333436"/>
                <a:gd name="connsiteX286" fmla="*/ 22462 w 752994"/>
                <a:gd name="connsiteY286" fmla="*/ 682330 h 1333436"/>
                <a:gd name="connsiteX287" fmla="*/ 17159 w 752994"/>
                <a:gd name="connsiteY287" fmla="*/ 677636 h 1333436"/>
                <a:gd name="connsiteX288" fmla="*/ 14296 w 752994"/>
                <a:gd name="connsiteY288" fmla="*/ 671492 h 1333436"/>
                <a:gd name="connsiteX289" fmla="*/ 12451 w 752994"/>
                <a:gd name="connsiteY289" fmla="*/ 665797 h 1333436"/>
                <a:gd name="connsiteX290" fmla="*/ 5111 w 752994"/>
                <a:gd name="connsiteY290" fmla="*/ 654994 h 1333436"/>
                <a:gd name="connsiteX291" fmla="*/ 2248 w 752994"/>
                <a:gd name="connsiteY291" fmla="*/ 645605 h 1333436"/>
                <a:gd name="connsiteX292" fmla="*/ 4496 w 752994"/>
                <a:gd name="connsiteY292" fmla="*/ 640497 h 1333436"/>
                <a:gd name="connsiteX293" fmla="*/ 6744 w 752994"/>
                <a:gd name="connsiteY293" fmla="*/ 632765 h 1333436"/>
                <a:gd name="connsiteX294" fmla="*/ 6744 w 752994"/>
                <a:gd name="connsiteY294" fmla="*/ 628485 h 1333436"/>
                <a:gd name="connsiteX295" fmla="*/ 6533 w 752994"/>
                <a:gd name="connsiteY295" fmla="*/ 620305 h 1333436"/>
                <a:gd name="connsiteX296" fmla="*/ 7359 w 752994"/>
                <a:gd name="connsiteY296" fmla="*/ 611745 h 1333436"/>
                <a:gd name="connsiteX297" fmla="*/ 11836 w 752994"/>
                <a:gd name="connsiteY297" fmla="*/ 602978 h 1333436"/>
                <a:gd name="connsiteX298" fmla="*/ 15103 w 752994"/>
                <a:gd name="connsiteY298" fmla="*/ 591760 h 1333436"/>
                <a:gd name="connsiteX299" fmla="*/ 14488 w 752994"/>
                <a:gd name="connsiteY299" fmla="*/ 584029 h 1333436"/>
                <a:gd name="connsiteX300" fmla="*/ 13873 w 752994"/>
                <a:gd name="connsiteY300" fmla="*/ 578299 h 1333436"/>
                <a:gd name="connsiteX301" fmla="*/ 10626 w 752994"/>
                <a:gd name="connsiteY301" fmla="*/ 568531 h 1333436"/>
                <a:gd name="connsiteX302" fmla="*/ 3670 w 752994"/>
                <a:gd name="connsiteY302" fmla="*/ 558107 h 1333436"/>
                <a:gd name="connsiteX303" fmla="*/ 0 w 752994"/>
                <a:gd name="connsiteY303" fmla="*/ 551377 h 1333436"/>
                <a:gd name="connsiteX304" fmla="*/ 0 w 752994"/>
                <a:gd name="connsiteY304" fmla="*/ 550997 h 1333436"/>
                <a:gd name="connsiteX305" fmla="*/ 4900 w 752994"/>
                <a:gd name="connsiteY305" fmla="*/ 531220 h 1333436"/>
                <a:gd name="connsiteX306" fmla="*/ 13873 w 752994"/>
                <a:gd name="connsiteY306" fmla="*/ 520589 h 1333436"/>
                <a:gd name="connsiteX307" fmla="*/ 18369 w 752994"/>
                <a:gd name="connsiteY307" fmla="*/ 516516 h 1333436"/>
                <a:gd name="connsiteX308" fmla="*/ 18773 w 752994"/>
                <a:gd name="connsiteY308" fmla="*/ 514272 h 1333436"/>
                <a:gd name="connsiteX309" fmla="*/ 23077 w 752994"/>
                <a:gd name="connsiteY309" fmla="*/ 506127 h 1333436"/>
                <a:gd name="connsiteX310" fmla="*/ 23884 w 752994"/>
                <a:gd name="connsiteY310" fmla="*/ 502261 h 1333436"/>
                <a:gd name="connsiteX311" fmla="*/ 23692 w 752994"/>
                <a:gd name="connsiteY311" fmla="*/ 496738 h 1333436"/>
                <a:gd name="connsiteX312" fmla="*/ 30013 w 752994"/>
                <a:gd name="connsiteY312" fmla="*/ 486556 h 1333436"/>
                <a:gd name="connsiteX313" fmla="*/ 36546 w 752994"/>
                <a:gd name="connsiteY313" fmla="*/ 470230 h 1333436"/>
                <a:gd name="connsiteX314" fmla="*/ 36546 w 752994"/>
                <a:gd name="connsiteY314" fmla="*/ 462671 h 1333436"/>
                <a:gd name="connsiteX315" fmla="*/ 36335 w 752994"/>
                <a:gd name="connsiteY315" fmla="*/ 461670 h 1333436"/>
                <a:gd name="connsiteX316" fmla="*/ 35931 w 752994"/>
                <a:gd name="connsiteY316" fmla="*/ 453110 h 1333436"/>
                <a:gd name="connsiteX317" fmla="*/ 38583 w 752994"/>
                <a:gd name="connsiteY317" fmla="*/ 442514 h 1333436"/>
                <a:gd name="connsiteX318" fmla="*/ 41043 w 752994"/>
                <a:gd name="connsiteY318" fmla="*/ 436991 h 1333436"/>
                <a:gd name="connsiteX319" fmla="*/ 41650 w 752994"/>
                <a:gd name="connsiteY319" fmla="*/ 437186 h 1333436"/>
                <a:gd name="connsiteX320" fmla="*/ 41239 w 752994"/>
                <a:gd name="connsiteY320" fmla="*/ 436549 h 1333436"/>
                <a:gd name="connsiteX321" fmla="*/ 37778 w 752994"/>
                <a:gd name="connsiteY321" fmla="*/ 433894 h 1333436"/>
                <a:gd name="connsiteX322" fmla="*/ 37169 w 752994"/>
                <a:gd name="connsiteY322" fmla="*/ 432261 h 1333436"/>
                <a:gd name="connsiteX323" fmla="*/ 37365 w 752994"/>
                <a:gd name="connsiteY323" fmla="*/ 429198 h 1333436"/>
                <a:gd name="connsiteX324" fmla="*/ 36756 w 752994"/>
                <a:gd name="connsiteY324" fmla="*/ 422272 h 1333436"/>
                <a:gd name="connsiteX325" fmla="*/ 36952 w 752994"/>
                <a:gd name="connsiteY325" fmla="*/ 418800 h 1333436"/>
                <a:gd name="connsiteX326" fmla="*/ 36756 w 752994"/>
                <a:gd name="connsiteY326" fmla="*/ 412487 h 1333436"/>
                <a:gd name="connsiteX327" fmla="*/ 40433 w 752994"/>
                <a:gd name="connsiteY327" fmla="*/ 406174 h 1333436"/>
                <a:gd name="connsiteX328" fmla="*/ 44720 w 752994"/>
                <a:gd name="connsiteY328" fmla="*/ 399435 h 1333436"/>
                <a:gd name="connsiteX329" fmla="*/ 44110 w 752994"/>
                <a:gd name="connsiteY329" fmla="*/ 389651 h 1333436"/>
                <a:gd name="connsiteX330" fmla="*/ 43894 w 752994"/>
                <a:gd name="connsiteY330" fmla="*/ 378437 h 1333436"/>
                <a:gd name="connsiteX331" fmla="*/ 47158 w 752994"/>
                <a:gd name="connsiteY331" fmla="*/ 371102 h 1333436"/>
                <a:gd name="connsiteX332" fmla="*/ 55731 w 752994"/>
                <a:gd name="connsiteY332" fmla="*/ 360909 h 1333436"/>
                <a:gd name="connsiteX333" fmla="*/ 57580 w 752994"/>
                <a:gd name="connsiteY333" fmla="*/ 355804 h 1333436"/>
                <a:gd name="connsiteX334" fmla="*/ 62673 w 752994"/>
                <a:gd name="connsiteY334" fmla="*/ 349695 h 1333436"/>
                <a:gd name="connsiteX335" fmla="*/ 65937 w 752994"/>
                <a:gd name="connsiteY335" fmla="*/ 348470 h 1333436"/>
                <a:gd name="connsiteX336" fmla="*/ 68395 w 752994"/>
                <a:gd name="connsiteY336" fmla="*/ 348674 h 1333436"/>
                <a:gd name="connsiteX337" fmla="*/ 70224 w 752994"/>
                <a:gd name="connsiteY337" fmla="*/ 347449 h 1333436"/>
                <a:gd name="connsiteX338" fmla="*/ 67785 w 752994"/>
                <a:gd name="connsiteY338" fmla="*/ 345203 h 1333436"/>
                <a:gd name="connsiteX339" fmla="*/ 65524 w 752994"/>
                <a:gd name="connsiteY339" fmla="*/ 343178 h 1333436"/>
                <a:gd name="connsiteX340" fmla="*/ 73095 w 752994"/>
                <a:gd name="connsiteY340" fmla="*/ 333376 h 1333436"/>
                <a:gd name="connsiteX341" fmla="*/ 73291 w 752994"/>
                <a:gd name="connsiteY341" fmla="*/ 333376 h 1333436"/>
                <a:gd name="connsiteX342" fmla="*/ 77991 w 752994"/>
                <a:gd name="connsiteY342" fmla="*/ 325838 h 1333436"/>
                <a:gd name="connsiteX343" fmla="*/ 82671 w 752994"/>
                <a:gd name="connsiteY343" fmla="*/ 313619 h 1333436"/>
                <a:gd name="connsiteX344" fmla="*/ 87980 w 752994"/>
                <a:gd name="connsiteY344" fmla="*/ 303018 h 1333436"/>
                <a:gd name="connsiteX345" fmla="*/ 92267 w 752994"/>
                <a:gd name="connsiteY345" fmla="*/ 291191 h 1333436"/>
                <a:gd name="connsiteX346" fmla="*/ 96553 w 752994"/>
                <a:gd name="connsiteY346" fmla="*/ 281202 h 1333436"/>
                <a:gd name="connsiteX347" fmla="*/ 99621 w 752994"/>
                <a:gd name="connsiteY347" fmla="*/ 274481 h 1333436"/>
                <a:gd name="connsiteX348" fmla="*/ 103082 w 752994"/>
                <a:gd name="connsiteY348" fmla="*/ 262450 h 1333436"/>
                <a:gd name="connsiteX349" fmla="*/ 107172 w 752994"/>
                <a:gd name="connsiteY349" fmla="*/ 254299 h 1333436"/>
                <a:gd name="connsiteX350" fmla="*/ 112481 w 752994"/>
                <a:gd name="connsiteY350" fmla="*/ 243697 h 1333436"/>
                <a:gd name="connsiteX351" fmla="*/ 117181 w 752994"/>
                <a:gd name="connsiteY351" fmla="*/ 232279 h 1333436"/>
                <a:gd name="connsiteX352" fmla="*/ 125951 w 752994"/>
                <a:gd name="connsiteY352" fmla="*/ 217389 h 1333436"/>
                <a:gd name="connsiteX353" fmla="*/ 136156 w 752994"/>
                <a:gd name="connsiteY353" fmla="*/ 202925 h 1333436"/>
                <a:gd name="connsiteX354" fmla="*/ 138811 w 752994"/>
                <a:gd name="connsiteY354" fmla="*/ 183339 h 1333436"/>
                <a:gd name="connsiteX355" fmla="*/ 148801 w 752994"/>
                <a:gd name="connsiteY355" fmla="*/ 167445 h 1333436"/>
                <a:gd name="connsiteX356" fmla="*/ 159616 w 752994"/>
                <a:gd name="connsiteY356" fmla="*/ 170712 h 1333436"/>
                <a:gd name="connsiteX357" fmla="*/ 173105 w 752994"/>
                <a:gd name="connsiteY357" fmla="*/ 175188 h 1333436"/>
                <a:gd name="connsiteX358" fmla="*/ 175347 w 752994"/>
                <a:gd name="connsiteY358" fmla="*/ 175188 h 1333436"/>
                <a:gd name="connsiteX359" fmla="*/ 175347 w 752994"/>
                <a:gd name="connsiteY359" fmla="*/ 173758 h 1333436"/>
                <a:gd name="connsiteX360" fmla="*/ 184975 w 752994"/>
                <a:gd name="connsiteY360" fmla="*/ 187393 h 1333436"/>
                <a:gd name="connsiteX361" fmla="*/ 184762 w 752994"/>
                <a:gd name="connsiteY361" fmla="*/ 184637 h 1333436"/>
                <a:gd name="connsiteX362" fmla="*/ 174971 w 752994"/>
                <a:gd name="connsiteY362" fmla="*/ 170774 h 1333436"/>
                <a:gd name="connsiteX363" fmla="*/ 174971 w 752994"/>
                <a:gd name="connsiteY363" fmla="*/ 169550 h 1333436"/>
                <a:gd name="connsiteX364" fmla="*/ 158851 w 752994"/>
                <a:gd name="connsiteY364" fmla="*/ 156924 h 1333436"/>
                <a:gd name="connsiteX365" fmla="*/ 147025 w 752994"/>
                <a:gd name="connsiteY365" fmla="*/ 145709 h 1333436"/>
                <a:gd name="connsiteX366" fmla="*/ 154364 w 752994"/>
                <a:gd name="connsiteY366" fmla="*/ 136335 h 1333436"/>
                <a:gd name="connsiteX367" fmla="*/ 161511 w 752994"/>
                <a:gd name="connsiteY367" fmla="*/ 131042 h 1333436"/>
                <a:gd name="connsiteX368" fmla="*/ 160902 w 752994"/>
                <a:gd name="connsiteY368" fmla="*/ 128384 h 1333436"/>
                <a:gd name="connsiteX369" fmla="*/ 160277 w 752994"/>
                <a:gd name="connsiteY369" fmla="*/ 127778 h 1333436"/>
                <a:gd name="connsiteX370" fmla="*/ 154973 w 752994"/>
                <a:gd name="connsiteY370" fmla="*/ 122077 h 1333436"/>
                <a:gd name="connsiteX371" fmla="*/ 160277 w 752994"/>
                <a:gd name="connsiteY371" fmla="*/ 115140 h 1333436"/>
                <a:gd name="connsiteX372" fmla="*/ 165181 w 752994"/>
                <a:gd name="connsiteY372" fmla="*/ 108215 h 1333436"/>
                <a:gd name="connsiteX373" fmla="*/ 161303 w 752994"/>
                <a:gd name="connsiteY373" fmla="*/ 104146 h 1333436"/>
                <a:gd name="connsiteX374" fmla="*/ 157842 w 752994"/>
                <a:gd name="connsiteY374" fmla="*/ 104542 h 1333436"/>
                <a:gd name="connsiteX375" fmla="*/ 157024 w 752994"/>
                <a:gd name="connsiteY375" fmla="*/ 102304 h 1333436"/>
                <a:gd name="connsiteX376" fmla="*/ 160694 w 752994"/>
                <a:gd name="connsiteY376" fmla="*/ 55437 h 1333436"/>
                <a:gd name="connsiteX377" fmla="*/ 160486 w 752994"/>
                <a:gd name="connsiteY377" fmla="*/ 31991 h 1333436"/>
                <a:gd name="connsiteX378" fmla="*/ 164972 w 752994"/>
                <a:gd name="connsiteY378" fmla="*/ 18141 h 1333436"/>
                <a:gd name="connsiteX379" fmla="*/ 171911 w 752994"/>
                <a:gd name="connsiteY379" fmla="*/ 11204 h 1333436"/>
                <a:gd name="connsiteX380" fmla="*/ 187406 w 752994"/>
                <a:gd name="connsiteY380" fmla="*/ 21801 h 1333436"/>
                <a:gd name="connsiteX381" fmla="*/ 210866 w 752994"/>
                <a:gd name="connsiteY381" fmla="*/ 37086 h 1333436"/>
                <a:gd name="connsiteX382" fmla="*/ 219230 w 752994"/>
                <a:gd name="connsiteY382" fmla="*/ 41166 h 1333436"/>
                <a:gd name="connsiteX383" fmla="*/ 226778 w 752994"/>
                <a:gd name="connsiteY383" fmla="*/ 47486 h 1333436"/>
                <a:gd name="connsiteX384" fmla="*/ 236152 w 752994"/>
                <a:gd name="connsiteY384" fmla="*/ 52370 h 1333436"/>
                <a:gd name="connsiteX385" fmla="*/ 239629 w 752994"/>
                <a:gd name="connsiteY385" fmla="*/ 58491 h 1333436"/>
                <a:gd name="connsiteX386" fmla="*/ 239629 w 752994"/>
                <a:gd name="connsiteY386" fmla="*/ 63376 h 1333436"/>
                <a:gd name="connsiteX387" fmla="*/ 236568 w 752994"/>
                <a:gd name="connsiteY387" fmla="*/ 67457 h 1333436"/>
                <a:gd name="connsiteX388" fmla="*/ 231264 w 752994"/>
                <a:gd name="connsiteY388" fmla="*/ 69905 h 1333436"/>
                <a:gd name="connsiteX389" fmla="*/ 216778 w 752994"/>
                <a:gd name="connsiteY389" fmla="*/ 82741 h 1333436"/>
                <a:gd name="connsiteX390" fmla="*/ 214134 w 752994"/>
                <a:gd name="connsiteY390" fmla="*/ 93536 h 1333436"/>
                <a:gd name="connsiteX391" fmla="*/ 214535 w 752994"/>
                <a:gd name="connsiteY391" fmla="*/ 96801 h 1333436"/>
                <a:gd name="connsiteX392" fmla="*/ 216378 w 752994"/>
                <a:gd name="connsiteY392" fmla="*/ 96801 h 1333436"/>
                <a:gd name="connsiteX393" fmla="*/ 230046 w 752994"/>
                <a:gd name="connsiteY393" fmla="*/ 85387 h 1333436"/>
                <a:gd name="connsiteX394" fmla="*/ 243298 w 752994"/>
                <a:gd name="connsiteY394" fmla="*/ 75198 h 1333436"/>
                <a:gd name="connsiteX395" fmla="*/ 246760 w 752994"/>
                <a:gd name="connsiteY395" fmla="*/ 77646 h 1333436"/>
                <a:gd name="connsiteX396" fmla="*/ 255541 w 752994"/>
                <a:gd name="connsiteY396" fmla="*/ 63376 h 1333436"/>
                <a:gd name="connsiteX397" fmla="*/ 259611 w 752994"/>
                <a:gd name="connsiteY397" fmla="*/ 43405 h 1333436"/>
                <a:gd name="connsiteX398" fmla="*/ 256967 w 752994"/>
                <a:gd name="connsiteY398" fmla="*/ 38520 h 1333436"/>
                <a:gd name="connsiteX399" fmla="*/ 253906 w 752994"/>
                <a:gd name="connsiteY399" fmla="*/ 34242 h 1333436"/>
                <a:gd name="connsiteX400" fmla="*/ 256967 w 752994"/>
                <a:gd name="connsiteY400" fmla="*/ 30161 h 1333436"/>
                <a:gd name="connsiteX401" fmla="*/ 262063 w 752994"/>
                <a:gd name="connsiteY401" fmla="*/ 27712 h 1333436"/>
                <a:gd name="connsiteX402" fmla="*/ 264915 w 752994"/>
                <a:gd name="connsiteY402" fmla="*/ 23026 h 1333436"/>
                <a:gd name="connsiteX403" fmla="*/ 267976 w 752994"/>
                <a:gd name="connsiteY403" fmla="*/ 22618 h 1333436"/>
                <a:gd name="connsiteX404" fmla="*/ 270427 w 752994"/>
                <a:gd name="connsiteY404" fmla="*/ 20787 h 1333436"/>
                <a:gd name="connsiteX405" fmla="*/ 263088 w 752994"/>
                <a:gd name="connsiteY405" fmla="*/ 13652 h 1333436"/>
                <a:gd name="connsiteX406" fmla="*/ 255541 w 752994"/>
                <a:gd name="connsiteY406" fmla="*/ 3055 h 1333436"/>
                <a:gd name="connsiteX407" fmla="*/ 256358 w 752994"/>
                <a:gd name="connsiteY407" fmla="*/ 1224 h 1333436"/>
                <a:gd name="connsiteX408" fmla="*/ 257159 w 752994"/>
                <a:gd name="connsiteY408"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7539 w 752994"/>
                <a:gd name="connsiteY19" fmla="*/ 290781 h 1333436"/>
                <a:gd name="connsiteX20" fmla="*/ 453944 w 752994"/>
                <a:gd name="connsiteY20" fmla="*/ 286495 h 1333436"/>
                <a:gd name="connsiteX21" fmla="*/ 457539 w 752994"/>
                <a:gd name="connsiteY21" fmla="*/ 290781 h 1333436"/>
                <a:gd name="connsiteX22" fmla="*/ 184180 w 752994"/>
                <a:gd name="connsiteY22" fmla="*/ 213866 h 1333436"/>
                <a:gd name="connsiteX23" fmla="*/ 184117 w 752994"/>
                <a:gd name="connsiteY23" fmla="*/ 214326 h 1333436"/>
                <a:gd name="connsiteX24" fmla="*/ 185553 w 752994"/>
                <a:gd name="connsiteY24" fmla="*/ 222494 h 1333436"/>
                <a:gd name="connsiteX25" fmla="*/ 188600 w 752994"/>
                <a:gd name="connsiteY25" fmla="*/ 226970 h 1333436"/>
                <a:gd name="connsiteX26" fmla="*/ 195542 w 752994"/>
                <a:gd name="connsiteY26" fmla="*/ 231871 h 1333436"/>
                <a:gd name="connsiteX27" fmla="*/ 203093 w 752994"/>
                <a:gd name="connsiteY27" fmla="*/ 233896 h 1333436"/>
                <a:gd name="connsiteX28" fmla="*/ 217192 w 752994"/>
                <a:gd name="connsiteY28" fmla="*/ 232075 h 1333436"/>
                <a:gd name="connsiteX29" fmla="*/ 225136 w 752994"/>
                <a:gd name="connsiteY29" fmla="*/ 229829 h 1333436"/>
                <a:gd name="connsiteX30" fmla="*/ 235558 w 752994"/>
                <a:gd name="connsiteY30" fmla="*/ 232483 h 1333436"/>
                <a:gd name="connsiteX31" fmla="*/ 242499 w 752994"/>
                <a:gd name="connsiteY31" fmla="*/ 237163 h 1333436"/>
                <a:gd name="connsiteX32" fmla="*/ 248418 w 752994"/>
                <a:gd name="connsiteY32" fmla="*/ 244701 h 1333436"/>
                <a:gd name="connsiteX33" fmla="*/ 255359 w 752994"/>
                <a:gd name="connsiteY33" fmla="*/ 244906 h 1333436"/>
                <a:gd name="connsiteX34" fmla="*/ 258210 w 752994"/>
                <a:gd name="connsiteY34" fmla="*/ 244906 h 1333436"/>
                <a:gd name="connsiteX35" fmla="*/ 263303 w 752994"/>
                <a:gd name="connsiteY35" fmla="*/ 246131 h 1333436"/>
                <a:gd name="connsiteX36" fmla="*/ 269438 w 752994"/>
                <a:gd name="connsiteY36" fmla="*/ 243697 h 1333436"/>
                <a:gd name="connsiteX37" fmla="*/ 274944 w 752994"/>
                <a:gd name="connsiteY37" fmla="*/ 241451 h 1333436"/>
                <a:gd name="connsiteX38" fmla="*/ 281276 w 752994"/>
                <a:gd name="connsiteY38" fmla="*/ 245722 h 1333436"/>
                <a:gd name="connsiteX39" fmla="*/ 289240 w 752994"/>
                <a:gd name="connsiteY39" fmla="*/ 250419 h 1333436"/>
                <a:gd name="connsiteX40" fmla="*/ 297597 w 752994"/>
                <a:gd name="connsiteY40" fmla="*/ 248581 h 1333436"/>
                <a:gd name="connsiteX41" fmla="*/ 310261 w 752994"/>
                <a:gd name="connsiteY41" fmla="*/ 246539 h 1333436"/>
                <a:gd name="connsiteX42" fmla="*/ 324340 w 752994"/>
                <a:gd name="connsiteY42" fmla="*/ 244497 h 1333436"/>
                <a:gd name="connsiteX43" fmla="*/ 333523 w 752994"/>
                <a:gd name="connsiteY43" fmla="*/ 243289 h 1333436"/>
                <a:gd name="connsiteX44" fmla="*/ 341271 w 752994"/>
                <a:gd name="connsiteY44" fmla="*/ 246539 h 1333436"/>
                <a:gd name="connsiteX45" fmla="*/ 348428 w 752994"/>
                <a:gd name="connsiteY45" fmla="*/ 250011 h 1333436"/>
                <a:gd name="connsiteX46" fmla="*/ 351279 w 752994"/>
                <a:gd name="connsiteY46" fmla="*/ 247356 h 1333436"/>
                <a:gd name="connsiteX47" fmla="*/ 355566 w 752994"/>
                <a:gd name="connsiteY47" fmla="*/ 244293 h 1333436"/>
                <a:gd name="connsiteX48" fmla="*/ 365772 w 752994"/>
                <a:gd name="connsiteY48" fmla="*/ 248785 h 1333436"/>
                <a:gd name="connsiteX49" fmla="*/ 381483 w 752994"/>
                <a:gd name="connsiteY49" fmla="*/ 254912 h 1333436"/>
                <a:gd name="connsiteX50" fmla="*/ 381896 w 752994"/>
                <a:gd name="connsiteY50" fmla="*/ 255320 h 1333436"/>
                <a:gd name="connsiteX51" fmla="*/ 395366 w 752994"/>
                <a:gd name="connsiteY51" fmla="*/ 257753 h 1333436"/>
                <a:gd name="connsiteX52" fmla="*/ 414145 w 752994"/>
                <a:gd name="connsiteY52" fmla="*/ 262450 h 1333436"/>
                <a:gd name="connsiteX53" fmla="*/ 431292 w 752994"/>
                <a:gd name="connsiteY53" fmla="*/ 268151 h 1333436"/>
                <a:gd name="connsiteX54" fmla="*/ 445196 w 752994"/>
                <a:gd name="connsiteY54" fmla="*/ 269890 h 1333436"/>
                <a:gd name="connsiteX55" fmla="*/ 444145 w 752994"/>
                <a:gd name="connsiteY55" fmla="*/ 267441 h 1333436"/>
                <a:gd name="connsiteX56" fmla="*/ 444145 w 752994"/>
                <a:gd name="connsiteY56" fmla="*/ 267034 h 1333436"/>
                <a:gd name="connsiteX57" fmla="*/ 444155 w 752994"/>
                <a:gd name="connsiteY57" fmla="*/ 266811 h 1333436"/>
                <a:gd name="connsiteX58" fmla="*/ 430733 w 752994"/>
                <a:gd name="connsiteY58" fmla="*/ 265139 h 1333436"/>
                <a:gd name="connsiteX59" fmla="*/ 413603 w 752994"/>
                <a:gd name="connsiteY59" fmla="*/ 259426 h 1333436"/>
                <a:gd name="connsiteX60" fmla="*/ 394839 w 752994"/>
                <a:gd name="connsiteY60" fmla="*/ 254739 h 1333436"/>
                <a:gd name="connsiteX61" fmla="*/ 381379 w 752994"/>
                <a:gd name="connsiteY61" fmla="*/ 252303 h 1333436"/>
                <a:gd name="connsiteX62" fmla="*/ 380962 w 752994"/>
                <a:gd name="connsiteY62" fmla="*/ 251895 h 1333436"/>
                <a:gd name="connsiteX63" fmla="*/ 365258 w 752994"/>
                <a:gd name="connsiteY63" fmla="*/ 245774 h 1333436"/>
                <a:gd name="connsiteX64" fmla="*/ 355067 w 752994"/>
                <a:gd name="connsiteY64" fmla="*/ 241285 h 1333436"/>
                <a:gd name="connsiteX65" fmla="*/ 350789 w 752994"/>
                <a:gd name="connsiteY65" fmla="*/ 244352 h 1333436"/>
                <a:gd name="connsiteX66" fmla="*/ 347920 w 752994"/>
                <a:gd name="connsiteY66" fmla="*/ 246998 h 1333436"/>
                <a:gd name="connsiteX67" fmla="*/ 340789 w 752994"/>
                <a:gd name="connsiteY67" fmla="*/ 243536 h 1333436"/>
                <a:gd name="connsiteX68" fmla="*/ 333034 w 752994"/>
                <a:gd name="connsiteY68" fmla="*/ 240271 h 1333436"/>
                <a:gd name="connsiteX69" fmla="*/ 323868 w 752994"/>
                <a:gd name="connsiteY69" fmla="*/ 241495 h 1333436"/>
                <a:gd name="connsiteX70" fmla="*/ 309783 w 752994"/>
                <a:gd name="connsiteY70" fmla="*/ 243536 h 1333436"/>
                <a:gd name="connsiteX71" fmla="*/ 297140 w 752994"/>
                <a:gd name="connsiteY71" fmla="*/ 245576 h 1333436"/>
                <a:gd name="connsiteX72" fmla="*/ 288775 w 752994"/>
                <a:gd name="connsiteY72" fmla="*/ 247406 h 1333436"/>
                <a:gd name="connsiteX73" fmla="*/ 280827 w 752994"/>
                <a:gd name="connsiteY73" fmla="*/ 242720 h 1333436"/>
                <a:gd name="connsiteX74" fmla="*/ 274497 w 752994"/>
                <a:gd name="connsiteY74" fmla="*/ 238441 h 1333436"/>
                <a:gd name="connsiteX75" fmla="*/ 269001 w 752994"/>
                <a:gd name="connsiteY75" fmla="*/ 240679 h 1333436"/>
                <a:gd name="connsiteX76" fmla="*/ 262880 w 752994"/>
                <a:gd name="connsiteY76" fmla="*/ 243128 h 1333436"/>
                <a:gd name="connsiteX77" fmla="*/ 260028 w 752994"/>
                <a:gd name="connsiteY77" fmla="*/ 242720 h 1333436"/>
                <a:gd name="connsiteX78" fmla="*/ 257784 w 752994"/>
                <a:gd name="connsiteY78" fmla="*/ 241904 h 1333436"/>
                <a:gd name="connsiteX79" fmla="*/ 247994 w 752994"/>
                <a:gd name="connsiteY79" fmla="*/ 241693 h 1333436"/>
                <a:gd name="connsiteX80" fmla="*/ 242081 w 752994"/>
                <a:gd name="connsiteY80" fmla="*/ 234162 h 1333436"/>
                <a:gd name="connsiteX81" fmla="*/ 235142 w 752994"/>
                <a:gd name="connsiteY81" fmla="*/ 229476 h 1333436"/>
                <a:gd name="connsiteX82" fmla="*/ 224742 w 752994"/>
                <a:gd name="connsiteY82" fmla="*/ 226817 h 1333436"/>
                <a:gd name="connsiteX83" fmla="*/ 216778 w 752994"/>
                <a:gd name="connsiteY83" fmla="*/ 229068 h 1333436"/>
                <a:gd name="connsiteX84" fmla="*/ 202709 w 752994"/>
                <a:gd name="connsiteY84" fmla="*/ 230898 h 1333436"/>
                <a:gd name="connsiteX85" fmla="*/ 195162 w 752994"/>
                <a:gd name="connsiteY85" fmla="*/ 228857 h 1333436"/>
                <a:gd name="connsiteX86" fmla="*/ 188223 w 752994"/>
                <a:gd name="connsiteY86" fmla="*/ 223973 h 1333436"/>
                <a:gd name="connsiteX87" fmla="*/ 185163 w 752994"/>
                <a:gd name="connsiteY87" fmla="*/ 219484 h 1333436"/>
                <a:gd name="connsiteX88" fmla="*/ 184180 w 752994"/>
                <a:gd name="connsiteY88" fmla="*/ 213866 h 1333436"/>
                <a:gd name="connsiteX89" fmla="*/ 257159 w 752994"/>
                <a:gd name="connsiteY89" fmla="*/ 0 h 1333436"/>
                <a:gd name="connsiteX90" fmla="*/ 493147 w 752994"/>
                <a:gd name="connsiteY90" fmla="*/ 73157 h 1333436"/>
                <a:gd name="connsiteX91" fmla="*/ 492970 w 752994"/>
                <a:gd name="connsiteY91" fmla="*/ 73792 h 1333436"/>
                <a:gd name="connsiteX92" fmla="*/ 525816 w 752994"/>
                <a:gd name="connsiteY92" fmla="*/ 82491 h 1333436"/>
                <a:gd name="connsiteX93" fmla="*/ 520098 w 752994"/>
                <a:gd name="connsiteY93" fmla="*/ 111245 h 1333436"/>
                <a:gd name="connsiteX94" fmla="*/ 512552 w 752994"/>
                <a:gd name="connsiteY94" fmla="*/ 143854 h 1333436"/>
                <a:gd name="connsiteX95" fmla="*/ 517849 w 752994"/>
                <a:gd name="connsiteY95" fmla="*/ 157740 h 1333436"/>
                <a:gd name="connsiteX96" fmla="*/ 523160 w 752994"/>
                <a:gd name="connsiteY96" fmla="*/ 172009 h 1333436"/>
                <a:gd name="connsiteX97" fmla="*/ 521535 w 752994"/>
                <a:gd name="connsiteY97" fmla="*/ 178928 h 1333436"/>
                <a:gd name="connsiteX98" fmla="*/ 520098 w 752994"/>
                <a:gd name="connsiteY98" fmla="*/ 186279 h 1333436"/>
                <a:gd name="connsiteX99" fmla="*/ 526019 w 752994"/>
                <a:gd name="connsiteY99" fmla="*/ 193629 h 1333436"/>
                <a:gd name="connsiteX100" fmla="*/ 537251 w 752994"/>
                <a:gd name="connsiteY100" fmla="*/ 206270 h 1333436"/>
                <a:gd name="connsiteX101" fmla="*/ 542765 w 752994"/>
                <a:gd name="connsiteY101" fmla="*/ 217475 h 1333436"/>
                <a:gd name="connsiteX102" fmla="*/ 546857 w 752994"/>
                <a:gd name="connsiteY102" fmla="*/ 230930 h 1333436"/>
                <a:gd name="connsiteX103" fmla="*/ 549499 w 752994"/>
                <a:gd name="connsiteY103" fmla="*/ 235622 h 1333436"/>
                <a:gd name="connsiteX104" fmla="*/ 553388 w 752994"/>
                <a:gd name="connsiteY104" fmla="*/ 240722 h 1333436"/>
                <a:gd name="connsiteX105" fmla="*/ 557465 w 752994"/>
                <a:gd name="connsiteY105" fmla="*/ 246037 h 1333436"/>
                <a:gd name="connsiteX106" fmla="*/ 561761 w 752994"/>
                <a:gd name="connsiteY106" fmla="*/ 248671 h 1333436"/>
                <a:gd name="connsiteX107" fmla="*/ 567478 w 752994"/>
                <a:gd name="connsiteY107" fmla="*/ 247665 h 1333436"/>
                <a:gd name="connsiteX108" fmla="*/ 569931 w 752994"/>
                <a:gd name="connsiteY108" fmla="*/ 249293 h 1333436"/>
                <a:gd name="connsiteX109" fmla="*/ 570540 w 752994"/>
                <a:gd name="connsiteY109" fmla="*/ 251951 h 1333436"/>
                <a:gd name="connsiteX110" fmla="*/ 561964 w 752994"/>
                <a:gd name="connsiteY110" fmla="*/ 267656 h 1333436"/>
                <a:gd name="connsiteX111" fmla="*/ 553591 w 752994"/>
                <a:gd name="connsiteY111" fmla="*/ 289659 h 1333436"/>
                <a:gd name="connsiteX112" fmla="*/ 554810 w 752994"/>
                <a:gd name="connsiteY112" fmla="*/ 292939 h 1333436"/>
                <a:gd name="connsiteX113" fmla="*/ 556246 w 752994"/>
                <a:gd name="connsiteY113" fmla="*/ 299260 h 1333436"/>
                <a:gd name="connsiteX114" fmla="*/ 552778 w 752994"/>
                <a:gd name="connsiteY114" fmla="*/ 301917 h 1333436"/>
                <a:gd name="connsiteX115" fmla="*/ 549295 w 752994"/>
                <a:gd name="connsiteY115" fmla="*/ 306993 h 1333436"/>
                <a:gd name="connsiteX116" fmla="*/ 547061 w 752994"/>
                <a:gd name="connsiteY116" fmla="*/ 313122 h 1333436"/>
                <a:gd name="connsiteX117" fmla="*/ 544811 w 752994"/>
                <a:gd name="connsiteY117" fmla="*/ 316593 h 1333436"/>
                <a:gd name="connsiteX118" fmla="*/ 549919 w 752994"/>
                <a:gd name="connsiteY118" fmla="*/ 322698 h 1333436"/>
                <a:gd name="connsiteX119" fmla="*/ 553184 w 752994"/>
                <a:gd name="connsiteY119" fmla="*/ 325955 h 1333436"/>
                <a:gd name="connsiteX120" fmla="*/ 555840 w 752994"/>
                <a:gd name="connsiteY120" fmla="*/ 328205 h 1333436"/>
                <a:gd name="connsiteX121" fmla="*/ 574212 w 752994"/>
                <a:gd name="connsiteY121" fmla="*/ 318820 h 1333436"/>
                <a:gd name="connsiteX122" fmla="*/ 579523 w 752994"/>
                <a:gd name="connsiteY122" fmla="*/ 326577 h 1333436"/>
                <a:gd name="connsiteX123" fmla="*/ 580539 w 752994"/>
                <a:gd name="connsiteY123" fmla="*/ 334933 h 1333436"/>
                <a:gd name="connsiteX124" fmla="*/ 579726 w 752994"/>
                <a:gd name="connsiteY124" fmla="*/ 343097 h 1333436"/>
                <a:gd name="connsiteX125" fmla="*/ 581366 w 752994"/>
                <a:gd name="connsiteY125" fmla="*/ 350231 h 1333436"/>
                <a:gd name="connsiteX126" fmla="*/ 586256 w 752994"/>
                <a:gd name="connsiteY126" fmla="*/ 355930 h 1333436"/>
                <a:gd name="connsiteX127" fmla="*/ 589536 w 752994"/>
                <a:gd name="connsiteY127" fmla="*/ 362059 h 1333436"/>
                <a:gd name="connsiteX128" fmla="*/ 588099 w 752994"/>
                <a:gd name="connsiteY128" fmla="*/ 369600 h 1333436"/>
                <a:gd name="connsiteX129" fmla="*/ 586459 w 752994"/>
                <a:gd name="connsiteY129" fmla="*/ 377357 h 1333436"/>
                <a:gd name="connsiteX130" fmla="*/ 588709 w 752994"/>
                <a:gd name="connsiteY130" fmla="*/ 381835 h 1333436"/>
                <a:gd name="connsiteX131" fmla="*/ 595036 w 752994"/>
                <a:gd name="connsiteY131" fmla="*/ 382457 h 1333436"/>
                <a:gd name="connsiteX132" fmla="*/ 599331 w 752994"/>
                <a:gd name="connsiteY132" fmla="*/ 385306 h 1333436"/>
                <a:gd name="connsiteX133" fmla="*/ 601987 w 752994"/>
                <a:gd name="connsiteY133" fmla="*/ 391004 h 1333436"/>
                <a:gd name="connsiteX134" fmla="*/ 602799 w 752994"/>
                <a:gd name="connsiteY134" fmla="*/ 404076 h 1333436"/>
                <a:gd name="connsiteX135" fmla="*/ 606892 w 752994"/>
                <a:gd name="connsiteY135" fmla="*/ 415688 h 1333436"/>
                <a:gd name="connsiteX136" fmla="*/ 610563 w 752994"/>
                <a:gd name="connsiteY136" fmla="*/ 412217 h 1333436"/>
                <a:gd name="connsiteX137" fmla="*/ 617920 w 752994"/>
                <a:gd name="connsiteY137" fmla="*/ 408769 h 1333436"/>
                <a:gd name="connsiteX138" fmla="*/ 624654 w 752994"/>
                <a:gd name="connsiteY138" fmla="*/ 411211 h 1333436"/>
                <a:gd name="connsiteX139" fmla="*/ 634652 w 752994"/>
                <a:gd name="connsiteY139" fmla="*/ 410182 h 1333436"/>
                <a:gd name="connsiteX140" fmla="*/ 640573 w 752994"/>
                <a:gd name="connsiteY140" fmla="*/ 407739 h 1333436"/>
                <a:gd name="connsiteX141" fmla="*/ 646711 w 752994"/>
                <a:gd name="connsiteY141" fmla="*/ 410589 h 1333436"/>
                <a:gd name="connsiteX142" fmla="*/ 650383 w 752994"/>
                <a:gd name="connsiteY142" fmla="*/ 410589 h 1333436"/>
                <a:gd name="connsiteX143" fmla="*/ 654257 w 752994"/>
                <a:gd name="connsiteY143" fmla="*/ 411618 h 1333436"/>
                <a:gd name="connsiteX144" fmla="*/ 656913 w 752994"/>
                <a:gd name="connsiteY144" fmla="*/ 413653 h 1333436"/>
                <a:gd name="connsiteX145" fmla="*/ 660802 w 752994"/>
                <a:gd name="connsiteY145" fmla="*/ 415090 h 1333436"/>
                <a:gd name="connsiteX146" fmla="*/ 669581 w 752994"/>
                <a:gd name="connsiteY146" fmla="*/ 415904 h 1333436"/>
                <a:gd name="connsiteX147" fmla="*/ 672237 w 752994"/>
                <a:gd name="connsiteY147" fmla="*/ 415688 h 1333436"/>
                <a:gd name="connsiteX148" fmla="*/ 675705 w 752994"/>
                <a:gd name="connsiteY148" fmla="*/ 409367 h 1333436"/>
                <a:gd name="connsiteX149" fmla="*/ 679986 w 752994"/>
                <a:gd name="connsiteY149" fmla="*/ 403238 h 1333436"/>
                <a:gd name="connsiteX150" fmla="*/ 693264 w 752994"/>
                <a:gd name="connsiteY150" fmla="*/ 419567 h 1333436"/>
                <a:gd name="connsiteX151" fmla="*/ 688563 w 752994"/>
                <a:gd name="connsiteY151" fmla="*/ 448321 h 1333436"/>
                <a:gd name="connsiteX152" fmla="*/ 663949 w 752994"/>
                <a:gd name="connsiteY152" fmla="*/ 590165 h 1333436"/>
                <a:gd name="connsiteX153" fmla="*/ 666304 w 752994"/>
                <a:gd name="connsiteY153" fmla="*/ 590504 h 1333436"/>
                <a:gd name="connsiteX154" fmla="*/ 655288 w 752994"/>
                <a:gd name="connsiteY154" fmla="*/ 656178 h 1333436"/>
                <a:gd name="connsiteX155" fmla="*/ 681808 w 752994"/>
                <a:gd name="connsiteY155" fmla="*/ 662301 h 1333436"/>
                <a:gd name="connsiteX156" fmla="*/ 752994 w 752994"/>
                <a:gd name="connsiteY156" fmla="*/ 675560 h 1333436"/>
                <a:gd name="connsiteX157" fmla="*/ 714651 w 752994"/>
                <a:gd name="connsiteY157" fmla="*/ 946985 h 1333436"/>
                <a:gd name="connsiteX158" fmla="*/ 693426 w 752994"/>
                <a:gd name="connsiteY158" fmla="*/ 944128 h 1333436"/>
                <a:gd name="connsiteX159" fmla="*/ 457412 w 752994"/>
                <a:gd name="connsiteY159" fmla="*/ 897429 h 1333436"/>
                <a:gd name="connsiteX160" fmla="*/ 524385 w 752994"/>
                <a:gd name="connsiteY160" fmla="*/ 564267 h 1333436"/>
                <a:gd name="connsiteX161" fmla="*/ 453578 w 752994"/>
                <a:gd name="connsiteY161" fmla="*/ 897215 h 1333436"/>
                <a:gd name="connsiteX162" fmla="*/ 442753 w 752994"/>
                <a:gd name="connsiteY162" fmla="*/ 950656 h 1333436"/>
                <a:gd name="connsiteX163" fmla="*/ 442550 w 752994"/>
                <a:gd name="connsiteY163" fmla="*/ 951272 h 1333436"/>
                <a:gd name="connsiteX164" fmla="*/ 439290 w 752994"/>
                <a:gd name="connsiteY164" fmla="*/ 958807 h 1333436"/>
                <a:gd name="connsiteX165" fmla="*/ 432957 w 752994"/>
                <a:gd name="connsiteY165" fmla="*/ 963487 h 1333436"/>
                <a:gd name="connsiteX166" fmla="*/ 429291 w 752994"/>
                <a:gd name="connsiteY166" fmla="*/ 959817 h 1333436"/>
                <a:gd name="connsiteX167" fmla="*/ 425610 w 752994"/>
                <a:gd name="connsiteY167" fmla="*/ 955532 h 1333436"/>
                <a:gd name="connsiteX168" fmla="*/ 419292 w 752994"/>
                <a:gd name="connsiteY168" fmla="*/ 953291 h 1333436"/>
                <a:gd name="connsiteX169" fmla="*/ 414597 w 752994"/>
                <a:gd name="connsiteY169" fmla="*/ 951272 h 1333436"/>
                <a:gd name="connsiteX170" fmla="*/ 407047 w 752994"/>
                <a:gd name="connsiteY170" fmla="*/ 956148 h 1333436"/>
                <a:gd name="connsiteX171" fmla="*/ 403787 w 752994"/>
                <a:gd name="connsiteY171" fmla="*/ 963290 h 1333436"/>
                <a:gd name="connsiteX172" fmla="*/ 404052 w 752994"/>
                <a:gd name="connsiteY172" fmla="*/ 963688 h 1333436"/>
                <a:gd name="connsiteX173" fmla="*/ 406917 w 752994"/>
                <a:gd name="connsiteY173" fmla="*/ 957427 h 1333436"/>
                <a:gd name="connsiteX174" fmla="*/ 414454 w 752994"/>
                <a:gd name="connsiteY174" fmla="*/ 952534 h 1333436"/>
                <a:gd name="connsiteX175" fmla="*/ 419146 w 752994"/>
                <a:gd name="connsiteY175" fmla="*/ 954567 h 1333436"/>
                <a:gd name="connsiteX176" fmla="*/ 425469 w 752994"/>
                <a:gd name="connsiteY176" fmla="*/ 956803 h 1333436"/>
                <a:gd name="connsiteX177" fmla="*/ 429146 w 752994"/>
                <a:gd name="connsiteY177" fmla="*/ 961092 h 1333436"/>
                <a:gd name="connsiteX178" fmla="*/ 432807 w 752994"/>
                <a:gd name="connsiteY178" fmla="*/ 964757 h 1333436"/>
                <a:gd name="connsiteX179" fmla="*/ 439129 w 752994"/>
                <a:gd name="connsiteY179" fmla="*/ 960065 h 1333436"/>
                <a:gd name="connsiteX180" fmla="*/ 442407 w 752994"/>
                <a:gd name="connsiteY180" fmla="*/ 952534 h 1333436"/>
                <a:gd name="connsiteX181" fmla="*/ 442607 w 752994"/>
                <a:gd name="connsiteY181" fmla="*/ 951909 h 1333436"/>
                <a:gd name="connsiteX182" fmla="*/ 453422 w 752994"/>
                <a:gd name="connsiteY182" fmla="*/ 898487 h 1333436"/>
                <a:gd name="connsiteX183" fmla="*/ 689408 w 752994"/>
                <a:gd name="connsiteY183" fmla="*/ 945184 h 1333436"/>
                <a:gd name="connsiteX184" fmla="*/ 710622 w 752994"/>
                <a:gd name="connsiteY184" fmla="*/ 948043 h 1333436"/>
                <a:gd name="connsiteX185" fmla="*/ 654533 w 752994"/>
                <a:gd name="connsiteY185" fmla="*/ 1333436 h 1333436"/>
                <a:gd name="connsiteX186" fmla="*/ 546831 w 752994"/>
                <a:gd name="connsiteY186" fmla="*/ 1317126 h 1333436"/>
                <a:gd name="connsiteX187" fmla="*/ 351227 w 752994"/>
                <a:gd name="connsiteY187" fmla="*/ 1194172 h 1333436"/>
                <a:gd name="connsiteX188" fmla="*/ 361011 w 752994"/>
                <a:gd name="connsiteY188" fmla="*/ 1182755 h 1333436"/>
                <a:gd name="connsiteX189" fmla="*/ 368981 w 752994"/>
                <a:gd name="connsiteY189" fmla="*/ 1182130 h 1333436"/>
                <a:gd name="connsiteX190" fmla="*/ 369571 w 752994"/>
                <a:gd name="connsiteY190" fmla="*/ 1181558 h 1333436"/>
                <a:gd name="connsiteX191" fmla="*/ 362372 w 752994"/>
                <a:gd name="connsiteY191" fmla="*/ 1182120 h 1333436"/>
                <a:gd name="connsiteX192" fmla="*/ 229464 w 752994"/>
                <a:gd name="connsiteY192" fmla="*/ 1161721 h 1333436"/>
                <a:gd name="connsiteX193" fmla="*/ 227427 w 752994"/>
                <a:gd name="connsiteY193" fmla="*/ 1157269 h 1333436"/>
                <a:gd name="connsiteX194" fmla="*/ 224967 w 752994"/>
                <a:gd name="connsiteY194" fmla="*/ 1152575 h 1333436"/>
                <a:gd name="connsiteX195" fmla="*/ 225582 w 752994"/>
                <a:gd name="connsiteY195" fmla="*/ 1144808 h 1333436"/>
                <a:gd name="connsiteX196" fmla="*/ 227215 w 752994"/>
                <a:gd name="connsiteY196" fmla="*/ 1135834 h 1333436"/>
                <a:gd name="connsiteX197" fmla="*/ 227215 w 752994"/>
                <a:gd name="connsiteY197" fmla="*/ 1134212 h 1333436"/>
                <a:gd name="connsiteX198" fmla="*/ 225179 w 752994"/>
                <a:gd name="connsiteY198" fmla="*/ 1114020 h 1333436"/>
                <a:gd name="connsiteX199" fmla="*/ 217839 w 752994"/>
                <a:gd name="connsiteY199" fmla="*/ 1100352 h 1333436"/>
                <a:gd name="connsiteX200" fmla="*/ 199661 w 752994"/>
                <a:gd name="connsiteY200" fmla="*/ 1076502 h 1333436"/>
                <a:gd name="connsiteX201" fmla="*/ 196395 w 752994"/>
                <a:gd name="connsiteY201" fmla="*/ 1071807 h 1333436"/>
                <a:gd name="connsiteX202" fmla="*/ 190880 w 752994"/>
                <a:gd name="connsiteY202" fmla="*/ 1067527 h 1333436"/>
                <a:gd name="connsiteX203" fmla="*/ 187210 w 752994"/>
                <a:gd name="connsiteY203" fmla="*/ 1068735 h 1333436"/>
                <a:gd name="connsiteX204" fmla="*/ 180062 w 752994"/>
                <a:gd name="connsiteY204" fmla="*/ 1066699 h 1333436"/>
                <a:gd name="connsiteX205" fmla="*/ 180466 w 752994"/>
                <a:gd name="connsiteY205" fmla="*/ 1053031 h 1333436"/>
                <a:gd name="connsiteX206" fmla="*/ 180062 w 752994"/>
                <a:gd name="connsiteY206" fmla="*/ 1045299 h 1333436"/>
                <a:gd name="connsiteX207" fmla="*/ 174144 w 752994"/>
                <a:gd name="connsiteY207" fmla="*/ 1044057 h 1333436"/>
                <a:gd name="connsiteX208" fmla="*/ 158426 w 752994"/>
                <a:gd name="connsiteY208" fmla="*/ 1042641 h 1333436"/>
                <a:gd name="connsiteX209" fmla="*/ 149857 w 752994"/>
                <a:gd name="connsiteY209" fmla="*/ 1035497 h 1333436"/>
                <a:gd name="connsiteX210" fmla="*/ 142497 w 752994"/>
                <a:gd name="connsiteY210" fmla="*/ 1028766 h 1333436"/>
                <a:gd name="connsiteX211" fmla="*/ 140864 w 752994"/>
                <a:gd name="connsiteY211" fmla="*/ 1020620 h 1333436"/>
                <a:gd name="connsiteX212" fmla="*/ 138212 w 752994"/>
                <a:gd name="connsiteY212" fmla="*/ 1013061 h 1333436"/>
                <a:gd name="connsiteX213" fmla="*/ 131064 w 752994"/>
                <a:gd name="connsiteY213" fmla="*/ 1007159 h 1333436"/>
                <a:gd name="connsiteX214" fmla="*/ 121264 w 752994"/>
                <a:gd name="connsiteY214" fmla="*/ 1005330 h 1333436"/>
                <a:gd name="connsiteX215" fmla="*/ 112483 w 752994"/>
                <a:gd name="connsiteY215" fmla="*/ 1001671 h 1333436"/>
                <a:gd name="connsiteX216" fmla="*/ 105950 w 752994"/>
                <a:gd name="connsiteY216" fmla="*/ 995734 h 1333436"/>
                <a:gd name="connsiteX217" fmla="*/ 97380 w 752994"/>
                <a:gd name="connsiteY217" fmla="*/ 994526 h 1333436"/>
                <a:gd name="connsiteX218" fmla="*/ 87984 w 752994"/>
                <a:gd name="connsiteY218" fmla="*/ 991040 h 1333436"/>
                <a:gd name="connsiteX219" fmla="*/ 80029 w 752994"/>
                <a:gd name="connsiteY219" fmla="*/ 985138 h 1333436"/>
                <a:gd name="connsiteX220" fmla="*/ 77166 w 752994"/>
                <a:gd name="connsiteY220" fmla="*/ 976164 h 1333436"/>
                <a:gd name="connsiteX221" fmla="*/ 79203 w 752994"/>
                <a:gd name="connsiteY221" fmla="*/ 970676 h 1333436"/>
                <a:gd name="connsiteX222" fmla="*/ 82470 w 752994"/>
                <a:gd name="connsiteY222" fmla="*/ 963117 h 1333436"/>
                <a:gd name="connsiteX223" fmla="*/ 84314 w 752994"/>
                <a:gd name="connsiteY223" fmla="*/ 954557 h 1333436"/>
                <a:gd name="connsiteX224" fmla="*/ 86351 w 752994"/>
                <a:gd name="connsiteY224" fmla="*/ 948033 h 1333436"/>
                <a:gd name="connsiteX225" fmla="*/ 86159 w 752994"/>
                <a:gd name="connsiteY225" fmla="*/ 942925 h 1333436"/>
                <a:gd name="connsiteX226" fmla="*/ 83085 w 752994"/>
                <a:gd name="connsiteY226" fmla="*/ 939853 h 1333436"/>
                <a:gd name="connsiteX227" fmla="*/ 77570 w 752994"/>
                <a:gd name="connsiteY227" fmla="*/ 937437 h 1333436"/>
                <a:gd name="connsiteX228" fmla="*/ 76763 w 752994"/>
                <a:gd name="connsiteY228" fmla="*/ 931915 h 1333436"/>
                <a:gd name="connsiteX229" fmla="*/ 78800 w 752994"/>
                <a:gd name="connsiteY229" fmla="*/ 927013 h 1333436"/>
                <a:gd name="connsiteX230" fmla="*/ 79626 w 752994"/>
                <a:gd name="connsiteY230" fmla="*/ 922526 h 1333436"/>
                <a:gd name="connsiteX231" fmla="*/ 77781 w 752994"/>
                <a:gd name="connsiteY231" fmla="*/ 919903 h 1333436"/>
                <a:gd name="connsiteX232" fmla="*/ 74303 w 752994"/>
                <a:gd name="connsiteY232" fmla="*/ 917418 h 1333436"/>
                <a:gd name="connsiteX233" fmla="*/ 71863 w 752994"/>
                <a:gd name="connsiteY233" fmla="*/ 915174 h 1333436"/>
                <a:gd name="connsiteX234" fmla="*/ 71652 w 752994"/>
                <a:gd name="connsiteY234" fmla="*/ 910894 h 1333436"/>
                <a:gd name="connsiteX235" fmla="*/ 70633 w 752994"/>
                <a:gd name="connsiteY235" fmla="*/ 906614 h 1333436"/>
                <a:gd name="connsiteX236" fmla="*/ 68385 w 752994"/>
                <a:gd name="connsiteY236" fmla="*/ 902749 h 1333436"/>
                <a:gd name="connsiteX237" fmla="*/ 61045 w 752994"/>
                <a:gd name="connsiteY237" fmla="*/ 889494 h 1333436"/>
                <a:gd name="connsiteX238" fmla="*/ 57971 w 752994"/>
                <a:gd name="connsiteY238" fmla="*/ 875619 h 1333436"/>
                <a:gd name="connsiteX239" fmla="*/ 52264 w 752994"/>
                <a:gd name="connsiteY239" fmla="*/ 862572 h 1333436"/>
                <a:gd name="connsiteX240" fmla="*/ 44309 w 752994"/>
                <a:gd name="connsiteY240" fmla="*/ 850561 h 1333436"/>
                <a:gd name="connsiteX241" fmla="*/ 45520 w 752994"/>
                <a:gd name="connsiteY241" fmla="*/ 827090 h 1333436"/>
                <a:gd name="connsiteX242" fmla="*/ 53071 w 752994"/>
                <a:gd name="connsiteY242" fmla="*/ 822396 h 1333436"/>
                <a:gd name="connsiteX243" fmla="*/ 57375 w 752994"/>
                <a:gd name="connsiteY243" fmla="*/ 816493 h 1333436"/>
                <a:gd name="connsiteX244" fmla="*/ 55319 w 752994"/>
                <a:gd name="connsiteY244" fmla="*/ 801617 h 1333436"/>
                <a:gd name="connsiteX245" fmla="*/ 48383 w 752994"/>
                <a:gd name="connsiteY245" fmla="*/ 802204 h 1333436"/>
                <a:gd name="connsiteX246" fmla="*/ 40428 w 752994"/>
                <a:gd name="connsiteY246" fmla="*/ 797924 h 1333436"/>
                <a:gd name="connsiteX247" fmla="*/ 37565 w 752994"/>
                <a:gd name="connsiteY247" fmla="*/ 790606 h 1333436"/>
                <a:gd name="connsiteX248" fmla="*/ 37565 w 752994"/>
                <a:gd name="connsiteY248" fmla="*/ 790399 h 1333436"/>
                <a:gd name="connsiteX249" fmla="*/ 35931 w 752994"/>
                <a:gd name="connsiteY249" fmla="*/ 785912 h 1333436"/>
                <a:gd name="connsiteX250" fmla="*/ 34510 w 752994"/>
                <a:gd name="connsiteY250" fmla="*/ 780597 h 1333436"/>
                <a:gd name="connsiteX251" fmla="*/ 36335 w 752994"/>
                <a:gd name="connsiteY251" fmla="*/ 774280 h 1333436"/>
                <a:gd name="connsiteX252" fmla="*/ 38180 w 752994"/>
                <a:gd name="connsiteY252" fmla="*/ 766721 h 1333436"/>
                <a:gd name="connsiteX253" fmla="*/ 37161 w 752994"/>
                <a:gd name="connsiteY253" fmla="*/ 760405 h 1333436"/>
                <a:gd name="connsiteX254" fmla="*/ 35720 w 752994"/>
                <a:gd name="connsiteY254" fmla="*/ 754710 h 1333436"/>
                <a:gd name="connsiteX255" fmla="*/ 36546 w 752994"/>
                <a:gd name="connsiteY255" fmla="*/ 748773 h 1333436"/>
                <a:gd name="connsiteX256" fmla="*/ 38372 w 752994"/>
                <a:gd name="connsiteY256" fmla="*/ 744528 h 1333436"/>
                <a:gd name="connsiteX257" fmla="*/ 41638 w 752994"/>
                <a:gd name="connsiteY257" fmla="*/ 744321 h 1333436"/>
                <a:gd name="connsiteX258" fmla="*/ 44713 w 752994"/>
                <a:gd name="connsiteY258" fmla="*/ 746357 h 1333436"/>
                <a:gd name="connsiteX259" fmla="*/ 47364 w 752994"/>
                <a:gd name="connsiteY259" fmla="*/ 753260 h 1333436"/>
                <a:gd name="connsiteX260" fmla="*/ 55742 w 752994"/>
                <a:gd name="connsiteY260" fmla="*/ 764305 h 1333436"/>
                <a:gd name="connsiteX261" fmla="*/ 56338 w 752994"/>
                <a:gd name="connsiteY261" fmla="*/ 761233 h 1333436"/>
                <a:gd name="connsiteX262" fmla="*/ 56145 w 752994"/>
                <a:gd name="connsiteY262" fmla="*/ 757368 h 1333436"/>
                <a:gd name="connsiteX263" fmla="*/ 54916 w 752994"/>
                <a:gd name="connsiteY263" fmla="*/ 748601 h 1333436"/>
                <a:gd name="connsiteX264" fmla="*/ 52879 w 752994"/>
                <a:gd name="connsiteY264" fmla="*/ 747358 h 1333436"/>
                <a:gd name="connsiteX265" fmla="*/ 51649 w 752994"/>
                <a:gd name="connsiteY265" fmla="*/ 745322 h 1333436"/>
                <a:gd name="connsiteX266" fmla="*/ 51649 w 752994"/>
                <a:gd name="connsiteY266" fmla="*/ 739212 h 1333436"/>
                <a:gd name="connsiteX267" fmla="*/ 50227 w 752994"/>
                <a:gd name="connsiteY267" fmla="*/ 734725 h 1333436"/>
                <a:gd name="connsiteX268" fmla="*/ 48786 w 752994"/>
                <a:gd name="connsiteY268" fmla="*/ 731446 h 1333436"/>
                <a:gd name="connsiteX269" fmla="*/ 54512 w 752994"/>
                <a:gd name="connsiteY269" fmla="*/ 726372 h 1333436"/>
                <a:gd name="connsiteX270" fmla="*/ 59815 w 752994"/>
                <a:gd name="connsiteY270" fmla="*/ 725130 h 1333436"/>
                <a:gd name="connsiteX271" fmla="*/ 58182 w 752994"/>
                <a:gd name="connsiteY271" fmla="*/ 722886 h 1333436"/>
                <a:gd name="connsiteX272" fmla="*/ 51861 w 752994"/>
                <a:gd name="connsiteY272" fmla="*/ 717985 h 1333436"/>
                <a:gd name="connsiteX273" fmla="*/ 46749 w 752994"/>
                <a:gd name="connsiteY273" fmla="*/ 729617 h 1333436"/>
                <a:gd name="connsiteX274" fmla="*/ 40831 w 752994"/>
                <a:gd name="connsiteY274" fmla="*/ 739212 h 1333436"/>
                <a:gd name="connsiteX275" fmla="*/ 39601 w 752994"/>
                <a:gd name="connsiteY275" fmla="*/ 738798 h 1333436"/>
                <a:gd name="connsiteX276" fmla="*/ 39409 w 752994"/>
                <a:gd name="connsiteY276" fmla="*/ 738591 h 1333436"/>
                <a:gd name="connsiteX277" fmla="*/ 37161 w 752994"/>
                <a:gd name="connsiteY277" fmla="*/ 734725 h 1333436"/>
                <a:gd name="connsiteX278" fmla="*/ 32665 w 752994"/>
                <a:gd name="connsiteY278" fmla="*/ 727788 h 1333436"/>
                <a:gd name="connsiteX279" fmla="*/ 26747 w 752994"/>
                <a:gd name="connsiteY279" fmla="*/ 719435 h 1333436"/>
                <a:gd name="connsiteX280" fmla="*/ 23884 w 752994"/>
                <a:gd name="connsiteY280" fmla="*/ 717812 h 1333436"/>
                <a:gd name="connsiteX281" fmla="*/ 24710 w 752994"/>
                <a:gd name="connsiteY281" fmla="*/ 709632 h 1333436"/>
                <a:gd name="connsiteX282" fmla="*/ 27554 w 752994"/>
                <a:gd name="connsiteY282" fmla="*/ 701694 h 1333436"/>
                <a:gd name="connsiteX283" fmla="*/ 24902 w 752994"/>
                <a:gd name="connsiteY283" fmla="*/ 696171 h 1333436"/>
                <a:gd name="connsiteX284" fmla="*/ 24095 w 752994"/>
                <a:gd name="connsiteY284" fmla="*/ 687818 h 1333436"/>
                <a:gd name="connsiteX285" fmla="*/ 22462 w 752994"/>
                <a:gd name="connsiteY285" fmla="*/ 682330 h 1333436"/>
                <a:gd name="connsiteX286" fmla="*/ 17159 w 752994"/>
                <a:gd name="connsiteY286" fmla="*/ 677636 h 1333436"/>
                <a:gd name="connsiteX287" fmla="*/ 14296 w 752994"/>
                <a:gd name="connsiteY287" fmla="*/ 671492 h 1333436"/>
                <a:gd name="connsiteX288" fmla="*/ 12451 w 752994"/>
                <a:gd name="connsiteY288" fmla="*/ 665797 h 1333436"/>
                <a:gd name="connsiteX289" fmla="*/ 5111 w 752994"/>
                <a:gd name="connsiteY289" fmla="*/ 654994 h 1333436"/>
                <a:gd name="connsiteX290" fmla="*/ 2248 w 752994"/>
                <a:gd name="connsiteY290" fmla="*/ 645605 h 1333436"/>
                <a:gd name="connsiteX291" fmla="*/ 4496 w 752994"/>
                <a:gd name="connsiteY291" fmla="*/ 640497 h 1333436"/>
                <a:gd name="connsiteX292" fmla="*/ 6744 w 752994"/>
                <a:gd name="connsiteY292" fmla="*/ 632765 h 1333436"/>
                <a:gd name="connsiteX293" fmla="*/ 6744 w 752994"/>
                <a:gd name="connsiteY293" fmla="*/ 628485 h 1333436"/>
                <a:gd name="connsiteX294" fmla="*/ 6533 w 752994"/>
                <a:gd name="connsiteY294" fmla="*/ 620305 h 1333436"/>
                <a:gd name="connsiteX295" fmla="*/ 7359 w 752994"/>
                <a:gd name="connsiteY295" fmla="*/ 611745 h 1333436"/>
                <a:gd name="connsiteX296" fmla="*/ 11836 w 752994"/>
                <a:gd name="connsiteY296" fmla="*/ 602978 h 1333436"/>
                <a:gd name="connsiteX297" fmla="*/ 15103 w 752994"/>
                <a:gd name="connsiteY297" fmla="*/ 591760 h 1333436"/>
                <a:gd name="connsiteX298" fmla="*/ 14488 w 752994"/>
                <a:gd name="connsiteY298" fmla="*/ 584029 h 1333436"/>
                <a:gd name="connsiteX299" fmla="*/ 13873 w 752994"/>
                <a:gd name="connsiteY299" fmla="*/ 578299 h 1333436"/>
                <a:gd name="connsiteX300" fmla="*/ 10626 w 752994"/>
                <a:gd name="connsiteY300" fmla="*/ 568531 h 1333436"/>
                <a:gd name="connsiteX301" fmla="*/ 3670 w 752994"/>
                <a:gd name="connsiteY301" fmla="*/ 558107 h 1333436"/>
                <a:gd name="connsiteX302" fmla="*/ 0 w 752994"/>
                <a:gd name="connsiteY302" fmla="*/ 551377 h 1333436"/>
                <a:gd name="connsiteX303" fmla="*/ 0 w 752994"/>
                <a:gd name="connsiteY303" fmla="*/ 550997 h 1333436"/>
                <a:gd name="connsiteX304" fmla="*/ 4900 w 752994"/>
                <a:gd name="connsiteY304" fmla="*/ 531220 h 1333436"/>
                <a:gd name="connsiteX305" fmla="*/ 13873 w 752994"/>
                <a:gd name="connsiteY305" fmla="*/ 520589 h 1333436"/>
                <a:gd name="connsiteX306" fmla="*/ 18369 w 752994"/>
                <a:gd name="connsiteY306" fmla="*/ 516516 h 1333436"/>
                <a:gd name="connsiteX307" fmla="*/ 18773 w 752994"/>
                <a:gd name="connsiteY307" fmla="*/ 514272 h 1333436"/>
                <a:gd name="connsiteX308" fmla="*/ 23077 w 752994"/>
                <a:gd name="connsiteY308" fmla="*/ 506127 h 1333436"/>
                <a:gd name="connsiteX309" fmla="*/ 23884 w 752994"/>
                <a:gd name="connsiteY309" fmla="*/ 502261 h 1333436"/>
                <a:gd name="connsiteX310" fmla="*/ 23692 w 752994"/>
                <a:gd name="connsiteY310" fmla="*/ 496738 h 1333436"/>
                <a:gd name="connsiteX311" fmla="*/ 30013 w 752994"/>
                <a:gd name="connsiteY311" fmla="*/ 486556 h 1333436"/>
                <a:gd name="connsiteX312" fmla="*/ 36546 w 752994"/>
                <a:gd name="connsiteY312" fmla="*/ 470230 h 1333436"/>
                <a:gd name="connsiteX313" fmla="*/ 36546 w 752994"/>
                <a:gd name="connsiteY313" fmla="*/ 462671 h 1333436"/>
                <a:gd name="connsiteX314" fmla="*/ 36335 w 752994"/>
                <a:gd name="connsiteY314" fmla="*/ 461670 h 1333436"/>
                <a:gd name="connsiteX315" fmla="*/ 35931 w 752994"/>
                <a:gd name="connsiteY315" fmla="*/ 453110 h 1333436"/>
                <a:gd name="connsiteX316" fmla="*/ 38583 w 752994"/>
                <a:gd name="connsiteY316" fmla="*/ 442514 h 1333436"/>
                <a:gd name="connsiteX317" fmla="*/ 41043 w 752994"/>
                <a:gd name="connsiteY317" fmla="*/ 436991 h 1333436"/>
                <a:gd name="connsiteX318" fmla="*/ 41650 w 752994"/>
                <a:gd name="connsiteY318" fmla="*/ 437186 h 1333436"/>
                <a:gd name="connsiteX319" fmla="*/ 41239 w 752994"/>
                <a:gd name="connsiteY319" fmla="*/ 436549 h 1333436"/>
                <a:gd name="connsiteX320" fmla="*/ 37778 w 752994"/>
                <a:gd name="connsiteY320" fmla="*/ 433894 h 1333436"/>
                <a:gd name="connsiteX321" fmla="*/ 37169 w 752994"/>
                <a:gd name="connsiteY321" fmla="*/ 432261 h 1333436"/>
                <a:gd name="connsiteX322" fmla="*/ 37365 w 752994"/>
                <a:gd name="connsiteY322" fmla="*/ 429198 h 1333436"/>
                <a:gd name="connsiteX323" fmla="*/ 36756 w 752994"/>
                <a:gd name="connsiteY323" fmla="*/ 422272 h 1333436"/>
                <a:gd name="connsiteX324" fmla="*/ 36952 w 752994"/>
                <a:gd name="connsiteY324" fmla="*/ 418800 h 1333436"/>
                <a:gd name="connsiteX325" fmla="*/ 36756 w 752994"/>
                <a:gd name="connsiteY325" fmla="*/ 412487 h 1333436"/>
                <a:gd name="connsiteX326" fmla="*/ 40433 w 752994"/>
                <a:gd name="connsiteY326" fmla="*/ 406174 h 1333436"/>
                <a:gd name="connsiteX327" fmla="*/ 44720 w 752994"/>
                <a:gd name="connsiteY327" fmla="*/ 399435 h 1333436"/>
                <a:gd name="connsiteX328" fmla="*/ 44110 w 752994"/>
                <a:gd name="connsiteY328" fmla="*/ 389651 h 1333436"/>
                <a:gd name="connsiteX329" fmla="*/ 43894 w 752994"/>
                <a:gd name="connsiteY329" fmla="*/ 378437 h 1333436"/>
                <a:gd name="connsiteX330" fmla="*/ 47158 w 752994"/>
                <a:gd name="connsiteY330" fmla="*/ 371102 h 1333436"/>
                <a:gd name="connsiteX331" fmla="*/ 55731 w 752994"/>
                <a:gd name="connsiteY331" fmla="*/ 360909 h 1333436"/>
                <a:gd name="connsiteX332" fmla="*/ 57580 w 752994"/>
                <a:gd name="connsiteY332" fmla="*/ 355804 h 1333436"/>
                <a:gd name="connsiteX333" fmla="*/ 62673 w 752994"/>
                <a:gd name="connsiteY333" fmla="*/ 349695 h 1333436"/>
                <a:gd name="connsiteX334" fmla="*/ 65937 w 752994"/>
                <a:gd name="connsiteY334" fmla="*/ 348470 h 1333436"/>
                <a:gd name="connsiteX335" fmla="*/ 68395 w 752994"/>
                <a:gd name="connsiteY335" fmla="*/ 348674 h 1333436"/>
                <a:gd name="connsiteX336" fmla="*/ 70224 w 752994"/>
                <a:gd name="connsiteY336" fmla="*/ 347449 h 1333436"/>
                <a:gd name="connsiteX337" fmla="*/ 67785 w 752994"/>
                <a:gd name="connsiteY337" fmla="*/ 345203 h 1333436"/>
                <a:gd name="connsiteX338" fmla="*/ 65524 w 752994"/>
                <a:gd name="connsiteY338" fmla="*/ 343178 h 1333436"/>
                <a:gd name="connsiteX339" fmla="*/ 73095 w 752994"/>
                <a:gd name="connsiteY339" fmla="*/ 333376 h 1333436"/>
                <a:gd name="connsiteX340" fmla="*/ 73291 w 752994"/>
                <a:gd name="connsiteY340" fmla="*/ 333376 h 1333436"/>
                <a:gd name="connsiteX341" fmla="*/ 77991 w 752994"/>
                <a:gd name="connsiteY341" fmla="*/ 325838 h 1333436"/>
                <a:gd name="connsiteX342" fmla="*/ 82671 w 752994"/>
                <a:gd name="connsiteY342" fmla="*/ 313619 h 1333436"/>
                <a:gd name="connsiteX343" fmla="*/ 87980 w 752994"/>
                <a:gd name="connsiteY343" fmla="*/ 303018 h 1333436"/>
                <a:gd name="connsiteX344" fmla="*/ 92267 w 752994"/>
                <a:gd name="connsiteY344" fmla="*/ 291191 h 1333436"/>
                <a:gd name="connsiteX345" fmla="*/ 96553 w 752994"/>
                <a:gd name="connsiteY345" fmla="*/ 281202 h 1333436"/>
                <a:gd name="connsiteX346" fmla="*/ 99621 w 752994"/>
                <a:gd name="connsiteY346" fmla="*/ 274481 h 1333436"/>
                <a:gd name="connsiteX347" fmla="*/ 103082 w 752994"/>
                <a:gd name="connsiteY347" fmla="*/ 262450 h 1333436"/>
                <a:gd name="connsiteX348" fmla="*/ 107172 w 752994"/>
                <a:gd name="connsiteY348" fmla="*/ 254299 h 1333436"/>
                <a:gd name="connsiteX349" fmla="*/ 112481 w 752994"/>
                <a:gd name="connsiteY349" fmla="*/ 243697 h 1333436"/>
                <a:gd name="connsiteX350" fmla="*/ 117181 w 752994"/>
                <a:gd name="connsiteY350" fmla="*/ 232279 h 1333436"/>
                <a:gd name="connsiteX351" fmla="*/ 125951 w 752994"/>
                <a:gd name="connsiteY351" fmla="*/ 217389 h 1333436"/>
                <a:gd name="connsiteX352" fmla="*/ 136156 w 752994"/>
                <a:gd name="connsiteY352" fmla="*/ 202925 h 1333436"/>
                <a:gd name="connsiteX353" fmla="*/ 138811 w 752994"/>
                <a:gd name="connsiteY353" fmla="*/ 183339 h 1333436"/>
                <a:gd name="connsiteX354" fmla="*/ 148801 w 752994"/>
                <a:gd name="connsiteY354" fmla="*/ 167445 h 1333436"/>
                <a:gd name="connsiteX355" fmla="*/ 159616 w 752994"/>
                <a:gd name="connsiteY355" fmla="*/ 170712 h 1333436"/>
                <a:gd name="connsiteX356" fmla="*/ 173105 w 752994"/>
                <a:gd name="connsiteY356" fmla="*/ 175188 h 1333436"/>
                <a:gd name="connsiteX357" fmla="*/ 175347 w 752994"/>
                <a:gd name="connsiteY357" fmla="*/ 175188 h 1333436"/>
                <a:gd name="connsiteX358" fmla="*/ 175347 w 752994"/>
                <a:gd name="connsiteY358" fmla="*/ 173758 h 1333436"/>
                <a:gd name="connsiteX359" fmla="*/ 184975 w 752994"/>
                <a:gd name="connsiteY359" fmla="*/ 187393 h 1333436"/>
                <a:gd name="connsiteX360" fmla="*/ 184762 w 752994"/>
                <a:gd name="connsiteY360" fmla="*/ 184637 h 1333436"/>
                <a:gd name="connsiteX361" fmla="*/ 174971 w 752994"/>
                <a:gd name="connsiteY361" fmla="*/ 170774 h 1333436"/>
                <a:gd name="connsiteX362" fmla="*/ 174971 w 752994"/>
                <a:gd name="connsiteY362" fmla="*/ 169550 h 1333436"/>
                <a:gd name="connsiteX363" fmla="*/ 158851 w 752994"/>
                <a:gd name="connsiteY363" fmla="*/ 156924 h 1333436"/>
                <a:gd name="connsiteX364" fmla="*/ 147025 w 752994"/>
                <a:gd name="connsiteY364" fmla="*/ 145709 h 1333436"/>
                <a:gd name="connsiteX365" fmla="*/ 154364 w 752994"/>
                <a:gd name="connsiteY365" fmla="*/ 136335 h 1333436"/>
                <a:gd name="connsiteX366" fmla="*/ 161511 w 752994"/>
                <a:gd name="connsiteY366" fmla="*/ 131042 h 1333436"/>
                <a:gd name="connsiteX367" fmla="*/ 160902 w 752994"/>
                <a:gd name="connsiteY367" fmla="*/ 128384 h 1333436"/>
                <a:gd name="connsiteX368" fmla="*/ 160277 w 752994"/>
                <a:gd name="connsiteY368" fmla="*/ 127778 h 1333436"/>
                <a:gd name="connsiteX369" fmla="*/ 154973 w 752994"/>
                <a:gd name="connsiteY369" fmla="*/ 122077 h 1333436"/>
                <a:gd name="connsiteX370" fmla="*/ 160277 w 752994"/>
                <a:gd name="connsiteY370" fmla="*/ 115140 h 1333436"/>
                <a:gd name="connsiteX371" fmla="*/ 165181 w 752994"/>
                <a:gd name="connsiteY371" fmla="*/ 108215 h 1333436"/>
                <a:gd name="connsiteX372" fmla="*/ 161303 w 752994"/>
                <a:gd name="connsiteY372" fmla="*/ 104146 h 1333436"/>
                <a:gd name="connsiteX373" fmla="*/ 157842 w 752994"/>
                <a:gd name="connsiteY373" fmla="*/ 104542 h 1333436"/>
                <a:gd name="connsiteX374" fmla="*/ 157024 w 752994"/>
                <a:gd name="connsiteY374" fmla="*/ 102304 h 1333436"/>
                <a:gd name="connsiteX375" fmla="*/ 160694 w 752994"/>
                <a:gd name="connsiteY375" fmla="*/ 55437 h 1333436"/>
                <a:gd name="connsiteX376" fmla="*/ 160486 w 752994"/>
                <a:gd name="connsiteY376" fmla="*/ 31991 h 1333436"/>
                <a:gd name="connsiteX377" fmla="*/ 164972 w 752994"/>
                <a:gd name="connsiteY377" fmla="*/ 18141 h 1333436"/>
                <a:gd name="connsiteX378" fmla="*/ 171911 w 752994"/>
                <a:gd name="connsiteY378" fmla="*/ 11204 h 1333436"/>
                <a:gd name="connsiteX379" fmla="*/ 187406 w 752994"/>
                <a:gd name="connsiteY379" fmla="*/ 21801 h 1333436"/>
                <a:gd name="connsiteX380" fmla="*/ 210866 w 752994"/>
                <a:gd name="connsiteY380" fmla="*/ 37086 h 1333436"/>
                <a:gd name="connsiteX381" fmla="*/ 219230 w 752994"/>
                <a:gd name="connsiteY381" fmla="*/ 41166 h 1333436"/>
                <a:gd name="connsiteX382" fmla="*/ 226778 w 752994"/>
                <a:gd name="connsiteY382" fmla="*/ 47486 h 1333436"/>
                <a:gd name="connsiteX383" fmla="*/ 236152 w 752994"/>
                <a:gd name="connsiteY383" fmla="*/ 52370 h 1333436"/>
                <a:gd name="connsiteX384" fmla="*/ 239629 w 752994"/>
                <a:gd name="connsiteY384" fmla="*/ 58491 h 1333436"/>
                <a:gd name="connsiteX385" fmla="*/ 239629 w 752994"/>
                <a:gd name="connsiteY385" fmla="*/ 63376 h 1333436"/>
                <a:gd name="connsiteX386" fmla="*/ 236568 w 752994"/>
                <a:gd name="connsiteY386" fmla="*/ 67457 h 1333436"/>
                <a:gd name="connsiteX387" fmla="*/ 231264 w 752994"/>
                <a:gd name="connsiteY387" fmla="*/ 69905 h 1333436"/>
                <a:gd name="connsiteX388" fmla="*/ 216778 w 752994"/>
                <a:gd name="connsiteY388" fmla="*/ 82741 h 1333436"/>
                <a:gd name="connsiteX389" fmla="*/ 214134 w 752994"/>
                <a:gd name="connsiteY389" fmla="*/ 93536 h 1333436"/>
                <a:gd name="connsiteX390" fmla="*/ 214535 w 752994"/>
                <a:gd name="connsiteY390" fmla="*/ 96801 h 1333436"/>
                <a:gd name="connsiteX391" fmla="*/ 216378 w 752994"/>
                <a:gd name="connsiteY391" fmla="*/ 96801 h 1333436"/>
                <a:gd name="connsiteX392" fmla="*/ 230046 w 752994"/>
                <a:gd name="connsiteY392" fmla="*/ 85387 h 1333436"/>
                <a:gd name="connsiteX393" fmla="*/ 243298 w 752994"/>
                <a:gd name="connsiteY393" fmla="*/ 75198 h 1333436"/>
                <a:gd name="connsiteX394" fmla="*/ 246760 w 752994"/>
                <a:gd name="connsiteY394" fmla="*/ 77646 h 1333436"/>
                <a:gd name="connsiteX395" fmla="*/ 255541 w 752994"/>
                <a:gd name="connsiteY395" fmla="*/ 63376 h 1333436"/>
                <a:gd name="connsiteX396" fmla="*/ 259611 w 752994"/>
                <a:gd name="connsiteY396" fmla="*/ 43405 h 1333436"/>
                <a:gd name="connsiteX397" fmla="*/ 256967 w 752994"/>
                <a:gd name="connsiteY397" fmla="*/ 38520 h 1333436"/>
                <a:gd name="connsiteX398" fmla="*/ 253906 w 752994"/>
                <a:gd name="connsiteY398" fmla="*/ 34242 h 1333436"/>
                <a:gd name="connsiteX399" fmla="*/ 256967 w 752994"/>
                <a:gd name="connsiteY399" fmla="*/ 30161 h 1333436"/>
                <a:gd name="connsiteX400" fmla="*/ 262063 w 752994"/>
                <a:gd name="connsiteY400" fmla="*/ 27712 h 1333436"/>
                <a:gd name="connsiteX401" fmla="*/ 264915 w 752994"/>
                <a:gd name="connsiteY401" fmla="*/ 23026 h 1333436"/>
                <a:gd name="connsiteX402" fmla="*/ 267976 w 752994"/>
                <a:gd name="connsiteY402" fmla="*/ 22618 h 1333436"/>
                <a:gd name="connsiteX403" fmla="*/ 270427 w 752994"/>
                <a:gd name="connsiteY403" fmla="*/ 20787 h 1333436"/>
                <a:gd name="connsiteX404" fmla="*/ 263088 w 752994"/>
                <a:gd name="connsiteY404" fmla="*/ 13652 h 1333436"/>
                <a:gd name="connsiteX405" fmla="*/ 255541 w 752994"/>
                <a:gd name="connsiteY405" fmla="*/ 3055 h 1333436"/>
                <a:gd name="connsiteX406" fmla="*/ 256358 w 752994"/>
                <a:gd name="connsiteY406" fmla="*/ 1224 h 1333436"/>
                <a:gd name="connsiteX407" fmla="*/ 257159 w 752994"/>
                <a:gd name="connsiteY407"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7539 w 752994"/>
                <a:gd name="connsiteY19" fmla="*/ 290781 h 1333436"/>
                <a:gd name="connsiteX20" fmla="*/ 453944 w 752994"/>
                <a:gd name="connsiteY20" fmla="*/ 286495 h 1333436"/>
                <a:gd name="connsiteX21" fmla="*/ 457539 w 752994"/>
                <a:gd name="connsiteY21" fmla="*/ 290781 h 1333436"/>
                <a:gd name="connsiteX22" fmla="*/ 184180 w 752994"/>
                <a:gd name="connsiteY22" fmla="*/ 213866 h 1333436"/>
                <a:gd name="connsiteX23" fmla="*/ 184117 w 752994"/>
                <a:gd name="connsiteY23" fmla="*/ 214326 h 1333436"/>
                <a:gd name="connsiteX24" fmla="*/ 185553 w 752994"/>
                <a:gd name="connsiteY24" fmla="*/ 222494 h 1333436"/>
                <a:gd name="connsiteX25" fmla="*/ 188600 w 752994"/>
                <a:gd name="connsiteY25" fmla="*/ 226970 h 1333436"/>
                <a:gd name="connsiteX26" fmla="*/ 195542 w 752994"/>
                <a:gd name="connsiteY26" fmla="*/ 231871 h 1333436"/>
                <a:gd name="connsiteX27" fmla="*/ 203093 w 752994"/>
                <a:gd name="connsiteY27" fmla="*/ 233896 h 1333436"/>
                <a:gd name="connsiteX28" fmla="*/ 217192 w 752994"/>
                <a:gd name="connsiteY28" fmla="*/ 232075 h 1333436"/>
                <a:gd name="connsiteX29" fmla="*/ 225136 w 752994"/>
                <a:gd name="connsiteY29" fmla="*/ 229829 h 1333436"/>
                <a:gd name="connsiteX30" fmla="*/ 235558 w 752994"/>
                <a:gd name="connsiteY30" fmla="*/ 232483 h 1333436"/>
                <a:gd name="connsiteX31" fmla="*/ 242499 w 752994"/>
                <a:gd name="connsiteY31" fmla="*/ 237163 h 1333436"/>
                <a:gd name="connsiteX32" fmla="*/ 248418 w 752994"/>
                <a:gd name="connsiteY32" fmla="*/ 244701 h 1333436"/>
                <a:gd name="connsiteX33" fmla="*/ 255359 w 752994"/>
                <a:gd name="connsiteY33" fmla="*/ 244906 h 1333436"/>
                <a:gd name="connsiteX34" fmla="*/ 258210 w 752994"/>
                <a:gd name="connsiteY34" fmla="*/ 244906 h 1333436"/>
                <a:gd name="connsiteX35" fmla="*/ 263303 w 752994"/>
                <a:gd name="connsiteY35" fmla="*/ 246131 h 1333436"/>
                <a:gd name="connsiteX36" fmla="*/ 269438 w 752994"/>
                <a:gd name="connsiteY36" fmla="*/ 243697 h 1333436"/>
                <a:gd name="connsiteX37" fmla="*/ 274944 w 752994"/>
                <a:gd name="connsiteY37" fmla="*/ 241451 h 1333436"/>
                <a:gd name="connsiteX38" fmla="*/ 281276 w 752994"/>
                <a:gd name="connsiteY38" fmla="*/ 245722 h 1333436"/>
                <a:gd name="connsiteX39" fmla="*/ 289240 w 752994"/>
                <a:gd name="connsiteY39" fmla="*/ 250419 h 1333436"/>
                <a:gd name="connsiteX40" fmla="*/ 297597 w 752994"/>
                <a:gd name="connsiteY40" fmla="*/ 248581 h 1333436"/>
                <a:gd name="connsiteX41" fmla="*/ 310261 w 752994"/>
                <a:gd name="connsiteY41" fmla="*/ 246539 h 1333436"/>
                <a:gd name="connsiteX42" fmla="*/ 324340 w 752994"/>
                <a:gd name="connsiteY42" fmla="*/ 244497 h 1333436"/>
                <a:gd name="connsiteX43" fmla="*/ 333523 w 752994"/>
                <a:gd name="connsiteY43" fmla="*/ 243289 h 1333436"/>
                <a:gd name="connsiteX44" fmla="*/ 341271 w 752994"/>
                <a:gd name="connsiteY44" fmla="*/ 246539 h 1333436"/>
                <a:gd name="connsiteX45" fmla="*/ 348428 w 752994"/>
                <a:gd name="connsiteY45" fmla="*/ 250011 h 1333436"/>
                <a:gd name="connsiteX46" fmla="*/ 351279 w 752994"/>
                <a:gd name="connsiteY46" fmla="*/ 247356 h 1333436"/>
                <a:gd name="connsiteX47" fmla="*/ 355566 w 752994"/>
                <a:gd name="connsiteY47" fmla="*/ 244293 h 1333436"/>
                <a:gd name="connsiteX48" fmla="*/ 365772 w 752994"/>
                <a:gd name="connsiteY48" fmla="*/ 248785 h 1333436"/>
                <a:gd name="connsiteX49" fmla="*/ 381483 w 752994"/>
                <a:gd name="connsiteY49" fmla="*/ 254912 h 1333436"/>
                <a:gd name="connsiteX50" fmla="*/ 381896 w 752994"/>
                <a:gd name="connsiteY50" fmla="*/ 255320 h 1333436"/>
                <a:gd name="connsiteX51" fmla="*/ 395366 w 752994"/>
                <a:gd name="connsiteY51" fmla="*/ 257753 h 1333436"/>
                <a:gd name="connsiteX52" fmla="*/ 414145 w 752994"/>
                <a:gd name="connsiteY52" fmla="*/ 262450 h 1333436"/>
                <a:gd name="connsiteX53" fmla="*/ 431292 w 752994"/>
                <a:gd name="connsiteY53" fmla="*/ 268151 h 1333436"/>
                <a:gd name="connsiteX54" fmla="*/ 445196 w 752994"/>
                <a:gd name="connsiteY54" fmla="*/ 269890 h 1333436"/>
                <a:gd name="connsiteX55" fmla="*/ 444145 w 752994"/>
                <a:gd name="connsiteY55" fmla="*/ 267441 h 1333436"/>
                <a:gd name="connsiteX56" fmla="*/ 444145 w 752994"/>
                <a:gd name="connsiteY56" fmla="*/ 267034 h 1333436"/>
                <a:gd name="connsiteX57" fmla="*/ 444155 w 752994"/>
                <a:gd name="connsiteY57" fmla="*/ 266811 h 1333436"/>
                <a:gd name="connsiteX58" fmla="*/ 430733 w 752994"/>
                <a:gd name="connsiteY58" fmla="*/ 265139 h 1333436"/>
                <a:gd name="connsiteX59" fmla="*/ 413603 w 752994"/>
                <a:gd name="connsiteY59" fmla="*/ 259426 h 1333436"/>
                <a:gd name="connsiteX60" fmla="*/ 394839 w 752994"/>
                <a:gd name="connsiteY60" fmla="*/ 254739 h 1333436"/>
                <a:gd name="connsiteX61" fmla="*/ 381379 w 752994"/>
                <a:gd name="connsiteY61" fmla="*/ 252303 h 1333436"/>
                <a:gd name="connsiteX62" fmla="*/ 380962 w 752994"/>
                <a:gd name="connsiteY62" fmla="*/ 251895 h 1333436"/>
                <a:gd name="connsiteX63" fmla="*/ 365258 w 752994"/>
                <a:gd name="connsiteY63" fmla="*/ 245774 h 1333436"/>
                <a:gd name="connsiteX64" fmla="*/ 355067 w 752994"/>
                <a:gd name="connsiteY64" fmla="*/ 241285 h 1333436"/>
                <a:gd name="connsiteX65" fmla="*/ 350789 w 752994"/>
                <a:gd name="connsiteY65" fmla="*/ 244352 h 1333436"/>
                <a:gd name="connsiteX66" fmla="*/ 347920 w 752994"/>
                <a:gd name="connsiteY66" fmla="*/ 246998 h 1333436"/>
                <a:gd name="connsiteX67" fmla="*/ 340789 w 752994"/>
                <a:gd name="connsiteY67" fmla="*/ 243536 h 1333436"/>
                <a:gd name="connsiteX68" fmla="*/ 333034 w 752994"/>
                <a:gd name="connsiteY68" fmla="*/ 240271 h 1333436"/>
                <a:gd name="connsiteX69" fmla="*/ 323868 w 752994"/>
                <a:gd name="connsiteY69" fmla="*/ 241495 h 1333436"/>
                <a:gd name="connsiteX70" fmla="*/ 309783 w 752994"/>
                <a:gd name="connsiteY70" fmla="*/ 243536 h 1333436"/>
                <a:gd name="connsiteX71" fmla="*/ 297140 w 752994"/>
                <a:gd name="connsiteY71" fmla="*/ 245576 h 1333436"/>
                <a:gd name="connsiteX72" fmla="*/ 288775 w 752994"/>
                <a:gd name="connsiteY72" fmla="*/ 247406 h 1333436"/>
                <a:gd name="connsiteX73" fmla="*/ 280827 w 752994"/>
                <a:gd name="connsiteY73" fmla="*/ 242720 h 1333436"/>
                <a:gd name="connsiteX74" fmla="*/ 274497 w 752994"/>
                <a:gd name="connsiteY74" fmla="*/ 238441 h 1333436"/>
                <a:gd name="connsiteX75" fmla="*/ 269001 w 752994"/>
                <a:gd name="connsiteY75" fmla="*/ 240679 h 1333436"/>
                <a:gd name="connsiteX76" fmla="*/ 262880 w 752994"/>
                <a:gd name="connsiteY76" fmla="*/ 243128 h 1333436"/>
                <a:gd name="connsiteX77" fmla="*/ 260028 w 752994"/>
                <a:gd name="connsiteY77" fmla="*/ 242720 h 1333436"/>
                <a:gd name="connsiteX78" fmla="*/ 257784 w 752994"/>
                <a:gd name="connsiteY78" fmla="*/ 241904 h 1333436"/>
                <a:gd name="connsiteX79" fmla="*/ 247994 w 752994"/>
                <a:gd name="connsiteY79" fmla="*/ 241693 h 1333436"/>
                <a:gd name="connsiteX80" fmla="*/ 242081 w 752994"/>
                <a:gd name="connsiteY80" fmla="*/ 234162 h 1333436"/>
                <a:gd name="connsiteX81" fmla="*/ 235142 w 752994"/>
                <a:gd name="connsiteY81" fmla="*/ 229476 h 1333436"/>
                <a:gd name="connsiteX82" fmla="*/ 224742 w 752994"/>
                <a:gd name="connsiteY82" fmla="*/ 226817 h 1333436"/>
                <a:gd name="connsiteX83" fmla="*/ 216778 w 752994"/>
                <a:gd name="connsiteY83" fmla="*/ 229068 h 1333436"/>
                <a:gd name="connsiteX84" fmla="*/ 202709 w 752994"/>
                <a:gd name="connsiteY84" fmla="*/ 230898 h 1333436"/>
                <a:gd name="connsiteX85" fmla="*/ 195162 w 752994"/>
                <a:gd name="connsiteY85" fmla="*/ 228857 h 1333436"/>
                <a:gd name="connsiteX86" fmla="*/ 188223 w 752994"/>
                <a:gd name="connsiteY86" fmla="*/ 223973 h 1333436"/>
                <a:gd name="connsiteX87" fmla="*/ 185163 w 752994"/>
                <a:gd name="connsiteY87" fmla="*/ 219484 h 1333436"/>
                <a:gd name="connsiteX88" fmla="*/ 184180 w 752994"/>
                <a:gd name="connsiteY88" fmla="*/ 213866 h 1333436"/>
                <a:gd name="connsiteX89" fmla="*/ 257159 w 752994"/>
                <a:gd name="connsiteY89" fmla="*/ 0 h 1333436"/>
                <a:gd name="connsiteX90" fmla="*/ 493147 w 752994"/>
                <a:gd name="connsiteY90" fmla="*/ 73157 h 1333436"/>
                <a:gd name="connsiteX91" fmla="*/ 492970 w 752994"/>
                <a:gd name="connsiteY91" fmla="*/ 73792 h 1333436"/>
                <a:gd name="connsiteX92" fmla="*/ 525816 w 752994"/>
                <a:gd name="connsiteY92" fmla="*/ 82491 h 1333436"/>
                <a:gd name="connsiteX93" fmla="*/ 520098 w 752994"/>
                <a:gd name="connsiteY93" fmla="*/ 111245 h 1333436"/>
                <a:gd name="connsiteX94" fmla="*/ 512552 w 752994"/>
                <a:gd name="connsiteY94" fmla="*/ 143854 h 1333436"/>
                <a:gd name="connsiteX95" fmla="*/ 517849 w 752994"/>
                <a:gd name="connsiteY95" fmla="*/ 157740 h 1333436"/>
                <a:gd name="connsiteX96" fmla="*/ 523160 w 752994"/>
                <a:gd name="connsiteY96" fmla="*/ 172009 h 1333436"/>
                <a:gd name="connsiteX97" fmla="*/ 521535 w 752994"/>
                <a:gd name="connsiteY97" fmla="*/ 178928 h 1333436"/>
                <a:gd name="connsiteX98" fmla="*/ 520098 w 752994"/>
                <a:gd name="connsiteY98" fmla="*/ 186279 h 1333436"/>
                <a:gd name="connsiteX99" fmla="*/ 526019 w 752994"/>
                <a:gd name="connsiteY99" fmla="*/ 193629 h 1333436"/>
                <a:gd name="connsiteX100" fmla="*/ 537251 w 752994"/>
                <a:gd name="connsiteY100" fmla="*/ 206270 h 1333436"/>
                <a:gd name="connsiteX101" fmla="*/ 542765 w 752994"/>
                <a:gd name="connsiteY101" fmla="*/ 217475 h 1333436"/>
                <a:gd name="connsiteX102" fmla="*/ 546857 w 752994"/>
                <a:gd name="connsiteY102" fmla="*/ 230930 h 1333436"/>
                <a:gd name="connsiteX103" fmla="*/ 549499 w 752994"/>
                <a:gd name="connsiteY103" fmla="*/ 235622 h 1333436"/>
                <a:gd name="connsiteX104" fmla="*/ 553388 w 752994"/>
                <a:gd name="connsiteY104" fmla="*/ 240722 h 1333436"/>
                <a:gd name="connsiteX105" fmla="*/ 557465 w 752994"/>
                <a:gd name="connsiteY105" fmla="*/ 246037 h 1333436"/>
                <a:gd name="connsiteX106" fmla="*/ 561761 w 752994"/>
                <a:gd name="connsiteY106" fmla="*/ 248671 h 1333436"/>
                <a:gd name="connsiteX107" fmla="*/ 567478 w 752994"/>
                <a:gd name="connsiteY107" fmla="*/ 247665 h 1333436"/>
                <a:gd name="connsiteX108" fmla="*/ 569931 w 752994"/>
                <a:gd name="connsiteY108" fmla="*/ 249293 h 1333436"/>
                <a:gd name="connsiteX109" fmla="*/ 570540 w 752994"/>
                <a:gd name="connsiteY109" fmla="*/ 251951 h 1333436"/>
                <a:gd name="connsiteX110" fmla="*/ 561964 w 752994"/>
                <a:gd name="connsiteY110" fmla="*/ 267656 h 1333436"/>
                <a:gd name="connsiteX111" fmla="*/ 553591 w 752994"/>
                <a:gd name="connsiteY111" fmla="*/ 289659 h 1333436"/>
                <a:gd name="connsiteX112" fmla="*/ 554810 w 752994"/>
                <a:gd name="connsiteY112" fmla="*/ 292939 h 1333436"/>
                <a:gd name="connsiteX113" fmla="*/ 556246 w 752994"/>
                <a:gd name="connsiteY113" fmla="*/ 299260 h 1333436"/>
                <a:gd name="connsiteX114" fmla="*/ 552778 w 752994"/>
                <a:gd name="connsiteY114" fmla="*/ 301917 h 1333436"/>
                <a:gd name="connsiteX115" fmla="*/ 549295 w 752994"/>
                <a:gd name="connsiteY115" fmla="*/ 306993 h 1333436"/>
                <a:gd name="connsiteX116" fmla="*/ 547061 w 752994"/>
                <a:gd name="connsiteY116" fmla="*/ 313122 h 1333436"/>
                <a:gd name="connsiteX117" fmla="*/ 544811 w 752994"/>
                <a:gd name="connsiteY117" fmla="*/ 316593 h 1333436"/>
                <a:gd name="connsiteX118" fmla="*/ 549919 w 752994"/>
                <a:gd name="connsiteY118" fmla="*/ 322698 h 1333436"/>
                <a:gd name="connsiteX119" fmla="*/ 553184 w 752994"/>
                <a:gd name="connsiteY119" fmla="*/ 325955 h 1333436"/>
                <a:gd name="connsiteX120" fmla="*/ 555840 w 752994"/>
                <a:gd name="connsiteY120" fmla="*/ 328205 h 1333436"/>
                <a:gd name="connsiteX121" fmla="*/ 574212 w 752994"/>
                <a:gd name="connsiteY121" fmla="*/ 318820 h 1333436"/>
                <a:gd name="connsiteX122" fmla="*/ 579523 w 752994"/>
                <a:gd name="connsiteY122" fmla="*/ 326577 h 1333436"/>
                <a:gd name="connsiteX123" fmla="*/ 580539 w 752994"/>
                <a:gd name="connsiteY123" fmla="*/ 334933 h 1333436"/>
                <a:gd name="connsiteX124" fmla="*/ 579726 w 752994"/>
                <a:gd name="connsiteY124" fmla="*/ 343097 h 1333436"/>
                <a:gd name="connsiteX125" fmla="*/ 581366 w 752994"/>
                <a:gd name="connsiteY125" fmla="*/ 350231 h 1333436"/>
                <a:gd name="connsiteX126" fmla="*/ 586256 w 752994"/>
                <a:gd name="connsiteY126" fmla="*/ 355930 h 1333436"/>
                <a:gd name="connsiteX127" fmla="*/ 589536 w 752994"/>
                <a:gd name="connsiteY127" fmla="*/ 362059 h 1333436"/>
                <a:gd name="connsiteX128" fmla="*/ 588099 w 752994"/>
                <a:gd name="connsiteY128" fmla="*/ 369600 h 1333436"/>
                <a:gd name="connsiteX129" fmla="*/ 586459 w 752994"/>
                <a:gd name="connsiteY129" fmla="*/ 377357 h 1333436"/>
                <a:gd name="connsiteX130" fmla="*/ 588709 w 752994"/>
                <a:gd name="connsiteY130" fmla="*/ 381835 h 1333436"/>
                <a:gd name="connsiteX131" fmla="*/ 595036 w 752994"/>
                <a:gd name="connsiteY131" fmla="*/ 382457 h 1333436"/>
                <a:gd name="connsiteX132" fmla="*/ 599331 w 752994"/>
                <a:gd name="connsiteY132" fmla="*/ 385306 h 1333436"/>
                <a:gd name="connsiteX133" fmla="*/ 601987 w 752994"/>
                <a:gd name="connsiteY133" fmla="*/ 391004 h 1333436"/>
                <a:gd name="connsiteX134" fmla="*/ 602799 w 752994"/>
                <a:gd name="connsiteY134" fmla="*/ 404076 h 1333436"/>
                <a:gd name="connsiteX135" fmla="*/ 606892 w 752994"/>
                <a:gd name="connsiteY135" fmla="*/ 415688 h 1333436"/>
                <a:gd name="connsiteX136" fmla="*/ 610563 w 752994"/>
                <a:gd name="connsiteY136" fmla="*/ 412217 h 1333436"/>
                <a:gd name="connsiteX137" fmla="*/ 617920 w 752994"/>
                <a:gd name="connsiteY137" fmla="*/ 408769 h 1333436"/>
                <a:gd name="connsiteX138" fmla="*/ 624654 w 752994"/>
                <a:gd name="connsiteY138" fmla="*/ 411211 h 1333436"/>
                <a:gd name="connsiteX139" fmla="*/ 634652 w 752994"/>
                <a:gd name="connsiteY139" fmla="*/ 410182 h 1333436"/>
                <a:gd name="connsiteX140" fmla="*/ 640573 w 752994"/>
                <a:gd name="connsiteY140" fmla="*/ 407739 h 1333436"/>
                <a:gd name="connsiteX141" fmla="*/ 646711 w 752994"/>
                <a:gd name="connsiteY141" fmla="*/ 410589 h 1333436"/>
                <a:gd name="connsiteX142" fmla="*/ 650383 w 752994"/>
                <a:gd name="connsiteY142" fmla="*/ 410589 h 1333436"/>
                <a:gd name="connsiteX143" fmla="*/ 654257 w 752994"/>
                <a:gd name="connsiteY143" fmla="*/ 411618 h 1333436"/>
                <a:gd name="connsiteX144" fmla="*/ 656913 w 752994"/>
                <a:gd name="connsiteY144" fmla="*/ 413653 h 1333436"/>
                <a:gd name="connsiteX145" fmla="*/ 660802 w 752994"/>
                <a:gd name="connsiteY145" fmla="*/ 415090 h 1333436"/>
                <a:gd name="connsiteX146" fmla="*/ 669581 w 752994"/>
                <a:gd name="connsiteY146" fmla="*/ 415904 h 1333436"/>
                <a:gd name="connsiteX147" fmla="*/ 672237 w 752994"/>
                <a:gd name="connsiteY147" fmla="*/ 415688 h 1333436"/>
                <a:gd name="connsiteX148" fmla="*/ 675705 w 752994"/>
                <a:gd name="connsiteY148" fmla="*/ 409367 h 1333436"/>
                <a:gd name="connsiteX149" fmla="*/ 679986 w 752994"/>
                <a:gd name="connsiteY149" fmla="*/ 403238 h 1333436"/>
                <a:gd name="connsiteX150" fmla="*/ 693264 w 752994"/>
                <a:gd name="connsiteY150" fmla="*/ 419567 h 1333436"/>
                <a:gd name="connsiteX151" fmla="*/ 688563 w 752994"/>
                <a:gd name="connsiteY151" fmla="*/ 448321 h 1333436"/>
                <a:gd name="connsiteX152" fmla="*/ 663949 w 752994"/>
                <a:gd name="connsiteY152" fmla="*/ 590165 h 1333436"/>
                <a:gd name="connsiteX153" fmla="*/ 666304 w 752994"/>
                <a:gd name="connsiteY153" fmla="*/ 590504 h 1333436"/>
                <a:gd name="connsiteX154" fmla="*/ 655288 w 752994"/>
                <a:gd name="connsiteY154" fmla="*/ 656178 h 1333436"/>
                <a:gd name="connsiteX155" fmla="*/ 681808 w 752994"/>
                <a:gd name="connsiteY155" fmla="*/ 662301 h 1333436"/>
                <a:gd name="connsiteX156" fmla="*/ 752994 w 752994"/>
                <a:gd name="connsiteY156" fmla="*/ 675560 h 1333436"/>
                <a:gd name="connsiteX157" fmla="*/ 714651 w 752994"/>
                <a:gd name="connsiteY157" fmla="*/ 946985 h 1333436"/>
                <a:gd name="connsiteX158" fmla="*/ 693426 w 752994"/>
                <a:gd name="connsiteY158" fmla="*/ 944128 h 1333436"/>
                <a:gd name="connsiteX159" fmla="*/ 457412 w 752994"/>
                <a:gd name="connsiteY159" fmla="*/ 897429 h 1333436"/>
                <a:gd name="connsiteX160" fmla="*/ 453578 w 752994"/>
                <a:gd name="connsiteY160" fmla="*/ 897215 h 1333436"/>
                <a:gd name="connsiteX161" fmla="*/ 442753 w 752994"/>
                <a:gd name="connsiteY161" fmla="*/ 950656 h 1333436"/>
                <a:gd name="connsiteX162" fmla="*/ 442550 w 752994"/>
                <a:gd name="connsiteY162" fmla="*/ 951272 h 1333436"/>
                <a:gd name="connsiteX163" fmla="*/ 439290 w 752994"/>
                <a:gd name="connsiteY163" fmla="*/ 958807 h 1333436"/>
                <a:gd name="connsiteX164" fmla="*/ 432957 w 752994"/>
                <a:gd name="connsiteY164" fmla="*/ 963487 h 1333436"/>
                <a:gd name="connsiteX165" fmla="*/ 429291 w 752994"/>
                <a:gd name="connsiteY165" fmla="*/ 959817 h 1333436"/>
                <a:gd name="connsiteX166" fmla="*/ 425610 w 752994"/>
                <a:gd name="connsiteY166" fmla="*/ 955532 h 1333436"/>
                <a:gd name="connsiteX167" fmla="*/ 419292 w 752994"/>
                <a:gd name="connsiteY167" fmla="*/ 953291 h 1333436"/>
                <a:gd name="connsiteX168" fmla="*/ 414597 w 752994"/>
                <a:gd name="connsiteY168" fmla="*/ 951272 h 1333436"/>
                <a:gd name="connsiteX169" fmla="*/ 407047 w 752994"/>
                <a:gd name="connsiteY169" fmla="*/ 956148 h 1333436"/>
                <a:gd name="connsiteX170" fmla="*/ 403787 w 752994"/>
                <a:gd name="connsiteY170" fmla="*/ 963290 h 1333436"/>
                <a:gd name="connsiteX171" fmla="*/ 404052 w 752994"/>
                <a:gd name="connsiteY171" fmla="*/ 963688 h 1333436"/>
                <a:gd name="connsiteX172" fmla="*/ 406917 w 752994"/>
                <a:gd name="connsiteY172" fmla="*/ 957427 h 1333436"/>
                <a:gd name="connsiteX173" fmla="*/ 414454 w 752994"/>
                <a:gd name="connsiteY173" fmla="*/ 952534 h 1333436"/>
                <a:gd name="connsiteX174" fmla="*/ 419146 w 752994"/>
                <a:gd name="connsiteY174" fmla="*/ 954567 h 1333436"/>
                <a:gd name="connsiteX175" fmla="*/ 425469 w 752994"/>
                <a:gd name="connsiteY175" fmla="*/ 956803 h 1333436"/>
                <a:gd name="connsiteX176" fmla="*/ 429146 w 752994"/>
                <a:gd name="connsiteY176" fmla="*/ 961092 h 1333436"/>
                <a:gd name="connsiteX177" fmla="*/ 432807 w 752994"/>
                <a:gd name="connsiteY177" fmla="*/ 964757 h 1333436"/>
                <a:gd name="connsiteX178" fmla="*/ 439129 w 752994"/>
                <a:gd name="connsiteY178" fmla="*/ 960065 h 1333436"/>
                <a:gd name="connsiteX179" fmla="*/ 442407 w 752994"/>
                <a:gd name="connsiteY179" fmla="*/ 952534 h 1333436"/>
                <a:gd name="connsiteX180" fmla="*/ 442607 w 752994"/>
                <a:gd name="connsiteY180" fmla="*/ 951909 h 1333436"/>
                <a:gd name="connsiteX181" fmla="*/ 453422 w 752994"/>
                <a:gd name="connsiteY181" fmla="*/ 898487 h 1333436"/>
                <a:gd name="connsiteX182" fmla="*/ 689408 w 752994"/>
                <a:gd name="connsiteY182" fmla="*/ 945184 h 1333436"/>
                <a:gd name="connsiteX183" fmla="*/ 710622 w 752994"/>
                <a:gd name="connsiteY183" fmla="*/ 948043 h 1333436"/>
                <a:gd name="connsiteX184" fmla="*/ 654533 w 752994"/>
                <a:gd name="connsiteY184" fmla="*/ 1333436 h 1333436"/>
                <a:gd name="connsiteX185" fmla="*/ 546831 w 752994"/>
                <a:gd name="connsiteY185" fmla="*/ 1317126 h 1333436"/>
                <a:gd name="connsiteX186" fmla="*/ 351227 w 752994"/>
                <a:gd name="connsiteY186" fmla="*/ 1194172 h 1333436"/>
                <a:gd name="connsiteX187" fmla="*/ 361011 w 752994"/>
                <a:gd name="connsiteY187" fmla="*/ 1182755 h 1333436"/>
                <a:gd name="connsiteX188" fmla="*/ 368981 w 752994"/>
                <a:gd name="connsiteY188" fmla="*/ 1182130 h 1333436"/>
                <a:gd name="connsiteX189" fmla="*/ 369571 w 752994"/>
                <a:gd name="connsiteY189" fmla="*/ 1181558 h 1333436"/>
                <a:gd name="connsiteX190" fmla="*/ 362372 w 752994"/>
                <a:gd name="connsiteY190" fmla="*/ 1182120 h 1333436"/>
                <a:gd name="connsiteX191" fmla="*/ 229464 w 752994"/>
                <a:gd name="connsiteY191" fmla="*/ 1161721 h 1333436"/>
                <a:gd name="connsiteX192" fmla="*/ 227427 w 752994"/>
                <a:gd name="connsiteY192" fmla="*/ 1157269 h 1333436"/>
                <a:gd name="connsiteX193" fmla="*/ 224967 w 752994"/>
                <a:gd name="connsiteY193" fmla="*/ 1152575 h 1333436"/>
                <a:gd name="connsiteX194" fmla="*/ 225582 w 752994"/>
                <a:gd name="connsiteY194" fmla="*/ 1144808 h 1333436"/>
                <a:gd name="connsiteX195" fmla="*/ 227215 w 752994"/>
                <a:gd name="connsiteY195" fmla="*/ 1135834 h 1333436"/>
                <a:gd name="connsiteX196" fmla="*/ 227215 w 752994"/>
                <a:gd name="connsiteY196" fmla="*/ 1134212 h 1333436"/>
                <a:gd name="connsiteX197" fmla="*/ 225179 w 752994"/>
                <a:gd name="connsiteY197" fmla="*/ 1114020 h 1333436"/>
                <a:gd name="connsiteX198" fmla="*/ 217839 w 752994"/>
                <a:gd name="connsiteY198" fmla="*/ 1100352 h 1333436"/>
                <a:gd name="connsiteX199" fmla="*/ 199661 w 752994"/>
                <a:gd name="connsiteY199" fmla="*/ 1076502 h 1333436"/>
                <a:gd name="connsiteX200" fmla="*/ 196395 w 752994"/>
                <a:gd name="connsiteY200" fmla="*/ 1071807 h 1333436"/>
                <a:gd name="connsiteX201" fmla="*/ 190880 w 752994"/>
                <a:gd name="connsiteY201" fmla="*/ 1067527 h 1333436"/>
                <a:gd name="connsiteX202" fmla="*/ 187210 w 752994"/>
                <a:gd name="connsiteY202" fmla="*/ 1068735 h 1333436"/>
                <a:gd name="connsiteX203" fmla="*/ 180062 w 752994"/>
                <a:gd name="connsiteY203" fmla="*/ 1066699 h 1333436"/>
                <a:gd name="connsiteX204" fmla="*/ 180466 w 752994"/>
                <a:gd name="connsiteY204" fmla="*/ 1053031 h 1333436"/>
                <a:gd name="connsiteX205" fmla="*/ 180062 w 752994"/>
                <a:gd name="connsiteY205" fmla="*/ 1045299 h 1333436"/>
                <a:gd name="connsiteX206" fmla="*/ 174144 w 752994"/>
                <a:gd name="connsiteY206" fmla="*/ 1044057 h 1333436"/>
                <a:gd name="connsiteX207" fmla="*/ 158426 w 752994"/>
                <a:gd name="connsiteY207" fmla="*/ 1042641 h 1333436"/>
                <a:gd name="connsiteX208" fmla="*/ 149857 w 752994"/>
                <a:gd name="connsiteY208" fmla="*/ 1035497 h 1333436"/>
                <a:gd name="connsiteX209" fmla="*/ 142497 w 752994"/>
                <a:gd name="connsiteY209" fmla="*/ 1028766 h 1333436"/>
                <a:gd name="connsiteX210" fmla="*/ 140864 w 752994"/>
                <a:gd name="connsiteY210" fmla="*/ 1020620 h 1333436"/>
                <a:gd name="connsiteX211" fmla="*/ 138212 w 752994"/>
                <a:gd name="connsiteY211" fmla="*/ 1013061 h 1333436"/>
                <a:gd name="connsiteX212" fmla="*/ 131064 w 752994"/>
                <a:gd name="connsiteY212" fmla="*/ 1007159 h 1333436"/>
                <a:gd name="connsiteX213" fmla="*/ 121264 w 752994"/>
                <a:gd name="connsiteY213" fmla="*/ 1005330 h 1333436"/>
                <a:gd name="connsiteX214" fmla="*/ 112483 w 752994"/>
                <a:gd name="connsiteY214" fmla="*/ 1001671 h 1333436"/>
                <a:gd name="connsiteX215" fmla="*/ 105950 w 752994"/>
                <a:gd name="connsiteY215" fmla="*/ 995734 h 1333436"/>
                <a:gd name="connsiteX216" fmla="*/ 97380 w 752994"/>
                <a:gd name="connsiteY216" fmla="*/ 994526 h 1333436"/>
                <a:gd name="connsiteX217" fmla="*/ 87984 w 752994"/>
                <a:gd name="connsiteY217" fmla="*/ 991040 h 1333436"/>
                <a:gd name="connsiteX218" fmla="*/ 80029 w 752994"/>
                <a:gd name="connsiteY218" fmla="*/ 985138 h 1333436"/>
                <a:gd name="connsiteX219" fmla="*/ 77166 w 752994"/>
                <a:gd name="connsiteY219" fmla="*/ 976164 h 1333436"/>
                <a:gd name="connsiteX220" fmla="*/ 79203 w 752994"/>
                <a:gd name="connsiteY220" fmla="*/ 970676 h 1333436"/>
                <a:gd name="connsiteX221" fmla="*/ 82470 w 752994"/>
                <a:gd name="connsiteY221" fmla="*/ 963117 h 1333436"/>
                <a:gd name="connsiteX222" fmla="*/ 84314 w 752994"/>
                <a:gd name="connsiteY222" fmla="*/ 954557 h 1333436"/>
                <a:gd name="connsiteX223" fmla="*/ 86351 w 752994"/>
                <a:gd name="connsiteY223" fmla="*/ 948033 h 1333436"/>
                <a:gd name="connsiteX224" fmla="*/ 86159 w 752994"/>
                <a:gd name="connsiteY224" fmla="*/ 942925 h 1333436"/>
                <a:gd name="connsiteX225" fmla="*/ 83085 w 752994"/>
                <a:gd name="connsiteY225" fmla="*/ 939853 h 1333436"/>
                <a:gd name="connsiteX226" fmla="*/ 77570 w 752994"/>
                <a:gd name="connsiteY226" fmla="*/ 937437 h 1333436"/>
                <a:gd name="connsiteX227" fmla="*/ 76763 w 752994"/>
                <a:gd name="connsiteY227" fmla="*/ 931915 h 1333436"/>
                <a:gd name="connsiteX228" fmla="*/ 78800 w 752994"/>
                <a:gd name="connsiteY228" fmla="*/ 927013 h 1333436"/>
                <a:gd name="connsiteX229" fmla="*/ 79626 w 752994"/>
                <a:gd name="connsiteY229" fmla="*/ 922526 h 1333436"/>
                <a:gd name="connsiteX230" fmla="*/ 77781 w 752994"/>
                <a:gd name="connsiteY230" fmla="*/ 919903 h 1333436"/>
                <a:gd name="connsiteX231" fmla="*/ 74303 w 752994"/>
                <a:gd name="connsiteY231" fmla="*/ 917418 h 1333436"/>
                <a:gd name="connsiteX232" fmla="*/ 71863 w 752994"/>
                <a:gd name="connsiteY232" fmla="*/ 915174 h 1333436"/>
                <a:gd name="connsiteX233" fmla="*/ 71652 w 752994"/>
                <a:gd name="connsiteY233" fmla="*/ 910894 h 1333436"/>
                <a:gd name="connsiteX234" fmla="*/ 70633 w 752994"/>
                <a:gd name="connsiteY234" fmla="*/ 906614 h 1333436"/>
                <a:gd name="connsiteX235" fmla="*/ 68385 w 752994"/>
                <a:gd name="connsiteY235" fmla="*/ 902749 h 1333436"/>
                <a:gd name="connsiteX236" fmla="*/ 61045 w 752994"/>
                <a:gd name="connsiteY236" fmla="*/ 889494 h 1333436"/>
                <a:gd name="connsiteX237" fmla="*/ 57971 w 752994"/>
                <a:gd name="connsiteY237" fmla="*/ 875619 h 1333436"/>
                <a:gd name="connsiteX238" fmla="*/ 52264 w 752994"/>
                <a:gd name="connsiteY238" fmla="*/ 862572 h 1333436"/>
                <a:gd name="connsiteX239" fmla="*/ 44309 w 752994"/>
                <a:gd name="connsiteY239" fmla="*/ 850561 h 1333436"/>
                <a:gd name="connsiteX240" fmla="*/ 45520 w 752994"/>
                <a:gd name="connsiteY240" fmla="*/ 827090 h 1333436"/>
                <a:gd name="connsiteX241" fmla="*/ 53071 w 752994"/>
                <a:gd name="connsiteY241" fmla="*/ 822396 h 1333436"/>
                <a:gd name="connsiteX242" fmla="*/ 57375 w 752994"/>
                <a:gd name="connsiteY242" fmla="*/ 816493 h 1333436"/>
                <a:gd name="connsiteX243" fmla="*/ 55319 w 752994"/>
                <a:gd name="connsiteY243" fmla="*/ 801617 h 1333436"/>
                <a:gd name="connsiteX244" fmla="*/ 48383 w 752994"/>
                <a:gd name="connsiteY244" fmla="*/ 802204 h 1333436"/>
                <a:gd name="connsiteX245" fmla="*/ 40428 w 752994"/>
                <a:gd name="connsiteY245" fmla="*/ 797924 h 1333436"/>
                <a:gd name="connsiteX246" fmla="*/ 37565 w 752994"/>
                <a:gd name="connsiteY246" fmla="*/ 790606 h 1333436"/>
                <a:gd name="connsiteX247" fmla="*/ 37565 w 752994"/>
                <a:gd name="connsiteY247" fmla="*/ 790399 h 1333436"/>
                <a:gd name="connsiteX248" fmla="*/ 35931 w 752994"/>
                <a:gd name="connsiteY248" fmla="*/ 785912 h 1333436"/>
                <a:gd name="connsiteX249" fmla="*/ 34510 w 752994"/>
                <a:gd name="connsiteY249" fmla="*/ 780597 h 1333436"/>
                <a:gd name="connsiteX250" fmla="*/ 36335 w 752994"/>
                <a:gd name="connsiteY250" fmla="*/ 774280 h 1333436"/>
                <a:gd name="connsiteX251" fmla="*/ 38180 w 752994"/>
                <a:gd name="connsiteY251" fmla="*/ 766721 h 1333436"/>
                <a:gd name="connsiteX252" fmla="*/ 37161 w 752994"/>
                <a:gd name="connsiteY252" fmla="*/ 760405 h 1333436"/>
                <a:gd name="connsiteX253" fmla="*/ 35720 w 752994"/>
                <a:gd name="connsiteY253" fmla="*/ 754710 h 1333436"/>
                <a:gd name="connsiteX254" fmla="*/ 36546 w 752994"/>
                <a:gd name="connsiteY254" fmla="*/ 748773 h 1333436"/>
                <a:gd name="connsiteX255" fmla="*/ 38372 w 752994"/>
                <a:gd name="connsiteY255" fmla="*/ 744528 h 1333436"/>
                <a:gd name="connsiteX256" fmla="*/ 41638 w 752994"/>
                <a:gd name="connsiteY256" fmla="*/ 744321 h 1333436"/>
                <a:gd name="connsiteX257" fmla="*/ 44713 w 752994"/>
                <a:gd name="connsiteY257" fmla="*/ 746357 h 1333436"/>
                <a:gd name="connsiteX258" fmla="*/ 47364 w 752994"/>
                <a:gd name="connsiteY258" fmla="*/ 753260 h 1333436"/>
                <a:gd name="connsiteX259" fmla="*/ 55742 w 752994"/>
                <a:gd name="connsiteY259" fmla="*/ 764305 h 1333436"/>
                <a:gd name="connsiteX260" fmla="*/ 56338 w 752994"/>
                <a:gd name="connsiteY260" fmla="*/ 761233 h 1333436"/>
                <a:gd name="connsiteX261" fmla="*/ 56145 w 752994"/>
                <a:gd name="connsiteY261" fmla="*/ 757368 h 1333436"/>
                <a:gd name="connsiteX262" fmla="*/ 54916 w 752994"/>
                <a:gd name="connsiteY262" fmla="*/ 748601 h 1333436"/>
                <a:gd name="connsiteX263" fmla="*/ 52879 w 752994"/>
                <a:gd name="connsiteY263" fmla="*/ 747358 h 1333436"/>
                <a:gd name="connsiteX264" fmla="*/ 51649 w 752994"/>
                <a:gd name="connsiteY264" fmla="*/ 745322 h 1333436"/>
                <a:gd name="connsiteX265" fmla="*/ 51649 w 752994"/>
                <a:gd name="connsiteY265" fmla="*/ 739212 h 1333436"/>
                <a:gd name="connsiteX266" fmla="*/ 50227 w 752994"/>
                <a:gd name="connsiteY266" fmla="*/ 734725 h 1333436"/>
                <a:gd name="connsiteX267" fmla="*/ 48786 w 752994"/>
                <a:gd name="connsiteY267" fmla="*/ 731446 h 1333436"/>
                <a:gd name="connsiteX268" fmla="*/ 54512 w 752994"/>
                <a:gd name="connsiteY268" fmla="*/ 726372 h 1333436"/>
                <a:gd name="connsiteX269" fmla="*/ 59815 w 752994"/>
                <a:gd name="connsiteY269" fmla="*/ 725130 h 1333436"/>
                <a:gd name="connsiteX270" fmla="*/ 58182 w 752994"/>
                <a:gd name="connsiteY270" fmla="*/ 722886 h 1333436"/>
                <a:gd name="connsiteX271" fmla="*/ 51861 w 752994"/>
                <a:gd name="connsiteY271" fmla="*/ 717985 h 1333436"/>
                <a:gd name="connsiteX272" fmla="*/ 46749 w 752994"/>
                <a:gd name="connsiteY272" fmla="*/ 729617 h 1333436"/>
                <a:gd name="connsiteX273" fmla="*/ 40831 w 752994"/>
                <a:gd name="connsiteY273" fmla="*/ 739212 h 1333436"/>
                <a:gd name="connsiteX274" fmla="*/ 39601 w 752994"/>
                <a:gd name="connsiteY274" fmla="*/ 738798 h 1333436"/>
                <a:gd name="connsiteX275" fmla="*/ 39409 w 752994"/>
                <a:gd name="connsiteY275" fmla="*/ 738591 h 1333436"/>
                <a:gd name="connsiteX276" fmla="*/ 37161 w 752994"/>
                <a:gd name="connsiteY276" fmla="*/ 734725 h 1333436"/>
                <a:gd name="connsiteX277" fmla="*/ 32665 w 752994"/>
                <a:gd name="connsiteY277" fmla="*/ 727788 h 1333436"/>
                <a:gd name="connsiteX278" fmla="*/ 26747 w 752994"/>
                <a:gd name="connsiteY278" fmla="*/ 719435 h 1333436"/>
                <a:gd name="connsiteX279" fmla="*/ 23884 w 752994"/>
                <a:gd name="connsiteY279" fmla="*/ 717812 h 1333436"/>
                <a:gd name="connsiteX280" fmla="*/ 24710 w 752994"/>
                <a:gd name="connsiteY280" fmla="*/ 709632 h 1333436"/>
                <a:gd name="connsiteX281" fmla="*/ 27554 w 752994"/>
                <a:gd name="connsiteY281" fmla="*/ 701694 h 1333436"/>
                <a:gd name="connsiteX282" fmla="*/ 24902 w 752994"/>
                <a:gd name="connsiteY282" fmla="*/ 696171 h 1333436"/>
                <a:gd name="connsiteX283" fmla="*/ 24095 w 752994"/>
                <a:gd name="connsiteY283" fmla="*/ 687818 h 1333436"/>
                <a:gd name="connsiteX284" fmla="*/ 22462 w 752994"/>
                <a:gd name="connsiteY284" fmla="*/ 682330 h 1333436"/>
                <a:gd name="connsiteX285" fmla="*/ 17159 w 752994"/>
                <a:gd name="connsiteY285" fmla="*/ 677636 h 1333436"/>
                <a:gd name="connsiteX286" fmla="*/ 14296 w 752994"/>
                <a:gd name="connsiteY286" fmla="*/ 671492 h 1333436"/>
                <a:gd name="connsiteX287" fmla="*/ 12451 w 752994"/>
                <a:gd name="connsiteY287" fmla="*/ 665797 h 1333436"/>
                <a:gd name="connsiteX288" fmla="*/ 5111 w 752994"/>
                <a:gd name="connsiteY288" fmla="*/ 654994 h 1333436"/>
                <a:gd name="connsiteX289" fmla="*/ 2248 w 752994"/>
                <a:gd name="connsiteY289" fmla="*/ 645605 h 1333436"/>
                <a:gd name="connsiteX290" fmla="*/ 4496 w 752994"/>
                <a:gd name="connsiteY290" fmla="*/ 640497 h 1333436"/>
                <a:gd name="connsiteX291" fmla="*/ 6744 w 752994"/>
                <a:gd name="connsiteY291" fmla="*/ 632765 h 1333436"/>
                <a:gd name="connsiteX292" fmla="*/ 6744 w 752994"/>
                <a:gd name="connsiteY292" fmla="*/ 628485 h 1333436"/>
                <a:gd name="connsiteX293" fmla="*/ 6533 w 752994"/>
                <a:gd name="connsiteY293" fmla="*/ 620305 h 1333436"/>
                <a:gd name="connsiteX294" fmla="*/ 7359 w 752994"/>
                <a:gd name="connsiteY294" fmla="*/ 611745 h 1333436"/>
                <a:gd name="connsiteX295" fmla="*/ 11836 w 752994"/>
                <a:gd name="connsiteY295" fmla="*/ 602978 h 1333436"/>
                <a:gd name="connsiteX296" fmla="*/ 15103 w 752994"/>
                <a:gd name="connsiteY296" fmla="*/ 591760 h 1333436"/>
                <a:gd name="connsiteX297" fmla="*/ 14488 w 752994"/>
                <a:gd name="connsiteY297" fmla="*/ 584029 h 1333436"/>
                <a:gd name="connsiteX298" fmla="*/ 13873 w 752994"/>
                <a:gd name="connsiteY298" fmla="*/ 578299 h 1333436"/>
                <a:gd name="connsiteX299" fmla="*/ 10626 w 752994"/>
                <a:gd name="connsiteY299" fmla="*/ 568531 h 1333436"/>
                <a:gd name="connsiteX300" fmla="*/ 3670 w 752994"/>
                <a:gd name="connsiteY300" fmla="*/ 558107 h 1333436"/>
                <a:gd name="connsiteX301" fmla="*/ 0 w 752994"/>
                <a:gd name="connsiteY301" fmla="*/ 551377 h 1333436"/>
                <a:gd name="connsiteX302" fmla="*/ 0 w 752994"/>
                <a:gd name="connsiteY302" fmla="*/ 550997 h 1333436"/>
                <a:gd name="connsiteX303" fmla="*/ 4900 w 752994"/>
                <a:gd name="connsiteY303" fmla="*/ 531220 h 1333436"/>
                <a:gd name="connsiteX304" fmla="*/ 13873 w 752994"/>
                <a:gd name="connsiteY304" fmla="*/ 520589 h 1333436"/>
                <a:gd name="connsiteX305" fmla="*/ 18369 w 752994"/>
                <a:gd name="connsiteY305" fmla="*/ 516516 h 1333436"/>
                <a:gd name="connsiteX306" fmla="*/ 18773 w 752994"/>
                <a:gd name="connsiteY306" fmla="*/ 514272 h 1333436"/>
                <a:gd name="connsiteX307" fmla="*/ 23077 w 752994"/>
                <a:gd name="connsiteY307" fmla="*/ 506127 h 1333436"/>
                <a:gd name="connsiteX308" fmla="*/ 23884 w 752994"/>
                <a:gd name="connsiteY308" fmla="*/ 502261 h 1333436"/>
                <a:gd name="connsiteX309" fmla="*/ 23692 w 752994"/>
                <a:gd name="connsiteY309" fmla="*/ 496738 h 1333436"/>
                <a:gd name="connsiteX310" fmla="*/ 30013 w 752994"/>
                <a:gd name="connsiteY310" fmla="*/ 486556 h 1333436"/>
                <a:gd name="connsiteX311" fmla="*/ 36546 w 752994"/>
                <a:gd name="connsiteY311" fmla="*/ 470230 h 1333436"/>
                <a:gd name="connsiteX312" fmla="*/ 36546 w 752994"/>
                <a:gd name="connsiteY312" fmla="*/ 462671 h 1333436"/>
                <a:gd name="connsiteX313" fmla="*/ 36335 w 752994"/>
                <a:gd name="connsiteY313" fmla="*/ 461670 h 1333436"/>
                <a:gd name="connsiteX314" fmla="*/ 35931 w 752994"/>
                <a:gd name="connsiteY314" fmla="*/ 453110 h 1333436"/>
                <a:gd name="connsiteX315" fmla="*/ 38583 w 752994"/>
                <a:gd name="connsiteY315" fmla="*/ 442514 h 1333436"/>
                <a:gd name="connsiteX316" fmla="*/ 41043 w 752994"/>
                <a:gd name="connsiteY316" fmla="*/ 436991 h 1333436"/>
                <a:gd name="connsiteX317" fmla="*/ 41650 w 752994"/>
                <a:gd name="connsiteY317" fmla="*/ 437186 h 1333436"/>
                <a:gd name="connsiteX318" fmla="*/ 41239 w 752994"/>
                <a:gd name="connsiteY318" fmla="*/ 436549 h 1333436"/>
                <a:gd name="connsiteX319" fmla="*/ 37778 w 752994"/>
                <a:gd name="connsiteY319" fmla="*/ 433894 h 1333436"/>
                <a:gd name="connsiteX320" fmla="*/ 37169 w 752994"/>
                <a:gd name="connsiteY320" fmla="*/ 432261 h 1333436"/>
                <a:gd name="connsiteX321" fmla="*/ 37365 w 752994"/>
                <a:gd name="connsiteY321" fmla="*/ 429198 h 1333436"/>
                <a:gd name="connsiteX322" fmla="*/ 36756 w 752994"/>
                <a:gd name="connsiteY322" fmla="*/ 422272 h 1333436"/>
                <a:gd name="connsiteX323" fmla="*/ 36952 w 752994"/>
                <a:gd name="connsiteY323" fmla="*/ 418800 h 1333436"/>
                <a:gd name="connsiteX324" fmla="*/ 36756 w 752994"/>
                <a:gd name="connsiteY324" fmla="*/ 412487 h 1333436"/>
                <a:gd name="connsiteX325" fmla="*/ 40433 w 752994"/>
                <a:gd name="connsiteY325" fmla="*/ 406174 h 1333436"/>
                <a:gd name="connsiteX326" fmla="*/ 44720 w 752994"/>
                <a:gd name="connsiteY326" fmla="*/ 399435 h 1333436"/>
                <a:gd name="connsiteX327" fmla="*/ 44110 w 752994"/>
                <a:gd name="connsiteY327" fmla="*/ 389651 h 1333436"/>
                <a:gd name="connsiteX328" fmla="*/ 43894 w 752994"/>
                <a:gd name="connsiteY328" fmla="*/ 378437 h 1333436"/>
                <a:gd name="connsiteX329" fmla="*/ 47158 w 752994"/>
                <a:gd name="connsiteY329" fmla="*/ 371102 h 1333436"/>
                <a:gd name="connsiteX330" fmla="*/ 55731 w 752994"/>
                <a:gd name="connsiteY330" fmla="*/ 360909 h 1333436"/>
                <a:gd name="connsiteX331" fmla="*/ 57580 w 752994"/>
                <a:gd name="connsiteY331" fmla="*/ 355804 h 1333436"/>
                <a:gd name="connsiteX332" fmla="*/ 62673 w 752994"/>
                <a:gd name="connsiteY332" fmla="*/ 349695 h 1333436"/>
                <a:gd name="connsiteX333" fmla="*/ 65937 w 752994"/>
                <a:gd name="connsiteY333" fmla="*/ 348470 h 1333436"/>
                <a:gd name="connsiteX334" fmla="*/ 68395 w 752994"/>
                <a:gd name="connsiteY334" fmla="*/ 348674 h 1333436"/>
                <a:gd name="connsiteX335" fmla="*/ 70224 w 752994"/>
                <a:gd name="connsiteY335" fmla="*/ 347449 h 1333436"/>
                <a:gd name="connsiteX336" fmla="*/ 67785 w 752994"/>
                <a:gd name="connsiteY336" fmla="*/ 345203 h 1333436"/>
                <a:gd name="connsiteX337" fmla="*/ 65524 w 752994"/>
                <a:gd name="connsiteY337" fmla="*/ 343178 h 1333436"/>
                <a:gd name="connsiteX338" fmla="*/ 73095 w 752994"/>
                <a:gd name="connsiteY338" fmla="*/ 333376 h 1333436"/>
                <a:gd name="connsiteX339" fmla="*/ 73291 w 752994"/>
                <a:gd name="connsiteY339" fmla="*/ 333376 h 1333436"/>
                <a:gd name="connsiteX340" fmla="*/ 77991 w 752994"/>
                <a:gd name="connsiteY340" fmla="*/ 325838 h 1333436"/>
                <a:gd name="connsiteX341" fmla="*/ 82671 w 752994"/>
                <a:gd name="connsiteY341" fmla="*/ 313619 h 1333436"/>
                <a:gd name="connsiteX342" fmla="*/ 87980 w 752994"/>
                <a:gd name="connsiteY342" fmla="*/ 303018 h 1333436"/>
                <a:gd name="connsiteX343" fmla="*/ 92267 w 752994"/>
                <a:gd name="connsiteY343" fmla="*/ 291191 h 1333436"/>
                <a:gd name="connsiteX344" fmla="*/ 96553 w 752994"/>
                <a:gd name="connsiteY344" fmla="*/ 281202 h 1333436"/>
                <a:gd name="connsiteX345" fmla="*/ 99621 w 752994"/>
                <a:gd name="connsiteY345" fmla="*/ 274481 h 1333436"/>
                <a:gd name="connsiteX346" fmla="*/ 103082 w 752994"/>
                <a:gd name="connsiteY346" fmla="*/ 262450 h 1333436"/>
                <a:gd name="connsiteX347" fmla="*/ 107172 w 752994"/>
                <a:gd name="connsiteY347" fmla="*/ 254299 h 1333436"/>
                <a:gd name="connsiteX348" fmla="*/ 112481 w 752994"/>
                <a:gd name="connsiteY348" fmla="*/ 243697 h 1333436"/>
                <a:gd name="connsiteX349" fmla="*/ 117181 w 752994"/>
                <a:gd name="connsiteY349" fmla="*/ 232279 h 1333436"/>
                <a:gd name="connsiteX350" fmla="*/ 125951 w 752994"/>
                <a:gd name="connsiteY350" fmla="*/ 217389 h 1333436"/>
                <a:gd name="connsiteX351" fmla="*/ 136156 w 752994"/>
                <a:gd name="connsiteY351" fmla="*/ 202925 h 1333436"/>
                <a:gd name="connsiteX352" fmla="*/ 138811 w 752994"/>
                <a:gd name="connsiteY352" fmla="*/ 183339 h 1333436"/>
                <a:gd name="connsiteX353" fmla="*/ 148801 w 752994"/>
                <a:gd name="connsiteY353" fmla="*/ 167445 h 1333436"/>
                <a:gd name="connsiteX354" fmla="*/ 159616 w 752994"/>
                <a:gd name="connsiteY354" fmla="*/ 170712 h 1333436"/>
                <a:gd name="connsiteX355" fmla="*/ 173105 w 752994"/>
                <a:gd name="connsiteY355" fmla="*/ 175188 h 1333436"/>
                <a:gd name="connsiteX356" fmla="*/ 175347 w 752994"/>
                <a:gd name="connsiteY356" fmla="*/ 175188 h 1333436"/>
                <a:gd name="connsiteX357" fmla="*/ 175347 w 752994"/>
                <a:gd name="connsiteY357" fmla="*/ 173758 h 1333436"/>
                <a:gd name="connsiteX358" fmla="*/ 184975 w 752994"/>
                <a:gd name="connsiteY358" fmla="*/ 187393 h 1333436"/>
                <a:gd name="connsiteX359" fmla="*/ 184762 w 752994"/>
                <a:gd name="connsiteY359" fmla="*/ 184637 h 1333436"/>
                <a:gd name="connsiteX360" fmla="*/ 174971 w 752994"/>
                <a:gd name="connsiteY360" fmla="*/ 170774 h 1333436"/>
                <a:gd name="connsiteX361" fmla="*/ 174971 w 752994"/>
                <a:gd name="connsiteY361" fmla="*/ 169550 h 1333436"/>
                <a:gd name="connsiteX362" fmla="*/ 158851 w 752994"/>
                <a:gd name="connsiteY362" fmla="*/ 156924 h 1333436"/>
                <a:gd name="connsiteX363" fmla="*/ 147025 w 752994"/>
                <a:gd name="connsiteY363" fmla="*/ 145709 h 1333436"/>
                <a:gd name="connsiteX364" fmla="*/ 154364 w 752994"/>
                <a:gd name="connsiteY364" fmla="*/ 136335 h 1333436"/>
                <a:gd name="connsiteX365" fmla="*/ 161511 w 752994"/>
                <a:gd name="connsiteY365" fmla="*/ 131042 h 1333436"/>
                <a:gd name="connsiteX366" fmla="*/ 160902 w 752994"/>
                <a:gd name="connsiteY366" fmla="*/ 128384 h 1333436"/>
                <a:gd name="connsiteX367" fmla="*/ 160277 w 752994"/>
                <a:gd name="connsiteY367" fmla="*/ 127778 h 1333436"/>
                <a:gd name="connsiteX368" fmla="*/ 154973 w 752994"/>
                <a:gd name="connsiteY368" fmla="*/ 122077 h 1333436"/>
                <a:gd name="connsiteX369" fmla="*/ 160277 w 752994"/>
                <a:gd name="connsiteY369" fmla="*/ 115140 h 1333436"/>
                <a:gd name="connsiteX370" fmla="*/ 165181 w 752994"/>
                <a:gd name="connsiteY370" fmla="*/ 108215 h 1333436"/>
                <a:gd name="connsiteX371" fmla="*/ 161303 w 752994"/>
                <a:gd name="connsiteY371" fmla="*/ 104146 h 1333436"/>
                <a:gd name="connsiteX372" fmla="*/ 157842 w 752994"/>
                <a:gd name="connsiteY372" fmla="*/ 104542 h 1333436"/>
                <a:gd name="connsiteX373" fmla="*/ 157024 w 752994"/>
                <a:gd name="connsiteY373" fmla="*/ 102304 h 1333436"/>
                <a:gd name="connsiteX374" fmla="*/ 160694 w 752994"/>
                <a:gd name="connsiteY374" fmla="*/ 55437 h 1333436"/>
                <a:gd name="connsiteX375" fmla="*/ 160486 w 752994"/>
                <a:gd name="connsiteY375" fmla="*/ 31991 h 1333436"/>
                <a:gd name="connsiteX376" fmla="*/ 164972 w 752994"/>
                <a:gd name="connsiteY376" fmla="*/ 18141 h 1333436"/>
                <a:gd name="connsiteX377" fmla="*/ 171911 w 752994"/>
                <a:gd name="connsiteY377" fmla="*/ 11204 h 1333436"/>
                <a:gd name="connsiteX378" fmla="*/ 187406 w 752994"/>
                <a:gd name="connsiteY378" fmla="*/ 21801 h 1333436"/>
                <a:gd name="connsiteX379" fmla="*/ 210866 w 752994"/>
                <a:gd name="connsiteY379" fmla="*/ 37086 h 1333436"/>
                <a:gd name="connsiteX380" fmla="*/ 219230 w 752994"/>
                <a:gd name="connsiteY380" fmla="*/ 41166 h 1333436"/>
                <a:gd name="connsiteX381" fmla="*/ 226778 w 752994"/>
                <a:gd name="connsiteY381" fmla="*/ 47486 h 1333436"/>
                <a:gd name="connsiteX382" fmla="*/ 236152 w 752994"/>
                <a:gd name="connsiteY382" fmla="*/ 52370 h 1333436"/>
                <a:gd name="connsiteX383" fmla="*/ 239629 w 752994"/>
                <a:gd name="connsiteY383" fmla="*/ 58491 h 1333436"/>
                <a:gd name="connsiteX384" fmla="*/ 239629 w 752994"/>
                <a:gd name="connsiteY384" fmla="*/ 63376 h 1333436"/>
                <a:gd name="connsiteX385" fmla="*/ 236568 w 752994"/>
                <a:gd name="connsiteY385" fmla="*/ 67457 h 1333436"/>
                <a:gd name="connsiteX386" fmla="*/ 231264 w 752994"/>
                <a:gd name="connsiteY386" fmla="*/ 69905 h 1333436"/>
                <a:gd name="connsiteX387" fmla="*/ 216778 w 752994"/>
                <a:gd name="connsiteY387" fmla="*/ 82741 h 1333436"/>
                <a:gd name="connsiteX388" fmla="*/ 214134 w 752994"/>
                <a:gd name="connsiteY388" fmla="*/ 93536 h 1333436"/>
                <a:gd name="connsiteX389" fmla="*/ 214535 w 752994"/>
                <a:gd name="connsiteY389" fmla="*/ 96801 h 1333436"/>
                <a:gd name="connsiteX390" fmla="*/ 216378 w 752994"/>
                <a:gd name="connsiteY390" fmla="*/ 96801 h 1333436"/>
                <a:gd name="connsiteX391" fmla="*/ 230046 w 752994"/>
                <a:gd name="connsiteY391" fmla="*/ 85387 h 1333436"/>
                <a:gd name="connsiteX392" fmla="*/ 243298 w 752994"/>
                <a:gd name="connsiteY392" fmla="*/ 75198 h 1333436"/>
                <a:gd name="connsiteX393" fmla="*/ 246760 w 752994"/>
                <a:gd name="connsiteY393" fmla="*/ 77646 h 1333436"/>
                <a:gd name="connsiteX394" fmla="*/ 255541 w 752994"/>
                <a:gd name="connsiteY394" fmla="*/ 63376 h 1333436"/>
                <a:gd name="connsiteX395" fmla="*/ 259611 w 752994"/>
                <a:gd name="connsiteY395" fmla="*/ 43405 h 1333436"/>
                <a:gd name="connsiteX396" fmla="*/ 256967 w 752994"/>
                <a:gd name="connsiteY396" fmla="*/ 38520 h 1333436"/>
                <a:gd name="connsiteX397" fmla="*/ 253906 w 752994"/>
                <a:gd name="connsiteY397" fmla="*/ 34242 h 1333436"/>
                <a:gd name="connsiteX398" fmla="*/ 256967 w 752994"/>
                <a:gd name="connsiteY398" fmla="*/ 30161 h 1333436"/>
                <a:gd name="connsiteX399" fmla="*/ 262063 w 752994"/>
                <a:gd name="connsiteY399" fmla="*/ 27712 h 1333436"/>
                <a:gd name="connsiteX400" fmla="*/ 264915 w 752994"/>
                <a:gd name="connsiteY400" fmla="*/ 23026 h 1333436"/>
                <a:gd name="connsiteX401" fmla="*/ 267976 w 752994"/>
                <a:gd name="connsiteY401" fmla="*/ 22618 h 1333436"/>
                <a:gd name="connsiteX402" fmla="*/ 270427 w 752994"/>
                <a:gd name="connsiteY402" fmla="*/ 20787 h 1333436"/>
                <a:gd name="connsiteX403" fmla="*/ 263088 w 752994"/>
                <a:gd name="connsiteY403" fmla="*/ 13652 h 1333436"/>
                <a:gd name="connsiteX404" fmla="*/ 255541 w 752994"/>
                <a:gd name="connsiteY404" fmla="*/ 3055 h 1333436"/>
                <a:gd name="connsiteX405" fmla="*/ 256358 w 752994"/>
                <a:gd name="connsiteY405" fmla="*/ 1224 h 1333436"/>
                <a:gd name="connsiteX406" fmla="*/ 257159 w 752994"/>
                <a:gd name="connsiteY406"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7539 w 752994"/>
                <a:gd name="connsiteY19" fmla="*/ 290781 h 1333436"/>
                <a:gd name="connsiteX20" fmla="*/ 453944 w 752994"/>
                <a:gd name="connsiteY20" fmla="*/ 286495 h 1333436"/>
                <a:gd name="connsiteX21" fmla="*/ 457539 w 752994"/>
                <a:gd name="connsiteY21" fmla="*/ 290781 h 1333436"/>
                <a:gd name="connsiteX22" fmla="*/ 184180 w 752994"/>
                <a:gd name="connsiteY22" fmla="*/ 213866 h 1333436"/>
                <a:gd name="connsiteX23" fmla="*/ 184117 w 752994"/>
                <a:gd name="connsiteY23" fmla="*/ 214326 h 1333436"/>
                <a:gd name="connsiteX24" fmla="*/ 185553 w 752994"/>
                <a:gd name="connsiteY24" fmla="*/ 222494 h 1333436"/>
                <a:gd name="connsiteX25" fmla="*/ 188600 w 752994"/>
                <a:gd name="connsiteY25" fmla="*/ 226970 h 1333436"/>
                <a:gd name="connsiteX26" fmla="*/ 195542 w 752994"/>
                <a:gd name="connsiteY26" fmla="*/ 231871 h 1333436"/>
                <a:gd name="connsiteX27" fmla="*/ 203093 w 752994"/>
                <a:gd name="connsiteY27" fmla="*/ 233896 h 1333436"/>
                <a:gd name="connsiteX28" fmla="*/ 217192 w 752994"/>
                <a:gd name="connsiteY28" fmla="*/ 232075 h 1333436"/>
                <a:gd name="connsiteX29" fmla="*/ 225136 w 752994"/>
                <a:gd name="connsiteY29" fmla="*/ 229829 h 1333436"/>
                <a:gd name="connsiteX30" fmla="*/ 235558 w 752994"/>
                <a:gd name="connsiteY30" fmla="*/ 232483 h 1333436"/>
                <a:gd name="connsiteX31" fmla="*/ 242499 w 752994"/>
                <a:gd name="connsiteY31" fmla="*/ 237163 h 1333436"/>
                <a:gd name="connsiteX32" fmla="*/ 248418 w 752994"/>
                <a:gd name="connsiteY32" fmla="*/ 244701 h 1333436"/>
                <a:gd name="connsiteX33" fmla="*/ 255359 w 752994"/>
                <a:gd name="connsiteY33" fmla="*/ 244906 h 1333436"/>
                <a:gd name="connsiteX34" fmla="*/ 258210 w 752994"/>
                <a:gd name="connsiteY34" fmla="*/ 244906 h 1333436"/>
                <a:gd name="connsiteX35" fmla="*/ 263303 w 752994"/>
                <a:gd name="connsiteY35" fmla="*/ 246131 h 1333436"/>
                <a:gd name="connsiteX36" fmla="*/ 269438 w 752994"/>
                <a:gd name="connsiteY36" fmla="*/ 243697 h 1333436"/>
                <a:gd name="connsiteX37" fmla="*/ 274944 w 752994"/>
                <a:gd name="connsiteY37" fmla="*/ 241451 h 1333436"/>
                <a:gd name="connsiteX38" fmla="*/ 281276 w 752994"/>
                <a:gd name="connsiteY38" fmla="*/ 245722 h 1333436"/>
                <a:gd name="connsiteX39" fmla="*/ 289240 w 752994"/>
                <a:gd name="connsiteY39" fmla="*/ 250419 h 1333436"/>
                <a:gd name="connsiteX40" fmla="*/ 297597 w 752994"/>
                <a:gd name="connsiteY40" fmla="*/ 248581 h 1333436"/>
                <a:gd name="connsiteX41" fmla="*/ 310261 w 752994"/>
                <a:gd name="connsiteY41" fmla="*/ 246539 h 1333436"/>
                <a:gd name="connsiteX42" fmla="*/ 324340 w 752994"/>
                <a:gd name="connsiteY42" fmla="*/ 244497 h 1333436"/>
                <a:gd name="connsiteX43" fmla="*/ 333523 w 752994"/>
                <a:gd name="connsiteY43" fmla="*/ 243289 h 1333436"/>
                <a:gd name="connsiteX44" fmla="*/ 341271 w 752994"/>
                <a:gd name="connsiteY44" fmla="*/ 246539 h 1333436"/>
                <a:gd name="connsiteX45" fmla="*/ 348428 w 752994"/>
                <a:gd name="connsiteY45" fmla="*/ 250011 h 1333436"/>
                <a:gd name="connsiteX46" fmla="*/ 351279 w 752994"/>
                <a:gd name="connsiteY46" fmla="*/ 247356 h 1333436"/>
                <a:gd name="connsiteX47" fmla="*/ 355566 w 752994"/>
                <a:gd name="connsiteY47" fmla="*/ 244293 h 1333436"/>
                <a:gd name="connsiteX48" fmla="*/ 365772 w 752994"/>
                <a:gd name="connsiteY48" fmla="*/ 248785 h 1333436"/>
                <a:gd name="connsiteX49" fmla="*/ 381483 w 752994"/>
                <a:gd name="connsiteY49" fmla="*/ 254912 h 1333436"/>
                <a:gd name="connsiteX50" fmla="*/ 381896 w 752994"/>
                <a:gd name="connsiteY50" fmla="*/ 255320 h 1333436"/>
                <a:gd name="connsiteX51" fmla="*/ 395366 w 752994"/>
                <a:gd name="connsiteY51" fmla="*/ 257753 h 1333436"/>
                <a:gd name="connsiteX52" fmla="*/ 414145 w 752994"/>
                <a:gd name="connsiteY52" fmla="*/ 262450 h 1333436"/>
                <a:gd name="connsiteX53" fmla="*/ 431292 w 752994"/>
                <a:gd name="connsiteY53" fmla="*/ 268151 h 1333436"/>
                <a:gd name="connsiteX54" fmla="*/ 445196 w 752994"/>
                <a:gd name="connsiteY54" fmla="*/ 269890 h 1333436"/>
                <a:gd name="connsiteX55" fmla="*/ 444145 w 752994"/>
                <a:gd name="connsiteY55" fmla="*/ 267441 h 1333436"/>
                <a:gd name="connsiteX56" fmla="*/ 444145 w 752994"/>
                <a:gd name="connsiteY56" fmla="*/ 267034 h 1333436"/>
                <a:gd name="connsiteX57" fmla="*/ 444155 w 752994"/>
                <a:gd name="connsiteY57" fmla="*/ 266811 h 1333436"/>
                <a:gd name="connsiteX58" fmla="*/ 430733 w 752994"/>
                <a:gd name="connsiteY58" fmla="*/ 265139 h 1333436"/>
                <a:gd name="connsiteX59" fmla="*/ 413603 w 752994"/>
                <a:gd name="connsiteY59" fmla="*/ 259426 h 1333436"/>
                <a:gd name="connsiteX60" fmla="*/ 394839 w 752994"/>
                <a:gd name="connsiteY60" fmla="*/ 254739 h 1333436"/>
                <a:gd name="connsiteX61" fmla="*/ 381379 w 752994"/>
                <a:gd name="connsiteY61" fmla="*/ 252303 h 1333436"/>
                <a:gd name="connsiteX62" fmla="*/ 380962 w 752994"/>
                <a:gd name="connsiteY62" fmla="*/ 251895 h 1333436"/>
                <a:gd name="connsiteX63" fmla="*/ 365258 w 752994"/>
                <a:gd name="connsiteY63" fmla="*/ 245774 h 1333436"/>
                <a:gd name="connsiteX64" fmla="*/ 355067 w 752994"/>
                <a:gd name="connsiteY64" fmla="*/ 241285 h 1333436"/>
                <a:gd name="connsiteX65" fmla="*/ 350789 w 752994"/>
                <a:gd name="connsiteY65" fmla="*/ 244352 h 1333436"/>
                <a:gd name="connsiteX66" fmla="*/ 347920 w 752994"/>
                <a:gd name="connsiteY66" fmla="*/ 246998 h 1333436"/>
                <a:gd name="connsiteX67" fmla="*/ 340789 w 752994"/>
                <a:gd name="connsiteY67" fmla="*/ 243536 h 1333436"/>
                <a:gd name="connsiteX68" fmla="*/ 333034 w 752994"/>
                <a:gd name="connsiteY68" fmla="*/ 240271 h 1333436"/>
                <a:gd name="connsiteX69" fmla="*/ 323868 w 752994"/>
                <a:gd name="connsiteY69" fmla="*/ 241495 h 1333436"/>
                <a:gd name="connsiteX70" fmla="*/ 309783 w 752994"/>
                <a:gd name="connsiteY70" fmla="*/ 243536 h 1333436"/>
                <a:gd name="connsiteX71" fmla="*/ 297140 w 752994"/>
                <a:gd name="connsiteY71" fmla="*/ 245576 h 1333436"/>
                <a:gd name="connsiteX72" fmla="*/ 288775 w 752994"/>
                <a:gd name="connsiteY72" fmla="*/ 247406 h 1333436"/>
                <a:gd name="connsiteX73" fmla="*/ 280827 w 752994"/>
                <a:gd name="connsiteY73" fmla="*/ 242720 h 1333436"/>
                <a:gd name="connsiteX74" fmla="*/ 274497 w 752994"/>
                <a:gd name="connsiteY74" fmla="*/ 238441 h 1333436"/>
                <a:gd name="connsiteX75" fmla="*/ 269001 w 752994"/>
                <a:gd name="connsiteY75" fmla="*/ 240679 h 1333436"/>
                <a:gd name="connsiteX76" fmla="*/ 262880 w 752994"/>
                <a:gd name="connsiteY76" fmla="*/ 243128 h 1333436"/>
                <a:gd name="connsiteX77" fmla="*/ 260028 w 752994"/>
                <a:gd name="connsiteY77" fmla="*/ 242720 h 1333436"/>
                <a:gd name="connsiteX78" fmla="*/ 257784 w 752994"/>
                <a:gd name="connsiteY78" fmla="*/ 241904 h 1333436"/>
                <a:gd name="connsiteX79" fmla="*/ 247994 w 752994"/>
                <a:gd name="connsiteY79" fmla="*/ 241693 h 1333436"/>
                <a:gd name="connsiteX80" fmla="*/ 242081 w 752994"/>
                <a:gd name="connsiteY80" fmla="*/ 234162 h 1333436"/>
                <a:gd name="connsiteX81" fmla="*/ 235142 w 752994"/>
                <a:gd name="connsiteY81" fmla="*/ 229476 h 1333436"/>
                <a:gd name="connsiteX82" fmla="*/ 224742 w 752994"/>
                <a:gd name="connsiteY82" fmla="*/ 226817 h 1333436"/>
                <a:gd name="connsiteX83" fmla="*/ 216778 w 752994"/>
                <a:gd name="connsiteY83" fmla="*/ 229068 h 1333436"/>
                <a:gd name="connsiteX84" fmla="*/ 202709 w 752994"/>
                <a:gd name="connsiteY84" fmla="*/ 230898 h 1333436"/>
                <a:gd name="connsiteX85" fmla="*/ 195162 w 752994"/>
                <a:gd name="connsiteY85" fmla="*/ 228857 h 1333436"/>
                <a:gd name="connsiteX86" fmla="*/ 188223 w 752994"/>
                <a:gd name="connsiteY86" fmla="*/ 223973 h 1333436"/>
                <a:gd name="connsiteX87" fmla="*/ 185163 w 752994"/>
                <a:gd name="connsiteY87" fmla="*/ 219484 h 1333436"/>
                <a:gd name="connsiteX88" fmla="*/ 184180 w 752994"/>
                <a:gd name="connsiteY88" fmla="*/ 213866 h 1333436"/>
                <a:gd name="connsiteX89" fmla="*/ 257159 w 752994"/>
                <a:gd name="connsiteY89" fmla="*/ 0 h 1333436"/>
                <a:gd name="connsiteX90" fmla="*/ 493147 w 752994"/>
                <a:gd name="connsiteY90" fmla="*/ 73157 h 1333436"/>
                <a:gd name="connsiteX91" fmla="*/ 492970 w 752994"/>
                <a:gd name="connsiteY91" fmla="*/ 73792 h 1333436"/>
                <a:gd name="connsiteX92" fmla="*/ 525816 w 752994"/>
                <a:gd name="connsiteY92" fmla="*/ 82491 h 1333436"/>
                <a:gd name="connsiteX93" fmla="*/ 520098 w 752994"/>
                <a:gd name="connsiteY93" fmla="*/ 111245 h 1333436"/>
                <a:gd name="connsiteX94" fmla="*/ 512552 w 752994"/>
                <a:gd name="connsiteY94" fmla="*/ 143854 h 1333436"/>
                <a:gd name="connsiteX95" fmla="*/ 517849 w 752994"/>
                <a:gd name="connsiteY95" fmla="*/ 157740 h 1333436"/>
                <a:gd name="connsiteX96" fmla="*/ 523160 w 752994"/>
                <a:gd name="connsiteY96" fmla="*/ 172009 h 1333436"/>
                <a:gd name="connsiteX97" fmla="*/ 521535 w 752994"/>
                <a:gd name="connsiteY97" fmla="*/ 178928 h 1333436"/>
                <a:gd name="connsiteX98" fmla="*/ 520098 w 752994"/>
                <a:gd name="connsiteY98" fmla="*/ 186279 h 1333436"/>
                <a:gd name="connsiteX99" fmla="*/ 526019 w 752994"/>
                <a:gd name="connsiteY99" fmla="*/ 193629 h 1333436"/>
                <a:gd name="connsiteX100" fmla="*/ 537251 w 752994"/>
                <a:gd name="connsiteY100" fmla="*/ 206270 h 1333436"/>
                <a:gd name="connsiteX101" fmla="*/ 542765 w 752994"/>
                <a:gd name="connsiteY101" fmla="*/ 217475 h 1333436"/>
                <a:gd name="connsiteX102" fmla="*/ 546857 w 752994"/>
                <a:gd name="connsiteY102" fmla="*/ 230930 h 1333436"/>
                <a:gd name="connsiteX103" fmla="*/ 549499 w 752994"/>
                <a:gd name="connsiteY103" fmla="*/ 235622 h 1333436"/>
                <a:gd name="connsiteX104" fmla="*/ 553388 w 752994"/>
                <a:gd name="connsiteY104" fmla="*/ 240722 h 1333436"/>
                <a:gd name="connsiteX105" fmla="*/ 557465 w 752994"/>
                <a:gd name="connsiteY105" fmla="*/ 246037 h 1333436"/>
                <a:gd name="connsiteX106" fmla="*/ 561761 w 752994"/>
                <a:gd name="connsiteY106" fmla="*/ 248671 h 1333436"/>
                <a:gd name="connsiteX107" fmla="*/ 567478 w 752994"/>
                <a:gd name="connsiteY107" fmla="*/ 247665 h 1333436"/>
                <a:gd name="connsiteX108" fmla="*/ 569931 w 752994"/>
                <a:gd name="connsiteY108" fmla="*/ 249293 h 1333436"/>
                <a:gd name="connsiteX109" fmla="*/ 570540 w 752994"/>
                <a:gd name="connsiteY109" fmla="*/ 251951 h 1333436"/>
                <a:gd name="connsiteX110" fmla="*/ 561964 w 752994"/>
                <a:gd name="connsiteY110" fmla="*/ 267656 h 1333436"/>
                <a:gd name="connsiteX111" fmla="*/ 553591 w 752994"/>
                <a:gd name="connsiteY111" fmla="*/ 289659 h 1333436"/>
                <a:gd name="connsiteX112" fmla="*/ 554810 w 752994"/>
                <a:gd name="connsiteY112" fmla="*/ 292939 h 1333436"/>
                <a:gd name="connsiteX113" fmla="*/ 556246 w 752994"/>
                <a:gd name="connsiteY113" fmla="*/ 299260 h 1333436"/>
                <a:gd name="connsiteX114" fmla="*/ 552778 w 752994"/>
                <a:gd name="connsiteY114" fmla="*/ 301917 h 1333436"/>
                <a:gd name="connsiteX115" fmla="*/ 549295 w 752994"/>
                <a:gd name="connsiteY115" fmla="*/ 306993 h 1333436"/>
                <a:gd name="connsiteX116" fmla="*/ 547061 w 752994"/>
                <a:gd name="connsiteY116" fmla="*/ 313122 h 1333436"/>
                <a:gd name="connsiteX117" fmla="*/ 544811 w 752994"/>
                <a:gd name="connsiteY117" fmla="*/ 316593 h 1333436"/>
                <a:gd name="connsiteX118" fmla="*/ 549919 w 752994"/>
                <a:gd name="connsiteY118" fmla="*/ 322698 h 1333436"/>
                <a:gd name="connsiteX119" fmla="*/ 553184 w 752994"/>
                <a:gd name="connsiteY119" fmla="*/ 325955 h 1333436"/>
                <a:gd name="connsiteX120" fmla="*/ 555840 w 752994"/>
                <a:gd name="connsiteY120" fmla="*/ 328205 h 1333436"/>
                <a:gd name="connsiteX121" fmla="*/ 574212 w 752994"/>
                <a:gd name="connsiteY121" fmla="*/ 318820 h 1333436"/>
                <a:gd name="connsiteX122" fmla="*/ 579523 w 752994"/>
                <a:gd name="connsiteY122" fmla="*/ 326577 h 1333436"/>
                <a:gd name="connsiteX123" fmla="*/ 580539 w 752994"/>
                <a:gd name="connsiteY123" fmla="*/ 334933 h 1333436"/>
                <a:gd name="connsiteX124" fmla="*/ 579726 w 752994"/>
                <a:gd name="connsiteY124" fmla="*/ 343097 h 1333436"/>
                <a:gd name="connsiteX125" fmla="*/ 581366 w 752994"/>
                <a:gd name="connsiteY125" fmla="*/ 350231 h 1333436"/>
                <a:gd name="connsiteX126" fmla="*/ 586256 w 752994"/>
                <a:gd name="connsiteY126" fmla="*/ 355930 h 1333436"/>
                <a:gd name="connsiteX127" fmla="*/ 589536 w 752994"/>
                <a:gd name="connsiteY127" fmla="*/ 362059 h 1333436"/>
                <a:gd name="connsiteX128" fmla="*/ 588099 w 752994"/>
                <a:gd name="connsiteY128" fmla="*/ 369600 h 1333436"/>
                <a:gd name="connsiteX129" fmla="*/ 586459 w 752994"/>
                <a:gd name="connsiteY129" fmla="*/ 377357 h 1333436"/>
                <a:gd name="connsiteX130" fmla="*/ 588709 w 752994"/>
                <a:gd name="connsiteY130" fmla="*/ 381835 h 1333436"/>
                <a:gd name="connsiteX131" fmla="*/ 595036 w 752994"/>
                <a:gd name="connsiteY131" fmla="*/ 382457 h 1333436"/>
                <a:gd name="connsiteX132" fmla="*/ 599331 w 752994"/>
                <a:gd name="connsiteY132" fmla="*/ 385306 h 1333436"/>
                <a:gd name="connsiteX133" fmla="*/ 601987 w 752994"/>
                <a:gd name="connsiteY133" fmla="*/ 391004 h 1333436"/>
                <a:gd name="connsiteX134" fmla="*/ 602799 w 752994"/>
                <a:gd name="connsiteY134" fmla="*/ 404076 h 1333436"/>
                <a:gd name="connsiteX135" fmla="*/ 606892 w 752994"/>
                <a:gd name="connsiteY135" fmla="*/ 415688 h 1333436"/>
                <a:gd name="connsiteX136" fmla="*/ 610563 w 752994"/>
                <a:gd name="connsiteY136" fmla="*/ 412217 h 1333436"/>
                <a:gd name="connsiteX137" fmla="*/ 617920 w 752994"/>
                <a:gd name="connsiteY137" fmla="*/ 408769 h 1333436"/>
                <a:gd name="connsiteX138" fmla="*/ 624654 w 752994"/>
                <a:gd name="connsiteY138" fmla="*/ 411211 h 1333436"/>
                <a:gd name="connsiteX139" fmla="*/ 634652 w 752994"/>
                <a:gd name="connsiteY139" fmla="*/ 410182 h 1333436"/>
                <a:gd name="connsiteX140" fmla="*/ 640573 w 752994"/>
                <a:gd name="connsiteY140" fmla="*/ 407739 h 1333436"/>
                <a:gd name="connsiteX141" fmla="*/ 646711 w 752994"/>
                <a:gd name="connsiteY141" fmla="*/ 410589 h 1333436"/>
                <a:gd name="connsiteX142" fmla="*/ 650383 w 752994"/>
                <a:gd name="connsiteY142" fmla="*/ 410589 h 1333436"/>
                <a:gd name="connsiteX143" fmla="*/ 654257 w 752994"/>
                <a:gd name="connsiteY143" fmla="*/ 411618 h 1333436"/>
                <a:gd name="connsiteX144" fmla="*/ 656913 w 752994"/>
                <a:gd name="connsiteY144" fmla="*/ 413653 h 1333436"/>
                <a:gd name="connsiteX145" fmla="*/ 660802 w 752994"/>
                <a:gd name="connsiteY145" fmla="*/ 415090 h 1333436"/>
                <a:gd name="connsiteX146" fmla="*/ 669581 w 752994"/>
                <a:gd name="connsiteY146" fmla="*/ 415904 h 1333436"/>
                <a:gd name="connsiteX147" fmla="*/ 672237 w 752994"/>
                <a:gd name="connsiteY147" fmla="*/ 415688 h 1333436"/>
                <a:gd name="connsiteX148" fmla="*/ 675705 w 752994"/>
                <a:gd name="connsiteY148" fmla="*/ 409367 h 1333436"/>
                <a:gd name="connsiteX149" fmla="*/ 679986 w 752994"/>
                <a:gd name="connsiteY149" fmla="*/ 403238 h 1333436"/>
                <a:gd name="connsiteX150" fmla="*/ 693264 w 752994"/>
                <a:gd name="connsiteY150" fmla="*/ 419567 h 1333436"/>
                <a:gd name="connsiteX151" fmla="*/ 688563 w 752994"/>
                <a:gd name="connsiteY151" fmla="*/ 448321 h 1333436"/>
                <a:gd name="connsiteX152" fmla="*/ 663949 w 752994"/>
                <a:gd name="connsiteY152" fmla="*/ 590165 h 1333436"/>
                <a:gd name="connsiteX153" fmla="*/ 666304 w 752994"/>
                <a:gd name="connsiteY153" fmla="*/ 590504 h 1333436"/>
                <a:gd name="connsiteX154" fmla="*/ 655288 w 752994"/>
                <a:gd name="connsiteY154" fmla="*/ 656178 h 1333436"/>
                <a:gd name="connsiteX155" fmla="*/ 681808 w 752994"/>
                <a:gd name="connsiteY155" fmla="*/ 662301 h 1333436"/>
                <a:gd name="connsiteX156" fmla="*/ 752994 w 752994"/>
                <a:gd name="connsiteY156" fmla="*/ 675560 h 1333436"/>
                <a:gd name="connsiteX157" fmla="*/ 714651 w 752994"/>
                <a:gd name="connsiteY157" fmla="*/ 946985 h 1333436"/>
                <a:gd name="connsiteX158" fmla="*/ 693426 w 752994"/>
                <a:gd name="connsiteY158" fmla="*/ 944128 h 1333436"/>
                <a:gd name="connsiteX159" fmla="*/ 457412 w 752994"/>
                <a:gd name="connsiteY159" fmla="*/ 897429 h 1333436"/>
                <a:gd name="connsiteX160" fmla="*/ 453578 w 752994"/>
                <a:gd name="connsiteY160" fmla="*/ 897215 h 1333436"/>
                <a:gd name="connsiteX161" fmla="*/ 442753 w 752994"/>
                <a:gd name="connsiteY161" fmla="*/ 950656 h 1333436"/>
                <a:gd name="connsiteX162" fmla="*/ 442550 w 752994"/>
                <a:gd name="connsiteY162" fmla="*/ 951272 h 1333436"/>
                <a:gd name="connsiteX163" fmla="*/ 439290 w 752994"/>
                <a:gd name="connsiteY163" fmla="*/ 958807 h 1333436"/>
                <a:gd name="connsiteX164" fmla="*/ 432957 w 752994"/>
                <a:gd name="connsiteY164" fmla="*/ 963487 h 1333436"/>
                <a:gd name="connsiteX165" fmla="*/ 429291 w 752994"/>
                <a:gd name="connsiteY165" fmla="*/ 959817 h 1333436"/>
                <a:gd name="connsiteX166" fmla="*/ 425610 w 752994"/>
                <a:gd name="connsiteY166" fmla="*/ 955532 h 1333436"/>
                <a:gd name="connsiteX167" fmla="*/ 419292 w 752994"/>
                <a:gd name="connsiteY167" fmla="*/ 953291 h 1333436"/>
                <a:gd name="connsiteX168" fmla="*/ 414597 w 752994"/>
                <a:gd name="connsiteY168" fmla="*/ 951272 h 1333436"/>
                <a:gd name="connsiteX169" fmla="*/ 407047 w 752994"/>
                <a:gd name="connsiteY169" fmla="*/ 956148 h 1333436"/>
                <a:gd name="connsiteX170" fmla="*/ 403787 w 752994"/>
                <a:gd name="connsiteY170" fmla="*/ 963290 h 1333436"/>
                <a:gd name="connsiteX171" fmla="*/ 404052 w 752994"/>
                <a:gd name="connsiteY171" fmla="*/ 963688 h 1333436"/>
                <a:gd name="connsiteX172" fmla="*/ 406917 w 752994"/>
                <a:gd name="connsiteY172" fmla="*/ 957427 h 1333436"/>
                <a:gd name="connsiteX173" fmla="*/ 414454 w 752994"/>
                <a:gd name="connsiteY173" fmla="*/ 952534 h 1333436"/>
                <a:gd name="connsiteX174" fmla="*/ 419146 w 752994"/>
                <a:gd name="connsiteY174" fmla="*/ 954567 h 1333436"/>
                <a:gd name="connsiteX175" fmla="*/ 425469 w 752994"/>
                <a:gd name="connsiteY175" fmla="*/ 956803 h 1333436"/>
                <a:gd name="connsiteX176" fmla="*/ 429146 w 752994"/>
                <a:gd name="connsiteY176" fmla="*/ 961092 h 1333436"/>
                <a:gd name="connsiteX177" fmla="*/ 432807 w 752994"/>
                <a:gd name="connsiteY177" fmla="*/ 964757 h 1333436"/>
                <a:gd name="connsiteX178" fmla="*/ 439129 w 752994"/>
                <a:gd name="connsiteY178" fmla="*/ 960065 h 1333436"/>
                <a:gd name="connsiteX179" fmla="*/ 442407 w 752994"/>
                <a:gd name="connsiteY179" fmla="*/ 952534 h 1333436"/>
                <a:gd name="connsiteX180" fmla="*/ 442607 w 752994"/>
                <a:gd name="connsiteY180" fmla="*/ 951909 h 1333436"/>
                <a:gd name="connsiteX181" fmla="*/ 689408 w 752994"/>
                <a:gd name="connsiteY181" fmla="*/ 945184 h 1333436"/>
                <a:gd name="connsiteX182" fmla="*/ 710622 w 752994"/>
                <a:gd name="connsiteY182" fmla="*/ 948043 h 1333436"/>
                <a:gd name="connsiteX183" fmla="*/ 654533 w 752994"/>
                <a:gd name="connsiteY183" fmla="*/ 1333436 h 1333436"/>
                <a:gd name="connsiteX184" fmla="*/ 546831 w 752994"/>
                <a:gd name="connsiteY184" fmla="*/ 1317126 h 1333436"/>
                <a:gd name="connsiteX185" fmla="*/ 351227 w 752994"/>
                <a:gd name="connsiteY185" fmla="*/ 1194172 h 1333436"/>
                <a:gd name="connsiteX186" fmla="*/ 361011 w 752994"/>
                <a:gd name="connsiteY186" fmla="*/ 1182755 h 1333436"/>
                <a:gd name="connsiteX187" fmla="*/ 368981 w 752994"/>
                <a:gd name="connsiteY187" fmla="*/ 1182130 h 1333436"/>
                <a:gd name="connsiteX188" fmla="*/ 369571 w 752994"/>
                <a:gd name="connsiteY188" fmla="*/ 1181558 h 1333436"/>
                <a:gd name="connsiteX189" fmla="*/ 362372 w 752994"/>
                <a:gd name="connsiteY189" fmla="*/ 1182120 h 1333436"/>
                <a:gd name="connsiteX190" fmla="*/ 229464 w 752994"/>
                <a:gd name="connsiteY190" fmla="*/ 1161721 h 1333436"/>
                <a:gd name="connsiteX191" fmla="*/ 227427 w 752994"/>
                <a:gd name="connsiteY191" fmla="*/ 1157269 h 1333436"/>
                <a:gd name="connsiteX192" fmla="*/ 224967 w 752994"/>
                <a:gd name="connsiteY192" fmla="*/ 1152575 h 1333436"/>
                <a:gd name="connsiteX193" fmla="*/ 225582 w 752994"/>
                <a:gd name="connsiteY193" fmla="*/ 1144808 h 1333436"/>
                <a:gd name="connsiteX194" fmla="*/ 227215 w 752994"/>
                <a:gd name="connsiteY194" fmla="*/ 1135834 h 1333436"/>
                <a:gd name="connsiteX195" fmla="*/ 227215 w 752994"/>
                <a:gd name="connsiteY195" fmla="*/ 1134212 h 1333436"/>
                <a:gd name="connsiteX196" fmla="*/ 225179 w 752994"/>
                <a:gd name="connsiteY196" fmla="*/ 1114020 h 1333436"/>
                <a:gd name="connsiteX197" fmla="*/ 217839 w 752994"/>
                <a:gd name="connsiteY197" fmla="*/ 1100352 h 1333436"/>
                <a:gd name="connsiteX198" fmla="*/ 199661 w 752994"/>
                <a:gd name="connsiteY198" fmla="*/ 1076502 h 1333436"/>
                <a:gd name="connsiteX199" fmla="*/ 196395 w 752994"/>
                <a:gd name="connsiteY199" fmla="*/ 1071807 h 1333436"/>
                <a:gd name="connsiteX200" fmla="*/ 190880 w 752994"/>
                <a:gd name="connsiteY200" fmla="*/ 1067527 h 1333436"/>
                <a:gd name="connsiteX201" fmla="*/ 187210 w 752994"/>
                <a:gd name="connsiteY201" fmla="*/ 1068735 h 1333436"/>
                <a:gd name="connsiteX202" fmla="*/ 180062 w 752994"/>
                <a:gd name="connsiteY202" fmla="*/ 1066699 h 1333436"/>
                <a:gd name="connsiteX203" fmla="*/ 180466 w 752994"/>
                <a:gd name="connsiteY203" fmla="*/ 1053031 h 1333436"/>
                <a:gd name="connsiteX204" fmla="*/ 180062 w 752994"/>
                <a:gd name="connsiteY204" fmla="*/ 1045299 h 1333436"/>
                <a:gd name="connsiteX205" fmla="*/ 174144 w 752994"/>
                <a:gd name="connsiteY205" fmla="*/ 1044057 h 1333436"/>
                <a:gd name="connsiteX206" fmla="*/ 158426 w 752994"/>
                <a:gd name="connsiteY206" fmla="*/ 1042641 h 1333436"/>
                <a:gd name="connsiteX207" fmla="*/ 149857 w 752994"/>
                <a:gd name="connsiteY207" fmla="*/ 1035497 h 1333436"/>
                <a:gd name="connsiteX208" fmla="*/ 142497 w 752994"/>
                <a:gd name="connsiteY208" fmla="*/ 1028766 h 1333436"/>
                <a:gd name="connsiteX209" fmla="*/ 140864 w 752994"/>
                <a:gd name="connsiteY209" fmla="*/ 1020620 h 1333436"/>
                <a:gd name="connsiteX210" fmla="*/ 138212 w 752994"/>
                <a:gd name="connsiteY210" fmla="*/ 1013061 h 1333436"/>
                <a:gd name="connsiteX211" fmla="*/ 131064 w 752994"/>
                <a:gd name="connsiteY211" fmla="*/ 1007159 h 1333436"/>
                <a:gd name="connsiteX212" fmla="*/ 121264 w 752994"/>
                <a:gd name="connsiteY212" fmla="*/ 1005330 h 1333436"/>
                <a:gd name="connsiteX213" fmla="*/ 112483 w 752994"/>
                <a:gd name="connsiteY213" fmla="*/ 1001671 h 1333436"/>
                <a:gd name="connsiteX214" fmla="*/ 105950 w 752994"/>
                <a:gd name="connsiteY214" fmla="*/ 995734 h 1333436"/>
                <a:gd name="connsiteX215" fmla="*/ 97380 w 752994"/>
                <a:gd name="connsiteY215" fmla="*/ 994526 h 1333436"/>
                <a:gd name="connsiteX216" fmla="*/ 87984 w 752994"/>
                <a:gd name="connsiteY216" fmla="*/ 991040 h 1333436"/>
                <a:gd name="connsiteX217" fmla="*/ 80029 w 752994"/>
                <a:gd name="connsiteY217" fmla="*/ 985138 h 1333436"/>
                <a:gd name="connsiteX218" fmla="*/ 77166 w 752994"/>
                <a:gd name="connsiteY218" fmla="*/ 976164 h 1333436"/>
                <a:gd name="connsiteX219" fmla="*/ 79203 w 752994"/>
                <a:gd name="connsiteY219" fmla="*/ 970676 h 1333436"/>
                <a:gd name="connsiteX220" fmla="*/ 82470 w 752994"/>
                <a:gd name="connsiteY220" fmla="*/ 963117 h 1333436"/>
                <a:gd name="connsiteX221" fmla="*/ 84314 w 752994"/>
                <a:gd name="connsiteY221" fmla="*/ 954557 h 1333436"/>
                <a:gd name="connsiteX222" fmla="*/ 86351 w 752994"/>
                <a:gd name="connsiteY222" fmla="*/ 948033 h 1333436"/>
                <a:gd name="connsiteX223" fmla="*/ 86159 w 752994"/>
                <a:gd name="connsiteY223" fmla="*/ 942925 h 1333436"/>
                <a:gd name="connsiteX224" fmla="*/ 83085 w 752994"/>
                <a:gd name="connsiteY224" fmla="*/ 939853 h 1333436"/>
                <a:gd name="connsiteX225" fmla="*/ 77570 w 752994"/>
                <a:gd name="connsiteY225" fmla="*/ 937437 h 1333436"/>
                <a:gd name="connsiteX226" fmla="*/ 76763 w 752994"/>
                <a:gd name="connsiteY226" fmla="*/ 931915 h 1333436"/>
                <a:gd name="connsiteX227" fmla="*/ 78800 w 752994"/>
                <a:gd name="connsiteY227" fmla="*/ 927013 h 1333436"/>
                <a:gd name="connsiteX228" fmla="*/ 79626 w 752994"/>
                <a:gd name="connsiteY228" fmla="*/ 922526 h 1333436"/>
                <a:gd name="connsiteX229" fmla="*/ 77781 w 752994"/>
                <a:gd name="connsiteY229" fmla="*/ 919903 h 1333436"/>
                <a:gd name="connsiteX230" fmla="*/ 74303 w 752994"/>
                <a:gd name="connsiteY230" fmla="*/ 917418 h 1333436"/>
                <a:gd name="connsiteX231" fmla="*/ 71863 w 752994"/>
                <a:gd name="connsiteY231" fmla="*/ 915174 h 1333436"/>
                <a:gd name="connsiteX232" fmla="*/ 71652 w 752994"/>
                <a:gd name="connsiteY232" fmla="*/ 910894 h 1333436"/>
                <a:gd name="connsiteX233" fmla="*/ 70633 w 752994"/>
                <a:gd name="connsiteY233" fmla="*/ 906614 h 1333436"/>
                <a:gd name="connsiteX234" fmla="*/ 68385 w 752994"/>
                <a:gd name="connsiteY234" fmla="*/ 902749 h 1333436"/>
                <a:gd name="connsiteX235" fmla="*/ 61045 w 752994"/>
                <a:gd name="connsiteY235" fmla="*/ 889494 h 1333436"/>
                <a:gd name="connsiteX236" fmla="*/ 57971 w 752994"/>
                <a:gd name="connsiteY236" fmla="*/ 875619 h 1333436"/>
                <a:gd name="connsiteX237" fmla="*/ 52264 w 752994"/>
                <a:gd name="connsiteY237" fmla="*/ 862572 h 1333436"/>
                <a:gd name="connsiteX238" fmla="*/ 44309 w 752994"/>
                <a:gd name="connsiteY238" fmla="*/ 850561 h 1333436"/>
                <a:gd name="connsiteX239" fmla="*/ 45520 w 752994"/>
                <a:gd name="connsiteY239" fmla="*/ 827090 h 1333436"/>
                <a:gd name="connsiteX240" fmla="*/ 53071 w 752994"/>
                <a:gd name="connsiteY240" fmla="*/ 822396 h 1333436"/>
                <a:gd name="connsiteX241" fmla="*/ 57375 w 752994"/>
                <a:gd name="connsiteY241" fmla="*/ 816493 h 1333436"/>
                <a:gd name="connsiteX242" fmla="*/ 55319 w 752994"/>
                <a:gd name="connsiteY242" fmla="*/ 801617 h 1333436"/>
                <a:gd name="connsiteX243" fmla="*/ 48383 w 752994"/>
                <a:gd name="connsiteY243" fmla="*/ 802204 h 1333436"/>
                <a:gd name="connsiteX244" fmla="*/ 40428 w 752994"/>
                <a:gd name="connsiteY244" fmla="*/ 797924 h 1333436"/>
                <a:gd name="connsiteX245" fmla="*/ 37565 w 752994"/>
                <a:gd name="connsiteY245" fmla="*/ 790606 h 1333436"/>
                <a:gd name="connsiteX246" fmla="*/ 37565 w 752994"/>
                <a:gd name="connsiteY246" fmla="*/ 790399 h 1333436"/>
                <a:gd name="connsiteX247" fmla="*/ 35931 w 752994"/>
                <a:gd name="connsiteY247" fmla="*/ 785912 h 1333436"/>
                <a:gd name="connsiteX248" fmla="*/ 34510 w 752994"/>
                <a:gd name="connsiteY248" fmla="*/ 780597 h 1333436"/>
                <a:gd name="connsiteX249" fmla="*/ 36335 w 752994"/>
                <a:gd name="connsiteY249" fmla="*/ 774280 h 1333436"/>
                <a:gd name="connsiteX250" fmla="*/ 38180 w 752994"/>
                <a:gd name="connsiteY250" fmla="*/ 766721 h 1333436"/>
                <a:gd name="connsiteX251" fmla="*/ 37161 w 752994"/>
                <a:gd name="connsiteY251" fmla="*/ 760405 h 1333436"/>
                <a:gd name="connsiteX252" fmla="*/ 35720 w 752994"/>
                <a:gd name="connsiteY252" fmla="*/ 754710 h 1333436"/>
                <a:gd name="connsiteX253" fmla="*/ 36546 w 752994"/>
                <a:gd name="connsiteY253" fmla="*/ 748773 h 1333436"/>
                <a:gd name="connsiteX254" fmla="*/ 38372 w 752994"/>
                <a:gd name="connsiteY254" fmla="*/ 744528 h 1333436"/>
                <a:gd name="connsiteX255" fmla="*/ 41638 w 752994"/>
                <a:gd name="connsiteY255" fmla="*/ 744321 h 1333436"/>
                <a:gd name="connsiteX256" fmla="*/ 44713 w 752994"/>
                <a:gd name="connsiteY256" fmla="*/ 746357 h 1333436"/>
                <a:gd name="connsiteX257" fmla="*/ 47364 w 752994"/>
                <a:gd name="connsiteY257" fmla="*/ 753260 h 1333436"/>
                <a:gd name="connsiteX258" fmla="*/ 55742 w 752994"/>
                <a:gd name="connsiteY258" fmla="*/ 764305 h 1333436"/>
                <a:gd name="connsiteX259" fmla="*/ 56338 w 752994"/>
                <a:gd name="connsiteY259" fmla="*/ 761233 h 1333436"/>
                <a:gd name="connsiteX260" fmla="*/ 56145 w 752994"/>
                <a:gd name="connsiteY260" fmla="*/ 757368 h 1333436"/>
                <a:gd name="connsiteX261" fmla="*/ 54916 w 752994"/>
                <a:gd name="connsiteY261" fmla="*/ 748601 h 1333436"/>
                <a:gd name="connsiteX262" fmla="*/ 52879 w 752994"/>
                <a:gd name="connsiteY262" fmla="*/ 747358 h 1333436"/>
                <a:gd name="connsiteX263" fmla="*/ 51649 w 752994"/>
                <a:gd name="connsiteY263" fmla="*/ 745322 h 1333436"/>
                <a:gd name="connsiteX264" fmla="*/ 51649 w 752994"/>
                <a:gd name="connsiteY264" fmla="*/ 739212 h 1333436"/>
                <a:gd name="connsiteX265" fmla="*/ 50227 w 752994"/>
                <a:gd name="connsiteY265" fmla="*/ 734725 h 1333436"/>
                <a:gd name="connsiteX266" fmla="*/ 48786 w 752994"/>
                <a:gd name="connsiteY266" fmla="*/ 731446 h 1333436"/>
                <a:gd name="connsiteX267" fmla="*/ 54512 w 752994"/>
                <a:gd name="connsiteY267" fmla="*/ 726372 h 1333436"/>
                <a:gd name="connsiteX268" fmla="*/ 59815 w 752994"/>
                <a:gd name="connsiteY268" fmla="*/ 725130 h 1333436"/>
                <a:gd name="connsiteX269" fmla="*/ 58182 w 752994"/>
                <a:gd name="connsiteY269" fmla="*/ 722886 h 1333436"/>
                <a:gd name="connsiteX270" fmla="*/ 51861 w 752994"/>
                <a:gd name="connsiteY270" fmla="*/ 717985 h 1333436"/>
                <a:gd name="connsiteX271" fmla="*/ 46749 w 752994"/>
                <a:gd name="connsiteY271" fmla="*/ 729617 h 1333436"/>
                <a:gd name="connsiteX272" fmla="*/ 40831 w 752994"/>
                <a:gd name="connsiteY272" fmla="*/ 739212 h 1333436"/>
                <a:gd name="connsiteX273" fmla="*/ 39601 w 752994"/>
                <a:gd name="connsiteY273" fmla="*/ 738798 h 1333436"/>
                <a:gd name="connsiteX274" fmla="*/ 39409 w 752994"/>
                <a:gd name="connsiteY274" fmla="*/ 738591 h 1333436"/>
                <a:gd name="connsiteX275" fmla="*/ 37161 w 752994"/>
                <a:gd name="connsiteY275" fmla="*/ 734725 h 1333436"/>
                <a:gd name="connsiteX276" fmla="*/ 32665 w 752994"/>
                <a:gd name="connsiteY276" fmla="*/ 727788 h 1333436"/>
                <a:gd name="connsiteX277" fmla="*/ 26747 w 752994"/>
                <a:gd name="connsiteY277" fmla="*/ 719435 h 1333436"/>
                <a:gd name="connsiteX278" fmla="*/ 23884 w 752994"/>
                <a:gd name="connsiteY278" fmla="*/ 717812 h 1333436"/>
                <a:gd name="connsiteX279" fmla="*/ 24710 w 752994"/>
                <a:gd name="connsiteY279" fmla="*/ 709632 h 1333436"/>
                <a:gd name="connsiteX280" fmla="*/ 27554 w 752994"/>
                <a:gd name="connsiteY280" fmla="*/ 701694 h 1333436"/>
                <a:gd name="connsiteX281" fmla="*/ 24902 w 752994"/>
                <a:gd name="connsiteY281" fmla="*/ 696171 h 1333436"/>
                <a:gd name="connsiteX282" fmla="*/ 24095 w 752994"/>
                <a:gd name="connsiteY282" fmla="*/ 687818 h 1333436"/>
                <a:gd name="connsiteX283" fmla="*/ 22462 w 752994"/>
                <a:gd name="connsiteY283" fmla="*/ 682330 h 1333436"/>
                <a:gd name="connsiteX284" fmla="*/ 17159 w 752994"/>
                <a:gd name="connsiteY284" fmla="*/ 677636 h 1333436"/>
                <a:gd name="connsiteX285" fmla="*/ 14296 w 752994"/>
                <a:gd name="connsiteY285" fmla="*/ 671492 h 1333436"/>
                <a:gd name="connsiteX286" fmla="*/ 12451 w 752994"/>
                <a:gd name="connsiteY286" fmla="*/ 665797 h 1333436"/>
                <a:gd name="connsiteX287" fmla="*/ 5111 w 752994"/>
                <a:gd name="connsiteY287" fmla="*/ 654994 h 1333436"/>
                <a:gd name="connsiteX288" fmla="*/ 2248 w 752994"/>
                <a:gd name="connsiteY288" fmla="*/ 645605 h 1333436"/>
                <a:gd name="connsiteX289" fmla="*/ 4496 w 752994"/>
                <a:gd name="connsiteY289" fmla="*/ 640497 h 1333436"/>
                <a:gd name="connsiteX290" fmla="*/ 6744 w 752994"/>
                <a:gd name="connsiteY290" fmla="*/ 632765 h 1333436"/>
                <a:gd name="connsiteX291" fmla="*/ 6744 w 752994"/>
                <a:gd name="connsiteY291" fmla="*/ 628485 h 1333436"/>
                <a:gd name="connsiteX292" fmla="*/ 6533 w 752994"/>
                <a:gd name="connsiteY292" fmla="*/ 620305 h 1333436"/>
                <a:gd name="connsiteX293" fmla="*/ 7359 w 752994"/>
                <a:gd name="connsiteY293" fmla="*/ 611745 h 1333436"/>
                <a:gd name="connsiteX294" fmla="*/ 11836 w 752994"/>
                <a:gd name="connsiteY294" fmla="*/ 602978 h 1333436"/>
                <a:gd name="connsiteX295" fmla="*/ 15103 w 752994"/>
                <a:gd name="connsiteY295" fmla="*/ 591760 h 1333436"/>
                <a:gd name="connsiteX296" fmla="*/ 14488 w 752994"/>
                <a:gd name="connsiteY296" fmla="*/ 584029 h 1333436"/>
                <a:gd name="connsiteX297" fmla="*/ 13873 w 752994"/>
                <a:gd name="connsiteY297" fmla="*/ 578299 h 1333436"/>
                <a:gd name="connsiteX298" fmla="*/ 10626 w 752994"/>
                <a:gd name="connsiteY298" fmla="*/ 568531 h 1333436"/>
                <a:gd name="connsiteX299" fmla="*/ 3670 w 752994"/>
                <a:gd name="connsiteY299" fmla="*/ 558107 h 1333436"/>
                <a:gd name="connsiteX300" fmla="*/ 0 w 752994"/>
                <a:gd name="connsiteY300" fmla="*/ 551377 h 1333436"/>
                <a:gd name="connsiteX301" fmla="*/ 0 w 752994"/>
                <a:gd name="connsiteY301" fmla="*/ 550997 h 1333436"/>
                <a:gd name="connsiteX302" fmla="*/ 4900 w 752994"/>
                <a:gd name="connsiteY302" fmla="*/ 531220 h 1333436"/>
                <a:gd name="connsiteX303" fmla="*/ 13873 w 752994"/>
                <a:gd name="connsiteY303" fmla="*/ 520589 h 1333436"/>
                <a:gd name="connsiteX304" fmla="*/ 18369 w 752994"/>
                <a:gd name="connsiteY304" fmla="*/ 516516 h 1333436"/>
                <a:gd name="connsiteX305" fmla="*/ 18773 w 752994"/>
                <a:gd name="connsiteY305" fmla="*/ 514272 h 1333436"/>
                <a:gd name="connsiteX306" fmla="*/ 23077 w 752994"/>
                <a:gd name="connsiteY306" fmla="*/ 506127 h 1333436"/>
                <a:gd name="connsiteX307" fmla="*/ 23884 w 752994"/>
                <a:gd name="connsiteY307" fmla="*/ 502261 h 1333436"/>
                <a:gd name="connsiteX308" fmla="*/ 23692 w 752994"/>
                <a:gd name="connsiteY308" fmla="*/ 496738 h 1333436"/>
                <a:gd name="connsiteX309" fmla="*/ 30013 w 752994"/>
                <a:gd name="connsiteY309" fmla="*/ 486556 h 1333436"/>
                <a:gd name="connsiteX310" fmla="*/ 36546 w 752994"/>
                <a:gd name="connsiteY310" fmla="*/ 470230 h 1333436"/>
                <a:gd name="connsiteX311" fmla="*/ 36546 w 752994"/>
                <a:gd name="connsiteY311" fmla="*/ 462671 h 1333436"/>
                <a:gd name="connsiteX312" fmla="*/ 36335 w 752994"/>
                <a:gd name="connsiteY312" fmla="*/ 461670 h 1333436"/>
                <a:gd name="connsiteX313" fmla="*/ 35931 w 752994"/>
                <a:gd name="connsiteY313" fmla="*/ 453110 h 1333436"/>
                <a:gd name="connsiteX314" fmla="*/ 38583 w 752994"/>
                <a:gd name="connsiteY314" fmla="*/ 442514 h 1333436"/>
                <a:gd name="connsiteX315" fmla="*/ 41043 w 752994"/>
                <a:gd name="connsiteY315" fmla="*/ 436991 h 1333436"/>
                <a:gd name="connsiteX316" fmla="*/ 41650 w 752994"/>
                <a:gd name="connsiteY316" fmla="*/ 437186 h 1333436"/>
                <a:gd name="connsiteX317" fmla="*/ 41239 w 752994"/>
                <a:gd name="connsiteY317" fmla="*/ 436549 h 1333436"/>
                <a:gd name="connsiteX318" fmla="*/ 37778 w 752994"/>
                <a:gd name="connsiteY318" fmla="*/ 433894 h 1333436"/>
                <a:gd name="connsiteX319" fmla="*/ 37169 w 752994"/>
                <a:gd name="connsiteY319" fmla="*/ 432261 h 1333436"/>
                <a:gd name="connsiteX320" fmla="*/ 37365 w 752994"/>
                <a:gd name="connsiteY320" fmla="*/ 429198 h 1333436"/>
                <a:gd name="connsiteX321" fmla="*/ 36756 w 752994"/>
                <a:gd name="connsiteY321" fmla="*/ 422272 h 1333436"/>
                <a:gd name="connsiteX322" fmla="*/ 36952 w 752994"/>
                <a:gd name="connsiteY322" fmla="*/ 418800 h 1333436"/>
                <a:gd name="connsiteX323" fmla="*/ 36756 w 752994"/>
                <a:gd name="connsiteY323" fmla="*/ 412487 h 1333436"/>
                <a:gd name="connsiteX324" fmla="*/ 40433 w 752994"/>
                <a:gd name="connsiteY324" fmla="*/ 406174 h 1333436"/>
                <a:gd name="connsiteX325" fmla="*/ 44720 w 752994"/>
                <a:gd name="connsiteY325" fmla="*/ 399435 h 1333436"/>
                <a:gd name="connsiteX326" fmla="*/ 44110 w 752994"/>
                <a:gd name="connsiteY326" fmla="*/ 389651 h 1333436"/>
                <a:gd name="connsiteX327" fmla="*/ 43894 w 752994"/>
                <a:gd name="connsiteY327" fmla="*/ 378437 h 1333436"/>
                <a:gd name="connsiteX328" fmla="*/ 47158 w 752994"/>
                <a:gd name="connsiteY328" fmla="*/ 371102 h 1333436"/>
                <a:gd name="connsiteX329" fmla="*/ 55731 w 752994"/>
                <a:gd name="connsiteY329" fmla="*/ 360909 h 1333436"/>
                <a:gd name="connsiteX330" fmla="*/ 57580 w 752994"/>
                <a:gd name="connsiteY330" fmla="*/ 355804 h 1333436"/>
                <a:gd name="connsiteX331" fmla="*/ 62673 w 752994"/>
                <a:gd name="connsiteY331" fmla="*/ 349695 h 1333436"/>
                <a:gd name="connsiteX332" fmla="*/ 65937 w 752994"/>
                <a:gd name="connsiteY332" fmla="*/ 348470 h 1333436"/>
                <a:gd name="connsiteX333" fmla="*/ 68395 w 752994"/>
                <a:gd name="connsiteY333" fmla="*/ 348674 h 1333436"/>
                <a:gd name="connsiteX334" fmla="*/ 70224 w 752994"/>
                <a:gd name="connsiteY334" fmla="*/ 347449 h 1333436"/>
                <a:gd name="connsiteX335" fmla="*/ 67785 w 752994"/>
                <a:gd name="connsiteY335" fmla="*/ 345203 h 1333436"/>
                <a:gd name="connsiteX336" fmla="*/ 65524 w 752994"/>
                <a:gd name="connsiteY336" fmla="*/ 343178 h 1333436"/>
                <a:gd name="connsiteX337" fmla="*/ 73095 w 752994"/>
                <a:gd name="connsiteY337" fmla="*/ 333376 h 1333436"/>
                <a:gd name="connsiteX338" fmla="*/ 73291 w 752994"/>
                <a:gd name="connsiteY338" fmla="*/ 333376 h 1333436"/>
                <a:gd name="connsiteX339" fmla="*/ 77991 w 752994"/>
                <a:gd name="connsiteY339" fmla="*/ 325838 h 1333436"/>
                <a:gd name="connsiteX340" fmla="*/ 82671 w 752994"/>
                <a:gd name="connsiteY340" fmla="*/ 313619 h 1333436"/>
                <a:gd name="connsiteX341" fmla="*/ 87980 w 752994"/>
                <a:gd name="connsiteY341" fmla="*/ 303018 h 1333436"/>
                <a:gd name="connsiteX342" fmla="*/ 92267 w 752994"/>
                <a:gd name="connsiteY342" fmla="*/ 291191 h 1333436"/>
                <a:gd name="connsiteX343" fmla="*/ 96553 w 752994"/>
                <a:gd name="connsiteY343" fmla="*/ 281202 h 1333436"/>
                <a:gd name="connsiteX344" fmla="*/ 99621 w 752994"/>
                <a:gd name="connsiteY344" fmla="*/ 274481 h 1333436"/>
                <a:gd name="connsiteX345" fmla="*/ 103082 w 752994"/>
                <a:gd name="connsiteY345" fmla="*/ 262450 h 1333436"/>
                <a:gd name="connsiteX346" fmla="*/ 107172 w 752994"/>
                <a:gd name="connsiteY346" fmla="*/ 254299 h 1333436"/>
                <a:gd name="connsiteX347" fmla="*/ 112481 w 752994"/>
                <a:gd name="connsiteY347" fmla="*/ 243697 h 1333436"/>
                <a:gd name="connsiteX348" fmla="*/ 117181 w 752994"/>
                <a:gd name="connsiteY348" fmla="*/ 232279 h 1333436"/>
                <a:gd name="connsiteX349" fmla="*/ 125951 w 752994"/>
                <a:gd name="connsiteY349" fmla="*/ 217389 h 1333436"/>
                <a:gd name="connsiteX350" fmla="*/ 136156 w 752994"/>
                <a:gd name="connsiteY350" fmla="*/ 202925 h 1333436"/>
                <a:gd name="connsiteX351" fmla="*/ 138811 w 752994"/>
                <a:gd name="connsiteY351" fmla="*/ 183339 h 1333436"/>
                <a:gd name="connsiteX352" fmla="*/ 148801 w 752994"/>
                <a:gd name="connsiteY352" fmla="*/ 167445 h 1333436"/>
                <a:gd name="connsiteX353" fmla="*/ 159616 w 752994"/>
                <a:gd name="connsiteY353" fmla="*/ 170712 h 1333436"/>
                <a:gd name="connsiteX354" fmla="*/ 173105 w 752994"/>
                <a:gd name="connsiteY354" fmla="*/ 175188 h 1333436"/>
                <a:gd name="connsiteX355" fmla="*/ 175347 w 752994"/>
                <a:gd name="connsiteY355" fmla="*/ 175188 h 1333436"/>
                <a:gd name="connsiteX356" fmla="*/ 175347 w 752994"/>
                <a:gd name="connsiteY356" fmla="*/ 173758 h 1333436"/>
                <a:gd name="connsiteX357" fmla="*/ 184975 w 752994"/>
                <a:gd name="connsiteY357" fmla="*/ 187393 h 1333436"/>
                <a:gd name="connsiteX358" fmla="*/ 184762 w 752994"/>
                <a:gd name="connsiteY358" fmla="*/ 184637 h 1333436"/>
                <a:gd name="connsiteX359" fmla="*/ 174971 w 752994"/>
                <a:gd name="connsiteY359" fmla="*/ 170774 h 1333436"/>
                <a:gd name="connsiteX360" fmla="*/ 174971 w 752994"/>
                <a:gd name="connsiteY360" fmla="*/ 169550 h 1333436"/>
                <a:gd name="connsiteX361" fmla="*/ 158851 w 752994"/>
                <a:gd name="connsiteY361" fmla="*/ 156924 h 1333436"/>
                <a:gd name="connsiteX362" fmla="*/ 147025 w 752994"/>
                <a:gd name="connsiteY362" fmla="*/ 145709 h 1333436"/>
                <a:gd name="connsiteX363" fmla="*/ 154364 w 752994"/>
                <a:gd name="connsiteY363" fmla="*/ 136335 h 1333436"/>
                <a:gd name="connsiteX364" fmla="*/ 161511 w 752994"/>
                <a:gd name="connsiteY364" fmla="*/ 131042 h 1333436"/>
                <a:gd name="connsiteX365" fmla="*/ 160902 w 752994"/>
                <a:gd name="connsiteY365" fmla="*/ 128384 h 1333436"/>
                <a:gd name="connsiteX366" fmla="*/ 160277 w 752994"/>
                <a:gd name="connsiteY366" fmla="*/ 127778 h 1333436"/>
                <a:gd name="connsiteX367" fmla="*/ 154973 w 752994"/>
                <a:gd name="connsiteY367" fmla="*/ 122077 h 1333436"/>
                <a:gd name="connsiteX368" fmla="*/ 160277 w 752994"/>
                <a:gd name="connsiteY368" fmla="*/ 115140 h 1333436"/>
                <a:gd name="connsiteX369" fmla="*/ 165181 w 752994"/>
                <a:gd name="connsiteY369" fmla="*/ 108215 h 1333436"/>
                <a:gd name="connsiteX370" fmla="*/ 161303 w 752994"/>
                <a:gd name="connsiteY370" fmla="*/ 104146 h 1333436"/>
                <a:gd name="connsiteX371" fmla="*/ 157842 w 752994"/>
                <a:gd name="connsiteY371" fmla="*/ 104542 h 1333436"/>
                <a:gd name="connsiteX372" fmla="*/ 157024 w 752994"/>
                <a:gd name="connsiteY372" fmla="*/ 102304 h 1333436"/>
                <a:gd name="connsiteX373" fmla="*/ 160694 w 752994"/>
                <a:gd name="connsiteY373" fmla="*/ 55437 h 1333436"/>
                <a:gd name="connsiteX374" fmla="*/ 160486 w 752994"/>
                <a:gd name="connsiteY374" fmla="*/ 31991 h 1333436"/>
                <a:gd name="connsiteX375" fmla="*/ 164972 w 752994"/>
                <a:gd name="connsiteY375" fmla="*/ 18141 h 1333436"/>
                <a:gd name="connsiteX376" fmla="*/ 171911 w 752994"/>
                <a:gd name="connsiteY376" fmla="*/ 11204 h 1333436"/>
                <a:gd name="connsiteX377" fmla="*/ 187406 w 752994"/>
                <a:gd name="connsiteY377" fmla="*/ 21801 h 1333436"/>
                <a:gd name="connsiteX378" fmla="*/ 210866 w 752994"/>
                <a:gd name="connsiteY378" fmla="*/ 37086 h 1333436"/>
                <a:gd name="connsiteX379" fmla="*/ 219230 w 752994"/>
                <a:gd name="connsiteY379" fmla="*/ 41166 h 1333436"/>
                <a:gd name="connsiteX380" fmla="*/ 226778 w 752994"/>
                <a:gd name="connsiteY380" fmla="*/ 47486 h 1333436"/>
                <a:gd name="connsiteX381" fmla="*/ 236152 w 752994"/>
                <a:gd name="connsiteY381" fmla="*/ 52370 h 1333436"/>
                <a:gd name="connsiteX382" fmla="*/ 239629 w 752994"/>
                <a:gd name="connsiteY382" fmla="*/ 58491 h 1333436"/>
                <a:gd name="connsiteX383" fmla="*/ 239629 w 752994"/>
                <a:gd name="connsiteY383" fmla="*/ 63376 h 1333436"/>
                <a:gd name="connsiteX384" fmla="*/ 236568 w 752994"/>
                <a:gd name="connsiteY384" fmla="*/ 67457 h 1333436"/>
                <a:gd name="connsiteX385" fmla="*/ 231264 w 752994"/>
                <a:gd name="connsiteY385" fmla="*/ 69905 h 1333436"/>
                <a:gd name="connsiteX386" fmla="*/ 216778 w 752994"/>
                <a:gd name="connsiteY386" fmla="*/ 82741 h 1333436"/>
                <a:gd name="connsiteX387" fmla="*/ 214134 w 752994"/>
                <a:gd name="connsiteY387" fmla="*/ 93536 h 1333436"/>
                <a:gd name="connsiteX388" fmla="*/ 214535 w 752994"/>
                <a:gd name="connsiteY388" fmla="*/ 96801 h 1333436"/>
                <a:gd name="connsiteX389" fmla="*/ 216378 w 752994"/>
                <a:gd name="connsiteY389" fmla="*/ 96801 h 1333436"/>
                <a:gd name="connsiteX390" fmla="*/ 230046 w 752994"/>
                <a:gd name="connsiteY390" fmla="*/ 85387 h 1333436"/>
                <a:gd name="connsiteX391" fmla="*/ 243298 w 752994"/>
                <a:gd name="connsiteY391" fmla="*/ 75198 h 1333436"/>
                <a:gd name="connsiteX392" fmla="*/ 246760 w 752994"/>
                <a:gd name="connsiteY392" fmla="*/ 77646 h 1333436"/>
                <a:gd name="connsiteX393" fmla="*/ 255541 w 752994"/>
                <a:gd name="connsiteY393" fmla="*/ 63376 h 1333436"/>
                <a:gd name="connsiteX394" fmla="*/ 259611 w 752994"/>
                <a:gd name="connsiteY394" fmla="*/ 43405 h 1333436"/>
                <a:gd name="connsiteX395" fmla="*/ 256967 w 752994"/>
                <a:gd name="connsiteY395" fmla="*/ 38520 h 1333436"/>
                <a:gd name="connsiteX396" fmla="*/ 253906 w 752994"/>
                <a:gd name="connsiteY396" fmla="*/ 34242 h 1333436"/>
                <a:gd name="connsiteX397" fmla="*/ 256967 w 752994"/>
                <a:gd name="connsiteY397" fmla="*/ 30161 h 1333436"/>
                <a:gd name="connsiteX398" fmla="*/ 262063 w 752994"/>
                <a:gd name="connsiteY398" fmla="*/ 27712 h 1333436"/>
                <a:gd name="connsiteX399" fmla="*/ 264915 w 752994"/>
                <a:gd name="connsiteY399" fmla="*/ 23026 h 1333436"/>
                <a:gd name="connsiteX400" fmla="*/ 267976 w 752994"/>
                <a:gd name="connsiteY400" fmla="*/ 22618 h 1333436"/>
                <a:gd name="connsiteX401" fmla="*/ 270427 w 752994"/>
                <a:gd name="connsiteY401" fmla="*/ 20787 h 1333436"/>
                <a:gd name="connsiteX402" fmla="*/ 263088 w 752994"/>
                <a:gd name="connsiteY402" fmla="*/ 13652 h 1333436"/>
                <a:gd name="connsiteX403" fmla="*/ 255541 w 752994"/>
                <a:gd name="connsiteY403" fmla="*/ 3055 h 1333436"/>
                <a:gd name="connsiteX404" fmla="*/ 256358 w 752994"/>
                <a:gd name="connsiteY404" fmla="*/ 1224 h 1333436"/>
                <a:gd name="connsiteX405" fmla="*/ 257159 w 752994"/>
                <a:gd name="connsiteY405"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7539 w 752994"/>
                <a:gd name="connsiteY19" fmla="*/ 290781 h 1333436"/>
                <a:gd name="connsiteX20" fmla="*/ 453944 w 752994"/>
                <a:gd name="connsiteY20" fmla="*/ 286495 h 1333436"/>
                <a:gd name="connsiteX21" fmla="*/ 457539 w 752994"/>
                <a:gd name="connsiteY21" fmla="*/ 290781 h 1333436"/>
                <a:gd name="connsiteX22" fmla="*/ 184180 w 752994"/>
                <a:gd name="connsiteY22" fmla="*/ 213866 h 1333436"/>
                <a:gd name="connsiteX23" fmla="*/ 184117 w 752994"/>
                <a:gd name="connsiteY23" fmla="*/ 214326 h 1333436"/>
                <a:gd name="connsiteX24" fmla="*/ 185553 w 752994"/>
                <a:gd name="connsiteY24" fmla="*/ 222494 h 1333436"/>
                <a:gd name="connsiteX25" fmla="*/ 188600 w 752994"/>
                <a:gd name="connsiteY25" fmla="*/ 226970 h 1333436"/>
                <a:gd name="connsiteX26" fmla="*/ 195542 w 752994"/>
                <a:gd name="connsiteY26" fmla="*/ 231871 h 1333436"/>
                <a:gd name="connsiteX27" fmla="*/ 203093 w 752994"/>
                <a:gd name="connsiteY27" fmla="*/ 233896 h 1333436"/>
                <a:gd name="connsiteX28" fmla="*/ 217192 w 752994"/>
                <a:gd name="connsiteY28" fmla="*/ 232075 h 1333436"/>
                <a:gd name="connsiteX29" fmla="*/ 225136 w 752994"/>
                <a:gd name="connsiteY29" fmla="*/ 229829 h 1333436"/>
                <a:gd name="connsiteX30" fmla="*/ 235558 w 752994"/>
                <a:gd name="connsiteY30" fmla="*/ 232483 h 1333436"/>
                <a:gd name="connsiteX31" fmla="*/ 242499 w 752994"/>
                <a:gd name="connsiteY31" fmla="*/ 237163 h 1333436"/>
                <a:gd name="connsiteX32" fmla="*/ 248418 w 752994"/>
                <a:gd name="connsiteY32" fmla="*/ 244701 h 1333436"/>
                <a:gd name="connsiteX33" fmla="*/ 255359 w 752994"/>
                <a:gd name="connsiteY33" fmla="*/ 244906 h 1333436"/>
                <a:gd name="connsiteX34" fmla="*/ 258210 w 752994"/>
                <a:gd name="connsiteY34" fmla="*/ 244906 h 1333436"/>
                <a:gd name="connsiteX35" fmla="*/ 263303 w 752994"/>
                <a:gd name="connsiteY35" fmla="*/ 246131 h 1333436"/>
                <a:gd name="connsiteX36" fmla="*/ 269438 w 752994"/>
                <a:gd name="connsiteY36" fmla="*/ 243697 h 1333436"/>
                <a:gd name="connsiteX37" fmla="*/ 274944 w 752994"/>
                <a:gd name="connsiteY37" fmla="*/ 241451 h 1333436"/>
                <a:gd name="connsiteX38" fmla="*/ 281276 w 752994"/>
                <a:gd name="connsiteY38" fmla="*/ 245722 h 1333436"/>
                <a:gd name="connsiteX39" fmla="*/ 289240 w 752994"/>
                <a:gd name="connsiteY39" fmla="*/ 250419 h 1333436"/>
                <a:gd name="connsiteX40" fmla="*/ 297597 w 752994"/>
                <a:gd name="connsiteY40" fmla="*/ 248581 h 1333436"/>
                <a:gd name="connsiteX41" fmla="*/ 310261 w 752994"/>
                <a:gd name="connsiteY41" fmla="*/ 246539 h 1333436"/>
                <a:gd name="connsiteX42" fmla="*/ 324340 w 752994"/>
                <a:gd name="connsiteY42" fmla="*/ 244497 h 1333436"/>
                <a:gd name="connsiteX43" fmla="*/ 333523 w 752994"/>
                <a:gd name="connsiteY43" fmla="*/ 243289 h 1333436"/>
                <a:gd name="connsiteX44" fmla="*/ 341271 w 752994"/>
                <a:gd name="connsiteY44" fmla="*/ 246539 h 1333436"/>
                <a:gd name="connsiteX45" fmla="*/ 348428 w 752994"/>
                <a:gd name="connsiteY45" fmla="*/ 250011 h 1333436"/>
                <a:gd name="connsiteX46" fmla="*/ 351279 w 752994"/>
                <a:gd name="connsiteY46" fmla="*/ 247356 h 1333436"/>
                <a:gd name="connsiteX47" fmla="*/ 355566 w 752994"/>
                <a:gd name="connsiteY47" fmla="*/ 244293 h 1333436"/>
                <a:gd name="connsiteX48" fmla="*/ 365772 w 752994"/>
                <a:gd name="connsiteY48" fmla="*/ 248785 h 1333436"/>
                <a:gd name="connsiteX49" fmla="*/ 381483 w 752994"/>
                <a:gd name="connsiteY49" fmla="*/ 254912 h 1333436"/>
                <a:gd name="connsiteX50" fmla="*/ 381896 w 752994"/>
                <a:gd name="connsiteY50" fmla="*/ 255320 h 1333436"/>
                <a:gd name="connsiteX51" fmla="*/ 395366 w 752994"/>
                <a:gd name="connsiteY51" fmla="*/ 257753 h 1333436"/>
                <a:gd name="connsiteX52" fmla="*/ 414145 w 752994"/>
                <a:gd name="connsiteY52" fmla="*/ 262450 h 1333436"/>
                <a:gd name="connsiteX53" fmla="*/ 431292 w 752994"/>
                <a:gd name="connsiteY53" fmla="*/ 268151 h 1333436"/>
                <a:gd name="connsiteX54" fmla="*/ 445196 w 752994"/>
                <a:gd name="connsiteY54" fmla="*/ 269890 h 1333436"/>
                <a:gd name="connsiteX55" fmla="*/ 444145 w 752994"/>
                <a:gd name="connsiteY55" fmla="*/ 267441 h 1333436"/>
                <a:gd name="connsiteX56" fmla="*/ 444145 w 752994"/>
                <a:gd name="connsiteY56" fmla="*/ 267034 h 1333436"/>
                <a:gd name="connsiteX57" fmla="*/ 444155 w 752994"/>
                <a:gd name="connsiteY57" fmla="*/ 266811 h 1333436"/>
                <a:gd name="connsiteX58" fmla="*/ 430733 w 752994"/>
                <a:gd name="connsiteY58" fmla="*/ 265139 h 1333436"/>
                <a:gd name="connsiteX59" fmla="*/ 413603 w 752994"/>
                <a:gd name="connsiteY59" fmla="*/ 259426 h 1333436"/>
                <a:gd name="connsiteX60" fmla="*/ 394839 w 752994"/>
                <a:gd name="connsiteY60" fmla="*/ 254739 h 1333436"/>
                <a:gd name="connsiteX61" fmla="*/ 381379 w 752994"/>
                <a:gd name="connsiteY61" fmla="*/ 252303 h 1333436"/>
                <a:gd name="connsiteX62" fmla="*/ 380962 w 752994"/>
                <a:gd name="connsiteY62" fmla="*/ 251895 h 1333436"/>
                <a:gd name="connsiteX63" fmla="*/ 365258 w 752994"/>
                <a:gd name="connsiteY63" fmla="*/ 245774 h 1333436"/>
                <a:gd name="connsiteX64" fmla="*/ 355067 w 752994"/>
                <a:gd name="connsiteY64" fmla="*/ 241285 h 1333436"/>
                <a:gd name="connsiteX65" fmla="*/ 350789 w 752994"/>
                <a:gd name="connsiteY65" fmla="*/ 244352 h 1333436"/>
                <a:gd name="connsiteX66" fmla="*/ 347920 w 752994"/>
                <a:gd name="connsiteY66" fmla="*/ 246998 h 1333436"/>
                <a:gd name="connsiteX67" fmla="*/ 340789 w 752994"/>
                <a:gd name="connsiteY67" fmla="*/ 243536 h 1333436"/>
                <a:gd name="connsiteX68" fmla="*/ 333034 w 752994"/>
                <a:gd name="connsiteY68" fmla="*/ 240271 h 1333436"/>
                <a:gd name="connsiteX69" fmla="*/ 323868 w 752994"/>
                <a:gd name="connsiteY69" fmla="*/ 241495 h 1333436"/>
                <a:gd name="connsiteX70" fmla="*/ 309783 w 752994"/>
                <a:gd name="connsiteY70" fmla="*/ 243536 h 1333436"/>
                <a:gd name="connsiteX71" fmla="*/ 297140 w 752994"/>
                <a:gd name="connsiteY71" fmla="*/ 245576 h 1333436"/>
                <a:gd name="connsiteX72" fmla="*/ 288775 w 752994"/>
                <a:gd name="connsiteY72" fmla="*/ 247406 h 1333436"/>
                <a:gd name="connsiteX73" fmla="*/ 280827 w 752994"/>
                <a:gd name="connsiteY73" fmla="*/ 242720 h 1333436"/>
                <a:gd name="connsiteX74" fmla="*/ 274497 w 752994"/>
                <a:gd name="connsiteY74" fmla="*/ 238441 h 1333436"/>
                <a:gd name="connsiteX75" fmla="*/ 269001 w 752994"/>
                <a:gd name="connsiteY75" fmla="*/ 240679 h 1333436"/>
                <a:gd name="connsiteX76" fmla="*/ 262880 w 752994"/>
                <a:gd name="connsiteY76" fmla="*/ 243128 h 1333436"/>
                <a:gd name="connsiteX77" fmla="*/ 260028 w 752994"/>
                <a:gd name="connsiteY77" fmla="*/ 242720 h 1333436"/>
                <a:gd name="connsiteX78" fmla="*/ 257784 w 752994"/>
                <a:gd name="connsiteY78" fmla="*/ 241904 h 1333436"/>
                <a:gd name="connsiteX79" fmla="*/ 247994 w 752994"/>
                <a:gd name="connsiteY79" fmla="*/ 241693 h 1333436"/>
                <a:gd name="connsiteX80" fmla="*/ 242081 w 752994"/>
                <a:gd name="connsiteY80" fmla="*/ 234162 h 1333436"/>
                <a:gd name="connsiteX81" fmla="*/ 235142 w 752994"/>
                <a:gd name="connsiteY81" fmla="*/ 229476 h 1333436"/>
                <a:gd name="connsiteX82" fmla="*/ 224742 w 752994"/>
                <a:gd name="connsiteY82" fmla="*/ 226817 h 1333436"/>
                <a:gd name="connsiteX83" fmla="*/ 216778 w 752994"/>
                <a:gd name="connsiteY83" fmla="*/ 229068 h 1333436"/>
                <a:gd name="connsiteX84" fmla="*/ 202709 w 752994"/>
                <a:gd name="connsiteY84" fmla="*/ 230898 h 1333436"/>
                <a:gd name="connsiteX85" fmla="*/ 195162 w 752994"/>
                <a:gd name="connsiteY85" fmla="*/ 228857 h 1333436"/>
                <a:gd name="connsiteX86" fmla="*/ 188223 w 752994"/>
                <a:gd name="connsiteY86" fmla="*/ 223973 h 1333436"/>
                <a:gd name="connsiteX87" fmla="*/ 185163 w 752994"/>
                <a:gd name="connsiteY87" fmla="*/ 219484 h 1333436"/>
                <a:gd name="connsiteX88" fmla="*/ 184180 w 752994"/>
                <a:gd name="connsiteY88" fmla="*/ 213866 h 1333436"/>
                <a:gd name="connsiteX89" fmla="*/ 257159 w 752994"/>
                <a:gd name="connsiteY89" fmla="*/ 0 h 1333436"/>
                <a:gd name="connsiteX90" fmla="*/ 493147 w 752994"/>
                <a:gd name="connsiteY90" fmla="*/ 73157 h 1333436"/>
                <a:gd name="connsiteX91" fmla="*/ 492970 w 752994"/>
                <a:gd name="connsiteY91" fmla="*/ 73792 h 1333436"/>
                <a:gd name="connsiteX92" fmla="*/ 525816 w 752994"/>
                <a:gd name="connsiteY92" fmla="*/ 82491 h 1333436"/>
                <a:gd name="connsiteX93" fmla="*/ 520098 w 752994"/>
                <a:gd name="connsiteY93" fmla="*/ 111245 h 1333436"/>
                <a:gd name="connsiteX94" fmla="*/ 512552 w 752994"/>
                <a:gd name="connsiteY94" fmla="*/ 143854 h 1333436"/>
                <a:gd name="connsiteX95" fmla="*/ 517849 w 752994"/>
                <a:gd name="connsiteY95" fmla="*/ 157740 h 1333436"/>
                <a:gd name="connsiteX96" fmla="*/ 523160 w 752994"/>
                <a:gd name="connsiteY96" fmla="*/ 172009 h 1333436"/>
                <a:gd name="connsiteX97" fmla="*/ 521535 w 752994"/>
                <a:gd name="connsiteY97" fmla="*/ 178928 h 1333436"/>
                <a:gd name="connsiteX98" fmla="*/ 520098 w 752994"/>
                <a:gd name="connsiteY98" fmla="*/ 186279 h 1333436"/>
                <a:gd name="connsiteX99" fmla="*/ 526019 w 752994"/>
                <a:gd name="connsiteY99" fmla="*/ 193629 h 1333436"/>
                <a:gd name="connsiteX100" fmla="*/ 537251 w 752994"/>
                <a:gd name="connsiteY100" fmla="*/ 206270 h 1333436"/>
                <a:gd name="connsiteX101" fmla="*/ 542765 w 752994"/>
                <a:gd name="connsiteY101" fmla="*/ 217475 h 1333436"/>
                <a:gd name="connsiteX102" fmla="*/ 546857 w 752994"/>
                <a:gd name="connsiteY102" fmla="*/ 230930 h 1333436"/>
                <a:gd name="connsiteX103" fmla="*/ 549499 w 752994"/>
                <a:gd name="connsiteY103" fmla="*/ 235622 h 1333436"/>
                <a:gd name="connsiteX104" fmla="*/ 553388 w 752994"/>
                <a:gd name="connsiteY104" fmla="*/ 240722 h 1333436"/>
                <a:gd name="connsiteX105" fmla="*/ 557465 w 752994"/>
                <a:gd name="connsiteY105" fmla="*/ 246037 h 1333436"/>
                <a:gd name="connsiteX106" fmla="*/ 561761 w 752994"/>
                <a:gd name="connsiteY106" fmla="*/ 248671 h 1333436"/>
                <a:gd name="connsiteX107" fmla="*/ 567478 w 752994"/>
                <a:gd name="connsiteY107" fmla="*/ 247665 h 1333436"/>
                <a:gd name="connsiteX108" fmla="*/ 569931 w 752994"/>
                <a:gd name="connsiteY108" fmla="*/ 249293 h 1333436"/>
                <a:gd name="connsiteX109" fmla="*/ 570540 w 752994"/>
                <a:gd name="connsiteY109" fmla="*/ 251951 h 1333436"/>
                <a:gd name="connsiteX110" fmla="*/ 561964 w 752994"/>
                <a:gd name="connsiteY110" fmla="*/ 267656 h 1333436"/>
                <a:gd name="connsiteX111" fmla="*/ 553591 w 752994"/>
                <a:gd name="connsiteY111" fmla="*/ 289659 h 1333436"/>
                <a:gd name="connsiteX112" fmla="*/ 554810 w 752994"/>
                <a:gd name="connsiteY112" fmla="*/ 292939 h 1333436"/>
                <a:gd name="connsiteX113" fmla="*/ 556246 w 752994"/>
                <a:gd name="connsiteY113" fmla="*/ 299260 h 1333436"/>
                <a:gd name="connsiteX114" fmla="*/ 552778 w 752994"/>
                <a:gd name="connsiteY114" fmla="*/ 301917 h 1333436"/>
                <a:gd name="connsiteX115" fmla="*/ 549295 w 752994"/>
                <a:gd name="connsiteY115" fmla="*/ 306993 h 1333436"/>
                <a:gd name="connsiteX116" fmla="*/ 547061 w 752994"/>
                <a:gd name="connsiteY116" fmla="*/ 313122 h 1333436"/>
                <a:gd name="connsiteX117" fmla="*/ 544811 w 752994"/>
                <a:gd name="connsiteY117" fmla="*/ 316593 h 1333436"/>
                <a:gd name="connsiteX118" fmla="*/ 549919 w 752994"/>
                <a:gd name="connsiteY118" fmla="*/ 322698 h 1333436"/>
                <a:gd name="connsiteX119" fmla="*/ 553184 w 752994"/>
                <a:gd name="connsiteY119" fmla="*/ 325955 h 1333436"/>
                <a:gd name="connsiteX120" fmla="*/ 555840 w 752994"/>
                <a:gd name="connsiteY120" fmla="*/ 328205 h 1333436"/>
                <a:gd name="connsiteX121" fmla="*/ 574212 w 752994"/>
                <a:gd name="connsiteY121" fmla="*/ 318820 h 1333436"/>
                <a:gd name="connsiteX122" fmla="*/ 579523 w 752994"/>
                <a:gd name="connsiteY122" fmla="*/ 326577 h 1333436"/>
                <a:gd name="connsiteX123" fmla="*/ 580539 w 752994"/>
                <a:gd name="connsiteY123" fmla="*/ 334933 h 1333436"/>
                <a:gd name="connsiteX124" fmla="*/ 579726 w 752994"/>
                <a:gd name="connsiteY124" fmla="*/ 343097 h 1333436"/>
                <a:gd name="connsiteX125" fmla="*/ 581366 w 752994"/>
                <a:gd name="connsiteY125" fmla="*/ 350231 h 1333436"/>
                <a:gd name="connsiteX126" fmla="*/ 586256 w 752994"/>
                <a:gd name="connsiteY126" fmla="*/ 355930 h 1333436"/>
                <a:gd name="connsiteX127" fmla="*/ 589536 w 752994"/>
                <a:gd name="connsiteY127" fmla="*/ 362059 h 1333436"/>
                <a:gd name="connsiteX128" fmla="*/ 588099 w 752994"/>
                <a:gd name="connsiteY128" fmla="*/ 369600 h 1333436"/>
                <a:gd name="connsiteX129" fmla="*/ 586459 w 752994"/>
                <a:gd name="connsiteY129" fmla="*/ 377357 h 1333436"/>
                <a:gd name="connsiteX130" fmla="*/ 588709 w 752994"/>
                <a:gd name="connsiteY130" fmla="*/ 381835 h 1333436"/>
                <a:gd name="connsiteX131" fmla="*/ 595036 w 752994"/>
                <a:gd name="connsiteY131" fmla="*/ 382457 h 1333436"/>
                <a:gd name="connsiteX132" fmla="*/ 599331 w 752994"/>
                <a:gd name="connsiteY132" fmla="*/ 385306 h 1333436"/>
                <a:gd name="connsiteX133" fmla="*/ 601987 w 752994"/>
                <a:gd name="connsiteY133" fmla="*/ 391004 h 1333436"/>
                <a:gd name="connsiteX134" fmla="*/ 602799 w 752994"/>
                <a:gd name="connsiteY134" fmla="*/ 404076 h 1333436"/>
                <a:gd name="connsiteX135" fmla="*/ 606892 w 752994"/>
                <a:gd name="connsiteY135" fmla="*/ 415688 h 1333436"/>
                <a:gd name="connsiteX136" fmla="*/ 610563 w 752994"/>
                <a:gd name="connsiteY136" fmla="*/ 412217 h 1333436"/>
                <a:gd name="connsiteX137" fmla="*/ 617920 w 752994"/>
                <a:gd name="connsiteY137" fmla="*/ 408769 h 1333436"/>
                <a:gd name="connsiteX138" fmla="*/ 624654 w 752994"/>
                <a:gd name="connsiteY138" fmla="*/ 411211 h 1333436"/>
                <a:gd name="connsiteX139" fmla="*/ 634652 w 752994"/>
                <a:gd name="connsiteY139" fmla="*/ 410182 h 1333436"/>
                <a:gd name="connsiteX140" fmla="*/ 640573 w 752994"/>
                <a:gd name="connsiteY140" fmla="*/ 407739 h 1333436"/>
                <a:gd name="connsiteX141" fmla="*/ 646711 w 752994"/>
                <a:gd name="connsiteY141" fmla="*/ 410589 h 1333436"/>
                <a:gd name="connsiteX142" fmla="*/ 650383 w 752994"/>
                <a:gd name="connsiteY142" fmla="*/ 410589 h 1333436"/>
                <a:gd name="connsiteX143" fmla="*/ 654257 w 752994"/>
                <a:gd name="connsiteY143" fmla="*/ 411618 h 1333436"/>
                <a:gd name="connsiteX144" fmla="*/ 656913 w 752994"/>
                <a:gd name="connsiteY144" fmla="*/ 413653 h 1333436"/>
                <a:gd name="connsiteX145" fmla="*/ 660802 w 752994"/>
                <a:gd name="connsiteY145" fmla="*/ 415090 h 1333436"/>
                <a:gd name="connsiteX146" fmla="*/ 669581 w 752994"/>
                <a:gd name="connsiteY146" fmla="*/ 415904 h 1333436"/>
                <a:gd name="connsiteX147" fmla="*/ 672237 w 752994"/>
                <a:gd name="connsiteY147" fmla="*/ 415688 h 1333436"/>
                <a:gd name="connsiteX148" fmla="*/ 675705 w 752994"/>
                <a:gd name="connsiteY148" fmla="*/ 409367 h 1333436"/>
                <a:gd name="connsiteX149" fmla="*/ 679986 w 752994"/>
                <a:gd name="connsiteY149" fmla="*/ 403238 h 1333436"/>
                <a:gd name="connsiteX150" fmla="*/ 693264 w 752994"/>
                <a:gd name="connsiteY150" fmla="*/ 419567 h 1333436"/>
                <a:gd name="connsiteX151" fmla="*/ 688563 w 752994"/>
                <a:gd name="connsiteY151" fmla="*/ 448321 h 1333436"/>
                <a:gd name="connsiteX152" fmla="*/ 663949 w 752994"/>
                <a:gd name="connsiteY152" fmla="*/ 590165 h 1333436"/>
                <a:gd name="connsiteX153" fmla="*/ 666304 w 752994"/>
                <a:gd name="connsiteY153" fmla="*/ 590504 h 1333436"/>
                <a:gd name="connsiteX154" fmla="*/ 655288 w 752994"/>
                <a:gd name="connsiteY154" fmla="*/ 656178 h 1333436"/>
                <a:gd name="connsiteX155" fmla="*/ 681808 w 752994"/>
                <a:gd name="connsiteY155" fmla="*/ 662301 h 1333436"/>
                <a:gd name="connsiteX156" fmla="*/ 752994 w 752994"/>
                <a:gd name="connsiteY156" fmla="*/ 675560 h 1333436"/>
                <a:gd name="connsiteX157" fmla="*/ 714651 w 752994"/>
                <a:gd name="connsiteY157" fmla="*/ 946985 h 1333436"/>
                <a:gd name="connsiteX158" fmla="*/ 693426 w 752994"/>
                <a:gd name="connsiteY158" fmla="*/ 944128 h 1333436"/>
                <a:gd name="connsiteX159" fmla="*/ 457412 w 752994"/>
                <a:gd name="connsiteY159" fmla="*/ 897429 h 1333436"/>
                <a:gd name="connsiteX160" fmla="*/ 453578 w 752994"/>
                <a:gd name="connsiteY160" fmla="*/ 897215 h 1333436"/>
                <a:gd name="connsiteX161" fmla="*/ 442753 w 752994"/>
                <a:gd name="connsiteY161" fmla="*/ 950656 h 1333436"/>
                <a:gd name="connsiteX162" fmla="*/ 442550 w 752994"/>
                <a:gd name="connsiteY162" fmla="*/ 951272 h 1333436"/>
                <a:gd name="connsiteX163" fmla="*/ 439290 w 752994"/>
                <a:gd name="connsiteY163" fmla="*/ 958807 h 1333436"/>
                <a:gd name="connsiteX164" fmla="*/ 432957 w 752994"/>
                <a:gd name="connsiteY164" fmla="*/ 963487 h 1333436"/>
                <a:gd name="connsiteX165" fmla="*/ 429291 w 752994"/>
                <a:gd name="connsiteY165" fmla="*/ 959817 h 1333436"/>
                <a:gd name="connsiteX166" fmla="*/ 425610 w 752994"/>
                <a:gd name="connsiteY166" fmla="*/ 955532 h 1333436"/>
                <a:gd name="connsiteX167" fmla="*/ 419292 w 752994"/>
                <a:gd name="connsiteY167" fmla="*/ 953291 h 1333436"/>
                <a:gd name="connsiteX168" fmla="*/ 414597 w 752994"/>
                <a:gd name="connsiteY168" fmla="*/ 951272 h 1333436"/>
                <a:gd name="connsiteX169" fmla="*/ 407047 w 752994"/>
                <a:gd name="connsiteY169" fmla="*/ 956148 h 1333436"/>
                <a:gd name="connsiteX170" fmla="*/ 403787 w 752994"/>
                <a:gd name="connsiteY170" fmla="*/ 963290 h 1333436"/>
                <a:gd name="connsiteX171" fmla="*/ 404052 w 752994"/>
                <a:gd name="connsiteY171" fmla="*/ 963688 h 1333436"/>
                <a:gd name="connsiteX172" fmla="*/ 406917 w 752994"/>
                <a:gd name="connsiteY172" fmla="*/ 957427 h 1333436"/>
                <a:gd name="connsiteX173" fmla="*/ 414454 w 752994"/>
                <a:gd name="connsiteY173" fmla="*/ 952534 h 1333436"/>
                <a:gd name="connsiteX174" fmla="*/ 419146 w 752994"/>
                <a:gd name="connsiteY174" fmla="*/ 954567 h 1333436"/>
                <a:gd name="connsiteX175" fmla="*/ 425469 w 752994"/>
                <a:gd name="connsiteY175" fmla="*/ 956803 h 1333436"/>
                <a:gd name="connsiteX176" fmla="*/ 429146 w 752994"/>
                <a:gd name="connsiteY176" fmla="*/ 961092 h 1333436"/>
                <a:gd name="connsiteX177" fmla="*/ 432807 w 752994"/>
                <a:gd name="connsiteY177" fmla="*/ 964757 h 1333436"/>
                <a:gd name="connsiteX178" fmla="*/ 439129 w 752994"/>
                <a:gd name="connsiteY178" fmla="*/ 960065 h 1333436"/>
                <a:gd name="connsiteX179" fmla="*/ 442407 w 752994"/>
                <a:gd name="connsiteY179" fmla="*/ 952534 h 1333436"/>
                <a:gd name="connsiteX180" fmla="*/ 689408 w 752994"/>
                <a:gd name="connsiteY180" fmla="*/ 945184 h 1333436"/>
                <a:gd name="connsiteX181" fmla="*/ 710622 w 752994"/>
                <a:gd name="connsiteY181" fmla="*/ 948043 h 1333436"/>
                <a:gd name="connsiteX182" fmla="*/ 654533 w 752994"/>
                <a:gd name="connsiteY182" fmla="*/ 1333436 h 1333436"/>
                <a:gd name="connsiteX183" fmla="*/ 546831 w 752994"/>
                <a:gd name="connsiteY183" fmla="*/ 1317126 h 1333436"/>
                <a:gd name="connsiteX184" fmla="*/ 351227 w 752994"/>
                <a:gd name="connsiteY184" fmla="*/ 1194172 h 1333436"/>
                <a:gd name="connsiteX185" fmla="*/ 361011 w 752994"/>
                <a:gd name="connsiteY185" fmla="*/ 1182755 h 1333436"/>
                <a:gd name="connsiteX186" fmla="*/ 368981 w 752994"/>
                <a:gd name="connsiteY186" fmla="*/ 1182130 h 1333436"/>
                <a:gd name="connsiteX187" fmla="*/ 369571 w 752994"/>
                <a:gd name="connsiteY187" fmla="*/ 1181558 h 1333436"/>
                <a:gd name="connsiteX188" fmla="*/ 362372 w 752994"/>
                <a:gd name="connsiteY188" fmla="*/ 1182120 h 1333436"/>
                <a:gd name="connsiteX189" fmla="*/ 229464 w 752994"/>
                <a:gd name="connsiteY189" fmla="*/ 1161721 h 1333436"/>
                <a:gd name="connsiteX190" fmla="*/ 227427 w 752994"/>
                <a:gd name="connsiteY190" fmla="*/ 1157269 h 1333436"/>
                <a:gd name="connsiteX191" fmla="*/ 224967 w 752994"/>
                <a:gd name="connsiteY191" fmla="*/ 1152575 h 1333436"/>
                <a:gd name="connsiteX192" fmla="*/ 225582 w 752994"/>
                <a:gd name="connsiteY192" fmla="*/ 1144808 h 1333436"/>
                <a:gd name="connsiteX193" fmla="*/ 227215 w 752994"/>
                <a:gd name="connsiteY193" fmla="*/ 1135834 h 1333436"/>
                <a:gd name="connsiteX194" fmla="*/ 227215 w 752994"/>
                <a:gd name="connsiteY194" fmla="*/ 1134212 h 1333436"/>
                <a:gd name="connsiteX195" fmla="*/ 225179 w 752994"/>
                <a:gd name="connsiteY195" fmla="*/ 1114020 h 1333436"/>
                <a:gd name="connsiteX196" fmla="*/ 217839 w 752994"/>
                <a:gd name="connsiteY196" fmla="*/ 1100352 h 1333436"/>
                <a:gd name="connsiteX197" fmla="*/ 199661 w 752994"/>
                <a:gd name="connsiteY197" fmla="*/ 1076502 h 1333436"/>
                <a:gd name="connsiteX198" fmla="*/ 196395 w 752994"/>
                <a:gd name="connsiteY198" fmla="*/ 1071807 h 1333436"/>
                <a:gd name="connsiteX199" fmla="*/ 190880 w 752994"/>
                <a:gd name="connsiteY199" fmla="*/ 1067527 h 1333436"/>
                <a:gd name="connsiteX200" fmla="*/ 187210 w 752994"/>
                <a:gd name="connsiteY200" fmla="*/ 1068735 h 1333436"/>
                <a:gd name="connsiteX201" fmla="*/ 180062 w 752994"/>
                <a:gd name="connsiteY201" fmla="*/ 1066699 h 1333436"/>
                <a:gd name="connsiteX202" fmla="*/ 180466 w 752994"/>
                <a:gd name="connsiteY202" fmla="*/ 1053031 h 1333436"/>
                <a:gd name="connsiteX203" fmla="*/ 180062 w 752994"/>
                <a:gd name="connsiteY203" fmla="*/ 1045299 h 1333436"/>
                <a:gd name="connsiteX204" fmla="*/ 174144 w 752994"/>
                <a:gd name="connsiteY204" fmla="*/ 1044057 h 1333436"/>
                <a:gd name="connsiteX205" fmla="*/ 158426 w 752994"/>
                <a:gd name="connsiteY205" fmla="*/ 1042641 h 1333436"/>
                <a:gd name="connsiteX206" fmla="*/ 149857 w 752994"/>
                <a:gd name="connsiteY206" fmla="*/ 1035497 h 1333436"/>
                <a:gd name="connsiteX207" fmla="*/ 142497 w 752994"/>
                <a:gd name="connsiteY207" fmla="*/ 1028766 h 1333436"/>
                <a:gd name="connsiteX208" fmla="*/ 140864 w 752994"/>
                <a:gd name="connsiteY208" fmla="*/ 1020620 h 1333436"/>
                <a:gd name="connsiteX209" fmla="*/ 138212 w 752994"/>
                <a:gd name="connsiteY209" fmla="*/ 1013061 h 1333436"/>
                <a:gd name="connsiteX210" fmla="*/ 131064 w 752994"/>
                <a:gd name="connsiteY210" fmla="*/ 1007159 h 1333436"/>
                <a:gd name="connsiteX211" fmla="*/ 121264 w 752994"/>
                <a:gd name="connsiteY211" fmla="*/ 1005330 h 1333436"/>
                <a:gd name="connsiteX212" fmla="*/ 112483 w 752994"/>
                <a:gd name="connsiteY212" fmla="*/ 1001671 h 1333436"/>
                <a:gd name="connsiteX213" fmla="*/ 105950 w 752994"/>
                <a:gd name="connsiteY213" fmla="*/ 995734 h 1333436"/>
                <a:gd name="connsiteX214" fmla="*/ 97380 w 752994"/>
                <a:gd name="connsiteY214" fmla="*/ 994526 h 1333436"/>
                <a:gd name="connsiteX215" fmla="*/ 87984 w 752994"/>
                <a:gd name="connsiteY215" fmla="*/ 991040 h 1333436"/>
                <a:gd name="connsiteX216" fmla="*/ 80029 w 752994"/>
                <a:gd name="connsiteY216" fmla="*/ 985138 h 1333436"/>
                <a:gd name="connsiteX217" fmla="*/ 77166 w 752994"/>
                <a:gd name="connsiteY217" fmla="*/ 976164 h 1333436"/>
                <a:gd name="connsiteX218" fmla="*/ 79203 w 752994"/>
                <a:gd name="connsiteY218" fmla="*/ 970676 h 1333436"/>
                <a:gd name="connsiteX219" fmla="*/ 82470 w 752994"/>
                <a:gd name="connsiteY219" fmla="*/ 963117 h 1333436"/>
                <a:gd name="connsiteX220" fmla="*/ 84314 w 752994"/>
                <a:gd name="connsiteY220" fmla="*/ 954557 h 1333436"/>
                <a:gd name="connsiteX221" fmla="*/ 86351 w 752994"/>
                <a:gd name="connsiteY221" fmla="*/ 948033 h 1333436"/>
                <a:gd name="connsiteX222" fmla="*/ 86159 w 752994"/>
                <a:gd name="connsiteY222" fmla="*/ 942925 h 1333436"/>
                <a:gd name="connsiteX223" fmla="*/ 83085 w 752994"/>
                <a:gd name="connsiteY223" fmla="*/ 939853 h 1333436"/>
                <a:gd name="connsiteX224" fmla="*/ 77570 w 752994"/>
                <a:gd name="connsiteY224" fmla="*/ 937437 h 1333436"/>
                <a:gd name="connsiteX225" fmla="*/ 76763 w 752994"/>
                <a:gd name="connsiteY225" fmla="*/ 931915 h 1333436"/>
                <a:gd name="connsiteX226" fmla="*/ 78800 w 752994"/>
                <a:gd name="connsiteY226" fmla="*/ 927013 h 1333436"/>
                <a:gd name="connsiteX227" fmla="*/ 79626 w 752994"/>
                <a:gd name="connsiteY227" fmla="*/ 922526 h 1333436"/>
                <a:gd name="connsiteX228" fmla="*/ 77781 w 752994"/>
                <a:gd name="connsiteY228" fmla="*/ 919903 h 1333436"/>
                <a:gd name="connsiteX229" fmla="*/ 74303 w 752994"/>
                <a:gd name="connsiteY229" fmla="*/ 917418 h 1333436"/>
                <a:gd name="connsiteX230" fmla="*/ 71863 w 752994"/>
                <a:gd name="connsiteY230" fmla="*/ 915174 h 1333436"/>
                <a:gd name="connsiteX231" fmla="*/ 71652 w 752994"/>
                <a:gd name="connsiteY231" fmla="*/ 910894 h 1333436"/>
                <a:gd name="connsiteX232" fmla="*/ 70633 w 752994"/>
                <a:gd name="connsiteY232" fmla="*/ 906614 h 1333436"/>
                <a:gd name="connsiteX233" fmla="*/ 68385 w 752994"/>
                <a:gd name="connsiteY233" fmla="*/ 902749 h 1333436"/>
                <a:gd name="connsiteX234" fmla="*/ 61045 w 752994"/>
                <a:gd name="connsiteY234" fmla="*/ 889494 h 1333436"/>
                <a:gd name="connsiteX235" fmla="*/ 57971 w 752994"/>
                <a:gd name="connsiteY235" fmla="*/ 875619 h 1333436"/>
                <a:gd name="connsiteX236" fmla="*/ 52264 w 752994"/>
                <a:gd name="connsiteY236" fmla="*/ 862572 h 1333436"/>
                <a:gd name="connsiteX237" fmla="*/ 44309 w 752994"/>
                <a:gd name="connsiteY237" fmla="*/ 850561 h 1333436"/>
                <a:gd name="connsiteX238" fmla="*/ 45520 w 752994"/>
                <a:gd name="connsiteY238" fmla="*/ 827090 h 1333436"/>
                <a:gd name="connsiteX239" fmla="*/ 53071 w 752994"/>
                <a:gd name="connsiteY239" fmla="*/ 822396 h 1333436"/>
                <a:gd name="connsiteX240" fmla="*/ 57375 w 752994"/>
                <a:gd name="connsiteY240" fmla="*/ 816493 h 1333436"/>
                <a:gd name="connsiteX241" fmla="*/ 55319 w 752994"/>
                <a:gd name="connsiteY241" fmla="*/ 801617 h 1333436"/>
                <a:gd name="connsiteX242" fmla="*/ 48383 w 752994"/>
                <a:gd name="connsiteY242" fmla="*/ 802204 h 1333436"/>
                <a:gd name="connsiteX243" fmla="*/ 40428 w 752994"/>
                <a:gd name="connsiteY243" fmla="*/ 797924 h 1333436"/>
                <a:gd name="connsiteX244" fmla="*/ 37565 w 752994"/>
                <a:gd name="connsiteY244" fmla="*/ 790606 h 1333436"/>
                <a:gd name="connsiteX245" fmla="*/ 37565 w 752994"/>
                <a:gd name="connsiteY245" fmla="*/ 790399 h 1333436"/>
                <a:gd name="connsiteX246" fmla="*/ 35931 w 752994"/>
                <a:gd name="connsiteY246" fmla="*/ 785912 h 1333436"/>
                <a:gd name="connsiteX247" fmla="*/ 34510 w 752994"/>
                <a:gd name="connsiteY247" fmla="*/ 780597 h 1333436"/>
                <a:gd name="connsiteX248" fmla="*/ 36335 w 752994"/>
                <a:gd name="connsiteY248" fmla="*/ 774280 h 1333436"/>
                <a:gd name="connsiteX249" fmla="*/ 38180 w 752994"/>
                <a:gd name="connsiteY249" fmla="*/ 766721 h 1333436"/>
                <a:gd name="connsiteX250" fmla="*/ 37161 w 752994"/>
                <a:gd name="connsiteY250" fmla="*/ 760405 h 1333436"/>
                <a:gd name="connsiteX251" fmla="*/ 35720 w 752994"/>
                <a:gd name="connsiteY251" fmla="*/ 754710 h 1333436"/>
                <a:gd name="connsiteX252" fmla="*/ 36546 w 752994"/>
                <a:gd name="connsiteY252" fmla="*/ 748773 h 1333436"/>
                <a:gd name="connsiteX253" fmla="*/ 38372 w 752994"/>
                <a:gd name="connsiteY253" fmla="*/ 744528 h 1333436"/>
                <a:gd name="connsiteX254" fmla="*/ 41638 w 752994"/>
                <a:gd name="connsiteY254" fmla="*/ 744321 h 1333436"/>
                <a:gd name="connsiteX255" fmla="*/ 44713 w 752994"/>
                <a:gd name="connsiteY255" fmla="*/ 746357 h 1333436"/>
                <a:gd name="connsiteX256" fmla="*/ 47364 w 752994"/>
                <a:gd name="connsiteY256" fmla="*/ 753260 h 1333436"/>
                <a:gd name="connsiteX257" fmla="*/ 55742 w 752994"/>
                <a:gd name="connsiteY257" fmla="*/ 764305 h 1333436"/>
                <a:gd name="connsiteX258" fmla="*/ 56338 w 752994"/>
                <a:gd name="connsiteY258" fmla="*/ 761233 h 1333436"/>
                <a:gd name="connsiteX259" fmla="*/ 56145 w 752994"/>
                <a:gd name="connsiteY259" fmla="*/ 757368 h 1333436"/>
                <a:gd name="connsiteX260" fmla="*/ 54916 w 752994"/>
                <a:gd name="connsiteY260" fmla="*/ 748601 h 1333436"/>
                <a:gd name="connsiteX261" fmla="*/ 52879 w 752994"/>
                <a:gd name="connsiteY261" fmla="*/ 747358 h 1333436"/>
                <a:gd name="connsiteX262" fmla="*/ 51649 w 752994"/>
                <a:gd name="connsiteY262" fmla="*/ 745322 h 1333436"/>
                <a:gd name="connsiteX263" fmla="*/ 51649 w 752994"/>
                <a:gd name="connsiteY263" fmla="*/ 739212 h 1333436"/>
                <a:gd name="connsiteX264" fmla="*/ 50227 w 752994"/>
                <a:gd name="connsiteY264" fmla="*/ 734725 h 1333436"/>
                <a:gd name="connsiteX265" fmla="*/ 48786 w 752994"/>
                <a:gd name="connsiteY265" fmla="*/ 731446 h 1333436"/>
                <a:gd name="connsiteX266" fmla="*/ 54512 w 752994"/>
                <a:gd name="connsiteY266" fmla="*/ 726372 h 1333436"/>
                <a:gd name="connsiteX267" fmla="*/ 59815 w 752994"/>
                <a:gd name="connsiteY267" fmla="*/ 725130 h 1333436"/>
                <a:gd name="connsiteX268" fmla="*/ 58182 w 752994"/>
                <a:gd name="connsiteY268" fmla="*/ 722886 h 1333436"/>
                <a:gd name="connsiteX269" fmla="*/ 51861 w 752994"/>
                <a:gd name="connsiteY269" fmla="*/ 717985 h 1333436"/>
                <a:gd name="connsiteX270" fmla="*/ 46749 w 752994"/>
                <a:gd name="connsiteY270" fmla="*/ 729617 h 1333436"/>
                <a:gd name="connsiteX271" fmla="*/ 40831 w 752994"/>
                <a:gd name="connsiteY271" fmla="*/ 739212 h 1333436"/>
                <a:gd name="connsiteX272" fmla="*/ 39601 w 752994"/>
                <a:gd name="connsiteY272" fmla="*/ 738798 h 1333436"/>
                <a:gd name="connsiteX273" fmla="*/ 39409 w 752994"/>
                <a:gd name="connsiteY273" fmla="*/ 738591 h 1333436"/>
                <a:gd name="connsiteX274" fmla="*/ 37161 w 752994"/>
                <a:gd name="connsiteY274" fmla="*/ 734725 h 1333436"/>
                <a:gd name="connsiteX275" fmla="*/ 32665 w 752994"/>
                <a:gd name="connsiteY275" fmla="*/ 727788 h 1333436"/>
                <a:gd name="connsiteX276" fmla="*/ 26747 w 752994"/>
                <a:gd name="connsiteY276" fmla="*/ 719435 h 1333436"/>
                <a:gd name="connsiteX277" fmla="*/ 23884 w 752994"/>
                <a:gd name="connsiteY277" fmla="*/ 717812 h 1333436"/>
                <a:gd name="connsiteX278" fmla="*/ 24710 w 752994"/>
                <a:gd name="connsiteY278" fmla="*/ 709632 h 1333436"/>
                <a:gd name="connsiteX279" fmla="*/ 27554 w 752994"/>
                <a:gd name="connsiteY279" fmla="*/ 701694 h 1333436"/>
                <a:gd name="connsiteX280" fmla="*/ 24902 w 752994"/>
                <a:gd name="connsiteY280" fmla="*/ 696171 h 1333436"/>
                <a:gd name="connsiteX281" fmla="*/ 24095 w 752994"/>
                <a:gd name="connsiteY281" fmla="*/ 687818 h 1333436"/>
                <a:gd name="connsiteX282" fmla="*/ 22462 w 752994"/>
                <a:gd name="connsiteY282" fmla="*/ 682330 h 1333436"/>
                <a:gd name="connsiteX283" fmla="*/ 17159 w 752994"/>
                <a:gd name="connsiteY283" fmla="*/ 677636 h 1333436"/>
                <a:gd name="connsiteX284" fmla="*/ 14296 w 752994"/>
                <a:gd name="connsiteY284" fmla="*/ 671492 h 1333436"/>
                <a:gd name="connsiteX285" fmla="*/ 12451 w 752994"/>
                <a:gd name="connsiteY285" fmla="*/ 665797 h 1333436"/>
                <a:gd name="connsiteX286" fmla="*/ 5111 w 752994"/>
                <a:gd name="connsiteY286" fmla="*/ 654994 h 1333436"/>
                <a:gd name="connsiteX287" fmla="*/ 2248 w 752994"/>
                <a:gd name="connsiteY287" fmla="*/ 645605 h 1333436"/>
                <a:gd name="connsiteX288" fmla="*/ 4496 w 752994"/>
                <a:gd name="connsiteY288" fmla="*/ 640497 h 1333436"/>
                <a:gd name="connsiteX289" fmla="*/ 6744 w 752994"/>
                <a:gd name="connsiteY289" fmla="*/ 632765 h 1333436"/>
                <a:gd name="connsiteX290" fmla="*/ 6744 w 752994"/>
                <a:gd name="connsiteY290" fmla="*/ 628485 h 1333436"/>
                <a:gd name="connsiteX291" fmla="*/ 6533 w 752994"/>
                <a:gd name="connsiteY291" fmla="*/ 620305 h 1333436"/>
                <a:gd name="connsiteX292" fmla="*/ 7359 w 752994"/>
                <a:gd name="connsiteY292" fmla="*/ 611745 h 1333436"/>
                <a:gd name="connsiteX293" fmla="*/ 11836 w 752994"/>
                <a:gd name="connsiteY293" fmla="*/ 602978 h 1333436"/>
                <a:gd name="connsiteX294" fmla="*/ 15103 w 752994"/>
                <a:gd name="connsiteY294" fmla="*/ 591760 h 1333436"/>
                <a:gd name="connsiteX295" fmla="*/ 14488 w 752994"/>
                <a:gd name="connsiteY295" fmla="*/ 584029 h 1333436"/>
                <a:gd name="connsiteX296" fmla="*/ 13873 w 752994"/>
                <a:gd name="connsiteY296" fmla="*/ 578299 h 1333436"/>
                <a:gd name="connsiteX297" fmla="*/ 10626 w 752994"/>
                <a:gd name="connsiteY297" fmla="*/ 568531 h 1333436"/>
                <a:gd name="connsiteX298" fmla="*/ 3670 w 752994"/>
                <a:gd name="connsiteY298" fmla="*/ 558107 h 1333436"/>
                <a:gd name="connsiteX299" fmla="*/ 0 w 752994"/>
                <a:gd name="connsiteY299" fmla="*/ 551377 h 1333436"/>
                <a:gd name="connsiteX300" fmla="*/ 0 w 752994"/>
                <a:gd name="connsiteY300" fmla="*/ 550997 h 1333436"/>
                <a:gd name="connsiteX301" fmla="*/ 4900 w 752994"/>
                <a:gd name="connsiteY301" fmla="*/ 531220 h 1333436"/>
                <a:gd name="connsiteX302" fmla="*/ 13873 w 752994"/>
                <a:gd name="connsiteY302" fmla="*/ 520589 h 1333436"/>
                <a:gd name="connsiteX303" fmla="*/ 18369 w 752994"/>
                <a:gd name="connsiteY303" fmla="*/ 516516 h 1333436"/>
                <a:gd name="connsiteX304" fmla="*/ 18773 w 752994"/>
                <a:gd name="connsiteY304" fmla="*/ 514272 h 1333436"/>
                <a:gd name="connsiteX305" fmla="*/ 23077 w 752994"/>
                <a:gd name="connsiteY305" fmla="*/ 506127 h 1333436"/>
                <a:gd name="connsiteX306" fmla="*/ 23884 w 752994"/>
                <a:gd name="connsiteY306" fmla="*/ 502261 h 1333436"/>
                <a:gd name="connsiteX307" fmla="*/ 23692 w 752994"/>
                <a:gd name="connsiteY307" fmla="*/ 496738 h 1333436"/>
                <a:gd name="connsiteX308" fmla="*/ 30013 w 752994"/>
                <a:gd name="connsiteY308" fmla="*/ 486556 h 1333436"/>
                <a:gd name="connsiteX309" fmla="*/ 36546 w 752994"/>
                <a:gd name="connsiteY309" fmla="*/ 470230 h 1333436"/>
                <a:gd name="connsiteX310" fmla="*/ 36546 w 752994"/>
                <a:gd name="connsiteY310" fmla="*/ 462671 h 1333436"/>
                <a:gd name="connsiteX311" fmla="*/ 36335 w 752994"/>
                <a:gd name="connsiteY311" fmla="*/ 461670 h 1333436"/>
                <a:gd name="connsiteX312" fmla="*/ 35931 w 752994"/>
                <a:gd name="connsiteY312" fmla="*/ 453110 h 1333436"/>
                <a:gd name="connsiteX313" fmla="*/ 38583 w 752994"/>
                <a:gd name="connsiteY313" fmla="*/ 442514 h 1333436"/>
                <a:gd name="connsiteX314" fmla="*/ 41043 w 752994"/>
                <a:gd name="connsiteY314" fmla="*/ 436991 h 1333436"/>
                <a:gd name="connsiteX315" fmla="*/ 41650 w 752994"/>
                <a:gd name="connsiteY315" fmla="*/ 437186 h 1333436"/>
                <a:gd name="connsiteX316" fmla="*/ 41239 w 752994"/>
                <a:gd name="connsiteY316" fmla="*/ 436549 h 1333436"/>
                <a:gd name="connsiteX317" fmla="*/ 37778 w 752994"/>
                <a:gd name="connsiteY317" fmla="*/ 433894 h 1333436"/>
                <a:gd name="connsiteX318" fmla="*/ 37169 w 752994"/>
                <a:gd name="connsiteY318" fmla="*/ 432261 h 1333436"/>
                <a:gd name="connsiteX319" fmla="*/ 37365 w 752994"/>
                <a:gd name="connsiteY319" fmla="*/ 429198 h 1333436"/>
                <a:gd name="connsiteX320" fmla="*/ 36756 w 752994"/>
                <a:gd name="connsiteY320" fmla="*/ 422272 h 1333436"/>
                <a:gd name="connsiteX321" fmla="*/ 36952 w 752994"/>
                <a:gd name="connsiteY321" fmla="*/ 418800 h 1333436"/>
                <a:gd name="connsiteX322" fmla="*/ 36756 w 752994"/>
                <a:gd name="connsiteY322" fmla="*/ 412487 h 1333436"/>
                <a:gd name="connsiteX323" fmla="*/ 40433 w 752994"/>
                <a:gd name="connsiteY323" fmla="*/ 406174 h 1333436"/>
                <a:gd name="connsiteX324" fmla="*/ 44720 w 752994"/>
                <a:gd name="connsiteY324" fmla="*/ 399435 h 1333436"/>
                <a:gd name="connsiteX325" fmla="*/ 44110 w 752994"/>
                <a:gd name="connsiteY325" fmla="*/ 389651 h 1333436"/>
                <a:gd name="connsiteX326" fmla="*/ 43894 w 752994"/>
                <a:gd name="connsiteY326" fmla="*/ 378437 h 1333436"/>
                <a:gd name="connsiteX327" fmla="*/ 47158 w 752994"/>
                <a:gd name="connsiteY327" fmla="*/ 371102 h 1333436"/>
                <a:gd name="connsiteX328" fmla="*/ 55731 w 752994"/>
                <a:gd name="connsiteY328" fmla="*/ 360909 h 1333436"/>
                <a:gd name="connsiteX329" fmla="*/ 57580 w 752994"/>
                <a:gd name="connsiteY329" fmla="*/ 355804 h 1333436"/>
                <a:gd name="connsiteX330" fmla="*/ 62673 w 752994"/>
                <a:gd name="connsiteY330" fmla="*/ 349695 h 1333436"/>
                <a:gd name="connsiteX331" fmla="*/ 65937 w 752994"/>
                <a:gd name="connsiteY331" fmla="*/ 348470 h 1333436"/>
                <a:gd name="connsiteX332" fmla="*/ 68395 w 752994"/>
                <a:gd name="connsiteY332" fmla="*/ 348674 h 1333436"/>
                <a:gd name="connsiteX333" fmla="*/ 70224 w 752994"/>
                <a:gd name="connsiteY333" fmla="*/ 347449 h 1333436"/>
                <a:gd name="connsiteX334" fmla="*/ 67785 w 752994"/>
                <a:gd name="connsiteY334" fmla="*/ 345203 h 1333436"/>
                <a:gd name="connsiteX335" fmla="*/ 65524 w 752994"/>
                <a:gd name="connsiteY335" fmla="*/ 343178 h 1333436"/>
                <a:gd name="connsiteX336" fmla="*/ 73095 w 752994"/>
                <a:gd name="connsiteY336" fmla="*/ 333376 h 1333436"/>
                <a:gd name="connsiteX337" fmla="*/ 73291 w 752994"/>
                <a:gd name="connsiteY337" fmla="*/ 333376 h 1333436"/>
                <a:gd name="connsiteX338" fmla="*/ 77991 w 752994"/>
                <a:gd name="connsiteY338" fmla="*/ 325838 h 1333436"/>
                <a:gd name="connsiteX339" fmla="*/ 82671 w 752994"/>
                <a:gd name="connsiteY339" fmla="*/ 313619 h 1333436"/>
                <a:gd name="connsiteX340" fmla="*/ 87980 w 752994"/>
                <a:gd name="connsiteY340" fmla="*/ 303018 h 1333436"/>
                <a:gd name="connsiteX341" fmla="*/ 92267 w 752994"/>
                <a:gd name="connsiteY341" fmla="*/ 291191 h 1333436"/>
                <a:gd name="connsiteX342" fmla="*/ 96553 w 752994"/>
                <a:gd name="connsiteY342" fmla="*/ 281202 h 1333436"/>
                <a:gd name="connsiteX343" fmla="*/ 99621 w 752994"/>
                <a:gd name="connsiteY343" fmla="*/ 274481 h 1333436"/>
                <a:gd name="connsiteX344" fmla="*/ 103082 w 752994"/>
                <a:gd name="connsiteY344" fmla="*/ 262450 h 1333436"/>
                <a:gd name="connsiteX345" fmla="*/ 107172 w 752994"/>
                <a:gd name="connsiteY345" fmla="*/ 254299 h 1333436"/>
                <a:gd name="connsiteX346" fmla="*/ 112481 w 752994"/>
                <a:gd name="connsiteY346" fmla="*/ 243697 h 1333436"/>
                <a:gd name="connsiteX347" fmla="*/ 117181 w 752994"/>
                <a:gd name="connsiteY347" fmla="*/ 232279 h 1333436"/>
                <a:gd name="connsiteX348" fmla="*/ 125951 w 752994"/>
                <a:gd name="connsiteY348" fmla="*/ 217389 h 1333436"/>
                <a:gd name="connsiteX349" fmla="*/ 136156 w 752994"/>
                <a:gd name="connsiteY349" fmla="*/ 202925 h 1333436"/>
                <a:gd name="connsiteX350" fmla="*/ 138811 w 752994"/>
                <a:gd name="connsiteY350" fmla="*/ 183339 h 1333436"/>
                <a:gd name="connsiteX351" fmla="*/ 148801 w 752994"/>
                <a:gd name="connsiteY351" fmla="*/ 167445 h 1333436"/>
                <a:gd name="connsiteX352" fmla="*/ 159616 w 752994"/>
                <a:gd name="connsiteY352" fmla="*/ 170712 h 1333436"/>
                <a:gd name="connsiteX353" fmla="*/ 173105 w 752994"/>
                <a:gd name="connsiteY353" fmla="*/ 175188 h 1333436"/>
                <a:gd name="connsiteX354" fmla="*/ 175347 w 752994"/>
                <a:gd name="connsiteY354" fmla="*/ 175188 h 1333436"/>
                <a:gd name="connsiteX355" fmla="*/ 175347 w 752994"/>
                <a:gd name="connsiteY355" fmla="*/ 173758 h 1333436"/>
                <a:gd name="connsiteX356" fmla="*/ 184975 w 752994"/>
                <a:gd name="connsiteY356" fmla="*/ 187393 h 1333436"/>
                <a:gd name="connsiteX357" fmla="*/ 184762 w 752994"/>
                <a:gd name="connsiteY357" fmla="*/ 184637 h 1333436"/>
                <a:gd name="connsiteX358" fmla="*/ 174971 w 752994"/>
                <a:gd name="connsiteY358" fmla="*/ 170774 h 1333436"/>
                <a:gd name="connsiteX359" fmla="*/ 174971 w 752994"/>
                <a:gd name="connsiteY359" fmla="*/ 169550 h 1333436"/>
                <a:gd name="connsiteX360" fmla="*/ 158851 w 752994"/>
                <a:gd name="connsiteY360" fmla="*/ 156924 h 1333436"/>
                <a:gd name="connsiteX361" fmla="*/ 147025 w 752994"/>
                <a:gd name="connsiteY361" fmla="*/ 145709 h 1333436"/>
                <a:gd name="connsiteX362" fmla="*/ 154364 w 752994"/>
                <a:gd name="connsiteY362" fmla="*/ 136335 h 1333436"/>
                <a:gd name="connsiteX363" fmla="*/ 161511 w 752994"/>
                <a:gd name="connsiteY363" fmla="*/ 131042 h 1333436"/>
                <a:gd name="connsiteX364" fmla="*/ 160902 w 752994"/>
                <a:gd name="connsiteY364" fmla="*/ 128384 h 1333436"/>
                <a:gd name="connsiteX365" fmla="*/ 160277 w 752994"/>
                <a:gd name="connsiteY365" fmla="*/ 127778 h 1333436"/>
                <a:gd name="connsiteX366" fmla="*/ 154973 w 752994"/>
                <a:gd name="connsiteY366" fmla="*/ 122077 h 1333436"/>
                <a:gd name="connsiteX367" fmla="*/ 160277 w 752994"/>
                <a:gd name="connsiteY367" fmla="*/ 115140 h 1333436"/>
                <a:gd name="connsiteX368" fmla="*/ 165181 w 752994"/>
                <a:gd name="connsiteY368" fmla="*/ 108215 h 1333436"/>
                <a:gd name="connsiteX369" fmla="*/ 161303 w 752994"/>
                <a:gd name="connsiteY369" fmla="*/ 104146 h 1333436"/>
                <a:gd name="connsiteX370" fmla="*/ 157842 w 752994"/>
                <a:gd name="connsiteY370" fmla="*/ 104542 h 1333436"/>
                <a:gd name="connsiteX371" fmla="*/ 157024 w 752994"/>
                <a:gd name="connsiteY371" fmla="*/ 102304 h 1333436"/>
                <a:gd name="connsiteX372" fmla="*/ 160694 w 752994"/>
                <a:gd name="connsiteY372" fmla="*/ 55437 h 1333436"/>
                <a:gd name="connsiteX373" fmla="*/ 160486 w 752994"/>
                <a:gd name="connsiteY373" fmla="*/ 31991 h 1333436"/>
                <a:gd name="connsiteX374" fmla="*/ 164972 w 752994"/>
                <a:gd name="connsiteY374" fmla="*/ 18141 h 1333436"/>
                <a:gd name="connsiteX375" fmla="*/ 171911 w 752994"/>
                <a:gd name="connsiteY375" fmla="*/ 11204 h 1333436"/>
                <a:gd name="connsiteX376" fmla="*/ 187406 w 752994"/>
                <a:gd name="connsiteY376" fmla="*/ 21801 h 1333436"/>
                <a:gd name="connsiteX377" fmla="*/ 210866 w 752994"/>
                <a:gd name="connsiteY377" fmla="*/ 37086 h 1333436"/>
                <a:gd name="connsiteX378" fmla="*/ 219230 w 752994"/>
                <a:gd name="connsiteY378" fmla="*/ 41166 h 1333436"/>
                <a:gd name="connsiteX379" fmla="*/ 226778 w 752994"/>
                <a:gd name="connsiteY379" fmla="*/ 47486 h 1333436"/>
                <a:gd name="connsiteX380" fmla="*/ 236152 w 752994"/>
                <a:gd name="connsiteY380" fmla="*/ 52370 h 1333436"/>
                <a:gd name="connsiteX381" fmla="*/ 239629 w 752994"/>
                <a:gd name="connsiteY381" fmla="*/ 58491 h 1333436"/>
                <a:gd name="connsiteX382" fmla="*/ 239629 w 752994"/>
                <a:gd name="connsiteY382" fmla="*/ 63376 h 1333436"/>
                <a:gd name="connsiteX383" fmla="*/ 236568 w 752994"/>
                <a:gd name="connsiteY383" fmla="*/ 67457 h 1333436"/>
                <a:gd name="connsiteX384" fmla="*/ 231264 w 752994"/>
                <a:gd name="connsiteY384" fmla="*/ 69905 h 1333436"/>
                <a:gd name="connsiteX385" fmla="*/ 216778 w 752994"/>
                <a:gd name="connsiteY385" fmla="*/ 82741 h 1333436"/>
                <a:gd name="connsiteX386" fmla="*/ 214134 w 752994"/>
                <a:gd name="connsiteY386" fmla="*/ 93536 h 1333436"/>
                <a:gd name="connsiteX387" fmla="*/ 214535 w 752994"/>
                <a:gd name="connsiteY387" fmla="*/ 96801 h 1333436"/>
                <a:gd name="connsiteX388" fmla="*/ 216378 w 752994"/>
                <a:gd name="connsiteY388" fmla="*/ 96801 h 1333436"/>
                <a:gd name="connsiteX389" fmla="*/ 230046 w 752994"/>
                <a:gd name="connsiteY389" fmla="*/ 85387 h 1333436"/>
                <a:gd name="connsiteX390" fmla="*/ 243298 w 752994"/>
                <a:gd name="connsiteY390" fmla="*/ 75198 h 1333436"/>
                <a:gd name="connsiteX391" fmla="*/ 246760 w 752994"/>
                <a:gd name="connsiteY391" fmla="*/ 77646 h 1333436"/>
                <a:gd name="connsiteX392" fmla="*/ 255541 w 752994"/>
                <a:gd name="connsiteY392" fmla="*/ 63376 h 1333436"/>
                <a:gd name="connsiteX393" fmla="*/ 259611 w 752994"/>
                <a:gd name="connsiteY393" fmla="*/ 43405 h 1333436"/>
                <a:gd name="connsiteX394" fmla="*/ 256967 w 752994"/>
                <a:gd name="connsiteY394" fmla="*/ 38520 h 1333436"/>
                <a:gd name="connsiteX395" fmla="*/ 253906 w 752994"/>
                <a:gd name="connsiteY395" fmla="*/ 34242 h 1333436"/>
                <a:gd name="connsiteX396" fmla="*/ 256967 w 752994"/>
                <a:gd name="connsiteY396" fmla="*/ 30161 h 1333436"/>
                <a:gd name="connsiteX397" fmla="*/ 262063 w 752994"/>
                <a:gd name="connsiteY397" fmla="*/ 27712 h 1333436"/>
                <a:gd name="connsiteX398" fmla="*/ 264915 w 752994"/>
                <a:gd name="connsiteY398" fmla="*/ 23026 h 1333436"/>
                <a:gd name="connsiteX399" fmla="*/ 267976 w 752994"/>
                <a:gd name="connsiteY399" fmla="*/ 22618 h 1333436"/>
                <a:gd name="connsiteX400" fmla="*/ 270427 w 752994"/>
                <a:gd name="connsiteY400" fmla="*/ 20787 h 1333436"/>
                <a:gd name="connsiteX401" fmla="*/ 263088 w 752994"/>
                <a:gd name="connsiteY401" fmla="*/ 13652 h 1333436"/>
                <a:gd name="connsiteX402" fmla="*/ 255541 w 752994"/>
                <a:gd name="connsiteY402" fmla="*/ 3055 h 1333436"/>
                <a:gd name="connsiteX403" fmla="*/ 256358 w 752994"/>
                <a:gd name="connsiteY403" fmla="*/ 1224 h 1333436"/>
                <a:gd name="connsiteX404" fmla="*/ 257159 w 752994"/>
                <a:gd name="connsiteY404"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7539 w 752994"/>
                <a:gd name="connsiteY19" fmla="*/ 290781 h 1333436"/>
                <a:gd name="connsiteX20" fmla="*/ 453944 w 752994"/>
                <a:gd name="connsiteY20" fmla="*/ 286495 h 1333436"/>
                <a:gd name="connsiteX21" fmla="*/ 457539 w 752994"/>
                <a:gd name="connsiteY21" fmla="*/ 290781 h 1333436"/>
                <a:gd name="connsiteX22" fmla="*/ 184180 w 752994"/>
                <a:gd name="connsiteY22" fmla="*/ 213866 h 1333436"/>
                <a:gd name="connsiteX23" fmla="*/ 184117 w 752994"/>
                <a:gd name="connsiteY23" fmla="*/ 214326 h 1333436"/>
                <a:gd name="connsiteX24" fmla="*/ 185553 w 752994"/>
                <a:gd name="connsiteY24" fmla="*/ 222494 h 1333436"/>
                <a:gd name="connsiteX25" fmla="*/ 188600 w 752994"/>
                <a:gd name="connsiteY25" fmla="*/ 226970 h 1333436"/>
                <a:gd name="connsiteX26" fmla="*/ 195542 w 752994"/>
                <a:gd name="connsiteY26" fmla="*/ 231871 h 1333436"/>
                <a:gd name="connsiteX27" fmla="*/ 203093 w 752994"/>
                <a:gd name="connsiteY27" fmla="*/ 233896 h 1333436"/>
                <a:gd name="connsiteX28" fmla="*/ 217192 w 752994"/>
                <a:gd name="connsiteY28" fmla="*/ 232075 h 1333436"/>
                <a:gd name="connsiteX29" fmla="*/ 225136 w 752994"/>
                <a:gd name="connsiteY29" fmla="*/ 229829 h 1333436"/>
                <a:gd name="connsiteX30" fmla="*/ 235558 w 752994"/>
                <a:gd name="connsiteY30" fmla="*/ 232483 h 1333436"/>
                <a:gd name="connsiteX31" fmla="*/ 242499 w 752994"/>
                <a:gd name="connsiteY31" fmla="*/ 237163 h 1333436"/>
                <a:gd name="connsiteX32" fmla="*/ 248418 w 752994"/>
                <a:gd name="connsiteY32" fmla="*/ 244701 h 1333436"/>
                <a:gd name="connsiteX33" fmla="*/ 255359 w 752994"/>
                <a:gd name="connsiteY33" fmla="*/ 244906 h 1333436"/>
                <a:gd name="connsiteX34" fmla="*/ 258210 w 752994"/>
                <a:gd name="connsiteY34" fmla="*/ 244906 h 1333436"/>
                <a:gd name="connsiteX35" fmla="*/ 263303 w 752994"/>
                <a:gd name="connsiteY35" fmla="*/ 246131 h 1333436"/>
                <a:gd name="connsiteX36" fmla="*/ 269438 w 752994"/>
                <a:gd name="connsiteY36" fmla="*/ 243697 h 1333436"/>
                <a:gd name="connsiteX37" fmla="*/ 274944 w 752994"/>
                <a:gd name="connsiteY37" fmla="*/ 241451 h 1333436"/>
                <a:gd name="connsiteX38" fmla="*/ 281276 w 752994"/>
                <a:gd name="connsiteY38" fmla="*/ 245722 h 1333436"/>
                <a:gd name="connsiteX39" fmla="*/ 289240 w 752994"/>
                <a:gd name="connsiteY39" fmla="*/ 250419 h 1333436"/>
                <a:gd name="connsiteX40" fmla="*/ 297597 w 752994"/>
                <a:gd name="connsiteY40" fmla="*/ 248581 h 1333436"/>
                <a:gd name="connsiteX41" fmla="*/ 310261 w 752994"/>
                <a:gd name="connsiteY41" fmla="*/ 246539 h 1333436"/>
                <a:gd name="connsiteX42" fmla="*/ 324340 w 752994"/>
                <a:gd name="connsiteY42" fmla="*/ 244497 h 1333436"/>
                <a:gd name="connsiteX43" fmla="*/ 333523 w 752994"/>
                <a:gd name="connsiteY43" fmla="*/ 243289 h 1333436"/>
                <a:gd name="connsiteX44" fmla="*/ 341271 w 752994"/>
                <a:gd name="connsiteY44" fmla="*/ 246539 h 1333436"/>
                <a:gd name="connsiteX45" fmla="*/ 348428 w 752994"/>
                <a:gd name="connsiteY45" fmla="*/ 250011 h 1333436"/>
                <a:gd name="connsiteX46" fmla="*/ 351279 w 752994"/>
                <a:gd name="connsiteY46" fmla="*/ 247356 h 1333436"/>
                <a:gd name="connsiteX47" fmla="*/ 355566 w 752994"/>
                <a:gd name="connsiteY47" fmla="*/ 244293 h 1333436"/>
                <a:gd name="connsiteX48" fmla="*/ 365772 w 752994"/>
                <a:gd name="connsiteY48" fmla="*/ 248785 h 1333436"/>
                <a:gd name="connsiteX49" fmla="*/ 381483 w 752994"/>
                <a:gd name="connsiteY49" fmla="*/ 254912 h 1333436"/>
                <a:gd name="connsiteX50" fmla="*/ 381896 w 752994"/>
                <a:gd name="connsiteY50" fmla="*/ 255320 h 1333436"/>
                <a:gd name="connsiteX51" fmla="*/ 395366 w 752994"/>
                <a:gd name="connsiteY51" fmla="*/ 257753 h 1333436"/>
                <a:gd name="connsiteX52" fmla="*/ 414145 w 752994"/>
                <a:gd name="connsiteY52" fmla="*/ 262450 h 1333436"/>
                <a:gd name="connsiteX53" fmla="*/ 431292 w 752994"/>
                <a:gd name="connsiteY53" fmla="*/ 268151 h 1333436"/>
                <a:gd name="connsiteX54" fmla="*/ 445196 w 752994"/>
                <a:gd name="connsiteY54" fmla="*/ 269890 h 1333436"/>
                <a:gd name="connsiteX55" fmla="*/ 444145 w 752994"/>
                <a:gd name="connsiteY55" fmla="*/ 267441 h 1333436"/>
                <a:gd name="connsiteX56" fmla="*/ 444145 w 752994"/>
                <a:gd name="connsiteY56" fmla="*/ 267034 h 1333436"/>
                <a:gd name="connsiteX57" fmla="*/ 444155 w 752994"/>
                <a:gd name="connsiteY57" fmla="*/ 266811 h 1333436"/>
                <a:gd name="connsiteX58" fmla="*/ 430733 w 752994"/>
                <a:gd name="connsiteY58" fmla="*/ 265139 h 1333436"/>
                <a:gd name="connsiteX59" fmla="*/ 413603 w 752994"/>
                <a:gd name="connsiteY59" fmla="*/ 259426 h 1333436"/>
                <a:gd name="connsiteX60" fmla="*/ 394839 w 752994"/>
                <a:gd name="connsiteY60" fmla="*/ 254739 h 1333436"/>
                <a:gd name="connsiteX61" fmla="*/ 381379 w 752994"/>
                <a:gd name="connsiteY61" fmla="*/ 252303 h 1333436"/>
                <a:gd name="connsiteX62" fmla="*/ 380962 w 752994"/>
                <a:gd name="connsiteY62" fmla="*/ 251895 h 1333436"/>
                <a:gd name="connsiteX63" fmla="*/ 365258 w 752994"/>
                <a:gd name="connsiteY63" fmla="*/ 245774 h 1333436"/>
                <a:gd name="connsiteX64" fmla="*/ 355067 w 752994"/>
                <a:gd name="connsiteY64" fmla="*/ 241285 h 1333436"/>
                <a:gd name="connsiteX65" fmla="*/ 350789 w 752994"/>
                <a:gd name="connsiteY65" fmla="*/ 244352 h 1333436"/>
                <a:gd name="connsiteX66" fmla="*/ 347920 w 752994"/>
                <a:gd name="connsiteY66" fmla="*/ 246998 h 1333436"/>
                <a:gd name="connsiteX67" fmla="*/ 340789 w 752994"/>
                <a:gd name="connsiteY67" fmla="*/ 243536 h 1333436"/>
                <a:gd name="connsiteX68" fmla="*/ 333034 w 752994"/>
                <a:gd name="connsiteY68" fmla="*/ 240271 h 1333436"/>
                <a:gd name="connsiteX69" fmla="*/ 323868 w 752994"/>
                <a:gd name="connsiteY69" fmla="*/ 241495 h 1333436"/>
                <a:gd name="connsiteX70" fmla="*/ 309783 w 752994"/>
                <a:gd name="connsiteY70" fmla="*/ 243536 h 1333436"/>
                <a:gd name="connsiteX71" fmla="*/ 297140 w 752994"/>
                <a:gd name="connsiteY71" fmla="*/ 245576 h 1333436"/>
                <a:gd name="connsiteX72" fmla="*/ 288775 w 752994"/>
                <a:gd name="connsiteY72" fmla="*/ 247406 h 1333436"/>
                <a:gd name="connsiteX73" fmla="*/ 280827 w 752994"/>
                <a:gd name="connsiteY73" fmla="*/ 242720 h 1333436"/>
                <a:gd name="connsiteX74" fmla="*/ 274497 w 752994"/>
                <a:gd name="connsiteY74" fmla="*/ 238441 h 1333436"/>
                <a:gd name="connsiteX75" fmla="*/ 269001 w 752994"/>
                <a:gd name="connsiteY75" fmla="*/ 240679 h 1333436"/>
                <a:gd name="connsiteX76" fmla="*/ 262880 w 752994"/>
                <a:gd name="connsiteY76" fmla="*/ 243128 h 1333436"/>
                <a:gd name="connsiteX77" fmla="*/ 260028 w 752994"/>
                <a:gd name="connsiteY77" fmla="*/ 242720 h 1333436"/>
                <a:gd name="connsiteX78" fmla="*/ 257784 w 752994"/>
                <a:gd name="connsiteY78" fmla="*/ 241904 h 1333436"/>
                <a:gd name="connsiteX79" fmla="*/ 247994 w 752994"/>
                <a:gd name="connsiteY79" fmla="*/ 241693 h 1333436"/>
                <a:gd name="connsiteX80" fmla="*/ 242081 w 752994"/>
                <a:gd name="connsiteY80" fmla="*/ 234162 h 1333436"/>
                <a:gd name="connsiteX81" fmla="*/ 235142 w 752994"/>
                <a:gd name="connsiteY81" fmla="*/ 229476 h 1333436"/>
                <a:gd name="connsiteX82" fmla="*/ 224742 w 752994"/>
                <a:gd name="connsiteY82" fmla="*/ 226817 h 1333436"/>
                <a:gd name="connsiteX83" fmla="*/ 216778 w 752994"/>
                <a:gd name="connsiteY83" fmla="*/ 229068 h 1333436"/>
                <a:gd name="connsiteX84" fmla="*/ 202709 w 752994"/>
                <a:gd name="connsiteY84" fmla="*/ 230898 h 1333436"/>
                <a:gd name="connsiteX85" fmla="*/ 195162 w 752994"/>
                <a:gd name="connsiteY85" fmla="*/ 228857 h 1333436"/>
                <a:gd name="connsiteX86" fmla="*/ 188223 w 752994"/>
                <a:gd name="connsiteY86" fmla="*/ 223973 h 1333436"/>
                <a:gd name="connsiteX87" fmla="*/ 185163 w 752994"/>
                <a:gd name="connsiteY87" fmla="*/ 219484 h 1333436"/>
                <a:gd name="connsiteX88" fmla="*/ 184180 w 752994"/>
                <a:gd name="connsiteY88" fmla="*/ 213866 h 1333436"/>
                <a:gd name="connsiteX89" fmla="*/ 257159 w 752994"/>
                <a:gd name="connsiteY89" fmla="*/ 0 h 1333436"/>
                <a:gd name="connsiteX90" fmla="*/ 493147 w 752994"/>
                <a:gd name="connsiteY90" fmla="*/ 73157 h 1333436"/>
                <a:gd name="connsiteX91" fmla="*/ 492970 w 752994"/>
                <a:gd name="connsiteY91" fmla="*/ 73792 h 1333436"/>
                <a:gd name="connsiteX92" fmla="*/ 525816 w 752994"/>
                <a:gd name="connsiteY92" fmla="*/ 82491 h 1333436"/>
                <a:gd name="connsiteX93" fmla="*/ 520098 w 752994"/>
                <a:gd name="connsiteY93" fmla="*/ 111245 h 1333436"/>
                <a:gd name="connsiteX94" fmla="*/ 512552 w 752994"/>
                <a:gd name="connsiteY94" fmla="*/ 143854 h 1333436"/>
                <a:gd name="connsiteX95" fmla="*/ 517849 w 752994"/>
                <a:gd name="connsiteY95" fmla="*/ 157740 h 1333436"/>
                <a:gd name="connsiteX96" fmla="*/ 523160 w 752994"/>
                <a:gd name="connsiteY96" fmla="*/ 172009 h 1333436"/>
                <a:gd name="connsiteX97" fmla="*/ 521535 w 752994"/>
                <a:gd name="connsiteY97" fmla="*/ 178928 h 1333436"/>
                <a:gd name="connsiteX98" fmla="*/ 520098 w 752994"/>
                <a:gd name="connsiteY98" fmla="*/ 186279 h 1333436"/>
                <a:gd name="connsiteX99" fmla="*/ 526019 w 752994"/>
                <a:gd name="connsiteY99" fmla="*/ 193629 h 1333436"/>
                <a:gd name="connsiteX100" fmla="*/ 537251 w 752994"/>
                <a:gd name="connsiteY100" fmla="*/ 206270 h 1333436"/>
                <a:gd name="connsiteX101" fmla="*/ 542765 w 752994"/>
                <a:gd name="connsiteY101" fmla="*/ 217475 h 1333436"/>
                <a:gd name="connsiteX102" fmla="*/ 546857 w 752994"/>
                <a:gd name="connsiteY102" fmla="*/ 230930 h 1333436"/>
                <a:gd name="connsiteX103" fmla="*/ 549499 w 752994"/>
                <a:gd name="connsiteY103" fmla="*/ 235622 h 1333436"/>
                <a:gd name="connsiteX104" fmla="*/ 553388 w 752994"/>
                <a:gd name="connsiteY104" fmla="*/ 240722 h 1333436"/>
                <a:gd name="connsiteX105" fmla="*/ 557465 w 752994"/>
                <a:gd name="connsiteY105" fmla="*/ 246037 h 1333436"/>
                <a:gd name="connsiteX106" fmla="*/ 561761 w 752994"/>
                <a:gd name="connsiteY106" fmla="*/ 248671 h 1333436"/>
                <a:gd name="connsiteX107" fmla="*/ 567478 w 752994"/>
                <a:gd name="connsiteY107" fmla="*/ 247665 h 1333436"/>
                <a:gd name="connsiteX108" fmla="*/ 569931 w 752994"/>
                <a:gd name="connsiteY108" fmla="*/ 249293 h 1333436"/>
                <a:gd name="connsiteX109" fmla="*/ 570540 w 752994"/>
                <a:gd name="connsiteY109" fmla="*/ 251951 h 1333436"/>
                <a:gd name="connsiteX110" fmla="*/ 561964 w 752994"/>
                <a:gd name="connsiteY110" fmla="*/ 267656 h 1333436"/>
                <a:gd name="connsiteX111" fmla="*/ 553591 w 752994"/>
                <a:gd name="connsiteY111" fmla="*/ 289659 h 1333436"/>
                <a:gd name="connsiteX112" fmla="*/ 554810 w 752994"/>
                <a:gd name="connsiteY112" fmla="*/ 292939 h 1333436"/>
                <a:gd name="connsiteX113" fmla="*/ 556246 w 752994"/>
                <a:gd name="connsiteY113" fmla="*/ 299260 h 1333436"/>
                <a:gd name="connsiteX114" fmla="*/ 552778 w 752994"/>
                <a:gd name="connsiteY114" fmla="*/ 301917 h 1333436"/>
                <a:gd name="connsiteX115" fmla="*/ 549295 w 752994"/>
                <a:gd name="connsiteY115" fmla="*/ 306993 h 1333436"/>
                <a:gd name="connsiteX116" fmla="*/ 547061 w 752994"/>
                <a:gd name="connsiteY116" fmla="*/ 313122 h 1333436"/>
                <a:gd name="connsiteX117" fmla="*/ 544811 w 752994"/>
                <a:gd name="connsiteY117" fmla="*/ 316593 h 1333436"/>
                <a:gd name="connsiteX118" fmla="*/ 549919 w 752994"/>
                <a:gd name="connsiteY118" fmla="*/ 322698 h 1333436"/>
                <a:gd name="connsiteX119" fmla="*/ 553184 w 752994"/>
                <a:gd name="connsiteY119" fmla="*/ 325955 h 1333436"/>
                <a:gd name="connsiteX120" fmla="*/ 555840 w 752994"/>
                <a:gd name="connsiteY120" fmla="*/ 328205 h 1333436"/>
                <a:gd name="connsiteX121" fmla="*/ 574212 w 752994"/>
                <a:gd name="connsiteY121" fmla="*/ 318820 h 1333436"/>
                <a:gd name="connsiteX122" fmla="*/ 579523 w 752994"/>
                <a:gd name="connsiteY122" fmla="*/ 326577 h 1333436"/>
                <a:gd name="connsiteX123" fmla="*/ 580539 w 752994"/>
                <a:gd name="connsiteY123" fmla="*/ 334933 h 1333436"/>
                <a:gd name="connsiteX124" fmla="*/ 579726 w 752994"/>
                <a:gd name="connsiteY124" fmla="*/ 343097 h 1333436"/>
                <a:gd name="connsiteX125" fmla="*/ 581366 w 752994"/>
                <a:gd name="connsiteY125" fmla="*/ 350231 h 1333436"/>
                <a:gd name="connsiteX126" fmla="*/ 586256 w 752994"/>
                <a:gd name="connsiteY126" fmla="*/ 355930 h 1333436"/>
                <a:gd name="connsiteX127" fmla="*/ 589536 w 752994"/>
                <a:gd name="connsiteY127" fmla="*/ 362059 h 1333436"/>
                <a:gd name="connsiteX128" fmla="*/ 588099 w 752994"/>
                <a:gd name="connsiteY128" fmla="*/ 369600 h 1333436"/>
                <a:gd name="connsiteX129" fmla="*/ 586459 w 752994"/>
                <a:gd name="connsiteY129" fmla="*/ 377357 h 1333436"/>
                <a:gd name="connsiteX130" fmla="*/ 588709 w 752994"/>
                <a:gd name="connsiteY130" fmla="*/ 381835 h 1333436"/>
                <a:gd name="connsiteX131" fmla="*/ 595036 w 752994"/>
                <a:gd name="connsiteY131" fmla="*/ 382457 h 1333436"/>
                <a:gd name="connsiteX132" fmla="*/ 599331 w 752994"/>
                <a:gd name="connsiteY132" fmla="*/ 385306 h 1333436"/>
                <a:gd name="connsiteX133" fmla="*/ 601987 w 752994"/>
                <a:gd name="connsiteY133" fmla="*/ 391004 h 1333436"/>
                <a:gd name="connsiteX134" fmla="*/ 602799 w 752994"/>
                <a:gd name="connsiteY134" fmla="*/ 404076 h 1333436"/>
                <a:gd name="connsiteX135" fmla="*/ 606892 w 752994"/>
                <a:gd name="connsiteY135" fmla="*/ 415688 h 1333436"/>
                <a:gd name="connsiteX136" fmla="*/ 610563 w 752994"/>
                <a:gd name="connsiteY136" fmla="*/ 412217 h 1333436"/>
                <a:gd name="connsiteX137" fmla="*/ 617920 w 752994"/>
                <a:gd name="connsiteY137" fmla="*/ 408769 h 1333436"/>
                <a:gd name="connsiteX138" fmla="*/ 624654 w 752994"/>
                <a:gd name="connsiteY138" fmla="*/ 411211 h 1333436"/>
                <a:gd name="connsiteX139" fmla="*/ 634652 w 752994"/>
                <a:gd name="connsiteY139" fmla="*/ 410182 h 1333436"/>
                <a:gd name="connsiteX140" fmla="*/ 640573 w 752994"/>
                <a:gd name="connsiteY140" fmla="*/ 407739 h 1333436"/>
                <a:gd name="connsiteX141" fmla="*/ 646711 w 752994"/>
                <a:gd name="connsiteY141" fmla="*/ 410589 h 1333436"/>
                <a:gd name="connsiteX142" fmla="*/ 650383 w 752994"/>
                <a:gd name="connsiteY142" fmla="*/ 410589 h 1333436"/>
                <a:gd name="connsiteX143" fmla="*/ 654257 w 752994"/>
                <a:gd name="connsiteY143" fmla="*/ 411618 h 1333436"/>
                <a:gd name="connsiteX144" fmla="*/ 656913 w 752994"/>
                <a:gd name="connsiteY144" fmla="*/ 413653 h 1333436"/>
                <a:gd name="connsiteX145" fmla="*/ 660802 w 752994"/>
                <a:gd name="connsiteY145" fmla="*/ 415090 h 1333436"/>
                <a:gd name="connsiteX146" fmla="*/ 669581 w 752994"/>
                <a:gd name="connsiteY146" fmla="*/ 415904 h 1333436"/>
                <a:gd name="connsiteX147" fmla="*/ 672237 w 752994"/>
                <a:gd name="connsiteY147" fmla="*/ 415688 h 1333436"/>
                <a:gd name="connsiteX148" fmla="*/ 675705 w 752994"/>
                <a:gd name="connsiteY148" fmla="*/ 409367 h 1333436"/>
                <a:gd name="connsiteX149" fmla="*/ 679986 w 752994"/>
                <a:gd name="connsiteY149" fmla="*/ 403238 h 1333436"/>
                <a:gd name="connsiteX150" fmla="*/ 693264 w 752994"/>
                <a:gd name="connsiteY150" fmla="*/ 419567 h 1333436"/>
                <a:gd name="connsiteX151" fmla="*/ 688563 w 752994"/>
                <a:gd name="connsiteY151" fmla="*/ 448321 h 1333436"/>
                <a:gd name="connsiteX152" fmla="*/ 663949 w 752994"/>
                <a:gd name="connsiteY152" fmla="*/ 590165 h 1333436"/>
                <a:gd name="connsiteX153" fmla="*/ 666304 w 752994"/>
                <a:gd name="connsiteY153" fmla="*/ 590504 h 1333436"/>
                <a:gd name="connsiteX154" fmla="*/ 655288 w 752994"/>
                <a:gd name="connsiteY154" fmla="*/ 656178 h 1333436"/>
                <a:gd name="connsiteX155" fmla="*/ 681808 w 752994"/>
                <a:gd name="connsiteY155" fmla="*/ 662301 h 1333436"/>
                <a:gd name="connsiteX156" fmla="*/ 752994 w 752994"/>
                <a:gd name="connsiteY156" fmla="*/ 675560 h 1333436"/>
                <a:gd name="connsiteX157" fmla="*/ 714651 w 752994"/>
                <a:gd name="connsiteY157" fmla="*/ 946985 h 1333436"/>
                <a:gd name="connsiteX158" fmla="*/ 693426 w 752994"/>
                <a:gd name="connsiteY158" fmla="*/ 944128 h 1333436"/>
                <a:gd name="connsiteX159" fmla="*/ 457412 w 752994"/>
                <a:gd name="connsiteY159" fmla="*/ 897429 h 1333436"/>
                <a:gd name="connsiteX160" fmla="*/ 442753 w 752994"/>
                <a:gd name="connsiteY160" fmla="*/ 950656 h 1333436"/>
                <a:gd name="connsiteX161" fmla="*/ 442550 w 752994"/>
                <a:gd name="connsiteY161" fmla="*/ 951272 h 1333436"/>
                <a:gd name="connsiteX162" fmla="*/ 439290 w 752994"/>
                <a:gd name="connsiteY162" fmla="*/ 958807 h 1333436"/>
                <a:gd name="connsiteX163" fmla="*/ 432957 w 752994"/>
                <a:gd name="connsiteY163" fmla="*/ 963487 h 1333436"/>
                <a:gd name="connsiteX164" fmla="*/ 429291 w 752994"/>
                <a:gd name="connsiteY164" fmla="*/ 959817 h 1333436"/>
                <a:gd name="connsiteX165" fmla="*/ 425610 w 752994"/>
                <a:gd name="connsiteY165" fmla="*/ 955532 h 1333436"/>
                <a:gd name="connsiteX166" fmla="*/ 419292 w 752994"/>
                <a:gd name="connsiteY166" fmla="*/ 953291 h 1333436"/>
                <a:gd name="connsiteX167" fmla="*/ 414597 w 752994"/>
                <a:gd name="connsiteY167" fmla="*/ 951272 h 1333436"/>
                <a:gd name="connsiteX168" fmla="*/ 407047 w 752994"/>
                <a:gd name="connsiteY168" fmla="*/ 956148 h 1333436"/>
                <a:gd name="connsiteX169" fmla="*/ 403787 w 752994"/>
                <a:gd name="connsiteY169" fmla="*/ 963290 h 1333436"/>
                <a:gd name="connsiteX170" fmla="*/ 404052 w 752994"/>
                <a:gd name="connsiteY170" fmla="*/ 963688 h 1333436"/>
                <a:gd name="connsiteX171" fmla="*/ 406917 w 752994"/>
                <a:gd name="connsiteY171" fmla="*/ 957427 h 1333436"/>
                <a:gd name="connsiteX172" fmla="*/ 414454 w 752994"/>
                <a:gd name="connsiteY172" fmla="*/ 952534 h 1333436"/>
                <a:gd name="connsiteX173" fmla="*/ 419146 w 752994"/>
                <a:gd name="connsiteY173" fmla="*/ 954567 h 1333436"/>
                <a:gd name="connsiteX174" fmla="*/ 425469 w 752994"/>
                <a:gd name="connsiteY174" fmla="*/ 956803 h 1333436"/>
                <a:gd name="connsiteX175" fmla="*/ 429146 w 752994"/>
                <a:gd name="connsiteY175" fmla="*/ 961092 h 1333436"/>
                <a:gd name="connsiteX176" fmla="*/ 432807 w 752994"/>
                <a:gd name="connsiteY176" fmla="*/ 964757 h 1333436"/>
                <a:gd name="connsiteX177" fmla="*/ 439129 w 752994"/>
                <a:gd name="connsiteY177" fmla="*/ 960065 h 1333436"/>
                <a:gd name="connsiteX178" fmla="*/ 442407 w 752994"/>
                <a:gd name="connsiteY178" fmla="*/ 952534 h 1333436"/>
                <a:gd name="connsiteX179" fmla="*/ 689408 w 752994"/>
                <a:gd name="connsiteY179" fmla="*/ 945184 h 1333436"/>
                <a:gd name="connsiteX180" fmla="*/ 710622 w 752994"/>
                <a:gd name="connsiteY180" fmla="*/ 948043 h 1333436"/>
                <a:gd name="connsiteX181" fmla="*/ 654533 w 752994"/>
                <a:gd name="connsiteY181" fmla="*/ 1333436 h 1333436"/>
                <a:gd name="connsiteX182" fmla="*/ 546831 w 752994"/>
                <a:gd name="connsiteY182" fmla="*/ 1317126 h 1333436"/>
                <a:gd name="connsiteX183" fmla="*/ 351227 w 752994"/>
                <a:gd name="connsiteY183" fmla="*/ 1194172 h 1333436"/>
                <a:gd name="connsiteX184" fmla="*/ 361011 w 752994"/>
                <a:gd name="connsiteY184" fmla="*/ 1182755 h 1333436"/>
                <a:gd name="connsiteX185" fmla="*/ 368981 w 752994"/>
                <a:gd name="connsiteY185" fmla="*/ 1182130 h 1333436"/>
                <a:gd name="connsiteX186" fmla="*/ 369571 w 752994"/>
                <a:gd name="connsiteY186" fmla="*/ 1181558 h 1333436"/>
                <a:gd name="connsiteX187" fmla="*/ 362372 w 752994"/>
                <a:gd name="connsiteY187" fmla="*/ 1182120 h 1333436"/>
                <a:gd name="connsiteX188" fmla="*/ 229464 w 752994"/>
                <a:gd name="connsiteY188" fmla="*/ 1161721 h 1333436"/>
                <a:gd name="connsiteX189" fmla="*/ 227427 w 752994"/>
                <a:gd name="connsiteY189" fmla="*/ 1157269 h 1333436"/>
                <a:gd name="connsiteX190" fmla="*/ 224967 w 752994"/>
                <a:gd name="connsiteY190" fmla="*/ 1152575 h 1333436"/>
                <a:gd name="connsiteX191" fmla="*/ 225582 w 752994"/>
                <a:gd name="connsiteY191" fmla="*/ 1144808 h 1333436"/>
                <a:gd name="connsiteX192" fmla="*/ 227215 w 752994"/>
                <a:gd name="connsiteY192" fmla="*/ 1135834 h 1333436"/>
                <a:gd name="connsiteX193" fmla="*/ 227215 w 752994"/>
                <a:gd name="connsiteY193" fmla="*/ 1134212 h 1333436"/>
                <a:gd name="connsiteX194" fmla="*/ 225179 w 752994"/>
                <a:gd name="connsiteY194" fmla="*/ 1114020 h 1333436"/>
                <a:gd name="connsiteX195" fmla="*/ 217839 w 752994"/>
                <a:gd name="connsiteY195" fmla="*/ 1100352 h 1333436"/>
                <a:gd name="connsiteX196" fmla="*/ 199661 w 752994"/>
                <a:gd name="connsiteY196" fmla="*/ 1076502 h 1333436"/>
                <a:gd name="connsiteX197" fmla="*/ 196395 w 752994"/>
                <a:gd name="connsiteY197" fmla="*/ 1071807 h 1333436"/>
                <a:gd name="connsiteX198" fmla="*/ 190880 w 752994"/>
                <a:gd name="connsiteY198" fmla="*/ 1067527 h 1333436"/>
                <a:gd name="connsiteX199" fmla="*/ 187210 w 752994"/>
                <a:gd name="connsiteY199" fmla="*/ 1068735 h 1333436"/>
                <a:gd name="connsiteX200" fmla="*/ 180062 w 752994"/>
                <a:gd name="connsiteY200" fmla="*/ 1066699 h 1333436"/>
                <a:gd name="connsiteX201" fmla="*/ 180466 w 752994"/>
                <a:gd name="connsiteY201" fmla="*/ 1053031 h 1333436"/>
                <a:gd name="connsiteX202" fmla="*/ 180062 w 752994"/>
                <a:gd name="connsiteY202" fmla="*/ 1045299 h 1333436"/>
                <a:gd name="connsiteX203" fmla="*/ 174144 w 752994"/>
                <a:gd name="connsiteY203" fmla="*/ 1044057 h 1333436"/>
                <a:gd name="connsiteX204" fmla="*/ 158426 w 752994"/>
                <a:gd name="connsiteY204" fmla="*/ 1042641 h 1333436"/>
                <a:gd name="connsiteX205" fmla="*/ 149857 w 752994"/>
                <a:gd name="connsiteY205" fmla="*/ 1035497 h 1333436"/>
                <a:gd name="connsiteX206" fmla="*/ 142497 w 752994"/>
                <a:gd name="connsiteY206" fmla="*/ 1028766 h 1333436"/>
                <a:gd name="connsiteX207" fmla="*/ 140864 w 752994"/>
                <a:gd name="connsiteY207" fmla="*/ 1020620 h 1333436"/>
                <a:gd name="connsiteX208" fmla="*/ 138212 w 752994"/>
                <a:gd name="connsiteY208" fmla="*/ 1013061 h 1333436"/>
                <a:gd name="connsiteX209" fmla="*/ 131064 w 752994"/>
                <a:gd name="connsiteY209" fmla="*/ 1007159 h 1333436"/>
                <a:gd name="connsiteX210" fmla="*/ 121264 w 752994"/>
                <a:gd name="connsiteY210" fmla="*/ 1005330 h 1333436"/>
                <a:gd name="connsiteX211" fmla="*/ 112483 w 752994"/>
                <a:gd name="connsiteY211" fmla="*/ 1001671 h 1333436"/>
                <a:gd name="connsiteX212" fmla="*/ 105950 w 752994"/>
                <a:gd name="connsiteY212" fmla="*/ 995734 h 1333436"/>
                <a:gd name="connsiteX213" fmla="*/ 97380 w 752994"/>
                <a:gd name="connsiteY213" fmla="*/ 994526 h 1333436"/>
                <a:gd name="connsiteX214" fmla="*/ 87984 w 752994"/>
                <a:gd name="connsiteY214" fmla="*/ 991040 h 1333436"/>
                <a:gd name="connsiteX215" fmla="*/ 80029 w 752994"/>
                <a:gd name="connsiteY215" fmla="*/ 985138 h 1333436"/>
                <a:gd name="connsiteX216" fmla="*/ 77166 w 752994"/>
                <a:gd name="connsiteY216" fmla="*/ 976164 h 1333436"/>
                <a:gd name="connsiteX217" fmla="*/ 79203 w 752994"/>
                <a:gd name="connsiteY217" fmla="*/ 970676 h 1333436"/>
                <a:gd name="connsiteX218" fmla="*/ 82470 w 752994"/>
                <a:gd name="connsiteY218" fmla="*/ 963117 h 1333436"/>
                <a:gd name="connsiteX219" fmla="*/ 84314 w 752994"/>
                <a:gd name="connsiteY219" fmla="*/ 954557 h 1333436"/>
                <a:gd name="connsiteX220" fmla="*/ 86351 w 752994"/>
                <a:gd name="connsiteY220" fmla="*/ 948033 h 1333436"/>
                <a:gd name="connsiteX221" fmla="*/ 86159 w 752994"/>
                <a:gd name="connsiteY221" fmla="*/ 942925 h 1333436"/>
                <a:gd name="connsiteX222" fmla="*/ 83085 w 752994"/>
                <a:gd name="connsiteY222" fmla="*/ 939853 h 1333436"/>
                <a:gd name="connsiteX223" fmla="*/ 77570 w 752994"/>
                <a:gd name="connsiteY223" fmla="*/ 937437 h 1333436"/>
                <a:gd name="connsiteX224" fmla="*/ 76763 w 752994"/>
                <a:gd name="connsiteY224" fmla="*/ 931915 h 1333436"/>
                <a:gd name="connsiteX225" fmla="*/ 78800 w 752994"/>
                <a:gd name="connsiteY225" fmla="*/ 927013 h 1333436"/>
                <a:gd name="connsiteX226" fmla="*/ 79626 w 752994"/>
                <a:gd name="connsiteY226" fmla="*/ 922526 h 1333436"/>
                <a:gd name="connsiteX227" fmla="*/ 77781 w 752994"/>
                <a:gd name="connsiteY227" fmla="*/ 919903 h 1333436"/>
                <a:gd name="connsiteX228" fmla="*/ 74303 w 752994"/>
                <a:gd name="connsiteY228" fmla="*/ 917418 h 1333436"/>
                <a:gd name="connsiteX229" fmla="*/ 71863 w 752994"/>
                <a:gd name="connsiteY229" fmla="*/ 915174 h 1333436"/>
                <a:gd name="connsiteX230" fmla="*/ 71652 w 752994"/>
                <a:gd name="connsiteY230" fmla="*/ 910894 h 1333436"/>
                <a:gd name="connsiteX231" fmla="*/ 70633 w 752994"/>
                <a:gd name="connsiteY231" fmla="*/ 906614 h 1333436"/>
                <a:gd name="connsiteX232" fmla="*/ 68385 w 752994"/>
                <a:gd name="connsiteY232" fmla="*/ 902749 h 1333436"/>
                <a:gd name="connsiteX233" fmla="*/ 61045 w 752994"/>
                <a:gd name="connsiteY233" fmla="*/ 889494 h 1333436"/>
                <a:gd name="connsiteX234" fmla="*/ 57971 w 752994"/>
                <a:gd name="connsiteY234" fmla="*/ 875619 h 1333436"/>
                <a:gd name="connsiteX235" fmla="*/ 52264 w 752994"/>
                <a:gd name="connsiteY235" fmla="*/ 862572 h 1333436"/>
                <a:gd name="connsiteX236" fmla="*/ 44309 w 752994"/>
                <a:gd name="connsiteY236" fmla="*/ 850561 h 1333436"/>
                <a:gd name="connsiteX237" fmla="*/ 45520 w 752994"/>
                <a:gd name="connsiteY237" fmla="*/ 827090 h 1333436"/>
                <a:gd name="connsiteX238" fmla="*/ 53071 w 752994"/>
                <a:gd name="connsiteY238" fmla="*/ 822396 h 1333436"/>
                <a:gd name="connsiteX239" fmla="*/ 57375 w 752994"/>
                <a:gd name="connsiteY239" fmla="*/ 816493 h 1333436"/>
                <a:gd name="connsiteX240" fmla="*/ 55319 w 752994"/>
                <a:gd name="connsiteY240" fmla="*/ 801617 h 1333436"/>
                <a:gd name="connsiteX241" fmla="*/ 48383 w 752994"/>
                <a:gd name="connsiteY241" fmla="*/ 802204 h 1333436"/>
                <a:gd name="connsiteX242" fmla="*/ 40428 w 752994"/>
                <a:gd name="connsiteY242" fmla="*/ 797924 h 1333436"/>
                <a:gd name="connsiteX243" fmla="*/ 37565 w 752994"/>
                <a:gd name="connsiteY243" fmla="*/ 790606 h 1333436"/>
                <a:gd name="connsiteX244" fmla="*/ 37565 w 752994"/>
                <a:gd name="connsiteY244" fmla="*/ 790399 h 1333436"/>
                <a:gd name="connsiteX245" fmla="*/ 35931 w 752994"/>
                <a:gd name="connsiteY245" fmla="*/ 785912 h 1333436"/>
                <a:gd name="connsiteX246" fmla="*/ 34510 w 752994"/>
                <a:gd name="connsiteY246" fmla="*/ 780597 h 1333436"/>
                <a:gd name="connsiteX247" fmla="*/ 36335 w 752994"/>
                <a:gd name="connsiteY247" fmla="*/ 774280 h 1333436"/>
                <a:gd name="connsiteX248" fmla="*/ 38180 w 752994"/>
                <a:gd name="connsiteY248" fmla="*/ 766721 h 1333436"/>
                <a:gd name="connsiteX249" fmla="*/ 37161 w 752994"/>
                <a:gd name="connsiteY249" fmla="*/ 760405 h 1333436"/>
                <a:gd name="connsiteX250" fmla="*/ 35720 w 752994"/>
                <a:gd name="connsiteY250" fmla="*/ 754710 h 1333436"/>
                <a:gd name="connsiteX251" fmla="*/ 36546 w 752994"/>
                <a:gd name="connsiteY251" fmla="*/ 748773 h 1333436"/>
                <a:gd name="connsiteX252" fmla="*/ 38372 w 752994"/>
                <a:gd name="connsiteY252" fmla="*/ 744528 h 1333436"/>
                <a:gd name="connsiteX253" fmla="*/ 41638 w 752994"/>
                <a:gd name="connsiteY253" fmla="*/ 744321 h 1333436"/>
                <a:gd name="connsiteX254" fmla="*/ 44713 w 752994"/>
                <a:gd name="connsiteY254" fmla="*/ 746357 h 1333436"/>
                <a:gd name="connsiteX255" fmla="*/ 47364 w 752994"/>
                <a:gd name="connsiteY255" fmla="*/ 753260 h 1333436"/>
                <a:gd name="connsiteX256" fmla="*/ 55742 w 752994"/>
                <a:gd name="connsiteY256" fmla="*/ 764305 h 1333436"/>
                <a:gd name="connsiteX257" fmla="*/ 56338 w 752994"/>
                <a:gd name="connsiteY257" fmla="*/ 761233 h 1333436"/>
                <a:gd name="connsiteX258" fmla="*/ 56145 w 752994"/>
                <a:gd name="connsiteY258" fmla="*/ 757368 h 1333436"/>
                <a:gd name="connsiteX259" fmla="*/ 54916 w 752994"/>
                <a:gd name="connsiteY259" fmla="*/ 748601 h 1333436"/>
                <a:gd name="connsiteX260" fmla="*/ 52879 w 752994"/>
                <a:gd name="connsiteY260" fmla="*/ 747358 h 1333436"/>
                <a:gd name="connsiteX261" fmla="*/ 51649 w 752994"/>
                <a:gd name="connsiteY261" fmla="*/ 745322 h 1333436"/>
                <a:gd name="connsiteX262" fmla="*/ 51649 w 752994"/>
                <a:gd name="connsiteY262" fmla="*/ 739212 h 1333436"/>
                <a:gd name="connsiteX263" fmla="*/ 50227 w 752994"/>
                <a:gd name="connsiteY263" fmla="*/ 734725 h 1333436"/>
                <a:gd name="connsiteX264" fmla="*/ 48786 w 752994"/>
                <a:gd name="connsiteY264" fmla="*/ 731446 h 1333436"/>
                <a:gd name="connsiteX265" fmla="*/ 54512 w 752994"/>
                <a:gd name="connsiteY265" fmla="*/ 726372 h 1333436"/>
                <a:gd name="connsiteX266" fmla="*/ 59815 w 752994"/>
                <a:gd name="connsiteY266" fmla="*/ 725130 h 1333436"/>
                <a:gd name="connsiteX267" fmla="*/ 58182 w 752994"/>
                <a:gd name="connsiteY267" fmla="*/ 722886 h 1333436"/>
                <a:gd name="connsiteX268" fmla="*/ 51861 w 752994"/>
                <a:gd name="connsiteY268" fmla="*/ 717985 h 1333436"/>
                <a:gd name="connsiteX269" fmla="*/ 46749 w 752994"/>
                <a:gd name="connsiteY269" fmla="*/ 729617 h 1333436"/>
                <a:gd name="connsiteX270" fmla="*/ 40831 w 752994"/>
                <a:gd name="connsiteY270" fmla="*/ 739212 h 1333436"/>
                <a:gd name="connsiteX271" fmla="*/ 39601 w 752994"/>
                <a:gd name="connsiteY271" fmla="*/ 738798 h 1333436"/>
                <a:gd name="connsiteX272" fmla="*/ 39409 w 752994"/>
                <a:gd name="connsiteY272" fmla="*/ 738591 h 1333436"/>
                <a:gd name="connsiteX273" fmla="*/ 37161 w 752994"/>
                <a:gd name="connsiteY273" fmla="*/ 734725 h 1333436"/>
                <a:gd name="connsiteX274" fmla="*/ 32665 w 752994"/>
                <a:gd name="connsiteY274" fmla="*/ 727788 h 1333436"/>
                <a:gd name="connsiteX275" fmla="*/ 26747 w 752994"/>
                <a:gd name="connsiteY275" fmla="*/ 719435 h 1333436"/>
                <a:gd name="connsiteX276" fmla="*/ 23884 w 752994"/>
                <a:gd name="connsiteY276" fmla="*/ 717812 h 1333436"/>
                <a:gd name="connsiteX277" fmla="*/ 24710 w 752994"/>
                <a:gd name="connsiteY277" fmla="*/ 709632 h 1333436"/>
                <a:gd name="connsiteX278" fmla="*/ 27554 w 752994"/>
                <a:gd name="connsiteY278" fmla="*/ 701694 h 1333436"/>
                <a:gd name="connsiteX279" fmla="*/ 24902 w 752994"/>
                <a:gd name="connsiteY279" fmla="*/ 696171 h 1333436"/>
                <a:gd name="connsiteX280" fmla="*/ 24095 w 752994"/>
                <a:gd name="connsiteY280" fmla="*/ 687818 h 1333436"/>
                <a:gd name="connsiteX281" fmla="*/ 22462 w 752994"/>
                <a:gd name="connsiteY281" fmla="*/ 682330 h 1333436"/>
                <a:gd name="connsiteX282" fmla="*/ 17159 w 752994"/>
                <a:gd name="connsiteY282" fmla="*/ 677636 h 1333436"/>
                <a:gd name="connsiteX283" fmla="*/ 14296 w 752994"/>
                <a:gd name="connsiteY283" fmla="*/ 671492 h 1333436"/>
                <a:gd name="connsiteX284" fmla="*/ 12451 w 752994"/>
                <a:gd name="connsiteY284" fmla="*/ 665797 h 1333436"/>
                <a:gd name="connsiteX285" fmla="*/ 5111 w 752994"/>
                <a:gd name="connsiteY285" fmla="*/ 654994 h 1333436"/>
                <a:gd name="connsiteX286" fmla="*/ 2248 w 752994"/>
                <a:gd name="connsiteY286" fmla="*/ 645605 h 1333436"/>
                <a:gd name="connsiteX287" fmla="*/ 4496 w 752994"/>
                <a:gd name="connsiteY287" fmla="*/ 640497 h 1333436"/>
                <a:gd name="connsiteX288" fmla="*/ 6744 w 752994"/>
                <a:gd name="connsiteY288" fmla="*/ 632765 h 1333436"/>
                <a:gd name="connsiteX289" fmla="*/ 6744 w 752994"/>
                <a:gd name="connsiteY289" fmla="*/ 628485 h 1333436"/>
                <a:gd name="connsiteX290" fmla="*/ 6533 w 752994"/>
                <a:gd name="connsiteY290" fmla="*/ 620305 h 1333436"/>
                <a:gd name="connsiteX291" fmla="*/ 7359 w 752994"/>
                <a:gd name="connsiteY291" fmla="*/ 611745 h 1333436"/>
                <a:gd name="connsiteX292" fmla="*/ 11836 w 752994"/>
                <a:gd name="connsiteY292" fmla="*/ 602978 h 1333436"/>
                <a:gd name="connsiteX293" fmla="*/ 15103 w 752994"/>
                <a:gd name="connsiteY293" fmla="*/ 591760 h 1333436"/>
                <a:gd name="connsiteX294" fmla="*/ 14488 w 752994"/>
                <a:gd name="connsiteY294" fmla="*/ 584029 h 1333436"/>
                <a:gd name="connsiteX295" fmla="*/ 13873 w 752994"/>
                <a:gd name="connsiteY295" fmla="*/ 578299 h 1333436"/>
                <a:gd name="connsiteX296" fmla="*/ 10626 w 752994"/>
                <a:gd name="connsiteY296" fmla="*/ 568531 h 1333436"/>
                <a:gd name="connsiteX297" fmla="*/ 3670 w 752994"/>
                <a:gd name="connsiteY297" fmla="*/ 558107 h 1333436"/>
                <a:gd name="connsiteX298" fmla="*/ 0 w 752994"/>
                <a:gd name="connsiteY298" fmla="*/ 551377 h 1333436"/>
                <a:gd name="connsiteX299" fmla="*/ 0 w 752994"/>
                <a:gd name="connsiteY299" fmla="*/ 550997 h 1333436"/>
                <a:gd name="connsiteX300" fmla="*/ 4900 w 752994"/>
                <a:gd name="connsiteY300" fmla="*/ 531220 h 1333436"/>
                <a:gd name="connsiteX301" fmla="*/ 13873 w 752994"/>
                <a:gd name="connsiteY301" fmla="*/ 520589 h 1333436"/>
                <a:gd name="connsiteX302" fmla="*/ 18369 w 752994"/>
                <a:gd name="connsiteY302" fmla="*/ 516516 h 1333436"/>
                <a:gd name="connsiteX303" fmla="*/ 18773 w 752994"/>
                <a:gd name="connsiteY303" fmla="*/ 514272 h 1333436"/>
                <a:gd name="connsiteX304" fmla="*/ 23077 w 752994"/>
                <a:gd name="connsiteY304" fmla="*/ 506127 h 1333436"/>
                <a:gd name="connsiteX305" fmla="*/ 23884 w 752994"/>
                <a:gd name="connsiteY305" fmla="*/ 502261 h 1333436"/>
                <a:gd name="connsiteX306" fmla="*/ 23692 w 752994"/>
                <a:gd name="connsiteY306" fmla="*/ 496738 h 1333436"/>
                <a:gd name="connsiteX307" fmla="*/ 30013 w 752994"/>
                <a:gd name="connsiteY307" fmla="*/ 486556 h 1333436"/>
                <a:gd name="connsiteX308" fmla="*/ 36546 w 752994"/>
                <a:gd name="connsiteY308" fmla="*/ 470230 h 1333436"/>
                <a:gd name="connsiteX309" fmla="*/ 36546 w 752994"/>
                <a:gd name="connsiteY309" fmla="*/ 462671 h 1333436"/>
                <a:gd name="connsiteX310" fmla="*/ 36335 w 752994"/>
                <a:gd name="connsiteY310" fmla="*/ 461670 h 1333436"/>
                <a:gd name="connsiteX311" fmla="*/ 35931 w 752994"/>
                <a:gd name="connsiteY311" fmla="*/ 453110 h 1333436"/>
                <a:gd name="connsiteX312" fmla="*/ 38583 w 752994"/>
                <a:gd name="connsiteY312" fmla="*/ 442514 h 1333436"/>
                <a:gd name="connsiteX313" fmla="*/ 41043 w 752994"/>
                <a:gd name="connsiteY313" fmla="*/ 436991 h 1333436"/>
                <a:gd name="connsiteX314" fmla="*/ 41650 w 752994"/>
                <a:gd name="connsiteY314" fmla="*/ 437186 h 1333436"/>
                <a:gd name="connsiteX315" fmla="*/ 41239 w 752994"/>
                <a:gd name="connsiteY315" fmla="*/ 436549 h 1333436"/>
                <a:gd name="connsiteX316" fmla="*/ 37778 w 752994"/>
                <a:gd name="connsiteY316" fmla="*/ 433894 h 1333436"/>
                <a:gd name="connsiteX317" fmla="*/ 37169 w 752994"/>
                <a:gd name="connsiteY317" fmla="*/ 432261 h 1333436"/>
                <a:gd name="connsiteX318" fmla="*/ 37365 w 752994"/>
                <a:gd name="connsiteY318" fmla="*/ 429198 h 1333436"/>
                <a:gd name="connsiteX319" fmla="*/ 36756 w 752994"/>
                <a:gd name="connsiteY319" fmla="*/ 422272 h 1333436"/>
                <a:gd name="connsiteX320" fmla="*/ 36952 w 752994"/>
                <a:gd name="connsiteY320" fmla="*/ 418800 h 1333436"/>
                <a:gd name="connsiteX321" fmla="*/ 36756 w 752994"/>
                <a:gd name="connsiteY321" fmla="*/ 412487 h 1333436"/>
                <a:gd name="connsiteX322" fmla="*/ 40433 w 752994"/>
                <a:gd name="connsiteY322" fmla="*/ 406174 h 1333436"/>
                <a:gd name="connsiteX323" fmla="*/ 44720 w 752994"/>
                <a:gd name="connsiteY323" fmla="*/ 399435 h 1333436"/>
                <a:gd name="connsiteX324" fmla="*/ 44110 w 752994"/>
                <a:gd name="connsiteY324" fmla="*/ 389651 h 1333436"/>
                <a:gd name="connsiteX325" fmla="*/ 43894 w 752994"/>
                <a:gd name="connsiteY325" fmla="*/ 378437 h 1333436"/>
                <a:gd name="connsiteX326" fmla="*/ 47158 w 752994"/>
                <a:gd name="connsiteY326" fmla="*/ 371102 h 1333436"/>
                <a:gd name="connsiteX327" fmla="*/ 55731 w 752994"/>
                <a:gd name="connsiteY327" fmla="*/ 360909 h 1333436"/>
                <a:gd name="connsiteX328" fmla="*/ 57580 w 752994"/>
                <a:gd name="connsiteY328" fmla="*/ 355804 h 1333436"/>
                <a:gd name="connsiteX329" fmla="*/ 62673 w 752994"/>
                <a:gd name="connsiteY329" fmla="*/ 349695 h 1333436"/>
                <a:gd name="connsiteX330" fmla="*/ 65937 w 752994"/>
                <a:gd name="connsiteY330" fmla="*/ 348470 h 1333436"/>
                <a:gd name="connsiteX331" fmla="*/ 68395 w 752994"/>
                <a:gd name="connsiteY331" fmla="*/ 348674 h 1333436"/>
                <a:gd name="connsiteX332" fmla="*/ 70224 w 752994"/>
                <a:gd name="connsiteY332" fmla="*/ 347449 h 1333436"/>
                <a:gd name="connsiteX333" fmla="*/ 67785 w 752994"/>
                <a:gd name="connsiteY333" fmla="*/ 345203 h 1333436"/>
                <a:gd name="connsiteX334" fmla="*/ 65524 w 752994"/>
                <a:gd name="connsiteY334" fmla="*/ 343178 h 1333436"/>
                <a:gd name="connsiteX335" fmla="*/ 73095 w 752994"/>
                <a:gd name="connsiteY335" fmla="*/ 333376 h 1333436"/>
                <a:gd name="connsiteX336" fmla="*/ 73291 w 752994"/>
                <a:gd name="connsiteY336" fmla="*/ 333376 h 1333436"/>
                <a:gd name="connsiteX337" fmla="*/ 77991 w 752994"/>
                <a:gd name="connsiteY337" fmla="*/ 325838 h 1333436"/>
                <a:gd name="connsiteX338" fmla="*/ 82671 w 752994"/>
                <a:gd name="connsiteY338" fmla="*/ 313619 h 1333436"/>
                <a:gd name="connsiteX339" fmla="*/ 87980 w 752994"/>
                <a:gd name="connsiteY339" fmla="*/ 303018 h 1333436"/>
                <a:gd name="connsiteX340" fmla="*/ 92267 w 752994"/>
                <a:gd name="connsiteY340" fmla="*/ 291191 h 1333436"/>
                <a:gd name="connsiteX341" fmla="*/ 96553 w 752994"/>
                <a:gd name="connsiteY341" fmla="*/ 281202 h 1333436"/>
                <a:gd name="connsiteX342" fmla="*/ 99621 w 752994"/>
                <a:gd name="connsiteY342" fmla="*/ 274481 h 1333436"/>
                <a:gd name="connsiteX343" fmla="*/ 103082 w 752994"/>
                <a:gd name="connsiteY343" fmla="*/ 262450 h 1333436"/>
                <a:gd name="connsiteX344" fmla="*/ 107172 w 752994"/>
                <a:gd name="connsiteY344" fmla="*/ 254299 h 1333436"/>
                <a:gd name="connsiteX345" fmla="*/ 112481 w 752994"/>
                <a:gd name="connsiteY345" fmla="*/ 243697 h 1333436"/>
                <a:gd name="connsiteX346" fmla="*/ 117181 w 752994"/>
                <a:gd name="connsiteY346" fmla="*/ 232279 h 1333436"/>
                <a:gd name="connsiteX347" fmla="*/ 125951 w 752994"/>
                <a:gd name="connsiteY347" fmla="*/ 217389 h 1333436"/>
                <a:gd name="connsiteX348" fmla="*/ 136156 w 752994"/>
                <a:gd name="connsiteY348" fmla="*/ 202925 h 1333436"/>
                <a:gd name="connsiteX349" fmla="*/ 138811 w 752994"/>
                <a:gd name="connsiteY349" fmla="*/ 183339 h 1333436"/>
                <a:gd name="connsiteX350" fmla="*/ 148801 w 752994"/>
                <a:gd name="connsiteY350" fmla="*/ 167445 h 1333436"/>
                <a:gd name="connsiteX351" fmla="*/ 159616 w 752994"/>
                <a:gd name="connsiteY351" fmla="*/ 170712 h 1333436"/>
                <a:gd name="connsiteX352" fmla="*/ 173105 w 752994"/>
                <a:gd name="connsiteY352" fmla="*/ 175188 h 1333436"/>
                <a:gd name="connsiteX353" fmla="*/ 175347 w 752994"/>
                <a:gd name="connsiteY353" fmla="*/ 175188 h 1333436"/>
                <a:gd name="connsiteX354" fmla="*/ 175347 w 752994"/>
                <a:gd name="connsiteY354" fmla="*/ 173758 h 1333436"/>
                <a:gd name="connsiteX355" fmla="*/ 184975 w 752994"/>
                <a:gd name="connsiteY355" fmla="*/ 187393 h 1333436"/>
                <a:gd name="connsiteX356" fmla="*/ 184762 w 752994"/>
                <a:gd name="connsiteY356" fmla="*/ 184637 h 1333436"/>
                <a:gd name="connsiteX357" fmla="*/ 174971 w 752994"/>
                <a:gd name="connsiteY357" fmla="*/ 170774 h 1333436"/>
                <a:gd name="connsiteX358" fmla="*/ 174971 w 752994"/>
                <a:gd name="connsiteY358" fmla="*/ 169550 h 1333436"/>
                <a:gd name="connsiteX359" fmla="*/ 158851 w 752994"/>
                <a:gd name="connsiteY359" fmla="*/ 156924 h 1333436"/>
                <a:gd name="connsiteX360" fmla="*/ 147025 w 752994"/>
                <a:gd name="connsiteY360" fmla="*/ 145709 h 1333436"/>
                <a:gd name="connsiteX361" fmla="*/ 154364 w 752994"/>
                <a:gd name="connsiteY361" fmla="*/ 136335 h 1333436"/>
                <a:gd name="connsiteX362" fmla="*/ 161511 w 752994"/>
                <a:gd name="connsiteY362" fmla="*/ 131042 h 1333436"/>
                <a:gd name="connsiteX363" fmla="*/ 160902 w 752994"/>
                <a:gd name="connsiteY363" fmla="*/ 128384 h 1333436"/>
                <a:gd name="connsiteX364" fmla="*/ 160277 w 752994"/>
                <a:gd name="connsiteY364" fmla="*/ 127778 h 1333436"/>
                <a:gd name="connsiteX365" fmla="*/ 154973 w 752994"/>
                <a:gd name="connsiteY365" fmla="*/ 122077 h 1333436"/>
                <a:gd name="connsiteX366" fmla="*/ 160277 w 752994"/>
                <a:gd name="connsiteY366" fmla="*/ 115140 h 1333436"/>
                <a:gd name="connsiteX367" fmla="*/ 165181 w 752994"/>
                <a:gd name="connsiteY367" fmla="*/ 108215 h 1333436"/>
                <a:gd name="connsiteX368" fmla="*/ 161303 w 752994"/>
                <a:gd name="connsiteY368" fmla="*/ 104146 h 1333436"/>
                <a:gd name="connsiteX369" fmla="*/ 157842 w 752994"/>
                <a:gd name="connsiteY369" fmla="*/ 104542 h 1333436"/>
                <a:gd name="connsiteX370" fmla="*/ 157024 w 752994"/>
                <a:gd name="connsiteY370" fmla="*/ 102304 h 1333436"/>
                <a:gd name="connsiteX371" fmla="*/ 160694 w 752994"/>
                <a:gd name="connsiteY371" fmla="*/ 55437 h 1333436"/>
                <a:gd name="connsiteX372" fmla="*/ 160486 w 752994"/>
                <a:gd name="connsiteY372" fmla="*/ 31991 h 1333436"/>
                <a:gd name="connsiteX373" fmla="*/ 164972 w 752994"/>
                <a:gd name="connsiteY373" fmla="*/ 18141 h 1333436"/>
                <a:gd name="connsiteX374" fmla="*/ 171911 w 752994"/>
                <a:gd name="connsiteY374" fmla="*/ 11204 h 1333436"/>
                <a:gd name="connsiteX375" fmla="*/ 187406 w 752994"/>
                <a:gd name="connsiteY375" fmla="*/ 21801 h 1333436"/>
                <a:gd name="connsiteX376" fmla="*/ 210866 w 752994"/>
                <a:gd name="connsiteY376" fmla="*/ 37086 h 1333436"/>
                <a:gd name="connsiteX377" fmla="*/ 219230 w 752994"/>
                <a:gd name="connsiteY377" fmla="*/ 41166 h 1333436"/>
                <a:gd name="connsiteX378" fmla="*/ 226778 w 752994"/>
                <a:gd name="connsiteY378" fmla="*/ 47486 h 1333436"/>
                <a:gd name="connsiteX379" fmla="*/ 236152 w 752994"/>
                <a:gd name="connsiteY379" fmla="*/ 52370 h 1333436"/>
                <a:gd name="connsiteX380" fmla="*/ 239629 w 752994"/>
                <a:gd name="connsiteY380" fmla="*/ 58491 h 1333436"/>
                <a:gd name="connsiteX381" fmla="*/ 239629 w 752994"/>
                <a:gd name="connsiteY381" fmla="*/ 63376 h 1333436"/>
                <a:gd name="connsiteX382" fmla="*/ 236568 w 752994"/>
                <a:gd name="connsiteY382" fmla="*/ 67457 h 1333436"/>
                <a:gd name="connsiteX383" fmla="*/ 231264 w 752994"/>
                <a:gd name="connsiteY383" fmla="*/ 69905 h 1333436"/>
                <a:gd name="connsiteX384" fmla="*/ 216778 w 752994"/>
                <a:gd name="connsiteY384" fmla="*/ 82741 h 1333436"/>
                <a:gd name="connsiteX385" fmla="*/ 214134 w 752994"/>
                <a:gd name="connsiteY385" fmla="*/ 93536 h 1333436"/>
                <a:gd name="connsiteX386" fmla="*/ 214535 w 752994"/>
                <a:gd name="connsiteY386" fmla="*/ 96801 h 1333436"/>
                <a:gd name="connsiteX387" fmla="*/ 216378 w 752994"/>
                <a:gd name="connsiteY387" fmla="*/ 96801 h 1333436"/>
                <a:gd name="connsiteX388" fmla="*/ 230046 w 752994"/>
                <a:gd name="connsiteY388" fmla="*/ 85387 h 1333436"/>
                <a:gd name="connsiteX389" fmla="*/ 243298 w 752994"/>
                <a:gd name="connsiteY389" fmla="*/ 75198 h 1333436"/>
                <a:gd name="connsiteX390" fmla="*/ 246760 w 752994"/>
                <a:gd name="connsiteY390" fmla="*/ 77646 h 1333436"/>
                <a:gd name="connsiteX391" fmla="*/ 255541 w 752994"/>
                <a:gd name="connsiteY391" fmla="*/ 63376 h 1333436"/>
                <a:gd name="connsiteX392" fmla="*/ 259611 w 752994"/>
                <a:gd name="connsiteY392" fmla="*/ 43405 h 1333436"/>
                <a:gd name="connsiteX393" fmla="*/ 256967 w 752994"/>
                <a:gd name="connsiteY393" fmla="*/ 38520 h 1333436"/>
                <a:gd name="connsiteX394" fmla="*/ 253906 w 752994"/>
                <a:gd name="connsiteY394" fmla="*/ 34242 h 1333436"/>
                <a:gd name="connsiteX395" fmla="*/ 256967 w 752994"/>
                <a:gd name="connsiteY395" fmla="*/ 30161 h 1333436"/>
                <a:gd name="connsiteX396" fmla="*/ 262063 w 752994"/>
                <a:gd name="connsiteY396" fmla="*/ 27712 h 1333436"/>
                <a:gd name="connsiteX397" fmla="*/ 264915 w 752994"/>
                <a:gd name="connsiteY397" fmla="*/ 23026 h 1333436"/>
                <a:gd name="connsiteX398" fmla="*/ 267976 w 752994"/>
                <a:gd name="connsiteY398" fmla="*/ 22618 h 1333436"/>
                <a:gd name="connsiteX399" fmla="*/ 270427 w 752994"/>
                <a:gd name="connsiteY399" fmla="*/ 20787 h 1333436"/>
                <a:gd name="connsiteX400" fmla="*/ 263088 w 752994"/>
                <a:gd name="connsiteY400" fmla="*/ 13652 h 1333436"/>
                <a:gd name="connsiteX401" fmla="*/ 255541 w 752994"/>
                <a:gd name="connsiteY401" fmla="*/ 3055 h 1333436"/>
                <a:gd name="connsiteX402" fmla="*/ 256358 w 752994"/>
                <a:gd name="connsiteY402" fmla="*/ 1224 h 1333436"/>
                <a:gd name="connsiteX403" fmla="*/ 257159 w 752994"/>
                <a:gd name="connsiteY403"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7539 w 752994"/>
                <a:gd name="connsiteY19" fmla="*/ 290781 h 1333436"/>
                <a:gd name="connsiteX20" fmla="*/ 453944 w 752994"/>
                <a:gd name="connsiteY20" fmla="*/ 286495 h 1333436"/>
                <a:gd name="connsiteX21" fmla="*/ 457539 w 752994"/>
                <a:gd name="connsiteY21" fmla="*/ 290781 h 1333436"/>
                <a:gd name="connsiteX22" fmla="*/ 184180 w 752994"/>
                <a:gd name="connsiteY22" fmla="*/ 213866 h 1333436"/>
                <a:gd name="connsiteX23" fmla="*/ 184117 w 752994"/>
                <a:gd name="connsiteY23" fmla="*/ 214326 h 1333436"/>
                <a:gd name="connsiteX24" fmla="*/ 185553 w 752994"/>
                <a:gd name="connsiteY24" fmla="*/ 222494 h 1333436"/>
                <a:gd name="connsiteX25" fmla="*/ 188600 w 752994"/>
                <a:gd name="connsiteY25" fmla="*/ 226970 h 1333436"/>
                <a:gd name="connsiteX26" fmla="*/ 195542 w 752994"/>
                <a:gd name="connsiteY26" fmla="*/ 231871 h 1333436"/>
                <a:gd name="connsiteX27" fmla="*/ 203093 w 752994"/>
                <a:gd name="connsiteY27" fmla="*/ 233896 h 1333436"/>
                <a:gd name="connsiteX28" fmla="*/ 217192 w 752994"/>
                <a:gd name="connsiteY28" fmla="*/ 232075 h 1333436"/>
                <a:gd name="connsiteX29" fmla="*/ 225136 w 752994"/>
                <a:gd name="connsiteY29" fmla="*/ 229829 h 1333436"/>
                <a:gd name="connsiteX30" fmla="*/ 235558 w 752994"/>
                <a:gd name="connsiteY30" fmla="*/ 232483 h 1333436"/>
                <a:gd name="connsiteX31" fmla="*/ 242499 w 752994"/>
                <a:gd name="connsiteY31" fmla="*/ 237163 h 1333436"/>
                <a:gd name="connsiteX32" fmla="*/ 248418 w 752994"/>
                <a:gd name="connsiteY32" fmla="*/ 244701 h 1333436"/>
                <a:gd name="connsiteX33" fmla="*/ 255359 w 752994"/>
                <a:gd name="connsiteY33" fmla="*/ 244906 h 1333436"/>
                <a:gd name="connsiteX34" fmla="*/ 258210 w 752994"/>
                <a:gd name="connsiteY34" fmla="*/ 244906 h 1333436"/>
                <a:gd name="connsiteX35" fmla="*/ 263303 w 752994"/>
                <a:gd name="connsiteY35" fmla="*/ 246131 h 1333436"/>
                <a:gd name="connsiteX36" fmla="*/ 269438 w 752994"/>
                <a:gd name="connsiteY36" fmla="*/ 243697 h 1333436"/>
                <a:gd name="connsiteX37" fmla="*/ 274944 w 752994"/>
                <a:gd name="connsiteY37" fmla="*/ 241451 h 1333436"/>
                <a:gd name="connsiteX38" fmla="*/ 281276 w 752994"/>
                <a:gd name="connsiteY38" fmla="*/ 245722 h 1333436"/>
                <a:gd name="connsiteX39" fmla="*/ 289240 w 752994"/>
                <a:gd name="connsiteY39" fmla="*/ 250419 h 1333436"/>
                <a:gd name="connsiteX40" fmla="*/ 297597 w 752994"/>
                <a:gd name="connsiteY40" fmla="*/ 248581 h 1333436"/>
                <a:gd name="connsiteX41" fmla="*/ 310261 w 752994"/>
                <a:gd name="connsiteY41" fmla="*/ 246539 h 1333436"/>
                <a:gd name="connsiteX42" fmla="*/ 324340 w 752994"/>
                <a:gd name="connsiteY42" fmla="*/ 244497 h 1333436"/>
                <a:gd name="connsiteX43" fmla="*/ 333523 w 752994"/>
                <a:gd name="connsiteY43" fmla="*/ 243289 h 1333436"/>
                <a:gd name="connsiteX44" fmla="*/ 341271 w 752994"/>
                <a:gd name="connsiteY44" fmla="*/ 246539 h 1333436"/>
                <a:gd name="connsiteX45" fmla="*/ 348428 w 752994"/>
                <a:gd name="connsiteY45" fmla="*/ 250011 h 1333436"/>
                <a:gd name="connsiteX46" fmla="*/ 351279 w 752994"/>
                <a:gd name="connsiteY46" fmla="*/ 247356 h 1333436"/>
                <a:gd name="connsiteX47" fmla="*/ 355566 w 752994"/>
                <a:gd name="connsiteY47" fmla="*/ 244293 h 1333436"/>
                <a:gd name="connsiteX48" fmla="*/ 365772 w 752994"/>
                <a:gd name="connsiteY48" fmla="*/ 248785 h 1333436"/>
                <a:gd name="connsiteX49" fmla="*/ 381483 w 752994"/>
                <a:gd name="connsiteY49" fmla="*/ 254912 h 1333436"/>
                <a:gd name="connsiteX50" fmla="*/ 381896 w 752994"/>
                <a:gd name="connsiteY50" fmla="*/ 255320 h 1333436"/>
                <a:gd name="connsiteX51" fmla="*/ 395366 w 752994"/>
                <a:gd name="connsiteY51" fmla="*/ 257753 h 1333436"/>
                <a:gd name="connsiteX52" fmla="*/ 414145 w 752994"/>
                <a:gd name="connsiteY52" fmla="*/ 262450 h 1333436"/>
                <a:gd name="connsiteX53" fmla="*/ 431292 w 752994"/>
                <a:gd name="connsiteY53" fmla="*/ 268151 h 1333436"/>
                <a:gd name="connsiteX54" fmla="*/ 445196 w 752994"/>
                <a:gd name="connsiteY54" fmla="*/ 269890 h 1333436"/>
                <a:gd name="connsiteX55" fmla="*/ 444145 w 752994"/>
                <a:gd name="connsiteY55" fmla="*/ 267441 h 1333436"/>
                <a:gd name="connsiteX56" fmla="*/ 444145 w 752994"/>
                <a:gd name="connsiteY56" fmla="*/ 267034 h 1333436"/>
                <a:gd name="connsiteX57" fmla="*/ 444155 w 752994"/>
                <a:gd name="connsiteY57" fmla="*/ 266811 h 1333436"/>
                <a:gd name="connsiteX58" fmla="*/ 430733 w 752994"/>
                <a:gd name="connsiteY58" fmla="*/ 265139 h 1333436"/>
                <a:gd name="connsiteX59" fmla="*/ 413603 w 752994"/>
                <a:gd name="connsiteY59" fmla="*/ 259426 h 1333436"/>
                <a:gd name="connsiteX60" fmla="*/ 394839 w 752994"/>
                <a:gd name="connsiteY60" fmla="*/ 254739 h 1333436"/>
                <a:gd name="connsiteX61" fmla="*/ 381379 w 752994"/>
                <a:gd name="connsiteY61" fmla="*/ 252303 h 1333436"/>
                <a:gd name="connsiteX62" fmla="*/ 380962 w 752994"/>
                <a:gd name="connsiteY62" fmla="*/ 251895 h 1333436"/>
                <a:gd name="connsiteX63" fmla="*/ 365258 w 752994"/>
                <a:gd name="connsiteY63" fmla="*/ 245774 h 1333436"/>
                <a:gd name="connsiteX64" fmla="*/ 355067 w 752994"/>
                <a:gd name="connsiteY64" fmla="*/ 241285 h 1333436"/>
                <a:gd name="connsiteX65" fmla="*/ 350789 w 752994"/>
                <a:gd name="connsiteY65" fmla="*/ 244352 h 1333436"/>
                <a:gd name="connsiteX66" fmla="*/ 347920 w 752994"/>
                <a:gd name="connsiteY66" fmla="*/ 246998 h 1333436"/>
                <a:gd name="connsiteX67" fmla="*/ 340789 w 752994"/>
                <a:gd name="connsiteY67" fmla="*/ 243536 h 1333436"/>
                <a:gd name="connsiteX68" fmla="*/ 333034 w 752994"/>
                <a:gd name="connsiteY68" fmla="*/ 240271 h 1333436"/>
                <a:gd name="connsiteX69" fmla="*/ 323868 w 752994"/>
                <a:gd name="connsiteY69" fmla="*/ 241495 h 1333436"/>
                <a:gd name="connsiteX70" fmla="*/ 309783 w 752994"/>
                <a:gd name="connsiteY70" fmla="*/ 243536 h 1333436"/>
                <a:gd name="connsiteX71" fmla="*/ 297140 w 752994"/>
                <a:gd name="connsiteY71" fmla="*/ 245576 h 1333436"/>
                <a:gd name="connsiteX72" fmla="*/ 288775 w 752994"/>
                <a:gd name="connsiteY72" fmla="*/ 247406 h 1333436"/>
                <a:gd name="connsiteX73" fmla="*/ 280827 w 752994"/>
                <a:gd name="connsiteY73" fmla="*/ 242720 h 1333436"/>
                <a:gd name="connsiteX74" fmla="*/ 274497 w 752994"/>
                <a:gd name="connsiteY74" fmla="*/ 238441 h 1333436"/>
                <a:gd name="connsiteX75" fmla="*/ 269001 w 752994"/>
                <a:gd name="connsiteY75" fmla="*/ 240679 h 1333436"/>
                <a:gd name="connsiteX76" fmla="*/ 262880 w 752994"/>
                <a:gd name="connsiteY76" fmla="*/ 243128 h 1333436"/>
                <a:gd name="connsiteX77" fmla="*/ 260028 w 752994"/>
                <a:gd name="connsiteY77" fmla="*/ 242720 h 1333436"/>
                <a:gd name="connsiteX78" fmla="*/ 247994 w 752994"/>
                <a:gd name="connsiteY78" fmla="*/ 241693 h 1333436"/>
                <a:gd name="connsiteX79" fmla="*/ 242081 w 752994"/>
                <a:gd name="connsiteY79" fmla="*/ 234162 h 1333436"/>
                <a:gd name="connsiteX80" fmla="*/ 235142 w 752994"/>
                <a:gd name="connsiteY80" fmla="*/ 229476 h 1333436"/>
                <a:gd name="connsiteX81" fmla="*/ 224742 w 752994"/>
                <a:gd name="connsiteY81" fmla="*/ 226817 h 1333436"/>
                <a:gd name="connsiteX82" fmla="*/ 216778 w 752994"/>
                <a:gd name="connsiteY82" fmla="*/ 229068 h 1333436"/>
                <a:gd name="connsiteX83" fmla="*/ 202709 w 752994"/>
                <a:gd name="connsiteY83" fmla="*/ 230898 h 1333436"/>
                <a:gd name="connsiteX84" fmla="*/ 195162 w 752994"/>
                <a:gd name="connsiteY84" fmla="*/ 228857 h 1333436"/>
                <a:gd name="connsiteX85" fmla="*/ 188223 w 752994"/>
                <a:gd name="connsiteY85" fmla="*/ 223973 h 1333436"/>
                <a:gd name="connsiteX86" fmla="*/ 185163 w 752994"/>
                <a:gd name="connsiteY86" fmla="*/ 219484 h 1333436"/>
                <a:gd name="connsiteX87" fmla="*/ 184180 w 752994"/>
                <a:gd name="connsiteY87" fmla="*/ 213866 h 1333436"/>
                <a:gd name="connsiteX88" fmla="*/ 257159 w 752994"/>
                <a:gd name="connsiteY88" fmla="*/ 0 h 1333436"/>
                <a:gd name="connsiteX89" fmla="*/ 493147 w 752994"/>
                <a:gd name="connsiteY89" fmla="*/ 73157 h 1333436"/>
                <a:gd name="connsiteX90" fmla="*/ 492970 w 752994"/>
                <a:gd name="connsiteY90" fmla="*/ 73792 h 1333436"/>
                <a:gd name="connsiteX91" fmla="*/ 525816 w 752994"/>
                <a:gd name="connsiteY91" fmla="*/ 82491 h 1333436"/>
                <a:gd name="connsiteX92" fmla="*/ 520098 w 752994"/>
                <a:gd name="connsiteY92" fmla="*/ 111245 h 1333436"/>
                <a:gd name="connsiteX93" fmla="*/ 512552 w 752994"/>
                <a:gd name="connsiteY93" fmla="*/ 143854 h 1333436"/>
                <a:gd name="connsiteX94" fmla="*/ 517849 w 752994"/>
                <a:gd name="connsiteY94" fmla="*/ 157740 h 1333436"/>
                <a:gd name="connsiteX95" fmla="*/ 523160 w 752994"/>
                <a:gd name="connsiteY95" fmla="*/ 172009 h 1333436"/>
                <a:gd name="connsiteX96" fmla="*/ 521535 w 752994"/>
                <a:gd name="connsiteY96" fmla="*/ 178928 h 1333436"/>
                <a:gd name="connsiteX97" fmla="*/ 520098 w 752994"/>
                <a:gd name="connsiteY97" fmla="*/ 186279 h 1333436"/>
                <a:gd name="connsiteX98" fmla="*/ 526019 w 752994"/>
                <a:gd name="connsiteY98" fmla="*/ 193629 h 1333436"/>
                <a:gd name="connsiteX99" fmla="*/ 537251 w 752994"/>
                <a:gd name="connsiteY99" fmla="*/ 206270 h 1333436"/>
                <a:gd name="connsiteX100" fmla="*/ 542765 w 752994"/>
                <a:gd name="connsiteY100" fmla="*/ 217475 h 1333436"/>
                <a:gd name="connsiteX101" fmla="*/ 546857 w 752994"/>
                <a:gd name="connsiteY101" fmla="*/ 230930 h 1333436"/>
                <a:gd name="connsiteX102" fmla="*/ 549499 w 752994"/>
                <a:gd name="connsiteY102" fmla="*/ 235622 h 1333436"/>
                <a:gd name="connsiteX103" fmla="*/ 553388 w 752994"/>
                <a:gd name="connsiteY103" fmla="*/ 240722 h 1333436"/>
                <a:gd name="connsiteX104" fmla="*/ 557465 w 752994"/>
                <a:gd name="connsiteY104" fmla="*/ 246037 h 1333436"/>
                <a:gd name="connsiteX105" fmla="*/ 561761 w 752994"/>
                <a:gd name="connsiteY105" fmla="*/ 248671 h 1333436"/>
                <a:gd name="connsiteX106" fmla="*/ 567478 w 752994"/>
                <a:gd name="connsiteY106" fmla="*/ 247665 h 1333436"/>
                <a:gd name="connsiteX107" fmla="*/ 569931 w 752994"/>
                <a:gd name="connsiteY107" fmla="*/ 249293 h 1333436"/>
                <a:gd name="connsiteX108" fmla="*/ 570540 w 752994"/>
                <a:gd name="connsiteY108" fmla="*/ 251951 h 1333436"/>
                <a:gd name="connsiteX109" fmla="*/ 561964 w 752994"/>
                <a:gd name="connsiteY109" fmla="*/ 267656 h 1333436"/>
                <a:gd name="connsiteX110" fmla="*/ 553591 w 752994"/>
                <a:gd name="connsiteY110" fmla="*/ 289659 h 1333436"/>
                <a:gd name="connsiteX111" fmla="*/ 554810 w 752994"/>
                <a:gd name="connsiteY111" fmla="*/ 292939 h 1333436"/>
                <a:gd name="connsiteX112" fmla="*/ 556246 w 752994"/>
                <a:gd name="connsiteY112" fmla="*/ 299260 h 1333436"/>
                <a:gd name="connsiteX113" fmla="*/ 552778 w 752994"/>
                <a:gd name="connsiteY113" fmla="*/ 301917 h 1333436"/>
                <a:gd name="connsiteX114" fmla="*/ 549295 w 752994"/>
                <a:gd name="connsiteY114" fmla="*/ 306993 h 1333436"/>
                <a:gd name="connsiteX115" fmla="*/ 547061 w 752994"/>
                <a:gd name="connsiteY115" fmla="*/ 313122 h 1333436"/>
                <a:gd name="connsiteX116" fmla="*/ 544811 w 752994"/>
                <a:gd name="connsiteY116" fmla="*/ 316593 h 1333436"/>
                <a:gd name="connsiteX117" fmla="*/ 549919 w 752994"/>
                <a:gd name="connsiteY117" fmla="*/ 322698 h 1333436"/>
                <a:gd name="connsiteX118" fmla="*/ 553184 w 752994"/>
                <a:gd name="connsiteY118" fmla="*/ 325955 h 1333436"/>
                <a:gd name="connsiteX119" fmla="*/ 555840 w 752994"/>
                <a:gd name="connsiteY119" fmla="*/ 328205 h 1333436"/>
                <a:gd name="connsiteX120" fmla="*/ 574212 w 752994"/>
                <a:gd name="connsiteY120" fmla="*/ 318820 h 1333436"/>
                <a:gd name="connsiteX121" fmla="*/ 579523 w 752994"/>
                <a:gd name="connsiteY121" fmla="*/ 326577 h 1333436"/>
                <a:gd name="connsiteX122" fmla="*/ 580539 w 752994"/>
                <a:gd name="connsiteY122" fmla="*/ 334933 h 1333436"/>
                <a:gd name="connsiteX123" fmla="*/ 579726 w 752994"/>
                <a:gd name="connsiteY123" fmla="*/ 343097 h 1333436"/>
                <a:gd name="connsiteX124" fmla="*/ 581366 w 752994"/>
                <a:gd name="connsiteY124" fmla="*/ 350231 h 1333436"/>
                <a:gd name="connsiteX125" fmla="*/ 586256 w 752994"/>
                <a:gd name="connsiteY125" fmla="*/ 355930 h 1333436"/>
                <a:gd name="connsiteX126" fmla="*/ 589536 w 752994"/>
                <a:gd name="connsiteY126" fmla="*/ 362059 h 1333436"/>
                <a:gd name="connsiteX127" fmla="*/ 588099 w 752994"/>
                <a:gd name="connsiteY127" fmla="*/ 369600 h 1333436"/>
                <a:gd name="connsiteX128" fmla="*/ 586459 w 752994"/>
                <a:gd name="connsiteY128" fmla="*/ 377357 h 1333436"/>
                <a:gd name="connsiteX129" fmla="*/ 588709 w 752994"/>
                <a:gd name="connsiteY129" fmla="*/ 381835 h 1333436"/>
                <a:gd name="connsiteX130" fmla="*/ 595036 w 752994"/>
                <a:gd name="connsiteY130" fmla="*/ 382457 h 1333436"/>
                <a:gd name="connsiteX131" fmla="*/ 599331 w 752994"/>
                <a:gd name="connsiteY131" fmla="*/ 385306 h 1333436"/>
                <a:gd name="connsiteX132" fmla="*/ 601987 w 752994"/>
                <a:gd name="connsiteY132" fmla="*/ 391004 h 1333436"/>
                <a:gd name="connsiteX133" fmla="*/ 602799 w 752994"/>
                <a:gd name="connsiteY133" fmla="*/ 404076 h 1333436"/>
                <a:gd name="connsiteX134" fmla="*/ 606892 w 752994"/>
                <a:gd name="connsiteY134" fmla="*/ 415688 h 1333436"/>
                <a:gd name="connsiteX135" fmla="*/ 610563 w 752994"/>
                <a:gd name="connsiteY135" fmla="*/ 412217 h 1333436"/>
                <a:gd name="connsiteX136" fmla="*/ 617920 w 752994"/>
                <a:gd name="connsiteY136" fmla="*/ 408769 h 1333436"/>
                <a:gd name="connsiteX137" fmla="*/ 624654 w 752994"/>
                <a:gd name="connsiteY137" fmla="*/ 411211 h 1333436"/>
                <a:gd name="connsiteX138" fmla="*/ 634652 w 752994"/>
                <a:gd name="connsiteY138" fmla="*/ 410182 h 1333436"/>
                <a:gd name="connsiteX139" fmla="*/ 640573 w 752994"/>
                <a:gd name="connsiteY139" fmla="*/ 407739 h 1333436"/>
                <a:gd name="connsiteX140" fmla="*/ 646711 w 752994"/>
                <a:gd name="connsiteY140" fmla="*/ 410589 h 1333436"/>
                <a:gd name="connsiteX141" fmla="*/ 650383 w 752994"/>
                <a:gd name="connsiteY141" fmla="*/ 410589 h 1333436"/>
                <a:gd name="connsiteX142" fmla="*/ 654257 w 752994"/>
                <a:gd name="connsiteY142" fmla="*/ 411618 h 1333436"/>
                <a:gd name="connsiteX143" fmla="*/ 656913 w 752994"/>
                <a:gd name="connsiteY143" fmla="*/ 413653 h 1333436"/>
                <a:gd name="connsiteX144" fmla="*/ 660802 w 752994"/>
                <a:gd name="connsiteY144" fmla="*/ 415090 h 1333436"/>
                <a:gd name="connsiteX145" fmla="*/ 669581 w 752994"/>
                <a:gd name="connsiteY145" fmla="*/ 415904 h 1333436"/>
                <a:gd name="connsiteX146" fmla="*/ 672237 w 752994"/>
                <a:gd name="connsiteY146" fmla="*/ 415688 h 1333436"/>
                <a:gd name="connsiteX147" fmla="*/ 675705 w 752994"/>
                <a:gd name="connsiteY147" fmla="*/ 409367 h 1333436"/>
                <a:gd name="connsiteX148" fmla="*/ 679986 w 752994"/>
                <a:gd name="connsiteY148" fmla="*/ 403238 h 1333436"/>
                <a:gd name="connsiteX149" fmla="*/ 693264 w 752994"/>
                <a:gd name="connsiteY149" fmla="*/ 419567 h 1333436"/>
                <a:gd name="connsiteX150" fmla="*/ 688563 w 752994"/>
                <a:gd name="connsiteY150" fmla="*/ 448321 h 1333436"/>
                <a:gd name="connsiteX151" fmla="*/ 663949 w 752994"/>
                <a:gd name="connsiteY151" fmla="*/ 590165 h 1333436"/>
                <a:gd name="connsiteX152" fmla="*/ 666304 w 752994"/>
                <a:gd name="connsiteY152" fmla="*/ 590504 h 1333436"/>
                <a:gd name="connsiteX153" fmla="*/ 655288 w 752994"/>
                <a:gd name="connsiteY153" fmla="*/ 656178 h 1333436"/>
                <a:gd name="connsiteX154" fmla="*/ 681808 w 752994"/>
                <a:gd name="connsiteY154" fmla="*/ 662301 h 1333436"/>
                <a:gd name="connsiteX155" fmla="*/ 752994 w 752994"/>
                <a:gd name="connsiteY155" fmla="*/ 675560 h 1333436"/>
                <a:gd name="connsiteX156" fmla="*/ 714651 w 752994"/>
                <a:gd name="connsiteY156" fmla="*/ 946985 h 1333436"/>
                <a:gd name="connsiteX157" fmla="*/ 693426 w 752994"/>
                <a:gd name="connsiteY157" fmla="*/ 944128 h 1333436"/>
                <a:gd name="connsiteX158" fmla="*/ 457412 w 752994"/>
                <a:gd name="connsiteY158" fmla="*/ 897429 h 1333436"/>
                <a:gd name="connsiteX159" fmla="*/ 442753 w 752994"/>
                <a:gd name="connsiteY159" fmla="*/ 950656 h 1333436"/>
                <a:gd name="connsiteX160" fmla="*/ 442550 w 752994"/>
                <a:gd name="connsiteY160" fmla="*/ 951272 h 1333436"/>
                <a:gd name="connsiteX161" fmla="*/ 439290 w 752994"/>
                <a:gd name="connsiteY161" fmla="*/ 958807 h 1333436"/>
                <a:gd name="connsiteX162" fmla="*/ 432957 w 752994"/>
                <a:gd name="connsiteY162" fmla="*/ 963487 h 1333436"/>
                <a:gd name="connsiteX163" fmla="*/ 429291 w 752994"/>
                <a:gd name="connsiteY163" fmla="*/ 959817 h 1333436"/>
                <a:gd name="connsiteX164" fmla="*/ 425610 w 752994"/>
                <a:gd name="connsiteY164" fmla="*/ 955532 h 1333436"/>
                <a:gd name="connsiteX165" fmla="*/ 419292 w 752994"/>
                <a:gd name="connsiteY165" fmla="*/ 953291 h 1333436"/>
                <a:gd name="connsiteX166" fmla="*/ 414597 w 752994"/>
                <a:gd name="connsiteY166" fmla="*/ 951272 h 1333436"/>
                <a:gd name="connsiteX167" fmla="*/ 407047 w 752994"/>
                <a:gd name="connsiteY167" fmla="*/ 956148 h 1333436"/>
                <a:gd name="connsiteX168" fmla="*/ 403787 w 752994"/>
                <a:gd name="connsiteY168" fmla="*/ 963290 h 1333436"/>
                <a:gd name="connsiteX169" fmla="*/ 404052 w 752994"/>
                <a:gd name="connsiteY169" fmla="*/ 963688 h 1333436"/>
                <a:gd name="connsiteX170" fmla="*/ 406917 w 752994"/>
                <a:gd name="connsiteY170" fmla="*/ 957427 h 1333436"/>
                <a:gd name="connsiteX171" fmla="*/ 414454 w 752994"/>
                <a:gd name="connsiteY171" fmla="*/ 952534 h 1333436"/>
                <a:gd name="connsiteX172" fmla="*/ 419146 w 752994"/>
                <a:gd name="connsiteY172" fmla="*/ 954567 h 1333436"/>
                <a:gd name="connsiteX173" fmla="*/ 425469 w 752994"/>
                <a:gd name="connsiteY173" fmla="*/ 956803 h 1333436"/>
                <a:gd name="connsiteX174" fmla="*/ 429146 w 752994"/>
                <a:gd name="connsiteY174" fmla="*/ 961092 h 1333436"/>
                <a:gd name="connsiteX175" fmla="*/ 432807 w 752994"/>
                <a:gd name="connsiteY175" fmla="*/ 964757 h 1333436"/>
                <a:gd name="connsiteX176" fmla="*/ 439129 w 752994"/>
                <a:gd name="connsiteY176" fmla="*/ 960065 h 1333436"/>
                <a:gd name="connsiteX177" fmla="*/ 442407 w 752994"/>
                <a:gd name="connsiteY177" fmla="*/ 952534 h 1333436"/>
                <a:gd name="connsiteX178" fmla="*/ 689408 w 752994"/>
                <a:gd name="connsiteY178" fmla="*/ 945184 h 1333436"/>
                <a:gd name="connsiteX179" fmla="*/ 710622 w 752994"/>
                <a:gd name="connsiteY179" fmla="*/ 948043 h 1333436"/>
                <a:gd name="connsiteX180" fmla="*/ 654533 w 752994"/>
                <a:gd name="connsiteY180" fmla="*/ 1333436 h 1333436"/>
                <a:gd name="connsiteX181" fmla="*/ 546831 w 752994"/>
                <a:gd name="connsiteY181" fmla="*/ 1317126 h 1333436"/>
                <a:gd name="connsiteX182" fmla="*/ 351227 w 752994"/>
                <a:gd name="connsiteY182" fmla="*/ 1194172 h 1333436"/>
                <a:gd name="connsiteX183" fmla="*/ 361011 w 752994"/>
                <a:gd name="connsiteY183" fmla="*/ 1182755 h 1333436"/>
                <a:gd name="connsiteX184" fmla="*/ 368981 w 752994"/>
                <a:gd name="connsiteY184" fmla="*/ 1182130 h 1333436"/>
                <a:gd name="connsiteX185" fmla="*/ 369571 w 752994"/>
                <a:gd name="connsiteY185" fmla="*/ 1181558 h 1333436"/>
                <a:gd name="connsiteX186" fmla="*/ 362372 w 752994"/>
                <a:gd name="connsiteY186" fmla="*/ 1182120 h 1333436"/>
                <a:gd name="connsiteX187" fmla="*/ 229464 w 752994"/>
                <a:gd name="connsiteY187" fmla="*/ 1161721 h 1333436"/>
                <a:gd name="connsiteX188" fmla="*/ 227427 w 752994"/>
                <a:gd name="connsiteY188" fmla="*/ 1157269 h 1333436"/>
                <a:gd name="connsiteX189" fmla="*/ 224967 w 752994"/>
                <a:gd name="connsiteY189" fmla="*/ 1152575 h 1333436"/>
                <a:gd name="connsiteX190" fmla="*/ 225582 w 752994"/>
                <a:gd name="connsiteY190" fmla="*/ 1144808 h 1333436"/>
                <a:gd name="connsiteX191" fmla="*/ 227215 w 752994"/>
                <a:gd name="connsiteY191" fmla="*/ 1135834 h 1333436"/>
                <a:gd name="connsiteX192" fmla="*/ 227215 w 752994"/>
                <a:gd name="connsiteY192" fmla="*/ 1134212 h 1333436"/>
                <a:gd name="connsiteX193" fmla="*/ 225179 w 752994"/>
                <a:gd name="connsiteY193" fmla="*/ 1114020 h 1333436"/>
                <a:gd name="connsiteX194" fmla="*/ 217839 w 752994"/>
                <a:gd name="connsiteY194" fmla="*/ 1100352 h 1333436"/>
                <a:gd name="connsiteX195" fmla="*/ 199661 w 752994"/>
                <a:gd name="connsiteY195" fmla="*/ 1076502 h 1333436"/>
                <a:gd name="connsiteX196" fmla="*/ 196395 w 752994"/>
                <a:gd name="connsiteY196" fmla="*/ 1071807 h 1333436"/>
                <a:gd name="connsiteX197" fmla="*/ 190880 w 752994"/>
                <a:gd name="connsiteY197" fmla="*/ 1067527 h 1333436"/>
                <a:gd name="connsiteX198" fmla="*/ 187210 w 752994"/>
                <a:gd name="connsiteY198" fmla="*/ 1068735 h 1333436"/>
                <a:gd name="connsiteX199" fmla="*/ 180062 w 752994"/>
                <a:gd name="connsiteY199" fmla="*/ 1066699 h 1333436"/>
                <a:gd name="connsiteX200" fmla="*/ 180466 w 752994"/>
                <a:gd name="connsiteY200" fmla="*/ 1053031 h 1333436"/>
                <a:gd name="connsiteX201" fmla="*/ 180062 w 752994"/>
                <a:gd name="connsiteY201" fmla="*/ 1045299 h 1333436"/>
                <a:gd name="connsiteX202" fmla="*/ 174144 w 752994"/>
                <a:gd name="connsiteY202" fmla="*/ 1044057 h 1333436"/>
                <a:gd name="connsiteX203" fmla="*/ 158426 w 752994"/>
                <a:gd name="connsiteY203" fmla="*/ 1042641 h 1333436"/>
                <a:gd name="connsiteX204" fmla="*/ 149857 w 752994"/>
                <a:gd name="connsiteY204" fmla="*/ 1035497 h 1333436"/>
                <a:gd name="connsiteX205" fmla="*/ 142497 w 752994"/>
                <a:gd name="connsiteY205" fmla="*/ 1028766 h 1333436"/>
                <a:gd name="connsiteX206" fmla="*/ 140864 w 752994"/>
                <a:gd name="connsiteY206" fmla="*/ 1020620 h 1333436"/>
                <a:gd name="connsiteX207" fmla="*/ 138212 w 752994"/>
                <a:gd name="connsiteY207" fmla="*/ 1013061 h 1333436"/>
                <a:gd name="connsiteX208" fmla="*/ 131064 w 752994"/>
                <a:gd name="connsiteY208" fmla="*/ 1007159 h 1333436"/>
                <a:gd name="connsiteX209" fmla="*/ 121264 w 752994"/>
                <a:gd name="connsiteY209" fmla="*/ 1005330 h 1333436"/>
                <a:gd name="connsiteX210" fmla="*/ 112483 w 752994"/>
                <a:gd name="connsiteY210" fmla="*/ 1001671 h 1333436"/>
                <a:gd name="connsiteX211" fmla="*/ 105950 w 752994"/>
                <a:gd name="connsiteY211" fmla="*/ 995734 h 1333436"/>
                <a:gd name="connsiteX212" fmla="*/ 97380 w 752994"/>
                <a:gd name="connsiteY212" fmla="*/ 994526 h 1333436"/>
                <a:gd name="connsiteX213" fmla="*/ 87984 w 752994"/>
                <a:gd name="connsiteY213" fmla="*/ 991040 h 1333436"/>
                <a:gd name="connsiteX214" fmla="*/ 80029 w 752994"/>
                <a:gd name="connsiteY214" fmla="*/ 985138 h 1333436"/>
                <a:gd name="connsiteX215" fmla="*/ 77166 w 752994"/>
                <a:gd name="connsiteY215" fmla="*/ 976164 h 1333436"/>
                <a:gd name="connsiteX216" fmla="*/ 79203 w 752994"/>
                <a:gd name="connsiteY216" fmla="*/ 970676 h 1333436"/>
                <a:gd name="connsiteX217" fmla="*/ 82470 w 752994"/>
                <a:gd name="connsiteY217" fmla="*/ 963117 h 1333436"/>
                <a:gd name="connsiteX218" fmla="*/ 84314 w 752994"/>
                <a:gd name="connsiteY218" fmla="*/ 954557 h 1333436"/>
                <a:gd name="connsiteX219" fmla="*/ 86351 w 752994"/>
                <a:gd name="connsiteY219" fmla="*/ 948033 h 1333436"/>
                <a:gd name="connsiteX220" fmla="*/ 86159 w 752994"/>
                <a:gd name="connsiteY220" fmla="*/ 942925 h 1333436"/>
                <a:gd name="connsiteX221" fmla="*/ 83085 w 752994"/>
                <a:gd name="connsiteY221" fmla="*/ 939853 h 1333436"/>
                <a:gd name="connsiteX222" fmla="*/ 77570 w 752994"/>
                <a:gd name="connsiteY222" fmla="*/ 937437 h 1333436"/>
                <a:gd name="connsiteX223" fmla="*/ 76763 w 752994"/>
                <a:gd name="connsiteY223" fmla="*/ 931915 h 1333436"/>
                <a:gd name="connsiteX224" fmla="*/ 78800 w 752994"/>
                <a:gd name="connsiteY224" fmla="*/ 927013 h 1333436"/>
                <a:gd name="connsiteX225" fmla="*/ 79626 w 752994"/>
                <a:gd name="connsiteY225" fmla="*/ 922526 h 1333436"/>
                <a:gd name="connsiteX226" fmla="*/ 77781 w 752994"/>
                <a:gd name="connsiteY226" fmla="*/ 919903 h 1333436"/>
                <a:gd name="connsiteX227" fmla="*/ 74303 w 752994"/>
                <a:gd name="connsiteY227" fmla="*/ 917418 h 1333436"/>
                <a:gd name="connsiteX228" fmla="*/ 71863 w 752994"/>
                <a:gd name="connsiteY228" fmla="*/ 915174 h 1333436"/>
                <a:gd name="connsiteX229" fmla="*/ 71652 w 752994"/>
                <a:gd name="connsiteY229" fmla="*/ 910894 h 1333436"/>
                <a:gd name="connsiteX230" fmla="*/ 70633 w 752994"/>
                <a:gd name="connsiteY230" fmla="*/ 906614 h 1333436"/>
                <a:gd name="connsiteX231" fmla="*/ 68385 w 752994"/>
                <a:gd name="connsiteY231" fmla="*/ 902749 h 1333436"/>
                <a:gd name="connsiteX232" fmla="*/ 61045 w 752994"/>
                <a:gd name="connsiteY232" fmla="*/ 889494 h 1333436"/>
                <a:gd name="connsiteX233" fmla="*/ 57971 w 752994"/>
                <a:gd name="connsiteY233" fmla="*/ 875619 h 1333436"/>
                <a:gd name="connsiteX234" fmla="*/ 52264 w 752994"/>
                <a:gd name="connsiteY234" fmla="*/ 862572 h 1333436"/>
                <a:gd name="connsiteX235" fmla="*/ 44309 w 752994"/>
                <a:gd name="connsiteY235" fmla="*/ 850561 h 1333436"/>
                <a:gd name="connsiteX236" fmla="*/ 45520 w 752994"/>
                <a:gd name="connsiteY236" fmla="*/ 827090 h 1333436"/>
                <a:gd name="connsiteX237" fmla="*/ 53071 w 752994"/>
                <a:gd name="connsiteY237" fmla="*/ 822396 h 1333436"/>
                <a:gd name="connsiteX238" fmla="*/ 57375 w 752994"/>
                <a:gd name="connsiteY238" fmla="*/ 816493 h 1333436"/>
                <a:gd name="connsiteX239" fmla="*/ 55319 w 752994"/>
                <a:gd name="connsiteY239" fmla="*/ 801617 h 1333436"/>
                <a:gd name="connsiteX240" fmla="*/ 48383 w 752994"/>
                <a:gd name="connsiteY240" fmla="*/ 802204 h 1333436"/>
                <a:gd name="connsiteX241" fmla="*/ 40428 w 752994"/>
                <a:gd name="connsiteY241" fmla="*/ 797924 h 1333436"/>
                <a:gd name="connsiteX242" fmla="*/ 37565 w 752994"/>
                <a:gd name="connsiteY242" fmla="*/ 790606 h 1333436"/>
                <a:gd name="connsiteX243" fmla="*/ 37565 w 752994"/>
                <a:gd name="connsiteY243" fmla="*/ 790399 h 1333436"/>
                <a:gd name="connsiteX244" fmla="*/ 35931 w 752994"/>
                <a:gd name="connsiteY244" fmla="*/ 785912 h 1333436"/>
                <a:gd name="connsiteX245" fmla="*/ 34510 w 752994"/>
                <a:gd name="connsiteY245" fmla="*/ 780597 h 1333436"/>
                <a:gd name="connsiteX246" fmla="*/ 36335 w 752994"/>
                <a:gd name="connsiteY246" fmla="*/ 774280 h 1333436"/>
                <a:gd name="connsiteX247" fmla="*/ 38180 w 752994"/>
                <a:gd name="connsiteY247" fmla="*/ 766721 h 1333436"/>
                <a:gd name="connsiteX248" fmla="*/ 37161 w 752994"/>
                <a:gd name="connsiteY248" fmla="*/ 760405 h 1333436"/>
                <a:gd name="connsiteX249" fmla="*/ 35720 w 752994"/>
                <a:gd name="connsiteY249" fmla="*/ 754710 h 1333436"/>
                <a:gd name="connsiteX250" fmla="*/ 36546 w 752994"/>
                <a:gd name="connsiteY250" fmla="*/ 748773 h 1333436"/>
                <a:gd name="connsiteX251" fmla="*/ 38372 w 752994"/>
                <a:gd name="connsiteY251" fmla="*/ 744528 h 1333436"/>
                <a:gd name="connsiteX252" fmla="*/ 41638 w 752994"/>
                <a:gd name="connsiteY252" fmla="*/ 744321 h 1333436"/>
                <a:gd name="connsiteX253" fmla="*/ 44713 w 752994"/>
                <a:gd name="connsiteY253" fmla="*/ 746357 h 1333436"/>
                <a:gd name="connsiteX254" fmla="*/ 47364 w 752994"/>
                <a:gd name="connsiteY254" fmla="*/ 753260 h 1333436"/>
                <a:gd name="connsiteX255" fmla="*/ 55742 w 752994"/>
                <a:gd name="connsiteY255" fmla="*/ 764305 h 1333436"/>
                <a:gd name="connsiteX256" fmla="*/ 56338 w 752994"/>
                <a:gd name="connsiteY256" fmla="*/ 761233 h 1333436"/>
                <a:gd name="connsiteX257" fmla="*/ 56145 w 752994"/>
                <a:gd name="connsiteY257" fmla="*/ 757368 h 1333436"/>
                <a:gd name="connsiteX258" fmla="*/ 54916 w 752994"/>
                <a:gd name="connsiteY258" fmla="*/ 748601 h 1333436"/>
                <a:gd name="connsiteX259" fmla="*/ 52879 w 752994"/>
                <a:gd name="connsiteY259" fmla="*/ 747358 h 1333436"/>
                <a:gd name="connsiteX260" fmla="*/ 51649 w 752994"/>
                <a:gd name="connsiteY260" fmla="*/ 745322 h 1333436"/>
                <a:gd name="connsiteX261" fmla="*/ 51649 w 752994"/>
                <a:gd name="connsiteY261" fmla="*/ 739212 h 1333436"/>
                <a:gd name="connsiteX262" fmla="*/ 50227 w 752994"/>
                <a:gd name="connsiteY262" fmla="*/ 734725 h 1333436"/>
                <a:gd name="connsiteX263" fmla="*/ 48786 w 752994"/>
                <a:gd name="connsiteY263" fmla="*/ 731446 h 1333436"/>
                <a:gd name="connsiteX264" fmla="*/ 54512 w 752994"/>
                <a:gd name="connsiteY264" fmla="*/ 726372 h 1333436"/>
                <a:gd name="connsiteX265" fmla="*/ 59815 w 752994"/>
                <a:gd name="connsiteY265" fmla="*/ 725130 h 1333436"/>
                <a:gd name="connsiteX266" fmla="*/ 58182 w 752994"/>
                <a:gd name="connsiteY266" fmla="*/ 722886 h 1333436"/>
                <a:gd name="connsiteX267" fmla="*/ 51861 w 752994"/>
                <a:gd name="connsiteY267" fmla="*/ 717985 h 1333436"/>
                <a:gd name="connsiteX268" fmla="*/ 46749 w 752994"/>
                <a:gd name="connsiteY268" fmla="*/ 729617 h 1333436"/>
                <a:gd name="connsiteX269" fmla="*/ 40831 w 752994"/>
                <a:gd name="connsiteY269" fmla="*/ 739212 h 1333436"/>
                <a:gd name="connsiteX270" fmla="*/ 39601 w 752994"/>
                <a:gd name="connsiteY270" fmla="*/ 738798 h 1333436"/>
                <a:gd name="connsiteX271" fmla="*/ 39409 w 752994"/>
                <a:gd name="connsiteY271" fmla="*/ 738591 h 1333436"/>
                <a:gd name="connsiteX272" fmla="*/ 37161 w 752994"/>
                <a:gd name="connsiteY272" fmla="*/ 734725 h 1333436"/>
                <a:gd name="connsiteX273" fmla="*/ 32665 w 752994"/>
                <a:gd name="connsiteY273" fmla="*/ 727788 h 1333436"/>
                <a:gd name="connsiteX274" fmla="*/ 26747 w 752994"/>
                <a:gd name="connsiteY274" fmla="*/ 719435 h 1333436"/>
                <a:gd name="connsiteX275" fmla="*/ 23884 w 752994"/>
                <a:gd name="connsiteY275" fmla="*/ 717812 h 1333436"/>
                <a:gd name="connsiteX276" fmla="*/ 24710 w 752994"/>
                <a:gd name="connsiteY276" fmla="*/ 709632 h 1333436"/>
                <a:gd name="connsiteX277" fmla="*/ 27554 w 752994"/>
                <a:gd name="connsiteY277" fmla="*/ 701694 h 1333436"/>
                <a:gd name="connsiteX278" fmla="*/ 24902 w 752994"/>
                <a:gd name="connsiteY278" fmla="*/ 696171 h 1333436"/>
                <a:gd name="connsiteX279" fmla="*/ 24095 w 752994"/>
                <a:gd name="connsiteY279" fmla="*/ 687818 h 1333436"/>
                <a:gd name="connsiteX280" fmla="*/ 22462 w 752994"/>
                <a:gd name="connsiteY280" fmla="*/ 682330 h 1333436"/>
                <a:gd name="connsiteX281" fmla="*/ 17159 w 752994"/>
                <a:gd name="connsiteY281" fmla="*/ 677636 h 1333436"/>
                <a:gd name="connsiteX282" fmla="*/ 14296 w 752994"/>
                <a:gd name="connsiteY282" fmla="*/ 671492 h 1333436"/>
                <a:gd name="connsiteX283" fmla="*/ 12451 w 752994"/>
                <a:gd name="connsiteY283" fmla="*/ 665797 h 1333436"/>
                <a:gd name="connsiteX284" fmla="*/ 5111 w 752994"/>
                <a:gd name="connsiteY284" fmla="*/ 654994 h 1333436"/>
                <a:gd name="connsiteX285" fmla="*/ 2248 w 752994"/>
                <a:gd name="connsiteY285" fmla="*/ 645605 h 1333436"/>
                <a:gd name="connsiteX286" fmla="*/ 4496 w 752994"/>
                <a:gd name="connsiteY286" fmla="*/ 640497 h 1333436"/>
                <a:gd name="connsiteX287" fmla="*/ 6744 w 752994"/>
                <a:gd name="connsiteY287" fmla="*/ 632765 h 1333436"/>
                <a:gd name="connsiteX288" fmla="*/ 6744 w 752994"/>
                <a:gd name="connsiteY288" fmla="*/ 628485 h 1333436"/>
                <a:gd name="connsiteX289" fmla="*/ 6533 w 752994"/>
                <a:gd name="connsiteY289" fmla="*/ 620305 h 1333436"/>
                <a:gd name="connsiteX290" fmla="*/ 7359 w 752994"/>
                <a:gd name="connsiteY290" fmla="*/ 611745 h 1333436"/>
                <a:gd name="connsiteX291" fmla="*/ 11836 w 752994"/>
                <a:gd name="connsiteY291" fmla="*/ 602978 h 1333436"/>
                <a:gd name="connsiteX292" fmla="*/ 15103 w 752994"/>
                <a:gd name="connsiteY292" fmla="*/ 591760 h 1333436"/>
                <a:gd name="connsiteX293" fmla="*/ 14488 w 752994"/>
                <a:gd name="connsiteY293" fmla="*/ 584029 h 1333436"/>
                <a:gd name="connsiteX294" fmla="*/ 13873 w 752994"/>
                <a:gd name="connsiteY294" fmla="*/ 578299 h 1333436"/>
                <a:gd name="connsiteX295" fmla="*/ 10626 w 752994"/>
                <a:gd name="connsiteY295" fmla="*/ 568531 h 1333436"/>
                <a:gd name="connsiteX296" fmla="*/ 3670 w 752994"/>
                <a:gd name="connsiteY296" fmla="*/ 558107 h 1333436"/>
                <a:gd name="connsiteX297" fmla="*/ 0 w 752994"/>
                <a:gd name="connsiteY297" fmla="*/ 551377 h 1333436"/>
                <a:gd name="connsiteX298" fmla="*/ 0 w 752994"/>
                <a:gd name="connsiteY298" fmla="*/ 550997 h 1333436"/>
                <a:gd name="connsiteX299" fmla="*/ 4900 w 752994"/>
                <a:gd name="connsiteY299" fmla="*/ 531220 h 1333436"/>
                <a:gd name="connsiteX300" fmla="*/ 13873 w 752994"/>
                <a:gd name="connsiteY300" fmla="*/ 520589 h 1333436"/>
                <a:gd name="connsiteX301" fmla="*/ 18369 w 752994"/>
                <a:gd name="connsiteY301" fmla="*/ 516516 h 1333436"/>
                <a:gd name="connsiteX302" fmla="*/ 18773 w 752994"/>
                <a:gd name="connsiteY302" fmla="*/ 514272 h 1333436"/>
                <a:gd name="connsiteX303" fmla="*/ 23077 w 752994"/>
                <a:gd name="connsiteY303" fmla="*/ 506127 h 1333436"/>
                <a:gd name="connsiteX304" fmla="*/ 23884 w 752994"/>
                <a:gd name="connsiteY304" fmla="*/ 502261 h 1333436"/>
                <a:gd name="connsiteX305" fmla="*/ 23692 w 752994"/>
                <a:gd name="connsiteY305" fmla="*/ 496738 h 1333436"/>
                <a:gd name="connsiteX306" fmla="*/ 30013 w 752994"/>
                <a:gd name="connsiteY306" fmla="*/ 486556 h 1333436"/>
                <a:gd name="connsiteX307" fmla="*/ 36546 w 752994"/>
                <a:gd name="connsiteY307" fmla="*/ 470230 h 1333436"/>
                <a:gd name="connsiteX308" fmla="*/ 36546 w 752994"/>
                <a:gd name="connsiteY308" fmla="*/ 462671 h 1333436"/>
                <a:gd name="connsiteX309" fmla="*/ 36335 w 752994"/>
                <a:gd name="connsiteY309" fmla="*/ 461670 h 1333436"/>
                <a:gd name="connsiteX310" fmla="*/ 35931 w 752994"/>
                <a:gd name="connsiteY310" fmla="*/ 453110 h 1333436"/>
                <a:gd name="connsiteX311" fmla="*/ 38583 w 752994"/>
                <a:gd name="connsiteY311" fmla="*/ 442514 h 1333436"/>
                <a:gd name="connsiteX312" fmla="*/ 41043 w 752994"/>
                <a:gd name="connsiteY312" fmla="*/ 436991 h 1333436"/>
                <a:gd name="connsiteX313" fmla="*/ 41650 w 752994"/>
                <a:gd name="connsiteY313" fmla="*/ 437186 h 1333436"/>
                <a:gd name="connsiteX314" fmla="*/ 41239 w 752994"/>
                <a:gd name="connsiteY314" fmla="*/ 436549 h 1333436"/>
                <a:gd name="connsiteX315" fmla="*/ 37778 w 752994"/>
                <a:gd name="connsiteY315" fmla="*/ 433894 h 1333436"/>
                <a:gd name="connsiteX316" fmla="*/ 37169 w 752994"/>
                <a:gd name="connsiteY316" fmla="*/ 432261 h 1333436"/>
                <a:gd name="connsiteX317" fmla="*/ 37365 w 752994"/>
                <a:gd name="connsiteY317" fmla="*/ 429198 h 1333436"/>
                <a:gd name="connsiteX318" fmla="*/ 36756 w 752994"/>
                <a:gd name="connsiteY318" fmla="*/ 422272 h 1333436"/>
                <a:gd name="connsiteX319" fmla="*/ 36952 w 752994"/>
                <a:gd name="connsiteY319" fmla="*/ 418800 h 1333436"/>
                <a:gd name="connsiteX320" fmla="*/ 36756 w 752994"/>
                <a:gd name="connsiteY320" fmla="*/ 412487 h 1333436"/>
                <a:gd name="connsiteX321" fmla="*/ 40433 w 752994"/>
                <a:gd name="connsiteY321" fmla="*/ 406174 h 1333436"/>
                <a:gd name="connsiteX322" fmla="*/ 44720 w 752994"/>
                <a:gd name="connsiteY322" fmla="*/ 399435 h 1333436"/>
                <a:gd name="connsiteX323" fmla="*/ 44110 w 752994"/>
                <a:gd name="connsiteY323" fmla="*/ 389651 h 1333436"/>
                <a:gd name="connsiteX324" fmla="*/ 43894 w 752994"/>
                <a:gd name="connsiteY324" fmla="*/ 378437 h 1333436"/>
                <a:gd name="connsiteX325" fmla="*/ 47158 w 752994"/>
                <a:gd name="connsiteY325" fmla="*/ 371102 h 1333436"/>
                <a:gd name="connsiteX326" fmla="*/ 55731 w 752994"/>
                <a:gd name="connsiteY326" fmla="*/ 360909 h 1333436"/>
                <a:gd name="connsiteX327" fmla="*/ 57580 w 752994"/>
                <a:gd name="connsiteY327" fmla="*/ 355804 h 1333436"/>
                <a:gd name="connsiteX328" fmla="*/ 62673 w 752994"/>
                <a:gd name="connsiteY328" fmla="*/ 349695 h 1333436"/>
                <a:gd name="connsiteX329" fmla="*/ 65937 w 752994"/>
                <a:gd name="connsiteY329" fmla="*/ 348470 h 1333436"/>
                <a:gd name="connsiteX330" fmla="*/ 68395 w 752994"/>
                <a:gd name="connsiteY330" fmla="*/ 348674 h 1333436"/>
                <a:gd name="connsiteX331" fmla="*/ 70224 w 752994"/>
                <a:gd name="connsiteY331" fmla="*/ 347449 h 1333436"/>
                <a:gd name="connsiteX332" fmla="*/ 67785 w 752994"/>
                <a:gd name="connsiteY332" fmla="*/ 345203 h 1333436"/>
                <a:gd name="connsiteX333" fmla="*/ 65524 w 752994"/>
                <a:gd name="connsiteY333" fmla="*/ 343178 h 1333436"/>
                <a:gd name="connsiteX334" fmla="*/ 73095 w 752994"/>
                <a:gd name="connsiteY334" fmla="*/ 333376 h 1333436"/>
                <a:gd name="connsiteX335" fmla="*/ 73291 w 752994"/>
                <a:gd name="connsiteY335" fmla="*/ 333376 h 1333436"/>
                <a:gd name="connsiteX336" fmla="*/ 77991 w 752994"/>
                <a:gd name="connsiteY336" fmla="*/ 325838 h 1333436"/>
                <a:gd name="connsiteX337" fmla="*/ 82671 w 752994"/>
                <a:gd name="connsiteY337" fmla="*/ 313619 h 1333436"/>
                <a:gd name="connsiteX338" fmla="*/ 87980 w 752994"/>
                <a:gd name="connsiteY338" fmla="*/ 303018 h 1333436"/>
                <a:gd name="connsiteX339" fmla="*/ 92267 w 752994"/>
                <a:gd name="connsiteY339" fmla="*/ 291191 h 1333436"/>
                <a:gd name="connsiteX340" fmla="*/ 96553 w 752994"/>
                <a:gd name="connsiteY340" fmla="*/ 281202 h 1333436"/>
                <a:gd name="connsiteX341" fmla="*/ 99621 w 752994"/>
                <a:gd name="connsiteY341" fmla="*/ 274481 h 1333436"/>
                <a:gd name="connsiteX342" fmla="*/ 103082 w 752994"/>
                <a:gd name="connsiteY342" fmla="*/ 262450 h 1333436"/>
                <a:gd name="connsiteX343" fmla="*/ 107172 w 752994"/>
                <a:gd name="connsiteY343" fmla="*/ 254299 h 1333436"/>
                <a:gd name="connsiteX344" fmla="*/ 112481 w 752994"/>
                <a:gd name="connsiteY344" fmla="*/ 243697 h 1333436"/>
                <a:gd name="connsiteX345" fmla="*/ 117181 w 752994"/>
                <a:gd name="connsiteY345" fmla="*/ 232279 h 1333436"/>
                <a:gd name="connsiteX346" fmla="*/ 125951 w 752994"/>
                <a:gd name="connsiteY346" fmla="*/ 217389 h 1333436"/>
                <a:gd name="connsiteX347" fmla="*/ 136156 w 752994"/>
                <a:gd name="connsiteY347" fmla="*/ 202925 h 1333436"/>
                <a:gd name="connsiteX348" fmla="*/ 138811 w 752994"/>
                <a:gd name="connsiteY348" fmla="*/ 183339 h 1333436"/>
                <a:gd name="connsiteX349" fmla="*/ 148801 w 752994"/>
                <a:gd name="connsiteY349" fmla="*/ 167445 h 1333436"/>
                <a:gd name="connsiteX350" fmla="*/ 159616 w 752994"/>
                <a:gd name="connsiteY350" fmla="*/ 170712 h 1333436"/>
                <a:gd name="connsiteX351" fmla="*/ 173105 w 752994"/>
                <a:gd name="connsiteY351" fmla="*/ 175188 h 1333436"/>
                <a:gd name="connsiteX352" fmla="*/ 175347 w 752994"/>
                <a:gd name="connsiteY352" fmla="*/ 175188 h 1333436"/>
                <a:gd name="connsiteX353" fmla="*/ 175347 w 752994"/>
                <a:gd name="connsiteY353" fmla="*/ 173758 h 1333436"/>
                <a:gd name="connsiteX354" fmla="*/ 184975 w 752994"/>
                <a:gd name="connsiteY354" fmla="*/ 187393 h 1333436"/>
                <a:gd name="connsiteX355" fmla="*/ 184762 w 752994"/>
                <a:gd name="connsiteY355" fmla="*/ 184637 h 1333436"/>
                <a:gd name="connsiteX356" fmla="*/ 174971 w 752994"/>
                <a:gd name="connsiteY356" fmla="*/ 170774 h 1333436"/>
                <a:gd name="connsiteX357" fmla="*/ 174971 w 752994"/>
                <a:gd name="connsiteY357" fmla="*/ 169550 h 1333436"/>
                <a:gd name="connsiteX358" fmla="*/ 158851 w 752994"/>
                <a:gd name="connsiteY358" fmla="*/ 156924 h 1333436"/>
                <a:gd name="connsiteX359" fmla="*/ 147025 w 752994"/>
                <a:gd name="connsiteY359" fmla="*/ 145709 h 1333436"/>
                <a:gd name="connsiteX360" fmla="*/ 154364 w 752994"/>
                <a:gd name="connsiteY360" fmla="*/ 136335 h 1333436"/>
                <a:gd name="connsiteX361" fmla="*/ 161511 w 752994"/>
                <a:gd name="connsiteY361" fmla="*/ 131042 h 1333436"/>
                <a:gd name="connsiteX362" fmla="*/ 160902 w 752994"/>
                <a:gd name="connsiteY362" fmla="*/ 128384 h 1333436"/>
                <a:gd name="connsiteX363" fmla="*/ 160277 w 752994"/>
                <a:gd name="connsiteY363" fmla="*/ 127778 h 1333436"/>
                <a:gd name="connsiteX364" fmla="*/ 154973 w 752994"/>
                <a:gd name="connsiteY364" fmla="*/ 122077 h 1333436"/>
                <a:gd name="connsiteX365" fmla="*/ 160277 w 752994"/>
                <a:gd name="connsiteY365" fmla="*/ 115140 h 1333436"/>
                <a:gd name="connsiteX366" fmla="*/ 165181 w 752994"/>
                <a:gd name="connsiteY366" fmla="*/ 108215 h 1333436"/>
                <a:gd name="connsiteX367" fmla="*/ 161303 w 752994"/>
                <a:gd name="connsiteY367" fmla="*/ 104146 h 1333436"/>
                <a:gd name="connsiteX368" fmla="*/ 157842 w 752994"/>
                <a:gd name="connsiteY368" fmla="*/ 104542 h 1333436"/>
                <a:gd name="connsiteX369" fmla="*/ 157024 w 752994"/>
                <a:gd name="connsiteY369" fmla="*/ 102304 h 1333436"/>
                <a:gd name="connsiteX370" fmla="*/ 160694 w 752994"/>
                <a:gd name="connsiteY370" fmla="*/ 55437 h 1333436"/>
                <a:gd name="connsiteX371" fmla="*/ 160486 w 752994"/>
                <a:gd name="connsiteY371" fmla="*/ 31991 h 1333436"/>
                <a:gd name="connsiteX372" fmla="*/ 164972 w 752994"/>
                <a:gd name="connsiteY372" fmla="*/ 18141 h 1333436"/>
                <a:gd name="connsiteX373" fmla="*/ 171911 w 752994"/>
                <a:gd name="connsiteY373" fmla="*/ 11204 h 1333436"/>
                <a:gd name="connsiteX374" fmla="*/ 187406 w 752994"/>
                <a:gd name="connsiteY374" fmla="*/ 21801 h 1333436"/>
                <a:gd name="connsiteX375" fmla="*/ 210866 w 752994"/>
                <a:gd name="connsiteY375" fmla="*/ 37086 h 1333436"/>
                <a:gd name="connsiteX376" fmla="*/ 219230 w 752994"/>
                <a:gd name="connsiteY376" fmla="*/ 41166 h 1333436"/>
                <a:gd name="connsiteX377" fmla="*/ 226778 w 752994"/>
                <a:gd name="connsiteY377" fmla="*/ 47486 h 1333436"/>
                <a:gd name="connsiteX378" fmla="*/ 236152 w 752994"/>
                <a:gd name="connsiteY378" fmla="*/ 52370 h 1333436"/>
                <a:gd name="connsiteX379" fmla="*/ 239629 w 752994"/>
                <a:gd name="connsiteY379" fmla="*/ 58491 h 1333436"/>
                <a:gd name="connsiteX380" fmla="*/ 239629 w 752994"/>
                <a:gd name="connsiteY380" fmla="*/ 63376 h 1333436"/>
                <a:gd name="connsiteX381" fmla="*/ 236568 w 752994"/>
                <a:gd name="connsiteY381" fmla="*/ 67457 h 1333436"/>
                <a:gd name="connsiteX382" fmla="*/ 231264 w 752994"/>
                <a:gd name="connsiteY382" fmla="*/ 69905 h 1333436"/>
                <a:gd name="connsiteX383" fmla="*/ 216778 w 752994"/>
                <a:gd name="connsiteY383" fmla="*/ 82741 h 1333436"/>
                <a:gd name="connsiteX384" fmla="*/ 214134 w 752994"/>
                <a:gd name="connsiteY384" fmla="*/ 93536 h 1333436"/>
                <a:gd name="connsiteX385" fmla="*/ 214535 w 752994"/>
                <a:gd name="connsiteY385" fmla="*/ 96801 h 1333436"/>
                <a:gd name="connsiteX386" fmla="*/ 216378 w 752994"/>
                <a:gd name="connsiteY386" fmla="*/ 96801 h 1333436"/>
                <a:gd name="connsiteX387" fmla="*/ 230046 w 752994"/>
                <a:gd name="connsiteY387" fmla="*/ 85387 h 1333436"/>
                <a:gd name="connsiteX388" fmla="*/ 243298 w 752994"/>
                <a:gd name="connsiteY388" fmla="*/ 75198 h 1333436"/>
                <a:gd name="connsiteX389" fmla="*/ 246760 w 752994"/>
                <a:gd name="connsiteY389" fmla="*/ 77646 h 1333436"/>
                <a:gd name="connsiteX390" fmla="*/ 255541 w 752994"/>
                <a:gd name="connsiteY390" fmla="*/ 63376 h 1333436"/>
                <a:gd name="connsiteX391" fmla="*/ 259611 w 752994"/>
                <a:gd name="connsiteY391" fmla="*/ 43405 h 1333436"/>
                <a:gd name="connsiteX392" fmla="*/ 256967 w 752994"/>
                <a:gd name="connsiteY392" fmla="*/ 38520 h 1333436"/>
                <a:gd name="connsiteX393" fmla="*/ 253906 w 752994"/>
                <a:gd name="connsiteY393" fmla="*/ 34242 h 1333436"/>
                <a:gd name="connsiteX394" fmla="*/ 256967 w 752994"/>
                <a:gd name="connsiteY394" fmla="*/ 30161 h 1333436"/>
                <a:gd name="connsiteX395" fmla="*/ 262063 w 752994"/>
                <a:gd name="connsiteY395" fmla="*/ 27712 h 1333436"/>
                <a:gd name="connsiteX396" fmla="*/ 264915 w 752994"/>
                <a:gd name="connsiteY396" fmla="*/ 23026 h 1333436"/>
                <a:gd name="connsiteX397" fmla="*/ 267976 w 752994"/>
                <a:gd name="connsiteY397" fmla="*/ 22618 h 1333436"/>
                <a:gd name="connsiteX398" fmla="*/ 270427 w 752994"/>
                <a:gd name="connsiteY398" fmla="*/ 20787 h 1333436"/>
                <a:gd name="connsiteX399" fmla="*/ 263088 w 752994"/>
                <a:gd name="connsiteY399" fmla="*/ 13652 h 1333436"/>
                <a:gd name="connsiteX400" fmla="*/ 255541 w 752994"/>
                <a:gd name="connsiteY400" fmla="*/ 3055 h 1333436"/>
                <a:gd name="connsiteX401" fmla="*/ 256358 w 752994"/>
                <a:gd name="connsiteY401" fmla="*/ 1224 h 1333436"/>
                <a:gd name="connsiteX402" fmla="*/ 257159 w 752994"/>
                <a:gd name="connsiteY402"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457539 w 752994"/>
                <a:gd name="connsiteY19" fmla="*/ 290781 h 1333436"/>
                <a:gd name="connsiteX20" fmla="*/ 453944 w 752994"/>
                <a:gd name="connsiteY20" fmla="*/ 286495 h 1333436"/>
                <a:gd name="connsiteX21" fmla="*/ 457539 w 752994"/>
                <a:gd name="connsiteY21" fmla="*/ 290781 h 1333436"/>
                <a:gd name="connsiteX22" fmla="*/ 184180 w 752994"/>
                <a:gd name="connsiteY22" fmla="*/ 213866 h 1333436"/>
                <a:gd name="connsiteX23" fmla="*/ 184117 w 752994"/>
                <a:gd name="connsiteY23" fmla="*/ 214326 h 1333436"/>
                <a:gd name="connsiteX24" fmla="*/ 185553 w 752994"/>
                <a:gd name="connsiteY24" fmla="*/ 222494 h 1333436"/>
                <a:gd name="connsiteX25" fmla="*/ 188600 w 752994"/>
                <a:gd name="connsiteY25" fmla="*/ 226970 h 1333436"/>
                <a:gd name="connsiteX26" fmla="*/ 195542 w 752994"/>
                <a:gd name="connsiteY26" fmla="*/ 231871 h 1333436"/>
                <a:gd name="connsiteX27" fmla="*/ 203093 w 752994"/>
                <a:gd name="connsiteY27" fmla="*/ 233896 h 1333436"/>
                <a:gd name="connsiteX28" fmla="*/ 217192 w 752994"/>
                <a:gd name="connsiteY28" fmla="*/ 232075 h 1333436"/>
                <a:gd name="connsiteX29" fmla="*/ 225136 w 752994"/>
                <a:gd name="connsiteY29" fmla="*/ 229829 h 1333436"/>
                <a:gd name="connsiteX30" fmla="*/ 235558 w 752994"/>
                <a:gd name="connsiteY30" fmla="*/ 232483 h 1333436"/>
                <a:gd name="connsiteX31" fmla="*/ 242499 w 752994"/>
                <a:gd name="connsiteY31" fmla="*/ 237163 h 1333436"/>
                <a:gd name="connsiteX32" fmla="*/ 248418 w 752994"/>
                <a:gd name="connsiteY32" fmla="*/ 244701 h 1333436"/>
                <a:gd name="connsiteX33" fmla="*/ 255359 w 752994"/>
                <a:gd name="connsiteY33" fmla="*/ 244906 h 1333436"/>
                <a:gd name="connsiteX34" fmla="*/ 258210 w 752994"/>
                <a:gd name="connsiteY34" fmla="*/ 244906 h 1333436"/>
                <a:gd name="connsiteX35" fmla="*/ 263303 w 752994"/>
                <a:gd name="connsiteY35" fmla="*/ 246131 h 1333436"/>
                <a:gd name="connsiteX36" fmla="*/ 269438 w 752994"/>
                <a:gd name="connsiteY36" fmla="*/ 243697 h 1333436"/>
                <a:gd name="connsiteX37" fmla="*/ 274944 w 752994"/>
                <a:gd name="connsiteY37" fmla="*/ 241451 h 1333436"/>
                <a:gd name="connsiteX38" fmla="*/ 281276 w 752994"/>
                <a:gd name="connsiteY38" fmla="*/ 245722 h 1333436"/>
                <a:gd name="connsiteX39" fmla="*/ 289240 w 752994"/>
                <a:gd name="connsiteY39" fmla="*/ 250419 h 1333436"/>
                <a:gd name="connsiteX40" fmla="*/ 297597 w 752994"/>
                <a:gd name="connsiteY40" fmla="*/ 248581 h 1333436"/>
                <a:gd name="connsiteX41" fmla="*/ 310261 w 752994"/>
                <a:gd name="connsiteY41" fmla="*/ 246539 h 1333436"/>
                <a:gd name="connsiteX42" fmla="*/ 324340 w 752994"/>
                <a:gd name="connsiteY42" fmla="*/ 244497 h 1333436"/>
                <a:gd name="connsiteX43" fmla="*/ 333523 w 752994"/>
                <a:gd name="connsiteY43" fmla="*/ 243289 h 1333436"/>
                <a:gd name="connsiteX44" fmla="*/ 341271 w 752994"/>
                <a:gd name="connsiteY44" fmla="*/ 246539 h 1333436"/>
                <a:gd name="connsiteX45" fmla="*/ 348428 w 752994"/>
                <a:gd name="connsiteY45" fmla="*/ 250011 h 1333436"/>
                <a:gd name="connsiteX46" fmla="*/ 351279 w 752994"/>
                <a:gd name="connsiteY46" fmla="*/ 247356 h 1333436"/>
                <a:gd name="connsiteX47" fmla="*/ 355566 w 752994"/>
                <a:gd name="connsiteY47" fmla="*/ 244293 h 1333436"/>
                <a:gd name="connsiteX48" fmla="*/ 365772 w 752994"/>
                <a:gd name="connsiteY48" fmla="*/ 248785 h 1333436"/>
                <a:gd name="connsiteX49" fmla="*/ 381483 w 752994"/>
                <a:gd name="connsiteY49" fmla="*/ 254912 h 1333436"/>
                <a:gd name="connsiteX50" fmla="*/ 381896 w 752994"/>
                <a:gd name="connsiteY50" fmla="*/ 255320 h 1333436"/>
                <a:gd name="connsiteX51" fmla="*/ 395366 w 752994"/>
                <a:gd name="connsiteY51" fmla="*/ 257753 h 1333436"/>
                <a:gd name="connsiteX52" fmla="*/ 414145 w 752994"/>
                <a:gd name="connsiteY52" fmla="*/ 262450 h 1333436"/>
                <a:gd name="connsiteX53" fmla="*/ 431292 w 752994"/>
                <a:gd name="connsiteY53" fmla="*/ 268151 h 1333436"/>
                <a:gd name="connsiteX54" fmla="*/ 445196 w 752994"/>
                <a:gd name="connsiteY54" fmla="*/ 269890 h 1333436"/>
                <a:gd name="connsiteX55" fmla="*/ 444145 w 752994"/>
                <a:gd name="connsiteY55" fmla="*/ 267441 h 1333436"/>
                <a:gd name="connsiteX56" fmla="*/ 444145 w 752994"/>
                <a:gd name="connsiteY56" fmla="*/ 267034 h 1333436"/>
                <a:gd name="connsiteX57" fmla="*/ 444155 w 752994"/>
                <a:gd name="connsiteY57" fmla="*/ 266811 h 1333436"/>
                <a:gd name="connsiteX58" fmla="*/ 430733 w 752994"/>
                <a:gd name="connsiteY58" fmla="*/ 265139 h 1333436"/>
                <a:gd name="connsiteX59" fmla="*/ 394839 w 752994"/>
                <a:gd name="connsiteY59" fmla="*/ 254739 h 1333436"/>
                <a:gd name="connsiteX60" fmla="*/ 381379 w 752994"/>
                <a:gd name="connsiteY60" fmla="*/ 252303 h 1333436"/>
                <a:gd name="connsiteX61" fmla="*/ 380962 w 752994"/>
                <a:gd name="connsiteY61" fmla="*/ 251895 h 1333436"/>
                <a:gd name="connsiteX62" fmla="*/ 365258 w 752994"/>
                <a:gd name="connsiteY62" fmla="*/ 245774 h 1333436"/>
                <a:gd name="connsiteX63" fmla="*/ 355067 w 752994"/>
                <a:gd name="connsiteY63" fmla="*/ 241285 h 1333436"/>
                <a:gd name="connsiteX64" fmla="*/ 350789 w 752994"/>
                <a:gd name="connsiteY64" fmla="*/ 244352 h 1333436"/>
                <a:gd name="connsiteX65" fmla="*/ 347920 w 752994"/>
                <a:gd name="connsiteY65" fmla="*/ 246998 h 1333436"/>
                <a:gd name="connsiteX66" fmla="*/ 340789 w 752994"/>
                <a:gd name="connsiteY66" fmla="*/ 243536 h 1333436"/>
                <a:gd name="connsiteX67" fmla="*/ 333034 w 752994"/>
                <a:gd name="connsiteY67" fmla="*/ 240271 h 1333436"/>
                <a:gd name="connsiteX68" fmla="*/ 323868 w 752994"/>
                <a:gd name="connsiteY68" fmla="*/ 241495 h 1333436"/>
                <a:gd name="connsiteX69" fmla="*/ 309783 w 752994"/>
                <a:gd name="connsiteY69" fmla="*/ 243536 h 1333436"/>
                <a:gd name="connsiteX70" fmla="*/ 297140 w 752994"/>
                <a:gd name="connsiteY70" fmla="*/ 245576 h 1333436"/>
                <a:gd name="connsiteX71" fmla="*/ 288775 w 752994"/>
                <a:gd name="connsiteY71" fmla="*/ 247406 h 1333436"/>
                <a:gd name="connsiteX72" fmla="*/ 280827 w 752994"/>
                <a:gd name="connsiteY72" fmla="*/ 242720 h 1333436"/>
                <a:gd name="connsiteX73" fmla="*/ 274497 w 752994"/>
                <a:gd name="connsiteY73" fmla="*/ 238441 h 1333436"/>
                <a:gd name="connsiteX74" fmla="*/ 269001 w 752994"/>
                <a:gd name="connsiteY74" fmla="*/ 240679 h 1333436"/>
                <a:gd name="connsiteX75" fmla="*/ 262880 w 752994"/>
                <a:gd name="connsiteY75" fmla="*/ 243128 h 1333436"/>
                <a:gd name="connsiteX76" fmla="*/ 260028 w 752994"/>
                <a:gd name="connsiteY76" fmla="*/ 242720 h 1333436"/>
                <a:gd name="connsiteX77" fmla="*/ 247994 w 752994"/>
                <a:gd name="connsiteY77" fmla="*/ 241693 h 1333436"/>
                <a:gd name="connsiteX78" fmla="*/ 242081 w 752994"/>
                <a:gd name="connsiteY78" fmla="*/ 234162 h 1333436"/>
                <a:gd name="connsiteX79" fmla="*/ 235142 w 752994"/>
                <a:gd name="connsiteY79" fmla="*/ 229476 h 1333436"/>
                <a:gd name="connsiteX80" fmla="*/ 224742 w 752994"/>
                <a:gd name="connsiteY80" fmla="*/ 226817 h 1333436"/>
                <a:gd name="connsiteX81" fmla="*/ 216778 w 752994"/>
                <a:gd name="connsiteY81" fmla="*/ 229068 h 1333436"/>
                <a:gd name="connsiteX82" fmla="*/ 202709 w 752994"/>
                <a:gd name="connsiteY82" fmla="*/ 230898 h 1333436"/>
                <a:gd name="connsiteX83" fmla="*/ 195162 w 752994"/>
                <a:gd name="connsiteY83" fmla="*/ 228857 h 1333436"/>
                <a:gd name="connsiteX84" fmla="*/ 188223 w 752994"/>
                <a:gd name="connsiteY84" fmla="*/ 223973 h 1333436"/>
                <a:gd name="connsiteX85" fmla="*/ 185163 w 752994"/>
                <a:gd name="connsiteY85" fmla="*/ 219484 h 1333436"/>
                <a:gd name="connsiteX86" fmla="*/ 184180 w 752994"/>
                <a:gd name="connsiteY86" fmla="*/ 213866 h 1333436"/>
                <a:gd name="connsiteX87" fmla="*/ 257159 w 752994"/>
                <a:gd name="connsiteY87" fmla="*/ 0 h 1333436"/>
                <a:gd name="connsiteX88" fmla="*/ 493147 w 752994"/>
                <a:gd name="connsiteY88" fmla="*/ 73157 h 1333436"/>
                <a:gd name="connsiteX89" fmla="*/ 492970 w 752994"/>
                <a:gd name="connsiteY89" fmla="*/ 73792 h 1333436"/>
                <a:gd name="connsiteX90" fmla="*/ 525816 w 752994"/>
                <a:gd name="connsiteY90" fmla="*/ 82491 h 1333436"/>
                <a:gd name="connsiteX91" fmla="*/ 520098 w 752994"/>
                <a:gd name="connsiteY91" fmla="*/ 111245 h 1333436"/>
                <a:gd name="connsiteX92" fmla="*/ 512552 w 752994"/>
                <a:gd name="connsiteY92" fmla="*/ 143854 h 1333436"/>
                <a:gd name="connsiteX93" fmla="*/ 517849 w 752994"/>
                <a:gd name="connsiteY93" fmla="*/ 157740 h 1333436"/>
                <a:gd name="connsiteX94" fmla="*/ 523160 w 752994"/>
                <a:gd name="connsiteY94" fmla="*/ 172009 h 1333436"/>
                <a:gd name="connsiteX95" fmla="*/ 521535 w 752994"/>
                <a:gd name="connsiteY95" fmla="*/ 178928 h 1333436"/>
                <a:gd name="connsiteX96" fmla="*/ 520098 w 752994"/>
                <a:gd name="connsiteY96" fmla="*/ 186279 h 1333436"/>
                <a:gd name="connsiteX97" fmla="*/ 526019 w 752994"/>
                <a:gd name="connsiteY97" fmla="*/ 193629 h 1333436"/>
                <a:gd name="connsiteX98" fmla="*/ 537251 w 752994"/>
                <a:gd name="connsiteY98" fmla="*/ 206270 h 1333436"/>
                <a:gd name="connsiteX99" fmla="*/ 542765 w 752994"/>
                <a:gd name="connsiteY99" fmla="*/ 217475 h 1333436"/>
                <a:gd name="connsiteX100" fmla="*/ 546857 w 752994"/>
                <a:gd name="connsiteY100" fmla="*/ 230930 h 1333436"/>
                <a:gd name="connsiteX101" fmla="*/ 549499 w 752994"/>
                <a:gd name="connsiteY101" fmla="*/ 235622 h 1333436"/>
                <a:gd name="connsiteX102" fmla="*/ 553388 w 752994"/>
                <a:gd name="connsiteY102" fmla="*/ 240722 h 1333436"/>
                <a:gd name="connsiteX103" fmla="*/ 557465 w 752994"/>
                <a:gd name="connsiteY103" fmla="*/ 246037 h 1333436"/>
                <a:gd name="connsiteX104" fmla="*/ 561761 w 752994"/>
                <a:gd name="connsiteY104" fmla="*/ 248671 h 1333436"/>
                <a:gd name="connsiteX105" fmla="*/ 567478 w 752994"/>
                <a:gd name="connsiteY105" fmla="*/ 247665 h 1333436"/>
                <a:gd name="connsiteX106" fmla="*/ 569931 w 752994"/>
                <a:gd name="connsiteY106" fmla="*/ 249293 h 1333436"/>
                <a:gd name="connsiteX107" fmla="*/ 570540 w 752994"/>
                <a:gd name="connsiteY107" fmla="*/ 251951 h 1333436"/>
                <a:gd name="connsiteX108" fmla="*/ 561964 w 752994"/>
                <a:gd name="connsiteY108" fmla="*/ 267656 h 1333436"/>
                <a:gd name="connsiteX109" fmla="*/ 553591 w 752994"/>
                <a:gd name="connsiteY109" fmla="*/ 289659 h 1333436"/>
                <a:gd name="connsiteX110" fmla="*/ 554810 w 752994"/>
                <a:gd name="connsiteY110" fmla="*/ 292939 h 1333436"/>
                <a:gd name="connsiteX111" fmla="*/ 556246 w 752994"/>
                <a:gd name="connsiteY111" fmla="*/ 299260 h 1333436"/>
                <a:gd name="connsiteX112" fmla="*/ 552778 w 752994"/>
                <a:gd name="connsiteY112" fmla="*/ 301917 h 1333436"/>
                <a:gd name="connsiteX113" fmla="*/ 549295 w 752994"/>
                <a:gd name="connsiteY113" fmla="*/ 306993 h 1333436"/>
                <a:gd name="connsiteX114" fmla="*/ 547061 w 752994"/>
                <a:gd name="connsiteY114" fmla="*/ 313122 h 1333436"/>
                <a:gd name="connsiteX115" fmla="*/ 544811 w 752994"/>
                <a:gd name="connsiteY115" fmla="*/ 316593 h 1333436"/>
                <a:gd name="connsiteX116" fmla="*/ 549919 w 752994"/>
                <a:gd name="connsiteY116" fmla="*/ 322698 h 1333436"/>
                <a:gd name="connsiteX117" fmla="*/ 553184 w 752994"/>
                <a:gd name="connsiteY117" fmla="*/ 325955 h 1333436"/>
                <a:gd name="connsiteX118" fmla="*/ 555840 w 752994"/>
                <a:gd name="connsiteY118" fmla="*/ 328205 h 1333436"/>
                <a:gd name="connsiteX119" fmla="*/ 574212 w 752994"/>
                <a:gd name="connsiteY119" fmla="*/ 318820 h 1333436"/>
                <a:gd name="connsiteX120" fmla="*/ 579523 w 752994"/>
                <a:gd name="connsiteY120" fmla="*/ 326577 h 1333436"/>
                <a:gd name="connsiteX121" fmla="*/ 580539 w 752994"/>
                <a:gd name="connsiteY121" fmla="*/ 334933 h 1333436"/>
                <a:gd name="connsiteX122" fmla="*/ 579726 w 752994"/>
                <a:gd name="connsiteY122" fmla="*/ 343097 h 1333436"/>
                <a:gd name="connsiteX123" fmla="*/ 581366 w 752994"/>
                <a:gd name="connsiteY123" fmla="*/ 350231 h 1333436"/>
                <a:gd name="connsiteX124" fmla="*/ 586256 w 752994"/>
                <a:gd name="connsiteY124" fmla="*/ 355930 h 1333436"/>
                <a:gd name="connsiteX125" fmla="*/ 589536 w 752994"/>
                <a:gd name="connsiteY125" fmla="*/ 362059 h 1333436"/>
                <a:gd name="connsiteX126" fmla="*/ 588099 w 752994"/>
                <a:gd name="connsiteY126" fmla="*/ 369600 h 1333436"/>
                <a:gd name="connsiteX127" fmla="*/ 586459 w 752994"/>
                <a:gd name="connsiteY127" fmla="*/ 377357 h 1333436"/>
                <a:gd name="connsiteX128" fmla="*/ 588709 w 752994"/>
                <a:gd name="connsiteY128" fmla="*/ 381835 h 1333436"/>
                <a:gd name="connsiteX129" fmla="*/ 595036 w 752994"/>
                <a:gd name="connsiteY129" fmla="*/ 382457 h 1333436"/>
                <a:gd name="connsiteX130" fmla="*/ 599331 w 752994"/>
                <a:gd name="connsiteY130" fmla="*/ 385306 h 1333436"/>
                <a:gd name="connsiteX131" fmla="*/ 601987 w 752994"/>
                <a:gd name="connsiteY131" fmla="*/ 391004 h 1333436"/>
                <a:gd name="connsiteX132" fmla="*/ 602799 w 752994"/>
                <a:gd name="connsiteY132" fmla="*/ 404076 h 1333436"/>
                <a:gd name="connsiteX133" fmla="*/ 606892 w 752994"/>
                <a:gd name="connsiteY133" fmla="*/ 415688 h 1333436"/>
                <a:gd name="connsiteX134" fmla="*/ 610563 w 752994"/>
                <a:gd name="connsiteY134" fmla="*/ 412217 h 1333436"/>
                <a:gd name="connsiteX135" fmla="*/ 617920 w 752994"/>
                <a:gd name="connsiteY135" fmla="*/ 408769 h 1333436"/>
                <a:gd name="connsiteX136" fmla="*/ 624654 w 752994"/>
                <a:gd name="connsiteY136" fmla="*/ 411211 h 1333436"/>
                <a:gd name="connsiteX137" fmla="*/ 634652 w 752994"/>
                <a:gd name="connsiteY137" fmla="*/ 410182 h 1333436"/>
                <a:gd name="connsiteX138" fmla="*/ 640573 w 752994"/>
                <a:gd name="connsiteY138" fmla="*/ 407739 h 1333436"/>
                <a:gd name="connsiteX139" fmla="*/ 646711 w 752994"/>
                <a:gd name="connsiteY139" fmla="*/ 410589 h 1333436"/>
                <a:gd name="connsiteX140" fmla="*/ 650383 w 752994"/>
                <a:gd name="connsiteY140" fmla="*/ 410589 h 1333436"/>
                <a:gd name="connsiteX141" fmla="*/ 654257 w 752994"/>
                <a:gd name="connsiteY141" fmla="*/ 411618 h 1333436"/>
                <a:gd name="connsiteX142" fmla="*/ 656913 w 752994"/>
                <a:gd name="connsiteY142" fmla="*/ 413653 h 1333436"/>
                <a:gd name="connsiteX143" fmla="*/ 660802 w 752994"/>
                <a:gd name="connsiteY143" fmla="*/ 415090 h 1333436"/>
                <a:gd name="connsiteX144" fmla="*/ 669581 w 752994"/>
                <a:gd name="connsiteY144" fmla="*/ 415904 h 1333436"/>
                <a:gd name="connsiteX145" fmla="*/ 672237 w 752994"/>
                <a:gd name="connsiteY145" fmla="*/ 415688 h 1333436"/>
                <a:gd name="connsiteX146" fmla="*/ 675705 w 752994"/>
                <a:gd name="connsiteY146" fmla="*/ 409367 h 1333436"/>
                <a:gd name="connsiteX147" fmla="*/ 679986 w 752994"/>
                <a:gd name="connsiteY147" fmla="*/ 403238 h 1333436"/>
                <a:gd name="connsiteX148" fmla="*/ 693264 w 752994"/>
                <a:gd name="connsiteY148" fmla="*/ 419567 h 1333436"/>
                <a:gd name="connsiteX149" fmla="*/ 688563 w 752994"/>
                <a:gd name="connsiteY149" fmla="*/ 448321 h 1333436"/>
                <a:gd name="connsiteX150" fmla="*/ 663949 w 752994"/>
                <a:gd name="connsiteY150" fmla="*/ 590165 h 1333436"/>
                <a:gd name="connsiteX151" fmla="*/ 666304 w 752994"/>
                <a:gd name="connsiteY151" fmla="*/ 590504 h 1333436"/>
                <a:gd name="connsiteX152" fmla="*/ 655288 w 752994"/>
                <a:gd name="connsiteY152" fmla="*/ 656178 h 1333436"/>
                <a:gd name="connsiteX153" fmla="*/ 681808 w 752994"/>
                <a:gd name="connsiteY153" fmla="*/ 662301 h 1333436"/>
                <a:gd name="connsiteX154" fmla="*/ 752994 w 752994"/>
                <a:gd name="connsiteY154" fmla="*/ 675560 h 1333436"/>
                <a:gd name="connsiteX155" fmla="*/ 714651 w 752994"/>
                <a:gd name="connsiteY155" fmla="*/ 946985 h 1333436"/>
                <a:gd name="connsiteX156" fmla="*/ 693426 w 752994"/>
                <a:gd name="connsiteY156" fmla="*/ 944128 h 1333436"/>
                <a:gd name="connsiteX157" fmla="*/ 457412 w 752994"/>
                <a:gd name="connsiteY157" fmla="*/ 897429 h 1333436"/>
                <a:gd name="connsiteX158" fmla="*/ 442753 w 752994"/>
                <a:gd name="connsiteY158" fmla="*/ 950656 h 1333436"/>
                <a:gd name="connsiteX159" fmla="*/ 442550 w 752994"/>
                <a:gd name="connsiteY159" fmla="*/ 951272 h 1333436"/>
                <a:gd name="connsiteX160" fmla="*/ 439290 w 752994"/>
                <a:gd name="connsiteY160" fmla="*/ 958807 h 1333436"/>
                <a:gd name="connsiteX161" fmla="*/ 432957 w 752994"/>
                <a:gd name="connsiteY161" fmla="*/ 963487 h 1333436"/>
                <a:gd name="connsiteX162" fmla="*/ 429291 w 752994"/>
                <a:gd name="connsiteY162" fmla="*/ 959817 h 1333436"/>
                <a:gd name="connsiteX163" fmla="*/ 425610 w 752994"/>
                <a:gd name="connsiteY163" fmla="*/ 955532 h 1333436"/>
                <a:gd name="connsiteX164" fmla="*/ 419292 w 752994"/>
                <a:gd name="connsiteY164" fmla="*/ 953291 h 1333436"/>
                <a:gd name="connsiteX165" fmla="*/ 414597 w 752994"/>
                <a:gd name="connsiteY165" fmla="*/ 951272 h 1333436"/>
                <a:gd name="connsiteX166" fmla="*/ 407047 w 752994"/>
                <a:gd name="connsiteY166" fmla="*/ 956148 h 1333436"/>
                <a:gd name="connsiteX167" fmla="*/ 403787 w 752994"/>
                <a:gd name="connsiteY167" fmla="*/ 963290 h 1333436"/>
                <a:gd name="connsiteX168" fmla="*/ 404052 w 752994"/>
                <a:gd name="connsiteY168" fmla="*/ 963688 h 1333436"/>
                <a:gd name="connsiteX169" fmla="*/ 406917 w 752994"/>
                <a:gd name="connsiteY169" fmla="*/ 957427 h 1333436"/>
                <a:gd name="connsiteX170" fmla="*/ 414454 w 752994"/>
                <a:gd name="connsiteY170" fmla="*/ 952534 h 1333436"/>
                <a:gd name="connsiteX171" fmla="*/ 419146 w 752994"/>
                <a:gd name="connsiteY171" fmla="*/ 954567 h 1333436"/>
                <a:gd name="connsiteX172" fmla="*/ 425469 w 752994"/>
                <a:gd name="connsiteY172" fmla="*/ 956803 h 1333436"/>
                <a:gd name="connsiteX173" fmla="*/ 429146 w 752994"/>
                <a:gd name="connsiteY173" fmla="*/ 961092 h 1333436"/>
                <a:gd name="connsiteX174" fmla="*/ 432807 w 752994"/>
                <a:gd name="connsiteY174" fmla="*/ 964757 h 1333436"/>
                <a:gd name="connsiteX175" fmla="*/ 439129 w 752994"/>
                <a:gd name="connsiteY175" fmla="*/ 960065 h 1333436"/>
                <a:gd name="connsiteX176" fmla="*/ 442407 w 752994"/>
                <a:gd name="connsiteY176" fmla="*/ 952534 h 1333436"/>
                <a:gd name="connsiteX177" fmla="*/ 689408 w 752994"/>
                <a:gd name="connsiteY177" fmla="*/ 945184 h 1333436"/>
                <a:gd name="connsiteX178" fmla="*/ 710622 w 752994"/>
                <a:gd name="connsiteY178" fmla="*/ 948043 h 1333436"/>
                <a:gd name="connsiteX179" fmla="*/ 654533 w 752994"/>
                <a:gd name="connsiteY179" fmla="*/ 1333436 h 1333436"/>
                <a:gd name="connsiteX180" fmla="*/ 546831 w 752994"/>
                <a:gd name="connsiteY180" fmla="*/ 1317126 h 1333436"/>
                <a:gd name="connsiteX181" fmla="*/ 351227 w 752994"/>
                <a:gd name="connsiteY181" fmla="*/ 1194172 h 1333436"/>
                <a:gd name="connsiteX182" fmla="*/ 361011 w 752994"/>
                <a:gd name="connsiteY182" fmla="*/ 1182755 h 1333436"/>
                <a:gd name="connsiteX183" fmla="*/ 368981 w 752994"/>
                <a:gd name="connsiteY183" fmla="*/ 1182130 h 1333436"/>
                <a:gd name="connsiteX184" fmla="*/ 369571 w 752994"/>
                <a:gd name="connsiteY184" fmla="*/ 1181558 h 1333436"/>
                <a:gd name="connsiteX185" fmla="*/ 362372 w 752994"/>
                <a:gd name="connsiteY185" fmla="*/ 1182120 h 1333436"/>
                <a:gd name="connsiteX186" fmla="*/ 229464 w 752994"/>
                <a:gd name="connsiteY186" fmla="*/ 1161721 h 1333436"/>
                <a:gd name="connsiteX187" fmla="*/ 227427 w 752994"/>
                <a:gd name="connsiteY187" fmla="*/ 1157269 h 1333436"/>
                <a:gd name="connsiteX188" fmla="*/ 224967 w 752994"/>
                <a:gd name="connsiteY188" fmla="*/ 1152575 h 1333436"/>
                <a:gd name="connsiteX189" fmla="*/ 225582 w 752994"/>
                <a:gd name="connsiteY189" fmla="*/ 1144808 h 1333436"/>
                <a:gd name="connsiteX190" fmla="*/ 227215 w 752994"/>
                <a:gd name="connsiteY190" fmla="*/ 1135834 h 1333436"/>
                <a:gd name="connsiteX191" fmla="*/ 227215 w 752994"/>
                <a:gd name="connsiteY191" fmla="*/ 1134212 h 1333436"/>
                <a:gd name="connsiteX192" fmla="*/ 225179 w 752994"/>
                <a:gd name="connsiteY192" fmla="*/ 1114020 h 1333436"/>
                <a:gd name="connsiteX193" fmla="*/ 217839 w 752994"/>
                <a:gd name="connsiteY193" fmla="*/ 1100352 h 1333436"/>
                <a:gd name="connsiteX194" fmla="*/ 199661 w 752994"/>
                <a:gd name="connsiteY194" fmla="*/ 1076502 h 1333436"/>
                <a:gd name="connsiteX195" fmla="*/ 196395 w 752994"/>
                <a:gd name="connsiteY195" fmla="*/ 1071807 h 1333436"/>
                <a:gd name="connsiteX196" fmla="*/ 190880 w 752994"/>
                <a:gd name="connsiteY196" fmla="*/ 1067527 h 1333436"/>
                <a:gd name="connsiteX197" fmla="*/ 187210 w 752994"/>
                <a:gd name="connsiteY197" fmla="*/ 1068735 h 1333436"/>
                <a:gd name="connsiteX198" fmla="*/ 180062 w 752994"/>
                <a:gd name="connsiteY198" fmla="*/ 1066699 h 1333436"/>
                <a:gd name="connsiteX199" fmla="*/ 180466 w 752994"/>
                <a:gd name="connsiteY199" fmla="*/ 1053031 h 1333436"/>
                <a:gd name="connsiteX200" fmla="*/ 180062 w 752994"/>
                <a:gd name="connsiteY200" fmla="*/ 1045299 h 1333436"/>
                <a:gd name="connsiteX201" fmla="*/ 174144 w 752994"/>
                <a:gd name="connsiteY201" fmla="*/ 1044057 h 1333436"/>
                <a:gd name="connsiteX202" fmla="*/ 158426 w 752994"/>
                <a:gd name="connsiteY202" fmla="*/ 1042641 h 1333436"/>
                <a:gd name="connsiteX203" fmla="*/ 149857 w 752994"/>
                <a:gd name="connsiteY203" fmla="*/ 1035497 h 1333436"/>
                <a:gd name="connsiteX204" fmla="*/ 142497 w 752994"/>
                <a:gd name="connsiteY204" fmla="*/ 1028766 h 1333436"/>
                <a:gd name="connsiteX205" fmla="*/ 140864 w 752994"/>
                <a:gd name="connsiteY205" fmla="*/ 1020620 h 1333436"/>
                <a:gd name="connsiteX206" fmla="*/ 138212 w 752994"/>
                <a:gd name="connsiteY206" fmla="*/ 1013061 h 1333436"/>
                <a:gd name="connsiteX207" fmla="*/ 131064 w 752994"/>
                <a:gd name="connsiteY207" fmla="*/ 1007159 h 1333436"/>
                <a:gd name="connsiteX208" fmla="*/ 121264 w 752994"/>
                <a:gd name="connsiteY208" fmla="*/ 1005330 h 1333436"/>
                <a:gd name="connsiteX209" fmla="*/ 112483 w 752994"/>
                <a:gd name="connsiteY209" fmla="*/ 1001671 h 1333436"/>
                <a:gd name="connsiteX210" fmla="*/ 105950 w 752994"/>
                <a:gd name="connsiteY210" fmla="*/ 995734 h 1333436"/>
                <a:gd name="connsiteX211" fmla="*/ 97380 w 752994"/>
                <a:gd name="connsiteY211" fmla="*/ 994526 h 1333436"/>
                <a:gd name="connsiteX212" fmla="*/ 87984 w 752994"/>
                <a:gd name="connsiteY212" fmla="*/ 991040 h 1333436"/>
                <a:gd name="connsiteX213" fmla="*/ 80029 w 752994"/>
                <a:gd name="connsiteY213" fmla="*/ 985138 h 1333436"/>
                <a:gd name="connsiteX214" fmla="*/ 77166 w 752994"/>
                <a:gd name="connsiteY214" fmla="*/ 976164 h 1333436"/>
                <a:gd name="connsiteX215" fmla="*/ 79203 w 752994"/>
                <a:gd name="connsiteY215" fmla="*/ 970676 h 1333436"/>
                <a:gd name="connsiteX216" fmla="*/ 82470 w 752994"/>
                <a:gd name="connsiteY216" fmla="*/ 963117 h 1333436"/>
                <a:gd name="connsiteX217" fmla="*/ 84314 w 752994"/>
                <a:gd name="connsiteY217" fmla="*/ 954557 h 1333436"/>
                <a:gd name="connsiteX218" fmla="*/ 86351 w 752994"/>
                <a:gd name="connsiteY218" fmla="*/ 948033 h 1333436"/>
                <a:gd name="connsiteX219" fmla="*/ 86159 w 752994"/>
                <a:gd name="connsiteY219" fmla="*/ 942925 h 1333436"/>
                <a:gd name="connsiteX220" fmla="*/ 83085 w 752994"/>
                <a:gd name="connsiteY220" fmla="*/ 939853 h 1333436"/>
                <a:gd name="connsiteX221" fmla="*/ 77570 w 752994"/>
                <a:gd name="connsiteY221" fmla="*/ 937437 h 1333436"/>
                <a:gd name="connsiteX222" fmla="*/ 76763 w 752994"/>
                <a:gd name="connsiteY222" fmla="*/ 931915 h 1333436"/>
                <a:gd name="connsiteX223" fmla="*/ 78800 w 752994"/>
                <a:gd name="connsiteY223" fmla="*/ 927013 h 1333436"/>
                <a:gd name="connsiteX224" fmla="*/ 79626 w 752994"/>
                <a:gd name="connsiteY224" fmla="*/ 922526 h 1333436"/>
                <a:gd name="connsiteX225" fmla="*/ 77781 w 752994"/>
                <a:gd name="connsiteY225" fmla="*/ 919903 h 1333436"/>
                <a:gd name="connsiteX226" fmla="*/ 74303 w 752994"/>
                <a:gd name="connsiteY226" fmla="*/ 917418 h 1333436"/>
                <a:gd name="connsiteX227" fmla="*/ 71863 w 752994"/>
                <a:gd name="connsiteY227" fmla="*/ 915174 h 1333436"/>
                <a:gd name="connsiteX228" fmla="*/ 71652 w 752994"/>
                <a:gd name="connsiteY228" fmla="*/ 910894 h 1333436"/>
                <a:gd name="connsiteX229" fmla="*/ 70633 w 752994"/>
                <a:gd name="connsiteY229" fmla="*/ 906614 h 1333436"/>
                <a:gd name="connsiteX230" fmla="*/ 68385 w 752994"/>
                <a:gd name="connsiteY230" fmla="*/ 902749 h 1333436"/>
                <a:gd name="connsiteX231" fmla="*/ 61045 w 752994"/>
                <a:gd name="connsiteY231" fmla="*/ 889494 h 1333436"/>
                <a:gd name="connsiteX232" fmla="*/ 57971 w 752994"/>
                <a:gd name="connsiteY232" fmla="*/ 875619 h 1333436"/>
                <a:gd name="connsiteX233" fmla="*/ 52264 w 752994"/>
                <a:gd name="connsiteY233" fmla="*/ 862572 h 1333436"/>
                <a:gd name="connsiteX234" fmla="*/ 44309 w 752994"/>
                <a:gd name="connsiteY234" fmla="*/ 850561 h 1333436"/>
                <a:gd name="connsiteX235" fmla="*/ 45520 w 752994"/>
                <a:gd name="connsiteY235" fmla="*/ 827090 h 1333436"/>
                <a:gd name="connsiteX236" fmla="*/ 53071 w 752994"/>
                <a:gd name="connsiteY236" fmla="*/ 822396 h 1333436"/>
                <a:gd name="connsiteX237" fmla="*/ 57375 w 752994"/>
                <a:gd name="connsiteY237" fmla="*/ 816493 h 1333436"/>
                <a:gd name="connsiteX238" fmla="*/ 55319 w 752994"/>
                <a:gd name="connsiteY238" fmla="*/ 801617 h 1333436"/>
                <a:gd name="connsiteX239" fmla="*/ 48383 w 752994"/>
                <a:gd name="connsiteY239" fmla="*/ 802204 h 1333436"/>
                <a:gd name="connsiteX240" fmla="*/ 40428 w 752994"/>
                <a:gd name="connsiteY240" fmla="*/ 797924 h 1333436"/>
                <a:gd name="connsiteX241" fmla="*/ 37565 w 752994"/>
                <a:gd name="connsiteY241" fmla="*/ 790606 h 1333436"/>
                <a:gd name="connsiteX242" fmla="*/ 37565 w 752994"/>
                <a:gd name="connsiteY242" fmla="*/ 790399 h 1333436"/>
                <a:gd name="connsiteX243" fmla="*/ 35931 w 752994"/>
                <a:gd name="connsiteY243" fmla="*/ 785912 h 1333436"/>
                <a:gd name="connsiteX244" fmla="*/ 34510 w 752994"/>
                <a:gd name="connsiteY244" fmla="*/ 780597 h 1333436"/>
                <a:gd name="connsiteX245" fmla="*/ 36335 w 752994"/>
                <a:gd name="connsiteY245" fmla="*/ 774280 h 1333436"/>
                <a:gd name="connsiteX246" fmla="*/ 38180 w 752994"/>
                <a:gd name="connsiteY246" fmla="*/ 766721 h 1333436"/>
                <a:gd name="connsiteX247" fmla="*/ 37161 w 752994"/>
                <a:gd name="connsiteY247" fmla="*/ 760405 h 1333436"/>
                <a:gd name="connsiteX248" fmla="*/ 35720 w 752994"/>
                <a:gd name="connsiteY248" fmla="*/ 754710 h 1333436"/>
                <a:gd name="connsiteX249" fmla="*/ 36546 w 752994"/>
                <a:gd name="connsiteY249" fmla="*/ 748773 h 1333436"/>
                <a:gd name="connsiteX250" fmla="*/ 38372 w 752994"/>
                <a:gd name="connsiteY250" fmla="*/ 744528 h 1333436"/>
                <a:gd name="connsiteX251" fmla="*/ 41638 w 752994"/>
                <a:gd name="connsiteY251" fmla="*/ 744321 h 1333436"/>
                <a:gd name="connsiteX252" fmla="*/ 44713 w 752994"/>
                <a:gd name="connsiteY252" fmla="*/ 746357 h 1333436"/>
                <a:gd name="connsiteX253" fmla="*/ 47364 w 752994"/>
                <a:gd name="connsiteY253" fmla="*/ 753260 h 1333436"/>
                <a:gd name="connsiteX254" fmla="*/ 55742 w 752994"/>
                <a:gd name="connsiteY254" fmla="*/ 764305 h 1333436"/>
                <a:gd name="connsiteX255" fmla="*/ 56338 w 752994"/>
                <a:gd name="connsiteY255" fmla="*/ 761233 h 1333436"/>
                <a:gd name="connsiteX256" fmla="*/ 56145 w 752994"/>
                <a:gd name="connsiteY256" fmla="*/ 757368 h 1333436"/>
                <a:gd name="connsiteX257" fmla="*/ 54916 w 752994"/>
                <a:gd name="connsiteY257" fmla="*/ 748601 h 1333436"/>
                <a:gd name="connsiteX258" fmla="*/ 52879 w 752994"/>
                <a:gd name="connsiteY258" fmla="*/ 747358 h 1333436"/>
                <a:gd name="connsiteX259" fmla="*/ 51649 w 752994"/>
                <a:gd name="connsiteY259" fmla="*/ 745322 h 1333436"/>
                <a:gd name="connsiteX260" fmla="*/ 51649 w 752994"/>
                <a:gd name="connsiteY260" fmla="*/ 739212 h 1333436"/>
                <a:gd name="connsiteX261" fmla="*/ 50227 w 752994"/>
                <a:gd name="connsiteY261" fmla="*/ 734725 h 1333436"/>
                <a:gd name="connsiteX262" fmla="*/ 48786 w 752994"/>
                <a:gd name="connsiteY262" fmla="*/ 731446 h 1333436"/>
                <a:gd name="connsiteX263" fmla="*/ 54512 w 752994"/>
                <a:gd name="connsiteY263" fmla="*/ 726372 h 1333436"/>
                <a:gd name="connsiteX264" fmla="*/ 59815 w 752994"/>
                <a:gd name="connsiteY264" fmla="*/ 725130 h 1333436"/>
                <a:gd name="connsiteX265" fmla="*/ 58182 w 752994"/>
                <a:gd name="connsiteY265" fmla="*/ 722886 h 1333436"/>
                <a:gd name="connsiteX266" fmla="*/ 51861 w 752994"/>
                <a:gd name="connsiteY266" fmla="*/ 717985 h 1333436"/>
                <a:gd name="connsiteX267" fmla="*/ 46749 w 752994"/>
                <a:gd name="connsiteY267" fmla="*/ 729617 h 1333436"/>
                <a:gd name="connsiteX268" fmla="*/ 40831 w 752994"/>
                <a:gd name="connsiteY268" fmla="*/ 739212 h 1333436"/>
                <a:gd name="connsiteX269" fmla="*/ 39601 w 752994"/>
                <a:gd name="connsiteY269" fmla="*/ 738798 h 1333436"/>
                <a:gd name="connsiteX270" fmla="*/ 39409 w 752994"/>
                <a:gd name="connsiteY270" fmla="*/ 738591 h 1333436"/>
                <a:gd name="connsiteX271" fmla="*/ 37161 w 752994"/>
                <a:gd name="connsiteY271" fmla="*/ 734725 h 1333436"/>
                <a:gd name="connsiteX272" fmla="*/ 32665 w 752994"/>
                <a:gd name="connsiteY272" fmla="*/ 727788 h 1333436"/>
                <a:gd name="connsiteX273" fmla="*/ 26747 w 752994"/>
                <a:gd name="connsiteY273" fmla="*/ 719435 h 1333436"/>
                <a:gd name="connsiteX274" fmla="*/ 23884 w 752994"/>
                <a:gd name="connsiteY274" fmla="*/ 717812 h 1333436"/>
                <a:gd name="connsiteX275" fmla="*/ 24710 w 752994"/>
                <a:gd name="connsiteY275" fmla="*/ 709632 h 1333436"/>
                <a:gd name="connsiteX276" fmla="*/ 27554 w 752994"/>
                <a:gd name="connsiteY276" fmla="*/ 701694 h 1333436"/>
                <a:gd name="connsiteX277" fmla="*/ 24902 w 752994"/>
                <a:gd name="connsiteY277" fmla="*/ 696171 h 1333436"/>
                <a:gd name="connsiteX278" fmla="*/ 24095 w 752994"/>
                <a:gd name="connsiteY278" fmla="*/ 687818 h 1333436"/>
                <a:gd name="connsiteX279" fmla="*/ 22462 w 752994"/>
                <a:gd name="connsiteY279" fmla="*/ 682330 h 1333436"/>
                <a:gd name="connsiteX280" fmla="*/ 17159 w 752994"/>
                <a:gd name="connsiteY280" fmla="*/ 677636 h 1333436"/>
                <a:gd name="connsiteX281" fmla="*/ 14296 w 752994"/>
                <a:gd name="connsiteY281" fmla="*/ 671492 h 1333436"/>
                <a:gd name="connsiteX282" fmla="*/ 12451 w 752994"/>
                <a:gd name="connsiteY282" fmla="*/ 665797 h 1333436"/>
                <a:gd name="connsiteX283" fmla="*/ 5111 w 752994"/>
                <a:gd name="connsiteY283" fmla="*/ 654994 h 1333436"/>
                <a:gd name="connsiteX284" fmla="*/ 2248 w 752994"/>
                <a:gd name="connsiteY284" fmla="*/ 645605 h 1333436"/>
                <a:gd name="connsiteX285" fmla="*/ 4496 w 752994"/>
                <a:gd name="connsiteY285" fmla="*/ 640497 h 1333436"/>
                <a:gd name="connsiteX286" fmla="*/ 6744 w 752994"/>
                <a:gd name="connsiteY286" fmla="*/ 632765 h 1333436"/>
                <a:gd name="connsiteX287" fmla="*/ 6744 w 752994"/>
                <a:gd name="connsiteY287" fmla="*/ 628485 h 1333436"/>
                <a:gd name="connsiteX288" fmla="*/ 6533 w 752994"/>
                <a:gd name="connsiteY288" fmla="*/ 620305 h 1333436"/>
                <a:gd name="connsiteX289" fmla="*/ 7359 w 752994"/>
                <a:gd name="connsiteY289" fmla="*/ 611745 h 1333436"/>
                <a:gd name="connsiteX290" fmla="*/ 11836 w 752994"/>
                <a:gd name="connsiteY290" fmla="*/ 602978 h 1333436"/>
                <a:gd name="connsiteX291" fmla="*/ 15103 w 752994"/>
                <a:gd name="connsiteY291" fmla="*/ 591760 h 1333436"/>
                <a:gd name="connsiteX292" fmla="*/ 14488 w 752994"/>
                <a:gd name="connsiteY292" fmla="*/ 584029 h 1333436"/>
                <a:gd name="connsiteX293" fmla="*/ 13873 w 752994"/>
                <a:gd name="connsiteY293" fmla="*/ 578299 h 1333436"/>
                <a:gd name="connsiteX294" fmla="*/ 10626 w 752994"/>
                <a:gd name="connsiteY294" fmla="*/ 568531 h 1333436"/>
                <a:gd name="connsiteX295" fmla="*/ 3670 w 752994"/>
                <a:gd name="connsiteY295" fmla="*/ 558107 h 1333436"/>
                <a:gd name="connsiteX296" fmla="*/ 0 w 752994"/>
                <a:gd name="connsiteY296" fmla="*/ 551377 h 1333436"/>
                <a:gd name="connsiteX297" fmla="*/ 0 w 752994"/>
                <a:gd name="connsiteY297" fmla="*/ 550997 h 1333436"/>
                <a:gd name="connsiteX298" fmla="*/ 4900 w 752994"/>
                <a:gd name="connsiteY298" fmla="*/ 531220 h 1333436"/>
                <a:gd name="connsiteX299" fmla="*/ 13873 w 752994"/>
                <a:gd name="connsiteY299" fmla="*/ 520589 h 1333436"/>
                <a:gd name="connsiteX300" fmla="*/ 18369 w 752994"/>
                <a:gd name="connsiteY300" fmla="*/ 516516 h 1333436"/>
                <a:gd name="connsiteX301" fmla="*/ 18773 w 752994"/>
                <a:gd name="connsiteY301" fmla="*/ 514272 h 1333436"/>
                <a:gd name="connsiteX302" fmla="*/ 23077 w 752994"/>
                <a:gd name="connsiteY302" fmla="*/ 506127 h 1333436"/>
                <a:gd name="connsiteX303" fmla="*/ 23884 w 752994"/>
                <a:gd name="connsiteY303" fmla="*/ 502261 h 1333436"/>
                <a:gd name="connsiteX304" fmla="*/ 23692 w 752994"/>
                <a:gd name="connsiteY304" fmla="*/ 496738 h 1333436"/>
                <a:gd name="connsiteX305" fmla="*/ 30013 w 752994"/>
                <a:gd name="connsiteY305" fmla="*/ 486556 h 1333436"/>
                <a:gd name="connsiteX306" fmla="*/ 36546 w 752994"/>
                <a:gd name="connsiteY306" fmla="*/ 470230 h 1333436"/>
                <a:gd name="connsiteX307" fmla="*/ 36546 w 752994"/>
                <a:gd name="connsiteY307" fmla="*/ 462671 h 1333436"/>
                <a:gd name="connsiteX308" fmla="*/ 36335 w 752994"/>
                <a:gd name="connsiteY308" fmla="*/ 461670 h 1333436"/>
                <a:gd name="connsiteX309" fmla="*/ 35931 w 752994"/>
                <a:gd name="connsiteY309" fmla="*/ 453110 h 1333436"/>
                <a:gd name="connsiteX310" fmla="*/ 38583 w 752994"/>
                <a:gd name="connsiteY310" fmla="*/ 442514 h 1333436"/>
                <a:gd name="connsiteX311" fmla="*/ 41043 w 752994"/>
                <a:gd name="connsiteY311" fmla="*/ 436991 h 1333436"/>
                <a:gd name="connsiteX312" fmla="*/ 41650 w 752994"/>
                <a:gd name="connsiteY312" fmla="*/ 437186 h 1333436"/>
                <a:gd name="connsiteX313" fmla="*/ 41239 w 752994"/>
                <a:gd name="connsiteY313" fmla="*/ 436549 h 1333436"/>
                <a:gd name="connsiteX314" fmla="*/ 37778 w 752994"/>
                <a:gd name="connsiteY314" fmla="*/ 433894 h 1333436"/>
                <a:gd name="connsiteX315" fmla="*/ 37169 w 752994"/>
                <a:gd name="connsiteY315" fmla="*/ 432261 h 1333436"/>
                <a:gd name="connsiteX316" fmla="*/ 37365 w 752994"/>
                <a:gd name="connsiteY316" fmla="*/ 429198 h 1333436"/>
                <a:gd name="connsiteX317" fmla="*/ 36756 w 752994"/>
                <a:gd name="connsiteY317" fmla="*/ 422272 h 1333436"/>
                <a:gd name="connsiteX318" fmla="*/ 36952 w 752994"/>
                <a:gd name="connsiteY318" fmla="*/ 418800 h 1333436"/>
                <a:gd name="connsiteX319" fmla="*/ 36756 w 752994"/>
                <a:gd name="connsiteY319" fmla="*/ 412487 h 1333436"/>
                <a:gd name="connsiteX320" fmla="*/ 40433 w 752994"/>
                <a:gd name="connsiteY320" fmla="*/ 406174 h 1333436"/>
                <a:gd name="connsiteX321" fmla="*/ 44720 w 752994"/>
                <a:gd name="connsiteY321" fmla="*/ 399435 h 1333436"/>
                <a:gd name="connsiteX322" fmla="*/ 44110 w 752994"/>
                <a:gd name="connsiteY322" fmla="*/ 389651 h 1333436"/>
                <a:gd name="connsiteX323" fmla="*/ 43894 w 752994"/>
                <a:gd name="connsiteY323" fmla="*/ 378437 h 1333436"/>
                <a:gd name="connsiteX324" fmla="*/ 47158 w 752994"/>
                <a:gd name="connsiteY324" fmla="*/ 371102 h 1333436"/>
                <a:gd name="connsiteX325" fmla="*/ 55731 w 752994"/>
                <a:gd name="connsiteY325" fmla="*/ 360909 h 1333436"/>
                <a:gd name="connsiteX326" fmla="*/ 57580 w 752994"/>
                <a:gd name="connsiteY326" fmla="*/ 355804 h 1333436"/>
                <a:gd name="connsiteX327" fmla="*/ 62673 w 752994"/>
                <a:gd name="connsiteY327" fmla="*/ 349695 h 1333436"/>
                <a:gd name="connsiteX328" fmla="*/ 65937 w 752994"/>
                <a:gd name="connsiteY328" fmla="*/ 348470 h 1333436"/>
                <a:gd name="connsiteX329" fmla="*/ 68395 w 752994"/>
                <a:gd name="connsiteY329" fmla="*/ 348674 h 1333436"/>
                <a:gd name="connsiteX330" fmla="*/ 70224 w 752994"/>
                <a:gd name="connsiteY330" fmla="*/ 347449 h 1333436"/>
                <a:gd name="connsiteX331" fmla="*/ 67785 w 752994"/>
                <a:gd name="connsiteY331" fmla="*/ 345203 h 1333436"/>
                <a:gd name="connsiteX332" fmla="*/ 65524 w 752994"/>
                <a:gd name="connsiteY332" fmla="*/ 343178 h 1333436"/>
                <a:gd name="connsiteX333" fmla="*/ 73095 w 752994"/>
                <a:gd name="connsiteY333" fmla="*/ 333376 h 1333436"/>
                <a:gd name="connsiteX334" fmla="*/ 73291 w 752994"/>
                <a:gd name="connsiteY334" fmla="*/ 333376 h 1333436"/>
                <a:gd name="connsiteX335" fmla="*/ 77991 w 752994"/>
                <a:gd name="connsiteY335" fmla="*/ 325838 h 1333436"/>
                <a:gd name="connsiteX336" fmla="*/ 82671 w 752994"/>
                <a:gd name="connsiteY336" fmla="*/ 313619 h 1333436"/>
                <a:gd name="connsiteX337" fmla="*/ 87980 w 752994"/>
                <a:gd name="connsiteY337" fmla="*/ 303018 h 1333436"/>
                <a:gd name="connsiteX338" fmla="*/ 92267 w 752994"/>
                <a:gd name="connsiteY338" fmla="*/ 291191 h 1333436"/>
                <a:gd name="connsiteX339" fmla="*/ 96553 w 752994"/>
                <a:gd name="connsiteY339" fmla="*/ 281202 h 1333436"/>
                <a:gd name="connsiteX340" fmla="*/ 99621 w 752994"/>
                <a:gd name="connsiteY340" fmla="*/ 274481 h 1333436"/>
                <a:gd name="connsiteX341" fmla="*/ 103082 w 752994"/>
                <a:gd name="connsiteY341" fmla="*/ 262450 h 1333436"/>
                <a:gd name="connsiteX342" fmla="*/ 107172 w 752994"/>
                <a:gd name="connsiteY342" fmla="*/ 254299 h 1333436"/>
                <a:gd name="connsiteX343" fmla="*/ 112481 w 752994"/>
                <a:gd name="connsiteY343" fmla="*/ 243697 h 1333436"/>
                <a:gd name="connsiteX344" fmla="*/ 117181 w 752994"/>
                <a:gd name="connsiteY344" fmla="*/ 232279 h 1333436"/>
                <a:gd name="connsiteX345" fmla="*/ 125951 w 752994"/>
                <a:gd name="connsiteY345" fmla="*/ 217389 h 1333436"/>
                <a:gd name="connsiteX346" fmla="*/ 136156 w 752994"/>
                <a:gd name="connsiteY346" fmla="*/ 202925 h 1333436"/>
                <a:gd name="connsiteX347" fmla="*/ 138811 w 752994"/>
                <a:gd name="connsiteY347" fmla="*/ 183339 h 1333436"/>
                <a:gd name="connsiteX348" fmla="*/ 148801 w 752994"/>
                <a:gd name="connsiteY348" fmla="*/ 167445 h 1333436"/>
                <a:gd name="connsiteX349" fmla="*/ 159616 w 752994"/>
                <a:gd name="connsiteY349" fmla="*/ 170712 h 1333436"/>
                <a:gd name="connsiteX350" fmla="*/ 173105 w 752994"/>
                <a:gd name="connsiteY350" fmla="*/ 175188 h 1333436"/>
                <a:gd name="connsiteX351" fmla="*/ 175347 w 752994"/>
                <a:gd name="connsiteY351" fmla="*/ 175188 h 1333436"/>
                <a:gd name="connsiteX352" fmla="*/ 175347 w 752994"/>
                <a:gd name="connsiteY352" fmla="*/ 173758 h 1333436"/>
                <a:gd name="connsiteX353" fmla="*/ 184975 w 752994"/>
                <a:gd name="connsiteY353" fmla="*/ 187393 h 1333436"/>
                <a:gd name="connsiteX354" fmla="*/ 184762 w 752994"/>
                <a:gd name="connsiteY354" fmla="*/ 184637 h 1333436"/>
                <a:gd name="connsiteX355" fmla="*/ 174971 w 752994"/>
                <a:gd name="connsiteY355" fmla="*/ 170774 h 1333436"/>
                <a:gd name="connsiteX356" fmla="*/ 174971 w 752994"/>
                <a:gd name="connsiteY356" fmla="*/ 169550 h 1333436"/>
                <a:gd name="connsiteX357" fmla="*/ 158851 w 752994"/>
                <a:gd name="connsiteY357" fmla="*/ 156924 h 1333436"/>
                <a:gd name="connsiteX358" fmla="*/ 147025 w 752994"/>
                <a:gd name="connsiteY358" fmla="*/ 145709 h 1333436"/>
                <a:gd name="connsiteX359" fmla="*/ 154364 w 752994"/>
                <a:gd name="connsiteY359" fmla="*/ 136335 h 1333436"/>
                <a:gd name="connsiteX360" fmla="*/ 161511 w 752994"/>
                <a:gd name="connsiteY360" fmla="*/ 131042 h 1333436"/>
                <a:gd name="connsiteX361" fmla="*/ 160902 w 752994"/>
                <a:gd name="connsiteY361" fmla="*/ 128384 h 1333436"/>
                <a:gd name="connsiteX362" fmla="*/ 160277 w 752994"/>
                <a:gd name="connsiteY362" fmla="*/ 127778 h 1333436"/>
                <a:gd name="connsiteX363" fmla="*/ 154973 w 752994"/>
                <a:gd name="connsiteY363" fmla="*/ 122077 h 1333436"/>
                <a:gd name="connsiteX364" fmla="*/ 160277 w 752994"/>
                <a:gd name="connsiteY364" fmla="*/ 115140 h 1333436"/>
                <a:gd name="connsiteX365" fmla="*/ 165181 w 752994"/>
                <a:gd name="connsiteY365" fmla="*/ 108215 h 1333436"/>
                <a:gd name="connsiteX366" fmla="*/ 161303 w 752994"/>
                <a:gd name="connsiteY366" fmla="*/ 104146 h 1333436"/>
                <a:gd name="connsiteX367" fmla="*/ 157842 w 752994"/>
                <a:gd name="connsiteY367" fmla="*/ 104542 h 1333436"/>
                <a:gd name="connsiteX368" fmla="*/ 157024 w 752994"/>
                <a:gd name="connsiteY368" fmla="*/ 102304 h 1333436"/>
                <a:gd name="connsiteX369" fmla="*/ 160694 w 752994"/>
                <a:gd name="connsiteY369" fmla="*/ 55437 h 1333436"/>
                <a:gd name="connsiteX370" fmla="*/ 160486 w 752994"/>
                <a:gd name="connsiteY370" fmla="*/ 31991 h 1333436"/>
                <a:gd name="connsiteX371" fmla="*/ 164972 w 752994"/>
                <a:gd name="connsiteY371" fmla="*/ 18141 h 1333436"/>
                <a:gd name="connsiteX372" fmla="*/ 171911 w 752994"/>
                <a:gd name="connsiteY372" fmla="*/ 11204 h 1333436"/>
                <a:gd name="connsiteX373" fmla="*/ 187406 w 752994"/>
                <a:gd name="connsiteY373" fmla="*/ 21801 h 1333436"/>
                <a:gd name="connsiteX374" fmla="*/ 210866 w 752994"/>
                <a:gd name="connsiteY374" fmla="*/ 37086 h 1333436"/>
                <a:gd name="connsiteX375" fmla="*/ 219230 w 752994"/>
                <a:gd name="connsiteY375" fmla="*/ 41166 h 1333436"/>
                <a:gd name="connsiteX376" fmla="*/ 226778 w 752994"/>
                <a:gd name="connsiteY376" fmla="*/ 47486 h 1333436"/>
                <a:gd name="connsiteX377" fmla="*/ 236152 w 752994"/>
                <a:gd name="connsiteY377" fmla="*/ 52370 h 1333436"/>
                <a:gd name="connsiteX378" fmla="*/ 239629 w 752994"/>
                <a:gd name="connsiteY378" fmla="*/ 58491 h 1333436"/>
                <a:gd name="connsiteX379" fmla="*/ 239629 w 752994"/>
                <a:gd name="connsiteY379" fmla="*/ 63376 h 1333436"/>
                <a:gd name="connsiteX380" fmla="*/ 236568 w 752994"/>
                <a:gd name="connsiteY380" fmla="*/ 67457 h 1333436"/>
                <a:gd name="connsiteX381" fmla="*/ 231264 w 752994"/>
                <a:gd name="connsiteY381" fmla="*/ 69905 h 1333436"/>
                <a:gd name="connsiteX382" fmla="*/ 216778 w 752994"/>
                <a:gd name="connsiteY382" fmla="*/ 82741 h 1333436"/>
                <a:gd name="connsiteX383" fmla="*/ 214134 w 752994"/>
                <a:gd name="connsiteY383" fmla="*/ 93536 h 1333436"/>
                <a:gd name="connsiteX384" fmla="*/ 214535 w 752994"/>
                <a:gd name="connsiteY384" fmla="*/ 96801 h 1333436"/>
                <a:gd name="connsiteX385" fmla="*/ 216378 w 752994"/>
                <a:gd name="connsiteY385" fmla="*/ 96801 h 1333436"/>
                <a:gd name="connsiteX386" fmla="*/ 230046 w 752994"/>
                <a:gd name="connsiteY386" fmla="*/ 85387 h 1333436"/>
                <a:gd name="connsiteX387" fmla="*/ 243298 w 752994"/>
                <a:gd name="connsiteY387" fmla="*/ 75198 h 1333436"/>
                <a:gd name="connsiteX388" fmla="*/ 246760 w 752994"/>
                <a:gd name="connsiteY388" fmla="*/ 77646 h 1333436"/>
                <a:gd name="connsiteX389" fmla="*/ 255541 w 752994"/>
                <a:gd name="connsiteY389" fmla="*/ 63376 h 1333436"/>
                <a:gd name="connsiteX390" fmla="*/ 259611 w 752994"/>
                <a:gd name="connsiteY390" fmla="*/ 43405 h 1333436"/>
                <a:gd name="connsiteX391" fmla="*/ 256967 w 752994"/>
                <a:gd name="connsiteY391" fmla="*/ 38520 h 1333436"/>
                <a:gd name="connsiteX392" fmla="*/ 253906 w 752994"/>
                <a:gd name="connsiteY392" fmla="*/ 34242 h 1333436"/>
                <a:gd name="connsiteX393" fmla="*/ 256967 w 752994"/>
                <a:gd name="connsiteY393" fmla="*/ 30161 h 1333436"/>
                <a:gd name="connsiteX394" fmla="*/ 262063 w 752994"/>
                <a:gd name="connsiteY394" fmla="*/ 27712 h 1333436"/>
                <a:gd name="connsiteX395" fmla="*/ 264915 w 752994"/>
                <a:gd name="connsiteY395" fmla="*/ 23026 h 1333436"/>
                <a:gd name="connsiteX396" fmla="*/ 267976 w 752994"/>
                <a:gd name="connsiteY396" fmla="*/ 22618 h 1333436"/>
                <a:gd name="connsiteX397" fmla="*/ 270427 w 752994"/>
                <a:gd name="connsiteY397" fmla="*/ 20787 h 1333436"/>
                <a:gd name="connsiteX398" fmla="*/ 263088 w 752994"/>
                <a:gd name="connsiteY398" fmla="*/ 13652 h 1333436"/>
                <a:gd name="connsiteX399" fmla="*/ 255541 w 752994"/>
                <a:gd name="connsiteY399" fmla="*/ 3055 h 1333436"/>
                <a:gd name="connsiteX400" fmla="*/ 256358 w 752994"/>
                <a:gd name="connsiteY400" fmla="*/ 1224 h 1333436"/>
                <a:gd name="connsiteX401" fmla="*/ 257159 w 752994"/>
                <a:gd name="connsiteY401"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57412 w 752994"/>
                <a:gd name="connsiteY154" fmla="*/ 897429 h 1333436"/>
                <a:gd name="connsiteX155" fmla="*/ 442753 w 752994"/>
                <a:gd name="connsiteY155" fmla="*/ 950656 h 1333436"/>
                <a:gd name="connsiteX156" fmla="*/ 442550 w 752994"/>
                <a:gd name="connsiteY156" fmla="*/ 951272 h 1333436"/>
                <a:gd name="connsiteX157" fmla="*/ 439290 w 752994"/>
                <a:gd name="connsiteY157" fmla="*/ 958807 h 1333436"/>
                <a:gd name="connsiteX158" fmla="*/ 432957 w 752994"/>
                <a:gd name="connsiteY158" fmla="*/ 963487 h 1333436"/>
                <a:gd name="connsiteX159" fmla="*/ 429291 w 752994"/>
                <a:gd name="connsiteY159" fmla="*/ 959817 h 1333436"/>
                <a:gd name="connsiteX160" fmla="*/ 425610 w 752994"/>
                <a:gd name="connsiteY160" fmla="*/ 955532 h 1333436"/>
                <a:gd name="connsiteX161" fmla="*/ 419292 w 752994"/>
                <a:gd name="connsiteY161" fmla="*/ 953291 h 1333436"/>
                <a:gd name="connsiteX162" fmla="*/ 414597 w 752994"/>
                <a:gd name="connsiteY162" fmla="*/ 951272 h 1333436"/>
                <a:gd name="connsiteX163" fmla="*/ 407047 w 752994"/>
                <a:gd name="connsiteY163" fmla="*/ 956148 h 1333436"/>
                <a:gd name="connsiteX164" fmla="*/ 403787 w 752994"/>
                <a:gd name="connsiteY164" fmla="*/ 963290 h 1333436"/>
                <a:gd name="connsiteX165" fmla="*/ 404052 w 752994"/>
                <a:gd name="connsiteY165" fmla="*/ 963688 h 1333436"/>
                <a:gd name="connsiteX166" fmla="*/ 406917 w 752994"/>
                <a:gd name="connsiteY166" fmla="*/ 957427 h 1333436"/>
                <a:gd name="connsiteX167" fmla="*/ 414454 w 752994"/>
                <a:gd name="connsiteY167" fmla="*/ 952534 h 1333436"/>
                <a:gd name="connsiteX168" fmla="*/ 419146 w 752994"/>
                <a:gd name="connsiteY168" fmla="*/ 954567 h 1333436"/>
                <a:gd name="connsiteX169" fmla="*/ 425469 w 752994"/>
                <a:gd name="connsiteY169" fmla="*/ 956803 h 1333436"/>
                <a:gd name="connsiteX170" fmla="*/ 429146 w 752994"/>
                <a:gd name="connsiteY170" fmla="*/ 961092 h 1333436"/>
                <a:gd name="connsiteX171" fmla="*/ 432807 w 752994"/>
                <a:gd name="connsiteY171" fmla="*/ 964757 h 1333436"/>
                <a:gd name="connsiteX172" fmla="*/ 439129 w 752994"/>
                <a:gd name="connsiteY172" fmla="*/ 960065 h 1333436"/>
                <a:gd name="connsiteX173" fmla="*/ 442407 w 752994"/>
                <a:gd name="connsiteY173" fmla="*/ 952534 h 1333436"/>
                <a:gd name="connsiteX174" fmla="*/ 689408 w 752994"/>
                <a:gd name="connsiteY174" fmla="*/ 945184 h 1333436"/>
                <a:gd name="connsiteX175" fmla="*/ 710622 w 752994"/>
                <a:gd name="connsiteY175" fmla="*/ 948043 h 1333436"/>
                <a:gd name="connsiteX176" fmla="*/ 654533 w 752994"/>
                <a:gd name="connsiteY176" fmla="*/ 1333436 h 1333436"/>
                <a:gd name="connsiteX177" fmla="*/ 546831 w 752994"/>
                <a:gd name="connsiteY177" fmla="*/ 1317126 h 1333436"/>
                <a:gd name="connsiteX178" fmla="*/ 351227 w 752994"/>
                <a:gd name="connsiteY178" fmla="*/ 1194172 h 1333436"/>
                <a:gd name="connsiteX179" fmla="*/ 361011 w 752994"/>
                <a:gd name="connsiteY179" fmla="*/ 1182755 h 1333436"/>
                <a:gd name="connsiteX180" fmla="*/ 368981 w 752994"/>
                <a:gd name="connsiteY180" fmla="*/ 1182130 h 1333436"/>
                <a:gd name="connsiteX181" fmla="*/ 369571 w 752994"/>
                <a:gd name="connsiteY181" fmla="*/ 1181558 h 1333436"/>
                <a:gd name="connsiteX182" fmla="*/ 362372 w 752994"/>
                <a:gd name="connsiteY182" fmla="*/ 1182120 h 1333436"/>
                <a:gd name="connsiteX183" fmla="*/ 229464 w 752994"/>
                <a:gd name="connsiteY183" fmla="*/ 1161721 h 1333436"/>
                <a:gd name="connsiteX184" fmla="*/ 227427 w 752994"/>
                <a:gd name="connsiteY184" fmla="*/ 1157269 h 1333436"/>
                <a:gd name="connsiteX185" fmla="*/ 224967 w 752994"/>
                <a:gd name="connsiteY185" fmla="*/ 1152575 h 1333436"/>
                <a:gd name="connsiteX186" fmla="*/ 225582 w 752994"/>
                <a:gd name="connsiteY186" fmla="*/ 1144808 h 1333436"/>
                <a:gd name="connsiteX187" fmla="*/ 227215 w 752994"/>
                <a:gd name="connsiteY187" fmla="*/ 1135834 h 1333436"/>
                <a:gd name="connsiteX188" fmla="*/ 227215 w 752994"/>
                <a:gd name="connsiteY188" fmla="*/ 1134212 h 1333436"/>
                <a:gd name="connsiteX189" fmla="*/ 225179 w 752994"/>
                <a:gd name="connsiteY189" fmla="*/ 1114020 h 1333436"/>
                <a:gd name="connsiteX190" fmla="*/ 217839 w 752994"/>
                <a:gd name="connsiteY190" fmla="*/ 1100352 h 1333436"/>
                <a:gd name="connsiteX191" fmla="*/ 199661 w 752994"/>
                <a:gd name="connsiteY191" fmla="*/ 1076502 h 1333436"/>
                <a:gd name="connsiteX192" fmla="*/ 196395 w 752994"/>
                <a:gd name="connsiteY192" fmla="*/ 1071807 h 1333436"/>
                <a:gd name="connsiteX193" fmla="*/ 190880 w 752994"/>
                <a:gd name="connsiteY193" fmla="*/ 1067527 h 1333436"/>
                <a:gd name="connsiteX194" fmla="*/ 187210 w 752994"/>
                <a:gd name="connsiteY194" fmla="*/ 1068735 h 1333436"/>
                <a:gd name="connsiteX195" fmla="*/ 180062 w 752994"/>
                <a:gd name="connsiteY195" fmla="*/ 1066699 h 1333436"/>
                <a:gd name="connsiteX196" fmla="*/ 180466 w 752994"/>
                <a:gd name="connsiteY196" fmla="*/ 1053031 h 1333436"/>
                <a:gd name="connsiteX197" fmla="*/ 180062 w 752994"/>
                <a:gd name="connsiteY197" fmla="*/ 1045299 h 1333436"/>
                <a:gd name="connsiteX198" fmla="*/ 174144 w 752994"/>
                <a:gd name="connsiteY198" fmla="*/ 1044057 h 1333436"/>
                <a:gd name="connsiteX199" fmla="*/ 158426 w 752994"/>
                <a:gd name="connsiteY199" fmla="*/ 1042641 h 1333436"/>
                <a:gd name="connsiteX200" fmla="*/ 149857 w 752994"/>
                <a:gd name="connsiteY200" fmla="*/ 1035497 h 1333436"/>
                <a:gd name="connsiteX201" fmla="*/ 142497 w 752994"/>
                <a:gd name="connsiteY201" fmla="*/ 1028766 h 1333436"/>
                <a:gd name="connsiteX202" fmla="*/ 140864 w 752994"/>
                <a:gd name="connsiteY202" fmla="*/ 1020620 h 1333436"/>
                <a:gd name="connsiteX203" fmla="*/ 138212 w 752994"/>
                <a:gd name="connsiteY203" fmla="*/ 1013061 h 1333436"/>
                <a:gd name="connsiteX204" fmla="*/ 131064 w 752994"/>
                <a:gd name="connsiteY204" fmla="*/ 1007159 h 1333436"/>
                <a:gd name="connsiteX205" fmla="*/ 121264 w 752994"/>
                <a:gd name="connsiteY205" fmla="*/ 1005330 h 1333436"/>
                <a:gd name="connsiteX206" fmla="*/ 112483 w 752994"/>
                <a:gd name="connsiteY206" fmla="*/ 1001671 h 1333436"/>
                <a:gd name="connsiteX207" fmla="*/ 105950 w 752994"/>
                <a:gd name="connsiteY207" fmla="*/ 995734 h 1333436"/>
                <a:gd name="connsiteX208" fmla="*/ 97380 w 752994"/>
                <a:gd name="connsiteY208" fmla="*/ 994526 h 1333436"/>
                <a:gd name="connsiteX209" fmla="*/ 87984 w 752994"/>
                <a:gd name="connsiteY209" fmla="*/ 991040 h 1333436"/>
                <a:gd name="connsiteX210" fmla="*/ 80029 w 752994"/>
                <a:gd name="connsiteY210" fmla="*/ 985138 h 1333436"/>
                <a:gd name="connsiteX211" fmla="*/ 77166 w 752994"/>
                <a:gd name="connsiteY211" fmla="*/ 976164 h 1333436"/>
                <a:gd name="connsiteX212" fmla="*/ 79203 w 752994"/>
                <a:gd name="connsiteY212" fmla="*/ 970676 h 1333436"/>
                <a:gd name="connsiteX213" fmla="*/ 82470 w 752994"/>
                <a:gd name="connsiteY213" fmla="*/ 963117 h 1333436"/>
                <a:gd name="connsiteX214" fmla="*/ 84314 w 752994"/>
                <a:gd name="connsiteY214" fmla="*/ 954557 h 1333436"/>
                <a:gd name="connsiteX215" fmla="*/ 86351 w 752994"/>
                <a:gd name="connsiteY215" fmla="*/ 948033 h 1333436"/>
                <a:gd name="connsiteX216" fmla="*/ 86159 w 752994"/>
                <a:gd name="connsiteY216" fmla="*/ 942925 h 1333436"/>
                <a:gd name="connsiteX217" fmla="*/ 83085 w 752994"/>
                <a:gd name="connsiteY217" fmla="*/ 939853 h 1333436"/>
                <a:gd name="connsiteX218" fmla="*/ 77570 w 752994"/>
                <a:gd name="connsiteY218" fmla="*/ 937437 h 1333436"/>
                <a:gd name="connsiteX219" fmla="*/ 76763 w 752994"/>
                <a:gd name="connsiteY219" fmla="*/ 931915 h 1333436"/>
                <a:gd name="connsiteX220" fmla="*/ 78800 w 752994"/>
                <a:gd name="connsiteY220" fmla="*/ 927013 h 1333436"/>
                <a:gd name="connsiteX221" fmla="*/ 79626 w 752994"/>
                <a:gd name="connsiteY221" fmla="*/ 922526 h 1333436"/>
                <a:gd name="connsiteX222" fmla="*/ 77781 w 752994"/>
                <a:gd name="connsiteY222" fmla="*/ 919903 h 1333436"/>
                <a:gd name="connsiteX223" fmla="*/ 74303 w 752994"/>
                <a:gd name="connsiteY223" fmla="*/ 917418 h 1333436"/>
                <a:gd name="connsiteX224" fmla="*/ 71863 w 752994"/>
                <a:gd name="connsiteY224" fmla="*/ 915174 h 1333436"/>
                <a:gd name="connsiteX225" fmla="*/ 71652 w 752994"/>
                <a:gd name="connsiteY225" fmla="*/ 910894 h 1333436"/>
                <a:gd name="connsiteX226" fmla="*/ 70633 w 752994"/>
                <a:gd name="connsiteY226" fmla="*/ 906614 h 1333436"/>
                <a:gd name="connsiteX227" fmla="*/ 68385 w 752994"/>
                <a:gd name="connsiteY227" fmla="*/ 902749 h 1333436"/>
                <a:gd name="connsiteX228" fmla="*/ 61045 w 752994"/>
                <a:gd name="connsiteY228" fmla="*/ 889494 h 1333436"/>
                <a:gd name="connsiteX229" fmla="*/ 57971 w 752994"/>
                <a:gd name="connsiteY229" fmla="*/ 875619 h 1333436"/>
                <a:gd name="connsiteX230" fmla="*/ 52264 w 752994"/>
                <a:gd name="connsiteY230" fmla="*/ 862572 h 1333436"/>
                <a:gd name="connsiteX231" fmla="*/ 44309 w 752994"/>
                <a:gd name="connsiteY231" fmla="*/ 850561 h 1333436"/>
                <a:gd name="connsiteX232" fmla="*/ 45520 w 752994"/>
                <a:gd name="connsiteY232" fmla="*/ 827090 h 1333436"/>
                <a:gd name="connsiteX233" fmla="*/ 53071 w 752994"/>
                <a:gd name="connsiteY233" fmla="*/ 822396 h 1333436"/>
                <a:gd name="connsiteX234" fmla="*/ 57375 w 752994"/>
                <a:gd name="connsiteY234" fmla="*/ 816493 h 1333436"/>
                <a:gd name="connsiteX235" fmla="*/ 55319 w 752994"/>
                <a:gd name="connsiteY235" fmla="*/ 801617 h 1333436"/>
                <a:gd name="connsiteX236" fmla="*/ 48383 w 752994"/>
                <a:gd name="connsiteY236" fmla="*/ 802204 h 1333436"/>
                <a:gd name="connsiteX237" fmla="*/ 40428 w 752994"/>
                <a:gd name="connsiteY237" fmla="*/ 797924 h 1333436"/>
                <a:gd name="connsiteX238" fmla="*/ 37565 w 752994"/>
                <a:gd name="connsiteY238" fmla="*/ 790606 h 1333436"/>
                <a:gd name="connsiteX239" fmla="*/ 37565 w 752994"/>
                <a:gd name="connsiteY239" fmla="*/ 790399 h 1333436"/>
                <a:gd name="connsiteX240" fmla="*/ 35931 w 752994"/>
                <a:gd name="connsiteY240" fmla="*/ 785912 h 1333436"/>
                <a:gd name="connsiteX241" fmla="*/ 34510 w 752994"/>
                <a:gd name="connsiteY241" fmla="*/ 780597 h 1333436"/>
                <a:gd name="connsiteX242" fmla="*/ 36335 w 752994"/>
                <a:gd name="connsiteY242" fmla="*/ 774280 h 1333436"/>
                <a:gd name="connsiteX243" fmla="*/ 38180 w 752994"/>
                <a:gd name="connsiteY243" fmla="*/ 766721 h 1333436"/>
                <a:gd name="connsiteX244" fmla="*/ 37161 w 752994"/>
                <a:gd name="connsiteY244" fmla="*/ 760405 h 1333436"/>
                <a:gd name="connsiteX245" fmla="*/ 35720 w 752994"/>
                <a:gd name="connsiteY245" fmla="*/ 754710 h 1333436"/>
                <a:gd name="connsiteX246" fmla="*/ 36546 w 752994"/>
                <a:gd name="connsiteY246" fmla="*/ 748773 h 1333436"/>
                <a:gd name="connsiteX247" fmla="*/ 38372 w 752994"/>
                <a:gd name="connsiteY247" fmla="*/ 744528 h 1333436"/>
                <a:gd name="connsiteX248" fmla="*/ 41638 w 752994"/>
                <a:gd name="connsiteY248" fmla="*/ 744321 h 1333436"/>
                <a:gd name="connsiteX249" fmla="*/ 44713 w 752994"/>
                <a:gd name="connsiteY249" fmla="*/ 746357 h 1333436"/>
                <a:gd name="connsiteX250" fmla="*/ 47364 w 752994"/>
                <a:gd name="connsiteY250" fmla="*/ 753260 h 1333436"/>
                <a:gd name="connsiteX251" fmla="*/ 55742 w 752994"/>
                <a:gd name="connsiteY251" fmla="*/ 764305 h 1333436"/>
                <a:gd name="connsiteX252" fmla="*/ 56338 w 752994"/>
                <a:gd name="connsiteY252" fmla="*/ 761233 h 1333436"/>
                <a:gd name="connsiteX253" fmla="*/ 56145 w 752994"/>
                <a:gd name="connsiteY253" fmla="*/ 757368 h 1333436"/>
                <a:gd name="connsiteX254" fmla="*/ 54916 w 752994"/>
                <a:gd name="connsiteY254" fmla="*/ 748601 h 1333436"/>
                <a:gd name="connsiteX255" fmla="*/ 52879 w 752994"/>
                <a:gd name="connsiteY255" fmla="*/ 747358 h 1333436"/>
                <a:gd name="connsiteX256" fmla="*/ 51649 w 752994"/>
                <a:gd name="connsiteY256" fmla="*/ 745322 h 1333436"/>
                <a:gd name="connsiteX257" fmla="*/ 51649 w 752994"/>
                <a:gd name="connsiteY257" fmla="*/ 739212 h 1333436"/>
                <a:gd name="connsiteX258" fmla="*/ 50227 w 752994"/>
                <a:gd name="connsiteY258" fmla="*/ 734725 h 1333436"/>
                <a:gd name="connsiteX259" fmla="*/ 48786 w 752994"/>
                <a:gd name="connsiteY259" fmla="*/ 731446 h 1333436"/>
                <a:gd name="connsiteX260" fmla="*/ 54512 w 752994"/>
                <a:gd name="connsiteY260" fmla="*/ 726372 h 1333436"/>
                <a:gd name="connsiteX261" fmla="*/ 59815 w 752994"/>
                <a:gd name="connsiteY261" fmla="*/ 725130 h 1333436"/>
                <a:gd name="connsiteX262" fmla="*/ 58182 w 752994"/>
                <a:gd name="connsiteY262" fmla="*/ 722886 h 1333436"/>
                <a:gd name="connsiteX263" fmla="*/ 51861 w 752994"/>
                <a:gd name="connsiteY263" fmla="*/ 717985 h 1333436"/>
                <a:gd name="connsiteX264" fmla="*/ 46749 w 752994"/>
                <a:gd name="connsiteY264" fmla="*/ 729617 h 1333436"/>
                <a:gd name="connsiteX265" fmla="*/ 40831 w 752994"/>
                <a:gd name="connsiteY265" fmla="*/ 739212 h 1333436"/>
                <a:gd name="connsiteX266" fmla="*/ 39601 w 752994"/>
                <a:gd name="connsiteY266" fmla="*/ 738798 h 1333436"/>
                <a:gd name="connsiteX267" fmla="*/ 39409 w 752994"/>
                <a:gd name="connsiteY267" fmla="*/ 738591 h 1333436"/>
                <a:gd name="connsiteX268" fmla="*/ 37161 w 752994"/>
                <a:gd name="connsiteY268" fmla="*/ 734725 h 1333436"/>
                <a:gd name="connsiteX269" fmla="*/ 32665 w 752994"/>
                <a:gd name="connsiteY269" fmla="*/ 727788 h 1333436"/>
                <a:gd name="connsiteX270" fmla="*/ 26747 w 752994"/>
                <a:gd name="connsiteY270" fmla="*/ 719435 h 1333436"/>
                <a:gd name="connsiteX271" fmla="*/ 23884 w 752994"/>
                <a:gd name="connsiteY271" fmla="*/ 717812 h 1333436"/>
                <a:gd name="connsiteX272" fmla="*/ 24710 w 752994"/>
                <a:gd name="connsiteY272" fmla="*/ 709632 h 1333436"/>
                <a:gd name="connsiteX273" fmla="*/ 27554 w 752994"/>
                <a:gd name="connsiteY273" fmla="*/ 701694 h 1333436"/>
                <a:gd name="connsiteX274" fmla="*/ 24902 w 752994"/>
                <a:gd name="connsiteY274" fmla="*/ 696171 h 1333436"/>
                <a:gd name="connsiteX275" fmla="*/ 24095 w 752994"/>
                <a:gd name="connsiteY275" fmla="*/ 687818 h 1333436"/>
                <a:gd name="connsiteX276" fmla="*/ 22462 w 752994"/>
                <a:gd name="connsiteY276" fmla="*/ 682330 h 1333436"/>
                <a:gd name="connsiteX277" fmla="*/ 17159 w 752994"/>
                <a:gd name="connsiteY277" fmla="*/ 677636 h 1333436"/>
                <a:gd name="connsiteX278" fmla="*/ 14296 w 752994"/>
                <a:gd name="connsiteY278" fmla="*/ 671492 h 1333436"/>
                <a:gd name="connsiteX279" fmla="*/ 12451 w 752994"/>
                <a:gd name="connsiteY279" fmla="*/ 665797 h 1333436"/>
                <a:gd name="connsiteX280" fmla="*/ 5111 w 752994"/>
                <a:gd name="connsiteY280" fmla="*/ 654994 h 1333436"/>
                <a:gd name="connsiteX281" fmla="*/ 2248 w 752994"/>
                <a:gd name="connsiteY281" fmla="*/ 645605 h 1333436"/>
                <a:gd name="connsiteX282" fmla="*/ 4496 w 752994"/>
                <a:gd name="connsiteY282" fmla="*/ 640497 h 1333436"/>
                <a:gd name="connsiteX283" fmla="*/ 6744 w 752994"/>
                <a:gd name="connsiteY283" fmla="*/ 632765 h 1333436"/>
                <a:gd name="connsiteX284" fmla="*/ 6744 w 752994"/>
                <a:gd name="connsiteY284" fmla="*/ 628485 h 1333436"/>
                <a:gd name="connsiteX285" fmla="*/ 6533 w 752994"/>
                <a:gd name="connsiteY285" fmla="*/ 620305 h 1333436"/>
                <a:gd name="connsiteX286" fmla="*/ 7359 w 752994"/>
                <a:gd name="connsiteY286" fmla="*/ 611745 h 1333436"/>
                <a:gd name="connsiteX287" fmla="*/ 11836 w 752994"/>
                <a:gd name="connsiteY287" fmla="*/ 602978 h 1333436"/>
                <a:gd name="connsiteX288" fmla="*/ 15103 w 752994"/>
                <a:gd name="connsiteY288" fmla="*/ 591760 h 1333436"/>
                <a:gd name="connsiteX289" fmla="*/ 14488 w 752994"/>
                <a:gd name="connsiteY289" fmla="*/ 584029 h 1333436"/>
                <a:gd name="connsiteX290" fmla="*/ 13873 w 752994"/>
                <a:gd name="connsiteY290" fmla="*/ 578299 h 1333436"/>
                <a:gd name="connsiteX291" fmla="*/ 10626 w 752994"/>
                <a:gd name="connsiteY291" fmla="*/ 568531 h 1333436"/>
                <a:gd name="connsiteX292" fmla="*/ 3670 w 752994"/>
                <a:gd name="connsiteY292" fmla="*/ 558107 h 1333436"/>
                <a:gd name="connsiteX293" fmla="*/ 0 w 752994"/>
                <a:gd name="connsiteY293" fmla="*/ 551377 h 1333436"/>
                <a:gd name="connsiteX294" fmla="*/ 0 w 752994"/>
                <a:gd name="connsiteY294" fmla="*/ 550997 h 1333436"/>
                <a:gd name="connsiteX295" fmla="*/ 4900 w 752994"/>
                <a:gd name="connsiteY295" fmla="*/ 531220 h 1333436"/>
                <a:gd name="connsiteX296" fmla="*/ 13873 w 752994"/>
                <a:gd name="connsiteY296" fmla="*/ 520589 h 1333436"/>
                <a:gd name="connsiteX297" fmla="*/ 18369 w 752994"/>
                <a:gd name="connsiteY297" fmla="*/ 516516 h 1333436"/>
                <a:gd name="connsiteX298" fmla="*/ 18773 w 752994"/>
                <a:gd name="connsiteY298" fmla="*/ 514272 h 1333436"/>
                <a:gd name="connsiteX299" fmla="*/ 23077 w 752994"/>
                <a:gd name="connsiteY299" fmla="*/ 506127 h 1333436"/>
                <a:gd name="connsiteX300" fmla="*/ 23884 w 752994"/>
                <a:gd name="connsiteY300" fmla="*/ 502261 h 1333436"/>
                <a:gd name="connsiteX301" fmla="*/ 23692 w 752994"/>
                <a:gd name="connsiteY301" fmla="*/ 496738 h 1333436"/>
                <a:gd name="connsiteX302" fmla="*/ 30013 w 752994"/>
                <a:gd name="connsiteY302" fmla="*/ 486556 h 1333436"/>
                <a:gd name="connsiteX303" fmla="*/ 36546 w 752994"/>
                <a:gd name="connsiteY303" fmla="*/ 470230 h 1333436"/>
                <a:gd name="connsiteX304" fmla="*/ 36546 w 752994"/>
                <a:gd name="connsiteY304" fmla="*/ 462671 h 1333436"/>
                <a:gd name="connsiteX305" fmla="*/ 36335 w 752994"/>
                <a:gd name="connsiteY305" fmla="*/ 461670 h 1333436"/>
                <a:gd name="connsiteX306" fmla="*/ 35931 w 752994"/>
                <a:gd name="connsiteY306" fmla="*/ 453110 h 1333436"/>
                <a:gd name="connsiteX307" fmla="*/ 38583 w 752994"/>
                <a:gd name="connsiteY307" fmla="*/ 442514 h 1333436"/>
                <a:gd name="connsiteX308" fmla="*/ 41043 w 752994"/>
                <a:gd name="connsiteY308" fmla="*/ 436991 h 1333436"/>
                <a:gd name="connsiteX309" fmla="*/ 41650 w 752994"/>
                <a:gd name="connsiteY309" fmla="*/ 437186 h 1333436"/>
                <a:gd name="connsiteX310" fmla="*/ 41239 w 752994"/>
                <a:gd name="connsiteY310" fmla="*/ 436549 h 1333436"/>
                <a:gd name="connsiteX311" fmla="*/ 37778 w 752994"/>
                <a:gd name="connsiteY311" fmla="*/ 433894 h 1333436"/>
                <a:gd name="connsiteX312" fmla="*/ 37169 w 752994"/>
                <a:gd name="connsiteY312" fmla="*/ 432261 h 1333436"/>
                <a:gd name="connsiteX313" fmla="*/ 37365 w 752994"/>
                <a:gd name="connsiteY313" fmla="*/ 429198 h 1333436"/>
                <a:gd name="connsiteX314" fmla="*/ 36756 w 752994"/>
                <a:gd name="connsiteY314" fmla="*/ 422272 h 1333436"/>
                <a:gd name="connsiteX315" fmla="*/ 36952 w 752994"/>
                <a:gd name="connsiteY315" fmla="*/ 418800 h 1333436"/>
                <a:gd name="connsiteX316" fmla="*/ 36756 w 752994"/>
                <a:gd name="connsiteY316" fmla="*/ 412487 h 1333436"/>
                <a:gd name="connsiteX317" fmla="*/ 40433 w 752994"/>
                <a:gd name="connsiteY317" fmla="*/ 406174 h 1333436"/>
                <a:gd name="connsiteX318" fmla="*/ 44720 w 752994"/>
                <a:gd name="connsiteY318" fmla="*/ 399435 h 1333436"/>
                <a:gd name="connsiteX319" fmla="*/ 44110 w 752994"/>
                <a:gd name="connsiteY319" fmla="*/ 389651 h 1333436"/>
                <a:gd name="connsiteX320" fmla="*/ 43894 w 752994"/>
                <a:gd name="connsiteY320" fmla="*/ 378437 h 1333436"/>
                <a:gd name="connsiteX321" fmla="*/ 47158 w 752994"/>
                <a:gd name="connsiteY321" fmla="*/ 371102 h 1333436"/>
                <a:gd name="connsiteX322" fmla="*/ 55731 w 752994"/>
                <a:gd name="connsiteY322" fmla="*/ 360909 h 1333436"/>
                <a:gd name="connsiteX323" fmla="*/ 57580 w 752994"/>
                <a:gd name="connsiteY323" fmla="*/ 355804 h 1333436"/>
                <a:gd name="connsiteX324" fmla="*/ 62673 w 752994"/>
                <a:gd name="connsiteY324" fmla="*/ 349695 h 1333436"/>
                <a:gd name="connsiteX325" fmla="*/ 65937 w 752994"/>
                <a:gd name="connsiteY325" fmla="*/ 348470 h 1333436"/>
                <a:gd name="connsiteX326" fmla="*/ 68395 w 752994"/>
                <a:gd name="connsiteY326" fmla="*/ 348674 h 1333436"/>
                <a:gd name="connsiteX327" fmla="*/ 70224 w 752994"/>
                <a:gd name="connsiteY327" fmla="*/ 347449 h 1333436"/>
                <a:gd name="connsiteX328" fmla="*/ 67785 w 752994"/>
                <a:gd name="connsiteY328" fmla="*/ 345203 h 1333436"/>
                <a:gd name="connsiteX329" fmla="*/ 65524 w 752994"/>
                <a:gd name="connsiteY329" fmla="*/ 343178 h 1333436"/>
                <a:gd name="connsiteX330" fmla="*/ 73095 w 752994"/>
                <a:gd name="connsiteY330" fmla="*/ 333376 h 1333436"/>
                <a:gd name="connsiteX331" fmla="*/ 73291 w 752994"/>
                <a:gd name="connsiteY331" fmla="*/ 333376 h 1333436"/>
                <a:gd name="connsiteX332" fmla="*/ 77991 w 752994"/>
                <a:gd name="connsiteY332" fmla="*/ 325838 h 1333436"/>
                <a:gd name="connsiteX333" fmla="*/ 82671 w 752994"/>
                <a:gd name="connsiteY333" fmla="*/ 313619 h 1333436"/>
                <a:gd name="connsiteX334" fmla="*/ 87980 w 752994"/>
                <a:gd name="connsiteY334" fmla="*/ 303018 h 1333436"/>
                <a:gd name="connsiteX335" fmla="*/ 92267 w 752994"/>
                <a:gd name="connsiteY335" fmla="*/ 291191 h 1333436"/>
                <a:gd name="connsiteX336" fmla="*/ 96553 w 752994"/>
                <a:gd name="connsiteY336" fmla="*/ 281202 h 1333436"/>
                <a:gd name="connsiteX337" fmla="*/ 99621 w 752994"/>
                <a:gd name="connsiteY337" fmla="*/ 274481 h 1333436"/>
                <a:gd name="connsiteX338" fmla="*/ 103082 w 752994"/>
                <a:gd name="connsiteY338" fmla="*/ 262450 h 1333436"/>
                <a:gd name="connsiteX339" fmla="*/ 107172 w 752994"/>
                <a:gd name="connsiteY339" fmla="*/ 254299 h 1333436"/>
                <a:gd name="connsiteX340" fmla="*/ 112481 w 752994"/>
                <a:gd name="connsiteY340" fmla="*/ 243697 h 1333436"/>
                <a:gd name="connsiteX341" fmla="*/ 117181 w 752994"/>
                <a:gd name="connsiteY341" fmla="*/ 232279 h 1333436"/>
                <a:gd name="connsiteX342" fmla="*/ 125951 w 752994"/>
                <a:gd name="connsiteY342" fmla="*/ 217389 h 1333436"/>
                <a:gd name="connsiteX343" fmla="*/ 136156 w 752994"/>
                <a:gd name="connsiteY343" fmla="*/ 202925 h 1333436"/>
                <a:gd name="connsiteX344" fmla="*/ 138811 w 752994"/>
                <a:gd name="connsiteY344" fmla="*/ 183339 h 1333436"/>
                <a:gd name="connsiteX345" fmla="*/ 148801 w 752994"/>
                <a:gd name="connsiteY345" fmla="*/ 167445 h 1333436"/>
                <a:gd name="connsiteX346" fmla="*/ 159616 w 752994"/>
                <a:gd name="connsiteY346" fmla="*/ 170712 h 1333436"/>
                <a:gd name="connsiteX347" fmla="*/ 173105 w 752994"/>
                <a:gd name="connsiteY347" fmla="*/ 175188 h 1333436"/>
                <a:gd name="connsiteX348" fmla="*/ 175347 w 752994"/>
                <a:gd name="connsiteY348" fmla="*/ 175188 h 1333436"/>
                <a:gd name="connsiteX349" fmla="*/ 175347 w 752994"/>
                <a:gd name="connsiteY349" fmla="*/ 173758 h 1333436"/>
                <a:gd name="connsiteX350" fmla="*/ 184975 w 752994"/>
                <a:gd name="connsiteY350" fmla="*/ 187393 h 1333436"/>
                <a:gd name="connsiteX351" fmla="*/ 184762 w 752994"/>
                <a:gd name="connsiteY351" fmla="*/ 184637 h 1333436"/>
                <a:gd name="connsiteX352" fmla="*/ 174971 w 752994"/>
                <a:gd name="connsiteY352" fmla="*/ 170774 h 1333436"/>
                <a:gd name="connsiteX353" fmla="*/ 174971 w 752994"/>
                <a:gd name="connsiteY353" fmla="*/ 169550 h 1333436"/>
                <a:gd name="connsiteX354" fmla="*/ 158851 w 752994"/>
                <a:gd name="connsiteY354" fmla="*/ 156924 h 1333436"/>
                <a:gd name="connsiteX355" fmla="*/ 147025 w 752994"/>
                <a:gd name="connsiteY355" fmla="*/ 145709 h 1333436"/>
                <a:gd name="connsiteX356" fmla="*/ 154364 w 752994"/>
                <a:gd name="connsiteY356" fmla="*/ 136335 h 1333436"/>
                <a:gd name="connsiteX357" fmla="*/ 161511 w 752994"/>
                <a:gd name="connsiteY357" fmla="*/ 131042 h 1333436"/>
                <a:gd name="connsiteX358" fmla="*/ 160902 w 752994"/>
                <a:gd name="connsiteY358" fmla="*/ 128384 h 1333436"/>
                <a:gd name="connsiteX359" fmla="*/ 160277 w 752994"/>
                <a:gd name="connsiteY359" fmla="*/ 127778 h 1333436"/>
                <a:gd name="connsiteX360" fmla="*/ 154973 w 752994"/>
                <a:gd name="connsiteY360" fmla="*/ 122077 h 1333436"/>
                <a:gd name="connsiteX361" fmla="*/ 160277 w 752994"/>
                <a:gd name="connsiteY361" fmla="*/ 115140 h 1333436"/>
                <a:gd name="connsiteX362" fmla="*/ 165181 w 752994"/>
                <a:gd name="connsiteY362" fmla="*/ 108215 h 1333436"/>
                <a:gd name="connsiteX363" fmla="*/ 161303 w 752994"/>
                <a:gd name="connsiteY363" fmla="*/ 104146 h 1333436"/>
                <a:gd name="connsiteX364" fmla="*/ 157842 w 752994"/>
                <a:gd name="connsiteY364" fmla="*/ 104542 h 1333436"/>
                <a:gd name="connsiteX365" fmla="*/ 157024 w 752994"/>
                <a:gd name="connsiteY365" fmla="*/ 102304 h 1333436"/>
                <a:gd name="connsiteX366" fmla="*/ 160694 w 752994"/>
                <a:gd name="connsiteY366" fmla="*/ 55437 h 1333436"/>
                <a:gd name="connsiteX367" fmla="*/ 160486 w 752994"/>
                <a:gd name="connsiteY367" fmla="*/ 31991 h 1333436"/>
                <a:gd name="connsiteX368" fmla="*/ 164972 w 752994"/>
                <a:gd name="connsiteY368" fmla="*/ 18141 h 1333436"/>
                <a:gd name="connsiteX369" fmla="*/ 171911 w 752994"/>
                <a:gd name="connsiteY369" fmla="*/ 11204 h 1333436"/>
                <a:gd name="connsiteX370" fmla="*/ 187406 w 752994"/>
                <a:gd name="connsiteY370" fmla="*/ 21801 h 1333436"/>
                <a:gd name="connsiteX371" fmla="*/ 210866 w 752994"/>
                <a:gd name="connsiteY371" fmla="*/ 37086 h 1333436"/>
                <a:gd name="connsiteX372" fmla="*/ 219230 w 752994"/>
                <a:gd name="connsiteY372" fmla="*/ 41166 h 1333436"/>
                <a:gd name="connsiteX373" fmla="*/ 226778 w 752994"/>
                <a:gd name="connsiteY373" fmla="*/ 47486 h 1333436"/>
                <a:gd name="connsiteX374" fmla="*/ 236152 w 752994"/>
                <a:gd name="connsiteY374" fmla="*/ 52370 h 1333436"/>
                <a:gd name="connsiteX375" fmla="*/ 239629 w 752994"/>
                <a:gd name="connsiteY375" fmla="*/ 58491 h 1333436"/>
                <a:gd name="connsiteX376" fmla="*/ 239629 w 752994"/>
                <a:gd name="connsiteY376" fmla="*/ 63376 h 1333436"/>
                <a:gd name="connsiteX377" fmla="*/ 236568 w 752994"/>
                <a:gd name="connsiteY377" fmla="*/ 67457 h 1333436"/>
                <a:gd name="connsiteX378" fmla="*/ 231264 w 752994"/>
                <a:gd name="connsiteY378" fmla="*/ 69905 h 1333436"/>
                <a:gd name="connsiteX379" fmla="*/ 216778 w 752994"/>
                <a:gd name="connsiteY379" fmla="*/ 82741 h 1333436"/>
                <a:gd name="connsiteX380" fmla="*/ 214134 w 752994"/>
                <a:gd name="connsiteY380" fmla="*/ 93536 h 1333436"/>
                <a:gd name="connsiteX381" fmla="*/ 214535 w 752994"/>
                <a:gd name="connsiteY381" fmla="*/ 96801 h 1333436"/>
                <a:gd name="connsiteX382" fmla="*/ 216378 w 752994"/>
                <a:gd name="connsiteY382" fmla="*/ 96801 h 1333436"/>
                <a:gd name="connsiteX383" fmla="*/ 230046 w 752994"/>
                <a:gd name="connsiteY383" fmla="*/ 85387 h 1333436"/>
                <a:gd name="connsiteX384" fmla="*/ 243298 w 752994"/>
                <a:gd name="connsiteY384" fmla="*/ 75198 h 1333436"/>
                <a:gd name="connsiteX385" fmla="*/ 246760 w 752994"/>
                <a:gd name="connsiteY385" fmla="*/ 77646 h 1333436"/>
                <a:gd name="connsiteX386" fmla="*/ 255541 w 752994"/>
                <a:gd name="connsiteY386" fmla="*/ 63376 h 1333436"/>
                <a:gd name="connsiteX387" fmla="*/ 259611 w 752994"/>
                <a:gd name="connsiteY387" fmla="*/ 43405 h 1333436"/>
                <a:gd name="connsiteX388" fmla="*/ 256967 w 752994"/>
                <a:gd name="connsiteY388" fmla="*/ 38520 h 1333436"/>
                <a:gd name="connsiteX389" fmla="*/ 253906 w 752994"/>
                <a:gd name="connsiteY389" fmla="*/ 34242 h 1333436"/>
                <a:gd name="connsiteX390" fmla="*/ 256967 w 752994"/>
                <a:gd name="connsiteY390" fmla="*/ 30161 h 1333436"/>
                <a:gd name="connsiteX391" fmla="*/ 262063 w 752994"/>
                <a:gd name="connsiteY391" fmla="*/ 27712 h 1333436"/>
                <a:gd name="connsiteX392" fmla="*/ 264915 w 752994"/>
                <a:gd name="connsiteY392" fmla="*/ 23026 h 1333436"/>
                <a:gd name="connsiteX393" fmla="*/ 267976 w 752994"/>
                <a:gd name="connsiteY393" fmla="*/ 22618 h 1333436"/>
                <a:gd name="connsiteX394" fmla="*/ 270427 w 752994"/>
                <a:gd name="connsiteY394" fmla="*/ 20787 h 1333436"/>
                <a:gd name="connsiteX395" fmla="*/ 263088 w 752994"/>
                <a:gd name="connsiteY395" fmla="*/ 13652 h 1333436"/>
                <a:gd name="connsiteX396" fmla="*/ 255541 w 752994"/>
                <a:gd name="connsiteY396" fmla="*/ 3055 h 1333436"/>
                <a:gd name="connsiteX397" fmla="*/ 256358 w 752994"/>
                <a:gd name="connsiteY397" fmla="*/ 1224 h 1333436"/>
                <a:gd name="connsiteX398" fmla="*/ 257159 w 752994"/>
                <a:gd name="connsiteY398"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57412 w 752994"/>
                <a:gd name="connsiteY154" fmla="*/ 897429 h 1333436"/>
                <a:gd name="connsiteX155" fmla="*/ 442753 w 752994"/>
                <a:gd name="connsiteY155" fmla="*/ 950656 h 1333436"/>
                <a:gd name="connsiteX156" fmla="*/ 442550 w 752994"/>
                <a:gd name="connsiteY156" fmla="*/ 951272 h 1333436"/>
                <a:gd name="connsiteX157" fmla="*/ 439290 w 752994"/>
                <a:gd name="connsiteY157" fmla="*/ 958807 h 1333436"/>
                <a:gd name="connsiteX158" fmla="*/ 432957 w 752994"/>
                <a:gd name="connsiteY158" fmla="*/ 963487 h 1333436"/>
                <a:gd name="connsiteX159" fmla="*/ 429291 w 752994"/>
                <a:gd name="connsiteY159" fmla="*/ 959817 h 1333436"/>
                <a:gd name="connsiteX160" fmla="*/ 425610 w 752994"/>
                <a:gd name="connsiteY160" fmla="*/ 955532 h 1333436"/>
                <a:gd name="connsiteX161" fmla="*/ 419292 w 752994"/>
                <a:gd name="connsiteY161" fmla="*/ 953291 h 1333436"/>
                <a:gd name="connsiteX162" fmla="*/ 414597 w 752994"/>
                <a:gd name="connsiteY162" fmla="*/ 951272 h 1333436"/>
                <a:gd name="connsiteX163" fmla="*/ 407047 w 752994"/>
                <a:gd name="connsiteY163" fmla="*/ 956148 h 1333436"/>
                <a:gd name="connsiteX164" fmla="*/ 403787 w 752994"/>
                <a:gd name="connsiteY164" fmla="*/ 963290 h 1333436"/>
                <a:gd name="connsiteX165" fmla="*/ 404052 w 752994"/>
                <a:gd name="connsiteY165" fmla="*/ 963688 h 1333436"/>
                <a:gd name="connsiteX166" fmla="*/ 406917 w 752994"/>
                <a:gd name="connsiteY166" fmla="*/ 957427 h 1333436"/>
                <a:gd name="connsiteX167" fmla="*/ 414454 w 752994"/>
                <a:gd name="connsiteY167" fmla="*/ 952534 h 1333436"/>
                <a:gd name="connsiteX168" fmla="*/ 419146 w 752994"/>
                <a:gd name="connsiteY168" fmla="*/ 954567 h 1333436"/>
                <a:gd name="connsiteX169" fmla="*/ 425469 w 752994"/>
                <a:gd name="connsiteY169" fmla="*/ 956803 h 1333436"/>
                <a:gd name="connsiteX170" fmla="*/ 429146 w 752994"/>
                <a:gd name="connsiteY170" fmla="*/ 961092 h 1333436"/>
                <a:gd name="connsiteX171" fmla="*/ 439129 w 752994"/>
                <a:gd name="connsiteY171" fmla="*/ 960065 h 1333436"/>
                <a:gd name="connsiteX172" fmla="*/ 442407 w 752994"/>
                <a:gd name="connsiteY172" fmla="*/ 952534 h 1333436"/>
                <a:gd name="connsiteX173" fmla="*/ 689408 w 752994"/>
                <a:gd name="connsiteY173" fmla="*/ 945184 h 1333436"/>
                <a:gd name="connsiteX174" fmla="*/ 710622 w 752994"/>
                <a:gd name="connsiteY174" fmla="*/ 948043 h 1333436"/>
                <a:gd name="connsiteX175" fmla="*/ 654533 w 752994"/>
                <a:gd name="connsiteY175" fmla="*/ 1333436 h 1333436"/>
                <a:gd name="connsiteX176" fmla="*/ 546831 w 752994"/>
                <a:gd name="connsiteY176" fmla="*/ 1317126 h 1333436"/>
                <a:gd name="connsiteX177" fmla="*/ 351227 w 752994"/>
                <a:gd name="connsiteY177" fmla="*/ 1194172 h 1333436"/>
                <a:gd name="connsiteX178" fmla="*/ 361011 w 752994"/>
                <a:gd name="connsiteY178" fmla="*/ 1182755 h 1333436"/>
                <a:gd name="connsiteX179" fmla="*/ 368981 w 752994"/>
                <a:gd name="connsiteY179" fmla="*/ 1182130 h 1333436"/>
                <a:gd name="connsiteX180" fmla="*/ 369571 w 752994"/>
                <a:gd name="connsiteY180" fmla="*/ 1181558 h 1333436"/>
                <a:gd name="connsiteX181" fmla="*/ 362372 w 752994"/>
                <a:gd name="connsiteY181" fmla="*/ 1182120 h 1333436"/>
                <a:gd name="connsiteX182" fmla="*/ 229464 w 752994"/>
                <a:gd name="connsiteY182" fmla="*/ 1161721 h 1333436"/>
                <a:gd name="connsiteX183" fmla="*/ 227427 w 752994"/>
                <a:gd name="connsiteY183" fmla="*/ 1157269 h 1333436"/>
                <a:gd name="connsiteX184" fmla="*/ 224967 w 752994"/>
                <a:gd name="connsiteY184" fmla="*/ 1152575 h 1333436"/>
                <a:gd name="connsiteX185" fmla="*/ 225582 w 752994"/>
                <a:gd name="connsiteY185" fmla="*/ 1144808 h 1333436"/>
                <a:gd name="connsiteX186" fmla="*/ 227215 w 752994"/>
                <a:gd name="connsiteY186" fmla="*/ 1135834 h 1333436"/>
                <a:gd name="connsiteX187" fmla="*/ 227215 w 752994"/>
                <a:gd name="connsiteY187" fmla="*/ 1134212 h 1333436"/>
                <a:gd name="connsiteX188" fmla="*/ 225179 w 752994"/>
                <a:gd name="connsiteY188" fmla="*/ 1114020 h 1333436"/>
                <a:gd name="connsiteX189" fmla="*/ 217839 w 752994"/>
                <a:gd name="connsiteY189" fmla="*/ 1100352 h 1333436"/>
                <a:gd name="connsiteX190" fmla="*/ 199661 w 752994"/>
                <a:gd name="connsiteY190" fmla="*/ 1076502 h 1333436"/>
                <a:gd name="connsiteX191" fmla="*/ 196395 w 752994"/>
                <a:gd name="connsiteY191" fmla="*/ 1071807 h 1333436"/>
                <a:gd name="connsiteX192" fmla="*/ 190880 w 752994"/>
                <a:gd name="connsiteY192" fmla="*/ 1067527 h 1333436"/>
                <a:gd name="connsiteX193" fmla="*/ 187210 w 752994"/>
                <a:gd name="connsiteY193" fmla="*/ 1068735 h 1333436"/>
                <a:gd name="connsiteX194" fmla="*/ 180062 w 752994"/>
                <a:gd name="connsiteY194" fmla="*/ 1066699 h 1333436"/>
                <a:gd name="connsiteX195" fmla="*/ 180466 w 752994"/>
                <a:gd name="connsiteY195" fmla="*/ 1053031 h 1333436"/>
                <a:gd name="connsiteX196" fmla="*/ 180062 w 752994"/>
                <a:gd name="connsiteY196" fmla="*/ 1045299 h 1333436"/>
                <a:gd name="connsiteX197" fmla="*/ 174144 w 752994"/>
                <a:gd name="connsiteY197" fmla="*/ 1044057 h 1333436"/>
                <a:gd name="connsiteX198" fmla="*/ 158426 w 752994"/>
                <a:gd name="connsiteY198" fmla="*/ 1042641 h 1333436"/>
                <a:gd name="connsiteX199" fmla="*/ 149857 w 752994"/>
                <a:gd name="connsiteY199" fmla="*/ 1035497 h 1333436"/>
                <a:gd name="connsiteX200" fmla="*/ 142497 w 752994"/>
                <a:gd name="connsiteY200" fmla="*/ 1028766 h 1333436"/>
                <a:gd name="connsiteX201" fmla="*/ 140864 w 752994"/>
                <a:gd name="connsiteY201" fmla="*/ 1020620 h 1333436"/>
                <a:gd name="connsiteX202" fmla="*/ 138212 w 752994"/>
                <a:gd name="connsiteY202" fmla="*/ 1013061 h 1333436"/>
                <a:gd name="connsiteX203" fmla="*/ 131064 w 752994"/>
                <a:gd name="connsiteY203" fmla="*/ 1007159 h 1333436"/>
                <a:gd name="connsiteX204" fmla="*/ 121264 w 752994"/>
                <a:gd name="connsiteY204" fmla="*/ 1005330 h 1333436"/>
                <a:gd name="connsiteX205" fmla="*/ 112483 w 752994"/>
                <a:gd name="connsiteY205" fmla="*/ 1001671 h 1333436"/>
                <a:gd name="connsiteX206" fmla="*/ 105950 w 752994"/>
                <a:gd name="connsiteY206" fmla="*/ 995734 h 1333436"/>
                <a:gd name="connsiteX207" fmla="*/ 97380 w 752994"/>
                <a:gd name="connsiteY207" fmla="*/ 994526 h 1333436"/>
                <a:gd name="connsiteX208" fmla="*/ 87984 w 752994"/>
                <a:gd name="connsiteY208" fmla="*/ 991040 h 1333436"/>
                <a:gd name="connsiteX209" fmla="*/ 80029 w 752994"/>
                <a:gd name="connsiteY209" fmla="*/ 985138 h 1333436"/>
                <a:gd name="connsiteX210" fmla="*/ 77166 w 752994"/>
                <a:gd name="connsiteY210" fmla="*/ 976164 h 1333436"/>
                <a:gd name="connsiteX211" fmla="*/ 79203 w 752994"/>
                <a:gd name="connsiteY211" fmla="*/ 970676 h 1333436"/>
                <a:gd name="connsiteX212" fmla="*/ 82470 w 752994"/>
                <a:gd name="connsiteY212" fmla="*/ 963117 h 1333436"/>
                <a:gd name="connsiteX213" fmla="*/ 84314 w 752994"/>
                <a:gd name="connsiteY213" fmla="*/ 954557 h 1333436"/>
                <a:gd name="connsiteX214" fmla="*/ 86351 w 752994"/>
                <a:gd name="connsiteY214" fmla="*/ 948033 h 1333436"/>
                <a:gd name="connsiteX215" fmla="*/ 86159 w 752994"/>
                <a:gd name="connsiteY215" fmla="*/ 942925 h 1333436"/>
                <a:gd name="connsiteX216" fmla="*/ 83085 w 752994"/>
                <a:gd name="connsiteY216" fmla="*/ 939853 h 1333436"/>
                <a:gd name="connsiteX217" fmla="*/ 77570 w 752994"/>
                <a:gd name="connsiteY217" fmla="*/ 937437 h 1333436"/>
                <a:gd name="connsiteX218" fmla="*/ 76763 w 752994"/>
                <a:gd name="connsiteY218" fmla="*/ 931915 h 1333436"/>
                <a:gd name="connsiteX219" fmla="*/ 78800 w 752994"/>
                <a:gd name="connsiteY219" fmla="*/ 927013 h 1333436"/>
                <a:gd name="connsiteX220" fmla="*/ 79626 w 752994"/>
                <a:gd name="connsiteY220" fmla="*/ 922526 h 1333436"/>
                <a:gd name="connsiteX221" fmla="*/ 77781 w 752994"/>
                <a:gd name="connsiteY221" fmla="*/ 919903 h 1333436"/>
                <a:gd name="connsiteX222" fmla="*/ 74303 w 752994"/>
                <a:gd name="connsiteY222" fmla="*/ 917418 h 1333436"/>
                <a:gd name="connsiteX223" fmla="*/ 71863 w 752994"/>
                <a:gd name="connsiteY223" fmla="*/ 915174 h 1333436"/>
                <a:gd name="connsiteX224" fmla="*/ 71652 w 752994"/>
                <a:gd name="connsiteY224" fmla="*/ 910894 h 1333436"/>
                <a:gd name="connsiteX225" fmla="*/ 70633 w 752994"/>
                <a:gd name="connsiteY225" fmla="*/ 906614 h 1333436"/>
                <a:gd name="connsiteX226" fmla="*/ 68385 w 752994"/>
                <a:gd name="connsiteY226" fmla="*/ 902749 h 1333436"/>
                <a:gd name="connsiteX227" fmla="*/ 61045 w 752994"/>
                <a:gd name="connsiteY227" fmla="*/ 889494 h 1333436"/>
                <a:gd name="connsiteX228" fmla="*/ 57971 w 752994"/>
                <a:gd name="connsiteY228" fmla="*/ 875619 h 1333436"/>
                <a:gd name="connsiteX229" fmla="*/ 52264 w 752994"/>
                <a:gd name="connsiteY229" fmla="*/ 862572 h 1333436"/>
                <a:gd name="connsiteX230" fmla="*/ 44309 w 752994"/>
                <a:gd name="connsiteY230" fmla="*/ 850561 h 1333436"/>
                <a:gd name="connsiteX231" fmla="*/ 45520 w 752994"/>
                <a:gd name="connsiteY231" fmla="*/ 827090 h 1333436"/>
                <a:gd name="connsiteX232" fmla="*/ 53071 w 752994"/>
                <a:gd name="connsiteY232" fmla="*/ 822396 h 1333436"/>
                <a:gd name="connsiteX233" fmla="*/ 57375 w 752994"/>
                <a:gd name="connsiteY233" fmla="*/ 816493 h 1333436"/>
                <a:gd name="connsiteX234" fmla="*/ 55319 w 752994"/>
                <a:gd name="connsiteY234" fmla="*/ 801617 h 1333436"/>
                <a:gd name="connsiteX235" fmla="*/ 48383 w 752994"/>
                <a:gd name="connsiteY235" fmla="*/ 802204 h 1333436"/>
                <a:gd name="connsiteX236" fmla="*/ 40428 w 752994"/>
                <a:gd name="connsiteY236" fmla="*/ 797924 h 1333436"/>
                <a:gd name="connsiteX237" fmla="*/ 37565 w 752994"/>
                <a:gd name="connsiteY237" fmla="*/ 790606 h 1333436"/>
                <a:gd name="connsiteX238" fmla="*/ 37565 w 752994"/>
                <a:gd name="connsiteY238" fmla="*/ 790399 h 1333436"/>
                <a:gd name="connsiteX239" fmla="*/ 35931 w 752994"/>
                <a:gd name="connsiteY239" fmla="*/ 785912 h 1333436"/>
                <a:gd name="connsiteX240" fmla="*/ 34510 w 752994"/>
                <a:gd name="connsiteY240" fmla="*/ 780597 h 1333436"/>
                <a:gd name="connsiteX241" fmla="*/ 36335 w 752994"/>
                <a:gd name="connsiteY241" fmla="*/ 774280 h 1333436"/>
                <a:gd name="connsiteX242" fmla="*/ 38180 w 752994"/>
                <a:gd name="connsiteY242" fmla="*/ 766721 h 1333436"/>
                <a:gd name="connsiteX243" fmla="*/ 37161 w 752994"/>
                <a:gd name="connsiteY243" fmla="*/ 760405 h 1333436"/>
                <a:gd name="connsiteX244" fmla="*/ 35720 w 752994"/>
                <a:gd name="connsiteY244" fmla="*/ 754710 h 1333436"/>
                <a:gd name="connsiteX245" fmla="*/ 36546 w 752994"/>
                <a:gd name="connsiteY245" fmla="*/ 748773 h 1333436"/>
                <a:gd name="connsiteX246" fmla="*/ 38372 w 752994"/>
                <a:gd name="connsiteY246" fmla="*/ 744528 h 1333436"/>
                <a:gd name="connsiteX247" fmla="*/ 41638 w 752994"/>
                <a:gd name="connsiteY247" fmla="*/ 744321 h 1333436"/>
                <a:gd name="connsiteX248" fmla="*/ 44713 w 752994"/>
                <a:gd name="connsiteY248" fmla="*/ 746357 h 1333436"/>
                <a:gd name="connsiteX249" fmla="*/ 47364 w 752994"/>
                <a:gd name="connsiteY249" fmla="*/ 753260 h 1333436"/>
                <a:gd name="connsiteX250" fmla="*/ 55742 w 752994"/>
                <a:gd name="connsiteY250" fmla="*/ 764305 h 1333436"/>
                <a:gd name="connsiteX251" fmla="*/ 56338 w 752994"/>
                <a:gd name="connsiteY251" fmla="*/ 761233 h 1333436"/>
                <a:gd name="connsiteX252" fmla="*/ 56145 w 752994"/>
                <a:gd name="connsiteY252" fmla="*/ 757368 h 1333436"/>
                <a:gd name="connsiteX253" fmla="*/ 54916 w 752994"/>
                <a:gd name="connsiteY253" fmla="*/ 748601 h 1333436"/>
                <a:gd name="connsiteX254" fmla="*/ 52879 w 752994"/>
                <a:gd name="connsiteY254" fmla="*/ 747358 h 1333436"/>
                <a:gd name="connsiteX255" fmla="*/ 51649 w 752994"/>
                <a:gd name="connsiteY255" fmla="*/ 745322 h 1333436"/>
                <a:gd name="connsiteX256" fmla="*/ 51649 w 752994"/>
                <a:gd name="connsiteY256" fmla="*/ 739212 h 1333436"/>
                <a:gd name="connsiteX257" fmla="*/ 50227 w 752994"/>
                <a:gd name="connsiteY257" fmla="*/ 734725 h 1333436"/>
                <a:gd name="connsiteX258" fmla="*/ 48786 w 752994"/>
                <a:gd name="connsiteY258" fmla="*/ 731446 h 1333436"/>
                <a:gd name="connsiteX259" fmla="*/ 54512 w 752994"/>
                <a:gd name="connsiteY259" fmla="*/ 726372 h 1333436"/>
                <a:gd name="connsiteX260" fmla="*/ 59815 w 752994"/>
                <a:gd name="connsiteY260" fmla="*/ 725130 h 1333436"/>
                <a:gd name="connsiteX261" fmla="*/ 58182 w 752994"/>
                <a:gd name="connsiteY261" fmla="*/ 722886 h 1333436"/>
                <a:gd name="connsiteX262" fmla="*/ 51861 w 752994"/>
                <a:gd name="connsiteY262" fmla="*/ 717985 h 1333436"/>
                <a:gd name="connsiteX263" fmla="*/ 46749 w 752994"/>
                <a:gd name="connsiteY263" fmla="*/ 729617 h 1333436"/>
                <a:gd name="connsiteX264" fmla="*/ 40831 w 752994"/>
                <a:gd name="connsiteY264" fmla="*/ 739212 h 1333436"/>
                <a:gd name="connsiteX265" fmla="*/ 39601 w 752994"/>
                <a:gd name="connsiteY265" fmla="*/ 738798 h 1333436"/>
                <a:gd name="connsiteX266" fmla="*/ 39409 w 752994"/>
                <a:gd name="connsiteY266" fmla="*/ 738591 h 1333436"/>
                <a:gd name="connsiteX267" fmla="*/ 37161 w 752994"/>
                <a:gd name="connsiteY267" fmla="*/ 734725 h 1333436"/>
                <a:gd name="connsiteX268" fmla="*/ 32665 w 752994"/>
                <a:gd name="connsiteY268" fmla="*/ 727788 h 1333436"/>
                <a:gd name="connsiteX269" fmla="*/ 26747 w 752994"/>
                <a:gd name="connsiteY269" fmla="*/ 719435 h 1333436"/>
                <a:gd name="connsiteX270" fmla="*/ 23884 w 752994"/>
                <a:gd name="connsiteY270" fmla="*/ 717812 h 1333436"/>
                <a:gd name="connsiteX271" fmla="*/ 24710 w 752994"/>
                <a:gd name="connsiteY271" fmla="*/ 709632 h 1333436"/>
                <a:gd name="connsiteX272" fmla="*/ 27554 w 752994"/>
                <a:gd name="connsiteY272" fmla="*/ 701694 h 1333436"/>
                <a:gd name="connsiteX273" fmla="*/ 24902 w 752994"/>
                <a:gd name="connsiteY273" fmla="*/ 696171 h 1333436"/>
                <a:gd name="connsiteX274" fmla="*/ 24095 w 752994"/>
                <a:gd name="connsiteY274" fmla="*/ 687818 h 1333436"/>
                <a:gd name="connsiteX275" fmla="*/ 22462 w 752994"/>
                <a:gd name="connsiteY275" fmla="*/ 682330 h 1333436"/>
                <a:gd name="connsiteX276" fmla="*/ 17159 w 752994"/>
                <a:gd name="connsiteY276" fmla="*/ 677636 h 1333436"/>
                <a:gd name="connsiteX277" fmla="*/ 14296 w 752994"/>
                <a:gd name="connsiteY277" fmla="*/ 671492 h 1333436"/>
                <a:gd name="connsiteX278" fmla="*/ 12451 w 752994"/>
                <a:gd name="connsiteY278" fmla="*/ 665797 h 1333436"/>
                <a:gd name="connsiteX279" fmla="*/ 5111 w 752994"/>
                <a:gd name="connsiteY279" fmla="*/ 654994 h 1333436"/>
                <a:gd name="connsiteX280" fmla="*/ 2248 w 752994"/>
                <a:gd name="connsiteY280" fmla="*/ 645605 h 1333436"/>
                <a:gd name="connsiteX281" fmla="*/ 4496 w 752994"/>
                <a:gd name="connsiteY281" fmla="*/ 640497 h 1333436"/>
                <a:gd name="connsiteX282" fmla="*/ 6744 w 752994"/>
                <a:gd name="connsiteY282" fmla="*/ 632765 h 1333436"/>
                <a:gd name="connsiteX283" fmla="*/ 6744 w 752994"/>
                <a:gd name="connsiteY283" fmla="*/ 628485 h 1333436"/>
                <a:gd name="connsiteX284" fmla="*/ 6533 w 752994"/>
                <a:gd name="connsiteY284" fmla="*/ 620305 h 1333436"/>
                <a:gd name="connsiteX285" fmla="*/ 7359 w 752994"/>
                <a:gd name="connsiteY285" fmla="*/ 611745 h 1333436"/>
                <a:gd name="connsiteX286" fmla="*/ 11836 w 752994"/>
                <a:gd name="connsiteY286" fmla="*/ 602978 h 1333436"/>
                <a:gd name="connsiteX287" fmla="*/ 15103 w 752994"/>
                <a:gd name="connsiteY287" fmla="*/ 591760 h 1333436"/>
                <a:gd name="connsiteX288" fmla="*/ 14488 w 752994"/>
                <a:gd name="connsiteY288" fmla="*/ 584029 h 1333436"/>
                <a:gd name="connsiteX289" fmla="*/ 13873 w 752994"/>
                <a:gd name="connsiteY289" fmla="*/ 578299 h 1333436"/>
                <a:gd name="connsiteX290" fmla="*/ 10626 w 752994"/>
                <a:gd name="connsiteY290" fmla="*/ 568531 h 1333436"/>
                <a:gd name="connsiteX291" fmla="*/ 3670 w 752994"/>
                <a:gd name="connsiteY291" fmla="*/ 558107 h 1333436"/>
                <a:gd name="connsiteX292" fmla="*/ 0 w 752994"/>
                <a:gd name="connsiteY292" fmla="*/ 551377 h 1333436"/>
                <a:gd name="connsiteX293" fmla="*/ 0 w 752994"/>
                <a:gd name="connsiteY293" fmla="*/ 550997 h 1333436"/>
                <a:gd name="connsiteX294" fmla="*/ 4900 w 752994"/>
                <a:gd name="connsiteY294" fmla="*/ 531220 h 1333436"/>
                <a:gd name="connsiteX295" fmla="*/ 13873 w 752994"/>
                <a:gd name="connsiteY295" fmla="*/ 520589 h 1333436"/>
                <a:gd name="connsiteX296" fmla="*/ 18369 w 752994"/>
                <a:gd name="connsiteY296" fmla="*/ 516516 h 1333436"/>
                <a:gd name="connsiteX297" fmla="*/ 18773 w 752994"/>
                <a:gd name="connsiteY297" fmla="*/ 514272 h 1333436"/>
                <a:gd name="connsiteX298" fmla="*/ 23077 w 752994"/>
                <a:gd name="connsiteY298" fmla="*/ 506127 h 1333436"/>
                <a:gd name="connsiteX299" fmla="*/ 23884 w 752994"/>
                <a:gd name="connsiteY299" fmla="*/ 502261 h 1333436"/>
                <a:gd name="connsiteX300" fmla="*/ 23692 w 752994"/>
                <a:gd name="connsiteY300" fmla="*/ 496738 h 1333436"/>
                <a:gd name="connsiteX301" fmla="*/ 30013 w 752994"/>
                <a:gd name="connsiteY301" fmla="*/ 486556 h 1333436"/>
                <a:gd name="connsiteX302" fmla="*/ 36546 w 752994"/>
                <a:gd name="connsiteY302" fmla="*/ 470230 h 1333436"/>
                <a:gd name="connsiteX303" fmla="*/ 36546 w 752994"/>
                <a:gd name="connsiteY303" fmla="*/ 462671 h 1333436"/>
                <a:gd name="connsiteX304" fmla="*/ 36335 w 752994"/>
                <a:gd name="connsiteY304" fmla="*/ 461670 h 1333436"/>
                <a:gd name="connsiteX305" fmla="*/ 35931 w 752994"/>
                <a:gd name="connsiteY305" fmla="*/ 453110 h 1333436"/>
                <a:gd name="connsiteX306" fmla="*/ 38583 w 752994"/>
                <a:gd name="connsiteY306" fmla="*/ 442514 h 1333436"/>
                <a:gd name="connsiteX307" fmla="*/ 41043 w 752994"/>
                <a:gd name="connsiteY307" fmla="*/ 436991 h 1333436"/>
                <a:gd name="connsiteX308" fmla="*/ 41650 w 752994"/>
                <a:gd name="connsiteY308" fmla="*/ 437186 h 1333436"/>
                <a:gd name="connsiteX309" fmla="*/ 41239 w 752994"/>
                <a:gd name="connsiteY309" fmla="*/ 436549 h 1333436"/>
                <a:gd name="connsiteX310" fmla="*/ 37778 w 752994"/>
                <a:gd name="connsiteY310" fmla="*/ 433894 h 1333436"/>
                <a:gd name="connsiteX311" fmla="*/ 37169 w 752994"/>
                <a:gd name="connsiteY311" fmla="*/ 432261 h 1333436"/>
                <a:gd name="connsiteX312" fmla="*/ 37365 w 752994"/>
                <a:gd name="connsiteY312" fmla="*/ 429198 h 1333436"/>
                <a:gd name="connsiteX313" fmla="*/ 36756 w 752994"/>
                <a:gd name="connsiteY313" fmla="*/ 422272 h 1333436"/>
                <a:gd name="connsiteX314" fmla="*/ 36952 w 752994"/>
                <a:gd name="connsiteY314" fmla="*/ 418800 h 1333436"/>
                <a:gd name="connsiteX315" fmla="*/ 36756 w 752994"/>
                <a:gd name="connsiteY315" fmla="*/ 412487 h 1333436"/>
                <a:gd name="connsiteX316" fmla="*/ 40433 w 752994"/>
                <a:gd name="connsiteY316" fmla="*/ 406174 h 1333436"/>
                <a:gd name="connsiteX317" fmla="*/ 44720 w 752994"/>
                <a:gd name="connsiteY317" fmla="*/ 399435 h 1333436"/>
                <a:gd name="connsiteX318" fmla="*/ 44110 w 752994"/>
                <a:gd name="connsiteY318" fmla="*/ 389651 h 1333436"/>
                <a:gd name="connsiteX319" fmla="*/ 43894 w 752994"/>
                <a:gd name="connsiteY319" fmla="*/ 378437 h 1333436"/>
                <a:gd name="connsiteX320" fmla="*/ 47158 w 752994"/>
                <a:gd name="connsiteY320" fmla="*/ 371102 h 1333436"/>
                <a:gd name="connsiteX321" fmla="*/ 55731 w 752994"/>
                <a:gd name="connsiteY321" fmla="*/ 360909 h 1333436"/>
                <a:gd name="connsiteX322" fmla="*/ 57580 w 752994"/>
                <a:gd name="connsiteY322" fmla="*/ 355804 h 1333436"/>
                <a:gd name="connsiteX323" fmla="*/ 62673 w 752994"/>
                <a:gd name="connsiteY323" fmla="*/ 349695 h 1333436"/>
                <a:gd name="connsiteX324" fmla="*/ 65937 w 752994"/>
                <a:gd name="connsiteY324" fmla="*/ 348470 h 1333436"/>
                <a:gd name="connsiteX325" fmla="*/ 68395 w 752994"/>
                <a:gd name="connsiteY325" fmla="*/ 348674 h 1333436"/>
                <a:gd name="connsiteX326" fmla="*/ 70224 w 752994"/>
                <a:gd name="connsiteY326" fmla="*/ 347449 h 1333436"/>
                <a:gd name="connsiteX327" fmla="*/ 67785 w 752994"/>
                <a:gd name="connsiteY327" fmla="*/ 345203 h 1333436"/>
                <a:gd name="connsiteX328" fmla="*/ 65524 w 752994"/>
                <a:gd name="connsiteY328" fmla="*/ 343178 h 1333436"/>
                <a:gd name="connsiteX329" fmla="*/ 73095 w 752994"/>
                <a:gd name="connsiteY329" fmla="*/ 333376 h 1333436"/>
                <a:gd name="connsiteX330" fmla="*/ 73291 w 752994"/>
                <a:gd name="connsiteY330" fmla="*/ 333376 h 1333436"/>
                <a:gd name="connsiteX331" fmla="*/ 77991 w 752994"/>
                <a:gd name="connsiteY331" fmla="*/ 325838 h 1333436"/>
                <a:gd name="connsiteX332" fmla="*/ 82671 w 752994"/>
                <a:gd name="connsiteY332" fmla="*/ 313619 h 1333436"/>
                <a:gd name="connsiteX333" fmla="*/ 87980 w 752994"/>
                <a:gd name="connsiteY333" fmla="*/ 303018 h 1333436"/>
                <a:gd name="connsiteX334" fmla="*/ 92267 w 752994"/>
                <a:gd name="connsiteY334" fmla="*/ 291191 h 1333436"/>
                <a:gd name="connsiteX335" fmla="*/ 96553 w 752994"/>
                <a:gd name="connsiteY335" fmla="*/ 281202 h 1333436"/>
                <a:gd name="connsiteX336" fmla="*/ 99621 w 752994"/>
                <a:gd name="connsiteY336" fmla="*/ 274481 h 1333436"/>
                <a:gd name="connsiteX337" fmla="*/ 103082 w 752994"/>
                <a:gd name="connsiteY337" fmla="*/ 262450 h 1333436"/>
                <a:gd name="connsiteX338" fmla="*/ 107172 w 752994"/>
                <a:gd name="connsiteY338" fmla="*/ 254299 h 1333436"/>
                <a:gd name="connsiteX339" fmla="*/ 112481 w 752994"/>
                <a:gd name="connsiteY339" fmla="*/ 243697 h 1333436"/>
                <a:gd name="connsiteX340" fmla="*/ 117181 w 752994"/>
                <a:gd name="connsiteY340" fmla="*/ 232279 h 1333436"/>
                <a:gd name="connsiteX341" fmla="*/ 125951 w 752994"/>
                <a:gd name="connsiteY341" fmla="*/ 217389 h 1333436"/>
                <a:gd name="connsiteX342" fmla="*/ 136156 w 752994"/>
                <a:gd name="connsiteY342" fmla="*/ 202925 h 1333436"/>
                <a:gd name="connsiteX343" fmla="*/ 138811 w 752994"/>
                <a:gd name="connsiteY343" fmla="*/ 183339 h 1333436"/>
                <a:gd name="connsiteX344" fmla="*/ 148801 w 752994"/>
                <a:gd name="connsiteY344" fmla="*/ 167445 h 1333436"/>
                <a:gd name="connsiteX345" fmla="*/ 159616 w 752994"/>
                <a:gd name="connsiteY345" fmla="*/ 170712 h 1333436"/>
                <a:gd name="connsiteX346" fmla="*/ 173105 w 752994"/>
                <a:gd name="connsiteY346" fmla="*/ 175188 h 1333436"/>
                <a:gd name="connsiteX347" fmla="*/ 175347 w 752994"/>
                <a:gd name="connsiteY347" fmla="*/ 175188 h 1333436"/>
                <a:gd name="connsiteX348" fmla="*/ 175347 w 752994"/>
                <a:gd name="connsiteY348" fmla="*/ 173758 h 1333436"/>
                <a:gd name="connsiteX349" fmla="*/ 184975 w 752994"/>
                <a:gd name="connsiteY349" fmla="*/ 187393 h 1333436"/>
                <a:gd name="connsiteX350" fmla="*/ 184762 w 752994"/>
                <a:gd name="connsiteY350" fmla="*/ 184637 h 1333436"/>
                <a:gd name="connsiteX351" fmla="*/ 174971 w 752994"/>
                <a:gd name="connsiteY351" fmla="*/ 170774 h 1333436"/>
                <a:gd name="connsiteX352" fmla="*/ 174971 w 752994"/>
                <a:gd name="connsiteY352" fmla="*/ 169550 h 1333436"/>
                <a:gd name="connsiteX353" fmla="*/ 158851 w 752994"/>
                <a:gd name="connsiteY353" fmla="*/ 156924 h 1333436"/>
                <a:gd name="connsiteX354" fmla="*/ 147025 w 752994"/>
                <a:gd name="connsiteY354" fmla="*/ 145709 h 1333436"/>
                <a:gd name="connsiteX355" fmla="*/ 154364 w 752994"/>
                <a:gd name="connsiteY355" fmla="*/ 136335 h 1333436"/>
                <a:gd name="connsiteX356" fmla="*/ 161511 w 752994"/>
                <a:gd name="connsiteY356" fmla="*/ 131042 h 1333436"/>
                <a:gd name="connsiteX357" fmla="*/ 160902 w 752994"/>
                <a:gd name="connsiteY357" fmla="*/ 128384 h 1333436"/>
                <a:gd name="connsiteX358" fmla="*/ 160277 w 752994"/>
                <a:gd name="connsiteY358" fmla="*/ 127778 h 1333436"/>
                <a:gd name="connsiteX359" fmla="*/ 154973 w 752994"/>
                <a:gd name="connsiteY359" fmla="*/ 122077 h 1333436"/>
                <a:gd name="connsiteX360" fmla="*/ 160277 w 752994"/>
                <a:gd name="connsiteY360" fmla="*/ 115140 h 1333436"/>
                <a:gd name="connsiteX361" fmla="*/ 165181 w 752994"/>
                <a:gd name="connsiteY361" fmla="*/ 108215 h 1333436"/>
                <a:gd name="connsiteX362" fmla="*/ 161303 w 752994"/>
                <a:gd name="connsiteY362" fmla="*/ 104146 h 1333436"/>
                <a:gd name="connsiteX363" fmla="*/ 157842 w 752994"/>
                <a:gd name="connsiteY363" fmla="*/ 104542 h 1333436"/>
                <a:gd name="connsiteX364" fmla="*/ 157024 w 752994"/>
                <a:gd name="connsiteY364" fmla="*/ 102304 h 1333436"/>
                <a:gd name="connsiteX365" fmla="*/ 160694 w 752994"/>
                <a:gd name="connsiteY365" fmla="*/ 55437 h 1333436"/>
                <a:gd name="connsiteX366" fmla="*/ 160486 w 752994"/>
                <a:gd name="connsiteY366" fmla="*/ 31991 h 1333436"/>
                <a:gd name="connsiteX367" fmla="*/ 164972 w 752994"/>
                <a:gd name="connsiteY367" fmla="*/ 18141 h 1333436"/>
                <a:gd name="connsiteX368" fmla="*/ 171911 w 752994"/>
                <a:gd name="connsiteY368" fmla="*/ 11204 h 1333436"/>
                <a:gd name="connsiteX369" fmla="*/ 187406 w 752994"/>
                <a:gd name="connsiteY369" fmla="*/ 21801 h 1333436"/>
                <a:gd name="connsiteX370" fmla="*/ 210866 w 752994"/>
                <a:gd name="connsiteY370" fmla="*/ 37086 h 1333436"/>
                <a:gd name="connsiteX371" fmla="*/ 219230 w 752994"/>
                <a:gd name="connsiteY371" fmla="*/ 41166 h 1333436"/>
                <a:gd name="connsiteX372" fmla="*/ 226778 w 752994"/>
                <a:gd name="connsiteY372" fmla="*/ 47486 h 1333436"/>
                <a:gd name="connsiteX373" fmla="*/ 236152 w 752994"/>
                <a:gd name="connsiteY373" fmla="*/ 52370 h 1333436"/>
                <a:gd name="connsiteX374" fmla="*/ 239629 w 752994"/>
                <a:gd name="connsiteY374" fmla="*/ 58491 h 1333436"/>
                <a:gd name="connsiteX375" fmla="*/ 239629 w 752994"/>
                <a:gd name="connsiteY375" fmla="*/ 63376 h 1333436"/>
                <a:gd name="connsiteX376" fmla="*/ 236568 w 752994"/>
                <a:gd name="connsiteY376" fmla="*/ 67457 h 1333436"/>
                <a:gd name="connsiteX377" fmla="*/ 231264 w 752994"/>
                <a:gd name="connsiteY377" fmla="*/ 69905 h 1333436"/>
                <a:gd name="connsiteX378" fmla="*/ 216778 w 752994"/>
                <a:gd name="connsiteY378" fmla="*/ 82741 h 1333436"/>
                <a:gd name="connsiteX379" fmla="*/ 214134 w 752994"/>
                <a:gd name="connsiteY379" fmla="*/ 93536 h 1333436"/>
                <a:gd name="connsiteX380" fmla="*/ 214535 w 752994"/>
                <a:gd name="connsiteY380" fmla="*/ 96801 h 1333436"/>
                <a:gd name="connsiteX381" fmla="*/ 216378 w 752994"/>
                <a:gd name="connsiteY381" fmla="*/ 96801 h 1333436"/>
                <a:gd name="connsiteX382" fmla="*/ 230046 w 752994"/>
                <a:gd name="connsiteY382" fmla="*/ 85387 h 1333436"/>
                <a:gd name="connsiteX383" fmla="*/ 243298 w 752994"/>
                <a:gd name="connsiteY383" fmla="*/ 75198 h 1333436"/>
                <a:gd name="connsiteX384" fmla="*/ 246760 w 752994"/>
                <a:gd name="connsiteY384" fmla="*/ 77646 h 1333436"/>
                <a:gd name="connsiteX385" fmla="*/ 255541 w 752994"/>
                <a:gd name="connsiteY385" fmla="*/ 63376 h 1333436"/>
                <a:gd name="connsiteX386" fmla="*/ 259611 w 752994"/>
                <a:gd name="connsiteY386" fmla="*/ 43405 h 1333436"/>
                <a:gd name="connsiteX387" fmla="*/ 256967 w 752994"/>
                <a:gd name="connsiteY387" fmla="*/ 38520 h 1333436"/>
                <a:gd name="connsiteX388" fmla="*/ 253906 w 752994"/>
                <a:gd name="connsiteY388" fmla="*/ 34242 h 1333436"/>
                <a:gd name="connsiteX389" fmla="*/ 256967 w 752994"/>
                <a:gd name="connsiteY389" fmla="*/ 30161 h 1333436"/>
                <a:gd name="connsiteX390" fmla="*/ 262063 w 752994"/>
                <a:gd name="connsiteY390" fmla="*/ 27712 h 1333436"/>
                <a:gd name="connsiteX391" fmla="*/ 264915 w 752994"/>
                <a:gd name="connsiteY391" fmla="*/ 23026 h 1333436"/>
                <a:gd name="connsiteX392" fmla="*/ 267976 w 752994"/>
                <a:gd name="connsiteY392" fmla="*/ 22618 h 1333436"/>
                <a:gd name="connsiteX393" fmla="*/ 270427 w 752994"/>
                <a:gd name="connsiteY393" fmla="*/ 20787 h 1333436"/>
                <a:gd name="connsiteX394" fmla="*/ 263088 w 752994"/>
                <a:gd name="connsiteY394" fmla="*/ 13652 h 1333436"/>
                <a:gd name="connsiteX395" fmla="*/ 255541 w 752994"/>
                <a:gd name="connsiteY395" fmla="*/ 3055 h 1333436"/>
                <a:gd name="connsiteX396" fmla="*/ 256358 w 752994"/>
                <a:gd name="connsiteY396" fmla="*/ 1224 h 1333436"/>
                <a:gd name="connsiteX397" fmla="*/ 257159 w 752994"/>
                <a:gd name="connsiteY397"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403787 w 752994"/>
                <a:gd name="connsiteY163" fmla="*/ 963290 h 1333436"/>
                <a:gd name="connsiteX164" fmla="*/ 404052 w 752994"/>
                <a:gd name="connsiteY164" fmla="*/ 963688 h 1333436"/>
                <a:gd name="connsiteX165" fmla="*/ 406917 w 752994"/>
                <a:gd name="connsiteY165" fmla="*/ 957427 h 1333436"/>
                <a:gd name="connsiteX166" fmla="*/ 414454 w 752994"/>
                <a:gd name="connsiteY166" fmla="*/ 952534 h 1333436"/>
                <a:gd name="connsiteX167" fmla="*/ 419146 w 752994"/>
                <a:gd name="connsiteY167" fmla="*/ 954567 h 1333436"/>
                <a:gd name="connsiteX168" fmla="*/ 425469 w 752994"/>
                <a:gd name="connsiteY168" fmla="*/ 956803 h 1333436"/>
                <a:gd name="connsiteX169" fmla="*/ 429146 w 752994"/>
                <a:gd name="connsiteY169" fmla="*/ 961092 h 1333436"/>
                <a:gd name="connsiteX170" fmla="*/ 439129 w 752994"/>
                <a:gd name="connsiteY170" fmla="*/ 960065 h 1333436"/>
                <a:gd name="connsiteX171" fmla="*/ 442407 w 752994"/>
                <a:gd name="connsiteY171" fmla="*/ 952534 h 1333436"/>
                <a:gd name="connsiteX172" fmla="*/ 689408 w 752994"/>
                <a:gd name="connsiteY172" fmla="*/ 945184 h 1333436"/>
                <a:gd name="connsiteX173" fmla="*/ 710622 w 752994"/>
                <a:gd name="connsiteY173" fmla="*/ 948043 h 1333436"/>
                <a:gd name="connsiteX174" fmla="*/ 654533 w 752994"/>
                <a:gd name="connsiteY174" fmla="*/ 1333436 h 1333436"/>
                <a:gd name="connsiteX175" fmla="*/ 546831 w 752994"/>
                <a:gd name="connsiteY175" fmla="*/ 1317126 h 1333436"/>
                <a:gd name="connsiteX176" fmla="*/ 351227 w 752994"/>
                <a:gd name="connsiteY176" fmla="*/ 1194172 h 1333436"/>
                <a:gd name="connsiteX177" fmla="*/ 361011 w 752994"/>
                <a:gd name="connsiteY177" fmla="*/ 1182755 h 1333436"/>
                <a:gd name="connsiteX178" fmla="*/ 368981 w 752994"/>
                <a:gd name="connsiteY178" fmla="*/ 1182130 h 1333436"/>
                <a:gd name="connsiteX179" fmla="*/ 369571 w 752994"/>
                <a:gd name="connsiteY179" fmla="*/ 1181558 h 1333436"/>
                <a:gd name="connsiteX180" fmla="*/ 362372 w 752994"/>
                <a:gd name="connsiteY180" fmla="*/ 1182120 h 1333436"/>
                <a:gd name="connsiteX181" fmla="*/ 229464 w 752994"/>
                <a:gd name="connsiteY181" fmla="*/ 1161721 h 1333436"/>
                <a:gd name="connsiteX182" fmla="*/ 227427 w 752994"/>
                <a:gd name="connsiteY182" fmla="*/ 1157269 h 1333436"/>
                <a:gd name="connsiteX183" fmla="*/ 224967 w 752994"/>
                <a:gd name="connsiteY183" fmla="*/ 1152575 h 1333436"/>
                <a:gd name="connsiteX184" fmla="*/ 225582 w 752994"/>
                <a:gd name="connsiteY184" fmla="*/ 1144808 h 1333436"/>
                <a:gd name="connsiteX185" fmla="*/ 227215 w 752994"/>
                <a:gd name="connsiteY185" fmla="*/ 1135834 h 1333436"/>
                <a:gd name="connsiteX186" fmla="*/ 227215 w 752994"/>
                <a:gd name="connsiteY186" fmla="*/ 1134212 h 1333436"/>
                <a:gd name="connsiteX187" fmla="*/ 225179 w 752994"/>
                <a:gd name="connsiteY187" fmla="*/ 1114020 h 1333436"/>
                <a:gd name="connsiteX188" fmla="*/ 217839 w 752994"/>
                <a:gd name="connsiteY188" fmla="*/ 1100352 h 1333436"/>
                <a:gd name="connsiteX189" fmla="*/ 199661 w 752994"/>
                <a:gd name="connsiteY189" fmla="*/ 1076502 h 1333436"/>
                <a:gd name="connsiteX190" fmla="*/ 196395 w 752994"/>
                <a:gd name="connsiteY190" fmla="*/ 1071807 h 1333436"/>
                <a:gd name="connsiteX191" fmla="*/ 190880 w 752994"/>
                <a:gd name="connsiteY191" fmla="*/ 1067527 h 1333436"/>
                <a:gd name="connsiteX192" fmla="*/ 187210 w 752994"/>
                <a:gd name="connsiteY192" fmla="*/ 1068735 h 1333436"/>
                <a:gd name="connsiteX193" fmla="*/ 180062 w 752994"/>
                <a:gd name="connsiteY193" fmla="*/ 1066699 h 1333436"/>
                <a:gd name="connsiteX194" fmla="*/ 180466 w 752994"/>
                <a:gd name="connsiteY194" fmla="*/ 1053031 h 1333436"/>
                <a:gd name="connsiteX195" fmla="*/ 180062 w 752994"/>
                <a:gd name="connsiteY195" fmla="*/ 1045299 h 1333436"/>
                <a:gd name="connsiteX196" fmla="*/ 174144 w 752994"/>
                <a:gd name="connsiteY196" fmla="*/ 1044057 h 1333436"/>
                <a:gd name="connsiteX197" fmla="*/ 158426 w 752994"/>
                <a:gd name="connsiteY197" fmla="*/ 1042641 h 1333436"/>
                <a:gd name="connsiteX198" fmla="*/ 149857 w 752994"/>
                <a:gd name="connsiteY198" fmla="*/ 1035497 h 1333436"/>
                <a:gd name="connsiteX199" fmla="*/ 142497 w 752994"/>
                <a:gd name="connsiteY199" fmla="*/ 1028766 h 1333436"/>
                <a:gd name="connsiteX200" fmla="*/ 140864 w 752994"/>
                <a:gd name="connsiteY200" fmla="*/ 1020620 h 1333436"/>
                <a:gd name="connsiteX201" fmla="*/ 138212 w 752994"/>
                <a:gd name="connsiteY201" fmla="*/ 1013061 h 1333436"/>
                <a:gd name="connsiteX202" fmla="*/ 131064 w 752994"/>
                <a:gd name="connsiteY202" fmla="*/ 1007159 h 1333436"/>
                <a:gd name="connsiteX203" fmla="*/ 121264 w 752994"/>
                <a:gd name="connsiteY203" fmla="*/ 1005330 h 1333436"/>
                <a:gd name="connsiteX204" fmla="*/ 112483 w 752994"/>
                <a:gd name="connsiteY204" fmla="*/ 1001671 h 1333436"/>
                <a:gd name="connsiteX205" fmla="*/ 105950 w 752994"/>
                <a:gd name="connsiteY205" fmla="*/ 995734 h 1333436"/>
                <a:gd name="connsiteX206" fmla="*/ 97380 w 752994"/>
                <a:gd name="connsiteY206" fmla="*/ 994526 h 1333436"/>
                <a:gd name="connsiteX207" fmla="*/ 87984 w 752994"/>
                <a:gd name="connsiteY207" fmla="*/ 991040 h 1333436"/>
                <a:gd name="connsiteX208" fmla="*/ 80029 w 752994"/>
                <a:gd name="connsiteY208" fmla="*/ 985138 h 1333436"/>
                <a:gd name="connsiteX209" fmla="*/ 77166 w 752994"/>
                <a:gd name="connsiteY209" fmla="*/ 976164 h 1333436"/>
                <a:gd name="connsiteX210" fmla="*/ 79203 w 752994"/>
                <a:gd name="connsiteY210" fmla="*/ 970676 h 1333436"/>
                <a:gd name="connsiteX211" fmla="*/ 82470 w 752994"/>
                <a:gd name="connsiteY211" fmla="*/ 963117 h 1333436"/>
                <a:gd name="connsiteX212" fmla="*/ 84314 w 752994"/>
                <a:gd name="connsiteY212" fmla="*/ 954557 h 1333436"/>
                <a:gd name="connsiteX213" fmla="*/ 86351 w 752994"/>
                <a:gd name="connsiteY213" fmla="*/ 948033 h 1333436"/>
                <a:gd name="connsiteX214" fmla="*/ 86159 w 752994"/>
                <a:gd name="connsiteY214" fmla="*/ 942925 h 1333436"/>
                <a:gd name="connsiteX215" fmla="*/ 83085 w 752994"/>
                <a:gd name="connsiteY215" fmla="*/ 939853 h 1333436"/>
                <a:gd name="connsiteX216" fmla="*/ 77570 w 752994"/>
                <a:gd name="connsiteY216" fmla="*/ 937437 h 1333436"/>
                <a:gd name="connsiteX217" fmla="*/ 76763 w 752994"/>
                <a:gd name="connsiteY217" fmla="*/ 931915 h 1333436"/>
                <a:gd name="connsiteX218" fmla="*/ 78800 w 752994"/>
                <a:gd name="connsiteY218" fmla="*/ 927013 h 1333436"/>
                <a:gd name="connsiteX219" fmla="*/ 79626 w 752994"/>
                <a:gd name="connsiteY219" fmla="*/ 922526 h 1333436"/>
                <a:gd name="connsiteX220" fmla="*/ 77781 w 752994"/>
                <a:gd name="connsiteY220" fmla="*/ 919903 h 1333436"/>
                <a:gd name="connsiteX221" fmla="*/ 74303 w 752994"/>
                <a:gd name="connsiteY221" fmla="*/ 917418 h 1333436"/>
                <a:gd name="connsiteX222" fmla="*/ 71863 w 752994"/>
                <a:gd name="connsiteY222" fmla="*/ 915174 h 1333436"/>
                <a:gd name="connsiteX223" fmla="*/ 71652 w 752994"/>
                <a:gd name="connsiteY223" fmla="*/ 910894 h 1333436"/>
                <a:gd name="connsiteX224" fmla="*/ 70633 w 752994"/>
                <a:gd name="connsiteY224" fmla="*/ 906614 h 1333436"/>
                <a:gd name="connsiteX225" fmla="*/ 68385 w 752994"/>
                <a:gd name="connsiteY225" fmla="*/ 902749 h 1333436"/>
                <a:gd name="connsiteX226" fmla="*/ 61045 w 752994"/>
                <a:gd name="connsiteY226" fmla="*/ 889494 h 1333436"/>
                <a:gd name="connsiteX227" fmla="*/ 57971 w 752994"/>
                <a:gd name="connsiteY227" fmla="*/ 875619 h 1333436"/>
                <a:gd name="connsiteX228" fmla="*/ 52264 w 752994"/>
                <a:gd name="connsiteY228" fmla="*/ 862572 h 1333436"/>
                <a:gd name="connsiteX229" fmla="*/ 44309 w 752994"/>
                <a:gd name="connsiteY229" fmla="*/ 850561 h 1333436"/>
                <a:gd name="connsiteX230" fmla="*/ 45520 w 752994"/>
                <a:gd name="connsiteY230" fmla="*/ 827090 h 1333436"/>
                <a:gd name="connsiteX231" fmla="*/ 53071 w 752994"/>
                <a:gd name="connsiteY231" fmla="*/ 822396 h 1333436"/>
                <a:gd name="connsiteX232" fmla="*/ 57375 w 752994"/>
                <a:gd name="connsiteY232" fmla="*/ 816493 h 1333436"/>
                <a:gd name="connsiteX233" fmla="*/ 55319 w 752994"/>
                <a:gd name="connsiteY233" fmla="*/ 801617 h 1333436"/>
                <a:gd name="connsiteX234" fmla="*/ 48383 w 752994"/>
                <a:gd name="connsiteY234" fmla="*/ 802204 h 1333436"/>
                <a:gd name="connsiteX235" fmla="*/ 40428 w 752994"/>
                <a:gd name="connsiteY235" fmla="*/ 797924 h 1333436"/>
                <a:gd name="connsiteX236" fmla="*/ 37565 w 752994"/>
                <a:gd name="connsiteY236" fmla="*/ 790606 h 1333436"/>
                <a:gd name="connsiteX237" fmla="*/ 37565 w 752994"/>
                <a:gd name="connsiteY237" fmla="*/ 790399 h 1333436"/>
                <a:gd name="connsiteX238" fmla="*/ 35931 w 752994"/>
                <a:gd name="connsiteY238" fmla="*/ 785912 h 1333436"/>
                <a:gd name="connsiteX239" fmla="*/ 34510 w 752994"/>
                <a:gd name="connsiteY239" fmla="*/ 780597 h 1333436"/>
                <a:gd name="connsiteX240" fmla="*/ 36335 w 752994"/>
                <a:gd name="connsiteY240" fmla="*/ 774280 h 1333436"/>
                <a:gd name="connsiteX241" fmla="*/ 38180 w 752994"/>
                <a:gd name="connsiteY241" fmla="*/ 766721 h 1333436"/>
                <a:gd name="connsiteX242" fmla="*/ 37161 w 752994"/>
                <a:gd name="connsiteY242" fmla="*/ 760405 h 1333436"/>
                <a:gd name="connsiteX243" fmla="*/ 35720 w 752994"/>
                <a:gd name="connsiteY243" fmla="*/ 754710 h 1333436"/>
                <a:gd name="connsiteX244" fmla="*/ 36546 w 752994"/>
                <a:gd name="connsiteY244" fmla="*/ 748773 h 1333436"/>
                <a:gd name="connsiteX245" fmla="*/ 38372 w 752994"/>
                <a:gd name="connsiteY245" fmla="*/ 744528 h 1333436"/>
                <a:gd name="connsiteX246" fmla="*/ 41638 w 752994"/>
                <a:gd name="connsiteY246" fmla="*/ 744321 h 1333436"/>
                <a:gd name="connsiteX247" fmla="*/ 44713 w 752994"/>
                <a:gd name="connsiteY247" fmla="*/ 746357 h 1333436"/>
                <a:gd name="connsiteX248" fmla="*/ 47364 w 752994"/>
                <a:gd name="connsiteY248" fmla="*/ 753260 h 1333436"/>
                <a:gd name="connsiteX249" fmla="*/ 55742 w 752994"/>
                <a:gd name="connsiteY249" fmla="*/ 764305 h 1333436"/>
                <a:gd name="connsiteX250" fmla="*/ 56338 w 752994"/>
                <a:gd name="connsiteY250" fmla="*/ 761233 h 1333436"/>
                <a:gd name="connsiteX251" fmla="*/ 56145 w 752994"/>
                <a:gd name="connsiteY251" fmla="*/ 757368 h 1333436"/>
                <a:gd name="connsiteX252" fmla="*/ 54916 w 752994"/>
                <a:gd name="connsiteY252" fmla="*/ 748601 h 1333436"/>
                <a:gd name="connsiteX253" fmla="*/ 52879 w 752994"/>
                <a:gd name="connsiteY253" fmla="*/ 747358 h 1333436"/>
                <a:gd name="connsiteX254" fmla="*/ 51649 w 752994"/>
                <a:gd name="connsiteY254" fmla="*/ 745322 h 1333436"/>
                <a:gd name="connsiteX255" fmla="*/ 51649 w 752994"/>
                <a:gd name="connsiteY255" fmla="*/ 739212 h 1333436"/>
                <a:gd name="connsiteX256" fmla="*/ 50227 w 752994"/>
                <a:gd name="connsiteY256" fmla="*/ 734725 h 1333436"/>
                <a:gd name="connsiteX257" fmla="*/ 48786 w 752994"/>
                <a:gd name="connsiteY257" fmla="*/ 731446 h 1333436"/>
                <a:gd name="connsiteX258" fmla="*/ 54512 w 752994"/>
                <a:gd name="connsiteY258" fmla="*/ 726372 h 1333436"/>
                <a:gd name="connsiteX259" fmla="*/ 59815 w 752994"/>
                <a:gd name="connsiteY259" fmla="*/ 725130 h 1333436"/>
                <a:gd name="connsiteX260" fmla="*/ 58182 w 752994"/>
                <a:gd name="connsiteY260" fmla="*/ 722886 h 1333436"/>
                <a:gd name="connsiteX261" fmla="*/ 51861 w 752994"/>
                <a:gd name="connsiteY261" fmla="*/ 717985 h 1333436"/>
                <a:gd name="connsiteX262" fmla="*/ 46749 w 752994"/>
                <a:gd name="connsiteY262" fmla="*/ 729617 h 1333436"/>
                <a:gd name="connsiteX263" fmla="*/ 40831 w 752994"/>
                <a:gd name="connsiteY263" fmla="*/ 739212 h 1333436"/>
                <a:gd name="connsiteX264" fmla="*/ 39601 w 752994"/>
                <a:gd name="connsiteY264" fmla="*/ 738798 h 1333436"/>
                <a:gd name="connsiteX265" fmla="*/ 39409 w 752994"/>
                <a:gd name="connsiteY265" fmla="*/ 738591 h 1333436"/>
                <a:gd name="connsiteX266" fmla="*/ 37161 w 752994"/>
                <a:gd name="connsiteY266" fmla="*/ 734725 h 1333436"/>
                <a:gd name="connsiteX267" fmla="*/ 32665 w 752994"/>
                <a:gd name="connsiteY267" fmla="*/ 727788 h 1333436"/>
                <a:gd name="connsiteX268" fmla="*/ 26747 w 752994"/>
                <a:gd name="connsiteY268" fmla="*/ 719435 h 1333436"/>
                <a:gd name="connsiteX269" fmla="*/ 23884 w 752994"/>
                <a:gd name="connsiteY269" fmla="*/ 717812 h 1333436"/>
                <a:gd name="connsiteX270" fmla="*/ 24710 w 752994"/>
                <a:gd name="connsiteY270" fmla="*/ 709632 h 1333436"/>
                <a:gd name="connsiteX271" fmla="*/ 27554 w 752994"/>
                <a:gd name="connsiteY271" fmla="*/ 701694 h 1333436"/>
                <a:gd name="connsiteX272" fmla="*/ 24902 w 752994"/>
                <a:gd name="connsiteY272" fmla="*/ 696171 h 1333436"/>
                <a:gd name="connsiteX273" fmla="*/ 24095 w 752994"/>
                <a:gd name="connsiteY273" fmla="*/ 687818 h 1333436"/>
                <a:gd name="connsiteX274" fmla="*/ 22462 w 752994"/>
                <a:gd name="connsiteY274" fmla="*/ 682330 h 1333436"/>
                <a:gd name="connsiteX275" fmla="*/ 17159 w 752994"/>
                <a:gd name="connsiteY275" fmla="*/ 677636 h 1333436"/>
                <a:gd name="connsiteX276" fmla="*/ 14296 w 752994"/>
                <a:gd name="connsiteY276" fmla="*/ 671492 h 1333436"/>
                <a:gd name="connsiteX277" fmla="*/ 12451 w 752994"/>
                <a:gd name="connsiteY277" fmla="*/ 665797 h 1333436"/>
                <a:gd name="connsiteX278" fmla="*/ 5111 w 752994"/>
                <a:gd name="connsiteY278" fmla="*/ 654994 h 1333436"/>
                <a:gd name="connsiteX279" fmla="*/ 2248 w 752994"/>
                <a:gd name="connsiteY279" fmla="*/ 645605 h 1333436"/>
                <a:gd name="connsiteX280" fmla="*/ 4496 w 752994"/>
                <a:gd name="connsiteY280" fmla="*/ 640497 h 1333436"/>
                <a:gd name="connsiteX281" fmla="*/ 6744 w 752994"/>
                <a:gd name="connsiteY281" fmla="*/ 632765 h 1333436"/>
                <a:gd name="connsiteX282" fmla="*/ 6744 w 752994"/>
                <a:gd name="connsiteY282" fmla="*/ 628485 h 1333436"/>
                <a:gd name="connsiteX283" fmla="*/ 6533 w 752994"/>
                <a:gd name="connsiteY283" fmla="*/ 620305 h 1333436"/>
                <a:gd name="connsiteX284" fmla="*/ 7359 w 752994"/>
                <a:gd name="connsiteY284" fmla="*/ 611745 h 1333436"/>
                <a:gd name="connsiteX285" fmla="*/ 11836 w 752994"/>
                <a:gd name="connsiteY285" fmla="*/ 602978 h 1333436"/>
                <a:gd name="connsiteX286" fmla="*/ 15103 w 752994"/>
                <a:gd name="connsiteY286" fmla="*/ 591760 h 1333436"/>
                <a:gd name="connsiteX287" fmla="*/ 14488 w 752994"/>
                <a:gd name="connsiteY287" fmla="*/ 584029 h 1333436"/>
                <a:gd name="connsiteX288" fmla="*/ 13873 w 752994"/>
                <a:gd name="connsiteY288" fmla="*/ 578299 h 1333436"/>
                <a:gd name="connsiteX289" fmla="*/ 10626 w 752994"/>
                <a:gd name="connsiteY289" fmla="*/ 568531 h 1333436"/>
                <a:gd name="connsiteX290" fmla="*/ 3670 w 752994"/>
                <a:gd name="connsiteY290" fmla="*/ 558107 h 1333436"/>
                <a:gd name="connsiteX291" fmla="*/ 0 w 752994"/>
                <a:gd name="connsiteY291" fmla="*/ 551377 h 1333436"/>
                <a:gd name="connsiteX292" fmla="*/ 0 w 752994"/>
                <a:gd name="connsiteY292" fmla="*/ 550997 h 1333436"/>
                <a:gd name="connsiteX293" fmla="*/ 4900 w 752994"/>
                <a:gd name="connsiteY293" fmla="*/ 531220 h 1333436"/>
                <a:gd name="connsiteX294" fmla="*/ 13873 w 752994"/>
                <a:gd name="connsiteY294" fmla="*/ 520589 h 1333436"/>
                <a:gd name="connsiteX295" fmla="*/ 18369 w 752994"/>
                <a:gd name="connsiteY295" fmla="*/ 516516 h 1333436"/>
                <a:gd name="connsiteX296" fmla="*/ 18773 w 752994"/>
                <a:gd name="connsiteY296" fmla="*/ 514272 h 1333436"/>
                <a:gd name="connsiteX297" fmla="*/ 23077 w 752994"/>
                <a:gd name="connsiteY297" fmla="*/ 506127 h 1333436"/>
                <a:gd name="connsiteX298" fmla="*/ 23884 w 752994"/>
                <a:gd name="connsiteY298" fmla="*/ 502261 h 1333436"/>
                <a:gd name="connsiteX299" fmla="*/ 23692 w 752994"/>
                <a:gd name="connsiteY299" fmla="*/ 496738 h 1333436"/>
                <a:gd name="connsiteX300" fmla="*/ 30013 w 752994"/>
                <a:gd name="connsiteY300" fmla="*/ 486556 h 1333436"/>
                <a:gd name="connsiteX301" fmla="*/ 36546 w 752994"/>
                <a:gd name="connsiteY301" fmla="*/ 470230 h 1333436"/>
                <a:gd name="connsiteX302" fmla="*/ 36546 w 752994"/>
                <a:gd name="connsiteY302" fmla="*/ 462671 h 1333436"/>
                <a:gd name="connsiteX303" fmla="*/ 36335 w 752994"/>
                <a:gd name="connsiteY303" fmla="*/ 461670 h 1333436"/>
                <a:gd name="connsiteX304" fmla="*/ 35931 w 752994"/>
                <a:gd name="connsiteY304" fmla="*/ 453110 h 1333436"/>
                <a:gd name="connsiteX305" fmla="*/ 38583 w 752994"/>
                <a:gd name="connsiteY305" fmla="*/ 442514 h 1333436"/>
                <a:gd name="connsiteX306" fmla="*/ 41043 w 752994"/>
                <a:gd name="connsiteY306" fmla="*/ 436991 h 1333436"/>
                <a:gd name="connsiteX307" fmla="*/ 41650 w 752994"/>
                <a:gd name="connsiteY307" fmla="*/ 437186 h 1333436"/>
                <a:gd name="connsiteX308" fmla="*/ 41239 w 752994"/>
                <a:gd name="connsiteY308" fmla="*/ 436549 h 1333436"/>
                <a:gd name="connsiteX309" fmla="*/ 37778 w 752994"/>
                <a:gd name="connsiteY309" fmla="*/ 433894 h 1333436"/>
                <a:gd name="connsiteX310" fmla="*/ 37169 w 752994"/>
                <a:gd name="connsiteY310" fmla="*/ 432261 h 1333436"/>
                <a:gd name="connsiteX311" fmla="*/ 37365 w 752994"/>
                <a:gd name="connsiteY311" fmla="*/ 429198 h 1333436"/>
                <a:gd name="connsiteX312" fmla="*/ 36756 w 752994"/>
                <a:gd name="connsiteY312" fmla="*/ 422272 h 1333436"/>
                <a:gd name="connsiteX313" fmla="*/ 36952 w 752994"/>
                <a:gd name="connsiteY313" fmla="*/ 418800 h 1333436"/>
                <a:gd name="connsiteX314" fmla="*/ 36756 w 752994"/>
                <a:gd name="connsiteY314" fmla="*/ 412487 h 1333436"/>
                <a:gd name="connsiteX315" fmla="*/ 40433 w 752994"/>
                <a:gd name="connsiteY315" fmla="*/ 406174 h 1333436"/>
                <a:gd name="connsiteX316" fmla="*/ 44720 w 752994"/>
                <a:gd name="connsiteY316" fmla="*/ 399435 h 1333436"/>
                <a:gd name="connsiteX317" fmla="*/ 44110 w 752994"/>
                <a:gd name="connsiteY317" fmla="*/ 389651 h 1333436"/>
                <a:gd name="connsiteX318" fmla="*/ 43894 w 752994"/>
                <a:gd name="connsiteY318" fmla="*/ 378437 h 1333436"/>
                <a:gd name="connsiteX319" fmla="*/ 47158 w 752994"/>
                <a:gd name="connsiteY319" fmla="*/ 371102 h 1333436"/>
                <a:gd name="connsiteX320" fmla="*/ 55731 w 752994"/>
                <a:gd name="connsiteY320" fmla="*/ 360909 h 1333436"/>
                <a:gd name="connsiteX321" fmla="*/ 57580 w 752994"/>
                <a:gd name="connsiteY321" fmla="*/ 355804 h 1333436"/>
                <a:gd name="connsiteX322" fmla="*/ 62673 w 752994"/>
                <a:gd name="connsiteY322" fmla="*/ 349695 h 1333436"/>
                <a:gd name="connsiteX323" fmla="*/ 65937 w 752994"/>
                <a:gd name="connsiteY323" fmla="*/ 348470 h 1333436"/>
                <a:gd name="connsiteX324" fmla="*/ 68395 w 752994"/>
                <a:gd name="connsiteY324" fmla="*/ 348674 h 1333436"/>
                <a:gd name="connsiteX325" fmla="*/ 70224 w 752994"/>
                <a:gd name="connsiteY325" fmla="*/ 347449 h 1333436"/>
                <a:gd name="connsiteX326" fmla="*/ 67785 w 752994"/>
                <a:gd name="connsiteY326" fmla="*/ 345203 h 1333436"/>
                <a:gd name="connsiteX327" fmla="*/ 65524 w 752994"/>
                <a:gd name="connsiteY327" fmla="*/ 343178 h 1333436"/>
                <a:gd name="connsiteX328" fmla="*/ 73095 w 752994"/>
                <a:gd name="connsiteY328" fmla="*/ 333376 h 1333436"/>
                <a:gd name="connsiteX329" fmla="*/ 73291 w 752994"/>
                <a:gd name="connsiteY329" fmla="*/ 333376 h 1333436"/>
                <a:gd name="connsiteX330" fmla="*/ 77991 w 752994"/>
                <a:gd name="connsiteY330" fmla="*/ 325838 h 1333436"/>
                <a:gd name="connsiteX331" fmla="*/ 82671 w 752994"/>
                <a:gd name="connsiteY331" fmla="*/ 313619 h 1333436"/>
                <a:gd name="connsiteX332" fmla="*/ 87980 w 752994"/>
                <a:gd name="connsiteY332" fmla="*/ 303018 h 1333436"/>
                <a:gd name="connsiteX333" fmla="*/ 92267 w 752994"/>
                <a:gd name="connsiteY333" fmla="*/ 291191 h 1333436"/>
                <a:gd name="connsiteX334" fmla="*/ 96553 w 752994"/>
                <a:gd name="connsiteY334" fmla="*/ 281202 h 1333436"/>
                <a:gd name="connsiteX335" fmla="*/ 99621 w 752994"/>
                <a:gd name="connsiteY335" fmla="*/ 274481 h 1333436"/>
                <a:gd name="connsiteX336" fmla="*/ 103082 w 752994"/>
                <a:gd name="connsiteY336" fmla="*/ 262450 h 1333436"/>
                <a:gd name="connsiteX337" fmla="*/ 107172 w 752994"/>
                <a:gd name="connsiteY337" fmla="*/ 254299 h 1333436"/>
                <a:gd name="connsiteX338" fmla="*/ 112481 w 752994"/>
                <a:gd name="connsiteY338" fmla="*/ 243697 h 1333436"/>
                <a:gd name="connsiteX339" fmla="*/ 117181 w 752994"/>
                <a:gd name="connsiteY339" fmla="*/ 232279 h 1333436"/>
                <a:gd name="connsiteX340" fmla="*/ 125951 w 752994"/>
                <a:gd name="connsiteY340" fmla="*/ 217389 h 1333436"/>
                <a:gd name="connsiteX341" fmla="*/ 136156 w 752994"/>
                <a:gd name="connsiteY341" fmla="*/ 202925 h 1333436"/>
                <a:gd name="connsiteX342" fmla="*/ 138811 w 752994"/>
                <a:gd name="connsiteY342" fmla="*/ 183339 h 1333436"/>
                <a:gd name="connsiteX343" fmla="*/ 148801 w 752994"/>
                <a:gd name="connsiteY343" fmla="*/ 167445 h 1333436"/>
                <a:gd name="connsiteX344" fmla="*/ 159616 w 752994"/>
                <a:gd name="connsiteY344" fmla="*/ 170712 h 1333436"/>
                <a:gd name="connsiteX345" fmla="*/ 173105 w 752994"/>
                <a:gd name="connsiteY345" fmla="*/ 175188 h 1333436"/>
                <a:gd name="connsiteX346" fmla="*/ 175347 w 752994"/>
                <a:gd name="connsiteY346" fmla="*/ 175188 h 1333436"/>
                <a:gd name="connsiteX347" fmla="*/ 175347 w 752994"/>
                <a:gd name="connsiteY347" fmla="*/ 173758 h 1333436"/>
                <a:gd name="connsiteX348" fmla="*/ 184975 w 752994"/>
                <a:gd name="connsiteY348" fmla="*/ 187393 h 1333436"/>
                <a:gd name="connsiteX349" fmla="*/ 184762 w 752994"/>
                <a:gd name="connsiteY349" fmla="*/ 184637 h 1333436"/>
                <a:gd name="connsiteX350" fmla="*/ 174971 w 752994"/>
                <a:gd name="connsiteY350" fmla="*/ 170774 h 1333436"/>
                <a:gd name="connsiteX351" fmla="*/ 174971 w 752994"/>
                <a:gd name="connsiteY351" fmla="*/ 169550 h 1333436"/>
                <a:gd name="connsiteX352" fmla="*/ 158851 w 752994"/>
                <a:gd name="connsiteY352" fmla="*/ 156924 h 1333436"/>
                <a:gd name="connsiteX353" fmla="*/ 147025 w 752994"/>
                <a:gd name="connsiteY353" fmla="*/ 145709 h 1333436"/>
                <a:gd name="connsiteX354" fmla="*/ 154364 w 752994"/>
                <a:gd name="connsiteY354" fmla="*/ 136335 h 1333436"/>
                <a:gd name="connsiteX355" fmla="*/ 161511 w 752994"/>
                <a:gd name="connsiteY355" fmla="*/ 131042 h 1333436"/>
                <a:gd name="connsiteX356" fmla="*/ 160902 w 752994"/>
                <a:gd name="connsiteY356" fmla="*/ 128384 h 1333436"/>
                <a:gd name="connsiteX357" fmla="*/ 160277 w 752994"/>
                <a:gd name="connsiteY357" fmla="*/ 127778 h 1333436"/>
                <a:gd name="connsiteX358" fmla="*/ 154973 w 752994"/>
                <a:gd name="connsiteY358" fmla="*/ 122077 h 1333436"/>
                <a:gd name="connsiteX359" fmla="*/ 160277 w 752994"/>
                <a:gd name="connsiteY359" fmla="*/ 115140 h 1333436"/>
                <a:gd name="connsiteX360" fmla="*/ 165181 w 752994"/>
                <a:gd name="connsiteY360" fmla="*/ 108215 h 1333436"/>
                <a:gd name="connsiteX361" fmla="*/ 161303 w 752994"/>
                <a:gd name="connsiteY361" fmla="*/ 104146 h 1333436"/>
                <a:gd name="connsiteX362" fmla="*/ 157842 w 752994"/>
                <a:gd name="connsiteY362" fmla="*/ 104542 h 1333436"/>
                <a:gd name="connsiteX363" fmla="*/ 157024 w 752994"/>
                <a:gd name="connsiteY363" fmla="*/ 102304 h 1333436"/>
                <a:gd name="connsiteX364" fmla="*/ 160694 w 752994"/>
                <a:gd name="connsiteY364" fmla="*/ 55437 h 1333436"/>
                <a:gd name="connsiteX365" fmla="*/ 160486 w 752994"/>
                <a:gd name="connsiteY365" fmla="*/ 31991 h 1333436"/>
                <a:gd name="connsiteX366" fmla="*/ 164972 w 752994"/>
                <a:gd name="connsiteY366" fmla="*/ 18141 h 1333436"/>
                <a:gd name="connsiteX367" fmla="*/ 171911 w 752994"/>
                <a:gd name="connsiteY367" fmla="*/ 11204 h 1333436"/>
                <a:gd name="connsiteX368" fmla="*/ 187406 w 752994"/>
                <a:gd name="connsiteY368" fmla="*/ 21801 h 1333436"/>
                <a:gd name="connsiteX369" fmla="*/ 210866 w 752994"/>
                <a:gd name="connsiteY369" fmla="*/ 37086 h 1333436"/>
                <a:gd name="connsiteX370" fmla="*/ 219230 w 752994"/>
                <a:gd name="connsiteY370" fmla="*/ 41166 h 1333436"/>
                <a:gd name="connsiteX371" fmla="*/ 226778 w 752994"/>
                <a:gd name="connsiteY371" fmla="*/ 47486 h 1333436"/>
                <a:gd name="connsiteX372" fmla="*/ 236152 w 752994"/>
                <a:gd name="connsiteY372" fmla="*/ 52370 h 1333436"/>
                <a:gd name="connsiteX373" fmla="*/ 239629 w 752994"/>
                <a:gd name="connsiteY373" fmla="*/ 58491 h 1333436"/>
                <a:gd name="connsiteX374" fmla="*/ 239629 w 752994"/>
                <a:gd name="connsiteY374" fmla="*/ 63376 h 1333436"/>
                <a:gd name="connsiteX375" fmla="*/ 236568 w 752994"/>
                <a:gd name="connsiteY375" fmla="*/ 67457 h 1333436"/>
                <a:gd name="connsiteX376" fmla="*/ 231264 w 752994"/>
                <a:gd name="connsiteY376" fmla="*/ 69905 h 1333436"/>
                <a:gd name="connsiteX377" fmla="*/ 216778 w 752994"/>
                <a:gd name="connsiteY377" fmla="*/ 82741 h 1333436"/>
                <a:gd name="connsiteX378" fmla="*/ 214134 w 752994"/>
                <a:gd name="connsiteY378" fmla="*/ 93536 h 1333436"/>
                <a:gd name="connsiteX379" fmla="*/ 214535 w 752994"/>
                <a:gd name="connsiteY379" fmla="*/ 96801 h 1333436"/>
                <a:gd name="connsiteX380" fmla="*/ 216378 w 752994"/>
                <a:gd name="connsiteY380" fmla="*/ 96801 h 1333436"/>
                <a:gd name="connsiteX381" fmla="*/ 230046 w 752994"/>
                <a:gd name="connsiteY381" fmla="*/ 85387 h 1333436"/>
                <a:gd name="connsiteX382" fmla="*/ 243298 w 752994"/>
                <a:gd name="connsiteY382" fmla="*/ 75198 h 1333436"/>
                <a:gd name="connsiteX383" fmla="*/ 246760 w 752994"/>
                <a:gd name="connsiteY383" fmla="*/ 77646 h 1333436"/>
                <a:gd name="connsiteX384" fmla="*/ 255541 w 752994"/>
                <a:gd name="connsiteY384" fmla="*/ 63376 h 1333436"/>
                <a:gd name="connsiteX385" fmla="*/ 259611 w 752994"/>
                <a:gd name="connsiteY385" fmla="*/ 43405 h 1333436"/>
                <a:gd name="connsiteX386" fmla="*/ 256967 w 752994"/>
                <a:gd name="connsiteY386" fmla="*/ 38520 h 1333436"/>
                <a:gd name="connsiteX387" fmla="*/ 253906 w 752994"/>
                <a:gd name="connsiteY387" fmla="*/ 34242 h 1333436"/>
                <a:gd name="connsiteX388" fmla="*/ 256967 w 752994"/>
                <a:gd name="connsiteY388" fmla="*/ 30161 h 1333436"/>
                <a:gd name="connsiteX389" fmla="*/ 262063 w 752994"/>
                <a:gd name="connsiteY389" fmla="*/ 27712 h 1333436"/>
                <a:gd name="connsiteX390" fmla="*/ 264915 w 752994"/>
                <a:gd name="connsiteY390" fmla="*/ 23026 h 1333436"/>
                <a:gd name="connsiteX391" fmla="*/ 267976 w 752994"/>
                <a:gd name="connsiteY391" fmla="*/ 22618 h 1333436"/>
                <a:gd name="connsiteX392" fmla="*/ 270427 w 752994"/>
                <a:gd name="connsiteY392" fmla="*/ 20787 h 1333436"/>
                <a:gd name="connsiteX393" fmla="*/ 263088 w 752994"/>
                <a:gd name="connsiteY393" fmla="*/ 13652 h 1333436"/>
                <a:gd name="connsiteX394" fmla="*/ 255541 w 752994"/>
                <a:gd name="connsiteY394" fmla="*/ 3055 h 1333436"/>
                <a:gd name="connsiteX395" fmla="*/ 256358 w 752994"/>
                <a:gd name="connsiteY395" fmla="*/ 1224 h 1333436"/>
                <a:gd name="connsiteX396" fmla="*/ 257159 w 752994"/>
                <a:gd name="connsiteY396"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403787 w 752994"/>
                <a:gd name="connsiteY163" fmla="*/ 963290 h 1333436"/>
                <a:gd name="connsiteX164" fmla="*/ 404052 w 752994"/>
                <a:gd name="connsiteY164" fmla="*/ 963688 h 1333436"/>
                <a:gd name="connsiteX165" fmla="*/ 406917 w 752994"/>
                <a:gd name="connsiteY165" fmla="*/ 957427 h 1333436"/>
                <a:gd name="connsiteX166" fmla="*/ 414454 w 752994"/>
                <a:gd name="connsiteY166" fmla="*/ 952534 h 1333436"/>
                <a:gd name="connsiteX167" fmla="*/ 419146 w 752994"/>
                <a:gd name="connsiteY167" fmla="*/ 954567 h 1333436"/>
                <a:gd name="connsiteX168" fmla="*/ 425469 w 752994"/>
                <a:gd name="connsiteY168" fmla="*/ 956803 h 1333436"/>
                <a:gd name="connsiteX169" fmla="*/ 429146 w 752994"/>
                <a:gd name="connsiteY169" fmla="*/ 961092 h 1333436"/>
                <a:gd name="connsiteX170" fmla="*/ 439129 w 752994"/>
                <a:gd name="connsiteY170" fmla="*/ 960065 h 1333436"/>
                <a:gd name="connsiteX171" fmla="*/ 689408 w 752994"/>
                <a:gd name="connsiteY171" fmla="*/ 945184 h 1333436"/>
                <a:gd name="connsiteX172" fmla="*/ 710622 w 752994"/>
                <a:gd name="connsiteY172" fmla="*/ 948043 h 1333436"/>
                <a:gd name="connsiteX173" fmla="*/ 654533 w 752994"/>
                <a:gd name="connsiteY173" fmla="*/ 1333436 h 1333436"/>
                <a:gd name="connsiteX174" fmla="*/ 546831 w 752994"/>
                <a:gd name="connsiteY174" fmla="*/ 1317126 h 1333436"/>
                <a:gd name="connsiteX175" fmla="*/ 351227 w 752994"/>
                <a:gd name="connsiteY175" fmla="*/ 1194172 h 1333436"/>
                <a:gd name="connsiteX176" fmla="*/ 361011 w 752994"/>
                <a:gd name="connsiteY176" fmla="*/ 1182755 h 1333436"/>
                <a:gd name="connsiteX177" fmla="*/ 368981 w 752994"/>
                <a:gd name="connsiteY177" fmla="*/ 1182130 h 1333436"/>
                <a:gd name="connsiteX178" fmla="*/ 369571 w 752994"/>
                <a:gd name="connsiteY178" fmla="*/ 1181558 h 1333436"/>
                <a:gd name="connsiteX179" fmla="*/ 362372 w 752994"/>
                <a:gd name="connsiteY179" fmla="*/ 1182120 h 1333436"/>
                <a:gd name="connsiteX180" fmla="*/ 229464 w 752994"/>
                <a:gd name="connsiteY180" fmla="*/ 1161721 h 1333436"/>
                <a:gd name="connsiteX181" fmla="*/ 227427 w 752994"/>
                <a:gd name="connsiteY181" fmla="*/ 1157269 h 1333436"/>
                <a:gd name="connsiteX182" fmla="*/ 224967 w 752994"/>
                <a:gd name="connsiteY182" fmla="*/ 1152575 h 1333436"/>
                <a:gd name="connsiteX183" fmla="*/ 225582 w 752994"/>
                <a:gd name="connsiteY183" fmla="*/ 1144808 h 1333436"/>
                <a:gd name="connsiteX184" fmla="*/ 227215 w 752994"/>
                <a:gd name="connsiteY184" fmla="*/ 1135834 h 1333436"/>
                <a:gd name="connsiteX185" fmla="*/ 227215 w 752994"/>
                <a:gd name="connsiteY185" fmla="*/ 1134212 h 1333436"/>
                <a:gd name="connsiteX186" fmla="*/ 225179 w 752994"/>
                <a:gd name="connsiteY186" fmla="*/ 1114020 h 1333436"/>
                <a:gd name="connsiteX187" fmla="*/ 217839 w 752994"/>
                <a:gd name="connsiteY187" fmla="*/ 1100352 h 1333436"/>
                <a:gd name="connsiteX188" fmla="*/ 199661 w 752994"/>
                <a:gd name="connsiteY188" fmla="*/ 1076502 h 1333436"/>
                <a:gd name="connsiteX189" fmla="*/ 196395 w 752994"/>
                <a:gd name="connsiteY189" fmla="*/ 1071807 h 1333436"/>
                <a:gd name="connsiteX190" fmla="*/ 190880 w 752994"/>
                <a:gd name="connsiteY190" fmla="*/ 1067527 h 1333436"/>
                <a:gd name="connsiteX191" fmla="*/ 187210 w 752994"/>
                <a:gd name="connsiteY191" fmla="*/ 1068735 h 1333436"/>
                <a:gd name="connsiteX192" fmla="*/ 180062 w 752994"/>
                <a:gd name="connsiteY192" fmla="*/ 1066699 h 1333436"/>
                <a:gd name="connsiteX193" fmla="*/ 180466 w 752994"/>
                <a:gd name="connsiteY193" fmla="*/ 1053031 h 1333436"/>
                <a:gd name="connsiteX194" fmla="*/ 180062 w 752994"/>
                <a:gd name="connsiteY194" fmla="*/ 1045299 h 1333436"/>
                <a:gd name="connsiteX195" fmla="*/ 174144 w 752994"/>
                <a:gd name="connsiteY195" fmla="*/ 1044057 h 1333436"/>
                <a:gd name="connsiteX196" fmla="*/ 158426 w 752994"/>
                <a:gd name="connsiteY196" fmla="*/ 1042641 h 1333436"/>
                <a:gd name="connsiteX197" fmla="*/ 149857 w 752994"/>
                <a:gd name="connsiteY197" fmla="*/ 1035497 h 1333436"/>
                <a:gd name="connsiteX198" fmla="*/ 142497 w 752994"/>
                <a:gd name="connsiteY198" fmla="*/ 1028766 h 1333436"/>
                <a:gd name="connsiteX199" fmla="*/ 140864 w 752994"/>
                <a:gd name="connsiteY199" fmla="*/ 1020620 h 1333436"/>
                <a:gd name="connsiteX200" fmla="*/ 138212 w 752994"/>
                <a:gd name="connsiteY200" fmla="*/ 1013061 h 1333436"/>
                <a:gd name="connsiteX201" fmla="*/ 131064 w 752994"/>
                <a:gd name="connsiteY201" fmla="*/ 1007159 h 1333436"/>
                <a:gd name="connsiteX202" fmla="*/ 121264 w 752994"/>
                <a:gd name="connsiteY202" fmla="*/ 1005330 h 1333436"/>
                <a:gd name="connsiteX203" fmla="*/ 112483 w 752994"/>
                <a:gd name="connsiteY203" fmla="*/ 1001671 h 1333436"/>
                <a:gd name="connsiteX204" fmla="*/ 105950 w 752994"/>
                <a:gd name="connsiteY204" fmla="*/ 995734 h 1333436"/>
                <a:gd name="connsiteX205" fmla="*/ 97380 w 752994"/>
                <a:gd name="connsiteY205" fmla="*/ 994526 h 1333436"/>
                <a:gd name="connsiteX206" fmla="*/ 87984 w 752994"/>
                <a:gd name="connsiteY206" fmla="*/ 991040 h 1333436"/>
                <a:gd name="connsiteX207" fmla="*/ 80029 w 752994"/>
                <a:gd name="connsiteY207" fmla="*/ 985138 h 1333436"/>
                <a:gd name="connsiteX208" fmla="*/ 77166 w 752994"/>
                <a:gd name="connsiteY208" fmla="*/ 976164 h 1333436"/>
                <a:gd name="connsiteX209" fmla="*/ 79203 w 752994"/>
                <a:gd name="connsiteY209" fmla="*/ 970676 h 1333436"/>
                <a:gd name="connsiteX210" fmla="*/ 82470 w 752994"/>
                <a:gd name="connsiteY210" fmla="*/ 963117 h 1333436"/>
                <a:gd name="connsiteX211" fmla="*/ 84314 w 752994"/>
                <a:gd name="connsiteY211" fmla="*/ 954557 h 1333436"/>
                <a:gd name="connsiteX212" fmla="*/ 86351 w 752994"/>
                <a:gd name="connsiteY212" fmla="*/ 948033 h 1333436"/>
                <a:gd name="connsiteX213" fmla="*/ 86159 w 752994"/>
                <a:gd name="connsiteY213" fmla="*/ 942925 h 1333436"/>
                <a:gd name="connsiteX214" fmla="*/ 83085 w 752994"/>
                <a:gd name="connsiteY214" fmla="*/ 939853 h 1333436"/>
                <a:gd name="connsiteX215" fmla="*/ 77570 w 752994"/>
                <a:gd name="connsiteY215" fmla="*/ 937437 h 1333436"/>
                <a:gd name="connsiteX216" fmla="*/ 76763 w 752994"/>
                <a:gd name="connsiteY216" fmla="*/ 931915 h 1333436"/>
                <a:gd name="connsiteX217" fmla="*/ 78800 w 752994"/>
                <a:gd name="connsiteY217" fmla="*/ 927013 h 1333436"/>
                <a:gd name="connsiteX218" fmla="*/ 79626 w 752994"/>
                <a:gd name="connsiteY218" fmla="*/ 922526 h 1333436"/>
                <a:gd name="connsiteX219" fmla="*/ 77781 w 752994"/>
                <a:gd name="connsiteY219" fmla="*/ 919903 h 1333436"/>
                <a:gd name="connsiteX220" fmla="*/ 74303 w 752994"/>
                <a:gd name="connsiteY220" fmla="*/ 917418 h 1333436"/>
                <a:gd name="connsiteX221" fmla="*/ 71863 w 752994"/>
                <a:gd name="connsiteY221" fmla="*/ 915174 h 1333436"/>
                <a:gd name="connsiteX222" fmla="*/ 71652 w 752994"/>
                <a:gd name="connsiteY222" fmla="*/ 910894 h 1333436"/>
                <a:gd name="connsiteX223" fmla="*/ 70633 w 752994"/>
                <a:gd name="connsiteY223" fmla="*/ 906614 h 1333436"/>
                <a:gd name="connsiteX224" fmla="*/ 68385 w 752994"/>
                <a:gd name="connsiteY224" fmla="*/ 902749 h 1333436"/>
                <a:gd name="connsiteX225" fmla="*/ 61045 w 752994"/>
                <a:gd name="connsiteY225" fmla="*/ 889494 h 1333436"/>
                <a:gd name="connsiteX226" fmla="*/ 57971 w 752994"/>
                <a:gd name="connsiteY226" fmla="*/ 875619 h 1333436"/>
                <a:gd name="connsiteX227" fmla="*/ 52264 w 752994"/>
                <a:gd name="connsiteY227" fmla="*/ 862572 h 1333436"/>
                <a:gd name="connsiteX228" fmla="*/ 44309 w 752994"/>
                <a:gd name="connsiteY228" fmla="*/ 850561 h 1333436"/>
                <a:gd name="connsiteX229" fmla="*/ 45520 w 752994"/>
                <a:gd name="connsiteY229" fmla="*/ 827090 h 1333436"/>
                <a:gd name="connsiteX230" fmla="*/ 53071 w 752994"/>
                <a:gd name="connsiteY230" fmla="*/ 822396 h 1333436"/>
                <a:gd name="connsiteX231" fmla="*/ 57375 w 752994"/>
                <a:gd name="connsiteY231" fmla="*/ 816493 h 1333436"/>
                <a:gd name="connsiteX232" fmla="*/ 55319 w 752994"/>
                <a:gd name="connsiteY232" fmla="*/ 801617 h 1333436"/>
                <a:gd name="connsiteX233" fmla="*/ 48383 w 752994"/>
                <a:gd name="connsiteY233" fmla="*/ 802204 h 1333436"/>
                <a:gd name="connsiteX234" fmla="*/ 40428 w 752994"/>
                <a:gd name="connsiteY234" fmla="*/ 797924 h 1333436"/>
                <a:gd name="connsiteX235" fmla="*/ 37565 w 752994"/>
                <a:gd name="connsiteY235" fmla="*/ 790606 h 1333436"/>
                <a:gd name="connsiteX236" fmla="*/ 37565 w 752994"/>
                <a:gd name="connsiteY236" fmla="*/ 790399 h 1333436"/>
                <a:gd name="connsiteX237" fmla="*/ 35931 w 752994"/>
                <a:gd name="connsiteY237" fmla="*/ 785912 h 1333436"/>
                <a:gd name="connsiteX238" fmla="*/ 34510 w 752994"/>
                <a:gd name="connsiteY238" fmla="*/ 780597 h 1333436"/>
                <a:gd name="connsiteX239" fmla="*/ 36335 w 752994"/>
                <a:gd name="connsiteY239" fmla="*/ 774280 h 1333436"/>
                <a:gd name="connsiteX240" fmla="*/ 38180 w 752994"/>
                <a:gd name="connsiteY240" fmla="*/ 766721 h 1333436"/>
                <a:gd name="connsiteX241" fmla="*/ 37161 w 752994"/>
                <a:gd name="connsiteY241" fmla="*/ 760405 h 1333436"/>
                <a:gd name="connsiteX242" fmla="*/ 35720 w 752994"/>
                <a:gd name="connsiteY242" fmla="*/ 754710 h 1333436"/>
                <a:gd name="connsiteX243" fmla="*/ 36546 w 752994"/>
                <a:gd name="connsiteY243" fmla="*/ 748773 h 1333436"/>
                <a:gd name="connsiteX244" fmla="*/ 38372 w 752994"/>
                <a:gd name="connsiteY244" fmla="*/ 744528 h 1333436"/>
                <a:gd name="connsiteX245" fmla="*/ 41638 w 752994"/>
                <a:gd name="connsiteY245" fmla="*/ 744321 h 1333436"/>
                <a:gd name="connsiteX246" fmla="*/ 44713 w 752994"/>
                <a:gd name="connsiteY246" fmla="*/ 746357 h 1333436"/>
                <a:gd name="connsiteX247" fmla="*/ 47364 w 752994"/>
                <a:gd name="connsiteY247" fmla="*/ 753260 h 1333436"/>
                <a:gd name="connsiteX248" fmla="*/ 55742 w 752994"/>
                <a:gd name="connsiteY248" fmla="*/ 764305 h 1333436"/>
                <a:gd name="connsiteX249" fmla="*/ 56338 w 752994"/>
                <a:gd name="connsiteY249" fmla="*/ 761233 h 1333436"/>
                <a:gd name="connsiteX250" fmla="*/ 56145 w 752994"/>
                <a:gd name="connsiteY250" fmla="*/ 757368 h 1333436"/>
                <a:gd name="connsiteX251" fmla="*/ 54916 w 752994"/>
                <a:gd name="connsiteY251" fmla="*/ 748601 h 1333436"/>
                <a:gd name="connsiteX252" fmla="*/ 52879 w 752994"/>
                <a:gd name="connsiteY252" fmla="*/ 747358 h 1333436"/>
                <a:gd name="connsiteX253" fmla="*/ 51649 w 752994"/>
                <a:gd name="connsiteY253" fmla="*/ 745322 h 1333436"/>
                <a:gd name="connsiteX254" fmla="*/ 51649 w 752994"/>
                <a:gd name="connsiteY254" fmla="*/ 739212 h 1333436"/>
                <a:gd name="connsiteX255" fmla="*/ 50227 w 752994"/>
                <a:gd name="connsiteY255" fmla="*/ 734725 h 1333436"/>
                <a:gd name="connsiteX256" fmla="*/ 48786 w 752994"/>
                <a:gd name="connsiteY256" fmla="*/ 731446 h 1333436"/>
                <a:gd name="connsiteX257" fmla="*/ 54512 w 752994"/>
                <a:gd name="connsiteY257" fmla="*/ 726372 h 1333436"/>
                <a:gd name="connsiteX258" fmla="*/ 59815 w 752994"/>
                <a:gd name="connsiteY258" fmla="*/ 725130 h 1333436"/>
                <a:gd name="connsiteX259" fmla="*/ 58182 w 752994"/>
                <a:gd name="connsiteY259" fmla="*/ 722886 h 1333436"/>
                <a:gd name="connsiteX260" fmla="*/ 51861 w 752994"/>
                <a:gd name="connsiteY260" fmla="*/ 717985 h 1333436"/>
                <a:gd name="connsiteX261" fmla="*/ 46749 w 752994"/>
                <a:gd name="connsiteY261" fmla="*/ 729617 h 1333436"/>
                <a:gd name="connsiteX262" fmla="*/ 40831 w 752994"/>
                <a:gd name="connsiteY262" fmla="*/ 739212 h 1333436"/>
                <a:gd name="connsiteX263" fmla="*/ 39601 w 752994"/>
                <a:gd name="connsiteY263" fmla="*/ 738798 h 1333436"/>
                <a:gd name="connsiteX264" fmla="*/ 39409 w 752994"/>
                <a:gd name="connsiteY264" fmla="*/ 738591 h 1333436"/>
                <a:gd name="connsiteX265" fmla="*/ 37161 w 752994"/>
                <a:gd name="connsiteY265" fmla="*/ 734725 h 1333436"/>
                <a:gd name="connsiteX266" fmla="*/ 32665 w 752994"/>
                <a:gd name="connsiteY266" fmla="*/ 727788 h 1333436"/>
                <a:gd name="connsiteX267" fmla="*/ 26747 w 752994"/>
                <a:gd name="connsiteY267" fmla="*/ 719435 h 1333436"/>
                <a:gd name="connsiteX268" fmla="*/ 23884 w 752994"/>
                <a:gd name="connsiteY268" fmla="*/ 717812 h 1333436"/>
                <a:gd name="connsiteX269" fmla="*/ 24710 w 752994"/>
                <a:gd name="connsiteY269" fmla="*/ 709632 h 1333436"/>
                <a:gd name="connsiteX270" fmla="*/ 27554 w 752994"/>
                <a:gd name="connsiteY270" fmla="*/ 701694 h 1333436"/>
                <a:gd name="connsiteX271" fmla="*/ 24902 w 752994"/>
                <a:gd name="connsiteY271" fmla="*/ 696171 h 1333436"/>
                <a:gd name="connsiteX272" fmla="*/ 24095 w 752994"/>
                <a:gd name="connsiteY272" fmla="*/ 687818 h 1333436"/>
                <a:gd name="connsiteX273" fmla="*/ 22462 w 752994"/>
                <a:gd name="connsiteY273" fmla="*/ 682330 h 1333436"/>
                <a:gd name="connsiteX274" fmla="*/ 17159 w 752994"/>
                <a:gd name="connsiteY274" fmla="*/ 677636 h 1333436"/>
                <a:gd name="connsiteX275" fmla="*/ 14296 w 752994"/>
                <a:gd name="connsiteY275" fmla="*/ 671492 h 1333436"/>
                <a:gd name="connsiteX276" fmla="*/ 12451 w 752994"/>
                <a:gd name="connsiteY276" fmla="*/ 665797 h 1333436"/>
                <a:gd name="connsiteX277" fmla="*/ 5111 w 752994"/>
                <a:gd name="connsiteY277" fmla="*/ 654994 h 1333436"/>
                <a:gd name="connsiteX278" fmla="*/ 2248 w 752994"/>
                <a:gd name="connsiteY278" fmla="*/ 645605 h 1333436"/>
                <a:gd name="connsiteX279" fmla="*/ 4496 w 752994"/>
                <a:gd name="connsiteY279" fmla="*/ 640497 h 1333436"/>
                <a:gd name="connsiteX280" fmla="*/ 6744 w 752994"/>
                <a:gd name="connsiteY280" fmla="*/ 632765 h 1333436"/>
                <a:gd name="connsiteX281" fmla="*/ 6744 w 752994"/>
                <a:gd name="connsiteY281" fmla="*/ 628485 h 1333436"/>
                <a:gd name="connsiteX282" fmla="*/ 6533 w 752994"/>
                <a:gd name="connsiteY282" fmla="*/ 620305 h 1333436"/>
                <a:gd name="connsiteX283" fmla="*/ 7359 w 752994"/>
                <a:gd name="connsiteY283" fmla="*/ 611745 h 1333436"/>
                <a:gd name="connsiteX284" fmla="*/ 11836 w 752994"/>
                <a:gd name="connsiteY284" fmla="*/ 602978 h 1333436"/>
                <a:gd name="connsiteX285" fmla="*/ 15103 w 752994"/>
                <a:gd name="connsiteY285" fmla="*/ 591760 h 1333436"/>
                <a:gd name="connsiteX286" fmla="*/ 14488 w 752994"/>
                <a:gd name="connsiteY286" fmla="*/ 584029 h 1333436"/>
                <a:gd name="connsiteX287" fmla="*/ 13873 w 752994"/>
                <a:gd name="connsiteY287" fmla="*/ 578299 h 1333436"/>
                <a:gd name="connsiteX288" fmla="*/ 10626 w 752994"/>
                <a:gd name="connsiteY288" fmla="*/ 568531 h 1333436"/>
                <a:gd name="connsiteX289" fmla="*/ 3670 w 752994"/>
                <a:gd name="connsiteY289" fmla="*/ 558107 h 1333436"/>
                <a:gd name="connsiteX290" fmla="*/ 0 w 752994"/>
                <a:gd name="connsiteY290" fmla="*/ 551377 h 1333436"/>
                <a:gd name="connsiteX291" fmla="*/ 0 w 752994"/>
                <a:gd name="connsiteY291" fmla="*/ 550997 h 1333436"/>
                <a:gd name="connsiteX292" fmla="*/ 4900 w 752994"/>
                <a:gd name="connsiteY292" fmla="*/ 531220 h 1333436"/>
                <a:gd name="connsiteX293" fmla="*/ 13873 w 752994"/>
                <a:gd name="connsiteY293" fmla="*/ 520589 h 1333436"/>
                <a:gd name="connsiteX294" fmla="*/ 18369 w 752994"/>
                <a:gd name="connsiteY294" fmla="*/ 516516 h 1333436"/>
                <a:gd name="connsiteX295" fmla="*/ 18773 w 752994"/>
                <a:gd name="connsiteY295" fmla="*/ 514272 h 1333436"/>
                <a:gd name="connsiteX296" fmla="*/ 23077 w 752994"/>
                <a:gd name="connsiteY296" fmla="*/ 506127 h 1333436"/>
                <a:gd name="connsiteX297" fmla="*/ 23884 w 752994"/>
                <a:gd name="connsiteY297" fmla="*/ 502261 h 1333436"/>
                <a:gd name="connsiteX298" fmla="*/ 23692 w 752994"/>
                <a:gd name="connsiteY298" fmla="*/ 496738 h 1333436"/>
                <a:gd name="connsiteX299" fmla="*/ 30013 w 752994"/>
                <a:gd name="connsiteY299" fmla="*/ 486556 h 1333436"/>
                <a:gd name="connsiteX300" fmla="*/ 36546 w 752994"/>
                <a:gd name="connsiteY300" fmla="*/ 470230 h 1333436"/>
                <a:gd name="connsiteX301" fmla="*/ 36546 w 752994"/>
                <a:gd name="connsiteY301" fmla="*/ 462671 h 1333436"/>
                <a:gd name="connsiteX302" fmla="*/ 36335 w 752994"/>
                <a:gd name="connsiteY302" fmla="*/ 461670 h 1333436"/>
                <a:gd name="connsiteX303" fmla="*/ 35931 w 752994"/>
                <a:gd name="connsiteY303" fmla="*/ 453110 h 1333436"/>
                <a:gd name="connsiteX304" fmla="*/ 38583 w 752994"/>
                <a:gd name="connsiteY304" fmla="*/ 442514 h 1333436"/>
                <a:gd name="connsiteX305" fmla="*/ 41043 w 752994"/>
                <a:gd name="connsiteY305" fmla="*/ 436991 h 1333436"/>
                <a:gd name="connsiteX306" fmla="*/ 41650 w 752994"/>
                <a:gd name="connsiteY306" fmla="*/ 437186 h 1333436"/>
                <a:gd name="connsiteX307" fmla="*/ 41239 w 752994"/>
                <a:gd name="connsiteY307" fmla="*/ 436549 h 1333436"/>
                <a:gd name="connsiteX308" fmla="*/ 37778 w 752994"/>
                <a:gd name="connsiteY308" fmla="*/ 433894 h 1333436"/>
                <a:gd name="connsiteX309" fmla="*/ 37169 w 752994"/>
                <a:gd name="connsiteY309" fmla="*/ 432261 h 1333436"/>
                <a:gd name="connsiteX310" fmla="*/ 37365 w 752994"/>
                <a:gd name="connsiteY310" fmla="*/ 429198 h 1333436"/>
                <a:gd name="connsiteX311" fmla="*/ 36756 w 752994"/>
                <a:gd name="connsiteY311" fmla="*/ 422272 h 1333436"/>
                <a:gd name="connsiteX312" fmla="*/ 36952 w 752994"/>
                <a:gd name="connsiteY312" fmla="*/ 418800 h 1333436"/>
                <a:gd name="connsiteX313" fmla="*/ 36756 w 752994"/>
                <a:gd name="connsiteY313" fmla="*/ 412487 h 1333436"/>
                <a:gd name="connsiteX314" fmla="*/ 40433 w 752994"/>
                <a:gd name="connsiteY314" fmla="*/ 406174 h 1333436"/>
                <a:gd name="connsiteX315" fmla="*/ 44720 w 752994"/>
                <a:gd name="connsiteY315" fmla="*/ 399435 h 1333436"/>
                <a:gd name="connsiteX316" fmla="*/ 44110 w 752994"/>
                <a:gd name="connsiteY316" fmla="*/ 389651 h 1333436"/>
                <a:gd name="connsiteX317" fmla="*/ 43894 w 752994"/>
                <a:gd name="connsiteY317" fmla="*/ 378437 h 1333436"/>
                <a:gd name="connsiteX318" fmla="*/ 47158 w 752994"/>
                <a:gd name="connsiteY318" fmla="*/ 371102 h 1333436"/>
                <a:gd name="connsiteX319" fmla="*/ 55731 w 752994"/>
                <a:gd name="connsiteY319" fmla="*/ 360909 h 1333436"/>
                <a:gd name="connsiteX320" fmla="*/ 57580 w 752994"/>
                <a:gd name="connsiteY320" fmla="*/ 355804 h 1333436"/>
                <a:gd name="connsiteX321" fmla="*/ 62673 w 752994"/>
                <a:gd name="connsiteY321" fmla="*/ 349695 h 1333436"/>
                <a:gd name="connsiteX322" fmla="*/ 65937 w 752994"/>
                <a:gd name="connsiteY322" fmla="*/ 348470 h 1333436"/>
                <a:gd name="connsiteX323" fmla="*/ 68395 w 752994"/>
                <a:gd name="connsiteY323" fmla="*/ 348674 h 1333436"/>
                <a:gd name="connsiteX324" fmla="*/ 70224 w 752994"/>
                <a:gd name="connsiteY324" fmla="*/ 347449 h 1333436"/>
                <a:gd name="connsiteX325" fmla="*/ 67785 w 752994"/>
                <a:gd name="connsiteY325" fmla="*/ 345203 h 1333436"/>
                <a:gd name="connsiteX326" fmla="*/ 65524 w 752994"/>
                <a:gd name="connsiteY326" fmla="*/ 343178 h 1333436"/>
                <a:gd name="connsiteX327" fmla="*/ 73095 w 752994"/>
                <a:gd name="connsiteY327" fmla="*/ 333376 h 1333436"/>
                <a:gd name="connsiteX328" fmla="*/ 73291 w 752994"/>
                <a:gd name="connsiteY328" fmla="*/ 333376 h 1333436"/>
                <a:gd name="connsiteX329" fmla="*/ 77991 w 752994"/>
                <a:gd name="connsiteY329" fmla="*/ 325838 h 1333436"/>
                <a:gd name="connsiteX330" fmla="*/ 82671 w 752994"/>
                <a:gd name="connsiteY330" fmla="*/ 313619 h 1333436"/>
                <a:gd name="connsiteX331" fmla="*/ 87980 w 752994"/>
                <a:gd name="connsiteY331" fmla="*/ 303018 h 1333436"/>
                <a:gd name="connsiteX332" fmla="*/ 92267 w 752994"/>
                <a:gd name="connsiteY332" fmla="*/ 291191 h 1333436"/>
                <a:gd name="connsiteX333" fmla="*/ 96553 w 752994"/>
                <a:gd name="connsiteY333" fmla="*/ 281202 h 1333436"/>
                <a:gd name="connsiteX334" fmla="*/ 99621 w 752994"/>
                <a:gd name="connsiteY334" fmla="*/ 274481 h 1333436"/>
                <a:gd name="connsiteX335" fmla="*/ 103082 w 752994"/>
                <a:gd name="connsiteY335" fmla="*/ 262450 h 1333436"/>
                <a:gd name="connsiteX336" fmla="*/ 107172 w 752994"/>
                <a:gd name="connsiteY336" fmla="*/ 254299 h 1333436"/>
                <a:gd name="connsiteX337" fmla="*/ 112481 w 752994"/>
                <a:gd name="connsiteY337" fmla="*/ 243697 h 1333436"/>
                <a:gd name="connsiteX338" fmla="*/ 117181 w 752994"/>
                <a:gd name="connsiteY338" fmla="*/ 232279 h 1333436"/>
                <a:gd name="connsiteX339" fmla="*/ 125951 w 752994"/>
                <a:gd name="connsiteY339" fmla="*/ 217389 h 1333436"/>
                <a:gd name="connsiteX340" fmla="*/ 136156 w 752994"/>
                <a:gd name="connsiteY340" fmla="*/ 202925 h 1333436"/>
                <a:gd name="connsiteX341" fmla="*/ 138811 w 752994"/>
                <a:gd name="connsiteY341" fmla="*/ 183339 h 1333436"/>
                <a:gd name="connsiteX342" fmla="*/ 148801 w 752994"/>
                <a:gd name="connsiteY342" fmla="*/ 167445 h 1333436"/>
                <a:gd name="connsiteX343" fmla="*/ 159616 w 752994"/>
                <a:gd name="connsiteY343" fmla="*/ 170712 h 1333436"/>
                <a:gd name="connsiteX344" fmla="*/ 173105 w 752994"/>
                <a:gd name="connsiteY344" fmla="*/ 175188 h 1333436"/>
                <a:gd name="connsiteX345" fmla="*/ 175347 w 752994"/>
                <a:gd name="connsiteY345" fmla="*/ 175188 h 1333436"/>
                <a:gd name="connsiteX346" fmla="*/ 175347 w 752994"/>
                <a:gd name="connsiteY346" fmla="*/ 173758 h 1333436"/>
                <a:gd name="connsiteX347" fmla="*/ 184975 w 752994"/>
                <a:gd name="connsiteY347" fmla="*/ 187393 h 1333436"/>
                <a:gd name="connsiteX348" fmla="*/ 184762 w 752994"/>
                <a:gd name="connsiteY348" fmla="*/ 184637 h 1333436"/>
                <a:gd name="connsiteX349" fmla="*/ 174971 w 752994"/>
                <a:gd name="connsiteY349" fmla="*/ 170774 h 1333436"/>
                <a:gd name="connsiteX350" fmla="*/ 174971 w 752994"/>
                <a:gd name="connsiteY350" fmla="*/ 169550 h 1333436"/>
                <a:gd name="connsiteX351" fmla="*/ 158851 w 752994"/>
                <a:gd name="connsiteY351" fmla="*/ 156924 h 1333436"/>
                <a:gd name="connsiteX352" fmla="*/ 147025 w 752994"/>
                <a:gd name="connsiteY352" fmla="*/ 145709 h 1333436"/>
                <a:gd name="connsiteX353" fmla="*/ 154364 w 752994"/>
                <a:gd name="connsiteY353" fmla="*/ 136335 h 1333436"/>
                <a:gd name="connsiteX354" fmla="*/ 161511 w 752994"/>
                <a:gd name="connsiteY354" fmla="*/ 131042 h 1333436"/>
                <a:gd name="connsiteX355" fmla="*/ 160902 w 752994"/>
                <a:gd name="connsiteY355" fmla="*/ 128384 h 1333436"/>
                <a:gd name="connsiteX356" fmla="*/ 160277 w 752994"/>
                <a:gd name="connsiteY356" fmla="*/ 127778 h 1333436"/>
                <a:gd name="connsiteX357" fmla="*/ 154973 w 752994"/>
                <a:gd name="connsiteY357" fmla="*/ 122077 h 1333436"/>
                <a:gd name="connsiteX358" fmla="*/ 160277 w 752994"/>
                <a:gd name="connsiteY358" fmla="*/ 115140 h 1333436"/>
                <a:gd name="connsiteX359" fmla="*/ 165181 w 752994"/>
                <a:gd name="connsiteY359" fmla="*/ 108215 h 1333436"/>
                <a:gd name="connsiteX360" fmla="*/ 161303 w 752994"/>
                <a:gd name="connsiteY360" fmla="*/ 104146 h 1333436"/>
                <a:gd name="connsiteX361" fmla="*/ 157842 w 752994"/>
                <a:gd name="connsiteY361" fmla="*/ 104542 h 1333436"/>
                <a:gd name="connsiteX362" fmla="*/ 157024 w 752994"/>
                <a:gd name="connsiteY362" fmla="*/ 102304 h 1333436"/>
                <a:gd name="connsiteX363" fmla="*/ 160694 w 752994"/>
                <a:gd name="connsiteY363" fmla="*/ 55437 h 1333436"/>
                <a:gd name="connsiteX364" fmla="*/ 160486 w 752994"/>
                <a:gd name="connsiteY364" fmla="*/ 31991 h 1333436"/>
                <a:gd name="connsiteX365" fmla="*/ 164972 w 752994"/>
                <a:gd name="connsiteY365" fmla="*/ 18141 h 1333436"/>
                <a:gd name="connsiteX366" fmla="*/ 171911 w 752994"/>
                <a:gd name="connsiteY366" fmla="*/ 11204 h 1333436"/>
                <a:gd name="connsiteX367" fmla="*/ 187406 w 752994"/>
                <a:gd name="connsiteY367" fmla="*/ 21801 h 1333436"/>
                <a:gd name="connsiteX368" fmla="*/ 210866 w 752994"/>
                <a:gd name="connsiteY368" fmla="*/ 37086 h 1333436"/>
                <a:gd name="connsiteX369" fmla="*/ 219230 w 752994"/>
                <a:gd name="connsiteY369" fmla="*/ 41166 h 1333436"/>
                <a:gd name="connsiteX370" fmla="*/ 226778 w 752994"/>
                <a:gd name="connsiteY370" fmla="*/ 47486 h 1333436"/>
                <a:gd name="connsiteX371" fmla="*/ 236152 w 752994"/>
                <a:gd name="connsiteY371" fmla="*/ 52370 h 1333436"/>
                <a:gd name="connsiteX372" fmla="*/ 239629 w 752994"/>
                <a:gd name="connsiteY372" fmla="*/ 58491 h 1333436"/>
                <a:gd name="connsiteX373" fmla="*/ 239629 w 752994"/>
                <a:gd name="connsiteY373" fmla="*/ 63376 h 1333436"/>
                <a:gd name="connsiteX374" fmla="*/ 236568 w 752994"/>
                <a:gd name="connsiteY374" fmla="*/ 67457 h 1333436"/>
                <a:gd name="connsiteX375" fmla="*/ 231264 w 752994"/>
                <a:gd name="connsiteY375" fmla="*/ 69905 h 1333436"/>
                <a:gd name="connsiteX376" fmla="*/ 216778 w 752994"/>
                <a:gd name="connsiteY376" fmla="*/ 82741 h 1333436"/>
                <a:gd name="connsiteX377" fmla="*/ 214134 w 752994"/>
                <a:gd name="connsiteY377" fmla="*/ 93536 h 1333436"/>
                <a:gd name="connsiteX378" fmla="*/ 214535 w 752994"/>
                <a:gd name="connsiteY378" fmla="*/ 96801 h 1333436"/>
                <a:gd name="connsiteX379" fmla="*/ 216378 w 752994"/>
                <a:gd name="connsiteY379" fmla="*/ 96801 h 1333436"/>
                <a:gd name="connsiteX380" fmla="*/ 230046 w 752994"/>
                <a:gd name="connsiteY380" fmla="*/ 85387 h 1333436"/>
                <a:gd name="connsiteX381" fmla="*/ 243298 w 752994"/>
                <a:gd name="connsiteY381" fmla="*/ 75198 h 1333436"/>
                <a:gd name="connsiteX382" fmla="*/ 246760 w 752994"/>
                <a:gd name="connsiteY382" fmla="*/ 77646 h 1333436"/>
                <a:gd name="connsiteX383" fmla="*/ 255541 w 752994"/>
                <a:gd name="connsiteY383" fmla="*/ 63376 h 1333436"/>
                <a:gd name="connsiteX384" fmla="*/ 259611 w 752994"/>
                <a:gd name="connsiteY384" fmla="*/ 43405 h 1333436"/>
                <a:gd name="connsiteX385" fmla="*/ 256967 w 752994"/>
                <a:gd name="connsiteY385" fmla="*/ 38520 h 1333436"/>
                <a:gd name="connsiteX386" fmla="*/ 253906 w 752994"/>
                <a:gd name="connsiteY386" fmla="*/ 34242 h 1333436"/>
                <a:gd name="connsiteX387" fmla="*/ 256967 w 752994"/>
                <a:gd name="connsiteY387" fmla="*/ 30161 h 1333436"/>
                <a:gd name="connsiteX388" fmla="*/ 262063 w 752994"/>
                <a:gd name="connsiteY388" fmla="*/ 27712 h 1333436"/>
                <a:gd name="connsiteX389" fmla="*/ 264915 w 752994"/>
                <a:gd name="connsiteY389" fmla="*/ 23026 h 1333436"/>
                <a:gd name="connsiteX390" fmla="*/ 267976 w 752994"/>
                <a:gd name="connsiteY390" fmla="*/ 22618 h 1333436"/>
                <a:gd name="connsiteX391" fmla="*/ 270427 w 752994"/>
                <a:gd name="connsiteY391" fmla="*/ 20787 h 1333436"/>
                <a:gd name="connsiteX392" fmla="*/ 263088 w 752994"/>
                <a:gd name="connsiteY392" fmla="*/ 13652 h 1333436"/>
                <a:gd name="connsiteX393" fmla="*/ 255541 w 752994"/>
                <a:gd name="connsiteY393" fmla="*/ 3055 h 1333436"/>
                <a:gd name="connsiteX394" fmla="*/ 256358 w 752994"/>
                <a:gd name="connsiteY394" fmla="*/ 1224 h 1333436"/>
                <a:gd name="connsiteX395" fmla="*/ 257159 w 752994"/>
                <a:gd name="connsiteY395"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403787 w 752994"/>
                <a:gd name="connsiteY163" fmla="*/ 963290 h 1333436"/>
                <a:gd name="connsiteX164" fmla="*/ 404052 w 752994"/>
                <a:gd name="connsiteY164" fmla="*/ 963688 h 1333436"/>
                <a:gd name="connsiteX165" fmla="*/ 406917 w 752994"/>
                <a:gd name="connsiteY165" fmla="*/ 957427 h 1333436"/>
                <a:gd name="connsiteX166" fmla="*/ 414454 w 752994"/>
                <a:gd name="connsiteY166" fmla="*/ 952534 h 1333436"/>
                <a:gd name="connsiteX167" fmla="*/ 419146 w 752994"/>
                <a:gd name="connsiteY167" fmla="*/ 954567 h 1333436"/>
                <a:gd name="connsiteX168" fmla="*/ 425469 w 752994"/>
                <a:gd name="connsiteY168" fmla="*/ 956803 h 1333436"/>
                <a:gd name="connsiteX169" fmla="*/ 429146 w 752994"/>
                <a:gd name="connsiteY169" fmla="*/ 961092 h 1333436"/>
                <a:gd name="connsiteX170" fmla="*/ 689408 w 752994"/>
                <a:gd name="connsiteY170" fmla="*/ 945184 h 1333436"/>
                <a:gd name="connsiteX171" fmla="*/ 710622 w 752994"/>
                <a:gd name="connsiteY171" fmla="*/ 948043 h 1333436"/>
                <a:gd name="connsiteX172" fmla="*/ 654533 w 752994"/>
                <a:gd name="connsiteY172" fmla="*/ 1333436 h 1333436"/>
                <a:gd name="connsiteX173" fmla="*/ 546831 w 752994"/>
                <a:gd name="connsiteY173" fmla="*/ 1317126 h 1333436"/>
                <a:gd name="connsiteX174" fmla="*/ 351227 w 752994"/>
                <a:gd name="connsiteY174" fmla="*/ 1194172 h 1333436"/>
                <a:gd name="connsiteX175" fmla="*/ 361011 w 752994"/>
                <a:gd name="connsiteY175" fmla="*/ 1182755 h 1333436"/>
                <a:gd name="connsiteX176" fmla="*/ 368981 w 752994"/>
                <a:gd name="connsiteY176" fmla="*/ 1182130 h 1333436"/>
                <a:gd name="connsiteX177" fmla="*/ 369571 w 752994"/>
                <a:gd name="connsiteY177" fmla="*/ 1181558 h 1333436"/>
                <a:gd name="connsiteX178" fmla="*/ 362372 w 752994"/>
                <a:gd name="connsiteY178" fmla="*/ 1182120 h 1333436"/>
                <a:gd name="connsiteX179" fmla="*/ 229464 w 752994"/>
                <a:gd name="connsiteY179" fmla="*/ 1161721 h 1333436"/>
                <a:gd name="connsiteX180" fmla="*/ 227427 w 752994"/>
                <a:gd name="connsiteY180" fmla="*/ 1157269 h 1333436"/>
                <a:gd name="connsiteX181" fmla="*/ 224967 w 752994"/>
                <a:gd name="connsiteY181" fmla="*/ 1152575 h 1333436"/>
                <a:gd name="connsiteX182" fmla="*/ 225582 w 752994"/>
                <a:gd name="connsiteY182" fmla="*/ 1144808 h 1333436"/>
                <a:gd name="connsiteX183" fmla="*/ 227215 w 752994"/>
                <a:gd name="connsiteY183" fmla="*/ 1135834 h 1333436"/>
                <a:gd name="connsiteX184" fmla="*/ 227215 w 752994"/>
                <a:gd name="connsiteY184" fmla="*/ 1134212 h 1333436"/>
                <a:gd name="connsiteX185" fmla="*/ 225179 w 752994"/>
                <a:gd name="connsiteY185" fmla="*/ 1114020 h 1333436"/>
                <a:gd name="connsiteX186" fmla="*/ 217839 w 752994"/>
                <a:gd name="connsiteY186" fmla="*/ 1100352 h 1333436"/>
                <a:gd name="connsiteX187" fmla="*/ 199661 w 752994"/>
                <a:gd name="connsiteY187" fmla="*/ 1076502 h 1333436"/>
                <a:gd name="connsiteX188" fmla="*/ 196395 w 752994"/>
                <a:gd name="connsiteY188" fmla="*/ 1071807 h 1333436"/>
                <a:gd name="connsiteX189" fmla="*/ 190880 w 752994"/>
                <a:gd name="connsiteY189" fmla="*/ 1067527 h 1333436"/>
                <a:gd name="connsiteX190" fmla="*/ 187210 w 752994"/>
                <a:gd name="connsiteY190" fmla="*/ 1068735 h 1333436"/>
                <a:gd name="connsiteX191" fmla="*/ 180062 w 752994"/>
                <a:gd name="connsiteY191" fmla="*/ 1066699 h 1333436"/>
                <a:gd name="connsiteX192" fmla="*/ 180466 w 752994"/>
                <a:gd name="connsiteY192" fmla="*/ 1053031 h 1333436"/>
                <a:gd name="connsiteX193" fmla="*/ 180062 w 752994"/>
                <a:gd name="connsiteY193" fmla="*/ 1045299 h 1333436"/>
                <a:gd name="connsiteX194" fmla="*/ 174144 w 752994"/>
                <a:gd name="connsiteY194" fmla="*/ 1044057 h 1333436"/>
                <a:gd name="connsiteX195" fmla="*/ 158426 w 752994"/>
                <a:gd name="connsiteY195" fmla="*/ 1042641 h 1333436"/>
                <a:gd name="connsiteX196" fmla="*/ 149857 w 752994"/>
                <a:gd name="connsiteY196" fmla="*/ 1035497 h 1333436"/>
                <a:gd name="connsiteX197" fmla="*/ 142497 w 752994"/>
                <a:gd name="connsiteY197" fmla="*/ 1028766 h 1333436"/>
                <a:gd name="connsiteX198" fmla="*/ 140864 w 752994"/>
                <a:gd name="connsiteY198" fmla="*/ 1020620 h 1333436"/>
                <a:gd name="connsiteX199" fmla="*/ 138212 w 752994"/>
                <a:gd name="connsiteY199" fmla="*/ 1013061 h 1333436"/>
                <a:gd name="connsiteX200" fmla="*/ 131064 w 752994"/>
                <a:gd name="connsiteY200" fmla="*/ 1007159 h 1333436"/>
                <a:gd name="connsiteX201" fmla="*/ 121264 w 752994"/>
                <a:gd name="connsiteY201" fmla="*/ 1005330 h 1333436"/>
                <a:gd name="connsiteX202" fmla="*/ 112483 w 752994"/>
                <a:gd name="connsiteY202" fmla="*/ 1001671 h 1333436"/>
                <a:gd name="connsiteX203" fmla="*/ 105950 w 752994"/>
                <a:gd name="connsiteY203" fmla="*/ 995734 h 1333436"/>
                <a:gd name="connsiteX204" fmla="*/ 97380 w 752994"/>
                <a:gd name="connsiteY204" fmla="*/ 994526 h 1333436"/>
                <a:gd name="connsiteX205" fmla="*/ 87984 w 752994"/>
                <a:gd name="connsiteY205" fmla="*/ 991040 h 1333436"/>
                <a:gd name="connsiteX206" fmla="*/ 80029 w 752994"/>
                <a:gd name="connsiteY206" fmla="*/ 985138 h 1333436"/>
                <a:gd name="connsiteX207" fmla="*/ 77166 w 752994"/>
                <a:gd name="connsiteY207" fmla="*/ 976164 h 1333436"/>
                <a:gd name="connsiteX208" fmla="*/ 79203 w 752994"/>
                <a:gd name="connsiteY208" fmla="*/ 970676 h 1333436"/>
                <a:gd name="connsiteX209" fmla="*/ 82470 w 752994"/>
                <a:gd name="connsiteY209" fmla="*/ 963117 h 1333436"/>
                <a:gd name="connsiteX210" fmla="*/ 84314 w 752994"/>
                <a:gd name="connsiteY210" fmla="*/ 954557 h 1333436"/>
                <a:gd name="connsiteX211" fmla="*/ 86351 w 752994"/>
                <a:gd name="connsiteY211" fmla="*/ 948033 h 1333436"/>
                <a:gd name="connsiteX212" fmla="*/ 86159 w 752994"/>
                <a:gd name="connsiteY212" fmla="*/ 942925 h 1333436"/>
                <a:gd name="connsiteX213" fmla="*/ 83085 w 752994"/>
                <a:gd name="connsiteY213" fmla="*/ 939853 h 1333436"/>
                <a:gd name="connsiteX214" fmla="*/ 77570 w 752994"/>
                <a:gd name="connsiteY214" fmla="*/ 937437 h 1333436"/>
                <a:gd name="connsiteX215" fmla="*/ 76763 w 752994"/>
                <a:gd name="connsiteY215" fmla="*/ 931915 h 1333436"/>
                <a:gd name="connsiteX216" fmla="*/ 78800 w 752994"/>
                <a:gd name="connsiteY216" fmla="*/ 927013 h 1333436"/>
                <a:gd name="connsiteX217" fmla="*/ 79626 w 752994"/>
                <a:gd name="connsiteY217" fmla="*/ 922526 h 1333436"/>
                <a:gd name="connsiteX218" fmla="*/ 77781 w 752994"/>
                <a:gd name="connsiteY218" fmla="*/ 919903 h 1333436"/>
                <a:gd name="connsiteX219" fmla="*/ 74303 w 752994"/>
                <a:gd name="connsiteY219" fmla="*/ 917418 h 1333436"/>
                <a:gd name="connsiteX220" fmla="*/ 71863 w 752994"/>
                <a:gd name="connsiteY220" fmla="*/ 915174 h 1333436"/>
                <a:gd name="connsiteX221" fmla="*/ 71652 w 752994"/>
                <a:gd name="connsiteY221" fmla="*/ 910894 h 1333436"/>
                <a:gd name="connsiteX222" fmla="*/ 70633 w 752994"/>
                <a:gd name="connsiteY222" fmla="*/ 906614 h 1333436"/>
                <a:gd name="connsiteX223" fmla="*/ 68385 w 752994"/>
                <a:gd name="connsiteY223" fmla="*/ 902749 h 1333436"/>
                <a:gd name="connsiteX224" fmla="*/ 61045 w 752994"/>
                <a:gd name="connsiteY224" fmla="*/ 889494 h 1333436"/>
                <a:gd name="connsiteX225" fmla="*/ 57971 w 752994"/>
                <a:gd name="connsiteY225" fmla="*/ 875619 h 1333436"/>
                <a:gd name="connsiteX226" fmla="*/ 52264 w 752994"/>
                <a:gd name="connsiteY226" fmla="*/ 862572 h 1333436"/>
                <a:gd name="connsiteX227" fmla="*/ 44309 w 752994"/>
                <a:gd name="connsiteY227" fmla="*/ 850561 h 1333436"/>
                <a:gd name="connsiteX228" fmla="*/ 45520 w 752994"/>
                <a:gd name="connsiteY228" fmla="*/ 827090 h 1333436"/>
                <a:gd name="connsiteX229" fmla="*/ 53071 w 752994"/>
                <a:gd name="connsiteY229" fmla="*/ 822396 h 1333436"/>
                <a:gd name="connsiteX230" fmla="*/ 57375 w 752994"/>
                <a:gd name="connsiteY230" fmla="*/ 816493 h 1333436"/>
                <a:gd name="connsiteX231" fmla="*/ 55319 w 752994"/>
                <a:gd name="connsiteY231" fmla="*/ 801617 h 1333436"/>
                <a:gd name="connsiteX232" fmla="*/ 48383 w 752994"/>
                <a:gd name="connsiteY232" fmla="*/ 802204 h 1333436"/>
                <a:gd name="connsiteX233" fmla="*/ 40428 w 752994"/>
                <a:gd name="connsiteY233" fmla="*/ 797924 h 1333436"/>
                <a:gd name="connsiteX234" fmla="*/ 37565 w 752994"/>
                <a:gd name="connsiteY234" fmla="*/ 790606 h 1333436"/>
                <a:gd name="connsiteX235" fmla="*/ 37565 w 752994"/>
                <a:gd name="connsiteY235" fmla="*/ 790399 h 1333436"/>
                <a:gd name="connsiteX236" fmla="*/ 35931 w 752994"/>
                <a:gd name="connsiteY236" fmla="*/ 785912 h 1333436"/>
                <a:gd name="connsiteX237" fmla="*/ 34510 w 752994"/>
                <a:gd name="connsiteY237" fmla="*/ 780597 h 1333436"/>
                <a:gd name="connsiteX238" fmla="*/ 36335 w 752994"/>
                <a:gd name="connsiteY238" fmla="*/ 774280 h 1333436"/>
                <a:gd name="connsiteX239" fmla="*/ 38180 w 752994"/>
                <a:gd name="connsiteY239" fmla="*/ 766721 h 1333436"/>
                <a:gd name="connsiteX240" fmla="*/ 37161 w 752994"/>
                <a:gd name="connsiteY240" fmla="*/ 760405 h 1333436"/>
                <a:gd name="connsiteX241" fmla="*/ 35720 w 752994"/>
                <a:gd name="connsiteY241" fmla="*/ 754710 h 1333436"/>
                <a:gd name="connsiteX242" fmla="*/ 36546 w 752994"/>
                <a:gd name="connsiteY242" fmla="*/ 748773 h 1333436"/>
                <a:gd name="connsiteX243" fmla="*/ 38372 w 752994"/>
                <a:gd name="connsiteY243" fmla="*/ 744528 h 1333436"/>
                <a:gd name="connsiteX244" fmla="*/ 41638 w 752994"/>
                <a:gd name="connsiteY244" fmla="*/ 744321 h 1333436"/>
                <a:gd name="connsiteX245" fmla="*/ 44713 w 752994"/>
                <a:gd name="connsiteY245" fmla="*/ 746357 h 1333436"/>
                <a:gd name="connsiteX246" fmla="*/ 47364 w 752994"/>
                <a:gd name="connsiteY246" fmla="*/ 753260 h 1333436"/>
                <a:gd name="connsiteX247" fmla="*/ 55742 w 752994"/>
                <a:gd name="connsiteY247" fmla="*/ 764305 h 1333436"/>
                <a:gd name="connsiteX248" fmla="*/ 56338 w 752994"/>
                <a:gd name="connsiteY248" fmla="*/ 761233 h 1333436"/>
                <a:gd name="connsiteX249" fmla="*/ 56145 w 752994"/>
                <a:gd name="connsiteY249" fmla="*/ 757368 h 1333436"/>
                <a:gd name="connsiteX250" fmla="*/ 54916 w 752994"/>
                <a:gd name="connsiteY250" fmla="*/ 748601 h 1333436"/>
                <a:gd name="connsiteX251" fmla="*/ 52879 w 752994"/>
                <a:gd name="connsiteY251" fmla="*/ 747358 h 1333436"/>
                <a:gd name="connsiteX252" fmla="*/ 51649 w 752994"/>
                <a:gd name="connsiteY252" fmla="*/ 745322 h 1333436"/>
                <a:gd name="connsiteX253" fmla="*/ 51649 w 752994"/>
                <a:gd name="connsiteY253" fmla="*/ 739212 h 1333436"/>
                <a:gd name="connsiteX254" fmla="*/ 50227 w 752994"/>
                <a:gd name="connsiteY254" fmla="*/ 734725 h 1333436"/>
                <a:gd name="connsiteX255" fmla="*/ 48786 w 752994"/>
                <a:gd name="connsiteY255" fmla="*/ 731446 h 1333436"/>
                <a:gd name="connsiteX256" fmla="*/ 54512 w 752994"/>
                <a:gd name="connsiteY256" fmla="*/ 726372 h 1333436"/>
                <a:gd name="connsiteX257" fmla="*/ 59815 w 752994"/>
                <a:gd name="connsiteY257" fmla="*/ 725130 h 1333436"/>
                <a:gd name="connsiteX258" fmla="*/ 58182 w 752994"/>
                <a:gd name="connsiteY258" fmla="*/ 722886 h 1333436"/>
                <a:gd name="connsiteX259" fmla="*/ 51861 w 752994"/>
                <a:gd name="connsiteY259" fmla="*/ 717985 h 1333436"/>
                <a:gd name="connsiteX260" fmla="*/ 46749 w 752994"/>
                <a:gd name="connsiteY260" fmla="*/ 729617 h 1333436"/>
                <a:gd name="connsiteX261" fmla="*/ 40831 w 752994"/>
                <a:gd name="connsiteY261" fmla="*/ 739212 h 1333436"/>
                <a:gd name="connsiteX262" fmla="*/ 39601 w 752994"/>
                <a:gd name="connsiteY262" fmla="*/ 738798 h 1333436"/>
                <a:gd name="connsiteX263" fmla="*/ 39409 w 752994"/>
                <a:gd name="connsiteY263" fmla="*/ 738591 h 1333436"/>
                <a:gd name="connsiteX264" fmla="*/ 37161 w 752994"/>
                <a:gd name="connsiteY264" fmla="*/ 734725 h 1333436"/>
                <a:gd name="connsiteX265" fmla="*/ 32665 w 752994"/>
                <a:gd name="connsiteY265" fmla="*/ 727788 h 1333436"/>
                <a:gd name="connsiteX266" fmla="*/ 26747 w 752994"/>
                <a:gd name="connsiteY266" fmla="*/ 719435 h 1333436"/>
                <a:gd name="connsiteX267" fmla="*/ 23884 w 752994"/>
                <a:gd name="connsiteY267" fmla="*/ 717812 h 1333436"/>
                <a:gd name="connsiteX268" fmla="*/ 24710 w 752994"/>
                <a:gd name="connsiteY268" fmla="*/ 709632 h 1333436"/>
                <a:gd name="connsiteX269" fmla="*/ 27554 w 752994"/>
                <a:gd name="connsiteY269" fmla="*/ 701694 h 1333436"/>
                <a:gd name="connsiteX270" fmla="*/ 24902 w 752994"/>
                <a:gd name="connsiteY270" fmla="*/ 696171 h 1333436"/>
                <a:gd name="connsiteX271" fmla="*/ 24095 w 752994"/>
                <a:gd name="connsiteY271" fmla="*/ 687818 h 1333436"/>
                <a:gd name="connsiteX272" fmla="*/ 22462 w 752994"/>
                <a:gd name="connsiteY272" fmla="*/ 682330 h 1333436"/>
                <a:gd name="connsiteX273" fmla="*/ 17159 w 752994"/>
                <a:gd name="connsiteY273" fmla="*/ 677636 h 1333436"/>
                <a:gd name="connsiteX274" fmla="*/ 14296 w 752994"/>
                <a:gd name="connsiteY274" fmla="*/ 671492 h 1333436"/>
                <a:gd name="connsiteX275" fmla="*/ 12451 w 752994"/>
                <a:gd name="connsiteY275" fmla="*/ 665797 h 1333436"/>
                <a:gd name="connsiteX276" fmla="*/ 5111 w 752994"/>
                <a:gd name="connsiteY276" fmla="*/ 654994 h 1333436"/>
                <a:gd name="connsiteX277" fmla="*/ 2248 w 752994"/>
                <a:gd name="connsiteY277" fmla="*/ 645605 h 1333436"/>
                <a:gd name="connsiteX278" fmla="*/ 4496 w 752994"/>
                <a:gd name="connsiteY278" fmla="*/ 640497 h 1333436"/>
                <a:gd name="connsiteX279" fmla="*/ 6744 w 752994"/>
                <a:gd name="connsiteY279" fmla="*/ 632765 h 1333436"/>
                <a:gd name="connsiteX280" fmla="*/ 6744 w 752994"/>
                <a:gd name="connsiteY280" fmla="*/ 628485 h 1333436"/>
                <a:gd name="connsiteX281" fmla="*/ 6533 w 752994"/>
                <a:gd name="connsiteY281" fmla="*/ 620305 h 1333436"/>
                <a:gd name="connsiteX282" fmla="*/ 7359 w 752994"/>
                <a:gd name="connsiteY282" fmla="*/ 611745 h 1333436"/>
                <a:gd name="connsiteX283" fmla="*/ 11836 w 752994"/>
                <a:gd name="connsiteY283" fmla="*/ 602978 h 1333436"/>
                <a:gd name="connsiteX284" fmla="*/ 15103 w 752994"/>
                <a:gd name="connsiteY284" fmla="*/ 591760 h 1333436"/>
                <a:gd name="connsiteX285" fmla="*/ 14488 w 752994"/>
                <a:gd name="connsiteY285" fmla="*/ 584029 h 1333436"/>
                <a:gd name="connsiteX286" fmla="*/ 13873 w 752994"/>
                <a:gd name="connsiteY286" fmla="*/ 578299 h 1333436"/>
                <a:gd name="connsiteX287" fmla="*/ 10626 w 752994"/>
                <a:gd name="connsiteY287" fmla="*/ 568531 h 1333436"/>
                <a:gd name="connsiteX288" fmla="*/ 3670 w 752994"/>
                <a:gd name="connsiteY288" fmla="*/ 558107 h 1333436"/>
                <a:gd name="connsiteX289" fmla="*/ 0 w 752994"/>
                <a:gd name="connsiteY289" fmla="*/ 551377 h 1333436"/>
                <a:gd name="connsiteX290" fmla="*/ 0 w 752994"/>
                <a:gd name="connsiteY290" fmla="*/ 550997 h 1333436"/>
                <a:gd name="connsiteX291" fmla="*/ 4900 w 752994"/>
                <a:gd name="connsiteY291" fmla="*/ 531220 h 1333436"/>
                <a:gd name="connsiteX292" fmla="*/ 13873 w 752994"/>
                <a:gd name="connsiteY292" fmla="*/ 520589 h 1333436"/>
                <a:gd name="connsiteX293" fmla="*/ 18369 w 752994"/>
                <a:gd name="connsiteY293" fmla="*/ 516516 h 1333436"/>
                <a:gd name="connsiteX294" fmla="*/ 18773 w 752994"/>
                <a:gd name="connsiteY294" fmla="*/ 514272 h 1333436"/>
                <a:gd name="connsiteX295" fmla="*/ 23077 w 752994"/>
                <a:gd name="connsiteY295" fmla="*/ 506127 h 1333436"/>
                <a:gd name="connsiteX296" fmla="*/ 23884 w 752994"/>
                <a:gd name="connsiteY296" fmla="*/ 502261 h 1333436"/>
                <a:gd name="connsiteX297" fmla="*/ 23692 w 752994"/>
                <a:gd name="connsiteY297" fmla="*/ 496738 h 1333436"/>
                <a:gd name="connsiteX298" fmla="*/ 30013 w 752994"/>
                <a:gd name="connsiteY298" fmla="*/ 486556 h 1333436"/>
                <a:gd name="connsiteX299" fmla="*/ 36546 w 752994"/>
                <a:gd name="connsiteY299" fmla="*/ 470230 h 1333436"/>
                <a:gd name="connsiteX300" fmla="*/ 36546 w 752994"/>
                <a:gd name="connsiteY300" fmla="*/ 462671 h 1333436"/>
                <a:gd name="connsiteX301" fmla="*/ 36335 w 752994"/>
                <a:gd name="connsiteY301" fmla="*/ 461670 h 1333436"/>
                <a:gd name="connsiteX302" fmla="*/ 35931 w 752994"/>
                <a:gd name="connsiteY302" fmla="*/ 453110 h 1333436"/>
                <a:gd name="connsiteX303" fmla="*/ 38583 w 752994"/>
                <a:gd name="connsiteY303" fmla="*/ 442514 h 1333436"/>
                <a:gd name="connsiteX304" fmla="*/ 41043 w 752994"/>
                <a:gd name="connsiteY304" fmla="*/ 436991 h 1333436"/>
                <a:gd name="connsiteX305" fmla="*/ 41650 w 752994"/>
                <a:gd name="connsiteY305" fmla="*/ 437186 h 1333436"/>
                <a:gd name="connsiteX306" fmla="*/ 41239 w 752994"/>
                <a:gd name="connsiteY306" fmla="*/ 436549 h 1333436"/>
                <a:gd name="connsiteX307" fmla="*/ 37778 w 752994"/>
                <a:gd name="connsiteY307" fmla="*/ 433894 h 1333436"/>
                <a:gd name="connsiteX308" fmla="*/ 37169 w 752994"/>
                <a:gd name="connsiteY308" fmla="*/ 432261 h 1333436"/>
                <a:gd name="connsiteX309" fmla="*/ 37365 w 752994"/>
                <a:gd name="connsiteY309" fmla="*/ 429198 h 1333436"/>
                <a:gd name="connsiteX310" fmla="*/ 36756 w 752994"/>
                <a:gd name="connsiteY310" fmla="*/ 422272 h 1333436"/>
                <a:gd name="connsiteX311" fmla="*/ 36952 w 752994"/>
                <a:gd name="connsiteY311" fmla="*/ 418800 h 1333436"/>
                <a:gd name="connsiteX312" fmla="*/ 36756 w 752994"/>
                <a:gd name="connsiteY312" fmla="*/ 412487 h 1333436"/>
                <a:gd name="connsiteX313" fmla="*/ 40433 w 752994"/>
                <a:gd name="connsiteY313" fmla="*/ 406174 h 1333436"/>
                <a:gd name="connsiteX314" fmla="*/ 44720 w 752994"/>
                <a:gd name="connsiteY314" fmla="*/ 399435 h 1333436"/>
                <a:gd name="connsiteX315" fmla="*/ 44110 w 752994"/>
                <a:gd name="connsiteY315" fmla="*/ 389651 h 1333436"/>
                <a:gd name="connsiteX316" fmla="*/ 43894 w 752994"/>
                <a:gd name="connsiteY316" fmla="*/ 378437 h 1333436"/>
                <a:gd name="connsiteX317" fmla="*/ 47158 w 752994"/>
                <a:gd name="connsiteY317" fmla="*/ 371102 h 1333436"/>
                <a:gd name="connsiteX318" fmla="*/ 55731 w 752994"/>
                <a:gd name="connsiteY318" fmla="*/ 360909 h 1333436"/>
                <a:gd name="connsiteX319" fmla="*/ 57580 w 752994"/>
                <a:gd name="connsiteY319" fmla="*/ 355804 h 1333436"/>
                <a:gd name="connsiteX320" fmla="*/ 62673 w 752994"/>
                <a:gd name="connsiteY320" fmla="*/ 349695 h 1333436"/>
                <a:gd name="connsiteX321" fmla="*/ 65937 w 752994"/>
                <a:gd name="connsiteY321" fmla="*/ 348470 h 1333436"/>
                <a:gd name="connsiteX322" fmla="*/ 68395 w 752994"/>
                <a:gd name="connsiteY322" fmla="*/ 348674 h 1333436"/>
                <a:gd name="connsiteX323" fmla="*/ 70224 w 752994"/>
                <a:gd name="connsiteY323" fmla="*/ 347449 h 1333436"/>
                <a:gd name="connsiteX324" fmla="*/ 67785 w 752994"/>
                <a:gd name="connsiteY324" fmla="*/ 345203 h 1333436"/>
                <a:gd name="connsiteX325" fmla="*/ 65524 w 752994"/>
                <a:gd name="connsiteY325" fmla="*/ 343178 h 1333436"/>
                <a:gd name="connsiteX326" fmla="*/ 73095 w 752994"/>
                <a:gd name="connsiteY326" fmla="*/ 333376 h 1333436"/>
                <a:gd name="connsiteX327" fmla="*/ 73291 w 752994"/>
                <a:gd name="connsiteY327" fmla="*/ 333376 h 1333436"/>
                <a:gd name="connsiteX328" fmla="*/ 77991 w 752994"/>
                <a:gd name="connsiteY328" fmla="*/ 325838 h 1333436"/>
                <a:gd name="connsiteX329" fmla="*/ 82671 w 752994"/>
                <a:gd name="connsiteY329" fmla="*/ 313619 h 1333436"/>
                <a:gd name="connsiteX330" fmla="*/ 87980 w 752994"/>
                <a:gd name="connsiteY330" fmla="*/ 303018 h 1333436"/>
                <a:gd name="connsiteX331" fmla="*/ 92267 w 752994"/>
                <a:gd name="connsiteY331" fmla="*/ 291191 h 1333436"/>
                <a:gd name="connsiteX332" fmla="*/ 96553 w 752994"/>
                <a:gd name="connsiteY332" fmla="*/ 281202 h 1333436"/>
                <a:gd name="connsiteX333" fmla="*/ 99621 w 752994"/>
                <a:gd name="connsiteY333" fmla="*/ 274481 h 1333436"/>
                <a:gd name="connsiteX334" fmla="*/ 103082 w 752994"/>
                <a:gd name="connsiteY334" fmla="*/ 262450 h 1333436"/>
                <a:gd name="connsiteX335" fmla="*/ 107172 w 752994"/>
                <a:gd name="connsiteY335" fmla="*/ 254299 h 1333436"/>
                <a:gd name="connsiteX336" fmla="*/ 112481 w 752994"/>
                <a:gd name="connsiteY336" fmla="*/ 243697 h 1333436"/>
                <a:gd name="connsiteX337" fmla="*/ 117181 w 752994"/>
                <a:gd name="connsiteY337" fmla="*/ 232279 h 1333436"/>
                <a:gd name="connsiteX338" fmla="*/ 125951 w 752994"/>
                <a:gd name="connsiteY338" fmla="*/ 217389 h 1333436"/>
                <a:gd name="connsiteX339" fmla="*/ 136156 w 752994"/>
                <a:gd name="connsiteY339" fmla="*/ 202925 h 1333436"/>
                <a:gd name="connsiteX340" fmla="*/ 138811 w 752994"/>
                <a:gd name="connsiteY340" fmla="*/ 183339 h 1333436"/>
                <a:gd name="connsiteX341" fmla="*/ 148801 w 752994"/>
                <a:gd name="connsiteY341" fmla="*/ 167445 h 1333436"/>
                <a:gd name="connsiteX342" fmla="*/ 159616 w 752994"/>
                <a:gd name="connsiteY342" fmla="*/ 170712 h 1333436"/>
                <a:gd name="connsiteX343" fmla="*/ 173105 w 752994"/>
                <a:gd name="connsiteY343" fmla="*/ 175188 h 1333436"/>
                <a:gd name="connsiteX344" fmla="*/ 175347 w 752994"/>
                <a:gd name="connsiteY344" fmla="*/ 175188 h 1333436"/>
                <a:gd name="connsiteX345" fmla="*/ 175347 w 752994"/>
                <a:gd name="connsiteY345" fmla="*/ 173758 h 1333436"/>
                <a:gd name="connsiteX346" fmla="*/ 184975 w 752994"/>
                <a:gd name="connsiteY346" fmla="*/ 187393 h 1333436"/>
                <a:gd name="connsiteX347" fmla="*/ 184762 w 752994"/>
                <a:gd name="connsiteY347" fmla="*/ 184637 h 1333436"/>
                <a:gd name="connsiteX348" fmla="*/ 174971 w 752994"/>
                <a:gd name="connsiteY348" fmla="*/ 170774 h 1333436"/>
                <a:gd name="connsiteX349" fmla="*/ 174971 w 752994"/>
                <a:gd name="connsiteY349" fmla="*/ 169550 h 1333436"/>
                <a:gd name="connsiteX350" fmla="*/ 158851 w 752994"/>
                <a:gd name="connsiteY350" fmla="*/ 156924 h 1333436"/>
                <a:gd name="connsiteX351" fmla="*/ 147025 w 752994"/>
                <a:gd name="connsiteY351" fmla="*/ 145709 h 1333436"/>
                <a:gd name="connsiteX352" fmla="*/ 154364 w 752994"/>
                <a:gd name="connsiteY352" fmla="*/ 136335 h 1333436"/>
                <a:gd name="connsiteX353" fmla="*/ 161511 w 752994"/>
                <a:gd name="connsiteY353" fmla="*/ 131042 h 1333436"/>
                <a:gd name="connsiteX354" fmla="*/ 160902 w 752994"/>
                <a:gd name="connsiteY354" fmla="*/ 128384 h 1333436"/>
                <a:gd name="connsiteX355" fmla="*/ 160277 w 752994"/>
                <a:gd name="connsiteY355" fmla="*/ 127778 h 1333436"/>
                <a:gd name="connsiteX356" fmla="*/ 154973 w 752994"/>
                <a:gd name="connsiteY356" fmla="*/ 122077 h 1333436"/>
                <a:gd name="connsiteX357" fmla="*/ 160277 w 752994"/>
                <a:gd name="connsiteY357" fmla="*/ 115140 h 1333436"/>
                <a:gd name="connsiteX358" fmla="*/ 165181 w 752994"/>
                <a:gd name="connsiteY358" fmla="*/ 108215 h 1333436"/>
                <a:gd name="connsiteX359" fmla="*/ 161303 w 752994"/>
                <a:gd name="connsiteY359" fmla="*/ 104146 h 1333436"/>
                <a:gd name="connsiteX360" fmla="*/ 157842 w 752994"/>
                <a:gd name="connsiteY360" fmla="*/ 104542 h 1333436"/>
                <a:gd name="connsiteX361" fmla="*/ 157024 w 752994"/>
                <a:gd name="connsiteY361" fmla="*/ 102304 h 1333436"/>
                <a:gd name="connsiteX362" fmla="*/ 160694 w 752994"/>
                <a:gd name="connsiteY362" fmla="*/ 55437 h 1333436"/>
                <a:gd name="connsiteX363" fmla="*/ 160486 w 752994"/>
                <a:gd name="connsiteY363" fmla="*/ 31991 h 1333436"/>
                <a:gd name="connsiteX364" fmla="*/ 164972 w 752994"/>
                <a:gd name="connsiteY364" fmla="*/ 18141 h 1333436"/>
                <a:gd name="connsiteX365" fmla="*/ 171911 w 752994"/>
                <a:gd name="connsiteY365" fmla="*/ 11204 h 1333436"/>
                <a:gd name="connsiteX366" fmla="*/ 187406 w 752994"/>
                <a:gd name="connsiteY366" fmla="*/ 21801 h 1333436"/>
                <a:gd name="connsiteX367" fmla="*/ 210866 w 752994"/>
                <a:gd name="connsiteY367" fmla="*/ 37086 h 1333436"/>
                <a:gd name="connsiteX368" fmla="*/ 219230 w 752994"/>
                <a:gd name="connsiteY368" fmla="*/ 41166 h 1333436"/>
                <a:gd name="connsiteX369" fmla="*/ 226778 w 752994"/>
                <a:gd name="connsiteY369" fmla="*/ 47486 h 1333436"/>
                <a:gd name="connsiteX370" fmla="*/ 236152 w 752994"/>
                <a:gd name="connsiteY370" fmla="*/ 52370 h 1333436"/>
                <a:gd name="connsiteX371" fmla="*/ 239629 w 752994"/>
                <a:gd name="connsiteY371" fmla="*/ 58491 h 1333436"/>
                <a:gd name="connsiteX372" fmla="*/ 239629 w 752994"/>
                <a:gd name="connsiteY372" fmla="*/ 63376 h 1333436"/>
                <a:gd name="connsiteX373" fmla="*/ 236568 w 752994"/>
                <a:gd name="connsiteY373" fmla="*/ 67457 h 1333436"/>
                <a:gd name="connsiteX374" fmla="*/ 231264 w 752994"/>
                <a:gd name="connsiteY374" fmla="*/ 69905 h 1333436"/>
                <a:gd name="connsiteX375" fmla="*/ 216778 w 752994"/>
                <a:gd name="connsiteY375" fmla="*/ 82741 h 1333436"/>
                <a:gd name="connsiteX376" fmla="*/ 214134 w 752994"/>
                <a:gd name="connsiteY376" fmla="*/ 93536 h 1333436"/>
                <a:gd name="connsiteX377" fmla="*/ 214535 w 752994"/>
                <a:gd name="connsiteY377" fmla="*/ 96801 h 1333436"/>
                <a:gd name="connsiteX378" fmla="*/ 216378 w 752994"/>
                <a:gd name="connsiteY378" fmla="*/ 96801 h 1333436"/>
                <a:gd name="connsiteX379" fmla="*/ 230046 w 752994"/>
                <a:gd name="connsiteY379" fmla="*/ 85387 h 1333436"/>
                <a:gd name="connsiteX380" fmla="*/ 243298 w 752994"/>
                <a:gd name="connsiteY380" fmla="*/ 75198 h 1333436"/>
                <a:gd name="connsiteX381" fmla="*/ 246760 w 752994"/>
                <a:gd name="connsiteY381" fmla="*/ 77646 h 1333436"/>
                <a:gd name="connsiteX382" fmla="*/ 255541 w 752994"/>
                <a:gd name="connsiteY382" fmla="*/ 63376 h 1333436"/>
                <a:gd name="connsiteX383" fmla="*/ 259611 w 752994"/>
                <a:gd name="connsiteY383" fmla="*/ 43405 h 1333436"/>
                <a:gd name="connsiteX384" fmla="*/ 256967 w 752994"/>
                <a:gd name="connsiteY384" fmla="*/ 38520 h 1333436"/>
                <a:gd name="connsiteX385" fmla="*/ 253906 w 752994"/>
                <a:gd name="connsiteY385" fmla="*/ 34242 h 1333436"/>
                <a:gd name="connsiteX386" fmla="*/ 256967 w 752994"/>
                <a:gd name="connsiteY386" fmla="*/ 30161 h 1333436"/>
                <a:gd name="connsiteX387" fmla="*/ 262063 w 752994"/>
                <a:gd name="connsiteY387" fmla="*/ 27712 h 1333436"/>
                <a:gd name="connsiteX388" fmla="*/ 264915 w 752994"/>
                <a:gd name="connsiteY388" fmla="*/ 23026 h 1333436"/>
                <a:gd name="connsiteX389" fmla="*/ 267976 w 752994"/>
                <a:gd name="connsiteY389" fmla="*/ 22618 h 1333436"/>
                <a:gd name="connsiteX390" fmla="*/ 270427 w 752994"/>
                <a:gd name="connsiteY390" fmla="*/ 20787 h 1333436"/>
                <a:gd name="connsiteX391" fmla="*/ 263088 w 752994"/>
                <a:gd name="connsiteY391" fmla="*/ 13652 h 1333436"/>
                <a:gd name="connsiteX392" fmla="*/ 255541 w 752994"/>
                <a:gd name="connsiteY392" fmla="*/ 3055 h 1333436"/>
                <a:gd name="connsiteX393" fmla="*/ 256358 w 752994"/>
                <a:gd name="connsiteY393" fmla="*/ 1224 h 1333436"/>
                <a:gd name="connsiteX394" fmla="*/ 257159 w 752994"/>
                <a:gd name="connsiteY394"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403787 w 752994"/>
                <a:gd name="connsiteY163" fmla="*/ 963290 h 1333436"/>
                <a:gd name="connsiteX164" fmla="*/ 404052 w 752994"/>
                <a:gd name="connsiteY164" fmla="*/ 963688 h 1333436"/>
                <a:gd name="connsiteX165" fmla="*/ 406917 w 752994"/>
                <a:gd name="connsiteY165" fmla="*/ 957427 h 1333436"/>
                <a:gd name="connsiteX166" fmla="*/ 414454 w 752994"/>
                <a:gd name="connsiteY166" fmla="*/ 952534 h 1333436"/>
                <a:gd name="connsiteX167" fmla="*/ 419146 w 752994"/>
                <a:gd name="connsiteY167" fmla="*/ 954567 h 1333436"/>
                <a:gd name="connsiteX168" fmla="*/ 425469 w 752994"/>
                <a:gd name="connsiteY168" fmla="*/ 956803 h 1333436"/>
                <a:gd name="connsiteX169" fmla="*/ 689408 w 752994"/>
                <a:gd name="connsiteY169" fmla="*/ 945184 h 1333436"/>
                <a:gd name="connsiteX170" fmla="*/ 710622 w 752994"/>
                <a:gd name="connsiteY170" fmla="*/ 948043 h 1333436"/>
                <a:gd name="connsiteX171" fmla="*/ 654533 w 752994"/>
                <a:gd name="connsiteY171" fmla="*/ 1333436 h 1333436"/>
                <a:gd name="connsiteX172" fmla="*/ 546831 w 752994"/>
                <a:gd name="connsiteY172" fmla="*/ 1317126 h 1333436"/>
                <a:gd name="connsiteX173" fmla="*/ 351227 w 752994"/>
                <a:gd name="connsiteY173" fmla="*/ 1194172 h 1333436"/>
                <a:gd name="connsiteX174" fmla="*/ 361011 w 752994"/>
                <a:gd name="connsiteY174" fmla="*/ 1182755 h 1333436"/>
                <a:gd name="connsiteX175" fmla="*/ 368981 w 752994"/>
                <a:gd name="connsiteY175" fmla="*/ 1182130 h 1333436"/>
                <a:gd name="connsiteX176" fmla="*/ 369571 w 752994"/>
                <a:gd name="connsiteY176" fmla="*/ 1181558 h 1333436"/>
                <a:gd name="connsiteX177" fmla="*/ 362372 w 752994"/>
                <a:gd name="connsiteY177" fmla="*/ 1182120 h 1333436"/>
                <a:gd name="connsiteX178" fmla="*/ 229464 w 752994"/>
                <a:gd name="connsiteY178" fmla="*/ 1161721 h 1333436"/>
                <a:gd name="connsiteX179" fmla="*/ 227427 w 752994"/>
                <a:gd name="connsiteY179" fmla="*/ 1157269 h 1333436"/>
                <a:gd name="connsiteX180" fmla="*/ 224967 w 752994"/>
                <a:gd name="connsiteY180" fmla="*/ 1152575 h 1333436"/>
                <a:gd name="connsiteX181" fmla="*/ 225582 w 752994"/>
                <a:gd name="connsiteY181" fmla="*/ 1144808 h 1333436"/>
                <a:gd name="connsiteX182" fmla="*/ 227215 w 752994"/>
                <a:gd name="connsiteY182" fmla="*/ 1135834 h 1333436"/>
                <a:gd name="connsiteX183" fmla="*/ 227215 w 752994"/>
                <a:gd name="connsiteY183" fmla="*/ 1134212 h 1333436"/>
                <a:gd name="connsiteX184" fmla="*/ 225179 w 752994"/>
                <a:gd name="connsiteY184" fmla="*/ 1114020 h 1333436"/>
                <a:gd name="connsiteX185" fmla="*/ 217839 w 752994"/>
                <a:gd name="connsiteY185" fmla="*/ 1100352 h 1333436"/>
                <a:gd name="connsiteX186" fmla="*/ 199661 w 752994"/>
                <a:gd name="connsiteY186" fmla="*/ 1076502 h 1333436"/>
                <a:gd name="connsiteX187" fmla="*/ 196395 w 752994"/>
                <a:gd name="connsiteY187" fmla="*/ 1071807 h 1333436"/>
                <a:gd name="connsiteX188" fmla="*/ 190880 w 752994"/>
                <a:gd name="connsiteY188" fmla="*/ 1067527 h 1333436"/>
                <a:gd name="connsiteX189" fmla="*/ 187210 w 752994"/>
                <a:gd name="connsiteY189" fmla="*/ 1068735 h 1333436"/>
                <a:gd name="connsiteX190" fmla="*/ 180062 w 752994"/>
                <a:gd name="connsiteY190" fmla="*/ 1066699 h 1333436"/>
                <a:gd name="connsiteX191" fmla="*/ 180466 w 752994"/>
                <a:gd name="connsiteY191" fmla="*/ 1053031 h 1333436"/>
                <a:gd name="connsiteX192" fmla="*/ 180062 w 752994"/>
                <a:gd name="connsiteY192" fmla="*/ 1045299 h 1333436"/>
                <a:gd name="connsiteX193" fmla="*/ 174144 w 752994"/>
                <a:gd name="connsiteY193" fmla="*/ 1044057 h 1333436"/>
                <a:gd name="connsiteX194" fmla="*/ 158426 w 752994"/>
                <a:gd name="connsiteY194" fmla="*/ 1042641 h 1333436"/>
                <a:gd name="connsiteX195" fmla="*/ 149857 w 752994"/>
                <a:gd name="connsiteY195" fmla="*/ 1035497 h 1333436"/>
                <a:gd name="connsiteX196" fmla="*/ 142497 w 752994"/>
                <a:gd name="connsiteY196" fmla="*/ 1028766 h 1333436"/>
                <a:gd name="connsiteX197" fmla="*/ 140864 w 752994"/>
                <a:gd name="connsiteY197" fmla="*/ 1020620 h 1333436"/>
                <a:gd name="connsiteX198" fmla="*/ 138212 w 752994"/>
                <a:gd name="connsiteY198" fmla="*/ 1013061 h 1333436"/>
                <a:gd name="connsiteX199" fmla="*/ 131064 w 752994"/>
                <a:gd name="connsiteY199" fmla="*/ 1007159 h 1333436"/>
                <a:gd name="connsiteX200" fmla="*/ 121264 w 752994"/>
                <a:gd name="connsiteY200" fmla="*/ 1005330 h 1333436"/>
                <a:gd name="connsiteX201" fmla="*/ 112483 w 752994"/>
                <a:gd name="connsiteY201" fmla="*/ 1001671 h 1333436"/>
                <a:gd name="connsiteX202" fmla="*/ 105950 w 752994"/>
                <a:gd name="connsiteY202" fmla="*/ 995734 h 1333436"/>
                <a:gd name="connsiteX203" fmla="*/ 97380 w 752994"/>
                <a:gd name="connsiteY203" fmla="*/ 994526 h 1333436"/>
                <a:gd name="connsiteX204" fmla="*/ 87984 w 752994"/>
                <a:gd name="connsiteY204" fmla="*/ 991040 h 1333436"/>
                <a:gd name="connsiteX205" fmla="*/ 80029 w 752994"/>
                <a:gd name="connsiteY205" fmla="*/ 985138 h 1333436"/>
                <a:gd name="connsiteX206" fmla="*/ 77166 w 752994"/>
                <a:gd name="connsiteY206" fmla="*/ 976164 h 1333436"/>
                <a:gd name="connsiteX207" fmla="*/ 79203 w 752994"/>
                <a:gd name="connsiteY207" fmla="*/ 970676 h 1333436"/>
                <a:gd name="connsiteX208" fmla="*/ 82470 w 752994"/>
                <a:gd name="connsiteY208" fmla="*/ 963117 h 1333436"/>
                <a:gd name="connsiteX209" fmla="*/ 84314 w 752994"/>
                <a:gd name="connsiteY209" fmla="*/ 954557 h 1333436"/>
                <a:gd name="connsiteX210" fmla="*/ 86351 w 752994"/>
                <a:gd name="connsiteY210" fmla="*/ 948033 h 1333436"/>
                <a:gd name="connsiteX211" fmla="*/ 86159 w 752994"/>
                <a:gd name="connsiteY211" fmla="*/ 942925 h 1333436"/>
                <a:gd name="connsiteX212" fmla="*/ 83085 w 752994"/>
                <a:gd name="connsiteY212" fmla="*/ 939853 h 1333436"/>
                <a:gd name="connsiteX213" fmla="*/ 77570 w 752994"/>
                <a:gd name="connsiteY213" fmla="*/ 937437 h 1333436"/>
                <a:gd name="connsiteX214" fmla="*/ 76763 w 752994"/>
                <a:gd name="connsiteY214" fmla="*/ 931915 h 1333436"/>
                <a:gd name="connsiteX215" fmla="*/ 78800 w 752994"/>
                <a:gd name="connsiteY215" fmla="*/ 927013 h 1333436"/>
                <a:gd name="connsiteX216" fmla="*/ 79626 w 752994"/>
                <a:gd name="connsiteY216" fmla="*/ 922526 h 1333436"/>
                <a:gd name="connsiteX217" fmla="*/ 77781 w 752994"/>
                <a:gd name="connsiteY217" fmla="*/ 919903 h 1333436"/>
                <a:gd name="connsiteX218" fmla="*/ 74303 w 752994"/>
                <a:gd name="connsiteY218" fmla="*/ 917418 h 1333436"/>
                <a:gd name="connsiteX219" fmla="*/ 71863 w 752994"/>
                <a:gd name="connsiteY219" fmla="*/ 915174 h 1333436"/>
                <a:gd name="connsiteX220" fmla="*/ 71652 w 752994"/>
                <a:gd name="connsiteY220" fmla="*/ 910894 h 1333436"/>
                <a:gd name="connsiteX221" fmla="*/ 70633 w 752994"/>
                <a:gd name="connsiteY221" fmla="*/ 906614 h 1333436"/>
                <a:gd name="connsiteX222" fmla="*/ 68385 w 752994"/>
                <a:gd name="connsiteY222" fmla="*/ 902749 h 1333436"/>
                <a:gd name="connsiteX223" fmla="*/ 61045 w 752994"/>
                <a:gd name="connsiteY223" fmla="*/ 889494 h 1333436"/>
                <a:gd name="connsiteX224" fmla="*/ 57971 w 752994"/>
                <a:gd name="connsiteY224" fmla="*/ 875619 h 1333436"/>
                <a:gd name="connsiteX225" fmla="*/ 52264 w 752994"/>
                <a:gd name="connsiteY225" fmla="*/ 862572 h 1333436"/>
                <a:gd name="connsiteX226" fmla="*/ 44309 w 752994"/>
                <a:gd name="connsiteY226" fmla="*/ 850561 h 1333436"/>
                <a:gd name="connsiteX227" fmla="*/ 45520 w 752994"/>
                <a:gd name="connsiteY227" fmla="*/ 827090 h 1333436"/>
                <a:gd name="connsiteX228" fmla="*/ 53071 w 752994"/>
                <a:gd name="connsiteY228" fmla="*/ 822396 h 1333436"/>
                <a:gd name="connsiteX229" fmla="*/ 57375 w 752994"/>
                <a:gd name="connsiteY229" fmla="*/ 816493 h 1333436"/>
                <a:gd name="connsiteX230" fmla="*/ 55319 w 752994"/>
                <a:gd name="connsiteY230" fmla="*/ 801617 h 1333436"/>
                <a:gd name="connsiteX231" fmla="*/ 48383 w 752994"/>
                <a:gd name="connsiteY231" fmla="*/ 802204 h 1333436"/>
                <a:gd name="connsiteX232" fmla="*/ 40428 w 752994"/>
                <a:gd name="connsiteY232" fmla="*/ 797924 h 1333436"/>
                <a:gd name="connsiteX233" fmla="*/ 37565 w 752994"/>
                <a:gd name="connsiteY233" fmla="*/ 790606 h 1333436"/>
                <a:gd name="connsiteX234" fmla="*/ 37565 w 752994"/>
                <a:gd name="connsiteY234" fmla="*/ 790399 h 1333436"/>
                <a:gd name="connsiteX235" fmla="*/ 35931 w 752994"/>
                <a:gd name="connsiteY235" fmla="*/ 785912 h 1333436"/>
                <a:gd name="connsiteX236" fmla="*/ 34510 w 752994"/>
                <a:gd name="connsiteY236" fmla="*/ 780597 h 1333436"/>
                <a:gd name="connsiteX237" fmla="*/ 36335 w 752994"/>
                <a:gd name="connsiteY237" fmla="*/ 774280 h 1333436"/>
                <a:gd name="connsiteX238" fmla="*/ 38180 w 752994"/>
                <a:gd name="connsiteY238" fmla="*/ 766721 h 1333436"/>
                <a:gd name="connsiteX239" fmla="*/ 37161 w 752994"/>
                <a:gd name="connsiteY239" fmla="*/ 760405 h 1333436"/>
                <a:gd name="connsiteX240" fmla="*/ 35720 w 752994"/>
                <a:gd name="connsiteY240" fmla="*/ 754710 h 1333436"/>
                <a:gd name="connsiteX241" fmla="*/ 36546 w 752994"/>
                <a:gd name="connsiteY241" fmla="*/ 748773 h 1333436"/>
                <a:gd name="connsiteX242" fmla="*/ 38372 w 752994"/>
                <a:gd name="connsiteY242" fmla="*/ 744528 h 1333436"/>
                <a:gd name="connsiteX243" fmla="*/ 41638 w 752994"/>
                <a:gd name="connsiteY243" fmla="*/ 744321 h 1333436"/>
                <a:gd name="connsiteX244" fmla="*/ 44713 w 752994"/>
                <a:gd name="connsiteY244" fmla="*/ 746357 h 1333436"/>
                <a:gd name="connsiteX245" fmla="*/ 47364 w 752994"/>
                <a:gd name="connsiteY245" fmla="*/ 753260 h 1333436"/>
                <a:gd name="connsiteX246" fmla="*/ 55742 w 752994"/>
                <a:gd name="connsiteY246" fmla="*/ 764305 h 1333436"/>
                <a:gd name="connsiteX247" fmla="*/ 56338 w 752994"/>
                <a:gd name="connsiteY247" fmla="*/ 761233 h 1333436"/>
                <a:gd name="connsiteX248" fmla="*/ 56145 w 752994"/>
                <a:gd name="connsiteY248" fmla="*/ 757368 h 1333436"/>
                <a:gd name="connsiteX249" fmla="*/ 54916 w 752994"/>
                <a:gd name="connsiteY249" fmla="*/ 748601 h 1333436"/>
                <a:gd name="connsiteX250" fmla="*/ 52879 w 752994"/>
                <a:gd name="connsiteY250" fmla="*/ 747358 h 1333436"/>
                <a:gd name="connsiteX251" fmla="*/ 51649 w 752994"/>
                <a:gd name="connsiteY251" fmla="*/ 745322 h 1333436"/>
                <a:gd name="connsiteX252" fmla="*/ 51649 w 752994"/>
                <a:gd name="connsiteY252" fmla="*/ 739212 h 1333436"/>
                <a:gd name="connsiteX253" fmla="*/ 50227 w 752994"/>
                <a:gd name="connsiteY253" fmla="*/ 734725 h 1333436"/>
                <a:gd name="connsiteX254" fmla="*/ 48786 w 752994"/>
                <a:gd name="connsiteY254" fmla="*/ 731446 h 1333436"/>
                <a:gd name="connsiteX255" fmla="*/ 54512 w 752994"/>
                <a:gd name="connsiteY255" fmla="*/ 726372 h 1333436"/>
                <a:gd name="connsiteX256" fmla="*/ 59815 w 752994"/>
                <a:gd name="connsiteY256" fmla="*/ 725130 h 1333436"/>
                <a:gd name="connsiteX257" fmla="*/ 58182 w 752994"/>
                <a:gd name="connsiteY257" fmla="*/ 722886 h 1333436"/>
                <a:gd name="connsiteX258" fmla="*/ 51861 w 752994"/>
                <a:gd name="connsiteY258" fmla="*/ 717985 h 1333436"/>
                <a:gd name="connsiteX259" fmla="*/ 46749 w 752994"/>
                <a:gd name="connsiteY259" fmla="*/ 729617 h 1333436"/>
                <a:gd name="connsiteX260" fmla="*/ 40831 w 752994"/>
                <a:gd name="connsiteY260" fmla="*/ 739212 h 1333436"/>
                <a:gd name="connsiteX261" fmla="*/ 39601 w 752994"/>
                <a:gd name="connsiteY261" fmla="*/ 738798 h 1333436"/>
                <a:gd name="connsiteX262" fmla="*/ 39409 w 752994"/>
                <a:gd name="connsiteY262" fmla="*/ 738591 h 1333436"/>
                <a:gd name="connsiteX263" fmla="*/ 37161 w 752994"/>
                <a:gd name="connsiteY263" fmla="*/ 734725 h 1333436"/>
                <a:gd name="connsiteX264" fmla="*/ 32665 w 752994"/>
                <a:gd name="connsiteY264" fmla="*/ 727788 h 1333436"/>
                <a:gd name="connsiteX265" fmla="*/ 26747 w 752994"/>
                <a:gd name="connsiteY265" fmla="*/ 719435 h 1333436"/>
                <a:gd name="connsiteX266" fmla="*/ 23884 w 752994"/>
                <a:gd name="connsiteY266" fmla="*/ 717812 h 1333436"/>
                <a:gd name="connsiteX267" fmla="*/ 24710 w 752994"/>
                <a:gd name="connsiteY267" fmla="*/ 709632 h 1333436"/>
                <a:gd name="connsiteX268" fmla="*/ 27554 w 752994"/>
                <a:gd name="connsiteY268" fmla="*/ 701694 h 1333436"/>
                <a:gd name="connsiteX269" fmla="*/ 24902 w 752994"/>
                <a:gd name="connsiteY269" fmla="*/ 696171 h 1333436"/>
                <a:gd name="connsiteX270" fmla="*/ 24095 w 752994"/>
                <a:gd name="connsiteY270" fmla="*/ 687818 h 1333436"/>
                <a:gd name="connsiteX271" fmla="*/ 22462 w 752994"/>
                <a:gd name="connsiteY271" fmla="*/ 682330 h 1333436"/>
                <a:gd name="connsiteX272" fmla="*/ 17159 w 752994"/>
                <a:gd name="connsiteY272" fmla="*/ 677636 h 1333436"/>
                <a:gd name="connsiteX273" fmla="*/ 14296 w 752994"/>
                <a:gd name="connsiteY273" fmla="*/ 671492 h 1333436"/>
                <a:gd name="connsiteX274" fmla="*/ 12451 w 752994"/>
                <a:gd name="connsiteY274" fmla="*/ 665797 h 1333436"/>
                <a:gd name="connsiteX275" fmla="*/ 5111 w 752994"/>
                <a:gd name="connsiteY275" fmla="*/ 654994 h 1333436"/>
                <a:gd name="connsiteX276" fmla="*/ 2248 w 752994"/>
                <a:gd name="connsiteY276" fmla="*/ 645605 h 1333436"/>
                <a:gd name="connsiteX277" fmla="*/ 4496 w 752994"/>
                <a:gd name="connsiteY277" fmla="*/ 640497 h 1333436"/>
                <a:gd name="connsiteX278" fmla="*/ 6744 w 752994"/>
                <a:gd name="connsiteY278" fmla="*/ 632765 h 1333436"/>
                <a:gd name="connsiteX279" fmla="*/ 6744 w 752994"/>
                <a:gd name="connsiteY279" fmla="*/ 628485 h 1333436"/>
                <a:gd name="connsiteX280" fmla="*/ 6533 w 752994"/>
                <a:gd name="connsiteY280" fmla="*/ 620305 h 1333436"/>
                <a:gd name="connsiteX281" fmla="*/ 7359 w 752994"/>
                <a:gd name="connsiteY281" fmla="*/ 611745 h 1333436"/>
                <a:gd name="connsiteX282" fmla="*/ 11836 w 752994"/>
                <a:gd name="connsiteY282" fmla="*/ 602978 h 1333436"/>
                <a:gd name="connsiteX283" fmla="*/ 15103 w 752994"/>
                <a:gd name="connsiteY283" fmla="*/ 591760 h 1333436"/>
                <a:gd name="connsiteX284" fmla="*/ 14488 w 752994"/>
                <a:gd name="connsiteY284" fmla="*/ 584029 h 1333436"/>
                <a:gd name="connsiteX285" fmla="*/ 13873 w 752994"/>
                <a:gd name="connsiteY285" fmla="*/ 578299 h 1333436"/>
                <a:gd name="connsiteX286" fmla="*/ 10626 w 752994"/>
                <a:gd name="connsiteY286" fmla="*/ 568531 h 1333436"/>
                <a:gd name="connsiteX287" fmla="*/ 3670 w 752994"/>
                <a:gd name="connsiteY287" fmla="*/ 558107 h 1333436"/>
                <a:gd name="connsiteX288" fmla="*/ 0 w 752994"/>
                <a:gd name="connsiteY288" fmla="*/ 551377 h 1333436"/>
                <a:gd name="connsiteX289" fmla="*/ 0 w 752994"/>
                <a:gd name="connsiteY289" fmla="*/ 550997 h 1333436"/>
                <a:gd name="connsiteX290" fmla="*/ 4900 w 752994"/>
                <a:gd name="connsiteY290" fmla="*/ 531220 h 1333436"/>
                <a:gd name="connsiteX291" fmla="*/ 13873 w 752994"/>
                <a:gd name="connsiteY291" fmla="*/ 520589 h 1333436"/>
                <a:gd name="connsiteX292" fmla="*/ 18369 w 752994"/>
                <a:gd name="connsiteY292" fmla="*/ 516516 h 1333436"/>
                <a:gd name="connsiteX293" fmla="*/ 18773 w 752994"/>
                <a:gd name="connsiteY293" fmla="*/ 514272 h 1333436"/>
                <a:gd name="connsiteX294" fmla="*/ 23077 w 752994"/>
                <a:gd name="connsiteY294" fmla="*/ 506127 h 1333436"/>
                <a:gd name="connsiteX295" fmla="*/ 23884 w 752994"/>
                <a:gd name="connsiteY295" fmla="*/ 502261 h 1333436"/>
                <a:gd name="connsiteX296" fmla="*/ 23692 w 752994"/>
                <a:gd name="connsiteY296" fmla="*/ 496738 h 1333436"/>
                <a:gd name="connsiteX297" fmla="*/ 30013 w 752994"/>
                <a:gd name="connsiteY297" fmla="*/ 486556 h 1333436"/>
                <a:gd name="connsiteX298" fmla="*/ 36546 w 752994"/>
                <a:gd name="connsiteY298" fmla="*/ 470230 h 1333436"/>
                <a:gd name="connsiteX299" fmla="*/ 36546 w 752994"/>
                <a:gd name="connsiteY299" fmla="*/ 462671 h 1333436"/>
                <a:gd name="connsiteX300" fmla="*/ 36335 w 752994"/>
                <a:gd name="connsiteY300" fmla="*/ 461670 h 1333436"/>
                <a:gd name="connsiteX301" fmla="*/ 35931 w 752994"/>
                <a:gd name="connsiteY301" fmla="*/ 453110 h 1333436"/>
                <a:gd name="connsiteX302" fmla="*/ 38583 w 752994"/>
                <a:gd name="connsiteY302" fmla="*/ 442514 h 1333436"/>
                <a:gd name="connsiteX303" fmla="*/ 41043 w 752994"/>
                <a:gd name="connsiteY303" fmla="*/ 436991 h 1333436"/>
                <a:gd name="connsiteX304" fmla="*/ 41650 w 752994"/>
                <a:gd name="connsiteY304" fmla="*/ 437186 h 1333436"/>
                <a:gd name="connsiteX305" fmla="*/ 41239 w 752994"/>
                <a:gd name="connsiteY305" fmla="*/ 436549 h 1333436"/>
                <a:gd name="connsiteX306" fmla="*/ 37778 w 752994"/>
                <a:gd name="connsiteY306" fmla="*/ 433894 h 1333436"/>
                <a:gd name="connsiteX307" fmla="*/ 37169 w 752994"/>
                <a:gd name="connsiteY307" fmla="*/ 432261 h 1333436"/>
                <a:gd name="connsiteX308" fmla="*/ 37365 w 752994"/>
                <a:gd name="connsiteY308" fmla="*/ 429198 h 1333436"/>
                <a:gd name="connsiteX309" fmla="*/ 36756 w 752994"/>
                <a:gd name="connsiteY309" fmla="*/ 422272 h 1333436"/>
                <a:gd name="connsiteX310" fmla="*/ 36952 w 752994"/>
                <a:gd name="connsiteY310" fmla="*/ 418800 h 1333436"/>
                <a:gd name="connsiteX311" fmla="*/ 36756 w 752994"/>
                <a:gd name="connsiteY311" fmla="*/ 412487 h 1333436"/>
                <a:gd name="connsiteX312" fmla="*/ 40433 w 752994"/>
                <a:gd name="connsiteY312" fmla="*/ 406174 h 1333436"/>
                <a:gd name="connsiteX313" fmla="*/ 44720 w 752994"/>
                <a:gd name="connsiteY313" fmla="*/ 399435 h 1333436"/>
                <a:gd name="connsiteX314" fmla="*/ 44110 w 752994"/>
                <a:gd name="connsiteY314" fmla="*/ 389651 h 1333436"/>
                <a:gd name="connsiteX315" fmla="*/ 43894 w 752994"/>
                <a:gd name="connsiteY315" fmla="*/ 378437 h 1333436"/>
                <a:gd name="connsiteX316" fmla="*/ 47158 w 752994"/>
                <a:gd name="connsiteY316" fmla="*/ 371102 h 1333436"/>
                <a:gd name="connsiteX317" fmla="*/ 55731 w 752994"/>
                <a:gd name="connsiteY317" fmla="*/ 360909 h 1333436"/>
                <a:gd name="connsiteX318" fmla="*/ 57580 w 752994"/>
                <a:gd name="connsiteY318" fmla="*/ 355804 h 1333436"/>
                <a:gd name="connsiteX319" fmla="*/ 62673 w 752994"/>
                <a:gd name="connsiteY319" fmla="*/ 349695 h 1333436"/>
                <a:gd name="connsiteX320" fmla="*/ 65937 w 752994"/>
                <a:gd name="connsiteY320" fmla="*/ 348470 h 1333436"/>
                <a:gd name="connsiteX321" fmla="*/ 68395 w 752994"/>
                <a:gd name="connsiteY321" fmla="*/ 348674 h 1333436"/>
                <a:gd name="connsiteX322" fmla="*/ 70224 w 752994"/>
                <a:gd name="connsiteY322" fmla="*/ 347449 h 1333436"/>
                <a:gd name="connsiteX323" fmla="*/ 67785 w 752994"/>
                <a:gd name="connsiteY323" fmla="*/ 345203 h 1333436"/>
                <a:gd name="connsiteX324" fmla="*/ 65524 w 752994"/>
                <a:gd name="connsiteY324" fmla="*/ 343178 h 1333436"/>
                <a:gd name="connsiteX325" fmla="*/ 73095 w 752994"/>
                <a:gd name="connsiteY325" fmla="*/ 333376 h 1333436"/>
                <a:gd name="connsiteX326" fmla="*/ 73291 w 752994"/>
                <a:gd name="connsiteY326" fmla="*/ 333376 h 1333436"/>
                <a:gd name="connsiteX327" fmla="*/ 77991 w 752994"/>
                <a:gd name="connsiteY327" fmla="*/ 325838 h 1333436"/>
                <a:gd name="connsiteX328" fmla="*/ 82671 w 752994"/>
                <a:gd name="connsiteY328" fmla="*/ 313619 h 1333436"/>
                <a:gd name="connsiteX329" fmla="*/ 87980 w 752994"/>
                <a:gd name="connsiteY329" fmla="*/ 303018 h 1333436"/>
                <a:gd name="connsiteX330" fmla="*/ 92267 w 752994"/>
                <a:gd name="connsiteY330" fmla="*/ 291191 h 1333436"/>
                <a:gd name="connsiteX331" fmla="*/ 96553 w 752994"/>
                <a:gd name="connsiteY331" fmla="*/ 281202 h 1333436"/>
                <a:gd name="connsiteX332" fmla="*/ 99621 w 752994"/>
                <a:gd name="connsiteY332" fmla="*/ 274481 h 1333436"/>
                <a:gd name="connsiteX333" fmla="*/ 103082 w 752994"/>
                <a:gd name="connsiteY333" fmla="*/ 262450 h 1333436"/>
                <a:gd name="connsiteX334" fmla="*/ 107172 w 752994"/>
                <a:gd name="connsiteY334" fmla="*/ 254299 h 1333436"/>
                <a:gd name="connsiteX335" fmla="*/ 112481 w 752994"/>
                <a:gd name="connsiteY335" fmla="*/ 243697 h 1333436"/>
                <a:gd name="connsiteX336" fmla="*/ 117181 w 752994"/>
                <a:gd name="connsiteY336" fmla="*/ 232279 h 1333436"/>
                <a:gd name="connsiteX337" fmla="*/ 125951 w 752994"/>
                <a:gd name="connsiteY337" fmla="*/ 217389 h 1333436"/>
                <a:gd name="connsiteX338" fmla="*/ 136156 w 752994"/>
                <a:gd name="connsiteY338" fmla="*/ 202925 h 1333436"/>
                <a:gd name="connsiteX339" fmla="*/ 138811 w 752994"/>
                <a:gd name="connsiteY339" fmla="*/ 183339 h 1333436"/>
                <a:gd name="connsiteX340" fmla="*/ 148801 w 752994"/>
                <a:gd name="connsiteY340" fmla="*/ 167445 h 1333436"/>
                <a:gd name="connsiteX341" fmla="*/ 159616 w 752994"/>
                <a:gd name="connsiteY341" fmla="*/ 170712 h 1333436"/>
                <a:gd name="connsiteX342" fmla="*/ 173105 w 752994"/>
                <a:gd name="connsiteY342" fmla="*/ 175188 h 1333436"/>
                <a:gd name="connsiteX343" fmla="*/ 175347 w 752994"/>
                <a:gd name="connsiteY343" fmla="*/ 175188 h 1333436"/>
                <a:gd name="connsiteX344" fmla="*/ 175347 w 752994"/>
                <a:gd name="connsiteY344" fmla="*/ 173758 h 1333436"/>
                <a:gd name="connsiteX345" fmla="*/ 184975 w 752994"/>
                <a:gd name="connsiteY345" fmla="*/ 187393 h 1333436"/>
                <a:gd name="connsiteX346" fmla="*/ 184762 w 752994"/>
                <a:gd name="connsiteY346" fmla="*/ 184637 h 1333436"/>
                <a:gd name="connsiteX347" fmla="*/ 174971 w 752994"/>
                <a:gd name="connsiteY347" fmla="*/ 170774 h 1333436"/>
                <a:gd name="connsiteX348" fmla="*/ 174971 w 752994"/>
                <a:gd name="connsiteY348" fmla="*/ 169550 h 1333436"/>
                <a:gd name="connsiteX349" fmla="*/ 158851 w 752994"/>
                <a:gd name="connsiteY349" fmla="*/ 156924 h 1333436"/>
                <a:gd name="connsiteX350" fmla="*/ 147025 w 752994"/>
                <a:gd name="connsiteY350" fmla="*/ 145709 h 1333436"/>
                <a:gd name="connsiteX351" fmla="*/ 154364 w 752994"/>
                <a:gd name="connsiteY351" fmla="*/ 136335 h 1333436"/>
                <a:gd name="connsiteX352" fmla="*/ 161511 w 752994"/>
                <a:gd name="connsiteY352" fmla="*/ 131042 h 1333436"/>
                <a:gd name="connsiteX353" fmla="*/ 160902 w 752994"/>
                <a:gd name="connsiteY353" fmla="*/ 128384 h 1333436"/>
                <a:gd name="connsiteX354" fmla="*/ 160277 w 752994"/>
                <a:gd name="connsiteY354" fmla="*/ 127778 h 1333436"/>
                <a:gd name="connsiteX355" fmla="*/ 154973 w 752994"/>
                <a:gd name="connsiteY355" fmla="*/ 122077 h 1333436"/>
                <a:gd name="connsiteX356" fmla="*/ 160277 w 752994"/>
                <a:gd name="connsiteY356" fmla="*/ 115140 h 1333436"/>
                <a:gd name="connsiteX357" fmla="*/ 165181 w 752994"/>
                <a:gd name="connsiteY357" fmla="*/ 108215 h 1333436"/>
                <a:gd name="connsiteX358" fmla="*/ 161303 w 752994"/>
                <a:gd name="connsiteY358" fmla="*/ 104146 h 1333436"/>
                <a:gd name="connsiteX359" fmla="*/ 157842 w 752994"/>
                <a:gd name="connsiteY359" fmla="*/ 104542 h 1333436"/>
                <a:gd name="connsiteX360" fmla="*/ 157024 w 752994"/>
                <a:gd name="connsiteY360" fmla="*/ 102304 h 1333436"/>
                <a:gd name="connsiteX361" fmla="*/ 160694 w 752994"/>
                <a:gd name="connsiteY361" fmla="*/ 55437 h 1333436"/>
                <a:gd name="connsiteX362" fmla="*/ 160486 w 752994"/>
                <a:gd name="connsiteY362" fmla="*/ 31991 h 1333436"/>
                <a:gd name="connsiteX363" fmla="*/ 164972 w 752994"/>
                <a:gd name="connsiteY363" fmla="*/ 18141 h 1333436"/>
                <a:gd name="connsiteX364" fmla="*/ 171911 w 752994"/>
                <a:gd name="connsiteY364" fmla="*/ 11204 h 1333436"/>
                <a:gd name="connsiteX365" fmla="*/ 187406 w 752994"/>
                <a:gd name="connsiteY365" fmla="*/ 21801 h 1333436"/>
                <a:gd name="connsiteX366" fmla="*/ 210866 w 752994"/>
                <a:gd name="connsiteY366" fmla="*/ 37086 h 1333436"/>
                <a:gd name="connsiteX367" fmla="*/ 219230 w 752994"/>
                <a:gd name="connsiteY367" fmla="*/ 41166 h 1333436"/>
                <a:gd name="connsiteX368" fmla="*/ 226778 w 752994"/>
                <a:gd name="connsiteY368" fmla="*/ 47486 h 1333436"/>
                <a:gd name="connsiteX369" fmla="*/ 236152 w 752994"/>
                <a:gd name="connsiteY369" fmla="*/ 52370 h 1333436"/>
                <a:gd name="connsiteX370" fmla="*/ 239629 w 752994"/>
                <a:gd name="connsiteY370" fmla="*/ 58491 h 1333436"/>
                <a:gd name="connsiteX371" fmla="*/ 239629 w 752994"/>
                <a:gd name="connsiteY371" fmla="*/ 63376 h 1333436"/>
                <a:gd name="connsiteX372" fmla="*/ 236568 w 752994"/>
                <a:gd name="connsiteY372" fmla="*/ 67457 h 1333436"/>
                <a:gd name="connsiteX373" fmla="*/ 231264 w 752994"/>
                <a:gd name="connsiteY373" fmla="*/ 69905 h 1333436"/>
                <a:gd name="connsiteX374" fmla="*/ 216778 w 752994"/>
                <a:gd name="connsiteY374" fmla="*/ 82741 h 1333436"/>
                <a:gd name="connsiteX375" fmla="*/ 214134 w 752994"/>
                <a:gd name="connsiteY375" fmla="*/ 93536 h 1333436"/>
                <a:gd name="connsiteX376" fmla="*/ 214535 w 752994"/>
                <a:gd name="connsiteY376" fmla="*/ 96801 h 1333436"/>
                <a:gd name="connsiteX377" fmla="*/ 216378 w 752994"/>
                <a:gd name="connsiteY377" fmla="*/ 96801 h 1333436"/>
                <a:gd name="connsiteX378" fmla="*/ 230046 w 752994"/>
                <a:gd name="connsiteY378" fmla="*/ 85387 h 1333436"/>
                <a:gd name="connsiteX379" fmla="*/ 243298 w 752994"/>
                <a:gd name="connsiteY379" fmla="*/ 75198 h 1333436"/>
                <a:gd name="connsiteX380" fmla="*/ 246760 w 752994"/>
                <a:gd name="connsiteY380" fmla="*/ 77646 h 1333436"/>
                <a:gd name="connsiteX381" fmla="*/ 255541 w 752994"/>
                <a:gd name="connsiteY381" fmla="*/ 63376 h 1333436"/>
                <a:gd name="connsiteX382" fmla="*/ 259611 w 752994"/>
                <a:gd name="connsiteY382" fmla="*/ 43405 h 1333436"/>
                <a:gd name="connsiteX383" fmla="*/ 256967 w 752994"/>
                <a:gd name="connsiteY383" fmla="*/ 38520 h 1333436"/>
                <a:gd name="connsiteX384" fmla="*/ 253906 w 752994"/>
                <a:gd name="connsiteY384" fmla="*/ 34242 h 1333436"/>
                <a:gd name="connsiteX385" fmla="*/ 256967 w 752994"/>
                <a:gd name="connsiteY385" fmla="*/ 30161 h 1333436"/>
                <a:gd name="connsiteX386" fmla="*/ 262063 w 752994"/>
                <a:gd name="connsiteY386" fmla="*/ 27712 h 1333436"/>
                <a:gd name="connsiteX387" fmla="*/ 264915 w 752994"/>
                <a:gd name="connsiteY387" fmla="*/ 23026 h 1333436"/>
                <a:gd name="connsiteX388" fmla="*/ 267976 w 752994"/>
                <a:gd name="connsiteY388" fmla="*/ 22618 h 1333436"/>
                <a:gd name="connsiteX389" fmla="*/ 270427 w 752994"/>
                <a:gd name="connsiteY389" fmla="*/ 20787 h 1333436"/>
                <a:gd name="connsiteX390" fmla="*/ 263088 w 752994"/>
                <a:gd name="connsiteY390" fmla="*/ 13652 h 1333436"/>
                <a:gd name="connsiteX391" fmla="*/ 255541 w 752994"/>
                <a:gd name="connsiteY391" fmla="*/ 3055 h 1333436"/>
                <a:gd name="connsiteX392" fmla="*/ 256358 w 752994"/>
                <a:gd name="connsiteY392" fmla="*/ 1224 h 1333436"/>
                <a:gd name="connsiteX393" fmla="*/ 257159 w 752994"/>
                <a:gd name="connsiteY393"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403787 w 752994"/>
                <a:gd name="connsiteY163" fmla="*/ 963290 h 1333436"/>
                <a:gd name="connsiteX164" fmla="*/ 404052 w 752994"/>
                <a:gd name="connsiteY164" fmla="*/ 963688 h 1333436"/>
                <a:gd name="connsiteX165" fmla="*/ 406917 w 752994"/>
                <a:gd name="connsiteY165" fmla="*/ 957427 h 1333436"/>
                <a:gd name="connsiteX166" fmla="*/ 414454 w 752994"/>
                <a:gd name="connsiteY166" fmla="*/ 952534 h 1333436"/>
                <a:gd name="connsiteX167" fmla="*/ 419146 w 752994"/>
                <a:gd name="connsiteY167" fmla="*/ 954567 h 1333436"/>
                <a:gd name="connsiteX168" fmla="*/ 689408 w 752994"/>
                <a:gd name="connsiteY168" fmla="*/ 945184 h 1333436"/>
                <a:gd name="connsiteX169" fmla="*/ 710622 w 752994"/>
                <a:gd name="connsiteY169" fmla="*/ 948043 h 1333436"/>
                <a:gd name="connsiteX170" fmla="*/ 654533 w 752994"/>
                <a:gd name="connsiteY170" fmla="*/ 1333436 h 1333436"/>
                <a:gd name="connsiteX171" fmla="*/ 546831 w 752994"/>
                <a:gd name="connsiteY171" fmla="*/ 1317126 h 1333436"/>
                <a:gd name="connsiteX172" fmla="*/ 351227 w 752994"/>
                <a:gd name="connsiteY172" fmla="*/ 1194172 h 1333436"/>
                <a:gd name="connsiteX173" fmla="*/ 361011 w 752994"/>
                <a:gd name="connsiteY173" fmla="*/ 1182755 h 1333436"/>
                <a:gd name="connsiteX174" fmla="*/ 368981 w 752994"/>
                <a:gd name="connsiteY174" fmla="*/ 1182130 h 1333436"/>
                <a:gd name="connsiteX175" fmla="*/ 369571 w 752994"/>
                <a:gd name="connsiteY175" fmla="*/ 1181558 h 1333436"/>
                <a:gd name="connsiteX176" fmla="*/ 362372 w 752994"/>
                <a:gd name="connsiteY176" fmla="*/ 1182120 h 1333436"/>
                <a:gd name="connsiteX177" fmla="*/ 229464 w 752994"/>
                <a:gd name="connsiteY177" fmla="*/ 1161721 h 1333436"/>
                <a:gd name="connsiteX178" fmla="*/ 227427 w 752994"/>
                <a:gd name="connsiteY178" fmla="*/ 1157269 h 1333436"/>
                <a:gd name="connsiteX179" fmla="*/ 224967 w 752994"/>
                <a:gd name="connsiteY179" fmla="*/ 1152575 h 1333436"/>
                <a:gd name="connsiteX180" fmla="*/ 225582 w 752994"/>
                <a:gd name="connsiteY180" fmla="*/ 1144808 h 1333436"/>
                <a:gd name="connsiteX181" fmla="*/ 227215 w 752994"/>
                <a:gd name="connsiteY181" fmla="*/ 1135834 h 1333436"/>
                <a:gd name="connsiteX182" fmla="*/ 227215 w 752994"/>
                <a:gd name="connsiteY182" fmla="*/ 1134212 h 1333436"/>
                <a:gd name="connsiteX183" fmla="*/ 225179 w 752994"/>
                <a:gd name="connsiteY183" fmla="*/ 1114020 h 1333436"/>
                <a:gd name="connsiteX184" fmla="*/ 217839 w 752994"/>
                <a:gd name="connsiteY184" fmla="*/ 1100352 h 1333436"/>
                <a:gd name="connsiteX185" fmla="*/ 199661 w 752994"/>
                <a:gd name="connsiteY185" fmla="*/ 1076502 h 1333436"/>
                <a:gd name="connsiteX186" fmla="*/ 196395 w 752994"/>
                <a:gd name="connsiteY186" fmla="*/ 1071807 h 1333436"/>
                <a:gd name="connsiteX187" fmla="*/ 190880 w 752994"/>
                <a:gd name="connsiteY187" fmla="*/ 1067527 h 1333436"/>
                <a:gd name="connsiteX188" fmla="*/ 187210 w 752994"/>
                <a:gd name="connsiteY188" fmla="*/ 1068735 h 1333436"/>
                <a:gd name="connsiteX189" fmla="*/ 180062 w 752994"/>
                <a:gd name="connsiteY189" fmla="*/ 1066699 h 1333436"/>
                <a:gd name="connsiteX190" fmla="*/ 180466 w 752994"/>
                <a:gd name="connsiteY190" fmla="*/ 1053031 h 1333436"/>
                <a:gd name="connsiteX191" fmla="*/ 180062 w 752994"/>
                <a:gd name="connsiteY191" fmla="*/ 1045299 h 1333436"/>
                <a:gd name="connsiteX192" fmla="*/ 174144 w 752994"/>
                <a:gd name="connsiteY192" fmla="*/ 1044057 h 1333436"/>
                <a:gd name="connsiteX193" fmla="*/ 158426 w 752994"/>
                <a:gd name="connsiteY193" fmla="*/ 1042641 h 1333436"/>
                <a:gd name="connsiteX194" fmla="*/ 149857 w 752994"/>
                <a:gd name="connsiteY194" fmla="*/ 1035497 h 1333436"/>
                <a:gd name="connsiteX195" fmla="*/ 142497 w 752994"/>
                <a:gd name="connsiteY195" fmla="*/ 1028766 h 1333436"/>
                <a:gd name="connsiteX196" fmla="*/ 140864 w 752994"/>
                <a:gd name="connsiteY196" fmla="*/ 1020620 h 1333436"/>
                <a:gd name="connsiteX197" fmla="*/ 138212 w 752994"/>
                <a:gd name="connsiteY197" fmla="*/ 1013061 h 1333436"/>
                <a:gd name="connsiteX198" fmla="*/ 131064 w 752994"/>
                <a:gd name="connsiteY198" fmla="*/ 1007159 h 1333436"/>
                <a:gd name="connsiteX199" fmla="*/ 121264 w 752994"/>
                <a:gd name="connsiteY199" fmla="*/ 1005330 h 1333436"/>
                <a:gd name="connsiteX200" fmla="*/ 112483 w 752994"/>
                <a:gd name="connsiteY200" fmla="*/ 1001671 h 1333436"/>
                <a:gd name="connsiteX201" fmla="*/ 105950 w 752994"/>
                <a:gd name="connsiteY201" fmla="*/ 995734 h 1333436"/>
                <a:gd name="connsiteX202" fmla="*/ 97380 w 752994"/>
                <a:gd name="connsiteY202" fmla="*/ 994526 h 1333436"/>
                <a:gd name="connsiteX203" fmla="*/ 87984 w 752994"/>
                <a:gd name="connsiteY203" fmla="*/ 991040 h 1333436"/>
                <a:gd name="connsiteX204" fmla="*/ 80029 w 752994"/>
                <a:gd name="connsiteY204" fmla="*/ 985138 h 1333436"/>
                <a:gd name="connsiteX205" fmla="*/ 77166 w 752994"/>
                <a:gd name="connsiteY205" fmla="*/ 976164 h 1333436"/>
                <a:gd name="connsiteX206" fmla="*/ 79203 w 752994"/>
                <a:gd name="connsiteY206" fmla="*/ 970676 h 1333436"/>
                <a:gd name="connsiteX207" fmla="*/ 82470 w 752994"/>
                <a:gd name="connsiteY207" fmla="*/ 963117 h 1333436"/>
                <a:gd name="connsiteX208" fmla="*/ 84314 w 752994"/>
                <a:gd name="connsiteY208" fmla="*/ 954557 h 1333436"/>
                <a:gd name="connsiteX209" fmla="*/ 86351 w 752994"/>
                <a:gd name="connsiteY209" fmla="*/ 948033 h 1333436"/>
                <a:gd name="connsiteX210" fmla="*/ 86159 w 752994"/>
                <a:gd name="connsiteY210" fmla="*/ 942925 h 1333436"/>
                <a:gd name="connsiteX211" fmla="*/ 83085 w 752994"/>
                <a:gd name="connsiteY211" fmla="*/ 939853 h 1333436"/>
                <a:gd name="connsiteX212" fmla="*/ 77570 w 752994"/>
                <a:gd name="connsiteY212" fmla="*/ 937437 h 1333436"/>
                <a:gd name="connsiteX213" fmla="*/ 76763 w 752994"/>
                <a:gd name="connsiteY213" fmla="*/ 931915 h 1333436"/>
                <a:gd name="connsiteX214" fmla="*/ 78800 w 752994"/>
                <a:gd name="connsiteY214" fmla="*/ 927013 h 1333436"/>
                <a:gd name="connsiteX215" fmla="*/ 79626 w 752994"/>
                <a:gd name="connsiteY215" fmla="*/ 922526 h 1333436"/>
                <a:gd name="connsiteX216" fmla="*/ 77781 w 752994"/>
                <a:gd name="connsiteY216" fmla="*/ 919903 h 1333436"/>
                <a:gd name="connsiteX217" fmla="*/ 74303 w 752994"/>
                <a:gd name="connsiteY217" fmla="*/ 917418 h 1333436"/>
                <a:gd name="connsiteX218" fmla="*/ 71863 w 752994"/>
                <a:gd name="connsiteY218" fmla="*/ 915174 h 1333436"/>
                <a:gd name="connsiteX219" fmla="*/ 71652 w 752994"/>
                <a:gd name="connsiteY219" fmla="*/ 910894 h 1333436"/>
                <a:gd name="connsiteX220" fmla="*/ 70633 w 752994"/>
                <a:gd name="connsiteY220" fmla="*/ 906614 h 1333436"/>
                <a:gd name="connsiteX221" fmla="*/ 68385 w 752994"/>
                <a:gd name="connsiteY221" fmla="*/ 902749 h 1333436"/>
                <a:gd name="connsiteX222" fmla="*/ 61045 w 752994"/>
                <a:gd name="connsiteY222" fmla="*/ 889494 h 1333436"/>
                <a:gd name="connsiteX223" fmla="*/ 57971 w 752994"/>
                <a:gd name="connsiteY223" fmla="*/ 875619 h 1333436"/>
                <a:gd name="connsiteX224" fmla="*/ 52264 w 752994"/>
                <a:gd name="connsiteY224" fmla="*/ 862572 h 1333436"/>
                <a:gd name="connsiteX225" fmla="*/ 44309 w 752994"/>
                <a:gd name="connsiteY225" fmla="*/ 850561 h 1333436"/>
                <a:gd name="connsiteX226" fmla="*/ 45520 w 752994"/>
                <a:gd name="connsiteY226" fmla="*/ 827090 h 1333436"/>
                <a:gd name="connsiteX227" fmla="*/ 53071 w 752994"/>
                <a:gd name="connsiteY227" fmla="*/ 822396 h 1333436"/>
                <a:gd name="connsiteX228" fmla="*/ 57375 w 752994"/>
                <a:gd name="connsiteY228" fmla="*/ 816493 h 1333436"/>
                <a:gd name="connsiteX229" fmla="*/ 55319 w 752994"/>
                <a:gd name="connsiteY229" fmla="*/ 801617 h 1333436"/>
                <a:gd name="connsiteX230" fmla="*/ 48383 w 752994"/>
                <a:gd name="connsiteY230" fmla="*/ 802204 h 1333436"/>
                <a:gd name="connsiteX231" fmla="*/ 40428 w 752994"/>
                <a:gd name="connsiteY231" fmla="*/ 797924 h 1333436"/>
                <a:gd name="connsiteX232" fmla="*/ 37565 w 752994"/>
                <a:gd name="connsiteY232" fmla="*/ 790606 h 1333436"/>
                <a:gd name="connsiteX233" fmla="*/ 37565 w 752994"/>
                <a:gd name="connsiteY233" fmla="*/ 790399 h 1333436"/>
                <a:gd name="connsiteX234" fmla="*/ 35931 w 752994"/>
                <a:gd name="connsiteY234" fmla="*/ 785912 h 1333436"/>
                <a:gd name="connsiteX235" fmla="*/ 34510 w 752994"/>
                <a:gd name="connsiteY235" fmla="*/ 780597 h 1333436"/>
                <a:gd name="connsiteX236" fmla="*/ 36335 w 752994"/>
                <a:gd name="connsiteY236" fmla="*/ 774280 h 1333436"/>
                <a:gd name="connsiteX237" fmla="*/ 38180 w 752994"/>
                <a:gd name="connsiteY237" fmla="*/ 766721 h 1333436"/>
                <a:gd name="connsiteX238" fmla="*/ 37161 w 752994"/>
                <a:gd name="connsiteY238" fmla="*/ 760405 h 1333436"/>
                <a:gd name="connsiteX239" fmla="*/ 35720 w 752994"/>
                <a:gd name="connsiteY239" fmla="*/ 754710 h 1333436"/>
                <a:gd name="connsiteX240" fmla="*/ 36546 w 752994"/>
                <a:gd name="connsiteY240" fmla="*/ 748773 h 1333436"/>
                <a:gd name="connsiteX241" fmla="*/ 38372 w 752994"/>
                <a:gd name="connsiteY241" fmla="*/ 744528 h 1333436"/>
                <a:gd name="connsiteX242" fmla="*/ 41638 w 752994"/>
                <a:gd name="connsiteY242" fmla="*/ 744321 h 1333436"/>
                <a:gd name="connsiteX243" fmla="*/ 44713 w 752994"/>
                <a:gd name="connsiteY243" fmla="*/ 746357 h 1333436"/>
                <a:gd name="connsiteX244" fmla="*/ 47364 w 752994"/>
                <a:gd name="connsiteY244" fmla="*/ 753260 h 1333436"/>
                <a:gd name="connsiteX245" fmla="*/ 55742 w 752994"/>
                <a:gd name="connsiteY245" fmla="*/ 764305 h 1333436"/>
                <a:gd name="connsiteX246" fmla="*/ 56338 w 752994"/>
                <a:gd name="connsiteY246" fmla="*/ 761233 h 1333436"/>
                <a:gd name="connsiteX247" fmla="*/ 56145 w 752994"/>
                <a:gd name="connsiteY247" fmla="*/ 757368 h 1333436"/>
                <a:gd name="connsiteX248" fmla="*/ 54916 w 752994"/>
                <a:gd name="connsiteY248" fmla="*/ 748601 h 1333436"/>
                <a:gd name="connsiteX249" fmla="*/ 52879 w 752994"/>
                <a:gd name="connsiteY249" fmla="*/ 747358 h 1333436"/>
                <a:gd name="connsiteX250" fmla="*/ 51649 w 752994"/>
                <a:gd name="connsiteY250" fmla="*/ 745322 h 1333436"/>
                <a:gd name="connsiteX251" fmla="*/ 51649 w 752994"/>
                <a:gd name="connsiteY251" fmla="*/ 739212 h 1333436"/>
                <a:gd name="connsiteX252" fmla="*/ 50227 w 752994"/>
                <a:gd name="connsiteY252" fmla="*/ 734725 h 1333436"/>
                <a:gd name="connsiteX253" fmla="*/ 48786 w 752994"/>
                <a:gd name="connsiteY253" fmla="*/ 731446 h 1333436"/>
                <a:gd name="connsiteX254" fmla="*/ 54512 w 752994"/>
                <a:gd name="connsiteY254" fmla="*/ 726372 h 1333436"/>
                <a:gd name="connsiteX255" fmla="*/ 59815 w 752994"/>
                <a:gd name="connsiteY255" fmla="*/ 725130 h 1333436"/>
                <a:gd name="connsiteX256" fmla="*/ 58182 w 752994"/>
                <a:gd name="connsiteY256" fmla="*/ 722886 h 1333436"/>
                <a:gd name="connsiteX257" fmla="*/ 51861 w 752994"/>
                <a:gd name="connsiteY257" fmla="*/ 717985 h 1333436"/>
                <a:gd name="connsiteX258" fmla="*/ 46749 w 752994"/>
                <a:gd name="connsiteY258" fmla="*/ 729617 h 1333436"/>
                <a:gd name="connsiteX259" fmla="*/ 40831 w 752994"/>
                <a:gd name="connsiteY259" fmla="*/ 739212 h 1333436"/>
                <a:gd name="connsiteX260" fmla="*/ 39601 w 752994"/>
                <a:gd name="connsiteY260" fmla="*/ 738798 h 1333436"/>
                <a:gd name="connsiteX261" fmla="*/ 39409 w 752994"/>
                <a:gd name="connsiteY261" fmla="*/ 738591 h 1333436"/>
                <a:gd name="connsiteX262" fmla="*/ 37161 w 752994"/>
                <a:gd name="connsiteY262" fmla="*/ 734725 h 1333436"/>
                <a:gd name="connsiteX263" fmla="*/ 32665 w 752994"/>
                <a:gd name="connsiteY263" fmla="*/ 727788 h 1333436"/>
                <a:gd name="connsiteX264" fmla="*/ 26747 w 752994"/>
                <a:gd name="connsiteY264" fmla="*/ 719435 h 1333436"/>
                <a:gd name="connsiteX265" fmla="*/ 23884 w 752994"/>
                <a:gd name="connsiteY265" fmla="*/ 717812 h 1333436"/>
                <a:gd name="connsiteX266" fmla="*/ 24710 w 752994"/>
                <a:gd name="connsiteY266" fmla="*/ 709632 h 1333436"/>
                <a:gd name="connsiteX267" fmla="*/ 27554 w 752994"/>
                <a:gd name="connsiteY267" fmla="*/ 701694 h 1333436"/>
                <a:gd name="connsiteX268" fmla="*/ 24902 w 752994"/>
                <a:gd name="connsiteY268" fmla="*/ 696171 h 1333436"/>
                <a:gd name="connsiteX269" fmla="*/ 24095 w 752994"/>
                <a:gd name="connsiteY269" fmla="*/ 687818 h 1333436"/>
                <a:gd name="connsiteX270" fmla="*/ 22462 w 752994"/>
                <a:gd name="connsiteY270" fmla="*/ 682330 h 1333436"/>
                <a:gd name="connsiteX271" fmla="*/ 17159 w 752994"/>
                <a:gd name="connsiteY271" fmla="*/ 677636 h 1333436"/>
                <a:gd name="connsiteX272" fmla="*/ 14296 w 752994"/>
                <a:gd name="connsiteY272" fmla="*/ 671492 h 1333436"/>
                <a:gd name="connsiteX273" fmla="*/ 12451 w 752994"/>
                <a:gd name="connsiteY273" fmla="*/ 665797 h 1333436"/>
                <a:gd name="connsiteX274" fmla="*/ 5111 w 752994"/>
                <a:gd name="connsiteY274" fmla="*/ 654994 h 1333436"/>
                <a:gd name="connsiteX275" fmla="*/ 2248 w 752994"/>
                <a:gd name="connsiteY275" fmla="*/ 645605 h 1333436"/>
                <a:gd name="connsiteX276" fmla="*/ 4496 w 752994"/>
                <a:gd name="connsiteY276" fmla="*/ 640497 h 1333436"/>
                <a:gd name="connsiteX277" fmla="*/ 6744 w 752994"/>
                <a:gd name="connsiteY277" fmla="*/ 632765 h 1333436"/>
                <a:gd name="connsiteX278" fmla="*/ 6744 w 752994"/>
                <a:gd name="connsiteY278" fmla="*/ 628485 h 1333436"/>
                <a:gd name="connsiteX279" fmla="*/ 6533 w 752994"/>
                <a:gd name="connsiteY279" fmla="*/ 620305 h 1333436"/>
                <a:gd name="connsiteX280" fmla="*/ 7359 w 752994"/>
                <a:gd name="connsiteY280" fmla="*/ 611745 h 1333436"/>
                <a:gd name="connsiteX281" fmla="*/ 11836 w 752994"/>
                <a:gd name="connsiteY281" fmla="*/ 602978 h 1333436"/>
                <a:gd name="connsiteX282" fmla="*/ 15103 w 752994"/>
                <a:gd name="connsiteY282" fmla="*/ 591760 h 1333436"/>
                <a:gd name="connsiteX283" fmla="*/ 14488 w 752994"/>
                <a:gd name="connsiteY283" fmla="*/ 584029 h 1333436"/>
                <a:gd name="connsiteX284" fmla="*/ 13873 w 752994"/>
                <a:gd name="connsiteY284" fmla="*/ 578299 h 1333436"/>
                <a:gd name="connsiteX285" fmla="*/ 10626 w 752994"/>
                <a:gd name="connsiteY285" fmla="*/ 568531 h 1333436"/>
                <a:gd name="connsiteX286" fmla="*/ 3670 w 752994"/>
                <a:gd name="connsiteY286" fmla="*/ 558107 h 1333436"/>
                <a:gd name="connsiteX287" fmla="*/ 0 w 752994"/>
                <a:gd name="connsiteY287" fmla="*/ 551377 h 1333436"/>
                <a:gd name="connsiteX288" fmla="*/ 0 w 752994"/>
                <a:gd name="connsiteY288" fmla="*/ 550997 h 1333436"/>
                <a:gd name="connsiteX289" fmla="*/ 4900 w 752994"/>
                <a:gd name="connsiteY289" fmla="*/ 531220 h 1333436"/>
                <a:gd name="connsiteX290" fmla="*/ 13873 w 752994"/>
                <a:gd name="connsiteY290" fmla="*/ 520589 h 1333436"/>
                <a:gd name="connsiteX291" fmla="*/ 18369 w 752994"/>
                <a:gd name="connsiteY291" fmla="*/ 516516 h 1333436"/>
                <a:gd name="connsiteX292" fmla="*/ 18773 w 752994"/>
                <a:gd name="connsiteY292" fmla="*/ 514272 h 1333436"/>
                <a:gd name="connsiteX293" fmla="*/ 23077 w 752994"/>
                <a:gd name="connsiteY293" fmla="*/ 506127 h 1333436"/>
                <a:gd name="connsiteX294" fmla="*/ 23884 w 752994"/>
                <a:gd name="connsiteY294" fmla="*/ 502261 h 1333436"/>
                <a:gd name="connsiteX295" fmla="*/ 23692 w 752994"/>
                <a:gd name="connsiteY295" fmla="*/ 496738 h 1333436"/>
                <a:gd name="connsiteX296" fmla="*/ 30013 w 752994"/>
                <a:gd name="connsiteY296" fmla="*/ 486556 h 1333436"/>
                <a:gd name="connsiteX297" fmla="*/ 36546 w 752994"/>
                <a:gd name="connsiteY297" fmla="*/ 470230 h 1333436"/>
                <a:gd name="connsiteX298" fmla="*/ 36546 w 752994"/>
                <a:gd name="connsiteY298" fmla="*/ 462671 h 1333436"/>
                <a:gd name="connsiteX299" fmla="*/ 36335 w 752994"/>
                <a:gd name="connsiteY299" fmla="*/ 461670 h 1333436"/>
                <a:gd name="connsiteX300" fmla="*/ 35931 w 752994"/>
                <a:gd name="connsiteY300" fmla="*/ 453110 h 1333436"/>
                <a:gd name="connsiteX301" fmla="*/ 38583 w 752994"/>
                <a:gd name="connsiteY301" fmla="*/ 442514 h 1333436"/>
                <a:gd name="connsiteX302" fmla="*/ 41043 w 752994"/>
                <a:gd name="connsiteY302" fmla="*/ 436991 h 1333436"/>
                <a:gd name="connsiteX303" fmla="*/ 41650 w 752994"/>
                <a:gd name="connsiteY303" fmla="*/ 437186 h 1333436"/>
                <a:gd name="connsiteX304" fmla="*/ 41239 w 752994"/>
                <a:gd name="connsiteY304" fmla="*/ 436549 h 1333436"/>
                <a:gd name="connsiteX305" fmla="*/ 37778 w 752994"/>
                <a:gd name="connsiteY305" fmla="*/ 433894 h 1333436"/>
                <a:gd name="connsiteX306" fmla="*/ 37169 w 752994"/>
                <a:gd name="connsiteY306" fmla="*/ 432261 h 1333436"/>
                <a:gd name="connsiteX307" fmla="*/ 37365 w 752994"/>
                <a:gd name="connsiteY307" fmla="*/ 429198 h 1333436"/>
                <a:gd name="connsiteX308" fmla="*/ 36756 w 752994"/>
                <a:gd name="connsiteY308" fmla="*/ 422272 h 1333436"/>
                <a:gd name="connsiteX309" fmla="*/ 36952 w 752994"/>
                <a:gd name="connsiteY309" fmla="*/ 418800 h 1333436"/>
                <a:gd name="connsiteX310" fmla="*/ 36756 w 752994"/>
                <a:gd name="connsiteY310" fmla="*/ 412487 h 1333436"/>
                <a:gd name="connsiteX311" fmla="*/ 40433 w 752994"/>
                <a:gd name="connsiteY311" fmla="*/ 406174 h 1333436"/>
                <a:gd name="connsiteX312" fmla="*/ 44720 w 752994"/>
                <a:gd name="connsiteY312" fmla="*/ 399435 h 1333436"/>
                <a:gd name="connsiteX313" fmla="*/ 44110 w 752994"/>
                <a:gd name="connsiteY313" fmla="*/ 389651 h 1333436"/>
                <a:gd name="connsiteX314" fmla="*/ 43894 w 752994"/>
                <a:gd name="connsiteY314" fmla="*/ 378437 h 1333436"/>
                <a:gd name="connsiteX315" fmla="*/ 47158 w 752994"/>
                <a:gd name="connsiteY315" fmla="*/ 371102 h 1333436"/>
                <a:gd name="connsiteX316" fmla="*/ 55731 w 752994"/>
                <a:gd name="connsiteY316" fmla="*/ 360909 h 1333436"/>
                <a:gd name="connsiteX317" fmla="*/ 57580 w 752994"/>
                <a:gd name="connsiteY317" fmla="*/ 355804 h 1333436"/>
                <a:gd name="connsiteX318" fmla="*/ 62673 w 752994"/>
                <a:gd name="connsiteY318" fmla="*/ 349695 h 1333436"/>
                <a:gd name="connsiteX319" fmla="*/ 65937 w 752994"/>
                <a:gd name="connsiteY319" fmla="*/ 348470 h 1333436"/>
                <a:gd name="connsiteX320" fmla="*/ 68395 w 752994"/>
                <a:gd name="connsiteY320" fmla="*/ 348674 h 1333436"/>
                <a:gd name="connsiteX321" fmla="*/ 70224 w 752994"/>
                <a:gd name="connsiteY321" fmla="*/ 347449 h 1333436"/>
                <a:gd name="connsiteX322" fmla="*/ 67785 w 752994"/>
                <a:gd name="connsiteY322" fmla="*/ 345203 h 1333436"/>
                <a:gd name="connsiteX323" fmla="*/ 65524 w 752994"/>
                <a:gd name="connsiteY323" fmla="*/ 343178 h 1333436"/>
                <a:gd name="connsiteX324" fmla="*/ 73095 w 752994"/>
                <a:gd name="connsiteY324" fmla="*/ 333376 h 1333436"/>
                <a:gd name="connsiteX325" fmla="*/ 73291 w 752994"/>
                <a:gd name="connsiteY325" fmla="*/ 333376 h 1333436"/>
                <a:gd name="connsiteX326" fmla="*/ 77991 w 752994"/>
                <a:gd name="connsiteY326" fmla="*/ 325838 h 1333436"/>
                <a:gd name="connsiteX327" fmla="*/ 82671 w 752994"/>
                <a:gd name="connsiteY327" fmla="*/ 313619 h 1333436"/>
                <a:gd name="connsiteX328" fmla="*/ 87980 w 752994"/>
                <a:gd name="connsiteY328" fmla="*/ 303018 h 1333436"/>
                <a:gd name="connsiteX329" fmla="*/ 92267 w 752994"/>
                <a:gd name="connsiteY329" fmla="*/ 291191 h 1333436"/>
                <a:gd name="connsiteX330" fmla="*/ 96553 w 752994"/>
                <a:gd name="connsiteY330" fmla="*/ 281202 h 1333436"/>
                <a:gd name="connsiteX331" fmla="*/ 99621 w 752994"/>
                <a:gd name="connsiteY331" fmla="*/ 274481 h 1333436"/>
                <a:gd name="connsiteX332" fmla="*/ 103082 w 752994"/>
                <a:gd name="connsiteY332" fmla="*/ 262450 h 1333436"/>
                <a:gd name="connsiteX333" fmla="*/ 107172 w 752994"/>
                <a:gd name="connsiteY333" fmla="*/ 254299 h 1333436"/>
                <a:gd name="connsiteX334" fmla="*/ 112481 w 752994"/>
                <a:gd name="connsiteY334" fmla="*/ 243697 h 1333436"/>
                <a:gd name="connsiteX335" fmla="*/ 117181 w 752994"/>
                <a:gd name="connsiteY335" fmla="*/ 232279 h 1333436"/>
                <a:gd name="connsiteX336" fmla="*/ 125951 w 752994"/>
                <a:gd name="connsiteY336" fmla="*/ 217389 h 1333436"/>
                <a:gd name="connsiteX337" fmla="*/ 136156 w 752994"/>
                <a:gd name="connsiteY337" fmla="*/ 202925 h 1333436"/>
                <a:gd name="connsiteX338" fmla="*/ 138811 w 752994"/>
                <a:gd name="connsiteY338" fmla="*/ 183339 h 1333436"/>
                <a:gd name="connsiteX339" fmla="*/ 148801 w 752994"/>
                <a:gd name="connsiteY339" fmla="*/ 167445 h 1333436"/>
                <a:gd name="connsiteX340" fmla="*/ 159616 w 752994"/>
                <a:gd name="connsiteY340" fmla="*/ 170712 h 1333436"/>
                <a:gd name="connsiteX341" fmla="*/ 173105 w 752994"/>
                <a:gd name="connsiteY341" fmla="*/ 175188 h 1333436"/>
                <a:gd name="connsiteX342" fmla="*/ 175347 w 752994"/>
                <a:gd name="connsiteY342" fmla="*/ 175188 h 1333436"/>
                <a:gd name="connsiteX343" fmla="*/ 175347 w 752994"/>
                <a:gd name="connsiteY343" fmla="*/ 173758 h 1333436"/>
                <a:gd name="connsiteX344" fmla="*/ 184975 w 752994"/>
                <a:gd name="connsiteY344" fmla="*/ 187393 h 1333436"/>
                <a:gd name="connsiteX345" fmla="*/ 184762 w 752994"/>
                <a:gd name="connsiteY345" fmla="*/ 184637 h 1333436"/>
                <a:gd name="connsiteX346" fmla="*/ 174971 w 752994"/>
                <a:gd name="connsiteY346" fmla="*/ 170774 h 1333436"/>
                <a:gd name="connsiteX347" fmla="*/ 174971 w 752994"/>
                <a:gd name="connsiteY347" fmla="*/ 169550 h 1333436"/>
                <a:gd name="connsiteX348" fmla="*/ 158851 w 752994"/>
                <a:gd name="connsiteY348" fmla="*/ 156924 h 1333436"/>
                <a:gd name="connsiteX349" fmla="*/ 147025 w 752994"/>
                <a:gd name="connsiteY349" fmla="*/ 145709 h 1333436"/>
                <a:gd name="connsiteX350" fmla="*/ 154364 w 752994"/>
                <a:gd name="connsiteY350" fmla="*/ 136335 h 1333436"/>
                <a:gd name="connsiteX351" fmla="*/ 161511 w 752994"/>
                <a:gd name="connsiteY351" fmla="*/ 131042 h 1333436"/>
                <a:gd name="connsiteX352" fmla="*/ 160902 w 752994"/>
                <a:gd name="connsiteY352" fmla="*/ 128384 h 1333436"/>
                <a:gd name="connsiteX353" fmla="*/ 160277 w 752994"/>
                <a:gd name="connsiteY353" fmla="*/ 127778 h 1333436"/>
                <a:gd name="connsiteX354" fmla="*/ 154973 w 752994"/>
                <a:gd name="connsiteY354" fmla="*/ 122077 h 1333436"/>
                <a:gd name="connsiteX355" fmla="*/ 160277 w 752994"/>
                <a:gd name="connsiteY355" fmla="*/ 115140 h 1333436"/>
                <a:gd name="connsiteX356" fmla="*/ 165181 w 752994"/>
                <a:gd name="connsiteY356" fmla="*/ 108215 h 1333436"/>
                <a:gd name="connsiteX357" fmla="*/ 161303 w 752994"/>
                <a:gd name="connsiteY357" fmla="*/ 104146 h 1333436"/>
                <a:gd name="connsiteX358" fmla="*/ 157842 w 752994"/>
                <a:gd name="connsiteY358" fmla="*/ 104542 h 1333436"/>
                <a:gd name="connsiteX359" fmla="*/ 157024 w 752994"/>
                <a:gd name="connsiteY359" fmla="*/ 102304 h 1333436"/>
                <a:gd name="connsiteX360" fmla="*/ 160694 w 752994"/>
                <a:gd name="connsiteY360" fmla="*/ 55437 h 1333436"/>
                <a:gd name="connsiteX361" fmla="*/ 160486 w 752994"/>
                <a:gd name="connsiteY361" fmla="*/ 31991 h 1333436"/>
                <a:gd name="connsiteX362" fmla="*/ 164972 w 752994"/>
                <a:gd name="connsiteY362" fmla="*/ 18141 h 1333436"/>
                <a:gd name="connsiteX363" fmla="*/ 171911 w 752994"/>
                <a:gd name="connsiteY363" fmla="*/ 11204 h 1333436"/>
                <a:gd name="connsiteX364" fmla="*/ 187406 w 752994"/>
                <a:gd name="connsiteY364" fmla="*/ 21801 h 1333436"/>
                <a:gd name="connsiteX365" fmla="*/ 210866 w 752994"/>
                <a:gd name="connsiteY365" fmla="*/ 37086 h 1333436"/>
                <a:gd name="connsiteX366" fmla="*/ 219230 w 752994"/>
                <a:gd name="connsiteY366" fmla="*/ 41166 h 1333436"/>
                <a:gd name="connsiteX367" fmla="*/ 226778 w 752994"/>
                <a:gd name="connsiteY367" fmla="*/ 47486 h 1333436"/>
                <a:gd name="connsiteX368" fmla="*/ 236152 w 752994"/>
                <a:gd name="connsiteY368" fmla="*/ 52370 h 1333436"/>
                <a:gd name="connsiteX369" fmla="*/ 239629 w 752994"/>
                <a:gd name="connsiteY369" fmla="*/ 58491 h 1333436"/>
                <a:gd name="connsiteX370" fmla="*/ 239629 w 752994"/>
                <a:gd name="connsiteY370" fmla="*/ 63376 h 1333436"/>
                <a:gd name="connsiteX371" fmla="*/ 236568 w 752994"/>
                <a:gd name="connsiteY371" fmla="*/ 67457 h 1333436"/>
                <a:gd name="connsiteX372" fmla="*/ 231264 w 752994"/>
                <a:gd name="connsiteY372" fmla="*/ 69905 h 1333436"/>
                <a:gd name="connsiteX373" fmla="*/ 216778 w 752994"/>
                <a:gd name="connsiteY373" fmla="*/ 82741 h 1333436"/>
                <a:gd name="connsiteX374" fmla="*/ 214134 w 752994"/>
                <a:gd name="connsiteY374" fmla="*/ 93536 h 1333436"/>
                <a:gd name="connsiteX375" fmla="*/ 214535 w 752994"/>
                <a:gd name="connsiteY375" fmla="*/ 96801 h 1333436"/>
                <a:gd name="connsiteX376" fmla="*/ 216378 w 752994"/>
                <a:gd name="connsiteY376" fmla="*/ 96801 h 1333436"/>
                <a:gd name="connsiteX377" fmla="*/ 230046 w 752994"/>
                <a:gd name="connsiteY377" fmla="*/ 85387 h 1333436"/>
                <a:gd name="connsiteX378" fmla="*/ 243298 w 752994"/>
                <a:gd name="connsiteY378" fmla="*/ 75198 h 1333436"/>
                <a:gd name="connsiteX379" fmla="*/ 246760 w 752994"/>
                <a:gd name="connsiteY379" fmla="*/ 77646 h 1333436"/>
                <a:gd name="connsiteX380" fmla="*/ 255541 w 752994"/>
                <a:gd name="connsiteY380" fmla="*/ 63376 h 1333436"/>
                <a:gd name="connsiteX381" fmla="*/ 259611 w 752994"/>
                <a:gd name="connsiteY381" fmla="*/ 43405 h 1333436"/>
                <a:gd name="connsiteX382" fmla="*/ 256967 w 752994"/>
                <a:gd name="connsiteY382" fmla="*/ 38520 h 1333436"/>
                <a:gd name="connsiteX383" fmla="*/ 253906 w 752994"/>
                <a:gd name="connsiteY383" fmla="*/ 34242 h 1333436"/>
                <a:gd name="connsiteX384" fmla="*/ 256967 w 752994"/>
                <a:gd name="connsiteY384" fmla="*/ 30161 h 1333436"/>
                <a:gd name="connsiteX385" fmla="*/ 262063 w 752994"/>
                <a:gd name="connsiteY385" fmla="*/ 27712 h 1333436"/>
                <a:gd name="connsiteX386" fmla="*/ 264915 w 752994"/>
                <a:gd name="connsiteY386" fmla="*/ 23026 h 1333436"/>
                <a:gd name="connsiteX387" fmla="*/ 267976 w 752994"/>
                <a:gd name="connsiteY387" fmla="*/ 22618 h 1333436"/>
                <a:gd name="connsiteX388" fmla="*/ 270427 w 752994"/>
                <a:gd name="connsiteY388" fmla="*/ 20787 h 1333436"/>
                <a:gd name="connsiteX389" fmla="*/ 263088 w 752994"/>
                <a:gd name="connsiteY389" fmla="*/ 13652 h 1333436"/>
                <a:gd name="connsiteX390" fmla="*/ 255541 w 752994"/>
                <a:gd name="connsiteY390" fmla="*/ 3055 h 1333436"/>
                <a:gd name="connsiteX391" fmla="*/ 256358 w 752994"/>
                <a:gd name="connsiteY391" fmla="*/ 1224 h 1333436"/>
                <a:gd name="connsiteX392" fmla="*/ 257159 w 752994"/>
                <a:gd name="connsiteY392"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403787 w 752994"/>
                <a:gd name="connsiteY163" fmla="*/ 963290 h 1333436"/>
                <a:gd name="connsiteX164" fmla="*/ 404052 w 752994"/>
                <a:gd name="connsiteY164" fmla="*/ 963688 h 1333436"/>
                <a:gd name="connsiteX165" fmla="*/ 406917 w 752994"/>
                <a:gd name="connsiteY165" fmla="*/ 957427 h 1333436"/>
                <a:gd name="connsiteX166" fmla="*/ 414454 w 752994"/>
                <a:gd name="connsiteY166" fmla="*/ 952534 h 1333436"/>
                <a:gd name="connsiteX167" fmla="*/ 689408 w 752994"/>
                <a:gd name="connsiteY167" fmla="*/ 945184 h 1333436"/>
                <a:gd name="connsiteX168" fmla="*/ 710622 w 752994"/>
                <a:gd name="connsiteY168" fmla="*/ 948043 h 1333436"/>
                <a:gd name="connsiteX169" fmla="*/ 654533 w 752994"/>
                <a:gd name="connsiteY169" fmla="*/ 1333436 h 1333436"/>
                <a:gd name="connsiteX170" fmla="*/ 546831 w 752994"/>
                <a:gd name="connsiteY170" fmla="*/ 1317126 h 1333436"/>
                <a:gd name="connsiteX171" fmla="*/ 351227 w 752994"/>
                <a:gd name="connsiteY171" fmla="*/ 1194172 h 1333436"/>
                <a:gd name="connsiteX172" fmla="*/ 361011 w 752994"/>
                <a:gd name="connsiteY172" fmla="*/ 1182755 h 1333436"/>
                <a:gd name="connsiteX173" fmla="*/ 368981 w 752994"/>
                <a:gd name="connsiteY173" fmla="*/ 1182130 h 1333436"/>
                <a:gd name="connsiteX174" fmla="*/ 369571 w 752994"/>
                <a:gd name="connsiteY174" fmla="*/ 1181558 h 1333436"/>
                <a:gd name="connsiteX175" fmla="*/ 362372 w 752994"/>
                <a:gd name="connsiteY175" fmla="*/ 1182120 h 1333436"/>
                <a:gd name="connsiteX176" fmla="*/ 229464 w 752994"/>
                <a:gd name="connsiteY176" fmla="*/ 1161721 h 1333436"/>
                <a:gd name="connsiteX177" fmla="*/ 227427 w 752994"/>
                <a:gd name="connsiteY177" fmla="*/ 1157269 h 1333436"/>
                <a:gd name="connsiteX178" fmla="*/ 224967 w 752994"/>
                <a:gd name="connsiteY178" fmla="*/ 1152575 h 1333436"/>
                <a:gd name="connsiteX179" fmla="*/ 225582 w 752994"/>
                <a:gd name="connsiteY179" fmla="*/ 1144808 h 1333436"/>
                <a:gd name="connsiteX180" fmla="*/ 227215 w 752994"/>
                <a:gd name="connsiteY180" fmla="*/ 1135834 h 1333436"/>
                <a:gd name="connsiteX181" fmla="*/ 227215 w 752994"/>
                <a:gd name="connsiteY181" fmla="*/ 1134212 h 1333436"/>
                <a:gd name="connsiteX182" fmla="*/ 225179 w 752994"/>
                <a:gd name="connsiteY182" fmla="*/ 1114020 h 1333436"/>
                <a:gd name="connsiteX183" fmla="*/ 217839 w 752994"/>
                <a:gd name="connsiteY183" fmla="*/ 1100352 h 1333436"/>
                <a:gd name="connsiteX184" fmla="*/ 199661 w 752994"/>
                <a:gd name="connsiteY184" fmla="*/ 1076502 h 1333436"/>
                <a:gd name="connsiteX185" fmla="*/ 196395 w 752994"/>
                <a:gd name="connsiteY185" fmla="*/ 1071807 h 1333436"/>
                <a:gd name="connsiteX186" fmla="*/ 190880 w 752994"/>
                <a:gd name="connsiteY186" fmla="*/ 1067527 h 1333436"/>
                <a:gd name="connsiteX187" fmla="*/ 187210 w 752994"/>
                <a:gd name="connsiteY187" fmla="*/ 1068735 h 1333436"/>
                <a:gd name="connsiteX188" fmla="*/ 180062 w 752994"/>
                <a:gd name="connsiteY188" fmla="*/ 1066699 h 1333436"/>
                <a:gd name="connsiteX189" fmla="*/ 180466 w 752994"/>
                <a:gd name="connsiteY189" fmla="*/ 1053031 h 1333436"/>
                <a:gd name="connsiteX190" fmla="*/ 180062 w 752994"/>
                <a:gd name="connsiteY190" fmla="*/ 1045299 h 1333436"/>
                <a:gd name="connsiteX191" fmla="*/ 174144 w 752994"/>
                <a:gd name="connsiteY191" fmla="*/ 1044057 h 1333436"/>
                <a:gd name="connsiteX192" fmla="*/ 158426 w 752994"/>
                <a:gd name="connsiteY192" fmla="*/ 1042641 h 1333436"/>
                <a:gd name="connsiteX193" fmla="*/ 149857 w 752994"/>
                <a:gd name="connsiteY193" fmla="*/ 1035497 h 1333436"/>
                <a:gd name="connsiteX194" fmla="*/ 142497 w 752994"/>
                <a:gd name="connsiteY194" fmla="*/ 1028766 h 1333436"/>
                <a:gd name="connsiteX195" fmla="*/ 140864 w 752994"/>
                <a:gd name="connsiteY195" fmla="*/ 1020620 h 1333436"/>
                <a:gd name="connsiteX196" fmla="*/ 138212 w 752994"/>
                <a:gd name="connsiteY196" fmla="*/ 1013061 h 1333436"/>
                <a:gd name="connsiteX197" fmla="*/ 131064 w 752994"/>
                <a:gd name="connsiteY197" fmla="*/ 1007159 h 1333436"/>
                <a:gd name="connsiteX198" fmla="*/ 121264 w 752994"/>
                <a:gd name="connsiteY198" fmla="*/ 1005330 h 1333436"/>
                <a:gd name="connsiteX199" fmla="*/ 112483 w 752994"/>
                <a:gd name="connsiteY199" fmla="*/ 1001671 h 1333436"/>
                <a:gd name="connsiteX200" fmla="*/ 105950 w 752994"/>
                <a:gd name="connsiteY200" fmla="*/ 995734 h 1333436"/>
                <a:gd name="connsiteX201" fmla="*/ 97380 w 752994"/>
                <a:gd name="connsiteY201" fmla="*/ 994526 h 1333436"/>
                <a:gd name="connsiteX202" fmla="*/ 87984 w 752994"/>
                <a:gd name="connsiteY202" fmla="*/ 991040 h 1333436"/>
                <a:gd name="connsiteX203" fmla="*/ 80029 w 752994"/>
                <a:gd name="connsiteY203" fmla="*/ 985138 h 1333436"/>
                <a:gd name="connsiteX204" fmla="*/ 77166 w 752994"/>
                <a:gd name="connsiteY204" fmla="*/ 976164 h 1333436"/>
                <a:gd name="connsiteX205" fmla="*/ 79203 w 752994"/>
                <a:gd name="connsiteY205" fmla="*/ 970676 h 1333436"/>
                <a:gd name="connsiteX206" fmla="*/ 82470 w 752994"/>
                <a:gd name="connsiteY206" fmla="*/ 963117 h 1333436"/>
                <a:gd name="connsiteX207" fmla="*/ 84314 w 752994"/>
                <a:gd name="connsiteY207" fmla="*/ 954557 h 1333436"/>
                <a:gd name="connsiteX208" fmla="*/ 86351 w 752994"/>
                <a:gd name="connsiteY208" fmla="*/ 948033 h 1333436"/>
                <a:gd name="connsiteX209" fmla="*/ 86159 w 752994"/>
                <a:gd name="connsiteY209" fmla="*/ 942925 h 1333436"/>
                <a:gd name="connsiteX210" fmla="*/ 83085 w 752994"/>
                <a:gd name="connsiteY210" fmla="*/ 939853 h 1333436"/>
                <a:gd name="connsiteX211" fmla="*/ 77570 w 752994"/>
                <a:gd name="connsiteY211" fmla="*/ 937437 h 1333436"/>
                <a:gd name="connsiteX212" fmla="*/ 76763 w 752994"/>
                <a:gd name="connsiteY212" fmla="*/ 931915 h 1333436"/>
                <a:gd name="connsiteX213" fmla="*/ 78800 w 752994"/>
                <a:gd name="connsiteY213" fmla="*/ 927013 h 1333436"/>
                <a:gd name="connsiteX214" fmla="*/ 79626 w 752994"/>
                <a:gd name="connsiteY214" fmla="*/ 922526 h 1333436"/>
                <a:gd name="connsiteX215" fmla="*/ 77781 w 752994"/>
                <a:gd name="connsiteY215" fmla="*/ 919903 h 1333436"/>
                <a:gd name="connsiteX216" fmla="*/ 74303 w 752994"/>
                <a:gd name="connsiteY216" fmla="*/ 917418 h 1333436"/>
                <a:gd name="connsiteX217" fmla="*/ 71863 w 752994"/>
                <a:gd name="connsiteY217" fmla="*/ 915174 h 1333436"/>
                <a:gd name="connsiteX218" fmla="*/ 71652 w 752994"/>
                <a:gd name="connsiteY218" fmla="*/ 910894 h 1333436"/>
                <a:gd name="connsiteX219" fmla="*/ 70633 w 752994"/>
                <a:gd name="connsiteY219" fmla="*/ 906614 h 1333436"/>
                <a:gd name="connsiteX220" fmla="*/ 68385 w 752994"/>
                <a:gd name="connsiteY220" fmla="*/ 902749 h 1333436"/>
                <a:gd name="connsiteX221" fmla="*/ 61045 w 752994"/>
                <a:gd name="connsiteY221" fmla="*/ 889494 h 1333436"/>
                <a:gd name="connsiteX222" fmla="*/ 57971 w 752994"/>
                <a:gd name="connsiteY222" fmla="*/ 875619 h 1333436"/>
                <a:gd name="connsiteX223" fmla="*/ 52264 w 752994"/>
                <a:gd name="connsiteY223" fmla="*/ 862572 h 1333436"/>
                <a:gd name="connsiteX224" fmla="*/ 44309 w 752994"/>
                <a:gd name="connsiteY224" fmla="*/ 850561 h 1333436"/>
                <a:gd name="connsiteX225" fmla="*/ 45520 w 752994"/>
                <a:gd name="connsiteY225" fmla="*/ 827090 h 1333436"/>
                <a:gd name="connsiteX226" fmla="*/ 53071 w 752994"/>
                <a:gd name="connsiteY226" fmla="*/ 822396 h 1333436"/>
                <a:gd name="connsiteX227" fmla="*/ 57375 w 752994"/>
                <a:gd name="connsiteY227" fmla="*/ 816493 h 1333436"/>
                <a:gd name="connsiteX228" fmla="*/ 55319 w 752994"/>
                <a:gd name="connsiteY228" fmla="*/ 801617 h 1333436"/>
                <a:gd name="connsiteX229" fmla="*/ 48383 w 752994"/>
                <a:gd name="connsiteY229" fmla="*/ 802204 h 1333436"/>
                <a:gd name="connsiteX230" fmla="*/ 40428 w 752994"/>
                <a:gd name="connsiteY230" fmla="*/ 797924 h 1333436"/>
                <a:gd name="connsiteX231" fmla="*/ 37565 w 752994"/>
                <a:gd name="connsiteY231" fmla="*/ 790606 h 1333436"/>
                <a:gd name="connsiteX232" fmla="*/ 37565 w 752994"/>
                <a:gd name="connsiteY232" fmla="*/ 790399 h 1333436"/>
                <a:gd name="connsiteX233" fmla="*/ 35931 w 752994"/>
                <a:gd name="connsiteY233" fmla="*/ 785912 h 1333436"/>
                <a:gd name="connsiteX234" fmla="*/ 34510 w 752994"/>
                <a:gd name="connsiteY234" fmla="*/ 780597 h 1333436"/>
                <a:gd name="connsiteX235" fmla="*/ 36335 w 752994"/>
                <a:gd name="connsiteY235" fmla="*/ 774280 h 1333436"/>
                <a:gd name="connsiteX236" fmla="*/ 38180 w 752994"/>
                <a:gd name="connsiteY236" fmla="*/ 766721 h 1333436"/>
                <a:gd name="connsiteX237" fmla="*/ 37161 w 752994"/>
                <a:gd name="connsiteY237" fmla="*/ 760405 h 1333436"/>
                <a:gd name="connsiteX238" fmla="*/ 35720 w 752994"/>
                <a:gd name="connsiteY238" fmla="*/ 754710 h 1333436"/>
                <a:gd name="connsiteX239" fmla="*/ 36546 w 752994"/>
                <a:gd name="connsiteY239" fmla="*/ 748773 h 1333436"/>
                <a:gd name="connsiteX240" fmla="*/ 38372 w 752994"/>
                <a:gd name="connsiteY240" fmla="*/ 744528 h 1333436"/>
                <a:gd name="connsiteX241" fmla="*/ 41638 w 752994"/>
                <a:gd name="connsiteY241" fmla="*/ 744321 h 1333436"/>
                <a:gd name="connsiteX242" fmla="*/ 44713 w 752994"/>
                <a:gd name="connsiteY242" fmla="*/ 746357 h 1333436"/>
                <a:gd name="connsiteX243" fmla="*/ 47364 w 752994"/>
                <a:gd name="connsiteY243" fmla="*/ 753260 h 1333436"/>
                <a:gd name="connsiteX244" fmla="*/ 55742 w 752994"/>
                <a:gd name="connsiteY244" fmla="*/ 764305 h 1333436"/>
                <a:gd name="connsiteX245" fmla="*/ 56338 w 752994"/>
                <a:gd name="connsiteY245" fmla="*/ 761233 h 1333436"/>
                <a:gd name="connsiteX246" fmla="*/ 56145 w 752994"/>
                <a:gd name="connsiteY246" fmla="*/ 757368 h 1333436"/>
                <a:gd name="connsiteX247" fmla="*/ 54916 w 752994"/>
                <a:gd name="connsiteY247" fmla="*/ 748601 h 1333436"/>
                <a:gd name="connsiteX248" fmla="*/ 52879 w 752994"/>
                <a:gd name="connsiteY248" fmla="*/ 747358 h 1333436"/>
                <a:gd name="connsiteX249" fmla="*/ 51649 w 752994"/>
                <a:gd name="connsiteY249" fmla="*/ 745322 h 1333436"/>
                <a:gd name="connsiteX250" fmla="*/ 51649 w 752994"/>
                <a:gd name="connsiteY250" fmla="*/ 739212 h 1333436"/>
                <a:gd name="connsiteX251" fmla="*/ 50227 w 752994"/>
                <a:gd name="connsiteY251" fmla="*/ 734725 h 1333436"/>
                <a:gd name="connsiteX252" fmla="*/ 48786 w 752994"/>
                <a:gd name="connsiteY252" fmla="*/ 731446 h 1333436"/>
                <a:gd name="connsiteX253" fmla="*/ 54512 w 752994"/>
                <a:gd name="connsiteY253" fmla="*/ 726372 h 1333436"/>
                <a:gd name="connsiteX254" fmla="*/ 59815 w 752994"/>
                <a:gd name="connsiteY254" fmla="*/ 725130 h 1333436"/>
                <a:gd name="connsiteX255" fmla="*/ 58182 w 752994"/>
                <a:gd name="connsiteY255" fmla="*/ 722886 h 1333436"/>
                <a:gd name="connsiteX256" fmla="*/ 51861 w 752994"/>
                <a:gd name="connsiteY256" fmla="*/ 717985 h 1333436"/>
                <a:gd name="connsiteX257" fmla="*/ 46749 w 752994"/>
                <a:gd name="connsiteY257" fmla="*/ 729617 h 1333436"/>
                <a:gd name="connsiteX258" fmla="*/ 40831 w 752994"/>
                <a:gd name="connsiteY258" fmla="*/ 739212 h 1333436"/>
                <a:gd name="connsiteX259" fmla="*/ 39601 w 752994"/>
                <a:gd name="connsiteY259" fmla="*/ 738798 h 1333436"/>
                <a:gd name="connsiteX260" fmla="*/ 39409 w 752994"/>
                <a:gd name="connsiteY260" fmla="*/ 738591 h 1333436"/>
                <a:gd name="connsiteX261" fmla="*/ 37161 w 752994"/>
                <a:gd name="connsiteY261" fmla="*/ 734725 h 1333436"/>
                <a:gd name="connsiteX262" fmla="*/ 32665 w 752994"/>
                <a:gd name="connsiteY262" fmla="*/ 727788 h 1333436"/>
                <a:gd name="connsiteX263" fmla="*/ 26747 w 752994"/>
                <a:gd name="connsiteY263" fmla="*/ 719435 h 1333436"/>
                <a:gd name="connsiteX264" fmla="*/ 23884 w 752994"/>
                <a:gd name="connsiteY264" fmla="*/ 717812 h 1333436"/>
                <a:gd name="connsiteX265" fmla="*/ 24710 w 752994"/>
                <a:gd name="connsiteY265" fmla="*/ 709632 h 1333436"/>
                <a:gd name="connsiteX266" fmla="*/ 27554 w 752994"/>
                <a:gd name="connsiteY266" fmla="*/ 701694 h 1333436"/>
                <a:gd name="connsiteX267" fmla="*/ 24902 w 752994"/>
                <a:gd name="connsiteY267" fmla="*/ 696171 h 1333436"/>
                <a:gd name="connsiteX268" fmla="*/ 24095 w 752994"/>
                <a:gd name="connsiteY268" fmla="*/ 687818 h 1333436"/>
                <a:gd name="connsiteX269" fmla="*/ 22462 w 752994"/>
                <a:gd name="connsiteY269" fmla="*/ 682330 h 1333436"/>
                <a:gd name="connsiteX270" fmla="*/ 17159 w 752994"/>
                <a:gd name="connsiteY270" fmla="*/ 677636 h 1333436"/>
                <a:gd name="connsiteX271" fmla="*/ 14296 w 752994"/>
                <a:gd name="connsiteY271" fmla="*/ 671492 h 1333436"/>
                <a:gd name="connsiteX272" fmla="*/ 12451 w 752994"/>
                <a:gd name="connsiteY272" fmla="*/ 665797 h 1333436"/>
                <a:gd name="connsiteX273" fmla="*/ 5111 w 752994"/>
                <a:gd name="connsiteY273" fmla="*/ 654994 h 1333436"/>
                <a:gd name="connsiteX274" fmla="*/ 2248 w 752994"/>
                <a:gd name="connsiteY274" fmla="*/ 645605 h 1333436"/>
                <a:gd name="connsiteX275" fmla="*/ 4496 w 752994"/>
                <a:gd name="connsiteY275" fmla="*/ 640497 h 1333436"/>
                <a:gd name="connsiteX276" fmla="*/ 6744 w 752994"/>
                <a:gd name="connsiteY276" fmla="*/ 632765 h 1333436"/>
                <a:gd name="connsiteX277" fmla="*/ 6744 w 752994"/>
                <a:gd name="connsiteY277" fmla="*/ 628485 h 1333436"/>
                <a:gd name="connsiteX278" fmla="*/ 6533 w 752994"/>
                <a:gd name="connsiteY278" fmla="*/ 620305 h 1333436"/>
                <a:gd name="connsiteX279" fmla="*/ 7359 w 752994"/>
                <a:gd name="connsiteY279" fmla="*/ 611745 h 1333436"/>
                <a:gd name="connsiteX280" fmla="*/ 11836 w 752994"/>
                <a:gd name="connsiteY280" fmla="*/ 602978 h 1333436"/>
                <a:gd name="connsiteX281" fmla="*/ 15103 w 752994"/>
                <a:gd name="connsiteY281" fmla="*/ 591760 h 1333436"/>
                <a:gd name="connsiteX282" fmla="*/ 14488 w 752994"/>
                <a:gd name="connsiteY282" fmla="*/ 584029 h 1333436"/>
                <a:gd name="connsiteX283" fmla="*/ 13873 w 752994"/>
                <a:gd name="connsiteY283" fmla="*/ 578299 h 1333436"/>
                <a:gd name="connsiteX284" fmla="*/ 10626 w 752994"/>
                <a:gd name="connsiteY284" fmla="*/ 568531 h 1333436"/>
                <a:gd name="connsiteX285" fmla="*/ 3670 w 752994"/>
                <a:gd name="connsiteY285" fmla="*/ 558107 h 1333436"/>
                <a:gd name="connsiteX286" fmla="*/ 0 w 752994"/>
                <a:gd name="connsiteY286" fmla="*/ 551377 h 1333436"/>
                <a:gd name="connsiteX287" fmla="*/ 0 w 752994"/>
                <a:gd name="connsiteY287" fmla="*/ 550997 h 1333436"/>
                <a:gd name="connsiteX288" fmla="*/ 4900 w 752994"/>
                <a:gd name="connsiteY288" fmla="*/ 531220 h 1333436"/>
                <a:gd name="connsiteX289" fmla="*/ 13873 w 752994"/>
                <a:gd name="connsiteY289" fmla="*/ 520589 h 1333436"/>
                <a:gd name="connsiteX290" fmla="*/ 18369 w 752994"/>
                <a:gd name="connsiteY290" fmla="*/ 516516 h 1333436"/>
                <a:gd name="connsiteX291" fmla="*/ 18773 w 752994"/>
                <a:gd name="connsiteY291" fmla="*/ 514272 h 1333436"/>
                <a:gd name="connsiteX292" fmla="*/ 23077 w 752994"/>
                <a:gd name="connsiteY292" fmla="*/ 506127 h 1333436"/>
                <a:gd name="connsiteX293" fmla="*/ 23884 w 752994"/>
                <a:gd name="connsiteY293" fmla="*/ 502261 h 1333436"/>
                <a:gd name="connsiteX294" fmla="*/ 23692 w 752994"/>
                <a:gd name="connsiteY294" fmla="*/ 496738 h 1333436"/>
                <a:gd name="connsiteX295" fmla="*/ 30013 w 752994"/>
                <a:gd name="connsiteY295" fmla="*/ 486556 h 1333436"/>
                <a:gd name="connsiteX296" fmla="*/ 36546 w 752994"/>
                <a:gd name="connsiteY296" fmla="*/ 470230 h 1333436"/>
                <a:gd name="connsiteX297" fmla="*/ 36546 w 752994"/>
                <a:gd name="connsiteY297" fmla="*/ 462671 h 1333436"/>
                <a:gd name="connsiteX298" fmla="*/ 36335 w 752994"/>
                <a:gd name="connsiteY298" fmla="*/ 461670 h 1333436"/>
                <a:gd name="connsiteX299" fmla="*/ 35931 w 752994"/>
                <a:gd name="connsiteY299" fmla="*/ 453110 h 1333436"/>
                <a:gd name="connsiteX300" fmla="*/ 38583 w 752994"/>
                <a:gd name="connsiteY300" fmla="*/ 442514 h 1333436"/>
                <a:gd name="connsiteX301" fmla="*/ 41043 w 752994"/>
                <a:gd name="connsiteY301" fmla="*/ 436991 h 1333436"/>
                <a:gd name="connsiteX302" fmla="*/ 41650 w 752994"/>
                <a:gd name="connsiteY302" fmla="*/ 437186 h 1333436"/>
                <a:gd name="connsiteX303" fmla="*/ 41239 w 752994"/>
                <a:gd name="connsiteY303" fmla="*/ 436549 h 1333436"/>
                <a:gd name="connsiteX304" fmla="*/ 37778 w 752994"/>
                <a:gd name="connsiteY304" fmla="*/ 433894 h 1333436"/>
                <a:gd name="connsiteX305" fmla="*/ 37169 w 752994"/>
                <a:gd name="connsiteY305" fmla="*/ 432261 h 1333436"/>
                <a:gd name="connsiteX306" fmla="*/ 37365 w 752994"/>
                <a:gd name="connsiteY306" fmla="*/ 429198 h 1333436"/>
                <a:gd name="connsiteX307" fmla="*/ 36756 w 752994"/>
                <a:gd name="connsiteY307" fmla="*/ 422272 h 1333436"/>
                <a:gd name="connsiteX308" fmla="*/ 36952 w 752994"/>
                <a:gd name="connsiteY308" fmla="*/ 418800 h 1333436"/>
                <a:gd name="connsiteX309" fmla="*/ 36756 w 752994"/>
                <a:gd name="connsiteY309" fmla="*/ 412487 h 1333436"/>
                <a:gd name="connsiteX310" fmla="*/ 40433 w 752994"/>
                <a:gd name="connsiteY310" fmla="*/ 406174 h 1333436"/>
                <a:gd name="connsiteX311" fmla="*/ 44720 w 752994"/>
                <a:gd name="connsiteY311" fmla="*/ 399435 h 1333436"/>
                <a:gd name="connsiteX312" fmla="*/ 44110 w 752994"/>
                <a:gd name="connsiteY312" fmla="*/ 389651 h 1333436"/>
                <a:gd name="connsiteX313" fmla="*/ 43894 w 752994"/>
                <a:gd name="connsiteY313" fmla="*/ 378437 h 1333436"/>
                <a:gd name="connsiteX314" fmla="*/ 47158 w 752994"/>
                <a:gd name="connsiteY314" fmla="*/ 371102 h 1333436"/>
                <a:gd name="connsiteX315" fmla="*/ 55731 w 752994"/>
                <a:gd name="connsiteY315" fmla="*/ 360909 h 1333436"/>
                <a:gd name="connsiteX316" fmla="*/ 57580 w 752994"/>
                <a:gd name="connsiteY316" fmla="*/ 355804 h 1333436"/>
                <a:gd name="connsiteX317" fmla="*/ 62673 w 752994"/>
                <a:gd name="connsiteY317" fmla="*/ 349695 h 1333436"/>
                <a:gd name="connsiteX318" fmla="*/ 65937 w 752994"/>
                <a:gd name="connsiteY318" fmla="*/ 348470 h 1333436"/>
                <a:gd name="connsiteX319" fmla="*/ 68395 w 752994"/>
                <a:gd name="connsiteY319" fmla="*/ 348674 h 1333436"/>
                <a:gd name="connsiteX320" fmla="*/ 70224 w 752994"/>
                <a:gd name="connsiteY320" fmla="*/ 347449 h 1333436"/>
                <a:gd name="connsiteX321" fmla="*/ 67785 w 752994"/>
                <a:gd name="connsiteY321" fmla="*/ 345203 h 1333436"/>
                <a:gd name="connsiteX322" fmla="*/ 65524 w 752994"/>
                <a:gd name="connsiteY322" fmla="*/ 343178 h 1333436"/>
                <a:gd name="connsiteX323" fmla="*/ 73095 w 752994"/>
                <a:gd name="connsiteY323" fmla="*/ 333376 h 1333436"/>
                <a:gd name="connsiteX324" fmla="*/ 73291 w 752994"/>
                <a:gd name="connsiteY324" fmla="*/ 333376 h 1333436"/>
                <a:gd name="connsiteX325" fmla="*/ 77991 w 752994"/>
                <a:gd name="connsiteY325" fmla="*/ 325838 h 1333436"/>
                <a:gd name="connsiteX326" fmla="*/ 82671 w 752994"/>
                <a:gd name="connsiteY326" fmla="*/ 313619 h 1333436"/>
                <a:gd name="connsiteX327" fmla="*/ 87980 w 752994"/>
                <a:gd name="connsiteY327" fmla="*/ 303018 h 1333436"/>
                <a:gd name="connsiteX328" fmla="*/ 92267 w 752994"/>
                <a:gd name="connsiteY328" fmla="*/ 291191 h 1333436"/>
                <a:gd name="connsiteX329" fmla="*/ 96553 w 752994"/>
                <a:gd name="connsiteY329" fmla="*/ 281202 h 1333436"/>
                <a:gd name="connsiteX330" fmla="*/ 99621 w 752994"/>
                <a:gd name="connsiteY330" fmla="*/ 274481 h 1333436"/>
                <a:gd name="connsiteX331" fmla="*/ 103082 w 752994"/>
                <a:gd name="connsiteY331" fmla="*/ 262450 h 1333436"/>
                <a:gd name="connsiteX332" fmla="*/ 107172 w 752994"/>
                <a:gd name="connsiteY332" fmla="*/ 254299 h 1333436"/>
                <a:gd name="connsiteX333" fmla="*/ 112481 w 752994"/>
                <a:gd name="connsiteY333" fmla="*/ 243697 h 1333436"/>
                <a:gd name="connsiteX334" fmla="*/ 117181 w 752994"/>
                <a:gd name="connsiteY334" fmla="*/ 232279 h 1333436"/>
                <a:gd name="connsiteX335" fmla="*/ 125951 w 752994"/>
                <a:gd name="connsiteY335" fmla="*/ 217389 h 1333436"/>
                <a:gd name="connsiteX336" fmla="*/ 136156 w 752994"/>
                <a:gd name="connsiteY336" fmla="*/ 202925 h 1333436"/>
                <a:gd name="connsiteX337" fmla="*/ 138811 w 752994"/>
                <a:gd name="connsiteY337" fmla="*/ 183339 h 1333436"/>
                <a:gd name="connsiteX338" fmla="*/ 148801 w 752994"/>
                <a:gd name="connsiteY338" fmla="*/ 167445 h 1333436"/>
                <a:gd name="connsiteX339" fmla="*/ 159616 w 752994"/>
                <a:gd name="connsiteY339" fmla="*/ 170712 h 1333436"/>
                <a:gd name="connsiteX340" fmla="*/ 173105 w 752994"/>
                <a:gd name="connsiteY340" fmla="*/ 175188 h 1333436"/>
                <a:gd name="connsiteX341" fmla="*/ 175347 w 752994"/>
                <a:gd name="connsiteY341" fmla="*/ 175188 h 1333436"/>
                <a:gd name="connsiteX342" fmla="*/ 175347 w 752994"/>
                <a:gd name="connsiteY342" fmla="*/ 173758 h 1333436"/>
                <a:gd name="connsiteX343" fmla="*/ 184975 w 752994"/>
                <a:gd name="connsiteY343" fmla="*/ 187393 h 1333436"/>
                <a:gd name="connsiteX344" fmla="*/ 184762 w 752994"/>
                <a:gd name="connsiteY344" fmla="*/ 184637 h 1333436"/>
                <a:gd name="connsiteX345" fmla="*/ 174971 w 752994"/>
                <a:gd name="connsiteY345" fmla="*/ 170774 h 1333436"/>
                <a:gd name="connsiteX346" fmla="*/ 174971 w 752994"/>
                <a:gd name="connsiteY346" fmla="*/ 169550 h 1333436"/>
                <a:gd name="connsiteX347" fmla="*/ 158851 w 752994"/>
                <a:gd name="connsiteY347" fmla="*/ 156924 h 1333436"/>
                <a:gd name="connsiteX348" fmla="*/ 147025 w 752994"/>
                <a:gd name="connsiteY348" fmla="*/ 145709 h 1333436"/>
                <a:gd name="connsiteX349" fmla="*/ 154364 w 752994"/>
                <a:gd name="connsiteY349" fmla="*/ 136335 h 1333436"/>
                <a:gd name="connsiteX350" fmla="*/ 161511 w 752994"/>
                <a:gd name="connsiteY350" fmla="*/ 131042 h 1333436"/>
                <a:gd name="connsiteX351" fmla="*/ 160902 w 752994"/>
                <a:gd name="connsiteY351" fmla="*/ 128384 h 1333436"/>
                <a:gd name="connsiteX352" fmla="*/ 160277 w 752994"/>
                <a:gd name="connsiteY352" fmla="*/ 127778 h 1333436"/>
                <a:gd name="connsiteX353" fmla="*/ 154973 w 752994"/>
                <a:gd name="connsiteY353" fmla="*/ 122077 h 1333436"/>
                <a:gd name="connsiteX354" fmla="*/ 160277 w 752994"/>
                <a:gd name="connsiteY354" fmla="*/ 115140 h 1333436"/>
                <a:gd name="connsiteX355" fmla="*/ 165181 w 752994"/>
                <a:gd name="connsiteY355" fmla="*/ 108215 h 1333436"/>
                <a:gd name="connsiteX356" fmla="*/ 161303 w 752994"/>
                <a:gd name="connsiteY356" fmla="*/ 104146 h 1333436"/>
                <a:gd name="connsiteX357" fmla="*/ 157842 w 752994"/>
                <a:gd name="connsiteY357" fmla="*/ 104542 h 1333436"/>
                <a:gd name="connsiteX358" fmla="*/ 157024 w 752994"/>
                <a:gd name="connsiteY358" fmla="*/ 102304 h 1333436"/>
                <a:gd name="connsiteX359" fmla="*/ 160694 w 752994"/>
                <a:gd name="connsiteY359" fmla="*/ 55437 h 1333436"/>
                <a:gd name="connsiteX360" fmla="*/ 160486 w 752994"/>
                <a:gd name="connsiteY360" fmla="*/ 31991 h 1333436"/>
                <a:gd name="connsiteX361" fmla="*/ 164972 w 752994"/>
                <a:gd name="connsiteY361" fmla="*/ 18141 h 1333436"/>
                <a:gd name="connsiteX362" fmla="*/ 171911 w 752994"/>
                <a:gd name="connsiteY362" fmla="*/ 11204 h 1333436"/>
                <a:gd name="connsiteX363" fmla="*/ 187406 w 752994"/>
                <a:gd name="connsiteY363" fmla="*/ 21801 h 1333436"/>
                <a:gd name="connsiteX364" fmla="*/ 210866 w 752994"/>
                <a:gd name="connsiteY364" fmla="*/ 37086 h 1333436"/>
                <a:gd name="connsiteX365" fmla="*/ 219230 w 752994"/>
                <a:gd name="connsiteY365" fmla="*/ 41166 h 1333436"/>
                <a:gd name="connsiteX366" fmla="*/ 226778 w 752994"/>
                <a:gd name="connsiteY366" fmla="*/ 47486 h 1333436"/>
                <a:gd name="connsiteX367" fmla="*/ 236152 w 752994"/>
                <a:gd name="connsiteY367" fmla="*/ 52370 h 1333436"/>
                <a:gd name="connsiteX368" fmla="*/ 239629 w 752994"/>
                <a:gd name="connsiteY368" fmla="*/ 58491 h 1333436"/>
                <a:gd name="connsiteX369" fmla="*/ 239629 w 752994"/>
                <a:gd name="connsiteY369" fmla="*/ 63376 h 1333436"/>
                <a:gd name="connsiteX370" fmla="*/ 236568 w 752994"/>
                <a:gd name="connsiteY370" fmla="*/ 67457 h 1333436"/>
                <a:gd name="connsiteX371" fmla="*/ 231264 w 752994"/>
                <a:gd name="connsiteY371" fmla="*/ 69905 h 1333436"/>
                <a:gd name="connsiteX372" fmla="*/ 216778 w 752994"/>
                <a:gd name="connsiteY372" fmla="*/ 82741 h 1333436"/>
                <a:gd name="connsiteX373" fmla="*/ 214134 w 752994"/>
                <a:gd name="connsiteY373" fmla="*/ 93536 h 1333436"/>
                <a:gd name="connsiteX374" fmla="*/ 214535 w 752994"/>
                <a:gd name="connsiteY374" fmla="*/ 96801 h 1333436"/>
                <a:gd name="connsiteX375" fmla="*/ 216378 w 752994"/>
                <a:gd name="connsiteY375" fmla="*/ 96801 h 1333436"/>
                <a:gd name="connsiteX376" fmla="*/ 230046 w 752994"/>
                <a:gd name="connsiteY376" fmla="*/ 85387 h 1333436"/>
                <a:gd name="connsiteX377" fmla="*/ 243298 w 752994"/>
                <a:gd name="connsiteY377" fmla="*/ 75198 h 1333436"/>
                <a:gd name="connsiteX378" fmla="*/ 246760 w 752994"/>
                <a:gd name="connsiteY378" fmla="*/ 77646 h 1333436"/>
                <a:gd name="connsiteX379" fmla="*/ 255541 w 752994"/>
                <a:gd name="connsiteY379" fmla="*/ 63376 h 1333436"/>
                <a:gd name="connsiteX380" fmla="*/ 259611 w 752994"/>
                <a:gd name="connsiteY380" fmla="*/ 43405 h 1333436"/>
                <a:gd name="connsiteX381" fmla="*/ 256967 w 752994"/>
                <a:gd name="connsiteY381" fmla="*/ 38520 h 1333436"/>
                <a:gd name="connsiteX382" fmla="*/ 253906 w 752994"/>
                <a:gd name="connsiteY382" fmla="*/ 34242 h 1333436"/>
                <a:gd name="connsiteX383" fmla="*/ 256967 w 752994"/>
                <a:gd name="connsiteY383" fmla="*/ 30161 h 1333436"/>
                <a:gd name="connsiteX384" fmla="*/ 262063 w 752994"/>
                <a:gd name="connsiteY384" fmla="*/ 27712 h 1333436"/>
                <a:gd name="connsiteX385" fmla="*/ 264915 w 752994"/>
                <a:gd name="connsiteY385" fmla="*/ 23026 h 1333436"/>
                <a:gd name="connsiteX386" fmla="*/ 267976 w 752994"/>
                <a:gd name="connsiteY386" fmla="*/ 22618 h 1333436"/>
                <a:gd name="connsiteX387" fmla="*/ 270427 w 752994"/>
                <a:gd name="connsiteY387" fmla="*/ 20787 h 1333436"/>
                <a:gd name="connsiteX388" fmla="*/ 263088 w 752994"/>
                <a:gd name="connsiteY388" fmla="*/ 13652 h 1333436"/>
                <a:gd name="connsiteX389" fmla="*/ 255541 w 752994"/>
                <a:gd name="connsiteY389" fmla="*/ 3055 h 1333436"/>
                <a:gd name="connsiteX390" fmla="*/ 256358 w 752994"/>
                <a:gd name="connsiteY390" fmla="*/ 1224 h 1333436"/>
                <a:gd name="connsiteX391" fmla="*/ 257159 w 752994"/>
                <a:gd name="connsiteY391"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403787 w 752994"/>
                <a:gd name="connsiteY163" fmla="*/ 963290 h 1333436"/>
                <a:gd name="connsiteX164" fmla="*/ 404052 w 752994"/>
                <a:gd name="connsiteY164" fmla="*/ 963688 h 1333436"/>
                <a:gd name="connsiteX165" fmla="*/ 406917 w 752994"/>
                <a:gd name="connsiteY165" fmla="*/ 957427 h 1333436"/>
                <a:gd name="connsiteX166" fmla="*/ 689408 w 752994"/>
                <a:gd name="connsiteY166" fmla="*/ 945184 h 1333436"/>
                <a:gd name="connsiteX167" fmla="*/ 710622 w 752994"/>
                <a:gd name="connsiteY167" fmla="*/ 948043 h 1333436"/>
                <a:gd name="connsiteX168" fmla="*/ 654533 w 752994"/>
                <a:gd name="connsiteY168" fmla="*/ 1333436 h 1333436"/>
                <a:gd name="connsiteX169" fmla="*/ 546831 w 752994"/>
                <a:gd name="connsiteY169" fmla="*/ 1317126 h 1333436"/>
                <a:gd name="connsiteX170" fmla="*/ 351227 w 752994"/>
                <a:gd name="connsiteY170" fmla="*/ 1194172 h 1333436"/>
                <a:gd name="connsiteX171" fmla="*/ 361011 w 752994"/>
                <a:gd name="connsiteY171" fmla="*/ 1182755 h 1333436"/>
                <a:gd name="connsiteX172" fmla="*/ 368981 w 752994"/>
                <a:gd name="connsiteY172" fmla="*/ 1182130 h 1333436"/>
                <a:gd name="connsiteX173" fmla="*/ 369571 w 752994"/>
                <a:gd name="connsiteY173" fmla="*/ 1181558 h 1333436"/>
                <a:gd name="connsiteX174" fmla="*/ 362372 w 752994"/>
                <a:gd name="connsiteY174" fmla="*/ 1182120 h 1333436"/>
                <a:gd name="connsiteX175" fmla="*/ 229464 w 752994"/>
                <a:gd name="connsiteY175" fmla="*/ 1161721 h 1333436"/>
                <a:gd name="connsiteX176" fmla="*/ 227427 w 752994"/>
                <a:gd name="connsiteY176" fmla="*/ 1157269 h 1333436"/>
                <a:gd name="connsiteX177" fmla="*/ 224967 w 752994"/>
                <a:gd name="connsiteY177" fmla="*/ 1152575 h 1333436"/>
                <a:gd name="connsiteX178" fmla="*/ 225582 w 752994"/>
                <a:gd name="connsiteY178" fmla="*/ 1144808 h 1333436"/>
                <a:gd name="connsiteX179" fmla="*/ 227215 w 752994"/>
                <a:gd name="connsiteY179" fmla="*/ 1135834 h 1333436"/>
                <a:gd name="connsiteX180" fmla="*/ 227215 w 752994"/>
                <a:gd name="connsiteY180" fmla="*/ 1134212 h 1333436"/>
                <a:gd name="connsiteX181" fmla="*/ 225179 w 752994"/>
                <a:gd name="connsiteY181" fmla="*/ 1114020 h 1333436"/>
                <a:gd name="connsiteX182" fmla="*/ 217839 w 752994"/>
                <a:gd name="connsiteY182" fmla="*/ 1100352 h 1333436"/>
                <a:gd name="connsiteX183" fmla="*/ 199661 w 752994"/>
                <a:gd name="connsiteY183" fmla="*/ 1076502 h 1333436"/>
                <a:gd name="connsiteX184" fmla="*/ 196395 w 752994"/>
                <a:gd name="connsiteY184" fmla="*/ 1071807 h 1333436"/>
                <a:gd name="connsiteX185" fmla="*/ 190880 w 752994"/>
                <a:gd name="connsiteY185" fmla="*/ 1067527 h 1333436"/>
                <a:gd name="connsiteX186" fmla="*/ 187210 w 752994"/>
                <a:gd name="connsiteY186" fmla="*/ 1068735 h 1333436"/>
                <a:gd name="connsiteX187" fmla="*/ 180062 w 752994"/>
                <a:gd name="connsiteY187" fmla="*/ 1066699 h 1333436"/>
                <a:gd name="connsiteX188" fmla="*/ 180466 w 752994"/>
                <a:gd name="connsiteY188" fmla="*/ 1053031 h 1333436"/>
                <a:gd name="connsiteX189" fmla="*/ 180062 w 752994"/>
                <a:gd name="connsiteY189" fmla="*/ 1045299 h 1333436"/>
                <a:gd name="connsiteX190" fmla="*/ 174144 w 752994"/>
                <a:gd name="connsiteY190" fmla="*/ 1044057 h 1333436"/>
                <a:gd name="connsiteX191" fmla="*/ 158426 w 752994"/>
                <a:gd name="connsiteY191" fmla="*/ 1042641 h 1333436"/>
                <a:gd name="connsiteX192" fmla="*/ 149857 w 752994"/>
                <a:gd name="connsiteY192" fmla="*/ 1035497 h 1333436"/>
                <a:gd name="connsiteX193" fmla="*/ 142497 w 752994"/>
                <a:gd name="connsiteY193" fmla="*/ 1028766 h 1333436"/>
                <a:gd name="connsiteX194" fmla="*/ 140864 w 752994"/>
                <a:gd name="connsiteY194" fmla="*/ 1020620 h 1333436"/>
                <a:gd name="connsiteX195" fmla="*/ 138212 w 752994"/>
                <a:gd name="connsiteY195" fmla="*/ 1013061 h 1333436"/>
                <a:gd name="connsiteX196" fmla="*/ 131064 w 752994"/>
                <a:gd name="connsiteY196" fmla="*/ 1007159 h 1333436"/>
                <a:gd name="connsiteX197" fmla="*/ 121264 w 752994"/>
                <a:gd name="connsiteY197" fmla="*/ 1005330 h 1333436"/>
                <a:gd name="connsiteX198" fmla="*/ 112483 w 752994"/>
                <a:gd name="connsiteY198" fmla="*/ 1001671 h 1333436"/>
                <a:gd name="connsiteX199" fmla="*/ 105950 w 752994"/>
                <a:gd name="connsiteY199" fmla="*/ 995734 h 1333436"/>
                <a:gd name="connsiteX200" fmla="*/ 97380 w 752994"/>
                <a:gd name="connsiteY200" fmla="*/ 994526 h 1333436"/>
                <a:gd name="connsiteX201" fmla="*/ 87984 w 752994"/>
                <a:gd name="connsiteY201" fmla="*/ 991040 h 1333436"/>
                <a:gd name="connsiteX202" fmla="*/ 80029 w 752994"/>
                <a:gd name="connsiteY202" fmla="*/ 985138 h 1333436"/>
                <a:gd name="connsiteX203" fmla="*/ 77166 w 752994"/>
                <a:gd name="connsiteY203" fmla="*/ 976164 h 1333436"/>
                <a:gd name="connsiteX204" fmla="*/ 79203 w 752994"/>
                <a:gd name="connsiteY204" fmla="*/ 970676 h 1333436"/>
                <a:gd name="connsiteX205" fmla="*/ 82470 w 752994"/>
                <a:gd name="connsiteY205" fmla="*/ 963117 h 1333436"/>
                <a:gd name="connsiteX206" fmla="*/ 84314 w 752994"/>
                <a:gd name="connsiteY206" fmla="*/ 954557 h 1333436"/>
                <a:gd name="connsiteX207" fmla="*/ 86351 w 752994"/>
                <a:gd name="connsiteY207" fmla="*/ 948033 h 1333436"/>
                <a:gd name="connsiteX208" fmla="*/ 86159 w 752994"/>
                <a:gd name="connsiteY208" fmla="*/ 942925 h 1333436"/>
                <a:gd name="connsiteX209" fmla="*/ 83085 w 752994"/>
                <a:gd name="connsiteY209" fmla="*/ 939853 h 1333436"/>
                <a:gd name="connsiteX210" fmla="*/ 77570 w 752994"/>
                <a:gd name="connsiteY210" fmla="*/ 937437 h 1333436"/>
                <a:gd name="connsiteX211" fmla="*/ 76763 w 752994"/>
                <a:gd name="connsiteY211" fmla="*/ 931915 h 1333436"/>
                <a:gd name="connsiteX212" fmla="*/ 78800 w 752994"/>
                <a:gd name="connsiteY212" fmla="*/ 927013 h 1333436"/>
                <a:gd name="connsiteX213" fmla="*/ 79626 w 752994"/>
                <a:gd name="connsiteY213" fmla="*/ 922526 h 1333436"/>
                <a:gd name="connsiteX214" fmla="*/ 77781 w 752994"/>
                <a:gd name="connsiteY214" fmla="*/ 919903 h 1333436"/>
                <a:gd name="connsiteX215" fmla="*/ 74303 w 752994"/>
                <a:gd name="connsiteY215" fmla="*/ 917418 h 1333436"/>
                <a:gd name="connsiteX216" fmla="*/ 71863 w 752994"/>
                <a:gd name="connsiteY216" fmla="*/ 915174 h 1333436"/>
                <a:gd name="connsiteX217" fmla="*/ 71652 w 752994"/>
                <a:gd name="connsiteY217" fmla="*/ 910894 h 1333436"/>
                <a:gd name="connsiteX218" fmla="*/ 70633 w 752994"/>
                <a:gd name="connsiteY218" fmla="*/ 906614 h 1333436"/>
                <a:gd name="connsiteX219" fmla="*/ 68385 w 752994"/>
                <a:gd name="connsiteY219" fmla="*/ 902749 h 1333436"/>
                <a:gd name="connsiteX220" fmla="*/ 61045 w 752994"/>
                <a:gd name="connsiteY220" fmla="*/ 889494 h 1333436"/>
                <a:gd name="connsiteX221" fmla="*/ 57971 w 752994"/>
                <a:gd name="connsiteY221" fmla="*/ 875619 h 1333436"/>
                <a:gd name="connsiteX222" fmla="*/ 52264 w 752994"/>
                <a:gd name="connsiteY222" fmla="*/ 862572 h 1333436"/>
                <a:gd name="connsiteX223" fmla="*/ 44309 w 752994"/>
                <a:gd name="connsiteY223" fmla="*/ 850561 h 1333436"/>
                <a:gd name="connsiteX224" fmla="*/ 45520 w 752994"/>
                <a:gd name="connsiteY224" fmla="*/ 827090 h 1333436"/>
                <a:gd name="connsiteX225" fmla="*/ 53071 w 752994"/>
                <a:gd name="connsiteY225" fmla="*/ 822396 h 1333436"/>
                <a:gd name="connsiteX226" fmla="*/ 57375 w 752994"/>
                <a:gd name="connsiteY226" fmla="*/ 816493 h 1333436"/>
                <a:gd name="connsiteX227" fmla="*/ 55319 w 752994"/>
                <a:gd name="connsiteY227" fmla="*/ 801617 h 1333436"/>
                <a:gd name="connsiteX228" fmla="*/ 48383 w 752994"/>
                <a:gd name="connsiteY228" fmla="*/ 802204 h 1333436"/>
                <a:gd name="connsiteX229" fmla="*/ 40428 w 752994"/>
                <a:gd name="connsiteY229" fmla="*/ 797924 h 1333436"/>
                <a:gd name="connsiteX230" fmla="*/ 37565 w 752994"/>
                <a:gd name="connsiteY230" fmla="*/ 790606 h 1333436"/>
                <a:gd name="connsiteX231" fmla="*/ 37565 w 752994"/>
                <a:gd name="connsiteY231" fmla="*/ 790399 h 1333436"/>
                <a:gd name="connsiteX232" fmla="*/ 35931 w 752994"/>
                <a:gd name="connsiteY232" fmla="*/ 785912 h 1333436"/>
                <a:gd name="connsiteX233" fmla="*/ 34510 w 752994"/>
                <a:gd name="connsiteY233" fmla="*/ 780597 h 1333436"/>
                <a:gd name="connsiteX234" fmla="*/ 36335 w 752994"/>
                <a:gd name="connsiteY234" fmla="*/ 774280 h 1333436"/>
                <a:gd name="connsiteX235" fmla="*/ 38180 w 752994"/>
                <a:gd name="connsiteY235" fmla="*/ 766721 h 1333436"/>
                <a:gd name="connsiteX236" fmla="*/ 37161 w 752994"/>
                <a:gd name="connsiteY236" fmla="*/ 760405 h 1333436"/>
                <a:gd name="connsiteX237" fmla="*/ 35720 w 752994"/>
                <a:gd name="connsiteY237" fmla="*/ 754710 h 1333436"/>
                <a:gd name="connsiteX238" fmla="*/ 36546 w 752994"/>
                <a:gd name="connsiteY238" fmla="*/ 748773 h 1333436"/>
                <a:gd name="connsiteX239" fmla="*/ 38372 w 752994"/>
                <a:gd name="connsiteY239" fmla="*/ 744528 h 1333436"/>
                <a:gd name="connsiteX240" fmla="*/ 41638 w 752994"/>
                <a:gd name="connsiteY240" fmla="*/ 744321 h 1333436"/>
                <a:gd name="connsiteX241" fmla="*/ 44713 w 752994"/>
                <a:gd name="connsiteY241" fmla="*/ 746357 h 1333436"/>
                <a:gd name="connsiteX242" fmla="*/ 47364 w 752994"/>
                <a:gd name="connsiteY242" fmla="*/ 753260 h 1333436"/>
                <a:gd name="connsiteX243" fmla="*/ 55742 w 752994"/>
                <a:gd name="connsiteY243" fmla="*/ 764305 h 1333436"/>
                <a:gd name="connsiteX244" fmla="*/ 56338 w 752994"/>
                <a:gd name="connsiteY244" fmla="*/ 761233 h 1333436"/>
                <a:gd name="connsiteX245" fmla="*/ 56145 w 752994"/>
                <a:gd name="connsiteY245" fmla="*/ 757368 h 1333436"/>
                <a:gd name="connsiteX246" fmla="*/ 54916 w 752994"/>
                <a:gd name="connsiteY246" fmla="*/ 748601 h 1333436"/>
                <a:gd name="connsiteX247" fmla="*/ 52879 w 752994"/>
                <a:gd name="connsiteY247" fmla="*/ 747358 h 1333436"/>
                <a:gd name="connsiteX248" fmla="*/ 51649 w 752994"/>
                <a:gd name="connsiteY248" fmla="*/ 745322 h 1333436"/>
                <a:gd name="connsiteX249" fmla="*/ 51649 w 752994"/>
                <a:gd name="connsiteY249" fmla="*/ 739212 h 1333436"/>
                <a:gd name="connsiteX250" fmla="*/ 50227 w 752994"/>
                <a:gd name="connsiteY250" fmla="*/ 734725 h 1333436"/>
                <a:gd name="connsiteX251" fmla="*/ 48786 w 752994"/>
                <a:gd name="connsiteY251" fmla="*/ 731446 h 1333436"/>
                <a:gd name="connsiteX252" fmla="*/ 54512 w 752994"/>
                <a:gd name="connsiteY252" fmla="*/ 726372 h 1333436"/>
                <a:gd name="connsiteX253" fmla="*/ 59815 w 752994"/>
                <a:gd name="connsiteY253" fmla="*/ 725130 h 1333436"/>
                <a:gd name="connsiteX254" fmla="*/ 58182 w 752994"/>
                <a:gd name="connsiteY254" fmla="*/ 722886 h 1333436"/>
                <a:gd name="connsiteX255" fmla="*/ 51861 w 752994"/>
                <a:gd name="connsiteY255" fmla="*/ 717985 h 1333436"/>
                <a:gd name="connsiteX256" fmla="*/ 46749 w 752994"/>
                <a:gd name="connsiteY256" fmla="*/ 729617 h 1333436"/>
                <a:gd name="connsiteX257" fmla="*/ 40831 w 752994"/>
                <a:gd name="connsiteY257" fmla="*/ 739212 h 1333436"/>
                <a:gd name="connsiteX258" fmla="*/ 39601 w 752994"/>
                <a:gd name="connsiteY258" fmla="*/ 738798 h 1333436"/>
                <a:gd name="connsiteX259" fmla="*/ 39409 w 752994"/>
                <a:gd name="connsiteY259" fmla="*/ 738591 h 1333436"/>
                <a:gd name="connsiteX260" fmla="*/ 37161 w 752994"/>
                <a:gd name="connsiteY260" fmla="*/ 734725 h 1333436"/>
                <a:gd name="connsiteX261" fmla="*/ 32665 w 752994"/>
                <a:gd name="connsiteY261" fmla="*/ 727788 h 1333436"/>
                <a:gd name="connsiteX262" fmla="*/ 26747 w 752994"/>
                <a:gd name="connsiteY262" fmla="*/ 719435 h 1333436"/>
                <a:gd name="connsiteX263" fmla="*/ 23884 w 752994"/>
                <a:gd name="connsiteY263" fmla="*/ 717812 h 1333436"/>
                <a:gd name="connsiteX264" fmla="*/ 24710 w 752994"/>
                <a:gd name="connsiteY264" fmla="*/ 709632 h 1333436"/>
                <a:gd name="connsiteX265" fmla="*/ 27554 w 752994"/>
                <a:gd name="connsiteY265" fmla="*/ 701694 h 1333436"/>
                <a:gd name="connsiteX266" fmla="*/ 24902 w 752994"/>
                <a:gd name="connsiteY266" fmla="*/ 696171 h 1333436"/>
                <a:gd name="connsiteX267" fmla="*/ 24095 w 752994"/>
                <a:gd name="connsiteY267" fmla="*/ 687818 h 1333436"/>
                <a:gd name="connsiteX268" fmla="*/ 22462 w 752994"/>
                <a:gd name="connsiteY268" fmla="*/ 682330 h 1333436"/>
                <a:gd name="connsiteX269" fmla="*/ 17159 w 752994"/>
                <a:gd name="connsiteY269" fmla="*/ 677636 h 1333436"/>
                <a:gd name="connsiteX270" fmla="*/ 14296 w 752994"/>
                <a:gd name="connsiteY270" fmla="*/ 671492 h 1333436"/>
                <a:gd name="connsiteX271" fmla="*/ 12451 w 752994"/>
                <a:gd name="connsiteY271" fmla="*/ 665797 h 1333436"/>
                <a:gd name="connsiteX272" fmla="*/ 5111 w 752994"/>
                <a:gd name="connsiteY272" fmla="*/ 654994 h 1333436"/>
                <a:gd name="connsiteX273" fmla="*/ 2248 w 752994"/>
                <a:gd name="connsiteY273" fmla="*/ 645605 h 1333436"/>
                <a:gd name="connsiteX274" fmla="*/ 4496 w 752994"/>
                <a:gd name="connsiteY274" fmla="*/ 640497 h 1333436"/>
                <a:gd name="connsiteX275" fmla="*/ 6744 w 752994"/>
                <a:gd name="connsiteY275" fmla="*/ 632765 h 1333436"/>
                <a:gd name="connsiteX276" fmla="*/ 6744 w 752994"/>
                <a:gd name="connsiteY276" fmla="*/ 628485 h 1333436"/>
                <a:gd name="connsiteX277" fmla="*/ 6533 w 752994"/>
                <a:gd name="connsiteY277" fmla="*/ 620305 h 1333436"/>
                <a:gd name="connsiteX278" fmla="*/ 7359 w 752994"/>
                <a:gd name="connsiteY278" fmla="*/ 611745 h 1333436"/>
                <a:gd name="connsiteX279" fmla="*/ 11836 w 752994"/>
                <a:gd name="connsiteY279" fmla="*/ 602978 h 1333436"/>
                <a:gd name="connsiteX280" fmla="*/ 15103 w 752994"/>
                <a:gd name="connsiteY280" fmla="*/ 591760 h 1333436"/>
                <a:gd name="connsiteX281" fmla="*/ 14488 w 752994"/>
                <a:gd name="connsiteY281" fmla="*/ 584029 h 1333436"/>
                <a:gd name="connsiteX282" fmla="*/ 13873 w 752994"/>
                <a:gd name="connsiteY282" fmla="*/ 578299 h 1333436"/>
                <a:gd name="connsiteX283" fmla="*/ 10626 w 752994"/>
                <a:gd name="connsiteY283" fmla="*/ 568531 h 1333436"/>
                <a:gd name="connsiteX284" fmla="*/ 3670 w 752994"/>
                <a:gd name="connsiteY284" fmla="*/ 558107 h 1333436"/>
                <a:gd name="connsiteX285" fmla="*/ 0 w 752994"/>
                <a:gd name="connsiteY285" fmla="*/ 551377 h 1333436"/>
                <a:gd name="connsiteX286" fmla="*/ 0 w 752994"/>
                <a:gd name="connsiteY286" fmla="*/ 550997 h 1333436"/>
                <a:gd name="connsiteX287" fmla="*/ 4900 w 752994"/>
                <a:gd name="connsiteY287" fmla="*/ 531220 h 1333436"/>
                <a:gd name="connsiteX288" fmla="*/ 13873 w 752994"/>
                <a:gd name="connsiteY288" fmla="*/ 520589 h 1333436"/>
                <a:gd name="connsiteX289" fmla="*/ 18369 w 752994"/>
                <a:gd name="connsiteY289" fmla="*/ 516516 h 1333436"/>
                <a:gd name="connsiteX290" fmla="*/ 18773 w 752994"/>
                <a:gd name="connsiteY290" fmla="*/ 514272 h 1333436"/>
                <a:gd name="connsiteX291" fmla="*/ 23077 w 752994"/>
                <a:gd name="connsiteY291" fmla="*/ 506127 h 1333436"/>
                <a:gd name="connsiteX292" fmla="*/ 23884 w 752994"/>
                <a:gd name="connsiteY292" fmla="*/ 502261 h 1333436"/>
                <a:gd name="connsiteX293" fmla="*/ 23692 w 752994"/>
                <a:gd name="connsiteY293" fmla="*/ 496738 h 1333436"/>
                <a:gd name="connsiteX294" fmla="*/ 30013 w 752994"/>
                <a:gd name="connsiteY294" fmla="*/ 486556 h 1333436"/>
                <a:gd name="connsiteX295" fmla="*/ 36546 w 752994"/>
                <a:gd name="connsiteY295" fmla="*/ 470230 h 1333436"/>
                <a:gd name="connsiteX296" fmla="*/ 36546 w 752994"/>
                <a:gd name="connsiteY296" fmla="*/ 462671 h 1333436"/>
                <a:gd name="connsiteX297" fmla="*/ 36335 w 752994"/>
                <a:gd name="connsiteY297" fmla="*/ 461670 h 1333436"/>
                <a:gd name="connsiteX298" fmla="*/ 35931 w 752994"/>
                <a:gd name="connsiteY298" fmla="*/ 453110 h 1333436"/>
                <a:gd name="connsiteX299" fmla="*/ 38583 w 752994"/>
                <a:gd name="connsiteY299" fmla="*/ 442514 h 1333436"/>
                <a:gd name="connsiteX300" fmla="*/ 41043 w 752994"/>
                <a:gd name="connsiteY300" fmla="*/ 436991 h 1333436"/>
                <a:gd name="connsiteX301" fmla="*/ 41650 w 752994"/>
                <a:gd name="connsiteY301" fmla="*/ 437186 h 1333436"/>
                <a:gd name="connsiteX302" fmla="*/ 41239 w 752994"/>
                <a:gd name="connsiteY302" fmla="*/ 436549 h 1333436"/>
                <a:gd name="connsiteX303" fmla="*/ 37778 w 752994"/>
                <a:gd name="connsiteY303" fmla="*/ 433894 h 1333436"/>
                <a:gd name="connsiteX304" fmla="*/ 37169 w 752994"/>
                <a:gd name="connsiteY304" fmla="*/ 432261 h 1333436"/>
                <a:gd name="connsiteX305" fmla="*/ 37365 w 752994"/>
                <a:gd name="connsiteY305" fmla="*/ 429198 h 1333436"/>
                <a:gd name="connsiteX306" fmla="*/ 36756 w 752994"/>
                <a:gd name="connsiteY306" fmla="*/ 422272 h 1333436"/>
                <a:gd name="connsiteX307" fmla="*/ 36952 w 752994"/>
                <a:gd name="connsiteY307" fmla="*/ 418800 h 1333436"/>
                <a:gd name="connsiteX308" fmla="*/ 36756 w 752994"/>
                <a:gd name="connsiteY308" fmla="*/ 412487 h 1333436"/>
                <a:gd name="connsiteX309" fmla="*/ 40433 w 752994"/>
                <a:gd name="connsiteY309" fmla="*/ 406174 h 1333436"/>
                <a:gd name="connsiteX310" fmla="*/ 44720 w 752994"/>
                <a:gd name="connsiteY310" fmla="*/ 399435 h 1333436"/>
                <a:gd name="connsiteX311" fmla="*/ 44110 w 752994"/>
                <a:gd name="connsiteY311" fmla="*/ 389651 h 1333436"/>
                <a:gd name="connsiteX312" fmla="*/ 43894 w 752994"/>
                <a:gd name="connsiteY312" fmla="*/ 378437 h 1333436"/>
                <a:gd name="connsiteX313" fmla="*/ 47158 w 752994"/>
                <a:gd name="connsiteY313" fmla="*/ 371102 h 1333436"/>
                <a:gd name="connsiteX314" fmla="*/ 55731 w 752994"/>
                <a:gd name="connsiteY314" fmla="*/ 360909 h 1333436"/>
                <a:gd name="connsiteX315" fmla="*/ 57580 w 752994"/>
                <a:gd name="connsiteY315" fmla="*/ 355804 h 1333436"/>
                <a:gd name="connsiteX316" fmla="*/ 62673 w 752994"/>
                <a:gd name="connsiteY316" fmla="*/ 349695 h 1333436"/>
                <a:gd name="connsiteX317" fmla="*/ 65937 w 752994"/>
                <a:gd name="connsiteY317" fmla="*/ 348470 h 1333436"/>
                <a:gd name="connsiteX318" fmla="*/ 68395 w 752994"/>
                <a:gd name="connsiteY318" fmla="*/ 348674 h 1333436"/>
                <a:gd name="connsiteX319" fmla="*/ 70224 w 752994"/>
                <a:gd name="connsiteY319" fmla="*/ 347449 h 1333436"/>
                <a:gd name="connsiteX320" fmla="*/ 67785 w 752994"/>
                <a:gd name="connsiteY320" fmla="*/ 345203 h 1333436"/>
                <a:gd name="connsiteX321" fmla="*/ 65524 w 752994"/>
                <a:gd name="connsiteY321" fmla="*/ 343178 h 1333436"/>
                <a:gd name="connsiteX322" fmla="*/ 73095 w 752994"/>
                <a:gd name="connsiteY322" fmla="*/ 333376 h 1333436"/>
                <a:gd name="connsiteX323" fmla="*/ 73291 w 752994"/>
                <a:gd name="connsiteY323" fmla="*/ 333376 h 1333436"/>
                <a:gd name="connsiteX324" fmla="*/ 77991 w 752994"/>
                <a:gd name="connsiteY324" fmla="*/ 325838 h 1333436"/>
                <a:gd name="connsiteX325" fmla="*/ 82671 w 752994"/>
                <a:gd name="connsiteY325" fmla="*/ 313619 h 1333436"/>
                <a:gd name="connsiteX326" fmla="*/ 87980 w 752994"/>
                <a:gd name="connsiteY326" fmla="*/ 303018 h 1333436"/>
                <a:gd name="connsiteX327" fmla="*/ 92267 w 752994"/>
                <a:gd name="connsiteY327" fmla="*/ 291191 h 1333436"/>
                <a:gd name="connsiteX328" fmla="*/ 96553 w 752994"/>
                <a:gd name="connsiteY328" fmla="*/ 281202 h 1333436"/>
                <a:gd name="connsiteX329" fmla="*/ 99621 w 752994"/>
                <a:gd name="connsiteY329" fmla="*/ 274481 h 1333436"/>
                <a:gd name="connsiteX330" fmla="*/ 103082 w 752994"/>
                <a:gd name="connsiteY330" fmla="*/ 262450 h 1333436"/>
                <a:gd name="connsiteX331" fmla="*/ 107172 w 752994"/>
                <a:gd name="connsiteY331" fmla="*/ 254299 h 1333436"/>
                <a:gd name="connsiteX332" fmla="*/ 112481 w 752994"/>
                <a:gd name="connsiteY332" fmla="*/ 243697 h 1333436"/>
                <a:gd name="connsiteX333" fmla="*/ 117181 w 752994"/>
                <a:gd name="connsiteY333" fmla="*/ 232279 h 1333436"/>
                <a:gd name="connsiteX334" fmla="*/ 125951 w 752994"/>
                <a:gd name="connsiteY334" fmla="*/ 217389 h 1333436"/>
                <a:gd name="connsiteX335" fmla="*/ 136156 w 752994"/>
                <a:gd name="connsiteY335" fmla="*/ 202925 h 1333436"/>
                <a:gd name="connsiteX336" fmla="*/ 138811 w 752994"/>
                <a:gd name="connsiteY336" fmla="*/ 183339 h 1333436"/>
                <a:gd name="connsiteX337" fmla="*/ 148801 w 752994"/>
                <a:gd name="connsiteY337" fmla="*/ 167445 h 1333436"/>
                <a:gd name="connsiteX338" fmla="*/ 159616 w 752994"/>
                <a:gd name="connsiteY338" fmla="*/ 170712 h 1333436"/>
                <a:gd name="connsiteX339" fmla="*/ 173105 w 752994"/>
                <a:gd name="connsiteY339" fmla="*/ 175188 h 1333436"/>
                <a:gd name="connsiteX340" fmla="*/ 175347 w 752994"/>
                <a:gd name="connsiteY340" fmla="*/ 175188 h 1333436"/>
                <a:gd name="connsiteX341" fmla="*/ 175347 w 752994"/>
                <a:gd name="connsiteY341" fmla="*/ 173758 h 1333436"/>
                <a:gd name="connsiteX342" fmla="*/ 184975 w 752994"/>
                <a:gd name="connsiteY342" fmla="*/ 187393 h 1333436"/>
                <a:gd name="connsiteX343" fmla="*/ 184762 w 752994"/>
                <a:gd name="connsiteY343" fmla="*/ 184637 h 1333436"/>
                <a:gd name="connsiteX344" fmla="*/ 174971 w 752994"/>
                <a:gd name="connsiteY344" fmla="*/ 170774 h 1333436"/>
                <a:gd name="connsiteX345" fmla="*/ 174971 w 752994"/>
                <a:gd name="connsiteY345" fmla="*/ 169550 h 1333436"/>
                <a:gd name="connsiteX346" fmla="*/ 158851 w 752994"/>
                <a:gd name="connsiteY346" fmla="*/ 156924 h 1333436"/>
                <a:gd name="connsiteX347" fmla="*/ 147025 w 752994"/>
                <a:gd name="connsiteY347" fmla="*/ 145709 h 1333436"/>
                <a:gd name="connsiteX348" fmla="*/ 154364 w 752994"/>
                <a:gd name="connsiteY348" fmla="*/ 136335 h 1333436"/>
                <a:gd name="connsiteX349" fmla="*/ 161511 w 752994"/>
                <a:gd name="connsiteY349" fmla="*/ 131042 h 1333436"/>
                <a:gd name="connsiteX350" fmla="*/ 160902 w 752994"/>
                <a:gd name="connsiteY350" fmla="*/ 128384 h 1333436"/>
                <a:gd name="connsiteX351" fmla="*/ 160277 w 752994"/>
                <a:gd name="connsiteY351" fmla="*/ 127778 h 1333436"/>
                <a:gd name="connsiteX352" fmla="*/ 154973 w 752994"/>
                <a:gd name="connsiteY352" fmla="*/ 122077 h 1333436"/>
                <a:gd name="connsiteX353" fmla="*/ 160277 w 752994"/>
                <a:gd name="connsiteY353" fmla="*/ 115140 h 1333436"/>
                <a:gd name="connsiteX354" fmla="*/ 165181 w 752994"/>
                <a:gd name="connsiteY354" fmla="*/ 108215 h 1333436"/>
                <a:gd name="connsiteX355" fmla="*/ 161303 w 752994"/>
                <a:gd name="connsiteY355" fmla="*/ 104146 h 1333436"/>
                <a:gd name="connsiteX356" fmla="*/ 157842 w 752994"/>
                <a:gd name="connsiteY356" fmla="*/ 104542 h 1333436"/>
                <a:gd name="connsiteX357" fmla="*/ 157024 w 752994"/>
                <a:gd name="connsiteY357" fmla="*/ 102304 h 1333436"/>
                <a:gd name="connsiteX358" fmla="*/ 160694 w 752994"/>
                <a:gd name="connsiteY358" fmla="*/ 55437 h 1333436"/>
                <a:gd name="connsiteX359" fmla="*/ 160486 w 752994"/>
                <a:gd name="connsiteY359" fmla="*/ 31991 h 1333436"/>
                <a:gd name="connsiteX360" fmla="*/ 164972 w 752994"/>
                <a:gd name="connsiteY360" fmla="*/ 18141 h 1333436"/>
                <a:gd name="connsiteX361" fmla="*/ 171911 w 752994"/>
                <a:gd name="connsiteY361" fmla="*/ 11204 h 1333436"/>
                <a:gd name="connsiteX362" fmla="*/ 187406 w 752994"/>
                <a:gd name="connsiteY362" fmla="*/ 21801 h 1333436"/>
                <a:gd name="connsiteX363" fmla="*/ 210866 w 752994"/>
                <a:gd name="connsiteY363" fmla="*/ 37086 h 1333436"/>
                <a:gd name="connsiteX364" fmla="*/ 219230 w 752994"/>
                <a:gd name="connsiteY364" fmla="*/ 41166 h 1333436"/>
                <a:gd name="connsiteX365" fmla="*/ 226778 w 752994"/>
                <a:gd name="connsiteY365" fmla="*/ 47486 h 1333436"/>
                <a:gd name="connsiteX366" fmla="*/ 236152 w 752994"/>
                <a:gd name="connsiteY366" fmla="*/ 52370 h 1333436"/>
                <a:gd name="connsiteX367" fmla="*/ 239629 w 752994"/>
                <a:gd name="connsiteY367" fmla="*/ 58491 h 1333436"/>
                <a:gd name="connsiteX368" fmla="*/ 239629 w 752994"/>
                <a:gd name="connsiteY368" fmla="*/ 63376 h 1333436"/>
                <a:gd name="connsiteX369" fmla="*/ 236568 w 752994"/>
                <a:gd name="connsiteY369" fmla="*/ 67457 h 1333436"/>
                <a:gd name="connsiteX370" fmla="*/ 231264 w 752994"/>
                <a:gd name="connsiteY370" fmla="*/ 69905 h 1333436"/>
                <a:gd name="connsiteX371" fmla="*/ 216778 w 752994"/>
                <a:gd name="connsiteY371" fmla="*/ 82741 h 1333436"/>
                <a:gd name="connsiteX372" fmla="*/ 214134 w 752994"/>
                <a:gd name="connsiteY372" fmla="*/ 93536 h 1333436"/>
                <a:gd name="connsiteX373" fmla="*/ 214535 w 752994"/>
                <a:gd name="connsiteY373" fmla="*/ 96801 h 1333436"/>
                <a:gd name="connsiteX374" fmla="*/ 216378 w 752994"/>
                <a:gd name="connsiteY374" fmla="*/ 96801 h 1333436"/>
                <a:gd name="connsiteX375" fmla="*/ 230046 w 752994"/>
                <a:gd name="connsiteY375" fmla="*/ 85387 h 1333436"/>
                <a:gd name="connsiteX376" fmla="*/ 243298 w 752994"/>
                <a:gd name="connsiteY376" fmla="*/ 75198 h 1333436"/>
                <a:gd name="connsiteX377" fmla="*/ 246760 w 752994"/>
                <a:gd name="connsiteY377" fmla="*/ 77646 h 1333436"/>
                <a:gd name="connsiteX378" fmla="*/ 255541 w 752994"/>
                <a:gd name="connsiteY378" fmla="*/ 63376 h 1333436"/>
                <a:gd name="connsiteX379" fmla="*/ 259611 w 752994"/>
                <a:gd name="connsiteY379" fmla="*/ 43405 h 1333436"/>
                <a:gd name="connsiteX380" fmla="*/ 256967 w 752994"/>
                <a:gd name="connsiteY380" fmla="*/ 38520 h 1333436"/>
                <a:gd name="connsiteX381" fmla="*/ 253906 w 752994"/>
                <a:gd name="connsiteY381" fmla="*/ 34242 h 1333436"/>
                <a:gd name="connsiteX382" fmla="*/ 256967 w 752994"/>
                <a:gd name="connsiteY382" fmla="*/ 30161 h 1333436"/>
                <a:gd name="connsiteX383" fmla="*/ 262063 w 752994"/>
                <a:gd name="connsiteY383" fmla="*/ 27712 h 1333436"/>
                <a:gd name="connsiteX384" fmla="*/ 264915 w 752994"/>
                <a:gd name="connsiteY384" fmla="*/ 23026 h 1333436"/>
                <a:gd name="connsiteX385" fmla="*/ 267976 w 752994"/>
                <a:gd name="connsiteY385" fmla="*/ 22618 h 1333436"/>
                <a:gd name="connsiteX386" fmla="*/ 270427 w 752994"/>
                <a:gd name="connsiteY386" fmla="*/ 20787 h 1333436"/>
                <a:gd name="connsiteX387" fmla="*/ 263088 w 752994"/>
                <a:gd name="connsiteY387" fmla="*/ 13652 h 1333436"/>
                <a:gd name="connsiteX388" fmla="*/ 255541 w 752994"/>
                <a:gd name="connsiteY388" fmla="*/ 3055 h 1333436"/>
                <a:gd name="connsiteX389" fmla="*/ 256358 w 752994"/>
                <a:gd name="connsiteY389" fmla="*/ 1224 h 1333436"/>
                <a:gd name="connsiteX390" fmla="*/ 257159 w 752994"/>
                <a:gd name="connsiteY390"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403787 w 752994"/>
                <a:gd name="connsiteY163" fmla="*/ 963290 h 1333436"/>
                <a:gd name="connsiteX164" fmla="*/ 404052 w 752994"/>
                <a:gd name="connsiteY164" fmla="*/ 963688 h 1333436"/>
                <a:gd name="connsiteX165" fmla="*/ 689408 w 752994"/>
                <a:gd name="connsiteY165" fmla="*/ 945184 h 1333436"/>
                <a:gd name="connsiteX166" fmla="*/ 710622 w 752994"/>
                <a:gd name="connsiteY166" fmla="*/ 948043 h 1333436"/>
                <a:gd name="connsiteX167" fmla="*/ 654533 w 752994"/>
                <a:gd name="connsiteY167" fmla="*/ 1333436 h 1333436"/>
                <a:gd name="connsiteX168" fmla="*/ 546831 w 752994"/>
                <a:gd name="connsiteY168" fmla="*/ 1317126 h 1333436"/>
                <a:gd name="connsiteX169" fmla="*/ 351227 w 752994"/>
                <a:gd name="connsiteY169" fmla="*/ 1194172 h 1333436"/>
                <a:gd name="connsiteX170" fmla="*/ 361011 w 752994"/>
                <a:gd name="connsiteY170" fmla="*/ 1182755 h 1333436"/>
                <a:gd name="connsiteX171" fmla="*/ 368981 w 752994"/>
                <a:gd name="connsiteY171" fmla="*/ 1182130 h 1333436"/>
                <a:gd name="connsiteX172" fmla="*/ 369571 w 752994"/>
                <a:gd name="connsiteY172" fmla="*/ 1181558 h 1333436"/>
                <a:gd name="connsiteX173" fmla="*/ 362372 w 752994"/>
                <a:gd name="connsiteY173" fmla="*/ 1182120 h 1333436"/>
                <a:gd name="connsiteX174" fmla="*/ 229464 w 752994"/>
                <a:gd name="connsiteY174" fmla="*/ 1161721 h 1333436"/>
                <a:gd name="connsiteX175" fmla="*/ 227427 w 752994"/>
                <a:gd name="connsiteY175" fmla="*/ 1157269 h 1333436"/>
                <a:gd name="connsiteX176" fmla="*/ 224967 w 752994"/>
                <a:gd name="connsiteY176" fmla="*/ 1152575 h 1333436"/>
                <a:gd name="connsiteX177" fmla="*/ 225582 w 752994"/>
                <a:gd name="connsiteY177" fmla="*/ 1144808 h 1333436"/>
                <a:gd name="connsiteX178" fmla="*/ 227215 w 752994"/>
                <a:gd name="connsiteY178" fmla="*/ 1135834 h 1333436"/>
                <a:gd name="connsiteX179" fmla="*/ 227215 w 752994"/>
                <a:gd name="connsiteY179" fmla="*/ 1134212 h 1333436"/>
                <a:gd name="connsiteX180" fmla="*/ 225179 w 752994"/>
                <a:gd name="connsiteY180" fmla="*/ 1114020 h 1333436"/>
                <a:gd name="connsiteX181" fmla="*/ 217839 w 752994"/>
                <a:gd name="connsiteY181" fmla="*/ 1100352 h 1333436"/>
                <a:gd name="connsiteX182" fmla="*/ 199661 w 752994"/>
                <a:gd name="connsiteY182" fmla="*/ 1076502 h 1333436"/>
                <a:gd name="connsiteX183" fmla="*/ 196395 w 752994"/>
                <a:gd name="connsiteY183" fmla="*/ 1071807 h 1333436"/>
                <a:gd name="connsiteX184" fmla="*/ 190880 w 752994"/>
                <a:gd name="connsiteY184" fmla="*/ 1067527 h 1333436"/>
                <a:gd name="connsiteX185" fmla="*/ 187210 w 752994"/>
                <a:gd name="connsiteY185" fmla="*/ 1068735 h 1333436"/>
                <a:gd name="connsiteX186" fmla="*/ 180062 w 752994"/>
                <a:gd name="connsiteY186" fmla="*/ 1066699 h 1333436"/>
                <a:gd name="connsiteX187" fmla="*/ 180466 w 752994"/>
                <a:gd name="connsiteY187" fmla="*/ 1053031 h 1333436"/>
                <a:gd name="connsiteX188" fmla="*/ 180062 w 752994"/>
                <a:gd name="connsiteY188" fmla="*/ 1045299 h 1333436"/>
                <a:gd name="connsiteX189" fmla="*/ 174144 w 752994"/>
                <a:gd name="connsiteY189" fmla="*/ 1044057 h 1333436"/>
                <a:gd name="connsiteX190" fmla="*/ 158426 w 752994"/>
                <a:gd name="connsiteY190" fmla="*/ 1042641 h 1333436"/>
                <a:gd name="connsiteX191" fmla="*/ 149857 w 752994"/>
                <a:gd name="connsiteY191" fmla="*/ 1035497 h 1333436"/>
                <a:gd name="connsiteX192" fmla="*/ 142497 w 752994"/>
                <a:gd name="connsiteY192" fmla="*/ 1028766 h 1333436"/>
                <a:gd name="connsiteX193" fmla="*/ 140864 w 752994"/>
                <a:gd name="connsiteY193" fmla="*/ 1020620 h 1333436"/>
                <a:gd name="connsiteX194" fmla="*/ 138212 w 752994"/>
                <a:gd name="connsiteY194" fmla="*/ 1013061 h 1333436"/>
                <a:gd name="connsiteX195" fmla="*/ 131064 w 752994"/>
                <a:gd name="connsiteY195" fmla="*/ 1007159 h 1333436"/>
                <a:gd name="connsiteX196" fmla="*/ 121264 w 752994"/>
                <a:gd name="connsiteY196" fmla="*/ 1005330 h 1333436"/>
                <a:gd name="connsiteX197" fmla="*/ 112483 w 752994"/>
                <a:gd name="connsiteY197" fmla="*/ 1001671 h 1333436"/>
                <a:gd name="connsiteX198" fmla="*/ 105950 w 752994"/>
                <a:gd name="connsiteY198" fmla="*/ 995734 h 1333436"/>
                <a:gd name="connsiteX199" fmla="*/ 97380 w 752994"/>
                <a:gd name="connsiteY199" fmla="*/ 994526 h 1333436"/>
                <a:gd name="connsiteX200" fmla="*/ 87984 w 752994"/>
                <a:gd name="connsiteY200" fmla="*/ 991040 h 1333436"/>
                <a:gd name="connsiteX201" fmla="*/ 80029 w 752994"/>
                <a:gd name="connsiteY201" fmla="*/ 985138 h 1333436"/>
                <a:gd name="connsiteX202" fmla="*/ 77166 w 752994"/>
                <a:gd name="connsiteY202" fmla="*/ 976164 h 1333436"/>
                <a:gd name="connsiteX203" fmla="*/ 79203 w 752994"/>
                <a:gd name="connsiteY203" fmla="*/ 970676 h 1333436"/>
                <a:gd name="connsiteX204" fmla="*/ 82470 w 752994"/>
                <a:gd name="connsiteY204" fmla="*/ 963117 h 1333436"/>
                <a:gd name="connsiteX205" fmla="*/ 84314 w 752994"/>
                <a:gd name="connsiteY205" fmla="*/ 954557 h 1333436"/>
                <a:gd name="connsiteX206" fmla="*/ 86351 w 752994"/>
                <a:gd name="connsiteY206" fmla="*/ 948033 h 1333436"/>
                <a:gd name="connsiteX207" fmla="*/ 86159 w 752994"/>
                <a:gd name="connsiteY207" fmla="*/ 942925 h 1333436"/>
                <a:gd name="connsiteX208" fmla="*/ 83085 w 752994"/>
                <a:gd name="connsiteY208" fmla="*/ 939853 h 1333436"/>
                <a:gd name="connsiteX209" fmla="*/ 77570 w 752994"/>
                <a:gd name="connsiteY209" fmla="*/ 937437 h 1333436"/>
                <a:gd name="connsiteX210" fmla="*/ 76763 w 752994"/>
                <a:gd name="connsiteY210" fmla="*/ 931915 h 1333436"/>
                <a:gd name="connsiteX211" fmla="*/ 78800 w 752994"/>
                <a:gd name="connsiteY211" fmla="*/ 927013 h 1333436"/>
                <a:gd name="connsiteX212" fmla="*/ 79626 w 752994"/>
                <a:gd name="connsiteY212" fmla="*/ 922526 h 1333436"/>
                <a:gd name="connsiteX213" fmla="*/ 77781 w 752994"/>
                <a:gd name="connsiteY213" fmla="*/ 919903 h 1333436"/>
                <a:gd name="connsiteX214" fmla="*/ 74303 w 752994"/>
                <a:gd name="connsiteY214" fmla="*/ 917418 h 1333436"/>
                <a:gd name="connsiteX215" fmla="*/ 71863 w 752994"/>
                <a:gd name="connsiteY215" fmla="*/ 915174 h 1333436"/>
                <a:gd name="connsiteX216" fmla="*/ 71652 w 752994"/>
                <a:gd name="connsiteY216" fmla="*/ 910894 h 1333436"/>
                <a:gd name="connsiteX217" fmla="*/ 70633 w 752994"/>
                <a:gd name="connsiteY217" fmla="*/ 906614 h 1333436"/>
                <a:gd name="connsiteX218" fmla="*/ 68385 w 752994"/>
                <a:gd name="connsiteY218" fmla="*/ 902749 h 1333436"/>
                <a:gd name="connsiteX219" fmla="*/ 61045 w 752994"/>
                <a:gd name="connsiteY219" fmla="*/ 889494 h 1333436"/>
                <a:gd name="connsiteX220" fmla="*/ 57971 w 752994"/>
                <a:gd name="connsiteY220" fmla="*/ 875619 h 1333436"/>
                <a:gd name="connsiteX221" fmla="*/ 52264 w 752994"/>
                <a:gd name="connsiteY221" fmla="*/ 862572 h 1333436"/>
                <a:gd name="connsiteX222" fmla="*/ 44309 w 752994"/>
                <a:gd name="connsiteY222" fmla="*/ 850561 h 1333436"/>
                <a:gd name="connsiteX223" fmla="*/ 45520 w 752994"/>
                <a:gd name="connsiteY223" fmla="*/ 827090 h 1333436"/>
                <a:gd name="connsiteX224" fmla="*/ 53071 w 752994"/>
                <a:gd name="connsiteY224" fmla="*/ 822396 h 1333436"/>
                <a:gd name="connsiteX225" fmla="*/ 57375 w 752994"/>
                <a:gd name="connsiteY225" fmla="*/ 816493 h 1333436"/>
                <a:gd name="connsiteX226" fmla="*/ 55319 w 752994"/>
                <a:gd name="connsiteY226" fmla="*/ 801617 h 1333436"/>
                <a:gd name="connsiteX227" fmla="*/ 48383 w 752994"/>
                <a:gd name="connsiteY227" fmla="*/ 802204 h 1333436"/>
                <a:gd name="connsiteX228" fmla="*/ 40428 w 752994"/>
                <a:gd name="connsiteY228" fmla="*/ 797924 h 1333436"/>
                <a:gd name="connsiteX229" fmla="*/ 37565 w 752994"/>
                <a:gd name="connsiteY229" fmla="*/ 790606 h 1333436"/>
                <a:gd name="connsiteX230" fmla="*/ 37565 w 752994"/>
                <a:gd name="connsiteY230" fmla="*/ 790399 h 1333436"/>
                <a:gd name="connsiteX231" fmla="*/ 35931 w 752994"/>
                <a:gd name="connsiteY231" fmla="*/ 785912 h 1333436"/>
                <a:gd name="connsiteX232" fmla="*/ 34510 w 752994"/>
                <a:gd name="connsiteY232" fmla="*/ 780597 h 1333436"/>
                <a:gd name="connsiteX233" fmla="*/ 36335 w 752994"/>
                <a:gd name="connsiteY233" fmla="*/ 774280 h 1333436"/>
                <a:gd name="connsiteX234" fmla="*/ 38180 w 752994"/>
                <a:gd name="connsiteY234" fmla="*/ 766721 h 1333436"/>
                <a:gd name="connsiteX235" fmla="*/ 37161 w 752994"/>
                <a:gd name="connsiteY235" fmla="*/ 760405 h 1333436"/>
                <a:gd name="connsiteX236" fmla="*/ 35720 w 752994"/>
                <a:gd name="connsiteY236" fmla="*/ 754710 h 1333436"/>
                <a:gd name="connsiteX237" fmla="*/ 36546 w 752994"/>
                <a:gd name="connsiteY237" fmla="*/ 748773 h 1333436"/>
                <a:gd name="connsiteX238" fmla="*/ 38372 w 752994"/>
                <a:gd name="connsiteY238" fmla="*/ 744528 h 1333436"/>
                <a:gd name="connsiteX239" fmla="*/ 41638 w 752994"/>
                <a:gd name="connsiteY239" fmla="*/ 744321 h 1333436"/>
                <a:gd name="connsiteX240" fmla="*/ 44713 w 752994"/>
                <a:gd name="connsiteY240" fmla="*/ 746357 h 1333436"/>
                <a:gd name="connsiteX241" fmla="*/ 47364 w 752994"/>
                <a:gd name="connsiteY241" fmla="*/ 753260 h 1333436"/>
                <a:gd name="connsiteX242" fmla="*/ 55742 w 752994"/>
                <a:gd name="connsiteY242" fmla="*/ 764305 h 1333436"/>
                <a:gd name="connsiteX243" fmla="*/ 56338 w 752994"/>
                <a:gd name="connsiteY243" fmla="*/ 761233 h 1333436"/>
                <a:gd name="connsiteX244" fmla="*/ 56145 w 752994"/>
                <a:gd name="connsiteY244" fmla="*/ 757368 h 1333436"/>
                <a:gd name="connsiteX245" fmla="*/ 54916 w 752994"/>
                <a:gd name="connsiteY245" fmla="*/ 748601 h 1333436"/>
                <a:gd name="connsiteX246" fmla="*/ 52879 w 752994"/>
                <a:gd name="connsiteY246" fmla="*/ 747358 h 1333436"/>
                <a:gd name="connsiteX247" fmla="*/ 51649 w 752994"/>
                <a:gd name="connsiteY247" fmla="*/ 745322 h 1333436"/>
                <a:gd name="connsiteX248" fmla="*/ 51649 w 752994"/>
                <a:gd name="connsiteY248" fmla="*/ 739212 h 1333436"/>
                <a:gd name="connsiteX249" fmla="*/ 50227 w 752994"/>
                <a:gd name="connsiteY249" fmla="*/ 734725 h 1333436"/>
                <a:gd name="connsiteX250" fmla="*/ 48786 w 752994"/>
                <a:gd name="connsiteY250" fmla="*/ 731446 h 1333436"/>
                <a:gd name="connsiteX251" fmla="*/ 54512 w 752994"/>
                <a:gd name="connsiteY251" fmla="*/ 726372 h 1333436"/>
                <a:gd name="connsiteX252" fmla="*/ 59815 w 752994"/>
                <a:gd name="connsiteY252" fmla="*/ 725130 h 1333436"/>
                <a:gd name="connsiteX253" fmla="*/ 58182 w 752994"/>
                <a:gd name="connsiteY253" fmla="*/ 722886 h 1333436"/>
                <a:gd name="connsiteX254" fmla="*/ 51861 w 752994"/>
                <a:gd name="connsiteY254" fmla="*/ 717985 h 1333436"/>
                <a:gd name="connsiteX255" fmla="*/ 46749 w 752994"/>
                <a:gd name="connsiteY255" fmla="*/ 729617 h 1333436"/>
                <a:gd name="connsiteX256" fmla="*/ 40831 w 752994"/>
                <a:gd name="connsiteY256" fmla="*/ 739212 h 1333436"/>
                <a:gd name="connsiteX257" fmla="*/ 39601 w 752994"/>
                <a:gd name="connsiteY257" fmla="*/ 738798 h 1333436"/>
                <a:gd name="connsiteX258" fmla="*/ 39409 w 752994"/>
                <a:gd name="connsiteY258" fmla="*/ 738591 h 1333436"/>
                <a:gd name="connsiteX259" fmla="*/ 37161 w 752994"/>
                <a:gd name="connsiteY259" fmla="*/ 734725 h 1333436"/>
                <a:gd name="connsiteX260" fmla="*/ 32665 w 752994"/>
                <a:gd name="connsiteY260" fmla="*/ 727788 h 1333436"/>
                <a:gd name="connsiteX261" fmla="*/ 26747 w 752994"/>
                <a:gd name="connsiteY261" fmla="*/ 719435 h 1333436"/>
                <a:gd name="connsiteX262" fmla="*/ 23884 w 752994"/>
                <a:gd name="connsiteY262" fmla="*/ 717812 h 1333436"/>
                <a:gd name="connsiteX263" fmla="*/ 24710 w 752994"/>
                <a:gd name="connsiteY263" fmla="*/ 709632 h 1333436"/>
                <a:gd name="connsiteX264" fmla="*/ 27554 w 752994"/>
                <a:gd name="connsiteY264" fmla="*/ 701694 h 1333436"/>
                <a:gd name="connsiteX265" fmla="*/ 24902 w 752994"/>
                <a:gd name="connsiteY265" fmla="*/ 696171 h 1333436"/>
                <a:gd name="connsiteX266" fmla="*/ 24095 w 752994"/>
                <a:gd name="connsiteY266" fmla="*/ 687818 h 1333436"/>
                <a:gd name="connsiteX267" fmla="*/ 22462 w 752994"/>
                <a:gd name="connsiteY267" fmla="*/ 682330 h 1333436"/>
                <a:gd name="connsiteX268" fmla="*/ 17159 w 752994"/>
                <a:gd name="connsiteY268" fmla="*/ 677636 h 1333436"/>
                <a:gd name="connsiteX269" fmla="*/ 14296 w 752994"/>
                <a:gd name="connsiteY269" fmla="*/ 671492 h 1333436"/>
                <a:gd name="connsiteX270" fmla="*/ 12451 w 752994"/>
                <a:gd name="connsiteY270" fmla="*/ 665797 h 1333436"/>
                <a:gd name="connsiteX271" fmla="*/ 5111 w 752994"/>
                <a:gd name="connsiteY271" fmla="*/ 654994 h 1333436"/>
                <a:gd name="connsiteX272" fmla="*/ 2248 w 752994"/>
                <a:gd name="connsiteY272" fmla="*/ 645605 h 1333436"/>
                <a:gd name="connsiteX273" fmla="*/ 4496 w 752994"/>
                <a:gd name="connsiteY273" fmla="*/ 640497 h 1333436"/>
                <a:gd name="connsiteX274" fmla="*/ 6744 w 752994"/>
                <a:gd name="connsiteY274" fmla="*/ 632765 h 1333436"/>
                <a:gd name="connsiteX275" fmla="*/ 6744 w 752994"/>
                <a:gd name="connsiteY275" fmla="*/ 628485 h 1333436"/>
                <a:gd name="connsiteX276" fmla="*/ 6533 w 752994"/>
                <a:gd name="connsiteY276" fmla="*/ 620305 h 1333436"/>
                <a:gd name="connsiteX277" fmla="*/ 7359 w 752994"/>
                <a:gd name="connsiteY277" fmla="*/ 611745 h 1333436"/>
                <a:gd name="connsiteX278" fmla="*/ 11836 w 752994"/>
                <a:gd name="connsiteY278" fmla="*/ 602978 h 1333436"/>
                <a:gd name="connsiteX279" fmla="*/ 15103 w 752994"/>
                <a:gd name="connsiteY279" fmla="*/ 591760 h 1333436"/>
                <a:gd name="connsiteX280" fmla="*/ 14488 w 752994"/>
                <a:gd name="connsiteY280" fmla="*/ 584029 h 1333436"/>
                <a:gd name="connsiteX281" fmla="*/ 13873 w 752994"/>
                <a:gd name="connsiteY281" fmla="*/ 578299 h 1333436"/>
                <a:gd name="connsiteX282" fmla="*/ 10626 w 752994"/>
                <a:gd name="connsiteY282" fmla="*/ 568531 h 1333436"/>
                <a:gd name="connsiteX283" fmla="*/ 3670 w 752994"/>
                <a:gd name="connsiteY283" fmla="*/ 558107 h 1333436"/>
                <a:gd name="connsiteX284" fmla="*/ 0 w 752994"/>
                <a:gd name="connsiteY284" fmla="*/ 551377 h 1333436"/>
                <a:gd name="connsiteX285" fmla="*/ 0 w 752994"/>
                <a:gd name="connsiteY285" fmla="*/ 550997 h 1333436"/>
                <a:gd name="connsiteX286" fmla="*/ 4900 w 752994"/>
                <a:gd name="connsiteY286" fmla="*/ 531220 h 1333436"/>
                <a:gd name="connsiteX287" fmla="*/ 13873 w 752994"/>
                <a:gd name="connsiteY287" fmla="*/ 520589 h 1333436"/>
                <a:gd name="connsiteX288" fmla="*/ 18369 w 752994"/>
                <a:gd name="connsiteY288" fmla="*/ 516516 h 1333436"/>
                <a:gd name="connsiteX289" fmla="*/ 18773 w 752994"/>
                <a:gd name="connsiteY289" fmla="*/ 514272 h 1333436"/>
                <a:gd name="connsiteX290" fmla="*/ 23077 w 752994"/>
                <a:gd name="connsiteY290" fmla="*/ 506127 h 1333436"/>
                <a:gd name="connsiteX291" fmla="*/ 23884 w 752994"/>
                <a:gd name="connsiteY291" fmla="*/ 502261 h 1333436"/>
                <a:gd name="connsiteX292" fmla="*/ 23692 w 752994"/>
                <a:gd name="connsiteY292" fmla="*/ 496738 h 1333436"/>
                <a:gd name="connsiteX293" fmla="*/ 30013 w 752994"/>
                <a:gd name="connsiteY293" fmla="*/ 486556 h 1333436"/>
                <a:gd name="connsiteX294" fmla="*/ 36546 w 752994"/>
                <a:gd name="connsiteY294" fmla="*/ 470230 h 1333436"/>
                <a:gd name="connsiteX295" fmla="*/ 36546 w 752994"/>
                <a:gd name="connsiteY295" fmla="*/ 462671 h 1333436"/>
                <a:gd name="connsiteX296" fmla="*/ 36335 w 752994"/>
                <a:gd name="connsiteY296" fmla="*/ 461670 h 1333436"/>
                <a:gd name="connsiteX297" fmla="*/ 35931 w 752994"/>
                <a:gd name="connsiteY297" fmla="*/ 453110 h 1333436"/>
                <a:gd name="connsiteX298" fmla="*/ 38583 w 752994"/>
                <a:gd name="connsiteY298" fmla="*/ 442514 h 1333436"/>
                <a:gd name="connsiteX299" fmla="*/ 41043 w 752994"/>
                <a:gd name="connsiteY299" fmla="*/ 436991 h 1333436"/>
                <a:gd name="connsiteX300" fmla="*/ 41650 w 752994"/>
                <a:gd name="connsiteY300" fmla="*/ 437186 h 1333436"/>
                <a:gd name="connsiteX301" fmla="*/ 41239 w 752994"/>
                <a:gd name="connsiteY301" fmla="*/ 436549 h 1333436"/>
                <a:gd name="connsiteX302" fmla="*/ 37778 w 752994"/>
                <a:gd name="connsiteY302" fmla="*/ 433894 h 1333436"/>
                <a:gd name="connsiteX303" fmla="*/ 37169 w 752994"/>
                <a:gd name="connsiteY303" fmla="*/ 432261 h 1333436"/>
                <a:gd name="connsiteX304" fmla="*/ 37365 w 752994"/>
                <a:gd name="connsiteY304" fmla="*/ 429198 h 1333436"/>
                <a:gd name="connsiteX305" fmla="*/ 36756 w 752994"/>
                <a:gd name="connsiteY305" fmla="*/ 422272 h 1333436"/>
                <a:gd name="connsiteX306" fmla="*/ 36952 w 752994"/>
                <a:gd name="connsiteY306" fmla="*/ 418800 h 1333436"/>
                <a:gd name="connsiteX307" fmla="*/ 36756 w 752994"/>
                <a:gd name="connsiteY307" fmla="*/ 412487 h 1333436"/>
                <a:gd name="connsiteX308" fmla="*/ 40433 w 752994"/>
                <a:gd name="connsiteY308" fmla="*/ 406174 h 1333436"/>
                <a:gd name="connsiteX309" fmla="*/ 44720 w 752994"/>
                <a:gd name="connsiteY309" fmla="*/ 399435 h 1333436"/>
                <a:gd name="connsiteX310" fmla="*/ 44110 w 752994"/>
                <a:gd name="connsiteY310" fmla="*/ 389651 h 1333436"/>
                <a:gd name="connsiteX311" fmla="*/ 43894 w 752994"/>
                <a:gd name="connsiteY311" fmla="*/ 378437 h 1333436"/>
                <a:gd name="connsiteX312" fmla="*/ 47158 w 752994"/>
                <a:gd name="connsiteY312" fmla="*/ 371102 h 1333436"/>
                <a:gd name="connsiteX313" fmla="*/ 55731 w 752994"/>
                <a:gd name="connsiteY313" fmla="*/ 360909 h 1333436"/>
                <a:gd name="connsiteX314" fmla="*/ 57580 w 752994"/>
                <a:gd name="connsiteY314" fmla="*/ 355804 h 1333436"/>
                <a:gd name="connsiteX315" fmla="*/ 62673 w 752994"/>
                <a:gd name="connsiteY315" fmla="*/ 349695 h 1333436"/>
                <a:gd name="connsiteX316" fmla="*/ 65937 w 752994"/>
                <a:gd name="connsiteY316" fmla="*/ 348470 h 1333436"/>
                <a:gd name="connsiteX317" fmla="*/ 68395 w 752994"/>
                <a:gd name="connsiteY317" fmla="*/ 348674 h 1333436"/>
                <a:gd name="connsiteX318" fmla="*/ 70224 w 752994"/>
                <a:gd name="connsiteY318" fmla="*/ 347449 h 1333436"/>
                <a:gd name="connsiteX319" fmla="*/ 67785 w 752994"/>
                <a:gd name="connsiteY319" fmla="*/ 345203 h 1333436"/>
                <a:gd name="connsiteX320" fmla="*/ 65524 w 752994"/>
                <a:gd name="connsiteY320" fmla="*/ 343178 h 1333436"/>
                <a:gd name="connsiteX321" fmla="*/ 73095 w 752994"/>
                <a:gd name="connsiteY321" fmla="*/ 333376 h 1333436"/>
                <a:gd name="connsiteX322" fmla="*/ 73291 w 752994"/>
                <a:gd name="connsiteY322" fmla="*/ 333376 h 1333436"/>
                <a:gd name="connsiteX323" fmla="*/ 77991 w 752994"/>
                <a:gd name="connsiteY323" fmla="*/ 325838 h 1333436"/>
                <a:gd name="connsiteX324" fmla="*/ 82671 w 752994"/>
                <a:gd name="connsiteY324" fmla="*/ 313619 h 1333436"/>
                <a:gd name="connsiteX325" fmla="*/ 87980 w 752994"/>
                <a:gd name="connsiteY325" fmla="*/ 303018 h 1333436"/>
                <a:gd name="connsiteX326" fmla="*/ 92267 w 752994"/>
                <a:gd name="connsiteY326" fmla="*/ 291191 h 1333436"/>
                <a:gd name="connsiteX327" fmla="*/ 96553 w 752994"/>
                <a:gd name="connsiteY327" fmla="*/ 281202 h 1333436"/>
                <a:gd name="connsiteX328" fmla="*/ 99621 w 752994"/>
                <a:gd name="connsiteY328" fmla="*/ 274481 h 1333436"/>
                <a:gd name="connsiteX329" fmla="*/ 103082 w 752994"/>
                <a:gd name="connsiteY329" fmla="*/ 262450 h 1333436"/>
                <a:gd name="connsiteX330" fmla="*/ 107172 w 752994"/>
                <a:gd name="connsiteY330" fmla="*/ 254299 h 1333436"/>
                <a:gd name="connsiteX331" fmla="*/ 112481 w 752994"/>
                <a:gd name="connsiteY331" fmla="*/ 243697 h 1333436"/>
                <a:gd name="connsiteX332" fmla="*/ 117181 w 752994"/>
                <a:gd name="connsiteY332" fmla="*/ 232279 h 1333436"/>
                <a:gd name="connsiteX333" fmla="*/ 125951 w 752994"/>
                <a:gd name="connsiteY333" fmla="*/ 217389 h 1333436"/>
                <a:gd name="connsiteX334" fmla="*/ 136156 w 752994"/>
                <a:gd name="connsiteY334" fmla="*/ 202925 h 1333436"/>
                <a:gd name="connsiteX335" fmla="*/ 138811 w 752994"/>
                <a:gd name="connsiteY335" fmla="*/ 183339 h 1333436"/>
                <a:gd name="connsiteX336" fmla="*/ 148801 w 752994"/>
                <a:gd name="connsiteY336" fmla="*/ 167445 h 1333436"/>
                <a:gd name="connsiteX337" fmla="*/ 159616 w 752994"/>
                <a:gd name="connsiteY337" fmla="*/ 170712 h 1333436"/>
                <a:gd name="connsiteX338" fmla="*/ 173105 w 752994"/>
                <a:gd name="connsiteY338" fmla="*/ 175188 h 1333436"/>
                <a:gd name="connsiteX339" fmla="*/ 175347 w 752994"/>
                <a:gd name="connsiteY339" fmla="*/ 175188 h 1333436"/>
                <a:gd name="connsiteX340" fmla="*/ 175347 w 752994"/>
                <a:gd name="connsiteY340" fmla="*/ 173758 h 1333436"/>
                <a:gd name="connsiteX341" fmla="*/ 184975 w 752994"/>
                <a:gd name="connsiteY341" fmla="*/ 187393 h 1333436"/>
                <a:gd name="connsiteX342" fmla="*/ 184762 w 752994"/>
                <a:gd name="connsiteY342" fmla="*/ 184637 h 1333436"/>
                <a:gd name="connsiteX343" fmla="*/ 174971 w 752994"/>
                <a:gd name="connsiteY343" fmla="*/ 170774 h 1333436"/>
                <a:gd name="connsiteX344" fmla="*/ 174971 w 752994"/>
                <a:gd name="connsiteY344" fmla="*/ 169550 h 1333436"/>
                <a:gd name="connsiteX345" fmla="*/ 158851 w 752994"/>
                <a:gd name="connsiteY345" fmla="*/ 156924 h 1333436"/>
                <a:gd name="connsiteX346" fmla="*/ 147025 w 752994"/>
                <a:gd name="connsiteY346" fmla="*/ 145709 h 1333436"/>
                <a:gd name="connsiteX347" fmla="*/ 154364 w 752994"/>
                <a:gd name="connsiteY347" fmla="*/ 136335 h 1333436"/>
                <a:gd name="connsiteX348" fmla="*/ 161511 w 752994"/>
                <a:gd name="connsiteY348" fmla="*/ 131042 h 1333436"/>
                <a:gd name="connsiteX349" fmla="*/ 160902 w 752994"/>
                <a:gd name="connsiteY349" fmla="*/ 128384 h 1333436"/>
                <a:gd name="connsiteX350" fmla="*/ 160277 w 752994"/>
                <a:gd name="connsiteY350" fmla="*/ 127778 h 1333436"/>
                <a:gd name="connsiteX351" fmla="*/ 154973 w 752994"/>
                <a:gd name="connsiteY351" fmla="*/ 122077 h 1333436"/>
                <a:gd name="connsiteX352" fmla="*/ 160277 w 752994"/>
                <a:gd name="connsiteY352" fmla="*/ 115140 h 1333436"/>
                <a:gd name="connsiteX353" fmla="*/ 165181 w 752994"/>
                <a:gd name="connsiteY353" fmla="*/ 108215 h 1333436"/>
                <a:gd name="connsiteX354" fmla="*/ 161303 w 752994"/>
                <a:gd name="connsiteY354" fmla="*/ 104146 h 1333436"/>
                <a:gd name="connsiteX355" fmla="*/ 157842 w 752994"/>
                <a:gd name="connsiteY355" fmla="*/ 104542 h 1333436"/>
                <a:gd name="connsiteX356" fmla="*/ 157024 w 752994"/>
                <a:gd name="connsiteY356" fmla="*/ 102304 h 1333436"/>
                <a:gd name="connsiteX357" fmla="*/ 160694 w 752994"/>
                <a:gd name="connsiteY357" fmla="*/ 55437 h 1333436"/>
                <a:gd name="connsiteX358" fmla="*/ 160486 w 752994"/>
                <a:gd name="connsiteY358" fmla="*/ 31991 h 1333436"/>
                <a:gd name="connsiteX359" fmla="*/ 164972 w 752994"/>
                <a:gd name="connsiteY359" fmla="*/ 18141 h 1333436"/>
                <a:gd name="connsiteX360" fmla="*/ 171911 w 752994"/>
                <a:gd name="connsiteY360" fmla="*/ 11204 h 1333436"/>
                <a:gd name="connsiteX361" fmla="*/ 187406 w 752994"/>
                <a:gd name="connsiteY361" fmla="*/ 21801 h 1333436"/>
                <a:gd name="connsiteX362" fmla="*/ 210866 w 752994"/>
                <a:gd name="connsiteY362" fmla="*/ 37086 h 1333436"/>
                <a:gd name="connsiteX363" fmla="*/ 219230 w 752994"/>
                <a:gd name="connsiteY363" fmla="*/ 41166 h 1333436"/>
                <a:gd name="connsiteX364" fmla="*/ 226778 w 752994"/>
                <a:gd name="connsiteY364" fmla="*/ 47486 h 1333436"/>
                <a:gd name="connsiteX365" fmla="*/ 236152 w 752994"/>
                <a:gd name="connsiteY365" fmla="*/ 52370 h 1333436"/>
                <a:gd name="connsiteX366" fmla="*/ 239629 w 752994"/>
                <a:gd name="connsiteY366" fmla="*/ 58491 h 1333436"/>
                <a:gd name="connsiteX367" fmla="*/ 239629 w 752994"/>
                <a:gd name="connsiteY367" fmla="*/ 63376 h 1333436"/>
                <a:gd name="connsiteX368" fmla="*/ 236568 w 752994"/>
                <a:gd name="connsiteY368" fmla="*/ 67457 h 1333436"/>
                <a:gd name="connsiteX369" fmla="*/ 231264 w 752994"/>
                <a:gd name="connsiteY369" fmla="*/ 69905 h 1333436"/>
                <a:gd name="connsiteX370" fmla="*/ 216778 w 752994"/>
                <a:gd name="connsiteY370" fmla="*/ 82741 h 1333436"/>
                <a:gd name="connsiteX371" fmla="*/ 214134 w 752994"/>
                <a:gd name="connsiteY371" fmla="*/ 93536 h 1333436"/>
                <a:gd name="connsiteX372" fmla="*/ 214535 w 752994"/>
                <a:gd name="connsiteY372" fmla="*/ 96801 h 1333436"/>
                <a:gd name="connsiteX373" fmla="*/ 216378 w 752994"/>
                <a:gd name="connsiteY373" fmla="*/ 96801 h 1333436"/>
                <a:gd name="connsiteX374" fmla="*/ 230046 w 752994"/>
                <a:gd name="connsiteY374" fmla="*/ 85387 h 1333436"/>
                <a:gd name="connsiteX375" fmla="*/ 243298 w 752994"/>
                <a:gd name="connsiteY375" fmla="*/ 75198 h 1333436"/>
                <a:gd name="connsiteX376" fmla="*/ 246760 w 752994"/>
                <a:gd name="connsiteY376" fmla="*/ 77646 h 1333436"/>
                <a:gd name="connsiteX377" fmla="*/ 255541 w 752994"/>
                <a:gd name="connsiteY377" fmla="*/ 63376 h 1333436"/>
                <a:gd name="connsiteX378" fmla="*/ 259611 w 752994"/>
                <a:gd name="connsiteY378" fmla="*/ 43405 h 1333436"/>
                <a:gd name="connsiteX379" fmla="*/ 256967 w 752994"/>
                <a:gd name="connsiteY379" fmla="*/ 38520 h 1333436"/>
                <a:gd name="connsiteX380" fmla="*/ 253906 w 752994"/>
                <a:gd name="connsiteY380" fmla="*/ 34242 h 1333436"/>
                <a:gd name="connsiteX381" fmla="*/ 256967 w 752994"/>
                <a:gd name="connsiteY381" fmla="*/ 30161 h 1333436"/>
                <a:gd name="connsiteX382" fmla="*/ 262063 w 752994"/>
                <a:gd name="connsiteY382" fmla="*/ 27712 h 1333436"/>
                <a:gd name="connsiteX383" fmla="*/ 264915 w 752994"/>
                <a:gd name="connsiteY383" fmla="*/ 23026 h 1333436"/>
                <a:gd name="connsiteX384" fmla="*/ 267976 w 752994"/>
                <a:gd name="connsiteY384" fmla="*/ 22618 h 1333436"/>
                <a:gd name="connsiteX385" fmla="*/ 270427 w 752994"/>
                <a:gd name="connsiteY385" fmla="*/ 20787 h 1333436"/>
                <a:gd name="connsiteX386" fmla="*/ 263088 w 752994"/>
                <a:gd name="connsiteY386" fmla="*/ 13652 h 1333436"/>
                <a:gd name="connsiteX387" fmla="*/ 255541 w 752994"/>
                <a:gd name="connsiteY387" fmla="*/ 3055 h 1333436"/>
                <a:gd name="connsiteX388" fmla="*/ 256358 w 752994"/>
                <a:gd name="connsiteY388" fmla="*/ 1224 h 1333436"/>
                <a:gd name="connsiteX389" fmla="*/ 257159 w 752994"/>
                <a:gd name="connsiteY389"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403787 w 752994"/>
                <a:gd name="connsiteY163" fmla="*/ 963290 h 1333436"/>
                <a:gd name="connsiteX164" fmla="*/ 689408 w 752994"/>
                <a:gd name="connsiteY164" fmla="*/ 945184 h 1333436"/>
                <a:gd name="connsiteX165" fmla="*/ 710622 w 752994"/>
                <a:gd name="connsiteY165" fmla="*/ 948043 h 1333436"/>
                <a:gd name="connsiteX166" fmla="*/ 654533 w 752994"/>
                <a:gd name="connsiteY166" fmla="*/ 1333436 h 1333436"/>
                <a:gd name="connsiteX167" fmla="*/ 546831 w 752994"/>
                <a:gd name="connsiteY167" fmla="*/ 1317126 h 1333436"/>
                <a:gd name="connsiteX168" fmla="*/ 351227 w 752994"/>
                <a:gd name="connsiteY168" fmla="*/ 1194172 h 1333436"/>
                <a:gd name="connsiteX169" fmla="*/ 361011 w 752994"/>
                <a:gd name="connsiteY169" fmla="*/ 1182755 h 1333436"/>
                <a:gd name="connsiteX170" fmla="*/ 368981 w 752994"/>
                <a:gd name="connsiteY170" fmla="*/ 1182130 h 1333436"/>
                <a:gd name="connsiteX171" fmla="*/ 369571 w 752994"/>
                <a:gd name="connsiteY171" fmla="*/ 1181558 h 1333436"/>
                <a:gd name="connsiteX172" fmla="*/ 362372 w 752994"/>
                <a:gd name="connsiteY172" fmla="*/ 1182120 h 1333436"/>
                <a:gd name="connsiteX173" fmla="*/ 229464 w 752994"/>
                <a:gd name="connsiteY173" fmla="*/ 1161721 h 1333436"/>
                <a:gd name="connsiteX174" fmla="*/ 227427 w 752994"/>
                <a:gd name="connsiteY174" fmla="*/ 1157269 h 1333436"/>
                <a:gd name="connsiteX175" fmla="*/ 224967 w 752994"/>
                <a:gd name="connsiteY175" fmla="*/ 1152575 h 1333436"/>
                <a:gd name="connsiteX176" fmla="*/ 225582 w 752994"/>
                <a:gd name="connsiteY176" fmla="*/ 1144808 h 1333436"/>
                <a:gd name="connsiteX177" fmla="*/ 227215 w 752994"/>
                <a:gd name="connsiteY177" fmla="*/ 1135834 h 1333436"/>
                <a:gd name="connsiteX178" fmla="*/ 227215 w 752994"/>
                <a:gd name="connsiteY178" fmla="*/ 1134212 h 1333436"/>
                <a:gd name="connsiteX179" fmla="*/ 225179 w 752994"/>
                <a:gd name="connsiteY179" fmla="*/ 1114020 h 1333436"/>
                <a:gd name="connsiteX180" fmla="*/ 217839 w 752994"/>
                <a:gd name="connsiteY180" fmla="*/ 1100352 h 1333436"/>
                <a:gd name="connsiteX181" fmla="*/ 199661 w 752994"/>
                <a:gd name="connsiteY181" fmla="*/ 1076502 h 1333436"/>
                <a:gd name="connsiteX182" fmla="*/ 196395 w 752994"/>
                <a:gd name="connsiteY182" fmla="*/ 1071807 h 1333436"/>
                <a:gd name="connsiteX183" fmla="*/ 190880 w 752994"/>
                <a:gd name="connsiteY183" fmla="*/ 1067527 h 1333436"/>
                <a:gd name="connsiteX184" fmla="*/ 187210 w 752994"/>
                <a:gd name="connsiteY184" fmla="*/ 1068735 h 1333436"/>
                <a:gd name="connsiteX185" fmla="*/ 180062 w 752994"/>
                <a:gd name="connsiteY185" fmla="*/ 1066699 h 1333436"/>
                <a:gd name="connsiteX186" fmla="*/ 180466 w 752994"/>
                <a:gd name="connsiteY186" fmla="*/ 1053031 h 1333436"/>
                <a:gd name="connsiteX187" fmla="*/ 180062 w 752994"/>
                <a:gd name="connsiteY187" fmla="*/ 1045299 h 1333436"/>
                <a:gd name="connsiteX188" fmla="*/ 174144 w 752994"/>
                <a:gd name="connsiteY188" fmla="*/ 1044057 h 1333436"/>
                <a:gd name="connsiteX189" fmla="*/ 158426 w 752994"/>
                <a:gd name="connsiteY189" fmla="*/ 1042641 h 1333436"/>
                <a:gd name="connsiteX190" fmla="*/ 149857 w 752994"/>
                <a:gd name="connsiteY190" fmla="*/ 1035497 h 1333436"/>
                <a:gd name="connsiteX191" fmla="*/ 142497 w 752994"/>
                <a:gd name="connsiteY191" fmla="*/ 1028766 h 1333436"/>
                <a:gd name="connsiteX192" fmla="*/ 140864 w 752994"/>
                <a:gd name="connsiteY192" fmla="*/ 1020620 h 1333436"/>
                <a:gd name="connsiteX193" fmla="*/ 138212 w 752994"/>
                <a:gd name="connsiteY193" fmla="*/ 1013061 h 1333436"/>
                <a:gd name="connsiteX194" fmla="*/ 131064 w 752994"/>
                <a:gd name="connsiteY194" fmla="*/ 1007159 h 1333436"/>
                <a:gd name="connsiteX195" fmla="*/ 121264 w 752994"/>
                <a:gd name="connsiteY195" fmla="*/ 1005330 h 1333436"/>
                <a:gd name="connsiteX196" fmla="*/ 112483 w 752994"/>
                <a:gd name="connsiteY196" fmla="*/ 1001671 h 1333436"/>
                <a:gd name="connsiteX197" fmla="*/ 105950 w 752994"/>
                <a:gd name="connsiteY197" fmla="*/ 995734 h 1333436"/>
                <a:gd name="connsiteX198" fmla="*/ 97380 w 752994"/>
                <a:gd name="connsiteY198" fmla="*/ 994526 h 1333436"/>
                <a:gd name="connsiteX199" fmla="*/ 87984 w 752994"/>
                <a:gd name="connsiteY199" fmla="*/ 991040 h 1333436"/>
                <a:gd name="connsiteX200" fmla="*/ 80029 w 752994"/>
                <a:gd name="connsiteY200" fmla="*/ 985138 h 1333436"/>
                <a:gd name="connsiteX201" fmla="*/ 77166 w 752994"/>
                <a:gd name="connsiteY201" fmla="*/ 976164 h 1333436"/>
                <a:gd name="connsiteX202" fmla="*/ 79203 w 752994"/>
                <a:gd name="connsiteY202" fmla="*/ 970676 h 1333436"/>
                <a:gd name="connsiteX203" fmla="*/ 82470 w 752994"/>
                <a:gd name="connsiteY203" fmla="*/ 963117 h 1333436"/>
                <a:gd name="connsiteX204" fmla="*/ 84314 w 752994"/>
                <a:gd name="connsiteY204" fmla="*/ 954557 h 1333436"/>
                <a:gd name="connsiteX205" fmla="*/ 86351 w 752994"/>
                <a:gd name="connsiteY205" fmla="*/ 948033 h 1333436"/>
                <a:gd name="connsiteX206" fmla="*/ 86159 w 752994"/>
                <a:gd name="connsiteY206" fmla="*/ 942925 h 1333436"/>
                <a:gd name="connsiteX207" fmla="*/ 83085 w 752994"/>
                <a:gd name="connsiteY207" fmla="*/ 939853 h 1333436"/>
                <a:gd name="connsiteX208" fmla="*/ 77570 w 752994"/>
                <a:gd name="connsiteY208" fmla="*/ 937437 h 1333436"/>
                <a:gd name="connsiteX209" fmla="*/ 76763 w 752994"/>
                <a:gd name="connsiteY209" fmla="*/ 931915 h 1333436"/>
                <a:gd name="connsiteX210" fmla="*/ 78800 w 752994"/>
                <a:gd name="connsiteY210" fmla="*/ 927013 h 1333436"/>
                <a:gd name="connsiteX211" fmla="*/ 79626 w 752994"/>
                <a:gd name="connsiteY211" fmla="*/ 922526 h 1333436"/>
                <a:gd name="connsiteX212" fmla="*/ 77781 w 752994"/>
                <a:gd name="connsiteY212" fmla="*/ 919903 h 1333436"/>
                <a:gd name="connsiteX213" fmla="*/ 74303 w 752994"/>
                <a:gd name="connsiteY213" fmla="*/ 917418 h 1333436"/>
                <a:gd name="connsiteX214" fmla="*/ 71863 w 752994"/>
                <a:gd name="connsiteY214" fmla="*/ 915174 h 1333436"/>
                <a:gd name="connsiteX215" fmla="*/ 71652 w 752994"/>
                <a:gd name="connsiteY215" fmla="*/ 910894 h 1333436"/>
                <a:gd name="connsiteX216" fmla="*/ 70633 w 752994"/>
                <a:gd name="connsiteY216" fmla="*/ 906614 h 1333436"/>
                <a:gd name="connsiteX217" fmla="*/ 68385 w 752994"/>
                <a:gd name="connsiteY217" fmla="*/ 902749 h 1333436"/>
                <a:gd name="connsiteX218" fmla="*/ 61045 w 752994"/>
                <a:gd name="connsiteY218" fmla="*/ 889494 h 1333436"/>
                <a:gd name="connsiteX219" fmla="*/ 57971 w 752994"/>
                <a:gd name="connsiteY219" fmla="*/ 875619 h 1333436"/>
                <a:gd name="connsiteX220" fmla="*/ 52264 w 752994"/>
                <a:gd name="connsiteY220" fmla="*/ 862572 h 1333436"/>
                <a:gd name="connsiteX221" fmla="*/ 44309 w 752994"/>
                <a:gd name="connsiteY221" fmla="*/ 850561 h 1333436"/>
                <a:gd name="connsiteX222" fmla="*/ 45520 w 752994"/>
                <a:gd name="connsiteY222" fmla="*/ 827090 h 1333436"/>
                <a:gd name="connsiteX223" fmla="*/ 53071 w 752994"/>
                <a:gd name="connsiteY223" fmla="*/ 822396 h 1333436"/>
                <a:gd name="connsiteX224" fmla="*/ 57375 w 752994"/>
                <a:gd name="connsiteY224" fmla="*/ 816493 h 1333436"/>
                <a:gd name="connsiteX225" fmla="*/ 55319 w 752994"/>
                <a:gd name="connsiteY225" fmla="*/ 801617 h 1333436"/>
                <a:gd name="connsiteX226" fmla="*/ 48383 w 752994"/>
                <a:gd name="connsiteY226" fmla="*/ 802204 h 1333436"/>
                <a:gd name="connsiteX227" fmla="*/ 40428 w 752994"/>
                <a:gd name="connsiteY227" fmla="*/ 797924 h 1333436"/>
                <a:gd name="connsiteX228" fmla="*/ 37565 w 752994"/>
                <a:gd name="connsiteY228" fmla="*/ 790606 h 1333436"/>
                <a:gd name="connsiteX229" fmla="*/ 37565 w 752994"/>
                <a:gd name="connsiteY229" fmla="*/ 790399 h 1333436"/>
                <a:gd name="connsiteX230" fmla="*/ 35931 w 752994"/>
                <a:gd name="connsiteY230" fmla="*/ 785912 h 1333436"/>
                <a:gd name="connsiteX231" fmla="*/ 34510 w 752994"/>
                <a:gd name="connsiteY231" fmla="*/ 780597 h 1333436"/>
                <a:gd name="connsiteX232" fmla="*/ 36335 w 752994"/>
                <a:gd name="connsiteY232" fmla="*/ 774280 h 1333436"/>
                <a:gd name="connsiteX233" fmla="*/ 38180 w 752994"/>
                <a:gd name="connsiteY233" fmla="*/ 766721 h 1333436"/>
                <a:gd name="connsiteX234" fmla="*/ 37161 w 752994"/>
                <a:gd name="connsiteY234" fmla="*/ 760405 h 1333436"/>
                <a:gd name="connsiteX235" fmla="*/ 35720 w 752994"/>
                <a:gd name="connsiteY235" fmla="*/ 754710 h 1333436"/>
                <a:gd name="connsiteX236" fmla="*/ 36546 w 752994"/>
                <a:gd name="connsiteY236" fmla="*/ 748773 h 1333436"/>
                <a:gd name="connsiteX237" fmla="*/ 38372 w 752994"/>
                <a:gd name="connsiteY237" fmla="*/ 744528 h 1333436"/>
                <a:gd name="connsiteX238" fmla="*/ 41638 w 752994"/>
                <a:gd name="connsiteY238" fmla="*/ 744321 h 1333436"/>
                <a:gd name="connsiteX239" fmla="*/ 44713 w 752994"/>
                <a:gd name="connsiteY239" fmla="*/ 746357 h 1333436"/>
                <a:gd name="connsiteX240" fmla="*/ 47364 w 752994"/>
                <a:gd name="connsiteY240" fmla="*/ 753260 h 1333436"/>
                <a:gd name="connsiteX241" fmla="*/ 55742 w 752994"/>
                <a:gd name="connsiteY241" fmla="*/ 764305 h 1333436"/>
                <a:gd name="connsiteX242" fmla="*/ 56338 w 752994"/>
                <a:gd name="connsiteY242" fmla="*/ 761233 h 1333436"/>
                <a:gd name="connsiteX243" fmla="*/ 56145 w 752994"/>
                <a:gd name="connsiteY243" fmla="*/ 757368 h 1333436"/>
                <a:gd name="connsiteX244" fmla="*/ 54916 w 752994"/>
                <a:gd name="connsiteY244" fmla="*/ 748601 h 1333436"/>
                <a:gd name="connsiteX245" fmla="*/ 52879 w 752994"/>
                <a:gd name="connsiteY245" fmla="*/ 747358 h 1333436"/>
                <a:gd name="connsiteX246" fmla="*/ 51649 w 752994"/>
                <a:gd name="connsiteY246" fmla="*/ 745322 h 1333436"/>
                <a:gd name="connsiteX247" fmla="*/ 51649 w 752994"/>
                <a:gd name="connsiteY247" fmla="*/ 739212 h 1333436"/>
                <a:gd name="connsiteX248" fmla="*/ 50227 w 752994"/>
                <a:gd name="connsiteY248" fmla="*/ 734725 h 1333436"/>
                <a:gd name="connsiteX249" fmla="*/ 48786 w 752994"/>
                <a:gd name="connsiteY249" fmla="*/ 731446 h 1333436"/>
                <a:gd name="connsiteX250" fmla="*/ 54512 w 752994"/>
                <a:gd name="connsiteY250" fmla="*/ 726372 h 1333436"/>
                <a:gd name="connsiteX251" fmla="*/ 59815 w 752994"/>
                <a:gd name="connsiteY251" fmla="*/ 725130 h 1333436"/>
                <a:gd name="connsiteX252" fmla="*/ 58182 w 752994"/>
                <a:gd name="connsiteY252" fmla="*/ 722886 h 1333436"/>
                <a:gd name="connsiteX253" fmla="*/ 51861 w 752994"/>
                <a:gd name="connsiteY253" fmla="*/ 717985 h 1333436"/>
                <a:gd name="connsiteX254" fmla="*/ 46749 w 752994"/>
                <a:gd name="connsiteY254" fmla="*/ 729617 h 1333436"/>
                <a:gd name="connsiteX255" fmla="*/ 40831 w 752994"/>
                <a:gd name="connsiteY255" fmla="*/ 739212 h 1333436"/>
                <a:gd name="connsiteX256" fmla="*/ 39601 w 752994"/>
                <a:gd name="connsiteY256" fmla="*/ 738798 h 1333436"/>
                <a:gd name="connsiteX257" fmla="*/ 39409 w 752994"/>
                <a:gd name="connsiteY257" fmla="*/ 738591 h 1333436"/>
                <a:gd name="connsiteX258" fmla="*/ 37161 w 752994"/>
                <a:gd name="connsiteY258" fmla="*/ 734725 h 1333436"/>
                <a:gd name="connsiteX259" fmla="*/ 32665 w 752994"/>
                <a:gd name="connsiteY259" fmla="*/ 727788 h 1333436"/>
                <a:gd name="connsiteX260" fmla="*/ 26747 w 752994"/>
                <a:gd name="connsiteY260" fmla="*/ 719435 h 1333436"/>
                <a:gd name="connsiteX261" fmla="*/ 23884 w 752994"/>
                <a:gd name="connsiteY261" fmla="*/ 717812 h 1333436"/>
                <a:gd name="connsiteX262" fmla="*/ 24710 w 752994"/>
                <a:gd name="connsiteY262" fmla="*/ 709632 h 1333436"/>
                <a:gd name="connsiteX263" fmla="*/ 27554 w 752994"/>
                <a:gd name="connsiteY263" fmla="*/ 701694 h 1333436"/>
                <a:gd name="connsiteX264" fmla="*/ 24902 w 752994"/>
                <a:gd name="connsiteY264" fmla="*/ 696171 h 1333436"/>
                <a:gd name="connsiteX265" fmla="*/ 24095 w 752994"/>
                <a:gd name="connsiteY265" fmla="*/ 687818 h 1333436"/>
                <a:gd name="connsiteX266" fmla="*/ 22462 w 752994"/>
                <a:gd name="connsiteY266" fmla="*/ 682330 h 1333436"/>
                <a:gd name="connsiteX267" fmla="*/ 17159 w 752994"/>
                <a:gd name="connsiteY267" fmla="*/ 677636 h 1333436"/>
                <a:gd name="connsiteX268" fmla="*/ 14296 w 752994"/>
                <a:gd name="connsiteY268" fmla="*/ 671492 h 1333436"/>
                <a:gd name="connsiteX269" fmla="*/ 12451 w 752994"/>
                <a:gd name="connsiteY269" fmla="*/ 665797 h 1333436"/>
                <a:gd name="connsiteX270" fmla="*/ 5111 w 752994"/>
                <a:gd name="connsiteY270" fmla="*/ 654994 h 1333436"/>
                <a:gd name="connsiteX271" fmla="*/ 2248 w 752994"/>
                <a:gd name="connsiteY271" fmla="*/ 645605 h 1333436"/>
                <a:gd name="connsiteX272" fmla="*/ 4496 w 752994"/>
                <a:gd name="connsiteY272" fmla="*/ 640497 h 1333436"/>
                <a:gd name="connsiteX273" fmla="*/ 6744 w 752994"/>
                <a:gd name="connsiteY273" fmla="*/ 632765 h 1333436"/>
                <a:gd name="connsiteX274" fmla="*/ 6744 w 752994"/>
                <a:gd name="connsiteY274" fmla="*/ 628485 h 1333436"/>
                <a:gd name="connsiteX275" fmla="*/ 6533 w 752994"/>
                <a:gd name="connsiteY275" fmla="*/ 620305 h 1333436"/>
                <a:gd name="connsiteX276" fmla="*/ 7359 w 752994"/>
                <a:gd name="connsiteY276" fmla="*/ 611745 h 1333436"/>
                <a:gd name="connsiteX277" fmla="*/ 11836 w 752994"/>
                <a:gd name="connsiteY277" fmla="*/ 602978 h 1333436"/>
                <a:gd name="connsiteX278" fmla="*/ 15103 w 752994"/>
                <a:gd name="connsiteY278" fmla="*/ 591760 h 1333436"/>
                <a:gd name="connsiteX279" fmla="*/ 14488 w 752994"/>
                <a:gd name="connsiteY279" fmla="*/ 584029 h 1333436"/>
                <a:gd name="connsiteX280" fmla="*/ 13873 w 752994"/>
                <a:gd name="connsiteY280" fmla="*/ 578299 h 1333436"/>
                <a:gd name="connsiteX281" fmla="*/ 10626 w 752994"/>
                <a:gd name="connsiteY281" fmla="*/ 568531 h 1333436"/>
                <a:gd name="connsiteX282" fmla="*/ 3670 w 752994"/>
                <a:gd name="connsiteY282" fmla="*/ 558107 h 1333436"/>
                <a:gd name="connsiteX283" fmla="*/ 0 w 752994"/>
                <a:gd name="connsiteY283" fmla="*/ 551377 h 1333436"/>
                <a:gd name="connsiteX284" fmla="*/ 0 w 752994"/>
                <a:gd name="connsiteY284" fmla="*/ 550997 h 1333436"/>
                <a:gd name="connsiteX285" fmla="*/ 4900 w 752994"/>
                <a:gd name="connsiteY285" fmla="*/ 531220 h 1333436"/>
                <a:gd name="connsiteX286" fmla="*/ 13873 w 752994"/>
                <a:gd name="connsiteY286" fmla="*/ 520589 h 1333436"/>
                <a:gd name="connsiteX287" fmla="*/ 18369 w 752994"/>
                <a:gd name="connsiteY287" fmla="*/ 516516 h 1333436"/>
                <a:gd name="connsiteX288" fmla="*/ 18773 w 752994"/>
                <a:gd name="connsiteY288" fmla="*/ 514272 h 1333436"/>
                <a:gd name="connsiteX289" fmla="*/ 23077 w 752994"/>
                <a:gd name="connsiteY289" fmla="*/ 506127 h 1333436"/>
                <a:gd name="connsiteX290" fmla="*/ 23884 w 752994"/>
                <a:gd name="connsiteY290" fmla="*/ 502261 h 1333436"/>
                <a:gd name="connsiteX291" fmla="*/ 23692 w 752994"/>
                <a:gd name="connsiteY291" fmla="*/ 496738 h 1333436"/>
                <a:gd name="connsiteX292" fmla="*/ 30013 w 752994"/>
                <a:gd name="connsiteY292" fmla="*/ 486556 h 1333436"/>
                <a:gd name="connsiteX293" fmla="*/ 36546 w 752994"/>
                <a:gd name="connsiteY293" fmla="*/ 470230 h 1333436"/>
                <a:gd name="connsiteX294" fmla="*/ 36546 w 752994"/>
                <a:gd name="connsiteY294" fmla="*/ 462671 h 1333436"/>
                <a:gd name="connsiteX295" fmla="*/ 36335 w 752994"/>
                <a:gd name="connsiteY295" fmla="*/ 461670 h 1333436"/>
                <a:gd name="connsiteX296" fmla="*/ 35931 w 752994"/>
                <a:gd name="connsiteY296" fmla="*/ 453110 h 1333436"/>
                <a:gd name="connsiteX297" fmla="*/ 38583 w 752994"/>
                <a:gd name="connsiteY297" fmla="*/ 442514 h 1333436"/>
                <a:gd name="connsiteX298" fmla="*/ 41043 w 752994"/>
                <a:gd name="connsiteY298" fmla="*/ 436991 h 1333436"/>
                <a:gd name="connsiteX299" fmla="*/ 41650 w 752994"/>
                <a:gd name="connsiteY299" fmla="*/ 437186 h 1333436"/>
                <a:gd name="connsiteX300" fmla="*/ 41239 w 752994"/>
                <a:gd name="connsiteY300" fmla="*/ 436549 h 1333436"/>
                <a:gd name="connsiteX301" fmla="*/ 37778 w 752994"/>
                <a:gd name="connsiteY301" fmla="*/ 433894 h 1333436"/>
                <a:gd name="connsiteX302" fmla="*/ 37169 w 752994"/>
                <a:gd name="connsiteY302" fmla="*/ 432261 h 1333436"/>
                <a:gd name="connsiteX303" fmla="*/ 37365 w 752994"/>
                <a:gd name="connsiteY303" fmla="*/ 429198 h 1333436"/>
                <a:gd name="connsiteX304" fmla="*/ 36756 w 752994"/>
                <a:gd name="connsiteY304" fmla="*/ 422272 h 1333436"/>
                <a:gd name="connsiteX305" fmla="*/ 36952 w 752994"/>
                <a:gd name="connsiteY305" fmla="*/ 418800 h 1333436"/>
                <a:gd name="connsiteX306" fmla="*/ 36756 w 752994"/>
                <a:gd name="connsiteY306" fmla="*/ 412487 h 1333436"/>
                <a:gd name="connsiteX307" fmla="*/ 40433 w 752994"/>
                <a:gd name="connsiteY307" fmla="*/ 406174 h 1333436"/>
                <a:gd name="connsiteX308" fmla="*/ 44720 w 752994"/>
                <a:gd name="connsiteY308" fmla="*/ 399435 h 1333436"/>
                <a:gd name="connsiteX309" fmla="*/ 44110 w 752994"/>
                <a:gd name="connsiteY309" fmla="*/ 389651 h 1333436"/>
                <a:gd name="connsiteX310" fmla="*/ 43894 w 752994"/>
                <a:gd name="connsiteY310" fmla="*/ 378437 h 1333436"/>
                <a:gd name="connsiteX311" fmla="*/ 47158 w 752994"/>
                <a:gd name="connsiteY311" fmla="*/ 371102 h 1333436"/>
                <a:gd name="connsiteX312" fmla="*/ 55731 w 752994"/>
                <a:gd name="connsiteY312" fmla="*/ 360909 h 1333436"/>
                <a:gd name="connsiteX313" fmla="*/ 57580 w 752994"/>
                <a:gd name="connsiteY313" fmla="*/ 355804 h 1333436"/>
                <a:gd name="connsiteX314" fmla="*/ 62673 w 752994"/>
                <a:gd name="connsiteY314" fmla="*/ 349695 h 1333436"/>
                <a:gd name="connsiteX315" fmla="*/ 65937 w 752994"/>
                <a:gd name="connsiteY315" fmla="*/ 348470 h 1333436"/>
                <a:gd name="connsiteX316" fmla="*/ 68395 w 752994"/>
                <a:gd name="connsiteY316" fmla="*/ 348674 h 1333436"/>
                <a:gd name="connsiteX317" fmla="*/ 70224 w 752994"/>
                <a:gd name="connsiteY317" fmla="*/ 347449 h 1333436"/>
                <a:gd name="connsiteX318" fmla="*/ 67785 w 752994"/>
                <a:gd name="connsiteY318" fmla="*/ 345203 h 1333436"/>
                <a:gd name="connsiteX319" fmla="*/ 65524 w 752994"/>
                <a:gd name="connsiteY319" fmla="*/ 343178 h 1333436"/>
                <a:gd name="connsiteX320" fmla="*/ 73095 w 752994"/>
                <a:gd name="connsiteY320" fmla="*/ 333376 h 1333436"/>
                <a:gd name="connsiteX321" fmla="*/ 73291 w 752994"/>
                <a:gd name="connsiteY321" fmla="*/ 333376 h 1333436"/>
                <a:gd name="connsiteX322" fmla="*/ 77991 w 752994"/>
                <a:gd name="connsiteY322" fmla="*/ 325838 h 1333436"/>
                <a:gd name="connsiteX323" fmla="*/ 82671 w 752994"/>
                <a:gd name="connsiteY323" fmla="*/ 313619 h 1333436"/>
                <a:gd name="connsiteX324" fmla="*/ 87980 w 752994"/>
                <a:gd name="connsiteY324" fmla="*/ 303018 h 1333436"/>
                <a:gd name="connsiteX325" fmla="*/ 92267 w 752994"/>
                <a:gd name="connsiteY325" fmla="*/ 291191 h 1333436"/>
                <a:gd name="connsiteX326" fmla="*/ 96553 w 752994"/>
                <a:gd name="connsiteY326" fmla="*/ 281202 h 1333436"/>
                <a:gd name="connsiteX327" fmla="*/ 99621 w 752994"/>
                <a:gd name="connsiteY327" fmla="*/ 274481 h 1333436"/>
                <a:gd name="connsiteX328" fmla="*/ 103082 w 752994"/>
                <a:gd name="connsiteY328" fmla="*/ 262450 h 1333436"/>
                <a:gd name="connsiteX329" fmla="*/ 107172 w 752994"/>
                <a:gd name="connsiteY329" fmla="*/ 254299 h 1333436"/>
                <a:gd name="connsiteX330" fmla="*/ 112481 w 752994"/>
                <a:gd name="connsiteY330" fmla="*/ 243697 h 1333436"/>
                <a:gd name="connsiteX331" fmla="*/ 117181 w 752994"/>
                <a:gd name="connsiteY331" fmla="*/ 232279 h 1333436"/>
                <a:gd name="connsiteX332" fmla="*/ 125951 w 752994"/>
                <a:gd name="connsiteY332" fmla="*/ 217389 h 1333436"/>
                <a:gd name="connsiteX333" fmla="*/ 136156 w 752994"/>
                <a:gd name="connsiteY333" fmla="*/ 202925 h 1333436"/>
                <a:gd name="connsiteX334" fmla="*/ 138811 w 752994"/>
                <a:gd name="connsiteY334" fmla="*/ 183339 h 1333436"/>
                <a:gd name="connsiteX335" fmla="*/ 148801 w 752994"/>
                <a:gd name="connsiteY335" fmla="*/ 167445 h 1333436"/>
                <a:gd name="connsiteX336" fmla="*/ 159616 w 752994"/>
                <a:gd name="connsiteY336" fmla="*/ 170712 h 1333436"/>
                <a:gd name="connsiteX337" fmla="*/ 173105 w 752994"/>
                <a:gd name="connsiteY337" fmla="*/ 175188 h 1333436"/>
                <a:gd name="connsiteX338" fmla="*/ 175347 w 752994"/>
                <a:gd name="connsiteY338" fmla="*/ 175188 h 1333436"/>
                <a:gd name="connsiteX339" fmla="*/ 175347 w 752994"/>
                <a:gd name="connsiteY339" fmla="*/ 173758 h 1333436"/>
                <a:gd name="connsiteX340" fmla="*/ 184975 w 752994"/>
                <a:gd name="connsiteY340" fmla="*/ 187393 h 1333436"/>
                <a:gd name="connsiteX341" fmla="*/ 184762 w 752994"/>
                <a:gd name="connsiteY341" fmla="*/ 184637 h 1333436"/>
                <a:gd name="connsiteX342" fmla="*/ 174971 w 752994"/>
                <a:gd name="connsiteY342" fmla="*/ 170774 h 1333436"/>
                <a:gd name="connsiteX343" fmla="*/ 174971 w 752994"/>
                <a:gd name="connsiteY343" fmla="*/ 169550 h 1333436"/>
                <a:gd name="connsiteX344" fmla="*/ 158851 w 752994"/>
                <a:gd name="connsiteY344" fmla="*/ 156924 h 1333436"/>
                <a:gd name="connsiteX345" fmla="*/ 147025 w 752994"/>
                <a:gd name="connsiteY345" fmla="*/ 145709 h 1333436"/>
                <a:gd name="connsiteX346" fmla="*/ 154364 w 752994"/>
                <a:gd name="connsiteY346" fmla="*/ 136335 h 1333436"/>
                <a:gd name="connsiteX347" fmla="*/ 161511 w 752994"/>
                <a:gd name="connsiteY347" fmla="*/ 131042 h 1333436"/>
                <a:gd name="connsiteX348" fmla="*/ 160902 w 752994"/>
                <a:gd name="connsiteY348" fmla="*/ 128384 h 1333436"/>
                <a:gd name="connsiteX349" fmla="*/ 160277 w 752994"/>
                <a:gd name="connsiteY349" fmla="*/ 127778 h 1333436"/>
                <a:gd name="connsiteX350" fmla="*/ 154973 w 752994"/>
                <a:gd name="connsiteY350" fmla="*/ 122077 h 1333436"/>
                <a:gd name="connsiteX351" fmla="*/ 160277 w 752994"/>
                <a:gd name="connsiteY351" fmla="*/ 115140 h 1333436"/>
                <a:gd name="connsiteX352" fmla="*/ 165181 w 752994"/>
                <a:gd name="connsiteY352" fmla="*/ 108215 h 1333436"/>
                <a:gd name="connsiteX353" fmla="*/ 161303 w 752994"/>
                <a:gd name="connsiteY353" fmla="*/ 104146 h 1333436"/>
                <a:gd name="connsiteX354" fmla="*/ 157842 w 752994"/>
                <a:gd name="connsiteY354" fmla="*/ 104542 h 1333436"/>
                <a:gd name="connsiteX355" fmla="*/ 157024 w 752994"/>
                <a:gd name="connsiteY355" fmla="*/ 102304 h 1333436"/>
                <a:gd name="connsiteX356" fmla="*/ 160694 w 752994"/>
                <a:gd name="connsiteY356" fmla="*/ 55437 h 1333436"/>
                <a:gd name="connsiteX357" fmla="*/ 160486 w 752994"/>
                <a:gd name="connsiteY357" fmla="*/ 31991 h 1333436"/>
                <a:gd name="connsiteX358" fmla="*/ 164972 w 752994"/>
                <a:gd name="connsiteY358" fmla="*/ 18141 h 1333436"/>
                <a:gd name="connsiteX359" fmla="*/ 171911 w 752994"/>
                <a:gd name="connsiteY359" fmla="*/ 11204 h 1333436"/>
                <a:gd name="connsiteX360" fmla="*/ 187406 w 752994"/>
                <a:gd name="connsiteY360" fmla="*/ 21801 h 1333436"/>
                <a:gd name="connsiteX361" fmla="*/ 210866 w 752994"/>
                <a:gd name="connsiteY361" fmla="*/ 37086 h 1333436"/>
                <a:gd name="connsiteX362" fmla="*/ 219230 w 752994"/>
                <a:gd name="connsiteY362" fmla="*/ 41166 h 1333436"/>
                <a:gd name="connsiteX363" fmla="*/ 226778 w 752994"/>
                <a:gd name="connsiteY363" fmla="*/ 47486 h 1333436"/>
                <a:gd name="connsiteX364" fmla="*/ 236152 w 752994"/>
                <a:gd name="connsiteY364" fmla="*/ 52370 h 1333436"/>
                <a:gd name="connsiteX365" fmla="*/ 239629 w 752994"/>
                <a:gd name="connsiteY365" fmla="*/ 58491 h 1333436"/>
                <a:gd name="connsiteX366" fmla="*/ 239629 w 752994"/>
                <a:gd name="connsiteY366" fmla="*/ 63376 h 1333436"/>
                <a:gd name="connsiteX367" fmla="*/ 236568 w 752994"/>
                <a:gd name="connsiteY367" fmla="*/ 67457 h 1333436"/>
                <a:gd name="connsiteX368" fmla="*/ 231264 w 752994"/>
                <a:gd name="connsiteY368" fmla="*/ 69905 h 1333436"/>
                <a:gd name="connsiteX369" fmla="*/ 216778 w 752994"/>
                <a:gd name="connsiteY369" fmla="*/ 82741 h 1333436"/>
                <a:gd name="connsiteX370" fmla="*/ 214134 w 752994"/>
                <a:gd name="connsiteY370" fmla="*/ 93536 h 1333436"/>
                <a:gd name="connsiteX371" fmla="*/ 214535 w 752994"/>
                <a:gd name="connsiteY371" fmla="*/ 96801 h 1333436"/>
                <a:gd name="connsiteX372" fmla="*/ 216378 w 752994"/>
                <a:gd name="connsiteY372" fmla="*/ 96801 h 1333436"/>
                <a:gd name="connsiteX373" fmla="*/ 230046 w 752994"/>
                <a:gd name="connsiteY373" fmla="*/ 85387 h 1333436"/>
                <a:gd name="connsiteX374" fmla="*/ 243298 w 752994"/>
                <a:gd name="connsiteY374" fmla="*/ 75198 h 1333436"/>
                <a:gd name="connsiteX375" fmla="*/ 246760 w 752994"/>
                <a:gd name="connsiteY375" fmla="*/ 77646 h 1333436"/>
                <a:gd name="connsiteX376" fmla="*/ 255541 w 752994"/>
                <a:gd name="connsiteY376" fmla="*/ 63376 h 1333436"/>
                <a:gd name="connsiteX377" fmla="*/ 259611 w 752994"/>
                <a:gd name="connsiteY377" fmla="*/ 43405 h 1333436"/>
                <a:gd name="connsiteX378" fmla="*/ 256967 w 752994"/>
                <a:gd name="connsiteY378" fmla="*/ 38520 h 1333436"/>
                <a:gd name="connsiteX379" fmla="*/ 253906 w 752994"/>
                <a:gd name="connsiteY379" fmla="*/ 34242 h 1333436"/>
                <a:gd name="connsiteX380" fmla="*/ 256967 w 752994"/>
                <a:gd name="connsiteY380" fmla="*/ 30161 h 1333436"/>
                <a:gd name="connsiteX381" fmla="*/ 262063 w 752994"/>
                <a:gd name="connsiteY381" fmla="*/ 27712 h 1333436"/>
                <a:gd name="connsiteX382" fmla="*/ 264915 w 752994"/>
                <a:gd name="connsiteY382" fmla="*/ 23026 h 1333436"/>
                <a:gd name="connsiteX383" fmla="*/ 267976 w 752994"/>
                <a:gd name="connsiteY383" fmla="*/ 22618 h 1333436"/>
                <a:gd name="connsiteX384" fmla="*/ 270427 w 752994"/>
                <a:gd name="connsiteY384" fmla="*/ 20787 h 1333436"/>
                <a:gd name="connsiteX385" fmla="*/ 263088 w 752994"/>
                <a:gd name="connsiteY385" fmla="*/ 13652 h 1333436"/>
                <a:gd name="connsiteX386" fmla="*/ 255541 w 752994"/>
                <a:gd name="connsiteY386" fmla="*/ 3055 h 1333436"/>
                <a:gd name="connsiteX387" fmla="*/ 256358 w 752994"/>
                <a:gd name="connsiteY387" fmla="*/ 1224 h 1333436"/>
                <a:gd name="connsiteX388" fmla="*/ 257159 w 752994"/>
                <a:gd name="connsiteY388"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407047 w 752994"/>
                <a:gd name="connsiteY162" fmla="*/ 956148 h 1333436"/>
                <a:gd name="connsiteX163" fmla="*/ 689408 w 752994"/>
                <a:gd name="connsiteY163" fmla="*/ 945184 h 1333436"/>
                <a:gd name="connsiteX164" fmla="*/ 710622 w 752994"/>
                <a:gd name="connsiteY164" fmla="*/ 948043 h 1333436"/>
                <a:gd name="connsiteX165" fmla="*/ 654533 w 752994"/>
                <a:gd name="connsiteY165" fmla="*/ 1333436 h 1333436"/>
                <a:gd name="connsiteX166" fmla="*/ 546831 w 752994"/>
                <a:gd name="connsiteY166" fmla="*/ 1317126 h 1333436"/>
                <a:gd name="connsiteX167" fmla="*/ 351227 w 752994"/>
                <a:gd name="connsiteY167" fmla="*/ 1194172 h 1333436"/>
                <a:gd name="connsiteX168" fmla="*/ 361011 w 752994"/>
                <a:gd name="connsiteY168" fmla="*/ 1182755 h 1333436"/>
                <a:gd name="connsiteX169" fmla="*/ 368981 w 752994"/>
                <a:gd name="connsiteY169" fmla="*/ 1182130 h 1333436"/>
                <a:gd name="connsiteX170" fmla="*/ 369571 w 752994"/>
                <a:gd name="connsiteY170" fmla="*/ 1181558 h 1333436"/>
                <a:gd name="connsiteX171" fmla="*/ 362372 w 752994"/>
                <a:gd name="connsiteY171" fmla="*/ 1182120 h 1333436"/>
                <a:gd name="connsiteX172" fmla="*/ 229464 w 752994"/>
                <a:gd name="connsiteY172" fmla="*/ 1161721 h 1333436"/>
                <a:gd name="connsiteX173" fmla="*/ 227427 w 752994"/>
                <a:gd name="connsiteY173" fmla="*/ 1157269 h 1333436"/>
                <a:gd name="connsiteX174" fmla="*/ 224967 w 752994"/>
                <a:gd name="connsiteY174" fmla="*/ 1152575 h 1333436"/>
                <a:gd name="connsiteX175" fmla="*/ 225582 w 752994"/>
                <a:gd name="connsiteY175" fmla="*/ 1144808 h 1333436"/>
                <a:gd name="connsiteX176" fmla="*/ 227215 w 752994"/>
                <a:gd name="connsiteY176" fmla="*/ 1135834 h 1333436"/>
                <a:gd name="connsiteX177" fmla="*/ 227215 w 752994"/>
                <a:gd name="connsiteY177" fmla="*/ 1134212 h 1333436"/>
                <a:gd name="connsiteX178" fmla="*/ 225179 w 752994"/>
                <a:gd name="connsiteY178" fmla="*/ 1114020 h 1333436"/>
                <a:gd name="connsiteX179" fmla="*/ 217839 w 752994"/>
                <a:gd name="connsiteY179" fmla="*/ 1100352 h 1333436"/>
                <a:gd name="connsiteX180" fmla="*/ 199661 w 752994"/>
                <a:gd name="connsiteY180" fmla="*/ 1076502 h 1333436"/>
                <a:gd name="connsiteX181" fmla="*/ 196395 w 752994"/>
                <a:gd name="connsiteY181" fmla="*/ 1071807 h 1333436"/>
                <a:gd name="connsiteX182" fmla="*/ 190880 w 752994"/>
                <a:gd name="connsiteY182" fmla="*/ 1067527 h 1333436"/>
                <a:gd name="connsiteX183" fmla="*/ 187210 w 752994"/>
                <a:gd name="connsiteY183" fmla="*/ 1068735 h 1333436"/>
                <a:gd name="connsiteX184" fmla="*/ 180062 w 752994"/>
                <a:gd name="connsiteY184" fmla="*/ 1066699 h 1333436"/>
                <a:gd name="connsiteX185" fmla="*/ 180466 w 752994"/>
                <a:gd name="connsiteY185" fmla="*/ 1053031 h 1333436"/>
                <a:gd name="connsiteX186" fmla="*/ 180062 w 752994"/>
                <a:gd name="connsiteY186" fmla="*/ 1045299 h 1333436"/>
                <a:gd name="connsiteX187" fmla="*/ 174144 w 752994"/>
                <a:gd name="connsiteY187" fmla="*/ 1044057 h 1333436"/>
                <a:gd name="connsiteX188" fmla="*/ 158426 w 752994"/>
                <a:gd name="connsiteY188" fmla="*/ 1042641 h 1333436"/>
                <a:gd name="connsiteX189" fmla="*/ 149857 w 752994"/>
                <a:gd name="connsiteY189" fmla="*/ 1035497 h 1333436"/>
                <a:gd name="connsiteX190" fmla="*/ 142497 w 752994"/>
                <a:gd name="connsiteY190" fmla="*/ 1028766 h 1333436"/>
                <a:gd name="connsiteX191" fmla="*/ 140864 w 752994"/>
                <a:gd name="connsiteY191" fmla="*/ 1020620 h 1333436"/>
                <a:gd name="connsiteX192" fmla="*/ 138212 w 752994"/>
                <a:gd name="connsiteY192" fmla="*/ 1013061 h 1333436"/>
                <a:gd name="connsiteX193" fmla="*/ 131064 w 752994"/>
                <a:gd name="connsiteY193" fmla="*/ 1007159 h 1333436"/>
                <a:gd name="connsiteX194" fmla="*/ 121264 w 752994"/>
                <a:gd name="connsiteY194" fmla="*/ 1005330 h 1333436"/>
                <a:gd name="connsiteX195" fmla="*/ 112483 w 752994"/>
                <a:gd name="connsiteY195" fmla="*/ 1001671 h 1333436"/>
                <a:gd name="connsiteX196" fmla="*/ 105950 w 752994"/>
                <a:gd name="connsiteY196" fmla="*/ 995734 h 1333436"/>
                <a:gd name="connsiteX197" fmla="*/ 97380 w 752994"/>
                <a:gd name="connsiteY197" fmla="*/ 994526 h 1333436"/>
                <a:gd name="connsiteX198" fmla="*/ 87984 w 752994"/>
                <a:gd name="connsiteY198" fmla="*/ 991040 h 1333436"/>
                <a:gd name="connsiteX199" fmla="*/ 80029 w 752994"/>
                <a:gd name="connsiteY199" fmla="*/ 985138 h 1333436"/>
                <a:gd name="connsiteX200" fmla="*/ 77166 w 752994"/>
                <a:gd name="connsiteY200" fmla="*/ 976164 h 1333436"/>
                <a:gd name="connsiteX201" fmla="*/ 79203 w 752994"/>
                <a:gd name="connsiteY201" fmla="*/ 970676 h 1333436"/>
                <a:gd name="connsiteX202" fmla="*/ 82470 w 752994"/>
                <a:gd name="connsiteY202" fmla="*/ 963117 h 1333436"/>
                <a:gd name="connsiteX203" fmla="*/ 84314 w 752994"/>
                <a:gd name="connsiteY203" fmla="*/ 954557 h 1333436"/>
                <a:gd name="connsiteX204" fmla="*/ 86351 w 752994"/>
                <a:gd name="connsiteY204" fmla="*/ 948033 h 1333436"/>
                <a:gd name="connsiteX205" fmla="*/ 86159 w 752994"/>
                <a:gd name="connsiteY205" fmla="*/ 942925 h 1333436"/>
                <a:gd name="connsiteX206" fmla="*/ 83085 w 752994"/>
                <a:gd name="connsiteY206" fmla="*/ 939853 h 1333436"/>
                <a:gd name="connsiteX207" fmla="*/ 77570 w 752994"/>
                <a:gd name="connsiteY207" fmla="*/ 937437 h 1333436"/>
                <a:gd name="connsiteX208" fmla="*/ 76763 w 752994"/>
                <a:gd name="connsiteY208" fmla="*/ 931915 h 1333436"/>
                <a:gd name="connsiteX209" fmla="*/ 78800 w 752994"/>
                <a:gd name="connsiteY209" fmla="*/ 927013 h 1333436"/>
                <a:gd name="connsiteX210" fmla="*/ 79626 w 752994"/>
                <a:gd name="connsiteY210" fmla="*/ 922526 h 1333436"/>
                <a:gd name="connsiteX211" fmla="*/ 77781 w 752994"/>
                <a:gd name="connsiteY211" fmla="*/ 919903 h 1333436"/>
                <a:gd name="connsiteX212" fmla="*/ 74303 w 752994"/>
                <a:gd name="connsiteY212" fmla="*/ 917418 h 1333436"/>
                <a:gd name="connsiteX213" fmla="*/ 71863 w 752994"/>
                <a:gd name="connsiteY213" fmla="*/ 915174 h 1333436"/>
                <a:gd name="connsiteX214" fmla="*/ 71652 w 752994"/>
                <a:gd name="connsiteY214" fmla="*/ 910894 h 1333436"/>
                <a:gd name="connsiteX215" fmla="*/ 70633 w 752994"/>
                <a:gd name="connsiteY215" fmla="*/ 906614 h 1333436"/>
                <a:gd name="connsiteX216" fmla="*/ 68385 w 752994"/>
                <a:gd name="connsiteY216" fmla="*/ 902749 h 1333436"/>
                <a:gd name="connsiteX217" fmla="*/ 61045 w 752994"/>
                <a:gd name="connsiteY217" fmla="*/ 889494 h 1333436"/>
                <a:gd name="connsiteX218" fmla="*/ 57971 w 752994"/>
                <a:gd name="connsiteY218" fmla="*/ 875619 h 1333436"/>
                <a:gd name="connsiteX219" fmla="*/ 52264 w 752994"/>
                <a:gd name="connsiteY219" fmla="*/ 862572 h 1333436"/>
                <a:gd name="connsiteX220" fmla="*/ 44309 w 752994"/>
                <a:gd name="connsiteY220" fmla="*/ 850561 h 1333436"/>
                <a:gd name="connsiteX221" fmla="*/ 45520 w 752994"/>
                <a:gd name="connsiteY221" fmla="*/ 827090 h 1333436"/>
                <a:gd name="connsiteX222" fmla="*/ 53071 w 752994"/>
                <a:gd name="connsiteY222" fmla="*/ 822396 h 1333436"/>
                <a:gd name="connsiteX223" fmla="*/ 57375 w 752994"/>
                <a:gd name="connsiteY223" fmla="*/ 816493 h 1333436"/>
                <a:gd name="connsiteX224" fmla="*/ 55319 w 752994"/>
                <a:gd name="connsiteY224" fmla="*/ 801617 h 1333436"/>
                <a:gd name="connsiteX225" fmla="*/ 48383 w 752994"/>
                <a:gd name="connsiteY225" fmla="*/ 802204 h 1333436"/>
                <a:gd name="connsiteX226" fmla="*/ 40428 w 752994"/>
                <a:gd name="connsiteY226" fmla="*/ 797924 h 1333436"/>
                <a:gd name="connsiteX227" fmla="*/ 37565 w 752994"/>
                <a:gd name="connsiteY227" fmla="*/ 790606 h 1333436"/>
                <a:gd name="connsiteX228" fmla="*/ 37565 w 752994"/>
                <a:gd name="connsiteY228" fmla="*/ 790399 h 1333436"/>
                <a:gd name="connsiteX229" fmla="*/ 35931 w 752994"/>
                <a:gd name="connsiteY229" fmla="*/ 785912 h 1333436"/>
                <a:gd name="connsiteX230" fmla="*/ 34510 w 752994"/>
                <a:gd name="connsiteY230" fmla="*/ 780597 h 1333436"/>
                <a:gd name="connsiteX231" fmla="*/ 36335 w 752994"/>
                <a:gd name="connsiteY231" fmla="*/ 774280 h 1333436"/>
                <a:gd name="connsiteX232" fmla="*/ 38180 w 752994"/>
                <a:gd name="connsiteY232" fmla="*/ 766721 h 1333436"/>
                <a:gd name="connsiteX233" fmla="*/ 37161 w 752994"/>
                <a:gd name="connsiteY233" fmla="*/ 760405 h 1333436"/>
                <a:gd name="connsiteX234" fmla="*/ 35720 w 752994"/>
                <a:gd name="connsiteY234" fmla="*/ 754710 h 1333436"/>
                <a:gd name="connsiteX235" fmla="*/ 36546 w 752994"/>
                <a:gd name="connsiteY235" fmla="*/ 748773 h 1333436"/>
                <a:gd name="connsiteX236" fmla="*/ 38372 w 752994"/>
                <a:gd name="connsiteY236" fmla="*/ 744528 h 1333436"/>
                <a:gd name="connsiteX237" fmla="*/ 41638 w 752994"/>
                <a:gd name="connsiteY237" fmla="*/ 744321 h 1333436"/>
                <a:gd name="connsiteX238" fmla="*/ 44713 w 752994"/>
                <a:gd name="connsiteY238" fmla="*/ 746357 h 1333436"/>
                <a:gd name="connsiteX239" fmla="*/ 47364 w 752994"/>
                <a:gd name="connsiteY239" fmla="*/ 753260 h 1333436"/>
                <a:gd name="connsiteX240" fmla="*/ 55742 w 752994"/>
                <a:gd name="connsiteY240" fmla="*/ 764305 h 1333436"/>
                <a:gd name="connsiteX241" fmla="*/ 56338 w 752994"/>
                <a:gd name="connsiteY241" fmla="*/ 761233 h 1333436"/>
                <a:gd name="connsiteX242" fmla="*/ 56145 w 752994"/>
                <a:gd name="connsiteY242" fmla="*/ 757368 h 1333436"/>
                <a:gd name="connsiteX243" fmla="*/ 54916 w 752994"/>
                <a:gd name="connsiteY243" fmla="*/ 748601 h 1333436"/>
                <a:gd name="connsiteX244" fmla="*/ 52879 w 752994"/>
                <a:gd name="connsiteY244" fmla="*/ 747358 h 1333436"/>
                <a:gd name="connsiteX245" fmla="*/ 51649 w 752994"/>
                <a:gd name="connsiteY245" fmla="*/ 745322 h 1333436"/>
                <a:gd name="connsiteX246" fmla="*/ 51649 w 752994"/>
                <a:gd name="connsiteY246" fmla="*/ 739212 h 1333436"/>
                <a:gd name="connsiteX247" fmla="*/ 50227 w 752994"/>
                <a:gd name="connsiteY247" fmla="*/ 734725 h 1333436"/>
                <a:gd name="connsiteX248" fmla="*/ 48786 w 752994"/>
                <a:gd name="connsiteY248" fmla="*/ 731446 h 1333436"/>
                <a:gd name="connsiteX249" fmla="*/ 54512 w 752994"/>
                <a:gd name="connsiteY249" fmla="*/ 726372 h 1333436"/>
                <a:gd name="connsiteX250" fmla="*/ 59815 w 752994"/>
                <a:gd name="connsiteY250" fmla="*/ 725130 h 1333436"/>
                <a:gd name="connsiteX251" fmla="*/ 58182 w 752994"/>
                <a:gd name="connsiteY251" fmla="*/ 722886 h 1333436"/>
                <a:gd name="connsiteX252" fmla="*/ 51861 w 752994"/>
                <a:gd name="connsiteY252" fmla="*/ 717985 h 1333436"/>
                <a:gd name="connsiteX253" fmla="*/ 46749 w 752994"/>
                <a:gd name="connsiteY253" fmla="*/ 729617 h 1333436"/>
                <a:gd name="connsiteX254" fmla="*/ 40831 w 752994"/>
                <a:gd name="connsiteY254" fmla="*/ 739212 h 1333436"/>
                <a:gd name="connsiteX255" fmla="*/ 39601 w 752994"/>
                <a:gd name="connsiteY255" fmla="*/ 738798 h 1333436"/>
                <a:gd name="connsiteX256" fmla="*/ 39409 w 752994"/>
                <a:gd name="connsiteY256" fmla="*/ 738591 h 1333436"/>
                <a:gd name="connsiteX257" fmla="*/ 37161 w 752994"/>
                <a:gd name="connsiteY257" fmla="*/ 734725 h 1333436"/>
                <a:gd name="connsiteX258" fmla="*/ 32665 w 752994"/>
                <a:gd name="connsiteY258" fmla="*/ 727788 h 1333436"/>
                <a:gd name="connsiteX259" fmla="*/ 26747 w 752994"/>
                <a:gd name="connsiteY259" fmla="*/ 719435 h 1333436"/>
                <a:gd name="connsiteX260" fmla="*/ 23884 w 752994"/>
                <a:gd name="connsiteY260" fmla="*/ 717812 h 1333436"/>
                <a:gd name="connsiteX261" fmla="*/ 24710 w 752994"/>
                <a:gd name="connsiteY261" fmla="*/ 709632 h 1333436"/>
                <a:gd name="connsiteX262" fmla="*/ 27554 w 752994"/>
                <a:gd name="connsiteY262" fmla="*/ 701694 h 1333436"/>
                <a:gd name="connsiteX263" fmla="*/ 24902 w 752994"/>
                <a:gd name="connsiteY263" fmla="*/ 696171 h 1333436"/>
                <a:gd name="connsiteX264" fmla="*/ 24095 w 752994"/>
                <a:gd name="connsiteY264" fmla="*/ 687818 h 1333436"/>
                <a:gd name="connsiteX265" fmla="*/ 22462 w 752994"/>
                <a:gd name="connsiteY265" fmla="*/ 682330 h 1333436"/>
                <a:gd name="connsiteX266" fmla="*/ 17159 w 752994"/>
                <a:gd name="connsiteY266" fmla="*/ 677636 h 1333436"/>
                <a:gd name="connsiteX267" fmla="*/ 14296 w 752994"/>
                <a:gd name="connsiteY267" fmla="*/ 671492 h 1333436"/>
                <a:gd name="connsiteX268" fmla="*/ 12451 w 752994"/>
                <a:gd name="connsiteY268" fmla="*/ 665797 h 1333436"/>
                <a:gd name="connsiteX269" fmla="*/ 5111 w 752994"/>
                <a:gd name="connsiteY269" fmla="*/ 654994 h 1333436"/>
                <a:gd name="connsiteX270" fmla="*/ 2248 w 752994"/>
                <a:gd name="connsiteY270" fmla="*/ 645605 h 1333436"/>
                <a:gd name="connsiteX271" fmla="*/ 4496 w 752994"/>
                <a:gd name="connsiteY271" fmla="*/ 640497 h 1333436"/>
                <a:gd name="connsiteX272" fmla="*/ 6744 w 752994"/>
                <a:gd name="connsiteY272" fmla="*/ 632765 h 1333436"/>
                <a:gd name="connsiteX273" fmla="*/ 6744 w 752994"/>
                <a:gd name="connsiteY273" fmla="*/ 628485 h 1333436"/>
                <a:gd name="connsiteX274" fmla="*/ 6533 w 752994"/>
                <a:gd name="connsiteY274" fmla="*/ 620305 h 1333436"/>
                <a:gd name="connsiteX275" fmla="*/ 7359 w 752994"/>
                <a:gd name="connsiteY275" fmla="*/ 611745 h 1333436"/>
                <a:gd name="connsiteX276" fmla="*/ 11836 w 752994"/>
                <a:gd name="connsiteY276" fmla="*/ 602978 h 1333436"/>
                <a:gd name="connsiteX277" fmla="*/ 15103 w 752994"/>
                <a:gd name="connsiteY277" fmla="*/ 591760 h 1333436"/>
                <a:gd name="connsiteX278" fmla="*/ 14488 w 752994"/>
                <a:gd name="connsiteY278" fmla="*/ 584029 h 1333436"/>
                <a:gd name="connsiteX279" fmla="*/ 13873 w 752994"/>
                <a:gd name="connsiteY279" fmla="*/ 578299 h 1333436"/>
                <a:gd name="connsiteX280" fmla="*/ 10626 w 752994"/>
                <a:gd name="connsiteY280" fmla="*/ 568531 h 1333436"/>
                <a:gd name="connsiteX281" fmla="*/ 3670 w 752994"/>
                <a:gd name="connsiteY281" fmla="*/ 558107 h 1333436"/>
                <a:gd name="connsiteX282" fmla="*/ 0 w 752994"/>
                <a:gd name="connsiteY282" fmla="*/ 551377 h 1333436"/>
                <a:gd name="connsiteX283" fmla="*/ 0 w 752994"/>
                <a:gd name="connsiteY283" fmla="*/ 550997 h 1333436"/>
                <a:gd name="connsiteX284" fmla="*/ 4900 w 752994"/>
                <a:gd name="connsiteY284" fmla="*/ 531220 h 1333436"/>
                <a:gd name="connsiteX285" fmla="*/ 13873 w 752994"/>
                <a:gd name="connsiteY285" fmla="*/ 520589 h 1333436"/>
                <a:gd name="connsiteX286" fmla="*/ 18369 w 752994"/>
                <a:gd name="connsiteY286" fmla="*/ 516516 h 1333436"/>
                <a:gd name="connsiteX287" fmla="*/ 18773 w 752994"/>
                <a:gd name="connsiteY287" fmla="*/ 514272 h 1333436"/>
                <a:gd name="connsiteX288" fmla="*/ 23077 w 752994"/>
                <a:gd name="connsiteY288" fmla="*/ 506127 h 1333436"/>
                <a:gd name="connsiteX289" fmla="*/ 23884 w 752994"/>
                <a:gd name="connsiteY289" fmla="*/ 502261 h 1333436"/>
                <a:gd name="connsiteX290" fmla="*/ 23692 w 752994"/>
                <a:gd name="connsiteY290" fmla="*/ 496738 h 1333436"/>
                <a:gd name="connsiteX291" fmla="*/ 30013 w 752994"/>
                <a:gd name="connsiteY291" fmla="*/ 486556 h 1333436"/>
                <a:gd name="connsiteX292" fmla="*/ 36546 w 752994"/>
                <a:gd name="connsiteY292" fmla="*/ 470230 h 1333436"/>
                <a:gd name="connsiteX293" fmla="*/ 36546 w 752994"/>
                <a:gd name="connsiteY293" fmla="*/ 462671 h 1333436"/>
                <a:gd name="connsiteX294" fmla="*/ 36335 w 752994"/>
                <a:gd name="connsiteY294" fmla="*/ 461670 h 1333436"/>
                <a:gd name="connsiteX295" fmla="*/ 35931 w 752994"/>
                <a:gd name="connsiteY295" fmla="*/ 453110 h 1333436"/>
                <a:gd name="connsiteX296" fmla="*/ 38583 w 752994"/>
                <a:gd name="connsiteY296" fmla="*/ 442514 h 1333436"/>
                <a:gd name="connsiteX297" fmla="*/ 41043 w 752994"/>
                <a:gd name="connsiteY297" fmla="*/ 436991 h 1333436"/>
                <a:gd name="connsiteX298" fmla="*/ 41650 w 752994"/>
                <a:gd name="connsiteY298" fmla="*/ 437186 h 1333436"/>
                <a:gd name="connsiteX299" fmla="*/ 41239 w 752994"/>
                <a:gd name="connsiteY299" fmla="*/ 436549 h 1333436"/>
                <a:gd name="connsiteX300" fmla="*/ 37778 w 752994"/>
                <a:gd name="connsiteY300" fmla="*/ 433894 h 1333436"/>
                <a:gd name="connsiteX301" fmla="*/ 37169 w 752994"/>
                <a:gd name="connsiteY301" fmla="*/ 432261 h 1333436"/>
                <a:gd name="connsiteX302" fmla="*/ 37365 w 752994"/>
                <a:gd name="connsiteY302" fmla="*/ 429198 h 1333436"/>
                <a:gd name="connsiteX303" fmla="*/ 36756 w 752994"/>
                <a:gd name="connsiteY303" fmla="*/ 422272 h 1333436"/>
                <a:gd name="connsiteX304" fmla="*/ 36952 w 752994"/>
                <a:gd name="connsiteY304" fmla="*/ 418800 h 1333436"/>
                <a:gd name="connsiteX305" fmla="*/ 36756 w 752994"/>
                <a:gd name="connsiteY305" fmla="*/ 412487 h 1333436"/>
                <a:gd name="connsiteX306" fmla="*/ 40433 w 752994"/>
                <a:gd name="connsiteY306" fmla="*/ 406174 h 1333436"/>
                <a:gd name="connsiteX307" fmla="*/ 44720 w 752994"/>
                <a:gd name="connsiteY307" fmla="*/ 399435 h 1333436"/>
                <a:gd name="connsiteX308" fmla="*/ 44110 w 752994"/>
                <a:gd name="connsiteY308" fmla="*/ 389651 h 1333436"/>
                <a:gd name="connsiteX309" fmla="*/ 43894 w 752994"/>
                <a:gd name="connsiteY309" fmla="*/ 378437 h 1333436"/>
                <a:gd name="connsiteX310" fmla="*/ 47158 w 752994"/>
                <a:gd name="connsiteY310" fmla="*/ 371102 h 1333436"/>
                <a:gd name="connsiteX311" fmla="*/ 55731 w 752994"/>
                <a:gd name="connsiteY311" fmla="*/ 360909 h 1333436"/>
                <a:gd name="connsiteX312" fmla="*/ 57580 w 752994"/>
                <a:gd name="connsiteY312" fmla="*/ 355804 h 1333436"/>
                <a:gd name="connsiteX313" fmla="*/ 62673 w 752994"/>
                <a:gd name="connsiteY313" fmla="*/ 349695 h 1333436"/>
                <a:gd name="connsiteX314" fmla="*/ 65937 w 752994"/>
                <a:gd name="connsiteY314" fmla="*/ 348470 h 1333436"/>
                <a:gd name="connsiteX315" fmla="*/ 68395 w 752994"/>
                <a:gd name="connsiteY315" fmla="*/ 348674 h 1333436"/>
                <a:gd name="connsiteX316" fmla="*/ 70224 w 752994"/>
                <a:gd name="connsiteY316" fmla="*/ 347449 h 1333436"/>
                <a:gd name="connsiteX317" fmla="*/ 67785 w 752994"/>
                <a:gd name="connsiteY317" fmla="*/ 345203 h 1333436"/>
                <a:gd name="connsiteX318" fmla="*/ 65524 w 752994"/>
                <a:gd name="connsiteY318" fmla="*/ 343178 h 1333436"/>
                <a:gd name="connsiteX319" fmla="*/ 73095 w 752994"/>
                <a:gd name="connsiteY319" fmla="*/ 333376 h 1333436"/>
                <a:gd name="connsiteX320" fmla="*/ 73291 w 752994"/>
                <a:gd name="connsiteY320" fmla="*/ 333376 h 1333436"/>
                <a:gd name="connsiteX321" fmla="*/ 77991 w 752994"/>
                <a:gd name="connsiteY321" fmla="*/ 325838 h 1333436"/>
                <a:gd name="connsiteX322" fmla="*/ 82671 w 752994"/>
                <a:gd name="connsiteY322" fmla="*/ 313619 h 1333436"/>
                <a:gd name="connsiteX323" fmla="*/ 87980 w 752994"/>
                <a:gd name="connsiteY323" fmla="*/ 303018 h 1333436"/>
                <a:gd name="connsiteX324" fmla="*/ 92267 w 752994"/>
                <a:gd name="connsiteY324" fmla="*/ 291191 h 1333436"/>
                <a:gd name="connsiteX325" fmla="*/ 96553 w 752994"/>
                <a:gd name="connsiteY325" fmla="*/ 281202 h 1333436"/>
                <a:gd name="connsiteX326" fmla="*/ 99621 w 752994"/>
                <a:gd name="connsiteY326" fmla="*/ 274481 h 1333436"/>
                <a:gd name="connsiteX327" fmla="*/ 103082 w 752994"/>
                <a:gd name="connsiteY327" fmla="*/ 262450 h 1333436"/>
                <a:gd name="connsiteX328" fmla="*/ 107172 w 752994"/>
                <a:gd name="connsiteY328" fmla="*/ 254299 h 1333436"/>
                <a:gd name="connsiteX329" fmla="*/ 112481 w 752994"/>
                <a:gd name="connsiteY329" fmla="*/ 243697 h 1333436"/>
                <a:gd name="connsiteX330" fmla="*/ 117181 w 752994"/>
                <a:gd name="connsiteY330" fmla="*/ 232279 h 1333436"/>
                <a:gd name="connsiteX331" fmla="*/ 125951 w 752994"/>
                <a:gd name="connsiteY331" fmla="*/ 217389 h 1333436"/>
                <a:gd name="connsiteX332" fmla="*/ 136156 w 752994"/>
                <a:gd name="connsiteY332" fmla="*/ 202925 h 1333436"/>
                <a:gd name="connsiteX333" fmla="*/ 138811 w 752994"/>
                <a:gd name="connsiteY333" fmla="*/ 183339 h 1333436"/>
                <a:gd name="connsiteX334" fmla="*/ 148801 w 752994"/>
                <a:gd name="connsiteY334" fmla="*/ 167445 h 1333436"/>
                <a:gd name="connsiteX335" fmla="*/ 159616 w 752994"/>
                <a:gd name="connsiteY335" fmla="*/ 170712 h 1333436"/>
                <a:gd name="connsiteX336" fmla="*/ 173105 w 752994"/>
                <a:gd name="connsiteY336" fmla="*/ 175188 h 1333436"/>
                <a:gd name="connsiteX337" fmla="*/ 175347 w 752994"/>
                <a:gd name="connsiteY337" fmla="*/ 175188 h 1333436"/>
                <a:gd name="connsiteX338" fmla="*/ 175347 w 752994"/>
                <a:gd name="connsiteY338" fmla="*/ 173758 h 1333436"/>
                <a:gd name="connsiteX339" fmla="*/ 184975 w 752994"/>
                <a:gd name="connsiteY339" fmla="*/ 187393 h 1333436"/>
                <a:gd name="connsiteX340" fmla="*/ 184762 w 752994"/>
                <a:gd name="connsiteY340" fmla="*/ 184637 h 1333436"/>
                <a:gd name="connsiteX341" fmla="*/ 174971 w 752994"/>
                <a:gd name="connsiteY341" fmla="*/ 170774 h 1333436"/>
                <a:gd name="connsiteX342" fmla="*/ 174971 w 752994"/>
                <a:gd name="connsiteY342" fmla="*/ 169550 h 1333436"/>
                <a:gd name="connsiteX343" fmla="*/ 158851 w 752994"/>
                <a:gd name="connsiteY343" fmla="*/ 156924 h 1333436"/>
                <a:gd name="connsiteX344" fmla="*/ 147025 w 752994"/>
                <a:gd name="connsiteY344" fmla="*/ 145709 h 1333436"/>
                <a:gd name="connsiteX345" fmla="*/ 154364 w 752994"/>
                <a:gd name="connsiteY345" fmla="*/ 136335 h 1333436"/>
                <a:gd name="connsiteX346" fmla="*/ 161511 w 752994"/>
                <a:gd name="connsiteY346" fmla="*/ 131042 h 1333436"/>
                <a:gd name="connsiteX347" fmla="*/ 160902 w 752994"/>
                <a:gd name="connsiteY347" fmla="*/ 128384 h 1333436"/>
                <a:gd name="connsiteX348" fmla="*/ 160277 w 752994"/>
                <a:gd name="connsiteY348" fmla="*/ 127778 h 1333436"/>
                <a:gd name="connsiteX349" fmla="*/ 154973 w 752994"/>
                <a:gd name="connsiteY349" fmla="*/ 122077 h 1333436"/>
                <a:gd name="connsiteX350" fmla="*/ 160277 w 752994"/>
                <a:gd name="connsiteY350" fmla="*/ 115140 h 1333436"/>
                <a:gd name="connsiteX351" fmla="*/ 165181 w 752994"/>
                <a:gd name="connsiteY351" fmla="*/ 108215 h 1333436"/>
                <a:gd name="connsiteX352" fmla="*/ 161303 w 752994"/>
                <a:gd name="connsiteY352" fmla="*/ 104146 h 1333436"/>
                <a:gd name="connsiteX353" fmla="*/ 157842 w 752994"/>
                <a:gd name="connsiteY353" fmla="*/ 104542 h 1333436"/>
                <a:gd name="connsiteX354" fmla="*/ 157024 w 752994"/>
                <a:gd name="connsiteY354" fmla="*/ 102304 h 1333436"/>
                <a:gd name="connsiteX355" fmla="*/ 160694 w 752994"/>
                <a:gd name="connsiteY355" fmla="*/ 55437 h 1333436"/>
                <a:gd name="connsiteX356" fmla="*/ 160486 w 752994"/>
                <a:gd name="connsiteY356" fmla="*/ 31991 h 1333436"/>
                <a:gd name="connsiteX357" fmla="*/ 164972 w 752994"/>
                <a:gd name="connsiteY357" fmla="*/ 18141 h 1333436"/>
                <a:gd name="connsiteX358" fmla="*/ 171911 w 752994"/>
                <a:gd name="connsiteY358" fmla="*/ 11204 h 1333436"/>
                <a:gd name="connsiteX359" fmla="*/ 187406 w 752994"/>
                <a:gd name="connsiteY359" fmla="*/ 21801 h 1333436"/>
                <a:gd name="connsiteX360" fmla="*/ 210866 w 752994"/>
                <a:gd name="connsiteY360" fmla="*/ 37086 h 1333436"/>
                <a:gd name="connsiteX361" fmla="*/ 219230 w 752994"/>
                <a:gd name="connsiteY361" fmla="*/ 41166 h 1333436"/>
                <a:gd name="connsiteX362" fmla="*/ 226778 w 752994"/>
                <a:gd name="connsiteY362" fmla="*/ 47486 h 1333436"/>
                <a:gd name="connsiteX363" fmla="*/ 236152 w 752994"/>
                <a:gd name="connsiteY363" fmla="*/ 52370 h 1333436"/>
                <a:gd name="connsiteX364" fmla="*/ 239629 w 752994"/>
                <a:gd name="connsiteY364" fmla="*/ 58491 h 1333436"/>
                <a:gd name="connsiteX365" fmla="*/ 239629 w 752994"/>
                <a:gd name="connsiteY365" fmla="*/ 63376 h 1333436"/>
                <a:gd name="connsiteX366" fmla="*/ 236568 w 752994"/>
                <a:gd name="connsiteY366" fmla="*/ 67457 h 1333436"/>
                <a:gd name="connsiteX367" fmla="*/ 231264 w 752994"/>
                <a:gd name="connsiteY367" fmla="*/ 69905 h 1333436"/>
                <a:gd name="connsiteX368" fmla="*/ 216778 w 752994"/>
                <a:gd name="connsiteY368" fmla="*/ 82741 h 1333436"/>
                <a:gd name="connsiteX369" fmla="*/ 214134 w 752994"/>
                <a:gd name="connsiteY369" fmla="*/ 93536 h 1333436"/>
                <a:gd name="connsiteX370" fmla="*/ 214535 w 752994"/>
                <a:gd name="connsiteY370" fmla="*/ 96801 h 1333436"/>
                <a:gd name="connsiteX371" fmla="*/ 216378 w 752994"/>
                <a:gd name="connsiteY371" fmla="*/ 96801 h 1333436"/>
                <a:gd name="connsiteX372" fmla="*/ 230046 w 752994"/>
                <a:gd name="connsiteY372" fmla="*/ 85387 h 1333436"/>
                <a:gd name="connsiteX373" fmla="*/ 243298 w 752994"/>
                <a:gd name="connsiteY373" fmla="*/ 75198 h 1333436"/>
                <a:gd name="connsiteX374" fmla="*/ 246760 w 752994"/>
                <a:gd name="connsiteY374" fmla="*/ 77646 h 1333436"/>
                <a:gd name="connsiteX375" fmla="*/ 255541 w 752994"/>
                <a:gd name="connsiteY375" fmla="*/ 63376 h 1333436"/>
                <a:gd name="connsiteX376" fmla="*/ 259611 w 752994"/>
                <a:gd name="connsiteY376" fmla="*/ 43405 h 1333436"/>
                <a:gd name="connsiteX377" fmla="*/ 256967 w 752994"/>
                <a:gd name="connsiteY377" fmla="*/ 38520 h 1333436"/>
                <a:gd name="connsiteX378" fmla="*/ 253906 w 752994"/>
                <a:gd name="connsiteY378" fmla="*/ 34242 h 1333436"/>
                <a:gd name="connsiteX379" fmla="*/ 256967 w 752994"/>
                <a:gd name="connsiteY379" fmla="*/ 30161 h 1333436"/>
                <a:gd name="connsiteX380" fmla="*/ 262063 w 752994"/>
                <a:gd name="connsiteY380" fmla="*/ 27712 h 1333436"/>
                <a:gd name="connsiteX381" fmla="*/ 264915 w 752994"/>
                <a:gd name="connsiteY381" fmla="*/ 23026 h 1333436"/>
                <a:gd name="connsiteX382" fmla="*/ 267976 w 752994"/>
                <a:gd name="connsiteY382" fmla="*/ 22618 h 1333436"/>
                <a:gd name="connsiteX383" fmla="*/ 270427 w 752994"/>
                <a:gd name="connsiteY383" fmla="*/ 20787 h 1333436"/>
                <a:gd name="connsiteX384" fmla="*/ 263088 w 752994"/>
                <a:gd name="connsiteY384" fmla="*/ 13652 h 1333436"/>
                <a:gd name="connsiteX385" fmla="*/ 255541 w 752994"/>
                <a:gd name="connsiteY385" fmla="*/ 3055 h 1333436"/>
                <a:gd name="connsiteX386" fmla="*/ 256358 w 752994"/>
                <a:gd name="connsiteY386" fmla="*/ 1224 h 1333436"/>
                <a:gd name="connsiteX387" fmla="*/ 257159 w 752994"/>
                <a:gd name="connsiteY387"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414597 w 752994"/>
                <a:gd name="connsiteY161" fmla="*/ 951272 h 1333436"/>
                <a:gd name="connsiteX162" fmla="*/ 689408 w 752994"/>
                <a:gd name="connsiteY162" fmla="*/ 945184 h 1333436"/>
                <a:gd name="connsiteX163" fmla="*/ 710622 w 752994"/>
                <a:gd name="connsiteY163" fmla="*/ 948043 h 1333436"/>
                <a:gd name="connsiteX164" fmla="*/ 654533 w 752994"/>
                <a:gd name="connsiteY164" fmla="*/ 1333436 h 1333436"/>
                <a:gd name="connsiteX165" fmla="*/ 546831 w 752994"/>
                <a:gd name="connsiteY165" fmla="*/ 1317126 h 1333436"/>
                <a:gd name="connsiteX166" fmla="*/ 351227 w 752994"/>
                <a:gd name="connsiteY166" fmla="*/ 1194172 h 1333436"/>
                <a:gd name="connsiteX167" fmla="*/ 361011 w 752994"/>
                <a:gd name="connsiteY167" fmla="*/ 1182755 h 1333436"/>
                <a:gd name="connsiteX168" fmla="*/ 368981 w 752994"/>
                <a:gd name="connsiteY168" fmla="*/ 1182130 h 1333436"/>
                <a:gd name="connsiteX169" fmla="*/ 369571 w 752994"/>
                <a:gd name="connsiteY169" fmla="*/ 1181558 h 1333436"/>
                <a:gd name="connsiteX170" fmla="*/ 362372 w 752994"/>
                <a:gd name="connsiteY170" fmla="*/ 1182120 h 1333436"/>
                <a:gd name="connsiteX171" fmla="*/ 229464 w 752994"/>
                <a:gd name="connsiteY171" fmla="*/ 1161721 h 1333436"/>
                <a:gd name="connsiteX172" fmla="*/ 227427 w 752994"/>
                <a:gd name="connsiteY172" fmla="*/ 1157269 h 1333436"/>
                <a:gd name="connsiteX173" fmla="*/ 224967 w 752994"/>
                <a:gd name="connsiteY173" fmla="*/ 1152575 h 1333436"/>
                <a:gd name="connsiteX174" fmla="*/ 225582 w 752994"/>
                <a:gd name="connsiteY174" fmla="*/ 1144808 h 1333436"/>
                <a:gd name="connsiteX175" fmla="*/ 227215 w 752994"/>
                <a:gd name="connsiteY175" fmla="*/ 1135834 h 1333436"/>
                <a:gd name="connsiteX176" fmla="*/ 227215 w 752994"/>
                <a:gd name="connsiteY176" fmla="*/ 1134212 h 1333436"/>
                <a:gd name="connsiteX177" fmla="*/ 225179 w 752994"/>
                <a:gd name="connsiteY177" fmla="*/ 1114020 h 1333436"/>
                <a:gd name="connsiteX178" fmla="*/ 217839 w 752994"/>
                <a:gd name="connsiteY178" fmla="*/ 1100352 h 1333436"/>
                <a:gd name="connsiteX179" fmla="*/ 199661 w 752994"/>
                <a:gd name="connsiteY179" fmla="*/ 1076502 h 1333436"/>
                <a:gd name="connsiteX180" fmla="*/ 196395 w 752994"/>
                <a:gd name="connsiteY180" fmla="*/ 1071807 h 1333436"/>
                <a:gd name="connsiteX181" fmla="*/ 190880 w 752994"/>
                <a:gd name="connsiteY181" fmla="*/ 1067527 h 1333436"/>
                <a:gd name="connsiteX182" fmla="*/ 187210 w 752994"/>
                <a:gd name="connsiteY182" fmla="*/ 1068735 h 1333436"/>
                <a:gd name="connsiteX183" fmla="*/ 180062 w 752994"/>
                <a:gd name="connsiteY183" fmla="*/ 1066699 h 1333436"/>
                <a:gd name="connsiteX184" fmla="*/ 180466 w 752994"/>
                <a:gd name="connsiteY184" fmla="*/ 1053031 h 1333436"/>
                <a:gd name="connsiteX185" fmla="*/ 180062 w 752994"/>
                <a:gd name="connsiteY185" fmla="*/ 1045299 h 1333436"/>
                <a:gd name="connsiteX186" fmla="*/ 174144 w 752994"/>
                <a:gd name="connsiteY186" fmla="*/ 1044057 h 1333436"/>
                <a:gd name="connsiteX187" fmla="*/ 158426 w 752994"/>
                <a:gd name="connsiteY187" fmla="*/ 1042641 h 1333436"/>
                <a:gd name="connsiteX188" fmla="*/ 149857 w 752994"/>
                <a:gd name="connsiteY188" fmla="*/ 1035497 h 1333436"/>
                <a:gd name="connsiteX189" fmla="*/ 142497 w 752994"/>
                <a:gd name="connsiteY189" fmla="*/ 1028766 h 1333436"/>
                <a:gd name="connsiteX190" fmla="*/ 140864 w 752994"/>
                <a:gd name="connsiteY190" fmla="*/ 1020620 h 1333436"/>
                <a:gd name="connsiteX191" fmla="*/ 138212 w 752994"/>
                <a:gd name="connsiteY191" fmla="*/ 1013061 h 1333436"/>
                <a:gd name="connsiteX192" fmla="*/ 131064 w 752994"/>
                <a:gd name="connsiteY192" fmla="*/ 1007159 h 1333436"/>
                <a:gd name="connsiteX193" fmla="*/ 121264 w 752994"/>
                <a:gd name="connsiteY193" fmla="*/ 1005330 h 1333436"/>
                <a:gd name="connsiteX194" fmla="*/ 112483 w 752994"/>
                <a:gd name="connsiteY194" fmla="*/ 1001671 h 1333436"/>
                <a:gd name="connsiteX195" fmla="*/ 105950 w 752994"/>
                <a:gd name="connsiteY195" fmla="*/ 995734 h 1333436"/>
                <a:gd name="connsiteX196" fmla="*/ 97380 w 752994"/>
                <a:gd name="connsiteY196" fmla="*/ 994526 h 1333436"/>
                <a:gd name="connsiteX197" fmla="*/ 87984 w 752994"/>
                <a:gd name="connsiteY197" fmla="*/ 991040 h 1333436"/>
                <a:gd name="connsiteX198" fmla="*/ 80029 w 752994"/>
                <a:gd name="connsiteY198" fmla="*/ 985138 h 1333436"/>
                <a:gd name="connsiteX199" fmla="*/ 77166 w 752994"/>
                <a:gd name="connsiteY199" fmla="*/ 976164 h 1333436"/>
                <a:gd name="connsiteX200" fmla="*/ 79203 w 752994"/>
                <a:gd name="connsiteY200" fmla="*/ 970676 h 1333436"/>
                <a:gd name="connsiteX201" fmla="*/ 82470 w 752994"/>
                <a:gd name="connsiteY201" fmla="*/ 963117 h 1333436"/>
                <a:gd name="connsiteX202" fmla="*/ 84314 w 752994"/>
                <a:gd name="connsiteY202" fmla="*/ 954557 h 1333436"/>
                <a:gd name="connsiteX203" fmla="*/ 86351 w 752994"/>
                <a:gd name="connsiteY203" fmla="*/ 948033 h 1333436"/>
                <a:gd name="connsiteX204" fmla="*/ 86159 w 752994"/>
                <a:gd name="connsiteY204" fmla="*/ 942925 h 1333436"/>
                <a:gd name="connsiteX205" fmla="*/ 83085 w 752994"/>
                <a:gd name="connsiteY205" fmla="*/ 939853 h 1333436"/>
                <a:gd name="connsiteX206" fmla="*/ 77570 w 752994"/>
                <a:gd name="connsiteY206" fmla="*/ 937437 h 1333436"/>
                <a:gd name="connsiteX207" fmla="*/ 76763 w 752994"/>
                <a:gd name="connsiteY207" fmla="*/ 931915 h 1333436"/>
                <a:gd name="connsiteX208" fmla="*/ 78800 w 752994"/>
                <a:gd name="connsiteY208" fmla="*/ 927013 h 1333436"/>
                <a:gd name="connsiteX209" fmla="*/ 79626 w 752994"/>
                <a:gd name="connsiteY209" fmla="*/ 922526 h 1333436"/>
                <a:gd name="connsiteX210" fmla="*/ 77781 w 752994"/>
                <a:gd name="connsiteY210" fmla="*/ 919903 h 1333436"/>
                <a:gd name="connsiteX211" fmla="*/ 74303 w 752994"/>
                <a:gd name="connsiteY211" fmla="*/ 917418 h 1333436"/>
                <a:gd name="connsiteX212" fmla="*/ 71863 w 752994"/>
                <a:gd name="connsiteY212" fmla="*/ 915174 h 1333436"/>
                <a:gd name="connsiteX213" fmla="*/ 71652 w 752994"/>
                <a:gd name="connsiteY213" fmla="*/ 910894 h 1333436"/>
                <a:gd name="connsiteX214" fmla="*/ 70633 w 752994"/>
                <a:gd name="connsiteY214" fmla="*/ 906614 h 1333436"/>
                <a:gd name="connsiteX215" fmla="*/ 68385 w 752994"/>
                <a:gd name="connsiteY215" fmla="*/ 902749 h 1333436"/>
                <a:gd name="connsiteX216" fmla="*/ 61045 w 752994"/>
                <a:gd name="connsiteY216" fmla="*/ 889494 h 1333436"/>
                <a:gd name="connsiteX217" fmla="*/ 57971 w 752994"/>
                <a:gd name="connsiteY217" fmla="*/ 875619 h 1333436"/>
                <a:gd name="connsiteX218" fmla="*/ 52264 w 752994"/>
                <a:gd name="connsiteY218" fmla="*/ 862572 h 1333436"/>
                <a:gd name="connsiteX219" fmla="*/ 44309 w 752994"/>
                <a:gd name="connsiteY219" fmla="*/ 850561 h 1333436"/>
                <a:gd name="connsiteX220" fmla="*/ 45520 w 752994"/>
                <a:gd name="connsiteY220" fmla="*/ 827090 h 1333436"/>
                <a:gd name="connsiteX221" fmla="*/ 53071 w 752994"/>
                <a:gd name="connsiteY221" fmla="*/ 822396 h 1333436"/>
                <a:gd name="connsiteX222" fmla="*/ 57375 w 752994"/>
                <a:gd name="connsiteY222" fmla="*/ 816493 h 1333436"/>
                <a:gd name="connsiteX223" fmla="*/ 55319 w 752994"/>
                <a:gd name="connsiteY223" fmla="*/ 801617 h 1333436"/>
                <a:gd name="connsiteX224" fmla="*/ 48383 w 752994"/>
                <a:gd name="connsiteY224" fmla="*/ 802204 h 1333436"/>
                <a:gd name="connsiteX225" fmla="*/ 40428 w 752994"/>
                <a:gd name="connsiteY225" fmla="*/ 797924 h 1333436"/>
                <a:gd name="connsiteX226" fmla="*/ 37565 w 752994"/>
                <a:gd name="connsiteY226" fmla="*/ 790606 h 1333436"/>
                <a:gd name="connsiteX227" fmla="*/ 37565 w 752994"/>
                <a:gd name="connsiteY227" fmla="*/ 790399 h 1333436"/>
                <a:gd name="connsiteX228" fmla="*/ 35931 w 752994"/>
                <a:gd name="connsiteY228" fmla="*/ 785912 h 1333436"/>
                <a:gd name="connsiteX229" fmla="*/ 34510 w 752994"/>
                <a:gd name="connsiteY229" fmla="*/ 780597 h 1333436"/>
                <a:gd name="connsiteX230" fmla="*/ 36335 w 752994"/>
                <a:gd name="connsiteY230" fmla="*/ 774280 h 1333436"/>
                <a:gd name="connsiteX231" fmla="*/ 38180 w 752994"/>
                <a:gd name="connsiteY231" fmla="*/ 766721 h 1333436"/>
                <a:gd name="connsiteX232" fmla="*/ 37161 w 752994"/>
                <a:gd name="connsiteY232" fmla="*/ 760405 h 1333436"/>
                <a:gd name="connsiteX233" fmla="*/ 35720 w 752994"/>
                <a:gd name="connsiteY233" fmla="*/ 754710 h 1333436"/>
                <a:gd name="connsiteX234" fmla="*/ 36546 w 752994"/>
                <a:gd name="connsiteY234" fmla="*/ 748773 h 1333436"/>
                <a:gd name="connsiteX235" fmla="*/ 38372 w 752994"/>
                <a:gd name="connsiteY235" fmla="*/ 744528 h 1333436"/>
                <a:gd name="connsiteX236" fmla="*/ 41638 w 752994"/>
                <a:gd name="connsiteY236" fmla="*/ 744321 h 1333436"/>
                <a:gd name="connsiteX237" fmla="*/ 44713 w 752994"/>
                <a:gd name="connsiteY237" fmla="*/ 746357 h 1333436"/>
                <a:gd name="connsiteX238" fmla="*/ 47364 w 752994"/>
                <a:gd name="connsiteY238" fmla="*/ 753260 h 1333436"/>
                <a:gd name="connsiteX239" fmla="*/ 55742 w 752994"/>
                <a:gd name="connsiteY239" fmla="*/ 764305 h 1333436"/>
                <a:gd name="connsiteX240" fmla="*/ 56338 w 752994"/>
                <a:gd name="connsiteY240" fmla="*/ 761233 h 1333436"/>
                <a:gd name="connsiteX241" fmla="*/ 56145 w 752994"/>
                <a:gd name="connsiteY241" fmla="*/ 757368 h 1333436"/>
                <a:gd name="connsiteX242" fmla="*/ 54916 w 752994"/>
                <a:gd name="connsiteY242" fmla="*/ 748601 h 1333436"/>
                <a:gd name="connsiteX243" fmla="*/ 52879 w 752994"/>
                <a:gd name="connsiteY243" fmla="*/ 747358 h 1333436"/>
                <a:gd name="connsiteX244" fmla="*/ 51649 w 752994"/>
                <a:gd name="connsiteY244" fmla="*/ 745322 h 1333436"/>
                <a:gd name="connsiteX245" fmla="*/ 51649 w 752994"/>
                <a:gd name="connsiteY245" fmla="*/ 739212 h 1333436"/>
                <a:gd name="connsiteX246" fmla="*/ 50227 w 752994"/>
                <a:gd name="connsiteY246" fmla="*/ 734725 h 1333436"/>
                <a:gd name="connsiteX247" fmla="*/ 48786 w 752994"/>
                <a:gd name="connsiteY247" fmla="*/ 731446 h 1333436"/>
                <a:gd name="connsiteX248" fmla="*/ 54512 w 752994"/>
                <a:gd name="connsiteY248" fmla="*/ 726372 h 1333436"/>
                <a:gd name="connsiteX249" fmla="*/ 59815 w 752994"/>
                <a:gd name="connsiteY249" fmla="*/ 725130 h 1333436"/>
                <a:gd name="connsiteX250" fmla="*/ 58182 w 752994"/>
                <a:gd name="connsiteY250" fmla="*/ 722886 h 1333436"/>
                <a:gd name="connsiteX251" fmla="*/ 51861 w 752994"/>
                <a:gd name="connsiteY251" fmla="*/ 717985 h 1333436"/>
                <a:gd name="connsiteX252" fmla="*/ 46749 w 752994"/>
                <a:gd name="connsiteY252" fmla="*/ 729617 h 1333436"/>
                <a:gd name="connsiteX253" fmla="*/ 40831 w 752994"/>
                <a:gd name="connsiteY253" fmla="*/ 739212 h 1333436"/>
                <a:gd name="connsiteX254" fmla="*/ 39601 w 752994"/>
                <a:gd name="connsiteY254" fmla="*/ 738798 h 1333436"/>
                <a:gd name="connsiteX255" fmla="*/ 39409 w 752994"/>
                <a:gd name="connsiteY255" fmla="*/ 738591 h 1333436"/>
                <a:gd name="connsiteX256" fmla="*/ 37161 w 752994"/>
                <a:gd name="connsiteY256" fmla="*/ 734725 h 1333436"/>
                <a:gd name="connsiteX257" fmla="*/ 32665 w 752994"/>
                <a:gd name="connsiteY257" fmla="*/ 727788 h 1333436"/>
                <a:gd name="connsiteX258" fmla="*/ 26747 w 752994"/>
                <a:gd name="connsiteY258" fmla="*/ 719435 h 1333436"/>
                <a:gd name="connsiteX259" fmla="*/ 23884 w 752994"/>
                <a:gd name="connsiteY259" fmla="*/ 717812 h 1333436"/>
                <a:gd name="connsiteX260" fmla="*/ 24710 w 752994"/>
                <a:gd name="connsiteY260" fmla="*/ 709632 h 1333436"/>
                <a:gd name="connsiteX261" fmla="*/ 27554 w 752994"/>
                <a:gd name="connsiteY261" fmla="*/ 701694 h 1333436"/>
                <a:gd name="connsiteX262" fmla="*/ 24902 w 752994"/>
                <a:gd name="connsiteY262" fmla="*/ 696171 h 1333436"/>
                <a:gd name="connsiteX263" fmla="*/ 24095 w 752994"/>
                <a:gd name="connsiteY263" fmla="*/ 687818 h 1333436"/>
                <a:gd name="connsiteX264" fmla="*/ 22462 w 752994"/>
                <a:gd name="connsiteY264" fmla="*/ 682330 h 1333436"/>
                <a:gd name="connsiteX265" fmla="*/ 17159 w 752994"/>
                <a:gd name="connsiteY265" fmla="*/ 677636 h 1333436"/>
                <a:gd name="connsiteX266" fmla="*/ 14296 w 752994"/>
                <a:gd name="connsiteY266" fmla="*/ 671492 h 1333436"/>
                <a:gd name="connsiteX267" fmla="*/ 12451 w 752994"/>
                <a:gd name="connsiteY267" fmla="*/ 665797 h 1333436"/>
                <a:gd name="connsiteX268" fmla="*/ 5111 w 752994"/>
                <a:gd name="connsiteY268" fmla="*/ 654994 h 1333436"/>
                <a:gd name="connsiteX269" fmla="*/ 2248 w 752994"/>
                <a:gd name="connsiteY269" fmla="*/ 645605 h 1333436"/>
                <a:gd name="connsiteX270" fmla="*/ 4496 w 752994"/>
                <a:gd name="connsiteY270" fmla="*/ 640497 h 1333436"/>
                <a:gd name="connsiteX271" fmla="*/ 6744 w 752994"/>
                <a:gd name="connsiteY271" fmla="*/ 632765 h 1333436"/>
                <a:gd name="connsiteX272" fmla="*/ 6744 w 752994"/>
                <a:gd name="connsiteY272" fmla="*/ 628485 h 1333436"/>
                <a:gd name="connsiteX273" fmla="*/ 6533 w 752994"/>
                <a:gd name="connsiteY273" fmla="*/ 620305 h 1333436"/>
                <a:gd name="connsiteX274" fmla="*/ 7359 w 752994"/>
                <a:gd name="connsiteY274" fmla="*/ 611745 h 1333436"/>
                <a:gd name="connsiteX275" fmla="*/ 11836 w 752994"/>
                <a:gd name="connsiteY275" fmla="*/ 602978 h 1333436"/>
                <a:gd name="connsiteX276" fmla="*/ 15103 w 752994"/>
                <a:gd name="connsiteY276" fmla="*/ 591760 h 1333436"/>
                <a:gd name="connsiteX277" fmla="*/ 14488 w 752994"/>
                <a:gd name="connsiteY277" fmla="*/ 584029 h 1333436"/>
                <a:gd name="connsiteX278" fmla="*/ 13873 w 752994"/>
                <a:gd name="connsiteY278" fmla="*/ 578299 h 1333436"/>
                <a:gd name="connsiteX279" fmla="*/ 10626 w 752994"/>
                <a:gd name="connsiteY279" fmla="*/ 568531 h 1333436"/>
                <a:gd name="connsiteX280" fmla="*/ 3670 w 752994"/>
                <a:gd name="connsiteY280" fmla="*/ 558107 h 1333436"/>
                <a:gd name="connsiteX281" fmla="*/ 0 w 752994"/>
                <a:gd name="connsiteY281" fmla="*/ 551377 h 1333436"/>
                <a:gd name="connsiteX282" fmla="*/ 0 w 752994"/>
                <a:gd name="connsiteY282" fmla="*/ 550997 h 1333436"/>
                <a:gd name="connsiteX283" fmla="*/ 4900 w 752994"/>
                <a:gd name="connsiteY283" fmla="*/ 531220 h 1333436"/>
                <a:gd name="connsiteX284" fmla="*/ 13873 w 752994"/>
                <a:gd name="connsiteY284" fmla="*/ 520589 h 1333436"/>
                <a:gd name="connsiteX285" fmla="*/ 18369 w 752994"/>
                <a:gd name="connsiteY285" fmla="*/ 516516 h 1333436"/>
                <a:gd name="connsiteX286" fmla="*/ 18773 w 752994"/>
                <a:gd name="connsiteY286" fmla="*/ 514272 h 1333436"/>
                <a:gd name="connsiteX287" fmla="*/ 23077 w 752994"/>
                <a:gd name="connsiteY287" fmla="*/ 506127 h 1333436"/>
                <a:gd name="connsiteX288" fmla="*/ 23884 w 752994"/>
                <a:gd name="connsiteY288" fmla="*/ 502261 h 1333436"/>
                <a:gd name="connsiteX289" fmla="*/ 23692 w 752994"/>
                <a:gd name="connsiteY289" fmla="*/ 496738 h 1333436"/>
                <a:gd name="connsiteX290" fmla="*/ 30013 w 752994"/>
                <a:gd name="connsiteY290" fmla="*/ 486556 h 1333436"/>
                <a:gd name="connsiteX291" fmla="*/ 36546 w 752994"/>
                <a:gd name="connsiteY291" fmla="*/ 470230 h 1333436"/>
                <a:gd name="connsiteX292" fmla="*/ 36546 w 752994"/>
                <a:gd name="connsiteY292" fmla="*/ 462671 h 1333436"/>
                <a:gd name="connsiteX293" fmla="*/ 36335 w 752994"/>
                <a:gd name="connsiteY293" fmla="*/ 461670 h 1333436"/>
                <a:gd name="connsiteX294" fmla="*/ 35931 w 752994"/>
                <a:gd name="connsiteY294" fmla="*/ 453110 h 1333436"/>
                <a:gd name="connsiteX295" fmla="*/ 38583 w 752994"/>
                <a:gd name="connsiteY295" fmla="*/ 442514 h 1333436"/>
                <a:gd name="connsiteX296" fmla="*/ 41043 w 752994"/>
                <a:gd name="connsiteY296" fmla="*/ 436991 h 1333436"/>
                <a:gd name="connsiteX297" fmla="*/ 41650 w 752994"/>
                <a:gd name="connsiteY297" fmla="*/ 437186 h 1333436"/>
                <a:gd name="connsiteX298" fmla="*/ 41239 w 752994"/>
                <a:gd name="connsiteY298" fmla="*/ 436549 h 1333436"/>
                <a:gd name="connsiteX299" fmla="*/ 37778 w 752994"/>
                <a:gd name="connsiteY299" fmla="*/ 433894 h 1333436"/>
                <a:gd name="connsiteX300" fmla="*/ 37169 w 752994"/>
                <a:gd name="connsiteY300" fmla="*/ 432261 h 1333436"/>
                <a:gd name="connsiteX301" fmla="*/ 37365 w 752994"/>
                <a:gd name="connsiteY301" fmla="*/ 429198 h 1333436"/>
                <a:gd name="connsiteX302" fmla="*/ 36756 w 752994"/>
                <a:gd name="connsiteY302" fmla="*/ 422272 h 1333436"/>
                <a:gd name="connsiteX303" fmla="*/ 36952 w 752994"/>
                <a:gd name="connsiteY303" fmla="*/ 418800 h 1333436"/>
                <a:gd name="connsiteX304" fmla="*/ 36756 w 752994"/>
                <a:gd name="connsiteY304" fmla="*/ 412487 h 1333436"/>
                <a:gd name="connsiteX305" fmla="*/ 40433 w 752994"/>
                <a:gd name="connsiteY305" fmla="*/ 406174 h 1333436"/>
                <a:gd name="connsiteX306" fmla="*/ 44720 w 752994"/>
                <a:gd name="connsiteY306" fmla="*/ 399435 h 1333436"/>
                <a:gd name="connsiteX307" fmla="*/ 44110 w 752994"/>
                <a:gd name="connsiteY307" fmla="*/ 389651 h 1333436"/>
                <a:gd name="connsiteX308" fmla="*/ 43894 w 752994"/>
                <a:gd name="connsiteY308" fmla="*/ 378437 h 1333436"/>
                <a:gd name="connsiteX309" fmla="*/ 47158 w 752994"/>
                <a:gd name="connsiteY309" fmla="*/ 371102 h 1333436"/>
                <a:gd name="connsiteX310" fmla="*/ 55731 w 752994"/>
                <a:gd name="connsiteY310" fmla="*/ 360909 h 1333436"/>
                <a:gd name="connsiteX311" fmla="*/ 57580 w 752994"/>
                <a:gd name="connsiteY311" fmla="*/ 355804 h 1333436"/>
                <a:gd name="connsiteX312" fmla="*/ 62673 w 752994"/>
                <a:gd name="connsiteY312" fmla="*/ 349695 h 1333436"/>
                <a:gd name="connsiteX313" fmla="*/ 65937 w 752994"/>
                <a:gd name="connsiteY313" fmla="*/ 348470 h 1333436"/>
                <a:gd name="connsiteX314" fmla="*/ 68395 w 752994"/>
                <a:gd name="connsiteY314" fmla="*/ 348674 h 1333436"/>
                <a:gd name="connsiteX315" fmla="*/ 70224 w 752994"/>
                <a:gd name="connsiteY315" fmla="*/ 347449 h 1333436"/>
                <a:gd name="connsiteX316" fmla="*/ 67785 w 752994"/>
                <a:gd name="connsiteY316" fmla="*/ 345203 h 1333436"/>
                <a:gd name="connsiteX317" fmla="*/ 65524 w 752994"/>
                <a:gd name="connsiteY317" fmla="*/ 343178 h 1333436"/>
                <a:gd name="connsiteX318" fmla="*/ 73095 w 752994"/>
                <a:gd name="connsiteY318" fmla="*/ 333376 h 1333436"/>
                <a:gd name="connsiteX319" fmla="*/ 73291 w 752994"/>
                <a:gd name="connsiteY319" fmla="*/ 333376 h 1333436"/>
                <a:gd name="connsiteX320" fmla="*/ 77991 w 752994"/>
                <a:gd name="connsiteY320" fmla="*/ 325838 h 1333436"/>
                <a:gd name="connsiteX321" fmla="*/ 82671 w 752994"/>
                <a:gd name="connsiteY321" fmla="*/ 313619 h 1333436"/>
                <a:gd name="connsiteX322" fmla="*/ 87980 w 752994"/>
                <a:gd name="connsiteY322" fmla="*/ 303018 h 1333436"/>
                <a:gd name="connsiteX323" fmla="*/ 92267 w 752994"/>
                <a:gd name="connsiteY323" fmla="*/ 291191 h 1333436"/>
                <a:gd name="connsiteX324" fmla="*/ 96553 w 752994"/>
                <a:gd name="connsiteY324" fmla="*/ 281202 h 1333436"/>
                <a:gd name="connsiteX325" fmla="*/ 99621 w 752994"/>
                <a:gd name="connsiteY325" fmla="*/ 274481 h 1333436"/>
                <a:gd name="connsiteX326" fmla="*/ 103082 w 752994"/>
                <a:gd name="connsiteY326" fmla="*/ 262450 h 1333436"/>
                <a:gd name="connsiteX327" fmla="*/ 107172 w 752994"/>
                <a:gd name="connsiteY327" fmla="*/ 254299 h 1333436"/>
                <a:gd name="connsiteX328" fmla="*/ 112481 w 752994"/>
                <a:gd name="connsiteY328" fmla="*/ 243697 h 1333436"/>
                <a:gd name="connsiteX329" fmla="*/ 117181 w 752994"/>
                <a:gd name="connsiteY329" fmla="*/ 232279 h 1333436"/>
                <a:gd name="connsiteX330" fmla="*/ 125951 w 752994"/>
                <a:gd name="connsiteY330" fmla="*/ 217389 h 1333436"/>
                <a:gd name="connsiteX331" fmla="*/ 136156 w 752994"/>
                <a:gd name="connsiteY331" fmla="*/ 202925 h 1333436"/>
                <a:gd name="connsiteX332" fmla="*/ 138811 w 752994"/>
                <a:gd name="connsiteY332" fmla="*/ 183339 h 1333436"/>
                <a:gd name="connsiteX333" fmla="*/ 148801 w 752994"/>
                <a:gd name="connsiteY333" fmla="*/ 167445 h 1333436"/>
                <a:gd name="connsiteX334" fmla="*/ 159616 w 752994"/>
                <a:gd name="connsiteY334" fmla="*/ 170712 h 1333436"/>
                <a:gd name="connsiteX335" fmla="*/ 173105 w 752994"/>
                <a:gd name="connsiteY335" fmla="*/ 175188 h 1333436"/>
                <a:gd name="connsiteX336" fmla="*/ 175347 w 752994"/>
                <a:gd name="connsiteY336" fmla="*/ 175188 h 1333436"/>
                <a:gd name="connsiteX337" fmla="*/ 175347 w 752994"/>
                <a:gd name="connsiteY337" fmla="*/ 173758 h 1333436"/>
                <a:gd name="connsiteX338" fmla="*/ 184975 w 752994"/>
                <a:gd name="connsiteY338" fmla="*/ 187393 h 1333436"/>
                <a:gd name="connsiteX339" fmla="*/ 184762 w 752994"/>
                <a:gd name="connsiteY339" fmla="*/ 184637 h 1333436"/>
                <a:gd name="connsiteX340" fmla="*/ 174971 w 752994"/>
                <a:gd name="connsiteY340" fmla="*/ 170774 h 1333436"/>
                <a:gd name="connsiteX341" fmla="*/ 174971 w 752994"/>
                <a:gd name="connsiteY341" fmla="*/ 169550 h 1333436"/>
                <a:gd name="connsiteX342" fmla="*/ 158851 w 752994"/>
                <a:gd name="connsiteY342" fmla="*/ 156924 h 1333436"/>
                <a:gd name="connsiteX343" fmla="*/ 147025 w 752994"/>
                <a:gd name="connsiteY343" fmla="*/ 145709 h 1333436"/>
                <a:gd name="connsiteX344" fmla="*/ 154364 w 752994"/>
                <a:gd name="connsiteY344" fmla="*/ 136335 h 1333436"/>
                <a:gd name="connsiteX345" fmla="*/ 161511 w 752994"/>
                <a:gd name="connsiteY345" fmla="*/ 131042 h 1333436"/>
                <a:gd name="connsiteX346" fmla="*/ 160902 w 752994"/>
                <a:gd name="connsiteY346" fmla="*/ 128384 h 1333436"/>
                <a:gd name="connsiteX347" fmla="*/ 160277 w 752994"/>
                <a:gd name="connsiteY347" fmla="*/ 127778 h 1333436"/>
                <a:gd name="connsiteX348" fmla="*/ 154973 w 752994"/>
                <a:gd name="connsiteY348" fmla="*/ 122077 h 1333436"/>
                <a:gd name="connsiteX349" fmla="*/ 160277 w 752994"/>
                <a:gd name="connsiteY349" fmla="*/ 115140 h 1333436"/>
                <a:gd name="connsiteX350" fmla="*/ 165181 w 752994"/>
                <a:gd name="connsiteY350" fmla="*/ 108215 h 1333436"/>
                <a:gd name="connsiteX351" fmla="*/ 161303 w 752994"/>
                <a:gd name="connsiteY351" fmla="*/ 104146 h 1333436"/>
                <a:gd name="connsiteX352" fmla="*/ 157842 w 752994"/>
                <a:gd name="connsiteY352" fmla="*/ 104542 h 1333436"/>
                <a:gd name="connsiteX353" fmla="*/ 157024 w 752994"/>
                <a:gd name="connsiteY353" fmla="*/ 102304 h 1333436"/>
                <a:gd name="connsiteX354" fmla="*/ 160694 w 752994"/>
                <a:gd name="connsiteY354" fmla="*/ 55437 h 1333436"/>
                <a:gd name="connsiteX355" fmla="*/ 160486 w 752994"/>
                <a:gd name="connsiteY355" fmla="*/ 31991 h 1333436"/>
                <a:gd name="connsiteX356" fmla="*/ 164972 w 752994"/>
                <a:gd name="connsiteY356" fmla="*/ 18141 h 1333436"/>
                <a:gd name="connsiteX357" fmla="*/ 171911 w 752994"/>
                <a:gd name="connsiteY357" fmla="*/ 11204 h 1333436"/>
                <a:gd name="connsiteX358" fmla="*/ 187406 w 752994"/>
                <a:gd name="connsiteY358" fmla="*/ 21801 h 1333436"/>
                <a:gd name="connsiteX359" fmla="*/ 210866 w 752994"/>
                <a:gd name="connsiteY359" fmla="*/ 37086 h 1333436"/>
                <a:gd name="connsiteX360" fmla="*/ 219230 w 752994"/>
                <a:gd name="connsiteY360" fmla="*/ 41166 h 1333436"/>
                <a:gd name="connsiteX361" fmla="*/ 226778 w 752994"/>
                <a:gd name="connsiteY361" fmla="*/ 47486 h 1333436"/>
                <a:gd name="connsiteX362" fmla="*/ 236152 w 752994"/>
                <a:gd name="connsiteY362" fmla="*/ 52370 h 1333436"/>
                <a:gd name="connsiteX363" fmla="*/ 239629 w 752994"/>
                <a:gd name="connsiteY363" fmla="*/ 58491 h 1333436"/>
                <a:gd name="connsiteX364" fmla="*/ 239629 w 752994"/>
                <a:gd name="connsiteY364" fmla="*/ 63376 h 1333436"/>
                <a:gd name="connsiteX365" fmla="*/ 236568 w 752994"/>
                <a:gd name="connsiteY365" fmla="*/ 67457 h 1333436"/>
                <a:gd name="connsiteX366" fmla="*/ 231264 w 752994"/>
                <a:gd name="connsiteY366" fmla="*/ 69905 h 1333436"/>
                <a:gd name="connsiteX367" fmla="*/ 216778 w 752994"/>
                <a:gd name="connsiteY367" fmla="*/ 82741 h 1333436"/>
                <a:gd name="connsiteX368" fmla="*/ 214134 w 752994"/>
                <a:gd name="connsiteY368" fmla="*/ 93536 h 1333436"/>
                <a:gd name="connsiteX369" fmla="*/ 214535 w 752994"/>
                <a:gd name="connsiteY369" fmla="*/ 96801 h 1333436"/>
                <a:gd name="connsiteX370" fmla="*/ 216378 w 752994"/>
                <a:gd name="connsiteY370" fmla="*/ 96801 h 1333436"/>
                <a:gd name="connsiteX371" fmla="*/ 230046 w 752994"/>
                <a:gd name="connsiteY371" fmla="*/ 85387 h 1333436"/>
                <a:gd name="connsiteX372" fmla="*/ 243298 w 752994"/>
                <a:gd name="connsiteY372" fmla="*/ 75198 h 1333436"/>
                <a:gd name="connsiteX373" fmla="*/ 246760 w 752994"/>
                <a:gd name="connsiteY373" fmla="*/ 77646 h 1333436"/>
                <a:gd name="connsiteX374" fmla="*/ 255541 w 752994"/>
                <a:gd name="connsiteY374" fmla="*/ 63376 h 1333436"/>
                <a:gd name="connsiteX375" fmla="*/ 259611 w 752994"/>
                <a:gd name="connsiteY375" fmla="*/ 43405 h 1333436"/>
                <a:gd name="connsiteX376" fmla="*/ 256967 w 752994"/>
                <a:gd name="connsiteY376" fmla="*/ 38520 h 1333436"/>
                <a:gd name="connsiteX377" fmla="*/ 253906 w 752994"/>
                <a:gd name="connsiteY377" fmla="*/ 34242 h 1333436"/>
                <a:gd name="connsiteX378" fmla="*/ 256967 w 752994"/>
                <a:gd name="connsiteY378" fmla="*/ 30161 h 1333436"/>
                <a:gd name="connsiteX379" fmla="*/ 262063 w 752994"/>
                <a:gd name="connsiteY379" fmla="*/ 27712 h 1333436"/>
                <a:gd name="connsiteX380" fmla="*/ 264915 w 752994"/>
                <a:gd name="connsiteY380" fmla="*/ 23026 h 1333436"/>
                <a:gd name="connsiteX381" fmla="*/ 267976 w 752994"/>
                <a:gd name="connsiteY381" fmla="*/ 22618 h 1333436"/>
                <a:gd name="connsiteX382" fmla="*/ 270427 w 752994"/>
                <a:gd name="connsiteY382" fmla="*/ 20787 h 1333436"/>
                <a:gd name="connsiteX383" fmla="*/ 263088 w 752994"/>
                <a:gd name="connsiteY383" fmla="*/ 13652 h 1333436"/>
                <a:gd name="connsiteX384" fmla="*/ 255541 w 752994"/>
                <a:gd name="connsiteY384" fmla="*/ 3055 h 1333436"/>
                <a:gd name="connsiteX385" fmla="*/ 256358 w 752994"/>
                <a:gd name="connsiteY385" fmla="*/ 1224 h 1333436"/>
                <a:gd name="connsiteX386" fmla="*/ 257159 w 752994"/>
                <a:gd name="connsiteY386"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419292 w 752994"/>
                <a:gd name="connsiteY160" fmla="*/ 953291 h 1333436"/>
                <a:gd name="connsiteX161" fmla="*/ 689408 w 752994"/>
                <a:gd name="connsiteY161" fmla="*/ 945184 h 1333436"/>
                <a:gd name="connsiteX162" fmla="*/ 710622 w 752994"/>
                <a:gd name="connsiteY162" fmla="*/ 948043 h 1333436"/>
                <a:gd name="connsiteX163" fmla="*/ 654533 w 752994"/>
                <a:gd name="connsiteY163" fmla="*/ 1333436 h 1333436"/>
                <a:gd name="connsiteX164" fmla="*/ 546831 w 752994"/>
                <a:gd name="connsiteY164" fmla="*/ 1317126 h 1333436"/>
                <a:gd name="connsiteX165" fmla="*/ 351227 w 752994"/>
                <a:gd name="connsiteY165" fmla="*/ 1194172 h 1333436"/>
                <a:gd name="connsiteX166" fmla="*/ 361011 w 752994"/>
                <a:gd name="connsiteY166" fmla="*/ 1182755 h 1333436"/>
                <a:gd name="connsiteX167" fmla="*/ 368981 w 752994"/>
                <a:gd name="connsiteY167" fmla="*/ 1182130 h 1333436"/>
                <a:gd name="connsiteX168" fmla="*/ 369571 w 752994"/>
                <a:gd name="connsiteY168" fmla="*/ 1181558 h 1333436"/>
                <a:gd name="connsiteX169" fmla="*/ 362372 w 752994"/>
                <a:gd name="connsiteY169" fmla="*/ 1182120 h 1333436"/>
                <a:gd name="connsiteX170" fmla="*/ 229464 w 752994"/>
                <a:gd name="connsiteY170" fmla="*/ 1161721 h 1333436"/>
                <a:gd name="connsiteX171" fmla="*/ 227427 w 752994"/>
                <a:gd name="connsiteY171" fmla="*/ 1157269 h 1333436"/>
                <a:gd name="connsiteX172" fmla="*/ 224967 w 752994"/>
                <a:gd name="connsiteY172" fmla="*/ 1152575 h 1333436"/>
                <a:gd name="connsiteX173" fmla="*/ 225582 w 752994"/>
                <a:gd name="connsiteY173" fmla="*/ 1144808 h 1333436"/>
                <a:gd name="connsiteX174" fmla="*/ 227215 w 752994"/>
                <a:gd name="connsiteY174" fmla="*/ 1135834 h 1333436"/>
                <a:gd name="connsiteX175" fmla="*/ 227215 w 752994"/>
                <a:gd name="connsiteY175" fmla="*/ 1134212 h 1333436"/>
                <a:gd name="connsiteX176" fmla="*/ 225179 w 752994"/>
                <a:gd name="connsiteY176" fmla="*/ 1114020 h 1333436"/>
                <a:gd name="connsiteX177" fmla="*/ 217839 w 752994"/>
                <a:gd name="connsiteY177" fmla="*/ 1100352 h 1333436"/>
                <a:gd name="connsiteX178" fmla="*/ 199661 w 752994"/>
                <a:gd name="connsiteY178" fmla="*/ 1076502 h 1333436"/>
                <a:gd name="connsiteX179" fmla="*/ 196395 w 752994"/>
                <a:gd name="connsiteY179" fmla="*/ 1071807 h 1333436"/>
                <a:gd name="connsiteX180" fmla="*/ 190880 w 752994"/>
                <a:gd name="connsiteY180" fmla="*/ 1067527 h 1333436"/>
                <a:gd name="connsiteX181" fmla="*/ 187210 w 752994"/>
                <a:gd name="connsiteY181" fmla="*/ 1068735 h 1333436"/>
                <a:gd name="connsiteX182" fmla="*/ 180062 w 752994"/>
                <a:gd name="connsiteY182" fmla="*/ 1066699 h 1333436"/>
                <a:gd name="connsiteX183" fmla="*/ 180466 w 752994"/>
                <a:gd name="connsiteY183" fmla="*/ 1053031 h 1333436"/>
                <a:gd name="connsiteX184" fmla="*/ 180062 w 752994"/>
                <a:gd name="connsiteY184" fmla="*/ 1045299 h 1333436"/>
                <a:gd name="connsiteX185" fmla="*/ 174144 w 752994"/>
                <a:gd name="connsiteY185" fmla="*/ 1044057 h 1333436"/>
                <a:gd name="connsiteX186" fmla="*/ 158426 w 752994"/>
                <a:gd name="connsiteY186" fmla="*/ 1042641 h 1333436"/>
                <a:gd name="connsiteX187" fmla="*/ 149857 w 752994"/>
                <a:gd name="connsiteY187" fmla="*/ 1035497 h 1333436"/>
                <a:gd name="connsiteX188" fmla="*/ 142497 w 752994"/>
                <a:gd name="connsiteY188" fmla="*/ 1028766 h 1333436"/>
                <a:gd name="connsiteX189" fmla="*/ 140864 w 752994"/>
                <a:gd name="connsiteY189" fmla="*/ 1020620 h 1333436"/>
                <a:gd name="connsiteX190" fmla="*/ 138212 w 752994"/>
                <a:gd name="connsiteY190" fmla="*/ 1013061 h 1333436"/>
                <a:gd name="connsiteX191" fmla="*/ 131064 w 752994"/>
                <a:gd name="connsiteY191" fmla="*/ 1007159 h 1333436"/>
                <a:gd name="connsiteX192" fmla="*/ 121264 w 752994"/>
                <a:gd name="connsiteY192" fmla="*/ 1005330 h 1333436"/>
                <a:gd name="connsiteX193" fmla="*/ 112483 w 752994"/>
                <a:gd name="connsiteY193" fmla="*/ 1001671 h 1333436"/>
                <a:gd name="connsiteX194" fmla="*/ 105950 w 752994"/>
                <a:gd name="connsiteY194" fmla="*/ 995734 h 1333436"/>
                <a:gd name="connsiteX195" fmla="*/ 97380 w 752994"/>
                <a:gd name="connsiteY195" fmla="*/ 994526 h 1333436"/>
                <a:gd name="connsiteX196" fmla="*/ 87984 w 752994"/>
                <a:gd name="connsiteY196" fmla="*/ 991040 h 1333436"/>
                <a:gd name="connsiteX197" fmla="*/ 80029 w 752994"/>
                <a:gd name="connsiteY197" fmla="*/ 985138 h 1333436"/>
                <a:gd name="connsiteX198" fmla="*/ 77166 w 752994"/>
                <a:gd name="connsiteY198" fmla="*/ 976164 h 1333436"/>
                <a:gd name="connsiteX199" fmla="*/ 79203 w 752994"/>
                <a:gd name="connsiteY199" fmla="*/ 970676 h 1333436"/>
                <a:gd name="connsiteX200" fmla="*/ 82470 w 752994"/>
                <a:gd name="connsiteY200" fmla="*/ 963117 h 1333436"/>
                <a:gd name="connsiteX201" fmla="*/ 84314 w 752994"/>
                <a:gd name="connsiteY201" fmla="*/ 954557 h 1333436"/>
                <a:gd name="connsiteX202" fmla="*/ 86351 w 752994"/>
                <a:gd name="connsiteY202" fmla="*/ 948033 h 1333436"/>
                <a:gd name="connsiteX203" fmla="*/ 86159 w 752994"/>
                <a:gd name="connsiteY203" fmla="*/ 942925 h 1333436"/>
                <a:gd name="connsiteX204" fmla="*/ 83085 w 752994"/>
                <a:gd name="connsiteY204" fmla="*/ 939853 h 1333436"/>
                <a:gd name="connsiteX205" fmla="*/ 77570 w 752994"/>
                <a:gd name="connsiteY205" fmla="*/ 937437 h 1333436"/>
                <a:gd name="connsiteX206" fmla="*/ 76763 w 752994"/>
                <a:gd name="connsiteY206" fmla="*/ 931915 h 1333436"/>
                <a:gd name="connsiteX207" fmla="*/ 78800 w 752994"/>
                <a:gd name="connsiteY207" fmla="*/ 927013 h 1333436"/>
                <a:gd name="connsiteX208" fmla="*/ 79626 w 752994"/>
                <a:gd name="connsiteY208" fmla="*/ 922526 h 1333436"/>
                <a:gd name="connsiteX209" fmla="*/ 77781 w 752994"/>
                <a:gd name="connsiteY209" fmla="*/ 919903 h 1333436"/>
                <a:gd name="connsiteX210" fmla="*/ 74303 w 752994"/>
                <a:gd name="connsiteY210" fmla="*/ 917418 h 1333436"/>
                <a:gd name="connsiteX211" fmla="*/ 71863 w 752994"/>
                <a:gd name="connsiteY211" fmla="*/ 915174 h 1333436"/>
                <a:gd name="connsiteX212" fmla="*/ 71652 w 752994"/>
                <a:gd name="connsiteY212" fmla="*/ 910894 h 1333436"/>
                <a:gd name="connsiteX213" fmla="*/ 70633 w 752994"/>
                <a:gd name="connsiteY213" fmla="*/ 906614 h 1333436"/>
                <a:gd name="connsiteX214" fmla="*/ 68385 w 752994"/>
                <a:gd name="connsiteY214" fmla="*/ 902749 h 1333436"/>
                <a:gd name="connsiteX215" fmla="*/ 61045 w 752994"/>
                <a:gd name="connsiteY215" fmla="*/ 889494 h 1333436"/>
                <a:gd name="connsiteX216" fmla="*/ 57971 w 752994"/>
                <a:gd name="connsiteY216" fmla="*/ 875619 h 1333436"/>
                <a:gd name="connsiteX217" fmla="*/ 52264 w 752994"/>
                <a:gd name="connsiteY217" fmla="*/ 862572 h 1333436"/>
                <a:gd name="connsiteX218" fmla="*/ 44309 w 752994"/>
                <a:gd name="connsiteY218" fmla="*/ 850561 h 1333436"/>
                <a:gd name="connsiteX219" fmla="*/ 45520 w 752994"/>
                <a:gd name="connsiteY219" fmla="*/ 827090 h 1333436"/>
                <a:gd name="connsiteX220" fmla="*/ 53071 w 752994"/>
                <a:gd name="connsiteY220" fmla="*/ 822396 h 1333436"/>
                <a:gd name="connsiteX221" fmla="*/ 57375 w 752994"/>
                <a:gd name="connsiteY221" fmla="*/ 816493 h 1333436"/>
                <a:gd name="connsiteX222" fmla="*/ 55319 w 752994"/>
                <a:gd name="connsiteY222" fmla="*/ 801617 h 1333436"/>
                <a:gd name="connsiteX223" fmla="*/ 48383 w 752994"/>
                <a:gd name="connsiteY223" fmla="*/ 802204 h 1333436"/>
                <a:gd name="connsiteX224" fmla="*/ 40428 w 752994"/>
                <a:gd name="connsiteY224" fmla="*/ 797924 h 1333436"/>
                <a:gd name="connsiteX225" fmla="*/ 37565 w 752994"/>
                <a:gd name="connsiteY225" fmla="*/ 790606 h 1333436"/>
                <a:gd name="connsiteX226" fmla="*/ 37565 w 752994"/>
                <a:gd name="connsiteY226" fmla="*/ 790399 h 1333436"/>
                <a:gd name="connsiteX227" fmla="*/ 35931 w 752994"/>
                <a:gd name="connsiteY227" fmla="*/ 785912 h 1333436"/>
                <a:gd name="connsiteX228" fmla="*/ 34510 w 752994"/>
                <a:gd name="connsiteY228" fmla="*/ 780597 h 1333436"/>
                <a:gd name="connsiteX229" fmla="*/ 36335 w 752994"/>
                <a:gd name="connsiteY229" fmla="*/ 774280 h 1333436"/>
                <a:gd name="connsiteX230" fmla="*/ 38180 w 752994"/>
                <a:gd name="connsiteY230" fmla="*/ 766721 h 1333436"/>
                <a:gd name="connsiteX231" fmla="*/ 37161 w 752994"/>
                <a:gd name="connsiteY231" fmla="*/ 760405 h 1333436"/>
                <a:gd name="connsiteX232" fmla="*/ 35720 w 752994"/>
                <a:gd name="connsiteY232" fmla="*/ 754710 h 1333436"/>
                <a:gd name="connsiteX233" fmla="*/ 36546 w 752994"/>
                <a:gd name="connsiteY233" fmla="*/ 748773 h 1333436"/>
                <a:gd name="connsiteX234" fmla="*/ 38372 w 752994"/>
                <a:gd name="connsiteY234" fmla="*/ 744528 h 1333436"/>
                <a:gd name="connsiteX235" fmla="*/ 41638 w 752994"/>
                <a:gd name="connsiteY235" fmla="*/ 744321 h 1333436"/>
                <a:gd name="connsiteX236" fmla="*/ 44713 w 752994"/>
                <a:gd name="connsiteY236" fmla="*/ 746357 h 1333436"/>
                <a:gd name="connsiteX237" fmla="*/ 47364 w 752994"/>
                <a:gd name="connsiteY237" fmla="*/ 753260 h 1333436"/>
                <a:gd name="connsiteX238" fmla="*/ 55742 w 752994"/>
                <a:gd name="connsiteY238" fmla="*/ 764305 h 1333436"/>
                <a:gd name="connsiteX239" fmla="*/ 56338 w 752994"/>
                <a:gd name="connsiteY239" fmla="*/ 761233 h 1333436"/>
                <a:gd name="connsiteX240" fmla="*/ 56145 w 752994"/>
                <a:gd name="connsiteY240" fmla="*/ 757368 h 1333436"/>
                <a:gd name="connsiteX241" fmla="*/ 54916 w 752994"/>
                <a:gd name="connsiteY241" fmla="*/ 748601 h 1333436"/>
                <a:gd name="connsiteX242" fmla="*/ 52879 w 752994"/>
                <a:gd name="connsiteY242" fmla="*/ 747358 h 1333436"/>
                <a:gd name="connsiteX243" fmla="*/ 51649 w 752994"/>
                <a:gd name="connsiteY243" fmla="*/ 745322 h 1333436"/>
                <a:gd name="connsiteX244" fmla="*/ 51649 w 752994"/>
                <a:gd name="connsiteY244" fmla="*/ 739212 h 1333436"/>
                <a:gd name="connsiteX245" fmla="*/ 50227 w 752994"/>
                <a:gd name="connsiteY245" fmla="*/ 734725 h 1333436"/>
                <a:gd name="connsiteX246" fmla="*/ 48786 w 752994"/>
                <a:gd name="connsiteY246" fmla="*/ 731446 h 1333436"/>
                <a:gd name="connsiteX247" fmla="*/ 54512 w 752994"/>
                <a:gd name="connsiteY247" fmla="*/ 726372 h 1333436"/>
                <a:gd name="connsiteX248" fmla="*/ 59815 w 752994"/>
                <a:gd name="connsiteY248" fmla="*/ 725130 h 1333436"/>
                <a:gd name="connsiteX249" fmla="*/ 58182 w 752994"/>
                <a:gd name="connsiteY249" fmla="*/ 722886 h 1333436"/>
                <a:gd name="connsiteX250" fmla="*/ 51861 w 752994"/>
                <a:gd name="connsiteY250" fmla="*/ 717985 h 1333436"/>
                <a:gd name="connsiteX251" fmla="*/ 46749 w 752994"/>
                <a:gd name="connsiteY251" fmla="*/ 729617 h 1333436"/>
                <a:gd name="connsiteX252" fmla="*/ 40831 w 752994"/>
                <a:gd name="connsiteY252" fmla="*/ 739212 h 1333436"/>
                <a:gd name="connsiteX253" fmla="*/ 39601 w 752994"/>
                <a:gd name="connsiteY253" fmla="*/ 738798 h 1333436"/>
                <a:gd name="connsiteX254" fmla="*/ 39409 w 752994"/>
                <a:gd name="connsiteY254" fmla="*/ 738591 h 1333436"/>
                <a:gd name="connsiteX255" fmla="*/ 37161 w 752994"/>
                <a:gd name="connsiteY255" fmla="*/ 734725 h 1333436"/>
                <a:gd name="connsiteX256" fmla="*/ 32665 w 752994"/>
                <a:gd name="connsiteY256" fmla="*/ 727788 h 1333436"/>
                <a:gd name="connsiteX257" fmla="*/ 26747 w 752994"/>
                <a:gd name="connsiteY257" fmla="*/ 719435 h 1333436"/>
                <a:gd name="connsiteX258" fmla="*/ 23884 w 752994"/>
                <a:gd name="connsiteY258" fmla="*/ 717812 h 1333436"/>
                <a:gd name="connsiteX259" fmla="*/ 24710 w 752994"/>
                <a:gd name="connsiteY259" fmla="*/ 709632 h 1333436"/>
                <a:gd name="connsiteX260" fmla="*/ 27554 w 752994"/>
                <a:gd name="connsiteY260" fmla="*/ 701694 h 1333436"/>
                <a:gd name="connsiteX261" fmla="*/ 24902 w 752994"/>
                <a:gd name="connsiteY261" fmla="*/ 696171 h 1333436"/>
                <a:gd name="connsiteX262" fmla="*/ 24095 w 752994"/>
                <a:gd name="connsiteY262" fmla="*/ 687818 h 1333436"/>
                <a:gd name="connsiteX263" fmla="*/ 22462 w 752994"/>
                <a:gd name="connsiteY263" fmla="*/ 682330 h 1333436"/>
                <a:gd name="connsiteX264" fmla="*/ 17159 w 752994"/>
                <a:gd name="connsiteY264" fmla="*/ 677636 h 1333436"/>
                <a:gd name="connsiteX265" fmla="*/ 14296 w 752994"/>
                <a:gd name="connsiteY265" fmla="*/ 671492 h 1333436"/>
                <a:gd name="connsiteX266" fmla="*/ 12451 w 752994"/>
                <a:gd name="connsiteY266" fmla="*/ 665797 h 1333436"/>
                <a:gd name="connsiteX267" fmla="*/ 5111 w 752994"/>
                <a:gd name="connsiteY267" fmla="*/ 654994 h 1333436"/>
                <a:gd name="connsiteX268" fmla="*/ 2248 w 752994"/>
                <a:gd name="connsiteY268" fmla="*/ 645605 h 1333436"/>
                <a:gd name="connsiteX269" fmla="*/ 4496 w 752994"/>
                <a:gd name="connsiteY269" fmla="*/ 640497 h 1333436"/>
                <a:gd name="connsiteX270" fmla="*/ 6744 w 752994"/>
                <a:gd name="connsiteY270" fmla="*/ 632765 h 1333436"/>
                <a:gd name="connsiteX271" fmla="*/ 6744 w 752994"/>
                <a:gd name="connsiteY271" fmla="*/ 628485 h 1333436"/>
                <a:gd name="connsiteX272" fmla="*/ 6533 w 752994"/>
                <a:gd name="connsiteY272" fmla="*/ 620305 h 1333436"/>
                <a:gd name="connsiteX273" fmla="*/ 7359 w 752994"/>
                <a:gd name="connsiteY273" fmla="*/ 611745 h 1333436"/>
                <a:gd name="connsiteX274" fmla="*/ 11836 w 752994"/>
                <a:gd name="connsiteY274" fmla="*/ 602978 h 1333436"/>
                <a:gd name="connsiteX275" fmla="*/ 15103 w 752994"/>
                <a:gd name="connsiteY275" fmla="*/ 591760 h 1333436"/>
                <a:gd name="connsiteX276" fmla="*/ 14488 w 752994"/>
                <a:gd name="connsiteY276" fmla="*/ 584029 h 1333436"/>
                <a:gd name="connsiteX277" fmla="*/ 13873 w 752994"/>
                <a:gd name="connsiteY277" fmla="*/ 578299 h 1333436"/>
                <a:gd name="connsiteX278" fmla="*/ 10626 w 752994"/>
                <a:gd name="connsiteY278" fmla="*/ 568531 h 1333436"/>
                <a:gd name="connsiteX279" fmla="*/ 3670 w 752994"/>
                <a:gd name="connsiteY279" fmla="*/ 558107 h 1333436"/>
                <a:gd name="connsiteX280" fmla="*/ 0 w 752994"/>
                <a:gd name="connsiteY280" fmla="*/ 551377 h 1333436"/>
                <a:gd name="connsiteX281" fmla="*/ 0 w 752994"/>
                <a:gd name="connsiteY281" fmla="*/ 550997 h 1333436"/>
                <a:gd name="connsiteX282" fmla="*/ 4900 w 752994"/>
                <a:gd name="connsiteY282" fmla="*/ 531220 h 1333436"/>
                <a:gd name="connsiteX283" fmla="*/ 13873 w 752994"/>
                <a:gd name="connsiteY283" fmla="*/ 520589 h 1333436"/>
                <a:gd name="connsiteX284" fmla="*/ 18369 w 752994"/>
                <a:gd name="connsiteY284" fmla="*/ 516516 h 1333436"/>
                <a:gd name="connsiteX285" fmla="*/ 18773 w 752994"/>
                <a:gd name="connsiteY285" fmla="*/ 514272 h 1333436"/>
                <a:gd name="connsiteX286" fmla="*/ 23077 w 752994"/>
                <a:gd name="connsiteY286" fmla="*/ 506127 h 1333436"/>
                <a:gd name="connsiteX287" fmla="*/ 23884 w 752994"/>
                <a:gd name="connsiteY287" fmla="*/ 502261 h 1333436"/>
                <a:gd name="connsiteX288" fmla="*/ 23692 w 752994"/>
                <a:gd name="connsiteY288" fmla="*/ 496738 h 1333436"/>
                <a:gd name="connsiteX289" fmla="*/ 30013 w 752994"/>
                <a:gd name="connsiteY289" fmla="*/ 486556 h 1333436"/>
                <a:gd name="connsiteX290" fmla="*/ 36546 w 752994"/>
                <a:gd name="connsiteY290" fmla="*/ 470230 h 1333436"/>
                <a:gd name="connsiteX291" fmla="*/ 36546 w 752994"/>
                <a:gd name="connsiteY291" fmla="*/ 462671 h 1333436"/>
                <a:gd name="connsiteX292" fmla="*/ 36335 w 752994"/>
                <a:gd name="connsiteY292" fmla="*/ 461670 h 1333436"/>
                <a:gd name="connsiteX293" fmla="*/ 35931 w 752994"/>
                <a:gd name="connsiteY293" fmla="*/ 453110 h 1333436"/>
                <a:gd name="connsiteX294" fmla="*/ 38583 w 752994"/>
                <a:gd name="connsiteY294" fmla="*/ 442514 h 1333436"/>
                <a:gd name="connsiteX295" fmla="*/ 41043 w 752994"/>
                <a:gd name="connsiteY295" fmla="*/ 436991 h 1333436"/>
                <a:gd name="connsiteX296" fmla="*/ 41650 w 752994"/>
                <a:gd name="connsiteY296" fmla="*/ 437186 h 1333436"/>
                <a:gd name="connsiteX297" fmla="*/ 41239 w 752994"/>
                <a:gd name="connsiteY297" fmla="*/ 436549 h 1333436"/>
                <a:gd name="connsiteX298" fmla="*/ 37778 w 752994"/>
                <a:gd name="connsiteY298" fmla="*/ 433894 h 1333436"/>
                <a:gd name="connsiteX299" fmla="*/ 37169 w 752994"/>
                <a:gd name="connsiteY299" fmla="*/ 432261 h 1333436"/>
                <a:gd name="connsiteX300" fmla="*/ 37365 w 752994"/>
                <a:gd name="connsiteY300" fmla="*/ 429198 h 1333436"/>
                <a:gd name="connsiteX301" fmla="*/ 36756 w 752994"/>
                <a:gd name="connsiteY301" fmla="*/ 422272 h 1333436"/>
                <a:gd name="connsiteX302" fmla="*/ 36952 w 752994"/>
                <a:gd name="connsiteY302" fmla="*/ 418800 h 1333436"/>
                <a:gd name="connsiteX303" fmla="*/ 36756 w 752994"/>
                <a:gd name="connsiteY303" fmla="*/ 412487 h 1333436"/>
                <a:gd name="connsiteX304" fmla="*/ 40433 w 752994"/>
                <a:gd name="connsiteY304" fmla="*/ 406174 h 1333436"/>
                <a:gd name="connsiteX305" fmla="*/ 44720 w 752994"/>
                <a:gd name="connsiteY305" fmla="*/ 399435 h 1333436"/>
                <a:gd name="connsiteX306" fmla="*/ 44110 w 752994"/>
                <a:gd name="connsiteY306" fmla="*/ 389651 h 1333436"/>
                <a:gd name="connsiteX307" fmla="*/ 43894 w 752994"/>
                <a:gd name="connsiteY307" fmla="*/ 378437 h 1333436"/>
                <a:gd name="connsiteX308" fmla="*/ 47158 w 752994"/>
                <a:gd name="connsiteY308" fmla="*/ 371102 h 1333436"/>
                <a:gd name="connsiteX309" fmla="*/ 55731 w 752994"/>
                <a:gd name="connsiteY309" fmla="*/ 360909 h 1333436"/>
                <a:gd name="connsiteX310" fmla="*/ 57580 w 752994"/>
                <a:gd name="connsiteY310" fmla="*/ 355804 h 1333436"/>
                <a:gd name="connsiteX311" fmla="*/ 62673 w 752994"/>
                <a:gd name="connsiteY311" fmla="*/ 349695 h 1333436"/>
                <a:gd name="connsiteX312" fmla="*/ 65937 w 752994"/>
                <a:gd name="connsiteY312" fmla="*/ 348470 h 1333436"/>
                <a:gd name="connsiteX313" fmla="*/ 68395 w 752994"/>
                <a:gd name="connsiteY313" fmla="*/ 348674 h 1333436"/>
                <a:gd name="connsiteX314" fmla="*/ 70224 w 752994"/>
                <a:gd name="connsiteY314" fmla="*/ 347449 h 1333436"/>
                <a:gd name="connsiteX315" fmla="*/ 67785 w 752994"/>
                <a:gd name="connsiteY315" fmla="*/ 345203 h 1333436"/>
                <a:gd name="connsiteX316" fmla="*/ 65524 w 752994"/>
                <a:gd name="connsiteY316" fmla="*/ 343178 h 1333436"/>
                <a:gd name="connsiteX317" fmla="*/ 73095 w 752994"/>
                <a:gd name="connsiteY317" fmla="*/ 333376 h 1333436"/>
                <a:gd name="connsiteX318" fmla="*/ 73291 w 752994"/>
                <a:gd name="connsiteY318" fmla="*/ 333376 h 1333436"/>
                <a:gd name="connsiteX319" fmla="*/ 77991 w 752994"/>
                <a:gd name="connsiteY319" fmla="*/ 325838 h 1333436"/>
                <a:gd name="connsiteX320" fmla="*/ 82671 w 752994"/>
                <a:gd name="connsiteY320" fmla="*/ 313619 h 1333436"/>
                <a:gd name="connsiteX321" fmla="*/ 87980 w 752994"/>
                <a:gd name="connsiteY321" fmla="*/ 303018 h 1333436"/>
                <a:gd name="connsiteX322" fmla="*/ 92267 w 752994"/>
                <a:gd name="connsiteY322" fmla="*/ 291191 h 1333436"/>
                <a:gd name="connsiteX323" fmla="*/ 96553 w 752994"/>
                <a:gd name="connsiteY323" fmla="*/ 281202 h 1333436"/>
                <a:gd name="connsiteX324" fmla="*/ 99621 w 752994"/>
                <a:gd name="connsiteY324" fmla="*/ 274481 h 1333436"/>
                <a:gd name="connsiteX325" fmla="*/ 103082 w 752994"/>
                <a:gd name="connsiteY325" fmla="*/ 262450 h 1333436"/>
                <a:gd name="connsiteX326" fmla="*/ 107172 w 752994"/>
                <a:gd name="connsiteY326" fmla="*/ 254299 h 1333436"/>
                <a:gd name="connsiteX327" fmla="*/ 112481 w 752994"/>
                <a:gd name="connsiteY327" fmla="*/ 243697 h 1333436"/>
                <a:gd name="connsiteX328" fmla="*/ 117181 w 752994"/>
                <a:gd name="connsiteY328" fmla="*/ 232279 h 1333436"/>
                <a:gd name="connsiteX329" fmla="*/ 125951 w 752994"/>
                <a:gd name="connsiteY329" fmla="*/ 217389 h 1333436"/>
                <a:gd name="connsiteX330" fmla="*/ 136156 w 752994"/>
                <a:gd name="connsiteY330" fmla="*/ 202925 h 1333436"/>
                <a:gd name="connsiteX331" fmla="*/ 138811 w 752994"/>
                <a:gd name="connsiteY331" fmla="*/ 183339 h 1333436"/>
                <a:gd name="connsiteX332" fmla="*/ 148801 w 752994"/>
                <a:gd name="connsiteY332" fmla="*/ 167445 h 1333436"/>
                <a:gd name="connsiteX333" fmla="*/ 159616 w 752994"/>
                <a:gd name="connsiteY333" fmla="*/ 170712 h 1333436"/>
                <a:gd name="connsiteX334" fmla="*/ 173105 w 752994"/>
                <a:gd name="connsiteY334" fmla="*/ 175188 h 1333436"/>
                <a:gd name="connsiteX335" fmla="*/ 175347 w 752994"/>
                <a:gd name="connsiteY335" fmla="*/ 175188 h 1333436"/>
                <a:gd name="connsiteX336" fmla="*/ 175347 w 752994"/>
                <a:gd name="connsiteY336" fmla="*/ 173758 h 1333436"/>
                <a:gd name="connsiteX337" fmla="*/ 184975 w 752994"/>
                <a:gd name="connsiteY337" fmla="*/ 187393 h 1333436"/>
                <a:gd name="connsiteX338" fmla="*/ 184762 w 752994"/>
                <a:gd name="connsiteY338" fmla="*/ 184637 h 1333436"/>
                <a:gd name="connsiteX339" fmla="*/ 174971 w 752994"/>
                <a:gd name="connsiteY339" fmla="*/ 170774 h 1333436"/>
                <a:gd name="connsiteX340" fmla="*/ 174971 w 752994"/>
                <a:gd name="connsiteY340" fmla="*/ 169550 h 1333436"/>
                <a:gd name="connsiteX341" fmla="*/ 158851 w 752994"/>
                <a:gd name="connsiteY341" fmla="*/ 156924 h 1333436"/>
                <a:gd name="connsiteX342" fmla="*/ 147025 w 752994"/>
                <a:gd name="connsiteY342" fmla="*/ 145709 h 1333436"/>
                <a:gd name="connsiteX343" fmla="*/ 154364 w 752994"/>
                <a:gd name="connsiteY343" fmla="*/ 136335 h 1333436"/>
                <a:gd name="connsiteX344" fmla="*/ 161511 w 752994"/>
                <a:gd name="connsiteY344" fmla="*/ 131042 h 1333436"/>
                <a:gd name="connsiteX345" fmla="*/ 160902 w 752994"/>
                <a:gd name="connsiteY345" fmla="*/ 128384 h 1333436"/>
                <a:gd name="connsiteX346" fmla="*/ 160277 w 752994"/>
                <a:gd name="connsiteY346" fmla="*/ 127778 h 1333436"/>
                <a:gd name="connsiteX347" fmla="*/ 154973 w 752994"/>
                <a:gd name="connsiteY347" fmla="*/ 122077 h 1333436"/>
                <a:gd name="connsiteX348" fmla="*/ 160277 w 752994"/>
                <a:gd name="connsiteY348" fmla="*/ 115140 h 1333436"/>
                <a:gd name="connsiteX349" fmla="*/ 165181 w 752994"/>
                <a:gd name="connsiteY349" fmla="*/ 108215 h 1333436"/>
                <a:gd name="connsiteX350" fmla="*/ 161303 w 752994"/>
                <a:gd name="connsiteY350" fmla="*/ 104146 h 1333436"/>
                <a:gd name="connsiteX351" fmla="*/ 157842 w 752994"/>
                <a:gd name="connsiteY351" fmla="*/ 104542 h 1333436"/>
                <a:gd name="connsiteX352" fmla="*/ 157024 w 752994"/>
                <a:gd name="connsiteY352" fmla="*/ 102304 h 1333436"/>
                <a:gd name="connsiteX353" fmla="*/ 160694 w 752994"/>
                <a:gd name="connsiteY353" fmla="*/ 55437 h 1333436"/>
                <a:gd name="connsiteX354" fmla="*/ 160486 w 752994"/>
                <a:gd name="connsiteY354" fmla="*/ 31991 h 1333436"/>
                <a:gd name="connsiteX355" fmla="*/ 164972 w 752994"/>
                <a:gd name="connsiteY355" fmla="*/ 18141 h 1333436"/>
                <a:gd name="connsiteX356" fmla="*/ 171911 w 752994"/>
                <a:gd name="connsiteY356" fmla="*/ 11204 h 1333436"/>
                <a:gd name="connsiteX357" fmla="*/ 187406 w 752994"/>
                <a:gd name="connsiteY357" fmla="*/ 21801 h 1333436"/>
                <a:gd name="connsiteX358" fmla="*/ 210866 w 752994"/>
                <a:gd name="connsiteY358" fmla="*/ 37086 h 1333436"/>
                <a:gd name="connsiteX359" fmla="*/ 219230 w 752994"/>
                <a:gd name="connsiteY359" fmla="*/ 41166 h 1333436"/>
                <a:gd name="connsiteX360" fmla="*/ 226778 w 752994"/>
                <a:gd name="connsiteY360" fmla="*/ 47486 h 1333436"/>
                <a:gd name="connsiteX361" fmla="*/ 236152 w 752994"/>
                <a:gd name="connsiteY361" fmla="*/ 52370 h 1333436"/>
                <a:gd name="connsiteX362" fmla="*/ 239629 w 752994"/>
                <a:gd name="connsiteY362" fmla="*/ 58491 h 1333436"/>
                <a:gd name="connsiteX363" fmla="*/ 239629 w 752994"/>
                <a:gd name="connsiteY363" fmla="*/ 63376 h 1333436"/>
                <a:gd name="connsiteX364" fmla="*/ 236568 w 752994"/>
                <a:gd name="connsiteY364" fmla="*/ 67457 h 1333436"/>
                <a:gd name="connsiteX365" fmla="*/ 231264 w 752994"/>
                <a:gd name="connsiteY365" fmla="*/ 69905 h 1333436"/>
                <a:gd name="connsiteX366" fmla="*/ 216778 w 752994"/>
                <a:gd name="connsiteY366" fmla="*/ 82741 h 1333436"/>
                <a:gd name="connsiteX367" fmla="*/ 214134 w 752994"/>
                <a:gd name="connsiteY367" fmla="*/ 93536 h 1333436"/>
                <a:gd name="connsiteX368" fmla="*/ 214535 w 752994"/>
                <a:gd name="connsiteY368" fmla="*/ 96801 h 1333436"/>
                <a:gd name="connsiteX369" fmla="*/ 216378 w 752994"/>
                <a:gd name="connsiteY369" fmla="*/ 96801 h 1333436"/>
                <a:gd name="connsiteX370" fmla="*/ 230046 w 752994"/>
                <a:gd name="connsiteY370" fmla="*/ 85387 h 1333436"/>
                <a:gd name="connsiteX371" fmla="*/ 243298 w 752994"/>
                <a:gd name="connsiteY371" fmla="*/ 75198 h 1333436"/>
                <a:gd name="connsiteX372" fmla="*/ 246760 w 752994"/>
                <a:gd name="connsiteY372" fmla="*/ 77646 h 1333436"/>
                <a:gd name="connsiteX373" fmla="*/ 255541 w 752994"/>
                <a:gd name="connsiteY373" fmla="*/ 63376 h 1333436"/>
                <a:gd name="connsiteX374" fmla="*/ 259611 w 752994"/>
                <a:gd name="connsiteY374" fmla="*/ 43405 h 1333436"/>
                <a:gd name="connsiteX375" fmla="*/ 256967 w 752994"/>
                <a:gd name="connsiteY375" fmla="*/ 38520 h 1333436"/>
                <a:gd name="connsiteX376" fmla="*/ 253906 w 752994"/>
                <a:gd name="connsiteY376" fmla="*/ 34242 h 1333436"/>
                <a:gd name="connsiteX377" fmla="*/ 256967 w 752994"/>
                <a:gd name="connsiteY377" fmla="*/ 30161 h 1333436"/>
                <a:gd name="connsiteX378" fmla="*/ 262063 w 752994"/>
                <a:gd name="connsiteY378" fmla="*/ 27712 h 1333436"/>
                <a:gd name="connsiteX379" fmla="*/ 264915 w 752994"/>
                <a:gd name="connsiteY379" fmla="*/ 23026 h 1333436"/>
                <a:gd name="connsiteX380" fmla="*/ 267976 w 752994"/>
                <a:gd name="connsiteY380" fmla="*/ 22618 h 1333436"/>
                <a:gd name="connsiteX381" fmla="*/ 270427 w 752994"/>
                <a:gd name="connsiteY381" fmla="*/ 20787 h 1333436"/>
                <a:gd name="connsiteX382" fmla="*/ 263088 w 752994"/>
                <a:gd name="connsiteY382" fmla="*/ 13652 h 1333436"/>
                <a:gd name="connsiteX383" fmla="*/ 255541 w 752994"/>
                <a:gd name="connsiteY383" fmla="*/ 3055 h 1333436"/>
                <a:gd name="connsiteX384" fmla="*/ 256358 w 752994"/>
                <a:gd name="connsiteY384" fmla="*/ 1224 h 1333436"/>
                <a:gd name="connsiteX385" fmla="*/ 257159 w 752994"/>
                <a:gd name="connsiteY385"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425610 w 752994"/>
                <a:gd name="connsiteY159" fmla="*/ 955532 h 1333436"/>
                <a:gd name="connsiteX160" fmla="*/ 689408 w 752994"/>
                <a:gd name="connsiteY160" fmla="*/ 945184 h 1333436"/>
                <a:gd name="connsiteX161" fmla="*/ 710622 w 752994"/>
                <a:gd name="connsiteY161" fmla="*/ 948043 h 1333436"/>
                <a:gd name="connsiteX162" fmla="*/ 654533 w 752994"/>
                <a:gd name="connsiteY162" fmla="*/ 1333436 h 1333436"/>
                <a:gd name="connsiteX163" fmla="*/ 546831 w 752994"/>
                <a:gd name="connsiteY163" fmla="*/ 1317126 h 1333436"/>
                <a:gd name="connsiteX164" fmla="*/ 351227 w 752994"/>
                <a:gd name="connsiteY164" fmla="*/ 1194172 h 1333436"/>
                <a:gd name="connsiteX165" fmla="*/ 361011 w 752994"/>
                <a:gd name="connsiteY165" fmla="*/ 1182755 h 1333436"/>
                <a:gd name="connsiteX166" fmla="*/ 368981 w 752994"/>
                <a:gd name="connsiteY166" fmla="*/ 1182130 h 1333436"/>
                <a:gd name="connsiteX167" fmla="*/ 369571 w 752994"/>
                <a:gd name="connsiteY167" fmla="*/ 1181558 h 1333436"/>
                <a:gd name="connsiteX168" fmla="*/ 362372 w 752994"/>
                <a:gd name="connsiteY168" fmla="*/ 1182120 h 1333436"/>
                <a:gd name="connsiteX169" fmla="*/ 229464 w 752994"/>
                <a:gd name="connsiteY169" fmla="*/ 1161721 h 1333436"/>
                <a:gd name="connsiteX170" fmla="*/ 227427 w 752994"/>
                <a:gd name="connsiteY170" fmla="*/ 1157269 h 1333436"/>
                <a:gd name="connsiteX171" fmla="*/ 224967 w 752994"/>
                <a:gd name="connsiteY171" fmla="*/ 1152575 h 1333436"/>
                <a:gd name="connsiteX172" fmla="*/ 225582 w 752994"/>
                <a:gd name="connsiteY172" fmla="*/ 1144808 h 1333436"/>
                <a:gd name="connsiteX173" fmla="*/ 227215 w 752994"/>
                <a:gd name="connsiteY173" fmla="*/ 1135834 h 1333436"/>
                <a:gd name="connsiteX174" fmla="*/ 227215 w 752994"/>
                <a:gd name="connsiteY174" fmla="*/ 1134212 h 1333436"/>
                <a:gd name="connsiteX175" fmla="*/ 225179 w 752994"/>
                <a:gd name="connsiteY175" fmla="*/ 1114020 h 1333436"/>
                <a:gd name="connsiteX176" fmla="*/ 217839 w 752994"/>
                <a:gd name="connsiteY176" fmla="*/ 1100352 h 1333436"/>
                <a:gd name="connsiteX177" fmla="*/ 199661 w 752994"/>
                <a:gd name="connsiteY177" fmla="*/ 1076502 h 1333436"/>
                <a:gd name="connsiteX178" fmla="*/ 196395 w 752994"/>
                <a:gd name="connsiteY178" fmla="*/ 1071807 h 1333436"/>
                <a:gd name="connsiteX179" fmla="*/ 190880 w 752994"/>
                <a:gd name="connsiteY179" fmla="*/ 1067527 h 1333436"/>
                <a:gd name="connsiteX180" fmla="*/ 187210 w 752994"/>
                <a:gd name="connsiteY180" fmla="*/ 1068735 h 1333436"/>
                <a:gd name="connsiteX181" fmla="*/ 180062 w 752994"/>
                <a:gd name="connsiteY181" fmla="*/ 1066699 h 1333436"/>
                <a:gd name="connsiteX182" fmla="*/ 180466 w 752994"/>
                <a:gd name="connsiteY182" fmla="*/ 1053031 h 1333436"/>
                <a:gd name="connsiteX183" fmla="*/ 180062 w 752994"/>
                <a:gd name="connsiteY183" fmla="*/ 1045299 h 1333436"/>
                <a:gd name="connsiteX184" fmla="*/ 174144 w 752994"/>
                <a:gd name="connsiteY184" fmla="*/ 1044057 h 1333436"/>
                <a:gd name="connsiteX185" fmla="*/ 158426 w 752994"/>
                <a:gd name="connsiteY185" fmla="*/ 1042641 h 1333436"/>
                <a:gd name="connsiteX186" fmla="*/ 149857 w 752994"/>
                <a:gd name="connsiteY186" fmla="*/ 1035497 h 1333436"/>
                <a:gd name="connsiteX187" fmla="*/ 142497 w 752994"/>
                <a:gd name="connsiteY187" fmla="*/ 1028766 h 1333436"/>
                <a:gd name="connsiteX188" fmla="*/ 140864 w 752994"/>
                <a:gd name="connsiteY188" fmla="*/ 1020620 h 1333436"/>
                <a:gd name="connsiteX189" fmla="*/ 138212 w 752994"/>
                <a:gd name="connsiteY189" fmla="*/ 1013061 h 1333436"/>
                <a:gd name="connsiteX190" fmla="*/ 131064 w 752994"/>
                <a:gd name="connsiteY190" fmla="*/ 1007159 h 1333436"/>
                <a:gd name="connsiteX191" fmla="*/ 121264 w 752994"/>
                <a:gd name="connsiteY191" fmla="*/ 1005330 h 1333436"/>
                <a:gd name="connsiteX192" fmla="*/ 112483 w 752994"/>
                <a:gd name="connsiteY192" fmla="*/ 1001671 h 1333436"/>
                <a:gd name="connsiteX193" fmla="*/ 105950 w 752994"/>
                <a:gd name="connsiteY193" fmla="*/ 995734 h 1333436"/>
                <a:gd name="connsiteX194" fmla="*/ 97380 w 752994"/>
                <a:gd name="connsiteY194" fmla="*/ 994526 h 1333436"/>
                <a:gd name="connsiteX195" fmla="*/ 87984 w 752994"/>
                <a:gd name="connsiteY195" fmla="*/ 991040 h 1333436"/>
                <a:gd name="connsiteX196" fmla="*/ 80029 w 752994"/>
                <a:gd name="connsiteY196" fmla="*/ 985138 h 1333436"/>
                <a:gd name="connsiteX197" fmla="*/ 77166 w 752994"/>
                <a:gd name="connsiteY197" fmla="*/ 976164 h 1333436"/>
                <a:gd name="connsiteX198" fmla="*/ 79203 w 752994"/>
                <a:gd name="connsiteY198" fmla="*/ 970676 h 1333436"/>
                <a:gd name="connsiteX199" fmla="*/ 82470 w 752994"/>
                <a:gd name="connsiteY199" fmla="*/ 963117 h 1333436"/>
                <a:gd name="connsiteX200" fmla="*/ 84314 w 752994"/>
                <a:gd name="connsiteY200" fmla="*/ 954557 h 1333436"/>
                <a:gd name="connsiteX201" fmla="*/ 86351 w 752994"/>
                <a:gd name="connsiteY201" fmla="*/ 948033 h 1333436"/>
                <a:gd name="connsiteX202" fmla="*/ 86159 w 752994"/>
                <a:gd name="connsiteY202" fmla="*/ 942925 h 1333436"/>
                <a:gd name="connsiteX203" fmla="*/ 83085 w 752994"/>
                <a:gd name="connsiteY203" fmla="*/ 939853 h 1333436"/>
                <a:gd name="connsiteX204" fmla="*/ 77570 w 752994"/>
                <a:gd name="connsiteY204" fmla="*/ 937437 h 1333436"/>
                <a:gd name="connsiteX205" fmla="*/ 76763 w 752994"/>
                <a:gd name="connsiteY205" fmla="*/ 931915 h 1333436"/>
                <a:gd name="connsiteX206" fmla="*/ 78800 w 752994"/>
                <a:gd name="connsiteY206" fmla="*/ 927013 h 1333436"/>
                <a:gd name="connsiteX207" fmla="*/ 79626 w 752994"/>
                <a:gd name="connsiteY207" fmla="*/ 922526 h 1333436"/>
                <a:gd name="connsiteX208" fmla="*/ 77781 w 752994"/>
                <a:gd name="connsiteY208" fmla="*/ 919903 h 1333436"/>
                <a:gd name="connsiteX209" fmla="*/ 74303 w 752994"/>
                <a:gd name="connsiteY209" fmla="*/ 917418 h 1333436"/>
                <a:gd name="connsiteX210" fmla="*/ 71863 w 752994"/>
                <a:gd name="connsiteY210" fmla="*/ 915174 h 1333436"/>
                <a:gd name="connsiteX211" fmla="*/ 71652 w 752994"/>
                <a:gd name="connsiteY211" fmla="*/ 910894 h 1333436"/>
                <a:gd name="connsiteX212" fmla="*/ 70633 w 752994"/>
                <a:gd name="connsiteY212" fmla="*/ 906614 h 1333436"/>
                <a:gd name="connsiteX213" fmla="*/ 68385 w 752994"/>
                <a:gd name="connsiteY213" fmla="*/ 902749 h 1333436"/>
                <a:gd name="connsiteX214" fmla="*/ 61045 w 752994"/>
                <a:gd name="connsiteY214" fmla="*/ 889494 h 1333436"/>
                <a:gd name="connsiteX215" fmla="*/ 57971 w 752994"/>
                <a:gd name="connsiteY215" fmla="*/ 875619 h 1333436"/>
                <a:gd name="connsiteX216" fmla="*/ 52264 w 752994"/>
                <a:gd name="connsiteY216" fmla="*/ 862572 h 1333436"/>
                <a:gd name="connsiteX217" fmla="*/ 44309 w 752994"/>
                <a:gd name="connsiteY217" fmla="*/ 850561 h 1333436"/>
                <a:gd name="connsiteX218" fmla="*/ 45520 w 752994"/>
                <a:gd name="connsiteY218" fmla="*/ 827090 h 1333436"/>
                <a:gd name="connsiteX219" fmla="*/ 53071 w 752994"/>
                <a:gd name="connsiteY219" fmla="*/ 822396 h 1333436"/>
                <a:gd name="connsiteX220" fmla="*/ 57375 w 752994"/>
                <a:gd name="connsiteY220" fmla="*/ 816493 h 1333436"/>
                <a:gd name="connsiteX221" fmla="*/ 55319 w 752994"/>
                <a:gd name="connsiteY221" fmla="*/ 801617 h 1333436"/>
                <a:gd name="connsiteX222" fmla="*/ 48383 w 752994"/>
                <a:gd name="connsiteY222" fmla="*/ 802204 h 1333436"/>
                <a:gd name="connsiteX223" fmla="*/ 40428 w 752994"/>
                <a:gd name="connsiteY223" fmla="*/ 797924 h 1333436"/>
                <a:gd name="connsiteX224" fmla="*/ 37565 w 752994"/>
                <a:gd name="connsiteY224" fmla="*/ 790606 h 1333436"/>
                <a:gd name="connsiteX225" fmla="*/ 37565 w 752994"/>
                <a:gd name="connsiteY225" fmla="*/ 790399 h 1333436"/>
                <a:gd name="connsiteX226" fmla="*/ 35931 w 752994"/>
                <a:gd name="connsiteY226" fmla="*/ 785912 h 1333436"/>
                <a:gd name="connsiteX227" fmla="*/ 34510 w 752994"/>
                <a:gd name="connsiteY227" fmla="*/ 780597 h 1333436"/>
                <a:gd name="connsiteX228" fmla="*/ 36335 w 752994"/>
                <a:gd name="connsiteY228" fmla="*/ 774280 h 1333436"/>
                <a:gd name="connsiteX229" fmla="*/ 38180 w 752994"/>
                <a:gd name="connsiteY229" fmla="*/ 766721 h 1333436"/>
                <a:gd name="connsiteX230" fmla="*/ 37161 w 752994"/>
                <a:gd name="connsiteY230" fmla="*/ 760405 h 1333436"/>
                <a:gd name="connsiteX231" fmla="*/ 35720 w 752994"/>
                <a:gd name="connsiteY231" fmla="*/ 754710 h 1333436"/>
                <a:gd name="connsiteX232" fmla="*/ 36546 w 752994"/>
                <a:gd name="connsiteY232" fmla="*/ 748773 h 1333436"/>
                <a:gd name="connsiteX233" fmla="*/ 38372 w 752994"/>
                <a:gd name="connsiteY233" fmla="*/ 744528 h 1333436"/>
                <a:gd name="connsiteX234" fmla="*/ 41638 w 752994"/>
                <a:gd name="connsiteY234" fmla="*/ 744321 h 1333436"/>
                <a:gd name="connsiteX235" fmla="*/ 44713 w 752994"/>
                <a:gd name="connsiteY235" fmla="*/ 746357 h 1333436"/>
                <a:gd name="connsiteX236" fmla="*/ 47364 w 752994"/>
                <a:gd name="connsiteY236" fmla="*/ 753260 h 1333436"/>
                <a:gd name="connsiteX237" fmla="*/ 55742 w 752994"/>
                <a:gd name="connsiteY237" fmla="*/ 764305 h 1333436"/>
                <a:gd name="connsiteX238" fmla="*/ 56338 w 752994"/>
                <a:gd name="connsiteY238" fmla="*/ 761233 h 1333436"/>
                <a:gd name="connsiteX239" fmla="*/ 56145 w 752994"/>
                <a:gd name="connsiteY239" fmla="*/ 757368 h 1333436"/>
                <a:gd name="connsiteX240" fmla="*/ 54916 w 752994"/>
                <a:gd name="connsiteY240" fmla="*/ 748601 h 1333436"/>
                <a:gd name="connsiteX241" fmla="*/ 52879 w 752994"/>
                <a:gd name="connsiteY241" fmla="*/ 747358 h 1333436"/>
                <a:gd name="connsiteX242" fmla="*/ 51649 w 752994"/>
                <a:gd name="connsiteY242" fmla="*/ 745322 h 1333436"/>
                <a:gd name="connsiteX243" fmla="*/ 51649 w 752994"/>
                <a:gd name="connsiteY243" fmla="*/ 739212 h 1333436"/>
                <a:gd name="connsiteX244" fmla="*/ 50227 w 752994"/>
                <a:gd name="connsiteY244" fmla="*/ 734725 h 1333436"/>
                <a:gd name="connsiteX245" fmla="*/ 48786 w 752994"/>
                <a:gd name="connsiteY245" fmla="*/ 731446 h 1333436"/>
                <a:gd name="connsiteX246" fmla="*/ 54512 w 752994"/>
                <a:gd name="connsiteY246" fmla="*/ 726372 h 1333436"/>
                <a:gd name="connsiteX247" fmla="*/ 59815 w 752994"/>
                <a:gd name="connsiteY247" fmla="*/ 725130 h 1333436"/>
                <a:gd name="connsiteX248" fmla="*/ 58182 w 752994"/>
                <a:gd name="connsiteY248" fmla="*/ 722886 h 1333436"/>
                <a:gd name="connsiteX249" fmla="*/ 51861 w 752994"/>
                <a:gd name="connsiteY249" fmla="*/ 717985 h 1333436"/>
                <a:gd name="connsiteX250" fmla="*/ 46749 w 752994"/>
                <a:gd name="connsiteY250" fmla="*/ 729617 h 1333436"/>
                <a:gd name="connsiteX251" fmla="*/ 40831 w 752994"/>
                <a:gd name="connsiteY251" fmla="*/ 739212 h 1333436"/>
                <a:gd name="connsiteX252" fmla="*/ 39601 w 752994"/>
                <a:gd name="connsiteY252" fmla="*/ 738798 h 1333436"/>
                <a:gd name="connsiteX253" fmla="*/ 39409 w 752994"/>
                <a:gd name="connsiteY253" fmla="*/ 738591 h 1333436"/>
                <a:gd name="connsiteX254" fmla="*/ 37161 w 752994"/>
                <a:gd name="connsiteY254" fmla="*/ 734725 h 1333436"/>
                <a:gd name="connsiteX255" fmla="*/ 32665 w 752994"/>
                <a:gd name="connsiteY255" fmla="*/ 727788 h 1333436"/>
                <a:gd name="connsiteX256" fmla="*/ 26747 w 752994"/>
                <a:gd name="connsiteY256" fmla="*/ 719435 h 1333436"/>
                <a:gd name="connsiteX257" fmla="*/ 23884 w 752994"/>
                <a:gd name="connsiteY257" fmla="*/ 717812 h 1333436"/>
                <a:gd name="connsiteX258" fmla="*/ 24710 w 752994"/>
                <a:gd name="connsiteY258" fmla="*/ 709632 h 1333436"/>
                <a:gd name="connsiteX259" fmla="*/ 27554 w 752994"/>
                <a:gd name="connsiteY259" fmla="*/ 701694 h 1333436"/>
                <a:gd name="connsiteX260" fmla="*/ 24902 w 752994"/>
                <a:gd name="connsiteY260" fmla="*/ 696171 h 1333436"/>
                <a:gd name="connsiteX261" fmla="*/ 24095 w 752994"/>
                <a:gd name="connsiteY261" fmla="*/ 687818 h 1333436"/>
                <a:gd name="connsiteX262" fmla="*/ 22462 w 752994"/>
                <a:gd name="connsiteY262" fmla="*/ 682330 h 1333436"/>
                <a:gd name="connsiteX263" fmla="*/ 17159 w 752994"/>
                <a:gd name="connsiteY263" fmla="*/ 677636 h 1333436"/>
                <a:gd name="connsiteX264" fmla="*/ 14296 w 752994"/>
                <a:gd name="connsiteY264" fmla="*/ 671492 h 1333436"/>
                <a:gd name="connsiteX265" fmla="*/ 12451 w 752994"/>
                <a:gd name="connsiteY265" fmla="*/ 665797 h 1333436"/>
                <a:gd name="connsiteX266" fmla="*/ 5111 w 752994"/>
                <a:gd name="connsiteY266" fmla="*/ 654994 h 1333436"/>
                <a:gd name="connsiteX267" fmla="*/ 2248 w 752994"/>
                <a:gd name="connsiteY267" fmla="*/ 645605 h 1333436"/>
                <a:gd name="connsiteX268" fmla="*/ 4496 w 752994"/>
                <a:gd name="connsiteY268" fmla="*/ 640497 h 1333436"/>
                <a:gd name="connsiteX269" fmla="*/ 6744 w 752994"/>
                <a:gd name="connsiteY269" fmla="*/ 632765 h 1333436"/>
                <a:gd name="connsiteX270" fmla="*/ 6744 w 752994"/>
                <a:gd name="connsiteY270" fmla="*/ 628485 h 1333436"/>
                <a:gd name="connsiteX271" fmla="*/ 6533 w 752994"/>
                <a:gd name="connsiteY271" fmla="*/ 620305 h 1333436"/>
                <a:gd name="connsiteX272" fmla="*/ 7359 w 752994"/>
                <a:gd name="connsiteY272" fmla="*/ 611745 h 1333436"/>
                <a:gd name="connsiteX273" fmla="*/ 11836 w 752994"/>
                <a:gd name="connsiteY273" fmla="*/ 602978 h 1333436"/>
                <a:gd name="connsiteX274" fmla="*/ 15103 w 752994"/>
                <a:gd name="connsiteY274" fmla="*/ 591760 h 1333436"/>
                <a:gd name="connsiteX275" fmla="*/ 14488 w 752994"/>
                <a:gd name="connsiteY275" fmla="*/ 584029 h 1333436"/>
                <a:gd name="connsiteX276" fmla="*/ 13873 w 752994"/>
                <a:gd name="connsiteY276" fmla="*/ 578299 h 1333436"/>
                <a:gd name="connsiteX277" fmla="*/ 10626 w 752994"/>
                <a:gd name="connsiteY277" fmla="*/ 568531 h 1333436"/>
                <a:gd name="connsiteX278" fmla="*/ 3670 w 752994"/>
                <a:gd name="connsiteY278" fmla="*/ 558107 h 1333436"/>
                <a:gd name="connsiteX279" fmla="*/ 0 w 752994"/>
                <a:gd name="connsiteY279" fmla="*/ 551377 h 1333436"/>
                <a:gd name="connsiteX280" fmla="*/ 0 w 752994"/>
                <a:gd name="connsiteY280" fmla="*/ 550997 h 1333436"/>
                <a:gd name="connsiteX281" fmla="*/ 4900 w 752994"/>
                <a:gd name="connsiteY281" fmla="*/ 531220 h 1333436"/>
                <a:gd name="connsiteX282" fmla="*/ 13873 w 752994"/>
                <a:gd name="connsiteY282" fmla="*/ 520589 h 1333436"/>
                <a:gd name="connsiteX283" fmla="*/ 18369 w 752994"/>
                <a:gd name="connsiteY283" fmla="*/ 516516 h 1333436"/>
                <a:gd name="connsiteX284" fmla="*/ 18773 w 752994"/>
                <a:gd name="connsiteY284" fmla="*/ 514272 h 1333436"/>
                <a:gd name="connsiteX285" fmla="*/ 23077 w 752994"/>
                <a:gd name="connsiteY285" fmla="*/ 506127 h 1333436"/>
                <a:gd name="connsiteX286" fmla="*/ 23884 w 752994"/>
                <a:gd name="connsiteY286" fmla="*/ 502261 h 1333436"/>
                <a:gd name="connsiteX287" fmla="*/ 23692 w 752994"/>
                <a:gd name="connsiteY287" fmla="*/ 496738 h 1333436"/>
                <a:gd name="connsiteX288" fmla="*/ 30013 w 752994"/>
                <a:gd name="connsiteY288" fmla="*/ 486556 h 1333436"/>
                <a:gd name="connsiteX289" fmla="*/ 36546 w 752994"/>
                <a:gd name="connsiteY289" fmla="*/ 470230 h 1333436"/>
                <a:gd name="connsiteX290" fmla="*/ 36546 w 752994"/>
                <a:gd name="connsiteY290" fmla="*/ 462671 h 1333436"/>
                <a:gd name="connsiteX291" fmla="*/ 36335 w 752994"/>
                <a:gd name="connsiteY291" fmla="*/ 461670 h 1333436"/>
                <a:gd name="connsiteX292" fmla="*/ 35931 w 752994"/>
                <a:gd name="connsiteY292" fmla="*/ 453110 h 1333436"/>
                <a:gd name="connsiteX293" fmla="*/ 38583 w 752994"/>
                <a:gd name="connsiteY293" fmla="*/ 442514 h 1333436"/>
                <a:gd name="connsiteX294" fmla="*/ 41043 w 752994"/>
                <a:gd name="connsiteY294" fmla="*/ 436991 h 1333436"/>
                <a:gd name="connsiteX295" fmla="*/ 41650 w 752994"/>
                <a:gd name="connsiteY295" fmla="*/ 437186 h 1333436"/>
                <a:gd name="connsiteX296" fmla="*/ 41239 w 752994"/>
                <a:gd name="connsiteY296" fmla="*/ 436549 h 1333436"/>
                <a:gd name="connsiteX297" fmla="*/ 37778 w 752994"/>
                <a:gd name="connsiteY297" fmla="*/ 433894 h 1333436"/>
                <a:gd name="connsiteX298" fmla="*/ 37169 w 752994"/>
                <a:gd name="connsiteY298" fmla="*/ 432261 h 1333436"/>
                <a:gd name="connsiteX299" fmla="*/ 37365 w 752994"/>
                <a:gd name="connsiteY299" fmla="*/ 429198 h 1333436"/>
                <a:gd name="connsiteX300" fmla="*/ 36756 w 752994"/>
                <a:gd name="connsiteY300" fmla="*/ 422272 h 1333436"/>
                <a:gd name="connsiteX301" fmla="*/ 36952 w 752994"/>
                <a:gd name="connsiteY301" fmla="*/ 418800 h 1333436"/>
                <a:gd name="connsiteX302" fmla="*/ 36756 w 752994"/>
                <a:gd name="connsiteY302" fmla="*/ 412487 h 1333436"/>
                <a:gd name="connsiteX303" fmla="*/ 40433 w 752994"/>
                <a:gd name="connsiteY303" fmla="*/ 406174 h 1333436"/>
                <a:gd name="connsiteX304" fmla="*/ 44720 w 752994"/>
                <a:gd name="connsiteY304" fmla="*/ 399435 h 1333436"/>
                <a:gd name="connsiteX305" fmla="*/ 44110 w 752994"/>
                <a:gd name="connsiteY305" fmla="*/ 389651 h 1333436"/>
                <a:gd name="connsiteX306" fmla="*/ 43894 w 752994"/>
                <a:gd name="connsiteY306" fmla="*/ 378437 h 1333436"/>
                <a:gd name="connsiteX307" fmla="*/ 47158 w 752994"/>
                <a:gd name="connsiteY307" fmla="*/ 371102 h 1333436"/>
                <a:gd name="connsiteX308" fmla="*/ 55731 w 752994"/>
                <a:gd name="connsiteY308" fmla="*/ 360909 h 1333436"/>
                <a:gd name="connsiteX309" fmla="*/ 57580 w 752994"/>
                <a:gd name="connsiteY309" fmla="*/ 355804 h 1333436"/>
                <a:gd name="connsiteX310" fmla="*/ 62673 w 752994"/>
                <a:gd name="connsiteY310" fmla="*/ 349695 h 1333436"/>
                <a:gd name="connsiteX311" fmla="*/ 65937 w 752994"/>
                <a:gd name="connsiteY311" fmla="*/ 348470 h 1333436"/>
                <a:gd name="connsiteX312" fmla="*/ 68395 w 752994"/>
                <a:gd name="connsiteY312" fmla="*/ 348674 h 1333436"/>
                <a:gd name="connsiteX313" fmla="*/ 70224 w 752994"/>
                <a:gd name="connsiteY313" fmla="*/ 347449 h 1333436"/>
                <a:gd name="connsiteX314" fmla="*/ 67785 w 752994"/>
                <a:gd name="connsiteY314" fmla="*/ 345203 h 1333436"/>
                <a:gd name="connsiteX315" fmla="*/ 65524 w 752994"/>
                <a:gd name="connsiteY315" fmla="*/ 343178 h 1333436"/>
                <a:gd name="connsiteX316" fmla="*/ 73095 w 752994"/>
                <a:gd name="connsiteY316" fmla="*/ 333376 h 1333436"/>
                <a:gd name="connsiteX317" fmla="*/ 73291 w 752994"/>
                <a:gd name="connsiteY317" fmla="*/ 333376 h 1333436"/>
                <a:gd name="connsiteX318" fmla="*/ 77991 w 752994"/>
                <a:gd name="connsiteY318" fmla="*/ 325838 h 1333436"/>
                <a:gd name="connsiteX319" fmla="*/ 82671 w 752994"/>
                <a:gd name="connsiteY319" fmla="*/ 313619 h 1333436"/>
                <a:gd name="connsiteX320" fmla="*/ 87980 w 752994"/>
                <a:gd name="connsiteY320" fmla="*/ 303018 h 1333436"/>
                <a:gd name="connsiteX321" fmla="*/ 92267 w 752994"/>
                <a:gd name="connsiteY321" fmla="*/ 291191 h 1333436"/>
                <a:gd name="connsiteX322" fmla="*/ 96553 w 752994"/>
                <a:gd name="connsiteY322" fmla="*/ 281202 h 1333436"/>
                <a:gd name="connsiteX323" fmla="*/ 99621 w 752994"/>
                <a:gd name="connsiteY323" fmla="*/ 274481 h 1333436"/>
                <a:gd name="connsiteX324" fmla="*/ 103082 w 752994"/>
                <a:gd name="connsiteY324" fmla="*/ 262450 h 1333436"/>
                <a:gd name="connsiteX325" fmla="*/ 107172 w 752994"/>
                <a:gd name="connsiteY325" fmla="*/ 254299 h 1333436"/>
                <a:gd name="connsiteX326" fmla="*/ 112481 w 752994"/>
                <a:gd name="connsiteY326" fmla="*/ 243697 h 1333436"/>
                <a:gd name="connsiteX327" fmla="*/ 117181 w 752994"/>
                <a:gd name="connsiteY327" fmla="*/ 232279 h 1333436"/>
                <a:gd name="connsiteX328" fmla="*/ 125951 w 752994"/>
                <a:gd name="connsiteY328" fmla="*/ 217389 h 1333436"/>
                <a:gd name="connsiteX329" fmla="*/ 136156 w 752994"/>
                <a:gd name="connsiteY329" fmla="*/ 202925 h 1333436"/>
                <a:gd name="connsiteX330" fmla="*/ 138811 w 752994"/>
                <a:gd name="connsiteY330" fmla="*/ 183339 h 1333436"/>
                <a:gd name="connsiteX331" fmla="*/ 148801 w 752994"/>
                <a:gd name="connsiteY331" fmla="*/ 167445 h 1333436"/>
                <a:gd name="connsiteX332" fmla="*/ 159616 w 752994"/>
                <a:gd name="connsiteY332" fmla="*/ 170712 h 1333436"/>
                <a:gd name="connsiteX333" fmla="*/ 173105 w 752994"/>
                <a:gd name="connsiteY333" fmla="*/ 175188 h 1333436"/>
                <a:gd name="connsiteX334" fmla="*/ 175347 w 752994"/>
                <a:gd name="connsiteY334" fmla="*/ 175188 h 1333436"/>
                <a:gd name="connsiteX335" fmla="*/ 175347 w 752994"/>
                <a:gd name="connsiteY335" fmla="*/ 173758 h 1333436"/>
                <a:gd name="connsiteX336" fmla="*/ 184975 w 752994"/>
                <a:gd name="connsiteY336" fmla="*/ 187393 h 1333436"/>
                <a:gd name="connsiteX337" fmla="*/ 184762 w 752994"/>
                <a:gd name="connsiteY337" fmla="*/ 184637 h 1333436"/>
                <a:gd name="connsiteX338" fmla="*/ 174971 w 752994"/>
                <a:gd name="connsiteY338" fmla="*/ 170774 h 1333436"/>
                <a:gd name="connsiteX339" fmla="*/ 174971 w 752994"/>
                <a:gd name="connsiteY339" fmla="*/ 169550 h 1333436"/>
                <a:gd name="connsiteX340" fmla="*/ 158851 w 752994"/>
                <a:gd name="connsiteY340" fmla="*/ 156924 h 1333436"/>
                <a:gd name="connsiteX341" fmla="*/ 147025 w 752994"/>
                <a:gd name="connsiteY341" fmla="*/ 145709 h 1333436"/>
                <a:gd name="connsiteX342" fmla="*/ 154364 w 752994"/>
                <a:gd name="connsiteY342" fmla="*/ 136335 h 1333436"/>
                <a:gd name="connsiteX343" fmla="*/ 161511 w 752994"/>
                <a:gd name="connsiteY343" fmla="*/ 131042 h 1333436"/>
                <a:gd name="connsiteX344" fmla="*/ 160902 w 752994"/>
                <a:gd name="connsiteY344" fmla="*/ 128384 h 1333436"/>
                <a:gd name="connsiteX345" fmla="*/ 160277 w 752994"/>
                <a:gd name="connsiteY345" fmla="*/ 127778 h 1333436"/>
                <a:gd name="connsiteX346" fmla="*/ 154973 w 752994"/>
                <a:gd name="connsiteY346" fmla="*/ 122077 h 1333436"/>
                <a:gd name="connsiteX347" fmla="*/ 160277 w 752994"/>
                <a:gd name="connsiteY347" fmla="*/ 115140 h 1333436"/>
                <a:gd name="connsiteX348" fmla="*/ 165181 w 752994"/>
                <a:gd name="connsiteY348" fmla="*/ 108215 h 1333436"/>
                <a:gd name="connsiteX349" fmla="*/ 161303 w 752994"/>
                <a:gd name="connsiteY349" fmla="*/ 104146 h 1333436"/>
                <a:gd name="connsiteX350" fmla="*/ 157842 w 752994"/>
                <a:gd name="connsiteY350" fmla="*/ 104542 h 1333436"/>
                <a:gd name="connsiteX351" fmla="*/ 157024 w 752994"/>
                <a:gd name="connsiteY351" fmla="*/ 102304 h 1333436"/>
                <a:gd name="connsiteX352" fmla="*/ 160694 w 752994"/>
                <a:gd name="connsiteY352" fmla="*/ 55437 h 1333436"/>
                <a:gd name="connsiteX353" fmla="*/ 160486 w 752994"/>
                <a:gd name="connsiteY353" fmla="*/ 31991 h 1333436"/>
                <a:gd name="connsiteX354" fmla="*/ 164972 w 752994"/>
                <a:gd name="connsiteY354" fmla="*/ 18141 h 1333436"/>
                <a:gd name="connsiteX355" fmla="*/ 171911 w 752994"/>
                <a:gd name="connsiteY355" fmla="*/ 11204 h 1333436"/>
                <a:gd name="connsiteX356" fmla="*/ 187406 w 752994"/>
                <a:gd name="connsiteY356" fmla="*/ 21801 h 1333436"/>
                <a:gd name="connsiteX357" fmla="*/ 210866 w 752994"/>
                <a:gd name="connsiteY357" fmla="*/ 37086 h 1333436"/>
                <a:gd name="connsiteX358" fmla="*/ 219230 w 752994"/>
                <a:gd name="connsiteY358" fmla="*/ 41166 h 1333436"/>
                <a:gd name="connsiteX359" fmla="*/ 226778 w 752994"/>
                <a:gd name="connsiteY359" fmla="*/ 47486 h 1333436"/>
                <a:gd name="connsiteX360" fmla="*/ 236152 w 752994"/>
                <a:gd name="connsiteY360" fmla="*/ 52370 h 1333436"/>
                <a:gd name="connsiteX361" fmla="*/ 239629 w 752994"/>
                <a:gd name="connsiteY361" fmla="*/ 58491 h 1333436"/>
                <a:gd name="connsiteX362" fmla="*/ 239629 w 752994"/>
                <a:gd name="connsiteY362" fmla="*/ 63376 h 1333436"/>
                <a:gd name="connsiteX363" fmla="*/ 236568 w 752994"/>
                <a:gd name="connsiteY363" fmla="*/ 67457 h 1333436"/>
                <a:gd name="connsiteX364" fmla="*/ 231264 w 752994"/>
                <a:gd name="connsiteY364" fmla="*/ 69905 h 1333436"/>
                <a:gd name="connsiteX365" fmla="*/ 216778 w 752994"/>
                <a:gd name="connsiteY365" fmla="*/ 82741 h 1333436"/>
                <a:gd name="connsiteX366" fmla="*/ 214134 w 752994"/>
                <a:gd name="connsiteY366" fmla="*/ 93536 h 1333436"/>
                <a:gd name="connsiteX367" fmla="*/ 214535 w 752994"/>
                <a:gd name="connsiteY367" fmla="*/ 96801 h 1333436"/>
                <a:gd name="connsiteX368" fmla="*/ 216378 w 752994"/>
                <a:gd name="connsiteY368" fmla="*/ 96801 h 1333436"/>
                <a:gd name="connsiteX369" fmla="*/ 230046 w 752994"/>
                <a:gd name="connsiteY369" fmla="*/ 85387 h 1333436"/>
                <a:gd name="connsiteX370" fmla="*/ 243298 w 752994"/>
                <a:gd name="connsiteY370" fmla="*/ 75198 h 1333436"/>
                <a:gd name="connsiteX371" fmla="*/ 246760 w 752994"/>
                <a:gd name="connsiteY371" fmla="*/ 77646 h 1333436"/>
                <a:gd name="connsiteX372" fmla="*/ 255541 w 752994"/>
                <a:gd name="connsiteY372" fmla="*/ 63376 h 1333436"/>
                <a:gd name="connsiteX373" fmla="*/ 259611 w 752994"/>
                <a:gd name="connsiteY373" fmla="*/ 43405 h 1333436"/>
                <a:gd name="connsiteX374" fmla="*/ 256967 w 752994"/>
                <a:gd name="connsiteY374" fmla="*/ 38520 h 1333436"/>
                <a:gd name="connsiteX375" fmla="*/ 253906 w 752994"/>
                <a:gd name="connsiteY375" fmla="*/ 34242 h 1333436"/>
                <a:gd name="connsiteX376" fmla="*/ 256967 w 752994"/>
                <a:gd name="connsiteY376" fmla="*/ 30161 h 1333436"/>
                <a:gd name="connsiteX377" fmla="*/ 262063 w 752994"/>
                <a:gd name="connsiteY377" fmla="*/ 27712 h 1333436"/>
                <a:gd name="connsiteX378" fmla="*/ 264915 w 752994"/>
                <a:gd name="connsiteY378" fmla="*/ 23026 h 1333436"/>
                <a:gd name="connsiteX379" fmla="*/ 267976 w 752994"/>
                <a:gd name="connsiteY379" fmla="*/ 22618 h 1333436"/>
                <a:gd name="connsiteX380" fmla="*/ 270427 w 752994"/>
                <a:gd name="connsiteY380" fmla="*/ 20787 h 1333436"/>
                <a:gd name="connsiteX381" fmla="*/ 263088 w 752994"/>
                <a:gd name="connsiteY381" fmla="*/ 13652 h 1333436"/>
                <a:gd name="connsiteX382" fmla="*/ 255541 w 752994"/>
                <a:gd name="connsiteY382" fmla="*/ 3055 h 1333436"/>
                <a:gd name="connsiteX383" fmla="*/ 256358 w 752994"/>
                <a:gd name="connsiteY383" fmla="*/ 1224 h 1333436"/>
                <a:gd name="connsiteX384" fmla="*/ 257159 w 752994"/>
                <a:gd name="connsiteY384"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689408 w 752994"/>
                <a:gd name="connsiteY159" fmla="*/ 945184 h 1333436"/>
                <a:gd name="connsiteX160" fmla="*/ 710622 w 752994"/>
                <a:gd name="connsiteY160" fmla="*/ 948043 h 1333436"/>
                <a:gd name="connsiteX161" fmla="*/ 654533 w 752994"/>
                <a:gd name="connsiteY161" fmla="*/ 1333436 h 1333436"/>
                <a:gd name="connsiteX162" fmla="*/ 546831 w 752994"/>
                <a:gd name="connsiteY162" fmla="*/ 1317126 h 1333436"/>
                <a:gd name="connsiteX163" fmla="*/ 351227 w 752994"/>
                <a:gd name="connsiteY163" fmla="*/ 1194172 h 1333436"/>
                <a:gd name="connsiteX164" fmla="*/ 361011 w 752994"/>
                <a:gd name="connsiteY164" fmla="*/ 1182755 h 1333436"/>
                <a:gd name="connsiteX165" fmla="*/ 368981 w 752994"/>
                <a:gd name="connsiteY165" fmla="*/ 1182130 h 1333436"/>
                <a:gd name="connsiteX166" fmla="*/ 369571 w 752994"/>
                <a:gd name="connsiteY166" fmla="*/ 1181558 h 1333436"/>
                <a:gd name="connsiteX167" fmla="*/ 362372 w 752994"/>
                <a:gd name="connsiteY167" fmla="*/ 1182120 h 1333436"/>
                <a:gd name="connsiteX168" fmla="*/ 229464 w 752994"/>
                <a:gd name="connsiteY168" fmla="*/ 1161721 h 1333436"/>
                <a:gd name="connsiteX169" fmla="*/ 227427 w 752994"/>
                <a:gd name="connsiteY169" fmla="*/ 1157269 h 1333436"/>
                <a:gd name="connsiteX170" fmla="*/ 224967 w 752994"/>
                <a:gd name="connsiteY170" fmla="*/ 1152575 h 1333436"/>
                <a:gd name="connsiteX171" fmla="*/ 225582 w 752994"/>
                <a:gd name="connsiteY171" fmla="*/ 1144808 h 1333436"/>
                <a:gd name="connsiteX172" fmla="*/ 227215 w 752994"/>
                <a:gd name="connsiteY172" fmla="*/ 1135834 h 1333436"/>
                <a:gd name="connsiteX173" fmla="*/ 227215 w 752994"/>
                <a:gd name="connsiteY173" fmla="*/ 1134212 h 1333436"/>
                <a:gd name="connsiteX174" fmla="*/ 225179 w 752994"/>
                <a:gd name="connsiteY174" fmla="*/ 1114020 h 1333436"/>
                <a:gd name="connsiteX175" fmla="*/ 217839 w 752994"/>
                <a:gd name="connsiteY175" fmla="*/ 1100352 h 1333436"/>
                <a:gd name="connsiteX176" fmla="*/ 199661 w 752994"/>
                <a:gd name="connsiteY176" fmla="*/ 1076502 h 1333436"/>
                <a:gd name="connsiteX177" fmla="*/ 196395 w 752994"/>
                <a:gd name="connsiteY177" fmla="*/ 1071807 h 1333436"/>
                <a:gd name="connsiteX178" fmla="*/ 190880 w 752994"/>
                <a:gd name="connsiteY178" fmla="*/ 1067527 h 1333436"/>
                <a:gd name="connsiteX179" fmla="*/ 187210 w 752994"/>
                <a:gd name="connsiteY179" fmla="*/ 1068735 h 1333436"/>
                <a:gd name="connsiteX180" fmla="*/ 180062 w 752994"/>
                <a:gd name="connsiteY180" fmla="*/ 1066699 h 1333436"/>
                <a:gd name="connsiteX181" fmla="*/ 180466 w 752994"/>
                <a:gd name="connsiteY181" fmla="*/ 1053031 h 1333436"/>
                <a:gd name="connsiteX182" fmla="*/ 180062 w 752994"/>
                <a:gd name="connsiteY182" fmla="*/ 1045299 h 1333436"/>
                <a:gd name="connsiteX183" fmla="*/ 174144 w 752994"/>
                <a:gd name="connsiteY183" fmla="*/ 1044057 h 1333436"/>
                <a:gd name="connsiteX184" fmla="*/ 158426 w 752994"/>
                <a:gd name="connsiteY184" fmla="*/ 1042641 h 1333436"/>
                <a:gd name="connsiteX185" fmla="*/ 149857 w 752994"/>
                <a:gd name="connsiteY185" fmla="*/ 1035497 h 1333436"/>
                <a:gd name="connsiteX186" fmla="*/ 142497 w 752994"/>
                <a:gd name="connsiteY186" fmla="*/ 1028766 h 1333436"/>
                <a:gd name="connsiteX187" fmla="*/ 140864 w 752994"/>
                <a:gd name="connsiteY187" fmla="*/ 1020620 h 1333436"/>
                <a:gd name="connsiteX188" fmla="*/ 138212 w 752994"/>
                <a:gd name="connsiteY188" fmla="*/ 1013061 h 1333436"/>
                <a:gd name="connsiteX189" fmla="*/ 131064 w 752994"/>
                <a:gd name="connsiteY189" fmla="*/ 1007159 h 1333436"/>
                <a:gd name="connsiteX190" fmla="*/ 121264 w 752994"/>
                <a:gd name="connsiteY190" fmla="*/ 1005330 h 1333436"/>
                <a:gd name="connsiteX191" fmla="*/ 112483 w 752994"/>
                <a:gd name="connsiteY191" fmla="*/ 1001671 h 1333436"/>
                <a:gd name="connsiteX192" fmla="*/ 105950 w 752994"/>
                <a:gd name="connsiteY192" fmla="*/ 995734 h 1333436"/>
                <a:gd name="connsiteX193" fmla="*/ 97380 w 752994"/>
                <a:gd name="connsiteY193" fmla="*/ 994526 h 1333436"/>
                <a:gd name="connsiteX194" fmla="*/ 87984 w 752994"/>
                <a:gd name="connsiteY194" fmla="*/ 991040 h 1333436"/>
                <a:gd name="connsiteX195" fmla="*/ 80029 w 752994"/>
                <a:gd name="connsiteY195" fmla="*/ 985138 h 1333436"/>
                <a:gd name="connsiteX196" fmla="*/ 77166 w 752994"/>
                <a:gd name="connsiteY196" fmla="*/ 976164 h 1333436"/>
                <a:gd name="connsiteX197" fmla="*/ 79203 w 752994"/>
                <a:gd name="connsiteY197" fmla="*/ 970676 h 1333436"/>
                <a:gd name="connsiteX198" fmla="*/ 82470 w 752994"/>
                <a:gd name="connsiteY198" fmla="*/ 963117 h 1333436"/>
                <a:gd name="connsiteX199" fmla="*/ 84314 w 752994"/>
                <a:gd name="connsiteY199" fmla="*/ 954557 h 1333436"/>
                <a:gd name="connsiteX200" fmla="*/ 86351 w 752994"/>
                <a:gd name="connsiteY200" fmla="*/ 948033 h 1333436"/>
                <a:gd name="connsiteX201" fmla="*/ 86159 w 752994"/>
                <a:gd name="connsiteY201" fmla="*/ 942925 h 1333436"/>
                <a:gd name="connsiteX202" fmla="*/ 83085 w 752994"/>
                <a:gd name="connsiteY202" fmla="*/ 939853 h 1333436"/>
                <a:gd name="connsiteX203" fmla="*/ 77570 w 752994"/>
                <a:gd name="connsiteY203" fmla="*/ 937437 h 1333436"/>
                <a:gd name="connsiteX204" fmla="*/ 76763 w 752994"/>
                <a:gd name="connsiteY204" fmla="*/ 931915 h 1333436"/>
                <a:gd name="connsiteX205" fmla="*/ 78800 w 752994"/>
                <a:gd name="connsiteY205" fmla="*/ 927013 h 1333436"/>
                <a:gd name="connsiteX206" fmla="*/ 79626 w 752994"/>
                <a:gd name="connsiteY206" fmla="*/ 922526 h 1333436"/>
                <a:gd name="connsiteX207" fmla="*/ 77781 w 752994"/>
                <a:gd name="connsiteY207" fmla="*/ 919903 h 1333436"/>
                <a:gd name="connsiteX208" fmla="*/ 74303 w 752994"/>
                <a:gd name="connsiteY208" fmla="*/ 917418 h 1333436"/>
                <a:gd name="connsiteX209" fmla="*/ 71863 w 752994"/>
                <a:gd name="connsiteY209" fmla="*/ 915174 h 1333436"/>
                <a:gd name="connsiteX210" fmla="*/ 71652 w 752994"/>
                <a:gd name="connsiteY210" fmla="*/ 910894 h 1333436"/>
                <a:gd name="connsiteX211" fmla="*/ 70633 w 752994"/>
                <a:gd name="connsiteY211" fmla="*/ 906614 h 1333436"/>
                <a:gd name="connsiteX212" fmla="*/ 68385 w 752994"/>
                <a:gd name="connsiteY212" fmla="*/ 902749 h 1333436"/>
                <a:gd name="connsiteX213" fmla="*/ 61045 w 752994"/>
                <a:gd name="connsiteY213" fmla="*/ 889494 h 1333436"/>
                <a:gd name="connsiteX214" fmla="*/ 57971 w 752994"/>
                <a:gd name="connsiteY214" fmla="*/ 875619 h 1333436"/>
                <a:gd name="connsiteX215" fmla="*/ 52264 w 752994"/>
                <a:gd name="connsiteY215" fmla="*/ 862572 h 1333436"/>
                <a:gd name="connsiteX216" fmla="*/ 44309 w 752994"/>
                <a:gd name="connsiteY216" fmla="*/ 850561 h 1333436"/>
                <a:gd name="connsiteX217" fmla="*/ 45520 w 752994"/>
                <a:gd name="connsiteY217" fmla="*/ 827090 h 1333436"/>
                <a:gd name="connsiteX218" fmla="*/ 53071 w 752994"/>
                <a:gd name="connsiteY218" fmla="*/ 822396 h 1333436"/>
                <a:gd name="connsiteX219" fmla="*/ 57375 w 752994"/>
                <a:gd name="connsiteY219" fmla="*/ 816493 h 1333436"/>
                <a:gd name="connsiteX220" fmla="*/ 55319 w 752994"/>
                <a:gd name="connsiteY220" fmla="*/ 801617 h 1333436"/>
                <a:gd name="connsiteX221" fmla="*/ 48383 w 752994"/>
                <a:gd name="connsiteY221" fmla="*/ 802204 h 1333436"/>
                <a:gd name="connsiteX222" fmla="*/ 40428 w 752994"/>
                <a:gd name="connsiteY222" fmla="*/ 797924 h 1333436"/>
                <a:gd name="connsiteX223" fmla="*/ 37565 w 752994"/>
                <a:gd name="connsiteY223" fmla="*/ 790606 h 1333436"/>
                <a:gd name="connsiteX224" fmla="*/ 37565 w 752994"/>
                <a:gd name="connsiteY224" fmla="*/ 790399 h 1333436"/>
                <a:gd name="connsiteX225" fmla="*/ 35931 w 752994"/>
                <a:gd name="connsiteY225" fmla="*/ 785912 h 1333436"/>
                <a:gd name="connsiteX226" fmla="*/ 34510 w 752994"/>
                <a:gd name="connsiteY226" fmla="*/ 780597 h 1333436"/>
                <a:gd name="connsiteX227" fmla="*/ 36335 w 752994"/>
                <a:gd name="connsiteY227" fmla="*/ 774280 h 1333436"/>
                <a:gd name="connsiteX228" fmla="*/ 38180 w 752994"/>
                <a:gd name="connsiteY228" fmla="*/ 766721 h 1333436"/>
                <a:gd name="connsiteX229" fmla="*/ 37161 w 752994"/>
                <a:gd name="connsiteY229" fmla="*/ 760405 h 1333436"/>
                <a:gd name="connsiteX230" fmla="*/ 35720 w 752994"/>
                <a:gd name="connsiteY230" fmla="*/ 754710 h 1333436"/>
                <a:gd name="connsiteX231" fmla="*/ 36546 w 752994"/>
                <a:gd name="connsiteY231" fmla="*/ 748773 h 1333436"/>
                <a:gd name="connsiteX232" fmla="*/ 38372 w 752994"/>
                <a:gd name="connsiteY232" fmla="*/ 744528 h 1333436"/>
                <a:gd name="connsiteX233" fmla="*/ 41638 w 752994"/>
                <a:gd name="connsiteY233" fmla="*/ 744321 h 1333436"/>
                <a:gd name="connsiteX234" fmla="*/ 44713 w 752994"/>
                <a:gd name="connsiteY234" fmla="*/ 746357 h 1333436"/>
                <a:gd name="connsiteX235" fmla="*/ 47364 w 752994"/>
                <a:gd name="connsiteY235" fmla="*/ 753260 h 1333436"/>
                <a:gd name="connsiteX236" fmla="*/ 55742 w 752994"/>
                <a:gd name="connsiteY236" fmla="*/ 764305 h 1333436"/>
                <a:gd name="connsiteX237" fmla="*/ 56338 w 752994"/>
                <a:gd name="connsiteY237" fmla="*/ 761233 h 1333436"/>
                <a:gd name="connsiteX238" fmla="*/ 56145 w 752994"/>
                <a:gd name="connsiteY238" fmla="*/ 757368 h 1333436"/>
                <a:gd name="connsiteX239" fmla="*/ 54916 w 752994"/>
                <a:gd name="connsiteY239" fmla="*/ 748601 h 1333436"/>
                <a:gd name="connsiteX240" fmla="*/ 52879 w 752994"/>
                <a:gd name="connsiteY240" fmla="*/ 747358 h 1333436"/>
                <a:gd name="connsiteX241" fmla="*/ 51649 w 752994"/>
                <a:gd name="connsiteY241" fmla="*/ 745322 h 1333436"/>
                <a:gd name="connsiteX242" fmla="*/ 51649 w 752994"/>
                <a:gd name="connsiteY242" fmla="*/ 739212 h 1333436"/>
                <a:gd name="connsiteX243" fmla="*/ 50227 w 752994"/>
                <a:gd name="connsiteY243" fmla="*/ 734725 h 1333436"/>
                <a:gd name="connsiteX244" fmla="*/ 48786 w 752994"/>
                <a:gd name="connsiteY244" fmla="*/ 731446 h 1333436"/>
                <a:gd name="connsiteX245" fmla="*/ 54512 w 752994"/>
                <a:gd name="connsiteY245" fmla="*/ 726372 h 1333436"/>
                <a:gd name="connsiteX246" fmla="*/ 59815 w 752994"/>
                <a:gd name="connsiteY246" fmla="*/ 725130 h 1333436"/>
                <a:gd name="connsiteX247" fmla="*/ 58182 w 752994"/>
                <a:gd name="connsiteY247" fmla="*/ 722886 h 1333436"/>
                <a:gd name="connsiteX248" fmla="*/ 51861 w 752994"/>
                <a:gd name="connsiteY248" fmla="*/ 717985 h 1333436"/>
                <a:gd name="connsiteX249" fmla="*/ 46749 w 752994"/>
                <a:gd name="connsiteY249" fmla="*/ 729617 h 1333436"/>
                <a:gd name="connsiteX250" fmla="*/ 40831 w 752994"/>
                <a:gd name="connsiteY250" fmla="*/ 739212 h 1333436"/>
                <a:gd name="connsiteX251" fmla="*/ 39601 w 752994"/>
                <a:gd name="connsiteY251" fmla="*/ 738798 h 1333436"/>
                <a:gd name="connsiteX252" fmla="*/ 39409 w 752994"/>
                <a:gd name="connsiteY252" fmla="*/ 738591 h 1333436"/>
                <a:gd name="connsiteX253" fmla="*/ 37161 w 752994"/>
                <a:gd name="connsiteY253" fmla="*/ 734725 h 1333436"/>
                <a:gd name="connsiteX254" fmla="*/ 32665 w 752994"/>
                <a:gd name="connsiteY254" fmla="*/ 727788 h 1333436"/>
                <a:gd name="connsiteX255" fmla="*/ 26747 w 752994"/>
                <a:gd name="connsiteY255" fmla="*/ 719435 h 1333436"/>
                <a:gd name="connsiteX256" fmla="*/ 23884 w 752994"/>
                <a:gd name="connsiteY256" fmla="*/ 717812 h 1333436"/>
                <a:gd name="connsiteX257" fmla="*/ 24710 w 752994"/>
                <a:gd name="connsiteY257" fmla="*/ 709632 h 1333436"/>
                <a:gd name="connsiteX258" fmla="*/ 27554 w 752994"/>
                <a:gd name="connsiteY258" fmla="*/ 701694 h 1333436"/>
                <a:gd name="connsiteX259" fmla="*/ 24902 w 752994"/>
                <a:gd name="connsiteY259" fmla="*/ 696171 h 1333436"/>
                <a:gd name="connsiteX260" fmla="*/ 24095 w 752994"/>
                <a:gd name="connsiteY260" fmla="*/ 687818 h 1333436"/>
                <a:gd name="connsiteX261" fmla="*/ 22462 w 752994"/>
                <a:gd name="connsiteY261" fmla="*/ 682330 h 1333436"/>
                <a:gd name="connsiteX262" fmla="*/ 17159 w 752994"/>
                <a:gd name="connsiteY262" fmla="*/ 677636 h 1333436"/>
                <a:gd name="connsiteX263" fmla="*/ 14296 w 752994"/>
                <a:gd name="connsiteY263" fmla="*/ 671492 h 1333436"/>
                <a:gd name="connsiteX264" fmla="*/ 12451 w 752994"/>
                <a:gd name="connsiteY264" fmla="*/ 665797 h 1333436"/>
                <a:gd name="connsiteX265" fmla="*/ 5111 w 752994"/>
                <a:gd name="connsiteY265" fmla="*/ 654994 h 1333436"/>
                <a:gd name="connsiteX266" fmla="*/ 2248 w 752994"/>
                <a:gd name="connsiteY266" fmla="*/ 645605 h 1333436"/>
                <a:gd name="connsiteX267" fmla="*/ 4496 w 752994"/>
                <a:gd name="connsiteY267" fmla="*/ 640497 h 1333436"/>
                <a:gd name="connsiteX268" fmla="*/ 6744 w 752994"/>
                <a:gd name="connsiteY268" fmla="*/ 632765 h 1333436"/>
                <a:gd name="connsiteX269" fmla="*/ 6744 w 752994"/>
                <a:gd name="connsiteY269" fmla="*/ 628485 h 1333436"/>
                <a:gd name="connsiteX270" fmla="*/ 6533 w 752994"/>
                <a:gd name="connsiteY270" fmla="*/ 620305 h 1333436"/>
                <a:gd name="connsiteX271" fmla="*/ 7359 w 752994"/>
                <a:gd name="connsiteY271" fmla="*/ 611745 h 1333436"/>
                <a:gd name="connsiteX272" fmla="*/ 11836 w 752994"/>
                <a:gd name="connsiteY272" fmla="*/ 602978 h 1333436"/>
                <a:gd name="connsiteX273" fmla="*/ 15103 w 752994"/>
                <a:gd name="connsiteY273" fmla="*/ 591760 h 1333436"/>
                <a:gd name="connsiteX274" fmla="*/ 14488 w 752994"/>
                <a:gd name="connsiteY274" fmla="*/ 584029 h 1333436"/>
                <a:gd name="connsiteX275" fmla="*/ 13873 w 752994"/>
                <a:gd name="connsiteY275" fmla="*/ 578299 h 1333436"/>
                <a:gd name="connsiteX276" fmla="*/ 10626 w 752994"/>
                <a:gd name="connsiteY276" fmla="*/ 568531 h 1333436"/>
                <a:gd name="connsiteX277" fmla="*/ 3670 w 752994"/>
                <a:gd name="connsiteY277" fmla="*/ 558107 h 1333436"/>
                <a:gd name="connsiteX278" fmla="*/ 0 w 752994"/>
                <a:gd name="connsiteY278" fmla="*/ 551377 h 1333436"/>
                <a:gd name="connsiteX279" fmla="*/ 0 w 752994"/>
                <a:gd name="connsiteY279" fmla="*/ 550997 h 1333436"/>
                <a:gd name="connsiteX280" fmla="*/ 4900 w 752994"/>
                <a:gd name="connsiteY280" fmla="*/ 531220 h 1333436"/>
                <a:gd name="connsiteX281" fmla="*/ 13873 w 752994"/>
                <a:gd name="connsiteY281" fmla="*/ 520589 h 1333436"/>
                <a:gd name="connsiteX282" fmla="*/ 18369 w 752994"/>
                <a:gd name="connsiteY282" fmla="*/ 516516 h 1333436"/>
                <a:gd name="connsiteX283" fmla="*/ 18773 w 752994"/>
                <a:gd name="connsiteY283" fmla="*/ 514272 h 1333436"/>
                <a:gd name="connsiteX284" fmla="*/ 23077 w 752994"/>
                <a:gd name="connsiteY284" fmla="*/ 506127 h 1333436"/>
                <a:gd name="connsiteX285" fmla="*/ 23884 w 752994"/>
                <a:gd name="connsiteY285" fmla="*/ 502261 h 1333436"/>
                <a:gd name="connsiteX286" fmla="*/ 23692 w 752994"/>
                <a:gd name="connsiteY286" fmla="*/ 496738 h 1333436"/>
                <a:gd name="connsiteX287" fmla="*/ 30013 w 752994"/>
                <a:gd name="connsiteY287" fmla="*/ 486556 h 1333436"/>
                <a:gd name="connsiteX288" fmla="*/ 36546 w 752994"/>
                <a:gd name="connsiteY288" fmla="*/ 470230 h 1333436"/>
                <a:gd name="connsiteX289" fmla="*/ 36546 w 752994"/>
                <a:gd name="connsiteY289" fmla="*/ 462671 h 1333436"/>
                <a:gd name="connsiteX290" fmla="*/ 36335 w 752994"/>
                <a:gd name="connsiteY290" fmla="*/ 461670 h 1333436"/>
                <a:gd name="connsiteX291" fmla="*/ 35931 w 752994"/>
                <a:gd name="connsiteY291" fmla="*/ 453110 h 1333436"/>
                <a:gd name="connsiteX292" fmla="*/ 38583 w 752994"/>
                <a:gd name="connsiteY292" fmla="*/ 442514 h 1333436"/>
                <a:gd name="connsiteX293" fmla="*/ 41043 w 752994"/>
                <a:gd name="connsiteY293" fmla="*/ 436991 h 1333436"/>
                <a:gd name="connsiteX294" fmla="*/ 41650 w 752994"/>
                <a:gd name="connsiteY294" fmla="*/ 437186 h 1333436"/>
                <a:gd name="connsiteX295" fmla="*/ 41239 w 752994"/>
                <a:gd name="connsiteY295" fmla="*/ 436549 h 1333436"/>
                <a:gd name="connsiteX296" fmla="*/ 37778 w 752994"/>
                <a:gd name="connsiteY296" fmla="*/ 433894 h 1333436"/>
                <a:gd name="connsiteX297" fmla="*/ 37169 w 752994"/>
                <a:gd name="connsiteY297" fmla="*/ 432261 h 1333436"/>
                <a:gd name="connsiteX298" fmla="*/ 37365 w 752994"/>
                <a:gd name="connsiteY298" fmla="*/ 429198 h 1333436"/>
                <a:gd name="connsiteX299" fmla="*/ 36756 w 752994"/>
                <a:gd name="connsiteY299" fmla="*/ 422272 h 1333436"/>
                <a:gd name="connsiteX300" fmla="*/ 36952 w 752994"/>
                <a:gd name="connsiteY300" fmla="*/ 418800 h 1333436"/>
                <a:gd name="connsiteX301" fmla="*/ 36756 w 752994"/>
                <a:gd name="connsiteY301" fmla="*/ 412487 h 1333436"/>
                <a:gd name="connsiteX302" fmla="*/ 40433 w 752994"/>
                <a:gd name="connsiteY302" fmla="*/ 406174 h 1333436"/>
                <a:gd name="connsiteX303" fmla="*/ 44720 w 752994"/>
                <a:gd name="connsiteY303" fmla="*/ 399435 h 1333436"/>
                <a:gd name="connsiteX304" fmla="*/ 44110 w 752994"/>
                <a:gd name="connsiteY304" fmla="*/ 389651 h 1333436"/>
                <a:gd name="connsiteX305" fmla="*/ 43894 w 752994"/>
                <a:gd name="connsiteY305" fmla="*/ 378437 h 1333436"/>
                <a:gd name="connsiteX306" fmla="*/ 47158 w 752994"/>
                <a:gd name="connsiteY306" fmla="*/ 371102 h 1333436"/>
                <a:gd name="connsiteX307" fmla="*/ 55731 w 752994"/>
                <a:gd name="connsiteY307" fmla="*/ 360909 h 1333436"/>
                <a:gd name="connsiteX308" fmla="*/ 57580 w 752994"/>
                <a:gd name="connsiteY308" fmla="*/ 355804 h 1333436"/>
                <a:gd name="connsiteX309" fmla="*/ 62673 w 752994"/>
                <a:gd name="connsiteY309" fmla="*/ 349695 h 1333436"/>
                <a:gd name="connsiteX310" fmla="*/ 65937 w 752994"/>
                <a:gd name="connsiteY310" fmla="*/ 348470 h 1333436"/>
                <a:gd name="connsiteX311" fmla="*/ 68395 w 752994"/>
                <a:gd name="connsiteY311" fmla="*/ 348674 h 1333436"/>
                <a:gd name="connsiteX312" fmla="*/ 70224 w 752994"/>
                <a:gd name="connsiteY312" fmla="*/ 347449 h 1333436"/>
                <a:gd name="connsiteX313" fmla="*/ 67785 w 752994"/>
                <a:gd name="connsiteY313" fmla="*/ 345203 h 1333436"/>
                <a:gd name="connsiteX314" fmla="*/ 65524 w 752994"/>
                <a:gd name="connsiteY314" fmla="*/ 343178 h 1333436"/>
                <a:gd name="connsiteX315" fmla="*/ 73095 w 752994"/>
                <a:gd name="connsiteY315" fmla="*/ 333376 h 1333436"/>
                <a:gd name="connsiteX316" fmla="*/ 73291 w 752994"/>
                <a:gd name="connsiteY316" fmla="*/ 333376 h 1333436"/>
                <a:gd name="connsiteX317" fmla="*/ 77991 w 752994"/>
                <a:gd name="connsiteY317" fmla="*/ 325838 h 1333436"/>
                <a:gd name="connsiteX318" fmla="*/ 82671 w 752994"/>
                <a:gd name="connsiteY318" fmla="*/ 313619 h 1333436"/>
                <a:gd name="connsiteX319" fmla="*/ 87980 w 752994"/>
                <a:gd name="connsiteY319" fmla="*/ 303018 h 1333436"/>
                <a:gd name="connsiteX320" fmla="*/ 92267 w 752994"/>
                <a:gd name="connsiteY320" fmla="*/ 291191 h 1333436"/>
                <a:gd name="connsiteX321" fmla="*/ 96553 w 752994"/>
                <a:gd name="connsiteY321" fmla="*/ 281202 h 1333436"/>
                <a:gd name="connsiteX322" fmla="*/ 99621 w 752994"/>
                <a:gd name="connsiteY322" fmla="*/ 274481 h 1333436"/>
                <a:gd name="connsiteX323" fmla="*/ 103082 w 752994"/>
                <a:gd name="connsiteY323" fmla="*/ 262450 h 1333436"/>
                <a:gd name="connsiteX324" fmla="*/ 107172 w 752994"/>
                <a:gd name="connsiteY324" fmla="*/ 254299 h 1333436"/>
                <a:gd name="connsiteX325" fmla="*/ 112481 w 752994"/>
                <a:gd name="connsiteY325" fmla="*/ 243697 h 1333436"/>
                <a:gd name="connsiteX326" fmla="*/ 117181 w 752994"/>
                <a:gd name="connsiteY326" fmla="*/ 232279 h 1333436"/>
                <a:gd name="connsiteX327" fmla="*/ 125951 w 752994"/>
                <a:gd name="connsiteY327" fmla="*/ 217389 h 1333436"/>
                <a:gd name="connsiteX328" fmla="*/ 136156 w 752994"/>
                <a:gd name="connsiteY328" fmla="*/ 202925 h 1333436"/>
                <a:gd name="connsiteX329" fmla="*/ 138811 w 752994"/>
                <a:gd name="connsiteY329" fmla="*/ 183339 h 1333436"/>
                <a:gd name="connsiteX330" fmla="*/ 148801 w 752994"/>
                <a:gd name="connsiteY330" fmla="*/ 167445 h 1333436"/>
                <a:gd name="connsiteX331" fmla="*/ 159616 w 752994"/>
                <a:gd name="connsiteY331" fmla="*/ 170712 h 1333436"/>
                <a:gd name="connsiteX332" fmla="*/ 173105 w 752994"/>
                <a:gd name="connsiteY332" fmla="*/ 175188 h 1333436"/>
                <a:gd name="connsiteX333" fmla="*/ 175347 w 752994"/>
                <a:gd name="connsiteY333" fmla="*/ 175188 h 1333436"/>
                <a:gd name="connsiteX334" fmla="*/ 175347 w 752994"/>
                <a:gd name="connsiteY334" fmla="*/ 173758 h 1333436"/>
                <a:gd name="connsiteX335" fmla="*/ 184975 w 752994"/>
                <a:gd name="connsiteY335" fmla="*/ 187393 h 1333436"/>
                <a:gd name="connsiteX336" fmla="*/ 184762 w 752994"/>
                <a:gd name="connsiteY336" fmla="*/ 184637 h 1333436"/>
                <a:gd name="connsiteX337" fmla="*/ 174971 w 752994"/>
                <a:gd name="connsiteY337" fmla="*/ 170774 h 1333436"/>
                <a:gd name="connsiteX338" fmla="*/ 174971 w 752994"/>
                <a:gd name="connsiteY338" fmla="*/ 169550 h 1333436"/>
                <a:gd name="connsiteX339" fmla="*/ 158851 w 752994"/>
                <a:gd name="connsiteY339" fmla="*/ 156924 h 1333436"/>
                <a:gd name="connsiteX340" fmla="*/ 147025 w 752994"/>
                <a:gd name="connsiteY340" fmla="*/ 145709 h 1333436"/>
                <a:gd name="connsiteX341" fmla="*/ 154364 w 752994"/>
                <a:gd name="connsiteY341" fmla="*/ 136335 h 1333436"/>
                <a:gd name="connsiteX342" fmla="*/ 161511 w 752994"/>
                <a:gd name="connsiteY342" fmla="*/ 131042 h 1333436"/>
                <a:gd name="connsiteX343" fmla="*/ 160902 w 752994"/>
                <a:gd name="connsiteY343" fmla="*/ 128384 h 1333436"/>
                <a:gd name="connsiteX344" fmla="*/ 160277 w 752994"/>
                <a:gd name="connsiteY344" fmla="*/ 127778 h 1333436"/>
                <a:gd name="connsiteX345" fmla="*/ 154973 w 752994"/>
                <a:gd name="connsiteY345" fmla="*/ 122077 h 1333436"/>
                <a:gd name="connsiteX346" fmla="*/ 160277 w 752994"/>
                <a:gd name="connsiteY346" fmla="*/ 115140 h 1333436"/>
                <a:gd name="connsiteX347" fmla="*/ 165181 w 752994"/>
                <a:gd name="connsiteY347" fmla="*/ 108215 h 1333436"/>
                <a:gd name="connsiteX348" fmla="*/ 161303 w 752994"/>
                <a:gd name="connsiteY348" fmla="*/ 104146 h 1333436"/>
                <a:gd name="connsiteX349" fmla="*/ 157842 w 752994"/>
                <a:gd name="connsiteY349" fmla="*/ 104542 h 1333436"/>
                <a:gd name="connsiteX350" fmla="*/ 157024 w 752994"/>
                <a:gd name="connsiteY350" fmla="*/ 102304 h 1333436"/>
                <a:gd name="connsiteX351" fmla="*/ 160694 w 752994"/>
                <a:gd name="connsiteY351" fmla="*/ 55437 h 1333436"/>
                <a:gd name="connsiteX352" fmla="*/ 160486 w 752994"/>
                <a:gd name="connsiteY352" fmla="*/ 31991 h 1333436"/>
                <a:gd name="connsiteX353" fmla="*/ 164972 w 752994"/>
                <a:gd name="connsiteY353" fmla="*/ 18141 h 1333436"/>
                <a:gd name="connsiteX354" fmla="*/ 171911 w 752994"/>
                <a:gd name="connsiteY354" fmla="*/ 11204 h 1333436"/>
                <a:gd name="connsiteX355" fmla="*/ 187406 w 752994"/>
                <a:gd name="connsiteY355" fmla="*/ 21801 h 1333436"/>
                <a:gd name="connsiteX356" fmla="*/ 210866 w 752994"/>
                <a:gd name="connsiteY356" fmla="*/ 37086 h 1333436"/>
                <a:gd name="connsiteX357" fmla="*/ 219230 w 752994"/>
                <a:gd name="connsiteY357" fmla="*/ 41166 h 1333436"/>
                <a:gd name="connsiteX358" fmla="*/ 226778 w 752994"/>
                <a:gd name="connsiteY358" fmla="*/ 47486 h 1333436"/>
                <a:gd name="connsiteX359" fmla="*/ 236152 w 752994"/>
                <a:gd name="connsiteY359" fmla="*/ 52370 h 1333436"/>
                <a:gd name="connsiteX360" fmla="*/ 239629 w 752994"/>
                <a:gd name="connsiteY360" fmla="*/ 58491 h 1333436"/>
                <a:gd name="connsiteX361" fmla="*/ 239629 w 752994"/>
                <a:gd name="connsiteY361" fmla="*/ 63376 h 1333436"/>
                <a:gd name="connsiteX362" fmla="*/ 236568 w 752994"/>
                <a:gd name="connsiteY362" fmla="*/ 67457 h 1333436"/>
                <a:gd name="connsiteX363" fmla="*/ 231264 w 752994"/>
                <a:gd name="connsiteY363" fmla="*/ 69905 h 1333436"/>
                <a:gd name="connsiteX364" fmla="*/ 216778 w 752994"/>
                <a:gd name="connsiteY364" fmla="*/ 82741 h 1333436"/>
                <a:gd name="connsiteX365" fmla="*/ 214134 w 752994"/>
                <a:gd name="connsiteY365" fmla="*/ 93536 h 1333436"/>
                <a:gd name="connsiteX366" fmla="*/ 214535 w 752994"/>
                <a:gd name="connsiteY366" fmla="*/ 96801 h 1333436"/>
                <a:gd name="connsiteX367" fmla="*/ 216378 w 752994"/>
                <a:gd name="connsiteY367" fmla="*/ 96801 h 1333436"/>
                <a:gd name="connsiteX368" fmla="*/ 230046 w 752994"/>
                <a:gd name="connsiteY368" fmla="*/ 85387 h 1333436"/>
                <a:gd name="connsiteX369" fmla="*/ 243298 w 752994"/>
                <a:gd name="connsiteY369" fmla="*/ 75198 h 1333436"/>
                <a:gd name="connsiteX370" fmla="*/ 246760 w 752994"/>
                <a:gd name="connsiteY370" fmla="*/ 77646 h 1333436"/>
                <a:gd name="connsiteX371" fmla="*/ 255541 w 752994"/>
                <a:gd name="connsiteY371" fmla="*/ 63376 h 1333436"/>
                <a:gd name="connsiteX372" fmla="*/ 259611 w 752994"/>
                <a:gd name="connsiteY372" fmla="*/ 43405 h 1333436"/>
                <a:gd name="connsiteX373" fmla="*/ 256967 w 752994"/>
                <a:gd name="connsiteY373" fmla="*/ 38520 h 1333436"/>
                <a:gd name="connsiteX374" fmla="*/ 253906 w 752994"/>
                <a:gd name="connsiteY374" fmla="*/ 34242 h 1333436"/>
                <a:gd name="connsiteX375" fmla="*/ 256967 w 752994"/>
                <a:gd name="connsiteY375" fmla="*/ 30161 h 1333436"/>
                <a:gd name="connsiteX376" fmla="*/ 262063 w 752994"/>
                <a:gd name="connsiteY376" fmla="*/ 27712 h 1333436"/>
                <a:gd name="connsiteX377" fmla="*/ 264915 w 752994"/>
                <a:gd name="connsiteY377" fmla="*/ 23026 h 1333436"/>
                <a:gd name="connsiteX378" fmla="*/ 267976 w 752994"/>
                <a:gd name="connsiteY378" fmla="*/ 22618 h 1333436"/>
                <a:gd name="connsiteX379" fmla="*/ 270427 w 752994"/>
                <a:gd name="connsiteY379" fmla="*/ 20787 h 1333436"/>
                <a:gd name="connsiteX380" fmla="*/ 263088 w 752994"/>
                <a:gd name="connsiteY380" fmla="*/ 13652 h 1333436"/>
                <a:gd name="connsiteX381" fmla="*/ 255541 w 752994"/>
                <a:gd name="connsiteY381" fmla="*/ 3055 h 1333436"/>
                <a:gd name="connsiteX382" fmla="*/ 256358 w 752994"/>
                <a:gd name="connsiteY382" fmla="*/ 1224 h 1333436"/>
                <a:gd name="connsiteX383" fmla="*/ 257159 w 752994"/>
                <a:gd name="connsiteY383"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93426 w 752994"/>
                <a:gd name="connsiteY153" fmla="*/ 944128 h 1333436"/>
                <a:gd name="connsiteX154" fmla="*/ 442753 w 752994"/>
                <a:gd name="connsiteY154" fmla="*/ 950656 h 1333436"/>
                <a:gd name="connsiteX155" fmla="*/ 442550 w 752994"/>
                <a:gd name="connsiteY155" fmla="*/ 951272 h 1333436"/>
                <a:gd name="connsiteX156" fmla="*/ 439290 w 752994"/>
                <a:gd name="connsiteY156" fmla="*/ 958807 h 1333436"/>
                <a:gd name="connsiteX157" fmla="*/ 432957 w 752994"/>
                <a:gd name="connsiteY157" fmla="*/ 963487 h 1333436"/>
                <a:gd name="connsiteX158" fmla="*/ 429291 w 752994"/>
                <a:gd name="connsiteY158" fmla="*/ 959817 h 1333436"/>
                <a:gd name="connsiteX159" fmla="*/ 710622 w 752994"/>
                <a:gd name="connsiteY159" fmla="*/ 948043 h 1333436"/>
                <a:gd name="connsiteX160" fmla="*/ 654533 w 752994"/>
                <a:gd name="connsiteY160" fmla="*/ 1333436 h 1333436"/>
                <a:gd name="connsiteX161" fmla="*/ 546831 w 752994"/>
                <a:gd name="connsiteY161" fmla="*/ 1317126 h 1333436"/>
                <a:gd name="connsiteX162" fmla="*/ 351227 w 752994"/>
                <a:gd name="connsiteY162" fmla="*/ 1194172 h 1333436"/>
                <a:gd name="connsiteX163" fmla="*/ 361011 w 752994"/>
                <a:gd name="connsiteY163" fmla="*/ 1182755 h 1333436"/>
                <a:gd name="connsiteX164" fmla="*/ 368981 w 752994"/>
                <a:gd name="connsiteY164" fmla="*/ 1182130 h 1333436"/>
                <a:gd name="connsiteX165" fmla="*/ 369571 w 752994"/>
                <a:gd name="connsiteY165" fmla="*/ 1181558 h 1333436"/>
                <a:gd name="connsiteX166" fmla="*/ 362372 w 752994"/>
                <a:gd name="connsiteY166" fmla="*/ 1182120 h 1333436"/>
                <a:gd name="connsiteX167" fmla="*/ 229464 w 752994"/>
                <a:gd name="connsiteY167" fmla="*/ 1161721 h 1333436"/>
                <a:gd name="connsiteX168" fmla="*/ 227427 w 752994"/>
                <a:gd name="connsiteY168" fmla="*/ 1157269 h 1333436"/>
                <a:gd name="connsiteX169" fmla="*/ 224967 w 752994"/>
                <a:gd name="connsiteY169" fmla="*/ 1152575 h 1333436"/>
                <a:gd name="connsiteX170" fmla="*/ 225582 w 752994"/>
                <a:gd name="connsiteY170" fmla="*/ 1144808 h 1333436"/>
                <a:gd name="connsiteX171" fmla="*/ 227215 w 752994"/>
                <a:gd name="connsiteY171" fmla="*/ 1135834 h 1333436"/>
                <a:gd name="connsiteX172" fmla="*/ 227215 w 752994"/>
                <a:gd name="connsiteY172" fmla="*/ 1134212 h 1333436"/>
                <a:gd name="connsiteX173" fmla="*/ 225179 w 752994"/>
                <a:gd name="connsiteY173" fmla="*/ 1114020 h 1333436"/>
                <a:gd name="connsiteX174" fmla="*/ 217839 w 752994"/>
                <a:gd name="connsiteY174" fmla="*/ 1100352 h 1333436"/>
                <a:gd name="connsiteX175" fmla="*/ 199661 w 752994"/>
                <a:gd name="connsiteY175" fmla="*/ 1076502 h 1333436"/>
                <a:gd name="connsiteX176" fmla="*/ 196395 w 752994"/>
                <a:gd name="connsiteY176" fmla="*/ 1071807 h 1333436"/>
                <a:gd name="connsiteX177" fmla="*/ 190880 w 752994"/>
                <a:gd name="connsiteY177" fmla="*/ 1067527 h 1333436"/>
                <a:gd name="connsiteX178" fmla="*/ 187210 w 752994"/>
                <a:gd name="connsiteY178" fmla="*/ 1068735 h 1333436"/>
                <a:gd name="connsiteX179" fmla="*/ 180062 w 752994"/>
                <a:gd name="connsiteY179" fmla="*/ 1066699 h 1333436"/>
                <a:gd name="connsiteX180" fmla="*/ 180466 w 752994"/>
                <a:gd name="connsiteY180" fmla="*/ 1053031 h 1333436"/>
                <a:gd name="connsiteX181" fmla="*/ 180062 w 752994"/>
                <a:gd name="connsiteY181" fmla="*/ 1045299 h 1333436"/>
                <a:gd name="connsiteX182" fmla="*/ 174144 w 752994"/>
                <a:gd name="connsiteY182" fmla="*/ 1044057 h 1333436"/>
                <a:gd name="connsiteX183" fmla="*/ 158426 w 752994"/>
                <a:gd name="connsiteY183" fmla="*/ 1042641 h 1333436"/>
                <a:gd name="connsiteX184" fmla="*/ 149857 w 752994"/>
                <a:gd name="connsiteY184" fmla="*/ 1035497 h 1333436"/>
                <a:gd name="connsiteX185" fmla="*/ 142497 w 752994"/>
                <a:gd name="connsiteY185" fmla="*/ 1028766 h 1333436"/>
                <a:gd name="connsiteX186" fmla="*/ 140864 w 752994"/>
                <a:gd name="connsiteY186" fmla="*/ 1020620 h 1333436"/>
                <a:gd name="connsiteX187" fmla="*/ 138212 w 752994"/>
                <a:gd name="connsiteY187" fmla="*/ 1013061 h 1333436"/>
                <a:gd name="connsiteX188" fmla="*/ 131064 w 752994"/>
                <a:gd name="connsiteY188" fmla="*/ 1007159 h 1333436"/>
                <a:gd name="connsiteX189" fmla="*/ 121264 w 752994"/>
                <a:gd name="connsiteY189" fmla="*/ 1005330 h 1333436"/>
                <a:gd name="connsiteX190" fmla="*/ 112483 w 752994"/>
                <a:gd name="connsiteY190" fmla="*/ 1001671 h 1333436"/>
                <a:gd name="connsiteX191" fmla="*/ 105950 w 752994"/>
                <a:gd name="connsiteY191" fmla="*/ 995734 h 1333436"/>
                <a:gd name="connsiteX192" fmla="*/ 97380 w 752994"/>
                <a:gd name="connsiteY192" fmla="*/ 994526 h 1333436"/>
                <a:gd name="connsiteX193" fmla="*/ 87984 w 752994"/>
                <a:gd name="connsiteY193" fmla="*/ 991040 h 1333436"/>
                <a:gd name="connsiteX194" fmla="*/ 80029 w 752994"/>
                <a:gd name="connsiteY194" fmla="*/ 985138 h 1333436"/>
                <a:gd name="connsiteX195" fmla="*/ 77166 w 752994"/>
                <a:gd name="connsiteY195" fmla="*/ 976164 h 1333436"/>
                <a:gd name="connsiteX196" fmla="*/ 79203 w 752994"/>
                <a:gd name="connsiteY196" fmla="*/ 970676 h 1333436"/>
                <a:gd name="connsiteX197" fmla="*/ 82470 w 752994"/>
                <a:gd name="connsiteY197" fmla="*/ 963117 h 1333436"/>
                <a:gd name="connsiteX198" fmla="*/ 84314 w 752994"/>
                <a:gd name="connsiteY198" fmla="*/ 954557 h 1333436"/>
                <a:gd name="connsiteX199" fmla="*/ 86351 w 752994"/>
                <a:gd name="connsiteY199" fmla="*/ 948033 h 1333436"/>
                <a:gd name="connsiteX200" fmla="*/ 86159 w 752994"/>
                <a:gd name="connsiteY200" fmla="*/ 942925 h 1333436"/>
                <a:gd name="connsiteX201" fmla="*/ 83085 w 752994"/>
                <a:gd name="connsiteY201" fmla="*/ 939853 h 1333436"/>
                <a:gd name="connsiteX202" fmla="*/ 77570 w 752994"/>
                <a:gd name="connsiteY202" fmla="*/ 937437 h 1333436"/>
                <a:gd name="connsiteX203" fmla="*/ 76763 w 752994"/>
                <a:gd name="connsiteY203" fmla="*/ 931915 h 1333436"/>
                <a:gd name="connsiteX204" fmla="*/ 78800 w 752994"/>
                <a:gd name="connsiteY204" fmla="*/ 927013 h 1333436"/>
                <a:gd name="connsiteX205" fmla="*/ 79626 w 752994"/>
                <a:gd name="connsiteY205" fmla="*/ 922526 h 1333436"/>
                <a:gd name="connsiteX206" fmla="*/ 77781 w 752994"/>
                <a:gd name="connsiteY206" fmla="*/ 919903 h 1333436"/>
                <a:gd name="connsiteX207" fmla="*/ 74303 w 752994"/>
                <a:gd name="connsiteY207" fmla="*/ 917418 h 1333436"/>
                <a:gd name="connsiteX208" fmla="*/ 71863 w 752994"/>
                <a:gd name="connsiteY208" fmla="*/ 915174 h 1333436"/>
                <a:gd name="connsiteX209" fmla="*/ 71652 w 752994"/>
                <a:gd name="connsiteY209" fmla="*/ 910894 h 1333436"/>
                <a:gd name="connsiteX210" fmla="*/ 70633 w 752994"/>
                <a:gd name="connsiteY210" fmla="*/ 906614 h 1333436"/>
                <a:gd name="connsiteX211" fmla="*/ 68385 w 752994"/>
                <a:gd name="connsiteY211" fmla="*/ 902749 h 1333436"/>
                <a:gd name="connsiteX212" fmla="*/ 61045 w 752994"/>
                <a:gd name="connsiteY212" fmla="*/ 889494 h 1333436"/>
                <a:gd name="connsiteX213" fmla="*/ 57971 w 752994"/>
                <a:gd name="connsiteY213" fmla="*/ 875619 h 1333436"/>
                <a:gd name="connsiteX214" fmla="*/ 52264 w 752994"/>
                <a:gd name="connsiteY214" fmla="*/ 862572 h 1333436"/>
                <a:gd name="connsiteX215" fmla="*/ 44309 w 752994"/>
                <a:gd name="connsiteY215" fmla="*/ 850561 h 1333436"/>
                <a:gd name="connsiteX216" fmla="*/ 45520 w 752994"/>
                <a:gd name="connsiteY216" fmla="*/ 827090 h 1333436"/>
                <a:gd name="connsiteX217" fmla="*/ 53071 w 752994"/>
                <a:gd name="connsiteY217" fmla="*/ 822396 h 1333436"/>
                <a:gd name="connsiteX218" fmla="*/ 57375 w 752994"/>
                <a:gd name="connsiteY218" fmla="*/ 816493 h 1333436"/>
                <a:gd name="connsiteX219" fmla="*/ 55319 w 752994"/>
                <a:gd name="connsiteY219" fmla="*/ 801617 h 1333436"/>
                <a:gd name="connsiteX220" fmla="*/ 48383 w 752994"/>
                <a:gd name="connsiteY220" fmla="*/ 802204 h 1333436"/>
                <a:gd name="connsiteX221" fmla="*/ 40428 w 752994"/>
                <a:gd name="connsiteY221" fmla="*/ 797924 h 1333436"/>
                <a:gd name="connsiteX222" fmla="*/ 37565 w 752994"/>
                <a:gd name="connsiteY222" fmla="*/ 790606 h 1333436"/>
                <a:gd name="connsiteX223" fmla="*/ 37565 w 752994"/>
                <a:gd name="connsiteY223" fmla="*/ 790399 h 1333436"/>
                <a:gd name="connsiteX224" fmla="*/ 35931 w 752994"/>
                <a:gd name="connsiteY224" fmla="*/ 785912 h 1333436"/>
                <a:gd name="connsiteX225" fmla="*/ 34510 w 752994"/>
                <a:gd name="connsiteY225" fmla="*/ 780597 h 1333436"/>
                <a:gd name="connsiteX226" fmla="*/ 36335 w 752994"/>
                <a:gd name="connsiteY226" fmla="*/ 774280 h 1333436"/>
                <a:gd name="connsiteX227" fmla="*/ 38180 w 752994"/>
                <a:gd name="connsiteY227" fmla="*/ 766721 h 1333436"/>
                <a:gd name="connsiteX228" fmla="*/ 37161 w 752994"/>
                <a:gd name="connsiteY228" fmla="*/ 760405 h 1333436"/>
                <a:gd name="connsiteX229" fmla="*/ 35720 w 752994"/>
                <a:gd name="connsiteY229" fmla="*/ 754710 h 1333436"/>
                <a:gd name="connsiteX230" fmla="*/ 36546 w 752994"/>
                <a:gd name="connsiteY230" fmla="*/ 748773 h 1333436"/>
                <a:gd name="connsiteX231" fmla="*/ 38372 w 752994"/>
                <a:gd name="connsiteY231" fmla="*/ 744528 h 1333436"/>
                <a:gd name="connsiteX232" fmla="*/ 41638 w 752994"/>
                <a:gd name="connsiteY232" fmla="*/ 744321 h 1333436"/>
                <a:gd name="connsiteX233" fmla="*/ 44713 w 752994"/>
                <a:gd name="connsiteY233" fmla="*/ 746357 h 1333436"/>
                <a:gd name="connsiteX234" fmla="*/ 47364 w 752994"/>
                <a:gd name="connsiteY234" fmla="*/ 753260 h 1333436"/>
                <a:gd name="connsiteX235" fmla="*/ 55742 w 752994"/>
                <a:gd name="connsiteY235" fmla="*/ 764305 h 1333436"/>
                <a:gd name="connsiteX236" fmla="*/ 56338 w 752994"/>
                <a:gd name="connsiteY236" fmla="*/ 761233 h 1333436"/>
                <a:gd name="connsiteX237" fmla="*/ 56145 w 752994"/>
                <a:gd name="connsiteY237" fmla="*/ 757368 h 1333436"/>
                <a:gd name="connsiteX238" fmla="*/ 54916 w 752994"/>
                <a:gd name="connsiteY238" fmla="*/ 748601 h 1333436"/>
                <a:gd name="connsiteX239" fmla="*/ 52879 w 752994"/>
                <a:gd name="connsiteY239" fmla="*/ 747358 h 1333436"/>
                <a:gd name="connsiteX240" fmla="*/ 51649 w 752994"/>
                <a:gd name="connsiteY240" fmla="*/ 745322 h 1333436"/>
                <a:gd name="connsiteX241" fmla="*/ 51649 w 752994"/>
                <a:gd name="connsiteY241" fmla="*/ 739212 h 1333436"/>
                <a:gd name="connsiteX242" fmla="*/ 50227 w 752994"/>
                <a:gd name="connsiteY242" fmla="*/ 734725 h 1333436"/>
                <a:gd name="connsiteX243" fmla="*/ 48786 w 752994"/>
                <a:gd name="connsiteY243" fmla="*/ 731446 h 1333436"/>
                <a:gd name="connsiteX244" fmla="*/ 54512 w 752994"/>
                <a:gd name="connsiteY244" fmla="*/ 726372 h 1333436"/>
                <a:gd name="connsiteX245" fmla="*/ 59815 w 752994"/>
                <a:gd name="connsiteY245" fmla="*/ 725130 h 1333436"/>
                <a:gd name="connsiteX246" fmla="*/ 58182 w 752994"/>
                <a:gd name="connsiteY246" fmla="*/ 722886 h 1333436"/>
                <a:gd name="connsiteX247" fmla="*/ 51861 w 752994"/>
                <a:gd name="connsiteY247" fmla="*/ 717985 h 1333436"/>
                <a:gd name="connsiteX248" fmla="*/ 46749 w 752994"/>
                <a:gd name="connsiteY248" fmla="*/ 729617 h 1333436"/>
                <a:gd name="connsiteX249" fmla="*/ 40831 w 752994"/>
                <a:gd name="connsiteY249" fmla="*/ 739212 h 1333436"/>
                <a:gd name="connsiteX250" fmla="*/ 39601 w 752994"/>
                <a:gd name="connsiteY250" fmla="*/ 738798 h 1333436"/>
                <a:gd name="connsiteX251" fmla="*/ 39409 w 752994"/>
                <a:gd name="connsiteY251" fmla="*/ 738591 h 1333436"/>
                <a:gd name="connsiteX252" fmla="*/ 37161 w 752994"/>
                <a:gd name="connsiteY252" fmla="*/ 734725 h 1333436"/>
                <a:gd name="connsiteX253" fmla="*/ 32665 w 752994"/>
                <a:gd name="connsiteY253" fmla="*/ 727788 h 1333436"/>
                <a:gd name="connsiteX254" fmla="*/ 26747 w 752994"/>
                <a:gd name="connsiteY254" fmla="*/ 719435 h 1333436"/>
                <a:gd name="connsiteX255" fmla="*/ 23884 w 752994"/>
                <a:gd name="connsiteY255" fmla="*/ 717812 h 1333436"/>
                <a:gd name="connsiteX256" fmla="*/ 24710 w 752994"/>
                <a:gd name="connsiteY256" fmla="*/ 709632 h 1333436"/>
                <a:gd name="connsiteX257" fmla="*/ 27554 w 752994"/>
                <a:gd name="connsiteY257" fmla="*/ 701694 h 1333436"/>
                <a:gd name="connsiteX258" fmla="*/ 24902 w 752994"/>
                <a:gd name="connsiteY258" fmla="*/ 696171 h 1333436"/>
                <a:gd name="connsiteX259" fmla="*/ 24095 w 752994"/>
                <a:gd name="connsiteY259" fmla="*/ 687818 h 1333436"/>
                <a:gd name="connsiteX260" fmla="*/ 22462 w 752994"/>
                <a:gd name="connsiteY260" fmla="*/ 682330 h 1333436"/>
                <a:gd name="connsiteX261" fmla="*/ 17159 w 752994"/>
                <a:gd name="connsiteY261" fmla="*/ 677636 h 1333436"/>
                <a:gd name="connsiteX262" fmla="*/ 14296 w 752994"/>
                <a:gd name="connsiteY262" fmla="*/ 671492 h 1333436"/>
                <a:gd name="connsiteX263" fmla="*/ 12451 w 752994"/>
                <a:gd name="connsiteY263" fmla="*/ 665797 h 1333436"/>
                <a:gd name="connsiteX264" fmla="*/ 5111 w 752994"/>
                <a:gd name="connsiteY264" fmla="*/ 654994 h 1333436"/>
                <a:gd name="connsiteX265" fmla="*/ 2248 w 752994"/>
                <a:gd name="connsiteY265" fmla="*/ 645605 h 1333436"/>
                <a:gd name="connsiteX266" fmla="*/ 4496 w 752994"/>
                <a:gd name="connsiteY266" fmla="*/ 640497 h 1333436"/>
                <a:gd name="connsiteX267" fmla="*/ 6744 w 752994"/>
                <a:gd name="connsiteY267" fmla="*/ 632765 h 1333436"/>
                <a:gd name="connsiteX268" fmla="*/ 6744 w 752994"/>
                <a:gd name="connsiteY268" fmla="*/ 628485 h 1333436"/>
                <a:gd name="connsiteX269" fmla="*/ 6533 w 752994"/>
                <a:gd name="connsiteY269" fmla="*/ 620305 h 1333436"/>
                <a:gd name="connsiteX270" fmla="*/ 7359 w 752994"/>
                <a:gd name="connsiteY270" fmla="*/ 611745 h 1333436"/>
                <a:gd name="connsiteX271" fmla="*/ 11836 w 752994"/>
                <a:gd name="connsiteY271" fmla="*/ 602978 h 1333436"/>
                <a:gd name="connsiteX272" fmla="*/ 15103 w 752994"/>
                <a:gd name="connsiteY272" fmla="*/ 591760 h 1333436"/>
                <a:gd name="connsiteX273" fmla="*/ 14488 w 752994"/>
                <a:gd name="connsiteY273" fmla="*/ 584029 h 1333436"/>
                <a:gd name="connsiteX274" fmla="*/ 13873 w 752994"/>
                <a:gd name="connsiteY274" fmla="*/ 578299 h 1333436"/>
                <a:gd name="connsiteX275" fmla="*/ 10626 w 752994"/>
                <a:gd name="connsiteY275" fmla="*/ 568531 h 1333436"/>
                <a:gd name="connsiteX276" fmla="*/ 3670 w 752994"/>
                <a:gd name="connsiteY276" fmla="*/ 558107 h 1333436"/>
                <a:gd name="connsiteX277" fmla="*/ 0 w 752994"/>
                <a:gd name="connsiteY277" fmla="*/ 551377 h 1333436"/>
                <a:gd name="connsiteX278" fmla="*/ 0 w 752994"/>
                <a:gd name="connsiteY278" fmla="*/ 550997 h 1333436"/>
                <a:gd name="connsiteX279" fmla="*/ 4900 w 752994"/>
                <a:gd name="connsiteY279" fmla="*/ 531220 h 1333436"/>
                <a:gd name="connsiteX280" fmla="*/ 13873 w 752994"/>
                <a:gd name="connsiteY280" fmla="*/ 520589 h 1333436"/>
                <a:gd name="connsiteX281" fmla="*/ 18369 w 752994"/>
                <a:gd name="connsiteY281" fmla="*/ 516516 h 1333436"/>
                <a:gd name="connsiteX282" fmla="*/ 18773 w 752994"/>
                <a:gd name="connsiteY282" fmla="*/ 514272 h 1333436"/>
                <a:gd name="connsiteX283" fmla="*/ 23077 w 752994"/>
                <a:gd name="connsiteY283" fmla="*/ 506127 h 1333436"/>
                <a:gd name="connsiteX284" fmla="*/ 23884 w 752994"/>
                <a:gd name="connsiteY284" fmla="*/ 502261 h 1333436"/>
                <a:gd name="connsiteX285" fmla="*/ 23692 w 752994"/>
                <a:gd name="connsiteY285" fmla="*/ 496738 h 1333436"/>
                <a:gd name="connsiteX286" fmla="*/ 30013 w 752994"/>
                <a:gd name="connsiteY286" fmla="*/ 486556 h 1333436"/>
                <a:gd name="connsiteX287" fmla="*/ 36546 w 752994"/>
                <a:gd name="connsiteY287" fmla="*/ 470230 h 1333436"/>
                <a:gd name="connsiteX288" fmla="*/ 36546 w 752994"/>
                <a:gd name="connsiteY288" fmla="*/ 462671 h 1333436"/>
                <a:gd name="connsiteX289" fmla="*/ 36335 w 752994"/>
                <a:gd name="connsiteY289" fmla="*/ 461670 h 1333436"/>
                <a:gd name="connsiteX290" fmla="*/ 35931 w 752994"/>
                <a:gd name="connsiteY290" fmla="*/ 453110 h 1333436"/>
                <a:gd name="connsiteX291" fmla="*/ 38583 w 752994"/>
                <a:gd name="connsiteY291" fmla="*/ 442514 h 1333436"/>
                <a:gd name="connsiteX292" fmla="*/ 41043 w 752994"/>
                <a:gd name="connsiteY292" fmla="*/ 436991 h 1333436"/>
                <a:gd name="connsiteX293" fmla="*/ 41650 w 752994"/>
                <a:gd name="connsiteY293" fmla="*/ 437186 h 1333436"/>
                <a:gd name="connsiteX294" fmla="*/ 41239 w 752994"/>
                <a:gd name="connsiteY294" fmla="*/ 436549 h 1333436"/>
                <a:gd name="connsiteX295" fmla="*/ 37778 w 752994"/>
                <a:gd name="connsiteY295" fmla="*/ 433894 h 1333436"/>
                <a:gd name="connsiteX296" fmla="*/ 37169 w 752994"/>
                <a:gd name="connsiteY296" fmla="*/ 432261 h 1333436"/>
                <a:gd name="connsiteX297" fmla="*/ 37365 w 752994"/>
                <a:gd name="connsiteY297" fmla="*/ 429198 h 1333436"/>
                <a:gd name="connsiteX298" fmla="*/ 36756 w 752994"/>
                <a:gd name="connsiteY298" fmla="*/ 422272 h 1333436"/>
                <a:gd name="connsiteX299" fmla="*/ 36952 w 752994"/>
                <a:gd name="connsiteY299" fmla="*/ 418800 h 1333436"/>
                <a:gd name="connsiteX300" fmla="*/ 36756 w 752994"/>
                <a:gd name="connsiteY300" fmla="*/ 412487 h 1333436"/>
                <a:gd name="connsiteX301" fmla="*/ 40433 w 752994"/>
                <a:gd name="connsiteY301" fmla="*/ 406174 h 1333436"/>
                <a:gd name="connsiteX302" fmla="*/ 44720 w 752994"/>
                <a:gd name="connsiteY302" fmla="*/ 399435 h 1333436"/>
                <a:gd name="connsiteX303" fmla="*/ 44110 w 752994"/>
                <a:gd name="connsiteY303" fmla="*/ 389651 h 1333436"/>
                <a:gd name="connsiteX304" fmla="*/ 43894 w 752994"/>
                <a:gd name="connsiteY304" fmla="*/ 378437 h 1333436"/>
                <a:gd name="connsiteX305" fmla="*/ 47158 w 752994"/>
                <a:gd name="connsiteY305" fmla="*/ 371102 h 1333436"/>
                <a:gd name="connsiteX306" fmla="*/ 55731 w 752994"/>
                <a:gd name="connsiteY306" fmla="*/ 360909 h 1333436"/>
                <a:gd name="connsiteX307" fmla="*/ 57580 w 752994"/>
                <a:gd name="connsiteY307" fmla="*/ 355804 h 1333436"/>
                <a:gd name="connsiteX308" fmla="*/ 62673 w 752994"/>
                <a:gd name="connsiteY308" fmla="*/ 349695 h 1333436"/>
                <a:gd name="connsiteX309" fmla="*/ 65937 w 752994"/>
                <a:gd name="connsiteY309" fmla="*/ 348470 h 1333436"/>
                <a:gd name="connsiteX310" fmla="*/ 68395 w 752994"/>
                <a:gd name="connsiteY310" fmla="*/ 348674 h 1333436"/>
                <a:gd name="connsiteX311" fmla="*/ 70224 w 752994"/>
                <a:gd name="connsiteY311" fmla="*/ 347449 h 1333436"/>
                <a:gd name="connsiteX312" fmla="*/ 67785 w 752994"/>
                <a:gd name="connsiteY312" fmla="*/ 345203 h 1333436"/>
                <a:gd name="connsiteX313" fmla="*/ 65524 w 752994"/>
                <a:gd name="connsiteY313" fmla="*/ 343178 h 1333436"/>
                <a:gd name="connsiteX314" fmla="*/ 73095 w 752994"/>
                <a:gd name="connsiteY314" fmla="*/ 333376 h 1333436"/>
                <a:gd name="connsiteX315" fmla="*/ 73291 w 752994"/>
                <a:gd name="connsiteY315" fmla="*/ 333376 h 1333436"/>
                <a:gd name="connsiteX316" fmla="*/ 77991 w 752994"/>
                <a:gd name="connsiteY316" fmla="*/ 325838 h 1333436"/>
                <a:gd name="connsiteX317" fmla="*/ 82671 w 752994"/>
                <a:gd name="connsiteY317" fmla="*/ 313619 h 1333436"/>
                <a:gd name="connsiteX318" fmla="*/ 87980 w 752994"/>
                <a:gd name="connsiteY318" fmla="*/ 303018 h 1333436"/>
                <a:gd name="connsiteX319" fmla="*/ 92267 w 752994"/>
                <a:gd name="connsiteY319" fmla="*/ 291191 h 1333436"/>
                <a:gd name="connsiteX320" fmla="*/ 96553 w 752994"/>
                <a:gd name="connsiteY320" fmla="*/ 281202 h 1333436"/>
                <a:gd name="connsiteX321" fmla="*/ 99621 w 752994"/>
                <a:gd name="connsiteY321" fmla="*/ 274481 h 1333436"/>
                <a:gd name="connsiteX322" fmla="*/ 103082 w 752994"/>
                <a:gd name="connsiteY322" fmla="*/ 262450 h 1333436"/>
                <a:gd name="connsiteX323" fmla="*/ 107172 w 752994"/>
                <a:gd name="connsiteY323" fmla="*/ 254299 h 1333436"/>
                <a:gd name="connsiteX324" fmla="*/ 112481 w 752994"/>
                <a:gd name="connsiteY324" fmla="*/ 243697 h 1333436"/>
                <a:gd name="connsiteX325" fmla="*/ 117181 w 752994"/>
                <a:gd name="connsiteY325" fmla="*/ 232279 h 1333436"/>
                <a:gd name="connsiteX326" fmla="*/ 125951 w 752994"/>
                <a:gd name="connsiteY326" fmla="*/ 217389 h 1333436"/>
                <a:gd name="connsiteX327" fmla="*/ 136156 w 752994"/>
                <a:gd name="connsiteY327" fmla="*/ 202925 h 1333436"/>
                <a:gd name="connsiteX328" fmla="*/ 138811 w 752994"/>
                <a:gd name="connsiteY328" fmla="*/ 183339 h 1333436"/>
                <a:gd name="connsiteX329" fmla="*/ 148801 w 752994"/>
                <a:gd name="connsiteY329" fmla="*/ 167445 h 1333436"/>
                <a:gd name="connsiteX330" fmla="*/ 159616 w 752994"/>
                <a:gd name="connsiteY330" fmla="*/ 170712 h 1333436"/>
                <a:gd name="connsiteX331" fmla="*/ 173105 w 752994"/>
                <a:gd name="connsiteY331" fmla="*/ 175188 h 1333436"/>
                <a:gd name="connsiteX332" fmla="*/ 175347 w 752994"/>
                <a:gd name="connsiteY332" fmla="*/ 175188 h 1333436"/>
                <a:gd name="connsiteX333" fmla="*/ 175347 w 752994"/>
                <a:gd name="connsiteY333" fmla="*/ 173758 h 1333436"/>
                <a:gd name="connsiteX334" fmla="*/ 184975 w 752994"/>
                <a:gd name="connsiteY334" fmla="*/ 187393 h 1333436"/>
                <a:gd name="connsiteX335" fmla="*/ 184762 w 752994"/>
                <a:gd name="connsiteY335" fmla="*/ 184637 h 1333436"/>
                <a:gd name="connsiteX336" fmla="*/ 174971 w 752994"/>
                <a:gd name="connsiteY336" fmla="*/ 170774 h 1333436"/>
                <a:gd name="connsiteX337" fmla="*/ 174971 w 752994"/>
                <a:gd name="connsiteY337" fmla="*/ 169550 h 1333436"/>
                <a:gd name="connsiteX338" fmla="*/ 158851 w 752994"/>
                <a:gd name="connsiteY338" fmla="*/ 156924 h 1333436"/>
                <a:gd name="connsiteX339" fmla="*/ 147025 w 752994"/>
                <a:gd name="connsiteY339" fmla="*/ 145709 h 1333436"/>
                <a:gd name="connsiteX340" fmla="*/ 154364 w 752994"/>
                <a:gd name="connsiteY340" fmla="*/ 136335 h 1333436"/>
                <a:gd name="connsiteX341" fmla="*/ 161511 w 752994"/>
                <a:gd name="connsiteY341" fmla="*/ 131042 h 1333436"/>
                <a:gd name="connsiteX342" fmla="*/ 160902 w 752994"/>
                <a:gd name="connsiteY342" fmla="*/ 128384 h 1333436"/>
                <a:gd name="connsiteX343" fmla="*/ 160277 w 752994"/>
                <a:gd name="connsiteY343" fmla="*/ 127778 h 1333436"/>
                <a:gd name="connsiteX344" fmla="*/ 154973 w 752994"/>
                <a:gd name="connsiteY344" fmla="*/ 122077 h 1333436"/>
                <a:gd name="connsiteX345" fmla="*/ 160277 w 752994"/>
                <a:gd name="connsiteY345" fmla="*/ 115140 h 1333436"/>
                <a:gd name="connsiteX346" fmla="*/ 165181 w 752994"/>
                <a:gd name="connsiteY346" fmla="*/ 108215 h 1333436"/>
                <a:gd name="connsiteX347" fmla="*/ 161303 w 752994"/>
                <a:gd name="connsiteY347" fmla="*/ 104146 h 1333436"/>
                <a:gd name="connsiteX348" fmla="*/ 157842 w 752994"/>
                <a:gd name="connsiteY348" fmla="*/ 104542 h 1333436"/>
                <a:gd name="connsiteX349" fmla="*/ 157024 w 752994"/>
                <a:gd name="connsiteY349" fmla="*/ 102304 h 1333436"/>
                <a:gd name="connsiteX350" fmla="*/ 160694 w 752994"/>
                <a:gd name="connsiteY350" fmla="*/ 55437 h 1333436"/>
                <a:gd name="connsiteX351" fmla="*/ 160486 w 752994"/>
                <a:gd name="connsiteY351" fmla="*/ 31991 h 1333436"/>
                <a:gd name="connsiteX352" fmla="*/ 164972 w 752994"/>
                <a:gd name="connsiteY352" fmla="*/ 18141 h 1333436"/>
                <a:gd name="connsiteX353" fmla="*/ 171911 w 752994"/>
                <a:gd name="connsiteY353" fmla="*/ 11204 h 1333436"/>
                <a:gd name="connsiteX354" fmla="*/ 187406 w 752994"/>
                <a:gd name="connsiteY354" fmla="*/ 21801 h 1333436"/>
                <a:gd name="connsiteX355" fmla="*/ 210866 w 752994"/>
                <a:gd name="connsiteY355" fmla="*/ 37086 h 1333436"/>
                <a:gd name="connsiteX356" fmla="*/ 219230 w 752994"/>
                <a:gd name="connsiteY356" fmla="*/ 41166 h 1333436"/>
                <a:gd name="connsiteX357" fmla="*/ 226778 w 752994"/>
                <a:gd name="connsiteY357" fmla="*/ 47486 h 1333436"/>
                <a:gd name="connsiteX358" fmla="*/ 236152 w 752994"/>
                <a:gd name="connsiteY358" fmla="*/ 52370 h 1333436"/>
                <a:gd name="connsiteX359" fmla="*/ 239629 w 752994"/>
                <a:gd name="connsiteY359" fmla="*/ 58491 h 1333436"/>
                <a:gd name="connsiteX360" fmla="*/ 239629 w 752994"/>
                <a:gd name="connsiteY360" fmla="*/ 63376 h 1333436"/>
                <a:gd name="connsiteX361" fmla="*/ 236568 w 752994"/>
                <a:gd name="connsiteY361" fmla="*/ 67457 h 1333436"/>
                <a:gd name="connsiteX362" fmla="*/ 231264 w 752994"/>
                <a:gd name="connsiteY362" fmla="*/ 69905 h 1333436"/>
                <a:gd name="connsiteX363" fmla="*/ 216778 w 752994"/>
                <a:gd name="connsiteY363" fmla="*/ 82741 h 1333436"/>
                <a:gd name="connsiteX364" fmla="*/ 214134 w 752994"/>
                <a:gd name="connsiteY364" fmla="*/ 93536 h 1333436"/>
                <a:gd name="connsiteX365" fmla="*/ 214535 w 752994"/>
                <a:gd name="connsiteY365" fmla="*/ 96801 h 1333436"/>
                <a:gd name="connsiteX366" fmla="*/ 216378 w 752994"/>
                <a:gd name="connsiteY366" fmla="*/ 96801 h 1333436"/>
                <a:gd name="connsiteX367" fmla="*/ 230046 w 752994"/>
                <a:gd name="connsiteY367" fmla="*/ 85387 h 1333436"/>
                <a:gd name="connsiteX368" fmla="*/ 243298 w 752994"/>
                <a:gd name="connsiteY368" fmla="*/ 75198 h 1333436"/>
                <a:gd name="connsiteX369" fmla="*/ 246760 w 752994"/>
                <a:gd name="connsiteY369" fmla="*/ 77646 h 1333436"/>
                <a:gd name="connsiteX370" fmla="*/ 255541 w 752994"/>
                <a:gd name="connsiteY370" fmla="*/ 63376 h 1333436"/>
                <a:gd name="connsiteX371" fmla="*/ 259611 w 752994"/>
                <a:gd name="connsiteY371" fmla="*/ 43405 h 1333436"/>
                <a:gd name="connsiteX372" fmla="*/ 256967 w 752994"/>
                <a:gd name="connsiteY372" fmla="*/ 38520 h 1333436"/>
                <a:gd name="connsiteX373" fmla="*/ 253906 w 752994"/>
                <a:gd name="connsiteY373" fmla="*/ 34242 h 1333436"/>
                <a:gd name="connsiteX374" fmla="*/ 256967 w 752994"/>
                <a:gd name="connsiteY374" fmla="*/ 30161 h 1333436"/>
                <a:gd name="connsiteX375" fmla="*/ 262063 w 752994"/>
                <a:gd name="connsiteY375" fmla="*/ 27712 h 1333436"/>
                <a:gd name="connsiteX376" fmla="*/ 264915 w 752994"/>
                <a:gd name="connsiteY376" fmla="*/ 23026 h 1333436"/>
                <a:gd name="connsiteX377" fmla="*/ 267976 w 752994"/>
                <a:gd name="connsiteY377" fmla="*/ 22618 h 1333436"/>
                <a:gd name="connsiteX378" fmla="*/ 270427 w 752994"/>
                <a:gd name="connsiteY378" fmla="*/ 20787 h 1333436"/>
                <a:gd name="connsiteX379" fmla="*/ 263088 w 752994"/>
                <a:gd name="connsiteY379" fmla="*/ 13652 h 1333436"/>
                <a:gd name="connsiteX380" fmla="*/ 255541 w 752994"/>
                <a:gd name="connsiteY380" fmla="*/ 3055 h 1333436"/>
                <a:gd name="connsiteX381" fmla="*/ 256358 w 752994"/>
                <a:gd name="connsiteY381" fmla="*/ 1224 h 1333436"/>
                <a:gd name="connsiteX382" fmla="*/ 257159 w 752994"/>
                <a:gd name="connsiteY382"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442753 w 752994"/>
                <a:gd name="connsiteY153" fmla="*/ 950656 h 1333436"/>
                <a:gd name="connsiteX154" fmla="*/ 442550 w 752994"/>
                <a:gd name="connsiteY154" fmla="*/ 951272 h 1333436"/>
                <a:gd name="connsiteX155" fmla="*/ 439290 w 752994"/>
                <a:gd name="connsiteY155" fmla="*/ 958807 h 1333436"/>
                <a:gd name="connsiteX156" fmla="*/ 432957 w 752994"/>
                <a:gd name="connsiteY156" fmla="*/ 963487 h 1333436"/>
                <a:gd name="connsiteX157" fmla="*/ 429291 w 752994"/>
                <a:gd name="connsiteY157" fmla="*/ 959817 h 1333436"/>
                <a:gd name="connsiteX158" fmla="*/ 710622 w 752994"/>
                <a:gd name="connsiteY158" fmla="*/ 948043 h 1333436"/>
                <a:gd name="connsiteX159" fmla="*/ 654533 w 752994"/>
                <a:gd name="connsiteY159" fmla="*/ 1333436 h 1333436"/>
                <a:gd name="connsiteX160" fmla="*/ 546831 w 752994"/>
                <a:gd name="connsiteY160" fmla="*/ 1317126 h 1333436"/>
                <a:gd name="connsiteX161" fmla="*/ 351227 w 752994"/>
                <a:gd name="connsiteY161" fmla="*/ 1194172 h 1333436"/>
                <a:gd name="connsiteX162" fmla="*/ 361011 w 752994"/>
                <a:gd name="connsiteY162" fmla="*/ 1182755 h 1333436"/>
                <a:gd name="connsiteX163" fmla="*/ 368981 w 752994"/>
                <a:gd name="connsiteY163" fmla="*/ 1182130 h 1333436"/>
                <a:gd name="connsiteX164" fmla="*/ 369571 w 752994"/>
                <a:gd name="connsiteY164" fmla="*/ 1181558 h 1333436"/>
                <a:gd name="connsiteX165" fmla="*/ 362372 w 752994"/>
                <a:gd name="connsiteY165" fmla="*/ 1182120 h 1333436"/>
                <a:gd name="connsiteX166" fmla="*/ 229464 w 752994"/>
                <a:gd name="connsiteY166" fmla="*/ 1161721 h 1333436"/>
                <a:gd name="connsiteX167" fmla="*/ 227427 w 752994"/>
                <a:gd name="connsiteY167" fmla="*/ 1157269 h 1333436"/>
                <a:gd name="connsiteX168" fmla="*/ 224967 w 752994"/>
                <a:gd name="connsiteY168" fmla="*/ 1152575 h 1333436"/>
                <a:gd name="connsiteX169" fmla="*/ 225582 w 752994"/>
                <a:gd name="connsiteY169" fmla="*/ 1144808 h 1333436"/>
                <a:gd name="connsiteX170" fmla="*/ 227215 w 752994"/>
                <a:gd name="connsiteY170" fmla="*/ 1135834 h 1333436"/>
                <a:gd name="connsiteX171" fmla="*/ 227215 w 752994"/>
                <a:gd name="connsiteY171" fmla="*/ 1134212 h 1333436"/>
                <a:gd name="connsiteX172" fmla="*/ 225179 w 752994"/>
                <a:gd name="connsiteY172" fmla="*/ 1114020 h 1333436"/>
                <a:gd name="connsiteX173" fmla="*/ 217839 w 752994"/>
                <a:gd name="connsiteY173" fmla="*/ 1100352 h 1333436"/>
                <a:gd name="connsiteX174" fmla="*/ 199661 w 752994"/>
                <a:gd name="connsiteY174" fmla="*/ 1076502 h 1333436"/>
                <a:gd name="connsiteX175" fmla="*/ 196395 w 752994"/>
                <a:gd name="connsiteY175" fmla="*/ 1071807 h 1333436"/>
                <a:gd name="connsiteX176" fmla="*/ 190880 w 752994"/>
                <a:gd name="connsiteY176" fmla="*/ 1067527 h 1333436"/>
                <a:gd name="connsiteX177" fmla="*/ 187210 w 752994"/>
                <a:gd name="connsiteY177" fmla="*/ 1068735 h 1333436"/>
                <a:gd name="connsiteX178" fmla="*/ 180062 w 752994"/>
                <a:gd name="connsiteY178" fmla="*/ 1066699 h 1333436"/>
                <a:gd name="connsiteX179" fmla="*/ 180466 w 752994"/>
                <a:gd name="connsiteY179" fmla="*/ 1053031 h 1333436"/>
                <a:gd name="connsiteX180" fmla="*/ 180062 w 752994"/>
                <a:gd name="connsiteY180" fmla="*/ 1045299 h 1333436"/>
                <a:gd name="connsiteX181" fmla="*/ 174144 w 752994"/>
                <a:gd name="connsiteY181" fmla="*/ 1044057 h 1333436"/>
                <a:gd name="connsiteX182" fmla="*/ 158426 w 752994"/>
                <a:gd name="connsiteY182" fmla="*/ 1042641 h 1333436"/>
                <a:gd name="connsiteX183" fmla="*/ 149857 w 752994"/>
                <a:gd name="connsiteY183" fmla="*/ 1035497 h 1333436"/>
                <a:gd name="connsiteX184" fmla="*/ 142497 w 752994"/>
                <a:gd name="connsiteY184" fmla="*/ 1028766 h 1333436"/>
                <a:gd name="connsiteX185" fmla="*/ 140864 w 752994"/>
                <a:gd name="connsiteY185" fmla="*/ 1020620 h 1333436"/>
                <a:gd name="connsiteX186" fmla="*/ 138212 w 752994"/>
                <a:gd name="connsiteY186" fmla="*/ 1013061 h 1333436"/>
                <a:gd name="connsiteX187" fmla="*/ 131064 w 752994"/>
                <a:gd name="connsiteY187" fmla="*/ 1007159 h 1333436"/>
                <a:gd name="connsiteX188" fmla="*/ 121264 w 752994"/>
                <a:gd name="connsiteY188" fmla="*/ 1005330 h 1333436"/>
                <a:gd name="connsiteX189" fmla="*/ 112483 w 752994"/>
                <a:gd name="connsiteY189" fmla="*/ 1001671 h 1333436"/>
                <a:gd name="connsiteX190" fmla="*/ 105950 w 752994"/>
                <a:gd name="connsiteY190" fmla="*/ 995734 h 1333436"/>
                <a:gd name="connsiteX191" fmla="*/ 97380 w 752994"/>
                <a:gd name="connsiteY191" fmla="*/ 994526 h 1333436"/>
                <a:gd name="connsiteX192" fmla="*/ 87984 w 752994"/>
                <a:gd name="connsiteY192" fmla="*/ 991040 h 1333436"/>
                <a:gd name="connsiteX193" fmla="*/ 80029 w 752994"/>
                <a:gd name="connsiteY193" fmla="*/ 985138 h 1333436"/>
                <a:gd name="connsiteX194" fmla="*/ 77166 w 752994"/>
                <a:gd name="connsiteY194" fmla="*/ 976164 h 1333436"/>
                <a:gd name="connsiteX195" fmla="*/ 79203 w 752994"/>
                <a:gd name="connsiteY195" fmla="*/ 970676 h 1333436"/>
                <a:gd name="connsiteX196" fmla="*/ 82470 w 752994"/>
                <a:gd name="connsiteY196" fmla="*/ 963117 h 1333436"/>
                <a:gd name="connsiteX197" fmla="*/ 84314 w 752994"/>
                <a:gd name="connsiteY197" fmla="*/ 954557 h 1333436"/>
                <a:gd name="connsiteX198" fmla="*/ 86351 w 752994"/>
                <a:gd name="connsiteY198" fmla="*/ 948033 h 1333436"/>
                <a:gd name="connsiteX199" fmla="*/ 86159 w 752994"/>
                <a:gd name="connsiteY199" fmla="*/ 942925 h 1333436"/>
                <a:gd name="connsiteX200" fmla="*/ 83085 w 752994"/>
                <a:gd name="connsiteY200" fmla="*/ 939853 h 1333436"/>
                <a:gd name="connsiteX201" fmla="*/ 77570 w 752994"/>
                <a:gd name="connsiteY201" fmla="*/ 937437 h 1333436"/>
                <a:gd name="connsiteX202" fmla="*/ 76763 w 752994"/>
                <a:gd name="connsiteY202" fmla="*/ 931915 h 1333436"/>
                <a:gd name="connsiteX203" fmla="*/ 78800 w 752994"/>
                <a:gd name="connsiteY203" fmla="*/ 927013 h 1333436"/>
                <a:gd name="connsiteX204" fmla="*/ 79626 w 752994"/>
                <a:gd name="connsiteY204" fmla="*/ 922526 h 1333436"/>
                <a:gd name="connsiteX205" fmla="*/ 77781 w 752994"/>
                <a:gd name="connsiteY205" fmla="*/ 919903 h 1333436"/>
                <a:gd name="connsiteX206" fmla="*/ 74303 w 752994"/>
                <a:gd name="connsiteY206" fmla="*/ 917418 h 1333436"/>
                <a:gd name="connsiteX207" fmla="*/ 71863 w 752994"/>
                <a:gd name="connsiteY207" fmla="*/ 915174 h 1333436"/>
                <a:gd name="connsiteX208" fmla="*/ 71652 w 752994"/>
                <a:gd name="connsiteY208" fmla="*/ 910894 h 1333436"/>
                <a:gd name="connsiteX209" fmla="*/ 70633 w 752994"/>
                <a:gd name="connsiteY209" fmla="*/ 906614 h 1333436"/>
                <a:gd name="connsiteX210" fmla="*/ 68385 w 752994"/>
                <a:gd name="connsiteY210" fmla="*/ 902749 h 1333436"/>
                <a:gd name="connsiteX211" fmla="*/ 61045 w 752994"/>
                <a:gd name="connsiteY211" fmla="*/ 889494 h 1333436"/>
                <a:gd name="connsiteX212" fmla="*/ 57971 w 752994"/>
                <a:gd name="connsiteY212" fmla="*/ 875619 h 1333436"/>
                <a:gd name="connsiteX213" fmla="*/ 52264 w 752994"/>
                <a:gd name="connsiteY213" fmla="*/ 862572 h 1333436"/>
                <a:gd name="connsiteX214" fmla="*/ 44309 w 752994"/>
                <a:gd name="connsiteY214" fmla="*/ 850561 h 1333436"/>
                <a:gd name="connsiteX215" fmla="*/ 45520 w 752994"/>
                <a:gd name="connsiteY215" fmla="*/ 827090 h 1333436"/>
                <a:gd name="connsiteX216" fmla="*/ 53071 w 752994"/>
                <a:gd name="connsiteY216" fmla="*/ 822396 h 1333436"/>
                <a:gd name="connsiteX217" fmla="*/ 57375 w 752994"/>
                <a:gd name="connsiteY217" fmla="*/ 816493 h 1333436"/>
                <a:gd name="connsiteX218" fmla="*/ 55319 w 752994"/>
                <a:gd name="connsiteY218" fmla="*/ 801617 h 1333436"/>
                <a:gd name="connsiteX219" fmla="*/ 48383 w 752994"/>
                <a:gd name="connsiteY219" fmla="*/ 802204 h 1333436"/>
                <a:gd name="connsiteX220" fmla="*/ 40428 w 752994"/>
                <a:gd name="connsiteY220" fmla="*/ 797924 h 1333436"/>
                <a:gd name="connsiteX221" fmla="*/ 37565 w 752994"/>
                <a:gd name="connsiteY221" fmla="*/ 790606 h 1333436"/>
                <a:gd name="connsiteX222" fmla="*/ 37565 w 752994"/>
                <a:gd name="connsiteY222" fmla="*/ 790399 h 1333436"/>
                <a:gd name="connsiteX223" fmla="*/ 35931 w 752994"/>
                <a:gd name="connsiteY223" fmla="*/ 785912 h 1333436"/>
                <a:gd name="connsiteX224" fmla="*/ 34510 w 752994"/>
                <a:gd name="connsiteY224" fmla="*/ 780597 h 1333436"/>
                <a:gd name="connsiteX225" fmla="*/ 36335 w 752994"/>
                <a:gd name="connsiteY225" fmla="*/ 774280 h 1333436"/>
                <a:gd name="connsiteX226" fmla="*/ 38180 w 752994"/>
                <a:gd name="connsiteY226" fmla="*/ 766721 h 1333436"/>
                <a:gd name="connsiteX227" fmla="*/ 37161 w 752994"/>
                <a:gd name="connsiteY227" fmla="*/ 760405 h 1333436"/>
                <a:gd name="connsiteX228" fmla="*/ 35720 w 752994"/>
                <a:gd name="connsiteY228" fmla="*/ 754710 h 1333436"/>
                <a:gd name="connsiteX229" fmla="*/ 36546 w 752994"/>
                <a:gd name="connsiteY229" fmla="*/ 748773 h 1333436"/>
                <a:gd name="connsiteX230" fmla="*/ 38372 w 752994"/>
                <a:gd name="connsiteY230" fmla="*/ 744528 h 1333436"/>
                <a:gd name="connsiteX231" fmla="*/ 41638 w 752994"/>
                <a:gd name="connsiteY231" fmla="*/ 744321 h 1333436"/>
                <a:gd name="connsiteX232" fmla="*/ 44713 w 752994"/>
                <a:gd name="connsiteY232" fmla="*/ 746357 h 1333436"/>
                <a:gd name="connsiteX233" fmla="*/ 47364 w 752994"/>
                <a:gd name="connsiteY233" fmla="*/ 753260 h 1333436"/>
                <a:gd name="connsiteX234" fmla="*/ 55742 w 752994"/>
                <a:gd name="connsiteY234" fmla="*/ 764305 h 1333436"/>
                <a:gd name="connsiteX235" fmla="*/ 56338 w 752994"/>
                <a:gd name="connsiteY235" fmla="*/ 761233 h 1333436"/>
                <a:gd name="connsiteX236" fmla="*/ 56145 w 752994"/>
                <a:gd name="connsiteY236" fmla="*/ 757368 h 1333436"/>
                <a:gd name="connsiteX237" fmla="*/ 54916 w 752994"/>
                <a:gd name="connsiteY237" fmla="*/ 748601 h 1333436"/>
                <a:gd name="connsiteX238" fmla="*/ 52879 w 752994"/>
                <a:gd name="connsiteY238" fmla="*/ 747358 h 1333436"/>
                <a:gd name="connsiteX239" fmla="*/ 51649 w 752994"/>
                <a:gd name="connsiteY239" fmla="*/ 745322 h 1333436"/>
                <a:gd name="connsiteX240" fmla="*/ 51649 w 752994"/>
                <a:gd name="connsiteY240" fmla="*/ 739212 h 1333436"/>
                <a:gd name="connsiteX241" fmla="*/ 50227 w 752994"/>
                <a:gd name="connsiteY241" fmla="*/ 734725 h 1333436"/>
                <a:gd name="connsiteX242" fmla="*/ 48786 w 752994"/>
                <a:gd name="connsiteY242" fmla="*/ 731446 h 1333436"/>
                <a:gd name="connsiteX243" fmla="*/ 54512 w 752994"/>
                <a:gd name="connsiteY243" fmla="*/ 726372 h 1333436"/>
                <a:gd name="connsiteX244" fmla="*/ 59815 w 752994"/>
                <a:gd name="connsiteY244" fmla="*/ 725130 h 1333436"/>
                <a:gd name="connsiteX245" fmla="*/ 58182 w 752994"/>
                <a:gd name="connsiteY245" fmla="*/ 722886 h 1333436"/>
                <a:gd name="connsiteX246" fmla="*/ 51861 w 752994"/>
                <a:gd name="connsiteY246" fmla="*/ 717985 h 1333436"/>
                <a:gd name="connsiteX247" fmla="*/ 46749 w 752994"/>
                <a:gd name="connsiteY247" fmla="*/ 729617 h 1333436"/>
                <a:gd name="connsiteX248" fmla="*/ 40831 w 752994"/>
                <a:gd name="connsiteY248" fmla="*/ 739212 h 1333436"/>
                <a:gd name="connsiteX249" fmla="*/ 39601 w 752994"/>
                <a:gd name="connsiteY249" fmla="*/ 738798 h 1333436"/>
                <a:gd name="connsiteX250" fmla="*/ 39409 w 752994"/>
                <a:gd name="connsiteY250" fmla="*/ 738591 h 1333436"/>
                <a:gd name="connsiteX251" fmla="*/ 37161 w 752994"/>
                <a:gd name="connsiteY251" fmla="*/ 734725 h 1333436"/>
                <a:gd name="connsiteX252" fmla="*/ 32665 w 752994"/>
                <a:gd name="connsiteY252" fmla="*/ 727788 h 1333436"/>
                <a:gd name="connsiteX253" fmla="*/ 26747 w 752994"/>
                <a:gd name="connsiteY253" fmla="*/ 719435 h 1333436"/>
                <a:gd name="connsiteX254" fmla="*/ 23884 w 752994"/>
                <a:gd name="connsiteY254" fmla="*/ 717812 h 1333436"/>
                <a:gd name="connsiteX255" fmla="*/ 24710 w 752994"/>
                <a:gd name="connsiteY255" fmla="*/ 709632 h 1333436"/>
                <a:gd name="connsiteX256" fmla="*/ 27554 w 752994"/>
                <a:gd name="connsiteY256" fmla="*/ 701694 h 1333436"/>
                <a:gd name="connsiteX257" fmla="*/ 24902 w 752994"/>
                <a:gd name="connsiteY257" fmla="*/ 696171 h 1333436"/>
                <a:gd name="connsiteX258" fmla="*/ 24095 w 752994"/>
                <a:gd name="connsiteY258" fmla="*/ 687818 h 1333436"/>
                <a:gd name="connsiteX259" fmla="*/ 22462 w 752994"/>
                <a:gd name="connsiteY259" fmla="*/ 682330 h 1333436"/>
                <a:gd name="connsiteX260" fmla="*/ 17159 w 752994"/>
                <a:gd name="connsiteY260" fmla="*/ 677636 h 1333436"/>
                <a:gd name="connsiteX261" fmla="*/ 14296 w 752994"/>
                <a:gd name="connsiteY261" fmla="*/ 671492 h 1333436"/>
                <a:gd name="connsiteX262" fmla="*/ 12451 w 752994"/>
                <a:gd name="connsiteY262" fmla="*/ 665797 h 1333436"/>
                <a:gd name="connsiteX263" fmla="*/ 5111 w 752994"/>
                <a:gd name="connsiteY263" fmla="*/ 654994 h 1333436"/>
                <a:gd name="connsiteX264" fmla="*/ 2248 w 752994"/>
                <a:gd name="connsiteY264" fmla="*/ 645605 h 1333436"/>
                <a:gd name="connsiteX265" fmla="*/ 4496 w 752994"/>
                <a:gd name="connsiteY265" fmla="*/ 640497 h 1333436"/>
                <a:gd name="connsiteX266" fmla="*/ 6744 w 752994"/>
                <a:gd name="connsiteY266" fmla="*/ 632765 h 1333436"/>
                <a:gd name="connsiteX267" fmla="*/ 6744 w 752994"/>
                <a:gd name="connsiteY267" fmla="*/ 628485 h 1333436"/>
                <a:gd name="connsiteX268" fmla="*/ 6533 w 752994"/>
                <a:gd name="connsiteY268" fmla="*/ 620305 h 1333436"/>
                <a:gd name="connsiteX269" fmla="*/ 7359 w 752994"/>
                <a:gd name="connsiteY269" fmla="*/ 611745 h 1333436"/>
                <a:gd name="connsiteX270" fmla="*/ 11836 w 752994"/>
                <a:gd name="connsiteY270" fmla="*/ 602978 h 1333436"/>
                <a:gd name="connsiteX271" fmla="*/ 15103 w 752994"/>
                <a:gd name="connsiteY271" fmla="*/ 591760 h 1333436"/>
                <a:gd name="connsiteX272" fmla="*/ 14488 w 752994"/>
                <a:gd name="connsiteY272" fmla="*/ 584029 h 1333436"/>
                <a:gd name="connsiteX273" fmla="*/ 13873 w 752994"/>
                <a:gd name="connsiteY273" fmla="*/ 578299 h 1333436"/>
                <a:gd name="connsiteX274" fmla="*/ 10626 w 752994"/>
                <a:gd name="connsiteY274" fmla="*/ 568531 h 1333436"/>
                <a:gd name="connsiteX275" fmla="*/ 3670 w 752994"/>
                <a:gd name="connsiteY275" fmla="*/ 558107 h 1333436"/>
                <a:gd name="connsiteX276" fmla="*/ 0 w 752994"/>
                <a:gd name="connsiteY276" fmla="*/ 551377 h 1333436"/>
                <a:gd name="connsiteX277" fmla="*/ 0 w 752994"/>
                <a:gd name="connsiteY277" fmla="*/ 550997 h 1333436"/>
                <a:gd name="connsiteX278" fmla="*/ 4900 w 752994"/>
                <a:gd name="connsiteY278" fmla="*/ 531220 h 1333436"/>
                <a:gd name="connsiteX279" fmla="*/ 13873 w 752994"/>
                <a:gd name="connsiteY279" fmla="*/ 520589 h 1333436"/>
                <a:gd name="connsiteX280" fmla="*/ 18369 w 752994"/>
                <a:gd name="connsiteY280" fmla="*/ 516516 h 1333436"/>
                <a:gd name="connsiteX281" fmla="*/ 18773 w 752994"/>
                <a:gd name="connsiteY281" fmla="*/ 514272 h 1333436"/>
                <a:gd name="connsiteX282" fmla="*/ 23077 w 752994"/>
                <a:gd name="connsiteY282" fmla="*/ 506127 h 1333436"/>
                <a:gd name="connsiteX283" fmla="*/ 23884 w 752994"/>
                <a:gd name="connsiteY283" fmla="*/ 502261 h 1333436"/>
                <a:gd name="connsiteX284" fmla="*/ 23692 w 752994"/>
                <a:gd name="connsiteY284" fmla="*/ 496738 h 1333436"/>
                <a:gd name="connsiteX285" fmla="*/ 30013 w 752994"/>
                <a:gd name="connsiteY285" fmla="*/ 486556 h 1333436"/>
                <a:gd name="connsiteX286" fmla="*/ 36546 w 752994"/>
                <a:gd name="connsiteY286" fmla="*/ 470230 h 1333436"/>
                <a:gd name="connsiteX287" fmla="*/ 36546 w 752994"/>
                <a:gd name="connsiteY287" fmla="*/ 462671 h 1333436"/>
                <a:gd name="connsiteX288" fmla="*/ 36335 w 752994"/>
                <a:gd name="connsiteY288" fmla="*/ 461670 h 1333436"/>
                <a:gd name="connsiteX289" fmla="*/ 35931 w 752994"/>
                <a:gd name="connsiteY289" fmla="*/ 453110 h 1333436"/>
                <a:gd name="connsiteX290" fmla="*/ 38583 w 752994"/>
                <a:gd name="connsiteY290" fmla="*/ 442514 h 1333436"/>
                <a:gd name="connsiteX291" fmla="*/ 41043 w 752994"/>
                <a:gd name="connsiteY291" fmla="*/ 436991 h 1333436"/>
                <a:gd name="connsiteX292" fmla="*/ 41650 w 752994"/>
                <a:gd name="connsiteY292" fmla="*/ 437186 h 1333436"/>
                <a:gd name="connsiteX293" fmla="*/ 41239 w 752994"/>
                <a:gd name="connsiteY293" fmla="*/ 436549 h 1333436"/>
                <a:gd name="connsiteX294" fmla="*/ 37778 w 752994"/>
                <a:gd name="connsiteY294" fmla="*/ 433894 h 1333436"/>
                <a:gd name="connsiteX295" fmla="*/ 37169 w 752994"/>
                <a:gd name="connsiteY295" fmla="*/ 432261 h 1333436"/>
                <a:gd name="connsiteX296" fmla="*/ 37365 w 752994"/>
                <a:gd name="connsiteY296" fmla="*/ 429198 h 1333436"/>
                <a:gd name="connsiteX297" fmla="*/ 36756 w 752994"/>
                <a:gd name="connsiteY297" fmla="*/ 422272 h 1333436"/>
                <a:gd name="connsiteX298" fmla="*/ 36952 w 752994"/>
                <a:gd name="connsiteY298" fmla="*/ 418800 h 1333436"/>
                <a:gd name="connsiteX299" fmla="*/ 36756 w 752994"/>
                <a:gd name="connsiteY299" fmla="*/ 412487 h 1333436"/>
                <a:gd name="connsiteX300" fmla="*/ 40433 w 752994"/>
                <a:gd name="connsiteY300" fmla="*/ 406174 h 1333436"/>
                <a:gd name="connsiteX301" fmla="*/ 44720 w 752994"/>
                <a:gd name="connsiteY301" fmla="*/ 399435 h 1333436"/>
                <a:gd name="connsiteX302" fmla="*/ 44110 w 752994"/>
                <a:gd name="connsiteY302" fmla="*/ 389651 h 1333436"/>
                <a:gd name="connsiteX303" fmla="*/ 43894 w 752994"/>
                <a:gd name="connsiteY303" fmla="*/ 378437 h 1333436"/>
                <a:gd name="connsiteX304" fmla="*/ 47158 w 752994"/>
                <a:gd name="connsiteY304" fmla="*/ 371102 h 1333436"/>
                <a:gd name="connsiteX305" fmla="*/ 55731 w 752994"/>
                <a:gd name="connsiteY305" fmla="*/ 360909 h 1333436"/>
                <a:gd name="connsiteX306" fmla="*/ 57580 w 752994"/>
                <a:gd name="connsiteY306" fmla="*/ 355804 h 1333436"/>
                <a:gd name="connsiteX307" fmla="*/ 62673 w 752994"/>
                <a:gd name="connsiteY307" fmla="*/ 349695 h 1333436"/>
                <a:gd name="connsiteX308" fmla="*/ 65937 w 752994"/>
                <a:gd name="connsiteY308" fmla="*/ 348470 h 1333436"/>
                <a:gd name="connsiteX309" fmla="*/ 68395 w 752994"/>
                <a:gd name="connsiteY309" fmla="*/ 348674 h 1333436"/>
                <a:gd name="connsiteX310" fmla="*/ 70224 w 752994"/>
                <a:gd name="connsiteY310" fmla="*/ 347449 h 1333436"/>
                <a:gd name="connsiteX311" fmla="*/ 67785 w 752994"/>
                <a:gd name="connsiteY311" fmla="*/ 345203 h 1333436"/>
                <a:gd name="connsiteX312" fmla="*/ 65524 w 752994"/>
                <a:gd name="connsiteY312" fmla="*/ 343178 h 1333436"/>
                <a:gd name="connsiteX313" fmla="*/ 73095 w 752994"/>
                <a:gd name="connsiteY313" fmla="*/ 333376 h 1333436"/>
                <a:gd name="connsiteX314" fmla="*/ 73291 w 752994"/>
                <a:gd name="connsiteY314" fmla="*/ 333376 h 1333436"/>
                <a:gd name="connsiteX315" fmla="*/ 77991 w 752994"/>
                <a:gd name="connsiteY315" fmla="*/ 325838 h 1333436"/>
                <a:gd name="connsiteX316" fmla="*/ 82671 w 752994"/>
                <a:gd name="connsiteY316" fmla="*/ 313619 h 1333436"/>
                <a:gd name="connsiteX317" fmla="*/ 87980 w 752994"/>
                <a:gd name="connsiteY317" fmla="*/ 303018 h 1333436"/>
                <a:gd name="connsiteX318" fmla="*/ 92267 w 752994"/>
                <a:gd name="connsiteY318" fmla="*/ 291191 h 1333436"/>
                <a:gd name="connsiteX319" fmla="*/ 96553 w 752994"/>
                <a:gd name="connsiteY319" fmla="*/ 281202 h 1333436"/>
                <a:gd name="connsiteX320" fmla="*/ 99621 w 752994"/>
                <a:gd name="connsiteY320" fmla="*/ 274481 h 1333436"/>
                <a:gd name="connsiteX321" fmla="*/ 103082 w 752994"/>
                <a:gd name="connsiteY321" fmla="*/ 262450 h 1333436"/>
                <a:gd name="connsiteX322" fmla="*/ 107172 w 752994"/>
                <a:gd name="connsiteY322" fmla="*/ 254299 h 1333436"/>
                <a:gd name="connsiteX323" fmla="*/ 112481 w 752994"/>
                <a:gd name="connsiteY323" fmla="*/ 243697 h 1333436"/>
                <a:gd name="connsiteX324" fmla="*/ 117181 w 752994"/>
                <a:gd name="connsiteY324" fmla="*/ 232279 h 1333436"/>
                <a:gd name="connsiteX325" fmla="*/ 125951 w 752994"/>
                <a:gd name="connsiteY325" fmla="*/ 217389 h 1333436"/>
                <a:gd name="connsiteX326" fmla="*/ 136156 w 752994"/>
                <a:gd name="connsiteY326" fmla="*/ 202925 h 1333436"/>
                <a:gd name="connsiteX327" fmla="*/ 138811 w 752994"/>
                <a:gd name="connsiteY327" fmla="*/ 183339 h 1333436"/>
                <a:gd name="connsiteX328" fmla="*/ 148801 w 752994"/>
                <a:gd name="connsiteY328" fmla="*/ 167445 h 1333436"/>
                <a:gd name="connsiteX329" fmla="*/ 159616 w 752994"/>
                <a:gd name="connsiteY329" fmla="*/ 170712 h 1333436"/>
                <a:gd name="connsiteX330" fmla="*/ 173105 w 752994"/>
                <a:gd name="connsiteY330" fmla="*/ 175188 h 1333436"/>
                <a:gd name="connsiteX331" fmla="*/ 175347 w 752994"/>
                <a:gd name="connsiteY331" fmla="*/ 175188 h 1333436"/>
                <a:gd name="connsiteX332" fmla="*/ 175347 w 752994"/>
                <a:gd name="connsiteY332" fmla="*/ 173758 h 1333436"/>
                <a:gd name="connsiteX333" fmla="*/ 184975 w 752994"/>
                <a:gd name="connsiteY333" fmla="*/ 187393 h 1333436"/>
                <a:gd name="connsiteX334" fmla="*/ 184762 w 752994"/>
                <a:gd name="connsiteY334" fmla="*/ 184637 h 1333436"/>
                <a:gd name="connsiteX335" fmla="*/ 174971 w 752994"/>
                <a:gd name="connsiteY335" fmla="*/ 170774 h 1333436"/>
                <a:gd name="connsiteX336" fmla="*/ 174971 w 752994"/>
                <a:gd name="connsiteY336" fmla="*/ 169550 h 1333436"/>
                <a:gd name="connsiteX337" fmla="*/ 158851 w 752994"/>
                <a:gd name="connsiteY337" fmla="*/ 156924 h 1333436"/>
                <a:gd name="connsiteX338" fmla="*/ 147025 w 752994"/>
                <a:gd name="connsiteY338" fmla="*/ 145709 h 1333436"/>
                <a:gd name="connsiteX339" fmla="*/ 154364 w 752994"/>
                <a:gd name="connsiteY339" fmla="*/ 136335 h 1333436"/>
                <a:gd name="connsiteX340" fmla="*/ 161511 w 752994"/>
                <a:gd name="connsiteY340" fmla="*/ 131042 h 1333436"/>
                <a:gd name="connsiteX341" fmla="*/ 160902 w 752994"/>
                <a:gd name="connsiteY341" fmla="*/ 128384 h 1333436"/>
                <a:gd name="connsiteX342" fmla="*/ 160277 w 752994"/>
                <a:gd name="connsiteY342" fmla="*/ 127778 h 1333436"/>
                <a:gd name="connsiteX343" fmla="*/ 154973 w 752994"/>
                <a:gd name="connsiteY343" fmla="*/ 122077 h 1333436"/>
                <a:gd name="connsiteX344" fmla="*/ 160277 w 752994"/>
                <a:gd name="connsiteY344" fmla="*/ 115140 h 1333436"/>
                <a:gd name="connsiteX345" fmla="*/ 165181 w 752994"/>
                <a:gd name="connsiteY345" fmla="*/ 108215 h 1333436"/>
                <a:gd name="connsiteX346" fmla="*/ 161303 w 752994"/>
                <a:gd name="connsiteY346" fmla="*/ 104146 h 1333436"/>
                <a:gd name="connsiteX347" fmla="*/ 157842 w 752994"/>
                <a:gd name="connsiteY347" fmla="*/ 104542 h 1333436"/>
                <a:gd name="connsiteX348" fmla="*/ 157024 w 752994"/>
                <a:gd name="connsiteY348" fmla="*/ 102304 h 1333436"/>
                <a:gd name="connsiteX349" fmla="*/ 160694 w 752994"/>
                <a:gd name="connsiteY349" fmla="*/ 55437 h 1333436"/>
                <a:gd name="connsiteX350" fmla="*/ 160486 w 752994"/>
                <a:gd name="connsiteY350" fmla="*/ 31991 h 1333436"/>
                <a:gd name="connsiteX351" fmla="*/ 164972 w 752994"/>
                <a:gd name="connsiteY351" fmla="*/ 18141 h 1333436"/>
                <a:gd name="connsiteX352" fmla="*/ 171911 w 752994"/>
                <a:gd name="connsiteY352" fmla="*/ 11204 h 1333436"/>
                <a:gd name="connsiteX353" fmla="*/ 187406 w 752994"/>
                <a:gd name="connsiteY353" fmla="*/ 21801 h 1333436"/>
                <a:gd name="connsiteX354" fmla="*/ 210866 w 752994"/>
                <a:gd name="connsiteY354" fmla="*/ 37086 h 1333436"/>
                <a:gd name="connsiteX355" fmla="*/ 219230 w 752994"/>
                <a:gd name="connsiteY355" fmla="*/ 41166 h 1333436"/>
                <a:gd name="connsiteX356" fmla="*/ 226778 w 752994"/>
                <a:gd name="connsiteY356" fmla="*/ 47486 h 1333436"/>
                <a:gd name="connsiteX357" fmla="*/ 236152 w 752994"/>
                <a:gd name="connsiteY357" fmla="*/ 52370 h 1333436"/>
                <a:gd name="connsiteX358" fmla="*/ 239629 w 752994"/>
                <a:gd name="connsiteY358" fmla="*/ 58491 h 1333436"/>
                <a:gd name="connsiteX359" fmla="*/ 239629 w 752994"/>
                <a:gd name="connsiteY359" fmla="*/ 63376 h 1333436"/>
                <a:gd name="connsiteX360" fmla="*/ 236568 w 752994"/>
                <a:gd name="connsiteY360" fmla="*/ 67457 h 1333436"/>
                <a:gd name="connsiteX361" fmla="*/ 231264 w 752994"/>
                <a:gd name="connsiteY361" fmla="*/ 69905 h 1333436"/>
                <a:gd name="connsiteX362" fmla="*/ 216778 w 752994"/>
                <a:gd name="connsiteY362" fmla="*/ 82741 h 1333436"/>
                <a:gd name="connsiteX363" fmla="*/ 214134 w 752994"/>
                <a:gd name="connsiteY363" fmla="*/ 93536 h 1333436"/>
                <a:gd name="connsiteX364" fmla="*/ 214535 w 752994"/>
                <a:gd name="connsiteY364" fmla="*/ 96801 h 1333436"/>
                <a:gd name="connsiteX365" fmla="*/ 216378 w 752994"/>
                <a:gd name="connsiteY365" fmla="*/ 96801 h 1333436"/>
                <a:gd name="connsiteX366" fmla="*/ 230046 w 752994"/>
                <a:gd name="connsiteY366" fmla="*/ 85387 h 1333436"/>
                <a:gd name="connsiteX367" fmla="*/ 243298 w 752994"/>
                <a:gd name="connsiteY367" fmla="*/ 75198 h 1333436"/>
                <a:gd name="connsiteX368" fmla="*/ 246760 w 752994"/>
                <a:gd name="connsiteY368" fmla="*/ 77646 h 1333436"/>
                <a:gd name="connsiteX369" fmla="*/ 255541 w 752994"/>
                <a:gd name="connsiteY369" fmla="*/ 63376 h 1333436"/>
                <a:gd name="connsiteX370" fmla="*/ 259611 w 752994"/>
                <a:gd name="connsiteY370" fmla="*/ 43405 h 1333436"/>
                <a:gd name="connsiteX371" fmla="*/ 256967 w 752994"/>
                <a:gd name="connsiteY371" fmla="*/ 38520 h 1333436"/>
                <a:gd name="connsiteX372" fmla="*/ 253906 w 752994"/>
                <a:gd name="connsiteY372" fmla="*/ 34242 h 1333436"/>
                <a:gd name="connsiteX373" fmla="*/ 256967 w 752994"/>
                <a:gd name="connsiteY373" fmla="*/ 30161 h 1333436"/>
                <a:gd name="connsiteX374" fmla="*/ 262063 w 752994"/>
                <a:gd name="connsiteY374" fmla="*/ 27712 h 1333436"/>
                <a:gd name="connsiteX375" fmla="*/ 264915 w 752994"/>
                <a:gd name="connsiteY375" fmla="*/ 23026 h 1333436"/>
                <a:gd name="connsiteX376" fmla="*/ 267976 w 752994"/>
                <a:gd name="connsiteY376" fmla="*/ 22618 h 1333436"/>
                <a:gd name="connsiteX377" fmla="*/ 270427 w 752994"/>
                <a:gd name="connsiteY377" fmla="*/ 20787 h 1333436"/>
                <a:gd name="connsiteX378" fmla="*/ 263088 w 752994"/>
                <a:gd name="connsiteY378" fmla="*/ 13652 h 1333436"/>
                <a:gd name="connsiteX379" fmla="*/ 255541 w 752994"/>
                <a:gd name="connsiteY379" fmla="*/ 3055 h 1333436"/>
                <a:gd name="connsiteX380" fmla="*/ 256358 w 752994"/>
                <a:gd name="connsiteY380" fmla="*/ 1224 h 1333436"/>
                <a:gd name="connsiteX381" fmla="*/ 257159 w 752994"/>
                <a:gd name="connsiteY381"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442753 w 752994"/>
                <a:gd name="connsiteY153" fmla="*/ 950656 h 1333436"/>
                <a:gd name="connsiteX154" fmla="*/ 442550 w 752994"/>
                <a:gd name="connsiteY154" fmla="*/ 951272 h 1333436"/>
                <a:gd name="connsiteX155" fmla="*/ 439290 w 752994"/>
                <a:gd name="connsiteY155" fmla="*/ 958807 h 1333436"/>
                <a:gd name="connsiteX156" fmla="*/ 432957 w 752994"/>
                <a:gd name="connsiteY156" fmla="*/ 963487 h 1333436"/>
                <a:gd name="connsiteX157" fmla="*/ 429291 w 752994"/>
                <a:gd name="connsiteY157" fmla="*/ 959817 h 1333436"/>
                <a:gd name="connsiteX158" fmla="*/ 654533 w 752994"/>
                <a:gd name="connsiteY158" fmla="*/ 1333436 h 1333436"/>
                <a:gd name="connsiteX159" fmla="*/ 546831 w 752994"/>
                <a:gd name="connsiteY159" fmla="*/ 1317126 h 1333436"/>
                <a:gd name="connsiteX160" fmla="*/ 351227 w 752994"/>
                <a:gd name="connsiteY160" fmla="*/ 1194172 h 1333436"/>
                <a:gd name="connsiteX161" fmla="*/ 361011 w 752994"/>
                <a:gd name="connsiteY161" fmla="*/ 1182755 h 1333436"/>
                <a:gd name="connsiteX162" fmla="*/ 368981 w 752994"/>
                <a:gd name="connsiteY162" fmla="*/ 1182130 h 1333436"/>
                <a:gd name="connsiteX163" fmla="*/ 369571 w 752994"/>
                <a:gd name="connsiteY163" fmla="*/ 1181558 h 1333436"/>
                <a:gd name="connsiteX164" fmla="*/ 362372 w 752994"/>
                <a:gd name="connsiteY164" fmla="*/ 1182120 h 1333436"/>
                <a:gd name="connsiteX165" fmla="*/ 229464 w 752994"/>
                <a:gd name="connsiteY165" fmla="*/ 1161721 h 1333436"/>
                <a:gd name="connsiteX166" fmla="*/ 227427 w 752994"/>
                <a:gd name="connsiteY166" fmla="*/ 1157269 h 1333436"/>
                <a:gd name="connsiteX167" fmla="*/ 224967 w 752994"/>
                <a:gd name="connsiteY167" fmla="*/ 1152575 h 1333436"/>
                <a:gd name="connsiteX168" fmla="*/ 225582 w 752994"/>
                <a:gd name="connsiteY168" fmla="*/ 1144808 h 1333436"/>
                <a:gd name="connsiteX169" fmla="*/ 227215 w 752994"/>
                <a:gd name="connsiteY169" fmla="*/ 1135834 h 1333436"/>
                <a:gd name="connsiteX170" fmla="*/ 227215 w 752994"/>
                <a:gd name="connsiteY170" fmla="*/ 1134212 h 1333436"/>
                <a:gd name="connsiteX171" fmla="*/ 225179 w 752994"/>
                <a:gd name="connsiteY171" fmla="*/ 1114020 h 1333436"/>
                <a:gd name="connsiteX172" fmla="*/ 217839 w 752994"/>
                <a:gd name="connsiteY172" fmla="*/ 1100352 h 1333436"/>
                <a:gd name="connsiteX173" fmla="*/ 199661 w 752994"/>
                <a:gd name="connsiteY173" fmla="*/ 1076502 h 1333436"/>
                <a:gd name="connsiteX174" fmla="*/ 196395 w 752994"/>
                <a:gd name="connsiteY174" fmla="*/ 1071807 h 1333436"/>
                <a:gd name="connsiteX175" fmla="*/ 190880 w 752994"/>
                <a:gd name="connsiteY175" fmla="*/ 1067527 h 1333436"/>
                <a:gd name="connsiteX176" fmla="*/ 187210 w 752994"/>
                <a:gd name="connsiteY176" fmla="*/ 1068735 h 1333436"/>
                <a:gd name="connsiteX177" fmla="*/ 180062 w 752994"/>
                <a:gd name="connsiteY177" fmla="*/ 1066699 h 1333436"/>
                <a:gd name="connsiteX178" fmla="*/ 180466 w 752994"/>
                <a:gd name="connsiteY178" fmla="*/ 1053031 h 1333436"/>
                <a:gd name="connsiteX179" fmla="*/ 180062 w 752994"/>
                <a:gd name="connsiteY179" fmla="*/ 1045299 h 1333436"/>
                <a:gd name="connsiteX180" fmla="*/ 174144 w 752994"/>
                <a:gd name="connsiteY180" fmla="*/ 1044057 h 1333436"/>
                <a:gd name="connsiteX181" fmla="*/ 158426 w 752994"/>
                <a:gd name="connsiteY181" fmla="*/ 1042641 h 1333436"/>
                <a:gd name="connsiteX182" fmla="*/ 149857 w 752994"/>
                <a:gd name="connsiteY182" fmla="*/ 1035497 h 1333436"/>
                <a:gd name="connsiteX183" fmla="*/ 142497 w 752994"/>
                <a:gd name="connsiteY183" fmla="*/ 1028766 h 1333436"/>
                <a:gd name="connsiteX184" fmla="*/ 140864 w 752994"/>
                <a:gd name="connsiteY184" fmla="*/ 1020620 h 1333436"/>
                <a:gd name="connsiteX185" fmla="*/ 138212 w 752994"/>
                <a:gd name="connsiteY185" fmla="*/ 1013061 h 1333436"/>
                <a:gd name="connsiteX186" fmla="*/ 131064 w 752994"/>
                <a:gd name="connsiteY186" fmla="*/ 1007159 h 1333436"/>
                <a:gd name="connsiteX187" fmla="*/ 121264 w 752994"/>
                <a:gd name="connsiteY187" fmla="*/ 1005330 h 1333436"/>
                <a:gd name="connsiteX188" fmla="*/ 112483 w 752994"/>
                <a:gd name="connsiteY188" fmla="*/ 1001671 h 1333436"/>
                <a:gd name="connsiteX189" fmla="*/ 105950 w 752994"/>
                <a:gd name="connsiteY189" fmla="*/ 995734 h 1333436"/>
                <a:gd name="connsiteX190" fmla="*/ 97380 w 752994"/>
                <a:gd name="connsiteY190" fmla="*/ 994526 h 1333436"/>
                <a:gd name="connsiteX191" fmla="*/ 87984 w 752994"/>
                <a:gd name="connsiteY191" fmla="*/ 991040 h 1333436"/>
                <a:gd name="connsiteX192" fmla="*/ 80029 w 752994"/>
                <a:gd name="connsiteY192" fmla="*/ 985138 h 1333436"/>
                <a:gd name="connsiteX193" fmla="*/ 77166 w 752994"/>
                <a:gd name="connsiteY193" fmla="*/ 976164 h 1333436"/>
                <a:gd name="connsiteX194" fmla="*/ 79203 w 752994"/>
                <a:gd name="connsiteY194" fmla="*/ 970676 h 1333436"/>
                <a:gd name="connsiteX195" fmla="*/ 82470 w 752994"/>
                <a:gd name="connsiteY195" fmla="*/ 963117 h 1333436"/>
                <a:gd name="connsiteX196" fmla="*/ 84314 w 752994"/>
                <a:gd name="connsiteY196" fmla="*/ 954557 h 1333436"/>
                <a:gd name="connsiteX197" fmla="*/ 86351 w 752994"/>
                <a:gd name="connsiteY197" fmla="*/ 948033 h 1333436"/>
                <a:gd name="connsiteX198" fmla="*/ 86159 w 752994"/>
                <a:gd name="connsiteY198" fmla="*/ 942925 h 1333436"/>
                <a:gd name="connsiteX199" fmla="*/ 83085 w 752994"/>
                <a:gd name="connsiteY199" fmla="*/ 939853 h 1333436"/>
                <a:gd name="connsiteX200" fmla="*/ 77570 w 752994"/>
                <a:gd name="connsiteY200" fmla="*/ 937437 h 1333436"/>
                <a:gd name="connsiteX201" fmla="*/ 76763 w 752994"/>
                <a:gd name="connsiteY201" fmla="*/ 931915 h 1333436"/>
                <a:gd name="connsiteX202" fmla="*/ 78800 w 752994"/>
                <a:gd name="connsiteY202" fmla="*/ 927013 h 1333436"/>
                <a:gd name="connsiteX203" fmla="*/ 79626 w 752994"/>
                <a:gd name="connsiteY203" fmla="*/ 922526 h 1333436"/>
                <a:gd name="connsiteX204" fmla="*/ 77781 w 752994"/>
                <a:gd name="connsiteY204" fmla="*/ 919903 h 1333436"/>
                <a:gd name="connsiteX205" fmla="*/ 74303 w 752994"/>
                <a:gd name="connsiteY205" fmla="*/ 917418 h 1333436"/>
                <a:gd name="connsiteX206" fmla="*/ 71863 w 752994"/>
                <a:gd name="connsiteY206" fmla="*/ 915174 h 1333436"/>
                <a:gd name="connsiteX207" fmla="*/ 71652 w 752994"/>
                <a:gd name="connsiteY207" fmla="*/ 910894 h 1333436"/>
                <a:gd name="connsiteX208" fmla="*/ 70633 w 752994"/>
                <a:gd name="connsiteY208" fmla="*/ 906614 h 1333436"/>
                <a:gd name="connsiteX209" fmla="*/ 68385 w 752994"/>
                <a:gd name="connsiteY209" fmla="*/ 902749 h 1333436"/>
                <a:gd name="connsiteX210" fmla="*/ 61045 w 752994"/>
                <a:gd name="connsiteY210" fmla="*/ 889494 h 1333436"/>
                <a:gd name="connsiteX211" fmla="*/ 57971 w 752994"/>
                <a:gd name="connsiteY211" fmla="*/ 875619 h 1333436"/>
                <a:gd name="connsiteX212" fmla="*/ 52264 w 752994"/>
                <a:gd name="connsiteY212" fmla="*/ 862572 h 1333436"/>
                <a:gd name="connsiteX213" fmla="*/ 44309 w 752994"/>
                <a:gd name="connsiteY213" fmla="*/ 850561 h 1333436"/>
                <a:gd name="connsiteX214" fmla="*/ 45520 w 752994"/>
                <a:gd name="connsiteY214" fmla="*/ 827090 h 1333436"/>
                <a:gd name="connsiteX215" fmla="*/ 53071 w 752994"/>
                <a:gd name="connsiteY215" fmla="*/ 822396 h 1333436"/>
                <a:gd name="connsiteX216" fmla="*/ 57375 w 752994"/>
                <a:gd name="connsiteY216" fmla="*/ 816493 h 1333436"/>
                <a:gd name="connsiteX217" fmla="*/ 55319 w 752994"/>
                <a:gd name="connsiteY217" fmla="*/ 801617 h 1333436"/>
                <a:gd name="connsiteX218" fmla="*/ 48383 w 752994"/>
                <a:gd name="connsiteY218" fmla="*/ 802204 h 1333436"/>
                <a:gd name="connsiteX219" fmla="*/ 40428 w 752994"/>
                <a:gd name="connsiteY219" fmla="*/ 797924 h 1333436"/>
                <a:gd name="connsiteX220" fmla="*/ 37565 w 752994"/>
                <a:gd name="connsiteY220" fmla="*/ 790606 h 1333436"/>
                <a:gd name="connsiteX221" fmla="*/ 37565 w 752994"/>
                <a:gd name="connsiteY221" fmla="*/ 790399 h 1333436"/>
                <a:gd name="connsiteX222" fmla="*/ 35931 w 752994"/>
                <a:gd name="connsiteY222" fmla="*/ 785912 h 1333436"/>
                <a:gd name="connsiteX223" fmla="*/ 34510 w 752994"/>
                <a:gd name="connsiteY223" fmla="*/ 780597 h 1333436"/>
                <a:gd name="connsiteX224" fmla="*/ 36335 w 752994"/>
                <a:gd name="connsiteY224" fmla="*/ 774280 h 1333436"/>
                <a:gd name="connsiteX225" fmla="*/ 38180 w 752994"/>
                <a:gd name="connsiteY225" fmla="*/ 766721 h 1333436"/>
                <a:gd name="connsiteX226" fmla="*/ 37161 w 752994"/>
                <a:gd name="connsiteY226" fmla="*/ 760405 h 1333436"/>
                <a:gd name="connsiteX227" fmla="*/ 35720 w 752994"/>
                <a:gd name="connsiteY227" fmla="*/ 754710 h 1333436"/>
                <a:gd name="connsiteX228" fmla="*/ 36546 w 752994"/>
                <a:gd name="connsiteY228" fmla="*/ 748773 h 1333436"/>
                <a:gd name="connsiteX229" fmla="*/ 38372 w 752994"/>
                <a:gd name="connsiteY229" fmla="*/ 744528 h 1333436"/>
                <a:gd name="connsiteX230" fmla="*/ 41638 w 752994"/>
                <a:gd name="connsiteY230" fmla="*/ 744321 h 1333436"/>
                <a:gd name="connsiteX231" fmla="*/ 44713 w 752994"/>
                <a:gd name="connsiteY231" fmla="*/ 746357 h 1333436"/>
                <a:gd name="connsiteX232" fmla="*/ 47364 w 752994"/>
                <a:gd name="connsiteY232" fmla="*/ 753260 h 1333436"/>
                <a:gd name="connsiteX233" fmla="*/ 55742 w 752994"/>
                <a:gd name="connsiteY233" fmla="*/ 764305 h 1333436"/>
                <a:gd name="connsiteX234" fmla="*/ 56338 w 752994"/>
                <a:gd name="connsiteY234" fmla="*/ 761233 h 1333436"/>
                <a:gd name="connsiteX235" fmla="*/ 56145 w 752994"/>
                <a:gd name="connsiteY235" fmla="*/ 757368 h 1333436"/>
                <a:gd name="connsiteX236" fmla="*/ 54916 w 752994"/>
                <a:gd name="connsiteY236" fmla="*/ 748601 h 1333436"/>
                <a:gd name="connsiteX237" fmla="*/ 52879 w 752994"/>
                <a:gd name="connsiteY237" fmla="*/ 747358 h 1333436"/>
                <a:gd name="connsiteX238" fmla="*/ 51649 w 752994"/>
                <a:gd name="connsiteY238" fmla="*/ 745322 h 1333436"/>
                <a:gd name="connsiteX239" fmla="*/ 51649 w 752994"/>
                <a:gd name="connsiteY239" fmla="*/ 739212 h 1333436"/>
                <a:gd name="connsiteX240" fmla="*/ 50227 w 752994"/>
                <a:gd name="connsiteY240" fmla="*/ 734725 h 1333436"/>
                <a:gd name="connsiteX241" fmla="*/ 48786 w 752994"/>
                <a:gd name="connsiteY241" fmla="*/ 731446 h 1333436"/>
                <a:gd name="connsiteX242" fmla="*/ 54512 w 752994"/>
                <a:gd name="connsiteY242" fmla="*/ 726372 h 1333436"/>
                <a:gd name="connsiteX243" fmla="*/ 59815 w 752994"/>
                <a:gd name="connsiteY243" fmla="*/ 725130 h 1333436"/>
                <a:gd name="connsiteX244" fmla="*/ 58182 w 752994"/>
                <a:gd name="connsiteY244" fmla="*/ 722886 h 1333436"/>
                <a:gd name="connsiteX245" fmla="*/ 51861 w 752994"/>
                <a:gd name="connsiteY245" fmla="*/ 717985 h 1333436"/>
                <a:gd name="connsiteX246" fmla="*/ 46749 w 752994"/>
                <a:gd name="connsiteY246" fmla="*/ 729617 h 1333436"/>
                <a:gd name="connsiteX247" fmla="*/ 40831 w 752994"/>
                <a:gd name="connsiteY247" fmla="*/ 739212 h 1333436"/>
                <a:gd name="connsiteX248" fmla="*/ 39601 w 752994"/>
                <a:gd name="connsiteY248" fmla="*/ 738798 h 1333436"/>
                <a:gd name="connsiteX249" fmla="*/ 39409 w 752994"/>
                <a:gd name="connsiteY249" fmla="*/ 738591 h 1333436"/>
                <a:gd name="connsiteX250" fmla="*/ 37161 w 752994"/>
                <a:gd name="connsiteY250" fmla="*/ 734725 h 1333436"/>
                <a:gd name="connsiteX251" fmla="*/ 32665 w 752994"/>
                <a:gd name="connsiteY251" fmla="*/ 727788 h 1333436"/>
                <a:gd name="connsiteX252" fmla="*/ 26747 w 752994"/>
                <a:gd name="connsiteY252" fmla="*/ 719435 h 1333436"/>
                <a:gd name="connsiteX253" fmla="*/ 23884 w 752994"/>
                <a:gd name="connsiteY253" fmla="*/ 717812 h 1333436"/>
                <a:gd name="connsiteX254" fmla="*/ 24710 w 752994"/>
                <a:gd name="connsiteY254" fmla="*/ 709632 h 1333436"/>
                <a:gd name="connsiteX255" fmla="*/ 27554 w 752994"/>
                <a:gd name="connsiteY255" fmla="*/ 701694 h 1333436"/>
                <a:gd name="connsiteX256" fmla="*/ 24902 w 752994"/>
                <a:gd name="connsiteY256" fmla="*/ 696171 h 1333436"/>
                <a:gd name="connsiteX257" fmla="*/ 24095 w 752994"/>
                <a:gd name="connsiteY257" fmla="*/ 687818 h 1333436"/>
                <a:gd name="connsiteX258" fmla="*/ 22462 w 752994"/>
                <a:gd name="connsiteY258" fmla="*/ 682330 h 1333436"/>
                <a:gd name="connsiteX259" fmla="*/ 17159 w 752994"/>
                <a:gd name="connsiteY259" fmla="*/ 677636 h 1333436"/>
                <a:gd name="connsiteX260" fmla="*/ 14296 w 752994"/>
                <a:gd name="connsiteY260" fmla="*/ 671492 h 1333436"/>
                <a:gd name="connsiteX261" fmla="*/ 12451 w 752994"/>
                <a:gd name="connsiteY261" fmla="*/ 665797 h 1333436"/>
                <a:gd name="connsiteX262" fmla="*/ 5111 w 752994"/>
                <a:gd name="connsiteY262" fmla="*/ 654994 h 1333436"/>
                <a:gd name="connsiteX263" fmla="*/ 2248 w 752994"/>
                <a:gd name="connsiteY263" fmla="*/ 645605 h 1333436"/>
                <a:gd name="connsiteX264" fmla="*/ 4496 w 752994"/>
                <a:gd name="connsiteY264" fmla="*/ 640497 h 1333436"/>
                <a:gd name="connsiteX265" fmla="*/ 6744 w 752994"/>
                <a:gd name="connsiteY265" fmla="*/ 632765 h 1333436"/>
                <a:gd name="connsiteX266" fmla="*/ 6744 w 752994"/>
                <a:gd name="connsiteY266" fmla="*/ 628485 h 1333436"/>
                <a:gd name="connsiteX267" fmla="*/ 6533 w 752994"/>
                <a:gd name="connsiteY267" fmla="*/ 620305 h 1333436"/>
                <a:gd name="connsiteX268" fmla="*/ 7359 w 752994"/>
                <a:gd name="connsiteY268" fmla="*/ 611745 h 1333436"/>
                <a:gd name="connsiteX269" fmla="*/ 11836 w 752994"/>
                <a:gd name="connsiteY269" fmla="*/ 602978 h 1333436"/>
                <a:gd name="connsiteX270" fmla="*/ 15103 w 752994"/>
                <a:gd name="connsiteY270" fmla="*/ 591760 h 1333436"/>
                <a:gd name="connsiteX271" fmla="*/ 14488 w 752994"/>
                <a:gd name="connsiteY271" fmla="*/ 584029 h 1333436"/>
                <a:gd name="connsiteX272" fmla="*/ 13873 w 752994"/>
                <a:gd name="connsiteY272" fmla="*/ 578299 h 1333436"/>
                <a:gd name="connsiteX273" fmla="*/ 10626 w 752994"/>
                <a:gd name="connsiteY273" fmla="*/ 568531 h 1333436"/>
                <a:gd name="connsiteX274" fmla="*/ 3670 w 752994"/>
                <a:gd name="connsiteY274" fmla="*/ 558107 h 1333436"/>
                <a:gd name="connsiteX275" fmla="*/ 0 w 752994"/>
                <a:gd name="connsiteY275" fmla="*/ 551377 h 1333436"/>
                <a:gd name="connsiteX276" fmla="*/ 0 w 752994"/>
                <a:gd name="connsiteY276" fmla="*/ 550997 h 1333436"/>
                <a:gd name="connsiteX277" fmla="*/ 4900 w 752994"/>
                <a:gd name="connsiteY277" fmla="*/ 531220 h 1333436"/>
                <a:gd name="connsiteX278" fmla="*/ 13873 w 752994"/>
                <a:gd name="connsiteY278" fmla="*/ 520589 h 1333436"/>
                <a:gd name="connsiteX279" fmla="*/ 18369 w 752994"/>
                <a:gd name="connsiteY279" fmla="*/ 516516 h 1333436"/>
                <a:gd name="connsiteX280" fmla="*/ 18773 w 752994"/>
                <a:gd name="connsiteY280" fmla="*/ 514272 h 1333436"/>
                <a:gd name="connsiteX281" fmla="*/ 23077 w 752994"/>
                <a:gd name="connsiteY281" fmla="*/ 506127 h 1333436"/>
                <a:gd name="connsiteX282" fmla="*/ 23884 w 752994"/>
                <a:gd name="connsiteY282" fmla="*/ 502261 h 1333436"/>
                <a:gd name="connsiteX283" fmla="*/ 23692 w 752994"/>
                <a:gd name="connsiteY283" fmla="*/ 496738 h 1333436"/>
                <a:gd name="connsiteX284" fmla="*/ 30013 w 752994"/>
                <a:gd name="connsiteY284" fmla="*/ 486556 h 1333436"/>
                <a:gd name="connsiteX285" fmla="*/ 36546 w 752994"/>
                <a:gd name="connsiteY285" fmla="*/ 470230 h 1333436"/>
                <a:gd name="connsiteX286" fmla="*/ 36546 w 752994"/>
                <a:gd name="connsiteY286" fmla="*/ 462671 h 1333436"/>
                <a:gd name="connsiteX287" fmla="*/ 36335 w 752994"/>
                <a:gd name="connsiteY287" fmla="*/ 461670 h 1333436"/>
                <a:gd name="connsiteX288" fmla="*/ 35931 w 752994"/>
                <a:gd name="connsiteY288" fmla="*/ 453110 h 1333436"/>
                <a:gd name="connsiteX289" fmla="*/ 38583 w 752994"/>
                <a:gd name="connsiteY289" fmla="*/ 442514 h 1333436"/>
                <a:gd name="connsiteX290" fmla="*/ 41043 w 752994"/>
                <a:gd name="connsiteY290" fmla="*/ 436991 h 1333436"/>
                <a:gd name="connsiteX291" fmla="*/ 41650 w 752994"/>
                <a:gd name="connsiteY291" fmla="*/ 437186 h 1333436"/>
                <a:gd name="connsiteX292" fmla="*/ 41239 w 752994"/>
                <a:gd name="connsiteY292" fmla="*/ 436549 h 1333436"/>
                <a:gd name="connsiteX293" fmla="*/ 37778 w 752994"/>
                <a:gd name="connsiteY293" fmla="*/ 433894 h 1333436"/>
                <a:gd name="connsiteX294" fmla="*/ 37169 w 752994"/>
                <a:gd name="connsiteY294" fmla="*/ 432261 h 1333436"/>
                <a:gd name="connsiteX295" fmla="*/ 37365 w 752994"/>
                <a:gd name="connsiteY295" fmla="*/ 429198 h 1333436"/>
                <a:gd name="connsiteX296" fmla="*/ 36756 w 752994"/>
                <a:gd name="connsiteY296" fmla="*/ 422272 h 1333436"/>
                <a:gd name="connsiteX297" fmla="*/ 36952 w 752994"/>
                <a:gd name="connsiteY297" fmla="*/ 418800 h 1333436"/>
                <a:gd name="connsiteX298" fmla="*/ 36756 w 752994"/>
                <a:gd name="connsiteY298" fmla="*/ 412487 h 1333436"/>
                <a:gd name="connsiteX299" fmla="*/ 40433 w 752994"/>
                <a:gd name="connsiteY299" fmla="*/ 406174 h 1333436"/>
                <a:gd name="connsiteX300" fmla="*/ 44720 w 752994"/>
                <a:gd name="connsiteY300" fmla="*/ 399435 h 1333436"/>
                <a:gd name="connsiteX301" fmla="*/ 44110 w 752994"/>
                <a:gd name="connsiteY301" fmla="*/ 389651 h 1333436"/>
                <a:gd name="connsiteX302" fmla="*/ 43894 w 752994"/>
                <a:gd name="connsiteY302" fmla="*/ 378437 h 1333436"/>
                <a:gd name="connsiteX303" fmla="*/ 47158 w 752994"/>
                <a:gd name="connsiteY303" fmla="*/ 371102 h 1333436"/>
                <a:gd name="connsiteX304" fmla="*/ 55731 w 752994"/>
                <a:gd name="connsiteY304" fmla="*/ 360909 h 1333436"/>
                <a:gd name="connsiteX305" fmla="*/ 57580 w 752994"/>
                <a:gd name="connsiteY305" fmla="*/ 355804 h 1333436"/>
                <a:gd name="connsiteX306" fmla="*/ 62673 w 752994"/>
                <a:gd name="connsiteY306" fmla="*/ 349695 h 1333436"/>
                <a:gd name="connsiteX307" fmla="*/ 65937 w 752994"/>
                <a:gd name="connsiteY307" fmla="*/ 348470 h 1333436"/>
                <a:gd name="connsiteX308" fmla="*/ 68395 w 752994"/>
                <a:gd name="connsiteY308" fmla="*/ 348674 h 1333436"/>
                <a:gd name="connsiteX309" fmla="*/ 70224 w 752994"/>
                <a:gd name="connsiteY309" fmla="*/ 347449 h 1333436"/>
                <a:gd name="connsiteX310" fmla="*/ 67785 w 752994"/>
                <a:gd name="connsiteY310" fmla="*/ 345203 h 1333436"/>
                <a:gd name="connsiteX311" fmla="*/ 65524 w 752994"/>
                <a:gd name="connsiteY311" fmla="*/ 343178 h 1333436"/>
                <a:gd name="connsiteX312" fmla="*/ 73095 w 752994"/>
                <a:gd name="connsiteY312" fmla="*/ 333376 h 1333436"/>
                <a:gd name="connsiteX313" fmla="*/ 73291 w 752994"/>
                <a:gd name="connsiteY313" fmla="*/ 333376 h 1333436"/>
                <a:gd name="connsiteX314" fmla="*/ 77991 w 752994"/>
                <a:gd name="connsiteY314" fmla="*/ 325838 h 1333436"/>
                <a:gd name="connsiteX315" fmla="*/ 82671 w 752994"/>
                <a:gd name="connsiteY315" fmla="*/ 313619 h 1333436"/>
                <a:gd name="connsiteX316" fmla="*/ 87980 w 752994"/>
                <a:gd name="connsiteY316" fmla="*/ 303018 h 1333436"/>
                <a:gd name="connsiteX317" fmla="*/ 92267 w 752994"/>
                <a:gd name="connsiteY317" fmla="*/ 291191 h 1333436"/>
                <a:gd name="connsiteX318" fmla="*/ 96553 w 752994"/>
                <a:gd name="connsiteY318" fmla="*/ 281202 h 1333436"/>
                <a:gd name="connsiteX319" fmla="*/ 99621 w 752994"/>
                <a:gd name="connsiteY319" fmla="*/ 274481 h 1333436"/>
                <a:gd name="connsiteX320" fmla="*/ 103082 w 752994"/>
                <a:gd name="connsiteY320" fmla="*/ 262450 h 1333436"/>
                <a:gd name="connsiteX321" fmla="*/ 107172 w 752994"/>
                <a:gd name="connsiteY321" fmla="*/ 254299 h 1333436"/>
                <a:gd name="connsiteX322" fmla="*/ 112481 w 752994"/>
                <a:gd name="connsiteY322" fmla="*/ 243697 h 1333436"/>
                <a:gd name="connsiteX323" fmla="*/ 117181 w 752994"/>
                <a:gd name="connsiteY323" fmla="*/ 232279 h 1333436"/>
                <a:gd name="connsiteX324" fmla="*/ 125951 w 752994"/>
                <a:gd name="connsiteY324" fmla="*/ 217389 h 1333436"/>
                <a:gd name="connsiteX325" fmla="*/ 136156 w 752994"/>
                <a:gd name="connsiteY325" fmla="*/ 202925 h 1333436"/>
                <a:gd name="connsiteX326" fmla="*/ 138811 w 752994"/>
                <a:gd name="connsiteY326" fmla="*/ 183339 h 1333436"/>
                <a:gd name="connsiteX327" fmla="*/ 148801 w 752994"/>
                <a:gd name="connsiteY327" fmla="*/ 167445 h 1333436"/>
                <a:gd name="connsiteX328" fmla="*/ 159616 w 752994"/>
                <a:gd name="connsiteY328" fmla="*/ 170712 h 1333436"/>
                <a:gd name="connsiteX329" fmla="*/ 173105 w 752994"/>
                <a:gd name="connsiteY329" fmla="*/ 175188 h 1333436"/>
                <a:gd name="connsiteX330" fmla="*/ 175347 w 752994"/>
                <a:gd name="connsiteY330" fmla="*/ 175188 h 1333436"/>
                <a:gd name="connsiteX331" fmla="*/ 175347 w 752994"/>
                <a:gd name="connsiteY331" fmla="*/ 173758 h 1333436"/>
                <a:gd name="connsiteX332" fmla="*/ 184975 w 752994"/>
                <a:gd name="connsiteY332" fmla="*/ 187393 h 1333436"/>
                <a:gd name="connsiteX333" fmla="*/ 184762 w 752994"/>
                <a:gd name="connsiteY333" fmla="*/ 184637 h 1333436"/>
                <a:gd name="connsiteX334" fmla="*/ 174971 w 752994"/>
                <a:gd name="connsiteY334" fmla="*/ 170774 h 1333436"/>
                <a:gd name="connsiteX335" fmla="*/ 174971 w 752994"/>
                <a:gd name="connsiteY335" fmla="*/ 169550 h 1333436"/>
                <a:gd name="connsiteX336" fmla="*/ 158851 w 752994"/>
                <a:gd name="connsiteY336" fmla="*/ 156924 h 1333436"/>
                <a:gd name="connsiteX337" fmla="*/ 147025 w 752994"/>
                <a:gd name="connsiteY337" fmla="*/ 145709 h 1333436"/>
                <a:gd name="connsiteX338" fmla="*/ 154364 w 752994"/>
                <a:gd name="connsiteY338" fmla="*/ 136335 h 1333436"/>
                <a:gd name="connsiteX339" fmla="*/ 161511 w 752994"/>
                <a:gd name="connsiteY339" fmla="*/ 131042 h 1333436"/>
                <a:gd name="connsiteX340" fmla="*/ 160902 w 752994"/>
                <a:gd name="connsiteY340" fmla="*/ 128384 h 1333436"/>
                <a:gd name="connsiteX341" fmla="*/ 160277 w 752994"/>
                <a:gd name="connsiteY341" fmla="*/ 127778 h 1333436"/>
                <a:gd name="connsiteX342" fmla="*/ 154973 w 752994"/>
                <a:gd name="connsiteY342" fmla="*/ 122077 h 1333436"/>
                <a:gd name="connsiteX343" fmla="*/ 160277 w 752994"/>
                <a:gd name="connsiteY343" fmla="*/ 115140 h 1333436"/>
                <a:gd name="connsiteX344" fmla="*/ 165181 w 752994"/>
                <a:gd name="connsiteY344" fmla="*/ 108215 h 1333436"/>
                <a:gd name="connsiteX345" fmla="*/ 161303 w 752994"/>
                <a:gd name="connsiteY345" fmla="*/ 104146 h 1333436"/>
                <a:gd name="connsiteX346" fmla="*/ 157842 w 752994"/>
                <a:gd name="connsiteY346" fmla="*/ 104542 h 1333436"/>
                <a:gd name="connsiteX347" fmla="*/ 157024 w 752994"/>
                <a:gd name="connsiteY347" fmla="*/ 102304 h 1333436"/>
                <a:gd name="connsiteX348" fmla="*/ 160694 w 752994"/>
                <a:gd name="connsiteY348" fmla="*/ 55437 h 1333436"/>
                <a:gd name="connsiteX349" fmla="*/ 160486 w 752994"/>
                <a:gd name="connsiteY349" fmla="*/ 31991 h 1333436"/>
                <a:gd name="connsiteX350" fmla="*/ 164972 w 752994"/>
                <a:gd name="connsiteY350" fmla="*/ 18141 h 1333436"/>
                <a:gd name="connsiteX351" fmla="*/ 171911 w 752994"/>
                <a:gd name="connsiteY351" fmla="*/ 11204 h 1333436"/>
                <a:gd name="connsiteX352" fmla="*/ 187406 w 752994"/>
                <a:gd name="connsiteY352" fmla="*/ 21801 h 1333436"/>
                <a:gd name="connsiteX353" fmla="*/ 210866 w 752994"/>
                <a:gd name="connsiteY353" fmla="*/ 37086 h 1333436"/>
                <a:gd name="connsiteX354" fmla="*/ 219230 w 752994"/>
                <a:gd name="connsiteY354" fmla="*/ 41166 h 1333436"/>
                <a:gd name="connsiteX355" fmla="*/ 226778 w 752994"/>
                <a:gd name="connsiteY355" fmla="*/ 47486 h 1333436"/>
                <a:gd name="connsiteX356" fmla="*/ 236152 w 752994"/>
                <a:gd name="connsiteY356" fmla="*/ 52370 h 1333436"/>
                <a:gd name="connsiteX357" fmla="*/ 239629 w 752994"/>
                <a:gd name="connsiteY357" fmla="*/ 58491 h 1333436"/>
                <a:gd name="connsiteX358" fmla="*/ 239629 w 752994"/>
                <a:gd name="connsiteY358" fmla="*/ 63376 h 1333436"/>
                <a:gd name="connsiteX359" fmla="*/ 236568 w 752994"/>
                <a:gd name="connsiteY359" fmla="*/ 67457 h 1333436"/>
                <a:gd name="connsiteX360" fmla="*/ 231264 w 752994"/>
                <a:gd name="connsiteY360" fmla="*/ 69905 h 1333436"/>
                <a:gd name="connsiteX361" fmla="*/ 216778 w 752994"/>
                <a:gd name="connsiteY361" fmla="*/ 82741 h 1333436"/>
                <a:gd name="connsiteX362" fmla="*/ 214134 w 752994"/>
                <a:gd name="connsiteY362" fmla="*/ 93536 h 1333436"/>
                <a:gd name="connsiteX363" fmla="*/ 214535 w 752994"/>
                <a:gd name="connsiteY363" fmla="*/ 96801 h 1333436"/>
                <a:gd name="connsiteX364" fmla="*/ 216378 w 752994"/>
                <a:gd name="connsiteY364" fmla="*/ 96801 h 1333436"/>
                <a:gd name="connsiteX365" fmla="*/ 230046 w 752994"/>
                <a:gd name="connsiteY365" fmla="*/ 85387 h 1333436"/>
                <a:gd name="connsiteX366" fmla="*/ 243298 w 752994"/>
                <a:gd name="connsiteY366" fmla="*/ 75198 h 1333436"/>
                <a:gd name="connsiteX367" fmla="*/ 246760 w 752994"/>
                <a:gd name="connsiteY367" fmla="*/ 77646 h 1333436"/>
                <a:gd name="connsiteX368" fmla="*/ 255541 w 752994"/>
                <a:gd name="connsiteY368" fmla="*/ 63376 h 1333436"/>
                <a:gd name="connsiteX369" fmla="*/ 259611 w 752994"/>
                <a:gd name="connsiteY369" fmla="*/ 43405 h 1333436"/>
                <a:gd name="connsiteX370" fmla="*/ 256967 w 752994"/>
                <a:gd name="connsiteY370" fmla="*/ 38520 h 1333436"/>
                <a:gd name="connsiteX371" fmla="*/ 253906 w 752994"/>
                <a:gd name="connsiteY371" fmla="*/ 34242 h 1333436"/>
                <a:gd name="connsiteX372" fmla="*/ 256967 w 752994"/>
                <a:gd name="connsiteY372" fmla="*/ 30161 h 1333436"/>
                <a:gd name="connsiteX373" fmla="*/ 262063 w 752994"/>
                <a:gd name="connsiteY373" fmla="*/ 27712 h 1333436"/>
                <a:gd name="connsiteX374" fmla="*/ 264915 w 752994"/>
                <a:gd name="connsiteY374" fmla="*/ 23026 h 1333436"/>
                <a:gd name="connsiteX375" fmla="*/ 267976 w 752994"/>
                <a:gd name="connsiteY375" fmla="*/ 22618 h 1333436"/>
                <a:gd name="connsiteX376" fmla="*/ 270427 w 752994"/>
                <a:gd name="connsiteY376" fmla="*/ 20787 h 1333436"/>
                <a:gd name="connsiteX377" fmla="*/ 263088 w 752994"/>
                <a:gd name="connsiteY377" fmla="*/ 13652 h 1333436"/>
                <a:gd name="connsiteX378" fmla="*/ 255541 w 752994"/>
                <a:gd name="connsiteY378" fmla="*/ 3055 h 1333436"/>
                <a:gd name="connsiteX379" fmla="*/ 256358 w 752994"/>
                <a:gd name="connsiteY379" fmla="*/ 1224 h 1333436"/>
                <a:gd name="connsiteX380" fmla="*/ 257159 w 752994"/>
                <a:gd name="connsiteY380"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442753 w 752994"/>
                <a:gd name="connsiteY153" fmla="*/ 950656 h 1333436"/>
                <a:gd name="connsiteX154" fmla="*/ 442550 w 752994"/>
                <a:gd name="connsiteY154" fmla="*/ 951272 h 1333436"/>
                <a:gd name="connsiteX155" fmla="*/ 439290 w 752994"/>
                <a:gd name="connsiteY155" fmla="*/ 958807 h 1333436"/>
                <a:gd name="connsiteX156" fmla="*/ 432957 w 752994"/>
                <a:gd name="connsiteY156" fmla="*/ 963487 h 1333436"/>
                <a:gd name="connsiteX157" fmla="*/ 654533 w 752994"/>
                <a:gd name="connsiteY157" fmla="*/ 1333436 h 1333436"/>
                <a:gd name="connsiteX158" fmla="*/ 546831 w 752994"/>
                <a:gd name="connsiteY158" fmla="*/ 1317126 h 1333436"/>
                <a:gd name="connsiteX159" fmla="*/ 351227 w 752994"/>
                <a:gd name="connsiteY159" fmla="*/ 1194172 h 1333436"/>
                <a:gd name="connsiteX160" fmla="*/ 361011 w 752994"/>
                <a:gd name="connsiteY160" fmla="*/ 1182755 h 1333436"/>
                <a:gd name="connsiteX161" fmla="*/ 368981 w 752994"/>
                <a:gd name="connsiteY161" fmla="*/ 1182130 h 1333436"/>
                <a:gd name="connsiteX162" fmla="*/ 369571 w 752994"/>
                <a:gd name="connsiteY162" fmla="*/ 1181558 h 1333436"/>
                <a:gd name="connsiteX163" fmla="*/ 362372 w 752994"/>
                <a:gd name="connsiteY163" fmla="*/ 1182120 h 1333436"/>
                <a:gd name="connsiteX164" fmla="*/ 229464 w 752994"/>
                <a:gd name="connsiteY164" fmla="*/ 1161721 h 1333436"/>
                <a:gd name="connsiteX165" fmla="*/ 227427 w 752994"/>
                <a:gd name="connsiteY165" fmla="*/ 1157269 h 1333436"/>
                <a:gd name="connsiteX166" fmla="*/ 224967 w 752994"/>
                <a:gd name="connsiteY166" fmla="*/ 1152575 h 1333436"/>
                <a:gd name="connsiteX167" fmla="*/ 225582 w 752994"/>
                <a:gd name="connsiteY167" fmla="*/ 1144808 h 1333436"/>
                <a:gd name="connsiteX168" fmla="*/ 227215 w 752994"/>
                <a:gd name="connsiteY168" fmla="*/ 1135834 h 1333436"/>
                <a:gd name="connsiteX169" fmla="*/ 227215 w 752994"/>
                <a:gd name="connsiteY169" fmla="*/ 1134212 h 1333436"/>
                <a:gd name="connsiteX170" fmla="*/ 225179 w 752994"/>
                <a:gd name="connsiteY170" fmla="*/ 1114020 h 1333436"/>
                <a:gd name="connsiteX171" fmla="*/ 217839 w 752994"/>
                <a:gd name="connsiteY171" fmla="*/ 1100352 h 1333436"/>
                <a:gd name="connsiteX172" fmla="*/ 199661 w 752994"/>
                <a:gd name="connsiteY172" fmla="*/ 1076502 h 1333436"/>
                <a:gd name="connsiteX173" fmla="*/ 196395 w 752994"/>
                <a:gd name="connsiteY173" fmla="*/ 1071807 h 1333436"/>
                <a:gd name="connsiteX174" fmla="*/ 190880 w 752994"/>
                <a:gd name="connsiteY174" fmla="*/ 1067527 h 1333436"/>
                <a:gd name="connsiteX175" fmla="*/ 187210 w 752994"/>
                <a:gd name="connsiteY175" fmla="*/ 1068735 h 1333436"/>
                <a:gd name="connsiteX176" fmla="*/ 180062 w 752994"/>
                <a:gd name="connsiteY176" fmla="*/ 1066699 h 1333436"/>
                <a:gd name="connsiteX177" fmla="*/ 180466 w 752994"/>
                <a:gd name="connsiteY177" fmla="*/ 1053031 h 1333436"/>
                <a:gd name="connsiteX178" fmla="*/ 180062 w 752994"/>
                <a:gd name="connsiteY178" fmla="*/ 1045299 h 1333436"/>
                <a:gd name="connsiteX179" fmla="*/ 174144 w 752994"/>
                <a:gd name="connsiteY179" fmla="*/ 1044057 h 1333436"/>
                <a:gd name="connsiteX180" fmla="*/ 158426 w 752994"/>
                <a:gd name="connsiteY180" fmla="*/ 1042641 h 1333436"/>
                <a:gd name="connsiteX181" fmla="*/ 149857 w 752994"/>
                <a:gd name="connsiteY181" fmla="*/ 1035497 h 1333436"/>
                <a:gd name="connsiteX182" fmla="*/ 142497 w 752994"/>
                <a:gd name="connsiteY182" fmla="*/ 1028766 h 1333436"/>
                <a:gd name="connsiteX183" fmla="*/ 140864 w 752994"/>
                <a:gd name="connsiteY183" fmla="*/ 1020620 h 1333436"/>
                <a:gd name="connsiteX184" fmla="*/ 138212 w 752994"/>
                <a:gd name="connsiteY184" fmla="*/ 1013061 h 1333436"/>
                <a:gd name="connsiteX185" fmla="*/ 131064 w 752994"/>
                <a:gd name="connsiteY185" fmla="*/ 1007159 h 1333436"/>
                <a:gd name="connsiteX186" fmla="*/ 121264 w 752994"/>
                <a:gd name="connsiteY186" fmla="*/ 1005330 h 1333436"/>
                <a:gd name="connsiteX187" fmla="*/ 112483 w 752994"/>
                <a:gd name="connsiteY187" fmla="*/ 1001671 h 1333436"/>
                <a:gd name="connsiteX188" fmla="*/ 105950 w 752994"/>
                <a:gd name="connsiteY188" fmla="*/ 995734 h 1333436"/>
                <a:gd name="connsiteX189" fmla="*/ 97380 w 752994"/>
                <a:gd name="connsiteY189" fmla="*/ 994526 h 1333436"/>
                <a:gd name="connsiteX190" fmla="*/ 87984 w 752994"/>
                <a:gd name="connsiteY190" fmla="*/ 991040 h 1333436"/>
                <a:gd name="connsiteX191" fmla="*/ 80029 w 752994"/>
                <a:gd name="connsiteY191" fmla="*/ 985138 h 1333436"/>
                <a:gd name="connsiteX192" fmla="*/ 77166 w 752994"/>
                <a:gd name="connsiteY192" fmla="*/ 976164 h 1333436"/>
                <a:gd name="connsiteX193" fmla="*/ 79203 w 752994"/>
                <a:gd name="connsiteY193" fmla="*/ 970676 h 1333436"/>
                <a:gd name="connsiteX194" fmla="*/ 82470 w 752994"/>
                <a:gd name="connsiteY194" fmla="*/ 963117 h 1333436"/>
                <a:gd name="connsiteX195" fmla="*/ 84314 w 752994"/>
                <a:gd name="connsiteY195" fmla="*/ 954557 h 1333436"/>
                <a:gd name="connsiteX196" fmla="*/ 86351 w 752994"/>
                <a:gd name="connsiteY196" fmla="*/ 948033 h 1333436"/>
                <a:gd name="connsiteX197" fmla="*/ 86159 w 752994"/>
                <a:gd name="connsiteY197" fmla="*/ 942925 h 1333436"/>
                <a:gd name="connsiteX198" fmla="*/ 83085 w 752994"/>
                <a:gd name="connsiteY198" fmla="*/ 939853 h 1333436"/>
                <a:gd name="connsiteX199" fmla="*/ 77570 w 752994"/>
                <a:gd name="connsiteY199" fmla="*/ 937437 h 1333436"/>
                <a:gd name="connsiteX200" fmla="*/ 76763 w 752994"/>
                <a:gd name="connsiteY200" fmla="*/ 931915 h 1333436"/>
                <a:gd name="connsiteX201" fmla="*/ 78800 w 752994"/>
                <a:gd name="connsiteY201" fmla="*/ 927013 h 1333436"/>
                <a:gd name="connsiteX202" fmla="*/ 79626 w 752994"/>
                <a:gd name="connsiteY202" fmla="*/ 922526 h 1333436"/>
                <a:gd name="connsiteX203" fmla="*/ 77781 w 752994"/>
                <a:gd name="connsiteY203" fmla="*/ 919903 h 1333436"/>
                <a:gd name="connsiteX204" fmla="*/ 74303 w 752994"/>
                <a:gd name="connsiteY204" fmla="*/ 917418 h 1333436"/>
                <a:gd name="connsiteX205" fmla="*/ 71863 w 752994"/>
                <a:gd name="connsiteY205" fmla="*/ 915174 h 1333436"/>
                <a:gd name="connsiteX206" fmla="*/ 71652 w 752994"/>
                <a:gd name="connsiteY206" fmla="*/ 910894 h 1333436"/>
                <a:gd name="connsiteX207" fmla="*/ 70633 w 752994"/>
                <a:gd name="connsiteY207" fmla="*/ 906614 h 1333436"/>
                <a:gd name="connsiteX208" fmla="*/ 68385 w 752994"/>
                <a:gd name="connsiteY208" fmla="*/ 902749 h 1333436"/>
                <a:gd name="connsiteX209" fmla="*/ 61045 w 752994"/>
                <a:gd name="connsiteY209" fmla="*/ 889494 h 1333436"/>
                <a:gd name="connsiteX210" fmla="*/ 57971 w 752994"/>
                <a:gd name="connsiteY210" fmla="*/ 875619 h 1333436"/>
                <a:gd name="connsiteX211" fmla="*/ 52264 w 752994"/>
                <a:gd name="connsiteY211" fmla="*/ 862572 h 1333436"/>
                <a:gd name="connsiteX212" fmla="*/ 44309 w 752994"/>
                <a:gd name="connsiteY212" fmla="*/ 850561 h 1333436"/>
                <a:gd name="connsiteX213" fmla="*/ 45520 w 752994"/>
                <a:gd name="connsiteY213" fmla="*/ 827090 h 1333436"/>
                <a:gd name="connsiteX214" fmla="*/ 53071 w 752994"/>
                <a:gd name="connsiteY214" fmla="*/ 822396 h 1333436"/>
                <a:gd name="connsiteX215" fmla="*/ 57375 w 752994"/>
                <a:gd name="connsiteY215" fmla="*/ 816493 h 1333436"/>
                <a:gd name="connsiteX216" fmla="*/ 55319 w 752994"/>
                <a:gd name="connsiteY216" fmla="*/ 801617 h 1333436"/>
                <a:gd name="connsiteX217" fmla="*/ 48383 w 752994"/>
                <a:gd name="connsiteY217" fmla="*/ 802204 h 1333436"/>
                <a:gd name="connsiteX218" fmla="*/ 40428 w 752994"/>
                <a:gd name="connsiteY218" fmla="*/ 797924 h 1333436"/>
                <a:gd name="connsiteX219" fmla="*/ 37565 w 752994"/>
                <a:gd name="connsiteY219" fmla="*/ 790606 h 1333436"/>
                <a:gd name="connsiteX220" fmla="*/ 37565 w 752994"/>
                <a:gd name="connsiteY220" fmla="*/ 790399 h 1333436"/>
                <a:gd name="connsiteX221" fmla="*/ 35931 w 752994"/>
                <a:gd name="connsiteY221" fmla="*/ 785912 h 1333436"/>
                <a:gd name="connsiteX222" fmla="*/ 34510 w 752994"/>
                <a:gd name="connsiteY222" fmla="*/ 780597 h 1333436"/>
                <a:gd name="connsiteX223" fmla="*/ 36335 w 752994"/>
                <a:gd name="connsiteY223" fmla="*/ 774280 h 1333436"/>
                <a:gd name="connsiteX224" fmla="*/ 38180 w 752994"/>
                <a:gd name="connsiteY224" fmla="*/ 766721 h 1333436"/>
                <a:gd name="connsiteX225" fmla="*/ 37161 w 752994"/>
                <a:gd name="connsiteY225" fmla="*/ 760405 h 1333436"/>
                <a:gd name="connsiteX226" fmla="*/ 35720 w 752994"/>
                <a:gd name="connsiteY226" fmla="*/ 754710 h 1333436"/>
                <a:gd name="connsiteX227" fmla="*/ 36546 w 752994"/>
                <a:gd name="connsiteY227" fmla="*/ 748773 h 1333436"/>
                <a:gd name="connsiteX228" fmla="*/ 38372 w 752994"/>
                <a:gd name="connsiteY228" fmla="*/ 744528 h 1333436"/>
                <a:gd name="connsiteX229" fmla="*/ 41638 w 752994"/>
                <a:gd name="connsiteY229" fmla="*/ 744321 h 1333436"/>
                <a:gd name="connsiteX230" fmla="*/ 44713 w 752994"/>
                <a:gd name="connsiteY230" fmla="*/ 746357 h 1333436"/>
                <a:gd name="connsiteX231" fmla="*/ 47364 w 752994"/>
                <a:gd name="connsiteY231" fmla="*/ 753260 h 1333436"/>
                <a:gd name="connsiteX232" fmla="*/ 55742 w 752994"/>
                <a:gd name="connsiteY232" fmla="*/ 764305 h 1333436"/>
                <a:gd name="connsiteX233" fmla="*/ 56338 w 752994"/>
                <a:gd name="connsiteY233" fmla="*/ 761233 h 1333436"/>
                <a:gd name="connsiteX234" fmla="*/ 56145 w 752994"/>
                <a:gd name="connsiteY234" fmla="*/ 757368 h 1333436"/>
                <a:gd name="connsiteX235" fmla="*/ 54916 w 752994"/>
                <a:gd name="connsiteY235" fmla="*/ 748601 h 1333436"/>
                <a:gd name="connsiteX236" fmla="*/ 52879 w 752994"/>
                <a:gd name="connsiteY236" fmla="*/ 747358 h 1333436"/>
                <a:gd name="connsiteX237" fmla="*/ 51649 w 752994"/>
                <a:gd name="connsiteY237" fmla="*/ 745322 h 1333436"/>
                <a:gd name="connsiteX238" fmla="*/ 51649 w 752994"/>
                <a:gd name="connsiteY238" fmla="*/ 739212 h 1333436"/>
                <a:gd name="connsiteX239" fmla="*/ 50227 w 752994"/>
                <a:gd name="connsiteY239" fmla="*/ 734725 h 1333436"/>
                <a:gd name="connsiteX240" fmla="*/ 48786 w 752994"/>
                <a:gd name="connsiteY240" fmla="*/ 731446 h 1333436"/>
                <a:gd name="connsiteX241" fmla="*/ 54512 w 752994"/>
                <a:gd name="connsiteY241" fmla="*/ 726372 h 1333436"/>
                <a:gd name="connsiteX242" fmla="*/ 59815 w 752994"/>
                <a:gd name="connsiteY242" fmla="*/ 725130 h 1333436"/>
                <a:gd name="connsiteX243" fmla="*/ 58182 w 752994"/>
                <a:gd name="connsiteY243" fmla="*/ 722886 h 1333436"/>
                <a:gd name="connsiteX244" fmla="*/ 51861 w 752994"/>
                <a:gd name="connsiteY244" fmla="*/ 717985 h 1333436"/>
                <a:gd name="connsiteX245" fmla="*/ 46749 w 752994"/>
                <a:gd name="connsiteY245" fmla="*/ 729617 h 1333436"/>
                <a:gd name="connsiteX246" fmla="*/ 40831 w 752994"/>
                <a:gd name="connsiteY246" fmla="*/ 739212 h 1333436"/>
                <a:gd name="connsiteX247" fmla="*/ 39601 w 752994"/>
                <a:gd name="connsiteY247" fmla="*/ 738798 h 1333436"/>
                <a:gd name="connsiteX248" fmla="*/ 39409 w 752994"/>
                <a:gd name="connsiteY248" fmla="*/ 738591 h 1333436"/>
                <a:gd name="connsiteX249" fmla="*/ 37161 w 752994"/>
                <a:gd name="connsiteY249" fmla="*/ 734725 h 1333436"/>
                <a:gd name="connsiteX250" fmla="*/ 32665 w 752994"/>
                <a:gd name="connsiteY250" fmla="*/ 727788 h 1333436"/>
                <a:gd name="connsiteX251" fmla="*/ 26747 w 752994"/>
                <a:gd name="connsiteY251" fmla="*/ 719435 h 1333436"/>
                <a:gd name="connsiteX252" fmla="*/ 23884 w 752994"/>
                <a:gd name="connsiteY252" fmla="*/ 717812 h 1333436"/>
                <a:gd name="connsiteX253" fmla="*/ 24710 w 752994"/>
                <a:gd name="connsiteY253" fmla="*/ 709632 h 1333436"/>
                <a:gd name="connsiteX254" fmla="*/ 27554 w 752994"/>
                <a:gd name="connsiteY254" fmla="*/ 701694 h 1333436"/>
                <a:gd name="connsiteX255" fmla="*/ 24902 w 752994"/>
                <a:gd name="connsiteY255" fmla="*/ 696171 h 1333436"/>
                <a:gd name="connsiteX256" fmla="*/ 24095 w 752994"/>
                <a:gd name="connsiteY256" fmla="*/ 687818 h 1333436"/>
                <a:gd name="connsiteX257" fmla="*/ 22462 w 752994"/>
                <a:gd name="connsiteY257" fmla="*/ 682330 h 1333436"/>
                <a:gd name="connsiteX258" fmla="*/ 17159 w 752994"/>
                <a:gd name="connsiteY258" fmla="*/ 677636 h 1333436"/>
                <a:gd name="connsiteX259" fmla="*/ 14296 w 752994"/>
                <a:gd name="connsiteY259" fmla="*/ 671492 h 1333436"/>
                <a:gd name="connsiteX260" fmla="*/ 12451 w 752994"/>
                <a:gd name="connsiteY260" fmla="*/ 665797 h 1333436"/>
                <a:gd name="connsiteX261" fmla="*/ 5111 w 752994"/>
                <a:gd name="connsiteY261" fmla="*/ 654994 h 1333436"/>
                <a:gd name="connsiteX262" fmla="*/ 2248 w 752994"/>
                <a:gd name="connsiteY262" fmla="*/ 645605 h 1333436"/>
                <a:gd name="connsiteX263" fmla="*/ 4496 w 752994"/>
                <a:gd name="connsiteY263" fmla="*/ 640497 h 1333436"/>
                <a:gd name="connsiteX264" fmla="*/ 6744 w 752994"/>
                <a:gd name="connsiteY264" fmla="*/ 632765 h 1333436"/>
                <a:gd name="connsiteX265" fmla="*/ 6744 w 752994"/>
                <a:gd name="connsiteY265" fmla="*/ 628485 h 1333436"/>
                <a:gd name="connsiteX266" fmla="*/ 6533 w 752994"/>
                <a:gd name="connsiteY266" fmla="*/ 620305 h 1333436"/>
                <a:gd name="connsiteX267" fmla="*/ 7359 w 752994"/>
                <a:gd name="connsiteY267" fmla="*/ 611745 h 1333436"/>
                <a:gd name="connsiteX268" fmla="*/ 11836 w 752994"/>
                <a:gd name="connsiteY268" fmla="*/ 602978 h 1333436"/>
                <a:gd name="connsiteX269" fmla="*/ 15103 w 752994"/>
                <a:gd name="connsiteY269" fmla="*/ 591760 h 1333436"/>
                <a:gd name="connsiteX270" fmla="*/ 14488 w 752994"/>
                <a:gd name="connsiteY270" fmla="*/ 584029 h 1333436"/>
                <a:gd name="connsiteX271" fmla="*/ 13873 w 752994"/>
                <a:gd name="connsiteY271" fmla="*/ 578299 h 1333436"/>
                <a:gd name="connsiteX272" fmla="*/ 10626 w 752994"/>
                <a:gd name="connsiteY272" fmla="*/ 568531 h 1333436"/>
                <a:gd name="connsiteX273" fmla="*/ 3670 w 752994"/>
                <a:gd name="connsiteY273" fmla="*/ 558107 h 1333436"/>
                <a:gd name="connsiteX274" fmla="*/ 0 w 752994"/>
                <a:gd name="connsiteY274" fmla="*/ 551377 h 1333436"/>
                <a:gd name="connsiteX275" fmla="*/ 0 w 752994"/>
                <a:gd name="connsiteY275" fmla="*/ 550997 h 1333436"/>
                <a:gd name="connsiteX276" fmla="*/ 4900 w 752994"/>
                <a:gd name="connsiteY276" fmla="*/ 531220 h 1333436"/>
                <a:gd name="connsiteX277" fmla="*/ 13873 w 752994"/>
                <a:gd name="connsiteY277" fmla="*/ 520589 h 1333436"/>
                <a:gd name="connsiteX278" fmla="*/ 18369 w 752994"/>
                <a:gd name="connsiteY278" fmla="*/ 516516 h 1333436"/>
                <a:gd name="connsiteX279" fmla="*/ 18773 w 752994"/>
                <a:gd name="connsiteY279" fmla="*/ 514272 h 1333436"/>
                <a:gd name="connsiteX280" fmla="*/ 23077 w 752994"/>
                <a:gd name="connsiteY280" fmla="*/ 506127 h 1333436"/>
                <a:gd name="connsiteX281" fmla="*/ 23884 w 752994"/>
                <a:gd name="connsiteY281" fmla="*/ 502261 h 1333436"/>
                <a:gd name="connsiteX282" fmla="*/ 23692 w 752994"/>
                <a:gd name="connsiteY282" fmla="*/ 496738 h 1333436"/>
                <a:gd name="connsiteX283" fmla="*/ 30013 w 752994"/>
                <a:gd name="connsiteY283" fmla="*/ 486556 h 1333436"/>
                <a:gd name="connsiteX284" fmla="*/ 36546 w 752994"/>
                <a:gd name="connsiteY284" fmla="*/ 470230 h 1333436"/>
                <a:gd name="connsiteX285" fmla="*/ 36546 w 752994"/>
                <a:gd name="connsiteY285" fmla="*/ 462671 h 1333436"/>
                <a:gd name="connsiteX286" fmla="*/ 36335 w 752994"/>
                <a:gd name="connsiteY286" fmla="*/ 461670 h 1333436"/>
                <a:gd name="connsiteX287" fmla="*/ 35931 w 752994"/>
                <a:gd name="connsiteY287" fmla="*/ 453110 h 1333436"/>
                <a:gd name="connsiteX288" fmla="*/ 38583 w 752994"/>
                <a:gd name="connsiteY288" fmla="*/ 442514 h 1333436"/>
                <a:gd name="connsiteX289" fmla="*/ 41043 w 752994"/>
                <a:gd name="connsiteY289" fmla="*/ 436991 h 1333436"/>
                <a:gd name="connsiteX290" fmla="*/ 41650 w 752994"/>
                <a:gd name="connsiteY290" fmla="*/ 437186 h 1333436"/>
                <a:gd name="connsiteX291" fmla="*/ 41239 w 752994"/>
                <a:gd name="connsiteY291" fmla="*/ 436549 h 1333436"/>
                <a:gd name="connsiteX292" fmla="*/ 37778 w 752994"/>
                <a:gd name="connsiteY292" fmla="*/ 433894 h 1333436"/>
                <a:gd name="connsiteX293" fmla="*/ 37169 w 752994"/>
                <a:gd name="connsiteY293" fmla="*/ 432261 h 1333436"/>
                <a:gd name="connsiteX294" fmla="*/ 37365 w 752994"/>
                <a:gd name="connsiteY294" fmla="*/ 429198 h 1333436"/>
                <a:gd name="connsiteX295" fmla="*/ 36756 w 752994"/>
                <a:gd name="connsiteY295" fmla="*/ 422272 h 1333436"/>
                <a:gd name="connsiteX296" fmla="*/ 36952 w 752994"/>
                <a:gd name="connsiteY296" fmla="*/ 418800 h 1333436"/>
                <a:gd name="connsiteX297" fmla="*/ 36756 w 752994"/>
                <a:gd name="connsiteY297" fmla="*/ 412487 h 1333436"/>
                <a:gd name="connsiteX298" fmla="*/ 40433 w 752994"/>
                <a:gd name="connsiteY298" fmla="*/ 406174 h 1333436"/>
                <a:gd name="connsiteX299" fmla="*/ 44720 w 752994"/>
                <a:gd name="connsiteY299" fmla="*/ 399435 h 1333436"/>
                <a:gd name="connsiteX300" fmla="*/ 44110 w 752994"/>
                <a:gd name="connsiteY300" fmla="*/ 389651 h 1333436"/>
                <a:gd name="connsiteX301" fmla="*/ 43894 w 752994"/>
                <a:gd name="connsiteY301" fmla="*/ 378437 h 1333436"/>
                <a:gd name="connsiteX302" fmla="*/ 47158 w 752994"/>
                <a:gd name="connsiteY302" fmla="*/ 371102 h 1333436"/>
                <a:gd name="connsiteX303" fmla="*/ 55731 w 752994"/>
                <a:gd name="connsiteY303" fmla="*/ 360909 h 1333436"/>
                <a:gd name="connsiteX304" fmla="*/ 57580 w 752994"/>
                <a:gd name="connsiteY304" fmla="*/ 355804 h 1333436"/>
                <a:gd name="connsiteX305" fmla="*/ 62673 w 752994"/>
                <a:gd name="connsiteY305" fmla="*/ 349695 h 1333436"/>
                <a:gd name="connsiteX306" fmla="*/ 65937 w 752994"/>
                <a:gd name="connsiteY306" fmla="*/ 348470 h 1333436"/>
                <a:gd name="connsiteX307" fmla="*/ 68395 w 752994"/>
                <a:gd name="connsiteY307" fmla="*/ 348674 h 1333436"/>
                <a:gd name="connsiteX308" fmla="*/ 70224 w 752994"/>
                <a:gd name="connsiteY308" fmla="*/ 347449 h 1333436"/>
                <a:gd name="connsiteX309" fmla="*/ 67785 w 752994"/>
                <a:gd name="connsiteY309" fmla="*/ 345203 h 1333436"/>
                <a:gd name="connsiteX310" fmla="*/ 65524 w 752994"/>
                <a:gd name="connsiteY310" fmla="*/ 343178 h 1333436"/>
                <a:gd name="connsiteX311" fmla="*/ 73095 w 752994"/>
                <a:gd name="connsiteY311" fmla="*/ 333376 h 1333436"/>
                <a:gd name="connsiteX312" fmla="*/ 73291 w 752994"/>
                <a:gd name="connsiteY312" fmla="*/ 333376 h 1333436"/>
                <a:gd name="connsiteX313" fmla="*/ 77991 w 752994"/>
                <a:gd name="connsiteY313" fmla="*/ 325838 h 1333436"/>
                <a:gd name="connsiteX314" fmla="*/ 82671 w 752994"/>
                <a:gd name="connsiteY314" fmla="*/ 313619 h 1333436"/>
                <a:gd name="connsiteX315" fmla="*/ 87980 w 752994"/>
                <a:gd name="connsiteY315" fmla="*/ 303018 h 1333436"/>
                <a:gd name="connsiteX316" fmla="*/ 92267 w 752994"/>
                <a:gd name="connsiteY316" fmla="*/ 291191 h 1333436"/>
                <a:gd name="connsiteX317" fmla="*/ 96553 w 752994"/>
                <a:gd name="connsiteY317" fmla="*/ 281202 h 1333436"/>
                <a:gd name="connsiteX318" fmla="*/ 99621 w 752994"/>
                <a:gd name="connsiteY318" fmla="*/ 274481 h 1333436"/>
                <a:gd name="connsiteX319" fmla="*/ 103082 w 752994"/>
                <a:gd name="connsiteY319" fmla="*/ 262450 h 1333436"/>
                <a:gd name="connsiteX320" fmla="*/ 107172 w 752994"/>
                <a:gd name="connsiteY320" fmla="*/ 254299 h 1333436"/>
                <a:gd name="connsiteX321" fmla="*/ 112481 w 752994"/>
                <a:gd name="connsiteY321" fmla="*/ 243697 h 1333436"/>
                <a:gd name="connsiteX322" fmla="*/ 117181 w 752994"/>
                <a:gd name="connsiteY322" fmla="*/ 232279 h 1333436"/>
                <a:gd name="connsiteX323" fmla="*/ 125951 w 752994"/>
                <a:gd name="connsiteY323" fmla="*/ 217389 h 1333436"/>
                <a:gd name="connsiteX324" fmla="*/ 136156 w 752994"/>
                <a:gd name="connsiteY324" fmla="*/ 202925 h 1333436"/>
                <a:gd name="connsiteX325" fmla="*/ 138811 w 752994"/>
                <a:gd name="connsiteY325" fmla="*/ 183339 h 1333436"/>
                <a:gd name="connsiteX326" fmla="*/ 148801 w 752994"/>
                <a:gd name="connsiteY326" fmla="*/ 167445 h 1333436"/>
                <a:gd name="connsiteX327" fmla="*/ 159616 w 752994"/>
                <a:gd name="connsiteY327" fmla="*/ 170712 h 1333436"/>
                <a:gd name="connsiteX328" fmla="*/ 173105 w 752994"/>
                <a:gd name="connsiteY328" fmla="*/ 175188 h 1333436"/>
                <a:gd name="connsiteX329" fmla="*/ 175347 w 752994"/>
                <a:gd name="connsiteY329" fmla="*/ 175188 h 1333436"/>
                <a:gd name="connsiteX330" fmla="*/ 175347 w 752994"/>
                <a:gd name="connsiteY330" fmla="*/ 173758 h 1333436"/>
                <a:gd name="connsiteX331" fmla="*/ 184975 w 752994"/>
                <a:gd name="connsiteY331" fmla="*/ 187393 h 1333436"/>
                <a:gd name="connsiteX332" fmla="*/ 184762 w 752994"/>
                <a:gd name="connsiteY332" fmla="*/ 184637 h 1333436"/>
                <a:gd name="connsiteX333" fmla="*/ 174971 w 752994"/>
                <a:gd name="connsiteY333" fmla="*/ 170774 h 1333436"/>
                <a:gd name="connsiteX334" fmla="*/ 174971 w 752994"/>
                <a:gd name="connsiteY334" fmla="*/ 169550 h 1333436"/>
                <a:gd name="connsiteX335" fmla="*/ 158851 w 752994"/>
                <a:gd name="connsiteY335" fmla="*/ 156924 h 1333436"/>
                <a:gd name="connsiteX336" fmla="*/ 147025 w 752994"/>
                <a:gd name="connsiteY336" fmla="*/ 145709 h 1333436"/>
                <a:gd name="connsiteX337" fmla="*/ 154364 w 752994"/>
                <a:gd name="connsiteY337" fmla="*/ 136335 h 1333436"/>
                <a:gd name="connsiteX338" fmla="*/ 161511 w 752994"/>
                <a:gd name="connsiteY338" fmla="*/ 131042 h 1333436"/>
                <a:gd name="connsiteX339" fmla="*/ 160902 w 752994"/>
                <a:gd name="connsiteY339" fmla="*/ 128384 h 1333436"/>
                <a:gd name="connsiteX340" fmla="*/ 160277 w 752994"/>
                <a:gd name="connsiteY340" fmla="*/ 127778 h 1333436"/>
                <a:gd name="connsiteX341" fmla="*/ 154973 w 752994"/>
                <a:gd name="connsiteY341" fmla="*/ 122077 h 1333436"/>
                <a:gd name="connsiteX342" fmla="*/ 160277 w 752994"/>
                <a:gd name="connsiteY342" fmla="*/ 115140 h 1333436"/>
                <a:gd name="connsiteX343" fmla="*/ 165181 w 752994"/>
                <a:gd name="connsiteY343" fmla="*/ 108215 h 1333436"/>
                <a:gd name="connsiteX344" fmla="*/ 161303 w 752994"/>
                <a:gd name="connsiteY344" fmla="*/ 104146 h 1333436"/>
                <a:gd name="connsiteX345" fmla="*/ 157842 w 752994"/>
                <a:gd name="connsiteY345" fmla="*/ 104542 h 1333436"/>
                <a:gd name="connsiteX346" fmla="*/ 157024 w 752994"/>
                <a:gd name="connsiteY346" fmla="*/ 102304 h 1333436"/>
                <a:gd name="connsiteX347" fmla="*/ 160694 w 752994"/>
                <a:gd name="connsiteY347" fmla="*/ 55437 h 1333436"/>
                <a:gd name="connsiteX348" fmla="*/ 160486 w 752994"/>
                <a:gd name="connsiteY348" fmla="*/ 31991 h 1333436"/>
                <a:gd name="connsiteX349" fmla="*/ 164972 w 752994"/>
                <a:gd name="connsiteY349" fmla="*/ 18141 h 1333436"/>
                <a:gd name="connsiteX350" fmla="*/ 171911 w 752994"/>
                <a:gd name="connsiteY350" fmla="*/ 11204 h 1333436"/>
                <a:gd name="connsiteX351" fmla="*/ 187406 w 752994"/>
                <a:gd name="connsiteY351" fmla="*/ 21801 h 1333436"/>
                <a:gd name="connsiteX352" fmla="*/ 210866 w 752994"/>
                <a:gd name="connsiteY352" fmla="*/ 37086 h 1333436"/>
                <a:gd name="connsiteX353" fmla="*/ 219230 w 752994"/>
                <a:gd name="connsiteY353" fmla="*/ 41166 h 1333436"/>
                <a:gd name="connsiteX354" fmla="*/ 226778 w 752994"/>
                <a:gd name="connsiteY354" fmla="*/ 47486 h 1333436"/>
                <a:gd name="connsiteX355" fmla="*/ 236152 w 752994"/>
                <a:gd name="connsiteY355" fmla="*/ 52370 h 1333436"/>
                <a:gd name="connsiteX356" fmla="*/ 239629 w 752994"/>
                <a:gd name="connsiteY356" fmla="*/ 58491 h 1333436"/>
                <a:gd name="connsiteX357" fmla="*/ 239629 w 752994"/>
                <a:gd name="connsiteY357" fmla="*/ 63376 h 1333436"/>
                <a:gd name="connsiteX358" fmla="*/ 236568 w 752994"/>
                <a:gd name="connsiteY358" fmla="*/ 67457 h 1333436"/>
                <a:gd name="connsiteX359" fmla="*/ 231264 w 752994"/>
                <a:gd name="connsiteY359" fmla="*/ 69905 h 1333436"/>
                <a:gd name="connsiteX360" fmla="*/ 216778 w 752994"/>
                <a:gd name="connsiteY360" fmla="*/ 82741 h 1333436"/>
                <a:gd name="connsiteX361" fmla="*/ 214134 w 752994"/>
                <a:gd name="connsiteY361" fmla="*/ 93536 h 1333436"/>
                <a:gd name="connsiteX362" fmla="*/ 214535 w 752994"/>
                <a:gd name="connsiteY362" fmla="*/ 96801 h 1333436"/>
                <a:gd name="connsiteX363" fmla="*/ 216378 w 752994"/>
                <a:gd name="connsiteY363" fmla="*/ 96801 h 1333436"/>
                <a:gd name="connsiteX364" fmla="*/ 230046 w 752994"/>
                <a:gd name="connsiteY364" fmla="*/ 85387 h 1333436"/>
                <a:gd name="connsiteX365" fmla="*/ 243298 w 752994"/>
                <a:gd name="connsiteY365" fmla="*/ 75198 h 1333436"/>
                <a:gd name="connsiteX366" fmla="*/ 246760 w 752994"/>
                <a:gd name="connsiteY366" fmla="*/ 77646 h 1333436"/>
                <a:gd name="connsiteX367" fmla="*/ 255541 w 752994"/>
                <a:gd name="connsiteY367" fmla="*/ 63376 h 1333436"/>
                <a:gd name="connsiteX368" fmla="*/ 259611 w 752994"/>
                <a:gd name="connsiteY368" fmla="*/ 43405 h 1333436"/>
                <a:gd name="connsiteX369" fmla="*/ 256967 w 752994"/>
                <a:gd name="connsiteY369" fmla="*/ 38520 h 1333436"/>
                <a:gd name="connsiteX370" fmla="*/ 253906 w 752994"/>
                <a:gd name="connsiteY370" fmla="*/ 34242 h 1333436"/>
                <a:gd name="connsiteX371" fmla="*/ 256967 w 752994"/>
                <a:gd name="connsiteY371" fmla="*/ 30161 h 1333436"/>
                <a:gd name="connsiteX372" fmla="*/ 262063 w 752994"/>
                <a:gd name="connsiteY372" fmla="*/ 27712 h 1333436"/>
                <a:gd name="connsiteX373" fmla="*/ 264915 w 752994"/>
                <a:gd name="connsiteY373" fmla="*/ 23026 h 1333436"/>
                <a:gd name="connsiteX374" fmla="*/ 267976 w 752994"/>
                <a:gd name="connsiteY374" fmla="*/ 22618 h 1333436"/>
                <a:gd name="connsiteX375" fmla="*/ 270427 w 752994"/>
                <a:gd name="connsiteY375" fmla="*/ 20787 h 1333436"/>
                <a:gd name="connsiteX376" fmla="*/ 263088 w 752994"/>
                <a:gd name="connsiteY376" fmla="*/ 13652 h 1333436"/>
                <a:gd name="connsiteX377" fmla="*/ 255541 w 752994"/>
                <a:gd name="connsiteY377" fmla="*/ 3055 h 1333436"/>
                <a:gd name="connsiteX378" fmla="*/ 256358 w 752994"/>
                <a:gd name="connsiteY378" fmla="*/ 1224 h 1333436"/>
                <a:gd name="connsiteX379" fmla="*/ 257159 w 752994"/>
                <a:gd name="connsiteY379"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442753 w 752994"/>
                <a:gd name="connsiteY153" fmla="*/ 950656 h 1333436"/>
                <a:gd name="connsiteX154" fmla="*/ 442550 w 752994"/>
                <a:gd name="connsiteY154" fmla="*/ 951272 h 1333436"/>
                <a:gd name="connsiteX155" fmla="*/ 439290 w 752994"/>
                <a:gd name="connsiteY155" fmla="*/ 958807 h 1333436"/>
                <a:gd name="connsiteX156" fmla="*/ 654533 w 752994"/>
                <a:gd name="connsiteY156" fmla="*/ 1333436 h 1333436"/>
                <a:gd name="connsiteX157" fmla="*/ 546831 w 752994"/>
                <a:gd name="connsiteY157" fmla="*/ 1317126 h 1333436"/>
                <a:gd name="connsiteX158" fmla="*/ 351227 w 752994"/>
                <a:gd name="connsiteY158" fmla="*/ 1194172 h 1333436"/>
                <a:gd name="connsiteX159" fmla="*/ 361011 w 752994"/>
                <a:gd name="connsiteY159" fmla="*/ 1182755 h 1333436"/>
                <a:gd name="connsiteX160" fmla="*/ 368981 w 752994"/>
                <a:gd name="connsiteY160" fmla="*/ 1182130 h 1333436"/>
                <a:gd name="connsiteX161" fmla="*/ 369571 w 752994"/>
                <a:gd name="connsiteY161" fmla="*/ 1181558 h 1333436"/>
                <a:gd name="connsiteX162" fmla="*/ 362372 w 752994"/>
                <a:gd name="connsiteY162" fmla="*/ 1182120 h 1333436"/>
                <a:gd name="connsiteX163" fmla="*/ 229464 w 752994"/>
                <a:gd name="connsiteY163" fmla="*/ 1161721 h 1333436"/>
                <a:gd name="connsiteX164" fmla="*/ 227427 w 752994"/>
                <a:gd name="connsiteY164" fmla="*/ 1157269 h 1333436"/>
                <a:gd name="connsiteX165" fmla="*/ 224967 w 752994"/>
                <a:gd name="connsiteY165" fmla="*/ 1152575 h 1333436"/>
                <a:gd name="connsiteX166" fmla="*/ 225582 w 752994"/>
                <a:gd name="connsiteY166" fmla="*/ 1144808 h 1333436"/>
                <a:gd name="connsiteX167" fmla="*/ 227215 w 752994"/>
                <a:gd name="connsiteY167" fmla="*/ 1135834 h 1333436"/>
                <a:gd name="connsiteX168" fmla="*/ 227215 w 752994"/>
                <a:gd name="connsiteY168" fmla="*/ 1134212 h 1333436"/>
                <a:gd name="connsiteX169" fmla="*/ 225179 w 752994"/>
                <a:gd name="connsiteY169" fmla="*/ 1114020 h 1333436"/>
                <a:gd name="connsiteX170" fmla="*/ 217839 w 752994"/>
                <a:gd name="connsiteY170" fmla="*/ 1100352 h 1333436"/>
                <a:gd name="connsiteX171" fmla="*/ 199661 w 752994"/>
                <a:gd name="connsiteY171" fmla="*/ 1076502 h 1333436"/>
                <a:gd name="connsiteX172" fmla="*/ 196395 w 752994"/>
                <a:gd name="connsiteY172" fmla="*/ 1071807 h 1333436"/>
                <a:gd name="connsiteX173" fmla="*/ 190880 w 752994"/>
                <a:gd name="connsiteY173" fmla="*/ 1067527 h 1333436"/>
                <a:gd name="connsiteX174" fmla="*/ 187210 w 752994"/>
                <a:gd name="connsiteY174" fmla="*/ 1068735 h 1333436"/>
                <a:gd name="connsiteX175" fmla="*/ 180062 w 752994"/>
                <a:gd name="connsiteY175" fmla="*/ 1066699 h 1333436"/>
                <a:gd name="connsiteX176" fmla="*/ 180466 w 752994"/>
                <a:gd name="connsiteY176" fmla="*/ 1053031 h 1333436"/>
                <a:gd name="connsiteX177" fmla="*/ 180062 w 752994"/>
                <a:gd name="connsiteY177" fmla="*/ 1045299 h 1333436"/>
                <a:gd name="connsiteX178" fmla="*/ 174144 w 752994"/>
                <a:gd name="connsiteY178" fmla="*/ 1044057 h 1333436"/>
                <a:gd name="connsiteX179" fmla="*/ 158426 w 752994"/>
                <a:gd name="connsiteY179" fmla="*/ 1042641 h 1333436"/>
                <a:gd name="connsiteX180" fmla="*/ 149857 w 752994"/>
                <a:gd name="connsiteY180" fmla="*/ 1035497 h 1333436"/>
                <a:gd name="connsiteX181" fmla="*/ 142497 w 752994"/>
                <a:gd name="connsiteY181" fmla="*/ 1028766 h 1333436"/>
                <a:gd name="connsiteX182" fmla="*/ 140864 w 752994"/>
                <a:gd name="connsiteY182" fmla="*/ 1020620 h 1333436"/>
                <a:gd name="connsiteX183" fmla="*/ 138212 w 752994"/>
                <a:gd name="connsiteY183" fmla="*/ 1013061 h 1333436"/>
                <a:gd name="connsiteX184" fmla="*/ 131064 w 752994"/>
                <a:gd name="connsiteY184" fmla="*/ 1007159 h 1333436"/>
                <a:gd name="connsiteX185" fmla="*/ 121264 w 752994"/>
                <a:gd name="connsiteY185" fmla="*/ 1005330 h 1333436"/>
                <a:gd name="connsiteX186" fmla="*/ 112483 w 752994"/>
                <a:gd name="connsiteY186" fmla="*/ 1001671 h 1333436"/>
                <a:gd name="connsiteX187" fmla="*/ 105950 w 752994"/>
                <a:gd name="connsiteY187" fmla="*/ 995734 h 1333436"/>
                <a:gd name="connsiteX188" fmla="*/ 97380 w 752994"/>
                <a:gd name="connsiteY188" fmla="*/ 994526 h 1333436"/>
                <a:gd name="connsiteX189" fmla="*/ 87984 w 752994"/>
                <a:gd name="connsiteY189" fmla="*/ 991040 h 1333436"/>
                <a:gd name="connsiteX190" fmla="*/ 80029 w 752994"/>
                <a:gd name="connsiteY190" fmla="*/ 985138 h 1333436"/>
                <a:gd name="connsiteX191" fmla="*/ 77166 w 752994"/>
                <a:gd name="connsiteY191" fmla="*/ 976164 h 1333436"/>
                <a:gd name="connsiteX192" fmla="*/ 79203 w 752994"/>
                <a:gd name="connsiteY192" fmla="*/ 970676 h 1333436"/>
                <a:gd name="connsiteX193" fmla="*/ 82470 w 752994"/>
                <a:gd name="connsiteY193" fmla="*/ 963117 h 1333436"/>
                <a:gd name="connsiteX194" fmla="*/ 84314 w 752994"/>
                <a:gd name="connsiteY194" fmla="*/ 954557 h 1333436"/>
                <a:gd name="connsiteX195" fmla="*/ 86351 w 752994"/>
                <a:gd name="connsiteY195" fmla="*/ 948033 h 1333436"/>
                <a:gd name="connsiteX196" fmla="*/ 86159 w 752994"/>
                <a:gd name="connsiteY196" fmla="*/ 942925 h 1333436"/>
                <a:gd name="connsiteX197" fmla="*/ 83085 w 752994"/>
                <a:gd name="connsiteY197" fmla="*/ 939853 h 1333436"/>
                <a:gd name="connsiteX198" fmla="*/ 77570 w 752994"/>
                <a:gd name="connsiteY198" fmla="*/ 937437 h 1333436"/>
                <a:gd name="connsiteX199" fmla="*/ 76763 w 752994"/>
                <a:gd name="connsiteY199" fmla="*/ 931915 h 1333436"/>
                <a:gd name="connsiteX200" fmla="*/ 78800 w 752994"/>
                <a:gd name="connsiteY200" fmla="*/ 927013 h 1333436"/>
                <a:gd name="connsiteX201" fmla="*/ 79626 w 752994"/>
                <a:gd name="connsiteY201" fmla="*/ 922526 h 1333436"/>
                <a:gd name="connsiteX202" fmla="*/ 77781 w 752994"/>
                <a:gd name="connsiteY202" fmla="*/ 919903 h 1333436"/>
                <a:gd name="connsiteX203" fmla="*/ 74303 w 752994"/>
                <a:gd name="connsiteY203" fmla="*/ 917418 h 1333436"/>
                <a:gd name="connsiteX204" fmla="*/ 71863 w 752994"/>
                <a:gd name="connsiteY204" fmla="*/ 915174 h 1333436"/>
                <a:gd name="connsiteX205" fmla="*/ 71652 w 752994"/>
                <a:gd name="connsiteY205" fmla="*/ 910894 h 1333436"/>
                <a:gd name="connsiteX206" fmla="*/ 70633 w 752994"/>
                <a:gd name="connsiteY206" fmla="*/ 906614 h 1333436"/>
                <a:gd name="connsiteX207" fmla="*/ 68385 w 752994"/>
                <a:gd name="connsiteY207" fmla="*/ 902749 h 1333436"/>
                <a:gd name="connsiteX208" fmla="*/ 61045 w 752994"/>
                <a:gd name="connsiteY208" fmla="*/ 889494 h 1333436"/>
                <a:gd name="connsiteX209" fmla="*/ 57971 w 752994"/>
                <a:gd name="connsiteY209" fmla="*/ 875619 h 1333436"/>
                <a:gd name="connsiteX210" fmla="*/ 52264 w 752994"/>
                <a:gd name="connsiteY210" fmla="*/ 862572 h 1333436"/>
                <a:gd name="connsiteX211" fmla="*/ 44309 w 752994"/>
                <a:gd name="connsiteY211" fmla="*/ 850561 h 1333436"/>
                <a:gd name="connsiteX212" fmla="*/ 45520 w 752994"/>
                <a:gd name="connsiteY212" fmla="*/ 827090 h 1333436"/>
                <a:gd name="connsiteX213" fmla="*/ 53071 w 752994"/>
                <a:gd name="connsiteY213" fmla="*/ 822396 h 1333436"/>
                <a:gd name="connsiteX214" fmla="*/ 57375 w 752994"/>
                <a:gd name="connsiteY214" fmla="*/ 816493 h 1333436"/>
                <a:gd name="connsiteX215" fmla="*/ 55319 w 752994"/>
                <a:gd name="connsiteY215" fmla="*/ 801617 h 1333436"/>
                <a:gd name="connsiteX216" fmla="*/ 48383 w 752994"/>
                <a:gd name="connsiteY216" fmla="*/ 802204 h 1333436"/>
                <a:gd name="connsiteX217" fmla="*/ 40428 w 752994"/>
                <a:gd name="connsiteY217" fmla="*/ 797924 h 1333436"/>
                <a:gd name="connsiteX218" fmla="*/ 37565 w 752994"/>
                <a:gd name="connsiteY218" fmla="*/ 790606 h 1333436"/>
                <a:gd name="connsiteX219" fmla="*/ 37565 w 752994"/>
                <a:gd name="connsiteY219" fmla="*/ 790399 h 1333436"/>
                <a:gd name="connsiteX220" fmla="*/ 35931 w 752994"/>
                <a:gd name="connsiteY220" fmla="*/ 785912 h 1333436"/>
                <a:gd name="connsiteX221" fmla="*/ 34510 w 752994"/>
                <a:gd name="connsiteY221" fmla="*/ 780597 h 1333436"/>
                <a:gd name="connsiteX222" fmla="*/ 36335 w 752994"/>
                <a:gd name="connsiteY222" fmla="*/ 774280 h 1333436"/>
                <a:gd name="connsiteX223" fmla="*/ 38180 w 752994"/>
                <a:gd name="connsiteY223" fmla="*/ 766721 h 1333436"/>
                <a:gd name="connsiteX224" fmla="*/ 37161 w 752994"/>
                <a:gd name="connsiteY224" fmla="*/ 760405 h 1333436"/>
                <a:gd name="connsiteX225" fmla="*/ 35720 w 752994"/>
                <a:gd name="connsiteY225" fmla="*/ 754710 h 1333436"/>
                <a:gd name="connsiteX226" fmla="*/ 36546 w 752994"/>
                <a:gd name="connsiteY226" fmla="*/ 748773 h 1333436"/>
                <a:gd name="connsiteX227" fmla="*/ 38372 w 752994"/>
                <a:gd name="connsiteY227" fmla="*/ 744528 h 1333436"/>
                <a:gd name="connsiteX228" fmla="*/ 41638 w 752994"/>
                <a:gd name="connsiteY228" fmla="*/ 744321 h 1333436"/>
                <a:gd name="connsiteX229" fmla="*/ 44713 w 752994"/>
                <a:gd name="connsiteY229" fmla="*/ 746357 h 1333436"/>
                <a:gd name="connsiteX230" fmla="*/ 47364 w 752994"/>
                <a:gd name="connsiteY230" fmla="*/ 753260 h 1333436"/>
                <a:gd name="connsiteX231" fmla="*/ 55742 w 752994"/>
                <a:gd name="connsiteY231" fmla="*/ 764305 h 1333436"/>
                <a:gd name="connsiteX232" fmla="*/ 56338 w 752994"/>
                <a:gd name="connsiteY232" fmla="*/ 761233 h 1333436"/>
                <a:gd name="connsiteX233" fmla="*/ 56145 w 752994"/>
                <a:gd name="connsiteY233" fmla="*/ 757368 h 1333436"/>
                <a:gd name="connsiteX234" fmla="*/ 54916 w 752994"/>
                <a:gd name="connsiteY234" fmla="*/ 748601 h 1333436"/>
                <a:gd name="connsiteX235" fmla="*/ 52879 w 752994"/>
                <a:gd name="connsiteY235" fmla="*/ 747358 h 1333436"/>
                <a:gd name="connsiteX236" fmla="*/ 51649 w 752994"/>
                <a:gd name="connsiteY236" fmla="*/ 745322 h 1333436"/>
                <a:gd name="connsiteX237" fmla="*/ 51649 w 752994"/>
                <a:gd name="connsiteY237" fmla="*/ 739212 h 1333436"/>
                <a:gd name="connsiteX238" fmla="*/ 50227 w 752994"/>
                <a:gd name="connsiteY238" fmla="*/ 734725 h 1333436"/>
                <a:gd name="connsiteX239" fmla="*/ 48786 w 752994"/>
                <a:gd name="connsiteY239" fmla="*/ 731446 h 1333436"/>
                <a:gd name="connsiteX240" fmla="*/ 54512 w 752994"/>
                <a:gd name="connsiteY240" fmla="*/ 726372 h 1333436"/>
                <a:gd name="connsiteX241" fmla="*/ 59815 w 752994"/>
                <a:gd name="connsiteY241" fmla="*/ 725130 h 1333436"/>
                <a:gd name="connsiteX242" fmla="*/ 58182 w 752994"/>
                <a:gd name="connsiteY242" fmla="*/ 722886 h 1333436"/>
                <a:gd name="connsiteX243" fmla="*/ 51861 w 752994"/>
                <a:gd name="connsiteY243" fmla="*/ 717985 h 1333436"/>
                <a:gd name="connsiteX244" fmla="*/ 46749 w 752994"/>
                <a:gd name="connsiteY244" fmla="*/ 729617 h 1333436"/>
                <a:gd name="connsiteX245" fmla="*/ 40831 w 752994"/>
                <a:gd name="connsiteY245" fmla="*/ 739212 h 1333436"/>
                <a:gd name="connsiteX246" fmla="*/ 39601 w 752994"/>
                <a:gd name="connsiteY246" fmla="*/ 738798 h 1333436"/>
                <a:gd name="connsiteX247" fmla="*/ 39409 w 752994"/>
                <a:gd name="connsiteY247" fmla="*/ 738591 h 1333436"/>
                <a:gd name="connsiteX248" fmla="*/ 37161 w 752994"/>
                <a:gd name="connsiteY248" fmla="*/ 734725 h 1333436"/>
                <a:gd name="connsiteX249" fmla="*/ 32665 w 752994"/>
                <a:gd name="connsiteY249" fmla="*/ 727788 h 1333436"/>
                <a:gd name="connsiteX250" fmla="*/ 26747 w 752994"/>
                <a:gd name="connsiteY250" fmla="*/ 719435 h 1333436"/>
                <a:gd name="connsiteX251" fmla="*/ 23884 w 752994"/>
                <a:gd name="connsiteY251" fmla="*/ 717812 h 1333436"/>
                <a:gd name="connsiteX252" fmla="*/ 24710 w 752994"/>
                <a:gd name="connsiteY252" fmla="*/ 709632 h 1333436"/>
                <a:gd name="connsiteX253" fmla="*/ 27554 w 752994"/>
                <a:gd name="connsiteY253" fmla="*/ 701694 h 1333436"/>
                <a:gd name="connsiteX254" fmla="*/ 24902 w 752994"/>
                <a:gd name="connsiteY254" fmla="*/ 696171 h 1333436"/>
                <a:gd name="connsiteX255" fmla="*/ 24095 w 752994"/>
                <a:gd name="connsiteY255" fmla="*/ 687818 h 1333436"/>
                <a:gd name="connsiteX256" fmla="*/ 22462 w 752994"/>
                <a:gd name="connsiteY256" fmla="*/ 682330 h 1333436"/>
                <a:gd name="connsiteX257" fmla="*/ 17159 w 752994"/>
                <a:gd name="connsiteY257" fmla="*/ 677636 h 1333436"/>
                <a:gd name="connsiteX258" fmla="*/ 14296 w 752994"/>
                <a:gd name="connsiteY258" fmla="*/ 671492 h 1333436"/>
                <a:gd name="connsiteX259" fmla="*/ 12451 w 752994"/>
                <a:gd name="connsiteY259" fmla="*/ 665797 h 1333436"/>
                <a:gd name="connsiteX260" fmla="*/ 5111 w 752994"/>
                <a:gd name="connsiteY260" fmla="*/ 654994 h 1333436"/>
                <a:gd name="connsiteX261" fmla="*/ 2248 w 752994"/>
                <a:gd name="connsiteY261" fmla="*/ 645605 h 1333436"/>
                <a:gd name="connsiteX262" fmla="*/ 4496 w 752994"/>
                <a:gd name="connsiteY262" fmla="*/ 640497 h 1333436"/>
                <a:gd name="connsiteX263" fmla="*/ 6744 w 752994"/>
                <a:gd name="connsiteY263" fmla="*/ 632765 h 1333436"/>
                <a:gd name="connsiteX264" fmla="*/ 6744 w 752994"/>
                <a:gd name="connsiteY264" fmla="*/ 628485 h 1333436"/>
                <a:gd name="connsiteX265" fmla="*/ 6533 w 752994"/>
                <a:gd name="connsiteY265" fmla="*/ 620305 h 1333436"/>
                <a:gd name="connsiteX266" fmla="*/ 7359 w 752994"/>
                <a:gd name="connsiteY266" fmla="*/ 611745 h 1333436"/>
                <a:gd name="connsiteX267" fmla="*/ 11836 w 752994"/>
                <a:gd name="connsiteY267" fmla="*/ 602978 h 1333436"/>
                <a:gd name="connsiteX268" fmla="*/ 15103 w 752994"/>
                <a:gd name="connsiteY268" fmla="*/ 591760 h 1333436"/>
                <a:gd name="connsiteX269" fmla="*/ 14488 w 752994"/>
                <a:gd name="connsiteY269" fmla="*/ 584029 h 1333436"/>
                <a:gd name="connsiteX270" fmla="*/ 13873 w 752994"/>
                <a:gd name="connsiteY270" fmla="*/ 578299 h 1333436"/>
                <a:gd name="connsiteX271" fmla="*/ 10626 w 752994"/>
                <a:gd name="connsiteY271" fmla="*/ 568531 h 1333436"/>
                <a:gd name="connsiteX272" fmla="*/ 3670 w 752994"/>
                <a:gd name="connsiteY272" fmla="*/ 558107 h 1333436"/>
                <a:gd name="connsiteX273" fmla="*/ 0 w 752994"/>
                <a:gd name="connsiteY273" fmla="*/ 551377 h 1333436"/>
                <a:gd name="connsiteX274" fmla="*/ 0 w 752994"/>
                <a:gd name="connsiteY274" fmla="*/ 550997 h 1333436"/>
                <a:gd name="connsiteX275" fmla="*/ 4900 w 752994"/>
                <a:gd name="connsiteY275" fmla="*/ 531220 h 1333436"/>
                <a:gd name="connsiteX276" fmla="*/ 13873 w 752994"/>
                <a:gd name="connsiteY276" fmla="*/ 520589 h 1333436"/>
                <a:gd name="connsiteX277" fmla="*/ 18369 w 752994"/>
                <a:gd name="connsiteY277" fmla="*/ 516516 h 1333436"/>
                <a:gd name="connsiteX278" fmla="*/ 18773 w 752994"/>
                <a:gd name="connsiteY278" fmla="*/ 514272 h 1333436"/>
                <a:gd name="connsiteX279" fmla="*/ 23077 w 752994"/>
                <a:gd name="connsiteY279" fmla="*/ 506127 h 1333436"/>
                <a:gd name="connsiteX280" fmla="*/ 23884 w 752994"/>
                <a:gd name="connsiteY280" fmla="*/ 502261 h 1333436"/>
                <a:gd name="connsiteX281" fmla="*/ 23692 w 752994"/>
                <a:gd name="connsiteY281" fmla="*/ 496738 h 1333436"/>
                <a:gd name="connsiteX282" fmla="*/ 30013 w 752994"/>
                <a:gd name="connsiteY282" fmla="*/ 486556 h 1333436"/>
                <a:gd name="connsiteX283" fmla="*/ 36546 w 752994"/>
                <a:gd name="connsiteY283" fmla="*/ 470230 h 1333436"/>
                <a:gd name="connsiteX284" fmla="*/ 36546 w 752994"/>
                <a:gd name="connsiteY284" fmla="*/ 462671 h 1333436"/>
                <a:gd name="connsiteX285" fmla="*/ 36335 w 752994"/>
                <a:gd name="connsiteY285" fmla="*/ 461670 h 1333436"/>
                <a:gd name="connsiteX286" fmla="*/ 35931 w 752994"/>
                <a:gd name="connsiteY286" fmla="*/ 453110 h 1333436"/>
                <a:gd name="connsiteX287" fmla="*/ 38583 w 752994"/>
                <a:gd name="connsiteY287" fmla="*/ 442514 h 1333436"/>
                <a:gd name="connsiteX288" fmla="*/ 41043 w 752994"/>
                <a:gd name="connsiteY288" fmla="*/ 436991 h 1333436"/>
                <a:gd name="connsiteX289" fmla="*/ 41650 w 752994"/>
                <a:gd name="connsiteY289" fmla="*/ 437186 h 1333436"/>
                <a:gd name="connsiteX290" fmla="*/ 41239 w 752994"/>
                <a:gd name="connsiteY290" fmla="*/ 436549 h 1333436"/>
                <a:gd name="connsiteX291" fmla="*/ 37778 w 752994"/>
                <a:gd name="connsiteY291" fmla="*/ 433894 h 1333436"/>
                <a:gd name="connsiteX292" fmla="*/ 37169 w 752994"/>
                <a:gd name="connsiteY292" fmla="*/ 432261 h 1333436"/>
                <a:gd name="connsiteX293" fmla="*/ 37365 w 752994"/>
                <a:gd name="connsiteY293" fmla="*/ 429198 h 1333436"/>
                <a:gd name="connsiteX294" fmla="*/ 36756 w 752994"/>
                <a:gd name="connsiteY294" fmla="*/ 422272 h 1333436"/>
                <a:gd name="connsiteX295" fmla="*/ 36952 w 752994"/>
                <a:gd name="connsiteY295" fmla="*/ 418800 h 1333436"/>
                <a:gd name="connsiteX296" fmla="*/ 36756 w 752994"/>
                <a:gd name="connsiteY296" fmla="*/ 412487 h 1333436"/>
                <a:gd name="connsiteX297" fmla="*/ 40433 w 752994"/>
                <a:gd name="connsiteY297" fmla="*/ 406174 h 1333436"/>
                <a:gd name="connsiteX298" fmla="*/ 44720 w 752994"/>
                <a:gd name="connsiteY298" fmla="*/ 399435 h 1333436"/>
                <a:gd name="connsiteX299" fmla="*/ 44110 w 752994"/>
                <a:gd name="connsiteY299" fmla="*/ 389651 h 1333436"/>
                <a:gd name="connsiteX300" fmla="*/ 43894 w 752994"/>
                <a:gd name="connsiteY300" fmla="*/ 378437 h 1333436"/>
                <a:gd name="connsiteX301" fmla="*/ 47158 w 752994"/>
                <a:gd name="connsiteY301" fmla="*/ 371102 h 1333436"/>
                <a:gd name="connsiteX302" fmla="*/ 55731 w 752994"/>
                <a:gd name="connsiteY302" fmla="*/ 360909 h 1333436"/>
                <a:gd name="connsiteX303" fmla="*/ 57580 w 752994"/>
                <a:gd name="connsiteY303" fmla="*/ 355804 h 1333436"/>
                <a:gd name="connsiteX304" fmla="*/ 62673 w 752994"/>
                <a:gd name="connsiteY304" fmla="*/ 349695 h 1333436"/>
                <a:gd name="connsiteX305" fmla="*/ 65937 w 752994"/>
                <a:gd name="connsiteY305" fmla="*/ 348470 h 1333436"/>
                <a:gd name="connsiteX306" fmla="*/ 68395 w 752994"/>
                <a:gd name="connsiteY306" fmla="*/ 348674 h 1333436"/>
                <a:gd name="connsiteX307" fmla="*/ 70224 w 752994"/>
                <a:gd name="connsiteY307" fmla="*/ 347449 h 1333436"/>
                <a:gd name="connsiteX308" fmla="*/ 67785 w 752994"/>
                <a:gd name="connsiteY308" fmla="*/ 345203 h 1333436"/>
                <a:gd name="connsiteX309" fmla="*/ 65524 w 752994"/>
                <a:gd name="connsiteY309" fmla="*/ 343178 h 1333436"/>
                <a:gd name="connsiteX310" fmla="*/ 73095 w 752994"/>
                <a:gd name="connsiteY310" fmla="*/ 333376 h 1333436"/>
                <a:gd name="connsiteX311" fmla="*/ 73291 w 752994"/>
                <a:gd name="connsiteY311" fmla="*/ 333376 h 1333436"/>
                <a:gd name="connsiteX312" fmla="*/ 77991 w 752994"/>
                <a:gd name="connsiteY312" fmla="*/ 325838 h 1333436"/>
                <a:gd name="connsiteX313" fmla="*/ 82671 w 752994"/>
                <a:gd name="connsiteY313" fmla="*/ 313619 h 1333436"/>
                <a:gd name="connsiteX314" fmla="*/ 87980 w 752994"/>
                <a:gd name="connsiteY314" fmla="*/ 303018 h 1333436"/>
                <a:gd name="connsiteX315" fmla="*/ 92267 w 752994"/>
                <a:gd name="connsiteY315" fmla="*/ 291191 h 1333436"/>
                <a:gd name="connsiteX316" fmla="*/ 96553 w 752994"/>
                <a:gd name="connsiteY316" fmla="*/ 281202 h 1333436"/>
                <a:gd name="connsiteX317" fmla="*/ 99621 w 752994"/>
                <a:gd name="connsiteY317" fmla="*/ 274481 h 1333436"/>
                <a:gd name="connsiteX318" fmla="*/ 103082 w 752994"/>
                <a:gd name="connsiteY318" fmla="*/ 262450 h 1333436"/>
                <a:gd name="connsiteX319" fmla="*/ 107172 w 752994"/>
                <a:gd name="connsiteY319" fmla="*/ 254299 h 1333436"/>
                <a:gd name="connsiteX320" fmla="*/ 112481 w 752994"/>
                <a:gd name="connsiteY320" fmla="*/ 243697 h 1333436"/>
                <a:gd name="connsiteX321" fmla="*/ 117181 w 752994"/>
                <a:gd name="connsiteY321" fmla="*/ 232279 h 1333436"/>
                <a:gd name="connsiteX322" fmla="*/ 125951 w 752994"/>
                <a:gd name="connsiteY322" fmla="*/ 217389 h 1333436"/>
                <a:gd name="connsiteX323" fmla="*/ 136156 w 752994"/>
                <a:gd name="connsiteY323" fmla="*/ 202925 h 1333436"/>
                <a:gd name="connsiteX324" fmla="*/ 138811 w 752994"/>
                <a:gd name="connsiteY324" fmla="*/ 183339 h 1333436"/>
                <a:gd name="connsiteX325" fmla="*/ 148801 w 752994"/>
                <a:gd name="connsiteY325" fmla="*/ 167445 h 1333436"/>
                <a:gd name="connsiteX326" fmla="*/ 159616 w 752994"/>
                <a:gd name="connsiteY326" fmla="*/ 170712 h 1333436"/>
                <a:gd name="connsiteX327" fmla="*/ 173105 w 752994"/>
                <a:gd name="connsiteY327" fmla="*/ 175188 h 1333436"/>
                <a:gd name="connsiteX328" fmla="*/ 175347 w 752994"/>
                <a:gd name="connsiteY328" fmla="*/ 175188 h 1333436"/>
                <a:gd name="connsiteX329" fmla="*/ 175347 w 752994"/>
                <a:gd name="connsiteY329" fmla="*/ 173758 h 1333436"/>
                <a:gd name="connsiteX330" fmla="*/ 184975 w 752994"/>
                <a:gd name="connsiteY330" fmla="*/ 187393 h 1333436"/>
                <a:gd name="connsiteX331" fmla="*/ 184762 w 752994"/>
                <a:gd name="connsiteY331" fmla="*/ 184637 h 1333436"/>
                <a:gd name="connsiteX332" fmla="*/ 174971 w 752994"/>
                <a:gd name="connsiteY332" fmla="*/ 170774 h 1333436"/>
                <a:gd name="connsiteX333" fmla="*/ 174971 w 752994"/>
                <a:gd name="connsiteY333" fmla="*/ 169550 h 1333436"/>
                <a:gd name="connsiteX334" fmla="*/ 158851 w 752994"/>
                <a:gd name="connsiteY334" fmla="*/ 156924 h 1333436"/>
                <a:gd name="connsiteX335" fmla="*/ 147025 w 752994"/>
                <a:gd name="connsiteY335" fmla="*/ 145709 h 1333436"/>
                <a:gd name="connsiteX336" fmla="*/ 154364 w 752994"/>
                <a:gd name="connsiteY336" fmla="*/ 136335 h 1333436"/>
                <a:gd name="connsiteX337" fmla="*/ 161511 w 752994"/>
                <a:gd name="connsiteY337" fmla="*/ 131042 h 1333436"/>
                <a:gd name="connsiteX338" fmla="*/ 160902 w 752994"/>
                <a:gd name="connsiteY338" fmla="*/ 128384 h 1333436"/>
                <a:gd name="connsiteX339" fmla="*/ 160277 w 752994"/>
                <a:gd name="connsiteY339" fmla="*/ 127778 h 1333436"/>
                <a:gd name="connsiteX340" fmla="*/ 154973 w 752994"/>
                <a:gd name="connsiteY340" fmla="*/ 122077 h 1333436"/>
                <a:gd name="connsiteX341" fmla="*/ 160277 w 752994"/>
                <a:gd name="connsiteY341" fmla="*/ 115140 h 1333436"/>
                <a:gd name="connsiteX342" fmla="*/ 165181 w 752994"/>
                <a:gd name="connsiteY342" fmla="*/ 108215 h 1333436"/>
                <a:gd name="connsiteX343" fmla="*/ 161303 w 752994"/>
                <a:gd name="connsiteY343" fmla="*/ 104146 h 1333436"/>
                <a:gd name="connsiteX344" fmla="*/ 157842 w 752994"/>
                <a:gd name="connsiteY344" fmla="*/ 104542 h 1333436"/>
                <a:gd name="connsiteX345" fmla="*/ 157024 w 752994"/>
                <a:gd name="connsiteY345" fmla="*/ 102304 h 1333436"/>
                <a:gd name="connsiteX346" fmla="*/ 160694 w 752994"/>
                <a:gd name="connsiteY346" fmla="*/ 55437 h 1333436"/>
                <a:gd name="connsiteX347" fmla="*/ 160486 w 752994"/>
                <a:gd name="connsiteY347" fmla="*/ 31991 h 1333436"/>
                <a:gd name="connsiteX348" fmla="*/ 164972 w 752994"/>
                <a:gd name="connsiteY348" fmla="*/ 18141 h 1333436"/>
                <a:gd name="connsiteX349" fmla="*/ 171911 w 752994"/>
                <a:gd name="connsiteY349" fmla="*/ 11204 h 1333436"/>
                <a:gd name="connsiteX350" fmla="*/ 187406 w 752994"/>
                <a:gd name="connsiteY350" fmla="*/ 21801 h 1333436"/>
                <a:gd name="connsiteX351" fmla="*/ 210866 w 752994"/>
                <a:gd name="connsiteY351" fmla="*/ 37086 h 1333436"/>
                <a:gd name="connsiteX352" fmla="*/ 219230 w 752994"/>
                <a:gd name="connsiteY352" fmla="*/ 41166 h 1333436"/>
                <a:gd name="connsiteX353" fmla="*/ 226778 w 752994"/>
                <a:gd name="connsiteY353" fmla="*/ 47486 h 1333436"/>
                <a:gd name="connsiteX354" fmla="*/ 236152 w 752994"/>
                <a:gd name="connsiteY354" fmla="*/ 52370 h 1333436"/>
                <a:gd name="connsiteX355" fmla="*/ 239629 w 752994"/>
                <a:gd name="connsiteY355" fmla="*/ 58491 h 1333436"/>
                <a:gd name="connsiteX356" fmla="*/ 239629 w 752994"/>
                <a:gd name="connsiteY356" fmla="*/ 63376 h 1333436"/>
                <a:gd name="connsiteX357" fmla="*/ 236568 w 752994"/>
                <a:gd name="connsiteY357" fmla="*/ 67457 h 1333436"/>
                <a:gd name="connsiteX358" fmla="*/ 231264 w 752994"/>
                <a:gd name="connsiteY358" fmla="*/ 69905 h 1333436"/>
                <a:gd name="connsiteX359" fmla="*/ 216778 w 752994"/>
                <a:gd name="connsiteY359" fmla="*/ 82741 h 1333436"/>
                <a:gd name="connsiteX360" fmla="*/ 214134 w 752994"/>
                <a:gd name="connsiteY360" fmla="*/ 93536 h 1333436"/>
                <a:gd name="connsiteX361" fmla="*/ 214535 w 752994"/>
                <a:gd name="connsiteY361" fmla="*/ 96801 h 1333436"/>
                <a:gd name="connsiteX362" fmla="*/ 216378 w 752994"/>
                <a:gd name="connsiteY362" fmla="*/ 96801 h 1333436"/>
                <a:gd name="connsiteX363" fmla="*/ 230046 w 752994"/>
                <a:gd name="connsiteY363" fmla="*/ 85387 h 1333436"/>
                <a:gd name="connsiteX364" fmla="*/ 243298 w 752994"/>
                <a:gd name="connsiteY364" fmla="*/ 75198 h 1333436"/>
                <a:gd name="connsiteX365" fmla="*/ 246760 w 752994"/>
                <a:gd name="connsiteY365" fmla="*/ 77646 h 1333436"/>
                <a:gd name="connsiteX366" fmla="*/ 255541 w 752994"/>
                <a:gd name="connsiteY366" fmla="*/ 63376 h 1333436"/>
                <a:gd name="connsiteX367" fmla="*/ 259611 w 752994"/>
                <a:gd name="connsiteY367" fmla="*/ 43405 h 1333436"/>
                <a:gd name="connsiteX368" fmla="*/ 256967 w 752994"/>
                <a:gd name="connsiteY368" fmla="*/ 38520 h 1333436"/>
                <a:gd name="connsiteX369" fmla="*/ 253906 w 752994"/>
                <a:gd name="connsiteY369" fmla="*/ 34242 h 1333436"/>
                <a:gd name="connsiteX370" fmla="*/ 256967 w 752994"/>
                <a:gd name="connsiteY370" fmla="*/ 30161 h 1333436"/>
                <a:gd name="connsiteX371" fmla="*/ 262063 w 752994"/>
                <a:gd name="connsiteY371" fmla="*/ 27712 h 1333436"/>
                <a:gd name="connsiteX372" fmla="*/ 264915 w 752994"/>
                <a:gd name="connsiteY372" fmla="*/ 23026 h 1333436"/>
                <a:gd name="connsiteX373" fmla="*/ 267976 w 752994"/>
                <a:gd name="connsiteY373" fmla="*/ 22618 h 1333436"/>
                <a:gd name="connsiteX374" fmla="*/ 270427 w 752994"/>
                <a:gd name="connsiteY374" fmla="*/ 20787 h 1333436"/>
                <a:gd name="connsiteX375" fmla="*/ 263088 w 752994"/>
                <a:gd name="connsiteY375" fmla="*/ 13652 h 1333436"/>
                <a:gd name="connsiteX376" fmla="*/ 255541 w 752994"/>
                <a:gd name="connsiteY376" fmla="*/ 3055 h 1333436"/>
                <a:gd name="connsiteX377" fmla="*/ 256358 w 752994"/>
                <a:gd name="connsiteY377" fmla="*/ 1224 h 1333436"/>
                <a:gd name="connsiteX378" fmla="*/ 257159 w 752994"/>
                <a:gd name="connsiteY378"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442753 w 752994"/>
                <a:gd name="connsiteY153" fmla="*/ 950656 h 1333436"/>
                <a:gd name="connsiteX154" fmla="*/ 442550 w 752994"/>
                <a:gd name="connsiteY154" fmla="*/ 951272 h 1333436"/>
                <a:gd name="connsiteX155" fmla="*/ 654533 w 752994"/>
                <a:gd name="connsiteY155" fmla="*/ 1333436 h 1333436"/>
                <a:gd name="connsiteX156" fmla="*/ 546831 w 752994"/>
                <a:gd name="connsiteY156" fmla="*/ 1317126 h 1333436"/>
                <a:gd name="connsiteX157" fmla="*/ 351227 w 752994"/>
                <a:gd name="connsiteY157" fmla="*/ 1194172 h 1333436"/>
                <a:gd name="connsiteX158" fmla="*/ 361011 w 752994"/>
                <a:gd name="connsiteY158" fmla="*/ 1182755 h 1333436"/>
                <a:gd name="connsiteX159" fmla="*/ 368981 w 752994"/>
                <a:gd name="connsiteY159" fmla="*/ 1182130 h 1333436"/>
                <a:gd name="connsiteX160" fmla="*/ 369571 w 752994"/>
                <a:gd name="connsiteY160" fmla="*/ 1181558 h 1333436"/>
                <a:gd name="connsiteX161" fmla="*/ 362372 w 752994"/>
                <a:gd name="connsiteY161" fmla="*/ 1182120 h 1333436"/>
                <a:gd name="connsiteX162" fmla="*/ 229464 w 752994"/>
                <a:gd name="connsiteY162" fmla="*/ 1161721 h 1333436"/>
                <a:gd name="connsiteX163" fmla="*/ 227427 w 752994"/>
                <a:gd name="connsiteY163" fmla="*/ 1157269 h 1333436"/>
                <a:gd name="connsiteX164" fmla="*/ 224967 w 752994"/>
                <a:gd name="connsiteY164" fmla="*/ 1152575 h 1333436"/>
                <a:gd name="connsiteX165" fmla="*/ 225582 w 752994"/>
                <a:gd name="connsiteY165" fmla="*/ 1144808 h 1333436"/>
                <a:gd name="connsiteX166" fmla="*/ 227215 w 752994"/>
                <a:gd name="connsiteY166" fmla="*/ 1135834 h 1333436"/>
                <a:gd name="connsiteX167" fmla="*/ 227215 w 752994"/>
                <a:gd name="connsiteY167" fmla="*/ 1134212 h 1333436"/>
                <a:gd name="connsiteX168" fmla="*/ 225179 w 752994"/>
                <a:gd name="connsiteY168" fmla="*/ 1114020 h 1333436"/>
                <a:gd name="connsiteX169" fmla="*/ 217839 w 752994"/>
                <a:gd name="connsiteY169" fmla="*/ 1100352 h 1333436"/>
                <a:gd name="connsiteX170" fmla="*/ 199661 w 752994"/>
                <a:gd name="connsiteY170" fmla="*/ 1076502 h 1333436"/>
                <a:gd name="connsiteX171" fmla="*/ 196395 w 752994"/>
                <a:gd name="connsiteY171" fmla="*/ 1071807 h 1333436"/>
                <a:gd name="connsiteX172" fmla="*/ 190880 w 752994"/>
                <a:gd name="connsiteY172" fmla="*/ 1067527 h 1333436"/>
                <a:gd name="connsiteX173" fmla="*/ 187210 w 752994"/>
                <a:gd name="connsiteY173" fmla="*/ 1068735 h 1333436"/>
                <a:gd name="connsiteX174" fmla="*/ 180062 w 752994"/>
                <a:gd name="connsiteY174" fmla="*/ 1066699 h 1333436"/>
                <a:gd name="connsiteX175" fmla="*/ 180466 w 752994"/>
                <a:gd name="connsiteY175" fmla="*/ 1053031 h 1333436"/>
                <a:gd name="connsiteX176" fmla="*/ 180062 w 752994"/>
                <a:gd name="connsiteY176" fmla="*/ 1045299 h 1333436"/>
                <a:gd name="connsiteX177" fmla="*/ 174144 w 752994"/>
                <a:gd name="connsiteY177" fmla="*/ 1044057 h 1333436"/>
                <a:gd name="connsiteX178" fmla="*/ 158426 w 752994"/>
                <a:gd name="connsiteY178" fmla="*/ 1042641 h 1333436"/>
                <a:gd name="connsiteX179" fmla="*/ 149857 w 752994"/>
                <a:gd name="connsiteY179" fmla="*/ 1035497 h 1333436"/>
                <a:gd name="connsiteX180" fmla="*/ 142497 w 752994"/>
                <a:gd name="connsiteY180" fmla="*/ 1028766 h 1333436"/>
                <a:gd name="connsiteX181" fmla="*/ 140864 w 752994"/>
                <a:gd name="connsiteY181" fmla="*/ 1020620 h 1333436"/>
                <a:gd name="connsiteX182" fmla="*/ 138212 w 752994"/>
                <a:gd name="connsiteY182" fmla="*/ 1013061 h 1333436"/>
                <a:gd name="connsiteX183" fmla="*/ 131064 w 752994"/>
                <a:gd name="connsiteY183" fmla="*/ 1007159 h 1333436"/>
                <a:gd name="connsiteX184" fmla="*/ 121264 w 752994"/>
                <a:gd name="connsiteY184" fmla="*/ 1005330 h 1333436"/>
                <a:gd name="connsiteX185" fmla="*/ 112483 w 752994"/>
                <a:gd name="connsiteY185" fmla="*/ 1001671 h 1333436"/>
                <a:gd name="connsiteX186" fmla="*/ 105950 w 752994"/>
                <a:gd name="connsiteY186" fmla="*/ 995734 h 1333436"/>
                <a:gd name="connsiteX187" fmla="*/ 97380 w 752994"/>
                <a:gd name="connsiteY187" fmla="*/ 994526 h 1333436"/>
                <a:gd name="connsiteX188" fmla="*/ 87984 w 752994"/>
                <a:gd name="connsiteY188" fmla="*/ 991040 h 1333436"/>
                <a:gd name="connsiteX189" fmla="*/ 80029 w 752994"/>
                <a:gd name="connsiteY189" fmla="*/ 985138 h 1333436"/>
                <a:gd name="connsiteX190" fmla="*/ 77166 w 752994"/>
                <a:gd name="connsiteY190" fmla="*/ 976164 h 1333436"/>
                <a:gd name="connsiteX191" fmla="*/ 79203 w 752994"/>
                <a:gd name="connsiteY191" fmla="*/ 970676 h 1333436"/>
                <a:gd name="connsiteX192" fmla="*/ 82470 w 752994"/>
                <a:gd name="connsiteY192" fmla="*/ 963117 h 1333436"/>
                <a:gd name="connsiteX193" fmla="*/ 84314 w 752994"/>
                <a:gd name="connsiteY193" fmla="*/ 954557 h 1333436"/>
                <a:gd name="connsiteX194" fmla="*/ 86351 w 752994"/>
                <a:gd name="connsiteY194" fmla="*/ 948033 h 1333436"/>
                <a:gd name="connsiteX195" fmla="*/ 86159 w 752994"/>
                <a:gd name="connsiteY195" fmla="*/ 942925 h 1333436"/>
                <a:gd name="connsiteX196" fmla="*/ 83085 w 752994"/>
                <a:gd name="connsiteY196" fmla="*/ 939853 h 1333436"/>
                <a:gd name="connsiteX197" fmla="*/ 77570 w 752994"/>
                <a:gd name="connsiteY197" fmla="*/ 937437 h 1333436"/>
                <a:gd name="connsiteX198" fmla="*/ 76763 w 752994"/>
                <a:gd name="connsiteY198" fmla="*/ 931915 h 1333436"/>
                <a:gd name="connsiteX199" fmla="*/ 78800 w 752994"/>
                <a:gd name="connsiteY199" fmla="*/ 927013 h 1333436"/>
                <a:gd name="connsiteX200" fmla="*/ 79626 w 752994"/>
                <a:gd name="connsiteY200" fmla="*/ 922526 h 1333436"/>
                <a:gd name="connsiteX201" fmla="*/ 77781 w 752994"/>
                <a:gd name="connsiteY201" fmla="*/ 919903 h 1333436"/>
                <a:gd name="connsiteX202" fmla="*/ 74303 w 752994"/>
                <a:gd name="connsiteY202" fmla="*/ 917418 h 1333436"/>
                <a:gd name="connsiteX203" fmla="*/ 71863 w 752994"/>
                <a:gd name="connsiteY203" fmla="*/ 915174 h 1333436"/>
                <a:gd name="connsiteX204" fmla="*/ 71652 w 752994"/>
                <a:gd name="connsiteY204" fmla="*/ 910894 h 1333436"/>
                <a:gd name="connsiteX205" fmla="*/ 70633 w 752994"/>
                <a:gd name="connsiteY205" fmla="*/ 906614 h 1333436"/>
                <a:gd name="connsiteX206" fmla="*/ 68385 w 752994"/>
                <a:gd name="connsiteY206" fmla="*/ 902749 h 1333436"/>
                <a:gd name="connsiteX207" fmla="*/ 61045 w 752994"/>
                <a:gd name="connsiteY207" fmla="*/ 889494 h 1333436"/>
                <a:gd name="connsiteX208" fmla="*/ 57971 w 752994"/>
                <a:gd name="connsiteY208" fmla="*/ 875619 h 1333436"/>
                <a:gd name="connsiteX209" fmla="*/ 52264 w 752994"/>
                <a:gd name="connsiteY209" fmla="*/ 862572 h 1333436"/>
                <a:gd name="connsiteX210" fmla="*/ 44309 w 752994"/>
                <a:gd name="connsiteY210" fmla="*/ 850561 h 1333436"/>
                <a:gd name="connsiteX211" fmla="*/ 45520 w 752994"/>
                <a:gd name="connsiteY211" fmla="*/ 827090 h 1333436"/>
                <a:gd name="connsiteX212" fmla="*/ 53071 w 752994"/>
                <a:gd name="connsiteY212" fmla="*/ 822396 h 1333436"/>
                <a:gd name="connsiteX213" fmla="*/ 57375 w 752994"/>
                <a:gd name="connsiteY213" fmla="*/ 816493 h 1333436"/>
                <a:gd name="connsiteX214" fmla="*/ 55319 w 752994"/>
                <a:gd name="connsiteY214" fmla="*/ 801617 h 1333436"/>
                <a:gd name="connsiteX215" fmla="*/ 48383 w 752994"/>
                <a:gd name="connsiteY215" fmla="*/ 802204 h 1333436"/>
                <a:gd name="connsiteX216" fmla="*/ 40428 w 752994"/>
                <a:gd name="connsiteY216" fmla="*/ 797924 h 1333436"/>
                <a:gd name="connsiteX217" fmla="*/ 37565 w 752994"/>
                <a:gd name="connsiteY217" fmla="*/ 790606 h 1333436"/>
                <a:gd name="connsiteX218" fmla="*/ 37565 w 752994"/>
                <a:gd name="connsiteY218" fmla="*/ 790399 h 1333436"/>
                <a:gd name="connsiteX219" fmla="*/ 35931 w 752994"/>
                <a:gd name="connsiteY219" fmla="*/ 785912 h 1333436"/>
                <a:gd name="connsiteX220" fmla="*/ 34510 w 752994"/>
                <a:gd name="connsiteY220" fmla="*/ 780597 h 1333436"/>
                <a:gd name="connsiteX221" fmla="*/ 36335 w 752994"/>
                <a:gd name="connsiteY221" fmla="*/ 774280 h 1333436"/>
                <a:gd name="connsiteX222" fmla="*/ 38180 w 752994"/>
                <a:gd name="connsiteY222" fmla="*/ 766721 h 1333436"/>
                <a:gd name="connsiteX223" fmla="*/ 37161 w 752994"/>
                <a:gd name="connsiteY223" fmla="*/ 760405 h 1333436"/>
                <a:gd name="connsiteX224" fmla="*/ 35720 w 752994"/>
                <a:gd name="connsiteY224" fmla="*/ 754710 h 1333436"/>
                <a:gd name="connsiteX225" fmla="*/ 36546 w 752994"/>
                <a:gd name="connsiteY225" fmla="*/ 748773 h 1333436"/>
                <a:gd name="connsiteX226" fmla="*/ 38372 w 752994"/>
                <a:gd name="connsiteY226" fmla="*/ 744528 h 1333436"/>
                <a:gd name="connsiteX227" fmla="*/ 41638 w 752994"/>
                <a:gd name="connsiteY227" fmla="*/ 744321 h 1333436"/>
                <a:gd name="connsiteX228" fmla="*/ 44713 w 752994"/>
                <a:gd name="connsiteY228" fmla="*/ 746357 h 1333436"/>
                <a:gd name="connsiteX229" fmla="*/ 47364 w 752994"/>
                <a:gd name="connsiteY229" fmla="*/ 753260 h 1333436"/>
                <a:gd name="connsiteX230" fmla="*/ 55742 w 752994"/>
                <a:gd name="connsiteY230" fmla="*/ 764305 h 1333436"/>
                <a:gd name="connsiteX231" fmla="*/ 56338 w 752994"/>
                <a:gd name="connsiteY231" fmla="*/ 761233 h 1333436"/>
                <a:gd name="connsiteX232" fmla="*/ 56145 w 752994"/>
                <a:gd name="connsiteY232" fmla="*/ 757368 h 1333436"/>
                <a:gd name="connsiteX233" fmla="*/ 54916 w 752994"/>
                <a:gd name="connsiteY233" fmla="*/ 748601 h 1333436"/>
                <a:gd name="connsiteX234" fmla="*/ 52879 w 752994"/>
                <a:gd name="connsiteY234" fmla="*/ 747358 h 1333436"/>
                <a:gd name="connsiteX235" fmla="*/ 51649 w 752994"/>
                <a:gd name="connsiteY235" fmla="*/ 745322 h 1333436"/>
                <a:gd name="connsiteX236" fmla="*/ 51649 w 752994"/>
                <a:gd name="connsiteY236" fmla="*/ 739212 h 1333436"/>
                <a:gd name="connsiteX237" fmla="*/ 50227 w 752994"/>
                <a:gd name="connsiteY237" fmla="*/ 734725 h 1333436"/>
                <a:gd name="connsiteX238" fmla="*/ 48786 w 752994"/>
                <a:gd name="connsiteY238" fmla="*/ 731446 h 1333436"/>
                <a:gd name="connsiteX239" fmla="*/ 54512 w 752994"/>
                <a:gd name="connsiteY239" fmla="*/ 726372 h 1333436"/>
                <a:gd name="connsiteX240" fmla="*/ 59815 w 752994"/>
                <a:gd name="connsiteY240" fmla="*/ 725130 h 1333436"/>
                <a:gd name="connsiteX241" fmla="*/ 58182 w 752994"/>
                <a:gd name="connsiteY241" fmla="*/ 722886 h 1333436"/>
                <a:gd name="connsiteX242" fmla="*/ 51861 w 752994"/>
                <a:gd name="connsiteY242" fmla="*/ 717985 h 1333436"/>
                <a:gd name="connsiteX243" fmla="*/ 46749 w 752994"/>
                <a:gd name="connsiteY243" fmla="*/ 729617 h 1333436"/>
                <a:gd name="connsiteX244" fmla="*/ 40831 w 752994"/>
                <a:gd name="connsiteY244" fmla="*/ 739212 h 1333436"/>
                <a:gd name="connsiteX245" fmla="*/ 39601 w 752994"/>
                <a:gd name="connsiteY245" fmla="*/ 738798 h 1333436"/>
                <a:gd name="connsiteX246" fmla="*/ 39409 w 752994"/>
                <a:gd name="connsiteY246" fmla="*/ 738591 h 1333436"/>
                <a:gd name="connsiteX247" fmla="*/ 37161 w 752994"/>
                <a:gd name="connsiteY247" fmla="*/ 734725 h 1333436"/>
                <a:gd name="connsiteX248" fmla="*/ 32665 w 752994"/>
                <a:gd name="connsiteY248" fmla="*/ 727788 h 1333436"/>
                <a:gd name="connsiteX249" fmla="*/ 26747 w 752994"/>
                <a:gd name="connsiteY249" fmla="*/ 719435 h 1333436"/>
                <a:gd name="connsiteX250" fmla="*/ 23884 w 752994"/>
                <a:gd name="connsiteY250" fmla="*/ 717812 h 1333436"/>
                <a:gd name="connsiteX251" fmla="*/ 24710 w 752994"/>
                <a:gd name="connsiteY251" fmla="*/ 709632 h 1333436"/>
                <a:gd name="connsiteX252" fmla="*/ 27554 w 752994"/>
                <a:gd name="connsiteY252" fmla="*/ 701694 h 1333436"/>
                <a:gd name="connsiteX253" fmla="*/ 24902 w 752994"/>
                <a:gd name="connsiteY253" fmla="*/ 696171 h 1333436"/>
                <a:gd name="connsiteX254" fmla="*/ 24095 w 752994"/>
                <a:gd name="connsiteY254" fmla="*/ 687818 h 1333436"/>
                <a:gd name="connsiteX255" fmla="*/ 22462 w 752994"/>
                <a:gd name="connsiteY255" fmla="*/ 682330 h 1333436"/>
                <a:gd name="connsiteX256" fmla="*/ 17159 w 752994"/>
                <a:gd name="connsiteY256" fmla="*/ 677636 h 1333436"/>
                <a:gd name="connsiteX257" fmla="*/ 14296 w 752994"/>
                <a:gd name="connsiteY257" fmla="*/ 671492 h 1333436"/>
                <a:gd name="connsiteX258" fmla="*/ 12451 w 752994"/>
                <a:gd name="connsiteY258" fmla="*/ 665797 h 1333436"/>
                <a:gd name="connsiteX259" fmla="*/ 5111 w 752994"/>
                <a:gd name="connsiteY259" fmla="*/ 654994 h 1333436"/>
                <a:gd name="connsiteX260" fmla="*/ 2248 w 752994"/>
                <a:gd name="connsiteY260" fmla="*/ 645605 h 1333436"/>
                <a:gd name="connsiteX261" fmla="*/ 4496 w 752994"/>
                <a:gd name="connsiteY261" fmla="*/ 640497 h 1333436"/>
                <a:gd name="connsiteX262" fmla="*/ 6744 w 752994"/>
                <a:gd name="connsiteY262" fmla="*/ 632765 h 1333436"/>
                <a:gd name="connsiteX263" fmla="*/ 6744 w 752994"/>
                <a:gd name="connsiteY263" fmla="*/ 628485 h 1333436"/>
                <a:gd name="connsiteX264" fmla="*/ 6533 w 752994"/>
                <a:gd name="connsiteY264" fmla="*/ 620305 h 1333436"/>
                <a:gd name="connsiteX265" fmla="*/ 7359 w 752994"/>
                <a:gd name="connsiteY265" fmla="*/ 611745 h 1333436"/>
                <a:gd name="connsiteX266" fmla="*/ 11836 w 752994"/>
                <a:gd name="connsiteY266" fmla="*/ 602978 h 1333436"/>
                <a:gd name="connsiteX267" fmla="*/ 15103 w 752994"/>
                <a:gd name="connsiteY267" fmla="*/ 591760 h 1333436"/>
                <a:gd name="connsiteX268" fmla="*/ 14488 w 752994"/>
                <a:gd name="connsiteY268" fmla="*/ 584029 h 1333436"/>
                <a:gd name="connsiteX269" fmla="*/ 13873 w 752994"/>
                <a:gd name="connsiteY269" fmla="*/ 578299 h 1333436"/>
                <a:gd name="connsiteX270" fmla="*/ 10626 w 752994"/>
                <a:gd name="connsiteY270" fmla="*/ 568531 h 1333436"/>
                <a:gd name="connsiteX271" fmla="*/ 3670 w 752994"/>
                <a:gd name="connsiteY271" fmla="*/ 558107 h 1333436"/>
                <a:gd name="connsiteX272" fmla="*/ 0 w 752994"/>
                <a:gd name="connsiteY272" fmla="*/ 551377 h 1333436"/>
                <a:gd name="connsiteX273" fmla="*/ 0 w 752994"/>
                <a:gd name="connsiteY273" fmla="*/ 550997 h 1333436"/>
                <a:gd name="connsiteX274" fmla="*/ 4900 w 752994"/>
                <a:gd name="connsiteY274" fmla="*/ 531220 h 1333436"/>
                <a:gd name="connsiteX275" fmla="*/ 13873 w 752994"/>
                <a:gd name="connsiteY275" fmla="*/ 520589 h 1333436"/>
                <a:gd name="connsiteX276" fmla="*/ 18369 w 752994"/>
                <a:gd name="connsiteY276" fmla="*/ 516516 h 1333436"/>
                <a:gd name="connsiteX277" fmla="*/ 18773 w 752994"/>
                <a:gd name="connsiteY277" fmla="*/ 514272 h 1333436"/>
                <a:gd name="connsiteX278" fmla="*/ 23077 w 752994"/>
                <a:gd name="connsiteY278" fmla="*/ 506127 h 1333436"/>
                <a:gd name="connsiteX279" fmla="*/ 23884 w 752994"/>
                <a:gd name="connsiteY279" fmla="*/ 502261 h 1333436"/>
                <a:gd name="connsiteX280" fmla="*/ 23692 w 752994"/>
                <a:gd name="connsiteY280" fmla="*/ 496738 h 1333436"/>
                <a:gd name="connsiteX281" fmla="*/ 30013 w 752994"/>
                <a:gd name="connsiteY281" fmla="*/ 486556 h 1333436"/>
                <a:gd name="connsiteX282" fmla="*/ 36546 w 752994"/>
                <a:gd name="connsiteY282" fmla="*/ 470230 h 1333436"/>
                <a:gd name="connsiteX283" fmla="*/ 36546 w 752994"/>
                <a:gd name="connsiteY283" fmla="*/ 462671 h 1333436"/>
                <a:gd name="connsiteX284" fmla="*/ 36335 w 752994"/>
                <a:gd name="connsiteY284" fmla="*/ 461670 h 1333436"/>
                <a:gd name="connsiteX285" fmla="*/ 35931 w 752994"/>
                <a:gd name="connsiteY285" fmla="*/ 453110 h 1333436"/>
                <a:gd name="connsiteX286" fmla="*/ 38583 w 752994"/>
                <a:gd name="connsiteY286" fmla="*/ 442514 h 1333436"/>
                <a:gd name="connsiteX287" fmla="*/ 41043 w 752994"/>
                <a:gd name="connsiteY287" fmla="*/ 436991 h 1333436"/>
                <a:gd name="connsiteX288" fmla="*/ 41650 w 752994"/>
                <a:gd name="connsiteY288" fmla="*/ 437186 h 1333436"/>
                <a:gd name="connsiteX289" fmla="*/ 41239 w 752994"/>
                <a:gd name="connsiteY289" fmla="*/ 436549 h 1333436"/>
                <a:gd name="connsiteX290" fmla="*/ 37778 w 752994"/>
                <a:gd name="connsiteY290" fmla="*/ 433894 h 1333436"/>
                <a:gd name="connsiteX291" fmla="*/ 37169 w 752994"/>
                <a:gd name="connsiteY291" fmla="*/ 432261 h 1333436"/>
                <a:gd name="connsiteX292" fmla="*/ 37365 w 752994"/>
                <a:gd name="connsiteY292" fmla="*/ 429198 h 1333436"/>
                <a:gd name="connsiteX293" fmla="*/ 36756 w 752994"/>
                <a:gd name="connsiteY293" fmla="*/ 422272 h 1333436"/>
                <a:gd name="connsiteX294" fmla="*/ 36952 w 752994"/>
                <a:gd name="connsiteY294" fmla="*/ 418800 h 1333436"/>
                <a:gd name="connsiteX295" fmla="*/ 36756 w 752994"/>
                <a:gd name="connsiteY295" fmla="*/ 412487 h 1333436"/>
                <a:gd name="connsiteX296" fmla="*/ 40433 w 752994"/>
                <a:gd name="connsiteY296" fmla="*/ 406174 h 1333436"/>
                <a:gd name="connsiteX297" fmla="*/ 44720 w 752994"/>
                <a:gd name="connsiteY297" fmla="*/ 399435 h 1333436"/>
                <a:gd name="connsiteX298" fmla="*/ 44110 w 752994"/>
                <a:gd name="connsiteY298" fmla="*/ 389651 h 1333436"/>
                <a:gd name="connsiteX299" fmla="*/ 43894 w 752994"/>
                <a:gd name="connsiteY299" fmla="*/ 378437 h 1333436"/>
                <a:gd name="connsiteX300" fmla="*/ 47158 w 752994"/>
                <a:gd name="connsiteY300" fmla="*/ 371102 h 1333436"/>
                <a:gd name="connsiteX301" fmla="*/ 55731 w 752994"/>
                <a:gd name="connsiteY301" fmla="*/ 360909 h 1333436"/>
                <a:gd name="connsiteX302" fmla="*/ 57580 w 752994"/>
                <a:gd name="connsiteY302" fmla="*/ 355804 h 1333436"/>
                <a:gd name="connsiteX303" fmla="*/ 62673 w 752994"/>
                <a:gd name="connsiteY303" fmla="*/ 349695 h 1333436"/>
                <a:gd name="connsiteX304" fmla="*/ 65937 w 752994"/>
                <a:gd name="connsiteY304" fmla="*/ 348470 h 1333436"/>
                <a:gd name="connsiteX305" fmla="*/ 68395 w 752994"/>
                <a:gd name="connsiteY305" fmla="*/ 348674 h 1333436"/>
                <a:gd name="connsiteX306" fmla="*/ 70224 w 752994"/>
                <a:gd name="connsiteY306" fmla="*/ 347449 h 1333436"/>
                <a:gd name="connsiteX307" fmla="*/ 67785 w 752994"/>
                <a:gd name="connsiteY307" fmla="*/ 345203 h 1333436"/>
                <a:gd name="connsiteX308" fmla="*/ 65524 w 752994"/>
                <a:gd name="connsiteY308" fmla="*/ 343178 h 1333436"/>
                <a:gd name="connsiteX309" fmla="*/ 73095 w 752994"/>
                <a:gd name="connsiteY309" fmla="*/ 333376 h 1333436"/>
                <a:gd name="connsiteX310" fmla="*/ 73291 w 752994"/>
                <a:gd name="connsiteY310" fmla="*/ 333376 h 1333436"/>
                <a:gd name="connsiteX311" fmla="*/ 77991 w 752994"/>
                <a:gd name="connsiteY311" fmla="*/ 325838 h 1333436"/>
                <a:gd name="connsiteX312" fmla="*/ 82671 w 752994"/>
                <a:gd name="connsiteY312" fmla="*/ 313619 h 1333436"/>
                <a:gd name="connsiteX313" fmla="*/ 87980 w 752994"/>
                <a:gd name="connsiteY313" fmla="*/ 303018 h 1333436"/>
                <a:gd name="connsiteX314" fmla="*/ 92267 w 752994"/>
                <a:gd name="connsiteY314" fmla="*/ 291191 h 1333436"/>
                <a:gd name="connsiteX315" fmla="*/ 96553 w 752994"/>
                <a:gd name="connsiteY315" fmla="*/ 281202 h 1333436"/>
                <a:gd name="connsiteX316" fmla="*/ 99621 w 752994"/>
                <a:gd name="connsiteY316" fmla="*/ 274481 h 1333436"/>
                <a:gd name="connsiteX317" fmla="*/ 103082 w 752994"/>
                <a:gd name="connsiteY317" fmla="*/ 262450 h 1333436"/>
                <a:gd name="connsiteX318" fmla="*/ 107172 w 752994"/>
                <a:gd name="connsiteY318" fmla="*/ 254299 h 1333436"/>
                <a:gd name="connsiteX319" fmla="*/ 112481 w 752994"/>
                <a:gd name="connsiteY319" fmla="*/ 243697 h 1333436"/>
                <a:gd name="connsiteX320" fmla="*/ 117181 w 752994"/>
                <a:gd name="connsiteY320" fmla="*/ 232279 h 1333436"/>
                <a:gd name="connsiteX321" fmla="*/ 125951 w 752994"/>
                <a:gd name="connsiteY321" fmla="*/ 217389 h 1333436"/>
                <a:gd name="connsiteX322" fmla="*/ 136156 w 752994"/>
                <a:gd name="connsiteY322" fmla="*/ 202925 h 1333436"/>
                <a:gd name="connsiteX323" fmla="*/ 138811 w 752994"/>
                <a:gd name="connsiteY323" fmla="*/ 183339 h 1333436"/>
                <a:gd name="connsiteX324" fmla="*/ 148801 w 752994"/>
                <a:gd name="connsiteY324" fmla="*/ 167445 h 1333436"/>
                <a:gd name="connsiteX325" fmla="*/ 159616 w 752994"/>
                <a:gd name="connsiteY325" fmla="*/ 170712 h 1333436"/>
                <a:gd name="connsiteX326" fmla="*/ 173105 w 752994"/>
                <a:gd name="connsiteY326" fmla="*/ 175188 h 1333436"/>
                <a:gd name="connsiteX327" fmla="*/ 175347 w 752994"/>
                <a:gd name="connsiteY327" fmla="*/ 175188 h 1333436"/>
                <a:gd name="connsiteX328" fmla="*/ 175347 w 752994"/>
                <a:gd name="connsiteY328" fmla="*/ 173758 h 1333436"/>
                <a:gd name="connsiteX329" fmla="*/ 184975 w 752994"/>
                <a:gd name="connsiteY329" fmla="*/ 187393 h 1333436"/>
                <a:gd name="connsiteX330" fmla="*/ 184762 w 752994"/>
                <a:gd name="connsiteY330" fmla="*/ 184637 h 1333436"/>
                <a:gd name="connsiteX331" fmla="*/ 174971 w 752994"/>
                <a:gd name="connsiteY331" fmla="*/ 170774 h 1333436"/>
                <a:gd name="connsiteX332" fmla="*/ 174971 w 752994"/>
                <a:gd name="connsiteY332" fmla="*/ 169550 h 1333436"/>
                <a:gd name="connsiteX333" fmla="*/ 158851 w 752994"/>
                <a:gd name="connsiteY333" fmla="*/ 156924 h 1333436"/>
                <a:gd name="connsiteX334" fmla="*/ 147025 w 752994"/>
                <a:gd name="connsiteY334" fmla="*/ 145709 h 1333436"/>
                <a:gd name="connsiteX335" fmla="*/ 154364 w 752994"/>
                <a:gd name="connsiteY335" fmla="*/ 136335 h 1333436"/>
                <a:gd name="connsiteX336" fmla="*/ 161511 w 752994"/>
                <a:gd name="connsiteY336" fmla="*/ 131042 h 1333436"/>
                <a:gd name="connsiteX337" fmla="*/ 160902 w 752994"/>
                <a:gd name="connsiteY337" fmla="*/ 128384 h 1333436"/>
                <a:gd name="connsiteX338" fmla="*/ 160277 w 752994"/>
                <a:gd name="connsiteY338" fmla="*/ 127778 h 1333436"/>
                <a:gd name="connsiteX339" fmla="*/ 154973 w 752994"/>
                <a:gd name="connsiteY339" fmla="*/ 122077 h 1333436"/>
                <a:gd name="connsiteX340" fmla="*/ 160277 w 752994"/>
                <a:gd name="connsiteY340" fmla="*/ 115140 h 1333436"/>
                <a:gd name="connsiteX341" fmla="*/ 165181 w 752994"/>
                <a:gd name="connsiteY341" fmla="*/ 108215 h 1333436"/>
                <a:gd name="connsiteX342" fmla="*/ 161303 w 752994"/>
                <a:gd name="connsiteY342" fmla="*/ 104146 h 1333436"/>
                <a:gd name="connsiteX343" fmla="*/ 157842 w 752994"/>
                <a:gd name="connsiteY343" fmla="*/ 104542 h 1333436"/>
                <a:gd name="connsiteX344" fmla="*/ 157024 w 752994"/>
                <a:gd name="connsiteY344" fmla="*/ 102304 h 1333436"/>
                <a:gd name="connsiteX345" fmla="*/ 160694 w 752994"/>
                <a:gd name="connsiteY345" fmla="*/ 55437 h 1333436"/>
                <a:gd name="connsiteX346" fmla="*/ 160486 w 752994"/>
                <a:gd name="connsiteY346" fmla="*/ 31991 h 1333436"/>
                <a:gd name="connsiteX347" fmla="*/ 164972 w 752994"/>
                <a:gd name="connsiteY347" fmla="*/ 18141 h 1333436"/>
                <a:gd name="connsiteX348" fmla="*/ 171911 w 752994"/>
                <a:gd name="connsiteY348" fmla="*/ 11204 h 1333436"/>
                <a:gd name="connsiteX349" fmla="*/ 187406 w 752994"/>
                <a:gd name="connsiteY349" fmla="*/ 21801 h 1333436"/>
                <a:gd name="connsiteX350" fmla="*/ 210866 w 752994"/>
                <a:gd name="connsiteY350" fmla="*/ 37086 h 1333436"/>
                <a:gd name="connsiteX351" fmla="*/ 219230 w 752994"/>
                <a:gd name="connsiteY351" fmla="*/ 41166 h 1333436"/>
                <a:gd name="connsiteX352" fmla="*/ 226778 w 752994"/>
                <a:gd name="connsiteY352" fmla="*/ 47486 h 1333436"/>
                <a:gd name="connsiteX353" fmla="*/ 236152 w 752994"/>
                <a:gd name="connsiteY353" fmla="*/ 52370 h 1333436"/>
                <a:gd name="connsiteX354" fmla="*/ 239629 w 752994"/>
                <a:gd name="connsiteY354" fmla="*/ 58491 h 1333436"/>
                <a:gd name="connsiteX355" fmla="*/ 239629 w 752994"/>
                <a:gd name="connsiteY355" fmla="*/ 63376 h 1333436"/>
                <a:gd name="connsiteX356" fmla="*/ 236568 w 752994"/>
                <a:gd name="connsiteY356" fmla="*/ 67457 h 1333436"/>
                <a:gd name="connsiteX357" fmla="*/ 231264 w 752994"/>
                <a:gd name="connsiteY357" fmla="*/ 69905 h 1333436"/>
                <a:gd name="connsiteX358" fmla="*/ 216778 w 752994"/>
                <a:gd name="connsiteY358" fmla="*/ 82741 h 1333436"/>
                <a:gd name="connsiteX359" fmla="*/ 214134 w 752994"/>
                <a:gd name="connsiteY359" fmla="*/ 93536 h 1333436"/>
                <a:gd name="connsiteX360" fmla="*/ 214535 w 752994"/>
                <a:gd name="connsiteY360" fmla="*/ 96801 h 1333436"/>
                <a:gd name="connsiteX361" fmla="*/ 216378 w 752994"/>
                <a:gd name="connsiteY361" fmla="*/ 96801 h 1333436"/>
                <a:gd name="connsiteX362" fmla="*/ 230046 w 752994"/>
                <a:gd name="connsiteY362" fmla="*/ 85387 h 1333436"/>
                <a:gd name="connsiteX363" fmla="*/ 243298 w 752994"/>
                <a:gd name="connsiteY363" fmla="*/ 75198 h 1333436"/>
                <a:gd name="connsiteX364" fmla="*/ 246760 w 752994"/>
                <a:gd name="connsiteY364" fmla="*/ 77646 h 1333436"/>
                <a:gd name="connsiteX365" fmla="*/ 255541 w 752994"/>
                <a:gd name="connsiteY365" fmla="*/ 63376 h 1333436"/>
                <a:gd name="connsiteX366" fmla="*/ 259611 w 752994"/>
                <a:gd name="connsiteY366" fmla="*/ 43405 h 1333436"/>
                <a:gd name="connsiteX367" fmla="*/ 256967 w 752994"/>
                <a:gd name="connsiteY367" fmla="*/ 38520 h 1333436"/>
                <a:gd name="connsiteX368" fmla="*/ 253906 w 752994"/>
                <a:gd name="connsiteY368" fmla="*/ 34242 h 1333436"/>
                <a:gd name="connsiteX369" fmla="*/ 256967 w 752994"/>
                <a:gd name="connsiteY369" fmla="*/ 30161 h 1333436"/>
                <a:gd name="connsiteX370" fmla="*/ 262063 w 752994"/>
                <a:gd name="connsiteY370" fmla="*/ 27712 h 1333436"/>
                <a:gd name="connsiteX371" fmla="*/ 264915 w 752994"/>
                <a:gd name="connsiteY371" fmla="*/ 23026 h 1333436"/>
                <a:gd name="connsiteX372" fmla="*/ 267976 w 752994"/>
                <a:gd name="connsiteY372" fmla="*/ 22618 h 1333436"/>
                <a:gd name="connsiteX373" fmla="*/ 270427 w 752994"/>
                <a:gd name="connsiteY373" fmla="*/ 20787 h 1333436"/>
                <a:gd name="connsiteX374" fmla="*/ 263088 w 752994"/>
                <a:gd name="connsiteY374" fmla="*/ 13652 h 1333436"/>
                <a:gd name="connsiteX375" fmla="*/ 255541 w 752994"/>
                <a:gd name="connsiteY375" fmla="*/ 3055 h 1333436"/>
                <a:gd name="connsiteX376" fmla="*/ 256358 w 752994"/>
                <a:gd name="connsiteY376" fmla="*/ 1224 h 1333436"/>
                <a:gd name="connsiteX377" fmla="*/ 257159 w 752994"/>
                <a:gd name="connsiteY377"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442753 w 752994"/>
                <a:gd name="connsiteY153" fmla="*/ 950656 h 1333436"/>
                <a:gd name="connsiteX154" fmla="*/ 654533 w 752994"/>
                <a:gd name="connsiteY154" fmla="*/ 1333436 h 1333436"/>
                <a:gd name="connsiteX155" fmla="*/ 546831 w 752994"/>
                <a:gd name="connsiteY155" fmla="*/ 1317126 h 1333436"/>
                <a:gd name="connsiteX156" fmla="*/ 351227 w 752994"/>
                <a:gd name="connsiteY156" fmla="*/ 1194172 h 1333436"/>
                <a:gd name="connsiteX157" fmla="*/ 361011 w 752994"/>
                <a:gd name="connsiteY157" fmla="*/ 1182755 h 1333436"/>
                <a:gd name="connsiteX158" fmla="*/ 368981 w 752994"/>
                <a:gd name="connsiteY158" fmla="*/ 1182130 h 1333436"/>
                <a:gd name="connsiteX159" fmla="*/ 369571 w 752994"/>
                <a:gd name="connsiteY159" fmla="*/ 1181558 h 1333436"/>
                <a:gd name="connsiteX160" fmla="*/ 362372 w 752994"/>
                <a:gd name="connsiteY160" fmla="*/ 1182120 h 1333436"/>
                <a:gd name="connsiteX161" fmla="*/ 229464 w 752994"/>
                <a:gd name="connsiteY161" fmla="*/ 1161721 h 1333436"/>
                <a:gd name="connsiteX162" fmla="*/ 227427 w 752994"/>
                <a:gd name="connsiteY162" fmla="*/ 1157269 h 1333436"/>
                <a:gd name="connsiteX163" fmla="*/ 224967 w 752994"/>
                <a:gd name="connsiteY163" fmla="*/ 1152575 h 1333436"/>
                <a:gd name="connsiteX164" fmla="*/ 225582 w 752994"/>
                <a:gd name="connsiteY164" fmla="*/ 1144808 h 1333436"/>
                <a:gd name="connsiteX165" fmla="*/ 227215 w 752994"/>
                <a:gd name="connsiteY165" fmla="*/ 1135834 h 1333436"/>
                <a:gd name="connsiteX166" fmla="*/ 227215 w 752994"/>
                <a:gd name="connsiteY166" fmla="*/ 1134212 h 1333436"/>
                <a:gd name="connsiteX167" fmla="*/ 225179 w 752994"/>
                <a:gd name="connsiteY167" fmla="*/ 1114020 h 1333436"/>
                <a:gd name="connsiteX168" fmla="*/ 217839 w 752994"/>
                <a:gd name="connsiteY168" fmla="*/ 1100352 h 1333436"/>
                <a:gd name="connsiteX169" fmla="*/ 199661 w 752994"/>
                <a:gd name="connsiteY169" fmla="*/ 1076502 h 1333436"/>
                <a:gd name="connsiteX170" fmla="*/ 196395 w 752994"/>
                <a:gd name="connsiteY170" fmla="*/ 1071807 h 1333436"/>
                <a:gd name="connsiteX171" fmla="*/ 190880 w 752994"/>
                <a:gd name="connsiteY171" fmla="*/ 1067527 h 1333436"/>
                <a:gd name="connsiteX172" fmla="*/ 187210 w 752994"/>
                <a:gd name="connsiteY172" fmla="*/ 1068735 h 1333436"/>
                <a:gd name="connsiteX173" fmla="*/ 180062 w 752994"/>
                <a:gd name="connsiteY173" fmla="*/ 1066699 h 1333436"/>
                <a:gd name="connsiteX174" fmla="*/ 180466 w 752994"/>
                <a:gd name="connsiteY174" fmla="*/ 1053031 h 1333436"/>
                <a:gd name="connsiteX175" fmla="*/ 180062 w 752994"/>
                <a:gd name="connsiteY175" fmla="*/ 1045299 h 1333436"/>
                <a:gd name="connsiteX176" fmla="*/ 174144 w 752994"/>
                <a:gd name="connsiteY176" fmla="*/ 1044057 h 1333436"/>
                <a:gd name="connsiteX177" fmla="*/ 158426 w 752994"/>
                <a:gd name="connsiteY177" fmla="*/ 1042641 h 1333436"/>
                <a:gd name="connsiteX178" fmla="*/ 149857 w 752994"/>
                <a:gd name="connsiteY178" fmla="*/ 1035497 h 1333436"/>
                <a:gd name="connsiteX179" fmla="*/ 142497 w 752994"/>
                <a:gd name="connsiteY179" fmla="*/ 1028766 h 1333436"/>
                <a:gd name="connsiteX180" fmla="*/ 140864 w 752994"/>
                <a:gd name="connsiteY180" fmla="*/ 1020620 h 1333436"/>
                <a:gd name="connsiteX181" fmla="*/ 138212 w 752994"/>
                <a:gd name="connsiteY181" fmla="*/ 1013061 h 1333436"/>
                <a:gd name="connsiteX182" fmla="*/ 131064 w 752994"/>
                <a:gd name="connsiteY182" fmla="*/ 1007159 h 1333436"/>
                <a:gd name="connsiteX183" fmla="*/ 121264 w 752994"/>
                <a:gd name="connsiteY183" fmla="*/ 1005330 h 1333436"/>
                <a:gd name="connsiteX184" fmla="*/ 112483 w 752994"/>
                <a:gd name="connsiteY184" fmla="*/ 1001671 h 1333436"/>
                <a:gd name="connsiteX185" fmla="*/ 105950 w 752994"/>
                <a:gd name="connsiteY185" fmla="*/ 995734 h 1333436"/>
                <a:gd name="connsiteX186" fmla="*/ 97380 w 752994"/>
                <a:gd name="connsiteY186" fmla="*/ 994526 h 1333436"/>
                <a:gd name="connsiteX187" fmla="*/ 87984 w 752994"/>
                <a:gd name="connsiteY187" fmla="*/ 991040 h 1333436"/>
                <a:gd name="connsiteX188" fmla="*/ 80029 w 752994"/>
                <a:gd name="connsiteY188" fmla="*/ 985138 h 1333436"/>
                <a:gd name="connsiteX189" fmla="*/ 77166 w 752994"/>
                <a:gd name="connsiteY189" fmla="*/ 976164 h 1333436"/>
                <a:gd name="connsiteX190" fmla="*/ 79203 w 752994"/>
                <a:gd name="connsiteY190" fmla="*/ 970676 h 1333436"/>
                <a:gd name="connsiteX191" fmla="*/ 82470 w 752994"/>
                <a:gd name="connsiteY191" fmla="*/ 963117 h 1333436"/>
                <a:gd name="connsiteX192" fmla="*/ 84314 w 752994"/>
                <a:gd name="connsiteY192" fmla="*/ 954557 h 1333436"/>
                <a:gd name="connsiteX193" fmla="*/ 86351 w 752994"/>
                <a:gd name="connsiteY193" fmla="*/ 948033 h 1333436"/>
                <a:gd name="connsiteX194" fmla="*/ 86159 w 752994"/>
                <a:gd name="connsiteY194" fmla="*/ 942925 h 1333436"/>
                <a:gd name="connsiteX195" fmla="*/ 83085 w 752994"/>
                <a:gd name="connsiteY195" fmla="*/ 939853 h 1333436"/>
                <a:gd name="connsiteX196" fmla="*/ 77570 w 752994"/>
                <a:gd name="connsiteY196" fmla="*/ 937437 h 1333436"/>
                <a:gd name="connsiteX197" fmla="*/ 76763 w 752994"/>
                <a:gd name="connsiteY197" fmla="*/ 931915 h 1333436"/>
                <a:gd name="connsiteX198" fmla="*/ 78800 w 752994"/>
                <a:gd name="connsiteY198" fmla="*/ 927013 h 1333436"/>
                <a:gd name="connsiteX199" fmla="*/ 79626 w 752994"/>
                <a:gd name="connsiteY199" fmla="*/ 922526 h 1333436"/>
                <a:gd name="connsiteX200" fmla="*/ 77781 w 752994"/>
                <a:gd name="connsiteY200" fmla="*/ 919903 h 1333436"/>
                <a:gd name="connsiteX201" fmla="*/ 74303 w 752994"/>
                <a:gd name="connsiteY201" fmla="*/ 917418 h 1333436"/>
                <a:gd name="connsiteX202" fmla="*/ 71863 w 752994"/>
                <a:gd name="connsiteY202" fmla="*/ 915174 h 1333436"/>
                <a:gd name="connsiteX203" fmla="*/ 71652 w 752994"/>
                <a:gd name="connsiteY203" fmla="*/ 910894 h 1333436"/>
                <a:gd name="connsiteX204" fmla="*/ 70633 w 752994"/>
                <a:gd name="connsiteY204" fmla="*/ 906614 h 1333436"/>
                <a:gd name="connsiteX205" fmla="*/ 68385 w 752994"/>
                <a:gd name="connsiteY205" fmla="*/ 902749 h 1333436"/>
                <a:gd name="connsiteX206" fmla="*/ 61045 w 752994"/>
                <a:gd name="connsiteY206" fmla="*/ 889494 h 1333436"/>
                <a:gd name="connsiteX207" fmla="*/ 57971 w 752994"/>
                <a:gd name="connsiteY207" fmla="*/ 875619 h 1333436"/>
                <a:gd name="connsiteX208" fmla="*/ 52264 w 752994"/>
                <a:gd name="connsiteY208" fmla="*/ 862572 h 1333436"/>
                <a:gd name="connsiteX209" fmla="*/ 44309 w 752994"/>
                <a:gd name="connsiteY209" fmla="*/ 850561 h 1333436"/>
                <a:gd name="connsiteX210" fmla="*/ 45520 w 752994"/>
                <a:gd name="connsiteY210" fmla="*/ 827090 h 1333436"/>
                <a:gd name="connsiteX211" fmla="*/ 53071 w 752994"/>
                <a:gd name="connsiteY211" fmla="*/ 822396 h 1333436"/>
                <a:gd name="connsiteX212" fmla="*/ 57375 w 752994"/>
                <a:gd name="connsiteY212" fmla="*/ 816493 h 1333436"/>
                <a:gd name="connsiteX213" fmla="*/ 55319 w 752994"/>
                <a:gd name="connsiteY213" fmla="*/ 801617 h 1333436"/>
                <a:gd name="connsiteX214" fmla="*/ 48383 w 752994"/>
                <a:gd name="connsiteY214" fmla="*/ 802204 h 1333436"/>
                <a:gd name="connsiteX215" fmla="*/ 40428 w 752994"/>
                <a:gd name="connsiteY215" fmla="*/ 797924 h 1333436"/>
                <a:gd name="connsiteX216" fmla="*/ 37565 w 752994"/>
                <a:gd name="connsiteY216" fmla="*/ 790606 h 1333436"/>
                <a:gd name="connsiteX217" fmla="*/ 37565 w 752994"/>
                <a:gd name="connsiteY217" fmla="*/ 790399 h 1333436"/>
                <a:gd name="connsiteX218" fmla="*/ 35931 w 752994"/>
                <a:gd name="connsiteY218" fmla="*/ 785912 h 1333436"/>
                <a:gd name="connsiteX219" fmla="*/ 34510 w 752994"/>
                <a:gd name="connsiteY219" fmla="*/ 780597 h 1333436"/>
                <a:gd name="connsiteX220" fmla="*/ 36335 w 752994"/>
                <a:gd name="connsiteY220" fmla="*/ 774280 h 1333436"/>
                <a:gd name="connsiteX221" fmla="*/ 38180 w 752994"/>
                <a:gd name="connsiteY221" fmla="*/ 766721 h 1333436"/>
                <a:gd name="connsiteX222" fmla="*/ 37161 w 752994"/>
                <a:gd name="connsiteY222" fmla="*/ 760405 h 1333436"/>
                <a:gd name="connsiteX223" fmla="*/ 35720 w 752994"/>
                <a:gd name="connsiteY223" fmla="*/ 754710 h 1333436"/>
                <a:gd name="connsiteX224" fmla="*/ 36546 w 752994"/>
                <a:gd name="connsiteY224" fmla="*/ 748773 h 1333436"/>
                <a:gd name="connsiteX225" fmla="*/ 38372 w 752994"/>
                <a:gd name="connsiteY225" fmla="*/ 744528 h 1333436"/>
                <a:gd name="connsiteX226" fmla="*/ 41638 w 752994"/>
                <a:gd name="connsiteY226" fmla="*/ 744321 h 1333436"/>
                <a:gd name="connsiteX227" fmla="*/ 44713 w 752994"/>
                <a:gd name="connsiteY227" fmla="*/ 746357 h 1333436"/>
                <a:gd name="connsiteX228" fmla="*/ 47364 w 752994"/>
                <a:gd name="connsiteY228" fmla="*/ 753260 h 1333436"/>
                <a:gd name="connsiteX229" fmla="*/ 55742 w 752994"/>
                <a:gd name="connsiteY229" fmla="*/ 764305 h 1333436"/>
                <a:gd name="connsiteX230" fmla="*/ 56338 w 752994"/>
                <a:gd name="connsiteY230" fmla="*/ 761233 h 1333436"/>
                <a:gd name="connsiteX231" fmla="*/ 56145 w 752994"/>
                <a:gd name="connsiteY231" fmla="*/ 757368 h 1333436"/>
                <a:gd name="connsiteX232" fmla="*/ 54916 w 752994"/>
                <a:gd name="connsiteY232" fmla="*/ 748601 h 1333436"/>
                <a:gd name="connsiteX233" fmla="*/ 52879 w 752994"/>
                <a:gd name="connsiteY233" fmla="*/ 747358 h 1333436"/>
                <a:gd name="connsiteX234" fmla="*/ 51649 w 752994"/>
                <a:gd name="connsiteY234" fmla="*/ 745322 h 1333436"/>
                <a:gd name="connsiteX235" fmla="*/ 51649 w 752994"/>
                <a:gd name="connsiteY235" fmla="*/ 739212 h 1333436"/>
                <a:gd name="connsiteX236" fmla="*/ 50227 w 752994"/>
                <a:gd name="connsiteY236" fmla="*/ 734725 h 1333436"/>
                <a:gd name="connsiteX237" fmla="*/ 48786 w 752994"/>
                <a:gd name="connsiteY237" fmla="*/ 731446 h 1333436"/>
                <a:gd name="connsiteX238" fmla="*/ 54512 w 752994"/>
                <a:gd name="connsiteY238" fmla="*/ 726372 h 1333436"/>
                <a:gd name="connsiteX239" fmla="*/ 59815 w 752994"/>
                <a:gd name="connsiteY239" fmla="*/ 725130 h 1333436"/>
                <a:gd name="connsiteX240" fmla="*/ 58182 w 752994"/>
                <a:gd name="connsiteY240" fmla="*/ 722886 h 1333436"/>
                <a:gd name="connsiteX241" fmla="*/ 51861 w 752994"/>
                <a:gd name="connsiteY241" fmla="*/ 717985 h 1333436"/>
                <a:gd name="connsiteX242" fmla="*/ 46749 w 752994"/>
                <a:gd name="connsiteY242" fmla="*/ 729617 h 1333436"/>
                <a:gd name="connsiteX243" fmla="*/ 40831 w 752994"/>
                <a:gd name="connsiteY243" fmla="*/ 739212 h 1333436"/>
                <a:gd name="connsiteX244" fmla="*/ 39601 w 752994"/>
                <a:gd name="connsiteY244" fmla="*/ 738798 h 1333436"/>
                <a:gd name="connsiteX245" fmla="*/ 39409 w 752994"/>
                <a:gd name="connsiteY245" fmla="*/ 738591 h 1333436"/>
                <a:gd name="connsiteX246" fmla="*/ 37161 w 752994"/>
                <a:gd name="connsiteY246" fmla="*/ 734725 h 1333436"/>
                <a:gd name="connsiteX247" fmla="*/ 32665 w 752994"/>
                <a:gd name="connsiteY247" fmla="*/ 727788 h 1333436"/>
                <a:gd name="connsiteX248" fmla="*/ 26747 w 752994"/>
                <a:gd name="connsiteY248" fmla="*/ 719435 h 1333436"/>
                <a:gd name="connsiteX249" fmla="*/ 23884 w 752994"/>
                <a:gd name="connsiteY249" fmla="*/ 717812 h 1333436"/>
                <a:gd name="connsiteX250" fmla="*/ 24710 w 752994"/>
                <a:gd name="connsiteY250" fmla="*/ 709632 h 1333436"/>
                <a:gd name="connsiteX251" fmla="*/ 27554 w 752994"/>
                <a:gd name="connsiteY251" fmla="*/ 701694 h 1333436"/>
                <a:gd name="connsiteX252" fmla="*/ 24902 w 752994"/>
                <a:gd name="connsiteY252" fmla="*/ 696171 h 1333436"/>
                <a:gd name="connsiteX253" fmla="*/ 24095 w 752994"/>
                <a:gd name="connsiteY253" fmla="*/ 687818 h 1333436"/>
                <a:gd name="connsiteX254" fmla="*/ 22462 w 752994"/>
                <a:gd name="connsiteY254" fmla="*/ 682330 h 1333436"/>
                <a:gd name="connsiteX255" fmla="*/ 17159 w 752994"/>
                <a:gd name="connsiteY255" fmla="*/ 677636 h 1333436"/>
                <a:gd name="connsiteX256" fmla="*/ 14296 w 752994"/>
                <a:gd name="connsiteY256" fmla="*/ 671492 h 1333436"/>
                <a:gd name="connsiteX257" fmla="*/ 12451 w 752994"/>
                <a:gd name="connsiteY257" fmla="*/ 665797 h 1333436"/>
                <a:gd name="connsiteX258" fmla="*/ 5111 w 752994"/>
                <a:gd name="connsiteY258" fmla="*/ 654994 h 1333436"/>
                <a:gd name="connsiteX259" fmla="*/ 2248 w 752994"/>
                <a:gd name="connsiteY259" fmla="*/ 645605 h 1333436"/>
                <a:gd name="connsiteX260" fmla="*/ 4496 w 752994"/>
                <a:gd name="connsiteY260" fmla="*/ 640497 h 1333436"/>
                <a:gd name="connsiteX261" fmla="*/ 6744 w 752994"/>
                <a:gd name="connsiteY261" fmla="*/ 632765 h 1333436"/>
                <a:gd name="connsiteX262" fmla="*/ 6744 w 752994"/>
                <a:gd name="connsiteY262" fmla="*/ 628485 h 1333436"/>
                <a:gd name="connsiteX263" fmla="*/ 6533 w 752994"/>
                <a:gd name="connsiteY263" fmla="*/ 620305 h 1333436"/>
                <a:gd name="connsiteX264" fmla="*/ 7359 w 752994"/>
                <a:gd name="connsiteY264" fmla="*/ 611745 h 1333436"/>
                <a:gd name="connsiteX265" fmla="*/ 11836 w 752994"/>
                <a:gd name="connsiteY265" fmla="*/ 602978 h 1333436"/>
                <a:gd name="connsiteX266" fmla="*/ 15103 w 752994"/>
                <a:gd name="connsiteY266" fmla="*/ 591760 h 1333436"/>
                <a:gd name="connsiteX267" fmla="*/ 14488 w 752994"/>
                <a:gd name="connsiteY267" fmla="*/ 584029 h 1333436"/>
                <a:gd name="connsiteX268" fmla="*/ 13873 w 752994"/>
                <a:gd name="connsiteY268" fmla="*/ 578299 h 1333436"/>
                <a:gd name="connsiteX269" fmla="*/ 10626 w 752994"/>
                <a:gd name="connsiteY269" fmla="*/ 568531 h 1333436"/>
                <a:gd name="connsiteX270" fmla="*/ 3670 w 752994"/>
                <a:gd name="connsiteY270" fmla="*/ 558107 h 1333436"/>
                <a:gd name="connsiteX271" fmla="*/ 0 w 752994"/>
                <a:gd name="connsiteY271" fmla="*/ 551377 h 1333436"/>
                <a:gd name="connsiteX272" fmla="*/ 0 w 752994"/>
                <a:gd name="connsiteY272" fmla="*/ 550997 h 1333436"/>
                <a:gd name="connsiteX273" fmla="*/ 4900 w 752994"/>
                <a:gd name="connsiteY273" fmla="*/ 531220 h 1333436"/>
                <a:gd name="connsiteX274" fmla="*/ 13873 w 752994"/>
                <a:gd name="connsiteY274" fmla="*/ 520589 h 1333436"/>
                <a:gd name="connsiteX275" fmla="*/ 18369 w 752994"/>
                <a:gd name="connsiteY275" fmla="*/ 516516 h 1333436"/>
                <a:gd name="connsiteX276" fmla="*/ 18773 w 752994"/>
                <a:gd name="connsiteY276" fmla="*/ 514272 h 1333436"/>
                <a:gd name="connsiteX277" fmla="*/ 23077 w 752994"/>
                <a:gd name="connsiteY277" fmla="*/ 506127 h 1333436"/>
                <a:gd name="connsiteX278" fmla="*/ 23884 w 752994"/>
                <a:gd name="connsiteY278" fmla="*/ 502261 h 1333436"/>
                <a:gd name="connsiteX279" fmla="*/ 23692 w 752994"/>
                <a:gd name="connsiteY279" fmla="*/ 496738 h 1333436"/>
                <a:gd name="connsiteX280" fmla="*/ 30013 w 752994"/>
                <a:gd name="connsiteY280" fmla="*/ 486556 h 1333436"/>
                <a:gd name="connsiteX281" fmla="*/ 36546 w 752994"/>
                <a:gd name="connsiteY281" fmla="*/ 470230 h 1333436"/>
                <a:gd name="connsiteX282" fmla="*/ 36546 w 752994"/>
                <a:gd name="connsiteY282" fmla="*/ 462671 h 1333436"/>
                <a:gd name="connsiteX283" fmla="*/ 36335 w 752994"/>
                <a:gd name="connsiteY283" fmla="*/ 461670 h 1333436"/>
                <a:gd name="connsiteX284" fmla="*/ 35931 w 752994"/>
                <a:gd name="connsiteY284" fmla="*/ 453110 h 1333436"/>
                <a:gd name="connsiteX285" fmla="*/ 38583 w 752994"/>
                <a:gd name="connsiteY285" fmla="*/ 442514 h 1333436"/>
                <a:gd name="connsiteX286" fmla="*/ 41043 w 752994"/>
                <a:gd name="connsiteY286" fmla="*/ 436991 h 1333436"/>
                <a:gd name="connsiteX287" fmla="*/ 41650 w 752994"/>
                <a:gd name="connsiteY287" fmla="*/ 437186 h 1333436"/>
                <a:gd name="connsiteX288" fmla="*/ 41239 w 752994"/>
                <a:gd name="connsiteY288" fmla="*/ 436549 h 1333436"/>
                <a:gd name="connsiteX289" fmla="*/ 37778 w 752994"/>
                <a:gd name="connsiteY289" fmla="*/ 433894 h 1333436"/>
                <a:gd name="connsiteX290" fmla="*/ 37169 w 752994"/>
                <a:gd name="connsiteY290" fmla="*/ 432261 h 1333436"/>
                <a:gd name="connsiteX291" fmla="*/ 37365 w 752994"/>
                <a:gd name="connsiteY291" fmla="*/ 429198 h 1333436"/>
                <a:gd name="connsiteX292" fmla="*/ 36756 w 752994"/>
                <a:gd name="connsiteY292" fmla="*/ 422272 h 1333436"/>
                <a:gd name="connsiteX293" fmla="*/ 36952 w 752994"/>
                <a:gd name="connsiteY293" fmla="*/ 418800 h 1333436"/>
                <a:gd name="connsiteX294" fmla="*/ 36756 w 752994"/>
                <a:gd name="connsiteY294" fmla="*/ 412487 h 1333436"/>
                <a:gd name="connsiteX295" fmla="*/ 40433 w 752994"/>
                <a:gd name="connsiteY295" fmla="*/ 406174 h 1333436"/>
                <a:gd name="connsiteX296" fmla="*/ 44720 w 752994"/>
                <a:gd name="connsiteY296" fmla="*/ 399435 h 1333436"/>
                <a:gd name="connsiteX297" fmla="*/ 44110 w 752994"/>
                <a:gd name="connsiteY297" fmla="*/ 389651 h 1333436"/>
                <a:gd name="connsiteX298" fmla="*/ 43894 w 752994"/>
                <a:gd name="connsiteY298" fmla="*/ 378437 h 1333436"/>
                <a:gd name="connsiteX299" fmla="*/ 47158 w 752994"/>
                <a:gd name="connsiteY299" fmla="*/ 371102 h 1333436"/>
                <a:gd name="connsiteX300" fmla="*/ 55731 w 752994"/>
                <a:gd name="connsiteY300" fmla="*/ 360909 h 1333436"/>
                <a:gd name="connsiteX301" fmla="*/ 57580 w 752994"/>
                <a:gd name="connsiteY301" fmla="*/ 355804 h 1333436"/>
                <a:gd name="connsiteX302" fmla="*/ 62673 w 752994"/>
                <a:gd name="connsiteY302" fmla="*/ 349695 h 1333436"/>
                <a:gd name="connsiteX303" fmla="*/ 65937 w 752994"/>
                <a:gd name="connsiteY303" fmla="*/ 348470 h 1333436"/>
                <a:gd name="connsiteX304" fmla="*/ 68395 w 752994"/>
                <a:gd name="connsiteY304" fmla="*/ 348674 h 1333436"/>
                <a:gd name="connsiteX305" fmla="*/ 70224 w 752994"/>
                <a:gd name="connsiteY305" fmla="*/ 347449 h 1333436"/>
                <a:gd name="connsiteX306" fmla="*/ 67785 w 752994"/>
                <a:gd name="connsiteY306" fmla="*/ 345203 h 1333436"/>
                <a:gd name="connsiteX307" fmla="*/ 65524 w 752994"/>
                <a:gd name="connsiteY307" fmla="*/ 343178 h 1333436"/>
                <a:gd name="connsiteX308" fmla="*/ 73095 w 752994"/>
                <a:gd name="connsiteY308" fmla="*/ 333376 h 1333436"/>
                <a:gd name="connsiteX309" fmla="*/ 73291 w 752994"/>
                <a:gd name="connsiteY309" fmla="*/ 333376 h 1333436"/>
                <a:gd name="connsiteX310" fmla="*/ 77991 w 752994"/>
                <a:gd name="connsiteY310" fmla="*/ 325838 h 1333436"/>
                <a:gd name="connsiteX311" fmla="*/ 82671 w 752994"/>
                <a:gd name="connsiteY311" fmla="*/ 313619 h 1333436"/>
                <a:gd name="connsiteX312" fmla="*/ 87980 w 752994"/>
                <a:gd name="connsiteY312" fmla="*/ 303018 h 1333436"/>
                <a:gd name="connsiteX313" fmla="*/ 92267 w 752994"/>
                <a:gd name="connsiteY313" fmla="*/ 291191 h 1333436"/>
                <a:gd name="connsiteX314" fmla="*/ 96553 w 752994"/>
                <a:gd name="connsiteY314" fmla="*/ 281202 h 1333436"/>
                <a:gd name="connsiteX315" fmla="*/ 99621 w 752994"/>
                <a:gd name="connsiteY315" fmla="*/ 274481 h 1333436"/>
                <a:gd name="connsiteX316" fmla="*/ 103082 w 752994"/>
                <a:gd name="connsiteY316" fmla="*/ 262450 h 1333436"/>
                <a:gd name="connsiteX317" fmla="*/ 107172 w 752994"/>
                <a:gd name="connsiteY317" fmla="*/ 254299 h 1333436"/>
                <a:gd name="connsiteX318" fmla="*/ 112481 w 752994"/>
                <a:gd name="connsiteY318" fmla="*/ 243697 h 1333436"/>
                <a:gd name="connsiteX319" fmla="*/ 117181 w 752994"/>
                <a:gd name="connsiteY319" fmla="*/ 232279 h 1333436"/>
                <a:gd name="connsiteX320" fmla="*/ 125951 w 752994"/>
                <a:gd name="connsiteY320" fmla="*/ 217389 h 1333436"/>
                <a:gd name="connsiteX321" fmla="*/ 136156 w 752994"/>
                <a:gd name="connsiteY321" fmla="*/ 202925 h 1333436"/>
                <a:gd name="connsiteX322" fmla="*/ 138811 w 752994"/>
                <a:gd name="connsiteY322" fmla="*/ 183339 h 1333436"/>
                <a:gd name="connsiteX323" fmla="*/ 148801 w 752994"/>
                <a:gd name="connsiteY323" fmla="*/ 167445 h 1333436"/>
                <a:gd name="connsiteX324" fmla="*/ 159616 w 752994"/>
                <a:gd name="connsiteY324" fmla="*/ 170712 h 1333436"/>
                <a:gd name="connsiteX325" fmla="*/ 173105 w 752994"/>
                <a:gd name="connsiteY325" fmla="*/ 175188 h 1333436"/>
                <a:gd name="connsiteX326" fmla="*/ 175347 w 752994"/>
                <a:gd name="connsiteY326" fmla="*/ 175188 h 1333436"/>
                <a:gd name="connsiteX327" fmla="*/ 175347 w 752994"/>
                <a:gd name="connsiteY327" fmla="*/ 173758 h 1333436"/>
                <a:gd name="connsiteX328" fmla="*/ 184975 w 752994"/>
                <a:gd name="connsiteY328" fmla="*/ 187393 h 1333436"/>
                <a:gd name="connsiteX329" fmla="*/ 184762 w 752994"/>
                <a:gd name="connsiteY329" fmla="*/ 184637 h 1333436"/>
                <a:gd name="connsiteX330" fmla="*/ 174971 w 752994"/>
                <a:gd name="connsiteY330" fmla="*/ 170774 h 1333436"/>
                <a:gd name="connsiteX331" fmla="*/ 174971 w 752994"/>
                <a:gd name="connsiteY331" fmla="*/ 169550 h 1333436"/>
                <a:gd name="connsiteX332" fmla="*/ 158851 w 752994"/>
                <a:gd name="connsiteY332" fmla="*/ 156924 h 1333436"/>
                <a:gd name="connsiteX333" fmla="*/ 147025 w 752994"/>
                <a:gd name="connsiteY333" fmla="*/ 145709 h 1333436"/>
                <a:gd name="connsiteX334" fmla="*/ 154364 w 752994"/>
                <a:gd name="connsiteY334" fmla="*/ 136335 h 1333436"/>
                <a:gd name="connsiteX335" fmla="*/ 161511 w 752994"/>
                <a:gd name="connsiteY335" fmla="*/ 131042 h 1333436"/>
                <a:gd name="connsiteX336" fmla="*/ 160902 w 752994"/>
                <a:gd name="connsiteY336" fmla="*/ 128384 h 1333436"/>
                <a:gd name="connsiteX337" fmla="*/ 160277 w 752994"/>
                <a:gd name="connsiteY337" fmla="*/ 127778 h 1333436"/>
                <a:gd name="connsiteX338" fmla="*/ 154973 w 752994"/>
                <a:gd name="connsiteY338" fmla="*/ 122077 h 1333436"/>
                <a:gd name="connsiteX339" fmla="*/ 160277 w 752994"/>
                <a:gd name="connsiteY339" fmla="*/ 115140 h 1333436"/>
                <a:gd name="connsiteX340" fmla="*/ 165181 w 752994"/>
                <a:gd name="connsiteY340" fmla="*/ 108215 h 1333436"/>
                <a:gd name="connsiteX341" fmla="*/ 161303 w 752994"/>
                <a:gd name="connsiteY341" fmla="*/ 104146 h 1333436"/>
                <a:gd name="connsiteX342" fmla="*/ 157842 w 752994"/>
                <a:gd name="connsiteY342" fmla="*/ 104542 h 1333436"/>
                <a:gd name="connsiteX343" fmla="*/ 157024 w 752994"/>
                <a:gd name="connsiteY343" fmla="*/ 102304 h 1333436"/>
                <a:gd name="connsiteX344" fmla="*/ 160694 w 752994"/>
                <a:gd name="connsiteY344" fmla="*/ 55437 h 1333436"/>
                <a:gd name="connsiteX345" fmla="*/ 160486 w 752994"/>
                <a:gd name="connsiteY345" fmla="*/ 31991 h 1333436"/>
                <a:gd name="connsiteX346" fmla="*/ 164972 w 752994"/>
                <a:gd name="connsiteY346" fmla="*/ 18141 h 1333436"/>
                <a:gd name="connsiteX347" fmla="*/ 171911 w 752994"/>
                <a:gd name="connsiteY347" fmla="*/ 11204 h 1333436"/>
                <a:gd name="connsiteX348" fmla="*/ 187406 w 752994"/>
                <a:gd name="connsiteY348" fmla="*/ 21801 h 1333436"/>
                <a:gd name="connsiteX349" fmla="*/ 210866 w 752994"/>
                <a:gd name="connsiteY349" fmla="*/ 37086 h 1333436"/>
                <a:gd name="connsiteX350" fmla="*/ 219230 w 752994"/>
                <a:gd name="connsiteY350" fmla="*/ 41166 h 1333436"/>
                <a:gd name="connsiteX351" fmla="*/ 226778 w 752994"/>
                <a:gd name="connsiteY351" fmla="*/ 47486 h 1333436"/>
                <a:gd name="connsiteX352" fmla="*/ 236152 w 752994"/>
                <a:gd name="connsiteY352" fmla="*/ 52370 h 1333436"/>
                <a:gd name="connsiteX353" fmla="*/ 239629 w 752994"/>
                <a:gd name="connsiteY353" fmla="*/ 58491 h 1333436"/>
                <a:gd name="connsiteX354" fmla="*/ 239629 w 752994"/>
                <a:gd name="connsiteY354" fmla="*/ 63376 h 1333436"/>
                <a:gd name="connsiteX355" fmla="*/ 236568 w 752994"/>
                <a:gd name="connsiteY355" fmla="*/ 67457 h 1333436"/>
                <a:gd name="connsiteX356" fmla="*/ 231264 w 752994"/>
                <a:gd name="connsiteY356" fmla="*/ 69905 h 1333436"/>
                <a:gd name="connsiteX357" fmla="*/ 216778 w 752994"/>
                <a:gd name="connsiteY357" fmla="*/ 82741 h 1333436"/>
                <a:gd name="connsiteX358" fmla="*/ 214134 w 752994"/>
                <a:gd name="connsiteY358" fmla="*/ 93536 h 1333436"/>
                <a:gd name="connsiteX359" fmla="*/ 214535 w 752994"/>
                <a:gd name="connsiteY359" fmla="*/ 96801 h 1333436"/>
                <a:gd name="connsiteX360" fmla="*/ 216378 w 752994"/>
                <a:gd name="connsiteY360" fmla="*/ 96801 h 1333436"/>
                <a:gd name="connsiteX361" fmla="*/ 230046 w 752994"/>
                <a:gd name="connsiteY361" fmla="*/ 85387 h 1333436"/>
                <a:gd name="connsiteX362" fmla="*/ 243298 w 752994"/>
                <a:gd name="connsiteY362" fmla="*/ 75198 h 1333436"/>
                <a:gd name="connsiteX363" fmla="*/ 246760 w 752994"/>
                <a:gd name="connsiteY363" fmla="*/ 77646 h 1333436"/>
                <a:gd name="connsiteX364" fmla="*/ 255541 w 752994"/>
                <a:gd name="connsiteY364" fmla="*/ 63376 h 1333436"/>
                <a:gd name="connsiteX365" fmla="*/ 259611 w 752994"/>
                <a:gd name="connsiteY365" fmla="*/ 43405 h 1333436"/>
                <a:gd name="connsiteX366" fmla="*/ 256967 w 752994"/>
                <a:gd name="connsiteY366" fmla="*/ 38520 h 1333436"/>
                <a:gd name="connsiteX367" fmla="*/ 253906 w 752994"/>
                <a:gd name="connsiteY367" fmla="*/ 34242 h 1333436"/>
                <a:gd name="connsiteX368" fmla="*/ 256967 w 752994"/>
                <a:gd name="connsiteY368" fmla="*/ 30161 h 1333436"/>
                <a:gd name="connsiteX369" fmla="*/ 262063 w 752994"/>
                <a:gd name="connsiteY369" fmla="*/ 27712 h 1333436"/>
                <a:gd name="connsiteX370" fmla="*/ 264915 w 752994"/>
                <a:gd name="connsiteY370" fmla="*/ 23026 h 1333436"/>
                <a:gd name="connsiteX371" fmla="*/ 267976 w 752994"/>
                <a:gd name="connsiteY371" fmla="*/ 22618 h 1333436"/>
                <a:gd name="connsiteX372" fmla="*/ 270427 w 752994"/>
                <a:gd name="connsiteY372" fmla="*/ 20787 h 1333436"/>
                <a:gd name="connsiteX373" fmla="*/ 263088 w 752994"/>
                <a:gd name="connsiteY373" fmla="*/ 13652 h 1333436"/>
                <a:gd name="connsiteX374" fmla="*/ 255541 w 752994"/>
                <a:gd name="connsiteY374" fmla="*/ 3055 h 1333436"/>
                <a:gd name="connsiteX375" fmla="*/ 256358 w 752994"/>
                <a:gd name="connsiteY375" fmla="*/ 1224 h 1333436"/>
                <a:gd name="connsiteX376" fmla="*/ 257159 w 752994"/>
                <a:gd name="connsiteY376"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6369 w 752994"/>
                <a:gd name="connsiteY13" fmla="*/ 968723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406369 w 752994"/>
                <a:gd name="connsiteY18" fmla="*/ 968723 h 1333436"/>
                <a:gd name="connsiteX19" fmla="*/ 184180 w 752994"/>
                <a:gd name="connsiteY19" fmla="*/ 213866 h 1333436"/>
                <a:gd name="connsiteX20" fmla="*/ 184117 w 752994"/>
                <a:gd name="connsiteY20" fmla="*/ 214326 h 1333436"/>
                <a:gd name="connsiteX21" fmla="*/ 185553 w 752994"/>
                <a:gd name="connsiteY21" fmla="*/ 222494 h 1333436"/>
                <a:gd name="connsiteX22" fmla="*/ 188600 w 752994"/>
                <a:gd name="connsiteY22" fmla="*/ 226970 h 1333436"/>
                <a:gd name="connsiteX23" fmla="*/ 195542 w 752994"/>
                <a:gd name="connsiteY23" fmla="*/ 231871 h 1333436"/>
                <a:gd name="connsiteX24" fmla="*/ 203093 w 752994"/>
                <a:gd name="connsiteY24" fmla="*/ 233896 h 1333436"/>
                <a:gd name="connsiteX25" fmla="*/ 217192 w 752994"/>
                <a:gd name="connsiteY25" fmla="*/ 232075 h 1333436"/>
                <a:gd name="connsiteX26" fmla="*/ 225136 w 752994"/>
                <a:gd name="connsiteY26" fmla="*/ 229829 h 1333436"/>
                <a:gd name="connsiteX27" fmla="*/ 235558 w 752994"/>
                <a:gd name="connsiteY27" fmla="*/ 232483 h 1333436"/>
                <a:gd name="connsiteX28" fmla="*/ 242499 w 752994"/>
                <a:gd name="connsiteY28" fmla="*/ 237163 h 1333436"/>
                <a:gd name="connsiteX29" fmla="*/ 248418 w 752994"/>
                <a:gd name="connsiteY29" fmla="*/ 244701 h 1333436"/>
                <a:gd name="connsiteX30" fmla="*/ 255359 w 752994"/>
                <a:gd name="connsiteY30" fmla="*/ 244906 h 1333436"/>
                <a:gd name="connsiteX31" fmla="*/ 258210 w 752994"/>
                <a:gd name="connsiteY31" fmla="*/ 244906 h 1333436"/>
                <a:gd name="connsiteX32" fmla="*/ 263303 w 752994"/>
                <a:gd name="connsiteY32" fmla="*/ 246131 h 1333436"/>
                <a:gd name="connsiteX33" fmla="*/ 269438 w 752994"/>
                <a:gd name="connsiteY33" fmla="*/ 243697 h 1333436"/>
                <a:gd name="connsiteX34" fmla="*/ 274944 w 752994"/>
                <a:gd name="connsiteY34" fmla="*/ 241451 h 1333436"/>
                <a:gd name="connsiteX35" fmla="*/ 281276 w 752994"/>
                <a:gd name="connsiteY35" fmla="*/ 245722 h 1333436"/>
                <a:gd name="connsiteX36" fmla="*/ 289240 w 752994"/>
                <a:gd name="connsiteY36" fmla="*/ 250419 h 1333436"/>
                <a:gd name="connsiteX37" fmla="*/ 297597 w 752994"/>
                <a:gd name="connsiteY37" fmla="*/ 248581 h 1333436"/>
                <a:gd name="connsiteX38" fmla="*/ 310261 w 752994"/>
                <a:gd name="connsiteY38" fmla="*/ 246539 h 1333436"/>
                <a:gd name="connsiteX39" fmla="*/ 324340 w 752994"/>
                <a:gd name="connsiteY39" fmla="*/ 244497 h 1333436"/>
                <a:gd name="connsiteX40" fmla="*/ 333523 w 752994"/>
                <a:gd name="connsiteY40" fmla="*/ 243289 h 1333436"/>
                <a:gd name="connsiteX41" fmla="*/ 341271 w 752994"/>
                <a:gd name="connsiteY41" fmla="*/ 246539 h 1333436"/>
                <a:gd name="connsiteX42" fmla="*/ 348428 w 752994"/>
                <a:gd name="connsiteY42" fmla="*/ 250011 h 1333436"/>
                <a:gd name="connsiteX43" fmla="*/ 351279 w 752994"/>
                <a:gd name="connsiteY43" fmla="*/ 247356 h 1333436"/>
                <a:gd name="connsiteX44" fmla="*/ 355566 w 752994"/>
                <a:gd name="connsiteY44" fmla="*/ 244293 h 1333436"/>
                <a:gd name="connsiteX45" fmla="*/ 365772 w 752994"/>
                <a:gd name="connsiteY45" fmla="*/ 248785 h 1333436"/>
                <a:gd name="connsiteX46" fmla="*/ 381483 w 752994"/>
                <a:gd name="connsiteY46" fmla="*/ 254912 h 1333436"/>
                <a:gd name="connsiteX47" fmla="*/ 381896 w 752994"/>
                <a:gd name="connsiteY47" fmla="*/ 255320 h 1333436"/>
                <a:gd name="connsiteX48" fmla="*/ 395366 w 752994"/>
                <a:gd name="connsiteY48" fmla="*/ 257753 h 1333436"/>
                <a:gd name="connsiteX49" fmla="*/ 414145 w 752994"/>
                <a:gd name="connsiteY49" fmla="*/ 262450 h 1333436"/>
                <a:gd name="connsiteX50" fmla="*/ 431292 w 752994"/>
                <a:gd name="connsiteY50" fmla="*/ 268151 h 1333436"/>
                <a:gd name="connsiteX51" fmla="*/ 445196 w 752994"/>
                <a:gd name="connsiteY51" fmla="*/ 269890 h 1333436"/>
                <a:gd name="connsiteX52" fmla="*/ 444145 w 752994"/>
                <a:gd name="connsiteY52" fmla="*/ 267441 h 1333436"/>
                <a:gd name="connsiteX53" fmla="*/ 444145 w 752994"/>
                <a:gd name="connsiteY53" fmla="*/ 267034 h 1333436"/>
                <a:gd name="connsiteX54" fmla="*/ 444155 w 752994"/>
                <a:gd name="connsiteY54" fmla="*/ 266811 h 1333436"/>
                <a:gd name="connsiteX55" fmla="*/ 430733 w 752994"/>
                <a:gd name="connsiteY55" fmla="*/ 265139 h 1333436"/>
                <a:gd name="connsiteX56" fmla="*/ 394839 w 752994"/>
                <a:gd name="connsiteY56" fmla="*/ 254739 h 1333436"/>
                <a:gd name="connsiteX57" fmla="*/ 381379 w 752994"/>
                <a:gd name="connsiteY57" fmla="*/ 252303 h 1333436"/>
                <a:gd name="connsiteX58" fmla="*/ 380962 w 752994"/>
                <a:gd name="connsiteY58" fmla="*/ 251895 h 1333436"/>
                <a:gd name="connsiteX59" fmla="*/ 365258 w 752994"/>
                <a:gd name="connsiteY59" fmla="*/ 245774 h 1333436"/>
                <a:gd name="connsiteX60" fmla="*/ 355067 w 752994"/>
                <a:gd name="connsiteY60" fmla="*/ 241285 h 1333436"/>
                <a:gd name="connsiteX61" fmla="*/ 350789 w 752994"/>
                <a:gd name="connsiteY61" fmla="*/ 244352 h 1333436"/>
                <a:gd name="connsiteX62" fmla="*/ 347920 w 752994"/>
                <a:gd name="connsiteY62" fmla="*/ 246998 h 1333436"/>
                <a:gd name="connsiteX63" fmla="*/ 340789 w 752994"/>
                <a:gd name="connsiteY63" fmla="*/ 243536 h 1333436"/>
                <a:gd name="connsiteX64" fmla="*/ 333034 w 752994"/>
                <a:gd name="connsiteY64" fmla="*/ 240271 h 1333436"/>
                <a:gd name="connsiteX65" fmla="*/ 323868 w 752994"/>
                <a:gd name="connsiteY65" fmla="*/ 241495 h 1333436"/>
                <a:gd name="connsiteX66" fmla="*/ 309783 w 752994"/>
                <a:gd name="connsiteY66" fmla="*/ 243536 h 1333436"/>
                <a:gd name="connsiteX67" fmla="*/ 297140 w 752994"/>
                <a:gd name="connsiteY67" fmla="*/ 245576 h 1333436"/>
                <a:gd name="connsiteX68" fmla="*/ 288775 w 752994"/>
                <a:gd name="connsiteY68" fmla="*/ 247406 h 1333436"/>
                <a:gd name="connsiteX69" fmla="*/ 280827 w 752994"/>
                <a:gd name="connsiteY69" fmla="*/ 242720 h 1333436"/>
                <a:gd name="connsiteX70" fmla="*/ 274497 w 752994"/>
                <a:gd name="connsiteY70" fmla="*/ 238441 h 1333436"/>
                <a:gd name="connsiteX71" fmla="*/ 269001 w 752994"/>
                <a:gd name="connsiteY71" fmla="*/ 240679 h 1333436"/>
                <a:gd name="connsiteX72" fmla="*/ 262880 w 752994"/>
                <a:gd name="connsiteY72" fmla="*/ 243128 h 1333436"/>
                <a:gd name="connsiteX73" fmla="*/ 260028 w 752994"/>
                <a:gd name="connsiteY73" fmla="*/ 242720 h 1333436"/>
                <a:gd name="connsiteX74" fmla="*/ 247994 w 752994"/>
                <a:gd name="connsiteY74" fmla="*/ 241693 h 1333436"/>
                <a:gd name="connsiteX75" fmla="*/ 242081 w 752994"/>
                <a:gd name="connsiteY75" fmla="*/ 234162 h 1333436"/>
                <a:gd name="connsiteX76" fmla="*/ 235142 w 752994"/>
                <a:gd name="connsiteY76" fmla="*/ 229476 h 1333436"/>
                <a:gd name="connsiteX77" fmla="*/ 224742 w 752994"/>
                <a:gd name="connsiteY77" fmla="*/ 226817 h 1333436"/>
                <a:gd name="connsiteX78" fmla="*/ 216778 w 752994"/>
                <a:gd name="connsiteY78" fmla="*/ 229068 h 1333436"/>
                <a:gd name="connsiteX79" fmla="*/ 202709 w 752994"/>
                <a:gd name="connsiteY79" fmla="*/ 230898 h 1333436"/>
                <a:gd name="connsiteX80" fmla="*/ 195162 w 752994"/>
                <a:gd name="connsiteY80" fmla="*/ 228857 h 1333436"/>
                <a:gd name="connsiteX81" fmla="*/ 188223 w 752994"/>
                <a:gd name="connsiteY81" fmla="*/ 223973 h 1333436"/>
                <a:gd name="connsiteX82" fmla="*/ 185163 w 752994"/>
                <a:gd name="connsiteY82" fmla="*/ 219484 h 1333436"/>
                <a:gd name="connsiteX83" fmla="*/ 184180 w 752994"/>
                <a:gd name="connsiteY83" fmla="*/ 213866 h 1333436"/>
                <a:gd name="connsiteX84" fmla="*/ 257159 w 752994"/>
                <a:gd name="connsiteY84" fmla="*/ 0 h 1333436"/>
                <a:gd name="connsiteX85" fmla="*/ 493147 w 752994"/>
                <a:gd name="connsiteY85" fmla="*/ 73157 h 1333436"/>
                <a:gd name="connsiteX86" fmla="*/ 492970 w 752994"/>
                <a:gd name="connsiteY86" fmla="*/ 73792 h 1333436"/>
                <a:gd name="connsiteX87" fmla="*/ 525816 w 752994"/>
                <a:gd name="connsiteY87" fmla="*/ 82491 h 1333436"/>
                <a:gd name="connsiteX88" fmla="*/ 520098 w 752994"/>
                <a:gd name="connsiteY88" fmla="*/ 111245 h 1333436"/>
                <a:gd name="connsiteX89" fmla="*/ 512552 w 752994"/>
                <a:gd name="connsiteY89" fmla="*/ 143854 h 1333436"/>
                <a:gd name="connsiteX90" fmla="*/ 517849 w 752994"/>
                <a:gd name="connsiteY90" fmla="*/ 157740 h 1333436"/>
                <a:gd name="connsiteX91" fmla="*/ 523160 w 752994"/>
                <a:gd name="connsiteY91" fmla="*/ 172009 h 1333436"/>
                <a:gd name="connsiteX92" fmla="*/ 521535 w 752994"/>
                <a:gd name="connsiteY92" fmla="*/ 178928 h 1333436"/>
                <a:gd name="connsiteX93" fmla="*/ 520098 w 752994"/>
                <a:gd name="connsiteY93" fmla="*/ 186279 h 1333436"/>
                <a:gd name="connsiteX94" fmla="*/ 526019 w 752994"/>
                <a:gd name="connsiteY94" fmla="*/ 193629 h 1333436"/>
                <a:gd name="connsiteX95" fmla="*/ 537251 w 752994"/>
                <a:gd name="connsiteY95" fmla="*/ 206270 h 1333436"/>
                <a:gd name="connsiteX96" fmla="*/ 542765 w 752994"/>
                <a:gd name="connsiteY96" fmla="*/ 217475 h 1333436"/>
                <a:gd name="connsiteX97" fmla="*/ 546857 w 752994"/>
                <a:gd name="connsiteY97" fmla="*/ 230930 h 1333436"/>
                <a:gd name="connsiteX98" fmla="*/ 549499 w 752994"/>
                <a:gd name="connsiteY98" fmla="*/ 235622 h 1333436"/>
                <a:gd name="connsiteX99" fmla="*/ 553388 w 752994"/>
                <a:gd name="connsiteY99" fmla="*/ 240722 h 1333436"/>
                <a:gd name="connsiteX100" fmla="*/ 557465 w 752994"/>
                <a:gd name="connsiteY100" fmla="*/ 246037 h 1333436"/>
                <a:gd name="connsiteX101" fmla="*/ 561761 w 752994"/>
                <a:gd name="connsiteY101" fmla="*/ 248671 h 1333436"/>
                <a:gd name="connsiteX102" fmla="*/ 567478 w 752994"/>
                <a:gd name="connsiteY102" fmla="*/ 247665 h 1333436"/>
                <a:gd name="connsiteX103" fmla="*/ 569931 w 752994"/>
                <a:gd name="connsiteY103" fmla="*/ 249293 h 1333436"/>
                <a:gd name="connsiteX104" fmla="*/ 570540 w 752994"/>
                <a:gd name="connsiteY104" fmla="*/ 251951 h 1333436"/>
                <a:gd name="connsiteX105" fmla="*/ 561964 w 752994"/>
                <a:gd name="connsiteY105" fmla="*/ 267656 h 1333436"/>
                <a:gd name="connsiteX106" fmla="*/ 553591 w 752994"/>
                <a:gd name="connsiteY106" fmla="*/ 289659 h 1333436"/>
                <a:gd name="connsiteX107" fmla="*/ 554810 w 752994"/>
                <a:gd name="connsiteY107" fmla="*/ 292939 h 1333436"/>
                <a:gd name="connsiteX108" fmla="*/ 556246 w 752994"/>
                <a:gd name="connsiteY108" fmla="*/ 299260 h 1333436"/>
                <a:gd name="connsiteX109" fmla="*/ 552778 w 752994"/>
                <a:gd name="connsiteY109" fmla="*/ 301917 h 1333436"/>
                <a:gd name="connsiteX110" fmla="*/ 549295 w 752994"/>
                <a:gd name="connsiteY110" fmla="*/ 306993 h 1333436"/>
                <a:gd name="connsiteX111" fmla="*/ 547061 w 752994"/>
                <a:gd name="connsiteY111" fmla="*/ 313122 h 1333436"/>
                <a:gd name="connsiteX112" fmla="*/ 544811 w 752994"/>
                <a:gd name="connsiteY112" fmla="*/ 316593 h 1333436"/>
                <a:gd name="connsiteX113" fmla="*/ 549919 w 752994"/>
                <a:gd name="connsiteY113" fmla="*/ 322698 h 1333436"/>
                <a:gd name="connsiteX114" fmla="*/ 553184 w 752994"/>
                <a:gd name="connsiteY114" fmla="*/ 325955 h 1333436"/>
                <a:gd name="connsiteX115" fmla="*/ 555840 w 752994"/>
                <a:gd name="connsiteY115" fmla="*/ 328205 h 1333436"/>
                <a:gd name="connsiteX116" fmla="*/ 574212 w 752994"/>
                <a:gd name="connsiteY116" fmla="*/ 318820 h 1333436"/>
                <a:gd name="connsiteX117" fmla="*/ 579523 w 752994"/>
                <a:gd name="connsiteY117" fmla="*/ 326577 h 1333436"/>
                <a:gd name="connsiteX118" fmla="*/ 580539 w 752994"/>
                <a:gd name="connsiteY118" fmla="*/ 334933 h 1333436"/>
                <a:gd name="connsiteX119" fmla="*/ 579726 w 752994"/>
                <a:gd name="connsiteY119" fmla="*/ 343097 h 1333436"/>
                <a:gd name="connsiteX120" fmla="*/ 581366 w 752994"/>
                <a:gd name="connsiteY120" fmla="*/ 350231 h 1333436"/>
                <a:gd name="connsiteX121" fmla="*/ 586256 w 752994"/>
                <a:gd name="connsiteY121" fmla="*/ 355930 h 1333436"/>
                <a:gd name="connsiteX122" fmla="*/ 589536 w 752994"/>
                <a:gd name="connsiteY122" fmla="*/ 362059 h 1333436"/>
                <a:gd name="connsiteX123" fmla="*/ 588099 w 752994"/>
                <a:gd name="connsiteY123" fmla="*/ 369600 h 1333436"/>
                <a:gd name="connsiteX124" fmla="*/ 586459 w 752994"/>
                <a:gd name="connsiteY124" fmla="*/ 377357 h 1333436"/>
                <a:gd name="connsiteX125" fmla="*/ 588709 w 752994"/>
                <a:gd name="connsiteY125" fmla="*/ 381835 h 1333436"/>
                <a:gd name="connsiteX126" fmla="*/ 595036 w 752994"/>
                <a:gd name="connsiteY126" fmla="*/ 382457 h 1333436"/>
                <a:gd name="connsiteX127" fmla="*/ 599331 w 752994"/>
                <a:gd name="connsiteY127" fmla="*/ 385306 h 1333436"/>
                <a:gd name="connsiteX128" fmla="*/ 601987 w 752994"/>
                <a:gd name="connsiteY128" fmla="*/ 391004 h 1333436"/>
                <a:gd name="connsiteX129" fmla="*/ 602799 w 752994"/>
                <a:gd name="connsiteY129" fmla="*/ 404076 h 1333436"/>
                <a:gd name="connsiteX130" fmla="*/ 606892 w 752994"/>
                <a:gd name="connsiteY130" fmla="*/ 415688 h 1333436"/>
                <a:gd name="connsiteX131" fmla="*/ 610563 w 752994"/>
                <a:gd name="connsiteY131" fmla="*/ 412217 h 1333436"/>
                <a:gd name="connsiteX132" fmla="*/ 617920 w 752994"/>
                <a:gd name="connsiteY132" fmla="*/ 408769 h 1333436"/>
                <a:gd name="connsiteX133" fmla="*/ 624654 w 752994"/>
                <a:gd name="connsiteY133" fmla="*/ 411211 h 1333436"/>
                <a:gd name="connsiteX134" fmla="*/ 634652 w 752994"/>
                <a:gd name="connsiteY134" fmla="*/ 410182 h 1333436"/>
                <a:gd name="connsiteX135" fmla="*/ 640573 w 752994"/>
                <a:gd name="connsiteY135" fmla="*/ 407739 h 1333436"/>
                <a:gd name="connsiteX136" fmla="*/ 646711 w 752994"/>
                <a:gd name="connsiteY136" fmla="*/ 410589 h 1333436"/>
                <a:gd name="connsiteX137" fmla="*/ 650383 w 752994"/>
                <a:gd name="connsiteY137" fmla="*/ 410589 h 1333436"/>
                <a:gd name="connsiteX138" fmla="*/ 654257 w 752994"/>
                <a:gd name="connsiteY138" fmla="*/ 411618 h 1333436"/>
                <a:gd name="connsiteX139" fmla="*/ 656913 w 752994"/>
                <a:gd name="connsiteY139" fmla="*/ 413653 h 1333436"/>
                <a:gd name="connsiteX140" fmla="*/ 660802 w 752994"/>
                <a:gd name="connsiteY140" fmla="*/ 415090 h 1333436"/>
                <a:gd name="connsiteX141" fmla="*/ 669581 w 752994"/>
                <a:gd name="connsiteY141" fmla="*/ 415904 h 1333436"/>
                <a:gd name="connsiteX142" fmla="*/ 672237 w 752994"/>
                <a:gd name="connsiteY142" fmla="*/ 415688 h 1333436"/>
                <a:gd name="connsiteX143" fmla="*/ 675705 w 752994"/>
                <a:gd name="connsiteY143" fmla="*/ 409367 h 1333436"/>
                <a:gd name="connsiteX144" fmla="*/ 679986 w 752994"/>
                <a:gd name="connsiteY144" fmla="*/ 403238 h 1333436"/>
                <a:gd name="connsiteX145" fmla="*/ 693264 w 752994"/>
                <a:gd name="connsiteY145" fmla="*/ 419567 h 1333436"/>
                <a:gd name="connsiteX146" fmla="*/ 688563 w 752994"/>
                <a:gd name="connsiteY146" fmla="*/ 448321 h 1333436"/>
                <a:gd name="connsiteX147" fmla="*/ 663949 w 752994"/>
                <a:gd name="connsiteY147" fmla="*/ 590165 h 1333436"/>
                <a:gd name="connsiteX148" fmla="*/ 666304 w 752994"/>
                <a:gd name="connsiteY148" fmla="*/ 590504 h 1333436"/>
                <a:gd name="connsiteX149" fmla="*/ 655288 w 752994"/>
                <a:gd name="connsiteY149" fmla="*/ 656178 h 1333436"/>
                <a:gd name="connsiteX150" fmla="*/ 681808 w 752994"/>
                <a:gd name="connsiteY150" fmla="*/ 662301 h 1333436"/>
                <a:gd name="connsiteX151" fmla="*/ 752994 w 752994"/>
                <a:gd name="connsiteY151" fmla="*/ 675560 h 1333436"/>
                <a:gd name="connsiteX152" fmla="*/ 714651 w 752994"/>
                <a:gd name="connsiteY152" fmla="*/ 946985 h 1333436"/>
                <a:gd name="connsiteX153" fmla="*/ 654533 w 752994"/>
                <a:gd name="connsiteY153" fmla="*/ 1333436 h 1333436"/>
                <a:gd name="connsiteX154" fmla="*/ 546831 w 752994"/>
                <a:gd name="connsiteY154" fmla="*/ 1317126 h 1333436"/>
                <a:gd name="connsiteX155" fmla="*/ 351227 w 752994"/>
                <a:gd name="connsiteY155" fmla="*/ 1194172 h 1333436"/>
                <a:gd name="connsiteX156" fmla="*/ 361011 w 752994"/>
                <a:gd name="connsiteY156" fmla="*/ 1182755 h 1333436"/>
                <a:gd name="connsiteX157" fmla="*/ 368981 w 752994"/>
                <a:gd name="connsiteY157" fmla="*/ 1182130 h 1333436"/>
                <a:gd name="connsiteX158" fmla="*/ 369571 w 752994"/>
                <a:gd name="connsiteY158" fmla="*/ 1181558 h 1333436"/>
                <a:gd name="connsiteX159" fmla="*/ 362372 w 752994"/>
                <a:gd name="connsiteY159" fmla="*/ 1182120 h 1333436"/>
                <a:gd name="connsiteX160" fmla="*/ 229464 w 752994"/>
                <a:gd name="connsiteY160" fmla="*/ 1161721 h 1333436"/>
                <a:gd name="connsiteX161" fmla="*/ 227427 w 752994"/>
                <a:gd name="connsiteY161" fmla="*/ 1157269 h 1333436"/>
                <a:gd name="connsiteX162" fmla="*/ 224967 w 752994"/>
                <a:gd name="connsiteY162" fmla="*/ 1152575 h 1333436"/>
                <a:gd name="connsiteX163" fmla="*/ 225582 w 752994"/>
                <a:gd name="connsiteY163" fmla="*/ 1144808 h 1333436"/>
                <a:gd name="connsiteX164" fmla="*/ 227215 w 752994"/>
                <a:gd name="connsiteY164" fmla="*/ 1135834 h 1333436"/>
                <a:gd name="connsiteX165" fmla="*/ 227215 w 752994"/>
                <a:gd name="connsiteY165" fmla="*/ 1134212 h 1333436"/>
                <a:gd name="connsiteX166" fmla="*/ 225179 w 752994"/>
                <a:gd name="connsiteY166" fmla="*/ 1114020 h 1333436"/>
                <a:gd name="connsiteX167" fmla="*/ 217839 w 752994"/>
                <a:gd name="connsiteY167" fmla="*/ 1100352 h 1333436"/>
                <a:gd name="connsiteX168" fmla="*/ 199661 w 752994"/>
                <a:gd name="connsiteY168" fmla="*/ 1076502 h 1333436"/>
                <a:gd name="connsiteX169" fmla="*/ 196395 w 752994"/>
                <a:gd name="connsiteY169" fmla="*/ 1071807 h 1333436"/>
                <a:gd name="connsiteX170" fmla="*/ 190880 w 752994"/>
                <a:gd name="connsiteY170" fmla="*/ 1067527 h 1333436"/>
                <a:gd name="connsiteX171" fmla="*/ 187210 w 752994"/>
                <a:gd name="connsiteY171" fmla="*/ 1068735 h 1333436"/>
                <a:gd name="connsiteX172" fmla="*/ 180062 w 752994"/>
                <a:gd name="connsiteY172" fmla="*/ 1066699 h 1333436"/>
                <a:gd name="connsiteX173" fmla="*/ 180466 w 752994"/>
                <a:gd name="connsiteY173" fmla="*/ 1053031 h 1333436"/>
                <a:gd name="connsiteX174" fmla="*/ 180062 w 752994"/>
                <a:gd name="connsiteY174" fmla="*/ 1045299 h 1333436"/>
                <a:gd name="connsiteX175" fmla="*/ 174144 w 752994"/>
                <a:gd name="connsiteY175" fmla="*/ 1044057 h 1333436"/>
                <a:gd name="connsiteX176" fmla="*/ 158426 w 752994"/>
                <a:gd name="connsiteY176" fmla="*/ 1042641 h 1333436"/>
                <a:gd name="connsiteX177" fmla="*/ 149857 w 752994"/>
                <a:gd name="connsiteY177" fmla="*/ 1035497 h 1333436"/>
                <a:gd name="connsiteX178" fmla="*/ 142497 w 752994"/>
                <a:gd name="connsiteY178" fmla="*/ 1028766 h 1333436"/>
                <a:gd name="connsiteX179" fmla="*/ 140864 w 752994"/>
                <a:gd name="connsiteY179" fmla="*/ 1020620 h 1333436"/>
                <a:gd name="connsiteX180" fmla="*/ 138212 w 752994"/>
                <a:gd name="connsiteY180" fmla="*/ 1013061 h 1333436"/>
                <a:gd name="connsiteX181" fmla="*/ 131064 w 752994"/>
                <a:gd name="connsiteY181" fmla="*/ 1007159 h 1333436"/>
                <a:gd name="connsiteX182" fmla="*/ 121264 w 752994"/>
                <a:gd name="connsiteY182" fmla="*/ 1005330 h 1333436"/>
                <a:gd name="connsiteX183" fmla="*/ 112483 w 752994"/>
                <a:gd name="connsiteY183" fmla="*/ 1001671 h 1333436"/>
                <a:gd name="connsiteX184" fmla="*/ 105950 w 752994"/>
                <a:gd name="connsiteY184" fmla="*/ 995734 h 1333436"/>
                <a:gd name="connsiteX185" fmla="*/ 97380 w 752994"/>
                <a:gd name="connsiteY185" fmla="*/ 994526 h 1333436"/>
                <a:gd name="connsiteX186" fmla="*/ 87984 w 752994"/>
                <a:gd name="connsiteY186" fmla="*/ 991040 h 1333436"/>
                <a:gd name="connsiteX187" fmla="*/ 80029 w 752994"/>
                <a:gd name="connsiteY187" fmla="*/ 985138 h 1333436"/>
                <a:gd name="connsiteX188" fmla="*/ 77166 w 752994"/>
                <a:gd name="connsiteY188" fmla="*/ 976164 h 1333436"/>
                <a:gd name="connsiteX189" fmla="*/ 79203 w 752994"/>
                <a:gd name="connsiteY189" fmla="*/ 970676 h 1333436"/>
                <a:gd name="connsiteX190" fmla="*/ 82470 w 752994"/>
                <a:gd name="connsiteY190" fmla="*/ 963117 h 1333436"/>
                <a:gd name="connsiteX191" fmla="*/ 84314 w 752994"/>
                <a:gd name="connsiteY191" fmla="*/ 954557 h 1333436"/>
                <a:gd name="connsiteX192" fmla="*/ 86351 w 752994"/>
                <a:gd name="connsiteY192" fmla="*/ 948033 h 1333436"/>
                <a:gd name="connsiteX193" fmla="*/ 86159 w 752994"/>
                <a:gd name="connsiteY193" fmla="*/ 942925 h 1333436"/>
                <a:gd name="connsiteX194" fmla="*/ 83085 w 752994"/>
                <a:gd name="connsiteY194" fmla="*/ 939853 h 1333436"/>
                <a:gd name="connsiteX195" fmla="*/ 77570 w 752994"/>
                <a:gd name="connsiteY195" fmla="*/ 937437 h 1333436"/>
                <a:gd name="connsiteX196" fmla="*/ 76763 w 752994"/>
                <a:gd name="connsiteY196" fmla="*/ 931915 h 1333436"/>
                <a:gd name="connsiteX197" fmla="*/ 78800 w 752994"/>
                <a:gd name="connsiteY197" fmla="*/ 927013 h 1333436"/>
                <a:gd name="connsiteX198" fmla="*/ 79626 w 752994"/>
                <a:gd name="connsiteY198" fmla="*/ 922526 h 1333436"/>
                <a:gd name="connsiteX199" fmla="*/ 77781 w 752994"/>
                <a:gd name="connsiteY199" fmla="*/ 919903 h 1333436"/>
                <a:gd name="connsiteX200" fmla="*/ 74303 w 752994"/>
                <a:gd name="connsiteY200" fmla="*/ 917418 h 1333436"/>
                <a:gd name="connsiteX201" fmla="*/ 71863 w 752994"/>
                <a:gd name="connsiteY201" fmla="*/ 915174 h 1333436"/>
                <a:gd name="connsiteX202" fmla="*/ 71652 w 752994"/>
                <a:gd name="connsiteY202" fmla="*/ 910894 h 1333436"/>
                <a:gd name="connsiteX203" fmla="*/ 70633 w 752994"/>
                <a:gd name="connsiteY203" fmla="*/ 906614 h 1333436"/>
                <a:gd name="connsiteX204" fmla="*/ 68385 w 752994"/>
                <a:gd name="connsiteY204" fmla="*/ 902749 h 1333436"/>
                <a:gd name="connsiteX205" fmla="*/ 61045 w 752994"/>
                <a:gd name="connsiteY205" fmla="*/ 889494 h 1333436"/>
                <a:gd name="connsiteX206" fmla="*/ 57971 w 752994"/>
                <a:gd name="connsiteY206" fmla="*/ 875619 h 1333436"/>
                <a:gd name="connsiteX207" fmla="*/ 52264 w 752994"/>
                <a:gd name="connsiteY207" fmla="*/ 862572 h 1333436"/>
                <a:gd name="connsiteX208" fmla="*/ 44309 w 752994"/>
                <a:gd name="connsiteY208" fmla="*/ 850561 h 1333436"/>
                <a:gd name="connsiteX209" fmla="*/ 45520 w 752994"/>
                <a:gd name="connsiteY209" fmla="*/ 827090 h 1333436"/>
                <a:gd name="connsiteX210" fmla="*/ 53071 w 752994"/>
                <a:gd name="connsiteY210" fmla="*/ 822396 h 1333436"/>
                <a:gd name="connsiteX211" fmla="*/ 57375 w 752994"/>
                <a:gd name="connsiteY211" fmla="*/ 816493 h 1333436"/>
                <a:gd name="connsiteX212" fmla="*/ 55319 w 752994"/>
                <a:gd name="connsiteY212" fmla="*/ 801617 h 1333436"/>
                <a:gd name="connsiteX213" fmla="*/ 48383 w 752994"/>
                <a:gd name="connsiteY213" fmla="*/ 802204 h 1333436"/>
                <a:gd name="connsiteX214" fmla="*/ 40428 w 752994"/>
                <a:gd name="connsiteY214" fmla="*/ 797924 h 1333436"/>
                <a:gd name="connsiteX215" fmla="*/ 37565 w 752994"/>
                <a:gd name="connsiteY215" fmla="*/ 790606 h 1333436"/>
                <a:gd name="connsiteX216" fmla="*/ 37565 w 752994"/>
                <a:gd name="connsiteY216" fmla="*/ 790399 h 1333436"/>
                <a:gd name="connsiteX217" fmla="*/ 35931 w 752994"/>
                <a:gd name="connsiteY217" fmla="*/ 785912 h 1333436"/>
                <a:gd name="connsiteX218" fmla="*/ 34510 w 752994"/>
                <a:gd name="connsiteY218" fmla="*/ 780597 h 1333436"/>
                <a:gd name="connsiteX219" fmla="*/ 36335 w 752994"/>
                <a:gd name="connsiteY219" fmla="*/ 774280 h 1333436"/>
                <a:gd name="connsiteX220" fmla="*/ 38180 w 752994"/>
                <a:gd name="connsiteY220" fmla="*/ 766721 h 1333436"/>
                <a:gd name="connsiteX221" fmla="*/ 37161 w 752994"/>
                <a:gd name="connsiteY221" fmla="*/ 760405 h 1333436"/>
                <a:gd name="connsiteX222" fmla="*/ 35720 w 752994"/>
                <a:gd name="connsiteY222" fmla="*/ 754710 h 1333436"/>
                <a:gd name="connsiteX223" fmla="*/ 36546 w 752994"/>
                <a:gd name="connsiteY223" fmla="*/ 748773 h 1333436"/>
                <a:gd name="connsiteX224" fmla="*/ 38372 w 752994"/>
                <a:gd name="connsiteY224" fmla="*/ 744528 h 1333436"/>
                <a:gd name="connsiteX225" fmla="*/ 41638 w 752994"/>
                <a:gd name="connsiteY225" fmla="*/ 744321 h 1333436"/>
                <a:gd name="connsiteX226" fmla="*/ 44713 w 752994"/>
                <a:gd name="connsiteY226" fmla="*/ 746357 h 1333436"/>
                <a:gd name="connsiteX227" fmla="*/ 47364 w 752994"/>
                <a:gd name="connsiteY227" fmla="*/ 753260 h 1333436"/>
                <a:gd name="connsiteX228" fmla="*/ 55742 w 752994"/>
                <a:gd name="connsiteY228" fmla="*/ 764305 h 1333436"/>
                <a:gd name="connsiteX229" fmla="*/ 56338 w 752994"/>
                <a:gd name="connsiteY229" fmla="*/ 761233 h 1333436"/>
                <a:gd name="connsiteX230" fmla="*/ 56145 w 752994"/>
                <a:gd name="connsiteY230" fmla="*/ 757368 h 1333436"/>
                <a:gd name="connsiteX231" fmla="*/ 54916 w 752994"/>
                <a:gd name="connsiteY231" fmla="*/ 748601 h 1333436"/>
                <a:gd name="connsiteX232" fmla="*/ 52879 w 752994"/>
                <a:gd name="connsiteY232" fmla="*/ 747358 h 1333436"/>
                <a:gd name="connsiteX233" fmla="*/ 51649 w 752994"/>
                <a:gd name="connsiteY233" fmla="*/ 745322 h 1333436"/>
                <a:gd name="connsiteX234" fmla="*/ 51649 w 752994"/>
                <a:gd name="connsiteY234" fmla="*/ 739212 h 1333436"/>
                <a:gd name="connsiteX235" fmla="*/ 50227 w 752994"/>
                <a:gd name="connsiteY235" fmla="*/ 734725 h 1333436"/>
                <a:gd name="connsiteX236" fmla="*/ 48786 w 752994"/>
                <a:gd name="connsiteY236" fmla="*/ 731446 h 1333436"/>
                <a:gd name="connsiteX237" fmla="*/ 54512 w 752994"/>
                <a:gd name="connsiteY237" fmla="*/ 726372 h 1333436"/>
                <a:gd name="connsiteX238" fmla="*/ 59815 w 752994"/>
                <a:gd name="connsiteY238" fmla="*/ 725130 h 1333436"/>
                <a:gd name="connsiteX239" fmla="*/ 58182 w 752994"/>
                <a:gd name="connsiteY239" fmla="*/ 722886 h 1333436"/>
                <a:gd name="connsiteX240" fmla="*/ 51861 w 752994"/>
                <a:gd name="connsiteY240" fmla="*/ 717985 h 1333436"/>
                <a:gd name="connsiteX241" fmla="*/ 46749 w 752994"/>
                <a:gd name="connsiteY241" fmla="*/ 729617 h 1333436"/>
                <a:gd name="connsiteX242" fmla="*/ 40831 w 752994"/>
                <a:gd name="connsiteY242" fmla="*/ 739212 h 1333436"/>
                <a:gd name="connsiteX243" fmla="*/ 39601 w 752994"/>
                <a:gd name="connsiteY243" fmla="*/ 738798 h 1333436"/>
                <a:gd name="connsiteX244" fmla="*/ 39409 w 752994"/>
                <a:gd name="connsiteY244" fmla="*/ 738591 h 1333436"/>
                <a:gd name="connsiteX245" fmla="*/ 37161 w 752994"/>
                <a:gd name="connsiteY245" fmla="*/ 734725 h 1333436"/>
                <a:gd name="connsiteX246" fmla="*/ 32665 w 752994"/>
                <a:gd name="connsiteY246" fmla="*/ 727788 h 1333436"/>
                <a:gd name="connsiteX247" fmla="*/ 26747 w 752994"/>
                <a:gd name="connsiteY247" fmla="*/ 719435 h 1333436"/>
                <a:gd name="connsiteX248" fmla="*/ 23884 w 752994"/>
                <a:gd name="connsiteY248" fmla="*/ 717812 h 1333436"/>
                <a:gd name="connsiteX249" fmla="*/ 24710 w 752994"/>
                <a:gd name="connsiteY249" fmla="*/ 709632 h 1333436"/>
                <a:gd name="connsiteX250" fmla="*/ 27554 w 752994"/>
                <a:gd name="connsiteY250" fmla="*/ 701694 h 1333436"/>
                <a:gd name="connsiteX251" fmla="*/ 24902 w 752994"/>
                <a:gd name="connsiteY251" fmla="*/ 696171 h 1333436"/>
                <a:gd name="connsiteX252" fmla="*/ 24095 w 752994"/>
                <a:gd name="connsiteY252" fmla="*/ 687818 h 1333436"/>
                <a:gd name="connsiteX253" fmla="*/ 22462 w 752994"/>
                <a:gd name="connsiteY253" fmla="*/ 682330 h 1333436"/>
                <a:gd name="connsiteX254" fmla="*/ 17159 w 752994"/>
                <a:gd name="connsiteY254" fmla="*/ 677636 h 1333436"/>
                <a:gd name="connsiteX255" fmla="*/ 14296 w 752994"/>
                <a:gd name="connsiteY255" fmla="*/ 671492 h 1333436"/>
                <a:gd name="connsiteX256" fmla="*/ 12451 w 752994"/>
                <a:gd name="connsiteY256" fmla="*/ 665797 h 1333436"/>
                <a:gd name="connsiteX257" fmla="*/ 5111 w 752994"/>
                <a:gd name="connsiteY257" fmla="*/ 654994 h 1333436"/>
                <a:gd name="connsiteX258" fmla="*/ 2248 w 752994"/>
                <a:gd name="connsiteY258" fmla="*/ 645605 h 1333436"/>
                <a:gd name="connsiteX259" fmla="*/ 4496 w 752994"/>
                <a:gd name="connsiteY259" fmla="*/ 640497 h 1333436"/>
                <a:gd name="connsiteX260" fmla="*/ 6744 w 752994"/>
                <a:gd name="connsiteY260" fmla="*/ 632765 h 1333436"/>
                <a:gd name="connsiteX261" fmla="*/ 6744 w 752994"/>
                <a:gd name="connsiteY261" fmla="*/ 628485 h 1333436"/>
                <a:gd name="connsiteX262" fmla="*/ 6533 w 752994"/>
                <a:gd name="connsiteY262" fmla="*/ 620305 h 1333436"/>
                <a:gd name="connsiteX263" fmla="*/ 7359 w 752994"/>
                <a:gd name="connsiteY263" fmla="*/ 611745 h 1333436"/>
                <a:gd name="connsiteX264" fmla="*/ 11836 w 752994"/>
                <a:gd name="connsiteY264" fmla="*/ 602978 h 1333436"/>
                <a:gd name="connsiteX265" fmla="*/ 15103 w 752994"/>
                <a:gd name="connsiteY265" fmla="*/ 591760 h 1333436"/>
                <a:gd name="connsiteX266" fmla="*/ 14488 w 752994"/>
                <a:gd name="connsiteY266" fmla="*/ 584029 h 1333436"/>
                <a:gd name="connsiteX267" fmla="*/ 13873 w 752994"/>
                <a:gd name="connsiteY267" fmla="*/ 578299 h 1333436"/>
                <a:gd name="connsiteX268" fmla="*/ 10626 w 752994"/>
                <a:gd name="connsiteY268" fmla="*/ 568531 h 1333436"/>
                <a:gd name="connsiteX269" fmla="*/ 3670 w 752994"/>
                <a:gd name="connsiteY269" fmla="*/ 558107 h 1333436"/>
                <a:gd name="connsiteX270" fmla="*/ 0 w 752994"/>
                <a:gd name="connsiteY270" fmla="*/ 551377 h 1333436"/>
                <a:gd name="connsiteX271" fmla="*/ 0 w 752994"/>
                <a:gd name="connsiteY271" fmla="*/ 550997 h 1333436"/>
                <a:gd name="connsiteX272" fmla="*/ 4900 w 752994"/>
                <a:gd name="connsiteY272" fmla="*/ 531220 h 1333436"/>
                <a:gd name="connsiteX273" fmla="*/ 13873 w 752994"/>
                <a:gd name="connsiteY273" fmla="*/ 520589 h 1333436"/>
                <a:gd name="connsiteX274" fmla="*/ 18369 w 752994"/>
                <a:gd name="connsiteY274" fmla="*/ 516516 h 1333436"/>
                <a:gd name="connsiteX275" fmla="*/ 18773 w 752994"/>
                <a:gd name="connsiteY275" fmla="*/ 514272 h 1333436"/>
                <a:gd name="connsiteX276" fmla="*/ 23077 w 752994"/>
                <a:gd name="connsiteY276" fmla="*/ 506127 h 1333436"/>
                <a:gd name="connsiteX277" fmla="*/ 23884 w 752994"/>
                <a:gd name="connsiteY277" fmla="*/ 502261 h 1333436"/>
                <a:gd name="connsiteX278" fmla="*/ 23692 w 752994"/>
                <a:gd name="connsiteY278" fmla="*/ 496738 h 1333436"/>
                <a:gd name="connsiteX279" fmla="*/ 30013 w 752994"/>
                <a:gd name="connsiteY279" fmla="*/ 486556 h 1333436"/>
                <a:gd name="connsiteX280" fmla="*/ 36546 w 752994"/>
                <a:gd name="connsiteY280" fmla="*/ 470230 h 1333436"/>
                <a:gd name="connsiteX281" fmla="*/ 36546 w 752994"/>
                <a:gd name="connsiteY281" fmla="*/ 462671 h 1333436"/>
                <a:gd name="connsiteX282" fmla="*/ 36335 w 752994"/>
                <a:gd name="connsiteY282" fmla="*/ 461670 h 1333436"/>
                <a:gd name="connsiteX283" fmla="*/ 35931 w 752994"/>
                <a:gd name="connsiteY283" fmla="*/ 453110 h 1333436"/>
                <a:gd name="connsiteX284" fmla="*/ 38583 w 752994"/>
                <a:gd name="connsiteY284" fmla="*/ 442514 h 1333436"/>
                <a:gd name="connsiteX285" fmla="*/ 41043 w 752994"/>
                <a:gd name="connsiteY285" fmla="*/ 436991 h 1333436"/>
                <a:gd name="connsiteX286" fmla="*/ 41650 w 752994"/>
                <a:gd name="connsiteY286" fmla="*/ 437186 h 1333436"/>
                <a:gd name="connsiteX287" fmla="*/ 41239 w 752994"/>
                <a:gd name="connsiteY287" fmla="*/ 436549 h 1333436"/>
                <a:gd name="connsiteX288" fmla="*/ 37778 w 752994"/>
                <a:gd name="connsiteY288" fmla="*/ 433894 h 1333436"/>
                <a:gd name="connsiteX289" fmla="*/ 37169 w 752994"/>
                <a:gd name="connsiteY289" fmla="*/ 432261 h 1333436"/>
                <a:gd name="connsiteX290" fmla="*/ 37365 w 752994"/>
                <a:gd name="connsiteY290" fmla="*/ 429198 h 1333436"/>
                <a:gd name="connsiteX291" fmla="*/ 36756 w 752994"/>
                <a:gd name="connsiteY291" fmla="*/ 422272 h 1333436"/>
                <a:gd name="connsiteX292" fmla="*/ 36952 w 752994"/>
                <a:gd name="connsiteY292" fmla="*/ 418800 h 1333436"/>
                <a:gd name="connsiteX293" fmla="*/ 36756 w 752994"/>
                <a:gd name="connsiteY293" fmla="*/ 412487 h 1333436"/>
                <a:gd name="connsiteX294" fmla="*/ 40433 w 752994"/>
                <a:gd name="connsiteY294" fmla="*/ 406174 h 1333436"/>
                <a:gd name="connsiteX295" fmla="*/ 44720 w 752994"/>
                <a:gd name="connsiteY295" fmla="*/ 399435 h 1333436"/>
                <a:gd name="connsiteX296" fmla="*/ 44110 w 752994"/>
                <a:gd name="connsiteY296" fmla="*/ 389651 h 1333436"/>
                <a:gd name="connsiteX297" fmla="*/ 43894 w 752994"/>
                <a:gd name="connsiteY297" fmla="*/ 378437 h 1333436"/>
                <a:gd name="connsiteX298" fmla="*/ 47158 w 752994"/>
                <a:gd name="connsiteY298" fmla="*/ 371102 h 1333436"/>
                <a:gd name="connsiteX299" fmla="*/ 55731 w 752994"/>
                <a:gd name="connsiteY299" fmla="*/ 360909 h 1333436"/>
                <a:gd name="connsiteX300" fmla="*/ 57580 w 752994"/>
                <a:gd name="connsiteY300" fmla="*/ 355804 h 1333436"/>
                <a:gd name="connsiteX301" fmla="*/ 62673 w 752994"/>
                <a:gd name="connsiteY301" fmla="*/ 349695 h 1333436"/>
                <a:gd name="connsiteX302" fmla="*/ 65937 w 752994"/>
                <a:gd name="connsiteY302" fmla="*/ 348470 h 1333436"/>
                <a:gd name="connsiteX303" fmla="*/ 68395 w 752994"/>
                <a:gd name="connsiteY303" fmla="*/ 348674 h 1333436"/>
                <a:gd name="connsiteX304" fmla="*/ 70224 w 752994"/>
                <a:gd name="connsiteY304" fmla="*/ 347449 h 1333436"/>
                <a:gd name="connsiteX305" fmla="*/ 67785 w 752994"/>
                <a:gd name="connsiteY305" fmla="*/ 345203 h 1333436"/>
                <a:gd name="connsiteX306" fmla="*/ 65524 w 752994"/>
                <a:gd name="connsiteY306" fmla="*/ 343178 h 1333436"/>
                <a:gd name="connsiteX307" fmla="*/ 73095 w 752994"/>
                <a:gd name="connsiteY307" fmla="*/ 333376 h 1333436"/>
                <a:gd name="connsiteX308" fmla="*/ 73291 w 752994"/>
                <a:gd name="connsiteY308" fmla="*/ 333376 h 1333436"/>
                <a:gd name="connsiteX309" fmla="*/ 77991 w 752994"/>
                <a:gd name="connsiteY309" fmla="*/ 325838 h 1333436"/>
                <a:gd name="connsiteX310" fmla="*/ 82671 w 752994"/>
                <a:gd name="connsiteY310" fmla="*/ 313619 h 1333436"/>
                <a:gd name="connsiteX311" fmla="*/ 87980 w 752994"/>
                <a:gd name="connsiteY311" fmla="*/ 303018 h 1333436"/>
                <a:gd name="connsiteX312" fmla="*/ 92267 w 752994"/>
                <a:gd name="connsiteY312" fmla="*/ 291191 h 1333436"/>
                <a:gd name="connsiteX313" fmla="*/ 96553 w 752994"/>
                <a:gd name="connsiteY313" fmla="*/ 281202 h 1333436"/>
                <a:gd name="connsiteX314" fmla="*/ 99621 w 752994"/>
                <a:gd name="connsiteY314" fmla="*/ 274481 h 1333436"/>
                <a:gd name="connsiteX315" fmla="*/ 103082 w 752994"/>
                <a:gd name="connsiteY315" fmla="*/ 262450 h 1333436"/>
                <a:gd name="connsiteX316" fmla="*/ 107172 w 752994"/>
                <a:gd name="connsiteY316" fmla="*/ 254299 h 1333436"/>
                <a:gd name="connsiteX317" fmla="*/ 112481 w 752994"/>
                <a:gd name="connsiteY317" fmla="*/ 243697 h 1333436"/>
                <a:gd name="connsiteX318" fmla="*/ 117181 w 752994"/>
                <a:gd name="connsiteY318" fmla="*/ 232279 h 1333436"/>
                <a:gd name="connsiteX319" fmla="*/ 125951 w 752994"/>
                <a:gd name="connsiteY319" fmla="*/ 217389 h 1333436"/>
                <a:gd name="connsiteX320" fmla="*/ 136156 w 752994"/>
                <a:gd name="connsiteY320" fmla="*/ 202925 h 1333436"/>
                <a:gd name="connsiteX321" fmla="*/ 138811 w 752994"/>
                <a:gd name="connsiteY321" fmla="*/ 183339 h 1333436"/>
                <a:gd name="connsiteX322" fmla="*/ 148801 w 752994"/>
                <a:gd name="connsiteY322" fmla="*/ 167445 h 1333436"/>
                <a:gd name="connsiteX323" fmla="*/ 159616 w 752994"/>
                <a:gd name="connsiteY323" fmla="*/ 170712 h 1333436"/>
                <a:gd name="connsiteX324" fmla="*/ 173105 w 752994"/>
                <a:gd name="connsiteY324" fmla="*/ 175188 h 1333436"/>
                <a:gd name="connsiteX325" fmla="*/ 175347 w 752994"/>
                <a:gd name="connsiteY325" fmla="*/ 175188 h 1333436"/>
                <a:gd name="connsiteX326" fmla="*/ 175347 w 752994"/>
                <a:gd name="connsiteY326" fmla="*/ 173758 h 1333436"/>
                <a:gd name="connsiteX327" fmla="*/ 184975 w 752994"/>
                <a:gd name="connsiteY327" fmla="*/ 187393 h 1333436"/>
                <a:gd name="connsiteX328" fmla="*/ 184762 w 752994"/>
                <a:gd name="connsiteY328" fmla="*/ 184637 h 1333436"/>
                <a:gd name="connsiteX329" fmla="*/ 174971 w 752994"/>
                <a:gd name="connsiteY329" fmla="*/ 170774 h 1333436"/>
                <a:gd name="connsiteX330" fmla="*/ 174971 w 752994"/>
                <a:gd name="connsiteY330" fmla="*/ 169550 h 1333436"/>
                <a:gd name="connsiteX331" fmla="*/ 158851 w 752994"/>
                <a:gd name="connsiteY331" fmla="*/ 156924 h 1333436"/>
                <a:gd name="connsiteX332" fmla="*/ 147025 w 752994"/>
                <a:gd name="connsiteY332" fmla="*/ 145709 h 1333436"/>
                <a:gd name="connsiteX333" fmla="*/ 154364 w 752994"/>
                <a:gd name="connsiteY333" fmla="*/ 136335 h 1333436"/>
                <a:gd name="connsiteX334" fmla="*/ 161511 w 752994"/>
                <a:gd name="connsiteY334" fmla="*/ 131042 h 1333436"/>
                <a:gd name="connsiteX335" fmla="*/ 160902 w 752994"/>
                <a:gd name="connsiteY335" fmla="*/ 128384 h 1333436"/>
                <a:gd name="connsiteX336" fmla="*/ 160277 w 752994"/>
                <a:gd name="connsiteY336" fmla="*/ 127778 h 1333436"/>
                <a:gd name="connsiteX337" fmla="*/ 154973 w 752994"/>
                <a:gd name="connsiteY337" fmla="*/ 122077 h 1333436"/>
                <a:gd name="connsiteX338" fmla="*/ 160277 w 752994"/>
                <a:gd name="connsiteY338" fmla="*/ 115140 h 1333436"/>
                <a:gd name="connsiteX339" fmla="*/ 165181 w 752994"/>
                <a:gd name="connsiteY339" fmla="*/ 108215 h 1333436"/>
                <a:gd name="connsiteX340" fmla="*/ 161303 w 752994"/>
                <a:gd name="connsiteY340" fmla="*/ 104146 h 1333436"/>
                <a:gd name="connsiteX341" fmla="*/ 157842 w 752994"/>
                <a:gd name="connsiteY341" fmla="*/ 104542 h 1333436"/>
                <a:gd name="connsiteX342" fmla="*/ 157024 w 752994"/>
                <a:gd name="connsiteY342" fmla="*/ 102304 h 1333436"/>
                <a:gd name="connsiteX343" fmla="*/ 160694 w 752994"/>
                <a:gd name="connsiteY343" fmla="*/ 55437 h 1333436"/>
                <a:gd name="connsiteX344" fmla="*/ 160486 w 752994"/>
                <a:gd name="connsiteY344" fmla="*/ 31991 h 1333436"/>
                <a:gd name="connsiteX345" fmla="*/ 164972 w 752994"/>
                <a:gd name="connsiteY345" fmla="*/ 18141 h 1333436"/>
                <a:gd name="connsiteX346" fmla="*/ 171911 w 752994"/>
                <a:gd name="connsiteY346" fmla="*/ 11204 h 1333436"/>
                <a:gd name="connsiteX347" fmla="*/ 187406 w 752994"/>
                <a:gd name="connsiteY347" fmla="*/ 21801 h 1333436"/>
                <a:gd name="connsiteX348" fmla="*/ 210866 w 752994"/>
                <a:gd name="connsiteY348" fmla="*/ 37086 h 1333436"/>
                <a:gd name="connsiteX349" fmla="*/ 219230 w 752994"/>
                <a:gd name="connsiteY349" fmla="*/ 41166 h 1333436"/>
                <a:gd name="connsiteX350" fmla="*/ 226778 w 752994"/>
                <a:gd name="connsiteY350" fmla="*/ 47486 h 1333436"/>
                <a:gd name="connsiteX351" fmla="*/ 236152 w 752994"/>
                <a:gd name="connsiteY351" fmla="*/ 52370 h 1333436"/>
                <a:gd name="connsiteX352" fmla="*/ 239629 w 752994"/>
                <a:gd name="connsiteY352" fmla="*/ 58491 h 1333436"/>
                <a:gd name="connsiteX353" fmla="*/ 239629 w 752994"/>
                <a:gd name="connsiteY353" fmla="*/ 63376 h 1333436"/>
                <a:gd name="connsiteX354" fmla="*/ 236568 w 752994"/>
                <a:gd name="connsiteY354" fmla="*/ 67457 h 1333436"/>
                <a:gd name="connsiteX355" fmla="*/ 231264 w 752994"/>
                <a:gd name="connsiteY355" fmla="*/ 69905 h 1333436"/>
                <a:gd name="connsiteX356" fmla="*/ 216778 w 752994"/>
                <a:gd name="connsiteY356" fmla="*/ 82741 h 1333436"/>
                <a:gd name="connsiteX357" fmla="*/ 214134 w 752994"/>
                <a:gd name="connsiteY357" fmla="*/ 93536 h 1333436"/>
                <a:gd name="connsiteX358" fmla="*/ 214535 w 752994"/>
                <a:gd name="connsiteY358" fmla="*/ 96801 h 1333436"/>
                <a:gd name="connsiteX359" fmla="*/ 216378 w 752994"/>
                <a:gd name="connsiteY359" fmla="*/ 96801 h 1333436"/>
                <a:gd name="connsiteX360" fmla="*/ 230046 w 752994"/>
                <a:gd name="connsiteY360" fmla="*/ 85387 h 1333436"/>
                <a:gd name="connsiteX361" fmla="*/ 243298 w 752994"/>
                <a:gd name="connsiteY361" fmla="*/ 75198 h 1333436"/>
                <a:gd name="connsiteX362" fmla="*/ 246760 w 752994"/>
                <a:gd name="connsiteY362" fmla="*/ 77646 h 1333436"/>
                <a:gd name="connsiteX363" fmla="*/ 255541 w 752994"/>
                <a:gd name="connsiteY363" fmla="*/ 63376 h 1333436"/>
                <a:gd name="connsiteX364" fmla="*/ 259611 w 752994"/>
                <a:gd name="connsiteY364" fmla="*/ 43405 h 1333436"/>
                <a:gd name="connsiteX365" fmla="*/ 256967 w 752994"/>
                <a:gd name="connsiteY365" fmla="*/ 38520 h 1333436"/>
                <a:gd name="connsiteX366" fmla="*/ 253906 w 752994"/>
                <a:gd name="connsiteY366" fmla="*/ 34242 h 1333436"/>
                <a:gd name="connsiteX367" fmla="*/ 256967 w 752994"/>
                <a:gd name="connsiteY367" fmla="*/ 30161 h 1333436"/>
                <a:gd name="connsiteX368" fmla="*/ 262063 w 752994"/>
                <a:gd name="connsiteY368" fmla="*/ 27712 h 1333436"/>
                <a:gd name="connsiteX369" fmla="*/ 264915 w 752994"/>
                <a:gd name="connsiteY369" fmla="*/ 23026 h 1333436"/>
                <a:gd name="connsiteX370" fmla="*/ 267976 w 752994"/>
                <a:gd name="connsiteY370" fmla="*/ 22618 h 1333436"/>
                <a:gd name="connsiteX371" fmla="*/ 270427 w 752994"/>
                <a:gd name="connsiteY371" fmla="*/ 20787 h 1333436"/>
                <a:gd name="connsiteX372" fmla="*/ 263088 w 752994"/>
                <a:gd name="connsiteY372" fmla="*/ 13652 h 1333436"/>
                <a:gd name="connsiteX373" fmla="*/ 255541 w 752994"/>
                <a:gd name="connsiteY373" fmla="*/ 3055 h 1333436"/>
                <a:gd name="connsiteX374" fmla="*/ 256358 w 752994"/>
                <a:gd name="connsiteY374" fmla="*/ 1224 h 1333436"/>
                <a:gd name="connsiteX375" fmla="*/ 257159 w 752994"/>
                <a:gd name="connsiteY375"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4454 w 752994"/>
                <a:gd name="connsiteY13" fmla="*/ 972710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404454 w 752994"/>
                <a:gd name="connsiteY17" fmla="*/ 972710 h 1333436"/>
                <a:gd name="connsiteX18" fmla="*/ 184180 w 752994"/>
                <a:gd name="connsiteY18" fmla="*/ 213866 h 1333436"/>
                <a:gd name="connsiteX19" fmla="*/ 184117 w 752994"/>
                <a:gd name="connsiteY19" fmla="*/ 214326 h 1333436"/>
                <a:gd name="connsiteX20" fmla="*/ 185553 w 752994"/>
                <a:gd name="connsiteY20" fmla="*/ 222494 h 1333436"/>
                <a:gd name="connsiteX21" fmla="*/ 188600 w 752994"/>
                <a:gd name="connsiteY21" fmla="*/ 226970 h 1333436"/>
                <a:gd name="connsiteX22" fmla="*/ 195542 w 752994"/>
                <a:gd name="connsiteY22" fmla="*/ 231871 h 1333436"/>
                <a:gd name="connsiteX23" fmla="*/ 203093 w 752994"/>
                <a:gd name="connsiteY23" fmla="*/ 233896 h 1333436"/>
                <a:gd name="connsiteX24" fmla="*/ 217192 w 752994"/>
                <a:gd name="connsiteY24" fmla="*/ 232075 h 1333436"/>
                <a:gd name="connsiteX25" fmla="*/ 225136 w 752994"/>
                <a:gd name="connsiteY25" fmla="*/ 229829 h 1333436"/>
                <a:gd name="connsiteX26" fmla="*/ 235558 w 752994"/>
                <a:gd name="connsiteY26" fmla="*/ 232483 h 1333436"/>
                <a:gd name="connsiteX27" fmla="*/ 242499 w 752994"/>
                <a:gd name="connsiteY27" fmla="*/ 237163 h 1333436"/>
                <a:gd name="connsiteX28" fmla="*/ 248418 w 752994"/>
                <a:gd name="connsiteY28" fmla="*/ 244701 h 1333436"/>
                <a:gd name="connsiteX29" fmla="*/ 255359 w 752994"/>
                <a:gd name="connsiteY29" fmla="*/ 244906 h 1333436"/>
                <a:gd name="connsiteX30" fmla="*/ 258210 w 752994"/>
                <a:gd name="connsiteY30" fmla="*/ 244906 h 1333436"/>
                <a:gd name="connsiteX31" fmla="*/ 263303 w 752994"/>
                <a:gd name="connsiteY31" fmla="*/ 246131 h 1333436"/>
                <a:gd name="connsiteX32" fmla="*/ 269438 w 752994"/>
                <a:gd name="connsiteY32" fmla="*/ 243697 h 1333436"/>
                <a:gd name="connsiteX33" fmla="*/ 274944 w 752994"/>
                <a:gd name="connsiteY33" fmla="*/ 241451 h 1333436"/>
                <a:gd name="connsiteX34" fmla="*/ 281276 w 752994"/>
                <a:gd name="connsiteY34" fmla="*/ 245722 h 1333436"/>
                <a:gd name="connsiteX35" fmla="*/ 289240 w 752994"/>
                <a:gd name="connsiteY35" fmla="*/ 250419 h 1333436"/>
                <a:gd name="connsiteX36" fmla="*/ 297597 w 752994"/>
                <a:gd name="connsiteY36" fmla="*/ 248581 h 1333436"/>
                <a:gd name="connsiteX37" fmla="*/ 310261 w 752994"/>
                <a:gd name="connsiteY37" fmla="*/ 246539 h 1333436"/>
                <a:gd name="connsiteX38" fmla="*/ 324340 w 752994"/>
                <a:gd name="connsiteY38" fmla="*/ 244497 h 1333436"/>
                <a:gd name="connsiteX39" fmla="*/ 333523 w 752994"/>
                <a:gd name="connsiteY39" fmla="*/ 243289 h 1333436"/>
                <a:gd name="connsiteX40" fmla="*/ 341271 w 752994"/>
                <a:gd name="connsiteY40" fmla="*/ 246539 h 1333436"/>
                <a:gd name="connsiteX41" fmla="*/ 348428 w 752994"/>
                <a:gd name="connsiteY41" fmla="*/ 250011 h 1333436"/>
                <a:gd name="connsiteX42" fmla="*/ 351279 w 752994"/>
                <a:gd name="connsiteY42" fmla="*/ 247356 h 1333436"/>
                <a:gd name="connsiteX43" fmla="*/ 355566 w 752994"/>
                <a:gd name="connsiteY43" fmla="*/ 244293 h 1333436"/>
                <a:gd name="connsiteX44" fmla="*/ 365772 w 752994"/>
                <a:gd name="connsiteY44" fmla="*/ 248785 h 1333436"/>
                <a:gd name="connsiteX45" fmla="*/ 381483 w 752994"/>
                <a:gd name="connsiteY45" fmla="*/ 254912 h 1333436"/>
                <a:gd name="connsiteX46" fmla="*/ 381896 w 752994"/>
                <a:gd name="connsiteY46" fmla="*/ 255320 h 1333436"/>
                <a:gd name="connsiteX47" fmla="*/ 395366 w 752994"/>
                <a:gd name="connsiteY47" fmla="*/ 257753 h 1333436"/>
                <a:gd name="connsiteX48" fmla="*/ 414145 w 752994"/>
                <a:gd name="connsiteY48" fmla="*/ 262450 h 1333436"/>
                <a:gd name="connsiteX49" fmla="*/ 431292 w 752994"/>
                <a:gd name="connsiteY49" fmla="*/ 268151 h 1333436"/>
                <a:gd name="connsiteX50" fmla="*/ 445196 w 752994"/>
                <a:gd name="connsiteY50" fmla="*/ 269890 h 1333436"/>
                <a:gd name="connsiteX51" fmla="*/ 444145 w 752994"/>
                <a:gd name="connsiteY51" fmla="*/ 267441 h 1333436"/>
                <a:gd name="connsiteX52" fmla="*/ 444145 w 752994"/>
                <a:gd name="connsiteY52" fmla="*/ 267034 h 1333436"/>
                <a:gd name="connsiteX53" fmla="*/ 444155 w 752994"/>
                <a:gd name="connsiteY53" fmla="*/ 266811 h 1333436"/>
                <a:gd name="connsiteX54" fmla="*/ 430733 w 752994"/>
                <a:gd name="connsiteY54" fmla="*/ 265139 h 1333436"/>
                <a:gd name="connsiteX55" fmla="*/ 394839 w 752994"/>
                <a:gd name="connsiteY55" fmla="*/ 254739 h 1333436"/>
                <a:gd name="connsiteX56" fmla="*/ 381379 w 752994"/>
                <a:gd name="connsiteY56" fmla="*/ 252303 h 1333436"/>
                <a:gd name="connsiteX57" fmla="*/ 380962 w 752994"/>
                <a:gd name="connsiteY57" fmla="*/ 251895 h 1333436"/>
                <a:gd name="connsiteX58" fmla="*/ 365258 w 752994"/>
                <a:gd name="connsiteY58" fmla="*/ 245774 h 1333436"/>
                <a:gd name="connsiteX59" fmla="*/ 355067 w 752994"/>
                <a:gd name="connsiteY59" fmla="*/ 241285 h 1333436"/>
                <a:gd name="connsiteX60" fmla="*/ 350789 w 752994"/>
                <a:gd name="connsiteY60" fmla="*/ 244352 h 1333436"/>
                <a:gd name="connsiteX61" fmla="*/ 347920 w 752994"/>
                <a:gd name="connsiteY61" fmla="*/ 246998 h 1333436"/>
                <a:gd name="connsiteX62" fmla="*/ 340789 w 752994"/>
                <a:gd name="connsiteY62" fmla="*/ 243536 h 1333436"/>
                <a:gd name="connsiteX63" fmla="*/ 333034 w 752994"/>
                <a:gd name="connsiteY63" fmla="*/ 240271 h 1333436"/>
                <a:gd name="connsiteX64" fmla="*/ 323868 w 752994"/>
                <a:gd name="connsiteY64" fmla="*/ 241495 h 1333436"/>
                <a:gd name="connsiteX65" fmla="*/ 309783 w 752994"/>
                <a:gd name="connsiteY65" fmla="*/ 243536 h 1333436"/>
                <a:gd name="connsiteX66" fmla="*/ 297140 w 752994"/>
                <a:gd name="connsiteY66" fmla="*/ 245576 h 1333436"/>
                <a:gd name="connsiteX67" fmla="*/ 288775 w 752994"/>
                <a:gd name="connsiteY67" fmla="*/ 247406 h 1333436"/>
                <a:gd name="connsiteX68" fmla="*/ 280827 w 752994"/>
                <a:gd name="connsiteY68" fmla="*/ 242720 h 1333436"/>
                <a:gd name="connsiteX69" fmla="*/ 274497 w 752994"/>
                <a:gd name="connsiteY69" fmla="*/ 238441 h 1333436"/>
                <a:gd name="connsiteX70" fmla="*/ 269001 w 752994"/>
                <a:gd name="connsiteY70" fmla="*/ 240679 h 1333436"/>
                <a:gd name="connsiteX71" fmla="*/ 262880 w 752994"/>
                <a:gd name="connsiteY71" fmla="*/ 243128 h 1333436"/>
                <a:gd name="connsiteX72" fmla="*/ 260028 w 752994"/>
                <a:gd name="connsiteY72" fmla="*/ 242720 h 1333436"/>
                <a:gd name="connsiteX73" fmla="*/ 247994 w 752994"/>
                <a:gd name="connsiteY73" fmla="*/ 241693 h 1333436"/>
                <a:gd name="connsiteX74" fmla="*/ 242081 w 752994"/>
                <a:gd name="connsiteY74" fmla="*/ 234162 h 1333436"/>
                <a:gd name="connsiteX75" fmla="*/ 235142 w 752994"/>
                <a:gd name="connsiteY75" fmla="*/ 229476 h 1333436"/>
                <a:gd name="connsiteX76" fmla="*/ 224742 w 752994"/>
                <a:gd name="connsiteY76" fmla="*/ 226817 h 1333436"/>
                <a:gd name="connsiteX77" fmla="*/ 216778 w 752994"/>
                <a:gd name="connsiteY77" fmla="*/ 229068 h 1333436"/>
                <a:gd name="connsiteX78" fmla="*/ 202709 w 752994"/>
                <a:gd name="connsiteY78" fmla="*/ 230898 h 1333436"/>
                <a:gd name="connsiteX79" fmla="*/ 195162 w 752994"/>
                <a:gd name="connsiteY79" fmla="*/ 228857 h 1333436"/>
                <a:gd name="connsiteX80" fmla="*/ 188223 w 752994"/>
                <a:gd name="connsiteY80" fmla="*/ 223973 h 1333436"/>
                <a:gd name="connsiteX81" fmla="*/ 185163 w 752994"/>
                <a:gd name="connsiteY81" fmla="*/ 219484 h 1333436"/>
                <a:gd name="connsiteX82" fmla="*/ 184180 w 752994"/>
                <a:gd name="connsiteY82" fmla="*/ 213866 h 1333436"/>
                <a:gd name="connsiteX83" fmla="*/ 257159 w 752994"/>
                <a:gd name="connsiteY83" fmla="*/ 0 h 1333436"/>
                <a:gd name="connsiteX84" fmla="*/ 493147 w 752994"/>
                <a:gd name="connsiteY84" fmla="*/ 73157 h 1333436"/>
                <a:gd name="connsiteX85" fmla="*/ 492970 w 752994"/>
                <a:gd name="connsiteY85" fmla="*/ 73792 h 1333436"/>
                <a:gd name="connsiteX86" fmla="*/ 525816 w 752994"/>
                <a:gd name="connsiteY86" fmla="*/ 82491 h 1333436"/>
                <a:gd name="connsiteX87" fmla="*/ 520098 w 752994"/>
                <a:gd name="connsiteY87" fmla="*/ 111245 h 1333436"/>
                <a:gd name="connsiteX88" fmla="*/ 512552 w 752994"/>
                <a:gd name="connsiteY88" fmla="*/ 143854 h 1333436"/>
                <a:gd name="connsiteX89" fmla="*/ 517849 w 752994"/>
                <a:gd name="connsiteY89" fmla="*/ 157740 h 1333436"/>
                <a:gd name="connsiteX90" fmla="*/ 523160 w 752994"/>
                <a:gd name="connsiteY90" fmla="*/ 172009 h 1333436"/>
                <a:gd name="connsiteX91" fmla="*/ 521535 w 752994"/>
                <a:gd name="connsiteY91" fmla="*/ 178928 h 1333436"/>
                <a:gd name="connsiteX92" fmla="*/ 520098 w 752994"/>
                <a:gd name="connsiteY92" fmla="*/ 186279 h 1333436"/>
                <a:gd name="connsiteX93" fmla="*/ 526019 w 752994"/>
                <a:gd name="connsiteY93" fmla="*/ 193629 h 1333436"/>
                <a:gd name="connsiteX94" fmla="*/ 537251 w 752994"/>
                <a:gd name="connsiteY94" fmla="*/ 206270 h 1333436"/>
                <a:gd name="connsiteX95" fmla="*/ 542765 w 752994"/>
                <a:gd name="connsiteY95" fmla="*/ 217475 h 1333436"/>
                <a:gd name="connsiteX96" fmla="*/ 546857 w 752994"/>
                <a:gd name="connsiteY96" fmla="*/ 230930 h 1333436"/>
                <a:gd name="connsiteX97" fmla="*/ 549499 w 752994"/>
                <a:gd name="connsiteY97" fmla="*/ 235622 h 1333436"/>
                <a:gd name="connsiteX98" fmla="*/ 553388 w 752994"/>
                <a:gd name="connsiteY98" fmla="*/ 240722 h 1333436"/>
                <a:gd name="connsiteX99" fmla="*/ 557465 w 752994"/>
                <a:gd name="connsiteY99" fmla="*/ 246037 h 1333436"/>
                <a:gd name="connsiteX100" fmla="*/ 561761 w 752994"/>
                <a:gd name="connsiteY100" fmla="*/ 248671 h 1333436"/>
                <a:gd name="connsiteX101" fmla="*/ 567478 w 752994"/>
                <a:gd name="connsiteY101" fmla="*/ 247665 h 1333436"/>
                <a:gd name="connsiteX102" fmla="*/ 569931 w 752994"/>
                <a:gd name="connsiteY102" fmla="*/ 249293 h 1333436"/>
                <a:gd name="connsiteX103" fmla="*/ 570540 w 752994"/>
                <a:gd name="connsiteY103" fmla="*/ 251951 h 1333436"/>
                <a:gd name="connsiteX104" fmla="*/ 561964 w 752994"/>
                <a:gd name="connsiteY104" fmla="*/ 267656 h 1333436"/>
                <a:gd name="connsiteX105" fmla="*/ 553591 w 752994"/>
                <a:gd name="connsiteY105" fmla="*/ 289659 h 1333436"/>
                <a:gd name="connsiteX106" fmla="*/ 554810 w 752994"/>
                <a:gd name="connsiteY106" fmla="*/ 292939 h 1333436"/>
                <a:gd name="connsiteX107" fmla="*/ 556246 w 752994"/>
                <a:gd name="connsiteY107" fmla="*/ 299260 h 1333436"/>
                <a:gd name="connsiteX108" fmla="*/ 552778 w 752994"/>
                <a:gd name="connsiteY108" fmla="*/ 301917 h 1333436"/>
                <a:gd name="connsiteX109" fmla="*/ 549295 w 752994"/>
                <a:gd name="connsiteY109" fmla="*/ 306993 h 1333436"/>
                <a:gd name="connsiteX110" fmla="*/ 547061 w 752994"/>
                <a:gd name="connsiteY110" fmla="*/ 313122 h 1333436"/>
                <a:gd name="connsiteX111" fmla="*/ 544811 w 752994"/>
                <a:gd name="connsiteY111" fmla="*/ 316593 h 1333436"/>
                <a:gd name="connsiteX112" fmla="*/ 549919 w 752994"/>
                <a:gd name="connsiteY112" fmla="*/ 322698 h 1333436"/>
                <a:gd name="connsiteX113" fmla="*/ 553184 w 752994"/>
                <a:gd name="connsiteY113" fmla="*/ 325955 h 1333436"/>
                <a:gd name="connsiteX114" fmla="*/ 555840 w 752994"/>
                <a:gd name="connsiteY114" fmla="*/ 328205 h 1333436"/>
                <a:gd name="connsiteX115" fmla="*/ 574212 w 752994"/>
                <a:gd name="connsiteY115" fmla="*/ 318820 h 1333436"/>
                <a:gd name="connsiteX116" fmla="*/ 579523 w 752994"/>
                <a:gd name="connsiteY116" fmla="*/ 326577 h 1333436"/>
                <a:gd name="connsiteX117" fmla="*/ 580539 w 752994"/>
                <a:gd name="connsiteY117" fmla="*/ 334933 h 1333436"/>
                <a:gd name="connsiteX118" fmla="*/ 579726 w 752994"/>
                <a:gd name="connsiteY118" fmla="*/ 343097 h 1333436"/>
                <a:gd name="connsiteX119" fmla="*/ 581366 w 752994"/>
                <a:gd name="connsiteY119" fmla="*/ 350231 h 1333436"/>
                <a:gd name="connsiteX120" fmla="*/ 586256 w 752994"/>
                <a:gd name="connsiteY120" fmla="*/ 355930 h 1333436"/>
                <a:gd name="connsiteX121" fmla="*/ 589536 w 752994"/>
                <a:gd name="connsiteY121" fmla="*/ 362059 h 1333436"/>
                <a:gd name="connsiteX122" fmla="*/ 588099 w 752994"/>
                <a:gd name="connsiteY122" fmla="*/ 369600 h 1333436"/>
                <a:gd name="connsiteX123" fmla="*/ 586459 w 752994"/>
                <a:gd name="connsiteY123" fmla="*/ 377357 h 1333436"/>
                <a:gd name="connsiteX124" fmla="*/ 588709 w 752994"/>
                <a:gd name="connsiteY124" fmla="*/ 381835 h 1333436"/>
                <a:gd name="connsiteX125" fmla="*/ 595036 w 752994"/>
                <a:gd name="connsiteY125" fmla="*/ 382457 h 1333436"/>
                <a:gd name="connsiteX126" fmla="*/ 599331 w 752994"/>
                <a:gd name="connsiteY126" fmla="*/ 385306 h 1333436"/>
                <a:gd name="connsiteX127" fmla="*/ 601987 w 752994"/>
                <a:gd name="connsiteY127" fmla="*/ 391004 h 1333436"/>
                <a:gd name="connsiteX128" fmla="*/ 602799 w 752994"/>
                <a:gd name="connsiteY128" fmla="*/ 404076 h 1333436"/>
                <a:gd name="connsiteX129" fmla="*/ 606892 w 752994"/>
                <a:gd name="connsiteY129" fmla="*/ 415688 h 1333436"/>
                <a:gd name="connsiteX130" fmla="*/ 610563 w 752994"/>
                <a:gd name="connsiteY130" fmla="*/ 412217 h 1333436"/>
                <a:gd name="connsiteX131" fmla="*/ 617920 w 752994"/>
                <a:gd name="connsiteY131" fmla="*/ 408769 h 1333436"/>
                <a:gd name="connsiteX132" fmla="*/ 624654 w 752994"/>
                <a:gd name="connsiteY132" fmla="*/ 411211 h 1333436"/>
                <a:gd name="connsiteX133" fmla="*/ 634652 w 752994"/>
                <a:gd name="connsiteY133" fmla="*/ 410182 h 1333436"/>
                <a:gd name="connsiteX134" fmla="*/ 640573 w 752994"/>
                <a:gd name="connsiteY134" fmla="*/ 407739 h 1333436"/>
                <a:gd name="connsiteX135" fmla="*/ 646711 w 752994"/>
                <a:gd name="connsiteY135" fmla="*/ 410589 h 1333436"/>
                <a:gd name="connsiteX136" fmla="*/ 650383 w 752994"/>
                <a:gd name="connsiteY136" fmla="*/ 410589 h 1333436"/>
                <a:gd name="connsiteX137" fmla="*/ 654257 w 752994"/>
                <a:gd name="connsiteY137" fmla="*/ 411618 h 1333436"/>
                <a:gd name="connsiteX138" fmla="*/ 656913 w 752994"/>
                <a:gd name="connsiteY138" fmla="*/ 413653 h 1333436"/>
                <a:gd name="connsiteX139" fmla="*/ 660802 w 752994"/>
                <a:gd name="connsiteY139" fmla="*/ 415090 h 1333436"/>
                <a:gd name="connsiteX140" fmla="*/ 669581 w 752994"/>
                <a:gd name="connsiteY140" fmla="*/ 415904 h 1333436"/>
                <a:gd name="connsiteX141" fmla="*/ 672237 w 752994"/>
                <a:gd name="connsiteY141" fmla="*/ 415688 h 1333436"/>
                <a:gd name="connsiteX142" fmla="*/ 675705 w 752994"/>
                <a:gd name="connsiteY142" fmla="*/ 409367 h 1333436"/>
                <a:gd name="connsiteX143" fmla="*/ 679986 w 752994"/>
                <a:gd name="connsiteY143" fmla="*/ 403238 h 1333436"/>
                <a:gd name="connsiteX144" fmla="*/ 693264 w 752994"/>
                <a:gd name="connsiteY144" fmla="*/ 419567 h 1333436"/>
                <a:gd name="connsiteX145" fmla="*/ 688563 w 752994"/>
                <a:gd name="connsiteY145" fmla="*/ 448321 h 1333436"/>
                <a:gd name="connsiteX146" fmla="*/ 663949 w 752994"/>
                <a:gd name="connsiteY146" fmla="*/ 590165 h 1333436"/>
                <a:gd name="connsiteX147" fmla="*/ 666304 w 752994"/>
                <a:gd name="connsiteY147" fmla="*/ 590504 h 1333436"/>
                <a:gd name="connsiteX148" fmla="*/ 655288 w 752994"/>
                <a:gd name="connsiteY148" fmla="*/ 656178 h 1333436"/>
                <a:gd name="connsiteX149" fmla="*/ 681808 w 752994"/>
                <a:gd name="connsiteY149" fmla="*/ 662301 h 1333436"/>
                <a:gd name="connsiteX150" fmla="*/ 752994 w 752994"/>
                <a:gd name="connsiteY150" fmla="*/ 675560 h 1333436"/>
                <a:gd name="connsiteX151" fmla="*/ 714651 w 752994"/>
                <a:gd name="connsiteY151" fmla="*/ 946985 h 1333436"/>
                <a:gd name="connsiteX152" fmla="*/ 654533 w 752994"/>
                <a:gd name="connsiteY152" fmla="*/ 1333436 h 1333436"/>
                <a:gd name="connsiteX153" fmla="*/ 546831 w 752994"/>
                <a:gd name="connsiteY153" fmla="*/ 1317126 h 1333436"/>
                <a:gd name="connsiteX154" fmla="*/ 351227 w 752994"/>
                <a:gd name="connsiteY154" fmla="*/ 1194172 h 1333436"/>
                <a:gd name="connsiteX155" fmla="*/ 361011 w 752994"/>
                <a:gd name="connsiteY155" fmla="*/ 1182755 h 1333436"/>
                <a:gd name="connsiteX156" fmla="*/ 368981 w 752994"/>
                <a:gd name="connsiteY156" fmla="*/ 1182130 h 1333436"/>
                <a:gd name="connsiteX157" fmla="*/ 369571 w 752994"/>
                <a:gd name="connsiteY157" fmla="*/ 1181558 h 1333436"/>
                <a:gd name="connsiteX158" fmla="*/ 362372 w 752994"/>
                <a:gd name="connsiteY158" fmla="*/ 1182120 h 1333436"/>
                <a:gd name="connsiteX159" fmla="*/ 229464 w 752994"/>
                <a:gd name="connsiteY159" fmla="*/ 1161721 h 1333436"/>
                <a:gd name="connsiteX160" fmla="*/ 227427 w 752994"/>
                <a:gd name="connsiteY160" fmla="*/ 1157269 h 1333436"/>
                <a:gd name="connsiteX161" fmla="*/ 224967 w 752994"/>
                <a:gd name="connsiteY161" fmla="*/ 1152575 h 1333436"/>
                <a:gd name="connsiteX162" fmla="*/ 225582 w 752994"/>
                <a:gd name="connsiteY162" fmla="*/ 1144808 h 1333436"/>
                <a:gd name="connsiteX163" fmla="*/ 227215 w 752994"/>
                <a:gd name="connsiteY163" fmla="*/ 1135834 h 1333436"/>
                <a:gd name="connsiteX164" fmla="*/ 227215 w 752994"/>
                <a:gd name="connsiteY164" fmla="*/ 1134212 h 1333436"/>
                <a:gd name="connsiteX165" fmla="*/ 225179 w 752994"/>
                <a:gd name="connsiteY165" fmla="*/ 1114020 h 1333436"/>
                <a:gd name="connsiteX166" fmla="*/ 217839 w 752994"/>
                <a:gd name="connsiteY166" fmla="*/ 1100352 h 1333436"/>
                <a:gd name="connsiteX167" fmla="*/ 199661 w 752994"/>
                <a:gd name="connsiteY167" fmla="*/ 1076502 h 1333436"/>
                <a:gd name="connsiteX168" fmla="*/ 196395 w 752994"/>
                <a:gd name="connsiteY168" fmla="*/ 1071807 h 1333436"/>
                <a:gd name="connsiteX169" fmla="*/ 190880 w 752994"/>
                <a:gd name="connsiteY169" fmla="*/ 1067527 h 1333436"/>
                <a:gd name="connsiteX170" fmla="*/ 187210 w 752994"/>
                <a:gd name="connsiteY170" fmla="*/ 1068735 h 1333436"/>
                <a:gd name="connsiteX171" fmla="*/ 180062 w 752994"/>
                <a:gd name="connsiteY171" fmla="*/ 1066699 h 1333436"/>
                <a:gd name="connsiteX172" fmla="*/ 180466 w 752994"/>
                <a:gd name="connsiteY172" fmla="*/ 1053031 h 1333436"/>
                <a:gd name="connsiteX173" fmla="*/ 180062 w 752994"/>
                <a:gd name="connsiteY173" fmla="*/ 1045299 h 1333436"/>
                <a:gd name="connsiteX174" fmla="*/ 174144 w 752994"/>
                <a:gd name="connsiteY174" fmla="*/ 1044057 h 1333436"/>
                <a:gd name="connsiteX175" fmla="*/ 158426 w 752994"/>
                <a:gd name="connsiteY175" fmla="*/ 1042641 h 1333436"/>
                <a:gd name="connsiteX176" fmla="*/ 149857 w 752994"/>
                <a:gd name="connsiteY176" fmla="*/ 1035497 h 1333436"/>
                <a:gd name="connsiteX177" fmla="*/ 142497 w 752994"/>
                <a:gd name="connsiteY177" fmla="*/ 1028766 h 1333436"/>
                <a:gd name="connsiteX178" fmla="*/ 140864 w 752994"/>
                <a:gd name="connsiteY178" fmla="*/ 1020620 h 1333436"/>
                <a:gd name="connsiteX179" fmla="*/ 138212 w 752994"/>
                <a:gd name="connsiteY179" fmla="*/ 1013061 h 1333436"/>
                <a:gd name="connsiteX180" fmla="*/ 131064 w 752994"/>
                <a:gd name="connsiteY180" fmla="*/ 1007159 h 1333436"/>
                <a:gd name="connsiteX181" fmla="*/ 121264 w 752994"/>
                <a:gd name="connsiteY181" fmla="*/ 1005330 h 1333436"/>
                <a:gd name="connsiteX182" fmla="*/ 112483 w 752994"/>
                <a:gd name="connsiteY182" fmla="*/ 1001671 h 1333436"/>
                <a:gd name="connsiteX183" fmla="*/ 105950 w 752994"/>
                <a:gd name="connsiteY183" fmla="*/ 995734 h 1333436"/>
                <a:gd name="connsiteX184" fmla="*/ 97380 w 752994"/>
                <a:gd name="connsiteY184" fmla="*/ 994526 h 1333436"/>
                <a:gd name="connsiteX185" fmla="*/ 87984 w 752994"/>
                <a:gd name="connsiteY185" fmla="*/ 991040 h 1333436"/>
                <a:gd name="connsiteX186" fmla="*/ 80029 w 752994"/>
                <a:gd name="connsiteY186" fmla="*/ 985138 h 1333436"/>
                <a:gd name="connsiteX187" fmla="*/ 77166 w 752994"/>
                <a:gd name="connsiteY187" fmla="*/ 976164 h 1333436"/>
                <a:gd name="connsiteX188" fmla="*/ 79203 w 752994"/>
                <a:gd name="connsiteY188" fmla="*/ 970676 h 1333436"/>
                <a:gd name="connsiteX189" fmla="*/ 82470 w 752994"/>
                <a:gd name="connsiteY189" fmla="*/ 963117 h 1333436"/>
                <a:gd name="connsiteX190" fmla="*/ 84314 w 752994"/>
                <a:gd name="connsiteY190" fmla="*/ 954557 h 1333436"/>
                <a:gd name="connsiteX191" fmla="*/ 86351 w 752994"/>
                <a:gd name="connsiteY191" fmla="*/ 948033 h 1333436"/>
                <a:gd name="connsiteX192" fmla="*/ 86159 w 752994"/>
                <a:gd name="connsiteY192" fmla="*/ 942925 h 1333436"/>
                <a:gd name="connsiteX193" fmla="*/ 83085 w 752994"/>
                <a:gd name="connsiteY193" fmla="*/ 939853 h 1333436"/>
                <a:gd name="connsiteX194" fmla="*/ 77570 w 752994"/>
                <a:gd name="connsiteY194" fmla="*/ 937437 h 1333436"/>
                <a:gd name="connsiteX195" fmla="*/ 76763 w 752994"/>
                <a:gd name="connsiteY195" fmla="*/ 931915 h 1333436"/>
                <a:gd name="connsiteX196" fmla="*/ 78800 w 752994"/>
                <a:gd name="connsiteY196" fmla="*/ 927013 h 1333436"/>
                <a:gd name="connsiteX197" fmla="*/ 79626 w 752994"/>
                <a:gd name="connsiteY197" fmla="*/ 922526 h 1333436"/>
                <a:gd name="connsiteX198" fmla="*/ 77781 w 752994"/>
                <a:gd name="connsiteY198" fmla="*/ 919903 h 1333436"/>
                <a:gd name="connsiteX199" fmla="*/ 74303 w 752994"/>
                <a:gd name="connsiteY199" fmla="*/ 917418 h 1333436"/>
                <a:gd name="connsiteX200" fmla="*/ 71863 w 752994"/>
                <a:gd name="connsiteY200" fmla="*/ 915174 h 1333436"/>
                <a:gd name="connsiteX201" fmla="*/ 71652 w 752994"/>
                <a:gd name="connsiteY201" fmla="*/ 910894 h 1333436"/>
                <a:gd name="connsiteX202" fmla="*/ 70633 w 752994"/>
                <a:gd name="connsiteY202" fmla="*/ 906614 h 1333436"/>
                <a:gd name="connsiteX203" fmla="*/ 68385 w 752994"/>
                <a:gd name="connsiteY203" fmla="*/ 902749 h 1333436"/>
                <a:gd name="connsiteX204" fmla="*/ 61045 w 752994"/>
                <a:gd name="connsiteY204" fmla="*/ 889494 h 1333436"/>
                <a:gd name="connsiteX205" fmla="*/ 57971 w 752994"/>
                <a:gd name="connsiteY205" fmla="*/ 875619 h 1333436"/>
                <a:gd name="connsiteX206" fmla="*/ 52264 w 752994"/>
                <a:gd name="connsiteY206" fmla="*/ 862572 h 1333436"/>
                <a:gd name="connsiteX207" fmla="*/ 44309 w 752994"/>
                <a:gd name="connsiteY207" fmla="*/ 850561 h 1333436"/>
                <a:gd name="connsiteX208" fmla="*/ 45520 w 752994"/>
                <a:gd name="connsiteY208" fmla="*/ 827090 h 1333436"/>
                <a:gd name="connsiteX209" fmla="*/ 53071 w 752994"/>
                <a:gd name="connsiteY209" fmla="*/ 822396 h 1333436"/>
                <a:gd name="connsiteX210" fmla="*/ 57375 w 752994"/>
                <a:gd name="connsiteY210" fmla="*/ 816493 h 1333436"/>
                <a:gd name="connsiteX211" fmla="*/ 55319 w 752994"/>
                <a:gd name="connsiteY211" fmla="*/ 801617 h 1333436"/>
                <a:gd name="connsiteX212" fmla="*/ 48383 w 752994"/>
                <a:gd name="connsiteY212" fmla="*/ 802204 h 1333436"/>
                <a:gd name="connsiteX213" fmla="*/ 40428 w 752994"/>
                <a:gd name="connsiteY213" fmla="*/ 797924 h 1333436"/>
                <a:gd name="connsiteX214" fmla="*/ 37565 w 752994"/>
                <a:gd name="connsiteY214" fmla="*/ 790606 h 1333436"/>
                <a:gd name="connsiteX215" fmla="*/ 37565 w 752994"/>
                <a:gd name="connsiteY215" fmla="*/ 790399 h 1333436"/>
                <a:gd name="connsiteX216" fmla="*/ 35931 w 752994"/>
                <a:gd name="connsiteY216" fmla="*/ 785912 h 1333436"/>
                <a:gd name="connsiteX217" fmla="*/ 34510 w 752994"/>
                <a:gd name="connsiteY217" fmla="*/ 780597 h 1333436"/>
                <a:gd name="connsiteX218" fmla="*/ 36335 w 752994"/>
                <a:gd name="connsiteY218" fmla="*/ 774280 h 1333436"/>
                <a:gd name="connsiteX219" fmla="*/ 38180 w 752994"/>
                <a:gd name="connsiteY219" fmla="*/ 766721 h 1333436"/>
                <a:gd name="connsiteX220" fmla="*/ 37161 w 752994"/>
                <a:gd name="connsiteY220" fmla="*/ 760405 h 1333436"/>
                <a:gd name="connsiteX221" fmla="*/ 35720 w 752994"/>
                <a:gd name="connsiteY221" fmla="*/ 754710 h 1333436"/>
                <a:gd name="connsiteX222" fmla="*/ 36546 w 752994"/>
                <a:gd name="connsiteY222" fmla="*/ 748773 h 1333436"/>
                <a:gd name="connsiteX223" fmla="*/ 38372 w 752994"/>
                <a:gd name="connsiteY223" fmla="*/ 744528 h 1333436"/>
                <a:gd name="connsiteX224" fmla="*/ 41638 w 752994"/>
                <a:gd name="connsiteY224" fmla="*/ 744321 h 1333436"/>
                <a:gd name="connsiteX225" fmla="*/ 44713 w 752994"/>
                <a:gd name="connsiteY225" fmla="*/ 746357 h 1333436"/>
                <a:gd name="connsiteX226" fmla="*/ 47364 w 752994"/>
                <a:gd name="connsiteY226" fmla="*/ 753260 h 1333436"/>
                <a:gd name="connsiteX227" fmla="*/ 55742 w 752994"/>
                <a:gd name="connsiteY227" fmla="*/ 764305 h 1333436"/>
                <a:gd name="connsiteX228" fmla="*/ 56338 w 752994"/>
                <a:gd name="connsiteY228" fmla="*/ 761233 h 1333436"/>
                <a:gd name="connsiteX229" fmla="*/ 56145 w 752994"/>
                <a:gd name="connsiteY229" fmla="*/ 757368 h 1333436"/>
                <a:gd name="connsiteX230" fmla="*/ 54916 w 752994"/>
                <a:gd name="connsiteY230" fmla="*/ 748601 h 1333436"/>
                <a:gd name="connsiteX231" fmla="*/ 52879 w 752994"/>
                <a:gd name="connsiteY231" fmla="*/ 747358 h 1333436"/>
                <a:gd name="connsiteX232" fmla="*/ 51649 w 752994"/>
                <a:gd name="connsiteY232" fmla="*/ 745322 h 1333436"/>
                <a:gd name="connsiteX233" fmla="*/ 51649 w 752994"/>
                <a:gd name="connsiteY233" fmla="*/ 739212 h 1333436"/>
                <a:gd name="connsiteX234" fmla="*/ 50227 w 752994"/>
                <a:gd name="connsiteY234" fmla="*/ 734725 h 1333436"/>
                <a:gd name="connsiteX235" fmla="*/ 48786 w 752994"/>
                <a:gd name="connsiteY235" fmla="*/ 731446 h 1333436"/>
                <a:gd name="connsiteX236" fmla="*/ 54512 w 752994"/>
                <a:gd name="connsiteY236" fmla="*/ 726372 h 1333436"/>
                <a:gd name="connsiteX237" fmla="*/ 59815 w 752994"/>
                <a:gd name="connsiteY237" fmla="*/ 725130 h 1333436"/>
                <a:gd name="connsiteX238" fmla="*/ 58182 w 752994"/>
                <a:gd name="connsiteY238" fmla="*/ 722886 h 1333436"/>
                <a:gd name="connsiteX239" fmla="*/ 51861 w 752994"/>
                <a:gd name="connsiteY239" fmla="*/ 717985 h 1333436"/>
                <a:gd name="connsiteX240" fmla="*/ 46749 w 752994"/>
                <a:gd name="connsiteY240" fmla="*/ 729617 h 1333436"/>
                <a:gd name="connsiteX241" fmla="*/ 40831 w 752994"/>
                <a:gd name="connsiteY241" fmla="*/ 739212 h 1333436"/>
                <a:gd name="connsiteX242" fmla="*/ 39601 w 752994"/>
                <a:gd name="connsiteY242" fmla="*/ 738798 h 1333436"/>
                <a:gd name="connsiteX243" fmla="*/ 39409 w 752994"/>
                <a:gd name="connsiteY243" fmla="*/ 738591 h 1333436"/>
                <a:gd name="connsiteX244" fmla="*/ 37161 w 752994"/>
                <a:gd name="connsiteY244" fmla="*/ 734725 h 1333436"/>
                <a:gd name="connsiteX245" fmla="*/ 32665 w 752994"/>
                <a:gd name="connsiteY245" fmla="*/ 727788 h 1333436"/>
                <a:gd name="connsiteX246" fmla="*/ 26747 w 752994"/>
                <a:gd name="connsiteY246" fmla="*/ 719435 h 1333436"/>
                <a:gd name="connsiteX247" fmla="*/ 23884 w 752994"/>
                <a:gd name="connsiteY247" fmla="*/ 717812 h 1333436"/>
                <a:gd name="connsiteX248" fmla="*/ 24710 w 752994"/>
                <a:gd name="connsiteY248" fmla="*/ 709632 h 1333436"/>
                <a:gd name="connsiteX249" fmla="*/ 27554 w 752994"/>
                <a:gd name="connsiteY249" fmla="*/ 701694 h 1333436"/>
                <a:gd name="connsiteX250" fmla="*/ 24902 w 752994"/>
                <a:gd name="connsiteY250" fmla="*/ 696171 h 1333436"/>
                <a:gd name="connsiteX251" fmla="*/ 24095 w 752994"/>
                <a:gd name="connsiteY251" fmla="*/ 687818 h 1333436"/>
                <a:gd name="connsiteX252" fmla="*/ 22462 w 752994"/>
                <a:gd name="connsiteY252" fmla="*/ 682330 h 1333436"/>
                <a:gd name="connsiteX253" fmla="*/ 17159 w 752994"/>
                <a:gd name="connsiteY253" fmla="*/ 677636 h 1333436"/>
                <a:gd name="connsiteX254" fmla="*/ 14296 w 752994"/>
                <a:gd name="connsiteY254" fmla="*/ 671492 h 1333436"/>
                <a:gd name="connsiteX255" fmla="*/ 12451 w 752994"/>
                <a:gd name="connsiteY255" fmla="*/ 665797 h 1333436"/>
                <a:gd name="connsiteX256" fmla="*/ 5111 w 752994"/>
                <a:gd name="connsiteY256" fmla="*/ 654994 h 1333436"/>
                <a:gd name="connsiteX257" fmla="*/ 2248 w 752994"/>
                <a:gd name="connsiteY257" fmla="*/ 645605 h 1333436"/>
                <a:gd name="connsiteX258" fmla="*/ 4496 w 752994"/>
                <a:gd name="connsiteY258" fmla="*/ 640497 h 1333436"/>
                <a:gd name="connsiteX259" fmla="*/ 6744 w 752994"/>
                <a:gd name="connsiteY259" fmla="*/ 632765 h 1333436"/>
                <a:gd name="connsiteX260" fmla="*/ 6744 w 752994"/>
                <a:gd name="connsiteY260" fmla="*/ 628485 h 1333436"/>
                <a:gd name="connsiteX261" fmla="*/ 6533 w 752994"/>
                <a:gd name="connsiteY261" fmla="*/ 620305 h 1333436"/>
                <a:gd name="connsiteX262" fmla="*/ 7359 w 752994"/>
                <a:gd name="connsiteY262" fmla="*/ 611745 h 1333436"/>
                <a:gd name="connsiteX263" fmla="*/ 11836 w 752994"/>
                <a:gd name="connsiteY263" fmla="*/ 602978 h 1333436"/>
                <a:gd name="connsiteX264" fmla="*/ 15103 w 752994"/>
                <a:gd name="connsiteY264" fmla="*/ 591760 h 1333436"/>
                <a:gd name="connsiteX265" fmla="*/ 14488 w 752994"/>
                <a:gd name="connsiteY265" fmla="*/ 584029 h 1333436"/>
                <a:gd name="connsiteX266" fmla="*/ 13873 w 752994"/>
                <a:gd name="connsiteY266" fmla="*/ 578299 h 1333436"/>
                <a:gd name="connsiteX267" fmla="*/ 10626 w 752994"/>
                <a:gd name="connsiteY267" fmla="*/ 568531 h 1333436"/>
                <a:gd name="connsiteX268" fmla="*/ 3670 w 752994"/>
                <a:gd name="connsiteY268" fmla="*/ 558107 h 1333436"/>
                <a:gd name="connsiteX269" fmla="*/ 0 w 752994"/>
                <a:gd name="connsiteY269" fmla="*/ 551377 h 1333436"/>
                <a:gd name="connsiteX270" fmla="*/ 0 w 752994"/>
                <a:gd name="connsiteY270" fmla="*/ 550997 h 1333436"/>
                <a:gd name="connsiteX271" fmla="*/ 4900 w 752994"/>
                <a:gd name="connsiteY271" fmla="*/ 531220 h 1333436"/>
                <a:gd name="connsiteX272" fmla="*/ 13873 w 752994"/>
                <a:gd name="connsiteY272" fmla="*/ 520589 h 1333436"/>
                <a:gd name="connsiteX273" fmla="*/ 18369 w 752994"/>
                <a:gd name="connsiteY273" fmla="*/ 516516 h 1333436"/>
                <a:gd name="connsiteX274" fmla="*/ 18773 w 752994"/>
                <a:gd name="connsiteY274" fmla="*/ 514272 h 1333436"/>
                <a:gd name="connsiteX275" fmla="*/ 23077 w 752994"/>
                <a:gd name="connsiteY275" fmla="*/ 506127 h 1333436"/>
                <a:gd name="connsiteX276" fmla="*/ 23884 w 752994"/>
                <a:gd name="connsiteY276" fmla="*/ 502261 h 1333436"/>
                <a:gd name="connsiteX277" fmla="*/ 23692 w 752994"/>
                <a:gd name="connsiteY277" fmla="*/ 496738 h 1333436"/>
                <a:gd name="connsiteX278" fmla="*/ 30013 w 752994"/>
                <a:gd name="connsiteY278" fmla="*/ 486556 h 1333436"/>
                <a:gd name="connsiteX279" fmla="*/ 36546 w 752994"/>
                <a:gd name="connsiteY279" fmla="*/ 470230 h 1333436"/>
                <a:gd name="connsiteX280" fmla="*/ 36546 w 752994"/>
                <a:gd name="connsiteY280" fmla="*/ 462671 h 1333436"/>
                <a:gd name="connsiteX281" fmla="*/ 36335 w 752994"/>
                <a:gd name="connsiteY281" fmla="*/ 461670 h 1333436"/>
                <a:gd name="connsiteX282" fmla="*/ 35931 w 752994"/>
                <a:gd name="connsiteY282" fmla="*/ 453110 h 1333436"/>
                <a:gd name="connsiteX283" fmla="*/ 38583 w 752994"/>
                <a:gd name="connsiteY283" fmla="*/ 442514 h 1333436"/>
                <a:gd name="connsiteX284" fmla="*/ 41043 w 752994"/>
                <a:gd name="connsiteY284" fmla="*/ 436991 h 1333436"/>
                <a:gd name="connsiteX285" fmla="*/ 41650 w 752994"/>
                <a:gd name="connsiteY285" fmla="*/ 437186 h 1333436"/>
                <a:gd name="connsiteX286" fmla="*/ 41239 w 752994"/>
                <a:gd name="connsiteY286" fmla="*/ 436549 h 1333436"/>
                <a:gd name="connsiteX287" fmla="*/ 37778 w 752994"/>
                <a:gd name="connsiteY287" fmla="*/ 433894 h 1333436"/>
                <a:gd name="connsiteX288" fmla="*/ 37169 w 752994"/>
                <a:gd name="connsiteY288" fmla="*/ 432261 h 1333436"/>
                <a:gd name="connsiteX289" fmla="*/ 37365 w 752994"/>
                <a:gd name="connsiteY289" fmla="*/ 429198 h 1333436"/>
                <a:gd name="connsiteX290" fmla="*/ 36756 w 752994"/>
                <a:gd name="connsiteY290" fmla="*/ 422272 h 1333436"/>
                <a:gd name="connsiteX291" fmla="*/ 36952 w 752994"/>
                <a:gd name="connsiteY291" fmla="*/ 418800 h 1333436"/>
                <a:gd name="connsiteX292" fmla="*/ 36756 w 752994"/>
                <a:gd name="connsiteY292" fmla="*/ 412487 h 1333436"/>
                <a:gd name="connsiteX293" fmla="*/ 40433 w 752994"/>
                <a:gd name="connsiteY293" fmla="*/ 406174 h 1333436"/>
                <a:gd name="connsiteX294" fmla="*/ 44720 w 752994"/>
                <a:gd name="connsiteY294" fmla="*/ 399435 h 1333436"/>
                <a:gd name="connsiteX295" fmla="*/ 44110 w 752994"/>
                <a:gd name="connsiteY295" fmla="*/ 389651 h 1333436"/>
                <a:gd name="connsiteX296" fmla="*/ 43894 w 752994"/>
                <a:gd name="connsiteY296" fmla="*/ 378437 h 1333436"/>
                <a:gd name="connsiteX297" fmla="*/ 47158 w 752994"/>
                <a:gd name="connsiteY297" fmla="*/ 371102 h 1333436"/>
                <a:gd name="connsiteX298" fmla="*/ 55731 w 752994"/>
                <a:gd name="connsiteY298" fmla="*/ 360909 h 1333436"/>
                <a:gd name="connsiteX299" fmla="*/ 57580 w 752994"/>
                <a:gd name="connsiteY299" fmla="*/ 355804 h 1333436"/>
                <a:gd name="connsiteX300" fmla="*/ 62673 w 752994"/>
                <a:gd name="connsiteY300" fmla="*/ 349695 h 1333436"/>
                <a:gd name="connsiteX301" fmla="*/ 65937 w 752994"/>
                <a:gd name="connsiteY301" fmla="*/ 348470 h 1333436"/>
                <a:gd name="connsiteX302" fmla="*/ 68395 w 752994"/>
                <a:gd name="connsiteY302" fmla="*/ 348674 h 1333436"/>
                <a:gd name="connsiteX303" fmla="*/ 70224 w 752994"/>
                <a:gd name="connsiteY303" fmla="*/ 347449 h 1333436"/>
                <a:gd name="connsiteX304" fmla="*/ 67785 w 752994"/>
                <a:gd name="connsiteY304" fmla="*/ 345203 h 1333436"/>
                <a:gd name="connsiteX305" fmla="*/ 65524 w 752994"/>
                <a:gd name="connsiteY305" fmla="*/ 343178 h 1333436"/>
                <a:gd name="connsiteX306" fmla="*/ 73095 w 752994"/>
                <a:gd name="connsiteY306" fmla="*/ 333376 h 1333436"/>
                <a:gd name="connsiteX307" fmla="*/ 73291 w 752994"/>
                <a:gd name="connsiteY307" fmla="*/ 333376 h 1333436"/>
                <a:gd name="connsiteX308" fmla="*/ 77991 w 752994"/>
                <a:gd name="connsiteY308" fmla="*/ 325838 h 1333436"/>
                <a:gd name="connsiteX309" fmla="*/ 82671 w 752994"/>
                <a:gd name="connsiteY309" fmla="*/ 313619 h 1333436"/>
                <a:gd name="connsiteX310" fmla="*/ 87980 w 752994"/>
                <a:gd name="connsiteY310" fmla="*/ 303018 h 1333436"/>
                <a:gd name="connsiteX311" fmla="*/ 92267 w 752994"/>
                <a:gd name="connsiteY311" fmla="*/ 291191 h 1333436"/>
                <a:gd name="connsiteX312" fmla="*/ 96553 w 752994"/>
                <a:gd name="connsiteY312" fmla="*/ 281202 h 1333436"/>
                <a:gd name="connsiteX313" fmla="*/ 99621 w 752994"/>
                <a:gd name="connsiteY313" fmla="*/ 274481 h 1333436"/>
                <a:gd name="connsiteX314" fmla="*/ 103082 w 752994"/>
                <a:gd name="connsiteY314" fmla="*/ 262450 h 1333436"/>
                <a:gd name="connsiteX315" fmla="*/ 107172 w 752994"/>
                <a:gd name="connsiteY315" fmla="*/ 254299 h 1333436"/>
                <a:gd name="connsiteX316" fmla="*/ 112481 w 752994"/>
                <a:gd name="connsiteY316" fmla="*/ 243697 h 1333436"/>
                <a:gd name="connsiteX317" fmla="*/ 117181 w 752994"/>
                <a:gd name="connsiteY317" fmla="*/ 232279 h 1333436"/>
                <a:gd name="connsiteX318" fmla="*/ 125951 w 752994"/>
                <a:gd name="connsiteY318" fmla="*/ 217389 h 1333436"/>
                <a:gd name="connsiteX319" fmla="*/ 136156 w 752994"/>
                <a:gd name="connsiteY319" fmla="*/ 202925 h 1333436"/>
                <a:gd name="connsiteX320" fmla="*/ 138811 w 752994"/>
                <a:gd name="connsiteY320" fmla="*/ 183339 h 1333436"/>
                <a:gd name="connsiteX321" fmla="*/ 148801 w 752994"/>
                <a:gd name="connsiteY321" fmla="*/ 167445 h 1333436"/>
                <a:gd name="connsiteX322" fmla="*/ 159616 w 752994"/>
                <a:gd name="connsiteY322" fmla="*/ 170712 h 1333436"/>
                <a:gd name="connsiteX323" fmla="*/ 173105 w 752994"/>
                <a:gd name="connsiteY323" fmla="*/ 175188 h 1333436"/>
                <a:gd name="connsiteX324" fmla="*/ 175347 w 752994"/>
                <a:gd name="connsiteY324" fmla="*/ 175188 h 1333436"/>
                <a:gd name="connsiteX325" fmla="*/ 175347 w 752994"/>
                <a:gd name="connsiteY325" fmla="*/ 173758 h 1333436"/>
                <a:gd name="connsiteX326" fmla="*/ 184975 w 752994"/>
                <a:gd name="connsiteY326" fmla="*/ 187393 h 1333436"/>
                <a:gd name="connsiteX327" fmla="*/ 184762 w 752994"/>
                <a:gd name="connsiteY327" fmla="*/ 184637 h 1333436"/>
                <a:gd name="connsiteX328" fmla="*/ 174971 w 752994"/>
                <a:gd name="connsiteY328" fmla="*/ 170774 h 1333436"/>
                <a:gd name="connsiteX329" fmla="*/ 174971 w 752994"/>
                <a:gd name="connsiteY329" fmla="*/ 169550 h 1333436"/>
                <a:gd name="connsiteX330" fmla="*/ 158851 w 752994"/>
                <a:gd name="connsiteY330" fmla="*/ 156924 h 1333436"/>
                <a:gd name="connsiteX331" fmla="*/ 147025 w 752994"/>
                <a:gd name="connsiteY331" fmla="*/ 145709 h 1333436"/>
                <a:gd name="connsiteX332" fmla="*/ 154364 w 752994"/>
                <a:gd name="connsiteY332" fmla="*/ 136335 h 1333436"/>
                <a:gd name="connsiteX333" fmla="*/ 161511 w 752994"/>
                <a:gd name="connsiteY333" fmla="*/ 131042 h 1333436"/>
                <a:gd name="connsiteX334" fmla="*/ 160902 w 752994"/>
                <a:gd name="connsiteY334" fmla="*/ 128384 h 1333436"/>
                <a:gd name="connsiteX335" fmla="*/ 160277 w 752994"/>
                <a:gd name="connsiteY335" fmla="*/ 127778 h 1333436"/>
                <a:gd name="connsiteX336" fmla="*/ 154973 w 752994"/>
                <a:gd name="connsiteY336" fmla="*/ 122077 h 1333436"/>
                <a:gd name="connsiteX337" fmla="*/ 160277 w 752994"/>
                <a:gd name="connsiteY337" fmla="*/ 115140 h 1333436"/>
                <a:gd name="connsiteX338" fmla="*/ 165181 w 752994"/>
                <a:gd name="connsiteY338" fmla="*/ 108215 h 1333436"/>
                <a:gd name="connsiteX339" fmla="*/ 161303 w 752994"/>
                <a:gd name="connsiteY339" fmla="*/ 104146 h 1333436"/>
                <a:gd name="connsiteX340" fmla="*/ 157842 w 752994"/>
                <a:gd name="connsiteY340" fmla="*/ 104542 h 1333436"/>
                <a:gd name="connsiteX341" fmla="*/ 157024 w 752994"/>
                <a:gd name="connsiteY341" fmla="*/ 102304 h 1333436"/>
                <a:gd name="connsiteX342" fmla="*/ 160694 w 752994"/>
                <a:gd name="connsiteY342" fmla="*/ 55437 h 1333436"/>
                <a:gd name="connsiteX343" fmla="*/ 160486 w 752994"/>
                <a:gd name="connsiteY343" fmla="*/ 31991 h 1333436"/>
                <a:gd name="connsiteX344" fmla="*/ 164972 w 752994"/>
                <a:gd name="connsiteY344" fmla="*/ 18141 h 1333436"/>
                <a:gd name="connsiteX345" fmla="*/ 171911 w 752994"/>
                <a:gd name="connsiteY345" fmla="*/ 11204 h 1333436"/>
                <a:gd name="connsiteX346" fmla="*/ 187406 w 752994"/>
                <a:gd name="connsiteY346" fmla="*/ 21801 h 1333436"/>
                <a:gd name="connsiteX347" fmla="*/ 210866 w 752994"/>
                <a:gd name="connsiteY347" fmla="*/ 37086 h 1333436"/>
                <a:gd name="connsiteX348" fmla="*/ 219230 w 752994"/>
                <a:gd name="connsiteY348" fmla="*/ 41166 h 1333436"/>
                <a:gd name="connsiteX349" fmla="*/ 226778 w 752994"/>
                <a:gd name="connsiteY349" fmla="*/ 47486 h 1333436"/>
                <a:gd name="connsiteX350" fmla="*/ 236152 w 752994"/>
                <a:gd name="connsiteY350" fmla="*/ 52370 h 1333436"/>
                <a:gd name="connsiteX351" fmla="*/ 239629 w 752994"/>
                <a:gd name="connsiteY351" fmla="*/ 58491 h 1333436"/>
                <a:gd name="connsiteX352" fmla="*/ 239629 w 752994"/>
                <a:gd name="connsiteY352" fmla="*/ 63376 h 1333436"/>
                <a:gd name="connsiteX353" fmla="*/ 236568 w 752994"/>
                <a:gd name="connsiteY353" fmla="*/ 67457 h 1333436"/>
                <a:gd name="connsiteX354" fmla="*/ 231264 w 752994"/>
                <a:gd name="connsiteY354" fmla="*/ 69905 h 1333436"/>
                <a:gd name="connsiteX355" fmla="*/ 216778 w 752994"/>
                <a:gd name="connsiteY355" fmla="*/ 82741 h 1333436"/>
                <a:gd name="connsiteX356" fmla="*/ 214134 w 752994"/>
                <a:gd name="connsiteY356" fmla="*/ 93536 h 1333436"/>
                <a:gd name="connsiteX357" fmla="*/ 214535 w 752994"/>
                <a:gd name="connsiteY357" fmla="*/ 96801 h 1333436"/>
                <a:gd name="connsiteX358" fmla="*/ 216378 w 752994"/>
                <a:gd name="connsiteY358" fmla="*/ 96801 h 1333436"/>
                <a:gd name="connsiteX359" fmla="*/ 230046 w 752994"/>
                <a:gd name="connsiteY359" fmla="*/ 85387 h 1333436"/>
                <a:gd name="connsiteX360" fmla="*/ 243298 w 752994"/>
                <a:gd name="connsiteY360" fmla="*/ 75198 h 1333436"/>
                <a:gd name="connsiteX361" fmla="*/ 246760 w 752994"/>
                <a:gd name="connsiteY361" fmla="*/ 77646 h 1333436"/>
                <a:gd name="connsiteX362" fmla="*/ 255541 w 752994"/>
                <a:gd name="connsiteY362" fmla="*/ 63376 h 1333436"/>
                <a:gd name="connsiteX363" fmla="*/ 259611 w 752994"/>
                <a:gd name="connsiteY363" fmla="*/ 43405 h 1333436"/>
                <a:gd name="connsiteX364" fmla="*/ 256967 w 752994"/>
                <a:gd name="connsiteY364" fmla="*/ 38520 h 1333436"/>
                <a:gd name="connsiteX365" fmla="*/ 253906 w 752994"/>
                <a:gd name="connsiteY365" fmla="*/ 34242 h 1333436"/>
                <a:gd name="connsiteX366" fmla="*/ 256967 w 752994"/>
                <a:gd name="connsiteY366" fmla="*/ 30161 h 1333436"/>
                <a:gd name="connsiteX367" fmla="*/ 262063 w 752994"/>
                <a:gd name="connsiteY367" fmla="*/ 27712 h 1333436"/>
                <a:gd name="connsiteX368" fmla="*/ 264915 w 752994"/>
                <a:gd name="connsiteY368" fmla="*/ 23026 h 1333436"/>
                <a:gd name="connsiteX369" fmla="*/ 267976 w 752994"/>
                <a:gd name="connsiteY369" fmla="*/ 22618 h 1333436"/>
                <a:gd name="connsiteX370" fmla="*/ 270427 w 752994"/>
                <a:gd name="connsiteY370" fmla="*/ 20787 h 1333436"/>
                <a:gd name="connsiteX371" fmla="*/ 263088 w 752994"/>
                <a:gd name="connsiteY371" fmla="*/ 13652 h 1333436"/>
                <a:gd name="connsiteX372" fmla="*/ 255541 w 752994"/>
                <a:gd name="connsiteY372" fmla="*/ 3055 h 1333436"/>
                <a:gd name="connsiteX373" fmla="*/ 256358 w 752994"/>
                <a:gd name="connsiteY373" fmla="*/ 1224 h 1333436"/>
                <a:gd name="connsiteX374" fmla="*/ 257159 w 752994"/>
                <a:gd name="connsiteY374"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1977 w 752994"/>
                <a:gd name="connsiteY13" fmla="*/ 978041 h 1333436"/>
                <a:gd name="connsiteX14" fmla="*/ 404598 w 752994"/>
                <a:gd name="connsiteY14" fmla="*/ 971441 h 1333436"/>
                <a:gd name="connsiteX15" fmla="*/ 401744 w 752994"/>
                <a:gd name="connsiteY15" fmla="*/ 977573 h 1333436"/>
                <a:gd name="connsiteX16" fmla="*/ 401977 w 752994"/>
                <a:gd name="connsiteY16" fmla="*/ 978041 h 1333436"/>
                <a:gd name="connsiteX17" fmla="*/ 184180 w 752994"/>
                <a:gd name="connsiteY17" fmla="*/ 213866 h 1333436"/>
                <a:gd name="connsiteX18" fmla="*/ 184117 w 752994"/>
                <a:gd name="connsiteY18" fmla="*/ 214326 h 1333436"/>
                <a:gd name="connsiteX19" fmla="*/ 185553 w 752994"/>
                <a:gd name="connsiteY19" fmla="*/ 222494 h 1333436"/>
                <a:gd name="connsiteX20" fmla="*/ 188600 w 752994"/>
                <a:gd name="connsiteY20" fmla="*/ 226970 h 1333436"/>
                <a:gd name="connsiteX21" fmla="*/ 195542 w 752994"/>
                <a:gd name="connsiteY21" fmla="*/ 231871 h 1333436"/>
                <a:gd name="connsiteX22" fmla="*/ 203093 w 752994"/>
                <a:gd name="connsiteY22" fmla="*/ 233896 h 1333436"/>
                <a:gd name="connsiteX23" fmla="*/ 217192 w 752994"/>
                <a:gd name="connsiteY23" fmla="*/ 232075 h 1333436"/>
                <a:gd name="connsiteX24" fmla="*/ 225136 w 752994"/>
                <a:gd name="connsiteY24" fmla="*/ 229829 h 1333436"/>
                <a:gd name="connsiteX25" fmla="*/ 235558 w 752994"/>
                <a:gd name="connsiteY25" fmla="*/ 232483 h 1333436"/>
                <a:gd name="connsiteX26" fmla="*/ 242499 w 752994"/>
                <a:gd name="connsiteY26" fmla="*/ 237163 h 1333436"/>
                <a:gd name="connsiteX27" fmla="*/ 248418 w 752994"/>
                <a:gd name="connsiteY27" fmla="*/ 244701 h 1333436"/>
                <a:gd name="connsiteX28" fmla="*/ 255359 w 752994"/>
                <a:gd name="connsiteY28" fmla="*/ 244906 h 1333436"/>
                <a:gd name="connsiteX29" fmla="*/ 258210 w 752994"/>
                <a:gd name="connsiteY29" fmla="*/ 244906 h 1333436"/>
                <a:gd name="connsiteX30" fmla="*/ 263303 w 752994"/>
                <a:gd name="connsiteY30" fmla="*/ 246131 h 1333436"/>
                <a:gd name="connsiteX31" fmla="*/ 269438 w 752994"/>
                <a:gd name="connsiteY31" fmla="*/ 243697 h 1333436"/>
                <a:gd name="connsiteX32" fmla="*/ 274944 w 752994"/>
                <a:gd name="connsiteY32" fmla="*/ 241451 h 1333436"/>
                <a:gd name="connsiteX33" fmla="*/ 281276 w 752994"/>
                <a:gd name="connsiteY33" fmla="*/ 245722 h 1333436"/>
                <a:gd name="connsiteX34" fmla="*/ 289240 w 752994"/>
                <a:gd name="connsiteY34" fmla="*/ 250419 h 1333436"/>
                <a:gd name="connsiteX35" fmla="*/ 297597 w 752994"/>
                <a:gd name="connsiteY35" fmla="*/ 248581 h 1333436"/>
                <a:gd name="connsiteX36" fmla="*/ 310261 w 752994"/>
                <a:gd name="connsiteY36" fmla="*/ 246539 h 1333436"/>
                <a:gd name="connsiteX37" fmla="*/ 324340 w 752994"/>
                <a:gd name="connsiteY37" fmla="*/ 244497 h 1333436"/>
                <a:gd name="connsiteX38" fmla="*/ 333523 w 752994"/>
                <a:gd name="connsiteY38" fmla="*/ 243289 h 1333436"/>
                <a:gd name="connsiteX39" fmla="*/ 341271 w 752994"/>
                <a:gd name="connsiteY39" fmla="*/ 246539 h 1333436"/>
                <a:gd name="connsiteX40" fmla="*/ 348428 w 752994"/>
                <a:gd name="connsiteY40" fmla="*/ 250011 h 1333436"/>
                <a:gd name="connsiteX41" fmla="*/ 351279 w 752994"/>
                <a:gd name="connsiteY41" fmla="*/ 247356 h 1333436"/>
                <a:gd name="connsiteX42" fmla="*/ 355566 w 752994"/>
                <a:gd name="connsiteY42" fmla="*/ 244293 h 1333436"/>
                <a:gd name="connsiteX43" fmla="*/ 365772 w 752994"/>
                <a:gd name="connsiteY43" fmla="*/ 248785 h 1333436"/>
                <a:gd name="connsiteX44" fmla="*/ 381483 w 752994"/>
                <a:gd name="connsiteY44" fmla="*/ 254912 h 1333436"/>
                <a:gd name="connsiteX45" fmla="*/ 381896 w 752994"/>
                <a:gd name="connsiteY45" fmla="*/ 255320 h 1333436"/>
                <a:gd name="connsiteX46" fmla="*/ 395366 w 752994"/>
                <a:gd name="connsiteY46" fmla="*/ 257753 h 1333436"/>
                <a:gd name="connsiteX47" fmla="*/ 414145 w 752994"/>
                <a:gd name="connsiteY47" fmla="*/ 262450 h 1333436"/>
                <a:gd name="connsiteX48" fmla="*/ 431292 w 752994"/>
                <a:gd name="connsiteY48" fmla="*/ 268151 h 1333436"/>
                <a:gd name="connsiteX49" fmla="*/ 445196 w 752994"/>
                <a:gd name="connsiteY49" fmla="*/ 269890 h 1333436"/>
                <a:gd name="connsiteX50" fmla="*/ 444145 w 752994"/>
                <a:gd name="connsiteY50" fmla="*/ 267441 h 1333436"/>
                <a:gd name="connsiteX51" fmla="*/ 444145 w 752994"/>
                <a:gd name="connsiteY51" fmla="*/ 267034 h 1333436"/>
                <a:gd name="connsiteX52" fmla="*/ 444155 w 752994"/>
                <a:gd name="connsiteY52" fmla="*/ 266811 h 1333436"/>
                <a:gd name="connsiteX53" fmla="*/ 430733 w 752994"/>
                <a:gd name="connsiteY53" fmla="*/ 265139 h 1333436"/>
                <a:gd name="connsiteX54" fmla="*/ 394839 w 752994"/>
                <a:gd name="connsiteY54" fmla="*/ 254739 h 1333436"/>
                <a:gd name="connsiteX55" fmla="*/ 381379 w 752994"/>
                <a:gd name="connsiteY55" fmla="*/ 252303 h 1333436"/>
                <a:gd name="connsiteX56" fmla="*/ 380962 w 752994"/>
                <a:gd name="connsiteY56" fmla="*/ 251895 h 1333436"/>
                <a:gd name="connsiteX57" fmla="*/ 365258 w 752994"/>
                <a:gd name="connsiteY57" fmla="*/ 245774 h 1333436"/>
                <a:gd name="connsiteX58" fmla="*/ 355067 w 752994"/>
                <a:gd name="connsiteY58" fmla="*/ 241285 h 1333436"/>
                <a:gd name="connsiteX59" fmla="*/ 350789 w 752994"/>
                <a:gd name="connsiteY59" fmla="*/ 244352 h 1333436"/>
                <a:gd name="connsiteX60" fmla="*/ 347920 w 752994"/>
                <a:gd name="connsiteY60" fmla="*/ 246998 h 1333436"/>
                <a:gd name="connsiteX61" fmla="*/ 340789 w 752994"/>
                <a:gd name="connsiteY61" fmla="*/ 243536 h 1333436"/>
                <a:gd name="connsiteX62" fmla="*/ 333034 w 752994"/>
                <a:gd name="connsiteY62" fmla="*/ 240271 h 1333436"/>
                <a:gd name="connsiteX63" fmla="*/ 323868 w 752994"/>
                <a:gd name="connsiteY63" fmla="*/ 241495 h 1333436"/>
                <a:gd name="connsiteX64" fmla="*/ 309783 w 752994"/>
                <a:gd name="connsiteY64" fmla="*/ 243536 h 1333436"/>
                <a:gd name="connsiteX65" fmla="*/ 297140 w 752994"/>
                <a:gd name="connsiteY65" fmla="*/ 245576 h 1333436"/>
                <a:gd name="connsiteX66" fmla="*/ 288775 w 752994"/>
                <a:gd name="connsiteY66" fmla="*/ 247406 h 1333436"/>
                <a:gd name="connsiteX67" fmla="*/ 280827 w 752994"/>
                <a:gd name="connsiteY67" fmla="*/ 242720 h 1333436"/>
                <a:gd name="connsiteX68" fmla="*/ 274497 w 752994"/>
                <a:gd name="connsiteY68" fmla="*/ 238441 h 1333436"/>
                <a:gd name="connsiteX69" fmla="*/ 269001 w 752994"/>
                <a:gd name="connsiteY69" fmla="*/ 240679 h 1333436"/>
                <a:gd name="connsiteX70" fmla="*/ 262880 w 752994"/>
                <a:gd name="connsiteY70" fmla="*/ 243128 h 1333436"/>
                <a:gd name="connsiteX71" fmla="*/ 260028 w 752994"/>
                <a:gd name="connsiteY71" fmla="*/ 242720 h 1333436"/>
                <a:gd name="connsiteX72" fmla="*/ 247994 w 752994"/>
                <a:gd name="connsiteY72" fmla="*/ 241693 h 1333436"/>
                <a:gd name="connsiteX73" fmla="*/ 242081 w 752994"/>
                <a:gd name="connsiteY73" fmla="*/ 234162 h 1333436"/>
                <a:gd name="connsiteX74" fmla="*/ 235142 w 752994"/>
                <a:gd name="connsiteY74" fmla="*/ 229476 h 1333436"/>
                <a:gd name="connsiteX75" fmla="*/ 224742 w 752994"/>
                <a:gd name="connsiteY75" fmla="*/ 226817 h 1333436"/>
                <a:gd name="connsiteX76" fmla="*/ 216778 w 752994"/>
                <a:gd name="connsiteY76" fmla="*/ 229068 h 1333436"/>
                <a:gd name="connsiteX77" fmla="*/ 202709 w 752994"/>
                <a:gd name="connsiteY77" fmla="*/ 230898 h 1333436"/>
                <a:gd name="connsiteX78" fmla="*/ 195162 w 752994"/>
                <a:gd name="connsiteY78" fmla="*/ 228857 h 1333436"/>
                <a:gd name="connsiteX79" fmla="*/ 188223 w 752994"/>
                <a:gd name="connsiteY79" fmla="*/ 223973 h 1333436"/>
                <a:gd name="connsiteX80" fmla="*/ 185163 w 752994"/>
                <a:gd name="connsiteY80" fmla="*/ 219484 h 1333436"/>
                <a:gd name="connsiteX81" fmla="*/ 184180 w 752994"/>
                <a:gd name="connsiteY81" fmla="*/ 213866 h 1333436"/>
                <a:gd name="connsiteX82" fmla="*/ 257159 w 752994"/>
                <a:gd name="connsiteY82" fmla="*/ 0 h 1333436"/>
                <a:gd name="connsiteX83" fmla="*/ 493147 w 752994"/>
                <a:gd name="connsiteY83" fmla="*/ 73157 h 1333436"/>
                <a:gd name="connsiteX84" fmla="*/ 492970 w 752994"/>
                <a:gd name="connsiteY84" fmla="*/ 73792 h 1333436"/>
                <a:gd name="connsiteX85" fmla="*/ 525816 w 752994"/>
                <a:gd name="connsiteY85" fmla="*/ 82491 h 1333436"/>
                <a:gd name="connsiteX86" fmla="*/ 520098 w 752994"/>
                <a:gd name="connsiteY86" fmla="*/ 111245 h 1333436"/>
                <a:gd name="connsiteX87" fmla="*/ 512552 w 752994"/>
                <a:gd name="connsiteY87" fmla="*/ 143854 h 1333436"/>
                <a:gd name="connsiteX88" fmla="*/ 517849 w 752994"/>
                <a:gd name="connsiteY88" fmla="*/ 157740 h 1333436"/>
                <a:gd name="connsiteX89" fmla="*/ 523160 w 752994"/>
                <a:gd name="connsiteY89" fmla="*/ 172009 h 1333436"/>
                <a:gd name="connsiteX90" fmla="*/ 521535 w 752994"/>
                <a:gd name="connsiteY90" fmla="*/ 178928 h 1333436"/>
                <a:gd name="connsiteX91" fmla="*/ 520098 w 752994"/>
                <a:gd name="connsiteY91" fmla="*/ 186279 h 1333436"/>
                <a:gd name="connsiteX92" fmla="*/ 526019 w 752994"/>
                <a:gd name="connsiteY92" fmla="*/ 193629 h 1333436"/>
                <a:gd name="connsiteX93" fmla="*/ 537251 w 752994"/>
                <a:gd name="connsiteY93" fmla="*/ 206270 h 1333436"/>
                <a:gd name="connsiteX94" fmla="*/ 542765 w 752994"/>
                <a:gd name="connsiteY94" fmla="*/ 217475 h 1333436"/>
                <a:gd name="connsiteX95" fmla="*/ 546857 w 752994"/>
                <a:gd name="connsiteY95" fmla="*/ 230930 h 1333436"/>
                <a:gd name="connsiteX96" fmla="*/ 549499 w 752994"/>
                <a:gd name="connsiteY96" fmla="*/ 235622 h 1333436"/>
                <a:gd name="connsiteX97" fmla="*/ 553388 w 752994"/>
                <a:gd name="connsiteY97" fmla="*/ 240722 h 1333436"/>
                <a:gd name="connsiteX98" fmla="*/ 557465 w 752994"/>
                <a:gd name="connsiteY98" fmla="*/ 246037 h 1333436"/>
                <a:gd name="connsiteX99" fmla="*/ 561761 w 752994"/>
                <a:gd name="connsiteY99" fmla="*/ 248671 h 1333436"/>
                <a:gd name="connsiteX100" fmla="*/ 567478 w 752994"/>
                <a:gd name="connsiteY100" fmla="*/ 247665 h 1333436"/>
                <a:gd name="connsiteX101" fmla="*/ 569931 w 752994"/>
                <a:gd name="connsiteY101" fmla="*/ 249293 h 1333436"/>
                <a:gd name="connsiteX102" fmla="*/ 570540 w 752994"/>
                <a:gd name="connsiteY102" fmla="*/ 251951 h 1333436"/>
                <a:gd name="connsiteX103" fmla="*/ 561964 w 752994"/>
                <a:gd name="connsiteY103" fmla="*/ 267656 h 1333436"/>
                <a:gd name="connsiteX104" fmla="*/ 553591 w 752994"/>
                <a:gd name="connsiteY104" fmla="*/ 289659 h 1333436"/>
                <a:gd name="connsiteX105" fmla="*/ 554810 w 752994"/>
                <a:gd name="connsiteY105" fmla="*/ 292939 h 1333436"/>
                <a:gd name="connsiteX106" fmla="*/ 556246 w 752994"/>
                <a:gd name="connsiteY106" fmla="*/ 299260 h 1333436"/>
                <a:gd name="connsiteX107" fmla="*/ 552778 w 752994"/>
                <a:gd name="connsiteY107" fmla="*/ 301917 h 1333436"/>
                <a:gd name="connsiteX108" fmla="*/ 549295 w 752994"/>
                <a:gd name="connsiteY108" fmla="*/ 306993 h 1333436"/>
                <a:gd name="connsiteX109" fmla="*/ 547061 w 752994"/>
                <a:gd name="connsiteY109" fmla="*/ 313122 h 1333436"/>
                <a:gd name="connsiteX110" fmla="*/ 544811 w 752994"/>
                <a:gd name="connsiteY110" fmla="*/ 316593 h 1333436"/>
                <a:gd name="connsiteX111" fmla="*/ 549919 w 752994"/>
                <a:gd name="connsiteY111" fmla="*/ 322698 h 1333436"/>
                <a:gd name="connsiteX112" fmla="*/ 553184 w 752994"/>
                <a:gd name="connsiteY112" fmla="*/ 325955 h 1333436"/>
                <a:gd name="connsiteX113" fmla="*/ 555840 w 752994"/>
                <a:gd name="connsiteY113" fmla="*/ 328205 h 1333436"/>
                <a:gd name="connsiteX114" fmla="*/ 574212 w 752994"/>
                <a:gd name="connsiteY114" fmla="*/ 318820 h 1333436"/>
                <a:gd name="connsiteX115" fmla="*/ 579523 w 752994"/>
                <a:gd name="connsiteY115" fmla="*/ 326577 h 1333436"/>
                <a:gd name="connsiteX116" fmla="*/ 580539 w 752994"/>
                <a:gd name="connsiteY116" fmla="*/ 334933 h 1333436"/>
                <a:gd name="connsiteX117" fmla="*/ 579726 w 752994"/>
                <a:gd name="connsiteY117" fmla="*/ 343097 h 1333436"/>
                <a:gd name="connsiteX118" fmla="*/ 581366 w 752994"/>
                <a:gd name="connsiteY118" fmla="*/ 350231 h 1333436"/>
                <a:gd name="connsiteX119" fmla="*/ 586256 w 752994"/>
                <a:gd name="connsiteY119" fmla="*/ 355930 h 1333436"/>
                <a:gd name="connsiteX120" fmla="*/ 589536 w 752994"/>
                <a:gd name="connsiteY120" fmla="*/ 362059 h 1333436"/>
                <a:gd name="connsiteX121" fmla="*/ 588099 w 752994"/>
                <a:gd name="connsiteY121" fmla="*/ 369600 h 1333436"/>
                <a:gd name="connsiteX122" fmla="*/ 586459 w 752994"/>
                <a:gd name="connsiteY122" fmla="*/ 377357 h 1333436"/>
                <a:gd name="connsiteX123" fmla="*/ 588709 w 752994"/>
                <a:gd name="connsiteY123" fmla="*/ 381835 h 1333436"/>
                <a:gd name="connsiteX124" fmla="*/ 595036 w 752994"/>
                <a:gd name="connsiteY124" fmla="*/ 382457 h 1333436"/>
                <a:gd name="connsiteX125" fmla="*/ 599331 w 752994"/>
                <a:gd name="connsiteY125" fmla="*/ 385306 h 1333436"/>
                <a:gd name="connsiteX126" fmla="*/ 601987 w 752994"/>
                <a:gd name="connsiteY126" fmla="*/ 391004 h 1333436"/>
                <a:gd name="connsiteX127" fmla="*/ 602799 w 752994"/>
                <a:gd name="connsiteY127" fmla="*/ 404076 h 1333436"/>
                <a:gd name="connsiteX128" fmla="*/ 606892 w 752994"/>
                <a:gd name="connsiteY128" fmla="*/ 415688 h 1333436"/>
                <a:gd name="connsiteX129" fmla="*/ 610563 w 752994"/>
                <a:gd name="connsiteY129" fmla="*/ 412217 h 1333436"/>
                <a:gd name="connsiteX130" fmla="*/ 617920 w 752994"/>
                <a:gd name="connsiteY130" fmla="*/ 408769 h 1333436"/>
                <a:gd name="connsiteX131" fmla="*/ 624654 w 752994"/>
                <a:gd name="connsiteY131" fmla="*/ 411211 h 1333436"/>
                <a:gd name="connsiteX132" fmla="*/ 634652 w 752994"/>
                <a:gd name="connsiteY132" fmla="*/ 410182 h 1333436"/>
                <a:gd name="connsiteX133" fmla="*/ 640573 w 752994"/>
                <a:gd name="connsiteY133" fmla="*/ 407739 h 1333436"/>
                <a:gd name="connsiteX134" fmla="*/ 646711 w 752994"/>
                <a:gd name="connsiteY134" fmla="*/ 410589 h 1333436"/>
                <a:gd name="connsiteX135" fmla="*/ 650383 w 752994"/>
                <a:gd name="connsiteY135" fmla="*/ 410589 h 1333436"/>
                <a:gd name="connsiteX136" fmla="*/ 654257 w 752994"/>
                <a:gd name="connsiteY136" fmla="*/ 411618 h 1333436"/>
                <a:gd name="connsiteX137" fmla="*/ 656913 w 752994"/>
                <a:gd name="connsiteY137" fmla="*/ 413653 h 1333436"/>
                <a:gd name="connsiteX138" fmla="*/ 660802 w 752994"/>
                <a:gd name="connsiteY138" fmla="*/ 415090 h 1333436"/>
                <a:gd name="connsiteX139" fmla="*/ 669581 w 752994"/>
                <a:gd name="connsiteY139" fmla="*/ 415904 h 1333436"/>
                <a:gd name="connsiteX140" fmla="*/ 672237 w 752994"/>
                <a:gd name="connsiteY140" fmla="*/ 415688 h 1333436"/>
                <a:gd name="connsiteX141" fmla="*/ 675705 w 752994"/>
                <a:gd name="connsiteY141" fmla="*/ 409367 h 1333436"/>
                <a:gd name="connsiteX142" fmla="*/ 679986 w 752994"/>
                <a:gd name="connsiteY142" fmla="*/ 403238 h 1333436"/>
                <a:gd name="connsiteX143" fmla="*/ 693264 w 752994"/>
                <a:gd name="connsiteY143" fmla="*/ 419567 h 1333436"/>
                <a:gd name="connsiteX144" fmla="*/ 688563 w 752994"/>
                <a:gd name="connsiteY144" fmla="*/ 448321 h 1333436"/>
                <a:gd name="connsiteX145" fmla="*/ 663949 w 752994"/>
                <a:gd name="connsiteY145" fmla="*/ 590165 h 1333436"/>
                <a:gd name="connsiteX146" fmla="*/ 666304 w 752994"/>
                <a:gd name="connsiteY146" fmla="*/ 590504 h 1333436"/>
                <a:gd name="connsiteX147" fmla="*/ 655288 w 752994"/>
                <a:gd name="connsiteY147" fmla="*/ 656178 h 1333436"/>
                <a:gd name="connsiteX148" fmla="*/ 681808 w 752994"/>
                <a:gd name="connsiteY148" fmla="*/ 662301 h 1333436"/>
                <a:gd name="connsiteX149" fmla="*/ 752994 w 752994"/>
                <a:gd name="connsiteY149" fmla="*/ 675560 h 1333436"/>
                <a:gd name="connsiteX150" fmla="*/ 714651 w 752994"/>
                <a:gd name="connsiteY150" fmla="*/ 946985 h 1333436"/>
                <a:gd name="connsiteX151" fmla="*/ 654533 w 752994"/>
                <a:gd name="connsiteY151" fmla="*/ 1333436 h 1333436"/>
                <a:gd name="connsiteX152" fmla="*/ 546831 w 752994"/>
                <a:gd name="connsiteY152" fmla="*/ 1317126 h 1333436"/>
                <a:gd name="connsiteX153" fmla="*/ 351227 w 752994"/>
                <a:gd name="connsiteY153" fmla="*/ 1194172 h 1333436"/>
                <a:gd name="connsiteX154" fmla="*/ 361011 w 752994"/>
                <a:gd name="connsiteY154" fmla="*/ 1182755 h 1333436"/>
                <a:gd name="connsiteX155" fmla="*/ 368981 w 752994"/>
                <a:gd name="connsiteY155" fmla="*/ 1182130 h 1333436"/>
                <a:gd name="connsiteX156" fmla="*/ 369571 w 752994"/>
                <a:gd name="connsiteY156" fmla="*/ 1181558 h 1333436"/>
                <a:gd name="connsiteX157" fmla="*/ 362372 w 752994"/>
                <a:gd name="connsiteY157" fmla="*/ 1182120 h 1333436"/>
                <a:gd name="connsiteX158" fmla="*/ 229464 w 752994"/>
                <a:gd name="connsiteY158" fmla="*/ 1161721 h 1333436"/>
                <a:gd name="connsiteX159" fmla="*/ 227427 w 752994"/>
                <a:gd name="connsiteY159" fmla="*/ 1157269 h 1333436"/>
                <a:gd name="connsiteX160" fmla="*/ 224967 w 752994"/>
                <a:gd name="connsiteY160" fmla="*/ 1152575 h 1333436"/>
                <a:gd name="connsiteX161" fmla="*/ 225582 w 752994"/>
                <a:gd name="connsiteY161" fmla="*/ 1144808 h 1333436"/>
                <a:gd name="connsiteX162" fmla="*/ 227215 w 752994"/>
                <a:gd name="connsiteY162" fmla="*/ 1135834 h 1333436"/>
                <a:gd name="connsiteX163" fmla="*/ 227215 w 752994"/>
                <a:gd name="connsiteY163" fmla="*/ 1134212 h 1333436"/>
                <a:gd name="connsiteX164" fmla="*/ 225179 w 752994"/>
                <a:gd name="connsiteY164" fmla="*/ 1114020 h 1333436"/>
                <a:gd name="connsiteX165" fmla="*/ 217839 w 752994"/>
                <a:gd name="connsiteY165" fmla="*/ 1100352 h 1333436"/>
                <a:gd name="connsiteX166" fmla="*/ 199661 w 752994"/>
                <a:gd name="connsiteY166" fmla="*/ 1076502 h 1333436"/>
                <a:gd name="connsiteX167" fmla="*/ 196395 w 752994"/>
                <a:gd name="connsiteY167" fmla="*/ 1071807 h 1333436"/>
                <a:gd name="connsiteX168" fmla="*/ 190880 w 752994"/>
                <a:gd name="connsiteY168" fmla="*/ 1067527 h 1333436"/>
                <a:gd name="connsiteX169" fmla="*/ 187210 w 752994"/>
                <a:gd name="connsiteY169" fmla="*/ 1068735 h 1333436"/>
                <a:gd name="connsiteX170" fmla="*/ 180062 w 752994"/>
                <a:gd name="connsiteY170" fmla="*/ 1066699 h 1333436"/>
                <a:gd name="connsiteX171" fmla="*/ 180466 w 752994"/>
                <a:gd name="connsiteY171" fmla="*/ 1053031 h 1333436"/>
                <a:gd name="connsiteX172" fmla="*/ 180062 w 752994"/>
                <a:gd name="connsiteY172" fmla="*/ 1045299 h 1333436"/>
                <a:gd name="connsiteX173" fmla="*/ 174144 w 752994"/>
                <a:gd name="connsiteY173" fmla="*/ 1044057 h 1333436"/>
                <a:gd name="connsiteX174" fmla="*/ 158426 w 752994"/>
                <a:gd name="connsiteY174" fmla="*/ 1042641 h 1333436"/>
                <a:gd name="connsiteX175" fmla="*/ 149857 w 752994"/>
                <a:gd name="connsiteY175" fmla="*/ 1035497 h 1333436"/>
                <a:gd name="connsiteX176" fmla="*/ 142497 w 752994"/>
                <a:gd name="connsiteY176" fmla="*/ 1028766 h 1333436"/>
                <a:gd name="connsiteX177" fmla="*/ 140864 w 752994"/>
                <a:gd name="connsiteY177" fmla="*/ 1020620 h 1333436"/>
                <a:gd name="connsiteX178" fmla="*/ 138212 w 752994"/>
                <a:gd name="connsiteY178" fmla="*/ 1013061 h 1333436"/>
                <a:gd name="connsiteX179" fmla="*/ 131064 w 752994"/>
                <a:gd name="connsiteY179" fmla="*/ 1007159 h 1333436"/>
                <a:gd name="connsiteX180" fmla="*/ 121264 w 752994"/>
                <a:gd name="connsiteY180" fmla="*/ 1005330 h 1333436"/>
                <a:gd name="connsiteX181" fmla="*/ 112483 w 752994"/>
                <a:gd name="connsiteY181" fmla="*/ 1001671 h 1333436"/>
                <a:gd name="connsiteX182" fmla="*/ 105950 w 752994"/>
                <a:gd name="connsiteY182" fmla="*/ 995734 h 1333436"/>
                <a:gd name="connsiteX183" fmla="*/ 97380 w 752994"/>
                <a:gd name="connsiteY183" fmla="*/ 994526 h 1333436"/>
                <a:gd name="connsiteX184" fmla="*/ 87984 w 752994"/>
                <a:gd name="connsiteY184" fmla="*/ 991040 h 1333436"/>
                <a:gd name="connsiteX185" fmla="*/ 80029 w 752994"/>
                <a:gd name="connsiteY185" fmla="*/ 985138 h 1333436"/>
                <a:gd name="connsiteX186" fmla="*/ 77166 w 752994"/>
                <a:gd name="connsiteY186" fmla="*/ 976164 h 1333436"/>
                <a:gd name="connsiteX187" fmla="*/ 79203 w 752994"/>
                <a:gd name="connsiteY187" fmla="*/ 970676 h 1333436"/>
                <a:gd name="connsiteX188" fmla="*/ 82470 w 752994"/>
                <a:gd name="connsiteY188" fmla="*/ 963117 h 1333436"/>
                <a:gd name="connsiteX189" fmla="*/ 84314 w 752994"/>
                <a:gd name="connsiteY189" fmla="*/ 954557 h 1333436"/>
                <a:gd name="connsiteX190" fmla="*/ 86351 w 752994"/>
                <a:gd name="connsiteY190" fmla="*/ 948033 h 1333436"/>
                <a:gd name="connsiteX191" fmla="*/ 86159 w 752994"/>
                <a:gd name="connsiteY191" fmla="*/ 942925 h 1333436"/>
                <a:gd name="connsiteX192" fmla="*/ 83085 w 752994"/>
                <a:gd name="connsiteY192" fmla="*/ 939853 h 1333436"/>
                <a:gd name="connsiteX193" fmla="*/ 77570 w 752994"/>
                <a:gd name="connsiteY193" fmla="*/ 937437 h 1333436"/>
                <a:gd name="connsiteX194" fmla="*/ 76763 w 752994"/>
                <a:gd name="connsiteY194" fmla="*/ 931915 h 1333436"/>
                <a:gd name="connsiteX195" fmla="*/ 78800 w 752994"/>
                <a:gd name="connsiteY195" fmla="*/ 927013 h 1333436"/>
                <a:gd name="connsiteX196" fmla="*/ 79626 w 752994"/>
                <a:gd name="connsiteY196" fmla="*/ 922526 h 1333436"/>
                <a:gd name="connsiteX197" fmla="*/ 77781 w 752994"/>
                <a:gd name="connsiteY197" fmla="*/ 919903 h 1333436"/>
                <a:gd name="connsiteX198" fmla="*/ 74303 w 752994"/>
                <a:gd name="connsiteY198" fmla="*/ 917418 h 1333436"/>
                <a:gd name="connsiteX199" fmla="*/ 71863 w 752994"/>
                <a:gd name="connsiteY199" fmla="*/ 915174 h 1333436"/>
                <a:gd name="connsiteX200" fmla="*/ 71652 w 752994"/>
                <a:gd name="connsiteY200" fmla="*/ 910894 h 1333436"/>
                <a:gd name="connsiteX201" fmla="*/ 70633 w 752994"/>
                <a:gd name="connsiteY201" fmla="*/ 906614 h 1333436"/>
                <a:gd name="connsiteX202" fmla="*/ 68385 w 752994"/>
                <a:gd name="connsiteY202" fmla="*/ 902749 h 1333436"/>
                <a:gd name="connsiteX203" fmla="*/ 61045 w 752994"/>
                <a:gd name="connsiteY203" fmla="*/ 889494 h 1333436"/>
                <a:gd name="connsiteX204" fmla="*/ 57971 w 752994"/>
                <a:gd name="connsiteY204" fmla="*/ 875619 h 1333436"/>
                <a:gd name="connsiteX205" fmla="*/ 52264 w 752994"/>
                <a:gd name="connsiteY205" fmla="*/ 862572 h 1333436"/>
                <a:gd name="connsiteX206" fmla="*/ 44309 w 752994"/>
                <a:gd name="connsiteY206" fmla="*/ 850561 h 1333436"/>
                <a:gd name="connsiteX207" fmla="*/ 45520 w 752994"/>
                <a:gd name="connsiteY207" fmla="*/ 827090 h 1333436"/>
                <a:gd name="connsiteX208" fmla="*/ 53071 w 752994"/>
                <a:gd name="connsiteY208" fmla="*/ 822396 h 1333436"/>
                <a:gd name="connsiteX209" fmla="*/ 57375 w 752994"/>
                <a:gd name="connsiteY209" fmla="*/ 816493 h 1333436"/>
                <a:gd name="connsiteX210" fmla="*/ 55319 w 752994"/>
                <a:gd name="connsiteY210" fmla="*/ 801617 h 1333436"/>
                <a:gd name="connsiteX211" fmla="*/ 48383 w 752994"/>
                <a:gd name="connsiteY211" fmla="*/ 802204 h 1333436"/>
                <a:gd name="connsiteX212" fmla="*/ 40428 w 752994"/>
                <a:gd name="connsiteY212" fmla="*/ 797924 h 1333436"/>
                <a:gd name="connsiteX213" fmla="*/ 37565 w 752994"/>
                <a:gd name="connsiteY213" fmla="*/ 790606 h 1333436"/>
                <a:gd name="connsiteX214" fmla="*/ 37565 w 752994"/>
                <a:gd name="connsiteY214" fmla="*/ 790399 h 1333436"/>
                <a:gd name="connsiteX215" fmla="*/ 35931 w 752994"/>
                <a:gd name="connsiteY215" fmla="*/ 785912 h 1333436"/>
                <a:gd name="connsiteX216" fmla="*/ 34510 w 752994"/>
                <a:gd name="connsiteY216" fmla="*/ 780597 h 1333436"/>
                <a:gd name="connsiteX217" fmla="*/ 36335 w 752994"/>
                <a:gd name="connsiteY217" fmla="*/ 774280 h 1333436"/>
                <a:gd name="connsiteX218" fmla="*/ 38180 w 752994"/>
                <a:gd name="connsiteY218" fmla="*/ 766721 h 1333436"/>
                <a:gd name="connsiteX219" fmla="*/ 37161 w 752994"/>
                <a:gd name="connsiteY219" fmla="*/ 760405 h 1333436"/>
                <a:gd name="connsiteX220" fmla="*/ 35720 w 752994"/>
                <a:gd name="connsiteY220" fmla="*/ 754710 h 1333436"/>
                <a:gd name="connsiteX221" fmla="*/ 36546 w 752994"/>
                <a:gd name="connsiteY221" fmla="*/ 748773 h 1333436"/>
                <a:gd name="connsiteX222" fmla="*/ 38372 w 752994"/>
                <a:gd name="connsiteY222" fmla="*/ 744528 h 1333436"/>
                <a:gd name="connsiteX223" fmla="*/ 41638 w 752994"/>
                <a:gd name="connsiteY223" fmla="*/ 744321 h 1333436"/>
                <a:gd name="connsiteX224" fmla="*/ 44713 w 752994"/>
                <a:gd name="connsiteY224" fmla="*/ 746357 h 1333436"/>
                <a:gd name="connsiteX225" fmla="*/ 47364 w 752994"/>
                <a:gd name="connsiteY225" fmla="*/ 753260 h 1333436"/>
                <a:gd name="connsiteX226" fmla="*/ 55742 w 752994"/>
                <a:gd name="connsiteY226" fmla="*/ 764305 h 1333436"/>
                <a:gd name="connsiteX227" fmla="*/ 56338 w 752994"/>
                <a:gd name="connsiteY227" fmla="*/ 761233 h 1333436"/>
                <a:gd name="connsiteX228" fmla="*/ 56145 w 752994"/>
                <a:gd name="connsiteY228" fmla="*/ 757368 h 1333436"/>
                <a:gd name="connsiteX229" fmla="*/ 54916 w 752994"/>
                <a:gd name="connsiteY229" fmla="*/ 748601 h 1333436"/>
                <a:gd name="connsiteX230" fmla="*/ 52879 w 752994"/>
                <a:gd name="connsiteY230" fmla="*/ 747358 h 1333436"/>
                <a:gd name="connsiteX231" fmla="*/ 51649 w 752994"/>
                <a:gd name="connsiteY231" fmla="*/ 745322 h 1333436"/>
                <a:gd name="connsiteX232" fmla="*/ 51649 w 752994"/>
                <a:gd name="connsiteY232" fmla="*/ 739212 h 1333436"/>
                <a:gd name="connsiteX233" fmla="*/ 50227 w 752994"/>
                <a:gd name="connsiteY233" fmla="*/ 734725 h 1333436"/>
                <a:gd name="connsiteX234" fmla="*/ 48786 w 752994"/>
                <a:gd name="connsiteY234" fmla="*/ 731446 h 1333436"/>
                <a:gd name="connsiteX235" fmla="*/ 54512 w 752994"/>
                <a:gd name="connsiteY235" fmla="*/ 726372 h 1333436"/>
                <a:gd name="connsiteX236" fmla="*/ 59815 w 752994"/>
                <a:gd name="connsiteY236" fmla="*/ 725130 h 1333436"/>
                <a:gd name="connsiteX237" fmla="*/ 58182 w 752994"/>
                <a:gd name="connsiteY237" fmla="*/ 722886 h 1333436"/>
                <a:gd name="connsiteX238" fmla="*/ 51861 w 752994"/>
                <a:gd name="connsiteY238" fmla="*/ 717985 h 1333436"/>
                <a:gd name="connsiteX239" fmla="*/ 46749 w 752994"/>
                <a:gd name="connsiteY239" fmla="*/ 729617 h 1333436"/>
                <a:gd name="connsiteX240" fmla="*/ 40831 w 752994"/>
                <a:gd name="connsiteY240" fmla="*/ 739212 h 1333436"/>
                <a:gd name="connsiteX241" fmla="*/ 39601 w 752994"/>
                <a:gd name="connsiteY241" fmla="*/ 738798 h 1333436"/>
                <a:gd name="connsiteX242" fmla="*/ 39409 w 752994"/>
                <a:gd name="connsiteY242" fmla="*/ 738591 h 1333436"/>
                <a:gd name="connsiteX243" fmla="*/ 37161 w 752994"/>
                <a:gd name="connsiteY243" fmla="*/ 734725 h 1333436"/>
                <a:gd name="connsiteX244" fmla="*/ 32665 w 752994"/>
                <a:gd name="connsiteY244" fmla="*/ 727788 h 1333436"/>
                <a:gd name="connsiteX245" fmla="*/ 26747 w 752994"/>
                <a:gd name="connsiteY245" fmla="*/ 719435 h 1333436"/>
                <a:gd name="connsiteX246" fmla="*/ 23884 w 752994"/>
                <a:gd name="connsiteY246" fmla="*/ 717812 h 1333436"/>
                <a:gd name="connsiteX247" fmla="*/ 24710 w 752994"/>
                <a:gd name="connsiteY247" fmla="*/ 709632 h 1333436"/>
                <a:gd name="connsiteX248" fmla="*/ 27554 w 752994"/>
                <a:gd name="connsiteY248" fmla="*/ 701694 h 1333436"/>
                <a:gd name="connsiteX249" fmla="*/ 24902 w 752994"/>
                <a:gd name="connsiteY249" fmla="*/ 696171 h 1333436"/>
                <a:gd name="connsiteX250" fmla="*/ 24095 w 752994"/>
                <a:gd name="connsiteY250" fmla="*/ 687818 h 1333436"/>
                <a:gd name="connsiteX251" fmla="*/ 22462 w 752994"/>
                <a:gd name="connsiteY251" fmla="*/ 682330 h 1333436"/>
                <a:gd name="connsiteX252" fmla="*/ 17159 w 752994"/>
                <a:gd name="connsiteY252" fmla="*/ 677636 h 1333436"/>
                <a:gd name="connsiteX253" fmla="*/ 14296 w 752994"/>
                <a:gd name="connsiteY253" fmla="*/ 671492 h 1333436"/>
                <a:gd name="connsiteX254" fmla="*/ 12451 w 752994"/>
                <a:gd name="connsiteY254" fmla="*/ 665797 h 1333436"/>
                <a:gd name="connsiteX255" fmla="*/ 5111 w 752994"/>
                <a:gd name="connsiteY255" fmla="*/ 654994 h 1333436"/>
                <a:gd name="connsiteX256" fmla="*/ 2248 w 752994"/>
                <a:gd name="connsiteY256" fmla="*/ 645605 h 1333436"/>
                <a:gd name="connsiteX257" fmla="*/ 4496 w 752994"/>
                <a:gd name="connsiteY257" fmla="*/ 640497 h 1333436"/>
                <a:gd name="connsiteX258" fmla="*/ 6744 w 752994"/>
                <a:gd name="connsiteY258" fmla="*/ 632765 h 1333436"/>
                <a:gd name="connsiteX259" fmla="*/ 6744 w 752994"/>
                <a:gd name="connsiteY259" fmla="*/ 628485 h 1333436"/>
                <a:gd name="connsiteX260" fmla="*/ 6533 w 752994"/>
                <a:gd name="connsiteY260" fmla="*/ 620305 h 1333436"/>
                <a:gd name="connsiteX261" fmla="*/ 7359 w 752994"/>
                <a:gd name="connsiteY261" fmla="*/ 611745 h 1333436"/>
                <a:gd name="connsiteX262" fmla="*/ 11836 w 752994"/>
                <a:gd name="connsiteY262" fmla="*/ 602978 h 1333436"/>
                <a:gd name="connsiteX263" fmla="*/ 15103 w 752994"/>
                <a:gd name="connsiteY263" fmla="*/ 591760 h 1333436"/>
                <a:gd name="connsiteX264" fmla="*/ 14488 w 752994"/>
                <a:gd name="connsiteY264" fmla="*/ 584029 h 1333436"/>
                <a:gd name="connsiteX265" fmla="*/ 13873 w 752994"/>
                <a:gd name="connsiteY265" fmla="*/ 578299 h 1333436"/>
                <a:gd name="connsiteX266" fmla="*/ 10626 w 752994"/>
                <a:gd name="connsiteY266" fmla="*/ 568531 h 1333436"/>
                <a:gd name="connsiteX267" fmla="*/ 3670 w 752994"/>
                <a:gd name="connsiteY267" fmla="*/ 558107 h 1333436"/>
                <a:gd name="connsiteX268" fmla="*/ 0 w 752994"/>
                <a:gd name="connsiteY268" fmla="*/ 551377 h 1333436"/>
                <a:gd name="connsiteX269" fmla="*/ 0 w 752994"/>
                <a:gd name="connsiteY269" fmla="*/ 550997 h 1333436"/>
                <a:gd name="connsiteX270" fmla="*/ 4900 w 752994"/>
                <a:gd name="connsiteY270" fmla="*/ 531220 h 1333436"/>
                <a:gd name="connsiteX271" fmla="*/ 13873 w 752994"/>
                <a:gd name="connsiteY271" fmla="*/ 520589 h 1333436"/>
                <a:gd name="connsiteX272" fmla="*/ 18369 w 752994"/>
                <a:gd name="connsiteY272" fmla="*/ 516516 h 1333436"/>
                <a:gd name="connsiteX273" fmla="*/ 18773 w 752994"/>
                <a:gd name="connsiteY273" fmla="*/ 514272 h 1333436"/>
                <a:gd name="connsiteX274" fmla="*/ 23077 w 752994"/>
                <a:gd name="connsiteY274" fmla="*/ 506127 h 1333436"/>
                <a:gd name="connsiteX275" fmla="*/ 23884 w 752994"/>
                <a:gd name="connsiteY275" fmla="*/ 502261 h 1333436"/>
                <a:gd name="connsiteX276" fmla="*/ 23692 w 752994"/>
                <a:gd name="connsiteY276" fmla="*/ 496738 h 1333436"/>
                <a:gd name="connsiteX277" fmla="*/ 30013 w 752994"/>
                <a:gd name="connsiteY277" fmla="*/ 486556 h 1333436"/>
                <a:gd name="connsiteX278" fmla="*/ 36546 w 752994"/>
                <a:gd name="connsiteY278" fmla="*/ 470230 h 1333436"/>
                <a:gd name="connsiteX279" fmla="*/ 36546 w 752994"/>
                <a:gd name="connsiteY279" fmla="*/ 462671 h 1333436"/>
                <a:gd name="connsiteX280" fmla="*/ 36335 w 752994"/>
                <a:gd name="connsiteY280" fmla="*/ 461670 h 1333436"/>
                <a:gd name="connsiteX281" fmla="*/ 35931 w 752994"/>
                <a:gd name="connsiteY281" fmla="*/ 453110 h 1333436"/>
                <a:gd name="connsiteX282" fmla="*/ 38583 w 752994"/>
                <a:gd name="connsiteY282" fmla="*/ 442514 h 1333436"/>
                <a:gd name="connsiteX283" fmla="*/ 41043 w 752994"/>
                <a:gd name="connsiteY283" fmla="*/ 436991 h 1333436"/>
                <a:gd name="connsiteX284" fmla="*/ 41650 w 752994"/>
                <a:gd name="connsiteY284" fmla="*/ 437186 h 1333436"/>
                <a:gd name="connsiteX285" fmla="*/ 41239 w 752994"/>
                <a:gd name="connsiteY285" fmla="*/ 436549 h 1333436"/>
                <a:gd name="connsiteX286" fmla="*/ 37778 w 752994"/>
                <a:gd name="connsiteY286" fmla="*/ 433894 h 1333436"/>
                <a:gd name="connsiteX287" fmla="*/ 37169 w 752994"/>
                <a:gd name="connsiteY287" fmla="*/ 432261 h 1333436"/>
                <a:gd name="connsiteX288" fmla="*/ 37365 w 752994"/>
                <a:gd name="connsiteY288" fmla="*/ 429198 h 1333436"/>
                <a:gd name="connsiteX289" fmla="*/ 36756 w 752994"/>
                <a:gd name="connsiteY289" fmla="*/ 422272 h 1333436"/>
                <a:gd name="connsiteX290" fmla="*/ 36952 w 752994"/>
                <a:gd name="connsiteY290" fmla="*/ 418800 h 1333436"/>
                <a:gd name="connsiteX291" fmla="*/ 36756 w 752994"/>
                <a:gd name="connsiteY291" fmla="*/ 412487 h 1333436"/>
                <a:gd name="connsiteX292" fmla="*/ 40433 w 752994"/>
                <a:gd name="connsiteY292" fmla="*/ 406174 h 1333436"/>
                <a:gd name="connsiteX293" fmla="*/ 44720 w 752994"/>
                <a:gd name="connsiteY293" fmla="*/ 399435 h 1333436"/>
                <a:gd name="connsiteX294" fmla="*/ 44110 w 752994"/>
                <a:gd name="connsiteY294" fmla="*/ 389651 h 1333436"/>
                <a:gd name="connsiteX295" fmla="*/ 43894 w 752994"/>
                <a:gd name="connsiteY295" fmla="*/ 378437 h 1333436"/>
                <a:gd name="connsiteX296" fmla="*/ 47158 w 752994"/>
                <a:gd name="connsiteY296" fmla="*/ 371102 h 1333436"/>
                <a:gd name="connsiteX297" fmla="*/ 55731 w 752994"/>
                <a:gd name="connsiteY297" fmla="*/ 360909 h 1333436"/>
                <a:gd name="connsiteX298" fmla="*/ 57580 w 752994"/>
                <a:gd name="connsiteY298" fmla="*/ 355804 h 1333436"/>
                <a:gd name="connsiteX299" fmla="*/ 62673 w 752994"/>
                <a:gd name="connsiteY299" fmla="*/ 349695 h 1333436"/>
                <a:gd name="connsiteX300" fmla="*/ 65937 w 752994"/>
                <a:gd name="connsiteY300" fmla="*/ 348470 h 1333436"/>
                <a:gd name="connsiteX301" fmla="*/ 68395 w 752994"/>
                <a:gd name="connsiteY301" fmla="*/ 348674 h 1333436"/>
                <a:gd name="connsiteX302" fmla="*/ 70224 w 752994"/>
                <a:gd name="connsiteY302" fmla="*/ 347449 h 1333436"/>
                <a:gd name="connsiteX303" fmla="*/ 67785 w 752994"/>
                <a:gd name="connsiteY303" fmla="*/ 345203 h 1333436"/>
                <a:gd name="connsiteX304" fmla="*/ 65524 w 752994"/>
                <a:gd name="connsiteY304" fmla="*/ 343178 h 1333436"/>
                <a:gd name="connsiteX305" fmla="*/ 73095 w 752994"/>
                <a:gd name="connsiteY305" fmla="*/ 333376 h 1333436"/>
                <a:gd name="connsiteX306" fmla="*/ 73291 w 752994"/>
                <a:gd name="connsiteY306" fmla="*/ 333376 h 1333436"/>
                <a:gd name="connsiteX307" fmla="*/ 77991 w 752994"/>
                <a:gd name="connsiteY307" fmla="*/ 325838 h 1333436"/>
                <a:gd name="connsiteX308" fmla="*/ 82671 w 752994"/>
                <a:gd name="connsiteY308" fmla="*/ 313619 h 1333436"/>
                <a:gd name="connsiteX309" fmla="*/ 87980 w 752994"/>
                <a:gd name="connsiteY309" fmla="*/ 303018 h 1333436"/>
                <a:gd name="connsiteX310" fmla="*/ 92267 w 752994"/>
                <a:gd name="connsiteY310" fmla="*/ 291191 h 1333436"/>
                <a:gd name="connsiteX311" fmla="*/ 96553 w 752994"/>
                <a:gd name="connsiteY311" fmla="*/ 281202 h 1333436"/>
                <a:gd name="connsiteX312" fmla="*/ 99621 w 752994"/>
                <a:gd name="connsiteY312" fmla="*/ 274481 h 1333436"/>
                <a:gd name="connsiteX313" fmla="*/ 103082 w 752994"/>
                <a:gd name="connsiteY313" fmla="*/ 262450 h 1333436"/>
                <a:gd name="connsiteX314" fmla="*/ 107172 w 752994"/>
                <a:gd name="connsiteY314" fmla="*/ 254299 h 1333436"/>
                <a:gd name="connsiteX315" fmla="*/ 112481 w 752994"/>
                <a:gd name="connsiteY315" fmla="*/ 243697 h 1333436"/>
                <a:gd name="connsiteX316" fmla="*/ 117181 w 752994"/>
                <a:gd name="connsiteY316" fmla="*/ 232279 h 1333436"/>
                <a:gd name="connsiteX317" fmla="*/ 125951 w 752994"/>
                <a:gd name="connsiteY317" fmla="*/ 217389 h 1333436"/>
                <a:gd name="connsiteX318" fmla="*/ 136156 w 752994"/>
                <a:gd name="connsiteY318" fmla="*/ 202925 h 1333436"/>
                <a:gd name="connsiteX319" fmla="*/ 138811 w 752994"/>
                <a:gd name="connsiteY319" fmla="*/ 183339 h 1333436"/>
                <a:gd name="connsiteX320" fmla="*/ 148801 w 752994"/>
                <a:gd name="connsiteY320" fmla="*/ 167445 h 1333436"/>
                <a:gd name="connsiteX321" fmla="*/ 159616 w 752994"/>
                <a:gd name="connsiteY321" fmla="*/ 170712 h 1333436"/>
                <a:gd name="connsiteX322" fmla="*/ 173105 w 752994"/>
                <a:gd name="connsiteY322" fmla="*/ 175188 h 1333436"/>
                <a:gd name="connsiteX323" fmla="*/ 175347 w 752994"/>
                <a:gd name="connsiteY323" fmla="*/ 175188 h 1333436"/>
                <a:gd name="connsiteX324" fmla="*/ 175347 w 752994"/>
                <a:gd name="connsiteY324" fmla="*/ 173758 h 1333436"/>
                <a:gd name="connsiteX325" fmla="*/ 184975 w 752994"/>
                <a:gd name="connsiteY325" fmla="*/ 187393 h 1333436"/>
                <a:gd name="connsiteX326" fmla="*/ 184762 w 752994"/>
                <a:gd name="connsiteY326" fmla="*/ 184637 h 1333436"/>
                <a:gd name="connsiteX327" fmla="*/ 174971 w 752994"/>
                <a:gd name="connsiteY327" fmla="*/ 170774 h 1333436"/>
                <a:gd name="connsiteX328" fmla="*/ 174971 w 752994"/>
                <a:gd name="connsiteY328" fmla="*/ 169550 h 1333436"/>
                <a:gd name="connsiteX329" fmla="*/ 158851 w 752994"/>
                <a:gd name="connsiteY329" fmla="*/ 156924 h 1333436"/>
                <a:gd name="connsiteX330" fmla="*/ 147025 w 752994"/>
                <a:gd name="connsiteY330" fmla="*/ 145709 h 1333436"/>
                <a:gd name="connsiteX331" fmla="*/ 154364 w 752994"/>
                <a:gd name="connsiteY331" fmla="*/ 136335 h 1333436"/>
                <a:gd name="connsiteX332" fmla="*/ 161511 w 752994"/>
                <a:gd name="connsiteY332" fmla="*/ 131042 h 1333436"/>
                <a:gd name="connsiteX333" fmla="*/ 160902 w 752994"/>
                <a:gd name="connsiteY333" fmla="*/ 128384 h 1333436"/>
                <a:gd name="connsiteX334" fmla="*/ 160277 w 752994"/>
                <a:gd name="connsiteY334" fmla="*/ 127778 h 1333436"/>
                <a:gd name="connsiteX335" fmla="*/ 154973 w 752994"/>
                <a:gd name="connsiteY335" fmla="*/ 122077 h 1333436"/>
                <a:gd name="connsiteX336" fmla="*/ 160277 w 752994"/>
                <a:gd name="connsiteY336" fmla="*/ 115140 h 1333436"/>
                <a:gd name="connsiteX337" fmla="*/ 165181 w 752994"/>
                <a:gd name="connsiteY337" fmla="*/ 108215 h 1333436"/>
                <a:gd name="connsiteX338" fmla="*/ 161303 w 752994"/>
                <a:gd name="connsiteY338" fmla="*/ 104146 h 1333436"/>
                <a:gd name="connsiteX339" fmla="*/ 157842 w 752994"/>
                <a:gd name="connsiteY339" fmla="*/ 104542 h 1333436"/>
                <a:gd name="connsiteX340" fmla="*/ 157024 w 752994"/>
                <a:gd name="connsiteY340" fmla="*/ 102304 h 1333436"/>
                <a:gd name="connsiteX341" fmla="*/ 160694 w 752994"/>
                <a:gd name="connsiteY341" fmla="*/ 55437 h 1333436"/>
                <a:gd name="connsiteX342" fmla="*/ 160486 w 752994"/>
                <a:gd name="connsiteY342" fmla="*/ 31991 h 1333436"/>
                <a:gd name="connsiteX343" fmla="*/ 164972 w 752994"/>
                <a:gd name="connsiteY343" fmla="*/ 18141 h 1333436"/>
                <a:gd name="connsiteX344" fmla="*/ 171911 w 752994"/>
                <a:gd name="connsiteY344" fmla="*/ 11204 h 1333436"/>
                <a:gd name="connsiteX345" fmla="*/ 187406 w 752994"/>
                <a:gd name="connsiteY345" fmla="*/ 21801 h 1333436"/>
                <a:gd name="connsiteX346" fmla="*/ 210866 w 752994"/>
                <a:gd name="connsiteY346" fmla="*/ 37086 h 1333436"/>
                <a:gd name="connsiteX347" fmla="*/ 219230 w 752994"/>
                <a:gd name="connsiteY347" fmla="*/ 41166 h 1333436"/>
                <a:gd name="connsiteX348" fmla="*/ 226778 w 752994"/>
                <a:gd name="connsiteY348" fmla="*/ 47486 h 1333436"/>
                <a:gd name="connsiteX349" fmla="*/ 236152 w 752994"/>
                <a:gd name="connsiteY349" fmla="*/ 52370 h 1333436"/>
                <a:gd name="connsiteX350" fmla="*/ 239629 w 752994"/>
                <a:gd name="connsiteY350" fmla="*/ 58491 h 1333436"/>
                <a:gd name="connsiteX351" fmla="*/ 239629 w 752994"/>
                <a:gd name="connsiteY351" fmla="*/ 63376 h 1333436"/>
                <a:gd name="connsiteX352" fmla="*/ 236568 w 752994"/>
                <a:gd name="connsiteY352" fmla="*/ 67457 h 1333436"/>
                <a:gd name="connsiteX353" fmla="*/ 231264 w 752994"/>
                <a:gd name="connsiteY353" fmla="*/ 69905 h 1333436"/>
                <a:gd name="connsiteX354" fmla="*/ 216778 w 752994"/>
                <a:gd name="connsiteY354" fmla="*/ 82741 h 1333436"/>
                <a:gd name="connsiteX355" fmla="*/ 214134 w 752994"/>
                <a:gd name="connsiteY355" fmla="*/ 93536 h 1333436"/>
                <a:gd name="connsiteX356" fmla="*/ 214535 w 752994"/>
                <a:gd name="connsiteY356" fmla="*/ 96801 h 1333436"/>
                <a:gd name="connsiteX357" fmla="*/ 216378 w 752994"/>
                <a:gd name="connsiteY357" fmla="*/ 96801 h 1333436"/>
                <a:gd name="connsiteX358" fmla="*/ 230046 w 752994"/>
                <a:gd name="connsiteY358" fmla="*/ 85387 h 1333436"/>
                <a:gd name="connsiteX359" fmla="*/ 243298 w 752994"/>
                <a:gd name="connsiteY359" fmla="*/ 75198 h 1333436"/>
                <a:gd name="connsiteX360" fmla="*/ 246760 w 752994"/>
                <a:gd name="connsiteY360" fmla="*/ 77646 h 1333436"/>
                <a:gd name="connsiteX361" fmla="*/ 255541 w 752994"/>
                <a:gd name="connsiteY361" fmla="*/ 63376 h 1333436"/>
                <a:gd name="connsiteX362" fmla="*/ 259611 w 752994"/>
                <a:gd name="connsiteY362" fmla="*/ 43405 h 1333436"/>
                <a:gd name="connsiteX363" fmla="*/ 256967 w 752994"/>
                <a:gd name="connsiteY363" fmla="*/ 38520 h 1333436"/>
                <a:gd name="connsiteX364" fmla="*/ 253906 w 752994"/>
                <a:gd name="connsiteY364" fmla="*/ 34242 h 1333436"/>
                <a:gd name="connsiteX365" fmla="*/ 256967 w 752994"/>
                <a:gd name="connsiteY365" fmla="*/ 30161 h 1333436"/>
                <a:gd name="connsiteX366" fmla="*/ 262063 w 752994"/>
                <a:gd name="connsiteY366" fmla="*/ 27712 h 1333436"/>
                <a:gd name="connsiteX367" fmla="*/ 264915 w 752994"/>
                <a:gd name="connsiteY367" fmla="*/ 23026 h 1333436"/>
                <a:gd name="connsiteX368" fmla="*/ 267976 w 752994"/>
                <a:gd name="connsiteY368" fmla="*/ 22618 h 1333436"/>
                <a:gd name="connsiteX369" fmla="*/ 270427 w 752994"/>
                <a:gd name="connsiteY369" fmla="*/ 20787 h 1333436"/>
                <a:gd name="connsiteX370" fmla="*/ 263088 w 752994"/>
                <a:gd name="connsiteY370" fmla="*/ 13652 h 1333436"/>
                <a:gd name="connsiteX371" fmla="*/ 255541 w 752994"/>
                <a:gd name="connsiteY371" fmla="*/ 3055 h 1333436"/>
                <a:gd name="connsiteX372" fmla="*/ 256358 w 752994"/>
                <a:gd name="connsiteY372" fmla="*/ 1224 h 1333436"/>
                <a:gd name="connsiteX373" fmla="*/ 257159 w 752994"/>
                <a:gd name="connsiteY373"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517095 w 752994"/>
                <a:gd name="connsiteY13" fmla="*/ 1011463 h 1333436"/>
                <a:gd name="connsiteX14" fmla="*/ 404598 w 752994"/>
                <a:gd name="connsiteY14" fmla="*/ 971441 h 1333436"/>
                <a:gd name="connsiteX15" fmla="*/ 401744 w 752994"/>
                <a:gd name="connsiteY15" fmla="*/ 977573 h 1333436"/>
                <a:gd name="connsiteX16" fmla="*/ 517095 w 752994"/>
                <a:gd name="connsiteY16" fmla="*/ 1011463 h 1333436"/>
                <a:gd name="connsiteX17" fmla="*/ 184180 w 752994"/>
                <a:gd name="connsiteY17" fmla="*/ 213866 h 1333436"/>
                <a:gd name="connsiteX18" fmla="*/ 184117 w 752994"/>
                <a:gd name="connsiteY18" fmla="*/ 214326 h 1333436"/>
                <a:gd name="connsiteX19" fmla="*/ 185553 w 752994"/>
                <a:gd name="connsiteY19" fmla="*/ 222494 h 1333436"/>
                <a:gd name="connsiteX20" fmla="*/ 188600 w 752994"/>
                <a:gd name="connsiteY20" fmla="*/ 226970 h 1333436"/>
                <a:gd name="connsiteX21" fmla="*/ 195542 w 752994"/>
                <a:gd name="connsiteY21" fmla="*/ 231871 h 1333436"/>
                <a:gd name="connsiteX22" fmla="*/ 203093 w 752994"/>
                <a:gd name="connsiteY22" fmla="*/ 233896 h 1333436"/>
                <a:gd name="connsiteX23" fmla="*/ 217192 w 752994"/>
                <a:gd name="connsiteY23" fmla="*/ 232075 h 1333436"/>
                <a:gd name="connsiteX24" fmla="*/ 225136 w 752994"/>
                <a:gd name="connsiteY24" fmla="*/ 229829 h 1333436"/>
                <a:gd name="connsiteX25" fmla="*/ 235558 w 752994"/>
                <a:gd name="connsiteY25" fmla="*/ 232483 h 1333436"/>
                <a:gd name="connsiteX26" fmla="*/ 242499 w 752994"/>
                <a:gd name="connsiteY26" fmla="*/ 237163 h 1333436"/>
                <a:gd name="connsiteX27" fmla="*/ 248418 w 752994"/>
                <a:gd name="connsiteY27" fmla="*/ 244701 h 1333436"/>
                <a:gd name="connsiteX28" fmla="*/ 255359 w 752994"/>
                <a:gd name="connsiteY28" fmla="*/ 244906 h 1333436"/>
                <a:gd name="connsiteX29" fmla="*/ 258210 w 752994"/>
                <a:gd name="connsiteY29" fmla="*/ 244906 h 1333436"/>
                <a:gd name="connsiteX30" fmla="*/ 263303 w 752994"/>
                <a:gd name="connsiteY30" fmla="*/ 246131 h 1333436"/>
                <a:gd name="connsiteX31" fmla="*/ 269438 w 752994"/>
                <a:gd name="connsiteY31" fmla="*/ 243697 h 1333436"/>
                <a:gd name="connsiteX32" fmla="*/ 274944 w 752994"/>
                <a:gd name="connsiteY32" fmla="*/ 241451 h 1333436"/>
                <a:gd name="connsiteX33" fmla="*/ 281276 w 752994"/>
                <a:gd name="connsiteY33" fmla="*/ 245722 h 1333436"/>
                <a:gd name="connsiteX34" fmla="*/ 289240 w 752994"/>
                <a:gd name="connsiteY34" fmla="*/ 250419 h 1333436"/>
                <a:gd name="connsiteX35" fmla="*/ 297597 w 752994"/>
                <a:gd name="connsiteY35" fmla="*/ 248581 h 1333436"/>
                <a:gd name="connsiteX36" fmla="*/ 310261 w 752994"/>
                <a:gd name="connsiteY36" fmla="*/ 246539 h 1333436"/>
                <a:gd name="connsiteX37" fmla="*/ 324340 w 752994"/>
                <a:gd name="connsiteY37" fmla="*/ 244497 h 1333436"/>
                <a:gd name="connsiteX38" fmla="*/ 333523 w 752994"/>
                <a:gd name="connsiteY38" fmla="*/ 243289 h 1333436"/>
                <a:gd name="connsiteX39" fmla="*/ 341271 w 752994"/>
                <a:gd name="connsiteY39" fmla="*/ 246539 h 1333436"/>
                <a:gd name="connsiteX40" fmla="*/ 348428 w 752994"/>
                <a:gd name="connsiteY40" fmla="*/ 250011 h 1333436"/>
                <a:gd name="connsiteX41" fmla="*/ 351279 w 752994"/>
                <a:gd name="connsiteY41" fmla="*/ 247356 h 1333436"/>
                <a:gd name="connsiteX42" fmla="*/ 355566 w 752994"/>
                <a:gd name="connsiteY42" fmla="*/ 244293 h 1333436"/>
                <a:gd name="connsiteX43" fmla="*/ 365772 w 752994"/>
                <a:gd name="connsiteY43" fmla="*/ 248785 h 1333436"/>
                <a:gd name="connsiteX44" fmla="*/ 381483 w 752994"/>
                <a:gd name="connsiteY44" fmla="*/ 254912 h 1333436"/>
                <a:gd name="connsiteX45" fmla="*/ 381896 w 752994"/>
                <a:gd name="connsiteY45" fmla="*/ 255320 h 1333436"/>
                <a:gd name="connsiteX46" fmla="*/ 395366 w 752994"/>
                <a:gd name="connsiteY46" fmla="*/ 257753 h 1333436"/>
                <a:gd name="connsiteX47" fmla="*/ 414145 w 752994"/>
                <a:gd name="connsiteY47" fmla="*/ 262450 h 1333436"/>
                <a:gd name="connsiteX48" fmla="*/ 431292 w 752994"/>
                <a:gd name="connsiteY48" fmla="*/ 268151 h 1333436"/>
                <a:gd name="connsiteX49" fmla="*/ 445196 w 752994"/>
                <a:gd name="connsiteY49" fmla="*/ 269890 h 1333436"/>
                <a:gd name="connsiteX50" fmla="*/ 444145 w 752994"/>
                <a:gd name="connsiteY50" fmla="*/ 267441 h 1333436"/>
                <a:gd name="connsiteX51" fmla="*/ 444145 w 752994"/>
                <a:gd name="connsiteY51" fmla="*/ 267034 h 1333436"/>
                <a:gd name="connsiteX52" fmla="*/ 444155 w 752994"/>
                <a:gd name="connsiteY52" fmla="*/ 266811 h 1333436"/>
                <a:gd name="connsiteX53" fmla="*/ 430733 w 752994"/>
                <a:gd name="connsiteY53" fmla="*/ 265139 h 1333436"/>
                <a:gd name="connsiteX54" fmla="*/ 394839 w 752994"/>
                <a:gd name="connsiteY54" fmla="*/ 254739 h 1333436"/>
                <a:gd name="connsiteX55" fmla="*/ 381379 w 752994"/>
                <a:gd name="connsiteY55" fmla="*/ 252303 h 1333436"/>
                <a:gd name="connsiteX56" fmla="*/ 380962 w 752994"/>
                <a:gd name="connsiteY56" fmla="*/ 251895 h 1333436"/>
                <a:gd name="connsiteX57" fmla="*/ 365258 w 752994"/>
                <a:gd name="connsiteY57" fmla="*/ 245774 h 1333436"/>
                <a:gd name="connsiteX58" fmla="*/ 355067 w 752994"/>
                <a:gd name="connsiteY58" fmla="*/ 241285 h 1333436"/>
                <a:gd name="connsiteX59" fmla="*/ 350789 w 752994"/>
                <a:gd name="connsiteY59" fmla="*/ 244352 h 1333436"/>
                <a:gd name="connsiteX60" fmla="*/ 347920 w 752994"/>
                <a:gd name="connsiteY60" fmla="*/ 246998 h 1333436"/>
                <a:gd name="connsiteX61" fmla="*/ 340789 w 752994"/>
                <a:gd name="connsiteY61" fmla="*/ 243536 h 1333436"/>
                <a:gd name="connsiteX62" fmla="*/ 333034 w 752994"/>
                <a:gd name="connsiteY62" fmla="*/ 240271 h 1333436"/>
                <a:gd name="connsiteX63" fmla="*/ 323868 w 752994"/>
                <a:gd name="connsiteY63" fmla="*/ 241495 h 1333436"/>
                <a:gd name="connsiteX64" fmla="*/ 309783 w 752994"/>
                <a:gd name="connsiteY64" fmla="*/ 243536 h 1333436"/>
                <a:gd name="connsiteX65" fmla="*/ 297140 w 752994"/>
                <a:gd name="connsiteY65" fmla="*/ 245576 h 1333436"/>
                <a:gd name="connsiteX66" fmla="*/ 288775 w 752994"/>
                <a:gd name="connsiteY66" fmla="*/ 247406 h 1333436"/>
                <a:gd name="connsiteX67" fmla="*/ 280827 w 752994"/>
                <a:gd name="connsiteY67" fmla="*/ 242720 h 1333436"/>
                <a:gd name="connsiteX68" fmla="*/ 274497 w 752994"/>
                <a:gd name="connsiteY68" fmla="*/ 238441 h 1333436"/>
                <a:gd name="connsiteX69" fmla="*/ 269001 w 752994"/>
                <a:gd name="connsiteY69" fmla="*/ 240679 h 1333436"/>
                <a:gd name="connsiteX70" fmla="*/ 262880 w 752994"/>
                <a:gd name="connsiteY70" fmla="*/ 243128 h 1333436"/>
                <a:gd name="connsiteX71" fmla="*/ 260028 w 752994"/>
                <a:gd name="connsiteY71" fmla="*/ 242720 h 1333436"/>
                <a:gd name="connsiteX72" fmla="*/ 247994 w 752994"/>
                <a:gd name="connsiteY72" fmla="*/ 241693 h 1333436"/>
                <a:gd name="connsiteX73" fmla="*/ 242081 w 752994"/>
                <a:gd name="connsiteY73" fmla="*/ 234162 h 1333436"/>
                <a:gd name="connsiteX74" fmla="*/ 235142 w 752994"/>
                <a:gd name="connsiteY74" fmla="*/ 229476 h 1333436"/>
                <a:gd name="connsiteX75" fmla="*/ 224742 w 752994"/>
                <a:gd name="connsiteY75" fmla="*/ 226817 h 1333436"/>
                <a:gd name="connsiteX76" fmla="*/ 216778 w 752994"/>
                <a:gd name="connsiteY76" fmla="*/ 229068 h 1333436"/>
                <a:gd name="connsiteX77" fmla="*/ 202709 w 752994"/>
                <a:gd name="connsiteY77" fmla="*/ 230898 h 1333436"/>
                <a:gd name="connsiteX78" fmla="*/ 195162 w 752994"/>
                <a:gd name="connsiteY78" fmla="*/ 228857 h 1333436"/>
                <a:gd name="connsiteX79" fmla="*/ 188223 w 752994"/>
                <a:gd name="connsiteY79" fmla="*/ 223973 h 1333436"/>
                <a:gd name="connsiteX80" fmla="*/ 185163 w 752994"/>
                <a:gd name="connsiteY80" fmla="*/ 219484 h 1333436"/>
                <a:gd name="connsiteX81" fmla="*/ 184180 w 752994"/>
                <a:gd name="connsiteY81" fmla="*/ 213866 h 1333436"/>
                <a:gd name="connsiteX82" fmla="*/ 257159 w 752994"/>
                <a:gd name="connsiteY82" fmla="*/ 0 h 1333436"/>
                <a:gd name="connsiteX83" fmla="*/ 493147 w 752994"/>
                <a:gd name="connsiteY83" fmla="*/ 73157 h 1333436"/>
                <a:gd name="connsiteX84" fmla="*/ 492970 w 752994"/>
                <a:gd name="connsiteY84" fmla="*/ 73792 h 1333436"/>
                <a:gd name="connsiteX85" fmla="*/ 525816 w 752994"/>
                <a:gd name="connsiteY85" fmla="*/ 82491 h 1333436"/>
                <a:gd name="connsiteX86" fmla="*/ 520098 w 752994"/>
                <a:gd name="connsiteY86" fmla="*/ 111245 h 1333436"/>
                <a:gd name="connsiteX87" fmla="*/ 512552 w 752994"/>
                <a:gd name="connsiteY87" fmla="*/ 143854 h 1333436"/>
                <a:gd name="connsiteX88" fmla="*/ 517849 w 752994"/>
                <a:gd name="connsiteY88" fmla="*/ 157740 h 1333436"/>
                <a:gd name="connsiteX89" fmla="*/ 523160 w 752994"/>
                <a:gd name="connsiteY89" fmla="*/ 172009 h 1333436"/>
                <a:gd name="connsiteX90" fmla="*/ 521535 w 752994"/>
                <a:gd name="connsiteY90" fmla="*/ 178928 h 1333436"/>
                <a:gd name="connsiteX91" fmla="*/ 520098 w 752994"/>
                <a:gd name="connsiteY91" fmla="*/ 186279 h 1333436"/>
                <a:gd name="connsiteX92" fmla="*/ 526019 w 752994"/>
                <a:gd name="connsiteY92" fmla="*/ 193629 h 1333436"/>
                <a:gd name="connsiteX93" fmla="*/ 537251 w 752994"/>
                <a:gd name="connsiteY93" fmla="*/ 206270 h 1333436"/>
                <a:gd name="connsiteX94" fmla="*/ 542765 w 752994"/>
                <a:gd name="connsiteY94" fmla="*/ 217475 h 1333436"/>
                <a:gd name="connsiteX95" fmla="*/ 546857 w 752994"/>
                <a:gd name="connsiteY95" fmla="*/ 230930 h 1333436"/>
                <a:gd name="connsiteX96" fmla="*/ 549499 w 752994"/>
                <a:gd name="connsiteY96" fmla="*/ 235622 h 1333436"/>
                <a:gd name="connsiteX97" fmla="*/ 553388 w 752994"/>
                <a:gd name="connsiteY97" fmla="*/ 240722 h 1333436"/>
                <a:gd name="connsiteX98" fmla="*/ 557465 w 752994"/>
                <a:gd name="connsiteY98" fmla="*/ 246037 h 1333436"/>
                <a:gd name="connsiteX99" fmla="*/ 561761 w 752994"/>
                <a:gd name="connsiteY99" fmla="*/ 248671 h 1333436"/>
                <a:gd name="connsiteX100" fmla="*/ 567478 w 752994"/>
                <a:gd name="connsiteY100" fmla="*/ 247665 h 1333436"/>
                <a:gd name="connsiteX101" fmla="*/ 569931 w 752994"/>
                <a:gd name="connsiteY101" fmla="*/ 249293 h 1333436"/>
                <a:gd name="connsiteX102" fmla="*/ 570540 w 752994"/>
                <a:gd name="connsiteY102" fmla="*/ 251951 h 1333436"/>
                <a:gd name="connsiteX103" fmla="*/ 561964 w 752994"/>
                <a:gd name="connsiteY103" fmla="*/ 267656 h 1333436"/>
                <a:gd name="connsiteX104" fmla="*/ 553591 w 752994"/>
                <a:gd name="connsiteY104" fmla="*/ 289659 h 1333436"/>
                <a:gd name="connsiteX105" fmla="*/ 554810 w 752994"/>
                <a:gd name="connsiteY105" fmla="*/ 292939 h 1333436"/>
                <a:gd name="connsiteX106" fmla="*/ 556246 w 752994"/>
                <a:gd name="connsiteY106" fmla="*/ 299260 h 1333436"/>
                <a:gd name="connsiteX107" fmla="*/ 552778 w 752994"/>
                <a:gd name="connsiteY107" fmla="*/ 301917 h 1333436"/>
                <a:gd name="connsiteX108" fmla="*/ 549295 w 752994"/>
                <a:gd name="connsiteY108" fmla="*/ 306993 h 1333436"/>
                <a:gd name="connsiteX109" fmla="*/ 547061 w 752994"/>
                <a:gd name="connsiteY109" fmla="*/ 313122 h 1333436"/>
                <a:gd name="connsiteX110" fmla="*/ 544811 w 752994"/>
                <a:gd name="connsiteY110" fmla="*/ 316593 h 1333436"/>
                <a:gd name="connsiteX111" fmla="*/ 549919 w 752994"/>
                <a:gd name="connsiteY111" fmla="*/ 322698 h 1333436"/>
                <a:gd name="connsiteX112" fmla="*/ 553184 w 752994"/>
                <a:gd name="connsiteY112" fmla="*/ 325955 h 1333436"/>
                <a:gd name="connsiteX113" fmla="*/ 555840 w 752994"/>
                <a:gd name="connsiteY113" fmla="*/ 328205 h 1333436"/>
                <a:gd name="connsiteX114" fmla="*/ 574212 w 752994"/>
                <a:gd name="connsiteY114" fmla="*/ 318820 h 1333436"/>
                <a:gd name="connsiteX115" fmla="*/ 579523 w 752994"/>
                <a:gd name="connsiteY115" fmla="*/ 326577 h 1333436"/>
                <a:gd name="connsiteX116" fmla="*/ 580539 w 752994"/>
                <a:gd name="connsiteY116" fmla="*/ 334933 h 1333436"/>
                <a:gd name="connsiteX117" fmla="*/ 579726 w 752994"/>
                <a:gd name="connsiteY117" fmla="*/ 343097 h 1333436"/>
                <a:gd name="connsiteX118" fmla="*/ 581366 w 752994"/>
                <a:gd name="connsiteY118" fmla="*/ 350231 h 1333436"/>
                <a:gd name="connsiteX119" fmla="*/ 586256 w 752994"/>
                <a:gd name="connsiteY119" fmla="*/ 355930 h 1333436"/>
                <a:gd name="connsiteX120" fmla="*/ 589536 w 752994"/>
                <a:gd name="connsiteY120" fmla="*/ 362059 h 1333436"/>
                <a:gd name="connsiteX121" fmla="*/ 588099 w 752994"/>
                <a:gd name="connsiteY121" fmla="*/ 369600 h 1333436"/>
                <a:gd name="connsiteX122" fmla="*/ 586459 w 752994"/>
                <a:gd name="connsiteY122" fmla="*/ 377357 h 1333436"/>
                <a:gd name="connsiteX123" fmla="*/ 588709 w 752994"/>
                <a:gd name="connsiteY123" fmla="*/ 381835 h 1333436"/>
                <a:gd name="connsiteX124" fmla="*/ 595036 w 752994"/>
                <a:gd name="connsiteY124" fmla="*/ 382457 h 1333436"/>
                <a:gd name="connsiteX125" fmla="*/ 599331 w 752994"/>
                <a:gd name="connsiteY125" fmla="*/ 385306 h 1333436"/>
                <a:gd name="connsiteX126" fmla="*/ 601987 w 752994"/>
                <a:gd name="connsiteY126" fmla="*/ 391004 h 1333436"/>
                <a:gd name="connsiteX127" fmla="*/ 602799 w 752994"/>
                <a:gd name="connsiteY127" fmla="*/ 404076 h 1333436"/>
                <a:gd name="connsiteX128" fmla="*/ 606892 w 752994"/>
                <a:gd name="connsiteY128" fmla="*/ 415688 h 1333436"/>
                <a:gd name="connsiteX129" fmla="*/ 610563 w 752994"/>
                <a:gd name="connsiteY129" fmla="*/ 412217 h 1333436"/>
                <a:gd name="connsiteX130" fmla="*/ 617920 w 752994"/>
                <a:gd name="connsiteY130" fmla="*/ 408769 h 1333436"/>
                <a:gd name="connsiteX131" fmla="*/ 624654 w 752994"/>
                <a:gd name="connsiteY131" fmla="*/ 411211 h 1333436"/>
                <a:gd name="connsiteX132" fmla="*/ 634652 w 752994"/>
                <a:gd name="connsiteY132" fmla="*/ 410182 h 1333436"/>
                <a:gd name="connsiteX133" fmla="*/ 640573 w 752994"/>
                <a:gd name="connsiteY133" fmla="*/ 407739 h 1333436"/>
                <a:gd name="connsiteX134" fmla="*/ 646711 w 752994"/>
                <a:gd name="connsiteY134" fmla="*/ 410589 h 1333436"/>
                <a:gd name="connsiteX135" fmla="*/ 650383 w 752994"/>
                <a:gd name="connsiteY135" fmla="*/ 410589 h 1333436"/>
                <a:gd name="connsiteX136" fmla="*/ 654257 w 752994"/>
                <a:gd name="connsiteY136" fmla="*/ 411618 h 1333436"/>
                <a:gd name="connsiteX137" fmla="*/ 656913 w 752994"/>
                <a:gd name="connsiteY137" fmla="*/ 413653 h 1333436"/>
                <a:gd name="connsiteX138" fmla="*/ 660802 w 752994"/>
                <a:gd name="connsiteY138" fmla="*/ 415090 h 1333436"/>
                <a:gd name="connsiteX139" fmla="*/ 669581 w 752994"/>
                <a:gd name="connsiteY139" fmla="*/ 415904 h 1333436"/>
                <a:gd name="connsiteX140" fmla="*/ 672237 w 752994"/>
                <a:gd name="connsiteY140" fmla="*/ 415688 h 1333436"/>
                <a:gd name="connsiteX141" fmla="*/ 675705 w 752994"/>
                <a:gd name="connsiteY141" fmla="*/ 409367 h 1333436"/>
                <a:gd name="connsiteX142" fmla="*/ 679986 w 752994"/>
                <a:gd name="connsiteY142" fmla="*/ 403238 h 1333436"/>
                <a:gd name="connsiteX143" fmla="*/ 693264 w 752994"/>
                <a:gd name="connsiteY143" fmla="*/ 419567 h 1333436"/>
                <a:gd name="connsiteX144" fmla="*/ 688563 w 752994"/>
                <a:gd name="connsiteY144" fmla="*/ 448321 h 1333436"/>
                <a:gd name="connsiteX145" fmla="*/ 663949 w 752994"/>
                <a:gd name="connsiteY145" fmla="*/ 590165 h 1333436"/>
                <a:gd name="connsiteX146" fmla="*/ 666304 w 752994"/>
                <a:gd name="connsiteY146" fmla="*/ 590504 h 1333436"/>
                <a:gd name="connsiteX147" fmla="*/ 655288 w 752994"/>
                <a:gd name="connsiteY147" fmla="*/ 656178 h 1333436"/>
                <a:gd name="connsiteX148" fmla="*/ 681808 w 752994"/>
                <a:gd name="connsiteY148" fmla="*/ 662301 h 1333436"/>
                <a:gd name="connsiteX149" fmla="*/ 752994 w 752994"/>
                <a:gd name="connsiteY149" fmla="*/ 675560 h 1333436"/>
                <a:gd name="connsiteX150" fmla="*/ 714651 w 752994"/>
                <a:gd name="connsiteY150" fmla="*/ 946985 h 1333436"/>
                <a:gd name="connsiteX151" fmla="*/ 654533 w 752994"/>
                <a:gd name="connsiteY151" fmla="*/ 1333436 h 1333436"/>
                <a:gd name="connsiteX152" fmla="*/ 546831 w 752994"/>
                <a:gd name="connsiteY152" fmla="*/ 1317126 h 1333436"/>
                <a:gd name="connsiteX153" fmla="*/ 351227 w 752994"/>
                <a:gd name="connsiteY153" fmla="*/ 1194172 h 1333436"/>
                <a:gd name="connsiteX154" fmla="*/ 361011 w 752994"/>
                <a:gd name="connsiteY154" fmla="*/ 1182755 h 1333436"/>
                <a:gd name="connsiteX155" fmla="*/ 368981 w 752994"/>
                <a:gd name="connsiteY155" fmla="*/ 1182130 h 1333436"/>
                <a:gd name="connsiteX156" fmla="*/ 369571 w 752994"/>
                <a:gd name="connsiteY156" fmla="*/ 1181558 h 1333436"/>
                <a:gd name="connsiteX157" fmla="*/ 362372 w 752994"/>
                <a:gd name="connsiteY157" fmla="*/ 1182120 h 1333436"/>
                <a:gd name="connsiteX158" fmla="*/ 229464 w 752994"/>
                <a:gd name="connsiteY158" fmla="*/ 1161721 h 1333436"/>
                <a:gd name="connsiteX159" fmla="*/ 227427 w 752994"/>
                <a:gd name="connsiteY159" fmla="*/ 1157269 h 1333436"/>
                <a:gd name="connsiteX160" fmla="*/ 224967 w 752994"/>
                <a:gd name="connsiteY160" fmla="*/ 1152575 h 1333436"/>
                <a:gd name="connsiteX161" fmla="*/ 225582 w 752994"/>
                <a:gd name="connsiteY161" fmla="*/ 1144808 h 1333436"/>
                <a:gd name="connsiteX162" fmla="*/ 227215 w 752994"/>
                <a:gd name="connsiteY162" fmla="*/ 1135834 h 1333436"/>
                <a:gd name="connsiteX163" fmla="*/ 227215 w 752994"/>
                <a:gd name="connsiteY163" fmla="*/ 1134212 h 1333436"/>
                <a:gd name="connsiteX164" fmla="*/ 225179 w 752994"/>
                <a:gd name="connsiteY164" fmla="*/ 1114020 h 1333436"/>
                <a:gd name="connsiteX165" fmla="*/ 217839 w 752994"/>
                <a:gd name="connsiteY165" fmla="*/ 1100352 h 1333436"/>
                <a:gd name="connsiteX166" fmla="*/ 199661 w 752994"/>
                <a:gd name="connsiteY166" fmla="*/ 1076502 h 1333436"/>
                <a:gd name="connsiteX167" fmla="*/ 196395 w 752994"/>
                <a:gd name="connsiteY167" fmla="*/ 1071807 h 1333436"/>
                <a:gd name="connsiteX168" fmla="*/ 190880 w 752994"/>
                <a:gd name="connsiteY168" fmla="*/ 1067527 h 1333436"/>
                <a:gd name="connsiteX169" fmla="*/ 187210 w 752994"/>
                <a:gd name="connsiteY169" fmla="*/ 1068735 h 1333436"/>
                <a:gd name="connsiteX170" fmla="*/ 180062 w 752994"/>
                <a:gd name="connsiteY170" fmla="*/ 1066699 h 1333436"/>
                <a:gd name="connsiteX171" fmla="*/ 180466 w 752994"/>
                <a:gd name="connsiteY171" fmla="*/ 1053031 h 1333436"/>
                <a:gd name="connsiteX172" fmla="*/ 180062 w 752994"/>
                <a:gd name="connsiteY172" fmla="*/ 1045299 h 1333436"/>
                <a:gd name="connsiteX173" fmla="*/ 174144 w 752994"/>
                <a:gd name="connsiteY173" fmla="*/ 1044057 h 1333436"/>
                <a:gd name="connsiteX174" fmla="*/ 158426 w 752994"/>
                <a:gd name="connsiteY174" fmla="*/ 1042641 h 1333436"/>
                <a:gd name="connsiteX175" fmla="*/ 149857 w 752994"/>
                <a:gd name="connsiteY175" fmla="*/ 1035497 h 1333436"/>
                <a:gd name="connsiteX176" fmla="*/ 142497 w 752994"/>
                <a:gd name="connsiteY176" fmla="*/ 1028766 h 1333436"/>
                <a:gd name="connsiteX177" fmla="*/ 140864 w 752994"/>
                <a:gd name="connsiteY177" fmla="*/ 1020620 h 1333436"/>
                <a:gd name="connsiteX178" fmla="*/ 138212 w 752994"/>
                <a:gd name="connsiteY178" fmla="*/ 1013061 h 1333436"/>
                <a:gd name="connsiteX179" fmla="*/ 131064 w 752994"/>
                <a:gd name="connsiteY179" fmla="*/ 1007159 h 1333436"/>
                <a:gd name="connsiteX180" fmla="*/ 121264 w 752994"/>
                <a:gd name="connsiteY180" fmla="*/ 1005330 h 1333436"/>
                <a:gd name="connsiteX181" fmla="*/ 112483 w 752994"/>
                <a:gd name="connsiteY181" fmla="*/ 1001671 h 1333436"/>
                <a:gd name="connsiteX182" fmla="*/ 105950 w 752994"/>
                <a:gd name="connsiteY182" fmla="*/ 995734 h 1333436"/>
                <a:gd name="connsiteX183" fmla="*/ 97380 w 752994"/>
                <a:gd name="connsiteY183" fmla="*/ 994526 h 1333436"/>
                <a:gd name="connsiteX184" fmla="*/ 87984 w 752994"/>
                <a:gd name="connsiteY184" fmla="*/ 991040 h 1333436"/>
                <a:gd name="connsiteX185" fmla="*/ 80029 w 752994"/>
                <a:gd name="connsiteY185" fmla="*/ 985138 h 1333436"/>
                <a:gd name="connsiteX186" fmla="*/ 77166 w 752994"/>
                <a:gd name="connsiteY186" fmla="*/ 976164 h 1333436"/>
                <a:gd name="connsiteX187" fmla="*/ 79203 w 752994"/>
                <a:gd name="connsiteY187" fmla="*/ 970676 h 1333436"/>
                <a:gd name="connsiteX188" fmla="*/ 82470 w 752994"/>
                <a:gd name="connsiteY188" fmla="*/ 963117 h 1333436"/>
                <a:gd name="connsiteX189" fmla="*/ 84314 w 752994"/>
                <a:gd name="connsiteY189" fmla="*/ 954557 h 1333436"/>
                <a:gd name="connsiteX190" fmla="*/ 86351 w 752994"/>
                <a:gd name="connsiteY190" fmla="*/ 948033 h 1333436"/>
                <a:gd name="connsiteX191" fmla="*/ 86159 w 752994"/>
                <a:gd name="connsiteY191" fmla="*/ 942925 h 1333436"/>
                <a:gd name="connsiteX192" fmla="*/ 83085 w 752994"/>
                <a:gd name="connsiteY192" fmla="*/ 939853 h 1333436"/>
                <a:gd name="connsiteX193" fmla="*/ 77570 w 752994"/>
                <a:gd name="connsiteY193" fmla="*/ 937437 h 1333436"/>
                <a:gd name="connsiteX194" fmla="*/ 76763 w 752994"/>
                <a:gd name="connsiteY194" fmla="*/ 931915 h 1333436"/>
                <a:gd name="connsiteX195" fmla="*/ 78800 w 752994"/>
                <a:gd name="connsiteY195" fmla="*/ 927013 h 1333436"/>
                <a:gd name="connsiteX196" fmla="*/ 79626 w 752994"/>
                <a:gd name="connsiteY196" fmla="*/ 922526 h 1333436"/>
                <a:gd name="connsiteX197" fmla="*/ 77781 w 752994"/>
                <a:gd name="connsiteY197" fmla="*/ 919903 h 1333436"/>
                <a:gd name="connsiteX198" fmla="*/ 74303 w 752994"/>
                <a:gd name="connsiteY198" fmla="*/ 917418 h 1333436"/>
                <a:gd name="connsiteX199" fmla="*/ 71863 w 752994"/>
                <a:gd name="connsiteY199" fmla="*/ 915174 h 1333436"/>
                <a:gd name="connsiteX200" fmla="*/ 71652 w 752994"/>
                <a:gd name="connsiteY200" fmla="*/ 910894 h 1333436"/>
                <a:gd name="connsiteX201" fmla="*/ 70633 w 752994"/>
                <a:gd name="connsiteY201" fmla="*/ 906614 h 1333436"/>
                <a:gd name="connsiteX202" fmla="*/ 68385 w 752994"/>
                <a:gd name="connsiteY202" fmla="*/ 902749 h 1333436"/>
                <a:gd name="connsiteX203" fmla="*/ 61045 w 752994"/>
                <a:gd name="connsiteY203" fmla="*/ 889494 h 1333436"/>
                <a:gd name="connsiteX204" fmla="*/ 57971 w 752994"/>
                <a:gd name="connsiteY204" fmla="*/ 875619 h 1333436"/>
                <a:gd name="connsiteX205" fmla="*/ 52264 w 752994"/>
                <a:gd name="connsiteY205" fmla="*/ 862572 h 1333436"/>
                <a:gd name="connsiteX206" fmla="*/ 44309 w 752994"/>
                <a:gd name="connsiteY206" fmla="*/ 850561 h 1333436"/>
                <a:gd name="connsiteX207" fmla="*/ 45520 w 752994"/>
                <a:gd name="connsiteY207" fmla="*/ 827090 h 1333436"/>
                <a:gd name="connsiteX208" fmla="*/ 53071 w 752994"/>
                <a:gd name="connsiteY208" fmla="*/ 822396 h 1333436"/>
                <a:gd name="connsiteX209" fmla="*/ 57375 w 752994"/>
                <a:gd name="connsiteY209" fmla="*/ 816493 h 1333436"/>
                <a:gd name="connsiteX210" fmla="*/ 55319 w 752994"/>
                <a:gd name="connsiteY210" fmla="*/ 801617 h 1333436"/>
                <a:gd name="connsiteX211" fmla="*/ 48383 w 752994"/>
                <a:gd name="connsiteY211" fmla="*/ 802204 h 1333436"/>
                <a:gd name="connsiteX212" fmla="*/ 40428 w 752994"/>
                <a:gd name="connsiteY212" fmla="*/ 797924 h 1333436"/>
                <a:gd name="connsiteX213" fmla="*/ 37565 w 752994"/>
                <a:gd name="connsiteY213" fmla="*/ 790606 h 1333436"/>
                <a:gd name="connsiteX214" fmla="*/ 37565 w 752994"/>
                <a:gd name="connsiteY214" fmla="*/ 790399 h 1333436"/>
                <a:gd name="connsiteX215" fmla="*/ 35931 w 752994"/>
                <a:gd name="connsiteY215" fmla="*/ 785912 h 1333436"/>
                <a:gd name="connsiteX216" fmla="*/ 34510 w 752994"/>
                <a:gd name="connsiteY216" fmla="*/ 780597 h 1333436"/>
                <a:gd name="connsiteX217" fmla="*/ 36335 w 752994"/>
                <a:gd name="connsiteY217" fmla="*/ 774280 h 1333436"/>
                <a:gd name="connsiteX218" fmla="*/ 38180 w 752994"/>
                <a:gd name="connsiteY218" fmla="*/ 766721 h 1333436"/>
                <a:gd name="connsiteX219" fmla="*/ 37161 w 752994"/>
                <a:gd name="connsiteY219" fmla="*/ 760405 h 1333436"/>
                <a:gd name="connsiteX220" fmla="*/ 35720 w 752994"/>
                <a:gd name="connsiteY220" fmla="*/ 754710 h 1333436"/>
                <a:gd name="connsiteX221" fmla="*/ 36546 w 752994"/>
                <a:gd name="connsiteY221" fmla="*/ 748773 h 1333436"/>
                <a:gd name="connsiteX222" fmla="*/ 38372 w 752994"/>
                <a:gd name="connsiteY222" fmla="*/ 744528 h 1333436"/>
                <a:gd name="connsiteX223" fmla="*/ 41638 w 752994"/>
                <a:gd name="connsiteY223" fmla="*/ 744321 h 1333436"/>
                <a:gd name="connsiteX224" fmla="*/ 44713 w 752994"/>
                <a:gd name="connsiteY224" fmla="*/ 746357 h 1333436"/>
                <a:gd name="connsiteX225" fmla="*/ 47364 w 752994"/>
                <a:gd name="connsiteY225" fmla="*/ 753260 h 1333436"/>
                <a:gd name="connsiteX226" fmla="*/ 55742 w 752994"/>
                <a:gd name="connsiteY226" fmla="*/ 764305 h 1333436"/>
                <a:gd name="connsiteX227" fmla="*/ 56338 w 752994"/>
                <a:gd name="connsiteY227" fmla="*/ 761233 h 1333436"/>
                <a:gd name="connsiteX228" fmla="*/ 56145 w 752994"/>
                <a:gd name="connsiteY228" fmla="*/ 757368 h 1333436"/>
                <a:gd name="connsiteX229" fmla="*/ 54916 w 752994"/>
                <a:gd name="connsiteY229" fmla="*/ 748601 h 1333436"/>
                <a:gd name="connsiteX230" fmla="*/ 52879 w 752994"/>
                <a:gd name="connsiteY230" fmla="*/ 747358 h 1333436"/>
                <a:gd name="connsiteX231" fmla="*/ 51649 w 752994"/>
                <a:gd name="connsiteY231" fmla="*/ 745322 h 1333436"/>
                <a:gd name="connsiteX232" fmla="*/ 51649 w 752994"/>
                <a:gd name="connsiteY232" fmla="*/ 739212 h 1333436"/>
                <a:gd name="connsiteX233" fmla="*/ 50227 w 752994"/>
                <a:gd name="connsiteY233" fmla="*/ 734725 h 1333436"/>
                <a:gd name="connsiteX234" fmla="*/ 48786 w 752994"/>
                <a:gd name="connsiteY234" fmla="*/ 731446 h 1333436"/>
                <a:gd name="connsiteX235" fmla="*/ 54512 w 752994"/>
                <a:gd name="connsiteY235" fmla="*/ 726372 h 1333436"/>
                <a:gd name="connsiteX236" fmla="*/ 59815 w 752994"/>
                <a:gd name="connsiteY236" fmla="*/ 725130 h 1333436"/>
                <a:gd name="connsiteX237" fmla="*/ 58182 w 752994"/>
                <a:gd name="connsiteY237" fmla="*/ 722886 h 1333436"/>
                <a:gd name="connsiteX238" fmla="*/ 51861 w 752994"/>
                <a:gd name="connsiteY238" fmla="*/ 717985 h 1333436"/>
                <a:gd name="connsiteX239" fmla="*/ 46749 w 752994"/>
                <a:gd name="connsiteY239" fmla="*/ 729617 h 1333436"/>
                <a:gd name="connsiteX240" fmla="*/ 40831 w 752994"/>
                <a:gd name="connsiteY240" fmla="*/ 739212 h 1333436"/>
                <a:gd name="connsiteX241" fmla="*/ 39601 w 752994"/>
                <a:gd name="connsiteY241" fmla="*/ 738798 h 1333436"/>
                <a:gd name="connsiteX242" fmla="*/ 39409 w 752994"/>
                <a:gd name="connsiteY242" fmla="*/ 738591 h 1333436"/>
                <a:gd name="connsiteX243" fmla="*/ 37161 w 752994"/>
                <a:gd name="connsiteY243" fmla="*/ 734725 h 1333436"/>
                <a:gd name="connsiteX244" fmla="*/ 32665 w 752994"/>
                <a:gd name="connsiteY244" fmla="*/ 727788 h 1333436"/>
                <a:gd name="connsiteX245" fmla="*/ 26747 w 752994"/>
                <a:gd name="connsiteY245" fmla="*/ 719435 h 1333436"/>
                <a:gd name="connsiteX246" fmla="*/ 23884 w 752994"/>
                <a:gd name="connsiteY246" fmla="*/ 717812 h 1333436"/>
                <a:gd name="connsiteX247" fmla="*/ 24710 w 752994"/>
                <a:gd name="connsiteY247" fmla="*/ 709632 h 1333436"/>
                <a:gd name="connsiteX248" fmla="*/ 27554 w 752994"/>
                <a:gd name="connsiteY248" fmla="*/ 701694 h 1333436"/>
                <a:gd name="connsiteX249" fmla="*/ 24902 w 752994"/>
                <a:gd name="connsiteY249" fmla="*/ 696171 h 1333436"/>
                <a:gd name="connsiteX250" fmla="*/ 24095 w 752994"/>
                <a:gd name="connsiteY250" fmla="*/ 687818 h 1333436"/>
                <a:gd name="connsiteX251" fmla="*/ 22462 w 752994"/>
                <a:gd name="connsiteY251" fmla="*/ 682330 h 1333436"/>
                <a:gd name="connsiteX252" fmla="*/ 17159 w 752994"/>
                <a:gd name="connsiteY252" fmla="*/ 677636 h 1333436"/>
                <a:gd name="connsiteX253" fmla="*/ 14296 w 752994"/>
                <a:gd name="connsiteY253" fmla="*/ 671492 h 1333436"/>
                <a:gd name="connsiteX254" fmla="*/ 12451 w 752994"/>
                <a:gd name="connsiteY254" fmla="*/ 665797 h 1333436"/>
                <a:gd name="connsiteX255" fmla="*/ 5111 w 752994"/>
                <a:gd name="connsiteY255" fmla="*/ 654994 h 1333436"/>
                <a:gd name="connsiteX256" fmla="*/ 2248 w 752994"/>
                <a:gd name="connsiteY256" fmla="*/ 645605 h 1333436"/>
                <a:gd name="connsiteX257" fmla="*/ 4496 w 752994"/>
                <a:gd name="connsiteY257" fmla="*/ 640497 h 1333436"/>
                <a:gd name="connsiteX258" fmla="*/ 6744 w 752994"/>
                <a:gd name="connsiteY258" fmla="*/ 632765 h 1333436"/>
                <a:gd name="connsiteX259" fmla="*/ 6744 w 752994"/>
                <a:gd name="connsiteY259" fmla="*/ 628485 h 1333436"/>
                <a:gd name="connsiteX260" fmla="*/ 6533 w 752994"/>
                <a:gd name="connsiteY260" fmla="*/ 620305 h 1333436"/>
                <a:gd name="connsiteX261" fmla="*/ 7359 w 752994"/>
                <a:gd name="connsiteY261" fmla="*/ 611745 h 1333436"/>
                <a:gd name="connsiteX262" fmla="*/ 11836 w 752994"/>
                <a:gd name="connsiteY262" fmla="*/ 602978 h 1333436"/>
                <a:gd name="connsiteX263" fmla="*/ 15103 w 752994"/>
                <a:gd name="connsiteY263" fmla="*/ 591760 h 1333436"/>
                <a:gd name="connsiteX264" fmla="*/ 14488 w 752994"/>
                <a:gd name="connsiteY264" fmla="*/ 584029 h 1333436"/>
                <a:gd name="connsiteX265" fmla="*/ 13873 w 752994"/>
                <a:gd name="connsiteY265" fmla="*/ 578299 h 1333436"/>
                <a:gd name="connsiteX266" fmla="*/ 10626 w 752994"/>
                <a:gd name="connsiteY266" fmla="*/ 568531 h 1333436"/>
                <a:gd name="connsiteX267" fmla="*/ 3670 w 752994"/>
                <a:gd name="connsiteY267" fmla="*/ 558107 h 1333436"/>
                <a:gd name="connsiteX268" fmla="*/ 0 w 752994"/>
                <a:gd name="connsiteY268" fmla="*/ 551377 h 1333436"/>
                <a:gd name="connsiteX269" fmla="*/ 0 w 752994"/>
                <a:gd name="connsiteY269" fmla="*/ 550997 h 1333436"/>
                <a:gd name="connsiteX270" fmla="*/ 4900 w 752994"/>
                <a:gd name="connsiteY270" fmla="*/ 531220 h 1333436"/>
                <a:gd name="connsiteX271" fmla="*/ 13873 w 752994"/>
                <a:gd name="connsiteY271" fmla="*/ 520589 h 1333436"/>
                <a:gd name="connsiteX272" fmla="*/ 18369 w 752994"/>
                <a:gd name="connsiteY272" fmla="*/ 516516 h 1333436"/>
                <a:gd name="connsiteX273" fmla="*/ 18773 w 752994"/>
                <a:gd name="connsiteY273" fmla="*/ 514272 h 1333436"/>
                <a:gd name="connsiteX274" fmla="*/ 23077 w 752994"/>
                <a:gd name="connsiteY274" fmla="*/ 506127 h 1333436"/>
                <a:gd name="connsiteX275" fmla="*/ 23884 w 752994"/>
                <a:gd name="connsiteY275" fmla="*/ 502261 h 1333436"/>
                <a:gd name="connsiteX276" fmla="*/ 23692 w 752994"/>
                <a:gd name="connsiteY276" fmla="*/ 496738 h 1333436"/>
                <a:gd name="connsiteX277" fmla="*/ 30013 w 752994"/>
                <a:gd name="connsiteY277" fmla="*/ 486556 h 1333436"/>
                <a:gd name="connsiteX278" fmla="*/ 36546 w 752994"/>
                <a:gd name="connsiteY278" fmla="*/ 470230 h 1333436"/>
                <a:gd name="connsiteX279" fmla="*/ 36546 w 752994"/>
                <a:gd name="connsiteY279" fmla="*/ 462671 h 1333436"/>
                <a:gd name="connsiteX280" fmla="*/ 36335 w 752994"/>
                <a:gd name="connsiteY280" fmla="*/ 461670 h 1333436"/>
                <a:gd name="connsiteX281" fmla="*/ 35931 w 752994"/>
                <a:gd name="connsiteY281" fmla="*/ 453110 h 1333436"/>
                <a:gd name="connsiteX282" fmla="*/ 38583 w 752994"/>
                <a:gd name="connsiteY282" fmla="*/ 442514 h 1333436"/>
                <a:gd name="connsiteX283" fmla="*/ 41043 w 752994"/>
                <a:gd name="connsiteY283" fmla="*/ 436991 h 1333436"/>
                <a:gd name="connsiteX284" fmla="*/ 41650 w 752994"/>
                <a:gd name="connsiteY284" fmla="*/ 437186 h 1333436"/>
                <a:gd name="connsiteX285" fmla="*/ 41239 w 752994"/>
                <a:gd name="connsiteY285" fmla="*/ 436549 h 1333436"/>
                <a:gd name="connsiteX286" fmla="*/ 37778 w 752994"/>
                <a:gd name="connsiteY286" fmla="*/ 433894 h 1333436"/>
                <a:gd name="connsiteX287" fmla="*/ 37169 w 752994"/>
                <a:gd name="connsiteY287" fmla="*/ 432261 h 1333436"/>
                <a:gd name="connsiteX288" fmla="*/ 37365 w 752994"/>
                <a:gd name="connsiteY288" fmla="*/ 429198 h 1333436"/>
                <a:gd name="connsiteX289" fmla="*/ 36756 w 752994"/>
                <a:gd name="connsiteY289" fmla="*/ 422272 h 1333436"/>
                <a:gd name="connsiteX290" fmla="*/ 36952 w 752994"/>
                <a:gd name="connsiteY290" fmla="*/ 418800 h 1333436"/>
                <a:gd name="connsiteX291" fmla="*/ 36756 w 752994"/>
                <a:gd name="connsiteY291" fmla="*/ 412487 h 1333436"/>
                <a:gd name="connsiteX292" fmla="*/ 40433 w 752994"/>
                <a:gd name="connsiteY292" fmla="*/ 406174 h 1333436"/>
                <a:gd name="connsiteX293" fmla="*/ 44720 w 752994"/>
                <a:gd name="connsiteY293" fmla="*/ 399435 h 1333436"/>
                <a:gd name="connsiteX294" fmla="*/ 44110 w 752994"/>
                <a:gd name="connsiteY294" fmla="*/ 389651 h 1333436"/>
                <a:gd name="connsiteX295" fmla="*/ 43894 w 752994"/>
                <a:gd name="connsiteY295" fmla="*/ 378437 h 1333436"/>
                <a:gd name="connsiteX296" fmla="*/ 47158 w 752994"/>
                <a:gd name="connsiteY296" fmla="*/ 371102 h 1333436"/>
                <a:gd name="connsiteX297" fmla="*/ 55731 w 752994"/>
                <a:gd name="connsiteY297" fmla="*/ 360909 h 1333436"/>
                <a:gd name="connsiteX298" fmla="*/ 57580 w 752994"/>
                <a:gd name="connsiteY298" fmla="*/ 355804 h 1333436"/>
                <a:gd name="connsiteX299" fmla="*/ 62673 w 752994"/>
                <a:gd name="connsiteY299" fmla="*/ 349695 h 1333436"/>
                <a:gd name="connsiteX300" fmla="*/ 65937 w 752994"/>
                <a:gd name="connsiteY300" fmla="*/ 348470 h 1333436"/>
                <a:gd name="connsiteX301" fmla="*/ 68395 w 752994"/>
                <a:gd name="connsiteY301" fmla="*/ 348674 h 1333436"/>
                <a:gd name="connsiteX302" fmla="*/ 70224 w 752994"/>
                <a:gd name="connsiteY302" fmla="*/ 347449 h 1333436"/>
                <a:gd name="connsiteX303" fmla="*/ 67785 w 752994"/>
                <a:gd name="connsiteY303" fmla="*/ 345203 h 1333436"/>
                <a:gd name="connsiteX304" fmla="*/ 65524 w 752994"/>
                <a:gd name="connsiteY304" fmla="*/ 343178 h 1333436"/>
                <a:gd name="connsiteX305" fmla="*/ 73095 w 752994"/>
                <a:gd name="connsiteY305" fmla="*/ 333376 h 1333436"/>
                <a:gd name="connsiteX306" fmla="*/ 73291 w 752994"/>
                <a:gd name="connsiteY306" fmla="*/ 333376 h 1333436"/>
                <a:gd name="connsiteX307" fmla="*/ 77991 w 752994"/>
                <a:gd name="connsiteY307" fmla="*/ 325838 h 1333436"/>
                <a:gd name="connsiteX308" fmla="*/ 82671 w 752994"/>
                <a:gd name="connsiteY308" fmla="*/ 313619 h 1333436"/>
                <a:gd name="connsiteX309" fmla="*/ 87980 w 752994"/>
                <a:gd name="connsiteY309" fmla="*/ 303018 h 1333436"/>
                <a:gd name="connsiteX310" fmla="*/ 92267 w 752994"/>
                <a:gd name="connsiteY310" fmla="*/ 291191 h 1333436"/>
                <a:gd name="connsiteX311" fmla="*/ 96553 w 752994"/>
                <a:gd name="connsiteY311" fmla="*/ 281202 h 1333436"/>
                <a:gd name="connsiteX312" fmla="*/ 99621 w 752994"/>
                <a:gd name="connsiteY312" fmla="*/ 274481 h 1333436"/>
                <a:gd name="connsiteX313" fmla="*/ 103082 w 752994"/>
                <a:gd name="connsiteY313" fmla="*/ 262450 h 1333436"/>
                <a:gd name="connsiteX314" fmla="*/ 107172 w 752994"/>
                <a:gd name="connsiteY314" fmla="*/ 254299 h 1333436"/>
                <a:gd name="connsiteX315" fmla="*/ 112481 w 752994"/>
                <a:gd name="connsiteY315" fmla="*/ 243697 h 1333436"/>
                <a:gd name="connsiteX316" fmla="*/ 117181 w 752994"/>
                <a:gd name="connsiteY316" fmla="*/ 232279 h 1333436"/>
                <a:gd name="connsiteX317" fmla="*/ 125951 w 752994"/>
                <a:gd name="connsiteY317" fmla="*/ 217389 h 1333436"/>
                <a:gd name="connsiteX318" fmla="*/ 136156 w 752994"/>
                <a:gd name="connsiteY318" fmla="*/ 202925 h 1333436"/>
                <a:gd name="connsiteX319" fmla="*/ 138811 w 752994"/>
                <a:gd name="connsiteY319" fmla="*/ 183339 h 1333436"/>
                <a:gd name="connsiteX320" fmla="*/ 148801 w 752994"/>
                <a:gd name="connsiteY320" fmla="*/ 167445 h 1333436"/>
                <a:gd name="connsiteX321" fmla="*/ 159616 w 752994"/>
                <a:gd name="connsiteY321" fmla="*/ 170712 h 1333436"/>
                <a:gd name="connsiteX322" fmla="*/ 173105 w 752994"/>
                <a:gd name="connsiteY322" fmla="*/ 175188 h 1333436"/>
                <a:gd name="connsiteX323" fmla="*/ 175347 w 752994"/>
                <a:gd name="connsiteY323" fmla="*/ 175188 h 1333436"/>
                <a:gd name="connsiteX324" fmla="*/ 175347 w 752994"/>
                <a:gd name="connsiteY324" fmla="*/ 173758 h 1333436"/>
                <a:gd name="connsiteX325" fmla="*/ 184975 w 752994"/>
                <a:gd name="connsiteY325" fmla="*/ 187393 h 1333436"/>
                <a:gd name="connsiteX326" fmla="*/ 184762 w 752994"/>
                <a:gd name="connsiteY326" fmla="*/ 184637 h 1333436"/>
                <a:gd name="connsiteX327" fmla="*/ 174971 w 752994"/>
                <a:gd name="connsiteY327" fmla="*/ 170774 h 1333436"/>
                <a:gd name="connsiteX328" fmla="*/ 174971 w 752994"/>
                <a:gd name="connsiteY328" fmla="*/ 169550 h 1333436"/>
                <a:gd name="connsiteX329" fmla="*/ 158851 w 752994"/>
                <a:gd name="connsiteY329" fmla="*/ 156924 h 1333436"/>
                <a:gd name="connsiteX330" fmla="*/ 147025 w 752994"/>
                <a:gd name="connsiteY330" fmla="*/ 145709 h 1333436"/>
                <a:gd name="connsiteX331" fmla="*/ 154364 w 752994"/>
                <a:gd name="connsiteY331" fmla="*/ 136335 h 1333436"/>
                <a:gd name="connsiteX332" fmla="*/ 161511 w 752994"/>
                <a:gd name="connsiteY332" fmla="*/ 131042 h 1333436"/>
                <a:gd name="connsiteX333" fmla="*/ 160902 w 752994"/>
                <a:gd name="connsiteY333" fmla="*/ 128384 h 1333436"/>
                <a:gd name="connsiteX334" fmla="*/ 160277 w 752994"/>
                <a:gd name="connsiteY334" fmla="*/ 127778 h 1333436"/>
                <a:gd name="connsiteX335" fmla="*/ 154973 w 752994"/>
                <a:gd name="connsiteY335" fmla="*/ 122077 h 1333436"/>
                <a:gd name="connsiteX336" fmla="*/ 160277 w 752994"/>
                <a:gd name="connsiteY336" fmla="*/ 115140 h 1333436"/>
                <a:gd name="connsiteX337" fmla="*/ 165181 w 752994"/>
                <a:gd name="connsiteY337" fmla="*/ 108215 h 1333436"/>
                <a:gd name="connsiteX338" fmla="*/ 161303 w 752994"/>
                <a:gd name="connsiteY338" fmla="*/ 104146 h 1333436"/>
                <a:gd name="connsiteX339" fmla="*/ 157842 w 752994"/>
                <a:gd name="connsiteY339" fmla="*/ 104542 h 1333436"/>
                <a:gd name="connsiteX340" fmla="*/ 157024 w 752994"/>
                <a:gd name="connsiteY340" fmla="*/ 102304 h 1333436"/>
                <a:gd name="connsiteX341" fmla="*/ 160694 w 752994"/>
                <a:gd name="connsiteY341" fmla="*/ 55437 h 1333436"/>
                <a:gd name="connsiteX342" fmla="*/ 160486 w 752994"/>
                <a:gd name="connsiteY342" fmla="*/ 31991 h 1333436"/>
                <a:gd name="connsiteX343" fmla="*/ 164972 w 752994"/>
                <a:gd name="connsiteY343" fmla="*/ 18141 h 1333436"/>
                <a:gd name="connsiteX344" fmla="*/ 171911 w 752994"/>
                <a:gd name="connsiteY344" fmla="*/ 11204 h 1333436"/>
                <a:gd name="connsiteX345" fmla="*/ 187406 w 752994"/>
                <a:gd name="connsiteY345" fmla="*/ 21801 h 1333436"/>
                <a:gd name="connsiteX346" fmla="*/ 210866 w 752994"/>
                <a:gd name="connsiteY346" fmla="*/ 37086 h 1333436"/>
                <a:gd name="connsiteX347" fmla="*/ 219230 w 752994"/>
                <a:gd name="connsiteY347" fmla="*/ 41166 h 1333436"/>
                <a:gd name="connsiteX348" fmla="*/ 226778 w 752994"/>
                <a:gd name="connsiteY348" fmla="*/ 47486 h 1333436"/>
                <a:gd name="connsiteX349" fmla="*/ 236152 w 752994"/>
                <a:gd name="connsiteY349" fmla="*/ 52370 h 1333436"/>
                <a:gd name="connsiteX350" fmla="*/ 239629 w 752994"/>
                <a:gd name="connsiteY350" fmla="*/ 58491 h 1333436"/>
                <a:gd name="connsiteX351" fmla="*/ 239629 w 752994"/>
                <a:gd name="connsiteY351" fmla="*/ 63376 h 1333436"/>
                <a:gd name="connsiteX352" fmla="*/ 236568 w 752994"/>
                <a:gd name="connsiteY352" fmla="*/ 67457 h 1333436"/>
                <a:gd name="connsiteX353" fmla="*/ 231264 w 752994"/>
                <a:gd name="connsiteY353" fmla="*/ 69905 h 1333436"/>
                <a:gd name="connsiteX354" fmla="*/ 216778 w 752994"/>
                <a:gd name="connsiteY354" fmla="*/ 82741 h 1333436"/>
                <a:gd name="connsiteX355" fmla="*/ 214134 w 752994"/>
                <a:gd name="connsiteY355" fmla="*/ 93536 h 1333436"/>
                <a:gd name="connsiteX356" fmla="*/ 214535 w 752994"/>
                <a:gd name="connsiteY356" fmla="*/ 96801 h 1333436"/>
                <a:gd name="connsiteX357" fmla="*/ 216378 w 752994"/>
                <a:gd name="connsiteY357" fmla="*/ 96801 h 1333436"/>
                <a:gd name="connsiteX358" fmla="*/ 230046 w 752994"/>
                <a:gd name="connsiteY358" fmla="*/ 85387 h 1333436"/>
                <a:gd name="connsiteX359" fmla="*/ 243298 w 752994"/>
                <a:gd name="connsiteY359" fmla="*/ 75198 h 1333436"/>
                <a:gd name="connsiteX360" fmla="*/ 246760 w 752994"/>
                <a:gd name="connsiteY360" fmla="*/ 77646 h 1333436"/>
                <a:gd name="connsiteX361" fmla="*/ 255541 w 752994"/>
                <a:gd name="connsiteY361" fmla="*/ 63376 h 1333436"/>
                <a:gd name="connsiteX362" fmla="*/ 259611 w 752994"/>
                <a:gd name="connsiteY362" fmla="*/ 43405 h 1333436"/>
                <a:gd name="connsiteX363" fmla="*/ 256967 w 752994"/>
                <a:gd name="connsiteY363" fmla="*/ 38520 h 1333436"/>
                <a:gd name="connsiteX364" fmla="*/ 253906 w 752994"/>
                <a:gd name="connsiteY364" fmla="*/ 34242 h 1333436"/>
                <a:gd name="connsiteX365" fmla="*/ 256967 w 752994"/>
                <a:gd name="connsiteY365" fmla="*/ 30161 h 1333436"/>
                <a:gd name="connsiteX366" fmla="*/ 262063 w 752994"/>
                <a:gd name="connsiteY366" fmla="*/ 27712 h 1333436"/>
                <a:gd name="connsiteX367" fmla="*/ 264915 w 752994"/>
                <a:gd name="connsiteY367" fmla="*/ 23026 h 1333436"/>
                <a:gd name="connsiteX368" fmla="*/ 267976 w 752994"/>
                <a:gd name="connsiteY368" fmla="*/ 22618 h 1333436"/>
                <a:gd name="connsiteX369" fmla="*/ 270427 w 752994"/>
                <a:gd name="connsiteY369" fmla="*/ 20787 h 1333436"/>
                <a:gd name="connsiteX370" fmla="*/ 263088 w 752994"/>
                <a:gd name="connsiteY370" fmla="*/ 13652 h 1333436"/>
                <a:gd name="connsiteX371" fmla="*/ 255541 w 752994"/>
                <a:gd name="connsiteY371" fmla="*/ 3055 h 1333436"/>
                <a:gd name="connsiteX372" fmla="*/ 256358 w 752994"/>
                <a:gd name="connsiteY372" fmla="*/ 1224 h 1333436"/>
                <a:gd name="connsiteX373" fmla="*/ 257159 w 752994"/>
                <a:gd name="connsiteY373"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401744 w 752994"/>
                <a:gd name="connsiteY13" fmla="*/ 977573 h 1333436"/>
                <a:gd name="connsiteX14" fmla="*/ 404598 w 752994"/>
                <a:gd name="connsiteY14" fmla="*/ 971441 h 1333436"/>
                <a:gd name="connsiteX15" fmla="*/ 401744 w 752994"/>
                <a:gd name="connsiteY15" fmla="*/ 977573 h 1333436"/>
                <a:gd name="connsiteX16" fmla="*/ 184180 w 752994"/>
                <a:gd name="connsiteY16" fmla="*/ 213866 h 1333436"/>
                <a:gd name="connsiteX17" fmla="*/ 184117 w 752994"/>
                <a:gd name="connsiteY17" fmla="*/ 214326 h 1333436"/>
                <a:gd name="connsiteX18" fmla="*/ 185553 w 752994"/>
                <a:gd name="connsiteY18" fmla="*/ 222494 h 1333436"/>
                <a:gd name="connsiteX19" fmla="*/ 188600 w 752994"/>
                <a:gd name="connsiteY19" fmla="*/ 226970 h 1333436"/>
                <a:gd name="connsiteX20" fmla="*/ 195542 w 752994"/>
                <a:gd name="connsiteY20" fmla="*/ 231871 h 1333436"/>
                <a:gd name="connsiteX21" fmla="*/ 203093 w 752994"/>
                <a:gd name="connsiteY21" fmla="*/ 233896 h 1333436"/>
                <a:gd name="connsiteX22" fmla="*/ 217192 w 752994"/>
                <a:gd name="connsiteY22" fmla="*/ 232075 h 1333436"/>
                <a:gd name="connsiteX23" fmla="*/ 225136 w 752994"/>
                <a:gd name="connsiteY23" fmla="*/ 229829 h 1333436"/>
                <a:gd name="connsiteX24" fmla="*/ 235558 w 752994"/>
                <a:gd name="connsiteY24" fmla="*/ 232483 h 1333436"/>
                <a:gd name="connsiteX25" fmla="*/ 242499 w 752994"/>
                <a:gd name="connsiteY25" fmla="*/ 237163 h 1333436"/>
                <a:gd name="connsiteX26" fmla="*/ 248418 w 752994"/>
                <a:gd name="connsiteY26" fmla="*/ 244701 h 1333436"/>
                <a:gd name="connsiteX27" fmla="*/ 255359 w 752994"/>
                <a:gd name="connsiteY27" fmla="*/ 244906 h 1333436"/>
                <a:gd name="connsiteX28" fmla="*/ 258210 w 752994"/>
                <a:gd name="connsiteY28" fmla="*/ 244906 h 1333436"/>
                <a:gd name="connsiteX29" fmla="*/ 263303 w 752994"/>
                <a:gd name="connsiteY29" fmla="*/ 246131 h 1333436"/>
                <a:gd name="connsiteX30" fmla="*/ 269438 w 752994"/>
                <a:gd name="connsiteY30" fmla="*/ 243697 h 1333436"/>
                <a:gd name="connsiteX31" fmla="*/ 274944 w 752994"/>
                <a:gd name="connsiteY31" fmla="*/ 241451 h 1333436"/>
                <a:gd name="connsiteX32" fmla="*/ 281276 w 752994"/>
                <a:gd name="connsiteY32" fmla="*/ 245722 h 1333436"/>
                <a:gd name="connsiteX33" fmla="*/ 289240 w 752994"/>
                <a:gd name="connsiteY33" fmla="*/ 250419 h 1333436"/>
                <a:gd name="connsiteX34" fmla="*/ 297597 w 752994"/>
                <a:gd name="connsiteY34" fmla="*/ 248581 h 1333436"/>
                <a:gd name="connsiteX35" fmla="*/ 310261 w 752994"/>
                <a:gd name="connsiteY35" fmla="*/ 246539 h 1333436"/>
                <a:gd name="connsiteX36" fmla="*/ 324340 w 752994"/>
                <a:gd name="connsiteY36" fmla="*/ 244497 h 1333436"/>
                <a:gd name="connsiteX37" fmla="*/ 333523 w 752994"/>
                <a:gd name="connsiteY37" fmla="*/ 243289 h 1333436"/>
                <a:gd name="connsiteX38" fmla="*/ 341271 w 752994"/>
                <a:gd name="connsiteY38" fmla="*/ 246539 h 1333436"/>
                <a:gd name="connsiteX39" fmla="*/ 348428 w 752994"/>
                <a:gd name="connsiteY39" fmla="*/ 250011 h 1333436"/>
                <a:gd name="connsiteX40" fmla="*/ 351279 w 752994"/>
                <a:gd name="connsiteY40" fmla="*/ 247356 h 1333436"/>
                <a:gd name="connsiteX41" fmla="*/ 355566 w 752994"/>
                <a:gd name="connsiteY41" fmla="*/ 244293 h 1333436"/>
                <a:gd name="connsiteX42" fmla="*/ 365772 w 752994"/>
                <a:gd name="connsiteY42" fmla="*/ 248785 h 1333436"/>
                <a:gd name="connsiteX43" fmla="*/ 381483 w 752994"/>
                <a:gd name="connsiteY43" fmla="*/ 254912 h 1333436"/>
                <a:gd name="connsiteX44" fmla="*/ 381896 w 752994"/>
                <a:gd name="connsiteY44" fmla="*/ 255320 h 1333436"/>
                <a:gd name="connsiteX45" fmla="*/ 395366 w 752994"/>
                <a:gd name="connsiteY45" fmla="*/ 257753 h 1333436"/>
                <a:gd name="connsiteX46" fmla="*/ 414145 w 752994"/>
                <a:gd name="connsiteY46" fmla="*/ 262450 h 1333436"/>
                <a:gd name="connsiteX47" fmla="*/ 431292 w 752994"/>
                <a:gd name="connsiteY47" fmla="*/ 268151 h 1333436"/>
                <a:gd name="connsiteX48" fmla="*/ 445196 w 752994"/>
                <a:gd name="connsiteY48" fmla="*/ 269890 h 1333436"/>
                <a:gd name="connsiteX49" fmla="*/ 444145 w 752994"/>
                <a:gd name="connsiteY49" fmla="*/ 267441 h 1333436"/>
                <a:gd name="connsiteX50" fmla="*/ 444145 w 752994"/>
                <a:gd name="connsiteY50" fmla="*/ 267034 h 1333436"/>
                <a:gd name="connsiteX51" fmla="*/ 444155 w 752994"/>
                <a:gd name="connsiteY51" fmla="*/ 266811 h 1333436"/>
                <a:gd name="connsiteX52" fmla="*/ 430733 w 752994"/>
                <a:gd name="connsiteY52" fmla="*/ 265139 h 1333436"/>
                <a:gd name="connsiteX53" fmla="*/ 394839 w 752994"/>
                <a:gd name="connsiteY53" fmla="*/ 254739 h 1333436"/>
                <a:gd name="connsiteX54" fmla="*/ 381379 w 752994"/>
                <a:gd name="connsiteY54" fmla="*/ 252303 h 1333436"/>
                <a:gd name="connsiteX55" fmla="*/ 380962 w 752994"/>
                <a:gd name="connsiteY55" fmla="*/ 251895 h 1333436"/>
                <a:gd name="connsiteX56" fmla="*/ 365258 w 752994"/>
                <a:gd name="connsiteY56" fmla="*/ 245774 h 1333436"/>
                <a:gd name="connsiteX57" fmla="*/ 355067 w 752994"/>
                <a:gd name="connsiteY57" fmla="*/ 241285 h 1333436"/>
                <a:gd name="connsiteX58" fmla="*/ 350789 w 752994"/>
                <a:gd name="connsiteY58" fmla="*/ 244352 h 1333436"/>
                <a:gd name="connsiteX59" fmla="*/ 347920 w 752994"/>
                <a:gd name="connsiteY59" fmla="*/ 246998 h 1333436"/>
                <a:gd name="connsiteX60" fmla="*/ 340789 w 752994"/>
                <a:gd name="connsiteY60" fmla="*/ 243536 h 1333436"/>
                <a:gd name="connsiteX61" fmla="*/ 333034 w 752994"/>
                <a:gd name="connsiteY61" fmla="*/ 240271 h 1333436"/>
                <a:gd name="connsiteX62" fmla="*/ 323868 w 752994"/>
                <a:gd name="connsiteY62" fmla="*/ 241495 h 1333436"/>
                <a:gd name="connsiteX63" fmla="*/ 309783 w 752994"/>
                <a:gd name="connsiteY63" fmla="*/ 243536 h 1333436"/>
                <a:gd name="connsiteX64" fmla="*/ 297140 w 752994"/>
                <a:gd name="connsiteY64" fmla="*/ 245576 h 1333436"/>
                <a:gd name="connsiteX65" fmla="*/ 288775 w 752994"/>
                <a:gd name="connsiteY65" fmla="*/ 247406 h 1333436"/>
                <a:gd name="connsiteX66" fmla="*/ 280827 w 752994"/>
                <a:gd name="connsiteY66" fmla="*/ 242720 h 1333436"/>
                <a:gd name="connsiteX67" fmla="*/ 274497 w 752994"/>
                <a:gd name="connsiteY67" fmla="*/ 238441 h 1333436"/>
                <a:gd name="connsiteX68" fmla="*/ 269001 w 752994"/>
                <a:gd name="connsiteY68" fmla="*/ 240679 h 1333436"/>
                <a:gd name="connsiteX69" fmla="*/ 262880 w 752994"/>
                <a:gd name="connsiteY69" fmla="*/ 243128 h 1333436"/>
                <a:gd name="connsiteX70" fmla="*/ 260028 w 752994"/>
                <a:gd name="connsiteY70" fmla="*/ 242720 h 1333436"/>
                <a:gd name="connsiteX71" fmla="*/ 247994 w 752994"/>
                <a:gd name="connsiteY71" fmla="*/ 241693 h 1333436"/>
                <a:gd name="connsiteX72" fmla="*/ 242081 w 752994"/>
                <a:gd name="connsiteY72" fmla="*/ 234162 h 1333436"/>
                <a:gd name="connsiteX73" fmla="*/ 235142 w 752994"/>
                <a:gd name="connsiteY73" fmla="*/ 229476 h 1333436"/>
                <a:gd name="connsiteX74" fmla="*/ 224742 w 752994"/>
                <a:gd name="connsiteY74" fmla="*/ 226817 h 1333436"/>
                <a:gd name="connsiteX75" fmla="*/ 216778 w 752994"/>
                <a:gd name="connsiteY75" fmla="*/ 229068 h 1333436"/>
                <a:gd name="connsiteX76" fmla="*/ 202709 w 752994"/>
                <a:gd name="connsiteY76" fmla="*/ 230898 h 1333436"/>
                <a:gd name="connsiteX77" fmla="*/ 195162 w 752994"/>
                <a:gd name="connsiteY77" fmla="*/ 228857 h 1333436"/>
                <a:gd name="connsiteX78" fmla="*/ 188223 w 752994"/>
                <a:gd name="connsiteY78" fmla="*/ 223973 h 1333436"/>
                <a:gd name="connsiteX79" fmla="*/ 185163 w 752994"/>
                <a:gd name="connsiteY79" fmla="*/ 219484 h 1333436"/>
                <a:gd name="connsiteX80" fmla="*/ 184180 w 752994"/>
                <a:gd name="connsiteY80" fmla="*/ 213866 h 1333436"/>
                <a:gd name="connsiteX81" fmla="*/ 257159 w 752994"/>
                <a:gd name="connsiteY81" fmla="*/ 0 h 1333436"/>
                <a:gd name="connsiteX82" fmla="*/ 493147 w 752994"/>
                <a:gd name="connsiteY82" fmla="*/ 73157 h 1333436"/>
                <a:gd name="connsiteX83" fmla="*/ 492970 w 752994"/>
                <a:gd name="connsiteY83" fmla="*/ 73792 h 1333436"/>
                <a:gd name="connsiteX84" fmla="*/ 525816 w 752994"/>
                <a:gd name="connsiteY84" fmla="*/ 82491 h 1333436"/>
                <a:gd name="connsiteX85" fmla="*/ 520098 w 752994"/>
                <a:gd name="connsiteY85" fmla="*/ 111245 h 1333436"/>
                <a:gd name="connsiteX86" fmla="*/ 512552 w 752994"/>
                <a:gd name="connsiteY86" fmla="*/ 143854 h 1333436"/>
                <a:gd name="connsiteX87" fmla="*/ 517849 w 752994"/>
                <a:gd name="connsiteY87" fmla="*/ 157740 h 1333436"/>
                <a:gd name="connsiteX88" fmla="*/ 523160 w 752994"/>
                <a:gd name="connsiteY88" fmla="*/ 172009 h 1333436"/>
                <a:gd name="connsiteX89" fmla="*/ 521535 w 752994"/>
                <a:gd name="connsiteY89" fmla="*/ 178928 h 1333436"/>
                <a:gd name="connsiteX90" fmla="*/ 520098 w 752994"/>
                <a:gd name="connsiteY90" fmla="*/ 186279 h 1333436"/>
                <a:gd name="connsiteX91" fmla="*/ 526019 w 752994"/>
                <a:gd name="connsiteY91" fmla="*/ 193629 h 1333436"/>
                <a:gd name="connsiteX92" fmla="*/ 537251 w 752994"/>
                <a:gd name="connsiteY92" fmla="*/ 206270 h 1333436"/>
                <a:gd name="connsiteX93" fmla="*/ 542765 w 752994"/>
                <a:gd name="connsiteY93" fmla="*/ 217475 h 1333436"/>
                <a:gd name="connsiteX94" fmla="*/ 546857 w 752994"/>
                <a:gd name="connsiteY94" fmla="*/ 230930 h 1333436"/>
                <a:gd name="connsiteX95" fmla="*/ 549499 w 752994"/>
                <a:gd name="connsiteY95" fmla="*/ 235622 h 1333436"/>
                <a:gd name="connsiteX96" fmla="*/ 553388 w 752994"/>
                <a:gd name="connsiteY96" fmla="*/ 240722 h 1333436"/>
                <a:gd name="connsiteX97" fmla="*/ 557465 w 752994"/>
                <a:gd name="connsiteY97" fmla="*/ 246037 h 1333436"/>
                <a:gd name="connsiteX98" fmla="*/ 561761 w 752994"/>
                <a:gd name="connsiteY98" fmla="*/ 248671 h 1333436"/>
                <a:gd name="connsiteX99" fmla="*/ 567478 w 752994"/>
                <a:gd name="connsiteY99" fmla="*/ 247665 h 1333436"/>
                <a:gd name="connsiteX100" fmla="*/ 569931 w 752994"/>
                <a:gd name="connsiteY100" fmla="*/ 249293 h 1333436"/>
                <a:gd name="connsiteX101" fmla="*/ 570540 w 752994"/>
                <a:gd name="connsiteY101" fmla="*/ 251951 h 1333436"/>
                <a:gd name="connsiteX102" fmla="*/ 561964 w 752994"/>
                <a:gd name="connsiteY102" fmla="*/ 267656 h 1333436"/>
                <a:gd name="connsiteX103" fmla="*/ 553591 w 752994"/>
                <a:gd name="connsiteY103" fmla="*/ 289659 h 1333436"/>
                <a:gd name="connsiteX104" fmla="*/ 554810 w 752994"/>
                <a:gd name="connsiteY104" fmla="*/ 292939 h 1333436"/>
                <a:gd name="connsiteX105" fmla="*/ 556246 w 752994"/>
                <a:gd name="connsiteY105" fmla="*/ 299260 h 1333436"/>
                <a:gd name="connsiteX106" fmla="*/ 552778 w 752994"/>
                <a:gd name="connsiteY106" fmla="*/ 301917 h 1333436"/>
                <a:gd name="connsiteX107" fmla="*/ 549295 w 752994"/>
                <a:gd name="connsiteY107" fmla="*/ 306993 h 1333436"/>
                <a:gd name="connsiteX108" fmla="*/ 547061 w 752994"/>
                <a:gd name="connsiteY108" fmla="*/ 313122 h 1333436"/>
                <a:gd name="connsiteX109" fmla="*/ 544811 w 752994"/>
                <a:gd name="connsiteY109" fmla="*/ 316593 h 1333436"/>
                <a:gd name="connsiteX110" fmla="*/ 549919 w 752994"/>
                <a:gd name="connsiteY110" fmla="*/ 322698 h 1333436"/>
                <a:gd name="connsiteX111" fmla="*/ 553184 w 752994"/>
                <a:gd name="connsiteY111" fmla="*/ 325955 h 1333436"/>
                <a:gd name="connsiteX112" fmla="*/ 555840 w 752994"/>
                <a:gd name="connsiteY112" fmla="*/ 328205 h 1333436"/>
                <a:gd name="connsiteX113" fmla="*/ 574212 w 752994"/>
                <a:gd name="connsiteY113" fmla="*/ 318820 h 1333436"/>
                <a:gd name="connsiteX114" fmla="*/ 579523 w 752994"/>
                <a:gd name="connsiteY114" fmla="*/ 326577 h 1333436"/>
                <a:gd name="connsiteX115" fmla="*/ 580539 w 752994"/>
                <a:gd name="connsiteY115" fmla="*/ 334933 h 1333436"/>
                <a:gd name="connsiteX116" fmla="*/ 579726 w 752994"/>
                <a:gd name="connsiteY116" fmla="*/ 343097 h 1333436"/>
                <a:gd name="connsiteX117" fmla="*/ 581366 w 752994"/>
                <a:gd name="connsiteY117" fmla="*/ 350231 h 1333436"/>
                <a:gd name="connsiteX118" fmla="*/ 586256 w 752994"/>
                <a:gd name="connsiteY118" fmla="*/ 355930 h 1333436"/>
                <a:gd name="connsiteX119" fmla="*/ 589536 w 752994"/>
                <a:gd name="connsiteY119" fmla="*/ 362059 h 1333436"/>
                <a:gd name="connsiteX120" fmla="*/ 588099 w 752994"/>
                <a:gd name="connsiteY120" fmla="*/ 369600 h 1333436"/>
                <a:gd name="connsiteX121" fmla="*/ 586459 w 752994"/>
                <a:gd name="connsiteY121" fmla="*/ 377357 h 1333436"/>
                <a:gd name="connsiteX122" fmla="*/ 588709 w 752994"/>
                <a:gd name="connsiteY122" fmla="*/ 381835 h 1333436"/>
                <a:gd name="connsiteX123" fmla="*/ 595036 w 752994"/>
                <a:gd name="connsiteY123" fmla="*/ 382457 h 1333436"/>
                <a:gd name="connsiteX124" fmla="*/ 599331 w 752994"/>
                <a:gd name="connsiteY124" fmla="*/ 385306 h 1333436"/>
                <a:gd name="connsiteX125" fmla="*/ 601987 w 752994"/>
                <a:gd name="connsiteY125" fmla="*/ 391004 h 1333436"/>
                <a:gd name="connsiteX126" fmla="*/ 602799 w 752994"/>
                <a:gd name="connsiteY126" fmla="*/ 404076 h 1333436"/>
                <a:gd name="connsiteX127" fmla="*/ 606892 w 752994"/>
                <a:gd name="connsiteY127" fmla="*/ 415688 h 1333436"/>
                <a:gd name="connsiteX128" fmla="*/ 610563 w 752994"/>
                <a:gd name="connsiteY128" fmla="*/ 412217 h 1333436"/>
                <a:gd name="connsiteX129" fmla="*/ 617920 w 752994"/>
                <a:gd name="connsiteY129" fmla="*/ 408769 h 1333436"/>
                <a:gd name="connsiteX130" fmla="*/ 624654 w 752994"/>
                <a:gd name="connsiteY130" fmla="*/ 411211 h 1333436"/>
                <a:gd name="connsiteX131" fmla="*/ 634652 w 752994"/>
                <a:gd name="connsiteY131" fmla="*/ 410182 h 1333436"/>
                <a:gd name="connsiteX132" fmla="*/ 640573 w 752994"/>
                <a:gd name="connsiteY132" fmla="*/ 407739 h 1333436"/>
                <a:gd name="connsiteX133" fmla="*/ 646711 w 752994"/>
                <a:gd name="connsiteY133" fmla="*/ 410589 h 1333436"/>
                <a:gd name="connsiteX134" fmla="*/ 650383 w 752994"/>
                <a:gd name="connsiteY134" fmla="*/ 410589 h 1333436"/>
                <a:gd name="connsiteX135" fmla="*/ 654257 w 752994"/>
                <a:gd name="connsiteY135" fmla="*/ 411618 h 1333436"/>
                <a:gd name="connsiteX136" fmla="*/ 656913 w 752994"/>
                <a:gd name="connsiteY136" fmla="*/ 413653 h 1333436"/>
                <a:gd name="connsiteX137" fmla="*/ 660802 w 752994"/>
                <a:gd name="connsiteY137" fmla="*/ 415090 h 1333436"/>
                <a:gd name="connsiteX138" fmla="*/ 669581 w 752994"/>
                <a:gd name="connsiteY138" fmla="*/ 415904 h 1333436"/>
                <a:gd name="connsiteX139" fmla="*/ 672237 w 752994"/>
                <a:gd name="connsiteY139" fmla="*/ 415688 h 1333436"/>
                <a:gd name="connsiteX140" fmla="*/ 675705 w 752994"/>
                <a:gd name="connsiteY140" fmla="*/ 409367 h 1333436"/>
                <a:gd name="connsiteX141" fmla="*/ 679986 w 752994"/>
                <a:gd name="connsiteY141" fmla="*/ 403238 h 1333436"/>
                <a:gd name="connsiteX142" fmla="*/ 693264 w 752994"/>
                <a:gd name="connsiteY142" fmla="*/ 419567 h 1333436"/>
                <a:gd name="connsiteX143" fmla="*/ 688563 w 752994"/>
                <a:gd name="connsiteY143" fmla="*/ 448321 h 1333436"/>
                <a:gd name="connsiteX144" fmla="*/ 663949 w 752994"/>
                <a:gd name="connsiteY144" fmla="*/ 590165 h 1333436"/>
                <a:gd name="connsiteX145" fmla="*/ 666304 w 752994"/>
                <a:gd name="connsiteY145" fmla="*/ 590504 h 1333436"/>
                <a:gd name="connsiteX146" fmla="*/ 655288 w 752994"/>
                <a:gd name="connsiteY146" fmla="*/ 656178 h 1333436"/>
                <a:gd name="connsiteX147" fmla="*/ 681808 w 752994"/>
                <a:gd name="connsiteY147" fmla="*/ 662301 h 1333436"/>
                <a:gd name="connsiteX148" fmla="*/ 752994 w 752994"/>
                <a:gd name="connsiteY148" fmla="*/ 675560 h 1333436"/>
                <a:gd name="connsiteX149" fmla="*/ 714651 w 752994"/>
                <a:gd name="connsiteY149" fmla="*/ 946985 h 1333436"/>
                <a:gd name="connsiteX150" fmla="*/ 654533 w 752994"/>
                <a:gd name="connsiteY150" fmla="*/ 1333436 h 1333436"/>
                <a:gd name="connsiteX151" fmla="*/ 546831 w 752994"/>
                <a:gd name="connsiteY151" fmla="*/ 1317126 h 1333436"/>
                <a:gd name="connsiteX152" fmla="*/ 351227 w 752994"/>
                <a:gd name="connsiteY152" fmla="*/ 1194172 h 1333436"/>
                <a:gd name="connsiteX153" fmla="*/ 361011 w 752994"/>
                <a:gd name="connsiteY153" fmla="*/ 1182755 h 1333436"/>
                <a:gd name="connsiteX154" fmla="*/ 368981 w 752994"/>
                <a:gd name="connsiteY154" fmla="*/ 1182130 h 1333436"/>
                <a:gd name="connsiteX155" fmla="*/ 369571 w 752994"/>
                <a:gd name="connsiteY155" fmla="*/ 1181558 h 1333436"/>
                <a:gd name="connsiteX156" fmla="*/ 362372 w 752994"/>
                <a:gd name="connsiteY156" fmla="*/ 1182120 h 1333436"/>
                <a:gd name="connsiteX157" fmla="*/ 229464 w 752994"/>
                <a:gd name="connsiteY157" fmla="*/ 1161721 h 1333436"/>
                <a:gd name="connsiteX158" fmla="*/ 227427 w 752994"/>
                <a:gd name="connsiteY158" fmla="*/ 1157269 h 1333436"/>
                <a:gd name="connsiteX159" fmla="*/ 224967 w 752994"/>
                <a:gd name="connsiteY159" fmla="*/ 1152575 h 1333436"/>
                <a:gd name="connsiteX160" fmla="*/ 225582 w 752994"/>
                <a:gd name="connsiteY160" fmla="*/ 1144808 h 1333436"/>
                <a:gd name="connsiteX161" fmla="*/ 227215 w 752994"/>
                <a:gd name="connsiteY161" fmla="*/ 1135834 h 1333436"/>
                <a:gd name="connsiteX162" fmla="*/ 227215 w 752994"/>
                <a:gd name="connsiteY162" fmla="*/ 1134212 h 1333436"/>
                <a:gd name="connsiteX163" fmla="*/ 225179 w 752994"/>
                <a:gd name="connsiteY163" fmla="*/ 1114020 h 1333436"/>
                <a:gd name="connsiteX164" fmla="*/ 217839 w 752994"/>
                <a:gd name="connsiteY164" fmla="*/ 1100352 h 1333436"/>
                <a:gd name="connsiteX165" fmla="*/ 199661 w 752994"/>
                <a:gd name="connsiteY165" fmla="*/ 1076502 h 1333436"/>
                <a:gd name="connsiteX166" fmla="*/ 196395 w 752994"/>
                <a:gd name="connsiteY166" fmla="*/ 1071807 h 1333436"/>
                <a:gd name="connsiteX167" fmla="*/ 190880 w 752994"/>
                <a:gd name="connsiteY167" fmla="*/ 1067527 h 1333436"/>
                <a:gd name="connsiteX168" fmla="*/ 187210 w 752994"/>
                <a:gd name="connsiteY168" fmla="*/ 1068735 h 1333436"/>
                <a:gd name="connsiteX169" fmla="*/ 180062 w 752994"/>
                <a:gd name="connsiteY169" fmla="*/ 1066699 h 1333436"/>
                <a:gd name="connsiteX170" fmla="*/ 180466 w 752994"/>
                <a:gd name="connsiteY170" fmla="*/ 1053031 h 1333436"/>
                <a:gd name="connsiteX171" fmla="*/ 180062 w 752994"/>
                <a:gd name="connsiteY171" fmla="*/ 1045299 h 1333436"/>
                <a:gd name="connsiteX172" fmla="*/ 174144 w 752994"/>
                <a:gd name="connsiteY172" fmla="*/ 1044057 h 1333436"/>
                <a:gd name="connsiteX173" fmla="*/ 158426 w 752994"/>
                <a:gd name="connsiteY173" fmla="*/ 1042641 h 1333436"/>
                <a:gd name="connsiteX174" fmla="*/ 149857 w 752994"/>
                <a:gd name="connsiteY174" fmla="*/ 1035497 h 1333436"/>
                <a:gd name="connsiteX175" fmla="*/ 142497 w 752994"/>
                <a:gd name="connsiteY175" fmla="*/ 1028766 h 1333436"/>
                <a:gd name="connsiteX176" fmla="*/ 140864 w 752994"/>
                <a:gd name="connsiteY176" fmla="*/ 1020620 h 1333436"/>
                <a:gd name="connsiteX177" fmla="*/ 138212 w 752994"/>
                <a:gd name="connsiteY177" fmla="*/ 1013061 h 1333436"/>
                <a:gd name="connsiteX178" fmla="*/ 131064 w 752994"/>
                <a:gd name="connsiteY178" fmla="*/ 1007159 h 1333436"/>
                <a:gd name="connsiteX179" fmla="*/ 121264 w 752994"/>
                <a:gd name="connsiteY179" fmla="*/ 1005330 h 1333436"/>
                <a:gd name="connsiteX180" fmla="*/ 112483 w 752994"/>
                <a:gd name="connsiteY180" fmla="*/ 1001671 h 1333436"/>
                <a:gd name="connsiteX181" fmla="*/ 105950 w 752994"/>
                <a:gd name="connsiteY181" fmla="*/ 995734 h 1333436"/>
                <a:gd name="connsiteX182" fmla="*/ 97380 w 752994"/>
                <a:gd name="connsiteY182" fmla="*/ 994526 h 1333436"/>
                <a:gd name="connsiteX183" fmla="*/ 87984 w 752994"/>
                <a:gd name="connsiteY183" fmla="*/ 991040 h 1333436"/>
                <a:gd name="connsiteX184" fmla="*/ 80029 w 752994"/>
                <a:gd name="connsiteY184" fmla="*/ 985138 h 1333436"/>
                <a:gd name="connsiteX185" fmla="*/ 77166 w 752994"/>
                <a:gd name="connsiteY185" fmla="*/ 976164 h 1333436"/>
                <a:gd name="connsiteX186" fmla="*/ 79203 w 752994"/>
                <a:gd name="connsiteY186" fmla="*/ 970676 h 1333436"/>
                <a:gd name="connsiteX187" fmla="*/ 82470 w 752994"/>
                <a:gd name="connsiteY187" fmla="*/ 963117 h 1333436"/>
                <a:gd name="connsiteX188" fmla="*/ 84314 w 752994"/>
                <a:gd name="connsiteY188" fmla="*/ 954557 h 1333436"/>
                <a:gd name="connsiteX189" fmla="*/ 86351 w 752994"/>
                <a:gd name="connsiteY189" fmla="*/ 948033 h 1333436"/>
                <a:gd name="connsiteX190" fmla="*/ 86159 w 752994"/>
                <a:gd name="connsiteY190" fmla="*/ 942925 h 1333436"/>
                <a:gd name="connsiteX191" fmla="*/ 83085 w 752994"/>
                <a:gd name="connsiteY191" fmla="*/ 939853 h 1333436"/>
                <a:gd name="connsiteX192" fmla="*/ 77570 w 752994"/>
                <a:gd name="connsiteY192" fmla="*/ 937437 h 1333436"/>
                <a:gd name="connsiteX193" fmla="*/ 76763 w 752994"/>
                <a:gd name="connsiteY193" fmla="*/ 931915 h 1333436"/>
                <a:gd name="connsiteX194" fmla="*/ 78800 w 752994"/>
                <a:gd name="connsiteY194" fmla="*/ 927013 h 1333436"/>
                <a:gd name="connsiteX195" fmla="*/ 79626 w 752994"/>
                <a:gd name="connsiteY195" fmla="*/ 922526 h 1333436"/>
                <a:gd name="connsiteX196" fmla="*/ 77781 w 752994"/>
                <a:gd name="connsiteY196" fmla="*/ 919903 h 1333436"/>
                <a:gd name="connsiteX197" fmla="*/ 74303 w 752994"/>
                <a:gd name="connsiteY197" fmla="*/ 917418 h 1333436"/>
                <a:gd name="connsiteX198" fmla="*/ 71863 w 752994"/>
                <a:gd name="connsiteY198" fmla="*/ 915174 h 1333436"/>
                <a:gd name="connsiteX199" fmla="*/ 71652 w 752994"/>
                <a:gd name="connsiteY199" fmla="*/ 910894 h 1333436"/>
                <a:gd name="connsiteX200" fmla="*/ 70633 w 752994"/>
                <a:gd name="connsiteY200" fmla="*/ 906614 h 1333436"/>
                <a:gd name="connsiteX201" fmla="*/ 68385 w 752994"/>
                <a:gd name="connsiteY201" fmla="*/ 902749 h 1333436"/>
                <a:gd name="connsiteX202" fmla="*/ 61045 w 752994"/>
                <a:gd name="connsiteY202" fmla="*/ 889494 h 1333436"/>
                <a:gd name="connsiteX203" fmla="*/ 57971 w 752994"/>
                <a:gd name="connsiteY203" fmla="*/ 875619 h 1333436"/>
                <a:gd name="connsiteX204" fmla="*/ 52264 w 752994"/>
                <a:gd name="connsiteY204" fmla="*/ 862572 h 1333436"/>
                <a:gd name="connsiteX205" fmla="*/ 44309 w 752994"/>
                <a:gd name="connsiteY205" fmla="*/ 850561 h 1333436"/>
                <a:gd name="connsiteX206" fmla="*/ 45520 w 752994"/>
                <a:gd name="connsiteY206" fmla="*/ 827090 h 1333436"/>
                <a:gd name="connsiteX207" fmla="*/ 53071 w 752994"/>
                <a:gd name="connsiteY207" fmla="*/ 822396 h 1333436"/>
                <a:gd name="connsiteX208" fmla="*/ 57375 w 752994"/>
                <a:gd name="connsiteY208" fmla="*/ 816493 h 1333436"/>
                <a:gd name="connsiteX209" fmla="*/ 55319 w 752994"/>
                <a:gd name="connsiteY209" fmla="*/ 801617 h 1333436"/>
                <a:gd name="connsiteX210" fmla="*/ 48383 w 752994"/>
                <a:gd name="connsiteY210" fmla="*/ 802204 h 1333436"/>
                <a:gd name="connsiteX211" fmla="*/ 40428 w 752994"/>
                <a:gd name="connsiteY211" fmla="*/ 797924 h 1333436"/>
                <a:gd name="connsiteX212" fmla="*/ 37565 w 752994"/>
                <a:gd name="connsiteY212" fmla="*/ 790606 h 1333436"/>
                <a:gd name="connsiteX213" fmla="*/ 37565 w 752994"/>
                <a:gd name="connsiteY213" fmla="*/ 790399 h 1333436"/>
                <a:gd name="connsiteX214" fmla="*/ 35931 w 752994"/>
                <a:gd name="connsiteY214" fmla="*/ 785912 h 1333436"/>
                <a:gd name="connsiteX215" fmla="*/ 34510 w 752994"/>
                <a:gd name="connsiteY215" fmla="*/ 780597 h 1333436"/>
                <a:gd name="connsiteX216" fmla="*/ 36335 w 752994"/>
                <a:gd name="connsiteY216" fmla="*/ 774280 h 1333436"/>
                <a:gd name="connsiteX217" fmla="*/ 38180 w 752994"/>
                <a:gd name="connsiteY217" fmla="*/ 766721 h 1333436"/>
                <a:gd name="connsiteX218" fmla="*/ 37161 w 752994"/>
                <a:gd name="connsiteY218" fmla="*/ 760405 h 1333436"/>
                <a:gd name="connsiteX219" fmla="*/ 35720 w 752994"/>
                <a:gd name="connsiteY219" fmla="*/ 754710 h 1333436"/>
                <a:gd name="connsiteX220" fmla="*/ 36546 w 752994"/>
                <a:gd name="connsiteY220" fmla="*/ 748773 h 1333436"/>
                <a:gd name="connsiteX221" fmla="*/ 38372 w 752994"/>
                <a:gd name="connsiteY221" fmla="*/ 744528 h 1333436"/>
                <a:gd name="connsiteX222" fmla="*/ 41638 w 752994"/>
                <a:gd name="connsiteY222" fmla="*/ 744321 h 1333436"/>
                <a:gd name="connsiteX223" fmla="*/ 44713 w 752994"/>
                <a:gd name="connsiteY223" fmla="*/ 746357 h 1333436"/>
                <a:gd name="connsiteX224" fmla="*/ 47364 w 752994"/>
                <a:gd name="connsiteY224" fmla="*/ 753260 h 1333436"/>
                <a:gd name="connsiteX225" fmla="*/ 55742 w 752994"/>
                <a:gd name="connsiteY225" fmla="*/ 764305 h 1333436"/>
                <a:gd name="connsiteX226" fmla="*/ 56338 w 752994"/>
                <a:gd name="connsiteY226" fmla="*/ 761233 h 1333436"/>
                <a:gd name="connsiteX227" fmla="*/ 56145 w 752994"/>
                <a:gd name="connsiteY227" fmla="*/ 757368 h 1333436"/>
                <a:gd name="connsiteX228" fmla="*/ 54916 w 752994"/>
                <a:gd name="connsiteY228" fmla="*/ 748601 h 1333436"/>
                <a:gd name="connsiteX229" fmla="*/ 52879 w 752994"/>
                <a:gd name="connsiteY229" fmla="*/ 747358 h 1333436"/>
                <a:gd name="connsiteX230" fmla="*/ 51649 w 752994"/>
                <a:gd name="connsiteY230" fmla="*/ 745322 h 1333436"/>
                <a:gd name="connsiteX231" fmla="*/ 51649 w 752994"/>
                <a:gd name="connsiteY231" fmla="*/ 739212 h 1333436"/>
                <a:gd name="connsiteX232" fmla="*/ 50227 w 752994"/>
                <a:gd name="connsiteY232" fmla="*/ 734725 h 1333436"/>
                <a:gd name="connsiteX233" fmla="*/ 48786 w 752994"/>
                <a:gd name="connsiteY233" fmla="*/ 731446 h 1333436"/>
                <a:gd name="connsiteX234" fmla="*/ 54512 w 752994"/>
                <a:gd name="connsiteY234" fmla="*/ 726372 h 1333436"/>
                <a:gd name="connsiteX235" fmla="*/ 59815 w 752994"/>
                <a:gd name="connsiteY235" fmla="*/ 725130 h 1333436"/>
                <a:gd name="connsiteX236" fmla="*/ 58182 w 752994"/>
                <a:gd name="connsiteY236" fmla="*/ 722886 h 1333436"/>
                <a:gd name="connsiteX237" fmla="*/ 51861 w 752994"/>
                <a:gd name="connsiteY237" fmla="*/ 717985 h 1333436"/>
                <a:gd name="connsiteX238" fmla="*/ 46749 w 752994"/>
                <a:gd name="connsiteY238" fmla="*/ 729617 h 1333436"/>
                <a:gd name="connsiteX239" fmla="*/ 40831 w 752994"/>
                <a:gd name="connsiteY239" fmla="*/ 739212 h 1333436"/>
                <a:gd name="connsiteX240" fmla="*/ 39601 w 752994"/>
                <a:gd name="connsiteY240" fmla="*/ 738798 h 1333436"/>
                <a:gd name="connsiteX241" fmla="*/ 39409 w 752994"/>
                <a:gd name="connsiteY241" fmla="*/ 738591 h 1333436"/>
                <a:gd name="connsiteX242" fmla="*/ 37161 w 752994"/>
                <a:gd name="connsiteY242" fmla="*/ 734725 h 1333436"/>
                <a:gd name="connsiteX243" fmla="*/ 32665 w 752994"/>
                <a:gd name="connsiteY243" fmla="*/ 727788 h 1333436"/>
                <a:gd name="connsiteX244" fmla="*/ 26747 w 752994"/>
                <a:gd name="connsiteY244" fmla="*/ 719435 h 1333436"/>
                <a:gd name="connsiteX245" fmla="*/ 23884 w 752994"/>
                <a:gd name="connsiteY245" fmla="*/ 717812 h 1333436"/>
                <a:gd name="connsiteX246" fmla="*/ 24710 w 752994"/>
                <a:gd name="connsiteY246" fmla="*/ 709632 h 1333436"/>
                <a:gd name="connsiteX247" fmla="*/ 27554 w 752994"/>
                <a:gd name="connsiteY247" fmla="*/ 701694 h 1333436"/>
                <a:gd name="connsiteX248" fmla="*/ 24902 w 752994"/>
                <a:gd name="connsiteY248" fmla="*/ 696171 h 1333436"/>
                <a:gd name="connsiteX249" fmla="*/ 24095 w 752994"/>
                <a:gd name="connsiteY249" fmla="*/ 687818 h 1333436"/>
                <a:gd name="connsiteX250" fmla="*/ 22462 w 752994"/>
                <a:gd name="connsiteY250" fmla="*/ 682330 h 1333436"/>
                <a:gd name="connsiteX251" fmla="*/ 17159 w 752994"/>
                <a:gd name="connsiteY251" fmla="*/ 677636 h 1333436"/>
                <a:gd name="connsiteX252" fmla="*/ 14296 w 752994"/>
                <a:gd name="connsiteY252" fmla="*/ 671492 h 1333436"/>
                <a:gd name="connsiteX253" fmla="*/ 12451 w 752994"/>
                <a:gd name="connsiteY253" fmla="*/ 665797 h 1333436"/>
                <a:gd name="connsiteX254" fmla="*/ 5111 w 752994"/>
                <a:gd name="connsiteY254" fmla="*/ 654994 h 1333436"/>
                <a:gd name="connsiteX255" fmla="*/ 2248 w 752994"/>
                <a:gd name="connsiteY255" fmla="*/ 645605 h 1333436"/>
                <a:gd name="connsiteX256" fmla="*/ 4496 w 752994"/>
                <a:gd name="connsiteY256" fmla="*/ 640497 h 1333436"/>
                <a:gd name="connsiteX257" fmla="*/ 6744 w 752994"/>
                <a:gd name="connsiteY257" fmla="*/ 632765 h 1333436"/>
                <a:gd name="connsiteX258" fmla="*/ 6744 w 752994"/>
                <a:gd name="connsiteY258" fmla="*/ 628485 h 1333436"/>
                <a:gd name="connsiteX259" fmla="*/ 6533 w 752994"/>
                <a:gd name="connsiteY259" fmla="*/ 620305 h 1333436"/>
                <a:gd name="connsiteX260" fmla="*/ 7359 w 752994"/>
                <a:gd name="connsiteY260" fmla="*/ 611745 h 1333436"/>
                <a:gd name="connsiteX261" fmla="*/ 11836 w 752994"/>
                <a:gd name="connsiteY261" fmla="*/ 602978 h 1333436"/>
                <a:gd name="connsiteX262" fmla="*/ 15103 w 752994"/>
                <a:gd name="connsiteY262" fmla="*/ 591760 h 1333436"/>
                <a:gd name="connsiteX263" fmla="*/ 14488 w 752994"/>
                <a:gd name="connsiteY263" fmla="*/ 584029 h 1333436"/>
                <a:gd name="connsiteX264" fmla="*/ 13873 w 752994"/>
                <a:gd name="connsiteY264" fmla="*/ 578299 h 1333436"/>
                <a:gd name="connsiteX265" fmla="*/ 10626 w 752994"/>
                <a:gd name="connsiteY265" fmla="*/ 568531 h 1333436"/>
                <a:gd name="connsiteX266" fmla="*/ 3670 w 752994"/>
                <a:gd name="connsiteY266" fmla="*/ 558107 h 1333436"/>
                <a:gd name="connsiteX267" fmla="*/ 0 w 752994"/>
                <a:gd name="connsiteY267" fmla="*/ 551377 h 1333436"/>
                <a:gd name="connsiteX268" fmla="*/ 0 w 752994"/>
                <a:gd name="connsiteY268" fmla="*/ 550997 h 1333436"/>
                <a:gd name="connsiteX269" fmla="*/ 4900 w 752994"/>
                <a:gd name="connsiteY269" fmla="*/ 531220 h 1333436"/>
                <a:gd name="connsiteX270" fmla="*/ 13873 w 752994"/>
                <a:gd name="connsiteY270" fmla="*/ 520589 h 1333436"/>
                <a:gd name="connsiteX271" fmla="*/ 18369 w 752994"/>
                <a:gd name="connsiteY271" fmla="*/ 516516 h 1333436"/>
                <a:gd name="connsiteX272" fmla="*/ 18773 w 752994"/>
                <a:gd name="connsiteY272" fmla="*/ 514272 h 1333436"/>
                <a:gd name="connsiteX273" fmla="*/ 23077 w 752994"/>
                <a:gd name="connsiteY273" fmla="*/ 506127 h 1333436"/>
                <a:gd name="connsiteX274" fmla="*/ 23884 w 752994"/>
                <a:gd name="connsiteY274" fmla="*/ 502261 h 1333436"/>
                <a:gd name="connsiteX275" fmla="*/ 23692 w 752994"/>
                <a:gd name="connsiteY275" fmla="*/ 496738 h 1333436"/>
                <a:gd name="connsiteX276" fmla="*/ 30013 w 752994"/>
                <a:gd name="connsiteY276" fmla="*/ 486556 h 1333436"/>
                <a:gd name="connsiteX277" fmla="*/ 36546 w 752994"/>
                <a:gd name="connsiteY277" fmla="*/ 470230 h 1333436"/>
                <a:gd name="connsiteX278" fmla="*/ 36546 w 752994"/>
                <a:gd name="connsiteY278" fmla="*/ 462671 h 1333436"/>
                <a:gd name="connsiteX279" fmla="*/ 36335 w 752994"/>
                <a:gd name="connsiteY279" fmla="*/ 461670 h 1333436"/>
                <a:gd name="connsiteX280" fmla="*/ 35931 w 752994"/>
                <a:gd name="connsiteY280" fmla="*/ 453110 h 1333436"/>
                <a:gd name="connsiteX281" fmla="*/ 38583 w 752994"/>
                <a:gd name="connsiteY281" fmla="*/ 442514 h 1333436"/>
                <a:gd name="connsiteX282" fmla="*/ 41043 w 752994"/>
                <a:gd name="connsiteY282" fmla="*/ 436991 h 1333436"/>
                <a:gd name="connsiteX283" fmla="*/ 41650 w 752994"/>
                <a:gd name="connsiteY283" fmla="*/ 437186 h 1333436"/>
                <a:gd name="connsiteX284" fmla="*/ 41239 w 752994"/>
                <a:gd name="connsiteY284" fmla="*/ 436549 h 1333436"/>
                <a:gd name="connsiteX285" fmla="*/ 37778 w 752994"/>
                <a:gd name="connsiteY285" fmla="*/ 433894 h 1333436"/>
                <a:gd name="connsiteX286" fmla="*/ 37169 w 752994"/>
                <a:gd name="connsiteY286" fmla="*/ 432261 h 1333436"/>
                <a:gd name="connsiteX287" fmla="*/ 37365 w 752994"/>
                <a:gd name="connsiteY287" fmla="*/ 429198 h 1333436"/>
                <a:gd name="connsiteX288" fmla="*/ 36756 w 752994"/>
                <a:gd name="connsiteY288" fmla="*/ 422272 h 1333436"/>
                <a:gd name="connsiteX289" fmla="*/ 36952 w 752994"/>
                <a:gd name="connsiteY289" fmla="*/ 418800 h 1333436"/>
                <a:gd name="connsiteX290" fmla="*/ 36756 w 752994"/>
                <a:gd name="connsiteY290" fmla="*/ 412487 h 1333436"/>
                <a:gd name="connsiteX291" fmla="*/ 40433 w 752994"/>
                <a:gd name="connsiteY291" fmla="*/ 406174 h 1333436"/>
                <a:gd name="connsiteX292" fmla="*/ 44720 w 752994"/>
                <a:gd name="connsiteY292" fmla="*/ 399435 h 1333436"/>
                <a:gd name="connsiteX293" fmla="*/ 44110 w 752994"/>
                <a:gd name="connsiteY293" fmla="*/ 389651 h 1333436"/>
                <a:gd name="connsiteX294" fmla="*/ 43894 w 752994"/>
                <a:gd name="connsiteY294" fmla="*/ 378437 h 1333436"/>
                <a:gd name="connsiteX295" fmla="*/ 47158 w 752994"/>
                <a:gd name="connsiteY295" fmla="*/ 371102 h 1333436"/>
                <a:gd name="connsiteX296" fmla="*/ 55731 w 752994"/>
                <a:gd name="connsiteY296" fmla="*/ 360909 h 1333436"/>
                <a:gd name="connsiteX297" fmla="*/ 57580 w 752994"/>
                <a:gd name="connsiteY297" fmla="*/ 355804 h 1333436"/>
                <a:gd name="connsiteX298" fmla="*/ 62673 w 752994"/>
                <a:gd name="connsiteY298" fmla="*/ 349695 h 1333436"/>
                <a:gd name="connsiteX299" fmla="*/ 65937 w 752994"/>
                <a:gd name="connsiteY299" fmla="*/ 348470 h 1333436"/>
                <a:gd name="connsiteX300" fmla="*/ 68395 w 752994"/>
                <a:gd name="connsiteY300" fmla="*/ 348674 h 1333436"/>
                <a:gd name="connsiteX301" fmla="*/ 70224 w 752994"/>
                <a:gd name="connsiteY301" fmla="*/ 347449 h 1333436"/>
                <a:gd name="connsiteX302" fmla="*/ 67785 w 752994"/>
                <a:gd name="connsiteY302" fmla="*/ 345203 h 1333436"/>
                <a:gd name="connsiteX303" fmla="*/ 65524 w 752994"/>
                <a:gd name="connsiteY303" fmla="*/ 343178 h 1333436"/>
                <a:gd name="connsiteX304" fmla="*/ 73095 w 752994"/>
                <a:gd name="connsiteY304" fmla="*/ 333376 h 1333436"/>
                <a:gd name="connsiteX305" fmla="*/ 73291 w 752994"/>
                <a:gd name="connsiteY305" fmla="*/ 333376 h 1333436"/>
                <a:gd name="connsiteX306" fmla="*/ 77991 w 752994"/>
                <a:gd name="connsiteY306" fmla="*/ 325838 h 1333436"/>
                <a:gd name="connsiteX307" fmla="*/ 82671 w 752994"/>
                <a:gd name="connsiteY307" fmla="*/ 313619 h 1333436"/>
                <a:gd name="connsiteX308" fmla="*/ 87980 w 752994"/>
                <a:gd name="connsiteY308" fmla="*/ 303018 h 1333436"/>
                <a:gd name="connsiteX309" fmla="*/ 92267 w 752994"/>
                <a:gd name="connsiteY309" fmla="*/ 291191 h 1333436"/>
                <a:gd name="connsiteX310" fmla="*/ 96553 w 752994"/>
                <a:gd name="connsiteY310" fmla="*/ 281202 h 1333436"/>
                <a:gd name="connsiteX311" fmla="*/ 99621 w 752994"/>
                <a:gd name="connsiteY311" fmla="*/ 274481 h 1333436"/>
                <a:gd name="connsiteX312" fmla="*/ 103082 w 752994"/>
                <a:gd name="connsiteY312" fmla="*/ 262450 h 1333436"/>
                <a:gd name="connsiteX313" fmla="*/ 107172 w 752994"/>
                <a:gd name="connsiteY313" fmla="*/ 254299 h 1333436"/>
                <a:gd name="connsiteX314" fmla="*/ 112481 w 752994"/>
                <a:gd name="connsiteY314" fmla="*/ 243697 h 1333436"/>
                <a:gd name="connsiteX315" fmla="*/ 117181 w 752994"/>
                <a:gd name="connsiteY315" fmla="*/ 232279 h 1333436"/>
                <a:gd name="connsiteX316" fmla="*/ 125951 w 752994"/>
                <a:gd name="connsiteY316" fmla="*/ 217389 h 1333436"/>
                <a:gd name="connsiteX317" fmla="*/ 136156 w 752994"/>
                <a:gd name="connsiteY317" fmla="*/ 202925 h 1333436"/>
                <a:gd name="connsiteX318" fmla="*/ 138811 w 752994"/>
                <a:gd name="connsiteY318" fmla="*/ 183339 h 1333436"/>
                <a:gd name="connsiteX319" fmla="*/ 148801 w 752994"/>
                <a:gd name="connsiteY319" fmla="*/ 167445 h 1333436"/>
                <a:gd name="connsiteX320" fmla="*/ 159616 w 752994"/>
                <a:gd name="connsiteY320" fmla="*/ 170712 h 1333436"/>
                <a:gd name="connsiteX321" fmla="*/ 173105 w 752994"/>
                <a:gd name="connsiteY321" fmla="*/ 175188 h 1333436"/>
                <a:gd name="connsiteX322" fmla="*/ 175347 w 752994"/>
                <a:gd name="connsiteY322" fmla="*/ 175188 h 1333436"/>
                <a:gd name="connsiteX323" fmla="*/ 175347 w 752994"/>
                <a:gd name="connsiteY323" fmla="*/ 173758 h 1333436"/>
                <a:gd name="connsiteX324" fmla="*/ 184975 w 752994"/>
                <a:gd name="connsiteY324" fmla="*/ 187393 h 1333436"/>
                <a:gd name="connsiteX325" fmla="*/ 184762 w 752994"/>
                <a:gd name="connsiteY325" fmla="*/ 184637 h 1333436"/>
                <a:gd name="connsiteX326" fmla="*/ 174971 w 752994"/>
                <a:gd name="connsiteY326" fmla="*/ 170774 h 1333436"/>
                <a:gd name="connsiteX327" fmla="*/ 174971 w 752994"/>
                <a:gd name="connsiteY327" fmla="*/ 169550 h 1333436"/>
                <a:gd name="connsiteX328" fmla="*/ 158851 w 752994"/>
                <a:gd name="connsiteY328" fmla="*/ 156924 h 1333436"/>
                <a:gd name="connsiteX329" fmla="*/ 147025 w 752994"/>
                <a:gd name="connsiteY329" fmla="*/ 145709 h 1333436"/>
                <a:gd name="connsiteX330" fmla="*/ 154364 w 752994"/>
                <a:gd name="connsiteY330" fmla="*/ 136335 h 1333436"/>
                <a:gd name="connsiteX331" fmla="*/ 161511 w 752994"/>
                <a:gd name="connsiteY331" fmla="*/ 131042 h 1333436"/>
                <a:gd name="connsiteX332" fmla="*/ 160902 w 752994"/>
                <a:gd name="connsiteY332" fmla="*/ 128384 h 1333436"/>
                <a:gd name="connsiteX333" fmla="*/ 160277 w 752994"/>
                <a:gd name="connsiteY333" fmla="*/ 127778 h 1333436"/>
                <a:gd name="connsiteX334" fmla="*/ 154973 w 752994"/>
                <a:gd name="connsiteY334" fmla="*/ 122077 h 1333436"/>
                <a:gd name="connsiteX335" fmla="*/ 160277 w 752994"/>
                <a:gd name="connsiteY335" fmla="*/ 115140 h 1333436"/>
                <a:gd name="connsiteX336" fmla="*/ 165181 w 752994"/>
                <a:gd name="connsiteY336" fmla="*/ 108215 h 1333436"/>
                <a:gd name="connsiteX337" fmla="*/ 161303 w 752994"/>
                <a:gd name="connsiteY337" fmla="*/ 104146 h 1333436"/>
                <a:gd name="connsiteX338" fmla="*/ 157842 w 752994"/>
                <a:gd name="connsiteY338" fmla="*/ 104542 h 1333436"/>
                <a:gd name="connsiteX339" fmla="*/ 157024 w 752994"/>
                <a:gd name="connsiteY339" fmla="*/ 102304 h 1333436"/>
                <a:gd name="connsiteX340" fmla="*/ 160694 w 752994"/>
                <a:gd name="connsiteY340" fmla="*/ 55437 h 1333436"/>
                <a:gd name="connsiteX341" fmla="*/ 160486 w 752994"/>
                <a:gd name="connsiteY341" fmla="*/ 31991 h 1333436"/>
                <a:gd name="connsiteX342" fmla="*/ 164972 w 752994"/>
                <a:gd name="connsiteY342" fmla="*/ 18141 h 1333436"/>
                <a:gd name="connsiteX343" fmla="*/ 171911 w 752994"/>
                <a:gd name="connsiteY343" fmla="*/ 11204 h 1333436"/>
                <a:gd name="connsiteX344" fmla="*/ 187406 w 752994"/>
                <a:gd name="connsiteY344" fmla="*/ 21801 h 1333436"/>
                <a:gd name="connsiteX345" fmla="*/ 210866 w 752994"/>
                <a:gd name="connsiteY345" fmla="*/ 37086 h 1333436"/>
                <a:gd name="connsiteX346" fmla="*/ 219230 w 752994"/>
                <a:gd name="connsiteY346" fmla="*/ 41166 h 1333436"/>
                <a:gd name="connsiteX347" fmla="*/ 226778 w 752994"/>
                <a:gd name="connsiteY347" fmla="*/ 47486 h 1333436"/>
                <a:gd name="connsiteX348" fmla="*/ 236152 w 752994"/>
                <a:gd name="connsiteY348" fmla="*/ 52370 h 1333436"/>
                <a:gd name="connsiteX349" fmla="*/ 239629 w 752994"/>
                <a:gd name="connsiteY349" fmla="*/ 58491 h 1333436"/>
                <a:gd name="connsiteX350" fmla="*/ 239629 w 752994"/>
                <a:gd name="connsiteY350" fmla="*/ 63376 h 1333436"/>
                <a:gd name="connsiteX351" fmla="*/ 236568 w 752994"/>
                <a:gd name="connsiteY351" fmla="*/ 67457 h 1333436"/>
                <a:gd name="connsiteX352" fmla="*/ 231264 w 752994"/>
                <a:gd name="connsiteY352" fmla="*/ 69905 h 1333436"/>
                <a:gd name="connsiteX353" fmla="*/ 216778 w 752994"/>
                <a:gd name="connsiteY353" fmla="*/ 82741 h 1333436"/>
                <a:gd name="connsiteX354" fmla="*/ 214134 w 752994"/>
                <a:gd name="connsiteY354" fmla="*/ 93536 h 1333436"/>
                <a:gd name="connsiteX355" fmla="*/ 214535 w 752994"/>
                <a:gd name="connsiteY355" fmla="*/ 96801 h 1333436"/>
                <a:gd name="connsiteX356" fmla="*/ 216378 w 752994"/>
                <a:gd name="connsiteY356" fmla="*/ 96801 h 1333436"/>
                <a:gd name="connsiteX357" fmla="*/ 230046 w 752994"/>
                <a:gd name="connsiteY357" fmla="*/ 85387 h 1333436"/>
                <a:gd name="connsiteX358" fmla="*/ 243298 w 752994"/>
                <a:gd name="connsiteY358" fmla="*/ 75198 h 1333436"/>
                <a:gd name="connsiteX359" fmla="*/ 246760 w 752994"/>
                <a:gd name="connsiteY359" fmla="*/ 77646 h 1333436"/>
                <a:gd name="connsiteX360" fmla="*/ 255541 w 752994"/>
                <a:gd name="connsiteY360" fmla="*/ 63376 h 1333436"/>
                <a:gd name="connsiteX361" fmla="*/ 259611 w 752994"/>
                <a:gd name="connsiteY361" fmla="*/ 43405 h 1333436"/>
                <a:gd name="connsiteX362" fmla="*/ 256967 w 752994"/>
                <a:gd name="connsiteY362" fmla="*/ 38520 h 1333436"/>
                <a:gd name="connsiteX363" fmla="*/ 253906 w 752994"/>
                <a:gd name="connsiteY363" fmla="*/ 34242 h 1333436"/>
                <a:gd name="connsiteX364" fmla="*/ 256967 w 752994"/>
                <a:gd name="connsiteY364" fmla="*/ 30161 h 1333436"/>
                <a:gd name="connsiteX365" fmla="*/ 262063 w 752994"/>
                <a:gd name="connsiteY365" fmla="*/ 27712 h 1333436"/>
                <a:gd name="connsiteX366" fmla="*/ 264915 w 752994"/>
                <a:gd name="connsiteY366" fmla="*/ 23026 h 1333436"/>
                <a:gd name="connsiteX367" fmla="*/ 267976 w 752994"/>
                <a:gd name="connsiteY367" fmla="*/ 22618 h 1333436"/>
                <a:gd name="connsiteX368" fmla="*/ 270427 w 752994"/>
                <a:gd name="connsiteY368" fmla="*/ 20787 h 1333436"/>
                <a:gd name="connsiteX369" fmla="*/ 263088 w 752994"/>
                <a:gd name="connsiteY369" fmla="*/ 13652 h 1333436"/>
                <a:gd name="connsiteX370" fmla="*/ 255541 w 752994"/>
                <a:gd name="connsiteY370" fmla="*/ 3055 h 1333436"/>
                <a:gd name="connsiteX371" fmla="*/ 256358 w 752994"/>
                <a:gd name="connsiteY371" fmla="*/ 1224 h 1333436"/>
                <a:gd name="connsiteX372" fmla="*/ 257159 w 752994"/>
                <a:gd name="connsiteY372"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4780 w 752994"/>
                <a:gd name="connsiteY7" fmla="*/ 986382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404780 w 752994"/>
                <a:gd name="connsiteY12" fmla="*/ 986382 h 1333436"/>
                <a:gd name="connsiteX13" fmla="*/ 184180 w 752994"/>
                <a:gd name="connsiteY13" fmla="*/ 213866 h 1333436"/>
                <a:gd name="connsiteX14" fmla="*/ 184117 w 752994"/>
                <a:gd name="connsiteY14" fmla="*/ 214326 h 1333436"/>
                <a:gd name="connsiteX15" fmla="*/ 185553 w 752994"/>
                <a:gd name="connsiteY15" fmla="*/ 222494 h 1333436"/>
                <a:gd name="connsiteX16" fmla="*/ 188600 w 752994"/>
                <a:gd name="connsiteY16" fmla="*/ 226970 h 1333436"/>
                <a:gd name="connsiteX17" fmla="*/ 195542 w 752994"/>
                <a:gd name="connsiteY17" fmla="*/ 231871 h 1333436"/>
                <a:gd name="connsiteX18" fmla="*/ 203093 w 752994"/>
                <a:gd name="connsiteY18" fmla="*/ 233896 h 1333436"/>
                <a:gd name="connsiteX19" fmla="*/ 217192 w 752994"/>
                <a:gd name="connsiteY19" fmla="*/ 232075 h 1333436"/>
                <a:gd name="connsiteX20" fmla="*/ 225136 w 752994"/>
                <a:gd name="connsiteY20" fmla="*/ 229829 h 1333436"/>
                <a:gd name="connsiteX21" fmla="*/ 235558 w 752994"/>
                <a:gd name="connsiteY21" fmla="*/ 232483 h 1333436"/>
                <a:gd name="connsiteX22" fmla="*/ 242499 w 752994"/>
                <a:gd name="connsiteY22" fmla="*/ 237163 h 1333436"/>
                <a:gd name="connsiteX23" fmla="*/ 248418 w 752994"/>
                <a:gd name="connsiteY23" fmla="*/ 244701 h 1333436"/>
                <a:gd name="connsiteX24" fmla="*/ 255359 w 752994"/>
                <a:gd name="connsiteY24" fmla="*/ 244906 h 1333436"/>
                <a:gd name="connsiteX25" fmla="*/ 258210 w 752994"/>
                <a:gd name="connsiteY25" fmla="*/ 244906 h 1333436"/>
                <a:gd name="connsiteX26" fmla="*/ 263303 w 752994"/>
                <a:gd name="connsiteY26" fmla="*/ 246131 h 1333436"/>
                <a:gd name="connsiteX27" fmla="*/ 269438 w 752994"/>
                <a:gd name="connsiteY27" fmla="*/ 243697 h 1333436"/>
                <a:gd name="connsiteX28" fmla="*/ 274944 w 752994"/>
                <a:gd name="connsiteY28" fmla="*/ 241451 h 1333436"/>
                <a:gd name="connsiteX29" fmla="*/ 281276 w 752994"/>
                <a:gd name="connsiteY29" fmla="*/ 245722 h 1333436"/>
                <a:gd name="connsiteX30" fmla="*/ 289240 w 752994"/>
                <a:gd name="connsiteY30" fmla="*/ 250419 h 1333436"/>
                <a:gd name="connsiteX31" fmla="*/ 297597 w 752994"/>
                <a:gd name="connsiteY31" fmla="*/ 248581 h 1333436"/>
                <a:gd name="connsiteX32" fmla="*/ 310261 w 752994"/>
                <a:gd name="connsiteY32" fmla="*/ 246539 h 1333436"/>
                <a:gd name="connsiteX33" fmla="*/ 324340 w 752994"/>
                <a:gd name="connsiteY33" fmla="*/ 244497 h 1333436"/>
                <a:gd name="connsiteX34" fmla="*/ 333523 w 752994"/>
                <a:gd name="connsiteY34" fmla="*/ 243289 h 1333436"/>
                <a:gd name="connsiteX35" fmla="*/ 341271 w 752994"/>
                <a:gd name="connsiteY35" fmla="*/ 246539 h 1333436"/>
                <a:gd name="connsiteX36" fmla="*/ 348428 w 752994"/>
                <a:gd name="connsiteY36" fmla="*/ 250011 h 1333436"/>
                <a:gd name="connsiteX37" fmla="*/ 351279 w 752994"/>
                <a:gd name="connsiteY37" fmla="*/ 247356 h 1333436"/>
                <a:gd name="connsiteX38" fmla="*/ 355566 w 752994"/>
                <a:gd name="connsiteY38" fmla="*/ 244293 h 1333436"/>
                <a:gd name="connsiteX39" fmla="*/ 365772 w 752994"/>
                <a:gd name="connsiteY39" fmla="*/ 248785 h 1333436"/>
                <a:gd name="connsiteX40" fmla="*/ 381483 w 752994"/>
                <a:gd name="connsiteY40" fmla="*/ 254912 h 1333436"/>
                <a:gd name="connsiteX41" fmla="*/ 381896 w 752994"/>
                <a:gd name="connsiteY41" fmla="*/ 255320 h 1333436"/>
                <a:gd name="connsiteX42" fmla="*/ 395366 w 752994"/>
                <a:gd name="connsiteY42" fmla="*/ 257753 h 1333436"/>
                <a:gd name="connsiteX43" fmla="*/ 414145 w 752994"/>
                <a:gd name="connsiteY43" fmla="*/ 262450 h 1333436"/>
                <a:gd name="connsiteX44" fmla="*/ 431292 w 752994"/>
                <a:gd name="connsiteY44" fmla="*/ 268151 h 1333436"/>
                <a:gd name="connsiteX45" fmla="*/ 445196 w 752994"/>
                <a:gd name="connsiteY45" fmla="*/ 269890 h 1333436"/>
                <a:gd name="connsiteX46" fmla="*/ 444145 w 752994"/>
                <a:gd name="connsiteY46" fmla="*/ 267441 h 1333436"/>
                <a:gd name="connsiteX47" fmla="*/ 444145 w 752994"/>
                <a:gd name="connsiteY47" fmla="*/ 267034 h 1333436"/>
                <a:gd name="connsiteX48" fmla="*/ 444155 w 752994"/>
                <a:gd name="connsiteY48" fmla="*/ 266811 h 1333436"/>
                <a:gd name="connsiteX49" fmla="*/ 430733 w 752994"/>
                <a:gd name="connsiteY49" fmla="*/ 265139 h 1333436"/>
                <a:gd name="connsiteX50" fmla="*/ 394839 w 752994"/>
                <a:gd name="connsiteY50" fmla="*/ 254739 h 1333436"/>
                <a:gd name="connsiteX51" fmla="*/ 381379 w 752994"/>
                <a:gd name="connsiteY51" fmla="*/ 252303 h 1333436"/>
                <a:gd name="connsiteX52" fmla="*/ 380962 w 752994"/>
                <a:gd name="connsiteY52" fmla="*/ 251895 h 1333436"/>
                <a:gd name="connsiteX53" fmla="*/ 365258 w 752994"/>
                <a:gd name="connsiteY53" fmla="*/ 245774 h 1333436"/>
                <a:gd name="connsiteX54" fmla="*/ 355067 w 752994"/>
                <a:gd name="connsiteY54" fmla="*/ 241285 h 1333436"/>
                <a:gd name="connsiteX55" fmla="*/ 350789 w 752994"/>
                <a:gd name="connsiteY55" fmla="*/ 244352 h 1333436"/>
                <a:gd name="connsiteX56" fmla="*/ 347920 w 752994"/>
                <a:gd name="connsiteY56" fmla="*/ 246998 h 1333436"/>
                <a:gd name="connsiteX57" fmla="*/ 340789 w 752994"/>
                <a:gd name="connsiteY57" fmla="*/ 243536 h 1333436"/>
                <a:gd name="connsiteX58" fmla="*/ 333034 w 752994"/>
                <a:gd name="connsiteY58" fmla="*/ 240271 h 1333436"/>
                <a:gd name="connsiteX59" fmla="*/ 323868 w 752994"/>
                <a:gd name="connsiteY59" fmla="*/ 241495 h 1333436"/>
                <a:gd name="connsiteX60" fmla="*/ 309783 w 752994"/>
                <a:gd name="connsiteY60" fmla="*/ 243536 h 1333436"/>
                <a:gd name="connsiteX61" fmla="*/ 297140 w 752994"/>
                <a:gd name="connsiteY61" fmla="*/ 245576 h 1333436"/>
                <a:gd name="connsiteX62" fmla="*/ 288775 w 752994"/>
                <a:gd name="connsiteY62" fmla="*/ 247406 h 1333436"/>
                <a:gd name="connsiteX63" fmla="*/ 280827 w 752994"/>
                <a:gd name="connsiteY63" fmla="*/ 242720 h 1333436"/>
                <a:gd name="connsiteX64" fmla="*/ 274497 w 752994"/>
                <a:gd name="connsiteY64" fmla="*/ 238441 h 1333436"/>
                <a:gd name="connsiteX65" fmla="*/ 269001 w 752994"/>
                <a:gd name="connsiteY65" fmla="*/ 240679 h 1333436"/>
                <a:gd name="connsiteX66" fmla="*/ 262880 w 752994"/>
                <a:gd name="connsiteY66" fmla="*/ 243128 h 1333436"/>
                <a:gd name="connsiteX67" fmla="*/ 260028 w 752994"/>
                <a:gd name="connsiteY67" fmla="*/ 242720 h 1333436"/>
                <a:gd name="connsiteX68" fmla="*/ 247994 w 752994"/>
                <a:gd name="connsiteY68" fmla="*/ 241693 h 1333436"/>
                <a:gd name="connsiteX69" fmla="*/ 242081 w 752994"/>
                <a:gd name="connsiteY69" fmla="*/ 234162 h 1333436"/>
                <a:gd name="connsiteX70" fmla="*/ 235142 w 752994"/>
                <a:gd name="connsiteY70" fmla="*/ 229476 h 1333436"/>
                <a:gd name="connsiteX71" fmla="*/ 224742 w 752994"/>
                <a:gd name="connsiteY71" fmla="*/ 226817 h 1333436"/>
                <a:gd name="connsiteX72" fmla="*/ 216778 w 752994"/>
                <a:gd name="connsiteY72" fmla="*/ 229068 h 1333436"/>
                <a:gd name="connsiteX73" fmla="*/ 202709 w 752994"/>
                <a:gd name="connsiteY73" fmla="*/ 230898 h 1333436"/>
                <a:gd name="connsiteX74" fmla="*/ 195162 w 752994"/>
                <a:gd name="connsiteY74" fmla="*/ 228857 h 1333436"/>
                <a:gd name="connsiteX75" fmla="*/ 188223 w 752994"/>
                <a:gd name="connsiteY75" fmla="*/ 223973 h 1333436"/>
                <a:gd name="connsiteX76" fmla="*/ 185163 w 752994"/>
                <a:gd name="connsiteY76" fmla="*/ 219484 h 1333436"/>
                <a:gd name="connsiteX77" fmla="*/ 184180 w 752994"/>
                <a:gd name="connsiteY77" fmla="*/ 213866 h 1333436"/>
                <a:gd name="connsiteX78" fmla="*/ 257159 w 752994"/>
                <a:gd name="connsiteY78" fmla="*/ 0 h 1333436"/>
                <a:gd name="connsiteX79" fmla="*/ 493147 w 752994"/>
                <a:gd name="connsiteY79" fmla="*/ 73157 h 1333436"/>
                <a:gd name="connsiteX80" fmla="*/ 492970 w 752994"/>
                <a:gd name="connsiteY80" fmla="*/ 73792 h 1333436"/>
                <a:gd name="connsiteX81" fmla="*/ 525816 w 752994"/>
                <a:gd name="connsiteY81" fmla="*/ 82491 h 1333436"/>
                <a:gd name="connsiteX82" fmla="*/ 520098 w 752994"/>
                <a:gd name="connsiteY82" fmla="*/ 111245 h 1333436"/>
                <a:gd name="connsiteX83" fmla="*/ 512552 w 752994"/>
                <a:gd name="connsiteY83" fmla="*/ 143854 h 1333436"/>
                <a:gd name="connsiteX84" fmla="*/ 517849 w 752994"/>
                <a:gd name="connsiteY84" fmla="*/ 157740 h 1333436"/>
                <a:gd name="connsiteX85" fmla="*/ 523160 w 752994"/>
                <a:gd name="connsiteY85" fmla="*/ 172009 h 1333436"/>
                <a:gd name="connsiteX86" fmla="*/ 521535 w 752994"/>
                <a:gd name="connsiteY86" fmla="*/ 178928 h 1333436"/>
                <a:gd name="connsiteX87" fmla="*/ 520098 w 752994"/>
                <a:gd name="connsiteY87" fmla="*/ 186279 h 1333436"/>
                <a:gd name="connsiteX88" fmla="*/ 526019 w 752994"/>
                <a:gd name="connsiteY88" fmla="*/ 193629 h 1333436"/>
                <a:gd name="connsiteX89" fmla="*/ 537251 w 752994"/>
                <a:gd name="connsiteY89" fmla="*/ 206270 h 1333436"/>
                <a:gd name="connsiteX90" fmla="*/ 542765 w 752994"/>
                <a:gd name="connsiteY90" fmla="*/ 217475 h 1333436"/>
                <a:gd name="connsiteX91" fmla="*/ 546857 w 752994"/>
                <a:gd name="connsiteY91" fmla="*/ 230930 h 1333436"/>
                <a:gd name="connsiteX92" fmla="*/ 549499 w 752994"/>
                <a:gd name="connsiteY92" fmla="*/ 235622 h 1333436"/>
                <a:gd name="connsiteX93" fmla="*/ 553388 w 752994"/>
                <a:gd name="connsiteY93" fmla="*/ 240722 h 1333436"/>
                <a:gd name="connsiteX94" fmla="*/ 557465 w 752994"/>
                <a:gd name="connsiteY94" fmla="*/ 246037 h 1333436"/>
                <a:gd name="connsiteX95" fmla="*/ 561761 w 752994"/>
                <a:gd name="connsiteY95" fmla="*/ 248671 h 1333436"/>
                <a:gd name="connsiteX96" fmla="*/ 567478 w 752994"/>
                <a:gd name="connsiteY96" fmla="*/ 247665 h 1333436"/>
                <a:gd name="connsiteX97" fmla="*/ 569931 w 752994"/>
                <a:gd name="connsiteY97" fmla="*/ 249293 h 1333436"/>
                <a:gd name="connsiteX98" fmla="*/ 570540 w 752994"/>
                <a:gd name="connsiteY98" fmla="*/ 251951 h 1333436"/>
                <a:gd name="connsiteX99" fmla="*/ 561964 w 752994"/>
                <a:gd name="connsiteY99" fmla="*/ 267656 h 1333436"/>
                <a:gd name="connsiteX100" fmla="*/ 553591 w 752994"/>
                <a:gd name="connsiteY100" fmla="*/ 289659 h 1333436"/>
                <a:gd name="connsiteX101" fmla="*/ 554810 w 752994"/>
                <a:gd name="connsiteY101" fmla="*/ 292939 h 1333436"/>
                <a:gd name="connsiteX102" fmla="*/ 556246 w 752994"/>
                <a:gd name="connsiteY102" fmla="*/ 299260 h 1333436"/>
                <a:gd name="connsiteX103" fmla="*/ 552778 w 752994"/>
                <a:gd name="connsiteY103" fmla="*/ 301917 h 1333436"/>
                <a:gd name="connsiteX104" fmla="*/ 549295 w 752994"/>
                <a:gd name="connsiteY104" fmla="*/ 306993 h 1333436"/>
                <a:gd name="connsiteX105" fmla="*/ 547061 w 752994"/>
                <a:gd name="connsiteY105" fmla="*/ 313122 h 1333436"/>
                <a:gd name="connsiteX106" fmla="*/ 544811 w 752994"/>
                <a:gd name="connsiteY106" fmla="*/ 316593 h 1333436"/>
                <a:gd name="connsiteX107" fmla="*/ 549919 w 752994"/>
                <a:gd name="connsiteY107" fmla="*/ 322698 h 1333436"/>
                <a:gd name="connsiteX108" fmla="*/ 553184 w 752994"/>
                <a:gd name="connsiteY108" fmla="*/ 325955 h 1333436"/>
                <a:gd name="connsiteX109" fmla="*/ 555840 w 752994"/>
                <a:gd name="connsiteY109" fmla="*/ 328205 h 1333436"/>
                <a:gd name="connsiteX110" fmla="*/ 574212 w 752994"/>
                <a:gd name="connsiteY110" fmla="*/ 318820 h 1333436"/>
                <a:gd name="connsiteX111" fmla="*/ 579523 w 752994"/>
                <a:gd name="connsiteY111" fmla="*/ 326577 h 1333436"/>
                <a:gd name="connsiteX112" fmla="*/ 580539 w 752994"/>
                <a:gd name="connsiteY112" fmla="*/ 334933 h 1333436"/>
                <a:gd name="connsiteX113" fmla="*/ 579726 w 752994"/>
                <a:gd name="connsiteY113" fmla="*/ 343097 h 1333436"/>
                <a:gd name="connsiteX114" fmla="*/ 581366 w 752994"/>
                <a:gd name="connsiteY114" fmla="*/ 350231 h 1333436"/>
                <a:gd name="connsiteX115" fmla="*/ 586256 w 752994"/>
                <a:gd name="connsiteY115" fmla="*/ 355930 h 1333436"/>
                <a:gd name="connsiteX116" fmla="*/ 589536 w 752994"/>
                <a:gd name="connsiteY116" fmla="*/ 362059 h 1333436"/>
                <a:gd name="connsiteX117" fmla="*/ 588099 w 752994"/>
                <a:gd name="connsiteY117" fmla="*/ 369600 h 1333436"/>
                <a:gd name="connsiteX118" fmla="*/ 586459 w 752994"/>
                <a:gd name="connsiteY118" fmla="*/ 377357 h 1333436"/>
                <a:gd name="connsiteX119" fmla="*/ 588709 w 752994"/>
                <a:gd name="connsiteY119" fmla="*/ 381835 h 1333436"/>
                <a:gd name="connsiteX120" fmla="*/ 595036 w 752994"/>
                <a:gd name="connsiteY120" fmla="*/ 382457 h 1333436"/>
                <a:gd name="connsiteX121" fmla="*/ 599331 w 752994"/>
                <a:gd name="connsiteY121" fmla="*/ 385306 h 1333436"/>
                <a:gd name="connsiteX122" fmla="*/ 601987 w 752994"/>
                <a:gd name="connsiteY122" fmla="*/ 391004 h 1333436"/>
                <a:gd name="connsiteX123" fmla="*/ 602799 w 752994"/>
                <a:gd name="connsiteY123" fmla="*/ 404076 h 1333436"/>
                <a:gd name="connsiteX124" fmla="*/ 606892 w 752994"/>
                <a:gd name="connsiteY124" fmla="*/ 415688 h 1333436"/>
                <a:gd name="connsiteX125" fmla="*/ 610563 w 752994"/>
                <a:gd name="connsiteY125" fmla="*/ 412217 h 1333436"/>
                <a:gd name="connsiteX126" fmla="*/ 617920 w 752994"/>
                <a:gd name="connsiteY126" fmla="*/ 408769 h 1333436"/>
                <a:gd name="connsiteX127" fmla="*/ 624654 w 752994"/>
                <a:gd name="connsiteY127" fmla="*/ 411211 h 1333436"/>
                <a:gd name="connsiteX128" fmla="*/ 634652 w 752994"/>
                <a:gd name="connsiteY128" fmla="*/ 410182 h 1333436"/>
                <a:gd name="connsiteX129" fmla="*/ 640573 w 752994"/>
                <a:gd name="connsiteY129" fmla="*/ 407739 h 1333436"/>
                <a:gd name="connsiteX130" fmla="*/ 646711 w 752994"/>
                <a:gd name="connsiteY130" fmla="*/ 410589 h 1333436"/>
                <a:gd name="connsiteX131" fmla="*/ 650383 w 752994"/>
                <a:gd name="connsiteY131" fmla="*/ 410589 h 1333436"/>
                <a:gd name="connsiteX132" fmla="*/ 654257 w 752994"/>
                <a:gd name="connsiteY132" fmla="*/ 411618 h 1333436"/>
                <a:gd name="connsiteX133" fmla="*/ 656913 w 752994"/>
                <a:gd name="connsiteY133" fmla="*/ 413653 h 1333436"/>
                <a:gd name="connsiteX134" fmla="*/ 660802 w 752994"/>
                <a:gd name="connsiteY134" fmla="*/ 415090 h 1333436"/>
                <a:gd name="connsiteX135" fmla="*/ 669581 w 752994"/>
                <a:gd name="connsiteY135" fmla="*/ 415904 h 1333436"/>
                <a:gd name="connsiteX136" fmla="*/ 672237 w 752994"/>
                <a:gd name="connsiteY136" fmla="*/ 415688 h 1333436"/>
                <a:gd name="connsiteX137" fmla="*/ 675705 w 752994"/>
                <a:gd name="connsiteY137" fmla="*/ 409367 h 1333436"/>
                <a:gd name="connsiteX138" fmla="*/ 679986 w 752994"/>
                <a:gd name="connsiteY138" fmla="*/ 403238 h 1333436"/>
                <a:gd name="connsiteX139" fmla="*/ 693264 w 752994"/>
                <a:gd name="connsiteY139" fmla="*/ 419567 h 1333436"/>
                <a:gd name="connsiteX140" fmla="*/ 688563 w 752994"/>
                <a:gd name="connsiteY140" fmla="*/ 448321 h 1333436"/>
                <a:gd name="connsiteX141" fmla="*/ 663949 w 752994"/>
                <a:gd name="connsiteY141" fmla="*/ 590165 h 1333436"/>
                <a:gd name="connsiteX142" fmla="*/ 666304 w 752994"/>
                <a:gd name="connsiteY142" fmla="*/ 590504 h 1333436"/>
                <a:gd name="connsiteX143" fmla="*/ 655288 w 752994"/>
                <a:gd name="connsiteY143" fmla="*/ 656178 h 1333436"/>
                <a:gd name="connsiteX144" fmla="*/ 681808 w 752994"/>
                <a:gd name="connsiteY144" fmla="*/ 662301 h 1333436"/>
                <a:gd name="connsiteX145" fmla="*/ 752994 w 752994"/>
                <a:gd name="connsiteY145" fmla="*/ 675560 h 1333436"/>
                <a:gd name="connsiteX146" fmla="*/ 714651 w 752994"/>
                <a:gd name="connsiteY146" fmla="*/ 946985 h 1333436"/>
                <a:gd name="connsiteX147" fmla="*/ 654533 w 752994"/>
                <a:gd name="connsiteY147" fmla="*/ 1333436 h 1333436"/>
                <a:gd name="connsiteX148" fmla="*/ 546831 w 752994"/>
                <a:gd name="connsiteY148" fmla="*/ 1317126 h 1333436"/>
                <a:gd name="connsiteX149" fmla="*/ 351227 w 752994"/>
                <a:gd name="connsiteY149" fmla="*/ 1194172 h 1333436"/>
                <a:gd name="connsiteX150" fmla="*/ 361011 w 752994"/>
                <a:gd name="connsiteY150" fmla="*/ 1182755 h 1333436"/>
                <a:gd name="connsiteX151" fmla="*/ 368981 w 752994"/>
                <a:gd name="connsiteY151" fmla="*/ 1182130 h 1333436"/>
                <a:gd name="connsiteX152" fmla="*/ 369571 w 752994"/>
                <a:gd name="connsiteY152" fmla="*/ 1181558 h 1333436"/>
                <a:gd name="connsiteX153" fmla="*/ 362372 w 752994"/>
                <a:gd name="connsiteY153" fmla="*/ 1182120 h 1333436"/>
                <a:gd name="connsiteX154" fmla="*/ 229464 w 752994"/>
                <a:gd name="connsiteY154" fmla="*/ 1161721 h 1333436"/>
                <a:gd name="connsiteX155" fmla="*/ 227427 w 752994"/>
                <a:gd name="connsiteY155" fmla="*/ 1157269 h 1333436"/>
                <a:gd name="connsiteX156" fmla="*/ 224967 w 752994"/>
                <a:gd name="connsiteY156" fmla="*/ 1152575 h 1333436"/>
                <a:gd name="connsiteX157" fmla="*/ 225582 w 752994"/>
                <a:gd name="connsiteY157" fmla="*/ 1144808 h 1333436"/>
                <a:gd name="connsiteX158" fmla="*/ 227215 w 752994"/>
                <a:gd name="connsiteY158" fmla="*/ 1135834 h 1333436"/>
                <a:gd name="connsiteX159" fmla="*/ 227215 w 752994"/>
                <a:gd name="connsiteY159" fmla="*/ 1134212 h 1333436"/>
                <a:gd name="connsiteX160" fmla="*/ 225179 w 752994"/>
                <a:gd name="connsiteY160" fmla="*/ 1114020 h 1333436"/>
                <a:gd name="connsiteX161" fmla="*/ 217839 w 752994"/>
                <a:gd name="connsiteY161" fmla="*/ 1100352 h 1333436"/>
                <a:gd name="connsiteX162" fmla="*/ 199661 w 752994"/>
                <a:gd name="connsiteY162" fmla="*/ 1076502 h 1333436"/>
                <a:gd name="connsiteX163" fmla="*/ 196395 w 752994"/>
                <a:gd name="connsiteY163" fmla="*/ 1071807 h 1333436"/>
                <a:gd name="connsiteX164" fmla="*/ 190880 w 752994"/>
                <a:gd name="connsiteY164" fmla="*/ 1067527 h 1333436"/>
                <a:gd name="connsiteX165" fmla="*/ 187210 w 752994"/>
                <a:gd name="connsiteY165" fmla="*/ 1068735 h 1333436"/>
                <a:gd name="connsiteX166" fmla="*/ 180062 w 752994"/>
                <a:gd name="connsiteY166" fmla="*/ 1066699 h 1333436"/>
                <a:gd name="connsiteX167" fmla="*/ 180466 w 752994"/>
                <a:gd name="connsiteY167" fmla="*/ 1053031 h 1333436"/>
                <a:gd name="connsiteX168" fmla="*/ 180062 w 752994"/>
                <a:gd name="connsiteY168" fmla="*/ 1045299 h 1333436"/>
                <a:gd name="connsiteX169" fmla="*/ 174144 w 752994"/>
                <a:gd name="connsiteY169" fmla="*/ 1044057 h 1333436"/>
                <a:gd name="connsiteX170" fmla="*/ 158426 w 752994"/>
                <a:gd name="connsiteY170" fmla="*/ 1042641 h 1333436"/>
                <a:gd name="connsiteX171" fmla="*/ 149857 w 752994"/>
                <a:gd name="connsiteY171" fmla="*/ 1035497 h 1333436"/>
                <a:gd name="connsiteX172" fmla="*/ 142497 w 752994"/>
                <a:gd name="connsiteY172" fmla="*/ 1028766 h 1333436"/>
                <a:gd name="connsiteX173" fmla="*/ 140864 w 752994"/>
                <a:gd name="connsiteY173" fmla="*/ 1020620 h 1333436"/>
                <a:gd name="connsiteX174" fmla="*/ 138212 w 752994"/>
                <a:gd name="connsiteY174" fmla="*/ 1013061 h 1333436"/>
                <a:gd name="connsiteX175" fmla="*/ 131064 w 752994"/>
                <a:gd name="connsiteY175" fmla="*/ 1007159 h 1333436"/>
                <a:gd name="connsiteX176" fmla="*/ 121264 w 752994"/>
                <a:gd name="connsiteY176" fmla="*/ 1005330 h 1333436"/>
                <a:gd name="connsiteX177" fmla="*/ 112483 w 752994"/>
                <a:gd name="connsiteY177" fmla="*/ 1001671 h 1333436"/>
                <a:gd name="connsiteX178" fmla="*/ 105950 w 752994"/>
                <a:gd name="connsiteY178" fmla="*/ 995734 h 1333436"/>
                <a:gd name="connsiteX179" fmla="*/ 97380 w 752994"/>
                <a:gd name="connsiteY179" fmla="*/ 994526 h 1333436"/>
                <a:gd name="connsiteX180" fmla="*/ 87984 w 752994"/>
                <a:gd name="connsiteY180" fmla="*/ 991040 h 1333436"/>
                <a:gd name="connsiteX181" fmla="*/ 80029 w 752994"/>
                <a:gd name="connsiteY181" fmla="*/ 985138 h 1333436"/>
                <a:gd name="connsiteX182" fmla="*/ 77166 w 752994"/>
                <a:gd name="connsiteY182" fmla="*/ 976164 h 1333436"/>
                <a:gd name="connsiteX183" fmla="*/ 79203 w 752994"/>
                <a:gd name="connsiteY183" fmla="*/ 970676 h 1333436"/>
                <a:gd name="connsiteX184" fmla="*/ 82470 w 752994"/>
                <a:gd name="connsiteY184" fmla="*/ 963117 h 1333436"/>
                <a:gd name="connsiteX185" fmla="*/ 84314 w 752994"/>
                <a:gd name="connsiteY185" fmla="*/ 954557 h 1333436"/>
                <a:gd name="connsiteX186" fmla="*/ 86351 w 752994"/>
                <a:gd name="connsiteY186" fmla="*/ 948033 h 1333436"/>
                <a:gd name="connsiteX187" fmla="*/ 86159 w 752994"/>
                <a:gd name="connsiteY187" fmla="*/ 942925 h 1333436"/>
                <a:gd name="connsiteX188" fmla="*/ 83085 w 752994"/>
                <a:gd name="connsiteY188" fmla="*/ 939853 h 1333436"/>
                <a:gd name="connsiteX189" fmla="*/ 77570 w 752994"/>
                <a:gd name="connsiteY189" fmla="*/ 937437 h 1333436"/>
                <a:gd name="connsiteX190" fmla="*/ 76763 w 752994"/>
                <a:gd name="connsiteY190" fmla="*/ 931915 h 1333436"/>
                <a:gd name="connsiteX191" fmla="*/ 78800 w 752994"/>
                <a:gd name="connsiteY191" fmla="*/ 927013 h 1333436"/>
                <a:gd name="connsiteX192" fmla="*/ 79626 w 752994"/>
                <a:gd name="connsiteY192" fmla="*/ 922526 h 1333436"/>
                <a:gd name="connsiteX193" fmla="*/ 77781 w 752994"/>
                <a:gd name="connsiteY193" fmla="*/ 919903 h 1333436"/>
                <a:gd name="connsiteX194" fmla="*/ 74303 w 752994"/>
                <a:gd name="connsiteY194" fmla="*/ 917418 h 1333436"/>
                <a:gd name="connsiteX195" fmla="*/ 71863 w 752994"/>
                <a:gd name="connsiteY195" fmla="*/ 915174 h 1333436"/>
                <a:gd name="connsiteX196" fmla="*/ 71652 w 752994"/>
                <a:gd name="connsiteY196" fmla="*/ 910894 h 1333436"/>
                <a:gd name="connsiteX197" fmla="*/ 70633 w 752994"/>
                <a:gd name="connsiteY197" fmla="*/ 906614 h 1333436"/>
                <a:gd name="connsiteX198" fmla="*/ 68385 w 752994"/>
                <a:gd name="connsiteY198" fmla="*/ 902749 h 1333436"/>
                <a:gd name="connsiteX199" fmla="*/ 61045 w 752994"/>
                <a:gd name="connsiteY199" fmla="*/ 889494 h 1333436"/>
                <a:gd name="connsiteX200" fmla="*/ 57971 w 752994"/>
                <a:gd name="connsiteY200" fmla="*/ 875619 h 1333436"/>
                <a:gd name="connsiteX201" fmla="*/ 52264 w 752994"/>
                <a:gd name="connsiteY201" fmla="*/ 862572 h 1333436"/>
                <a:gd name="connsiteX202" fmla="*/ 44309 w 752994"/>
                <a:gd name="connsiteY202" fmla="*/ 850561 h 1333436"/>
                <a:gd name="connsiteX203" fmla="*/ 45520 w 752994"/>
                <a:gd name="connsiteY203" fmla="*/ 827090 h 1333436"/>
                <a:gd name="connsiteX204" fmla="*/ 53071 w 752994"/>
                <a:gd name="connsiteY204" fmla="*/ 822396 h 1333436"/>
                <a:gd name="connsiteX205" fmla="*/ 57375 w 752994"/>
                <a:gd name="connsiteY205" fmla="*/ 816493 h 1333436"/>
                <a:gd name="connsiteX206" fmla="*/ 55319 w 752994"/>
                <a:gd name="connsiteY206" fmla="*/ 801617 h 1333436"/>
                <a:gd name="connsiteX207" fmla="*/ 48383 w 752994"/>
                <a:gd name="connsiteY207" fmla="*/ 802204 h 1333436"/>
                <a:gd name="connsiteX208" fmla="*/ 40428 w 752994"/>
                <a:gd name="connsiteY208" fmla="*/ 797924 h 1333436"/>
                <a:gd name="connsiteX209" fmla="*/ 37565 w 752994"/>
                <a:gd name="connsiteY209" fmla="*/ 790606 h 1333436"/>
                <a:gd name="connsiteX210" fmla="*/ 37565 w 752994"/>
                <a:gd name="connsiteY210" fmla="*/ 790399 h 1333436"/>
                <a:gd name="connsiteX211" fmla="*/ 35931 w 752994"/>
                <a:gd name="connsiteY211" fmla="*/ 785912 h 1333436"/>
                <a:gd name="connsiteX212" fmla="*/ 34510 w 752994"/>
                <a:gd name="connsiteY212" fmla="*/ 780597 h 1333436"/>
                <a:gd name="connsiteX213" fmla="*/ 36335 w 752994"/>
                <a:gd name="connsiteY213" fmla="*/ 774280 h 1333436"/>
                <a:gd name="connsiteX214" fmla="*/ 38180 w 752994"/>
                <a:gd name="connsiteY214" fmla="*/ 766721 h 1333436"/>
                <a:gd name="connsiteX215" fmla="*/ 37161 w 752994"/>
                <a:gd name="connsiteY215" fmla="*/ 760405 h 1333436"/>
                <a:gd name="connsiteX216" fmla="*/ 35720 w 752994"/>
                <a:gd name="connsiteY216" fmla="*/ 754710 h 1333436"/>
                <a:gd name="connsiteX217" fmla="*/ 36546 w 752994"/>
                <a:gd name="connsiteY217" fmla="*/ 748773 h 1333436"/>
                <a:gd name="connsiteX218" fmla="*/ 38372 w 752994"/>
                <a:gd name="connsiteY218" fmla="*/ 744528 h 1333436"/>
                <a:gd name="connsiteX219" fmla="*/ 41638 w 752994"/>
                <a:gd name="connsiteY219" fmla="*/ 744321 h 1333436"/>
                <a:gd name="connsiteX220" fmla="*/ 44713 w 752994"/>
                <a:gd name="connsiteY220" fmla="*/ 746357 h 1333436"/>
                <a:gd name="connsiteX221" fmla="*/ 47364 w 752994"/>
                <a:gd name="connsiteY221" fmla="*/ 753260 h 1333436"/>
                <a:gd name="connsiteX222" fmla="*/ 55742 w 752994"/>
                <a:gd name="connsiteY222" fmla="*/ 764305 h 1333436"/>
                <a:gd name="connsiteX223" fmla="*/ 56338 w 752994"/>
                <a:gd name="connsiteY223" fmla="*/ 761233 h 1333436"/>
                <a:gd name="connsiteX224" fmla="*/ 56145 w 752994"/>
                <a:gd name="connsiteY224" fmla="*/ 757368 h 1333436"/>
                <a:gd name="connsiteX225" fmla="*/ 54916 w 752994"/>
                <a:gd name="connsiteY225" fmla="*/ 748601 h 1333436"/>
                <a:gd name="connsiteX226" fmla="*/ 52879 w 752994"/>
                <a:gd name="connsiteY226" fmla="*/ 747358 h 1333436"/>
                <a:gd name="connsiteX227" fmla="*/ 51649 w 752994"/>
                <a:gd name="connsiteY227" fmla="*/ 745322 h 1333436"/>
                <a:gd name="connsiteX228" fmla="*/ 51649 w 752994"/>
                <a:gd name="connsiteY228" fmla="*/ 739212 h 1333436"/>
                <a:gd name="connsiteX229" fmla="*/ 50227 w 752994"/>
                <a:gd name="connsiteY229" fmla="*/ 734725 h 1333436"/>
                <a:gd name="connsiteX230" fmla="*/ 48786 w 752994"/>
                <a:gd name="connsiteY230" fmla="*/ 731446 h 1333436"/>
                <a:gd name="connsiteX231" fmla="*/ 54512 w 752994"/>
                <a:gd name="connsiteY231" fmla="*/ 726372 h 1333436"/>
                <a:gd name="connsiteX232" fmla="*/ 59815 w 752994"/>
                <a:gd name="connsiteY232" fmla="*/ 725130 h 1333436"/>
                <a:gd name="connsiteX233" fmla="*/ 58182 w 752994"/>
                <a:gd name="connsiteY233" fmla="*/ 722886 h 1333436"/>
                <a:gd name="connsiteX234" fmla="*/ 51861 w 752994"/>
                <a:gd name="connsiteY234" fmla="*/ 717985 h 1333436"/>
                <a:gd name="connsiteX235" fmla="*/ 46749 w 752994"/>
                <a:gd name="connsiteY235" fmla="*/ 729617 h 1333436"/>
                <a:gd name="connsiteX236" fmla="*/ 40831 w 752994"/>
                <a:gd name="connsiteY236" fmla="*/ 739212 h 1333436"/>
                <a:gd name="connsiteX237" fmla="*/ 39601 w 752994"/>
                <a:gd name="connsiteY237" fmla="*/ 738798 h 1333436"/>
                <a:gd name="connsiteX238" fmla="*/ 39409 w 752994"/>
                <a:gd name="connsiteY238" fmla="*/ 738591 h 1333436"/>
                <a:gd name="connsiteX239" fmla="*/ 37161 w 752994"/>
                <a:gd name="connsiteY239" fmla="*/ 734725 h 1333436"/>
                <a:gd name="connsiteX240" fmla="*/ 32665 w 752994"/>
                <a:gd name="connsiteY240" fmla="*/ 727788 h 1333436"/>
                <a:gd name="connsiteX241" fmla="*/ 26747 w 752994"/>
                <a:gd name="connsiteY241" fmla="*/ 719435 h 1333436"/>
                <a:gd name="connsiteX242" fmla="*/ 23884 w 752994"/>
                <a:gd name="connsiteY242" fmla="*/ 717812 h 1333436"/>
                <a:gd name="connsiteX243" fmla="*/ 24710 w 752994"/>
                <a:gd name="connsiteY243" fmla="*/ 709632 h 1333436"/>
                <a:gd name="connsiteX244" fmla="*/ 27554 w 752994"/>
                <a:gd name="connsiteY244" fmla="*/ 701694 h 1333436"/>
                <a:gd name="connsiteX245" fmla="*/ 24902 w 752994"/>
                <a:gd name="connsiteY245" fmla="*/ 696171 h 1333436"/>
                <a:gd name="connsiteX246" fmla="*/ 24095 w 752994"/>
                <a:gd name="connsiteY246" fmla="*/ 687818 h 1333436"/>
                <a:gd name="connsiteX247" fmla="*/ 22462 w 752994"/>
                <a:gd name="connsiteY247" fmla="*/ 682330 h 1333436"/>
                <a:gd name="connsiteX248" fmla="*/ 17159 w 752994"/>
                <a:gd name="connsiteY248" fmla="*/ 677636 h 1333436"/>
                <a:gd name="connsiteX249" fmla="*/ 14296 w 752994"/>
                <a:gd name="connsiteY249" fmla="*/ 671492 h 1333436"/>
                <a:gd name="connsiteX250" fmla="*/ 12451 w 752994"/>
                <a:gd name="connsiteY250" fmla="*/ 665797 h 1333436"/>
                <a:gd name="connsiteX251" fmla="*/ 5111 w 752994"/>
                <a:gd name="connsiteY251" fmla="*/ 654994 h 1333436"/>
                <a:gd name="connsiteX252" fmla="*/ 2248 w 752994"/>
                <a:gd name="connsiteY252" fmla="*/ 645605 h 1333436"/>
                <a:gd name="connsiteX253" fmla="*/ 4496 w 752994"/>
                <a:gd name="connsiteY253" fmla="*/ 640497 h 1333436"/>
                <a:gd name="connsiteX254" fmla="*/ 6744 w 752994"/>
                <a:gd name="connsiteY254" fmla="*/ 632765 h 1333436"/>
                <a:gd name="connsiteX255" fmla="*/ 6744 w 752994"/>
                <a:gd name="connsiteY255" fmla="*/ 628485 h 1333436"/>
                <a:gd name="connsiteX256" fmla="*/ 6533 w 752994"/>
                <a:gd name="connsiteY256" fmla="*/ 620305 h 1333436"/>
                <a:gd name="connsiteX257" fmla="*/ 7359 w 752994"/>
                <a:gd name="connsiteY257" fmla="*/ 611745 h 1333436"/>
                <a:gd name="connsiteX258" fmla="*/ 11836 w 752994"/>
                <a:gd name="connsiteY258" fmla="*/ 602978 h 1333436"/>
                <a:gd name="connsiteX259" fmla="*/ 15103 w 752994"/>
                <a:gd name="connsiteY259" fmla="*/ 591760 h 1333436"/>
                <a:gd name="connsiteX260" fmla="*/ 14488 w 752994"/>
                <a:gd name="connsiteY260" fmla="*/ 584029 h 1333436"/>
                <a:gd name="connsiteX261" fmla="*/ 13873 w 752994"/>
                <a:gd name="connsiteY261" fmla="*/ 578299 h 1333436"/>
                <a:gd name="connsiteX262" fmla="*/ 10626 w 752994"/>
                <a:gd name="connsiteY262" fmla="*/ 568531 h 1333436"/>
                <a:gd name="connsiteX263" fmla="*/ 3670 w 752994"/>
                <a:gd name="connsiteY263" fmla="*/ 558107 h 1333436"/>
                <a:gd name="connsiteX264" fmla="*/ 0 w 752994"/>
                <a:gd name="connsiteY264" fmla="*/ 551377 h 1333436"/>
                <a:gd name="connsiteX265" fmla="*/ 0 w 752994"/>
                <a:gd name="connsiteY265" fmla="*/ 550997 h 1333436"/>
                <a:gd name="connsiteX266" fmla="*/ 4900 w 752994"/>
                <a:gd name="connsiteY266" fmla="*/ 531220 h 1333436"/>
                <a:gd name="connsiteX267" fmla="*/ 13873 w 752994"/>
                <a:gd name="connsiteY267" fmla="*/ 520589 h 1333436"/>
                <a:gd name="connsiteX268" fmla="*/ 18369 w 752994"/>
                <a:gd name="connsiteY268" fmla="*/ 516516 h 1333436"/>
                <a:gd name="connsiteX269" fmla="*/ 18773 w 752994"/>
                <a:gd name="connsiteY269" fmla="*/ 514272 h 1333436"/>
                <a:gd name="connsiteX270" fmla="*/ 23077 w 752994"/>
                <a:gd name="connsiteY270" fmla="*/ 506127 h 1333436"/>
                <a:gd name="connsiteX271" fmla="*/ 23884 w 752994"/>
                <a:gd name="connsiteY271" fmla="*/ 502261 h 1333436"/>
                <a:gd name="connsiteX272" fmla="*/ 23692 w 752994"/>
                <a:gd name="connsiteY272" fmla="*/ 496738 h 1333436"/>
                <a:gd name="connsiteX273" fmla="*/ 30013 w 752994"/>
                <a:gd name="connsiteY273" fmla="*/ 486556 h 1333436"/>
                <a:gd name="connsiteX274" fmla="*/ 36546 w 752994"/>
                <a:gd name="connsiteY274" fmla="*/ 470230 h 1333436"/>
                <a:gd name="connsiteX275" fmla="*/ 36546 w 752994"/>
                <a:gd name="connsiteY275" fmla="*/ 462671 h 1333436"/>
                <a:gd name="connsiteX276" fmla="*/ 36335 w 752994"/>
                <a:gd name="connsiteY276" fmla="*/ 461670 h 1333436"/>
                <a:gd name="connsiteX277" fmla="*/ 35931 w 752994"/>
                <a:gd name="connsiteY277" fmla="*/ 453110 h 1333436"/>
                <a:gd name="connsiteX278" fmla="*/ 38583 w 752994"/>
                <a:gd name="connsiteY278" fmla="*/ 442514 h 1333436"/>
                <a:gd name="connsiteX279" fmla="*/ 41043 w 752994"/>
                <a:gd name="connsiteY279" fmla="*/ 436991 h 1333436"/>
                <a:gd name="connsiteX280" fmla="*/ 41650 w 752994"/>
                <a:gd name="connsiteY280" fmla="*/ 437186 h 1333436"/>
                <a:gd name="connsiteX281" fmla="*/ 41239 w 752994"/>
                <a:gd name="connsiteY281" fmla="*/ 436549 h 1333436"/>
                <a:gd name="connsiteX282" fmla="*/ 37778 w 752994"/>
                <a:gd name="connsiteY282" fmla="*/ 433894 h 1333436"/>
                <a:gd name="connsiteX283" fmla="*/ 37169 w 752994"/>
                <a:gd name="connsiteY283" fmla="*/ 432261 h 1333436"/>
                <a:gd name="connsiteX284" fmla="*/ 37365 w 752994"/>
                <a:gd name="connsiteY284" fmla="*/ 429198 h 1333436"/>
                <a:gd name="connsiteX285" fmla="*/ 36756 w 752994"/>
                <a:gd name="connsiteY285" fmla="*/ 422272 h 1333436"/>
                <a:gd name="connsiteX286" fmla="*/ 36952 w 752994"/>
                <a:gd name="connsiteY286" fmla="*/ 418800 h 1333436"/>
                <a:gd name="connsiteX287" fmla="*/ 36756 w 752994"/>
                <a:gd name="connsiteY287" fmla="*/ 412487 h 1333436"/>
                <a:gd name="connsiteX288" fmla="*/ 40433 w 752994"/>
                <a:gd name="connsiteY288" fmla="*/ 406174 h 1333436"/>
                <a:gd name="connsiteX289" fmla="*/ 44720 w 752994"/>
                <a:gd name="connsiteY289" fmla="*/ 399435 h 1333436"/>
                <a:gd name="connsiteX290" fmla="*/ 44110 w 752994"/>
                <a:gd name="connsiteY290" fmla="*/ 389651 h 1333436"/>
                <a:gd name="connsiteX291" fmla="*/ 43894 w 752994"/>
                <a:gd name="connsiteY291" fmla="*/ 378437 h 1333436"/>
                <a:gd name="connsiteX292" fmla="*/ 47158 w 752994"/>
                <a:gd name="connsiteY292" fmla="*/ 371102 h 1333436"/>
                <a:gd name="connsiteX293" fmla="*/ 55731 w 752994"/>
                <a:gd name="connsiteY293" fmla="*/ 360909 h 1333436"/>
                <a:gd name="connsiteX294" fmla="*/ 57580 w 752994"/>
                <a:gd name="connsiteY294" fmla="*/ 355804 h 1333436"/>
                <a:gd name="connsiteX295" fmla="*/ 62673 w 752994"/>
                <a:gd name="connsiteY295" fmla="*/ 349695 h 1333436"/>
                <a:gd name="connsiteX296" fmla="*/ 65937 w 752994"/>
                <a:gd name="connsiteY296" fmla="*/ 348470 h 1333436"/>
                <a:gd name="connsiteX297" fmla="*/ 68395 w 752994"/>
                <a:gd name="connsiteY297" fmla="*/ 348674 h 1333436"/>
                <a:gd name="connsiteX298" fmla="*/ 70224 w 752994"/>
                <a:gd name="connsiteY298" fmla="*/ 347449 h 1333436"/>
                <a:gd name="connsiteX299" fmla="*/ 67785 w 752994"/>
                <a:gd name="connsiteY299" fmla="*/ 345203 h 1333436"/>
                <a:gd name="connsiteX300" fmla="*/ 65524 w 752994"/>
                <a:gd name="connsiteY300" fmla="*/ 343178 h 1333436"/>
                <a:gd name="connsiteX301" fmla="*/ 73095 w 752994"/>
                <a:gd name="connsiteY301" fmla="*/ 333376 h 1333436"/>
                <a:gd name="connsiteX302" fmla="*/ 73291 w 752994"/>
                <a:gd name="connsiteY302" fmla="*/ 333376 h 1333436"/>
                <a:gd name="connsiteX303" fmla="*/ 77991 w 752994"/>
                <a:gd name="connsiteY303" fmla="*/ 325838 h 1333436"/>
                <a:gd name="connsiteX304" fmla="*/ 82671 w 752994"/>
                <a:gd name="connsiteY304" fmla="*/ 313619 h 1333436"/>
                <a:gd name="connsiteX305" fmla="*/ 87980 w 752994"/>
                <a:gd name="connsiteY305" fmla="*/ 303018 h 1333436"/>
                <a:gd name="connsiteX306" fmla="*/ 92267 w 752994"/>
                <a:gd name="connsiteY306" fmla="*/ 291191 h 1333436"/>
                <a:gd name="connsiteX307" fmla="*/ 96553 w 752994"/>
                <a:gd name="connsiteY307" fmla="*/ 281202 h 1333436"/>
                <a:gd name="connsiteX308" fmla="*/ 99621 w 752994"/>
                <a:gd name="connsiteY308" fmla="*/ 274481 h 1333436"/>
                <a:gd name="connsiteX309" fmla="*/ 103082 w 752994"/>
                <a:gd name="connsiteY309" fmla="*/ 262450 h 1333436"/>
                <a:gd name="connsiteX310" fmla="*/ 107172 w 752994"/>
                <a:gd name="connsiteY310" fmla="*/ 254299 h 1333436"/>
                <a:gd name="connsiteX311" fmla="*/ 112481 w 752994"/>
                <a:gd name="connsiteY311" fmla="*/ 243697 h 1333436"/>
                <a:gd name="connsiteX312" fmla="*/ 117181 w 752994"/>
                <a:gd name="connsiteY312" fmla="*/ 232279 h 1333436"/>
                <a:gd name="connsiteX313" fmla="*/ 125951 w 752994"/>
                <a:gd name="connsiteY313" fmla="*/ 217389 h 1333436"/>
                <a:gd name="connsiteX314" fmla="*/ 136156 w 752994"/>
                <a:gd name="connsiteY314" fmla="*/ 202925 h 1333436"/>
                <a:gd name="connsiteX315" fmla="*/ 138811 w 752994"/>
                <a:gd name="connsiteY315" fmla="*/ 183339 h 1333436"/>
                <a:gd name="connsiteX316" fmla="*/ 148801 w 752994"/>
                <a:gd name="connsiteY316" fmla="*/ 167445 h 1333436"/>
                <a:gd name="connsiteX317" fmla="*/ 159616 w 752994"/>
                <a:gd name="connsiteY317" fmla="*/ 170712 h 1333436"/>
                <a:gd name="connsiteX318" fmla="*/ 173105 w 752994"/>
                <a:gd name="connsiteY318" fmla="*/ 175188 h 1333436"/>
                <a:gd name="connsiteX319" fmla="*/ 175347 w 752994"/>
                <a:gd name="connsiteY319" fmla="*/ 175188 h 1333436"/>
                <a:gd name="connsiteX320" fmla="*/ 175347 w 752994"/>
                <a:gd name="connsiteY320" fmla="*/ 173758 h 1333436"/>
                <a:gd name="connsiteX321" fmla="*/ 184975 w 752994"/>
                <a:gd name="connsiteY321" fmla="*/ 187393 h 1333436"/>
                <a:gd name="connsiteX322" fmla="*/ 184762 w 752994"/>
                <a:gd name="connsiteY322" fmla="*/ 184637 h 1333436"/>
                <a:gd name="connsiteX323" fmla="*/ 174971 w 752994"/>
                <a:gd name="connsiteY323" fmla="*/ 170774 h 1333436"/>
                <a:gd name="connsiteX324" fmla="*/ 174971 w 752994"/>
                <a:gd name="connsiteY324" fmla="*/ 169550 h 1333436"/>
                <a:gd name="connsiteX325" fmla="*/ 158851 w 752994"/>
                <a:gd name="connsiteY325" fmla="*/ 156924 h 1333436"/>
                <a:gd name="connsiteX326" fmla="*/ 147025 w 752994"/>
                <a:gd name="connsiteY326" fmla="*/ 145709 h 1333436"/>
                <a:gd name="connsiteX327" fmla="*/ 154364 w 752994"/>
                <a:gd name="connsiteY327" fmla="*/ 136335 h 1333436"/>
                <a:gd name="connsiteX328" fmla="*/ 161511 w 752994"/>
                <a:gd name="connsiteY328" fmla="*/ 131042 h 1333436"/>
                <a:gd name="connsiteX329" fmla="*/ 160902 w 752994"/>
                <a:gd name="connsiteY329" fmla="*/ 128384 h 1333436"/>
                <a:gd name="connsiteX330" fmla="*/ 160277 w 752994"/>
                <a:gd name="connsiteY330" fmla="*/ 127778 h 1333436"/>
                <a:gd name="connsiteX331" fmla="*/ 154973 w 752994"/>
                <a:gd name="connsiteY331" fmla="*/ 122077 h 1333436"/>
                <a:gd name="connsiteX332" fmla="*/ 160277 w 752994"/>
                <a:gd name="connsiteY332" fmla="*/ 115140 h 1333436"/>
                <a:gd name="connsiteX333" fmla="*/ 165181 w 752994"/>
                <a:gd name="connsiteY333" fmla="*/ 108215 h 1333436"/>
                <a:gd name="connsiteX334" fmla="*/ 161303 w 752994"/>
                <a:gd name="connsiteY334" fmla="*/ 104146 h 1333436"/>
                <a:gd name="connsiteX335" fmla="*/ 157842 w 752994"/>
                <a:gd name="connsiteY335" fmla="*/ 104542 h 1333436"/>
                <a:gd name="connsiteX336" fmla="*/ 157024 w 752994"/>
                <a:gd name="connsiteY336" fmla="*/ 102304 h 1333436"/>
                <a:gd name="connsiteX337" fmla="*/ 160694 w 752994"/>
                <a:gd name="connsiteY337" fmla="*/ 55437 h 1333436"/>
                <a:gd name="connsiteX338" fmla="*/ 160486 w 752994"/>
                <a:gd name="connsiteY338" fmla="*/ 31991 h 1333436"/>
                <a:gd name="connsiteX339" fmla="*/ 164972 w 752994"/>
                <a:gd name="connsiteY339" fmla="*/ 18141 h 1333436"/>
                <a:gd name="connsiteX340" fmla="*/ 171911 w 752994"/>
                <a:gd name="connsiteY340" fmla="*/ 11204 h 1333436"/>
                <a:gd name="connsiteX341" fmla="*/ 187406 w 752994"/>
                <a:gd name="connsiteY341" fmla="*/ 21801 h 1333436"/>
                <a:gd name="connsiteX342" fmla="*/ 210866 w 752994"/>
                <a:gd name="connsiteY342" fmla="*/ 37086 h 1333436"/>
                <a:gd name="connsiteX343" fmla="*/ 219230 w 752994"/>
                <a:gd name="connsiteY343" fmla="*/ 41166 h 1333436"/>
                <a:gd name="connsiteX344" fmla="*/ 226778 w 752994"/>
                <a:gd name="connsiteY344" fmla="*/ 47486 h 1333436"/>
                <a:gd name="connsiteX345" fmla="*/ 236152 w 752994"/>
                <a:gd name="connsiteY345" fmla="*/ 52370 h 1333436"/>
                <a:gd name="connsiteX346" fmla="*/ 239629 w 752994"/>
                <a:gd name="connsiteY346" fmla="*/ 58491 h 1333436"/>
                <a:gd name="connsiteX347" fmla="*/ 239629 w 752994"/>
                <a:gd name="connsiteY347" fmla="*/ 63376 h 1333436"/>
                <a:gd name="connsiteX348" fmla="*/ 236568 w 752994"/>
                <a:gd name="connsiteY348" fmla="*/ 67457 h 1333436"/>
                <a:gd name="connsiteX349" fmla="*/ 231264 w 752994"/>
                <a:gd name="connsiteY349" fmla="*/ 69905 h 1333436"/>
                <a:gd name="connsiteX350" fmla="*/ 216778 w 752994"/>
                <a:gd name="connsiteY350" fmla="*/ 82741 h 1333436"/>
                <a:gd name="connsiteX351" fmla="*/ 214134 w 752994"/>
                <a:gd name="connsiteY351" fmla="*/ 93536 h 1333436"/>
                <a:gd name="connsiteX352" fmla="*/ 214535 w 752994"/>
                <a:gd name="connsiteY352" fmla="*/ 96801 h 1333436"/>
                <a:gd name="connsiteX353" fmla="*/ 216378 w 752994"/>
                <a:gd name="connsiteY353" fmla="*/ 96801 h 1333436"/>
                <a:gd name="connsiteX354" fmla="*/ 230046 w 752994"/>
                <a:gd name="connsiteY354" fmla="*/ 85387 h 1333436"/>
                <a:gd name="connsiteX355" fmla="*/ 243298 w 752994"/>
                <a:gd name="connsiteY355" fmla="*/ 75198 h 1333436"/>
                <a:gd name="connsiteX356" fmla="*/ 246760 w 752994"/>
                <a:gd name="connsiteY356" fmla="*/ 77646 h 1333436"/>
                <a:gd name="connsiteX357" fmla="*/ 255541 w 752994"/>
                <a:gd name="connsiteY357" fmla="*/ 63376 h 1333436"/>
                <a:gd name="connsiteX358" fmla="*/ 259611 w 752994"/>
                <a:gd name="connsiteY358" fmla="*/ 43405 h 1333436"/>
                <a:gd name="connsiteX359" fmla="*/ 256967 w 752994"/>
                <a:gd name="connsiteY359" fmla="*/ 38520 h 1333436"/>
                <a:gd name="connsiteX360" fmla="*/ 253906 w 752994"/>
                <a:gd name="connsiteY360" fmla="*/ 34242 h 1333436"/>
                <a:gd name="connsiteX361" fmla="*/ 256967 w 752994"/>
                <a:gd name="connsiteY361" fmla="*/ 30161 h 1333436"/>
                <a:gd name="connsiteX362" fmla="*/ 262063 w 752994"/>
                <a:gd name="connsiteY362" fmla="*/ 27712 h 1333436"/>
                <a:gd name="connsiteX363" fmla="*/ 264915 w 752994"/>
                <a:gd name="connsiteY363" fmla="*/ 23026 h 1333436"/>
                <a:gd name="connsiteX364" fmla="*/ 267976 w 752994"/>
                <a:gd name="connsiteY364" fmla="*/ 22618 h 1333436"/>
                <a:gd name="connsiteX365" fmla="*/ 270427 w 752994"/>
                <a:gd name="connsiteY365" fmla="*/ 20787 h 1333436"/>
                <a:gd name="connsiteX366" fmla="*/ 263088 w 752994"/>
                <a:gd name="connsiteY366" fmla="*/ 13652 h 1333436"/>
                <a:gd name="connsiteX367" fmla="*/ 255541 w 752994"/>
                <a:gd name="connsiteY367" fmla="*/ 3055 h 1333436"/>
                <a:gd name="connsiteX368" fmla="*/ 256358 w 752994"/>
                <a:gd name="connsiteY368" fmla="*/ 1224 h 1333436"/>
                <a:gd name="connsiteX369" fmla="*/ 257159 w 752994"/>
                <a:gd name="connsiteY369"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402225 w 752994"/>
                <a:gd name="connsiteY7" fmla="*/ 990249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402225 w 752994"/>
                <a:gd name="connsiteY11" fmla="*/ 990249 h 1333436"/>
                <a:gd name="connsiteX12" fmla="*/ 184180 w 752994"/>
                <a:gd name="connsiteY12" fmla="*/ 213866 h 1333436"/>
                <a:gd name="connsiteX13" fmla="*/ 184117 w 752994"/>
                <a:gd name="connsiteY13" fmla="*/ 214326 h 1333436"/>
                <a:gd name="connsiteX14" fmla="*/ 185553 w 752994"/>
                <a:gd name="connsiteY14" fmla="*/ 222494 h 1333436"/>
                <a:gd name="connsiteX15" fmla="*/ 188600 w 752994"/>
                <a:gd name="connsiteY15" fmla="*/ 226970 h 1333436"/>
                <a:gd name="connsiteX16" fmla="*/ 195542 w 752994"/>
                <a:gd name="connsiteY16" fmla="*/ 231871 h 1333436"/>
                <a:gd name="connsiteX17" fmla="*/ 203093 w 752994"/>
                <a:gd name="connsiteY17" fmla="*/ 233896 h 1333436"/>
                <a:gd name="connsiteX18" fmla="*/ 217192 w 752994"/>
                <a:gd name="connsiteY18" fmla="*/ 232075 h 1333436"/>
                <a:gd name="connsiteX19" fmla="*/ 225136 w 752994"/>
                <a:gd name="connsiteY19" fmla="*/ 229829 h 1333436"/>
                <a:gd name="connsiteX20" fmla="*/ 235558 w 752994"/>
                <a:gd name="connsiteY20" fmla="*/ 232483 h 1333436"/>
                <a:gd name="connsiteX21" fmla="*/ 242499 w 752994"/>
                <a:gd name="connsiteY21" fmla="*/ 237163 h 1333436"/>
                <a:gd name="connsiteX22" fmla="*/ 248418 w 752994"/>
                <a:gd name="connsiteY22" fmla="*/ 244701 h 1333436"/>
                <a:gd name="connsiteX23" fmla="*/ 255359 w 752994"/>
                <a:gd name="connsiteY23" fmla="*/ 244906 h 1333436"/>
                <a:gd name="connsiteX24" fmla="*/ 258210 w 752994"/>
                <a:gd name="connsiteY24" fmla="*/ 244906 h 1333436"/>
                <a:gd name="connsiteX25" fmla="*/ 263303 w 752994"/>
                <a:gd name="connsiteY25" fmla="*/ 246131 h 1333436"/>
                <a:gd name="connsiteX26" fmla="*/ 269438 w 752994"/>
                <a:gd name="connsiteY26" fmla="*/ 243697 h 1333436"/>
                <a:gd name="connsiteX27" fmla="*/ 274944 w 752994"/>
                <a:gd name="connsiteY27" fmla="*/ 241451 h 1333436"/>
                <a:gd name="connsiteX28" fmla="*/ 281276 w 752994"/>
                <a:gd name="connsiteY28" fmla="*/ 245722 h 1333436"/>
                <a:gd name="connsiteX29" fmla="*/ 289240 w 752994"/>
                <a:gd name="connsiteY29" fmla="*/ 250419 h 1333436"/>
                <a:gd name="connsiteX30" fmla="*/ 297597 w 752994"/>
                <a:gd name="connsiteY30" fmla="*/ 248581 h 1333436"/>
                <a:gd name="connsiteX31" fmla="*/ 310261 w 752994"/>
                <a:gd name="connsiteY31" fmla="*/ 246539 h 1333436"/>
                <a:gd name="connsiteX32" fmla="*/ 324340 w 752994"/>
                <a:gd name="connsiteY32" fmla="*/ 244497 h 1333436"/>
                <a:gd name="connsiteX33" fmla="*/ 333523 w 752994"/>
                <a:gd name="connsiteY33" fmla="*/ 243289 h 1333436"/>
                <a:gd name="connsiteX34" fmla="*/ 341271 w 752994"/>
                <a:gd name="connsiteY34" fmla="*/ 246539 h 1333436"/>
                <a:gd name="connsiteX35" fmla="*/ 348428 w 752994"/>
                <a:gd name="connsiteY35" fmla="*/ 250011 h 1333436"/>
                <a:gd name="connsiteX36" fmla="*/ 351279 w 752994"/>
                <a:gd name="connsiteY36" fmla="*/ 247356 h 1333436"/>
                <a:gd name="connsiteX37" fmla="*/ 355566 w 752994"/>
                <a:gd name="connsiteY37" fmla="*/ 244293 h 1333436"/>
                <a:gd name="connsiteX38" fmla="*/ 365772 w 752994"/>
                <a:gd name="connsiteY38" fmla="*/ 248785 h 1333436"/>
                <a:gd name="connsiteX39" fmla="*/ 381483 w 752994"/>
                <a:gd name="connsiteY39" fmla="*/ 254912 h 1333436"/>
                <a:gd name="connsiteX40" fmla="*/ 381896 w 752994"/>
                <a:gd name="connsiteY40" fmla="*/ 255320 h 1333436"/>
                <a:gd name="connsiteX41" fmla="*/ 395366 w 752994"/>
                <a:gd name="connsiteY41" fmla="*/ 257753 h 1333436"/>
                <a:gd name="connsiteX42" fmla="*/ 414145 w 752994"/>
                <a:gd name="connsiteY42" fmla="*/ 262450 h 1333436"/>
                <a:gd name="connsiteX43" fmla="*/ 431292 w 752994"/>
                <a:gd name="connsiteY43" fmla="*/ 268151 h 1333436"/>
                <a:gd name="connsiteX44" fmla="*/ 445196 w 752994"/>
                <a:gd name="connsiteY44" fmla="*/ 269890 h 1333436"/>
                <a:gd name="connsiteX45" fmla="*/ 444145 w 752994"/>
                <a:gd name="connsiteY45" fmla="*/ 267441 h 1333436"/>
                <a:gd name="connsiteX46" fmla="*/ 444145 w 752994"/>
                <a:gd name="connsiteY46" fmla="*/ 267034 h 1333436"/>
                <a:gd name="connsiteX47" fmla="*/ 444155 w 752994"/>
                <a:gd name="connsiteY47" fmla="*/ 266811 h 1333436"/>
                <a:gd name="connsiteX48" fmla="*/ 430733 w 752994"/>
                <a:gd name="connsiteY48" fmla="*/ 265139 h 1333436"/>
                <a:gd name="connsiteX49" fmla="*/ 394839 w 752994"/>
                <a:gd name="connsiteY49" fmla="*/ 254739 h 1333436"/>
                <a:gd name="connsiteX50" fmla="*/ 381379 w 752994"/>
                <a:gd name="connsiteY50" fmla="*/ 252303 h 1333436"/>
                <a:gd name="connsiteX51" fmla="*/ 380962 w 752994"/>
                <a:gd name="connsiteY51" fmla="*/ 251895 h 1333436"/>
                <a:gd name="connsiteX52" fmla="*/ 365258 w 752994"/>
                <a:gd name="connsiteY52" fmla="*/ 245774 h 1333436"/>
                <a:gd name="connsiteX53" fmla="*/ 355067 w 752994"/>
                <a:gd name="connsiteY53" fmla="*/ 241285 h 1333436"/>
                <a:gd name="connsiteX54" fmla="*/ 350789 w 752994"/>
                <a:gd name="connsiteY54" fmla="*/ 244352 h 1333436"/>
                <a:gd name="connsiteX55" fmla="*/ 347920 w 752994"/>
                <a:gd name="connsiteY55" fmla="*/ 246998 h 1333436"/>
                <a:gd name="connsiteX56" fmla="*/ 340789 w 752994"/>
                <a:gd name="connsiteY56" fmla="*/ 243536 h 1333436"/>
                <a:gd name="connsiteX57" fmla="*/ 333034 w 752994"/>
                <a:gd name="connsiteY57" fmla="*/ 240271 h 1333436"/>
                <a:gd name="connsiteX58" fmla="*/ 323868 w 752994"/>
                <a:gd name="connsiteY58" fmla="*/ 241495 h 1333436"/>
                <a:gd name="connsiteX59" fmla="*/ 309783 w 752994"/>
                <a:gd name="connsiteY59" fmla="*/ 243536 h 1333436"/>
                <a:gd name="connsiteX60" fmla="*/ 297140 w 752994"/>
                <a:gd name="connsiteY60" fmla="*/ 245576 h 1333436"/>
                <a:gd name="connsiteX61" fmla="*/ 288775 w 752994"/>
                <a:gd name="connsiteY61" fmla="*/ 247406 h 1333436"/>
                <a:gd name="connsiteX62" fmla="*/ 280827 w 752994"/>
                <a:gd name="connsiteY62" fmla="*/ 242720 h 1333436"/>
                <a:gd name="connsiteX63" fmla="*/ 274497 w 752994"/>
                <a:gd name="connsiteY63" fmla="*/ 238441 h 1333436"/>
                <a:gd name="connsiteX64" fmla="*/ 269001 w 752994"/>
                <a:gd name="connsiteY64" fmla="*/ 240679 h 1333436"/>
                <a:gd name="connsiteX65" fmla="*/ 262880 w 752994"/>
                <a:gd name="connsiteY65" fmla="*/ 243128 h 1333436"/>
                <a:gd name="connsiteX66" fmla="*/ 260028 w 752994"/>
                <a:gd name="connsiteY66" fmla="*/ 242720 h 1333436"/>
                <a:gd name="connsiteX67" fmla="*/ 247994 w 752994"/>
                <a:gd name="connsiteY67" fmla="*/ 241693 h 1333436"/>
                <a:gd name="connsiteX68" fmla="*/ 242081 w 752994"/>
                <a:gd name="connsiteY68" fmla="*/ 234162 h 1333436"/>
                <a:gd name="connsiteX69" fmla="*/ 235142 w 752994"/>
                <a:gd name="connsiteY69" fmla="*/ 229476 h 1333436"/>
                <a:gd name="connsiteX70" fmla="*/ 224742 w 752994"/>
                <a:gd name="connsiteY70" fmla="*/ 226817 h 1333436"/>
                <a:gd name="connsiteX71" fmla="*/ 216778 w 752994"/>
                <a:gd name="connsiteY71" fmla="*/ 229068 h 1333436"/>
                <a:gd name="connsiteX72" fmla="*/ 202709 w 752994"/>
                <a:gd name="connsiteY72" fmla="*/ 230898 h 1333436"/>
                <a:gd name="connsiteX73" fmla="*/ 195162 w 752994"/>
                <a:gd name="connsiteY73" fmla="*/ 228857 h 1333436"/>
                <a:gd name="connsiteX74" fmla="*/ 188223 w 752994"/>
                <a:gd name="connsiteY74" fmla="*/ 223973 h 1333436"/>
                <a:gd name="connsiteX75" fmla="*/ 185163 w 752994"/>
                <a:gd name="connsiteY75" fmla="*/ 219484 h 1333436"/>
                <a:gd name="connsiteX76" fmla="*/ 184180 w 752994"/>
                <a:gd name="connsiteY76" fmla="*/ 213866 h 1333436"/>
                <a:gd name="connsiteX77" fmla="*/ 257159 w 752994"/>
                <a:gd name="connsiteY77" fmla="*/ 0 h 1333436"/>
                <a:gd name="connsiteX78" fmla="*/ 493147 w 752994"/>
                <a:gd name="connsiteY78" fmla="*/ 73157 h 1333436"/>
                <a:gd name="connsiteX79" fmla="*/ 492970 w 752994"/>
                <a:gd name="connsiteY79" fmla="*/ 73792 h 1333436"/>
                <a:gd name="connsiteX80" fmla="*/ 525816 w 752994"/>
                <a:gd name="connsiteY80" fmla="*/ 82491 h 1333436"/>
                <a:gd name="connsiteX81" fmla="*/ 520098 w 752994"/>
                <a:gd name="connsiteY81" fmla="*/ 111245 h 1333436"/>
                <a:gd name="connsiteX82" fmla="*/ 512552 w 752994"/>
                <a:gd name="connsiteY82" fmla="*/ 143854 h 1333436"/>
                <a:gd name="connsiteX83" fmla="*/ 517849 w 752994"/>
                <a:gd name="connsiteY83" fmla="*/ 157740 h 1333436"/>
                <a:gd name="connsiteX84" fmla="*/ 523160 w 752994"/>
                <a:gd name="connsiteY84" fmla="*/ 172009 h 1333436"/>
                <a:gd name="connsiteX85" fmla="*/ 521535 w 752994"/>
                <a:gd name="connsiteY85" fmla="*/ 178928 h 1333436"/>
                <a:gd name="connsiteX86" fmla="*/ 520098 w 752994"/>
                <a:gd name="connsiteY86" fmla="*/ 186279 h 1333436"/>
                <a:gd name="connsiteX87" fmla="*/ 526019 w 752994"/>
                <a:gd name="connsiteY87" fmla="*/ 193629 h 1333436"/>
                <a:gd name="connsiteX88" fmla="*/ 537251 w 752994"/>
                <a:gd name="connsiteY88" fmla="*/ 206270 h 1333436"/>
                <a:gd name="connsiteX89" fmla="*/ 542765 w 752994"/>
                <a:gd name="connsiteY89" fmla="*/ 217475 h 1333436"/>
                <a:gd name="connsiteX90" fmla="*/ 546857 w 752994"/>
                <a:gd name="connsiteY90" fmla="*/ 230930 h 1333436"/>
                <a:gd name="connsiteX91" fmla="*/ 549499 w 752994"/>
                <a:gd name="connsiteY91" fmla="*/ 235622 h 1333436"/>
                <a:gd name="connsiteX92" fmla="*/ 553388 w 752994"/>
                <a:gd name="connsiteY92" fmla="*/ 240722 h 1333436"/>
                <a:gd name="connsiteX93" fmla="*/ 557465 w 752994"/>
                <a:gd name="connsiteY93" fmla="*/ 246037 h 1333436"/>
                <a:gd name="connsiteX94" fmla="*/ 561761 w 752994"/>
                <a:gd name="connsiteY94" fmla="*/ 248671 h 1333436"/>
                <a:gd name="connsiteX95" fmla="*/ 567478 w 752994"/>
                <a:gd name="connsiteY95" fmla="*/ 247665 h 1333436"/>
                <a:gd name="connsiteX96" fmla="*/ 569931 w 752994"/>
                <a:gd name="connsiteY96" fmla="*/ 249293 h 1333436"/>
                <a:gd name="connsiteX97" fmla="*/ 570540 w 752994"/>
                <a:gd name="connsiteY97" fmla="*/ 251951 h 1333436"/>
                <a:gd name="connsiteX98" fmla="*/ 561964 w 752994"/>
                <a:gd name="connsiteY98" fmla="*/ 267656 h 1333436"/>
                <a:gd name="connsiteX99" fmla="*/ 553591 w 752994"/>
                <a:gd name="connsiteY99" fmla="*/ 289659 h 1333436"/>
                <a:gd name="connsiteX100" fmla="*/ 554810 w 752994"/>
                <a:gd name="connsiteY100" fmla="*/ 292939 h 1333436"/>
                <a:gd name="connsiteX101" fmla="*/ 556246 w 752994"/>
                <a:gd name="connsiteY101" fmla="*/ 299260 h 1333436"/>
                <a:gd name="connsiteX102" fmla="*/ 552778 w 752994"/>
                <a:gd name="connsiteY102" fmla="*/ 301917 h 1333436"/>
                <a:gd name="connsiteX103" fmla="*/ 549295 w 752994"/>
                <a:gd name="connsiteY103" fmla="*/ 306993 h 1333436"/>
                <a:gd name="connsiteX104" fmla="*/ 547061 w 752994"/>
                <a:gd name="connsiteY104" fmla="*/ 313122 h 1333436"/>
                <a:gd name="connsiteX105" fmla="*/ 544811 w 752994"/>
                <a:gd name="connsiteY105" fmla="*/ 316593 h 1333436"/>
                <a:gd name="connsiteX106" fmla="*/ 549919 w 752994"/>
                <a:gd name="connsiteY106" fmla="*/ 322698 h 1333436"/>
                <a:gd name="connsiteX107" fmla="*/ 553184 w 752994"/>
                <a:gd name="connsiteY107" fmla="*/ 325955 h 1333436"/>
                <a:gd name="connsiteX108" fmla="*/ 555840 w 752994"/>
                <a:gd name="connsiteY108" fmla="*/ 328205 h 1333436"/>
                <a:gd name="connsiteX109" fmla="*/ 574212 w 752994"/>
                <a:gd name="connsiteY109" fmla="*/ 318820 h 1333436"/>
                <a:gd name="connsiteX110" fmla="*/ 579523 w 752994"/>
                <a:gd name="connsiteY110" fmla="*/ 326577 h 1333436"/>
                <a:gd name="connsiteX111" fmla="*/ 580539 w 752994"/>
                <a:gd name="connsiteY111" fmla="*/ 334933 h 1333436"/>
                <a:gd name="connsiteX112" fmla="*/ 579726 w 752994"/>
                <a:gd name="connsiteY112" fmla="*/ 343097 h 1333436"/>
                <a:gd name="connsiteX113" fmla="*/ 581366 w 752994"/>
                <a:gd name="connsiteY113" fmla="*/ 350231 h 1333436"/>
                <a:gd name="connsiteX114" fmla="*/ 586256 w 752994"/>
                <a:gd name="connsiteY114" fmla="*/ 355930 h 1333436"/>
                <a:gd name="connsiteX115" fmla="*/ 589536 w 752994"/>
                <a:gd name="connsiteY115" fmla="*/ 362059 h 1333436"/>
                <a:gd name="connsiteX116" fmla="*/ 588099 w 752994"/>
                <a:gd name="connsiteY116" fmla="*/ 369600 h 1333436"/>
                <a:gd name="connsiteX117" fmla="*/ 586459 w 752994"/>
                <a:gd name="connsiteY117" fmla="*/ 377357 h 1333436"/>
                <a:gd name="connsiteX118" fmla="*/ 588709 w 752994"/>
                <a:gd name="connsiteY118" fmla="*/ 381835 h 1333436"/>
                <a:gd name="connsiteX119" fmla="*/ 595036 w 752994"/>
                <a:gd name="connsiteY119" fmla="*/ 382457 h 1333436"/>
                <a:gd name="connsiteX120" fmla="*/ 599331 w 752994"/>
                <a:gd name="connsiteY120" fmla="*/ 385306 h 1333436"/>
                <a:gd name="connsiteX121" fmla="*/ 601987 w 752994"/>
                <a:gd name="connsiteY121" fmla="*/ 391004 h 1333436"/>
                <a:gd name="connsiteX122" fmla="*/ 602799 w 752994"/>
                <a:gd name="connsiteY122" fmla="*/ 404076 h 1333436"/>
                <a:gd name="connsiteX123" fmla="*/ 606892 w 752994"/>
                <a:gd name="connsiteY123" fmla="*/ 415688 h 1333436"/>
                <a:gd name="connsiteX124" fmla="*/ 610563 w 752994"/>
                <a:gd name="connsiteY124" fmla="*/ 412217 h 1333436"/>
                <a:gd name="connsiteX125" fmla="*/ 617920 w 752994"/>
                <a:gd name="connsiteY125" fmla="*/ 408769 h 1333436"/>
                <a:gd name="connsiteX126" fmla="*/ 624654 w 752994"/>
                <a:gd name="connsiteY126" fmla="*/ 411211 h 1333436"/>
                <a:gd name="connsiteX127" fmla="*/ 634652 w 752994"/>
                <a:gd name="connsiteY127" fmla="*/ 410182 h 1333436"/>
                <a:gd name="connsiteX128" fmla="*/ 640573 w 752994"/>
                <a:gd name="connsiteY128" fmla="*/ 407739 h 1333436"/>
                <a:gd name="connsiteX129" fmla="*/ 646711 w 752994"/>
                <a:gd name="connsiteY129" fmla="*/ 410589 h 1333436"/>
                <a:gd name="connsiteX130" fmla="*/ 650383 w 752994"/>
                <a:gd name="connsiteY130" fmla="*/ 410589 h 1333436"/>
                <a:gd name="connsiteX131" fmla="*/ 654257 w 752994"/>
                <a:gd name="connsiteY131" fmla="*/ 411618 h 1333436"/>
                <a:gd name="connsiteX132" fmla="*/ 656913 w 752994"/>
                <a:gd name="connsiteY132" fmla="*/ 413653 h 1333436"/>
                <a:gd name="connsiteX133" fmla="*/ 660802 w 752994"/>
                <a:gd name="connsiteY133" fmla="*/ 415090 h 1333436"/>
                <a:gd name="connsiteX134" fmla="*/ 669581 w 752994"/>
                <a:gd name="connsiteY134" fmla="*/ 415904 h 1333436"/>
                <a:gd name="connsiteX135" fmla="*/ 672237 w 752994"/>
                <a:gd name="connsiteY135" fmla="*/ 415688 h 1333436"/>
                <a:gd name="connsiteX136" fmla="*/ 675705 w 752994"/>
                <a:gd name="connsiteY136" fmla="*/ 409367 h 1333436"/>
                <a:gd name="connsiteX137" fmla="*/ 679986 w 752994"/>
                <a:gd name="connsiteY137" fmla="*/ 403238 h 1333436"/>
                <a:gd name="connsiteX138" fmla="*/ 693264 w 752994"/>
                <a:gd name="connsiteY138" fmla="*/ 419567 h 1333436"/>
                <a:gd name="connsiteX139" fmla="*/ 688563 w 752994"/>
                <a:gd name="connsiteY139" fmla="*/ 448321 h 1333436"/>
                <a:gd name="connsiteX140" fmla="*/ 663949 w 752994"/>
                <a:gd name="connsiteY140" fmla="*/ 590165 h 1333436"/>
                <a:gd name="connsiteX141" fmla="*/ 666304 w 752994"/>
                <a:gd name="connsiteY141" fmla="*/ 590504 h 1333436"/>
                <a:gd name="connsiteX142" fmla="*/ 655288 w 752994"/>
                <a:gd name="connsiteY142" fmla="*/ 656178 h 1333436"/>
                <a:gd name="connsiteX143" fmla="*/ 681808 w 752994"/>
                <a:gd name="connsiteY143" fmla="*/ 662301 h 1333436"/>
                <a:gd name="connsiteX144" fmla="*/ 752994 w 752994"/>
                <a:gd name="connsiteY144" fmla="*/ 675560 h 1333436"/>
                <a:gd name="connsiteX145" fmla="*/ 714651 w 752994"/>
                <a:gd name="connsiteY145" fmla="*/ 946985 h 1333436"/>
                <a:gd name="connsiteX146" fmla="*/ 654533 w 752994"/>
                <a:gd name="connsiteY146" fmla="*/ 1333436 h 1333436"/>
                <a:gd name="connsiteX147" fmla="*/ 546831 w 752994"/>
                <a:gd name="connsiteY147" fmla="*/ 1317126 h 1333436"/>
                <a:gd name="connsiteX148" fmla="*/ 351227 w 752994"/>
                <a:gd name="connsiteY148" fmla="*/ 1194172 h 1333436"/>
                <a:gd name="connsiteX149" fmla="*/ 361011 w 752994"/>
                <a:gd name="connsiteY149" fmla="*/ 1182755 h 1333436"/>
                <a:gd name="connsiteX150" fmla="*/ 368981 w 752994"/>
                <a:gd name="connsiteY150" fmla="*/ 1182130 h 1333436"/>
                <a:gd name="connsiteX151" fmla="*/ 369571 w 752994"/>
                <a:gd name="connsiteY151" fmla="*/ 1181558 h 1333436"/>
                <a:gd name="connsiteX152" fmla="*/ 362372 w 752994"/>
                <a:gd name="connsiteY152" fmla="*/ 1182120 h 1333436"/>
                <a:gd name="connsiteX153" fmla="*/ 229464 w 752994"/>
                <a:gd name="connsiteY153" fmla="*/ 1161721 h 1333436"/>
                <a:gd name="connsiteX154" fmla="*/ 227427 w 752994"/>
                <a:gd name="connsiteY154" fmla="*/ 1157269 h 1333436"/>
                <a:gd name="connsiteX155" fmla="*/ 224967 w 752994"/>
                <a:gd name="connsiteY155" fmla="*/ 1152575 h 1333436"/>
                <a:gd name="connsiteX156" fmla="*/ 225582 w 752994"/>
                <a:gd name="connsiteY156" fmla="*/ 1144808 h 1333436"/>
                <a:gd name="connsiteX157" fmla="*/ 227215 w 752994"/>
                <a:gd name="connsiteY157" fmla="*/ 1135834 h 1333436"/>
                <a:gd name="connsiteX158" fmla="*/ 227215 w 752994"/>
                <a:gd name="connsiteY158" fmla="*/ 1134212 h 1333436"/>
                <a:gd name="connsiteX159" fmla="*/ 225179 w 752994"/>
                <a:gd name="connsiteY159" fmla="*/ 1114020 h 1333436"/>
                <a:gd name="connsiteX160" fmla="*/ 217839 w 752994"/>
                <a:gd name="connsiteY160" fmla="*/ 1100352 h 1333436"/>
                <a:gd name="connsiteX161" fmla="*/ 199661 w 752994"/>
                <a:gd name="connsiteY161" fmla="*/ 1076502 h 1333436"/>
                <a:gd name="connsiteX162" fmla="*/ 196395 w 752994"/>
                <a:gd name="connsiteY162" fmla="*/ 1071807 h 1333436"/>
                <a:gd name="connsiteX163" fmla="*/ 190880 w 752994"/>
                <a:gd name="connsiteY163" fmla="*/ 1067527 h 1333436"/>
                <a:gd name="connsiteX164" fmla="*/ 187210 w 752994"/>
                <a:gd name="connsiteY164" fmla="*/ 1068735 h 1333436"/>
                <a:gd name="connsiteX165" fmla="*/ 180062 w 752994"/>
                <a:gd name="connsiteY165" fmla="*/ 1066699 h 1333436"/>
                <a:gd name="connsiteX166" fmla="*/ 180466 w 752994"/>
                <a:gd name="connsiteY166" fmla="*/ 1053031 h 1333436"/>
                <a:gd name="connsiteX167" fmla="*/ 180062 w 752994"/>
                <a:gd name="connsiteY167" fmla="*/ 1045299 h 1333436"/>
                <a:gd name="connsiteX168" fmla="*/ 174144 w 752994"/>
                <a:gd name="connsiteY168" fmla="*/ 1044057 h 1333436"/>
                <a:gd name="connsiteX169" fmla="*/ 158426 w 752994"/>
                <a:gd name="connsiteY169" fmla="*/ 1042641 h 1333436"/>
                <a:gd name="connsiteX170" fmla="*/ 149857 w 752994"/>
                <a:gd name="connsiteY170" fmla="*/ 1035497 h 1333436"/>
                <a:gd name="connsiteX171" fmla="*/ 142497 w 752994"/>
                <a:gd name="connsiteY171" fmla="*/ 1028766 h 1333436"/>
                <a:gd name="connsiteX172" fmla="*/ 140864 w 752994"/>
                <a:gd name="connsiteY172" fmla="*/ 1020620 h 1333436"/>
                <a:gd name="connsiteX173" fmla="*/ 138212 w 752994"/>
                <a:gd name="connsiteY173" fmla="*/ 1013061 h 1333436"/>
                <a:gd name="connsiteX174" fmla="*/ 131064 w 752994"/>
                <a:gd name="connsiteY174" fmla="*/ 1007159 h 1333436"/>
                <a:gd name="connsiteX175" fmla="*/ 121264 w 752994"/>
                <a:gd name="connsiteY175" fmla="*/ 1005330 h 1333436"/>
                <a:gd name="connsiteX176" fmla="*/ 112483 w 752994"/>
                <a:gd name="connsiteY176" fmla="*/ 1001671 h 1333436"/>
                <a:gd name="connsiteX177" fmla="*/ 105950 w 752994"/>
                <a:gd name="connsiteY177" fmla="*/ 995734 h 1333436"/>
                <a:gd name="connsiteX178" fmla="*/ 97380 w 752994"/>
                <a:gd name="connsiteY178" fmla="*/ 994526 h 1333436"/>
                <a:gd name="connsiteX179" fmla="*/ 87984 w 752994"/>
                <a:gd name="connsiteY179" fmla="*/ 991040 h 1333436"/>
                <a:gd name="connsiteX180" fmla="*/ 80029 w 752994"/>
                <a:gd name="connsiteY180" fmla="*/ 985138 h 1333436"/>
                <a:gd name="connsiteX181" fmla="*/ 77166 w 752994"/>
                <a:gd name="connsiteY181" fmla="*/ 976164 h 1333436"/>
                <a:gd name="connsiteX182" fmla="*/ 79203 w 752994"/>
                <a:gd name="connsiteY182" fmla="*/ 970676 h 1333436"/>
                <a:gd name="connsiteX183" fmla="*/ 82470 w 752994"/>
                <a:gd name="connsiteY183" fmla="*/ 963117 h 1333436"/>
                <a:gd name="connsiteX184" fmla="*/ 84314 w 752994"/>
                <a:gd name="connsiteY184" fmla="*/ 954557 h 1333436"/>
                <a:gd name="connsiteX185" fmla="*/ 86351 w 752994"/>
                <a:gd name="connsiteY185" fmla="*/ 948033 h 1333436"/>
                <a:gd name="connsiteX186" fmla="*/ 86159 w 752994"/>
                <a:gd name="connsiteY186" fmla="*/ 942925 h 1333436"/>
                <a:gd name="connsiteX187" fmla="*/ 83085 w 752994"/>
                <a:gd name="connsiteY187" fmla="*/ 939853 h 1333436"/>
                <a:gd name="connsiteX188" fmla="*/ 77570 w 752994"/>
                <a:gd name="connsiteY188" fmla="*/ 937437 h 1333436"/>
                <a:gd name="connsiteX189" fmla="*/ 76763 w 752994"/>
                <a:gd name="connsiteY189" fmla="*/ 931915 h 1333436"/>
                <a:gd name="connsiteX190" fmla="*/ 78800 w 752994"/>
                <a:gd name="connsiteY190" fmla="*/ 927013 h 1333436"/>
                <a:gd name="connsiteX191" fmla="*/ 79626 w 752994"/>
                <a:gd name="connsiteY191" fmla="*/ 922526 h 1333436"/>
                <a:gd name="connsiteX192" fmla="*/ 77781 w 752994"/>
                <a:gd name="connsiteY192" fmla="*/ 919903 h 1333436"/>
                <a:gd name="connsiteX193" fmla="*/ 74303 w 752994"/>
                <a:gd name="connsiteY193" fmla="*/ 917418 h 1333436"/>
                <a:gd name="connsiteX194" fmla="*/ 71863 w 752994"/>
                <a:gd name="connsiteY194" fmla="*/ 915174 h 1333436"/>
                <a:gd name="connsiteX195" fmla="*/ 71652 w 752994"/>
                <a:gd name="connsiteY195" fmla="*/ 910894 h 1333436"/>
                <a:gd name="connsiteX196" fmla="*/ 70633 w 752994"/>
                <a:gd name="connsiteY196" fmla="*/ 906614 h 1333436"/>
                <a:gd name="connsiteX197" fmla="*/ 68385 w 752994"/>
                <a:gd name="connsiteY197" fmla="*/ 902749 h 1333436"/>
                <a:gd name="connsiteX198" fmla="*/ 61045 w 752994"/>
                <a:gd name="connsiteY198" fmla="*/ 889494 h 1333436"/>
                <a:gd name="connsiteX199" fmla="*/ 57971 w 752994"/>
                <a:gd name="connsiteY199" fmla="*/ 875619 h 1333436"/>
                <a:gd name="connsiteX200" fmla="*/ 52264 w 752994"/>
                <a:gd name="connsiteY200" fmla="*/ 862572 h 1333436"/>
                <a:gd name="connsiteX201" fmla="*/ 44309 w 752994"/>
                <a:gd name="connsiteY201" fmla="*/ 850561 h 1333436"/>
                <a:gd name="connsiteX202" fmla="*/ 45520 w 752994"/>
                <a:gd name="connsiteY202" fmla="*/ 827090 h 1333436"/>
                <a:gd name="connsiteX203" fmla="*/ 53071 w 752994"/>
                <a:gd name="connsiteY203" fmla="*/ 822396 h 1333436"/>
                <a:gd name="connsiteX204" fmla="*/ 57375 w 752994"/>
                <a:gd name="connsiteY204" fmla="*/ 816493 h 1333436"/>
                <a:gd name="connsiteX205" fmla="*/ 55319 w 752994"/>
                <a:gd name="connsiteY205" fmla="*/ 801617 h 1333436"/>
                <a:gd name="connsiteX206" fmla="*/ 48383 w 752994"/>
                <a:gd name="connsiteY206" fmla="*/ 802204 h 1333436"/>
                <a:gd name="connsiteX207" fmla="*/ 40428 w 752994"/>
                <a:gd name="connsiteY207" fmla="*/ 797924 h 1333436"/>
                <a:gd name="connsiteX208" fmla="*/ 37565 w 752994"/>
                <a:gd name="connsiteY208" fmla="*/ 790606 h 1333436"/>
                <a:gd name="connsiteX209" fmla="*/ 37565 w 752994"/>
                <a:gd name="connsiteY209" fmla="*/ 790399 h 1333436"/>
                <a:gd name="connsiteX210" fmla="*/ 35931 w 752994"/>
                <a:gd name="connsiteY210" fmla="*/ 785912 h 1333436"/>
                <a:gd name="connsiteX211" fmla="*/ 34510 w 752994"/>
                <a:gd name="connsiteY211" fmla="*/ 780597 h 1333436"/>
                <a:gd name="connsiteX212" fmla="*/ 36335 w 752994"/>
                <a:gd name="connsiteY212" fmla="*/ 774280 h 1333436"/>
                <a:gd name="connsiteX213" fmla="*/ 38180 w 752994"/>
                <a:gd name="connsiteY213" fmla="*/ 766721 h 1333436"/>
                <a:gd name="connsiteX214" fmla="*/ 37161 w 752994"/>
                <a:gd name="connsiteY214" fmla="*/ 760405 h 1333436"/>
                <a:gd name="connsiteX215" fmla="*/ 35720 w 752994"/>
                <a:gd name="connsiteY215" fmla="*/ 754710 h 1333436"/>
                <a:gd name="connsiteX216" fmla="*/ 36546 w 752994"/>
                <a:gd name="connsiteY216" fmla="*/ 748773 h 1333436"/>
                <a:gd name="connsiteX217" fmla="*/ 38372 w 752994"/>
                <a:gd name="connsiteY217" fmla="*/ 744528 h 1333436"/>
                <a:gd name="connsiteX218" fmla="*/ 41638 w 752994"/>
                <a:gd name="connsiteY218" fmla="*/ 744321 h 1333436"/>
                <a:gd name="connsiteX219" fmla="*/ 44713 w 752994"/>
                <a:gd name="connsiteY219" fmla="*/ 746357 h 1333436"/>
                <a:gd name="connsiteX220" fmla="*/ 47364 w 752994"/>
                <a:gd name="connsiteY220" fmla="*/ 753260 h 1333436"/>
                <a:gd name="connsiteX221" fmla="*/ 55742 w 752994"/>
                <a:gd name="connsiteY221" fmla="*/ 764305 h 1333436"/>
                <a:gd name="connsiteX222" fmla="*/ 56338 w 752994"/>
                <a:gd name="connsiteY222" fmla="*/ 761233 h 1333436"/>
                <a:gd name="connsiteX223" fmla="*/ 56145 w 752994"/>
                <a:gd name="connsiteY223" fmla="*/ 757368 h 1333436"/>
                <a:gd name="connsiteX224" fmla="*/ 54916 w 752994"/>
                <a:gd name="connsiteY224" fmla="*/ 748601 h 1333436"/>
                <a:gd name="connsiteX225" fmla="*/ 52879 w 752994"/>
                <a:gd name="connsiteY225" fmla="*/ 747358 h 1333436"/>
                <a:gd name="connsiteX226" fmla="*/ 51649 w 752994"/>
                <a:gd name="connsiteY226" fmla="*/ 745322 h 1333436"/>
                <a:gd name="connsiteX227" fmla="*/ 51649 w 752994"/>
                <a:gd name="connsiteY227" fmla="*/ 739212 h 1333436"/>
                <a:gd name="connsiteX228" fmla="*/ 50227 w 752994"/>
                <a:gd name="connsiteY228" fmla="*/ 734725 h 1333436"/>
                <a:gd name="connsiteX229" fmla="*/ 48786 w 752994"/>
                <a:gd name="connsiteY229" fmla="*/ 731446 h 1333436"/>
                <a:gd name="connsiteX230" fmla="*/ 54512 w 752994"/>
                <a:gd name="connsiteY230" fmla="*/ 726372 h 1333436"/>
                <a:gd name="connsiteX231" fmla="*/ 59815 w 752994"/>
                <a:gd name="connsiteY231" fmla="*/ 725130 h 1333436"/>
                <a:gd name="connsiteX232" fmla="*/ 58182 w 752994"/>
                <a:gd name="connsiteY232" fmla="*/ 722886 h 1333436"/>
                <a:gd name="connsiteX233" fmla="*/ 51861 w 752994"/>
                <a:gd name="connsiteY233" fmla="*/ 717985 h 1333436"/>
                <a:gd name="connsiteX234" fmla="*/ 46749 w 752994"/>
                <a:gd name="connsiteY234" fmla="*/ 729617 h 1333436"/>
                <a:gd name="connsiteX235" fmla="*/ 40831 w 752994"/>
                <a:gd name="connsiteY235" fmla="*/ 739212 h 1333436"/>
                <a:gd name="connsiteX236" fmla="*/ 39601 w 752994"/>
                <a:gd name="connsiteY236" fmla="*/ 738798 h 1333436"/>
                <a:gd name="connsiteX237" fmla="*/ 39409 w 752994"/>
                <a:gd name="connsiteY237" fmla="*/ 738591 h 1333436"/>
                <a:gd name="connsiteX238" fmla="*/ 37161 w 752994"/>
                <a:gd name="connsiteY238" fmla="*/ 734725 h 1333436"/>
                <a:gd name="connsiteX239" fmla="*/ 32665 w 752994"/>
                <a:gd name="connsiteY239" fmla="*/ 727788 h 1333436"/>
                <a:gd name="connsiteX240" fmla="*/ 26747 w 752994"/>
                <a:gd name="connsiteY240" fmla="*/ 719435 h 1333436"/>
                <a:gd name="connsiteX241" fmla="*/ 23884 w 752994"/>
                <a:gd name="connsiteY241" fmla="*/ 717812 h 1333436"/>
                <a:gd name="connsiteX242" fmla="*/ 24710 w 752994"/>
                <a:gd name="connsiteY242" fmla="*/ 709632 h 1333436"/>
                <a:gd name="connsiteX243" fmla="*/ 27554 w 752994"/>
                <a:gd name="connsiteY243" fmla="*/ 701694 h 1333436"/>
                <a:gd name="connsiteX244" fmla="*/ 24902 w 752994"/>
                <a:gd name="connsiteY244" fmla="*/ 696171 h 1333436"/>
                <a:gd name="connsiteX245" fmla="*/ 24095 w 752994"/>
                <a:gd name="connsiteY245" fmla="*/ 687818 h 1333436"/>
                <a:gd name="connsiteX246" fmla="*/ 22462 w 752994"/>
                <a:gd name="connsiteY246" fmla="*/ 682330 h 1333436"/>
                <a:gd name="connsiteX247" fmla="*/ 17159 w 752994"/>
                <a:gd name="connsiteY247" fmla="*/ 677636 h 1333436"/>
                <a:gd name="connsiteX248" fmla="*/ 14296 w 752994"/>
                <a:gd name="connsiteY248" fmla="*/ 671492 h 1333436"/>
                <a:gd name="connsiteX249" fmla="*/ 12451 w 752994"/>
                <a:gd name="connsiteY249" fmla="*/ 665797 h 1333436"/>
                <a:gd name="connsiteX250" fmla="*/ 5111 w 752994"/>
                <a:gd name="connsiteY250" fmla="*/ 654994 h 1333436"/>
                <a:gd name="connsiteX251" fmla="*/ 2248 w 752994"/>
                <a:gd name="connsiteY251" fmla="*/ 645605 h 1333436"/>
                <a:gd name="connsiteX252" fmla="*/ 4496 w 752994"/>
                <a:gd name="connsiteY252" fmla="*/ 640497 h 1333436"/>
                <a:gd name="connsiteX253" fmla="*/ 6744 w 752994"/>
                <a:gd name="connsiteY253" fmla="*/ 632765 h 1333436"/>
                <a:gd name="connsiteX254" fmla="*/ 6744 w 752994"/>
                <a:gd name="connsiteY254" fmla="*/ 628485 h 1333436"/>
                <a:gd name="connsiteX255" fmla="*/ 6533 w 752994"/>
                <a:gd name="connsiteY255" fmla="*/ 620305 h 1333436"/>
                <a:gd name="connsiteX256" fmla="*/ 7359 w 752994"/>
                <a:gd name="connsiteY256" fmla="*/ 611745 h 1333436"/>
                <a:gd name="connsiteX257" fmla="*/ 11836 w 752994"/>
                <a:gd name="connsiteY257" fmla="*/ 602978 h 1333436"/>
                <a:gd name="connsiteX258" fmla="*/ 15103 w 752994"/>
                <a:gd name="connsiteY258" fmla="*/ 591760 h 1333436"/>
                <a:gd name="connsiteX259" fmla="*/ 14488 w 752994"/>
                <a:gd name="connsiteY259" fmla="*/ 584029 h 1333436"/>
                <a:gd name="connsiteX260" fmla="*/ 13873 w 752994"/>
                <a:gd name="connsiteY260" fmla="*/ 578299 h 1333436"/>
                <a:gd name="connsiteX261" fmla="*/ 10626 w 752994"/>
                <a:gd name="connsiteY261" fmla="*/ 568531 h 1333436"/>
                <a:gd name="connsiteX262" fmla="*/ 3670 w 752994"/>
                <a:gd name="connsiteY262" fmla="*/ 558107 h 1333436"/>
                <a:gd name="connsiteX263" fmla="*/ 0 w 752994"/>
                <a:gd name="connsiteY263" fmla="*/ 551377 h 1333436"/>
                <a:gd name="connsiteX264" fmla="*/ 0 w 752994"/>
                <a:gd name="connsiteY264" fmla="*/ 550997 h 1333436"/>
                <a:gd name="connsiteX265" fmla="*/ 4900 w 752994"/>
                <a:gd name="connsiteY265" fmla="*/ 531220 h 1333436"/>
                <a:gd name="connsiteX266" fmla="*/ 13873 w 752994"/>
                <a:gd name="connsiteY266" fmla="*/ 520589 h 1333436"/>
                <a:gd name="connsiteX267" fmla="*/ 18369 w 752994"/>
                <a:gd name="connsiteY267" fmla="*/ 516516 h 1333436"/>
                <a:gd name="connsiteX268" fmla="*/ 18773 w 752994"/>
                <a:gd name="connsiteY268" fmla="*/ 514272 h 1333436"/>
                <a:gd name="connsiteX269" fmla="*/ 23077 w 752994"/>
                <a:gd name="connsiteY269" fmla="*/ 506127 h 1333436"/>
                <a:gd name="connsiteX270" fmla="*/ 23884 w 752994"/>
                <a:gd name="connsiteY270" fmla="*/ 502261 h 1333436"/>
                <a:gd name="connsiteX271" fmla="*/ 23692 w 752994"/>
                <a:gd name="connsiteY271" fmla="*/ 496738 h 1333436"/>
                <a:gd name="connsiteX272" fmla="*/ 30013 w 752994"/>
                <a:gd name="connsiteY272" fmla="*/ 486556 h 1333436"/>
                <a:gd name="connsiteX273" fmla="*/ 36546 w 752994"/>
                <a:gd name="connsiteY273" fmla="*/ 470230 h 1333436"/>
                <a:gd name="connsiteX274" fmla="*/ 36546 w 752994"/>
                <a:gd name="connsiteY274" fmla="*/ 462671 h 1333436"/>
                <a:gd name="connsiteX275" fmla="*/ 36335 w 752994"/>
                <a:gd name="connsiteY275" fmla="*/ 461670 h 1333436"/>
                <a:gd name="connsiteX276" fmla="*/ 35931 w 752994"/>
                <a:gd name="connsiteY276" fmla="*/ 453110 h 1333436"/>
                <a:gd name="connsiteX277" fmla="*/ 38583 w 752994"/>
                <a:gd name="connsiteY277" fmla="*/ 442514 h 1333436"/>
                <a:gd name="connsiteX278" fmla="*/ 41043 w 752994"/>
                <a:gd name="connsiteY278" fmla="*/ 436991 h 1333436"/>
                <a:gd name="connsiteX279" fmla="*/ 41650 w 752994"/>
                <a:gd name="connsiteY279" fmla="*/ 437186 h 1333436"/>
                <a:gd name="connsiteX280" fmla="*/ 41239 w 752994"/>
                <a:gd name="connsiteY280" fmla="*/ 436549 h 1333436"/>
                <a:gd name="connsiteX281" fmla="*/ 37778 w 752994"/>
                <a:gd name="connsiteY281" fmla="*/ 433894 h 1333436"/>
                <a:gd name="connsiteX282" fmla="*/ 37169 w 752994"/>
                <a:gd name="connsiteY282" fmla="*/ 432261 h 1333436"/>
                <a:gd name="connsiteX283" fmla="*/ 37365 w 752994"/>
                <a:gd name="connsiteY283" fmla="*/ 429198 h 1333436"/>
                <a:gd name="connsiteX284" fmla="*/ 36756 w 752994"/>
                <a:gd name="connsiteY284" fmla="*/ 422272 h 1333436"/>
                <a:gd name="connsiteX285" fmla="*/ 36952 w 752994"/>
                <a:gd name="connsiteY285" fmla="*/ 418800 h 1333436"/>
                <a:gd name="connsiteX286" fmla="*/ 36756 w 752994"/>
                <a:gd name="connsiteY286" fmla="*/ 412487 h 1333436"/>
                <a:gd name="connsiteX287" fmla="*/ 40433 w 752994"/>
                <a:gd name="connsiteY287" fmla="*/ 406174 h 1333436"/>
                <a:gd name="connsiteX288" fmla="*/ 44720 w 752994"/>
                <a:gd name="connsiteY288" fmla="*/ 399435 h 1333436"/>
                <a:gd name="connsiteX289" fmla="*/ 44110 w 752994"/>
                <a:gd name="connsiteY289" fmla="*/ 389651 h 1333436"/>
                <a:gd name="connsiteX290" fmla="*/ 43894 w 752994"/>
                <a:gd name="connsiteY290" fmla="*/ 378437 h 1333436"/>
                <a:gd name="connsiteX291" fmla="*/ 47158 w 752994"/>
                <a:gd name="connsiteY291" fmla="*/ 371102 h 1333436"/>
                <a:gd name="connsiteX292" fmla="*/ 55731 w 752994"/>
                <a:gd name="connsiteY292" fmla="*/ 360909 h 1333436"/>
                <a:gd name="connsiteX293" fmla="*/ 57580 w 752994"/>
                <a:gd name="connsiteY293" fmla="*/ 355804 h 1333436"/>
                <a:gd name="connsiteX294" fmla="*/ 62673 w 752994"/>
                <a:gd name="connsiteY294" fmla="*/ 349695 h 1333436"/>
                <a:gd name="connsiteX295" fmla="*/ 65937 w 752994"/>
                <a:gd name="connsiteY295" fmla="*/ 348470 h 1333436"/>
                <a:gd name="connsiteX296" fmla="*/ 68395 w 752994"/>
                <a:gd name="connsiteY296" fmla="*/ 348674 h 1333436"/>
                <a:gd name="connsiteX297" fmla="*/ 70224 w 752994"/>
                <a:gd name="connsiteY297" fmla="*/ 347449 h 1333436"/>
                <a:gd name="connsiteX298" fmla="*/ 67785 w 752994"/>
                <a:gd name="connsiteY298" fmla="*/ 345203 h 1333436"/>
                <a:gd name="connsiteX299" fmla="*/ 65524 w 752994"/>
                <a:gd name="connsiteY299" fmla="*/ 343178 h 1333436"/>
                <a:gd name="connsiteX300" fmla="*/ 73095 w 752994"/>
                <a:gd name="connsiteY300" fmla="*/ 333376 h 1333436"/>
                <a:gd name="connsiteX301" fmla="*/ 73291 w 752994"/>
                <a:gd name="connsiteY301" fmla="*/ 333376 h 1333436"/>
                <a:gd name="connsiteX302" fmla="*/ 77991 w 752994"/>
                <a:gd name="connsiteY302" fmla="*/ 325838 h 1333436"/>
                <a:gd name="connsiteX303" fmla="*/ 82671 w 752994"/>
                <a:gd name="connsiteY303" fmla="*/ 313619 h 1333436"/>
                <a:gd name="connsiteX304" fmla="*/ 87980 w 752994"/>
                <a:gd name="connsiteY304" fmla="*/ 303018 h 1333436"/>
                <a:gd name="connsiteX305" fmla="*/ 92267 w 752994"/>
                <a:gd name="connsiteY305" fmla="*/ 291191 h 1333436"/>
                <a:gd name="connsiteX306" fmla="*/ 96553 w 752994"/>
                <a:gd name="connsiteY306" fmla="*/ 281202 h 1333436"/>
                <a:gd name="connsiteX307" fmla="*/ 99621 w 752994"/>
                <a:gd name="connsiteY307" fmla="*/ 274481 h 1333436"/>
                <a:gd name="connsiteX308" fmla="*/ 103082 w 752994"/>
                <a:gd name="connsiteY308" fmla="*/ 262450 h 1333436"/>
                <a:gd name="connsiteX309" fmla="*/ 107172 w 752994"/>
                <a:gd name="connsiteY309" fmla="*/ 254299 h 1333436"/>
                <a:gd name="connsiteX310" fmla="*/ 112481 w 752994"/>
                <a:gd name="connsiteY310" fmla="*/ 243697 h 1333436"/>
                <a:gd name="connsiteX311" fmla="*/ 117181 w 752994"/>
                <a:gd name="connsiteY311" fmla="*/ 232279 h 1333436"/>
                <a:gd name="connsiteX312" fmla="*/ 125951 w 752994"/>
                <a:gd name="connsiteY312" fmla="*/ 217389 h 1333436"/>
                <a:gd name="connsiteX313" fmla="*/ 136156 w 752994"/>
                <a:gd name="connsiteY313" fmla="*/ 202925 h 1333436"/>
                <a:gd name="connsiteX314" fmla="*/ 138811 w 752994"/>
                <a:gd name="connsiteY314" fmla="*/ 183339 h 1333436"/>
                <a:gd name="connsiteX315" fmla="*/ 148801 w 752994"/>
                <a:gd name="connsiteY315" fmla="*/ 167445 h 1333436"/>
                <a:gd name="connsiteX316" fmla="*/ 159616 w 752994"/>
                <a:gd name="connsiteY316" fmla="*/ 170712 h 1333436"/>
                <a:gd name="connsiteX317" fmla="*/ 173105 w 752994"/>
                <a:gd name="connsiteY317" fmla="*/ 175188 h 1333436"/>
                <a:gd name="connsiteX318" fmla="*/ 175347 w 752994"/>
                <a:gd name="connsiteY318" fmla="*/ 175188 h 1333436"/>
                <a:gd name="connsiteX319" fmla="*/ 175347 w 752994"/>
                <a:gd name="connsiteY319" fmla="*/ 173758 h 1333436"/>
                <a:gd name="connsiteX320" fmla="*/ 184975 w 752994"/>
                <a:gd name="connsiteY320" fmla="*/ 187393 h 1333436"/>
                <a:gd name="connsiteX321" fmla="*/ 184762 w 752994"/>
                <a:gd name="connsiteY321" fmla="*/ 184637 h 1333436"/>
                <a:gd name="connsiteX322" fmla="*/ 174971 w 752994"/>
                <a:gd name="connsiteY322" fmla="*/ 170774 h 1333436"/>
                <a:gd name="connsiteX323" fmla="*/ 174971 w 752994"/>
                <a:gd name="connsiteY323" fmla="*/ 169550 h 1333436"/>
                <a:gd name="connsiteX324" fmla="*/ 158851 w 752994"/>
                <a:gd name="connsiteY324" fmla="*/ 156924 h 1333436"/>
                <a:gd name="connsiteX325" fmla="*/ 147025 w 752994"/>
                <a:gd name="connsiteY325" fmla="*/ 145709 h 1333436"/>
                <a:gd name="connsiteX326" fmla="*/ 154364 w 752994"/>
                <a:gd name="connsiteY326" fmla="*/ 136335 h 1333436"/>
                <a:gd name="connsiteX327" fmla="*/ 161511 w 752994"/>
                <a:gd name="connsiteY327" fmla="*/ 131042 h 1333436"/>
                <a:gd name="connsiteX328" fmla="*/ 160902 w 752994"/>
                <a:gd name="connsiteY328" fmla="*/ 128384 h 1333436"/>
                <a:gd name="connsiteX329" fmla="*/ 160277 w 752994"/>
                <a:gd name="connsiteY329" fmla="*/ 127778 h 1333436"/>
                <a:gd name="connsiteX330" fmla="*/ 154973 w 752994"/>
                <a:gd name="connsiteY330" fmla="*/ 122077 h 1333436"/>
                <a:gd name="connsiteX331" fmla="*/ 160277 w 752994"/>
                <a:gd name="connsiteY331" fmla="*/ 115140 h 1333436"/>
                <a:gd name="connsiteX332" fmla="*/ 165181 w 752994"/>
                <a:gd name="connsiteY332" fmla="*/ 108215 h 1333436"/>
                <a:gd name="connsiteX333" fmla="*/ 161303 w 752994"/>
                <a:gd name="connsiteY333" fmla="*/ 104146 h 1333436"/>
                <a:gd name="connsiteX334" fmla="*/ 157842 w 752994"/>
                <a:gd name="connsiteY334" fmla="*/ 104542 h 1333436"/>
                <a:gd name="connsiteX335" fmla="*/ 157024 w 752994"/>
                <a:gd name="connsiteY335" fmla="*/ 102304 h 1333436"/>
                <a:gd name="connsiteX336" fmla="*/ 160694 w 752994"/>
                <a:gd name="connsiteY336" fmla="*/ 55437 h 1333436"/>
                <a:gd name="connsiteX337" fmla="*/ 160486 w 752994"/>
                <a:gd name="connsiteY337" fmla="*/ 31991 h 1333436"/>
                <a:gd name="connsiteX338" fmla="*/ 164972 w 752994"/>
                <a:gd name="connsiteY338" fmla="*/ 18141 h 1333436"/>
                <a:gd name="connsiteX339" fmla="*/ 171911 w 752994"/>
                <a:gd name="connsiteY339" fmla="*/ 11204 h 1333436"/>
                <a:gd name="connsiteX340" fmla="*/ 187406 w 752994"/>
                <a:gd name="connsiteY340" fmla="*/ 21801 h 1333436"/>
                <a:gd name="connsiteX341" fmla="*/ 210866 w 752994"/>
                <a:gd name="connsiteY341" fmla="*/ 37086 h 1333436"/>
                <a:gd name="connsiteX342" fmla="*/ 219230 w 752994"/>
                <a:gd name="connsiteY342" fmla="*/ 41166 h 1333436"/>
                <a:gd name="connsiteX343" fmla="*/ 226778 w 752994"/>
                <a:gd name="connsiteY343" fmla="*/ 47486 h 1333436"/>
                <a:gd name="connsiteX344" fmla="*/ 236152 w 752994"/>
                <a:gd name="connsiteY344" fmla="*/ 52370 h 1333436"/>
                <a:gd name="connsiteX345" fmla="*/ 239629 w 752994"/>
                <a:gd name="connsiteY345" fmla="*/ 58491 h 1333436"/>
                <a:gd name="connsiteX346" fmla="*/ 239629 w 752994"/>
                <a:gd name="connsiteY346" fmla="*/ 63376 h 1333436"/>
                <a:gd name="connsiteX347" fmla="*/ 236568 w 752994"/>
                <a:gd name="connsiteY347" fmla="*/ 67457 h 1333436"/>
                <a:gd name="connsiteX348" fmla="*/ 231264 w 752994"/>
                <a:gd name="connsiteY348" fmla="*/ 69905 h 1333436"/>
                <a:gd name="connsiteX349" fmla="*/ 216778 w 752994"/>
                <a:gd name="connsiteY349" fmla="*/ 82741 h 1333436"/>
                <a:gd name="connsiteX350" fmla="*/ 214134 w 752994"/>
                <a:gd name="connsiteY350" fmla="*/ 93536 h 1333436"/>
                <a:gd name="connsiteX351" fmla="*/ 214535 w 752994"/>
                <a:gd name="connsiteY351" fmla="*/ 96801 h 1333436"/>
                <a:gd name="connsiteX352" fmla="*/ 216378 w 752994"/>
                <a:gd name="connsiteY352" fmla="*/ 96801 h 1333436"/>
                <a:gd name="connsiteX353" fmla="*/ 230046 w 752994"/>
                <a:gd name="connsiteY353" fmla="*/ 85387 h 1333436"/>
                <a:gd name="connsiteX354" fmla="*/ 243298 w 752994"/>
                <a:gd name="connsiteY354" fmla="*/ 75198 h 1333436"/>
                <a:gd name="connsiteX355" fmla="*/ 246760 w 752994"/>
                <a:gd name="connsiteY355" fmla="*/ 77646 h 1333436"/>
                <a:gd name="connsiteX356" fmla="*/ 255541 w 752994"/>
                <a:gd name="connsiteY356" fmla="*/ 63376 h 1333436"/>
                <a:gd name="connsiteX357" fmla="*/ 259611 w 752994"/>
                <a:gd name="connsiteY357" fmla="*/ 43405 h 1333436"/>
                <a:gd name="connsiteX358" fmla="*/ 256967 w 752994"/>
                <a:gd name="connsiteY358" fmla="*/ 38520 h 1333436"/>
                <a:gd name="connsiteX359" fmla="*/ 253906 w 752994"/>
                <a:gd name="connsiteY359" fmla="*/ 34242 h 1333436"/>
                <a:gd name="connsiteX360" fmla="*/ 256967 w 752994"/>
                <a:gd name="connsiteY360" fmla="*/ 30161 h 1333436"/>
                <a:gd name="connsiteX361" fmla="*/ 262063 w 752994"/>
                <a:gd name="connsiteY361" fmla="*/ 27712 h 1333436"/>
                <a:gd name="connsiteX362" fmla="*/ 264915 w 752994"/>
                <a:gd name="connsiteY362" fmla="*/ 23026 h 1333436"/>
                <a:gd name="connsiteX363" fmla="*/ 267976 w 752994"/>
                <a:gd name="connsiteY363" fmla="*/ 22618 h 1333436"/>
                <a:gd name="connsiteX364" fmla="*/ 270427 w 752994"/>
                <a:gd name="connsiteY364" fmla="*/ 20787 h 1333436"/>
                <a:gd name="connsiteX365" fmla="*/ 263088 w 752994"/>
                <a:gd name="connsiteY365" fmla="*/ 13652 h 1333436"/>
                <a:gd name="connsiteX366" fmla="*/ 255541 w 752994"/>
                <a:gd name="connsiteY366" fmla="*/ 3055 h 1333436"/>
                <a:gd name="connsiteX367" fmla="*/ 256358 w 752994"/>
                <a:gd name="connsiteY367" fmla="*/ 1224 h 1333436"/>
                <a:gd name="connsiteX368" fmla="*/ 257159 w 752994"/>
                <a:gd name="connsiteY368"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399581 w 752994"/>
                <a:gd name="connsiteY7" fmla="*/ 997410 h 1333436"/>
                <a:gd name="connsiteX8" fmla="*/ 402352 w 752994"/>
                <a:gd name="connsiteY8" fmla="*/ 989000 h 1333436"/>
                <a:gd name="connsiteX9" fmla="*/ 399497 w 752994"/>
                <a:gd name="connsiteY9" fmla="*/ 996733 h 1333436"/>
                <a:gd name="connsiteX10" fmla="*/ 399581 w 752994"/>
                <a:gd name="connsiteY10" fmla="*/ 997410 h 1333436"/>
                <a:gd name="connsiteX11" fmla="*/ 184180 w 752994"/>
                <a:gd name="connsiteY11" fmla="*/ 213866 h 1333436"/>
                <a:gd name="connsiteX12" fmla="*/ 184117 w 752994"/>
                <a:gd name="connsiteY12" fmla="*/ 214326 h 1333436"/>
                <a:gd name="connsiteX13" fmla="*/ 185553 w 752994"/>
                <a:gd name="connsiteY13" fmla="*/ 222494 h 1333436"/>
                <a:gd name="connsiteX14" fmla="*/ 188600 w 752994"/>
                <a:gd name="connsiteY14" fmla="*/ 226970 h 1333436"/>
                <a:gd name="connsiteX15" fmla="*/ 195542 w 752994"/>
                <a:gd name="connsiteY15" fmla="*/ 231871 h 1333436"/>
                <a:gd name="connsiteX16" fmla="*/ 203093 w 752994"/>
                <a:gd name="connsiteY16" fmla="*/ 233896 h 1333436"/>
                <a:gd name="connsiteX17" fmla="*/ 217192 w 752994"/>
                <a:gd name="connsiteY17" fmla="*/ 232075 h 1333436"/>
                <a:gd name="connsiteX18" fmla="*/ 225136 w 752994"/>
                <a:gd name="connsiteY18" fmla="*/ 229829 h 1333436"/>
                <a:gd name="connsiteX19" fmla="*/ 235558 w 752994"/>
                <a:gd name="connsiteY19" fmla="*/ 232483 h 1333436"/>
                <a:gd name="connsiteX20" fmla="*/ 242499 w 752994"/>
                <a:gd name="connsiteY20" fmla="*/ 237163 h 1333436"/>
                <a:gd name="connsiteX21" fmla="*/ 248418 w 752994"/>
                <a:gd name="connsiteY21" fmla="*/ 244701 h 1333436"/>
                <a:gd name="connsiteX22" fmla="*/ 255359 w 752994"/>
                <a:gd name="connsiteY22" fmla="*/ 244906 h 1333436"/>
                <a:gd name="connsiteX23" fmla="*/ 258210 w 752994"/>
                <a:gd name="connsiteY23" fmla="*/ 244906 h 1333436"/>
                <a:gd name="connsiteX24" fmla="*/ 263303 w 752994"/>
                <a:gd name="connsiteY24" fmla="*/ 246131 h 1333436"/>
                <a:gd name="connsiteX25" fmla="*/ 269438 w 752994"/>
                <a:gd name="connsiteY25" fmla="*/ 243697 h 1333436"/>
                <a:gd name="connsiteX26" fmla="*/ 274944 w 752994"/>
                <a:gd name="connsiteY26" fmla="*/ 241451 h 1333436"/>
                <a:gd name="connsiteX27" fmla="*/ 281276 w 752994"/>
                <a:gd name="connsiteY27" fmla="*/ 245722 h 1333436"/>
                <a:gd name="connsiteX28" fmla="*/ 289240 w 752994"/>
                <a:gd name="connsiteY28" fmla="*/ 250419 h 1333436"/>
                <a:gd name="connsiteX29" fmla="*/ 297597 w 752994"/>
                <a:gd name="connsiteY29" fmla="*/ 248581 h 1333436"/>
                <a:gd name="connsiteX30" fmla="*/ 310261 w 752994"/>
                <a:gd name="connsiteY30" fmla="*/ 246539 h 1333436"/>
                <a:gd name="connsiteX31" fmla="*/ 324340 w 752994"/>
                <a:gd name="connsiteY31" fmla="*/ 244497 h 1333436"/>
                <a:gd name="connsiteX32" fmla="*/ 333523 w 752994"/>
                <a:gd name="connsiteY32" fmla="*/ 243289 h 1333436"/>
                <a:gd name="connsiteX33" fmla="*/ 341271 w 752994"/>
                <a:gd name="connsiteY33" fmla="*/ 246539 h 1333436"/>
                <a:gd name="connsiteX34" fmla="*/ 348428 w 752994"/>
                <a:gd name="connsiteY34" fmla="*/ 250011 h 1333436"/>
                <a:gd name="connsiteX35" fmla="*/ 351279 w 752994"/>
                <a:gd name="connsiteY35" fmla="*/ 247356 h 1333436"/>
                <a:gd name="connsiteX36" fmla="*/ 355566 w 752994"/>
                <a:gd name="connsiteY36" fmla="*/ 244293 h 1333436"/>
                <a:gd name="connsiteX37" fmla="*/ 365772 w 752994"/>
                <a:gd name="connsiteY37" fmla="*/ 248785 h 1333436"/>
                <a:gd name="connsiteX38" fmla="*/ 381483 w 752994"/>
                <a:gd name="connsiteY38" fmla="*/ 254912 h 1333436"/>
                <a:gd name="connsiteX39" fmla="*/ 381896 w 752994"/>
                <a:gd name="connsiteY39" fmla="*/ 255320 h 1333436"/>
                <a:gd name="connsiteX40" fmla="*/ 395366 w 752994"/>
                <a:gd name="connsiteY40" fmla="*/ 257753 h 1333436"/>
                <a:gd name="connsiteX41" fmla="*/ 414145 w 752994"/>
                <a:gd name="connsiteY41" fmla="*/ 262450 h 1333436"/>
                <a:gd name="connsiteX42" fmla="*/ 431292 w 752994"/>
                <a:gd name="connsiteY42" fmla="*/ 268151 h 1333436"/>
                <a:gd name="connsiteX43" fmla="*/ 445196 w 752994"/>
                <a:gd name="connsiteY43" fmla="*/ 269890 h 1333436"/>
                <a:gd name="connsiteX44" fmla="*/ 444145 w 752994"/>
                <a:gd name="connsiteY44" fmla="*/ 267441 h 1333436"/>
                <a:gd name="connsiteX45" fmla="*/ 444145 w 752994"/>
                <a:gd name="connsiteY45" fmla="*/ 267034 h 1333436"/>
                <a:gd name="connsiteX46" fmla="*/ 444155 w 752994"/>
                <a:gd name="connsiteY46" fmla="*/ 266811 h 1333436"/>
                <a:gd name="connsiteX47" fmla="*/ 430733 w 752994"/>
                <a:gd name="connsiteY47" fmla="*/ 265139 h 1333436"/>
                <a:gd name="connsiteX48" fmla="*/ 394839 w 752994"/>
                <a:gd name="connsiteY48" fmla="*/ 254739 h 1333436"/>
                <a:gd name="connsiteX49" fmla="*/ 381379 w 752994"/>
                <a:gd name="connsiteY49" fmla="*/ 252303 h 1333436"/>
                <a:gd name="connsiteX50" fmla="*/ 380962 w 752994"/>
                <a:gd name="connsiteY50" fmla="*/ 251895 h 1333436"/>
                <a:gd name="connsiteX51" fmla="*/ 365258 w 752994"/>
                <a:gd name="connsiteY51" fmla="*/ 245774 h 1333436"/>
                <a:gd name="connsiteX52" fmla="*/ 355067 w 752994"/>
                <a:gd name="connsiteY52" fmla="*/ 241285 h 1333436"/>
                <a:gd name="connsiteX53" fmla="*/ 350789 w 752994"/>
                <a:gd name="connsiteY53" fmla="*/ 244352 h 1333436"/>
                <a:gd name="connsiteX54" fmla="*/ 347920 w 752994"/>
                <a:gd name="connsiteY54" fmla="*/ 246998 h 1333436"/>
                <a:gd name="connsiteX55" fmla="*/ 340789 w 752994"/>
                <a:gd name="connsiteY55" fmla="*/ 243536 h 1333436"/>
                <a:gd name="connsiteX56" fmla="*/ 333034 w 752994"/>
                <a:gd name="connsiteY56" fmla="*/ 240271 h 1333436"/>
                <a:gd name="connsiteX57" fmla="*/ 323868 w 752994"/>
                <a:gd name="connsiteY57" fmla="*/ 241495 h 1333436"/>
                <a:gd name="connsiteX58" fmla="*/ 309783 w 752994"/>
                <a:gd name="connsiteY58" fmla="*/ 243536 h 1333436"/>
                <a:gd name="connsiteX59" fmla="*/ 297140 w 752994"/>
                <a:gd name="connsiteY59" fmla="*/ 245576 h 1333436"/>
                <a:gd name="connsiteX60" fmla="*/ 288775 w 752994"/>
                <a:gd name="connsiteY60" fmla="*/ 247406 h 1333436"/>
                <a:gd name="connsiteX61" fmla="*/ 280827 w 752994"/>
                <a:gd name="connsiteY61" fmla="*/ 242720 h 1333436"/>
                <a:gd name="connsiteX62" fmla="*/ 274497 w 752994"/>
                <a:gd name="connsiteY62" fmla="*/ 238441 h 1333436"/>
                <a:gd name="connsiteX63" fmla="*/ 269001 w 752994"/>
                <a:gd name="connsiteY63" fmla="*/ 240679 h 1333436"/>
                <a:gd name="connsiteX64" fmla="*/ 262880 w 752994"/>
                <a:gd name="connsiteY64" fmla="*/ 243128 h 1333436"/>
                <a:gd name="connsiteX65" fmla="*/ 260028 w 752994"/>
                <a:gd name="connsiteY65" fmla="*/ 242720 h 1333436"/>
                <a:gd name="connsiteX66" fmla="*/ 247994 w 752994"/>
                <a:gd name="connsiteY66" fmla="*/ 241693 h 1333436"/>
                <a:gd name="connsiteX67" fmla="*/ 242081 w 752994"/>
                <a:gd name="connsiteY67" fmla="*/ 234162 h 1333436"/>
                <a:gd name="connsiteX68" fmla="*/ 235142 w 752994"/>
                <a:gd name="connsiteY68" fmla="*/ 229476 h 1333436"/>
                <a:gd name="connsiteX69" fmla="*/ 224742 w 752994"/>
                <a:gd name="connsiteY69" fmla="*/ 226817 h 1333436"/>
                <a:gd name="connsiteX70" fmla="*/ 216778 w 752994"/>
                <a:gd name="connsiteY70" fmla="*/ 229068 h 1333436"/>
                <a:gd name="connsiteX71" fmla="*/ 202709 w 752994"/>
                <a:gd name="connsiteY71" fmla="*/ 230898 h 1333436"/>
                <a:gd name="connsiteX72" fmla="*/ 195162 w 752994"/>
                <a:gd name="connsiteY72" fmla="*/ 228857 h 1333436"/>
                <a:gd name="connsiteX73" fmla="*/ 188223 w 752994"/>
                <a:gd name="connsiteY73" fmla="*/ 223973 h 1333436"/>
                <a:gd name="connsiteX74" fmla="*/ 185163 w 752994"/>
                <a:gd name="connsiteY74" fmla="*/ 219484 h 1333436"/>
                <a:gd name="connsiteX75" fmla="*/ 184180 w 752994"/>
                <a:gd name="connsiteY75" fmla="*/ 213866 h 1333436"/>
                <a:gd name="connsiteX76" fmla="*/ 257159 w 752994"/>
                <a:gd name="connsiteY76" fmla="*/ 0 h 1333436"/>
                <a:gd name="connsiteX77" fmla="*/ 493147 w 752994"/>
                <a:gd name="connsiteY77" fmla="*/ 73157 h 1333436"/>
                <a:gd name="connsiteX78" fmla="*/ 492970 w 752994"/>
                <a:gd name="connsiteY78" fmla="*/ 73792 h 1333436"/>
                <a:gd name="connsiteX79" fmla="*/ 525816 w 752994"/>
                <a:gd name="connsiteY79" fmla="*/ 82491 h 1333436"/>
                <a:gd name="connsiteX80" fmla="*/ 520098 w 752994"/>
                <a:gd name="connsiteY80" fmla="*/ 111245 h 1333436"/>
                <a:gd name="connsiteX81" fmla="*/ 512552 w 752994"/>
                <a:gd name="connsiteY81" fmla="*/ 143854 h 1333436"/>
                <a:gd name="connsiteX82" fmla="*/ 517849 w 752994"/>
                <a:gd name="connsiteY82" fmla="*/ 157740 h 1333436"/>
                <a:gd name="connsiteX83" fmla="*/ 523160 w 752994"/>
                <a:gd name="connsiteY83" fmla="*/ 172009 h 1333436"/>
                <a:gd name="connsiteX84" fmla="*/ 521535 w 752994"/>
                <a:gd name="connsiteY84" fmla="*/ 178928 h 1333436"/>
                <a:gd name="connsiteX85" fmla="*/ 520098 w 752994"/>
                <a:gd name="connsiteY85" fmla="*/ 186279 h 1333436"/>
                <a:gd name="connsiteX86" fmla="*/ 526019 w 752994"/>
                <a:gd name="connsiteY86" fmla="*/ 193629 h 1333436"/>
                <a:gd name="connsiteX87" fmla="*/ 537251 w 752994"/>
                <a:gd name="connsiteY87" fmla="*/ 206270 h 1333436"/>
                <a:gd name="connsiteX88" fmla="*/ 542765 w 752994"/>
                <a:gd name="connsiteY88" fmla="*/ 217475 h 1333436"/>
                <a:gd name="connsiteX89" fmla="*/ 546857 w 752994"/>
                <a:gd name="connsiteY89" fmla="*/ 230930 h 1333436"/>
                <a:gd name="connsiteX90" fmla="*/ 549499 w 752994"/>
                <a:gd name="connsiteY90" fmla="*/ 235622 h 1333436"/>
                <a:gd name="connsiteX91" fmla="*/ 553388 w 752994"/>
                <a:gd name="connsiteY91" fmla="*/ 240722 h 1333436"/>
                <a:gd name="connsiteX92" fmla="*/ 557465 w 752994"/>
                <a:gd name="connsiteY92" fmla="*/ 246037 h 1333436"/>
                <a:gd name="connsiteX93" fmla="*/ 561761 w 752994"/>
                <a:gd name="connsiteY93" fmla="*/ 248671 h 1333436"/>
                <a:gd name="connsiteX94" fmla="*/ 567478 w 752994"/>
                <a:gd name="connsiteY94" fmla="*/ 247665 h 1333436"/>
                <a:gd name="connsiteX95" fmla="*/ 569931 w 752994"/>
                <a:gd name="connsiteY95" fmla="*/ 249293 h 1333436"/>
                <a:gd name="connsiteX96" fmla="*/ 570540 w 752994"/>
                <a:gd name="connsiteY96" fmla="*/ 251951 h 1333436"/>
                <a:gd name="connsiteX97" fmla="*/ 561964 w 752994"/>
                <a:gd name="connsiteY97" fmla="*/ 267656 h 1333436"/>
                <a:gd name="connsiteX98" fmla="*/ 553591 w 752994"/>
                <a:gd name="connsiteY98" fmla="*/ 289659 h 1333436"/>
                <a:gd name="connsiteX99" fmla="*/ 554810 w 752994"/>
                <a:gd name="connsiteY99" fmla="*/ 292939 h 1333436"/>
                <a:gd name="connsiteX100" fmla="*/ 556246 w 752994"/>
                <a:gd name="connsiteY100" fmla="*/ 299260 h 1333436"/>
                <a:gd name="connsiteX101" fmla="*/ 552778 w 752994"/>
                <a:gd name="connsiteY101" fmla="*/ 301917 h 1333436"/>
                <a:gd name="connsiteX102" fmla="*/ 549295 w 752994"/>
                <a:gd name="connsiteY102" fmla="*/ 306993 h 1333436"/>
                <a:gd name="connsiteX103" fmla="*/ 547061 w 752994"/>
                <a:gd name="connsiteY103" fmla="*/ 313122 h 1333436"/>
                <a:gd name="connsiteX104" fmla="*/ 544811 w 752994"/>
                <a:gd name="connsiteY104" fmla="*/ 316593 h 1333436"/>
                <a:gd name="connsiteX105" fmla="*/ 549919 w 752994"/>
                <a:gd name="connsiteY105" fmla="*/ 322698 h 1333436"/>
                <a:gd name="connsiteX106" fmla="*/ 553184 w 752994"/>
                <a:gd name="connsiteY106" fmla="*/ 325955 h 1333436"/>
                <a:gd name="connsiteX107" fmla="*/ 555840 w 752994"/>
                <a:gd name="connsiteY107" fmla="*/ 328205 h 1333436"/>
                <a:gd name="connsiteX108" fmla="*/ 574212 w 752994"/>
                <a:gd name="connsiteY108" fmla="*/ 318820 h 1333436"/>
                <a:gd name="connsiteX109" fmla="*/ 579523 w 752994"/>
                <a:gd name="connsiteY109" fmla="*/ 326577 h 1333436"/>
                <a:gd name="connsiteX110" fmla="*/ 580539 w 752994"/>
                <a:gd name="connsiteY110" fmla="*/ 334933 h 1333436"/>
                <a:gd name="connsiteX111" fmla="*/ 579726 w 752994"/>
                <a:gd name="connsiteY111" fmla="*/ 343097 h 1333436"/>
                <a:gd name="connsiteX112" fmla="*/ 581366 w 752994"/>
                <a:gd name="connsiteY112" fmla="*/ 350231 h 1333436"/>
                <a:gd name="connsiteX113" fmla="*/ 586256 w 752994"/>
                <a:gd name="connsiteY113" fmla="*/ 355930 h 1333436"/>
                <a:gd name="connsiteX114" fmla="*/ 589536 w 752994"/>
                <a:gd name="connsiteY114" fmla="*/ 362059 h 1333436"/>
                <a:gd name="connsiteX115" fmla="*/ 588099 w 752994"/>
                <a:gd name="connsiteY115" fmla="*/ 369600 h 1333436"/>
                <a:gd name="connsiteX116" fmla="*/ 586459 w 752994"/>
                <a:gd name="connsiteY116" fmla="*/ 377357 h 1333436"/>
                <a:gd name="connsiteX117" fmla="*/ 588709 w 752994"/>
                <a:gd name="connsiteY117" fmla="*/ 381835 h 1333436"/>
                <a:gd name="connsiteX118" fmla="*/ 595036 w 752994"/>
                <a:gd name="connsiteY118" fmla="*/ 382457 h 1333436"/>
                <a:gd name="connsiteX119" fmla="*/ 599331 w 752994"/>
                <a:gd name="connsiteY119" fmla="*/ 385306 h 1333436"/>
                <a:gd name="connsiteX120" fmla="*/ 601987 w 752994"/>
                <a:gd name="connsiteY120" fmla="*/ 391004 h 1333436"/>
                <a:gd name="connsiteX121" fmla="*/ 602799 w 752994"/>
                <a:gd name="connsiteY121" fmla="*/ 404076 h 1333436"/>
                <a:gd name="connsiteX122" fmla="*/ 606892 w 752994"/>
                <a:gd name="connsiteY122" fmla="*/ 415688 h 1333436"/>
                <a:gd name="connsiteX123" fmla="*/ 610563 w 752994"/>
                <a:gd name="connsiteY123" fmla="*/ 412217 h 1333436"/>
                <a:gd name="connsiteX124" fmla="*/ 617920 w 752994"/>
                <a:gd name="connsiteY124" fmla="*/ 408769 h 1333436"/>
                <a:gd name="connsiteX125" fmla="*/ 624654 w 752994"/>
                <a:gd name="connsiteY125" fmla="*/ 411211 h 1333436"/>
                <a:gd name="connsiteX126" fmla="*/ 634652 w 752994"/>
                <a:gd name="connsiteY126" fmla="*/ 410182 h 1333436"/>
                <a:gd name="connsiteX127" fmla="*/ 640573 w 752994"/>
                <a:gd name="connsiteY127" fmla="*/ 407739 h 1333436"/>
                <a:gd name="connsiteX128" fmla="*/ 646711 w 752994"/>
                <a:gd name="connsiteY128" fmla="*/ 410589 h 1333436"/>
                <a:gd name="connsiteX129" fmla="*/ 650383 w 752994"/>
                <a:gd name="connsiteY129" fmla="*/ 410589 h 1333436"/>
                <a:gd name="connsiteX130" fmla="*/ 654257 w 752994"/>
                <a:gd name="connsiteY130" fmla="*/ 411618 h 1333436"/>
                <a:gd name="connsiteX131" fmla="*/ 656913 w 752994"/>
                <a:gd name="connsiteY131" fmla="*/ 413653 h 1333436"/>
                <a:gd name="connsiteX132" fmla="*/ 660802 w 752994"/>
                <a:gd name="connsiteY132" fmla="*/ 415090 h 1333436"/>
                <a:gd name="connsiteX133" fmla="*/ 669581 w 752994"/>
                <a:gd name="connsiteY133" fmla="*/ 415904 h 1333436"/>
                <a:gd name="connsiteX134" fmla="*/ 672237 w 752994"/>
                <a:gd name="connsiteY134" fmla="*/ 415688 h 1333436"/>
                <a:gd name="connsiteX135" fmla="*/ 675705 w 752994"/>
                <a:gd name="connsiteY135" fmla="*/ 409367 h 1333436"/>
                <a:gd name="connsiteX136" fmla="*/ 679986 w 752994"/>
                <a:gd name="connsiteY136" fmla="*/ 403238 h 1333436"/>
                <a:gd name="connsiteX137" fmla="*/ 693264 w 752994"/>
                <a:gd name="connsiteY137" fmla="*/ 419567 h 1333436"/>
                <a:gd name="connsiteX138" fmla="*/ 688563 w 752994"/>
                <a:gd name="connsiteY138" fmla="*/ 448321 h 1333436"/>
                <a:gd name="connsiteX139" fmla="*/ 663949 w 752994"/>
                <a:gd name="connsiteY139" fmla="*/ 590165 h 1333436"/>
                <a:gd name="connsiteX140" fmla="*/ 666304 w 752994"/>
                <a:gd name="connsiteY140" fmla="*/ 590504 h 1333436"/>
                <a:gd name="connsiteX141" fmla="*/ 655288 w 752994"/>
                <a:gd name="connsiteY141" fmla="*/ 656178 h 1333436"/>
                <a:gd name="connsiteX142" fmla="*/ 681808 w 752994"/>
                <a:gd name="connsiteY142" fmla="*/ 662301 h 1333436"/>
                <a:gd name="connsiteX143" fmla="*/ 752994 w 752994"/>
                <a:gd name="connsiteY143" fmla="*/ 675560 h 1333436"/>
                <a:gd name="connsiteX144" fmla="*/ 714651 w 752994"/>
                <a:gd name="connsiteY144" fmla="*/ 946985 h 1333436"/>
                <a:gd name="connsiteX145" fmla="*/ 654533 w 752994"/>
                <a:gd name="connsiteY145" fmla="*/ 1333436 h 1333436"/>
                <a:gd name="connsiteX146" fmla="*/ 546831 w 752994"/>
                <a:gd name="connsiteY146" fmla="*/ 1317126 h 1333436"/>
                <a:gd name="connsiteX147" fmla="*/ 351227 w 752994"/>
                <a:gd name="connsiteY147" fmla="*/ 1194172 h 1333436"/>
                <a:gd name="connsiteX148" fmla="*/ 361011 w 752994"/>
                <a:gd name="connsiteY148" fmla="*/ 1182755 h 1333436"/>
                <a:gd name="connsiteX149" fmla="*/ 368981 w 752994"/>
                <a:gd name="connsiteY149" fmla="*/ 1182130 h 1333436"/>
                <a:gd name="connsiteX150" fmla="*/ 369571 w 752994"/>
                <a:gd name="connsiteY150" fmla="*/ 1181558 h 1333436"/>
                <a:gd name="connsiteX151" fmla="*/ 362372 w 752994"/>
                <a:gd name="connsiteY151" fmla="*/ 1182120 h 1333436"/>
                <a:gd name="connsiteX152" fmla="*/ 229464 w 752994"/>
                <a:gd name="connsiteY152" fmla="*/ 1161721 h 1333436"/>
                <a:gd name="connsiteX153" fmla="*/ 227427 w 752994"/>
                <a:gd name="connsiteY153" fmla="*/ 1157269 h 1333436"/>
                <a:gd name="connsiteX154" fmla="*/ 224967 w 752994"/>
                <a:gd name="connsiteY154" fmla="*/ 1152575 h 1333436"/>
                <a:gd name="connsiteX155" fmla="*/ 225582 w 752994"/>
                <a:gd name="connsiteY155" fmla="*/ 1144808 h 1333436"/>
                <a:gd name="connsiteX156" fmla="*/ 227215 w 752994"/>
                <a:gd name="connsiteY156" fmla="*/ 1135834 h 1333436"/>
                <a:gd name="connsiteX157" fmla="*/ 227215 w 752994"/>
                <a:gd name="connsiteY157" fmla="*/ 1134212 h 1333436"/>
                <a:gd name="connsiteX158" fmla="*/ 225179 w 752994"/>
                <a:gd name="connsiteY158" fmla="*/ 1114020 h 1333436"/>
                <a:gd name="connsiteX159" fmla="*/ 217839 w 752994"/>
                <a:gd name="connsiteY159" fmla="*/ 1100352 h 1333436"/>
                <a:gd name="connsiteX160" fmla="*/ 199661 w 752994"/>
                <a:gd name="connsiteY160" fmla="*/ 1076502 h 1333436"/>
                <a:gd name="connsiteX161" fmla="*/ 196395 w 752994"/>
                <a:gd name="connsiteY161" fmla="*/ 1071807 h 1333436"/>
                <a:gd name="connsiteX162" fmla="*/ 190880 w 752994"/>
                <a:gd name="connsiteY162" fmla="*/ 1067527 h 1333436"/>
                <a:gd name="connsiteX163" fmla="*/ 187210 w 752994"/>
                <a:gd name="connsiteY163" fmla="*/ 1068735 h 1333436"/>
                <a:gd name="connsiteX164" fmla="*/ 180062 w 752994"/>
                <a:gd name="connsiteY164" fmla="*/ 1066699 h 1333436"/>
                <a:gd name="connsiteX165" fmla="*/ 180466 w 752994"/>
                <a:gd name="connsiteY165" fmla="*/ 1053031 h 1333436"/>
                <a:gd name="connsiteX166" fmla="*/ 180062 w 752994"/>
                <a:gd name="connsiteY166" fmla="*/ 1045299 h 1333436"/>
                <a:gd name="connsiteX167" fmla="*/ 174144 w 752994"/>
                <a:gd name="connsiteY167" fmla="*/ 1044057 h 1333436"/>
                <a:gd name="connsiteX168" fmla="*/ 158426 w 752994"/>
                <a:gd name="connsiteY168" fmla="*/ 1042641 h 1333436"/>
                <a:gd name="connsiteX169" fmla="*/ 149857 w 752994"/>
                <a:gd name="connsiteY169" fmla="*/ 1035497 h 1333436"/>
                <a:gd name="connsiteX170" fmla="*/ 142497 w 752994"/>
                <a:gd name="connsiteY170" fmla="*/ 1028766 h 1333436"/>
                <a:gd name="connsiteX171" fmla="*/ 140864 w 752994"/>
                <a:gd name="connsiteY171" fmla="*/ 1020620 h 1333436"/>
                <a:gd name="connsiteX172" fmla="*/ 138212 w 752994"/>
                <a:gd name="connsiteY172" fmla="*/ 1013061 h 1333436"/>
                <a:gd name="connsiteX173" fmla="*/ 131064 w 752994"/>
                <a:gd name="connsiteY173" fmla="*/ 1007159 h 1333436"/>
                <a:gd name="connsiteX174" fmla="*/ 121264 w 752994"/>
                <a:gd name="connsiteY174" fmla="*/ 1005330 h 1333436"/>
                <a:gd name="connsiteX175" fmla="*/ 112483 w 752994"/>
                <a:gd name="connsiteY175" fmla="*/ 1001671 h 1333436"/>
                <a:gd name="connsiteX176" fmla="*/ 105950 w 752994"/>
                <a:gd name="connsiteY176" fmla="*/ 995734 h 1333436"/>
                <a:gd name="connsiteX177" fmla="*/ 97380 w 752994"/>
                <a:gd name="connsiteY177" fmla="*/ 994526 h 1333436"/>
                <a:gd name="connsiteX178" fmla="*/ 87984 w 752994"/>
                <a:gd name="connsiteY178" fmla="*/ 991040 h 1333436"/>
                <a:gd name="connsiteX179" fmla="*/ 80029 w 752994"/>
                <a:gd name="connsiteY179" fmla="*/ 985138 h 1333436"/>
                <a:gd name="connsiteX180" fmla="*/ 77166 w 752994"/>
                <a:gd name="connsiteY180" fmla="*/ 976164 h 1333436"/>
                <a:gd name="connsiteX181" fmla="*/ 79203 w 752994"/>
                <a:gd name="connsiteY181" fmla="*/ 970676 h 1333436"/>
                <a:gd name="connsiteX182" fmla="*/ 82470 w 752994"/>
                <a:gd name="connsiteY182" fmla="*/ 963117 h 1333436"/>
                <a:gd name="connsiteX183" fmla="*/ 84314 w 752994"/>
                <a:gd name="connsiteY183" fmla="*/ 954557 h 1333436"/>
                <a:gd name="connsiteX184" fmla="*/ 86351 w 752994"/>
                <a:gd name="connsiteY184" fmla="*/ 948033 h 1333436"/>
                <a:gd name="connsiteX185" fmla="*/ 86159 w 752994"/>
                <a:gd name="connsiteY185" fmla="*/ 942925 h 1333436"/>
                <a:gd name="connsiteX186" fmla="*/ 83085 w 752994"/>
                <a:gd name="connsiteY186" fmla="*/ 939853 h 1333436"/>
                <a:gd name="connsiteX187" fmla="*/ 77570 w 752994"/>
                <a:gd name="connsiteY187" fmla="*/ 937437 h 1333436"/>
                <a:gd name="connsiteX188" fmla="*/ 76763 w 752994"/>
                <a:gd name="connsiteY188" fmla="*/ 931915 h 1333436"/>
                <a:gd name="connsiteX189" fmla="*/ 78800 w 752994"/>
                <a:gd name="connsiteY189" fmla="*/ 927013 h 1333436"/>
                <a:gd name="connsiteX190" fmla="*/ 79626 w 752994"/>
                <a:gd name="connsiteY190" fmla="*/ 922526 h 1333436"/>
                <a:gd name="connsiteX191" fmla="*/ 77781 w 752994"/>
                <a:gd name="connsiteY191" fmla="*/ 919903 h 1333436"/>
                <a:gd name="connsiteX192" fmla="*/ 74303 w 752994"/>
                <a:gd name="connsiteY192" fmla="*/ 917418 h 1333436"/>
                <a:gd name="connsiteX193" fmla="*/ 71863 w 752994"/>
                <a:gd name="connsiteY193" fmla="*/ 915174 h 1333436"/>
                <a:gd name="connsiteX194" fmla="*/ 71652 w 752994"/>
                <a:gd name="connsiteY194" fmla="*/ 910894 h 1333436"/>
                <a:gd name="connsiteX195" fmla="*/ 70633 w 752994"/>
                <a:gd name="connsiteY195" fmla="*/ 906614 h 1333436"/>
                <a:gd name="connsiteX196" fmla="*/ 68385 w 752994"/>
                <a:gd name="connsiteY196" fmla="*/ 902749 h 1333436"/>
                <a:gd name="connsiteX197" fmla="*/ 61045 w 752994"/>
                <a:gd name="connsiteY197" fmla="*/ 889494 h 1333436"/>
                <a:gd name="connsiteX198" fmla="*/ 57971 w 752994"/>
                <a:gd name="connsiteY198" fmla="*/ 875619 h 1333436"/>
                <a:gd name="connsiteX199" fmla="*/ 52264 w 752994"/>
                <a:gd name="connsiteY199" fmla="*/ 862572 h 1333436"/>
                <a:gd name="connsiteX200" fmla="*/ 44309 w 752994"/>
                <a:gd name="connsiteY200" fmla="*/ 850561 h 1333436"/>
                <a:gd name="connsiteX201" fmla="*/ 45520 w 752994"/>
                <a:gd name="connsiteY201" fmla="*/ 827090 h 1333436"/>
                <a:gd name="connsiteX202" fmla="*/ 53071 w 752994"/>
                <a:gd name="connsiteY202" fmla="*/ 822396 h 1333436"/>
                <a:gd name="connsiteX203" fmla="*/ 57375 w 752994"/>
                <a:gd name="connsiteY203" fmla="*/ 816493 h 1333436"/>
                <a:gd name="connsiteX204" fmla="*/ 55319 w 752994"/>
                <a:gd name="connsiteY204" fmla="*/ 801617 h 1333436"/>
                <a:gd name="connsiteX205" fmla="*/ 48383 w 752994"/>
                <a:gd name="connsiteY205" fmla="*/ 802204 h 1333436"/>
                <a:gd name="connsiteX206" fmla="*/ 40428 w 752994"/>
                <a:gd name="connsiteY206" fmla="*/ 797924 h 1333436"/>
                <a:gd name="connsiteX207" fmla="*/ 37565 w 752994"/>
                <a:gd name="connsiteY207" fmla="*/ 790606 h 1333436"/>
                <a:gd name="connsiteX208" fmla="*/ 37565 w 752994"/>
                <a:gd name="connsiteY208" fmla="*/ 790399 h 1333436"/>
                <a:gd name="connsiteX209" fmla="*/ 35931 w 752994"/>
                <a:gd name="connsiteY209" fmla="*/ 785912 h 1333436"/>
                <a:gd name="connsiteX210" fmla="*/ 34510 w 752994"/>
                <a:gd name="connsiteY210" fmla="*/ 780597 h 1333436"/>
                <a:gd name="connsiteX211" fmla="*/ 36335 w 752994"/>
                <a:gd name="connsiteY211" fmla="*/ 774280 h 1333436"/>
                <a:gd name="connsiteX212" fmla="*/ 38180 w 752994"/>
                <a:gd name="connsiteY212" fmla="*/ 766721 h 1333436"/>
                <a:gd name="connsiteX213" fmla="*/ 37161 w 752994"/>
                <a:gd name="connsiteY213" fmla="*/ 760405 h 1333436"/>
                <a:gd name="connsiteX214" fmla="*/ 35720 w 752994"/>
                <a:gd name="connsiteY214" fmla="*/ 754710 h 1333436"/>
                <a:gd name="connsiteX215" fmla="*/ 36546 w 752994"/>
                <a:gd name="connsiteY215" fmla="*/ 748773 h 1333436"/>
                <a:gd name="connsiteX216" fmla="*/ 38372 w 752994"/>
                <a:gd name="connsiteY216" fmla="*/ 744528 h 1333436"/>
                <a:gd name="connsiteX217" fmla="*/ 41638 w 752994"/>
                <a:gd name="connsiteY217" fmla="*/ 744321 h 1333436"/>
                <a:gd name="connsiteX218" fmla="*/ 44713 w 752994"/>
                <a:gd name="connsiteY218" fmla="*/ 746357 h 1333436"/>
                <a:gd name="connsiteX219" fmla="*/ 47364 w 752994"/>
                <a:gd name="connsiteY219" fmla="*/ 753260 h 1333436"/>
                <a:gd name="connsiteX220" fmla="*/ 55742 w 752994"/>
                <a:gd name="connsiteY220" fmla="*/ 764305 h 1333436"/>
                <a:gd name="connsiteX221" fmla="*/ 56338 w 752994"/>
                <a:gd name="connsiteY221" fmla="*/ 761233 h 1333436"/>
                <a:gd name="connsiteX222" fmla="*/ 56145 w 752994"/>
                <a:gd name="connsiteY222" fmla="*/ 757368 h 1333436"/>
                <a:gd name="connsiteX223" fmla="*/ 54916 w 752994"/>
                <a:gd name="connsiteY223" fmla="*/ 748601 h 1333436"/>
                <a:gd name="connsiteX224" fmla="*/ 52879 w 752994"/>
                <a:gd name="connsiteY224" fmla="*/ 747358 h 1333436"/>
                <a:gd name="connsiteX225" fmla="*/ 51649 w 752994"/>
                <a:gd name="connsiteY225" fmla="*/ 745322 h 1333436"/>
                <a:gd name="connsiteX226" fmla="*/ 51649 w 752994"/>
                <a:gd name="connsiteY226" fmla="*/ 739212 h 1333436"/>
                <a:gd name="connsiteX227" fmla="*/ 50227 w 752994"/>
                <a:gd name="connsiteY227" fmla="*/ 734725 h 1333436"/>
                <a:gd name="connsiteX228" fmla="*/ 48786 w 752994"/>
                <a:gd name="connsiteY228" fmla="*/ 731446 h 1333436"/>
                <a:gd name="connsiteX229" fmla="*/ 54512 w 752994"/>
                <a:gd name="connsiteY229" fmla="*/ 726372 h 1333436"/>
                <a:gd name="connsiteX230" fmla="*/ 59815 w 752994"/>
                <a:gd name="connsiteY230" fmla="*/ 725130 h 1333436"/>
                <a:gd name="connsiteX231" fmla="*/ 58182 w 752994"/>
                <a:gd name="connsiteY231" fmla="*/ 722886 h 1333436"/>
                <a:gd name="connsiteX232" fmla="*/ 51861 w 752994"/>
                <a:gd name="connsiteY232" fmla="*/ 717985 h 1333436"/>
                <a:gd name="connsiteX233" fmla="*/ 46749 w 752994"/>
                <a:gd name="connsiteY233" fmla="*/ 729617 h 1333436"/>
                <a:gd name="connsiteX234" fmla="*/ 40831 w 752994"/>
                <a:gd name="connsiteY234" fmla="*/ 739212 h 1333436"/>
                <a:gd name="connsiteX235" fmla="*/ 39601 w 752994"/>
                <a:gd name="connsiteY235" fmla="*/ 738798 h 1333436"/>
                <a:gd name="connsiteX236" fmla="*/ 39409 w 752994"/>
                <a:gd name="connsiteY236" fmla="*/ 738591 h 1333436"/>
                <a:gd name="connsiteX237" fmla="*/ 37161 w 752994"/>
                <a:gd name="connsiteY237" fmla="*/ 734725 h 1333436"/>
                <a:gd name="connsiteX238" fmla="*/ 32665 w 752994"/>
                <a:gd name="connsiteY238" fmla="*/ 727788 h 1333436"/>
                <a:gd name="connsiteX239" fmla="*/ 26747 w 752994"/>
                <a:gd name="connsiteY239" fmla="*/ 719435 h 1333436"/>
                <a:gd name="connsiteX240" fmla="*/ 23884 w 752994"/>
                <a:gd name="connsiteY240" fmla="*/ 717812 h 1333436"/>
                <a:gd name="connsiteX241" fmla="*/ 24710 w 752994"/>
                <a:gd name="connsiteY241" fmla="*/ 709632 h 1333436"/>
                <a:gd name="connsiteX242" fmla="*/ 27554 w 752994"/>
                <a:gd name="connsiteY242" fmla="*/ 701694 h 1333436"/>
                <a:gd name="connsiteX243" fmla="*/ 24902 w 752994"/>
                <a:gd name="connsiteY243" fmla="*/ 696171 h 1333436"/>
                <a:gd name="connsiteX244" fmla="*/ 24095 w 752994"/>
                <a:gd name="connsiteY244" fmla="*/ 687818 h 1333436"/>
                <a:gd name="connsiteX245" fmla="*/ 22462 w 752994"/>
                <a:gd name="connsiteY245" fmla="*/ 682330 h 1333436"/>
                <a:gd name="connsiteX246" fmla="*/ 17159 w 752994"/>
                <a:gd name="connsiteY246" fmla="*/ 677636 h 1333436"/>
                <a:gd name="connsiteX247" fmla="*/ 14296 w 752994"/>
                <a:gd name="connsiteY247" fmla="*/ 671492 h 1333436"/>
                <a:gd name="connsiteX248" fmla="*/ 12451 w 752994"/>
                <a:gd name="connsiteY248" fmla="*/ 665797 h 1333436"/>
                <a:gd name="connsiteX249" fmla="*/ 5111 w 752994"/>
                <a:gd name="connsiteY249" fmla="*/ 654994 h 1333436"/>
                <a:gd name="connsiteX250" fmla="*/ 2248 w 752994"/>
                <a:gd name="connsiteY250" fmla="*/ 645605 h 1333436"/>
                <a:gd name="connsiteX251" fmla="*/ 4496 w 752994"/>
                <a:gd name="connsiteY251" fmla="*/ 640497 h 1333436"/>
                <a:gd name="connsiteX252" fmla="*/ 6744 w 752994"/>
                <a:gd name="connsiteY252" fmla="*/ 632765 h 1333436"/>
                <a:gd name="connsiteX253" fmla="*/ 6744 w 752994"/>
                <a:gd name="connsiteY253" fmla="*/ 628485 h 1333436"/>
                <a:gd name="connsiteX254" fmla="*/ 6533 w 752994"/>
                <a:gd name="connsiteY254" fmla="*/ 620305 h 1333436"/>
                <a:gd name="connsiteX255" fmla="*/ 7359 w 752994"/>
                <a:gd name="connsiteY255" fmla="*/ 611745 h 1333436"/>
                <a:gd name="connsiteX256" fmla="*/ 11836 w 752994"/>
                <a:gd name="connsiteY256" fmla="*/ 602978 h 1333436"/>
                <a:gd name="connsiteX257" fmla="*/ 15103 w 752994"/>
                <a:gd name="connsiteY257" fmla="*/ 591760 h 1333436"/>
                <a:gd name="connsiteX258" fmla="*/ 14488 w 752994"/>
                <a:gd name="connsiteY258" fmla="*/ 584029 h 1333436"/>
                <a:gd name="connsiteX259" fmla="*/ 13873 w 752994"/>
                <a:gd name="connsiteY259" fmla="*/ 578299 h 1333436"/>
                <a:gd name="connsiteX260" fmla="*/ 10626 w 752994"/>
                <a:gd name="connsiteY260" fmla="*/ 568531 h 1333436"/>
                <a:gd name="connsiteX261" fmla="*/ 3670 w 752994"/>
                <a:gd name="connsiteY261" fmla="*/ 558107 h 1333436"/>
                <a:gd name="connsiteX262" fmla="*/ 0 w 752994"/>
                <a:gd name="connsiteY262" fmla="*/ 551377 h 1333436"/>
                <a:gd name="connsiteX263" fmla="*/ 0 w 752994"/>
                <a:gd name="connsiteY263" fmla="*/ 550997 h 1333436"/>
                <a:gd name="connsiteX264" fmla="*/ 4900 w 752994"/>
                <a:gd name="connsiteY264" fmla="*/ 531220 h 1333436"/>
                <a:gd name="connsiteX265" fmla="*/ 13873 w 752994"/>
                <a:gd name="connsiteY265" fmla="*/ 520589 h 1333436"/>
                <a:gd name="connsiteX266" fmla="*/ 18369 w 752994"/>
                <a:gd name="connsiteY266" fmla="*/ 516516 h 1333436"/>
                <a:gd name="connsiteX267" fmla="*/ 18773 w 752994"/>
                <a:gd name="connsiteY267" fmla="*/ 514272 h 1333436"/>
                <a:gd name="connsiteX268" fmla="*/ 23077 w 752994"/>
                <a:gd name="connsiteY268" fmla="*/ 506127 h 1333436"/>
                <a:gd name="connsiteX269" fmla="*/ 23884 w 752994"/>
                <a:gd name="connsiteY269" fmla="*/ 502261 h 1333436"/>
                <a:gd name="connsiteX270" fmla="*/ 23692 w 752994"/>
                <a:gd name="connsiteY270" fmla="*/ 496738 h 1333436"/>
                <a:gd name="connsiteX271" fmla="*/ 30013 w 752994"/>
                <a:gd name="connsiteY271" fmla="*/ 486556 h 1333436"/>
                <a:gd name="connsiteX272" fmla="*/ 36546 w 752994"/>
                <a:gd name="connsiteY272" fmla="*/ 470230 h 1333436"/>
                <a:gd name="connsiteX273" fmla="*/ 36546 w 752994"/>
                <a:gd name="connsiteY273" fmla="*/ 462671 h 1333436"/>
                <a:gd name="connsiteX274" fmla="*/ 36335 w 752994"/>
                <a:gd name="connsiteY274" fmla="*/ 461670 h 1333436"/>
                <a:gd name="connsiteX275" fmla="*/ 35931 w 752994"/>
                <a:gd name="connsiteY275" fmla="*/ 453110 h 1333436"/>
                <a:gd name="connsiteX276" fmla="*/ 38583 w 752994"/>
                <a:gd name="connsiteY276" fmla="*/ 442514 h 1333436"/>
                <a:gd name="connsiteX277" fmla="*/ 41043 w 752994"/>
                <a:gd name="connsiteY277" fmla="*/ 436991 h 1333436"/>
                <a:gd name="connsiteX278" fmla="*/ 41650 w 752994"/>
                <a:gd name="connsiteY278" fmla="*/ 437186 h 1333436"/>
                <a:gd name="connsiteX279" fmla="*/ 41239 w 752994"/>
                <a:gd name="connsiteY279" fmla="*/ 436549 h 1333436"/>
                <a:gd name="connsiteX280" fmla="*/ 37778 w 752994"/>
                <a:gd name="connsiteY280" fmla="*/ 433894 h 1333436"/>
                <a:gd name="connsiteX281" fmla="*/ 37169 w 752994"/>
                <a:gd name="connsiteY281" fmla="*/ 432261 h 1333436"/>
                <a:gd name="connsiteX282" fmla="*/ 37365 w 752994"/>
                <a:gd name="connsiteY282" fmla="*/ 429198 h 1333436"/>
                <a:gd name="connsiteX283" fmla="*/ 36756 w 752994"/>
                <a:gd name="connsiteY283" fmla="*/ 422272 h 1333436"/>
                <a:gd name="connsiteX284" fmla="*/ 36952 w 752994"/>
                <a:gd name="connsiteY284" fmla="*/ 418800 h 1333436"/>
                <a:gd name="connsiteX285" fmla="*/ 36756 w 752994"/>
                <a:gd name="connsiteY285" fmla="*/ 412487 h 1333436"/>
                <a:gd name="connsiteX286" fmla="*/ 40433 w 752994"/>
                <a:gd name="connsiteY286" fmla="*/ 406174 h 1333436"/>
                <a:gd name="connsiteX287" fmla="*/ 44720 w 752994"/>
                <a:gd name="connsiteY287" fmla="*/ 399435 h 1333436"/>
                <a:gd name="connsiteX288" fmla="*/ 44110 w 752994"/>
                <a:gd name="connsiteY288" fmla="*/ 389651 h 1333436"/>
                <a:gd name="connsiteX289" fmla="*/ 43894 w 752994"/>
                <a:gd name="connsiteY289" fmla="*/ 378437 h 1333436"/>
                <a:gd name="connsiteX290" fmla="*/ 47158 w 752994"/>
                <a:gd name="connsiteY290" fmla="*/ 371102 h 1333436"/>
                <a:gd name="connsiteX291" fmla="*/ 55731 w 752994"/>
                <a:gd name="connsiteY291" fmla="*/ 360909 h 1333436"/>
                <a:gd name="connsiteX292" fmla="*/ 57580 w 752994"/>
                <a:gd name="connsiteY292" fmla="*/ 355804 h 1333436"/>
                <a:gd name="connsiteX293" fmla="*/ 62673 w 752994"/>
                <a:gd name="connsiteY293" fmla="*/ 349695 h 1333436"/>
                <a:gd name="connsiteX294" fmla="*/ 65937 w 752994"/>
                <a:gd name="connsiteY294" fmla="*/ 348470 h 1333436"/>
                <a:gd name="connsiteX295" fmla="*/ 68395 w 752994"/>
                <a:gd name="connsiteY295" fmla="*/ 348674 h 1333436"/>
                <a:gd name="connsiteX296" fmla="*/ 70224 w 752994"/>
                <a:gd name="connsiteY296" fmla="*/ 347449 h 1333436"/>
                <a:gd name="connsiteX297" fmla="*/ 67785 w 752994"/>
                <a:gd name="connsiteY297" fmla="*/ 345203 h 1333436"/>
                <a:gd name="connsiteX298" fmla="*/ 65524 w 752994"/>
                <a:gd name="connsiteY298" fmla="*/ 343178 h 1333436"/>
                <a:gd name="connsiteX299" fmla="*/ 73095 w 752994"/>
                <a:gd name="connsiteY299" fmla="*/ 333376 h 1333436"/>
                <a:gd name="connsiteX300" fmla="*/ 73291 w 752994"/>
                <a:gd name="connsiteY300" fmla="*/ 333376 h 1333436"/>
                <a:gd name="connsiteX301" fmla="*/ 77991 w 752994"/>
                <a:gd name="connsiteY301" fmla="*/ 325838 h 1333436"/>
                <a:gd name="connsiteX302" fmla="*/ 82671 w 752994"/>
                <a:gd name="connsiteY302" fmla="*/ 313619 h 1333436"/>
                <a:gd name="connsiteX303" fmla="*/ 87980 w 752994"/>
                <a:gd name="connsiteY303" fmla="*/ 303018 h 1333436"/>
                <a:gd name="connsiteX304" fmla="*/ 92267 w 752994"/>
                <a:gd name="connsiteY304" fmla="*/ 291191 h 1333436"/>
                <a:gd name="connsiteX305" fmla="*/ 96553 w 752994"/>
                <a:gd name="connsiteY305" fmla="*/ 281202 h 1333436"/>
                <a:gd name="connsiteX306" fmla="*/ 99621 w 752994"/>
                <a:gd name="connsiteY306" fmla="*/ 274481 h 1333436"/>
                <a:gd name="connsiteX307" fmla="*/ 103082 w 752994"/>
                <a:gd name="connsiteY307" fmla="*/ 262450 h 1333436"/>
                <a:gd name="connsiteX308" fmla="*/ 107172 w 752994"/>
                <a:gd name="connsiteY308" fmla="*/ 254299 h 1333436"/>
                <a:gd name="connsiteX309" fmla="*/ 112481 w 752994"/>
                <a:gd name="connsiteY309" fmla="*/ 243697 h 1333436"/>
                <a:gd name="connsiteX310" fmla="*/ 117181 w 752994"/>
                <a:gd name="connsiteY310" fmla="*/ 232279 h 1333436"/>
                <a:gd name="connsiteX311" fmla="*/ 125951 w 752994"/>
                <a:gd name="connsiteY311" fmla="*/ 217389 h 1333436"/>
                <a:gd name="connsiteX312" fmla="*/ 136156 w 752994"/>
                <a:gd name="connsiteY312" fmla="*/ 202925 h 1333436"/>
                <a:gd name="connsiteX313" fmla="*/ 138811 w 752994"/>
                <a:gd name="connsiteY313" fmla="*/ 183339 h 1333436"/>
                <a:gd name="connsiteX314" fmla="*/ 148801 w 752994"/>
                <a:gd name="connsiteY314" fmla="*/ 167445 h 1333436"/>
                <a:gd name="connsiteX315" fmla="*/ 159616 w 752994"/>
                <a:gd name="connsiteY315" fmla="*/ 170712 h 1333436"/>
                <a:gd name="connsiteX316" fmla="*/ 173105 w 752994"/>
                <a:gd name="connsiteY316" fmla="*/ 175188 h 1333436"/>
                <a:gd name="connsiteX317" fmla="*/ 175347 w 752994"/>
                <a:gd name="connsiteY317" fmla="*/ 175188 h 1333436"/>
                <a:gd name="connsiteX318" fmla="*/ 175347 w 752994"/>
                <a:gd name="connsiteY318" fmla="*/ 173758 h 1333436"/>
                <a:gd name="connsiteX319" fmla="*/ 184975 w 752994"/>
                <a:gd name="connsiteY319" fmla="*/ 187393 h 1333436"/>
                <a:gd name="connsiteX320" fmla="*/ 184762 w 752994"/>
                <a:gd name="connsiteY320" fmla="*/ 184637 h 1333436"/>
                <a:gd name="connsiteX321" fmla="*/ 174971 w 752994"/>
                <a:gd name="connsiteY321" fmla="*/ 170774 h 1333436"/>
                <a:gd name="connsiteX322" fmla="*/ 174971 w 752994"/>
                <a:gd name="connsiteY322" fmla="*/ 169550 h 1333436"/>
                <a:gd name="connsiteX323" fmla="*/ 158851 w 752994"/>
                <a:gd name="connsiteY323" fmla="*/ 156924 h 1333436"/>
                <a:gd name="connsiteX324" fmla="*/ 147025 w 752994"/>
                <a:gd name="connsiteY324" fmla="*/ 145709 h 1333436"/>
                <a:gd name="connsiteX325" fmla="*/ 154364 w 752994"/>
                <a:gd name="connsiteY325" fmla="*/ 136335 h 1333436"/>
                <a:gd name="connsiteX326" fmla="*/ 161511 w 752994"/>
                <a:gd name="connsiteY326" fmla="*/ 131042 h 1333436"/>
                <a:gd name="connsiteX327" fmla="*/ 160902 w 752994"/>
                <a:gd name="connsiteY327" fmla="*/ 128384 h 1333436"/>
                <a:gd name="connsiteX328" fmla="*/ 160277 w 752994"/>
                <a:gd name="connsiteY328" fmla="*/ 127778 h 1333436"/>
                <a:gd name="connsiteX329" fmla="*/ 154973 w 752994"/>
                <a:gd name="connsiteY329" fmla="*/ 122077 h 1333436"/>
                <a:gd name="connsiteX330" fmla="*/ 160277 w 752994"/>
                <a:gd name="connsiteY330" fmla="*/ 115140 h 1333436"/>
                <a:gd name="connsiteX331" fmla="*/ 165181 w 752994"/>
                <a:gd name="connsiteY331" fmla="*/ 108215 h 1333436"/>
                <a:gd name="connsiteX332" fmla="*/ 161303 w 752994"/>
                <a:gd name="connsiteY332" fmla="*/ 104146 h 1333436"/>
                <a:gd name="connsiteX333" fmla="*/ 157842 w 752994"/>
                <a:gd name="connsiteY333" fmla="*/ 104542 h 1333436"/>
                <a:gd name="connsiteX334" fmla="*/ 157024 w 752994"/>
                <a:gd name="connsiteY334" fmla="*/ 102304 h 1333436"/>
                <a:gd name="connsiteX335" fmla="*/ 160694 w 752994"/>
                <a:gd name="connsiteY335" fmla="*/ 55437 h 1333436"/>
                <a:gd name="connsiteX336" fmla="*/ 160486 w 752994"/>
                <a:gd name="connsiteY336" fmla="*/ 31991 h 1333436"/>
                <a:gd name="connsiteX337" fmla="*/ 164972 w 752994"/>
                <a:gd name="connsiteY337" fmla="*/ 18141 h 1333436"/>
                <a:gd name="connsiteX338" fmla="*/ 171911 w 752994"/>
                <a:gd name="connsiteY338" fmla="*/ 11204 h 1333436"/>
                <a:gd name="connsiteX339" fmla="*/ 187406 w 752994"/>
                <a:gd name="connsiteY339" fmla="*/ 21801 h 1333436"/>
                <a:gd name="connsiteX340" fmla="*/ 210866 w 752994"/>
                <a:gd name="connsiteY340" fmla="*/ 37086 h 1333436"/>
                <a:gd name="connsiteX341" fmla="*/ 219230 w 752994"/>
                <a:gd name="connsiteY341" fmla="*/ 41166 h 1333436"/>
                <a:gd name="connsiteX342" fmla="*/ 226778 w 752994"/>
                <a:gd name="connsiteY342" fmla="*/ 47486 h 1333436"/>
                <a:gd name="connsiteX343" fmla="*/ 236152 w 752994"/>
                <a:gd name="connsiteY343" fmla="*/ 52370 h 1333436"/>
                <a:gd name="connsiteX344" fmla="*/ 239629 w 752994"/>
                <a:gd name="connsiteY344" fmla="*/ 58491 h 1333436"/>
                <a:gd name="connsiteX345" fmla="*/ 239629 w 752994"/>
                <a:gd name="connsiteY345" fmla="*/ 63376 h 1333436"/>
                <a:gd name="connsiteX346" fmla="*/ 236568 w 752994"/>
                <a:gd name="connsiteY346" fmla="*/ 67457 h 1333436"/>
                <a:gd name="connsiteX347" fmla="*/ 231264 w 752994"/>
                <a:gd name="connsiteY347" fmla="*/ 69905 h 1333436"/>
                <a:gd name="connsiteX348" fmla="*/ 216778 w 752994"/>
                <a:gd name="connsiteY348" fmla="*/ 82741 h 1333436"/>
                <a:gd name="connsiteX349" fmla="*/ 214134 w 752994"/>
                <a:gd name="connsiteY349" fmla="*/ 93536 h 1333436"/>
                <a:gd name="connsiteX350" fmla="*/ 214535 w 752994"/>
                <a:gd name="connsiteY350" fmla="*/ 96801 h 1333436"/>
                <a:gd name="connsiteX351" fmla="*/ 216378 w 752994"/>
                <a:gd name="connsiteY351" fmla="*/ 96801 h 1333436"/>
                <a:gd name="connsiteX352" fmla="*/ 230046 w 752994"/>
                <a:gd name="connsiteY352" fmla="*/ 85387 h 1333436"/>
                <a:gd name="connsiteX353" fmla="*/ 243298 w 752994"/>
                <a:gd name="connsiteY353" fmla="*/ 75198 h 1333436"/>
                <a:gd name="connsiteX354" fmla="*/ 246760 w 752994"/>
                <a:gd name="connsiteY354" fmla="*/ 77646 h 1333436"/>
                <a:gd name="connsiteX355" fmla="*/ 255541 w 752994"/>
                <a:gd name="connsiteY355" fmla="*/ 63376 h 1333436"/>
                <a:gd name="connsiteX356" fmla="*/ 259611 w 752994"/>
                <a:gd name="connsiteY356" fmla="*/ 43405 h 1333436"/>
                <a:gd name="connsiteX357" fmla="*/ 256967 w 752994"/>
                <a:gd name="connsiteY357" fmla="*/ 38520 h 1333436"/>
                <a:gd name="connsiteX358" fmla="*/ 253906 w 752994"/>
                <a:gd name="connsiteY358" fmla="*/ 34242 h 1333436"/>
                <a:gd name="connsiteX359" fmla="*/ 256967 w 752994"/>
                <a:gd name="connsiteY359" fmla="*/ 30161 h 1333436"/>
                <a:gd name="connsiteX360" fmla="*/ 262063 w 752994"/>
                <a:gd name="connsiteY360" fmla="*/ 27712 h 1333436"/>
                <a:gd name="connsiteX361" fmla="*/ 264915 w 752994"/>
                <a:gd name="connsiteY361" fmla="*/ 23026 h 1333436"/>
                <a:gd name="connsiteX362" fmla="*/ 267976 w 752994"/>
                <a:gd name="connsiteY362" fmla="*/ 22618 h 1333436"/>
                <a:gd name="connsiteX363" fmla="*/ 270427 w 752994"/>
                <a:gd name="connsiteY363" fmla="*/ 20787 h 1333436"/>
                <a:gd name="connsiteX364" fmla="*/ 263088 w 752994"/>
                <a:gd name="connsiteY364" fmla="*/ 13652 h 1333436"/>
                <a:gd name="connsiteX365" fmla="*/ 255541 w 752994"/>
                <a:gd name="connsiteY365" fmla="*/ 3055 h 1333436"/>
                <a:gd name="connsiteX366" fmla="*/ 256358 w 752994"/>
                <a:gd name="connsiteY366" fmla="*/ 1224 h 1333436"/>
                <a:gd name="connsiteX367" fmla="*/ 257159 w 752994"/>
                <a:gd name="connsiteY367"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399497 w 752994"/>
                <a:gd name="connsiteY7" fmla="*/ 996733 h 1333436"/>
                <a:gd name="connsiteX8" fmla="*/ 402352 w 752994"/>
                <a:gd name="connsiteY8" fmla="*/ 989000 h 1333436"/>
                <a:gd name="connsiteX9" fmla="*/ 399497 w 752994"/>
                <a:gd name="connsiteY9" fmla="*/ 996733 h 1333436"/>
                <a:gd name="connsiteX10" fmla="*/ 184180 w 752994"/>
                <a:gd name="connsiteY10" fmla="*/ 213866 h 1333436"/>
                <a:gd name="connsiteX11" fmla="*/ 184117 w 752994"/>
                <a:gd name="connsiteY11" fmla="*/ 214326 h 1333436"/>
                <a:gd name="connsiteX12" fmla="*/ 185553 w 752994"/>
                <a:gd name="connsiteY12" fmla="*/ 222494 h 1333436"/>
                <a:gd name="connsiteX13" fmla="*/ 188600 w 752994"/>
                <a:gd name="connsiteY13" fmla="*/ 226970 h 1333436"/>
                <a:gd name="connsiteX14" fmla="*/ 195542 w 752994"/>
                <a:gd name="connsiteY14" fmla="*/ 231871 h 1333436"/>
                <a:gd name="connsiteX15" fmla="*/ 203093 w 752994"/>
                <a:gd name="connsiteY15" fmla="*/ 233896 h 1333436"/>
                <a:gd name="connsiteX16" fmla="*/ 217192 w 752994"/>
                <a:gd name="connsiteY16" fmla="*/ 232075 h 1333436"/>
                <a:gd name="connsiteX17" fmla="*/ 225136 w 752994"/>
                <a:gd name="connsiteY17" fmla="*/ 229829 h 1333436"/>
                <a:gd name="connsiteX18" fmla="*/ 235558 w 752994"/>
                <a:gd name="connsiteY18" fmla="*/ 232483 h 1333436"/>
                <a:gd name="connsiteX19" fmla="*/ 242499 w 752994"/>
                <a:gd name="connsiteY19" fmla="*/ 237163 h 1333436"/>
                <a:gd name="connsiteX20" fmla="*/ 248418 w 752994"/>
                <a:gd name="connsiteY20" fmla="*/ 244701 h 1333436"/>
                <a:gd name="connsiteX21" fmla="*/ 255359 w 752994"/>
                <a:gd name="connsiteY21" fmla="*/ 244906 h 1333436"/>
                <a:gd name="connsiteX22" fmla="*/ 258210 w 752994"/>
                <a:gd name="connsiteY22" fmla="*/ 244906 h 1333436"/>
                <a:gd name="connsiteX23" fmla="*/ 263303 w 752994"/>
                <a:gd name="connsiteY23" fmla="*/ 246131 h 1333436"/>
                <a:gd name="connsiteX24" fmla="*/ 269438 w 752994"/>
                <a:gd name="connsiteY24" fmla="*/ 243697 h 1333436"/>
                <a:gd name="connsiteX25" fmla="*/ 274944 w 752994"/>
                <a:gd name="connsiteY25" fmla="*/ 241451 h 1333436"/>
                <a:gd name="connsiteX26" fmla="*/ 281276 w 752994"/>
                <a:gd name="connsiteY26" fmla="*/ 245722 h 1333436"/>
                <a:gd name="connsiteX27" fmla="*/ 289240 w 752994"/>
                <a:gd name="connsiteY27" fmla="*/ 250419 h 1333436"/>
                <a:gd name="connsiteX28" fmla="*/ 297597 w 752994"/>
                <a:gd name="connsiteY28" fmla="*/ 248581 h 1333436"/>
                <a:gd name="connsiteX29" fmla="*/ 310261 w 752994"/>
                <a:gd name="connsiteY29" fmla="*/ 246539 h 1333436"/>
                <a:gd name="connsiteX30" fmla="*/ 324340 w 752994"/>
                <a:gd name="connsiteY30" fmla="*/ 244497 h 1333436"/>
                <a:gd name="connsiteX31" fmla="*/ 333523 w 752994"/>
                <a:gd name="connsiteY31" fmla="*/ 243289 h 1333436"/>
                <a:gd name="connsiteX32" fmla="*/ 341271 w 752994"/>
                <a:gd name="connsiteY32" fmla="*/ 246539 h 1333436"/>
                <a:gd name="connsiteX33" fmla="*/ 348428 w 752994"/>
                <a:gd name="connsiteY33" fmla="*/ 250011 h 1333436"/>
                <a:gd name="connsiteX34" fmla="*/ 351279 w 752994"/>
                <a:gd name="connsiteY34" fmla="*/ 247356 h 1333436"/>
                <a:gd name="connsiteX35" fmla="*/ 355566 w 752994"/>
                <a:gd name="connsiteY35" fmla="*/ 244293 h 1333436"/>
                <a:gd name="connsiteX36" fmla="*/ 365772 w 752994"/>
                <a:gd name="connsiteY36" fmla="*/ 248785 h 1333436"/>
                <a:gd name="connsiteX37" fmla="*/ 381483 w 752994"/>
                <a:gd name="connsiteY37" fmla="*/ 254912 h 1333436"/>
                <a:gd name="connsiteX38" fmla="*/ 381896 w 752994"/>
                <a:gd name="connsiteY38" fmla="*/ 255320 h 1333436"/>
                <a:gd name="connsiteX39" fmla="*/ 395366 w 752994"/>
                <a:gd name="connsiteY39" fmla="*/ 257753 h 1333436"/>
                <a:gd name="connsiteX40" fmla="*/ 414145 w 752994"/>
                <a:gd name="connsiteY40" fmla="*/ 262450 h 1333436"/>
                <a:gd name="connsiteX41" fmla="*/ 431292 w 752994"/>
                <a:gd name="connsiteY41" fmla="*/ 268151 h 1333436"/>
                <a:gd name="connsiteX42" fmla="*/ 445196 w 752994"/>
                <a:gd name="connsiteY42" fmla="*/ 269890 h 1333436"/>
                <a:gd name="connsiteX43" fmla="*/ 444145 w 752994"/>
                <a:gd name="connsiteY43" fmla="*/ 267441 h 1333436"/>
                <a:gd name="connsiteX44" fmla="*/ 444145 w 752994"/>
                <a:gd name="connsiteY44" fmla="*/ 267034 h 1333436"/>
                <a:gd name="connsiteX45" fmla="*/ 444155 w 752994"/>
                <a:gd name="connsiteY45" fmla="*/ 266811 h 1333436"/>
                <a:gd name="connsiteX46" fmla="*/ 430733 w 752994"/>
                <a:gd name="connsiteY46" fmla="*/ 265139 h 1333436"/>
                <a:gd name="connsiteX47" fmla="*/ 394839 w 752994"/>
                <a:gd name="connsiteY47" fmla="*/ 254739 h 1333436"/>
                <a:gd name="connsiteX48" fmla="*/ 381379 w 752994"/>
                <a:gd name="connsiteY48" fmla="*/ 252303 h 1333436"/>
                <a:gd name="connsiteX49" fmla="*/ 380962 w 752994"/>
                <a:gd name="connsiteY49" fmla="*/ 251895 h 1333436"/>
                <a:gd name="connsiteX50" fmla="*/ 365258 w 752994"/>
                <a:gd name="connsiteY50" fmla="*/ 245774 h 1333436"/>
                <a:gd name="connsiteX51" fmla="*/ 355067 w 752994"/>
                <a:gd name="connsiteY51" fmla="*/ 241285 h 1333436"/>
                <a:gd name="connsiteX52" fmla="*/ 350789 w 752994"/>
                <a:gd name="connsiteY52" fmla="*/ 244352 h 1333436"/>
                <a:gd name="connsiteX53" fmla="*/ 347920 w 752994"/>
                <a:gd name="connsiteY53" fmla="*/ 246998 h 1333436"/>
                <a:gd name="connsiteX54" fmla="*/ 340789 w 752994"/>
                <a:gd name="connsiteY54" fmla="*/ 243536 h 1333436"/>
                <a:gd name="connsiteX55" fmla="*/ 333034 w 752994"/>
                <a:gd name="connsiteY55" fmla="*/ 240271 h 1333436"/>
                <a:gd name="connsiteX56" fmla="*/ 323868 w 752994"/>
                <a:gd name="connsiteY56" fmla="*/ 241495 h 1333436"/>
                <a:gd name="connsiteX57" fmla="*/ 309783 w 752994"/>
                <a:gd name="connsiteY57" fmla="*/ 243536 h 1333436"/>
                <a:gd name="connsiteX58" fmla="*/ 297140 w 752994"/>
                <a:gd name="connsiteY58" fmla="*/ 245576 h 1333436"/>
                <a:gd name="connsiteX59" fmla="*/ 288775 w 752994"/>
                <a:gd name="connsiteY59" fmla="*/ 247406 h 1333436"/>
                <a:gd name="connsiteX60" fmla="*/ 280827 w 752994"/>
                <a:gd name="connsiteY60" fmla="*/ 242720 h 1333436"/>
                <a:gd name="connsiteX61" fmla="*/ 274497 w 752994"/>
                <a:gd name="connsiteY61" fmla="*/ 238441 h 1333436"/>
                <a:gd name="connsiteX62" fmla="*/ 269001 w 752994"/>
                <a:gd name="connsiteY62" fmla="*/ 240679 h 1333436"/>
                <a:gd name="connsiteX63" fmla="*/ 262880 w 752994"/>
                <a:gd name="connsiteY63" fmla="*/ 243128 h 1333436"/>
                <a:gd name="connsiteX64" fmla="*/ 260028 w 752994"/>
                <a:gd name="connsiteY64" fmla="*/ 242720 h 1333436"/>
                <a:gd name="connsiteX65" fmla="*/ 247994 w 752994"/>
                <a:gd name="connsiteY65" fmla="*/ 241693 h 1333436"/>
                <a:gd name="connsiteX66" fmla="*/ 242081 w 752994"/>
                <a:gd name="connsiteY66" fmla="*/ 234162 h 1333436"/>
                <a:gd name="connsiteX67" fmla="*/ 235142 w 752994"/>
                <a:gd name="connsiteY67" fmla="*/ 229476 h 1333436"/>
                <a:gd name="connsiteX68" fmla="*/ 224742 w 752994"/>
                <a:gd name="connsiteY68" fmla="*/ 226817 h 1333436"/>
                <a:gd name="connsiteX69" fmla="*/ 216778 w 752994"/>
                <a:gd name="connsiteY69" fmla="*/ 229068 h 1333436"/>
                <a:gd name="connsiteX70" fmla="*/ 202709 w 752994"/>
                <a:gd name="connsiteY70" fmla="*/ 230898 h 1333436"/>
                <a:gd name="connsiteX71" fmla="*/ 195162 w 752994"/>
                <a:gd name="connsiteY71" fmla="*/ 228857 h 1333436"/>
                <a:gd name="connsiteX72" fmla="*/ 188223 w 752994"/>
                <a:gd name="connsiteY72" fmla="*/ 223973 h 1333436"/>
                <a:gd name="connsiteX73" fmla="*/ 185163 w 752994"/>
                <a:gd name="connsiteY73" fmla="*/ 219484 h 1333436"/>
                <a:gd name="connsiteX74" fmla="*/ 184180 w 752994"/>
                <a:gd name="connsiteY74" fmla="*/ 213866 h 1333436"/>
                <a:gd name="connsiteX75" fmla="*/ 257159 w 752994"/>
                <a:gd name="connsiteY75" fmla="*/ 0 h 1333436"/>
                <a:gd name="connsiteX76" fmla="*/ 493147 w 752994"/>
                <a:gd name="connsiteY76" fmla="*/ 73157 h 1333436"/>
                <a:gd name="connsiteX77" fmla="*/ 492970 w 752994"/>
                <a:gd name="connsiteY77" fmla="*/ 73792 h 1333436"/>
                <a:gd name="connsiteX78" fmla="*/ 525816 w 752994"/>
                <a:gd name="connsiteY78" fmla="*/ 82491 h 1333436"/>
                <a:gd name="connsiteX79" fmla="*/ 520098 w 752994"/>
                <a:gd name="connsiteY79" fmla="*/ 111245 h 1333436"/>
                <a:gd name="connsiteX80" fmla="*/ 512552 w 752994"/>
                <a:gd name="connsiteY80" fmla="*/ 143854 h 1333436"/>
                <a:gd name="connsiteX81" fmla="*/ 517849 w 752994"/>
                <a:gd name="connsiteY81" fmla="*/ 157740 h 1333436"/>
                <a:gd name="connsiteX82" fmla="*/ 523160 w 752994"/>
                <a:gd name="connsiteY82" fmla="*/ 172009 h 1333436"/>
                <a:gd name="connsiteX83" fmla="*/ 521535 w 752994"/>
                <a:gd name="connsiteY83" fmla="*/ 178928 h 1333436"/>
                <a:gd name="connsiteX84" fmla="*/ 520098 w 752994"/>
                <a:gd name="connsiteY84" fmla="*/ 186279 h 1333436"/>
                <a:gd name="connsiteX85" fmla="*/ 526019 w 752994"/>
                <a:gd name="connsiteY85" fmla="*/ 193629 h 1333436"/>
                <a:gd name="connsiteX86" fmla="*/ 537251 w 752994"/>
                <a:gd name="connsiteY86" fmla="*/ 206270 h 1333436"/>
                <a:gd name="connsiteX87" fmla="*/ 542765 w 752994"/>
                <a:gd name="connsiteY87" fmla="*/ 217475 h 1333436"/>
                <a:gd name="connsiteX88" fmla="*/ 546857 w 752994"/>
                <a:gd name="connsiteY88" fmla="*/ 230930 h 1333436"/>
                <a:gd name="connsiteX89" fmla="*/ 549499 w 752994"/>
                <a:gd name="connsiteY89" fmla="*/ 235622 h 1333436"/>
                <a:gd name="connsiteX90" fmla="*/ 553388 w 752994"/>
                <a:gd name="connsiteY90" fmla="*/ 240722 h 1333436"/>
                <a:gd name="connsiteX91" fmla="*/ 557465 w 752994"/>
                <a:gd name="connsiteY91" fmla="*/ 246037 h 1333436"/>
                <a:gd name="connsiteX92" fmla="*/ 561761 w 752994"/>
                <a:gd name="connsiteY92" fmla="*/ 248671 h 1333436"/>
                <a:gd name="connsiteX93" fmla="*/ 567478 w 752994"/>
                <a:gd name="connsiteY93" fmla="*/ 247665 h 1333436"/>
                <a:gd name="connsiteX94" fmla="*/ 569931 w 752994"/>
                <a:gd name="connsiteY94" fmla="*/ 249293 h 1333436"/>
                <a:gd name="connsiteX95" fmla="*/ 570540 w 752994"/>
                <a:gd name="connsiteY95" fmla="*/ 251951 h 1333436"/>
                <a:gd name="connsiteX96" fmla="*/ 561964 w 752994"/>
                <a:gd name="connsiteY96" fmla="*/ 267656 h 1333436"/>
                <a:gd name="connsiteX97" fmla="*/ 553591 w 752994"/>
                <a:gd name="connsiteY97" fmla="*/ 289659 h 1333436"/>
                <a:gd name="connsiteX98" fmla="*/ 554810 w 752994"/>
                <a:gd name="connsiteY98" fmla="*/ 292939 h 1333436"/>
                <a:gd name="connsiteX99" fmla="*/ 556246 w 752994"/>
                <a:gd name="connsiteY99" fmla="*/ 299260 h 1333436"/>
                <a:gd name="connsiteX100" fmla="*/ 552778 w 752994"/>
                <a:gd name="connsiteY100" fmla="*/ 301917 h 1333436"/>
                <a:gd name="connsiteX101" fmla="*/ 549295 w 752994"/>
                <a:gd name="connsiteY101" fmla="*/ 306993 h 1333436"/>
                <a:gd name="connsiteX102" fmla="*/ 547061 w 752994"/>
                <a:gd name="connsiteY102" fmla="*/ 313122 h 1333436"/>
                <a:gd name="connsiteX103" fmla="*/ 544811 w 752994"/>
                <a:gd name="connsiteY103" fmla="*/ 316593 h 1333436"/>
                <a:gd name="connsiteX104" fmla="*/ 549919 w 752994"/>
                <a:gd name="connsiteY104" fmla="*/ 322698 h 1333436"/>
                <a:gd name="connsiteX105" fmla="*/ 553184 w 752994"/>
                <a:gd name="connsiteY105" fmla="*/ 325955 h 1333436"/>
                <a:gd name="connsiteX106" fmla="*/ 555840 w 752994"/>
                <a:gd name="connsiteY106" fmla="*/ 328205 h 1333436"/>
                <a:gd name="connsiteX107" fmla="*/ 574212 w 752994"/>
                <a:gd name="connsiteY107" fmla="*/ 318820 h 1333436"/>
                <a:gd name="connsiteX108" fmla="*/ 579523 w 752994"/>
                <a:gd name="connsiteY108" fmla="*/ 326577 h 1333436"/>
                <a:gd name="connsiteX109" fmla="*/ 580539 w 752994"/>
                <a:gd name="connsiteY109" fmla="*/ 334933 h 1333436"/>
                <a:gd name="connsiteX110" fmla="*/ 579726 w 752994"/>
                <a:gd name="connsiteY110" fmla="*/ 343097 h 1333436"/>
                <a:gd name="connsiteX111" fmla="*/ 581366 w 752994"/>
                <a:gd name="connsiteY111" fmla="*/ 350231 h 1333436"/>
                <a:gd name="connsiteX112" fmla="*/ 586256 w 752994"/>
                <a:gd name="connsiteY112" fmla="*/ 355930 h 1333436"/>
                <a:gd name="connsiteX113" fmla="*/ 589536 w 752994"/>
                <a:gd name="connsiteY113" fmla="*/ 362059 h 1333436"/>
                <a:gd name="connsiteX114" fmla="*/ 588099 w 752994"/>
                <a:gd name="connsiteY114" fmla="*/ 369600 h 1333436"/>
                <a:gd name="connsiteX115" fmla="*/ 586459 w 752994"/>
                <a:gd name="connsiteY115" fmla="*/ 377357 h 1333436"/>
                <a:gd name="connsiteX116" fmla="*/ 588709 w 752994"/>
                <a:gd name="connsiteY116" fmla="*/ 381835 h 1333436"/>
                <a:gd name="connsiteX117" fmla="*/ 595036 w 752994"/>
                <a:gd name="connsiteY117" fmla="*/ 382457 h 1333436"/>
                <a:gd name="connsiteX118" fmla="*/ 599331 w 752994"/>
                <a:gd name="connsiteY118" fmla="*/ 385306 h 1333436"/>
                <a:gd name="connsiteX119" fmla="*/ 601987 w 752994"/>
                <a:gd name="connsiteY119" fmla="*/ 391004 h 1333436"/>
                <a:gd name="connsiteX120" fmla="*/ 602799 w 752994"/>
                <a:gd name="connsiteY120" fmla="*/ 404076 h 1333436"/>
                <a:gd name="connsiteX121" fmla="*/ 606892 w 752994"/>
                <a:gd name="connsiteY121" fmla="*/ 415688 h 1333436"/>
                <a:gd name="connsiteX122" fmla="*/ 610563 w 752994"/>
                <a:gd name="connsiteY122" fmla="*/ 412217 h 1333436"/>
                <a:gd name="connsiteX123" fmla="*/ 617920 w 752994"/>
                <a:gd name="connsiteY123" fmla="*/ 408769 h 1333436"/>
                <a:gd name="connsiteX124" fmla="*/ 624654 w 752994"/>
                <a:gd name="connsiteY124" fmla="*/ 411211 h 1333436"/>
                <a:gd name="connsiteX125" fmla="*/ 634652 w 752994"/>
                <a:gd name="connsiteY125" fmla="*/ 410182 h 1333436"/>
                <a:gd name="connsiteX126" fmla="*/ 640573 w 752994"/>
                <a:gd name="connsiteY126" fmla="*/ 407739 h 1333436"/>
                <a:gd name="connsiteX127" fmla="*/ 646711 w 752994"/>
                <a:gd name="connsiteY127" fmla="*/ 410589 h 1333436"/>
                <a:gd name="connsiteX128" fmla="*/ 650383 w 752994"/>
                <a:gd name="connsiteY128" fmla="*/ 410589 h 1333436"/>
                <a:gd name="connsiteX129" fmla="*/ 654257 w 752994"/>
                <a:gd name="connsiteY129" fmla="*/ 411618 h 1333436"/>
                <a:gd name="connsiteX130" fmla="*/ 656913 w 752994"/>
                <a:gd name="connsiteY130" fmla="*/ 413653 h 1333436"/>
                <a:gd name="connsiteX131" fmla="*/ 660802 w 752994"/>
                <a:gd name="connsiteY131" fmla="*/ 415090 h 1333436"/>
                <a:gd name="connsiteX132" fmla="*/ 669581 w 752994"/>
                <a:gd name="connsiteY132" fmla="*/ 415904 h 1333436"/>
                <a:gd name="connsiteX133" fmla="*/ 672237 w 752994"/>
                <a:gd name="connsiteY133" fmla="*/ 415688 h 1333436"/>
                <a:gd name="connsiteX134" fmla="*/ 675705 w 752994"/>
                <a:gd name="connsiteY134" fmla="*/ 409367 h 1333436"/>
                <a:gd name="connsiteX135" fmla="*/ 679986 w 752994"/>
                <a:gd name="connsiteY135" fmla="*/ 403238 h 1333436"/>
                <a:gd name="connsiteX136" fmla="*/ 693264 w 752994"/>
                <a:gd name="connsiteY136" fmla="*/ 419567 h 1333436"/>
                <a:gd name="connsiteX137" fmla="*/ 688563 w 752994"/>
                <a:gd name="connsiteY137" fmla="*/ 448321 h 1333436"/>
                <a:gd name="connsiteX138" fmla="*/ 663949 w 752994"/>
                <a:gd name="connsiteY138" fmla="*/ 590165 h 1333436"/>
                <a:gd name="connsiteX139" fmla="*/ 666304 w 752994"/>
                <a:gd name="connsiteY139" fmla="*/ 590504 h 1333436"/>
                <a:gd name="connsiteX140" fmla="*/ 655288 w 752994"/>
                <a:gd name="connsiteY140" fmla="*/ 656178 h 1333436"/>
                <a:gd name="connsiteX141" fmla="*/ 681808 w 752994"/>
                <a:gd name="connsiteY141" fmla="*/ 662301 h 1333436"/>
                <a:gd name="connsiteX142" fmla="*/ 752994 w 752994"/>
                <a:gd name="connsiteY142" fmla="*/ 675560 h 1333436"/>
                <a:gd name="connsiteX143" fmla="*/ 714651 w 752994"/>
                <a:gd name="connsiteY143" fmla="*/ 946985 h 1333436"/>
                <a:gd name="connsiteX144" fmla="*/ 654533 w 752994"/>
                <a:gd name="connsiteY144" fmla="*/ 1333436 h 1333436"/>
                <a:gd name="connsiteX145" fmla="*/ 546831 w 752994"/>
                <a:gd name="connsiteY145" fmla="*/ 1317126 h 1333436"/>
                <a:gd name="connsiteX146" fmla="*/ 351227 w 752994"/>
                <a:gd name="connsiteY146" fmla="*/ 1194172 h 1333436"/>
                <a:gd name="connsiteX147" fmla="*/ 361011 w 752994"/>
                <a:gd name="connsiteY147" fmla="*/ 1182755 h 1333436"/>
                <a:gd name="connsiteX148" fmla="*/ 368981 w 752994"/>
                <a:gd name="connsiteY148" fmla="*/ 1182130 h 1333436"/>
                <a:gd name="connsiteX149" fmla="*/ 369571 w 752994"/>
                <a:gd name="connsiteY149" fmla="*/ 1181558 h 1333436"/>
                <a:gd name="connsiteX150" fmla="*/ 362372 w 752994"/>
                <a:gd name="connsiteY150" fmla="*/ 1182120 h 1333436"/>
                <a:gd name="connsiteX151" fmla="*/ 229464 w 752994"/>
                <a:gd name="connsiteY151" fmla="*/ 1161721 h 1333436"/>
                <a:gd name="connsiteX152" fmla="*/ 227427 w 752994"/>
                <a:gd name="connsiteY152" fmla="*/ 1157269 h 1333436"/>
                <a:gd name="connsiteX153" fmla="*/ 224967 w 752994"/>
                <a:gd name="connsiteY153" fmla="*/ 1152575 h 1333436"/>
                <a:gd name="connsiteX154" fmla="*/ 225582 w 752994"/>
                <a:gd name="connsiteY154" fmla="*/ 1144808 h 1333436"/>
                <a:gd name="connsiteX155" fmla="*/ 227215 w 752994"/>
                <a:gd name="connsiteY155" fmla="*/ 1135834 h 1333436"/>
                <a:gd name="connsiteX156" fmla="*/ 227215 w 752994"/>
                <a:gd name="connsiteY156" fmla="*/ 1134212 h 1333436"/>
                <a:gd name="connsiteX157" fmla="*/ 225179 w 752994"/>
                <a:gd name="connsiteY157" fmla="*/ 1114020 h 1333436"/>
                <a:gd name="connsiteX158" fmla="*/ 217839 w 752994"/>
                <a:gd name="connsiteY158" fmla="*/ 1100352 h 1333436"/>
                <a:gd name="connsiteX159" fmla="*/ 199661 w 752994"/>
                <a:gd name="connsiteY159" fmla="*/ 1076502 h 1333436"/>
                <a:gd name="connsiteX160" fmla="*/ 196395 w 752994"/>
                <a:gd name="connsiteY160" fmla="*/ 1071807 h 1333436"/>
                <a:gd name="connsiteX161" fmla="*/ 190880 w 752994"/>
                <a:gd name="connsiteY161" fmla="*/ 1067527 h 1333436"/>
                <a:gd name="connsiteX162" fmla="*/ 187210 w 752994"/>
                <a:gd name="connsiteY162" fmla="*/ 1068735 h 1333436"/>
                <a:gd name="connsiteX163" fmla="*/ 180062 w 752994"/>
                <a:gd name="connsiteY163" fmla="*/ 1066699 h 1333436"/>
                <a:gd name="connsiteX164" fmla="*/ 180466 w 752994"/>
                <a:gd name="connsiteY164" fmla="*/ 1053031 h 1333436"/>
                <a:gd name="connsiteX165" fmla="*/ 180062 w 752994"/>
                <a:gd name="connsiteY165" fmla="*/ 1045299 h 1333436"/>
                <a:gd name="connsiteX166" fmla="*/ 174144 w 752994"/>
                <a:gd name="connsiteY166" fmla="*/ 1044057 h 1333436"/>
                <a:gd name="connsiteX167" fmla="*/ 158426 w 752994"/>
                <a:gd name="connsiteY167" fmla="*/ 1042641 h 1333436"/>
                <a:gd name="connsiteX168" fmla="*/ 149857 w 752994"/>
                <a:gd name="connsiteY168" fmla="*/ 1035497 h 1333436"/>
                <a:gd name="connsiteX169" fmla="*/ 142497 w 752994"/>
                <a:gd name="connsiteY169" fmla="*/ 1028766 h 1333436"/>
                <a:gd name="connsiteX170" fmla="*/ 140864 w 752994"/>
                <a:gd name="connsiteY170" fmla="*/ 1020620 h 1333436"/>
                <a:gd name="connsiteX171" fmla="*/ 138212 w 752994"/>
                <a:gd name="connsiteY171" fmla="*/ 1013061 h 1333436"/>
                <a:gd name="connsiteX172" fmla="*/ 131064 w 752994"/>
                <a:gd name="connsiteY172" fmla="*/ 1007159 h 1333436"/>
                <a:gd name="connsiteX173" fmla="*/ 121264 w 752994"/>
                <a:gd name="connsiteY173" fmla="*/ 1005330 h 1333436"/>
                <a:gd name="connsiteX174" fmla="*/ 112483 w 752994"/>
                <a:gd name="connsiteY174" fmla="*/ 1001671 h 1333436"/>
                <a:gd name="connsiteX175" fmla="*/ 105950 w 752994"/>
                <a:gd name="connsiteY175" fmla="*/ 995734 h 1333436"/>
                <a:gd name="connsiteX176" fmla="*/ 97380 w 752994"/>
                <a:gd name="connsiteY176" fmla="*/ 994526 h 1333436"/>
                <a:gd name="connsiteX177" fmla="*/ 87984 w 752994"/>
                <a:gd name="connsiteY177" fmla="*/ 991040 h 1333436"/>
                <a:gd name="connsiteX178" fmla="*/ 80029 w 752994"/>
                <a:gd name="connsiteY178" fmla="*/ 985138 h 1333436"/>
                <a:gd name="connsiteX179" fmla="*/ 77166 w 752994"/>
                <a:gd name="connsiteY179" fmla="*/ 976164 h 1333436"/>
                <a:gd name="connsiteX180" fmla="*/ 79203 w 752994"/>
                <a:gd name="connsiteY180" fmla="*/ 970676 h 1333436"/>
                <a:gd name="connsiteX181" fmla="*/ 82470 w 752994"/>
                <a:gd name="connsiteY181" fmla="*/ 963117 h 1333436"/>
                <a:gd name="connsiteX182" fmla="*/ 84314 w 752994"/>
                <a:gd name="connsiteY182" fmla="*/ 954557 h 1333436"/>
                <a:gd name="connsiteX183" fmla="*/ 86351 w 752994"/>
                <a:gd name="connsiteY183" fmla="*/ 948033 h 1333436"/>
                <a:gd name="connsiteX184" fmla="*/ 86159 w 752994"/>
                <a:gd name="connsiteY184" fmla="*/ 942925 h 1333436"/>
                <a:gd name="connsiteX185" fmla="*/ 83085 w 752994"/>
                <a:gd name="connsiteY185" fmla="*/ 939853 h 1333436"/>
                <a:gd name="connsiteX186" fmla="*/ 77570 w 752994"/>
                <a:gd name="connsiteY186" fmla="*/ 937437 h 1333436"/>
                <a:gd name="connsiteX187" fmla="*/ 76763 w 752994"/>
                <a:gd name="connsiteY187" fmla="*/ 931915 h 1333436"/>
                <a:gd name="connsiteX188" fmla="*/ 78800 w 752994"/>
                <a:gd name="connsiteY188" fmla="*/ 927013 h 1333436"/>
                <a:gd name="connsiteX189" fmla="*/ 79626 w 752994"/>
                <a:gd name="connsiteY189" fmla="*/ 922526 h 1333436"/>
                <a:gd name="connsiteX190" fmla="*/ 77781 w 752994"/>
                <a:gd name="connsiteY190" fmla="*/ 919903 h 1333436"/>
                <a:gd name="connsiteX191" fmla="*/ 74303 w 752994"/>
                <a:gd name="connsiteY191" fmla="*/ 917418 h 1333436"/>
                <a:gd name="connsiteX192" fmla="*/ 71863 w 752994"/>
                <a:gd name="connsiteY192" fmla="*/ 915174 h 1333436"/>
                <a:gd name="connsiteX193" fmla="*/ 71652 w 752994"/>
                <a:gd name="connsiteY193" fmla="*/ 910894 h 1333436"/>
                <a:gd name="connsiteX194" fmla="*/ 70633 w 752994"/>
                <a:gd name="connsiteY194" fmla="*/ 906614 h 1333436"/>
                <a:gd name="connsiteX195" fmla="*/ 68385 w 752994"/>
                <a:gd name="connsiteY195" fmla="*/ 902749 h 1333436"/>
                <a:gd name="connsiteX196" fmla="*/ 61045 w 752994"/>
                <a:gd name="connsiteY196" fmla="*/ 889494 h 1333436"/>
                <a:gd name="connsiteX197" fmla="*/ 57971 w 752994"/>
                <a:gd name="connsiteY197" fmla="*/ 875619 h 1333436"/>
                <a:gd name="connsiteX198" fmla="*/ 52264 w 752994"/>
                <a:gd name="connsiteY198" fmla="*/ 862572 h 1333436"/>
                <a:gd name="connsiteX199" fmla="*/ 44309 w 752994"/>
                <a:gd name="connsiteY199" fmla="*/ 850561 h 1333436"/>
                <a:gd name="connsiteX200" fmla="*/ 45520 w 752994"/>
                <a:gd name="connsiteY200" fmla="*/ 827090 h 1333436"/>
                <a:gd name="connsiteX201" fmla="*/ 53071 w 752994"/>
                <a:gd name="connsiteY201" fmla="*/ 822396 h 1333436"/>
                <a:gd name="connsiteX202" fmla="*/ 57375 w 752994"/>
                <a:gd name="connsiteY202" fmla="*/ 816493 h 1333436"/>
                <a:gd name="connsiteX203" fmla="*/ 55319 w 752994"/>
                <a:gd name="connsiteY203" fmla="*/ 801617 h 1333436"/>
                <a:gd name="connsiteX204" fmla="*/ 48383 w 752994"/>
                <a:gd name="connsiteY204" fmla="*/ 802204 h 1333436"/>
                <a:gd name="connsiteX205" fmla="*/ 40428 w 752994"/>
                <a:gd name="connsiteY205" fmla="*/ 797924 h 1333436"/>
                <a:gd name="connsiteX206" fmla="*/ 37565 w 752994"/>
                <a:gd name="connsiteY206" fmla="*/ 790606 h 1333436"/>
                <a:gd name="connsiteX207" fmla="*/ 37565 w 752994"/>
                <a:gd name="connsiteY207" fmla="*/ 790399 h 1333436"/>
                <a:gd name="connsiteX208" fmla="*/ 35931 w 752994"/>
                <a:gd name="connsiteY208" fmla="*/ 785912 h 1333436"/>
                <a:gd name="connsiteX209" fmla="*/ 34510 w 752994"/>
                <a:gd name="connsiteY209" fmla="*/ 780597 h 1333436"/>
                <a:gd name="connsiteX210" fmla="*/ 36335 w 752994"/>
                <a:gd name="connsiteY210" fmla="*/ 774280 h 1333436"/>
                <a:gd name="connsiteX211" fmla="*/ 38180 w 752994"/>
                <a:gd name="connsiteY211" fmla="*/ 766721 h 1333436"/>
                <a:gd name="connsiteX212" fmla="*/ 37161 w 752994"/>
                <a:gd name="connsiteY212" fmla="*/ 760405 h 1333436"/>
                <a:gd name="connsiteX213" fmla="*/ 35720 w 752994"/>
                <a:gd name="connsiteY213" fmla="*/ 754710 h 1333436"/>
                <a:gd name="connsiteX214" fmla="*/ 36546 w 752994"/>
                <a:gd name="connsiteY214" fmla="*/ 748773 h 1333436"/>
                <a:gd name="connsiteX215" fmla="*/ 38372 w 752994"/>
                <a:gd name="connsiteY215" fmla="*/ 744528 h 1333436"/>
                <a:gd name="connsiteX216" fmla="*/ 41638 w 752994"/>
                <a:gd name="connsiteY216" fmla="*/ 744321 h 1333436"/>
                <a:gd name="connsiteX217" fmla="*/ 44713 w 752994"/>
                <a:gd name="connsiteY217" fmla="*/ 746357 h 1333436"/>
                <a:gd name="connsiteX218" fmla="*/ 47364 w 752994"/>
                <a:gd name="connsiteY218" fmla="*/ 753260 h 1333436"/>
                <a:gd name="connsiteX219" fmla="*/ 55742 w 752994"/>
                <a:gd name="connsiteY219" fmla="*/ 764305 h 1333436"/>
                <a:gd name="connsiteX220" fmla="*/ 56338 w 752994"/>
                <a:gd name="connsiteY220" fmla="*/ 761233 h 1333436"/>
                <a:gd name="connsiteX221" fmla="*/ 56145 w 752994"/>
                <a:gd name="connsiteY221" fmla="*/ 757368 h 1333436"/>
                <a:gd name="connsiteX222" fmla="*/ 54916 w 752994"/>
                <a:gd name="connsiteY222" fmla="*/ 748601 h 1333436"/>
                <a:gd name="connsiteX223" fmla="*/ 52879 w 752994"/>
                <a:gd name="connsiteY223" fmla="*/ 747358 h 1333436"/>
                <a:gd name="connsiteX224" fmla="*/ 51649 w 752994"/>
                <a:gd name="connsiteY224" fmla="*/ 745322 h 1333436"/>
                <a:gd name="connsiteX225" fmla="*/ 51649 w 752994"/>
                <a:gd name="connsiteY225" fmla="*/ 739212 h 1333436"/>
                <a:gd name="connsiteX226" fmla="*/ 50227 w 752994"/>
                <a:gd name="connsiteY226" fmla="*/ 734725 h 1333436"/>
                <a:gd name="connsiteX227" fmla="*/ 48786 w 752994"/>
                <a:gd name="connsiteY227" fmla="*/ 731446 h 1333436"/>
                <a:gd name="connsiteX228" fmla="*/ 54512 w 752994"/>
                <a:gd name="connsiteY228" fmla="*/ 726372 h 1333436"/>
                <a:gd name="connsiteX229" fmla="*/ 59815 w 752994"/>
                <a:gd name="connsiteY229" fmla="*/ 725130 h 1333436"/>
                <a:gd name="connsiteX230" fmla="*/ 58182 w 752994"/>
                <a:gd name="connsiteY230" fmla="*/ 722886 h 1333436"/>
                <a:gd name="connsiteX231" fmla="*/ 51861 w 752994"/>
                <a:gd name="connsiteY231" fmla="*/ 717985 h 1333436"/>
                <a:gd name="connsiteX232" fmla="*/ 46749 w 752994"/>
                <a:gd name="connsiteY232" fmla="*/ 729617 h 1333436"/>
                <a:gd name="connsiteX233" fmla="*/ 40831 w 752994"/>
                <a:gd name="connsiteY233" fmla="*/ 739212 h 1333436"/>
                <a:gd name="connsiteX234" fmla="*/ 39601 w 752994"/>
                <a:gd name="connsiteY234" fmla="*/ 738798 h 1333436"/>
                <a:gd name="connsiteX235" fmla="*/ 39409 w 752994"/>
                <a:gd name="connsiteY235" fmla="*/ 738591 h 1333436"/>
                <a:gd name="connsiteX236" fmla="*/ 37161 w 752994"/>
                <a:gd name="connsiteY236" fmla="*/ 734725 h 1333436"/>
                <a:gd name="connsiteX237" fmla="*/ 32665 w 752994"/>
                <a:gd name="connsiteY237" fmla="*/ 727788 h 1333436"/>
                <a:gd name="connsiteX238" fmla="*/ 26747 w 752994"/>
                <a:gd name="connsiteY238" fmla="*/ 719435 h 1333436"/>
                <a:gd name="connsiteX239" fmla="*/ 23884 w 752994"/>
                <a:gd name="connsiteY239" fmla="*/ 717812 h 1333436"/>
                <a:gd name="connsiteX240" fmla="*/ 24710 w 752994"/>
                <a:gd name="connsiteY240" fmla="*/ 709632 h 1333436"/>
                <a:gd name="connsiteX241" fmla="*/ 27554 w 752994"/>
                <a:gd name="connsiteY241" fmla="*/ 701694 h 1333436"/>
                <a:gd name="connsiteX242" fmla="*/ 24902 w 752994"/>
                <a:gd name="connsiteY242" fmla="*/ 696171 h 1333436"/>
                <a:gd name="connsiteX243" fmla="*/ 24095 w 752994"/>
                <a:gd name="connsiteY243" fmla="*/ 687818 h 1333436"/>
                <a:gd name="connsiteX244" fmla="*/ 22462 w 752994"/>
                <a:gd name="connsiteY244" fmla="*/ 682330 h 1333436"/>
                <a:gd name="connsiteX245" fmla="*/ 17159 w 752994"/>
                <a:gd name="connsiteY245" fmla="*/ 677636 h 1333436"/>
                <a:gd name="connsiteX246" fmla="*/ 14296 w 752994"/>
                <a:gd name="connsiteY246" fmla="*/ 671492 h 1333436"/>
                <a:gd name="connsiteX247" fmla="*/ 12451 w 752994"/>
                <a:gd name="connsiteY247" fmla="*/ 665797 h 1333436"/>
                <a:gd name="connsiteX248" fmla="*/ 5111 w 752994"/>
                <a:gd name="connsiteY248" fmla="*/ 654994 h 1333436"/>
                <a:gd name="connsiteX249" fmla="*/ 2248 w 752994"/>
                <a:gd name="connsiteY249" fmla="*/ 645605 h 1333436"/>
                <a:gd name="connsiteX250" fmla="*/ 4496 w 752994"/>
                <a:gd name="connsiteY250" fmla="*/ 640497 h 1333436"/>
                <a:gd name="connsiteX251" fmla="*/ 6744 w 752994"/>
                <a:gd name="connsiteY251" fmla="*/ 632765 h 1333436"/>
                <a:gd name="connsiteX252" fmla="*/ 6744 w 752994"/>
                <a:gd name="connsiteY252" fmla="*/ 628485 h 1333436"/>
                <a:gd name="connsiteX253" fmla="*/ 6533 w 752994"/>
                <a:gd name="connsiteY253" fmla="*/ 620305 h 1333436"/>
                <a:gd name="connsiteX254" fmla="*/ 7359 w 752994"/>
                <a:gd name="connsiteY254" fmla="*/ 611745 h 1333436"/>
                <a:gd name="connsiteX255" fmla="*/ 11836 w 752994"/>
                <a:gd name="connsiteY255" fmla="*/ 602978 h 1333436"/>
                <a:gd name="connsiteX256" fmla="*/ 15103 w 752994"/>
                <a:gd name="connsiteY256" fmla="*/ 591760 h 1333436"/>
                <a:gd name="connsiteX257" fmla="*/ 14488 w 752994"/>
                <a:gd name="connsiteY257" fmla="*/ 584029 h 1333436"/>
                <a:gd name="connsiteX258" fmla="*/ 13873 w 752994"/>
                <a:gd name="connsiteY258" fmla="*/ 578299 h 1333436"/>
                <a:gd name="connsiteX259" fmla="*/ 10626 w 752994"/>
                <a:gd name="connsiteY259" fmla="*/ 568531 h 1333436"/>
                <a:gd name="connsiteX260" fmla="*/ 3670 w 752994"/>
                <a:gd name="connsiteY260" fmla="*/ 558107 h 1333436"/>
                <a:gd name="connsiteX261" fmla="*/ 0 w 752994"/>
                <a:gd name="connsiteY261" fmla="*/ 551377 h 1333436"/>
                <a:gd name="connsiteX262" fmla="*/ 0 w 752994"/>
                <a:gd name="connsiteY262" fmla="*/ 550997 h 1333436"/>
                <a:gd name="connsiteX263" fmla="*/ 4900 w 752994"/>
                <a:gd name="connsiteY263" fmla="*/ 531220 h 1333436"/>
                <a:gd name="connsiteX264" fmla="*/ 13873 w 752994"/>
                <a:gd name="connsiteY264" fmla="*/ 520589 h 1333436"/>
                <a:gd name="connsiteX265" fmla="*/ 18369 w 752994"/>
                <a:gd name="connsiteY265" fmla="*/ 516516 h 1333436"/>
                <a:gd name="connsiteX266" fmla="*/ 18773 w 752994"/>
                <a:gd name="connsiteY266" fmla="*/ 514272 h 1333436"/>
                <a:gd name="connsiteX267" fmla="*/ 23077 w 752994"/>
                <a:gd name="connsiteY267" fmla="*/ 506127 h 1333436"/>
                <a:gd name="connsiteX268" fmla="*/ 23884 w 752994"/>
                <a:gd name="connsiteY268" fmla="*/ 502261 h 1333436"/>
                <a:gd name="connsiteX269" fmla="*/ 23692 w 752994"/>
                <a:gd name="connsiteY269" fmla="*/ 496738 h 1333436"/>
                <a:gd name="connsiteX270" fmla="*/ 30013 w 752994"/>
                <a:gd name="connsiteY270" fmla="*/ 486556 h 1333436"/>
                <a:gd name="connsiteX271" fmla="*/ 36546 w 752994"/>
                <a:gd name="connsiteY271" fmla="*/ 470230 h 1333436"/>
                <a:gd name="connsiteX272" fmla="*/ 36546 w 752994"/>
                <a:gd name="connsiteY272" fmla="*/ 462671 h 1333436"/>
                <a:gd name="connsiteX273" fmla="*/ 36335 w 752994"/>
                <a:gd name="connsiteY273" fmla="*/ 461670 h 1333436"/>
                <a:gd name="connsiteX274" fmla="*/ 35931 w 752994"/>
                <a:gd name="connsiteY274" fmla="*/ 453110 h 1333436"/>
                <a:gd name="connsiteX275" fmla="*/ 38583 w 752994"/>
                <a:gd name="connsiteY275" fmla="*/ 442514 h 1333436"/>
                <a:gd name="connsiteX276" fmla="*/ 41043 w 752994"/>
                <a:gd name="connsiteY276" fmla="*/ 436991 h 1333436"/>
                <a:gd name="connsiteX277" fmla="*/ 41650 w 752994"/>
                <a:gd name="connsiteY277" fmla="*/ 437186 h 1333436"/>
                <a:gd name="connsiteX278" fmla="*/ 41239 w 752994"/>
                <a:gd name="connsiteY278" fmla="*/ 436549 h 1333436"/>
                <a:gd name="connsiteX279" fmla="*/ 37778 w 752994"/>
                <a:gd name="connsiteY279" fmla="*/ 433894 h 1333436"/>
                <a:gd name="connsiteX280" fmla="*/ 37169 w 752994"/>
                <a:gd name="connsiteY280" fmla="*/ 432261 h 1333436"/>
                <a:gd name="connsiteX281" fmla="*/ 37365 w 752994"/>
                <a:gd name="connsiteY281" fmla="*/ 429198 h 1333436"/>
                <a:gd name="connsiteX282" fmla="*/ 36756 w 752994"/>
                <a:gd name="connsiteY282" fmla="*/ 422272 h 1333436"/>
                <a:gd name="connsiteX283" fmla="*/ 36952 w 752994"/>
                <a:gd name="connsiteY283" fmla="*/ 418800 h 1333436"/>
                <a:gd name="connsiteX284" fmla="*/ 36756 w 752994"/>
                <a:gd name="connsiteY284" fmla="*/ 412487 h 1333436"/>
                <a:gd name="connsiteX285" fmla="*/ 40433 w 752994"/>
                <a:gd name="connsiteY285" fmla="*/ 406174 h 1333436"/>
                <a:gd name="connsiteX286" fmla="*/ 44720 w 752994"/>
                <a:gd name="connsiteY286" fmla="*/ 399435 h 1333436"/>
                <a:gd name="connsiteX287" fmla="*/ 44110 w 752994"/>
                <a:gd name="connsiteY287" fmla="*/ 389651 h 1333436"/>
                <a:gd name="connsiteX288" fmla="*/ 43894 w 752994"/>
                <a:gd name="connsiteY288" fmla="*/ 378437 h 1333436"/>
                <a:gd name="connsiteX289" fmla="*/ 47158 w 752994"/>
                <a:gd name="connsiteY289" fmla="*/ 371102 h 1333436"/>
                <a:gd name="connsiteX290" fmla="*/ 55731 w 752994"/>
                <a:gd name="connsiteY290" fmla="*/ 360909 h 1333436"/>
                <a:gd name="connsiteX291" fmla="*/ 57580 w 752994"/>
                <a:gd name="connsiteY291" fmla="*/ 355804 h 1333436"/>
                <a:gd name="connsiteX292" fmla="*/ 62673 w 752994"/>
                <a:gd name="connsiteY292" fmla="*/ 349695 h 1333436"/>
                <a:gd name="connsiteX293" fmla="*/ 65937 w 752994"/>
                <a:gd name="connsiteY293" fmla="*/ 348470 h 1333436"/>
                <a:gd name="connsiteX294" fmla="*/ 68395 w 752994"/>
                <a:gd name="connsiteY294" fmla="*/ 348674 h 1333436"/>
                <a:gd name="connsiteX295" fmla="*/ 70224 w 752994"/>
                <a:gd name="connsiteY295" fmla="*/ 347449 h 1333436"/>
                <a:gd name="connsiteX296" fmla="*/ 67785 w 752994"/>
                <a:gd name="connsiteY296" fmla="*/ 345203 h 1333436"/>
                <a:gd name="connsiteX297" fmla="*/ 65524 w 752994"/>
                <a:gd name="connsiteY297" fmla="*/ 343178 h 1333436"/>
                <a:gd name="connsiteX298" fmla="*/ 73095 w 752994"/>
                <a:gd name="connsiteY298" fmla="*/ 333376 h 1333436"/>
                <a:gd name="connsiteX299" fmla="*/ 73291 w 752994"/>
                <a:gd name="connsiteY299" fmla="*/ 333376 h 1333436"/>
                <a:gd name="connsiteX300" fmla="*/ 77991 w 752994"/>
                <a:gd name="connsiteY300" fmla="*/ 325838 h 1333436"/>
                <a:gd name="connsiteX301" fmla="*/ 82671 w 752994"/>
                <a:gd name="connsiteY301" fmla="*/ 313619 h 1333436"/>
                <a:gd name="connsiteX302" fmla="*/ 87980 w 752994"/>
                <a:gd name="connsiteY302" fmla="*/ 303018 h 1333436"/>
                <a:gd name="connsiteX303" fmla="*/ 92267 w 752994"/>
                <a:gd name="connsiteY303" fmla="*/ 291191 h 1333436"/>
                <a:gd name="connsiteX304" fmla="*/ 96553 w 752994"/>
                <a:gd name="connsiteY304" fmla="*/ 281202 h 1333436"/>
                <a:gd name="connsiteX305" fmla="*/ 99621 w 752994"/>
                <a:gd name="connsiteY305" fmla="*/ 274481 h 1333436"/>
                <a:gd name="connsiteX306" fmla="*/ 103082 w 752994"/>
                <a:gd name="connsiteY306" fmla="*/ 262450 h 1333436"/>
                <a:gd name="connsiteX307" fmla="*/ 107172 w 752994"/>
                <a:gd name="connsiteY307" fmla="*/ 254299 h 1333436"/>
                <a:gd name="connsiteX308" fmla="*/ 112481 w 752994"/>
                <a:gd name="connsiteY308" fmla="*/ 243697 h 1333436"/>
                <a:gd name="connsiteX309" fmla="*/ 117181 w 752994"/>
                <a:gd name="connsiteY309" fmla="*/ 232279 h 1333436"/>
                <a:gd name="connsiteX310" fmla="*/ 125951 w 752994"/>
                <a:gd name="connsiteY310" fmla="*/ 217389 h 1333436"/>
                <a:gd name="connsiteX311" fmla="*/ 136156 w 752994"/>
                <a:gd name="connsiteY311" fmla="*/ 202925 h 1333436"/>
                <a:gd name="connsiteX312" fmla="*/ 138811 w 752994"/>
                <a:gd name="connsiteY312" fmla="*/ 183339 h 1333436"/>
                <a:gd name="connsiteX313" fmla="*/ 148801 w 752994"/>
                <a:gd name="connsiteY313" fmla="*/ 167445 h 1333436"/>
                <a:gd name="connsiteX314" fmla="*/ 159616 w 752994"/>
                <a:gd name="connsiteY314" fmla="*/ 170712 h 1333436"/>
                <a:gd name="connsiteX315" fmla="*/ 173105 w 752994"/>
                <a:gd name="connsiteY315" fmla="*/ 175188 h 1333436"/>
                <a:gd name="connsiteX316" fmla="*/ 175347 w 752994"/>
                <a:gd name="connsiteY316" fmla="*/ 175188 h 1333436"/>
                <a:gd name="connsiteX317" fmla="*/ 175347 w 752994"/>
                <a:gd name="connsiteY317" fmla="*/ 173758 h 1333436"/>
                <a:gd name="connsiteX318" fmla="*/ 184975 w 752994"/>
                <a:gd name="connsiteY318" fmla="*/ 187393 h 1333436"/>
                <a:gd name="connsiteX319" fmla="*/ 184762 w 752994"/>
                <a:gd name="connsiteY319" fmla="*/ 184637 h 1333436"/>
                <a:gd name="connsiteX320" fmla="*/ 174971 w 752994"/>
                <a:gd name="connsiteY320" fmla="*/ 170774 h 1333436"/>
                <a:gd name="connsiteX321" fmla="*/ 174971 w 752994"/>
                <a:gd name="connsiteY321" fmla="*/ 169550 h 1333436"/>
                <a:gd name="connsiteX322" fmla="*/ 158851 w 752994"/>
                <a:gd name="connsiteY322" fmla="*/ 156924 h 1333436"/>
                <a:gd name="connsiteX323" fmla="*/ 147025 w 752994"/>
                <a:gd name="connsiteY323" fmla="*/ 145709 h 1333436"/>
                <a:gd name="connsiteX324" fmla="*/ 154364 w 752994"/>
                <a:gd name="connsiteY324" fmla="*/ 136335 h 1333436"/>
                <a:gd name="connsiteX325" fmla="*/ 161511 w 752994"/>
                <a:gd name="connsiteY325" fmla="*/ 131042 h 1333436"/>
                <a:gd name="connsiteX326" fmla="*/ 160902 w 752994"/>
                <a:gd name="connsiteY326" fmla="*/ 128384 h 1333436"/>
                <a:gd name="connsiteX327" fmla="*/ 160277 w 752994"/>
                <a:gd name="connsiteY327" fmla="*/ 127778 h 1333436"/>
                <a:gd name="connsiteX328" fmla="*/ 154973 w 752994"/>
                <a:gd name="connsiteY328" fmla="*/ 122077 h 1333436"/>
                <a:gd name="connsiteX329" fmla="*/ 160277 w 752994"/>
                <a:gd name="connsiteY329" fmla="*/ 115140 h 1333436"/>
                <a:gd name="connsiteX330" fmla="*/ 165181 w 752994"/>
                <a:gd name="connsiteY330" fmla="*/ 108215 h 1333436"/>
                <a:gd name="connsiteX331" fmla="*/ 161303 w 752994"/>
                <a:gd name="connsiteY331" fmla="*/ 104146 h 1333436"/>
                <a:gd name="connsiteX332" fmla="*/ 157842 w 752994"/>
                <a:gd name="connsiteY332" fmla="*/ 104542 h 1333436"/>
                <a:gd name="connsiteX333" fmla="*/ 157024 w 752994"/>
                <a:gd name="connsiteY333" fmla="*/ 102304 h 1333436"/>
                <a:gd name="connsiteX334" fmla="*/ 160694 w 752994"/>
                <a:gd name="connsiteY334" fmla="*/ 55437 h 1333436"/>
                <a:gd name="connsiteX335" fmla="*/ 160486 w 752994"/>
                <a:gd name="connsiteY335" fmla="*/ 31991 h 1333436"/>
                <a:gd name="connsiteX336" fmla="*/ 164972 w 752994"/>
                <a:gd name="connsiteY336" fmla="*/ 18141 h 1333436"/>
                <a:gd name="connsiteX337" fmla="*/ 171911 w 752994"/>
                <a:gd name="connsiteY337" fmla="*/ 11204 h 1333436"/>
                <a:gd name="connsiteX338" fmla="*/ 187406 w 752994"/>
                <a:gd name="connsiteY338" fmla="*/ 21801 h 1333436"/>
                <a:gd name="connsiteX339" fmla="*/ 210866 w 752994"/>
                <a:gd name="connsiteY339" fmla="*/ 37086 h 1333436"/>
                <a:gd name="connsiteX340" fmla="*/ 219230 w 752994"/>
                <a:gd name="connsiteY340" fmla="*/ 41166 h 1333436"/>
                <a:gd name="connsiteX341" fmla="*/ 226778 w 752994"/>
                <a:gd name="connsiteY341" fmla="*/ 47486 h 1333436"/>
                <a:gd name="connsiteX342" fmla="*/ 236152 w 752994"/>
                <a:gd name="connsiteY342" fmla="*/ 52370 h 1333436"/>
                <a:gd name="connsiteX343" fmla="*/ 239629 w 752994"/>
                <a:gd name="connsiteY343" fmla="*/ 58491 h 1333436"/>
                <a:gd name="connsiteX344" fmla="*/ 239629 w 752994"/>
                <a:gd name="connsiteY344" fmla="*/ 63376 h 1333436"/>
                <a:gd name="connsiteX345" fmla="*/ 236568 w 752994"/>
                <a:gd name="connsiteY345" fmla="*/ 67457 h 1333436"/>
                <a:gd name="connsiteX346" fmla="*/ 231264 w 752994"/>
                <a:gd name="connsiteY346" fmla="*/ 69905 h 1333436"/>
                <a:gd name="connsiteX347" fmla="*/ 216778 w 752994"/>
                <a:gd name="connsiteY347" fmla="*/ 82741 h 1333436"/>
                <a:gd name="connsiteX348" fmla="*/ 214134 w 752994"/>
                <a:gd name="connsiteY348" fmla="*/ 93536 h 1333436"/>
                <a:gd name="connsiteX349" fmla="*/ 214535 w 752994"/>
                <a:gd name="connsiteY349" fmla="*/ 96801 h 1333436"/>
                <a:gd name="connsiteX350" fmla="*/ 216378 w 752994"/>
                <a:gd name="connsiteY350" fmla="*/ 96801 h 1333436"/>
                <a:gd name="connsiteX351" fmla="*/ 230046 w 752994"/>
                <a:gd name="connsiteY351" fmla="*/ 85387 h 1333436"/>
                <a:gd name="connsiteX352" fmla="*/ 243298 w 752994"/>
                <a:gd name="connsiteY352" fmla="*/ 75198 h 1333436"/>
                <a:gd name="connsiteX353" fmla="*/ 246760 w 752994"/>
                <a:gd name="connsiteY353" fmla="*/ 77646 h 1333436"/>
                <a:gd name="connsiteX354" fmla="*/ 255541 w 752994"/>
                <a:gd name="connsiteY354" fmla="*/ 63376 h 1333436"/>
                <a:gd name="connsiteX355" fmla="*/ 259611 w 752994"/>
                <a:gd name="connsiteY355" fmla="*/ 43405 h 1333436"/>
                <a:gd name="connsiteX356" fmla="*/ 256967 w 752994"/>
                <a:gd name="connsiteY356" fmla="*/ 38520 h 1333436"/>
                <a:gd name="connsiteX357" fmla="*/ 253906 w 752994"/>
                <a:gd name="connsiteY357" fmla="*/ 34242 h 1333436"/>
                <a:gd name="connsiteX358" fmla="*/ 256967 w 752994"/>
                <a:gd name="connsiteY358" fmla="*/ 30161 h 1333436"/>
                <a:gd name="connsiteX359" fmla="*/ 262063 w 752994"/>
                <a:gd name="connsiteY359" fmla="*/ 27712 h 1333436"/>
                <a:gd name="connsiteX360" fmla="*/ 264915 w 752994"/>
                <a:gd name="connsiteY360" fmla="*/ 23026 h 1333436"/>
                <a:gd name="connsiteX361" fmla="*/ 267976 w 752994"/>
                <a:gd name="connsiteY361" fmla="*/ 22618 h 1333436"/>
                <a:gd name="connsiteX362" fmla="*/ 270427 w 752994"/>
                <a:gd name="connsiteY362" fmla="*/ 20787 h 1333436"/>
                <a:gd name="connsiteX363" fmla="*/ 263088 w 752994"/>
                <a:gd name="connsiteY363" fmla="*/ 13652 h 1333436"/>
                <a:gd name="connsiteX364" fmla="*/ 255541 w 752994"/>
                <a:gd name="connsiteY364" fmla="*/ 3055 h 1333436"/>
                <a:gd name="connsiteX365" fmla="*/ 256358 w 752994"/>
                <a:gd name="connsiteY365" fmla="*/ 1224 h 1333436"/>
                <a:gd name="connsiteX366" fmla="*/ 257159 w 752994"/>
                <a:gd name="connsiteY366" fmla="*/ 0 h 1333436"/>
                <a:gd name="connsiteX0" fmla="*/ 403832 w 752994"/>
                <a:gd name="connsiteY0" fmla="*/ 1008282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403832 w 752994"/>
                <a:gd name="connsiteY6" fmla="*/ 1008282 h 1333436"/>
                <a:gd name="connsiteX7" fmla="*/ 184180 w 752994"/>
                <a:gd name="connsiteY7" fmla="*/ 213866 h 1333436"/>
                <a:gd name="connsiteX8" fmla="*/ 184117 w 752994"/>
                <a:gd name="connsiteY8" fmla="*/ 214326 h 1333436"/>
                <a:gd name="connsiteX9" fmla="*/ 185553 w 752994"/>
                <a:gd name="connsiteY9" fmla="*/ 222494 h 1333436"/>
                <a:gd name="connsiteX10" fmla="*/ 188600 w 752994"/>
                <a:gd name="connsiteY10" fmla="*/ 226970 h 1333436"/>
                <a:gd name="connsiteX11" fmla="*/ 195542 w 752994"/>
                <a:gd name="connsiteY11" fmla="*/ 231871 h 1333436"/>
                <a:gd name="connsiteX12" fmla="*/ 203093 w 752994"/>
                <a:gd name="connsiteY12" fmla="*/ 233896 h 1333436"/>
                <a:gd name="connsiteX13" fmla="*/ 217192 w 752994"/>
                <a:gd name="connsiteY13" fmla="*/ 232075 h 1333436"/>
                <a:gd name="connsiteX14" fmla="*/ 225136 w 752994"/>
                <a:gd name="connsiteY14" fmla="*/ 229829 h 1333436"/>
                <a:gd name="connsiteX15" fmla="*/ 235558 w 752994"/>
                <a:gd name="connsiteY15" fmla="*/ 232483 h 1333436"/>
                <a:gd name="connsiteX16" fmla="*/ 242499 w 752994"/>
                <a:gd name="connsiteY16" fmla="*/ 237163 h 1333436"/>
                <a:gd name="connsiteX17" fmla="*/ 248418 w 752994"/>
                <a:gd name="connsiteY17" fmla="*/ 244701 h 1333436"/>
                <a:gd name="connsiteX18" fmla="*/ 255359 w 752994"/>
                <a:gd name="connsiteY18" fmla="*/ 244906 h 1333436"/>
                <a:gd name="connsiteX19" fmla="*/ 258210 w 752994"/>
                <a:gd name="connsiteY19" fmla="*/ 244906 h 1333436"/>
                <a:gd name="connsiteX20" fmla="*/ 263303 w 752994"/>
                <a:gd name="connsiteY20" fmla="*/ 246131 h 1333436"/>
                <a:gd name="connsiteX21" fmla="*/ 269438 w 752994"/>
                <a:gd name="connsiteY21" fmla="*/ 243697 h 1333436"/>
                <a:gd name="connsiteX22" fmla="*/ 274944 w 752994"/>
                <a:gd name="connsiteY22" fmla="*/ 241451 h 1333436"/>
                <a:gd name="connsiteX23" fmla="*/ 281276 w 752994"/>
                <a:gd name="connsiteY23" fmla="*/ 245722 h 1333436"/>
                <a:gd name="connsiteX24" fmla="*/ 289240 w 752994"/>
                <a:gd name="connsiteY24" fmla="*/ 250419 h 1333436"/>
                <a:gd name="connsiteX25" fmla="*/ 297597 w 752994"/>
                <a:gd name="connsiteY25" fmla="*/ 248581 h 1333436"/>
                <a:gd name="connsiteX26" fmla="*/ 310261 w 752994"/>
                <a:gd name="connsiteY26" fmla="*/ 246539 h 1333436"/>
                <a:gd name="connsiteX27" fmla="*/ 324340 w 752994"/>
                <a:gd name="connsiteY27" fmla="*/ 244497 h 1333436"/>
                <a:gd name="connsiteX28" fmla="*/ 333523 w 752994"/>
                <a:gd name="connsiteY28" fmla="*/ 243289 h 1333436"/>
                <a:gd name="connsiteX29" fmla="*/ 341271 w 752994"/>
                <a:gd name="connsiteY29" fmla="*/ 246539 h 1333436"/>
                <a:gd name="connsiteX30" fmla="*/ 348428 w 752994"/>
                <a:gd name="connsiteY30" fmla="*/ 250011 h 1333436"/>
                <a:gd name="connsiteX31" fmla="*/ 351279 w 752994"/>
                <a:gd name="connsiteY31" fmla="*/ 247356 h 1333436"/>
                <a:gd name="connsiteX32" fmla="*/ 355566 w 752994"/>
                <a:gd name="connsiteY32" fmla="*/ 244293 h 1333436"/>
                <a:gd name="connsiteX33" fmla="*/ 365772 w 752994"/>
                <a:gd name="connsiteY33" fmla="*/ 248785 h 1333436"/>
                <a:gd name="connsiteX34" fmla="*/ 381483 w 752994"/>
                <a:gd name="connsiteY34" fmla="*/ 254912 h 1333436"/>
                <a:gd name="connsiteX35" fmla="*/ 381896 w 752994"/>
                <a:gd name="connsiteY35" fmla="*/ 255320 h 1333436"/>
                <a:gd name="connsiteX36" fmla="*/ 395366 w 752994"/>
                <a:gd name="connsiteY36" fmla="*/ 257753 h 1333436"/>
                <a:gd name="connsiteX37" fmla="*/ 414145 w 752994"/>
                <a:gd name="connsiteY37" fmla="*/ 262450 h 1333436"/>
                <a:gd name="connsiteX38" fmla="*/ 431292 w 752994"/>
                <a:gd name="connsiteY38" fmla="*/ 268151 h 1333436"/>
                <a:gd name="connsiteX39" fmla="*/ 445196 w 752994"/>
                <a:gd name="connsiteY39" fmla="*/ 269890 h 1333436"/>
                <a:gd name="connsiteX40" fmla="*/ 444145 w 752994"/>
                <a:gd name="connsiteY40" fmla="*/ 267441 h 1333436"/>
                <a:gd name="connsiteX41" fmla="*/ 444145 w 752994"/>
                <a:gd name="connsiteY41" fmla="*/ 267034 h 1333436"/>
                <a:gd name="connsiteX42" fmla="*/ 444155 w 752994"/>
                <a:gd name="connsiteY42" fmla="*/ 266811 h 1333436"/>
                <a:gd name="connsiteX43" fmla="*/ 430733 w 752994"/>
                <a:gd name="connsiteY43" fmla="*/ 265139 h 1333436"/>
                <a:gd name="connsiteX44" fmla="*/ 394839 w 752994"/>
                <a:gd name="connsiteY44" fmla="*/ 254739 h 1333436"/>
                <a:gd name="connsiteX45" fmla="*/ 381379 w 752994"/>
                <a:gd name="connsiteY45" fmla="*/ 252303 h 1333436"/>
                <a:gd name="connsiteX46" fmla="*/ 380962 w 752994"/>
                <a:gd name="connsiteY46" fmla="*/ 251895 h 1333436"/>
                <a:gd name="connsiteX47" fmla="*/ 365258 w 752994"/>
                <a:gd name="connsiteY47" fmla="*/ 245774 h 1333436"/>
                <a:gd name="connsiteX48" fmla="*/ 355067 w 752994"/>
                <a:gd name="connsiteY48" fmla="*/ 241285 h 1333436"/>
                <a:gd name="connsiteX49" fmla="*/ 350789 w 752994"/>
                <a:gd name="connsiteY49" fmla="*/ 244352 h 1333436"/>
                <a:gd name="connsiteX50" fmla="*/ 347920 w 752994"/>
                <a:gd name="connsiteY50" fmla="*/ 246998 h 1333436"/>
                <a:gd name="connsiteX51" fmla="*/ 340789 w 752994"/>
                <a:gd name="connsiteY51" fmla="*/ 243536 h 1333436"/>
                <a:gd name="connsiteX52" fmla="*/ 333034 w 752994"/>
                <a:gd name="connsiteY52" fmla="*/ 240271 h 1333436"/>
                <a:gd name="connsiteX53" fmla="*/ 323868 w 752994"/>
                <a:gd name="connsiteY53" fmla="*/ 241495 h 1333436"/>
                <a:gd name="connsiteX54" fmla="*/ 309783 w 752994"/>
                <a:gd name="connsiteY54" fmla="*/ 243536 h 1333436"/>
                <a:gd name="connsiteX55" fmla="*/ 297140 w 752994"/>
                <a:gd name="connsiteY55" fmla="*/ 245576 h 1333436"/>
                <a:gd name="connsiteX56" fmla="*/ 288775 w 752994"/>
                <a:gd name="connsiteY56" fmla="*/ 247406 h 1333436"/>
                <a:gd name="connsiteX57" fmla="*/ 280827 w 752994"/>
                <a:gd name="connsiteY57" fmla="*/ 242720 h 1333436"/>
                <a:gd name="connsiteX58" fmla="*/ 274497 w 752994"/>
                <a:gd name="connsiteY58" fmla="*/ 238441 h 1333436"/>
                <a:gd name="connsiteX59" fmla="*/ 269001 w 752994"/>
                <a:gd name="connsiteY59" fmla="*/ 240679 h 1333436"/>
                <a:gd name="connsiteX60" fmla="*/ 262880 w 752994"/>
                <a:gd name="connsiteY60" fmla="*/ 243128 h 1333436"/>
                <a:gd name="connsiteX61" fmla="*/ 260028 w 752994"/>
                <a:gd name="connsiteY61" fmla="*/ 242720 h 1333436"/>
                <a:gd name="connsiteX62" fmla="*/ 247994 w 752994"/>
                <a:gd name="connsiteY62" fmla="*/ 241693 h 1333436"/>
                <a:gd name="connsiteX63" fmla="*/ 242081 w 752994"/>
                <a:gd name="connsiteY63" fmla="*/ 234162 h 1333436"/>
                <a:gd name="connsiteX64" fmla="*/ 235142 w 752994"/>
                <a:gd name="connsiteY64" fmla="*/ 229476 h 1333436"/>
                <a:gd name="connsiteX65" fmla="*/ 224742 w 752994"/>
                <a:gd name="connsiteY65" fmla="*/ 226817 h 1333436"/>
                <a:gd name="connsiteX66" fmla="*/ 216778 w 752994"/>
                <a:gd name="connsiteY66" fmla="*/ 229068 h 1333436"/>
                <a:gd name="connsiteX67" fmla="*/ 202709 w 752994"/>
                <a:gd name="connsiteY67" fmla="*/ 230898 h 1333436"/>
                <a:gd name="connsiteX68" fmla="*/ 195162 w 752994"/>
                <a:gd name="connsiteY68" fmla="*/ 228857 h 1333436"/>
                <a:gd name="connsiteX69" fmla="*/ 188223 w 752994"/>
                <a:gd name="connsiteY69" fmla="*/ 223973 h 1333436"/>
                <a:gd name="connsiteX70" fmla="*/ 185163 w 752994"/>
                <a:gd name="connsiteY70" fmla="*/ 219484 h 1333436"/>
                <a:gd name="connsiteX71" fmla="*/ 184180 w 752994"/>
                <a:gd name="connsiteY71" fmla="*/ 213866 h 1333436"/>
                <a:gd name="connsiteX72" fmla="*/ 257159 w 752994"/>
                <a:gd name="connsiteY72" fmla="*/ 0 h 1333436"/>
                <a:gd name="connsiteX73" fmla="*/ 493147 w 752994"/>
                <a:gd name="connsiteY73" fmla="*/ 73157 h 1333436"/>
                <a:gd name="connsiteX74" fmla="*/ 492970 w 752994"/>
                <a:gd name="connsiteY74" fmla="*/ 73792 h 1333436"/>
                <a:gd name="connsiteX75" fmla="*/ 525816 w 752994"/>
                <a:gd name="connsiteY75" fmla="*/ 82491 h 1333436"/>
                <a:gd name="connsiteX76" fmla="*/ 520098 w 752994"/>
                <a:gd name="connsiteY76" fmla="*/ 111245 h 1333436"/>
                <a:gd name="connsiteX77" fmla="*/ 512552 w 752994"/>
                <a:gd name="connsiteY77" fmla="*/ 143854 h 1333436"/>
                <a:gd name="connsiteX78" fmla="*/ 517849 w 752994"/>
                <a:gd name="connsiteY78" fmla="*/ 157740 h 1333436"/>
                <a:gd name="connsiteX79" fmla="*/ 523160 w 752994"/>
                <a:gd name="connsiteY79" fmla="*/ 172009 h 1333436"/>
                <a:gd name="connsiteX80" fmla="*/ 521535 w 752994"/>
                <a:gd name="connsiteY80" fmla="*/ 178928 h 1333436"/>
                <a:gd name="connsiteX81" fmla="*/ 520098 w 752994"/>
                <a:gd name="connsiteY81" fmla="*/ 186279 h 1333436"/>
                <a:gd name="connsiteX82" fmla="*/ 526019 w 752994"/>
                <a:gd name="connsiteY82" fmla="*/ 193629 h 1333436"/>
                <a:gd name="connsiteX83" fmla="*/ 537251 w 752994"/>
                <a:gd name="connsiteY83" fmla="*/ 206270 h 1333436"/>
                <a:gd name="connsiteX84" fmla="*/ 542765 w 752994"/>
                <a:gd name="connsiteY84" fmla="*/ 217475 h 1333436"/>
                <a:gd name="connsiteX85" fmla="*/ 546857 w 752994"/>
                <a:gd name="connsiteY85" fmla="*/ 230930 h 1333436"/>
                <a:gd name="connsiteX86" fmla="*/ 549499 w 752994"/>
                <a:gd name="connsiteY86" fmla="*/ 235622 h 1333436"/>
                <a:gd name="connsiteX87" fmla="*/ 553388 w 752994"/>
                <a:gd name="connsiteY87" fmla="*/ 240722 h 1333436"/>
                <a:gd name="connsiteX88" fmla="*/ 557465 w 752994"/>
                <a:gd name="connsiteY88" fmla="*/ 246037 h 1333436"/>
                <a:gd name="connsiteX89" fmla="*/ 561761 w 752994"/>
                <a:gd name="connsiteY89" fmla="*/ 248671 h 1333436"/>
                <a:gd name="connsiteX90" fmla="*/ 567478 w 752994"/>
                <a:gd name="connsiteY90" fmla="*/ 247665 h 1333436"/>
                <a:gd name="connsiteX91" fmla="*/ 569931 w 752994"/>
                <a:gd name="connsiteY91" fmla="*/ 249293 h 1333436"/>
                <a:gd name="connsiteX92" fmla="*/ 570540 w 752994"/>
                <a:gd name="connsiteY92" fmla="*/ 251951 h 1333436"/>
                <a:gd name="connsiteX93" fmla="*/ 561964 w 752994"/>
                <a:gd name="connsiteY93" fmla="*/ 267656 h 1333436"/>
                <a:gd name="connsiteX94" fmla="*/ 553591 w 752994"/>
                <a:gd name="connsiteY94" fmla="*/ 289659 h 1333436"/>
                <a:gd name="connsiteX95" fmla="*/ 554810 w 752994"/>
                <a:gd name="connsiteY95" fmla="*/ 292939 h 1333436"/>
                <a:gd name="connsiteX96" fmla="*/ 556246 w 752994"/>
                <a:gd name="connsiteY96" fmla="*/ 299260 h 1333436"/>
                <a:gd name="connsiteX97" fmla="*/ 552778 w 752994"/>
                <a:gd name="connsiteY97" fmla="*/ 301917 h 1333436"/>
                <a:gd name="connsiteX98" fmla="*/ 549295 w 752994"/>
                <a:gd name="connsiteY98" fmla="*/ 306993 h 1333436"/>
                <a:gd name="connsiteX99" fmla="*/ 547061 w 752994"/>
                <a:gd name="connsiteY99" fmla="*/ 313122 h 1333436"/>
                <a:gd name="connsiteX100" fmla="*/ 544811 w 752994"/>
                <a:gd name="connsiteY100" fmla="*/ 316593 h 1333436"/>
                <a:gd name="connsiteX101" fmla="*/ 549919 w 752994"/>
                <a:gd name="connsiteY101" fmla="*/ 322698 h 1333436"/>
                <a:gd name="connsiteX102" fmla="*/ 553184 w 752994"/>
                <a:gd name="connsiteY102" fmla="*/ 325955 h 1333436"/>
                <a:gd name="connsiteX103" fmla="*/ 555840 w 752994"/>
                <a:gd name="connsiteY103" fmla="*/ 328205 h 1333436"/>
                <a:gd name="connsiteX104" fmla="*/ 574212 w 752994"/>
                <a:gd name="connsiteY104" fmla="*/ 318820 h 1333436"/>
                <a:gd name="connsiteX105" fmla="*/ 579523 w 752994"/>
                <a:gd name="connsiteY105" fmla="*/ 326577 h 1333436"/>
                <a:gd name="connsiteX106" fmla="*/ 580539 w 752994"/>
                <a:gd name="connsiteY106" fmla="*/ 334933 h 1333436"/>
                <a:gd name="connsiteX107" fmla="*/ 579726 w 752994"/>
                <a:gd name="connsiteY107" fmla="*/ 343097 h 1333436"/>
                <a:gd name="connsiteX108" fmla="*/ 581366 w 752994"/>
                <a:gd name="connsiteY108" fmla="*/ 350231 h 1333436"/>
                <a:gd name="connsiteX109" fmla="*/ 586256 w 752994"/>
                <a:gd name="connsiteY109" fmla="*/ 355930 h 1333436"/>
                <a:gd name="connsiteX110" fmla="*/ 589536 w 752994"/>
                <a:gd name="connsiteY110" fmla="*/ 362059 h 1333436"/>
                <a:gd name="connsiteX111" fmla="*/ 588099 w 752994"/>
                <a:gd name="connsiteY111" fmla="*/ 369600 h 1333436"/>
                <a:gd name="connsiteX112" fmla="*/ 586459 w 752994"/>
                <a:gd name="connsiteY112" fmla="*/ 377357 h 1333436"/>
                <a:gd name="connsiteX113" fmla="*/ 588709 w 752994"/>
                <a:gd name="connsiteY113" fmla="*/ 381835 h 1333436"/>
                <a:gd name="connsiteX114" fmla="*/ 595036 w 752994"/>
                <a:gd name="connsiteY114" fmla="*/ 382457 h 1333436"/>
                <a:gd name="connsiteX115" fmla="*/ 599331 w 752994"/>
                <a:gd name="connsiteY115" fmla="*/ 385306 h 1333436"/>
                <a:gd name="connsiteX116" fmla="*/ 601987 w 752994"/>
                <a:gd name="connsiteY116" fmla="*/ 391004 h 1333436"/>
                <a:gd name="connsiteX117" fmla="*/ 602799 w 752994"/>
                <a:gd name="connsiteY117" fmla="*/ 404076 h 1333436"/>
                <a:gd name="connsiteX118" fmla="*/ 606892 w 752994"/>
                <a:gd name="connsiteY118" fmla="*/ 415688 h 1333436"/>
                <a:gd name="connsiteX119" fmla="*/ 610563 w 752994"/>
                <a:gd name="connsiteY119" fmla="*/ 412217 h 1333436"/>
                <a:gd name="connsiteX120" fmla="*/ 617920 w 752994"/>
                <a:gd name="connsiteY120" fmla="*/ 408769 h 1333436"/>
                <a:gd name="connsiteX121" fmla="*/ 624654 w 752994"/>
                <a:gd name="connsiteY121" fmla="*/ 411211 h 1333436"/>
                <a:gd name="connsiteX122" fmla="*/ 634652 w 752994"/>
                <a:gd name="connsiteY122" fmla="*/ 410182 h 1333436"/>
                <a:gd name="connsiteX123" fmla="*/ 640573 w 752994"/>
                <a:gd name="connsiteY123" fmla="*/ 407739 h 1333436"/>
                <a:gd name="connsiteX124" fmla="*/ 646711 w 752994"/>
                <a:gd name="connsiteY124" fmla="*/ 410589 h 1333436"/>
                <a:gd name="connsiteX125" fmla="*/ 650383 w 752994"/>
                <a:gd name="connsiteY125" fmla="*/ 410589 h 1333436"/>
                <a:gd name="connsiteX126" fmla="*/ 654257 w 752994"/>
                <a:gd name="connsiteY126" fmla="*/ 411618 h 1333436"/>
                <a:gd name="connsiteX127" fmla="*/ 656913 w 752994"/>
                <a:gd name="connsiteY127" fmla="*/ 413653 h 1333436"/>
                <a:gd name="connsiteX128" fmla="*/ 660802 w 752994"/>
                <a:gd name="connsiteY128" fmla="*/ 415090 h 1333436"/>
                <a:gd name="connsiteX129" fmla="*/ 669581 w 752994"/>
                <a:gd name="connsiteY129" fmla="*/ 415904 h 1333436"/>
                <a:gd name="connsiteX130" fmla="*/ 672237 w 752994"/>
                <a:gd name="connsiteY130" fmla="*/ 415688 h 1333436"/>
                <a:gd name="connsiteX131" fmla="*/ 675705 w 752994"/>
                <a:gd name="connsiteY131" fmla="*/ 409367 h 1333436"/>
                <a:gd name="connsiteX132" fmla="*/ 679986 w 752994"/>
                <a:gd name="connsiteY132" fmla="*/ 403238 h 1333436"/>
                <a:gd name="connsiteX133" fmla="*/ 693264 w 752994"/>
                <a:gd name="connsiteY133" fmla="*/ 419567 h 1333436"/>
                <a:gd name="connsiteX134" fmla="*/ 688563 w 752994"/>
                <a:gd name="connsiteY134" fmla="*/ 448321 h 1333436"/>
                <a:gd name="connsiteX135" fmla="*/ 663949 w 752994"/>
                <a:gd name="connsiteY135" fmla="*/ 590165 h 1333436"/>
                <a:gd name="connsiteX136" fmla="*/ 666304 w 752994"/>
                <a:gd name="connsiteY136" fmla="*/ 590504 h 1333436"/>
                <a:gd name="connsiteX137" fmla="*/ 655288 w 752994"/>
                <a:gd name="connsiteY137" fmla="*/ 656178 h 1333436"/>
                <a:gd name="connsiteX138" fmla="*/ 681808 w 752994"/>
                <a:gd name="connsiteY138" fmla="*/ 662301 h 1333436"/>
                <a:gd name="connsiteX139" fmla="*/ 752994 w 752994"/>
                <a:gd name="connsiteY139" fmla="*/ 675560 h 1333436"/>
                <a:gd name="connsiteX140" fmla="*/ 714651 w 752994"/>
                <a:gd name="connsiteY140" fmla="*/ 946985 h 1333436"/>
                <a:gd name="connsiteX141" fmla="*/ 654533 w 752994"/>
                <a:gd name="connsiteY141" fmla="*/ 1333436 h 1333436"/>
                <a:gd name="connsiteX142" fmla="*/ 546831 w 752994"/>
                <a:gd name="connsiteY142" fmla="*/ 1317126 h 1333436"/>
                <a:gd name="connsiteX143" fmla="*/ 351227 w 752994"/>
                <a:gd name="connsiteY143" fmla="*/ 1194172 h 1333436"/>
                <a:gd name="connsiteX144" fmla="*/ 361011 w 752994"/>
                <a:gd name="connsiteY144" fmla="*/ 1182755 h 1333436"/>
                <a:gd name="connsiteX145" fmla="*/ 368981 w 752994"/>
                <a:gd name="connsiteY145" fmla="*/ 1182130 h 1333436"/>
                <a:gd name="connsiteX146" fmla="*/ 369571 w 752994"/>
                <a:gd name="connsiteY146" fmla="*/ 1181558 h 1333436"/>
                <a:gd name="connsiteX147" fmla="*/ 362372 w 752994"/>
                <a:gd name="connsiteY147" fmla="*/ 1182120 h 1333436"/>
                <a:gd name="connsiteX148" fmla="*/ 229464 w 752994"/>
                <a:gd name="connsiteY148" fmla="*/ 1161721 h 1333436"/>
                <a:gd name="connsiteX149" fmla="*/ 227427 w 752994"/>
                <a:gd name="connsiteY149" fmla="*/ 1157269 h 1333436"/>
                <a:gd name="connsiteX150" fmla="*/ 224967 w 752994"/>
                <a:gd name="connsiteY150" fmla="*/ 1152575 h 1333436"/>
                <a:gd name="connsiteX151" fmla="*/ 225582 w 752994"/>
                <a:gd name="connsiteY151" fmla="*/ 1144808 h 1333436"/>
                <a:gd name="connsiteX152" fmla="*/ 227215 w 752994"/>
                <a:gd name="connsiteY152" fmla="*/ 1135834 h 1333436"/>
                <a:gd name="connsiteX153" fmla="*/ 227215 w 752994"/>
                <a:gd name="connsiteY153" fmla="*/ 1134212 h 1333436"/>
                <a:gd name="connsiteX154" fmla="*/ 225179 w 752994"/>
                <a:gd name="connsiteY154" fmla="*/ 1114020 h 1333436"/>
                <a:gd name="connsiteX155" fmla="*/ 217839 w 752994"/>
                <a:gd name="connsiteY155" fmla="*/ 1100352 h 1333436"/>
                <a:gd name="connsiteX156" fmla="*/ 199661 w 752994"/>
                <a:gd name="connsiteY156" fmla="*/ 1076502 h 1333436"/>
                <a:gd name="connsiteX157" fmla="*/ 196395 w 752994"/>
                <a:gd name="connsiteY157" fmla="*/ 1071807 h 1333436"/>
                <a:gd name="connsiteX158" fmla="*/ 190880 w 752994"/>
                <a:gd name="connsiteY158" fmla="*/ 1067527 h 1333436"/>
                <a:gd name="connsiteX159" fmla="*/ 187210 w 752994"/>
                <a:gd name="connsiteY159" fmla="*/ 1068735 h 1333436"/>
                <a:gd name="connsiteX160" fmla="*/ 180062 w 752994"/>
                <a:gd name="connsiteY160" fmla="*/ 1066699 h 1333436"/>
                <a:gd name="connsiteX161" fmla="*/ 180466 w 752994"/>
                <a:gd name="connsiteY161" fmla="*/ 1053031 h 1333436"/>
                <a:gd name="connsiteX162" fmla="*/ 180062 w 752994"/>
                <a:gd name="connsiteY162" fmla="*/ 1045299 h 1333436"/>
                <a:gd name="connsiteX163" fmla="*/ 174144 w 752994"/>
                <a:gd name="connsiteY163" fmla="*/ 1044057 h 1333436"/>
                <a:gd name="connsiteX164" fmla="*/ 158426 w 752994"/>
                <a:gd name="connsiteY164" fmla="*/ 1042641 h 1333436"/>
                <a:gd name="connsiteX165" fmla="*/ 149857 w 752994"/>
                <a:gd name="connsiteY165" fmla="*/ 1035497 h 1333436"/>
                <a:gd name="connsiteX166" fmla="*/ 142497 w 752994"/>
                <a:gd name="connsiteY166" fmla="*/ 1028766 h 1333436"/>
                <a:gd name="connsiteX167" fmla="*/ 140864 w 752994"/>
                <a:gd name="connsiteY167" fmla="*/ 1020620 h 1333436"/>
                <a:gd name="connsiteX168" fmla="*/ 138212 w 752994"/>
                <a:gd name="connsiteY168" fmla="*/ 1013061 h 1333436"/>
                <a:gd name="connsiteX169" fmla="*/ 131064 w 752994"/>
                <a:gd name="connsiteY169" fmla="*/ 1007159 h 1333436"/>
                <a:gd name="connsiteX170" fmla="*/ 121264 w 752994"/>
                <a:gd name="connsiteY170" fmla="*/ 1005330 h 1333436"/>
                <a:gd name="connsiteX171" fmla="*/ 112483 w 752994"/>
                <a:gd name="connsiteY171" fmla="*/ 1001671 h 1333436"/>
                <a:gd name="connsiteX172" fmla="*/ 105950 w 752994"/>
                <a:gd name="connsiteY172" fmla="*/ 995734 h 1333436"/>
                <a:gd name="connsiteX173" fmla="*/ 97380 w 752994"/>
                <a:gd name="connsiteY173" fmla="*/ 994526 h 1333436"/>
                <a:gd name="connsiteX174" fmla="*/ 87984 w 752994"/>
                <a:gd name="connsiteY174" fmla="*/ 991040 h 1333436"/>
                <a:gd name="connsiteX175" fmla="*/ 80029 w 752994"/>
                <a:gd name="connsiteY175" fmla="*/ 985138 h 1333436"/>
                <a:gd name="connsiteX176" fmla="*/ 77166 w 752994"/>
                <a:gd name="connsiteY176" fmla="*/ 976164 h 1333436"/>
                <a:gd name="connsiteX177" fmla="*/ 79203 w 752994"/>
                <a:gd name="connsiteY177" fmla="*/ 970676 h 1333436"/>
                <a:gd name="connsiteX178" fmla="*/ 82470 w 752994"/>
                <a:gd name="connsiteY178" fmla="*/ 963117 h 1333436"/>
                <a:gd name="connsiteX179" fmla="*/ 84314 w 752994"/>
                <a:gd name="connsiteY179" fmla="*/ 954557 h 1333436"/>
                <a:gd name="connsiteX180" fmla="*/ 86351 w 752994"/>
                <a:gd name="connsiteY180" fmla="*/ 948033 h 1333436"/>
                <a:gd name="connsiteX181" fmla="*/ 86159 w 752994"/>
                <a:gd name="connsiteY181" fmla="*/ 942925 h 1333436"/>
                <a:gd name="connsiteX182" fmla="*/ 83085 w 752994"/>
                <a:gd name="connsiteY182" fmla="*/ 939853 h 1333436"/>
                <a:gd name="connsiteX183" fmla="*/ 77570 w 752994"/>
                <a:gd name="connsiteY183" fmla="*/ 937437 h 1333436"/>
                <a:gd name="connsiteX184" fmla="*/ 76763 w 752994"/>
                <a:gd name="connsiteY184" fmla="*/ 931915 h 1333436"/>
                <a:gd name="connsiteX185" fmla="*/ 78800 w 752994"/>
                <a:gd name="connsiteY185" fmla="*/ 927013 h 1333436"/>
                <a:gd name="connsiteX186" fmla="*/ 79626 w 752994"/>
                <a:gd name="connsiteY186" fmla="*/ 922526 h 1333436"/>
                <a:gd name="connsiteX187" fmla="*/ 77781 w 752994"/>
                <a:gd name="connsiteY187" fmla="*/ 919903 h 1333436"/>
                <a:gd name="connsiteX188" fmla="*/ 74303 w 752994"/>
                <a:gd name="connsiteY188" fmla="*/ 917418 h 1333436"/>
                <a:gd name="connsiteX189" fmla="*/ 71863 w 752994"/>
                <a:gd name="connsiteY189" fmla="*/ 915174 h 1333436"/>
                <a:gd name="connsiteX190" fmla="*/ 71652 w 752994"/>
                <a:gd name="connsiteY190" fmla="*/ 910894 h 1333436"/>
                <a:gd name="connsiteX191" fmla="*/ 70633 w 752994"/>
                <a:gd name="connsiteY191" fmla="*/ 906614 h 1333436"/>
                <a:gd name="connsiteX192" fmla="*/ 68385 w 752994"/>
                <a:gd name="connsiteY192" fmla="*/ 902749 h 1333436"/>
                <a:gd name="connsiteX193" fmla="*/ 61045 w 752994"/>
                <a:gd name="connsiteY193" fmla="*/ 889494 h 1333436"/>
                <a:gd name="connsiteX194" fmla="*/ 57971 w 752994"/>
                <a:gd name="connsiteY194" fmla="*/ 875619 h 1333436"/>
                <a:gd name="connsiteX195" fmla="*/ 52264 w 752994"/>
                <a:gd name="connsiteY195" fmla="*/ 862572 h 1333436"/>
                <a:gd name="connsiteX196" fmla="*/ 44309 w 752994"/>
                <a:gd name="connsiteY196" fmla="*/ 850561 h 1333436"/>
                <a:gd name="connsiteX197" fmla="*/ 45520 w 752994"/>
                <a:gd name="connsiteY197" fmla="*/ 827090 h 1333436"/>
                <a:gd name="connsiteX198" fmla="*/ 53071 w 752994"/>
                <a:gd name="connsiteY198" fmla="*/ 822396 h 1333436"/>
                <a:gd name="connsiteX199" fmla="*/ 57375 w 752994"/>
                <a:gd name="connsiteY199" fmla="*/ 816493 h 1333436"/>
                <a:gd name="connsiteX200" fmla="*/ 55319 w 752994"/>
                <a:gd name="connsiteY200" fmla="*/ 801617 h 1333436"/>
                <a:gd name="connsiteX201" fmla="*/ 48383 w 752994"/>
                <a:gd name="connsiteY201" fmla="*/ 802204 h 1333436"/>
                <a:gd name="connsiteX202" fmla="*/ 40428 w 752994"/>
                <a:gd name="connsiteY202" fmla="*/ 797924 h 1333436"/>
                <a:gd name="connsiteX203" fmla="*/ 37565 w 752994"/>
                <a:gd name="connsiteY203" fmla="*/ 790606 h 1333436"/>
                <a:gd name="connsiteX204" fmla="*/ 37565 w 752994"/>
                <a:gd name="connsiteY204" fmla="*/ 790399 h 1333436"/>
                <a:gd name="connsiteX205" fmla="*/ 35931 w 752994"/>
                <a:gd name="connsiteY205" fmla="*/ 785912 h 1333436"/>
                <a:gd name="connsiteX206" fmla="*/ 34510 w 752994"/>
                <a:gd name="connsiteY206" fmla="*/ 780597 h 1333436"/>
                <a:gd name="connsiteX207" fmla="*/ 36335 w 752994"/>
                <a:gd name="connsiteY207" fmla="*/ 774280 h 1333436"/>
                <a:gd name="connsiteX208" fmla="*/ 38180 w 752994"/>
                <a:gd name="connsiteY208" fmla="*/ 766721 h 1333436"/>
                <a:gd name="connsiteX209" fmla="*/ 37161 w 752994"/>
                <a:gd name="connsiteY209" fmla="*/ 760405 h 1333436"/>
                <a:gd name="connsiteX210" fmla="*/ 35720 w 752994"/>
                <a:gd name="connsiteY210" fmla="*/ 754710 h 1333436"/>
                <a:gd name="connsiteX211" fmla="*/ 36546 w 752994"/>
                <a:gd name="connsiteY211" fmla="*/ 748773 h 1333436"/>
                <a:gd name="connsiteX212" fmla="*/ 38372 w 752994"/>
                <a:gd name="connsiteY212" fmla="*/ 744528 h 1333436"/>
                <a:gd name="connsiteX213" fmla="*/ 41638 w 752994"/>
                <a:gd name="connsiteY213" fmla="*/ 744321 h 1333436"/>
                <a:gd name="connsiteX214" fmla="*/ 44713 w 752994"/>
                <a:gd name="connsiteY214" fmla="*/ 746357 h 1333436"/>
                <a:gd name="connsiteX215" fmla="*/ 47364 w 752994"/>
                <a:gd name="connsiteY215" fmla="*/ 753260 h 1333436"/>
                <a:gd name="connsiteX216" fmla="*/ 55742 w 752994"/>
                <a:gd name="connsiteY216" fmla="*/ 764305 h 1333436"/>
                <a:gd name="connsiteX217" fmla="*/ 56338 w 752994"/>
                <a:gd name="connsiteY217" fmla="*/ 761233 h 1333436"/>
                <a:gd name="connsiteX218" fmla="*/ 56145 w 752994"/>
                <a:gd name="connsiteY218" fmla="*/ 757368 h 1333436"/>
                <a:gd name="connsiteX219" fmla="*/ 54916 w 752994"/>
                <a:gd name="connsiteY219" fmla="*/ 748601 h 1333436"/>
                <a:gd name="connsiteX220" fmla="*/ 52879 w 752994"/>
                <a:gd name="connsiteY220" fmla="*/ 747358 h 1333436"/>
                <a:gd name="connsiteX221" fmla="*/ 51649 w 752994"/>
                <a:gd name="connsiteY221" fmla="*/ 745322 h 1333436"/>
                <a:gd name="connsiteX222" fmla="*/ 51649 w 752994"/>
                <a:gd name="connsiteY222" fmla="*/ 739212 h 1333436"/>
                <a:gd name="connsiteX223" fmla="*/ 50227 w 752994"/>
                <a:gd name="connsiteY223" fmla="*/ 734725 h 1333436"/>
                <a:gd name="connsiteX224" fmla="*/ 48786 w 752994"/>
                <a:gd name="connsiteY224" fmla="*/ 731446 h 1333436"/>
                <a:gd name="connsiteX225" fmla="*/ 54512 w 752994"/>
                <a:gd name="connsiteY225" fmla="*/ 726372 h 1333436"/>
                <a:gd name="connsiteX226" fmla="*/ 59815 w 752994"/>
                <a:gd name="connsiteY226" fmla="*/ 725130 h 1333436"/>
                <a:gd name="connsiteX227" fmla="*/ 58182 w 752994"/>
                <a:gd name="connsiteY227" fmla="*/ 722886 h 1333436"/>
                <a:gd name="connsiteX228" fmla="*/ 51861 w 752994"/>
                <a:gd name="connsiteY228" fmla="*/ 717985 h 1333436"/>
                <a:gd name="connsiteX229" fmla="*/ 46749 w 752994"/>
                <a:gd name="connsiteY229" fmla="*/ 729617 h 1333436"/>
                <a:gd name="connsiteX230" fmla="*/ 40831 w 752994"/>
                <a:gd name="connsiteY230" fmla="*/ 739212 h 1333436"/>
                <a:gd name="connsiteX231" fmla="*/ 39601 w 752994"/>
                <a:gd name="connsiteY231" fmla="*/ 738798 h 1333436"/>
                <a:gd name="connsiteX232" fmla="*/ 39409 w 752994"/>
                <a:gd name="connsiteY232" fmla="*/ 738591 h 1333436"/>
                <a:gd name="connsiteX233" fmla="*/ 37161 w 752994"/>
                <a:gd name="connsiteY233" fmla="*/ 734725 h 1333436"/>
                <a:gd name="connsiteX234" fmla="*/ 32665 w 752994"/>
                <a:gd name="connsiteY234" fmla="*/ 727788 h 1333436"/>
                <a:gd name="connsiteX235" fmla="*/ 26747 w 752994"/>
                <a:gd name="connsiteY235" fmla="*/ 719435 h 1333436"/>
                <a:gd name="connsiteX236" fmla="*/ 23884 w 752994"/>
                <a:gd name="connsiteY236" fmla="*/ 717812 h 1333436"/>
                <a:gd name="connsiteX237" fmla="*/ 24710 w 752994"/>
                <a:gd name="connsiteY237" fmla="*/ 709632 h 1333436"/>
                <a:gd name="connsiteX238" fmla="*/ 27554 w 752994"/>
                <a:gd name="connsiteY238" fmla="*/ 701694 h 1333436"/>
                <a:gd name="connsiteX239" fmla="*/ 24902 w 752994"/>
                <a:gd name="connsiteY239" fmla="*/ 696171 h 1333436"/>
                <a:gd name="connsiteX240" fmla="*/ 24095 w 752994"/>
                <a:gd name="connsiteY240" fmla="*/ 687818 h 1333436"/>
                <a:gd name="connsiteX241" fmla="*/ 22462 w 752994"/>
                <a:gd name="connsiteY241" fmla="*/ 682330 h 1333436"/>
                <a:gd name="connsiteX242" fmla="*/ 17159 w 752994"/>
                <a:gd name="connsiteY242" fmla="*/ 677636 h 1333436"/>
                <a:gd name="connsiteX243" fmla="*/ 14296 w 752994"/>
                <a:gd name="connsiteY243" fmla="*/ 671492 h 1333436"/>
                <a:gd name="connsiteX244" fmla="*/ 12451 w 752994"/>
                <a:gd name="connsiteY244" fmla="*/ 665797 h 1333436"/>
                <a:gd name="connsiteX245" fmla="*/ 5111 w 752994"/>
                <a:gd name="connsiteY245" fmla="*/ 654994 h 1333436"/>
                <a:gd name="connsiteX246" fmla="*/ 2248 w 752994"/>
                <a:gd name="connsiteY246" fmla="*/ 645605 h 1333436"/>
                <a:gd name="connsiteX247" fmla="*/ 4496 w 752994"/>
                <a:gd name="connsiteY247" fmla="*/ 640497 h 1333436"/>
                <a:gd name="connsiteX248" fmla="*/ 6744 w 752994"/>
                <a:gd name="connsiteY248" fmla="*/ 632765 h 1333436"/>
                <a:gd name="connsiteX249" fmla="*/ 6744 w 752994"/>
                <a:gd name="connsiteY249" fmla="*/ 628485 h 1333436"/>
                <a:gd name="connsiteX250" fmla="*/ 6533 w 752994"/>
                <a:gd name="connsiteY250" fmla="*/ 620305 h 1333436"/>
                <a:gd name="connsiteX251" fmla="*/ 7359 w 752994"/>
                <a:gd name="connsiteY251" fmla="*/ 611745 h 1333436"/>
                <a:gd name="connsiteX252" fmla="*/ 11836 w 752994"/>
                <a:gd name="connsiteY252" fmla="*/ 602978 h 1333436"/>
                <a:gd name="connsiteX253" fmla="*/ 15103 w 752994"/>
                <a:gd name="connsiteY253" fmla="*/ 591760 h 1333436"/>
                <a:gd name="connsiteX254" fmla="*/ 14488 w 752994"/>
                <a:gd name="connsiteY254" fmla="*/ 584029 h 1333436"/>
                <a:gd name="connsiteX255" fmla="*/ 13873 w 752994"/>
                <a:gd name="connsiteY255" fmla="*/ 578299 h 1333436"/>
                <a:gd name="connsiteX256" fmla="*/ 10626 w 752994"/>
                <a:gd name="connsiteY256" fmla="*/ 568531 h 1333436"/>
                <a:gd name="connsiteX257" fmla="*/ 3670 w 752994"/>
                <a:gd name="connsiteY257" fmla="*/ 558107 h 1333436"/>
                <a:gd name="connsiteX258" fmla="*/ 0 w 752994"/>
                <a:gd name="connsiteY258" fmla="*/ 551377 h 1333436"/>
                <a:gd name="connsiteX259" fmla="*/ 0 w 752994"/>
                <a:gd name="connsiteY259" fmla="*/ 550997 h 1333436"/>
                <a:gd name="connsiteX260" fmla="*/ 4900 w 752994"/>
                <a:gd name="connsiteY260" fmla="*/ 531220 h 1333436"/>
                <a:gd name="connsiteX261" fmla="*/ 13873 w 752994"/>
                <a:gd name="connsiteY261" fmla="*/ 520589 h 1333436"/>
                <a:gd name="connsiteX262" fmla="*/ 18369 w 752994"/>
                <a:gd name="connsiteY262" fmla="*/ 516516 h 1333436"/>
                <a:gd name="connsiteX263" fmla="*/ 18773 w 752994"/>
                <a:gd name="connsiteY263" fmla="*/ 514272 h 1333436"/>
                <a:gd name="connsiteX264" fmla="*/ 23077 w 752994"/>
                <a:gd name="connsiteY264" fmla="*/ 506127 h 1333436"/>
                <a:gd name="connsiteX265" fmla="*/ 23884 w 752994"/>
                <a:gd name="connsiteY265" fmla="*/ 502261 h 1333436"/>
                <a:gd name="connsiteX266" fmla="*/ 23692 w 752994"/>
                <a:gd name="connsiteY266" fmla="*/ 496738 h 1333436"/>
                <a:gd name="connsiteX267" fmla="*/ 30013 w 752994"/>
                <a:gd name="connsiteY267" fmla="*/ 486556 h 1333436"/>
                <a:gd name="connsiteX268" fmla="*/ 36546 w 752994"/>
                <a:gd name="connsiteY268" fmla="*/ 470230 h 1333436"/>
                <a:gd name="connsiteX269" fmla="*/ 36546 w 752994"/>
                <a:gd name="connsiteY269" fmla="*/ 462671 h 1333436"/>
                <a:gd name="connsiteX270" fmla="*/ 36335 w 752994"/>
                <a:gd name="connsiteY270" fmla="*/ 461670 h 1333436"/>
                <a:gd name="connsiteX271" fmla="*/ 35931 w 752994"/>
                <a:gd name="connsiteY271" fmla="*/ 453110 h 1333436"/>
                <a:gd name="connsiteX272" fmla="*/ 38583 w 752994"/>
                <a:gd name="connsiteY272" fmla="*/ 442514 h 1333436"/>
                <a:gd name="connsiteX273" fmla="*/ 41043 w 752994"/>
                <a:gd name="connsiteY273" fmla="*/ 436991 h 1333436"/>
                <a:gd name="connsiteX274" fmla="*/ 41650 w 752994"/>
                <a:gd name="connsiteY274" fmla="*/ 437186 h 1333436"/>
                <a:gd name="connsiteX275" fmla="*/ 41239 w 752994"/>
                <a:gd name="connsiteY275" fmla="*/ 436549 h 1333436"/>
                <a:gd name="connsiteX276" fmla="*/ 37778 w 752994"/>
                <a:gd name="connsiteY276" fmla="*/ 433894 h 1333436"/>
                <a:gd name="connsiteX277" fmla="*/ 37169 w 752994"/>
                <a:gd name="connsiteY277" fmla="*/ 432261 h 1333436"/>
                <a:gd name="connsiteX278" fmla="*/ 37365 w 752994"/>
                <a:gd name="connsiteY278" fmla="*/ 429198 h 1333436"/>
                <a:gd name="connsiteX279" fmla="*/ 36756 w 752994"/>
                <a:gd name="connsiteY279" fmla="*/ 422272 h 1333436"/>
                <a:gd name="connsiteX280" fmla="*/ 36952 w 752994"/>
                <a:gd name="connsiteY280" fmla="*/ 418800 h 1333436"/>
                <a:gd name="connsiteX281" fmla="*/ 36756 w 752994"/>
                <a:gd name="connsiteY281" fmla="*/ 412487 h 1333436"/>
                <a:gd name="connsiteX282" fmla="*/ 40433 w 752994"/>
                <a:gd name="connsiteY282" fmla="*/ 406174 h 1333436"/>
                <a:gd name="connsiteX283" fmla="*/ 44720 w 752994"/>
                <a:gd name="connsiteY283" fmla="*/ 399435 h 1333436"/>
                <a:gd name="connsiteX284" fmla="*/ 44110 w 752994"/>
                <a:gd name="connsiteY284" fmla="*/ 389651 h 1333436"/>
                <a:gd name="connsiteX285" fmla="*/ 43894 w 752994"/>
                <a:gd name="connsiteY285" fmla="*/ 378437 h 1333436"/>
                <a:gd name="connsiteX286" fmla="*/ 47158 w 752994"/>
                <a:gd name="connsiteY286" fmla="*/ 371102 h 1333436"/>
                <a:gd name="connsiteX287" fmla="*/ 55731 w 752994"/>
                <a:gd name="connsiteY287" fmla="*/ 360909 h 1333436"/>
                <a:gd name="connsiteX288" fmla="*/ 57580 w 752994"/>
                <a:gd name="connsiteY288" fmla="*/ 355804 h 1333436"/>
                <a:gd name="connsiteX289" fmla="*/ 62673 w 752994"/>
                <a:gd name="connsiteY289" fmla="*/ 349695 h 1333436"/>
                <a:gd name="connsiteX290" fmla="*/ 65937 w 752994"/>
                <a:gd name="connsiteY290" fmla="*/ 348470 h 1333436"/>
                <a:gd name="connsiteX291" fmla="*/ 68395 w 752994"/>
                <a:gd name="connsiteY291" fmla="*/ 348674 h 1333436"/>
                <a:gd name="connsiteX292" fmla="*/ 70224 w 752994"/>
                <a:gd name="connsiteY292" fmla="*/ 347449 h 1333436"/>
                <a:gd name="connsiteX293" fmla="*/ 67785 w 752994"/>
                <a:gd name="connsiteY293" fmla="*/ 345203 h 1333436"/>
                <a:gd name="connsiteX294" fmla="*/ 65524 w 752994"/>
                <a:gd name="connsiteY294" fmla="*/ 343178 h 1333436"/>
                <a:gd name="connsiteX295" fmla="*/ 73095 w 752994"/>
                <a:gd name="connsiteY295" fmla="*/ 333376 h 1333436"/>
                <a:gd name="connsiteX296" fmla="*/ 73291 w 752994"/>
                <a:gd name="connsiteY296" fmla="*/ 333376 h 1333436"/>
                <a:gd name="connsiteX297" fmla="*/ 77991 w 752994"/>
                <a:gd name="connsiteY297" fmla="*/ 325838 h 1333436"/>
                <a:gd name="connsiteX298" fmla="*/ 82671 w 752994"/>
                <a:gd name="connsiteY298" fmla="*/ 313619 h 1333436"/>
                <a:gd name="connsiteX299" fmla="*/ 87980 w 752994"/>
                <a:gd name="connsiteY299" fmla="*/ 303018 h 1333436"/>
                <a:gd name="connsiteX300" fmla="*/ 92267 w 752994"/>
                <a:gd name="connsiteY300" fmla="*/ 291191 h 1333436"/>
                <a:gd name="connsiteX301" fmla="*/ 96553 w 752994"/>
                <a:gd name="connsiteY301" fmla="*/ 281202 h 1333436"/>
                <a:gd name="connsiteX302" fmla="*/ 99621 w 752994"/>
                <a:gd name="connsiteY302" fmla="*/ 274481 h 1333436"/>
                <a:gd name="connsiteX303" fmla="*/ 103082 w 752994"/>
                <a:gd name="connsiteY303" fmla="*/ 262450 h 1333436"/>
                <a:gd name="connsiteX304" fmla="*/ 107172 w 752994"/>
                <a:gd name="connsiteY304" fmla="*/ 254299 h 1333436"/>
                <a:gd name="connsiteX305" fmla="*/ 112481 w 752994"/>
                <a:gd name="connsiteY305" fmla="*/ 243697 h 1333436"/>
                <a:gd name="connsiteX306" fmla="*/ 117181 w 752994"/>
                <a:gd name="connsiteY306" fmla="*/ 232279 h 1333436"/>
                <a:gd name="connsiteX307" fmla="*/ 125951 w 752994"/>
                <a:gd name="connsiteY307" fmla="*/ 217389 h 1333436"/>
                <a:gd name="connsiteX308" fmla="*/ 136156 w 752994"/>
                <a:gd name="connsiteY308" fmla="*/ 202925 h 1333436"/>
                <a:gd name="connsiteX309" fmla="*/ 138811 w 752994"/>
                <a:gd name="connsiteY309" fmla="*/ 183339 h 1333436"/>
                <a:gd name="connsiteX310" fmla="*/ 148801 w 752994"/>
                <a:gd name="connsiteY310" fmla="*/ 167445 h 1333436"/>
                <a:gd name="connsiteX311" fmla="*/ 159616 w 752994"/>
                <a:gd name="connsiteY311" fmla="*/ 170712 h 1333436"/>
                <a:gd name="connsiteX312" fmla="*/ 173105 w 752994"/>
                <a:gd name="connsiteY312" fmla="*/ 175188 h 1333436"/>
                <a:gd name="connsiteX313" fmla="*/ 175347 w 752994"/>
                <a:gd name="connsiteY313" fmla="*/ 175188 h 1333436"/>
                <a:gd name="connsiteX314" fmla="*/ 175347 w 752994"/>
                <a:gd name="connsiteY314" fmla="*/ 173758 h 1333436"/>
                <a:gd name="connsiteX315" fmla="*/ 184975 w 752994"/>
                <a:gd name="connsiteY315" fmla="*/ 187393 h 1333436"/>
                <a:gd name="connsiteX316" fmla="*/ 184762 w 752994"/>
                <a:gd name="connsiteY316" fmla="*/ 184637 h 1333436"/>
                <a:gd name="connsiteX317" fmla="*/ 174971 w 752994"/>
                <a:gd name="connsiteY317" fmla="*/ 170774 h 1333436"/>
                <a:gd name="connsiteX318" fmla="*/ 174971 w 752994"/>
                <a:gd name="connsiteY318" fmla="*/ 169550 h 1333436"/>
                <a:gd name="connsiteX319" fmla="*/ 158851 w 752994"/>
                <a:gd name="connsiteY319" fmla="*/ 156924 h 1333436"/>
                <a:gd name="connsiteX320" fmla="*/ 147025 w 752994"/>
                <a:gd name="connsiteY320" fmla="*/ 145709 h 1333436"/>
                <a:gd name="connsiteX321" fmla="*/ 154364 w 752994"/>
                <a:gd name="connsiteY321" fmla="*/ 136335 h 1333436"/>
                <a:gd name="connsiteX322" fmla="*/ 161511 w 752994"/>
                <a:gd name="connsiteY322" fmla="*/ 131042 h 1333436"/>
                <a:gd name="connsiteX323" fmla="*/ 160902 w 752994"/>
                <a:gd name="connsiteY323" fmla="*/ 128384 h 1333436"/>
                <a:gd name="connsiteX324" fmla="*/ 160277 w 752994"/>
                <a:gd name="connsiteY324" fmla="*/ 127778 h 1333436"/>
                <a:gd name="connsiteX325" fmla="*/ 154973 w 752994"/>
                <a:gd name="connsiteY325" fmla="*/ 122077 h 1333436"/>
                <a:gd name="connsiteX326" fmla="*/ 160277 w 752994"/>
                <a:gd name="connsiteY326" fmla="*/ 115140 h 1333436"/>
                <a:gd name="connsiteX327" fmla="*/ 165181 w 752994"/>
                <a:gd name="connsiteY327" fmla="*/ 108215 h 1333436"/>
                <a:gd name="connsiteX328" fmla="*/ 161303 w 752994"/>
                <a:gd name="connsiteY328" fmla="*/ 104146 h 1333436"/>
                <a:gd name="connsiteX329" fmla="*/ 157842 w 752994"/>
                <a:gd name="connsiteY329" fmla="*/ 104542 h 1333436"/>
                <a:gd name="connsiteX330" fmla="*/ 157024 w 752994"/>
                <a:gd name="connsiteY330" fmla="*/ 102304 h 1333436"/>
                <a:gd name="connsiteX331" fmla="*/ 160694 w 752994"/>
                <a:gd name="connsiteY331" fmla="*/ 55437 h 1333436"/>
                <a:gd name="connsiteX332" fmla="*/ 160486 w 752994"/>
                <a:gd name="connsiteY332" fmla="*/ 31991 h 1333436"/>
                <a:gd name="connsiteX333" fmla="*/ 164972 w 752994"/>
                <a:gd name="connsiteY333" fmla="*/ 18141 h 1333436"/>
                <a:gd name="connsiteX334" fmla="*/ 171911 w 752994"/>
                <a:gd name="connsiteY334" fmla="*/ 11204 h 1333436"/>
                <a:gd name="connsiteX335" fmla="*/ 187406 w 752994"/>
                <a:gd name="connsiteY335" fmla="*/ 21801 h 1333436"/>
                <a:gd name="connsiteX336" fmla="*/ 210866 w 752994"/>
                <a:gd name="connsiteY336" fmla="*/ 37086 h 1333436"/>
                <a:gd name="connsiteX337" fmla="*/ 219230 w 752994"/>
                <a:gd name="connsiteY337" fmla="*/ 41166 h 1333436"/>
                <a:gd name="connsiteX338" fmla="*/ 226778 w 752994"/>
                <a:gd name="connsiteY338" fmla="*/ 47486 h 1333436"/>
                <a:gd name="connsiteX339" fmla="*/ 236152 w 752994"/>
                <a:gd name="connsiteY339" fmla="*/ 52370 h 1333436"/>
                <a:gd name="connsiteX340" fmla="*/ 239629 w 752994"/>
                <a:gd name="connsiteY340" fmla="*/ 58491 h 1333436"/>
                <a:gd name="connsiteX341" fmla="*/ 239629 w 752994"/>
                <a:gd name="connsiteY341" fmla="*/ 63376 h 1333436"/>
                <a:gd name="connsiteX342" fmla="*/ 236568 w 752994"/>
                <a:gd name="connsiteY342" fmla="*/ 67457 h 1333436"/>
                <a:gd name="connsiteX343" fmla="*/ 231264 w 752994"/>
                <a:gd name="connsiteY343" fmla="*/ 69905 h 1333436"/>
                <a:gd name="connsiteX344" fmla="*/ 216778 w 752994"/>
                <a:gd name="connsiteY344" fmla="*/ 82741 h 1333436"/>
                <a:gd name="connsiteX345" fmla="*/ 214134 w 752994"/>
                <a:gd name="connsiteY345" fmla="*/ 93536 h 1333436"/>
                <a:gd name="connsiteX346" fmla="*/ 214535 w 752994"/>
                <a:gd name="connsiteY346" fmla="*/ 96801 h 1333436"/>
                <a:gd name="connsiteX347" fmla="*/ 216378 w 752994"/>
                <a:gd name="connsiteY347" fmla="*/ 96801 h 1333436"/>
                <a:gd name="connsiteX348" fmla="*/ 230046 w 752994"/>
                <a:gd name="connsiteY348" fmla="*/ 85387 h 1333436"/>
                <a:gd name="connsiteX349" fmla="*/ 243298 w 752994"/>
                <a:gd name="connsiteY349" fmla="*/ 75198 h 1333436"/>
                <a:gd name="connsiteX350" fmla="*/ 246760 w 752994"/>
                <a:gd name="connsiteY350" fmla="*/ 77646 h 1333436"/>
                <a:gd name="connsiteX351" fmla="*/ 255541 w 752994"/>
                <a:gd name="connsiteY351" fmla="*/ 63376 h 1333436"/>
                <a:gd name="connsiteX352" fmla="*/ 259611 w 752994"/>
                <a:gd name="connsiteY352" fmla="*/ 43405 h 1333436"/>
                <a:gd name="connsiteX353" fmla="*/ 256967 w 752994"/>
                <a:gd name="connsiteY353" fmla="*/ 38520 h 1333436"/>
                <a:gd name="connsiteX354" fmla="*/ 253906 w 752994"/>
                <a:gd name="connsiteY354" fmla="*/ 34242 h 1333436"/>
                <a:gd name="connsiteX355" fmla="*/ 256967 w 752994"/>
                <a:gd name="connsiteY355" fmla="*/ 30161 h 1333436"/>
                <a:gd name="connsiteX356" fmla="*/ 262063 w 752994"/>
                <a:gd name="connsiteY356" fmla="*/ 27712 h 1333436"/>
                <a:gd name="connsiteX357" fmla="*/ 264915 w 752994"/>
                <a:gd name="connsiteY357" fmla="*/ 23026 h 1333436"/>
                <a:gd name="connsiteX358" fmla="*/ 267976 w 752994"/>
                <a:gd name="connsiteY358" fmla="*/ 22618 h 1333436"/>
                <a:gd name="connsiteX359" fmla="*/ 270427 w 752994"/>
                <a:gd name="connsiteY359" fmla="*/ 20787 h 1333436"/>
                <a:gd name="connsiteX360" fmla="*/ 263088 w 752994"/>
                <a:gd name="connsiteY360" fmla="*/ 13652 h 1333436"/>
                <a:gd name="connsiteX361" fmla="*/ 255541 w 752994"/>
                <a:gd name="connsiteY361" fmla="*/ 3055 h 1333436"/>
                <a:gd name="connsiteX362" fmla="*/ 256358 w 752994"/>
                <a:gd name="connsiteY362" fmla="*/ 1224 h 1333436"/>
                <a:gd name="connsiteX363" fmla="*/ 257159 w 752994"/>
                <a:gd name="connsiteY363" fmla="*/ 0 h 1333436"/>
                <a:gd name="connsiteX0" fmla="*/ 404055 w 752994"/>
                <a:gd name="connsiteY0" fmla="*/ 1008594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404055 w 752994"/>
                <a:gd name="connsiteY5" fmla="*/ 1008594 h 1333436"/>
                <a:gd name="connsiteX6" fmla="*/ 184180 w 752994"/>
                <a:gd name="connsiteY6" fmla="*/ 213866 h 1333436"/>
                <a:gd name="connsiteX7" fmla="*/ 184117 w 752994"/>
                <a:gd name="connsiteY7" fmla="*/ 214326 h 1333436"/>
                <a:gd name="connsiteX8" fmla="*/ 185553 w 752994"/>
                <a:gd name="connsiteY8" fmla="*/ 222494 h 1333436"/>
                <a:gd name="connsiteX9" fmla="*/ 188600 w 752994"/>
                <a:gd name="connsiteY9" fmla="*/ 226970 h 1333436"/>
                <a:gd name="connsiteX10" fmla="*/ 195542 w 752994"/>
                <a:gd name="connsiteY10" fmla="*/ 231871 h 1333436"/>
                <a:gd name="connsiteX11" fmla="*/ 203093 w 752994"/>
                <a:gd name="connsiteY11" fmla="*/ 233896 h 1333436"/>
                <a:gd name="connsiteX12" fmla="*/ 217192 w 752994"/>
                <a:gd name="connsiteY12" fmla="*/ 232075 h 1333436"/>
                <a:gd name="connsiteX13" fmla="*/ 225136 w 752994"/>
                <a:gd name="connsiteY13" fmla="*/ 229829 h 1333436"/>
                <a:gd name="connsiteX14" fmla="*/ 235558 w 752994"/>
                <a:gd name="connsiteY14" fmla="*/ 232483 h 1333436"/>
                <a:gd name="connsiteX15" fmla="*/ 242499 w 752994"/>
                <a:gd name="connsiteY15" fmla="*/ 237163 h 1333436"/>
                <a:gd name="connsiteX16" fmla="*/ 248418 w 752994"/>
                <a:gd name="connsiteY16" fmla="*/ 244701 h 1333436"/>
                <a:gd name="connsiteX17" fmla="*/ 255359 w 752994"/>
                <a:gd name="connsiteY17" fmla="*/ 244906 h 1333436"/>
                <a:gd name="connsiteX18" fmla="*/ 258210 w 752994"/>
                <a:gd name="connsiteY18" fmla="*/ 244906 h 1333436"/>
                <a:gd name="connsiteX19" fmla="*/ 263303 w 752994"/>
                <a:gd name="connsiteY19" fmla="*/ 246131 h 1333436"/>
                <a:gd name="connsiteX20" fmla="*/ 269438 w 752994"/>
                <a:gd name="connsiteY20" fmla="*/ 243697 h 1333436"/>
                <a:gd name="connsiteX21" fmla="*/ 274944 w 752994"/>
                <a:gd name="connsiteY21" fmla="*/ 241451 h 1333436"/>
                <a:gd name="connsiteX22" fmla="*/ 281276 w 752994"/>
                <a:gd name="connsiteY22" fmla="*/ 245722 h 1333436"/>
                <a:gd name="connsiteX23" fmla="*/ 289240 w 752994"/>
                <a:gd name="connsiteY23" fmla="*/ 250419 h 1333436"/>
                <a:gd name="connsiteX24" fmla="*/ 297597 w 752994"/>
                <a:gd name="connsiteY24" fmla="*/ 248581 h 1333436"/>
                <a:gd name="connsiteX25" fmla="*/ 310261 w 752994"/>
                <a:gd name="connsiteY25" fmla="*/ 246539 h 1333436"/>
                <a:gd name="connsiteX26" fmla="*/ 324340 w 752994"/>
                <a:gd name="connsiteY26" fmla="*/ 244497 h 1333436"/>
                <a:gd name="connsiteX27" fmla="*/ 333523 w 752994"/>
                <a:gd name="connsiteY27" fmla="*/ 243289 h 1333436"/>
                <a:gd name="connsiteX28" fmla="*/ 341271 w 752994"/>
                <a:gd name="connsiteY28" fmla="*/ 246539 h 1333436"/>
                <a:gd name="connsiteX29" fmla="*/ 348428 w 752994"/>
                <a:gd name="connsiteY29" fmla="*/ 250011 h 1333436"/>
                <a:gd name="connsiteX30" fmla="*/ 351279 w 752994"/>
                <a:gd name="connsiteY30" fmla="*/ 247356 h 1333436"/>
                <a:gd name="connsiteX31" fmla="*/ 355566 w 752994"/>
                <a:gd name="connsiteY31" fmla="*/ 244293 h 1333436"/>
                <a:gd name="connsiteX32" fmla="*/ 365772 w 752994"/>
                <a:gd name="connsiteY32" fmla="*/ 248785 h 1333436"/>
                <a:gd name="connsiteX33" fmla="*/ 381483 w 752994"/>
                <a:gd name="connsiteY33" fmla="*/ 254912 h 1333436"/>
                <a:gd name="connsiteX34" fmla="*/ 381896 w 752994"/>
                <a:gd name="connsiteY34" fmla="*/ 255320 h 1333436"/>
                <a:gd name="connsiteX35" fmla="*/ 395366 w 752994"/>
                <a:gd name="connsiteY35" fmla="*/ 257753 h 1333436"/>
                <a:gd name="connsiteX36" fmla="*/ 414145 w 752994"/>
                <a:gd name="connsiteY36" fmla="*/ 262450 h 1333436"/>
                <a:gd name="connsiteX37" fmla="*/ 431292 w 752994"/>
                <a:gd name="connsiteY37" fmla="*/ 268151 h 1333436"/>
                <a:gd name="connsiteX38" fmla="*/ 445196 w 752994"/>
                <a:gd name="connsiteY38" fmla="*/ 269890 h 1333436"/>
                <a:gd name="connsiteX39" fmla="*/ 444145 w 752994"/>
                <a:gd name="connsiteY39" fmla="*/ 267441 h 1333436"/>
                <a:gd name="connsiteX40" fmla="*/ 444145 w 752994"/>
                <a:gd name="connsiteY40" fmla="*/ 267034 h 1333436"/>
                <a:gd name="connsiteX41" fmla="*/ 444155 w 752994"/>
                <a:gd name="connsiteY41" fmla="*/ 266811 h 1333436"/>
                <a:gd name="connsiteX42" fmla="*/ 430733 w 752994"/>
                <a:gd name="connsiteY42" fmla="*/ 265139 h 1333436"/>
                <a:gd name="connsiteX43" fmla="*/ 394839 w 752994"/>
                <a:gd name="connsiteY43" fmla="*/ 254739 h 1333436"/>
                <a:gd name="connsiteX44" fmla="*/ 381379 w 752994"/>
                <a:gd name="connsiteY44" fmla="*/ 252303 h 1333436"/>
                <a:gd name="connsiteX45" fmla="*/ 380962 w 752994"/>
                <a:gd name="connsiteY45" fmla="*/ 251895 h 1333436"/>
                <a:gd name="connsiteX46" fmla="*/ 365258 w 752994"/>
                <a:gd name="connsiteY46" fmla="*/ 245774 h 1333436"/>
                <a:gd name="connsiteX47" fmla="*/ 355067 w 752994"/>
                <a:gd name="connsiteY47" fmla="*/ 241285 h 1333436"/>
                <a:gd name="connsiteX48" fmla="*/ 350789 w 752994"/>
                <a:gd name="connsiteY48" fmla="*/ 244352 h 1333436"/>
                <a:gd name="connsiteX49" fmla="*/ 347920 w 752994"/>
                <a:gd name="connsiteY49" fmla="*/ 246998 h 1333436"/>
                <a:gd name="connsiteX50" fmla="*/ 340789 w 752994"/>
                <a:gd name="connsiteY50" fmla="*/ 243536 h 1333436"/>
                <a:gd name="connsiteX51" fmla="*/ 333034 w 752994"/>
                <a:gd name="connsiteY51" fmla="*/ 240271 h 1333436"/>
                <a:gd name="connsiteX52" fmla="*/ 323868 w 752994"/>
                <a:gd name="connsiteY52" fmla="*/ 241495 h 1333436"/>
                <a:gd name="connsiteX53" fmla="*/ 309783 w 752994"/>
                <a:gd name="connsiteY53" fmla="*/ 243536 h 1333436"/>
                <a:gd name="connsiteX54" fmla="*/ 297140 w 752994"/>
                <a:gd name="connsiteY54" fmla="*/ 245576 h 1333436"/>
                <a:gd name="connsiteX55" fmla="*/ 288775 w 752994"/>
                <a:gd name="connsiteY55" fmla="*/ 247406 h 1333436"/>
                <a:gd name="connsiteX56" fmla="*/ 280827 w 752994"/>
                <a:gd name="connsiteY56" fmla="*/ 242720 h 1333436"/>
                <a:gd name="connsiteX57" fmla="*/ 274497 w 752994"/>
                <a:gd name="connsiteY57" fmla="*/ 238441 h 1333436"/>
                <a:gd name="connsiteX58" fmla="*/ 269001 w 752994"/>
                <a:gd name="connsiteY58" fmla="*/ 240679 h 1333436"/>
                <a:gd name="connsiteX59" fmla="*/ 262880 w 752994"/>
                <a:gd name="connsiteY59" fmla="*/ 243128 h 1333436"/>
                <a:gd name="connsiteX60" fmla="*/ 260028 w 752994"/>
                <a:gd name="connsiteY60" fmla="*/ 242720 h 1333436"/>
                <a:gd name="connsiteX61" fmla="*/ 247994 w 752994"/>
                <a:gd name="connsiteY61" fmla="*/ 241693 h 1333436"/>
                <a:gd name="connsiteX62" fmla="*/ 242081 w 752994"/>
                <a:gd name="connsiteY62" fmla="*/ 234162 h 1333436"/>
                <a:gd name="connsiteX63" fmla="*/ 235142 w 752994"/>
                <a:gd name="connsiteY63" fmla="*/ 229476 h 1333436"/>
                <a:gd name="connsiteX64" fmla="*/ 224742 w 752994"/>
                <a:gd name="connsiteY64" fmla="*/ 226817 h 1333436"/>
                <a:gd name="connsiteX65" fmla="*/ 216778 w 752994"/>
                <a:gd name="connsiteY65" fmla="*/ 229068 h 1333436"/>
                <a:gd name="connsiteX66" fmla="*/ 202709 w 752994"/>
                <a:gd name="connsiteY66" fmla="*/ 230898 h 1333436"/>
                <a:gd name="connsiteX67" fmla="*/ 195162 w 752994"/>
                <a:gd name="connsiteY67" fmla="*/ 228857 h 1333436"/>
                <a:gd name="connsiteX68" fmla="*/ 188223 w 752994"/>
                <a:gd name="connsiteY68" fmla="*/ 223973 h 1333436"/>
                <a:gd name="connsiteX69" fmla="*/ 185163 w 752994"/>
                <a:gd name="connsiteY69" fmla="*/ 219484 h 1333436"/>
                <a:gd name="connsiteX70" fmla="*/ 184180 w 752994"/>
                <a:gd name="connsiteY70" fmla="*/ 213866 h 1333436"/>
                <a:gd name="connsiteX71" fmla="*/ 257159 w 752994"/>
                <a:gd name="connsiteY71" fmla="*/ 0 h 1333436"/>
                <a:gd name="connsiteX72" fmla="*/ 493147 w 752994"/>
                <a:gd name="connsiteY72" fmla="*/ 73157 h 1333436"/>
                <a:gd name="connsiteX73" fmla="*/ 492970 w 752994"/>
                <a:gd name="connsiteY73" fmla="*/ 73792 h 1333436"/>
                <a:gd name="connsiteX74" fmla="*/ 525816 w 752994"/>
                <a:gd name="connsiteY74" fmla="*/ 82491 h 1333436"/>
                <a:gd name="connsiteX75" fmla="*/ 520098 w 752994"/>
                <a:gd name="connsiteY75" fmla="*/ 111245 h 1333436"/>
                <a:gd name="connsiteX76" fmla="*/ 512552 w 752994"/>
                <a:gd name="connsiteY76" fmla="*/ 143854 h 1333436"/>
                <a:gd name="connsiteX77" fmla="*/ 517849 w 752994"/>
                <a:gd name="connsiteY77" fmla="*/ 157740 h 1333436"/>
                <a:gd name="connsiteX78" fmla="*/ 523160 w 752994"/>
                <a:gd name="connsiteY78" fmla="*/ 172009 h 1333436"/>
                <a:gd name="connsiteX79" fmla="*/ 521535 w 752994"/>
                <a:gd name="connsiteY79" fmla="*/ 178928 h 1333436"/>
                <a:gd name="connsiteX80" fmla="*/ 520098 w 752994"/>
                <a:gd name="connsiteY80" fmla="*/ 186279 h 1333436"/>
                <a:gd name="connsiteX81" fmla="*/ 526019 w 752994"/>
                <a:gd name="connsiteY81" fmla="*/ 193629 h 1333436"/>
                <a:gd name="connsiteX82" fmla="*/ 537251 w 752994"/>
                <a:gd name="connsiteY82" fmla="*/ 206270 h 1333436"/>
                <a:gd name="connsiteX83" fmla="*/ 542765 w 752994"/>
                <a:gd name="connsiteY83" fmla="*/ 217475 h 1333436"/>
                <a:gd name="connsiteX84" fmla="*/ 546857 w 752994"/>
                <a:gd name="connsiteY84" fmla="*/ 230930 h 1333436"/>
                <a:gd name="connsiteX85" fmla="*/ 549499 w 752994"/>
                <a:gd name="connsiteY85" fmla="*/ 235622 h 1333436"/>
                <a:gd name="connsiteX86" fmla="*/ 553388 w 752994"/>
                <a:gd name="connsiteY86" fmla="*/ 240722 h 1333436"/>
                <a:gd name="connsiteX87" fmla="*/ 557465 w 752994"/>
                <a:gd name="connsiteY87" fmla="*/ 246037 h 1333436"/>
                <a:gd name="connsiteX88" fmla="*/ 561761 w 752994"/>
                <a:gd name="connsiteY88" fmla="*/ 248671 h 1333436"/>
                <a:gd name="connsiteX89" fmla="*/ 567478 w 752994"/>
                <a:gd name="connsiteY89" fmla="*/ 247665 h 1333436"/>
                <a:gd name="connsiteX90" fmla="*/ 569931 w 752994"/>
                <a:gd name="connsiteY90" fmla="*/ 249293 h 1333436"/>
                <a:gd name="connsiteX91" fmla="*/ 570540 w 752994"/>
                <a:gd name="connsiteY91" fmla="*/ 251951 h 1333436"/>
                <a:gd name="connsiteX92" fmla="*/ 561964 w 752994"/>
                <a:gd name="connsiteY92" fmla="*/ 267656 h 1333436"/>
                <a:gd name="connsiteX93" fmla="*/ 553591 w 752994"/>
                <a:gd name="connsiteY93" fmla="*/ 289659 h 1333436"/>
                <a:gd name="connsiteX94" fmla="*/ 554810 w 752994"/>
                <a:gd name="connsiteY94" fmla="*/ 292939 h 1333436"/>
                <a:gd name="connsiteX95" fmla="*/ 556246 w 752994"/>
                <a:gd name="connsiteY95" fmla="*/ 299260 h 1333436"/>
                <a:gd name="connsiteX96" fmla="*/ 552778 w 752994"/>
                <a:gd name="connsiteY96" fmla="*/ 301917 h 1333436"/>
                <a:gd name="connsiteX97" fmla="*/ 549295 w 752994"/>
                <a:gd name="connsiteY97" fmla="*/ 306993 h 1333436"/>
                <a:gd name="connsiteX98" fmla="*/ 547061 w 752994"/>
                <a:gd name="connsiteY98" fmla="*/ 313122 h 1333436"/>
                <a:gd name="connsiteX99" fmla="*/ 544811 w 752994"/>
                <a:gd name="connsiteY99" fmla="*/ 316593 h 1333436"/>
                <a:gd name="connsiteX100" fmla="*/ 549919 w 752994"/>
                <a:gd name="connsiteY100" fmla="*/ 322698 h 1333436"/>
                <a:gd name="connsiteX101" fmla="*/ 553184 w 752994"/>
                <a:gd name="connsiteY101" fmla="*/ 325955 h 1333436"/>
                <a:gd name="connsiteX102" fmla="*/ 555840 w 752994"/>
                <a:gd name="connsiteY102" fmla="*/ 328205 h 1333436"/>
                <a:gd name="connsiteX103" fmla="*/ 574212 w 752994"/>
                <a:gd name="connsiteY103" fmla="*/ 318820 h 1333436"/>
                <a:gd name="connsiteX104" fmla="*/ 579523 w 752994"/>
                <a:gd name="connsiteY104" fmla="*/ 326577 h 1333436"/>
                <a:gd name="connsiteX105" fmla="*/ 580539 w 752994"/>
                <a:gd name="connsiteY105" fmla="*/ 334933 h 1333436"/>
                <a:gd name="connsiteX106" fmla="*/ 579726 w 752994"/>
                <a:gd name="connsiteY106" fmla="*/ 343097 h 1333436"/>
                <a:gd name="connsiteX107" fmla="*/ 581366 w 752994"/>
                <a:gd name="connsiteY107" fmla="*/ 350231 h 1333436"/>
                <a:gd name="connsiteX108" fmla="*/ 586256 w 752994"/>
                <a:gd name="connsiteY108" fmla="*/ 355930 h 1333436"/>
                <a:gd name="connsiteX109" fmla="*/ 589536 w 752994"/>
                <a:gd name="connsiteY109" fmla="*/ 362059 h 1333436"/>
                <a:gd name="connsiteX110" fmla="*/ 588099 w 752994"/>
                <a:gd name="connsiteY110" fmla="*/ 369600 h 1333436"/>
                <a:gd name="connsiteX111" fmla="*/ 586459 w 752994"/>
                <a:gd name="connsiteY111" fmla="*/ 377357 h 1333436"/>
                <a:gd name="connsiteX112" fmla="*/ 588709 w 752994"/>
                <a:gd name="connsiteY112" fmla="*/ 381835 h 1333436"/>
                <a:gd name="connsiteX113" fmla="*/ 595036 w 752994"/>
                <a:gd name="connsiteY113" fmla="*/ 382457 h 1333436"/>
                <a:gd name="connsiteX114" fmla="*/ 599331 w 752994"/>
                <a:gd name="connsiteY114" fmla="*/ 385306 h 1333436"/>
                <a:gd name="connsiteX115" fmla="*/ 601987 w 752994"/>
                <a:gd name="connsiteY115" fmla="*/ 391004 h 1333436"/>
                <a:gd name="connsiteX116" fmla="*/ 602799 w 752994"/>
                <a:gd name="connsiteY116" fmla="*/ 404076 h 1333436"/>
                <a:gd name="connsiteX117" fmla="*/ 606892 w 752994"/>
                <a:gd name="connsiteY117" fmla="*/ 415688 h 1333436"/>
                <a:gd name="connsiteX118" fmla="*/ 610563 w 752994"/>
                <a:gd name="connsiteY118" fmla="*/ 412217 h 1333436"/>
                <a:gd name="connsiteX119" fmla="*/ 617920 w 752994"/>
                <a:gd name="connsiteY119" fmla="*/ 408769 h 1333436"/>
                <a:gd name="connsiteX120" fmla="*/ 624654 w 752994"/>
                <a:gd name="connsiteY120" fmla="*/ 411211 h 1333436"/>
                <a:gd name="connsiteX121" fmla="*/ 634652 w 752994"/>
                <a:gd name="connsiteY121" fmla="*/ 410182 h 1333436"/>
                <a:gd name="connsiteX122" fmla="*/ 640573 w 752994"/>
                <a:gd name="connsiteY122" fmla="*/ 407739 h 1333436"/>
                <a:gd name="connsiteX123" fmla="*/ 646711 w 752994"/>
                <a:gd name="connsiteY123" fmla="*/ 410589 h 1333436"/>
                <a:gd name="connsiteX124" fmla="*/ 650383 w 752994"/>
                <a:gd name="connsiteY124" fmla="*/ 410589 h 1333436"/>
                <a:gd name="connsiteX125" fmla="*/ 654257 w 752994"/>
                <a:gd name="connsiteY125" fmla="*/ 411618 h 1333436"/>
                <a:gd name="connsiteX126" fmla="*/ 656913 w 752994"/>
                <a:gd name="connsiteY126" fmla="*/ 413653 h 1333436"/>
                <a:gd name="connsiteX127" fmla="*/ 660802 w 752994"/>
                <a:gd name="connsiteY127" fmla="*/ 415090 h 1333436"/>
                <a:gd name="connsiteX128" fmla="*/ 669581 w 752994"/>
                <a:gd name="connsiteY128" fmla="*/ 415904 h 1333436"/>
                <a:gd name="connsiteX129" fmla="*/ 672237 w 752994"/>
                <a:gd name="connsiteY129" fmla="*/ 415688 h 1333436"/>
                <a:gd name="connsiteX130" fmla="*/ 675705 w 752994"/>
                <a:gd name="connsiteY130" fmla="*/ 409367 h 1333436"/>
                <a:gd name="connsiteX131" fmla="*/ 679986 w 752994"/>
                <a:gd name="connsiteY131" fmla="*/ 403238 h 1333436"/>
                <a:gd name="connsiteX132" fmla="*/ 693264 w 752994"/>
                <a:gd name="connsiteY132" fmla="*/ 419567 h 1333436"/>
                <a:gd name="connsiteX133" fmla="*/ 688563 w 752994"/>
                <a:gd name="connsiteY133" fmla="*/ 448321 h 1333436"/>
                <a:gd name="connsiteX134" fmla="*/ 663949 w 752994"/>
                <a:gd name="connsiteY134" fmla="*/ 590165 h 1333436"/>
                <a:gd name="connsiteX135" fmla="*/ 666304 w 752994"/>
                <a:gd name="connsiteY135" fmla="*/ 590504 h 1333436"/>
                <a:gd name="connsiteX136" fmla="*/ 655288 w 752994"/>
                <a:gd name="connsiteY136" fmla="*/ 656178 h 1333436"/>
                <a:gd name="connsiteX137" fmla="*/ 681808 w 752994"/>
                <a:gd name="connsiteY137" fmla="*/ 662301 h 1333436"/>
                <a:gd name="connsiteX138" fmla="*/ 752994 w 752994"/>
                <a:gd name="connsiteY138" fmla="*/ 675560 h 1333436"/>
                <a:gd name="connsiteX139" fmla="*/ 714651 w 752994"/>
                <a:gd name="connsiteY139" fmla="*/ 946985 h 1333436"/>
                <a:gd name="connsiteX140" fmla="*/ 654533 w 752994"/>
                <a:gd name="connsiteY140" fmla="*/ 1333436 h 1333436"/>
                <a:gd name="connsiteX141" fmla="*/ 546831 w 752994"/>
                <a:gd name="connsiteY141" fmla="*/ 1317126 h 1333436"/>
                <a:gd name="connsiteX142" fmla="*/ 351227 w 752994"/>
                <a:gd name="connsiteY142" fmla="*/ 1194172 h 1333436"/>
                <a:gd name="connsiteX143" fmla="*/ 361011 w 752994"/>
                <a:gd name="connsiteY143" fmla="*/ 1182755 h 1333436"/>
                <a:gd name="connsiteX144" fmla="*/ 368981 w 752994"/>
                <a:gd name="connsiteY144" fmla="*/ 1182130 h 1333436"/>
                <a:gd name="connsiteX145" fmla="*/ 369571 w 752994"/>
                <a:gd name="connsiteY145" fmla="*/ 1181558 h 1333436"/>
                <a:gd name="connsiteX146" fmla="*/ 362372 w 752994"/>
                <a:gd name="connsiteY146" fmla="*/ 1182120 h 1333436"/>
                <a:gd name="connsiteX147" fmla="*/ 229464 w 752994"/>
                <a:gd name="connsiteY147" fmla="*/ 1161721 h 1333436"/>
                <a:gd name="connsiteX148" fmla="*/ 227427 w 752994"/>
                <a:gd name="connsiteY148" fmla="*/ 1157269 h 1333436"/>
                <a:gd name="connsiteX149" fmla="*/ 224967 w 752994"/>
                <a:gd name="connsiteY149" fmla="*/ 1152575 h 1333436"/>
                <a:gd name="connsiteX150" fmla="*/ 225582 w 752994"/>
                <a:gd name="connsiteY150" fmla="*/ 1144808 h 1333436"/>
                <a:gd name="connsiteX151" fmla="*/ 227215 w 752994"/>
                <a:gd name="connsiteY151" fmla="*/ 1135834 h 1333436"/>
                <a:gd name="connsiteX152" fmla="*/ 227215 w 752994"/>
                <a:gd name="connsiteY152" fmla="*/ 1134212 h 1333436"/>
                <a:gd name="connsiteX153" fmla="*/ 225179 w 752994"/>
                <a:gd name="connsiteY153" fmla="*/ 1114020 h 1333436"/>
                <a:gd name="connsiteX154" fmla="*/ 217839 w 752994"/>
                <a:gd name="connsiteY154" fmla="*/ 1100352 h 1333436"/>
                <a:gd name="connsiteX155" fmla="*/ 199661 w 752994"/>
                <a:gd name="connsiteY155" fmla="*/ 1076502 h 1333436"/>
                <a:gd name="connsiteX156" fmla="*/ 196395 w 752994"/>
                <a:gd name="connsiteY156" fmla="*/ 1071807 h 1333436"/>
                <a:gd name="connsiteX157" fmla="*/ 190880 w 752994"/>
                <a:gd name="connsiteY157" fmla="*/ 1067527 h 1333436"/>
                <a:gd name="connsiteX158" fmla="*/ 187210 w 752994"/>
                <a:gd name="connsiteY158" fmla="*/ 1068735 h 1333436"/>
                <a:gd name="connsiteX159" fmla="*/ 180062 w 752994"/>
                <a:gd name="connsiteY159" fmla="*/ 1066699 h 1333436"/>
                <a:gd name="connsiteX160" fmla="*/ 180466 w 752994"/>
                <a:gd name="connsiteY160" fmla="*/ 1053031 h 1333436"/>
                <a:gd name="connsiteX161" fmla="*/ 180062 w 752994"/>
                <a:gd name="connsiteY161" fmla="*/ 1045299 h 1333436"/>
                <a:gd name="connsiteX162" fmla="*/ 174144 w 752994"/>
                <a:gd name="connsiteY162" fmla="*/ 1044057 h 1333436"/>
                <a:gd name="connsiteX163" fmla="*/ 158426 w 752994"/>
                <a:gd name="connsiteY163" fmla="*/ 1042641 h 1333436"/>
                <a:gd name="connsiteX164" fmla="*/ 149857 w 752994"/>
                <a:gd name="connsiteY164" fmla="*/ 1035497 h 1333436"/>
                <a:gd name="connsiteX165" fmla="*/ 142497 w 752994"/>
                <a:gd name="connsiteY165" fmla="*/ 1028766 h 1333436"/>
                <a:gd name="connsiteX166" fmla="*/ 140864 w 752994"/>
                <a:gd name="connsiteY166" fmla="*/ 1020620 h 1333436"/>
                <a:gd name="connsiteX167" fmla="*/ 138212 w 752994"/>
                <a:gd name="connsiteY167" fmla="*/ 1013061 h 1333436"/>
                <a:gd name="connsiteX168" fmla="*/ 131064 w 752994"/>
                <a:gd name="connsiteY168" fmla="*/ 1007159 h 1333436"/>
                <a:gd name="connsiteX169" fmla="*/ 121264 w 752994"/>
                <a:gd name="connsiteY169" fmla="*/ 1005330 h 1333436"/>
                <a:gd name="connsiteX170" fmla="*/ 112483 w 752994"/>
                <a:gd name="connsiteY170" fmla="*/ 1001671 h 1333436"/>
                <a:gd name="connsiteX171" fmla="*/ 105950 w 752994"/>
                <a:gd name="connsiteY171" fmla="*/ 995734 h 1333436"/>
                <a:gd name="connsiteX172" fmla="*/ 97380 w 752994"/>
                <a:gd name="connsiteY172" fmla="*/ 994526 h 1333436"/>
                <a:gd name="connsiteX173" fmla="*/ 87984 w 752994"/>
                <a:gd name="connsiteY173" fmla="*/ 991040 h 1333436"/>
                <a:gd name="connsiteX174" fmla="*/ 80029 w 752994"/>
                <a:gd name="connsiteY174" fmla="*/ 985138 h 1333436"/>
                <a:gd name="connsiteX175" fmla="*/ 77166 w 752994"/>
                <a:gd name="connsiteY175" fmla="*/ 976164 h 1333436"/>
                <a:gd name="connsiteX176" fmla="*/ 79203 w 752994"/>
                <a:gd name="connsiteY176" fmla="*/ 970676 h 1333436"/>
                <a:gd name="connsiteX177" fmla="*/ 82470 w 752994"/>
                <a:gd name="connsiteY177" fmla="*/ 963117 h 1333436"/>
                <a:gd name="connsiteX178" fmla="*/ 84314 w 752994"/>
                <a:gd name="connsiteY178" fmla="*/ 954557 h 1333436"/>
                <a:gd name="connsiteX179" fmla="*/ 86351 w 752994"/>
                <a:gd name="connsiteY179" fmla="*/ 948033 h 1333436"/>
                <a:gd name="connsiteX180" fmla="*/ 86159 w 752994"/>
                <a:gd name="connsiteY180" fmla="*/ 942925 h 1333436"/>
                <a:gd name="connsiteX181" fmla="*/ 83085 w 752994"/>
                <a:gd name="connsiteY181" fmla="*/ 939853 h 1333436"/>
                <a:gd name="connsiteX182" fmla="*/ 77570 w 752994"/>
                <a:gd name="connsiteY182" fmla="*/ 937437 h 1333436"/>
                <a:gd name="connsiteX183" fmla="*/ 76763 w 752994"/>
                <a:gd name="connsiteY183" fmla="*/ 931915 h 1333436"/>
                <a:gd name="connsiteX184" fmla="*/ 78800 w 752994"/>
                <a:gd name="connsiteY184" fmla="*/ 927013 h 1333436"/>
                <a:gd name="connsiteX185" fmla="*/ 79626 w 752994"/>
                <a:gd name="connsiteY185" fmla="*/ 922526 h 1333436"/>
                <a:gd name="connsiteX186" fmla="*/ 77781 w 752994"/>
                <a:gd name="connsiteY186" fmla="*/ 919903 h 1333436"/>
                <a:gd name="connsiteX187" fmla="*/ 74303 w 752994"/>
                <a:gd name="connsiteY187" fmla="*/ 917418 h 1333436"/>
                <a:gd name="connsiteX188" fmla="*/ 71863 w 752994"/>
                <a:gd name="connsiteY188" fmla="*/ 915174 h 1333436"/>
                <a:gd name="connsiteX189" fmla="*/ 71652 w 752994"/>
                <a:gd name="connsiteY189" fmla="*/ 910894 h 1333436"/>
                <a:gd name="connsiteX190" fmla="*/ 70633 w 752994"/>
                <a:gd name="connsiteY190" fmla="*/ 906614 h 1333436"/>
                <a:gd name="connsiteX191" fmla="*/ 68385 w 752994"/>
                <a:gd name="connsiteY191" fmla="*/ 902749 h 1333436"/>
                <a:gd name="connsiteX192" fmla="*/ 61045 w 752994"/>
                <a:gd name="connsiteY192" fmla="*/ 889494 h 1333436"/>
                <a:gd name="connsiteX193" fmla="*/ 57971 w 752994"/>
                <a:gd name="connsiteY193" fmla="*/ 875619 h 1333436"/>
                <a:gd name="connsiteX194" fmla="*/ 52264 w 752994"/>
                <a:gd name="connsiteY194" fmla="*/ 862572 h 1333436"/>
                <a:gd name="connsiteX195" fmla="*/ 44309 w 752994"/>
                <a:gd name="connsiteY195" fmla="*/ 850561 h 1333436"/>
                <a:gd name="connsiteX196" fmla="*/ 45520 w 752994"/>
                <a:gd name="connsiteY196" fmla="*/ 827090 h 1333436"/>
                <a:gd name="connsiteX197" fmla="*/ 53071 w 752994"/>
                <a:gd name="connsiteY197" fmla="*/ 822396 h 1333436"/>
                <a:gd name="connsiteX198" fmla="*/ 57375 w 752994"/>
                <a:gd name="connsiteY198" fmla="*/ 816493 h 1333436"/>
                <a:gd name="connsiteX199" fmla="*/ 55319 w 752994"/>
                <a:gd name="connsiteY199" fmla="*/ 801617 h 1333436"/>
                <a:gd name="connsiteX200" fmla="*/ 48383 w 752994"/>
                <a:gd name="connsiteY200" fmla="*/ 802204 h 1333436"/>
                <a:gd name="connsiteX201" fmla="*/ 40428 w 752994"/>
                <a:gd name="connsiteY201" fmla="*/ 797924 h 1333436"/>
                <a:gd name="connsiteX202" fmla="*/ 37565 w 752994"/>
                <a:gd name="connsiteY202" fmla="*/ 790606 h 1333436"/>
                <a:gd name="connsiteX203" fmla="*/ 37565 w 752994"/>
                <a:gd name="connsiteY203" fmla="*/ 790399 h 1333436"/>
                <a:gd name="connsiteX204" fmla="*/ 35931 w 752994"/>
                <a:gd name="connsiteY204" fmla="*/ 785912 h 1333436"/>
                <a:gd name="connsiteX205" fmla="*/ 34510 w 752994"/>
                <a:gd name="connsiteY205" fmla="*/ 780597 h 1333436"/>
                <a:gd name="connsiteX206" fmla="*/ 36335 w 752994"/>
                <a:gd name="connsiteY206" fmla="*/ 774280 h 1333436"/>
                <a:gd name="connsiteX207" fmla="*/ 38180 w 752994"/>
                <a:gd name="connsiteY207" fmla="*/ 766721 h 1333436"/>
                <a:gd name="connsiteX208" fmla="*/ 37161 w 752994"/>
                <a:gd name="connsiteY208" fmla="*/ 760405 h 1333436"/>
                <a:gd name="connsiteX209" fmla="*/ 35720 w 752994"/>
                <a:gd name="connsiteY209" fmla="*/ 754710 h 1333436"/>
                <a:gd name="connsiteX210" fmla="*/ 36546 w 752994"/>
                <a:gd name="connsiteY210" fmla="*/ 748773 h 1333436"/>
                <a:gd name="connsiteX211" fmla="*/ 38372 w 752994"/>
                <a:gd name="connsiteY211" fmla="*/ 744528 h 1333436"/>
                <a:gd name="connsiteX212" fmla="*/ 41638 w 752994"/>
                <a:gd name="connsiteY212" fmla="*/ 744321 h 1333436"/>
                <a:gd name="connsiteX213" fmla="*/ 44713 w 752994"/>
                <a:gd name="connsiteY213" fmla="*/ 746357 h 1333436"/>
                <a:gd name="connsiteX214" fmla="*/ 47364 w 752994"/>
                <a:gd name="connsiteY214" fmla="*/ 753260 h 1333436"/>
                <a:gd name="connsiteX215" fmla="*/ 55742 w 752994"/>
                <a:gd name="connsiteY215" fmla="*/ 764305 h 1333436"/>
                <a:gd name="connsiteX216" fmla="*/ 56338 w 752994"/>
                <a:gd name="connsiteY216" fmla="*/ 761233 h 1333436"/>
                <a:gd name="connsiteX217" fmla="*/ 56145 w 752994"/>
                <a:gd name="connsiteY217" fmla="*/ 757368 h 1333436"/>
                <a:gd name="connsiteX218" fmla="*/ 54916 w 752994"/>
                <a:gd name="connsiteY218" fmla="*/ 748601 h 1333436"/>
                <a:gd name="connsiteX219" fmla="*/ 52879 w 752994"/>
                <a:gd name="connsiteY219" fmla="*/ 747358 h 1333436"/>
                <a:gd name="connsiteX220" fmla="*/ 51649 w 752994"/>
                <a:gd name="connsiteY220" fmla="*/ 745322 h 1333436"/>
                <a:gd name="connsiteX221" fmla="*/ 51649 w 752994"/>
                <a:gd name="connsiteY221" fmla="*/ 739212 h 1333436"/>
                <a:gd name="connsiteX222" fmla="*/ 50227 w 752994"/>
                <a:gd name="connsiteY222" fmla="*/ 734725 h 1333436"/>
                <a:gd name="connsiteX223" fmla="*/ 48786 w 752994"/>
                <a:gd name="connsiteY223" fmla="*/ 731446 h 1333436"/>
                <a:gd name="connsiteX224" fmla="*/ 54512 w 752994"/>
                <a:gd name="connsiteY224" fmla="*/ 726372 h 1333436"/>
                <a:gd name="connsiteX225" fmla="*/ 59815 w 752994"/>
                <a:gd name="connsiteY225" fmla="*/ 725130 h 1333436"/>
                <a:gd name="connsiteX226" fmla="*/ 58182 w 752994"/>
                <a:gd name="connsiteY226" fmla="*/ 722886 h 1333436"/>
                <a:gd name="connsiteX227" fmla="*/ 51861 w 752994"/>
                <a:gd name="connsiteY227" fmla="*/ 717985 h 1333436"/>
                <a:gd name="connsiteX228" fmla="*/ 46749 w 752994"/>
                <a:gd name="connsiteY228" fmla="*/ 729617 h 1333436"/>
                <a:gd name="connsiteX229" fmla="*/ 40831 w 752994"/>
                <a:gd name="connsiteY229" fmla="*/ 739212 h 1333436"/>
                <a:gd name="connsiteX230" fmla="*/ 39601 w 752994"/>
                <a:gd name="connsiteY230" fmla="*/ 738798 h 1333436"/>
                <a:gd name="connsiteX231" fmla="*/ 39409 w 752994"/>
                <a:gd name="connsiteY231" fmla="*/ 738591 h 1333436"/>
                <a:gd name="connsiteX232" fmla="*/ 37161 w 752994"/>
                <a:gd name="connsiteY232" fmla="*/ 734725 h 1333436"/>
                <a:gd name="connsiteX233" fmla="*/ 32665 w 752994"/>
                <a:gd name="connsiteY233" fmla="*/ 727788 h 1333436"/>
                <a:gd name="connsiteX234" fmla="*/ 26747 w 752994"/>
                <a:gd name="connsiteY234" fmla="*/ 719435 h 1333436"/>
                <a:gd name="connsiteX235" fmla="*/ 23884 w 752994"/>
                <a:gd name="connsiteY235" fmla="*/ 717812 h 1333436"/>
                <a:gd name="connsiteX236" fmla="*/ 24710 w 752994"/>
                <a:gd name="connsiteY236" fmla="*/ 709632 h 1333436"/>
                <a:gd name="connsiteX237" fmla="*/ 27554 w 752994"/>
                <a:gd name="connsiteY237" fmla="*/ 701694 h 1333436"/>
                <a:gd name="connsiteX238" fmla="*/ 24902 w 752994"/>
                <a:gd name="connsiteY238" fmla="*/ 696171 h 1333436"/>
                <a:gd name="connsiteX239" fmla="*/ 24095 w 752994"/>
                <a:gd name="connsiteY239" fmla="*/ 687818 h 1333436"/>
                <a:gd name="connsiteX240" fmla="*/ 22462 w 752994"/>
                <a:gd name="connsiteY240" fmla="*/ 682330 h 1333436"/>
                <a:gd name="connsiteX241" fmla="*/ 17159 w 752994"/>
                <a:gd name="connsiteY241" fmla="*/ 677636 h 1333436"/>
                <a:gd name="connsiteX242" fmla="*/ 14296 w 752994"/>
                <a:gd name="connsiteY242" fmla="*/ 671492 h 1333436"/>
                <a:gd name="connsiteX243" fmla="*/ 12451 w 752994"/>
                <a:gd name="connsiteY243" fmla="*/ 665797 h 1333436"/>
                <a:gd name="connsiteX244" fmla="*/ 5111 w 752994"/>
                <a:gd name="connsiteY244" fmla="*/ 654994 h 1333436"/>
                <a:gd name="connsiteX245" fmla="*/ 2248 w 752994"/>
                <a:gd name="connsiteY245" fmla="*/ 645605 h 1333436"/>
                <a:gd name="connsiteX246" fmla="*/ 4496 w 752994"/>
                <a:gd name="connsiteY246" fmla="*/ 640497 h 1333436"/>
                <a:gd name="connsiteX247" fmla="*/ 6744 w 752994"/>
                <a:gd name="connsiteY247" fmla="*/ 632765 h 1333436"/>
                <a:gd name="connsiteX248" fmla="*/ 6744 w 752994"/>
                <a:gd name="connsiteY248" fmla="*/ 628485 h 1333436"/>
                <a:gd name="connsiteX249" fmla="*/ 6533 w 752994"/>
                <a:gd name="connsiteY249" fmla="*/ 620305 h 1333436"/>
                <a:gd name="connsiteX250" fmla="*/ 7359 w 752994"/>
                <a:gd name="connsiteY250" fmla="*/ 611745 h 1333436"/>
                <a:gd name="connsiteX251" fmla="*/ 11836 w 752994"/>
                <a:gd name="connsiteY251" fmla="*/ 602978 h 1333436"/>
                <a:gd name="connsiteX252" fmla="*/ 15103 w 752994"/>
                <a:gd name="connsiteY252" fmla="*/ 591760 h 1333436"/>
                <a:gd name="connsiteX253" fmla="*/ 14488 w 752994"/>
                <a:gd name="connsiteY253" fmla="*/ 584029 h 1333436"/>
                <a:gd name="connsiteX254" fmla="*/ 13873 w 752994"/>
                <a:gd name="connsiteY254" fmla="*/ 578299 h 1333436"/>
                <a:gd name="connsiteX255" fmla="*/ 10626 w 752994"/>
                <a:gd name="connsiteY255" fmla="*/ 568531 h 1333436"/>
                <a:gd name="connsiteX256" fmla="*/ 3670 w 752994"/>
                <a:gd name="connsiteY256" fmla="*/ 558107 h 1333436"/>
                <a:gd name="connsiteX257" fmla="*/ 0 w 752994"/>
                <a:gd name="connsiteY257" fmla="*/ 551377 h 1333436"/>
                <a:gd name="connsiteX258" fmla="*/ 0 w 752994"/>
                <a:gd name="connsiteY258" fmla="*/ 550997 h 1333436"/>
                <a:gd name="connsiteX259" fmla="*/ 4900 w 752994"/>
                <a:gd name="connsiteY259" fmla="*/ 531220 h 1333436"/>
                <a:gd name="connsiteX260" fmla="*/ 13873 w 752994"/>
                <a:gd name="connsiteY260" fmla="*/ 520589 h 1333436"/>
                <a:gd name="connsiteX261" fmla="*/ 18369 w 752994"/>
                <a:gd name="connsiteY261" fmla="*/ 516516 h 1333436"/>
                <a:gd name="connsiteX262" fmla="*/ 18773 w 752994"/>
                <a:gd name="connsiteY262" fmla="*/ 514272 h 1333436"/>
                <a:gd name="connsiteX263" fmla="*/ 23077 w 752994"/>
                <a:gd name="connsiteY263" fmla="*/ 506127 h 1333436"/>
                <a:gd name="connsiteX264" fmla="*/ 23884 w 752994"/>
                <a:gd name="connsiteY264" fmla="*/ 502261 h 1333436"/>
                <a:gd name="connsiteX265" fmla="*/ 23692 w 752994"/>
                <a:gd name="connsiteY265" fmla="*/ 496738 h 1333436"/>
                <a:gd name="connsiteX266" fmla="*/ 30013 w 752994"/>
                <a:gd name="connsiteY266" fmla="*/ 486556 h 1333436"/>
                <a:gd name="connsiteX267" fmla="*/ 36546 w 752994"/>
                <a:gd name="connsiteY267" fmla="*/ 470230 h 1333436"/>
                <a:gd name="connsiteX268" fmla="*/ 36546 w 752994"/>
                <a:gd name="connsiteY268" fmla="*/ 462671 h 1333436"/>
                <a:gd name="connsiteX269" fmla="*/ 36335 w 752994"/>
                <a:gd name="connsiteY269" fmla="*/ 461670 h 1333436"/>
                <a:gd name="connsiteX270" fmla="*/ 35931 w 752994"/>
                <a:gd name="connsiteY270" fmla="*/ 453110 h 1333436"/>
                <a:gd name="connsiteX271" fmla="*/ 38583 w 752994"/>
                <a:gd name="connsiteY271" fmla="*/ 442514 h 1333436"/>
                <a:gd name="connsiteX272" fmla="*/ 41043 w 752994"/>
                <a:gd name="connsiteY272" fmla="*/ 436991 h 1333436"/>
                <a:gd name="connsiteX273" fmla="*/ 41650 w 752994"/>
                <a:gd name="connsiteY273" fmla="*/ 437186 h 1333436"/>
                <a:gd name="connsiteX274" fmla="*/ 41239 w 752994"/>
                <a:gd name="connsiteY274" fmla="*/ 436549 h 1333436"/>
                <a:gd name="connsiteX275" fmla="*/ 37778 w 752994"/>
                <a:gd name="connsiteY275" fmla="*/ 433894 h 1333436"/>
                <a:gd name="connsiteX276" fmla="*/ 37169 w 752994"/>
                <a:gd name="connsiteY276" fmla="*/ 432261 h 1333436"/>
                <a:gd name="connsiteX277" fmla="*/ 37365 w 752994"/>
                <a:gd name="connsiteY277" fmla="*/ 429198 h 1333436"/>
                <a:gd name="connsiteX278" fmla="*/ 36756 w 752994"/>
                <a:gd name="connsiteY278" fmla="*/ 422272 h 1333436"/>
                <a:gd name="connsiteX279" fmla="*/ 36952 w 752994"/>
                <a:gd name="connsiteY279" fmla="*/ 418800 h 1333436"/>
                <a:gd name="connsiteX280" fmla="*/ 36756 w 752994"/>
                <a:gd name="connsiteY280" fmla="*/ 412487 h 1333436"/>
                <a:gd name="connsiteX281" fmla="*/ 40433 w 752994"/>
                <a:gd name="connsiteY281" fmla="*/ 406174 h 1333436"/>
                <a:gd name="connsiteX282" fmla="*/ 44720 w 752994"/>
                <a:gd name="connsiteY282" fmla="*/ 399435 h 1333436"/>
                <a:gd name="connsiteX283" fmla="*/ 44110 w 752994"/>
                <a:gd name="connsiteY283" fmla="*/ 389651 h 1333436"/>
                <a:gd name="connsiteX284" fmla="*/ 43894 w 752994"/>
                <a:gd name="connsiteY284" fmla="*/ 378437 h 1333436"/>
                <a:gd name="connsiteX285" fmla="*/ 47158 w 752994"/>
                <a:gd name="connsiteY285" fmla="*/ 371102 h 1333436"/>
                <a:gd name="connsiteX286" fmla="*/ 55731 w 752994"/>
                <a:gd name="connsiteY286" fmla="*/ 360909 h 1333436"/>
                <a:gd name="connsiteX287" fmla="*/ 57580 w 752994"/>
                <a:gd name="connsiteY287" fmla="*/ 355804 h 1333436"/>
                <a:gd name="connsiteX288" fmla="*/ 62673 w 752994"/>
                <a:gd name="connsiteY288" fmla="*/ 349695 h 1333436"/>
                <a:gd name="connsiteX289" fmla="*/ 65937 w 752994"/>
                <a:gd name="connsiteY289" fmla="*/ 348470 h 1333436"/>
                <a:gd name="connsiteX290" fmla="*/ 68395 w 752994"/>
                <a:gd name="connsiteY290" fmla="*/ 348674 h 1333436"/>
                <a:gd name="connsiteX291" fmla="*/ 70224 w 752994"/>
                <a:gd name="connsiteY291" fmla="*/ 347449 h 1333436"/>
                <a:gd name="connsiteX292" fmla="*/ 67785 w 752994"/>
                <a:gd name="connsiteY292" fmla="*/ 345203 h 1333436"/>
                <a:gd name="connsiteX293" fmla="*/ 65524 w 752994"/>
                <a:gd name="connsiteY293" fmla="*/ 343178 h 1333436"/>
                <a:gd name="connsiteX294" fmla="*/ 73095 w 752994"/>
                <a:gd name="connsiteY294" fmla="*/ 333376 h 1333436"/>
                <a:gd name="connsiteX295" fmla="*/ 73291 w 752994"/>
                <a:gd name="connsiteY295" fmla="*/ 333376 h 1333436"/>
                <a:gd name="connsiteX296" fmla="*/ 77991 w 752994"/>
                <a:gd name="connsiteY296" fmla="*/ 325838 h 1333436"/>
                <a:gd name="connsiteX297" fmla="*/ 82671 w 752994"/>
                <a:gd name="connsiteY297" fmla="*/ 313619 h 1333436"/>
                <a:gd name="connsiteX298" fmla="*/ 87980 w 752994"/>
                <a:gd name="connsiteY298" fmla="*/ 303018 h 1333436"/>
                <a:gd name="connsiteX299" fmla="*/ 92267 w 752994"/>
                <a:gd name="connsiteY299" fmla="*/ 291191 h 1333436"/>
                <a:gd name="connsiteX300" fmla="*/ 96553 w 752994"/>
                <a:gd name="connsiteY300" fmla="*/ 281202 h 1333436"/>
                <a:gd name="connsiteX301" fmla="*/ 99621 w 752994"/>
                <a:gd name="connsiteY301" fmla="*/ 274481 h 1333436"/>
                <a:gd name="connsiteX302" fmla="*/ 103082 w 752994"/>
                <a:gd name="connsiteY302" fmla="*/ 262450 h 1333436"/>
                <a:gd name="connsiteX303" fmla="*/ 107172 w 752994"/>
                <a:gd name="connsiteY303" fmla="*/ 254299 h 1333436"/>
                <a:gd name="connsiteX304" fmla="*/ 112481 w 752994"/>
                <a:gd name="connsiteY304" fmla="*/ 243697 h 1333436"/>
                <a:gd name="connsiteX305" fmla="*/ 117181 w 752994"/>
                <a:gd name="connsiteY305" fmla="*/ 232279 h 1333436"/>
                <a:gd name="connsiteX306" fmla="*/ 125951 w 752994"/>
                <a:gd name="connsiteY306" fmla="*/ 217389 h 1333436"/>
                <a:gd name="connsiteX307" fmla="*/ 136156 w 752994"/>
                <a:gd name="connsiteY307" fmla="*/ 202925 h 1333436"/>
                <a:gd name="connsiteX308" fmla="*/ 138811 w 752994"/>
                <a:gd name="connsiteY308" fmla="*/ 183339 h 1333436"/>
                <a:gd name="connsiteX309" fmla="*/ 148801 w 752994"/>
                <a:gd name="connsiteY309" fmla="*/ 167445 h 1333436"/>
                <a:gd name="connsiteX310" fmla="*/ 159616 w 752994"/>
                <a:gd name="connsiteY310" fmla="*/ 170712 h 1333436"/>
                <a:gd name="connsiteX311" fmla="*/ 173105 w 752994"/>
                <a:gd name="connsiteY311" fmla="*/ 175188 h 1333436"/>
                <a:gd name="connsiteX312" fmla="*/ 175347 w 752994"/>
                <a:gd name="connsiteY312" fmla="*/ 175188 h 1333436"/>
                <a:gd name="connsiteX313" fmla="*/ 175347 w 752994"/>
                <a:gd name="connsiteY313" fmla="*/ 173758 h 1333436"/>
                <a:gd name="connsiteX314" fmla="*/ 184975 w 752994"/>
                <a:gd name="connsiteY314" fmla="*/ 187393 h 1333436"/>
                <a:gd name="connsiteX315" fmla="*/ 184762 w 752994"/>
                <a:gd name="connsiteY315" fmla="*/ 184637 h 1333436"/>
                <a:gd name="connsiteX316" fmla="*/ 174971 w 752994"/>
                <a:gd name="connsiteY316" fmla="*/ 170774 h 1333436"/>
                <a:gd name="connsiteX317" fmla="*/ 174971 w 752994"/>
                <a:gd name="connsiteY317" fmla="*/ 169550 h 1333436"/>
                <a:gd name="connsiteX318" fmla="*/ 158851 w 752994"/>
                <a:gd name="connsiteY318" fmla="*/ 156924 h 1333436"/>
                <a:gd name="connsiteX319" fmla="*/ 147025 w 752994"/>
                <a:gd name="connsiteY319" fmla="*/ 145709 h 1333436"/>
                <a:gd name="connsiteX320" fmla="*/ 154364 w 752994"/>
                <a:gd name="connsiteY320" fmla="*/ 136335 h 1333436"/>
                <a:gd name="connsiteX321" fmla="*/ 161511 w 752994"/>
                <a:gd name="connsiteY321" fmla="*/ 131042 h 1333436"/>
                <a:gd name="connsiteX322" fmla="*/ 160902 w 752994"/>
                <a:gd name="connsiteY322" fmla="*/ 128384 h 1333436"/>
                <a:gd name="connsiteX323" fmla="*/ 160277 w 752994"/>
                <a:gd name="connsiteY323" fmla="*/ 127778 h 1333436"/>
                <a:gd name="connsiteX324" fmla="*/ 154973 w 752994"/>
                <a:gd name="connsiteY324" fmla="*/ 122077 h 1333436"/>
                <a:gd name="connsiteX325" fmla="*/ 160277 w 752994"/>
                <a:gd name="connsiteY325" fmla="*/ 115140 h 1333436"/>
                <a:gd name="connsiteX326" fmla="*/ 165181 w 752994"/>
                <a:gd name="connsiteY326" fmla="*/ 108215 h 1333436"/>
                <a:gd name="connsiteX327" fmla="*/ 161303 w 752994"/>
                <a:gd name="connsiteY327" fmla="*/ 104146 h 1333436"/>
                <a:gd name="connsiteX328" fmla="*/ 157842 w 752994"/>
                <a:gd name="connsiteY328" fmla="*/ 104542 h 1333436"/>
                <a:gd name="connsiteX329" fmla="*/ 157024 w 752994"/>
                <a:gd name="connsiteY329" fmla="*/ 102304 h 1333436"/>
                <a:gd name="connsiteX330" fmla="*/ 160694 w 752994"/>
                <a:gd name="connsiteY330" fmla="*/ 55437 h 1333436"/>
                <a:gd name="connsiteX331" fmla="*/ 160486 w 752994"/>
                <a:gd name="connsiteY331" fmla="*/ 31991 h 1333436"/>
                <a:gd name="connsiteX332" fmla="*/ 164972 w 752994"/>
                <a:gd name="connsiteY332" fmla="*/ 18141 h 1333436"/>
                <a:gd name="connsiteX333" fmla="*/ 171911 w 752994"/>
                <a:gd name="connsiteY333" fmla="*/ 11204 h 1333436"/>
                <a:gd name="connsiteX334" fmla="*/ 187406 w 752994"/>
                <a:gd name="connsiteY334" fmla="*/ 21801 h 1333436"/>
                <a:gd name="connsiteX335" fmla="*/ 210866 w 752994"/>
                <a:gd name="connsiteY335" fmla="*/ 37086 h 1333436"/>
                <a:gd name="connsiteX336" fmla="*/ 219230 w 752994"/>
                <a:gd name="connsiteY336" fmla="*/ 41166 h 1333436"/>
                <a:gd name="connsiteX337" fmla="*/ 226778 w 752994"/>
                <a:gd name="connsiteY337" fmla="*/ 47486 h 1333436"/>
                <a:gd name="connsiteX338" fmla="*/ 236152 w 752994"/>
                <a:gd name="connsiteY338" fmla="*/ 52370 h 1333436"/>
                <a:gd name="connsiteX339" fmla="*/ 239629 w 752994"/>
                <a:gd name="connsiteY339" fmla="*/ 58491 h 1333436"/>
                <a:gd name="connsiteX340" fmla="*/ 239629 w 752994"/>
                <a:gd name="connsiteY340" fmla="*/ 63376 h 1333436"/>
                <a:gd name="connsiteX341" fmla="*/ 236568 w 752994"/>
                <a:gd name="connsiteY341" fmla="*/ 67457 h 1333436"/>
                <a:gd name="connsiteX342" fmla="*/ 231264 w 752994"/>
                <a:gd name="connsiteY342" fmla="*/ 69905 h 1333436"/>
                <a:gd name="connsiteX343" fmla="*/ 216778 w 752994"/>
                <a:gd name="connsiteY343" fmla="*/ 82741 h 1333436"/>
                <a:gd name="connsiteX344" fmla="*/ 214134 w 752994"/>
                <a:gd name="connsiteY344" fmla="*/ 93536 h 1333436"/>
                <a:gd name="connsiteX345" fmla="*/ 214535 w 752994"/>
                <a:gd name="connsiteY345" fmla="*/ 96801 h 1333436"/>
                <a:gd name="connsiteX346" fmla="*/ 216378 w 752994"/>
                <a:gd name="connsiteY346" fmla="*/ 96801 h 1333436"/>
                <a:gd name="connsiteX347" fmla="*/ 230046 w 752994"/>
                <a:gd name="connsiteY347" fmla="*/ 85387 h 1333436"/>
                <a:gd name="connsiteX348" fmla="*/ 243298 w 752994"/>
                <a:gd name="connsiteY348" fmla="*/ 75198 h 1333436"/>
                <a:gd name="connsiteX349" fmla="*/ 246760 w 752994"/>
                <a:gd name="connsiteY349" fmla="*/ 77646 h 1333436"/>
                <a:gd name="connsiteX350" fmla="*/ 255541 w 752994"/>
                <a:gd name="connsiteY350" fmla="*/ 63376 h 1333436"/>
                <a:gd name="connsiteX351" fmla="*/ 259611 w 752994"/>
                <a:gd name="connsiteY351" fmla="*/ 43405 h 1333436"/>
                <a:gd name="connsiteX352" fmla="*/ 256967 w 752994"/>
                <a:gd name="connsiteY352" fmla="*/ 38520 h 1333436"/>
                <a:gd name="connsiteX353" fmla="*/ 253906 w 752994"/>
                <a:gd name="connsiteY353" fmla="*/ 34242 h 1333436"/>
                <a:gd name="connsiteX354" fmla="*/ 256967 w 752994"/>
                <a:gd name="connsiteY354" fmla="*/ 30161 h 1333436"/>
                <a:gd name="connsiteX355" fmla="*/ 262063 w 752994"/>
                <a:gd name="connsiteY355" fmla="*/ 27712 h 1333436"/>
                <a:gd name="connsiteX356" fmla="*/ 264915 w 752994"/>
                <a:gd name="connsiteY356" fmla="*/ 23026 h 1333436"/>
                <a:gd name="connsiteX357" fmla="*/ 267976 w 752994"/>
                <a:gd name="connsiteY357" fmla="*/ 22618 h 1333436"/>
                <a:gd name="connsiteX358" fmla="*/ 270427 w 752994"/>
                <a:gd name="connsiteY358" fmla="*/ 20787 h 1333436"/>
                <a:gd name="connsiteX359" fmla="*/ 263088 w 752994"/>
                <a:gd name="connsiteY359" fmla="*/ 13652 h 1333436"/>
                <a:gd name="connsiteX360" fmla="*/ 255541 w 752994"/>
                <a:gd name="connsiteY360" fmla="*/ 3055 h 1333436"/>
                <a:gd name="connsiteX361" fmla="*/ 256358 w 752994"/>
                <a:gd name="connsiteY361" fmla="*/ 1224 h 1333436"/>
                <a:gd name="connsiteX362" fmla="*/ 257159 w 752994"/>
                <a:gd name="connsiteY362" fmla="*/ 0 h 1333436"/>
                <a:gd name="connsiteX0" fmla="*/ 399563 w 752994"/>
                <a:gd name="connsiteY0" fmla="*/ 1020233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399563 w 752994"/>
                <a:gd name="connsiteY4" fmla="*/ 1020233 h 1333436"/>
                <a:gd name="connsiteX5" fmla="*/ 184180 w 752994"/>
                <a:gd name="connsiteY5" fmla="*/ 213866 h 1333436"/>
                <a:gd name="connsiteX6" fmla="*/ 184117 w 752994"/>
                <a:gd name="connsiteY6" fmla="*/ 214326 h 1333436"/>
                <a:gd name="connsiteX7" fmla="*/ 185553 w 752994"/>
                <a:gd name="connsiteY7" fmla="*/ 222494 h 1333436"/>
                <a:gd name="connsiteX8" fmla="*/ 188600 w 752994"/>
                <a:gd name="connsiteY8" fmla="*/ 226970 h 1333436"/>
                <a:gd name="connsiteX9" fmla="*/ 195542 w 752994"/>
                <a:gd name="connsiteY9" fmla="*/ 231871 h 1333436"/>
                <a:gd name="connsiteX10" fmla="*/ 203093 w 752994"/>
                <a:gd name="connsiteY10" fmla="*/ 233896 h 1333436"/>
                <a:gd name="connsiteX11" fmla="*/ 217192 w 752994"/>
                <a:gd name="connsiteY11" fmla="*/ 232075 h 1333436"/>
                <a:gd name="connsiteX12" fmla="*/ 225136 w 752994"/>
                <a:gd name="connsiteY12" fmla="*/ 229829 h 1333436"/>
                <a:gd name="connsiteX13" fmla="*/ 235558 w 752994"/>
                <a:gd name="connsiteY13" fmla="*/ 232483 h 1333436"/>
                <a:gd name="connsiteX14" fmla="*/ 242499 w 752994"/>
                <a:gd name="connsiteY14" fmla="*/ 237163 h 1333436"/>
                <a:gd name="connsiteX15" fmla="*/ 248418 w 752994"/>
                <a:gd name="connsiteY15" fmla="*/ 244701 h 1333436"/>
                <a:gd name="connsiteX16" fmla="*/ 255359 w 752994"/>
                <a:gd name="connsiteY16" fmla="*/ 244906 h 1333436"/>
                <a:gd name="connsiteX17" fmla="*/ 258210 w 752994"/>
                <a:gd name="connsiteY17" fmla="*/ 244906 h 1333436"/>
                <a:gd name="connsiteX18" fmla="*/ 263303 w 752994"/>
                <a:gd name="connsiteY18" fmla="*/ 246131 h 1333436"/>
                <a:gd name="connsiteX19" fmla="*/ 269438 w 752994"/>
                <a:gd name="connsiteY19" fmla="*/ 243697 h 1333436"/>
                <a:gd name="connsiteX20" fmla="*/ 274944 w 752994"/>
                <a:gd name="connsiteY20" fmla="*/ 241451 h 1333436"/>
                <a:gd name="connsiteX21" fmla="*/ 281276 w 752994"/>
                <a:gd name="connsiteY21" fmla="*/ 245722 h 1333436"/>
                <a:gd name="connsiteX22" fmla="*/ 289240 w 752994"/>
                <a:gd name="connsiteY22" fmla="*/ 250419 h 1333436"/>
                <a:gd name="connsiteX23" fmla="*/ 297597 w 752994"/>
                <a:gd name="connsiteY23" fmla="*/ 248581 h 1333436"/>
                <a:gd name="connsiteX24" fmla="*/ 310261 w 752994"/>
                <a:gd name="connsiteY24" fmla="*/ 246539 h 1333436"/>
                <a:gd name="connsiteX25" fmla="*/ 324340 w 752994"/>
                <a:gd name="connsiteY25" fmla="*/ 244497 h 1333436"/>
                <a:gd name="connsiteX26" fmla="*/ 333523 w 752994"/>
                <a:gd name="connsiteY26" fmla="*/ 243289 h 1333436"/>
                <a:gd name="connsiteX27" fmla="*/ 341271 w 752994"/>
                <a:gd name="connsiteY27" fmla="*/ 246539 h 1333436"/>
                <a:gd name="connsiteX28" fmla="*/ 348428 w 752994"/>
                <a:gd name="connsiteY28" fmla="*/ 250011 h 1333436"/>
                <a:gd name="connsiteX29" fmla="*/ 351279 w 752994"/>
                <a:gd name="connsiteY29" fmla="*/ 247356 h 1333436"/>
                <a:gd name="connsiteX30" fmla="*/ 355566 w 752994"/>
                <a:gd name="connsiteY30" fmla="*/ 244293 h 1333436"/>
                <a:gd name="connsiteX31" fmla="*/ 365772 w 752994"/>
                <a:gd name="connsiteY31" fmla="*/ 248785 h 1333436"/>
                <a:gd name="connsiteX32" fmla="*/ 381483 w 752994"/>
                <a:gd name="connsiteY32" fmla="*/ 254912 h 1333436"/>
                <a:gd name="connsiteX33" fmla="*/ 381896 w 752994"/>
                <a:gd name="connsiteY33" fmla="*/ 255320 h 1333436"/>
                <a:gd name="connsiteX34" fmla="*/ 395366 w 752994"/>
                <a:gd name="connsiteY34" fmla="*/ 257753 h 1333436"/>
                <a:gd name="connsiteX35" fmla="*/ 414145 w 752994"/>
                <a:gd name="connsiteY35" fmla="*/ 262450 h 1333436"/>
                <a:gd name="connsiteX36" fmla="*/ 431292 w 752994"/>
                <a:gd name="connsiteY36" fmla="*/ 268151 h 1333436"/>
                <a:gd name="connsiteX37" fmla="*/ 445196 w 752994"/>
                <a:gd name="connsiteY37" fmla="*/ 269890 h 1333436"/>
                <a:gd name="connsiteX38" fmla="*/ 444145 w 752994"/>
                <a:gd name="connsiteY38" fmla="*/ 267441 h 1333436"/>
                <a:gd name="connsiteX39" fmla="*/ 444145 w 752994"/>
                <a:gd name="connsiteY39" fmla="*/ 267034 h 1333436"/>
                <a:gd name="connsiteX40" fmla="*/ 444155 w 752994"/>
                <a:gd name="connsiteY40" fmla="*/ 266811 h 1333436"/>
                <a:gd name="connsiteX41" fmla="*/ 430733 w 752994"/>
                <a:gd name="connsiteY41" fmla="*/ 265139 h 1333436"/>
                <a:gd name="connsiteX42" fmla="*/ 394839 w 752994"/>
                <a:gd name="connsiteY42" fmla="*/ 254739 h 1333436"/>
                <a:gd name="connsiteX43" fmla="*/ 381379 w 752994"/>
                <a:gd name="connsiteY43" fmla="*/ 252303 h 1333436"/>
                <a:gd name="connsiteX44" fmla="*/ 380962 w 752994"/>
                <a:gd name="connsiteY44" fmla="*/ 251895 h 1333436"/>
                <a:gd name="connsiteX45" fmla="*/ 365258 w 752994"/>
                <a:gd name="connsiteY45" fmla="*/ 245774 h 1333436"/>
                <a:gd name="connsiteX46" fmla="*/ 355067 w 752994"/>
                <a:gd name="connsiteY46" fmla="*/ 241285 h 1333436"/>
                <a:gd name="connsiteX47" fmla="*/ 350789 w 752994"/>
                <a:gd name="connsiteY47" fmla="*/ 244352 h 1333436"/>
                <a:gd name="connsiteX48" fmla="*/ 347920 w 752994"/>
                <a:gd name="connsiteY48" fmla="*/ 246998 h 1333436"/>
                <a:gd name="connsiteX49" fmla="*/ 340789 w 752994"/>
                <a:gd name="connsiteY49" fmla="*/ 243536 h 1333436"/>
                <a:gd name="connsiteX50" fmla="*/ 333034 w 752994"/>
                <a:gd name="connsiteY50" fmla="*/ 240271 h 1333436"/>
                <a:gd name="connsiteX51" fmla="*/ 323868 w 752994"/>
                <a:gd name="connsiteY51" fmla="*/ 241495 h 1333436"/>
                <a:gd name="connsiteX52" fmla="*/ 309783 w 752994"/>
                <a:gd name="connsiteY52" fmla="*/ 243536 h 1333436"/>
                <a:gd name="connsiteX53" fmla="*/ 297140 w 752994"/>
                <a:gd name="connsiteY53" fmla="*/ 245576 h 1333436"/>
                <a:gd name="connsiteX54" fmla="*/ 288775 w 752994"/>
                <a:gd name="connsiteY54" fmla="*/ 247406 h 1333436"/>
                <a:gd name="connsiteX55" fmla="*/ 280827 w 752994"/>
                <a:gd name="connsiteY55" fmla="*/ 242720 h 1333436"/>
                <a:gd name="connsiteX56" fmla="*/ 274497 w 752994"/>
                <a:gd name="connsiteY56" fmla="*/ 238441 h 1333436"/>
                <a:gd name="connsiteX57" fmla="*/ 269001 w 752994"/>
                <a:gd name="connsiteY57" fmla="*/ 240679 h 1333436"/>
                <a:gd name="connsiteX58" fmla="*/ 262880 w 752994"/>
                <a:gd name="connsiteY58" fmla="*/ 243128 h 1333436"/>
                <a:gd name="connsiteX59" fmla="*/ 260028 w 752994"/>
                <a:gd name="connsiteY59" fmla="*/ 242720 h 1333436"/>
                <a:gd name="connsiteX60" fmla="*/ 247994 w 752994"/>
                <a:gd name="connsiteY60" fmla="*/ 241693 h 1333436"/>
                <a:gd name="connsiteX61" fmla="*/ 242081 w 752994"/>
                <a:gd name="connsiteY61" fmla="*/ 234162 h 1333436"/>
                <a:gd name="connsiteX62" fmla="*/ 235142 w 752994"/>
                <a:gd name="connsiteY62" fmla="*/ 229476 h 1333436"/>
                <a:gd name="connsiteX63" fmla="*/ 224742 w 752994"/>
                <a:gd name="connsiteY63" fmla="*/ 226817 h 1333436"/>
                <a:gd name="connsiteX64" fmla="*/ 216778 w 752994"/>
                <a:gd name="connsiteY64" fmla="*/ 229068 h 1333436"/>
                <a:gd name="connsiteX65" fmla="*/ 202709 w 752994"/>
                <a:gd name="connsiteY65" fmla="*/ 230898 h 1333436"/>
                <a:gd name="connsiteX66" fmla="*/ 195162 w 752994"/>
                <a:gd name="connsiteY66" fmla="*/ 228857 h 1333436"/>
                <a:gd name="connsiteX67" fmla="*/ 188223 w 752994"/>
                <a:gd name="connsiteY67" fmla="*/ 223973 h 1333436"/>
                <a:gd name="connsiteX68" fmla="*/ 185163 w 752994"/>
                <a:gd name="connsiteY68" fmla="*/ 219484 h 1333436"/>
                <a:gd name="connsiteX69" fmla="*/ 184180 w 752994"/>
                <a:gd name="connsiteY69" fmla="*/ 213866 h 1333436"/>
                <a:gd name="connsiteX70" fmla="*/ 257159 w 752994"/>
                <a:gd name="connsiteY70" fmla="*/ 0 h 1333436"/>
                <a:gd name="connsiteX71" fmla="*/ 493147 w 752994"/>
                <a:gd name="connsiteY71" fmla="*/ 73157 h 1333436"/>
                <a:gd name="connsiteX72" fmla="*/ 492970 w 752994"/>
                <a:gd name="connsiteY72" fmla="*/ 73792 h 1333436"/>
                <a:gd name="connsiteX73" fmla="*/ 525816 w 752994"/>
                <a:gd name="connsiteY73" fmla="*/ 82491 h 1333436"/>
                <a:gd name="connsiteX74" fmla="*/ 520098 w 752994"/>
                <a:gd name="connsiteY74" fmla="*/ 111245 h 1333436"/>
                <a:gd name="connsiteX75" fmla="*/ 512552 w 752994"/>
                <a:gd name="connsiteY75" fmla="*/ 143854 h 1333436"/>
                <a:gd name="connsiteX76" fmla="*/ 517849 w 752994"/>
                <a:gd name="connsiteY76" fmla="*/ 157740 h 1333436"/>
                <a:gd name="connsiteX77" fmla="*/ 523160 w 752994"/>
                <a:gd name="connsiteY77" fmla="*/ 172009 h 1333436"/>
                <a:gd name="connsiteX78" fmla="*/ 521535 w 752994"/>
                <a:gd name="connsiteY78" fmla="*/ 178928 h 1333436"/>
                <a:gd name="connsiteX79" fmla="*/ 520098 w 752994"/>
                <a:gd name="connsiteY79" fmla="*/ 186279 h 1333436"/>
                <a:gd name="connsiteX80" fmla="*/ 526019 w 752994"/>
                <a:gd name="connsiteY80" fmla="*/ 193629 h 1333436"/>
                <a:gd name="connsiteX81" fmla="*/ 537251 w 752994"/>
                <a:gd name="connsiteY81" fmla="*/ 206270 h 1333436"/>
                <a:gd name="connsiteX82" fmla="*/ 542765 w 752994"/>
                <a:gd name="connsiteY82" fmla="*/ 217475 h 1333436"/>
                <a:gd name="connsiteX83" fmla="*/ 546857 w 752994"/>
                <a:gd name="connsiteY83" fmla="*/ 230930 h 1333436"/>
                <a:gd name="connsiteX84" fmla="*/ 549499 w 752994"/>
                <a:gd name="connsiteY84" fmla="*/ 235622 h 1333436"/>
                <a:gd name="connsiteX85" fmla="*/ 553388 w 752994"/>
                <a:gd name="connsiteY85" fmla="*/ 240722 h 1333436"/>
                <a:gd name="connsiteX86" fmla="*/ 557465 w 752994"/>
                <a:gd name="connsiteY86" fmla="*/ 246037 h 1333436"/>
                <a:gd name="connsiteX87" fmla="*/ 561761 w 752994"/>
                <a:gd name="connsiteY87" fmla="*/ 248671 h 1333436"/>
                <a:gd name="connsiteX88" fmla="*/ 567478 w 752994"/>
                <a:gd name="connsiteY88" fmla="*/ 247665 h 1333436"/>
                <a:gd name="connsiteX89" fmla="*/ 569931 w 752994"/>
                <a:gd name="connsiteY89" fmla="*/ 249293 h 1333436"/>
                <a:gd name="connsiteX90" fmla="*/ 570540 w 752994"/>
                <a:gd name="connsiteY90" fmla="*/ 251951 h 1333436"/>
                <a:gd name="connsiteX91" fmla="*/ 561964 w 752994"/>
                <a:gd name="connsiteY91" fmla="*/ 267656 h 1333436"/>
                <a:gd name="connsiteX92" fmla="*/ 553591 w 752994"/>
                <a:gd name="connsiteY92" fmla="*/ 289659 h 1333436"/>
                <a:gd name="connsiteX93" fmla="*/ 554810 w 752994"/>
                <a:gd name="connsiteY93" fmla="*/ 292939 h 1333436"/>
                <a:gd name="connsiteX94" fmla="*/ 556246 w 752994"/>
                <a:gd name="connsiteY94" fmla="*/ 299260 h 1333436"/>
                <a:gd name="connsiteX95" fmla="*/ 552778 w 752994"/>
                <a:gd name="connsiteY95" fmla="*/ 301917 h 1333436"/>
                <a:gd name="connsiteX96" fmla="*/ 549295 w 752994"/>
                <a:gd name="connsiteY96" fmla="*/ 306993 h 1333436"/>
                <a:gd name="connsiteX97" fmla="*/ 547061 w 752994"/>
                <a:gd name="connsiteY97" fmla="*/ 313122 h 1333436"/>
                <a:gd name="connsiteX98" fmla="*/ 544811 w 752994"/>
                <a:gd name="connsiteY98" fmla="*/ 316593 h 1333436"/>
                <a:gd name="connsiteX99" fmla="*/ 549919 w 752994"/>
                <a:gd name="connsiteY99" fmla="*/ 322698 h 1333436"/>
                <a:gd name="connsiteX100" fmla="*/ 553184 w 752994"/>
                <a:gd name="connsiteY100" fmla="*/ 325955 h 1333436"/>
                <a:gd name="connsiteX101" fmla="*/ 555840 w 752994"/>
                <a:gd name="connsiteY101" fmla="*/ 328205 h 1333436"/>
                <a:gd name="connsiteX102" fmla="*/ 574212 w 752994"/>
                <a:gd name="connsiteY102" fmla="*/ 318820 h 1333436"/>
                <a:gd name="connsiteX103" fmla="*/ 579523 w 752994"/>
                <a:gd name="connsiteY103" fmla="*/ 326577 h 1333436"/>
                <a:gd name="connsiteX104" fmla="*/ 580539 w 752994"/>
                <a:gd name="connsiteY104" fmla="*/ 334933 h 1333436"/>
                <a:gd name="connsiteX105" fmla="*/ 579726 w 752994"/>
                <a:gd name="connsiteY105" fmla="*/ 343097 h 1333436"/>
                <a:gd name="connsiteX106" fmla="*/ 581366 w 752994"/>
                <a:gd name="connsiteY106" fmla="*/ 350231 h 1333436"/>
                <a:gd name="connsiteX107" fmla="*/ 586256 w 752994"/>
                <a:gd name="connsiteY107" fmla="*/ 355930 h 1333436"/>
                <a:gd name="connsiteX108" fmla="*/ 589536 w 752994"/>
                <a:gd name="connsiteY108" fmla="*/ 362059 h 1333436"/>
                <a:gd name="connsiteX109" fmla="*/ 588099 w 752994"/>
                <a:gd name="connsiteY109" fmla="*/ 369600 h 1333436"/>
                <a:gd name="connsiteX110" fmla="*/ 586459 w 752994"/>
                <a:gd name="connsiteY110" fmla="*/ 377357 h 1333436"/>
                <a:gd name="connsiteX111" fmla="*/ 588709 w 752994"/>
                <a:gd name="connsiteY111" fmla="*/ 381835 h 1333436"/>
                <a:gd name="connsiteX112" fmla="*/ 595036 w 752994"/>
                <a:gd name="connsiteY112" fmla="*/ 382457 h 1333436"/>
                <a:gd name="connsiteX113" fmla="*/ 599331 w 752994"/>
                <a:gd name="connsiteY113" fmla="*/ 385306 h 1333436"/>
                <a:gd name="connsiteX114" fmla="*/ 601987 w 752994"/>
                <a:gd name="connsiteY114" fmla="*/ 391004 h 1333436"/>
                <a:gd name="connsiteX115" fmla="*/ 602799 w 752994"/>
                <a:gd name="connsiteY115" fmla="*/ 404076 h 1333436"/>
                <a:gd name="connsiteX116" fmla="*/ 606892 w 752994"/>
                <a:gd name="connsiteY116" fmla="*/ 415688 h 1333436"/>
                <a:gd name="connsiteX117" fmla="*/ 610563 w 752994"/>
                <a:gd name="connsiteY117" fmla="*/ 412217 h 1333436"/>
                <a:gd name="connsiteX118" fmla="*/ 617920 w 752994"/>
                <a:gd name="connsiteY118" fmla="*/ 408769 h 1333436"/>
                <a:gd name="connsiteX119" fmla="*/ 624654 w 752994"/>
                <a:gd name="connsiteY119" fmla="*/ 411211 h 1333436"/>
                <a:gd name="connsiteX120" fmla="*/ 634652 w 752994"/>
                <a:gd name="connsiteY120" fmla="*/ 410182 h 1333436"/>
                <a:gd name="connsiteX121" fmla="*/ 640573 w 752994"/>
                <a:gd name="connsiteY121" fmla="*/ 407739 h 1333436"/>
                <a:gd name="connsiteX122" fmla="*/ 646711 w 752994"/>
                <a:gd name="connsiteY122" fmla="*/ 410589 h 1333436"/>
                <a:gd name="connsiteX123" fmla="*/ 650383 w 752994"/>
                <a:gd name="connsiteY123" fmla="*/ 410589 h 1333436"/>
                <a:gd name="connsiteX124" fmla="*/ 654257 w 752994"/>
                <a:gd name="connsiteY124" fmla="*/ 411618 h 1333436"/>
                <a:gd name="connsiteX125" fmla="*/ 656913 w 752994"/>
                <a:gd name="connsiteY125" fmla="*/ 413653 h 1333436"/>
                <a:gd name="connsiteX126" fmla="*/ 660802 w 752994"/>
                <a:gd name="connsiteY126" fmla="*/ 415090 h 1333436"/>
                <a:gd name="connsiteX127" fmla="*/ 669581 w 752994"/>
                <a:gd name="connsiteY127" fmla="*/ 415904 h 1333436"/>
                <a:gd name="connsiteX128" fmla="*/ 672237 w 752994"/>
                <a:gd name="connsiteY128" fmla="*/ 415688 h 1333436"/>
                <a:gd name="connsiteX129" fmla="*/ 675705 w 752994"/>
                <a:gd name="connsiteY129" fmla="*/ 409367 h 1333436"/>
                <a:gd name="connsiteX130" fmla="*/ 679986 w 752994"/>
                <a:gd name="connsiteY130" fmla="*/ 403238 h 1333436"/>
                <a:gd name="connsiteX131" fmla="*/ 693264 w 752994"/>
                <a:gd name="connsiteY131" fmla="*/ 419567 h 1333436"/>
                <a:gd name="connsiteX132" fmla="*/ 688563 w 752994"/>
                <a:gd name="connsiteY132" fmla="*/ 448321 h 1333436"/>
                <a:gd name="connsiteX133" fmla="*/ 663949 w 752994"/>
                <a:gd name="connsiteY133" fmla="*/ 590165 h 1333436"/>
                <a:gd name="connsiteX134" fmla="*/ 666304 w 752994"/>
                <a:gd name="connsiteY134" fmla="*/ 590504 h 1333436"/>
                <a:gd name="connsiteX135" fmla="*/ 655288 w 752994"/>
                <a:gd name="connsiteY135" fmla="*/ 656178 h 1333436"/>
                <a:gd name="connsiteX136" fmla="*/ 681808 w 752994"/>
                <a:gd name="connsiteY136" fmla="*/ 662301 h 1333436"/>
                <a:gd name="connsiteX137" fmla="*/ 752994 w 752994"/>
                <a:gd name="connsiteY137" fmla="*/ 675560 h 1333436"/>
                <a:gd name="connsiteX138" fmla="*/ 714651 w 752994"/>
                <a:gd name="connsiteY138" fmla="*/ 946985 h 1333436"/>
                <a:gd name="connsiteX139" fmla="*/ 654533 w 752994"/>
                <a:gd name="connsiteY139" fmla="*/ 1333436 h 1333436"/>
                <a:gd name="connsiteX140" fmla="*/ 546831 w 752994"/>
                <a:gd name="connsiteY140" fmla="*/ 1317126 h 1333436"/>
                <a:gd name="connsiteX141" fmla="*/ 351227 w 752994"/>
                <a:gd name="connsiteY141" fmla="*/ 1194172 h 1333436"/>
                <a:gd name="connsiteX142" fmla="*/ 361011 w 752994"/>
                <a:gd name="connsiteY142" fmla="*/ 1182755 h 1333436"/>
                <a:gd name="connsiteX143" fmla="*/ 368981 w 752994"/>
                <a:gd name="connsiteY143" fmla="*/ 1182130 h 1333436"/>
                <a:gd name="connsiteX144" fmla="*/ 369571 w 752994"/>
                <a:gd name="connsiteY144" fmla="*/ 1181558 h 1333436"/>
                <a:gd name="connsiteX145" fmla="*/ 362372 w 752994"/>
                <a:gd name="connsiteY145" fmla="*/ 1182120 h 1333436"/>
                <a:gd name="connsiteX146" fmla="*/ 229464 w 752994"/>
                <a:gd name="connsiteY146" fmla="*/ 1161721 h 1333436"/>
                <a:gd name="connsiteX147" fmla="*/ 227427 w 752994"/>
                <a:gd name="connsiteY147" fmla="*/ 1157269 h 1333436"/>
                <a:gd name="connsiteX148" fmla="*/ 224967 w 752994"/>
                <a:gd name="connsiteY148" fmla="*/ 1152575 h 1333436"/>
                <a:gd name="connsiteX149" fmla="*/ 225582 w 752994"/>
                <a:gd name="connsiteY149" fmla="*/ 1144808 h 1333436"/>
                <a:gd name="connsiteX150" fmla="*/ 227215 w 752994"/>
                <a:gd name="connsiteY150" fmla="*/ 1135834 h 1333436"/>
                <a:gd name="connsiteX151" fmla="*/ 227215 w 752994"/>
                <a:gd name="connsiteY151" fmla="*/ 1134212 h 1333436"/>
                <a:gd name="connsiteX152" fmla="*/ 225179 w 752994"/>
                <a:gd name="connsiteY152" fmla="*/ 1114020 h 1333436"/>
                <a:gd name="connsiteX153" fmla="*/ 217839 w 752994"/>
                <a:gd name="connsiteY153" fmla="*/ 1100352 h 1333436"/>
                <a:gd name="connsiteX154" fmla="*/ 199661 w 752994"/>
                <a:gd name="connsiteY154" fmla="*/ 1076502 h 1333436"/>
                <a:gd name="connsiteX155" fmla="*/ 196395 w 752994"/>
                <a:gd name="connsiteY155" fmla="*/ 1071807 h 1333436"/>
                <a:gd name="connsiteX156" fmla="*/ 190880 w 752994"/>
                <a:gd name="connsiteY156" fmla="*/ 1067527 h 1333436"/>
                <a:gd name="connsiteX157" fmla="*/ 187210 w 752994"/>
                <a:gd name="connsiteY157" fmla="*/ 1068735 h 1333436"/>
                <a:gd name="connsiteX158" fmla="*/ 180062 w 752994"/>
                <a:gd name="connsiteY158" fmla="*/ 1066699 h 1333436"/>
                <a:gd name="connsiteX159" fmla="*/ 180466 w 752994"/>
                <a:gd name="connsiteY159" fmla="*/ 1053031 h 1333436"/>
                <a:gd name="connsiteX160" fmla="*/ 180062 w 752994"/>
                <a:gd name="connsiteY160" fmla="*/ 1045299 h 1333436"/>
                <a:gd name="connsiteX161" fmla="*/ 174144 w 752994"/>
                <a:gd name="connsiteY161" fmla="*/ 1044057 h 1333436"/>
                <a:gd name="connsiteX162" fmla="*/ 158426 w 752994"/>
                <a:gd name="connsiteY162" fmla="*/ 1042641 h 1333436"/>
                <a:gd name="connsiteX163" fmla="*/ 149857 w 752994"/>
                <a:gd name="connsiteY163" fmla="*/ 1035497 h 1333436"/>
                <a:gd name="connsiteX164" fmla="*/ 142497 w 752994"/>
                <a:gd name="connsiteY164" fmla="*/ 1028766 h 1333436"/>
                <a:gd name="connsiteX165" fmla="*/ 140864 w 752994"/>
                <a:gd name="connsiteY165" fmla="*/ 1020620 h 1333436"/>
                <a:gd name="connsiteX166" fmla="*/ 138212 w 752994"/>
                <a:gd name="connsiteY166" fmla="*/ 1013061 h 1333436"/>
                <a:gd name="connsiteX167" fmla="*/ 131064 w 752994"/>
                <a:gd name="connsiteY167" fmla="*/ 1007159 h 1333436"/>
                <a:gd name="connsiteX168" fmla="*/ 121264 w 752994"/>
                <a:gd name="connsiteY168" fmla="*/ 1005330 h 1333436"/>
                <a:gd name="connsiteX169" fmla="*/ 112483 w 752994"/>
                <a:gd name="connsiteY169" fmla="*/ 1001671 h 1333436"/>
                <a:gd name="connsiteX170" fmla="*/ 105950 w 752994"/>
                <a:gd name="connsiteY170" fmla="*/ 995734 h 1333436"/>
                <a:gd name="connsiteX171" fmla="*/ 97380 w 752994"/>
                <a:gd name="connsiteY171" fmla="*/ 994526 h 1333436"/>
                <a:gd name="connsiteX172" fmla="*/ 87984 w 752994"/>
                <a:gd name="connsiteY172" fmla="*/ 991040 h 1333436"/>
                <a:gd name="connsiteX173" fmla="*/ 80029 w 752994"/>
                <a:gd name="connsiteY173" fmla="*/ 985138 h 1333436"/>
                <a:gd name="connsiteX174" fmla="*/ 77166 w 752994"/>
                <a:gd name="connsiteY174" fmla="*/ 976164 h 1333436"/>
                <a:gd name="connsiteX175" fmla="*/ 79203 w 752994"/>
                <a:gd name="connsiteY175" fmla="*/ 970676 h 1333436"/>
                <a:gd name="connsiteX176" fmla="*/ 82470 w 752994"/>
                <a:gd name="connsiteY176" fmla="*/ 963117 h 1333436"/>
                <a:gd name="connsiteX177" fmla="*/ 84314 w 752994"/>
                <a:gd name="connsiteY177" fmla="*/ 954557 h 1333436"/>
                <a:gd name="connsiteX178" fmla="*/ 86351 w 752994"/>
                <a:gd name="connsiteY178" fmla="*/ 948033 h 1333436"/>
                <a:gd name="connsiteX179" fmla="*/ 86159 w 752994"/>
                <a:gd name="connsiteY179" fmla="*/ 942925 h 1333436"/>
                <a:gd name="connsiteX180" fmla="*/ 83085 w 752994"/>
                <a:gd name="connsiteY180" fmla="*/ 939853 h 1333436"/>
                <a:gd name="connsiteX181" fmla="*/ 77570 w 752994"/>
                <a:gd name="connsiteY181" fmla="*/ 937437 h 1333436"/>
                <a:gd name="connsiteX182" fmla="*/ 76763 w 752994"/>
                <a:gd name="connsiteY182" fmla="*/ 931915 h 1333436"/>
                <a:gd name="connsiteX183" fmla="*/ 78800 w 752994"/>
                <a:gd name="connsiteY183" fmla="*/ 927013 h 1333436"/>
                <a:gd name="connsiteX184" fmla="*/ 79626 w 752994"/>
                <a:gd name="connsiteY184" fmla="*/ 922526 h 1333436"/>
                <a:gd name="connsiteX185" fmla="*/ 77781 w 752994"/>
                <a:gd name="connsiteY185" fmla="*/ 919903 h 1333436"/>
                <a:gd name="connsiteX186" fmla="*/ 74303 w 752994"/>
                <a:gd name="connsiteY186" fmla="*/ 917418 h 1333436"/>
                <a:gd name="connsiteX187" fmla="*/ 71863 w 752994"/>
                <a:gd name="connsiteY187" fmla="*/ 915174 h 1333436"/>
                <a:gd name="connsiteX188" fmla="*/ 71652 w 752994"/>
                <a:gd name="connsiteY188" fmla="*/ 910894 h 1333436"/>
                <a:gd name="connsiteX189" fmla="*/ 70633 w 752994"/>
                <a:gd name="connsiteY189" fmla="*/ 906614 h 1333436"/>
                <a:gd name="connsiteX190" fmla="*/ 68385 w 752994"/>
                <a:gd name="connsiteY190" fmla="*/ 902749 h 1333436"/>
                <a:gd name="connsiteX191" fmla="*/ 61045 w 752994"/>
                <a:gd name="connsiteY191" fmla="*/ 889494 h 1333436"/>
                <a:gd name="connsiteX192" fmla="*/ 57971 w 752994"/>
                <a:gd name="connsiteY192" fmla="*/ 875619 h 1333436"/>
                <a:gd name="connsiteX193" fmla="*/ 52264 w 752994"/>
                <a:gd name="connsiteY193" fmla="*/ 862572 h 1333436"/>
                <a:gd name="connsiteX194" fmla="*/ 44309 w 752994"/>
                <a:gd name="connsiteY194" fmla="*/ 850561 h 1333436"/>
                <a:gd name="connsiteX195" fmla="*/ 45520 w 752994"/>
                <a:gd name="connsiteY195" fmla="*/ 827090 h 1333436"/>
                <a:gd name="connsiteX196" fmla="*/ 53071 w 752994"/>
                <a:gd name="connsiteY196" fmla="*/ 822396 h 1333436"/>
                <a:gd name="connsiteX197" fmla="*/ 57375 w 752994"/>
                <a:gd name="connsiteY197" fmla="*/ 816493 h 1333436"/>
                <a:gd name="connsiteX198" fmla="*/ 55319 w 752994"/>
                <a:gd name="connsiteY198" fmla="*/ 801617 h 1333436"/>
                <a:gd name="connsiteX199" fmla="*/ 48383 w 752994"/>
                <a:gd name="connsiteY199" fmla="*/ 802204 h 1333436"/>
                <a:gd name="connsiteX200" fmla="*/ 40428 w 752994"/>
                <a:gd name="connsiteY200" fmla="*/ 797924 h 1333436"/>
                <a:gd name="connsiteX201" fmla="*/ 37565 w 752994"/>
                <a:gd name="connsiteY201" fmla="*/ 790606 h 1333436"/>
                <a:gd name="connsiteX202" fmla="*/ 37565 w 752994"/>
                <a:gd name="connsiteY202" fmla="*/ 790399 h 1333436"/>
                <a:gd name="connsiteX203" fmla="*/ 35931 w 752994"/>
                <a:gd name="connsiteY203" fmla="*/ 785912 h 1333436"/>
                <a:gd name="connsiteX204" fmla="*/ 34510 w 752994"/>
                <a:gd name="connsiteY204" fmla="*/ 780597 h 1333436"/>
                <a:gd name="connsiteX205" fmla="*/ 36335 w 752994"/>
                <a:gd name="connsiteY205" fmla="*/ 774280 h 1333436"/>
                <a:gd name="connsiteX206" fmla="*/ 38180 w 752994"/>
                <a:gd name="connsiteY206" fmla="*/ 766721 h 1333436"/>
                <a:gd name="connsiteX207" fmla="*/ 37161 w 752994"/>
                <a:gd name="connsiteY207" fmla="*/ 760405 h 1333436"/>
                <a:gd name="connsiteX208" fmla="*/ 35720 w 752994"/>
                <a:gd name="connsiteY208" fmla="*/ 754710 h 1333436"/>
                <a:gd name="connsiteX209" fmla="*/ 36546 w 752994"/>
                <a:gd name="connsiteY209" fmla="*/ 748773 h 1333436"/>
                <a:gd name="connsiteX210" fmla="*/ 38372 w 752994"/>
                <a:gd name="connsiteY210" fmla="*/ 744528 h 1333436"/>
                <a:gd name="connsiteX211" fmla="*/ 41638 w 752994"/>
                <a:gd name="connsiteY211" fmla="*/ 744321 h 1333436"/>
                <a:gd name="connsiteX212" fmla="*/ 44713 w 752994"/>
                <a:gd name="connsiteY212" fmla="*/ 746357 h 1333436"/>
                <a:gd name="connsiteX213" fmla="*/ 47364 w 752994"/>
                <a:gd name="connsiteY213" fmla="*/ 753260 h 1333436"/>
                <a:gd name="connsiteX214" fmla="*/ 55742 w 752994"/>
                <a:gd name="connsiteY214" fmla="*/ 764305 h 1333436"/>
                <a:gd name="connsiteX215" fmla="*/ 56338 w 752994"/>
                <a:gd name="connsiteY215" fmla="*/ 761233 h 1333436"/>
                <a:gd name="connsiteX216" fmla="*/ 56145 w 752994"/>
                <a:gd name="connsiteY216" fmla="*/ 757368 h 1333436"/>
                <a:gd name="connsiteX217" fmla="*/ 54916 w 752994"/>
                <a:gd name="connsiteY217" fmla="*/ 748601 h 1333436"/>
                <a:gd name="connsiteX218" fmla="*/ 52879 w 752994"/>
                <a:gd name="connsiteY218" fmla="*/ 747358 h 1333436"/>
                <a:gd name="connsiteX219" fmla="*/ 51649 w 752994"/>
                <a:gd name="connsiteY219" fmla="*/ 745322 h 1333436"/>
                <a:gd name="connsiteX220" fmla="*/ 51649 w 752994"/>
                <a:gd name="connsiteY220" fmla="*/ 739212 h 1333436"/>
                <a:gd name="connsiteX221" fmla="*/ 50227 w 752994"/>
                <a:gd name="connsiteY221" fmla="*/ 734725 h 1333436"/>
                <a:gd name="connsiteX222" fmla="*/ 48786 w 752994"/>
                <a:gd name="connsiteY222" fmla="*/ 731446 h 1333436"/>
                <a:gd name="connsiteX223" fmla="*/ 54512 w 752994"/>
                <a:gd name="connsiteY223" fmla="*/ 726372 h 1333436"/>
                <a:gd name="connsiteX224" fmla="*/ 59815 w 752994"/>
                <a:gd name="connsiteY224" fmla="*/ 725130 h 1333436"/>
                <a:gd name="connsiteX225" fmla="*/ 58182 w 752994"/>
                <a:gd name="connsiteY225" fmla="*/ 722886 h 1333436"/>
                <a:gd name="connsiteX226" fmla="*/ 51861 w 752994"/>
                <a:gd name="connsiteY226" fmla="*/ 717985 h 1333436"/>
                <a:gd name="connsiteX227" fmla="*/ 46749 w 752994"/>
                <a:gd name="connsiteY227" fmla="*/ 729617 h 1333436"/>
                <a:gd name="connsiteX228" fmla="*/ 40831 w 752994"/>
                <a:gd name="connsiteY228" fmla="*/ 739212 h 1333436"/>
                <a:gd name="connsiteX229" fmla="*/ 39601 w 752994"/>
                <a:gd name="connsiteY229" fmla="*/ 738798 h 1333436"/>
                <a:gd name="connsiteX230" fmla="*/ 39409 w 752994"/>
                <a:gd name="connsiteY230" fmla="*/ 738591 h 1333436"/>
                <a:gd name="connsiteX231" fmla="*/ 37161 w 752994"/>
                <a:gd name="connsiteY231" fmla="*/ 734725 h 1333436"/>
                <a:gd name="connsiteX232" fmla="*/ 32665 w 752994"/>
                <a:gd name="connsiteY232" fmla="*/ 727788 h 1333436"/>
                <a:gd name="connsiteX233" fmla="*/ 26747 w 752994"/>
                <a:gd name="connsiteY233" fmla="*/ 719435 h 1333436"/>
                <a:gd name="connsiteX234" fmla="*/ 23884 w 752994"/>
                <a:gd name="connsiteY234" fmla="*/ 717812 h 1333436"/>
                <a:gd name="connsiteX235" fmla="*/ 24710 w 752994"/>
                <a:gd name="connsiteY235" fmla="*/ 709632 h 1333436"/>
                <a:gd name="connsiteX236" fmla="*/ 27554 w 752994"/>
                <a:gd name="connsiteY236" fmla="*/ 701694 h 1333436"/>
                <a:gd name="connsiteX237" fmla="*/ 24902 w 752994"/>
                <a:gd name="connsiteY237" fmla="*/ 696171 h 1333436"/>
                <a:gd name="connsiteX238" fmla="*/ 24095 w 752994"/>
                <a:gd name="connsiteY238" fmla="*/ 687818 h 1333436"/>
                <a:gd name="connsiteX239" fmla="*/ 22462 w 752994"/>
                <a:gd name="connsiteY239" fmla="*/ 682330 h 1333436"/>
                <a:gd name="connsiteX240" fmla="*/ 17159 w 752994"/>
                <a:gd name="connsiteY240" fmla="*/ 677636 h 1333436"/>
                <a:gd name="connsiteX241" fmla="*/ 14296 w 752994"/>
                <a:gd name="connsiteY241" fmla="*/ 671492 h 1333436"/>
                <a:gd name="connsiteX242" fmla="*/ 12451 w 752994"/>
                <a:gd name="connsiteY242" fmla="*/ 665797 h 1333436"/>
                <a:gd name="connsiteX243" fmla="*/ 5111 w 752994"/>
                <a:gd name="connsiteY243" fmla="*/ 654994 h 1333436"/>
                <a:gd name="connsiteX244" fmla="*/ 2248 w 752994"/>
                <a:gd name="connsiteY244" fmla="*/ 645605 h 1333436"/>
                <a:gd name="connsiteX245" fmla="*/ 4496 w 752994"/>
                <a:gd name="connsiteY245" fmla="*/ 640497 h 1333436"/>
                <a:gd name="connsiteX246" fmla="*/ 6744 w 752994"/>
                <a:gd name="connsiteY246" fmla="*/ 632765 h 1333436"/>
                <a:gd name="connsiteX247" fmla="*/ 6744 w 752994"/>
                <a:gd name="connsiteY247" fmla="*/ 628485 h 1333436"/>
                <a:gd name="connsiteX248" fmla="*/ 6533 w 752994"/>
                <a:gd name="connsiteY248" fmla="*/ 620305 h 1333436"/>
                <a:gd name="connsiteX249" fmla="*/ 7359 w 752994"/>
                <a:gd name="connsiteY249" fmla="*/ 611745 h 1333436"/>
                <a:gd name="connsiteX250" fmla="*/ 11836 w 752994"/>
                <a:gd name="connsiteY250" fmla="*/ 602978 h 1333436"/>
                <a:gd name="connsiteX251" fmla="*/ 15103 w 752994"/>
                <a:gd name="connsiteY251" fmla="*/ 591760 h 1333436"/>
                <a:gd name="connsiteX252" fmla="*/ 14488 w 752994"/>
                <a:gd name="connsiteY252" fmla="*/ 584029 h 1333436"/>
                <a:gd name="connsiteX253" fmla="*/ 13873 w 752994"/>
                <a:gd name="connsiteY253" fmla="*/ 578299 h 1333436"/>
                <a:gd name="connsiteX254" fmla="*/ 10626 w 752994"/>
                <a:gd name="connsiteY254" fmla="*/ 568531 h 1333436"/>
                <a:gd name="connsiteX255" fmla="*/ 3670 w 752994"/>
                <a:gd name="connsiteY255" fmla="*/ 558107 h 1333436"/>
                <a:gd name="connsiteX256" fmla="*/ 0 w 752994"/>
                <a:gd name="connsiteY256" fmla="*/ 551377 h 1333436"/>
                <a:gd name="connsiteX257" fmla="*/ 0 w 752994"/>
                <a:gd name="connsiteY257" fmla="*/ 550997 h 1333436"/>
                <a:gd name="connsiteX258" fmla="*/ 4900 w 752994"/>
                <a:gd name="connsiteY258" fmla="*/ 531220 h 1333436"/>
                <a:gd name="connsiteX259" fmla="*/ 13873 w 752994"/>
                <a:gd name="connsiteY259" fmla="*/ 520589 h 1333436"/>
                <a:gd name="connsiteX260" fmla="*/ 18369 w 752994"/>
                <a:gd name="connsiteY260" fmla="*/ 516516 h 1333436"/>
                <a:gd name="connsiteX261" fmla="*/ 18773 w 752994"/>
                <a:gd name="connsiteY261" fmla="*/ 514272 h 1333436"/>
                <a:gd name="connsiteX262" fmla="*/ 23077 w 752994"/>
                <a:gd name="connsiteY262" fmla="*/ 506127 h 1333436"/>
                <a:gd name="connsiteX263" fmla="*/ 23884 w 752994"/>
                <a:gd name="connsiteY263" fmla="*/ 502261 h 1333436"/>
                <a:gd name="connsiteX264" fmla="*/ 23692 w 752994"/>
                <a:gd name="connsiteY264" fmla="*/ 496738 h 1333436"/>
                <a:gd name="connsiteX265" fmla="*/ 30013 w 752994"/>
                <a:gd name="connsiteY265" fmla="*/ 486556 h 1333436"/>
                <a:gd name="connsiteX266" fmla="*/ 36546 w 752994"/>
                <a:gd name="connsiteY266" fmla="*/ 470230 h 1333436"/>
                <a:gd name="connsiteX267" fmla="*/ 36546 w 752994"/>
                <a:gd name="connsiteY267" fmla="*/ 462671 h 1333436"/>
                <a:gd name="connsiteX268" fmla="*/ 36335 w 752994"/>
                <a:gd name="connsiteY268" fmla="*/ 461670 h 1333436"/>
                <a:gd name="connsiteX269" fmla="*/ 35931 w 752994"/>
                <a:gd name="connsiteY269" fmla="*/ 453110 h 1333436"/>
                <a:gd name="connsiteX270" fmla="*/ 38583 w 752994"/>
                <a:gd name="connsiteY270" fmla="*/ 442514 h 1333436"/>
                <a:gd name="connsiteX271" fmla="*/ 41043 w 752994"/>
                <a:gd name="connsiteY271" fmla="*/ 436991 h 1333436"/>
                <a:gd name="connsiteX272" fmla="*/ 41650 w 752994"/>
                <a:gd name="connsiteY272" fmla="*/ 437186 h 1333436"/>
                <a:gd name="connsiteX273" fmla="*/ 41239 w 752994"/>
                <a:gd name="connsiteY273" fmla="*/ 436549 h 1333436"/>
                <a:gd name="connsiteX274" fmla="*/ 37778 w 752994"/>
                <a:gd name="connsiteY274" fmla="*/ 433894 h 1333436"/>
                <a:gd name="connsiteX275" fmla="*/ 37169 w 752994"/>
                <a:gd name="connsiteY275" fmla="*/ 432261 h 1333436"/>
                <a:gd name="connsiteX276" fmla="*/ 37365 w 752994"/>
                <a:gd name="connsiteY276" fmla="*/ 429198 h 1333436"/>
                <a:gd name="connsiteX277" fmla="*/ 36756 w 752994"/>
                <a:gd name="connsiteY277" fmla="*/ 422272 h 1333436"/>
                <a:gd name="connsiteX278" fmla="*/ 36952 w 752994"/>
                <a:gd name="connsiteY278" fmla="*/ 418800 h 1333436"/>
                <a:gd name="connsiteX279" fmla="*/ 36756 w 752994"/>
                <a:gd name="connsiteY279" fmla="*/ 412487 h 1333436"/>
                <a:gd name="connsiteX280" fmla="*/ 40433 w 752994"/>
                <a:gd name="connsiteY280" fmla="*/ 406174 h 1333436"/>
                <a:gd name="connsiteX281" fmla="*/ 44720 w 752994"/>
                <a:gd name="connsiteY281" fmla="*/ 399435 h 1333436"/>
                <a:gd name="connsiteX282" fmla="*/ 44110 w 752994"/>
                <a:gd name="connsiteY282" fmla="*/ 389651 h 1333436"/>
                <a:gd name="connsiteX283" fmla="*/ 43894 w 752994"/>
                <a:gd name="connsiteY283" fmla="*/ 378437 h 1333436"/>
                <a:gd name="connsiteX284" fmla="*/ 47158 w 752994"/>
                <a:gd name="connsiteY284" fmla="*/ 371102 h 1333436"/>
                <a:gd name="connsiteX285" fmla="*/ 55731 w 752994"/>
                <a:gd name="connsiteY285" fmla="*/ 360909 h 1333436"/>
                <a:gd name="connsiteX286" fmla="*/ 57580 w 752994"/>
                <a:gd name="connsiteY286" fmla="*/ 355804 h 1333436"/>
                <a:gd name="connsiteX287" fmla="*/ 62673 w 752994"/>
                <a:gd name="connsiteY287" fmla="*/ 349695 h 1333436"/>
                <a:gd name="connsiteX288" fmla="*/ 65937 w 752994"/>
                <a:gd name="connsiteY288" fmla="*/ 348470 h 1333436"/>
                <a:gd name="connsiteX289" fmla="*/ 68395 w 752994"/>
                <a:gd name="connsiteY289" fmla="*/ 348674 h 1333436"/>
                <a:gd name="connsiteX290" fmla="*/ 70224 w 752994"/>
                <a:gd name="connsiteY290" fmla="*/ 347449 h 1333436"/>
                <a:gd name="connsiteX291" fmla="*/ 67785 w 752994"/>
                <a:gd name="connsiteY291" fmla="*/ 345203 h 1333436"/>
                <a:gd name="connsiteX292" fmla="*/ 65524 w 752994"/>
                <a:gd name="connsiteY292" fmla="*/ 343178 h 1333436"/>
                <a:gd name="connsiteX293" fmla="*/ 73095 w 752994"/>
                <a:gd name="connsiteY293" fmla="*/ 333376 h 1333436"/>
                <a:gd name="connsiteX294" fmla="*/ 73291 w 752994"/>
                <a:gd name="connsiteY294" fmla="*/ 333376 h 1333436"/>
                <a:gd name="connsiteX295" fmla="*/ 77991 w 752994"/>
                <a:gd name="connsiteY295" fmla="*/ 325838 h 1333436"/>
                <a:gd name="connsiteX296" fmla="*/ 82671 w 752994"/>
                <a:gd name="connsiteY296" fmla="*/ 313619 h 1333436"/>
                <a:gd name="connsiteX297" fmla="*/ 87980 w 752994"/>
                <a:gd name="connsiteY297" fmla="*/ 303018 h 1333436"/>
                <a:gd name="connsiteX298" fmla="*/ 92267 w 752994"/>
                <a:gd name="connsiteY298" fmla="*/ 291191 h 1333436"/>
                <a:gd name="connsiteX299" fmla="*/ 96553 w 752994"/>
                <a:gd name="connsiteY299" fmla="*/ 281202 h 1333436"/>
                <a:gd name="connsiteX300" fmla="*/ 99621 w 752994"/>
                <a:gd name="connsiteY300" fmla="*/ 274481 h 1333436"/>
                <a:gd name="connsiteX301" fmla="*/ 103082 w 752994"/>
                <a:gd name="connsiteY301" fmla="*/ 262450 h 1333436"/>
                <a:gd name="connsiteX302" fmla="*/ 107172 w 752994"/>
                <a:gd name="connsiteY302" fmla="*/ 254299 h 1333436"/>
                <a:gd name="connsiteX303" fmla="*/ 112481 w 752994"/>
                <a:gd name="connsiteY303" fmla="*/ 243697 h 1333436"/>
                <a:gd name="connsiteX304" fmla="*/ 117181 w 752994"/>
                <a:gd name="connsiteY304" fmla="*/ 232279 h 1333436"/>
                <a:gd name="connsiteX305" fmla="*/ 125951 w 752994"/>
                <a:gd name="connsiteY305" fmla="*/ 217389 h 1333436"/>
                <a:gd name="connsiteX306" fmla="*/ 136156 w 752994"/>
                <a:gd name="connsiteY306" fmla="*/ 202925 h 1333436"/>
                <a:gd name="connsiteX307" fmla="*/ 138811 w 752994"/>
                <a:gd name="connsiteY307" fmla="*/ 183339 h 1333436"/>
                <a:gd name="connsiteX308" fmla="*/ 148801 w 752994"/>
                <a:gd name="connsiteY308" fmla="*/ 167445 h 1333436"/>
                <a:gd name="connsiteX309" fmla="*/ 159616 w 752994"/>
                <a:gd name="connsiteY309" fmla="*/ 170712 h 1333436"/>
                <a:gd name="connsiteX310" fmla="*/ 173105 w 752994"/>
                <a:gd name="connsiteY310" fmla="*/ 175188 h 1333436"/>
                <a:gd name="connsiteX311" fmla="*/ 175347 w 752994"/>
                <a:gd name="connsiteY311" fmla="*/ 175188 h 1333436"/>
                <a:gd name="connsiteX312" fmla="*/ 175347 w 752994"/>
                <a:gd name="connsiteY312" fmla="*/ 173758 h 1333436"/>
                <a:gd name="connsiteX313" fmla="*/ 184975 w 752994"/>
                <a:gd name="connsiteY313" fmla="*/ 187393 h 1333436"/>
                <a:gd name="connsiteX314" fmla="*/ 184762 w 752994"/>
                <a:gd name="connsiteY314" fmla="*/ 184637 h 1333436"/>
                <a:gd name="connsiteX315" fmla="*/ 174971 w 752994"/>
                <a:gd name="connsiteY315" fmla="*/ 170774 h 1333436"/>
                <a:gd name="connsiteX316" fmla="*/ 174971 w 752994"/>
                <a:gd name="connsiteY316" fmla="*/ 169550 h 1333436"/>
                <a:gd name="connsiteX317" fmla="*/ 158851 w 752994"/>
                <a:gd name="connsiteY317" fmla="*/ 156924 h 1333436"/>
                <a:gd name="connsiteX318" fmla="*/ 147025 w 752994"/>
                <a:gd name="connsiteY318" fmla="*/ 145709 h 1333436"/>
                <a:gd name="connsiteX319" fmla="*/ 154364 w 752994"/>
                <a:gd name="connsiteY319" fmla="*/ 136335 h 1333436"/>
                <a:gd name="connsiteX320" fmla="*/ 161511 w 752994"/>
                <a:gd name="connsiteY320" fmla="*/ 131042 h 1333436"/>
                <a:gd name="connsiteX321" fmla="*/ 160902 w 752994"/>
                <a:gd name="connsiteY321" fmla="*/ 128384 h 1333436"/>
                <a:gd name="connsiteX322" fmla="*/ 160277 w 752994"/>
                <a:gd name="connsiteY322" fmla="*/ 127778 h 1333436"/>
                <a:gd name="connsiteX323" fmla="*/ 154973 w 752994"/>
                <a:gd name="connsiteY323" fmla="*/ 122077 h 1333436"/>
                <a:gd name="connsiteX324" fmla="*/ 160277 w 752994"/>
                <a:gd name="connsiteY324" fmla="*/ 115140 h 1333436"/>
                <a:gd name="connsiteX325" fmla="*/ 165181 w 752994"/>
                <a:gd name="connsiteY325" fmla="*/ 108215 h 1333436"/>
                <a:gd name="connsiteX326" fmla="*/ 161303 w 752994"/>
                <a:gd name="connsiteY326" fmla="*/ 104146 h 1333436"/>
                <a:gd name="connsiteX327" fmla="*/ 157842 w 752994"/>
                <a:gd name="connsiteY327" fmla="*/ 104542 h 1333436"/>
                <a:gd name="connsiteX328" fmla="*/ 157024 w 752994"/>
                <a:gd name="connsiteY328" fmla="*/ 102304 h 1333436"/>
                <a:gd name="connsiteX329" fmla="*/ 160694 w 752994"/>
                <a:gd name="connsiteY329" fmla="*/ 55437 h 1333436"/>
                <a:gd name="connsiteX330" fmla="*/ 160486 w 752994"/>
                <a:gd name="connsiteY330" fmla="*/ 31991 h 1333436"/>
                <a:gd name="connsiteX331" fmla="*/ 164972 w 752994"/>
                <a:gd name="connsiteY331" fmla="*/ 18141 h 1333436"/>
                <a:gd name="connsiteX332" fmla="*/ 171911 w 752994"/>
                <a:gd name="connsiteY332" fmla="*/ 11204 h 1333436"/>
                <a:gd name="connsiteX333" fmla="*/ 187406 w 752994"/>
                <a:gd name="connsiteY333" fmla="*/ 21801 h 1333436"/>
                <a:gd name="connsiteX334" fmla="*/ 210866 w 752994"/>
                <a:gd name="connsiteY334" fmla="*/ 37086 h 1333436"/>
                <a:gd name="connsiteX335" fmla="*/ 219230 w 752994"/>
                <a:gd name="connsiteY335" fmla="*/ 41166 h 1333436"/>
                <a:gd name="connsiteX336" fmla="*/ 226778 w 752994"/>
                <a:gd name="connsiteY336" fmla="*/ 47486 h 1333436"/>
                <a:gd name="connsiteX337" fmla="*/ 236152 w 752994"/>
                <a:gd name="connsiteY337" fmla="*/ 52370 h 1333436"/>
                <a:gd name="connsiteX338" fmla="*/ 239629 w 752994"/>
                <a:gd name="connsiteY338" fmla="*/ 58491 h 1333436"/>
                <a:gd name="connsiteX339" fmla="*/ 239629 w 752994"/>
                <a:gd name="connsiteY339" fmla="*/ 63376 h 1333436"/>
                <a:gd name="connsiteX340" fmla="*/ 236568 w 752994"/>
                <a:gd name="connsiteY340" fmla="*/ 67457 h 1333436"/>
                <a:gd name="connsiteX341" fmla="*/ 231264 w 752994"/>
                <a:gd name="connsiteY341" fmla="*/ 69905 h 1333436"/>
                <a:gd name="connsiteX342" fmla="*/ 216778 w 752994"/>
                <a:gd name="connsiteY342" fmla="*/ 82741 h 1333436"/>
                <a:gd name="connsiteX343" fmla="*/ 214134 w 752994"/>
                <a:gd name="connsiteY343" fmla="*/ 93536 h 1333436"/>
                <a:gd name="connsiteX344" fmla="*/ 214535 w 752994"/>
                <a:gd name="connsiteY344" fmla="*/ 96801 h 1333436"/>
                <a:gd name="connsiteX345" fmla="*/ 216378 w 752994"/>
                <a:gd name="connsiteY345" fmla="*/ 96801 h 1333436"/>
                <a:gd name="connsiteX346" fmla="*/ 230046 w 752994"/>
                <a:gd name="connsiteY346" fmla="*/ 85387 h 1333436"/>
                <a:gd name="connsiteX347" fmla="*/ 243298 w 752994"/>
                <a:gd name="connsiteY347" fmla="*/ 75198 h 1333436"/>
                <a:gd name="connsiteX348" fmla="*/ 246760 w 752994"/>
                <a:gd name="connsiteY348" fmla="*/ 77646 h 1333436"/>
                <a:gd name="connsiteX349" fmla="*/ 255541 w 752994"/>
                <a:gd name="connsiteY349" fmla="*/ 63376 h 1333436"/>
                <a:gd name="connsiteX350" fmla="*/ 259611 w 752994"/>
                <a:gd name="connsiteY350" fmla="*/ 43405 h 1333436"/>
                <a:gd name="connsiteX351" fmla="*/ 256967 w 752994"/>
                <a:gd name="connsiteY351" fmla="*/ 38520 h 1333436"/>
                <a:gd name="connsiteX352" fmla="*/ 253906 w 752994"/>
                <a:gd name="connsiteY352" fmla="*/ 34242 h 1333436"/>
                <a:gd name="connsiteX353" fmla="*/ 256967 w 752994"/>
                <a:gd name="connsiteY353" fmla="*/ 30161 h 1333436"/>
                <a:gd name="connsiteX354" fmla="*/ 262063 w 752994"/>
                <a:gd name="connsiteY354" fmla="*/ 27712 h 1333436"/>
                <a:gd name="connsiteX355" fmla="*/ 264915 w 752994"/>
                <a:gd name="connsiteY355" fmla="*/ 23026 h 1333436"/>
                <a:gd name="connsiteX356" fmla="*/ 267976 w 752994"/>
                <a:gd name="connsiteY356" fmla="*/ 22618 h 1333436"/>
                <a:gd name="connsiteX357" fmla="*/ 270427 w 752994"/>
                <a:gd name="connsiteY357" fmla="*/ 20787 h 1333436"/>
                <a:gd name="connsiteX358" fmla="*/ 263088 w 752994"/>
                <a:gd name="connsiteY358" fmla="*/ 13652 h 1333436"/>
                <a:gd name="connsiteX359" fmla="*/ 255541 w 752994"/>
                <a:gd name="connsiteY359" fmla="*/ 3055 h 1333436"/>
                <a:gd name="connsiteX360" fmla="*/ 256358 w 752994"/>
                <a:gd name="connsiteY360" fmla="*/ 1224 h 1333436"/>
                <a:gd name="connsiteX361" fmla="*/ 257159 w 752994"/>
                <a:gd name="connsiteY361" fmla="*/ 0 h 1333436"/>
                <a:gd name="connsiteX0" fmla="*/ 396737 w 752994"/>
                <a:gd name="connsiteY0" fmla="*/ 1026408 h 1333436"/>
                <a:gd name="connsiteX1" fmla="*/ 399700 w 752994"/>
                <a:gd name="connsiteY1" fmla="*/ 1018971 h 1333436"/>
                <a:gd name="connsiteX2" fmla="*/ 396764 w 752994"/>
                <a:gd name="connsiteY2" fmla="*/ 1025373 h 1333436"/>
                <a:gd name="connsiteX3" fmla="*/ 396737 w 752994"/>
                <a:gd name="connsiteY3" fmla="*/ 1026408 h 1333436"/>
                <a:gd name="connsiteX4" fmla="*/ 184180 w 752994"/>
                <a:gd name="connsiteY4" fmla="*/ 213866 h 1333436"/>
                <a:gd name="connsiteX5" fmla="*/ 184117 w 752994"/>
                <a:gd name="connsiteY5" fmla="*/ 214326 h 1333436"/>
                <a:gd name="connsiteX6" fmla="*/ 185553 w 752994"/>
                <a:gd name="connsiteY6" fmla="*/ 222494 h 1333436"/>
                <a:gd name="connsiteX7" fmla="*/ 188600 w 752994"/>
                <a:gd name="connsiteY7" fmla="*/ 226970 h 1333436"/>
                <a:gd name="connsiteX8" fmla="*/ 195542 w 752994"/>
                <a:gd name="connsiteY8" fmla="*/ 231871 h 1333436"/>
                <a:gd name="connsiteX9" fmla="*/ 203093 w 752994"/>
                <a:gd name="connsiteY9" fmla="*/ 233896 h 1333436"/>
                <a:gd name="connsiteX10" fmla="*/ 217192 w 752994"/>
                <a:gd name="connsiteY10" fmla="*/ 232075 h 1333436"/>
                <a:gd name="connsiteX11" fmla="*/ 225136 w 752994"/>
                <a:gd name="connsiteY11" fmla="*/ 229829 h 1333436"/>
                <a:gd name="connsiteX12" fmla="*/ 235558 w 752994"/>
                <a:gd name="connsiteY12" fmla="*/ 232483 h 1333436"/>
                <a:gd name="connsiteX13" fmla="*/ 242499 w 752994"/>
                <a:gd name="connsiteY13" fmla="*/ 237163 h 1333436"/>
                <a:gd name="connsiteX14" fmla="*/ 248418 w 752994"/>
                <a:gd name="connsiteY14" fmla="*/ 244701 h 1333436"/>
                <a:gd name="connsiteX15" fmla="*/ 255359 w 752994"/>
                <a:gd name="connsiteY15" fmla="*/ 244906 h 1333436"/>
                <a:gd name="connsiteX16" fmla="*/ 258210 w 752994"/>
                <a:gd name="connsiteY16" fmla="*/ 244906 h 1333436"/>
                <a:gd name="connsiteX17" fmla="*/ 263303 w 752994"/>
                <a:gd name="connsiteY17" fmla="*/ 246131 h 1333436"/>
                <a:gd name="connsiteX18" fmla="*/ 269438 w 752994"/>
                <a:gd name="connsiteY18" fmla="*/ 243697 h 1333436"/>
                <a:gd name="connsiteX19" fmla="*/ 274944 w 752994"/>
                <a:gd name="connsiteY19" fmla="*/ 241451 h 1333436"/>
                <a:gd name="connsiteX20" fmla="*/ 281276 w 752994"/>
                <a:gd name="connsiteY20" fmla="*/ 245722 h 1333436"/>
                <a:gd name="connsiteX21" fmla="*/ 289240 w 752994"/>
                <a:gd name="connsiteY21" fmla="*/ 250419 h 1333436"/>
                <a:gd name="connsiteX22" fmla="*/ 297597 w 752994"/>
                <a:gd name="connsiteY22" fmla="*/ 248581 h 1333436"/>
                <a:gd name="connsiteX23" fmla="*/ 310261 w 752994"/>
                <a:gd name="connsiteY23" fmla="*/ 246539 h 1333436"/>
                <a:gd name="connsiteX24" fmla="*/ 324340 w 752994"/>
                <a:gd name="connsiteY24" fmla="*/ 244497 h 1333436"/>
                <a:gd name="connsiteX25" fmla="*/ 333523 w 752994"/>
                <a:gd name="connsiteY25" fmla="*/ 243289 h 1333436"/>
                <a:gd name="connsiteX26" fmla="*/ 341271 w 752994"/>
                <a:gd name="connsiteY26" fmla="*/ 246539 h 1333436"/>
                <a:gd name="connsiteX27" fmla="*/ 348428 w 752994"/>
                <a:gd name="connsiteY27" fmla="*/ 250011 h 1333436"/>
                <a:gd name="connsiteX28" fmla="*/ 351279 w 752994"/>
                <a:gd name="connsiteY28" fmla="*/ 247356 h 1333436"/>
                <a:gd name="connsiteX29" fmla="*/ 355566 w 752994"/>
                <a:gd name="connsiteY29" fmla="*/ 244293 h 1333436"/>
                <a:gd name="connsiteX30" fmla="*/ 365772 w 752994"/>
                <a:gd name="connsiteY30" fmla="*/ 248785 h 1333436"/>
                <a:gd name="connsiteX31" fmla="*/ 381483 w 752994"/>
                <a:gd name="connsiteY31" fmla="*/ 254912 h 1333436"/>
                <a:gd name="connsiteX32" fmla="*/ 381896 w 752994"/>
                <a:gd name="connsiteY32" fmla="*/ 255320 h 1333436"/>
                <a:gd name="connsiteX33" fmla="*/ 395366 w 752994"/>
                <a:gd name="connsiteY33" fmla="*/ 257753 h 1333436"/>
                <a:gd name="connsiteX34" fmla="*/ 414145 w 752994"/>
                <a:gd name="connsiteY34" fmla="*/ 262450 h 1333436"/>
                <a:gd name="connsiteX35" fmla="*/ 431292 w 752994"/>
                <a:gd name="connsiteY35" fmla="*/ 268151 h 1333436"/>
                <a:gd name="connsiteX36" fmla="*/ 445196 w 752994"/>
                <a:gd name="connsiteY36" fmla="*/ 269890 h 1333436"/>
                <a:gd name="connsiteX37" fmla="*/ 444145 w 752994"/>
                <a:gd name="connsiteY37" fmla="*/ 267441 h 1333436"/>
                <a:gd name="connsiteX38" fmla="*/ 444145 w 752994"/>
                <a:gd name="connsiteY38" fmla="*/ 267034 h 1333436"/>
                <a:gd name="connsiteX39" fmla="*/ 444155 w 752994"/>
                <a:gd name="connsiteY39" fmla="*/ 266811 h 1333436"/>
                <a:gd name="connsiteX40" fmla="*/ 430733 w 752994"/>
                <a:gd name="connsiteY40" fmla="*/ 265139 h 1333436"/>
                <a:gd name="connsiteX41" fmla="*/ 394839 w 752994"/>
                <a:gd name="connsiteY41" fmla="*/ 254739 h 1333436"/>
                <a:gd name="connsiteX42" fmla="*/ 381379 w 752994"/>
                <a:gd name="connsiteY42" fmla="*/ 252303 h 1333436"/>
                <a:gd name="connsiteX43" fmla="*/ 380962 w 752994"/>
                <a:gd name="connsiteY43" fmla="*/ 251895 h 1333436"/>
                <a:gd name="connsiteX44" fmla="*/ 365258 w 752994"/>
                <a:gd name="connsiteY44" fmla="*/ 245774 h 1333436"/>
                <a:gd name="connsiteX45" fmla="*/ 355067 w 752994"/>
                <a:gd name="connsiteY45" fmla="*/ 241285 h 1333436"/>
                <a:gd name="connsiteX46" fmla="*/ 350789 w 752994"/>
                <a:gd name="connsiteY46" fmla="*/ 244352 h 1333436"/>
                <a:gd name="connsiteX47" fmla="*/ 347920 w 752994"/>
                <a:gd name="connsiteY47" fmla="*/ 246998 h 1333436"/>
                <a:gd name="connsiteX48" fmla="*/ 340789 w 752994"/>
                <a:gd name="connsiteY48" fmla="*/ 243536 h 1333436"/>
                <a:gd name="connsiteX49" fmla="*/ 333034 w 752994"/>
                <a:gd name="connsiteY49" fmla="*/ 240271 h 1333436"/>
                <a:gd name="connsiteX50" fmla="*/ 323868 w 752994"/>
                <a:gd name="connsiteY50" fmla="*/ 241495 h 1333436"/>
                <a:gd name="connsiteX51" fmla="*/ 309783 w 752994"/>
                <a:gd name="connsiteY51" fmla="*/ 243536 h 1333436"/>
                <a:gd name="connsiteX52" fmla="*/ 297140 w 752994"/>
                <a:gd name="connsiteY52" fmla="*/ 245576 h 1333436"/>
                <a:gd name="connsiteX53" fmla="*/ 288775 w 752994"/>
                <a:gd name="connsiteY53" fmla="*/ 247406 h 1333436"/>
                <a:gd name="connsiteX54" fmla="*/ 280827 w 752994"/>
                <a:gd name="connsiteY54" fmla="*/ 242720 h 1333436"/>
                <a:gd name="connsiteX55" fmla="*/ 274497 w 752994"/>
                <a:gd name="connsiteY55" fmla="*/ 238441 h 1333436"/>
                <a:gd name="connsiteX56" fmla="*/ 269001 w 752994"/>
                <a:gd name="connsiteY56" fmla="*/ 240679 h 1333436"/>
                <a:gd name="connsiteX57" fmla="*/ 262880 w 752994"/>
                <a:gd name="connsiteY57" fmla="*/ 243128 h 1333436"/>
                <a:gd name="connsiteX58" fmla="*/ 260028 w 752994"/>
                <a:gd name="connsiteY58" fmla="*/ 242720 h 1333436"/>
                <a:gd name="connsiteX59" fmla="*/ 247994 w 752994"/>
                <a:gd name="connsiteY59" fmla="*/ 241693 h 1333436"/>
                <a:gd name="connsiteX60" fmla="*/ 242081 w 752994"/>
                <a:gd name="connsiteY60" fmla="*/ 234162 h 1333436"/>
                <a:gd name="connsiteX61" fmla="*/ 235142 w 752994"/>
                <a:gd name="connsiteY61" fmla="*/ 229476 h 1333436"/>
                <a:gd name="connsiteX62" fmla="*/ 224742 w 752994"/>
                <a:gd name="connsiteY62" fmla="*/ 226817 h 1333436"/>
                <a:gd name="connsiteX63" fmla="*/ 216778 w 752994"/>
                <a:gd name="connsiteY63" fmla="*/ 229068 h 1333436"/>
                <a:gd name="connsiteX64" fmla="*/ 202709 w 752994"/>
                <a:gd name="connsiteY64" fmla="*/ 230898 h 1333436"/>
                <a:gd name="connsiteX65" fmla="*/ 195162 w 752994"/>
                <a:gd name="connsiteY65" fmla="*/ 228857 h 1333436"/>
                <a:gd name="connsiteX66" fmla="*/ 188223 w 752994"/>
                <a:gd name="connsiteY66" fmla="*/ 223973 h 1333436"/>
                <a:gd name="connsiteX67" fmla="*/ 185163 w 752994"/>
                <a:gd name="connsiteY67" fmla="*/ 219484 h 1333436"/>
                <a:gd name="connsiteX68" fmla="*/ 184180 w 752994"/>
                <a:gd name="connsiteY68" fmla="*/ 213866 h 1333436"/>
                <a:gd name="connsiteX69" fmla="*/ 257159 w 752994"/>
                <a:gd name="connsiteY69" fmla="*/ 0 h 1333436"/>
                <a:gd name="connsiteX70" fmla="*/ 493147 w 752994"/>
                <a:gd name="connsiteY70" fmla="*/ 73157 h 1333436"/>
                <a:gd name="connsiteX71" fmla="*/ 492970 w 752994"/>
                <a:gd name="connsiteY71" fmla="*/ 73792 h 1333436"/>
                <a:gd name="connsiteX72" fmla="*/ 525816 w 752994"/>
                <a:gd name="connsiteY72" fmla="*/ 82491 h 1333436"/>
                <a:gd name="connsiteX73" fmla="*/ 520098 w 752994"/>
                <a:gd name="connsiteY73" fmla="*/ 111245 h 1333436"/>
                <a:gd name="connsiteX74" fmla="*/ 512552 w 752994"/>
                <a:gd name="connsiteY74" fmla="*/ 143854 h 1333436"/>
                <a:gd name="connsiteX75" fmla="*/ 517849 w 752994"/>
                <a:gd name="connsiteY75" fmla="*/ 157740 h 1333436"/>
                <a:gd name="connsiteX76" fmla="*/ 523160 w 752994"/>
                <a:gd name="connsiteY76" fmla="*/ 172009 h 1333436"/>
                <a:gd name="connsiteX77" fmla="*/ 521535 w 752994"/>
                <a:gd name="connsiteY77" fmla="*/ 178928 h 1333436"/>
                <a:gd name="connsiteX78" fmla="*/ 520098 w 752994"/>
                <a:gd name="connsiteY78" fmla="*/ 186279 h 1333436"/>
                <a:gd name="connsiteX79" fmla="*/ 526019 w 752994"/>
                <a:gd name="connsiteY79" fmla="*/ 193629 h 1333436"/>
                <a:gd name="connsiteX80" fmla="*/ 537251 w 752994"/>
                <a:gd name="connsiteY80" fmla="*/ 206270 h 1333436"/>
                <a:gd name="connsiteX81" fmla="*/ 542765 w 752994"/>
                <a:gd name="connsiteY81" fmla="*/ 217475 h 1333436"/>
                <a:gd name="connsiteX82" fmla="*/ 546857 w 752994"/>
                <a:gd name="connsiteY82" fmla="*/ 230930 h 1333436"/>
                <a:gd name="connsiteX83" fmla="*/ 549499 w 752994"/>
                <a:gd name="connsiteY83" fmla="*/ 235622 h 1333436"/>
                <a:gd name="connsiteX84" fmla="*/ 553388 w 752994"/>
                <a:gd name="connsiteY84" fmla="*/ 240722 h 1333436"/>
                <a:gd name="connsiteX85" fmla="*/ 557465 w 752994"/>
                <a:gd name="connsiteY85" fmla="*/ 246037 h 1333436"/>
                <a:gd name="connsiteX86" fmla="*/ 561761 w 752994"/>
                <a:gd name="connsiteY86" fmla="*/ 248671 h 1333436"/>
                <a:gd name="connsiteX87" fmla="*/ 567478 w 752994"/>
                <a:gd name="connsiteY87" fmla="*/ 247665 h 1333436"/>
                <a:gd name="connsiteX88" fmla="*/ 569931 w 752994"/>
                <a:gd name="connsiteY88" fmla="*/ 249293 h 1333436"/>
                <a:gd name="connsiteX89" fmla="*/ 570540 w 752994"/>
                <a:gd name="connsiteY89" fmla="*/ 251951 h 1333436"/>
                <a:gd name="connsiteX90" fmla="*/ 561964 w 752994"/>
                <a:gd name="connsiteY90" fmla="*/ 267656 h 1333436"/>
                <a:gd name="connsiteX91" fmla="*/ 553591 w 752994"/>
                <a:gd name="connsiteY91" fmla="*/ 289659 h 1333436"/>
                <a:gd name="connsiteX92" fmla="*/ 554810 w 752994"/>
                <a:gd name="connsiteY92" fmla="*/ 292939 h 1333436"/>
                <a:gd name="connsiteX93" fmla="*/ 556246 w 752994"/>
                <a:gd name="connsiteY93" fmla="*/ 299260 h 1333436"/>
                <a:gd name="connsiteX94" fmla="*/ 552778 w 752994"/>
                <a:gd name="connsiteY94" fmla="*/ 301917 h 1333436"/>
                <a:gd name="connsiteX95" fmla="*/ 549295 w 752994"/>
                <a:gd name="connsiteY95" fmla="*/ 306993 h 1333436"/>
                <a:gd name="connsiteX96" fmla="*/ 547061 w 752994"/>
                <a:gd name="connsiteY96" fmla="*/ 313122 h 1333436"/>
                <a:gd name="connsiteX97" fmla="*/ 544811 w 752994"/>
                <a:gd name="connsiteY97" fmla="*/ 316593 h 1333436"/>
                <a:gd name="connsiteX98" fmla="*/ 549919 w 752994"/>
                <a:gd name="connsiteY98" fmla="*/ 322698 h 1333436"/>
                <a:gd name="connsiteX99" fmla="*/ 553184 w 752994"/>
                <a:gd name="connsiteY99" fmla="*/ 325955 h 1333436"/>
                <a:gd name="connsiteX100" fmla="*/ 555840 w 752994"/>
                <a:gd name="connsiteY100" fmla="*/ 328205 h 1333436"/>
                <a:gd name="connsiteX101" fmla="*/ 574212 w 752994"/>
                <a:gd name="connsiteY101" fmla="*/ 318820 h 1333436"/>
                <a:gd name="connsiteX102" fmla="*/ 579523 w 752994"/>
                <a:gd name="connsiteY102" fmla="*/ 326577 h 1333436"/>
                <a:gd name="connsiteX103" fmla="*/ 580539 w 752994"/>
                <a:gd name="connsiteY103" fmla="*/ 334933 h 1333436"/>
                <a:gd name="connsiteX104" fmla="*/ 579726 w 752994"/>
                <a:gd name="connsiteY104" fmla="*/ 343097 h 1333436"/>
                <a:gd name="connsiteX105" fmla="*/ 581366 w 752994"/>
                <a:gd name="connsiteY105" fmla="*/ 350231 h 1333436"/>
                <a:gd name="connsiteX106" fmla="*/ 586256 w 752994"/>
                <a:gd name="connsiteY106" fmla="*/ 355930 h 1333436"/>
                <a:gd name="connsiteX107" fmla="*/ 589536 w 752994"/>
                <a:gd name="connsiteY107" fmla="*/ 362059 h 1333436"/>
                <a:gd name="connsiteX108" fmla="*/ 588099 w 752994"/>
                <a:gd name="connsiteY108" fmla="*/ 369600 h 1333436"/>
                <a:gd name="connsiteX109" fmla="*/ 586459 w 752994"/>
                <a:gd name="connsiteY109" fmla="*/ 377357 h 1333436"/>
                <a:gd name="connsiteX110" fmla="*/ 588709 w 752994"/>
                <a:gd name="connsiteY110" fmla="*/ 381835 h 1333436"/>
                <a:gd name="connsiteX111" fmla="*/ 595036 w 752994"/>
                <a:gd name="connsiteY111" fmla="*/ 382457 h 1333436"/>
                <a:gd name="connsiteX112" fmla="*/ 599331 w 752994"/>
                <a:gd name="connsiteY112" fmla="*/ 385306 h 1333436"/>
                <a:gd name="connsiteX113" fmla="*/ 601987 w 752994"/>
                <a:gd name="connsiteY113" fmla="*/ 391004 h 1333436"/>
                <a:gd name="connsiteX114" fmla="*/ 602799 w 752994"/>
                <a:gd name="connsiteY114" fmla="*/ 404076 h 1333436"/>
                <a:gd name="connsiteX115" fmla="*/ 606892 w 752994"/>
                <a:gd name="connsiteY115" fmla="*/ 415688 h 1333436"/>
                <a:gd name="connsiteX116" fmla="*/ 610563 w 752994"/>
                <a:gd name="connsiteY116" fmla="*/ 412217 h 1333436"/>
                <a:gd name="connsiteX117" fmla="*/ 617920 w 752994"/>
                <a:gd name="connsiteY117" fmla="*/ 408769 h 1333436"/>
                <a:gd name="connsiteX118" fmla="*/ 624654 w 752994"/>
                <a:gd name="connsiteY118" fmla="*/ 411211 h 1333436"/>
                <a:gd name="connsiteX119" fmla="*/ 634652 w 752994"/>
                <a:gd name="connsiteY119" fmla="*/ 410182 h 1333436"/>
                <a:gd name="connsiteX120" fmla="*/ 640573 w 752994"/>
                <a:gd name="connsiteY120" fmla="*/ 407739 h 1333436"/>
                <a:gd name="connsiteX121" fmla="*/ 646711 w 752994"/>
                <a:gd name="connsiteY121" fmla="*/ 410589 h 1333436"/>
                <a:gd name="connsiteX122" fmla="*/ 650383 w 752994"/>
                <a:gd name="connsiteY122" fmla="*/ 410589 h 1333436"/>
                <a:gd name="connsiteX123" fmla="*/ 654257 w 752994"/>
                <a:gd name="connsiteY123" fmla="*/ 411618 h 1333436"/>
                <a:gd name="connsiteX124" fmla="*/ 656913 w 752994"/>
                <a:gd name="connsiteY124" fmla="*/ 413653 h 1333436"/>
                <a:gd name="connsiteX125" fmla="*/ 660802 w 752994"/>
                <a:gd name="connsiteY125" fmla="*/ 415090 h 1333436"/>
                <a:gd name="connsiteX126" fmla="*/ 669581 w 752994"/>
                <a:gd name="connsiteY126" fmla="*/ 415904 h 1333436"/>
                <a:gd name="connsiteX127" fmla="*/ 672237 w 752994"/>
                <a:gd name="connsiteY127" fmla="*/ 415688 h 1333436"/>
                <a:gd name="connsiteX128" fmla="*/ 675705 w 752994"/>
                <a:gd name="connsiteY128" fmla="*/ 409367 h 1333436"/>
                <a:gd name="connsiteX129" fmla="*/ 679986 w 752994"/>
                <a:gd name="connsiteY129" fmla="*/ 403238 h 1333436"/>
                <a:gd name="connsiteX130" fmla="*/ 693264 w 752994"/>
                <a:gd name="connsiteY130" fmla="*/ 419567 h 1333436"/>
                <a:gd name="connsiteX131" fmla="*/ 688563 w 752994"/>
                <a:gd name="connsiteY131" fmla="*/ 448321 h 1333436"/>
                <a:gd name="connsiteX132" fmla="*/ 663949 w 752994"/>
                <a:gd name="connsiteY132" fmla="*/ 590165 h 1333436"/>
                <a:gd name="connsiteX133" fmla="*/ 666304 w 752994"/>
                <a:gd name="connsiteY133" fmla="*/ 590504 h 1333436"/>
                <a:gd name="connsiteX134" fmla="*/ 655288 w 752994"/>
                <a:gd name="connsiteY134" fmla="*/ 656178 h 1333436"/>
                <a:gd name="connsiteX135" fmla="*/ 681808 w 752994"/>
                <a:gd name="connsiteY135" fmla="*/ 662301 h 1333436"/>
                <a:gd name="connsiteX136" fmla="*/ 752994 w 752994"/>
                <a:gd name="connsiteY136" fmla="*/ 675560 h 1333436"/>
                <a:gd name="connsiteX137" fmla="*/ 714651 w 752994"/>
                <a:gd name="connsiteY137" fmla="*/ 946985 h 1333436"/>
                <a:gd name="connsiteX138" fmla="*/ 654533 w 752994"/>
                <a:gd name="connsiteY138" fmla="*/ 1333436 h 1333436"/>
                <a:gd name="connsiteX139" fmla="*/ 546831 w 752994"/>
                <a:gd name="connsiteY139" fmla="*/ 1317126 h 1333436"/>
                <a:gd name="connsiteX140" fmla="*/ 351227 w 752994"/>
                <a:gd name="connsiteY140" fmla="*/ 1194172 h 1333436"/>
                <a:gd name="connsiteX141" fmla="*/ 361011 w 752994"/>
                <a:gd name="connsiteY141" fmla="*/ 1182755 h 1333436"/>
                <a:gd name="connsiteX142" fmla="*/ 368981 w 752994"/>
                <a:gd name="connsiteY142" fmla="*/ 1182130 h 1333436"/>
                <a:gd name="connsiteX143" fmla="*/ 369571 w 752994"/>
                <a:gd name="connsiteY143" fmla="*/ 1181558 h 1333436"/>
                <a:gd name="connsiteX144" fmla="*/ 362372 w 752994"/>
                <a:gd name="connsiteY144" fmla="*/ 1182120 h 1333436"/>
                <a:gd name="connsiteX145" fmla="*/ 229464 w 752994"/>
                <a:gd name="connsiteY145" fmla="*/ 1161721 h 1333436"/>
                <a:gd name="connsiteX146" fmla="*/ 227427 w 752994"/>
                <a:gd name="connsiteY146" fmla="*/ 1157269 h 1333436"/>
                <a:gd name="connsiteX147" fmla="*/ 224967 w 752994"/>
                <a:gd name="connsiteY147" fmla="*/ 1152575 h 1333436"/>
                <a:gd name="connsiteX148" fmla="*/ 225582 w 752994"/>
                <a:gd name="connsiteY148" fmla="*/ 1144808 h 1333436"/>
                <a:gd name="connsiteX149" fmla="*/ 227215 w 752994"/>
                <a:gd name="connsiteY149" fmla="*/ 1135834 h 1333436"/>
                <a:gd name="connsiteX150" fmla="*/ 227215 w 752994"/>
                <a:gd name="connsiteY150" fmla="*/ 1134212 h 1333436"/>
                <a:gd name="connsiteX151" fmla="*/ 225179 w 752994"/>
                <a:gd name="connsiteY151" fmla="*/ 1114020 h 1333436"/>
                <a:gd name="connsiteX152" fmla="*/ 217839 w 752994"/>
                <a:gd name="connsiteY152" fmla="*/ 1100352 h 1333436"/>
                <a:gd name="connsiteX153" fmla="*/ 199661 w 752994"/>
                <a:gd name="connsiteY153" fmla="*/ 1076502 h 1333436"/>
                <a:gd name="connsiteX154" fmla="*/ 196395 w 752994"/>
                <a:gd name="connsiteY154" fmla="*/ 1071807 h 1333436"/>
                <a:gd name="connsiteX155" fmla="*/ 190880 w 752994"/>
                <a:gd name="connsiteY155" fmla="*/ 1067527 h 1333436"/>
                <a:gd name="connsiteX156" fmla="*/ 187210 w 752994"/>
                <a:gd name="connsiteY156" fmla="*/ 1068735 h 1333436"/>
                <a:gd name="connsiteX157" fmla="*/ 180062 w 752994"/>
                <a:gd name="connsiteY157" fmla="*/ 1066699 h 1333436"/>
                <a:gd name="connsiteX158" fmla="*/ 180466 w 752994"/>
                <a:gd name="connsiteY158" fmla="*/ 1053031 h 1333436"/>
                <a:gd name="connsiteX159" fmla="*/ 180062 w 752994"/>
                <a:gd name="connsiteY159" fmla="*/ 1045299 h 1333436"/>
                <a:gd name="connsiteX160" fmla="*/ 174144 w 752994"/>
                <a:gd name="connsiteY160" fmla="*/ 1044057 h 1333436"/>
                <a:gd name="connsiteX161" fmla="*/ 158426 w 752994"/>
                <a:gd name="connsiteY161" fmla="*/ 1042641 h 1333436"/>
                <a:gd name="connsiteX162" fmla="*/ 149857 w 752994"/>
                <a:gd name="connsiteY162" fmla="*/ 1035497 h 1333436"/>
                <a:gd name="connsiteX163" fmla="*/ 142497 w 752994"/>
                <a:gd name="connsiteY163" fmla="*/ 1028766 h 1333436"/>
                <a:gd name="connsiteX164" fmla="*/ 140864 w 752994"/>
                <a:gd name="connsiteY164" fmla="*/ 1020620 h 1333436"/>
                <a:gd name="connsiteX165" fmla="*/ 138212 w 752994"/>
                <a:gd name="connsiteY165" fmla="*/ 1013061 h 1333436"/>
                <a:gd name="connsiteX166" fmla="*/ 131064 w 752994"/>
                <a:gd name="connsiteY166" fmla="*/ 1007159 h 1333436"/>
                <a:gd name="connsiteX167" fmla="*/ 121264 w 752994"/>
                <a:gd name="connsiteY167" fmla="*/ 1005330 h 1333436"/>
                <a:gd name="connsiteX168" fmla="*/ 112483 w 752994"/>
                <a:gd name="connsiteY168" fmla="*/ 1001671 h 1333436"/>
                <a:gd name="connsiteX169" fmla="*/ 105950 w 752994"/>
                <a:gd name="connsiteY169" fmla="*/ 995734 h 1333436"/>
                <a:gd name="connsiteX170" fmla="*/ 97380 w 752994"/>
                <a:gd name="connsiteY170" fmla="*/ 994526 h 1333436"/>
                <a:gd name="connsiteX171" fmla="*/ 87984 w 752994"/>
                <a:gd name="connsiteY171" fmla="*/ 991040 h 1333436"/>
                <a:gd name="connsiteX172" fmla="*/ 80029 w 752994"/>
                <a:gd name="connsiteY172" fmla="*/ 985138 h 1333436"/>
                <a:gd name="connsiteX173" fmla="*/ 77166 w 752994"/>
                <a:gd name="connsiteY173" fmla="*/ 976164 h 1333436"/>
                <a:gd name="connsiteX174" fmla="*/ 79203 w 752994"/>
                <a:gd name="connsiteY174" fmla="*/ 970676 h 1333436"/>
                <a:gd name="connsiteX175" fmla="*/ 82470 w 752994"/>
                <a:gd name="connsiteY175" fmla="*/ 963117 h 1333436"/>
                <a:gd name="connsiteX176" fmla="*/ 84314 w 752994"/>
                <a:gd name="connsiteY176" fmla="*/ 954557 h 1333436"/>
                <a:gd name="connsiteX177" fmla="*/ 86351 w 752994"/>
                <a:gd name="connsiteY177" fmla="*/ 948033 h 1333436"/>
                <a:gd name="connsiteX178" fmla="*/ 86159 w 752994"/>
                <a:gd name="connsiteY178" fmla="*/ 942925 h 1333436"/>
                <a:gd name="connsiteX179" fmla="*/ 83085 w 752994"/>
                <a:gd name="connsiteY179" fmla="*/ 939853 h 1333436"/>
                <a:gd name="connsiteX180" fmla="*/ 77570 w 752994"/>
                <a:gd name="connsiteY180" fmla="*/ 937437 h 1333436"/>
                <a:gd name="connsiteX181" fmla="*/ 76763 w 752994"/>
                <a:gd name="connsiteY181" fmla="*/ 931915 h 1333436"/>
                <a:gd name="connsiteX182" fmla="*/ 78800 w 752994"/>
                <a:gd name="connsiteY182" fmla="*/ 927013 h 1333436"/>
                <a:gd name="connsiteX183" fmla="*/ 79626 w 752994"/>
                <a:gd name="connsiteY183" fmla="*/ 922526 h 1333436"/>
                <a:gd name="connsiteX184" fmla="*/ 77781 w 752994"/>
                <a:gd name="connsiteY184" fmla="*/ 919903 h 1333436"/>
                <a:gd name="connsiteX185" fmla="*/ 74303 w 752994"/>
                <a:gd name="connsiteY185" fmla="*/ 917418 h 1333436"/>
                <a:gd name="connsiteX186" fmla="*/ 71863 w 752994"/>
                <a:gd name="connsiteY186" fmla="*/ 915174 h 1333436"/>
                <a:gd name="connsiteX187" fmla="*/ 71652 w 752994"/>
                <a:gd name="connsiteY187" fmla="*/ 910894 h 1333436"/>
                <a:gd name="connsiteX188" fmla="*/ 70633 w 752994"/>
                <a:gd name="connsiteY188" fmla="*/ 906614 h 1333436"/>
                <a:gd name="connsiteX189" fmla="*/ 68385 w 752994"/>
                <a:gd name="connsiteY189" fmla="*/ 902749 h 1333436"/>
                <a:gd name="connsiteX190" fmla="*/ 61045 w 752994"/>
                <a:gd name="connsiteY190" fmla="*/ 889494 h 1333436"/>
                <a:gd name="connsiteX191" fmla="*/ 57971 w 752994"/>
                <a:gd name="connsiteY191" fmla="*/ 875619 h 1333436"/>
                <a:gd name="connsiteX192" fmla="*/ 52264 w 752994"/>
                <a:gd name="connsiteY192" fmla="*/ 862572 h 1333436"/>
                <a:gd name="connsiteX193" fmla="*/ 44309 w 752994"/>
                <a:gd name="connsiteY193" fmla="*/ 850561 h 1333436"/>
                <a:gd name="connsiteX194" fmla="*/ 45520 w 752994"/>
                <a:gd name="connsiteY194" fmla="*/ 827090 h 1333436"/>
                <a:gd name="connsiteX195" fmla="*/ 53071 w 752994"/>
                <a:gd name="connsiteY195" fmla="*/ 822396 h 1333436"/>
                <a:gd name="connsiteX196" fmla="*/ 57375 w 752994"/>
                <a:gd name="connsiteY196" fmla="*/ 816493 h 1333436"/>
                <a:gd name="connsiteX197" fmla="*/ 55319 w 752994"/>
                <a:gd name="connsiteY197" fmla="*/ 801617 h 1333436"/>
                <a:gd name="connsiteX198" fmla="*/ 48383 w 752994"/>
                <a:gd name="connsiteY198" fmla="*/ 802204 h 1333436"/>
                <a:gd name="connsiteX199" fmla="*/ 40428 w 752994"/>
                <a:gd name="connsiteY199" fmla="*/ 797924 h 1333436"/>
                <a:gd name="connsiteX200" fmla="*/ 37565 w 752994"/>
                <a:gd name="connsiteY200" fmla="*/ 790606 h 1333436"/>
                <a:gd name="connsiteX201" fmla="*/ 37565 w 752994"/>
                <a:gd name="connsiteY201" fmla="*/ 790399 h 1333436"/>
                <a:gd name="connsiteX202" fmla="*/ 35931 w 752994"/>
                <a:gd name="connsiteY202" fmla="*/ 785912 h 1333436"/>
                <a:gd name="connsiteX203" fmla="*/ 34510 w 752994"/>
                <a:gd name="connsiteY203" fmla="*/ 780597 h 1333436"/>
                <a:gd name="connsiteX204" fmla="*/ 36335 w 752994"/>
                <a:gd name="connsiteY204" fmla="*/ 774280 h 1333436"/>
                <a:gd name="connsiteX205" fmla="*/ 38180 w 752994"/>
                <a:gd name="connsiteY205" fmla="*/ 766721 h 1333436"/>
                <a:gd name="connsiteX206" fmla="*/ 37161 w 752994"/>
                <a:gd name="connsiteY206" fmla="*/ 760405 h 1333436"/>
                <a:gd name="connsiteX207" fmla="*/ 35720 w 752994"/>
                <a:gd name="connsiteY207" fmla="*/ 754710 h 1333436"/>
                <a:gd name="connsiteX208" fmla="*/ 36546 w 752994"/>
                <a:gd name="connsiteY208" fmla="*/ 748773 h 1333436"/>
                <a:gd name="connsiteX209" fmla="*/ 38372 w 752994"/>
                <a:gd name="connsiteY209" fmla="*/ 744528 h 1333436"/>
                <a:gd name="connsiteX210" fmla="*/ 41638 w 752994"/>
                <a:gd name="connsiteY210" fmla="*/ 744321 h 1333436"/>
                <a:gd name="connsiteX211" fmla="*/ 44713 w 752994"/>
                <a:gd name="connsiteY211" fmla="*/ 746357 h 1333436"/>
                <a:gd name="connsiteX212" fmla="*/ 47364 w 752994"/>
                <a:gd name="connsiteY212" fmla="*/ 753260 h 1333436"/>
                <a:gd name="connsiteX213" fmla="*/ 55742 w 752994"/>
                <a:gd name="connsiteY213" fmla="*/ 764305 h 1333436"/>
                <a:gd name="connsiteX214" fmla="*/ 56338 w 752994"/>
                <a:gd name="connsiteY214" fmla="*/ 761233 h 1333436"/>
                <a:gd name="connsiteX215" fmla="*/ 56145 w 752994"/>
                <a:gd name="connsiteY215" fmla="*/ 757368 h 1333436"/>
                <a:gd name="connsiteX216" fmla="*/ 54916 w 752994"/>
                <a:gd name="connsiteY216" fmla="*/ 748601 h 1333436"/>
                <a:gd name="connsiteX217" fmla="*/ 52879 w 752994"/>
                <a:gd name="connsiteY217" fmla="*/ 747358 h 1333436"/>
                <a:gd name="connsiteX218" fmla="*/ 51649 w 752994"/>
                <a:gd name="connsiteY218" fmla="*/ 745322 h 1333436"/>
                <a:gd name="connsiteX219" fmla="*/ 51649 w 752994"/>
                <a:gd name="connsiteY219" fmla="*/ 739212 h 1333436"/>
                <a:gd name="connsiteX220" fmla="*/ 50227 w 752994"/>
                <a:gd name="connsiteY220" fmla="*/ 734725 h 1333436"/>
                <a:gd name="connsiteX221" fmla="*/ 48786 w 752994"/>
                <a:gd name="connsiteY221" fmla="*/ 731446 h 1333436"/>
                <a:gd name="connsiteX222" fmla="*/ 54512 w 752994"/>
                <a:gd name="connsiteY222" fmla="*/ 726372 h 1333436"/>
                <a:gd name="connsiteX223" fmla="*/ 59815 w 752994"/>
                <a:gd name="connsiteY223" fmla="*/ 725130 h 1333436"/>
                <a:gd name="connsiteX224" fmla="*/ 58182 w 752994"/>
                <a:gd name="connsiteY224" fmla="*/ 722886 h 1333436"/>
                <a:gd name="connsiteX225" fmla="*/ 51861 w 752994"/>
                <a:gd name="connsiteY225" fmla="*/ 717985 h 1333436"/>
                <a:gd name="connsiteX226" fmla="*/ 46749 w 752994"/>
                <a:gd name="connsiteY226" fmla="*/ 729617 h 1333436"/>
                <a:gd name="connsiteX227" fmla="*/ 40831 w 752994"/>
                <a:gd name="connsiteY227" fmla="*/ 739212 h 1333436"/>
                <a:gd name="connsiteX228" fmla="*/ 39601 w 752994"/>
                <a:gd name="connsiteY228" fmla="*/ 738798 h 1333436"/>
                <a:gd name="connsiteX229" fmla="*/ 39409 w 752994"/>
                <a:gd name="connsiteY229" fmla="*/ 738591 h 1333436"/>
                <a:gd name="connsiteX230" fmla="*/ 37161 w 752994"/>
                <a:gd name="connsiteY230" fmla="*/ 734725 h 1333436"/>
                <a:gd name="connsiteX231" fmla="*/ 32665 w 752994"/>
                <a:gd name="connsiteY231" fmla="*/ 727788 h 1333436"/>
                <a:gd name="connsiteX232" fmla="*/ 26747 w 752994"/>
                <a:gd name="connsiteY232" fmla="*/ 719435 h 1333436"/>
                <a:gd name="connsiteX233" fmla="*/ 23884 w 752994"/>
                <a:gd name="connsiteY233" fmla="*/ 717812 h 1333436"/>
                <a:gd name="connsiteX234" fmla="*/ 24710 w 752994"/>
                <a:gd name="connsiteY234" fmla="*/ 709632 h 1333436"/>
                <a:gd name="connsiteX235" fmla="*/ 27554 w 752994"/>
                <a:gd name="connsiteY235" fmla="*/ 701694 h 1333436"/>
                <a:gd name="connsiteX236" fmla="*/ 24902 w 752994"/>
                <a:gd name="connsiteY236" fmla="*/ 696171 h 1333436"/>
                <a:gd name="connsiteX237" fmla="*/ 24095 w 752994"/>
                <a:gd name="connsiteY237" fmla="*/ 687818 h 1333436"/>
                <a:gd name="connsiteX238" fmla="*/ 22462 w 752994"/>
                <a:gd name="connsiteY238" fmla="*/ 682330 h 1333436"/>
                <a:gd name="connsiteX239" fmla="*/ 17159 w 752994"/>
                <a:gd name="connsiteY239" fmla="*/ 677636 h 1333436"/>
                <a:gd name="connsiteX240" fmla="*/ 14296 w 752994"/>
                <a:gd name="connsiteY240" fmla="*/ 671492 h 1333436"/>
                <a:gd name="connsiteX241" fmla="*/ 12451 w 752994"/>
                <a:gd name="connsiteY241" fmla="*/ 665797 h 1333436"/>
                <a:gd name="connsiteX242" fmla="*/ 5111 w 752994"/>
                <a:gd name="connsiteY242" fmla="*/ 654994 h 1333436"/>
                <a:gd name="connsiteX243" fmla="*/ 2248 w 752994"/>
                <a:gd name="connsiteY243" fmla="*/ 645605 h 1333436"/>
                <a:gd name="connsiteX244" fmla="*/ 4496 w 752994"/>
                <a:gd name="connsiteY244" fmla="*/ 640497 h 1333436"/>
                <a:gd name="connsiteX245" fmla="*/ 6744 w 752994"/>
                <a:gd name="connsiteY245" fmla="*/ 632765 h 1333436"/>
                <a:gd name="connsiteX246" fmla="*/ 6744 w 752994"/>
                <a:gd name="connsiteY246" fmla="*/ 628485 h 1333436"/>
                <a:gd name="connsiteX247" fmla="*/ 6533 w 752994"/>
                <a:gd name="connsiteY247" fmla="*/ 620305 h 1333436"/>
                <a:gd name="connsiteX248" fmla="*/ 7359 w 752994"/>
                <a:gd name="connsiteY248" fmla="*/ 611745 h 1333436"/>
                <a:gd name="connsiteX249" fmla="*/ 11836 w 752994"/>
                <a:gd name="connsiteY249" fmla="*/ 602978 h 1333436"/>
                <a:gd name="connsiteX250" fmla="*/ 15103 w 752994"/>
                <a:gd name="connsiteY250" fmla="*/ 591760 h 1333436"/>
                <a:gd name="connsiteX251" fmla="*/ 14488 w 752994"/>
                <a:gd name="connsiteY251" fmla="*/ 584029 h 1333436"/>
                <a:gd name="connsiteX252" fmla="*/ 13873 w 752994"/>
                <a:gd name="connsiteY252" fmla="*/ 578299 h 1333436"/>
                <a:gd name="connsiteX253" fmla="*/ 10626 w 752994"/>
                <a:gd name="connsiteY253" fmla="*/ 568531 h 1333436"/>
                <a:gd name="connsiteX254" fmla="*/ 3670 w 752994"/>
                <a:gd name="connsiteY254" fmla="*/ 558107 h 1333436"/>
                <a:gd name="connsiteX255" fmla="*/ 0 w 752994"/>
                <a:gd name="connsiteY255" fmla="*/ 551377 h 1333436"/>
                <a:gd name="connsiteX256" fmla="*/ 0 w 752994"/>
                <a:gd name="connsiteY256" fmla="*/ 550997 h 1333436"/>
                <a:gd name="connsiteX257" fmla="*/ 4900 w 752994"/>
                <a:gd name="connsiteY257" fmla="*/ 531220 h 1333436"/>
                <a:gd name="connsiteX258" fmla="*/ 13873 w 752994"/>
                <a:gd name="connsiteY258" fmla="*/ 520589 h 1333436"/>
                <a:gd name="connsiteX259" fmla="*/ 18369 w 752994"/>
                <a:gd name="connsiteY259" fmla="*/ 516516 h 1333436"/>
                <a:gd name="connsiteX260" fmla="*/ 18773 w 752994"/>
                <a:gd name="connsiteY260" fmla="*/ 514272 h 1333436"/>
                <a:gd name="connsiteX261" fmla="*/ 23077 w 752994"/>
                <a:gd name="connsiteY261" fmla="*/ 506127 h 1333436"/>
                <a:gd name="connsiteX262" fmla="*/ 23884 w 752994"/>
                <a:gd name="connsiteY262" fmla="*/ 502261 h 1333436"/>
                <a:gd name="connsiteX263" fmla="*/ 23692 w 752994"/>
                <a:gd name="connsiteY263" fmla="*/ 496738 h 1333436"/>
                <a:gd name="connsiteX264" fmla="*/ 30013 w 752994"/>
                <a:gd name="connsiteY264" fmla="*/ 486556 h 1333436"/>
                <a:gd name="connsiteX265" fmla="*/ 36546 w 752994"/>
                <a:gd name="connsiteY265" fmla="*/ 470230 h 1333436"/>
                <a:gd name="connsiteX266" fmla="*/ 36546 w 752994"/>
                <a:gd name="connsiteY266" fmla="*/ 462671 h 1333436"/>
                <a:gd name="connsiteX267" fmla="*/ 36335 w 752994"/>
                <a:gd name="connsiteY267" fmla="*/ 461670 h 1333436"/>
                <a:gd name="connsiteX268" fmla="*/ 35931 w 752994"/>
                <a:gd name="connsiteY268" fmla="*/ 453110 h 1333436"/>
                <a:gd name="connsiteX269" fmla="*/ 38583 w 752994"/>
                <a:gd name="connsiteY269" fmla="*/ 442514 h 1333436"/>
                <a:gd name="connsiteX270" fmla="*/ 41043 w 752994"/>
                <a:gd name="connsiteY270" fmla="*/ 436991 h 1333436"/>
                <a:gd name="connsiteX271" fmla="*/ 41650 w 752994"/>
                <a:gd name="connsiteY271" fmla="*/ 437186 h 1333436"/>
                <a:gd name="connsiteX272" fmla="*/ 41239 w 752994"/>
                <a:gd name="connsiteY272" fmla="*/ 436549 h 1333436"/>
                <a:gd name="connsiteX273" fmla="*/ 37778 w 752994"/>
                <a:gd name="connsiteY273" fmla="*/ 433894 h 1333436"/>
                <a:gd name="connsiteX274" fmla="*/ 37169 w 752994"/>
                <a:gd name="connsiteY274" fmla="*/ 432261 h 1333436"/>
                <a:gd name="connsiteX275" fmla="*/ 37365 w 752994"/>
                <a:gd name="connsiteY275" fmla="*/ 429198 h 1333436"/>
                <a:gd name="connsiteX276" fmla="*/ 36756 w 752994"/>
                <a:gd name="connsiteY276" fmla="*/ 422272 h 1333436"/>
                <a:gd name="connsiteX277" fmla="*/ 36952 w 752994"/>
                <a:gd name="connsiteY277" fmla="*/ 418800 h 1333436"/>
                <a:gd name="connsiteX278" fmla="*/ 36756 w 752994"/>
                <a:gd name="connsiteY278" fmla="*/ 412487 h 1333436"/>
                <a:gd name="connsiteX279" fmla="*/ 40433 w 752994"/>
                <a:gd name="connsiteY279" fmla="*/ 406174 h 1333436"/>
                <a:gd name="connsiteX280" fmla="*/ 44720 w 752994"/>
                <a:gd name="connsiteY280" fmla="*/ 399435 h 1333436"/>
                <a:gd name="connsiteX281" fmla="*/ 44110 w 752994"/>
                <a:gd name="connsiteY281" fmla="*/ 389651 h 1333436"/>
                <a:gd name="connsiteX282" fmla="*/ 43894 w 752994"/>
                <a:gd name="connsiteY282" fmla="*/ 378437 h 1333436"/>
                <a:gd name="connsiteX283" fmla="*/ 47158 w 752994"/>
                <a:gd name="connsiteY283" fmla="*/ 371102 h 1333436"/>
                <a:gd name="connsiteX284" fmla="*/ 55731 w 752994"/>
                <a:gd name="connsiteY284" fmla="*/ 360909 h 1333436"/>
                <a:gd name="connsiteX285" fmla="*/ 57580 w 752994"/>
                <a:gd name="connsiteY285" fmla="*/ 355804 h 1333436"/>
                <a:gd name="connsiteX286" fmla="*/ 62673 w 752994"/>
                <a:gd name="connsiteY286" fmla="*/ 349695 h 1333436"/>
                <a:gd name="connsiteX287" fmla="*/ 65937 w 752994"/>
                <a:gd name="connsiteY287" fmla="*/ 348470 h 1333436"/>
                <a:gd name="connsiteX288" fmla="*/ 68395 w 752994"/>
                <a:gd name="connsiteY288" fmla="*/ 348674 h 1333436"/>
                <a:gd name="connsiteX289" fmla="*/ 70224 w 752994"/>
                <a:gd name="connsiteY289" fmla="*/ 347449 h 1333436"/>
                <a:gd name="connsiteX290" fmla="*/ 67785 w 752994"/>
                <a:gd name="connsiteY290" fmla="*/ 345203 h 1333436"/>
                <a:gd name="connsiteX291" fmla="*/ 65524 w 752994"/>
                <a:gd name="connsiteY291" fmla="*/ 343178 h 1333436"/>
                <a:gd name="connsiteX292" fmla="*/ 73095 w 752994"/>
                <a:gd name="connsiteY292" fmla="*/ 333376 h 1333436"/>
                <a:gd name="connsiteX293" fmla="*/ 73291 w 752994"/>
                <a:gd name="connsiteY293" fmla="*/ 333376 h 1333436"/>
                <a:gd name="connsiteX294" fmla="*/ 77991 w 752994"/>
                <a:gd name="connsiteY294" fmla="*/ 325838 h 1333436"/>
                <a:gd name="connsiteX295" fmla="*/ 82671 w 752994"/>
                <a:gd name="connsiteY295" fmla="*/ 313619 h 1333436"/>
                <a:gd name="connsiteX296" fmla="*/ 87980 w 752994"/>
                <a:gd name="connsiteY296" fmla="*/ 303018 h 1333436"/>
                <a:gd name="connsiteX297" fmla="*/ 92267 w 752994"/>
                <a:gd name="connsiteY297" fmla="*/ 291191 h 1333436"/>
                <a:gd name="connsiteX298" fmla="*/ 96553 w 752994"/>
                <a:gd name="connsiteY298" fmla="*/ 281202 h 1333436"/>
                <a:gd name="connsiteX299" fmla="*/ 99621 w 752994"/>
                <a:gd name="connsiteY299" fmla="*/ 274481 h 1333436"/>
                <a:gd name="connsiteX300" fmla="*/ 103082 w 752994"/>
                <a:gd name="connsiteY300" fmla="*/ 262450 h 1333436"/>
                <a:gd name="connsiteX301" fmla="*/ 107172 w 752994"/>
                <a:gd name="connsiteY301" fmla="*/ 254299 h 1333436"/>
                <a:gd name="connsiteX302" fmla="*/ 112481 w 752994"/>
                <a:gd name="connsiteY302" fmla="*/ 243697 h 1333436"/>
                <a:gd name="connsiteX303" fmla="*/ 117181 w 752994"/>
                <a:gd name="connsiteY303" fmla="*/ 232279 h 1333436"/>
                <a:gd name="connsiteX304" fmla="*/ 125951 w 752994"/>
                <a:gd name="connsiteY304" fmla="*/ 217389 h 1333436"/>
                <a:gd name="connsiteX305" fmla="*/ 136156 w 752994"/>
                <a:gd name="connsiteY305" fmla="*/ 202925 h 1333436"/>
                <a:gd name="connsiteX306" fmla="*/ 138811 w 752994"/>
                <a:gd name="connsiteY306" fmla="*/ 183339 h 1333436"/>
                <a:gd name="connsiteX307" fmla="*/ 148801 w 752994"/>
                <a:gd name="connsiteY307" fmla="*/ 167445 h 1333436"/>
                <a:gd name="connsiteX308" fmla="*/ 159616 w 752994"/>
                <a:gd name="connsiteY308" fmla="*/ 170712 h 1333436"/>
                <a:gd name="connsiteX309" fmla="*/ 173105 w 752994"/>
                <a:gd name="connsiteY309" fmla="*/ 175188 h 1333436"/>
                <a:gd name="connsiteX310" fmla="*/ 175347 w 752994"/>
                <a:gd name="connsiteY310" fmla="*/ 175188 h 1333436"/>
                <a:gd name="connsiteX311" fmla="*/ 175347 w 752994"/>
                <a:gd name="connsiteY311" fmla="*/ 173758 h 1333436"/>
                <a:gd name="connsiteX312" fmla="*/ 184975 w 752994"/>
                <a:gd name="connsiteY312" fmla="*/ 187393 h 1333436"/>
                <a:gd name="connsiteX313" fmla="*/ 184762 w 752994"/>
                <a:gd name="connsiteY313" fmla="*/ 184637 h 1333436"/>
                <a:gd name="connsiteX314" fmla="*/ 174971 w 752994"/>
                <a:gd name="connsiteY314" fmla="*/ 170774 h 1333436"/>
                <a:gd name="connsiteX315" fmla="*/ 174971 w 752994"/>
                <a:gd name="connsiteY315" fmla="*/ 169550 h 1333436"/>
                <a:gd name="connsiteX316" fmla="*/ 158851 w 752994"/>
                <a:gd name="connsiteY316" fmla="*/ 156924 h 1333436"/>
                <a:gd name="connsiteX317" fmla="*/ 147025 w 752994"/>
                <a:gd name="connsiteY317" fmla="*/ 145709 h 1333436"/>
                <a:gd name="connsiteX318" fmla="*/ 154364 w 752994"/>
                <a:gd name="connsiteY318" fmla="*/ 136335 h 1333436"/>
                <a:gd name="connsiteX319" fmla="*/ 161511 w 752994"/>
                <a:gd name="connsiteY319" fmla="*/ 131042 h 1333436"/>
                <a:gd name="connsiteX320" fmla="*/ 160902 w 752994"/>
                <a:gd name="connsiteY320" fmla="*/ 128384 h 1333436"/>
                <a:gd name="connsiteX321" fmla="*/ 160277 w 752994"/>
                <a:gd name="connsiteY321" fmla="*/ 127778 h 1333436"/>
                <a:gd name="connsiteX322" fmla="*/ 154973 w 752994"/>
                <a:gd name="connsiteY322" fmla="*/ 122077 h 1333436"/>
                <a:gd name="connsiteX323" fmla="*/ 160277 w 752994"/>
                <a:gd name="connsiteY323" fmla="*/ 115140 h 1333436"/>
                <a:gd name="connsiteX324" fmla="*/ 165181 w 752994"/>
                <a:gd name="connsiteY324" fmla="*/ 108215 h 1333436"/>
                <a:gd name="connsiteX325" fmla="*/ 161303 w 752994"/>
                <a:gd name="connsiteY325" fmla="*/ 104146 h 1333436"/>
                <a:gd name="connsiteX326" fmla="*/ 157842 w 752994"/>
                <a:gd name="connsiteY326" fmla="*/ 104542 h 1333436"/>
                <a:gd name="connsiteX327" fmla="*/ 157024 w 752994"/>
                <a:gd name="connsiteY327" fmla="*/ 102304 h 1333436"/>
                <a:gd name="connsiteX328" fmla="*/ 160694 w 752994"/>
                <a:gd name="connsiteY328" fmla="*/ 55437 h 1333436"/>
                <a:gd name="connsiteX329" fmla="*/ 160486 w 752994"/>
                <a:gd name="connsiteY329" fmla="*/ 31991 h 1333436"/>
                <a:gd name="connsiteX330" fmla="*/ 164972 w 752994"/>
                <a:gd name="connsiteY330" fmla="*/ 18141 h 1333436"/>
                <a:gd name="connsiteX331" fmla="*/ 171911 w 752994"/>
                <a:gd name="connsiteY331" fmla="*/ 11204 h 1333436"/>
                <a:gd name="connsiteX332" fmla="*/ 187406 w 752994"/>
                <a:gd name="connsiteY332" fmla="*/ 21801 h 1333436"/>
                <a:gd name="connsiteX333" fmla="*/ 210866 w 752994"/>
                <a:gd name="connsiteY333" fmla="*/ 37086 h 1333436"/>
                <a:gd name="connsiteX334" fmla="*/ 219230 w 752994"/>
                <a:gd name="connsiteY334" fmla="*/ 41166 h 1333436"/>
                <a:gd name="connsiteX335" fmla="*/ 226778 w 752994"/>
                <a:gd name="connsiteY335" fmla="*/ 47486 h 1333436"/>
                <a:gd name="connsiteX336" fmla="*/ 236152 w 752994"/>
                <a:gd name="connsiteY336" fmla="*/ 52370 h 1333436"/>
                <a:gd name="connsiteX337" fmla="*/ 239629 w 752994"/>
                <a:gd name="connsiteY337" fmla="*/ 58491 h 1333436"/>
                <a:gd name="connsiteX338" fmla="*/ 239629 w 752994"/>
                <a:gd name="connsiteY338" fmla="*/ 63376 h 1333436"/>
                <a:gd name="connsiteX339" fmla="*/ 236568 w 752994"/>
                <a:gd name="connsiteY339" fmla="*/ 67457 h 1333436"/>
                <a:gd name="connsiteX340" fmla="*/ 231264 w 752994"/>
                <a:gd name="connsiteY340" fmla="*/ 69905 h 1333436"/>
                <a:gd name="connsiteX341" fmla="*/ 216778 w 752994"/>
                <a:gd name="connsiteY341" fmla="*/ 82741 h 1333436"/>
                <a:gd name="connsiteX342" fmla="*/ 214134 w 752994"/>
                <a:gd name="connsiteY342" fmla="*/ 93536 h 1333436"/>
                <a:gd name="connsiteX343" fmla="*/ 214535 w 752994"/>
                <a:gd name="connsiteY343" fmla="*/ 96801 h 1333436"/>
                <a:gd name="connsiteX344" fmla="*/ 216378 w 752994"/>
                <a:gd name="connsiteY344" fmla="*/ 96801 h 1333436"/>
                <a:gd name="connsiteX345" fmla="*/ 230046 w 752994"/>
                <a:gd name="connsiteY345" fmla="*/ 85387 h 1333436"/>
                <a:gd name="connsiteX346" fmla="*/ 243298 w 752994"/>
                <a:gd name="connsiteY346" fmla="*/ 75198 h 1333436"/>
                <a:gd name="connsiteX347" fmla="*/ 246760 w 752994"/>
                <a:gd name="connsiteY347" fmla="*/ 77646 h 1333436"/>
                <a:gd name="connsiteX348" fmla="*/ 255541 w 752994"/>
                <a:gd name="connsiteY348" fmla="*/ 63376 h 1333436"/>
                <a:gd name="connsiteX349" fmla="*/ 259611 w 752994"/>
                <a:gd name="connsiteY349" fmla="*/ 43405 h 1333436"/>
                <a:gd name="connsiteX350" fmla="*/ 256967 w 752994"/>
                <a:gd name="connsiteY350" fmla="*/ 38520 h 1333436"/>
                <a:gd name="connsiteX351" fmla="*/ 253906 w 752994"/>
                <a:gd name="connsiteY351" fmla="*/ 34242 h 1333436"/>
                <a:gd name="connsiteX352" fmla="*/ 256967 w 752994"/>
                <a:gd name="connsiteY352" fmla="*/ 30161 h 1333436"/>
                <a:gd name="connsiteX353" fmla="*/ 262063 w 752994"/>
                <a:gd name="connsiteY353" fmla="*/ 27712 h 1333436"/>
                <a:gd name="connsiteX354" fmla="*/ 264915 w 752994"/>
                <a:gd name="connsiteY354" fmla="*/ 23026 h 1333436"/>
                <a:gd name="connsiteX355" fmla="*/ 267976 w 752994"/>
                <a:gd name="connsiteY355" fmla="*/ 22618 h 1333436"/>
                <a:gd name="connsiteX356" fmla="*/ 270427 w 752994"/>
                <a:gd name="connsiteY356" fmla="*/ 20787 h 1333436"/>
                <a:gd name="connsiteX357" fmla="*/ 263088 w 752994"/>
                <a:gd name="connsiteY357" fmla="*/ 13652 h 1333436"/>
                <a:gd name="connsiteX358" fmla="*/ 255541 w 752994"/>
                <a:gd name="connsiteY358" fmla="*/ 3055 h 1333436"/>
                <a:gd name="connsiteX359" fmla="*/ 256358 w 752994"/>
                <a:gd name="connsiteY359" fmla="*/ 1224 h 1333436"/>
                <a:gd name="connsiteX360" fmla="*/ 257159 w 752994"/>
                <a:gd name="connsiteY360" fmla="*/ 0 h 1333436"/>
                <a:gd name="connsiteX0" fmla="*/ 396764 w 752994"/>
                <a:gd name="connsiteY0" fmla="*/ 1025373 h 1333436"/>
                <a:gd name="connsiteX1" fmla="*/ 399700 w 752994"/>
                <a:gd name="connsiteY1" fmla="*/ 1018971 h 1333436"/>
                <a:gd name="connsiteX2" fmla="*/ 396764 w 752994"/>
                <a:gd name="connsiteY2" fmla="*/ 1025373 h 1333436"/>
                <a:gd name="connsiteX3" fmla="*/ 184180 w 752994"/>
                <a:gd name="connsiteY3" fmla="*/ 213866 h 1333436"/>
                <a:gd name="connsiteX4" fmla="*/ 184117 w 752994"/>
                <a:gd name="connsiteY4" fmla="*/ 214326 h 1333436"/>
                <a:gd name="connsiteX5" fmla="*/ 185553 w 752994"/>
                <a:gd name="connsiteY5" fmla="*/ 222494 h 1333436"/>
                <a:gd name="connsiteX6" fmla="*/ 188600 w 752994"/>
                <a:gd name="connsiteY6" fmla="*/ 226970 h 1333436"/>
                <a:gd name="connsiteX7" fmla="*/ 195542 w 752994"/>
                <a:gd name="connsiteY7" fmla="*/ 231871 h 1333436"/>
                <a:gd name="connsiteX8" fmla="*/ 203093 w 752994"/>
                <a:gd name="connsiteY8" fmla="*/ 233896 h 1333436"/>
                <a:gd name="connsiteX9" fmla="*/ 217192 w 752994"/>
                <a:gd name="connsiteY9" fmla="*/ 232075 h 1333436"/>
                <a:gd name="connsiteX10" fmla="*/ 225136 w 752994"/>
                <a:gd name="connsiteY10" fmla="*/ 229829 h 1333436"/>
                <a:gd name="connsiteX11" fmla="*/ 235558 w 752994"/>
                <a:gd name="connsiteY11" fmla="*/ 232483 h 1333436"/>
                <a:gd name="connsiteX12" fmla="*/ 242499 w 752994"/>
                <a:gd name="connsiteY12" fmla="*/ 237163 h 1333436"/>
                <a:gd name="connsiteX13" fmla="*/ 248418 w 752994"/>
                <a:gd name="connsiteY13" fmla="*/ 244701 h 1333436"/>
                <a:gd name="connsiteX14" fmla="*/ 255359 w 752994"/>
                <a:gd name="connsiteY14" fmla="*/ 244906 h 1333436"/>
                <a:gd name="connsiteX15" fmla="*/ 258210 w 752994"/>
                <a:gd name="connsiteY15" fmla="*/ 244906 h 1333436"/>
                <a:gd name="connsiteX16" fmla="*/ 263303 w 752994"/>
                <a:gd name="connsiteY16" fmla="*/ 246131 h 1333436"/>
                <a:gd name="connsiteX17" fmla="*/ 269438 w 752994"/>
                <a:gd name="connsiteY17" fmla="*/ 243697 h 1333436"/>
                <a:gd name="connsiteX18" fmla="*/ 274944 w 752994"/>
                <a:gd name="connsiteY18" fmla="*/ 241451 h 1333436"/>
                <a:gd name="connsiteX19" fmla="*/ 281276 w 752994"/>
                <a:gd name="connsiteY19" fmla="*/ 245722 h 1333436"/>
                <a:gd name="connsiteX20" fmla="*/ 289240 w 752994"/>
                <a:gd name="connsiteY20" fmla="*/ 250419 h 1333436"/>
                <a:gd name="connsiteX21" fmla="*/ 297597 w 752994"/>
                <a:gd name="connsiteY21" fmla="*/ 248581 h 1333436"/>
                <a:gd name="connsiteX22" fmla="*/ 310261 w 752994"/>
                <a:gd name="connsiteY22" fmla="*/ 246539 h 1333436"/>
                <a:gd name="connsiteX23" fmla="*/ 324340 w 752994"/>
                <a:gd name="connsiteY23" fmla="*/ 244497 h 1333436"/>
                <a:gd name="connsiteX24" fmla="*/ 333523 w 752994"/>
                <a:gd name="connsiteY24" fmla="*/ 243289 h 1333436"/>
                <a:gd name="connsiteX25" fmla="*/ 341271 w 752994"/>
                <a:gd name="connsiteY25" fmla="*/ 246539 h 1333436"/>
                <a:gd name="connsiteX26" fmla="*/ 348428 w 752994"/>
                <a:gd name="connsiteY26" fmla="*/ 250011 h 1333436"/>
                <a:gd name="connsiteX27" fmla="*/ 351279 w 752994"/>
                <a:gd name="connsiteY27" fmla="*/ 247356 h 1333436"/>
                <a:gd name="connsiteX28" fmla="*/ 355566 w 752994"/>
                <a:gd name="connsiteY28" fmla="*/ 244293 h 1333436"/>
                <a:gd name="connsiteX29" fmla="*/ 365772 w 752994"/>
                <a:gd name="connsiteY29" fmla="*/ 248785 h 1333436"/>
                <a:gd name="connsiteX30" fmla="*/ 381483 w 752994"/>
                <a:gd name="connsiteY30" fmla="*/ 254912 h 1333436"/>
                <a:gd name="connsiteX31" fmla="*/ 381896 w 752994"/>
                <a:gd name="connsiteY31" fmla="*/ 255320 h 1333436"/>
                <a:gd name="connsiteX32" fmla="*/ 395366 w 752994"/>
                <a:gd name="connsiteY32" fmla="*/ 257753 h 1333436"/>
                <a:gd name="connsiteX33" fmla="*/ 414145 w 752994"/>
                <a:gd name="connsiteY33" fmla="*/ 262450 h 1333436"/>
                <a:gd name="connsiteX34" fmla="*/ 431292 w 752994"/>
                <a:gd name="connsiteY34" fmla="*/ 268151 h 1333436"/>
                <a:gd name="connsiteX35" fmla="*/ 445196 w 752994"/>
                <a:gd name="connsiteY35" fmla="*/ 269890 h 1333436"/>
                <a:gd name="connsiteX36" fmla="*/ 444145 w 752994"/>
                <a:gd name="connsiteY36" fmla="*/ 267441 h 1333436"/>
                <a:gd name="connsiteX37" fmla="*/ 444145 w 752994"/>
                <a:gd name="connsiteY37" fmla="*/ 267034 h 1333436"/>
                <a:gd name="connsiteX38" fmla="*/ 444155 w 752994"/>
                <a:gd name="connsiteY38" fmla="*/ 266811 h 1333436"/>
                <a:gd name="connsiteX39" fmla="*/ 430733 w 752994"/>
                <a:gd name="connsiteY39" fmla="*/ 265139 h 1333436"/>
                <a:gd name="connsiteX40" fmla="*/ 394839 w 752994"/>
                <a:gd name="connsiteY40" fmla="*/ 254739 h 1333436"/>
                <a:gd name="connsiteX41" fmla="*/ 381379 w 752994"/>
                <a:gd name="connsiteY41" fmla="*/ 252303 h 1333436"/>
                <a:gd name="connsiteX42" fmla="*/ 380962 w 752994"/>
                <a:gd name="connsiteY42" fmla="*/ 251895 h 1333436"/>
                <a:gd name="connsiteX43" fmla="*/ 365258 w 752994"/>
                <a:gd name="connsiteY43" fmla="*/ 245774 h 1333436"/>
                <a:gd name="connsiteX44" fmla="*/ 355067 w 752994"/>
                <a:gd name="connsiteY44" fmla="*/ 241285 h 1333436"/>
                <a:gd name="connsiteX45" fmla="*/ 350789 w 752994"/>
                <a:gd name="connsiteY45" fmla="*/ 244352 h 1333436"/>
                <a:gd name="connsiteX46" fmla="*/ 347920 w 752994"/>
                <a:gd name="connsiteY46" fmla="*/ 246998 h 1333436"/>
                <a:gd name="connsiteX47" fmla="*/ 340789 w 752994"/>
                <a:gd name="connsiteY47" fmla="*/ 243536 h 1333436"/>
                <a:gd name="connsiteX48" fmla="*/ 333034 w 752994"/>
                <a:gd name="connsiteY48" fmla="*/ 240271 h 1333436"/>
                <a:gd name="connsiteX49" fmla="*/ 323868 w 752994"/>
                <a:gd name="connsiteY49" fmla="*/ 241495 h 1333436"/>
                <a:gd name="connsiteX50" fmla="*/ 309783 w 752994"/>
                <a:gd name="connsiteY50" fmla="*/ 243536 h 1333436"/>
                <a:gd name="connsiteX51" fmla="*/ 297140 w 752994"/>
                <a:gd name="connsiteY51" fmla="*/ 245576 h 1333436"/>
                <a:gd name="connsiteX52" fmla="*/ 288775 w 752994"/>
                <a:gd name="connsiteY52" fmla="*/ 247406 h 1333436"/>
                <a:gd name="connsiteX53" fmla="*/ 280827 w 752994"/>
                <a:gd name="connsiteY53" fmla="*/ 242720 h 1333436"/>
                <a:gd name="connsiteX54" fmla="*/ 274497 w 752994"/>
                <a:gd name="connsiteY54" fmla="*/ 238441 h 1333436"/>
                <a:gd name="connsiteX55" fmla="*/ 269001 w 752994"/>
                <a:gd name="connsiteY55" fmla="*/ 240679 h 1333436"/>
                <a:gd name="connsiteX56" fmla="*/ 262880 w 752994"/>
                <a:gd name="connsiteY56" fmla="*/ 243128 h 1333436"/>
                <a:gd name="connsiteX57" fmla="*/ 260028 w 752994"/>
                <a:gd name="connsiteY57" fmla="*/ 242720 h 1333436"/>
                <a:gd name="connsiteX58" fmla="*/ 247994 w 752994"/>
                <a:gd name="connsiteY58" fmla="*/ 241693 h 1333436"/>
                <a:gd name="connsiteX59" fmla="*/ 242081 w 752994"/>
                <a:gd name="connsiteY59" fmla="*/ 234162 h 1333436"/>
                <a:gd name="connsiteX60" fmla="*/ 235142 w 752994"/>
                <a:gd name="connsiteY60" fmla="*/ 229476 h 1333436"/>
                <a:gd name="connsiteX61" fmla="*/ 224742 w 752994"/>
                <a:gd name="connsiteY61" fmla="*/ 226817 h 1333436"/>
                <a:gd name="connsiteX62" fmla="*/ 216778 w 752994"/>
                <a:gd name="connsiteY62" fmla="*/ 229068 h 1333436"/>
                <a:gd name="connsiteX63" fmla="*/ 202709 w 752994"/>
                <a:gd name="connsiteY63" fmla="*/ 230898 h 1333436"/>
                <a:gd name="connsiteX64" fmla="*/ 195162 w 752994"/>
                <a:gd name="connsiteY64" fmla="*/ 228857 h 1333436"/>
                <a:gd name="connsiteX65" fmla="*/ 188223 w 752994"/>
                <a:gd name="connsiteY65" fmla="*/ 223973 h 1333436"/>
                <a:gd name="connsiteX66" fmla="*/ 185163 w 752994"/>
                <a:gd name="connsiteY66" fmla="*/ 219484 h 1333436"/>
                <a:gd name="connsiteX67" fmla="*/ 184180 w 752994"/>
                <a:gd name="connsiteY67" fmla="*/ 213866 h 1333436"/>
                <a:gd name="connsiteX68" fmla="*/ 257159 w 752994"/>
                <a:gd name="connsiteY68" fmla="*/ 0 h 1333436"/>
                <a:gd name="connsiteX69" fmla="*/ 493147 w 752994"/>
                <a:gd name="connsiteY69" fmla="*/ 73157 h 1333436"/>
                <a:gd name="connsiteX70" fmla="*/ 492970 w 752994"/>
                <a:gd name="connsiteY70" fmla="*/ 73792 h 1333436"/>
                <a:gd name="connsiteX71" fmla="*/ 525816 w 752994"/>
                <a:gd name="connsiteY71" fmla="*/ 82491 h 1333436"/>
                <a:gd name="connsiteX72" fmla="*/ 520098 w 752994"/>
                <a:gd name="connsiteY72" fmla="*/ 111245 h 1333436"/>
                <a:gd name="connsiteX73" fmla="*/ 512552 w 752994"/>
                <a:gd name="connsiteY73" fmla="*/ 143854 h 1333436"/>
                <a:gd name="connsiteX74" fmla="*/ 517849 w 752994"/>
                <a:gd name="connsiteY74" fmla="*/ 157740 h 1333436"/>
                <a:gd name="connsiteX75" fmla="*/ 523160 w 752994"/>
                <a:gd name="connsiteY75" fmla="*/ 172009 h 1333436"/>
                <a:gd name="connsiteX76" fmla="*/ 521535 w 752994"/>
                <a:gd name="connsiteY76" fmla="*/ 178928 h 1333436"/>
                <a:gd name="connsiteX77" fmla="*/ 520098 w 752994"/>
                <a:gd name="connsiteY77" fmla="*/ 186279 h 1333436"/>
                <a:gd name="connsiteX78" fmla="*/ 526019 w 752994"/>
                <a:gd name="connsiteY78" fmla="*/ 193629 h 1333436"/>
                <a:gd name="connsiteX79" fmla="*/ 537251 w 752994"/>
                <a:gd name="connsiteY79" fmla="*/ 206270 h 1333436"/>
                <a:gd name="connsiteX80" fmla="*/ 542765 w 752994"/>
                <a:gd name="connsiteY80" fmla="*/ 217475 h 1333436"/>
                <a:gd name="connsiteX81" fmla="*/ 546857 w 752994"/>
                <a:gd name="connsiteY81" fmla="*/ 230930 h 1333436"/>
                <a:gd name="connsiteX82" fmla="*/ 549499 w 752994"/>
                <a:gd name="connsiteY82" fmla="*/ 235622 h 1333436"/>
                <a:gd name="connsiteX83" fmla="*/ 553388 w 752994"/>
                <a:gd name="connsiteY83" fmla="*/ 240722 h 1333436"/>
                <a:gd name="connsiteX84" fmla="*/ 557465 w 752994"/>
                <a:gd name="connsiteY84" fmla="*/ 246037 h 1333436"/>
                <a:gd name="connsiteX85" fmla="*/ 561761 w 752994"/>
                <a:gd name="connsiteY85" fmla="*/ 248671 h 1333436"/>
                <a:gd name="connsiteX86" fmla="*/ 567478 w 752994"/>
                <a:gd name="connsiteY86" fmla="*/ 247665 h 1333436"/>
                <a:gd name="connsiteX87" fmla="*/ 569931 w 752994"/>
                <a:gd name="connsiteY87" fmla="*/ 249293 h 1333436"/>
                <a:gd name="connsiteX88" fmla="*/ 570540 w 752994"/>
                <a:gd name="connsiteY88" fmla="*/ 251951 h 1333436"/>
                <a:gd name="connsiteX89" fmla="*/ 561964 w 752994"/>
                <a:gd name="connsiteY89" fmla="*/ 267656 h 1333436"/>
                <a:gd name="connsiteX90" fmla="*/ 553591 w 752994"/>
                <a:gd name="connsiteY90" fmla="*/ 289659 h 1333436"/>
                <a:gd name="connsiteX91" fmla="*/ 554810 w 752994"/>
                <a:gd name="connsiteY91" fmla="*/ 292939 h 1333436"/>
                <a:gd name="connsiteX92" fmla="*/ 556246 w 752994"/>
                <a:gd name="connsiteY92" fmla="*/ 299260 h 1333436"/>
                <a:gd name="connsiteX93" fmla="*/ 552778 w 752994"/>
                <a:gd name="connsiteY93" fmla="*/ 301917 h 1333436"/>
                <a:gd name="connsiteX94" fmla="*/ 549295 w 752994"/>
                <a:gd name="connsiteY94" fmla="*/ 306993 h 1333436"/>
                <a:gd name="connsiteX95" fmla="*/ 547061 w 752994"/>
                <a:gd name="connsiteY95" fmla="*/ 313122 h 1333436"/>
                <a:gd name="connsiteX96" fmla="*/ 544811 w 752994"/>
                <a:gd name="connsiteY96" fmla="*/ 316593 h 1333436"/>
                <a:gd name="connsiteX97" fmla="*/ 549919 w 752994"/>
                <a:gd name="connsiteY97" fmla="*/ 322698 h 1333436"/>
                <a:gd name="connsiteX98" fmla="*/ 553184 w 752994"/>
                <a:gd name="connsiteY98" fmla="*/ 325955 h 1333436"/>
                <a:gd name="connsiteX99" fmla="*/ 555840 w 752994"/>
                <a:gd name="connsiteY99" fmla="*/ 328205 h 1333436"/>
                <a:gd name="connsiteX100" fmla="*/ 574212 w 752994"/>
                <a:gd name="connsiteY100" fmla="*/ 318820 h 1333436"/>
                <a:gd name="connsiteX101" fmla="*/ 579523 w 752994"/>
                <a:gd name="connsiteY101" fmla="*/ 326577 h 1333436"/>
                <a:gd name="connsiteX102" fmla="*/ 580539 w 752994"/>
                <a:gd name="connsiteY102" fmla="*/ 334933 h 1333436"/>
                <a:gd name="connsiteX103" fmla="*/ 579726 w 752994"/>
                <a:gd name="connsiteY103" fmla="*/ 343097 h 1333436"/>
                <a:gd name="connsiteX104" fmla="*/ 581366 w 752994"/>
                <a:gd name="connsiteY104" fmla="*/ 350231 h 1333436"/>
                <a:gd name="connsiteX105" fmla="*/ 586256 w 752994"/>
                <a:gd name="connsiteY105" fmla="*/ 355930 h 1333436"/>
                <a:gd name="connsiteX106" fmla="*/ 589536 w 752994"/>
                <a:gd name="connsiteY106" fmla="*/ 362059 h 1333436"/>
                <a:gd name="connsiteX107" fmla="*/ 588099 w 752994"/>
                <a:gd name="connsiteY107" fmla="*/ 369600 h 1333436"/>
                <a:gd name="connsiteX108" fmla="*/ 586459 w 752994"/>
                <a:gd name="connsiteY108" fmla="*/ 377357 h 1333436"/>
                <a:gd name="connsiteX109" fmla="*/ 588709 w 752994"/>
                <a:gd name="connsiteY109" fmla="*/ 381835 h 1333436"/>
                <a:gd name="connsiteX110" fmla="*/ 595036 w 752994"/>
                <a:gd name="connsiteY110" fmla="*/ 382457 h 1333436"/>
                <a:gd name="connsiteX111" fmla="*/ 599331 w 752994"/>
                <a:gd name="connsiteY111" fmla="*/ 385306 h 1333436"/>
                <a:gd name="connsiteX112" fmla="*/ 601987 w 752994"/>
                <a:gd name="connsiteY112" fmla="*/ 391004 h 1333436"/>
                <a:gd name="connsiteX113" fmla="*/ 602799 w 752994"/>
                <a:gd name="connsiteY113" fmla="*/ 404076 h 1333436"/>
                <a:gd name="connsiteX114" fmla="*/ 606892 w 752994"/>
                <a:gd name="connsiteY114" fmla="*/ 415688 h 1333436"/>
                <a:gd name="connsiteX115" fmla="*/ 610563 w 752994"/>
                <a:gd name="connsiteY115" fmla="*/ 412217 h 1333436"/>
                <a:gd name="connsiteX116" fmla="*/ 617920 w 752994"/>
                <a:gd name="connsiteY116" fmla="*/ 408769 h 1333436"/>
                <a:gd name="connsiteX117" fmla="*/ 624654 w 752994"/>
                <a:gd name="connsiteY117" fmla="*/ 411211 h 1333436"/>
                <a:gd name="connsiteX118" fmla="*/ 634652 w 752994"/>
                <a:gd name="connsiteY118" fmla="*/ 410182 h 1333436"/>
                <a:gd name="connsiteX119" fmla="*/ 640573 w 752994"/>
                <a:gd name="connsiteY119" fmla="*/ 407739 h 1333436"/>
                <a:gd name="connsiteX120" fmla="*/ 646711 w 752994"/>
                <a:gd name="connsiteY120" fmla="*/ 410589 h 1333436"/>
                <a:gd name="connsiteX121" fmla="*/ 650383 w 752994"/>
                <a:gd name="connsiteY121" fmla="*/ 410589 h 1333436"/>
                <a:gd name="connsiteX122" fmla="*/ 654257 w 752994"/>
                <a:gd name="connsiteY122" fmla="*/ 411618 h 1333436"/>
                <a:gd name="connsiteX123" fmla="*/ 656913 w 752994"/>
                <a:gd name="connsiteY123" fmla="*/ 413653 h 1333436"/>
                <a:gd name="connsiteX124" fmla="*/ 660802 w 752994"/>
                <a:gd name="connsiteY124" fmla="*/ 415090 h 1333436"/>
                <a:gd name="connsiteX125" fmla="*/ 669581 w 752994"/>
                <a:gd name="connsiteY125" fmla="*/ 415904 h 1333436"/>
                <a:gd name="connsiteX126" fmla="*/ 672237 w 752994"/>
                <a:gd name="connsiteY126" fmla="*/ 415688 h 1333436"/>
                <a:gd name="connsiteX127" fmla="*/ 675705 w 752994"/>
                <a:gd name="connsiteY127" fmla="*/ 409367 h 1333436"/>
                <a:gd name="connsiteX128" fmla="*/ 679986 w 752994"/>
                <a:gd name="connsiteY128" fmla="*/ 403238 h 1333436"/>
                <a:gd name="connsiteX129" fmla="*/ 693264 w 752994"/>
                <a:gd name="connsiteY129" fmla="*/ 419567 h 1333436"/>
                <a:gd name="connsiteX130" fmla="*/ 688563 w 752994"/>
                <a:gd name="connsiteY130" fmla="*/ 448321 h 1333436"/>
                <a:gd name="connsiteX131" fmla="*/ 663949 w 752994"/>
                <a:gd name="connsiteY131" fmla="*/ 590165 h 1333436"/>
                <a:gd name="connsiteX132" fmla="*/ 666304 w 752994"/>
                <a:gd name="connsiteY132" fmla="*/ 590504 h 1333436"/>
                <a:gd name="connsiteX133" fmla="*/ 655288 w 752994"/>
                <a:gd name="connsiteY133" fmla="*/ 656178 h 1333436"/>
                <a:gd name="connsiteX134" fmla="*/ 681808 w 752994"/>
                <a:gd name="connsiteY134" fmla="*/ 662301 h 1333436"/>
                <a:gd name="connsiteX135" fmla="*/ 752994 w 752994"/>
                <a:gd name="connsiteY135" fmla="*/ 675560 h 1333436"/>
                <a:gd name="connsiteX136" fmla="*/ 714651 w 752994"/>
                <a:gd name="connsiteY136" fmla="*/ 946985 h 1333436"/>
                <a:gd name="connsiteX137" fmla="*/ 654533 w 752994"/>
                <a:gd name="connsiteY137" fmla="*/ 1333436 h 1333436"/>
                <a:gd name="connsiteX138" fmla="*/ 546831 w 752994"/>
                <a:gd name="connsiteY138" fmla="*/ 1317126 h 1333436"/>
                <a:gd name="connsiteX139" fmla="*/ 351227 w 752994"/>
                <a:gd name="connsiteY139" fmla="*/ 1194172 h 1333436"/>
                <a:gd name="connsiteX140" fmla="*/ 361011 w 752994"/>
                <a:gd name="connsiteY140" fmla="*/ 1182755 h 1333436"/>
                <a:gd name="connsiteX141" fmla="*/ 368981 w 752994"/>
                <a:gd name="connsiteY141" fmla="*/ 1182130 h 1333436"/>
                <a:gd name="connsiteX142" fmla="*/ 369571 w 752994"/>
                <a:gd name="connsiteY142" fmla="*/ 1181558 h 1333436"/>
                <a:gd name="connsiteX143" fmla="*/ 362372 w 752994"/>
                <a:gd name="connsiteY143" fmla="*/ 1182120 h 1333436"/>
                <a:gd name="connsiteX144" fmla="*/ 229464 w 752994"/>
                <a:gd name="connsiteY144" fmla="*/ 1161721 h 1333436"/>
                <a:gd name="connsiteX145" fmla="*/ 227427 w 752994"/>
                <a:gd name="connsiteY145" fmla="*/ 1157269 h 1333436"/>
                <a:gd name="connsiteX146" fmla="*/ 224967 w 752994"/>
                <a:gd name="connsiteY146" fmla="*/ 1152575 h 1333436"/>
                <a:gd name="connsiteX147" fmla="*/ 225582 w 752994"/>
                <a:gd name="connsiteY147" fmla="*/ 1144808 h 1333436"/>
                <a:gd name="connsiteX148" fmla="*/ 227215 w 752994"/>
                <a:gd name="connsiteY148" fmla="*/ 1135834 h 1333436"/>
                <a:gd name="connsiteX149" fmla="*/ 227215 w 752994"/>
                <a:gd name="connsiteY149" fmla="*/ 1134212 h 1333436"/>
                <a:gd name="connsiteX150" fmla="*/ 225179 w 752994"/>
                <a:gd name="connsiteY150" fmla="*/ 1114020 h 1333436"/>
                <a:gd name="connsiteX151" fmla="*/ 217839 w 752994"/>
                <a:gd name="connsiteY151" fmla="*/ 1100352 h 1333436"/>
                <a:gd name="connsiteX152" fmla="*/ 199661 w 752994"/>
                <a:gd name="connsiteY152" fmla="*/ 1076502 h 1333436"/>
                <a:gd name="connsiteX153" fmla="*/ 196395 w 752994"/>
                <a:gd name="connsiteY153" fmla="*/ 1071807 h 1333436"/>
                <a:gd name="connsiteX154" fmla="*/ 190880 w 752994"/>
                <a:gd name="connsiteY154" fmla="*/ 1067527 h 1333436"/>
                <a:gd name="connsiteX155" fmla="*/ 187210 w 752994"/>
                <a:gd name="connsiteY155" fmla="*/ 1068735 h 1333436"/>
                <a:gd name="connsiteX156" fmla="*/ 180062 w 752994"/>
                <a:gd name="connsiteY156" fmla="*/ 1066699 h 1333436"/>
                <a:gd name="connsiteX157" fmla="*/ 180466 w 752994"/>
                <a:gd name="connsiteY157" fmla="*/ 1053031 h 1333436"/>
                <a:gd name="connsiteX158" fmla="*/ 180062 w 752994"/>
                <a:gd name="connsiteY158" fmla="*/ 1045299 h 1333436"/>
                <a:gd name="connsiteX159" fmla="*/ 174144 w 752994"/>
                <a:gd name="connsiteY159" fmla="*/ 1044057 h 1333436"/>
                <a:gd name="connsiteX160" fmla="*/ 158426 w 752994"/>
                <a:gd name="connsiteY160" fmla="*/ 1042641 h 1333436"/>
                <a:gd name="connsiteX161" fmla="*/ 149857 w 752994"/>
                <a:gd name="connsiteY161" fmla="*/ 1035497 h 1333436"/>
                <a:gd name="connsiteX162" fmla="*/ 142497 w 752994"/>
                <a:gd name="connsiteY162" fmla="*/ 1028766 h 1333436"/>
                <a:gd name="connsiteX163" fmla="*/ 140864 w 752994"/>
                <a:gd name="connsiteY163" fmla="*/ 1020620 h 1333436"/>
                <a:gd name="connsiteX164" fmla="*/ 138212 w 752994"/>
                <a:gd name="connsiteY164" fmla="*/ 1013061 h 1333436"/>
                <a:gd name="connsiteX165" fmla="*/ 131064 w 752994"/>
                <a:gd name="connsiteY165" fmla="*/ 1007159 h 1333436"/>
                <a:gd name="connsiteX166" fmla="*/ 121264 w 752994"/>
                <a:gd name="connsiteY166" fmla="*/ 1005330 h 1333436"/>
                <a:gd name="connsiteX167" fmla="*/ 112483 w 752994"/>
                <a:gd name="connsiteY167" fmla="*/ 1001671 h 1333436"/>
                <a:gd name="connsiteX168" fmla="*/ 105950 w 752994"/>
                <a:gd name="connsiteY168" fmla="*/ 995734 h 1333436"/>
                <a:gd name="connsiteX169" fmla="*/ 97380 w 752994"/>
                <a:gd name="connsiteY169" fmla="*/ 994526 h 1333436"/>
                <a:gd name="connsiteX170" fmla="*/ 87984 w 752994"/>
                <a:gd name="connsiteY170" fmla="*/ 991040 h 1333436"/>
                <a:gd name="connsiteX171" fmla="*/ 80029 w 752994"/>
                <a:gd name="connsiteY171" fmla="*/ 985138 h 1333436"/>
                <a:gd name="connsiteX172" fmla="*/ 77166 w 752994"/>
                <a:gd name="connsiteY172" fmla="*/ 976164 h 1333436"/>
                <a:gd name="connsiteX173" fmla="*/ 79203 w 752994"/>
                <a:gd name="connsiteY173" fmla="*/ 970676 h 1333436"/>
                <a:gd name="connsiteX174" fmla="*/ 82470 w 752994"/>
                <a:gd name="connsiteY174" fmla="*/ 963117 h 1333436"/>
                <a:gd name="connsiteX175" fmla="*/ 84314 w 752994"/>
                <a:gd name="connsiteY175" fmla="*/ 954557 h 1333436"/>
                <a:gd name="connsiteX176" fmla="*/ 86351 w 752994"/>
                <a:gd name="connsiteY176" fmla="*/ 948033 h 1333436"/>
                <a:gd name="connsiteX177" fmla="*/ 86159 w 752994"/>
                <a:gd name="connsiteY177" fmla="*/ 942925 h 1333436"/>
                <a:gd name="connsiteX178" fmla="*/ 83085 w 752994"/>
                <a:gd name="connsiteY178" fmla="*/ 939853 h 1333436"/>
                <a:gd name="connsiteX179" fmla="*/ 77570 w 752994"/>
                <a:gd name="connsiteY179" fmla="*/ 937437 h 1333436"/>
                <a:gd name="connsiteX180" fmla="*/ 76763 w 752994"/>
                <a:gd name="connsiteY180" fmla="*/ 931915 h 1333436"/>
                <a:gd name="connsiteX181" fmla="*/ 78800 w 752994"/>
                <a:gd name="connsiteY181" fmla="*/ 927013 h 1333436"/>
                <a:gd name="connsiteX182" fmla="*/ 79626 w 752994"/>
                <a:gd name="connsiteY182" fmla="*/ 922526 h 1333436"/>
                <a:gd name="connsiteX183" fmla="*/ 77781 w 752994"/>
                <a:gd name="connsiteY183" fmla="*/ 919903 h 1333436"/>
                <a:gd name="connsiteX184" fmla="*/ 74303 w 752994"/>
                <a:gd name="connsiteY184" fmla="*/ 917418 h 1333436"/>
                <a:gd name="connsiteX185" fmla="*/ 71863 w 752994"/>
                <a:gd name="connsiteY185" fmla="*/ 915174 h 1333436"/>
                <a:gd name="connsiteX186" fmla="*/ 71652 w 752994"/>
                <a:gd name="connsiteY186" fmla="*/ 910894 h 1333436"/>
                <a:gd name="connsiteX187" fmla="*/ 70633 w 752994"/>
                <a:gd name="connsiteY187" fmla="*/ 906614 h 1333436"/>
                <a:gd name="connsiteX188" fmla="*/ 68385 w 752994"/>
                <a:gd name="connsiteY188" fmla="*/ 902749 h 1333436"/>
                <a:gd name="connsiteX189" fmla="*/ 61045 w 752994"/>
                <a:gd name="connsiteY189" fmla="*/ 889494 h 1333436"/>
                <a:gd name="connsiteX190" fmla="*/ 57971 w 752994"/>
                <a:gd name="connsiteY190" fmla="*/ 875619 h 1333436"/>
                <a:gd name="connsiteX191" fmla="*/ 52264 w 752994"/>
                <a:gd name="connsiteY191" fmla="*/ 862572 h 1333436"/>
                <a:gd name="connsiteX192" fmla="*/ 44309 w 752994"/>
                <a:gd name="connsiteY192" fmla="*/ 850561 h 1333436"/>
                <a:gd name="connsiteX193" fmla="*/ 45520 w 752994"/>
                <a:gd name="connsiteY193" fmla="*/ 827090 h 1333436"/>
                <a:gd name="connsiteX194" fmla="*/ 53071 w 752994"/>
                <a:gd name="connsiteY194" fmla="*/ 822396 h 1333436"/>
                <a:gd name="connsiteX195" fmla="*/ 57375 w 752994"/>
                <a:gd name="connsiteY195" fmla="*/ 816493 h 1333436"/>
                <a:gd name="connsiteX196" fmla="*/ 55319 w 752994"/>
                <a:gd name="connsiteY196" fmla="*/ 801617 h 1333436"/>
                <a:gd name="connsiteX197" fmla="*/ 48383 w 752994"/>
                <a:gd name="connsiteY197" fmla="*/ 802204 h 1333436"/>
                <a:gd name="connsiteX198" fmla="*/ 40428 w 752994"/>
                <a:gd name="connsiteY198" fmla="*/ 797924 h 1333436"/>
                <a:gd name="connsiteX199" fmla="*/ 37565 w 752994"/>
                <a:gd name="connsiteY199" fmla="*/ 790606 h 1333436"/>
                <a:gd name="connsiteX200" fmla="*/ 37565 w 752994"/>
                <a:gd name="connsiteY200" fmla="*/ 790399 h 1333436"/>
                <a:gd name="connsiteX201" fmla="*/ 35931 w 752994"/>
                <a:gd name="connsiteY201" fmla="*/ 785912 h 1333436"/>
                <a:gd name="connsiteX202" fmla="*/ 34510 w 752994"/>
                <a:gd name="connsiteY202" fmla="*/ 780597 h 1333436"/>
                <a:gd name="connsiteX203" fmla="*/ 36335 w 752994"/>
                <a:gd name="connsiteY203" fmla="*/ 774280 h 1333436"/>
                <a:gd name="connsiteX204" fmla="*/ 38180 w 752994"/>
                <a:gd name="connsiteY204" fmla="*/ 766721 h 1333436"/>
                <a:gd name="connsiteX205" fmla="*/ 37161 w 752994"/>
                <a:gd name="connsiteY205" fmla="*/ 760405 h 1333436"/>
                <a:gd name="connsiteX206" fmla="*/ 35720 w 752994"/>
                <a:gd name="connsiteY206" fmla="*/ 754710 h 1333436"/>
                <a:gd name="connsiteX207" fmla="*/ 36546 w 752994"/>
                <a:gd name="connsiteY207" fmla="*/ 748773 h 1333436"/>
                <a:gd name="connsiteX208" fmla="*/ 38372 w 752994"/>
                <a:gd name="connsiteY208" fmla="*/ 744528 h 1333436"/>
                <a:gd name="connsiteX209" fmla="*/ 41638 w 752994"/>
                <a:gd name="connsiteY209" fmla="*/ 744321 h 1333436"/>
                <a:gd name="connsiteX210" fmla="*/ 44713 w 752994"/>
                <a:gd name="connsiteY210" fmla="*/ 746357 h 1333436"/>
                <a:gd name="connsiteX211" fmla="*/ 47364 w 752994"/>
                <a:gd name="connsiteY211" fmla="*/ 753260 h 1333436"/>
                <a:gd name="connsiteX212" fmla="*/ 55742 w 752994"/>
                <a:gd name="connsiteY212" fmla="*/ 764305 h 1333436"/>
                <a:gd name="connsiteX213" fmla="*/ 56338 w 752994"/>
                <a:gd name="connsiteY213" fmla="*/ 761233 h 1333436"/>
                <a:gd name="connsiteX214" fmla="*/ 56145 w 752994"/>
                <a:gd name="connsiteY214" fmla="*/ 757368 h 1333436"/>
                <a:gd name="connsiteX215" fmla="*/ 54916 w 752994"/>
                <a:gd name="connsiteY215" fmla="*/ 748601 h 1333436"/>
                <a:gd name="connsiteX216" fmla="*/ 52879 w 752994"/>
                <a:gd name="connsiteY216" fmla="*/ 747358 h 1333436"/>
                <a:gd name="connsiteX217" fmla="*/ 51649 w 752994"/>
                <a:gd name="connsiteY217" fmla="*/ 745322 h 1333436"/>
                <a:gd name="connsiteX218" fmla="*/ 51649 w 752994"/>
                <a:gd name="connsiteY218" fmla="*/ 739212 h 1333436"/>
                <a:gd name="connsiteX219" fmla="*/ 50227 w 752994"/>
                <a:gd name="connsiteY219" fmla="*/ 734725 h 1333436"/>
                <a:gd name="connsiteX220" fmla="*/ 48786 w 752994"/>
                <a:gd name="connsiteY220" fmla="*/ 731446 h 1333436"/>
                <a:gd name="connsiteX221" fmla="*/ 54512 w 752994"/>
                <a:gd name="connsiteY221" fmla="*/ 726372 h 1333436"/>
                <a:gd name="connsiteX222" fmla="*/ 59815 w 752994"/>
                <a:gd name="connsiteY222" fmla="*/ 725130 h 1333436"/>
                <a:gd name="connsiteX223" fmla="*/ 58182 w 752994"/>
                <a:gd name="connsiteY223" fmla="*/ 722886 h 1333436"/>
                <a:gd name="connsiteX224" fmla="*/ 51861 w 752994"/>
                <a:gd name="connsiteY224" fmla="*/ 717985 h 1333436"/>
                <a:gd name="connsiteX225" fmla="*/ 46749 w 752994"/>
                <a:gd name="connsiteY225" fmla="*/ 729617 h 1333436"/>
                <a:gd name="connsiteX226" fmla="*/ 40831 w 752994"/>
                <a:gd name="connsiteY226" fmla="*/ 739212 h 1333436"/>
                <a:gd name="connsiteX227" fmla="*/ 39601 w 752994"/>
                <a:gd name="connsiteY227" fmla="*/ 738798 h 1333436"/>
                <a:gd name="connsiteX228" fmla="*/ 39409 w 752994"/>
                <a:gd name="connsiteY228" fmla="*/ 738591 h 1333436"/>
                <a:gd name="connsiteX229" fmla="*/ 37161 w 752994"/>
                <a:gd name="connsiteY229" fmla="*/ 734725 h 1333436"/>
                <a:gd name="connsiteX230" fmla="*/ 32665 w 752994"/>
                <a:gd name="connsiteY230" fmla="*/ 727788 h 1333436"/>
                <a:gd name="connsiteX231" fmla="*/ 26747 w 752994"/>
                <a:gd name="connsiteY231" fmla="*/ 719435 h 1333436"/>
                <a:gd name="connsiteX232" fmla="*/ 23884 w 752994"/>
                <a:gd name="connsiteY232" fmla="*/ 717812 h 1333436"/>
                <a:gd name="connsiteX233" fmla="*/ 24710 w 752994"/>
                <a:gd name="connsiteY233" fmla="*/ 709632 h 1333436"/>
                <a:gd name="connsiteX234" fmla="*/ 27554 w 752994"/>
                <a:gd name="connsiteY234" fmla="*/ 701694 h 1333436"/>
                <a:gd name="connsiteX235" fmla="*/ 24902 w 752994"/>
                <a:gd name="connsiteY235" fmla="*/ 696171 h 1333436"/>
                <a:gd name="connsiteX236" fmla="*/ 24095 w 752994"/>
                <a:gd name="connsiteY236" fmla="*/ 687818 h 1333436"/>
                <a:gd name="connsiteX237" fmla="*/ 22462 w 752994"/>
                <a:gd name="connsiteY237" fmla="*/ 682330 h 1333436"/>
                <a:gd name="connsiteX238" fmla="*/ 17159 w 752994"/>
                <a:gd name="connsiteY238" fmla="*/ 677636 h 1333436"/>
                <a:gd name="connsiteX239" fmla="*/ 14296 w 752994"/>
                <a:gd name="connsiteY239" fmla="*/ 671492 h 1333436"/>
                <a:gd name="connsiteX240" fmla="*/ 12451 w 752994"/>
                <a:gd name="connsiteY240" fmla="*/ 665797 h 1333436"/>
                <a:gd name="connsiteX241" fmla="*/ 5111 w 752994"/>
                <a:gd name="connsiteY241" fmla="*/ 654994 h 1333436"/>
                <a:gd name="connsiteX242" fmla="*/ 2248 w 752994"/>
                <a:gd name="connsiteY242" fmla="*/ 645605 h 1333436"/>
                <a:gd name="connsiteX243" fmla="*/ 4496 w 752994"/>
                <a:gd name="connsiteY243" fmla="*/ 640497 h 1333436"/>
                <a:gd name="connsiteX244" fmla="*/ 6744 w 752994"/>
                <a:gd name="connsiteY244" fmla="*/ 632765 h 1333436"/>
                <a:gd name="connsiteX245" fmla="*/ 6744 w 752994"/>
                <a:gd name="connsiteY245" fmla="*/ 628485 h 1333436"/>
                <a:gd name="connsiteX246" fmla="*/ 6533 w 752994"/>
                <a:gd name="connsiteY246" fmla="*/ 620305 h 1333436"/>
                <a:gd name="connsiteX247" fmla="*/ 7359 w 752994"/>
                <a:gd name="connsiteY247" fmla="*/ 611745 h 1333436"/>
                <a:gd name="connsiteX248" fmla="*/ 11836 w 752994"/>
                <a:gd name="connsiteY248" fmla="*/ 602978 h 1333436"/>
                <a:gd name="connsiteX249" fmla="*/ 15103 w 752994"/>
                <a:gd name="connsiteY249" fmla="*/ 591760 h 1333436"/>
                <a:gd name="connsiteX250" fmla="*/ 14488 w 752994"/>
                <a:gd name="connsiteY250" fmla="*/ 584029 h 1333436"/>
                <a:gd name="connsiteX251" fmla="*/ 13873 w 752994"/>
                <a:gd name="connsiteY251" fmla="*/ 578299 h 1333436"/>
                <a:gd name="connsiteX252" fmla="*/ 10626 w 752994"/>
                <a:gd name="connsiteY252" fmla="*/ 568531 h 1333436"/>
                <a:gd name="connsiteX253" fmla="*/ 3670 w 752994"/>
                <a:gd name="connsiteY253" fmla="*/ 558107 h 1333436"/>
                <a:gd name="connsiteX254" fmla="*/ 0 w 752994"/>
                <a:gd name="connsiteY254" fmla="*/ 551377 h 1333436"/>
                <a:gd name="connsiteX255" fmla="*/ 0 w 752994"/>
                <a:gd name="connsiteY255" fmla="*/ 550997 h 1333436"/>
                <a:gd name="connsiteX256" fmla="*/ 4900 w 752994"/>
                <a:gd name="connsiteY256" fmla="*/ 531220 h 1333436"/>
                <a:gd name="connsiteX257" fmla="*/ 13873 w 752994"/>
                <a:gd name="connsiteY257" fmla="*/ 520589 h 1333436"/>
                <a:gd name="connsiteX258" fmla="*/ 18369 w 752994"/>
                <a:gd name="connsiteY258" fmla="*/ 516516 h 1333436"/>
                <a:gd name="connsiteX259" fmla="*/ 18773 w 752994"/>
                <a:gd name="connsiteY259" fmla="*/ 514272 h 1333436"/>
                <a:gd name="connsiteX260" fmla="*/ 23077 w 752994"/>
                <a:gd name="connsiteY260" fmla="*/ 506127 h 1333436"/>
                <a:gd name="connsiteX261" fmla="*/ 23884 w 752994"/>
                <a:gd name="connsiteY261" fmla="*/ 502261 h 1333436"/>
                <a:gd name="connsiteX262" fmla="*/ 23692 w 752994"/>
                <a:gd name="connsiteY262" fmla="*/ 496738 h 1333436"/>
                <a:gd name="connsiteX263" fmla="*/ 30013 w 752994"/>
                <a:gd name="connsiteY263" fmla="*/ 486556 h 1333436"/>
                <a:gd name="connsiteX264" fmla="*/ 36546 w 752994"/>
                <a:gd name="connsiteY264" fmla="*/ 470230 h 1333436"/>
                <a:gd name="connsiteX265" fmla="*/ 36546 w 752994"/>
                <a:gd name="connsiteY265" fmla="*/ 462671 h 1333436"/>
                <a:gd name="connsiteX266" fmla="*/ 36335 w 752994"/>
                <a:gd name="connsiteY266" fmla="*/ 461670 h 1333436"/>
                <a:gd name="connsiteX267" fmla="*/ 35931 w 752994"/>
                <a:gd name="connsiteY267" fmla="*/ 453110 h 1333436"/>
                <a:gd name="connsiteX268" fmla="*/ 38583 w 752994"/>
                <a:gd name="connsiteY268" fmla="*/ 442514 h 1333436"/>
                <a:gd name="connsiteX269" fmla="*/ 41043 w 752994"/>
                <a:gd name="connsiteY269" fmla="*/ 436991 h 1333436"/>
                <a:gd name="connsiteX270" fmla="*/ 41650 w 752994"/>
                <a:gd name="connsiteY270" fmla="*/ 437186 h 1333436"/>
                <a:gd name="connsiteX271" fmla="*/ 41239 w 752994"/>
                <a:gd name="connsiteY271" fmla="*/ 436549 h 1333436"/>
                <a:gd name="connsiteX272" fmla="*/ 37778 w 752994"/>
                <a:gd name="connsiteY272" fmla="*/ 433894 h 1333436"/>
                <a:gd name="connsiteX273" fmla="*/ 37169 w 752994"/>
                <a:gd name="connsiteY273" fmla="*/ 432261 h 1333436"/>
                <a:gd name="connsiteX274" fmla="*/ 37365 w 752994"/>
                <a:gd name="connsiteY274" fmla="*/ 429198 h 1333436"/>
                <a:gd name="connsiteX275" fmla="*/ 36756 w 752994"/>
                <a:gd name="connsiteY275" fmla="*/ 422272 h 1333436"/>
                <a:gd name="connsiteX276" fmla="*/ 36952 w 752994"/>
                <a:gd name="connsiteY276" fmla="*/ 418800 h 1333436"/>
                <a:gd name="connsiteX277" fmla="*/ 36756 w 752994"/>
                <a:gd name="connsiteY277" fmla="*/ 412487 h 1333436"/>
                <a:gd name="connsiteX278" fmla="*/ 40433 w 752994"/>
                <a:gd name="connsiteY278" fmla="*/ 406174 h 1333436"/>
                <a:gd name="connsiteX279" fmla="*/ 44720 w 752994"/>
                <a:gd name="connsiteY279" fmla="*/ 399435 h 1333436"/>
                <a:gd name="connsiteX280" fmla="*/ 44110 w 752994"/>
                <a:gd name="connsiteY280" fmla="*/ 389651 h 1333436"/>
                <a:gd name="connsiteX281" fmla="*/ 43894 w 752994"/>
                <a:gd name="connsiteY281" fmla="*/ 378437 h 1333436"/>
                <a:gd name="connsiteX282" fmla="*/ 47158 w 752994"/>
                <a:gd name="connsiteY282" fmla="*/ 371102 h 1333436"/>
                <a:gd name="connsiteX283" fmla="*/ 55731 w 752994"/>
                <a:gd name="connsiteY283" fmla="*/ 360909 h 1333436"/>
                <a:gd name="connsiteX284" fmla="*/ 57580 w 752994"/>
                <a:gd name="connsiteY284" fmla="*/ 355804 h 1333436"/>
                <a:gd name="connsiteX285" fmla="*/ 62673 w 752994"/>
                <a:gd name="connsiteY285" fmla="*/ 349695 h 1333436"/>
                <a:gd name="connsiteX286" fmla="*/ 65937 w 752994"/>
                <a:gd name="connsiteY286" fmla="*/ 348470 h 1333436"/>
                <a:gd name="connsiteX287" fmla="*/ 68395 w 752994"/>
                <a:gd name="connsiteY287" fmla="*/ 348674 h 1333436"/>
                <a:gd name="connsiteX288" fmla="*/ 70224 w 752994"/>
                <a:gd name="connsiteY288" fmla="*/ 347449 h 1333436"/>
                <a:gd name="connsiteX289" fmla="*/ 67785 w 752994"/>
                <a:gd name="connsiteY289" fmla="*/ 345203 h 1333436"/>
                <a:gd name="connsiteX290" fmla="*/ 65524 w 752994"/>
                <a:gd name="connsiteY290" fmla="*/ 343178 h 1333436"/>
                <a:gd name="connsiteX291" fmla="*/ 73095 w 752994"/>
                <a:gd name="connsiteY291" fmla="*/ 333376 h 1333436"/>
                <a:gd name="connsiteX292" fmla="*/ 73291 w 752994"/>
                <a:gd name="connsiteY292" fmla="*/ 333376 h 1333436"/>
                <a:gd name="connsiteX293" fmla="*/ 77991 w 752994"/>
                <a:gd name="connsiteY293" fmla="*/ 325838 h 1333436"/>
                <a:gd name="connsiteX294" fmla="*/ 82671 w 752994"/>
                <a:gd name="connsiteY294" fmla="*/ 313619 h 1333436"/>
                <a:gd name="connsiteX295" fmla="*/ 87980 w 752994"/>
                <a:gd name="connsiteY295" fmla="*/ 303018 h 1333436"/>
                <a:gd name="connsiteX296" fmla="*/ 92267 w 752994"/>
                <a:gd name="connsiteY296" fmla="*/ 291191 h 1333436"/>
                <a:gd name="connsiteX297" fmla="*/ 96553 w 752994"/>
                <a:gd name="connsiteY297" fmla="*/ 281202 h 1333436"/>
                <a:gd name="connsiteX298" fmla="*/ 99621 w 752994"/>
                <a:gd name="connsiteY298" fmla="*/ 274481 h 1333436"/>
                <a:gd name="connsiteX299" fmla="*/ 103082 w 752994"/>
                <a:gd name="connsiteY299" fmla="*/ 262450 h 1333436"/>
                <a:gd name="connsiteX300" fmla="*/ 107172 w 752994"/>
                <a:gd name="connsiteY300" fmla="*/ 254299 h 1333436"/>
                <a:gd name="connsiteX301" fmla="*/ 112481 w 752994"/>
                <a:gd name="connsiteY301" fmla="*/ 243697 h 1333436"/>
                <a:gd name="connsiteX302" fmla="*/ 117181 w 752994"/>
                <a:gd name="connsiteY302" fmla="*/ 232279 h 1333436"/>
                <a:gd name="connsiteX303" fmla="*/ 125951 w 752994"/>
                <a:gd name="connsiteY303" fmla="*/ 217389 h 1333436"/>
                <a:gd name="connsiteX304" fmla="*/ 136156 w 752994"/>
                <a:gd name="connsiteY304" fmla="*/ 202925 h 1333436"/>
                <a:gd name="connsiteX305" fmla="*/ 138811 w 752994"/>
                <a:gd name="connsiteY305" fmla="*/ 183339 h 1333436"/>
                <a:gd name="connsiteX306" fmla="*/ 148801 w 752994"/>
                <a:gd name="connsiteY306" fmla="*/ 167445 h 1333436"/>
                <a:gd name="connsiteX307" fmla="*/ 159616 w 752994"/>
                <a:gd name="connsiteY307" fmla="*/ 170712 h 1333436"/>
                <a:gd name="connsiteX308" fmla="*/ 173105 w 752994"/>
                <a:gd name="connsiteY308" fmla="*/ 175188 h 1333436"/>
                <a:gd name="connsiteX309" fmla="*/ 175347 w 752994"/>
                <a:gd name="connsiteY309" fmla="*/ 175188 h 1333436"/>
                <a:gd name="connsiteX310" fmla="*/ 175347 w 752994"/>
                <a:gd name="connsiteY310" fmla="*/ 173758 h 1333436"/>
                <a:gd name="connsiteX311" fmla="*/ 184975 w 752994"/>
                <a:gd name="connsiteY311" fmla="*/ 187393 h 1333436"/>
                <a:gd name="connsiteX312" fmla="*/ 184762 w 752994"/>
                <a:gd name="connsiteY312" fmla="*/ 184637 h 1333436"/>
                <a:gd name="connsiteX313" fmla="*/ 174971 w 752994"/>
                <a:gd name="connsiteY313" fmla="*/ 170774 h 1333436"/>
                <a:gd name="connsiteX314" fmla="*/ 174971 w 752994"/>
                <a:gd name="connsiteY314" fmla="*/ 169550 h 1333436"/>
                <a:gd name="connsiteX315" fmla="*/ 158851 w 752994"/>
                <a:gd name="connsiteY315" fmla="*/ 156924 h 1333436"/>
                <a:gd name="connsiteX316" fmla="*/ 147025 w 752994"/>
                <a:gd name="connsiteY316" fmla="*/ 145709 h 1333436"/>
                <a:gd name="connsiteX317" fmla="*/ 154364 w 752994"/>
                <a:gd name="connsiteY317" fmla="*/ 136335 h 1333436"/>
                <a:gd name="connsiteX318" fmla="*/ 161511 w 752994"/>
                <a:gd name="connsiteY318" fmla="*/ 131042 h 1333436"/>
                <a:gd name="connsiteX319" fmla="*/ 160902 w 752994"/>
                <a:gd name="connsiteY319" fmla="*/ 128384 h 1333436"/>
                <a:gd name="connsiteX320" fmla="*/ 160277 w 752994"/>
                <a:gd name="connsiteY320" fmla="*/ 127778 h 1333436"/>
                <a:gd name="connsiteX321" fmla="*/ 154973 w 752994"/>
                <a:gd name="connsiteY321" fmla="*/ 122077 h 1333436"/>
                <a:gd name="connsiteX322" fmla="*/ 160277 w 752994"/>
                <a:gd name="connsiteY322" fmla="*/ 115140 h 1333436"/>
                <a:gd name="connsiteX323" fmla="*/ 165181 w 752994"/>
                <a:gd name="connsiteY323" fmla="*/ 108215 h 1333436"/>
                <a:gd name="connsiteX324" fmla="*/ 161303 w 752994"/>
                <a:gd name="connsiteY324" fmla="*/ 104146 h 1333436"/>
                <a:gd name="connsiteX325" fmla="*/ 157842 w 752994"/>
                <a:gd name="connsiteY325" fmla="*/ 104542 h 1333436"/>
                <a:gd name="connsiteX326" fmla="*/ 157024 w 752994"/>
                <a:gd name="connsiteY326" fmla="*/ 102304 h 1333436"/>
                <a:gd name="connsiteX327" fmla="*/ 160694 w 752994"/>
                <a:gd name="connsiteY327" fmla="*/ 55437 h 1333436"/>
                <a:gd name="connsiteX328" fmla="*/ 160486 w 752994"/>
                <a:gd name="connsiteY328" fmla="*/ 31991 h 1333436"/>
                <a:gd name="connsiteX329" fmla="*/ 164972 w 752994"/>
                <a:gd name="connsiteY329" fmla="*/ 18141 h 1333436"/>
                <a:gd name="connsiteX330" fmla="*/ 171911 w 752994"/>
                <a:gd name="connsiteY330" fmla="*/ 11204 h 1333436"/>
                <a:gd name="connsiteX331" fmla="*/ 187406 w 752994"/>
                <a:gd name="connsiteY331" fmla="*/ 21801 h 1333436"/>
                <a:gd name="connsiteX332" fmla="*/ 210866 w 752994"/>
                <a:gd name="connsiteY332" fmla="*/ 37086 h 1333436"/>
                <a:gd name="connsiteX333" fmla="*/ 219230 w 752994"/>
                <a:gd name="connsiteY333" fmla="*/ 41166 h 1333436"/>
                <a:gd name="connsiteX334" fmla="*/ 226778 w 752994"/>
                <a:gd name="connsiteY334" fmla="*/ 47486 h 1333436"/>
                <a:gd name="connsiteX335" fmla="*/ 236152 w 752994"/>
                <a:gd name="connsiteY335" fmla="*/ 52370 h 1333436"/>
                <a:gd name="connsiteX336" fmla="*/ 239629 w 752994"/>
                <a:gd name="connsiteY336" fmla="*/ 58491 h 1333436"/>
                <a:gd name="connsiteX337" fmla="*/ 239629 w 752994"/>
                <a:gd name="connsiteY337" fmla="*/ 63376 h 1333436"/>
                <a:gd name="connsiteX338" fmla="*/ 236568 w 752994"/>
                <a:gd name="connsiteY338" fmla="*/ 67457 h 1333436"/>
                <a:gd name="connsiteX339" fmla="*/ 231264 w 752994"/>
                <a:gd name="connsiteY339" fmla="*/ 69905 h 1333436"/>
                <a:gd name="connsiteX340" fmla="*/ 216778 w 752994"/>
                <a:gd name="connsiteY340" fmla="*/ 82741 h 1333436"/>
                <a:gd name="connsiteX341" fmla="*/ 214134 w 752994"/>
                <a:gd name="connsiteY341" fmla="*/ 93536 h 1333436"/>
                <a:gd name="connsiteX342" fmla="*/ 214535 w 752994"/>
                <a:gd name="connsiteY342" fmla="*/ 96801 h 1333436"/>
                <a:gd name="connsiteX343" fmla="*/ 216378 w 752994"/>
                <a:gd name="connsiteY343" fmla="*/ 96801 h 1333436"/>
                <a:gd name="connsiteX344" fmla="*/ 230046 w 752994"/>
                <a:gd name="connsiteY344" fmla="*/ 85387 h 1333436"/>
                <a:gd name="connsiteX345" fmla="*/ 243298 w 752994"/>
                <a:gd name="connsiteY345" fmla="*/ 75198 h 1333436"/>
                <a:gd name="connsiteX346" fmla="*/ 246760 w 752994"/>
                <a:gd name="connsiteY346" fmla="*/ 77646 h 1333436"/>
                <a:gd name="connsiteX347" fmla="*/ 255541 w 752994"/>
                <a:gd name="connsiteY347" fmla="*/ 63376 h 1333436"/>
                <a:gd name="connsiteX348" fmla="*/ 259611 w 752994"/>
                <a:gd name="connsiteY348" fmla="*/ 43405 h 1333436"/>
                <a:gd name="connsiteX349" fmla="*/ 256967 w 752994"/>
                <a:gd name="connsiteY349" fmla="*/ 38520 h 1333436"/>
                <a:gd name="connsiteX350" fmla="*/ 253906 w 752994"/>
                <a:gd name="connsiteY350" fmla="*/ 34242 h 1333436"/>
                <a:gd name="connsiteX351" fmla="*/ 256967 w 752994"/>
                <a:gd name="connsiteY351" fmla="*/ 30161 h 1333436"/>
                <a:gd name="connsiteX352" fmla="*/ 262063 w 752994"/>
                <a:gd name="connsiteY352" fmla="*/ 27712 h 1333436"/>
                <a:gd name="connsiteX353" fmla="*/ 264915 w 752994"/>
                <a:gd name="connsiteY353" fmla="*/ 23026 h 1333436"/>
                <a:gd name="connsiteX354" fmla="*/ 267976 w 752994"/>
                <a:gd name="connsiteY354" fmla="*/ 22618 h 1333436"/>
                <a:gd name="connsiteX355" fmla="*/ 270427 w 752994"/>
                <a:gd name="connsiteY355" fmla="*/ 20787 h 1333436"/>
                <a:gd name="connsiteX356" fmla="*/ 263088 w 752994"/>
                <a:gd name="connsiteY356" fmla="*/ 13652 h 1333436"/>
                <a:gd name="connsiteX357" fmla="*/ 255541 w 752994"/>
                <a:gd name="connsiteY357" fmla="*/ 3055 h 1333436"/>
                <a:gd name="connsiteX358" fmla="*/ 256358 w 752994"/>
                <a:gd name="connsiteY358" fmla="*/ 1224 h 1333436"/>
                <a:gd name="connsiteX359" fmla="*/ 257159 w 752994"/>
                <a:gd name="connsiteY359"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14145 w 752994"/>
                <a:gd name="connsiteY30" fmla="*/ 262450 h 1333436"/>
                <a:gd name="connsiteX31" fmla="*/ 431292 w 752994"/>
                <a:gd name="connsiteY31" fmla="*/ 268151 h 1333436"/>
                <a:gd name="connsiteX32" fmla="*/ 445196 w 752994"/>
                <a:gd name="connsiteY32" fmla="*/ 269890 h 1333436"/>
                <a:gd name="connsiteX33" fmla="*/ 444145 w 752994"/>
                <a:gd name="connsiteY33" fmla="*/ 267441 h 1333436"/>
                <a:gd name="connsiteX34" fmla="*/ 444145 w 752994"/>
                <a:gd name="connsiteY34" fmla="*/ 267034 h 1333436"/>
                <a:gd name="connsiteX35" fmla="*/ 444155 w 752994"/>
                <a:gd name="connsiteY35" fmla="*/ 266811 h 1333436"/>
                <a:gd name="connsiteX36" fmla="*/ 430733 w 752994"/>
                <a:gd name="connsiteY36" fmla="*/ 265139 h 1333436"/>
                <a:gd name="connsiteX37" fmla="*/ 394839 w 752994"/>
                <a:gd name="connsiteY37" fmla="*/ 254739 h 1333436"/>
                <a:gd name="connsiteX38" fmla="*/ 381379 w 752994"/>
                <a:gd name="connsiteY38" fmla="*/ 252303 h 1333436"/>
                <a:gd name="connsiteX39" fmla="*/ 380962 w 752994"/>
                <a:gd name="connsiteY39" fmla="*/ 251895 h 1333436"/>
                <a:gd name="connsiteX40" fmla="*/ 365258 w 752994"/>
                <a:gd name="connsiteY40" fmla="*/ 245774 h 1333436"/>
                <a:gd name="connsiteX41" fmla="*/ 355067 w 752994"/>
                <a:gd name="connsiteY41" fmla="*/ 241285 h 1333436"/>
                <a:gd name="connsiteX42" fmla="*/ 350789 w 752994"/>
                <a:gd name="connsiteY42" fmla="*/ 244352 h 1333436"/>
                <a:gd name="connsiteX43" fmla="*/ 347920 w 752994"/>
                <a:gd name="connsiteY43" fmla="*/ 246998 h 1333436"/>
                <a:gd name="connsiteX44" fmla="*/ 340789 w 752994"/>
                <a:gd name="connsiteY44" fmla="*/ 243536 h 1333436"/>
                <a:gd name="connsiteX45" fmla="*/ 333034 w 752994"/>
                <a:gd name="connsiteY45" fmla="*/ 240271 h 1333436"/>
                <a:gd name="connsiteX46" fmla="*/ 323868 w 752994"/>
                <a:gd name="connsiteY46" fmla="*/ 241495 h 1333436"/>
                <a:gd name="connsiteX47" fmla="*/ 309783 w 752994"/>
                <a:gd name="connsiteY47" fmla="*/ 243536 h 1333436"/>
                <a:gd name="connsiteX48" fmla="*/ 297140 w 752994"/>
                <a:gd name="connsiteY48" fmla="*/ 245576 h 1333436"/>
                <a:gd name="connsiteX49" fmla="*/ 288775 w 752994"/>
                <a:gd name="connsiteY49" fmla="*/ 247406 h 1333436"/>
                <a:gd name="connsiteX50" fmla="*/ 280827 w 752994"/>
                <a:gd name="connsiteY50" fmla="*/ 242720 h 1333436"/>
                <a:gd name="connsiteX51" fmla="*/ 274497 w 752994"/>
                <a:gd name="connsiteY51" fmla="*/ 238441 h 1333436"/>
                <a:gd name="connsiteX52" fmla="*/ 269001 w 752994"/>
                <a:gd name="connsiteY52" fmla="*/ 240679 h 1333436"/>
                <a:gd name="connsiteX53" fmla="*/ 262880 w 752994"/>
                <a:gd name="connsiteY53" fmla="*/ 243128 h 1333436"/>
                <a:gd name="connsiteX54" fmla="*/ 260028 w 752994"/>
                <a:gd name="connsiteY54" fmla="*/ 242720 h 1333436"/>
                <a:gd name="connsiteX55" fmla="*/ 247994 w 752994"/>
                <a:gd name="connsiteY55" fmla="*/ 241693 h 1333436"/>
                <a:gd name="connsiteX56" fmla="*/ 242081 w 752994"/>
                <a:gd name="connsiteY56" fmla="*/ 234162 h 1333436"/>
                <a:gd name="connsiteX57" fmla="*/ 235142 w 752994"/>
                <a:gd name="connsiteY57" fmla="*/ 229476 h 1333436"/>
                <a:gd name="connsiteX58" fmla="*/ 224742 w 752994"/>
                <a:gd name="connsiteY58" fmla="*/ 226817 h 1333436"/>
                <a:gd name="connsiteX59" fmla="*/ 216778 w 752994"/>
                <a:gd name="connsiteY59" fmla="*/ 229068 h 1333436"/>
                <a:gd name="connsiteX60" fmla="*/ 202709 w 752994"/>
                <a:gd name="connsiteY60" fmla="*/ 230898 h 1333436"/>
                <a:gd name="connsiteX61" fmla="*/ 195162 w 752994"/>
                <a:gd name="connsiteY61" fmla="*/ 228857 h 1333436"/>
                <a:gd name="connsiteX62" fmla="*/ 188223 w 752994"/>
                <a:gd name="connsiteY62" fmla="*/ 223973 h 1333436"/>
                <a:gd name="connsiteX63" fmla="*/ 185163 w 752994"/>
                <a:gd name="connsiteY63" fmla="*/ 219484 h 1333436"/>
                <a:gd name="connsiteX64" fmla="*/ 184180 w 752994"/>
                <a:gd name="connsiteY64" fmla="*/ 213866 h 1333436"/>
                <a:gd name="connsiteX65" fmla="*/ 257159 w 752994"/>
                <a:gd name="connsiteY65" fmla="*/ 0 h 1333436"/>
                <a:gd name="connsiteX66" fmla="*/ 493147 w 752994"/>
                <a:gd name="connsiteY66" fmla="*/ 73157 h 1333436"/>
                <a:gd name="connsiteX67" fmla="*/ 492970 w 752994"/>
                <a:gd name="connsiteY67" fmla="*/ 73792 h 1333436"/>
                <a:gd name="connsiteX68" fmla="*/ 525816 w 752994"/>
                <a:gd name="connsiteY68" fmla="*/ 82491 h 1333436"/>
                <a:gd name="connsiteX69" fmla="*/ 520098 w 752994"/>
                <a:gd name="connsiteY69" fmla="*/ 111245 h 1333436"/>
                <a:gd name="connsiteX70" fmla="*/ 512552 w 752994"/>
                <a:gd name="connsiteY70" fmla="*/ 143854 h 1333436"/>
                <a:gd name="connsiteX71" fmla="*/ 517849 w 752994"/>
                <a:gd name="connsiteY71" fmla="*/ 157740 h 1333436"/>
                <a:gd name="connsiteX72" fmla="*/ 523160 w 752994"/>
                <a:gd name="connsiteY72" fmla="*/ 172009 h 1333436"/>
                <a:gd name="connsiteX73" fmla="*/ 521535 w 752994"/>
                <a:gd name="connsiteY73" fmla="*/ 178928 h 1333436"/>
                <a:gd name="connsiteX74" fmla="*/ 520098 w 752994"/>
                <a:gd name="connsiteY74" fmla="*/ 186279 h 1333436"/>
                <a:gd name="connsiteX75" fmla="*/ 526019 w 752994"/>
                <a:gd name="connsiteY75" fmla="*/ 193629 h 1333436"/>
                <a:gd name="connsiteX76" fmla="*/ 537251 w 752994"/>
                <a:gd name="connsiteY76" fmla="*/ 206270 h 1333436"/>
                <a:gd name="connsiteX77" fmla="*/ 542765 w 752994"/>
                <a:gd name="connsiteY77" fmla="*/ 217475 h 1333436"/>
                <a:gd name="connsiteX78" fmla="*/ 546857 w 752994"/>
                <a:gd name="connsiteY78" fmla="*/ 230930 h 1333436"/>
                <a:gd name="connsiteX79" fmla="*/ 549499 w 752994"/>
                <a:gd name="connsiteY79" fmla="*/ 235622 h 1333436"/>
                <a:gd name="connsiteX80" fmla="*/ 553388 w 752994"/>
                <a:gd name="connsiteY80" fmla="*/ 240722 h 1333436"/>
                <a:gd name="connsiteX81" fmla="*/ 557465 w 752994"/>
                <a:gd name="connsiteY81" fmla="*/ 246037 h 1333436"/>
                <a:gd name="connsiteX82" fmla="*/ 561761 w 752994"/>
                <a:gd name="connsiteY82" fmla="*/ 248671 h 1333436"/>
                <a:gd name="connsiteX83" fmla="*/ 567478 w 752994"/>
                <a:gd name="connsiteY83" fmla="*/ 247665 h 1333436"/>
                <a:gd name="connsiteX84" fmla="*/ 569931 w 752994"/>
                <a:gd name="connsiteY84" fmla="*/ 249293 h 1333436"/>
                <a:gd name="connsiteX85" fmla="*/ 570540 w 752994"/>
                <a:gd name="connsiteY85" fmla="*/ 251951 h 1333436"/>
                <a:gd name="connsiteX86" fmla="*/ 561964 w 752994"/>
                <a:gd name="connsiteY86" fmla="*/ 267656 h 1333436"/>
                <a:gd name="connsiteX87" fmla="*/ 553591 w 752994"/>
                <a:gd name="connsiteY87" fmla="*/ 289659 h 1333436"/>
                <a:gd name="connsiteX88" fmla="*/ 554810 w 752994"/>
                <a:gd name="connsiteY88" fmla="*/ 292939 h 1333436"/>
                <a:gd name="connsiteX89" fmla="*/ 556246 w 752994"/>
                <a:gd name="connsiteY89" fmla="*/ 299260 h 1333436"/>
                <a:gd name="connsiteX90" fmla="*/ 552778 w 752994"/>
                <a:gd name="connsiteY90" fmla="*/ 301917 h 1333436"/>
                <a:gd name="connsiteX91" fmla="*/ 549295 w 752994"/>
                <a:gd name="connsiteY91" fmla="*/ 306993 h 1333436"/>
                <a:gd name="connsiteX92" fmla="*/ 547061 w 752994"/>
                <a:gd name="connsiteY92" fmla="*/ 313122 h 1333436"/>
                <a:gd name="connsiteX93" fmla="*/ 544811 w 752994"/>
                <a:gd name="connsiteY93" fmla="*/ 316593 h 1333436"/>
                <a:gd name="connsiteX94" fmla="*/ 549919 w 752994"/>
                <a:gd name="connsiteY94" fmla="*/ 322698 h 1333436"/>
                <a:gd name="connsiteX95" fmla="*/ 553184 w 752994"/>
                <a:gd name="connsiteY95" fmla="*/ 325955 h 1333436"/>
                <a:gd name="connsiteX96" fmla="*/ 555840 w 752994"/>
                <a:gd name="connsiteY96" fmla="*/ 328205 h 1333436"/>
                <a:gd name="connsiteX97" fmla="*/ 574212 w 752994"/>
                <a:gd name="connsiteY97" fmla="*/ 318820 h 1333436"/>
                <a:gd name="connsiteX98" fmla="*/ 579523 w 752994"/>
                <a:gd name="connsiteY98" fmla="*/ 326577 h 1333436"/>
                <a:gd name="connsiteX99" fmla="*/ 580539 w 752994"/>
                <a:gd name="connsiteY99" fmla="*/ 334933 h 1333436"/>
                <a:gd name="connsiteX100" fmla="*/ 579726 w 752994"/>
                <a:gd name="connsiteY100" fmla="*/ 343097 h 1333436"/>
                <a:gd name="connsiteX101" fmla="*/ 581366 w 752994"/>
                <a:gd name="connsiteY101" fmla="*/ 350231 h 1333436"/>
                <a:gd name="connsiteX102" fmla="*/ 586256 w 752994"/>
                <a:gd name="connsiteY102" fmla="*/ 355930 h 1333436"/>
                <a:gd name="connsiteX103" fmla="*/ 589536 w 752994"/>
                <a:gd name="connsiteY103" fmla="*/ 362059 h 1333436"/>
                <a:gd name="connsiteX104" fmla="*/ 588099 w 752994"/>
                <a:gd name="connsiteY104" fmla="*/ 369600 h 1333436"/>
                <a:gd name="connsiteX105" fmla="*/ 586459 w 752994"/>
                <a:gd name="connsiteY105" fmla="*/ 377357 h 1333436"/>
                <a:gd name="connsiteX106" fmla="*/ 588709 w 752994"/>
                <a:gd name="connsiteY106" fmla="*/ 381835 h 1333436"/>
                <a:gd name="connsiteX107" fmla="*/ 595036 w 752994"/>
                <a:gd name="connsiteY107" fmla="*/ 382457 h 1333436"/>
                <a:gd name="connsiteX108" fmla="*/ 599331 w 752994"/>
                <a:gd name="connsiteY108" fmla="*/ 385306 h 1333436"/>
                <a:gd name="connsiteX109" fmla="*/ 601987 w 752994"/>
                <a:gd name="connsiteY109" fmla="*/ 391004 h 1333436"/>
                <a:gd name="connsiteX110" fmla="*/ 602799 w 752994"/>
                <a:gd name="connsiteY110" fmla="*/ 404076 h 1333436"/>
                <a:gd name="connsiteX111" fmla="*/ 606892 w 752994"/>
                <a:gd name="connsiteY111" fmla="*/ 415688 h 1333436"/>
                <a:gd name="connsiteX112" fmla="*/ 610563 w 752994"/>
                <a:gd name="connsiteY112" fmla="*/ 412217 h 1333436"/>
                <a:gd name="connsiteX113" fmla="*/ 617920 w 752994"/>
                <a:gd name="connsiteY113" fmla="*/ 408769 h 1333436"/>
                <a:gd name="connsiteX114" fmla="*/ 624654 w 752994"/>
                <a:gd name="connsiteY114" fmla="*/ 411211 h 1333436"/>
                <a:gd name="connsiteX115" fmla="*/ 634652 w 752994"/>
                <a:gd name="connsiteY115" fmla="*/ 410182 h 1333436"/>
                <a:gd name="connsiteX116" fmla="*/ 640573 w 752994"/>
                <a:gd name="connsiteY116" fmla="*/ 407739 h 1333436"/>
                <a:gd name="connsiteX117" fmla="*/ 646711 w 752994"/>
                <a:gd name="connsiteY117" fmla="*/ 410589 h 1333436"/>
                <a:gd name="connsiteX118" fmla="*/ 650383 w 752994"/>
                <a:gd name="connsiteY118" fmla="*/ 410589 h 1333436"/>
                <a:gd name="connsiteX119" fmla="*/ 654257 w 752994"/>
                <a:gd name="connsiteY119" fmla="*/ 411618 h 1333436"/>
                <a:gd name="connsiteX120" fmla="*/ 656913 w 752994"/>
                <a:gd name="connsiteY120" fmla="*/ 413653 h 1333436"/>
                <a:gd name="connsiteX121" fmla="*/ 660802 w 752994"/>
                <a:gd name="connsiteY121" fmla="*/ 415090 h 1333436"/>
                <a:gd name="connsiteX122" fmla="*/ 669581 w 752994"/>
                <a:gd name="connsiteY122" fmla="*/ 415904 h 1333436"/>
                <a:gd name="connsiteX123" fmla="*/ 672237 w 752994"/>
                <a:gd name="connsiteY123" fmla="*/ 415688 h 1333436"/>
                <a:gd name="connsiteX124" fmla="*/ 675705 w 752994"/>
                <a:gd name="connsiteY124" fmla="*/ 409367 h 1333436"/>
                <a:gd name="connsiteX125" fmla="*/ 679986 w 752994"/>
                <a:gd name="connsiteY125" fmla="*/ 403238 h 1333436"/>
                <a:gd name="connsiteX126" fmla="*/ 693264 w 752994"/>
                <a:gd name="connsiteY126" fmla="*/ 419567 h 1333436"/>
                <a:gd name="connsiteX127" fmla="*/ 688563 w 752994"/>
                <a:gd name="connsiteY127" fmla="*/ 448321 h 1333436"/>
                <a:gd name="connsiteX128" fmla="*/ 663949 w 752994"/>
                <a:gd name="connsiteY128" fmla="*/ 590165 h 1333436"/>
                <a:gd name="connsiteX129" fmla="*/ 666304 w 752994"/>
                <a:gd name="connsiteY129" fmla="*/ 590504 h 1333436"/>
                <a:gd name="connsiteX130" fmla="*/ 655288 w 752994"/>
                <a:gd name="connsiteY130" fmla="*/ 656178 h 1333436"/>
                <a:gd name="connsiteX131" fmla="*/ 681808 w 752994"/>
                <a:gd name="connsiteY131" fmla="*/ 662301 h 1333436"/>
                <a:gd name="connsiteX132" fmla="*/ 752994 w 752994"/>
                <a:gd name="connsiteY132" fmla="*/ 675560 h 1333436"/>
                <a:gd name="connsiteX133" fmla="*/ 714651 w 752994"/>
                <a:gd name="connsiteY133" fmla="*/ 946985 h 1333436"/>
                <a:gd name="connsiteX134" fmla="*/ 654533 w 752994"/>
                <a:gd name="connsiteY134" fmla="*/ 1333436 h 1333436"/>
                <a:gd name="connsiteX135" fmla="*/ 546831 w 752994"/>
                <a:gd name="connsiteY135" fmla="*/ 1317126 h 1333436"/>
                <a:gd name="connsiteX136" fmla="*/ 351227 w 752994"/>
                <a:gd name="connsiteY136" fmla="*/ 1194172 h 1333436"/>
                <a:gd name="connsiteX137" fmla="*/ 361011 w 752994"/>
                <a:gd name="connsiteY137" fmla="*/ 1182755 h 1333436"/>
                <a:gd name="connsiteX138" fmla="*/ 368981 w 752994"/>
                <a:gd name="connsiteY138" fmla="*/ 1182130 h 1333436"/>
                <a:gd name="connsiteX139" fmla="*/ 369571 w 752994"/>
                <a:gd name="connsiteY139" fmla="*/ 1181558 h 1333436"/>
                <a:gd name="connsiteX140" fmla="*/ 362372 w 752994"/>
                <a:gd name="connsiteY140" fmla="*/ 1182120 h 1333436"/>
                <a:gd name="connsiteX141" fmla="*/ 229464 w 752994"/>
                <a:gd name="connsiteY141" fmla="*/ 1161721 h 1333436"/>
                <a:gd name="connsiteX142" fmla="*/ 227427 w 752994"/>
                <a:gd name="connsiteY142" fmla="*/ 1157269 h 1333436"/>
                <a:gd name="connsiteX143" fmla="*/ 224967 w 752994"/>
                <a:gd name="connsiteY143" fmla="*/ 1152575 h 1333436"/>
                <a:gd name="connsiteX144" fmla="*/ 225582 w 752994"/>
                <a:gd name="connsiteY144" fmla="*/ 1144808 h 1333436"/>
                <a:gd name="connsiteX145" fmla="*/ 227215 w 752994"/>
                <a:gd name="connsiteY145" fmla="*/ 1135834 h 1333436"/>
                <a:gd name="connsiteX146" fmla="*/ 227215 w 752994"/>
                <a:gd name="connsiteY146" fmla="*/ 1134212 h 1333436"/>
                <a:gd name="connsiteX147" fmla="*/ 225179 w 752994"/>
                <a:gd name="connsiteY147" fmla="*/ 1114020 h 1333436"/>
                <a:gd name="connsiteX148" fmla="*/ 217839 w 752994"/>
                <a:gd name="connsiteY148" fmla="*/ 1100352 h 1333436"/>
                <a:gd name="connsiteX149" fmla="*/ 199661 w 752994"/>
                <a:gd name="connsiteY149" fmla="*/ 1076502 h 1333436"/>
                <a:gd name="connsiteX150" fmla="*/ 196395 w 752994"/>
                <a:gd name="connsiteY150" fmla="*/ 1071807 h 1333436"/>
                <a:gd name="connsiteX151" fmla="*/ 190880 w 752994"/>
                <a:gd name="connsiteY151" fmla="*/ 1067527 h 1333436"/>
                <a:gd name="connsiteX152" fmla="*/ 187210 w 752994"/>
                <a:gd name="connsiteY152" fmla="*/ 1068735 h 1333436"/>
                <a:gd name="connsiteX153" fmla="*/ 180062 w 752994"/>
                <a:gd name="connsiteY153" fmla="*/ 1066699 h 1333436"/>
                <a:gd name="connsiteX154" fmla="*/ 180466 w 752994"/>
                <a:gd name="connsiteY154" fmla="*/ 1053031 h 1333436"/>
                <a:gd name="connsiteX155" fmla="*/ 180062 w 752994"/>
                <a:gd name="connsiteY155" fmla="*/ 1045299 h 1333436"/>
                <a:gd name="connsiteX156" fmla="*/ 174144 w 752994"/>
                <a:gd name="connsiteY156" fmla="*/ 1044057 h 1333436"/>
                <a:gd name="connsiteX157" fmla="*/ 158426 w 752994"/>
                <a:gd name="connsiteY157" fmla="*/ 1042641 h 1333436"/>
                <a:gd name="connsiteX158" fmla="*/ 149857 w 752994"/>
                <a:gd name="connsiteY158" fmla="*/ 1035497 h 1333436"/>
                <a:gd name="connsiteX159" fmla="*/ 142497 w 752994"/>
                <a:gd name="connsiteY159" fmla="*/ 1028766 h 1333436"/>
                <a:gd name="connsiteX160" fmla="*/ 140864 w 752994"/>
                <a:gd name="connsiteY160" fmla="*/ 1020620 h 1333436"/>
                <a:gd name="connsiteX161" fmla="*/ 138212 w 752994"/>
                <a:gd name="connsiteY161" fmla="*/ 1013061 h 1333436"/>
                <a:gd name="connsiteX162" fmla="*/ 131064 w 752994"/>
                <a:gd name="connsiteY162" fmla="*/ 1007159 h 1333436"/>
                <a:gd name="connsiteX163" fmla="*/ 121264 w 752994"/>
                <a:gd name="connsiteY163" fmla="*/ 1005330 h 1333436"/>
                <a:gd name="connsiteX164" fmla="*/ 112483 w 752994"/>
                <a:gd name="connsiteY164" fmla="*/ 1001671 h 1333436"/>
                <a:gd name="connsiteX165" fmla="*/ 105950 w 752994"/>
                <a:gd name="connsiteY165" fmla="*/ 995734 h 1333436"/>
                <a:gd name="connsiteX166" fmla="*/ 97380 w 752994"/>
                <a:gd name="connsiteY166" fmla="*/ 994526 h 1333436"/>
                <a:gd name="connsiteX167" fmla="*/ 87984 w 752994"/>
                <a:gd name="connsiteY167" fmla="*/ 991040 h 1333436"/>
                <a:gd name="connsiteX168" fmla="*/ 80029 w 752994"/>
                <a:gd name="connsiteY168" fmla="*/ 985138 h 1333436"/>
                <a:gd name="connsiteX169" fmla="*/ 77166 w 752994"/>
                <a:gd name="connsiteY169" fmla="*/ 976164 h 1333436"/>
                <a:gd name="connsiteX170" fmla="*/ 79203 w 752994"/>
                <a:gd name="connsiteY170" fmla="*/ 970676 h 1333436"/>
                <a:gd name="connsiteX171" fmla="*/ 82470 w 752994"/>
                <a:gd name="connsiteY171" fmla="*/ 963117 h 1333436"/>
                <a:gd name="connsiteX172" fmla="*/ 84314 w 752994"/>
                <a:gd name="connsiteY172" fmla="*/ 954557 h 1333436"/>
                <a:gd name="connsiteX173" fmla="*/ 86351 w 752994"/>
                <a:gd name="connsiteY173" fmla="*/ 948033 h 1333436"/>
                <a:gd name="connsiteX174" fmla="*/ 86159 w 752994"/>
                <a:gd name="connsiteY174" fmla="*/ 942925 h 1333436"/>
                <a:gd name="connsiteX175" fmla="*/ 83085 w 752994"/>
                <a:gd name="connsiteY175" fmla="*/ 939853 h 1333436"/>
                <a:gd name="connsiteX176" fmla="*/ 77570 w 752994"/>
                <a:gd name="connsiteY176" fmla="*/ 937437 h 1333436"/>
                <a:gd name="connsiteX177" fmla="*/ 76763 w 752994"/>
                <a:gd name="connsiteY177" fmla="*/ 931915 h 1333436"/>
                <a:gd name="connsiteX178" fmla="*/ 78800 w 752994"/>
                <a:gd name="connsiteY178" fmla="*/ 927013 h 1333436"/>
                <a:gd name="connsiteX179" fmla="*/ 79626 w 752994"/>
                <a:gd name="connsiteY179" fmla="*/ 922526 h 1333436"/>
                <a:gd name="connsiteX180" fmla="*/ 77781 w 752994"/>
                <a:gd name="connsiteY180" fmla="*/ 919903 h 1333436"/>
                <a:gd name="connsiteX181" fmla="*/ 74303 w 752994"/>
                <a:gd name="connsiteY181" fmla="*/ 917418 h 1333436"/>
                <a:gd name="connsiteX182" fmla="*/ 71863 w 752994"/>
                <a:gd name="connsiteY182" fmla="*/ 915174 h 1333436"/>
                <a:gd name="connsiteX183" fmla="*/ 71652 w 752994"/>
                <a:gd name="connsiteY183" fmla="*/ 910894 h 1333436"/>
                <a:gd name="connsiteX184" fmla="*/ 70633 w 752994"/>
                <a:gd name="connsiteY184" fmla="*/ 906614 h 1333436"/>
                <a:gd name="connsiteX185" fmla="*/ 68385 w 752994"/>
                <a:gd name="connsiteY185" fmla="*/ 902749 h 1333436"/>
                <a:gd name="connsiteX186" fmla="*/ 61045 w 752994"/>
                <a:gd name="connsiteY186" fmla="*/ 889494 h 1333436"/>
                <a:gd name="connsiteX187" fmla="*/ 57971 w 752994"/>
                <a:gd name="connsiteY187" fmla="*/ 875619 h 1333436"/>
                <a:gd name="connsiteX188" fmla="*/ 52264 w 752994"/>
                <a:gd name="connsiteY188" fmla="*/ 862572 h 1333436"/>
                <a:gd name="connsiteX189" fmla="*/ 44309 w 752994"/>
                <a:gd name="connsiteY189" fmla="*/ 850561 h 1333436"/>
                <a:gd name="connsiteX190" fmla="*/ 45520 w 752994"/>
                <a:gd name="connsiteY190" fmla="*/ 827090 h 1333436"/>
                <a:gd name="connsiteX191" fmla="*/ 53071 w 752994"/>
                <a:gd name="connsiteY191" fmla="*/ 822396 h 1333436"/>
                <a:gd name="connsiteX192" fmla="*/ 57375 w 752994"/>
                <a:gd name="connsiteY192" fmla="*/ 816493 h 1333436"/>
                <a:gd name="connsiteX193" fmla="*/ 55319 w 752994"/>
                <a:gd name="connsiteY193" fmla="*/ 801617 h 1333436"/>
                <a:gd name="connsiteX194" fmla="*/ 48383 w 752994"/>
                <a:gd name="connsiteY194" fmla="*/ 802204 h 1333436"/>
                <a:gd name="connsiteX195" fmla="*/ 40428 w 752994"/>
                <a:gd name="connsiteY195" fmla="*/ 797924 h 1333436"/>
                <a:gd name="connsiteX196" fmla="*/ 37565 w 752994"/>
                <a:gd name="connsiteY196" fmla="*/ 790606 h 1333436"/>
                <a:gd name="connsiteX197" fmla="*/ 37565 w 752994"/>
                <a:gd name="connsiteY197" fmla="*/ 790399 h 1333436"/>
                <a:gd name="connsiteX198" fmla="*/ 35931 w 752994"/>
                <a:gd name="connsiteY198" fmla="*/ 785912 h 1333436"/>
                <a:gd name="connsiteX199" fmla="*/ 34510 w 752994"/>
                <a:gd name="connsiteY199" fmla="*/ 780597 h 1333436"/>
                <a:gd name="connsiteX200" fmla="*/ 36335 w 752994"/>
                <a:gd name="connsiteY200" fmla="*/ 774280 h 1333436"/>
                <a:gd name="connsiteX201" fmla="*/ 38180 w 752994"/>
                <a:gd name="connsiteY201" fmla="*/ 766721 h 1333436"/>
                <a:gd name="connsiteX202" fmla="*/ 37161 w 752994"/>
                <a:gd name="connsiteY202" fmla="*/ 760405 h 1333436"/>
                <a:gd name="connsiteX203" fmla="*/ 35720 w 752994"/>
                <a:gd name="connsiteY203" fmla="*/ 754710 h 1333436"/>
                <a:gd name="connsiteX204" fmla="*/ 36546 w 752994"/>
                <a:gd name="connsiteY204" fmla="*/ 748773 h 1333436"/>
                <a:gd name="connsiteX205" fmla="*/ 38372 w 752994"/>
                <a:gd name="connsiteY205" fmla="*/ 744528 h 1333436"/>
                <a:gd name="connsiteX206" fmla="*/ 41638 w 752994"/>
                <a:gd name="connsiteY206" fmla="*/ 744321 h 1333436"/>
                <a:gd name="connsiteX207" fmla="*/ 44713 w 752994"/>
                <a:gd name="connsiteY207" fmla="*/ 746357 h 1333436"/>
                <a:gd name="connsiteX208" fmla="*/ 47364 w 752994"/>
                <a:gd name="connsiteY208" fmla="*/ 753260 h 1333436"/>
                <a:gd name="connsiteX209" fmla="*/ 55742 w 752994"/>
                <a:gd name="connsiteY209" fmla="*/ 764305 h 1333436"/>
                <a:gd name="connsiteX210" fmla="*/ 56338 w 752994"/>
                <a:gd name="connsiteY210" fmla="*/ 761233 h 1333436"/>
                <a:gd name="connsiteX211" fmla="*/ 56145 w 752994"/>
                <a:gd name="connsiteY211" fmla="*/ 757368 h 1333436"/>
                <a:gd name="connsiteX212" fmla="*/ 54916 w 752994"/>
                <a:gd name="connsiteY212" fmla="*/ 748601 h 1333436"/>
                <a:gd name="connsiteX213" fmla="*/ 52879 w 752994"/>
                <a:gd name="connsiteY213" fmla="*/ 747358 h 1333436"/>
                <a:gd name="connsiteX214" fmla="*/ 51649 w 752994"/>
                <a:gd name="connsiteY214" fmla="*/ 745322 h 1333436"/>
                <a:gd name="connsiteX215" fmla="*/ 51649 w 752994"/>
                <a:gd name="connsiteY215" fmla="*/ 739212 h 1333436"/>
                <a:gd name="connsiteX216" fmla="*/ 50227 w 752994"/>
                <a:gd name="connsiteY216" fmla="*/ 734725 h 1333436"/>
                <a:gd name="connsiteX217" fmla="*/ 48786 w 752994"/>
                <a:gd name="connsiteY217" fmla="*/ 731446 h 1333436"/>
                <a:gd name="connsiteX218" fmla="*/ 54512 w 752994"/>
                <a:gd name="connsiteY218" fmla="*/ 726372 h 1333436"/>
                <a:gd name="connsiteX219" fmla="*/ 59815 w 752994"/>
                <a:gd name="connsiteY219" fmla="*/ 725130 h 1333436"/>
                <a:gd name="connsiteX220" fmla="*/ 58182 w 752994"/>
                <a:gd name="connsiteY220" fmla="*/ 722886 h 1333436"/>
                <a:gd name="connsiteX221" fmla="*/ 51861 w 752994"/>
                <a:gd name="connsiteY221" fmla="*/ 717985 h 1333436"/>
                <a:gd name="connsiteX222" fmla="*/ 46749 w 752994"/>
                <a:gd name="connsiteY222" fmla="*/ 729617 h 1333436"/>
                <a:gd name="connsiteX223" fmla="*/ 40831 w 752994"/>
                <a:gd name="connsiteY223" fmla="*/ 739212 h 1333436"/>
                <a:gd name="connsiteX224" fmla="*/ 39601 w 752994"/>
                <a:gd name="connsiteY224" fmla="*/ 738798 h 1333436"/>
                <a:gd name="connsiteX225" fmla="*/ 39409 w 752994"/>
                <a:gd name="connsiteY225" fmla="*/ 738591 h 1333436"/>
                <a:gd name="connsiteX226" fmla="*/ 37161 w 752994"/>
                <a:gd name="connsiteY226" fmla="*/ 734725 h 1333436"/>
                <a:gd name="connsiteX227" fmla="*/ 32665 w 752994"/>
                <a:gd name="connsiteY227" fmla="*/ 727788 h 1333436"/>
                <a:gd name="connsiteX228" fmla="*/ 26747 w 752994"/>
                <a:gd name="connsiteY228" fmla="*/ 719435 h 1333436"/>
                <a:gd name="connsiteX229" fmla="*/ 23884 w 752994"/>
                <a:gd name="connsiteY229" fmla="*/ 717812 h 1333436"/>
                <a:gd name="connsiteX230" fmla="*/ 24710 w 752994"/>
                <a:gd name="connsiteY230" fmla="*/ 709632 h 1333436"/>
                <a:gd name="connsiteX231" fmla="*/ 27554 w 752994"/>
                <a:gd name="connsiteY231" fmla="*/ 701694 h 1333436"/>
                <a:gd name="connsiteX232" fmla="*/ 24902 w 752994"/>
                <a:gd name="connsiteY232" fmla="*/ 696171 h 1333436"/>
                <a:gd name="connsiteX233" fmla="*/ 24095 w 752994"/>
                <a:gd name="connsiteY233" fmla="*/ 687818 h 1333436"/>
                <a:gd name="connsiteX234" fmla="*/ 22462 w 752994"/>
                <a:gd name="connsiteY234" fmla="*/ 682330 h 1333436"/>
                <a:gd name="connsiteX235" fmla="*/ 17159 w 752994"/>
                <a:gd name="connsiteY235" fmla="*/ 677636 h 1333436"/>
                <a:gd name="connsiteX236" fmla="*/ 14296 w 752994"/>
                <a:gd name="connsiteY236" fmla="*/ 671492 h 1333436"/>
                <a:gd name="connsiteX237" fmla="*/ 12451 w 752994"/>
                <a:gd name="connsiteY237" fmla="*/ 665797 h 1333436"/>
                <a:gd name="connsiteX238" fmla="*/ 5111 w 752994"/>
                <a:gd name="connsiteY238" fmla="*/ 654994 h 1333436"/>
                <a:gd name="connsiteX239" fmla="*/ 2248 w 752994"/>
                <a:gd name="connsiteY239" fmla="*/ 645605 h 1333436"/>
                <a:gd name="connsiteX240" fmla="*/ 4496 w 752994"/>
                <a:gd name="connsiteY240" fmla="*/ 640497 h 1333436"/>
                <a:gd name="connsiteX241" fmla="*/ 6744 w 752994"/>
                <a:gd name="connsiteY241" fmla="*/ 632765 h 1333436"/>
                <a:gd name="connsiteX242" fmla="*/ 6744 w 752994"/>
                <a:gd name="connsiteY242" fmla="*/ 628485 h 1333436"/>
                <a:gd name="connsiteX243" fmla="*/ 6533 w 752994"/>
                <a:gd name="connsiteY243" fmla="*/ 620305 h 1333436"/>
                <a:gd name="connsiteX244" fmla="*/ 7359 w 752994"/>
                <a:gd name="connsiteY244" fmla="*/ 611745 h 1333436"/>
                <a:gd name="connsiteX245" fmla="*/ 11836 w 752994"/>
                <a:gd name="connsiteY245" fmla="*/ 602978 h 1333436"/>
                <a:gd name="connsiteX246" fmla="*/ 15103 w 752994"/>
                <a:gd name="connsiteY246" fmla="*/ 591760 h 1333436"/>
                <a:gd name="connsiteX247" fmla="*/ 14488 w 752994"/>
                <a:gd name="connsiteY247" fmla="*/ 584029 h 1333436"/>
                <a:gd name="connsiteX248" fmla="*/ 13873 w 752994"/>
                <a:gd name="connsiteY248" fmla="*/ 578299 h 1333436"/>
                <a:gd name="connsiteX249" fmla="*/ 10626 w 752994"/>
                <a:gd name="connsiteY249" fmla="*/ 568531 h 1333436"/>
                <a:gd name="connsiteX250" fmla="*/ 3670 w 752994"/>
                <a:gd name="connsiteY250" fmla="*/ 558107 h 1333436"/>
                <a:gd name="connsiteX251" fmla="*/ 0 w 752994"/>
                <a:gd name="connsiteY251" fmla="*/ 551377 h 1333436"/>
                <a:gd name="connsiteX252" fmla="*/ 0 w 752994"/>
                <a:gd name="connsiteY252" fmla="*/ 550997 h 1333436"/>
                <a:gd name="connsiteX253" fmla="*/ 4900 w 752994"/>
                <a:gd name="connsiteY253" fmla="*/ 531220 h 1333436"/>
                <a:gd name="connsiteX254" fmla="*/ 13873 w 752994"/>
                <a:gd name="connsiteY254" fmla="*/ 520589 h 1333436"/>
                <a:gd name="connsiteX255" fmla="*/ 18369 w 752994"/>
                <a:gd name="connsiteY255" fmla="*/ 516516 h 1333436"/>
                <a:gd name="connsiteX256" fmla="*/ 18773 w 752994"/>
                <a:gd name="connsiteY256" fmla="*/ 514272 h 1333436"/>
                <a:gd name="connsiteX257" fmla="*/ 23077 w 752994"/>
                <a:gd name="connsiteY257" fmla="*/ 506127 h 1333436"/>
                <a:gd name="connsiteX258" fmla="*/ 23884 w 752994"/>
                <a:gd name="connsiteY258" fmla="*/ 502261 h 1333436"/>
                <a:gd name="connsiteX259" fmla="*/ 23692 w 752994"/>
                <a:gd name="connsiteY259" fmla="*/ 496738 h 1333436"/>
                <a:gd name="connsiteX260" fmla="*/ 30013 w 752994"/>
                <a:gd name="connsiteY260" fmla="*/ 486556 h 1333436"/>
                <a:gd name="connsiteX261" fmla="*/ 36546 w 752994"/>
                <a:gd name="connsiteY261" fmla="*/ 470230 h 1333436"/>
                <a:gd name="connsiteX262" fmla="*/ 36546 w 752994"/>
                <a:gd name="connsiteY262" fmla="*/ 462671 h 1333436"/>
                <a:gd name="connsiteX263" fmla="*/ 36335 w 752994"/>
                <a:gd name="connsiteY263" fmla="*/ 461670 h 1333436"/>
                <a:gd name="connsiteX264" fmla="*/ 35931 w 752994"/>
                <a:gd name="connsiteY264" fmla="*/ 453110 h 1333436"/>
                <a:gd name="connsiteX265" fmla="*/ 38583 w 752994"/>
                <a:gd name="connsiteY265" fmla="*/ 442514 h 1333436"/>
                <a:gd name="connsiteX266" fmla="*/ 41043 w 752994"/>
                <a:gd name="connsiteY266" fmla="*/ 436991 h 1333436"/>
                <a:gd name="connsiteX267" fmla="*/ 41650 w 752994"/>
                <a:gd name="connsiteY267" fmla="*/ 437186 h 1333436"/>
                <a:gd name="connsiteX268" fmla="*/ 41239 w 752994"/>
                <a:gd name="connsiteY268" fmla="*/ 436549 h 1333436"/>
                <a:gd name="connsiteX269" fmla="*/ 37778 w 752994"/>
                <a:gd name="connsiteY269" fmla="*/ 433894 h 1333436"/>
                <a:gd name="connsiteX270" fmla="*/ 37169 w 752994"/>
                <a:gd name="connsiteY270" fmla="*/ 432261 h 1333436"/>
                <a:gd name="connsiteX271" fmla="*/ 37365 w 752994"/>
                <a:gd name="connsiteY271" fmla="*/ 429198 h 1333436"/>
                <a:gd name="connsiteX272" fmla="*/ 36756 w 752994"/>
                <a:gd name="connsiteY272" fmla="*/ 422272 h 1333436"/>
                <a:gd name="connsiteX273" fmla="*/ 36952 w 752994"/>
                <a:gd name="connsiteY273" fmla="*/ 418800 h 1333436"/>
                <a:gd name="connsiteX274" fmla="*/ 36756 w 752994"/>
                <a:gd name="connsiteY274" fmla="*/ 412487 h 1333436"/>
                <a:gd name="connsiteX275" fmla="*/ 40433 w 752994"/>
                <a:gd name="connsiteY275" fmla="*/ 406174 h 1333436"/>
                <a:gd name="connsiteX276" fmla="*/ 44720 w 752994"/>
                <a:gd name="connsiteY276" fmla="*/ 399435 h 1333436"/>
                <a:gd name="connsiteX277" fmla="*/ 44110 w 752994"/>
                <a:gd name="connsiteY277" fmla="*/ 389651 h 1333436"/>
                <a:gd name="connsiteX278" fmla="*/ 43894 w 752994"/>
                <a:gd name="connsiteY278" fmla="*/ 378437 h 1333436"/>
                <a:gd name="connsiteX279" fmla="*/ 47158 w 752994"/>
                <a:gd name="connsiteY279" fmla="*/ 371102 h 1333436"/>
                <a:gd name="connsiteX280" fmla="*/ 55731 w 752994"/>
                <a:gd name="connsiteY280" fmla="*/ 360909 h 1333436"/>
                <a:gd name="connsiteX281" fmla="*/ 57580 w 752994"/>
                <a:gd name="connsiteY281" fmla="*/ 355804 h 1333436"/>
                <a:gd name="connsiteX282" fmla="*/ 62673 w 752994"/>
                <a:gd name="connsiteY282" fmla="*/ 349695 h 1333436"/>
                <a:gd name="connsiteX283" fmla="*/ 65937 w 752994"/>
                <a:gd name="connsiteY283" fmla="*/ 348470 h 1333436"/>
                <a:gd name="connsiteX284" fmla="*/ 68395 w 752994"/>
                <a:gd name="connsiteY284" fmla="*/ 348674 h 1333436"/>
                <a:gd name="connsiteX285" fmla="*/ 70224 w 752994"/>
                <a:gd name="connsiteY285" fmla="*/ 347449 h 1333436"/>
                <a:gd name="connsiteX286" fmla="*/ 67785 w 752994"/>
                <a:gd name="connsiteY286" fmla="*/ 345203 h 1333436"/>
                <a:gd name="connsiteX287" fmla="*/ 65524 w 752994"/>
                <a:gd name="connsiteY287" fmla="*/ 343178 h 1333436"/>
                <a:gd name="connsiteX288" fmla="*/ 73095 w 752994"/>
                <a:gd name="connsiteY288" fmla="*/ 333376 h 1333436"/>
                <a:gd name="connsiteX289" fmla="*/ 73291 w 752994"/>
                <a:gd name="connsiteY289" fmla="*/ 333376 h 1333436"/>
                <a:gd name="connsiteX290" fmla="*/ 77991 w 752994"/>
                <a:gd name="connsiteY290" fmla="*/ 325838 h 1333436"/>
                <a:gd name="connsiteX291" fmla="*/ 82671 w 752994"/>
                <a:gd name="connsiteY291" fmla="*/ 313619 h 1333436"/>
                <a:gd name="connsiteX292" fmla="*/ 87980 w 752994"/>
                <a:gd name="connsiteY292" fmla="*/ 303018 h 1333436"/>
                <a:gd name="connsiteX293" fmla="*/ 92267 w 752994"/>
                <a:gd name="connsiteY293" fmla="*/ 291191 h 1333436"/>
                <a:gd name="connsiteX294" fmla="*/ 96553 w 752994"/>
                <a:gd name="connsiteY294" fmla="*/ 281202 h 1333436"/>
                <a:gd name="connsiteX295" fmla="*/ 99621 w 752994"/>
                <a:gd name="connsiteY295" fmla="*/ 274481 h 1333436"/>
                <a:gd name="connsiteX296" fmla="*/ 103082 w 752994"/>
                <a:gd name="connsiteY296" fmla="*/ 262450 h 1333436"/>
                <a:gd name="connsiteX297" fmla="*/ 107172 w 752994"/>
                <a:gd name="connsiteY297" fmla="*/ 254299 h 1333436"/>
                <a:gd name="connsiteX298" fmla="*/ 112481 w 752994"/>
                <a:gd name="connsiteY298" fmla="*/ 243697 h 1333436"/>
                <a:gd name="connsiteX299" fmla="*/ 117181 w 752994"/>
                <a:gd name="connsiteY299" fmla="*/ 232279 h 1333436"/>
                <a:gd name="connsiteX300" fmla="*/ 125951 w 752994"/>
                <a:gd name="connsiteY300" fmla="*/ 217389 h 1333436"/>
                <a:gd name="connsiteX301" fmla="*/ 136156 w 752994"/>
                <a:gd name="connsiteY301" fmla="*/ 202925 h 1333436"/>
                <a:gd name="connsiteX302" fmla="*/ 138811 w 752994"/>
                <a:gd name="connsiteY302" fmla="*/ 183339 h 1333436"/>
                <a:gd name="connsiteX303" fmla="*/ 148801 w 752994"/>
                <a:gd name="connsiteY303" fmla="*/ 167445 h 1333436"/>
                <a:gd name="connsiteX304" fmla="*/ 159616 w 752994"/>
                <a:gd name="connsiteY304" fmla="*/ 170712 h 1333436"/>
                <a:gd name="connsiteX305" fmla="*/ 173105 w 752994"/>
                <a:gd name="connsiteY305" fmla="*/ 175188 h 1333436"/>
                <a:gd name="connsiteX306" fmla="*/ 175347 w 752994"/>
                <a:gd name="connsiteY306" fmla="*/ 175188 h 1333436"/>
                <a:gd name="connsiteX307" fmla="*/ 175347 w 752994"/>
                <a:gd name="connsiteY307" fmla="*/ 173758 h 1333436"/>
                <a:gd name="connsiteX308" fmla="*/ 184975 w 752994"/>
                <a:gd name="connsiteY308" fmla="*/ 187393 h 1333436"/>
                <a:gd name="connsiteX309" fmla="*/ 184762 w 752994"/>
                <a:gd name="connsiteY309" fmla="*/ 184637 h 1333436"/>
                <a:gd name="connsiteX310" fmla="*/ 174971 w 752994"/>
                <a:gd name="connsiteY310" fmla="*/ 170774 h 1333436"/>
                <a:gd name="connsiteX311" fmla="*/ 174971 w 752994"/>
                <a:gd name="connsiteY311" fmla="*/ 169550 h 1333436"/>
                <a:gd name="connsiteX312" fmla="*/ 158851 w 752994"/>
                <a:gd name="connsiteY312" fmla="*/ 156924 h 1333436"/>
                <a:gd name="connsiteX313" fmla="*/ 147025 w 752994"/>
                <a:gd name="connsiteY313" fmla="*/ 145709 h 1333436"/>
                <a:gd name="connsiteX314" fmla="*/ 154364 w 752994"/>
                <a:gd name="connsiteY314" fmla="*/ 136335 h 1333436"/>
                <a:gd name="connsiteX315" fmla="*/ 161511 w 752994"/>
                <a:gd name="connsiteY315" fmla="*/ 131042 h 1333436"/>
                <a:gd name="connsiteX316" fmla="*/ 160902 w 752994"/>
                <a:gd name="connsiteY316" fmla="*/ 128384 h 1333436"/>
                <a:gd name="connsiteX317" fmla="*/ 160277 w 752994"/>
                <a:gd name="connsiteY317" fmla="*/ 127778 h 1333436"/>
                <a:gd name="connsiteX318" fmla="*/ 154973 w 752994"/>
                <a:gd name="connsiteY318" fmla="*/ 122077 h 1333436"/>
                <a:gd name="connsiteX319" fmla="*/ 160277 w 752994"/>
                <a:gd name="connsiteY319" fmla="*/ 115140 h 1333436"/>
                <a:gd name="connsiteX320" fmla="*/ 165181 w 752994"/>
                <a:gd name="connsiteY320" fmla="*/ 108215 h 1333436"/>
                <a:gd name="connsiteX321" fmla="*/ 161303 w 752994"/>
                <a:gd name="connsiteY321" fmla="*/ 104146 h 1333436"/>
                <a:gd name="connsiteX322" fmla="*/ 157842 w 752994"/>
                <a:gd name="connsiteY322" fmla="*/ 104542 h 1333436"/>
                <a:gd name="connsiteX323" fmla="*/ 157024 w 752994"/>
                <a:gd name="connsiteY323" fmla="*/ 102304 h 1333436"/>
                <a:gd name="connsiteX324" fmla="*/ 160694 w 752994"/>
                <a:gd name="connsiteY324" fmla="*/ 55437 h 1333436"/>
                <a:gd name="connsiteX325" fmla="*/ 160486 w 752994"/>
                <a:gd name="connsiteY325" fmla="*/ 31991 h 1333436"/>
                <a:gd name="connsiteX326" fmla="*/ 164972 w 752994"/>
                <a:gd name="connsiteY326" fmla="*/ 18141 h 1333436"/>
                <a:gd name="connsiteX327" fmla="*/ 171911 w 752994"/>
                <a:gd name="connsiteY327" fmla="*/ 11204 h 1333436"/>
                <a:gd name="connsiteX328" fmla="*/ 187406 w 752994"/>
                <a:gd name="connsiteY328" fmla="*/ 21801 h 1333436"/>
                <a:gd name="connsiteX329" fmla="*/ 210866 w 752994"/>
                <a:gd name="connsiteY329" fmla="*/ 37086 h 1333436"/>
                <a:gd name="connsiteX330" fmla="*/ 219230 w 752994"/>
                <a:gd name="connsiteY330" fmla="*/ 41166 h 1333436"/>
                <a:gd name="connsiteX331" fmla="*/ 226778 w 752994"/>
                <a:gd name="connsiteY331" fmla="*/ 47486 h 1333436"/>
                <a:gd name="connsiteX332" fmla="*/ 236152 w 752994"/>
                <a:gd name="connsiteY332" fmla="*/ 52370 h 1333436"/>
                <a:gd name="connsiteX333" fmla="*/ 239629 w 752994"/>
                <a:gd name="connsiteY333" fmla="*/ 58491 h 1333436"/>
                <a:gd name="connsiteX334" fmla="*/ 239629 w 752994"/>
                <a:gd name="connsiteY334" fmla="*/ 63376 h 1333436"/>
                <a:gd name="connsiteX335" fmla="*/ 236568 w 752994"/>
                <a:gd name="connsiteY335" fmla="*/ 67457 h 1333436"/>
                <a:gd name="connsiteX336" fmla="*/ 231264 w 752994"/>
                <a:gd name="connsiteY336" fmla="*/ 69905 h 1333436"/>
                <a:gd name="connsiteX337" fmla="*/ 216778 w 752994"/>
                <a:gd name="connsiteY337" fmla="*/ 82741 h 1333436"/>
                <a:gd name="connsiteX338" fmla="*/ 214134 w 752994"/>
                <a:gd name="connsiteY338" fmla="*/ 93536 h 1333436"/>
                <a:gd name="connsiteX339" fmla="*/ 214535 w 752994"/>
                <a:gd name="connsiteY339" fmla="*/ 96801 h 1333436"/>
                <a:gd name="connsiteX340" fmla="*/ 216378 w 752994"/>
                <a:gd name="connsiteY340" fmla="*/ 96801 h 1333436"/>
                <a:gd name="connsiteX341" fmla="*/ 230046 w 752994"/>
                <a:gd name="connsiteY341" fmla="*/ 85387 h 1333436"/>
                <a:gd name="connsiteX342" fmla="*/ 243298 w 752994"/>
                <a:gd name="connsiteY342" fmla="*/ 75198 h 1333436"/>
                <a:gd name="connsiteX343" fmla="*/ 246760 w 752994"/>
                <a:gd name="connsiteY343" fmla="*/ 77646 h 1333436"/>
                <a:gd name="connsiteX344" fmla="*/ 255541 w 752994"/>
                <a:gd name="connsiteY344" fmla="*/ 63376 h 1333436"/>
                <a:gd name="connsiteX345" fmla="*/ 259611 w 752994"/>
                <a:gd name="connsiteY345" fmla="*/ 43405 h 1333436"/>
                <a:gd name="connsiteX346" fmla="*/ 256967 w 752994"/>
                <a:gd name="connsiteY346" fmla="*/ 38520 h 1333436"/>
                <a:gd name="connsiteX347" fmla="*/ 253906 w 752994"/>
                <a:gd name="connsiteY347" fmla="*/ 34242 h 1333436"/>
                <a:gd name="connsiteX348" fmla="*/ 256967 w 752994"/>
                <a:gd name="connsiteY348" fmla="*/ 30161 h 1333436"/>
                <a:gd name="connsiteX349" fmla="*/ 262063 w 752994"/>
                <a:gd name="connsiteY349" fmla="*/ 27712 h 1333436"/>
                <a:gd name="connsiteX350" fmla="*/ 264915 w 752994"/>
                <a:gd name="connsiteY350" fmla="*/ 23026 h 1333436"/>
                <a:gd name="connsiteX351" fmla="*/ 267976 w 752994"/>
                <a:gd name="connsiteY351" fmla="*/ 22618 h 1333436"/>
                <a:gd name="connsiteX352" fmla="*/ 270427 w 752994"/>
                <a:gd name="connsiteY352" fmla="*/ 20787 h 1333436"/>
                <a:gd name="connsiteX353" fmla="*/ 263088 w 752994"/>
                <a:gd name="connsiteY353" fmla="*/ 13652 h 1333436"/>
                <a:gd name="connsiteX354" fmla="*/ 255541 w 752994"/>
                <a:gd name="connsiteY354" fmla="*/ 3055 h 1333436"/>
                <a:gd name="connsiteX355" fmla="*/ 256358 w 752994"/>
                <a:gd name="connsiteY355" fmla="*/ 1224 h 1333436"/>
                <a:gd name="connsiteX356" fmla="*/ 257159 w 752994"/>
                <a:gd name="connsiteY356"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14145 w 752994"/>
                <a:gd name="connsiteY30" fmla="*/ 262450 h 1333436"/>
                <a:gd name="connsiteX31" fmla="*/ 431292 w 752994"/>
                <a:gd name="connsiteY31" fmla="*/ 268151 h 1333436"/>
                <a:gd name="connsiteX32" fmla="*/ 445196 w 752994"/>
                <a:gd name="connsiteY32" fmla="*/ 269890 h 1333436"/>
                <a:gd name="connsiteX33" fmla="*/ 444145 w 752994"/>
                <a:gd name="connsiteY33" fmla="*/ 267441 h 1333436"/>
                <a:gd name="connsiteX34" fmla="*/ 444145 w 752994"/>
                <a:gd name="connsiteY34" fmla="*/ 267034 h 1333436"/>
                <a:gd name="connsiteX35" fmla="*/ 444155 w 752994"/>
                <a:gd name="connsiteY35" fmla="*/ 266811 h 1333436"/>
                <a:gd name="connsiteX36" fmla="*/ 430733 w 752994"/>
                <a:gd name="connsiteY36" fmla="*/ 265139 h 1333436"/>
                <a:gd name="connsiteX37" fmla="*/ 394839 w 752994"/>
                <a:gd name="connsiteY37" fmla="*/ 254739 h 1333436"/>
                <a:gd name="connsiteX38" fmla="*/ 381379 w 752994"/>
                <a:gd name="connsiteY38" fmla="*/ 252303 h 1333436"/>
                <a:gd name="connsiteX39" fmla="*/ 380962 w 752994"/>
                <a:gd name="connsiteY39" fmla="*/ 251895 h 1333436"/>
                <a:gd name="connsiteX40" fmla="*/ 365258 w 752994"/>
                <a:gd name="connsiteY40" fmla="*/ 245774 h 1333436"/>
                <a:gd name="connsiteX41" fmla="*/ 355067 w 752994"/>
                <a:gd name="connsiteY41" fmla="*/ 241285 h 1333436"/>
                <a:gd name="connsiteX42" fmla="*/ 350789 w 752994"/>
                <a:gd name="connsiteY42" fmla="*/ 244352 h 1333436"/>
                <a:gd name="connsiteX43" fmla="*/ 340789 w 752994"/>
                <a:gd name="connsiteY43" fmla="*/ 243536 h 1333436"/>
                <a:gd name="connsiteX44" fmla="*/ 333034 w 752994"/>
                <a:gd name="connsiteY44" fmla="*/ 240271 h 1333436"/>
                <a:gd name="connsiteX45" fmla="*/ 323868 w 752994"/>
                <a:gd name="connsiteY45" fmla="*/ 241495 h 1333436"/>
                <a:gd name="connsiteX46" fmla="*/ 309783 w 752994"/>
                <a:gd name="connsiteY46" fmla="*/ 243536 h 1333436"/>
                <a:gd name="connsiteX47" fmla="*/ 297140 w 752994"/>
                <a:gd name="connsiteY47" fmla="*/ 245576 h 1333436"/>
                <a:gd name="connsiteX48" fmla="*/ 288775 w 752994"/>
                <a:gd name="connsiteY48" fmla="*/ 247406 h 1333436"/>
                <a:gd name="connsiteX49" fmla="*/ 280827 w 752994"/>
                <a:gd name="connsiteY49" fmla="*/ 242720 h 1333436"/>
                <a:gd name="connsiteX50" fmla="*/ 274497 w 752994"/>
                <a:gd name="connsiteY50" fmla="*/ 238441 h 1333436"/>
                <a:gd name="connsiteX51" fmla="*/ 269001 w 752994"/>
                <a:gd name="connsiteY51" fmla="*/ 240679 h 1333436"/>
                <a:gd name="connsiteX52" fmla="*/ 262880 w 752994"/>
                <a:gd name="connsiteY52" fmla="*/ 243128 h 1333436"/>
                <a:gd name="connsiteX53" fmla="*/ 260028 w 752994"/>
                <a:gd name="connsiteY53" fmla="*/ 242720 h 1333436"/>
                <a:gd name="connsiteX54" fmla="*/ 247994 w 752994"/>
                <a:gd name="connsiteY54" fmla="*/ 241693 h 1333436"/>
                <a:gd name="connsiteX55" fmla="*/ 242081 w 752994"/>
                <a:gd name="connsiteY55" fmla="*/ 234162 h 1333436"/>
                <a:gd name="connsiteX56" fmla="*/ 235142 w 752994"/>
                <a:gd name="connsiteY56" fmla="*/ 229476 h 1333436"/>
                <a:gd name="connsiteX57" fmla="*/ 224742 w 752994"/>
                <a:gd name="connsiteY57" fmla="*/ 226817 h 1333436"/>
                <a:gd name="connsiteX58" fmla="*/ 216778 w 752994"/>
                <a:gd name="connsiteY58" fmla="*/ 229068 h 1333436"/>
                <a:gd name="connsiteX59" fmla="*/ 202709 w 752994"/>
                <a:gd name="connsiteY59" fmla="*/ 230898 h 1333436"/>
                <a:gd name="connsiteX60" fmla="*/ 195162 w 752994"/>
                <a:gd name="connsiteY60" fmla="*/ 228857 h 1333436"/>
                <a:gd name="connsiteX61" fmla="*/ 188223 w 752994"/>
                <a:gd name="connsiteY61" fmla="*/ 223973 h 1333436"/>
                <a:gd name="connsiteX62" fmla="*/ 185163 w 752994"/>
                <a:gd name="connsiteY62" fmla="*/ 219484 h 1333436"/>
                <a:gd name="connsiteX63" fmla="*/ 184180 w 752994"/>
                <a:gd name="connsiteY63" fmla="*/ 213866 h 1333436"/>
                <a:gd name="connsiteX64" fmla="*/ 257159 w 752994"/>
                <a:gd name="connsiteY64" fmla="*/ 0 h 1333436"/>
                <a:gd name="connsiteX65" fmla="*/ 493147 w 752994"/>
                <a:gd name="connsiteY65" fmla="*/ 73157 h 1333436"/>
                <a:gd name="connsiteX66" fmla="*/ 492970 w 752994"/>
                <a:gd name="connsiteY66" fmla="*/ 73792 h 1333436"/>
                <a:gd name="connsiteX67" fmla="*/ 525816 w 752994"/>
                <a:gd name="connsiteY67" fmla="*/ 82491 h 1333436"/>
                <a:gd name="connsiteX68" fmla="*/ 520098 w 752994"/>
                <a:gd name="connsiteY68" fmla="*/ 111245 h 1333436"/>
                <a:gd name="connsiteX69" fmla="*/ 512552 w 752994"/>
                <a:gd name="connsiteY69" fmla="*/ 143854 h 1333436"/>
                <a:gd name="connsiteX70" fmla="*/ 517849 w 752994"/>
                <a:gd name="connsiteY70" fmla="*/ 157740 h 1333436"/>
                <a:gd name="connsiteX71" fmla="*/ 523160 w 752994"/>
                <a:gd name="connsiteY71" fmla="*/ 172009 h 1333436"/>
                <a:gd name="connsiteX72" fmla="*/ 521535 w 752994"/>
                <a:gd name="connsiteY72" fmla="*/ 178928 h 1333436"/>
                <a:gd name="connsiteX73" fmla="*/ 520098 w 752994"/>
                <a:gd name="connsiteY73" fmla="*/ 186279 h 1333436"/>
                <a:gd name="connsiteX74" fmla="*/ 526019 w 752994"/>
                <a:gd name="connsiteY74" fmla="*/ 193629 h 1333436"/>
                <a:gd name="connsiteX75" fmla="*/ 537251 w 752994"/>
                <a:gd name="connsiteY75" fmla="*/ 206270 h 1333436"/>
                <a:gd name="connsiteX76" fmla="*/ 542765 w 752994"/>
                <a:gd name="connsiteY76" fmla="*/ 217475 h 1333436"/>
                <a:gd name="connsiteX77" fmla="*/ 546857 w 752994"/>
                <a:gd name="connsiteY77" fmla="*/ 230930 h 1333436"/>
                <a:gd name="connsiteX78" fmla="*/ 549499 w 752994"/>
                <a:gd name="connsiteY78" fmla="*/ 235622 h 1333436"/>
                <a:gd name="connsiteX79" fmla="*/ 553388 w 752994"/>
                <a:gd name="connsiteY79" fmla="*/ 240722 h 1333436"/>
                <a:gd name="connsiteX80" fmla="*/ 557465 w 752994"/>
                <a:gd name="connsiteY80" fmla="*/ 246037 h 1333436"/>
                <a:gd name="connsiteX81" fmla="*/ 561761 w 752994"/>
                <a:gd name="connsiteY81" fmla="*/ 248671 h 1333436"/>
                <a:gd name="connsiteX82" fmla="*/ 567478 w 752994"/>
                <a:gd name="connsiteY82" fmla="*/ 247665 h 1333436"/>
                <a:gd name="connsiteX83" fmla="*/ 569931 w 752994"/>
                <a:gd name="connsiteY83" fmla="*/ 249293 h 1333436"/>
                <a:gd name="connsiteX84" fmla="*/ 570540 w 752994"/>
                <a:gd name="connsiteY84" fmla="*/ 251951 h 1333436"/>
                <a:gd name="connsiteX85" fmla="*/ 561964 w 752994"/>
                <a:gd name="connsiteY85" fmla="*/ 267656 h 1333436"/>
                <a:gd name="connsiteX86" fmla="*/ 553591 w 752994"/>
                <a:gd name="connsiteY86" fmla="*/ 289659 h 1333436"/>
                <a:gd name="connsiteX87" fmla="*/ 554810 w 752994"/>
                <a:gd name="connsiteY87" fmla="*/ 292939 h 1333436"/>
                <a:gd name="connsiteX88" fmla="*/ 556246 w 752994"/>
                <a:gd name="connsiteY88" fmla="*/ 299260 h 1333436"/>
                <a:gd name="connsiteX89" fmla="*/ 552778 w 752994"/>
                <a:gd name="connsiteY89" fmla="*/ 301917 h 1333436"/>
                <a:gd name="connsiteX90" fmla="*/ 549295 w 752994"/>
                <a:gd name="connsiteY90" fmla="*/ 306993 h 1333436"/>
                <a:gd name="connsiteX91" fmla="*/ 547061 w 752994"/>
                <a:gd name="connsiteY91" fmla="*/ 313122 h 1333436"/>
                <a:gd name="connsiteX92" fmla="*/ 544811 w 752994"/>
                <a:gd name="connsiteY92" fmla="*/ 316593 h 1333436"/>
                <a:gd name="connsiteX93" fmla="*/ 549919 w 752994"/>
                <a:gd name="connsiteY93" fmla="*/ 322698 h 1333436"/>
                <a:gd name="connsiteX94" fmla="*/ 553184 w 752994"/>
                <a:gd name="connsiteY94" fmla="*/ 325955 h 1333436"/>
                <a:gd name="connsiteX95" fmla="*/ 555840 w 752994"/>
                <a:gd name="connsiteY95" fmla="*/ 328205 h 1333436"/>
                <a:gd name="connsiteX96" fmla="*/ 574212 w 752994"/>
                <a:gd name="connsiteY96" fmla="*/ 318820 h 1333436"/>
                <a:gd name="connsiteX97" fmla="*/ 579523 w 752994"/>
                <a:gd name="connsiteY97" fmla="*/ 326577 h 1333436"/>
                <a:gd name="connsiteX98" fmla="*/ 580539 w 752994"/>
                <a:gd name="connsiteY98" fmla="*/ 334933 h 1333436"/>
                <a:gd name="connsiteX99" fmla="*/ 579726 w 752994"/>
                <a:gd name="connsiteY99" fmla="*/ 343097 h 1333436"/>
                <a:gd name="connsiteX100" fmla="*/ 581366 w 752994"/>
                <a:gd name="connsiteY100" fmla="*/ 350231 h 1333436"/>
                <a:gd name="connsiteX101" fmla="*/ 586256 w 752994"/>
                <a:gd name="connsiteY101" fmla="*/ 355930 h 1333436"/>
                <a:gd name="connsiteX102" fmla="*/ 589536 w 752994"/>
                <a:gd name="connsiteY102" fmla="*/ 362059 h 1333436"/>
                <a:gd name="connsiteX103" fmla="*/ 588099 w 752994"/>
                <a:gd name="connsiteY103" fmla="*/ 369600 h 1333436"/>
                <a:gd name="connsiteX104" fmla="*/ 586459 w 752994"/>
                <a:gd name="connsiteY104" fmla="*/ 377357 h 1333436"/>
                <a:gd name="connsiteX105" fmla="*/ 588709 w 752994"/>
                <a:gd name="connsiteY105" fmla="*/ 381835 h 1333436"/>
                <a:gd name="connsiteX106" fmla="*/ 595036 w 752994"/>
                <a:gd name="connsiteY106" fmla="*/ 382457 h 1333436"/>
                <a:gd name="connsiteX107" fmla="*/ 599331 w 752994"/>
                <a:gd name="connsiteY107" fmla="*/ 385306 h 1333436"/>
                <a:gd name="connsiteX108" fmla="*/ 601987 w 752994"/>
                <a:gd name="connsiteY108" fmla="*/ 391004 h 1333436"/>
                <a:gd name="connsiteX109" fmla="*/ 602799 w 752994"/>
                <a:gd name="connsiteY109" fmla="*/ 404076 h 1333436"/>
                <a:gd name="connsiteX110" fmla="*/ 606892 w 752994"/>
                <a:gd name="connsiteY110" fmla="*/ 415688 h 1333436"/>
                <a:gd name="connsiteX111" fmla="*/ 610563 w 752994"/>
                <a:gd name="connsiteY111" fmla="*/ 412217 h 1333436"/>
                <a:gd name="connsiteX112" fmla="*/ 617920 w 752994"/>
                <a:gd name="connsiteY112" fmla="*/ 408769 h 1333436"/>
                <a:gd name="connsiteX113" fmla="*/ 624654 w 752994"/>
                <a:gd name="connsiteY113" fmla="*/ 411211 h 1333436"/>
                <a:gd name="connsiteX114" fmla="*/ 634652 w 752994"/>
                <a:gd name="connsiteY114" fmla="*/ 410182 h 1333436"/>
                <a:gd name="connsiteX115" fmla="*/ 640573 w 752994"/>
                <a:gd name="connsiteY115" fmla="*/ 407739 h 1333436"/>
                <a:gd name="connsiteX116" fmla="*/ 646711 w 752994"/>
                <a:gd name="connsiteY116" fmla="*/ 410589 h 1333436"/>
                <a:gd name="connsiteX117" fmla="*/ 650383 w 752994"/>
                <a:gd name="connsiteY117" fmla="*/ 410589 h 1333436"/>
                <a:gd name="connsiteX118" fmla="*/ 654257 w 752994"/>
                <a:gd name="connsiteY118" fmla="*/ 411618 h 1333436"/>
                <a:gd name="connsiteX119" fmla="*/ 656913 w 752994"/>
                <a:gd name="connsiteY119" fmla="*/ 413653 h 1333436"/>
                <a:gd name="connsiteX120" fmla="*/ 660802 w 752994"/>
                <a:gd name="connsiteY120" fmla="*/ 415090 h 1333436"/>
                <a:gd name="connsiteX121" fmla="*/ 669581 w 752994"/>
                <a:gd name="connsiteY121" fmla="*/ 415904 h 1333436"/>
                <a:gd name="connsiteX122" fmla="*/ 672237 w 752994"/>
                <a:gd name="connsiteY122" fmla="*/ 415688 h 1333436"/>
                <a:gd name="connsiteX123" fmla="*/ 675705 w 752994"/>
                <a:gd name="connsiteY123" fmla="*/ 409367 h 1333436"/>
                <a:gd name="connsiteX124" fmla="*/ 679986 w 752994"/>
                <a:gd name="connsiteY124" fmla="*/ 403238 h 1333436"/>
                <a:gd name="connsiteX125" fmla="*/ 693264 w 752994"/>
                <a:gd name="connsiteY125" fmla="*/ 419567 h 1333436"/>
                <a:gd name="connsiteX126" fmla="*/ 688563 w 752994"/>
                <a:gd name="connsiteY126" fmla="*/ 448321 h 1333436"/>
                <a:gd name="connsiteX127" fmla="*/ 663949 w 752994"/>
                <a:gd name="connsiteY127" fmla="*/ 590165 h 1333436"/>
                <a:gd name="connsiteX128" fmla="*/ 666304 w 752994"/>
                <a:gd name="connsiteY128" fmla="*/ 590504 h 1333436"/>
                <a:gd name="connsiteX129" fmla="*/ 655288 w 752994"/>
                <a:gd name="connsiteY129" fmla="*/ 656178 h 1333436"/>
                <a:gd name="connsiteX130" fmla="*/ 681808 w 752994"/>
                <a:gd name="connsiteY130" fmla="*/ 662301 h 1333436"/>
                <a:gd name="connsiteX131" fmla="*/ 752994 w 752994"/>
                <a:gd name="connsiteY131" fmla="*/ 675560 h 1333436"/>
                <a:gd name="connsiteX132" fmla="*/ 714651 w 752994"/>
                <a:gd name="connsiteY132" fmla="*/ 946985 h 1333436"/>
                <a:gd name="connsiteX133" fmla="*/ 654533 w 752994"/>
                <a:gd name="connsiteY133" fmla="*/ 1333436 h 1333436"/>
                <a:gd name="connsiteX134" fmla="*/ 546831 w 752994"/>
                <a:gd name="connsiteY134" fmla="*/ 1317126 h 1333436"/>
                <a:gd name="connsiteX135" fmla="*/ 351227 w 752994"/>
                <a:gd name="connsiteY135" fmla="*/ 1194172 h 1333436"/>
                <a:gd name="connsiteX136" fmla="*/ 361011 w 752994"/>
                <a:gd name="connsiteY136" fmla="*/ 1182755 h 1333436"/>
                <a:gd name="connsiteX137" fmla="*/ 368981 w 752994"/>
                <a:gd name="connsiteY137" fmla="*/ 1182130 h 1333436"/>
                <a:gd name="connsiteX138" fmla="*/ 369571 w 752994"/>
                <a:gd name="connsiteY138" fmla="*/ 1181558 h 1333436"/>
                <a:gd name="connsiteX139" fmla="*/ 362372 w 752994"/>
                <a:gd name="connsiteY139" fmla="*/ 1182120 h 1333436"/>
                <a:gd name="connsiteX140" fmla="*/ 229464 w 752994"/>
                <a:gd name="connsiteY140" fmla="*/ 1161721 h 1333436"/>
                <a:gd name="connsiteX141" fmla="*/ 227427 w 752994"/>
                <a:gd name="connsiteY141" fmla="*/ 1157269 h 1333436"/>
                <a:gd name="connsiteX142" fmla="*/ 224967 w 752994"/>
                <a:gd name="connsiteY142" fmla="*/ 1152575 h 1333436"/>
                <a:gd name="connsiteX143" fmla="*/ 225582 w 752994"/>
                <a:gd name="connsiteY143" fmla="*/ 1144808 h 1333436"/>
                <a:gd name="connsiteX144" fmla="*/ 227215 w 752994"/>
                <a:gd name="connsiteY144" fmla="*/ 1135834 h 1333436"/>
                <a:gd name="connsiteX145" fmla="*/ 227215 w 752994"/>
                <a:gd name="connsiteY145" fmla="*/ 1134212 h 1333436"/>
                <a:gd name="connsiteX146" fmla="*/ 225179 w 752994"/>
                <a:gd name="connsiteY146" fmla="*/ 1114020 h 1333436"/>
                <a:gd name="connsiteX147" fmla="*/ 217839 w 752994"/>
                <a:gd name="connsiteY147" fmla="*/ 1100352 h 1333436"/>
                <a:gd name="connsiteX148" fmla="*/ 199661 w 752994"/>
                <a:gd name="connsiteY148" fmla="*/ 1076502 h 1333436"/>
                <a:gd name="connsiteX149" fmla="*/ 196395 w 752994"/>
                <a:gd name="connsiteY149" fmla="*/ 1071807 h 1333436"/>
                <a:gd name="connsiteX150" fmla="*/ 190880 w 752994"/>
                <a:gd name="connsiteY150" fmla="*/ 1067527 h 1333436"/>
                <a:gd name="connsiteX151" fmla="*/ 187210 w 752994"/>
                <a:gd name="connsiteY151" fmla="*/ 1068735 h 1333436"/>
                <a:gd name="connsiteX152" fmla="*/ 180062 w 752994"/>
                <a:gd name="connsiteY152" fmla="*/ 1066699 h 1333436"/>
                <a:gd name="connsiteX153" fmla="*/ 180466 w 752994"/>
                <a:gd name="connsiteY153" fmla="*/ 1053031 h 1333436"/>
                <a:gd name="connsiteX154" fmla="*/ 180062 w 752994"/>
                <a:gd name="connsiteY154" fmla="*/ 1045299 h 1333436"/>
                <a:gd name="connsiteX155" fmla="*/ 174144 w 752994"/>
                <a:gd name="connsiteY155" fmla="*/ 1044057 h 1333436"/>
                <a:gd name="connsiteX156" fmla="*/ 158426 w 752994"/>
                <a:gd name="connsiteY156" fmla="*/ 1042641 h 1333436"/>
                <a:gd name="connsiteX157" fmla="*/ 149857 w 752994"/>
                <a:gd name="connsiteY157" fmla="*/ 1035497 h 1333436"/>
                <a:gd name="connsiteX158" fmla="*/ 142497 w 752994"/>
                <a:gd name="connsiteY158" fmla="*/ 1028766 h 1333436"/>
                <a:gd name="connsiteX159" fmla="*/ 140864 w 752994"/>
                <a:gd name="connsiteY159" fmla="*/ 1020620 h 1333436"/>
                <a:gd name="connsiteX160" fmla="*/ 138212 w 752994"/>
                <a:gd name="connsiteY160" fmla="*/ 1013061 h 1333436"/>
                <a:gd name="connsiteX161" fmla="*/ 131064 w 752994"/>
                <a:gd name="connsiteY161" fmla="*/ 1007159 h 1333436"/>
                <a:gd name="connsiteX162" fmla="*/ 121264 w 752994"/>
                <a:gd name="connsiteY162" fmla="*/ 1005330 h 1333436"/>
                <a:gd name="connsiteX163" fmla="*/ 112483 w 752994"/>
                <a:gd name="connsiteY163" fmla="*/ 1001671 h 1333436"/>
                <a:gd name="connsiteX164" fmla="*/ 105950 w 752994"/>
                <a:gd name="connsiteY164" fmla="*/ 995734 h 1333436"/>
                <a:gd name="connsiteX165" fmla="*/ 97380 w 752994"/>
                <a:gd name="connsiteY165" fmla="*/ 994526 h 1333436"/>
                <a:gd name="connsiteX166" fmla="*/ 87984 w 752994"/>
                <a:gd name="connsiteY166" fmla="*/ 991040 h 1333436"/>
                <a:gd name="connsiteX167" fmla="*/ 80029 w 752994"/>
                <a:gd name="connsiteY167" fmla="*/ 985138 h 1333436"/>
                <a:gd name="connsiteX168" fmla="*/ 77166 w 752994"/>
                <a:gd name="connsiteY168" fmla="*/ 976164 h 1333436"/>
                <a:gd name="connsiteX169" fmla="*/ 79203 w 752994"/>
                <a:gd name="connsiteY169" fmla="*/ 970676 h 1333436"/>
                <a:gd name="connsiteX170" fmla="*/ 82470 w 752994"/>
                <a:gd name="connsiteY170" fmla="*/ 963117 h 1333436"/>
                <a:gd name="connsiteX171" fmla="*/ 84314 w 752994"/>
                <a:gd name="connsiteY171" fmla="*/ 954557 h 1333436"/>
                <a:gd name="connsiteX172" fmla="*/ 86351 w 752994"/>
                <a:gd name="connsiteY172" fmla="*/ 948033 h 1333436"/>
                <a:gd name="connsiteX173" fmla="*/ 86159 w 752994"/>
                <a:gd name="connsiteY173" fmla="*/ 942925 h 1333436"/>
                <a:gd name="connsiteX174" fmla="*/ 83085 w 752994"/>
                <a:gd name="connsiteY174" fmla="*/ 939853 h 1333436"/>
                <a:gd name="connsiteX175" fmla="*/ 77570 w 752994"/>
                <a:gd name="connsiteY175" fmla="*/ 937437 h 1333436"/>
                <a:gd name="connsiteX176" fmla="*/ 76763 w 752994"/>
                <a:gd name="connsiteY176" fmla="*/ 931915 h 1333436"/>
                <a:gd name="connsiteX177" fmla="*/ 78800 w 752994"/>
                <a:gd name="connsiteY177" fmla="*/ 927013 h 1333436"/>
                <a:gd name="connsiteX178" fmla="*/ 79626 w 752994"/>
                <a:gd name="connsiteY178" fmla="*/ 922526 h 1333436"/>
                <a:gd name="connsiteX179" fmla="*/ 77781 w 752994"/>
                <a:gd name="connsiteY179" fmla="*/ 919903 h 1333436"/>
                <a:gd name="connsiteX180" fmla="*/ 74303 w 752994"/>
                <a:gd name="connsiteY180" fmla="*/ 917418 h 1333436"/>
                <a:gd name="connsiteX181" fmla="*/ 71863 w 752994"/>
                <a:gd name="connsiteY181" fmla="*/ 915174 h 1333436"/>
                <a:gd name="connsiteX182" fmla="*/ 71652 w 752994"/>
                <a:gd name="connsiteY182" fmla="*/ 910894 h 1333436"/>
                <a:gd name="connsiteX183" fmla="*/ 70633 w 752994"/>
                <a:gd name="connsiteY183" fmla="*/ 906614 h 1333436"/>
                <a:gd name="connsiteX184" fmla="*/ 68385 w 752994"/>
                <a:gd name="connsiteY184" fmla="*/ 902749 h 1333436"/>
                <a:gd name="connsiteX185" fmla="*/ 61045 w 752994"/>
                <a:gd name="connsiteY185" fmla="*/ 889494 h 1333436"/>
                <a:gd name="connsiteX186" fmla="*/ 57971 w 752994"/>
                <a:gd name="connsiteY186" fmla="*/ 875619 h 1333436"/>
                <a:gd name="connsiteX187" fmla="*/ 52264 w 752994"/>
                <a:gd name="connsiteY187" fmla="*/ 862572 h 1333436"/>
                <a:gd name="connsiteX188" fmla="*/ 44309 w 752994"/>
                <a:gd name="connsiteY188" fmla="*/ 850561 h 1333436"/>
                <a:gd name="connsiteX189" fmla="*/ 45520 w 752994"/>
                <a:gd name="connsiteY189" fmla="*/ 827090 h 1333436"/>
                <a:gd name="connsiteX190" fmla="*/ 53071 w 752994"/>
                <a:gd name="connsiteY190" fmla="*/ 822396 h 1333436"/>
                <a:gd name="connsiteX191" fmla="*/ 57375 w 752994"/>
                <a:gd name="connsiteY191" fmla="*/ 816493 h 1333436"/>
                <a:gd name="connsiteX192" fmla="*/ 55319 w 752994"/>
                <a:gd name="connsiteY192" fmla="*/ 801617 h 1333436"/>
                <a:gd name="connsiteX193" fmla="*/ 48383 w 752994"/>
                <a:gd name="connsiteY193" fmla="*/ 802204 h 1333436"/>
                <a:gd name="connsiteX194" fmla="*/ 40428 w 752994"/>
                <a:gd name="connsiteY194" fmla="*/ 797924 h 1333436"/>
                <a:gd name="connsiteX195" fmla="*/ 37565 w 752994"/>
                <a:gd name="connsiteY195" fmla="*/ 790606 h 1333436"/>
                <a:gd name="connsiteX196" fmla="*/ 37565 w 752994"/>
                <a:gd name="connsiteY196" fmla="*/ 790399 h 1333436"/>
                <a:gd name="connsiteX197" fmla="*/ 35931 w 752994"/>
                <a:gd name="connsiteY197" fmla="*/ 785912 h 1333436"/>
                <a:gd name="connsiteX198" fmla="*/ 34510 w 752994"/>
                <a:gd name="connsiteY198" fmla="*/ 780597 h 1333436"/>
                <a:gd name="connsiteX199" fmla="*/ 36335 w 752994"/>
                <a:gd name="connsiteY199" fmla="*/ 774280 h 1333436"/>
                <a:gd name="connsiteX200" fmla="*/ 38180 w 752994"/>
                <a:gd name="connsiteY200" fmla="*/ 766721 h 1333436"/>
                <a:gd name="connsiteX201" fmla="*/ 37161 w 752994"/>
                <a:gd name="connsiteY201" fmla="*/ 760405 h 1333436"/>
                <a:gd name="connsiteX202" fmla="*/ 35720 w 752994"/>
                <a:gd name="connsiteY202" fmla="*/ 754710 h 1333436"/>
                <a:gd name="connsiteX203" fmla="*/ 36546 w 752994"/>
                <a:gd name="connsiteY203" fmla="*/ 748773 h 1333436"/>
                <a:gd name="connsiteX204" fmla="*/ 38372 w 752994"/>
                <a:gd name="connsiteY204" fmla="*/ 744528 h 1333436"/>
                <a:gd name="connsiteX205" fmla="*/ 41638 w 752994"/>
                <a:gd name="connsiteY205" fmla="*/ 744321 h 1333436"/>
                <a:gd name="connsiteX206" fmla="*/ 44713 w 752994"/>
                <a:gd name="connsiteY206" fmla="*/ 746357 h 1333436"/>
                <a:gd name="connsiteX207" fmla="*/ 47364 w 752994"/>
                <a:gd name="connsiteY207" fmla="*/ 753260 h 1333436"/>
                <a:gd name="connsiteX208" fmla="*/ 55742 w 752994"/>
                <a:gd name="connsiteY208" fmla="*/ 764305 h 1333436"/>
                <a:gd name="connsiteX209" fmla="*/ 56338 w 752994"/>
                <a:gd name="connsiteY209" fmla="*/ 761233 h 1333436"/>
                <a:gd name="connsiteX210" fmla="*/ 56145 w 752994"/>
                <a:gd name="connsiteY210" fmla="*/ 757368 h 1333436"/>
                <a:gd name="connsiteX211" fmla="*/ 54916 w 752994"/>
                <a:gd name="connsiteY211" fmla="*/ 748601 h 1333436"/>
                <a:gd name="connsiteX212" fmla="*/ 52879 w 752994"/>
                <a:gd name="connsiteY212" fmla="*/ 747358 h 1333436"/>
                <a:gd name="connsiteX213" fmla="*/ 51649 w 752994"/>
                <a:gd name="connsiteY213" fmla="*/ 745322 h 1333436"/>
                <a:gd name="connsiteX214" fmla="*/ 51649 w 752994"/>
                <a:gd name="connsiteY214" fmla="*/ 739212 h 1333436"/>
                <a:gd name="connsiteX215" fmla="*/ 50227 w 752994"/>
                <a:gd name="connsiteY215" fmla="*/ 734725 h 1333436"/>
                <a:gd name="connsiteX216" fmla="*/ 48786 w 752994"/>
                <a:gd name="connsiteY216" fmla="*/ 731446 h 1333436"/>
                <a:gd name="connsiteX217" fmla="*/ 54512 w 752994"/>
                <a:gd name="connsiteY217" fmla="*/ 726372 h 1333436"/>
                <a:gd name="connsiteX218" fmla="*/ 59815 w 752994"/>
                <a:gd name="connsiteY218" fmla="*/ 725130 h 1333436"/>
                <a:gd name="connsiteX219" fmla="*/ 58182 w 752994"/>
                <a:gd name="connsiteY219" fmla="*/ 722886 h 1333436"/>
                <a:gd name="connsiteX220" fmla="*/ 51861 w 752994"/>
                <a:gd name="connsiteY220" fmla="*/ 717985 h 1333436"/>
                <a:gd name="connsiteX221" fmla="*/ 46749 w 752994"/>
                <a:gd name="connsiteY221" fmla="*/ 729617 h 1333436"/>
                <a:gd name="connsiteX222" fmla="*/ 40831 w 752994"/>
                <a:gd name="connsiteY222" fmla="*/ 739212 h 1333436"/>
                <a:gd name="connsiteX223" fmla="*/ 39601 w 752994"/>
                <a:gd name="connsiteY223" fmla="*/ 738798 h 1333436"/>
                <a:gd name="connsiteX224" fmla="*/ 39409 w 752994"/>
                <a:gd name="connsiteY224" fmla="*/ 738591 h 1333436"/>
                <a:gd name="connsiteX225" fmla="*/ 37161 w 752994"/>
                <a:gd name="connsiteY225" fmla="*/ 734725 h 1333436"/>
                <a:gd name="connsiteX226" fmla="*/ 32665 w 752994"/>
                <a:gd name="connsiteY226" fmla="*/ 727788 h 1333436"/>
                <a:gd name="connsiteX227" fmla="*/ 26747 w 752994"/>
                <a:gd name="connsiteY227" fmla="*/ 719435 h 1333436"/>
                <a:gd name="connsiteX228" fmla="*/ 23884 w 752994"/>
                <a:gd name="connsiteY228" fmla="*/ 717812 h 1333436"/>
                <a:gd name="connsiteX229" fmla="*/ 24710 w 752994"/>
                <a:gd name="connsiteY229" fmla="*/ 709632 h 1333436"/>
                <a:gd name="connsiteX230" fmla="*/ 27554 w 752994"/>
                <a:gd name="connsiteY230" fmla="*/ 701694 h 1333436"/>
                <a:gd name="connsiteX231" fmla="*/ 24902 w 752994"/>
                <a:gd name="connsiteY231" fmla="*/ 696171 h 1333436"/>
                <a:gd name="connsiteX232" fmla="*/ 24095 w 752994"/>
                <a:gd name="connsiteY232" fmla="*/ 687818 h 1333436"/>
                <a:gd name="connsiteX233" fmla="*/ 22462 w 752994"/>
                <a:gd name="connsiteY233" fmla="*/ 682330 h 1333436"/>
                <a:gd name="connsiteX234" fmla="*/ 17159 w 752994"/>
                <a:gd name="connsiteY234" fmla="*/ 677636 h 1333436"/>
                <a:gd name="connsiteX235" fmla="*/ 14296 w 752994"/>
                <a:gd name="connsiteY235" fmla="*/ 671492 h 1333436"/>
                <a:gd name="connsiteX236" fmla="*/ 12451 w 752994"/>
                <a:gd name="connsiteY236" fmla="*/ 665797 h 1333436"/>
                <a:gd name="connsiteX237" fmla="*/ 5111 w 752994"/>
                <a:gd name="connsiteY237" fmla="*/ 654994 h 1333436"/>
                <a:gd name="connsiteX238" fmla="*/ 2248 w 752994"/>
                <a:gd name="connsiteY238" fmla="*/ 645605 h 1333436"/>
                <a:gd name="connsiteX239" fmla="*/ 4496 w 752994"/>
                <a:gd name="connsiteY239" fmla="*/ 640497 h 1333436"/>
                <a:gd name="connsiteX240" fmla="*/ 6744 w 752994"/>
                <a:gd name="connsiteY240" fmla="*/ 632765 h 1333436"/>
                <a:gd name="connsiteX241" fmla="*/ 6744 w 752994"/>
                <a:gd name="connsiteY241" fmla="*/ 628485 h 1333436"/>
                <a:gd name="connsiteX242" fmla="*/ 6533 w 752994"/>
                <a:gd name="connsiteY242" fmla="*/ 620305 h 1333436"/>
                <a:gd name="connsiteX243" fmla="*/ 7359 w 752994"/>
                <a:gd name="connsiteY243" fmla="*/ 611745 h 1333436"/>
                <a:gd name="connsiteX244" fmla="*/ 11836 w 752994"/>
                <a:gd name="connsiteY244" fmla="*/ 602978 h 1333436"/>
                <a:gd name="connsiteX245" fmla="*/ 15103 w 752994"/>
                <a:gd name="connsiteY245" fmla="*/ 591760 h 1333436"/>
                <a:gd name="connsiteX246" fmla="*/ 14488 w 752994"/>
                <a:gd name="connsiteY246" fmla="*/ 584029 h 1333436"/>
                <a:gd name="connsiteX247" fmla="*/ 13873 w 752994"/>
                <a:gd name="connsiteY247" fmla="*/ 578299 h 1333436"/>
                <a:gd name="connsiteX248" fmla="*/ 10626 w 752994"/>
                <a:gd name="connsiteY248" fmla="*/ 568531 h 1333436"/>
                <a:gd name="connsiteX249" fmla="*/ 3670 w 752994"/>
                <a:gd name="connsiteY249" fmla="*/ 558107 h 1333436"/>
                <a:gd name="connsiteX250" fmla="*/ 0 w 752994"/>
                <a:gd name="connsiteY250" fmla="*/ 551377 h 1333436"/>
                <a:gd name="connsiteX251" fmla="*/ 0 w 752994"/>
                <a:gd name="connsiteY251" fmla="*/ 550997 h 1333436"/>
                <a:gd name="connsiteX252" fmla="*/ 4900 w 752994"/>
                <a:gd name="connsiteY252" fmla="*/ 531220 h 1333436"/>
                <a:gd name="connsiteX253" fmla="*/ 13873 w 752994"/>
                <a:gd name="connsiteY253" fmla="*/ 520589 h 1333436"/>
                <a:gd name="connsiteX254" fmla="*/ 18369 w 752994"/>
                <a:gd name="connsiteY254" fmla="*/ 516516 h 1333436"/>
                <a:gd name="connsiteX255" fmla="*/ 18773 w 752994"/>
                <a:gd name="connsiteY255" fmla="*/ 514272 h 1333436"/>
                <a:gd name="connsiteX256" fmla="*/ 23077 w 752994"/>
                <a:gd name="connsiteY256" fmla="*/ 506127 h 1333436"/>
                <a:gd name="connsiteX257" fmla="*/ 23884 w 752994"/>
                <a:gd name="connsiteY257" fmla="*/ 502261 h 1333436"/>
                <a:gd name="connsiteX258" fmla="*/ 23692 w 752994"/>
                <a:gd name="connsiteY258" fmla="*/ 496738 h 1333436"/>
                <a:gd name="connsiteX259" fmla="*/ 30013 w 752994"/>
                <a:gd name="connsiteY259" fmla="*/ 486556 h 1333436"/>
                <a:gd name="connsiteX260" fmla="*/ 36546 w 752994"/>
                <a:gd name="connsiteY260" fmla="*/ 470230 h 1333436"/>
                <a:gd name="connsiteX261" fmla="*/ 36546 w 752994"/>
                <a:gd name="connsiteY261" fmla="*/ 462671 h 1333436"/>
                <a:gd name="connsiteX262" fmla="*/ 36335 w 752994"/>
                <a:gd name="connsiteY262" fmla="*/ 461670 h 1333436"/>
                <a:gd name="connsiteX263" fmla="*/ 35931 w 752994"/>
                <a:gd name="connsiteY263" fmla="*/ 453110 h 1333436"/>
                <a:gd name="connsiteX264" fmla="*/ 38583 w 752994"/>
                <a:gd name="connsiteY264" fmla="*/ 442514 h 1333436"/>
                <a:gd name="connsiteX265" fmla="*/ 41043 w 752994"/>
                <a:gd name="connsiteY265" fmla="*/ 436991 h 1333436"/>
                <a:gd name="connsiteX266" fmla="*/ 41650 w 752994"/>
                <a:gd name="connsiteY266" fmla="*/ 437186 h 1333436"/>
                <a:gd name="connsiteX267" fmla="*/ 41239 w 752994"/>
                <a:gd name="connsiteY267" fmla="*/ 436549 h 1333436"/>
                <a:gd name="connsiteX268" fmla="*/ 37778 w 752994"/>
                <a:gd name="connsiteY268" fmla="*/ 433894 h 1333436"/>
                <a:gd name="connsiteX269" fmla="*/ 37169 w 752994"/>
                <a:gd name="connsiteY269" fmla="*/ 432261 h 1333436"/>
                <a:gd name="connsiteX270" fmla="*/ 37365 w 752994"/>
                <a:gd name="connsiteY270" fmla="*/ 429198 h 1333436"/>
                <a:gd name="connsiteX271" fmla="*/ 36756 w 752994"/>
                <a:gd name="connsiteY271" fmla="*/ 422272 h 1333436"/>
                <a:gd name="connsiteX272" fmla="*/ 36952 w 752994"/>
                <a:gd name="connsiteY272" fmla="*/ 418800 h 1333436"/>
                <a:gd name="connsiteX273" fmla="*/ 36756 w 752994"/>
                <a:gd name="connsiteY273" fmla="*/ 412487 h 1333436"/>
                <a:gd name="connsiteX274" fmla="*/ 40433 w 752994"/>
                <a:gd name="connsiteY274" fmla="*/ 406174 h 1333436"/>
                <a:gd name="connsiteX275" fmla="*/ 44720 w 752994"/>
                <a:gd name="connsiteY275" fmla="*/ 399435 h 1333436"/>
                <a:gd name="connsiteX276" fmla="*/ 44110 w 752994"/>
                <a:gd name="connsiteY276" fmla="*/ 389651 h 1333436"/>
                <a:gd name="connsiteX277" fmla="*/ 43894 w 752994"/>
                <a:gd name="connsiteY277" fmla="*/ 378437 h 1333436"/>
                <a:gd name="connsiteX278" fmla="*/ 47158 w 752994"/>
                <a:gd name="connsiteY278" fmla="*/ 371102 h 1333436"/>
                <a:gd name="connsiteX279" fmla="*/ 55731 w 752994"/>
                <a:gd name="connsiteY279" fmla="*/ 360909 h 1333436"/>
                <a:gd name="connsiteX280" fmla="*/ 57580 w 752994"/>
                <a:gd name="connsiteY280" fmla="*/ 355804 h 1333436"/>
                <a:gd name="connsiteX281" fmla="*/ 62673 w 752994"/>
                <a:gd name="connsiteY281" fmla="*/ 349695 h 1333436"/>
                <a:gd name="connsiteX282" fmla="*/ 65937 w 752994"/>
                <a:gd name="connsiteY282" fmla="*/ 348470 h 1333436"/>
                <a:gd name="connsiteX283" fmla="*/ 68395 w 752994"/>
                <a:gd name="connsiteY283" fmla="*/ 348674 h 1333436"/>
                <a:gd name="connsiteX284" fmla="*/ 70224 w 752994"/>
                <a:gd name="connsiteY284" fmla="*/ 347449 h 1333436"/>
                <a:gd name="connsiteX285" fmla="*/ 67785 w 752994"/>
                <a:gd name="connsiteY285" fmla="*/ 345203 h 1333436"/>
                <a:gd name="connsiteX286" fmla="*/ 65524 w 752994"/>
                <a:gd name="connsiteY286" fmla="*/ 343178 h 1333436"/>
                <a:gd name="connsiteX287" fmla="*/ 73095 w 752994"/>
                <a:gd name="connsiteY287" fmla="*/ 333376 h 1333436"/>
                <a:gd name="connsiteX288" fmla="*/ 73291 w 752994"/>
                <a:gd name="connsiteY288" fmla="*/ 333376 h 1333436"/>
                <a:gd name="connsiteX289" fmla="*/ 77991 w 752994"/>
                <a:gd name="connsiteY289" fmla="*/ 325838 h 1333436"/>
                <a:gd name="connsiteX290" fmla="*/ 82671 w 752994"/>
                <a:gd name="connsiteY290" fmla="*/ 313619 h 1333436"/>
                <a:gd name="connsiteX291" fmla="*/ 87980 w 752994"/>
                <a:gd name="connsiteY291" fmla="*/ 303018 h 1333436"/>
                <a:gd name="connsiteX292" fmla="*/ 92267 w 752994"/>
                <a:gd name="connsiteY292" fmla="*/ 291191 h 1333436"/>
                <a:gd name="connsiteX293" fmla="*/ 96553 w 752994"/>
                <a:gd name="connsiteY293" fmla="*/ 281202 h 1333436"/>
                <a:gd name="connsiteX294" fmla="*/ 99621 w 752994"/>
                <a:gd name="connsiteY294" fmla="*/ 274481 h 1333436"/>
                <a:gd name="connsiteX295" fmla="*/ 103082 w 752994"/>
                <a:gd name="connsiteY295" fmla="*/ 262450 h 1333436"/>
                <a:gd name="connsiteX296" fmla="*/ 107172 w 752994"/>
                <a:gd name="connsiteY296" fmla="*/ 254299 h 1333436"/>
                <a:gd name="connsiteX297" fmla="*/ 112481 w 752994"/>
                <a:gd name="connsiteY297" fmla="*/ 243697 h 1333436"/>
                <a:gd name="connsiteX298" fmla="*/ 117181 w 752994"/>
                <a:gd name="connsiteY298" fmla="*/ 232279 h 1333436"/>
                <a:gd name="connsiteX299" fmla="*/ 125951 w 752994"/>
                <a:gd name="connsiteY299" fmla="*/ 217389 h 1333436"/>
                <a:gd name="connsiteX300" fmla="*/ 136156 w 752994"/>
                <a:gd name="connsiteY300" fmla="*/ 202925 h 1333436"/>
                <a:gd name="connsiteX301" fmla="*/ 138811 w 752994"/>
                <a:gd name="connsiteY301" fmla="*/ 183339 h 1333436"/>
                <a:gd name="connsiteX302" fmla="*/ 148801 w 752994"/>
                <a:gd name="connsiteY302" fmla="*/ 167445 h 1333436"/>
                <a:gd name="connsiteX303" fmla="*/ 159616 w 752994"/>
                <a:gd name="connsiteY303" fmla="*/ 170712 h 1333436"/>
                <a:gd name="connsiteX304" fmla="*/ 173105 w 752994"/>
                <a:gd name="connsiteY304" fmla="*/ 175188 h 1333436"/>
                <a:gd name="connsiteX305" fmla="*/ 175347 w 752994"/>
                <a:gd name="connsiteY305" fmla="*/ 175188 h 1333436"/>
                <a:gd name="connsiteX306" fmla="*/ 175347 w 752994"/>
                <a:gd name="connsiteY306" fmla="*/ 173758 h 1333436"/>
                <a:gd name="connsiteX307" fmla="*/ 184975 w 752994"/>
                <a:gd name="connsiteY307" fmla="*/ 187393 h 1333436"/>
                <a:gd name="connsiteX308" fmla="*/ 184762 w 752994"/>
                <a:gd name="connsiteY308" fmla="*/ 184637 h 1333436"/>
                <a:gd name="connsiteX309" fmla="*/ 174971 w 752994"/>
                <a:gd name="connsiteY309" fmla="*/ 170774 h 1333436"/>
                <a:gd name="connsiteX310" fmla="*/ 174971 w 752994"/>
                <a:gd name="connsiteY310" fmla="*/ 169550 h 1333436"/>
                <a:gd name="connsiteX311" fmla="*/ 158851 w 752994"/>
                <a:gd name="connsiteY311" fmla="*/ 156924 h 1333436"/>
                <a:gd name="connsiteX312" fmla="*/ 147025 w 752994"/>
                <a:gd name="connsiteY312" fmla="*/ 145709 h 1333436"/>
                <a:gd name="connsiteX313" fmla="*/ 154364 w 752994"/>
                <a:gd name="connsiteY313" fmla="*/ 136335 h 1333436"/>
                <a:gd name="connsiteX314" fmla="*/ 161511 w 752994"/>
                <a:gd name="connsiteY314" fmla="*/ 131042 h 1333436"/>
                <a:gd name="connsiteX315" fmla="*/ 160902 w 752994"/>
                <a:gd name="connsiteY315" fmla="*/ 128384 h 1333436"/>
                <a:gd name="connsiteX316" fmla="*/ 160277 w 752994"/>
                <a:gd name="connsiteY316" fmla="*/ 127778 h 1333436"/>
                <a:gd name="connsiteX317" fmla="*/ 154973 w 752994"/>
                <a:gd name="connsiteY317" fmla="*/ 122077 h 1333436"/>
                <a:gd name="connsiteX318" fmla="*/ 160277 w 752994"/>
                <a:gd name="connsiteY318" fmla="*/ 115140 h 1333436"/>
                <a:gd name="connsiteX319" fmla="*/ 165181 w 752994"/>
                <a:gd name="connsiteY319" fmla="*/ 108215 h 1333436"/>
                <a:gd name="connsiteX320" fmla="*/ 161303 w 752994"/>
                <a:gd name="connsiteY320" fmla="*/ 104146 h 1333436"/>
                <a:gd name="connsiteX321" fmla="*/ 157842 w 752994"/>
                <a:gd name="connsiteY321" fmla="*/ 104542 h 1333436"/>
                <a:gd name="connsiteX322" fmla="*/ 157024 w 752994"/>
                <a:gd name="connsiteY322" fmla="*/ 102304 h 1333436"/>
                <a:gd name="connsiteX323" fmla="*/ 160694 w 752994"/>
                <a:gd name="connsiteY323" fmla="*/ 55437 h 1333436"/>
                <a:gd name="connsiteX324" fmla="*/ 160486 w 752994"/>
                <a:gd name="connsiteY324" fmla="*/ 31991 h 1333436"/>
                <a:gd name="connsiteX325" fmla="*/ 164972 w 752994"/>
                <a:gd name="connsiteY325" fmla="*/ 18141 h 1333436"/>
                <a:gd name="connsiteX326" fmla="*/ 171911 w 752994"/>
                <a:gd name="connsiteY326" fmla="*/ 11204 h 1333436"/>
                <a:gd name="connsiteX327" fmla="*/ 187406 w 752994"/>
                <a:gd name="connsiteY327" fmla="*/ 21801 h 1333436"/>
                <a:gd name="connsiteX328" fmla="*/ 210866 w 752994"/>
                <a:gd name="connsiteY328" fmla="*/ 37086 h 1333436"/>
                <a:gd name="connsiteX329" fmla="*/ 219230 w 752994"/>
                <a:gd name="connsiteY329" fmla="*/ 41166 h 1333436"/>
                <a:gd name="connsiteX330" fmla="*/ 226778 w 752994"/>
                <a:gd name="connsiteY330" fmla="*/ 47486 h 1333436"/>
                <a:gd name="connsiteX331" fmla="*/ 236152 w 752994"/>
                <a:gd name="connsiteY331" fmla="*/ 52370 h 1333436"/>
                <a:gd name="connsiteX332" fmla="*/ 239629 w 752994"/>
                <a:gd name="connsiteY332" fmla="*/ 58491 h 1333436"/>
                <a:gd name="connsiteX333" fmla="*/ 239629 w 752994"/>
                <a:gd name="connsiteY333" fmla="*/ 63376 h 1333436"/>
                <a:gd name="connsiteX334" fmla="*/ 236568 w 752994"/>
                <a:gd name="connsiteY334" fmla="*/ 67457 h 1333436"/>
                <a:gd name="connsiteX335" fmla="*/ 231264 w 752994"/>
                <a:gd name="connsiteY335" fmla="*/ 69905 h 1333436"/>
                <a:gd name="connsiteX336" fmla="*/ 216778 w 752994"/>
                <a:gd name="connsiteY336" fmla="*/ 82741 h 1333436"/>
                <a:gd name="connsiteX337" fmla="*/ 214134 w 752994"/>
                <a:gd name="connsiteY337" fmla="*/ 93536 h 1333436"/>
                <a:gd name="connsiteX338" fmla="*/ 214535 w 752994"/>
                <a:gd name="connsiteY338" fmla="*/ 96801 h 1333436"/>
                <a:gd name="connsiteX339" fmla="*/ 216378 w 752994"/>
                <a:gd name="connsiteY339" fmla="*/ 96801 h 1333436"/>
                <a:gd name="connsiteX340" fmla="*/ 230046 w 752994"/>
                <a:gd name="connsiteY340" fmla="*/ 85387 h 1333436"/>
                <a:gd name="connsiteX341" fmla="*/ 243298 w 752994"/>
                <a:gd name="connsiteY341" fmla="*/ 75198 h 1333436"/>
                <a:gd name="connsiteX342" fmla="*/ 246760 w 752994"/>
                <a:gd name="connsiteY342" fmla="*/ 77646 h 1333436"/>
                <a:gd name="connsiteX343" fmla="*/ 255541 w 752994"/>
                <a:gd name="connsiteY343" fmla="*/ 63376 h 1333436"/>
                <a:gd name="connsiteX344" fmla="*/ 259611 w 752994"/>
                <a:gd name="connsiteY344" fmla="*/ 43405 h 1333436"/>
                <a:gd name="connsiteX345" fmla="*/ 256967 w 752994"/>
                <a:gd name="connsiteY345" fmla="*/ 38520 h 1333436"/>
                <a:gd name="connsiteX346" fmla="*/ 253906 w 752994"/>
                <a:gd name="connsiteY346" fmla="*/ 34242 h 1333436"/>
                <a:gd name="connsiteX347" fmla="*/ 256967 w 752994"/>
                <a:gd name="connsiteY347" fmla="*/ 30161 h 1333436"/>
                <a:gd name="connsiteX348" fmla="*/ 262063 w 752994"/>
                <a:gd name="connsiteY348" fmla="*/ 27712 h 1333436"/>
                <a:gd name="connsiteX349" fmla="*/ 264915 w 752994"/>
                <a:gd name="connsiteY349" fmla="*/ 23026 h 1333436"/>
                <a:gd name="connsiteX350" fmla="*/ 267976 w 752994"/>
                <a:gd name="connsiteY350" fmla="*/ 22618 h 1333436"/>
                <a:gd name="connsiteX351" fmla="*/ 270427 w 752994"/>
                <a:gd name="connsiteY351" fmla="*/ 20787 h 1333436"/>
                <a:gd name="connsiteX352" fmla="*/ 263088 w 752994"/>
                <a:gd name="connsiteY352" fmla="*/ 13652 h 1333436"/>
                <a:gd name="connsiteX353" fmla="*/ 255541 w 752994"/>
                <a:gd name="connsiteY353" fmla="*/ 3055 h 1333436"/>
                <a:gd name="connsiteX354" fmla="*/ 256358 w 752994"/>
                <a:gd name="connsiteY354" fmla="*/ 1224 h 1333436"/>
                <a:gd name="connsiteX355" fmla="*/ 257159 w 752994"/>
                <a:gd name="connsiteY355"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14145 w 752994"/>
                <a:gd name="connsiteY30" fmla="*/ 262450 h 1333436"/>
                <a:gd name="connsiteX31" fmla="*/ 431292 w 752994"/>
                <a:gd name="connsiteY31" fmla="*/ 268151 h 1333436"/>
                <a:gd name="connsiteX32" fmla="*/ 445196 w 752994"/>
                <a:gd name="connsiteY32" fmla="*/ 269890 h 1333436"/>
                <a:gd name="connsiteX33" fmla="*/ 444145 w 752994"/>
                <a:gd name="connsiteY33" fmla="*/ 267441 h 1333436"/>
                <a:gd name="connsiteX34" fmla="*/ 444145 w 752994"/>
                <a:gd name="connsiteY34" fmla="*/ 267034 h 1333436"/>
                <a:gd name="connsiteX35" fmla="*/ 444155 w 752994"/>
                <a:gd name="connsiteY35" fmla="*/ 266811 h 1333436"/>
                <a:gd name="connsiteX36" fmla="*/ 430733 w 752994"/>
                <a:gd name="connsiteY36" fmla="*/ 265139 h 1333436"/>
                <a:gd name="connsiteX37" fmla="*/ 381379 w 752994"/>
                <a:gd name="connsiteY37" fmla="*/ 252303 h 1333436"/>
                <a:gd name="connsiteX38" fmla="*/ 380962 w 752994"/>
                <a:gd name="connsiteY38" fmla="*/ 251895 h 1333436"/>
                <a:gd name="connsiteX39" fmla="*/ 365258 w 752994"/>
                <a:gd name="connsiteY39" fmla="*/ 245774 h 1333436"/>
                <a:gd name="connsiteX40" fmla="*/ 355067 w 752994"/>
                <a:gd name="connsiteY40" fmla="*/ 241285 h 1333436"/>
                <a:gd name="connsiteX41" fmla="*/ 350789 w 752994"/>
                <a:gd name="connsiteY41" fmla="*/ 244352 h 1333436"/>
                <a:gd name="connsiteX42" fmla="*/ 340789 w 752994"/>
                <a:gd name="connsiteY42" fmla="*/ 243536 h 1333436"/>
                <a:gd name="connsiteX43" fmla="*/ 333034 w 752994"/>
                <a:gd name="connsiteY43" fmla="*/ 240271 h 1333436"/>
                <a:gd name="connsiteX44" fmla="*/ 323868 w 752994"/>
                <a:gd name="connsiteY44" fmla="*/ 241495 h 1333436"/>
                <a:gd name="connsiteX45" fmla="*/ 309783 w 752994"/>
                <a:gd name="connsiteY45" fmla="*/ 243536 h 1333436"/>
                <a:gd name="connsiteX46" fmla="*/ 297140 w 752994"/>
                <a:gd name="connsiteY46" fmla="*/ 245576 h 1333436"/>
                <a:gd name="connsiteX47" fmla="*/ 288775 w 752994"/>
                <a:gd name="connsiteY47" fmla="*/ 247406 h 1333436"/>
                <a:gd name="connsiteX48" fmla="*/ 280827 w 752994"/>
                <a:gd name="connsiteY48" fmla="*/ 242720 h 1333436"/>
                <a:gd name="connsiteX49" fmla="*/ 274497 w 752994"/>
                <a:gd name="connsiteY49" fmla="*/ 238441 h 1333436"/>
                <a:gd name="connsiteX50" fmla="*/ 269001 w 752994"/>
                <a:gd name="connsiteY50" fmla="*/ 240679 h 1333436"/>
                <a:gd name="connsiteX51" fmla="*/ 262880 w 752994"/>
                <a:gd name="connsiteY51" fmla="*/ 243128 h 1333436"/>
                <a:gd name="connsiteX52" fmla="*/ 260028 w 752994"/>
                <a:gd name="connsiteY52" fmla="*/ 242720 h 1333436"/>
                <a:gd name="connsiteX53" fmla="*/ 247994 w 752994"/>
                <a:gd name="connsiteY53" fmla="*/ 241693 h 1333436"/>
                <a:gd name="connsiteX54" fmla="*/ 242081 w 752994"/>
                <a:gd name="connsiteY54" fmla="*/ 234162 h 1333436"/>
                <a:gd name="connsiteX55" fmla="*/ 235142 w 752994"/>
                <a:gd name="connsiteY55" fmla="*/ 229476 h 1333436"/>
                <a:gd name="connsiteX56" fmla="*/ 224742 w 752994"/>
                <a:gd name="connsiteY56" fmla="*/ 226817 h 1333436"/>
                <a:gd name="connsiteX57" fmla="*/ 216778 w 752994"/>
                <a:gd name="connsiteY57" fmla="*/ 229068 h 1333436"/>
                <a:gd name="connsiteX58" fmla="*/ 202709 w 752994"/>
                <a:gd name="connsiteY58" fmla="*/ 230898 h 1333436"/>
                <a:gd name="connsiteX59" fmla="*/ 195162 w 752994"/>
                <a:gd name="connsiteY59" fmla="*/ 228857 h 1333436"/>
                <a:gd name="connsiteX60" fmla="*/ 188223 w 752994"/>
                <a:gd name="connsiteY60" fmla="*/ 223973 h 1333436"/>
                <a:gd name="connsiteX61" fmla="*/ 185163 w 752994"/>
                <a:gd name="connsiteY61" fmla="*/ 219484 h 1333436"/>
                <a:gd name="connsiteX62" fmla="*/ 184180 w 752994"/>
                <a:gd name="connsiteY62" fmla="*/ 213866 h 1333436"/>
                <a:gd name="connsiteX63" fmla="*/ 257159 w 752994"/>
                <a:gd name="connsiteY63" fmla="*/ 0 h 1333436"/>
                <a:gd name="connsiteX64" fmla="*/ 493147 w 752994"/>
                <a:gd name="connsiteY64" fmla="*/ 73157 h 1333436"/>
                <a:gd name="connsiteX65" fmla="*/ 492970 w 752994"/>
                <a:gd name="connsiteY65" fmla="*/ 73792 h 1333436"/>
                <a:gd name="connsiteX66" fmla="*/ 525816 w 752994"/>
                <a:gd name="connsiteY66" fmla="*/ 82491 h 1333436"/>
                <a:gd name="connsiteX67" fmla="*/ 520098 w 752994"/>
                <a:gd name="connsiteY67" fmla="*/ 111245 h 1333436"/>
                <a:gd name="connsiteX68" fmla="*/ 512552 w 752994"/>
                <a:gd name="connsiteY68" fmla="*/ 143854 h 1333436"/>
                <a:gd name="connsiteX69" fmla="*/ 517849 w 752994"/>
                <a:gd name="connsiteY69" fmla="*/ 157740 h 1333436"/>
                <a:gd name="connsiteX70" fmla="*/ 523160 w 752994"/>
                <a:gd name="connsiteY70" fmla="*/ 172009 h 1333436"/>
                <a:gd name="connsiteX71" fmla="*/ 521535 w 752994"/>
                <a:gd name="connsiteY71" fmla="*/ 178928 h 1333436"/>
                <a:gd name="connsiteX72" fmla="*/ 520098 w 752994"/>
                <a:gd name="connsiteY72" fmla="*/ 186279 h 1333436"/>
                <a:gd name="connsiteX73" fmla="*/ 526019 w 752994"/>
                <a:gd name="connsiteY73" fmla="*/ 193629 h 1333436"/>
                <a:gd name="connsiteX74" fmla="*/ 537251 w 752994"/>
                <a:gd name="connsiteY74" fmla="*/ 206270 h 1333436"/>
                <a:gd name="connsiteX75" fmla="*/ 542765 w 752994"/>
                <a:gd name="connsiteY75" fmla="*/ 217475 h 1333436"/>
                <a:gd name="connsiteX76" fmla="*/ 546857 w 752994"/>
                <a:gd name="connsiteY76" fmla="*/ 230930 h 1333436"/>
                <a:gd name="connsiteX77" fmla="*/ 549499 w 752994"/>
                <a:gd name="connsiteY77" fmla="*/ 235622 h 1333436"/>
                <a:gd name="connsiteX78" fmla="*/ 553388 w 752994"/>
                <a:gd name="connsiteY78" fmla="*/ 240722 h 1333436"/>
                <a:gd name="connsiteX79" fmla="*/ 557465 w 752994"/>
                <a:gd name="connsiteY79" fmla="*/ 246037 h 1333436"/>
                <a:gd name="connsiteX80" fmla="*/ 561761 w 752994"/>
                <a:gd name="connsiteY80" fmla="*/ 248671 h 1333436"/>
                <a:gd name="connsiteX81" fmla="*/ 567478 w 752994"/>
                <a:gd name="connsiteY81" fmla="*/ 247665 h 1333436"/>
                <a:gd name="connsiteX82" fmla="*/ 569931 w 752994"/>
                <a:gd name="connsiteY82" fmla="*/ 249293 h 1333436"/>
                <a:gd name="connsiteX83" fmla="*/ 570540 w 752994"/>
                <a:gd name="connsiteY83" fmla="*/ 251951 h 1333436"/>
                <a:gd name="connsiteX84" fmla="*/ 561964 w 752994"/>
                <a:gd name="connsiteY84" fmla="*/ 267656 h 1333436"/>
                <a:gd name="connsiteX85" fmla="*/ 553591 w 752994"/>
                <a:gd name="connsiteY85" fmla="*/ 289659 h 1333436"/>
                <a:gd name="connsiteX86" fmla="*/ 554810 w 752994"/>
                <a:gd name="connsiteY86" fmla="*/ 292939 h 1333436"/>
                <a:gd name="connsiteX87" fmla="*/ 556246 w 752994"/>
                <a:gd name="connsiteY87" fmla="*/ 299260 h 1333436"/>
                <a:gd name="connsiteX88" fmla="*/ 552778 w 752994"/>
                <a:gd name="connsiteY88" fmla="*/ 301917 h 1333436"/>
                <a:gd name="connsiteX89" fmla="*/ 549295 w 752994"/>
                <a:gd name="connsiteY89" fmla="*/ 306993 h 1333436"/>
                <a:gd name="connsiteX90" fmla="*/ 547061 w 752994"/>
                <a:gd name="connsiteY90" fmla="*/ 313122 h 1333436"/>
                <a:gd name="connsiteX91" fmla="*/ 544811 w 752994"/>
                <a:gd name="connsiteY91" fmla="*/ 316593 h 1333436"/>
                <a:gd name="connsiteX92" fmla="*/ 549919 w 752994"/>
                <a:gd name="connsiteY92" fmla="*/ 322698 h 1333436"/>
                <a:gd name="connsiteX93" fmla="*/ 553184 w 752994"/>
                <a:gd name="connsiteY93" fmla="*/ 325955 h 1333436"/>
                <a:gd name="connsiteX94" fmla="*/ 555840 w 752994"/>
                <a:gd name="connsiteY94" fmla="*/ 328205 h 1333436"/>
                <a:gd name="connsiteX95" fmla="*/ 574212 w 752994"/>
                <a:gd name="connsiteY95" fmla="*/ 318820 h 1333436"/>
                <a:gd name="connsiteX96" fmla="*/ 579523 w 752994"/>
                <a:gd name="connsiteY96" fmla="*/ 326577 h 1333436"/>
                <a:gd name="connsiteX97" fmla="*/ 580539 w 752994"/>
                <a:gd name="connsiteY97" fmla="*/ 334933 h 1333436"/>
                <a:gd name="connsiteX98" fmla="*/ 579726 w 752994"/>
                <a:gd name="connsiteY98" fmla="*/ 343097 h 1333436"/>
                <a:gd name="connsiteX99" fmla="*/ 581366 w 752994"/>
                <a:gd name="connsiteY99" fmla="*/ 350231 h 1333436"/>
                <a:gd name="connsiteX100" fmla="*/ 586256 w 752994"/>
                <a:gd name="connsiteY100" fmla="*/ 355930 h 1333436"/>
                <a:gd name="connsiteX101" fmla="*/ 589536 w 752994"/>
                <a:gd name="connsiteY101" fmla="*/ 362059 h 1333436"/>
                <a:gd name="connsiteX102" fmla="*/ 588099 w 752994"/>
                <a:gd name="connsiteY102" fmla="*/ 369600 h 1333436"/>
                <a:gd name="connsiteX103" fmla="*/ 586459 w 752994"/>
                <a:gd name="connsiteY103" fmla="*/ 377357 h 1333436"/>
                <a:gd name="connsiteX104" fmla="*/ 588709 w 752994"/>
                <a:gd name="connsiteY104" fmla="*/ 381835 h 1333436"/>
                <a:gd name="connsiteX105" fmla="*/ 595036 w 752994"/>
                <a:gd name="connsiteY105" fmla="*/ 382457 h 1333436"/>
                <a:gd name="connsiteX106" fmla="*/ 599331 w 752994"/>
                <a:gd name="connsiteY106" fmla="*/ 385306 h 1333436"/>
                <a:gd name="connsiteX107" fmla="*/ 601987 w 752994"/>
                <a:gd name="connsiteY107" fmla="*/ 391004 h 1333436"/>
                <a:gd name="connsiteX108" fmla="*/ 602799 w 752994"/>
                <a:gd name="connsiteY108" fmla="*/ 404076 h 1333436"/>
                <a:gd name="connsiteX109" fmla="*/ 606892 w 752994"/>
                <a:gd name="connsiteY109" fmla="*/ 415688 h 1333436"/>
                <a:gd name="connsiteX110" fmla="*/ 610563 w 752994"/>
                <a:gd name="connsiteY110" fmla="*/ 412217 h 1333436"/>
                <a:gd name="connsiteX111" fmla="*/ 617920 w 752994"/>
                <a:gd name="connsiteY111" fmla="*/ 408769 h 1333436"/>
                <a:gd name="connsiteX112" fmla="*/ 624654 w 752994"/>
                <a:gd name="connsiteY112" fmla="*/ 411211 h 1333436"/>
                <a:gd name="connsiteX113" fmla="*/ 634652 w 752994"/>
                <a:gd name="connsiteY113" fmla="*/ 410182 h 1333436"/>
                <a:gd name="connsiteX114" fmla="*/ 640573 w 752994"/>
                <a:gd name="connsiteY114" fmla="*/ 407739 h 1333436"/>
                <a:gd name="connsiteX115" fmla="*/ 646711 w 752994"/>
                <a:gd name="connsiteY115" fmla="*/ 410589 h 1333436"/>
                <a:gd name="connsiteX116" fmla="*/ 650383 w 752994"/>
                <a:gd name="connsiteY116" fmla="*/ 410589 h 1333436"/>
                <a:gd name="connsiteX117" fmla="*/ 654257 w 752994"/>
                <a:gd name="connsiteY117" fmla="*/ 411618 h 1333436"/>
                <a:gd name="connsiteX118" fmla="*/ 656913 w 752994"/>
                <a:gd name="connsiteY118" fmla="*/ 413653 h 1333436"/>
                <a:gd name="connsiteX119" fmla="*/ 660802 w 752994"/>
                <a:gd name="connsiteY119" fmla="*/ 415090 h 1333436"/>
                <a:gd name="connsiteX120" fmla="*/ 669581 w 752994"/>
                <a:gd name="connsiteY120" fmla="*/ 415904 h 1333436"/>
                <a:gd name="connsiteX121" fmla="*/ 672237 w 752994"/>
                <a:gd name="connsiteY121" fmla="*/ 415688 h 1333436"/>
                <a:gd name="connsiteX122" fmla="*/ 675705 w 752994"/>
                <a:gd name="connsiteY122" fmla="*/ 409367 h 1333436"/>
                <a:gd name="connsiteX123" fmla="*/ 679986 w 752994"/>
                <a:gd name="connsiteY123" fmla="*/ 403238 h 1333436"/>
                <a:gd name="connsiteX124" fmla="*/ 693264 w 752994"/>
                <a:gd name="connsiteY124" fmla="*/ 419567 h 1333436"/>
                <a:gd name="connsiteX125" fmla="*/ 688563 w 752994"/>
                <a:gd name="connsiteY125" fmla="*/ 448321 h 1333436"/>
                <a:gd name="connsiteX126" fmla="*/ 663949 w 752994"/>
                <a:gd name="connsiteY126" fmla="*/ 590165 h 1333436"/>
                <a:gd name="connsiteX127" fmla="*/ 666304 w 752994"/>
                <a:gd name="connsiteY127" fmla="*/ 590504 h 1333436"/>
                <a:gd name="connsiteX128" fmla="*/ 655288 w 752994"/>
                <a:gd name="connsiteY128" fmla="*/ 656178 h 1333436"/>
                <a:gd name="connsiteX129" fmla="*/ 681808 w 752994"/>
                <a:gd name="connsiteY129" fmla="*/ 662301 h 1333436"/>
                <a:gd name="connsiteX130" fmla="*/ 752994 w 752994"/>
                <a:gd name="connsiteY130" fmla="*/ 675560 h 1333436"/>
                <a:gd name="connsiteX131" fmla="*/ 714651 w 752994"/>
                <a:gd name="connsiteY131" fmla="*/ 946985 h 1333436"/>
                <a:gd name="connsiteX132" fmla="*/ 654533 w 752994"/>
                <a:gd name="connsiteY132" fmla="*/ 1333436 h 1333436"/>
                <a:gd name="connsiteX133" fmla="*/ 546831 w 752994"/>
                <a:gd name="connsiteY133" fmla="*/ 1317126 h 1333436"/>
                <a:gd name="connsiteX134" fmla="*/ 351227 w 752994"/>
                <a:gd name="connsiteY134" fmla="*/ 1194172 h 1333436"/>
                <a:gd name="connsiteX135" fmla="*/ 361011 w 752994"/>
                <a:gd name="connsiteY135" fmla="*/ 1182755 h 1333436"/>
                <a:gd name="connsiteX136" fmla="*/ 368981 w 752994"/>
                <a:gd name="connsiteY136" fmla="*/ 1182130 h 1333436"/>
                <a:gd name="connsiteX137" fmla="*/ 369571 w 752994"/>
                <a:gd name="connsiteY137" fmla="*/ 1181558 h 1333436"/>
                <a:gd name="connsiteX138" fmla="*/ 362372 w 752994"/>
                <a:gd name="connsiteY138" fmla="*/ 1182120 h 1333436"/>
                <a:gd name="connsiteX139" fmla="*/ 229464 w 752994"/>
                <a:gd name="connsiteY139" fmla="*/ 1161721 h 1333436"/>
                <a:gd name="connsiteX140" fmla="*/ 227427 w 752994"/>
                <a:gd name="connsiteY140" fmla="*/ 1157269 h 1333436"/>
                <a:gd name="connsiteX141" fmla="*/ 224967 w 752994"/>
                <a:gd name="connsiteY141" fmla="*/ 1152575 h 1333436"/>
                <a:gd name="connsiteX142" fmla="*/ 225582 w 752994"/>
                <a:gd name="connsiteY142" fmla="*/ 1144808 h 1333436"/>
                <a:gd name="connsiteX143" fmla="*/ 227215 w 752994"/>
                <a:gd name="connsiteY143" fmla="*/ 1135834 h 1333436"/>
                <a:gd name="connsiteX144" fmla="*/ 227215 w 752994"/>
                <a:gd name="connsiteY144" fmla="*/ 1134212 h 1333436"/>
                <a:gd name="connsiteX145" fmla="*/ 225179 w 752994"/>
                <a:gd name="connsiteY145" fmla="*/ 1114020 h 1333436"/>
                <a:gd name="connsiteX146" fmla="*/ 217839 w 752994"/>
                <a:gd name="connsiteY146" fmla="*/ 1100352 h 1333436"/>
                <a:gd name="connsiteX147" fmla="*/ 199661 w 752994"/>
                <a:gd name="connsiteY147" fmla="*/ 1076502 h 1333436"/>
                <a:gd name="connsiteX148" fmla="*/ 196395 w 752994"/>
                <a:gd name="connsiteY148" fmla="*/ 1071807 h 1333436"/>
                <a:gd name="connsiteX149" fmla="*/ 190880 w 752994"/>
                <a:gd name="connsiteY149" fmla="*/ 1067527 h 1333436"/>
                <a:gd name="connsiteX150" fmla="*/ 187210 w 752994"/>
                <a:gd name="connsiteY150" fmla="*/ 1068735 h 1333436"/>
                <a:gd name="connsiteX151" fmla="*/ 180062 w 752994"/>
                <a:gd name="connsiteY151" fmla="*/ 1066699 h 1333436"/>
                <a:gd name="connsiteX152" fmla="*/ 180466 w 752994"/>
                <a:gd name="connsiteY152" fmla="*/ 1053031 h 1333436"/>
                <a:gd name="connsiteX153" fmla="*/ 180062 w 752994"/>
                <a:gd name="connsiteY153" fmla="*/ 1045299 h 1333436"/>
                <a:gd name="connsiteX154" fmla="*/ 174144 w 752994"/>
                <a:gd name="connsiteY154" fmla="*/ 1044057 h 1333436"/>
                <a:gd name="connsiteX155" fmla="*/ 158426 w 752994"/>
                <a:gd name="connsiteY155" fmla="*/ 1042641 h 1333436"/>
                <a:gd name="connsiteX156" fmla="*/ 149857 w 752994"/>
                <a:gd name="connsiteY156" fmla="*/ 1035497 h 1333436"/>
                <a:gd name="connsiteX157" fmla="*/ 142497 w 752994"/>
                <a:gd name="connsiteY157" fmla="*/ 1028766 h 1333436"/>
                <a:gd name="connsiteX158" fmla="*/ 140864 w 752994"/>
                <a:gd name="connsiteY158" fmla="*/ 1020620 h 1333436"/>
                <a:gd name="connsiteX159" fmla="*/ 138212 w 752994"/>
                <a:gd name="connsiteY159" fmla="*/ 1013061 h 1333436"/>
                <a:gd name="connsiteX160" fmla="*/ 131064 w 752994"/>
                <a:gd name="connsiteY160" fmla="*/ 1007159 h 1333436"/>
                <a:gd name="connsiteX161" fmla="*/ 121264 w 752994"/>
                <a:gd name="connsiteY161" fmla="*/ 1005330 h 1333436"/>
                <a:gd name="connsiteX162" fmla="*/ 112483 w 752994"/>
                <a:gd name="connsiteY162" fmla="*/ 1001671 h 1333436"/>
                <a:gd name="connsiteX163" fmla="*/ 105950 w 752994"/>
                <a:gd name="connsiteY163" fmla="*/ 995734 h 1333436"/>
                <a:gd name="connsiteX164" fmla="*/ 97380 w 752994"/>
                <a:gd name="connsiteY164" fmla="*/ 994526 h 1333436"/>
                <a:gd name="connsiteX165" fmla="*/ 87984 w 752994"/>
                <a:gd name="connsiteY165" fmla="*/ 991040 h 1333436"/>
                <a:gd name="connsiteX166" fmla="*/ 80029 w 752994"/>
                <a:gd name="connsiteY166" fmla="*/ 985138 h 1333436"/>
                <a:gd name="connsiteX167" fmla="*/ 77166 w 752994"/>
                <a:gd name="connsiteY167" fmla="*/ 976164 h 1333436"/>
                <a:gd name="connsiteX168" fmla="*/ 79203 w 752994"/>
                <a:gd name="connsiteY168" fmla="*/ 970676 h 1333436"/>
                <a:gd name="connsiteX169" fmla="*/ 82470 w 752994"/>
                <a:gd name="connsiteY169" fmla="*/ 963117 h 1333436"/>
                <a:gd name="connsiteX170" fmla="*/ 84314 w 752994"/>
                <a:gd name="connsiteY170" fmla="*/ 954557 h 1333436"/>
                <a:gd name="connsiteX171" fmla="*/ 86351 w 752994"/>
                <a:gd name="connsiteY171" fmla="*/ 948033 h 1333436"/>
                <a:gd name="connsiteX172" fmla="*/ 86159 w 752994"/>
                <a:gd name="connsiteY172" fmla="*/ 942925 h 1333436"/>
                <a:gd name="connsiteX173" fmla="*/ 83085 w 752994"/>
                <a:gd name="connsiteY173" fmla="*/ 939853 h 1333436"/>
                <a:gd name="connsiteX174" fmla="*/ 77570 w 752994"/>
                <a:gd name="connsiteY174" fmla="*/ 937437 h 1333436"/>
                <a:gd name="connsiteX175" fmla="*/ 76763 w 752994"/>
                <a:gd name="connsiteY175" fmla="*/ 931915 h 1333436"/>
                <a:gd name="connsiteX176" fmla="*/ 78800 w 752994"/>
                <a:gd name="connsiteY176" fmla="*/ 927013 h 1333436"/>
                <a:gd name="connsiteX177" fmla="*/ 79626 w 752994"/>
                <a:gd name="connsiteY177" fmla="*/ 922526 h 1333436"/>
                <a:gd name="connsiteX178" fmla="*/ 77781 w 752994"/>
                <a:gd name="connsiteY178" fmla="*/ 919903 h 1333436"/>
                <a:gd name="connsiteX179" fmla="*/ 74303 w 752994"/>
                <a:gd name="connsiteY179" fmla="*/ 917418 h 1333436"/>
                <a:gd name="connsiteX180" fmla="*/ 71863 w 752994"/>
                <a:gd name="connsiteY180" fmla="*/ 915174 h 1333436"/>
                <a:gd name="connsiteX181" fmla="*/ 71652 w 752994"/>
                <a:gd name="connsiteY181" fmla="*/ 910894 h 1333436"/>
                <a:gd name="connsiteX182" fmla="*/ 70633 w 752994"/>
                <a:gd name="connsiteY182" fmla="*/ 906614 h 1333436"/>
                <a:gd name="connsiteX183" fmla="*/ 68385 w 752994"/>
                <a:gd name="connsiteY183" fmla="*/ 902749 h 1333436"/>
                <a:gd name="connsiteX184" fmla="*/ 61045 w 752994"/>
                <a:gd name="connsiteY184" fmla="*/ 889494 h 1333436"/>
                <a:gd name="connsiteX185" fmla="*/ 57971 w 752994"/>
                <a:gd name="connsiteY185" fmla="*/ 875619 h 1333436"/>
                <a:gd name="connsiteX186" fmla="*/ 52264 w 752994"/>
                <a:gd name="connsiteY186" fmla="*/ 862572 h 1333436"/>
                <a:gd name="connsiteX187" fmla="*/ 44309 w 752994"/>
                <a:gd name="connsiteY187" fmla="*/ 850561 h 1333436"/>
                <a:gd name="connsiteX188" fmla="*/ 45520 w 752994"/>
                <a:gd name="connsiteY188" fmla="*/ 827090 h 1333436"/>
                <a:gd name="connsiteX189" fmla="*/ 53071 w 752994"/>
                <a:gd name="connsiteY189" fmla="*/ 822396 h 1333436"/>
                <a:gd name="connsiteX190" fmla="*/ 57375 w 752994"/>
                <a:gd name="connsiteY190" fmla="*/ 816493 h 1333436"/>
                <a:gd name="connsiteX191" fmla="*/ 55319 w 752994"/>
                <a:gd name="connsiteY191" fmla="*/ 801617 h 1333436"/>
                <a:gd name="connsiteX192" fmla="*/ 48383 w 752994"/>
                <a:gd name="connsiteY192" fmla="*/ 802204 h 1333436"/>
                <a:gd name="connsiteX193" fmla="*/ 40428 w 752994"/>
                <a:gd name="connsiteY193" fmla="*/ 797924 h 1333436"/>
                <a:gd name="connsiteX194" fmla="*/ 37565 w 752994"/>
                <a:gd name="connsiteY194" fmla="*/ 790606 h 1333436"/>
                <a:gd name="connsiteX195" fmla="*/ 37565 w 752994"/>
                <a:gd name="connsiteY195" fmla="*/ 790399 h 1333436"/>
                <a:gd name="connsiteX196" fmla="*/ 35931 w 752994"/>
                <a:gd name="connsiteY196" fmla="*/ 785912 h 1333436"/>
                <a:gd name="connsiteX197" fmla="*/ 34510 w 752994"/>
                <a:gd name="connsiteY197" fmla="*/ 780597 h 1333436"/>
                <a:gd name="connsiteX198" fmla="*/ 36335 w 752994"/>
                <a:gd name="connsiteY198" fmla="*/ 774280 h 1333436"/>
                <a:gd name="connsiteX199" fmla="*/ 38180 w 752994"/>
                <a:gd name="connsiteY199" fmla="*/ 766721 h 1333436"/>
                <a:gd name="connsiteX200" fmla="*/ 37161 w 752994"/>
                <a:gd name="connsiteY200" fmla="*/ 760405 h 1333436"/>
                <a:gd name="connsiteX201" fmla="*/ 35720 w 752994"/>
                <a:gd name="connsiteY201" fmla="*/ 754710 h 1333436"/>
                <a:gd name="connsiteX202" fmla="*/ 36546 w 752994"/>
                <a:gd name="connsiteY202" fmla="*/ 748773 h 1333436"/>
                <a:gd name="connsiteX203" fmla="*/ 38372 w 752994"/>
                <a:gd name="connsiteY203" fmla="*/ 744528 h 1333436"/>
                <a:gd name="connsiteX204" fmla="*/ 41638 w 752994"/>
                <a:gd name="connsiteY204" fmla="*/ 744321 h 1333436"/>
                <a:gd name="connsiteX205" fmla="*/ 44713 w 752994"/>
                <a:gd name="connsiteY205" fmla="*/ 746357 h 1333436"/>
                <a:gd name="connsiteX206" fmla="*/ 47364 w 752994"/>
                <a:gd name="connsiteY206" fmla="*/ 753260 h 1333436"/>
                <a:gd name="connsiteX207" fmla="*/ 55742 w 752994"/>
                <a:gd name="connsiteY207" fmla="*/ 764305 h 1333436"/>
                <a:gd name="connsiteX208" fmla="*/ 56338 w 752994"/>
                <a:gd name="connsiteY208" fmla="*/ 761233 h 1333436"/>
                <a:gd name="connsiteX209" fmla="*/ 56145 w 752994"/>
                <a:gd name="connsiteY209" fmla="*/ 757368 h 1333436"/>
                <a:gd name="connsiteX210" fmla="*/ 54916 w 752994"/>
                <a:gd name="connsiteY210" fmla="*/ 748601 h 1333436"/>
                <a:gd name="connsiteX211" fmla="*/ 52879 w 752994"/>
                <a:gd name="connsiteY211" fmla="*/ 747358 h 1333436"/>
                <a:gd name="connsiteX212" fmla="*/ 51649 w 752994"/>
                <a:gd name="connsiteY212" fmla="*/ 745322 h 1333436"/>
                <a:gd name="connsiteX213" fmla="*/ 51649 w 752994"/>
                <a:gd name="connsiteY213" fmla="*/ 739212 h 1333436"/>
                <a:gd name="connsiteX214" fmla="*/ 50227 w 752994"/>
                <a:gd name="connsiteY214" fmla="*/ 734725 h 1333436"/>
                <a:gd name="connsiteX215" fmla="*/ 48786 w 752994"/>
                <a:gd name="connsiteY215" fmla="*/ 731446 h 1333436"/>
                <a:gd name="connsiteX216" fmla="*/ 54512 w 752994"/>
                <a:gd name="connsiteY216" fmla="*/ 726372 h 1333436"/>
                <a:gd name="connsiteX217" fmla="*/ 59815 w 752994"/>
                <a:gd name="connsiteY217" fmla="*/ 725130 h 1333436"/>
                <a:gd name="connsiteX218" fmla="*/ 58182 w 752994"/>
                <a:gd name="connsiteY218" fmla="*/ 722886 h 1333436"/>
                <a:gd name="connsiteX219" fmla="*/ 51861 w 752994"/>
                <a:gd name="connsiteY219" fmla="*/ 717985 h 1333436"/>
                <a:gd name="connsiteX220" fmla="*/ 46749 w 752994"/>
                <a:gd name="connsiteY220" fmla="*/ 729617 h 1333436"/>
                <a:gd name="connsiteX221" fmla="*/ 40831 w 752994"/>
                <a:gd name="connsiteY221" fmla="*/ 739212 h 1333436"/>
                <a:gd name="connsiteX222" fmla="*/ 39601 w 752994"/>
                <a:gd name="connsiteY222" fmla="*/ 738798 h 1333436"/>
                <a:gd name="connsiteX223" fmla="*/ 39409 w 752994"/>
                <a:gd name="connsiteY223" fmla="*/ 738591 h 1333436"/>
                <a:gd name="connsiteX224" fmla="*/ 37161 w 752994"/>
                <a:gd name="connsiteY224" fmla="*/ 734725 h 1333436"/>
                <a:gd name="connsiteX225" fmla="*/ 32665 w 752994"/>
                <a:gd name="connsiteY225" fmla="*/ 727788 h 1333436"/>
                <a:gd name="connsiteX226" fmla="*/ 26747 w 752994"/>
                <a:gd name="connsiteY226" fmla="*/ 719435 h 1333436"/>
                <a:gd name="connsiteX227" fmla="*/ 23884 w 752994"/>
                <a:gd name="connsiteY227" fmla="*/ 717812 h 1333436"/>
                <a:gd name="connsiteX228" fmla="*/ 24710 w 752994"/>
                <a:gd name="connsiteY228" fmla="*/ 709632 h 1333436"/>
                <a:gd name="connsiteX229" fmla="*/ 27554 w 752994"/>
                <a:gd name="connsiteY229" fmla="*/ 701694 h 1333436"/>
                <a:gd name="connsiteX230" fmla="*/ 24902 w 752994"/>
                <a:gd name="connsiteY230" fmla="*/ 696171 h 1333436"/>
                <a:gd name="connsiteX231" fmla="*/ 24095 w 752994"/>
                <a:gd name="connsiteY231" fmla="*/ 687818 h 1333436"/>
                <a:gd name="connsiteX232" fmla="*/ 22462 w 752994"/>
                <a:gd name="connsiteY232" fmla="*/ 682330 h 1333436"/>
                <a:gd name="connsiteX233" fmla="*/ 17159 w 752994"/>
                <a:gd name="connsiteY233" fmla="*/ 677636 h 1333436"/>
                <a:gd name="connsiteX234" fmla="*/ 14296 w 752994"/>
                <a:gd name="connsiteY234" fmla="*/ 671492 h 1333436"/>
                <a:gd name="connsiteX235" fmla="*/ 12451 w 752994"/>
                <a:gd name="connsiteY235" fmla="*/ 665797 h 1333436"/>
                <a:gd name="connsiteX236" fmla="*/ 5111 w 752994"/>
                <a:gd name="connsiteY236" fmla="*/ 654994 h 1333436"/>
                <a:gd name="connsiteX237" fmla="*/ 2248 w 752994"/>
                <a:gd name="connsiteY237" fmla="*/ 645605 h 1333436"/>
                <a:gd name="connsiteX238" fmla="*/ 4496 w 752994"/>
                <a:gd name="connsiteY238" fmla="*/ 640497 h 1333436"/>
                <a:gd name="connsiteX239" fmla="*/ 6744 w 752994"/>
                <a:gd name="connsiteY239" fmla="*/ 632765 h 1333436"/>
                <a:gd name="connsiteX240" fmla="*/ 6744 w 752994"/>
                <a:gd name="connsiteY240" fmla="*/ 628485 h 1333436"/>
                <a:gd name="connsiteX241" fmla="*/ 6533 w 752994"/>
                <a:gd name="connsiteY241" fmla="*/ 620305 h 1333436"/>
                <a:gd name="connsiteX242" fmla="*/ 7359 w 752994"/>
                <a:gd name="connsiteY242" fmla="*/ 611745 h 1333436"/>
                <a:gd name="connsiteX243" fmla="*/ 11836 w 752994"/>
                <a:gd name="connsiteY243" fmla="*/ 602978 h 1333436"/>
                <a:gd name="connsiteX244" fmla="*/ 15103 w 752994"/>
                <a:gd name="connsiteY244" fmla="*/ 591760 h 1333436"/>
                <a:gd name="connsiteX245" fmla="*/ 14488 w 752994"/>
                <a:gd name="connsiteY245" fmla="*/ 584029 h 1333436"/>
                <a:gd name="connsiteX246" fmla="*/ 13873 w 752994"/>
                <a:gd name="connsiteY246" fmla="*/ 578299 h 1333436"/>
                <a:gd name="connsiteX247" fmla="*/ 10626 w 752994"/>
                <a:gd name="connsiteY247" fmla="*/ 568531 h 1333436"/>
                <a:gd name="connsiteX248" fmla="*/ 3670 w 752994"/>
                <a:gd name="connsiteY248" fmla="*/ 558107 h 1333436"/>
                <a:gd name="connsiteX249" fmla="*/ 0 w 752994"/>
                <a:gd name="connsiteY249" fmla="*/ 551377 h 1333436"/>
                <a:gd name="connsiteX250" fmla="*/ 0 w 752994"/>
                <a:gd name="connsiteY250" fmla="*/ 550997 h 1333436"/>
                <a:gd name="connsiteX251" fmla="*/ 4900 w 752994"/>
                <a:gd name="connsiteY251" fmla="*/ 531220 h 1333436"/>
                <a:gd name="connsiteX252" fmla="*/ 13873 w 752994"/>
                <a:gd name="connsiteY252" fmla="*/ 520589 h 1333436"/>
                <a:gd name="connsiteX253" fmla="*/ 18369 w 752994"/>
                <a:gd name="connsiteY253" fmla="*/ 516516 h 1333436"/>
                <a:gd name="connsiteX254" fmla="*/ 18773 w 752994"/>
                <a:gd name="connsiteY254" fmla="*/ 514272 h 1333436"/>
                <a:gd name="connsiteX255" fmla="*/ 23077 w 752994"/>
                <a:gd name="connsiteY255" fmla="*/ 506127 h 1333436"/>
                <a:gd name="connsiteX256" fmla="*/ 23884 w 752994"/>
                <a:gd name="connsiteY256" fmla="*/ 502261 h 1333436"/>
                <a:gd name="connsiteX257" fmla="*/ 23692 w 752994"/>
                <a:gd name="connsiteY257" fmla="*/ 496738 h 1333436"/>
                <a:gd name="connsiteX258" fmla="*/ 30013 w 752994"/>
                <a:gd name="connsiteY258" fmla="*/ 486556 h 1333436"/>
                <a:gd name="connsiteX259" fmla="*/ 36546 w 752994"/>
                <a:gd name="connsiteY259" fmla="*/ 470230 h 1333436"/>
                <a:gd name="connsiteX260" fmla="*/ 36546 w 752994"/>
                <a:gd name="connsiteY260" fmla="*/ 462671 h 1333436"/>
                <a:gd name="connsiteX261" fmla="*/ 36335 w 752994"/>
                <a:gd name="connsiteY261" fmla="*/ 461670 h 1333436"/>
                <a:gd name="connsiteX262" fmla="*/ 35931 w 752994"/>
                <a:gd name="connsiteY262" fmla="*/ 453110 h 1333436"/>
                <a:gd name="connsiteX263" fmla="*/ 38583 w 752994"/>
                <a:gd name="connsiteY263" fmla="*/ 442514 h 1333436"/>
                <a:gd name="connsiteX264" fmla="*/ 41043 w 752994"/>
                <a:gd name="connsiteY264" fmla="*/ 436991 h 1333436"/>
                <a:gd name="connsiteX265" fmla="*/ 41650 w 752994"/>
                <a:gd name="connsiteY265" fmla="*/ 437186 h 1333436"/>
                <a:gd name="connsiteX266" fmla="*/ 41239 w 752994"/>
                <a:gd name="connsiteY266" fmla="*/ 436549 h 1333436"/>
                <a:gd name="connsiteX267" fmla="*/ 37778 w 752994"/>
                <a:gd name="connsiteY267" fmla="*/ 433894 h 1333436"/>
                <a:gd name="connsiteX268" fmla="*/ 37169 w 752994"/>
                <a:gd name="connsiteY268" fmla="*/ 432261 h 1333436"/>
                <a:gd name="connsiteX269" fmla="*/ 37365 w 752994"/>
                <a:gd name="connsiteY269" fmla="*/ 429198 h 1333436"/>
                <a:gd name="connsiteX270" fmla="*/ 36756 w 752994"/>
                <a:gd name="connsiteY270" fmla="*/ 422272 h 1333436"/>
                <a:gd name="connsiteX271" fmla="*/ 36952 w 752994"/>
                <a:gd name="connsiteY271" fmla="*/ 418800 h 1333436"/>
                <a:gd name="connsiteX272" fmla="*/ 36756 w 752994"/>
                <a:gd name="connsiteY272" fmla="*/ 412487 h 1333436"/>
                <a:gd name="connsiteX273" fmla="*/ 40433 w 752994"/>
                <a:gd name="connsiteY273" fmla="*/ 406174 h 1333436"/>
                <a:gd name="connsiteX274" fmla="*/ 44720 w 752994"/>
                <a:gd name="connsiteY274" fmla="*/ 399435 h 1333436"/>
                <a:gd name="connsiteX275" fmla="*/ 44110 w 752994"/>
                <a:gd name="connsiteY275" fmla="*/ 389651 h 1333436"/>
                <a:gd name="connsiteX276" fmla="*/ 43894 w 752994"/>
                <a:gd name="connsiteY276" fmla="*/ 378437 h 1333436"/>
                <a:gd name="connsiteX277" fmla="*/ 47158 w 752994"/>
                <a:gd name="connsiteY277" fmla="*/ 371102 h 1333436"/>
                <a:gd name="connsiteX278" fmla="*/ 55731 w 752994"/>
                <a:gd name="connsiteY278" fmla="*/ 360909 h 1333436"/>
                <a:gd name="connsiteX279" fmla="*/ 57580 w 752994"/>
                <a:gd name="connsiteY279" fmla="*/ 355804 h 1333436"/>
                <a:gd name="connsiteX280" fmla="*/ 62673 w 752994"/>
                <a:gd name="connsiteY280" fmla="*/ 349695 h 1333436"/>
                <a:gd name="connsiteX281" fmla="*/ 65937 w 752994"/>
                <a:gd name="connsiteY281" fmla="*/ 348470 h 1333436"/>
                <a:gd name="connsiteX282" fmla="*/ 68395 w 752994"/>
                <a:gd name="connsiteY282" fmla="*/ 348674 h 1333436"/>
                <a:gd name="connsiteX283" fmla="*/ 70224 w 752994"/>
                <a:gd name="connsiteY283" fmla="*/ 347449 h 1333436"/>
                <a:gd name="connsiteX284" fmla="*/ 67785 w 752994"/>
                <a:gd name="connsiteY284" fmla="*/ 345203 h 1333436"/>
                <a:gd name="connsiteX285" fmla="*/ 65524 w 752994"/>
                <a:gd name="connsiteY285" fmla="*/ 343178 h 1333436"/>
                <a:gd name="connsiteX286" fmla="*/ 73095 w 752994"/>
                <a:gd name="connsiteY286" fmla="*/ 333376 h 1333436"/>
                <a:gd name="connsiteX287" fmla="*/ 73291 w 752994"/>
                <a:gd name="connsiteY287" fmla="*/ 333376 h 1333436"/>
                <a:gd name="connsiteX288" fmla="*/ 77991 w 752994"/>
                <a:gd name="connsiteY288" fmla="*/ 325838 h 1333436"/>
                <a:gd name="connsiteX289" fmla="*/ 82671 w 752994"/>
                <a:gd name="connsiteY289" fmla="*/ 313619 h 1333436"/>
                <a:gd name="connsiteX290" fmla="*/ 87980 w 752994"/>
                <a:gd name="connsiteY290" fmla="*/ 303018 h 1333436"/>
                <a:gd name="connsiteX291" fmla="*/ 92267 w 752994"/>
                <a:gd name="connsiteY291" fmla="*/ 291191 h 1333436"/>
                <a:gd name="connsiteX292" fmla="*/ 96553 w 752994"/>
                <a:gd name="connsiteY292" fmla="*/ 281202 h 1333436"/>
                <a:gd name="connsiteX293" fmla="*/ 99621 w 752994"/>
                <a:gd name="connsiteY293" fmla="*/ 274481 h 1333436"/>
                <a:gd name="connsiteX294" fmla="*/ 103082 w 752994"/>
                <a:gd name="connsiteY294" fmla="*/ 262450 h 1333436"/>
                <a:gd name="connsiteX295" fmla="*/ 107172 w 752994"/>
                <a:gd name="connsiteY295" fmla="*/ 254299 h 1333436"/>
                <a:gd name="connsiteX296" fmla="*/ 112481 w 752994"/>
                <a:gd name="connsiteY296" fmla="*/ 243697 h 1333436"/>
                <a:gd name="connsiteX297" fmla="*/ 117181 w 752994"/>
                <a:gd name="connsiteY297" fmla="*/ 232279 h 1333436"/>
                <a:gd name="connsiteX298" fmla="*/ 125951 w 752994"/>
                <a:gd name="connsiteY298" fmla="*/ 217389 h 1333436"/>
                <a:gd name="connsiteX299" fmla="*/ 136156 w 752994"/>
                <a:gd name="connsiteY299" fmla="*/ 202925 h 1333436"/>
                <a:gd name="connsiteX300" fmla="*/ 138811 w 752994"/>
                <a:gd name="connsiteY300" fmla="*/ 183339 h 1333436"/>
                <a:gd name="connsiteX301" fmla="*/ 148801 w 752994"/>
                <a:gd name="connsiteY301" fmla="*/ 167445 h 1333436"/>
                <a:gd name="connsiteX302" fmla="*/ 159616 w 752994"/>
                <a:gd name="connsiteY302" fmla="*/ 170712 h 1333436"/>
                <a:gd name="connsiteX303" fmla="*/ 173105 w 752994"/>
                <a:gd name="connsiteY303" fmla="*/ 175188 h 1333436"/>
                <a:gd name="connsiteX304" fmla="*/ 175347 w 752994"/>
                <a:gd name="connsiteY304" fmla="*/ 175188 h 1333436"/>
                <a:gd name="connsiteX305" fmla="*/ 175347 w 752994"/>
                <a:gd name="connsiteY305" fmla="*/ 173758 h 1333436"/>
                <a:gd name="connsiteX306" fmla="*/ 184975 w 752994"/>
                <a:gd name="connsiteY306" fmla="*/ 187393 h 1333436"/>
                <a:gd name="connsiteX307" fmla="*/ 184762 w 752994"/>
                <a:gd name="connsiteY307" fmla="*/ 184637 h 1333436"/>
                <a:gd name="connsiteX308" fmla="*/ 174971 w 752994"/>
                <a:gd name="connsiteY308" fmla="*/ 170774 h 1333436"/>
                <a:gd name="connsiteX309" fmla="*/ 174971 w 752994"/>
                <a:gd name="connsiteY309" fmla="*/ 169550 h 1333436"/>
                <a:gd name="connsiteX310" fmla="*/ 158851 w 752994"/>
                <a:gd name="connsiteY310" fmla="*/ 156924 h 1333436"/>
                <a:gd name="connsiteX311" fmla="*/ 147025 w 752994"/>
                <a:gd name="connsiteY311" fmla="*/ 145709 h 1333436"/>
                <a:gd name="connsiteX312" fmla="*/ 154364 w 752994"/>
                <a:gd name="connsiteY312" fmla="*/ 136335 h 1333436"/>
                <a:gd name="connsiteX313" fmla="*/ 161511 w 752994"/>
                <a:gd name="connsiteY313" fmla="*/ 131042 h 1333436"/>
                <a:gd name="connsiteX314" fmla="*/ 160902 w 752994"/>
                <a:gd name="connsiteY314" fmla="*/ 128384 h 1333436"/>
                <a:gd name="connsiteX315" fmla="*/ 160277 w 752994"/>
                <a:gd name="connsiteY315" fmla="*/ 127778 h 1333436"/>
                <a:gd name="connsiteX316" fmla="*/ 154973 w 752994"/>
                <a:gd name="connsiteY316" fmla="*/ 122077 h 1333436"/>
                <a:gd name="connsiteX317" fmla="*/ 160277 w 752994"/>
                <a:gd name="connsiteY317" fmla="*/ 115140 h 1333436"/>
                <a:gd name="connsiteX318" fmla="*/ 165181 w 752994"/>
                <a:gd name="connsiteY318" fmla="*/ 108215 h 1333436"/>
                <a:gd name="connsiteX319" fmla="*/ 161303 w 752994"/>
                <a:gd name="connsiteY319" fmla="*/ 104146 h 1333436"/>
                <a:gd name="connsiteX320" fmla="*/ 157842 w 752994"/>
                <a:gd name="connsiteY320" fmla="*/ 104542 h 1333436"/>
                <a:gd name="connsiteX321" fmla="*/ 157024 w 752994"/>
                <a:gd name="connsiteY321" fmla="*/ 102304 h 1333436"/>
                <a:gd name="connsiteX322" fmla="*/ 160694 w 752994"/>
                <a:gd name="connsiteY322" fmla="*/ 55437 h 1333436"/>
                <a:gd name="connsiteX323" fmla="*/ 160486 w 752994"/>
                <a:gd name="connsiteY323" fmla="*/ 31991 h 1333436"/>
                <a:gd name="connsiteX324" fmla="*/ 164972 w 752994"/>
                <a:gd name="connsiteY324" fmla="*/ 18141 h 1333436"/>
                <a:gd name="connsiteX325" fmla="*/ 171911 w 752994"/>
                <a:gd name="connsiteY325" fmla="*/ 11204 h 1333436"/>
                <a:gd name="connsiteX326" fmla="*/ 187406 w 752994"/>
                <a:gd name="connsiteY326" fmla="*/ 21801 h 1333436"/>
                <a:gd name="connsiteX327" fmla="*/ 210866 w 752994"/>
                <a:gd name="connsiteY327" fmla="*/ 37086 h 1333436"/>
                <a:gd name="connsiteX328" fmla="*/ 219230 w 752994"/>
                <a:gd name="connsiteY328" fmla="*/ 41166 h 1333436"/>
                <a:gd name="connsiteX329" fmla="*/ 226778 w 752994"/>
                <a:gd name="connsiteY329" fmla="*/ 47486 h 1333436"/>
                <a:gd name="connsiteX330" fmla="*/ 236152 w 752994"/>
                <a:gd name="connsiteY330" fmla="*/ 52370 h 1333436"/>
                <a:gd name="connsiteX331" fmla="*/ 239629 w 752994"/>
                <a:gd name="connsiteY331" fmla="*/ 58491 h 1333436"/>
                <a:gd name="connsiteX332" fmla="*/ 239629 w 752994"/>
                <a:gd name="connsiteY332" fmla="*/ 63376 h 1333436"/>
                <a:gd name="connsiteX333" fmla="*/ 236568 w 752994"/>
                <a:gd name="connsiteY333" fmla="*/ 67457 h 1333436"/>
                <a:gd name="connsiteX334" fmla="*/ 231264 w 752994"/>
                <a:gd name="connsiteY334" fmla="*/ 69905 h 1333436"/>
                <a:gd name="connsiteX335" fmla="*/ 216778 w 752994"/>
                <a:gd name="connsiteY335" fmla="*/ 82741 h 1333436"/>
                <a:gd name="connsiteX336" fmla="*/ 214134 w 752994"/>
                <a:gd name="connsiteY336" fmla="*/ 93536 h 1333436"/>
                <a:gd name="connsiteX337" fmla="*/ 214535 w 752994"/>
                <a:gd name="connsiteY337" fmla="*/ 96801 h 1333436"/>
                <a:gd name="connsiteX338" fmla="*/ 216378 w 752994"/>
                <a:gd name="connsiteY338" fmla="*/ 96801 h 1333436"/>
                <a:gd name="connsiteX339" fmla="*/ 230046 w 752994"/>
                <a:gd name="connsiteY339" fmla="*/ 85387 h 1333436"/>
                <a:gd name="connsiteX340" fmla="*/ 243298 w 752994"/>
                <a:gd name="connsiteY340" fmla="*/ 75198 h 1333436"/>
                <a:gd name="connsiteX341" fmla="*/ 246760 w 752994"/>
                <a:gd name="connsiteY341" fmla="*/ 77646 h 1333436"/>
                <a:gd name="connsiteX342" fmla="*/ 255541 w 752994"/>
                <a:gd name="connsiteY342" fmla="*/ 63376 h 1333436"/>
                <a:gd name="connsiteX343" fmla="*/ 259611 w 752994"/>
                <a:gd name="connsiteY343" fmla="*/ 43405 h 1333436"/>
                <a:gd name="connsiteX344" fmla="*/ 256967 w 752994"/>
                <a:gd name="connsiteY344" fmla="*/ 38520 h 1333436"/>
                <a:gd name="connsiteX345" fmla="*/ 253906 w 752994"/>
                <a:gd name="connsiteY345" fmla="*/ 34242 h 1333436"/>
                <a:gd name="connsiteX346" fmla="*/ 256967 w 752994"/>
                <a:gd name="connsiteY346" fmla="*/ 30161 h 1333436"/>
                <a:gd name="connsiteX347" fmla="*/ 262063 w 752994"/>
                <a:gd name="connsiteY347" fmla="*/ 27712 h 1333436"/>
                <a:gd name="connsiteX348" fmla="*/ 264915 w 752994"/>
                <a:gd name="connsiteY348" fmla="*/ 23026 h 1333436"/>
                <a:gd name="connsiteX349" fmla="*/ 267976 w 752994"/>
                <a:gd name="connsiteY349" fmla="*/ 22618 h 1333436"/>
                <a:gd name="connsiteX350" fmla="*/ 270427 w 752994"/>
                <a:gd name="connsiteY350" fmla="*/ 20787 h 1333436"/>
                <a:gd name="connsiteX351" fmla="*/ 263088 w 752994"/>
                <a:gd name="connsiteY351" fmla="*/ 13652 h 1333436"/>
                <a:gd name="connsiteX352" fmla="*/ 255541 w 752994"/>
                <a:gd name="connsiteY352" fmla="*/ 3055 h 1333436"/>
                <a:gd name="connsiteX353" fmla="*/ 256358 w 752994"/>
                <a:gd name="connsiteY353" fmla="*/ 1224 h 1333436"/>
                <a:gd name="connsiteX354" fmla="*/ 257159 w 752994"/>
                <a:gd name="connsiteY354"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14145 w 752994"/>
                <a:gd name="connsiteY30" fmla="*/ 262450 h 1333436"/>
                <a:gd name="connsiteX31" fmla="*/ 431292 w 752994"/>
                <a:gd name="connsiteY31" fmla="*/ 268151 h 1333436"/>
                <a:gd name="connsiteX32" fmla="*/ 445196 w 752994"/>
                <a:gd name="connsiteY32" fmla="*/ 269890 h 1333436"/>
                <a:gd name="connsiteX33" fmla="*/ 444145 w 752994"/>
                <a:gd name="connsiteY33" fmla="*/ 267441 h 1333436"/>
                <a:gd name="connsiteX34" fmla="*/ 444145 w 752994"/>
                <a:gd name="connsiteY34" fmla="*/ 267034 h 1333436"/>
                <a:gd name="connsiteX35" fmla="*/ 444155 w 752994"/>
                <a:gd name="connsiteY35" fmla="*/ 266811 h 1333436"/>
                <a:gd name="connsiteX36" fmla="*/ 381379 w 752994"/>
                <a:gd name="connsiteY36" fmla="*/ 252303 h 1333436"/>
                <a:gd name="connsiteX37" fmla="*/ 380962 w 752994"/>
                <a:gd name="connsiteY37" fmla="*/ 251895 h 1333436"/>
                <a:gd name="connsiteX38" fmla="*/ 365258 w 752994"/>
                <a:gd name="connsiteY38" fmla="*/ 245774 h 1333436"/>
                <a:gd name="connsiteX39" fmla="*/ 355067 w 752994"/>
                <a:gd name="connsiteY39" fmla="*/ 241285 h 1333436"/>
                <a:gd name="connsiteX40" fmla="*/ 350789 w 752994"/>
                <a:gd name="connsiteY40" fmla="*/ 244352 h 1333436"/>
                <a:gd name="connsiteX41" fmla="*/ 340789 w 752994"/>
                <a:gd name="connsiteY41" fmla="*/ 243536 h 1333436"/>
                <a:gd name="connsiteX42" fmla="*/ 333034 w 752994"/>
                <a:gd name="connsiteY42" fmla="*/ 240271 h 1333436"/>
                <a:gd name="connsiteX43" fmla="*/ 323868 w 752994"/>
                <a:gd name="connsiteY43" fmla="*/ 241495 h 1333436"/>
                <a:gd name="connsiteX44" fmla="*/ 309783 w 752994"/>
                <a:gd name="connsiteY44" fmla="*/ 243536 h 1333436"/>
                <a:gd name="connsiteX45" fmla="*/ 297140 w 752994"/>
                <a:gd name="connsiteY45" fmla="*/ 245576 h 1333436"/>
                <a:gd name="connsiteX46" fmla="*/ 288775 w 752994"/>
                <a:gd name="connsiteY46" fmla="*/ 247406 h 1333436"/>
                <a:gd name="connsiteX47" fmla="*/ 280827 w 752994"/>
                <a:gd name="connsiteY47" fmla="*/ 242720 h 1333436"/>
                <a:gd name="connsiteX48" fmla="*/ 274497 w 752994"/>
                <a:gd name="connsiteY48" fmla="*/ 238441 h 1333436"/>
                <a:gd name="connsiteX49" fmla="*/ 269001 w 752994"/>
                <a:gd name="connsiteY49" fmla="*/ 240679 h 1333436"/>
                <a:gd name="connsiteX50" fmla="*/ 262880 w 752994"/>
                <a:gd name="connsiteY50" fmla="*/ 243128 h 1333436"/>
                <a:gd name="connsiteX51" fmla="*/ 260028 w 752994"/>
                <a:gd name="connsiteY51" fmla="*/ 242720 h 1333436"/>
                <a:gd name="connsiteX52" fmla="*/ 247994 w 752994"/>
                <a:gd name="connsiteY52" fmla="*/ 241693 h 1333436"/>
                <a:gd name="connsiteX53" fmla="*/ 242081 w 752994"/>
                <a:gd name="connsiteY53" fmla="*/ 234162 h 1333436"/>
                <a:gd name="connsiteX54" fmla="*/ 235142 w 752994"/>
                <a:gd name="connsiteY54" fmla="*/ 229476 h 1333436"/>
                <a:gd name="connsiteX55" fmla="*/ 224742 w 752994"/>
                <a:gd name="connsiteY55" fmla="*/ 226817 h 1333436"/>
                <a:gd name="connsiteX56" fmla="*/ 216778 w 752994"/>
                <a:gd name="connsiteY56" fmla="*/ 229068 h 1333436"/>
                <a:gd name="connsiteX57" fmla="*/ 202709 w 752994"/>
                <a:gd name="connsiteY57" fmla="*/ 230898 h 1333436"/>
                <a:gd name="connsiteX58" fmla="*/ 195162 w 752994"/>
                <a:gd name="connsiteY58" fmla="*/ 228857 h 1333436"/>
                <a:gd name="connsiteX59" fmla="*/ 188223 w 752994"/>
                <a:gd name="connsiteY59" fmla="*/ 223973 h 1333436"/>
                <a:gd name="connsiteX60" fmla="*/ 185163 w 752994"/>
                <a:gd name="connsiteY60" fmla="*/ 219484 h 1333436"/>
                <a:gd name="connsiteX61" fmla="*/ 184180 w 752994"/>
                <a:gd name="connsiteY61" fmla="*/ 213866 h 1333436"/>
                <a:gd name="connsiteX62" fmla="*/ 257159 w 752994"/>
                <a:gd name="connsiteY62" fmla="*/ 0 h 1333436"/>
                <a:gd name="connsiteX63" fmla="*/ 493147 w 752994"/>
                <a:gd name="connsiteY63" fmla="*/ 73157 h 1333436"/>
                <a:gd name="connsiteX64" fmla="*/ 492970 w 752994"/>
                <a:gd name="connsiteY64" fmla="*/ 73792 h 1333436"/>
                <a:gd name="connsiteX65" fmla="*/ 525816 w 752994"/>
                <a:gd name="connsiteY65" fmla="*/ 82491 h 1333436"/>
                <a:gd name="connsiteX66" fmla="*/ 520098 w 752994"/>
                <a:gd name="connsiteY66" fmla="*/ 111245 h 1333436"/>
                <a:gd name="connsiteX67" fmla="*/ 512552 w 752994"/>
                <a:gd name="connsiteY67" fmla="*/ 143854 h 1333436"/>
                <a:gd name="connsiteX68" fmla="*/ 517849 w 752994"/>
                <a:gd name="connsiteY68" fmla="*/ 157740 h 1333436"/>
                <a:gd name="connsiteX69" fmla="*/ 523160 w 752994"/>
                <a:gd name="connsiteY69" fmla="*/ 172009 h 1333436"/>
                <a:gd name="connsiteX70" fmla="*/ 521535 w 752994"/>
                <a:gd name="connsiteY70" fmla="*/ 178928 h 1333436"/>
                <a:gd name="connsiteX71" fmla="*/ 520098 w 752994"/>
                <a:gd name="connsiteY71" fmla="*/ 186279 h 1333436"/>
                <a:gd name="connsiteX72" fmla="*/ 526019 w 752994"/>
                <a:gd name="connsiteY72" fmla="*/ 193629 h 1333436"/>
                <a:gd name="connsiteX73" fmla="*/ 537251 w 752994"/>
                <a:gd name="connsiteY73" fmla="*/ 206270 h 1333436"/>
                <a:gd name="connsiteX74" fmla="*/ 542765 w 752994"/>
                <a:gd name="connsiteY74" fmla="*/ 217475 h 1333436"/>
                <a:gd name="connsiteX75" fmla="*/ 546857 w 752994"/>
                <a:gd name="connsiteY75" fmla="*/ 230930 h 1333436"/>
                <a:gd name="connsiteX76" fmla="*/ 549499 w 752994"/>
                <a:gd name="connsiteY76" fmla="*/ 235622 h 1333436"/>
                <a:gd name="connsiteX77" fmla="*/ 553388 w 752994"/>
                <a:gd name="connsiteY77" fmla="*/ 240722 h 1333436"/>
                <a:gd name="connsiteX78" fmla="*/ 557465 w 752994"/>
                <a:gd name="connsiteY78" fmla="*/ 246037 h 1333436"/>
                <a:gd name="connsiteX79" fmla="*/ 561761 w 752994"/>
                <a:gd name="connsiteY79" fmla="*/ 248671 h 1333436"/>
                <a:gd name="connsiteX80" fmla="*/ 567478 w 752994"/>
                <a:gd name="connsiteY80" fmla="*/ 247665 h 1333436"/>
                <a:gd name="connsiteX81" fmla="*/ 569931 w 752994"/>
                <a:gd name="connsiteY81" fmla="*/ 249293 h 1333436"/>
                <a:gd name="connsiteX82" fmla="*/ 570540 w 752994"/>
                <a:gd name="connsiteY82" fmla="*/ 251951 h 1333436"/>
                <a:gd name="connsiteX83" fmla="*/ 561964 w 752994"/>
                <a:gd name="connsiteY83" fmla="*/ 267656 h 1333436"/>
                <a:gd name="connsiteX84" fmla="*/ 553591 w 752994"/>
                <a:gd name="connsiteY84" fmla="*/ 289659 h 1333436"/>
                <a:gd name="connsiteX85" fmla="*/ 554810 w 752994"/>
                <a:gd name="connsiteY85" fmla="*/ 292939 h 1333436"/>
                <a:gd name="connsiteX86" fmla="*/ 556246 w 752994"/>
                <a:gd name="connsiteY86" fmla="*/ 299260 h 1333436"/>
                <a:gd name="connsiteX87" fmla="*/ 552778 w 752994"/>
                <a:gd name="connsiteY87" fmla="*/ 301917 h 1333436"/>
                <a:gd name="connsiteX88" fmla="*/ 549295 w 752994"/>
                <a:gd name="connsiteY88" fmla="*/ 306993 h 1333436"/>
                <a:gd name="connsiteX89" fmla="*/ 547061 w 752994"/>
                <a:gd name="connsiteY89" fmla="*/ 313122 h 1333436"/>
                <a:gd name="connsiteX90" fmla="*/ 544811 w 752994"/>
                <a:gd name="connsiteY90" fmla="*/ 316593 h 1333436"/>
                <a:gd name="connsiteX91" fmla="*/ 549919 w 752994"/>
                <a:gd name="connsiteY91" fmla="*/ 322698 h 1333436"/>
                <a:gd name="connsiteX92" fmla="*/ 553184 w 752994"/>
                <a:gd name="connsiteY92" fmla="*/ 325955 h 1333436"/>
                <a:gd name="connsiteX93" fmla="*/ 555840 w 752994"/>
                <a:gd name="connsiteY93" fmla="*/ 328205 h 1333436"/>
                <a:gd name="connsiteX94" fmla="*/ 574212 w 752994"/>
                <a:gd name="connsiteY94" fmla="*/ 318820 h 1333436"/>
                <a:gd name="connsiteX95" fmla="*/ 579523 w 752994"/>
                <a:gd name="connsiteY95" fmla="*/ 326577 h 1333436"/>
                <a:gd name="connsiteX96" fmla="*/ 580539 w 752994"/>
                <a:gd name="connsiteY96" fmla="*/ 334933 h 1333436"/>
                <a:gd name="connsiteX97" fmla="*/ 579726 w 752994"/>
                <a:gd name="connsiteY97" fmla="*/ 343097 h 1333436"/>
                <a:gd name="connsiteX98" fmla="*/ 581366 w 752994"/>
                <a:gd name="connsiteY98" fmla="*/ 350231 h 1333436"/>
                <a:gd name="connsiteX99" fmla="*/ 586256 w 752994"/>
                <a:gd name="connsiteY99" fmla="*/ 355930 h 1333436"/>
                <a:gd name="connsiteX100" fmla="*/ 589536 w 752994"/>
                <a:gd name="connsiteY100" fmla="*/ 362059 h 1333436"/>
                <a:gd name="connsiteX101" fmla="*/ 588099 w 752994"/>
                <a:gd name="connsiteY101" fmla="*/ 369600 h 1333436"/>
                <a:gd name="connsiteX102" fmla="*/ 586459 w 752994"/>
                <a:gd name="connsiteY102" fmla="*/ 377357 h 1333436"/>
                <a:gd name="connsiteX103" fmla="*/ 588709 w 752994"/>
                <a:gd name="connsiteY103" fmla="*/ 381835 h 1333436"/>
                <a:gd name="connsiteX104" fmla="*/ 595036 w 752994"/>
                <a:gd name="connsiteY104" fmla="*/ 382457 h 1333436"/>
                <a:gd name="connsiteX105" fmla="*/ 599331 w 752994"/>
                <a:gd name="connsiteY105" fmla="*/ 385306 h 1333436"/>
                <a:gd name="connsiteX106" fmla="*/ 601987 w 752994"/>
                <a:gd name="connsiteY106" fmla="*/ 391004 h 1333436"/>
                <a:gd name="connsiteX107" fmla="*/ 602799 w 752994"/>
                <a:gd name="connsiteY107" fmla="*/ 404076 h 1333436"/>
                <a:gd name="connsiteX108" fmla="*/ 606892 w 752994"/>
                <a:gd name="connsiteY108" fmla="*/ 415688 h 1333436"/>
                <a:gd name="connsiteX109" fmla="*/ 610563 w 752994"/>
                <a:gd name="connsiteY109" fmla="*/ 412217 h 1333436"/>
                <a:gd name="connsiteX110" fmla="*/ 617920 w 752994"/>
                <a:gd name="connsiteY110" fmla="*/ 408769 h 1333436"/>
                <a:gd name="connsiteX111" fmla="*/ 624654 w 752994"/>
                <a:gd name="connsiteY111" fmla="*/ 411211 h 1333436"/>
                <a:gd name="connsiteX112" fmla="*/ 634652 w 752994"/>
                <a:gd name="connsiteY112" fmla="*/ 410182 h 1333436"/>
                <a:gd name="connsiteX113" fmla="*/ 640573 w 752994"/>
                <a:gd name="connsiteY113" fmla="*/ 407739 h 1333436"/>
                <a:gd name="connsiteX114" fmla="*/ 646711 w 752994"/>
                <a:gd name="connsiteY114" fmla="*/ 410589 h 1333436"/>
                <a:gd name="connsiteX115" fmla="*/ 650383 w 752994"/>
                <a:gd name="connsiteY115" fmla="*/ 410589 h 1333436"/>
                <a:gd name="connsiteX116" fmla="*/ 654257 w 752994"/>
                <a:gd name="connsiteY116" fmla="*/ 411618 h 1333436"/>
                <a:gd name="connsiteX117" fmla="*/ 656913 w 752994"/>
                <a:gd name="connsiteY117" fmla="*/ 413653 h 1333436"/>
                <a:gd name="connsiteX118" fmla="*/ 660802 w 752994"/>
                <a:gd name="connsiteY118" fmla="*/ 415090 h 1333436"/>
                <a:gd name="connsiteX119" fmla="*/ 669581 w 752994"/>
                <a:gd name="connsiteY119" fmla="*/ 415904 h 1333436"/>
                <a:gd name="connsiteX120" fmla="*/ 672237 w 752994"/>
                <a:gd name="connsiteY120" fmla="*/ 415688 h 1333436"/>
                <a:gd name="connsiteX121" fmla="*/ 675705 w 752994"/>
                <a:gd name="connsiteY121" fmla="*/ 409367 h 1333436"/>
                <a:gd name="connsiteX122" fmla="*/ 679986 w 752994"/>
                <a:gd name="connsiteY122" fmla="*/ 403238 h 1333436"/>
                <a:gd name="connsiteX123" fmla="*/ 693264 w 752994"/>
                <a:gd name="connsiteY123" fmla="*/ 419567 h 1333436"/>
                <a:gd name="connsiteX124" fmla="*/ 688563 w 752994"/>
                <a:gd name="connsiteY124" fmla="*/ 448321 h 1333436"/>
                <a:gd name="connsiteX125" fmla="*/ 663949 w 752994"/>
                <a:gd name="connsiteY125" fmla="*/ 590165 h 1333436"/>
                <a:gd name="connsiteX126" fmla="*/ 666304 w 752994"/>
                <a:gd name="connsiteY126" fmla="*/ 590504 h 1333436"/>
                <a:gd name="connsiteX127" fmla="*/ 655288 w 752994"/>
                <a:gd name="connsiteY127" fmla="*/ 656178 h 1333436"/>
                <a:gd name="connsiteX128" fmla="*/ 681808 w 752994"/>
                <a:gd name="connsiteY128" fmla="*/ 662301 h 1333436"/>
                <a:gd name="connsiteX129" fmla="*/ 752994 w 752994"/>
                <a:gd name="connsiteY129" fmla="*/ 675560 h 1333436"/>
                <a:gd name="connsiteX130" fmla="*/ 714651 w 752994"/>
                <a:gd name="connsiteY130" fmla="*/ 946985 h 1333436"/>
                <a:gd name="connsiteX131" fmla="*/ 654533 w 752994"/>
                <a:gd name="connsiteY131" fmla="*/ 1333436 h 1333436"/>
                <a:gd name="connsiteX132" fmla="*/ 546831 w 752994"/>
                <a:gd name="connsiteY132" fmla="*/ 1317126 h 1333436"/>
                <a:gd name="connsiteX133" fmla="*/ 351227 w 752994"/>
                <a:gd name="connsiteY133" fmla="*/ 1194172 h 1333436"/>
                <a:gd name="connsiteX134" fmla="*/ 361011 w 752994"/>
                <a:gd name="connsiteY134" fmla="*/ 1182755 h 1333436"/>
                <a:gd name="connsiteX135" fmla="*/ 368981 w 752994"/>
                <a:gd name="connsiteY135" fmla="*/ 1182130 h 1333436"/>
                <a:gd name="connsiteX136" fmla="*/ 369571 w 752994"/>
                <a:gd name="connsiteY136" fmla="*/ 1181558 h 1333436"/>
                <a:gd name="connsiteX137" fmla="*/ 362372 w 752994"/>
                <a:gd name="connsiteY137" fmla="*/ 1182120 h 1333436"/>
                <a:gd name="connsiteX138" fmla="*/ 229464 w 752994"/>
                <a:gd name="connsiteY138" fmla="*/ 1161721 h 1333436"/>
                <a:gd name="connsiteX139" fmla="*/ 227427 w 752994"/>
                <a:gd name="connsiteY139" fmla="*/ 1157269 h 1333436"/>
                <a:gd name="connsiteX140" fmla="*/ 224967 w 752994"/>
                <a:gd name="connsiteY140" fmla="*/ 1152575 h 1333436"/>
                <a:gd name="connsiteX141" fmla="*/ 225582 w 752994"/>
                <a:gd name="connsiteY141" fmla="*/ 1144808 h 1333436"/>
                <a:gd name="connsiteX142" fmla="*/ 227215 w 752994"/>
                <a:gd name="connsiteY142" fmla="*/ 1135834 h 1333436"/>
                <a:gd name="connsiteX143" fmla="*/ 227215 w 752994"/>
                <a:gd name="connsiteY143" fmla="*/ 1134212 h 1333436"/>
                <a:gd name="connsiteX144" fmla="*/ 225179 w 752994"/>
                <a:gd name="connsiteY144" fmla="*/ 1114020 h 1333436"/>
                <a:gd name="connsiteX145" fmla="*/ 217839 w 752994"/>
                <a:gd name="connsiteY145" fmla="*/ 1100352 h 1333436"/>
                <a:gd name="connsiteX146" fmla="*/ 199661 w 752994"/>
                <a:gd name="connsiteY146" fmla="*/ 1076502 h 1333436"/>
                <a:gd name="connsiteX147" fmla="*/ 196395 w 752994"/>
                <a:gd name="connsiteY147" fmla="*/ 1071807 h 1333436"/>
                <a:gd name="connsiteX148" fmla="*/ 190880 w 752994"/>
                <a:gd name="connsiteY148" fmla="*/ 1067527 h 1333436"/>
                <a:gd name="connsiteX149" fmla="*/ 187210 w 752994"/>
                <a:gd name="connsiteY149" fmla="*/ 1068735 h 1333436"/>
                <a:gd name="connsiteX150" fmla="*/ 180062 w 752994"/>
                <a:gd name="connsiteY150" fmla="*/ 1066699 h 1333436"/>
                <a:gd name="connsiteX151" fmla="*/ 180466 w 752994"/>
                <a:gd name="connsiteY151" fmla="*/ 1053031 h 1333436"/>
                <a:gd name="connsiteX152" fmla="*/ 180062 w 752994"/>
                <a:gd name="connsiteY152" fmla="*/ 1045299 h 1333436"/>
                <a:gd name="connsiteX153" fmla="*/ 174144 w 752994"/>
                <a:gd name="connsiteY153" fmla="*/ 1044057 h 1333436"/>
                <a:gd name="connsiteX154" fmla="*/ 158426 w 752994"/>
                <a:gd name="connsiteY154" fmla="*/ 1042641 h 1333436"/>
                <a:gd name="connsiteX155" fmla="*/ 149857 w 752994"/>
                <a:gd name="connsiteY155" fmla="*/ 1035497 h 1333436"/>
                <a:gd name="connsiteX156" fmla="*/ 142497 w 752994"/>
                <a:gd name="connsiteY156" fmla="*/ 1028766 h 1333436"/>
                <a:gd name="connsiteX157" fmla="*/ 140864 w 752994"/>
                <a:gd name="connsiteY157" fmla="*/ 1020620 h 1333436"/>
                <a:gd name="connsiteX158" fmla="*/ 138212 w 752994"/>
                <a:gd name="connsiteY158" fmla="*/ 1013061 h 1333436"/>
                <a:gd name="connsiteX159" fmla="*/ 131064 w 752994"/>
                <a:gd name="connsiteY159" fmla="*/ 1007159 h 1333436"/>
                <a:gd name="connsiteX160" fmla="*/ 121264 w 752994"/>
                <a:gd name="connsiteY160" fmla="*/ 1005330 h 1333436"/>
                <a:gd name="connsiteX161" fmla="*/ 112483 w 752994"/>
                <a:gd name="connsiteY161" fmla="*/ 1001671 h 1333436"/>
                <a:gd name="connsiteX162" fmla="*/ 105950 w 752994"/>
                <a:gd name="connsiteY162" fmla="*/ 995734 h 1333436"/>
                <a:gd name="connsiteX163" fmla="*/ 97380 w 752994"/>
                <a:gd name="connsiteY163" fmla="*/ 994526 h 1333436"/>
                <a:gd name="connsiteX164" fmla="*/ 87984 w 752994"/>
                <a:gd name="connsiteY164" fmla="*/ 991040 h 1333436"/>
                <a:gd name="connsiteX165" fmla="*/ 80029 w 752994"/>
                <a:gd name="connsiteY165" fmla="*/ 985138 h 1333436"/>
                <a:gd name="connsiteX166" fmla="*/ 77166 w 752994"/>
                <a:gd name="connsiteY166" fmla="*/ 976164 h 1333436"/>
                <a:gd name="connsiteX167" fmla="*/ 79203 w 752994"/>
                <a:gd name="connsiteY167" fmla="*/ 970676 h 1333436"/>
                <a:gd name="connsiteX168" fmla="*/ 82470 w 752994"/>
                <a:gd name="connsiteY168" fmla="*/ 963117 h 1333436"/>
                <a:gd name="connsiteX169" fmla="*/ 84314 w 752994"/>
                <a:gd name="connsiteY169" fmla="*/ 954557 h 1333436"/>
                <a:gd name="connsiteX170" fmla="*/ 86351 w 752994"/>
                <a:gd name="connsiteY170" fmla="*/ 948033 h 1333436"/>
                <a:gd name="connsiteX171" fmla="*/ 86159 w 752994"/>
                <a:gd name="connsiteY171" fmla="*/ 942925 h 1333436"/>
                <a:gd name="connsiteX172" fmla="*/ 83085 w 752994"/>
                <a:gd name="connsiteY172" fmla="*/ 939853 h 1333436"/>
                <a:gd name="connsiteX173" fmla="*/ 77570 w 752994"/>
                <a:gd name="connsiteY173" fmla="*/ 937437 h 1333436"/>
                <a:gd name="connsiteX174" fmla="*/ 76763 w 752994"/>
                <a:gd name="connsiteY174" fmla="*/ 931915 h 1333436"/>
                <a:gd name="connsiteX175" fmla="*/ 78800 w 752994"/>
                <a:gd name="connsiteY175" fmla="*/ 927013 h 1333436"/>
                <a:gd name="connsiteX176" fmla="*/ 79626 w 752994"/>
                <a:gd name="connsiteY176" fmla="*/ 922526 h 1333436"/>
                <a:gd name="connsiteX177" fmla="*/ 77781 w 752994"/>
                <a:gd name="connsiteY177" fmla="*/ 919903 h 1333436"/>
                <a:gd name="connsiteX178" fmla="*/ 74303 w 752994"/>
                <a:gd name="connsiteY178" fmla="*/ 917418 h 1333436"/>
                <a:gd name="connsiteX179" fmla="*/ 71863 w 752994"/>
                <a:gd name="connsiteY179" fmla="*/ 915174 h 1333436"/>
                <a:gd name="connsiteX180" fmla="*/ 71652 w 752994"/>
                <a:gd name="connsiteY180" fmla="*/ 910894 h 1333436"/>
                <a:gd name="connsiteX181" fmla="*/ 70633 w 752994"/>
                <a:gd name="connsiteY181" fmla="*/ 906614 h 1333436"/>
                <a:gd name="connsiteX182" fmla="*/ 68385 w 752994"/>
                <a:gd name="connsiteY182" fmla="*/ 902749 h 1333436"/>
                <a:gd name="connsiteX183" fmla="*/ 61045 w 752994"/>
                <a:gd name="connsiteY183" fmla="*/ 889494 h 1333436"/>
                <a:gd name="connsiteX184" fmla="*/ 57971 w 752994"/>
                <a:gd name="connsiteY184" fmla="*/ 875619 h 1333436"/>
                <a:gd name="connsiteX185" fmla="*/ 52264 w 752994"/>
                <a:gd name="connsiteY185" fmla="*/ 862572 h 1333436"/>
                <a:gd name="connsiteX186" fmla="*/ 44309 w 752994"/>
                <a:gd name="connsiteY186" fmla="*/ 850561 h 1333436"/>
                <a:gd name="connsiteX187" fmla="*/ 45520 w 752994"/>
                <a:gd name="connsiteY187" fmla="*/ 827090 h 1333436"/>
                <a:gd name="connsiteX188" fmla="*/ 53071 w 752994"/>
                <a:gd name="connsiteY188" fmla="*/ 822396 h 1333436"/>
                <a:gd name="connsiteX189" fmla="*/ 57375 w 752994"/>
                <a:gd name="connsiteY189" fmla="*/ 816493 h 1333436"/>
                <a:gd name="connsiteX190" fmla="*/ 55319 w 752994"/>
                <a:gd name="connsiteY190" fmla="*/ 801617 h 1333436"/>
                <a:gd name="connsiteX191" fmla="*/ 48383 w 752994"/>
                <a:gd name="connsiteY191" fmla="*/ 802204 h 1333436"/>
                <a:gd name="connsiteX192" fmla="*/ 40428 w 752994"/>
                <a:gd name="connsiteY192" fmla="*/ 797924 h 1333436"/>
                <a:gd name="connsiteX193" fmla="*/ 37565 w 752994"/>
                <a:gd name="connsiteY193" fmla="*/ 790606 h 1333436"/>
                <a:gd name="connsiteX194" fmla="*/ 37565 w 752994"/>
                <a:gd name="connsiteY194" fmla="*/ 790399 h 1333436"/>
                <a:gd name="connsiteX195" fmla="*/ 35931 w 752994"/>
                <a:gd name="connsiteY195" fmla="*/ 785912 h 1333436"/>
                <a:gd name="connsiteX196" fmla="*/ 34510 w 752994"/>
                <a:gd name="connsiteY196" fmla="*/ 780597 h 1333436"/>
                <a:gd name="connsiteX197" fmla="*/ 36335 w 752994"/>
                <a:gd name="connsiteY197" fmla="*/ 774280 h 1333436"/>
                <a:gd name="connsiteX198" fmla="*/ 38180 w 752994"/>
                <a:gd name="connsiteY198" fmla="*/ 766721 h 1333436"/>
                <a:gd name="connsiteX199" fmla="*/ 37161 w 752994"/>
                <a:gd name="connsiteY199" fmla="*/ 760405 h 1333436"/>
                <a:gd name="connsiteX200" fmla="*/ 35720 w 752994"/>
                <a:gd name="connsiteY200" fmla="*/ 754710 h 1333436"/>
                <a:gd name="connsiteX201" fmla="*/ 36546 w 752994"/>
                <a:gd name="connsiteY201" fmla="*/ 748773 h 1333436"/>
                <a:gd name="connsiteX202" fmla="*/ 38372 w 752994"/>
                <a:gd name="connsiteY202" fmla="*/ 744528 h 1333436"/>
                <a:gd name="connsiteX203" fmla="*/ 41638 w 752994"/>
                <a:gd name="connsiteY203" fmla="*/ 744321 h 1333436"/>
                <a:gd name="connsiteX204" fmla="*/ 44713 w 752994"/>
                <a:gd name="connsiteY204" fmla="*/ 746357 h 1333436"/>
                <a:gd name="connsiteX205" fmla="*/ 47364 w 752994"/>
                <a:gd name="connsiteY205" fmla="*/ 753260 h 1333436"/>
                <a:gd name="connsiteX206" fmla="*/ 55742 w 752994"/>
                <a:gd name="connsiteY206" fmla="*/ 764305 h 1333436"/>
                <a:gd name="connsiteX207" fmla="*/ 56338 w 752994"/>
                <a:gd name="connsiteY207" fmla="*/ 761233 h 1333436"/>
                <a:gd name="connsiteX208" fmla="*/ 56145 w 752994"/>
                <a:gd name="connsiteY208" fmla="*/ 757368 h 1333436"/>
                <a:gd name="connsiteX209" fmla="*/ 54916 w 752994"/>
                <a:gd name="connsiteY209" fmla="*/ 748601 h 1333436"/>
                <a:gd name="connsiteX210" fmla="*/ 52879 w 752994"/>
                <a:gd name="connsiteY210" fmla="*/ 747358 h 1333436"/>
                <a:gd name="connsiteX211" fmla="*/ 51649 w 752994"/>
                <a:gd name="connsiteY211" fmla="*/ 745322 h 1333436"/>
                <a:gd name="connsiteX212" fmla="*/ 51649 w 752994"/>
                <a:gd name="connsiteY212" fmla="*/ 739212 h 1333436"/>
                <a:gd name="connsiteX213" fmla="*/ 50227 w 752994"/>
                <a:gd name="connsiteY213" fmla="*/ 734725 h 1333436"/>
                <a:gd name="connsiteX214" fmla="*/ 48786 w 752994"/>
                <a:gd name="connsiteY214" fmla="*/ 731446 h 1333436"/>
                <a:gd name="connsiteX215" fmla="*/ 54512 w 752994"/>
                <a:gd name="connsiteY215" fmla="*/ 726372 h 1333436"/>
                <a:gd name="connsiteX216" fmla="*/ 59815 w 752994"/>
                <a:gd name="connsiteY216" fmla="*/ 725130 h 1333436"/>
                <a:gd name="connsiteX217" fmla="*/ 58182 w 752994"/>
                <a:gd name="connsiteY217" fmla="*/ 722886 h 1333436"/>
                <a:gd name="connsiteX218" fmla="*/ 51861 w 752994"/>
                <a:gd name="connsiteY218" fmla="*/ 717985 h 1333436"/>
                <a:gd name="connsiteX219" fmla="*/ 46749 w 752994"/>
                <a:gd name="connsiteY219" fmla="*/ 729617 h 1333436"/>
                <a:gd name="connsiteX220" fmla="*/ 40831 w 752994"/>
                <a:gd name="connsiteY220" fmla="*/ 739212 h 1333436"/>
                <a:gd name="connsiteX221" fmla="*/ 39601 w 752994"/>
                <a:gd name="connsiteY221" fmla="*/ 738798 h 1333436"/>
                <a:gd name="connsiteX222" fmla="*/ 39409 w 752994"/>
                <a:gd name="connsiteY222" fmla="*/ 738591 h 1333436"/>
                <a:gd name="connsiteX223" fmla="*/ 37161 w 752994"/>
                <a:gd name="connsiteY223" fmla="*/ 734725 h 1333436"/>
                <a:gd name="connsiteX224" fmla="*/ 32665 w 752994"/>
                <a:gd name="connsiteY224" fmla="*/ 727788 h 1333436"/>
                <a:gd name="connsiteX225" fmla="*/ 26747 w 752994"/>
                <a:gd name="connsiteY225" fmla="*/ 719435 h 1333436"/>
                <a:gd name="connsiteX226" fmla="*/ 23884 w 752994"/>
                <a:gd name="connsiteY226" fmla="*/ 717812 h 1333436"/>
                <a:gd name="connsiteX227" fmla="*/ 24710 w 752994"/>
                <a:gd name="connsiteY227" fmla="*/ 709632 h 1333436"/>
                <a:gd name="connsiteX228" fmla="*/ 27554 w 752994"/>
                <a:gd name="connsiteY228" fmla="*/ 701694 h 1333436"/>
                <a:gd name="connsiteX229" fmla="*/ 24902 w 752994"/>
                <a:gd name="connsiteY229" fmla="*/ 696171 h 1333436"/>
                <a:gd name="connsiteX230" fmla="*/ 24095 w 752994"/>
                <a:gd name="connsiteY230" fmla="*/ 687818 h 1333436"/>
                <a:gd name="connsiteX231" fmla="*/ 22462 w 752994"/>
                <a:gd name="connsiteY231" fmla="*/ 682330 h 1333436"/>
                <a:gd name="connsiteX232" fmla="*/ 17159 w 752994"/>
                <a:gd name="connsiteY232" fmla="*/ 677636 h 1333436"/>
                <a:gd name="connsiteX233" fmla="*/ 14296 w 752994"/>
                <a:gd name="connsiteY233" fmla="*/ 671492 h 1333436"/>
                <a:gd name="connsiteX234" fmla="*/ 12451 w 752994"/>
                <a:gd name="connsiteY234" fmla="*/ 665797 h 1333436"/>
                <a:gd name="connsiteX235" fmla="*/ 5111 w 752994"/>
                <a:gd name="connsiteY235" fmla="*/ 654994 h 1333436"/>
                <a:gd name="connsiteX236" fmla="*/ 2248 w 752994"/>
                <a:gd name="connsiteY236" fmla="*/ 645605 h 1333436"/>
                <a:gd name="connsiteX237" fmla="*/ 4496 w 752994"/>
                <a:gd name="connsiteY237" fmla="*/ 640497 h 1333436"/>
                <a:gd name="connsiteX238" fmla="*/ 6744 w 752994"/>
                <a:gd name="connsiteY238" fmla="*/ 632765 h 1333436"/>
                <a:gd name="connsiteX239" fmla="*/ 6744 w 752994"/>
                <a:gd name="connsiteY239" fmla="*/ 628485 h 1333436"/>
                <a:gd name="connsiteX240" fmla="*/ 6533 w 752994"/>
                <a:gd name="connsiteY240" fmla="*/ 620305 h 1333436"/>
                <a:gd name="connsiteX241" fmla="*/ 7359 w 752994"/>
                <a:gd name="connsiteY241" fmla="*/ 611745 h 1333436"/>
                <a:gd name="connsiteX242" fmla="*/ 11836 w 752994"/>
                <a:gd name="connsiteY242" fmla="*/ 602978 h 1333436"/>
                <a:gd name="connsiteX243" fmla="*/ 15103 w 752994"/>
                <a:gd name="connsiteY243" fmla="*/ 591760 h 1333436"/>
                <a:gd name="connsiteX244" fmla="*/ 14488 w 752994"/>
                <a:gd name="connsiteY244" fmla="*/ 584029 h 1333436"/>
                <a:gd name="connsiteX245" fmla="*/ 13873 w 752994"/>
                <a:gd name="connsiteY245" fmla="*/ 578299 h 1333436"/>
                <a:gd name="connsiteX246" fmla="*/ 10626 w 752994"/>
                <a:gd name="connsiteY246" fmla="*/ 568531 h 1333436"/>
                <a:gd name="connsiteX247" fmla="*/ 3670 w 752994"/>
                <a:gd name="connsiteY247" fmla="*/ 558107 h 1333436"/>
                <a:gd name="connsiteX248" fmla="*/ 0 w 752994"/>
                <a:gd name="connsiteY248" fmla="*/ 551377 h 1333436"/>
                <a:gd name="connsiteX249" fmla="*/ 0 w 752994"/>
                <a:gd name="connsiteY249" fmla="*/ 550997 h 1333436"/>
                <a:gd name="connsiteX250" fmla="*/ 4900 w 752994"/>
                <a:gd name="connsiteY250" fmla="*/ 531220 h 1333436"/>
                <a:gd name="connsiteX251" fmla="*/ 13873 w 752994"/>
                <a:gd name="connsiteY251" fmla="*/ 520589 h 1333436"/>
                <a:gd name="connsiteX252" fmla="*/ 18369 w 752994"/>
                <a:gd name="connsiteY252" fmla="*/ 516516 h 1333436"/>
                <a:gd name="connsiteX253" fmla="*/ 18773 w 752994"/>
                <a:gd name="connsiteY253" fmla="*/ 514272 h 1333436"/>
                <a:gd name="connsiteX254" fmla="*/ 23077 w 752994"/>
                <a:gd name="connsiteY254" fmla="*/ 506127 h 1333436"/>
                <a:gd name="connsiteX255" fmla="*/ 23884 w 752994"/>
                <a:gd name="connsiteY255" fmla="*/ 502261 h 1333436"/>
                <a:gd name="connsiteX256" fmla="*/ 23692 w 752994"/>
                <a:gd name="connsiteY256" fmla="*/ 496738 h 1333436"/>
                <a:gd name="connsiteX257" fmla="*/ 30013 w 752994"/>
                <a:gd name="connsiteY257" fmla="*/ 486556 h 1333436"/>
                <a:gd name="connsiteX258" fmla="*/ 36546 w 752994"/>
                <a:gd name="connsiteY258" fmla="*/ 470230 h 1333436"/>
                <a:gd name="connsiteX259" fmla="*/ 36546 w 752994"/>
                <a:gd name="connsiteY259" fmla="*/ 462671 h 1333436"/>
                <a:gd name="connsiteX260" fmla="*/ 36335 w 752994"/>
                <a:gd name="connsiteY260" fmla="*/ 461670 h 1333436"/>
                <a:gd name="connsiteX261" fmla="*/ 35931 w 752994"/>
                <a:gd name="connsiteY261" fmla="*/ 453110 h 1333436"/>
                <a:gd name="connsiteX262" fmla="*/ 38583 w 752994"/>
                <a:gd name="connsiteY262" fmla="*/ 442514 h 1333436"/>
                <a:gd name="connsiteX263" fmla="*/ 41043 w 752994"/>
                <a:gd name="connsiteY263" fmla="*/ 436991 h 1333436"/>
                <a:gd name="connsiteX264" fmla="*/ 41650 w 752994"/>
                <a:gd name="connsiteY264" fmla="*/ 437186 h 1333436"/>
                <a:gd name="connsiteX265" fmla="*/ 41239 w 752994"/>
                <a:gd name="connsiteY265" fmla="*/ 436549 h 1333436"/>
                <a:gd name="connsiteX266" fmla="*/ 37778 w 752994"/>
                <a:gd name="connsiteY266" fmla="*/ 433894 h 1333436"/>
                <a:gd name="connsiteX267" fmla="*/ 37169 w 752994"/>
                <a:gd name="connsiteY267" fmla="*/ 432261 h 1333436"/>
                <a:gd name="connsiteX268" fmla="*/ 37365 w 752994"/>
                <a:gd name="connsiteY268" fmla="*/ 429198 h 1333436"/>
                <a:gd name="connsiteX269" fmla="*/ 36756 w 752994"/>
                <a:gd name="connsiteY269" fmla="*/ 422272 h 1333436"/>
                <a:gd name="connsiteX270" fmla="*/ 36952 w 752994"/>
                <a:gd name="connsiteY270" fmla="*/ 418800 h 1333436"/>
                <a:gd name="connsiteX271" fmla="*/ 36756 w 752994"/>
                <a:gd name="connsiteY271" fmla="*/ 412487 h 1333436"/>
                <a:gd name="connsiteX272" fmla="*/ 40433 w 752994"/>
                <a:gd name="connsiteY272" fmla="*/ 406174 h 1333436"/>
                <a:gd name="connsiteX273" fmla="*/ 44720 w 752994"/>
                <a:gd name="connsiteY273" fmla="*/ 399435 h 1333436"/>
                <a:gd name="connsiteX274" fmla="*/ 44110 w 752994"/>
                <a:gd name="connsiteY274" fmla="*/ 389651 h 1333436"/>
                <a:gd name="connsiteX275" fmla="*/ 43894 w 752994"/>
                <a:gd name="connsiteY275" fmla="*/ 378437 h 1333436"/>
                <a:gd name="connsiteX276" fmla="*/ 47158 w 752994"/>
                <a:gd name="connsiteY276" fmla="*/ 371102 h 1333436"/>
                <a:gd name="connsiteX277" fmla="*/ 55731 w 752994"/>
                <a:gd name="connsiteY277" fmla="*/ 360909 h 1333436"/>
                <a:gd name="connsiteX278" fmla="*/ 57580 w 752994"/>
                <a:gd name="connsiteY278" fmla="*/ 355804 h 1333436"/>
                <a:gd name="connsiteX279" fmla="*/ 62673 w 752994"/>
                <a:gd name="connsiteY279" fmla="*/ 349695 h 1333436"/>
                <a:gd name="connsiteX280" fmla="*/ 65937 w 752994"/>
                <a:gd name="connsiteY280" fmla="*/ 348470 h 1333436"/>
                <a:gd name="connsiteX281" fmla="*/ 68395 w 752994"/>
                <a:gd name="connsiteY281" fmla="*/ 348674 h 1333436"/>
                <a:gd name="connsiteX282" fmla="*/ 70224 w 752994"/>
                <a:gd name="connsiteY282" fmla="*/ 347449 h 1333436"/>
                <a:gd name="connsiteX283" fmla="*/ 67785 w 752994"/>
                <a:gd name="connsiteY283" fmla="*/ 345203 h 1333436"/>
                <a:gd name="connsiteX284" fmla="*/ 65524 w 752994"/>
                <a:gd name="connsiteY284" fmla="*/ 343178 h 1333436"/>
                <a:gd name="connsiteX285" fmla="*/ 73095 w 752994"/>
                <a:gd name="connsiteY285" fmla="*/ 333376 h 1333436"/>
                <a:gd name="connsiteX286" fmla="*/ 73291 w 752994"/>
                <a:gd name="connsiteY286" fmla="*/ 333376 h 1333436"/>
                <a:gd name="connsiteX287" fmla="*/ 77991 w 752994"/>
                <a:gd name="connsiteY287" fmla="*/ 325838 h 1333436"/>
                <a:gd name="connsiteX288" fmla="*/ 82671 w 752994"/>
                <a:gd name="connsiteY288" fmla="*/ 313619 h 1333436"/>
                <a:gd name="connsiteX289" fmla="*/ 87980 w 752994"/>
                <a:gd name="connsiteY289" fmla="*/ 303018 h 1333436"/>
                <a:gd name="connsiteX290" fmla="*/ 92267 w 752994"/>
                <a:gd name="connsiteY290" fmla="*/ 291191 h 1333436"/>
                <a:gd name="connsiteX291" fmla="*/ 96553 w 752994"/>
                <a:gd name="connsiteY291" fmla="*/ 281202 h 1333436"/>
                <a:gd name="connsiteX292" fmla="*/ 99621 w 752994"/>
                <a:gd name="connsiteY292" fmla="*/ 274481 h 1333436"/>
                <a:gd name="connsiteX293" fmla="*/ 103082 w 752994"/>
                <a:gd name="connsiteY293" fmla="*/ 262450 h 1333436"/>
                <a:gd name="connsiteX294" fmla="*/ 107172 w 752994"/>
                <a:gd name="connsiteY294" fmla="*/ 254299 h 1333436"/>
                <a:gd name="connsiteX295" fmla="*/ 112481 w 752994"/>
                <a:gd name="connsiteY295" fmla="*/ 243697 h 1333436"/>
                <a:gd name="connsiteX296" fmla="*/ 117181 w 752994"/>
                <a:gd name="connsiteY296" fmla="*/ 232279 h 1333436"/>
                <a:gd name="connsiteX297" fmla="*/ 125951 w 752994"/>
                <a:gd name="connsiteY297" fmla="*/ 217389 h 1333436"/>
                <a:gd name="connsiteX298" fmla="*/ 136156 w 752994"/>
                <a:gd name="connsiteY298" fmla="*/ 202925 h 1333436"/>
                <a:gd name="connsiteX299" fmla="*/ 138811 w 752994"/>
                <a:gd name="connsiteY299" fmla="*/ 183339 h 1333436"/>
                <a:gd name="connsiteX300" fmla="*/ 148801 w 752994"/>
                <a:gd name="connsiteY300" fmla="*/ 167445 h 1333436"/>
                <a:gd name="connsiteX301" fmla="*/ 159616 w 752994"/>
                <a:gd name="connsiteY301" fmla="*/ 170712 h 1333436"/>
                <a:gd name="connsiteX302" fmla="*/ 173105 w 752994"/>
                <a:gd name="connsiteY302" fmla="*/ 175188 h 1333436"/>
                <a:gd name="connsiteX303" fmla="*/ 175347 w 752994"/>
                <a:gd name="connsiteY303" fmla="*/ 175188 h 1333436"/>
                <a:gd name="connsiteX304" fmla="*/ 175347 w 752994"/>
                <a:gd name="connsiteY304" fmla="*/ 173758 h 1333436"/>
                <a:gd name="connsiteX305" fmla="*/ 184975 w 752994"/>
                <a:gd name="connsiteY305" fmla="*/ 187393 h 1333436"/>
                <a:gd name="connsiteX306" fmla="*/ 184762 w 752994"/>
                <a:gd name="connsiteY306" fmla="*/ 184637 h 1333436"/>
                <a:gd name="connsiteX307" fmla="*/ 174971 w 752994"/>
                <a:gd name="connsiteY307" fmla="*/ 170774 h 1333436"/>
                <a:gd name="connsiteX308" fmla="*/ 174971 w 752994"/>
                <a:gd name="connsiteY308" fmla="*/ 169550 h 1333436"/>
                <a:gd name="connsiteX309" fmla="*/ 158851 w 752994"/>
                <a:gd name="connsiteY309" fmla="*/ 156924 h 1333436"/>
                <a:gd name="connsiteX310" fmla="*/ 147025 w 752994"/>
                <a:gd name="connsiteY310" fmla="*/ 145709 h 1333436"/>
                <a:gd name="connsiteX311" fmla="*/ 154364 w 752994"/>
                <a:gd name="connsiteY311" fmla="*/ 136335 h 1333436"/>
                <a:gd name="connsiteX312" fmla="*/ 161511 w 752994"/>
                <a:gd name="connsiteY312" fmla="*/ 131042 h 1333436"/>
                <a:gd name="connsiteX313" fmla="*/ 160902 w 752994"/>
                <a:gd name="connsiteY313" fmla="*/ 128384 h 1333436"/>
                <a:gd name="connsiteX314" fmla="*/ 160277 w 752994"/>
                <a:gd name="connsiteY314" fmla="*/ 127778 h 1333436"/>
                <a:gd name="connsiteX315" fmla="*/ 154973 w 752994"/>
                <a:gd name="connsiteY315" fmla="*/ 122077 h 1333436"/>
                <a:gd name="connsiteX316" fmla="*/ 160277 w 752994"/>
                <a:gd name="connsiteY316" fmla="*/ 115140 h 1333436"/>
                <a:gd name="connsiteX317" fmla="*/ 165181 w 752994"/>
                <a:gd name="connsiteY317" fmla="*/ 108215 h 1333436"/>
                <a:gd name="connsiteX318" fmla="*/ 161303 w 752994"/>
                <a:gd name="connsiteY318" fmla="*/ 104146 h 1333436"/>
                <a:gd name="connsiteX319" fmla="*/ 157842 w 752994"/>
                <a:gd name="connsiteY319" fmla="*/ 104542 h 1333436"/>
                <a:gd name="connsiteX320" fmla="*/ 157024 w 752994"/>
                <a:gd name="connsiteY320" fmla="*/ 102304 h 1333436"/>
                <a:gd name="connsiteX321" fmla="*/ 160694 w 752994"/>
                <a:gd name="connsiteY321" fmla="*/ 55437 h 1333436"/>
                <a:gd name="connsiteX322" fmla="*/ 160486 w 752994"/>
                <a:gd name="connsiteY322" fmla="*/ 31991 h 1333436"/>
                <a:gd name="connsiteX323" fmla="*/ 164972 w 752994"/>
                <a:gd name="connsiteY323" fmla="*/ 18141 h 1333436"/>
                <a:gd name="connsiteX324" fmla="*/ 171911 w 752994"/>
                <a:gd name="connsiteY324" fmla="*/ 11204 h 1333436"/>
                <a:gd name="connsiteX325" fmla="*/ 187406 w 752994"/>
                <a:gd name="connsiteY325" fmla="*/ 21801 h 1333436"/>
                <a:gd name="connsiteX326" fmla="*/ 210866 w 752994"/>
                <a:gd name="connsiteY326" fmla="*/ 37086 h 1333436"/>
                <a:gd name="connsiteX327" fmla="*/ 219230 w 752994"/>
                <a:gd name="connsiteY327" fmla="*/ 41166 h 1333436"/>
                <a:gd name="connsiteX328" fmla="*/ 226778 w 752994"/>
                <a:gd name="connsiteY328" fmla="*/ 47486 h 1333436"/>
                <a:gd name="connsiteX329" fmla="*/ 236152 w 752994"/>
                <a:gd name="connsiteY329" fmla="*/ 52370 h 1333436"/>
                <a:gd name="connsiteX330" fmla="*/ 239629 w 752994"/>
                <a:gd name="connsiteY330" fmla="*/ 58491 h 1333436"/>
                <a:gd name="connsiteX331" fmla="*/ 239629 w 752994"/>
                <a:gd name="connsiteY331" fmla="*/ 63376 h 1333436"/>
                <a:gd name="connsiteX332" fmla="*/ 236568 w 752994"/>
                <a:gd name="connsiteY332" fmla="*/ 67457 h 1333436"/>
                <a:gd name="connsiteX333" fmla="*/ 231264 w 752994"/>
                <a:gd name="connsiteY333" fmla="*/ 69905 h 1333436"/>
                <a:gd name="connsiteX334" fmla="*/ 216778 w 752994"/>
                <a:gd name="connsiteY334" fmla="*/ 82741 h 1333436"/>
                <a:gd name="connsiteX335" fmla="*/ 214134 w 752994"/>
                <a:gd name="connsiteY335" fmla="*/ 93536 h 1333436"/>
                <a:gd name="connsiteX336" fmla="*/ 214535 w 752994"/>
                <a:gd name="connsiteY336" fmla="*/ 96801 h 1333436"/>
                <a:gd name="connsiteX337" fmla="*/ 216378 w 752994"/>
                <a:gd name="connsiteY337" fmla="*/ 96801 h 1333436"/>
                <a:gd name="connsiteX338" fmla="*/ 230046 w 752994"/>
                <a:gd name="connsiteY338" fmla="*/ 85387 h 1333436"/>
                <a:gd name="connsiteX339" fmla="*/ 243298 w 752994"/>
                <a:gd name="connsiteY339" fmla="*/ 75198 h 1333436"/>
                <a:gd name="connsiteX340" fmla="*/ 246760 w 752994"/>
                <a:gd name="connsiteY340" fmla="*/ 77646 h 1333436"/>
                <a:gd name="connsiteX341" fmla="*/ 255541 w 752994"/>
                <a:gd name="connsiteY341" fmla="*/ 63376 h 1333436"/>
                <a:gd name="connsiteX342" fmla="*/ 259611 w 752994"/>
                <a:gd name="connsiteY342" fmla="*/ 43405 h 1333436"/>
                <a:gd name="connsiteX343" fmla="*/ 256967 w 752994"/>
                <a:gd name="connsiteY343" fmla="*/ 38520 h 1333436"/>
                <a:gd name="connsiteX344" fmla="*/ 253906 w 752994"/>
                <a:gd name="connsiteY344" fmla="*/ 34242 h 1333436"/>
                <a:gd name="connsiteX345" fmla="*/ 256967 w 752994"/>
                <a:gd name="connsiteY345" fmla="*/ 30161 h 1333436"/>
                <a:gd name="connsiteX346" fmla="*/ 262063 w 752994"/>
                <a:gd name="connsiteY346" fmla="*/ 27712 h 1333436"/>
                <a:gd name="connsiteX347" fmla="*/ 264915 w 752994"/>
                <a:gd name="connsiteY347" fmla="*/ 23026 h 1333436"/>
                <a:gd name="connsiteX348" fmla="*/ 267976 w 752994"/>
                <a:gd name="connsiteY348" fmla="*/ 22618 h 1333436"/>
                <a:gd name="connsiteX349" fmla="*/ 270427 w 752994"/>
                <a:gd name="connsiteY349" fmla="*/ 20787 h 1333436"/>
                <a:gd name="connsiteX350" fmla="*/ 263088 w 752994"/>
                <a:gd name="connsiteY350" fmla="*/ 13652 h 1333436"/>
                <a:gd name="connsiteX351" fmla="*/ 255541 w 752994"/>
                <a:gd name="connsiteY351" fmla="*/ 3055 h 1333436"/>
                <a:gd name="connsiteX352" fmla="*/ 256358 w 752994"/>
                <a:gd name="connsiteY352" fmla="*/ 1224 h 1333436"/>
                <a:gd name="connsiteX353" fmla="*/ 257159 w 752994"/>
                <a:gd name="connsiteY353"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14145 w 752994"/>
                <a:gd name="connsiteY30" fmla="*/ 262450 h 1333436"/>
                <a:gd name="connsiteX31" fmla="*/ 431292 w 752994"/>
                <a:gd name="connsiteY31" fmla="*/ 268151 h 1333436"/>
                <a:gd name="connsiteX32" fmla="*/ 445196 w 752994"/>
                <a:gd name="connsiteY32" fmla="*/ 269890 h 1333436"/>
                <a:gd name="connsiteX33" fmla="*/ 444145 w 752994"/>
                <a:gd name="connsiteY33" fmla="*/ 267441 h 1333436"/>
                <a:gd name="connsiteX34" fmla="*/ 444145 w 752994"/>
                <a:gd name="connsiteY34" fmla="*/ 267034 h 1333436"/>
                <a:gd name="connsiteX35" fmla="*/ 381379 w 752994"/>
                <a:gd name="connsiteY35" fmla="*/ 252303 h 1333436"/>
                <a:gd name="connsiteX36" fmla="*/ 380962 w 752994"/>
                <a:gd name="connsiteY36" fmla="*/ 251895 h 1333436"/>
                <a:gd name="connsiteX37" fmla="*/ 365258 w 752994"/>
                <a:gd name="connsiteY37" fmla="*/ 245774 h 1333436"/>
                <a:gd name="connsiteX38" fmla="*/ 355067 w 752994"/>
                <a:gd name="connsiteY38" fmla="*/ 241285 h 1333436"/>
                <a:gd name="connsiteX39" fmla="*/ 350789 w 752994"/>
                <a:gd name="connsiteY39" fmla="*/ 244352 h 1333436"/>
                <a:gd name="connsiteX40" fmla="*/ 340789 w 752994"/>
                <a:gd name="connsiteY40" fmla="*/ 243536 h 1333436"/>
                <a:gd name="connsiteX41" fmla="*/ 333034 w 752994"/>
                <a:gd name="connsiteY41" fmla="*/ 240271 h 1333436"/>
                <a:gd name="connsiteX42" fmla="*/ 323868 w 752994"/>
                <a:gd name="connsiteY42" fmla="*/ 241495 h 1333436"/>
                <a:gd name="connsiteX43" fmla="*/ 309783 w 752994"/>
                <a:gd name="connsiteY43" fmla="*/ 243536 h 1333436"/>
                <a:gd name="connsiteX44" fmla="*/ 297140 w 752994"/>
                <a:gd name="connsiteY44" fmla="*/ 245576 h 1333436"/>
                <a:gd name="connsiteX45" fmla="*/ 288775 w 752994"/>
                <a:gd name="connsiteY45" fmla="*/ 247406 h 1333436"/>
                <a:gd name="connsiteX46" fmla="*/ 280827 w 752994"/>
                <a:gd name="connsiteY46" fmla="*/ 242720 h 1333436"/>
                <a:gd name="connsiteX47" fmla="*/ 274497 w 752994"/>
                <a:gd name="connsiteY47" fmla="*/ 238441 h 1333436"/>
                <a:gd name="connsiteX48" fmla="*/ 269001 w 752994"/>
                <a:gd name="connsiteY48" fmla="*/ 240679 h 1333436"/>
                <a:gd name="connsiteX49" fmla="*/ 262880 w 752994"/>
                <a:gd name="connsiteY49" fmla="*/ 243128 h 1333436"/>
                <a:gd name="connsiteX50" fmla="*/ 260028 w 752994"/>
                <a:gd name="connsiteY50" fmla="*/ 242720 h 1333436"/>
                <a:gd name="connsiteX51" fmla="*/ 247994 w 752994"/>
                <a:gd name="connsiteY51" fmla="*/ 241693 h 1333436"/>
                <a:gd name="connsiteX52" fmla="*/ 242081 w 752994"/>
                <a:gd name="connsiteY52" fmla="*/ 234162 h 1333436"/>
                <a:gd name="connsiteX53" fmla="*/ 235142 w 752994"/>
                <a:gd name="connsiteY53" fmla="*/ 229476 h 1333436"/>
                <a:gd name="connsiteX54" fmla="*/ 224742 w 752994"/>
                <a:gd name="connsiteY54" fmla="*/ 226817 h 1333436"/>
                <a:gd name="connsiteX55" fmla="*/ 216778 w 752994"/>
                <a:gd name="connsiteY55" fmla="*/ 229068 h 1333436"/>
                <a:gd name="connsiteX56" fmla="*/ 202709 w 752994"/>
                <a:gd name="connsiteY56" fmla="*/ 230898 h 1333436"/>
                <a:gd name="connsiteX57" fmla="*/ 195162 w 752994"/>
                <a:gd name="connsiteY57" fmla="*/ 228857 h 1333436"/>
                <a:gd name="connsiteX58" fmla="*/ 188223 w 752994"/>
                <a:gd name="connsiteY58" fmla="*/ 223973 h 1333436"/>
                <a:gd name="connsiteX59" fmla="*/ 185163 w 752994"/>
                <a:gd name="connsiteY59" fmla="*/ 219484 h 1333436"/>
                <a:gd name="connsiteX60" fmla="*/ 184180 w 752994"/>
                <a:gd name="connsiteY60" fmla="*/ 213866 h 1333436"/>
                <a:gd name="connsiteX61" fmla="*/ 257159 w 752994"/>
                <a:gd name="connsiteY61" fmla="*/ 0 h 1333436"/>
                <a:gd name="connsiteX62" fmla="*/ 493147 w 752994"/>
                <a:gd name="connsiteY62" fmla="*/ 73157 h 1333436"/>
                <a:gd name="connsiteX63" fmla="*/ 492970 w 752994"/>
                <a:gd name="connsiteY63" fmla="*/ 73792 h 1333436"/>
                <a:gd name="connsiteX64" fmla="*/ 525816 w 752994"/>
                <a:gd name="connsiteY64" fmla="*/ 82491 h 1333436"/>
                <a:gd name="connsiteX65" fmla="*/ 520098 w 752994"/>
                <a:gd name="connsiteY65" fmla="*/ 111245 h 1333436"/>
                <a:gd name="connsiteX66" fmla="*/ 512552 w 752994"/>
                <a:gd name="connsiteY66" fmla="*/ 143854 h 1333436"/>
                <a:gd name="connsiteX67" fmla="*/ 517849 w 752994"/>
                <a:gd name="connsiteY67" fmla="*/ 157740 h 1333436"/>
                <a:gd name="connsiteX68" fmla="*/ 523160 w 752994"/>
                <a:gd name="connsiteY68" fmla="*/ 172009 h 1333436"/>
                <a:gd name="connsiteX69" fmla="*/ 521535 w 752994"/>
                <a:gd name="connsiteY69" fmla="*/ 178928 h 1333436"/>
                <a:gd name="connsiteX70" fmla="*/ 520098 w 752994"/>
                <a:gd name="connsiteY70" fmla="*/ 186279 h 1333436"/>
                <a:gd name="connsiteX71" fmla="*/ 526019 w 752994"/>
                <a:gd name="connsiteY71" fmla="*/ 193629 h 1333436"/>
                <a:gd name="connsiteX72" fmla="*/ 537251 w 752994"/>
                <a:gd name="connsiteY72" fmla="*/ 206270 h 1333436"/>
                <a:gd name="connsiteX73" fmla="*/ 542765 w 752994"/>
                <a:gd name="connsiteY73" fmla="*/ 217475 h 1333436"/>
                <a:gd name="connsiteX74" fmla="*/ 546857 w 752994"/>
                <a:gd name="connsiteY74" fmla="*/ 230930 h 1333436"/>
                <a:gd name="connsiteX75" fmla="*/ 549499 w 752994"/>
                <a:gd name="connsiteY75" fmla="*/ 235622 h 1333436"/>
                <a:gd name="connsiteX76" fmla="*/ 553388 w 752994"/>
                <a:gd name="connsiteY76" fmla="*/ 240722 h 1333436"/>
                <a:gd name="connsiteX77" fmla="*/ 557465 w 752994"/>
                <a:gd name="connsiteY77" fmla="*/ 246037 h 1333436"/>
                <a:gd name="connsiteX78" fmla="*/ 561761 w 752994"/>
                <a:gd name="connsiteY78" fmla="*/ 248671 h 1333436"/>
                <a:gd name="connsiteX79" fmla="*/ 567478 w 752994"/>
                <a:gd name="connsiteY79" fmla="*/ 247665 h 1333436"/>
                <a:gd name="connsiteX80" fmla="*/ 569931 w 752994"/>
                <a:gd name="connsiteY80" fmla="*/ 249293 h 1333436"/>
                <a:gd name="connsiteX81" fmla="*/ 570540 w 752994"/>
                <a:gd name="connsiteY81" fmla="*/ 251951 h 1333436"/>
                <a:gd name="connsiteX82" fmla="*/ 561964 w 752994"/>
                <a:gd name="connsiteY82" fmla="*/ 267656 h 1333436"/>
                <a:gd name="connsiteX83" fmla="*/ 553591 w 752994"/>
                <a:gd name="connsiteY83" fmla="*/ 289659 h 1333436"/>
                <a:gd name="connsiteX84" fmla="*/ 554810 w 752994"/>
                <a:gd name="connsiteY84" fmla="*/ 292939 h 1333436"/>
                <a:gd name="connsiteX85" fmla="*/ 556246 w 752994"/>
                <a:gd name="connsiteY85" fmla="*/ 299260 h 1333436"/>
                <a:gd name="connsiteX86" fmla="*/ 552778 w 752994"/>
                <a:gd name="connsiteY86" fmla="*/ 301917 h 1333436"/>
                <a:gd name="connsiteX87" fmla="*/ 549295 w 752994"/>
                <a:gd name="connsiteY87" fmla="*/ 306993 h 1333436"/>
                <a:gd name="connsiteX88" fmla="*/ 547061 w 752994"/>
                <a:gd name="connsiteY88" fmla="*/ 313122 h 1333436"/>
                <a:gd name="connsiteX89" fmla="*/ 544811 w 752994"/>
                <a:gd name="connsiteY89" fmla="*/ 316593 h 1333436"/>
                <a:gd name="connsiteX90" fmla="*/ 549919 w 752994"/>
                <a:gd name="connsiteY90" fmla="*/ 322698 h 1333436"/>
                <a:gd name="connsiteX91" fmla="*/ 553184 w 752994"/>
                <a:gd name="connsiteY91" fmla="*/ 325955 h 1333436"/>
                <a:gd name="connsiteX92" fmla="*/ 555840 w 752994"/>
                <a:gd name="connsiteY92" fmla="*/ 328205 h 1333436"/>
                <a:gd name="connsiteX93" fmla="*/ 574212 w 752994"/>
                <a:gd name="connsiteY93" fmla="*/ 318820 h 1333436"/>
                <a:gd name="connsiteX94" fmla="*/ 579523 w 752994"/>
                <a:gd name="connsiteY94" fmla="*/ 326577 h 1333436"/>
                <a:gd name="connsiteX95" fmla="*/ 580539 w 752994"/>
                <a:gd name="connsiteY95" fmla="*/ 334933 h 1333436"/>
                <a:gd name="connsiteX96" fmla="*/ 579726 w 752994"/>
                <a:gd name="connsiteY96" fmla="*/ 343097 h 1333436"/>
                <a:gd name="connsiteX97" fmla="*/ 581366 w 752994"/>
                <a:gd name="connsiteY97" fmla="*/ 350231 h 1333436"/>
                <a:gd name="connsiteX98" fmla="*/ 586256 w 752994"/>
                <a:gd name="connsiteY98" fmla="*/ 355930 h 1333436"/>
                <a:gd name="connsiteX99" fmla="*/ 589536 w 752994"/>
                <a:gd name="connsiteY99" fmla="*/ 362059 h 1333436"/>
                <a:gd name="connsiteX100" fmla="*/ 588099 w 752994"/>
                <a:gd name="connsiteY100" fmla="*/ 369600 h 1333436"/>
                <a:gd name="connsiteX101" fmla="*/ 586459 w 752994"/>
                <a:gd name="connsiteY101" fmla="*/ 377357 h 1333436"/>
                <a:gd name="connsiteX102" fmla="*/ 588709 w 752994"/>
                <a:gd name="connsiteY102" fmla="*/ 381835 h 1333436"/>
                <a:gd name="connsiteX103" fmla="*/ 595036 w 752994"/>
                <a:gd name="connsiteY103" fmla="*/ 382457 h 1333436"/>
                <a:gd name="connsiteX104" fmla="*/ 599331 w 752994"/>
                <a:gd name="connsiteY104" fmla="*/ 385306 h 1333436"/>
                <a:gd name="connsiteX105" fmla="*/ 601987 w 752994"/>
                <a:gd name="connsiteY105" fmla="*/ 391004 h 1333436"/>
                <a:gd name="connsiteX106" fmla="*/ 602799 w 752994"/>
                <a:gd name="connsiteY106" fmla="*/ 404076 h 1333436"/>
                <a:gd name="connsiteX107" fmla="*/ 606892 w 752994"/>
                <a:gd name="connsiteY107" fmla="*/ 415688 h 1333436"/>
                <a:gd name="connsiteX108" fmla="*/ 610563 w 752994"/>
                <a:gd name="connsiteY108" fmla="*/ 412217 h 1333436"/>
                <a:gd name="connsiteX109" fmla="*/ 617920 w 752994"/>
                <a:gd name="connsiteY109" fmla="*/ 408769 h 1333436"/>
                <a:gd name="connsiteX110" fmla="*/ 624654 w 752994"/>
                <a:gd name="connsiteY110" fmla="*/ 411211 h 1333436"/>
                <a:gd name="connsiteX111" fmla="*/ 634652 w 752994"/>
                <a:gd name="connsiteY111" fmla="*/ 410182 h 1333436"/>
                <a:gd name="connsiteX112" fmla="*/ 640573 w 752994"/>
                <a:gd name="connsiteY112" fmla="*/ 407739 h 1333436"/>
                <a:gd name="connsiteX113" fmla="*/ 646711 w 752994"/>
                <a:gd name="connsiteY113" fmla="*/ 410589 h 1333436"/>
                <a:gd name="connsiteX114" fmla="*/ 650383 w 752994"/>
                <a:gd name="connsiteY114" fmla="*/ 410589 h 1333436"/>
                <a:gd name="connsiteX115" fmla="*/ 654257 w 752994"/>
                <a:gd name="connsiteY115" fmla="*/ 411618 h 1333436"/>
                <a:gd name="connsiteX116" fmla="*/ 656913 w 752994"/>
                <a:gd name="connsiteY116" fmla="*/ 413653 h 1333436"/>
                <a:gd name="connsiteX117" fmla="*/ 660802 w 752994"/>
                <a:gd name="connsiteY117" fmla="*/ 415090 h 1333436"/>
                <a:gd name="connsiteX118" fmla="*/ 669581 w 752994"/>
                <a:gd name="connsiteY118" fmla="*/ 415904 h 1333436"/>
                <a:gd name="connsiteX119" fmla="*/ 672237 w 752994"/>
                <a:gd name="connsiteY119" fmla="*/ 415688 h 1333436"/>
                <a:gd name="connsiteX120" fmla="*/ 675705 w 752994"/>
                <a:gd name="connsiteY120" fmla="*/ 409367 h 1333436"/>
                <a:gd name="connsiteX121" fmla="*/ 679986 w 752994"/>
                <a:gd name="connsiteY121" fmla="*/ 403238 h 1333436"/>
                <a:gd name="connsiteX122" fmla="*/ 693264 w 752994"/>
                <a:gd name="connsiteY122" fmla="*/ 419567 h 1333436"/>
                <a:gd name="connsiteX123" fmla="*/ 688563 w 752994"/>
                <a:gd name="connsiteY123" fmla="*/ 448321 h 1333436"/>
                <a:gd name="connsiteX124" fmla="*/ 663949 w 752994"/>
                <a:gd name="connsiteY124" fmla="*/ 590165 h 1333436"/>
                <a:gd name="connsiteX125" fmla="*/ 666304 w 752994"/>
                <a:gd name="connsiteY125" fmla="*/ 590504 h 1333436"/>
                <a:gd name="connsiteX126" fmla="*/ 655288 w 752994"/>
                <a:gd name="connsiteY126" fmla="*/ 656178 h 1333436"/>
                <a:gd name="connsiteX127" fmla="*/ 681808 w 752994"/>
                <a:gd name="connsiteY127" fmla="*/ 662301 h 1333436"/>
                <a:gd name="connsiteX128" fmla="*/ 752994 w 752994"/>
                <a:gd name="connsiteY128" fmla="*/ 675560 h 1333436"/>
                <a:gd name="connsiteX129" fmla="*/ 714651 w 752994"/>
                <a:gd name="connsiteY129" fmla="*/ 946985 h 1333436"/>
                <a:gd name="connsiteX130" fmla="*/ 654533 w 752994"/>
                <a:gd name="connsiteY130" fmla="*/ 1333436 h 1333436"/>
                <a:gd name="connsiteX131" fmla="*/ 546831 w 752994"/>
                <a:gd name="connsiteY131" fmla="*/ 1317126 h 1333436"/>
                <a:gd name="connsiteX132" fmla="*/ 351227 w 752994"/>
                <a:gd name="connsiteY132" fmla="*/ 1194172 h 1333436"/>
                <a:gd name="connsiteX133" fmla="*/ 361011 w 752994"/>
                <a:gd name="connsiteY133" fmla="*/ 1182755 h 1333436"/>
                <a:gd name="connsiteX134" fmla="*/ 368981 w 752994"/>
                <a:gd name="connsiteY134" fmla="*/ 1182130 h 1333436"/>
                <a:gd name="connsiteX135" fmla="*/ 369571 w 752994"/>
                <a:gd name="connsiteY135" fmla="*/ 1181558 h 1333436"/>
                <a:gd name="connsiteX136" fmla="*/ 362372 w 752994"/>
                <a:gd name="connsiteY136" fmla="*/ 1182120 h 1333436"/>
                <a:gd name="connsiteX137" fmla="*/ 229464 w 752994"/>
                <a:gd name="connsiteY137" fmla="*/ 1161721 h 1333436"/>
                <a:gd name="connsiteX138" fmla="*/ 227427 w 752994"/>
                <a:gd name="connsiteY138" fmla="*/ 1157269 h 1333436"/>
                <a:gd name="connsiteX139" fmla="*/ 224967 w 752994"/>
                <a:gd name="connsiteY139" fmla="*/ 1152575 h 1333436"/>
                <a:gd name="connsiteX140" fmla="*/ 225582 w 752994"/>
                <a:gd name="connsiteY140" fmla="*/ 1144808 h 1333436"/>
                <a:gd name="connsiteX141" fmla="*/ 227215 w 752994"/>
                <a:gd name="connsiteY141" fmla="*/ 1135834 h 1333436"/>
                <a:gd name="connsiteX142" fmla="*/ 227215 w 752994"/>
                <a:gd name="connsiteY142" fmla="*/ 1134212 h 1333436"/>
                <a:gd name="connsiteX143" fmla="*/ 225179 w 752994"/>
                <a:gd name="connsiteY143" fmla="*/ 1114020 h 1333436"/>
                <a:gd name="connsiteX144" fmla="*/ 217839 w 752994"/>
                <a:gd name="connsiteY144" fmla="*/ 1100352 h 1333436"/>
                <a:gd name="connsiteX145" fmla="*/ 199661 w 752994"/>
                <a:gd name="connsiteY145" fmla="*/ 1076502 h 1333436"/>
                <a:gd name="connsiteX146" fmla="*/ 196395 w 752994"/>
                <a:gd name="connsiteY146" fmla="*/ 1071807 h 1333436"/>
                <a:gd name="connsiteX147" fmla="*/ 190880 w 752994"/>
                <a:gd name="connsiteY147" fmla="*/ 1067527 h 1333436"/>
                <a:gd name="connsiteX148" fmla="*/ 187210 w 752994"/>
                <a:gd name="connsiteY148" fmla="*/ 1068735 h 1333436"/>
                <a:gd name="connsiteX149" fmla="*/ 180062 w 752994"/>
                <a:gd name="connsiteY149" fmla="*/ 1066699 h 1333436"/>
                <a:gd name="connsiteX150" fmla="*/ 180466 w 752994"/>
                <a:gd name="connsiteY150" fmla="*/ 1053031 h 1333436"/>
                <a:gd name="connsiteX151" fmla="*/ 180062 w 752994"/>
                <a:gd name="connsiteY151" fmla="*/ 1045299 h 1333436"/>
                <a:gd name="connsiteX152" fmla="*/ 174144 w 752994"/>
                <a:gd name="connsiteY152" fmla="*/ 1044057 h 1333436"/>
                <a:gd name="connsiteX153" fmla="*/ 158426 w 752994"/>
                <a:gd name="connsiteY153" fmla="*/ 1042641 h 1333436"/>
                <a:gd name="connsiteX154" fmla="*/ 149857 w 752994"/>
                <a:gd name="connsiteY154" fmla="*/ 1035497 h 1333436"/>
                <a:gd name="connsiteX155" fmla="*/ 142497 w 752994"/>
                <a:gd name="connsiteY155" fmla="*/ 1028766 h 1333436"/>
                <a:gd name="connsiteX156" fmla="*/ 140864 w 752994"/>
                <a:gd name="connsiteY156" fmla="*/ 1020620 h 1333436"/>
                <a:gd name="connsiteX157" fmla="*/ 138212 w 752994"/>
                <a:gd name="connsiteY157" fmla="*/ 1013061 h 1333436"/>
                <a:gd name="connsiteX158" fmla="*/ 131064 w 752994"/>
                <a:gd name="connsiteY158" fmla="*/ 1007159 h 1333436"/>
                <a:gd name="connsiteX159" fmla="*/ 121264 w 752994"/>
                <a:gd name="connsiteY159" fmla="*/ 1005330 h 1333436"/>
                <a:gd name="connsiteX160" fmla="*/ 112483 w 752994"/>
                <a:gd name="connsiteY160" fmla="*/ 1001671 h 1333436"/>
                <a:gd name="connsiteX161" fmla="*/ 105950 w 752994"/>
                <a:gd name="connsiteY161" fmla="*/ 995734 h 1333436"/>
                <a:gd name="connsiteX162" fmla="*/ 97380 w 752994"/>
                <a:gd name="connsiteY162" fmla="*/ 994526 h 1333436"/>
                <a:gd name="connsiteX163" fmla="*/ 87984 w 752994"/>
                <a:gd name="connsiteY163" fmla="*/ 991040 h 1333436"/>
                <a:gd name="connsiteX164" fmla="*/ 80029 w 752994"/>
                <a:gd name="connsiteY164" fmla="*/ 985138 h 1333436"/>
                <a:gd name="connsiteX165" fmla="*/ 77166 w 752994"/>
                <a:gd name="connsiteY165" fmla="*/ 976164 h 1333436"/>
                <a:gd name="connsiteX166" fmla="*/ 79203 w 752994"/>
                <a:gd name="connsiteY166" fmla="*/ 970676 h 1333436"/>
                <a:gd name="connsiteX167" fmla="*/ 82470 w 752994"/>
                <a:gd name="connsiteY167" fmla="*/ 963117 h 1333436"/>
                <a:gd name="connsiteX168" fmla="*/ 84314 w 752994"/>
                <a:gd name="connsiteY168" fmla="*/ 954557 h 1333436"/>
                <a:gd name="connsiteX169" fmla="*/ 86351 w 752994"/>
                <a:gd name="connsiteY169" fmla="*/ 948033 h 1333436"/>
                <a:gd name="connsiteX170" fmla="*/ 86159 w 752994"/>
                <a:gd name="connsiteY170" fmla="*/ 942925 h 1333436"/>
                <a:gd name="connsiteX171" fmla="*/ 83085 w 752994"/>
                <a:gd name="connsiteY171" fmla="*/ 939853 h 1333436"/>
                <a:gd name="connsiteX172" fmla="*/ 77570 w 752994"/>
                <a:gd name="connsiteY172" fmla="*/ 937437 h 1333436"/>
                <a:gd name="connsiteX173" fmla="*/ 76763 w 752994"/>
                <a:gd name="connsiteY173" fmla="*/ 931915 h 1333436"/>
                <a:gd name="connsiteX174" fmla="*/ 78800 w 752994"/>
                <a:gd name="connsiteY174" fmla="*/ 927013 h 1333436"/>
                <a:gd name="connsiteX175" fmla="*/ 79626 w 752994"/>
                <a:gd name="connsiteY175" fmla="*/ 922526 h 1333436"/>
                <a:gd name="connsiteX176" fmla="*/ 77781 w 752994"/>
                <a:gd name="connsiteY176" fmla="*/ 919903 h 1333436"/>
                <a:gd name="connsiteX177" fmla="*/ 74303 w 752994"/>
                <a:gd name="connsiteY177" fmla="*/ 917418 h 1333436"/>
                <a:gd name="connsiteX178" fmla="*/ 71863 w 752994"/>
                <a:gd name="connsiteY178" fmla="*/ 915174 h 1333436"/>
                <a:gd name="connsiteX179" fmla="*/ 71652 w 752994"/>
                <a:gd name="connsiteY179" fmla="*/ 910894 h 1333436"/>
                <a:gd name="connsiteX180" fmla="*/ 70633 w 752994"/>
                <a:gd name="connsiteY180" fmla="*/ 906614 h 1333436"/>
                <a:gd name="connsiteX181" fmla="*/ 68385 w 752994"/>
                <a:gd name="connsiteY181" fmla="*/ 902749 h 1333436"/>
                <a:gd name="connsiteX182" fmla="*/ 61045 w 752994"/>
                <a:gd name="connsiteY182" fmla="*/ 889494 h 1333436"/>
                <a:gd name="connsiteX183" fmla="*/ 57971 w 752994"/>
                <a:gd name="connsiteY183" fmla="*/ 875619 h 1333436"/>
                <a:gd name="connsiteX184" fmla="*/ 52264 w 752994"/>
                <a:gd name="connsiteY184" fmla="*/ 862572 h 1333436"/>
                <a:gd name="connsiteX185" fmla="*/ 44309 w 752994"/>
                <a:gd name="connsiteY185" fmla="*/ 850561 h 1333436"/>
                <a:gd name="connsiteX186" fmla="*/ 45520 w 752994"/>
                <a:gd name="connsiteY186" fmla="*/ 827090 h 1333436"/>
                <a:gd name="connsiteX187" fmla="*/ 53071 w 752994"/>
                <a:gd name="connsiteY187" fmla="*/ 822396 h 1333436"/>
                <a:gd name="connsiteX188" fmla="*/ 57375 w 752994"/>
                <a:gd name="connsiteY188" fmla="*/ 816493 h 1333436"/>
                <a:gd name="connsiteX189" fmla="*/ 55319 w 752994"/>
                <a:gd name="connsiteY189" fmla="*/ 801617 h 1333436"/>
                <a:gd name="connsiteX190" fmla="*/ 48383 w 752994"/>
                <a:gd name="connsiteY190" fmla="*/ 802204 h 1333436"/>
                <a:gd name="connsiteX191" fmla="*/ 40428 w 752994"/>
                <a:gd name="connsiteY191" fmla="*/ 797924 h 1333436"/>
                <a:gd name="connsiteX192" fmla="*/ 37565 w 752994"/>
                <a:gd name="connsiteY192" fmla="*/ 790606 h 1333436"/>
                <a:gd name="connsiteX193" fmla="*/ 37565 w 752994"/>
                <a:gd name="connsiteY193" fmla="*/ 790399 h 1333436"/>
                <a:gd name="connsiteX194" fmla="*/ 35931 w 752994"/>
                <a:gd name="connsiteY194" fmla="*/ 785912 h 1333436"/>
                <a:gd name="connsiteX195" fmla="*/ 34510 w 752994"/>
                <a:gd name="connsiteY195" fmla="*/ 780597 h 1333436"/>
                <a:gd name="connsiteX196" fmla="*/ 36335 w 752994"/>
                <a:gd name="connsiteY196" fmla="*/ 774280 h 1333436"/>
                <a:gd name="connsiteX197" fmla="*/ 38180 w 752994"/>
                <a:gd name="connsiteY197" fmla="*/ 766721 h 1333436"/>
                <a:gd name="connsiteX198" fmla="*/ 37161 w 752994"/>
                <a:gd name="connsiteY198" fmla="*/ 760405 h 1333436"/>
                <a:gd name="connsiteX199" fmla="*/ 35720 w 752994"/>
                <a:gd name="connsiteY199" fmla="*/ 754710 h 1333436"/>
                <a:gd name="connsiteX200" fmla="*/ 36546 w 752994"/>
                <a:gd name="connsiteY200" fmla="*/ 748773 h 1333436"/>
                <a:gd name="connsiteX201" fmla="*/ 38372 w 752994"/>
                <a:gd name="connsiteY201" fmla="*/ 744528 h 1333436"/>
                <a:gd name="connsiteX202" fmla="*/ 41638 w 752994"/>
                <a:gd name="connsiteY202" fmla="*/ 744321 h 1333436"/>
                <a:gd name="connsiteX203" fmla="*/ 44713 w 752994"/>
                <a:gd name="connsiteY203" fmla="*/ 746357 h 1333436"/>
                <a:gd name="connsiteX204" fmla="*/ 47364 w 752994"/>
                <a:gd name="connsiteY204" fmla="*/ 753260 h 1333436"/>
                <a:gd name="connsiteX205" fmla="*/ 55742 w 752994"/>
                <a:gd name="connsiteY205" fmla="*/ 764305 h 1333436"/>
                <a:gd name="connsiteX206" fmla="*/ 56338 w 752994"/>
                <a:gd name="connsiteY206" fmla="*/ 761233 h 1333436"/>
                <a:gd name="connsiteX207" fmla="*/ 56145 w 752994"/>
                <a:gd name="connsiteY207" fmla="*/ 757368 h 1333436"/>
                <a:gd name="connsiteX208" fmla="*/ 54916 w 752994"/>
                <a:gd name="connsiteY208" fmla="*/ 748601 h 1333436"/>
                <a:gd name="connsiteX209" fmla="*/ 52879 w 752994"/>
                <a:gd name="connsiteY209" fmla="*/ 747358 h 1333436"/>
                <a:gd name="connsiteX210" fmla="*/ 51649 w 752994"/>
                <a:gd name="connsiteY210" fmla="*/ 745322 h 1333436"/>
                <a:gd name="connsiteX211" fmla="*/ 51649 w 752994"/>
                <a:gd name="connsiteY211" fmla="*/ 739212 h 1333436"/>
                <a:gd name="connsiteX212" fmla="*/ 50227 w 752994"/>
                <a:gd name="connsiteY212" fmla="*/ 734725 h 1333436"/>
                <a:gd name="connsiteX213" fmla="*/ 48786 w 752994"/>
                <a:gd name="connsiteY213" fmla="*/ 731446 h 1333436"/>
                <a:gd name="connsiteX214" fmla="*/ 54512 w 752994"/>
                <a:gd name="connsiteY214" fmla="*/ 726372 h 1333436"/>
                <a:gd name="connsiteX215" fmla="*/ 59815 w 752994"/>
                <a:gd name="connsiteY215" fmla="*/ 725130 h 1333436"/>
                <a:gd name="connsiteX216" fmla="*/ 58182 w 752994"/>
                <a:gd name="connsiteY216" fmla="*/ 722886 h 1333436"/>
                <a:gd name="connsiteX217" fmla="*/ 51861 w 752994"/>
                <a:gd name="connsiteY217" fmla="*/ 717985 h 1333436"/>
                <a:gd name="connsiteX218" fmla="*/ 46749 w 752994"/>
                <a:gd name="connsiteY218" fmla="*/ 729617 h 1333436"/>
                <a:gd name="connsiteX219" fmla="*/ 40831 w 752994"/>
                <a:gd name="connsiteY219" fmla="*/ 739212 h 1333436"/>
                <a:gd name="connsiteX220" fmla="*/ 39601 w 752994"/>
                <a:gd name="connsiteY220" fmla="*/ 738798 h 1333436"/>
                <a:gd name="connsiteX221" fmla="*/ 39409 w 752994"/>
                <a:gd name="connsiteY221" fmla="*/ 738591 h 1333436"/>
                <a:gd name="connsiteX222" fmla="*/ 37161 w 752994"/>
                <a:gd name="connsiteY222" fmla="*/ 734725 h 1333436"/>
                <a:gd name="connsiteX223" fmla="*/ 32665 w 752994"/>
                <a:gd name="connsiteY223" fmla="*/ 727788 h 1333436"/>
                <a:gd name="connsiteX224" fmla="*/ 26747 w 752994"/>
                <a:gd name="connsiteY224" fmla="*/ 719435 h 1333436"/>
                <a:gd name="connsiteX225" fmla="*/ 23884 w 752994"/>
                <a:gd name="connsiteY225" fmla="*/ 717812 h 1333436"/>
                <a:gd name="connsiteX226" fmla="*/ 24710 w 752994"/>
                <a:gd name="connsiteY226" fmla="*/ 709632 h 1333436"/>
                <a:gd name="connsiteX227" fmla="*/ 27554 w 752994"/>
                <a:gd name="connsiteY227" fmla="*/ 701694 h 1333436"/>
                <a:gd name="connsiteX228" fmla="*/ 24902 w 752994"/>
                <a:gd name="connsiteY228" fmla="*/ 696171 h 1333436"/>
                <a:gd name="connsiteX229" fmla="*/ 24095 w 752994"/>
                <a:gd name="connsiteY229" fmla="*/ 687818 h 1333436"/>
                <a:gd name="connsiteX230" fmla="*/ 22462 w 752994"/>
                <a:gd name="connsiteY230" fmla="*/ 682330 h 1333436"/>
                <a:gd name="connsiteX231" fmla="*/ 17159 w 752994"/>
                <a:gd name="connsiteY231" fmla="*/ 677636 h 1333436"/>
                <a:gd name="connsiteX232" fmla="*/ 14296 w 752994"/>
                <a:gd name="connsiteY232" fmla="*/ 671492 h 1333436"/>
                <a:gd name="connsiteX233" fmla="*/ 12451 w 752994"/>
                <a:gd name="connsiteY233" fmla="*/ 665797 h 1333436"/>
                <a:gd name="connsiteX234" fmla="*/ 5111 w 752994"/>
                <a:gd name="connsiteY234" fmla="*/ 654994 h 1333436"/>
                <a:gd name="connsiteX235" fmla="*/ 2248 w 752994"/>
                <a:gd name="connsiteY235" fmla="*/ 645605 h 1333436"/>
                <a:gd name="connsiteX236" fmla="*/ 4496 w 752994"/>
                <a:gd name="connsiteY236" fmla="*/ 640497 h 1333436"/>
                <a:gd name="connsiteX237" fmla="*/ 6744 w 752994"/>
                <a:gd name="connsiteY237" fmla="*/ 632765 h 1333436"/>
                <a:gd name="connsiteX238" fmla="*/ 6744 w 752994"/>
                <a:gd name="connsiteY238" fmla="*/ 628485 h 1333436"/>
                <a:gd name="connsiteX239" fmla="*/ 6533 w 752994"/>
                <a:gd name="connsiteY239" fmla="*/ 620305 h 1333436"/>
                <a:gd name="connsiteX240" fmla="*/ 7359 w 752994"/>
                <a:gd name="connsiteY240" fmla="*/ 611745 h 1333436"/>
                <a:gd name="connsiteX241" fmla="*/ 11836 w 752994"/>
                <a:gd name="connsiteY241" fmla="*/ 602978 h 1333436"/>
                <a:gd name="connsiteX242" fmla="*/ 15103 w 752994"/>
                <a:gd name="connsiteY242" fmla="*/ 591760 h 1333436"/>
                <a:gd name="connsiteX243" fmla="*/ 14488 w 752994"/>
                <a:gd name="connsiteY243" fmla="*/ 584029 h 1333436"/>
                <a:gd name="connsiteX244" fmla="*/ 13873 w 752994"/>
                <a:gd name="connsiteY244" fmla="*/ 578299 h 1333436"/>
                <a:gd name="connsiteX245" fmla="*/ 10626 w 752994"/>
                <a:gd name="connsiteY245" fmla="*/ 568531 h 1333436"/>
                <a:gd name="connsiteX246" fmla="*/ 3670 w 752994"/>
                <a:gd name="connsiteY246" fmla="*/ 558107 h 1333436"/>
                <a:gd name="connsiteX247" fmla="*/ 0 w 752994"/>
                <a:gd name="connsiteY247" fmla="*/ 551377 h 1333436"/>
                <a:gd name="connsiteX248" fmla="*/ 0 w 752994"/>
                <a:gd name="connsiteY248" fmla="*/ 550997 h 1333436"/>
                <a:gd name="connsiteX249" fmla="*/ 4900 w 752994"/>
                <a:gd name="connsiteY249" fmla="*/ 531220 h 1333436"/>
                <a:gd name="connsiteX250" fmla="*/ 13873 w 752994"/>
                <a:gd name="connsiteY250" fmla="*/ 520589 h 1333436"/>
                <a:gd name="connsiteX251" fmla="*/ 18369 w 752994"/>
                <a:gd name="connsiteY251" fmla="*/ 516516 h 1333436"/>
                <a:gd name="connsiteX252" fmla="*/ 18773 w 752994"/>
                <a:gd name="connsiteY252" fmla="*/ 514272 h 1333436"/>
                <a:gd name="connsiteX253" fmla="*/ 23077 w 752994"/>
                <a:gd name="connsiteY253" fmla="*/ 506127 h 1333436"/>
                <a:gd name="connsiteX254" fmla="*/ 23884 w 752994"/>
                <a:gd name="connsiteY254" fmla="*/ 502261 h 1333436"/>
                <a:gd name="connsiteX255" fmla="*/ 23692 w 752994"/>
                <a:gd name="connsiteY255" fmla="*/ 496738 h 1333436"/>
                <a:gd name="connsiteX256" fmla="*/ 30013 w 752994"/>
                <a:gd name="connsiteY256" fmla="*/ 486556 h 1333436"/>
                <a:gd name="connsiteX257" fmla="*/ 36546 w 752994"/>
                <a:gd name="connsiteY257" fmla="*/ 470230 h 1333436"/>
                <a:gd name="connsiteX258" fmla="*/ 36546 w 752994"/>
                <a:gd name="connsiteY258" fmla="*/ 462671 h 1333436"/>
                <a:gd name="connsiteX259" fmla="*/ 36335 w 752994"/>
                <a:gd name="connsiteY259" fmla="*/ 461670 h 1333436"/>
                <a:gd name="connsiteX260" fmla="*/ 35931 w 752994"/>
                <a:gd name="connsiteY260" fmla="*/ 453110 h 1333436"/>
                <a:gd name="connsiteX261" fmla="*/ 38583 w 752994"/>
                <a:gd name="connsiteY261" fmla="*/ 442514 h 1333436"/>
                <a:gd name="connsiteX262" fmla="*/ 41043 w 752994"/>
                <a:gd name="connsiteY262" fmla="*/ 436991 h 1333436"/>
                <a:gd name="connsiteX263" fmla="*/ 41650 w 752994"/>
                <a:gd name="connsiteY263" fmla="*/ 437186 h 1333436"/>
                <a:gd name="connsiteX264" fmla="*/ 41239 w 752994"/>
                <a:gd name="connsiteY264" fmla="*/ 436549 h 1333436"/>
                <a:gd name="connsiteX265" fmla="*/ 37778 w 752994"/>
                <a:gd name="connsiteY265" fmla="*/ 433894 h 1333436"/>
                <a:gd name="connsiteX266" fmla="*/ 37169 w 752994"/>
                <a:gd name="connsiteY266" fmla="*/ 432261 h 1333436"/>
                <a:gd name="connsiteX267" fmla="*/ 37365 w 752994"/>
                <a:gd name="connsiteY267" fmla="*/ 429198 h 1333436"/>
                <a:gd name="connsiteX268" fmla="*/ 36756 w 752994"/>
                <a:gd name="connsiteY268" fmla="*/ 422272 h 1333436"/>
                <a:gd name="connsiteX269" fmla="*/ 36952 w 752994"/>
                <a:gd name="connsiteY269" fmla="*/ 418800 h 1333436"/>
                <a:gd name="connsiteX270" fmla="*/ 36756 w 752994"/>
                <a:gd name="connsiteY270" fmla="*/ 412487 h 1333436"/>
                <a:gd name="connsiteX271" fmla="*/ 40433 w 752994"/>
                <a:gd name="connsiteY271" fmla="*/ 406174 h 1333436"/>
                <a:gd name="connsiteX272" fmla="*/ 44720 w 752994"/>
                <a:gd name="connsiteY272" fmla="*/ 399435 h 1333436"/>
                <a:gd name="connsiteX273" fmla="*/ 44110 w 752994"/>
                <a:gd name="connsiteY273" fmla="*/ 389651 h 1333436"/>
                <a:gd name="connsiteX274" fmla="*/ 43894 w 752994"/>
                <a:gd name="connsiteY274" fmla="*/ 378437 h 1333436"/>
                <a:gd name="connsiteX275" fmla="*/ 47158 w 752994"/>
                <a:gd name="connsiteY275" fmla="*/ 371102 h 1333436"/>
                <a:gd name="connsiteX276" fmla="*/ 55731 w 752994"/>
                <a:gd name="connsiteY276" fmla="*/ 360909 h 1333436"/>
                <a:gd name="connsiteX277" fmla="*/ 57580 w 752994"/>
                <a:gd name="connsiteY277" fmla="*/ 355804 h 1333436"/>
                <a:gd name="connsiteX278" fmla="*/ 62673 w 752994"/>
                <a:gd name="connsiteY278" fmla="*/ 349695 h 1333436"/>
                <a:gd name="connsiteX279" fmla="*/ 65937 w 752994"/>
                <a:gd name="connsiteY279" fmla="*/ 348470 h 1333436"/>
                <a:gd name="connsiteX280" fmla="*/ 68395 w 752994"/>
                <a:gd name="connsiteY280" fmla="*/ 348674 h 1333436"/>
                <a:gd name="connsiteX281" fmla="*/ 70224 w 752994"/>
                <a:gd name="connsiteY281" fmla="*/ 347449 h 1333436"/>
                <a:gd name="connsiteX282" fmla="*/ 67785 w 752994"/>
                <a:gd name="connsiteY282" fmla="*/ 345203 h 1333436"/>
                <a:gd name="connsiteX283" fmla="*/ 65524 w 752994"/>
                <a:gd name="connsiteY283" fmla="*/ 343178 h 1333436"/>
                <a:gd name="connsiteX284" fmla="*/ 73095 w 752994"/>
                <a:gd name="connsiteY284" fmla="*/ 333376 h 1333436"/>
                <a:gd name="connsiteX285" fmla="*/ 73291 w 752994"/>
                <a:gd name="connsiteY285" fmla="*/ 333376 h 1333436"/>
                <a:gd name="connsiteX286" fmla="*/ 77991 w 752994"/>
                <a:gd name="connsiteY286" fmla="*/ 325838 h 1333436"/>
                <a:gd name="connsiteX287" fmla="*/ 82671 w 752994"/>
                <a:gd name="connsiteY287" fmla="*/ 313619 h 1333436"/>
                <a:gd name="connsiteX288" fmla="*/ 87980 w 752994"/>
                <a:gd name="connsiteY288" fmla="*/ 303018 h 1333436"/>
                <a:gd name="connsiteX289" fmla="*/ 92267 w 752994"/>
                <a:gd name="connsiteY289" fmla="*/ 291191 h 1333436"/>
                <a:gd name="connsiteX290" fmla="*/ 96553 w 752994"/>
                <a:gd name="connsiteY290" fmla="*/ 281202 h 1333436"/>
                <a:gd name="connsiteX291" fmla="*/ 99621 w 752994"/>
                <a:gd name="connsiteY291" fmla="*/ 274481 h 1333436"/>
                <a:gd name="connsiteX292" fmla="*/ 103082 w 752994"/>
                <a:gd name="connsiteY292" fmla="*/ 262450 h 1333436"/>
                <a:gd name="connsiteX293" fmla="*/ 107172 w 752994"/>
                <a:gd name="connsiteY293" fmla="*/ 254299 h 1333436"/>
                <a:gd name="connsiteX294" fmla="*/ 112481 w 752994"/>
                <a:gd name="connsiteY294" fmla="*/ 243697 h 1333436"/>
                <a:gd name="connsiteX295" fmla="*/ 117181 w 752994"/>
                <a:gd name="connsiteY295" fmla="*/ 232279 h 1333436"/>
                <a:gd name="connsiteX296" fmla="*/ 125951 w 752994"/>
                <a:gd name="connsiteY296" fmla="*/ 217389 h 1333436"/>
                <a:gd name="connsiteX297" fmla="*/ 136156 w 752994"/>
                <a:gd name="connsiteY297" fmla="*/ 202925 h 1333436"/>
                <a:gd name="connsiteX298" fmla="*/ 138811 w 752994"/>
                <a:gd name="connsiteY298" fmla="*/ 183339 h 1333436"/>
                <a:gd name="connsiteX299" fmla="*/ 148801 w 752994"/>
                <a:gd name="connsiteY299" fmla="*/ 167445 h 1333436"/>
                <a:gd name="connsiteX300" fmla="*/ 159616 w 752994"/>
                <a:gd name="connsiteY300" fmla="*/ 170712 h 1333436"/>
                <a:gd name="connsiteX301" fmla="*/ 173105 w 752994"/>
                <a:gd name="connsiteY301" fmla="*/ 175188 h 1333436"/>
                <a:gd name="connsiteX302" fmla="*/ 175347 w 752994"/>
                <a:gd name="connsiteY302" fmla="*/ 175188 h 1333436"/>
                <a:gd name="connsiteX303" fmla="*/ 175347 w 752994"/>
                <a:gd name="connsiteY303" fmla="*/ 173758 h 1333436"/>
                <a:gd name="connsiteX304" fmla="*/ 184975 w 752994"/>
                <a:gd name="connsiteY304" fmla="*/ 187393 h 1333436"/>
                <a:gd name="connsiteX305" fmla="*/ 184762 w 752994"/>
                <a:gd name="connsiteY305" fmla="*/ 184637 h 1333436"/>
                <a:gd name="connsiteX306" fmla="*/ 174971 w 752994"/>
                <a:gd name="connsiteY306" fmla="*/ 170774 h 1333436"/>
                <a:gd name="connsiteX307" fmla="*/ 174971 w 752994"/>
                <a:gd name="connsiteY307" fmla="*/ 169550 h 1333436"/>
                <a:gd name="connsiteX308" fmla="*/ 158851 w 752994"/>
                <a:gd name="connsiteY308" fmla="*/ 156924 h 1333436"/>
                <a:gd name="connsiteX309" fmla="*/ 147025 w 752994"/>
                <a:gd name="connsiteY309" fmla="*/ 145709 h 1333436"/>
                <a:gd name="connsiteX310" fmla="*/ 154364 w 752994"/>
                <a:gd name="connsiteY310" fmla="*/ 136335 h 1333436"/>
                <a:gd name="connsiteX311" fmla="*/ 161511 w 752994"/>
                <a:gd name="connsiteY311" fmla="*/ 131042 h 1333436"/>
                <a:gd name="connsiteX312" fmla="*/ 160902 w 752994"/>
                <a:gd name="connsiteY312" fmla="*/ 128384 h 1333436"/>
                <a:gd name="connsiteX313" fmla="*/ 160277 w 752994"/>
                <a:gd name="connsiteY313" fmla="*/ 127778 h 1333436"/>
                <a:gd name="connsiteX314" fmla="*/ 154973 w 752994"/>
                <a:gd name="connsiteY314" fmla="*/ 122077 h 1333436"/>
                <a:gd name="connsiteX315" fmla="*/ 160277 w 752994"/>
                <a:gd name="connsiteY315" fmla="*/ 115140 h 1333436"/>
                <a:gd name="connsiteX316" fmla="*/ 165181 w 752994"/>
                <a:gd name="connsiteY316" fmla="*/ 108215 h 1333436"/>
                <a:gd name="connsiteX317" fmla="*/ 161303 w 752994"/>
                <a:gd name="connsiteY317" fmla="*/ 104146 h 1333436"/>
                <a:gd name="connsiteX318" fmla="*/ 157842 w 752994"/>
                <a:gd name="connsiteY318" fmla="*/ 104542 h 1333436"/>
                <a:gd name="connsiteX319" fmla="*/ 157024 w 752994"/>
                <a:gd name="connsiteY319" fmla="*/ 102304 h 1333436"/>
                <a:gd name="connsiteX320" fmla="*/ 160694 w 752994"/>
                <a:gd name="connsiteY320" fmla="*/ 55437 h 1333436"/>
                <a:gd name="connsiteX321" fmla="*/ 160486 w 752994"/>
                <a:gd name="connsiteY321" fmla="*/ 31991 h 1333436"/>
                <a:gd name="connsiteX322" fmla="*/ 164972 w 752994"/>
                <a:gd name="connsiteY322" fmla="*/ 18141 h 1333436"/>
                <a:gd name="connsiteX323" fmla="*/ 171911 w 752994"/>
                <a:gd name="connsiteY323" fmla="*/ 11204 h 1333436"/>
                <a:gd name="connsiteX324" fmla="*/ 187406 w 752994"/>
                <a:gd name="connsiteY324" fmla="*/ 21801 h 1333436"/>
                <a:gd name="connsiteX325" fmla="*/ 210866 w 752994"/>
                <a:gd name="connsiteY325" fmla="*/ 37086 h 1333436"/>
                <a:gd name="connsiteX326" fmla="*/ 219230 w 752994"/>
                <a:gd name="connsiteY326" fmla="*/ 41166 h 1333436"/>
                <a:gd name="connsiteX327" fmla="*/ 226778 w 752994"/>
                <a:gd name="connsiteY327" fmla="*/ 47486 h 1333436"/>
                <a:gd name="connsiteX328" fmla="*/ 236152 w 752994"/>
                <a:gd name="connsiteY328" fmla="*/ 52370 h 1333436"/>
                <a:gd name="connsiteX329" fmla="*/ 239629 w 752994"/>
                <a:gd name="connsiteY329" fmla="*/ 58491 h 1333436"/>
                <a:gd name="connsiteX330" fmla="*/ 239629 w 752994"/>
                <a:gd name="connsiteY330" fmla="*/ 63376 h 1333436"/>
                <a:gd name="connsiteX331" fmla="*/ 236568 w 752994"/>
                <a:gd name="connsiteY331" fmla="*/ 67457 h 1333436"/>
                <a:gd name="connsiteX332" fmla="*/ 231264 w 752994"/>
                <a:gd name="connsiteY332" fmla="*/ 69905 h 1333436"/>
                <a:gd name="connsiteX333" fmla="*/ 216778 w 752994"/>
                <a:gd name="connsiteY333" fmla="*/ 82741 h 1333436"/>
                <a:gd name="connsiteX334" fmla="*/ 214134 w 752994"/>
                <a:gd name="connsiteY334" fmla="*/ 93536 h 1333436"/>
                <a:gd name="connsiteX335" fmla="*/ 214535 w 752994"/>
                <a:gd name="connsiteY335" fmla="*/ 96801 h 1333436"/>
                <a:gd name="connsiteX336" fmla="*/ 216378 w 752994"/>
                <a:gd name="connsiteY336" fmla="*/ 96801 h 1333436"/>
                <a:gd name="connsiteX337" fmla="*/ 230046 w 752994"/>
                <a:gd name="connsiteY337" fmla="*/ 85387 h 1333436"/>
                <a:gd name="connsiteX338" fmla="*/ 243298 w 752994"/>
                <a:gd name="connsiteY338" fmla="*/ 75198 h 1333436"/>
                <a:gd name="connsiteX339" fmla="*/ 246760 w 752994"/>
                <a:gd name="connsiteY339" fmla="*/ 77646 h 1333436"/>
                <a:gd name="connsiteX340" fmla="*/ 255541 w 752994"/>
                <a:gd name="connsiteY340" fmla="*/ 63376 h 1333436"/>
                <a:gd name="connsiteX341" fmla="*/ 259611 w 752994"/>
                <a:gd name="connsiteY341" fmla="*/ 43405 h 1333436"/>
                <a:gd name="connsiteX342" fmla="*/ 256967 w 752994"/>
                <a:gd name="connsiteY342" fmla="*/ 38520 h 1333436"/>
                <a:gd name="connsiteX343" fmla="*/ 253906 w 752994"/>
                <a:gd name="connsiteY343" fmla="*/ 34242 h 1333436"/>
                <a:gd name="connsiteX344" fmla="*/ 256967 w 752994"/>
                <a:gd name="connsiteY344" fmla="*/ 30161 h 1333436"/>
                <a:gd name="connsiteX345" fmla="*/ 262063 w 752994"/>
                <a:gd name="connsiteY345" fmla="*/ 27712 h 1333436"/>
                <a:gd name="connsiteX346" fmla="*/ 264915 w 752994"/>
                <a:gd name="connsiteY346" fmla="*/ 23026 h 1333436"/>
                <a:gd name="connsiteX347" fmla="*/ 267976 w 752994"/>
                <a:gd name="connsiteY347" fmla="*/ 22618 h 1333436"/>
                <a:gd name="connsiteX348" fmla="*/ 270427 w 752994"/>
                <a:gd name="connsiteY348" fmla="*/ 20787 h 1333436"/>
                <a:gd name="connsiteX349" fmla="*/ 263088 w 752994"/>
                <a:gd name="connsiteY349" fmla="*/ 13652 h 1333436"/>
                <a:gd name="connsiteX350" fmla="*/ 255541 w 752994"/>
                <a:gd name="connsiteY350" fmla="*/ 3055 h 1333436"/>
                <a:gd name="connsiteX351" fmla="*/ 256358 w 752994"/>
                <a:gd name="connsiteY351" fmla="*/ 1224 h 1333436"/>
                <a:gd name="connsiteX352" fmla="*/ 257159 w 752994"/>
                <a:gd name="connsiteY352"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14145 w 752994"/>
                <a:gd name="connsiteY30" fmla="*/ 262450 h 1333436"/>
                <a:gd name="connsiteX31" fmla="*/ 445196 w 752994"/>
                <a:gd name="connsiteY31" fmla="*/ 269890 h 1333436"/>
                <a:gd name="connsiteX32" fmla="*/ 444145 w 752994"/>
                <a:gd name="connsiteY32" fmla="*/ 267441 h 1333436"/>
                <a:gd name="connsiteX33" fmla="*/ 444145 w 752994"/>
                <a:gd name="connsiteY33" fmla="*/ 267034 h 1333436"/>
                <a:gd name="connsiteX34" fmla="*/ 381379 w 752994"/>
                <a:gd name="connsiteY34" fmla="*/ 252303 h 1333436"/>
                <a:gd name="connsiteX35" fmla="*/ 380962 w 752994"/>
                <a:gd name="connsiteY35" fmla="*/ 251895 h 1333436"/>
                <a:gd name="connsiteX36" fmla="*/ 365258 w 752994"/>
                <a:gd name="connsiteY36" fmla="*/ 245774 h 1333436"/>
                <a:gd name="connsiteX37" fmla="*/ 355067 w 752994"/>
                <a:gd name="connsiteY37" fmla="*/ 241285 h 1333436"/>
                <a:gd name="connsiteX38" fmla="*/ 350789 w 752994"/>
                <a:gd name="connsiteY38" fmla="*/ 244352 h 1333436"/>
                <a:gd name="connsiteX39" fmla="*/ 340789 w 752994"/>
                <a:gd name="connsiteY39" fmla="*/ 243536 h 1333436"/>
                <a:gd name="connsiteX40" fmla="*/ 333034 w 752994"/>
                <a:gd name="connsiteY40" fmla="*/ 240271 h 1333436"/>
                <a:gd name="connsiteX41" fmla="*/ 323868 w 752994"/>
                <a:gd name="connsiteY41" fmla="*/ 241495 h 1333436"/>
                <a:gd name="connsiteX42" fmla="*/ 309783 w 752994"/>
                <a:gd name="connsiteY42" fmla="*/ 243536 h 1333436"/>
                <a:gd name="connsiteX43" fmla="*/ 297140 w 752994"/>
                <a:gd name="connsiteY43" fmla="*/ 245576 h 1333436"/>
                <a:gd name="connsiteX44" fmla="*/ 288775 w 752994"/>
                <a:gd name="connsiteY44" fmla="*/ 247406 h 1333436"/>
                <a:gd name="connsiteX45" fmla="*/ 280827 w 752994"/>
                <a:gd name="connsiteY45" fmla="*/ 242720 h 1333436"/>
                <a:gd name="connsiteX46" fmla="*/ 274497 w 752994"/>
                <a:gd name="connsiteY46" fmla="*/ 238441 h 1333436"/>
                <a:gd name="connsiteX47" fmla="*/ 269001 w 752994"/>
                <a:gd name="connsiteY47" fmla="*/ 240679 h 1333436"/>
                <a:gd name="connsiteX48" fmla="*/ 262880 w 752994"/>
                <a:gd name="connsiteY48" fmla="*/ 243128 h 1333436"/>
                <a:gd name="connsiteX49" fmla="*/ 260028 w 752994"/>
                <a:gd name="connsiteY49" fmla="*/ 242720 h 1333436"/>
                <a:gd name="connsiteX50" fmla="*/ 247994 w 752994"/>
                <a:gd name="connsiteY50" fmla="*/ 241693 h 1333436"/>
                <a:gd name="connsiteX51" fmla="*/ 242081 w 752994"/>
                <a:gd name="connsiteY51" fmla="*/ 234162 h 1333436"/>
                <a:gd name="connsiteX52" fmla="*/ 235142 w 752994"/>
                <a:gd name="connsiteY52" fmla="*/ 229476 h 1333436"/>
                <a:gd name="connsiteX53" fmla="*/ 224742 w 752994"/>
                <a:gd name="connsiteY53" fmla="*/ 226817 h 1333436"/>
                <a:gd name="connsiteX54" fmla="*/ 216778 w 752994"/>
                <a:gd name="connsiteY54" fmla="*/ 229068 h 1333436"/>
                <a:gd name="connsiteX55" fmla="*/ 202709 w 752994"/>
                <a:gd name="connsiteY55" fmla="*/ 230898 h 1333436"/>
                <a:gd name="connsiteX56" fmla="*/ 195162 w 752994"/>
                <a:gd name="connsiteY56" fmla="*/ 228857 h 1333436"/>
                <a:gd name="connsiteX57" fmla="*/ 188223 w 752994"/>
                <a:gd name="connsiteY57" fmla="*/ 223973 h 1333436"/>
                <a:gd name="connsiteX58" fmla="*/ 185163 w 752994"/>
                <a:gd name="connsiteY58" fmla="*/ 219484 h 1333436"/>
                <a:gd name="connsiteX59" fmla="*/ 184180 w 752994"/>
                <a:gd name="connsiteY59" fmla="*/ 213866 h 1333436"/>
                <a:gd name="connsiteX60" fmla="*/ 257159 w 752994"/>
                <a:gd name="connsiteY60" fmla="*/ 0 h 1333436"/>
                <a:gd name="connsiteX61" fmla="*/ 493147 w 752994"/>
                <a:gd name="connsiteY61" fmla="*/ 73157 h 1333436"/>
                <a:gd name="connsiteX62" fmla="*/ 492970 w 752994"/>
                <a:gd name="connsiteY62" fmla="*/ 73792 h 1333436"/>
                <a:gd name="connsiteX63" fmla="*/ 525816 w 752994"/>
                <a:gd name="connsiteY63" fmla="*/ 82491 h 1333436"/>
                <a:gd name="connsiteX64" fmla="*/ 520098 w 752994"/>
                <a:gd name="connsiteY64" fmla="*/ 111245 h 1333436"/>
                <a:gd name="connsiteX65" fmla="*/ 512552 w 752994"/>
                <a:gd name="connsiteY65" fmla="*/ 143854 h 1333436"/>
                <a:gd name="connsiteX66" fmla="*/ 517849 w 752994"/>
                <a:gd name="connsiteY66" fmla="*/ 157740 h 1333436"/>
                <a:gd name="connsiteX67" fmla="*/ 523160 w 752994"/>
                <a:gd name="connsiteY67" fmla="*/ 172009 h 1333436"/>
                <a:gd name="connsiteX68" fmla="*/ 521535 w 752994"/>
                <a:gd name="connsiteY68" fmla="*/ 178928 h 1333436"/>
                <a:gd name="connsiteX69" fmla="*/ 520098 w 752994"/>
                <a:gd name="connsiteY69" fmla="*/ 186279 h 1333436"/>
                <a:gd name="connsiteX70" fmla="*/ 526019 w 752994"/>
                <a:gd name="connsiteY70" fmla="*/ 193629 h 1333436"/>
                <a:gd name="connsiteX71" fmla="*/ 537251 w 752994"/>
                <a:gd name="connsiteY71" fmla="*/ 206270 h 1333436"/>
                <a:gd name="connsiteX72" fmla="*/ 542765 w 752994"/>
                <a:gd name="connsiteY72" fmla="*/ 217475 h 1333436"/>
                <a:gd name="connsiteX73" fmla="*/ 546857 w 752994"/>
                <a:gd name="connsiteY73" fmla="*/ 230930 h 1333436"/>
                <a:gd name="connsiteX74" fmla="*/ 549499 w 752994"/>
                <a:gd name="connsiteY74" fmla="*/ 235622 h 1333436"/>
                <a:gd name="connsiteX75" fmla="*/ 553388 w 752994"/>
                <a:gd name="connsiteY75" fmla="*/ 240722 h 1333436"/>
                <a:gd name="connsiteX76" fmla="*/ 557465 w 752994"/>
                <a:gd name="connsiteY76" fmla="*/ 246037 h 1333436"/>
                <a:gd name="connsiteX77" fmla="*/ 561761 w 752994"/>
                <a:gd name="connsiteY77" fmla="*/ 248671 h 1333436"/>
                <a:gd name="connsiteX78" fmla="*/ 567478 w 752994"/>
                <a:gd name="connsiteY78" fmla="*/ 247665 h 1333436"/>
                <a:gd name="connsiteX79" fmla="*/ 569931 w 752994"/>
                <a:gd name="connsiteY79" fmla="*/ 249293 h 1333436"/>
                <a:gd name="connsiteX80" fmla="*/ 570540 w 752994"/>
                <a:gd name="connsiteY80" fmla="*/ 251951 h 1333436"/>
                <a:gd name="connsiteX81" fmla="*/ 561964 w 752994"/>
                <a:gd name="connsiteY81" fmla="*/ 267656 h 1333436"/>
                <a:gd name="connsiteX82" fmla="*/ 553591 w 752994"/>
                <a:gd name="connsiteY82" fmla="*/ 289659 h 1333436"/>
                <a:gd name="connsiteX83" fmla="*/ 554810 w 752994"/>
                <a:gd name="connsiteY83" fmla="*/ 292939 h 1333436"/>
                <a:gd name="connsiteX84" fmla="*/ 556246 w 752994"/>
                <a:gd name="connsiteY84" fmla="*/ 299260 h 1333436"/>
                <a:gd name="connsiteX85" fmla="*/ 552778 w 752994"/>
                <a:gd name="connsiteY85" fmla="*/ 301917 h 1333436"/>
                <a:gd name="connsiteX86" fmla="*/ 549295 w 752994"/>
                <a:gd name="connsiteY86" fmla="*/ 306993 h 1333436"/>
                <a:gd name="connsiteX87" fmla="*/ 547061 w 752994"/>
                <a:gd name="connsiteY87" fmla="*/ 313122 h 1333436"/>
                <a:gd name="connsiteX88" fmla="*/ 544811 w 752994"/>
                <a:gd name="connsiteY88" fmla="*/ 316593 h 1333436"/>
                <a:gd name="connsiteX89" fmla="*/ 549919 w 752994"/>
                <a:gd name="connsiteY89" fmla="*/ 322698 h 1333436"/>
                <a:gd name="connsiteX90" fmla="*/ 553184 w 752994"/>
                <a:gd name="connsiteY90" fmla="*/ 325955 h 1333436"/>
                <a:gd name="connsiteX91" fmla="*/ 555840 w 752994"/>
                <a:gd name="connsiteY91" fmla="*/ 328205 h 1333436"/>
                <a:gd name="connsiteX92" fmla="*/ 574212 w 752994"/>
                <a:gd name="connsiteY92" fmla="*/ 318820 h 1333436"/>
                <a:gd name="connsiteX93" fmla="*/ 579523 w 752994"/>
                <a:gd name="connsiteY93" fmla="*/ 326577 h 1333436"/>
                <a:gd name="connsiteX94" fmla="*/ 580539 w 752994"/>
                <a:gd name="connsiteY94" fmla="*/ 334933 h 1333436"/>
                <a:gd name="connsiteX95" fmla="*/ 579726 w 752994"/>
                <a:gd name="connsiteY95" fmla="*/ 343097 h 1333436"/>
                <a:gd name="connsiteX96" fmla="*/ 581366 w 752994"/>
                <a:gd name="connsiteY96" fmla="*/ 350231 h 1333436"/>
                <a:gd name="connsiteX97" fmla="*/ 586256 w 752994"/>
                <a:gd name="connsiteY97" fmla="*/ 355930 h 1333436"/>
                <a:gd name="connsiteX98" fmla="*/ 589536 w 752994"/>
                <a:gd name="connsiteY98" fmla="*/ 362059 h 1333436"/>
                <a:gd name="connsiteX99" fmla="*/ 588099 w 752994"/>
                <a:gd name="connsiteY99" fmla="*/ 369600 h 1333436"/>
                <a:gd name="connsiteX100" fmla="*/ 586459 w 752994"/>
                <a:gd name="connsiteY100" fmla="*/ 377357 h 1333436"/>
                <a:gd name="connsiteX101" fmla="*/ 588709 w 752994"/>
                <a:gd name="connsiteY101" fmla="*/ 381835 h 1333436"/>
                <a:gd name="connsiteX102" fmla="*/ 595036 w 752994"/>
                <a:gd name="connsiteY102" fmla="*/ 382457 h 1333436"/>
                <a:gd name="connsiteX103" fmla="*/ 599331 w 752994"/>
                <a:gd name="connsiteY103" fmla="*/ 385306 h 1333436"/>
                <a:gd name="connsiteX104" fmla="*/ 601987 w 752994"/>
                <a:gd name="connsiteY104" fmla="*/ 391004 h 1333436"/>
                <a:gd name="connsiteX105" fmla="*/ 602799 w 752994"/>
                <a:gd name="connsiteY105" fmla="*/ 404076 h 1333436"/>
                <a:gd name="connsiteX106" fmla="*/ 606892 w 752994"/>
                <a:gd name="connsiteY106" fmla="*/ 415688 h 1333436"/>
                <a:gd name="connsiteX107" fmla="*/ 610563 w 752994"/>
                <a:gd name="connsiteY107" fmla="*/ 412217 h 1333436"/>
                <a:gd name="connsiteX108" fmla="*/ 617920 w 752994"/>
                <a:gd name="connsiteY108" fmla="*/ 408769 h 1333436"/>
                <a:gd name="connsiteX109" fmla="*/ 624654 w 752994"/>
                <a:gd name="connsiteY109" fmla="*/ 411211 h 1333436"/>
                <a:gd name="connsiteX110" fmla="*/ 634652 w 752994"/>
                <a:gd name="connsiteY110" fmla="*/ 410182 h 1333436"/>
                <a:gd name="connsiteX111" fmla="*/ 640573 w 752994"/>
                <a:gd name="connsiteY111" fmla="*/ 407739 h 1333436"/>
                <a:gd name="connsiteX112" fmla="*/ 646711 w 752994"/>
                <a:gd name="connsiteY112" fmla="*/ 410589 h 1333436"/>
                <a:gd name="connsiteX113" fmla="*/ 650383 w 752994"/>
                <a:gd name="connsiteY113" fmla="*/ 410589 h 1333436"/>
                <a:gd name="connsiteX114" fmla="*/ 654257 w 752994"/>
                <a:gd name="connsiteY114" fmla="*/ 411618 h 1333436"/>
                <a:gd name="connsiteX115" fmla="*/ 656913 w 752994"/>
                <a:gd name="connsiteY115" fmla="*/ 413653 h 1333436"/>
                <a:gd name="connsiteX116" fmla="*/ 660802 w 752994"/>
                <a:gd name="connsiteY116" fmla="*/ 415090 h 1333436"/>
                <a:gd name="connsiteX117" fmla="*/ 669581 w 752994"/>
                <a:gd name="connsiteY117" fmla="*/ 415904 h 1333436"/>
                <a:gd name="connsiteX118" fmla="*/ 672237 w 752994"/>
                <a:gd name="connsiteY118" fmla="*/ 415688 h 1333436"/>
                <a:gd name="connsiteX119" fmla="*/ 675705 w 752994"/>
                <a:gd name="connsiteY119" fmla="*/ 409367 h 1333436"/>
                <a:gd name="connsiteX120" fmla="*/ 679986 w 752994"/>
                <a:gd name="connsiteY120" fmla="*/ 403238 h 1333436"/>
                <a:gd name="connsiteX121" fmla="*/ 693264 w 752994"/>
                <a:gd name="connsiteY121" fmla="*/ 419567 h 1333436"/>
                <a:gd name="connsiteX122" fmla="*/ 688563 w 752994"/>
                <a:gd name="connsiteY122" fmla="*/ 448321 h 1333436"/>
                <a:gd name="connsiteX123" fmla="*/ 663949 w 752994"/>
                <a:gd name="connsiteY123" fmla="*/ 590165 h 1333436"/>
                <a:gd name="connsiteX124" fmla="*/ 666304 w 752994"/>
                <a:gd name="connsiteY124" fmla="*/ 590504 h 1333436"/>
                <a:gd name="connsiteX125" fmla="*/ 655288 w 752994"/>
                <a:gd name="connsiteY125" fmla="*/ 656178 h 1333436"/>
                <a:gd name="connsiteX126" fmla="*/ 681808 w 752994"/>
                <a:gd name="connsiteY126" fmla="*/ 662301 h 1333436"/>
                <a:gd name="connsiteX127" fmla="*/ 752994 w 752994"/>
                <a:gd name="connsiteY127" fmla="*/ 675560 h 1333436"/>
                <a:gd name="connsiteX128" fmla="*/ 714651 w 752994"/>
                <a:gd name="connsiteY128" fmla="*/ 946985 h 1333436"/>
                <a:gd name="connsiteX129" fmla="*/ 654533 w 752994"/>
                <a:gd name="connsiteY129" fmla="*/ 1333436 h 1333436"/>
                <a:gd name="connsiteX130" fmla="*/ 546831 w 752994"/>
                <a:gd name="connsiteY130" fmla="*/ 1317126 h 1333436"/>
                <a:gd name="connsiteX131" fmla="*/ 351227 w 752994"/>
                <a:gd name="connsiteY131" fmla="*/ 1194172 h 1333436"/>
                <a:gd name="connsiteX132" fmla="*/ 361011 w 752994"/>
                <a:gd name="connsiteY132" fmla="*/ 1182755 h 1333436"/>
                <a:gd name="connsiteX133" fmla="*/ 368981 w 752994"/>
                <a:gd name="connsiteY133" fmla="*/ 1182130 h 1333436"/>
                <a:gd name="connsiteX134" fmla="*/ 369571 w 752994"/>
                <a:gd name="connsiteY134" fmla="*/ 1181558 h 1333436"/>
                <a:gd name="connsiteX135" fmla="*/ 362372 w 752994"/>
                <a:gd name="connsiteY135" fmla="*/ 1182120 h 1333436"/>
                <a:gd name="connsiteX136" fmla="*/ 229464 w 752994"/>
                <a:gd name="connsiteY136" fmla="*/ 1161721 h 1333436"/>
                <a:gd name="connsiteX137" fmla="*/ 227427 w 752994"/>
                <a:gd name="connsiteY137" fmla="*/ 1157269 h 1333436"/>
                <a:gd name="connsiteX138" fmla="*/ 224967 w 752994"/>
                <a:gd name="connsiteY138" fmla="*/ 1152575 h 1333436"/>
                <a:gd name="connsiteX139" fmla="*/ 225582 w 752994"/>
                <a:gd name="connsiteY139" fmla="*/ 1144808 h 1333436"/>
                <a:gd name="connsiteX140" fmla="*/ 227215 w 752994"/>
                <a:gd name="connsiteY140" fmla="*/ 1135834 h 1333436"/>
                <a:gd name="connsiteX141" fmla="*/ 227215 w 752994"/>
                <a:gd name="connsiteY141" fmla="*/ 1134212 h 1333436"/>
                <a:gd name="connsiteX142" fmla="*/ 225179 w 752994"/>
                <a:gd name="connsiteY142" fmla="*/ 1114020 h 1333436"/>
                <a:gd name="connsiteX143" fmla="*/ 217839 w 752994"/>
                <a:gd name="connsiteY143" fmla="*/ 1100352 h 1333436"/>
                <a:gd name="connsiteX144" fmla="*/ 199661 w 752994"/>
                <a:gd name="connsiteY144" fmla="*/ 1076502 h 1333436"/>
                <a:gd name="connsiteX145" fmla="*/ 196395 w 752994"/>
                <a:gd name="connsiteY145" fmla="*/ 1071807 h 1333436"/>
                <a:gd name="connsiteX146" fmla="*/ 190880 w 752994"/>
                <a:gd name="connsiteY146" fmla="*/ 1067527 h 1333436"/>
                <a:gd name="connsiteX147" fmla="*/ 187210 w 752994"/>
                <a:gd name="connsiteY147" fmla="*/ 1068735 h 1333436"/>
                <a:gd name="connsiteX148" fmla="*/ 180062 w 752994"/>
                <a:gd name="connsiteY148" fmla="*/ 1066699 h 1333436"/>
                <a:gd name="connsiteX149" fmla="*/ 180466 w 752994"/>
                <a:gd name="connsiteY149" fmla="*/ 1053031 h 1333436"/>
                <a:gd name="connsiteX150" fmla="*/ 180062 w 752994"/>
                <a:gd name="connsiteY150" fmla="*/ 1045299 h 1333436"/>
                <a:gd name="connsiteX151" fmla="*/ 174144 w 752994"/>
                <a:gd name="connsiteY151" fmla="*/ 1044057 h 1333436"/>
                <a:gd name="connsiteX152" fmla="*/ 158426 w 752994"/>
                <a:gd name="connsiteY152" fmla="*/ 1042641 h 1333436"/>
                <a:gd name="connsiteX153" fmla="*/ 149857 w 752994"/>
                <a:gd name="connsiteY153" fmla="*/ 1035497 h 1333436"/>
                <a:gd name="connsiteX154" fmla="*/ 142497 w 752994"/>
                <a:gd name="connsiteY154" fmla="*/ 1028766 h 1333436"/>
                <a:gd name="connsiteX155" fmla="*/ 140864 w 752994"/>
                <a:gd name="connsiteY155" fmla="*/ 1020620 h 1333436"/>
                <a:gd name="connsiteX156" fmla="*/ 138212 w 752994"/>
                <a:gd name="connsiteY156" fmla="*/ 1013061 h 1333436"/>
                <a:gd name="connsiteX157" fmla="*/ 131064 w 752994"/>
                <a:gd name="connsiteY157" fmla="*/ 1007159 h 1333436"/>
                <a:gd name="connsiteX158" fmla="*/ 121264 w 752994"/>
                <a:gd name="connsiteY158" fmla="*/ 1005330 h 1333436"/>
                <a:gd name="connsiteX159" fmla="*/ 112483 w 752994"/>
                <a:gd name="connsiteY159" fmla="*/ 1001671 h 1333436"/>
                <a:gd name="connsiteX160" fmla="*/ 105950 w 752994"/>
                <a:gd name="connsiteY160" fmla="*/ 995734 h 1333436"/>
                <a:gd name="connsiteX161" fmla="*/ 97380 w 752994"/>
                <a:gd name="connsiteY161" fmla="*/ 994526 h 1333436"/>
                <a:gd name="connsiteX162" fmla="*/ 87984 w 752994"/>
                <a:gd name="connsiteY162" fmla="*/ 991040 h 1333436"/>
                <a:gd name="connsiteX163" fmla="*/ 80029 w 752994"/>
                <a:gd name="connsiteY163" fmla="*/ 985138 h 1333436"/>
                <a:gd name="connsiteX164" fmla="*/ 77166 w 752994"/>
                <a:gd name="connsiteY164" fmla="*/ 976164 h 1333436"/>
                <a:gd name="connsiteX165" fmla="*/ 79203 w 752994"/>
                <a:gd name="connsiteY165" fmla="*/ 970676 h 1333436"/>
                <a:gd name="connsiteX166" fmla="*/ 82470 w 752994"/>
                <a:gd name="connsiteY166" fmla="*/ 963117 h 1333436"/>
                <a:gd name="connsiteX167" fmla="*/ 84314 w 752994"/>
                <a:gd name="connsiteY167" fmla="*/ 954557 h 1333436"/>
                <a:gd name="connsiteX168" fmla="*/ 86351 w 752994"/>
                <a:gd name="connsiteY168" fmla="*/ 948033 h 1333436"/>
                <a:gd name="connsiteX169" fmla="*/ 86159 w 752994"/>
                <a:gd name="connsiteY169" fmla="*/ 942925 h 1333436"/>
                <a:gd name="connsiteX170" fmla="*/ 83085 w 752994"/>
                <a:gd name="connsiteY170" fmla="*/ 939853 h 1333436"/>
                <a:gd name="connsiteX171" fmla="*/ 77570 w 752994"/>
                <a:gd name="connsiteY171" fmla="*/ 937437 h 1333436"/>
                <a:gd name="connsiteX172" fmla="*/ 76763 w 752994"/>
                <a:gd name="connsiteY172" fmla="*/ 931915 h 1333436"/>
                <a:gd name="connsiteX173" fmla="*/ 78800 w 752994"/>
                <a:gd name="connsiteY173" fmla="*/ 927013 h 1333436"/>
                <a:gd name="connsiteX174" fmla="*/ 79626 w 752994"/>
                <a:gd name="connsiteY174" fmla="*/ 922526 h 1333436"/>
                <a:gd name="connsiteX175" fmla="*/ 77781 w 752994"/>
                <a:gd name="connsiteY175" fmla="*/ 919903 h 1333436"/>
                <a:gd name="connsiteX176" fmla="*/ 74303 w 752994"/>
                <a:gd name="connsiteY176" fmla="*/ 917418 h 1333436"/>
                <a:gd name="connsiteX177" fmla="*/ 71863 w 752994"/>
                <a:gd name="connsiteY177" fmla="*/ 915174 h 1333436"/>
                <a:gd name="connsiteX178" fmla="*/ 71652 w 752994"/>
                <a:gd name="connsiteY178" fmla="*/ 910894 h 1333436"/>
                <a:gd name="connsiteX179" fmla="*/ 70633 w 752994"/>
                <a:gd name="connsiteY179" fmla="*/ 906614 h 1333436"/>
                <a:gd name="connsiteX180" fmla="*/ 68385 w 752994"/>
                <a:gd name="connsiteY180" fmla="*/ 902749 h 1333436"/>
                <a:gd name="connsiteX181" fmla="*/ 61045 w 752994"/>
                <a:gd name="connsiteY181" fmla="*/ 889494 h 1333436"/>
                <a:gd name="connsiteX182" fmla="*/ 57971 w 752994"/>
                <a:gd name="connsiteY182" fmla="*/ 875619 h 1333436"/>
                <a:gd name="connsiteX183" fmla="*/ 52264 w 752994"/>
                <a:gd name="connsiteY183" fmla="*/ 862572 h 1333436"/>
                <a:gd name="connsiteX184" fmla="*/ 44309 w 752994"/>
                <a:gd name="connsiteY184" fmla="*/ 850561 h 1333436"/>
                <a:gd name="connsiteX185" fmla="*/ 45520 w 752994"/>
                <a:gd name="connsiteY185" fmla="*/ 827090 h 1333436"/>
                <a:gd name="connsiteX186" fmla="*/ 53071 w 752994"/>
                <a:gd name="connsiteY186" fmla="*/ 822396 h 1333436"/>
                <a:gd name="connsiteX187" fmla="*/ 57375 w 752994"/>
                <a:gd name="connsiteY187" fmla="*/ 816493 h 1333436"/>
                <a:gd name="connsiteX188" fmla="*/ 55319 w 752994"/>
                <a:gd name="connsiteY188" fmla="*/ 801617 h 1333436"/>
                <a:gd name="connsiteX189" fmla="*/ 48383 w 752994"/>
                <a:gd name="connsiteY189" fmla="*/ 802204 h 1333436"/>
                <a:gd name="connsiteX190" fmla="*/ 40428 w 752994"/>
                <a:gd name="connsiteY190" fmla="*/ 797924 h 1333436"/>
                <a:gd name="connsiteX191" fmla="*/ 37565 w 752994"/>
                <a:gd name="connsiteY191" fmla="*/ 790606 h 1333436"/>
                <a:gd name="connsiteX192" fmla="*/ 37565 w 752994"/>
                <a:gd name="connsiteY192" fmla="*/ 790399 h 1333436"/>
                <a:gd name="connsiteX193" fmla="*/ 35931 w 752994"/>
                <a:gd name="connsiteY193" fmla="*/ 785912 h 1333436"/>
                <a:gd name="connsiteX194" fmla="*/ 34510 w 752994"/>
                <a:gd name="connsiteY194" fmla="*/ 780597 h 1333436"/>
                <a:gd name="connsiteX195" fmla="*/ 36335 w 752994"/>
                <a:gd name="connsiteY195" fmla="*/ 774280 h 1333436"/>
                <a:gd name="connsiteX196" fmla="*/ 38180 w 752994"/>
                <a:gd name="connsiteY196" fmla="*/ 766721 h 1333436"/>
                <a:gd name="connsiteX197" fmla="*/ 37161 w 752994"/>
                <a:gd name="connsiteY197" fmla="*/ 760405 h 1333436"/>
                <a:gd name="connsiteX198" fmla="*/ 35720 w 752994"/>
                <a:gd name="connsiteY198" fmla="*/ 754710 h 1333436"/>
                <a:gd name="connsiteX199" fmla="*/ 36546 w 752994"/>
                <a:gd name="connsiteY199" fmla="*/ 748773 h 1333436"/>
                <a:gd name="connsiteX200" fmla="*/ 38372 w 752994"/>
                <a:gd name="connsiteY200" fmla="*/ 744528 h 1333436"/>
                <a:gd name="connsiteX201" fmla="*/ 41638 w 752994"/>
                <a:gd name="connsiteY201" fmla="*/ 744321 h 1333436"/>
                <a:gd name="connsiteX202" fmla="*/ 44713 w 752994"/>
                <a:gd name="connsiteY202" fmla="*/ 746357 h 1333436"/>
                <a:gd name="connsiteX203" fmla="*/ 47364 w 752994"/>
                <a:gd name="connsiteY203" fmla="*/ 753260 h 1333436"/>
                <a:gd name="connsiteX204" fmla="*/ 55742 w 752994"/>
                <a:gd name="connsiteY204" fmla="*/ 764305 h 1333436"/>
                <a:gd name="connsiteX205" fmla="*/ 56338 w 752994"/>
                <a:gd name="connsiteY205" fmla="*/ 761233 h 1333436"/>
                <a:gd name="connsiteX206" fmla="*/ 56145 w 752994"/>
                <a:gd name="connsiteY206" fmla="*/ 757368 h 1333436"/>
                <a:gd name="connsiteX207" fmla="*/ 54916 w 752994"/>
                <a:gd name="connsiteY207" fmla="*/ 748601 h 1333436"/>
                <a:gd name="connsiteX208" fmla="*/ 52879 w 752994"/>
                <a:gd name="connsiteY208" fmla="*/ 747358 h 1333436"/>
                <a:gd name="connsiteX209" fmla="*/ 51649 w 752994"/>
                <a:gd name="connsiteY209" fmla="*/ 745322 h 1333436"/>
                <a:gd name="connsiteX210" fmla="*/ 51649 w 752994"/>
                <a:gd name="connsiteY210" fmla="*/ 739212 h 1333436"/>
                <a:gd name="connsiteX211" fmla="*/ 50227 w 752994"/>
                <a:gd name="connsiteY211" fmla="*/ 734725 h 1333436"/>
                <a:gd name="connsiteX212" fmla="*/ 48786 w 752994"/>
                <a:gd name="connsiteY212" fmla="*/ 731446 h 1333436"/>
                <a:gd name="connsiteX213" fmla="*/ 54512 w 752994"/>
                <a:gd name="connsiteY213" fmla="*/ 726372 h 1333436"/>
                <a:gd name="connsiteX214" fmla="*/ 59815 w 752994"/>
                <a:gd name="connsiteY214" fmla="*/ 725130 h 1333436"/>
                <a:gd name="connsiteX215" fmla="*/ 58182 w 752994"/>
                <a:gd name="connsiteY215" fmla="*/ 722886 h 1333436"/>
                <a:gd name="connsiteX216" fmla="*/ 51861 w 752994"/>
                <a:gd name="connsiteY216" fmla="*/ 717985 h 1333436"/>
                <a:gd name="connsiteX217" fmla="*/ 46749 w 752994"/>
                <a:gd name="connsiteY217" fmla="*/ 729617 h 1333436"/>
                <a:gd name="connsiteX218" fmla="*/ 40831 w 752994"/>
                <a:gd name="connsiteY218" fmla="*/ 739212 h 1333436"/>
                <a:gd name="connsiteX219" fmla="*/ 39601 w 752994"/>
                <a:gd name="connsiteY219" fmla="*/ 738798 h 1333436"/>
                <a:gd name="connsiteX220" fmla="*/ 39409 w 752994"/>
                <a:gd name="connsiteY220" fmla="*/ 738591 h 1333436"/>
                <a:gd name="connsiteX221" fmla="*/ 37161 w 752994"/>
                <a:gd name="connsiteY221" fmla="*/ 734725 h 1333436"/>
                <a:gd name="connsiteX222" fmla="*/ 32665 w 752994"/>
                <a:gd name="connsiteY222" fmla="*/ 727788 h 1333436"/>
                <a:gd name="connsiteX223" fmla="*/ 26747 w 752994"/>
                <a:gd name="connsiteY223" fmla="*/ 719435 h 1333436"/>
                <a:gd name="connsiteX224" fmla="*/ 23884 w 752994"/>
                <a:gd name="connsiteY224" fmla="*/ 717812 h 1333436"/>
                <a:gd name="connsiteX225" fmla="*/ 24710 w 752994"/>
                <a:gd name="connsiteY225" fmla="*/ 709632 h 1333436"/>
                <a:gd name="connsiteX226" fmla="*/ 27554 w 752994"/>
                <a:gd name="connsiteY226" fmla="*/ 701694 h 1333436"/>
                <a:gd name="connsiteX227" fmla="*/ 24902 w 752994"/>
                <a:gd name="connsiteY227" fmla="*/ 696171 h 1333436"/>
                <a:gd name="connsiteX228" fmla="*/ 24095 w 752994"/>
                <a:gd name="connsiteY228" fmla="*/ 687818 h 1333436"/>
                <a:gd name="connsiteX229" fmla="*/ 22462 w 752994"/>
                <a:gd name="connsiteY229" fmla="*/ 682330 h 1333436"/>
                <a:gd name="connsiteX230" fmla="*/ 17159 w 752994"/>
                <a:gd name="connsiteY230" fmla="*/ 677636 h 1333436"/>
                <a:gd name="connsiteX231" fmla="*/ 14296 w 752994"/>
                <a:gd name="connsiteY231" fmla="*/ 671492 h 1333436"/>
                <a:gd name="connsiteX232" fmla="*/ 12451 w 752994"/>
                <a:gd name="connsiteY232" fmla="*/ 665797 h 1333436"/>
                <a:gd name="connsiteX233" fmla="*/ 5111 w 752994"/>
                <a:gd name="connsiteY233" fmla="*/ 654994 h 1333436"/>
                <a:gd name="connsiteX234" fmla="*/ 2248 w 752994"/>
                <a:gd name="connsiteY234" fmla="*/ 645605 h 1333436"/>
                <a:gd name="connsiteX235" fmla="*/ 4496 w 752994"/>
                <a:gd name="connsiteY235" fmla="*/ 640497 h 1333436"/>
                <a:gd name="connsiteX236" fmla="*/ 6744 w 752994"/>
                <a:gd name="connsiteY236" fmla="*/ 632765 h 1333436"/>
                <a:gd name="connsiteX237" fmla="*/ 6744 w 752994"/>
                <a:gd name="connsiteY237" fmla="*/ 628485 h 1333436"/>
                <a:gd name="connsiteX238" fmla="*/ 6533 w 752994"/>
                <a:gd name="connsiteY238" fmla="*/ 620305 h 1333436"/>
                <a:gd name="connsiteX239" fmla="*/ 7359 w 752994"/>
                <a:gd name="connsiteY239" fmla="*/ 611745 h 1333436"/>
                <a:gd name="connsiteX240" fmla="*/ 11836 w 752994"/>
                <a:gd name="connsiteY240" fmla="*/ 602978 h 1333436"/>
                <a:gd name="connsiteX241" fmla="*/ 15103 w 752994"/>
                <a:gd name="connsiteY241" fmla="*/ 591760 h 1333436"/>
                <a:gd name="connsiteX242" fmla="*/ 14488 w 752994"/>
                <a:gd name="connsiteY242" fmla="*/ 584029 h 1333436"/>
                <a:gd name="connsiteX243" fmla="*/ 13873 w 752994"/>
                <a:gd name="connsiteY243" fmla="*/ 578299 h 1333436"/>
                <a:gd name="connsiteX244" fmla="*/ 10626 w 752994"/>
                <a:gd name="connsiteY244" fmla="*/ 568531 h 1333436"/>
                <a:gd name="connsiteX245" fmla="*/ 3670 w 752994"/>
                <a:gd name="connsiteY245" fmla="*/ 558107 h 1333436"/>
                <a:gd name="connsiteX246" fmla="*/ 0 w 752994"/>
                <a:gd name="connsiteY246" fmla="*/ 551377 h 1333436"/>
                <a:gd name="connsiteX247" fmla="*/ 0 w 752994"/>
                <a:gd name="connsiteY247" fmla="*/ 550997 h 1333436"/>
                <a:gd name="connsiteX248" fmla="*/ 4900 w 752994"/>
                <a:gd name="connsiteY248" fmla="*/ 531220 h 1333436"/>
                <a:gd name="connsiteX249" fmla="*/ 13873 w 752994"/>
                <a:gd name="connsiteY249" fmla="*/ 520589 h 1333436"/>
                <a:gd name="connsiteX250" fmla="*/ 18369 w 752994"/>
                <a:gd name="connsiteY250" fmla="*/ 516516 h 1333436"/>
                <a:gd name="connsiteX251" fmla="*/ 18773 w 752994"/>
                <a:gd name="connsiteY251" fmla="*/ 514272 h 1333436"/>
                <a:gd name="connsiteX252" fmla="*/ 23077 w 752994"/>
                <a:gd name="connsiteY252" fmla="*/ 506127 h 1333436"/>
                <a:gd name="connsiteX253" fmla="*/ 23884 w 752994"/>
                <a:gd name="connsiteY253" fmla="*/ 502261 h 1333436"/>
                <a:gd name="connsiteX254" fmla="*/ 23692 w 752994"/>
                <a:gd name="connsiteY254" fmla="*/ 496738 h 1333436"/>
                <a:gd name="connsiteX255" fmla="*/ 30013 w 752994"/>
                <a:gd name="connsiteY255" fmla="*/ 486556 h 1333436"/>
                <a:gd name="connsiteX256" fmla="*/ 36546 w 752994"/>
                <a:gd name="connsiteY256" fmla="*/ 470230 h 1333436"/>
                <a:gd name="connsiteX257" fmla="*/ 36546 w 752994"/>
                <a:gd name="connsiteY257" fmla="*/ 462671 h 1333436"/>
                <a:gd name="connsiteX258" fmla="*/ 36335 w 752994"/>
                <a:gd name="connsiteY258" fmla="*/ 461670 h 1333436"/>
                <a:gd name="connsiteX259" fmla="*/ 35931 w 752994"/>
                <a:gd name="connsiteY259" fmla="*/ 453110 h 1333436"/>
                <a:gd name="connsiteX260" fmla="*/ 38583 w 752994"/>
                <a:gd name="connsiteY260" fmla="*/ 442514 h 1333436"/>
                <a:gd name="connsiteX261" fmla="*/ 41043 w 752994"/>
                <a:gd name="connsiteY261" fmla="*/ 436991 h 1333436"/>
                <a:gd name="connsiteX262" fmla="*/ 41650 w 752994"/>
                <a:gd name="connsiteY262" fmla="*/ 437186 h 1333436"/>
                <a:gd name="connsiteX263" fmla="*/ 41239 w 752994"/>
                <a:gd name="connsiteY263" fmla="*/ 436549 h 1333436"/>
                <a:gd name="connsiteX264" fmla="*/ 37778 w 752994"/>
                <a:gd name="connsiteY264" fmla="*/ 433894 h 1333436"/>
                <a:gd name="connsiteX265" fmla="*/ 37169 w 752994"/>
                <a:gd name="connsiteY265" fmla="*/ 432261 h 1333436"/>
                <a:gd name="connsiteX266" fmla="*/ 37365 w 752994"/>
                <a:gd name="connsiteY266" fmla="*/ 429198 h 1333436"/>
                <a:gd name="connsiteX267" fmla="*/ 36756 w 752994"/>
                <a:gd name="connsiteY267" fmla="*/ 422272 h 1333436"/>
                <a:gd name="connsiteX268" fmla="*/ 36952 w 752994"/>
                <a:gd name="connsiteY268" fmla="*/ 418800 h 1333436"/>
                <a:gd name="connsiteX269" fmla="*/ 36756 w 752994"/>
                <a:gd name="connsiteY269" fmla="*/ 412487 h 1333436"/>
                <a:gd name="connsiteX270" fmla="*/ 40433 w 752994"/>
                <a:gd name="connsiteY270" fmla="*/ 406174 h 1333436"/>
                <a:gd name="connsiteX271" fmla="*/ 44720 w 752994"/>
                <a:gd name="connsiteY271" fmla="*/ 399435 h 1333436"/>
                <a:gd name="connsiteX272" fmla="*/ 44110 w 752994"/>
                <a:gd name="connsiteY272" fmla="*/ 389651 h 1333436"/>
                <a:gd name="connsiteX273" fmla="*/ 43894 w 752994"/>
                <a:gd name="connsiteY273" fmla="*/ 378437 h 1333436"/>
                <a:gd name="connsiteX274" fmla="*/ 47158 w 752994"/>
                <a:gd name="connsiteY274" fmla="*/ 371102 h 1333436"/>
                <a:gd name="connsiteX275" fmla="*/ 55731 w 752994"/>
                <a:gd name="connsiteY275" fmla="*/ 360909 h 1333436"/>
                <a:gd name="connsiteX276" fmla="*/ 57580 w 752994"/>
                <a:gd name="connsiteY276" fmla="*/ 355804 h 1333436"/>
                <a:gd name="connsiteX277" fmla="*/ 62673 w 752994"/>
                <a:gd name="connsiteY277" fmla="*/ 349695 h 1333436"/>
                <a:gd name="connsiteX278" fmla="*/ 65937 w 752994"/>
                <a:gd name="connsiteY278" fmla="*/ 348470 h 1333436"/>
                <a:gd name="connsiteX279" fmla="*/ 68395 w 752994"/>
                <a:gd name="connsiteY279" fmla="*/ 348674 h 1333436"/>
                <a:gd name="connsiteX280" fmla="*/ 70224 w 752994"/>
                <a:gd name="connsiteY280" fmla="*/ 347449 h 1333436"/>
                <a:gd name="connsiteX281" fmla="*/ 67785 w 752994"/>
                <a:gd name="connsiteY281" fmla="*/ 345203 h 1333436"/>
                <a:gd name="connsiteX282" fmla="*/ 65524 w 752994"/>
                <a:gd name="connsiteY282" fmla="*/ 343178 h 1333436"/>
                <a:gd name="connsiteX283" fmla="*/ 73095 w 752994"/>
                <a:gd name="connsiteY283" fmla="*/ 333376 h 1333436"/>
                <a:gd name="connsiteX284" fmla="*/ 73291 w 752994"/>
                <a:gd name="connsiteY284" fmla="*/ 333376 h 1333436"/>
                <a:gd name="connsiteX285" fmla="*/ 77991 w 752994"/>
                <a:gd name="connsiteY285" fmla="*/ 325838 h 1333436"/>
                <a:gd name="connsiteX286" fmla="*/ 82671 w 752994"/>
                <a:gd name="connsiteY286" fmla="*/ 313619 h 1333436"/>
                <a:gd name="connsiteX287" fmla="*/ 87980 w 752994"/>
                <a:gd name="connsiteY287" fmla="*/ 303018 h 1333436"/>
                <a:gd name="connsiteX288" fmla="*/ 92267 w 752994"/>
                <a:gd name="connsiteY288" fmla="*/ 291191 h 1333436"/>
                <a:gd name="connsiteX289" fmla="*/ 96553 w 752994"/>
                <a:gd name="connsiteY289" fmla="*/ 281202 h 1333436"/>
                <a:gd name="connsiteX290" fmla="*/ 99621 w 752994"/>
                <a:gd name="connsiteY290" fmla="*/ 274481 h 1333436"/>
                <a:gd name="connsiteX291" fmla="*/ 103082 w 752994"/>
                <a:gd name="connsiteY291" fmla="*/ 262450 h 1333436"/>
                <a:gd name="connsiteX292" fmla="*/ 107172 w 752994"/>
                <a:gd name="connsiteY292" fmla="*/ 254299 h 1333436"/>
                <a:gd name="connsiteX293" fmla="*/ 112481 w 752994"/>
                <a:gd name="connsiteY293" fmla="*/ 243697 h 1333436"/>
                <a:gd name="connsiteX294" fmla="*/ 117181 w 752994"/>
                <a:gd name="connsiteY294" fmla="*/ 232279 h 1333436"/>
                <a:gd name="connsiteX295" fmla="*/ 125951 w 752994"/>
                <a:gd name="connsiteY295" fmla="*/ 217389 h 1333436"/>
                <a:gd name="connsiteX296" fmla="*/ 136156 w 752994"/>
                <a:gd name="connsiteY296" fmla="*/ 202925 h 1333436"/>
                <a:gd name="connsiteX297" fmla="*/ 138811 w 752994"/>
                <a:gd name="connsiteY297" fmla="*/ 183339 h 1333436"/>
                <a:gd name="connsiteX298" fmla="*/ 148801 w 752994"/>
                <a:gd name="connsiteY298" fmla="*/ 167445 h 1333436"/>
                <a:gd name="connsiteX299" fmla="*/ 159616 w 752994"/>
                <a:gd name="connsiteY299" fmla="*/ 170712 h 1333436"/>
                <a:gd name="connsiteX300" fmla="*/ 173105 w 752994"/>
                <a:gd name="connsiteY300" fmla="*/ 175188 h 1333436"/>
                <a:gd name="connsiteX301" fmla="*/ 175347 w 752994"/>
                <a:gd name="connsiteY301" fmla="*/ 175188 h 1333436"/>
                <a:gd name="connsiteX302" fmla="*/ 175347 w 752994"/>
                <a:gd name="connsiteY302" fmla="*/ 173758 h 1333436"/>
                <a:gd name="connsiteX303" fmla="*/ 184975 w 752994"/>
                <a:gd name="connsiteY303" fmla="*/ 187393 h 1333436"/>
                <a:gd name="connsiteX304" fmla="*/ 184762 w 752994"/>
                <a:gd name="connsiteY304" fmla="*/ 184637 h 1333436"/>
                <a:gd name="connsiteX305" fmla="*/ 174971 w 752994"/>
                <a:gd name="connsiteY305" fmla="*/ 170774 h 1333436"/>
                <a:gd name="connsiteX306" fmla="*/ 174971 w 752994"/>
                <a:gd name="connsiteY306" fmla="*/ 169550 h 1333436"/>
                <a:gd name="connsiteX307" fmla="*/ 158851 w 752994"/>
                <a:gd name="connsiteY307" fmla="*/ 156924 h 1333436"/>
                <a:gd name="connsiteX308" fmla="*/ 147025 w 752994"/>
                <a:gd name="connsiteY308" fmla="*/ 145709 h 1333436"/>
                <a:gd name="connsiteX309" fmla="*/ 154364 w 752994"/>
                <a:gd name="connsiteY309" fmla="*/ 136335 h 1333436"/>
                <a:gd name="connsiteX310" fmla="*/ 161511 w 752994"/>
                <a:gd name="connsiteY310" fmla="*/ 131042 h 1333436"/>
                <a:gd name="connsiteX311" fmla="*/ 160902 w 752994"/>
                <a:gd name="connsiteY311" fmla="*/ 128384 h 1333436"/>
                <a:gd name="connsiteX312" fmla="*/ 160277 w 752994"/>
                <a:gd name="connsiteY312" fmla="*/ 127778 h 1333436"/>
                <a:gd name="connsiteX313" fmla="*/ 154973 w 752994"/>
                <a:gd name="connsiteY313" fmla="*/ 122077 h 1333436"/>
                <a:gd name="connsiteX314" fmla="*/ 160277 w 752994"/>
                <a:gd name="connsiteY314" fmla="*/ 115140 h 1333436"/>
                <a:gd name="connsiteX315" fmla="*/ 165181 w 752994"/>
                <a:gd name="connsiteY315" fmla="*/ 108215 h 1333436"/>
                <a:gd name="connsiteX316" fmla="*/ 161303 w 752994"/>
                <a:gd name="connsiteY316" fmla="*/ 104146 h 1333436"/>
                <a:gd name="connsiteX317" fmla="*/ 157842 w 752994"/>
                <a:gd name="connsiteY317" fmla="*/ 104542 h 1333436"/>
                <a:gd name="connsiteX318" fmla="*/ 157024 w 752994"/>
                <a:gd name="connsiteY318" fmla="*/ 102304 h 1333436"/>
                <a:gd name="connsiteX319" fmla="*/ 160694 w 752994"/>
                <a:gd name="connsiteY319" fmla="*/ 55437 h 1333436"/>
                <a:gd name="connsiteX320" fmla="*/ 160486 w 752994"/>
                <a:gd name="connsiteY320" fmla="*/ 31991 h 1333436"/>
                <a:gd name="connsiteX321" fmla="*/ 164972 w 752994"/>
                <a:gd name="connsiteY321" fmla="*/ 18141 h 1333436"/>
                <a:gd name="connsiteX322" fmla="*/ 171911 w 752994"/>
                <a:gd name="connsiteY322" fmla="*/ 11204 h 1333436"/>
                <a:gd name="connsiteX323" fmla="*/ 187406 w 752994"/>
                <a:gd name="connsiteY323" fmla="*/ 21801 h 1333436"/>
                <a:gd name="connsiteX324" fmla="*/ 210866 w 752994"/>
                <a:gd name="connsiteY324" fmla="*/ 37086 h 1333436"/>
                <a:gd name="connsiteX325" fmla="*/ 219230 w 752994"/>
                <a:gd name="connsiteY325" fmla="*/ 41166 h 1333436"/>
                <a:gd name="connsiteX326" fmla="*/ 226778 w 752994"/>
                <a:gd name="connsiteY326" fmla="*/ 47486 h 1333436"/>
                <a:gd name="connsiteX327" fmla="*/ 236152 w 752994"/>
                <a:gd name="connsiteY327" fmla="*/ 52370 h 1333436"/>
                <a:gd name="connsiteX328" fmla="*/ 239629 w 752994"/>
                <a:gd name="connsiteY328" fmla="*/ 58491 h 1333436"/>
                <a:gd name="connsiteX329" fmla="*/ 239629 w 752994"/>
                <a:gd name="connsiteY329" fmla="*/ 63376 h 1333436"/>
                <a:gd name="connsiteX330" fmla="*/ 236568 w 752994"/>
                <a:gd name="connsiteY330" fmla="*/ 67457 h 1333436"/>
                <a:gd name="connsiteX331" fmla="*/ 231264 w 752994"/>
                <a:gd name="connsiteY331" fmla="*/ 69905 h 1333436"/>
                <a:gd name="connsiteX332" fmla="*/ 216778 w 752994"/>
                <a:gd name="connsiteY332" fmla="*/ 82741 h 1333436"/>
                <a:gd name="connsiteX333" fmla="*/ 214134 w 752994"/>
                <a:gd name="connsiteY333" fmla="*/ 93536 h 1333436"/>
                <a:gd name="connsiteX334" fmla="*/ 214535 w 752994"/>
                <a:gd name="connsiteY334" fmla="*/ 96801 h 1333436"/>
                <a:gd name="connsiteX335" fmla="*/ 216378 w 752994"/>
                <a:gd name="connsiteY335" fmla="*/ 96801 h 1333436"/>
                <a:gd name="connsiteX336" fmla="*/ 230046 w 752994"/>
                <a:gd name="connsiteY336" fmla="*/ 85387 h 1333436"/>
                <a:gd name="connsiteX337" fmla="*/ 243298 w 752994"/>
                <a:gd name="connsiteY337" fmla="*/ 75198 h 1333436"/>
                <a:gd name="connsiteX338" fmla="*/ 246760 w 752994"/>
                <a:gd name="connsiteY338" fmla="*/ 77646 h 1333436"/>
                <a:gd name="connsiteX339" fmla="*/ 255541 w 752994"/>
                <a:gd name="connsiteY339" fmla="*/ 63376 h 1333436"/>
                <a:gd name="connsiteX340" fmla="*/ 259611 w 752994"/>
                <a:gd name="connsiteY340" fmla="*/ 43405 h 1333436"/>
                <a:gd name="connsiteX341" fmla="*/ 256967 w 752994"/>
                <a:gd name="connsiteY341" fmla="*/ 38520 h 1333436"/>
                <a:gd name="connsiteX342" fmla="*/ 253906 w 752994"/>
                <a:gd name="connsiteY342" fmla="*/ 34242 h 1333436"/>
                <a:gd name="connsiteX343" fmla="*/ 256967 w 752994"/>
                <a:gd name="connsiteY343" fmla="*/ 30161 h 1333436"/>
                <a:gd name="connsiteX344" fmla="*/ 262063 w 752994"/>
                <a:gd name="connsiteY344" fmla="*/ 27712 h 1333436"/>
                <a:gd name="connsiteX345" fmla="*/ 264915 w 752994"/>
                <a:gd name="connsiteY345" fmla="*/ 23026 h 1333436"/>
                <a:gd name="connsiteX346" fmla="*/ 267976 w 752994"/>
                <a:gd name="connsiteY346" fmla="*/ 22618 h 1333436"/>
                <a:gd name="connsiteX347" fmla="*/ 270427 w 752994"/>
                <a:gd name="connsiteY347" fmla="*/ 20787 h 1333436"/>
                <a:gd name="connsiteX348" fmla="*/ 263088 w 752994"/>
                <a:gd name="connsiteY348" fmla="*/ 13652 h 1333436"/>
                <a:gd name="connsiteX349" fmla="*/ 255541 w 752994"/>
                <a:gd name="connsiteY349" fmla="*/ 3055 h 1333436"/>
                <a:gd name="connsiteX350" fmla="*/ 256358 w 752994"/>
                <a:gd name="connsiteY350" fmla="*/ 1224 h 1333436"/>
                <a:gd name="connsiteX351" fmla="*/ 257159 w 752994"/>
                <a:gd name="connsiteY351"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14145 w 752994"/>
                <a:gd name="connsiteY30" fmla="*/ 262450 h 1333436"/>
                <a:gd name="connsiteX31" fmla="*/ 445196 w 752994"/>
                <a:gd name="connsiteY31" fmla="*/ 269890 h 1333436"/>
                <a:gd name="connsiteX32" fmla="*/ 444145 w 752994"/>
                <a:gd name="connsiteY32" fmla="*/ 267441 h 1333436"/>
                <a:gd name="connsiteX33" fmla="*/ 381379 w 752994"/>
                <a:gd name="connsiteY33" fmla="*/ 252303 h 1333436"/>
                <a:gd name="connsiteX34" fmla="*/ 380962 w 752994"/>
                <a:gd name="connsiteY34" fmla="*/ 251895 h 1333436"/>
                <a:gd name="connsiteX35" fmla="*/ 365258 w 752994"/>
                <a:gd name="connsiteY35" fmla="*/ 245774 h 1333436"/>
                <a:gd name="connsiteX36" fmla="*/ 355067 w 752994"/>
                <a:gd name="connsiteY36" fmla="*/ 241285 h 1333436"/>
                <a:gd name="connsiteX37" fmla="*/ 350789 w 752994"/>
                <a:gd name="connsiteY37" fmla="*/ 244352 h 1333436"/>
                <a:gd name="connsiteX38" fmla="*/ 340789 w 752994"/>
                <a:gd name="connsiteY38" fmla="*/ 243536 h 1333436"/>
                <a:gd name="connsiteX39" fmla="*/ 333034 w 752994"/>
                <a:gd name="connsiteY39" fmla="*/ 240271 h 1333436"/>
                <a:gd name="connsiteX40" fmla="*/ 323868 w 752994"/>
                <a:gd name="connsiteY40" fmla="*/ 241495 h 1333436"/>
                <a:gd name="connsiteX41" fmla="*/ 309783 w 752994"/>
                <a:gd name="connsiteY41" fmla="*/ 243536 h 1333436"/>
                <a:gd name="connsiteX42" fmla="*/ 297140 w 752994"/>
                <a:gd name="connsiteY42" fmla="*/ 245576 h 1333436"/>
                <a:gd name="connsiteX43" fmla="*/ 288775 w 752994"/>
                <a:gd name="connsiteY43" fmla="*/ 247406 h 1333436"/>
                <a:gd name="connsiteX44" fmla="*/ 280827 w 752994"/>
                <a:gd name="connsiteY44" fmla="*/ 242720 h 1333436"/>
                <a:gd name="connsiteX45" fmla="*/ 274497 w 752994"/>
                <a:gd name="connsiteY45" fmla="*/ 238441 h 1333436"/>
                <a:gd name="connsiteX46" fmla="*/ 269001 w 752994"/>
                <a:gd name="connsiteY46" fmla="*/ 240679 h 1333436"/>
                <a:gd name="connsiteX47" fmla="*/ 262880 w 752994"/>
                <a:gd name="connsiteY47" fmla="*/ 243128 h 1333436"/>
                <a:gd name="connsiteX48" fmla="*/ 260028 w 752994"/>
                <a:gd name="connsiteY48" fmla="*/ 242720 h 1333436"/>
                <a:gd name="connsiteX49" fmla="*/ 247994 w 752994"/>
                <a:gd name="connsiteY49" fmla="*/ 241693 h 1333436"/>
                <a:gd name="connsiteX50" fmla="*/ 242081 w 752994"/>
                <a:gd name="connsiteY50" fmla="*/ 234162 h 1333436"/>
                <a:gd name="connsiteX51" fmla="*/ 235142 w 752994"/>
                <a:gd name="connsiteY51" fmla="*/ 229476 h 1333436"/>
                <a:gd name="connsiteX52" fmla="*/ 224742 w 752994"/>
                <a:gd name="connsiteY52" fmla="*/ 226817 h 1333436"/>
                <a:gd name="connsiteX53" fmla="*/ 216778 w 752994"/>
                <a:gd name="connsiteY53" fmla="*/ 229068 h 1333436"/>
                <a:gd name="connsiteX54" fmla="*/ 202709 w 752994"/>
                <a:gd name="connsiteY54" fmla="*/ 230898 h 1333436"/>
                <a:gd name="connsiteX55" fmla="*/ 195162 w 752994"/>
                <a:gd name="connsiteY55" fmla="*/ 228857 h 1333436"/>
                <a:gd name="connsiteX56" fmla="*/ 188223 w 752994"/>
                <a:gd name="connsiteY56" fmla="*/ 223973 h 1333436"/>
                <a:gd name="connsiteX57" fmla="*/ 185163 w 752994"/>
                <a:gd name="connsiteY57" fmla="*/ 219484 h 1333436"/>
                <a:gd name="connsiteX58" fmla="*/ 184180 w 752994"/>
                <a:gd name="connsiteY58" fmla="*/ 213866 h 1333436"/>
                <a:gd name="connsiteX59" fmla="*/ 257159 w 752994"/>
                <a:gd name="connsiteY59" fmla="*/ 0 h 1333436"/>
                <a:gd name="connsiteX60" fmla="*/ 493147 w 752994"/>
                <a:gd name="connsiteY60" fmla="*/ 73157 h 1333436"/>
                <a:gd name="connsiteX61" fmla="*/ 492970 w 752994"/>
                <a:gd name="connsiteY61" fmla="*/ 73792 h 1333436"/>
                <a:gd name="connsiteX62" fmla="*/ 525816 w 752994"/>
                <a:gd name="connsiteY62" fmla="*/ 82491 h 1333436"/>
                <a:gd name="connsiteX63" fmla="*/ 520098 w 752994"/>
                <a:gd name="connsiteY63" fmla="*/ 111245 h 1333436"/>
                <a:gd name="connsiteX64" fmla="*/ 512552 w 752994"/>
                <a:gd name="connsiteY64" fmla="*/ 143854 h 1333436"/>
                <a:gd name="connsiteX65" fmla="*/ 517849 w 752994"/>
                <a:gd name="connsiteY65" fmla="*/ 157740 h 1333436"/>
                <a:gd name="connsiteX66" fmla="*/ 523160 w 752994"/>
                <a:gd name="connsiteY66" fmla="*/ 172009 h 1333436"/>
                <a:gd name="connsiteX67" fmla="*/ 521535 w 752994"/>
                <a:gd name="connsiteY67" fmla="*/ 178928 h 1333436"/>
                <a:gd name="connsiteX68" fmla="*/ 520098 w 752994"/>
                <a:gd name="connsiteY68" fmla="*/ 186279 h 1333436"/>
                <a:gd name="connsiteX69" fmla="*/ 526019 w 752994"/>
                <a:gd name="connsiteY69" fmla="*/ 193629 h 1333436"/>
                <a:gd name="connsiteX70" fmla="*/ 537251 w 752994"/>
                <a:gd name="connsiteY70" fmla="*/ 206270 h 1333436"/>
                <a:gd name="connsiteX71" fmla="*/ 542765 w 752994"/>
                <a:gd name="connsiteY71" fmla="*/ 217475 h 1333436"/>
                <a:gd name="connsiteX72" fmla="*/ 546857 w 752994"/>
                <a:gd name="connsiteY72" fmla="*/ 230930 h 1333436"/>
                <a:gd name="connsiteX73" fmla="*/ 549499 w 752994"/>
                <a:gd name="connsiteY73" fmla="*/ 235622 h 1333436"/>
                <a:gd name="connsiteX74" fmla="*/ 553388 w 752994"/>
                <a:gd name="connsiteY74" fmla="*/ 240722 h 1333436"/>
                <a:gd name="connsiteX75" fmla="*/ 557465 w 752994"/>
                <a:gd name="connsiteY75" fmla="*/ 246037 h 1333436"/>
                <a:gd name="connsiteX76" fmla="*/ 561761 w 752994"/>
                <a:gd name="connsiteY76" fmla="*/ 248671 h 1333436"/>
                <a:gd name="connsiteX77" fmla="*/ 567478 w 752994"/>
                <a:gd name="connsiteY77" fmla="*/ 247665 h 1333436"/>
                <a:gd name="connsiteX78" fmla="*/ 569931 w 752994"/>
                <a:gd name="connsiteY78" fmla="*/ 249293 h 1333436"/>
                <a:gd name="connsiteX79" fmla="*/ 570540 w 752994"/>
                <a:gd name="connsiteY79" fmla="*/ 251951 h 1333436"/>
                <a:gd name="connsiteX80" fmla="*/ 561964 w 752994"/>
                <a:gd name="connsiteY80" fmla="*/ 267656 h 1333436"/>
                <a:gd name="connsiteX81" fmla="*/ 553591 w 752994"/>
                <a:gd name="connsiteY81" fmla="*/ 289659 h 1333436"/>
                <a:gd name="connsiteX82" fmla="*/ 554810 w 752994"/>
                <a:gd name="connsiteY82" fmla="*/ 292939 h 1333436"/>
                <a:gd name="connsiteX83" fmla="*/ 556246 w 752994"/>
                <a:gd name="connsiteY83" fmla="*/ 299260 h 1333436"/>
                <a:gd name="connsiteX84" fmla="*/ 552778 w 752994"/>
                <a:gd name="connsiteY84" fmla="*/ 301917 h 1333436"/>
                <a:gd name="connsiteX85" fmla="*/ 549295 w 752994"/>
                <a:gd name="connsiteY85" fmla="*/ 306993 h 1333436"/>
                <a:gd name="connsiteX86" fmla="*/ 547061 w 752994"/>
                <a:gd name="connsiteY86" fmla="*/ 313122 h 1333436"/>
                <a:gd name="connsiteX87" fmla="*/ 544811 w 752994"/>
                <a:gd name="connsiteY87" fmla="*/ 316593 h 1333436"/>
                <a:gd name="connsiteX88" fmla="*/ 549919 w 752994"/>
                <a:gd name="connsiteY88" fmla="*/ 322698 h 1333436"/>
                <a:gd name="connsiteX89" fmla="*/ 553184 w 752994"/>
                <a:gd name="connsiteY89" fmla="*/ 325955 h 1333436"/>
                <a:gd name="connsiteX90" fmla="*/ 555840 w 752994"/>
                <a:gd name="connsiteY90" fmla="*/ 328205 h 1333436"/>
                <a:gd name="connsiteX91" fmla="*/ 574212 w 752994"/>
                <a:gd name="connsiteY91" fmla="*/ 318820 h 1333436"/>
                <a:gd name="connsiteX92" fmla="*/ 579523 w 752994"/>
                <a:gd name="connsiteY92" fmla="*/ 326577 h 1333436"/>
                <a:gd name="connsiteX93" fmla="*/ 580539 w 752994"/>
                <a:gd name="connsiteY93" fmla="*/ 334933 h 1333436"/>
                <a:gd name="connsiteX94" fmla="*/ 579726 w 752994"/>
                <a:gd name="connsiteY94" fmla="*/ 343097 h 1333436"/>
                <a:gd name="connsiteX95" fmla="*/ 581366 w 752994"/>
                <a:gd name="connsiteY95" fmla="*/ 350231 h 1333436"/>
                <a:gd name="connsiteX96" fmla="*/ 586256 w 752994"/>
                <a:gd name="connsiteY96" fmla="*/ 355930 h 1333436"/>
                <a:gd name="connsiteX97" fmla="*/ 589536 w 752994"/>
                <a:gd name="connsiteY97" fmla="*/ 362059 h 1333436"/>
                <a:gd name="connsiteX98" fmla="*/ 588099 w 752994"/>
                <a:gd name="connsiteY98" fmla="*/ 369600 h 1333436"/>
                <a:gd name="connsiteX99" fmla="*/ 586459 w 752994"/>
                <a:gd name="connsiteY99" fmla="*/ 377357 h 1333436"/>
                <a:gd name="connsiteX100" fmla="*/ 588709 w 752994"/>
                <a:gd name="connsiteY100" fmla="*/ 381835 h 1333436"/>
                <a:gd name="connsiteX101" fmla="*/ 595036 w 752994"/>
                <a:gd name="connsiteY101" fmla="*/ 382457 h 1333436"/>
                <a:gd name="connsiteX102" fmla="*/ 599331 w 752994"/>
                <a:gd name="connsiteY102" fmla="*/ 385306 h 1333436"/>
                <a:gd name="connsiteX103" fmla="*/ 601987 w 752994"/>
                <a:gd name="connsiteY103" fmla="*/ 391004 h 1333436"/>
                <a:gd name="connsiteX104" fmla="*/ 602799 w 752994"/>
                <a:gd name="connsiteY104" fmla="*/ 404076 h 1333436"/>
                <a:gd name="connsiteX105" fmla="*/ 606892 w 752994"/>
                <a:gd name="connsiteY105" fmla="*/ 415688 h 1333436"/>
                <a:gd name="connsiteX106" fmla="*/ 610563 w 752994"/>
                <a:gd name="connsiteY106" fmla="*/ 412217 h 1333436"/>
                <a:gd name="connsiteX107" fmla="*/ 617920 w 752994"/>
                <a:gd name="connsiteY107" fmla="*/ 408769 h 1333436"/>
                <a:gd name="connsiteX108" fmla="*/ 624654 w 752994"/>
                <a:gd name="connsiteY108" fmla="*/ 411211 h 1333436"/>
                <a:gd name="connsiteX109" fmla="*/ 634652 w 752994"/>
                <a:gd name="connsiteY109" fmla="*/ 410182 h 1333436"/>
                <a:gd name="connsiteX110" fmla="*/ 640573 w 752994"/>
                <a:gd name="connsiteY110" fmla="*/ 407739 h 1333436"/>
                <a:gd name="connsiteX111" fmla="*/ 646711 w 752994"/>
                <a:gd name="connsiteY111" fmla="*/ 410589 h 1333436"/>
                <a:gd name="connsiteX112" fmla="*/ 650383 w 752994"/>
                <a:gd name="connsiteY112" fmla="*/ 410589 h 1333436"/>
                <a:gd name="connsiteX113" fmla="*/ 654257 w 752994"/>
                <a:gd name="connsiteY113" fmla="*/ 411618 h 1333436"/>
                <a:gd name="connsiteX114" fmla="*/ 656913 w 752994"/>
                <a:gd name="connsiteY114" fmla="*/ 413653 h 1333436"/>
                <a:gd name="connsiteX115" fmla="*/ 660802 w 752994"/>
                <a:gd name="connsiteY115" fmla="*/ 415090 h 1333436"/>
                <a:gd name="connsiteX116" fmla="*/ 669581 w 752994"/>
                <a:gd name="connsiteY116" fmla="*/ 415904 h 1333436"/>
                <a:gd name="connsiteX117" fmla="*/ 672237 w 752994"/>
                <a:gd name="connsiteY117" fmla="*/ 415688 h 1333436"/>
                <a:gd name="connsiteX118" fmla="*/ 675705 w 752994"/>
                <a:gd name="connsiteY118" fmla="*/ 409367 h 1333436"/>
                <a:gd name="connsiteX119" fmla="*/ 679986 w 752994"/>
                <a:gd name="connsiteY119" fmla="*/ 403238 h 1333436"/>
                <a:gd name="connsiteX120" fmla="*/ 693264 w 752994"/>
                <a:gd name="connsiteY120" fmla="*/ 419567 h 1333436"/>
                <a:gd name="connsiteX121" fmla="*/ 688563 w 752994"/>
                <a:gd name="connsiteY121" fmla="*/ 448321 h 1333436"/>
                <a:gd name="connsiteX122" fmla="*/ 663949 w 752994"/>
                <a:gd name="connsiteY122" fmla="*/ 590165 h 1333436"/>
                <a:gd name="connsiteX123" fmla="*/ 666304 w 752994"/>
                <a:gd name="connsiteY123" fmla="*/ 590504 h 1333436"/>
                <a:gd name="connsiteX124" fmla="*/ 655288 w 752994"/>
                <a:gd name="connsiteY124" fmla="*/ 656178 h 1333436"/>
                <a:gd name="connsiteX125" fmla="*/ 681808 w 752994"/>
                <a:gd name="connsiteY125" fmla="*/ 662301 h 1333436"/>
                <a:gd name="connsiteX126" fmla="*/ 752994 w 752994"/>
                <a:gd name="connsiteY126" fmla="*/ 675560 h 1333436"/>
                <a:gd name="connsiteX127" fmla="*/ 714651 w 752994"/>
                <a:gd name="connsiteY127" fmla="*/ 946985 h 1333436"/>
                <a:gd name="connsiteX128" fmla="*/ 654533 w 752994"/>
                <a:gd name="connsiteY128" fmla="*/ 1333436 h 1333436"/>
                <a:gd name="connsiteX129" fmla="*/ 546831 w 752994"/>
                <a:gd name="connsiteY129" fmla="*/ 1317126 h 1333436"/>
                <a:gd name="connsiteX130" fmla="*/ 351227 w 752994"/>
                <a:gd name="connsiteY130" fmla="*/ 1194172 h 1333436"/>
                <a:gd name="connsiteX131" fmla="*/ 361011 w 752994"/>
                <a:gd name="connsiteY131" fmla="*/ 1182755 h 1333436"/>
                <a:gd name="connsiteX132" fmla="*/ 368981 w 752994"/>
                <a:gd name="connsiteY132" fmla="*/ 1182130 h 1333436"/>
                <a:gd name="connsiteX133" fmla="*/ 369571 w 752994"/>
                <a:gd name="connsiteY133" fmla="*/ 1181558 h 1333436"/>
                <a:gd name="connsiteX134" fmla="*/ 362372 w 752994"/>
                <a:gd name="connsiteY134" fmla="*/ 1182120 h 1333436"/>
                <a:gd name="connsiteX135" fmla="*/ 229464 w 752994"/>
                <a:gd name="connsiteY135" fmla="*/ 1161721 h 1333436"/>
                <a:gd name="connsiteX136" fmla="*/ 227427 w 752994"/>
                <a:gd name="connsiteY136" fmla="*/ 1157269 h 1333436"/>
                <a:gd name="connsiteX137" fmla="*/ 224967 w 752994"/>
                <a:gd name="connsiteY137" fmla="*/ 1152575 h 1333436"/>
                <a:gd name="connsiteX138" fmla="*/ 225582 w 752994"/>
                <a:gd name="connsiteY138" fmla="*/ 1144808 h 1333436"/>
                <a:gd name="connsiteX139" fmla="*/ 227215 w 752994"/>
                <a:gd name="connsiteY139" fmla="*/ 1135834 h 1333436"/>
                <a:gd name="connsiteX140" fmla="*/ 227215 w 752994"/>
                <a:gd name="connsiteY140" fmla="*/ 1134212 h 1333436"/>
                <a:gd name="connsiteX141" fmla="*/ 225179 w 752994"/>
                <a:gd name="connsiteY141" fmla="*/ 1114020 h 1333436"/>
                <a:gd name="connsiteX142" fmla="*/ 217839 w 752994"/>
                <a:gd name="connsiteY142" fmla="*/ 1100352 h 1333436"/>
                <a:gd name="connsiteX143" fmla="*/ 199661 w 752994"/>
                <a:gd name="connsiteY143" fmla="*/ 1076502 h 1333436"/>
                <a:gd name="connsiteX144" fmla="*/ 196395 w 752994"/>
                <a:gd name="connsiteY144" fmla="*/ 1071807 h 1333436"/>
                <a:gd name="connsiteX145" fmla="*/ 190880 w 752994"/>
                <a:gd name="connsiteY145" fmla="*/ 1067527 h 1333436"/>
                <a:gd name="connsiteX146" fmla="*/ 187210 w 752994"/>
                <a:gd name="connsiteY146" fmla="*/ 1068735 h 1333436"/>
                <a:gd name="connsiteX147" fmla="*/ 180062 w 752994"/>
                <a:gd name="connsiteY147" fmla="*/ 1066699 h 1333436"/>
                <a:gd name="connsiteX148" fmla="*/ 180466 w 752994"/>
                <a:gd name="connsiteY148" fmla="*/ 1053031 h 1333436"/>
                <a:gd name="connsiteX149" fmla="*/ 180062 w 752994"/>
                <a:gd name="connsiteY149" fmla="*/ 1045299 h 1333436"/>
                <a:gd name="connsiteX150" fmla="*/ 174144 w 752994"/>
                <a:gd name="connsiteY150" fmla="*/ 1044057 h 1333436"/>
                <a:gd name="connsiteX151" fmla="*/ 158426 w 752994"/>
                <a:gd name="connsiteY151" fmla="*/ 1042641 h 1333436"/>
                <a:gd name="connsiteX152" fmla="*/ 149857 w 752994"/>
                <a:gd name="connsiteY152" fmla="*/ 1035497 h 1333436"/>
                <a:gd name="connsiteX153" fmla="*/ 142497 w 752994"/>
                <a:gd name="connsiteY153" fmla="*/ 1028766 h 1333436"/>
                <a:gd name="connsiteX154" fmla="*/ 140864 w 752994"/>
                <a:gd name="connsiteY154" fmla="*/ 1020620 h 1333436"/>
                <a:gd name="connsiteX155" fmla="*/ 138212 w 752994"/>
                <a:gd name="connsiteY155" fmla="*/ 1013061 h 1333436"/>
                <a:gd name="connsiteX156" fmla="*/ 131064 w 752994"/>
                <a:gd name="connsiteY156" fmla="*/ 1007159 h 1333436"/>
                <a:gd name="connsiteX157" fmla="*/ 121264 w 752994"/>
                <a:gd name="connsiteY157" fmla="*/ 1005330 h 1333436"/>
                <a:gd name="connsiteX158" fmla="*/ 112483 w 752994"/>
                <a:gd name="connsiteY158" fmla="*/ 1001671 h 1333436"/>
                <a:gd name="connsiteX159" fmla="*/ 105950 w 752994"/>
                <a:gd name="connsiteY159" fmla="*/ 995734 h 1333436"/>
                <a:gd name="connsiteX160" fmla="*/ 97380 w 752994"/>
                <a:gd name="connsiteY160" fmla="*/ 994526 h 1333436"/>
                <a:gd name="connsiteX161" fmla="*/ 87984 w 752994"/>
                <a:gd name="connsiteY161" fmla="*/ 991040 h 1333436"/>
                <a:gd name="connsiteX162" fmla="*/ 80029 w 752994"/>
                <a:gd name="connsiteY162" fmla="*/ 985138 h 1333436"/>
                <a:gd name="connsiteX163" fmla="*/ 77166 w 752994"/>
                <a:gd name="connsiteY163" fmla="*/ 976164 h 1333436"/>
                <a:gd name="connsiteX164" fmla="*/ 79203 w 752994"/>
                <a:gd name="connsiteY164" fmla="*/ 970676 h 1333436"/>
                <a:gd name="connsiteX165" fmla="*/ 82470 w 752994"/>
                <a:gd name="connsiteY165" fmla="*/ 963117 h 1333436"/>
                <a:gd name="connsiteX166" fmla="*/ 84314 w 752994"/>
                <a:gd name="connsiteY166" fmla="*/ 954557 h 1333436"/>
                <a:gd name="connsiteX167" fmla="*/ 86351 w 752994"/>
                <a:gd name="connsiteY167" fmla="*/ 948033 h 1333436"/>
                <a:gd name="connsiteX168" fmla="*/ 86159 w 752994"/>
                <a:gd name="connsiteY168" fmla="*/ 942925 h 1333436"/>
                <a:gd name="connsiteX169" fmla="*/ 83085 w 752994"/>
                <a:gd name="connsiteY169" fmla="*/ 939853 h 1333436"/>
                <a:gd name="connsiteX170" fmla="*/ 77570 w 752994"/>
                <a:gd name="connsiteY170" fmla="*/ 937437 h 1333436"/>
                <a:gd name="connsiteX171" fmla="*/ 76763 w 752994"/>
                <a:gd name="connsiteY171" fmla="*/ 931915 h 1333436"/>
                <a:gd name="connsiteX172" fmla="*/ 78800 w 752994"/>
                <a:gd name="connsiteY172" fmla="*/ 927013 h 1333436"/>
                <a:gd name="connsiteX173" fmla="*/ 79626 w 752994"/>
                <a:gd name="connsiteY173" fmla="*/ 922526 h 1333436"/>
                <a:gd name="connsiteX174" fmla="*/ 77781 w 752994"/>
                <a:gd name="connsiteY174" fmla="*/ 919903 h 1333436"/>
                <a:gd name="connsiteX175" fmla="*/ 74303 w 752994"/>
                <a:gd name="connsiteY175" fmla="*/ 917418 h 1333436"/>
                <a:gd name="connsiteX176" fmla="*/ 71863 w 752994"/>
                <a:gd name="connsiteY176" fmla="*/ 915174 h 1333436"/>
                <a:gd name="connsiteX177" fmla="*/ 71652 w 752994"/>
                <a:gd name="connsiteY177" fmla="*/ 910894 h 1333436"/>
                <a:gd name="connsiteX178" fmla="*/ 70633 w 752994"/>
                <a:gd name="connsiteY178" fmla="*/ 906614 h 1333436"/>
                <a:gd name="connsiteX179" fmla="*/ 68385 w 752994"/>
                <a:gd name="connsiteY179" fmla="*/ 902749 h 1333436"/>
                <a:gd name="connsiteX180" fmla="*/ 61045 w 752994"/>
                <a:gd name="connsiteY180" fmla="*/ 889494 h 1333436"/>
                <a:gd name="connsiteX181" fmla="*/ 57971 w 752994"/>
                <a:gd name="connsiteY181" fmla="*/ 875619 h 1333436"/>
                <a:gd name="connsiteX182" fmla="*/ 52264 w 752994"/>
                <a:gd name="connsiteY182" fmla="*/ 862572 h 1333436"/>
                <a:gd name="connsiteX183" fmla="*/ 44309 w 752994"/>
                <a:gd name="connsiteY183" fmla="*/ 850561 h 1333436"/>
                <a:gd name="connsiteX184" fmla="*/ 45520 w 752994"/>
                <a:gd name="connsiteY184" fmla="*/ 827090 h 1333436"/>
                <a:gd name="connsiteX185" fmla="*/ 53071 w 752994"/>
                <a:gd name="connsiteY185" fmla="*/ 822396 h 1333436"/>
                <a:gd name="connsiteX186" fmla="*/ 57375 w 752994"/>
                <a:gd name="connsiteY186" fmla="*/ 816493 h 1333436"/>
                <a:gd name="connsiteX187" fmla="*/ 55319 w 752994"/>
                <a:gd name="connsiteY187" fmla="*/ 801617 h 1333436"/>
                <a:gd name="connsiteX188" fmla="*/ 48383 w 752994"/>
                <a:gd name="connsiteY188" fmla="*/ 802204 h 1333436"/>
                <a:gd name="connsiteX189" fmla="*/ 40428 w 752994"/>
                <a:gd name="connsiteY189" fmla="*/ 797924 h 1333436"/>
                <a:gd name="connsiteX190" fmla="*/ 37565 w 752994"/>
                <a:gd name="connsiteY190" fmla="*/ 790606 h 1333436"/>
                <a:gd name="connsiteX191" fmla="*/ 37565 w 752994"/>
                <a:gd name="connsiteY191" fmla="*/ 790399 h 1333436"/>
                <a:gd name="connsiteX192" fmla="*/ 35931 w 752994"/>
                <a:gd name="connsiteY192" fmla="*/ 785912 h 1333436"/>
                <a:gd name="connsiteX193" fmla="*/ 34510 w 752994"/>
                <a:gd name="connsiteY193" fmla="*/ 780597 h 1333436"/>
                <a:gd name="connsiteX194" fmla="*/ 36335 w 752994"/>
                <a:gd name="connsiteY194" fmla="*/ 774280 h 1333436"/>
                <a:gd name="connsiteX195" fmla="*/ 38180 w 752994"/>
                <a:gd name="connsiteY195" fmla="*/ 766721 h 1333436"/>
                <a:gd name="connsiteX196" fmla="*/ 37161 w 752994"/>
                <a:gd name="connsiteY196" fmla="*/ 760405 h 1333436"/>
                <a:gd name="connsiteX197" fmla="*/ 35720 w 752994"/>
                <a:gd name="connsiteY197" fmla="*/ 754710 h 1333436"/>
                <a:gd name="connsiteX198" fmla="*/ 36546 w 752994"/>
                <a:gd name="connsiteY198" fmla="*/ 748773 h 1333436"/>
                <a:gd name="connsiteX199" fmla="*/ 38372 w 752994"/>
                <a:gd name="connsiteY199" fmla="*/ 744528 h 1333436"/>
                <a:gd name="connsiteX200" fmla="*/ 41638 w 752994"/>
                <a:gd name="connsiteY200" fmla="*/ 744321 h 1333436"/>
                <a:gd name="connsiteX201" fmla="*/ 44713 w 752994"/>
                <a:gd name="connsiteY201" fmla="*/ 746357 h 1333436"/>
                <a:gd name="connsiteX202" fmla="*/ 47364 w 752994"/>
                <a:gd name="connsiteY202" fmla="*/ 753260 h 1333436"/>
                <a:gd name="connsiteX203" fmla="*/ 55742 w 752994"/>
                <a:gd name="connsiteY203" fmla="*/ 764305 h 1333436"/>
                <a:gd name="connsiteX204" fmla="*/ 56338 w 752994"/>
                <a:gd name="connsiteY204" fmla="*/ 761233 h 1333436"/>
                <a:gd name="connsiteX205" fmla="*/ 56145 w 752994"/>
                <a:gd name="connsiteY205" fmla="*/ 757368 h 1333436"/>
                <a:gd name="connsiteX206" fmla="*/ 54916 w 752994"/>
                <a:gd name="connsiteY206" fmla="*/ 748601 h 1333436"/>
                <a:gd name="connsiteX207" fmla="*/ 52879 w 752994"/>
                <a:gd name="connsiteY207" fmla="*/ 747358 h 1333436"/>
                <a:gd name="connsiteX208" fmla="*/ 51649 w 752994"/>
                <a:gd name="connsiteY208" fmla="*/ 745322 h 1333436"/>
                <a:gd name="connsiteX209" fmla="*/ 51649 w 752994"/>
                <a:gd name="connsiteY209" fmla="*/ 739212 h 1333436"/>
                <a:gd name="connsiteX210" fmla="*/ 50227 w 752994"/>
                <a:gd name="connsiteY210" fmla="*/ 734725 h 1333436"/>
                <a:gd name="connsiteX211" fmla="*/ 48786 w 752994"/>
                <a:gd name="connsiteY211" fmla="*/ 731446 h 1333436"/>
                <a:gd name="connsiteX212" fmla="*/ 54512 w 752994"/>
                <a:gd name="connsiteY212" fmla="*/ 726372 h 1333436"/>
                <a:gd name="connsiteX213" fmla="*/ 59815 w 752994"/>
                <a:gd name="connsiteY213" fmla="*/ 725130 h 1333436"/>
                <a:gd name="connsiteX214" fmla="*/ 58182 w 752994"/>
                <a:gd name="connsiteY214" fmla="*/ 722886 h 1333436"/>
                <a:gd name="connsiteX215" fmla="*/ 51861 w 752994"/>
                <a:gd name="connsiteY215" fmla="*/ 717985 h 1333436"/>
                <a:gd name="connsiteX216" fmla="*/ 46749 w 752994"/>
                <a:gd name="connsiteY216" fmla="*/ 729617 h 1333436"/>
                <a:gd name="connsiteX217" fmla="*/ 40831 w 752994"/>
                <a:gd name="connsiteY217" fmla="*/ 739212 h 1333436"/>
                <a:gd name="connsiteX218" fmla="*/ 39601 w 752994"/>
                <a:gd name="connsiteY218" fmla="*/ 738798 h 1333436"/>
                <a:gd name="connsiteX219" fmla="*/ 39409 w 752994"/>
                <a:gd name="connsiteY219" fmla="*/ 738591 h 1333436"/>
                <a:gd name="connsiteX220" fmla="*/ 37161 w 752994"/>
                <a:gd name="connsiteY220" fmla="*/ 734725 h 1333436"/>
                <a:gd name="connsiteX221" fmla="*/ 32665 w 752994"/>
                <a:gd name="connsiteY221" fmla="*/ 727788 h 1333436"/>
                <a:gd name="connsiteX222" fmla="*/ 26747 w 752994"/>
                <a:gd name="connsiteY222" fmla="*/ 719435 h 1333436"/>
                <a:gd name="connsiteX223" fmla="*/ 23884 w 752994"/>
                <a:gd name="connsiteY223" fmla="*/ 717812 h 1333436"/>
                <a:gd name="connsiteX224" fmla="*/ 24710 w 752994"/>
                <a:gd name="connsiteY224" fmla="*/ 709632 h 1333436"/>
                <a:gd name="connsiteX225" fmla="*/ 27554 w 752994"/>
                <a:gd name="connsiteY225" fmla="*/ 701694 h 1333436"/>
                <a:gd name="connsiteX226" fmla="*/ 24902 w 752994"/>
                <a:gd name="connsiteY226" fmla="*/ 696171 h 1333436"/>
                <a:gd name="connsiteX227" fmla="*/ 24095 w 752994"/>
                <a:gd name="connsiteY227" fmla="*/ 687818 h 1333436"/>
                <a:gd name="connsiteX228" fmla="*/ 22462 w 752994"/>
                <a:gd name="connsiteY228" fmla="*/ 682330 h 1333436"/>
                <a:gd name="connsiteX229" fmla="*/ 17159 w 752994"/>
                <a:gd name="connsiteY229" fmla="*/ 677636 h 1333436"/>
                <a:gd name="connsiteX230" fmla="*/ 14296 w 752994"/>
                <a:gd name="connsiteY230" fmla="*/ 671492 h 1333436"/>
                <a:gd name="connsiteX231" fmla="*/ 12451 w 752994"/>
                <a:gd name="connsiteY231" fmla="*/ 665797 h 1333436"/>
                <a:gd name="connsiteX232" fmla="*/ 5111 w 752994"/>
                <a:gd name="connsiteY232" fmla="*/ 654994 h 1333436"/>
                <a:gd name="connsiteX233" fmla="*/ 2248 w 752994"/>
                <a:gd name="connsiteY233" fmla="*/ 645605 h 1333436"/>
                <a:gd name="connsiteX234" fmla="*/ 4496 w 752994"/>
                <a:gd name="connsiteY234" fmla="*/ 640497 h 1333436"/>
                <a:gd name="connsiteX235" fmla="*/ 6744 w 752994"/>
                <a:gd name="connsiteY235" fmla="*/ 632765 h 1333436"/>
                <a:gd name="connsiteX236" fmla="*/ 6744 w 752994"/>
                <a:gd name="connsiteY236" fmla="*/ 628485 h 1333436"/>
                <a:gd name="connsiteX237" fmla="*/ 6533 w 752994"/>
                <a:gd name="connsiteY237" fmla="*/ 620305 h 1333436"/>
                <a:gd name="connsiteX238" fmla="*/ 7359 w 752994"/>
                <a:gd name="connsiteY238" fmla="*/ 611745 h 1333436"/>
                <a:gd name="connsiteX239" fmla="*/ 11836 w 752994"/>
                <a:gd name="connsiteY239" fmla="*/ 602978 h 1333436"/>
                <a:gd name="connsiteX240" fmla="*/ 15103 w 752994"/>
                <a:gd name="connsiteY240" fmla="*/ 591760 h 1333436"/>
                <a:gd name="connsiteX241" fmla="*/ 14488 w 752994"/>
                <a:gd name="connsiteY241" fmla="*/ 584029 h 1333436"/>
                <a:gd name="connsiteX242" fmla="*/ 13873 w 752994"/>
                <a:gd name="connsiteY242" fmla="*/ 578299 h 1333436"/>
                <a:gd name="connsiteX243" fmla="*/ 10626 w 752994"/>
                <a:gd name="connsiteY243" fmla="*/ 568531 h 1333436"/>
                <a:gd name="connsiteX244" fmla="*/ 3670 w 752994"/>
                <a:gd name="connsiteY244" fmla="*/ 558107 h 1333436"/>
                <a:gd name="connsiteX245" fmla="*/ 0 w 752994"/>
                <a:gd name="connsiteY245" fmla="*/ 551377 h 1333436"/>
                <a:gd name="connsiteX246" fmla="*/ 0 w 752994"/>
                <a:gd name="connsiteY246" fmla="*/ 550997 h 1333436"/>
                <a:gd name="connsiteX247" fmla="*/ 4900 w 752994"/>
                <a:gd name="connsiteY247" fmla="*/ 531220 h 1333436"/>
                <a:gd name="connsiteX248" fmla="*/ 13873 w 752994"/>
                <a:gd name="connsiteY248" fmla="*/ 520589 h 1333436"/>
                <a:gd name="connsiteX249" fmla="*/ 18369 w 752994"/>
                <a:gd name="connsiteY249" fmla="*/ 516516 h 1333436"/>
                <a:gd name="connsiteX250" fmla="*/ 18773 w 752994"/>
                <a:gd name="connsiteY250" fmla="*/ 514272 h 1333436"/>
                <a:gd name="connsiteX251" fmla="*/ 23077 w 752994"/>
                <a:gd name="connsiteY251" fmla="*/ 506127 h 1333436"/>
                <a:gd name="connsiteX252" fmla="*/ 23884 w 752994"/>
                <a:gd name="connsiteY252" fmla="*/ 502261 h 1333436"/>
                <a:gd name="connsiteX253" fmla="*/ 23692 w 752994"/>
                <a:gd name="connsiteY253" fmla="*/ 496738 h 1333436"/>
                <a:gd name="connsiteX254" fmla="*/ 30013 w 752994"/>
                <a:gd name="connsiteY254" fmla="*/ 486556 h 1333436"/>
                <a:gd name="connsiteX255" fmla="*/ 36546 w 752994"/>
                <a:gd name="connsiteY255" fmla="*/ 470230 h 1333436"/>
                <a:gd name="connsiteX256" fmla="*/ 36546 w 752994"/>
                <a:gd name="connsiteY256" fmla="*/ 462671 h 1333436"/>
                <a:gd name="connsiteX257" fmla="*/ 36335 w 752994"/>
                <a:gd name="connsiteY257" fmla="*/ 461670 h 1333436"/>
                <a:gd name="connsiteX258" fmla="*/ 35931 w 752994"/>
                <a:gd name="connsiteY258" fmla="*/ 453110 h 1333436"/>
                <a:gd name="connsiteX259" fmla="*/ 38583 w 752994"/>
                <a:gd name="connsiteY259" fmla="*/ 442514 h 1333436"/>
                <a:gd name="connsiteX260" fmla="*/ 41043 w 752994"/>
                <a:gd name="connsiteY260" fmla="*/ 436991 h 1333436"/>
                <a:gd name="connsiteX261" fmla="*/ 41650 w 752994"/>
                <a:gd name="connsiteY261" fmla="*/ 437186 h 1333436"/>
                <a:gd name="connsiteX262" fmla="*/ 41239 w 752994"/>
                <a:gd name="connsiteY262" fmla="*/ 436549 h 1333436"/>
                <a:gd name="connsiteX263" fmla="*/ 37778 w 752994"/>
                <a:gd name="connsiteY263" fmla="*/ 433894 h 1333436"/>
                <a:gd name="connsiteX264" fmla="*/ 37169 w 752994"/>
                <a:gd name="connsiteY264" fmla="*/ 432261 h 1333436"/>
                <a:gd name="connsiteX265" fmla="*/ 37365 w 752994"/>
                <a:gd name="connsiteY265" fmla="*/ 429198 h 1333436"/>
                <a:gd name="connsiteX266" fmla="*/ 36756 w 752994"/>
                <a:gd name="connsiteY266" fmla="*/ 422272 h 1333436"/>
                <a:gd name="connsiteX267" fmla="*/ 36952 w 752994"/>
                <a:gd name="connsiteY267" fmla="*/ 418800 h 1333436"/>
                <a:gd name="connsiteX268" fmla="*/ 36756 w 752994"/>
                <a:gd name="connsiteY268" fmla="*/ 412487 h 1333436"/>
                <a:gd name="connsiteX269" fmla="*/ 40433 w 752994"/>
                <a:gd name="connsiteY269" fmla="*/ 406174 h 1333436"/>
                <a:gd name="connsiteX270" fmla="*/ 44720 w 752994"/>
                <a:gd name="connsiteY270" fmla="*/ 399435 h 1333436"/>
                <a:gd name="connsiteX271" fmla="*/ 44110 w 752994"/>
                <a:gd name="connsiteY271" fmla="*/ 389651 h 1333436"/>
                <a:gd name="connsiteX272" fmla="*/ 43894 w 752994"/>
                <a:gd name="connsiteY272" fmla="*/ 378437 h 1333436"/>
                <a:gd name="connsiteX273" fmla="*/ 47158 w 752994"/>
                <a:gd name="connsiteY273" fmla="*/ 371102 h 1333436"/>
                <a:gd name="connsiteX274" fmla="*/ 55731 w 752994"/>
                <a:gd name="connsiteY274" fmla="*/ 360909 h 1333436"/>
                <a:gd name="connsiteX275" fmla="*/ 57580 w 752994"/>
                <a:gd name="connsiteY275" fmla="*/ 355804 h 1333436"/>
                <a:gd name="connsiteX276" fmla="*/ 62673 w 752994"/>
                <a:gd name="connsiteY276" fmla="*/ 349695 h 1333436"/>
                <a:gd name="connsiteX277" fmla="*/ 65937 w 752994"/>
                <a:gd name="connsiteY277" fmla="*/ 348470 h 1333436"/>
                <a:gd name="connsiteX278" fmla="*/ 68395 w 752994"/>
                <a:gd name="connsiteY278" fmla="*/ 348674 h 1333436"/>
                <a:gd name="connsiteX279" fmla="*/ 70224 w 752994"/>
                <a:gd name="connsiteY279" fmla="*/ 347449 h 1333436"/>
                <a:gd name="connsiteX280" fmla="*/ 67785 w 752994"/>
                <a:gd name="connsiteY280" fmla="*/ 345203 h 1333436"/>
                <a:gd name="connsiteX281" fmla="*/ 65524 w 752994"/>
                <a:gd name="connsiteY281" fmla="*/ 343178 h 1333436"/>
                <a:gd name="connsiteX282" fmla="*/ 73095 w 752994"/>
                <a:gd name="connsiteY282" fmla="*/ 333376 h 1333436"/>
                <a:gd name="connsiteX283" fmla="*/ 73291 w 752994"/>
                <a:gd name="connsiteY283" fmla="*/ 333376 h 1333436"/>
                <a:gd name="connsiteX284" fmla="*/ 77991 w 752994"/>
                <a:gd name="connsiteY284" fmla="*/ 325838 h 1333436"/>
                <a:gd name="connsiteX285" fmla="*/ 82671 w 752994"/>
                <a:gd name="connsiteY285" fmla="*/ 313619 h 1333436"/>
                <a:gd name="connsiteX286" fmla="*/ 87980 w 752994"/>
                <a:gd name="connsiteY286" fmla="*/ 303018 h 1333436"/>
                <a:gd name="connsiteX287" fmla="*/ 92267 w 752994"/>
                <a:gd name="connsiteY287" fmla="*/ 291191 h 1333436"/>
                <a:gd name="connsiteX288" fmla="*/ 96553 w 752994"/>
                <a:gd name="connsiteY288" fmla="*/ 281202 h 1333436"/>
                <a:gd name="connsiteX289" fmla="*/ 99621 w 752994"/>
                <a:gd name="connsiteY289" fmla="*/ 274481 h 1333436"/>
                <a:gd name="connsiteX290" fmla="*/ 103082 w 752994"/>
                <a:gd name="connsiteY290" fmla="*/ 262450 h 1333436"/>
                <a:gd name="connsiteX291" fmla="*/ 107172 w 752994"/>
                <a:gd name="connsiteY291" fmla="*/ 254299 h 1333436"/>
                <a:gd name="connsiteX292" fmla="*/ 112481 w 752994"/>
                <a:gd name="connsiteY292" fmla="*/ 243697 h 1333436"/>
                <a:gd name="connsiteX293" fmla="*/ 117181 w 752994"/>
                <a:gd name="connsiteY293" fmla="*/ 232279 h 1333436"/>
                <a:gd name="connsiteX294" fmla="*/ 125951 w 752994"/>
                <a:gd name="connsiteY294" fmla="*/ 217389 h 1333436"/>
                <a:gd name="connsiteX295" fmla="*/ 136156 w 752994"/>
                <a:gd name="connsiteY295" fmla="*/ 202925 h 1333436"/>
                <a:gd name="connsiteX296" fmla="*/ 138811 w 752994"/>
                <a:gd name="connsiteY296" fmla="*/ 183339 h 1333436"/>
                <a:gd name="connsiteX297" fmla="*/ 148801 w 752994"/>
                <a:gd name="connsiteY297" fmla="*/ 167445 h 1333436"/>
                <a:gd name="connsiteX298" fmla="*/ 159616 w 752994"/>
                <a:gd name="connsiteY298" fmla="*/ 170712 h 1333436"/>
                <a:gd name="connsiteX299" fmla="*/ 173105 w 752994"/>
                <a:gd name="connsiteY299" fmla="*/ 175188 h 1333436"/>
                <a:gd name="connsiteX300" fmla="*/ 175347 w 752994"/>
                <a:gd name="connsiteY300" fmla="*/ 175188 h 1333436"/>
                <a:gd name="connsiteX301" fmla="*/ 175347 w 752994"/>
                <a:gd name="connsiteY301" fmla="*/ 173758 h 1333436"/>
                <a:gd name="connsiteX302" fmla="*/ 184975 w 752994"/>
                <a:gd name="connsiteY302" fmla="*/ 187393 h 1333436"/>
                <a:gd name="connsiteX303" fmla="*/ 184762 w 752994"/>
                <a:gd name="connsiteY303" fmla="*/ 184637 h 1333436"/>
                <a:gd name="connsiteX304" fmla="*/ 174971 w 752994"/>
                <a:gd name="connsiteY304" fmla="*/ 170774 h 1333436"/>
                <a:gd name="connsiteX305" fmla="*/ 174971 w 752994"/>
                <a:gd name="connsiteY305" fmla="*/ 169550 h 1333436"/>
                <a:gd name="connsiteX306" fmla="*/ 158851 w 752994"/>
                <a:gd name="connsiteY306" fmla="*/ 156924 h 1333436"/>
                <a:gd name="connsiteX307" fmla="*/ 147025 w 752994"/>
                <a:gd name="connsiteY307" fmla="*/ 145709 h 1333436"/>
                <a:gd name="connsiteX308" fmla="*/ 154364 w 752994"/>
                <a:gd name="connsiteY308" fmla="*/ 136335 h 1333436"/>
                <a:gd name="connsiteX309" fmla="*/ 161511 w 752994"/>
                <a:gd name="connsiteY309" fmla="*/ 131042 h 1333436"/>
                <a:gd name="connsiteX310" fmla="*/ 160902 w 752994"/>
                <a:gd name="connsiteY310" fmla="*/ 128384 h 1333436"/>
                <a:gd name="connsiteX311" fmla="*/ 160277 w 752994"/>
                <a:gd name="connsiteY311" fmla="*/ 127778 h 1333436"/>
                <a:gd name="connsiteX312" fmla="*/ 154973 w 752994"/>
                <a:gd name="connsiteY312" fmla="*/ 122077 h 1333436"/>
                <a:gd name="connsiteX313" fmla="*/ 160277 w 752994"/>
                <a:gd name="connsiteY313" fmla="*/ 115140 h 1333436"/>
                <a:gd name="connsiteX314" fmla="*/ 165181 w 752994"/>
                <a:gd name="connsiteY314" fmla="*/ 108215 h 1333436"/>
                <a:gd name="connsiteX315" fmla="*/ 161303 w 752994"/>
                <a:gd name="connsiteY315" fmla="*/ 104146 h 1333436"/>
                <a:gd name="connsiteX316" fmla="*/ 157842 w 752994"/>
                <a:gd name="connsiteY316" fmla="*/ 104542 h 1333436"/>
                <a:gd name="connsiteX317" fmla="*/ 157024 w 752994"/>
                <a:gd name="connsiteY317" fmla="*/ 102304 h 1333436"/>
                <a:gd name="connsiteX318" fmla="*/ 160694 w 752994"/>
                <a:gd name="connsiteY318" fmla="*/ 55437 h 1333436"/>
                <a:gd name="connsiteX319" fmla="*/ 160486 w 752994"/>
                <a:gd name="connsiteY319" fmla="*/ 31991 h 1333436"/>
                <a:gd name="connsiteX320" fmla="*/ 164972 w 752994"/>
                <a:gd name="connsiteY320" fmla="*/ 18141 h 1333436"/>
                <a:gd name="connsiteX321" fmla="*/ 171911 w 752994"/>
                <a:gd name="connsiteY321" fmla="*/ 11204 h 1333436"/>
                <a:gd name="connsiteX322" fmla="*/ 187406 w 752994"/>
                <a:gd name="connsiteY322" fmla="*/ 21801 h 1333436"/>
                <a:gd name="connsiteX323" fmla="*/ 210866 w 752994"/>
                <a:gd name="connsiteY323" fmla="*/ 37086 h 1333436"/>
                <a:gd name="connsiteX324" fmla="*/ 219230 w 752994"/>
                <a:gd name="connsiteY324" fmla="*/ 41166 h 1333436"/>
                <a:gd name="connsiteX325" fmla="*/ 226778 w 752994"/>
                <a:gd name="connsiteY325" fmla="*/ 47486 h 1333436"/>
                <a:gd name="connsiteX326" fmla="*/ 236152 w 752994"/>
                <a:gd name="connsiteY326" fmla="*/ 52370 h 1333436"/>
                <a:gd name="connsiteX327" fmla="*/ 239629 w 752994"/>
                <a:gd name="connsiteY327" fmla="*/ 58491 h 1333436"/>
                <a:gd name="connsiteX328" fmla="*/ 239629 w 752994"/>
                <a:gd name="connsiteY328" fmla="*/ 63376 h 1333436"/>
                <a:gd name="connsiteX329" fmla="*/ 236568 w 752994"/>
                <a:gd name="connsiteY329" fmla="*/ 67457 h 1333436"/>
                <a:gd name="connsiteX330" fmla="*/ 231264 w 752994"/>
                <a:gd name="connsiteY330" fmla="*/ 69905 h 1333436"/>
                <a:gd name="connsiteX331" fmla="*/ 216778 w 752994"/>
                <a:gd name="connsiteY331" fmla="*/ 82741 h 1333436"/>
                <a:gd name="connsiteX332" fmla="*/ 214134 w 752994"/>
                <a:gd name="connsiteY332" fmla="*/ 93536 h 1333436"/>
                <a:gd name="connsiteX333" fmla="*/ 214535 w 752994"/>
                <a:gd name="connsiteY333" fmla="*/ 96801 h 1333436"/>
                <a:gd name="connsiteX334" fmla="*/ 216378 w 752994"/>
                <a:gd name="connsiteY334" fmla="*/ 96801 h 1333436"/>
                <a:gd name="connsiteX335" fmla="*/ 230046 w 752994"/>
                <a:gd name="connsiteY335" fmla="*/ 85387 h 1333436"/>
                <a:gd name="connsiteX336" fmla="*/ 243298 w 752994"/>
                <a:gd name="connsiteY336" fmla="*/ 75198 h 1333436"/>
                <a:gd name="connsiteX337" fmla="*/ 246760 w 752994"/>
                <a:gd name="connsiteY337" fmla="*/ 77646 h 1333436"/>
                <a:gd name="connsiteX338" fmla="*/ 255541 w 752994"/>
                <a:gd name="connsiteY338" fmla="*/ 63376 h 1333436"/>
                <a:gd name="connsiteX339" fmla="*/ 259611 w 752994"/>
                <a:gd name="connsiteY339" fmla="*/ 43405 h 1333436"/>
                <a:gd name="connsiteX340" fmla="*/ 256967 w 752994"/>
                <a:gd name="connsiteY340" fmla="*/ 38520 h 1333436"/>
                <a:gd name="connsiteX341" fmla="*/ 253906 w 752994"/>
                <a:gd name="connsiteY341" fmla="*/ 34242 h 1333436"/>
                <a:gd name="connsiteX342" fmla="*/ 256967 w 752994"/>
                <a:gd name="connsiteY342" fmla="*/ 30161 h 1333436"/>
                <a:gd name="connsiteX343" fmla="*/ 262063 w 752994"/>
                <a:gd name="connsiteY343" fmla="*/ 27712 h 1333436"/>
                <a:gd name="connsiteX344" fmla="*/ 264915 w 752994"/>
                <a:gd name="connsiteY344" fmla="*/ 23026 h 1333436"/>
                <a:gd name="connsiteX345" fmla="*/ 267976 w 752994"/>
                <a:gd name="connsiteY345" fmla="*/ 22618 h 1333436"/>
                <a:gd name="connsiteX346" fmla="*/ 270427 w 752994"/>
                <a:gd name="connsiteY346" fmla="*/ 20787 h 1333436"/>
                <a:gd name="connsiteX347" fmla="*/ 263088 w 752994"/>
                <a:gd name="connsiteY347" fmla="*/ 13652 h 1333436"/>
                <a:gd name="connsiteX348" fmla="*/ 255541 w 752994"/>
                <a:gd name="connsiteY348" fmla="*/ 3055 h 1333436"/>
                <a:gd name="connsiteX349" fmla="*/ 256358 w 752994"/>
                <a:gd name="connsiteY349" fmla="*/ 1224 h 1333436"/>
                <a:gd name="connsiteX350" fmla="*/ 257159 w 752994"/>
                <a:gd name="connsiteY350"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45196 w 752994"/>
                <a:gd name="connsiteY30" fmla="*/ 269890 h 1333436"/>
                <a:gd name="connsiteX31" fmla="*/ 444145 w 752994"/>
                <a:gd name="connsiteY31" fmla="*/ 267441 h 1333436"/>
                <a:gd name="connsiteX32" fmla="*/ 381379 w 752994"/>
                <a:gd name="connsiteY32" fmla="*/ 252303 h 1333436"/>
                <a:gd name="connsiteX33" fmla="*/ 380962 w 752994"/>
                <a:gd name="connsiteY33" fmla="*/ 251895 h 1333436"/>
                <a:gd name="connsiteX34" fmla="*/ 365258 w 752994"/>
                <a:gd name="connsiteY34" fmla="*/ 245774 h 1333436"/>
                <a:gd name="connsiteX35" fmla="*/ 355067 w 752994"/>
                <a:gd name="connsiteY35" fmla="*/ 241285 h 1333436"/>
                <a:gd name="connsiteX36" fmla="*/ 350789 w 752994"/>
                <a:gd name="connsiteY36" fmla="*/ 244352 h 1333436"/>
                <a:gd name="connsiteX37" fmla="*/ 340789 w 752994"/>
                <a:gd name="connsiteY37" fmla="*/ 243536 h 1333436"/>
                <a:gd name="connsiteX38" fmla="*/ 333034 w 752994"/>
                <a:gd name="connsiteY38" fmla="*/ 240271 h 1333436"/>
                <a:gd name="connsiteX39" fmla="*/ 323868 w 752994"/>
                <a:gd name="connsiteY39" fmla="*/ 241495 h 1333436"/>
                <a:gd name="connsiteX40" fmla="*/ 309783 w 752994"/>
                <a:gd name="connsiteY40" fmla="*/ 243536 h 1333436"/>
                <a:gd name="connsiteX41" fmla="*/ 297140 w 752994"/>
                <a:gd name="connsiteY41" fmla="*/ 245576 h 1333436"/>
                <a:gd name="connsiteX42" fmla="*/ 288775 w 752994"/>
                <a:gd name="connsiteY42" fmla="*/ 247406 h 1333436"/>
                <a:gd name="connsiteX43" fmla="*/ 280827 w 752994"/>
                <a:gd name="connsiteY43" fmla="*/ 242720 h 1333436"/>
                <a:gd name="connsiteX44" fmla="*/ 274497 w 752994"/>
                <a:gd name="connsiteY44" fmla="*/ 238441 h 1333436"/>
                <a:gd name="connsiteX45" fmla="*/ 269001 w 752994"/>
                <a:gd name="connsiteY45" fmla="*/ 240679 h 1333436"/>
                <a:gd name="connsiteX46" fmla="*/ 262880 w 752994"/>
                <a:gd name="connsiteY46" fmla="*/ 243128 h 1333436"/>
                <a:gd name="connsiteX47" fmla="*/ 260028 w 752994"/>
                <a:gd name="connsiteY47" fmla="*/ 242720 h 1333436"/>
                <a:gd name="connsiteX48" fmla="*/ 247994 w 752994"/>
                <a:gd name="connsiteY48" fmla="*/ 241693 h 1333436"/>
                <a:gd name="connsiteX49" fmla="*/ 242081 w 752994"/>
                <a:gd name="connsiteY49" fmla="*/ 234162 h 1333436"/>
                <a:gd name="connsiteX50" fmla="*/ 235142 w 752994"/>
                <a:gd name="connsiteY50" fmla="*/ 229476 h 1333436"/>
                <a:gd name="connsiteX51" fmla="*/ 224742 w 752994"/>
                <a:gd name="connsiteY51" fmla="*/ 226817 h 1333436"/>
                <a:gd name="connsiteX52" fmla="*/ 216778 w 752994"/>
                <a:gd name="connsiteY52" fmla="*/ 229068 h 1333436"/>
                <a:gd name="connsiteX53" fmla="*/ 202709 w 752994"/>
                <a:gd name="connsiteY53" fmla="*/ 230898 h 1333436"/>
                <a:gd name="connsiteX54" fmla="*/ 195162 w 752994"/>
                <a:gd name="connsiteY54" fmla="*/ 228857 h 1333436"/>
                <a:gd name="connsiteX55" fmla="*/ 188223 w 752994"/>
                <a:gd name="connsiteY55" fmla="*/ 223973 h 1333436"/>
                <a:gd name="connsiteX56" fmla="*/ 185163 w 752994"/>
                <a:gd name="connsiteY56" fmla="*/ 219484 h 1333436"/>
                <a:gd name="connsiteX57" fmla="*/ 184180 w 752994"/>
                <a:gd name="connsiteY57" fmla="*/ 213866 h 1333436"/>
                <a:gd name="connsiteX58" fmla="*/ 257159 w 752994"/>
                <a:gd name="connsiteY58" fmla="*/ 0 h 1333436"/>
                <a:gd name="connsiteX59" fmla="*/ 493147 w 752994"/>
                <a:gd name="connsiteY59" fmla="*/ 73157 h 1333436"/>
                <a:gd name="connsiteX60" fmla="*/ 492970 w 752994"/>
                <a:gd name="connsiteY60" fmla="*/ 73792 h 1333436"/>
                <a:gd name="connsiteX61" fmla="*/ 525816 w 752994"/>
                <a:gd name="connsiteY61" fmla="*/ 82491 h 1333436"/>
                <a:gd name="connsiteX62" fmla="*/ 520098 w 752994"/>
                <a:gd name="connsiteY62" fmla="*/ 111245 h 1333436"/>
                <a:gd name="connsiteX63" fmla="*/ 512552 w 752994"/>
                <a:gd name="connsiteY63" fmla="*/ 143854 h 1333436"/>
                <a:gd name="connsiteX64" fmla="*/ 517849 w 752994"/>
                <a:gd name="connsiteY64" fmla="*/ 157740 h 1333436"/>
                <a:gd name="connsiteX65" fmla="*/ 523160 w 752994"/>
                <a:gd name="connsiteY65" fmla="*/ 172009 h 1333436"/>
                <a:gd name="connsiteX66" fmla="*/ 521535 w 752994"/>
                <a:gd name="connsiteY66" fmla="*/ 178928 h 1333436"/>
                <a:gd name="connsiteX67" fmla="*/ 520098 w 752994"/>
                <a:gd name="connsiteY67" fmla="*/ 186279 h 1333436"/>
                <a:gd name="connsiteX68" fmla="*/ 526019 w 752994"/>
                <a:gd name="connsiteY68" fmla="*/ 193629 h 1333436"/>
                <a:gd name="connsiteX69" fmla="*/ 537251 w 752994"/>
                <a:gd name="connsiteY69" fmla="*/ 206270 h 1333436"/>
                <a:gd name="connsiteX70" fmla="*/ 542765 w 752994"/>
                <a:gd name="connsiteY70" fmla="*/ 217475 h 1333436"/>
                <a:gd name="connsiteX71" fmla="*/ 546857 w 752994"/>
                <a:gd name="connsiteY71" fmla="*/ 230930 h 1333436"/>
                <a:gd name="connsiteX72" fmla="*/ 549499 w 752994"/>
                <a:gd name="connsiteY72" fmla="*/ 235622 h 1333436"/>
                <a:gd name="connsiteX73" fmla="*/ 553388 w 752994"/>
                <a:gd name="connsiteY73" fmla="*/ 240722 h 1333436"/>
                <a:gd name="connsiteX74" fmla="*/ 557465 w 752994"/>
                <a:gd name="connsiteY74" fmla="*/ 246037 h 1333436"/>
                <a:gd name="connsiteX75" fmla="*/ 561761 w 752994"/>
                <a:gd name="connsiteY75" fmla="*/ 248671 h 1333436"/>
                <a:gd name="connsiteX76" fmla="*/ 567478 w 752994"/>
                <a:gd name="connsiteY76" fmla="*/ 247665 h 1333436"/>
                <a:gd name="connsiteX77" fmla="*/ 569931 w 752994"/>
                <a:gd name="connsiteY77" fmla="*/ 249293 h 1333436"/>
                <a:gd name="connsiteX78" fmla="*/ 570540 w 752994"/>
                <a:gd name="connsiteY78" fmla="*/ 251951 h 1333436"/>
                <a:gd name="connsiteX79" fmla="*/ 561964 w 752994"/>
                <a:gd name="connsiteY79" fmla="*/ 267656 h 1333436"/>
                <a:gd name="connsiteX80" fmla="*/ 553591 w 752994"/>
                <a:gd name="connsiteY80" fmla="*/ 289659 h 1333436"/>
                <a:gd name="connsiteX81" fmla="*/ 554810 w 752994"/>
                <a:gd name="connsiteY81" fmla="*/ 292939 h 1333436"/>
                <a:gd name="connsiteX82" fmla="*/ 556246 w 752994"/>
                <a:gd name="connsiteY82" fmla="*/ 299260 h 1333436"/>
                <a:gd name="connsiteX83" fmla="*/ 552778 w 752994"/>
                <a:gd name="connsiteY83" fmla="*/ 301917 h 1333436"/>
                <a:gd name="connsiteX84" fmla="*/ 549295 w 752994"/>
                <a:gd name="connsiteY84" fmla="*/ 306993 h 1333436"/>
                <a:gd name="connsiteX85" fmla="*/ 547061 w 752994"/>
                <a:gd name="connsiteY85" fmla="*/ 313122 h 1333436"/>
                <a:gd name="connsiteX86" fmla="*/ 544811 w 752994"/>
                <a:gd name="connsiteY86" fmla="*/ 316593 h 1333436"/>
                <a:gd name="connsiteX87" fmla="*/ 549919 w 752994"/>
                <a:gd name="connsiteY87" fmla="*/ 322698 h 1333436"/>
                <a:gd name="connsiteX88" fmla="*/ 553184 w 752994"/>
                <a:gd name="connsiteY88" fmla="*/ 325955 h 1333436"/>
                <a:gd name="connsiteX89" fmla="*/ 555840 w 752994"/>
                <a:gd name="connsiteY89" fmla="*/ 328205 h 1333436"/>
                <a:gd name="connsiteX90" fmla="*/ 574212 w 752994"/>
                <a:gd name="connsiteY90" fmla="*/ 318820 h 1333436"/>
                <a:gd name="connsiteX91" fmla="*/ 579523 w 752994"/>
                <a:gd name="connsiteY91" fmla="*/ 326577 h 1333436"/>
                <a:gd name="connsiteX92" fmla="*/ 580539 w 752994"/>
                <a:gd name="connsiteY92" fmla="*/ 334933 h 1333436"/>
                <a:gd name="connsiteX93" fmla="*/ 579726 w 752994"/>
                <a:gd name="connsiteY93" fmla="*/ 343097 h 1333436"/>
                <a:gd name="connsiteX94" fmla="*/ 581366 w 752994"/>
                <a:gd name="connsiteY94" fmla="*/ 350231 h 1333436"/>
                <a:gd name="connsiteX95" fmla="*/ 586256 w 752994"/>
                <a:gd name="connsiteY95" fmla="*/ 355930 h 1333436"/>
                <a:gd name="connsiteX96" fmla="*/ 589536 w 752994"/>
                <a:gd name="connsiteY96" fmla="*/ 362059 h 1333436"/>
                <a:gd name="connsiteX97" fmla="*/ 588099 w 752994"/>
                <a:gd name="connsiteY97" fmla="*/ 369600 h 1333436"/>
                <a:gd name="connsiteX98" fmla="*/ 586459 w 752994"/>
                <a:gd name="connsiteY98" fmla="*/ 377357 h 1333436"/>
                <a:gd name="connsiteX99" fmla="*/ 588709 w 752994"/>
                <a:gd name="connsiteY99" fmla="*/ 381835 h 1333436"/>
                <a:gd name="connsiteX100" fmla="*/ 595036 w 752994"/>
                <a:gd name="connsiteY100" fmla="*/ 382457 h 1333436"/>
                <a:gd name="connsiteX101" fmla="*/ 599331 w 752994"/>
                <a:gd name="connsiteY101" fmla="*/ 385306 h 1333436"/>
                <a:gd name="connsiteX102" fmla="*/ 601987 w 752994"/>
                <a:gd name="connsiteY102" fmla="*/ 391004 h 1333436"/>
                <a:gd name="connsiteX103" fmla="*/ 602799 w 752994"/>
                <a:gd name="connsiteY103" fmla="*/ 404076 h 1333436"/>
                <a:gd name="connsiteX104" fmla="*/ 606892 w 752994"/>
                <a:gd name="connsiteY104" fmla="*/ 415688 h 1333436"/>
                <a:gd name="connsiteX105" fmla="*/ 610563 w 752994"/>
                <a:gd name="connsiteY105" fmla="*/ 412217 h 1333436"/>
                <a:gd name="connsiteX106" fmla="*/ 617920 w 752994"/>
                <a:gd name="connsiteY106" fmla="*/ 408769 h 1333436"/>
                <a:gd name="connsiteX107" fmla="*/ 624654 w 752994"/>
                <a:gd name="connsiteY107" fmla="*/ 411211 h 1333436"/>
                <a:gd name="connsiteX108" fmla="*/ 634652 w 752994"/>
                <a:gd name="connsiteY108" fmla="*/ 410182 h 1333436"/>
                <a:gd name="connsiteX109" fmla="*/ 640573 w 752994"/>
                <a:gd name="connsiteY109" fmla="*/ 407739 h 1333436"/>
                <a:gd name="connsiteX110" fmla="*/ 646711 w 752994"/>
                <a:gd name="connsiteY110" fmla="*/ 410589 h 1333436"/>
                <a:gd name="connsiteX111" fmla="*/ 650383 w 752994"/>
                <a:gd name="connsiteY111" fmla="*/ 410589 h 1333436"/>
                <a:gd name="connsiteX112" fmla="*/ 654257 w 752994"/>
                <a:gd name="connsiteY112" fmla="*/ 411618 h 1333436"/>
                <a:gd name="connsiteX113" fmla="*/ 656913 w 752994"/>
                <a:gd name="connsiteY113" fmla="*/ 413653 h 1333436"/>
                <a:gd name="connsiteX114" fmla="*/ 660802 w 752994"/>
                <a:gd name="connsiteY114" fmla="*/ 415090 h 1333436"/>
                <a:gd name="connsiteX115" fmla="*/ 669581 w 752994"/>
                <a:gd name="connsiteY115" fmla="*/ 415904 h 1333436"/>
                <a:gd name="connsiteX116" fmla="*/ 672237 w 752994"/>
                <a:gd name="connsiteY116" fmla="*/ 415688 h 1333436"/>
                <a:gd name="connsiteX117" fmla="*/ 675705 w 752994"/>
                <a:gd name="connsiteY117" fmla="*/ 409367 h 1333436"/>
                <a:gd name="connsiteX118" fmla="*/ 679986 w 752994"/>
                <a:gd name="connsiteY118" fmla="*/ 403238 h 1333436"/>
                <a:gd name="connsiteX119" fmla="*/ 693264 w 752994"/>
                <a:gd name="connsiteY119" fmla="*/ 419567 h 1333436"/>
                <a:gd name="connsiteX120" fmla="*/ 688563 w 752994"/>
                <a:gd name="connsiteY120" fmla="*/ 448321 h 1333436"/>
                <a:gd name="connsiteX121" fmla="*/ 663949 w 752994"/>
                <a:gd name="connsiteY121" fmla="*/ 590165 h 1333436"/>
                <a:gd name="connsiteX122" fmla="*/ 666304 w 752994"/>
                <a:gd name="connsiteY122" fmla="*/ 590504 h 1333436"/>
                <a:gd name="connsiteX123" fmla="*/ 655288 w 752994"/>
                <a:gd name="connsiteY123" fmla="*/ 656178 h 1333436"/>
                <a:gd name="connsiteX124" fmla="*/ 681808 w 752994"/>
                <a:gd name="connsiteY124" fmla="*/ 662301 h 1333436"/>
                <a:gd name="connsiteX125" fmla="*/ 752994 w 752994"/>
                <a:gd name="connsiteY125" fmla="*/ 675560 h 1333436"/>
                <a:gd name="connsiteX126" fmla="*/ 714651 w 752994"/>
                <a:gd name="connsiteY126" fmla="*/ 946985 h 1333436"/>
                <a:gd name="connsiteX127" fmla="*/ 654533 w 752994"/>
                <a:gd name="connsiteY127" fmla="*/ 1333436 h 1333436"/>
                <a:gd name="connsiteX128" fmla="*/ 546831 w 752994"/>
                <a:gd name="connsiteY128" fmla="*/ 1317126 h 1333436"/>
                <a:gd name="connsiteX129" fmla="*/ 351227 w 752994"/>
                <a:gd name="connsiteY129" fmla="*/ 1194172 h 1333436"/>
                <a:gd name="connsiteX130" fmla="*/ 361011 w 752994"/>
                <a:gd name="connsiteY130" fmla="*/ 1182755 h 1333436"/>
                <a:gd name="connsiteX131" fmla="*/ 368981 w 752994"/>
                <a:gd name="connsiteY131" fmla="*/ 1182130 h 1333436"/>
                <a:gd name="connsiteX132" fmla="*/ 369571 w 752994"/>
                <a:gd name="connsiteY132" fmla="*/ 1181558 h 1333436"/>
                <a:gd name="connsiteX133" fmla="*/ 362372 w 752994"/>
                <a:gd name="connsiteY133" fmla="*/ 1182120 h 1333436"/>
                <a:gd name="connsiteX134" fmla="*/ 229464 w 752994"/>
                <a:gd name="connsiteY134" fmla="*/ 1161721 h 1333436"/>
                <a:gd name="connsiteX135" fmla="*/ 227427 w 752994"/>
                <a:gd name="connsiteY135" fmla="*/ 1157269 h 1333436"/>
                <a:gd name="connsiteX136" fmla="*/ 224967 w 752994"/>
                <a:gd name="connsiteY136" fmla="*/ 1152575 h 1333436"/>
                <a:gd name="connsiteX137" fmla="*/ 225582 w 752994"/>
                <a:gd name="connsiteY137" fmla="*/ 1144808 h 1333436"/>
                <a:gd name="connsiteX138" fmla="*/ 227215 w 752994"/>
                <a:gd name="connsiteY138" fmla="*/ 1135834 h 1333436"/>
                <a:gd name="connsiteX139" fmla="*/ 227215 w 752994"/>
                <a:gd name="connsiteY139" fmla="*/ 1134212 h 1333436"/>
                <a:gd name="connsiteX140" fmla="*/ 225179 w 752994"/>
                <a:gd name="connsiteY140" fmla="*/ 1114020 h 1333436"/>
                <a:gd name="connsiteX141" fmla="*/ 217839 w 752994"/>
                <a:gd name="connsiteY141" fmla="*/ 1100352 h 1333436"/>
                <a:gd name="connsiteX142" fmla="*/ 199661 w 752994"/>
                <a:gd name="connsiteY142" fmla="*/ 1076502 h 1333436"/>
                <a:gd name="connsiteX143" fmla="*/ 196395 w 752994"/>
                <a:gd name="connsiteY143" fmla="*/ 1071807 h 1333436"/>
                <a:gd name="connsiteX144" fmla="*/ 190880 w 752994"/>
                <a:gd name="connsiteY144" fmla="*/ 1067527 h 1333436"/>
                <a:gd name="connsiteX145" fmla="*/ 187210 w 752994"/>
                <a:gd name="connsiteY145" fmla="*/ 1068735 h 1333436"/>
                <a:gd name="connsiteX146" fmla="*/ 180062 w 752994"/>
                <a:gd name="connsiteY146" fmla="*/ 1066699 h 1333436"/>
                <a:gd name="connsiteX147" fmla="*/ 180466 w 752994"/>
                <a:gd name="connsiteY147" fmla="*/ 1053031 h 1333436"/>
                <a:gd name="connsiteX148" fmla="*/ 180062 w 752994"/>
                <a:gd name="connsiteY148" fmla="*/ 1045299 h 1333436"/>
                <a:gd name="connsiteX149" fmla="*/ 174144 w 752994"/>
                <a:gd name="connsiteY149" fmla="*/ 1044057 h 1333436"/>
                <a:gd name="connsiteX150" fmla="*/ 158426 w 752994"/>
                <a:gd name="connsiteY150" fmla="*/ 1042641 h 1333436"/>
                <a:gd name="connsiteX151" fmla="*/ 149857 w 752994"/>
                <a:gd name="connsiteY151" fmla="*/ 1035497 h 1333436"/>
                <a:gd name="connsiteX152" fmla="*/ 142497 w 752994"/>
                <a:gd name="connsiteY152" fmla="*/ 1028766 h 1333436"/>
                <a:gd name="connsiteX153" fmla="*/ 140864 w 752994"/>
                <a:gd name="connsiteY153" fmla="*/ 1020620 h 1333436"/>
                <a:gd name="connsiteX154" fmla="*/ 138212 w 752994"/>
                <a:gd name="connsiteY154" fmla="*/ 1013061 h 1333436"/>
                <a:gd name="connsiteX155" fmla="*/ 131064 w 752994"/>
                <a:gd name="connsiteY155" fmla="*/ 1007159 h 1333436"/>
                <a:gd name="connsiteX156" fmla="*/ 121264 w 752994"/>
                <a:gd name="connsiteY156" fmla="*/ 1005330 h 1333436"/>
                <a:gd name="connsiteX157" fmla="*/ 112483 w 752994"/>
                <a:gd name="connsiteY157" fmla="*/ 1001671 h 1333436"/>
                <a:gd name="connsiteX158" fmla="*/ 105950 w 752994"/>
                <a:gd name="connsiteY158" fmla="*/ 995734 h 1333436"/>
                <a:gd name="connsiteX159" fmla="*/ 97380 w 752994"/>
                <a:gd name="connsiteY159" fmla="*/ 994526 h 1333436"/>
                <a:gd name="connsiteX160" fmla="*/ 87984 w 752994"/>
                <a:gd name="connsiteY160" fmla="*/ 991040 h 1333436"/>
                <a:gd name="connsiteX161" fmla="*/ 80029 w 752994"/>
                <a:gd name="connsiteY161" fmla="*/ 985138 h 1333436"/>
                <a:gd name="connsiteX162" fmla="*/ 77166 w 752994"/>
                <a:gd name="connsiteY162" fmla="*/ 976164 h 1333436"/>
                <a:gd name="connsiteX163" fmla="*/ 79203 w 752994"/>
                <a:gd name="connsiteY163" fmla="*/ 970676 h 1333436"/>
                <a:gd name="connsiteX164" fmla="*/ 82470 w 752994"/>
                <a:gd name="connsiteY164" fmla="*/ 963117 h 1333436"/>
                <a:gd name="connsiteX165" fmla="*/ 84314 w 752994"/>
                <a:gd name="connsiteY165" fmla="*/ 954557 h 1333436"/>
                <a:gd name="connsiteX166" fmla="*/ 86351 w 752994"/>
                <a:gd name="connsiteY166" fmla="*/ 948033 h 1333436"/>
                <a:gd name="connsiteX167" fmla="*/ 86159 w 752994"/>
                <a:gd name="connsiteY167" fmla="*/ 942925 h 1333436"/>
                <a:gd name="connsiteX168" fmla="*/ 83085 w 752994"/>
                <a:gd name="connsiteY168" fmla="*/ 939853 h 1333436"/>
                <a:gd name="connsiteX169" fmla="*/ 77570 w 752994"/>
                <a:gd name="connsiteY169" fmla="*/ 937437 h 1333436"/>
                <a:gd name="connsiteX170" fmla="*/ 76763 w 752994"/>
                <a:gd name="connsiteY170" fmla="*/ 931915 h 1333436"/>
                <a:gd name="connsiteX171" fmla="*/ 78800 w 752994"/>
                <a:gd name="connsiteY171" fmla="*/ 927013 h 1333436"/>
                <a:gd name="connsiteX172" fmla="*/ 79626 w 752994"/>
                <a:gd name="connsiteY172" fmla="*/ 922526 h 1333436"/>
                <a:gd name="connsiteX173" fmla="*/ 77781 w 752994"/>
                <a:gd name="connsiteY173" fmla="*/ 919903 h 1333436"/>
                <a:gd name="connsiteX174" fmla="*/ 74303 w 752994"/>
                <a:gd name="connsiteY174" fmla="*/ 917418 h 1333436"/>
                <a:gd name="connsiteX175" fmla="*/ 71863 w 752994"/>
                <a:gd name="connsiteY175" fmla="*/ 915174 h 1333436"/>
                <a:gd name="connsiteX176" fmla="*/ 71652 w 752994"/>
                <a:gd name="connsiteY176" fmla="*/ 910894 h 1333436"/>
                <a:gd name="connsiteX177" fmla="*/ 70633 w 752994"/>
                <a:gd name="connsiteY177" fmla="*/ 906614 h 1333436"/>
                <a:gd name="connsiteX178" fmla="*/ 68385 w 752994"/>
                <a:gd name="connsiteY178" fmla="*/ 902749 h 1333436"/>
                <a:gd name="connsiteX179" fmla="*/ 61045 w 752994"/>
                <a:gd name="connsiteY179" fmla="*/ 889494 h 1333436"/>
                <a:gd name="connsiteX180" fmla="*/ 57971 w 752994"/>
                <a:gd name="connsiteY180" fmla="*/ 875619 h 1333436"/>
                <a:gd name="connsiteX181" fmla="*/ 52264 w 752994"/>
                <a:gd name="connsiteY181" fmla="*/ 862572 h 1333436"/>
                <a:gd name="connsiteX182" fmla="*/ 44309 w 752994"/>
                <a:gd name="connsiteY182" fmla="*/ 850561 h 1333436"/>
                <a:gd name="connsiteX183" fmla="*/ 45520 w 752994"/>
                <a:gd name="connsiteY183" fmla="*/ 827090 h 1333436"/>
                <a:gd name="connsiteX184" fmla="*/ 53071 w 752994"/>
                <a:gd name="connsiteY184" fmla="*/ 822396 h 1333436"/>
                <a:gd name="connsiteX185" fmla="*/ 57375 w 752994"/>
                <a:gd name="connsiteY185" fmla="*/ 816493 h 1333436"/>
                <a:gd name="connsiteX186" fmla="*/ 55319 w 752994"/>
                <a:gd name="connsiteY186" fmla="*/ 801617 h 1333436"/>
                <a:gd name="connsiteX187" fmla="*/ 48383 w 752994"/>
                <a:gd name="connsiteY187" fmla="*/ 802204 h 1333436"/>
                <a:gd name="connsiteX188" fmla="*/ 40428 w 752994"/>
                <a:gd name="connsiteY188" fmla="*/ 797924 h 1333436"/>
                <a:gd name="connsiteX189" fmla="*/ 37565 w 752994"/>
                <a:gd name="connsiteY189" fmla="*/ 790606 h 1333436"/>
                <a:gd name="connsiteX190" fmla="*/ 37565 w 752994"/>
                <a:gd name="connsiteY190" fmla="*/ 790399 h 1333436"/>
                <a:gd name="connsiteX191" fmla="*/ 35931 w 752994"/>
                <a:gd name="connsiteY191" fmla="*/ 785912 h 1333436"/>
                <a:gd name="connsiteX192" fmla="*/ 34510 w 752994"/>
                <a:gd name="connsiteY192" fmla="*/ 780597 h 1333436"/>
                <a:gd name="connsiteX193" fmla="*/ 36335 w 752994"/>
                <a:gd name="connsiteY193" fmla="*/ 774280 h 1333436"/>
                <a:gd name="connsiteX194" fmla="*/ 38180 w 752994"/>
                <a:gd name="connsiteY194" fmla="*/ 766721 h 1333436"/>
                <a:gd name="connsiteX195" fmla="*/ 37161 w 752994"/>
                <a:gd name="connsiteY195" fmla="*/ 760405 h 1333436"/>
                <a:gd name="connsiteX196" fmla="*/ 35720 w 752994"/>
                <a:gd name="connsiteY196" fmla="*/ 754710 h 1333436"/>
                <a:gd name="connsiteX197" fmla="*/ 36546 w 752994"/>
                <a:gd name="connsiteY197" fmla="*/ 748773 h 1333436"/>
                <a:gd name="connsiteX198" fmla="*/ 38372 w 752994"/>
                <a:gd name="connsiteY198" fmla="*/ 744528 h 1333436"/>
                <a:gd name="connsiteX199" fmla="*/ 41638 w 752994"/>
                <a:gd name="connsiteY199" fmla="*/ 744321 h 1333436"/>
                <a:gd name="connsiteX200" fmla="*/ 44713 w 752994"/>
                <a:gd name="connsiteY200" fmla="*/ 746357 h 1333436"/>
                <a:gd name="connsiteX201" fmla="*/ 47364 w 752994"/>
                <a:gd name="connsiteY201" fmla="*/ 753260 h 1333436"/>
                <a:gd name="connsiteX202" fmla="*/ 55742 w 752994"/>
                <a:gd name="connsiteY202" fmla="*/ 764305 h 1333436"/>
                <a:gd name="connsiteX203" fmla="*/ 56338 w 752994"/>
                <a:gd name="connsiteY203" fmla="*/ 761233 h 1333436"/>
                <a:gd name="connsiteX204" fmla="*/ 56145 w 752994"/>
                <a:gd name="connsiteY204" fmla="*/ 757368 h 1333436"/>
                <a:gd name="connsiteX205" fmla="*/ 54916 w 752994"/>
                <a:gd name="connsiteY205" fmla="*/ 748601 h 1333436"/>
                <a:gd name="connsiteX206" fmla="*/ 52879 w 752994"/>
                <a:gd name="connsiteY206" fmla="*/ 747358 h 1333436"/>
                <a:gd name="connsiteX207" fmla="*/ 51649 w 752994"/>
                <a:gd name="connsiteY207" fmla="*/ 745322 h 1333436"/>
                <a:gd name="connsiteX208" fmla="*/ 51649 w 752994"/>
                <a:gd name="connsiteY208" fmla="*/ 739212 h 1333436"/>
                <a:gd name="connsiteX209" fmla="*/ 50227 w 752994"/>
                <a:gd name="connsiteY209" fmla="*/ 734725 h 1333436"/>
                <a:gd name="connsiteX210" fmla="*/ 48786 w 752994"/>
                <a:gd name="connsiteY210" fmla="*/ 731446 h 1333436"/>
                <a:gd name="connsiteX211" fmla="*/ 54512 w 752994"/>
                <a:gd name="connsiteY211" fmla="*/ 726372 h 1333436"/>
                <a:gd name="connsiteX212" fmla="*/ 59815 w 752994"/>
                <a:gd name="connsiteY212" fmla="*/ 725130 h 1333436"/>
                <a:gd name="connsiteX213" fmla="*/ 58182 w 752994"/>
                <a:gd name="connsiteY213" fmla="*/ 722886 h 1333436"/>
                <a:gd name="connsiteX214" fmla="*/ 51861 w 752994"/>
                <a:gd name="connsiteY214" fmla="*/ 717985 h 1333436"/>
                <a:gd name="connsiteX215" fmla="*/ 46749 w 752994"/>
                <a:gd name="connsiteY215" fmla="*/ 729617 h 1333436"/>
                <a:gd name="connsiteX216" fmla="*/ 40831 w 752994"/>
                <a:gd name="connsiteY216" fmla="*/ 739212 h 1333436"/>
                <a:gd name="connsiteX217" fmla="*/ 39601 w 752994"/>
                <a:gd name="connsiteY217" fmla="*/ 738798 h 1333436"/>
                <a:gd name="connsiteX218" fmla="*/ 39409 w 752994"/>
                <a:gd name="connsiteY218" fmla="*/ 738591 h 1333436"/>
                <a:gd name="connsiteX219" fmla="*/ 37161 w 752994"/>
                <a:gd name="connsiteY219" fmla="*/ 734725 h 1333436"/>
                <a:gd name="connsiteX220" fmla="*/ 32665 w 752994"/>
                <a:gd name="connsiteY220" fmla="*/ 727788 h 1333436"/>
                <a:gd name="connsiteX221" fmla="*/ 26747 w 752994"/>
                <a:gd name="connsiteY221" fmla="*/ 719435 h 1333436"/>
                <a:gd name="connsiteX222" fmla="*/ 23884 w 752994"/>
                <a:gd name="connsiteY222" fmla="*/ 717812 h 1333436"/>
                <a:gd name="connsiteX223" fmla="*/ 24710 w 752994"/>
                <a:gd name="connsiteY223" fmla="*/ 709632 h 1333436"/>
                <a:gd name="connsiteX224" fmla="*/ 27554 w 752994"/>
                <a:gd name="connsiteY224" fmla="*/ 701694 h 1333436"/>
                <a:gd name="connsiteX225" fmla="*/ 24902 w 752994"/>
                <a:gd name="connsiteY225" fmla="*/ 696171 h 1333436"/>
                <a:gd name="connsiteX226" fmla="*/ 24095 w 752994"/>
                <a:gd name="connsiteY226" fmla="*/ 687818 h 1333436"/>
                <a:gd name="connsiteX227" fmla="*/ 22462 w 752994"/>
                <a:gd name="connsiteY227" fmla="*/ 682330 h 1333436"/>
                <a:gd name="connsiteX228" fmla="*/ 17159 w 752994"/>
                <a:gd name="connsiteY228" fmla="*/ 677636 h 1333436"/>
                <a:gd name="connsiteX229" fmla="*/ 14296 w 752994"/>
                <a:gd name="connsiteY229" fmla="*/ 671492 h 1333436"/>
                <a:gd name="connsiteX230" fmla="*/ 12451 w 752994"/>
                <a:gd name="connsiteY230" fmla="*/ 665797 h 1333436"/>
                <a:gd name="connsiteX231" fmla="*/ 5111 w 752994"/>
                <a:gd name="connsiteY231" fmla="*/ 654994 h 1333436"/>
                <a:gd name="connsiteX232" fmla="*/ 2248 w 752994"/>
                <a:gd name="connsiteY232" fmla="*/ 645605 h 1333436"/>
                <a:gd name="connsiteX233" fmla="*/ 4496 w 752994"/>
                <a:gd name="connsiteY233" fmla="*/ 640497 h 1333436"/>
                <a:gd name="connsiteX234" fmla="*/ 6744 w 752994"/>
                <a:gd name="connsiteY234" fmla="*/ 632765 h 1333436"/>
                <a:gd name="connsiteX235" fmla="*/ 6744 w 752994"/>
                <a:gd name="connsiteY235" fmla="*/ 628485 h 1333436"/>
                <a:gd name="connsiteX236" fmla="*/ 6533 w 752994"/>
                <a:gd name="connsiteY236" fmla="*/ 620305 h 1333436"/>
                <a:gd name="connsiteX237" fmla="*/ 7359 w 752994"/>
                <a:gd name="connsiteY237" fmla="*/ 611745 h 1333436"/>
                <a:gd name="connsiteX238" fmla="*/ 11836 w 752994"/>
                <a:gd name="connsiteY238" fmla="*/ 602978 h 1333436"/>
                <a:gd name="connsiteX239" fmla="*/ 15103 w 752994"/>
                <a:gd name="connsiteY239" fmla="*/ 591760 h 1333436"/>
                <a:gd name="connsiteX240" fmla="*/ 14488 w 752994"/>
                <a:gd name="connsiteY240" fmla="*/ 584029 h 1333436"/>
                <a:gd name="connsiteX241" fmla="*/ 13873 w 752994"/>
                <a:gd name="connsiteY241" fmla="*/ 578299 h 1333436"/>
                <a:gd name="connsiteX242" fmla="*/ 10626 w 752994"/>
                <a:gd name="connsiteY242" fmla="*/ 568531 h 1333436"/>
                <a:gd name="connsiteX243" fmla="*/ 3670 w 752994"/>
                <a:gd name="connsiteY243" fmla="*/ 558107 h 1333436"/>
                <a:gd name="connsiteX244" fmla="*/ 0 w 752994"/>
                <a:gd name="connsiteY244" fmla="*/ 551377 h 1333436"/>
                <a:gd name="connsiteX245" fmla="*/ 0 w 752994"/>
                <a:gd name="connsiteY245" fmla="*/ 550997 h 1333436"/>
                <a:gd name="connsiteX246" fmla="*/ 4900 w 752994"/>
                <a:gd name="connsiteY246" fmla="*/ 531220 h 1333436"/>
                <a:gd name="connsiteX247" fmla="*/ 13873 w 752994"/>
                <a:gd name="connsiteY247" fmla="*/ 520589 h 1333436"/>
                <a:gd name="connsiteX248" fmla="*/ 18369 w 752994"/>
                <a:gd name="connsiteY248" fmla="*/ 516516 h 1333436"/>
                <a:gd name="connsiteX249" fmla="*/ 18773 w 752994"/>
                <a:gd name="connsiteY249" fmla="*/ 514272 h 1333436"/>
                <a:gd name="connsiteX250" fmla="*/ 23077 w 752994"/>
                <a:gd name="connsiteY250" fmla="*/ 506127 h 1333436"/>
                <a:gd name="connsiteX251" fmla="*/ 23884 w 752994"/>
                <a:gd name="connsiteY251" fmla="*/ 502261 h 1333436"/>
                <a:gd name="connsiteX252" fmla="*/ 23692 w 752994"/>
                <a:gd name="connsiteY252" fmla="*/ 496738 h 1333436"/>
                <a:gd name="connsiteX253" fmla="*/ 30013 w 752994"/>
                <a:gd name="connsiteY253" fmla="*/ 486556 h 1333436"/>
                <a:gd name="connsiteX254" fmla="*/ 36546 w 752994"/>
                <a:gd name="connsiteY254" fmla="*/ 470230 h 1333436"/>
                <a:gd name="connsiteX255" fmla="*/ 36546 w 752994"/>
                <a:gd name="connsiteY255" fmla="*/ 462671 h 1333436"/>
                <a:gd name="connsiteX256" fmla="*/ 36335 w 752994"/>
                <a:gd name="connsiteY256" fmla="*/ 461670 h 1333436"/>
                <a:gd name="connsiteX257" fmla="*/ 35931 w 752994"/>
                <a:gd name="connsiteY257" fmla="*/ 453110 h 1333436"/>
                <a:gd name="connsiteX258" fmla="*/ 38583 w 752994"/>
                <a:gd name="connsiteY258" fmla="*/ 442514 h 1333436"/>
                <a:gd name="connsiteX259" fmla="*/ 41043 w 752994"/>
                <a:gd name="connsiteY259" fmla="*/ 436991 h 1333436"/>
                <a:gd name="connsiteX260" fmla="*/ 41650 w 752994"/>
                <a:gd name="connsiteY260" fmla="*/ 437186 h 1333436"/>
                <a:gd name="connsiteX261" fmla="*/ 41239 w 752994"/>
                <a:gd name="connsiteY261" fmla="*/ 436549 h 1333436"/>
                <a:gd name="connsiteX262" fmla="*/ 37778 w 752994"/>
                <a:gd name="connsiteY262" fmla="*/ 433894 h 1333436"/>
                <a:gd name="connsiteX263" fmla="*/ 37169 w 752994"/>
                <a:gd name="connsiteY263" fmla="*/ 432261 h 1333436"/>
                <a:gd name="connsiteX264" fmla="*/ 37365 w 752994"/>
                <a:gd name="connsiteY264" fmla="*/ 429198 h 1333436"/>
                <a:gd name="connsiteX265" fmla="*/ 36756 w 752994"/>
                <a:gd name="connsiteY265" fmla="*/ 422272 h 1333436"/>
                <a:gd name="connsiteX266" fmla="*/ 36952 w 752994"/>
                <a:gd name="connsiteY266" fmla="*/ 418800 h 1333436"/>
                <a:gd name="connsiteX267" fmla="*/ 36756 w 752994"/>
                <a:gd name="connsiteY267" fmla="*/ 412487 h 1333436"/>
                <a:gd name="connsiteX268" fmla="*/ 40433 w 752994"/>
                <a:gd name="connsiteY268" fmla="*/ 406174 h 1333436"/>
                <a:gd name="connsiteX269" fmla="*/ 44720 w 752994"/>
                <a:gd name="connsiteY269" fmla="*/ 399435 h 1333436"/>
                <a:gd name="connsiteX270" fmla="*/ 44110 w 752994"/>
                <a:gd name="connsiteY270" fmla="*/ 389651 h 1333436"/>
                <a:gd name="connsiteX271" fmla="*/ 43894 w 752994"/>
                <a:gd name="connsiteY271" fmla="*/ 378437 h 1333436"/>
                <a:gd name="connsiteX272" fmla="*/ 47158 w 752994"/>
                <a:gd name="connsiteY272" fmla="*/ 371102 h 1333436"/>
                <a:gd name="connsiteX273" fmla="*/ 55731 w 752994"/>
                <a:gd name="connsiteY273" fmla="*/ 360909 h 1333436"/>
                <a:gd name="connsiteX274" fmla="*/ 57580 w 752994"/>
                <a:gd name="connsiteY274" fmla="*/ 355804 h 1333436"/>
                <a:gd name="connsiteX275" fmla="*/ 62673 w 752994"/>
                <a:gd name="connsiteY275" fmla="*/ 349695 h 1333436"/>
                <a:gd name="connsiteX276" fmla="*/ 65937 w 752994"/>
                <a:gd name="connsiteY276" fmla="*/ 348470 h 1333436"/>
                <a:gd name="connsiteX277" fmla="*/ 68395 w 752994"/>
                <a:gd name="connsiteY277" fmla="*/ 348674 h 1333436"/>
                <a:gd name="connsiteX278" fmla="*/ 70224 w 752994"/>
                <a:gd name="connsiteY278" fmla="*/ 347449 h 1333436"/>
                <a:gd name="connsiteX279" fmla="*/ 67785 w 752994"/>
                <a:gd name="connsiteY279" fmla="*/ 345203 h 1333436"/>
                <a:gd name="connsiteX280" fmla="*/ 65524 w 752994"/>
                <a:gd name="connsiteY280" fmla="*/ 343178 h 1333436"/>
                <a:gd name="connsiteX281" fmla="*/ 73095 w 752994"/>
                <a:gd name="connsiteY281" fmla="*/ 333376 h 1333436"/>
                <a:gd name="connsiteX282" fmla="*/ 73291 w 752994"/>
                <a:gd name="connsiteY282" fmla="*/ 333376 h 1333436"/>
                <a:gd name="connsiteX283" fmla="*/ 77991 w 752994"/>
                <a:gd name="connsiteY283" fmla="*/ 325838 h 1333436"/>
                <a:gd name="connsiteX284" fmla="*/ 82671 w 752994"/>
                <a:gd name="connsiteY284" fmla="*/ 313619 h 1333436"/>
                <a:gd name="connsiteX285" fmla="*/ 87980 w 752994"/>
                <a:gd name="connsiteY285" fmla="*/ 303018 h 1333436"/>
                <a:gd name="connsiteX286" fmla="*/ 92267 w 752994"/>
                <a:gd name="connsiteY286" fmla="*/ 291191 h 1333436"/>
                <a:gd name="connsiteX287" fmla="*/ 96553 w 752994"/>
                <a:gd name="connsiteY287" fmla="*/ 281202 h 1333436"/>
                <a:gd name="connsiteX288" fmla="*/ 99621 w 752994"/>
                <a:gd name="connsiteY288" fmla="*/ 274481 h 1333436"/>
                <a:gd name="connsiteX289" fmla="*/ 103082 w 752994"/>
                <a:gd name="connsiteY289" fmla="*/ 262450 h 1333436"/>
                <a:gd name="connsiteX290" fmla="*/ 107172 w 752994"/>
                <a:gd name="connsiteY290" fmla="*/ 254299 h 1333436"/>
                <a:gd name="connsiteX291" fmla="*/ 112481 w 752994"/>
                <a:gd name="connsiteY291" fmla="*/ 243697 h 1333436"/>
                <a:gd name="connsiteX292" fmla="*/ 117181 w 752994"/>
                <a:gd name="connsiteY292" fmla="*/ 232279 h 1333436"/>
                <a:gd name="connsiteX293" fmla="*/ 125951 w 752994"/>
                <a:gd name="connsiteY293" fmla="*/ 217389 h 1333436"/>
                <a:gd name="connsiteX294" fmla="*/ 136156 w 752994"/>
                <a:gd name="connsiteY294" fmla="*/ 202925 h 1333436"/>
                <a:gd name="connsiteX295" fmla="*/ 138811 w 752994"/>
                <a:gd name="connsiteY295" fmla="*/ 183339 h 1333436"/>
                <a:gd name="connsiteX296" fmla="*/ 148801 w 752994"/>
                <a:gd name="connsiteY296" fmla="*/ 167445 h 1333436"/>
                <a:gd name="connsiteX297" fmla="*/ 159616 w 752994"/>
                <a:gd name="connsiteY297" fmla="*/ 170712 h 1333436"/>
                <a:gd name="connsiteX298" fmla="*/ 173105 w 752994"/>
                <a:gd name="connsiteY298" fmla="*/ 175188 h 1333436"/>
                <a:gd name="connsiteX299" fmla="*/ 175347 w 752994"/>
                <a:gd name="connsiteY299" fmla="*/ 175188 h 1333436"/>
                <a:gd name="connsiteX300" fmla="*/ 175347 w 752994"/>
                <a:gd name="connsiteY300" fmla="*/ 173758 h 1333436"/>
                <a:gd name="connsiteX301" fmla="*/ 184975 w 752994"/>
                <a:gd name="connsiteY301" fmla="*/ 187393 h 1333436"/>
                <a:gd name="connsiteX302" fmla="*/ 184762 w 752994"/>
                <a:gd name="connsiteY302" fmla="*/ 184637 h 1333436"/>
                <a:gd name="connsiteX303" fmla="*/ 174971 w 752994"/>
                <a:gd name="connsiteY303" fmla="*/ 170774 h 1333436"/>
                <a:gd name="connsiteX304" fmla="*/ 174971 w 752994"/>
                <a:gd name="connsiteY304" fmla="*/ 169550 h 1333436"/>
                <a:gd name="connsiteX305" fmla="*/ 158851 w 752994"/>
                <a:gd name="connsiteY305" fmla="*/ 156924 h 1333436"/>
                <a:gd name="connsiteX306" fmla="*/ 147025 w 752994"/>
                <a:gd name="connsiteY306" fmla="*/ 145709 h 1333436"/>
                <a:gd name="connsiteX307" fmla="*/ 154364 w 752994"/>
                <a:gd name="connsiteY307" fmla="*/ 136335 h 1333436"/>
                <a:gd name="connsiteX308" fmla="*/ 161511 w 752994"/>
                <a:gd name="connsiteY308" fmla="*/ 131042 h 1333436"/>
                <a:gd name="connsiteX309" fmla="*/ 160902 w 752994"/>
                <a:gd name="connsiteY309" fmla="*/ 128384 h 1333436"/>
                <a:gd name="connsiteX310" fmla="*/ 160277 w 752994"/>
                <a:gd name="connsiteY310" fmla="*/ 127778 h 1333436"/>
                <a:gd name="connsiteX311" fmla="*/ 154973 w 752994"/>
                <a:gd name="connsiteY311" fmla="*/ 122077 h 1333436"/>
                <a:gd name="connsiteX312" fmla="*/ 160277 w 752994"/>
                <a:gd name="connsiteY312" fmla="*/ 115140 h 1333436"/>
                <a:gd name="connsiteX313" fmla="*/ 165181 w 752994"/>
                <a:gd name="connsiteY313" fmla="*/ 108215 h 1333436"/>
                <a:gd name="connsiteX314" fmla="*/ 161303 w 752994"/>
                <a:gd name="connsiteY314" fmla="*/ 104146 h 1333436"/>
                <a:gd name="connsiteX315" fmla="*/ 157842 w 752994"/>
                <a:gd name="connsiteY315" fmla="*/ 104542 h 1333436"/>
                <a:gd name="connsiteX316" fmla="*/ 157024 w 752994"/>
                <a:gd name="connsiteY316" fmla="*/ 102304 h 1333436"/>
                <a:gd name="connsiteX317" fmla="*/ 160694 w 752994"/>
                <a:gd name="connsiteY317" fmla="*/ 55437 h 1333436"/>
                <a:gd name="connsiteX318" fmla="*/ 160486 w 752994"/>
                <a:gd name="connsiteY318" fmla="*/ 31991 h 1333436"/>
                <a:gd name="connsiteX319" fmla="*/ 164972 w 752994"/>
                <a:gd name="connsiteY319" fmla="*/ 18141 h 1333436"/>
                <a:gd name="connsiteX320" fmla="*/ 171911 w 752994"/>
                <a:gd name="connsiteY320" fmla="*/ 11204 h 1333436"/>
                <a:gd name="connsiteX321" fmla="*/ 187406 w 752994"/>
                <a:gd name="connsiteY321" fmla="*/ 21801 h 1333436"/>
                <a:gd name="connsiteX322" fmla="*/ 210866 w 752994"/>
                <a:gd name="connsiteY322" fmla="*/ 37086 h 1333436"/>
                <a:gd name="connsiteX323" fmla="*/ 219230 w 752994"/>
                <a:gd name="connsiteY323" fmla="*/ 41166 h 1333436"/>
                <a:gd name="connsiteX324" fmla="*/ 226778 w 752994"/>
                <a:gd name="connsiteY324" fmla="*/ 47486 h 1333436"/>
                <a:gd name="connsiteX325" fmla="*/ 236152 w 752994"/>
                <a:gd name="connsiteY325" fmla="*/ 52370 h 1333436"/>
                <a:gd name="connsiteX326" fmla="*/ 239629 w 752994"/>
                <a:gd name="connsiteY326" fmla="*/ 58491 h 1333436"/>
                <a:gd name="connsiteX327" fmla="*/ 239629 w 752994"/>
                <a:gd name="connsiteY327" fmla="*/ 63376 h 1333436"/>
                <a:gd name="connsiteX328" fmla="*/ 236568 w 752994"/>
                <a:gd name="connsiteY328" fmla="*/ 67457 h 1333436"/>
                <a:gd name="connsiteX329" fmla="*/ 231264 w 752994"/>
                <a:gd name="connsiteY329" fmla="*/ 69905 h 1333436"/>
                <a:gd name="connsiteX330" fmla="*/ 216778 w 752994"/>
                <a:gd name="connsiteY330" fmla="*/ 82741 h 1333436"/>
                <a:gd name="connsiteX331" fmla="*/ 214134 w 752994"/>
                <a:gd name="connsiteY331" fmla="*/ 93536 h 1333436"/>
                <a:gd name="connsiteX332" fmla="*/ 214535 w 752994"/>
                <a:gd name="connsiteY332" fmla="*/ 96801 h 1333436"/>
                <a:gd name="connsiteX333" fmla="*/ 216378 w 752994"/>
                <a:gd name="connsiteY333" fmla="*/ 96801 h 1333436"/>
                <a:gd name="connsiteX334" fmla="*/ 230046 w 752994"/>
                <a:gd name="connsiteY334" fmla="*/ 85387 h 1333436"/>
                <a:gd name="connsiteX335" fmla="*/ 243298 w 752994"/>
                <a:gd name="connsiteY335" fmla="*/ 75198 h 1333436"/>
                <a:gd name="connsiteX336" fmla="*/ 246760 w 752994"/>
                <a:gd name="connsiteY336" fmla="*/ 77646 h 1333436"/>
                <a:gd name="connsiteX337" fmla="*/ 255541 w 752994"/>
                <a:gd name="connsiteY337" fmla="*/ 63376 h 1333436"/>
                <a:gd name="connsiteX338" fmla="*/ 259611 w 752994"/>
                <a:gd name="connsiteY338" fmla="*/ 43405 h 1333436"/>
                <a:gd name="connsiteX339" fmla="*/ 256967 w 752994"/>
                <a:gd name="connsiteY339" fmla="*/ 38520 h 1333436"/>
                <a:gd name="connsiteX340" fmla="*/ 253906 w 752994"/>
                <a:gd name="connsiteY340" fmla="*/ 34242 h 1333436"/>
                <a:gd name="connsiteX341" fmla="*/ 256967 w 752994"/>
                <a:gd name="connsiteY341" fmla="*/ 30161 h 1333436"/>
                <a:gd name="connsiteX342" fmla="*/ 262063 w 752994"/>
                <a:gd name="connsiteY342" fmla="*/ 27712 h 1333436"/>
                <a:gd name="connsiteX343" fmla="*/ 264915 w 752994"/>
                <a:gd name="connsiteY343" fmla="*/ 23026 h 1333436"/>
                <a:gd name="connsiteX344" fmla="*/ 267976 w 752994"/>
                <a:gd name="connsiteY344" fmla="*/ 22618 h 1333436"/>
                <a:gd name="connsiteX345" fmla="*/ 270427 w 752994"/>
                <a:gd name="connsiteY345" fmla="*/ 20787 h 1333436"/>
                <a:gd name="connsiteX346" fmla="*/ 263088 w 752994"/>
                <a:gd name="connsiteY346" fmla="*/ 13652 h 1333436"/>
                <a:gd name="connsiteX347" fmla="*/ 255541 w 752994"/>
                <a:gd name="connsiteY347" fmla="*/ 3055 h 1333436"/>
                <a:gd name="connsiteX348" fmla="*/ 256358 w 752994"/>
                <a:gd name="connsiteY348" fmla="*/ 1224 h 1333436"/>
                <a:gd name="connsiteX349" fmla="*/ 257159 w 752994"/>
                <a:gd name="connsiteY349"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45196 w 752994"/>
                <a:gd name="connsiteY30" fmla="*/ 269890 h 1333436"/>
                <a:gd name="connsiteX31" fmla="*/ 381379 w 752994"/>
                <a:gd name="connsiteY31" fmla="*/ 252303 h 1333436"/>
                <a:gd name="connsiteX32" fmla="*/ 380962 w 752994"/>
                <a:gd name="connsiteY32" fmla="*/ 251895 h 1333436"/>
                <a:gd name="connsiteX33" fmla="*/ 365258 w 752994"/>
                <a:gd name="connsiteY33" fmla="*/ 245774 h 1333436"/>
                <a:gd name="connsiteX34" fmla="*/ 355067 w 752994"/>
                <a:gd name="connsiteY34" fmla="*/ 241285 h 1333436"/>
                <a:gd name="connsiteX35" fmla="*/ 350789 w 752994"/>
                <a:gd name="connsiteY35" fmla="*/ 244352 h 1333436"/>
                <a:gd name="connsiteX36" fmla="*/ 340789 w 752994"/>
                <a:gd name="connsiteY36" fmla="*/ 243536 h 1333436"/>
                <a:gd name="connsiteX37" fmla="*/ 333034 w 752994"/>
                <a:gd name="connsiteY37" fmla="*/ 240271 h 1333436"/>
                <a:gd name="connsiteX38" fmla="*/ 323868 w 752994"/>
                <a:gd name="connsiteY38" fmla="*/ 241495 h 1333436"/>
                <a:gd name="connsiteX39" fmla="*/ 309783 w 752994"/>
                <a:gd name="connsiteY39" fmla="*/ 243536 h 1333436"/>
                <a:gd name="connsiteX40" fmla="*/ 297140 w 752994"/>
                <a:gd name="connsiteY40" fmla="*/ 245576 h 1333436"/>
                <a:gd name="connsiteX41" fmla="*/ 288775 w 752994"/>
                <a:gd name="connsiteY41" fmla="*/ 247406 h 1333436"/>
                <a:gd name="connsiteX42" fmla="*/ 280827 w 752994"/>
                <a:gd name="connsiteY42" fmla="*/ 242720 h 1333436"/>
                <a:gd name="connsiteX43" fmla="*/ 274497 w 752994"/>
                <a:gd name="connsiteY43" fmla="*/ 238441 h 1333436"/>
                <a:gd name="connsiteX44" fmla="*/ 269001 w 752994"/>
                <a:gd name="connsiteY44" fmla="*/ 240679 h 1333436"/>
                <a:gd name="connsiteX45" fmla="*/ 262880 w 752994"/>
                <a:gd name="connsiteY45" fmla="*/ 243128 h 1333436"/>
                <a:gd name="connsiteX46" fmla="*/ 260028 w 752994"/>
                <a:gd name="connsiteY46" fmla="*/ 242720 h 1333436"/>
                <a:gd name="connsiteX47" fmla="*/ 247994 w 752994"/>
                <a:gd name="connsiteY47" fmla="*/ 241693 h 1333436"/>
                <a:gd name="connsiteX48" fmla="*/ 242081 w 752994"/>
                <a:gd name="connsiteY48" fmla="*/ 234162 h 1333436"/>
                <a:gd name="connsiteX49" fmla="*/ 235142 w 752994"/>
                <a:gd name="connsiteY49" fmla="*/ 229476 h 1333436"/>
                <a:gd name="connsiteX50" fmla="*/ 224742 w 752994"/>
                <a:gd name="connsiteY50" fmla="*/ 226817 h 1333436"/>
                <a:gd name="connsiteX51" fmla="*/ 216778 w 752994"/>
                <a:gd name="connsiteY51" fmla="*/ 229068 h 1333436"/>
                <a:gd name="connsiteX52" fmla="*/ 202709 w 752994"/>
                <a:gd name="connsiteY52" fmla="*/ 230898 h 1333436"/>
                <a:gd name="connsiteX53" fmla="*/ 195162 w 752994"/>
                <a:gd name="connsiteY53" fmla="*/ 228857 h 1333436"/>
                <a:gd name="connsiteX54" fmla="*/ 188223 w 752994"/>
                <a:gd name="connsiteY54" fmla="*/ 223973 h 1333436"/>
                <a:gd name="connsiteX55" fmla="*/ 185163 w 752994"/>
                <a:gd name="connsiteY55" fmla="*/ 219484 h 1333436"/>
                <a:gd name="connsiteX56" fmla="*/ 184180 w 752994"/>
                <a:gd name="connsiteY56" fmla="*/ 213866 h 1333436"/>
                <a:gd name="connsiteX57" fmla="*/ 257159 w 752994"/>
                <a:gd name="connsiteY57" fmla="*/ 0 h 1333436"/>
                <a:gd name="connsiteX58" fmla="*/ 493147 w 752994"/>
                <a:gd name="connsiteY58" fmla="*/ 73157 h 1333436"/>
                <a:gd name="connsiteX59" fmla="*/ 492970 w 752994"/>
                <a:gd name="connsiteY59" fmla="*/ 73792 h 1333436"/>
                <a:gd name="connsiteX60" fmla="*/ 525816 w 752994"/>
                <a:gd name="connsiteY60" fmla="*/ 82491 h 1333436"/>
                <a:gd name="connsiteX61" fmla="*/ 520098 w 752994"/>
                <a:gd name="connsiteY61" fmla="*/ 111245 h 1333436"/>
                <a:gd name="connsiteX62" fmla="*/ 512552 w 752994"/>
                <a:gd name="connsiteY62" fmla="*/ 143854 h 1333436"/>
                <a:gd name="connsiteX63" fmla="*/ 517849 w 752994"/>
                <a:gd name="connsiteY63" fmla="*/ 157740 h 1333436"/>
                <a:gd name="connsiteX64" fmla="*/ 523160 w 752994"/>
                <a:gd name="connsiteY64" fmla="*/ 172009 h 1333436"/>
                <a:gd name="connsiteX65" fmla="*/ 521535 w 752994"/>
                <a:gd name="connsiteY65" fmla="*/ 178928 h 1333436"/>
                <a:gd name="connsiteX66" fmla="*/ 520098 w 752994"/>
                <a:gd name="connsiteY66" fmla="*/ 186279 h 1333436"/>
                <a:gd name="connsiteX67" fmla="*/ 526019 w 752994"/>
                <a:gd name="connsiteY67" fmla="*/ 193629 h 1333436"/>
                <a:gd name="connsiteX68" fmla="*/ 537251 w 752994"/>
                <a:gd name="connsiteY68" fmla="*/ 206270 h 1333436"/>
                <a:gd name="connsiteX69" fmla="*/ 542765 w 752994"/>
                <a:gd name="connsiteY69" fmla="*/ 217475 h 1333436"/>
                <a:gd name="connsiteX70" fmla="*/ 546857 w 752994"/>
                <a:gd name="connsiteY70" fmla="*/ 230930 h 1333436"/>
                <a:gd name="connsiteX71" fmla="*/ 549499 w 752994"/>
                <a:gd name="connsiteY71" fmla="*/ 235622 h 1333436"/>
                <a:gd name="connsiteX72" fmla="*/ 553388 w 752994"/>
                <a:gd name="connsiteY72" fmla="*/ 240722 h 1333436"/>
                <a:gd name="connsiteX73" fmla="*/ 557465 w 752994"/>
                <a:gd name="connsiteY73" fmla="*/ 246037 h 1333436"/>
                <a:gd name="connsiteX74" fmla="*/ 561761 w 752994"/>
                <a:gd name="connsiteY74" fmla="*/ 248671 h 1333436"/>
                <a:gd name="connsiteX75" fmla="*/ 567478 w 752994"/>
                <a:gd name="connsiteY75" fmla="*/ 247665 h 1333436"/>
                <a:gd name="connsiteX76" fmla="*/ 569931 w 752994"/>
                <a:gd name="connsiteY76" fmla="*/ 249293 h 1333436"/>
                <a:gd name="connsiteX77" fmla="*/ 570540 w 752994"/>
                <a:gd name="connsiteY77" fmla="*/ 251951 h 1333436"/>
                <a:gd name="connsiteX78" fmla="*/ 561964 w 752994"/>
                <a:gd name="connsiteY78" fmla="*/ 267656 h 1333436"/>
                <a:gd name="connsiteX79" fmla="*/ 553591 w 752994"/>
                <a:gd name="connsiteY79" fmla="*/ 289659 h 1333436"/>
                <a:gd name="connsiteX80" fmla="*/ 554810 w 752994"/>
                <a:gd name="connsiteY80" fmla="*/ 292939 h 1333436"/>
                <a:gd name="connsiteX81" fmla="*/ 556246 w 752994"/>
                <a:gd name="connsiteY81" fmla="*/ 299260 h 1333436"/>
                <a:gd name="connsiteX82" fmla="*/ 552778 w 752994"/>
                <a:gd name="connsiteY82" fmla="*/ 301917 h 1333436"/>
                <a:gd name="connsiteX83" fmla="*/ 549295 w 752994"/>
                <a:gd name="connsiteY83" fmla="*/ 306993 h 1333436"/>
                <a:gd name="connsiteX84" fmla="*/ 547061 w 752994"/>
                <a:gd name="connsiteY84" fmla="*/ 313122 h 1333436"/>
                <a:gd name="connsiteX85" fmla="*/ 544811 w 752994"/>
                <a:gd name="connsiteY85" fmla="*/ 316593 h 1333436"/>
                <a:gd name="connsiteX86" fmla="*/ 549919 w 752994"/>
                <a:gd name="connsiteY86" fmla="*/ 322698 h 1333436"/>
                <a:gd name="connsiteX87" fmla="*/ 553184 w 752994"/>
                <a:gd name="connsiteY87" fmla="*/ 325955 h 1333436"/>
                <a:gd name="connsiteX88" fmla="*/ 555840 w 752994"/>
                <a:gd name="connsiteY88" fmla="*/ 328205 h 1333436"/>
                <a:gd name="connsiteX89" fmla="*/ 574212 w 752994"/>
                <a:gd name="connsiteY89" fmla="*/ 318820 h 1333436"/>
                <a:gd name="connsiteX90" fmla="*/ 579523 w 752994"/>
                <a:gd name="connsiteY90" fmla="*/ 326577 h 1333436"/>
                <a:gd name="connsiteX91" fmla="*/ 580539 w 752994"/>
                <a:gd name="connsiteY91" fmla="*/ 334933 h 1333436"/>
                <a:gd name="connsiteX92" fmla="*/ 579726 w 752994"/>
                <a:gd name="connsiteY92" fmla="*/ 343097 h 1333436"/>
                <a:gd name="connsiteX93" fmla="*/ 581366 w 752994"/>
                <a:gd name="connsiteY93" fmla="*/ 350231 h 1333436"/>
                <a:gd name="connsiteX94" fmla="*/ 586256 w 752994"/>
                <a:gd name="connsiteY94" fmla="*/ 355930 h 1333436"/>
                <a:gd name="connsiteX95" fmla="*/ 589536 w 752994"/>
                <a:gd name="connsiteY95" fmla="*/ 362059 h 1333436"/>
                <a:gd name="connsiteX96" fmla="*/ 588099 w 752994"/>
                <a:gd name="connsiteY96" fmla="*/ 369600 h 1333436"/>
                <a:gd name="connsiteX97" fmla="*/ 586459 w 752994"/>
                <a:gd name="connsiteY97" fmla="*/ 377357 h 1333436"/>
                <a:gd name="connsiteX98" fmla="*/ 588709 w 752994"/>
                <a:gd name="connsiteY98" fmla="*/ 381835 h 1333436"/>
                <a:gd name="connsiteX99" fmla="*/ 595036 w 752994"/>
                <a:gd name="connsiteY99" fmla="*/ 382457 h 1333436"/>
                <a:gd name="connsiteX100" fmla="*/ 599331 w 752994"/>
                <a:gd name="connsiteY100" fmla="*/ 385306 h 1333436"/>
                <a:gd name="connsiteX101" fmla="*/ 601987 w 752994"/>
                <a:gd name="connsiteY101" fmla="*/ 391004 h 1333436"/>
                <a:gd name="connsiteX102" fmla="*/ 602799 w 752994"/>
                <a:gd name="connsiteY102" fmla="*/ 404076 h 1333436"/>
                <a:gd name="connsiteX103" fmla="*/ 606892 w 752994"/>
                <a:gd name="connsiteY103" fmla="*/ 415688 h 1333436"/>
                <a:gd name="connsiteX104" fmla="*/ 610563 w 752994"/>
                <a:gd name="connsiteY104" fmla="*/ 412217 h 1333436"/>
                <a:gd name="connsiteX105" fmla="*/ 617920 w 752994"/>
                <a:gd name="connsiteY105" fmla="*/ 408769 h 1333436"/>
                <a:gd name="connsiteX106" fmla="*/ 624654 w 752994"/>
                <a:gd name="connsiteY106" fmla="*/ 411211 h 1333436"/>
                <a:gd name="connsiteX107" fmla="*/ 634652 w 752994"/>
                <a:gd name="connsiteY107" fmla="*/ 410182 h 1333436"/>
                <a:gd name="connsiteX108" fmla="*/ 640573 w 752994"/>
                <a:gd name="connsiteY108" fmla="*/ 407739 h 1333436"/>
                <a:gd name="connsiteX109" fmla="*/ 646711 w 752994"/>
                <a:gd name="connsiteY109" fmla="*/ 410589 h 1333436"/>
                <a:gd name="connsiteX110" fmla="*/ 650383 w 752994"/>
                <a:gd name="connsiteY110" fmla="*/ 410589 h 1333436"/>
                <a:gd name="connsiteX111" fmla="*/ 654257 w 752994"/>
                <a:gd name="connsiteY111" fmla="*/ 411618 h 1333436"/>
                <a:gd name="connsiteX112" fmla="*/ 656913 w 752994"/>
                <a:gd name="connsiteY112" fmla="*/ 413653 h 1333436"/>
                <a:gd name="connsiteX113" fmla="*/ 660802 w 752994"/>
                <a:gd name="connsiteY113" fmla="*/ 415090 h 1333436"/>
                <a:gd name="connsiteX114" fmla="*/ 669581 w 752994"/>
                <a:gd name="connsiteY114" fmla="*/ 415904 h 1333436"/>
                <a:gd name="connsiteX115" fmla="*/ 672237 w 752994"/>
                <a:gd name="connsiteY115" fmla="*/ 415688 h 1333436"/>
                <a:gd name="connsiteX116" fmla="*/ 675705 w 752994"/>
                <a:gd name="connsiteY116" fmla="*/ 409367 h 1333436"/>
                <a:gd name="connsiteX117" fmla="*/ 679986 w 752994"/>
                <a:gd name="connsiteY117" fmla="*/ 403238 h 1333436"/>
                <a:gd name="connsiteX118" fmla="*/ 693264 w 752994"/>
                <a:gd name="connsiteY118" fmla="*/ 419567 h 1333436"/>
                <a:gd name="connsiteX119" fmla="*/ 688563 w 752994"/>
                <a:gd name="connsiteY119" fmla="*/ 448321 h 1333436"/>
                <a:gd name="connsiteX120" fmla="*/ 663949 w 752994"/>
                <a:gd name="connsiteY120" fmla="*/ 590165 h 1333436"/>
                <a:gd name="connsiteX121" fmla="*/ 666304 w 752994"/>
                <a:gd name="connsiteY121" fmla="*/ 590504 h 1333436"/>
                <a:gd name="connsiteX122" fmla="*/ 655288 w 752994"/>
                <a:gd name="connsiteY122" fmla="*/ 656178 h 1333436"/>
                <a:gd name="connsiteX123" fmla="*/ 681808 w 752994"/>
                <a:gd name="connsiteY123" fmla="*/ 662301 h 1333436"/>
                <a:gd name="connsiteX124" fmla="*/ 752994 w 752994"/>
                <a:gd name="connsiteY124" fmla="*/ 675560 h 1333436"/>
                <a:gd name="connsiteX125" fmla="*/ 714651 w 752994"/>
                <a:gd name="connsiteY125" fmla="*/ 946985 h 1333436"/>
                <a:gd name="connsiteX126" fmla="*/ 654533 w 752994"/>
                <a:gd name="connsiteY126" fmla="*/ 1333436 h 1333436"/>
                <a:gd name="connsiteX127" fmla="*/ 546831 w 752994"/>
                <a:gd name="connsiteY127" fmla="*/ 1317126 h 1333436"/>
                <a:gd name="connsiteX128" fmla="*/ 351227 w 752994"/>
                <a:gd name="connsiteY128" fmla="*/ 1194172 h 1333436"/>
                <a:gd name="connsiteX129" fmla="*/ 361011 w 752994"/>
                <a:gd name="connsiteY129" fmla="*/ 1182755 h 1333436"/>
                <a:gd name="connsiteX130" fmla="*/ 368981 w 752994"/>
                <a:gd name="connsiteY130" fmla="*/ 1182130 h 1333436"/>
                <a:gd name="connsiteX131" fmla="*/ 369571 w 752994"/>
                <a:gd name="connsiteY131" fmla="*/ 1181558 h 1333436"/>
                <a:gd name="connsiteX132" fmla="*/ 362372 w 752994"/>
                <a:gd name="connsiteY132" fmla="*/ 1182120 h 1333436"/>
                <a:gd name="connsiteX133" fmla="*/ 229464 w 752994"/>
                <a:gd name="connsiteY133" fmla="*/ 1161721 h 1333436"/>
                <a:gd name="connsiteX134" fmla="*/ 227427 w 752994"/>
                <a:gd name="connsiteY134" fmla="*/ 1157269 h 1333436"/>
                <a:gd name="connsiteX135" fmla="*/ 224967 w 752994"/>
                <a:gd name="connsiteY135" fmla="*/ 1152575 h 1333436"/>
                <a:gd name="connsiteX136" fmla="*/ 225582 w 752994"/>
                <a:gd name="connsiteY136" fmla="*/ 1144808 h 1333436"/>
                <a:gd name="connsiteX137" fmla="*/ 227215 w 752994"/>
                <a:gd name="connsiteY137" fmla="*/ 1135834 h 1333436"/>
                <a:gd name="connsiteX138" fmla="*/ 227215 w 752994"/>
                <a:gd name="connsiteY138" fmla="*/ 1134212 h 1333436"/>
                <a:gd name="connsiteX139" fmla="*/ 225179 w 752994"/>
                <a:gd name="connsiteY139" fmla="*/ 1114020 h 1333436"/>
                <a:gd name="connsiteX140" fmla="*/ 217839 w 752994"/>
                <a:gd name="connsiteY140" fmla="*/ 1100352 h 1333436"/>
                <a:gd name="connsiteX141" fmla="*/ 199661 w 752994"/>
                <a:gd name="connsiteY141" fmla="*/ 1076502 h 1333436"/>
                <a:gd name="connsiteX142" fmla="*/ 196395 w 752994"/>
                <a:gd name="connsiteY142" fmla="*/ 1071807 h 1333436"/>
                <a:gd name="connsiteX143" fmla="*/ 190880 w 752994"/>
                <a:gd name="connsiteY143" fmla="*/ 1067527 h 1333436"/>
                <a:gd name="connsiteX144" fmla="*/ 187210 w 752994"/>
                <a:gd name="connsiteY144" fmla="*/ 1068735 h 1333436"/>
                <a:gd name="connsiteX145" fmla="*/ 180062 w 752994"/>
                <a:gd name="connsiteY145" fmla="*/ 1066699 h 1333436"/>
                <a:gd name="connsiteX146" fmla="*/ 180466 w 752994"/>
                <a:gd name="connsiteY146" fmla="*/ 1053031 h 1333436"/>
                <a:gd name="connsiteX147" fmla="*/ 180062 w 752994"/>
                <a:gd name="connsiteY147" fmla="*/ 1045299 h 1333436"/>
                <a:gd name="connsiteX148" fmla="*/ 174144 w 752994"/>
                <a:gd name="connsiteY148" fmla="*/ 1044057 h 1333436"/>
                <a:gd name="connsiteX149" fmla="*/ 158426 w 752994"/>
                <a:gd name="connsiteY149" fmla="*/ 1042641 h 1333436"/>
                <a:gd name="connsiteX150" fmla="*/ 149857 w 752994"/>
                <a:gd name="connsiteY150" fmla="*/ 1035497 h 1333436"/>
                <a:gd name="connsiteX151" fmla="*/ 142497 w 752994"/>
                <a:gd name="connsiteY151" fmla="*/ 1028766 h 1333436"/>
                <a:gd name="connsiteX152" fmla="*/ 140864 w 752994"/>
                <a:gd name="connsiteY152" fmla="*/ 1020620 h 1333436"/>
                <a:gd name="connsiteX153" fmla="*/ 138212 w 752994"/>
                <a:gd name="connsiteY153" fmla="*/ 1013061 h 1333436"/>
                <a:gd name="connsiteX154" fmla="*/ 131064 w 752994"/>
                <a:gd name="connsiteY154" fmla="*/ 1007159 h 1333436"/>
                <a:gd name="connsiteX155" fmla="*/ 121264 w 752994"/>
                <a:gd name="connsiteY155" fmla="*/ 1005330 h 1333436"/>
                <a:gd name="connsiteX156" fmla="*/ 112483 w 752994"/>
                <a:gd name="connsiteY156" fmla="*/ 1001671 h 1333436"/>
                <a:gd name="connsiteX157" fmla="*/ 105950 w 752994"/>
                <a:gd name="connsiteY157" fmla="*/ 995734 h 1333436"/>
                <a:gd name="connsiteX158" fmla="*/ 97380 w 752994"/>
                <a:gd name="connsiteY158" fmla="*/ 994526 h 1333436"/>
                <a:gd name="connsiteX159" fmla="*/ 87984 w 752994"/>
                <a:gd name="connsiteY159" fmla="*/ 991040 h 1333436"/>
                <a:gd name="connsiteX160" fmla="*/ 80029 w 752994"/>
                <a:gd name="connsiteY160" fmla="*/ 985138 h 1333436"/>
                <a:gd name="connsiteX161" fmla="*/ 77166 w 752994"/>
                <a:gd name="connsiteY161" fmla="*/ 976164 h 1333436"/>
                <a:gd name="connsiteX162" fmla="*/ 79203 w 752994"/>
                <a:gd name="connsiteY162" fmla="*/ 970676 h 1333436"/>
                <a:gd name="connsiteX163" fmla="*/ 82470 w 752994"/>
                <a:gd name="connsiteY163" fmla="*/ 963117 h 1333436"/>
                <a:gd name="connsiteX164" fmla="*/ 84314 w 752994"/>
                <a:gd name="connsiteY164" fmla="*/ 954557 h 1333436"/>
                <a:gd name="connsiteX165" fmla="*/ 86351 w 752994"/>
                <a:gd name="connsiteY165" fmla="*/ 948033 h 1333436"/>
                <a:gd name="connsiteX166" fmla="*/ 86159 w 752994"/>
                <a:gd name="connsiteY166" fmla="*/ 942925 h 1333436"/>
                <a:gd name="connsiteX167" fmla="*/ 83085 w 752994"/>
                <a:gd name="connsiteY167" fmla="*/ 939853 h 1333436"/>
                <a:gd name="connsiteX168" fmla="*/ 77570 w 752994"/>
                <a:gd name="connsiteY168" fmla="*/ 937437 h 1333436"/>
                <a:gd name="connsiteX169" fmla="*/ 76763 w 752994"/>
                <a:gd name="connsiteY169" fmla="*/ 931915 h 1333436"/>
                <a:gd name="connsiteX170" fmla="*/ 78800 w 752994"/>
                <a:gd name="connsiteY170" fmla="*/ 927013 h 1333436"/>
                <a:gd name="connsiteX171" fmla="*/ 79626 w 752994"/>
                <a:gd name="connsiteY171" fmla="*/ 922526 h 1333436"/>
                <a:gd name="connsiteX172" fmla="*/ 77781 w 752994"/>
                <a:gd name="connsiteY172" fmla="*/ 919903 h 1333436"/>
                <a:gd name="connsiteX173" fmla="*/ 74303 w 752994"/>
                <a:gd name="connsiteY173" fmla="*/ 917418 h 1333436"/>
                <a:gd name="connsiteX174" fmla="*/ 71863 w 752994"/>
                <a:gd name="connsiteY174" fmla="*/ 915174 h 1333436"/>
                <a:gd name="connsiteX175" fmla="*/ 71652 w 752994"/>
                <a:gd name="connsiteY175" fmla="*/ 910894 h 1333436"/>
                <a:gd name="connsiteX176" fmla="*/ 70633 w 752994"/>
                <a:gd name="connsiteY176" fmla="*/ 906614 h 1333436"/>
                <a:gd name="connsiteX177" fmla="*/ 68385 w 752994"/>
                <a:gd name="connsiteY177" fmla="*/ 902749 h 1333436"/>
                <a:gd name="connsiteX178" fmla="*/ 61045 w 752994"/>
                <a:gd name="connsiteY178" fmla="*/ 889494 h 1333436"/>
                <a:gd name="connsiteX179" fmla="*/ 57971 w 752994"/>
                <a:gd name="connsiteY179" fmla="*/ 875619 h 1333436"/>
                <a:gd name="connsiteX180" fmla="*/ 52264 w 752994"/>
                <a:gd name="connsiteY180" fmla="*/ 862572 h 1333436"/>
                <a:gd name="connsiteX181" fmla="*/ 44309 w 752994"/>
                <a:gd name="connsiteY181" fmla="*/ 850561 h 1333436"/>
                <a:gd name="connsiteX182" fmla="*/ 45520 w 752994"/>
                <a:gd name="connsiteY182" fmla="*/ 827090 h 1333436"/>
                <a:gd name="connsiteX183" fmla="*/ 53071 w 752994"/>
                <a:gd name="connsiteY183" fmla="*/ 822396 h 1333436"/>
                <a:gd name="connsiteX184" fmla="*/ 57375 w 752994"/>
                <a:gd name="connsiteY184" fmla="*/ 816493 h 1333436"/>
                <a:gd name="connsiteX185" fmla="*/ 55319 w 752994"/>
                <a:gd name="connsiteY185" fmla="*/ 801617 h 1333436"/>
                <a:gd name="connsiteX186" fmla="*/ 48383 w 752994"/>
                <a:gd name="connsiteY186" fmla="*/ 802204 h 1333436"/>
                <a:gd name="connsiteX187" fmla="*/ 40428 w 752994"/>
                <a:gd name="connsiteY187" fmla="*/ 797924 h 1333436"/>
                <a:gd name="connsiteX188" fmla="*/ 37565 w 752994"/>
                <a:gd name="connsiteY188" fmla="*/ 790606 h 1333436"/>
                <a:gd name="connsiteX189" fmla="*/ 37565 w 752994"/>
                <a:gd name="connsiteY189" fmla="*/ 790399 h 1333436"/>
                <a:gd name="connsiteX190" fmla="*/ 35931 w 752994"/>
                <a:gd name="connsiteY190" fmla="*/ 785912 h 1333436"/>
                <a:gd name="connsiteX191" fmla="*/ 34510 w 752994"/>
                <a:gd name="connsiteY191" fmla="*/ 780597 h 1333436"/>
                <a:gd name="connsiteX192" fmla="*/ 36335 w 752994"/>
                <a:gd name="connsiteY192" fmla="*/ 774280 h 1333436"/>
                <a:gd name="connsiteX193" fmla="*/ 38180 w 752994"/>
                <a:gd name="connsiteY193" fmla="*/ 766721 h 1333436"/>
                <a:gd name="connsiteX194" fmla="*/ 37161 w 752994"/>
                <a:gd name="connsiteY194" fmla="*/ 760405 h 1333436"/>
                <a:gd name="connsiteX195" fmla="*/ 35720 w 752994"/>
                <a:gd name="connsiteY195" fmla="*/ 754710 h 1333436"/>
                <a:gd name="connsiteX196" fmla="*/ 36546 w 752994"/>
                <a:gd name="connsiteY196" fmla="*/ 748773 h 1333436"/>
                <a:gd name="connsiteX197" fmla="*/ 38372 w 752994"/>
                <a:gd name="connsiteY197" fmla="*/ 744528 h 1333436"/>
                <a:gd name="connsiteX198" fmla="*/ 41638 w 752994"/>
                <a:gd name="connsiteY198" fmla="*/ 744321 h 1333436"/>
                <a:gd name="connsiteX199" fmla="*/ 44713 w 752994"/>
                <a:gd name="connsiteY199" fmla="*/ 746357 h 1333436"/>
                <a:gd name="connsiteX200" fmla="*/ 47364 w 752994"/>
                <a:gd name="connsiteY200" fmla="*/ 753260 h 1333436"/>
                <a:gd name="connsiteX201" fmla="*/ 55742 w 752994"/>
                <a:gd name="connsiteY201" fmla="*/ 764305 h 1333436"/>
                <a:gd name="connsiteX202" fmla="*/ 56338 w 752994"/>
                <a:gd name="connsiteY202" fmla="*/ 761233 h 1333436"/>
                <a:gd name="connsiteX203" fmla="*/ 56145 w 752994"/>
                <a:gd name="connsiteY203" fmla="*/ 757368 h 1333436"/>
                <a:gd name="connsiteX204" fmla="*/ 54916 w 752994"/>
                <a:gd name="connsiteY204" fmla="*/ 748601 h 1333436"/>
                <a:gd name="connsiteX205" fmla="*/ 52879 w 752994"/>
                <a:gd name="connsiteY205" fmla="*/ 747358 h 1333436"/>
                <a:gd name="connsiteX206" fmla="*/ 51649 w 752994"/>
                <a:gd name="connsiteY206" fmla="*/ 745322 h 1333436"/>
                <a:gd name="connsiteX207" fmla="*/ 51649 w 752994"/>
                <a:gd name="connsiteY207" fmla="*/ 739212 h 1333436"/>
                <a:gd name="connsiteX208" fmla="*/ 50227 w 752994"/>
                <a:gd name="connsiteY208" fmla="*/ 734725 h 1333436"/>
                <a:gd name="connsiteX209" fmla="*/ 48786 w 752994"/>
                <a:gd name="connsiteY209" fmla="*/ 731446 h 1333436"/>
                <a:gd name="connsiteX210" fmla="*/ 54512 w 752994"/>
                <a:gd name="connsiteY210" fmla="*/ 726372 h 1333436"/>
                <a:gd name="connsiteX211" fmla="*/ 59815 w 752994"/>
                <a:gd name="connsiteY211" fmla="*/ 725130 h 1333436"/>
                <a:gd name="connsiteX212" fmla="*/ 58182 w 752994"/>
                <a:gd name="connsiteY212" fmla="*/ 722886 h 1333436"/>
                <a:gd name="connsiteX213" fmla="*/ 51861 w 752994"/>
                <a:gd name="connsiteY213" fmla="*/ 717985 h 1333436"/>
                <a:gd name="connsiteX214" fmla="*/ 46749 w 752994"/>
                <a:gd name="connsiteY214" fmla="*/ 729617 h 1333436"/>
                <a:gd name="connsiteX215" fmla="*/ 40831 w 752994"/>
                <a:gd name="connsiteY215" fmla="*/ 739212 h 1333436"/>
                <a:gd name="connsiteX216" fmla="*/ 39601 w 752994"/>
                <a:gd name="connsiteY216" fmla="*/ 738798 h 1333436"/>
                <a:gd name="connsiteX217" fmla="*/ 39409 w 752994"/>
                <a:gd name="connsiteY217" fmla="*/ 738591 h 1333436"/>
                <a:gd name="connsiteX218" fmla="*/ 37161 w 752994"/>
                <a:gd name="connsiteY218" fmla="*/ 734725 h 1333436"/>
                <a:gd name="connsiteX219" fmla="*/ 32665 w 752994"/>
                <a:gd name="connsiteY219" fmla="*/ 727788 h 1333436"/>
                <a:gd name="connsiteX220" fmla="*/ 26747 w 752994"/>
                <a:gd name="connsiteY220" fmla="*/ 719435 h 1333436"/>
                <a:gd name="connsiteX221" fmla="*/ 23884 w 752994"/>
                <a:gd name="connsiteY221" fmla="*/ 717812 h 1333436"/>
                <a:gd name="connsiteX222" fmla="*/ 24710 w 752994"/>
                <a:gd name="connsiteY222" fmla="*/ 709632 h 1333436"/>
                <a:gd name="connsiteX223" fmla="*/ 27554 w 752994"/>
                <a:gd name="connsiteY223" fmla="*/ 701694 h 1333436"/>
                <a:gd name="connsiteX224" fmla="*/ 24902 w 752994"/>
                <a:gd name="connsiteY224" fmla="*/ 696171 h 1333436"/>
                <a:gd name="connsiteX225" fmla="*/ 24095 w 752994"/>
                <a:gd name="connsiteY225" fmla="*/ 687818 h 1333436"/>
                <a:gd name="connsiteX226" fmla="*/ 22462 w 752994"/>
                <a:gd name="connsiteY226" fmla="*/ 682330 h 1333436"/>
                <a:gd name="connsiteX227" fmla="*/ 17159 w 752994"/>
                <a:gd name="connsiteY227" fmla="*/ 677636 h 1333436"/>
                <a:gd name="connsiteX228" fmla="*/ 14296 w 752994"/>
                <a:gd name="connsiteY228" fmla="*/ 671492 h 1333436"/>
                <a:gd name="connsiteX229" fmla="*/ 12451 w 752994"/>
                <a:gd name="connsiteY229" fmla="*/ 665797 h 1333436"/>
                <a:gd name="connsiteX230" fmla="*/ 5111 w 752994"/>
                <a:gd name="connsiteY230" fmla="*/ 654994 h 1333436"/>
                <a:gd name="connsiteX231" fmla="*/ 2248 w 752994"/>
                <a:gd name="connsiteY231" fmla="*/ 645605 h 1333436"/>
                <a:gd name="connsiteX232" fmla="*/ 4496 w 752994"/>
                <a:gd name="connsiteY232" fmla="*/ 640497 h 1333436"/>
                <a:gd name="connsiteX233" fmla="*/ 6744 w 752994"/>
                <a:gd name="connsiteY233" fmla="*/ 632765 h 1333436"/>
                <a:gd name="connsiteX234" fmla="*/ 6744 w 752994"/>
                <a:gd name="connsiteY234" fmla="*/ 628485 h 1333436"/>
                <a:gd name="connsiteX235" fmla="*/ 6533 w 752994"/>
                <a:gd name="connsiteY235" fmla="*/ 620305 h 1333436"/>
                <a:gd name="connsiteX236" fmla="*/ 7359 w 752994"/>
                <a:gd name="connsiteY236" fmla="*/ 611745 h 1333436"/>
                <a:gd name="connsiteX237" fmla="*/ 11836 w 752994"/>
                <a:gd name="connsiteY237" fmla="*/ 602978 h 1333436"/>
                <a:gd name="connsiteX238" fmla="*/ 15103 w 752994"/>
                <a:gd name="connsiteY238" fmla="*/ 591760 h 1333436"/>
                <a:gd name="connsiteX239" fmla="*/ 14488 w 752994"/>
                <a:gd name="connsiteY239" fmla="*/ 584029 h 1333436"/>
                <a:gd name="connsiteX240" fmla="*/ 13873 w 752994"/>
                <a:gd name="connsiteY240" fmla="*/ 578299 h 1333436"/>
                <a:gd name="connsiteX241" fmla="*/ 10626 w 752994"/>
                <a:gd name="connsiteY241" fmla="*/ 568531 h 1333436"/>
                <a:gd name="connsiteX242" fmla="*/ 3670 w 752994"/>
                <a:gd name="connsiteY242" fmla="*/ 558107 h 1333436"/>
                <a:gd name="connsiteX243" fmla="*/ 0 w 752994"/>
                <a:gd name="connsiteY243" fmla="*/ 551377 h 1333436"/>
                <a:gd name="connsiteX244" fmla="*/ 0 w 752994"/>
                <a:gd name="connsiteY244" fmla="*/ 550997 h 1333436"/>
                <a:gd name="connsiteX245" fmla="*/ 4900 w 752994"/>
                <a:gd name="connsiteY245" fmla="*/ 531220 h 1333436"/>
                <a:gd name="connsiteX246" fmla="*/ 13873 w 752994"/>
                <a:gd name="connsiteY246" fmla="*/ 520589 h 1333436"/>
                <a:gd name="connsiteX247" fmla="*/ 18369 w 752994"/>
                <a:gd name="connsiteY247" fmla="*/ 516516 h 1333436"/>
                <a:gd name="connsiteX248" fmla="*/ 18773 w 752994"/>
                <a:gd name="connsiteY248" fmla="*/ 514272 h 1333436"/>
                <a:gd name="connsiteX249" fmla="*/ 23077 w 752994"/>
                <a:gd name="connsiteY249" fmla="*/ 506127 h 1333436"/>
                <a:gd name="connsiteX250" fmla="*/ 23884 w 752994"/>
                <a:gd name="connsiteY250" fmla="*/ 502261 h 1333436"/>
                <a:gd name="connsiteX251" fmla="*/ 23692 w 752994"/>
                <a:gd name="connsiteY251" fmla="*/ 496738 h 1333436"/>
                <a:gd name="connsiteX252" fmla="*/ 30013 w 752994"/>
                <a:gd name="connsiteY252" fmla="*/ 486556 h 1333436"/>
                <a:gd name="connsiteX253" fmla="*/ 36546 w 752994"/>
                <a:gd name="connsiteY253" fmla="*/ 470230 h 1333436"/>
                <a:gd name="connsiteX254" fmla="*/ 36546 w 752994"/>
                <a:gd name="connsiteY254" fmla="*/ 462671 h 1333436"/>
                <a:gd name="connsiteX255" fmla="*/ 36335 w 752994"/>
                <a:gd name="connsiteY255" fmla="*/ 461670 h 1333436"/>
                <a:gd name="connsiteX256" fmla="*/ 35931 w 752994"/>
                <a:gd name="connsiteY256" fmla="*/ 453110 h 1333436"/>
                <a:gd name="connsiteX257" fmla="*/ 38583 w 752994"/>
                <a:gd name="connsiteY257" fmla="*/ 442514 h 1333436"/>
                <a:gd name="connsiteX258" fmla="*/ 41043 w 752994"/>
                <a:gd name="connsiteY258" fmla="*/ 436991 h 1333436"/>
                <a:gd name="connsiteX259" fmla="*/ 41650 w 752994"/>
                <a:gd name="connsiteY259" fmla="*/ 437186 h 1333436"/>
                <a:gd name="connsiteX260" fmla="*/ 41239 w 752994"/>
                <a:gd name="connsiteY260" fmla="*/ 436549 h 1333436"/>
                <a:gd name="connsiteX261" fmla="*/ 37778 w 752994"/>
                <a:gd name="connsiteY261" fmla="*/ 433894 h 1333436"/>
                <a:gd name="connsiteX262" fmla="*/ 37169 w 752994"/>
                <a:gd name="connsiteY262" fmla="*/ 432261 h 1333436"/>
                <a:gd name="connsiteX263" fmla="*/ 37365 w 752994"/>
                <a:gd name="connsiteY263" fmla="*/ 429198 h 1333436"/>
                <a:gd name="connsiteX264" fmla="*/ 36756 w 752994"/>
                <a:gd name="connsiteY264" fmla="*/ 422272 h 1333436"/>
                <a:gd name="connsiteX265" fmla="*/ 36952 w 752994"/>
                <a:gd name="connsiteY265" fmla="*/ 418800 h 1333436"/>
                <a:gd name="connsiteX266" fmla="*/ 36756 w 752994"/>
                <a:gd name="connsiteY266" fmla="*/ 412487 h 1333436"/>
                <a:gd name="connsiteX267" fmla="*/ 40433 w 752994"/>
                <a:gd name="connsiteY267" fmla="*/ 406174 h 1333436"/>
                <a:gd name="connsiteX268" fmla="*/ 44720 w 752994"/>
                <a:gd name="connsiteY268" fmla="*/ 399435 h 1333436"/>
                <a:gd name="connsiteX269" fmla="*/ 44110 w 752994"/>
                <a:gd name="connsiteY269" fmla="*/ 389651 h 1333436"/>
                <a:gd name="connsiteX270" fmla="*/ 43894 w 752994"/>
                <a:gd name="connsiteY270" fmla="*/ 378437 h 1333436"/>
                <a:gd name="connsiteX271" fmla="*/ 47158 w 752994"/>
                <a:gd name="connsiteY271" fmla="*/ 371102 h 1333436"/>
                <a:gd name="connsiteX272" fmla="*/ 55731 w 752994"/>
                <a:gd name="connsiteY272" fmla="*/ 360909 h 1333436"/>
                <a:gd name="connsiteX273" fmla="*/ 57580 w 752994"/>
                <a:gd name="connsiteY273" fmla="*/ 355804 h 1333436"/>
                <a:gd name="connsiteX274" fmla="*/ 62673 w 752994"/>
                <a:gd name="connsiteY274" fmla="*/ 349695 h 1333436"/>
                <a:gd name="connsiteX275" fmla="*/ 65937 w 752994"/>
                <a:gd name="connsiteY275" fmla="*/ 348470 h 1333436"/>
                <a:gd name="connsiteX276" fmla="*/ 68395 w 752994"/>
                <a:gd name="connsiteY276" fmla="*/ 348674 h 1333436"/>
                <a:gd name="connsiteX277" fmla="*/ 70224 w 752994"/>
                <a:gd name="connsiteY277" fmla="*/ 347449 h 1333436"/>
                <a:gd name="connsiteX278" fmla="*/ 67785 w 752994"/>
                <a:gd name="connsiteY278" fmla="*/ 345203 h 1333436"/>
                <a:gd name="connsiteX279" fmla="*/ 65524 w 752994"/>
                <a:gd name="connsiteY279" fmla="*/ 343178 h 1333436"/>
                <a:gd name="connsiteX280" fmla="*/ 73095 w 752994"/>
                <a:gd name="connsiteY280" fmla="*/ 333376 h 1333436"/>
                <a:gd name="connsiteX281" fmla="*/ 73291 w 752994"/>
                <a:gd name="connsiteY281" fmla="*/ 333376 h 1333436"/>
                <a:gd name="connsiteX282" fmla="*/ 77991 w 752994"/>
                <a:gd name="connsiteY282" fmla="*/ 325838 h 1333436"/>
                <a:gd name="connsiteX283" fmla="*/ 82671 w 752994"/>
                <a:gd name="connsiteY283" fmla="*/ 313619 h 1333436"/>
                <a:gd name="connsiteX284" fmla="*/ 87980 w 752994"/>
                <a:gd name="connsiteY284" fmla="*/ 303018 h 1333436"/>
                <a:gd name="connsiteX285" fmla="*/ 92267 w 752994"/>
                <a:gd name="connsiteY285" fmla="*/ 291191 h 1333436"/>
                <a:gd name="connsiteX286" fmla="*/ 96553 w 752994"/>
                <a:gd name="connsiteY286" fmla="*/ 281202 h 1333436"/>
                <a:gd name="connsiteX287" fmla="*/ 99621 w 752994"/>
                <a:gd name="connsiteY287" fmla="*/ 274481 h 1333436"/>
                <a:gd name="connsiteX288" fmla="*/ 103082 w 752994"/>
                <a:gd name="connsiteY288" fmla="*/ 262450 h 1333436"/>
                <a:gd name="connsiteX289" fmla="*/ 107172 w 752994"/>
                <a:gd name="connsiteY289" fmla="*/ 254299 h 1333436"/>
                <a:gd name="connsiteX290" fmla="*/ 112481 w 752994"/>
                <a:gd name="connsiteY290" fmla="*/ 243697 h 1333436"/>
                <a:gd name="connsiteX291" fmla="*/ 117181 w 752994"/>
                <a:gd name="connsiteY291" fmla="*/ 232279 h 1333436"/>
                <a:gd name="connsiteX292" fmla="*/ 125951 w 752994"/>
                <a:gd name="connsiteY292" fmla="*/ 217389 h 1333436"/>
                <a:gd name="connsiteX293" fmla="*/ 136156 w 752994"/>
                <a:gd name="connsiteY293" fmla="*/ 202925 h 1333436"/>
                <a:gd name="connsiteX294" fmla="*/ 138811 w 752994"/>
                <a:gd name="connsiteY294" fmla="*/ 183339 h 1333436"/>
                <a:gd name="connsiteX295" fmla="*/ 148801 w 752994"/>
                <a:gd name="connsiteY295" fmla="*/ 167445 h 1333436"/>
                <a:gd name="connsiteX296" fmla="*/ 159616 w 752994"/>
                <a:gd name="connsiteY296" fmla="*/ 170712 h 1333436"/>
                <a:gd name="connsiteX297" fmla="*/ 173105 w 752994"/>
                <a:gd name="connsiteY297" fmla="*/ 175188 h 1333436"/>
                <a:gd name="connsiteX298" fmla="*/ 175347 w 752994"/>
                <a:gd name="connsiteY298" fmla="*/ 175188 h 1333436"/>
                <a:gd name="connsiteX299" fmla="*/ 175347 w 752994"/>
                <a:gd name="connsiteY299" fmla="*/ 173758 h 1333436"/>
                <a:gd name="connsiteX300" fmla="*/ 184975 w 752994"/>
                <a:gd name="connsiteY300" fmla="*/ 187393 h 1333436"/>
                <a:gd name="connsiteX301" fmla="*/ 184762 w 752994"/>
                <a:gd name="connsiteY301" fmla="*/ 184637 h 1333436"/>
                <a:gd name="connsiteX302" fmla="*/ 174971 w 752994"/>
                <a:gd name="connsiteY302" fmla="*/ 170774 h 1333436"/>
                <a:gd name="connsiteX303" fmla="*/ 174971 w 752994"/>
                <a:gd name="connsiteY303" fmla="*/ 169550 h 1333436"/>
                <a:gd name="connsiteX304" fmla="*/ 158851 w 752994"/>
                <a:gd name="connsiteY304" fmla="*/ 156924 h 1333436"/>
                <a:gd name="connsiteX305" fmla="*/ 147025 w 752994"/>
                <a:gd name="connsiteY305" fmla="*/ 145709 h 1333436"/>
                <a:gd name="connsiteX306" fmla="*/ 154364 w 752994"/>
                <a:gd name="connsiteY306" fmla="*/ 136335 h 1333436"/>
                <a:gd name="connsiteX307" fmla="*/ 161511 w 752994"/>
                <a:gd name="connsiteY307" fmla="*/ 131042 h 1333436"/>
                <a:gd name="connsiteX308" fmla="*/ 160902 w 752994"/>
                <a:gd name="connsiteY308" fmla="*/ 128384 h 1333436"/>
                <a:gd name="connsiteX309" fmla="*/ 160277 w 752994"/>
                <a:gd name="connsiteY309" fmla="*/ 127778 h 1333436"/>
                <a:gd name="connsiteX310" fmla="*/ 154973 w 752994"/>
                <a:gd name="connsiteY310" fmla="*/ 122077 h 1333436"/>
                <a:gd name="connsiteX311" fmla="*/ 160277 w 752994"/>
                <a:gd name="connsiteY311" fmla="*/ 115140 h 1333436"/>
                <a:gd name="connsiteX312" fmla="*/ 165181 w 752994"/>
                <a:gd name="connsiteY312" fmla="*/ 108215 h 1333436"/>
                <a:gd name="connsiteX313" fmla="*/ 161303 w 752994"/>
                <a:gd name="connsiteY313" fmla="*/ 104146 h 1333436"/>
                <a:gd name="connsiteX314" fmla="*/ 157842 w 752994"/>
                <a:gd name="connsiteY314" fmla="*/ 104542 h 1333436"/>
                <a:gd name="connsiteX315" fmla="*/ 157024 w 752994"/>
                <a:gd name="connsiteY315" fmla="*/ 102304 h 1333436"/>
                <a:gd name="connsiteX316" fmla="*/ 160694 w 752994"/>
                <a:gd name="connsiteY316" fmla="*/ 55437 h 1333436"/>
                <a:gd name="connsiteX317" fmla="*/ 160486 w 752994"/>
                <a:gd name="connsiteY317" fmla="*/ 31991 h 1333436"/>
                <a:gd name="connsiteX318" fmla="*/ 164972 w 752994"/>
                <a:gd name="connsiteY318" fmla="*/ 18141 h 1333436"/>
                <a:gd name="connsiteX319" fmla="*/ 171911 w 752994"/>
                <a:gd name="connsiteY319" fmla="*/ 11204 h 1333436"/>
                <a:gd name="connsiteX320" fmla="*/ 187406 w 752994"/>
                <a:gd name="connsiteY320" fmla="*/ 21801 h 1333436"/>
                <a:gd name="connsiteX321" fmla="*/ 210866 w 752994"/>
                <a:gd name="connsiteY321" fmla="*/ 37086 h 1333436"/>
                <a:gd name="connsiteX322" fmla="*/ 219230 w 752994"/>
                <a:gd name="connsiteY322" fmla="*/ 41166 h 1333436"/>
                <a:gd name="connsiteX323" fmla="*/ 226778 w 752994"/>
                <a:gd name="connsiteY323" fmla="*/ 47486 h 1333436"/>
                <a:gd name="connsiteX324" fmla="*/ 236152 w 752994"/>
                <a:gd name="connsiteY324" fmla="*/ 52370 h 1333436"/>
                <a:gd name="connsiteX325" fmla="*/ 239629 w 752994"/>
                <a:gd name="connsiteY325" fmla="*/ 58491 h 1333436"/>
                <a:gd name="connsiteX326" fmla="*/ 239629 w 752994"/>
                <a:gd name="connsiteY326" fmla="*/ 63376 h 1333436"/>
                <a:gd name="connsiteX327" fmla="*/ 236568 w 752994"/>
                <a:gd name="connsiteY327" fmla="*/ 67457 h 1333436"/>
                <a:gd name="connsiteX328" fmla="*/ 231264 w 752994"/>
                <a:gd name="connsiteY328" fmla="*/ 69905 h 1333436"/>
                <a:gd name="connsiteX329" fmla="*/ 216778 w 752994"/>
                <a:gd name="connsiteY329" fmla="*/ 82741 h 1333436"/>
                <a:gd name="connsiteX330" fmla="*/ 214134 w 752994"/>
                <a:gd name="connsiteY330" fmla="*/ 93536 h 1333436"/>
                <a:gd name="connsiteX331" fmla="*/ 214535 w 752994"/>
                <a:gd name="connsiteY331" fmla="*/ 96801 h 1333436"/>
                <a:gd name="connsiteX332" fmla="*/ 216378 w 752994"/>
                <a:gd name="connsiteY332" fmla="*/ 96801 h 1333436"/>
                <a:gd name="connsiteX333" fmla="*/ 230046 w 752994"/>
                <a:gd name="connsiteY333" fmla="*/ 85387 h 1333436"/>
                <a:gd name="connsiteX334" fmla="*/ 243298 w 752994"/>
                <a:gd name="connsiteY334" fmla="*/ 75198 h 1333436"/>
                <a:gd name="connsiteX335" fmla="*/ 246760 w 752994"/>
                <a:gd name="connsiteY335" fmla="*/ 77646 h 1333436"/>
                <a:gd name="connsiteX336" fmla="*/ 255541 w 752994"/>
                <a:gd name="connsiteY336" fmla="*/ 63376 h 1333436"/>
                <a:gd name="connsiteX337" fmla="*/ 259611 w 752994"/>
                <a:gd name="connsiteY337" fmla="*/ 43405 h 1333436"/>
                <a:gd name="connsiteX338" fmla="*/ 256967 w 752994"/>
                <a:gd name="connsiteY338" fmla="*/ 38520 h 1333436"/>
                <a:gd name="connsiteX339" fmla="*/ 253906 w 752994"/>
                <a:gd name="connsiteY339" fmla="*/ 34242 h 1333436"/>
                <a:gd name="connsiteX340" fmla="*/ 256967 w 752994"/>
                <a:gd name="connsiteY340" fmla="*/ 30161 h 1333436"/>
                <a:gd name="connsiteX341" fmla="*/ 262063 w 752994"/>
                <a:gd name="connsiteY341" fmla="*/ 27712 h 1333436"/>
                <a:gd name="connsiteX342" fmla="*/ 264915 w 752994"/>
                <a:gd name="connsiteY342" fmla="*/ 23026 h 1333436"/>
                <a:gd name="connsiteX343" fmla="*/ 267976 w 752994"/>
                <a:gd name="connsiteY343" fmla="*/ 22618 h 1333436"/>
                <a:gd name="connsiteX344" fmla="*/ 270427 w 752994"/>
                <a:gd name="connsiteY344" fmla="*/ 20787 h 1333436"/>
                <a:gd name="connsiteX345" fmla="*/ 263088 w 752994"/>
                <a:gd name="connsiteY345" fmla="*/ 13652 h 1333436"/>
                <a:gd name="connsiteX346" fmla="*/ 255541 w 752994"/>
                <a:gd name="connsiteY346" fmla="*/ 3055 h 1333436"/>
                <a:gd name="connsiteX347" fmla="*/ 256358 w 752994"/>
                <a:gd name="connsiteY347" fmla="*/ 1224 h 1333436"/>
                <a:gd name="connsiteX348" fmla="*/ 257159 w 752994"/>
                <a:gd name="connsiteY348"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445196 w 752994"/>
                <a:gd name="connsiteY30" fmla="*/ 269890 h 1333436"/>
                <a:gd name="connsiteX31" fmla="*/ 381379 w 752994"/>
                <a:gd name="connsiteY31" fmla="*/ 252303 h 1333436"/>
                <a:gd name="connsiteX32" fmla="*/ 365258 w 752994"/>
                <a:gd name="connsiteY32" fmla="*/ 245774 h 1333436"/>
                <a:gd name="connsiteX33" fmla="*/ 355067 w 752994"/>
                <a:gd name="connsiteY33" fmla="*/ 241285 h 1333436"/>
                <a:gd name="connsiteX34" fmla="*/ 350789 w 752994"/>
                <a:gd name="connsiteY34" fmla="*/ 244352 h 1333436"/>
                <a:gd name="connsiteX35" fmla="*/ 340789 w 752994"/>
                <a:gd name="connsiteY35" fmla="*/ 243536 h 1333436"/>
                <a:gd name="connsiteX36" fmla="*/ 333034 w 752994"/>
                <a:gd name="connsiteY36" fmla="*/ 240271 h 1333436"/>
                <a:gd name="connsiteX37" fmla="*/ 323868 w 752994"/>
                <a:gd name="connsiteY37" fmla="*/ 241495 h 1333436"/>
                <a:gd name="connsiteX38" fmla="*/ 309783 w 752994"/>
                <a:gd name="connsiteY38" fmla="*/ 243536 h 1333436"/>
                <a:gd name="connsiteX39" fmla="*/ 297140 w 752994"/>
                <a:gd name="connsiteY39" fmla="*/ 245576 h 1333436"/>
                <a:gd name="connsiteX40" fmla="*/ 288775 w 752994"/>
                <a:gd name="connsiteY40" fmla="*/ 247406 h 1333436"/>
                <a:gd name="connsiteX41" fmla="*/ 280827 w 752994"/>
                <a:gd name="connsiteY41" fmla="*/ 242720 h 1333436"/>
                <a:gd name="connsiteX42" fmla="*/ 274497 w 752994"/>
                <a:gd name="connsiteY42" fmla="*/ 238441 h 1333436"/>
                <a:gd name="connsiteX43" fmla="*/ 269001 w 752994"/>
                <a:gd name="connsiteY43" fmla="*/ 240679 h 1333436"/>
                <a:gd name="connsiteX44" fmla="*/ 262880 w 752994"/>
                <a:gd name="connsiteY44" fmla="*/ 243128 h 1333436"/>
                <a:gd name="connsiteX45" fmla="*/ 260028 w 752994"/>
                <a:gd name="connsiteY45" fmla="*/ 242720 h 1333436"/>
                <a:gd name="connsiteX46" fmla="*/ 247994 w 752994"/>
                <a:gd name="connsiteY46" fmla="*/ 241693 h 1333436"/>
                <a:gd name="connsiteX47" fmla="*/ 242081 w 752994"/>
                <a:gd name="connsiteY47" fmla="*/ 234162 h 1333436"/>
                <a:gd name="connsiteX48" fmla="*/ 235142 w 752994"/>
                <a:gd name="connsiteY48" fmla="*/ 229476 h 1333436"/>
                <a:gd name="connsiteX49" fmla="*/ 224742 w 752994"/>
                <a:gd name="connsiteY49" fmla="*/ 226817 h 1333436"/>
                <a:gd name="connsiteX50" fmla="*/ 216778 w 752994"/>
                <a:gd name="connsiteY50" fmla="*/ 229068 h 1333436"/>
                <a:gd name="connsiteX51" fmla="*/ 202709 w 752994"/>
                <a:gd name="connsiteY51" fmla="*/ 230898 h 1333436"/>
                <a:gd name="connsiteX52" fmla="*/ 195162 w 752994"/>
                <a:gd name="connsiteY52" fmla="*/ 228857 h 1333436"/>
                <a:gd name="connsiteX53" fmla="*/ 188223 w 752994"/>
                <a:gd name="connsiteY53" fmla="*/ 223973 h 1333436"/>
                <a:gd name="connsiteX54" fmla="*/ 185163 w 752994"/>
                <a:gd name="connsiteY54" fmla="*/ 219484 h 1333436"/>
                <a:gd name="connsiteX55" fmla="*/ 184180 w 752994"/>
                <a:gd name="connsiteY55" fmla="*/ 213866 h 1333436"/>
                <a:gd name="connsiteX56" fmla="*/ 257159 w 752994"/>
                <a:gd name="connsiteY56" fmla="*/ 0 h 1333436"/>
                <a:gd name="connsiteX57" fmla="*/ 493147 w 752994"/>
                <a:gd name="connsiteY57" fmla="*/ 73157 h 1333436"/>
                <a:gd name="connsiteX58" fmla="*/ 492970 w 752994"/>
                <a:gd name="connsiteY58" fmla="*/ 73792 h 1333436"/>
                <a:gd name="connsiteX59" fmla="*/ 525816 w 752994"/>
                <a:gd name="connsiteY59" fmla="*/ 82491 h 1333436"/>
                <a:gd name="connsiteX60" fmla="*/ 520098 w 752994"/>
                <a:gd name="connsiteY60" fmla="*/ 111245 h 1333436"/>
                <a:gd name="connsiteX61" fmla="*/ 512552 w 752994"/>
                <a:gd name="connsiteY61" fmla="*/ 143854 h 1333436"/>
                <a:gd name="connsiteX62" fmla="*/ 517849 w 752994"/>
                <a:gd name="connsiteY62" fmla="*/ 157740 h 1333436"/>
                <a:gd name="connsiteX63" fmla="*/ 523160 w 752994"/>
                <a:gd name="connsiteY63" fmla="*/ 172009 h 1333436"/>
                <a:gd name="connsiteX64" fmla="*/ 521535 w 752994"/>
                <a:gd name="connsiteY64" fmla="*/ 178928 h 1333436"/>
                <a:gd name="connsiteX65" fmla="*/ 520098 w 752994"/>
                <a:gd name="connsiteY65" fmla="*/ 186279 h 1333436"/>
                <a:gd name="connsiteX66" fmla="*/ 526019 w 752994"/>
                <a:gd name="connsiteY66" fmla="*/ 193629 h 1333436"/>
                <a:gd name="connsiteX67" fmla="*/ 537251 w 752994"/>
                <a:gd name="connsiteY67" fmla="*/ 206270 h 1333436"/>
                <a:gd name="connsiteX68" fmla="*/ 542765 w 752994"/>
                <a:gd name="connsiteY68" fmla="*/ 217475 h 1333436"/>
                <a:gd name="connsiteX69" fmla="*/ 546857 w 752994"/>
                <a:gd name="connsiteY69" fmla="*/ 230930 h 1333436"/>
                <a:gd name="connsiteX70" fmla="*/ 549499 w 752994"/>
                <a:gd name="connsiteY70" fmla="*/ 235622 h 1333436"/>
                <a:gd name="connsiteX71" fmla="*/ 553388 w 752994"/>
                <a:gd name="connsiteY71" fmla="*/ 240722 h 1333436"/>
                <a:gd name="connsiteX72" fmla="*/ 557465 w 752994"/>
                <a:gd name="connsiteY72" fmla="*/ 246037 h 1333436"/>
                <a:gd name="connsiteX73" fmla="*/ 561761 w 752994"/>
                <a:gd name="connsiteY73" fmla="*/ 248671 h 1333436"/>
                <a:gd name="connsiteX74" fmla="*/ 567478 w 752994"/>
                <a:gd name="connsiteY74" fmla="*/ 247665 h 1333436"/>
                <a:gd name="connsiteX75" fmla="*/ 569931 w 752994"/>
                <a:gd name="connsiteY75" fmla="*/ 249293 h 1333436"/>
                <a:gd name="connsiteX76" fmla="*/ 570540 w 752994"/>
                <a:gd name="connsiteY76" fmla="*/ 251951 h 1333436"/>
                <a:gd name="connsiteX77" fmla="*/ 561964 w 752994"/>
                <a:gd name="connsiteY77" fmla="*/ 267656 h 1333436"/>
                <a:gd name="connsiteX78" fmla="*/ 553591 w 752994"/>
                <a:gd name="connsiteY78" fmla="*/ 289659 h 1333436"/>
                <a:gd name="connsiteX79" fmla="*/ 554810 w 752994"/>
                <a:gd name="connsiteY79" fmla="*/ 292939 h 1333436"/>
                <a:gd name="connsiteX80" fmla="*/ 556246 w 752994"/>
                <a:gd name="connsiteY80" fmla="*/ 299260 h 1333436"/>
                <a:gd name="connsiteX81" fmla="*/ 552778 w 752994"/>
                <a:gd name="connsiteY81" fmla="*/ 301917 h 1333436"/>
                <a:gd name="connsiteX82" fmla="*/ 549295 w 752994"/>
                <a:gd name="connsiteY82" fmla="*/ 306993 h 1333436"/>
                <a:gd name="connsiteX83" fmla="*/ 547061 w 752994"/>
                <a:gd name="connsiteY83" fmla="*/ 313122 h 1333436"/>
                <a:gd name="connsiteX84" fmla="*/ 544811 w 752994"/>
                <a:gd name="connsiteY84" fmla="*/ 316593 h 1333436"/>
                <a:gd name="connsiteX85" fmla="*/ 549919 w 752994"/>
                <a:gd name="connsiteY85" fmla="*/ 322698 h 1333436"/>
                <a:gd name="connsiteX86" fmla="*/ 553184 w 752994"/>
                <a:gd name="connsiteY86" fmla="*/ 325955 h 1333436"/>
                <a:gd name="connsiteX87" fmla="*/ 555840 w 752994"/>
                <a:gd name="connsiteY87" fmla="*/ 328205 h 1333436"/>
                <a:gd name="connsiteX88" fmla="*/ 574212 w 752994"/>
                <a:gd name="connsiteY88" fmla="*/ 318820 h 1333436"/>
                <a:gd name="connsiteX89" fmla="*/ 579523 w 752994"/>
                <a:gd name="connsiteY89" fmla="*/ 326577 h 1333436"/>
                <a:gd name="connsiteX90" fmla="*/ 580539 w 752994"/>
                <a:gd name="connsiteY90" fmla="*/ 334933 h 1333436"/>
                <a:gd name="connsiteX91" fmla="*/ 579726 w 752994"/>
                <a:gd name="connsiteY91" fmla="*/ 343097 h 1333436"/>
                <a:gd name="connsiteX92" fmla="*/ 581366 w 752994"/>
                <a:gd name="connsiteY92" fmla="*/ 350231 h 1333436"/>
                <a:gd name="connsiteX93" fmla="*/ 586256 w 752994"/>
                <a:gd name="connsiteY93" fmla="*/ 355930 h 1333436"/>
                <a:gd name="connsiteX94" fmla="*/ 589536 w 752994"/>
                <a:gd name="connsiteY94" fmla="*/ 362059 h 1333436"/>
                <a:gd name="connsiteX95" fmla="*/ 588099 w 752994"/>
                <a:gd name="connsiteY95" fmla="*/ 369600 h 1333436"/>
                <a:gd name="connsiteX96" fmla="*/ 586459 w 752994"/>
                <a:gd name="connsiteY96" fmla="*/ 377357 h 1333436"/>
                <a:gd name="connsiteX97" fmla="*/ 588709 w 752994"/>
                <a:gd name="connsiteY97" fmla="*/ 381835 h 1333436"/>
                <a:gd name="connsiteX98" fmla="*/ 595036 w 752994"/>
                <a:gd name="connsiteY98" fmla="*/ 382457 h 1333436"/>
                <a:gd name="connsiteX99" fmla="*/ 599331 w 752994"/>
                <a:gd name="connsiteY99" fmla="*/ 385306 h 1333436"/>
                <a:gd name="connsiteX100" fmla="*/ 601987 w 752994"/>
                <a:gd name="connsiteY100" fmla="*/ 391004 h 1333436"/>
                <a:gd name="connsiteX101" fmla="*/ 602799 w 752994"/>
                <a:gd name="connsiteY101" fmla="*/ 404076 h 1333436"/>
                <a:gd name="connsiteX102" fmla="*/ 606892 w 752994"/>
                <a:gd name="connsiteY102" fmla="*/ 415688 h 1333436"/>
                <a:gd name="connsiteX103" fmla="*/ 610563 w 752994"/>
                <a:gd name="connsiteY103" fmla="*/ 412217 h 1333436"/>
                <a:gd name="connsiteX104" fmla="*/ 617920 w 752994"/>
                <a:gd name="connsiteY104" fmla="*/ 408769 h 1333436"/>
                <a:gd name="connsiteX105" fmla="*/ 624654 w 752994"/>
                <a:gd name="connsiteY105" fmla="*/ 411211 h 1333436"/>
                <a:gd name="connsiteX106" fmla="*/ 634652 w 752994"/>
                <a:gd name="connsiteY106" fmla="*/ 410182 h 1333436"/>
                <a:gd name="connsiteX107" fmla="*/ 640573 w 752994"/>
                <a:gd name="connsiteY107" fmla="*/ 407739 h 1333436"/>
                <a:gd name="connsiteX108" fmla="*/ 646711 w 752994"/>
                <a:gd name="connsiteY108" fmla="*/ 410589 h 1333436"/>
                <a:gd name="connsiteX109" fmla="*/ 650383 w 752994"/>
                <a:gd name="connsiteY109" fmla="*/ 410589 h 1333436"/>
                <a:gd name="connsiteX110" fmla="*/ 654257 w 752994"/>
                <a:gd name="connsiteY110" fmla="*/ 411618 h 1333436"/>
                <a:gd name="connsiteX111" fmla="*/ 656913 w 752994"/>
                <a:gd name="connsiteY111" fmla="*/ 413653 h 1333436"/>
                <a:gd name="connsiteX112" fmla="*/ 660802 w 752994"/>
                <a:gd name="connsiteY112" fmla="*/ 415090 h 1333436"/>
                <a:gd name="connsiteX113" fmla="*/ 669581 w 752994"/>
                <a:gd name="connsiteY113" fmla="*/ 415904 h 1333436"/>
                <a:gd name="connsiteX114" fmla="*/ 672237 w 752994"/>
                <a:gd name="connsiteY114" fmla="*/ 415688 h 1333436"/>
                <a:gd name="connsiteX115" fmla="*/ 675705 w 752994"/>
                <a:gd name="connsiteY115" fmla="*/ 409367 h 1333436"/>
                <a:gd name="connsiteX116" fmla="*/ 679986 w 752994"/>
                <a:gd name="connsiteY116" fmla="*/ 403238 h 1333436"/>
                <a:gd name="connsiteX117" fmla="*/ 693264 w 752994"/>
                <a:gd name="connsiteY117" fmla="*/ 419567 h 1333436"/>
                <a:gd name="connsiteX118" fmla="*/ 688563 w 752994"/>
                <a:gd name="connsiteY118" fmla="*/ 448321 h 1333436"/>
                <a:gd name="connsiteX119" fmla="*/ 663949 w 752994"/>
                <a:gd name="connsiteY119" fmla="*/ 590165 h 1333436"/>
                <a:gd name="connsiteX120" fmla="*/ 666304 w 752994"/>
                <a:gd name="connsiteY120" fmla="*/ 590504 h 1333436"/>
                <a:gd name="connsiteX121" fmla="*/ 655288 w 752994"/>
                <a:gd name="connsiteY121" fmla="*/ 656178 h 1333436"/>
                <a:gd name="connsiteX122" fmla="*/ 681808 w 752994"/>
                <a:gd name="connsiteY122" fmla="*/ 662301 h 1333436"/>
                <a:gd name="connsiteX123" fmla="*/ 752994 w 752994"/>
                <a:gd name="connsiteY123" fmla="*/ 675560 h 1333436"/>
                <a:gd name="connsiteX124" fmla="*/ 714651 w 752994"/>
                <a:gd name="connsiteY124" fmla="*/ 946985 h 1333436"/>
                <a:gd name="connsiteX125" fmla="*/ 654533 w 752994"/>
                <a:gd name="connsiteY125" fmla="*/ 1333436 h 1333436"/>
                <a:gd name="connsiteX126" fmla="*/ 546831 w 752994"/>
                <a:gd name="connsiteY126" fmla="*/ 1317126 h 1333436"/>
                <a:gd name="connsiteX127" fmla="*/ 351227 w 752994"/>
                <a:gd name="connsiteY127" fmla="*/ 1194172 h 1333436"/>
                <a:gd name="connsiteX128" fmla="*/ 361011 w 752994"/>
                <a:gd name="connsiteY128" fmla="*/ 1182755 h 1333436"/>
                <a:gd name="connsiteX129" fmla="*/ 368981 w 752994"/>
                <a:gd name="connsiteY129" fmla="*/ 1182130 h 1333436"/>
                <a:gd name="connsiteX130" fmla="*/ 369571 w 752994"/>
                <a:gd name="connsiteY130" fmla="*/ 1181558 h 1333436"/>
                <a:gd name="connsiteX131" fmla="*/ 362372 w 752994"/>
                <a:gd name="connsiteY131" fmla="*/ 1182120 h 1333436"/>
                <a:gd name="connsiteX132" fmla="*/ 229464 w 752994"/>
                <a:gd name="connsiteY132" fmla="*/ 1161721 h 1333436"/>
                <a:gd name="connsiteX133" fmla="*/ 227427 w 752994"/>
                <a:gd name="connsiteY133" fmla="*/ 1157269 h 1333436"/>
                <a:gd name="connsiteX134" fmla="*/ 224967 w 752994"/>
                <a:gd name="connsiteY134" fmla="*/ 1152575 h 1333436"/>
                <a:gd name="connsiteX135" fmla="*/ 225582 w 752994"/>
                <a:gd name="connsiteY135" fmla="*/ 1144808 h 1333436"/>
                <a:gd name="connsiteX136" fmla="*/ 227215 w 752994"/>
                <a:gd name="connsiteY136" fmla="*/ 1135834 h 1333436"/>
                <a:gd name="connsiteX137" fmla="*/ 227215 w 752994"/>
                <a:gd name="connsiteY137" fmla="*/ 1134212 h 1333436"/>
                <a:gd name="connsiteX138" fmla="*/ 225179 w 752994"/>
                <a:gd name="connsiteY138" fmla="*/ 1114020 h 1333436"/>
                <a:gd name="connsiteX139" fmla="*/ 217839 w 752994"/>
                <a:gd name="connsiteY139" fmla="*/ 1100352 h 1333436"/>
                <a:gd name="connsiteX140" fmla="*/ 199661 w 752994"/>
                <a:gd name="connsiteY140" fmla="*/ 1076502 h 1333436"/>
                <a:gd name="connsiteX141" fmla="*/ 196395 w 752994"/>
                <a:gd name="connsiteY141" fmla="*/ 1071807 h 1333436"/>
                <a:gd name="connsiteX142" fmla="*/ 190880 w 752994"/>
                <a:gd name="connsiteY142" fmla="*/ 1067527 h 1333436"/>
                <a:gd name="connsiteX143" fmla="*/ 187210 w 752994"/>
                <a:gd name="connsiteY143" fmla="*/ 1068735 h 1333436"/>
                <a:gd name="connsiteX144" fmla="*/ 180062 w 752994"/>
                <a:gd name="connsiteY144" fmla="*/ 1066699 h 1333436"/>
                <a:gd name="connsiteX145" fmla="*/ 180466 w 752994"/>
                <a:gd name="connsiteY145" fmla="*/ 1053031 h 1333436"/>
                <a:gd name="connsiteX146" fmla="*/ 180062 w 752994"/>
                <a:gd name="connsiteY146" fmla="*/ 1045299 h 1333436"/>
                <a:gd name="connsiteX147" fmla="*/ 174144 w 752994"/>
                <a:gd name="connsiteY147" fmla="*/ 1044057 h 1333436"/>
                <a:gd name="connsiteX148" fmla="*/ 158426 w 752994"/>
                <a:gd name="connsiteY148" fmla="*/ 1042641 h 1333436"/>
                <a:gd name="connsiteX149" fmla="*/ 149857 w 752994"/>
                <a:gd name="connsiteY149" fmla="*/ 1035497 h 1333436"/>
                <a:gd name="connsiteX150" fmla="*/ 142497 w 752994"/>
                <a:gd name="connsiteY150" fmla="*/ 1028766 h 1333436"/>
                <a:gd name="connsiteX151" fmla="*/ 140864 w 752994"/>
                <a:gd name="connsiteY151" fmla="*/ 1020620 h 1333436"/>
                <a:gd name="connsiteX152" fmla="*/ 138212 w 752994"/>
                <a:gd name="connsiteY152" fmla="*/ 1013061 h 1333436"/>
                <a:gd name="connsiteX153" fmla="*/ 131064 w 752994"/>
                <a:gd name="connsiteY153" fmla="*/ 1007159 h 1333436"/>
                <a:gd name="connsiteX154" fmla="*/ 121264 w 752994"/>
                <a:gd name="connsiteY154" fmla="*/ 1005330 h 1333436"/>
                <a:gd name="connsiteX155" fmla="*/ 112483 w 752994"/>
                <a:gd name="connsiteY155" fmla="*/ 1001671 h 1333436"/>
                <a:gd name="connsiteX156" fmla="*/ 105950 w 752994"/>
                <a:gd name="connsiteY156" fmla="*/ 995734 h 1333436"/>
                <a:gd name="connsiteX157" fmla="*/ 97380 w 752994"/>
                <a:gd name="connsiteY157" fmla="*/ 994526 h 1333436"/>
                <a:gd name="connsiteX158" fmla="*/ 87984 w 752994"/>
                <a:gd name="connsiteY158" fmla="*/ 991040 h 1333436"/>
                <a:gd name="connsiteX159" fmla="*/ 80029 w 752994"/>
                <a:gd name="connsiteY159" fmla="*/ 985138 h 1333436"/>
                <a:gd name="connsiteX160" fmla="*/ 77166 w 752994"/>
                <a:gd name="connsiteY160" fmla="*/ 976164 h 1333436"/>
                <a:gd name="connsiteX161" fmla="*/ 79203 w 752994"/>
                <a:gd name="connsiteY161" fmla="*/ 970676 h 1333436"/>
                <a:gd name="connsiteX162" fmla="*/ 82470 w 752994"/>
                <a:gd name="connsiteY162" fmla="*/ 963117 h 1333436"/>
                <a:gd name="connsiteX163" fmla="*/ 84314 w 752994"/>
                <a:gd name="connsiteY163" fmla="*/ 954557 h 1333436"/>
                <a:gd name="connsiteX164" fmla="*/ 86351 w 752994"/>
                <a:gd name="connsiteY164" fmla="*/ 948033 h 1333436"/>
                <a:gd name="connsiteX165" fmla="*/ 86159 w 752994"/>
                <a:gd name="connsiteY165" fmla="*/ 942925 h 1333436"/>
                <a:gd name="connsiteX166" fmla="*/ 83085 w 752994"/>
                <a:gd name="connsiteY166" fmla="*/ 939853 h 1333436"/>
                <a:gd name="connsiteX167" fmla="*/ 77570 w 752994"/>
                <a:gd name="connsiteY167" fmla="*/ 937437 h 1333436"/>
                <a:gd name="connsiteX168" fmla="*/ 76763 w 752994"/>
                <a:gd name="connsiteY168" fmla="*/ 931915 h 1333436"/>
                <a:gd name="connsiteX169" fmla="*/ 78800 w 752994"/>
                <a:gd name="connsiteY169" fmla="*/ 927013 h 1333436"/>
                <a:gd name="connsiteX170" fmla="*/ 79626 w 752994"/>
                <a:gd name="connsiteY170" fmla="*/ 922526 h 1333436"/>
                <a:gd name="connsiteX171" fmla="*/ 77781 w 752994"/>
                <a:gd name="connsiteY171" fmla="*/ 919903 h 1333436"/>
                <a:gd name="connsiteX172" fmla="*/ 74303 w 752994"/>
                <a:gd name="connsiteY172" fmla="*/ 917418 h 1333436"/>
                <a:gd name="connsiteX173" fmla="*/ 71863 w 752994"/>
                <a:gd name="connsiteY173" fmla="*/ 915174 h 1333436"/>
                <a:gd name="connsiteX174" fmla="*/ 71652 w 752994"/>
                <a:gd name="connsiteY174" fmla="*/ 910894 h 1333436"/>
                <a:gd name="connsiteX175" fmla="*/ 70633 w 752994"/>
                <a:gd name="connsiteY175" fmla="*/ 906614 h 1333436"/>
                <a:gd name="connsiteX176" fmla="*/ 68385 w 752994"/>
                <a:gd name="connsiteY176" fmla="*/ 902749 h 1333436"/>
                <a:gd name="connsiteX177" fmla="*/ 61045 w 752994"/>
                <a:gd name="connsiteY177" fmla="*/ 889494 h 1333436"/>
                <a:gd name="connsiteX178" fmla="*/ 57971 w 752994"/>
                <a:gd name="connsiteY178" fmla="*/ 875619 h 1333436"/>
                <a:gd name="connsiteX179" fmla="*/ 52264 w 752994"/>
                <a:gd name="connsiteY179" fmla="*/ 862572 h 1333436"/>
                <a:gd name="connsiteX180" fmla="*/ 44309 w 752994"/>
                <a:gd name="connsiteY180" fmla="*/ 850561 h 1333436"/>
                <a:gd name="connsiteX181" fmla="*/ 45520 w 752994"/>
                <a:gd name="connsiteY181" fmla="*/ 827090 h 1333436"/>
                <a:gd name="connsiteX182" fmla="*/ 53071 w 752994"/>
                <a:gd name="connsiteY182" fmla="*/ 822396 h 1333436"/>
                <a:gd name="connsiteX183" fmla="*/ 57375 w 752994"/>
                <a:gd name="connsiteY183" fmla="*/ 816493 h 1333436"/>
                <a:gd name="connsiteX184" fmla="*/ 55319 w 752994"/>
                <a:gd name="connsiteY184" fmla="*/ 801617 h 1333436"/>
                <a:gd name="connsiteX185" fmla="*/ 48383 w 752994"/>
                <a:gd name="connsiteY185" fmla="*/ 802204 h 1333436"/>
                <a:gd name="connsiteX186" fmla="*/ 40428 w 752994"/>
                <a:gd name="connsiteY186" fmla="*/ 797924 h 1333436"/>
                <a:gd name="connsiteX187" fmla="*/ 37565 w 752994"/>
                <a:gd name="connsiteY187" fmla="*/ 790606 h 1333436"/>
                <a:gd name="connsiteX188" fmla="*/ 37565 w 752994"/>
                <a:gd name="connsiteY188" fmla="*/ 790399 h 1333436"/>
                <a:gd name="connsiteX189" fmla="*/ 35931 w 752994"/>
                <a:gd name="connsiteY189" fmla="*/ 785912 h 1333436"/>
                <a:gd name="connsiteX190" fmla="*/ 34510 w 752994"/>
                <a:gd name="connsiteY190" fmla="*/ 780597 h 1333436"/>
                <a:gd name="connsiteX191" fmla="*/ 36335 w 752994"/>
                <a:gd name="connsiteY191" fmla="*/ 774280 h 1333436"/>
                <a:gd name="connsiteX192" fmla="*/ 38180 w 752994"/>
                <a:gd name="connsiteY192" fmla="*/ 766721 h 1333436"/>
                <a:gd name="connsiteX193" fmla="*/ 37161 w 752994"/>
                <a:gd name="connsiteY193" fmla="*/ 760405 h 1333436"/>
                <a:gd name="connsiteX194" fmla="*/ 35720 w 752994"/>
                <a:gd name="connsiteY194" fmla="*/ 754710 h 1333436"/>
                <a:gd name="connsiteX195" fmla="*/ 36546 w 752994"/>
                <a:gd name="connsiteY195" fmla="*/ 748773 h 1333436"/>
                <a:gd name="connsiteX196" fmla="*/ 38372 w 752994"/>
                <a:gd name="connsiteY196" fmla="*/ 744528 h 1333436"/>
                <a:gd name="connsiteX197" fmla="*/ 41638 w 752994"/>
                <a:gd name="connsiteY197" fmla="*/ 744321 h 1333436"/>
                <a:gd name="connsiteX198" fmla="*/ 44713 w 752994"/>
                <a:gd name="connsiteY198" fmla="*/ 746357 h 1333436"/>
                <a:gd name="connsiteX199" fmla="*/ 47364 w 752994"/>
                <a:gd name="connsiteY199" fmla="*/ 753260 h 1333436"/>
                <a:gd name="connsiteX200" fmla="*/ 55742 w 752994"/>
                <a:gd name="connsiteY200" fmla="*/ 764305 h 1333436"/>
                <a:gd name="connsiteX201" fmla="*/ 56338 w 752994"/>
                <a:gd name="connsiteY201" fmla="*/ 761233 h 1333436"/>
                <a:gd name="connsiteX202" fmla="*/ 56145 w 752994"/>
                <a:gd name="connsiteY202" fmla="*/ 757368 h 1333436"/>
                <a:gd name="connsiteX203" fmla="*/ 54916 w 752994"/>
                <a:gd name="connsiteY203" fmla="*/ 748601 h 1333436"/>
                <a:gd name="connsiteX204" fmla="*/ 52879 w 752994"/>
                <a:gd name="connsiteY204" fmla="*/ 747358 h 1333436"/>
                <a:gd name="connsiteX205" fmla="*/ 51649 w 752994"/>
                <a:gd name="connsiteY205" fmla="*/ 745322 h 1333436"/>
                <a:gd name="connsiteX206" fmla="*/ 51649 w 752994"/>
                <a:gd name="connsiteY206" fmla="*/ 739212 h 1333436"/>
                <a:gd name="connsiteX207" fmla="*/ 50227 w 752994"/>
                <a:gd name="connsiteY207" fmla="*/ 734725 h 1333436"/>
                <a:gd name="connsiteX208" fmla="*/ 48786 w 752994"/>
                <a:gd name="connsiteY208" fmla="*/ 731446 h 1333436"/>
                <a:gd name="connsiteX209" fmla="*/ 54512 w 752994"/>
                <a:gd name="connsiteY209" fmla="*/ 726372 h 1333436"/>
                <a:gd name="connsiteX210" fmla="*/ 59815 w 752994"/>
                <a:gd name="connsiteY210" fmla="*/ 725130 h 1333436"/>
                <a:gd name="connsiteX211" fmla="*/ 58182 w 752994"/>
                <a:gd name="connsiteY211" fmla="*/ 722886 h 1333436"/>
                <a:gd name="connsiteX212" fmla="*/ 51861 w 752994"/>
                <a:gd name="connsiteY212" fmla="*/ 717985 h 1333436"/>
                <a:gd name="connsiteX213" fmla="*/ 46749 w 752994"/>
                <a:gd name="connsiteY213" fmla="*/ 729617 h 1333436"/>
                <a:gd name="connsiteX214" fmla="*/ 40831 w 752994"/>
                <a:gd name="connsiteY214" fmla="*/ 739212 h 1333436"/>
                <a:gd name="connsiteX215" fmla="*/ 39601 w 752994"/>
                <a:gd name="connsiteY215" fmla="*/ 738798 h 1333436"/>
                <a:gd name="connsiteX216" fmla="*/ 39409 w 752994"/>
                <a:gd name="connsiteY216" fmla="*/ 738591 h 1333436"/>
                <a:gd name="connsiteX217" fmla="*/ 37161 w 752994"/>
                <a:gd name="connsiteY217" fmla="*/ 734725 h 1333436"/>
                <a:gd name="connsiteX218" fmla="*/ 32665 w 752994"/>
                <a:gd name="connsiteY218" fmla="*/ 727788 h 1333436"/>
                <a:gd name="connsiteX219" fmla="*/ 26747 w 752994"/>
                <a:gd name="connsiteY219" fmla="*/ 719435 h 1333436"/>
                <a:gd name="connsiteX220" fmla="*/ 23884 w 752994"/>
                <a:gd name="connsiteY220" fmla="*/ 717812 h 1333436"/>
                <a:gd name="connsiteX221" fmla="*/ 24710 w 752994"/>
                <a:gd name="connsiteY221" fmla="*/ 709632 h 1333436"/>
                <a:gd name="connsiteX222" fmla="*/ 27554 w 752994"/>
                <a:gd name="connsiteY222" fmla="*/ 701694 h 1333436"/>
                <a:gd name="connsiteX223" fmla="*/ 24902 w 752994"/>
                <a:gd name="connsiteY223" fmla="*/ 696171 h 1333436"/>
                <a:gd name="connsiteX224" fmla="*/ 24095 w 752994"/>
                <a:gd name="connsiteY224" fmla="*/ 687818 h 1333436"/>
                <a:gd name="connsiteX225" fmla="*/ 22462 w 752994"/>
                <a:gd name="connsiteY225" fmla="*/ 682330 h 1333436"/>
                <a:gd name="connsiteX226" fmla="*/ 17159 w 752994"/>
                <a:gd name="connsiteY226" fmla="*/ 677636 h 1333436"/>
                <a:gd name="connsiteX227" fmla="*/ 14296 w 752994"/>
                <a:gd name="connsiteY227" fmla="*/ 671492 h 1333436"/>
                <a:gd name="connsiteX228" fmla="*/ 12451 w 752994"/>
                <a:gd name="connsiteY228" fmla="*/ 665797 h 1333436"/>
                <a:gd name="connsiteX229" fmla="*/ 5111 w 752994"/>
                <a:gd name="connsiteY229" fmla="*/ 654994 h 1333436"/>
                <a:gd name="connsiteX230" fmla="*/ 2248 w 752994"/>
                <a:gd name="connsiteY230" fmla="*/ 645605 h 1333436"/>
                <a:gd name="connsiteX231" fmla="*/ 4496 w 752994"/>
                <a:gd name="connsiteY231" fmla="*/ 640497 h 1333436"/>
                <a:gd name="connsiteX232" fmla="*/ 6744 w 752994"/>
                <a:gd name="connsiteY232" fmla="*/ 632765 h 1333436"/>
                <a:gd name="connsiteX233" fmla="*/ 6744 w 752994"/>
                <a:gd name="connsiteY233" fmla="*/ 628485 h 1333436"/>
                <a:gd name="connsiteX234" fmla="*/ 6533 w 752994"/>
                <a:gd name="connsiteY234" fmla="*/ 620305 h 1333436"/>
                <a:gd name="connsiteX235" fmla="*/ 7359 w 752994"/>
                <a:gd name="connsiteY235" fmla="*/ 611745 h 1333436"/>
                <a:gd name="connsiteX236" fmla="*/ 11836 w 752994"/>
                <a:gd name="connsiteY236" fmla="*/ 602978 h 1333436"/>
                <a:gd name="connsiteX237" fmla="*/ 15103 w 752994"/>
                <a:gd name="connsiteY237" fmla="*/ 591760 h 1333436"/>
                <a:gd name="connsiteX238" fmla="*/ 14488 w 752994"/>
                <a:gd name="connsiteY238" fmla="*/ 584029 h 1333436"/>
                <a:gd name="connsiteX239" fmla="*/ 13873 w 752994"/>
                <a:gd name="connsiteY239" fmla="*/ 578299 h 1333436"/>
                <a:gd name="connsiteX240" fmla="*/ 10626 w 752994"/>
                <a:gd name="connsiteY240" fmla="*/ 568531 h 1333436"/>
                <a:gd name="connsiteX241" fmla="*/ 3670 w 752994"/>
                <a:gd name="connsiteY241" fmla="*/ 558107 h 1333436"/>
                <a:gd name="connsiteX242" fmla="*/ 0 w 752994"/>
                <a:gd name="connsiteY242" fmla="*/ 551377 h 1333436"/>
                <a:gd name="connsiteX243" fmla="*/ 0 w 752994"/>
                <a:gd name="connsiteY243" fmla="*/ 550997 h 1333436"/>
                <a:gd name="connsiteX244" fmla="*/ 4900 w 752994"/>
                <a:gd name="connsiteY244" fmla="*/ 531220 h 1333436"/>
                <a:gd name="connsiteX245" fmla="*/ 13873 w 752994"/>
                <a:gd name="connsiteY245" fmla="*/ 520589 h 1333436"/>
                <a:gd name="connsiteX246" fmla="*/ 18369 w 752994"/>
                <a:gd name="connsiteY246" fmla="*/ 516516 h 1333436"/>
                <a:gd name="connsiteX247" fmla="*/ 18773 w 752994"/>
                <a:gd name="connsiteY247" fmla="*/ 514272 h 1333436"/>
                <a:gd name="connsiteX248" fmla="*/ 23077 w 752994"/>
                <a:gd name="connsiteY248" fmla="*/ 506127 h 1333436"/>
                <a:gd name="connsiteX249" fmla="*/ 23884 w 752994"/>
                <a:gd name="connsiteY249" fmla="*/ 502261 h 1333436"/>
                <a:gd name="connsiteX250" fmla="*/ 23692 w 752994"/>
                <a:gd name="connsiteY250" fmla="*/ 496738 h 1333436"/>
                <a:gd name="connsiteX251" fmla="*/ 30013 w 752994"/>
                <a:gd name="connsiteY251" fmla="*/ 486556 h 1333436"/>
                <a:gd name="connsiteX252" fmla="*/ 36546 w 752994"/>
                <a:gd name="connsiteY252" fmla="*/ 470230 h 1333436"/>
                <a:gd name="connsiteX253" fmla="*/ 36546 w 752994"/>
                <a:gd name="connsiteY253" fmla="*/ 462671 h 1333436"/>
                <a:gd name="connsiteX254" fmla="*/ 36335 w 752994"/>
                <a:gd name="connsiteY254" fmla="*/ 461670 h 1333436"/>
                <a:gd name="connsiteX255" fmla="*/ 35931 w 752994"/>
                <a:gd name="connsiteY255" fmla="*/ 453110 h 1333436"/>
                <a:gd name="connsiteX256" fmla="*/ 38583 w 752994"/>
                <a:gd name="connsiteY256" fmla="*/ 442514 h 1333436"/>
                <a:gd name="connsiteX257" fmla="*/ 41043 w 752994"/>
                <a:gd name="connsiteY257" fmla="*/ 436991 h 1333436"/>
                <a:gd name="connsiteX258" fmla="*/ 41650 w 752994"/>
                <a:gd name="connsiteY258" fmla="*/ 437186 h 1333436"/>
                <a:gd name="connsiteX259" fmla="*/ 41239 w 752994"/>
                <a:gd name="connsiteY259" fmla="*/ 436549 h 1333436"/>
                <a:gd name="connsiteX260" fmla="*/ 37778 w 752994"/>
                <a:gd name="connsiteY260" fmla="*/ 433894 h 1333436"/>
                <a:gd name="connsiteX261" fmla="*/ 37169 w 752994"/>
                <a:gd name="connsiteY261" fmla="*/ 432261 h 1333436"/>
                <a:gd name="connsiteX262" fmla="*/ 37365 w 752994"/>
                <a:gd name="connsiteY262" fmla="*/ 429198 h 1333436"/>
                <a:gd name="connsiteX263" fmla="*/ 36756 w 752994"/>
                <a:gd name="connsiteY263" fmla="*/ 422272 h 1333436"/>
                <a:gd name="connsiteX264" fmla="*/ 36952 w 752994"/>
                <a:gd name="connsiteY264" fmla="*/ 418800 h 1333436"/>
                <a:gd name="connsiteX265" fmla="*/ 36756 w 752994"/>
                <a:gd name="connsiteY265" fmla="*/ 412487 h 1333436"/>
                <a:gd name="connsiteX266" fmla="*/ 40433 w 752994"/>
                <a:gd name="connsiteY266" fmla="*/ 406174 h 1333436"/>
                <a:gd name="connsiteX267" fmla="*/ 44720 w 752994"/>
                <a:gd name="connsiteY267" fmla="*/ 399435 h 1333436"/>
                <a:gd name="connsiteX268" fmla="*/ 44110 w 752994"/>
                <a:gd name="connsiteY268" fmla="*/ 389651 h 1333436"/>
                <a:gd name="connsiteX269" fmla="*/ 43894 w 752994"/>
                <a:gd name="connsiteY269" fmla="*/ 378437 h 1333436"/>
                <a:gd name="connsiteX270" fmla="*/ 47158 w 752994"/>
                <a:gd name="connsiteY270" fmla="*/ 371102 h 1333436"/>
                <a:gd name="connsiteX271" fmla="*/ 55731 w 752994"/>
                <a:gd name="connsiteY271" fmla="*/ 360909 h 1333436"/>
                <a:gd name="connsiteX272" fmla="*/ 57580 w 752994"/>
                <a:gd name="connsiteY272" fmla="*/ 355804 h 1333436"/>
                <a:gd name="connsiteX273" fmla="*/ 62673 w 752994"/>
                <a:gd name="connsiteY273" fmla="*/ 349695 h 1333436"/>
                <a:gd name="connsiteX274" fmla="*/ 65937 w 752994"/>
                <a:gd name="connsiteY274" fmla="*/ 348470 h 1333436"/>
                <a:gd name="connsiteX275" fmla="*/ 68395 w 752994"/>
                <a:gd name="connsiteY275" fmla="*/ 348674 h 1333436"/>
                <a:gd name="connsiteX276" fmla="*/ 70224 w 752994"/>
                <a:gd name="connsiteY276" fmla="*/ 347449 h 1333436"/>
                <a:gd name="connsiteX277" fmla="*/ 67785 w 752994"/>
                <a:gd name="connsiteY277" fmla="*/ 345203 h 1333436"/>
                <a:gd name="connsiteX278" fmla="*/ 65524 w 752994"/>
                <a:gd name="connsiteY278" fmla="*/ 343178 h 1333436"/>
                <a:gd name="connsiteX279" fmla="*/ 73095 w 752994"/>
                <a:gd name="connsiteY279" fmla="*/ 333376 h 1333436"/>
                <a:gd name="connsiteX280" fmla="*/ 73291 w 752994"/>
                <a:gd name="connsiteY280" fmla="*/ 333376 h 1333436"/>
                <a:gd name="connsiteX281" fmla="*/ 77991 w 752994"/>
                <a:gd name="connsiteY281" fmla="*/ 325838 h 1333436"/>
                <a:gd name="connsiteX282" fmla="*/ 82671 w 752994"/>
                <a:gd name="connsiteY282" fmla="*/ 313619 h 1333436"/>
                <a:gd name="connsiteX283" fmla="*/ 87980 w 752994"/>
                <a:gd name="connsiteY283" fmla="*/ 303018 h 1333436"/>
                <a:gd name="connsiteX284" fmla="*/ 92267 w 752994"/>
                <a:gd name="connsiteY284" fmla="*/ 291191 h 1333436"/>
                <a:gd name="connsiteX285" fmla="*/ 96553 w 752994"/>
                <a:gd name="connsiteY285" fmla="*/ 281202 h 1333436"/>
                <a:gd name="connsiteX286" fmla="*/ 99621 w 752994"/>
                <a:gd name="connsiteY286" fmla="*/ 274481 h 1333436"/>
                <a:gd name="connsiteX287" fmla="*/ 103082 w 752994"/>
                <a:gd name="connsiteY287" fmla="*/ 262450 h 1333436"/>
                <a:gd name="connsiteX288" fmla="*/ 107172 w 752994"/>
                <a:gd name="connsiteY288" fmla="*/ 254299 h 1333436"/>
                <a:gd name="connsiteX289" fmla="*/ 112481 w 752994"/>
                <a:gd name="connsiteY289" fmla="*/ 243697 h 1333436"/>
                <a:gd name="connsiteX290" fmla="*/ 117181 w 752994"/>
                <a:gd name="connsiteY290" fmla="*/ 232279 h 1333436"/>
                <a:gd name="connsiteX291" fmla="*/ 125951 w 752994"/>
                <a:gd name="connsiteY291" fmla="*/ 217389 h 1333436"/>
                <a:gd name="connsiteX292" fmla="*/ 136156 w 752994"/>
                <a:gd name="connsiteY292" fmla="*/ 202925 h 1333436"/>
                <a:gd name="connsiteX293" fmla="*/ 138811 w 752994"/>
                <a:gd name="connsiteY293" fmla="*/ 183339 h 1333436"/>
                <a:gd name="connsiteX294" fmla="*/ 148801 w 752994"/>
                <a:gd name="connsiteY294" fmla="*/ 167445 h 1333436"/>
                <a:gd name="connsiteX295" fmla="*/ 159616 w 752994"/>
                <a:gd name="connsiteY295" fmla="*/ 170712 h 1333436"/>
                <a:gd name="connsiteX296" fmla="*/ 173105 w 752994"/>
                <a:gd name="connsiteY296" fmla="*/ 175188 h 1333436"/>
                <a:gd name="connsiteX297" fmla="*/ 175347 w 752994"/>
                <a:gd name="connsiteY297" fmla="*/ 175188 h 1333436"/>
                <a:gd name="connsiteX298" fmla="*/ 175347 w 752994"/>
                <a:gd name="connsiteY298" fmla="*/ 173758 h 1333436"/>
                <a:gd name="connsiteX299" fmla="*/ 184975 w 752994"/>
                <a:gd name="connsiteY299" fmla="*/ 187393 h 1333436"/>
                <a:gd name="connsiteX300" fmla="*/ 184762 w 752994"/>
                <a:gd name="connsiteY300" fmla="*/ 184637 h 1333436"/>
                <a:gd name="connsiteX301" fmla="*/ 174971 w 752994"/>
                <a:gd name="connsiteY301" fmla="*/ 170774 h 1333436"/>
                <a:gd name="connsiteX302" fmla="*/ 174971 w 752994"/>
                <a:gd name="connsiteY302" fmla="*/ 169550 h 1333436"/>
                <a:gd name="connsiteX303" fmla="*/ 158851 w 752994"/>
                <a:gd name="connsiteY303" fmla="*/ 156924 h 1333436"/>
                <a:gd name="connsiteX304" fmla="*/ 147025 w 752994"/>
                <a:gd name="connsiteY304" fmla="*/ 145709 h 1333436"/>
                <a:gd name="connsiteX305" fmla="*/ 154364 w 752994"/>
                <a:gd name="connsiteY305" fmla="*/ 136335 h 1333436"/>
                <a:gd name="connsiteX306" fmla="*/ 161511 w 752994"/>
                <a:gd name="connsiteY306" fmla="*/ 131042 h 1333436"/>
                <a:gd name="connsiteX307" fmla="*/ 160902 w 752994"/>
                <a:gd name="connsiteY307" fmla="*/ 128384 h 1333436"/>
                <a:gd name="connsiteX308" fmla="*/ 160277 w 752994"/>
                <a:gd name="connsiteY308" fmla="*/ 127778 h 1333436"/>
                <a:gd name="connsiteX309" fmla="*/ 154973 w 752994"/>
                <a:gd name="connsiteY309" fmla="*/ 122077 h 1333436"/>
                <a:gd name="connsiteX310" fmla="*/ 160277 w 752994"/>
                <a:gd name="connsiteY310" fmla="*/ 115140 h 1333436"/>
                <a:gd name="connsiteX311" fmla="*/ 165181 w 752994"/>
                <a:gd name="connsiteY311" fmla="*/ 108215 h 1333436"/>
                <a:gd name="connsiteX312" fmla="*/ 161303 w 752994"/>
                <a:gd name="connsiteY312" fmla="*/ 104146 h 1333436"/>
                <a:gd name="connsiteX313" fmla="*/ 157842 w 752994"/>
                <a:gd name="connsiteY313" fmla="*/ 104542 h 1333436"/>
                <a:gd name="connsiteX314" fmla="*/ 157024 w 752994"/>
                <a:gd name="connsiteY314" fmla="*/ 102304 h 1333436"/>
                <a:gd name="connsiteX315" fmla="*/ 160694 w 752994"/>
                <a:gd name="connsiteY315" fmla="*/ 55437 h 1333436"/>
                <a:gd name="connsiteX316" fmla="*/ 160486 w 752994"/>
                <a:gd name="connsiteY316" fmla="*/ 31991 h 1333436"/>
                <a:gd name="connsiteX317" fmla="*/ 164972 w 752994"/>
                <a:gd name="connsiteY317" fmla="*/ 18141 h 1333436"/>
                <a:gd name="connsiteX318" fmla="*/ 171911 w 752994"/>
                <a:gd name="connsiteY318" fmla="*/ 11204 h 1333436"/>
                <a:gd name="connsiteX319" fmla="*/ 187406 w 752994"/>
                <a:gd name="connsiteY319" fmla="*/ 21801 h 1333436"/>
                <a:gd name="connsiteX320" fmla="*/ 210866 w 752994"/>
                <a:gd name="connsiteY320" fmla="*/ 37086 h 1333436"/>
                <a:gd name="connsiteX321" fmla="*/ 219230 w 752994"/>
                <a:gd name="connsiteY321" fmla="*/ 41166 h 1333436"/>
                <a:gd name="connsiteX322" fmla="*/ 226778 w 752994"/>
                <a:gd name="connsiteY322" fmla="*/ 47486 h 1333436"/>
                <a:gd name="connsiteX323" fmla="*/ 236152 w 752994"/>
                <a:gd name="connsiteY323" fmla="*/ 52370 h 1333436"/>
                <a:gd name="connsiteX324" fmla="*/ 239629 w 752994"/>
                <a:gd name="connsiteY324" fmla="*/ 58491 h 1333436"/>
                <a:gd name="connsiteX325" fmla="*/ 239629 w 752994"/>
                <a:gd name="connsiteY325" fmla="*/ 63376 h 1333436"/>
                <a:gd name="connsiteX326" fmla="*/ 236568 w 752994"/>
                <a:gd name="connsiteY326" fmla="*/ 67457 h 1333436"/>
                <a:gd name="connsiteX327" fmla="*/ 231264 w 752994"/>
                <a:gd name="connsiteY327" fmla="*/ 69905 h 1333436"/>
                <a:gd name="connsiteX328" fmla="*/ 216778 w 752994"/>
                <a:gd name="connsiteY328" fmla="*/ 82741 h 1333436"/>
                <a:gd name="connsiteX329" fmla="*/ 214134 w 752994"/>
                <a:gd name="connsiteY329" fmla="*/ 93536 h 1333436"/>
                <a:gd name="connsiteX330" fmla="*/ 214535 w 752994"/>
                <a:gd name="connsiteY330" fmla="*/ 96801 h 1333436"/>
                <a:gd name="connsiteX331" fmla="*/ 216378 w 752994"/>
                <a:gd name="connsiteY331" fmla="*/ 96801 h 1333436"/>
                <a:gd name="connsiteX332" fmla="*/ 230046 w 752994"/>
                <a:gd name="connsiteY332" fmla="*/ 85387 h 1333436"/>
                <a:gd name="connsiteX333" fmla="*/ 243298 w 752994"/>
                <a:gd name="connsiteY333" fmla="*/ 75198 h 1333436"/>
                <a:gd name="connsiteX334" fmla="*/ 246760 w 752994"/>
                <a:gd name="connsiteY334" fmla="*/ 77646 h 1333436"/>
                <a:gd name="connsiteX335" fmla="*/ 255541 w 752994"/>
                <a:gd name="connsiteY335" fmla="*/ 63376 h 1333436"/>
                <a:gd name="connsiteX336" fmla="*/ 259611 w 752994"/>
                <a:gd name="connsiteY336" fmla="*/ 43405 h 1333436"/>
                <a:gd name="connsiteX337" fmla="*/ 256967 w 752994"/>
                <a:gd name="connsiteY337" fmla="*/ 38520 h 1333436"/>
                <a:gd name="connsiteX338" fmla="*/ 253906 w 752994"/>
                <a:gd name="connsiteY338" fmla="*/ 34242 h 1333436"/>
                <a:gd name="connsiteX339" fmla="*/ 256967 w 752994"/>
                <a:gd name="connsiteY339" fmla="*/ 30161 h 1333436"/>
                <a:gd name="connsiteX340" fmla="*/ 262063 w 752994"/>
                <a:gd name="connsiteY340" fmla="*/ 27712 h 1333436"/>
                <a:gd name="connsiteX341" fmla="*/ 264915 w 752994"/>
                <a:gd name="connsiteY341" fmla="*/ 23026 h 1333436"/>
                <a:gd name="connsiteX342" fmla="*/ 267976 w 752994"/>
                <a:gd name="connsiteY342" fmla="*/ 22618 h 1333436"/>
                <a:gd name="connsiteX343" fmla="*/ 270427 w 752994"/>
                <a:gd name="connsiteY343" fmla="*/ 20787 h 1333436"/>
                <a:gd name="connsiteX344" fmla="*/ 263088 w 752994"/>
                <a:gd name="connsiteY344" fmla="*/ 13652 h 1333436"/>
                <a:gd name="connsiteX345" fmla="*/ 255541 w 752994"/>
                <a:gd name="connsiteY345" fmla="*/ 3055 h 1333436"/>
                <a:gd name="connsiteX346" fmla="*/ 256358 w 752994"/>
                <a:gd name="connsiteY346" fmla="*/ 1224 h 1333436"/>
                <a:gd name="connsiteX347" fmla="*/ 257159 w 752994"/>
                <a:gd name="connsiteY347"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381379 w 752994"/>
                <a:gd name="connsiteY30" fmla="*/ 252303 h 1333436"/>
                <a:gd name="connsiteX31" fmla="*/ 365258 w 752994"/>
                <a:gd name="connsiteY31" fmla="*/ 245774 h 1333436"/>
                <a:gd name="connsiteX32" fmla="*/ 355067 w 752994"/>
                <a:gd name="connsiteY32" fmla="*/ 241285 h 1333436"/>
                <a:gd name="connsiteX33" fmla="*/ 350789 w 752994"/>
                <a:gd name="connsiteY33" fmla="*/ 244352 h 1333436"/>
                <a:gd name="connsiteX34" fmla="*/ 340789 w 752994"/>
                <a:gd name="connsiteY34" fmla="*/ 243536 h 1333436"/>
                <a:gd name="connsiteX35" fmla="*/ 333034 w 752994"/>
                <a:gd name="connsiteY35" fmla="*/ 240271 h 1333436"/>
                <a:gd name="connsiteX36" fmla="*/ 323868 w 752994"/>
                <a:gd name="connsiteY36" fmla="*/ 241495 h 1333436"/>
                <a:gd name="connsiteX37" fmla="*/ 309783 w 752994"/>
                <a:gd name="connsiteY37" fmla="*/ 243536 h 1333436"/>
                <a:gd name="connsiteX38" fmla="*/ 297140 w 752994"/>
                <a:gd name="connsiteY38" fmla="*/ 245576 h 1333436"/>
                <a:gd name="connsiteX39" fmla="*/ 288775 w 752994"/>
                <a:gd name="connsiteY39" fmla="*/ 247406 h 1333436"/>
                <a:gd name="connsiteX40" fmla="*/ 280827 w 752994"/>
                <a:gd name="connsiteY40" fmla="*/ 242720 h 1333436"/>
                <a:gd name="connsiteX41" fmla="*/ 274497 w 752994"/>
                <a:gd name="connsiteY41" fmla="*/ 238441 h 1333436"/>
                <a:gd name="connsiteX42" fmla="*/ 269001 w 752994"/>
                <a:gd name="connsiteY42" fmla="*/ 240679 h 1333436"/>
                <a:gd name="connsiteX43" fmla="*/ 262880 w 752994"/>
                <a:gd name="connsiteY43" fmla="*/ 243128 h 1333436"/>
                <a:gd name="connsiteX44" fmla="*/ 260028 w 752994"/>
                <a:gd name="connsiteY44" fmla="*/ 242720 h 1333436"/>
                <a:gd name="connsiteX45" fmla="*/ 247994 w 752994"/>
                <a:gd name="connsiteY45" fmla="*/ 241693 h 1333436"/>
                <a:gd name="connsiteX46" fmla="*/ 242081 w 752994"/>
                <a:gd name="connsiteY46" fmla="*/ 234162 h 1333436"/>
                <a:gd name="connsiteX47" fmla="*/ 235142 w 752994"/>
                <a:gd name="connsiteY47" fmla="*/ 229476 h 1333436"/>
                <a:gd name="connsiteX48" fmla="*/ 224742 w 752994"/>
                <a:gd name="connsiteY48" fmla="*/ 226817 h 1333436"/>
                <a:gd name="connsiteX49" fmla="*/ 216778 w 752994"/>
                <a:gd name="connsiteY49" fmla="*/ 229068 h 1333436"/>
                <a:gd name="connsiteX50" fmla="*/ 202709 w 752994"/>
                <a:gd name="connsiteY50" fmla="*/ 230898 h 1333436"/>
                <a:gd name="connsiteX51" fmla="*/ 195162 w 752994"/>
                <a:gd name="connsiteY51" fmla="*/ 228857 h 1333436"/>
                <a:gd name="connsiteX52" fmla="*/ 188223 w 752994"/>
                <a:gd name="connsiteY52" fmla="*/ 223973 h 1333436"/>
                <a:gd name="connsiteX53" fmla="*/ 185163 w 752994"/>
                <a:gd name="connsiteY53" fmla="*/ 219484 h 1333436"/>
                <a:gd name="connsiteX54" fmla="*/ 184180 w 752994"/>
                <a:gd name="connsiteY54" fmla="*/ 213866 h 1333436"/>
                <a:gd name="connsiteX55" fmla="*/ 257159 w 752994"/>
                <a:gd name="connsiteY55" fmla="*/ 0 h 1333436"/>
                <a:gd name="connsiteX56" fmla="*/ 493147 w 752994"/>
                <a:gd name="connsiteY56" fmla="*/ 73157 h 1333436"/>
                <a:gd name="connsiteX57" fmla="*/ 492970 w 752994"/>
                <a:gd name="connsiteY57" fmla="*/ 73792 h 1333436"/>
                <a:gd name="connsiteX58" fmla="*/ 525816 w 752994"/>
                <a:gd name="connsiteY58" fmla="*/ 82491 h 1333436"/>
                <a:gd name="connsiteX59" fmla="*/ 520098 w 752994"/>
                <a:gd name="connsiteY59" fmla="*/ 111245 h 1333436"/>
                <a:gd name="connsiteX60" fmla="*/ 512552 w 752994"/>
                <a:gd name="connsiteY60" fmla="*/ 143854 h 1333436"/>
                <a:gd name="connsiteX61" fmla="*/ 517849 w 752994"/>
                <a:gd name="connsiteY61" fmla="*/ 157740 h 1333436"/>
                <a:gd name="connsiteX62" fmla="*/ 523160 w 752994"/>
                <a:gd name="connsiteY62" fmla="*/ 172009 h 1333436"/>
                <a:gd name="connsiteX63" fmla="*/ 521535 w 752994"/>
                <a:gd name="connsiteY63" fmla="*/ 178928 h 1333436"/>
                <a:gd name="connsiteX64" fmla="*/ 520098 w 752994"/>
                <a:gd name="connsiteY64" fmla="*/ 186279 h 1333436"/>
                <a:gd name="connsiteX65" fmla="*/ 526019 w 752994"/>
                <a:gd name="connsiteY65" fmla="*/ 193629 h 1333436"/>
                <a:gd name="connsiteX66" fmla="*/ 537251 w 752994"/>
                <a:gd name="connsiteY66" fmla="*/ 206270 h 1333436"/>
                <a:gd name="connsiteX67" fmla="*/ 542765 w 752994"/>
                <a:gd name="connsiteY67" fmla="*/ 217475 h 1333436"/>
                <a:gd name="connsiteX68" fmla="*/ 546857 w 752994"/>
                <a:gd name="connsiteY68" fmla="*/ 230930 h 1333436"/>
                <a:gd name="connsiteX69" fmla="*/ 549499 w 752994"/>
                <a:gd name="connsiteY69" fmla="*/ 235622 h 1333436"/>
                <a:gd name="connsiteX70" fmla="*/ 553388 w 752994"/>
                <a:gd name="connsiteY70" fmla="*/ 240722 h 1333436"/>
                <a:gd name="connsiteX71" fmla="*/ 557465 w 752994"/>
                <a:gd name="connsiteY71" fmla="*/ 246037 h 1333436"/>
                <a:gd name="connsiteX72" fmla="*/ 561761 w 752994"/>
                <a:gd name="connsiteY72" fmla="*/ 248671 h 1333436"/>
                <a:gd name="connsiteX73" fmla="*/ 567478 w 752994"/>
                <a:gd name="connsiteY73" fmla="*/ 247665 h 1333436"/>
                <a:gd name="connsiteX74" fmla="*/ 569931 w 752994"/>
                <a:gd name="connsiteY74" fmla="*/ 249293 h 1333436"/>
                <a:gd name="connsiteX75" fmla="*/ 570540 w 752994"/>
                <a:gd name="connsiteY75" fmla="*/ 251951 h 1333436"/>
                <a:gd name="connsiteX76" fmla="*/ 561964 w 752994"/>
                <a:gd name="connsiteY76" fmla="*/ 267656 h 1333436"/>
                <a:gd name="connsiteX77" fmla="*/ 553591 w 752994"/>
                <a:gd name="connsiteY77" fmla="*/ 289659 h 1333436"/>
                <a:gd name="connsiteX78" fmla="*/ 554810 w 752994"/>
                <a:gd name="connsiteY78" fmla="*/ 292939 h 1333436"/>
                <a:gd name="connsiteX79" fmla="*/ 556246 w 752994"/>
                <a:gd name="connsiteY79" fmla="*/ 299260 h 1333436"/>
                <a:gd name="connsiteX80" fmla="*/ 552778 w 752994"/>
                <a:gd name="connsiteY80" fmla="*/ 301917 h 1333436"/>
                <a:gd name="connsiteX81" fmla="*/ 549295 w 752994"/>
                <a:gd name="connsiteY81" fmla="*/ 306993 h 1333436"/>
                <a:gd name="connsiteX82" fmla="*/ 547061 w 752994"/>
                <a:gd name="connsiteY82" fmla="*/ 313122 h 1333436"/>
                <a:gd name="connsiteX83" fmla="*/ 544811 w 752994"/>
                <a:gd name="connsiteY83" fmla="*/ 316593 h 1333436"/>
                <a:gd name="connsiteX84" fmla="*/ 549919 w 752994"/>
                <a:gd name="connsiteY84" fmla="*/ 322698 h 1333436"/>
                <a:gd name="connsiteX85" fmla="*/ 553184 w 752994"/>
                <a:gd name="connsiteY85" fmla="*/ 325955 h 1333436"/>
                <a:gd name="connsiteX86" fmla="*/ 555840 w 752994"/>
                <a:gd name="connsiteY86" fmla="*/ 328205 h 1333436"/>
                <a:gd name="connsiteX87" fmla="*/ 574212 w 752994"/>
                <a:gd name="connsiteY87" fmla="*/ 318820 h 1333436"/>
                <a:gd name="connsiteX88" fmla="*/ 579523 w 752994"/>
                <a:gd name="connsiteY88" fmla="*/ 326577 h 1333436"/>
                <a:gd name="connsiteX89" fmla="*/ 580539 w 752994"/>
                <a:gd name="connsiteY89" fmla="*/ 334933 h 1333436"/>
                <a:gd name="connsiteX90" fmla="*/ 579726 w 752994"/>
                <a:gd name="connsiteY90" fmla="*/ 343097 h 1333436"/>
                <a:gd name="connsiteX91" fmla="*/ 581366 w 752994"/>
                <a:gd name="connsiteY91" fmla="*/ 350231 h 1333436"/>
                <a:gd name="connsiteX92" fmla="*/ 586256 w 752994"/>
                <a:gd name="connsiteY92" fmla="*/ 355930 h 1333436"/>
                <a:gd name="connsiteX93" fmla="*/ 589536 w 752994"/>
                <a:gd name="connsiteY93" fmla="*/ 362059 h 1333436"/>
                <a:gd name="connsiteX94" fmla="*/ 588099 w 752994"/>
                <a:gd name="connsiteY94" fmla="*/ 369600 h 1333436"/>
                <a:gd name="connsiteX95" fmla="*/ 586459 w 752994"/>
                <a:gd name="connsiteY95" fmla="*/ 377357 h 1333436"/>
                <a:gd name="connsiteX96" fmla="*/ 588709 w 752994"/>
                <a:gd name="connsiteY96" fmla="*/ 381835 h 1333436"/>
                <a:gd name="connsiteX97" fmla="*/ 595036 w 752994"/>
                <a:gd name="connsiteY97" fmla="*/ 382457 h 1333436"/>
                <a:gd name="connsiteX98" fmla="*/ 599331 w 752994"/>
                <a:gd name="connsiteY98" fmla="*/ 385306 h 1333436"/>
                <a:gd name="connsiteX99" fmla="*/ 601987 w 752994"/>
                <a:gd name="connsiteY99" fmla="*/ 391004 h 1333436"/>
                <a:gd name="connsiteX100" fmla="*/ 602799 w 752994"/>
                <a:gd name="connsiteY100" fmla="*/ 404076 h 1333436"/>
                <a:gd name="connsiteX101" fmla="*/ 606892 w 752994"/>
                <a:gd name="connsiteY101" fmla="*/ 415688 h 1333436"/>
                <a:gd name="connsiteX102" fmla="*/ 610563 w 752994"/>
                <a:gd name="connsiteY102" fmla="*/ 412217 h 1333436"/>
                <a:gd name="connsiteX103" fmla="*/ 617920 w 752994"/>
                <a:gd name="connsiteY103" fmla="*/ 408769 h 1333436"/>
                <a:gd name="connsiteX104" fmla="*/ 624654 w 752994"/>
                <a:gd name="connsiteY104" fmla="*/ 411211 h 1333436"/>
                <a:gd name="connsiteX105" fmla="*/ 634652 w 752994"/>
                <a:gd name="connsiteY105" fmla="*/ 410182 h 1333436"/>
                <a:gd name="connsiteX106" fmla="*/ 640573 w 752994"/>
                <a:gd name="connsiteY106" fmla="*/ 407739 h 1333436"/>
                <a:gd name="connsiteX107" fmla="*/ 646711 w 752994"/>
                <a:gd name="connsiteY107" fmla="*/ 410589 h 1333436"/>
                <a:gd name="connsiteX108" fmla="*/ 650383 w 752994"/>
                <a:gd name="connsiteY108" fmla="*/ 410589 h 1333436"/>
                <a:gd name="connsiteX109" fmla="*/ 654257 w 752994"/>
                <a:gd name="connsiteY109" fmla="*/ 411618 h 1333436"/>
                <a:gd name="connsiteX110" fmla="*/ 656913 w 752994"/>
                <a:gd name="connsiteY110" fmla="*/ 413653 h 1333436"/>
                <a:gd name="connsiteX111" fmla="*/ 660802 w 752994"/>
                <a:gd name="connsiteY111" fmla="*/ 415090 h 1333436"/>
                <a:gd name="connsiteX112" fmla="*/ 669581 w 752994"/>
                <a:gd name="connsiteY112" fmla="*/ 415904 h 1333436"/>
                <a:gd name="connsiteX113" fmla="*/ 672237 w 752994"/>
                <a:gd name="connsiteY113" fmla="*/ 415688 h 1333436"/>
                <a:gd name="connsiteX114" fmla="*/ 675705 w 752994"/>
                <a:gd name="connsiteY114" fmla="*/ 409367 h 1333436"/>
                <a:gd name="connsiteX115" fmla="*/ 679986 w 752994"/>
                <a:gd name="connsiteY115" fmla="*/ 403238 h 1333436"/>
                <a:gd name="connsiteX116" fmla="*/ 693264 w 752994"/>
                <a:gd name="connsiteY116" fmla="*/ 419567 h 1333436"/>
                <a:gd name="connsiteX117" fmla="*/ 688563 w 752994"/>
                <a:gd name="connsiteY117" fmla="*/ 448321 h 1333436"/>
                <a:gd name="connsiteX118" fmla="*/ 663949 w 752994"/>
                <a:gd name="connsiteY118" fmla="*/ 590165 h 1333436"/>
                <a:gd name="connsiteX119" fmla="*/ 666304 w 752994"/>
                <a:gd name="connsiteY119" fmla="*/ 590504 h 1333436"/>
                <a:gd name="connsiteX120" fmla="*/ 655288 w 752994"/>
                <a:gd name="connsiteY120" fmla="*/ 656178 h 1333436"/>
                <a:gd name="connsiteX121" fmla="*/ 681808 w 752994"/>
                <a:gd name="connsiteY121" fmla="*/ 662301 h 1333436"/>
                <a:gd name="connsiteX122" fmla="*/ 752994 w 752994"/>
                <a:gd name="connsiteY122" fmla="*/ 675560 h 1333436"/>
                <a:gd name="connsiteX123" fmla="*/ 714651 w 752994"/>
                <a:gd name="connsiteY123" fmla="*/ 946985 h 1333436"/>
                <a:gd name="connsiteX124" fmla="*/ 654533 w 752994"/>
                <a:gd name="connsiteY124" fmla="*/ 1333436 h 1333436"/>
                <a:gd name="connsiteX125" fmla="*/ 546831 w 752994"/>
                <a:gd name="connsiteY125" fmla="*/ 1317126 h 1333436"/>
                <a:gd name="connsiteX126" fmla="*/ 351227 w 752994"/>
                <a:gd name="connsiteY126" fmla="*/ 1194172 h 1333436"/>
                <a:gd name="connsiteX127" fmla="*/ 361011 w 752994"/>
                <a:gd name="connsiteY127" fmla="*/ 1182755 h 1333436"/>
                <a:gd name="connsiteX128" fmla="*/ 368981 w 752994"/>
                <a:gd name="connsiteY128" fmla="*/ 1182130 h 1333436"/>
                <a:gd name="connsiteX129" fmla="*/ 369571 w 752994"/>
                <a:gd name="connsiteY129" fmla="*/ 1181558 h 1333436"/>
                <a:gd name="connsiteX130" fmla="*/ 362372 w 752994"/>
                <a:gd name="connsiteY130" fmla="*/ 1182120 h 1333436"/>
                <a:gd name="connsiteX131" fmla="*/ 229464 w 752994"/>
                <a:gd name="connsiteY131" fmla="*/ 1161721 h 1333436"/>
                <a:gd name="connsiteX132" fmla="*/ 227427 w 752994"/>
                <a:gd name="connsiteY132" fmla="*/ 1157269 h 1333436"/>
                <a:gd name="connsiteX133" fmla="*/ 224967 w 752994"/>
                <a:gd name="connsiteY133" fmla="*/ 1152575 h 1333436"/>
                <a:gd name="connsiteX134" fmla="*/ 225582 w 752994"/>
                <a:gd name="connsiteY134" fmla="*/ 1144808 h 1333436"/>
                <a:gd name="connsiteX135" fmla="*/ 227215 w 752994"/>
                <a:gd name="connsiteY135" fmla="*/ 1135834 h 1333436"/>
                <a:gd name="connsiteX136" fmla="*/ 227215 w 752994"/>
                <a:gd name="connsiteY136" fmla="*/ 1134212 h 1333436"/>
                <a:gd name="connsiteX137" fmla="*/ 225179 w 752994"/>
                <a:gd name="connsiteY137" fmla="*/ 1114020 h 1333436"/>
                <a:gd name="connsiteX138" fmla="*/ 217839 w 752994"/>
                <a:gd name="connsiteY138" fmla="*/ 1100352 h 1333436"/>
                <a:gd name="connsiteX139" fmla="*/ 199661 w 752994"/>
                <a:gd name="connsiteY139" fmla="*/ 1076502 h 1333436"/>
                <a:gd name="connsiteX140" fmla="*/ 196395 w 752994"/>
                <a:gd name="connsiteY140" fmla="*/ 1071807 h 1333436"/>
                <a:gd name="connsiteX141" fmla="*/ 190880 w 752994"/>
                <a:gd name="connsiteY141" fmla="*/ 1067527 h 1333436"/>
                <a:gd name="connsiteX142" fmla="*/ 187210 w 752994"/>
                <a:gd name="connsiteY142" fmla="*/ 1068735 h 1333436"/>
                <a:gd name="connsiteX143" fmla="*/ 180062 w 752994"/>
                <a:gd name="connsiteY143" fmla="*/ 1066699 h 1333436"/>
                <a:gd name="connsiteX144" fmla="*/ 180466 w 752994"/>
                <a:gd name="connsiteY144" fmla="*/ 1053031 h 1333436"/>
                <a:gd name="connsiteX145" fmla="*/ 180062 w 752994"/>
                <a:gd name="connsiteY145" fmla="*/ 1045299 h 1333436"/>
                <a:gd name="connsiteX146" fmla="*/ 174144 w 752994"/>
                <a:gd name="connsiteY146" fmla="*/ 1044057 h 1333436"/>
                <a:gd name="connsiteX147" fmla="*/ 158426 w 752994"/>
                <a:gd name="connsiteY147" fmla="*/ 1042641 h 1333436"/>
                <a:gd name="connsiteX148" fmla="*/ 149857 w 752994"/>
                <a:gd name="connsiteY148" fmla="*/ 1035497 h 1333436"/>
                <a:gd name="connsiteX149" fmla="*/ 142497 w 752994"/>
                <a:gd name="connsiteY149" fmla="*/ 1028766 h 1333436"/>
                <a:gd name="connsiteX150" fmla="*/ 140864 w 752994"/>
                <a:gd name="connsiteY150" fmla="*/ 1020620 h 1333436"/>
                <a:gd name="connsiteX151" fmla="*/ 138212 w 752994"/>
                <a:gd name="connsiteY151" fmla="*/ 1013061 h 1333436"/>
                <a:gd name="connsiteX152" fmla="*/ 131064 w 752994"/>
                <a:gd name="connsiteY152" fmla="*/ 1007159 h 1333436"/>
                <a:gd name="connsiteX153" fmla="*/ 121264 w 752994"/>
                <a:gd name="connsiteY153" fmla="*/ 1005330 h 1333436"/>
                <a:gd name="connsiteX154" fmla="*/ 112483 w 752994"/>
                <a:gd name="connsiteY154" fmla="*/ 1001671 h 1333436"/>
                <a:gd name="connsiteX155" fmla="*/ 105950 w 752994"/>
                <a:gd name="connsiteY155" fmla="*/ 995734 h 1333436"/>
                <a:gd name="connsiteX156" fmla="*/ 97380 w 752994"/>
                <a:gd name="connsiteY156" fmla="*/ 994526 h 1333436"/>
                <a:gd name="connsiteX157" fmla="*/ 87984 w 752994"/>
                <a:gd name="connsiteY157" fmla="*/ 991040 h 1333436"/>
                <a:gd name="connsiteX158" fmla="*/ 80029 w 752994"/>
                <a:gd name="connsiteY158" fmla="*/ 985138 h 1333436"/>
                <a:gd name="connsiteX159" fmla="*/ 77166 w 752994"/>
                <a:gd name="connsiteY159" fmla="*/ 976164 h 1333436"/>
                <a:gd name="connsiteX160" fmla="*/ 79203 w 752994"/>
                <a:gd name="connsiteY160" fmla="*/ 970676 h 1333436"/>
                <a:gd name="connsiteX161" fmla="*/ 82470 w 752994"/>
                <a:gd name="connsiteY161" fmla="*/ 963117 h 1333436"/>
                <a:gd name="connsiteX162" fmla="*/ 84314 w 752994"/>
                <a:gd name="connsiteY162" fmla="*/ 954557 h 1333436"/>
                <a:gd name="connsiteX163" fmla="*/ 86351 w 752994"/>
                <a:gd name="connsiteY163" fmla="*/ 948033 h 1333436"/>
                <a:gd name="connsiteX164" fmla="*/ 86159 w 752994"/>
                <a:gd name="connsiteY164" fmla="*/ 942925 h 1333436"/>
                <a:gd name="connsiteX165" fmla="*/ 83085 w 752994"/>
                <a:gd name="connsiteY165" fmla="*/ 939853 h 1333436"/>
                <a:gd name="connsiteX166" fmla="*/ 77570 w 752994"/>
                <a:gd name="connsiteY166" fmla="*/ 937437 h 1333436"/>
                <a:gd name="connsiteX167" fmla="*/ 76763 w 752994"/>
                <a:gd name="connsiteY167" fmla="*/ 931915 h 1333436"/>
                <a:gd name="connsiteX168" fmla="*/ 78800 w 752994"/>
                <a:gd name="connsiteY168" fmla="*/ 927013 h 1333436"/>
                <a:gd name="connsiteX169" fmla="*/ 79626 w 752994"/>
                <a:gd name="connsiteY169" fmla="*/ 922526 h 1333436"/>
                <a:gd name="connsiteX170" fmla="*/ 77781 w 752994"/>
                <a:gd name="connsiteY170" fmla="*/ 919903 h 1333436"/>
                <a:gd name="connsiteX171" fmla="*/ 74303 w 752994"/>
                <a:gd name="connsiteY171" fmla="*/ 917418 h 1333436"/>
                <a:gd name="connsiteX172" fmla="*/ 71863 w 752994"/>
                <a:gd name="connsiteY172" fmla="*/ 915174 h 1333436"/>
                <a:gd name="connsiteX173" fmla="*/ 71652 w 752994"/>
                <a:gd name="connsiteY173" fmla="*/ 910894 h 1333436"/>
                <a:gd name="connsiteX174" fmla="*/ 70633 w 752994"/>
                <a:gd name="connsiteY174" fmla="*/ 906614 h 1333436"/>
                <a:gd name="connsiteX175" fmla="*/ 68385 w 752994"/>
                <a:gd name="connsiteY175" fmla="*/ 902749 h 1333436"/>
                <a:gd name="connsiteX176" fmla="*/ 61045 w 752994"/>
                <a:gd name="connsiteY176" fmla="*/ 889494 h 1333436"/>
                <a:gd name="connsiteX177" fmla="*/ 57971 w 752994"/>
                <a:gd name="connsiteY177" fmla="*/ 875619 h 1333436"/>
                <a:gd name="connsiteX178" fmla="*/ 52264 w 752994"/>
                <a:gd name="connsiteY178" fmla="*/ 862572 h 1333436"/>
                <a:gd name="connsiteX179" fmla="*/ 44309 w 752994"/>
                <a:gd name="connsiteY179" fmla="*/ 850561 h 1333436"/>
                <a:gd name="connsiteX180" fmla="*/ 45520 w 752994"/>
                <a:gd name="connsiteY180" fmla="*/ 827090 h 1333436"/>
                <a:gd name="connsiteX181" fmla="*/ 53071 w 752994"/>
                <a:gd name="connsiteY181" fmla="*/ 822396 h 1333436"/>
                <a:gd name="connsiteX182" fmla="*/ 57375 w 752994"/>
                <a:gd name="connsiteY182" fmla="*/ 816493 h 1333436"/>
                <a:gd name="connsiteX183" fmla="*/ 55319 w 752994"/>
                <a:gd name="connsiteY183" fmla="*/ 801617 h 1333436"/>
                <a:gd name="connsiteX184" fmla="*/ 48383 w 752994"/>
                <a:gd name="connsiteY184" fmla="*/ 802204 h 1333436"/>
                <a:gd name="connsiteX185" fmla="*/ 40428 w 752994"/>
                <a:gd name="connsiteY185" fmla="*/ 797924 h 1333436"/>
                <a:gd name="connsiteX186" fmla="*/ 37565 w 752994"/>
                <a:gd name="connsiteY186" fmla="*/ 790606 h 1333436"/>
                <a:gd name="connsiteX187" fmla="*/ 37565 w 752994"/>
                <a:gd name="connsiteY187" fmla="*/ 790399 h 1333436"/>
                <a:gd name="connsiteX188" fmla="*/ 35931 w 752994"/>
                <a:gd name="connsiteY188" fmla="*/ 785912 h 1333436"/>
                <a:gd name="connsiteX189" fmla="*/ 34510 w 752994"/>
                <a:gd name="connsiteY189" fmla="*/ 780597 h 1333436"/>
                <a:gd name="connsiteX190" fmla="*/ 36335 w 752994"/>
                <a:gd name="connsiteY190" fmla="*/ 774280 h 1333436"/>
                <a:gd name="connsiteX191" fmla="*/ 38180 w 752994"/>
                <a:gd name="connsiteY191" fmla="*/ 766721 h 1333436"/>
                <a:gd name="connsiteX192" fmla="*/ 37161 w 752994"/>
                <a:gd name="connsiteY192" fmla="*/ 760405 h 1333436"/>
                <a:gd name="connsiteX193" fmla="*/ 35720 w 752994"/>
                <a:gd name="connsiteY193" fmla="*/ 754710 h 1333436"/>
                <a:gd name="connsiteX194" fmla="*/ 36546 w 752994"/>
                <a:gd name="connsiteY194" fmla="*/ 748773 h 1333436"/>
                <a:gd name="connsiteX195" fmla="*/ 38372 w 752994"/>
                <a:gd name="connsiteY195" fmla="*/ 744528 h 1333436"/>
                <a:gd name="connsiteX196" fmla="*/ 41638 w 752994"/>
                <a:gd name="connsiteY196" fmla="*/ 744321 h 1333436"/>
                <a:gd name="connsiteX197" fmla="*/ 44713 w 752994"/>
                <a:gd name="connsiteY197" fmla="*/ 746357 h 1333436"/>
                <a:gd name="connsiteX198" fmla="*/ 47364 w 752994"/>
                <a:gd name="connsiteY198" fmla="*/ 753260 h 1333436"/>
                <a:gd name="connsiteX199" fmla="*/ 55742 w 752994"/>
                <a:gd name="connsiteY199" fmla="*/ 764305 h 1333436"/>
                <a:gd name="connsiteX200" fmla="*/ 56338 w 752994"/>
                <a:gd name="connsiteY200" fmla="*/ 761233 h 1333436"/>
                <a:gd name="connsiteX201" fmla="*/ 56145 w 752994"/>
                <a:gd name="connsiteY201" fmla="*/ 757368 h 1333436"/>
                <a:gd name="connsiteX202" fmla="*/ 54916 w 752994"/>
                <a:gd name="connsiteY202" fmla="*/ 748601 h 1333436"/>
                <a:gd name="connsiteX203" fmla="*/ 52879 w 752994"/>
                <a:gd name="connsiteY203" fmla="*/ 747358 h 1333436"/>
                <a:gd name="connsiteX204" fmla="*/ 51649 w 752994"/>
                <a:gd name="connsiteY204" fmla="*/ 745322 h 1333436"/>
                <a:gd name="connsiteX205" fmla="*/ 51649 w 752994"/>
                <a:gd name="connsiteY205" fmla="*/ 739212 h 1333436"/>
                <a:gd name="connsiteX206" fmla="*/ 50227 w 752994"/>
                <a:gd name="connsiteY206" fmla="*/ 734725 h 1333436"/>
                <a:gd name="connsiteX207" fmla="*/ 48786 w 752994"/>
                <a:gd name="connsiteY207" fmla="*/ 731446 h 1333436"/>
                <a:gd name="connsiteX208" fmla="*/ 54512 w 752994"/>
                <a:gd name="connsiteY208" fmla="*/ 726372 h 1333436"/>
                <a:gd name="connsiteX209" fmla="*/ 59815 w 752994"/>
                <a:gd name="connsiteY209" fmla="*/ 725130 h 1333436"/>
                <a:gd name="connsiteX210" fmla="*/ 58182 w 752994"/>
                <a:gd name="connsiteY210" fmla="*/ 722886 h 1333436"/>
                <a:gd name="connsiteX211" fmla="*/ 51861 w 752994"/>
                <a:gd name="connsiteY211" fmla="*/ 717985 h 1333436"/>
                <a:gd name="connsiteX212" fmla="*/ 46749 w 752994"/>
                <a:gd name="connsiteY212" fmla="*/ 729617 h 1333436"/>
                <a:gd name="connsiteX213" fmla="*/ 40831 w 752994"/>
                <a:gd name="connsiteY213" fmla="*/ 739212 h 1333436"/>
                <a:gd name="connsiteX214" fmla="*/ 39601 w 752994"/>
                <a:gd name="connsiteY214" fmla="*/ 738798 h 1333436"/>
                <a:gd name="connsiteX215" fmla="*/ 39409 w 752994"/>
                <a:gd name="connsiteY215" fmla="*/ 738591 h 1333436"/>
                <a:gd name="connsiteX216" fmla="*/ 37161 w 752994"/>
                <a:gd name="connsiteY216" fmla="*/ 734725 h 1333436"/>
                <a:gd name="connsiteX217" fmla="*/ 32665 w 752994"/>
                <a:gd name="connsiteY217" fmla="*/ 727788 h 1333436"/>
                <a:gd name="connsiteX218" fmla="*/ 26747 w 752994"/>
                <a:gd name="connsiteY218" fmla="*/ 719435 h 1333436"/>
                <a:gd name="connsiteX219" fmla="*/ 23884 w 752994"/>
                <a:gd name="connsiteY219" fmla="*/ 717812 h 1333436"/>
                <a:gd name="connsiteX220" fmla="*/ 24710 w 752994"/>
                <a:gd name="connsiteY220" fmla="*/ 709632 h 1333436"/>
                <a:gd name="connsiteX221" fmla="*/ 27554 w 752994"/>
                <a:gd name="connsiteY221" fmla="*/ 701694 h 1333436"/>
                <a:gd name="connsiteX222" fmla="*/ 24902 w 752994"/>
                <a:gd name="connsiteY222" fmla="*/ 696171 h 1333436"/>
                <a:gd name="connsiteX223" fmla="*/ 24095 w 752994"/>
                <a:gd name="connsiteY223" fmla="*/ 687818 h 1333436"/>
                <a:gd name="connsiteX224" fmla="*/ 22462 w 752994"/>
                <a:gd name="connsiteY224" fmla="*/ 682330 h 1333436"/>
                <a:gd name="connsiteX225" fmla="*/ 17159 w 752994"/>
                <a:gd name="connsiteY225" fmla="*/ 677636 h 1333436"/>
                <a:gd name="connsiteX226" fmla="*/ 14296 w 752994"/>
                <a:gd name="connsiteY226" fmla="*/ 671492 h 1333436"/>
                <a:gd name="connsiteX227" fmla="*/ 12451 w 752994"/>
                <a:gd name="connsiteY227" fmla="*/ 665797 h 1333436"/>
                <a:gd name="connsiteX228" fmla="*/ 5111 w 752994"/>
                <a:gd name="connsiteY228" fmla="*/ 654994 h 1333436"/>
                <a:gd name="connsiteX229" fmla="*/ 2248 w 752994"/>
                <a:gd name="connsiteY229" fmla="*/ 645605 h 1333436"/>
                <a:gd name="connsiteX230" fmla="*/ 4496 w 752994"/>
                <a:gd name="connsiteY230" fmla="*/ 640497 h 1333436"/>
                <a:gd name="connsiteX231" fmla="*/ 6744 w 752994"/>
                <a:gd name="connsiteY231" fmla="*/ 632765 h 1333436"/>
                <a:gd name="connsiteX232" fmla="*/ 6744 w 752994"/>
                <a:gd name="connsiteY232" fmla="*/ 628485 h 1333436"/>
                <a:gd name="connsiteX233" fmla="*/ 6533 w 752994"/>
                <a:gd name="connsiteY233" fmla="*/ 620305 h 1333436"/>
                <a:gd name="connsiteX234" fmla="*/ 7359 w 752994"/>
                <a:gd name="connsiteY234" fmla="*/ 611745 h 1333436"/>
                <a:gd name="connsiteX235" fmla="*/ 11836 w 752994"/>
                <a:gd name="connsiteY235" fmla="*/ 602978 h 1333436"/>
                <a:gd name="connsiteX236" fmla="*/ 15103 w 752994"/>
                <a:gd name="connsiteY236" fmla="*/ 591760 h 1333436"/>
                <a:gd name="connsiteX237" fmla="*/ 14488 w 752994"/>
                <a:gd name="connsiteY237" fmla="*/ 584029 h 1333436"/>
                <a:gd name="connsiteX238" fmla="*/ 13873 w 752994"/>
                <a:gd name="connsiteY238" fmla="*/ 578299 h 1333436"/>
                <a:gd name="connsiteX239" fmla="*/ 10626 w 752994"/>
                <a:gd name="connsiteY239" fmla="*/ 568531 h 1333436"/>
                <a:gd name="connsiteX240" fmla="*/ 3670 w 752994"/>
                <a:gd name="connsiteY240" fmla="*/ 558107 h 1333436"/>
                <a:gd name="connsiteX241" fmla="*/ 0 w 752994"/>
                <a:gd name="connsiteY241" fmla="*/ 551377 h 1333436"/>
                <a:gd name="connsiteX242" fmla="*/ 0 w 752994"/>
                <a:gd name="connsiteY242" fmla="*/ 550997 h 1333436"/>
                <a:gd name="connsiteX243" fmla="*/ 4900 w 752994"/>
                <a:gd name="connsiteY243" fmla="*/ 531220 h 1333436"/>
                <a:gd name="connsiteX244" fmla="*/ 13873 w 752994"/>
                <a:gd name="connsiteY244" fmla="*/ 520589 h 1333436"/>
                <a:gd name="connsiteX245" fmla="*/ 18369 w 752994"/>
                <a:gd name="connsiteY245" fmla="*/ 516516 h 1333436"/>
                <a:gd name="connsiteX246" fmla="*/ 18773 w 752994"/>
                <a:gd name="connsiteY246" fmla="*/ 514272 h 1333436"/>
                <a:gd name="connsiteX247" fmla="*/ 23077 w 752994"/>
                <a:gd name="connsiteY247" fmla="*/ 506127 h 1333436"/>
                <a:gd name="connsiteX248" fmla="*/ 23884 w 752994"/>
                <a:gd name="connsiteY248" fmla="*/ 502261 h 1333436"/>
                <a:gd name="connsiteX249" fmla="*/ 23692 w 752994"/>
                <a:gd name="connsiteY249" fmla="*/ 496738 h 1333436"/>
                <a:gd name="connsiteX250" fmla="*/ 30013 w 752994"/>
                <a:gd name="connsiteY250" fmla="*/ 486556 h 1333436"/>
                <a:gd name="connsiteX251" fmla="*/ 36546 w 752994"/>
                <a:gd name="connsiteY251" fmla="*/ 470230 h 1333436"/>
                <a:gd name="connsiteX252" fmla="*/ 36546 w 752994"/>
                <a:gd name="connsiteY252" fmla="*/ 462671 h 1333436"/>
                <a:gd name="connsiteX253" fmla="*/ 36335 w 752994"/>
                <a:gd name="connsiteY253" fmla="*/ 461670 h 1333436"/>
                <a:gd name="connsiteX254" fmla="*/ 35931 w 752994"/>
                <a:gd name="connsiteY254" fmla="*/ 453110 h 1333436"/>
                <a:gd name="connsiteX255" fmla="*/ 38583 w 752994"/>
                <a:gd name="connsiteY255" fmla="*/ 442514 h 1333436"/>
                <a:gd name="connsiteX256" fmla="*/ 41043 w 752994"/>
                <a:gd name="connsiteY256" fmla="*/ 436991 h 1333436"/>
                <a:gd name="connsiteX257" fmla="*/ 41650 w 752994"/>
                <a:gd name="connsiteY257" fmla="*/ 437186 h 1333436"/>
                <a:gd name="connsiteX258" fmla="*/ 41239 w 752994"/>
                <a:gd name="connsiteY258" fmla="*/ 436549 h 1333436"/>
                <a:gd name="connsiteX259" fmla="*/ 37778 w 752994"/>
                <a:gd name="connsiteY259" fmla="*/ 433894 h 1333436"/>
                <a:gd name="connsiteX260" fmla="*/ 37169 w 752994"/>
                <a:gd name="connsiteY260" fmla="*/ 432261 h 1333436"/>
                <a:gd name="connsiteX261" fmla="*/ 37365 w 752994"/>
                <a:gd name="connsiteY261" fmla="*/ 429198 h 1333436"/>
                <a:gd name="connsiteX262" fmla="*/ 36756 w 752994"/>
                <a:gd name="connsiteY262" fmla="*/ 422272 h 1333436"/>
                <a:gd name="connsiteX263" fmla="*/ 36952 w 752994"/>
                <a:gd name="connsiteY263" fmla="*/ 418800 h 1333436"/>
                <a:gd name="connsiteX264" fmla="*/ 36756 w 752994"/>
                <a:gd name="connsiteY264" fmla="*/ 412487 h 1333436"/>
                <a:gd name="connsiteX265" fmla="*/ 40433 w 752994"/>
                <a:gd name="connsiteY265" fmla="*/ 406174 h 1333436"/>
                <a:gd name="connsiteX266" fmla="*/ 44720 w 752994"/>
                <a:gd name="connsiteY266" fmla="*/ 399435 h 1333436"/>
                <a:gd name="connsiteX267" fmla="*/ 44110 w 752994"/>
                <a:gd name="connsiteY267" fmla="*/ 389651 h 1333436"/>
                <a:gd name="connsiteX268" fmla="*/ 43894 w 752994"/>
                <a:gd name="connsiteY268" fmla="*/ 378437 h 1333436"/>
                <a:gd name="connsiteX269" fmla="*/ 47158 w 752994"/>
                <a:gd name="connsiteY269" fmla="*/ 371102 h 1333436"/>
                <a:gd name="connsiteX270" fmla="*/ 55731 w 752994"/>
                <a:gd name="connsiteY270" fmla="*/ 360909 h 1333436"/>
                <a:gd name="connsiteX271" fmla="*/ 57580 w 752994"/>
                <a:gd name="connsiteY271" fmla="*/ 355804 h 1333436"/>
                <a:gd name="connsiteX272" fmla="*/ 62673 w 752994"/>
                <a:gd name="connsiteY272" fmla="*/ 349695 h 1333436"/>
                <a:gd name="connsiteX273" fmla="*/ 65937 w 752994"/>
                <a:gd name="connsiteY273" fmla="*/ 348470 h 1333436"/>
                <a:gd name="connsiteX274" fmla="*/ 68395 w 752994"/>
                <a:gd name="connsiteY274" fmla="*/ 348674 h 1333436"/>
                <a:gd name="connsiteX275" fmla="*/ 70224 w 752994"/>
                <a:gd name="connsiteY275" fmla="*/ 347449 h 1333436"/>
                <a:gd name="connsiteX276" fmla="*/ 67785 w 752994"/>
                <a:gd name="connsiteY276" fmla="*/ 345203 h 1333436"/>
                <a:gd name="connsiteX277" fmla="*/ 65524 w 752994"/>
                <a:gd name="connsiteY277" fmla="*/ 343178 h 1333436"/>
                <a:gd name="connsiteX278" fmla="*/ 73095 w 752994"/>
                <a:gd name="connsiteY278" fmla="*/ 333376 h 1333436"/>
                <a:gd name="connsiteX279" fmla="*/ 73291 w 752994"/>
                <a:gd name="connsiteY279" fmla="*/ 333376 h 1333436"/>
                <a:gd name="connsiteX280" fmla="*/ 77991 w 752994"/>
                <a:gd name="connsiteY280" fmla="*/ 325838 h 1333436"/>
                <a:gd name="connsiteX281" fmla="*/ 82671 w 752994"/>
                <a:gd name="connsiteY281" fmla="*/ 313619 h 1333436"/>
                <a:gd name="connsiteX282" fmla="*/ 87980 w 752994"/>
                <a:gd name="connsiteY282" fmla="*/ 303018 h 1333436"/>
                <a:gd name="connsiteX283" fmla="*/ 92267 w 752994"/>
                <a:gd name="connsiteY283" fmla="*/ 291191 h 1333436"/>
                <a:gd name="connsiteX284" fmla="*/ 96553 w 752994"/>
                <a:gd name="connsiteY284" fmla="*/ 281202 h 1333436"/>
                <a:gd name="connsiteX285" fmla="*/ 99621 w 752994"/>
                <a:gd name="connsiteY285" fmla="*/ 274481 h 1333436"/>
                <a:gd name="connsiteX286" fmla="*/ 103082 w 752994"/>
                <a:gd name="connsiteY286" fmla="*/ 262450 h 1333436"/>
                <a:gd name="connsiteX287" fmla="*/ 107172 w 752994"/>
                <a:gd name="connsiteY287" fmla="*/ 254299 h 1333436"/>
                <a:gd name="connsiteX288" fmla="*/ 112481 w 752994"/>
                <a:gd name="connsiteY288" fmla="*/ 243697 h 1333436"/>
                <a:gd name="connsiteX289" fmla="*/ 117181 w 752994"/>
                <a:gd name="connsiteY289" fmla="*/ 232279 h 1333436"/>
                <a:gd name="connsiteX290" fmla="*/ 125951 w 752994"/>
                <a:gd name="connsiteY290" fmla="*/ 217389 h 1333436"/>
                <a:gd name="connsiteX291" fmla="*/ 136156 w 752994"/>
                <a:gd name="connsiteY291" fmla="*/ 202925 h 1333436"/>
                <a:gd name="connsiteX292" fmla="*/ 138811 w 752994"/>
                <a:gd name="connsiteY292" fmla="*/ 183339 h 1333436"/>
                <a:gd name="connsiteX293" fmla="*/ 148801 w 752994"/>
                <a:gd name="connsiteY293" fmla="*/ 167445 h 1333436"/>
                <a:gd name="connsiteX294" fmla="*/ 159616 w 752994"/>
                <a:gd name="connsiteY294" fmla="*/ 170712 h 1333436"/>
                <a:gd name="connsiteX295" fmla="*/ 173105 w 752994"/>
                <a:gd name="connsiteY295" fmla="*/ 175188 h 1333436"/>
                <a:gd name="connsiteX296" fmla="*/ 175347 w 752994"/>
                <a:gd name="connsiteY296" fmla="*/ 175188 h 1333436"/>
                <a:gd name="connsiteX297" fmla="*/ 175347 w 752994"/>
                <a:gd name="connsiteY297" fmla="*/ 173758 h 1333436"/>
                <a:gd name="connsiteX298" fmla="*/ 184975 w 752994"/>
                <a:gd name="connsiteY298" fmla="*/ 187393 h 1333436"/>
                <a:gd name="connsiteX299" fmla="*/ 184762 w 752994"/>
                <a:gd name="connsiteY299" fmla="*/ 184637 h 1333436"/>
                <a:gd name="connsiteX300" fmla="*/ 174971 w 752994"/>
                <a:gd name="connsiteY300" fmla="*/ 170774 h 1333436"/>
                <a:gd name="connsiteX301" fmla="*/ 174971 w 752994"/>
                <a:gd name="connsiteY301" fmla="*/ 169550 h 1333436"/>
                <a:gd name="connsiteX302" fmla="*/ 158851 w 752994"/>
                <a:gd name="connsiteY302" fmla="*/ 156924 h 1333436"/>
                <a:gd name="connsiteX303" fmla="*/ 147025 w 752994"/>
                <a:gd name="connsiteY303" fmla="*/ 145709 h 1333436"/>
                <a:gd name="connsiteX304" fmla="*/ 154364 w 752994"/>
                <a:gd name="connsiteY304" fmla="*/ 136335 h 1333436"/>
                <a:gd name="connsiteX305" fmla="*/ 161511 w 752994"/>
                <a:gd name="connsiteY305" fmla="*/ 131042 h 1333436"/>
                <a:gd name="connsiteX306" fmla="*/ 160902 w 752994"/>
                <a:gd name="connsiteY306" fmla="*/ 128384 h 1333436"/>
                <a:gd name="connsiteX307" fmla="*/ 160277 w 752994"/>
                <a:gd name="connsiteY307" fmla="*/ 127778 h 1333436"/>
                <a:gd name="connsiteX308" fmla="*/ 154973 w 752994"/>
                <a:gd name="connsiteY308" fmla="*/ 122077 h 1333436"/>
                <a:gd name="connsiteX309" fmla="*/ 160277 w 752994"/>
                <a:gd name="connsiteY309" fmla="*/ 115140 h 1333436"/>
                <a:gd name="connsiteX310" fmla="*/ 165181 w 752994"/>
                <a:gd name="connsiteY310" fmla="*/ 108215 h 1333436"/>
                <a:gd name="connsiteX311" fmla="*/ 161303 w 752994"/>
                <a:gd name="connsiteY311" fmla="*/ 104146 h 1333436"/>
                <a:gd name="connsiteX312" fmla="*/ 157842 w 752994"/>
                <a:gd name="connsiteY312" fmla="*/ 104542 h 1333436"/>
                <a:gd name="connsiteX313" fmla="*/ 157024 w 752994"/>
                <a:gd name="connsiteY313" fmla="*/ 102304 h 1333436"/>
                <a:gd name="connsiteX314" fmla="*/ 160694 w 752994"/>
                <a:gd name="connsiteY314" fmla="*/ 55437 h 1333436"/>
                <a:gd name="connsiteX315" fmla="*/ 160486 w 752994"/>
                <a:gd name="connsiteY315" fmla="*/ 31991 h 1333436"/>
                <a:gd name="connsiteX316" fmla="*/ 164972 w 752994"/>
                <a:gd name="connsiteY316" fmla="*/ 18141 h 1333436"/>
                <a:gd name="connsiteX317" fmla="*/ 171911 w 752994"/>
                <a:gd name="connsiteY317" fmla="*/ 11204 h 1333436"/>
                <a:gd name="connsiteX318" fmla="*/ 187406 w 752994"/>
                <a:gd name="connsiteY318" fmla="*/ 21801 h 1333436"/>
                <a:gd name="connsiteX319" fmla="*/ 210866 w 752994"/>
                <a:gd name="connsiteY319" fmla="*/ 37086 h 1333436"/>
                <a:gd name="connsiteX320" fmla="*/ 219230 w 752994"/>
                <a:gd name="connsiteY320" fmla="*/ 41166 h 1333436"/>
                <a:gd name="connsiteX321" fmla="*/ 226778 w 752994"/>
                <a:gd name="connsiteY321" fmla="*/ 47486 h 1333436"/>
                <a:gd name="connsiteX322" fmla="*/ 236152 w 752994"/>
                <a:gd name="connsiteY322" fmla="*/ 52370 h 1333436"/>
                <a:gd name="connsiteX323" fmla="*/ 239629 w 752994"/>
                <a:gd name="connsiteY323" fmla="*/ 58491 h 1333436"/>
                <a:gd name="connsiteX324" fmla="*/ 239629 w 752994"/>
                <a:gd name="connsiteY324" fmla="*/ 63376 h 1333436"/>
                <a:gd name="connsiteX325" fmla="*/ 236568 w 752994"/>
                <a:gd name="connsiteY325" fmla="*/ 67457 h 1333436"/>
                <a:gd name="connsiteX326" fmla="*/ 231264 w 752994"/>
                <a:gd name="connsiteY326" fmla="*/ 69905 h 1333436"/>
                <a:gd name="connsiteX327" fmla="*/ 216778 w 752994"/>
                <a:gd name="connsiteY327" fmla="*/ 82741 h 1333436"/>
                <a:gd name="connsiteX328" fmla="*/ 214134 w 752994"/>
                <a:gd name="connsiteY328" fmla="*/ 93536 h 1333436"/>
                <a:gd name="connsiteX329" fmla="*/ 214535 w 752994"/>
                <a:gd name="connsiteY329" fmla="*/ 96801 h 1333436"/>
                <a:gd name="connsiteX330" fmla="*/ 216378 w 752994"/>
                <a:gd name="connsiteY330" fmla="*/ 96801 h 1333436"/>
                <a:gd name="connsiteX331" fmla="*/ 230046 w 752994"/>
                <a:gd name="connsiteY331" fmla="*/ 85387 h 1333436"/>
                <a:gd name="connsiteX332" fmla="*/ 243298 w 752994"/>
                <a:gd name="connsiteY332" fmla="*/ 75198 h 1333436"/>
                <a:gd name="connsiteX333" fmla="*/ 246760 w 752994"/>
                <a:gd name="connsiteY333" fmla="*/ 77646 h 1333436"/>
                <a:gd name="connsiteX334" fmla="*/ 255541 w 752994"/>
                <a:gd name="connsiteY334" fmla="*/ 63376 h 1333436"/>
                <a:gd name="connsiteX335" fmla="*/ 259611 w 752994"/>
                <a:gd name="connsiteY335" fmla="*/ 43405 h 1333436"/>
                <a:gd name="connsiteX336" fmla="*/ 256967 w 752994"/>
                <a:gd name="connsiteY336" fmla="*/ 38520 h 1333436"/>
                <a:gd name="connsiteX337" fmla="*/ 253906 w 752994"/>
                <a:gd name="connsiteY337" fmla="*/ 34242 h 1333436"/>
                <a:gd name="connsiteX338" fmla="*/ 256967 w 752994"/>
                <a:gd name="connsiteY338" fmla="*/ 30161 h 1333436"/>
                <a:gd name="connsiteX339" fmla="*/ 262063 w 752994"/>
                <a:gd name="connsiteY339" fmla="*/ 27712 h 1333436"/>
                <a:gd name="connsiteX340" fmla="*/ 264915 w 752994"/>
                <a:gd name="connsiteY340" fmla="*/ 23026 h 1333436"/>
                <a:gd name="connsiteX341" fmla="*/ 267976 w 752994"/>
                <a:gd name="connsiteY341" fmla="*/ 22618 h 1333436"/>
                <a:gd name="connsiteX342" fmla="*/ 270427 w 752994"/>
                <a:gd name="connsiteY342" fmla="*/ 20787 h 1333436"/>
                <a:gd name="connsiteX343" fmla="*/ 263088 w 752994"/>
                <a:gd name="connsiteY343" fmla="*/ 13652 h 1333436"/>
                <a:gd name="connsiteX344" fmla="*/ 255541 w 752994"/>
                <a:gd name="connsiteY344" fmla="*/ 3055 h 1333436"/>
                <a:gd name="connsiteX345" fmla="*/ 256358 w 752994"/>
                <a:gd name="connsiteY345" fmla="*/ 1224 h 1333436"/>
                <a:gd name="connsiteX346" fmla="*/ 257159 w 752994"/>
                <a:gd name="connsiteY346"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381379 w 752994"/>
                <a:gd name="connsiteY30" fmla="*/ 252303 h 1333436"/>
                <a:gd name="connsiteX31" fmla="*/ 365258 w 752994"/>
                <a:gd name="connsiteY31" fmla="*/ 245774 h 1333436"/>
                <a:gd name="connsiteX32" fmla="*/ 355067 w 752994"/>
                <a:gd name="connsiteY32" fmla="*/ 241285 h 1333436"/>
                <a:gd name="connsiteX33" fmla="*/ 350789 w 752994"/>
                <a:gd name="connsiteY33" fmla="*/ 244352 h 1333436"/>
                <a:gd name="connsiteX34" fmla="*/ 340789 w 752994"/>
                <a:gd name="connsiteY34" fmla="*/ 243536 h 1333436"/>
                <a:gd name="connsiteX35" fmla="*/ 333034 w 752994"/>
                <a:gd name="connsiteY35" fmla="*/ 240271 h 1333436"/>
                <a:gd name="connsiteX36" fmla="*/ 323868 w 752994"/>
                <a:gd name="connsiteY36" fmla="*/ 241495 h 1333436"/>
                <a:gd name="connsiteX37" fmla="*/ 309783 w 752994"/>
                <a:gd name="connsiteY37" fmla="*/ 243536 h 1333436"/>
                <a:gd name="connsiteX38" fmla="*/ 297140 w 752994"/>
                <a:gd name="connsiteY38" fmla="*/ 245576 h 1333436"/>
                <a:gd name="connsiteX39" fmla="*/ 280827 w 752994"/>
                <a:gd name="connsiteY39" fmla="*/ 242720 h 1333436"/>
                <a:gd name="connsiteX40" fmla="*/ 274497 w 752994"/>
                <a:gd name="connsiteY40" fmla="*/ 238441 h 1333436"/>
                <a:gd name="connsiteX41" fmla="*/ 269001 w 752994"/>
                <a:gd name="connsiteY41" fmla="*/ 240679 h 1333436"/>
                <a:gd name="connsiteX42" fmla="*/ 262880 w 752994"/>
                <a:gd name="connsiteY42" fmla="*/ 243128 h 1333436"/>
                <a:gd name="connsiteX43" fmla="*/ 260028 w 752994"/>
                <a:gd name="connsiteY43" fmla="*/ 242720 h 1333436"/>
                <a:gd name="connsiteX44" fmla="*/ 247994 w 752994"/>
                <a:gd name="connsiteY44" fmla="*/ 241693 h 1333436"/>
                <a:gd name="connsiteX45" fmla="*/ 242081 w 752994"/>
                <a:gd name="connsiteY45" fmla="*/ 234162 h 1333436"/>
                <a:gd name="connsiteX46" fmla="*/ 235142 w 752994"/>
                <a:gd name="connsiteY46" fmla="*/ 229476 h 1333436"/>
                <a:gd name="connsiteX47" fmla="*/ 224742 w 752994"/>
                <a:gd name="connsiteY47" fmla="*/ 226817 h 1333436"/>
                <a:gd name="connsiteX48" fmla="*/ 216778 w 752994"/>
                <a:gd name="connsiteY48" fmla="*/ 229068 h 1333436"/>
                <a:gd name="connsiteX49" fmla="*/ 202709 w 752994"/>
                <a:gd name="connsiteY49" fmla="*/ 230898 h 1333436"/>
                <a:gd name="connsiteX50" fmla="*/ 195162 w 752994"/>
                <a:gd name="connsiteY50" fmla="*/ 228857 h 1333436"/>
                <a:gd name="connsiteX51" fmla="*/ 188223 w 752994"/>
                <a:gd name="connsiteY51" fmla="*/ 223973 h 1333436"/>
                <a:gd name="connsiteX52" fmla="*/ 185163 w 752994"/>
                <a:gd name="connsiteY52" fmla="*/ 219484 h 1333436"/>
                <a:gd name="connsiteX53" fmla="*/ 184180 w 752994"/>
                <a:gd name="connsiteY53" fmla="*/ 213866 h 1333436"/>
                <a:gd name="connsiteX54" fmla="*/ 257159 w 752994"/>
                <a:gd name="connsiteY54" fmla="*/ 0 h 1333436"/>
                <a:gd name="connsiteX55" fmla="*/ 493147 w 752994"/>
                <a:gd name="connsiteY55" fmla="*/ 73157 h 1333436"/>
                <a:gd name="connsiteX56" fmla="*/ 492970 w 752994"/>
                <a:gd name="connsiteY56" fmla="*/ 73792 h 1333436"/>
                <a:gd name="connsiteX57" fmla="*/ 525816 w 752994"/>
                <a:gd name="connsiteY57" fmla="*/ 82491 h 1333436"/>
                <a:gd name="connsiteX58" fmla="*/ 520098 w 752994"/>
                <a:gd name="connsiteY58" fmla="*/ 111245 h 1333436"/>
                <a:gd name="connsiteX59" fmla="*/ 512552 w 752994"/>
                <a:gd name="connsiteY59" fmla="*/ 143854 h 1333436"/>
                <a:gd name="connsiteX60" fmla="*/ 517849 w 752994"/>
                <a:gd name="connsiteY60" fmla="*/ 157740 h 1333436"/>
                <a:gd name="connsiteX61" fmla="*/ 523160 w 752994"/>
                <a:gd name="connsiteY61" fmla="*/ 172009 h 1333436"/>
                <a:gd name="connsiteX62" fmla="*/ 521535 w 752994"/>
                <a:gd name="connsiteY62" fmla="*/ 178928 h 1333436"/>
                <a:gd name="connsiteX63" fmla="*/ 520098 w 752994"/>
                <a:gd name="connsiteY63" fmla="*/ 186279 h 1333436"/>
                <a:gd name="connsiteX64" fmla="*/ 526019 w 752994"/>
                <a:gd name="connsiteY64" fmla="*/ 193629 h 1333436"/>
                <a:gd name="connsiteX65" fmla="*/ 537251 w 752994"/>
                <a:gd name="connsiteY65" fmla="*/ 206270 h 1333436"/>
                <a:gd name="connsiteX66" fmla="*/ 542765 w 752994"/>
                <a:gd name="connsiteY66" fmla="*/ 217475 h 1333436"/>
                <a:gd name="connsiteX67" fmla="*/ 546857 w 752994"/>
                <a:gd name="connsiteY67" fmla="*/ 230930 h 1333436"/>
                <a:gd name="connsiteX68" fmla="*/ 549499 w 752994"/>
                <a:gd name="connsiteY68" fmla="*/ 235622 h 1333436"/>
                <a:gd name="connsiteX69" fmla="*/ 553388 w 752994"/>
                <a:gd name="connsiteY69" fmla="*/ 240722 h 1333436"/>
                <a:gd name="connsiteX70" fmla="*/ 557465 w 752994"/>
                <a:gd name="connsiteY70" fmla="*/ 246037 h 1333436"/>
                <a:gd name="connsiteX71" fmla="*/ 561761 w 752994"/>
                <a:gd name="connsiteY71" fmla="*/ 248671 h 1333436"/>
                <a:gd name="connsiteX72" fmla="*/ 567478 w 752994"/>
                <a:gd name="connsiteY72" fmla="*/ 247665 h 1333436"/>
                <a:gd name="connsiteX73" fmla="*/ 569931 w 752994"/>
                <a:gd name="connsiteY73" fmla="*/ 249293 h 1333436"/>
                <a:gd name="connsiteX74" fmla="*/ 570540 w 752994"/>
                <a:gd name="connsiteY74" fmla="*/ 251951 h 1333436"/>
                <a:gd name="connsiteX75" fmla="*/ 561964 w 752994"/>
                <a:gd name="connsiteY75" fmla="*/ 267656 h 1333436"/>
                <a:gd name="connsiteX76" fmla="*/ 553591 w 752994"/>
                <a:gd name="connsiteY76" fmla="*/ 289659 h 1333436"/>
                <a:gd name="connsiteX77" fmla="*/ 554810 w 752994"/>
                <a:gd name="connsiteY77" fmla="*/ 292939 h 1333436"/>
                <a:gd name="connsiteX78" fmla="*/ 556246 w 752994"/>
                <a:gd name="connsiteY78" fmla="*/ 299260 h 1333436"/>
                <a:gd name="connsiteX79" fmla="*/ 552778 w 752994"/>
                <a:gd name="connsiteY79" fmla="*/ 301917 h 1333436"/>
                <a:gd name="connsiteX80" fmla="*/ 549295 w 752994"/>
                <a:gd name="connsiteY80" fmla="*/ 306993 h 1333436"/>
                <a:gd name="connsiteX81" fmla="*/ 547061 w 752994"/>
                <a:gd name="connsiteY81" fmla="*/ 313122 h 1333436"/>
                <a:gd name="connsiteX82" fmla="*/ 544811 w 752994"/>
                <a:gd name="connsiteY82" fmla="*/ 316593 h 1333436"/>
                <a:gd name="connsiteX83" fmla="*/ 549919 w 752994"/>
                <a:gd name="connsiteY83" fmla="*/ 322698 h 1333436"/>
                <a:gd name="connsiteX84" fmla="*/ 553184 w 752994"/>
                <a:gd name="connsiteY84" fmla="*/ 325955 h 1333436"/>
                <a:gd name="connsiteX85" fmla="*/ 555840 w 752994"/>
                <a:gd name="connsiteY85" fmla="*/ 328205 h 1333436"/>
                <a:gd name="connsiteX86" fmla="*/ 574212 w 752994"/>
                <a:gd name="connsiteY86" fmla="*/ 318820 h 1333436"/>
                <a:gd name="connsiteX87" fmla="*/ 579523 w 752994"/>
                <a:gd name="connsiteY87" fmla="*/ 326577 h 1333436"/>
                <a:gd name="connsiteX88" fmla="*/ 580539 w 752994"/>
                <a:gd name="connsiteY88" fmla="*/ 334933 h 1333436"/>
                <a:gd name="connsiteX89" fmla="*/ 579726 w 752994"/>
                <a:gd name="connsiteY89" fmla="*/ 343097 h 1333436"/>
                <a:gd name="connsiteX90" fmla="*/ 581366 w 752994"/>
                <a:gd name="connsiteY90" fmla="*/ 350231 h 1333436"/>
                <a:gd name="connsiteX91" fmla="*/ 586256 w 752994"/>
                <a:gd name="connsiteY91" fmla="*/ 355930 h 1333436"/>
                <a:gd name="connsiteX92" fmla="*/ 589536 w 752994"/>
                <a:gd name="connsiteY92" fmla="*/ 362059 h 1333436"/>
                <a:gd name="connsiteX93" fmla="*/ 588099 w 752994"/>
                <a:gd name="connsiteY93" fmla="*/ 369600 h 1333436"/>
                <a:gd name="connsiteX94" fmla="*/ 586459 w 752994"/>
                <a:gd name="connsiteY94" fmla="*/ 377357 h 1333436"/>
                <a:gd name="connsiteX95" fmla="*/ 588709 w 752994"/>
                <a:gd name="connsiteY95" fmla="*/ 381835 h 1333436"/>
                <a:gd name="connsiteX96" fmla="*/ 595036 w 752994"/>
                <a:gd name="connsiteY96" fmla="*/ 382457 h 1333436"/>
                <a:gd name="connsiteX97" fmla="*/ 599331 w 752994"/>
                <a:gd name="connsiteY97" fmla="*/ 385306 h 1333436"/>
                <a:gd name="connsiteX98" fmla="*/ 601987 w 752994"/>
                <a:gd name="connsiteY98" fmla="*/ 391004 h 1333436"/>
                <a:gd name="connsiteX99" fmla="*/ 602799 w 752994"/>
                <a:gd name="connsiteY99" fmla="*/ 404076 h 1333436"/>
                <a:gd name="connsiteX100" fmla="*/ 606892 w 752994"/>
                <a:gd name="connsiteY100" fmla="*/ 415688 h 1333436"/>
                <a:gd name="connsiteX101" fmla="*/ 610563 w 752994"/>
                <a:gd name="connsiteY101" fmla="*/ 412217 h 1333436"/>
                <a:gd name="connsiteX102" fmla="*/ 617920 w 752994"/>
                <a:gd name="connsiteY102" fmla="*/ 408769 h 1333436"/>
                <a:gd name="connsiteX103" fmla="*/ 624654 w 752994"/>
                <a:gd name="connsiteY103" fmla="*/ 411211 h 1333436"/>
                <a:gd name="connsiteX104" fmla="*/ 634652 w 752994"/>
                <a:gd name="connsiteY104" fmla="*/ 410182 h 1333436"/>
                <a:gd name="connsiteX105" fmla="*/ 640573 w 752994"/>
                <a:gd name="connsiteY105" fmla="*/ 407739 h 1333436"/>
                <a:gd name="connsiteX106" fmla="*/ 646711 w 752994"/>
                <a:gd name="connsiteY106" fmla="*/ 410589 h 1333436"/>
                <a:gd name="connsiteX107" fmla="*/ 650383 w 752994"/>
                <a:gd name="connsiteY107" fmla="*/ 410589 h 1333436"/>
                <a:gd name="connsiteX108" fmla="*/ 654257 w 752994"/>
                <a:gd name="connsiteY108" fmla="*/ 411618 h 1333436"/>
                <a:gd name="connsiteX109" fmla="*/ 656913 w 752994"/>
                <a:gd name="connsiteY109" fmla="*/ 413653 h 1333436"/>
                <a:gd name="connsiteX110" fmla="*/ 660802 w 752994"/>
                <a:gd name="connsiteY110" fmla="*/ 415090 h 1333436"/>
                <a:gd name="connsiteX111" fmla="*/ 669581 w 752994"/>
                <a:gd name="connsiteY111" fmla="*/ 415904 h 1333436"/>
                <a:gd name="connsiteX112" fmla="*/ 672237 w 752994"/>
                <a:gd name="connsiteY112" fmla="*/ 415688 h 1333436"/>
                <a:gd name="connsiteX113" fmla="*/ 675705 w 752994"/>
                <a:gd name="connsiteY113" fmla="*/ 409367 h 1333436"/>
                <a:gd name="connsiteX114" fmla="*/ 679986 w 752994"/>
                <a:gd name="connsiteY114" fmla="*/ 403238 h 1333436"/>
                <a:gd name="connsiteX115" fmla="*/ 693264 w 752994"/>
                <a:gd name="connsiteY115" fmla="*/ 419567 h 1333436"/>
                <a:gd name="connsiteX116" fmla="*/ 688563 w 752994"/>
                <a:gd name="connsiteY116" fmla="*/ 448321 h 1333436"/>
                <a:gd name="connsiteX117" fmla="*/ 663949 w 752994"/>
                <a:gd name="connsiteY117" fmla="*/ 590165 h 1333436"/>
                <a:gd name="connsiteX118" fmla="*/ 666304 w 752994"/>
                <a:gd name="connsiteY118" fmla="*/ 590504 h 1333436"/>
                <a:gd name="connsiteX119" fmla="*/ 655288 w 752994"/>
                <a:gd name="connsiteY119" fmla="*/ 656178 h 1333436"/>
                <a:gd name="connsiteX120" fmla="*/ 681808 w 752994"/>
                <a:gd name="connsiteY120" fmla="*/ 662301 h 1333436"/>
                <a:gd name="connsiteX121" fmla="*/ 752994 w 752994"/>
                <a:gd name="connsiteY121" fmla="*/ 675560 h 1333436"/>
                <a:gd name="connsiteX122" fmla="*/ 714651 w 752994"/>
                <a:gd name="connsiteY122" fmla="*/ 946985 h 1333436"/>
                <a:gd name="connsiteX123" fmla="*/ 654533 w 752994"/>
                <a:gd name="connsiteY123" fmla="*/ 1333436 h 1333436"/>
                <a:gd name="connsiteX124" fmla="*/ 546831 w 752994"/>
                <a:gd name="connsiteY124" fmla="*/ 1317126 h 1333436"/>
                <a:gd name="connsiteX125" fmla="*/ 351227 w 752994"/>
                <a:gd name="connsiteY125" fmla="*/ 1194172 h 1333436"/>
                <a:gd name="connsiteX126" fmla="*/ 361011 w 752994"/>
                <a:gd name="connsiteY126" fmla="*/ 1182755 h 1333436"/>
                <a:gd name="connsiteX127" fmla="*/ 368981 w 752994"/>
                <a:gd name="connsiteY127" fmla="*/ 1182130 h 1333436"/>
                <a:gd name="connsiteX128" fmla="*/ 369571 w 752994"/>
                <a:gd name="connsiteY128" fmla="*/ 1181558 h 1333436"/>
                <a:gd name="connsiteX129" fmla="*/ 362372 w 752994"/>
                <a:gd name="connsiteY129" fmla="*/ 1182120 h 1333436"/>
                <a:gd name="connsiteX130" fmla="*/ 229464 w 752994"/>
                <a:gd name="connsiteY130" fmla="*/ 1161721 h 1333436"/>
                <a:gd name="connsiteX131" fmla="*/ 227427 w 752994"/>
                <a:gd name="connsiteY131" fmla="*/ 1157269 h 1333436"/>
                <a:gd name="connsiteX132" fmla="*/ 224967 w 752994"/>
                <a:gd name="connsiteY132" fmla="*/ 1152575 h 1333436"/>
                <a:gd name="connsiteX133" fmla="*/ 225582 w 752994"/>
                <a:gd name="connsiteY133" fmla="*/ 1144808 h 1333436"/>
                <a:gd name="connsiteX134" fmla="*/ 227215 w 752994"/>
                <a:gd name="connsiteY134" fmla="*/ 1135834 h 1333436"/>
                <a:gd name="connsiteX135" fmla="*/ 227215 w 752994"/>
                <a:gd name="connsiteY135" fmla="*/ 1134212 h 1333436"/>
                <a:gd name="connsiteX136" fmla="*/ 225179 w 752994"/>
                <a:gd name="connsiteY136" fmla="*/ 1114020 h 1333436"/>
                <a:gd name="connsiteX137" fmla="*/ 217839 w 752994"/>
                <a:gd name="connsiteY137" fmla="*/ 1100352 h 1333436"/>
                <a:gd name="connsiteX138" fmla="*/ 199661 w 752994"/>
                <a:gd name="connsiteY138" fmla="*/ 1076502 h 1333436"/>
                <a:gd name="connsiteX139" fmla="*/ 196395 w 752994"/>
                <a:gd name="connsiteY139" fmla="*/ 1071807 h 1333436"/>
                <a:gd name="connsiteX140" fmla="*/ 190880 w 752994"/>
                <a:gd name="connsiteY140" fmla="*/ 1067527 h 1333436"/>
                <a:gd name="connsiteX141" fmla="*/ 187210 w 752994"/>
                <a:gd name="connsiteY141" fmla="*/ 1068735 h 1333436"/>
                <a:gd name="connsiteX142" fmla="*/ 180062 w 752994"/>
                <a:gd name="connsiteY142" fmla="*/ 1066699 h 1333436"/>
                <a:gd name="connsiteX143" fmla="*/ 180466 w 752994"/>
                <a:gd name="connsiteY143" fmla="*/ 1053031 h 1333436"/>
                <a:gd name="connsiteX144" fmla="*/ 180062 w 752994"/>
                <a:gd name="connsiteY144" fmla="*/ 1045299 h 1333436"/>
                <a:gd name="connsiteX145" fmla="*/ 174144 w 752994"/>
                <a:gd name="connsiteY145" fmla="*/ 1044057 h 1333436"/>
                <a:gd name="connsiteX146" fmla="*/ 158426 w 752994"/>
                <a:gd name="connsiteY146" fmla="*/ 1042641 h 1333436"/>
                <a:gd name="connsiteX147" fmla="*/ 149857 w 752994"/>
                <a:gd name="connsiteY147" fmla="*/ 1035497 h 1333436"/>
                <a:gd name="connsiteX148" fmla="*/ 142497 w 752994"/>
                <a:gd name="connsiteY148" fmla="*/ 1028766 h 1333436"/>
                <a:gd name="connsiteX149" fmla="*/ 140864 w 752994"/>
                <a:gd name="connsiteY149" fmla="*/ 1020620 h 1333436"/>
                <a:gd name="connsiteX150" fmla="*/ 138212 w 752994"/>
                <a:gd name="connsiteY150" fmla="*/ 1013061 h 1333436"/>
                <a:gd name="connsiteX151" fmla="*/ 131064 w 752994"/>
                <a:gd name="connsiteY151" fmla="*/ 1007159 h 1333436"/>
                <a:gd name="connsiteX152" fmla="*/ 121264 w 752994"/>
                <a:gd name="connsiteY152" fmla="*/ 1005330 h 1333436"/>
                <a:gd name="connsiteX153" fmla="*/ 112483 w 752994"/>
                <a:gd name="connsiteY153" fmla="*/ 1001671 h 1333436"/>
                <a:gd name="connsiteX154" fmla="*/ 105950 w 752994"/>
                <a:gd name="connsiteY154" fmla="*/ 995734 h 1333436"/>
                <a:gd name="connsiteX155" fmla="*/ 97380 w 752994"/>
                <a:gd name="connsiteY155" fmla="*/ 994526 h 1333436"/>
                <a:gd name="connsiteX156" fmla="*/ 87984 w 752994"/>
                <a:gd name="connsiteY156" fmla="*/ 991040 h 1333436"/>
                <a:gd name="connsiteX157" fmla="*/ 80029 w 752994"/>
                <a:gd name="connsiteY157" fmla="*/ 985138 h 1333436"/>
                <a:gd name="connsiteX158" fmla="*/ 77166 w 752994"/>
                <a:gd name="connsiteY158" fmla="*/ 976164 h 1333436"/>
                <a:gd name="connsiteX159" fmla="*/ 79203 w 752994"/>
                <a:gd name="connsiteY159" fmla="*/ 970676 h 1333436"/>
                <a:gd name="connsiteX160" fmla="*/ 82470 w 752994"/>
                <a:gd name="connsiteY160" fmla="*/ 963117 h 1333436"/>
                <a:gd name="connsiteX161" fmla="*/ 84314 w 752994"/>
                <a:gd name="connsiteY161" fmla="*/ 954557 h 1333436"/>
                <a:gd name="connsiteX162" fmla="*/ 86351 w 752994"/>
                <a:gd name="connsiteY162" fmla="*/ 948033 h 1333436"/>
                <a:gd name="connsiteX163" fmla="*/ 86159 w 752994"/>
                <a:gd name="connsiteY163" fmla="*/ 942925 h 1333436"/>
                <a:gd name="connsiteX164" fmla="*/ 83085 w 752994"/>
                <a:gd name="connsiteY164" fmla="*/ 939853 h 1333436"/>
                <a:gd name="connsiteX165" fmla="*/ 77570 w 752994"/>
                <a:gd name="connsiteY165" fmla="*/ 937437 h 1333436"/>
                <a:gd name="connsiteX166" fmla="*/ 76763 w 752994"/>
                <a:gd name="connsiteY166" fmla="*/ 931915 h 1333436"/>
                <a:gd name="connsiteX167" fmla="*/ 78800 w 752994"/>
                <a:gd name="connsiteY167" fmla="*/ 927013 h 1333436"/>
                <a:gd name="connsiteX168" fmla="*/ 79626 w 752994"/>
                <a:gd name="connsiteY168" fmla="*/ 922526 h 1333436"/>
                <a:gd name="connsiteX169" fmla="*/ 77781 w 752994"/>
                <a:gd name="connsiteY169" fmla="*/ 919903 h 1333436"/>
                <a:gd name="connsiteX170" fmla="*/ 74303 w 752994"/>
                <a:gd name="connsiteY170" fmla="*/ 917418 h 1333436"/>
                <a:gd name="connsiteX171" fmla="*/ 71863 w 752994"/>
                <a:gd name="connsiteY171" fmla="*/ 915174 h 1333436"/>
                <a:gd name="connsiteX172" fmla="*/ 71652 w 752994"/>
                <a:gd name="connsiteY172" fmla="*/ 910894 h 1333436"/>
                <a:gd name="connsiteX173" fmla="*/ 70633 w 752994"/>
                <a:gd name="connsiteY173" fmla="*/ 906614 h 1333436"/>
                <a:gd name="connsiteX174" fmla="*/ 68385 w 752994"/>
                <a:gd name="connsiteY174" fmla="*/ 902749 h 1333436"/>
                <a:gd name="connsiteX175" fmla="*/ 61045 w 752994"/>
                <a:gd name="connsiteY175" fmla="*/ 889494 h 1333436"/>
                <a:gd name="connsiteX176" fmla="*/ 57971 w 752994"/>
                <a:gd name="connsiteY176" fmla="*/ 875619 h 1333436"/>
                <a:gd name="connsiteX177" fmla="*/ 52264 w 752994"/>
                <a:gd name="connsiteY177" fmla="*/ 862572 h 1333436"/>
                <a:gd name="connsiteX178" fmla="*/ 44309 w 752994"/>
                <a:gd name="connsiteY178" fmla="*/ 850561 h 1333436"/>
                <a:gd name="connsiteX179" fmla="*/ 45520 w 752994"/>
                <a:gd name="connsiteY179" fmla="*/ 827090 h 1333436"/>
                <a:gd name="connsiteX180" fmla="*/ 53071 w 752994"/>
                <a:gd name="connsiteY180" fmla="*/ 822396 h 1333436"/>
                <a:gd name="connsiteX181" fmla="*/ 57375 w 752994"/>
                <a:gd name="connsiteY181" fmla="*/ 816493 h 1333436"/>
                <a:gd name="connsiteX182" fmla="*/ 55319 w 752994"/>
                <a:gd name="connsiteY182" fmla="*/ 801617 h 1333436"/>
                <a:gd name="connsiteX183" fmla="*/ 48383 w 752994"/>
                <a:gd name="connsiteY183" fmla="*/ 802204 h 1333436"/>
                <a:gd name="connsiteX184" fmla="*/ 40428 w 752994"/>
                <a:gd name="connsiteY184" fmla="*/ 797924 h 1333436"/>
                <a:gd name="connsiteX185" fmla="*/ 37565 w 752994"/>
                <a:gd name="connsiteY185" fmla="*/ 790606 h 1333436"/>
                <a:gd name="connsiteX186" fmla="*/ 37565 w 752994"/>
                <a:gd name="connsiteY186" fmla="*/ 790399 h 1333436"/>
                <a:gd name="connsiteX187" fmla="*/ 35931 w 752994"/>
                <a:gd name="connsiteY187" fmla="*/ 785912 h 1333436"/>
                <a:gd name="connsiteX188" fmla="*/ 34510 w 752994"/>
                <a:gd name="connsiteY188" fmla="*/ 780597 h 1333436"/>
                <a:gd name="connsiteX189" fmla="*/ 36335 w 752994"/>
                <a:gd name="connsiteY189" fmla="*/ 774280 h 1333436"/>
                <a:gd name="connsiteX190" fmla="*/ 38180 w 752994"/>
                <a:gd name="connsiteY190" fmla="*/ 766721 h 1333436"/>
                <a:gd name="connsiteX191" fmla="*/ 37161 w 752994"/>
                <a:gd name="connsiteY191" fmla="*/ 760405 h 1333436"/>
                <a:gd name="connsiteX192" fmla="*/ 35720 w 752994"/>
                <a:gd name="connsiteY192" fmla="*/ 754710 h 1333436"/>
                <a:gd name="connsiteX193" fmla="*/ 36546 w 752994"/>
                <a:gd name="connsiteY193" fmla="*/ 748773 h 1333436"/>
                <a:gd name="connsiteX194" fmla="*/ 38372 w 752994"/>
                <a:gd name="connsiteY194" fmla="*/ 744528 h 1333436"/>
                <a:gd name="connsiteX195" fmla="*/ 41638 w 752994"/>
                <a:gd name="connsiteY195" fmla="*/ 744321 h 1333436"/>
                <a:gd name="connsiteX196" fmla="*/ 44713 w 752994"/>
                <a:gd name="connsiteY196" fmla="*/ 746357 h 1333436"/>
                <a:gd name="connsiteX197" fmla="*/ 47364 w 752994"/>
                <a:gd name="connsiteY197" fmla="*/ 753260 h 1333436"/>
                <a:gd name="connsiteX198" fmla="*/ 55742 w 752994"/>
                <a:gd name="connsiteY198" fmla="*/ 764305 h 1333436"/>
                <a:gd name="connsiteX199" fmla="*/ 56338 w 752994"/>
                <a:gd name="connsiteY199" fmla="*/ 761233 h 1333436"/>
                <a:gd name="connsiteX200" fmla="*/ 56145 w 752994"/>
                <a:gd name="connsiteY200" fmla="*/ 757368 h 1333436"/>
                <a:gd name="connsiteX201" fmla="*/ 54916 w 752994"/>
                <a:gd name="connsiteY201" fmla="*/ 748601 h 1333436"/>
                <a:gd name="connsiteX202" fmla="*/ 52879 w 752994"/>
                <a:gd name="connsiteY202" fmla="*/ 747358 h 1333436"/>
                <a:gd name="connsiteX203" fmla="*/ 51649 w 752994"/>
                <a:gd name="connsiteY203" fmla="*/ 745322 h 1333436"/>
                <a:gd name="connsiteX204" fmla="*/ 51649 w 752994"/>
                <a:gd name="connsiteY204" fmla="*/ 739212 h 1333436"/>
                <a:gd name="connsiteX205" fmla="*/ 50227 w 752994"/>
                <a:gd name="connsiteY205" fmla="*/ 734725 h 1333436"/>
                <a:gd name="connsiteX206" fmla="*/ 48786 w 752994"/>
                <a:gd name="connsiteY206" fmla="*/ 731446 h 1333436"/>
                <a:gd name="connsiteX207" fmla="*/ 54512 w 752994"/>
                <a:gd name="connsiteY207" fmla="*/ 726372 h 1333436"/>
                <a:gd name="connsiteX208" fmla="*/ 59815 w 752994"/>
                <a:gd name="connsiteY208" fmla="*/ 725130 h 1333436"/>
                <a:gd name="connsiteX209" fmla="*/ 58182 w 752994"/>
                <a:gd name="connsiteY209" fmla="*/ 722886 h 1333436"/>
                <a:gd name="connsiteX210" fmla="*/ 51861 w 752994"/>
                <a:gd name="connsiteY210" fmla="*/ 717985 h 1333436"/>
                <a:gd name="connsiteX211" fmla="*/ 46749 w 752994"/>
                <a:gd name="connsiteY211" fmla="*/ 729617 h 1333436"/>
                <a:gd name="connsiteX212" fmla="*/ 40831 w 752994"/>
                <a:gd name="connsiteY212" fmla="*/ 739212 h 1333436"/>
                <a:gd name="connsiteX213" fmla="*/ 39601 w 752994"/>
                <a:gd name="connsiteY213" fmla="*/ 738798 h 1333436"/>
                <a:gd name="connsiteX214" fmla="*/ 39409 w 752994"/>
                <a:gd name="connsiteY214" fmla="*/ 738591 h 1333436"/>
                <a:gd name="connsiteX215" fmla="*/ 37161 w 752994"/>
                <a:gd name="connsiteY215" fmla="*/ 734725 h 1333436"/>
                <a:gd name="connsiteX216" fmla="*/ 32665 w 752994"/>
                <a:gd name="connsiteY216" fmla="*/ 727788 h 1333436"/>
                <a:gd name="connsiteX217" fmla="*/ 26747 w 752994"/>
                <a:gd name="connsiteY217" fmla="*/ 719435 h 1333436"/>
                <a:gd name="connsiteX218" fmla="*/ 23884 w 752994"/>
                <a:gd name="connsiteY218" fmla="*/ 717812 h 1333436"/>
                <a:gd name="connsiteX219" fmla="*/ 24710 w 752994"/>
                <a:gd name="connsiteY219" fmla="*/ 709632 h 1333436"/>
                <a:gd name="connsiteX220" fmla="*/ 27554 w 752994"/>
                <a:gd name="connsiteY220" fmla="*/ 701694 h 1333436"/>
                <a:gd name="connsiteX221" fmla="*/ 24902 w 752994"/>
                <a:gd name="connsiteY221" fmla="*/ 696171 h 1333436"/>
                <a:gd name="connsiteX222" fmla="*/ 24095 w 752994"/>
                <a:gd name="connsiteY222" fmla="*/ 687818 h 1333436"/>
                <a:gd name="connsiteX223" fmla="*/ 22462 w 752994"/>
                <a:gd name="connsiteY223" fmla="*/ 682330 h 1333436"/>
                <a:gd name="connsiteX224" fmla="*/ 17159 w 752994"/>
                <a:gd name="connsiteY224" fmla="*/ 677636 h 1333436"/>
                <a:gd name="connsiteX225" fmla="*/ 14296 w 752994"/>
                <a:gd name="connsiteY225" fmla="*/ 671492 h 1333436"/>
                <a:gd name="connsiteX226" fmla="*/ 12451 w 752994"/>
                <a:gd name="connsiteY226" fmla="*/ 665797 h 1333436"/>
                <a:gd name="connsiteX227" fmla="*/ 5111 w 752994"/>
                <a:gd name="connsiteY227" fmla="*/ 654994 h 1333436"/>
                <a:gd name="connsiteX228" fmla="*/ 2248 w 752994"/>
                <a:gd name="connsiteY228" fmla="*/ 645605 h 1333436"/>
                <a:gd name="connsiteX229" fmla="*/ 4496 w 752994"/>
                <a:gd name="connsiteY229" fmla="*/ 640497 h 1333436"/>
                <a:gd name="connsiteX230" fmla="*/ 6744 w 752994"/>
                <a:gd name="connsiteY230" fmla="*/ 632765 h 1333436"/>
                <a:gd name="connsiteX231" fmla="*/ 6744 w 752994"/>
                <a:gd name="connsiteY231" fmla="*/ 628485 h 1333436"/>
                <a:gd name="connsiteX232" fmla="*/ 6533 w 752994"/>
                <a:gd name="connsiteY232" fmla="*/ 620305 h 1333436"/>
                <a:gd name="connsiteX233" fmla="*/ 7359 w 752994"/>
                <a:gd name="connsiteY233" fmla="*/ 611745 h 1333436"/>
                <a:gd name="connsiteX234" fmla="*/ 11836 w 752994"/>
                <a:gd name="connsiteY234" fmla="*/ 602978 h 1333436"/>
                <a:gd name="connsiteX235" fmla="*/ 15103 w 752994"/>
                <a:gd name="connsiteY235" fmla="*/ 591760 h 1333436"/>
                <a:gd name="connsiteX236" fmla="*/ 14488 w 752994"/>
                <a:gd name="connsiteY236" fmla="*/ 584029 h 1333436"/>
                <a:gd name="connsiteX237" fmla="*/ 13873 w 752994"/>
                <a:gd name="connsiteY237" fmla="*/ 578299 h 1333436"/>
                <a:gd name="connsiteX238" fmla="*/ 10626 w 752994"/>
                <a:gd name="connsiteY238" fmla="*/ 568531 h 1333436"/>
                <a:gd name="connsiteX239" fmla="*/ 3670 w 752994"/>
                <a:gd name="connsiteY239" fmla="*/ 558107 h 1333436"/>
                <a:gd name="connsiteX240" fmla="*/ 0 w 752994"/>
                <a:gd name="connsiteY240" fmla="*/ 551377 h 1333436"/>
                <a:gd name="connsiteX241" fmla="*/ 0 w 752994"/>
                <a:gd name="connsiteY241" fmla="*/ 550997 h 1333436"/>
                <a:gd name="connsiteX242" fmla="*/ 4900 w 752994"/>
                <a:gd name="connsiteY242" fmla="*/ 531220 h 1333436"/>
                <a:gd name="connsiteX243" fmla="*/ 13873 w 752994"/>
                <a:gd name="connsiteY243" fmla="*/ 520589 h 1333436"/>
                <a:gd name="connsiteX244" fmla="*/ 18369 w 752994"/>
                <a:gd name="connsiteY244" fmla="*/ 516516 h 1333436"/>
                <a:gd name="connsiteX245" fmla="*/ 18773 w 752994"/>
                <a:gd name="connsiteY245" fmla="*/ 514272 h 1333436"/>
                <a:gd name="connsiteX246" fmla="*/ 23077 w 752994"/>
                <a:gd name="connsiteY246" fmla="*/ 506127 h 1333436"/>
                <a:gd name="connsiteX247" fmla="*/ 23884 w 752994"/>
                <a:gd name="connsiteY247" fmla="*/ 502261 h 1333436"/>
                <a:gd name="connsiteX248" fmla="*/ 23692 w 752994"/>
                <a:gd name="connsiteY248" fmla="*/ 496738 h 1333436"/>
                <a:gd name="connsiteX249" fmla="*/ 30013 w 752994"/>
                <a:gd name="connsiteY249" fmla="*/ 486556 h 1333436"/>
                <a:gd name="connsiteX250" fmla="*/ 36546 w 752994"/>
                <a:gd name="connsiteY250" fmla="*/ 470230 h 1333436"/>
                <a:gd name="connsiteX251" fmla="*/ 36546 w 752994"/>
                <a:gd name="connsiteY251" fmla="*/ 462671 h 1333436"/>
                <a:gd name="connsiteX252" fmla="*/ 36335 w 752994"/>
                <a:gd name="connsiteY252" fmla="*/ 461670 h 1333436"/>
                <a:gd name="connsiteX253" fmla="*/ 35931 w 752994"/>
                <a:gd name="connsiteY253" fmla="*/ 453110 h 1333436"/>
                <a:gd name="connsiteX254" fmla="*/ 38583 w 752994"/>
                <a:gd name="connsiteY254" fmla="*/ 442514 h 1333436"/>
                <a:gd name="connsiteX255" fmla="*/ 41043 w 752994"/>
                <a:gd name="connsiteY255" fmla="*/ 436991 h 1333436"/>
                <a:gd name="connsiteX256" fmla="*/ 41650 w 752994"/>
                <a:gd name="connsiteY256" fmla="*/ 437186 h 1333436"/>
                <a:gd name="connsiteX257" fmla="*/ 41239 w 752994"/>
                <a:gd name="connsiteY257" fmla="*/ 436549 h 1333436"/>
                <a:gd name="connsiteX258" fmla="*/ 37778 w 752994"/>
                <a:gd name="connsiteY258" fmla="*/ 433894 h 1333436"/>
                <a:gd name="connsiteX259" fmla="*/ 37169 w 752994"/>
                <a:gd name="connsiteY259" fmla="*/ 432261 h 1333436"/>
                <a:gd name="connsiteX260" fmla="*/ 37365 w 752994"/>
                <a:gd name="connsiteY260" fmla="*/ 429198 h 1333436"/>
                <a:gd name="connsiteX261" fmla="*/ 36756 w 752994"/>
                <a:gd name="connsiteY261" fmla="*/ 422272 h 1333436"/>
                <a:gd name="connsiteX262" fmla="*/ 36952 w 752994"/>
                <a:gd name="connsiteY262" fmla="*/ 418800 h 1333436"/>
                <a:gd name="connsiteX263" fmla="*/ 36756 w 752994"/>
                <a:gd name="connsiteY263" fmla="*/ 412487 h 1333436"/>
                <a:gd name="connsiteX264" fmla="*/ 40433 w 752994"/>
                <a:gd name="connsiteY264" fmla="*/ 406174 h 1333436"/>
                <a:gd name="connsiteX265" fmla="*/ 44720 w 752994"/>
                <a:gd name="connsiteY265" fmla="*/ 399435 h 1333436"/>
                <a:gd name="connsiteX266" fmla="*/ 44110 w 752994"/>
                <a:gd name="connsiteY266" fmla="*/ 389651 h 1333436"/>
                <a:gd name="connsiteX267" fmla="*/ 43894 w 752994"/>
                <a:gd name="connsiteY267" fmla="*/ 378437 h 1333436"/>
                <a:gd name="connsiteX268" fmla="*/ 47158 w 752994"/>
                <a:gd name="connsiteY268" fmla="*/ 371102 h 1333436"/>
                <a:gd name="connsiteX269" fmla="*/ 55731 w 752994"/>
                <a:gd name="connsiteY269" fmla="*/ 360909 h 1333436"/>
                <a:gd name="connsiteX270" fmla="*/ 57580 w 752994"/>
                <a:gd name="connsiteY270" fmla="*/ 355804 h 1333436"/>
                <a:gd name="connsiteX271" fmla="*/ 62673 w 752994"/>
                <a:gd name="connsiteY271" fmla="*/ 349695 h 1333436"/>
                <a:gd name="connsiteX272" fmla="*/ 65937 w 752994"/>
                <a:gd name="connsiteY272" fmla="*/ 348470 h 1333436"/>
                <a:gd name="connsiteX273" fmla="*/ 68395 w 752994"/>
                <a:gd name="connsiteY273" fmla="*/ 348674 h 1333436"/>
                <a:gd name="connsiteX274" fmla="*/ 70224 w 752994"/>
                <a:gd name="connsiteY274" fmla="*/ 347449 h 1333436"/>
                <a:gd name="connsiteX275" fmla="*/ 67785 w 752994"/>
                <a:gd name="connsiteY275" fmla="*/ 345203 h 1333436"/>
                <a:gd name="connsiteX276" fmla="*/ 65524 w 752994"/>
                <a:gd name="connsiteY276" fmla="*/ 343178 h 1333436"/>
                <a:gd name="connsiteX277" fmla="*/ 73095 w 752994"/>
                <a:gd name="connsiteY277" fmla="*/ 333376 h 1333436"/>
                <a:gd name="connsiteX278" fmla="*/ 73291 w 752994"/>
                <a:gd name="connsiteY278" fmla="*/ 333376 h 1333436"/>
                <a:gd name="connsiteX279" fmla="*/ 77991 w 752994"/>
                <a:gd name="connsiteY279" fmla="*/ 325838 h 1333436"/>
                <a:gd name="connsiteX280" fmla="*/ 82671 w 752994"/>
                <a:gd name="connsiteY280" fmla="*/ 313619 h 1333436"/>
                <a:gd name="connsiteX281" fmla="*/ 87980 w 752994"/>
                <a:gd name="connsiteY281" fmla="*/ 303018 h 1333436"/>
                <a:gd name="connsiteX282" fmla="*/ 92267 w 752994"/>
                <a:gd name="connsiteY282" fmla="*/ 291191 h 1333436"/>
                <a:gd name="connsiteX283" fmla="*/ 96553 w 752994"/>
                <a:gd name="connsiteY283" fmla="*/ 281202 h 1333436"/>
                <a:gd name="connsiteX284" fmla="*/ 99621 w 752994"/>
                <a:gd name="connsiteY284" fmla="*/ 274481 h 1333436"/>
                <a:gd name="connsiteX285" fmla="*/ 103082 w 752994"/>
                <a:gd name="connsiteY285" fmla="*/ 262450 h 1333436"/>
                <a:gd name="connsiteX286" fmla="*/ 107172 w 752994"/>
                <a:gd name="connsiteY286" fmla="*/ 254299 h 1333436"/>
                <a:gd name="connsiteX287" fmla="*/ 112481 w 752994"/>
                <a:gd name="connsiteY287" fmla="*/ 243697 h 1333436"/>
                <a:gd name="connsiteX288" fmla="*/ 117181 w 752994"/>
                <a:gd name="connsiteY288" fmla="*/ 232279 h 1333436"/>
                <a:gd name="connsiteX289" fmla="*/ 125951 w 752994"/>
                <a:gd name="connsiteY289" fmla="*/ 217389 h 1333436"/>
                <a:gd name="connsiteX290" fmla="*/ 136156 w 752994"/>
                <a:gd name="connsiteY290" fmla="*/ 202925 h 1333436"/>
                <a:gd name="connsiteX291" fmla="*/ 138811 w 752994"/>
                <a:gd name="connsiteY291" fmla="*/ 183339 h 1333436"/>
                <a:gd name="connsiteX292" fmla="*/ 148801 w 752994"/>
                <a:gd name="connsiteY292" fmla="*/ 167445 h 1333436"/>
                <a:gd name="connsiteX293" fmla="*/ 159616 w 752994"/>
                <a:gd name="connsiteY293" fmla="*/ 170712 h 1333436"/>
                <a:gd name="connsiteX294" fmla="*/ 173105 w 752994"/>
                <a:gd name="connsiteY294" fmla="*/ 175188 h 1333436"/>
                <a:gd name="connsiteX295" fmla="*/ 175347 w 752994"/>
                <a:gd name="connsiteY295" fmla="*/ 175188 h 1333436"/>
                <a:gd name="connsiteX296" fmla="*/ 175347 w 752994"/>
                <a:gd name="connsiteY296" fmla="*/ 173758 h 1333436"/>
                <a:gd name="connsiteX297" fmla="*/ 184975 w 752994"/>
                <a:gd name="connsiteY297" fmla="*/ 187393 h 1333436"/>
                <a:gd name="connsiteX298" fmla="*/ 184762 w 752994"/>
                <a:gd name="connsiteY298" fmla="*/ 184637 h 1333436"/>
                <a:gd name="connsiteX299" fmla="*/ 174971 w 752994"/>
                <a:gd name="connsiteY299" fmla="*/ 170774 h 1333436"/>
                <a:gd name="connsiteX300" fmla="*/ 174971 w 752994"/>
                <a:gd name="connsiteY300" fmla="*/ 169550 h 1333436"/>
                <a:gd name="connsiteX301" fmla="*/ 158851 w 752994"/>
                <a:gd name="connsiteY301" fmla="*/ 156924 h 1333436"/>
                <a:gd name="connsiteX302" fmla="*/ 147025 w 752994"/>
                <a:gd name="connsiteY302" fmla="*/ 145709 h 1333436"/>
                <a:gd name="connsiteX303" fmla="*/ 154364 w 752994"/>
                <a:gd name="connsiteY303" fmla="*/ 136335 h 1333436"/>
                <a:gd name="connsiteX304" fmla="*/ 161511 w 752994"/>
                <a:gd name="connsiteY304" fmla="*/ 131042 h 1333436"/>
                <a:gd name="connsiteX305" fmla="*/ 160902 w 752994"/>
                <a:gd name="connsiteY305" fmla="*/ 128384 h 1333436"/>
                <a:gd name="connsiteX306" fmla="*/ 160277 w 752994"/>
                <a:gd name="connsiteY306" fmla="*/ 127778 h 1333436"/>
                <a:gd name="connsiteX307" fmla="*/ 154973 w 752994"/>
                <a:gd name="connsiteY307" fmla="*/ 122077 h 1333436"/>
                <a:gd name="connsiteX308" fmla="*/ 160277 w 752994"/>
                <a:gd name="connsiteY308" fmla="*/ 115140 h 1333436"/>
                <a:gd name="connsiteX309" fmla="*/ 165181 w 752994"/>
                <a:gd name="connsiteY309" fmla="*/ 108215 h 1333436"/>
                <a:gd name="connsiteX310" fmla="*/ 161303 w 752994"/>
                <a:gd name="connsiteY310" fmla="*/ 104146 h 1333436"/>
                <a:gd name="connsiteX311" fmla="*/ 157842 w 752994"/>
                <a:gd name="connsiteY311" fmla="*/ 104542 h 1333436"/>
                <a:gd name="connsiteX312" fmla="*/ 157024 w 752994"/>
                <a:gd name="connsiteY312" fmla="*/ 102304 h 1333436"/>
                <a:gd name="connsiteX313" fmla="*/ 160694 w 752994"/>
                <a:gd name="connsiteY313" fmla="*/ 55437 h 1333436"/>
                <a:gd name="connsiteX314" fmla="*/ 160486 w 752994"/>
                <a:gd name="connsiteY314" fmla="*/ 31991 h 1333436"/>
                <a:gd name="connsiteX315" fmla="*/ 164972 w 752994"/>
                <a:gd name="connsiteY315" fmla="*/ 18141 h 1333436"/>
                <a:gd name="connsiteX316" fmla="*/ 171911 w 752994"/>
                <a:gd name="connsiteY316" fmla="*/ 11204 h 1333436"/>
                <a:gd name="connsiteX317" fmla="*/ 187406 w 752994"/>
                <a:gd name="connsiteY317" fmla="*/ 21801 h 1333436"/>
                <a:gd name="connsiteX318" fmla="*/ 210866 w 752994"/>
                <a:gd name="connsiteY318" fmla="*/ 37086 h 1333436"/>
                <a:gd name="connsiteX319" fmla="*/ 219230 w 752994"/>
                <a:gd name="connsiteY319" fmla="*/ 41166 h 1333436"/>
                <a:gd name="connsiteX320" fmla="*/ 226778 w 752994"/>
                <a:gd name="connsiteY320" fmla="*/ 47486 h 1333436"/>
                <a:gd name="connsiteX321" fmla="*/ 236152 w 752994"/>
                <a:gd name="connsiteY321" fmla="*/ 52370 h 1333436"/>
                <a:gd name="connsiteX322" fmla="*/ 239629 w 752994"/>
                <a:gd name="connsiteY322" fmla="*/ 58491 h 1333436"/>
                <a:gd name="connsiteX323" fmla="*/ 239629 w 752994"/>
                <a:gd name="connsiteY323" fmla="*/ 63376 h 1333436"/>
                <a:gd name="connsiteX324" fmla="*/ 236568 w 752994"/>
                <a:gd name="connsiteY324" fmla="*/ 67457 h 1333436"/>
                <a:gd name="connsiteX325" fmla="*/ 231264 w 752994"/>
                <a:gd name="connsiteY325" fmla="*/ 69905 h 1333436"/>
                <a:gd name="connsiteX326" fmla="*/ 216778 w 752994"/>
                <a:gd name="connsiteY326" fmla="*/ 82741 h 1333436"/>
                <a:gd name="connsiteX327" fmla="*/ 214134 w 752994"/>
                <a:gd name="connsiteY327" fmla="*/ 93536 h 1333436"/>
                <a:gd name="connsiteX328" fmla="*/ 214535 w 752994"/>
                <a:gd name="connsiteY328" fmla="*/ 96801 h 1333436"/>
                <a:gd name="connsiteX329" fmla="*/ 216378 w 752994"/>
                <a:gd name="connsiteY329" fmla="*/ 96801 h 1333436"/>
                <a:gd name="connsiteX330" fmla="*/ 230046 w 752994"/>
                <a:gd name="connsiteY330" fmla="*/ 85387 h 1333436"/>
                <a:gd name="connsiteX331" fmla="*/ 243298 w 752994"/>
                <a:gd name="connsiteY331" fmla="*/ 75198 h 1333436"/>
                <a:gd name="connsiteX332" fmla="*/ 246760 w 752994"/>
                <a:gd name="connsiteY332" fmla="*/ 77646 h 1333436"/>
                <a:gd name="connsiteX333" fmla="*/ 255541 w 752994"/>
                <a:gd name="connsiteY333" fmla="*/ 63376 h 1333436"/>
                <a:gd name="connsiteX334" fmla="*/ 259611 w 752994"/>
                <a:gd name="connsiteY334" fmla="*/ 43405 h 1333436"/>
                <a:gd name="connsiteX335" fmla="*/ 256967 w 752994"/>
                <a:gd name="connsiteY335" fmla="*/ 38520 h 1333436"/>
                <a:gd name="connsiteX336" fmla="*/ 253906 w 752994"/>
                <a:gd name="connsiteY336" fmla="*/ 34242 h 1333436"/>
                <a:gd name="connsiteX337" fmla="*/ 256967 w 752994"/>
                <a:gd name="connsiteY337" fmla="*/ 30161 h 1333436"/>
                <a:gd name="connsiteX338" fmla="*/ 262063 w 752994"/>
                <a:gd name="connsiteY338" fmla="*/ 27712 h 1333436"/>
                <a:gd name="connsiteX339" fmla="*/ 264915 w 752994"/>
                <a:gd name="connsiteY339" fmla="*/ 23026 h 1333436"/>
                <a:gd name="connsiteX340" fmla="*/ 267976 w 752994"/>
                <a:gd name="connsiteY340" fmla="*/ 22618 h 1333436"/>
                <a:gd name="connsiteX341" fmla="*/ 270427 w 752994"/>
                <a:gd name="connsiteY341" fmla="*/ 20787 h 1333436"/>
                <a:gd name="connsiteX342" fmla="*/ 263088 w 752994"/>
                <a:gd name="connsiteY342" fmla="*/ 13652 h 1333436"/>
                <a:gd name="connsiteX343" fmla="*/ 255541 w 752994"/>
                <a:gd name="connsiteY343" fmla="*/ 3055 h 1333436"/>
                <a:gd name="connsiteX344" fmla="*/ 256358 w 752994"/>
                <a:gd name="connsiteY344" fmla="*/ 1224 h 1333436"/>
                <a:gd name="connsiteX345" fmla="*/ 257159 w 752994"/>
                <a:gd name="connsiteY345"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381379 w 752994"/>
                <a:gd name="connsiteY30" fmla="*/ 252303 h 1333436"/>
                <a:gd name="connsiteX31" fmla="*/ 365258 w 752994"/>
                <a:gd name="connsiteY31" fmla="*/ 245774 h 1333436"/>
                <a:gd name="connsiteX32" fmla="*/ 350789 w 752994"/>
                <a:gd name="connsiteY32" fmla="*/ 244352 h 1333436"/>
                <a:gd name="connsiteX33" fmla="*/ 340789 w 752994"/>
                <a:gd name="connsiteY33" fmla="*/ 243536 h 1333436"/>
                <a:gd name="connsiteX34" fmla="*/ 333034 w 752994"/>
                <a:gd name="connsiteY34" fmla="*/ 240271 h 1333436"/>
                <a:gd name="connsiteX35" fmla="*/ 323868 w 752994"/>
                <a:gd name="connsiteY35" fmla="*/ 241495 h 1333436"/>
                <a:gd name="connsiteX36" fmla="*/ 309783 w 752994"/>
                <a:gd name="connsiteY36" fmla="*/ 243536 h 1333436"/>
                <a:gd name="connsiteX37" fmla="*/ 297140 w 752994"/>
                <a:gd name="connsiteY37" fmla="*/ 245576 h 1333436"/>
                <a:gd name="connsiteX38" fmla="*/ 280827 w 752994"/>
                <a:gd name="connsiteY38" fmla="*/ 242720 h 1333436"/>
                <a:gd name="connsiteX39" fmla="*/ 274497 w 752994"/>
                <a:gd name="connsiteY39" fmla="*/ 238441 h 1333436"/>
                <a:gd name="connsiteX40" fmla="*/ 269001 w 752994"/>
                <a:gd name="connsiteY40" fmla="*/ 240679 h 1333436"/>
                <a:gd name="connsiteX41" fmla="*/ 262880 w 752994"/>
                <a:gd name="connsiteY41" fmla="*/ 243128 h 1333436"/>
                <a:gd name="connsiteX42" fmla="*/ 260028 w 752994"/>
                <a:gd name="connsiteY42" fmla="*/ 242720 h 1333436"/>
                <a:gd name="connsiteX43" fmla="*/ 247994 w 752994"/>
                <a:gd name="connsiteY43" fmla="*/ 241693 h 1333436"/>
                <a:gd name="connsiteX44" fmla="*/ 242081 w 752994"/>
                <a:gd name="connsiteY44" fmla="*/ 234162 h 1333436"/>
                <a:gd name="connsiteX45" fmla="*/ 235142 w 752994"/>
                <a:gd name="connsiteY45" fmla="*/ 229476 h 1333436"/>
                <a:gd name="connsiteX46" fmla="*/ 224742 w 752994"/>
                <a:gd name="connsiteY46" fmla="*/ 226817 h 1333436"/>
                <a:gd name="connsiteX47" fmla="*/ 216778 w 752994"/>
                <a:gd name="connsiteY47" fmla="*/ 229068 h 1333436"/>
                <a:gd name="connsiteX48" fmla="*/ 202709 w 752994"/>
                <a:gd name="connsiteY48" fmla="*/ 230898 h 1333436"/>
                <a:gd name="connsiteX49" fmla="*/ 195162 w 752994"/>
                <a:gd name="connsiteY49" fmla="*/ 228857 h 1333436"/>
                <a:gd name="connsiteX50" fmla="*/ 188223 w 752994"/>
                <a:gd name="connsiteY50" fmla="*/ 223973 h 1333436"/>
                <a:gd name="connsiteX51" fmla="*/ 185163 w 752994"/>
                <a:gd name="connsiteY51" fmla="*/ 219484 h 1333436"/>
                <a:gd name="connsiteX52" fmla="*/ 184180 w 752994"/>
                <a:gd name="connsiteY52" fmla="*/ 213866 h 1333436"/>
                <a:gd name="connsiteX53" fmla="*/ 257159 w 752994"/>
                <a:gd name="connsiteY53" fmla="*/ 0 h 1333436"/>
                <a:gd name="connsiteX54" fmla="*/ 493147 w 752994"/>
                <a:gd name="connsiteY54" fmla="*/ 73157 h 1333436"/>
                <a:gd name="connsiteX55" fmla="*/ 492970 w 752994"/>
                <a:gd name="connsiteY55" fmla="*/ 73792 h 1333436"/>
                <a:gd name="connsiteX56" fmla="*/ 525816 w 752994"/>
                <a:gd name="connsiteY56" fmla="*/ 82491 h 1333436"/>
                <a:gd name="connsiteX57" fmla="*/ 520098 w 752994"/>
                <a:gd name="connsiteY57" fmla="*/ 111245 h 1333436"/>
                <a:gd name="connsiteX58" fmla="*/ 512552 w 752994"/>
                <a:gd name="connsiteY58" fmla="*/ 143854 h 1333436"/>
                <a:gd name="connsiteX59" fmla="*/ 517849 w 752994"/>
                <a:gd name="connsiteY59" fmla="*/ 157740 h 1333436"/>
                <a:gd name="connsiteX60" fmla="*/ 523160 w 752994"/>
                <a:gd name="connsiteY60" fmla="*/ 172009 h 1333436"/>
                <a:gd name="connsiteX61" fmla="*/ 521535 w 752994"/>
                <a:gd name="connsiteY61" fmla="*/ 178928 h 1333436"/>
                <a:gd name="connsiteX62" fmla="*/ 520098 w 752994"/>
                <a:gd name="connsiteY62" fmla="*/ 186279 h 1333436"/>
                <a:gd name="connsiteX63" fmla="*/ 526019 w 752994"/>
                <a:gd name="connsiteY63" fmla="*/ 193629 h 1333436"/>
                <a:gd name="connsiteX64" fmla="*/ 537251 w 752994"/>
                <a:gd name="connsiteY64" fmla="*/ 206270 h 1333436"/>
                <a:gd name="connsiteX65" fmla="*/ 542765 w 752994"/>
                <a:gd name="connsiteY65" fmla="*/ 217475 h 1333436"/>
                <a:gd name="connsiteX66" fmla="*/ 546857 w 752994"/>
                <a:gd name="connsiteY66" fmla="*/ 230930 h 1333436"/>
                <a:gd name="connsiteX67" fmla="*/ 549499 w 752994"/>
                <a:gd name="connsiteY67" fmla="*/ 235622 h 1333436"/>
                <a:gd name="connsiteX68" fmla="*/ 553388 w 752994"/>
                <a:gd name="connsiteY68" fmla="*/ 240722 h 1333436"/>
                <a:gd name="connsiteX69" fmla="*/ 557465 w 752994"/>
                <a:gd name="connsiteY69" fmla="*/ 246037 h 1333436"/>
                <a:gd name="connsiteX70" fmla="*/ 561761 w 752994"/>
                <a:gd name="connsiteY70" fmla="*/ 248671 h 1333436"/>
                <a:gd name="connsiteX71" fmla="*/ 567478 w 752994"/>
                <a:gd name="connsiteY71" fmla="*/ 247665 h 1333436"/>
                <a:gd name="connsiteX72" fmla="*/ 569931 w 752994"/>
                <a:gd name="connsiteY72" fmla="*/ 249293 h 1333436"/>
                <a:gd name="connsiteX73" fmla="*/ 570540 w 752994"/>
                <a:gd name="connsiteY73" fmla="*/ 251951 h 1333436"/>
                <a:gd name="connsiteX74" fmla="*/ 561964 w 752994"/>
                <a:gd name="connsiteY74" fmla="*/ 267656 h 1333436"/>
                <a:gd name="connsiteX75" fmla="*/ 553591 w 752994"/>
                <a:gd name="connsiteY75" fmla="*/ 289659 h 1333436"/>
                <a:gd name="connsiteX76" fmla="*/ 554810 w 752994"/>
                <a:gd name="connsiteY76" fmla="*/ 292939 h 1333436"/>
                <a:gd name="connsiteX77" fmla="*/ 556246 w 752994"/>
                <a:gd name="connsiteY77" fmla="*/ 299260 h 1333436"/>
                <a:gd name="connsiteX78" fmla="*/ 552778 w 752994"/>
                <a:gd name="connsiteY78" fmla="*/ 301917 h 1333436"/>
                <a:gd name="connsiteX79" fmla="*/ 549295 w 752994"/>
                <a:gd name="connsiteY79" fmla="*/ 306993 h 1333436"/>
                <a:gd name="connsiteX80" fmla="*/ 547061 w 752994"/>
                <a:gd name="connsiteY80" fmla="*/ 313122 h 1333436"/>
                <a:gd name="connsiteX81" fmla="*/ 544811 w 752994"/>
                <a:gd name="connsiteY81" fmla="*/ 316593 h 1333436"/>
                <a:gd name="connsiteX82" fmla="*/ 549919 w 752994"/>
                <a:gd name="connsiteY82" fmla="*/ 322698 h 1333436"/>
                <a:gd name="connsiteX83" fmla="*/ 553184 w 752994"/>
                <a:gd name="connsiteY83" fmla="*/ 325955 h 1333436"/>
                <a:gd name="connsiteX84" fmla="*/ 555840 w 752994"/>
                <a:gd name="connsiteY84" fmla="*/ 328205 h 1333436"/>
                <a:gd name="connsiteX85" fmla="*/ 574212 w 752994"/>
                <a:gd name="connsiteY85" fmla="*/ 318820 h 1333436"/>
                <a:gd name="connsiteX86" fmla="*/ 579523 w 752994"/>
                <a:gd name="connsiteY86" fmla="*/ 326577 h 1333436"/>
                <a:gd name="connsiteX87" fmla="*/ 580539 w 752994"/>
                <a:gd name="connsiteY87" fmla="*/ 334933 h 1333436"/>
                <a:gd name="connsiteX88" fmla="*/ 579726 w 752994"/>
                <a:gd name="connsiteY88" fmla="*/ 343097 h 1333436"/>
                <a:gd name="connsiteX89" fmla="*/ 581366 w 752994"/>
                <a:gd name="connsiteY89" fmla="*/ 350231 h 1333436"/>
                <a:gd name="connsiteX90" fmla="*/ 586256 w 752994"/>
                <a:gd name="connsiteY90" fmla="*/ 355930 h 1333436"/>
                <a:gd name="connsiteX91" fmla="*/ 589536 w 752994"/>
                <a:gd name="connsiteY91" fmla="*/ 362059 h 1333436"/>
                <a:gd name="connsiteX92" fmla="*/ 588099 w 752994"/>
                <a:gd name="connsiteY92" fmla="*/ 369600 h 1333436"/>
                <a:gd name="connsiteX93" fmla="*/ 586459 w 752994"/>
                <a:gd name="connsiteY93" fmla="*/ 377357 h 1333436"/>
                <a:gd name="connsiteX94" fmla="*/ 588709 w 752994"/>
                <a:gd name="connsiteY94" fmla="*/ 381835 h 1333436"/>
                <a:gd name="connsiteX95" fmla="*/ 595036 w 752994"/>
                <a:gd name="connsiteY95" fmla="*/ 382457 h 1333436"/>
                <a:gd name="connsiteX96" fmla="*/ 599331 w 752994"/>
                <a:gd name="connsiteY96" fmla="*/ 385306 h 1333436"/>
                <a:gd name="connsiteX97" fmla="*/ 601987 w 752994"/>
                <a:gd name="connsiteY97" fmla="*/ 391004 h 1333436"/>
                <a:gd name="connsiteX98" fmla="*/ 602799 w 752994"/>
                <a:gd name="connsiteY98" fmla="*/ 404076 h 1333436"/>
                <a:gd name="connsiteX99" fmla="*/ 606892 w 752994"/>
                <a:gd name="connsiteY99" fmla="*/ 415688 h 1333436"/>
                <a:gd name="connsiteX100" fmla="*/ 610563 w 752994"/>
                <a:gd name="connsiteY100" fmla="*/ 412217 h 1333436"/>
                <a:gd name="connsiteX101" fmla="*/ 617920 w 752994"/>
                <a:gd name="connsiteY101" fmla="*/ 408769 h 1333436"/>
                <a:gd name="connsiteX102" fmla="*/ 624654 w 752994"/>
                <a:gd name="connsiteY102" fmla="*/ 411211 h 1333436"/>
                <a:gd name="connsiteX103" fmla="*/ 634652 w 752994"/>
                <a:gd name="connsiteY103" fmla="*/ 410182 h 1333436"/>
                <a:gd name="connsiteX104" fmla="*/ 640573 w 752994"/>
                <a:gd name="connsiteY104" fmla="*/ 407739 h 1333436"/>
                <a:gd name="connsiteX105" fmla="*/ 646711 w 752994"/>
                <a:gd name="connsiteY105" fmla="*/ 410589 h 1333436"/>
                <a:gd name="connsiteX106" fmla="*/ 650383 w 752994"/>
                <a:gd name="connsiteY106" fmla="*/ 410589 h 1333436"/>
                <a:gd name="connsiteX107" fmla="*/ 654257 w 752994"/>
                <a:gd name="connsiteY107" fmla="*/ 411618 h 1333436"/>
                <a:gd name="connsiteX108" fmla="*/ 656913 w 752994"/>
                <a:gd name="connsiteY108" fmla="*/ 413653 h 1333436"/>
                <a:gd name="connsiteX109" fmla="*/ 660802 w 752994"/>
                <a:gd name="connsiteY109" fmla="*/ 415090 h 1333436"/>
                <a:gd name="connsiteX110" fmla="*/ 669581 w 752994"/>
                <a:gd name="connsiteY110" fmla="*/ 415904 h 1333436"/>
                <a:gd name="connsiteX111" fmla="*/ 672237 w 752994"/>
                <a:gd name="connsiteY111" fmla="*/ 415688 h 1333436"/>
                <a:gd name="connsiteX112" fmla="*/ 675705 w 752994"/>
                <a:gd name="connsiteY112" fmla="*/ 409367 h 1333436"/>
                <a:gd name="connsiteX113" fmla="*/ 679986 w 752994"/>
                <a:gd name="connsiteY113" fmla="*/ 403238 h 1333436"/>
                <a:gd name="connsiteX114" fmla="*/ 693264 w 752994"/>
                <a:gd name="connsiteY114" fmla="*/ 419567 h 1333436"/>
                <a:gd name="connsiteX115" fmla="*/ 688563 w 752994"/>
                <a:gd name="connsiteY115" fmla="*/ 448321 h 1333436"/>
                <a:gd name="connsiteX116" fmla="*/ 663949 w 752994"/>
                <a:gd name="connsiteY116" fmla="*/ 590165 h 1333436"/>
                <a:gd name="connsiteX117" fmla="*/ 666304 w 752994"/>
                <a:gd name="connsiteY117" fmla="*/ 590504 h 1333436"/>
                <a:gd name="connsiteX118" fmla="*/ 655288 w 752994"/>
                <a:gd name="connsiteY118" fmla="*/ 656178 h 1333436"/>
                <a:gd name="connsiteX119" fmla="*/ 681808 w 752994"/>
                <a:gd name="connsiteY119" fmla="*/ 662301 h 1333436"/>
                <a:gd name="connsiteX120" fmla="*/ 752994 w 752994"/>
                <a:gd name="connsiteY120" fmla="*/ 675560 h 1333436"/>
                <a:gd name="connsiteX121" fmla="*/ 714651 w 752994"/>
                <a:gd name="connsiteY121" fmla="*/ 946985 h 1333436"/>
                <a:gd name="connsiteX122" fmla="*/ 654533 w 752994"/>
                <a:gd name="connsiteY122" fmla="*/ 1333436 h 1333436"/>
                <a:gd name="connsiteX123" fmla="*/ 546831 w 752994"/>
                <a:gd name="connsiteY123" fmla="*/ 1317126 h 1333436"/>
                <a:gd name="connsiteX124" fmla="*/ 351227 w 752994"/>
                <a:gd name="connsiteY124" fmla="*/ 1194172 h 1333436"/>
                <a:gd name="connsiteX125" fmla="*/ 361011 w 752994"/>
                <a:gd name="connsiteY125" fmla="*/ 1182755 h 1333436"/>
                <a:gd name="connsiteX126" fmla="*/ 368981 w 752994"/>
                <a:gd name="connsiteY126" fmla="*/ 1182130 h 1333436"/>
                <a:gd name="connsiteX127" fmla="*/ 369571 w 752994"/>
                <a:gd name="connsiteY127" fmla="*/ 1181558 h 1333436"/>
                <a:gd name="connsiteX128" fmla="*/ 362372 w 752994"/>
                <a:gd name="connsiteY128" fmla="*/ 1182120 h 1333436"/>
                <a:gd name="connsiteX129" fmla="*/ 229464 w 752994"/>
                <a:gd name="connsiteY129" fmla="*/ 1161721 h 1333436"/>
                <a:gd name="connsiteX130" fmla="*/ 227427 w 752994"/>
                <a:gd name="connsiteY130" fmla="*/ 1157269 h 1333436"/>
                <a:gd name="connsiteX131" fmla="*/ 224967 w 752994"/>
                <a:gd name="connsiteY131" fmla="*/ 1152575 h 1333436"/>
                <a:gd name="connsiteX132" fmla="*/ 225582 w 752994"/>
                <a:gd name="connsiteY132" fmla="*/ 1144808 h 1333436"/>
                <a:gd name="connsiteX133" fmla="*/ 227215 w 752994"/>
                <a:gd name="connsiteY133" fmla="*/ 1135834 h 1333436"/>
                <a:gd name="connsiteX134" fmla="*/ 227215 w 752994"/>
                <a:gd name="connsiteY134" fmla="*/ 1134212 h 1333436"/>
                <a:gd name="connsiteX135" fmla="*/ 225179 w 752994"/>
                <a:gd name="connsiteY135" fmla="*/ 1114020 h 1333436"/>
                <a:gd name="connsiteX136" fmla="*/ 217839 w 752994"/>
                <a:gd name="connsiteY136" fmla="*/ 1100352 h 1333436"/>
                <a:gd name="connsiteX137" fmla="*/ 199661 w 752994"/>
                <a:gd name="connsiteY137" fmla="*/ 1076502 h 1333436"/>
                <a:gd name="connsiteX138" fmla="*/ 196395 w 752994"/>
                <a:gd name="connsiteY138" fmla="*/ 1071807 h 1333436"/>
                <a:gd name="connsiteX139" fmla="*/ 190880 w 752994"/>
                <a:gd name="connsiteY139" fmla="*/ 1067527 h 1333436"/>
                <a:gd name="connsiteX140" fmla="*/ 187210 w 752994"/>
                <a:gd name="connsiteY140" fmla="*/ 1068735 h 1333436"/>
                <a:gd name="connsiteX141" fmla="*/ 180062 w 752994"/>
                <a:gd name="connsiteY141" fmla="*/ 1066699 h 1333436"/>
                <a:gd name="connsiteX142" fmla="*/ 180466 w 752994"/>
                <a:gd name="connsiteY142" fmla="*/ 1053031 h 1333436"/>
                <a:gd name="connsiteX143" fmla="*/ 180062 w 752994"/>
                <a:gd name="connsiteY143" fmla="*/ 1045299 h 1333436"/>
                <a:gd name="connsiteX144" fmla="*/ 174144 w 752994"/>
                <a:gd name="connsiteY144" fmla="*/ 1044057 h 1333436"/>
                <a:gd name="connsiteX145" fmla="*/ 158426 w 752994"/>
                <a:gd name="connsiteY145" fmla="*/ 1042641 h 1333436"/>
                <a:gd name="connsiteX146" fmla="*/ 149857 w 752994"/>
                <a:gd name="connsiteY146" fmla="*/ 1035497 h 1333436"/>
                <a:gd name="connsiteX147" fmla="*/ 142497 w 752994"/>
                <a:gd name="connsiteY147" fmla="*/ 1028766 h 1333436"/>
                <a:gd name="connsiteX148" fmla="*/ 140864 w 752994"/>
                <a:gd name="connsiteY148" fmla="*/ 1020620 h 1333436"/>
                <a:gd name="connsiteX149" fmla="*/ 138212 w 752994"/>
                <a:gd name="connsiteY149" fmla="*/ 1013061 h 1333436"/>
                <a:gd name="connsiteX150" fmla="*/ 131064 w 752994"/>
                <a:gd name="connsiteY150" fmla="*/ 1007159 h 1333436"/>
                <a:gd name="connsiteX151" fmla="*/ 121264 w 752994"/>
                <a:gd name="connsiteY151" fmla="*/ 1005330 h 1333436"/>
                <a:gd name="connsiteX152" fmla="*/ 112483 w 752994"/>
                <a:gd name="connsiteY152" fmla="*/ 1001671 h 1333436"/>
                <a:gd name="connsiteX153" fmla="*/ 105950 w 752994"/>
                <a:gd name="connsiteY153" fmla="*/ 995734 h 1333436"/>
                <a:gd name="connsiteX154" fmla="*/ 97380 w 752994"/>
                <a:gd name="connsiteY154" fmla="*/ 994526 h 1333436"/>
                <a:gd name="connsiteX155" fmla="*/ 87984 w 752994"/>
                <a:gd name="connsiteY155" fmla="*/ 991040 h 1333436"/>
                <a:gd name="connsiteX156" fmla="*/ 80029 w 752994"/>
                <a:gd name="connsiteY156" fmla="*/ 985138 h 1333436"/>
                <a:gd name="connsiteX157" fmla="*/ 77166 w 752994"/>
                <a:gd name="connsiteY157" fmla="*/ 976164 h 1333436"/>
                <a:gd name="connsiteX158" fmla="*/ 79203 w 752994"/>
                <a:gd name="connsiteY158" fmla="*/ 970676 h 1333436"/>
                <a:gd name="connsiteX159" fmla="*/ 82470 w 752994"/>
                <a:gd name="connsiteY159" fmla="*/ 963117 h 1333436"/>
                <a:gd name="connsiteX160" fmla="*/ 84314 w 752994"/>
                <a:gd name="connsiteY160" fmla="*/ 954557 h 1333436"/>
                <a:gd name="connsiteX161" fmla="*/ 86351 w 752994"/>
                <a:gd name="connsiteY161" fmla="*/ 948033 h 1333436"/>
                <a:gd name="connsiteX162" fmla="*/ 86159 w 752994"/>
                <a:gd name="connsiteY162" fmla="*/ 942925 h 1333436"/>
                <a:gd name="connsiteX163" fmla="*/ 83085 w 752994"/>
                <a:gd name="connsiteY163" fmla="*/ 939853 h 1333436"/>
                <a:gd name="connsiteX164" fmla="*/ 77570 w 752994"/>
                <a:gd name="connsiteY164" fmla="*/ 937437 h 1333436"/>
                <a:gd name="connsiteX165" fmla="*/ 76763 w 752994"/>
                <a:gd name="connsiteY165" fmla="*/ 931915 h 1333436"/>
                <a:gd name="connsiteX166" fmla="*/ 78800 w 752994"/>
                <a:gd name="connsiteY166" fmla="*/ 927013 h 1333436"/>
                <a:gd name="connsiteX167" fmla="*/ 79626 w 752994"/>
                <a:gd name="connsiteY167" fmla="*/ 922526 h 1333436"/>
                <a:gd name="connsiteX168" fmla="*/ 77781 w 752994"/>
                <a:gd name="connsiteY168" fmla="*/ 919903 h 1333436"/>
                <a:gd name="connsiteX169" fmla="*/ 74303 w 752994"/>
                <a:gd name="connsiteY169" fmla="*/ 917418 h 1333436"/>
                <a:gd name="connsiteX170" fmla="*/ 71863 w 752994"/>
                <a:gd name="connsiteY170" fmla="*/ 915174 h 1333436"/>
                <a:gd name="connsiteX171" fmla="*/ 71652 w 752994"/>
                <a:gd name="connsiteY171" fmla="*/ 910894 h 1333436"/>
                <a:gd name="connsiteX172" fmla="*/ 70633 w 752994"/>
                <a:gd name="connsiteY172" fmla="*/ 906614 h 1333436"/>
                <a:gd name="connsiteX173" fmla="*/ 68385 w 752994"/>
                <a:gd name="connsiteY173" fmla="*/ 902749 h 1333436"/>
                <a:gd name="connsiteX174" fmla="*/ 61045 w 752994"/>
                <a:gd name="connsiteY174" fmla="*/ 889494 h 1333436"/>
                <a:gd name="connsiteX175" fmla="*/ 57971 w 752994"/>
                <a:gd name="connsiteY175" fmla="*/ 875619 h 1333436"/>
                <a:gd name="connsiteX176" fmla="*/ 52264 w 752994"/>
                <a:gd name="connsiteY176" fmla="*/ 862572 h 1333436"/>
                <a:gd name="connsiteX177" fmla="*/ 44309 w 752994"/>
                <a:gd name="connsiteY177" fmla="*/ 850561 h 1333436"/>
                <a:gd name="connsiteX178" fmla="*/ 45520 w 752994"/>
                <a:gd name="connsiteY178" fmla="*/ 827090 h 1333436"/>
                <a:gd name="connsiteX179" fmla="*/ 53071 w 752994"/>
                <a:gd name="connsiteY179" fmla="*/ 822396 h 1333436"/>
                <a:gd name="connsiteX180" fmla="*/ 57375 w 752994"/>
                <a:gd name="connsiteY180" fmla="*/ 816493 h 1333436"/>
                <a:gd name="connsiteX181" fmla="*/ 55319 w 752994"/>
                <a:gd name="connsiteY181" fmla="*/ 801617 h 1333436"/>
                <a:gd name="connsiteX182" fmla="*/ 48383 w 752994"/>
                <a:gd name="connsiteY182" fmla="*/ 802204 h 1333436"/>
                <a:gd name="connsiteX183" fmla="*/ 40428 w 752994"/>
                <a:gd name="connsiteY183" fmla="*/ 797924 h 1333436"/>
                <a:gd name="connsiteX184" fmla="*/ 37565 w 752994"/>
                <a:gd name="connsiteY184" fmla="*/ 790606 h 1333436"/>
                <a:gd name="connsiteX185" fmla="*/ 37565 w 752994"/>
                <a:gd name="connsiteY185" fmla="*/ 790399 h 1333436"/>
                <a:gd name="connsiteX186" fmla="*/ 35931 w 752994"/>
                <a:gd name="connsiteY186" fmla="*/ 785912 h 1333436"/>
                <a:gd name="connsiteX187" fmla="*/ 34510 w 752994"/>
                <a:gd name="connsiteY187" fmla="*/ 780597 h 1333436"/>
                <a:gd name="connsiteX188" fmla="*/ 36335 w 752994"/>
                <a:gd name="connsiteY188" fmla="*/ 774280 h 1333436"/>
                <a:gd name="connsiteX189" fmla="*/ 38180 w 752994"/>
                <a:gd name="connsiteY189" fmla="*/ 766721 h 1333436"/>
                <a:gd name="connsiteX190" fmla="*/ 37161 w 752994"/>
                <a:gd name="connsiteY190" fmla="*/ 760405 h 1333436"/>
                <a:gd name="connsiteX191" fmla="*/ 35720 w 752994"/>
                <a:gd name="connsiteY191" fmla="*/ 754710 h 1333436"/>
                <a:gd name="connsiteX192" fmla="*/ 36546 w 752994"/>
                <a:gd name="connsiteY192" fmla="*/ 748773 h 1333436"/>
                <a:gd name="connsiteX193" fmla="*/ 38372 w 752994"/>
                <a:gd name="connsiteY193" fmla="*/ 744528 h 1333436"/>
                <a:gd name="connsiteX194" fmla="*/ 41638 w 752994"/>
                <a:gd name="connsiteY194" fmla="*/ 744321 h 1333436"/>
                <a:gd name="connsiteX195" fmla="*/ 44713 w 752994"/>
                <a:gd name="connsiteY195" fmla="*/ 746357 h 1333436"/>
                <a:gd name="connsiteX196" fmla="*/ 47364 w 752994"/>
                <a:gd name="connsiteY196" fmla="*/ 753260 h 1333436"/>
                <a:gd name="connsiteX197" fmla="*/ 55742 w 752994"/>
                <a:gd name="connsiteY197" fmla="*/ 764305 h 1333436"/>
                <a:gd name="connsiteX198" fmla="*/ 56338 w 752994"/>
                <a:gd name="connsiteY198" fmla="*/ 761233 h 1333436"/>
                <a:gd name="connsiteX199" fmla="*/ 56145 w 752994"/>
                <a:gd name="connsiteY199" fmla="*/ 757368 h 1333436"/>
                <a:gd name="connsiteX200" fmla="*/ 54916 w 752994"/>
                <a:gd name="connsiteY200" fmla="*/ 748601 h 1333436"/>
                <a:gd name="connsiteX201" fmla="*/ 52879 w 752994"/>
                <a:gd name="connsiteY201" fmla="*/ 747358 h 1333436"/>
                <a:gd name="connsiteX202" fmla="*/ 51649 w 752994"/>
                <a:gd name="connsiteY202" fmla="*/ 745322 h 1333436"/>
                <a:gd name="connsiteX203" fmla="*/ 51649 w 752994"/>
                <a:gd name="connsiteY203" fmla="*/ 739212 h 1333436"/>
                <a:gd name="connsiteX204" fmla="*/ 50227 w 752994"/>
                <a:gd name="connsiteY204" fmla="*/ 734725 h 1333436"/>
                <a:gd name="connsiteX205" fmla="*/ 48786 w 752994"/>
                <a:gd name="connsiteY205" fmla="*/ 731446 h 1333436"/>
                <a:gd name="connsiteX206" fmla="*/ 54512 w 752994"/>
                <a:gd name="connsiteY206" fmla="*/ 726372 h 1333436"/>
                <a:gd name="connsiteX207" fmla="*/ 59815 w 752994"/>
                <a:gd name="connsiteY207" fmla="*/ 725130 h 1333436"/>
                <a:gd name="connsiteX208" fmla="*/ 58182 w 752994"/>
                <a:gd name="connsiteY208" fmla="*/ 722886 h 1333436"/>
                <a:gd name="connsiteX209" fmla="*/ 51861 w 752994"/>
                <a:gd name="connsiteY209" fmla="*/ 717985 h 1333436"/>
                <a:gd name="connsiteX210" fmla="*/ 46749 w 752994"/>
                <a:gd name="connsiteY210" fmla="*/ 729617 h 1333436"/>
                <a:gd name="connsiteX211" fmla="*/ 40831 w 752994"/>
                <a:gd name="connsiteY211" fmla="*/ 739212 h 1333436"/>
                <a:gd name="connsiteX212" fmla="*/ 39601 w 752994"/>
                <a:gd name="connsiteY212" fmla="*/ 738798 h 1333436"/>
                <a:gd name="connsiteX213" fmla="*/ 39409 w 752994"/>
                <a:gd name="connsiteY213" fmla="*/ 738591 h 1333436"/>
                <a:gd name="connsiteX214" fmla="*/ 37161 w 752994"/>
                <a:gd name="connsiteY214" fmla="*/ 734725 h 1333436"/>
                <a:gd name="connsiteX215" fmla="*/ 32665 w 752994"/>
                <a:gd name="connsiteY215" fmla="*/ 727788 h 1333436"/>
                <a:gd name="connsiteX216" fmla="*/ 26747 w 752994"/>
                <a:gd name="connsiteY216" fmla="*/ 719435 h 1333436"/>
                <a:gd name="connsiteX217" fmla="*/ 23884 w 752994"/>
                <a:gd name="connsiteY217" fmla="*/ 717812 h 1333436"/>
                <a:gd name="connsiteX218" fmla="*/ 24710 w 752994"/>
                <a:gd name="connsiteY218" fmla="*/ 709632 h 1333436"/>
                <a:gd name="connsiteX219" fmla="*/ 27554 w 752994"/>
                <a:gd name="connsiteY219" fmla="*/ 701694 h 1333436"/>
                <a:gd name="connsiteX220" fmla="*/ 24902 w 752994"/>
                <a:gd name="connsiteY220" fmla="*/ 696171 h 1333436"/>
                <a:gd name="connsiteX221" fmla="*/ 24095 w 752994"/>
                <a:gd name="connsiteY221" fmla="*/ 687818 h 1333436"/>
                <a:gd name="connsiteX222" fmla="*/ 22462 w 752994"/>
                <a:gd name="connsiteY222" fmla="*/ 682330 h 1333436"/>
                <a:gd name="connsiteX223" fmla="*/ 17159 w 752994"/>
                <a:gd name="connsiteY223" fmla="*/ 677636 h 1333436"/>
                <a:gd name="connsiteX224" fmla="*/ 14296 w 752994"/>
                <a:gd name="connsiteY224" fmla="*/ 671492 h 1333436"/>
                <a:gd name="connsiteX225" fmla="*/ 12451 w 752994"/>
                <a:gd name="connsiteY225" fmla="*/ 665797 h 1333436"/>
                <a:gd name="connsiteX226" fmla="*/ 5111 w 752994"/>
                <a:gd name="connsiteY226" fmla="*/ 654994 h 1333436"/>
                <a:gd name="connsiteX227" fmla="*/ 2248 w 752994"/>
                <a:gd name="connsiteY227" fmla="*/ 645605 h 1333436"/>
                <a:gd name="connsiteX228" fmla="*/ 4496 w 752994"/>
                <a:gd name="connsiteY228" fmla="*/ 640497 h 1333436"/>
                <a:gd name="connsiteX229" fmla="*/ 6744 w 752994"/>
                <a:gd name="connsiteY229" fmla="*/ 632765 h 1333436"/>
                <a:gd name="connsiteX230" fmla="*/ 6744 w 752994"/>
                <a:gd name="connsiteY230" fmla="*/ 628485 h 1333436"/>
                <a:gd name="connsiteX231" fmla="*/ 6533 w 752994"/>
                <a:gd name="connsiteY231" fmla="*/ 620305 h 1333436"/>
                <a:gd name="connsiteX232" fmla="*/ 7359 w 752994"/>
                <a:gd name="connsiteY232" fmla="*/ 611745 h 1333436"/>
                <a:gd name="connsiteX233" fmla="*/ 11836 w 752994"/>
                <a:gd name="connsiteY233" fmla="*/ 602978 h 1333436"/>
                <a:gd name="connsiteX234" fmla="*/ 15103 w 752994"/>
                <a:gd name="connsiteY234" fmla="*/ 591760 h 1333436"/>
                <a:gd name="connsiteX235" fmla="*/ 14488 w 752994"/>
                <a:gd name="connsiteY235" fmla="*/ 584029 h 1333436"/>
                <a:gd name="connsiteX236" fmla="*/ 13873 w 752994"/>
                <a:gd name="connsiteY236" fmla="*/ 578299 h 1333436"/>
                <a:gd name="connsiteX237" fmla="*/ 10626 w 752994"/>
                <a:gd name="connsiteY237" fmla="*/ 568531 h 1333436"/>
                <a:gd name="connsiteX238" fmla="*/ 3670 w 752994"/>
                <a:gd name="connsiteY238" fmla="*/ 558107 h 1333436"/>
                <a:gd name="connsiteX239" fmla="*/ 0 w 752994"/>
                <a:gd name="connsiteY239" fmla="*/ 551377 h 1333436"/>
                <a:gd name="connsiteX240" fmla="*/ 0 w 752994"/>
                <a:gd name="connsiteY240" fmla="*/ 550997 h 1333436"/>
                <a:gd name="connsiteX241" fmla="*/ 4900 w 752994"/>
                <a:gd name="connsiteY241" fmla="*/ 531220 h 1333436"/>
                <a:gd name="connsiteX242" fmla="*/ 13873 w 752994"/>
                <a:gd name="connsiteY242" fmla="*/ 520589 h 1333436"/>
                <a:gd name="connsiteX243" fmla="*/ 18369 w 752994"/>
                <a:gd name="connsiteY243" fmla="*/ 516516 h 1333436"/>
                <a:gd name="connsiteX244" fmla="*/ 18773 w 752994"/>
                <a:gd name="connsiteY244" fmla="*/ 514272 h 1333436"/>
                <a:gd name="connsiteX245" fmla="*/ 23077 w 752994"/>
                <a:gd name="connsiteY245" fmla="*/ 506127 h 1333436"/>
                <a:gd name="connsiteX246" fmla="*/ 23884 w 752994"/>
                <a:gd name="connsiteY246" fmla="*/ 502261 h 1333436"/>
                <a:gd name="connsiteX247" fmla="*/ 23692 w 752994"/>
                <a:gd name="connsiteY247" fmla="*/ 496738 h 1333436"/>
                <a:gd name="connsiteX248" fmla="*/ 30013 w 752994"/>
                <a:gd name="connsiteY248" fmla="*/ 486556 h 1333436"/>
                <a:gd name="connsiteX249" fmla="*/ 36546 w 752994"/>
                <a:gd name="connsiteY249" fmla="*/ 470230 h 1333436"/>
                <a:gd name="connsiteX250" fmla="*/ 36546 w 752994"/>
                <a:gd name="connsiteY250" fmla="*/ 462671 h 1333436"/>
                <a:gd name="connsiteX251" fmla="*/ 36335 w 752994"/>
                <a:gd name="connsiteY251" fmla="*/ 461670 h 1333436"/>
                <a:gd name="connsiteX252" fmla="*/ 35931 w 752994"/>
                <a:gd name="connsiteY252" fmla="*/ 453110 h 1333436"/>
                <a:gd name="connsiteX253" fmla="*/ 38583 w 752994"/>
                <a:gd name="connsiteY253" fmla="*/ 442514 h 1333436"/>
                <a:gd name="connsiteX254" fmla="*/ 41043 w 752994"/>
                <a:gd name="connsiteY254" fmla="*/ 436991 h 1333436"/>
                <a:gd name="connsiteX255" fmla="*/ 41650 w 752994"/>
                <a:gd name="connsiteY255" fmla="*/ 437186 h 1333436"/>
                <a:gd name="connsiteX256" fmla="*/ 41239 w 752994"/>
                <a:gd name="connsiteY256" fmla="*/ 436549 h 1333436"/>
                <a:gd name="connsiteX257" fmla="*/ 37778 w 752994"/>
                <a:gd name="connsiteY257" fmla="*/ 433894 h 1333436"/>
                <a:gd name="connsiteX258" fmla="*/ 37169 w 752994"/>
                <a:gd name="connsiteY258" fmla="*/ 432261 h 1333436"/>
                <a:gd name="connsiteX259" fmla="*/ 37365 w 752994"/>
                <a:gd name="connsiteY259" fmla="*/ 429198 h 1333436"/>
                <a:gd name="connsiteX260" fmla="*/ 36756 w 752994"/>
                <a:gd name="connsiteY260" fmla="*/ 422272 h 1333436"/>
                <a:gd name="connsiteX261" fmla="*/ 36952 w 752994"/>
                <a:gd name="connsiteY261" fmla="*/ 418800 h 1333436"/>
                <a:gd name="connsiteX262" fmla="*/ 36756 w 752994"/>
                <a:gd name="connsiteY262" fmla="*/ 412487 h 1333436"/>
                <a:gd name="connsiteX263" fmla="*/ 40433 w 752994"/>
                <a:gd name="connsiteY263" fmla="*/ 406174 h 1333436"/>
                <a:gd name="connsiteX264" fmla="*/ 44720 w 752994"/>
                <a:gd name="connsiteY264" fmla="*/ 399435 h 1333436"/>
                <a:gd name="connsiteX265" fmla="*/ 44110 w 752994"/>
                <a:gd name="connsiteY265" fmla="*/ 389651 h 1333436"/>
                <a:gd name="connsiteX266" fmla="*/ 43894 w 752994"/>
                <a:gd name="connsiteY266" fmla="*/ 378437 h 1333436"/>
                <a:gd name="connsiteX267" fmla="*/ 47158 w 752994"/>
                <a:gd name="connsiteY267" fmla="*/ 371102 h 1333436"/>
                <a:gd name="connsiteX268" fmla="*/ 55731 w 752994"/>
                <a:gd name="connsiteY268" fmla="*/ 360909 h 1333436"/>
                <a:gd name="connsiteX269" fmla="*/ 57580 w 752994"/>
                <a:gd name="connsiteY269" fmla="*/ 355804 h 1333436"/>
                <a:gd name="connsiteX270" fmla="*/ 62673 w 752994"/>
                <a:gd name="connsiteY270" fmla="*/ 349695 h 1333436"/>
                <a:gd name="connsiteX271" fmla="*/ 65937 w 752994"/>
                <a:gd name="connsiteY271" fmla="*/ 348470 h 1333436"/>
                <a:gd name="connsiteX272" fmla="*/ 68395 w 752994"/>
                <a:gd name="connsiteY272" fmla="*/ 348674 h 1333436"/>
                <a:gd name="connsiteX273" fmla="*/ 70224 w 752994"/>
                <a:gd name="connsiteY273" fmla="*/ 347449 h 1333436"/>
                <a:gd name="connsiteX274" fmla="*/ 67785 w 752994"/>
                <a:gd name="connsiteY274" fmla="*/ 345203 h 1333436"/>
                <a:gd name="connsiteX275" fmla="*/ 65524 w 752994"/>
                <a:gd name="connsiteY275" fmla="*/ 343178 h 1333436"/>
                <a:gd name="connsiteX276" fmla="*/ 73095 w 752994"/>
                <a:gd name="connsiteY276" fmla="*/ 333376 h 1333436"/>
                <a:gd name="connsiteX277" fmla="*/ 73291 w 752994"/>
                <a:gd name="connsiteY277" fmla="*/ 333376 h 1333436"/>
                <a:gd name="connsiteX278" fmla="*/ 77991 w 752994"/>
                <a:gd name="connsiteY278" fmla="*/ 325838 h 1333436"/>
                <a:gd name="connsiteX279" fmla="*/ 82671 w 752994"/>
                <a:gd name="connsiteY279" fmla="*/ 313619 h 1333436"/>
                <a:gd name="connsiteX280" fmla="*/ 87980 w 752994"/>
                <a:gd name="connsiteY280" fmla="*/ 303018 h 1333436"/>
                <a:gd name="connsiteX281" fmla="*/ 92267 w 752994"/>
                <a:gd name="connsiteY281" fmla="*/ 291191 h 1333436"/>
                <a:gd name="connsiteX282" fmla="*/ 96553 w 752994"/>
                <a:gd name="connsiteY282" fmla="*/ 281202 h 1333436"/>
                <a:gd name="connsiteX283" fmla="*/ 99621 w 752994"/>
                <a:gd name="connsiteY283" fmla="*/ 274481 h 1333436"/>
                <a:gd name="connsiteX284" fmla="*/ 103082 w 752994"/>
                <a:gd name="connsiteY284" fmla="*/ 262450 h 1333436"/>
                <a:gd name="connsiteX285" fmla="*/ 107172 w 752994"/>
                <a:gd name="connsiteY285" fmla="*/ 254299 h 1333436"/>
                <a:gd name="connsiteX286" fmla="*/ 112481 w 752994"/>
                <a:gd name="connsiteY286" fmla="*/ 243697 h 1333436"/>
                <a:gd name="connsiteX287" fmla="*/ 117181 w 752994"/>
                <a:gd name="connsiteY287" fmla="*/ 232279 h 1333436"/>
                <a:gd name="connsiteX288" fmla="*/ 125951 w 752994"/>
                <a:gd name="connsiteY288" fmla="*/ 217389 h 1333436"/>
                <a:gd name="connsiteX289" fmla="*/ 136156 w 752994"/>
                <a:gd name="connsiteY289" fmla="*/ 202925 h 1333436"/>
                <a:gd name="connsiteX290" fmla="*/ 138811 w 752994"/>
                <a:gd name="connsiteY290" fmla="*/ 183339 h 1333436"/>
                <a:gd name="connsiteX291" fmla="*/ 148801 w 752994"/>
                <a:gd name="connsiteY291" fmla="*/ 167445 h 1333436"/>
                <a:gd name="connsiteX292" fmla="*/ 159616 w 752994"/>
                <a:gd name="connsiteY292" fmla="*/ 170712 h 1333436"/>
                <a:gd name="connsiteX293" fmla="*/ 173105 w 752994"/>
                <a:gd name="connsiteY293" fmla="*/ 175188 h 1333436"/>
                <a:gd name="connsiteX294" fmla="*/ 175347 w 752994"/>
                <a:gd name="connsiteY294" fmla="*/ 175188 h 1333436"/>
                <a:gd name="connsiteX295" fmla="*/ 175347 w 752994"/>
                <a:gd name="connsiteY295" fmla="*/ 173758 h 1333436"/>
                <a:gd name="connsiteX296" fmla="*/ 184975 w 752994"/>
                <a:gd name="connsiteY296" fmla="*/ 187393 h 1333436"/>
                <a:gd name="connsiteX297" fmla="*/ 184762 w 752994"/>
                <a:gd name="connsiteY297" fmla="*/ 184637 h 1333436"/>
                <a:gd name="connsiteX298" fmla="*/ 174971 w 752994"/>
                <a:gd name="connsiteY298" fmla="*/ 170774 h 1333436"/>
                <a:gd name="connsiteX299" fmla="*/ 174971 w 752994"/>
                <a:gd name="connsiteY299" fmla="*/ 169550 h 1333436"/>
                <a:gd name="connsiteX300" fmla="*/ 158851 w 752994"/>
                <a:gd name="connsiteY300" fmla="*/ 156924 h 1333436"/>
                <a:gd name="connsiteX301" fmla="*/ 147025 w 752994"/>
                <a:gd name="connsiteY301" fmla="*/ 145709 h 1333436"/>
                <a:gd name="connsiteX302" fmla="*/ 154364 w 752994"/>
                <a:gd name="connsiteY302" fmla="*/ 136335 h 1333436"/>
                <a:gd name="connsiteX303" fmla="*/ 161511 w 752994"/>
                <a:gd name="connsiteY303" fmla="*/ 131042 h 1333436"/>
                <a:gd name="connsiteX304" fmla="*/ 160902 w 752994"/>
                <a:gd name="connsiteY304" fmla="*/ 128384 h 1333436"/>
                <a:gd name="connsiteX305" fmla="*/ 160277 w 752994"/>
                <a:gd name="connsiteY305" fmla="*/ 127778 h 1333436"/>
                <a:gd name="connsiteX306" fmla="*/ 154973 w 752994"/>
                <a:gd name="connsiteY306" fmla="*/ 122077 h 1333436"/>
                <a:gd name="connsiteX307" fmla="*/ 160277 w 752994"/>
                <a:gd name="connsiteY307" fmla="*/ 115140 h 1333436"/>
                <a:gd name="connsiteX308" fmla="*/ 165181 w 752994"/>
                <a:gd name="connsiteY308" fmla="*/ 108215 h 1333436"/>
                <a:gd name="connsiteX309" fmla="*/ 161303 w 752994"/>
                <a:gd name="connsiteY309" fmla="*/ 104146 h 1333436"/>
                <a:gd name="connsiteX310" fmla="*/ 157842 w 752994"/>
                <a:gd name="connsiteY310" fmla="*/ 104542 h 1333436"/>
                <a:gd name="connsiteX311" fmla="*/ 157024 w 752994"/>
                <a:gd name="connsiteY311" fmla="*/ 102304 h 1333436"/>
                <a:gd name="connsiteX312" fmla="*/ 160694 w 752994"/>
                <a:gd name="connsiteY312" fmla="*/ 55437 h 1333436"/>
                <a:gd name="connsiteX313" fmla="*/ 160486 w 752994"/>
                <a:gd name="connsiteY313" fmla="*/ 31991 h 1333436"/>
                <a:gd name="connsiteX314" fmla="*/ 164972 w 752994"/>
                <a:gd name="connsiteY314" fmla="*/ 18141 h 1333436"/>
                <a:gd name="connsiteX315" fmla="*/ 171911 w 752994"/>
                <a:gd name="connsiteY315" fmla="*/ 11204 h 1333436"/>
                <a:gd name="connsiteX316" fmla="*/ 187406 w 752994"/>
                <a:gd name="connsiteY316" fmla="*/ 21801 h 1333436"/>
                <a:gd name="connsiteX317" fmla="*/ 210866 w 752994"/>
                <a:gd name="connsiteY317" fmla="*/ 37086 h 1333436"/>
                <a:gd name="connsiteX318" fmla="*/ 219230 w 752994"/>
                <a:gd name="connsiteY318" fmla="*/ 41166 h 1333436"/>
                <a:gd name="connsiteX319" fmla="*/ 226778 w 752994"/>
                <a:gd name="connsiteY319" fmla="*/ 47486 h 1333436"/>
                <a:gd name="connsiteX320" fmla="*/ 236152 w 752994"/>
                <a:gd name="connsiteY320" fmla="*/ 52370 h 1333436"/>
                <a:gd name="connsiteX321" fmla="*/ 239629 w 752994"/>
                <a:gd name="connsiteY321" fmla="*/ 58491 h 1333436"/>
                <a:gd name="connsiteX322" fmla="*/ 239629 w 752994"/>
                <a:gd name="connsiteY322" fmla="*/ 63376 h 1333436"/>
                <a:gd name="connsiteX323" fmla="*/ 236568 w 752994"/>
                <a:gd name="connsiteY323" fmla="*/ 67457 h 1333436"/>
                <a:gd name="connsiteX324" fmla="*/ 231264 w 752994"/>
                <a:gd name="connsiteY324" fmla="*/ 69905 h 1333436"/>
                <a:gd name="connsiteX325" fmla="*/ 216778 w 752994"/>
                <a:gd name="connsiteY325" fmla="*/ 82741 h 1333436"/>
                <a:gd name="connsiteX326" fmla="*/ 214134 w 752994"/>
                <a:gd name="connsiteY326" fmla="*/ 93536 h 1333436"/>
                <a:gd name="connsiteX327" fmla="*/ 214535 w 752994"/>
                <a:gd name="connsiteY327" fmla="*/ 96801 h 1333436"/>
                <a:gd name="connsiteX328" fmla="*/ 216378 w 752994"/>
                <a:gd name="connsiteY328" fmla="*/ 96801 h 1333436"/>
                <a:gd name="connsiteX329" fmla="*/ 230046 w 752994"/>
                <a:gd name="connsiteY329" fmla="*/ 85387 h 1333436"/>
                <a:gd name="connsiteX330" fmla="*/ 243298 w 752994"/>
                <a:gd name="connsiteY330" fmla="*/ 75198 h 1333436"/>
                <a:gd name="connsiteX331" fmla="*/ 246760 w 752994"/>
                <a:gd name="connsiteY331" fmla="*/ 77646 h 1333436"/>
                <a:gd name="connsiteX332" fmla="*/ 255541 w 752994"/>
                <a:gd name="connsiteY332" fmla="*/ 63376 h 1333436"/>
                <a:gd name="connsiteX333" fmla="*/ 259611 w 752994"/>
                <a:gd name="connsiteY333" fmla="*/ 43405 h 1333436"/>
                <a:gd name="connsiteX334" fmla="*/ 256967 w 752994"/>
                <a:gd name="connsiteY334" fmla="*/ 38520 h 1333436"/>
                <a:gd name="connsiteX335" fmla="*/ 253906 w 752994"/>
                <a:gd name="connsiteY335" fmla="*/ 34242 h 1333436"/>
                <a:gd name="connsiteX336" fmla="*/ 256967 w 752994"/>
                <a:gd name="connsiteY336" fmla="*/ 30161 h 1333436"/>
                <a:gd name="connsiteX337" fmla="*/ 262063 w 752994"/>
                <a:gd name="connsiteY337" fmla="*/ 27712 h 1333436"/>
                <a:gd name="connsiteX338" fmla="*/ 264915 w 752994"/>
                <a:gd name="connsiteY338" fmla="*/ 23026 h 1333436"/>
                <a:gd name="connsiteX339" fmla="*/ 267976 w 752994"/>
                <a:gd name="connsiteY339" fmla="*/ 22618 h 1333436"/>
                <a:gd name="connsiteX340" fmla="*/ 270427 w 752994"/>
                <a:gd name="connsiteY340" fmla="*/ 20787 h 1333436"/>
                <a:gd name="connsiteX341" fmla="*/ 263088 w 752994"/>
                <a:gd name="connsiteY341" fmla="*/ 13652 h 1333436"/>
                <a:gd name="connsiteX342" fmla="*/ 255541 w 752994"/>
                <a:gd name="connsiteY342" fmla="*/ 3055 h 1333436"/>
                <a:gd name="connsiteX343" fmla="*/ 256358 w 752994"/>
                <a:gd name="connsiteY343" fmla="*/ 1224 h 1333436"/>
                <a:gd name="connsiteX344" fmla="*/ 257159 w 752994"/>
                <a:gd name="connsiteY344"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381379 w 752994"/>
                <a:gd name="connsiteY30" fmla="*/ 252303 h 1333436"/>
                <a:gd name="connsiteX31" fmla="*/ 365258 w 752994"/>
                <a:gd name="connsiteY31" fmla="*/ 245774 h 1333436"/>
                <a:gd name="connsiteX32" fmla="*/ 350789 w 752994"/>
                <a:gd name="connsiteY32" fmla="*/ 244352 h 1333436"/>
                <a:gd name="connsiteX33" fmla="*/ 340789 w 752994"/>
                <a:gd name="connsiteY33" fmla="*/ 243536 h 1333436"/>
                <a:gd name="connsiteX34" fmla="*/ 333034 w 752994"/>
                <a:gd name="connsiteY34" fmla="*/ 240271 h 1333436"/>
                <a:gd name="connsiteX35" fmla="*/ 323868 w 752994"/>
                <a:gd name="connsiteY35" fmla="*/ 241495 h 1333436"/>
                <a:gd name="connsiteX36" fmla="*/ 309783 w 752994"/>
                <a:gd name="connsiteY36" fmla="*/ 243536 h 1333436"/>
                <a:gd name="connsiteX37" fmla="*/ 297140 w 752994"/>
                <a:gd name="connsiteY37" fmla="*/ 245576 h 1333436"/>
                <a:gd name="connsiteX38" fmla="*/ 280827 w 752994"/>
                <a:gd name="connsiteY38" fmla="*/ 242720 h 1333436"/>
                <a:gd name="connsiteX39" fmla="*/ 274497 w 752994"/>
                <a:gd name="connsiteY39" fmla="*/ 238441 h 1333436"/>
                <a:gd name="connsiteX40" fmla="*/ 269001 w 752994"/>
                <a:gd name="connsiteY40" fmla="*/ 240679 h 1333436"/>
                <a:gd name="connsiteX41" fmla="*/ 262880 w 752994"/>
                <a:gd name="connsiteY41" fmla="*/ 243128 h 1333436"/>
                <a:gd name="connsiteX42" fmla="*/ 260028 w 752994"/>
                <a:gd name="connsiteY42" fmla="*/ 242720 h 1333436"/>
                <a:gd name="connsiteX43" fmla="*/ 247994 w 752994"/>
                <a:gd name="connsiteY43" fmla="*/ 241693 h 1333436"/>
                <a:gd name="connsiteX44" fmla="*/ 242081 w 752994"/>
                <a:gd name="connsiteY44" fmla="*/ 234162 h 1333436"/>
                <a:gd name="connsiteX45" fmla="*/ 235142 w 752994"/>
                <a:gd name="connsiteY45" fmla="*/ 229476 h 1333436"/>
                <a:gd name="connsiteX46" fmla="*/ 224742 w 752994"/>
                <a:gd name="connsiteY46" fmla="*/ 226817 h 1333436"/>
                <a:gd name="connsiteX47" fmla="*/ 216778 w 752994"/>
                <a:gd name="connsiteY47" fmla="*/ 229068 h 1333436"/>
                <a:gd name="connsiteX48" fmla="*/ 195162 w 752994"/>
                <a:gd name="connsiteY48" fmla="*/ 228857 h 1333436"/>
                <a:gd name="connsiteX49" fmla="*/ 188223 w 752994"/>
                <a:gd name="connsiteY49" fmla="*/ 223973 h 1333436"/>
                <a:gd name="connsiteX50" fmla="*/ 185163 w 752994"/>
                <a:gd name="connsiteY50" fmla="*/ 219484 h 1333436"/>
                <a:gd name="connsiteX51" fmla="*/ 184180 w 752994"/>
                <a:gd name="connsiteY51" fmla="*/ 213866 h 1333436"/>
                <a:gd name="connsiteX52" fmla="*/ 257159 w 752994"/>
                <a:gd name="connsiteY52" fmla="*/ 0 h 1333436"/>
                <a:gd name="connsiteX53" fmla="*/ 493147 w 752994"/>
                <a:gd name="connsiteY53" fmla="*/ 73157 h 1333436"/>
                <a:gd name="connsiteX54" fmla="*/ 492970 w 752994"/>
                <a:gd name="connsiteY54" fmla="*/ 73792 h 1333436"/>
                <a:gd name="connsiteX55" fmla="*/ 525816 w 752994"/>
                <a:gd name="connsiteY55" fmla="*/ 82491 h 1333436"/>
                <a:gd name="connsiteX56" fmla="*/ 520098 w 752994"/>
                <a:gd name="connsiteY56" fmla="*/ 111245 h 1333436"/>
                <a:gd name="connsiteX57" fmla="*/ 512552 w 752994"/>
                <a:gd name="connsiteY57" fmla="*/ 143854 h 1333436"/>
                <a:gd name="connsiteX58" fmla="*/ 517849 w 752994"/>
                <a:gd name="connsiteY58" fmla="*/ 157740 h 1333436"/>
                <a:gd name="connsiteX59" fmla="*/ 523160 w 752994"/>
                <a:gd name="connsiteY59" fmla="*/ 172009 h 1333436"/>
                <a:gd name="connsiteX60" fmla="*/ 521535 w 752994"/>
                <a:gd name="connsiteY60" fmla="*/ 178928 h 1333436"/>
                <a:gd name="connsiteX61" fmla="*/ 520098 w 752994"/>
                <a:gd name="connsiteY61" fmla="*/ 186279 h 1333436"/>
                <a:gd name="connsiteX62" fmla="*/ 526019 w 752994"/>
                <a:gd name="connsiteY62" fmla="*/ 193629 h 1333436"/>
                <a:gd name="connsiteX63" fmla="*/ 537251 w 752994"/>
                <a:gd name="connsiteY63" fmla="*/ 206270 h 1333436"/>
                <a:gd name="connsiteX64" fmla="*/ 542765 w 752994"/>
                <a:gd name="connsiteY64" fmla="*/ 217475 h 1333436"/>
                <a:gd name="connsiteX65" fmla="*/ 546857 w 752994"/>
                <a:gd name="connsiteY65" fmla="*/ 230930 h 1333436"/>
                <a:gd name="connsiteX66" fmla="*/ 549499 w 752994"/>
                <a:gd name="connsiteY66" fmla="*/ 235622 h 1333436"/>
                <a:gd name="connsiteX67" fmla="*/ 553388 w 752994"/>
                <a:gd name="connsiteY67" fmla="*/ 240722 h 1333436"/>
                <a:gd name="connsiteX68" fmla="*/ 557465 w 752994"/>
                <a:gd name="connsiteY68" fmla="*/ 246037 h 1333436"/>
                <a:gd name="connsiteX69" fmla="*/ 561761 w 752994"/>
                <a:gd name="connsiteY69" fmla="*/ 248671 h 1333436"/>
                <a:gd name="connsiteX70" fmla="*/ 567478 w 752994"/>
                <a:gd name="connsiteY70" fmla="*/ 247665 h 1333436"/>
                <a:gd name="connsiteX71" fmla="*/ 569931 w 752994"/>
                <a:gd name="connsiteY71" fmla="*/ 249293 h 1333436"/>
                <a:gd name="connsiteX72" fmla="*/ 570540 w 752994"/>
                <a:gd name="connsiteY72" fmla="*/ 251951 h 1333436"/>
                <a:gd name="connsiteX73" fmla="*/ 561964 w 752994"/>
                <a:gd name="connsiteY73" fmla="*/ 267656 h 1333436"/>
                <a:gd name="connsiteX74" fmla="*/ 553591 w 752994"/>
                <a:gd name="connsiteY74" fmla="*/ 289659 h 1333436"/>
                <a:gd name="connsiteX75" fmla="*/ 554810 w 752994"/>
                <a:gd name="connsiteY75" fmla="*/ 292939 h 1333436"/>
                <a:gd name="connsiteX76" fmla="*/ 556246 w 752994"/>
                <a:gd name="connsiteY76" fmla="*/ 299260 h 1333436"/>
                <a:gd name="connsiteX77" fmla="*/ 552778 w 752994"/>
                <a:gd name="connsiteY77" fmla="*/ 301917 h 1333436"/>
                <a:gd name="connsiteX78" fmla="*/ 549295 w 752994"/>
                <a:gd name="connsiteY78" fmla="*/ 306993 h 1333436"/>
                <a:gd name="connsiteX79" fmla="*/ 547061 w 752994"/>
                <a:gd name="connsiteY79" fmla="*/ 313122 h 1333436"/>
                <a:gd name="connsiteX80" fmla="*/ 544811 w 752994"/>
                <a:gd name="connsiteY80" fmla="*/ 316593 h 1333436"/>
                <a:gd name="connsiteX81" fmla="*/ 549919 w 752994"/>
                <a:gd name="connsiteY81" fmla="*/ 322698 h 1333436"/>
                <a:gd name="connsiteX82" fmla="*/ 553184 w 752994"/>
                <a:gd name="connsiteY82" fmla="*/ 325955 h 1333436"/>
                <a:gd name="connsiteX83" fmla="*/ 555840 w 752994"/>
                <a:gd name="connsiteY83" fmla="*/ 328205 h 1333436"/>
                <a:gd name="connsiteX84" fmla="*/ 574212 w 752994"/>
                <a:gd name="connsiteY84" fmla="*/ 318820 h 1333436"/>
                <a:gd name="connsiteX85" fmla="*/ 579523 w 752994"/>
                <a:gd name="connsiteY85" fmla="*/ 326577 h 1333436"/>
                <a:gd name="connsiteX86" fmla="*/ 580539 w 752994"/>
                <a:gd name="connsiteY86" fmla="*/ 334933 h 1333436"/>
                <a:gd name="connsiteX87" fmla="*/ 579726 w 752994"/>
                <a:gd name="connsiteY87" fmla="*/ 343097 h 1333436"/>
                <a:gd name="connsiteX88" fmla="*/ 581366 w 752994"/>
                <a:gd name="connsiteY88" fmla="*/ 350231 h 1333436"/>
                <a:gd name="connsiteX89" fmla="*/ 586256 w 752994"/>
                <a:gd name="connsiteY89" fmla="*/ 355930 h 1333436"/>
                <a:gd name="connsiteX90" fmla="*/ 589536 w 752994"/>
                <a:gd name="connsiteY90" fmla="*/ 362059 h 1333436"/>
                <a:gd name="connsiteX91" fmla="*/ 588099 w 752994"/>
                <a:gd name="connsiteY91" fmla="*/ 369600 h 1333436"/>
                <a:gd name="connsiteX92" fmla="*/ 586459 w 752994"/>
                <a:gd name="connsiteY92" fmla="*/ 377357 h 1333436"/>
                <a:gd name="connsiteX93" fmla="*/ 588709 w 752994"/>
                <a:gd name="connsiteY93" fmla="*/ 381835 h 1333436"/>
                <a:gd name="connsiteX94" fmla="*/ 595036 w 752994"/>
                <a:gd name="connsiteY94" fmla="*/ 382457 h 1333436"/>
                <a:gd name="connsiteX95" fmla="*/ 599331 w 752994"/>
                <a:gd name="connsiteY95" fmla="*/ 385306 h 1333436"/>
                <a:gd name="connsiteX96" fmla="*/ 601987 w 752994"/>
                <a:gd name="connsiteY96" fmla="*/ 391004 h 1333436"/>
                <a:gd name="connsiteX97" fmla="*/ 602799 w 752994"/>
                <a:gd name="connsiteY97" fmla="*/ 404076 h 1333436"/>
                <a:gd name="connsiteX98" fmla="*/ 606892 w 752994"/>
                <a:gd name="connsiteY98" fmla="*/ 415688 h 1333436"/>
                <a:gd name="connsiteX99" fmla="*/ 610563 w 752994"/>
                <a:gd name="connsiteY99" fmla="*/ 412217 h 1333436"/>
                <a:gd name="connsiteX100" fmla="*/ 617920 w 752994"/>
                <a:gd name="connsiteY100" fmla="*/ 408769 h 1333436"/>
                <a:gd name="connsiteX101" fmla="*/ 624654 w 752994"/>
                <a:gd name="connsiteY101" fmla="*/ 411211 h 1333436"/>
                <a:gd name="connsiteX102" fmla="*/ 634652 w 752994"/>
                <a:gd name="connsiteY102" fmla="*/ 410182 h 1333436"/>
                <a:gd name="connsiteX103" fmla="*/ 640573 w 752994"/>
                <a:gd name="connsiteY103" fmla="*/ 407739 h 1333436"/>
                <a:gd name="connsiteX104" fmla="*/ 646711 w 752994"/>
                <a:gd name="connsiteY104" fmla="*/ 410589 h 1333436"/>
                <a:gd name="connsiteX105" fmla="*/ 650383 w 752994"/>
                <a:gd name="connsiteY105" fmla="*/ 410589 h 1333436"/>
                <a:gd name="connsiteX106" fmla="*/ 654257 w 752994"/>
                <a:gd name="connsiteY106" fmla="*/ 411618 h 1333436"/>
                <a:gd name="connsiteX107" fmla="*/ 656913 w 752994"/>
                <a:gd name="connsiteY107" fmla="*/ 413653 h 1333436"/>
                <a:gd name="connsiteX108" fmla="*/ 660802 w 752994"/>
                <a:gd name="connsiteY108" fmla="*/ 415090 h 1333436"/>
                <a:gd name="connsiteX109" fmla="*/ 669581 w 752994"/>
                <a:gd name="connsiteY109" fmla="*/ 415904 h 1333436"/>
                <a:gd name="connsiteX110" fmla="*/ 672237 w 752994"/>
                <a:gd name="connsiteY110" fmla="*/ 415688 h 1333436"/>
                <a:gd name="connsiteX111" fmla="*/ 675705 w 752994"/>
                <a:gd name="connsiteY111" fmla="*/ 409367 h 1333436"/>
                <a:gd name="connsiteX112" fmla="*/ 679986 w 752994"/>
                <a:gd name="connsiteY112" fmla="*/ 403238 h 1333436"/>
                <a:gd name="connsiteX113" fmla="*/ 693264 w 752994"/>
                <a:gd name="connsiteY113" fmla="*/ 419567 h 1333436"/>
                <a:gd name="connsiteX114" fmla="*/ 688563 w 752994"/>
                <a:gd name="connsiteY114" fmla="*/ 448321 h 1333436"/>
                <a:gd name="connsiteX115" fmla="*/ 663949 w 752994"/>
                <a:gd name="connsiteY115" fmla="*/ 590165 h 1333436"/>
                <a:gd name="connsiteX116" fmla="*/ 666304 w 752994"/>
                <a:gd name="connsiteY116" fmla="*/ 590504 h 1333436"/>
                <a:gd name="connsiteX117" fmla="*/ 655288 w 752994"/>
                <a:gd name="connsiteY117" fmla="*/ 656178 h 1333436"/>
                <a:gd name="connsiteX118" fmla="*/ 681808 w 752994"/>
                <a:gd name="connsiteY118" fmla="*/ 662301 h 1333436"/>
                <a:gd name="connsiteX119" fmla="*/ 752994 w 752994"/>
                <a:gd name="connsiteY119" fmla="*/ 675560 h 1333436"/>
                <a:gd name="connsiteX120" fmla="*/ 714651 w 752994"/>
                <a:gd name="connsiteY120" fmla="*/ 946985 h 1333436"/>
                <a:gd name="connsiteX121" fmla="*/ 654533 w 752994"/>
                <a:gd name="connsiteY121" fmla="*/ 1333436 h 1333436"/>
                <a:gd name="connsiteX122" fmla="*/ 546831 w 752994"/>
                <a:gd name="connsiteY122" fmla="*/ 1317126 h 1333436"/>
                <a:gd name="connsiteX123" fmla="*/ 351227 w 752994"/>
                <a:gd name="connsiteY123" fmla="*/ 1194172 h 1333436"/>
                <a:gd name="connsiteX124" fmla="*/ 361011 w 752994"/>
                <a:gd name="connsiteY124" fmla="*/ 1182755 h 1333436"/>
                <a:gd name="connsiteX125" fmla="*/ 368981 w 752994"/>
                <a:gd name="connsiteY125" fmla="*/ 1182130 h 1333436"/>
                <a:gd name="connsiteX126" fmla="*/ 369571 w 752994"/>
                <a:gd name="connsiteY126" fmla="*/ 1181558 h 1333436"/>
                <a:gd name="connsiteX127" fmla="*/ 362372 w 752994"/>
                <a:gd name="connsiteY127" fmla="*/ 1182120 h 1333436"/>
                <a:gd name="connsiteX128" fmla="*/ 229464 w 752994"/>
                <a:gd name="connsiteY128" fmla="*/ 1161721 h 1333436"/>
                <a:gd name="connsiteX129" fmla="*/ 227427 w 752994"/>
                <a:gd name="connsiteY129" fmla="*/ 1157269 h 1333436"/>
                <a:gd name="connsiteX130" fmla="*/ 224967 w 752994"/>
                <a:gd name="connsiteY130" fmla="*/ 1152575 h 1333436"/>
                <a:gd name="connsiteX131" fmla="*/ 225582 w 752994"/>
                <a:gd name="connsiteY131" fmla="*/ 1144808 h 1333436"/>
                <a:gd name="connsiteX132" fmla="*/ 227215 w 752994"/>
                <a:gd name="connsiteY132" fmla="*/ 1135834 h 1333436"/>
                <a:gd name="connsiteX133" fmla="*/ 227215 w 752994"/>
                <a:gd name="connsiteY133" fmla="*/ 1134212 h 1333436"/>
                <a:gd name="connsiteX134" fmla="*/ 225179 w 752994"/>
                <a:gd name="connsiteY134" fmla="*/ 1114020 h 1333436"/>
                <a:gd name="connsiteX135" fmla="*/ 217839 w 752994"/>
                <a:gd name="connsiteY135" fmla="*/ 1100352 h 1333436"/>
                <a:gd name="connsiteX136" fmla="*/ 199661 w 752994"/>
                <a:gd name="connsiteY136" fmla="*/ 1076502 h 1333436"/>
                <a:gd name="connsiteX137" fmla="*/ 196395 w 752994"/>
                <a:gd name="connsiteY137" fmla="*/ 1071807 h 1333436"/>
                <a:gd name="connsiteX138" fmla="*/ 190880 w 752994"/>
                <a:gd name="connsiteY138" fmla="*/ 1067527 h 1333436"/>
                <a:gd name="connsiteX139" fmla="*/ 187210 w 752994"/>
                <a:gd name="connsiteY139" fmla="*/ 1068735 h 1333436"/>
                <a:gd name="connsiteX140" fmla="*/ 180062 w 752994"/>
                <a:gd name="connsiteY140" fmla="*/ 1066699 h 1333436"/>
                <a:gd name="connsiteX141" fmla="*/ 180466 w 752994"/>
                <a:gd name="connsiteY141" fmla="*/ 1053031 h 1333436"/>
                <a:gd name="connsiteX142" fmla="*/ 180062 w 752994"/>
                <a:gd name="connsiteY142" fmla="*/ 1045299 h 1333436"/>
                <a:gd name="connsiteX143" fmla="*/ 174144 w 752994"/>
                <a:gd name="connsiteY143" fmla="*/ 1044057 h 1333436"/>
                <a:gd name="connsiteX144" fmla="*/ 158426 w 752994"/>
                <a:gd name="connsiteY144" fmla="*/ 1042641 h 1333436"/>
                <a:gd name="connsiteX145" fmla="*/ 149857 w 752994"/>
                <a:gd name="connsiteY145" fmla="*/ 1035497 h 1333436"/>
                <a:gd name="connsiteX146" fmla="*/ 142497 w 752994"/>
                <a:gd name="connsiteY146" fmla="*/ 1028766 h 1333436"/>
                <a:gd name="connsiteX147" fmla="*/ 140864 w 752994"/>
                <a:gd name="connsiteY147" fmla="*/ 1020620 h 1333436"/>
                <a:gd name="connsiteX148" fmla="*/ 138212 w 752994"/>
                <a:gd name="connsiteY148" fmla="*/ 1013061 h 1333436"/>
                <a:gd name="connsiteX149" fmla="*/ 131064 w 752994"/>
                <a:gd name="connsiteY149" fmla="*/ 1007159 h 1333436"/>
                <a:gd name="connsiteX150" fmla="*/ 121264 w 752994"/>
                <a:gd name="connsiteY150" fmla="*/ 1005330 h 1333436"/>
                <a:gd name="connsiteX151" fmla="*/ 112483 w 752994"/>
                <a:gd name="connsiteY151" fmla="*/ 1001671 h 1333436"/>
                <a:gd name="connsiteX152" fmla="*/ 105950 w 752994"/>
                <a:gd name="connsiteY152" fmla="*/ 995734 h 1333436"/>
                <a:gd name="connsiteX153" fmla="*/ 97380 w 752994"/>
                <a:gd name="connsiteY153" fmla="*/ 994526 h 1333436"/>
                <a:gd name="connsiteX154" fmla="*/ 87984 w 752994"/>
                <a:gd name="connsiteY154" fmla="*/ 991040 h 1333436"/>
                <a:gd name="connsiteX155" fmla="*/ 80029 w 752994"/>
                <a:gd name="connsiteY155" fmla="*/ 985138 h 1333436"/>
                <a:gd name="connsiteX156" fmla="*/ 77166 w 752994"/>
                <a:gd name="connsiteY156" fmla="*/ 976164 h 1333436"/>
                <a:gd name="connsiteX157" fmla="*/ 79203 w 752994"/>
                <a:gd name="connsiteY157" fmla="*/ 970676 h 1333436"/>
                <a:gd name="connsiteX158" fmla="*/ 82470 w 752994"/>
                <a:gd name="connsiteY158" fmla="*/ 963117 h 1333436"/>
                <a:gd name="connsiteX159" fmla="*/ 84314 w 752994"/>
                <a:gd name="connsiteY159" fmla="*/ 954557 h 1333436"/>
                <a:gd name="connsiteX160" fmla="*/ 86351 w 752994"/>
                <a:gd name="connsiteY160" fmla="*/ 948033 h 1333436"/>
                <a:gd name="connsiteX161" fmla="*/ 86159 w 752994"/>
                <a:gd name="connsiteY161" fmla="*/ 942925 h 1333436"/>
                <a:gd name="connsiteX162" fmla="*/ 83085 w 752994"/>
                <a:gd name="connsiteY162" fmla="*/ 939853 h 1333436"/>
                <a:gd name="connsiteX163" fmla="*/ 77570 w 752994"/>
                <a:gd name="connsiteY163" fmla="*/ 937437 h 1333436"/>
                <a:gd name="connsiteX164" fmla="*/ 76763 w 752994"/>
                <a:gd name="connsiteY164" fmla="*/ 931915 h 1333436"/>
                <a:gd name="connsiteX165" fmla="*/ 78800 w 752994"/>
                <a:gd name="connsiteY165" fmla="*/ 927013 h 1333436"/>
                <a:gd name="connsiteX166" fmla="*/ 79626 w 752994"/>
                <a:gd name="connsiteY166" fmla="*/ 922526 h 1333436"/>
                <a:gd name="connsiteX167" fmla="*/ 77781 w 752994"/>
                <a:gd name="connsiteY167" fmla="*/ 919903 h 1333436"/>
                <a:gd name="connsiteX168" fmla="*/ 74303 w 752994"/>
                <a:gd name="connsiteY168" fmla="*/ 917418 h 1333436"/>
                <a:gd name="connsiteX169" fmla="*/ 71863 w 752994"/>
                <a:gd name="connsiteY169" fmla="*/ 915174 h 1333436"/>
                <a:gd name="connsiteX170" fmla="*/ 71652 w 752994"/>
                <a:gd name="connsiteY170" fmla="*/ 910894 h 1333436"/>
                <a:gd name="connsiteX171" fmla="*/ 70633 w 752994"/>
                <a:gd name="connsiteY171" fmla="*/ 906614 h 1333436"/>
                <a:gd name="connsiteX172" fmla="*/ 68385 w 752994"/>
                <a:gd name="connsiteY172" fmla="*/ 902749 h 1333436"/>
                <a:gd name="connsiteX173" fmla="*/ 61045 w 752994"/>
                <a:gd name="connsiteY173" fmla="*/ 889494 h 1333436"/>
                <a:gd name="connsiteX174" fmla="*/ 57971 w 752994"/>
                <a:gd name="connsiteY174" fmla="*/ 875619 h 1333436"/>
                <a:gd name="connsiteX175" fmla="*/ 52264 w 752994"/>
                <a:gd name="connsiteY175" fmla="*/ 862572 h 1333436"/>
                <a:gd name="connsiteX176" fmla="*/ 44309 w 752994"/>
                <a:gd name="connsiteY176" fmla="*/ 850561 h 1333436"/>
                <a:gd name="connsiteX177" fmla="*/ 45520 w 752994"/>
                <a:gd name="connsiteY177" fmla="*/ 827090 h 1333436"/>
                <a:gd name="connsiteX178" fmla="*/ 53071 w 752994"/>
                <a:gd name="connsiteY178" fmla="*/ 822396 h 1333436"/>
                <a:gd name="connsiteX179" fmla="*/ 57375 w 752994"/>
                <a:gd name="connsiteY179" fmla="*/ 816493 h 1333436"/>
                <a:gd name="connsiteX180" fmla="*/ 55319 w 752994"/>
                <a:gd name="connsiteY180" fmla="*/ 801617 h 1333436"/>
                <a:gd name="connsiteX181" fmla="*/ 48383 w 752994"/>
                <a:gd name="connsiteY181" fmla="*/ 802204 h 1333436"/>
                <a:gd name="connsiteX182" fmla="*/ 40428 w 752994"/>
                <a:gd name="connsiteY182" fmla="*/ 797924 h 1333436"/>
                <a:gd name="connsiteX183" fmla="*/ 37565 w 752994"/>
                <a:gd name="connsiteY183" fmla="*/ 790606 h 1333436"/>
                <a:gd name="connsiteX184" fmla="*/ 37565 w 752994"/>
                <a:gd name="connsiteY184" fmla="*/ 790399 h 1333436"/>
                <a:gd name="connsiteX185" fmla="*/ 35931 w 752994"/>
                <a:gd name="connsiteY185" fmla="*/ 785912 h 1333436"/>
                <a:gd name="connsiteX186" fmla="*/ 34510 w 752994"/>
                <a:gd name="connsiteY186" fmla="*/ 780597 h 1333436"/>
                <a:gd name="connsiteX187" fmla="*/ 36335 w 752994"/>
                <a:gd name="connsiteY187" fmla="*/ 774280 h 1333436"/>
                <a:gd name="connsiteX188" fmla="*/ 38180 w 752994"/>
                <a:gd name="connsiteY188" fmla="*/ 766721 h 1333436"/>
                <a:gd name="connsiteX189" fmla="*/ 37161 w 752994"/>
                <a:gd name="connsiteY189" fmla="*/ 760405 h 1333436"/>
                <a:gd name="connsiteX190" fmla="*/ 35720 w 752994"/>
                <a:gd name="connsiteY190" fmla="*/ 754710 h 1333436"/>
                <a:gd name="connsiteX191" fmla="*/ 36546 w 752994"/>
                <a:gd name="connsiteY191" fmla="*/ 748773 h 1333436"/>
                <a:gd name="connsiteX192" fmla="*/ 38372 w 752994"/>
                <a:gd name="connsiteY192" fmla="*/ 744528 h 1333436"/>
                <a:gd name="connsiteX193" fmla="*/ 41638 w 752994"/>
                <a:gd name="connsiteY193" fmla="*/ 744321 h 1333436"/>
                <a:gd name="connsiteX194" fmla="*/ 44713 w 752994"/>
                <a:gd name="connsiteY194" fmla="*/ 746357 h 1333436"/>
                <a:gd name="connsiteX195" fmla="*/ 47364 w 752994"/>
                <a:gd name="connsiteY195" fmla="*/ 753260 h 1333436"/>
                <a:gd name="connsiteX196" fmla="*/ 55742 w 752994"/>
                <a:gd name="connsiteY196" fmla="*/ 764305 h 1333436"/>
                <a:gd name="connsiteX197" fmla="*/ 56338 w 752994"/>
                <a:gd name="connsiteY197" fmla="*/ 761233 h 1333436"/>
                <a:gd name="connsiteX198" fmla="*/ 56145 w 752994"/>
                <a:gd name="connsiteY198" fmla="*/ 757368 h 1333436"/>
                <a:gd name="connsiteX199" fmla="*/ 54916 w 752994"/>
                <a:gd name="connsiteY199" fmla="*/ 748601 h 1333436"/>
                <a:gd name="connsiteX200" fmla="*/ 52879 w 752994"/>
                <a:gd name="connsiteY200" fmla="*/ 747358 h 1333436"/>
                <a:gd name="connsiteX201" fmla="*/ 51649 w 752994"/>
                <a:gd name="connsiteY201" fmla="*/ 745322 h 1333436"/>
                <a:gd name="connsiteX202" fmla="*/ 51649 w 752994"/>
                <a:gd name="connsiteY202" fmla="*/ 739212 h 1333436"/>
                <a:gd name="connsiteX203" fmla="*/ 50227 w 752994"/>
                <a:gd name="connsiteY203" fmla="*/ 734725 h 1333436"/>
                <a:gd name="connsiteX204" fmla="*/ 48786 w 752994"/>
                <a:gd name="connsiteY204" fmla="*/ 731446 h 1333436"/>
                <a:gd name="connsiteX205" fmla="*/ 54512 w 752994"/>
                <a:gd name="connsiteY205" fmla="*/ 726372 h 1333436"/>
                <a:gd name="connsiteX206" fmla="*/ 59815 w 752994"/>
                <a:gd name="connsiteY206" fmla="*/ 725130 h 1333436"/>
                <a:gd name="connsiteX207" fmla="*/ 58182 w 752994"/>
                <a:gd name="connsiteY207" fmla="*/ 722886 h 1333436"/>
                <a:gd name="connsiteX208" fmla="*/ 51861 w 752994"/>
                <a:gd name="connsiteY208" fmla="*/ 717985 h 1333436"/>
                <a:gd name="connsiteX209" fmla="*/ 46749 w 752994"/>
                <a:gd name="connsiteY209" fmla="*/ 729617 h 1333436"/>
                <a:gd name="connsiteX210" fmla="*/ 40831 w 752994"/>
                <a:gd name="connsiteY210" fmla="*/ 739212 h 1333436"/>
                <a:gd name="connsiteX211" fmla="*/ 39601 w 752994"/>
                <a:gd name="connsiteY211" fmla="*/ 738798 h 1333436"/>
                <a:gd name="connsiteX212" fmla="*/ 39409 w 752994"/>
                <a:gd name="connsiteY212" fmla="*/ 738591 h 1333436"/>
                <a:gd name="connsiteX213" fmla="*/ 37161 w 752994"/>
                <a:gd name="connsiteY213" fmla="*/ 734725 h 1333436"/>
                <a:gd name="connsiteX214" fmla="*/ 32665 w 752994"/>
                <a:gd name="connsiteY214" fmla="*/ 727788 h 1333436"/>
                <a:gd name="connsiteX215" fmla="*/ 26747 w 752994"/>
                <a:gd name="connsiteY215" fmla="*/ 719435 h 1333436"/>
                <a:gd name="connsiteX216" fmla="*/ 23884 w 752994"/>
                <a:gd name="connsiteY216" fmla="*/ 717812 h 1333436"/>
                <a:gd name="connsiteX217" fmla="*/ 24710 w 752994"/>
                <a:gd name="connsiteY217" fmla="*/ 709632 h 1333436"/>
                <a:gd name="connsiteX218" fmla="*/ 27554 w 752994"/>
                <a:gd name="connsiteY218" fmla="*/ 701694 h 1333436"/>
                <a:gd name="connsiteX219" fmla="*/ 24902 w 752994"/>
                <a:gd name="connsiteY219" fmla="*/ 696171 h 1333436"/>
                <a:gd name="connsiteX220" fmla="*/ 24095 w 752994"/>
                <a:gd name="connsiteY220" fmla="*/ 687818 h 1333436"/>
                <a:gd name="connsiteX221" fmla="*/ 22462 w 752994"/>
                <a:gd name="connsiteY221" fmla="*/ 682330 h 1333436"/>
                <a:gd name="connsiteX222" fmla="*/ 17159 w 752994"/>
                <a:gd name="connsiteY222" fmla="*/ 677636 h 1333436"/>
                <a:gd name="connsiteX223" fmla="*/ 14296 w 752994"/>
                <a:gd name="connsiteY223" fmla="*/ 671492 h 1333436"/>
                <a:gd name="connsiteX224" fmla="*/ 12451 w 752994"/>
                <a:gd name="connsiteY224" fmla="*/ 665797 h 1333436"/>
                <a:gd name="connsiteX225" fmla="*/ 5111 w 752994"/>
                <a:gd name="connsiteY225" fmla="*/ 654994 h 1333436"/>
                <a:gd name="connsiteX226" fmla="*/ 2248 w 752994"/>
                <a:gd name="connsiteY226" fmla="*/ 645605 h 1333436"/>
                <a:gd name="connsiteX227" fmla="*/ 4496 w 752994"/>
                <a:gd name="connsiteY227" fmla="*/ 640497 h 1333436"/>
                <a:gd name="connsiteX228" fmla="*/ 6744 w 752994"/>
                <a:gd name="connsiteY228" fmla="*/ 632765 h 1333436"/>
                <a:gd name="connsiteX229" fmla="*/ 6744 w 752994"/>
                <a:gd name="connsiteY229" fmla="*/ 628485 h 1333436"/>
                <a:gd name="connsiteX230" fmla="*/ 6533 w 752994"/>
                <a:gd name="connsiteY230" fmla="*/ 620305 h 1333436"/>
                <a:gd name="connsiteX231" fmla="*/ 7359 w 752994"/>
                <a:gd name="connsiteY231" fmla="*/ 611745 h 1333436"/>
                <a:gd name="connsiteX232" fmla="*/ 11836 w 752994"/>
                <a:gd name="connsiteY232" fmla="*/ 602978 h 1333436"/>
                <a:gd name="connsiteX233" fmla="*/ 15103 w 752994"/>
                <a:gd name="connsiteY233" fmla="*/ 591760 h 1333436"/>
                <a:gd name="connsiteX234" fmla="*/ 14488 w 752994"/>
                <a:gd name="connsiteY234" fmla="*/ 584029 h 1333436"/>
                <a:gd name="connsiteX235" fmla="*/ 13873 w 752994"/>
                <a:gd name="connsiteY235" fmla="*/ 578299 h 1333436"/>
                <a:gd name="connsiteX236" fmla="*/ 10626 w 752994"/>
                <a:gd name="connsiteY236" fmla="*/ 568531 h 1333436"/>
                <a:gd name="connsiteX237" fmla="*/ 3670 w 752994"/>
                <a:gd name="connsiteY237" fmla="*/ 558107 h 1333436"/>
                <a:gd name="connsiteX238" fmla="*/ 0 w 752994"/>
                <a:gd name="connsiteY238" fmla="*/ 551377 h 1333436"/>
                <a:gd name="connsiteX239" fmla="*/ 0 w 752994"/>
                <a:gd name="connsiteY239" fmla="*/ 550997 h 1333436"/>
                <a:gd name="connsiteX240" fmla="*/ 4900 w 752994"/>
                <a:gd name="connsiteY240" fmla="*/ 531220 h 1333436"/>
                <a:gd name="connsiteX241" fmla="*/ 13873 w 752994"/>
                <a:gd name="connsiteY241" fmla="*/ 520589 h 1333436"/>
                <a:gd name="connsiteX242" fmla="*/ 18369 w 752994"/>
                <a:gd name="connsiteY242" fmla="*/ 516516 h 1333436"/>
                <a:gd name="connsiteX243" fmla="*/ 18773 w 752994"/>
                <a:gd name="connsiteY243" fmla="*/ 514272 h 1333436"/>
                <a:gd name="connsiteX244" fmla="*/ 23077 w 752994"/>
                <a:gd name="connsiteY244" fmla="*/ 506127 h 1333436"/>
                <a:gd name="connsiteX245" fmla="*/ 23884 w 752994"/>
                <a:gd name="connsiteY245" fmla="*/ 502261 h 1333436"/>
                <a:gd name="connsiteX246" fmla="*/ 23692 w 752994"/>
                <a:gd name="connsiteY246" fmla="*/ 496738 h 1333436"/>
                <a:gd name="connsiteX247" fmla="*/ 30013 w 752994"/>
                <a:gd name="connsiteY247" fmla="*/ 486556 h 1333436"/>
                <a:gd name="connsiteX248" fmla="*/ 36546 w 752994"/>
                <a:gd name="connsiteY248" fmla="*/ 470230 h 1333436"/>
                <a:gd name="connsiteX249" fmla="*/ 36546 w 752994"/>
                <a:gd name="connsiteY249" fmla="*/ 462671 h 1333436"/>
                <a:gd name="connsiteX250" fmla="*/ 36335 w 752994"/>
                <a:gd name="connsiteY250" fmla="*/ 461670 h 1333436"/>
                <a:gd name="connsiteX251" fmla="*/ 35931 w 752994"/>
                <a:gd name="connsiteY251" fmla="*/ 453110 h 1333436"/>
                <a:gd name="connsiteX252" fmla="*/ 38583 w 752994"/>
                <a:gd name="connsiteY252" fmla="*/ 442514 h 1333436"/>
                <a:gd name="connsiteX253" fmla="*/ 41043 w 752994"/>
                <a:gd name="connsiteY253" fmla="*/ 436991 h 1333436"/>
                <a:gd name="connsiteX254" fmla="*/ 41650 w 752994"/>
                <a:gd name="connsiteY254" fmla="*/ 437186 h 1333436"/>
                <a:gd name="connsiteX255" fmla="*/ 41239 w 752994"/>
                <a:gd name="connsiteY255" fmla="*/ 436549 h 1333436"/>
                <a:gd name="connsiteX256" fmla="*/ 37778 w 752994"/>
                <a:gd name="connsiteY256" fmla="*/ 433894 h 1333436"/>
                <a:gd name="connsiteX257" fmla="*/ 37169 w 752994"/>
                <a:gd name="connsiteY257" fmla="*/ 432261 h 1333436"/>
                <a:gd name="connsiteX258" fmla="*/ 37365 w 752994"/>
                <a:gd name="connsiteY258" fmla="*/ 429198 h 1333436"/>
                <a:gd name="connsiteX259" fmla="*/ 36756 w 752994"/>
                <a:gd name="connsiteY259" fmla="*/ 422272 h 1333436"/>
                <a:gd name="connsiteX260" fmla="*/ 36952 w 752994"/>
                <a:gd name="connsiteY260" fmla="*/ 418800 h 1333436"/>
                <a:gd name="connsiteX261" fmla="*/ 36756 w 752994"/>
                <a:gd name="connsiteY261" fmla="*/ 412487 h 1333436"/>
                <a:gd name="connsiteX262" fmla="*/ 40433 w 752994"/>
                <a:gd name="connsiteY262" fmla="*/ 406174 h 1333436"/>
                <a:gd name="connsiteX263" fmla="*/ 44720 w 752994"/>
                <a:gd name="connsiteY263" fmla="*/ 399435 h 1333436"/>
                <a:gd name="connsiteX264" fmla="*/ 44110 w 752994"/>
                <a:gd name="connsiteY264" fmla="*/ 389651 h 1333436"/>
                <a:gd name="connsiteX265" fmla="*/ 43894 w 752994"/>
                <a:gd name="connsiteY265" fmla="*/ 378437 h 1333436"/>
                <a:gd name="connsiteX266" fmla="*/ 47158 w 752994"/>
                <a:gd name="connsiteY266" fmla="*/ 371102 h 1333436"/>
                <a:gd name="connsiteX267" fmla="*/ 55731 w 752994"/>
                <a:gd name="connsiteY267" fmla="*/ 360909 h 1333436"/>
                <a:gd name="connsiteX268" fmla="*/ 57580 w 752994"/>
                <a:gd name="connsiteY268" fmla="*/ 355804 h 1333436"/>
                <a:gd name="connsiteX269" fmla="*/ 62673 w 752994"/>
                <a:gd name="connsiteY269" fmla="*/ 349695 h 1333436"/>
                <a:gd name="connsiteX270" fmla="*/ 65937 w 752994"/>
                <a:gd name="connsiteY270" fmla="*/ 348470 h 1333436"/>
                <a:gd name="connsiteX271" fmla="*/ 68395 w 752994"/>
                <a:gd name="connsiteY271" fmla="*/ 348674 h 1333436"/>
                <a:gd name="connsiteX272" fmla="*/ 70224 w 752994"/>
                <a:gd name="connsiteY272" fmla="*/ 347449 h 1333436"/>
                <a:gd name="connsiteX273" fmla="*/ 67785 w 752994"/>
                <a:gd name="connsiteY273" fmla="*/ 345203 h 1333436"/>
                <a:gd name="connsiteX274" fmla="*/ 65524 w 752994"/>
                <a:gd name="connsiteY274" fmla="*/ 343178 h 1333436"/>
                <a:gd name="connsiteX275" fmla="*/ 73095 w 752994"/>
                <a:gd name="connsiteY275" fmla="*/ 333376 h 1333436"/>
                <a:gd name="connsiteX276" fmla="*/ 73291 w 752994"/>
                <a:gd name="connsiteY276" fmla="*/ 333376 h 1333436"/>
                <a:gd name="connsiteX277" fmla="*/ 77991 w 752994"/>
                <a:gd name="connsiteY277" fmla="*/ 325838 h 1333436"/>
                <a:gd name="connsiteX278" fmla="*/ 82671 w 752994"/>
                <a:gd name="connsiteY278" fmla="*/ 313619 h 1333436"/>
                <a:gd name="connsiteX279" fmla="*/ 87980 w 752994"/>
                <a:gd name="connsiteY279" fmla="*/ 303018 h 1333436"/>
                <a:gd name="connsiteX280" fmla="*/ 92267 w 752994"/>
                <a:gd name="connsiteY280" fmla="*/ 291191 h 1333436"/>
                <a:gd name="connsiteX281" fmla="*/ 96553 w 752994"/>
                <a:gd name="connsiteY281" fmla="*/ 281202 h 1333436"/>
                <a:gd name="connsiteX282" fmla="*/ 99621 w 752994"/>
                <a:gd name="connsiteY282" fmla="*/ 274481 h 1333436"/>
                <a:gd name="connsiteX283" fmla="*/ 103082 w 752994"/>
                <a:gd name="connsiteY283" fmla="*/ 262450 h 1333436"/>
                <a:gd name="connsiteX284" fmla="*/ 107172 w 752994"/>
                <a:gd name="connsiteY284" fmla="*/ 254299 h 1333436"/>
                <a:gd name="connsiteX285" fmla="*/ 112481 w 752994"/>
                <a:gd name="connsiteY285" fmla="*/ 243697 h 1333436"/>
                <a:gd name="connsiteX286" fmla="*/ 117181 w 752994"/>
                <a:gd name="connsiteY286" fmla="*/ 232279 h 1333436"/>
                <a:gd name="connsiteX287" fmla="*/ 125951 w 752994"/>
                <a:gd name="connsiteY287" fmla="*/ 217389 h 1333436"/>
                <a:gd name="connsiteX288" fmla="*/ 136156 w 752994"/>
                <a:gd name="connsiteY288" fmla="*/ 202925 h 1333436"/>
                <a:gd name="connsiteX289" fmla="*/ 138811 w 752994"/>
                <a:gd name="connsiteY289" fmla="*/ 183339 h 1333436"/>
                <a:gd name="connsiteX290" fmla="*/ 148801 w 752994"/>
                <a:gd name="connsiteY290" fmla="*/ 167445 h 1333436"/>
                <a:gd name="connsiteX291" fmla="*/ 159616 w 752994"/>
                <a:gd name="connsiteY291" fmla="*/ 170712 h 1333436"/>
                <a:gd name="connsiteX292" fmla="*/ 173105 w 752994"/>
                <a:gd name="connsiteY292" fmla="*/ 175188 h 1333436"/>
                <a:gd name="connsiteX293" fmla="*/ 175347 w 752994"/>
                <a:gd name="connsiteY293" fmla="*/ 175188 h 1333436"/>
                <a:gd name="connsiteX294" fmla="*/ 175347 w 752994"/>
                <a:gd name="connsiteY294" fmla="*/ 173758 h 1333436"/>
                <a:gd name="connsiteX295" fmla="*/ 184975 w 752994"/>
                <a:gd name="connsiteY295" fmla="*/ 187393 h 1333436"/>
                <a:gd name="connsiteX296" fmla="*/ 184762 w 752994"/>
                <a:gd name="connsiteY296" fmla="*/ 184637 h 1333436"/>
                <a:gd name="connsiteX297" fmla="*/ 174971 w 752994"/>
                <a:gd name="connsiteY297" fmla="*/ 170774 h 1333436"/>
                <a:gd name="connsiteX298" fmla="*/ 174971 w 752994"/>
                <a:gd name="connsiteY298" fmla="*/ 169550 h 1333436"/>
                <a:gd name="connsiteX299" fmla="*/ 158851 w 752994"/>
                <a:gd name="connsiteY299" fmla="*/ 156924 h 1333436"/>
                <a:gd name="connsiteX300" fmla="*/ 147025 w 752994"/>
                <a:gd name="connsiteY300" fmla="*/ 145709 h 1333436"/>
                <a:gd name="connsiteX301" fmla="*/ 154364 w 752994"/>
                <a:gd name="connsiteY301" fmla="*/ 136335 h 1333436"/>
                <a:gd name="connsiteX302" fmla="*/ 161511 w 752994"/>
                <a:gd name="connsiteY302" fmla="*/ 131042 h 1333436"/>
                <a:gd name="connsiteX303" fmla="*/ 160902 w 752994"/>
                <a:gd name="connsiteY303" fmla="*/ 128384 h 1333436"/>
                <a:gd name="connsiteX304" fmla="*/ 160277 w 752994"/>
                <a:gd name="connsiteY304" fmla="*/ 127778 h 1333436"/>
                <a:gd name="connsiteX305" fmla="*/ 154973 w 752994"/>
                <a:gd name="connsiteY305" fmla="*/ 122077 h 1333436"/>
                <a:gd name="connsiteX306" fmla="*/ 160277 w 752994"/>
                <a:gd name="connsiteY306" fmla="*/ 115140 h 1333436"/>
                <a:gd name="connsiteX307" fmla="*/ 165181 w 752994"/>
                <a:gd name="connsiteY307" fmla="*/ 108215 h 1333436"/>
                <a:gd name="connsiteX308" fmla="*/ 161303 w 752994"/>
                <a:gd name="connsiteY308" fmla="*/ 104146 h 1333436"/>
                <a:gd name="connsiteX309" fmla="*/ 157842 w 752994"/>
                <a:gd name="connsiteY309" fmla="*/ 104542 h 1333436"/>
                <a:gd name="connsiteX310" fmla="*/ 157024 w 752994"/>
                <a:gd name="connsiteY310" fmla="*/ 102304 h 1333436"/>
                <a:gd name="connsiteX311" fmla="*/ 160694 w 752994"/>
                <a:gd name="connsiteY311" fmla="*/ 55437 h 1333436"/>
                <a:gd name="connsiteX312" fmla="*/ 160486 w 752994"/>
                <a:gd name="connsiteY312" fmla="*/ 31991 h 1333436"/>
                <a:gd name="connsiteX313" fmla="*/ 164972 w 752994"/>
                <a:gd name="connsiteY313" fmla="*/ 18141 h 1333436"/>
                <a:gd name="connsiteX314" fmla="*/ 171911 w 752994"/>
                <a:gd name="connsiteY314" fmla="*/ 11204 h 1333436"/>
                <a:gd name="connsiteX315" fmla="*/ 187406 w 752994"/>
                <a:gd name="connsiteY315" fmla="*/ 21801 h 1333436"/>
                <a:gd name="connsiteX316" fmla="*/ 210866 w 752994"/>
                <a:gd name="connsiteY316" fmla="*/ 37086 h 1333436"/>
                <a:gd name="connsiteX317" fmla="*/ 219230 w 752994"/>
                <a:gd name="connsiteY317" fmla="*/ 41166 h 1333436"/>
                <a:gd name="connsiteX318" fmla="*/ 226778 w 752994"/>
                <a:gd name="connsiteY318" fmla="*/ 47486 h 1333436"/>
                <a:gd name="connsiteX319" fmla="*/ 236152 w 752994"/>
                <a:gd name="connsiteY319" fmla="*/ 52370 h 1333436"/>
                <a:gd name="connsiteX320" fmla="*/ 239629 w 752994"/>
                <a:gd name="connsiteY320" fmla="*/ 58491 h 1333436"/>
                <a:gd name="connsiteX321" fmla="*/ 239629 w 752994"/>
                <a:gd name="connsiteY321" fmla="*/ 63376 h 1333436"/>
                <a:gd name="connsiteX322" fmla="*/ 236568 w 752994"/>
                <a:gd name="connsiteY322" fmla="*/ 67457 h 1333436"/>
                <a:gd name="connsiteX323" fmla="*/ 231264 w 752994"/>
                <a:gd name="connsiteY323" fmla="*/ 69905 h 1333436"/>
                <a:gd name="connsiteX324" fmla="*/ 216778 w 752994"/>
                <a:gd name="connsiteY324" fmla="*/ 82741 h 1333436"/>
                <a:gd name="connsiteX325" fmla="*/ 214134 w 752994"/>
                <a:gd name="connsiteY325" fmla="*/ 93536 h 1333436"/>
                <a:gd name="connsiteX326" fmla="*/ 214535 w 752994"/>
                <a:gd name="connsiteY326" fmla="*/ 96801 h 1333436"/>
                <a:gd name="connsiteX327" fmla="*/ 216378 w 752994"/>
                <a:gd name="connsiteY327" fmla="*/ 96801 h 1333436"/>
                <a:gd name="connsiteX328" fmla="*/ 230046 w 752994"/>
                <a:gd name="connsiteY328" fmla="*/ 85387 h 1333436"/>
                <a:gd name="connsiteX329" fmla="*/ 243298 w 752994"/>
                <a:gd name="connsiteY329" fmla="*/ 75198 h 1333436"/>
                <a:gd name="connsiteX330" fmla="*/ 246760 w 752994"/>
                <a:gd name="connsiteY330" fmla="*/ 77646 h 1333436"/>
                <a:gd name="connsiteX331" fmla="*/ 255541 w 752994"/>
                <a:gd name="connsiteY331" fmla="*/ 63376 h 1333436"/>
                <a:gd name="connsiteX332" fmla="*/ 259611 w 752994"/>
                <a:gd name="connsiteY332" fmla="*/ 43405 h 1333436"/>
                <a:gd name="connsiteX333" fmla="*/ 256967 w 752994"/>
                <a:gd name="connsiteY333" fmla="*/ 38520 h 1333436"/>
                <a:gd name="connsiteX334" fmla="*/ 253906 w 752994"/>
                <a:gd name="connsiteY334" fmla="*/ 34242 h 1333436"/>
                <a:gd name="connsiteX335" fmla="*/ 256967 w 752994"/>
                <a:gd name="connsiteY335" fmla="*/ 30161 h 1333436"/>
                <a:gd name="connsiteX336" fmla="*/ 262063 w 752994"/>
                <a:gd name="connsiteY336" fmla="*/ 27712 h 1333436"/>
                <a:gd name="connsiteX337" fmla="*/ 264915 w 752994"/>
                <a:gd name="connsiteY337" fmla="*/ 23026 h 1333436"/>
                <a:gd name="connsiteX338" fmla="*/ 267976 w 752994"/>
                <a:gd name="connsiteY338" fmla="*/ 22618 h 1333436"/>
                <a:gd name="connsiteX339" fmla="*/ 270427 w 752994"/>
                <a:gd name="connsiteY339" fmla="*/ 20787 h 1333436"/>
                <a:gd name="connsiteX340" fmla="*/ 263088 w 752994"/>
                <a:gd name="connsiteY340" fmla="*/ 13652 h 1333436"/>
                <a:gd name="connsiteX341" fmla="*/ 255541 w 752994"/>
                <a:gd name="connsiteY341" fmla="*/ 3055 h 1333436"/>
                <a:gd name="connsiteX342" fmla="*/ 256358 w 752994"/>
                <a:gd name="connsiteY342" fmla="*/ 1224 h 1333436"/>
                <a:gd name="connsiteX343" fmla="*/ 257159 w 752994"/>
                <a:gd name="connsiteY343"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381379 w 752994"/>
                <a:gd name="connsiteY30" fmla="*/ 252303 h 1333436"/>
                <a:gd name="connsiteX31" fmla="*/ 365258 w 752994"/>
                <a:gd name="connsiteY31" fmla="*/ 245774 h 1333436"/>
                <a:gd name="connsiteX32" fmla="*/ 350789 w 752994"/>
                <a:gd name="connsiteY32" fmla="*/ 244352 h 1333436"/>
                <a:gd name="connsiteX33" fmla="*/ 340789 w 752994"/>
                <a:gd name="connsiteY33" fmla="*/ 243536 h 1333436"/>
                <a:gd name="connsiteX34" fmla="*/ 333034 w 752994"/>
                <a:gd name="connsiteY34" fmla="*/ 240271 h 1333436"/>
                <a:gd name="connsiteX35" fmla="*/ 323868 w 752994"/>
                <a:gd name="connsiteY35" fmla="*/ 241495 h 1333436"/>
                <a:gd name="connsiteX36" fmla="*/ 309783 w 752994"/>
                <a:gd name="connsiteY36" fmla="*/ 243536 h 1333436"/>
                <a:gd name="connsiteX37" fmla="*/ 280827 w 752994"/>
                <a:gd name="connsiteY37" fmla="*/ 242720 h 1333436"/>
                <a:gd name="connsiteX38" fmla="*/ 274497 w 752994"/>
                <a:gd name="connsiteY38" fmla="*/ 238441 h 1333436"/>
                <a:gd name="connsiteX39" fmla="*/ 269001 w 752994"/>
                <a:gd name="connsiteY39" fmla="*/ 240679 h 1333436"/>
                <a:gd name="connsiteX40" fmla="*/ 262880 w 752994"/>
                <a:gd name="connsiteY40" fmla="*/ 243128 h 1333436"/>
                <a:gd name="connsiteX41" fmla="*/ 260028 w 752994"/>
                <a:gd name="connsiteY41" fmla="*/ 242720 h 1333436"/>
                <a:gd name="connsiteX42" fmla="*/ 247994 w 752994"/>
                <a:gd name="connsiteY42" fmla="*/ 241693 h 1333436"/>
                <a:gd name="connsiteX43" fmla="*/ 242081 w 752994"/>
                <a:gd name="connsiteY43" fmla="*/ 234162 h 1333436"/>
                <a:gd name="connsiteX44" fmla="*/ 235142 w 752994"/>
                <a:gd name="connsiteY44" fmla="*/ 229476 h 1333436"/>
                <a:gd name="connsiteX45" fmla="*/ 224742 w 752994"/>
                <a:gd name="connsiteY45" fmla="*/ 226817 h 1333436"/>
                <a:gd name="connsiteX46" fmla="*/ 216778 w 752994"/>
                <a:gd name="connsiteY46" fmla="*/ 229068 h 1333436"/>
                <a:gd name="connsiteX47" fmla="*/ 195162 w 752994"/>
                <a:gd name="connsiteY47" fmla="*/ 228857 h 1333436"/>
                <a:gd name="connsiteX48" fmla="*/ 188223 w 752994"/>
                <a:gd name="connsiteY48" fmla="*/ 223973 h 1333436"/>
                <a:gd name="connsiteX49" fmla="*/ 185163 w 752994"/>
                <a:gd name="connsiteY49" fmla="*/ 219484 h 1333436"/>
                <a:gd name="connsiteX50" fmla="*/ 184180 w 752994"/>
                <a:gd name="connsiteY50" fmla="*/ 213866 h 1333436"/>
                <a:gd name="connsiteX51" fmla="*/ 257159 w 752994"/>
                <a:gd name="connsiteY51" fmla="*/ 0 h 1333436"/>
                <a:gd name="connsiteX52" fmla="*/ 493147 w 752994"/>
                <a:gd name="connsiteY52" fmla="*/ 73157 h 1333436"/>
                <a:gd name="connsiteX53" fmla="*/ 492970 w 752994"/>
                <a:gd name="connsiteY53" fmla="*/ 73792 h 1333436"/>
                <a:gd name="connsiteX54" fmla="*/ 525816 w 752994"/>
                <a:gd name="connsiteY54" fmla="*/ 82491 h 1333436"/>
                <a:gd name="connsiteX55" fmla="*/ 520098 w 752994"/>
                <a:gd name="connsiteY55" fmla="*/ 111245 h 1333436"/>
                <a:gd name="connsiteX56" fmla="*/ 512552 w 752994"/>
                <a:gd name="connsiteY56" fmla="*/ 143854 h 1333436"/>
                <a:gd name="connsiteX57" fmla="*/ 517849 w 752994"/>
                <a:gd name="connsiteY57" fmla="*/ 157740 h 1333436"/>
                <a:gd name="connsiteX58" fmla="*/ 523160 w 752994"/>
                <a:gd name="connsiteY58" fmla="*/ 172009 h 1333436"/>
                <a:gd name="connsiteX59" fmla="*/ 521535 w 752994"/>
                <a:gd name="connsiteY59" fmla="*/ 178928 h 1333436"/>
                <a:gd name="connsiteX60" fmla="*/ 520098 w 752994"/>
                <a:gd name="connsiteY60" fmla="*/ 186279 h 1333436"/>
                <a:gd name="connsiteX61" fmla="*/ 526019 w 752994"/>
                <a:gd name="connsiteY61" fmla="*/ 193629 h 1333436"/>
                <a:gd name="connsiteX62" fmla="*/ 537251 w 752994"/>
                <a:gd name="connsiteY62" fmla="*/ 206270 h 1333436"/>
                <a:gd name="connsiteX63" fmla="*/ 542765 w 752994"/>
                <a:gd name="connsiteY63" fmla="*/ 217475 h 1333436"/>
                <a:gd name="connsiteX64" fmla="*/ 546857 w 752994"/>
                <a:gd name="connsiteY64" fmla="*/ 230930 h 1333436"/>
                <a:gd name="connsiteX65" fmla="*/ 549499 w 752994"/>
                <a:gd name="connsiteY65" fmla="*/ 235622 h 1333436"/>
                <a:gd name="connsiteX66" fmla="*/ 553388 w 752994"/>
                <a:gd name="connsiteY66" fmla="*/ 240722 h 1333436"/>
                <a:gd name="connsiteX67" fmla="*/ 557465 w 752994"/>
                <a:gd name="connsiteY67" fmla="*/ 246037 h 1333436"/>
                <a:gd name="connsiteX68" fmla="*/ 561761 w 752994"/>
                <a:gd name="connsiteY68" fmla="*/ 248671 h 1333436"/>
                <a:gd name="connsiteX69" fmla="*/ 567478 w 752994"/>
                <a:gd name="connsiteY69" fmla="*/ 247665 h 1333436"/>
                <a:gd name="connsiteX70" fmla="*/ 569931 w 752994"/>
                <a:gd name="connsiteY70" fmla="*/ 249293 h 1333436"/>
                <a:gd name="connsiteX71" fmla="*/ 570540 w 752994"/>
                <a:gd name="connsiteY71" fmla="*/ 251951 h 1333436"/>
                <a:gd name="connsiteX72" fmla="*/ 561964 w 752994"/>
                <a:gd name="connsiteY72" fmla="*/ 267656 h 1333436"/>
                <a:gd name="connsiteX73" fmla="*/ 553591 w 752994"/>
                <a:gd name="connsiteY73" fmla="*/ 289659 h 1333436"/>
                <a:gd name="connsiteX74" fmla="*/ 554810 w 752994"/>
                <a:gd name="connsiteY74" fmla="*/ 292939 h 1333436"/>
                <a:gd name="connsiteX75" fmla="*/ 556246 w 752994"/>
                <a:gd name="connsiteY75" fmla="*/ 299260 h 1333436"/>
                <a:gd name="connsiteX76" fmla="*/ 552778 w 752994"/>
                <a:gd name="connsiteY76" fmla="*/ 301917 h 1333436"/>
                <a:gd name="connsiteX77" fmla="*/ 549295 w 752994"/>
                <a:gd name="connsiteY77" fmla="*/ 306993 h 1333436"/>
                <a:gd name="connsiteX78" fmla="*/ 547061 w 752994"/>
                <a:gd name="connsiteY78" fmla="*/ 313122 h 1333436"/>
                <a:gd name="connsiteX79" fmla="*/ 544811 w 752994"/>
                <a:gd name="connsiteY79" fmla="*/ 316593 h 1333436"/>
                <a:gd name="connsiteX80" fmla="*/ 549919 w 752994"/>
                <a:gd name="connsiteY80" fmla="*/ 322698 h 1333436"/>
                <a:gd name="connsiteX81" fmla="*/ 553184 w 752994"/>
                <a:gd name="connsiteY81" fmla="*/ 325955 h 1333436"/>
                <a:gd name="connsiteX82" fmla="*/ 555840 w 752994"/>
                <a:gd name="connsiteY82" fmla="*/ 328205 h 1333436"/>
                <a:gd name="connsiteX83" fmla="*/ 574212 w 752994"/>
                <a:gd name="connsiteY83" fmla="*/ 318820 h 1333436"/>
                <a:gd name="connsiteX84" fmla="*/ 579523 w 752994"/>
                <a:gd name="connsiteY84" fmla="*/ 326577 h 1333436"/>
                <a:gd name="connsiteX85" fmla="*/ 580539 w 752994"/>
                <a:gd name="connsiteY85" fmla="*/ 334933 h 1333436"/>
                <a:gd name="connsiteX86" fmla="*/ 579726 w 752994"/>
                <a:gd name="connsiteY86" fmla="*/ 343097 h 1333436"/>
                <a:gd name="connsiteX87" fmla="*/ 581366 w 752994"/>
                <a:gd name="connsiteY87" fmla="*/ 350231 h 1333436"/>
                <a:gd name="connsiteX88" fmla="*/ 586256 w 752994"/>
                <a:gd name="connsiteY88" fmla="*/ 355930 h 1333436"/>
                <a:gd name="connsiteX89" fmla="*/ 589536 w 752994"/>
                <a:gd name="connsiteY89" fmla="*/ 362059 h 1333436"/>
                <a:gd name="connsiteX90" fmla="*/ 588099 w 752994"/>
                <a:gd name="connsiteY90" fmla="*/ 369600 h 1333436"/>
                <a:gd name="connsiteX91" fmla="*/ 586459 w 752994"/>
                <a:gd name="connsiteY91" fmla="*/ 377357 h 1333436"/>
                <a:gd name="connsiteX92" fmla="*/ 588709 w 752994"/>
                <a:gd name="connsiteY92" fmla="*/ 381835 h 1333436"/>
                <a:gd name="connsiteX93" fmla="*/ 595036 w 752994"/>
                <a:gd name="connsiteY93" fmla="*/ 382457 h 1333436"/>
                <a:gd name="connsiteX94" fmla="*/ 599331 w 752994"/>
                <a:gd name="connsiteY94" fmla="*/ 385306 h 1333436"/>
                <a:gd name="connsiteX95" fmla="*/ 601987 w 752994"/>
                <a:gd name="connsiteY95" fmla="*/ 391004 h 1333436"/>
                <a:gd name="connsiteX96" fmla="*/ 602799 w 752994"/>
                <a:gd name="connsiteY96" fmla="*/ 404076 h 1333436"/>
                <a:gd name="connsiteX97" fmla="*/ 606892 w 752994"/>
                <a:gd name="connsiteY97" fmla="*/ 415688 h 1333436"/>
                <a:gd name="connsiteX98" fmla="*/ 610563 w 752994"/>
                <a:gd name="connsiteY98" fmla="*/ 412217 h 1333436"/>
                <a:gd name="connsiteX99" fmla="*/ 617920 w 752994"/>
                <a:gd name="connsiteY99" fmla="*/ 408769 h 1333436"/>
                <a:gd name="connsiteX100" fmla="*/ 624654 w 752994"/>
                <a:gd name="connsiteY100" fmla="*/ 411211 h 1333436"/>
                <a:gd name="connsiteX101" fmla="*/ 634652 w 752994"/>
                <a:gd name="connsiteY101" fmla="*/ 410182 h 1333436"/>
                <a:gd name="connsiteX102" fmla="*/ 640573 w 752994"/>
                <a:gd name="connsiteY102" fmla="*/ 407739 h 1333436"/>
                <a:gd name="connsiteX103" fmla="*/ 646711 w 752994"/>
                <a:gd name="connsiteY103" fmla="*/ 410589 h 1333436"/>
                <a:gd name="connsiteX104" fmla="*/ 650383 w 752994"/>
                <a:gd name="connsiteY104" fmla="*/ 410589 h 1333436"/>
                <a:gd name="connsiteX105" fmla="*/ 654257 w 752994"/>
                <a:gd name="connsiteY105" fmla="*/ 411618 h 1333436"/>
                <a:gd name="connsiteX106" fmla="*/ 656913 w 752994"/>
                <a:gd name="connsiteY106" fmla="*/ 413653 h 1333436"/>
                <a:gd name="connsiteX107" fmla="*/ 660802 w 752994"/>
                <a:gd name="connsiteY107" fmla="*/ 415090 h 1333436"/>
                <a:gd name="connsiteX108" fmla="*/ 669581 w 752994"/>
                <a:gd name="connsiteY108" fmla="*/ 415904 h 1333436"/>
                <a:gd name="connsiteX109" fmla="*/ 672237 w 752994"/>
                <a:gd name="connsiteY109" fmla="*/ 415688 h 1333436"/>
                <a:gd name="connsiteX110" fmla="*/ 675705 w 752994"/>
                <a:gd name="connsiteY110" fmla="*/ 409367 h 1333436"/>
                <a:gd name="connsiteX111" fmla="*/ 679986 w 752994"/>
                <a:gd name="connsiteY111" fmla="*/ 403238 h 1333436"/>
                <a:gd name="connsiteX112" fmla="*/ 693264 w 752994"/>
                <a:gd name="connsiteY112" fmla="*/ 419567 h 1333436"/>
                <a:gd name="connsiteX113" fmla="*/ 688563 w 752994"/>
                <a:gd name="connsiteY113" fmla="*/ 448321 h 1333436"/>
                <a:gd name="connsiteX114" fmla="*/ 663949 w 752994"/>
                <a:gd name="connsiteY114" fmla="*/ 590165 h 1333436"/>
                <a:gd name="connsiteX115" fmla="*/ 666304 w 752994"/>
                <a:gd name="connsiteY115" fmla="*/ 590504 h 1333436"/>
                <a:gd name="connsiteX116" fmla="*/ 655288 w 752994"/>
                <a:gd name="connsiteY116" fmla="*/ 656178 h 1333436"/>
                <a:gd name="connsiteX117" fmla="*/ 681808 w 752994"/>
                <a:gd name="connsiteY117" fmla="*/ 662301 h 1333436"/>
                <a:gd name="connsiteX118" fmla="*/ 752994 w 752994"/>
                <a:gd name="connsiteY118" fmla="*/ 675560 h 1333436"/>
                <a:gd name="connsiteX119" fmla="*/ 714651 w 752994"/>
                <a:gd name="connsiteY119" fmla="*/ 946985 h 1333436"/>
                <a:gd name="connsiteX120" fmla="*/ 654533 w 752994"/>
                <a:gd name="connsiteY120" fmla="*/ 1333436 h 1333436"/>
                <a:gd name="connsiteX121" fmla="*/ 546831 w 752994"/>
                <a:gd name="connsiteY121" fmla="*/ 1317126 h 1333436"/>
                <a:gd name="connsiteX122" fmla="*/ 351227 w 752994"/>
                <a:gd name="connsiteY122" fmla="*/ 1194172 h 1333436"/>
                <a:gd name="connsiteX123" fmla="*/ 361011 w 752994"/>
                <a:gd name="connsiteY123" fmla="*/ 1182755 h 1333436"/>
                <a:gd name="connsiteX124" fmla="*/ 368981 w 752994"/>
                <a:gd name="connsiteY124" fmla="*/ 1182130 h 1333436"/>
                <a:gd name="connsiteX125" fmla="*/ 369571 w 752994"/>
                <a:gd name="connsiteY125" fmla="*/ 1181558 h 1333436"/>
                <a:gd name="connsiteX126" fmla="*/ 362372 w 752994"/>
                <a:gd name="connsiteY126" fmla="*/ 1182120 h 1333436"/>
                <a:gd name="connsiteX127" fmla="*/ 229464 w 752994"/>
                <a:gd name="connsiteY127" fmla="*/ 1161721 h 1333436"/>
                <a:gd name="connsiteX128" fmla="*/ 227427 w 752994"/>
                <a:gd name="connsiteY128" fmla="*/ 1157269 h 1333436"/>
                <a:gd name="connsiteX129" fmla="*/ 224967 w 752994"/>
                <a:gd name="connsiteY129" fmla="*/ 1152575 h 1333436"/>
                <a:gd name="connsiteX130" fmla="*/ 225582 w 752994"/>
                <a:gd name="connsiteY130" fmla="*/ 1144808 h 1333436"/>
                <a:gd name="connsiteX131" fmla="*/ 227215 w 752994"/>
                <a:gd name="connsiteY131" fmla="*/ 1135834 h 1333436"/>
                <a:gd name="connsiteX132" fmla="*/ 227215 w 752994"/>
                <a:gd name="connsiteY132" fmla="*/ 1134212 h 1333436"/>
                <a:gd name="connsiteX133" fmla="*/ 225179 w 752994"/>
                <a:gd name="connsiteY133" fmla="*/ 1114020 h 1333436"/>
                <a:gd name="connsiteX134" fmla="*/ 217839 w 752994"/>
                <a:gd name="connsiteY134" fmla="*/ 1100352 h 1333436"/>
                <a:gd name="connsiteX135" fmla="*/ 199661 w 752994"/>
                <a:gd name="connsiteY135" fmla="*/ 1076502 h 1333436"/>
                <a:gd name="connsiteX136" fmla="*/ 196395 w 752994"/>
                <a:gd name="connsiteY136" fmla="*/ 1071807 h 1333436"/>
                <a:gd name="connsiteX137" fmla="*/ 190880 w 752994"/>
                <a:gd name="connsiteY137" fmla="*/ 1067527 h 1333436"/>
                <a:gd name="connsiteX138" fmla="*/ 187210 w 752994"/>
                <a:gd name="connsiteY138" fmla="*/ 1068735 h 1333436"/>
                <a:gd name="connsiteX139" fmla="*/ 180062 w 752994"/>
                <a:gd name="connsiteY139" fmla="*/ 1066699 h 1333436"/>
                <a:gd name="connsiteX140" fmla="*/ 180466 w 752994"/>
                <a:gd name="connsiteY140" fmla="*/ 1053031 h 1333436"/>
                <a:gd name="connsiteX141" fmla="*/ 180062 w 752994"/>
                <a:gd name="connsiteY141" fmla="*/ 1045299 h 1333436"/>
                <a:gd name="connsiteX142" fmla="*/ 174144 w 752994"/>
                <a:gd name="connsiteY142" fmla="*/ 1044057 h 1333436"/>
                <a:gd name="connsiteX143" fmla="*/ 158426 w 752994"/>
                <a:gd name="connsiteY143" fmla="*/ 1042641 h 1333436"/>
                <a:gd name="connsiteX144" fmla="*/ 149857 w 752994"/>
                <a:gd name="connsiteY144" fmla="*/ 1035497 h 1333436"/>
                <a:gd name="connsiteX145" fmla="*/ 142497 w 752994"/>
                <a:gd name="connsiteY145" fmla="*/ 1028766 h 1333436"/>
                <a:gd name="connsiteX146" fmla="*/ 140864 w 752994"/>
                <a:gd name="connsiteY146" fmla="*/ 1020620 h 1333436"/>
                <a:gd name="connsiteX147" fmla="*/ 138212 w 752994"/>
                <a:gd name="connsiteY147" fmla="*/ 1013061 h 1333436"/>
                <a:gd name="connsiteX148" fmla="*/ 131064 w 752994"/>
                <a:gd name="connsiteY148" fmla="*/ 1007159 h 1333436"/>
                <a:gd name="connsiteX149" fmla="*/ 121264 w 752994"/>
                <a:gd name="connsiteY149" fmla="*/ 1005330 h 1333436"/>
                <a:gd name="connsiteX150" fmla="*/ 112483 w 752994"/>
                <a:gd name="connsiteY150" fmla="*/ 1001671 h 1333436"/>
                <a:gd name="connsiteX151" fmla="*/ 105950 w 752994"/>
                <a:gd name="connsiteY151" fmla="*/ 995734 h 1333436"/>
                <a:gd name="connsiteX152" fmla="*/ 97380 w 752994"/>
                <a:gd name="connsiteY152" fmla="*/ 994526 h 1333436"/>
                <a:gd name="connsiteX153" fmla="*/ 87984 w 752994"/>
                <a:gd name="connsiteY153" fmla="*/ 991040 h 1333436"/>
                <a:gd name="connsiteX154" fmla="*/ 80029 w 752994"/>
                <a:gd name="connsiteY154" fmla="*/ 985138 h 1333436"/>
                <a:gd name="connsiteX155" fmla="*/ 77166 w 752994"/>
                <a:gd name="connsiteY155" fmla="*/ 976164 h 1333436"/>
                <a:gd name="connsiteX156" fmla="*/ 79203 w 752994"/>
                <a:gd name="connsiteY156" fmla="*/ 970676 h 1333436"/>
                <a:gd name="connsiteX157" fmla="*/ 82470 w 752994"/>
                <a:gd name="connsiteY157" fmla="*/ 963117 h 1333436"/>
                <a:gd name="connsiteX158" fmla="*/ 84314 w 752994"/>
                <a:gd name="connsiteY158" fmla="*/ 954557 h 1333436"/>
                <a:gd name="connsiteX159" fmla="*/ 86351 w 752994"/>
                <a:gd name="connsiteY159" fmla="*/ 948033 h 1333436"/>
                <a:gd name="connsiteX160" fmla="*/ 86159 w 752994"/>
                <a:gd name="connsiteY160" fmla="*/ 942925 h 1333436"/>
                <a:gd name="connsiteX161" fmla="*/ 83085 w 752994"/>
                <a:gd name="connsiteY161" fmla="*/ 939853 h 1333436"/>
                <a:gd name="connsiteX162" fmla="*/ 77570 w 752994"/>
                <a:gd name="connsiteY162" fmla="*/ 937437 h 1333436"/>
                <a:gd name="connsiteX163" fmla="*/ 76763 w 752994"/>
                <a:gd name="connsiteY163" fmla="*/ 931915 h 1333436"/>
                <a:gd name="connsiteX164" fmla="*/ 78800 w 752994"/>
                <a:gd name="connsiteY164" fmla="*/ 927013 h 1333436"/>
                <a:gd name="connsiteX165" fmla="*/ 79626 w 752994"/>
                <a:gd name="connsiteY165" fmla="*/ 922526 h 1333436"/>
                <a:gd name="connsiteX166" fmla="*/ 77781 w 752994"/>
                <a:gd name="connsiteY166" fmla="*/ 919903 h 1333436"/>
                <a:gd name="connsiteX167" fmla="*/ 74303 w 752994"/>
                <a:gd name="connsiteY167" fmla="*/ 917418 h 1333436"/>
                <a:gd name="connsiteX168" fmla="*/ 71863 w 752994"/>
                <a:gd name="connsiteY168" fmla="*/ 915174 h 1333436"/>
                <a:gd name="connsiteX169" fmla="*/ 71652 w 752994"/>
                <a:gd name="connsiteY169" fmla="*/ 910894 h 1333436"/>
                <a:gd name="connsiteX170" fmla="*/ 70633 w 752994"/>
                <a:gd name="connsiteY170" fmla="*/ 906614 h 1333436"/>
                <a:gd name="connsiteX171" fmla="*/ 68385 w 752994"/>
                <a:gd name="connsiteY171" fmla="*/ 902749 h 1333436"/>
                <a:gd name="connsiteX172" fmla="*/ 61045 w 752994"/>
                <a:gd name="connsiteY172" fmla="*/ 889494 h 1333436"/>
                <a:gd name="connsiteX173" fmla="*/ 57971 w 752994"/>
                <a:gd name="connsiteY173" fmla="*/ 875619 h 1333436"/>
                <a:gd name="connsiteX174" fmla="*/ 52264 w 752994"/>
                <a:gd name="connsiteY174" fmla="*/ 862572 h 1333436"/>
                <a:gd name="connsiteX175" fmla="*/ 44309 w 752994"/>
                <a:gd name="connsiteY175" fmla="*/ 850561 h 1333436"/>
                <a:gd name="connsiteX176" fmla="*/ 45520 w 752994"/>
                <a:gd name="connsiteY176" fmla="*/ 827090 h 1333436"/>
                <a:gd name="connsiteX177" fmla="*/ 53071 w 752994"/>
                <a:gd name="connsiteY177" fmla="*/ 822396 h 1333436"/>
                <a:gd name="connsiteX178" fmla="*/ 57375 w 752994"/>
                <a:gd name="connsiteY178" fmla="*/ 816493 h 1333436"/>
                <a:gd name="connsiteX179" fmla="*/ 55319 w 752994"/>
                <a:gd name="connsiteY179" fmla="*/ 801617 h 1333436"/>
                <a:gd name="connsiteX180" fmla="*/ 48383 w 752994"/>
                <a:gd name="connsiteY180" fmla="*/ 802204 h 1333436"/>
                <a:gd name="connsiteX181" fmla="*/ 40428 w 752994"/>
                <a:gd name="connsiteY181" fmla="*/ 797924 h 1333436"/>
                <a:gd name="connsiteX182" fmla="*/ 37565 w 752994"/>
                <a:gd name="connsiteY182" fmla="*/ 790606 h 1333436"/>
                <a:gd name="connsiteX183" fmla="*/ 37565 w 752994"/>
                <a:gd name="connsiteY183" fmla="*/ 790399 h 1333436"/>
                <a:gd name="connsiteX184" fmla="*/ 35931 w 752994"/>
                <a:gd name="connsiteY184" fmla="*/ 785912 h 1333436"/>
                <a:gd name="connsiteX185" fmla="*/ 34510 w 752994"/>
                <a:gd name="connsiteY185" fmla="*/ 780597 h 1333436"/>
                <a:gd name="connsiteX186" fmla="*/ 36335 w 752994"/>
                <a:gd name="connsiteY186" fmla="*/ 774280 h 1333436"/>
                <a:gd name="connsiteX187" fmla="*/ 38180 w 752994"/>
                <a:gd name="connsiteY187" fmla="*/ 766721 h 1333436"/>
                <a:gd name="connsiteX188" fmla="*/ 37161 w 752994"/>
                <a:gd name="connsiteY188" fmla="*/ 760405 h 1333436"/>
                <a:gd name="connsiteX189" fmla="*/ 35720 w 752994"/>
                <a:gd name="connsiteY189" fmla="*/ 754710 h 1333436"/>
                <a:gd name="connsiteX190" fmla="*/ 36546 w 752994"/>
                <a:gd name="connsiteY190" fmla="*/ 748773 h 1333436"/>
                <a:gd name="connsiteX191" fmla="*/ 38372 w 752994"/>
                <a:gd name="connsiteY191" fmla="*/ 744528 h 1333436"/>
                <a:gd name="connsiteX192" fmla="*/ 41638 w 752994"/>
                <a:gd name="connsiteY192" fmla="*/ 744321 h 1333436"/>
                <a:gd name="connsiteX193" fmla="*/ 44713 w 752994"/>
                <a:gd name="connsiteY193" fmla="*/ 746357 h 1333436"/>
                <a:gd name="connsiteX194" fmla="*/ 47364 w 752994"/>
                <a:gd name="connsiteY194" fmla="*/ 753260 h 1333436"/>
                <a:gd name="connsiteX195" fmla="*/ 55742 w 752994"/>
                <a:gd name="connsiteY195" fmla="*/ 764305 h 1333436"/>
                <a:gd name="connsiteX196" fmla="*/ 56338 w 752994"/>
                <a:gd name="connsiteY196" fmla="*/ 761233 h 1333436"/>
                <a:gd name="connsiteX197" fmla="*/ 56145 w 752994"/>
                <a:gd name="connsiteY197" fmla="*/ 757368 h 1333436"/>
                <a:gd name="connsiteX198" fmla="*/ 54916 w 752994"/>
                <a:gd name="connsiteY198" fmla="*/ 748601 h 1333436"/>
                <a:gd name="connsiteX199" fmla="*/ 52879 w 752994"/>
                <a:gd name="connsiteY199" fmla="*/ 747358 h 1333436"/>
                <a:gd name="connsiteX200" fmla="*/ 51649 w 752994"/>
                <a:gd name="connsiteY200" fmla="*/ 745322 h 1333436"/>
                <a:gd name="connsiteX201" fmla="*/ 51649 w 752994"/>
                <a:gd name="connsiteY201" fmla="*/ 739212 h 1333436"/>
                <a:gd name="connsiteX202" fmla="*/ 50227 w 752994"/>
                <a:gd name="connsiteY202" fmla="*/ 734725 h 1333436"/>
                <a:gd name="connsiteX203" fmla="*/ 48786 w 752994"/>
                <a:gd name="connsiteY203" fmla="*/ 731446 h 1333436"/>
                <a:gd name="connsiteX204" fmla="*/ 54512 w 752994"/>
                <a:gd name="connsiteY204" fmla="*/ 726372 h 1333436"/>
                <a:gd name="connsiteX205" fmla="*/ 59815 w 752994"/>
                <a:gd name="connsiteY205" fmla="*/ 725130 h 1333436"/>
                <a:gd name="connsiteX206" fmla="*/ 58182 w 752994"/>
                <a:gd name="connsiteY206" fmla="*/ 722886 h 1333436"/>
                <a:gd name="connsiteX207" fmla="*/ 51861 w 752994"/>
                <a:gd name="connsiteY207" fmla="*/ 717985 h 1333436"/>
                <a:gd name="connsiteX208" fmla="*/ 46749 w 752994"/>
                <a:gd name="connsiteY208" fmla="*/ 729617 h 1333436"/>
                <a:gd name="connsiteX209" fmla="*/ 40831 w 752994"/>
                <a:gd name="connsiteY209" fmla="*/ 739212 h 1333436"/>
                <a:gd name="connsiteX210" fmla="*/ 39601 w 752994"/>
                <a:gd name="connsiteY210" fmla="*/ 738798 h 1333436"/>
                <a:gd name="connsiteX211" fmla="*/ 39409 w 752994"/>
                <a:gd name="connsiteY211" fmla="*/ 738591 h 1333436"/>
                <a:gd name="connsiteX212" fmla="*/ 37161 w 752994"/>
                <a:gd name="connsiteY212" fmla="*/ 734725 h 1333436"/>
                <a:gd name="connsiteX213" fmla="*/ 32665 w 752994"/>
                <a:gd name="connsiteY213" fmla="*/ 727788 h 1333436"/>
                <a:gd name="connsiteX214" fmla="*/ 26747 w 752994"/>
                <a:gd name="connsiteY214" fmla="*/ 719435 h 1333436"/>
                <a:gd name="connsiteX215" fmla="*/ 23884 w 752994"/>
                <a:gd name="connsiteY215" fmla="*/ 717812 h 1333436"/>
                <a:gd name="connsiteX216" fmla="*/ 24710 w 752994"/>
                <a:gd name="connsiteY216" fmla="*/ 709632 h 1333436"/>
                <a:gd name="connsiteX217" fmla="*/ 27554 w 752994"/>
                <a:gd name="connsiteY217" fmla="*/ 701694 h 1333436"/>
                <a:gd name="connsiteX218" fmla="*/ 24902 w 752994"/>
                <a:gd name="connsiteY218" fmla="*/ 696171 h 1333436"/>
                <a:gd name="connsiteX219" fmla="*/ 24095 w 752994"/>
                <a:gd name="connsiteY219" fmla="*/ 687818 h 1333436"/>
                <a:gd name="connsiteX220" fmla="*/ 22462 w 752994"/>
                <a:gd name="connsiteY220" fmla="*/ 682330 h 1333436"/>
                <a:gd name="connsiteX221" fmla="*/ 17159 w 752994"/>
                <a:gd name="connsiteY221" fmla="*/ 677636 h 1333436"/>
                <a:gd name="connsiteX222" fmla="*/ 14296 w 752994"/>
                <a:gd name="connsiteY222" fmla="*/ 671492 h 1333436"/>
                <a:gd name="connsiteX223" fmla="*/ 12451 w 752994"/>
                <a:gd name="connsiteY223" fmla="*/ 665797 h 1333436"/>
                <a:gd name="connsiteX224" fmla="*/ 5111 w 752994"/>
                <a:gd name="connsiteY224" fmla="*/ 654994 h 1333436"/>
                <a:gd name="connsiteX225" fmla="*/ 2248 w 752994"/>
                <a:gd name="connsiteY225" fmla="*/ 645605 h 1333436"/>
                <a:gd name="connsiteX226" fmla="*/ 4496 w 752994"/>
                <a:gd name="connsiteY226" fmla="*/ 640497 h 1333436"/>
                <a:gd name="connsiteX227" fmla="*/ 6744 w 752994"/>
                <a:gd name="connsiteY227" fmla="*/ 632765 h 1333436"/>
                <a:gd name="connsiteX228" fmla="*/ 6744 w 752994"/>
                <a:gd name="connsiteY228" fmla="*/ 628485 h 1333436"/>
                <a:gd name="connsiteX229" fmla="*/ 6533 w 752994"/>
                <a:gd name="connsiteY229" fmla="*/ 620305 h 1333436"/>
                <a:gd name="connsiteX230" fmla="*/ 7359 w 752994"/>
                <a:gd name="connsiteY230" fmla="*/ 611745 h 1333436"/>
                <a:gd name="connsiteX231" fmla="*/ 11836 w 752994"/>
                <a:gd name="connsiteY231" fmla="*/ 602978 h 1333436"/>
                <a:gd name="connsiteX232" fmla="*/ 15103 w 752994"/>
                <a:gd name="connsiteY232" fmla="*/ 591760 h 1333436"/>
                <a:gd name="connsiteX233" fmla="*/ 14488 w 752994"/>
                <a:gd name="connsiteY233" fmla="*/ 584029 h 1333436"/>
                <a:gd name="connsiteX234" fmla="*/ 13873 w 752994"/>
                <a:gd name="connsiteY234" fmla="*/ 578299 h 1333436"/>
                <a:gd name="connsiteX235" fmla="*/ 10626 w 752994"/>
                <a:gd name="connsiteY235" fmla="*/ 568531 h 1333436"/>
                <a:gd name="connsiteX236" fmla="*/ 3670 w 752994"/>
                <a:gd name="connsiteY236" fmla="*/ 558107 h 1333436"/>
                <a:gd name="connsiteX237" fmla="*/ 0 w 752994"/>
                <a:gd name="connsiteY237" fmla="*/ 551377 h 1333436"/>
                <a:gd name="connsiteX238" fmla="*/ 0 w 752994"/>
                <a:gd name="connsiteY238" fmla="*/ 550997 h 1333436"/>
                <a:gd name="connsiteX239" fmla="*/ 4900 w 752994"/>
                <a:gd name="connsiteY239" fmla="*/ 531220 h 1333436"/>
                <a:gd name="connsiteX240" fmla="*/ 13873 w 752994"/>
                <a:gd name="connsiteY240" fmla="*/ 520589 h 1333436"/>
                <a:gd name="connsiteX241" fmla="*/ 18369 w 752994"/>
                <a:gd name="connsiteY241" fmla="*/ 516516 h 1333436"/>
                <a:gd name="connsiteX242" fmla="*/ 18773 w 752994"/>
                <a:gd name="connsiteY242" fmla="*/ 514272 h 1333436"/>
                <a:gd name="connsiteX243" fmla="*/ 23077 w 752994"/>
                <a:gd name="connsiteY243" fmla="*/ 506127 h 1333436"/>
                <a:gd name="connsiteX244" fmla="*/ 23884 w 752994"/>
                <a:gd name="connsiteY244" fmla="*/ 502261 h 1333436"/>
                <a:gd name="connsiteX245" fmla="*/ 23692 w 752994"/>
                <a:gd name="connsiteY245" fmla="*/ 496738 h 1333436"/>
                <a:gd name="connsiteX246" fmla="*/ 30013 w 752994"/>
                <a:gd name="connsiteY246" fmla="*/ 486556 h 1333436"/>
                <a:gd name="connsiteX247" fmla="*/ 36546 w 752994"/>
                <a:gd name="connsiteY247" fmla="*/ 470230 h 1333436"/>
                <a:gd name="connsiteX248" fmla="*/ 36546 w 752994"/>
                <a:gd name="connsiteY248" fmla="*/ 462671 h 1333436"/>
                <a:gd name="connsiteX249" fmla="*/ 36335 w 752994"/>
                <a:gd name="connsiteY249" fmla="*/ 461670 h 1333436"/>
                <a:gd name="connsiteX250" fmla="*/ 35931 w 752994"/>
                <a:gd name="connsiteY250" fmla="*/ 453110 h 1333436"/>
                <a:gd name="connsiteX251" fmla="*/ 38583 w 752994"/>
                <a:gd name="connsiteY251" fmla="*/ 442514 h 1333436"/>
                <a:gd name="connsiteX252" fmla="*/ 41043 w 752994"/>
                <a:gd name="connsiteY252" fmla="*/ 436991 h 1333436"/>
                <a:gd name="connsiteX253" fmla="*/ 41650 w 752994"/>
                <a:gd name="connsiteY253" fmla="*/ 437186 h 1333436"/>
                <a:gd name="connsiteX254" fmla="*/ 41239 w 752994"/>
                <a:gd name="connsiteY254" fmla="*/ 436549 h 1333436"/>
                <a:gd name="connsiteX255" fmla="*/ 37778 w 752994"/>
                <a:gd name="connsiteY255" fmla="*/ 433894 h 1333436"/>
                <a:gd name="connsiteX256" fmla="*/ 37169 w 752994"/>
                <a:gd name="connsiteY256" fmla="*/ 432261 h 1333436"/>
                <a:gd name="connsiteX257" fmla="*/ 37365 w 752994"/>
                <a:gd name="connsiteY257" fmla="*/ 429198 h 1333436"/>
                <a:gd name="connsiteX258" fmla="*/ 36756 w 752994"/>
                <a:gd name="connsiteY258" fmla="*/ 422272 h 1333436"/>
                <a:gd name="connsiteX259" fmla="*/ 36952 w 752994"/>
                <a:gd name="connsiteY259" fmla="*/ 418800 h 1333436"/>
                <a:gd name="connsiteX260" fmla="*/ 36756 w 752994"/>
                <a:gd name="connsiteY260" fmla="*/ 412487 h 1333436"/>
                <a:gd name="connsiteX261" fmla="*/ 40433 w 752994"/>
                <a:gd name="connsiteY261" fmla="*/ 406174 h 1333436"/>
                <a:gd name="connsiteX262" fmla="*/ 44720 w 752994"/>
                <a:gd name="connsiteY262" fmla="*/ 399435 h 1333436"/>
                <a:gd name="connsiteX263" fmla="*/ 44110 w 752994"/>
                <a:gd name="connsiteY263" fmla="*/ 389651 h 1333436"/>
                <a:gd name="connsiteX264" fmla="*/ 43894 w 752994"/>
                <a:gd name="connsiteY264" fmla="*/ 378437 h 1333436"/>
                <a:gd name="connsiteX265" fmla="*/ 47158 w 752994"/>
                <a:gd name="connsiteY265" fmla="*/ 371102 h 1333436"/>
                <a:gd name="connsiteX266" fmla="*/ 55731 w 752994"/>
                <a:gd name="connsiteY266" fmla="*/ 360909 h 1333436"/>
                <a:gd name="connsiteX267" fmla="*/ 57580 w 752994"/>
                <a:gd name="connsiteY267" fmla="*/ 355804 h 1333436"/>
                <a:gd name="connsiteX268" fmla="*/ 62673 w 752994"/>
                <a:gd name="connsiteY268" fmla="*/ 349695 h 1333436"/>
                <a:gd name="connsiteX269" fmla="*/ 65937 w 752994"/>
                <a:gd name="connsiteY269" fmla="*/ 348470 h 1333436"/>
                <a:gd name="connsiteX270" fmla="*/ 68395 w 752994"/>
                <a:gd name="connsiteY270" fmla="*/ 348674 h 1333436"/>
                <a:gd name="connsiteX271" fmla="*/ 70224 w 752994"/>
                <a:gd name="connsiteY271" fmla="*/ 347449 h 1333436"/>
                <a:gd name="connsiteX272" fmla="*/ 67785 w 752994"/>
                <a:gd name="connsiteY272" fmla="*/ 345203 h 1333436"/>
                <a:gd name="connsiteX273" fmla="*/ 65524 w 752994"/>
                <a:gd name="connsiteY273" fmla="*/ 343178 h 1333436"/>
                <a:gd name="connsiteX274" fmla="*/ 73095 w 752994"/>
                <a:gd name="connsiteY274" fmla="*/ 333376 h 1333436"/>
                <a:gd name="connsiteX275" fmla="*/ 73291 w 752994"/>
                <a:gd name="connsiteY275" fmla="*/ 333376 h 1333436"/>
                <a:gd name="connsiteX276" fmla="*/ 77991 w 752994"/>
                <a:gd name="connsiteY276" fmla="*/ 325838 h 1333436"/>
                <a:gd name="connsiteX277" fmla="*/ 82671 w 752994"/>
                <a:gd name="connsiteY277" fmla="*/ 313619 h 1333436"/>
                <a:gd name="connsiteX278" fmla="*/ 87980 w 752994"/>
                <a:gd name="connsiteY278" fmla="*/ 303018 h 1333436"/>
                <a:gd name="connsiteX279" fmla="*/ 92267 w 752994"/>
                <a:gd name="connsiteY279" fmla="*/ 291191 h 1333436"/>
                <a:gd name="connsiteX280" fmla="*/ 96553 w 752994"/>
                <a:gd name="connsiteY280" fmla="*/ 281202 h 1333436"/>
                <a:gd name="connsiteX281" fmla="*/ 99621 w 752994"/>
                <a:gd name="connsiteY281" fmla="*/ 274481 h 1333436"/>
                <a:gd name="connsiteX282" fmla="*/ 103082 w 752994"/>
                <a:gd name="connsiteY282" fmla="*/ 262450 h 1333436"/>
                <a:gd name="connsiteX283" fmla="*/ 107172 w 752994"/>
                <a:gd name="connsiteY283" fmla="*/ 254299 h 1333436"/>
                <a:gd name="connsiteX284" fmla="*/ 112481 w 752994"/>
                <a:gd name="connsiteY284" fmla="*/ 243697 h 1333436"/>
                <a:gd name="connsiteX285" fmla="*/ 117181 w 752994"/>
                <a:gd name="connsiteY285" fmla="*/ 232279 h 1333436"/>
                <a:gd name="connsiteX286" fmla="*/ 125951 w 752994"/>
                <a:gd name="connsiteY286" fmla="*/ 217389 h 1333436"/>
                <a:gd name="connsiteX287" fmla="*/ 136156 w 752994"/>
                <a:gd name="connsiteY287" fmla="*/ 202925 h 1333436"/>
                <a:gd name="connsiteX288" fmla="*/ 138811 w 752994"/>
                <a:gd name="connsiteY288" fmla="*/ 183339 h 1333436"/>
                <a:gd name="connsiteX289" fmla="*/ 148801 w 752994"/>
                <a:gd name="connsiteY289" fmla="*/ 167445 h 1333436"/>
                <a:gd name="connsiteX290" fmla="*/ 159616 w 752994"/>
                <a:gd name="connsiteY290" fmla="*/ 170712 h 1333436"/>
                <a:gd name="connsiteX291" fmla="*/ 173105 w 752994"/>
                <a:gd name="connsiteY291" fmla="*/ 175188 h 1333436"/>
                <a:gd name="connsiteX292" fmla="*/ 175347 w 752994"/>
                <a:gd name="connsiteY292" fmla="*/ 175188 h 1333436"/>
                <a:gd name="connsiteX293" fmla="*/ 175347 w 752994"/>
                <a:gd name="connsiteY293" fmla="*/ 173758 h 1333436"/>
                <a:gd name="connsiteX294" fmla="*/ 184975 w 752994"/>
                <a:gd name="connsiteY294" fmla="*/ 187393 h 1333436"/>
                <a:gd name="connsiteX295" fmla="*/ 184762 w 752994"/>
                <a:gd name="connsiteY295" fmla="*/ 184637 h 1333436"/>
                <a:gd name="connsiteX296" fmla="*/ 174971 w 752994"/>
                <a:gd name="connsiteY296" fmla="*/ 170774 h 1333436"/>
                <a:gd name="connsiteX297" fmla="*/ 174971 w 752994"/>
                <a:gd name="connsiteY297" fmla="*/ 169550 h 1333436"/>
                <a:gd name="connsiteX298" fmla="*/ 158851 w 752994"/>
                <a:gd name="connsiteY298" fmla="*/ 156924 h 1333436"/>
                <a:gd name="connsiteX299" fmla="*/ 147025 w 752994"/>
                <a:gd name="connsiteY299" fmla="*/ 145709 h 1333436"/>
                <a:gd name="connsiteX300" fmla="*/ 154364 w 752994"/>
                <a:gd name="connsiteY300" fmla="*/ 136335 h 1333436"/>
                <a:gd name="connsiteX301" fmla="*/ 161511 w 752994"/>
                <a:gd name="connsiteY301" fmla="*/ 131042 h 1333436"/>
                <a:gd name="connsiteX302" fmla="*/ 160902 w 752994"/>
                <a:gd name="connsiteY302" fmla="*/ 128384 h 1333436"/>
                <a:gd name="connsiteX303" fmla="*/ 160277 w 752994"/>
                <a:gd name="connsiteY303" fmla="*/ 127778 h 1333436"/>
                <a:gd name="connsiteX304" fmla="*/ 154973 w 752994"/>
                <a:gd name="connsiteY304" fmla="*/ 122077 h 1333436"/>
                <a:gd name="connsiteX305" fmla="*/ 160277 w 752994"/>
                <a:gd name="connsiteY305" fmla="*/ 115140 h 1333436"/>
                <a:gd name="connsiteX306" fmla="*/ 165181 w 752994"/>
                <a:gd name="connsiteY306" fmla="*/ 108215 h 1333436"/>
                <a:gd name="connsiteX307" fmla="*/ 161303 w 752994"/>
                <a:gd name="connsiteY307" fmla="*/ 104146 h 1333436"/>
                <a:gd name="connsiteX308" fmla="*/ 157842 w 752994"/>
                <a:gd name="connsiteY308" fmla="*/ 104542 h 1333436"/>
                <a:gd name="connsiteX309" fmla="*/ 157024 w 752994"/>
                <a:gd name="connsiteY309" fmla="*/ 102304 h 1333436"/>
                <a:gd name="connsiteX310" fmla="*/ 160694 w 752994"/>
                <a:gd name="connsiteY310" fmla="*/ 55437 h 1333436"/>
                <a:gd name="connsiteX311" fmla="*/ 160486 w 752994"/>
                <a:gd name="connsiteY311" fmla="*/ 31991 h 1333436"/>
                <a:gd name="connsiteX312" fmla="*/ 164972 w 752994"/>
                <a:gd name="connsiteY312" fmla="*/ 18141 h 1333436"/>
                <a:gd name="connsiteX313" fmla="*/ 171911 w 752994"/>
                <a:gd name="connsiteY313" fmla="*/ 11204 h 1333436"/>
                <a:gd name="connsiteX314" fmla="*/ 187406 w 752994"/>
                <a:gd name="connsiteY314" fmla="*/ 21801 h 1333436"/>
                <a:gd name="connsiteX315" fmla="*/ 210866 w 752994"/>
                <a:gd name="connsiteY315" fmla="*/ 37086 h 1333436"/>
                <a:gd name="connsiteX316" fmla="*/ 219230 w 752994"/>
                <a:gd name="connsiteY316" fmla="*/ 41166 h 1333436"/>
                <a:gd name="connsiteX317" fmla="*/ 226778 w 752994"/>
                <a:gd name="connsiteY317" fmla="*/ 47486 h 1333436"/>
                <a:gd name="connsiteX318" fmla="*/ 236152 w 752994"/>
                <a:gd name="connsiteY318" fmla="*/ 52370 h 1333436"/>
                <a:gd name="connsiteX319" fmla="*/ 239629 w 752994"/>
                <a:gd name="connsiteY319" fmla="*/ 58491 h 1333436"/>
                <a:gd name="connsiteX320" fmla="*/ 239629 w 752994"/>
                <a:gd name="connsiteY320" fmla="*/ 63376 h 1333436"/>
                <a:gd name="connsiteX321" fmla="*/ 236568 w 752994"/>
                <a:gd name="connsiteY321" fmla="*/ 67457 h 1333436"/>
                <a:gd name="connsiteX322" fmla="*/ 231264 w 752994"/>
                <a:gd name="connsiteY322" fmla="*/ 69905 h 1333436"/>
                <a:gd name="connsiteX323" fmla="*/ 216778 w 752994"/>
                <a:gd name="connsiteY323" fmla="*/ 82741 h 1333436"/>
                <a:gd name="connsiteX324" fmla="*/ 214134 w 752994"/>
                <a:gd name="connsiteY324" fmla="*/ 93536 h 1333436"/>
                <a:gd name="connsiteX325" fmla="*/ 214535 w 752994"/>
                <a:gd name="connsiteY325" fmla="*/ 96801 h 1333436"/>
                <a:gd name="connsiteX326" fmla="*/ 216378 w 752994"/>
                <a:gd name="connsiteY326" fmla="*/ 96801 h 1333436"/>
                <a:gd name="connsiteX327" fmla="*/ 230046 w 752994"/>
                <a:gd name="connsiteY327" fmla="*/ 85387 h 1333436"/>
                <a:gd name="connsiteX328" fmla="*/ 243298 w 752994"/>
                <a:gd name="connsiteY328" fmla="*/ 75198 h 1333436"/>
                <a:gd name="connsiteX329" fmla="*/ 246760 w 752994"/>
                <a:gd name="connsiteY329" fmla="*/ 77646 h 1333436"/>
                <a:gd name="connsiteX330" fmla="*/ 255541 w 752994"/>
                <a:gd name="connsiteY330" fmla="*/ 63376 h 1333436"/>
                <a:gd name="connsiteX331" fmla="*/ 259611 w 752994"/>
                <a:gd name="connsiteY331" fmla="*/ 43405 h 1333436"/>
                <a:gd name="connsiteX332" fmla="*/ 256967 w 752994"/>
                <a:gd name="connsiteY332" fmla="*/ 38520 h 1333436"/>
                <a:gd name="connsiteX333" fmla="*/ 253906 w 752994"/>
                <a:gd name="connsiteY333" fmla="*/ 34242 h 1333436"/>
                <a:gd name="connsiteX334" fmla="*/ 256967 w 752994"/>
                <a:gd name="connsiteY334" fmla="*/ 30161 h 1333436"/>
                <a:gd name="connsiteX335" fmla="*/ 262063 w 752994"/>
                <a:gd name="connsiteY335" fmla="*/ 27712 h 1333436"/>
                <a:gd name="connsiteX336" fmla="*/ 264915 w 752994"/>
                <a:gd name="connsiteY336" fmla="*/ 23026 h 1333436"/>
                <a:gd name="connsiteX337" fmla="*/ 267976 w 752994"/>
                <a:gd name="connsiteY337" fmla="*/ 22618 h 1333436"/>
                <a:gd name="connsiteX338" fmla="*/ 270427 w 752994"/>
                <a:gd name="connsiteY338" fmla="*/ 20787 h 1333436"/>
                <a:gd name="connsiteX339" fmla="*/ 263088 w 752994"/>
                <a:gd name="connsiteY339" fmla="*/ 13652 h 1333436"/>
                <a:gd name="connsiteX340" fmla="*/ 255541 w 752994"/>
                <a:gd name="connsiteY340" fmla="*/ 3055 h 1333436"/>
                <a:gd name="connsiteX341" fmla="*/ 256358 w 752994"/>
                <a:gd name="connsiteY341" fmla="*/ 1224 h 1333436"/>
                <a:gd name="connsiteX342" fmla="*/ 257159 w 752994"/>
                <a:gd name="connsiteY342"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95366 w 752994"/>
                <a:gd name="connsiteY29" fmla="*/ 257753 h 1333436"/>
                <a:gd name="connsiteX30" fmla="*/ 365258 w 752994"/>
                <a:gd name="connsiteY30" fmla="*/ 245774 h 1333436"/>
                <a:gd name="connsiteX31" fmla="*/ 350789 w 752994"/>
                <a:gd name="connsiteY31" fmla="*/ 244352 h 1333436"/>
                <a:gd name="connsiteX32" fmla="*/ 340789 w 752994"/>
                <a:gd name="connsiteY32" fmla="*/ 243536 h 1333436"/>
                <a:gd name="connsiteX33" fmla="*/ 333034 w 752994"/>
                <a:gd name="connsiteY33" fmla="*/ 240271 h 1333436"/>
                <a:gd name="connsiteX34" fmla="*/ 323868 w 752994"/>
                <a:gd name="connsiteY34" fmla="*/ 241495 h 1333436"/>
                <a:gd name="connsiteX35" fmla="*/ 309783 w 752994"/>
                <a:gd name="connsiteY35" fmla="*/ 243536 h 1333436"/>
                <a:gd name="connsiteX36" fmla="*/ 280827 w 752994"/>
                <a:gd name="connsiteY36" fmla="*/ 242720 h 1333436"/>
                <a:gd name="connsiteX37" fmla="*/ 274497 w 752994"/>
                <a:gd name="connsiteY37" fmla="*/ 238441 h 1333436"/>
                <a:gd name="connsiteX38" fmla="*/ 269001 w 752994"/>
                <a:gd name="connsiteY38" fmla="*/ 240679 h 1333436"/>
                <a:gd name="connsiteX39" fmla="*/ 262880 w 752994"/>
                <a:gd name="connsiteY39" fmla="*/ 243128 h 1333436"/>
                <a:gd name="connsiteX40" fmla="*/ 260028 w 752994"/>
                <a:gd name="connsiteY40" fmla="*/ 242720 h 1333436"/>
                <a:gd name="connsiteX41" fmla="*/ 247994 w 752994"/>
                <a:gd name="connsiteY41" fmla="*/ 241693 h 1333436"/>
                <a:gd name="connsiteX42" fmla="*/ 242081 w 752994"/>
                <a:gd name="connsiteY42" fmla="*/ 234162 h 1333436"/>
                <a:gd name="connsiteX43" fmla="*/ 235142 w 752994"/>
                <a:gd name="connsiteY43" fmla="*/ 229476 h 1333436"/>
                <a:gd name="connsiteX44" fmla="*/ 224742 w 752994"/>
                <a:gd name="connsiteY44" fmla="*/ 226817 h 1333436"/>
                <a:gd name="connsiteX45" fmla="*/ 216778 w 752994"/>
                <a:gd name="connsiteY45" fmla="*/ 229068 h 1333436"/>
                <a:gd name="connsiteX46" fmla="*/ 195162 w 752994"/>
                <a:gd name="connsiteY46" fmla="*/ 228857 h 1333436"/>
                <a:gd name="connsiteX47" fmla="*/ 188223 w 752994"/>
                <a:gd name="connsiteY47" fmla="*/ 223973 h 1333436"/>
                <a:gd name="connsiteX48" fmla="*/ 185163 w 752994"/>
                <a:gd name="connsiteY48" fmla="*/ 219484 h 1333436"/>
                <a:gd name="connsiteX49" fmla="*/ 184180 w 752994"/>
                <a:gd name="connsiteY49" fmla="*/ 213866 h 1333436"/>
                <a:gd name="connsiteX50" fmla="*/ 257159 w 752994"/>
                <a:gd name="connsiteY50" fmla="*/ 0 h 1333436"/>
                <a:gd name="connsiteX51" fmla="*/ 493147 w 752994"/>
                <a:gd name="connsiteY51" fmla="*/ 73157 h 1333436"/>
                <a:gd name="connsiteX52" fmla="*/ 492970 w 752994"/>
                <a:gd name="connsiteY52" fmla="*/ 73792 h 1333436"/>
                <a:gd name="connsiteX53" fmla="*/ 525816 w 752994"/>
                <a:gd name="connsiteY53" fmla="*/ 82491 h 1333436"/>
                <a:gd name="connsiteX54" fmla="*/ 520098 w 752994"/>
                <a:gd name="connsiteY54" fmla="*/ 111245 h 1333436"/>
                <a:gd name="connsiteX55" fmla="*/ 512552 w 752994"/>
                <a:gd name="connsiteY55" fmla="*/ 143854 h 1333436"/>
                <a:gd name="connsiteX56" fmla="*/ 517849 w 752994"/>
                <a:gd name="connsiteY56" fmla="*/ 157740 h 1333436"/>
                <a:gd name="connsiteX57" fmla="*/ 523160 w 752994"/>
                <a:gd name="connsiteY57" fmla="*/ 172009 h 1333436"/>
                <a:gd name="connsiteX58" fmla="*/ 521535 w 752994"/>
                <a:gd name="connsiteY58" fmla="*/ 178928 h 1333436"/>
                <a:gd name="connsiteX59" fmla="*/ 520098 w 752994"/>
                <a:gd name="connsiteY59" fmla="*/ 186279 h 1333436"/>
                <a:gd name="connsiteX60" fmla="*/ 526019 w 752994"/>
                <a:gd name="connsiteY60" fmla="*/ 193629 h 1333436"/>
                <a:gd name="connsiteX61" fmla="*/ 537251 w 752994"/>
                <a:gd name="connsiteY61" fmla="*/ 206270 h 1333436"/>
                <a:gd name="connsiteX62" fmla="*/ 542765 w 752994"/>
                <a:gd name="connsiteY62" fmla="*/ 217475 h 1333436"/>
                <a:gd name="connsiteX63" fmla="*/ 546857 w 752994"/>
                <a:gd name="connsiteY63" fmla="*/ 230930 h 1333436"/>
                <a:gd name="connsiteX64" fmla="*/ 549499 w 752994"/>
                <a:gd name="connsiteY64" fmla="*/ 235622 h 1333436"/>
                <a:gd name="connsiteX65" fmla="*/ 553388 w 752994"/>
                <a:gd name="connsiteY65" fmla="*/ 240722 h 1333436"/>
                <a:gd name="connsiteX66" fmla="*/ 557465 w 752994"/>
                <a:gd name="connsiteY66" fmla="*/ 246037 h 1333436"/>
                <a:gd name="connsiteX67" fmla="*/ 561761 w 752994"/>
                <a:gd name="connsiteY67" fmla="*/ 248671 h 1333436"/>
                <a:gd name="connsiteX68" fmla="*/ 567478 w 752994"/>
                <a:gd name="connsiteY68" fmla="*/ 247665 h 1333436"/>
                <a:gd name="connsiteX69" fmla="*/ 569931 w 752994"/>
                <a:gd name="connsiteY69" fmla="*/ 249293 h 1333436"/>
                <a:gd name="connsiteX70" fmla="*/ 570540 w 752994"/>
                <a:gd name="connsiteY70" fmla="*/ 251951 h 1333436"/>
                <a:gd name="connsiteX71" fmla="*/ 561964 w 752994"/>
                <a:gd name="connsiteY71" fmla="*/ 267656 h 1333436"/>
                <a:gd name="connsiteX72" fmla="*/ 553591 w 752994"/>
                <a:gd name="connsiteY72" fmla="*/ 289659 h 1333436"/>
                <a:gd name="connsiteX73" fmla="*/ 554810 w 752994"/>
                <a:gd name="connsiteY73" fmla="*/ 292939 h 1333436"/>
                <a:gd name="connsiteX74" fmla="*/ 556246 w 752994"/>
                <a:gd name="connsiteY74" fmla="*/ 299260 h 1333436"/>
                <a:gd name="connsiteX75" fmla="*/ 552778 w 752994"/>
                <a:gd name="connsiteY75" fmla="*/ 301917 h 1333436"/>
                <a:gd name="connsiteX76" fmla="*/ 549295 w 752994"/>
                <a:gd name="connsiteY76" fmla="*/ 306993 h 1333436"/>
                <a:gd name="connsiteX77" fmla="*/ 547061 w 752994"/>
                <a:gd name="connsiteY77" fmla="*/ 313122 h 1333436"/>
                <a:gd name="connsiteX78" fmla="*/ 544811 w 752994"/>
                <a:gd name="connsiteY78" fmla="*/ 316593 h 1333436"/>
                <a:gd name="connsiteX79" fmla="*/ 549919 w 752994"/>
                <a:gd name="connsiteY79" fmla="*/ 322698 h 1333436"/>
                <a:gd name="connsiteX80" fmla="*/ 553184 w 752994"/>
                <a:gd name="connsiteY80" fmla="*/ 325955 h 1333436"/>
                <a:gd name="connsiteX81" fmla="*/ 555840 w 752994"/>
                <a:gd name="connsiteY81" fmla="*/ 328205 h 1333436"/>
                <a:gd name="connsiteX82" fmla="*/ 574212 w 752994"/>
                <a:gd name="connsiteY82" fmla="*/ 318820 h 1333436"/>
                <a:gd name="connsiteX83" fmla="*/ 579523 w 752994"/>
                <a:gd name="connsiteY83" fmla="*/ 326577 h 1333436"/>
                <a:gd name="connsiteX84" fmla="*/ 580539 w 752994"/>
                <a:gd name="connsiteY84" fmla="*/ 334933 h 1333436"/>
                <a:gd name="connsiteX85" fmla="*/ 579726 w 752994"/>
                <a:gd name="connsiteY85" fmla="*/ 343097 h 1333436"/>
                <a:gd name="connsiteX86" fmla="*/ 581366 w 752994"/>
                <a:gd name="connsiteY86" fmla="*/ 350231 h 1333436"/>
                <a:gd name="connsiteX87" fmla="*/ 586256 w 752994"/>
                <a:gd name="connsiteY87" fmla="*/ 355930 h 1333436"/>
                <a:gd name="connsiteX88" fmla="*/ 589536 w 752994"/>
                <a:gd name="connsiteY88" fmla="*/ 362059 h 1333436"/>
                <a:gd name="connsiteX89" fmla="*/ 588099 w 752994"/>
                <a:gd name="connsiteY89" fmla="*/ 369600 h 1333436"/>
                <a:gd name="connsiteX90" fmla="*/ 586459 w 752994"/>
                <a:gd name="connsiteY90" fmla="*/ 377357 h 1333436"/>
                <a:gd name="connsiteX91" fmla="*/ 588709 w 752994"/>
                <a:gd name="connsiteY91" fmla="*/ 381835 h 1333436"/>
                <a:gd name="connsiteX92" fmla="*/ 595036 w 752994"/>
                <a:gd name="connsiteY92" fmla="*/ 382457 h 1333436"/>
                <a:gd name="connsiteX93" fmla="*/ 599331 w 752994"/>
                <a:gd name="connsiteY93" fmla="*/ 385306 h 1333436"/>
                <a:gd name="connsiteX94" fmla="*/ 601987 w 752994"/>
                <a:gd name="connsiteY94" fmla="*/ 391004 h 1333436"/>
                <a:gd name="connsiteX95" fmla="*/ 602799 w 752994"/>
                <a:gd name="connsiteY95" fmla="*/ 404076 h 1333436"/>
                <a:gd name="connsiteX96" fmla="*/ 606892 w 752994"/>
                <a:gd name="connsiteY96" fmla="*/ 415688 h 1333436"/>
                <a:gd name="connsiteX97" fmla="*/ 610563 w 752994"/>
                <a:gd name="connsiteY97" fmla="*/ 412217 h 1333436"/>
                <a:gd name="connsiteX98" fmla="*/ 617920 w 752994"/>
                <a:gd name="connsiteY98" fmla="*/ 408769 h 1333436"/>
                <a:gd name="connsiteX99" fmla="*/ 624654 w 752994"/>
                <a:gd name="connsiteY99" fmla="*/ 411211 h 1333436"/>
                <a:gd name="connsiteX100" fmla="*/ 634652 w 752994"/>
                <a:gd name="connsiteY100" fmla="*/ 410182 h 1333436"/>
                <a:gd name="connsiteX101" fmla="*/ 640573 w 752994"/>
                <a:gd name="connsiteY101" fmla="*/ 407739 h 1333436"/>
                <a:gd name="connsiteX102" fmla="*/ 646711 w 752994"/>
                <a:gd name="connsiteY102" fmla="*/ 410589 h 1333436"/>
                <a:gd name="connsiteX103" fmla="*/ 650383 w 752994"/>
                <a:gd name="connsiteY103" fmla="*/ 410589 h 1333436"/>
                <a:gd name="connsiteX104" fmla="*/ 654257 w 752994"/>
                <a:gd name="connsiteY104" fmla="*/ 411618 h 1333436"/>
                <a:gd name="connsiteX105" fmla="*/ 656913 w 752994"/>
                <a:gd name="connsiteY105" fmla="*/ 413653 h 1333436"/>
                <a:gd name="connsiteX106" fmla="*/ 660802 w 752994"/>
                <a:gd name="connsiteY106" fmla="*/ 415090 h 1333436"/>
                <a:gd name="connsiteX107" fmla="*/ 669581 w 752994"/>
                <a:gd name="connsiteY107" fmla="*/ 415904 h 1333436"/>
                <a:gd name="connsiteX108" fmla="*/ 672237 w 752994"/>
                <a:gd name="connsiteY108" fmla="*/ 415688 h 1333436"/>
                <a:gd name="connsiteX109" fmla="*/ 675705 w 752994"/>
                <a:gd name="connsiteY109" fmla="*/ 409367 h 1333436"/>
                <a:gd name="connsiteX110" fmla="*/ 679986 w 752994"/>
                <a:gd name="connsiteY110" fmla="*/ 403238 h 1333436"/>
                <a:gd name="connsiteX111" fmla="*/ 693264 w 752994"/>
                <a:gd name="connsiteY111" fmla="*/ 419567 h 1333436"/>
                <a:gd name="connsiteX112" fmla="*/ 688563 w 752994"/>
                <a:gd name="connsiteY112" fmla="*/ 448321 h 1333436"/>
                <a:gd name="connsiteX113" fmla="*/ 663949 w 752994"/>
                <a:gd name="connsiteY113" fmla="*/ 590165 h 1333436"/>
                <a:gd name="connsiteX114" fmla="*/ 666304 w 752994"/>
                <a:gd name="connsiteY114" fmla="*/ 590504 h 1333436"/>
                <a:gd name="connsiteX115" fmla="*/ 655288 w 752994"/>
                <a:gd name="connsiteY115" fmla="*/ 656178 h 1333436"/>
                <a:gd name="connsiteX116" fmla="*/ 681808 w 752994"/>
                <a:gd name="connsiteY116" fmla="*/ 662301 h 1333436"/>
                <a:gd name="connsiteX117" fmla="*/ 752994 w 752994"/>
                <a:gd name="connsiteY117" fmla="*/ 675560 h 1333436"/>
                <a:gd name="connsiteX118" fmla="*/ 714651 w 752994"/>
                <a:gd name="connsiteY118" fmla="*/ 946985 h 1333436"/>
                <a:gd name="connsiteX119" fmla="*/ 654533 w 752994"/>
                <a:gd name="connsiteY119" fmla="*/ 1333436 h 1333436"/>
                <a:gd name="connsiteX120" fmla="*/ 546831 w 752994"/>
                <a:gd name="connsiteY120" fmla="*/ 1317126 h 1333436"/>
                <a:gd name="connsiteX121" fmla="*/ 351227 w 752994"/>
                <a:gd name="connsiteY121" fmla="*/ 1194172 h 1333436"/>
                <a:gd name="connsiteX122" fmla="*/ 361011 w 752994"/>
                <a:gd name="connsiteY122" fmla="*/ 1182755 h 1333436"/>
                <a:gd name="connsiteX123" fmla="*/ 368981 w 752994"/>
                <a:gd name="connsiteY123" fmla="*/ 1182130 h 1333436"/>
                <a:gd name="connsiteX124" fmla="*/ 369571 w 752994"/>
                <a:gd name="connsiteY124" fmla="*/ 1181558 h 1333436"/>
                <a:gd name="connsiteX125" fmla="*/ 362372 w 752994"/>
                <a:gd name="connsiteY125" fmla="*/ 1182120 h 1333436"/>
                <a:gd name="connsiteX126" fmla="*/ 229464 w 752994"/>
                <a:gd name="connsiteY126" fmla="*/ 1161721 h 1333436"/>
                <a:gd name="connsiteX127" fmla="*/ 227427 w 752994"/>
                <a:gd name="connsiteY127" fmla="*/ 1157269 h 1333436"/>
                <a:gd name="connsiteX128" fmla="*/ 224967 w 752994"/>
                <a:gd name="connsiteY128" fmla="*/ 1152575 h 1333436"/>
                <a:gd name="connsiteX129" fmla="*/ 225582 w 752994"/>
                <a:gd name="connsiteY129" fmla="*/ 1144808 h 1333436"/>
                <a:gd name="connsiteX130" fmla="*/ 227215 w 752994"/>
                <a:gd name="connsiteY130" fmla="*/ 1135834 h 1333436"/>
                <a:gd name="connsiteX131" fmla="*/ 227215 w 752994"/>
                <a:gd name="connsiteY131" fmla="*/ 1134212 h 1333436"/>
                <a:gd name="connsiteX132" fmla="*/ 225179 w 752994"/>
                <a:gd name="connsiteY132" fmla="*/ 1114020 h 1333436"/>
                <a:gd name="connsiteX133" fmla="*/ 217839 w 752994"/>
                <a:gd name="connsiteY133" fmla="*/ 1100352 h 1333436"/>
                <a:gd name="connsiteX134" fmla="*/ 199661 w 752994"/>
                <a:gd name="connsiteY134" fmla="*/ 1076502 h 1333436"/>
                <a:gd name="connsiteX135" fmla="*/ 196395 w 752994"/>
                <a:gd name="connsiteY135" fmla="*/ 1071807 h 1333436"/>
                <a:gd name="connsiteX136" fmla="*/ 190880 w 752994"/>
                <a:gd name="connsiteY136" fmla="*/ 1067527 h 1333436"/>
                <a:gd name="connsiteX137" fmla="*/ 187210 w 752994"/>
                <a:gd name="connsiteY137" fmla="*/ 1068735 h 1333436"/>
                <a:gd name="connsiteX138" fmla="*/ 180062 w 752994"/>
                <a:gd name="connsiteY138" fmla="*/ 1066699 h 1333436"/>
                <a:gd name="connsiteX139" fmla="*/ 180466 w 752994"/>
                <a:gd name="connsiteY139" fmla="*/ 1053031 h 1333436"/>
                <a:gd name="connsiteX140" fmla="*/ 180062 w 752994"/>
                <a:gd name="connsiteY140" fmla="*/ 1045299 h 1333436"/>
                <a:gd name="connsiteX141" fmla="*/ 174144 w 752994"/>
                <a:gd name="connsiteY141" fmla="*/ 1044057 h 1333436"/>
                <a:gd name="connsiteX142" fmla="*/ 158426 w 752994"/>
                <a:gd name="connsiteY142" fmla="*/ 1042641 h 1333436"/>
                <a:gd name="connsiteX143" fmla="*/ 149857 w 752994"/>
                <a:gd name="connsiteY143" fmla="*/ 1035497 h 1333436"/>
                <a:gd name="connsiteX144" fmla="*/ 142497 w 752994"/>
                <a:gd name="connsiteY144" fmla="*/ 1028766 h 1333436"/>
                <a:gd name="connsiteX145" fmla="*/ 140864 w 752994"/>
                <a:gd name="connsiteY145" fmla="*/ 1020620 h 1333436"/>
                <a:gd name="connsiteX146" fmla="*/ 138212 w 752994"/>
                <a:gd name="connsiteY146" fmla="*/ 1013061 h 1333436"/>
                <a:gd name="connsiteX147" fmla="*/ 131064 w 752994"/>
                <a:gd name="connsiteY147" fmla="*/ 1007159 h 1333436"/>
                <a:gd name="connsiteX148" fmla="*/ 121264 w 752994"/>
                <a:gd name="connsiteY148" fmla="*/ 1005330 h 1333436"/>
                <a:gd name="connsiteX149" fmla="*/ 112483 w 752994"/>
                <a:gd name="connsiteY149" fmla="*/ 1001671 h 1333436"/>
                <a:gd name="connsiteX150" fmla="*/ 105950 w 752994"/>
                <a:gd name="connsiteY150" fmla="*/ 995734 h 1333436"/>
                <a:gd name="connsiteX151" fmla="*/ 97380 w 752994"/>
                <a:gd name="connsiteY151" fmla="*/ 994526 h 1333436"/>
                <a:gd name="connsiteX152" fmla="*/ 87984 w 752994"/>
                <a:gd name="connsiteY152" fmla="*/ 991040 h 1333436"/>
                <a:gd name="connsiteX153" fmla="*/ 80029 w 752994"/>
                <a:gd name="connsiteY153" fmla="*/ 985138 h 1333436"/>
                <a:gd name="connsiteX154" fmla="*/ 77166 w 752994"/>
                <a:gd name="connsiteY154" fmla="*/ 976164 h 1333436"/>
                <a:gd name="connsiteX155" fmla="*/ 79203 w 752994"/>
                <a:gd name="connsiteY155" fmla="*/ 970676 h 1333436"/>
                <a:gd name="connsiteX156" fmla="*/ 82470 w 752994"/>
                <a:gd name="connsiteY156" fmla="*/ 963117 h 1333436"/>
                <a:gd name="connsiteX157" fmla="*/ 84314 w 752994"/>
                <a:gd name="connsiteY157" fmla="*/ 954557 h 1333436"/>
                <a:gd name="connsiteX158" fmla="*/ 86351 w 752994"/>
                <a:gd name="connsiteY158" fmla="*/ 948033 h 1333436"/>
                <a:gd name="connsiteX159" fmla="*/ 86159 w 752994"/>
                <a:gd name="connsiteY159" fmla="*/ 942925 h 1333436"/>
                <a:gd name="connsiteX160" fmla="*/ 83085 w 752994"/>
                <a:gd name="connsiteY160" fmla="*/ 939853 h 1333436"/>
                <a:gd name="connsiteX161" fmla="*/ 77570 w 752994"/>
                <a:gd name="connsiteY161" fmla="*/ 937437 h 1333436"/>
                <a:gd name="connsiteX162" fmla="*/ 76763 w 752994"/>
                <a:gd name="connsiteY162" fmla="*/ 931915 h 1333436"/>
                <a:gd name="connsiteX163" fmla="*/ 78800 w 752994"/>
                <a:gd name="connsiteY163" fmla="*/ 927013 h 1333436"/>
                <a:gd name="connsiteX164" fmla="*/ 79626 w 752994"/>
                <a:gd name="connsiteY164" fmla="*/ 922526 h 1333436"/>
                <a:gd name="connsiteX165" fmla="*/ 77781 w 752994"/>
                <a:gd name="connsiteY165" fmla="*/ 919903 h 1333436"/>
                <a:gd name="connsiteX166" fmla="*/ 74303 w 752994"/>
                <a:gd name="connsiteY166" fmla="*/ 917418 h 1333436"/>
                <a:gd name="connsiteX167" fmla="*/ 71863 w 752994"/>
                <a:gd name="connsiteY167" fmla="*/ 915174 h 1333436"/>
                <a:gd name="connsiteX168" fmla="*/ 71652 w 752994"/>
                <a:gd name="connsiteY168" fmla="*/ 910894 h 1333436"/>
                <a:gd name="connsiteX169" fmla="*/ 70633 w 752994"/>
                <a:gd name="connsiteY169" fmla="*/ 906614 h 1333436"/>
                <a:gd name="connsiteX170" fmla="*/ 68385 w 752994"/>
                <a:gd name="connsiteY170" fmla="*/ 902749 h 1333436"/>
                <a:gd name="connsiteX171" fmla="*/ 61045 w 752994"/>
                <a:gd name="connsiteY171" fmla="*/ 889494 h 1333436"/>
                <a:gd name="connsiteX172" fmla="*/ 57971 w 752994"/>
                <a:gd name="connsiteY172" fmla="*/ 875619 h 1333436"/>
                <a:gd name="connsiteX173" fmla="*/ 52264 w 752994"/>
                <a:gd name="connsiteY173" fmla="*/ 862572 h 1333436"/>
                <a:gd name="connsiteX174" fmla="*/ 44309 w 752994"/>
                <a:gd name="connsiteY174" fmla="*/ 850561 h 1333436"/>
                <a:gd name="connsiteX175" fmla="*/ 45520 w 752994"/>
                <a:gd name="connsiteY175" fmla="*/ 827090 h 1333436"/>
                <a:gd name="connsiteX176" fmla="*/ 53071 w 752994"/>
                <a:gd name="connsiteY176" fmla="*/ 822396 h 1333436"/>
                <a:gd name="connsiteX177" fmla="*/ 57375 w 752994"/>
                <a:gd name="connsiteY177" fmla="*/ 816493 h 1333436"/>
                <a:gd name="connsiteX178" fmla="*/ 55319 w 752994"/>
                <a:gd name="connsiteY178" fmla="*/ 801617 h 1333436"/>
                <a:gd name="connsiteX179" fmla="*/ 48383 w 752994"/>
                <a:gd name="connsiteY179" fmla="*/ 802204 h 1333436"/>
                <a:gd name="connsiteX180" fmla="*/ 40428 w 752994"/>
                <a:gd name="connsiteY180" fmla="*/ 797924 h 1333436"/>
                <a:gd name="connsiteX181" fmla="*/ 37565 w 752994"/>
                <a:gd name="connsiteY181" fmla="*/ 790606 h 1333436"/>
                <a:gd name="connsiteX182" fmla="*/ 37565 w 752994"/>
                <a:gd name="connsiteY182" fmla="*/ 790399 h 1333436"/>
                <a:gd name="connsiteX183" fmla="*/ 35931 w 752994"/>
                <a:gd name="connsiteY183" fmla="*/ 785912 h 1333436"/>
                <a:gd name="connsiteX184" fmla="*/ 34510 w 752994"/>
                <a:gd name="connsiteY184" fmla="*/ 780597 h 1333436"/>
                <a:gd name="connsiteX185" fmla="*/ 36335 w 752994"/>
                <a:gd name="connsiteY185" fmla="*/ 774280 h 1333436"/>
                <a:gd name="connsiteX186" fmla="*/ 38180 w 752994"/>
                <a:gd name="connsiteY186" fmla="*/ 766721 h 1333436"/>
                <a:gd name="connsiteX187" fmla="*/ 37161 w 752994"/>
                <a:gd name="connsiteY187" fmla="*/ 760405 h 1333436"/>
                <a:gd name="connsiteX188" fmla="*/ 35720 w 752994"/>
                <a:gd name="connsiteY188" fmla="*/ 754710 h 1333436"/>
                <a:gd name="connsiteX189" fmla="*/ 36546 w 752994"/>
                <a:gd name="connsiteY189" fmla="*/ 748773 h 1333436"/>
                <a:gd name="connsiteX190" fmla="*/ 38372 w 752994"/>
                <a:gd name="connsiteY190" fmla="*/ 744528 h 1333436"/>
                <a:gd name="connsiteX191" fmla="*/ 41638 w 752994"/>
                <a:gd name="connsiteY191" fmla="*/ 744321 h 1333436"/>
                <a:gd name="connsiteX192" fmla="*/ 44713 w 752994"/>
                <a:gd name="connsiteY192" fmla="*/ 746357 h 1333436"/>
                <a:gd name="connsiteX193" fmla="*/ 47364 w 752994"/>
                <a:gd name="connsiteY193" fmla="*/ 753260 h 1333436"/>
                <a:gd name="connsiteX194" fmla="*/ 55742 w 752994"/>
                <a:gd name="connsiteY194" fmla="*/ 764305 h 1333436"/>
                <a:gd name="connsiteX195" fmla="*/ 56338 w 752994"/>
                <a:gd name="connsiteY195" fmla="*/ 761233 h 1333436"/>
                <a:gd name="connsiteX196" fmla="*/ 56145 w 752994"/>
                <a:gd name="connsiteY196" fmla="*/ 757368 h 1333436"/>
                <a:gd name="connsiteX197" fmla="*/ 54916 w 752994"/>
                <a:gd name="connsiteY197" fmla="*/ 748601 h 1333436"/>
                <a:gd name="connsiteX198" fmla="*/ 52879 w 752994"/>
                <a:gd name="connsiteY198" fmla="*/ 747358 h 1333436"/>
                <a:gd name="connsiteX199" fmla="*/ 51649 w 752994"/>
                <a:gd name="connsiteY199" fmla="*/ 745322 h 1333436"/>
                <a:gd name="connsiteX200" fmla="*/ 51649 w 752994"/>
                <a:gd name="connsiteY200" fmla="*/ 739212 h 1333436"/>
                <a:gd name="connsiteX201" fmla="*/ 50227 w 752994"/>
                <a:gd name="connsiteY201" fmla="*/ 734725 h 1333436"/>
                <a:gd name="connsiteX202" fmla="*/ 48786 w 752994"/>
                <a:gd name="connsiteY202" fmla="*/ 731446 h 1333436"/>
                <a:gd name="connsiteX203" fmla="*/ 54512 w 752994"/>
                <a:gd name="connsiteY203" fmla="*/ 726372 h 1333436"/>
                <a:gd name="connsiteX204" fmla="*/ 59815 w 752994"/>
                <a:gd name="connsiteY204" fmla="*/ 725130 h 1333436"/>
                <a:gd name="connsiteX205" fmla="*/ 58182 w 752994"/>
                <a:gd name="connsiteY205" fmla="*/ 722886 h 1333436"/>
                <a:gd name="connsiteX206" fmla="*/ 51861 w 752994"/>
                <a:gd name="connsiteY206" fmla="*/ 717985 h 1333436"/>
                <a:gd name="connsiteX207" fmla="*/ 46749 w 752994"/>
                <a:gd name="connsiteY207" fmla="*/ 729617 h 1333436"/>
                <a:gd name="connsiteX208" fmla="*/ 40831 w 752994"/>
                <a:gd name="connsiteY208" fmla="*/ 739212 h 1333436"/>
                <a:gd name="connsiteX209" fmla="*/ 39601 w 752994"/>
                <a:gd name="connsiteY209" fmla="*/ 738798 h 1333436"/>
                <a:gd name="connsiteX210" fmla="*/ 39409 w 752994"/>
                <a:gd name="connsiteY210" fmla="*/ 738591 h 1333436"/>
                <a:gd name="connsiteX211" fmla="*/ 37161 w 752994"/>
                <a:gd name="connsiteY211" fmla="*/ 734725 h 1333436"/>
                <a:gd name="connsiteX212" fmla="*/ 32665 w 752994"/>
                <a:gd name="connsiteY212" fmla="*/ 727788 h 1333436"/>
                <a:gd name="connsiteX213" fmla="*/ 26747 w 752994"/>
                <a:gd name="connsiteY213" fmla="*/ 719435 h 1333436"/>
                <a:gd name="connsiteX214" fmla="*/ 23884 w 752994"/>
                <a:gd name="connsiteY214" fmla="*/ 717812 h 1333436"/>
                <a:gd name="connsiteX215" fmla="*/ 24710 w 752994"/>
                <a:gd name="connsiteY215" fmla="*/ 709632 h 1333436"/>
                <a:gd name="connsiteX216" fmla="*/ 27554 w 752994"/>
                <a:gd name="connsiteY216" fmla="*/ 701694 h 1333436"/>
                <a:gd name="connsiteX217" fmla="*/ 24902 w 752994"/>
                <a:gd name="connsiteY217" fmla="*/ 696171 h 1333436"/>
                <a:gd name="connsiteX218" fmla="*/ 24095 w 752994"/>
                <a:gd name="connsiteY218" fmla="*/ 687818 h 1333436"/>
                <a:gd name="connsiteX219" fmla="*/ 22462 w 752994"/>
                <a:gd name="connsiteY219" fmla="*/ 682330 h 1333436"/>
                <a:gd name="connsiteX220" fmla="*/ 17159 w 752994"/>
                <a:gd name="connsiteY220" fmla="*/ 677636 h 1333436"/>
                <a:gd name="connsiteX221" fmla="*/ 14296 w 752994"/>
                <a:gd name="connsiteY221" fmla="*/ 671492 h 1333436"/>
                <a:gd name="connsiteX222" fmla="*/ 12451 w 752994"/>
                <a:gd name="connsiteY222" fmla="*/ 665797 h 1333436"/>
                <a:gd name="connsiteX223" fmla="*/ 5111 w 752994"/>
                <a:gd name="connsiteY223" fmla="*/ 654994 h 1333436"/>
                <a:gd name="connsiteX224" fmla="*/ 2248 w 752994"/>
                <a:gd name="connsiteY224" fmla="*/ 645605 h 1333436"/>
                <a:gd name="connsiteX225" fmla="*/ 4496 w 752994"/>
                <a:gd name="connsiteY225" fmla="*/ 640497 h 1333436"/>
                <a:gd name="connsiteX226" fmla="*/ 6744 w 752994"/>
                <a:gd name="connsiteY226" fmla="*/ 632765 h 1333436"/>
                <a:gd name="connsiteX227" fmla="*/ 6744 w 752994"/>
                <a:gd name="connsiteY227" fmla="*/ 628485 h 1333436"/>
                <a:gd name="connsiteX228" fmla="*/ 6533 w 752994"/>
                <a:gd name="connsiteY228" fmla="*/ 620305 h 1333436"/>
                <a:gd name="connsiteX229" fmla="*/ 7359 w 752994"/>
                <a:gd name="connsiteY229" fmla="*/ 611745 h 1333436"/>
                <a:gd name="connsiteX230" fmla="*/ 11836 w 752994"/>
                <a:gd name="connsiteY230" fmla="*/ 602978 h 1333436"/>
                <a:gd name="connsiteX231" fmla="*/ 15103 w 752994"/>
                <a:gd name="connsiteY231" fmla="*/ 591760 h 1333436"/>
                <a:gd name="connsiteX232" fmla="*/ 14488 w 752994"/>
                <a:gd name="connsiteY232" fmla="*/ 584029 h 1333436"/>
                <a:gd name="connsiteX233" fmla="*/ 13873 w 752994"/>
                <a:gd name="connsiteY233" fmla="*/ 578299 h 1333436"/>
                <a:gd name="connsiteX234" fmla="*/ 10626 w 752994"/>
                <a:gd name="connsiteY234" fmla="*/ 568531 h 1333436"/>
                <a:gd name="connsiteX235" fmla="*/ 3670 w 752994"/>
                <a:gd name="connsiteY235" fmla="*/ 558107 h 1333436"/>
                <a:gd name="connsiteX236" fmla="*/ 0 w 752994"/>
                <a:gd name="connsiteY236" fmla="*/ 551377 h 1333436"/>
                <a:gd name="connsiteX237" fmla="*/ 0 w 752994"/>
                <a:gd name="connsiteY237" fmla="*/ 550997 h 1333436"/>
                <a:gd name="connsiteX238" fmla="*/ 4900 w 752994"/>
                <a:gd name="connsiteY238" fmla="*/ 531220 h 1333436"/>
                <a:gd name="connsiteX239" fmla="*/ 13873 w 752994"/>
                <a:gd name="connsiteY239" fmla="*/ 520589 h 1333436"/>
                <a:gd name="connsiteX240" fmla="*/ 18369 w 752994"/>
                <a:gd name="connsiteY240" fmla="*/ 516516 h 1333436"/>
                <a:gd name="connsiteX241" fmla="*/ 18773 w 752994"/>
                <a:gd name="connsiteY241" fmla="*/ 514272 h 1333436"/>
                <a:gd name="connsiteX242" fmla="*/ 23077 w 752994"/>
                <a:gd name="connsiteY242" fmla="*/ 506127 h 1333436"/>
                <a:gd name="connsiteX243" fmla="*/ 23884 w 752994"/>
                <a:gd name="connsiteY243" fmla="*/ 502261 h 1333436"/>
                <a:gd name="connsiteX244" fmla="*/ 23692 w 752994"/>
                <a:gd name="connsiteY244" fmla="*/ 496738 h 1333436"/>
                <a:gd name="connsiteX245" fmla="*/ 30013 w 752994"/>
                <a:gd name="connsiteY245" fmla="*/ 486556 h 1333436"/>
                <a:gd name="connsiteX246" fmla="*/ 36546 w 752994"/>
                <a:gd name="connsiteY246" fmla="*/ 470230 h 1333436"/>
                <a:gd name="connsiteX247" fmla="*/ 36546 w 752994"/>
                <a:gd name="connsiteY247" fmla="*/ 462671 h 1333436"/>
                <a:gd name="connsiteX248" fmla="*/ 36335 w 752994"/>
                <a:gd name="connsiteY248" fmla="*/ 461670 h 1333436"/>
                <a:gd name="connsiteX249" fmla="*/ 35931 w 752994"/>
                <a:gd name="connsiteY249" fmla="*/ 453110 h 1333436"/>
                <a:gd name="connsiteX250" fmla="*/ 38583 w 752994"/>
                <a:gd name="connsiteY250" fmla="*/ 442514 h 1333436"/>
                <a:gd name="connsiteX251" fmla="*/ 41043 w 752994"/>
                <a:gd name="connsiteY251" fmla="*/ 436991 h 1333436"/>
                <a:gd name="connsiteX252" fmla="*/ 41650 w 752994"/>
                <a:gd name="connsiteY252" fmla="*/ 437186 h 1333436"/>
                <a:gd name="connsiteX253" fmla="*/ 41239 w 752994"/>
                <a:gd name="connsiteY253" fmla="*/ 436549 h 1333436"/>
                <a:gd name="connsiteX254" fmla="*/ 37778 w 752994"/>
                <a:gd name="connsiteY254" fmla="*/ 433894 h 1333436"/>
                <a:gd name="connsiteX255" fmla="*/ 37169 w 752994"/>
                <a:gd name="connsiteY255" fmla="*/ 432261 h 1333436"/>
                <a:gd name="connsiteX256" fmla="*/ 37365 w 752994"/>
                <a:gd name="connsiteY256" fmla="*/ 429198 h 1333436"/>
                <a:gd name="connsiteX257" fmla="*/ 36756 w 752994"/>
                <a:gd name="connsiteY257" fmla="*/ 422272 h 1333436"/>
                <a:gd name="connsiteX258" fmla="*/ 36952 w 752994"/>
                <a:gd name="connsiteY258" fmla="*/ 418800 h 1333436"/>
                <a:gd name="connsiteX259" fmla="*/ 36756 w 752994"/>
                <a:gd name="connsiteY259" fmla="*/ 412487 h 1333436"/>
                <a:gd name="connsiteX260" fmla="*/ 40433 w 752994"/>
                <a:gd name="connsiteY260" fmla="*/ 406174 h 1333436"/>
                <a:gd name="connsiteX261" fmla="*/ 44720 w 752994"/>
                <a:gd name="connsiteY261" fmla="*/ 399435 h 1333436"/>
                <a:gd name="connsiteX262" fmla="*/ 44110 w 752994"/>
                <a:gd name="connsiteY262" fmla="*/ 389651 h 1333436"/>
                <a:gd name="connsiteX263" fmla="*/ 43894 w 752994"/>
                <a:gd name="connsiteY263" fmla="*/ 378437 h 1333436"/>
                <a:gd name="connsiteX264" fmla="*/ 47158 w 752994"/>
                <a:gd name="connsiteY264" fmla="*/ 371102 h 1333436"/>
                <a:gd name="connsiteX265" fmla="*/ 55731 w 752994"/>
                <a:gd name="connsiteY265" fmla="*/ 360909 h 1333436"/>
                <a:gd name="connsiteX266" fmla="*/ 57580 w 752994"/>
                <a:gd name="connsiteY266" fmla="*/ 355804 h 1333436"/>
                <a:gd name="connsiteX267" fmla="*/ 62673 w 752994"/>
                <a:gd name="connsiteY267" fmla="*/ 349695 h 1333436"/>
                <a:gd name="connsiteX268" fmla="*/ 65937 w 752994"/>
                <a:gd name="connsiteY268" fmla="*/ 348470 h 1333436"/>
                <a:gd name="connsiteX269" fmla="*/ 68395 w 752994"/>
                <a:gd name="connsiteY269" fmla="*/ 348674 h 1333436"/>
                <a:gd name="connsiteX270" fmla="*/ 70224 w 752994"/>
                <a:gd name="connsiteY270" fmla="*/ 347449 h 1333436"/>
                <a:gd name="connsiteX271" fmla="*/ 67785 w 752994"/>
                <a:gd name="connsiteY271" fmla="*/ 345203 h 1333436"/>
                <a:gd name="connsiteX272" fmla="*/ 65524 w 752994"/>
                <a:gd name="connsiteY272" fmla="*/ 343178 h 1333436"/>
                <a:gd name="connsiteX273" fmla="*/ 73095 w 752994"/>
                <a:gd name="connsiteY273" fmla="*/ 333376 h 1333436"/>
                <a:gd name="connsiteX274" fmla="*/ 73291 w 752994"/>
                <a:gd name="connsiteY274" fmla="*/ 333376 h 1333436"/>
                <a:gd name="connsiteX275" fmla="*/ 77991 w 752994"/>
                <a:gd name="connsiteY275" fmla="*/ 325838 h 1333436"/>
                <a:gd name="connsiteX276" fmla="*/ 82671 w 752994"/>
                <a:gd name="connsiteY276" fmla="*/ 313619 h 1333436"/>
                <a:gd name="connsiteX277" fmla="*/ 87980 w 752994"/>
                <a:gd name="connsiteY277" fmla="*/ 303018 h 1333436"/>
                <a:gd name="connsiteX278" fmla="*/ 92267 w 752994"/>
                <a:gd name="connsiteY278" fmla="*/ 291191 h 1333436"/>
                <a:gd name="connsiteX279" fmla="*/ 96553 w 752994"/>
                <a:gd name="connsiteY279" fmla="*/ 281202 h 1333436"/>
                <a:gd name="connsiteX280" fmla="*/ 99621 w 752994"/>
                <a:gd name="connsiteY280" fmla="*/ 274481 h 1333436"/>
                <a:gd name="connsiteX281" fmla="*/ 103082 w 752994"/>
                <a:gd name="connsiteY281" fmla="*/ 262450 h 1333436"/>
                <a:gd name="connsiteX282" fmla="*/ 107172 w 752994"/>
                <a:gd name="connsiteY282" fmla="*/ 254299 h 1333436"/>
                <a:gd name="connsiteX283" fmla="*/ 112481 w 752994"/>
                <a:gd name="connsiteY283" fmla="*/ 243697 h 1333436"/>
                <a:gd name="connsiteX284" fmla="*/ 117181 w 752994"/>
                <a:gd name="connsiteY284" fmla="*/ 232279 h 1333436"/>
                <a:gd name="connsiteX285" fmla="*/ 125951 w 752994"/>
                <a:gd name="connsiteY285" fmla="*/ 217389 h 1333436"/>
                <a:gd name="connsiteX286" fmla="*/ 136156 w 752994"/>
                <a:gd name="connsiteY286" fmla="*/ 202925 h 1333436"/>
                <a:gd name="connsiteX287" fmla="*/ 138811 w 752994"/>
                <a:gd name="connsiteY287" fmla="*/ 183339 h 1333436"/>
                <a:gd name="connsiteX288" fmla="*/ 148801 w 752994"/>
                <a:gd name="connsiteY288" fmla="*/ 167445 h 1333436"/>
                <a:gd name="connsiteX289" fmla="*/ 159616 w 752994"/>
                <a:gd name="connsiteY289" fmla="*/ 170712 h 1333436"/>
                <a:gd name="connsiteX290" fmla="*/ 173105 w 752994"/>
                <a:gd name="connsiteY290" fmla="*/ 175188 h 1333436"/>
                <a:gd name="connsiteX291" fmla="*/ 175347 w 752994"/>
                <a:gd name="connsiteY291" fmla="*/ 175188 h 1333436"/>
                <a:gd name="connsiteX292" fmla="*/ 175347 w 752994"/>
                <a:gd name="connsiteY292" fmla="*/ 173758 h 1333436"/>
                <a:gd name="connsiteX293" fmla="*/ 184975 w 752994"/>
                <a:gd name="connsiteY293" fmla="*/ 187393 h 1333436"/>
                <a:gd name="connsiteX294" fmla="*/ 184762 w 752994"/>
                <a:gd name="connsiteY294" fmla="*/ 184637 h 1333436"/>
                <a:gd name="connsiteX295" fmla="*/ 174971 w 752994"/>
                <a:gd name="connsiteY295" fmla="*/ 170774 h 1333436"/>
                <a:gd name="connsiteX296" fmla="*/ 174971 w 752994"/>
                <a:gd name="connsiteY296" fmla="*/ 169550 h 1333436"/>
                <a:gd name="connsiteX297" fmla="*/ 158851 w 752994"/>
                <a:gd name="connsiteY297" fmla="*/ 156924 h 1333436"/>
                <a:gd name="connsiteX298" fmla="*/ 147025 w 752994"/>
                <a:gd name="connsiteY298" fmla="*/ 145709 h 1333436"/>
                <a:gd name="connsiteX299" fmla="*/ 154364 w 752994"/>
                <a:gd name="connsiteY299" fmla="*/ 136335 h 1333436"/>
                <a:gd name="connsiteX300" fmla="*/ 161511 w 752994"/>
                <a:gd name="connsiteY300" fmla="*/ 131042 h 1333436"/>
                <a:gd name="connsiteX301" fmla="*/ 160902 w 752994"/>
                <a:gd name="connsiteY301" fmla="*/ 128384 h 1333436"/>
                <a:gd name="connsiteX302" fmla="*/ 160277 w 752994"/>
                <a:gd name="connsiteY302" fmla="*/ 127778 h 1333436"/>
                <a:gd name="connsiteX303" fmla="*/ 154973 w 752994"/>
                <a:gd name="connsiteY303" fmla="*/ 122077 h 1333436"/>
                <a:gd name="connsiteX304" fmla="*/ 160277 w 752994"/>
                <a:gd name="connsiteY304" fmla="*/ 115140 h 1333436"/>
                <a:gd name="connsiteX305" fmla="*/ 165181 w 752994"/>
                <a:gd name="connsiteY305" fmla="*/ 108215 h 1333436"/>
                <a:gd name="connsiteX306" fmla="*/ 161303 w 752994"/>
                <a:gd name="connsiteY306" fmla="*/ 104146 h 1333436"/>
                <a:gd name="connsiteX307" fmla="*/ 157842 w 752994"/>
                <a:gd name="connsiteY307" fmla="*/ 104542 h 1333436"/>
                <a:gd name="connsiteX308" fmla="*/ 157024 w 752994"/>
                <a:gd name="connsiteY308" fmla="*/ 102304 h 1333436"/>
                <a:gd name="connsiteX309" fmla="*/ 160694 w 752994"/>
                <a:gd name="connsiteY309" fmla="*/ 55437 h 1333436"/>
                <a:gd name="connsiteX310" fmla="*/ 160486 w 752994"/>
                <a:gd name="connsiteY310" fmla="*/ 31991 h 1333436"/>
                <a:gd name="connsiteX311" fmla="*/ 164972 w 752994"/>
                <a:gd name="connsiteY311" fmla="*/ 18141 h 1333436"/>
                <a:gd name="connsiteX312" fmla="*/ 171911 w 752994"/>
                <a:gd name="connsiteY312" fmla="*/ 11204 h 1333436"/>
                <a:gd name="connsiteX313" fmla="*/ 187406 w 752994"/>
                <a:gd name="connsiteY313" fmla="*/ 21801 h 1333436"/>
                <a:gd name="connsiteX314" fmla="*/ 210866 w 752994"/>
                <a:gd name="connsiteY314" fmla="*/ 37086 h 1333436"/>
                <a:gd name="connsiteX315" fmla="*/ 219230 w 752994"/>
                <a:gd name="connsiteY315" fmla="*/ 41166 h 1333436"/>
                <a:gd name="connsiteX316" fmla="*/ 226778 w 752994"/>
                <a:gd name="connsiteY316" fmla="*/ 47486 h 1333436"/>
                <a:gd name="connsiteX317" fmla="*/ 236152 w 752994"/>
                <a:gd name="connsiteY317" fmla="*/ 52370 h 1333436"/>
                <a:gd name="connsiteX318" fmla="*/ 239629 w 752994"/>
                <a:gd name="connsiteY318" fmla="*/ 58491 h 1333436"/>
                <a:gd name="connsiteX319" fmla="*/ 239629 w 752994"/>
                <a:gd name="connsiteY319" fmla="*/ 63376 h 1333436"/>
                <a:gd name="connsiteX320" fmla="*/ 236568 w 752994"/>
                <a:gd name="connsiteY320" fmla="*/ 67457 h 1333436"/>
                <a:gd name="connsiteX321" fmla="*/ 231264 w 752994"/>
                <a:gd name="connsiteY321" fmla="*/ 69905 h 1333436"/>
                <a:gd name="connsiteX322" fmla="*/ 216778 w 752994"/>
                <a:gd name="connsiteY322" fmla="*/ 82741 h 1333436"/>
                <a:gd name="connsiteX323" fmla="*/ 214134 w 752994"/>
                <a:gd name="connsiteY323" fmla="*/ 93536 h 1333436"/>
                <a:gd name="connsiteX324" fmla="*/ 214535 w 752994"/>
                <a:gd name="connsiteY324" fmla="*/ 96801 h 1333436"/>
                <a:gd name="connsiteX325" fmla="*/ 216378 w 752994"/>
                <a:gd name="connsiteY325" fmla="*/ 96801 h 1333436"/>
                <a:gd name="connsiteX326" fmla="*/ 230046 w 752994"/>
                <a:gd name="connsiteY326" fmla="*/ 85387 h 1333436"/>
                <a:gd name="connsiteX327" fmla="*/ 243298 w 752994"/>
                <a:gd name="connsiteY327" fmla="*/ 75198 h 1333436"/>
                <a:gd name="connsiteX328" fmla="*/ 246760 w 752994"/>
                <a:gd name="connsiteY328" fmla="*/ 77646 h 1333436"/>
                <a:gd name="connsiteX329" fmla="*/ 255541 w 752994"/>
                <a:gd name="connsiteY329" fmla="*/ 63376 h 1333436"/>
                <a:gd name="connsiteX330" fmla="*/ 259611 w 752994"/>
                <a:gd name="connsiteY330" fmla="*/ 43405 h 1333436"/>
                <a:gd name="connsiteX331" fmla="*/ 256967 w 752994"/>
                <a:gd name="connsiteY331" fmla="*/ 38520 h 1333436"/>
                <a:gd name="connsiteX332" fmla="*/ 253906 w 752994"/>
                <a:gd name="connsiteY332" fmla="*/ 34242 h 1333436"/>
                <a:gd name="connsiteX333" fmla="*/ 256967 w 752994"/>
                <a:gd name="connsiteY333" fmla="*/ 30161 h 1333436"/>
                <a:gd name="connsiteX334" fmla="*/ 262063 w 752994"/>
                <a:gd name="connsiteY334" fmla="*/ 27712 h 1333436"/>
                <a:gd name="connsiteX335" fmla="*/ 264915 w 752994"/>
                <a:gd name="connsiteY335" fmla="*/ 23026 h 1333436"/>
                <a:gd name="connsiteX336" fmla="*/ 267976 w 752994"/>
                <a:gd name="connsiteY336" fmla="*/ 22618 h 1333436"/>
                <a:gd name="connsiteX337" fmla="*/ 270427 w 752994"/>
                <a:gd name="connsiteY337" fmla="*/ 20787 h 1333436"/>
                <a:gd name="connsiteX338" fmla="*/ 263088 w 752994"/>
                <a:gd name="connsiteY338" fmla="*/ 13652 h 1333436"/>
                <a:gd name="connsiteX339" fmla="*/ 255541 w 752994"/>
                <a:gd name="connsiteY339" fmla="*/ 3055 h 1333436"/>
                <a:gd name="connsiteX340" fmla="*/ 256358 w 752994"/>
                <a:gd name="connsiteY340" fmla="*/ 1224 h 1333436"/>
                <a:gd name="connsiteX341" fmla="*/ 257159 w 752994"/>
                <a:gd name="connsiteY341"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65258 w 752994"/>
                <a:gd name="connsiteY29" fmla="*/ 245774 h 1333436"/>
                <a:gd name="connsiteX30" fmla="*/ 350789 w 752994"/>
                <a:gd name="connsiteY30" fmla="*/ 244352 h 1333436"/>
                <a:gd name="connsiteX31" fmla="*/ 340789 w 752994"/>
                <a:gd name="connsiteY31" fmla="*/ 243536 h 1333436"/>
                <a:gd name="connsiteX32" fmla="*/ 333034 w 752994"/>
                <a:gd name="connsiteY32" fmla="*/ 240271 h 1333436"/>
                <a:gd name="connsiteX33" fmla="*/ 323868 w 752994"/>
                <a:gd name="connsiteY33" fmla="*/ 241495 h 1333436"/>
                <a:gd name="connsiteX34" fmla="*/ 309783 w 752994"/>
                <a:gd name="connsiteY34" fmla="*/ 243536 h 1333436"/>
                <a:gd name="connsiteX35" fmla="*/ 280827 w 752994"/>
                <a:gd name="connsiteY35" fmla="*/ 242720 h 1333436"/>
                <a:gd name="connsiteX36" fmla="*/ 274497 w 752994"/>
                <a:gd name="connsiteY36" fmla="*/ 238441 h 1333436"/>
                <a:gd name="connsiteX37" fmla="*/ 269001 w 752994"/>
                <a:gd name="connsiteY37" fmla="*/ 240679 h 1333436"/>
                <a:gd name="connsiteX38" fmla="*/ 262880 w 752994"/>
                <a:gd name="connsiteY38" fmla="*/ 243128 h 1333436"/>
                <a:gd name="connsiteX39" fmla="*/ 260028 w 752994"/>
                <a:gd name="connsiteY39" fmla="*/ 242720 h 1333436"/>
                <a:gd name="connsiteX40" fmla="*/ 247994 w 752994"/>
                <a:gd name="connsiteY40" fmla="*/ 241693 h 1333436"/>
                <a:gd name="connsiteX41" fmla="*/ 242081 w 752994"/>
                <a:gd name="connsiteY41" fmla="*/ 234162 h 1333436"/>
                <a:gd name="connsiteX42" fmla="*/ 235142 w 752994"/>
                <a:gd name="connsiteY42" fmla="*/ 229476 h 1333436"/>
                <a:gd name="connsiteX43" fmla="*/ 224742 w 752994"/>
                <a:gd name="connsiteY43" fmla="*/ 226817 h 1333436"/>
                <a:gd name="connsiteX44" fmla="*/ 216778 w 752994"/>
                <a:gd name="connsiteY44" fmla="*/ 229068 h 1333436"/>
                <a:gd name="connsiteX45" fmla="*/ 195162 w 752994"/>
                <a:gd name="connsiteY45" fmla="*/ 228857 h 1333436"/>
                <a:gd name="connsiteX46" fmla="*/ 188223 w 752994"/>
                <a:gd name="connsiteY46" fmla="*/ 223973 h 1333436"/>
                <a:gd name="connsiteX47" fmla="*/ 185163 w 752994"/>
                <a:gd name="connsiteY47" fmla="*/ 219484 h 1333436"/>
                <a:gd name="connsiteX48" fmla="*/ 184180 w 752994"/>
                <a:gd name="connsiteY48" fmla="*/ 213866 h 1333436"/>
                <a:gd name="connsiteX49" fmla="*/ 257159 w 752994"/>
                <a:gd name="connsiteY49" fmla="*/ 0 h 1333436"/>
                <a:gd name="connsiteX50" fmla="*/ 493147 w 752994"/>
                <a:gd name="connsiteY50" fmla="*/ 73157 h 1333436"/>
                <a:gd name="connsiteX51" fmla="*/ 492970 w 752994"/>
                <a:gd name="connsiteY51" fmla="*/ 73792 h 1333436"/>
                <a:gd name="connsiteX52" fmla="*/ 525816 w 752994"/>
                <a:gd name="connsiteY52" fmla="*/ 82491 h 1333436"/>
                <a:gd name="connsiteX53" fmla="*/ 520098 w 752994"/>
                <a:gd name="connsiteY53" fmla="*/ 111245 h 1333436"/>
                <a:gd name="connsiteX54" fmla="*/ 512552 w 752994"/>
                <a:gd name="connsiteY54" fmla="*/ 143854 h 1333436"/>
                <a:gd name="connsiteX55" fmla="*/ 517849 w 752994"/>
                <a:gd name="connsiteY55" fmla="*/ 157740 h 1333436"/>
                <a:gd name="connsiteX56" fmla="*/ 523160 w 752994"/>
                <a:gd name="connsiteY56" fmla="*/ 172009 h 1333436"/>
                <a:gd name="connsiteX57" fmla="*/ 521535 w 752994"/>
                <a:gd name="connsiteY57" fmla="*/ 178928 h 1333436"/>
                <a:gd name="connsiteX58" fmla="*/ 520098 w 752994"/>
                <a:gd name="connsiteY58" fmla="*/ 186279 h 1333436"/>
                <a:gd name="connsiteX59" fmla="*/ 526019 w 752994"/>
                <a:gd name="connsiteY59" fmla="*/ 193629 h 1333436"/>
                <a:gd name="connsiteX60" fmla="*/ 537251 w 752994"/>
                <a:gd name="connsiteY60" fmla="*/ 206270 h 1333436"/>
                <a:gd name="connsiteX61" fmla="*/ 542765 w 752994"/>
                <a:gd name="connsiteY61" fmla="*/ 217475 h 1333436"/>
                <a:gd name="connsiteX62" fmla="*/ 546857 w 752994"/>
                <a:gd name="connsiteY62" fmla="*/ 230930 h 1333436"/>
                <a:gd name="connsiteX63" fmla="*/ 549499 w 752994"/>
                <a:gd name="connsiteY63" fmla="*/ 235622 h 1333436"/>
                <a:gd name="connsiteX64" fmla="*/ 553388 w 752994"/>
                <a:gd name="connsiteY64" fmla="*/ 240722 h 1333436"/>
                <a:gd name="connsiteX65" fmla="*/ 557465 w 752994"/>
                <a:gd name="connsiteY65" fmla="*/ 246037 h 1333436"/>
                <a:gd name="connsiteX66" fmla="*/ 561761 w 752994"/>
                <a:gd name="connsiteY66" fmla="*/ 248671 h 1333436"/>
                <a:gd name="connsiteX67" fmla="*/ 567478 w 752994"/>
                <a:gd name="connsiteY67" fmla="*/ 247665 h 1333436"/>
                <a:gd name="connsiteX68" fmla="*/ 569931 w 752994"/>
                <a:gd name="connsiteY68" fmla="*/ 249293 h 1333436"/>
                <a:gd name="connsiteX69" fmla="*/ 570540 w 752994"/>
                <a:gd name="connsiteY69" fmla="*/ 251951 h 1333436"/>
                <a:gd name="connsiteX70" fmla="*/ 561964 w 752994"/>
                <a:gd name="connsiteY70" fmla="*/ 267656 h 1333436"/>
                <a:gd name="connsiteX71" fmla="*/ 553591 w 752994"/>
                <a:gd name="connsiteY71" fmla="*/ 289659 h 1333436"/>
                <a:gd name="connsiteX72" fmla="*/ 554810 w 752994"/>
                <a:gd name="connsiteY72" fmla="*/ 292939 h 1333436"/>
                <a:gd name="connsiteX73" fmla="*/ 556246 w 752994"/>
                <a:gd name="connsiteY73" fmla="*/ 299260 h 1333436"/>
                <a:gd name="connsiteX74" fmla="*/ 552778 w 752994"/>
                <a:gd name="connsiteY74" fmla="*/ 301917 h 1333436"/>
                <a:gd name="connsiteX75" fmla="*/ 549295 w 752994"/>
                <a:gd name="connsiteY75" fmla="*/ 306993 h 1333436"/>
                <a:gd name="connsiteX76" fmla="*/ 547061 w 752994"/>
                <a:gd name="connsiteY76" fmla="*/ 313122 h 1333436"/>
                <a:gd name="connsiteX77" fmla="*/ 544811 w 752994"/>
                <a:gd name="connsiteY77" fmla="*/ 316593 h 1333436"/>
                <a:gd name="connsiteX78" fmla="*/ 549919 w 752994"/>
                <a:gd name="connsiteY78" fmla="*/ 322698 h 1333436"/>
                <a:gd name="connsiteX79" fmla="*/ 553184 w 752994"/>
                <a:gd name="connsiteY79" fmla="*/ 325955 h 1333436"/>
                <a:gd name="connsiteX80" fmla="*/ 555840 w 752994"/>
                <a:gd name="connsiteY80" fmla="*/ 328205 h 1333436"/>
                <a:gd name="connsiteX81" fmla="*/ 574212 w 752994"/>
                <a:gd name="connsiteY81" fmla="*/ 318820 h 1333436"/>
                <a:gd name="connsiteX82" fmla="*/ 579523 w 752994"/>
                <a:gd name="connsiteY82" fmla="*/ 326577 h 1333436"/>
                <a:gd name="connsiteX83" fmla="*/ 580539 w 752994"/>
                <a:gd name="connsiteY83" fmla="*/ 334933 h 1333436"/>
                <a:gd name="connsiteX84" fmla="*/ 579726 w 752994"/>
                <a:gd name="connsiteY84" fmla="*/ 343097 h 1333436"/>
                <a:gd name="connsiteX85" fmla="*/ 581366 w 752994"/>
                <a:gd name="connsiteY85" fmla="*/ 350231 h 1333436"/>
                <a:gd name="connsiteX86" fmla="*/ 586256 w 752994"/>
                <a:gd name="connsiteY86" fmla="*/ 355930 h 1333436"/>
                <a:gd name="connsiteX87" fmla="*/ 589536 w 752994"/>
                <a:gd name="connsiteY87" fmla="*/ 362059 h 1333436"/>
                <a:gd name="connsiteX88" fmla="*/ 588099 w 752994"/>
                <a:gd name="connsiteY88" fmla="*/ 369600 h 1333436"/>
                <a:gd name="connsiteX89" fmla="*/ 586459 w 752994"/>
                <a:gd name="connsiteY89" fmla="*/ 377357 h 1333436"/>
                <a:gd name="connsiteX90" fmla="*/ 588709 w 752994"/>
                <a:gd name="connsiteY90" fmla="*/ 381835 h 1333436"/>
                <a:gd name="connsiteX91" fmla="*/ 595036 w 752994"/>
                <a:gd name="connsiteY91" fmla="*/ 382457 h 1333436"/>
                <a:gd name="connsiteX92" fmla="*/ 599331 w 752994"/>
                <a:gd name="connsiteY92" fmla="*/ 385306 h 1333436"/>
                <a:gd name="connsiteX93" fmla="*/ 601987 w 752994"/>
                <a:gd name="connsiteY93" fmla="*/ 391004 h 1333436"/>
                <a:gd name="connsiteX94" fmla="*/ 602799 w 752994"/>
                <a:gd name="connsiteY94" fmla="*/ 404076 h 1333436"/>
                <a:gd name="connsiteX95" fmla="*/ 606892 w 752994"/>
                <a:gd name="connsiteY95" fmla="*/ 415688 h 1333436"/>
                <a:gd name="connsiteX96" fmla="*/ 610563 w 752994"/>
                <a:gd name="connsiteY96" fmla="*/ 412217 h 1333436"/>
                <a:gd name="connsiteX97" fmla="*/ 617920 w 752994"/>
                <a:gd name="connsiteY97" fmla="*/ 408769 h 1333436"/>
                <a:gd name="connsiteX98" fmla="*/ 624654 w 752994"/>
                <a:gd name="connsiteY98" fmla="*/ 411211 h 1333436"/>
                <a:gd name="connsiteX99" fmla="*/ 634652 w 752994"/>
                <a:gd name="connsiteY99" fmla="*/ 410182 h 1333436"/>
                <a:gd name="connsiteX100" fmla="*/ 640573 w 752994"/>
                <a:gd name="connsiteY100" fmla="*/ 407739 h 1333436"/>
                <a:gd name="connsiteX101" fmla="*/ 646711 w 752994"/>
                <a:gd name="connsiteY101" fmla="*/ 410589 h 1333436"/>
                <a:gd name="connsiteX102" fmla="*/ 650383 w 752994"/>
                <a:gd name="connsiteY102" fmla="*/ 410589 h 1333436"/>
                <a:gd name="connsiteX103" fmla="*/ 654257 w 752994"/>
                <a:gd name="connsiteY103" fmla="*/ 411618 h 1333436"/>
                <a:gd name="connsiteX104" fmla="*/ 656913 w 752994"/>
                <a:gd name="connsiteY104" fmla="*/ 413653 h 1333436"/>
                <a:gd name="connsiteX105" fmla="*/ 660802 w 752994"/>
                <a:gd name="connsiteY105" fmla="*/ 415090 h 1333436"/>
                <a:gd name="connsiteX106" fmla="*/ 669581 w 752994"/>
                <a:gd name="connsiteY106" fmla="*/ 415904 h 1333436"/>
                <a:gd name="connsiteX107" fmla="*/ 672237 w 752994"/>
                <a:gd name="connsiteY107" fmla="*/ 415688 h 1333436"/>
                <a:gd name="connsiteX108" fmla="*/ 675705 w 752994"/>
                <a:gd name="connsiteY108" fmla="*/ 409367 h 1333436"/>
                <a:gd name="connsiteX109" fmla="*/ 679986 w 752994"/>
                <a:gd name="connsiteY109" fmla="*/ 403238 h 1333436"/>
                <a:gd name="connsiteX110" fmla="*/ 693264 w 752994"/>
                <a:gd name="connsiteY110" fmla="*/ 419567 h 1333436"/>
                <a:gd name="connsiteX111" fmla="*/ 688563 w 752994"/>
                <a:gd name="connsiteY111" fmla="*/ 448321 h 1333436"/>
                <a:gd name="connsiteX112" fmla="*/ 663949 w 752994"/>
                <a:gd name="connsiteY112" fmla="*/ 590165 h 1333436"/>
                <a:gd name="connsiteX113" fmla="*/ 666304 w 752994"/>
                <a:gd name="connsiteY113" fmla="*/ 590504 h 1333436"/>
                <a:gd name="connsiteX114" fmla="*/ 655288 w 752994"/>
                <a:gd name="connsiteY114" fmla="*/ 656178 h 1333436"/>
                <a:gd name="connsiteX115" fmla="*/ 681808 w 752994"/>
                <a:gd name="connsiteY115" fmla="*/ 662301 h 1333436"/>
                <a:gd name="connsiteX116" fmla="*/ 752994 w 752994"/>
                <a:gd name="connsiteY116" fmla="*/ 675560 h 1333436"/>
                <a:gd name="connsiteX117" fmla="*/ 714651 w 752994"/>
                <a:gd name="connsiteY117" fmla="*/ 946985 h 1333436"/>
                <a:gd name="connsiteX118" fmla="*/ 654533 w 752994"/>
                <a:gd name="connsiteY118" fmla="*/ 1333436 h 1333436"/>
                <a:gd name="connsiteX119" fmla="*/ 546831 w 752994"/>
                <a:gd name="connsiteY119" fmla="*/ 1317126 h 1333436"/>
                <a:gd name="connsiteX120" fmla="*/ 351227 w 752994"/>
                <a:gd name="connsiteY120" fmla="*/ 1194172 h 1333436"/>
                <a:gd name="connsiteX121" fmla="*/ 361011 w 752994"/>
                <a:gd name="connsiteY121" fmla="*/ 1182755 h 1333436"/>
                <a:gd name="connsiteX122" fmla="*/ 368981 w 752994"/>
                <a:gd name="connsiteY122" fmla="*/ 1182130 h 1333436"/>
                <a:gd name="connsiteX123" fmla="*/ 369571 w 752994"/>
                <a:gd name="connsiteY123" fmla="*/ 1181558 h 1333436"/>
                <a:gd name="connsiteX124" fmla="*/ 362372 w 752994"/>
                <a:gd name="connsiteY124" fmla="*/ 1182120 h 1333436"/>
                <a:gd name="connsiteX125" fmla="*/ 229464 w 752994"/>
                <a:gd name="connsiteY125" fmla="*/ 1161721 h 1333436"/>
                <a:gd name="connsiteX126" fmla="*/ 227427 w 752994"/>
                <a:gd name="connsiteY126" fmla="*/ 1157269 h 1333436"/>
                <a:gd name="connsiteX127" fmla="*/ 224967 w 752994"/>
                <a:gd name="connsiteY127" fmla="*/ 1152575 h 1333436"/>
                <a:gd name="connsiteX128" fmla="*/ 225582 w 752994"/>
                <a:gd name="connsiteY128" fmla="*/ 1144808 h 1333436"/>
                <a:gd name="connsiteX129" fmla="*/ 227215 w 752994"/>
                <a:gd name="connsiteY129" fmla="*/ 1135834 h 1333436"/>
                <a:gd name="connsiteX130" fmla="*/ 227215 w 752994"/>
                <a:gd name="connsiteY130" fmla="*/ 1134212 h 1333436"/>
                <a:gd name="connsiteX131" fmla="*/ 225179 w 752994"/>
                <a:gd name="connsiteY131" fmla="*/ 1114020 h 1333436"/>
                <a:gd name="connsiteX132" fmla="*/ 217839 w 752994"/>
                <a:gd name="connsiteY132" fmla="*/ 1100352 h 1333436"/>
                <a:gd name="connsiteX133" fmla="*/ 199661 w 752994"/>
                <a:gd name="connsiteY133" fmla="*/ 1076502 h 1333436"/>
                <a:gd name="connsiteX134" fmla="*/ 196395 w 752994"/>
                <a:gd name="connsiteY134" fmla="*/ 1071807 h 1333436"/>
                <a:gd name="connsiteX135" fmla="*/ 190880 w 752994"/>
                <a:gd name="connsiteY135" fmla="*/ 1067527 h 1333436"/>
                <a:gd name="connsiteX136" fmla="*/ 187210 w 752994"/>
                <a:gd name="connsiteY136" fmla="*/ 1068735 h 1333436"/>
                <a:gd name="connsiteX137" fmla="*/ 180062 w 752994"/>
                <a:gd name="connsiteY137" fmla="*/ 1066699 h 1333436"/>
                <a:gd name="connsiteX138" fmla="*/ 180466 w 752994"/>
                <a:gd name="connsiteY138" fmla="*/ 1053031 h 1333436"/>
                <a:gd name="connsiteX139" fmla="*/ 180062 w 752994"/>
                <a:gd name="connsiteY139" fmla="*/ 1045299 h 1333436"/>
                <a:gd name="connsiteX140" fmla="*/ 174144 w 752994"/>
                <a:gd name="connsiteY140" fmla="*/ 1044057 h 1333436"/>
                <a:gd name="connsiteX141" fmla="*/ 158426 w 752994"/>
                <a:gd name="connsiteY141" fmla="*/ 1042641 h 1333436"/>
                <a:gd name="connsiteX142" fmla="*/ 149857 w 752994"/>
                <a:gd name="connsiteY142" fmla="*/ 1035497 h 1333436"/>
                <a:gd name="connsiteX143" fmla="*/ 142497 w 752994"/>
                <a:gd name="connsiteY143" fmla="*/ 1028766 h 1333436"/>
                <a:gd name="connsiteX144" fmla="*/ 140864 w 752994"/>
                <a:gd name="connsiteY144" fmla="*/ 1020620 h 1333436"/>
                <a:gd name="connsiteX145" fmla="*/ 138212 w 752994"/>
                <a:gd name="connsiteY145" fmla="*/ 1013061 h 1333436"/>
                <a:gd name="connsiteX146" fmla="*/ 131064 w 752994"/>
                <a:gd name="connsiteY146" fmla="*/ 1007159 h 1333436"/>
                <a:gd name="connsiteX147" fmla="*/ 121264 w 752994"/>
                <a:gd name="connsiteY147" fmla="*/ 1005330 h 1333436"/>
                <a:gd name="connsiteX148" fmla="*/ 112483 w 752994"/>
                <a:gd name="connsiteY148" fmla="*/ 1001671 h 1333436"/>
                <a:gd name="connsiteX149" fmla="*/ 105950 w 752994"/>
                <a:gd name="connsiteY149" fmla="*/ 995734 h 1333436"/>
                <a:gd name="connsiteX150" fmla="*/ 97380 w 752994"/>
                <a:gd name="connsiteY150" fmla="*/ 994526 h 1333436"/>
                <a:gd name="connsiteX151" fmla="*/ 87984 w 752994"/>
                <a:gd name="connsiteY151" fmla="*/ 991040 h 1333436"/>
                <a:gd name="connsiteX152" fmla="*/ 80029 w 752994"/>
                <a:gd name="connsiteY152" fmla="*/ 985138 h 1333436"/>
                <a:gd name="connsiteX153" fmla="*/ 77166 w 752994"/>
                <a:gd name="connsiteY153" fmla="*/ 976164 h 1333436"/>
                <a:gd name="connsiteX154" fmla="*/ 79203 w 752994"/>
                <a:gd name="connsiteY154" fmla="*/ 970676 h 1333436"/>
                <a:gd name="connsiteX155" fmla="*/ 82470 w 752994"/>
                <a:gd name="connsiteY155" fmla="*/ 963117 h 1333436"/>
                <a:gd name="connsiteX156" fmla="*/ 84314 w 752994"/>
                <a:gd name="connsiteY156" fmla="*/ 954557 h 1333436"/>
                <a:gd name="connsiteX157" fmla="*/ 86351 w 752994"/>
                <a:gd name="connsiteY157" fmla="*/ 948033 h 1333436"/>
                <a:gd name="connsiteX158" fmla="*/ 86159 w 752994"/>
                <a:gd name="connsiteY158" fmla="*/ 942925 h 1333436"/>
                <a:gd name="connsiteX159" fmla="*/ 83085 w 752994"/>
                <a:gd name="connsiteY159" fmla="*/ 939853 h 1333436"/>
                <a:gd name="connsiteX160" fmla="*/ 77570 w 752994"/>
                <a:gd name="connsiteY160" fmla="*/ 937437 h 1333436"/>
                <a:gd name="connsiteX161" fmla="*/ 76763 w 752994"/>
                <a:gd name="connsiteY161" fmla="*/ 931915 h 1333436"/>
                <a:gd name="connsiteX162" fmla="*/ 78800 w 752994"/>
                <a:gd name="connsiteY162" fmla="*/ 927013 h 1333436"/>
                <a:gd name="connsiteX163" fmla="*/ 79626 w 752994"/>
                <a:gd name="connsiteY163" fmla="*/ 922526 h 1333436"/>
                <a:gd name="connsiteX164" fmla="*/ 77781 w 752994"/>
                <a:gd name="connsiteY164" fmla="*/ 919903 h 1333436"/>
                <a:gd name="connsiteX165" fmla="*/ 74303 w 752994"/>
                <a:gd name="connsiteY165" fmla="*/ 917418 h 1333436"/>
                <a:gd name="connsiteX166" fmla="*/ 71863 w 752994"/>
                <a:gd name="connsiteY166" fmla="*/ 915174 h 1333436"/>
                <a:gd name="connsiteX167" fmla="*/ 71652 w 752994"/>
                <a:gd name="connsiteY167" fmla="*/ 910894 h 1333436"/>
                <a:gd name="connsiteX168" fmla="*/ 70633 w 752994"/>
                <a:gd name="connsiteY168" fmla="*/ 906614 h 1333436"/>
                <a:gd name="connsiteX169" fmla="*/ 68385 w 752994"/>
                <a:gd name="connsiteY169" fmla="*/ 902749 h 1333436"/>
                <a:gd name="connsiteX170" fmla="*/ 61045 w 752994"/>
                <a:gd name="connsiteY170" fmla="*/ 889494 h 1333436"/>
                <a:gd name="connsiteX171" fmla="*/ 57971 w 752994"/>
                <a:gd name="connsiteY171" fmla="*/ 875619 h 1333436"/>
                <a:gd name="connsiteX172" fmla="*/ 52264 w 752994"/>
                <a:gd name="connsiteY172" fmla="*/ 862572 h 1333436"/>
                <a:gd name="connsiteX173" fmla="*/ 44309 w 752994"/>
                <a:gd name="connsiteY173" fmla="*/ 850561 h 1333436"/>
                <a:gd name="connsiteX174" fmla="*/ 45520 w 752994"/>
                <a:gd name="connsiteY174" fmla="*/ 827090 h 1333436"/>
                <a:gd name="connsiteX175" fmla="*/ 53071 w 752994"/>
                <a:gd name="connsiteY175" fmla="*/ 822396 h 1333436"/>
                <a:gd name="connsiteX176" fmla="*/ 57375 w 752994"/>
                <a:gd name="connsiteY176" fmla="*/ 816493 h 1333436"/>
                <a:gd name="connsiteX177" fmla="*/ 55319 w 752994"/>
                <a:gd name="connsiteY177" fmla="*/ 801617 h 1333436"/>
                <a:gd name="connsiteX178" fmla="*/ 48383 w 752994"/>
                <a:gd name="connsiteY178" fmla="*/ 802204 h 1333436"/>
                <a:gd name="connsiteX179" fmla="*/ 40428 w 752994"/>
                <a:gd name="connsiteY179" fmla="*/ 797924 h 1333436"/>
                <a:gd name="connsiteX180" fmla="*/ 37565 w 752994"/>
                <a:gd name="connsiteY180" fmla="*/ 790606 h 1333436"/>
                <a:gd name="connsiteX181" fmla="*/ 37565 w 752994"/>
                <a:gd name="connsiteY181" fmla="*/ 790399 h 1333436"/>
                <a:gd name="connsiteX182" fmla="*/ 35931 w 752994"/>
                <a:gd name="connsiteY182" fmla="*/ 785912 h 1333436"/>
                <a:gd name="connsiteX183" fmla="*/ 34510 w 752994"/>
                <a:gd name="connsiteY183" fmla="*/ 780597 h 1333436"/>
                <a:gd name="connsiteX184" fmla="*/ 36335 w 752994"/>
                <a:gd name="connsiteY184" fmla="*/ 774280 h 1333436"/>
                <a:gd name="connsiteX185" fmla="*/ 38180 w 752994"/>
                <a:gd name="connsiteY185" fmla="*/ 766721 h 1333436"/>
                <a:gd name="connsiteX186" fmla="*/ 37161 w 752994"/>
                <a:gd name="connsiteY186" fmla="*/ 760405 h 1333436"/>
                <a:gd name="connsiteX187" fmla="*/ 35720 w 752994"/>
                <a:gd name="connsiteY187" fmla="*/ 754710 h 1333436"/>
                <a:gd name="connsiteX188" fmla="*/ 36546 w 752994"/>
                <a:gd name="connsiteY188" fmla="*/ 748773 h 1333436"/>
                <a:gd name="connsiteX189" fmla="*/ 38372 w 752994"/>
                <a:gd name="connsiteY189" fmla="*/ 744528 h 1333436"/>
                <a:gd name="connsiteX190" fmla="*/ 41638 w 752994"/>
                <a:gd name="connsiteY190" fmla="*/ 744321 h 1333436"/>
                <a:gd name="connsiteX191" fmla="*/ 44713 w 752994"/>
                <a:gd name="connsiteY191" fmla="*/ 746357 h 1333436"/>
                <a:gd name="connsiteX192" fmla="*/ 47364 w 752994"/>
                <a:gd name="connsiteY192" fmla="*/ 753260 h 1333436"/>
                <a:gd name="connsiteX193" fmla="*/ 55742 w 752994"/>
                <a:gd name="connsiteY193" fmla="*/ 764305 h 1333436"/>
                <a:gd name="connsiteX194" fmla="*/ 56338 w 752994"/>
                <a:gd name="connsiteY194" fmla="*/ 761233 h 1333436"/>
                <a:gd name="connsiteX195" fmla="*/ 56145 w 752994"/>
                <a:gd name="connsiteY195" fmla="*/ 757368 h 1333436"/>
                <a:gd name="connsiteX196" fmla="*/ 54916 w 752994"/>
                <a:gd name="connsiteY196" fmla="*/ 748601 h 1333436"/>
                <a:gd name="connsiteX197" fmla="*/ 52879 w 752994"/>
                <a:gd name="connsiteY197" fmla="*/ 747358 h 1333436"/>
                <a:gd name="connsiteX198" fmla="*/ 51649 w 752994"/>
                <a:gd name="connsiteY198" fmla="*/ 745322 h 1333436"/>
                <a:gd name="connsiteX199" fmla="*/ 51649 w 752994"/>
                <a:gd name="connsiteY199" fmla="*/ 739212 h 1333436"/>
                <a:gd name="connsiteX200" fmla="*/ 50227 w 752994"/>
                <a:gd name="connsiteY200" fmla="*/ 734725 h 1333436"/>
                <a:gd name="connsiteX201" fmla="*/ 48786 w 752994"/>
                <a:gd name="connsiteY201" fmla="*/ 731446 h 1333436"/>
                <a:gd name="connsiteX202" fmla="*/ 54512 w 752994"/>
                <a:gd name="connsiteY202" fmla="*/ 726372 h 1333436"/>
                <a:gd name="connsiteX203" fmla="*/ 59815 w 752994"/>
                <a:gd name="connsiteY203" fmla="*/ 725130 h 1333436"/>
                <a:gd name="connsiteX204" fmla="*/ 58182 w 752994"/>
                <a:gd name="connsiteY204" fmla="*/ 722886 h 1333436"/>
                <a:gd name="connsiteX205" fmla="*/ 51861 w 752994"/>
                <a:gd name="connsiteY205" fmla="*/ 717985 h 1333436"/>
                <a:gd name="connsiteX206" fmla="*/ 46749 w 752994"/>
                <a:gd name="connsiteY206" fmla="*/ 729617 h 1333436"/>
                <a:gd name="connsiteX207" fmla="*/ 40831 w 752994"/>
                <a:gd name="connsiteY207" fmla="*/ 739212 h 1333436"/>
                <a:gd name="connsiteX208" fmla="*/ 39601 w 752994"/>
                <a:gd name="connsiteY208" fmla="*/ 738798 h 1333436"/>
                <a:gd name="connsiteX209" fmla="*/ 39409 w 752994"/>
                <a:gd name="connsiteY209" fmla="*/ 738591 h 1333436"/>
                <a:gd name="connsiteX210" fmla="*/ 37161 w 752994"/>
                <a:gd name="connsiteY210" fmla="*/ 734725 h 1333436"/>
                <a:gd name="connsiteX211" fmla="*/ 32665 w 752994"/>
                <a:gd name="connsiteY211" fmla="*/ 727788 h 1333436"/>
                <a:gd name="connsiteX212" fmla="*/ 26747 w 752994"/>
                <a:gd name="connsiteY212" fmla="*/ 719435 h 1333436"/>
                <a:gd name="connsiteX213" fmla="*/ 23884 w 752994"/>
                <a:gd name="connsiteY213" fmla="*/ 717812 h 1333436"/>
                <a:gd name="connsiteX214" fmla="*/ 24710 w 752994"/>
                <a:gd name="connsiteY214" fmla="*/ 709632 h 1333436"/>
                <a:gd name="connsiteX215" fmla="*/ 27554 w 752994"/>
                <a:gd name="connsiteY215" fmla="*/ 701694 h 1333436"/>
                <a:gd name="connsiteX216" fmla="*/ 24902 w 752994"/>
                <a:gd name="connsiteY216" fmla="*/ 696171 h 1333436"/>
                <a:gd name="connsiteX217" fmla="*/ 24095 w 752994"/>
                <a:gd name="connsiteY217" fmla="*/ 687818 h 1333436"/>
                <a:gd name="connsiteX218" fmla="*/ 22462 w 752994"/>
                <a:gd name="connsiteY218" fmla="*/ 682330 h 1333436"/>
                <a:gd name="connsiteX219" fmla="*/ 17159 w 752994"/>
                <a:gd name="connsiteY219" fmla="*/ 677636 h 1333436"/>
                <a:gd name="connsiteX220" fmla="*/ 14296 w 752994"/>
                <a:gd name="connsiteY220" fmla="*/ 671492 h 1333436"/>
                <a:gd name="connsiteX221" fmla="*/ 12451 w 752994"/>
                <a:gd name="connsiteY221" fmla="*/ 665797 h 1333436"/>
                <a:gd name="connsiteX222" fmla="*/ 5111 w 752994"/>
                <a:gd name="connsiteY222" fmla="*/ 654994 h 1333436"/>
                <a:gd name="connsiteX223" fmla="*/ 2248 w 752994"/>
                <a:gd name="connsiteY223" fmla="*/ 645605 h 1333436"/>
                <a:gd name="connsiteX224" fmla="*/ 4496 w 752994"/>
                <a:gd name="connsiteY224" fmla="*/ 640497 h 1333436"/>
                <a:gd name="connsiteX225" fmla="*/ 6744 w 752994"/>
                <a:gd name="connsiteY225" fmla="*/ 632765 h 1333436"/>
                <a:gd name="connsiteX226" fmla="*/ 6744 w 752994"/>
                <a:gd name="connsiteY226" fmla="*/ 628485 h 1333436"/>
                <a:gd name="connsiteX227" fmla="*/ 6533 w 752994"/>
                <a:gd name="connsiteY227" fmla="*/ 620305 h 1333436"/>
                <a:gd name="connsiteX228" fmla="*/ 7359 w 752994"/>
                <a:gd name="connsiteY228" fmla="*/ 611745 h 1333436"/>
                <a:gd name="connsiteX229" fmla="*/ 11836 w 752994"/>
                <a:gd name="connsiteY229" fmla="*/ 602978 h 1333436"/>
                <a:gd name="connsiteX230" fmla="*/ 15103 w 752994"/>
                <a:gd name="connsiteY230" fmla="*/ 591760 h 1333436"/>
                <a:gd name="connsiteX231" fmla="*/ 14488 w 752994"/>
                <a:gd name="connsiteY231" fmla="*/ 584029 h 1333436"/>
                <a:gd name="connsiteX232" fmla="*/ 13873 w 752994"/>
                <a:gd name="connsiteY232" fmla="*/ 578299 h 1333436"/>
                <a:gd name="connsiteX233" fmla="*/ 10626 w 752994"/>
                <a:gd name="connsiteY233" fmla="*/ 568531 h 1333436"/>
                <a:gd name="connsiteX234" fmla="*/ 3670 w 752994"/>
                <a:gd name="connsiteY234" fmla="*/ 558107 h 1333436"/>
                <a:gd name="connsiteX235" fmla="*/ 0 w 752994"/>
                <a:gd name="connsiteY235" fmla="*/ 551377 h 1333436"/>
                <a:gd name="connsiteX236" fmla="*/ 0 w 752994"/>
                <a:gd name="connsiteY236" fmla="*/ 550997 h 1333436"/>
                <a:gd name="connsiteX237" fmla="*/ 4900 w 752994"/>
                <a:gd name="connsiteY237" fmla="*/ 531220 h 1333436"/>
                <a:gd name="connsiteX238" fmla="*/ 13873 w 752994"/>
                <a:gd name="connsiteY238" fmla="*/ 520589 h 1333436"/>
                <a:gd name="connsiteX239" fmla="*/ 18369 w 752994"/>
                <a:gd name="connsiteY239" fmla="*/ 516516 h 1333436"/>
                <a:gd name="connsiteX240" fmla="*/ 18773 w 752994"/>
                <a:gd name="connsiteY240" fmla="*/ 514272 h 1333436"/>
                <a:gd name="connsiteX241" fmla="*/ 23077 w 752994"/>
                <a:gd name="connsiteY241" fmla="*/ 506127 h 1333436"/>
                <a:gd name="connsiteX242" fmla="*/ 23884 w 752994"/>
                <a:gd name="connsiteY242" fmla="*/ 502261 h 1333436"/>
                <a:gd name="connsiteX243" fmla="*/ 23692 w 752994"/>
                <a:gd name="connsiteY243" fmla="*/ 496738 h 1333436"/>
                <a:gd name="connsiteX244" fmla="*/ 30013 w 752994"/>
                <a:gd name="connsiteY244" fmla="*/ 486556 h 1333436"/>
                <a:gd name="connsiteX245" fmla="*/ 36546 w 752994"/>
                <a:gd name="connsiteY245" fmla="*/ 470230 h 1333436"/>
                <a:gd name="connsiteX246" fmla="*/ 36546 w 752994"/>
                <a:gd name="connsiteY246" fmla="*/ 462671 h 1333436"/>
                <a:gd name="connsiteX247" fmla="*/ 36335 w 752994"/>
                <a:gd name="connsiteY247" fmla="*/ 461670 h 1333436"/>
                <a:gd name="connsiteX248" fmla="*/ 35931 w 752994"/>
                <a:gd name="connsiteY248" fmla="*/ 453110 h 1333436"/>
                <a:gd name="connsiteX249" fmla="*/ 38583 w 752994"/>
                <a:gd name="connsiteY249" fmla="*/ 442514 h 1333436"/>
                <a:gd name="connsiteX250" fmla="*/ 41043 w 752994"/>
                <a:gd name="connsiteY250" fmla="*/ 436991 h 1333436"/>
                <a:gd name="connsiteX251" fmla="*/ 41650 w 752994"/>
                <a:gd name="connsiteY251" fmla="*/ 437186 h 1333436"/>
                <a:gd name="connsiteX252" fmla="*/ 41239 w 752994"/>
                <a:gd name="connsiteY252" fmla="*/ 436549 h 1333436"/>
                <a:gd name="connsiteX253" fmla="*/ 37778 w 752994"/>
                <a:gd name="connsiteY253" fmla="*/ 433894 h 1333436"/>
                <a:gd name="connsiteX254" fmla="*/ 37169 w 752994"/>
                <a:gd name="connsiteY254" fmla="*/ 432261 h 1333436"/>
                <a:gd name="connsiteX255" fmla="*/ 37365 w 752994"/>
                <a:gd name="connsiteY255" fmla="*/ 429198 h 1333436"/>
                <a:gd name="connsiteX256" fmla="*/ 36756 w 752994"/>
                <a:gd name="connsiteY256" fmla="*/ 422272 h 1333436"/>
                <a:gd name="connsiteX257" fmla="*/ 36952 w 752994"/>
                <a:gd name="connsiteY257" fmla="*/ 418800 h 1333436"/>
                <a:gd name="connsiteX258" fmla="*/ 36756 w 752994"/>
                <a:gd name="connsiteY258" fmla="*/ 412487 h 1333436"/>
                <a:gd name="connsiteX259" fmla="*/ 40433 w 752994"/>
                <a:gd name="connsiteY259" fmla="*/ 406174 h 1333436"/>
                <a:gd name="connsiteX260" fmla="*/ 44720 w 752994"/>
                <a:gd name="connsiteY260" fmla="*/ 399435 h 1333436"/>
                <a:gd name="connsiteX261" fmla="*/ 44110 w 752994"/>
                <a:gd name="connsiteY261" fmla="*/ 389651 h 1333436"/>
                <a:gd name="connsiteX262" fmla="*/ 43894 w 752994"/>
                <a:gd name="connsiteY262" fmla="*/ 378437 h 1333436"/>
                <a:gd name="connsiteX263" fmla="*/ 47158 w 752994"/>
                <a:gd name="connsiteY263" fmla="*/ 371102 h 1333436"/>
                <a:gd name="connsiteX264" fmla="*/ 55731 w 752994"/>
                <a:gd name="connsiteY264" fmla="*/ 360909 h 1333436"/>
                <a:gd name="connsiteX265" fmla="*/ 57580 w 752994"/>
                <a:gd name="connsiteY265" fmla="*/ 355804 h 1333436"/>
                <a:gd name="connsiteX266" fmla="*/ 62673 w 752994"/>
                <a:gd name="connsiteY266" fmla="*/ 349695 h 1333436"/>
                <a:gd name="connsiteX267" fmla="*/ 65937 w 752994"/>
                <a:gd name="connsiteY267" fmla="*/ 348470 h 1333436"/>
                <a:gd name="connsiteX268" fmla="*/ 68395 w 752994"/>
                <a:gd name="connsiteY268" fmla="*/ 348674 h 1333436"/>
                <a:gd name="connsiteX269" fmla="*/ 70224 w 752994"/>
                <a:gd name="connsiteY269" fmla="*/ 347449 h 1333436"/>
                <a:gd name="connsiteX270" fmla="*/ 67785 w 752994"/>
                <a:gd name="connsiteY270" fmla="*/ 345203 h 1333436"/>
                <a:gd name="connsiteX271" fmla="*/ 65524 w 752994"/>
                <a:gd name="connsiteY271" fmla="*/ 343178 h 1333436"/>
                <a:gd name="connsiteX272" fmla="*/ 73095 w 752994"/>
                <a:gd name="connsiteY272" fmla="*/ 333376 h 1333436"/>
                <a:gd name="connsiteX273" fmla="*/ 73291 w 752994"/>
                <a:gd name="connsiteY273" fmla="*/ 333376 h 1333436"/>
                <a:gd name="connsiteX274" fmla="*/ 77991 w 752994"/>
                <a:gd name="connsiteY274" fmla="*/ 325838 h 1333436"/>
                <a:gd name="connsiteX275" fmla="*/ 82671 w 752994"/>
                <a:gd name="connsiteY275" fmla="*/ 313619 h 1333436"/>
                <a:gd name="connsiteX276" fmla="*/ 87980 w 752994"/>
                <a:gd name="connsiteY276" fmla="*/ 303018 h 1333436"/>
                <a:gd name="connsiteX277" fmla="*/ 92267 w 752994"/>
                <a:gd name="connsiteY277" fmla="*/ 291191 h 1333436"/>
                <a:gd name="connsiteX278" fmla="*/ 96553 w 752994"/>
                <a:gd name="connsiteY278" fmla="*/ 281202 h 1333436"/>
                <a:gd name="connsiteX279" fmla="*/ 99621 w 752994"/>
                <a:gd name="connsiteY279" fmla="*/ 274481 h 1333436"/>
                <a:gd name="connsiteX280" fmla="*/ 103082 w 752994"/>
                <a:gd name="connsiteY280" fmla="*/ 262450 h 1333436"/>
                <a:gd name="connsiteX281" fmla="*/ 107172 w 752994"/>
                <a:gd name="connsiteY281" fmla="*/ 254299 h 1333436"/>
                <a:gd name="connsiteX282" fmla="*/ 112481 w 752994"/>
                <a:gd name="connsiteY282" fmla="*/ 243697 h 1333436"/>
                <a:gd name="connsiteX283" fmla="*/ 117181 w 752994"/>
                <a:gd name="connsiteY283" fmla="*/ 232279 h 1333436"/>
                <a:gd name="connsiteX284" fmla="*/ 125951 w 752994"/>
                <a:gd name="connsiteY284" fmla="*/ 217389 h 1333436"/>
                <a:gd name="connsiteX285" fmla="*/ 136156 w 752994"/>
                <a:gd name="connsiteY285" fmla="*/ 202925 h 1333436"/>
                <a:gd name="connsiteX286" fmla="*/ 138811 w 752994"/>
                <a:gd name="connsiteY286" fmla="*/ 183339 h 1333436"/>
                <a:gd name="connsiteX287" fmla="*/ 148801 w 752994"/>
                <a:gd name="connsiteY287" fmla="*/ 167445 h 1333436"/>
                <a:gd name="connsiteX288" fmla="*/ 159616 w 752994"/>
                <a:gd name="connsiteY288" fmla="*/ 170712 h 1333436"/>
                <a:gd name="connsiteX289" fmla="*/ 173105 w 752994"/>
                <a:gd name="connsiteY289" fmla="*/ 175188 h 1333436"/>
                <a:gd name="connsiteX290" fmla="*/ 175347 w 752994"/>
                <a:gd name="connsiteY290" fmla="*/ 175188 h 1333436"/>
                <a:gd name="connsiteX291" fmla="*/ 175347 w 752994"/>
                <a:gd name="connsiteY291" fmla="*/ 173758 h 1333436"/>
                <a:gd name="connsiteX292" fmla="*/ 184975 w 752994"/>
                <a:gd name="connsiteY292" fmla="*/ 187393 h 1333436"/>
                <a:gd name="connsiteX293" fmla="*/ 184762 w 752994"/>
                <a:gd name="connsiteY293" fmla="*/ 184637 h 1333436"/>
                <a:gd name="connsiteX294" fmla="*/ 174971 w 752994"/>
                <a:gd name="connsiteY294" fmla="*/ 170774 h 1333436"/>
                <a:gd name="connsiteX295" fmla="*/ 174971 w 752994"/>
                <a:gd name="connsiteY295" fmla="*/ 169550 h 1333436"/>
                <a:gd name="connsiteX296" fmla="*/ 158851 w 752994"/>
                <a:gd name="connsiteY296" fmla="*/ 156924 h 1333436"/>
                <a:gd name="connsiteX297" fmla="*/ 147025 w 752994"/>
                <a:gd name="connsiteY297" fmla="*/ 145709 h 1333436"/>
                <a:gd name="connsiteX298" fmla="*/ 154364 w 752994"/>
                <a:gd name="connsiteY298" fmla="*/ 136335 h 1333436"/>
                <a:gd name="connsiteX299" fmla="*/ 161511 w 752994"/>
                <a:gd name="connsiteY299" fmla="*/ 131042 h 1333436"/>
                <a:gd name="connsiteX300" fmla="*/ 160902 w 752994"/>
                <a:gd name="connsiteY300" fmla="*/ 128384 h 1333436"/>
                <a:gd name="connsiteX301" fmla="*/ 160277 w 752994"/>
                <a:gd name="connsiteY301" fmla="*/ 127778 h 1333436"/>
                <a:gd name="connsiteX302" fmla="*/ 154973 w 752994"/>
                <a:gd name="connsiteY302" fmla="*/ 122077 h 1333436"/>
                <a:gd name="connsiteX303" fmla="*/ 160277 w 752994"/>
                <a:gd name="connsiteY303" fmla="*/ 115140 h 1333436"/>
                <a:gd name="connsiteX304" fmla="*/ 165181 w 752994"/>
                <a:gd name="connsiteY304" fmla="*/ 108215 h 1333436"/>
                <a:gd name="connsiteX305" fmla="*/ 161303 w 752994"/>
                <a:gd name="connsiteY305" fmla="*/ 104146 h 1333436"/>
                <a:gd name="connsiteX306" fmla="*/ 157842 w 752994"/>
                <a:gd name="connsiteY306" fmla="*/ 104542 h 1333436"/>
                <a:gd name="connsiteX307" fmla="*/ 157024 w 752994"/>
                <a:gd name="connsiteY307" fmla="*/ 102304 h 1333436"/>
                <a:gd name="connsiteX308" fmla="*/ 160694 w 752994"/>
                <a:gd name="connsiteY308" fmla="*/ 55437 h 1333436"/>
                <a:gd name="connsiteX309" fmla="*/ 160486 w 752994"/>
                <a:gd name="connsiteY309" fmla="*/ 31991 h 1333436"/>
                <a:gd name="connsiteX310" fmla="*/ 164972 w 752994"/>
                <a:gd name="connsiteY310" fmla="*/ 18141 h 1333436"/>
                <a:gd name="connsiteX311" fmla="*/ 171911 w 752994"/>
                <a:gd name="connsiteY311" fmla="*/ 11204 h 1333436"/>
                <a:gd name="connsiteX312" fmla="*/ 187406 w 752994"/>
                <a:gd name="connsiteY312" fmla="*/ 21801 h 1333436"/>
                <a:gd name="connsiteX313" fmla="*/ 210866 w 752994"/>
                <a:gd name="connsiteY313" fmla="*/ 37086 h 1333436"/>
                <a:gd name="connsiteX314" fmla="*/ 219230 w 752994"/>
                <a:gd name="connsiteY314" fmla="*/ 41166 h 1333436"/>
                <a:gd name="connsiteX315" fmla="*/ 226778 w 752994"/>
                <a:gd name="connsiteY315" fmla="*/ 47486 h 1333436"/>
                <a:gd name="connsiteX316" fmla="*/ 236152 w 752994"/>
                <a:gd name="connsiteY316" fmla="*/ 52370 h 1333436"/>
                <a:gd name="connsiteX317" fmla="*/ 239629 w 752994"/>
                <a:gd name="connsiteY317" fmla="*/ 58491 h 1333436"/>
                <a:gd name="connsiteX318" fmla="*/ 239629 w 752994"/>
                <a:gd name="connsiteY318" fmla="*/ 63376 h 1333436"/>
                <a:gd name="connsiteX319" fmla="*/ 236568 w 752994"/>
                <a:gd name="connsiteY319" fmla="*/ 67457 h 1333436"/>
                <a:gd name="connsiteX320" fmla="*/ 231264 w 752994"/>
                <a:gd name="connsiteY320" fmla="*/ 69905 h 1333436"/>
                <a:gd name="connsiteX321" fmla="*/ 216778 w 752994"/>
                <a:gd name="connsiteY321" fmla="*/ 82741 h 1333436"/>
                <a:gd name="connsiteX322" fmla="*/ 214134 w 752994"/>
                <a:gd name="connsiteY322" fmla="*/ 93536 h 1333436"/>
                <a:gd name="connsiteX323" fmla="*/ 214535 w 752994"/>
                <a:gd name="connsiteY323" fmla="*/ 96801 h 1333436"/>
                <a:gd name="connsiteX324" fmla="*/ 216378 w 752994"/>
                <a:gd name="connsiteY324" fmla="*/ 96801 h 1333436"/>
                <a:gd name="connsiteX325" fmla="*/ 230046 w 752994"/>
                <a:gd name="connsiteY325" fmla="*/ 85387 h 1333436"/>
                <a:gd name="connsiteX326" fmla="*/ 243298 w 752994"/>
                <a:gd name="connsiteY326" fmla="*/ 75198 h 1333436"/>
                <a:gd name="connsiteX327" fmla="*/ 246760 w 752994"/>
                <a:gd name="connsiteY327" fmla="*/ 77646 h 1333436"/>
                <a:gd name="connsiteX328" fmla="*/ 255541 w 752994"/>
                <a:gd name="connsiteY328" fmla="*/ 63376 h 1333436"/>
                <a:gd name="connsiteX329" fmla="*/ 259611 w 752994"/>
                <a:gd name="connsiteY329" fmla="*/ 43405 h 1333436"/>
                <a:gd name="connsiteX330" fmla="*/ 256967 w 752994"/>
                <a:gd name="connsiteY330" fmla="*/ 38520 h 1333436"/>
                <a:gd name="connsiteX331" fmla="*/ 253906 w 752994"/>
                <a:gd name="connsiteY331" fmla="*/ 34242 h 1333436"/>
                <a:gd name="connsiteX332" fmla="*/ 256967 w 752994"/>
                <a:gd name="connsiteY332" fmla="*/ 30161 h 1333436"/>
                <a:gd name="connsiteX333" fmla="*/ 262063 w 752994"/>
                <a:gd name="connsiteY333" fmla="*/ 27712 h 1333436"/>
                <a:gd name="connsiteX334" fmla="*/ 264915 w 752994"/>
                <a:gd name="connsiteY334" fmla="*/ 23026 h 1333436"/>
                <a:gd name="connsiteX335" fmla="*/ 267976 w 752994"/>
                <a:gd name="connsiteY335" fmla="*/ 22618 h 1333436"/>
                <a:gd name="connsiteX336" fmla="*/ 270427 w 752994"/>
                <a:gd name="connsiteY336" fmla="*/ 20787 h 1333436"/>
                <a:gd name="connsiteX337" fmla="*/ 263088 w 752994"/>
                <a:gd name="connsiteY337" fmla="*/ 13652 h 1333436"/>
                <a:gd name="connsiteX338" fmla="*/ 255541 w 752994"/>
                <a:gd name="connsiteY338" fmla="*/ 3055 h 1333436"/>
                <a:gd name="connsiteX339" fmla="*/ 256358 w 752994"/>
                <a:gd name="connsiteY339" fmla="*/ 1224 h 1333436"/>
                <a:gd name="connsiteX340" fmla="*/ 257159 w 752994"/>
                <a:gd name="connsiteY340"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65258 w 752994"/>
                <a:gd name="connsiteY29" fmla="*/ 245774 h 1333436"/>
                <a:gd name="connsiteX30" fmla="*/ 340789 w 752994"/>
                <a:gd name="connsiteY30" fmla="*/ 243536 h 1333436"/>
                <a:gd name="connsiteX31" fmla="*/ 333034 w 752994"/>
                <a:gd name="connsiteY31" fmla="*/ 240271 h 1333436"/>
                <a:gd name="connsiteX32" fmla="*/ 323868 w 752994"/>
                <a:gd name="connsiteY32" fmla="*/ 241495 h 1333436"/>
                <a:gd name="connsiteX33" fmla="*/ 309783 w 752994"/>
                <a:gd name="connsiteY33" fmla="*/ 243536 h 1333436"/>
                <a:gd name="connsiteX34" fmla="*/ 280827 w 752994"/>
                <a:gd name="connsiteY34" fmla="*/ 242720 h 1333436"/>
                <a:gd name="connsiteX35" fmla="*/ 274497 w 752994"/>
                <a:gd name="connsiteY35" fmla="*/ 238441 h 1333436"/>
                <a:gd name="connsiteX36" fmla="*/ 269001 w 752994"/>
                <a:gd name="connsiteY36" fmla="*/ 240679 h 1333436"/>
                <a:gd name="connsiteX37" fmla="*/ 262880 w 752994"/>
                <a:gd name="connsiteY37" fmla="*/ 243128 h 1333436"/>
                <a:gd name="connsiteX38" fmla="*/ 260028 w 752994"/>
                <a:gd name="connsiteY38" fmla="*/ 242720 h 1333436"/>
                <a:gd name="connsiteX39" fmla="*/ 247994 w 752994"/>
                <a:gd name="connsiteY39" fmla="*/ 241693 h 1333436"/>
                <a:gd name="connsiteX40" fmla="*/ 242081 w 752994"/>
                <a:gd name="connsiteY40" fmla="*/ 234162 h 1333436"/>
                <a:gd name="connsiteX41" fmla="*/ 235142 w 752994"/>
                <a:gd name="connsiteY41" fmla="*/ 229476 h 1333436"/>
                <a:gd name="connsiteX42" fmla="*/ 224742 w 752994"/>
                <a:gd name="connsiteY42" fmla="*/ 226817 h 1333436"/>
                <a:gd name="connsiteX43" fmla="*/ 216778 w 752994"/>
                <a:gd name="connsiteY43" fmla="*/ 229068 h 1333436"/>
                <a:gd name="connsiteX44" fmla="*/ 195162 w 752994"/>
                <a:gd name="connsiteY44" fmla="*/ 228857 h 1333436"/>
                <a:gd name="connsiteX45" fmla="*/ 188223 w 752994"/>
                <a:gd name="connsiteY45" fmla="*/ 223973 h 1333436"/>
                <a:gd name="connsiteX46" fmla="*/ 185163 w 752994"/>
                <a:gd name="connsiteY46" fmla="*/ 219484 h 1333436"/>
                <a:gd name="connsiteX47" fmla="*/ 184180 w 752994"/>
                <a:gd name="connsiteY47" fmla="*/ 213866 h 1333436"/>
                <a:gd name="connsiteX48" fmla="*/ 257159 w 752994"/>
                <a:gd name="connsiteY48" fmla="*/ 0 h 1333436"/>
                <a:gd name="connsiteX49" fmla="*/ 493147 w 752994"/>
                <a:gd name="connsiteY49" fmla="*/ 73157 h 1333436"/>
                <a:gd name="connsiteX50" fmla="*/ 492970 w 752994"/>
                <a:gd name="connsiteY50" fmla="*/ 73792 h 1333436"/>
                <a:gd name="connsiteX51" fmla="*/ 525816 w 752994"/>
                <a:gd name="connsiteY51" fmla="*/ 82491 h 1333436"/>
                <a:gd name="connsiteX52" fmla="*/ 520098 w 752994"/>
                <a:gd name="connsiteY52" fmla="*/ 111245 h 1333436"/>
                <a:gd name="connsiteX53" fmla="*/ 512552 w 752994"/>
                <a:gd name="connsiteY53" fmla="*/ 143854 h 1333436"/>
                <a:gd name="connsiteX54" fmla="*/ 517849 w 752994"/>
                <a:gd name="connsiteY54" fmla="*/ 157740 h 1333436"/>
                <a:gd name="connsiteX55" fmla="*/ 523160 w 752994"/>
                <a:gd name="connsiteY55" fmla="*/ 172009 h 1333436"/>
                <a:gd name="connsiteX56" fmla="*/ 521535 w 752994"/>
                <a:gd name="connsiteY56" fmla="*/ 178928 h 1333436"/>
                <a:gd name="connsiteX57" fmla="*/ 520098 w 752994"/>
                <a:gd name="connsiteY57" fmla="*/ 186279 h 1333436"/>
                <a:gd name="connsiteX58" fmla="*/ 526019 w 752994"/>
                <a:gd name="connsiteY58" fmla="*/ 193629 h 1333436"/>
                <a:gd name="connsiteX59" fmla="*/ 537251 w 752994"/>
                <a:gd name="connsiteY59" fmla="*/ 206270 h 1333436"/>
                <a:gd name="connsiteX60" fmla="*/ 542765 w 752994"/>
                <a:gd name="connsiteY60" fmla="*/ 217475 h 1333436"/>
                <a:gd name="connsiteX61" fmla="*/ 546857 w 752994"/>
                <a:gd name="connsiteY61" fmla="*/ 230930 h 1333436"/>
                <a:gd name="connsiteX62" fmla="*/ 549499 w 752994"/>
                <a:gd name="connsiteY62" fmla="*/ 235622 h 1333436"/>
                <a:gd name="connsiteX63" fmla="*/ 553388 w 752994"/>
                <a:gd name="connsiteY63" fmla="*/ 240722 h 1333436"/>
                <a:gd name="connsiteX64" fmla="*/ 557465 w 752994"/>
                <a:gd name="connsiteY64" fmla="*/ 246037 h 1333436"/>
                <a:gd name="connsiteX65" fmla="*/ 561761 w 752994"/>
                <a:gd name="connsiteY65" fmla="*/ 248671 h 1333436"/>
                <a:gd name="connsiteX66" fmla="*/ 567478 w 752994"/>
                <a:gd name="connsiteY66" fmla="*/ 247665 h 1333436"/>
                <a:gd name="connsiteX67" fmla="*/ 569931 w 752994"/>
                <a:gd name="connsiteY67" fmla="*/ 249293 h 1333436"/>
                <a:gd name="connsiteX68" fmla="*/ 570540 w 752994"/>
                <a:gd name="connsiteY68" fmla="*/ 251951 h 1333436"/>
                <a:gd name="connsiteX69" fmla="*/ 561964 w 752994"/>
                <a:gd name="connsiteY69" fmla="*/ 267656 h 1333436"/>
                <a:gd name="connsiteX70" fmla="*/ 553591 w 752994"/>
                <a:gd name="connsiteY70" fmla="*/ 289659 h 1333436"/>
                <a:gd name="connsiteX71" fmla="*/ 554810 w 752994"/>
                <a:gd name="connsiteY71" fmla="*/ 292939 h 1333436"/>
                <a:gd name="connsiteX72" fmla="*/ 556246 w 752994"/>
                <a:gd name="connsiteY72" fmla="*/ 299260 h 1333436"/>
                <a:gd name="connsiteX73" fmla="*/ 552778 w 752994"/>
                <a:gd name="connsiteY73" fmla="*/ 301917 h 1333436"/>
                <a:gd name="connsiteX74" fmla="*/ 549295 w 752994"/>
                <a:gd name="connsiteY74" fmla="*/ 306993 h 1333436"/>
                <a:gd name="connsiteX75" fmla="*/ 547061 w 752994"/>
                <a:gd name="connsiteY75" fmla="*/ 313122 h 1333436"/>
                <a:gd name="connsiteX76" fmla="*/ 544811 w 752994"/>
                <a:gd name="connsiteY76" fmla="*/ 316593 h 1333436"/>
                <a:gd name="connsiteX77" fmla="*/ 549919 w 752994"/>
                <a:gd name="connsiteY77" fmla="*/ 322698 h 1333436"/>
                <a:gd name="connsiteX78" fmla="*/ 553184 w 752994"/>
                <a:gd name="connsiteY78" fmla="*/ 325955 h 1333436"/>
                <a:gd name="connsiteX79" fmla="*/ 555840 w 752994"/>
                <a:gd name="connsiteY79" fmla="*/ 328205 h 1333436"/>
                <a:gd name="connsiteX80" fmla="*/ 574212 w 752994"/>
                <a:gd name="connsiteY80" fmla="*/ 318820 h 1333436"/>
                <a:gd name="connsiteX81" fmla="*/ 579523 w 752994"/>
                <a:gd name="connsiteY81" fmla="*/ 326577 h 1333436"/>
                <a:gd name="connsiteX82" fmla="*/ 580539 w 752994"/>
                <a:gd name="connsiteY82" fmla="*/ 334933 h 1333436"/>
                <a:gd name="connsiteX83" fmla="*/ 579726 w 752994"/>
                <a:gd name="connsiteY83" fmla="*/ 343097 h 1333436"/>
                <a:gd name="connsiteX84" fmla="*/ 581366 w 752994"/>
                <a:gd name="connsiteY84" fmla="*/ 350231 h 1333436"/>
                <a:gd name="connsiteX85" fmla="*/ 586256 w 752994"/>
                <a:gd name="connsiteY85" fmla="*/ 355930 h 1333436"/>
                <a:gd name="connsiteX86" fmla="*/ 589536 w 752994"/>
                <a:gd name="connsiteY86" fmla="*/ 362059 h 1333436"/>
                <a:gd name="connsiteX87" fmla="*/ 588099 w 752994"/>
                <a:gd name="connsiteY87" fmla="*/ 369600 h 1333436"/>
                <a:gd name="connsiteX88" fmla="*/ 586459 w 752994"/>
                <a:gd name="connsiteY88" fmla="*/ 377357 h 1333436"/>
                <a:gd name="connsiteX89" fmla="*/ 588709 w 752994"/>
                <a:gd name="connsiteY89" fmla="*/ 381835 h 1333436"/>
                <a:gd name="connsiteX90" fmla="*/ 595036 w 752994"/>
                <a:gd name="connsiteY90" fmla="*/ 382457 h 1333436"/>
                <a:gd name="connsiteX91" fmla="*/ 599331 w 752994"/>
                <a:gd name="connsiteY91" fmla="*/ 385306 h 1333436"/>
                <a:gd name="connsiteX92" fmla="*/ 601987 w 752994"/>
                <a:gd name="connsiteY92" fmla="*/ 391004 h 1333436"/>
                <a:gd name="connsiteX93" fmla="*/ 602799 w 752994"/>
                <a:gd name="connsiteY93" fmla="*/ 404076 h 1333436"/>
                <a:gd name="connsiteX94" fmla="*/ 606892 w 752994"/>
                <a:gd name="connsiteY94" fmla="*/ 415688 h 1333436"/>
                <a:gd name="connsiteX95" fmla="*/ 610563 w 752994"/>
                <a:gd name="connsiteY95" fmla="*/ 412217 h 1333436"/>
                <a:gd name="connsiteX96" fmla="*/ 617920 w 752994"/>
                <a:gd name="connsiteY96" fmla="*/ 408769 h 1333436"/>
                <a:gd name="connsiteX97" fmla="*/ 624654 w 752994"/>
                <a:gd name="connsiteY97" fmla="*/ 411211 h 1333436"/>
                <a:gd name="connsiteX98" fmla="*/ 634652 w 752994"/>
                <a:gd name="connsiteY98" fmla="*/ 410182 h 1333436"/>
                <a:gd name="connsiteX99" fmla="*/ 640573 w 752994"/>
                <a:gd name="connsiteY99" fmla="*/ 407739 h 1333436"/>
                <a:gd name="connsiteX100" fmla="*/ 646711 w 752994"/>
                <a:gd name="connsiteY100" fmla="*/ 410589 h 1333436"/>
                <a:gd name="connsiteX101" fmla="*/ 650383 w 752994"/>
                <a:gd name="connsiteY101" fmla="*/ 410589 h 1333436"/>
                <a:gd name="connsiteX102" fmla="*/ 654257 w 752994"/>
                <a:gd name="connsiteY102" fmla="*/ 411618 h 1333436"/>
                <a:gd name="connsiteX103" fmla="*/ 656913 w 752994"/>
                <a:gd name="connsiteY103" fmla="*/ 413653 h 1333436"/>
                <a:gd name="connsiteX104" fmla="*/ 660802 w 752994"/>
                <a:gd name="connsiteY104" fmla="*/ 415090 h 1333436"/>
                <a:gd name="connsiteX105" fmla="*/ 669581 w 752994"/>
                <a:gd name="connsiteY105" fmla="*/ 415904 h 1333436"/>
                <a:gd name="connsiteX106" fmla="*/ 672237 w 752994"/>
                <a:gd name="connsiteY106" fmla="*/ 415688 h 1333436"/>
                <a:gd name="connsiteX107" fmla="*/ 675705 w 752994"/>
                <a:gd name="connsiteY107" fmla="*/ 409367 h 1333436"/>
                <a:gd name="connsiteX108" fmla="*/ 679986 w 752994"/>
                <a:gd name="connsiteY108" fmla="*/ 403238 h 1333436"/>
                <a:gd name="connsiteX109" fmla="*/ 693264 w 752994"/>
                <a:gd name="connsiteY109" fmla="*/ 419567 h 1333436"/>
                <a:gd name="connsiteX110" fmla="*/ 688563 w 752994"/>
                <a:gd name="connsiteY110" fmla="*/ 448321 h 1333436"/>
                <a:gd name="connsiteX111" fmla="*/ 663949 w 752994"/>
                <a:gd name="connsiteY111" fmla="*/ 590165 h 1333436"/>
                <a:gd name="connsiteX112" fmla="*/ 666304 w 752994"/>
                <a:gd name="connsiteY112" fmla="*/ 590504 h 1333436"/>
                <a:gd name="connsiteX113" fmla="*/ 655288 w 752994"/>
                <a:gd name="connsiteY113" fmla="*/ 656178 h 1333436"/>
                <a:gd name="connsiteX114" fmla="*/ 681808 w 752994"/>
                <a:gd name="connsiteY114" fmla="*/ 662301 h 1333436"/>
                <a:gd name="connsiteX115" fmla="*/ 752994 w 752994"/>
                <a:gd name="connsiteY115" fmla="*/ 675560 h 1333436"/>
                <a:gd name="connsiteX116" fmla="*/ 714651 w 752994"/>
                <a:gd name="connsiteY116" fmla="*/ 946985 h 1333436"/>
                <a:gd name="connsiteX117" fmla="*/ 654533 w 752994"/>
                <a:gd name="connsiteY117" fmla="*/ 1333436 h 1333436"/>
                <a:gd name="connsiteX118" fmla="*/ 546831 w 752994"/>
                <a:gd name="connsiteY118" fmla="*/ 1317126 h 1333436"/>
                <a:gd name="connsiteX119" fmla="*/ 351227 w 752994"/>
                <a:gd name="connsiteY119" fmla="*/ 1194172 h 1333436"/>
                <a:gd name="connsiteX120" fmla="*/ 361011 w 752994"/>
                <a:gd name="connsiteY120" fmla="*/ 1182755 h 1333436"/>
                <a:gd name="connsiteX121" fmla="*/ 368981 w 752994"/>
                <a:gd name="connsiteY121" fmla="*/ 1182130 h 1333436"/>
                <a:gd name="connsiteX122" fmla="*/ 369571 w 752994"/>
                <a:gd name="connsiteY122" fmla="*/ 1181558 h 1333436"/>
                <a:gd name="connsiteX123" fmla="*/ 362372 w 752994"/>
                <a:gd name="connsiteY123" fmla="*/ 1182120 h 1333436"/>
                <a:gd name="connsiteX124" fmla="*/ 229464 w 752994"/>
                <a:gd name="connsiteY124" fmla="*/ 1161721 h 1333436"/>
                <a:gd name="connsiteX125" fmla="*/ 227427 w 752994"/>
                <a:gd name="connsiteY125" fmla="*/ 1157269 h 1333436"/>
                <a:gd name="connsiteX126" fmla="*/ 224967 w 752994"/>
                <a:gd name="connsiteY126" fmla="*/ 1152575 h 1333436"/>
                <a:gd name="connsiteX127" fmla="*/ 225582 w 752994"/>
                <a:gd name="connsiteY127" fmla="*/ 1144808 h 1333436"/>
                <a:gd name="connsiteX128" fmla="*/ 227215 w 752994"/>
                <a:gd name="connsiteY128" fmla="*/ 1135834 h 1333436"/>
                <a:gd name="connsiteX129" fmla="*/ 227215 w 752994"/>
                <a:gd name="connsiteY129" fmla="*/ 1134212 h 1333436"/>
                <a:gd name="connsiteX130" fmla="*/ 225179 w 752994"/>
                <a:gd name="connsiteY130" fmla="*/ 1114020 h 1333436"/>
                <a:gd name="connsiteX131" fmla="*/ 217839 w 752994"/>
                <a:gd name="connsiteY131" fmla="*/ 1100352 h 1333436"/>
                <a:gd name="connsiteX132" fmla="*/ 199661 w 752994"/>
                <a:gd name="connsiteY132" fmla="*/ 1076502 h 1333436"/>
                <a:gd name="connsiteX133" fmla="*/ 196395 w 752994"/>
                <a:gd name="connsiteY133" fmla="*/ 1071807 h 1333436"/>
                <a:gd name="connsiteX134" fmla="*/ 190880 w 752994"/>
                <a:gd name="connsiteY134" fmla="*/ 1067527 h 1333436"/>
                <a:gd name="connsiteX135" fmla="*/ 187210 w 752994"/>
                <a:gd name="connsiteY135" fmla="*/ 1068735 h 1333436"/>
                <a:gd name="connsiteX136" fmla="*/ 180062 w 752994"/>
                <a:gd name="connsiteY136" fmla="*/ 1066699 h 1333436"/>
                <a:gd name="connsiteX137" fmla="*/ 180466 w 752994"/>
                <a:gd name="connsiteY137" fmla="*/ 1053031 h 1333436"/>
                <a:gd name="connsiteX138" fmla="*/ 180062 w 752994"/>
                <a:gd name="connsiteY138" fmla="*/ 1045299 h 1333436"/>
                <a:gd name="connsiteX139" fmla="*/ 174144 w 752994"/>
                <a:gd name="connsiteY139" fmla="*/ 1044057 h 1333436"/>
                <a:gd name="connsiteX140" fmla="*/ 158426 w 752994"/>
                <a:gd name="connsiteY140" fmla="*/ 1042641 h 1333436"/>
                <a:gd name="connsiteX141" fmla="*/ 149857 w 752994"/>
                <a:gd name="connsiteY141" fmla="*/ 1035497 h 1333436"/>
                <a:gd name="connsiteX142" fmla="*/ 142497 w 752994"/>
                <a:gd name="connsiteY142" fmla="*/ 1028766 h 1333436"/>
                <a:gd name="connsiteX143" fmla="*/ 140864 w 752994"/>
                <a:gd name="connsiteY143" fmla="*/ 1020620 h 1333436"/>
                <a:gd name="connsiteX144" fmla="*/ 138212 w 752994"/>
                <a:gd name="connsiteY144" fmla="*/ 1013061 h 1333436"/>
                <a:gd name="connsiteX145" fmla="*/ 131064 w 752994"/>
                <a:gd name="connsiteY145" fmla="*/ 1007159 h 1333436"/>
                <a:gd name="connsiteX146" fmla="*/ 121264 w 752994"/>
                <a:gd name="connsiteY146" fmla="*/ 1005330 h 1333436"/>
                <a:gd name="connsiteX147" fmla="*/ 112483 w 752994"/>
                <a:gd name="connsiteY147" fmla="*/ 1001671 h 1333436"/>
                <a:gd name="connsiteX148" fmla="*/ 105950 w 752994"/>
                <a:gd name="connsiteY148" fmla="*/ 995734 h 1333436"/>
                <a:gd name="connsiteX149" fmla="*/ 97380 w 752994"/>
                <a:gd name="connsiteY149" fmla="*/ 994526 h 1333436"/>
                <a:gd name="connsiteX150" fmla="*/ 87984 w 752994"/>
                <a:gd name="connsiteY150" fmla="*/ 991040 h 1333436"/>
                <a:gd name="connsiteX151" fmla="*/ 80029 w 752994"/>
                <a:gd name="connsiteY151" fmla="*/ 985138 h 1333436"/>
                <a:gd name="connsiteX152" fmla="*/ 77166 w 752994"/>
                <a:gd name="connsiteY152" fmla="*/ 976164 h 1333436"/>
                <a:gd name="connsiteX153" fmla="*/ 79203 w 752994"/>
                <a:gd name="connsiteY153" fmla="*/ 970676 h 1333436"/>
                <a:gd name="connsiteX154" fmla="*/ 82470 w 752994"/>
                <a:gd name="connsiteY154" fmla="*/ 963117 h 1333436"/>
                <a:gd name="connsiteX155" fmla="*/ 84314 w 752994"/>
                <a:gd name="connsiteY155" fmla="*/ 954557 h 1333436"/>
                <a:gd name="connsiteX156" fmla="*/ 86351 w 752994"/>
                <a:gd name="connsiteY156" fmla="*/ 948033 h 1333436"/>
                <a:gd name="connsiteX157" fmla="*/ 86159 w 752994"/>
                <a:gd name="connsiteY157" fmla="*/ 942925 h 1333436"/>
                <a:gd name="connsiteX158" fmla="*/ 83085 w 752994"/>
                <a:gd name="connsiteY158" fmla="*/ 939853 h 1333436"/>
                <a:gd name="connsiteX159" fmla="*/ 77570 w 752994"/>
                <a:gd name="connsiteY159" fmla="*/ 937437 h 1333436"/>
                <a:gd name="connsiteX160" fmla="*/ 76763 w 752994"/>
                <a:gd name="connsiteY160" fmla="*/ 931915 h 1333436"/>
                <a:gd name="connsiteX161" fmla="*/ 78800 w 752994"/>
                <a:gd name="connsiteY161" fmla="*/ 927013 h 1333436"/>
                <a:gd name="connsiteX162" fmla="*/ 79626 w 752994"/>
                <a:gd name="connsiteY162" fmla="*/ 922526 h 1333436"/>
                <a:gd name="connsiteX163" fmla="*/ 77781 w 752994"/>
                <a:gd name="connsiteY163" fmla="*/ 919903 h 1333436"/>
                <a:gd name="connsiteX164" fmla="*/ 74303 w 752994"/>
                <a:gd name="connsiteY164" fmla="*/ 917418 h 1333436"/>
                <a:gd name="connsiteX165" fmla="*/ 71863 w 752994"/>
                <a:gd name="connsiteY165" fmla="*/ 915174 h 1333436"/>
                <a:gd name="connsiteX166" fmla="*/ 71652 w 752994"/>
                <a:gd name="connsiteY166" fmla="*/ 910894 h 1333436"/>
                <a:gd name="connsiteX167" fmla="*/ 70633 w 752994"/>
                <a:gd name="connsiteY167" fmla="*/ 906614 h 1333436"/>
                <a:gd name="connsiteX168" fmla="*/ 68385 w 752994"/>
                <a:gd name="connsiteY168" fmla="*/ 902749 h 1333436"/>
                <a:gd name="connsiteX169" fmla="*/ 61045 w 752994"/>
                <a:gd name="connsiteY169" fmla="*/ 889494 h 1333436"/>
                <a:gd name="connsiteX170" fmla="*/ 57971 w 752994"/>
                <a:gd name="connsiteY170" fmla="*/ 875619 h 1333436"/>
                <a:gd name="connsiteX171" fmla="*/ 52264 w 752994"/>
                <a:gd name="connsiteY171" fmla="*/ 862572 h 1333436"/>
                <a:gd name="connsiteX172" fmla="*/ 44309 w 752994"/>
                <a:gd name="connsiteY172" fmla="*/ 850561 h 1333436"/>
                <a:gd name="connsiteX173" fmla="*/ 45520 w 752994"/>
                <a:gd name="connsiteY173" fmla="*/ 827090 h 1333436"/>
                <a:gd name="connsiteX174" fmla="*/ 53071 w 752994"/>
                <a:gd name="connsiteY174" fmla="*/ 822396 h 1333436"/>
                <a:gd name="connsiteX175" fmla="*/ 57375 w 752994"/>
                <a:gd name="connsiteY175" fmla="*/ 816493 h 1333436"/>
                <a:gd name="connsiteX176" fmla="*/ 55319 w 752994"/>
                <a:gd name="connsiteY176" fmla="*/ 801617 h 1333436"/>
                <a:gd name="connsiteX177" fmla="*/ 48383 w 752994"/>
                <a:gd name="connsiteY177" fmla="*/ 802204 h 1333436"/>
                <a:gd name="connsiteX178" fmla="*/ 40428 w 752994"/>
                <a:gd name="connsiteY178" fmla="*/ 797924 h 1333436"/>
                <a:gd name="connsiteX179" fmla="*/ 37565 w 752994"/>
                <a:gd name="connsiteY179" fmla="*/ 790606 h 1333436"/>
                <a:gd name="connsiteX180" fmla="*/ 37565 w 752994"/>
                <a:gd name="connsiteY180" fmla="*/ 790399 h 1333436"/>
                <a:gd name="connsiteX181" fmla="*/ 35931 w 752994"/>
                <a:gd name="connsiteY181" fmla="*/ 785912 h 1333436"/>
                <a:gd name="connsiteX182" fmla="*/ 34510 w 752994"/>
                <a:gd name="connsiteY182" fmla="*/ 780597 h 1333436"/>
                <a:gd name="connsiteX183" fmla="*/ 36335 w 752994"/>
                <a:gd name="connsiteY183" fmla="*/ 774280 h 1333436"/>
                <a:gd name="connsiteX184" fmla="*/ 38180 w 752994"/>
                <a:gd name="connsiteY184" fmla="*/ 766721 h 1333436"/>
                <a:gd name="connsiteX185" fmla="*/ 37161 w 752994"/>
                <a:gd name="connsiteY185" fmla="*/ 760405 h 1333436"/>
                <a:gd name="connsiteX186" fmla="*/ 35720 w 752994"/>
                <a:gd name="connsiteY186" fmla="*/ 754710 h 1333436"/>
                <a:gd name="connsiteX187" fmla="*/ 36546 w 752994"/>
                <a:gd name="connsiteY187" fmla="*/ 748773 h 1333436"/>
                <a:gd name="connsiteX188" fmla="*/ 38372 w 752994"/>
                <a:gd name="connsiteY188" fmla="*/ 744528 h 1333436"/>
                <a:gd name="connsiteX189" fmla="*/ 41638 w 752994"/>
                <a:gd name="connsiteY189" fmla="*/ 744321 h 1333436"/>
                <a:gd name="connsiteX190" fmla="*/ 44713 w 752994"/>
                <a:gd name="connsiteY190" fmla="*/ 746357 h 1333436"/>
                <a:gd name="connsiteX191" fmla="*/ 47364 w 752994"/>
                <a:gd name="connsiteY191" fmla="*/ 753260 h 1333436"/>
                <a:gd name="connsiteX192" fmla="*/ 55742 w 752994"/>
                <a:gd name="connsiteY192" fmla="*/ 764305 h 1333436"/>
                <a:gd name="connsiteX193" fmla="*/ 56338 w 752994"/>
                <a:gd name="connsiteY193" fmla="*/ 761233 h 1333436"/>
                <a:gd name="connsiteX194" fmla="*/ 56145 w 752994"/>
                <a:gd name="connsiteY194" fmla="*/ 757368 h 1333436"/>
                <a:gd name="connsiteX195" fmla="*/ 54916 w 752994"/>
                <a:gd name="connsiteY195" fmla="*/ 748601 h 1333436"/>
                <a:gd name="connsiteX196" fmla="*/ 52879 w 752994"/>
                <a:gd name="connsiteY196" fmla="*/ 747358 h 1333436"/>
                <a:gd name="connsiteX197" fmla="*/ 51649 w 752994"/>
                <a:gd name="connsiteY197" fmla="*/ 745322 h 1333436"/>
                <a:gd name="connsiteX198" fmla="*/ 51649 w 752994"/>
                <a:gd name="connsiteY198" fmla="*/ 739212 h 1333436"/>
                <a:gd name="connsiteX199" fmla="*/ 50227 w 752994"/>
                <a:gd name="connsiteY199" fmla="*/ 734725 h 1333436"/>
                <a:gd name="connsiteX200" fmla="*/ 48786 w 752994"/>
                <a:gd name="connsiteY200" fmla="*/ 731446 h 1333436"/>
                <a:gd name="connsiteX201" fmla="*/ 54512 w 752994"/>
                <a:gd name="connsiteY201" fmla="*/ 726372 h 1333436"/>
                <a:gd name="connsiteX202" fmla="*/ 59815 w 752994"/>
                <a:gd name="connsiteY202" fmla="*/ 725130 h 1333436"/>
                <a:gd name="connsiteX203" fmla="*/ 58182 w 752994"/>
                <a:gd name="connsiteY203" fmla="*/ 722886 h 1333436"/>
                <a:gd name="connsiteX204" fmla="*/ 51861 w 752994"/>
                <a:gd name="connsiteY204" fmla="*/ 717985 h 1333436"/>
                <a:gd name="connsiteX205" fmla="*/ 46749 w 752994"/>
                <a:gd name="connsiteY205" fmla="*/ 729617 h 1333436"/>
                <a:gd name="connsiteX206" fmla="*/ 40831 w 752994"/>
                <a:gd name="connsiteY206" fmla="*/ 739212 h 1333436"/>
                <a:gd name="connsiteX207" fmla="*/ 39601 w 752994"/>
                <a:gd name="connsiteY207" fmla="*/ 738798 h 1333436"/>
                <a:gd name="connsiteX208" fmla="*/ 39409 w 752994"/>
                <a:gd name="connsiteY208" fmla="*/ 738591 h 1333436"/>
                <a:gd name="connsiteX209" fmla="*/ 37161 w 752994"/>
                <a:gd name="connsiteY209" fmla="*/ 734725 h 1333436"/>
                <a:gd name="connsiteX210" fmla="*/ 32665 w 752994"/>
                <a:gd name="connsiteY210" fmla="*/ 727788 h 1333436"/>
                <a:gd name="connsiteX211" fmla="*/ 26747 w 752994"/>
                <a:gd name="connsiteY211" fmla="*/ 719435 h 1333436"/>
                <a:gd name="connsiteX212" fmla="*/ 23884 w 752994"/>
                <a:gd name="connsiteY212" fmla="*/ 717812 h 1333436"/>
                <a:gd name="connsiteX213" fmla="*/ 24710 w 752994"/>
                <a:gd name="connsiteY213" fmla="*/ 709632 h 1333436"/>
                <a:gd name="connsiteX214" fmla="*/ 27554 w 752994"/>
                <a:gd name="connsiteY214" fmla="*/ 701694 h 1333436"/>
                <a:gd name="connsiteX215" fmla="*/ 24902 w 752994"/>
                <a:gd name="connsiteY215" fmla="*/ 696171 h 1333436"/>
                <a:gd name="connsiteX216" fmla="*/ 24095 w 752994"/>
                <a:gd name="connsiteY216" fmla="*/ 687818 h 1333436"/>
                <a:gd name="connsiteX217" fmla="*/ 22462 w 752994"/>
                <a:gd name="connsiteY217" fmla="*/ 682330 h 1333436"/>
                <a:gd name="connsiteX218" fmla="*/ 17159 w 752994"/>
                <a:gd name="connsiteY218" fmla="*/ 677636 h 1333436"/>
                <a:gd name="connsiteX219" fmla="*/ 14296 w 752994"/>
                <a:gd name="connsiteY219" fmla="*/ 671492 h 1333436"/>
                <a:gd name="connsiteX220" fmla="*/ 12451 w 752994"/>
                <a:gd name="connsiteY220" fmla="*/ 665797 h 1333436"/>
                <a:gd name="connsiteX221" fmla="*/ 5111 w 752994"/>
                <a:gd name="connsiteY221" fmla="*/ 654994 h 1333436"/>
                <a:gd name="connsiteX222" fmla="*/ 2248 w 752994"/>
                <a:gd name="connsiteY222" fmla="*/ 645605 h 1333436"/>
                <a:gd name="connsiteX223" fmla="*/ 4496 w 752994"/>
                <a:gd name="connsiteY223" fmla="*/ 640497 h 1333436"/>
                <a:gd name="connsiteX224" fmla="*/ 6744 w 752994"/>
                <a:gd name="connsiteY224" fmla="*/ 632765 h 1333436"/>
                <a:gd name="connsiteX225" fmla="*/ 6744 w 752994"/>
                <a:gd name="connsiteY225" fmla="*/ 628485 h 1333436"/>
                <a:gd name="connsiteX226" fmla="*/ 6533 w 752994"/>
                <a:gd name="connsiteY226" fmla="*/ 620305 h 1333436"/>
                <a:gd name="connsiteX227" fmla="*/ 7359 w 752994"/>
                <a:gd name="connsiteY227" fmla="*/ 611745 h 1333436"/>
                <a:gd name="connsiteX228" fmla="*/ 11836 w 752994"/>
                <a:gd name="connsiteY228" fmla="*/ 602978 h 1333436"/>
                <a:gd name="connsiteX229" fmla="*/ 15103 w 752994"/>
                <a:gd name="connsiteY229" fmla="*/ 591760 h 1333436"/>
                <a:gd name="connsiteX230" fmla="*/ 14488 w 752994"/>
                <a:gd name="connsiteY230" fmla="*/ 584029 h 1333436"/>
                <a:gd name="connsiteX231" fmla="*/ 13873 w 752994"/>
                <a:gd name="connsiteY231" fmla="*/ 578299 h 1333436"/>
                <a:gd name="connsiteX232" fmla="*/ 10626 w 752994"/>
                <a:gd name="connsiteY232" fmla="*/ 568531 h 1333436"/>
                <a:gd name="connsiteX233" fmla="*/ 3670 w 752994"/>
                <a:gd name="connsiteY233" fmla="*/ 558107 h 1333436"/>
                <a:gd name="connsiteX234" fmla="*/ 0 w 752994"/>
                <a:gd name="connsiteY234" fmla="*/ 551377 h 1333436"/>
                <a:gd name="connsiteX235" fmla="*/ 0 w 752994"/>
                <a:gd name="connsiteY235" fmla="*/ 550997 h 1333436"/>
                <a:gd name="connsiteX236" fmla="*/ 4900 w 752994"/>
                <a:gd name="connsiteY236" fmla="*/ 531220 h 1333436"/>
                <a:gd name="connsiteX237" fmla="*/ 13873 w 752994"/>
                <a:gd name="connsiteY237" fmla="*/ 520589 h 1333436"/>
                <a:gd name="connsiteX238" fmla="*/ 18369 w 752994"/>
                <a:gd name="connsiteY238" fmla="*/ 516516 h 1333436"/>
                <a:gd name="connsiteX239" fmla="*/ 18773 w 752994"/>
                <a:gd name="connsiteY239" fmla="*/ 514272 h 1333436"/>
                <a:gd name="connsiteX240" fmla="*/ 23077 w 752994"/>
                <a:gd name="connsiteY240" fmla="*/ 506127 h 1333436"/>
                <a:gd name="connsiteX241" fmla="*/ 23884 w 752994"/>
                <a:gd name="connsiteY241" fmla="*/ 502261 h 1333436"/>
                <a:gd name="connsiteX242" fmla="*/ 23692 w 752994"/>
                <a:gd name="connsiteY242" fmla="*/ 496738 h 1333436"/>
                <a:gd name="connsiteX243" fmla="*/ 30013 w 752994"/>
                <a:gd name="connsiteY243" fmla="*/ 486556 h 1333436"/>
                <a:gd name="connsiteX244" fmla="*/ 36546 w 752994"/>
                <a:gd name="connsiteY244" fmla="*/ 470230 h 1333436"/>
                <a:gd name="connsiteX245" fmla="*/ 36546 w 752994"/>
                <a:gd name="connsiteY245" fmla="*/ 462671 h 1333436"/>
                <a:gd name="connsiteX246" fmla="*/ 36335 w 752994"/>
                <a:gd name="connsiteY246" fmla="*/ 461670 h 1333436"/>
                <a:gd name="connsiteX247" fmla="*/ 35931 w 752994"/>
                <a:gd name="connsiteY247" fmla="*/ 453110 h 1333436"/>
                <a:gd name="connsiteX248" fmla="*/ 38583 w 752994"/>
                <a:gd name="connsiteY248" fmla="*/ 442514 h 1333436"/>
                <a:gd name="connsiteX249" fmla="*/ 41043 w 752994"/>
                <a:gd name="connsiteY249" fmla="*/ 436991 h 1333436"/>
                <a:gd name="connsiteX250" fmla="*/ 41650 w 752994"/>
                <a:gd name="connsiteY250" fmla="*/ 437186 h 1333436"/>
                <a:gd name="connsiteX251" fmla="*/ 41239 w 752994"/>
                <a:gd name="connsiteY251" fmla="*/ 436549 h 1333436"/>
                <a:gd name="connsiteX252" fmla="*/ 37778 w 752994"/>
                <a:gd name="connsiteY252" fmla="*/ 433894 h 1333436"/>
                <a:gd name="connsiteX253" fmla="*/ 37169 w 752994"/>
                <a:gd name="connsiteY253" fmla="*/ 432261 h 1333436"/>
                <a:gd name="connsiteX254" fmla="*/ 37365 w 752994"/>
                <a:gd name="connsiteY254" fmla="*/ 429198 h 1333436"/>
                <a:gd name="connsiteX255" fmla="*/ 36756 w 752994"/>
                <a:gd name="connsiteY255" fmla="*/ 422272 h 1333436"/>
                <a:gd name="connsiteX256" fmla="*/ 36952 w 752994"/>
                <a:gd name="connsiteY256" fmla="*/ 418800 h 1333436"/>
                <a:gd name="connsiteX257" fmla="*/ 36756 w 752994"/>
                <a:gd name="connsiteY257" fmla="*/ 412487 h 1333436"/>
                <a:gd name="connsiteX258" fmla="*/ 40433 w 752994"/>
                <a:gd name="connsiteY258" fmla="*/ 406174 h 1333436"/>
                <a:gd name="connsiteX259" fmla="*/ 44720 w 752994"/>
                <a:gd name="connsiteY259" fmla="*/ 399435 h 1333436"/>
                <a:gd name="connsiteX260" fmla="*/ 44110 w 752994"/>
                <a:gd name="connsiteY260" fmla="*/ 389651 h 1333436"/>
                <a:gd name="connsiteX261" fmla="*/ 43894 w 752994"/>
                <a:gd name="connsiteY261" fmla="*/ 378437 h 1333436"/>
                <a:gd name="connsiteX262" fmla="*/ 47158 w 752994"/>
                <a:gd name="connsiteY262" fmla="*/ 371102 h 1333436"/>
                <a:gd name="connsiteX263" fmla="*/ 55731 w 752994"/>
                <a:gd name="connsiteY263" fmla="*/ 360909 h 1333436"/>
                <a:gd name="connsiteX264" fmla="*/ 57580 w 752994"/>
                <a:gd name="connsiteY264" fmla="*/ 355804 h 1333436"/>
                <a:gd name="connsiteX265" fmla="*/ 62673 w 752994"/>
                <a:gd name="connsiteY265" fmla="*/ 349695 h 1333436"/>
                <a:gd name="connsiteX266" fmla="*/ 65937 w 752994"/>
                <a:gd name="connsiteY266" fmla="*/ 348470 h 1333436"/>
                <a:gd name="connsiteX267" fmla="*/ 68395 w 752994"/>
                <a:gd name="connsiteY267" fmla="*/ 348674 h 1333436"/>
                <a:gd name="connsiteX268" fmla="*/ 70224 w 752994"/>
                <a:gd name="connsiteY268" fmla="*/ 347449 h 1333436"/>
                <a:gd name="connsiteX269" fmla="*/ 67785 w 752994"/>
                <a:gd name="connsiteY269" fmla="*/ 345203 h 1333436"/>
                <a:gd name="connsiteX270" fmla="*/ 65524 w 752994"/>
                <a:gd name="connsiteY270" fmla="*/ 343178 h 1333436"/>
                <a:gd name="connsiteX271" fmla="*/ 73095 w 752994"/>
                <a:gd name="connsiteY271" fmla="*/ 333376 h 1333436"/>
                <a:gd name="connsiteX272" fmla="*/ 73291 w 752994"/>
                <a:gd name="connsiteY272" fmla="*/ 333376 h 1333436"/>
                <a:gd name="connsiteX273" fmla="*/ 77991 w 752994"/>
                <a:gd name="connsiteY273" fmla="*/ 325838 h 1333436"/>
                <a:gd name="connsiteX274" fmla="*/ 82671 w 752994"/>
                <a:gd name="connsiteY274" fmla="*/ 313619 h 1333436"/>
                <a:gd name="connsiteX275" fmla="*/ 87980 w 752994"/>
                <a:gd name="connsiteY275" fmla="*/ 303018 h 1333436"/>
                <a:gd name="connsiteX276" fmla="*/ 92267 w 752994"/>
                <a:gd name="connsiteY276" fmla="*/ 291191 h 1333436"/>
                <a:gd name="connsiteX277" fmla="*/ 96553 w 752994"/>
                <a:gd name="connsiteY277" fmla="*/ 281202 h 1333436"/>
                <a:gd name="connsiteX278" fmla="*/ 99621 w 752994"/>
                <a:gd name="connsiteY278" fmla="*/ 274481 h 1333436"/>
                <a:gd name="connsiteX279" fmla="*/ 103082 w 752994"/>
                <a:gd name="connsiteY279" fmla="*/ 262450 h 1333436"/>
                <a:gd name="connsiteX280" fmla="*/ 107172 w 752994"/>
                <a:gd name="connsiteY280" fmla="*/ 254299 h 1333436"/>
                <a:gd name="connsiteX281" fmla="*/ 112481 w 752994"/>
                <a:gd name="connsiteY281" fmla="*/ 243697 h 1333436"/>
                <a:gd name="connsiteX282" fmla="*/ 117181 w 752994"/>
                <a:gd name="connsiteY282" fmla="*/ 232279 h 1333436"/>
                <a:gd name="connsiteX283" fmla="*/ 125951 w 752994"/>
                <a:gd name="connsiteY283" fmla="*/ 217389 h 1333436"/>
                <a:gd name="connsiteX284" fmla="*/ 136156 w 752994"/>
                <a:gd name="connsiteY284" fmla="*/ 202925 h 1333436"/>
                <a:gd name="connsiteX285" fmla="*/ 138811 w 752994"/>
                <a:gd name="connsiteY285" fmla="*/ 183339 h 1333436"/>
                <a:gd name="connsiteX286" fmla="*/ 148801 w 752994"/>
                <a:gd name="connsiteY286" fmla="*/ 167445 h 1333436"/>
                <a:gd name="connsiteX287" fmla="*/ 159616 w 752994"/>
                <a:gd name="connsiteY287" fmla="*/ 170712 h 1333436"/>
                <a:gd name="connsiteX288" fmla="*/ 173105 w 752994"/>
                <a:gd name="connsiteY288" fmla="*/ 175188 h 1333436"/>
                <a:gd name="connsiteX289" fmla="*/ 175347 w 752994"/>
                <a:gd name="connsiteY289" fmla="*/ 175188 h 1333436"/>
                <a:gd name="connsiteX290" fmla="*/ 175347 w 752994"/>
                <a:gd name="connsiteY290" fmla="*/ 173758 h 1333436"/>
                <a:gd name="connsiteX291" fmla="*/ 184975 w 752994"/>
                <a:gd name="connsiteY291" fmla="*/ 187393 h 1333436"/>
                <a:gd name="connsiteX292" fmla="*/ 184762 w 752994"/>
                <a:gd name="connsiteY292" fmla="*/ 184637 h 1333436"/>
                <a:gd name="connsiteX293" fmla="*/ 174971 w 752994"/>
                <a:gd name="connsiteY293" fmla="*/ 170774 h 1333436"/>
                <a:gd name="connsiteX294" fmla="*/ 174971 w 752994"/>
                <a:gd name="connsiteY294" fmla="*/ 169550 h 1333436"/>
                <a:gd name="connsiteX295" fmla="*/ 158851 w 752994"/>
                <a:gd name="connsiteY295" fmla="*/ 156924 h 1333436"/>
                <a:gd name="connsiteX296" fmla="*/ 147025 w 752994"/>
                <a:gd name="connsiteY296" fmla="*/ 145709 h 1333436"/>
                <a:gd name="connsiteX297" fmla="*/ 154364 w 752994"/>
                <a:gd name="connsiteY297" fmla="*/ 136335 h 1333436"/>
                <a:gd name="connsiteX298" fmla="*/ 161511 w 752994"/>
                <a:gd name="connsiteY298" fmla="*/ 131042 h 1333436"/>
                <a:gd name="connsiteX299" fmla="*/ 160902 w 752994"/>
                <a:gd name="connsiteY299" fmla="*/ 128384 h 1333436"/>
                <a:gd name="connsiteX300" fmla="*/ 160277 w 752994"/>
                <a:gd name="connsiteY300" fmla="*/ 127778 h 1333436"/>
                <a:gd name="connsiteX301" fmla="*/ 154973 w 752994"/>
                <a:gd name="connsiteY301" fmla="*/ 122077 h 1333436"/>
                <a:gd name="connsiteX302" fmla="*/ 160277 w 752994"/>
                <a:gd name="connsiteY302" fmla="*/ 115140 h 1333436"/>
                <a:gd name="connsiteX303" fmla="*/ 165181 w 752994"/>
                <a:gd name="connsiteY303" fmla="*/ 108215 h 1333436"/>
                <a:gd name="connsiteX304" fmla="*/ 161303 w 752994"/>
                <a:gd name="connsiteY304" fmla="*/ 104146 h 1333436"/>
                <a:gd name="connsiteX305" fmla="*/ 157842 w 752994"/>
                <a:gd name="connsiteY305" fmla="*/ 104542 h 1333436"/>
                <a:gd name="connsiteX306" fmla="*/ 157024 w 752994"/>
                <a:gd name="connsiteY306" fmla="*/ 102304 h 1333436"/>
                <a:gd name="connsiteX307" fmla="*/ 160694 w 752994"/>
                <a:gd name="connsiteY307" fmla="*/ 55437 h 1333436"/>
                <a:gd name="connsiteX308" fmla="*/ 160486 w 752994"/>
                <a:gd name="connsiteY308" fmla="*/ 31991 h 1333436"/>
                <a:gd name="connsiteX309" fmla="*/ 164972 w 752994"/>
                <a:gd name="connsiteY309" fmla="*/ 18141 h 1333436"/>
                <a:gd name="connsiteX310" fmla="*/ 171911 w 752994"/>
                <a:gd name="connsiteY310" fmla="*/ 11204 h 1333436"/>
                <a:gd name="connsiteX311" fmla="*/ 187406 w 752994"/>
                <a:gd name="connsiteY311" fmla="*/ 21801 h 1333436"/>
                <a:gd name="connsiteX312" fmla="*/ 210866 w 752994"/>
                <a:gd name="connsiteY312" fmla="*/ 37086 h 1333436"/>
                <a:gd name="connsiteX313" fmla="*/ 219230 w 752994"/>
                <a:gd name="connsiteY313" fmla="*/ 41166 h 1333436"/>
                <a:gd name="connsiteX314" fmla="*/ 226778 w 752994"/>
                <a:gd name="connsiteY314" fmla="*/ 47486 h 1333436"/>
                <a:gd name="connsiteX315" fmla="*/ 236152 w 752994"/>
                <a:gd name="connsiteY315" fmla="*/ 52370 h 1333436"/>
                <a:gd name="connsiteX316" fmla="*/ 239629 w 752994"/>
                <a:gd name="connsiteY316" fmla="*/ 58491 h 1333436"/>
                <a:gd name="connsiteX317" fmla="*/ 239629 w 752994"/>
                <a:gd name="connsiteY317" fmla="*/ 63376 h 1333436"/>
                <a:gd name="connsiteX318" fmla="*/ 236568 w 752994"/>
                <a:gd name="connsiteY318" fmla="*/ 67457 h 1333436"/>
                <a:gd name="connsiteX319" fmla="*/ 231264 w 752994"/>
                <a:gd name="connsiteY319" fmla="*/ 69905 h 1333436"/>
                <a:gd name="connsiteX320" fmla="*/ 216778 w 752994"/>
                <a:gd name="connsiteY320" fmla="*/ 82741 h 1333436"/>
                <a:gd name="connsiteX321" fmla="*/ 214134 w 752994"/>
                <a:gd name="connsiteY321" fmla="*/ 93536 h 1333436"/>
                <a:gd name="connsiteX322" fmla="*/ 214535 w 752994"/>
                <a:gd name="connsiteY322" fmla="*/ 96801 h 1333436"/>
                <a:gd name="connsiteX323" fmla="*/ 216378 w 752994"/>
                <a:gd name="connsiteY323" fmla="*/ 96801 h 1333436"/>
                <a:gd name="connsiteX324" fmla="*/ 230046 w 752994"/>
                <a:gd name="connsiteY324" fmla="*/ 85387 h 1333436"/>
                <a:gd name="connsiteX325" fmla="*/ 243298 w 752994"/>
                <a:gd name="connsiteY325" fmla="*/ 75198 h 1333436"/>
                <a:gd name="connsiteX326" fmla="*/ 246760 w 752994"/>
                <a:gd name="connsiteY326" fmla="*/ 77646 h 1333436"/>
                <a:gd name="connsiteX327" fmla="*/ 255541 w 752994"/>
                <a:gd name="connsiteY327" fmla="*/ 63376 h 1333436"/>
                <a:gd name="connsiteX328" fmla="*/ 259611 w 752994"/>
                <a:gd name="connsiteY328" fmla="*/ 43405 h 1333436"/>
                <a:gd name="connsiteX329" fmla="*/ 256967 w 752994"/>
                <a:gd name="connsiteY329" fmla="*/ 38520 h 1333436"/>
                <a:gd name="connsiteX330" fmla="*/ 253906 w 752994"/>
                <a:gd name="connsiteY330" fmla="*/ 34242 h 1333436"/>
                <a:gd name="connsiteX331" fmla="*/ 256967 w 752994"/>
                <a:gd name="connsiteY331" fmla="*/ 30161 h 1333436"/>
                <a:gd name="connsiteX332" fmla="*/ 262063 w 752994"/>
                <a:gd name="connsiteY332" fmla="*/ 27712 h 1333436"/>
                <a:gd name="connsiteX333" fmla="*/ 264915 w 752994"/>
                <a:gd name="connsiteY333" fmla="*/ 23026 h 1333436"/>
                <a:gd name="connsiteX334" fmla="*/ 267976 w 752994"/>
                <a:gd name="connsiteY334" fmla="*/ 22618 h 1333436"/>
                <a:gd name="connsiteX335" fmla="*/ 270427 w 752994"/>
                <a:gd name="connsiteY335" fmla="*/ 20787 h 1333436"/>
                <a:gd name="connsiteX336" fmla="*/ 263088 w 752994"/>
                <a:gd name="connsiteY336" fmla="*/ 13652 h 1333436"/>
                <a:gd name="connsiteX337" fmla="*/ 255541 w 752994"/>
                <a:gd name="connsiteY337" fmla="*/ 3055 h 1333436"/>
                <a:gd name="connsiteX338" fmla="*/ 256358 w 752994"/>
                <a:gd name="connsiteY338" fmla="*/ 1224 h 1333436"/>
                <a:gd name="connsiteX339" fmla="*/ 257159 w 752994"/>
                <a:gd name="connsiteY339"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40789 w 752994"/>
                <a:gd name="connsiteY29" fmla="*/ 243536 h 1333436"/>
                <a:gd name="connsiteX30" fmla="*/ 333034 w 752994"/>
                <a:gd name="connsiteY30" fmla="*/ 240271 h 1333436"/>
                <a:gd name="connsiteX31" fmla="*/ 323868 w 752994"/>
                <a:gd name="connsiteY31" fmla="*/ 241495 h 1333436"/>
                <a:gd name="connsiteX32" fmla="*/ 309783 w 752994"/>
                <a:gd name="connsiteY32" fmla="*/ 243536 h 1333436"/>
                <a:gd name="connsiteX33" fmla="*/ 280827 w 752994"/>
                <a:gd name="connsiteY33" fmla="*/ 242720 h 1333436"/>
                <a:gd name="connsiteX34" fmla="*/ 274497 w 752994"/>
                <a:gd name="connsiteY34" fmla="*/ 238441 h 1333436"/>
                <a:gd name="connsiteX35" fmla="*/ 269001 w 752994"/>
                <a:gd name="connsiteY35" fmla="*/ 240679 h 1333436"/>
                <a:gd name="connsiteX36" fmla="*/ 262880 w 752994"/>
                <a:gd name="connsiteY36" fmla="*/ 243128 h 1333436"/>
                <a:gd name="connsiteX37" fmla="*/ 260028 w 752994"/>
                <a:gd name="connsiteY37" fmla="*/ 242720 h 1333436"/>
                <a:gd name="connsiteX38" fmla="*/ 247994 w 752994"/>
                <a:gd name="connsiteY38" fmla="*/ 241693 h 1333436"/>
                <a:gd name="connsiteX39" fmla="*/ 242081 w 752994"/>
                <a:gd name="connsiteY39" fmla="*/ 234162 h 1333436"/>
                <a:gd name="connsiteX40" fmla="*/ 235142 w 752994"/>
                <a:gd name="connsiteY40" fmla="*/ 229476 h 1333436"/>
                <a:gd name="connsiteX41" fmla="*/ 224742 w 752994"/>
                <a:gd name="connsiteY41" fmla="*/ 226817 h 1333436"/>
                <a:gd name="connsiteX42" fmla="*/ 216778 w 752994"/>
                <a:gd name="connsiteY42" fmla="*/ 229068 h 1333436"/>
                <a:gd name="connsiteX43" fmla="*/ 195162 w 752994"/>
                <a:gd name="connsiteY43" fmla="*/ 228857 h 1333436"/>
                <a:gd name="connsiteX44" fmla="*/ 188223 w 752994"/>
                <a:gd name="connsiteY44" fmla="*/ 223973 h 1333436"/>
                <a:gd name="connsiteX45" fmla="*/ 185163 w 752994"/>
                <a:gd name="connsiteY45" fmla="*/ 219484 h 1333436"/>
                <a:gd name="connsiteX46" fmla="*/ 184180 w 752994"/>
                <a:gd name="connsiteY46" fmla="*/ 213866 h 1333436"/>
                <a:gd name="connsiteX47" fmla="*/ 257159 w 752994"/>
                <a:gd name="connsiteY47" fmla="*/ 0 h 1333436"/>
                <a:gd name="connsiteX48" fmla="*/ 493147 w 752994"/>
                <a:gd name="connsiteY48" fmla="*/ 73157 h 1333436"/>
                <a:gd name="connsiteX49" fmla="*/ 492970 w 752994"/>
                <a:gd name="connsiteY49" fmla="*/ 73792 h 1333436"/>
                <a:gd name="connsiteX50" fmla="*/ 525816 w 752994"/>
                <a:gd name="connsiteY50" fmla="*/ 82491 h 1333436"/>
                <a:gd name="connsiteX51" fmla="*/ 520098 w 752994"/>
                <a:gd name="connsiteY51" fmla="*/ 111245 h 1333436"/>
                <a:gd name="connsiteX52" fmla="*/ 512552 w 752994"/>
                <a:gd name="connsiteY52" fmla="*/ 143854 h 1333436"/>
                <a:gd name="connsiteX53" fmla="*/ 517849 w 752994"/>
                <a:gd name="connsiteY53" fmla="*/ 157740 h 1333436"/>
                <a:gd name="connsiteX54" fmla="*/ 523160 w 752994"/>
                <a:gd name="connsiteY54" fmla="*/ 172009 h 1333436"/>
                <a:gd name="connsiteX55" fmla="*/ 521535 w 752994"/>
                <a:gd name="connsiteY55" fmla="*/ 178928 h 1333436"/>
                <a:gd name="connsiteX56" fmla="*/ 520098 w 752994"/>
                <a:gd name="connsiteY56" fmla="*/ 186279 h 1333436"/>
                <a:gd name="connsiteX57" fmla="*/ 526019 w 752994"/>
                <a:gd name="connsiteY57" fmla="*/ 193629 h 1333436"/>
                <a:gd name="connsiteX58" fmla="*/ 537251 w 752994"/>
                <a:gd name="connsiteY58" fmla="*/ 206270 h 1333436"/>
                <a:gd name="connsiteX59" fmla="*/ 542765 w 752994"/>
                <a:gd name="connsiteY59" fmla="*/ 217475 h 1333436"/>
                <a:gd name="connsiteX60" fmla="*/ 546857 w 752994"/>
                <a:gd name="connsiteY60" fmla="*/ 230930 h 1333436"/>
                <a:gd name="connsiteX61" fmla="*/ 549499 w 752994"/>
                <a:gd name="connsiteY61" fmla="*/ 235622 h 1333436"/>
                <a:gd name="connsiteX62" fmla="*/ 553388 w 752994"/>
                <a:gd name="connsiteY62" fmla="*/ 240722 h 1333436"/>
                <a:gd name="connsiteX63" fmla="*/ 557465 w 752994"/>
                <a:gd name="connsiteY63" fmla="*/ 246037 h 1333436"/>
                <a:gd name="connsiteX64" fmla="*/ 561761 w 752994"/>
                <a:gd name="connsiteY64" fmla="*/ 248671 h 1333436"/>
                <a:gd name="connsiteX65" fmla="*/ 567478 w 752994"/>
                <a:gd name="connsiteY65" fmla="*/ 247665 h 1333436"/>
                <a:gd name="connsiteX66" fmla="*/ 569931 w 752994"/>
                <a:gd name="connsiteY66" fmla="*/ 249293 h 1333436"/>
                <a:gd name="connsiteX67" fmla="*/ 570540 w 752994"/>
                <a:gd name="connsiteY67" fmla="*/ 251951 h 1333436"/>
                <a:gd name="connsiteX68" fmla="*/ 561964 w 752994"/>
                <a:gd name="connsiteY68" fmla="*/ 267656 h 1333436"/>
                <a:gd name="connsiteX69" fmla="*/ 553591 w 752994"/>
                <a:gd name="connsiteY69" fmla="*/ 289659 h 1333436"/>
                <a:gd name="connsiteX70" fmla="*/ 554810 w 752994"/>
                <a:gd name="connsiteY70" fmla="*/ 292939 h 1333436"/>
                <a:gd name="connsiteX71" fmla="*/ 556246 w 752994"/>
                <a:gd name="connsiteY71" fmla="*/ 299260 h 1333436"/>
                <a:gd name="connsiteX72" fmla="*/ 552778 w 752994"/>
                <a:gd name="connsiteY72" fmla="*/ 301917 h 1333436"/>
                <a:gd name="connsiteX73" fmla="*/ 549295 w 752994"/>
                <a:gd name="connsiteY73" fmla="*/ 306993 h 1333436"/>
                <a:gd name="connsiteX74" fmla="*/ 547061 w 752994"/>
                <a:gd name="connsiteY74" fmla="*/ 313122 h 1333436"/>
                <a:gd name="connsiteX75" fmla="*/ 544811 w 752994"/>
                <a:gd name="connsiteY75" fmla="*/ 316593 h 1333436"/>
                <a:gd name="connsiteX76" fmla="*/ 549919 w 752994"/>
                <a:gd name="connsiteY76" fmla="*/ 322698 h 1333436"/>
                <a:gd name="connsiteX77" fmla="*/ 553184 w 752994"/>
                <a:gd name="connsiteY77" fmla="*/ 325955 h 1333436"/>
                <a:gd name="connsiteX78" fmla="*/ 555840 w 752994"/>
                <a:gd name="connsiteY78" fmla="*/ 328205 h 1333436"/>
                <a:gd name="connsiteX79" fmla="*/ 574212 w 752994"/>
                <a:gd name="connsiteY79" fmla="*/ 318820 h 1333436"/>
                <a:gd name="connsiteX80" fmla="*/ 579523 w 752994"/>
                <a:gd name="connsiteY80" fmla="*/ 326577 h 1333436"/>
                <a:gd name="connsiteX81" fmla="*/ 580539 w 752994"/>
                <a:gd name="connsiteY81" fmla="*/ 334933 h 1333436"/>
                <a:gd name="connsiteX82" fmla="*/ 579726 w 752994"/>
                <a:gd name="connsiteY82" fmla="*/ 343097 h 1333436"/>
                <a:gd name="connsiteX83" fmla="*/ 581366 w 752994"/>
                <a:gd name="connsiteY83" fmla="*/ 350231 h 1333436"/>
                <a:gd name="connsiteX84" fmla="*/ 586256 w 752994"/>
                <a:gd name="connsiteY84" fmla="*/ 355930 h 1333436"/>
                <a:gd name="connsiteX85" fmla="*/ 589536 w 752994"/>
                <a:gd name="connsiteY85" fmla="*/ 362059 h 1333436"/>
                <a:gd name="connsiteX86" fmla="*/ 588099 w 752994"/>
                <a:gd name="connsiteY86" fmla="*/ 369600 h 1333436"/>
                <a:gd name="connsiteX87" fmla="*/ 586459 w 752994"/>
                <a:gd name="connsiteY87" fmla="*/ 377357 h 1333436"/>
                <a:gd name="connsiteX88" fmla="*/ 588709 w 752994"/>
                <a:gd name="connsiteY88" fmla="*/ 381835 h 1333436"/>
                <a:gd name="connsiteX89" fmla="*/ 595036 w 752994"/>
                <a:gd name="connsiteY89" fmla="*/ 382457 h 1333436"/>
                <a:gd name="connsiteX90" fmla="*/ 599331 w 752994"/>
                <a:gd name="connsiteY90" fmla="*/ 385306 h 1333436"/>
                <a:gd name="connsiteX91" fmla="*/ 601987 w 752994"/>
                <a:gd name="connsiteY91" fmla="*/ 391004 h 1333436"/>
                <a:gd name="connsiteX92" fmla="*/ 602799 w 752994"/>
                <a:gd name="connsiteY92" fmla="*/ 404076 h 1333436"/>
                <a:gd name="connsiteX93" fmla="*/ 606892 w 752994"/>
                <a:gd name="connsiteY93" fmla="*/ 415688 h 1333436"/>
                <a:gd name="connsiteX94" fmla="*/ 610563 w 752994"/>
                <a:gd name="connsiteY94" fmla="*/ 412217 h 1333436"/>
                <a:gd name="connsiteX95" fmla="*/ 617920 w 752994"/>
                <a:gd name="connsiteY95" fmla="*/ 408769 h 1333436"/>
                <a:gd name="connsiteX96" fmla="*/ 624654 w 752994"/>
                <a:gd name="connsiteY96" fmla="*/ 411211 h 1333436"/>
                <a:gd name="connsiteX97" fmla="*/ 634652 w 752994"/>
                <a:gd name="connsiteY97" fmla="*/ 410182 h 1333436"/>
                <a:gd name="connsiteX98" fmla="*/ 640573 w 752994"/>
                <a:gd name="connsiteY98" fmla="*/ 407739 h 1333436"/>
                <a:gd name="connsiteX99" fmla="*/ 646711 w 752994"/>
                <a:gd name="connsiteY99" fmla="*/ 410589 h 1333436"/>
                <a:gd name="connsiteX100" fmla="*/ 650383 w 752994"/>
                <a:gd name="connsiteY100" fmla="*/ 410589 h 1333436"/>
                <a:gd name="connsiteX101" fmla="*/ 654257 w 752994"/>
                <a:gd name="connsiteY101" fmla="*/ 411618 h 1333436"/>
                <a:gd name="connsiteX102" fmla="*/ 656913 w 752994"/>
                <a:gd name="connsiteY102" fmla="*/ 413653 h 1333436"/>
                <a:gd name="connsiteX103" fmla="*/ 660802 w 752994"/>
                <a:gd name="connsiteY103" fmla="*/ 415090 h 1333436"/>
                <a:gd name="connsiteX104" fmla="*/ 669581 w 752994"/>
                <a:gd name="connsiteY104" fmla="*/ 415904 h 1333436"/>
                <a:gd name="connsiteX105" fmla="*/ 672237 w 752994"/>
                <a:gd name="connsiteY105" fmla="*/ 415688 h 1333436"/>
                <a:gd name="connsiteX106" fmla="*/ 675705 w 752994"/>
                <a:gd name="connsiteY106" fmla="*/ 409367 h 1333436"/>
                <a:gd name="connsiteX107" fmla="*/ 679986 w 752994"/>
                <a:gd name="connsiteY107" fmla="*/ 403238 h 1333436"/>
                <a:gd name="connsiteX108" fmla="*/ 693264 w 752994"/>
                <a:gd name="connsiteY108" fmla="*/ 419567 h 1333436"/>
                <a:gd name="connsiteX109" fmla="*/ 688563 w 752994"/>
                <a:gd name="connsiteY109" fmla="*/ 448321 h 1333436"/>
                <a:gd name="connsiteX110" fmla="*/ 663949 w 752994"/>
                <a:gd name="connsiteY110" fmla="*/ 590165 h 1333436"/>
                <a:gd name="connsiteX111" fmla="*/ 666304 w 752994"/>
                <a:gd name="connsiteY111" fmla="*/ 590504 h 1333436"/>
                <a:gd name="connsiteX112" fmla="*/ 655288 w 752994"/>
                <a:gd name="connsiteY112" fmla="*/ 656178 h 1333436"/>
                <a:gd name="connsiteX113" fmla="*/ 681808 w 752994"/>
                <a:gd name="connsiteY113" fmla="*/ 662301 h 1333436"/>
                <a:gd name="connsiteX114" fmla="*/ 752994 w 752994"/>
                <a:gd name="connsiteY114" fmla="*/ 675560 h 1333436"/>
                <a:gd name="connsiteX115" fmla="*/ 714651 w 752994"/>
                <a:gd name="connsiteY115" fmla="*/ 946985 h 1333436"/>
                <a:gd name="connsiteX116" fmla="*/ 654533 w 752994"/>
                <a:gd name="connsiteY116" fmla="*/ 1333436 h 1333436"/>
                <a:gd name="connsiteX117" fmla="*/ 546831 w 752994"/>
                <a:gd name="connsiteY117" fmla="*/ 1317126 h 1333436"/>
                <a:gd name="connsiteX118" fmla="*/ 351227 w 752994"/>
                <a:gd name="connsiteY118" fmla="*/ 1194172 h 1333436"/>
                <a:gd name="connsiteX119" fmla="*/ 361011 w 752994"/>
                <a:gd name="connsiteY119" fmla="*/ 1182755 h 1333436"/>
                <a:gd name="connsiteX120" fmla="*/ 368981 w 752994"/>
                <a:gd name="connsiteY120" fmla="*/ 1182130 h 1333436"/>
                <a:gd name="connsiteX121" fmla="*/ 369571 w 752994"/>
                <a:gd name="connsiteY121" fmla="*/ 1181558 h 1333436"/>
                <a:gd name="connsiteX122" fmla="*/ 362372 w 752994"/>
                <a:gd name="connsiteY122" fmla="*/ 1182120 h 1333436"/>
                <a:gd name="connsiteX123" fmla="*/ 229464 w 752994"/>
                <a:gd name="connsiteY123" fmla="*/ 1161721 h 1333436"/>
                <a:gd name="connsiteX124" fmla="*/ 227427 w 752994"/>
                <a:gd name="connsiteY124" fmla="*/ 1157269 h 1333436"/>
                <a:gd name="connsiteX125" fmla="*/ 224967 w 752994"/>
                <a:gd name="connsiteY125" fmla="*/ 1152575 h 1333436"/>
                <a:gd name="connsiteX126" fmla="*/ 225582 w 752994"/>
                <a:gd name="connsiteY126" fmla="*/ 1144808 h 1333436"/>
                <a:gd name="connsiteX127" fmla="*/ 227215 w 752994"/>
                <a:gd name="connsiteY127" fmla="*/ 1135834 h 1333436"/>
                <a:gd name="connsiteX128" fmla="*/ 227215 w 752994"/>
                <a:gd name="connsiteY128" fmla="*/ 1134212 h 1333436"/>
                <a:gd name="connsiteX129" fmla="*/ 225179 w 752994"/>
                <a:gd name="connsiteY129" fmla="*/ 1114020 h 1333436"/>
                <a:gd name="connsiteX130" fmla="*/ 217839 w 752994"/>
                <a:gd name="connsiteY130" fmla="*/ 1100352 h 1333436"/>
                <a:gd name="connsiteX131" fmla="*/ 199661 w 752994"/>
                <a:gd name="connsiteY131" fmla="*/ 1076502 h 1333436"/>
                <a:gd name="connsiteX132" fmla="*/ 196395 w 752994"/>
                <a:gd name="connsiteY132" fmla="*/ 1071807 h 1333436"/>
                <a:gd name="connsiteX133" fmla="*/ 190880 w 752994"/>
                <a:gd name="connsiteY133" fmla="*/ 1067527 h 1333436"/>
                <a:gd name="connsiteX134" fmla="*/ 187210 w 752994"/>
                <a:gd name="connsiteY134" fmla="*/ 1068735 h 1333436"/>
                <a:gd name="connsiteX135" fmla="*/ 180062 w 752994"/>
                <a:gd name="connsiteY135" fmla="*/ 1066699 h 1333436"/>
                <a:gd name="connsiteX136" fmla="*/ 180466 w 752994"/>
                <a:gd name="connsiteY136" fmla="*/ 1053031 h 1333436"/>
                <a:gd name="connsiteX137" fmla="*/ 180062 w 752994"/>
                <a:gd name="connsiteY137" fmla="*/ 1045299 h 1333436"/>
                <a:gd name="connsiteX138" fmla="*/ 174144 w 752994"/>
                <a:gd name="connsiteY138" fmla="*/ 1044057 h 1333436"/>
                <a:gd name="connsiteX139" fmla="*/ 158426 w 752994"/>
                <a:gd name="connsiteY139" fmla="*/ 1042641 h 1333436"/>
                <a:gd name="connsiteX140" fmla="*/ 149857 w 752994"/>
                <a:gd name="connsiteY140" fmla="*/ 1035497 h 1333436"/>
                <a:gd name="connsiteX141" fmla="*/ 142497 w 752994"/>
                <a:gd name="connsiteY141" fmla="*/ 1028766 h 1333436"/>
                <a:gd name="connsiteX142" fmla="*/ 140864 w 752994"/>
                <a:gd name="connsiteY142" fmla="*/ 1020620 h 1333436"/>
                <a:gd name="connsiteX143" fmla="*/ 138212 w 752994"/>
                <a:gd name="connsiteY143" fmla="*/ 1013061 h 1333436"/>
                <a:gd name="connsiteX144" fmla="*/ 131064 w 752994"/>
                <a:gd name="connsiteY144" fmla="*/ 1007159 h 1333436"/>
                <a:gd name="connsiteX145" fmla="*/ 121264 w 752994"/>
                <a:gd name="connsiteY145" fmla="*/ 1005330 h 1333436"/>
                <a:gd name="connsiteX146" fmla="*/ 112483 w 752994"/>
                <a:gd name="connsiteY146" fmla="*/ 1001671 h 1333436"/>
                <a:gd name="connsiteX147" fmla="*/ 105950 w 752994"/>
                <a:gd name="connsiteY147" fmla="*/ 995734 h 1333436"/>
                <a:gd name="connsiteX148" fmla="*/ 97380 w 752994"/>
                <a:gd name="connsiteY148" fmla="*/ 994526 h 1333436"/>
                <a:gd name="connsiteX149" fmla="*/ 87984 w 752994"/>
                <a:gd name="connsiteY149" fmla="*/ 991040 h 1333436"/>
                <a:gd name="connsiteX150" fmla="*/ 80029 w 752994"/>
                <a:gd name="connsiteY150" fmla="*/ 985138 h 1333436"/>
                <a:gd name="connsiteX151" fmla="*/ 77166 w 752994"/>
                <a:gd name="connsiteY151" fmla="*/ 976164 h 1333436"/>
                <a:gd name="connsiteX152" fmla="*/ 79203 w 752994"/>
                <a:gd name="connsiteY152" fmla="*/ 970676 h 1333436"/>
                <a:gd name="connsiteX153" fmla="*/ 82470 w 752994"/>
                <a:gd name="connsiteY153" fmla="*/ 963117 h 1333436"/>
                <a:gd name="connsiteX154" fmla="*/ 84314 w 752994"/>
                <a:gd name="connsiteY154" fmla="*/ 954557 h 1333436"/>
                <a:gd name="connsiteX155" fmla="*/ 86351 w 752994"/>
                <a:gd name="connsiteY155" fmla="*/ 948033 h 1333436"/>
                <a:gd name="connsiteX156" fmla="*/ 86159 w 752994"/>
                <a:gd name="connsiteY156" fmla="*/ 942925 h 1333436"/>
                <a:gd name="connsiteX157" fmla="*/ 83085 w 752994"/>
                <a:gd name="connsiteY157" fmla="*/ 939853 h 1333436"/>
                <a:gd name="connsiteX158" fmla="*/ 77570 w 752994"/>
                <a:gd name="connsiteY158" fmla="*/ 937437 h 1333436"/>
                <a:gd name="connsiteX159" fmla="*/ 76763 w 752994"/>
                <a:gd name="connsiteY159" fmla="*/ 931915 h 1333436"/>
                <a:gd name="connsiteX160" fmla="*/ 78800 w 752994"/>
                <a:gd name="connsiteY160" fmla="*/ 927013 h 1333436"/>
                <a:gd name="connsiteX161" fmla="*/ 79626 w 752994"/>
                <a:gd name="connsiteY161" fmla="*/ 922526 h 1333436"/>
                <a:gd name="connsiteX162" fmla="*/ 77781 w 752994"/>
                <a:gd name="connsiteY162" fmla="*/ 919903 h 1333436"/>
                <a:gd name="connsiteX163" fmla="*/ 74303 w 752994"/>
                <a:gd name="connsiteY163" fmla="*/ 917418 h 1333436"/>
                <a:gd name="connsiteX164" fmla="*/ 71863 w 752994"/>
                <a:gd name="connsiteY164" fmla="*/ 915174 h 1333436"/>
                <a:gd name="connsiteX165" fmla="*/ 71652 w 752994"/>
                <a:gd name="connsiteY165" fmla="*/ 910894 h 1333436"/>
                <a:gd name="connsiteX166" fmla="*/ 70633 w 752994"/>
                <a:gd name="connsiteY166" fmla="*/ 906614 h 1333436"/>
                <a:gd name="connsiteX167" fmla="*/ 68385 w 752994"/>
                <a:gd name="connsiteY167" fmla="*/ 902749 h 1333436"/>
                <a:gd name="connsiteX168" fmla="*/ 61045 w 752994"/>
                <a:gd name="connsiteY168" fmla="*/ 889494 h 1333436"/>
                <a:gd name="connsiteX169" fmla="*/ 57971 w 752994"/>
                <a:gd name="connsiteY169" fmla="*/ 875619 h 1333436"/>
                <a:gd name="connsiteX170" fmla="*/ 52264 w 752994"/>
                <a:gd name="connsiteY170" fmla="*/ 862572 h 1333436"/>
                <a:gd name="connsiteX171" fmla="*/ 44309 w 752994"/>
                <a:gd name="connsiteY171" fmla="*/ 850561 h 1333436"/>
                <a:gd name="connsiteX172" fmla="*/ 45520 w 752994"/>
                <a:gd name="connsiteY172" fmla="*/ 827090 h 1333436"/>
                <a:gd name="connsiteX173" fmla="*/ 53071 w 752994"/>
                <a:gd name="connsiteY173" fmla="*/ 822396 h 1333436"/>
                <a:gd name="connsiteX174" fmla="*/ 57375 w 752994"/>
                <a:gd name="connsiteY174" fmla="*/ 816493 h 1333436"/>
                <a:gd name="connsiteX175" fmla="*/ 55319 w 752994"/>
                <a:gd name="connsiteY175" fmla="*/ 801617 h 1333436"/>
                <a:gd name="connsiteX176" fmla="*/ 48383 w 752994"/>
                <a:gd name="connsiteY176" fmla="*/ 802204 h 1333436"/>
                <a:gd name="connsiteX177" fmla="*/ 40428 w 752994"/>
                <a:gd name="connsiteY177" fmla="*/ 797924 h 1333436"/>
                <a:gd name="connsiteX178" fmla="*/ 37565 w 752994"/>
                <a:gd name="connsiteY178" fmla="*/ 790606 h 1333436"/>
                <a:gd name="connsiteX179" fmla="*/ 37565 w 752994"/>
                <a:gd name="connsiteY179" fmla="*/ 790399 h 1333436"/>
                <a:gd name="connsiteX180" fmla="*/ 35931 w 752994"/>
                <a:gd name="connsiteY180" fmla="*/ 785912 h 1333436"/>
                <a:gd name="connsiteX181" fmla="*/ 34510 w 752994"/>
                <a:gd name="connsiteY181" fmla="*/ 780597 h 1333436"/>
                <a:gd name="connsiteX182" fmla="*/ 36335 w 752994"/>
                <a:gd name="connsiteY182" fmla="*/ 774280 h 1333436"/>
                <a:gd name="connsiteX183" fmla="*/ 38180 w 752994"/>
                <a:gd name="connsiteY183" fmla="*/ 766721 h 1333436"/>
                <a:gd name="connsiteX184" fmla="*/ 37161 w 752994"/>
                <a:gd name="connsiteY184" fmla="*/ 760405 h 1333436"/>
                <a:gd name="connsiteX185" fmla="*/ 35720 w 752994"/>
                <a:gd name="connsiteY185" fmla="*/ 754710 h 1333436"/>
                <a:gd name="connsiteX186" fmla="*/ 36546 w 752994"/>
                <a:gd name="connsiteY186" fmla="*/ 748773 h 1333436"/>
                <a:gd name="connsiteX187" fmla="*/ 38372 w 752994"/>
                <a:gd name="connsiteY187" fmla="*/ 744528 h 1333436"/>
                <a:gd name="connsiteX188" fmla="*/ 41638 w 752994"/>
                <a:gd name="connsiteY188" fmla="*/ 744321 h 1333436"/>
                <a:gd name="connsiteX189" fmla="*/ 44713 w 752994"/>
                <a:gd name="connsiteY189" fmla="*/ 746357 h 1333436"/>
                <a:gd name="connsiteX190" fmla="*/ 47364 w 752994"/>
                <a:gd name="connsiteY190" fmla="*/ 753260 h 1333436"/>
                <a:gd name="connsiteX191" fmla="*/ 55742 w 752994"/>
                <a:gd name="connsiteY191" fmla="*/ 764305 h 1333436"/>
                <a:gd name="connsiteX192" fmla="*/ 56338 w 752994"/>
                <a:gd name="connsiteY192" fmla="*/ 761233 h 1333436"/>
                <a:gd name="connsiteX193" fmla="*/ 56145 w 752994"/>
                <a:gd name="connsiteY193" fmla="*/ 757368 h 1333436"/>
                <a:gd name="connsiteX194" fmla="*/ 54916 w 752994"/>
                <a:gd name="connsiteY194" fmla="*/ 748601 h 1333436"/>
                <a:gd name="connsiteX195" fmla="*/ 52879 w 752994"/>
                <a:gd name="connsiteY195" fmla="*/ 747358 h 1333436"/>
                <a:gd name="connsiteX196" fmla="*/ 51649 w 752994"/>
                <a:gd name="connsiteY196" fmla="*/ 745322 h 1333436"/>
                <a:gd name="connsiteX197" fmla="*/ 51649 w 752994"/>
                <a:gd name="connsiteY197" fmla="*/ 739212 h 1333436"/>
                <a:gd name="connsiteX198" fmla="*/ 50227 w 752994"/>
                <a:gd name="connsiteY198" fmla="*/ 734725 h 1333436"/>
                <a:gd name="connsiteX199" fmla="*/ 48786 w 752994"/>
                <a:gd name="connsiteY199" fmla="*/ 731446 h 1333436"/>
                <a:gd name="connsiteX200" fmla="*/ 54512 w 752994"/>
                <a:gd name="connsiteY200" fmla="*/ 726372 h 1333436"/>
                <a:gd name="connsiteX201" fmla="*/ 59815 w 752994"/>
                <a:gd name="connsiteY201" fmla="*/ 725130 h 1333436"/>
                <a:gd name="connsiteX202" fmla="*/ 58182 w 752994"/>
                <a:gd name="connsiteY202" fmla="*/ 722886 h 1333436"/>
                <a:gd name="connsiteX203" fmla="*/ 51861 w 752994"/>
                <a:gd name="connsiteY203" fmla="*/ 717985 h 1333436"/>
                <a:gd name="connsiteX204" fmla="*/ 46749 w 752994"/>
                <a:gd name="connsiteY204" fmla="*/ 729617 h 1333436"/>
                <a:gd name="connsiteX205" fmla="*/ 40831 w 752994"/>
                <a:gd name="connsiteY205" fmla="*/ 739212 h 1333436"/>
                <a:gd name="connsiteX206" fmla="*/ 39601 w 752994"/>
                <a:gd name="connsiteY206" fmla="*/ 738798 h 1333436"/>
                <a:gd name="connsiteX207" fmla="*/ 39409 w 752994"/>
                <a:gd name="connsiteY207" fmla="*/ 738591 h 1333436"/>
                <a:gd name="connsiteX208" fmla="*/ 37161 w 752994"/>
                <a:gd name="connsiteY208" fmla="*/ 734725 h 1333436"/>
                <a:gd name="connsiteX209" fmla="*/ 32665 w 752994"/>
                <a:gd name="connsiteY209" fmla="*/ 727788 h 1333436"/>
                <a:gd name="connsiteX210" fmla="*/ 26747 w 752994"/>
                <a:gd name="connsiteY210" fmla="*/ 719435 h 1333436"/>
                <a:gd name="connsiteX211" fmla="*/ 23884 w 752994"/>
                <a:gd name="connsiteY211" fmla="*/ 717812 h 1333436"/>
                <a:gd name="connsiteX212" fmla="*/ 24710 w 752994"/>
                <a:gd name="connsiteY212" fmla="*/ 709632 h 1333436"/>
                <a:gd name="connsiteX213" fmla="*/ 27554 w 752994"/>
                <a:gd name="connsiteY213" fmla="*/ 701694 h 1333436"/>
                <a:gd name="connsiteX214" fmla="*/ 24902 w 752994"/>
                <a:gd name="connsiteY214" fmla="*/ 696171 h 1333436"/>
                <a:gd name="connsiteX215" fmla="*/ 24095 w 752994"/>
                <a:gd name="connsiteY215" fmla="*/ 687818 h 1333436"/>
                <a:gd name="connsiteX216" fmla="*/ 22462 w 752994"/>
                <a:gd name="connsiteY216" fmla="*/ 682330 h 1333436"/>
                <a:gd name="connsiteX217" fmla="*/ 17159 w 752994"/>
                <a:gd name="connsiteY217" fmla="*/ 677636 h 1333436"/>
                <a:gd name="connsiteX218" fmla="*/ 14296 w 752994"/>
                <a:gd name="connsiteY218" fmla="*/ 671492 h 1333436"/>
                <a:gd name="connsiteX219" fmla="*/ 12451 w 752994"/>
                <a:gd name="connsiteY219" fmla="*/ 665797 h 1333436"/>
                <a:gd name="connsiteX220" fmla="*/ 5111 w 752994"/>
                <a:gd name="connsiteY220" fmla="*/ 654994 h 1333436"/>
                <a:gd name="connsiteX221" fmla="*/ 2248 w 752994"/>
                <a:gd name="connsiteY221" fmla="*/ 645605 h 1333436"/>
                <a:gd name="connsiteX222" fmla="*/ 4496 w 752994"/>
                <a:gd name="connsiteY222" fmla="*/ 640497 h 1333436"/>
                <a:gd name="connsiteX223" fmla="*/ 6744 w 752994"/>
                <a:gd name="connsiteY223" fmla="*/ 632765 h 1333436"/>
                <a:gd name="connsiteX224" fmla="*/ 6744 w 752994"/>
                <a:gd name="connsiteY224" fmla="*/ 628485 h 1333436"/>
                <a:gd name="connsiteX225" fmla="*/ 6533 w 752994"/>
                <a:gd name="connsiteY225" fmla="*/ 620305 h 1333436"/>
                <a:gd name="connsiteX226" fmla="*/ 7359 w 752994"/>
                <a:gd name="connsiteY226" fmla="*/ 611745 h 1333436"/>
                <a:gd name="connsiteX227" fmla="*/ 11836 w 752994"/>
                <a:gd name="connsiteY227" fmla="*/ 602978 h 1333436"/>
                <a:gd name="connsiteX228" fmla="*/ 15103 w 752994"/>
                <a:gd name="connsiteY228" fmla="*/ 591760 h 1333436"/>
                <a:gd name="connsiteX229" fmla="*/ 14488 w 752994"/>
                <a:gd name="connsiteY229" fmla="*/ 584029 h 1333436"/>
                <a:gd name="connsiteX230" fmla="*/ 13873 w 752994"/>
                <a:gd name="connsiteY230" fmla="*/ 578299 h 1333436"/>
                <a:gd name="connsiteX231" fmla="*/ 10626 w 752994"/>
                <a:gd name="connsiteY231" fmla="*/ 568531 h 1333436"/>
                <a:gd name="connsiteX232" fmla="*/ 3670 w 752994"/>
                <a:gd name="connsiteY232" fmla="*/ 558107 h 1333436"/>
                <a:gd name="connsiteX233" fmla="*/ 0 w 752994"/>
                <a:gd name="connsiteY233" fmla="*/ 551377 h 1333436"/>
                <a:gd name="connsiteX234" fmla="*/ 0 w 752994"/>
                <a:gd name="connsiteY234" fmla="*/ 550997 h 1333436"/>
                <a:gd name="connsiteX235" fmla="*/ 4900 w 752994"/>
                <a:gd name="connsiteY235" fmla="*/ 531220 h 1333436"/>
                <a:gd name="connsiteX236" fmla="*/ 13873 w 752994"/>
                <a:gd name="connsiteY236" fmla="*/ 520589 h 1333436"/>
                <a:gd name="connsiteX237" fmla="*/ 18369 w 752994"/>
                <a:gd name="connsiteY237" fmla="*/ 516516 h 1333436"/>
                <a:gd name="connsiteX238" fmla="*/ 18773 w 752994"/>
                <a:gd name="connsiteY238" fmla="*/ 514272 h 1333436"/>
                <a:gd name="connsiteX239" fmla="*/ 23077 w 752994"/>
                <a:gd name="connsiteY239" fmla="*/ 506127 h 1333436"/>
                <a:gd name="connsiteX240" fmla="*/ 23884 w 752994"/>
                <a:gd name="connsiteY240" fmla="*/ 502261 h 1333436"/>
                <a:gd name="connsiteX241" fmla="*/ 23692 w 752994"/>
                <a:gd name="connsiteY241" fmla="*/ 496738 h 1333436"/>
                <a:gd name="connsiteX242" fmla="*/ 30013 w 752994"/>
                <a:gd name="connsiteY242" fmla="*/ 486556 h 1333436"/>
                <a:gd name="connsiteX243" fmla="*/ 36546 w 752994"/>
                <a:gd name="connsiteY243" fmla="*/ 470230 h 1333436"/>
                <a:gd name="connsiteX244" fmla="*/ 36546 w 752994"/>
                <a:gd name="connsiteY244" fmla="*/ 462671 h 1333436"/>
                <a:gd name="connsiteX245" fmla="*/ 36335 w 752994"/>
                <a:gd name="connsiteY245" fmla="*/ 461670 h 1333436"/>
                <a:gd name="connsiteX246" fmla="*/ 35931 w 752994"/>
                <a:gd name="connsiteY246" fmla="*/ 453110 h 1333436"/>
                <a:gd name="connsiteX247" fmla="*/ 38583 w 752994"/>
                <a:gd name="connsiteY247" fmla="*/ 442514 h 1333436"/>
                <a:gd name="connsiteX248" fmla="*/ 41043 w 752994"/>
                <a:gd name="connsiteY248" fmla="*/ 436991 h 1333436"/>
                <a:gd name="connsiteX249" fmla="*/ 41650 w 752994"/>
                <a:gd name="connsiteY249" fmla="*/ 437186 h 1333436"/>
                <a:gd name="connsiteX250" fmla="*/ 41239 w 752994"/>
                <a:gd name="connsiteY250" fmla="*/ 436549 h 1333436"/>
                <a:gd name="connsiteX251" fmla="*/ 37778 w 752994"/>
                <a:gd name="connsiteY251" fmla="*/ 433894 h 1333436"/>
                <a:gd name="connsiteX252" fmla="*/ 37169 w 752994"/>
                <a:gd name="connsiteY252" fmla="*/ 432261 h 1333436"/>
                <a:gd name="connsiteX253" fmla="*/ 37365 w 752994"/>
                <a:gd name="connsiteY253" fmla="*/ 429198 h 1333436"/>
                <a:gd name="connsiteX254" fmla="*/ 36756 w 752994"/>
                <a:gd name="connsiteY254" fmla="*/ 422272 h 1333436"/>
                <a:gd name="connsiteX255" fmla="*/ 36952 w 752994"/>
                <a:gd name="connsiteY255" fmla="*/ 418800 h 1333436"/>
                <a:gd name="connsiteX256" fmla="*/ 36756 w 752994"/>
                <a:gd name="connsiteY256" fmla="*/ 412487 h 1333436"/>
                <a:gd name="connsiteX257" fmla="*/ 40433 w 752994"/>
                <a:gd name="connsiteY257" fmla="*/ 406174 h 1333436"/>
                <a:gd name="connsiteX258" fmla="*/ 44720 w 752994"/>
                <a:gd name="connsiteY258" fmla="*/ 399435 h 1333436"/>
                <a:gd name="connsiteX259" fmla="*/ 44110 w 752994"/>
                <a:gd name="connsiteY259" fmla="*/ 389651 h 1333436"/>
                <a:gd name="connsiteX260" fmla="*/ 43894 w 752994"/>
                <a:gd name="connsiteY260" fmla="*/ 378437 h 1333436"/>
                <a:gd name="connsiteX261" fmla="*/ 47158 w 752994"/>
                <a:gd name="connsiteY261" fmla="*/ 371102 h 1333436"/>
                <a:gd name="connsiteX262" fmla="*/ 55731 w 752994"/>
                <a:gd name="connsiteY262" fmla="*/ 360909 h 1333436"/>
                <a:gd name="connsiteX263" fmla="*/ 57580 w 752994"/>
                <a:gd name="connsiteY263" fmla="*/ 355804 h 1333436"/>
                <a:gd name="connsiteX264" fmla="*/ 62673 w 752994"/>
                <a:gd name="connsiteY264" fmla="*/ 349695 h 1333436"/>
                <a:gd name="connsiteX265" fmla="*/ 65937 w 752994"/>
                <a:gd name="connsiteY265" fmla="*/ 348470 h 1333436"/>
                <a:gd name="connsiteX266" fmla="*/ 68395 w 752994"/>
                <a:gd name="connsiteY266" fmla="*/ 348674 h 1333436"/>
                <a:gd name="connsiteX267" fmla="*/ 70224 w 752994"/>
                <a:gd name="connsiteY267" fmla="*/ 347449 h 1333436"/>
                <a:gd name="connsiteX268" fmla="*/ 67785 w 752994"/>
                <a:gd name="connsiteY268" fmla="*/ 345203 h 1333436"/>
                <a:gd name="connsiteX269" fmla="*/ 65524 w 752994"/>
                <a:gd name="connsiteY269" fmla="*/ 343178 h 1333436"/>
                <a:gd name="connsiteX270" fmla="*/ 73095 w 752994"/>
                <a:gd name="connsiteY270" fmla="*/ 333376 h 1333436"/>
                <a:gd name="connsiteX271" fmla="*/ 73291 w 752994"/>
                <a:gd name="connsiteY271" fmla="*/ 333376 h 1333436"/>
                <a:gd name="connsiteX272" fmla="*/ 77991 w 752994"/>
                <a:gd name="connsiteY272" fmla="*/ 325838 h 1333436"/>
                <a:gd name="connsiteX273" fmla="*/ 82671 w 752994"/>
                <a:gd name="connsiteY273" fmla="*/ 313619 h 1333436"/>
                <a:gd name="connsiteX274" fmla="*/ 87980 w 752994"/>
                <a:gd name="connsiteY274" fmla="*/ 303018 h 1333436"/>
                <a:gd name="connsiteX275" fmla="*/ 92267 w 752994"/>
                <a:gd name="connsiteY275" fmla="*/ 291191 h 1333436"/>
                <a:gd name="connsiteX276" fmla="*/ 96553 w 752994"/>
                <a:gd name="connsiteY276" fmla="*/ 281202 h 1333436"/>
                <a:gd name="connsiteX277" fmla="*/ 99621 w 752994"/>
                <a:gd name="connsiteY277" fmla="*/ 274481 h 1333436"/>
                <a:gd name="connsiteX278" fmla="*/ 103082 w 752994"/>
                <a:gd name="connsiteY278" fmla="*/ 262450 h 1333436"/>
                <a:gd name="connsiteX279" fmla="*/ 107172 w 752994"/>
                <a:gd name="connsiteY279" fmla="*/ 254299 h 1333436"/>
                <a:gd name="connsiteX280" fmla="*/ 112481 w 752994"/>
                <a:gd name="connsiteY280" fmla="*/ 243697 h 1333436"/>
                <a:gd name="connsiteX281" fmla="*/ 117181 w 752994"/>
                <a:gd name="connsiteY281" fmla="*/ 232279 h 1333436"/>
                <a:gd name="connsiteX282" fmla="*/ 125951 w 752994"/>
                <a:gd name="connsiteY282" fmla="*/ 217389 h 1333436"/>
                <a:gd name="connsiteX283" fmla="*/ 136156 w 752994"/>
                <a:gd name="connsiteY283" fmla="*/ 202925 h 1333436"/>
                <a:gd name="connsiteX284" fmla="*/ 138811 w 752994"/>
                <a:gd name="connsiteY284" fmla="*/ 183339 h 1333436"/>
                <a:gd name="connsiteX285" fmla="*/ 148801 w 752994"/>
                <a:gd name="connsiteY285" fmla="*/ 167445 h 1333436"/>
                <a:gd name="connsiteX286" fmla="*/ 159616 w 752994"/>
                <a:gd name="connsiteY286" fmla="*/ 170712 h 1333436"/>
                <a:gd name="connsiteX287" fmla="*/ 173105 w 752994"/>
                <a:gd name="connsiteY287" fmla="*/ 175188 h 1333436"/>
                <a:gd name="connsiteX288" fmla="*/ 175347 w 752994"/>
                <a:gd name="connsiteY288" fmla="*/ 175188 h 1333436"/>
                <a:gd name="connsiteX289" fmla="*/ 175347 w 752994"/>
                <a:gd name="connsiteY289" fmla="*/ 173758 h 1333436"/>
                <a:gd name="connsiteX290" fmla="*/ 184975 w 752994"/>
                <a:gd name="connsiteY290" fmla="*/ 187393 h 1333436"/>
                <a:gd name="connsiteX291" fmla="*/ 184762 w 752994"/>
                <a:gd name="connsiteY291" fmla="*/ 184637 h 1333436"/>
                <a:gd name="connsiteX292" fmla="*/ 174971 w 752994"/>
                <a:gd name="connsiteY292" fmla="*/ 170774 h 1333436"/>
                <a:gd name="connsiteX293" fmla="*/ 174971 w 752994"/>
                <a:gd name="connsiteY293" fmla="*/ 169550 h 1333436"/>
                <a:gd name="connsiteX294" fmla="*/ 158851 w 752994"/>
                <a:gd name="connsiteY294" fmla="*/ 156924 h 1333436"/>
                <a:gd name="connsiteX295" fmla="*/ 147025 w 752994"/>
                <a:gd name="connsiteY295" fmla="*/ 145709 h 1333436"/>
                <a:gd name="connsiteX296" fmla="*/ 154364 w 752994"/>
                <a:gd name="connsiteY296" fmla="*/ 136335 h 1333436"/>
                <a:gd name="connsiteX297" fmla="*/ 161511 w 752994"/>
                <a:gd name="connsiteY297" fmla="*/ 131042 h 1333436"/>
                <a:gd name="connsiteX298" fmla="*/ 160902 w 752994"/>
                <a:gd name="connsiteY298" fmla="*/ 128384 h 1333436"/>
                <a:gd name="connsiteX299" fmla="*/ 160277 w 752994"/>
                <a:gd name="connsiteY299" fmla="*/ 127778 h 1333436"/>
                <a:gd name="connsiteX300" fmla="*/ 154973 w 752994"/>
                <a:gd name="connsiteY300" fmla="*/ 122077 h 1333436"/>
                <a:gd name="connsiteX301" fmla="*/ 160277 w 752994"/>
                <a:gd name="connsiteY301" fmla="*/ 115140 h 1333436"/>
                <a:gd name="connsiteX302" fmla="*/ 165181 w 752994"/>
                <a:gd name="connsiteY302" fmla="*/ 108215 h 1333436"/>
                <a:gd name="connsiteX303" fmla="*/ 161303 w 752994"/>
                <a:gd name="connsiteY303" fmla="*/ 104146 h 1333436"/>
                <a:gd name="connsiteX304" fmla="*/ 157842 w 752994"/>
                <a:gd name="connsiteY304" fmla="*/ 104542 h 1333436"/>
                <a:gd name="connsiteX305" fmla="*/ 157024 w 752994"/>
                <a:gd name="connsiteY305" fmla="*/ 102304 h 1333436"/>
                <a:gd name="connsiteX306" fmla="*/ 160694 w 752994"/>
                <a:gd name="connsiteY306" fmla="*/ 55437 h 1333436"/>
                <a:gd name="connsiteX307" fmla="*/ 160486 w 752994"/>
                <a:gd name="connsiteY307" fmla="*/ 31991 h 1333436"/>
                <a:gd name="connsiteX308" fmla="*/ 164972 w 752994"/>
                <a:gd name="connsiteY308" fmla="*/ 18141 h 1333436"/>
                <a:gd name="connsiteX309" fmla="*/ 171911 w 752994"/>
                <a:gd name="connsiteY309" fmla="*/ 11204 h 1333436"/>
                <a:gd name="connsiteX310" fmla="*/ 187406 w 752994"/>
                <a:gd name="connsiteY310" fmla="*/ 21801 h 1333436"/>
                <a:gd name="connsiteX311" fmla="*/ 210866 w 752994"/>
                <a:gd name="connsiteY311" fmla="*/ 37086 h 1333436"/>
                <a:gd name="connsiteX312" fmla="*/ 219230 w 752994"/>
                <a:gd name="connsiteY312" fmla="*/ 41166 h 1333436"/>
                <a:gd name="connsiteX313" fmla="*/ 226778 w 752994"/>
                <a:gd name="connsiteY313" fmla="*/ 47486 h 1333436"/>
                <a:gd name="connsiteX314" fmla="*/ 236152 w 752994"/>
                <a:gd name="connsiteY314" fmla="*/ 52370 h 1333436"/>
                <a:gd name="connsiteX315" fmla="*/ 239629 w 752994"/>
                <a:gd name="connsiteY315" fmla="*/ 58491 h 1333436"/>
                <a:gd name="connsiteX316" fmla="*/ 239629 w 752994"/>
                <a:gd name="connsiteY316" fmla="*/ 63376 h 1333436"/>
                <a:gd name="connsiteX317" fmla="*/ 236568 w 752994"/>
                <a:gd name="connsiteY317" fmla="*/ 67457 h 1333436"/>
                <a:gd name="connsiteX318" fmla="*/ 231264 w 752994"/>
                <a:gd name="connsiteY318" fmla="*/ 69905 h 1333436"/>
                <a:gd name="connsiteX319" fmla="*/ 216778 w 752994"/>
                <a:gd name="connsiteY319" fmla="*/ 82741 h 1333436"/>
                <a:gd name="connsiteX320" fmla="*/ 214134 w 752994"/>
                <a:gd name="connsiteY320" fmla="*/ 93536 h 1333436"/>
                <a:gd name="connsiteX321" fmla="*/ 214535 w 752994"/>
                <a:gd name="connsiteY321" fmla="*/ 96801 h 1333436"/>
                <a:gd name="connsiteX322" fmla="*/ 216378 w 752994"/>
                <a:gd name="connsiteY322" fmla="*/ 96801 h 1333436"/>
                <a:gd name="connsiteX323" fmla="*/ 230046 w 752994"/>
                <a:gd name="connsiteY323" fmla="*/ 85387 h 1333436"/>
                <a:gd name="connsiteX324" fmla="*/ 243298 w 752994"/>
                <a:gd name="connsiteY324" fmla="*/ 75198 h 1333436"/>
                <a:gd name="connsiteX325" fmla="*/ 246760 w 752994"/>
                <a:gd name="connsiteY325" fmla="*/ 77646 h 1333436"/>
                <a:gd name="connsiteX326" fmla="*/ 255541 w 752994"/>
                <a:gd name="connsiteY326" fmla="*/ 63376 h 1333436"/>
                <a:gd name="connsiteX327" fmla="*/ 259611 w 752994"/>
                <a:gd name="connsiteY327" fmla="*/ 43405 h 1333436"/>
                <a:gd name="connsiteX328" fmla="*/ 256967 w 752994"/>
                <a:gd name="connsiteY328" fmla="*/ 38520 h 1333436"/>
                <a:gd name="connsiteX329" fmla="*/ 253906 w 752994"/>
                <a:gd name="connsiteY329" fmla="*/ 34242 h 1333436"/>
                <a:gd name="connsiteX330" fmla="*/ 256967 w 752994"/>
                <a:gd name="connsiteY330" fmla="*/ 30161 h 1333436"/>
                <a:gd name="connsiteX331" fmla="*/ 262063 w 752994"/>
                <a:gd name="connsiteY331" fmla="*/ 27712 h 1333436"/>
                <a:gd name="connsiteX332" fmla="*/ 264915 w 752994"/>
                <a:gd name="connsiteY332" fmla="*/ 23026 h 1333436"/>
                <a:gd name="connsiteX333" fmla="*/ 267976 w 752994"/>
                <a:gd name="connsiteY333" fmla="*/ 22618 h 1333436"/>
                <a:gd name="connsiteX334" fmla="*/ 270427 w 752994"/>
                <a:gd name="connsiteY334" fmla="*/ 20787 h 1333436"/>
                <a:gd name="connsiteX335" fmla="*/ 263088 w 752994"/>
                <a:gd name="connsiteY335" fmla="*/ 13652 h 1333436"/>
                <a:gd name="connsiteX336" fmla="*/ 255541 w 752994"/>
                <a:gd name="connsiteY336" fmla="*/ 3055 h 1333436"/>
                <a:gd name="connsiteX337" fmla="*/ 256358 w 752994"/>
                <a:gd name="connsiteY337" fmla="*/ 1224 h 1333436"/>
                <a:gd name="connsiteX338" fmla="*/ 257159 w 752994"/>
                <a:gd name="connsiteY338"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40789 w 752994"/>
                <a:gd name="connsiteY29" fmla="*/ 243536 h 1333436"/>
                <a:gd name="connsiteX30" fmla="*/ 323868 w 752994"/>
                <a:gd name="connsiteY30" fmla="*/ 241495 h 1333436"/>
                <a:gd name="connsiteX31" fmla="*/ 309783 w 752994"/>
                <a:gd name="connsiteY31" fmla="*/ 243536 h 1333436"/>
                <a:gd name="connsiteX32" fmla="*/ 280827 w 752994"/>
                <a:gd name="connsiteY32" fmla="*/ 242720 h 1333436"/>
                <a:gd name="connsiteX33" fmla="*/ 274497 w 752994"/>
                <a:gd name="connsiteY33" fmla="*/ 238441 h 1333436"/>
                <a:gd name="connsiteX34" fmla="*/ 269001 w 752994"/>
                <a:gd name="connsiteY34" fmla="*/ 240679 h 1333436"/>
                <a:gd name="connsiteX35" fmla="*/ 262880 w 752994"/>
                <a:gd name="connsiteY35" fmla="*/ 243128 h 1333436"/>
                <a:gd name="connsiteX36" fmla="*/ 260028 w 752994"/>
                <a:gd name="connsiteY36" fmla="*/ 242720 h 1333436"/>
                <a:gd name="connsiteX37" fmla="*/ 247994 w 752994"/>
                <a:gd name="connsiteY37" fmla="*/ 241693 h 1333436"/>
                <a:gd name="connsiteX38" fmla="*/ 242081 w 752994"/>
                <a:gd name="connsiteY38" fmla="*/ 234162 h 1333436"/>
                <a:gd name="connsiteX39" fmla="*/ 235142 w 752994"/>
                <a:gd name="connsiteY39" fmla="*/ 229476 h 1333436"/>
                <a:gd name="connsiteX40" fmla="*/ 224742 w 752994"/>
                <a:gd name="connsiteY40" fmla="*/ 226817 h 1333436"/>
                <a:gd name="connsiteX41" fmla="*/ 216778 w 752994"/>
                <a:gd name="connsiteY41" fmla="*/ 229068 h 1333436"/>
                <a:gd name="connsiteX42" fmla="*/ 195162 w 752994"/>
                <a:gd name="connsiteY42" fmla="*/ 228857 h 1333436"/>
                <a:gd name="connsiteX43" fmla="*/ 188223 w 752994"/>
                <a:gd name="connsiteY43" fmla="*/ 223973 h 1333436"/>
                <a:gd name="connsiteX44" fmla="*/ 185163 w 752994"/>
                <a:gd name="connsiteY44" fmla="*/ 219484 h 1333436"/>
                <a:gd name="connsiteX45" fmla="*/ 184180 w 752994"/>
                <a:gd name="connsiteY45" fmla="*/ 213866 h 1333436"/>
                <a:gd name="connsiteX46" fmla="*/ 257159 w 752994"/>
                <a:gd name="connsiteY46" fmla="*/ 0 h 1333436"/>
                <a:gd name="connsiteX47" fmla="*/ 493147 w 752994"/>
                <a:gd name="connsiteY47" fmla="*/ 73157 h 1333436"/>
                <a:gd name="connsiteX48" fmla="*/ 492970 w 752994"/>
                <a:gd name="connsiteY48" fmla="*/ 73792 h 1333436"/>
                <a:gd name="connsiteX49" fmla="*/ 525816 w 752994"/>
                <a:gd name="connsiteY49" fmla="*/ 82491 h 1333436"/>
                <a:gd name="connsiteX50" fmla="*/ 520098 w 752994"/>
                <a:gd name="connsiteY50" fmla="*/ 111245 h 1333436"/>
                <a:gd name="connsiteX51" fmla="*/ 512552 w 752994"/>
                <a:gd name="connsiteY51" fmla="*/ 143854 h 1333436"/>
                <a:gd name="connsiteX52" fmla="*/ 517849 w 752994"/>
                <a:gd name="connsiteY52" fmla="*/ 157740 h 1333436"/>
                <a:gd name="connsiteX53" fmla="*/ 523160 w 752994"/>
                <a:gd name="connsiteY53" fmla="*/ 172009 h 1333436"/>
                <a:gd name="connsiteX54" fmla="*/ 521535 w 752994"/>
                <a:gd name="connsiteY54" fmla="*/ 178928 h 1333436"/>
                <a:gd name="connsiteX55" fmla="*/ 520098 w 752994"/>
                <a:gd name="connsiteY55" fmla="*/ 186279 h 1333436"/>
                <a:gd name="connsiteX56" fmla="*/ 526019 w 752994"/>
                <a:gd name="connsiteY56" fmla="*/ 193629 h 1333436"/>
                <a:gd name="connsiteX57" fmla="*/ 537251 w 752994"/>
                <a:gd name="connsiteY57" fmla="*/ 206270 h 1333436"/>
                <a:gd name="connsiteX58" fmla="*/ 542765 w 752994"/>
                <a:gd name="connsiteY58" fmla="*/ 217475 h 1333436"/>
                <a:gd name="connsiteX59" fmla="*/ 546857 w 752994"/>
                <a:gd name="connsiteY59" fmla="*/ 230930 h 1333436"/>
                <a:gd name="connsiteX60" fmla="*/ 549499 w 752994"/>
                <a:gd name="connsiteY60" fmla="*/ 235622 h 1333436"/>
                <a:gd name="connsiteX61" fmla="*/ 553388 w 752994"/>
                <a:gd name="connsiteY61" fmla="*/ 240722 h 1333436"/>
                <a:gd name="connsiteX62" fmla="*/ 557465 w 752994"/>
                <a:gd name="connsiteY62" fmla="*/ 246037 h 1333436"/>
                <a:gd name="connsiteX63" fmla="*/ 561761 w 752994"/>
                <a:gd name="connsiteY63" fmla="*/ 248671 h 1333436"/>
                <a:gd name="connsiteX64" fmla="*/ 567478 w 752994"/>
                <a:gd name="connsiteY64" fmla="*/ 247665 h 1333436"/>
                <a:gd name="connsiteX65" fmla="*/ 569931 w 752994"/>
                <a:gd name="connsiteY65" fmla="*/ 249293 h 1333436"/>
                <a:gd name="connsiteX66" fmla="*/ 570540 w 752994"/>
                <a:gd name="connsiteY66" fmla="*/ 251951 h 1333436"/>
                <a:gd name="connsiteX67" fmla="*/ 561964 w 752994"/>
                <a:gd name="connsiteY67" fmla="*/ 267656 h 1333436"/>
                <a:gd name="connsiteX68" fmla="*/ 553591 w 752994"/>
                <a:gd name="connsiteY68" fmla="*/ 289659 h 1333436"/>
                <a:gd name="connsiteX69" fmla="*/ 554810 w 752994"/>
                <a:gd name="connsiteY69" fmla="*/ 292939 h 1333436"/>
                <a:gd name="connsiteX70" fmla="*/ 556246 w 752994"/>
                <a:gd name="connsiteY70" fmla="*/ 299260 h 1333436"/>
                <a:gd name="connsiteX71" fmla="*/ 552778 w 752994"/>
                <a:gd name="connsiteY71" fmla="*/ 301917 h 1333436"/>
                <a:gd name="connsiteX72" fmla="*/ 549295 w 752994"/>
                <a:gd name="connsiteY72" fmla="*/ 306993 h 1333436"/>
                <a:gd name="connsiteX73" fmla="*/ 547061 w 752994"/>
                <a:gd name="connsiteY73" fmla="*/ 313122 h 1333436"/>
                <a:gd name="connsiteX74" fmla="*/ 544811 w 752994"/>
                <a:gd name="connsiteY74" fmla="*/ 316593 h 1333436"/>
                <a:gd name="connsiteX75" fmla="*/ 549919 w 752994"/>
                <a:gd name="connsiteY75" fmla="*/ 322698 h 1333436"/>
                <a:gd name="connsiteX76" fmla="*/ 553184 w 752994"/>
                <a:gd name="connsiteY76" fmla="*/ 325955 h 1333436"/>
                <a:gd name="connsiteX77" fmla="*/ 555840 w 752994"/>
                <a:gd name="connsiteY77" fmla="*/ 328205 h 1333436"/>
                <a:gd name="connsiteX78" fmla="*/ 574212 w 752994"/>
                <a:gd name="connsiteY78" fmla="*/ 318820 h 1333436"/>
                <a:gd name="connsiteX79" fmla="*/ 579523 w 752994"/>
                <a:gd name="connsiteY79" fmla="*/ 326577 h 1333436"/>
                <a:gd name="connsiteX80" fmla="*/ 580539 w 752994"/>
                <a:gd name="connsiteY80" fmla="*/ 334933 h 1333436"/>
                <a:gd name="connsiteX81" fmla="*/ 579726 w 752994"/>
                <a:gd name="connsiteY81" fmla="*/ 343097 h 1333436"/>
                <a:gd name="connsiteX82" fmla="*/ 581366 w 752994"/>
                <a:gd name="connsiteY82" fmla="*/ 350231 h 1333436"/>
                <a:gd name="connsiteX83" fmla="*/ 586256 w 752994"/>
                <a:gd name="connsiteY83" fmla="*/ 355930 h 1333436"/>
                <a:gd name="connsiteX84" fmla="*/ 589536 w 752994"/>
                <a:gd name="connsiteY84" fmla="*/ 362059 h 1333436"/>
                <a:gd name="connsiteX85" fmla="*/ 588099 w 752994"/>
                <a:gd name="connsiteY85" fmla="*/ 369600 h 1333436"/>
                <a:gd name="connsiteX86" fmla="*/ 586459 w 752994"/>
                <a:gd name="connsiteY86" fmla="*/ 377357 h 1333436"/>
                <a:gd name="connsiteX87" fmla="*/ 588709 w 752994"/>
                <a:gd name="connsiteY87" fmla="*/ 381835 h 1333436"/>
                <a:gd name="connsiteX88" fmla="*/ 595036 w 752994"/>
                <a:gd name="connsiteY88" fmla="*/ 382457 h 1333436"/>
                <a:gd name="connsiteX89" fmla="*/ 599331 w 752994"/>
                <a:gd name="connsiteY89" fmla="*/ 385306 h 1333436"/>
                <a:gd name="connsiteX90" fmla="*/ 601987 w 752994"/>
                <a:gd name="connsiteY90" fmla="*/ 391004 h 1333436"/>
                <a:gd name="connsiteX91" fmla="*/ 602799 w 752994"/>
                <a:gd name="connsiteY91" fmla="*/ 404076 h 1333436"/>
                <a:gd name="connsiteX92" fmla="*/ 606892 w 752994"/>
                <a:gd name="connsiteY92" fmla="*/ 415688 h 1333436"/>
                <a:gd name="connsiteX93" fmla="*/ 610563 w 752994"/>
                <a:gd name="connsiteY93" fmla="*/ 412217 h 1333436"/>
                <a:gd name="connsiteX94" fmla="*/ 617920 w 752994"/>
                <a:gd name="connsiteY94" fmla="*/ 408769 h 1333436"/>
                <a:gd name="connsiteX95" fmla="*/ 624654 w 752994"/>
                <a:gd name="connsiteY95" fmla="*/ 411211 h 1333436"/>
                <a:gd name="connsiteX96" fmla="*/ 634652 w 752994"/>
                <a:gd name="connsiteY96" fmla="*/ 410182 h 1333436"/>
                <a:gd name="connsiteX97" fmla="*/ 640573 w 752994"/>
                <a:gd name="connsiteY97" fmla="*/ 407739 h 1333436"/>
                <a:gd name="connsiteX98" fmla="*/ 646711 w 752994"/>
                <a:gd name="connsiteY98" fmla="*/ 410589 h 1333436"/>
                <a:gd name="connsiteX99" fmla="*/ 650383 w 752994"/>
                <a:gd name="connsiteY99" fmla="*/ 410589 h 1333436"/>
                <a:gd name="connsiteX100" fmla="*/ 654257 w 752994"/>
                <a:gd name="connsiteY100" fmla="*/ 411618 h 1333436"/>
                <a:gd name="connsiteX101" fmla="*/ 656913 w 752994"/>
                <a:gd name="connsiteY101" fmla="*/ 413653 h 1333436"/>
                <a:gd name="connsiteX102" fmla="*/ 660802 w 752994"/>
                <a:gd name="connsiteY102" fmla="*/ 415090 h 1333436"/>
                <a:gd name="connsiteX103" fmla="*/ 669581 w 752994"/>
                <a:gd name="connsiteY103" fmla="*/ 415904 h 1333436"/>
                <a:gd name="connsiteX104" fmla="*/ 672237 w 752994"/>
                <a:gd name="connsiteY104" fmla="*/ 415688 h 1333436"/>
                <a:gd name="connsiteX105" fmla="*/ 675705 w 752994"/>
                <a:gd name="connsiteY105" fmla="*/ 409367 h 1333436"/>
                <a:gd name="connsiteX106" fmla="*/ 679986 w 752994"/>
                <a:gd name="connsiteY106" fmla="*/ 403238 h 1333436"/>
                <a:gd name="connsiteX107" fmla="*/ 693264 w 752994"/>
                <a:gd name="connsiteY107" fmla="*/ 419567 h 1333436"/>
                <a:gd name="connsiteX108" fmla="*/ 688563 w 752994"/>
                <a:gd name="connsiteY108" fmla="*/ 448321 h 1333436"/>
                <a:gd name="connsiteX109" fmla="*/ 663949 w 752994"/>
                <a:gd name="connsiteY109" fmla="*/ 590165 h 1333436"/>
                <a:gd name="connsiteX110" fmla="*/ 666304 w 752994"/>
                <a:gd name="connsiteY110" fmla="*/ 590504 h 1333436"/>
                <a:gd name="connsiteX111" fmla="*/ 655288 w 752994"/>
                <a:gd name="connsiteY111" fmla="*/ 656178 h 1333436"/>
                <a:gd name="connsiteX112" fmla="*/ 681808 w 752994"/>
                <a:gd name="connsiteY112" fmla="*/ 662301 h 1333436"/>
                <a:gd name="connsiteX113" fmla="*/ 752994 w 752994"/>
                <a:gd name="connsiteY113" fmla="*/ 675560 h 1333436"/>
                <a:gd name="connsiteX114" fmla="*/ 714651 w 752994"/>
                <a:gd name="connsiteY114" fmla="*/ 946985 h 1333436"/>
                <a:gd name="connsiteX115" fmla="*/ 654533 w 752994"/>
                <a:gd name="connsiteY115" fmla="*/ 1333436 h 1333436"/>
                <a:gd name="connsiteX116" fmla="*/ 546831 w 752994"/>
                <a:gd name="connsiteY116" fmla="*/ 1317126 h 1333436"/>
                <a:gd name="connsiteX117" fmla="*/ 351227 w 752994"/>
                <a:gd name="connsiteY117" fmla="*/ 1194172 h 1333436"/>
                <a:gd name="connsiteX118" fmla="*/ 361011 w 752994"/>
                <a:gd name="connsiteY118" fmla="*/ 1182755 h 1333436"/>
                <a:gd name="connsiteX119" fmla="*/ 368981 w 752994"/>
                <a:gd name="connsiteY119" fmla="*/ 1182130 h 1333436"/>
                <a:gd name="connsiteX120" fmla="*/ 369571 w 752994"/>
                <a:gd name="connsiteY120" fmla="*/ 1181558 h 1333436"/>
                <a:gd name="connsiteX121" fmla="*/ 362372 w 752994"/>
                <a:gd name="connsiteY121" fmla="*/ 1182120 h 1333436"/>
                <a:gd name="connsiteX122" fmla="*/ 229464 w 752994"/>
                <a:gd name="connsiteY122" fmla="*/ 1161721 h 1333436"/>
                <a:gd name="connsiteX123" fmla="*/ 227427 w 752994"/>
                <a:gd name="connsiteY123" fmla="*/ 1157269 h 1333436"/>
                <a:gd name="connsiteX124" fmla="*/ 224967 w 752994"/>
                <a:gd name="connsiteY124" fmla="*/ 1152575 h 1333436"/>
                <a:gd name="connsiteX125" fmla="*/ 225582 w 752994"/>
                <a:gd name="connsiteY125" fmla="*/ 1144808 h 1333436"/>
                <a:gd name="connsiteX126" fmla="*/ 227215 w 752994"/>
                <a:gd name="connsiteY126" fmla="*/ 1135834 h 1333436"/>
                <a:gd name="connsiteX127" fmla="*/ 227215 w 752994"/>
                <a:gd name="connsiteY127" fmla="*/ 1134212 h 1333436"/>
                <a:gd name="connsiteX128" fmla="*/ 225179 w 752994"/>
                <a:gd name="connsiteY128" fmla="*/ 1114020 h 1333436"/>
                <a:gd name="connsiteX129" fmla="*/ 217839 w 752994"/>
                <a:gd name="connsiteY129" fmla="*/ 1100352 h 1333436"/>
                <a:gd name="connsiteX130" fmla="*/ 199661 w 752994"/>
                <a:gd name="connsiteY130" fmla="*/ 1076502 h 1333436"/>
                <a:gd name="connsiteX131" fmla="*/ 196395 w 752994"/>
                <a:gd name="connsiteY131" fmla="*/ 1071807 h 1333436"/>
                <a:gd name="connsiteX132" fmla="*/ 190880 w 752994"/>
                <a:gd name="connsiteY132" fmla="*/ 1067527 h 1333436"/>
                <a:gd name="connsiteX133" fmla="*/ 187210 w 752994"/>
                <a:gd name="connsiteY133" fmla="*/ 1068735 h 1333436"/>
                <a:gd name="connsiteX134" fmla="*/ 180062 w 752994"/>
                <a:gd name="connsiteY134" fmla="*/ 1066699 h 1333436"/>
                <a:gd name="connsiteX135" fmla="*/ 180466 w 752994"/>
                <a:gd name="connsiteY135" fmla="*/ 1053031 h 1333436"/>
                <a:gd name="connsiteX136" fmla="*/ 180062 w 752994"/>
                <a:gd name="connsiteY136" fmla="*/ 1045299 h 1333436"/>
                <a:gd name="connsiteX137" fmla="*/ 174144 w 752994"/>
                <a:gd name="connsiteY137" fmla="*/ 1044057 h 1333436"/>
                <a:gd name="connsiteX138" fmla="*/ 158426 w 752994"/>
                <a:gd name="connsiteY138" fmla="*/ 1042641 h 1333436"/>
                <a:gd name="connsiteX139" fmla="*/ 149857 w 752994"/>
                <a:gd name="connsiteY139" fmla="*/ 1035497 h 1333436"/>
                <a:gd name="connsiteX140" fmla="*/ 142497 w 752994"/>
                <a:gd name="connsiteY140" fmla="*/ 1028766 h 1333436"/>
                <a:gd name="connsiteX141" fmla="*/ 140864 w 752994"/>
                <a:gd name="connsiteY141" fmla="*/ 1020620 h 1333436"/>
                <a:gd name="connsiteX142" fmla="*/ 138212 w 752994"/>
                <a:gd name="connsiteY142" fmla="*/ 1013061 h 1333436"/>
                <a:gd name="connsiteX143" fmla="*/ 131064 w 752994"/>
                <a:gd name="connsiteY143" fmla="*/ 1007159 h 1333436"/>
                <a:gd name="connsiteX144" fmla="*/ 121264 w 752994"/>
                <a:gd name="connsiteY144" fmla="*/ 1005330 h 1333436"/>
                <a:gd name="connsiteX145" fmla="*/ 112483 w 752994"/>
                <a:gd name="connsiteY145" fmla="*/ 1001671 h 1333436"/>
                <a:gd name="connsiteX146" fmla="*/ 105950 w 752994"/>
                <a:gd name="connsiteY146" fmla="*/ 995734 h 1333436"/>
                <a:gd name="connsiteX147" fmla="*/ 97380 w 752994"/>
                <a:gd name="connsiteY147" fmla="*/ 994526 h 1333436"/>
                <a:gd name="connsiteX148" fmla="*/ 87984 w 752994"/>
                <a:gd name="connsiteY148" fmla="*/ 991040 h 1333436"/>
                <a:gd name="connsiteX149" fmla="*/ 80029 w 752994"/>
                <a:gd name="connsiteY149" fmla="*/ 985138 h 1333436"/>
                <a:gd name="connsiteX150" fmla="*/ 77166 w 752994"/>
                <a:gd name="connsiteY150" fmla="*/ 976164 h 1333436"/>
                <a:gd name="connsiteX151" fmla="*/ 79203 w 752994"/>
                <a:gd name="connsiteY151" fmla="*/ 970676 h 1333436"/>
                <a:gd name="connsiteX152" fmla="*/ 82470 w 752994"/>
                <a:gd name="connsiteY152" fmla="*/ 963117 h 1333436"/>
                <a:gd name="connsiteX153" fmla="*/ 84314 w 752994"/>
                <a:gd name="connsiteY153" fmla="*/ 954557 h 1333436"/>
                <a:gd name="connsiteX154" fmla="*/ 86351 w 752994"/>
                <a:gd name="connsiteY154" fmla="*/ 948033 h 1333436"/>
                <a:gd name="connsiteX155" fmla="*/ 86159 w 752994"/>
                <a:gd name="connsiteY155" fmla="*/ 942925 h 1333436"/>
                <a:gd name="connsiteX156" fmla="*/ 83085 w 752994"/>
                <a:gd name="connsiteY156" fmla="*/ 939853 h 1333436"/>
                <a:gd name="connsiteX157" fmla="*/ 77570 w 752994"/>
                <a:gd name="connsiteY157" fmla="*/ 937437 h 1333436"/>
                <a:gd name="connsiteX158" fmla="*/ 76763 w 752994"/>
                <a:gd name="connsiteY158" fmla="*/ 931915 h 1333436"/>
                <a:gd name="connsiteX159" fmla="*/ 78800 w 752994"/>
                <a:gd name="connsiteY159" fmla="*/ 927013 h 1333436"/>
                <a:gd name="connsiteX160" fmla="*/ 79626 w 752994"/>
                <a:gd name="connsiteY160" fmla="*/ 922526 h 1333436"/>
                <a:gd name="connsiteX161" fmla="*/ 77781 w 752994"/>
                <a:gd name="connsiteY161" fmla="*/ 919903 h 1333436"/>
                <a:gd name="connsiteX162" fmla="*/ 74303 w 752994"/>
                <a:gd name="connsiteY162" fmla="*/ 917418 h 1333436"/>
                <a:gd name="connsiteX163" fmla="*/ 71863 w 752994"/>
                <a:gd name="connsiteY163" fmla="*/ 915174 h 1333436"/>
                <a:gd name="connsiteX164" fmla="*/ 71652 w 752994"/>
                <a:gd name="connsiteY164" fmla="*/ 910894 h 1333436"/>
                <a:gd name="connsiteX165" fmla="*/ 70633 w 752994"/>
                <a:gd name="connsiteY165" fmla="*/ 906614 h 1333436"/>
                <a:gd name="connsiteX166" fmla="*/ 68385 w 752994"/>
                <a:gd name="connsiteY166" fmla="*/ 902749 h 1333436"/>
                <a:gd name="connsiteX167" fmla="*/ 61045 w 752994"/>
                <a:gd name="connsiteY167" fmla="*/ 889494 h 1333436"/>
                <a:gd name="connsiteX168" fmla="*/ 57971 w 752994"/>
                <a:gd name="connsiteY168" fmla="*/ 875619 h 1333436"/>
                <a:gd name="connsiteX169" fmla="*/ 52264 w 752994"/>
                <a:gd name="connsiteY169" fmla="*/ 862572 h 1333436"/>
                <a:gd name="connsiteX170" fmla="*/ 44309 w 752994"/>
                <a:gd name="connsiteY170" fmla="*/ 850561 h 1333436"/>
                <a:gd name="connsiteX171" fmla="*/ 45520 w 752994"/>
                <a:gd name="connsiteY171" fmla="*/ 827090 h 1333436"/>
                <a:gd name="connsiteX172" fmla="*/ 53071 w 752994"/>
                <a:gd name="connsiteY172" fmla="*/ 822396 h 1333436"/>
                <a:gd name="connsiteX173" fmla="*/ 57375 w 752994"/>
                <a:gd name="connsiteY173" fmla="*/ 816493 h 1333436"/>
                <a:gd name="connsiteX174" fmla="*/ 55319 w 752994"/>
                <a:gd name="connsiteY174" fmla="*/ 801617 h 1333436"/>
                <a:gd name="connsiteX175" fmla="*/ 48383 w 752994"/>
                <a:gd name="connsiteY175" fmla="*/ 802204 h 1333436"/>
                <a:gd name="connsiteX176" fmla="*/ 40428 w 752994"/>
                <a:gd name="connsiteY176" fmla="*/ 797924 h 1333436"/>
                <a:gd name="connsiteX177" fmla="*/ 37565 w 752994"/>
                <a:gd name="connsiteY177" fmla="*/ 790606 h 1333436"/>
                <a:gd name="connsiteX178" fmla="*/ 37565 w 752994"/>
                <a:gd name="connsiteY178" fmla="*/ 790399 h 1333436"/>
                <a:gd name="connsiteX179" fmla="*/ 35931 w 752994"/>
                <a:gd name="connsiteY179" fmla="*/ 785912 h 1333436"/>
                <a:gd name="connsiteX180" fmla="*/ 34510 w 752994"/>
                <a:gd name="connsiteY180" fmla="*/ 780597 h 1333436"/>
                <a:gd name="connsiteX181" fmla="*/ 36335 w 752994"/>
                <a:gd name="connsiteY181" fmla="*/ 774280 h 1333436"/>
                <a:gd name="connsiteX182" fmla="*/ 38180 w 752994"/>
                <a:gd name="connsiteY182" fmla="*/ 766721 h 1333436"/>
                <a:gd name="connsiteX183" fmla="*/ 37161 w 752994"/>
                <a:gd name="connsiteY183" fmla="*/ 760405 h 1333436"/>
                <a:gd name="connsiteX184" fmla="*/ 35720 w 752994"/>
                <a:gd name="connsiteY184" fmla="*/ 754710 h 1333436"/>
                <a:gd name="connsiteX185" fmla="*/ 36546 w 752994"/>
                <a:gd name="connsiteY185" fmla="*/ 748773 h 1333436"/>
                <a:gd name="connsiteX186" fmla="*/ 38372 w 752994"/>
                <a:gd name="connsiteY186" fmla="*/ 744528 h 1333436"/>
                <a:gd name="connsiteX187" fmla="*/ 41638 w 752994"/>
                <a:gd name="connsiteY187" fmla="*/ 744321 h 1333436"/>
                <a:gd name="connsiteX188" fmla="*/ 44713 w 752994"/>
                <a:gd name="connsiteY188" fmla="*/ 746357 h 1333436"/>
                <a:gd name="connsiteX189" fmla="*/ 47364 w 752994"/>
                <a:gd name="connsiteY189" fmla="*/ 753260 h 1333436"/>
                <a:gd name="connsiteX190" fmla="*/ 55742 w 752994"/>
                <a:gd name="connsiteY190" fmla="*/ 764305 h 1333436"/>
                <a:gd name="connsiteX191" fmla="*/ 56338 w 752994"/>
                <a:gd name="connsiteY191" fmla="*/ 761233 h 1333436"/>
                <a:gd name="connsiteX192" fmla="*/ 56145 w 752994"/>
                <a:gd name="connsiteY192" fmla="*/ 757368 h 1333436"/>
                <a:gd name="connsiteX193" fmla="*/ 54916 w 752994"/>
                <a:gd name="connsiteY193" fmla="*/ 748601 h 1333436"/>
                <a:gd name="connsiteX194" fmla="*/ 52879 w 752994"/>
                <a:gd name="connsiteY194" fmla="*/ 747358 h 1333436"/>
                <a:gd name="connsiteX195" fmla="*/ 51649 w 752994"/>
                <a:gd name="connsiteY195" fmla="*/ 745322 h 1333436"/>
                <a:gd name="connsiteX196" fmla="*/ 51649 w 752994"/>
                <a:gd name="connsiteY196" fmla="*/ 739212 h 1333436"/>
                <a:gd name="connsiteX197" fmla="*/ 50227 w 752994"/>
                <a:gd name="connsiteY197" fmla="*/ 734725 h 1333436"/>
                <a:gd name="connsiteX198" fmla="*/ 48786 w 752994"/>
                <a:gd name="connsiteY198" fmla="*/ 731446 h 1333436"/>
                <a:gd name="connsiteX199" fmla="*/ 54512 w 752994"/>
                <a:gd name="connsiteY199" fmla="*/ 726372 h 1333436"/>
                <a:gd name="connsiteX200" fmla="*/ 59815 w 752994"/>
                <a:gd name="connsiteY200" fmla="*/ 725130 h 1333436"/>
                <a:gd name="connsiteX201" fmla="*/ 58182 w 752994"/>
                <a:gd name="connsiteY201" fmla="*/ 722886 h 1333436"/>
                <a:gd name="connsiteX202" fmla="*/ 51861 w 752994"/>
                <a:gd name="connsiteY202" fmla="*/ 717985 h 1333436"/>
                <a:gd name="connsiteX203" fmla="*/ 46749 w 752994"/>
                <a:gd name="connsiteY203" fmla="*/ 729617 h 1333436"/>
                <a:gd name="connsiteX204" fmla="*/ 40831 w 752994"/>
                <a:gd name="connsiteY204" fmla="*/ 739212 h 1333436"/>
                <a:gd name="connsiteX205" fmla="*/ 39601 w 752994"/>
                <a:gd name="connsiteY205" fmla="*/ 738798 h 1333436"/>
                <a:gd name="connsiteX206" fmla="*/ 39409 w 752994"/>
                <a:gd name="connsiteY206" fmla="*/ 738591 h 1333436"/>
                <a:gd name="connsiteX207" fmla="*/ 37161 w 752994"/>
                <a:gd name="connsiteY207" fmla="*/ 734725 h 1333436"/>
                <a:gd name="connsiteX208" fmla="*/ 32665 w 752994"/>
                <a:gd name="connsiteY208" fmla="*/ 727788 h 1333436"/>
                <a:gd name="connsiteX209" fmla="*/ 26747 w 752994"/>
                <a:gd name="connsiteY209" fmla="*/ 719435 h 1333436"/>
                <a:gd name="connsiteX210" fmla="*/ 23884 w 752994"/>
                <a:gd name="connsiteY210" fmla="*/ 717812 h 1333436"/>
                <a:gd name="connsiteX211" fmla="*/ 24710 w 752994"/>
                <a:gd name="connsiteY211" fmla="*/ 709632 h 1333436"/>
                <a:gd name="connsiteX212" fmla="*/ 27554 w 752994"/>
                <a:gd name="connsiteY212" fmla="*/ 701694 h 1333436"/>
                <a:gd name="connsiteX213" fmla="*/ 24902 w 752994"/>
                <a:gd name="connsiteY213" fmla="*/ 696171 h 1333436"/>
                <a:gd name="connsiteX214" fmla="*/ 24095 w 752994"/>
                <a:gd name="connsiteY214" fmla="*/ 687818 h 1333436"/>
                <a:gd name="connsiteX215" fmla="*/ 22462 w 752994"/>
                <a:gd name="connsiteY215" fmla="*/ 682330 h 1333436"/>
                <a:gd name="connsiteX216" fmla="*/ 17159 w 752994"/>
                <a:gd name="connsiteY216" fmla="*/ 677636 h 1333436"/>
                <a:gd name="connsiteX217" fmla="*/ 14296 w 752994"/>
                <a:gd name="connsiteY217" fmla="*/ 671492 h 1333436"/>
                <a:gd name="connsiteX218" fmla="*/ 12451 w 752994"/>
                <a:gd name="connsiteY218" fmla="*/ 665797 h 1333436"/>
                <a:gd name="connsiteX219" fmla="*/ 5111 w 752994"/>
                <a:gd name="connsiteY219" fmla="*/ 654994 h 1333436"/>
                <a:gd name="connsiteX220" fmla="*/ 2248 w 752994"/>
                <a:gd name="connsiteY220" fmla="*/ 645605 h 1333436"/>
                <a:gd name="connsiteX221" fmla="*/ 4496 w 752994"/>
                <a:gd name="connsiteY221" fmla="*/ 640497 h 1333436"/>
                <a:gd name="connsiteX222" fmla="*/ 6744 w 752994"/>
                <a:gd name="connsiteY222" fmla="*/ 632765 h 1333436"/>
                <a:gd name="connsiteX223" fmla="*/ 6744 w 752994"/>
                <a:gd name="connsiteY223" fmla="*/ 628485 h 1333436"/>
                <a:gd name="connsiteX224" fmla="*/ 6533 w 752994"/>
                <a:gd name="connsiteY224" fmla="*/ 620305 h 1333436"/>
                <a:gd name="connsiteX225" fmla="*/ 7359 w 752994"/>
                <a:gd name="connsiteY225" fmla="*/ 611745 h 1333436"/>
                <a:gd name="connsiteX226" fmla="*/ 11836 w 752994"/>
                <a:gd name="connsiteY226" fmla="*/ 602978 h 1333436"/>
                <a:gd name="connsiteX227" fmla="*/ 15103 w 752994"/>
                <a:gd name="connsiteY227" fmla="*/ 591760 h 1333436"/>
                <a:gd name="connsiteX228" fmla="*/ 14488 w 752994"/>
                <a:gd name="connsiteY228" fmla="*/ 584029 h 1333436"/>
                <a:gd name="connsiteX229" fmla="*/ 13873 w 752994"/>
                <a:gd name="connsiteY229" fmla="*/ 578299 h 1333436"/>
                <a:gd name="connsiteX230" fmla="*/ 10626 w 752994"/>
                <a:gd name="connsiteY230" fmla="*/ 568531 h 1333436"/>
                <a:gd name="connsiteX231" fmla="*/ 3670 w 752994"/>
                <a:gd name="connsiteY231" fmla="*/ 558107 h 1333436"/>
                <a:gd name="connsiteX232" fmla="*/ 0 w 752994"/>
                <a:gd name="connsiteY232" fmla="*/ 551377 h 1333436"/>
                <a:gd name="connsiteX233" fmla="*/ 0 w 752994"/>
                <a:gd name="connsiteY233" fmla="*/ 550997 h 1333436"/>
                <a:gd name="connsiteX234" fmla="*/ 4900 w 752994"/>
                <a:gd name="connsiteY234" fmla="*/ 531220 h 1333436"/>
                <a:gd name="connsiteX235" fmla="*/ 13873 w 752994"/>
                <a:gd name="connsiteY235" fmla="*/ 520589 h 1333436"/>
                <a:gd name="connsiteX236" fmla="*/ 18369 w 752994"/>
                <a:gd name="connsiteY236" fmla="*/ 516516 h 1333436"/>
                <a:gd name="connsiteX237" fmla="*/ 18773 w 752994"/>
                <a:gd name="connsiteY237" fmla="*/ 514272 h 1333436"/>
                <a:gd name="connsiteX238" fmla="*/ 23077 w 752994"/>
                <a:gd name="connsiteY238" fmla="*/ 506127 h 1333436"/>
                <a:gd name="connsiteX239" fmla="*/ 23884 w 752994"/>
                <a:gd name="connsiteY239" fmla="*/ 502261 h 1333436"/>
                <a:gd name="connsiteX240" fmla="*/ 23692 w 752994"/>
                <a:gd name="connsiteY240" fmla="*/ 496738 h 1333436"/>
                <a:gd name="connsiteX241" fmla="*/ 30013 w 752994"/>
                <a:gd name="connsiteY241" fmla="*/ 486556 h 1333436"/>
                <a:gd name="connsiteX242" fmla="*/ 36546 w 752994"/>
                <a:gd name="connsiteY242" fmla="*/ 470230 h 1333436"/>
                <a:gd name="connsiteX243" fmla="*/ 36546 w 752994"/>
                <a:gd name="connsiteY243" fmla="*/ 462671 h 1333436"/>
                <a:gd name="connsiteX244" fmla="*/ 36335 w 752994"/>
                <a:gd name="connsiteY244" fmla="*/ 461670 h 1333436"/>
                <a:gd name="connsiteX245" fmla="*/ 35931 w 752994"/>
                <a:gd name="connsiteY245" fmla="*/ 453110 h 1333436"/>
                <a:gd name="connsiteX246" fmla="*/ 38583 w 752994"/>
                <a:gd name="connsiteY246" fmla="*/ 442514 h 1333436"/>
                <a:gd name="connsiteX247" fmla="*/ 41043 w 752994"/>
                <a:gd name="connsiteY247" fmla="*/ 436991 h 1333436"/>
                <a:gd name="connsiteX248" fmla="*/ 41650 w 752994"/>
                <a:gd name="connsiteY248" fmla="*/ 437186 h 1333436"/>
                <a:gd name="connsiteX249" fmla="*/ 41239 w 752994"/>
                <a:gd name="connsiteY249" fmla="*/ 436549 h 1333436"/>
                <a:gd name="connsiteX250" fmla="*/ 37778 w 752994"/>
                <a:gd name="connsiteY250" fmla="*/ 433894 h 1333436"/>
                <a:gd name="connsiteX251" fmla="*/ 37169 w 752994"/>
                <a:gd name="connsiteY251" fmla="*/ 432261 h 1333436"/>
                <a:gd name="connsiteX252" fmla="*/ 37365 w 752994"/>
                <a:gd name="connsiteY252" fmla="*/ 429198 h 1333436"/>
                <a:gd name="connsiteX253" fmla="*/ 36756 w 752994"/>
                <a:gd name="connsiteY253" fmla="*/ 422272 h 1333436"/>
                <a:gd name="connsiteX254" fmla="*/ 36952 w 752994"/>
                <a:gd name="connsiteY254" fmla="*/ 418800 h 1333436"/>
                <a:gd name="connsiteX255" fmla="*/ 36756 w 752994"/>
                <a:gd name="connsiteY255" fmla="*/ 412487 h 1333436"/>
                <a:gd name="connsiteX256" fmla="*/ 40433 w 752994"/>
                <a:gd name="connsiteY256" fmla="*/ 406174 h 1333436"/>
                <a:gd name="connsiteX257" fmla="*/ 44720 w 752994"/>
                <a:gd name="connsiteY257" fmla="*/ 399435 h 1333436"/>
                <a:gd name="connsiteX258" fmla="*/ 44110 w 752994"/>
                <a:gd name="connsiteY258" fmla="*/ 389651 h 1333436"/>
                <a:gd name="connsiteX259" fmla="*/ 43894 w 752994"/>
                <a:gd name="connsiteY259" fmla="*/ 378437 h 1333436"/>
                <a:gd name="connsiteX260" fmla="*/ 47158 w 752994"/>
                <a:gd name="connsiteY260" fmla="*/ 371102 h 1333436"/>
                <a:gd name="connsiteX261" fmla="*/ 55731 w 752994"/>
                <a:gd name="connsiteY261" fmla="*/ 360909 h 1333436"/>
                <a:gd name="connsiteX262" fmla="*/ 57580 w 752994"/>
                <a:gd name="connsiteY262" fmla="*/ 355804 h 1333436"/>
                <a:gd name="connsiteX263" fmla="*/ 62673 w 752994"/>
                <a:gd name="connsiteY263" fmla="*/ 349695 h 1333436"/>
                <a:gd name="connsiteX264" fmla="*/ 65937 w 752994"/>
                <a:gd name="connsiteY264" fmla="*/ 348470 h 1333436"/>
                <a:gd name="connsiteX265" fmla="*/ 68395 w 752994"/>
                <a:gd name="connsiteY265" fmla="*/ 348674 h 1333436"/>
                <a:gd name="connsiteX266" fmla="*/ 70224 w 752994"/>
                <a:gd name="connsiteY266" fmla="*/ 347449 h 1333436"/>
                <a:gd name="connsiteX267" fmla="*/ 67785 w 752994"/>
                <a:gd name="connsiteY267" fmla="*/ 345203 h 1333436"/>
                <a:gd name="connsiteX268" fmla="*/ 65524 w 752994"/>
                <a:gd name="connsiteY268" fmla="*/ 343178 h 1333436"/>
                <a:gd name="connsiteX269" fmla="*/ 73095 w 752994"/>
                <a:gd name="connsiteY269" fmla="*/ 333376 h 1333436"/>
                <a:gd name="connsiteX270" fmla="*/ 73291 w 752994"/>
                <a:gd name="connsiteY270" fmla="*/ 333376 h 1333436"/>
                <a:gd name="connsiteX271" fmla="*/ 77991 w 752994"/>
                <a:gd name="connsiteY271" fmla="*/ 325838 h 1333436"/>
                <a:gd name="connsiteX272" fmla="*/ 82671 w 752994"/>
                <a:gd name="connsiteY272" fmla="*/ 313619 h 1333436"/>
                <a:gd name="connsiteX273" fmla="*/ 87980 w 752994"/>
                <a:gd name="connsiteY273" fmla="*/ 303018 h 1333436"/>
                <a:gd name="connsiteX274" fmla="*/ 92267 w 752994"/>
                <a:gd name="connsiteY274" fmla="*/ 291191 h 1333436"/>
                <a:gd name="connsiteX275" fmla="*/ 96553 w 752994"/>
                <a:gd name="connsiteY275" fmla="*/ 281202 h 1333436"/>
                <a:gd name="connsiteX276" fmla="*/ 99621 w 752994"/>
                <a:gd name="connsiteY276" fmla="*/ 274481 h 1333436"/>
                <a:gd name="connsiteX277" fmla="*/ 103082 w 752994"/>
                <a:gd name="connsiteY277" fmla="*/ 262450 h 1333436"/>
                <a:gd name="connsiteX278" fmla="*/ 107172 w 752994"/>
                <a:gd name="connsiteY278" fmla="*/ 254299 h 1333436"/>
                <a:gd name="connsiteX279" fmla="*/ 112481 w 752994"/>
                <a:gd name="connsiteY279" fmla="*/ 243697 h 1333436"/>
                <a:gd name="connsiteX280" fmla="*/ 117181 w 752994"/>
                <a:gd name="connsiteY280" fmla="*/ 232279 h 1333436"/>
                <a:gd name="connsiteX281" fmla="*/ 125951 w 752994"/>
                <a:gd name="connsiteY281" fmla="*/ 217389 h 1333436"/>
                <a:gd name="connsiteX282" fmla="*/ 136156 w 752994"/>
                <a:gd name="connsiteY282" fmla="*/ 202925 h 1333436"/>
                <a:gd name="connsiteX283" fmla="*/ 138811 w 752994"/>
                <a:gd name="connsiteY283" fmla="*/ 183339 h 1333436"/>
                <a:gd name="connsiteX284" fmla="*/ 148801 w 752994"/>
                <a:gd name="connsiteY284" fmla="*/ 167445 h 1333436"/>
                <a:gd name="connsiteX285" fmla="*/ 159616 w 752994"/>
                <a:gd name="connsiteY285" fmla="*/ 170712 h 1333436"/>
                <a:gd name="connsiteX286" fmla="*/ 173105 w 752994"/>
                <a:gd name="connsiteY286" fmla="*/ 175188 h 1333436"/>
                <a:gd name="connsiteX287" fmla="*/ 175347 w 752994"/>
                <a:gd name="connsiteY287" fmla="*/ 175188 h 1333436"/>
                <a:gd name="connsiteX288" fmla="*/ 175347 w 752994"/>
                <a:gd name="connsiteY288" fmla="*/ 173758 h 1333436"/>
                <a:gd name="connsiteX289" fmla="*/ 184975 w 752994"/>
                <a:gd name="connsiteY289" fmla="*/ 187393 h 1333436"/>
                <a:gd name="connsiteX290" fmla="*/ 184762 w 752994"/>
                <a:gd name="connsiteY290" fmla="*/ 184637 h 1333436"/>
                <a:gd name="connsiteX291" fmla="*/ 174971 w 752994"/>
                <a:gd name="connsiteY291" fmla="*/ 170774 h 1333436"/>
                <a:gd name="connsiteX292" fmla="*/ 174971 w 752994"/>
                <a:gd name="connsiteY292" fmla="*/ 169550 h 1333436"/>
                <a:gd name="connsiteX293" fmla="*/ 158851 w 752994"/>
                <a:gd name="connsiteY293" fmla="*/ 156924 h 1333436"/>
                <a:gd name="connsiteX294" fmla="*/ 147025 w 752994"/>
                <a:gd name="connsiteY294" fmla="*/ 145709 h 1333436"/>
                <a:gd name="connsiteX295" fmla="*/ 154364 w 752994"/>
                <a:gd name="connsiteY295" fmla="*/ 136335 h 1333436"/>
                <a:gd name="connsiteX296" fmla="*/ 161511 w 752994"/>
                <a:gd name="connsiteY296" fmla="*/ 131042 h 1333436"/>
                <a:gd name="connsiteX297" fmla="*/ 160902 w 752994"/>
                <a:gd name="connsiteY297" fmla="*/ 128384 h 1333436"/>
                <a:gd name="connsiteX298" fmla="*/ 160277 w 752994"/>
                <a:gd name="connsiteY298" fmla="*/ 127778 h 1333436"/>
                <a:gd name="connsiteX299" fmla="*/ 154973 w 752994"/>
                <a:gd name="connsiteY299" fmla="*/ 122077 h 1333436"/>
                <a:gd name="connsiteX300" fmla="*/ 160277 w 752994"/>
                <a:gd name="connsiteY300" fmla="*/ 115140 h 1333436"/>
                <a:gd name="connsiteX301" fmla="*/ 165181 w 752994"/>
                <a:gd name="connsiteY301" fmla="*/ 108215 h 1333436"/>
                <a:gd name="connsiteX302" fmla="*/ 161303 w 752994"/>
                <a:gd name="connsiteY302" fmla="*/ 104146 h 1333436"/>
                <a:gd name="connsiteX303" fmla="*/ 157842 w 752994"/>
                <a:gd name="connsiteY303" fmla="*/ 104542 h 1333436"/>
                <a:gd name="connsiteX304" fmla="*/ 157024 w 752994"/>
                <a:gd name="connsiteY304" fmla="*/ 102304 h 1333436"/>
                <a:gd name="connsiteX305" fmla="*/ 160694 w 752994"/>
                <a:gd name="connsiteY305" fmla="*/ 55437 h 1333436"/>
                <a:gd name="connsiteX306" fmla="*/ 160486 w 752994"/>
                <a:gd name="connsiteY306" fmla="*/ 31991 h 1333436"/>
                <a:gd name="connsiteX307" fmla="*/ 164972 w 752994"/>
                <a:gd name="connsiteY307" fmla="*/ 18141 h 1333436"/>
                <a:gd name="connsiteX308" fmla="*/ 171911 w 752994"/>
                <a:gd name="connsiteY308" fmla="*/ 11204 h 1333436"/>
                <a:gd name="connsiteX309" fmla="*/ 187406 w 752994"/>
                <a:gd name="connsiteY309" fmla="*/ 21801 h 1333436"/>
                <a:gd name="connsiteX310" fmla="*/ 210866 w 752994"/>
                <a:gd name="connsiteY310" fmla="*/ 37086 h 1333436"/>
                <a:gd name="connsiteX311" fmla="*/ 219230 w 752994"/>
                <a:gd name="connsiteY311" fmla="*/ 41166 h 1333436"/>
                <a:gd name="connsiteX312" fmla="*/ 226778 w 752994"/>
                <a:gd name="connsiteY312" fmla="*/ 47486 h 1333436"/>
                <a:gd name="connsiteX313" fmla="*/ 236152 w 752994"/>
                <a:gd name="connsiteY313" fmla="*/ 52370 h 1333436"/>
                <a:gd name="connsiteX314" fmla="*/ 239629 w 752994"/>
                <a:gd name="connsiteY314" fmla="*/ 58491 h 1333436"/>
                <a:gd name="connsiteX315" fmla="*/ 239629 w 752994"/>
                <a:gd name="connsiteY315" fmla="*/ 63376 h 1333436"/>
                <a:gd name="connsiteX316" fmla="*/ 236568 w 752994"/>
                <a:gd name="connsiteY316" fmla="*/ 67457 h 1333436"/>
                <a:gd name="connsiteX317" fmla="*/ 231264 w 752994"/>
                <a:gd name="connsiteY317" fmla="*/ 69905 h 1333436"/>
                <a:gd name="connsiteX318" fmla="*/ 216778 w 752994"/>
                <a:gd name="connsiteY318" fmla="*/ 82741 h 1333436"/>
                <a:gd name="connsiteX319" fmla="*/ 214134 w 752994"/>
                <a:gd name="connsiteY319" fmla="*/ 93536 h 1333436"/>
                <a:gd name="connsiteX320" fmla="*/ 214535 w 752994"/>
                <a:gd name="connsiteY320" fmla="*/ 96801 h 1333436"/>
                <a:gd name="connsiteX321" fmla="*/ 216378 w 752994"/>
                <a:gd name="connsiteY321" fmla="*/ 96801 h 1333436"/>
                <a:gd name="connsiteX322" fmla="*/ 230046 w 752994"/>
                <a:gd name="connsiteY322" fmla="*/ 85387 h 1333436"/>
                <a:gd name="connsiteX323" fmla="*/ 243298 w 752994"/>
                <a:gd name="connsiteY323" fmla="*/ 75198 h 1333436"/>
                <a:gd name="connsiteX324" fmla="*/ 246760 w 752994"/>
                <a:gd name="connsiteY324" fmla="*/ 77646 h 1333436"/>
                <a:gd name="connsiteX325" fmla="*/ 255541 w 752994"/>
                <a:gd name="connsiteY325" fmla="*/ 63376 h 1333436"/>
                <a:gd name="connsiteX326" fmla="*/ 259611 w 752994"/>
                <a:gd name="connsiteY326" fmla="*/ 43405 h 1333436"/>
                <a:gd name="connsiteX327" fmla="*/ 256967 w 752994"/>
                <a:gd name="connsiteY327" fmla="*/ 38520 h 1333436"/>
                <a:gd name="connsiteX328" fmla="*/ 253906 w 752994"/>
                <a:gd name="connsiteY328" fmla="*/ 34242 h 1333436"/>
                <a:gd name="connsiteX329" fmla="*/ 256967 w 752994"/>
                <a:gd name="connsiteY329" fmla="*/ 30161 h 1333436"/>
                <a:gd name="connsiteX330" fmla="*/ 262063 w 752994"/>
                <a:gd name="connsiteY330" fmla="*/ 27712 h 1333436"/>
                <a:gd name="connsiteX331" fmla="*/ 264915 w 752994"/>
                <a:gd name="connsiteY331" fmla="*/ 23026 h 1333436"/>
                <a:gd name="connsiteX332" fmla="*/ 267976 w 752994"/>
                <a:gd name="connsiteY332" fmla="*/ 22618 h 1333436"/>
                <a:gd name="connsiteX333" fmla="*/ 270427 w 752994"/>
                <a:gd name="connsiteY333" fmla="*/ 20787 h 1333436"/>
                <a:gd name="connsiteX334" fmla="*/ 263088 w 752994"/>
                <a:gd name="connsiteY334" fmla="*/ 13652 h 1333436"/>
                <a:gd name="connsiteX335" fmla="*/ 255541 w 752994"/>
                <a:gd name="connsiteY335" fmla="*/ 3055 h 1333436"/>
                <a:gd name="connsiteX336" fmla="*/ 256358 w 752994"/>
                <a:gd name="connsiteY336" fmla="*/ 1224 h 1333436"/>
                <a:gd name="connsiteX337" fmla="*/ 257159 w 752994"/>
                <a:gd name="connsiteY337"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40789 w 752994"/>
                <a:gd name="connsiteY29" fmla="*/ 243536 h 1333436"/>
                <a:gd name="connsiteX30" fmla="*/ 323868 w 752994"/>
                <a:gd name="connsiteY30" fmla="*/ 241495 h 1333436"/>
                <a:gd name="connsiteX31" fmla="*/ 309783 w 752994"/>
                <a:gd name="connsiteY31" fmla="*/ 243536 h 1333436"/>
                <a:gd name="connsiteX32" fmla="*/ 280827 w 752994"/>
                <a:gd name="connsiteY32" fmla="*/ 242720 h 1333436"/>
                <a:gd name="connsiteX33" fmla="*/ 274497 w 752994"/>
                <a:gd name="connsiteY33" fmla="*/ 238441 h 1333436"/>
                <a:gd name="connsiteX34" fmla="*/ 269001 w 752994"/>
                <a:gd name="connsiteY34" fmla="*/ 240679 h 1333436"/>
                <a:gd name="connsiteX35" fmla="*/ 262880 w 752994"/>
                <a:gd name="connsiteY35" fmla="*/ 243128 h 1333436"/>
                <a:gd name="connsiteX36" fmla="*/ 260028 w 752994"/>
                <a:gd name="connsiteY36" fmla="*/ 242720 h 1333436"/>
                <a:gd name="connsiteX37" fmla="*/ 247994 w 752994"/>
                <a:gd name="connsiteY37" fmla="*/ 241693 h 1333436"/>
                <a:gd name="connsiteX38" fmla="*/ 235142 w 752994"/>
                <a:gd name="connsiteY38" fmla="*/ 229476 h 1333436"/>
                <a:gd name="connsiteX39" fmla="*/ 224742 w 752994"/>
                <a:gd name="connsiteY39" fmla="*/ 226817 h 1333436"/>
                <a:gd name="connsiteX40" fmla="*/ 216778 w 752994"/>
                <a:gd name="connsiteY40" fmla="*/ 229068 h 1333436"/>
                <a:gd name="connsiteX41" fmla="*/ 195162 w 752994"/>
                <a:gd name="connsiteY41" fmla="*/ 228857 h 1333436"/>
                <a:gd name="connsiteX42" fmla="*/ 188223 w 752994"/>
                <a:gd name="connsiteY42" fmla="*/ 223973 h 1333436"/>
                <a:gd name="connsiteX43" fmla="*/ 185163 w 752994"/>
                <a:gd name="connsiteY43" fmla="*/ 219484 h 1333436"/>
                <a:gd name="connsiteX44" fmla="*/ 184180 w 752994"/>
                <a:gd name="connsiteY44" fmla="*/ 213866 h 1333436"/>
                <a:gd name="connsiteX45" fmla="*/ 257159 w 752994"/>
                <a:gd name="connsiteY45" fmla="*/ 0 h 1333436"/>
                <a:gd name="connsiteX46" fmla="*/ 493147 w 752994"/>
                <a:gd name="connsiteY46" fmla="*/ 73157 h 1333436"/>
                <a:gd name="connsiteX47" fmla="*/ 492970 w 752994"/>
                <a:gd name="connsiteY47" fmla="*/ 73792 h 1333436"/>
                <a:gd name="connsiteX48" fmla="*/ 525816 w 752994"/>
                <a:gd name="connsiteY48" fmla="*/ 82491 h 1333436"/>
                <a:gd name="connsiteX49" fmla="*/ 520098 w 752994"/>
                <a:gd name="connsiteY49" fmla="*/ 111245 h 1333436"/>
                <a:gd name="connsiteX50" fmla="*/ 512552 w 752994"/>
                <a:gd name="connsiteY50" fmla="*/ 143854 h 1333436"/>
                <a:gd name="connsiteX51" fmla="*/ 517849 w 752994"/>
                <a:gd name="connsiteY51" fmla="*/ 157740 h 1333436"/>
                <a:gd name="connsiteX52" fmla="*/ 523160 w 752994"/>
                <a:gd name="connsiteY52" fmla="*/ 172009 h 1333436"/>
                <a:gd name="connsiteX53" fmla="*/ 521535 w 752994"/>
                <a:gd name="connsiteY53" fmla="*/ 178928 h 1333436"/>
                <a:gd name="connsiteX54" fmla="*/ 520098 w 752994"/>
                <a:gd name="connsiteY54" fmla="*/ 186279 h 1333436"/>
                <a:gd name="connsiteX55" fmla="*/ 526019 w 752994"/>
                <a:gd name="connsiteY55" fmla="*/ 193629 h 1333436"/>
                <a:gd name="connsiteX56" fmla="*/ 537251 w 752994"/>
                <a:gd name="connsiteY56" fmla="*/ 206270 h 1333436"/>
                <a:gd name="connsiteX57" fmla="*/ 542765 w 752994"/>
                <a:gd name="connsiteY57" fmla="*/ 217475 h 1333436"/>
                <a:gd name="connsiteX58" fmla="*/ 546857 w 752994"/>
                <a:gd name="connsiteY58" fmla="*/ 230930 h 1333436"/>
                <a:gd name="connsiteX59" fmla="*/ 549499 w 752994"/>
                <a:gd name="connsiteY59" fmla="*/ 235622 h 1333436"/>
                <a:gd name="connsiteX60" fmla="*/ 553388 w 752994"/>
                <a:gd name="connsiteY60" fmla="*/ 240722 h 1333436"/>
                <a:gd name="connsiteX61" fmla="*/ 557465 w 752994"/>
                <a:gd name="connsiteY61" fmla="*/ 246037 h 1333436"/>
                <a:gd name="connsiteX62" fmla="*/ 561761 w 752994"/>
                <a:gd name="connsiteY62" fmla="*/ 248671 h 1333436"/>
                <a:gd name="connsiteX63" fmla="*/ 567478 w 752994"/>
                <a:gd name="connsiteY63" fmla="*/ 247665 h 1333436"/>
                <a:gd name="connsiteX64" fmla="*/ 569931 w 752994"/>
                <a:gd name="connsiteY64" fmla="*/ 249293 h 1333436"/>
                <a:gd name="connsiteX65" fmla="*/ 570540 w 752994"/>
                <a:gd name="connsiteY65" fmla="*/ 251951 h 1333436"/>
                <a:gd name="connsiteX66" fmla="*/ 561964 w 752994"/>
                <a:gd name="connsiteY66" fmla="*/ 267656 h 1333436"/>
                <a:gd name="connsiteX67" fmla="*/ 553591 w 752994"/>
                <a:gd name="connsiteY67" fmla="*/ 289659 h 1333436"/>
                <a:gd name="connsiteX68" fmla="*/ 554810 w 752994"/>
                <a:gd name="connsiteY68" fmla="*/ 292939 h 1333436"/>
                <a:gd name="connsiteX69" fmla="*/ 556246 w 752994"/>
                <a:gd name="connsiteY69" fmla="*/ 299260 h 1333436"/>
                <a:gd name="connsiteX70" fmla="*/ 552778 w 752994"/>
                <a:gd name="connsiteY70" fmla="*/ 301917 h 1333436"/>
                <a:gd name="connsiteX71" fmla="*/ 549295 w 752994"/>
                <a:gd name="connsiteY71" fmla="*/ 306993 h 1333436"/>
                <a:gd name="connsiteX72" fmla="*/ 547061 w 752994"/>
                <a:gd name="connsiteY72" fmla="*/ 313122 h 1333436"/>
                <a:gd name="connsiteX73" fmla="*/ 544811 w 752994"/>
                <a:gd name="connsiteY73" fmla="*/ 316593 h 1333436"/>
                <a:gd name="connsiteX74" fmla="*/ 549919 w 752994"/>
                <a:gd name="connsiteY74" fmla="*/ 322698 h 1333436"/>
                <a:gd name="connsiteX75" fmla="*/ 553184 w 752994"/>
                <a:gd name="connsiteY75" fmla="*/ 325955 h 1333436"/>
                <a:gd name="connsiteX76" fmla="*/ 555840 w 752994"/>
                <a:gd name="connsiteY76" fmla="*/ 328205 h 1333436"/>
                <a:gd name="connsiteX77" fmla="*/ 574212 w 752994"/>
                <a:gd name="connsiteY77" fmla="*/ 318820 h 1333436"/>
                <a:gd name="connsiteX78" fmla="*/ 579523 w 752994"/>
                <a:gd name="connsiteY78" fmla="*/ 326577 h 1333436"/>
                <a:gd name="connsiteX79" fmla="*/ 580539 w 752994"/>
                <a:gd name="connsiteY79" fmla="*/ 334933 h 1333436"/>
                <a:gd name="connsiteX80" fmla="*/ 579726 w 752994"/>
                <a:gd name="connsiteY80" fmla="*/ 343097 h 1333436"/>
                <a:gd name="connsiteX81" fmla="*/ 581366 w 752994"/>
                <a:gd name="connsiteY81" fmla="*/ 350231 h 1333436"/>
                <a:gd name="connsiteX82" fmla="*/ 586256 w 752994"/>
                <a:gd name="connsiteY82" fmla="*/ 355930 h 1333436"/>
                <a:gd name="connsiteX83" fmla="*/ 589536 w 752994"/>
                <a:gd name="connsiteY83" fmla="*/ 362059 h 1333436"/>
                <a:gd name="connsiteX84" fmla="*/ 588099 w 752994"/>
                <a:gd name="connsiteY84" fmla="*/ 369600 h 1333436"/>
                <a:gd name="connsiteX85" fmla="*/ 586459 w 752994"/>
                <a:gd name="connsiteY85" fmla="*/ 377357 h 1333436"/>
                <a:gd name="connsiteX86" fmla="*/ 588709 w 752994"/>
                <a:gd name="connsiteY86" fmla="*/ 381835 h 1333436"/>
                <a:gd name="connsiteX87" fmla="*/ 595036 w 752994"/>
                <a:gd name="connsiteY87" fmla="*/ 382457 h 1333436"/>
                <a:gd name="connsiteX88" fmla="*/ 599331 w 752994"/>
                <a:gd name="connsiteY88" fmla="*/ 385306 h 1333436"/>
                <a:gd name="connsiteX89" fmla="*/ 601987 w 752994"/>
                <a:gd name="connsiteY89" fmla="*/ 391004 h 1333436"/>
                <a:gd name="connsiteX90" fmla="*/ 602799 w 752994"/>
                <a:gd name="connsiteY90" fmla="*/ 404076 h 1333436"/>
                <a:gd name="connsiteX91" fmla="*/ 606892 w 752994"/>
                <a:gd name="connsiteY91" fmla="*/ 415688 h 1333436"/>
                <a:gd name="connsiteX92" fmla="*/ 610563 w 752994"/>
                <a:gd name="connsiteY92" fmla="*/ 412217 h 1333436"/>
                <a:gd name="connsiteX93" fmla="*/ 617920 w 752994"/>
                <a:gd name="connsiteY93" fmla="*/ 408769 h 1333436"/>
                <a:gd name="connsiteX94" fmla="*/ 624654 w 752994"/>
                <a:gd name="connsiteY94" fmla="*/ 411211 h 1333436"/>
                <a:gd name="connsiteX95" fmla="*/ 634652 w 752994"/>
                <a:gd name="connsiteY95" fmla="*/ 410182 h 1333436"/>
                <a:gd name="connsiteX96" fmla="*/ 640573 w 752994"/>
                <a:gd name="connsiteY96" fmla="*/ 407739 h 1333436"/>
                <a:gd name="connsiteX97" fmla="*/ 646711 w 752994"/>
                <a:gd name="connsiteY97" fmla="*/ 410589 h 1333436"/>
                <a:gd name="connsiteX98" fmla="*/ 650383 w 752994"/>
                <a:gd name="connsiteY98" fmla="*/ 410589 h 1333436"/>
                <a:gd name="connsiteX99" fmla="*/ 654257 w 752994"/>
                <a:gd name="connsiteY99" fmla="*/ 411618 h 1333436"/>
                <a:gd name="connsiteX100" fmla="*/ 656913 w 752994"/>
                <a:gd name="connsiteY100" fmla="*/ 413653 h 1333436"/>
                <a:gd name="connsiteX101" fmla="*/ 660802 w 752994"/>
                <a:gd name="connsiteY101" fmla="*/ 415090 h 1333436"/>
                <a:gd name="connsiteX102" fmla="*/ 669581 w 752994"/>
                <a:gd name="connsiteY102" fmla="*/ 415904 h 1333436"/>
                <a:gd name="connsiteX103" fmla="*/ 672237 w 752994"/>
                <a:gd name="connsiteY103" fmla="*/ 415688 h 1333436"/>
                <a:gd name="connsiteX104" fmla="*/ 675705 w 752994"/>
                <a:gd name="connsiteY104" fmla="*/ 409367 h 1333436"/>
                <a:gd name="connsiteX105" fmla="*/ 679986 w 752994"/>
                <a:gd name="connsiteY105" fmla="*/ 403238 h 1333436"/>
                <a:gd name="connsiteX106" fmla="*/ 693264 w 752994"/>
                <a:gd name="connsiteY106" fmla="*/ 419567 h 1333436"/>
                <a:gd name="connsiteX107" fmla="*/ 688563 w 752994"/>
                <a:gd name="connsiteY107" fmla="*/ 448321 h 1333436"/>
                <a:gd name="connsiteX108" fmla="*/ 663949 w 752994"/>
                <a:gd name="connsiteY108" fmla="*/ 590165 h 1333436"/>
                <a:gd name="connsiteX109" fmla="*/ 666304 w 752994"/>
                <a:gd name="connsiteY109" fmla="*/ 590504 h 1333436"/>
                <a:gd name="connsiteX110" fmla="*/ 655288 w 752994"/>
                <a:gd name="connsiteY110" fmla="*/ 656178 h 1333436"/>
                <a:gd name="connsiteX111" fmla="*/ 681808 w 752994"/>
                <a:gd name="connsiteY111" fmla="*/ 662301 h 1333436"/>
                <a:gd name="connsiteX112" fmla="*/ 752994 w 752994"/>
                <a:gd name="connsiteY112" fmla="*/ 675560 h 1333436"/>
                <a:gd name="connsiteX113" fmla="*/ 714651 w 752994"/>
                <a:gd name="connsiteY113" fmla="*/ 946985 h 1333436"/>
                <a:gd name="connsiteX114" fmla="*/ 654533 w 752994"/>
                <a:gd name="connsiteY114" fmla="*/ 1333436 h 1333436"/>
                <a:gd name="connsiteX115" fmla="*/ 546831 w 752994"/>
                <a:gd name="connsiteY115" fmla="*/ 1317126 h 1333436"/>
                <a:gd name="connsiteX116" fmla="*/ 351227 w 752994"/>
                <a:gd name="connsiteY116" fmla="*/ 1194172 h 1333436"/>
                <a:gd name="connsiteX117" fmla="*/ 361011 w 752994"/>
                <a:gd name="connsiteY117" fmla="*/ 1182755 h 1333436"/>
                <a:gd name="connsiteX118" fmla="*/ 368981 w 752994"/>
                <a:gd name="connsiteY118" fmla="*/ 1182130 h 1333436"/>
                <a:gd name="connsiteX119" fmla="*/ 369571 w 752994"/>
                <a:gd name="connsiteY119" fmla="*/ 1181558 h 1333436"/>
                <a:gd name="connsiteX120" fmla="*/ 362372 w 752994"/>
                <a:gd name="connsiteY120" fmla="*/ 1182120 h 1333436"/>
                <a:gd name="connsiteX121" fmla="*/ 229464 w 752994"/>
                <a:gd name="connsiteY121" fmla="*/ 1161721 h 1333436"/>
                <a:gd name="connsiteX122" fmla="*/ 227427 w 752994"/>
                <a:gd name="connsiteY122" fmla="*/ 1157269 h 1333436"/>
                <a:gd name="connsiteX123" fmla="*/ 224967 w 752994"/>
                <a:gd name="connsiteY123" fmla="*/ 1152575 h 1333436"/>
                <a:gd name="connsiteX124" fmla="*/ 225582 w 752994"/>
                <a:gd name="connsiteY124" fmla="*/ 1144808 h 1333436"/>
                <a:gd name="connsiteX125" fmla="*/ 227215 w 752994"/>
                <a:gd name="connsiteY125" fmla="*/ 1135834 h 1333436"/>
                <a:gd name="connsiteX126" fmla="*/ 227215 w 752994"/>
                <a:gd name="connsiteY126" fmla="*/ 1134212 h 1333436"/>
                <a:gd name="connsiteX127" fmla="*/ 225179 w 752994"/>
                <a:gd name="connsiteY127" fmla="*/ 1114020 h 1333436"/>
                <a:gd name="connsiteX128" fmla="*/ 217839 w 752994"/>
                <a:gd name="connsiteY128" fmla="*/ 1100352 h 1333436"/>
                <a:gd name="connsiteX129" fmla="*/ 199661 w 752994"/>
                <a:gd name="connsiteY129" fmla="*/ 1076502 h 1333436"/>
                <a:gd name="connsiteX130" fmla="*/ 196395 w 752994"/>
                <a:gd name="connsiteY130" fmla="*/ 1071807 h 1333436"/>
                <a:gd name="connsiteX131" fmla="*/ 190880 w 752994"/>
                <a:gd name="connsiteY131" fmla="*/ 1067527 h 1333436"/>
                <a:gd name="connsiteX132" fmla="*/ 187210 w 752994"/>
                <a:gd name="connsiteY132" fmla="*/ 1068735 h 1333436"/>
                <a:gd name="connsiteX133" fmla="*/ 180062 w 752994"/>
                <a:gd name="connsiteY133" fmla="*/ 1066699 h 1333436"/>
                <a:gd name="connsiteX134" fmla="*/ 180466 w 752994"/>
                <a:gd name="connsiteY134" fmla="*/ 1053031 h 1333436"/>
                <a:gd name="connsiteX135" fmla="*/ 180062 w 752994"/>
                <a:gd name="connsiteY135" fmla="*/ 1045299 h 1333436"/>
                <a:gd name="connsiteX136" fmla="*/ 174144 w 752994"/>
                <a:gd name="connsiteY136" fmla="*/ 1044057 h 1333436"/>
                <a:gd name="connsiteX137" fmla="*/ 158426 w 752994"/>
                <a:gd name="connsiteY137" fmla="*/ 1042641 h 1333436"/>
                <a:gd name="connsiteX138" fmla="*/ 149857 w 752994"/>
                <a:gd name="connsiteY138" fmla="*/ 1035497 h 1333436"/>
                <a:gd name="connsiteX139" fmla="*/ 142497 w 752994"/>
                <a:gd name="connsiteY139" fmla="*/ 1028766 h 1333436"/>
                <a:gd name="connsiteX140" fmla="*/ 140864 w 752994"/>
                <a:gd name="connsiteY140" fmla="*/ 1020620 h 1333436"/>
                <a:gd name="connsiteX141" fmla="*/ 138212 w 752994"/>
                <a:gd name="connsiteY141" fmla="*/ 1013061 h 1333436"/>
                <a:gd name="connsiteX142" fmla="*/ 131064 w 752994"/>
                <a:gd name="connsiteY142" fmla="*/ 1007159 h 1333436"/>
                <a:gd name="connsiteX143" fmla="*/ 121264 w 752994"/>
                <a:gd name="connsiteY143" fmla="*/ 1005330 h 1333436"/>
                <a:gd name="connsiteX144" fmla="*/ 112483 w 752994"/>
                <a:gd name="connsiteY144" fmla="*/ 1001671 h 1333436"/>
                <a:gd name="connsiteX145" fmla="*/ 105950 w 752994"/>
                <a:gd name="connsiteY145" fmla="*/ 995734 h 1333436"/>
                <a:gd name="connsiteX146" fmla="*/ 97380 w 752994"/>
                <a:gd name="connsiteY146" fmla="*/ 994526 h 1333436"/>
                <a:gd name="connsiteX147" fmla="*/ 87984 w 752994"/>
                <a:gd name="connsiteY147" fmla="*/ 991040 h 1333436"/>
                <a:gd name="connsiteX148" fmla="*/ 80029 w 752994"/>
                <a:gd name="connsiteY148" fmla="*/ 985138 h 1333436"/>
                <a:gd name="connsiteX149" fmla="*/ 77166 w 752994"/>
                <a:gd name="connsiteY149" fmla="*/ 976164 h 1333436"/>
                <a:gd name="connsiteX150" fmla="*/ 79203 w 752994"/>
                <a:gd name="connsiteY150" fmla="*/ 970676 h 1333436"/>
                <a:gd name="connsiteX151" fmla="*/ 82470 w 752994"/>
                <a:gd name="connsiteY151" fmla="*/ 963117 h 1333436"/>
                <a:gd name="connsiteX152" fmla="*/ 84314 w 752994"/>
                <a:gd name="connsiteY152" fmla="*/ 954557 h 1333436"/>
                <a:gd name="connsiteX153" fmla="*/ 86351 w 752994"/>
                <a:gd name="connsiteY153" fmla="*/ 948033 h 1333436"/>
                <a:gd name="connsiteX154" fmla="*/ 86159 w 752994"/>
                <a:gd name="connsiteY154" fmla="*/ 942925 h 1333436"/>
                <a:gd name="connsiteX155" fmla="*/ 83085 w 752994"/>
                <a:gd name="connsiteY155" fmla="*/ 939853 h 1333436"/>
                <a:gd name="connsiteX156" fmla="*/ 77570 w 752994"/>
                <a:gd name="connsiteY156" fmla="*/ 937437 h 1333436"/>
                <a:gd name="connsiteX157" fmla="*/ 76763 w 752994"/>
                <a:gd name="connsiteY157" fmla="*/ 931915 h 1333436"/>
                <a:gd name="connsiteX158" fmla="*/ 78800 w 752994"/>
                <a:gd name="connsiteY158" fmla="*/ 927013 h 1333436"/>
                <a:gd name="connsiteX159" fmla="*/ 79626 w 752994"/>
                <a:gd name="connsiteY159" fmla="*/ 922526 h 1333436"/>
                <a:gd name="connsiteX160" fmla="*/ 77781 w 752994"/>
                <a:gd name="connsiteY160" fmla="*/ 919903 h 1333436"/>
                <a:gd name="connsiteX161" fmla="*/ 74303 w 752994"/>
                <a:gd name="connsiteY161" fmla="*/ 917418 h 1333436"/>
                <a:gd name="connsiteX162" fmla="*/ 71863 w 752994"/>
                <a:gd name="connsiteY162" fmla="*/ 915174 h 1333436"/>
                <a:gd name="connsiteX163" fmla="*/ 71652 w 752994"/>
                <a:gd name="connsiteY163" fmla="*/ 910894 h 1333436"/>
                <a:gd name="connsiteX164" fmla="*/ 70633 w 752994"/>
                <a:gd name="connsiteY164" fmla="*/ 906614 h 1333436"/>
                <a:gd name="connsiteX165" fmla="*/ 68385 w 752994"/>
                <a:gd name="connsiteY165" fmla="*/ 902749 h 1333436"/>
                <a:gd name="connsiteX166" fmla="*/ 61045 w 752994"/>
                <a:gd name="connsiteY166" fmla="*/ 889494 h 1333436"/>
                <a:gd name="connsiteX167" fmla="*/ 57971 w 752994"/>
                <a:gd name="connsiteY167" fmla="*/ 875619 h 1333436"/>
                <a:gd name="connsiteX168" fmla="*/ 52264 w 752994"/>
                <a:gd name="connsiteY168" fmla="*/ 862572 h 1333436"/>
                <a:gd name="connsiteX169" fmla="*/ 44309 w 752994"/>
                <a:gd name="connsiteY169" fmla="*/ 850561 h 1333436"/>
                <a:gd name="connsiteX170" fmla="*/ 45520 w 752994"/>
                <a:gd name="connsiteY170" fmla="*/ 827090 h 1333436"/>
                <a:gd name="connsiteX171" fmla="*/ 53071 w 752994"/>
                <a:gd name="connsiteY171" fmla="*/ 822396 h 1333436"/>
                <a:gd name="connsiteX172" fmla="*/ 57375 w 752994"/>
                <a:gd name="connsiteY172" fmla="*/ 816493 h 1333436"/>
                <a:gd name="connsiteX173" fmla="*/ 55319 w 752994"/>
                <a:gd name="connsiteY173" fmla="*/ 801617 h 1333436"/>
                <a:gd name="connsiteX174" fmla="*/ 48383 w 752994"/>
                <a:gd name="connsiteY174" fmla="*/ 802204 h 1333436"/>
                <a:gd name="connsiteX175" fmla="*/ 40428 w 752994"/>
                <a:gd name="connsiteY175" fmla="*/ 797924 h 1333436"/>
                <a:gd name="connsiteX176" fmla="*/ 37565 w 752994"/>
                <a:gd name="connsiteY176" fmla="*/ 790606 h 1333436"/>
                <a:gd name="connsiteX177" fmla="*/ 37565 w 752994"/>
                <a:gd name="connsiteY177" fmla="*/ 790399 h 1333436"/>
                <a:gd name="connsiteX178" fmla="*/ 35931 w 752994"/>
                <a:gd name="connsiteY178" fmla="*/ 785912 h 1333436"/>
                <a:gd name="connsiteX179" fmla="*/ 34510 w 752994"/>
                <a:gd name="connsiteY179" fmla="*/ 780597 h 1333436"/>
                <a:gd name="connsiteX180" fmla="*/ 36335 w 752994"/>
                <a:gd name="connsiteY180" fmla="*/ 774280 h 1333436"/>
                <a:gd name="connsiteX181" fmla="*/ 38180 w 752994"/>
                <a:gd name="connsiteY181" fmla="*/ 766721 h 1333436"/>
                <a:gd name="connsiteX182" fmla="*/ 37161 w 752994"/>
                <a:gd name="connsiteY182" fmla="*/ 760405 h 1333436"/>
                <a:gd name="connsiteX183" fmla="*/ 35720 w 752994"/>
                <a:gd name="connsiteY183" fmla="*/ 754710 h 1333436"/>
                <a:gd name="connsiteX184" fmla="*/ 36546 w 752994"/>
                <a:gd name="connsiteY184" fmla="*/ 748773 h 1333436"/>
                <a:gd name="connsiteX185" fmla="*/ 38372 w 752994"/>
                <a:gd name="connsiteY185" fmla="*/ 744528 h 1333436"/>
                <a:gd name="connsiteX186" fmla="*/ 41638 w 752994"/>
                <a:gd name="connsiteY186" fmla="*/ 744321 h 1333436"/>
                <a:gd name="connsiteX187" fmla="*/ 44713 w 752994"/>
                <a:gd name="connsiteY187" fmla="*/ 746357 h 1333436"/>
                <a:gd name="connsiteX188" fmla="*/ 47364 w 752994"/>
                <a:gd name="connsiteY188" fmla="*/ 753260 h 1333436"/>
                <a:gd name="connsiteX189" fmla="*/ 55742 w 752994"/>
                <a:gd name="connsiteY189" fmla="*/ 764305 h 1333436"/>
                <a:gd name="connsiteX190" fmla="*/ 56338 w 752994"/>
                <a:gd name="connsiteY190" fmla="*/ 761233 h 1333436"/>
                <a:gd name="connsiteX191" fmla="*/ 56145 w 752994"/>
                <a:gd name="connsiteY191" fmla="*/ 757368 h 1333436"/>
                <a:gd name="connsiteX192" fmla="*/ 54916 w 752994"/>
                <a:gd name="connsiteY192" fmla="*/ 748601 h 1333436"/>
                <a:gd name="connsiteX193" fmla="*/ 52879 w 752994"/>
                <a:gd name="connsiteY193" fmla="*/ 747358 h 1333436"/>
                <a:gd name="connsiteX194" fmla="*/ 51649 w 752994"/>
                <a:gd name="connsiteY194" fmla="*/ 745322 h 1333436"/>
                <a:gd name="connsiteX195" fmla="*/ 51649 w 752994"/>
                <a:gd name="connsiteY195" fmla="*/ 739212 h 1333436"/>
                <a:gd name="connsiteX196" fmla="*/ 50227 w 752994"/>
                <a:gd name="connsiteY196" fmla="*/ 734725 h 1333436"/>
                <a:gd name="connsiteX197" fmla="*/ 48786 w 752994"/>
                <a:gd name="connsiteY197" fmla="*/ 731446 h 1333436"/>
                <a:gd name="connsiteX198" fmla="*/ 54512 w 752994"/>
                <a:gd name="connsiteY198" fmla="*/ 726372 h 1333436"/>
                <a:gd name="connsiteX199" fmla="*/ 59815 w 752994"/>
                <a:gd name="connsiteY199" fmla="*/ 725130 h 1333436"/>
                <a:gd name="connsiteX200" fmla="*/ 58182 w 752994"/>
                <a:gd name="connsiteY200" fmla="*/ 722886 h 1333436"/>
                <a:gd name="connsiteX201" fmla="*/ 51861 w 752994"/>
                <a:gd name="connsiteY201" fmla="*/ 717985 h 1333436"/>
                <a:gd name="connsiteX202" fmla="*/ 46749 w 752994"/>
                <a:gd name="connsiteY202" fmla="*/ 729617 h 1333436"/>
                <a:gd name="connsiteX203" fmla="*/ 40831 w 752994"/>
                <a:gd name="connsiteY203" fmla="*/ 739212 h 1333436"/>
                <a:gd name="connsiteX204" fmla="*/ 39601 w 752994"/>
                <a:gd name="connsiteY204" fmla="*/ 738798 h 1333436"/>
                <a:gd name="connsiteX205" fmla="*/ 39409 w 752994"/>
                <a:gd name="connsiteY205" fmla="*/ 738591 h 1333436"/>
                <a:gd name="connsiteX206" fmla="*/ 37161 w 752994"/>
                <a:gd name="connsiteY206" fmla="*/ 734725 h 1333436"/>
                <a:gd name="connsiteX207" fmla="*/ 32665 w 752994"/>
                <a:gd name="connsiteY207" fmla="*/ 727788 h 1333436"/>
                <a:gd name="connsiteX208" fmla="*/ 26747 w 752994"/>
                <a:gd name="connsiteY208" fmla="*/ 719435 h 1333436"/>
                <a:gd name="connsiteX209" fmla="*/ 23884 w 752994"/>
                <a:gd name="connsiteY209" fmla="*/ 717812 h 1333436"/>
                <a:gd name="connsiteX210" fmla="*/ 24710 w 752994"/>
                <a:gd name="connsiteY210" fmla="*/ 709632 h 1333436"/>
                <a:gd name="connsiteX211" fmla="*/ 27554 w 752994"/>
                <a:gd name="connsiteY211" fmla="*/ 701694 h 1333436"/>
                <a:gd name="connsiteX212" fmla="*/ 24902 w 752994"/>
                <a:gd name="connsiteY212" fmla="*/ 696171 h 1333436"/>
                <a:gd name="connsiteX213" fmla="*/ 24095 w 752994"/>
                <a:gd name="connsiteY213" fmla="*/ 687818 h 1333436"/>
                <a:gd name="connsiteX214" fmla="*/ 22462 w 752994"/>
                <a:gd name="connsiteY214" fmla="*/ 682330 h 1333436"/>
                <a:gd name="connsiteX215" fmla="*/ 17159 w 752994"/>
                <a:gd name="connsiteY215" fmla="*/ 677636 h 1333436"/>
                <a:gd name="connsiteX216" fmla="*/ 14296 w 752994"/>
                <a:gd name="connsiteY216" fmla="*/ 671492 h 1333436"/>
                <a:gd name="connsiteX217" fmla="*/ 12451 w 752994"/>
                <a:gd name="connsiteY217" fmla="*/ 665797 h 1333436"/>
                <a:gd name="connsiteX218" fmla="*/ 5111 w 752994"/>
                <a:gd name="connsiteY218" fmla="*/ 654994 h 1333436"/>
                <a:gd name="connsiteX219" fmla="*/ 2248 w 752994"/>
                <a:gd name="connsiteY219" fmla="*/ 645605 h 1333436"/>
                <a:gd name="connsiteX220" fmla="*/ 4496 w 752994"/>
                <a:gd name="connsiteY220" fmla="*/ 640497 h 1333436"/>
                <a:gd name="connsiteX221" fmla="*/ 6744 w 752994"/>
                <a:gd name="connsiteY221" fmla="*/ 632765 h 1333436"/>
                <a:gd name="connsiteX222" fmla="*/ 6744 w 752994"/>
                <a:gd name="connsiteY222" fmla="*/ 628485 h 1333436"/>
                <a:gd name="connsiteX223" fmla="*/ 6533 w 752994"/>
                <a:gd name="connsiteY223" fmla="*/ 620305 h 1333436"/>
                <a:gd name="connsiteX224" fmla="*/ 7359 w 752994"/>
                <a:gd name="connsiteY224" fmla="*/ 611745 h 1333436"/>
                <a:gd name="connsiteX225" fmla="*/ 11836 w 752994"/>
                <a:gd name="connsiteY225" fmla="*/ 602978 h 1333436"/>
                <a:gd name="connsiteX226" fmla="*/ 15103 w 752994"/>
                <a:gd name="connsiteY226" fmla="*/ 591760 h 1333436"/>
                <a:gd name="connsiteX227" fmla="*/ 14488 w 752994"/>
                <a:gd name="connsiteY227" fmla="*/ 584029 h 1333436"/>
                <a:gd name="connsiteX228" fmla="*/ 13873 w 752994"/>
                <a:gd name="connsiteY228" fmla="*/ 578299 h 1333436"/>
                <a:gd name="connsiteX229" fmla="*/ 10626 w 752994"/>
                <a:gd name="connsiteY229" fmla="*/ 568531 h 1333436"/>
                <a:gd name="connsiteX230" fmla="*/ 3670 w 752994"/>
                <a:gd name="connsiteY230" fmla="*/ 558107 h 1333436"/>
                <a:gd name="connsiteX231" fmla="*/ 0 w 752994"/>
                <a:gd name="connsiteY231" fmla="*/ 551377 h 1333436"/>
                <a:gd name="connsiteX232" fmla="*/ 0 w 752994"/>
                <a:gd name="connsiteY232" fmla="*/ 550997 h 1333436"/>
                <a:gd name="connsiteX233" fmla="*/ 4900 w 752994"/>
                <a:gd name="connsiteY233" fmla="*/ 531220 h 1333436"/>
                <a:gd name="connsiteX234" fmla="*/ 13873 w 752994"/>
                <a:gd name="connsiteY234" fmla="*/ 520589 h 1333436"/>
                <a:gd name="connsiteX235" fmla="*/ 18369 w 752994"/>
                <a:gd name="connsiteY235" fmla="*/ 516516 h 1333436"/>
                <a:gd name="connsiteX236" fmla="*/ 18773 w 752994"/>
                <a:gd name="connsiteY236" fmla="*/ 514272 h 1333436"/>
                <a:gd name="connsiteX237" fmla="*/ 23077 w 752994"/>
                <a:gd name="connsiteY237" fmla="*/ 506127 h 1333436"/>
                <a:gd name="connsiteX238" fmla="*/ 23884 w 752994"/>
                <a:gd name="connsiteY238" fmla="*/ 502261 h 1333436"/>
                <a:gd name="connsiteX239" fmla="*/ 23692 w 752994"/>
                <a:gd name="connsiteY239" fmla="*/ 496738 h 1333436"/>
                <a:gd name="connsiteX240" fmla="*/ 30013 w 752994"/>
                <a:gd name="connsiteY240" fmla="*/ 486556 h 1333436"/>
                <a:gd name="connsiteX241" fmla="*/ 36546 w 752994"/>
                <a:gd name="connsiteY241" fmla="*/ 470230 h 1333436"/>
                <a:gd name="connsiteX242" fmla="*/ 36546 w 752994"/>
                <a:gd name="connsiteY242" fmla="*/ 462671 h 1333436"/>
                <a:gd name="connsiteX243" fmla="*/ 36335 w 752994"/>
                <a:gd name="connsiteY243" fmla="*/ 461670 h 1333436"/>
                <a:gd name="connsiteX244" fmla="*/ 35931 w 752994"/>
                <a:gd name="connsiteY244" fmla="*/ 453110 h 1333436"/>
                <a:gd name="connsiteX245" fmla="*/ 38583 w 752994"/>
                <a:gd name="connsiteY245" fmla="*/ 442514 h 1333436"/>
                <a:gd name="connsiteX246" fmla="*/ 41043 w 752994"/>
                <a:gd name="connsiteY246" fmla="*/ 436991 h 1333436"/>
                <a:gd name="connsiteX247" fmla="*/ 41650 w 752994"/>
                <a:gd name="connsiteY247" fmla="*/ 437186 h 1333436"/>
                <a:gd name="connsiteX248" fmla="*/ 41239 w 752994"/>
                <a:gd name="connsiteY248" fmla="*/ 436549 h 1333436"/>
                <a:gd name="connsiteX249" fmla="*/ 37778 w 752994"/>
                <a:gd name="connsiteY249" fmla="*/ 433894 h 1333436"/>
                <a:gd name="connsiteX250" fmla="*/ 37169 w 752994"/>
                <a:gd name="connsiteY250" fmla="*/ 432261 h 1333436"/>
                <a:gd name="connsiteX251" fmla="*/ 37365 w 752994"/>
                <a:gd name="connsiteY251" fmla="*/ 429198 h 1333436"/>
                <a:gd name="connsiteX252" fmla="*/ 36756 w 752994"/>
                <a:gd name="connsiteY252" fmla="*/ 422272 h 1333436"/>
                <a:gd name="connsiteX253" fmla="*/ 36952 w 752994"/>
                <a:gd name="connsiteY253" fmla="*/ 418800 h 1333436"/>
                <a:gd name="connsiteX254" fmla="*/ 36756 w 752994"/>
                <a:gd name="connsiteY254" fmla="*/ 412487 h 1333436"/>
                <a:gd name="connsiteX255" fmla="*/ 40433 w 752994"/>
                <a:gd name="connsiteY255" fmla="*/ 406174 h 1333436"/>
                <a:gd name="connsiteX256" fmla="*/ 44720 w 752994"/>
                <a:gd name="connsiteY256" fmla="*/ 399435 h 1333436"/>
                <a:gd name="connsiteX257" fmla="*/ 44110 w 752994"/>
                <a:gd name="connsiteY257" fmla="*/ 389651 h 1333436"/>
                <a:gd name="connsiteX258" fmla="*/ 43894 w 752994"/>
                <a:gd name="connsiteY258" fmla="*/ 378437 h 1333436"/>
                <a:gd name="connsiteX259" fmla="*/ 47158 w 752994"/>
                <a:gd name="connsiteY259" fmla="*/ 371102 h 1333436"/>
                <a:gd name="connsiteX260" fmla="*/ 55731 w 752994"/>
                <a:gd name="connsiteY260" fmla="*/ 360909 h 1333436"/>
                <a:gd name="connsiteX261" fmla="*/ 57580 w 752994"/>
                <a:gd name="connsiteY261" fmla="*/ 355804 h 1333436"/>
                <a:gd name="connsiteX262" fmla="*/ 62673 w 752994"/>
                <a:gd name="connsiteY262" fmla="*/ 349695 h 1333436"/>
                <a:gd name="connsiteX263" fmla="*/ 65937 w 752994"/>
                <a:gd name="connsiteY263" fmla="*/ 348470 h 1333436"/>
                <a:gd name="connsiteX264" fmla="*/ 68395 w 752994"/>
                <a:gd name="connsiteY264" fmla="*/ 348674 h 1333436"/>
                <a:gd name="connsiteX265" fmla="*/ 70224 w 752994"/>
                <a:gd name="connsiteY265" fmla="*/ 347449 h 1333436"/>
                <a:gd name="connsiteX266" fmla="*/ 67785 w 752994"/>
                <a:gd name="connsiteY266" fmla="*/ 345203 h 1333436"/>
                <a:gd name="connsiteX267" fmla="*/ 65524 w 752994"/>
                <a:gd name="connsiteY267" fmla="*/ 343178 h 1333436"/>
                <a:gd name="connsiteX268" fmla="*/ 73095 w 752994"/>
                <a:gd name="connsiteY268" fmla="*/ 333376 h 1333436"/>
                <a:gd name="connsiteX269" fmla="*/ 73291 w 752994"/>
                <a:gd name="connsiteY269" fmla="*/ 333376 h 1333436"/>
                <a:gd name="connsiteX270" fmla="*/ 77991 w 752994"/>
                <a:gd name="connsiteY270" fmla="*/ 325838 h 1333436"/>
                <a:gd name="connsiteX271" fmla="*/ 82671 w 752994"/>
                <a:gd name="connsiteY271" fmla="*/ 313619 h 1333436"/>
                <a:gd name="connsiteX272" fmla="*/ 87980 w 752994"/>
                <a:gd name="connsiteY272" fmla="*/ 303018 h 1333436"/>
                <a:gd name="connsiteX273" fmla="*/ 92267 w 752994"/>
                <a:gd name="connsiteY273" fmla="*/ 291191 h 1333436"/>
                <a:gd name="connsiteX274" fmla="*/ 96553 w 752994"/>
                <a:gd name="connsiteY274" fmla="*/ 281202 h 1333436"/>
                <a:gd name="connsiteX275" fmla="*/ 99621 w 752994"/>
                <a:gd name="connsiteY275" fmla="*/ 274481 h 1333436"/>
                <a:gd name="connsiteX276" fmla="*/ 103082 w 752994"/>
                <a:gd name="connsiteY276" fmla="*/ 262450 h 1333436"/>
                <a:gd name="connsiteX277" fmla="*/ 107172 w 752994"/>
                <a:gd name="connsiteY277" fmla="*/ 254299 h 1333436"/>
                <a:gd name="connsiteX278" fmla="*/ 112481 w 752994"/>
                <a:gd name="connsiteY278" fmla="*/ 243697 h 1333436"/>
                <a:gd name="connsiteX279" fmla="*/ 117181 w 752994"/>
                <a:gd name="connsiteY279" fmla="*/ 232279 h 1333436"/>
                <a:gd name="connsiteX280" fmla="*/ 125951 w 752994"/>
                <a:gd name="connsiteY280" fmla="*/ 217389 h 1333436"/>
                <a:gd name="connsiteX281" fmla="*/ 136156 w 752994"/>
                <a:gd name="connsiteY281" fmla="*/ 202925 h 1333436"/>
                <a:gd name="connsiteX282" fmla="*/ 138811 w 752994"/>
                <a:gd name="connsiteY282" fmla="*/ 183339 h 1333436"/>
                <a:gd name="connsiteX283" fmla="*/ 148801 w 752994"/>
                <a:gd name="connsiteY283" fmla="*/ 167445 h 1333436"/>
                <a:gd name="connsiteX284" fmla="*/ 159616 w 752994"/>
                <a:gd name="connsiteY284" fmla="*/ 170712 h 1333436"/>
                <a:gd name="connsiteX285" fmla="*/ 173105 w 752994"/>
                <a:gd name="connsiteY285" fmla="*/ 175188 h 1333436"/>
                <a:gd name="connsiteX286" fmla="*/ 175347 w 752994"/>
                <a:gd name="connsiteY286" fmla="*/ 175188 h 1333436"/>
                <a:gd name="connsiteX287" fmla="*/ 175347 w 752994"/>
                <a:gd name="connsiteY287" fmla="*/ 173758 h 1333436"/>
                <a:gd name="connsiteX288" fmla="*/ 184975 w 752994"/>
                <a:gd name="connsiteY288" fmla="*/ 187393 h 1333436"/>
                <a:gd name="connsiteX289" fmla="*/ 184762 w 752994"/>
                <a:gd name="connsiteY289" fmla="*/ 184637 h 1333436"/>
                <a:gd name="connsiteX290" fmla="*/ 174971 w 752994"/>
                <a:gd name="connsiteY290" fmla="*/ 170774 h 1333436"/>
                <a:gd name="connsiteX291" fmla="*/ 174971 w 752994"/>
                <a:gd name="connsiteY291" fmla="*/ 169550 h 1333436"/>
                <a:gd name="connsiteX292" fmla="*/ 158851 w 752994"/>
                <a:gd name="connsiteY292" fmla="*/ 156924 h 1333436"/>
                <a:gd name="connsiteX293" fmla="*/ 147025 w 752994"/>
                <a:gd name="connsiteY293" fmla="*/ 145709 h 1333436"/>
                <a:gd name="connsiteX294" fmla="*/ 154364 w 752994"/>
                <a:gd name="connsiteY294" fmla="*/ 136335 h 1333436"/>
                <a:gd name="connsiteX295" fmla="*/ 161511 w 752994"/>
                <a:gd name="connsiteY295" fmla="*/ 131042 h 1333436"/>
                <a:gd name="connsiteX296" fmla="*/ 160902 w 752994"/>
                <a:gd name="connsiteY296" fmla="*/ 128384 h 1333436"/>
                <a:gd name="connsiteX297" fmla="*/ 160277 w 752994"/>
                <a:gd name="connsiteY297" fmla="*/ 127778 h 1333436"/>
                <a:gd name="connsiteX298" fmla="*/ 154973 w 752994"/>
                <a:gd name="connsiteY298" fmla="*/ 122077 h 1333436"/>
                <a:gd name="connsiteX299" fmla="*/ 160277 w 752994"/>
                <a:gd name="connsiteY299" fmla="*/ 115140 h 1333436"/>
                <a:gd name="connsiteX300" fmla="*/ 165181 w 752994"/>
                <a:gd name="connsiteY300" fmla="*/ 108215 h 1333436"/>
                <a:gd name="connsiteX301" fmla="*/ 161303 w 752994"/>
                <a:gd name="connsiteY301" fmla="*/ 104146 h 1333436"/>
                <a:gd name="connsiteX302" fmla="*/ 157842 w 752994"/>
                <a:gd name="connsiteY302" fmla="*/ 104542 h 1333436"/>
                <a:gd name="connsiteX303" fmla="*/ 157024 w 752994"/>
                <a:gd name="connsiteY303" fmla="*/ 102304 h 1333436"/>
                <a:gd name="connsiteX304" fmla="*/ 160694 w 752994"/>
                <a:gd name="connsiteY304" fmla="*/ 55437 h 1333436"/>
                <a:gd name="connsiteX305" fmla="*/ 160486 w 752994"/>
                <a:gd name="connsiteY305" fmla="*/ 31991 h 1333436"/>
                <a:gd name="connsiteX306" fmla="*/ 164972 w 752994"/>
                <a:gd name="connsiteY306" fmla="*/ 18141 h 1333436"/>
                <a:gd name="connsiteX307" fmla="*/ 171911 w 752994"/>
                <a:gd name="connsiteY307" fmla="*/ 11204 h 1333436"/>
                <a:gd name="connsiteX308" fmla="*/ 187406 w 752994"/>
                <a:gd name="connsiteY308" fmla="*/ 21801 h 1333436"/>
                <a:gd name="connsiteX309" fmla="*/ 210866 w 752994"/>
                <a:gd name="connsiteY309" fmla="*/ 37086 h 1333436"/>
                <a:gd name="connsiteX310" fmla="*/ 219230 w 752994"/>
                <a:gd name="connsiteY310" fmla="*/ 41166 h 1333436"/>
                <a:gd name="connsiteX311" fmla="*/ 226778 w 752994"/>
                <a:gd name="connsiteY311" fmla="*/ 47486 h 1333436"/>
                <a:gd name="connsiteX312" fmla="*/ 236152 w 752994"/>
                <a:gd name="connsiteY312" fmla="*/ 52370 h 1333436"/>
                <a:gd name="connsiteX313" fmla="*/ 239629 w 752994"/>
                <a:gd name="connsiteY313" fmla="*/ 58491 h 1333436"/>
                <a:gd name="connsiteX314" fmla="*/ 239629 w 752994"/>
                <a:gd name="connsiteY314" fmla="*/ 63376 h 1333436"/>
                <a:gd name="connsiteX315" fmla="*/ 236568 w 752994"/>
                <a:gd name="connsiteY315" fmla="*/ 67457 h 1333436"/>
                <a:gd name="connsiteX316" fmla="*/ 231264 w 752994"/>
                <a:gd name="connsiteY316" fmla="*/ 69905 h 1333436"/>
                <a:gd name="connsiteX317" fmla="*/ 216778 w 752994"/>
                <a:gd name="connsiteY317" fmla="*/ 82741 h 1333436"/>
                <a:gd name="connsiteX318" fmla="*/ 214134 w 752994"/>
                <a:gd name="connsiteY318" fmla="*/ 93536 h 1333436"/>
                <a:gd name="connsiteX319" fmla="*/ 214535 w 752994"/>
                <a:gd name="connsiteY319" fmla="*/ 96801 h 1333436"/>
                <a:gd name="connsiteX320" fmla="*/ 216378 w 752994"/>
                <a:gd name="connsiteY320" fmla="*/ 96801 h 1333436"/>
                <a:gd name="connsiteX321" fmla="*/ 230046 w 752994"/>
                <a:gd name="connsiteY321" fmla="*/ 85387 h 1333436"/>
                <a:gd name="connsiteX322" fmla="*/ 243298 w 752994"/>
                <a:gd name="connsiteY322" fmla="*/ 75198 h 1333436"/>
                <a:gd name="connsiteX323" fmla="*/ 246760 w 752994"/>
                <a:gd name="connsiteY323" fmla="*/ 77646 h 1333436"/>
                <a:gd name="connsiteX324" fmla="*/ 255541 w 752994"/>
                <a:gd name="connsiteY324" fmla="*/ 63376 h 1333436"/>
                <a:gd name="connsiteX325" fmla="*/ 259611 w 752994"/>
                <a:gd name="connsiteY325" fmla="*/ 43405 h 1333436"/>
                <a:gd name="connsiteX326" fmla="*/ 256967 w 752994"/>
                <a:gd name="connsiteY326" fmla="*/ 38520 h 1333436"/>
                <a:gd name="connsiteX327" fmla="*/ 253906 w 752994"/>
                <a:gd name="connsiteY327" fmla="*/ 34242 h 1333436"/>
                <a:gd name="connsiteX328" fmla="*/ 256967 w 752994"/>
                <a:gd name="connsiteY328" fmla="*/ 30161 h 1333436"/>
                <a:gd name="connsiteX329" fmla="*/ 262063 w 752994"/>
                <a:gd name="connsiteY329" fmla="*/ 27712 h 1333436"/>
                <a:gd name="connsiteX330" fmla="*/ 264915 w 752994"/>
                <a:gd name="connsiteY330" fmla="*/ 23026 h 1333436"/>
                <a:gd name="connsiteX331" fmla="*/ 267976 w 752994"/>
                <a:gd name="connsiteY331" fmla="*/ 22618 h 1333436"/>
                <a:gd name="connsiteX332" fmla="*/ 270427 w 752994"/>
                <a:gd name="connsiteY332" fmla="*/ 20787 h 1333436"/>
                <a:gd name="connsiteX333" fmla="*/ 263088 w 752994"/>
                <a:gd name="connsiteY333" fmla="*/ 13652 h 1333436"/>
                <a:gd name="connsiteX334" fmla="*/ 255541 w 752994"/>
                <a:gd name="connsiteY334" fmla="*/ 3055 h 1333436"/>
                <a:gd name="connsiteX335" fmla="*/ 256358 w 752994"/>
                <a:gd name="connsiteY335" fmla="*/ 1224 h 1333436"/>
                <a:gd name="connsiteX336" fmla="*/ 257159 w 752994"/>
                <a:gd name="connsiteY336"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81896 w 752994"/>
                <a:gd name="connsiteY28" fmla="*/ 255320 h 1333436"/>
                <a:gd name="connsiteX29" fmla="*/ 340789 w 752994"/>
                <a:gd name="connsiteY29" fmla="*/ 243536 h 1333436"/>
                <a:gd name="connsiteX30" fmla="*/ 323868 w 752994"/>
                <a:gd name="connsiteY30" fmla="*/ 241495 h 1333436"/>
                <a:gd name="connsiteX31" fmla="*/ 280827 w 752994"/>
                <a:gd name="connsiteY31" fmla="*/ 242720 h 1333436"/>
                <a:gd name="connsiteX32" fmla="*/ 274497 w 752994"/>
                <a:gd name="connsiteY32" fmla="*/ 238441 h 1333436"/>
                <a:gd name="connsiteX33" fmla="*/ 269001 w 752994"/>
                <a:gd name="connsiteY33" fmla="*/ 240679 h 1333436"/>
                <a:gd name="connsiteX34" fmla="*/ 262880 w 752994"/>
                <a:gd name="connsiteY34" fmla="*/ 243128 h 1333436"/>
                <a:gd name="connsiteX35" fmla="*/ 260028 w 752994"/>
                <a:gd name="connsiteY35" fmla="*/ 242720 h 1333436"/>
                <a:gd name="connsiteX36" fmla="*/ 247994 w 752994"/>
                <a:gd name="connsiteY36" fmla="*/ 241693 h 1333436"/>
                <a:gd name="connsiteX37" fmla="*/ 235142 w 752994"/>
                <a:gd name="connsiteY37" fmla="*/ 229476 h 1333436"/>
                <a:gd name="connsiteX38" fmla="*/ 224742 w 752994"/>
                <a:gd name="connsiteY38" fmla="*/ 226817 h 1333436"/>
                <a:gd name="connsiteX39" fmla="*/ 216778 w 752994"/>
                <a:gd name="connsiteY39" fmla="*/ 229068 h 1333436"/>
                <a:gd name="connsiteX40" fmla="*/ 195162 w 752994"/>
                <a:gd name="connsiteY40" fmla="*/ 228857 h 1333436"/>
                <a:gd name="connsiteX41" fmla="*/ 188223 w 752994"/>
                <a:gd name="connsiteY41" fmla="*/ 223973 h 1333436"/>
                <a:gd name="connsiteX42" fmla="*/ 185163 w 752994"/>
                <a:gd name="connsiteY42" fmla="*/ 219484 h 1333436"/>
                <a:gd name="connsiteX43" fmla="*/ 184180 w 752994"/>
                <a:gd name="connsiteY43" fmla="*/ 213866 h 1333436"/>
                <a:gd name="connsiteX44" fmla="*/ 257159 w 752994"/>
                <a:gd name="connsiteY44" fmla="*/ 0 h 1333436"/>
                <a:gd name="connsiteX45" fmla="*/ 493147 w 752994"/>
                <a:gd name="connsiteY45" fmla="*/ 73157 h 1333436"/>
                <a:gd name="connsiteX46" fmla="*/ 492970 w 752994"/>
                <a:gd name="connsiteY46" fmla="*/ 73792 h 1333436"/>
                <a:gd name="connsiteX47" fmla="*/ 525816 w 752994"/>
                <a:gd name="connsiteY47" fmla="*/ 82491 h 1333436"/>
                <a:gd name="connsiteX48" fmla="*/ 520098 w 752994"/>
                <a:gd name="connsiteY48" fmla="*/ 111245 h 1333436"/>
                <a:gd name="connsiteX49" fmla="*/ 512552 w 752994"/>
                <a:gd name="connsiteY49" fmla="*/ 143854 h 1333436"/>
                <a:gd name="connsiteX50" fmla="*/ 517849 w 752994"/>
                <a:gd name="connsiteY50" fmla="*/ 157740 h 1333436"/>
                <a:gd name="connsiteX51" fmla="*/ 523160 w 752994"/>
                <a:gd name="connsiteY51" fmla="*/ 172009 h 1333436"/>
                <a:gd name="connsiteX52" fmla="*/ 521535 w 752994"/>
                <a:gd name="connsiteY52" fmla="*/ 178928 h 1333436"/>
                <a:gd name="connsiteX53" fmla="*/ 520098 w 752994"/>
                <a:gd name="connsiteY53" fmla="*/ 186279 h 1333436"/>
                <a:gd name="connsiteX54" fmla="*/ 526019 w 752994"/>
                <a:gd name="connsiteY54" fmla="*/ 193629 h 1333436"/>
                <a:gd name="connsiteX55" fmla="*/ 537251 w 752994"/>
                <a:gd name="connsiteY55" fmla="*/ 206270 h 1333436"/>
                <a:gd name="connsiteX56" fmla="*/ 542765 w 752994"/>
                <a:gd name="connsiteY56" fmla="*/ 217475 h 1333436"/>
                <a:gd name="connsiteX57" fmla="*/ 546857 w 752994"/>
                <a:gd name="connsiteY57" fmla="*/ 230930 h 1333436"/>
                <a:gd name="connsiteX58" fmla="*/ 549499 w 752994"/>
                <a:gd name="connsiteY58" fmla="*/ 235622 h 1333436"/>
                <a:gd name="connsiteX59" fmla="*/ 553388 w 752994"/>
                <a:gd name="connsiteY59" fmla="*/ 240722 h 1333436"/>
                <a:gd name="connsiteX60" fmla="*/ 557465 w 752994"/>
                <a:gd name="connsiteY60" fmla="*/ 246037 h 1333436"/>
                <a:gd name="connsiteX61" fmla="*/ 561761 w 752994"/>
                <a:gd name="connsiteY61" fmla="*/ 248671 h 1333436"/>
                <a:gd name="connsiteX62" fmla="*/ 567478 w 752994"/>
                <a:gd name="connsiteY62" fmla="*/ 247665 h 1333436"/>
                <a:gd name="connsiteX63" fmla="*/ 569931 w 752994"/>
                <a:gd name="connsiteY63" fmla="*/ 249293 h 1333436"/>
                <a:gd name="connsiteX64" fmla="*/ 570540 w 752994"/>
                <a:gd name="connsiteY64" fmla="*/ 251951 h 1333436"/>
                <a:gd name="connsiteX65" fmla="*/ 561964 w 752994"/>
                <a:gd name="connsiteY65" fmla="*/ 267656 h 1333436"/>
                <a:gd name="connsiteX66" fmla="*/ 553591 w 752994"/>
                <a:gd name="connsiteY66" fmla="*/ 289659 h 1333436"/>
                <a:gd name="connsiteX67" fmla="*/ 554810 w 752994"/>
                <a:gd name="connsiteY67" fmla="*/ 292939 h 1333436"/>
                <a:gd name="connsiteX68" fmla="*/ 556246 w 752994"/>
                <a:gd name="connsiteY68" fmla="*/ 299260 h 1333436"/>
                <a:gd name="connsiteX69" fmla="*/ 552778 w 752994"/>
                <a:gd name="connsiteY69" fmla="*/ 301917 h 1333436"/>
                <a:gd name="connsiteX70" fmla="*/ 549295 w 752994"/>
                <a:gd name="connsiteY70" fmla="*/ 306993 h 1333436"/>
                <a:gd name="connsiteX71" fmla="*/ 547061 w 752994"/>
                <a:gd name="connsiteY71" fmla="*/ 313122 h 1333436"/>
                <a:gd name="connsiteX72" fmla="*/ 544811 w 752994"/>
                <a:gd name="connsiteY72" fmla="*/ 316593 h 1333436"/>
                <a:gd name="connsiteX73" fmla="*/ 549919 w 752994"/>
                <a:gd name="connsiteY73" fmla="*/ 322698 h 1333436"/>
                <a:gd name="connsiteX74" fmla="*/ 553184 w 752994"/>
                <a:gd name="connsiteY74" fmla="*/ 325955 h 1333436"/>
                <a:gd name="connsiteX75" fmla="*/ 555840 w 752994"/>
                <a:gd name="connsiteY75" fmla="*/ 328205 h 1333436"/>
                <a:gd name="connsiteX76" fmla="*/ 574212 w 752994"/>
                <a:gd name="connsiteY76" fmla="*/ 318820 h 1333436"/>
                <a:gd name="connsiteX77" fmla="*/ 579523 w 752994"/>
                <a:gd name="connsiteY77" fmla="*/ 326577 h 1333436"/>
                <a:gd name="connsiteX78" fmla="*/ 580539 w 752994"/>
                <a:gd name="connsiteY78" fmla="*/ 334933 h 1333436"/>
                <a:gd name="connsiteX79" fmla="*/ 579726 w 752994"/>
                <a:gd name="connsiteY79" fmla="*/ 343097 h 1333436"/>
                <a:gd name="connsiteX80" fmla="*/ 581366 w 752994"/>
                <a:gd name="connsiteY80" fmla="*/ 350231 h 1333436"/>
                <a:gd name="connsiteX81" fmla="*/ 586256 w 752994"/>
                <a:gd name="connsiteY81" fmla="*/ 355930 h 1333436"/>
                <a:gd name="connsiteX82" fmla="*/ 589536 w 752994"/>
                <a:gd name="connsiteY82" fmla="*/ 362059 h 1333436"/>
                <a:gd name="connsiteX83" fmla="*/ 588099 w 752994"/>
                <a:gd name="connsiteY83" fmla="*/ 369600 h 1333436"/>
                <a:gd name="connsiteX84" fmla="*/ 586459 w 752994"/>
                <a:gd name="connsiteY84" fmla="*/ 377357 h 1333436"/>
                <a:gd name="connsiteX85" fmla="*/ 588709 w 752994"/>
                <a:gd name="connsiteY85" fmla="*/ 381835 h 1333436"/>
                <a:gd name="connsiteX86" fmla="*/ 595036 w 752994"/>
                <a:gd name="connsiteY86" fmla="*/ 382457 h 1333436"/>
                <a:gd name="connsiteX87" fmla="*/ 599331 w 752994"/>
                <a:gd name="connsiteY87" fmla="*/ 385306 h 1333436"/>
                <a:gd name="connsiteX88" fmla="*/ 601987 w 752994"/>
                <a:gd name="connsiteY88" fmla="*/ 391004 h 1333436"/>
                <a:gd name="connsiteX89" fmla="*/ 602799 w 752994"/>
                <a:gd name="connsiteY89" fmla="*/ 404076 h 1333436"/>
                <a:gd name="connsiteX90" fmla="*/ 606892 w 752994"/>
                <a:gd name="connsiteY90" fmla="*/ 415688 h 1333436"/>
                <a:gd name="connsiteX91" fmla="*/ 610563 w 752994"/>
                <a:gd name="connsiteY91" fmla="*/ 412217 h 1333436"/>
                <a:gd name="connsiteX92" fmla="*/ 617920 w 752994"/>
                <a:gd name="connsiteY92" fmla="*/ 408769 h 1333436"/>
                <a:gd name="connsiteX93" fmla="*/ 624654 w 752994"/>
                <a:gd name="connsiteY93" fmla="*/ 411211 h 1333436"/>
                <a:gd name="connsiteX94" fmla="*/ 634652 w 752994"/>
                <a:gd name="connsiteY94" fmla="*/ 410182 h 1333436"/>
                <a:gd name="connsiteX95" fmla="*/ 640573 w 752994"/>
                <a:gd name="connsiteY95" fmla="*/ 407739 h 1333436"/>
                <a:gd name="connsiteX96" fmla="*/ 646711 w 752994"/>
                <a:gd name="connsiteY96" fmla="*/ 410589 h 1333436"/>
                <a:gd name="connsiteX97" fmla="*/ 650383 w 752994"/>
                <a:gd name="connsiteY97" fmla="*/ 410589 h 1333436"/>
                <a:gd name="connsiteX98" fmla="*/ 654257 w 752994"/>
                <a:gd name="connsiteY98" fmla="*/ 411618 h 1333436"/>
                <a:gd name="connsiteX99" fmla="*/ 656913 w 752994"/>
                <a:gd name="connsiteY99" fmla="*/ 413653 h 1333436"/>
                <a:gd name="connsiteX100" fmla="*/ 660802 w 752994"/>
                <a:gd name="connsiteY100" fmla="*/ 415090 h 1333436"/>
                <a:gd name="connsiteX101" fmla="*/ 669581 w 752994"/>
                <a:gd name="connsiteY101" fmla="*/ 415904 h 1333436"/>
                <a:gd name="connsiteX102" fmla="*/ 672237 w 752994"/>
                <a:gd name="connsiteY102" fmla="*/ 415688 h 1333436"/>
                <a:gd name="connsiteX103" fmla="*/ 675705 w 752994"/>
                <a:gd name="connsiteY103" fmla="*/ 409367 h 1333436"/>
                <a:gd name="connsiteX104" fmla="*/ 679986 w 752994"/>
                <a:gd name="connsiteY104" fmla="*/ 403238 h 1333436"/>
                <a:gd name="connsiteX105" fmla="*/ 693264 w 752994"/>
                <a:gd name="connsiteY105" fmla="*/ 419567 h 1333436"/>
                <a:gd name="connsiteX106" fmla="*/ 688563 w 752994"/>
                <a:gd name="connsiteY106" fmla="*/ 448321 h 1333436"/>
                <a:gd name="connsiteX107" fmla="*/ 663949 w 752994"/>
                <a:gd name="connsiteY107" fmla="*/ 590165 h 1333436"/>
                <a:gd name="connsiteX108" fmla="*/ 666304 w 752994"/>
                <a:gd name="connsiteY108" fmla="*/ 590504 h 1333436"/>
                <a:gd name="connsiteX109" fmla="*/ 655288 w 752994"/>
                <a:gd name="connsiteY109" fmla="*/ 656178 h 1333436"/>
                <a:gd name="connsiteX110" fmla="*/ 681808 w 752994"/>
                <a:gd name="connsiteY110" fmla="*/ 662301 h 1333436"/>
                <a:gd name="connsiteX111" fmla="*/ 752994 w 752994"/>
                <a:gd name="connsiteY111" fmla="*/ 675560 h 1333436"/>
                <a:gd name="connsiteX112" fmla="*/ 714651 w 752994"/>
                <a:gd name="connsiteY112" fmla="*/ 946985 h 1333436"/>
                <a:gd name="connsiteX113" fmla="*/ 654533 w 752994"/>
                <a:gd name="connsiteY113" fmla="*/ 1333436 h 1333436"/>
                <a:gd name="connsiteX114" fmla="*/ 546831 w 752994"/>
                <a:gd name="connsiteY114" fmla="*/ 1317126 h 1333436"/>
                <a:gd name="connsiteX115" fmla="*/ 351227 w 752994"/>
                <a:gd name="connsiteY115" fmla="*/ 1194172 h 1333436"/>
                <a:gd name="connsiteX116" fmla="*/ 361011 w 752994"/>
                <a:gd name="connsiteY116" fmla="*/ 1182755 h 1333436"/>
                <a:gd name="connsiteX117" fmla="*/ 368981 w 752994"/>
                <a:gd name="connsiteY117" fmla="*/ 1182130 h 1333436"/>
                <a:gd name="connsiteX118" fmla="*/ 369571 w 752994"/>
                <a:gd name="connsiteY118" fmla="*/ 1181558 h 1333436"/>
                <a:gd name="connsiteX119" fmla="*/ 362372 w 752994"/>
                <a:gd name="connsiteY119" fmla="*/ 1182120 h 1333436"/>
                <a:gd name="connsiteX120" fmla="*/ 229464 w 752994"/>
                <a:gd name="connsiteY120" fmla="*/ 1161721 h 1333436"/>
                <a:gd name="connsiteX121" fmla="*/ 227427 w 752994"/>
                <a:gd name="connsiteY121" fmla="*/ 1157269 h 1333436"/>
                <a:gd name="connsiteX122" fmla="*/ 224967 w 752994"/>
                <a:gd name="connsiteY122" fmla="*/ 1152575 h 1333436"/>
                <a:gd name="connsiteX123" fmla="*/ 225582 w 752994"/>
                <a:gd name="connsiteY123" fmla="*/ 1144808 h 1333436"/>
                <a:gd name="connsiteX124" fmla="*/ 227215 w 752994"/>
                <a:gd name="connsiteY124" fmla="*/ 1135834 h 1333436"/>
                <a:gd name="connsiteX125" fmla="*/ 227215 w 752994"/>
                <a:gd name="connsiteY125" fmla="*/ 1134212 h 1333436"/>
                <a:gd name="connsiteX126" fmla="*/ 225179 w 752994"/>
                <a:gd name="connsiteY126" fmla="*/ 1114020 h 1333436"/>
                <a:gd name="connsiteX127" fmla="*/ 217839 w 752994"/>
                <a:gd name="connsiteY127" fmla="*/ 1100352 h 1333436"/>
                <a:gd name="connsiteX128" fmla="*/ 199661 w 752994"/>
                <a:gd name="connsiteY128" fmla="*/ 1076502 h 1333436"/>
                <a:gd name="connsiteX129" fmla="*/ 196395 w 752994"/>
                <a:gd name="connsiteY129" fmla="*/ 1071807 h 1333436"/>
                <a:gd name="connsiteX130" fmla="*/ 190880 w 752994"/>
                <a:gd name="connsiteY130" fmla="*/ 1067527 h 1333436"/>
                <a:gd name="connsiteX131" fmla="*/ 187210 w 752994"/>
                <a:gd name="connsiteY131" fmla="*/ 1068735 h 1333436"/>
                <a:gd name="connsiteX132" fmla="*/ 180062 w 752994"/>
                <a:gd name="connsiteY132" fmla="*/ 1066699 h 1333436"/>
                <a:gd name="connsiteX133" fmla="*/ 180466 w 752994"/>
                <a:gd name="connsiteY133" fmla="*/ 1053031 h 1333436"/>
                <a:gd name="connsiteX134" fmla="*/ 180062 w 752994"/>
                <a:gd name="connsiteY134" fmla="*/ 1045299 h 1333436"/>
                <a:gd name="connsiteX135" fmla="*/ 174144 w 752994"/>
                <a:gd name="connsiteY135" fmla="*/ 1044057 h 1333436"/>
                <a:gd name="connsiteX136" fmla="*/ 158426 w 752994"/>
                <a:gd name="connsiteY136" fmla="*/ 1042641 h 1333436"/>
                <a:gd name="connsiteX137" fmla="*/ 149857 w 752994"/>
                <a:gd name="connsiteY137" fmla="*/ 1035497 h 1333436"/>
                <a:gd name="connsiteX138" fmla="*/ 142497 w 752994"/>
                <a:gd name="connsiteY138" fmla="*/ 1028766 h 1333436"/>
                <a:gd name="connsiteX139" fmla="*/ 140864 w 752994"/>
                <a:gd name="connsiteY139" fmla="*/ 1020620 h 1333436"/>
                <a:gd name="connsiteX140" fmla="*/ 138212 w 752994"/>
                <a:gd name="connsiteY140" fmla="*/ 1013061 h 1333436"/>
                <a:gd name="connsiteX141" fmla="*/ 131064 w 752994"/>
                <a:gd name="connsiteY141" fmla="*/ 1007159 h 1333436"/>
                <a:gd name="connsiteX142" fmla="*/ 121264 w 752994"/>
                <a:gd name="connsiteY142" fmla="*/ 1005330 h 1333436"/>
                <a:gd name="connsiteX143" fmla="*/ 112483 w 752994"/>
                <a:gd name="connsiteY143" fmla="*/ 1001671 h 1333436"/>
                <a:gd name="connsiteX144" fmla="*/ 105950 w 752994"/>
                <a:gd name="connsiteY144" fmla="*/ 995734 h 1333436"/>
                <a:gd name="connsiteX145" fmla="*/ 97380 w 752994"/>
                <a:gd name="connsiteY145" fmla="*/ 994526 h 1333436"/>
                <a:gd name="connsiteX146" fmla="*/ 87984 w 752994"/>
                <a:gd name="connsiteY146" fmla="*/ 991040 h 1333436"/>
                <a:gd name="connsiteX147" fmla="*/ 80029 w 752994"/>
                <a:gd name="connsiteY147" fmla="*/ 985138 h 1333436"/>
                <a:gd name="connsiteX148" fmla="*/ 77166 w 752994"/>
                <a:gd name="connsiteY148" fmla="*/ 976164 h 1333436"/>
                <a:gd name="connsiteX149" fmla="*/ 79203 w 752994"/>
                <a:gd name="connsiteY149" fmla="*/ 970676 h 1333436"/>
                <a:gd name="connsiteX150" fmla="*/ 82470 w 752994"/>
                <a:gd name="connsiteY150" fmla="*/ 963117 h 1333436"/>
                <a:gd name="connsiteX151" fmla="*/ 84314 w 752994"/>
                <a:gd name="connsiteY151" fmla="*/ 954557 h 1333436"/>
                <a:gd name="connsiteX152" fmla="*/ 86351 w 752994"/>
                <a:gd name="connsiteY152" fmla="*/ 948033 h 1333436"/>
                <a:gd name="connsiteX153" fmla="*/ 86159 w 752994"/>
                <a:gd name="connsiteY153" fmla="*/ 942925 h 1333436"/>
                <a:gd name="connsiteX154" fmla="*/ 83085 w 752994"/>
                <a:gd name="connsiteY154" fmla="*/ 939853 h 1333436"/>
                <a:gd name="connsiteX155" fmla="*/ 77570 w 752994"/>
                <a:gd name="connsiteY155" fmla="*/ 937437 h 1333436"/>
                <a:gd name="connsiteX156" fmla="*/ 76763 w 752994"/>
                <a:gd name="connsiteY156" fmla="*/ 931915 h 1333436"/>
                <a:gd name="connsiteX157" fmla="*/ 78800 w 752994"/>
                <a:gd name="connsiteY157" fmla="*/ 927013 h 1333436"/>
                <a:gd name="connsiteX158" fmla="*/ 79626 w 752994"/>
                <a:gd name="connsiteY158" fmla="*/ 922526 h 1333436"/>
                <a:gd name="connsiteX159" fmla="*/ 77781 w 752994"/>
                <a:gd name="connsiteY159" fmla="*/ 919903 h 1333436"/>
                <a:gd name="connsiteX160" fmla="*/ 74303 w 752994"/>
                <a:gd name="connsiteY160" fmla="*/ 917418 h 1333436"/>
                <a:gd name="connsiteX161" fmla="*/ 71863 w 752994"/>
                <a:gd name="connsiteY161" fmla="*/ 915174 h 1333436"/>
                <a:gd name="connsiteX162" fmla="*/ 71652 w 752994"/>
                <a:gd name="connsiteY162" fmla="*/ 910894 h 1333436"/>
                <a:gd name="connsiteX163" fmla="*/ 70633 w 752994"/>
                <a:gd name="connsiteY163" fmla="*/ 906614 h 1333436"/>
                <a:gd name="connsiteX164" fmla="*/ 68385 w 752994"/>
                <a:gd name="connsiteY164" fmla="*/ 902749 h 1333436"/>
                <a:gd name="connsiteX165" fmla="*/ 61045 w 752994"/>
                <a:gd name="connsiteY165" fmla="*/ 889494 h 1333436"/>
                <a:gd name="connsiteX166" fmla="*/ 57971 w 752994"/>
                <a:gd name="connsiteY166" fmla="*/ 875619 h 1333436"/>
                <a:gd name="connsiteX167" fmla="*/ 52264 w 752994"/>
                <a:gd name="connsiteY167" fmla="*/ 862572 h 1333436"/>
                <a:gd name="connsiteX168" fmla="*/ 44309 w 752994"/>
                <a:gd name="connsiteY168" fmla="*/ 850561 h 1333436"/>
                <a:gd name="connsiteX169" fmla="*/ 45520 w 752994"/>
                <a:gd name="connsiteY169" fmla="*/ 827090 h 1333436"/>
                <a:gd name="connsiteX170" fmla="*/ 53071 w 752994"/>
                <a:gd name="connsiteY170" fmla="*/ 822396 h 1333436"/>
                <a:gd name="connsiteX171" fmla="*/ 57375 w 752994"/>
                <a:gd name="connsiteY171" fmla="*/ 816493 h 1333436"/>
                <a:gd name="connsiteX172" fmla="*/ 55319 w 752994"/>
                <a:gd name="connsiteY172" fmla="*/ 801617 h 1333436"/>
                <a:gd name="connsiteX173" fmla="*/ 48383 w 752994"/>
                <a:gd name="connsiteY173" fmla="*/ 802204 h 1333436"/>
                <a:gd name="connsiteX174" fmla="*/ 40428 w 752994"/>
                <a:gd name="connsiteY174" fmla="*/ 797924 h 1333436"/>
                <a:gd name="connsiteX175" fmla="*/ 37565 w 752994"/>
                <a:gd name="connsiteY175" fmla="*/ 790606 h 1333436"/>
                <a:gd name="connsiteX176" fmla="*/ 37565 w 752994"/>
                <a:gd name="connsiteY176" fmla="*/ 790399 h 1333436"/>
                <a:gd name="connsiteX177" fmla="*/ 35931 w 752994"/>
                <a:gd name="connsiteY177" fmla="*/ 785912 h 1333436"/>
                <a:gd name="connsiteX178" fmla="*/ 34510 w 752994"/>
                <a:gd name="connsiteY178" fmla="*/ 780597 h 1333436"/>
                <a:gd name="connsiteX179" fmla="*/ 36335 w 752994"/>
                <a:gd name="connsiteY179" fmla="*/ 774280 h 1333436"/>
                <a:gd name="connsiteX180" fmla="*/ 38180 w 752994"/>
                <a:gd name="connsiteY180" fmla="*/ 766721 h 1333436"/>
                <a:gd name="connsiteX181" fmla="*/ 37161 w 752994"/>
                <a:gd name="connsiteY181" fmla="*/ 760405 h 1333436"/>
                <a:gd name="connsiteX182" fmla="*/ 35720 w 752994"/>
                <a:gd name="connsiteY182" fmla="*/ 754710 h 1333436"/>
                <a:gd name="connsiteX183" fmla="*/ 36546 w 752994"/>
                <a:gd name="connsiteY183" fmla="*/ 748773 h 1333436"/>
                <a:gd name="connsiteX184" fmla="*/ 38372 w 752994"/>
                <a:gd name="connsiteY184" fmla="*/ 744528 h 1333436"/>
                <a:gd name="connsiteX185" fmla="*/ 41638 w 752994"/>
                <a:gd name="connsiteY185" fmla="*/ 744321 h 1333436"/>
                <a:gd name="connsiteX186" fmla="*/ 44713 w 752994"/>
                <a:gd name="connsiteY186" fmla="*/ 746357 h 1333436"/>
                <a:gd name="connsiteX187" fmla="*/ 47364 w 752994"/>
                <a:gd name="connsiteY187" fmla="*/ 753260 h 1333436"/>
                <a:gd name="connsiteX188" fmla="*/ 55742 w 752994"/>
                <a:gd name="connsiteY188" fmla="*/ 764305 h 1333436"/>
                <a:gd name="connsiteX189" fmla="*/ 56338 w 752994"/>
                <a:gd name="connsiteY189" fmla="*/ 761233 h 1333436"/>
                <a:gd name="connsiteX190" fmla="*/ 56145 w 752994"/>
                <a:gd name="connsiteY190" fmla="*/ 757368 h 1333436"/>
                <a:gd name="connsiteX191" fmla="*/ 54916 w 752994"/>
                <a:gd name="connsiteY191" fmla="*/ 748601 h 1333436"/>
                <a:gd name="connsiteX192" fmla="*/ 52879 w 752994"/>
                <a:gd name="connsiteY192" fmla="*/ 747358 h 1333436"/>
                <a:gd name="connsiteX193" fmla="*/ 51649 w 752994"/>
                <a:gd name="connsiteY193" fmla="*/ 745322 h 1333436"/>
                <a:gd name="connsiteX194" fmla="*/ 51649 w 752994"/>
                <a:gd name="connsiteY194" fmla="*/ 739212 h 1333436"/>
                <a:gd name="connsiteX195" fmla="*/ 50227 w 752994"/>
                <a:gd name="connsiteY195" fmla="*/ 734725 h 1333436"/>
                <a:gd name="connsiteX196" fmla="*/ 48786 w 752994"/>
                <a:gd name="connsiteY196" fmla="*/ 731446 h 1333436"/>
                <a:gd name="connsiteX197" fmla="*/ 54512 w 752994"/>
                <a:gd name="connsiteY197" fmla="*/ 726372 h 1333436"/>
                <a:gd name="connsiteX198" fmla="*/ 59815 w 752994"/>
                <a:gd name="connsiteY198" fmla="*/ 725130 h 1333436"/>
                <a:gd name="connsiteX199" fmla="*/ 58182 w 752994"/>
                <a:gd name="connsiteY199" fmla="*/ 722886 h 1333436"/>
                <a:gd name="connsiteX200" fmla="*/ 51861 w 752994"/>
                <a:gd name="connsiteY200" fmla="*/ 717985 h 1333436"/>
                <a:gd name="connsiteX201" fmla="*/ 46749 w 752994"/>
                <a:gd name="connsiteY201" fmla="*/ 729617 h 1333436"/>
                <a:gd name="connsiteX202" fmla="*/ 40831 w 752994"/>
                <a:gd name="connsiteY202" fmla="*/ 739212 h 1333436"/>
                <a:gd name="connsiteX203" fmla="*/ 39601 w 752994"/>
                <a:gd name="connsiteY203" fmla="*/ 738798 h 1333436"/>
                <a:gd name="connsiteX204" fmla="*/ 39409 w 752994"/>
                <a:gd name="connsiteY204" fmla="*/ 738591 h 1333436"/>
                <a:gd name="connsiteX205" fmla="*/ 37161 w 752994"/>
                <a:gd name="connsiteY205" fmla="*/ 734725 h 1333436"/>
                <a:gd name="connsiteX206" fmla="*/ 32665 w 752994"/>
                <a:gd name="connsiteY206" fmla="*/ 727788 h 1333436"/>
                <a:gd name="connsiteX207" fmla="*/ 26747 w 752994"/>
                <a:gd name="connsiteY207" fmla="*/ 719435 h 1333436"/>
                <a:gd name="connsiteX208" fmla="*/ 23884 w 752994"/>
                <a:gd name="connsiteY208" fmla="*/ 717812 h 1333436"/>
                <a:gd name="connsiteX209" fmla="*/ 24710 w 752994"/>
                <a:gd name="connsiteY209" fmla="*/ 709632 h 1333436"/>
                <a:gd name="connsiteX210" fmla="*/ 27554 w 752994"/>
                <a:gd name="connsiteY210" fmla="*/ 701694 h 1333436"/>
                <a:gd name="connsiteX211" fmla="*/ 24902 w 752994"/>
                <a:gd name="connsiteY211" fmla="*/ 696171 h 1333436"/>
                <a:gd name="connsiteX212" fmla="*/ 24095 w 752994"/>
                <a:gd name="connsiteY212" fmla="*/ 687818 h 1333436"/>
                <a:gd name="connsiteX213" fmla="*/ 22462 w 752994"/>
                <a:gd name="connsiteY213" fmla="*/ 682330 h 1333436"/>
                <a:gd name="connsiteX214" fmla="*/ 17159 w 752994"/>
                <a:gd name="connsiteY214" fmla="*/ 677636 h 1333436"/>
                <a:gd name="connsiteX215" fmla="*/ 14296 w 752994"/>
                <a:gd name="connsiteY215" fmla="*/ 671492 h 1333436"/>
                <a:gd name="connsiteX216" fmla="*/ 12451 w 752994"/>
                <a:gd name="connsiteY216" fmla="*/ 665797 h 1333436"/>
                <a:gd name="connsiteX217" fmla="*/ 5111 w 752994"/>
                <a:gd name="connsiteY217" fmla="*/ 654994 h 1333436"/>
                <a:gd name="connsiteX218" fmla="*/ 2248 w 752994"/>
                <a:gd name="connsiteY218" fmla="*/ 645605 h 1333436"/>
                <a:gd name="connsiteX219" fmla="*/ 4496 w 752994"/>
                <a:gd name="connsiteY219" fmla="*/ 640497 h 1333436"/>
                <a:gd name="connsiteX220" fmla="*/ 6744 w 752994"/>
                <a:gd name="connsiteY220" fmla="*/ 632765 h 1333436"/>
                <a:gd name="connsiteX221" fmla="*/ 6744 w 752994"/>
                <a:gd name="connsiteY221" fmla="*/ 628485 h 1333436"/>
                <a:gd name="connsiteX222" fmla="*/ 6533 w 752994"/>
                <a:gd name="connsiteY222" fmla="*/ 620305 h 1333436"/>
                <a:gd name="connsiteX223" fmla="*/ 7359 w 752994"/>
                <a:gd name="connsiteY223" fmla="*/ 611745 h 1333436"/>
                <a:gd name="connsiteX224" fmla="*/ 11836 w 752994"/>
                <a:gd name="connsiteY224" fmla="*/ 602978 h 1333436"/>
                <a:gd name="connsiteX225" fmla="*/ 15103 w 752994"/>
                <a:gd name="connsiteY225" fmla="*/ 591760 h 1333436"/>
                <a:gd name="connsiteX226" fmla="*/ 14488 w 752994"/>
                <a:gd name="connsiteY226" fmla="*/ 584029 h 1333436"/>
                <a:gd name="connsiteX227" fmla="*/ 13873 w 752994"/>
                <a:gd name="connsiteY227" fmla="*/ 578299 h 1333436"/>
                <a:gd name="connsiteX228" fmla="*/ 10626 w 752994"/>
                <a:gd name="connsiteY228" fmla="*/ 568531 h 1333436"/>
                <a:gd name="connsiteX229" fmla="*/ 3670 w 752994"/>
                <a:gd name="connsiteY229" fmla="*/ 558107 h 1333436"/>
                <a:gd name="connsiteX230" fmla="*/ 0 w 752994"/>
                <a:gd name="connsiteY230" fmla="*/ 551377 h 1333436"/>
                <a:gd name="connsiteX231" fmla="*/ 0 w 752994"/>
                <a:gd name="connsiteY231" fmla="*/ 550997 h 1333436"/>
                <a:gd name="connsiteX232" fmla="*/ 4900 w 752994"/>
                <a:gd name="connsiteY232" fmla="*/ 531220 h 1333436"/>
                <a:gd name="connsiteX233" fmla="*/ 13873 w 752994"/>
                <a:gd name="connsiteY233" fmla="*/ 520589 h 1333436"/>
                <a:gd name="connsiteX234" fmla="*/ 18369 w 752994"/>
                <a:gd name="connsiteY234" fmla="*/ 516516 h 1333436"/>
                <a:gd name="connsiteX235" fmla="*/ 18773 w 752994"/>
                <a:gd name="connsiteY235" fmla="*/ 514272 h 1333436"/>
                <a:gd name="connsiteX236" fmla="*/ 23077 w 752994"/>
                <a:gd name="connsiteY236" fmla="*/ 506127 h 1333436"/>
                <a:gd name="connsiteX237" fmla="*/ 23884 w 752994"/>
                <a:gd name="connsiteY237" fmla="*/ 502261 h 1333436"/>
                <a:gd name="connsiteX238" fmla="*/ 23692 w 752994"/>
                <a:gd name="connsiteY238" fmla="*/ 496738 h 1333436"/>
                <a:gd name="connsiteX239" fmla="*/ 30013 w 752994"/>
                <a:gd name="connsiteY239" fmla="*/ 486556 h 1333436"/>
                <a:gd name="connsiteX240" fmla="*/ 36546 w 752994"/>
                <a:gd name="connsiteY240" fmla="*/ 470230 h 1333436"/>
                <a:gd name="connsiteX241" fmla="*/ 36546 w 752994"/>
                <a:gd name="connsiteY241" fmla="*/ 462671 h 1333436"/>
                <a:gd name="connsiteX242" fmla="*/ 36335 w 752994"/>
                <a:gd name="connsiteY242" fmla="*/ 461670 h 1333436"/>
                <a:gd name="connsiteX243" fmla="*/ 35931 w 752994"/>
                <a:gd name="connsiteY243" fmla="*/ 453110 h 1333436"/>
                <a:gd name="connsiteX244" fmla="*/ 38583 w 752994"/>
                <a:gd name="connsiteY244" fmla="*/ 442514 h 1333436"/>
                <a:gd name="connsiteX245" fmla="*/ 41043 w 752994"/>
                <a:gd name="connsiteY245" fmla="*/ 436991 h 1333436"/>
                <a:gd name="connsiteX246" fmla="*/ 41650 w 752994"/>
                <a:gd name="connsiteY246" fmla="*/ 437186 h 1333436"/>
                <a:gd name="connsiteX247" fmla="*/ 41239 w 752994"/>
                <a:gd name="connsiteY247" fmla="*/ 436549 h 1333436"/>
                <a:gd name="connsiteX248" fmla="*/ 37778 w 752994"/>
                <a:gd name="connsiteY248" fmla="*/ 433894 h 1333436"/>
                <a:gd name="connsiteX249" fmla="*/ 37169 w 752994"/>
                <a:gd name="connsiteY249" fmla="*/ 432261 h 1333436"/>
                <a:gd name="connsiteX250" fmla="*/ 37365 w 752994"/>
                <a:gd name="connsiteY250" fmla="*/ 429198 h 1333436"/>
                <a:gd name="connsiteX251" fmla="*/ 36756 w 752994"/>
                <a:gd name="connsiteY251" fmla="*/ 422272 h 1333436"/>
                <a:gd name="connsiteX252" fmla="*/ 36952 w 752994"/>
                <a:gd name="connsiteY252" fmla="*/ 418800 h 1333436"/>
                <a:gd name="connsiteX253" fmla="*/ 36756 w 752994"/>
                <a:gd name="connsiteY253" fmla="*/ 412487 h 1333436"/>
                <a:gd name="connsiteX254" fmla="*/ 40433 w 752994"/>
                <a:gd name="connsiteY254" fmla="*/ 406174 h 1333436"/>
                <a:gd name="connsiteX255" fmla="*/ 44720 w 752994"/>
                <a:gd name="connsiteY255" fmla="*/ 399435 h 1333436"/>
                <a:gd name="connsiteX256" fmla="*/ 44110 w 752994"/>
                <a:gd name="connsiteY256" fmla="*/ 389651 h 1333436"/>
                <a:gd name="connsiteX257" fmla="*/ 43894 w 752994"/>
                <a:gd name="connsiteY257" fmla="*/ 378437 h 1333436"/>
                <a:gd name="connsiteX258" fmla="*/ 47158 w 752994"/>
                <a:gd name="connsiteY258" fmla="*/ 371102 h 1333436"/>
                <a:gd name="connsiteX259" fmla="*/ 55731 w 752994"/>
                <a:gd name="connsiteY259" fmla="*/ 360909 h 1333436"/>
                <a:gd name="connsiteX260" fmla="*/ 57580 w 752994"/>
                <a:gd name="connsiteY260" fmla="*/ 355804 h 1333436"/>
                <a:gd name="connsiteX261" fmla="*/ 62673 w 752994"/>
                <a:gd name="connsiteY261" fmla="*/ 349695 h 1333436"/>
                <a:gd name="connsiteX262" fmla="*/ 65937 w 752994"/>
                <a:gd name="connsiteY262" fmla="*/ 348470 h 1333436"/>
                <a:gd name="connsiteX263" fmla="*/ 68395 w 752994"/>
                <a:gd name="connsiteY263" fmla="*/ 348674 h 1333436"/>
                <a:gd name="connsiteX264" fmla="*/ 70224 w 752994"/>
                <a:gd name="connsiteY264" fmla="*/ 347449 h 1333436"/>
                <a:gd name="connsiteX265" fmla="*/ 67785 w 752994"/>
                <a:gd name="connsiteY265" fmla="*/ 345203 h 1333436"/>
                <a:gd name="connsiteX266" fmla="*/ 65524 w 752994"/>
                <a:gd name="connsiteY266" fmla="*/ 343178 h 1333436"/>
                <a:gd name="connsiteX267" fmla="*/ 73095 w 752994"/>
                <a:gd name="connsiteY267" fmla="*/ 333376 h 1333436"/>
                <a:gd name="connsiteX268" fmla="*/ 73291 w 752994"/>
                <a:gd name="connsiteY268" fmla="*/ 333376 h 1333436"/>
                <a:gd name="connsiteX269" fmla="*/ 77991 w 752994"/>
                <a:gd name="connsiteY269" fmla="*/ 325838 h 1333436"/>
                <a:gd name="connsiteX270" fmla="*/ 82671 w 752994"/>
                <a:gd name="connsiteY270" fmla="*/ 313619 h 1333436"/>
                <a:gd name="connsiteX271" fmla="*/ 87980 w 752994"/>
                <a:gd name="connsiteY271" fmla="*/ 303018 h 1333436"/>
                <a:gd name="connsiteX272" fmla="*/ 92267 w 752994"/>
                <a:gd name="connsiteY272" fmla="*/ 291191 h 1333436"/>
                <a:gd name="connsiteX273" fmla="*/ 96553 w 752994"/>
                <a:gd name="connsiteY273" fmla="*/ 281202 h 1333436"/>
                <a:gd name="connsiteX274" fmla="*/ 99621 w 752994"/>
                <a:gd name="connsiteY274" fmla="*/ 274481 h 1333436"/>
                <a:gd name="connsiteX275" fmla="*/ 103082 w 752994"/>
                <a:gd name="connsiteY275" fmla="*/ 262450 h 1333436"/>
                <a:gd name="connsiteX276" fmla="*/ 107172 w 752994"/>
                <a:gd name="connsiteY276" fmla="*/ 254299 h 1333436"/>
                <a:gd name="connsiteX277" fmla="*/ 112481 w 752994"/>
                <a:gd name="connsiteY277" fmla="*/ 243697 h 1333436"/>
                <a:gd name="connsiteX278" fmla="*/ 117181 w 752994"/>
                <a:gd name="connsiteY278" fmla="*/ 232279 h 1333436"/>
                <a:gd name="connsiteX279" fmla="*/ 125951 w 752994"/>
                <a:gd name="connsiteY279" fmla="*/ 217389 h 1333436"/>
                <a:gd name="connsiteX280" fmla="*/ 136156 w 752994"/>
                <a:gd name="connsiteY280" fmla="*/ 202925 h 1333436"/>
                <a:gd name="connsiteX281" fmla="*/ 138811 w 752994"/>
                <a:gd name="connsiteY281" fmla="*/ 183339 h 1333436"/>
                <a:gd name="connsiteX282" fmla="*/ 148801 w 752994"/>
                <a:gd name="connsiteY282" fmla="*/ 167445 h 1333436"/>
                <a:gd name="connsiteX283" fmla="*/ 159616 w 752994"/>
                <a:gd name="connsiteY283" fmla="*/ 170712 h 1333436"/>
                <a:gd name="connsiteX284" fmla="*/ 173105 w 752994"/>
                <a:gd name="connsiteY284" fmla="*/ 175188 h 1333436"/>
                <a:gd name="connsiteX285" fmla="*/ 175347 w 752994"/>
                <a:gd name="connsiteY285" fmla="*/ 175188 h 1333436"/>
                <a:gd name="connsiteX286" fmla="*/ 175347 w 752994"/>
                <a:gd name="connsiteY286" fmla="*/ 173758 h 1333436"/>
                <a:gd name="connsiteX287" fmla="*/ 184975 w 752994"/>
                <a:gd name="connsiteY287" fmla="*/ 187393 h 1333436"/>
                <a:gd name="connsiteX288" fmla="*/ 184762 w 752994"/>
                <a:gd name="connsiteY288" fmla="*/ 184637 h 1333436"/>
                <a:gd name="connsiteX289" fmla="*/ 174971 w 752994"/>
                <a:gd name="connsiteY289" fmla="*/ 170774 h 1333436"/>
                <a:gd name="connsiteX290" fmla="*/ 174971 w 752994"/>
                <a:gd name="connsiteY290" fmla="*/ 169550 h 1333436"/>
                <a:gd name="connsiteX291" fmla="*/ 158851 w 752994"/>
                <a:gd name="connsiteY291" fmla="*/ 156924 h 1333436"/>
                <a:gd name="connsiteX292" fmla="*/ 147025 w 752994"/>
                <a:gd name="connsiteY292" fmla="*/ 145709 h 1333436"/>
                <a:gd name="connsiteX293" fmla="*/ 154364 w 752994"/>
                <a:gd name="connsiteY293" fmla="*/ 136335 h 1333436"/>
                <a:gd name="connsiteX294" fmla="*/ 161511 w 752994"/>
                <a:gd name="connsiteY294" fmla="*/ 131042 h 1333436"/>
                <a:gd name="connsiteX295" fmla="*/ 160902 w 752994"/>
                <a:gd name="connsiteY295" fmla="*/ 128384 h 1333436"/>
                <a:gd name="connsiteX296" fmla="*/ 160277 w 752994"/>
                <a:gd name="connsiteY296" fmla="*/ 127778 h 1333436"/>
                <a:gd name="connsiteX297" fmla="*/ 154973 w 752994"/>
                <a:gd name="connsiteY297" fmla="*/ 122077 h 1333436"/>
                <a:gd name="connsiteX298" fmla="*/ 160277 w 752994"/>
                <a:gd name="connsiteY298" fmla="*/ 115140 h 1333436"/>
                <a:gd name="connsiteX299" fmla="*/ 165181 w 752994"/>
                <a:gd name="connsiteY299" fmla="*/ 108215 h 1333436"/>
                <a:gd name="connsiteX300" fmla="*/ 161303 w 752994"/>
                <a:gd name="connsiteY300" fmla="*/ 104146 h 1333436"/>
                <a:gd name="connsiteX301" fmla="*/ 157842 w 752994"/>
                <a:gd name="connsiteY301" fmla="*/ 104542 h 1333436"/>
                <a:gd name="connsiteX302" fmla="*/ 157024 w 752994"/>
                <a:gd name="connsiteY302" fmla="*/ 102304 h 1333436"/>
                <a:gd name="connsiteX303" fmla="*/ 160694 w 752994"/>
                <a:gd name="connsiteY303" fmla="*/ 55437 h 1333436"/>
                <a:gd name="connsiteX304" fmla="*/ 160486 w 752994"/>
                <a:gd name="connsiteY304" fmla="*/ 31991 h 1333436"/>
                <a:gd name="connsiteX305" fmla="*/ 164972 w 752994"/>
                <a:gd name="connsiteY305" fmla="*/ 18141 h 1333436"/>
                <a:gd name="connsiteX306" fmla="*/ 171911 w 752994"/>
                <a:gd name="connsiteY306" fmla="*/ 11204 h 1333436"/>
                <a:gd name="connsiteX307" fmla="*/ 187406 w 752994"/>
                <a:gd name="connsiteY307" fmla="*/ 21801 h 1333436"/>
                <a:gd name="connsiteX308" fmla="*/ 210866 w 752994"/>
                <a:gd name="connsiteY308" fmla="*/ 37086 h 1333436"/>
                <a:gd name="connsiteX309" fmla="*/ 219230 w 752994"/>
                <a:gd name="connsiteY309" fmla="*/ 41166 h 1333436"/>
                <a:gd name="connsiteX310" fmla="*/ 226778 w 752994"/>
                <a:gd name="connsiteY310" fmla="*/ 47486 h 1333436"/>
                <a:gd name="connsiteX311" fmla="*/ 236152 w 752994"/>
                <a:gd name="connsiteY311" fmla="*/ 52370 h 1333436"/>
                <a:gd name="connsiteX312" fmla="*/ 239629 w 752994"/>
                <a:gd name="connsiteY312" fmla="*/ 58491 h 1333436"/>
                <a:gd name="connsiteX313" fmla="*/ 239629 w 752994"/>
                <a:gd name="connsiteY313" fmla="*/ 63376 h 1333436"/>
                <a:gd name="connsiteX314" fmla="*/ 236568 w 752994"/>
                <a:gd name="connsiteY314" fmla="*/ 67457 h 1333436"/>
                <a:gd name="connsiteX315" fmla="*/ 231264 w 752994"/>
                <a:gd name="connsiteY315" fmla="*/ 69905 h 1333436"/>
                <a:gd name="connsiteX316" fmla="*/ 216778 w 752994"/>
                <a:gd name="connsiteY316" fmla="*/ 82741 h 1333436"/>
                <a:gd name="connsiteX317" fmla="*/ 214134 w 752994"/>
                <a:gd name="connsiteY317" fmla="*/ 93536 h 1333436"/>
                <a:gd name="connsiteX318" fmla="*/ 214535 w 752994"/>
                <a:gd name="connsiteY318" fmla="*/ 96801 h 1333436"/>
                <a:gd name="connsiteX319" fmla="*/ 216378 w 752994"/>
                <a:gd name="connsiteY319" fmla="*/ 96801 h 1333436"/>
                <a:gd name="connsiteX320" fmla="*/ 230046 w 752994"/>
                <a:gd name="connsiteY320" fmla="*/ 85387 h 1333436"/>
                <a:gd name="connsiteX321" fmla="*/ 243298 w 752994"/>
                <a:gd name="connsiteY321" fmla="*/ 75198 h 1333436"/>
                <a:gd name="connsiteX322" fmla="*/ 246760 w 752994"/>
                <a:gd name="connsiteY322" fmla="*/ 77646 h 1333436"/>
                <a:gd name="connsiteX323" fmla="*/ 255541 w 752994"/>
                <a:gd name="connsiteY323" fmla="*/ 63376 h 1333436"/>
                <a:gd name="connsiteX324" fmla="*/ 259611 w 752994"/>
                <a:gd name="connsiteY324" fmla="*/ 43405 h 1333436"/>
                <a:gd name="connsiteX325" fmla="*/ 256967 w 752994"/>
                <a:gd name="connsiteY325" fmla="*/ 38520 h 1333436"/>
                <a:gd name="connsiteX326" fmla="*/ 253906 w 752994"/>
                <a:gd name="connsiteY326" fmla="*/ 34242 h 1333436"/>
                <a:gd name="connsiteX327" fmla="*/ 256967 w 752994"/>
                <a:gd name="connsiteY327" fmla="*/ 30161 h 1333436"/>
                <a:gd name="connsiteX328" fmla="*/ 262063 w 752994"/>
                <a:gd name="connsiteY328" fmla="*/ 27712 h 1333436"/>
                <a:gd name="connsiteX329" fmla="*/ 264915 w 752994"/>
                <a:gd name="connsiteY329" fmla="*/ 23026 h 1333436"/>
                <a:gd name="connsiteX330" fmla="*/ 267976 w 752994"/>
                <a:gd name="connsiteY330" fmla="*/ 22618 h 1333436"/>
                <a:gd name="connsiteX331" fmla="*/ 270427 w 752994"/>
                <a:gd name="connsiteY331" fmla="*/ 20787 h 1333436"/>
                <a:gd name="connsiteX332" fmla="*/ 263088 w 752994"/>
                <a:gd name="connsiteY332" fmla="*/ 13652 h 1333436"/>
                <a:gd name="connsiteX333" fmla="*/ 255541 w 752994"/>
                <a:gd name="connsiteY333" fmla="*/ 3055 h 1333436"/>
                <a:gd name="connsiteX334" fmla="*/ 256358 w 752994"/>
                <a:gd name="connsiteY334" fmla="*/ 1224 h 1333436"/>
                <a:gd name="connsiteX335" fmla="*/ 257159 w 752994"/>
                <a:gd name="connsiteY335"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81483 w 752994"/>
                <a:gd name="connsiteY27" fmla="*/ 254912 h 1333436"/>
                <a:gd name="connsiteX28" fmla="*/ 340789 w 752994"/>
                <a:gd name="connsiteY28" fmla="*/ 243536 h 1333436"/>
                <a:gd name="connsiteX29" fmla="*/ 323868 w 752994"/>
                <a:gd name="connsiteY29" fmla="*/ 241495 h 1333436"/>
                <a:gd name="connsiteX30" fmla="*/ 280827 w 752994"/>
                <a:gd name="connsiteY30" fmla="*/ 242720 h 1333436"/>
                <a:gd name="connsiteX31" fmla="*/ 274497 w 752994"/>
                <a:gd name="connsiteY31" fmla="*/ 238441 h 1333436"/>
                <a:gd name="connsiteX32" fmla="*/ 269001 w 752994"/>
                <a:gd name="connsiteY32" fmla="*/ 240679 h 1333436"/>
                <a:gd name="connsiteX33" fmla="*/ 262880 w 752994"/>
                <a:gd name="connsiteY33" fmla="*/ 243128 h 1333436"/>
                <a:gd name="connsiteX34" fmla="*/ 260028 w 752994"/>
                <a:gd name="connsiteY34" fmla="*/ 242720 h 1333436"/>
                <a:gd name="connsiteX35" fmla="*/ 247994 w 752994"/>
                <a:gd name="connsiteY35" fmla="*/ 241693 h 1333436"/>
                <a:gd name="connsiteX36" fmla="*/ 235142 w 752994"/>
                <a:gd name="connsiteY36" fmla="*/ 229476 h 1333436"/>
                <a:gd name="connsiteX37" fmla="*/ 224742 w 752994"/>
                <a:gd name="connsiteY37" fmla="*/ 226817 h 1333436"/>
                <a:gd name="connsiteX38" fmla="*/ 216778 w 752994"/>
                <a:gd name="connsiteY38" fmla="*/ 229068 h 1333436"/>
                <a:gd name="connsiteX39" fmla="*/ 195162 w 752994"/>
                <a:gd name="connsiteY39" fmla="*/ 228857 h 1333436"/>
                <a:gd name="connsiteX40" fmla="*/ 188223 w 752994"/>
                <a:gd name="connsiteY40" fmla="*/ 223973 h 1333436"/>
                <a:gd name="connsiteX41" fmla="*/ 185163 w 752994"/>
                <a:gd name="connsiteY41" fmla="*/ 219484 h 1333436"/>
                <a:gd name="connsiteX42" fmla="*/ 184180 w 752994"/>
                <a:gd name="connsiteY42" fmla="*/ 213866 h 1333436"/>
                <a:gd name="connsiteX43" fmla="*/ 257159 w 752994"/>
                <a:gd name="connsiteY43" fmla="*/ 0 h 1333436"/>
                <a:gd name="connsiteX44" fmla="*/ 493147 w 752994"/>
                <a:gd name="connsiteY44" fmla="*/ 73157 h 1333436"/>
                <a:gd name="connsiteX45" fmla="*/ 492970 w 752994"/>
                <a:gd name="connsiteY45" fmla="*/ 73792 h 1333436"/>
                <a:gd name="connsiteX46" fmla="*/ 525816 w 752994"/>
                <a:gd name="connsiteY46" fmla="*/ 82491 h 1333436"/>
                <a:gd name="connsiteX47" fmla="*/ 520098 w 752994"/>
                <a:gd name="connsiteY47" fmla="*/ 111245 h 1333436"/>
                <a:gd name="connsiteX48" fmla="*/ 512552 w 752994"/>
                <a:gd name="connsiteY48" fmla="*/ 143854 h 1333436"/>
                <a:gd name="connsiteX49" fmla="*/ 517849 w 752994"/>
                <a:gd name="connsiteY49" fmla="*/ 157740 h 1333436"/>
                <a:gd name="connsiteX50" fmla="*/ 523160 w 752994"/>
                <a:gd name="connsiteY50" fmla="*/ 172009 h 1333436"/>
                <a:gd name="connsiteX51" fmla="*/ 521535 w 752994"/>
                <a:gd name="connsiteY51" fmla="*/ 178928 h 1333436"/>
                <a:gd name="connsiteX52" fmla="*/ 520098 w 752994"/>
                <a:gd name="connsiteY52" fmla="*/ 186279 h 1333436"/>
                <a:gd name="connsiteX53" fmla="*/ 526019 w 752994"/>
                <a:gd name="connsiteY53" fmla="*/ 193629 h 1333436"/>
                <a:gd name="connsiteX54" fmla="*/ 537251 w 752994"/>
                <a:gd name="connsiteY54" fmla="*/ 206270 h 1333436"/>
                <a:gd name="connsiteX55" fmla="*/ 542765 w 752994"/>
                <a:gd name="connsiteY55" fmla="*/ 217475 h 1333436"/>
                <a:gd name="connsiteX56" fmla="*/ 546857 w 752994"/>
                <a:gd name="connsiteY56" fmla="*/ 230930 h 1333436"/>
                <a:gd name="connsiteX57" fmla="*/ 549499 w 752994"/>
                <a:gd name="connsiteY57" fmla="*/ 235622 h 1333436"/>
                <a:gd name="connsiteX58" fmla="*/ 553388 w 752994"/>
                <a:gd name="connsiteY58" fmla="*/ 240722 h 1333436"/>
                <a:gd name="connsiteX59" fmla="*/ 557465 w 752994"/>
                <a:gd name="connsiteY59" fmla="*/ 246037 h 1333436"/>
                <a:gd name="connsiteX60" fmla="*/ 561761 w 752994"/>
                <a:gd name="connsiteY60" fmla="*/ 248671 h 1333436"/>
                <a:gd name="connsiteX61" fmla="*/ 567478 w 752994"/>
                <a:gd name="connsiteY61" fmla="*/ 247665 h 1333436"/>
                <a:gd name="connsiteX62" fmla="*/ 569931 w 752994"/>
                <a:gd name="connsiteY62" fmla="*/ 249293 h 1333436"/>
                <a:gd name="connsiteX63" fmla="*/ 570540 w 752994"/>
                <a:gd name="connsiteY63" fmla="*/ 251951 h 1333436"/>
                <a:gd name="connsiteX64" fmla="*/ 561964 w 752994"/>
                <a:gd name="connsiteY64" fmla="*/ 267656 h 1333436"/>
                <a:gd name="connsiteX65" fmla="*/ 553591 w 752994"/>
                <a:gd name="connsiteY65" fmla="*/ 289659 h 1333436"/>
                <a:gd name="connsiteX66" fmla="*/ 554810 w 752994"/>
                <a:gd name="connsiteY66" fmla="*/ 292939 h 1333436"/>
                <a:gd name="connsiteX67" fmla="*/ 556246 w 752994"/>
                <a:gd name="connsiteY67" fmla="*/ 299260 h 1333436"/>
                <a:gd name="connsiteX68" fmla="*/ 552778 w 752994"/>
                <a:gd name="connsiteY68" fmla="*/ 301917 h 1333436"/>
                <a:gd name="connsiteX69" fmla="*/ 549295 w 752994"/>
                <a:gd name="connsiteY69" fmla="*/ 306993 h 1333436"/>
                <a:gd name="connsiteX70" fmla="*/ 547061 w 752994"/>
                <a:gd name="connsiteY70" fmla="*/ 313122 h 1333436"/>
                <a:gd name="connsiteX71" fmla="*/ 544811 w 752994"/>
                <a:gd name="connsiteY71" fmla="*/ 316593 h 1333436"/>
                <a:gd name="connsiteX72" fmla="*/ 549919 w 752994"/>
                <a:gd name="connsiteY72" fmla="*/ 322698 h 1333436"/>
                <a:gd name="connsiteX73" fmla="*/ 553184 w 752994"/>
                <a:gd name="connsiteY73" fmla="*/ 325955 h 1333436"/>
                <a:gd name="connsiteX74" fmla="*/ 555840 w 752994"/>
                <a:gd name="connsiteY74" fmla="*/ 328205 h 1333436"/>
                <a:gd name="connsiteX75" fmla="*/ 574212 w 752994"/>
                <a:gd name="connsiteY75" fmla="*/ 318820 h 1333436"/>
                <a:gd name="connsiteX76" fmla="*/ 579523 w 752994"/>
                <a:gd name="connsiteY76" fmla="*/ 326577 h 1333436"/>
                <a:gd name="connsiteX77" fmla="*/ 580539 w 752994"/>
                <a:gd name="connsiteY77" fmla="*/ 334933 h 1333436"/>
                <a:gd name="connsiteX78" fmla="*/ 579726 w 752994"/>
                <a:gd name="connsiteY78" fmla="*/ 343097 h 1333436"/>
                <a:gd name="connsiteX79" fmla="*/ 581366 w 752994"/>
                <a:gd name="connsiteY79" fmla="*/ 350231 h 1333436"/>
                <a:gd name="connsiteX80" fmla="*/ 586256 w 752994"/>
                <a:gd name="connsiteY80" fmla="*/ 355930 h 1333436"/>
                <a:gd name="connsiteX81" fmla="*/ 589536 w 752994"/>
                <a:gd name="connsiteY81" fmla="*/ 362059 h 1333436"/>
                <a:gd name="connsiteX82" fmla="*/ 588099 w 752994"/>
                <a:gd name="connsiteY82" fmla="*/ 369600 h 1333436"/>
                <a:gd name="connsiteX83" fmla="*/ 586459 w 752994"/>
                <a:gd name="connsiteY83" fmla="*/ 377357 h 1333436"/>
                <a:gd name="connsiteX84" fmla="*/ 588709 w 752994"/>
                <a:gd name="connsiteY84" fmla="*/ 381835 h 1333436"/>
                <a:gd name="connsiteX85" fmla="*/ 595036 w 752994"/>
                <a:gd name="connsiteY85" fmla="*/ 382457 h 1333436"/>
                <a:gd name="connsiteX86" fmla="*/ 599331 w 752994"/>
                <a:gd name="connsiteY86" fmla="*/ 385306 h 1333436"/>
                <a:gd name="connsiteX87" fmla="*/ 601987 w 752994"/>
                <a:gd name="connsiteY87" fmla="*/ 391004 h 1333436"/>
                <a:gd name="connsiteX88" fmla="*/ 602799 w 752994"/>
                <a:gd name="connsiteY88" fmla="*/ 404076 h 1333436"/>
                <a:gd name="connsiteX89" fmla="*/ 606892 w 752994"/>
                <a:gd name="connsiteY89" fmla="*/ 415688 h 1333436"/>
                <a:gd name="connsiteX90" fmla="*/ 610563 w 752994"/>
                <a:gd name="connsiteY90" fmla="*/ 412217 h 1333436"/>
                <a:gd name="connsiteX91" fmla="*/ 617920 w 752994"/>
                <a:gd name="connsiteY91" fmla="*/ 408769 h 1333436"/>
                <a:gd name="connsiteX92" fmla="*/ 624654 w 752994"/>
                <a:gd name="connsiteY92" fmla="*/ 411211 h 1333436"/>
                <a:gd name="connsiteX93" fmla="*/ 634652 w 752994"/>
                <a:gd name="connsiteY93" fmla="*/ 410182 h 1333436"/>
                <a:gd name="connsiteX94" fmla="*/ 640573 w 752994"/>
                <a:gd name="connsiteY94" fmla="*/ 407739 h 1333436"/>
                <a:gd name="connsiteX95" fmla="*/ 646711 w 752994"/>
                <a:gd name="connsiteY95" fmla="*/ 410589 h 1333436"/>
                <a:gd name="connsiteX96" fmla="*/ 650383 w 752994"/>
                <a:gd name="connsiteY96" fmla="*/ 410589 h 1333436"/>
                <a:gd name="connsiteX97" fmla="*/ 654257 w 752994"/>
                <a:gd name="connsiteY97" fmla="*/ 411618 h 1333436"/>
                <a:gd name="connsiteX98" fmla="*/ 656913 w 752994"/>
                <a:gd name="connsiteY98" fmla="*/ 413653 h 1333436"/>
                <a:gd name="connsiteX99" fmla="*/ 660802 w 752994"/>
                <a:gd name="connsiteY99" fmla="*/ 415090 h 1333436"/>
                <a:gd name="connsiteX100" fmla="*/ 669581 w 752994"/>
                <a:gd name="connsiteY100" fmla="*/ 415904 h 1333436"/>
                <a:gd name="connsiteX101" fmla="*/ 672237 w 752994"/>
                <a:gd name="connsiteY101" fmla="*/ 415688 h 1333436"/>
                <a:gd name="connsiteX102" fmla="*/ 675705 w 752994"/>
                <a:gd name="connsiteY102" fmla="*/ 409367 h 1333436"/>
                <a:gd name="connsiteX103" fmla="*/ 679986 w 752994"/>
                <a:gd name="connsiteY103" fmla="*/ 403238 h 1333436"/>
                <a:gd name="connsiteX104" fmla="*/ 693264 w 752994"/>
                <a:gd name="connsiteY104" fmla="*/ 419567 h 1333436"/>
                <a:gd name="connsiteX105" fmla="*/ 688563 w 752994"/>
                <a:gd name="connsiteY105" fmla="*/ 448321 h 1333436"/>
                <a:gd name="connsiteX106" fmla="*/ 663949 w 752994"/>
                <a:gd name="connsiteY106" fmla="*/ 590165 h 1333436"/>
                <a:gd name="connsiteX107" fmla="*/ 666304 w 752994"/>
                <a:gd name="connsiteY107" fmla="*/ 590504 h 1333436"/>
                <a:gd name="connsiteX108" fmla="*/ 655288 w 752994"/>
                <a:gd name="connsiteY108" fmla="*/ 656178 h 1333436"/>
                <a:gd name="connsiteX109" fmla="*/ 681808 w 752994"/>
                <a:gd name="connsiteY109" fmla="*/ 662301 h 1333436"/>
                <a:gd name="connsiteX110" fmla="*/ 752994 w 752994"/>
                <a:gd name="connsiteY110" fmla="*/ 675560 h 1333436"/>
                <a:gd name="connsiteX111" fmla="*/ 714651 w 752994"/>
                <a:gd name="connsiteY111" fmla="*/ 946985 h 1333436"/>
                <a:gd name="connsiteX112" fmla="*/ 654533 w 752994"/>
                <a:gd name="connsiteY112" fmla="*/ 1333436 h 1333436"/>
                <a:gd name="connsiteX113" fmla="*/ 546831 w 752994"/>
                <a:gd name="connsiteY113" fmla="*/ 1317126 h 1333436"/>
                <a:gd name="connsiteX114" fmla="*/ 351227 w 752994"/>
                <a:gd name="connsiteY114" fmla="*/ 1194172 h 1333436"/>
                <a:gd name="connsiteX115" fmla="*/ 361011 w 752994"/>
                <a:gd name="connsiteY115" fmla="*/ 1182755 h 1333436"/>
                <a:gd name="connsiteX116" fmla="*/ 368981 w 752994"/>
                <a:gd name="connsiteY116" fmla="*/ 1182130 h 1333436"/>
                <a:gd name="connsiteX117" fmla="*/ 369571 w 752994"/>
                <a:gd name="connsiteY117" fmla="*/ 1181558 h 1333436"/>
                <a:gd name="connsiteX118" fmla="*/ 362372 w 752994"/>
                <a:gd name="connsiteY118" fmla="*/ 1182120 h 1333436"/>
                <a:gd name="connsiteX119" fmla="*/ 229464 w 752994"/>
                <a:gd name="connsiteY119" fmla="*/ 1161721 h 1333436"/>
                <a:gd name="connsiteX120" fmla="*/ 227427 w 752994"/>
                <a:gd name="connsiteY120" fmla="*/ 1157269 h 1333436"/>
                <a:gd name="connsiteX121" fmla="*/ 224967 w 752994"/>
                <a:gd name="connsiteY121" fmla="*/ 1152575 h 1333436"/>
                <a:gd name="connsiteX122" fmla="*/ 225582 w 752994"/>
                <a:gd name="connsiteY122" fmla="*/ 1144808 h 1333436"/>
                <a:gd name="connsiteX123" fmla="*/ 227215 w 752994"/>
                <a:gd name="connsiteY123" fmla="*/ 1135834 h 1333436"/>
                <a:gd name="connsiteX124" fmla="*/ 227215 w 752994"/>
                <a:gd name="connsiteY124" fmla="*/ 1134212 h 1333436"/>
                <a:gd name="connsiteX125" fmla="*/ 225179 w 752994"/>
                <a:gd name="connsiteY125" fmla="*/ 1114020 h 1333436"/>
                <a:gd name="connsiteX126" fmla="*/ 217839 w 752994"/>
                <a:gd name="connsiteY126" fmla="*/ 1100352 h 1333436"/>
                <a:gd name="connsiteX127" fmla="*/ 199661 w 752994"/>
                <a:gd name="connsiteY127" fmla="*/ 1076502 h 1333436"/>
                <a:gd name="connsiteX128" fmla="*/ 196395 w 752994"/>
                <a:gd name="connsiteY128" fmla="*/ 1071807 h 1333436"/>
                <a:gd name="connsiteX129" fmla="*/ 190880 w 752994"/>
                <a:gd name="connsiteY129" fmla="*/ 1067527 h 1333436"/>
                <a:gd name="connsiteX130" fmla="*/ 187210 w 752994"/>
                <a:gd name="connsiteY130" fmla="*/ 1068735 h 1333436"/>
                <a:gd name="connsiteX131" fmla="*/ 180062 w 752994"/>
                <a:gd name="connsiteY131" fmla="*/ 1066699 h 1333436"/>
                <a:gd name="connsiteX132" fmla="*/ 180466 w 752994"/>
                <a:gd name="connsiteY132" fmla="*/ 1053031 h 1333436"/>
                <a:gd name="connsiteX133" fmla="*/ 180062 w 752994"/>
                <a:gd name="connsiteY133" fmla="*/ 1045299 h 1333436"/>
                <a:gd name="connsiteX134" fmla="*/ 174144 w 752994"/>
                <a:gd name="connsiteY134" fmla="*/ 1044057 h 1333436"/>
                <a:gd name="connsiteX135" fmla="*/ 158426 w 752994"/>
                <a:gd name="connsiteY135" fmla="*/ 1042641 h 1333436"/>
                <a:gd name="connsiteX136" fmla="*/ 149857 w 752994"/>
                <a:gd name="connsiteY136" fmla="*/ 1035497 h 1333436"/>
                <a:gd name="connsiteX137" fmla="*/ 142497 w 752994"/>
                <a:gd name="connsiteY137" fmla="*/ 1028766 h 1333436"/>
                <a:gd name="connsiteX138" fmla="*/ 140864 w 752994"/>
                <a:gd name="connsiteY138" fmla="*/ 1020620 h 1333436"/>
                <a:gd name="connsiteX139" fmla="*/ 138212 w 752994"/>
                <a:gd name="connsiteY139" fmla="*/ 1013061 h 1333436"/>
                <a:gd name="connsiteX140" fmla="*/ 131064 w 752994"/>
                <a:gd name="connsiteY140" fmla="*/ 1007159 h 1333436"/>
                <a:gd name="connsiteX141" fmla="*/ 121264 w 752994"/>
                <a:gd name="connsiteY141" fmla="*/ 1005330 h 1333436"/>
                <a:gd name="connsiteX142" fmla="*/ 112483 w 752994"/>
                <a:gd name="connsiteY142" fmla="*/ 1001671 h 1333436"/>
                <a:gd name="connsiteX143" fmla="*/ 105950 w 752994"/>
                <a:gd name="connsiteY143" fmla="*/ 995734 h 1333436"/>
                <a:gd name="connsiteX144" fmla="*/ 97380 w 752994"/>
                <a:gd name="connsiteY144" fmla="*/ 994526 h 1333436"/>
                <a:gd name="connsiteX145" fmla="*/ 87984 w 752994"/>
                <a:gd name="connsiteY145" fmla="*/ 991040 h 1333436"/>
                <a:gd name="connsiteX146" fmla="*/ 80029 w 752994"/>
                <a:gd name="connsiteY146" fmla="*/ 985138 h 1333436"/>
                <a:gd name="connsiteX147" fmla="*/ 77166 w 752994"/>
                <a:gd name="connsiteY147" fmla="*/ 976164 h 1333436"/>
                <a:gd name="connsiteX148" fmla="*/ 79203 w 752994"/>
                <a:gd name="connsiteY148" fmla="*/ 970676 h 1333436"/>
                <a:gd name="connsiteX149" fmla="*/ 82470 w 752994"/>
                <a:gd name="connsiteY149" fmla="*/ 963117 h 1333436"/>
                <a:gd name="connsiteX150" fmla="*/ 84314 w 752994"/>
                <a:gd name="connsiteY150" fmla="*/ 954557 h 1333436"/>
                <a:gd name="connsiteX151" fmla="*/ 86351 w 752994"/>
                <a:gd name="connsiteY151" fmla="*/ 948033 h 1333436"/>
                <a:gd name="connsiteX152" fmla="*/ 86159 w 752994"/>
                <a:gd name="connsiteY152" fmla="*/ 942925 h 1333436"/>
                <a:gd name="connsiteX153" fmla="*/ 83085 w 752994"/>
                <a:gd name="connsiteY153" fmla="*/ 939853 h 1333436"/>
                <a:gd name="connsiteX154" fmla="*/ 77570 w 752994"/>
                <a:gd name="connsiteY154" fmla="*/ 937437 h 1333436"/>
                <a:gd name="connsiteX155" fmla="*/ 76763 w 752994"/>
                <a:gd name="connsiteY155" fmla="*/ 931915 h 1333436"/>
                <a:gd name="connsiteX156" fmla="*/ 78800 w 752994"/>
                <a:gd name="connsiteY156" fmla="*/ 927013 h 1333436"/>
                <a:gd name="connsiteX157" fmla="*/ 79626 w 752994"/>
                <a:gd name="connsiteY157" fmla="*/ 922526 h 1333436"/>
                <a:gd name="connsiteX158" fmla="*/ 77781 w 752994"/>
                <a:gd name="connsiteY158" fmla="*/ 919903 h 1333436"/>
                <a:gd name="connsiteX159" fmla="*/ 74303 w 752994"/>
                <a:gd name="connsiteY159" fmla="*/ 917418 h 1333436"/>
                <a:gd name="connsiteX160" fmla="*/ 71863 w 752994"/>
                <a:gd name="connsiteY160" fmla="*/ 915174 h 1333436"/>
                <a:gd name="connsiteX161" fmla="*/ 71652 w 752994"/>
                <a:gd name="connsiteY161" fmla="*/ 910894 h 1333436"/>
                <a:gd name="connsiteX162" fmla="*/ 70633 w 752994"/>
                <a:gd name="connsiteY162" fmla="*/ 906614 h 1333436"/>
                <a:gd name="connsiteX163" fmla="*/ 68385 w 752994"/>
                <a:gd name="connsiteY163" fmla="*/ 902749 h 1333436"/>
                <a:gd name="connsiteX164" fmla="*/ 61045 w 752994"/>
                <a:gd name="connsiteY164" fmla="*/ 889494 h 1333436"/>
                <a:gd name="connsiteX165" fmla="*/ 57971 w 752994"/>
                <a:gd name="connsiteY165" fmla="*/ 875619 h 1333436"/>
                <a:gd name="connsiteX166" fmla="*/ 52264 w 752994"/>
                <a:gd name="connsiteY166" fmla="*/ 862572 h 1333436"/>
                <a:gd name="connsiteX167" fmla="*/ 44309 w 752994"/>
                <a:gd name="connsiteY167" fmla="*/ 850561 h 1333436"/>
                <a:gd name="connsiteX168" fmla="*/ 45520 w 752994"/>
                <a:gd name="connsiteY168" fmla="*/ 827090 h 1333436"/>
                <a:gd name="connsiteX169" fmla="*/ 53071 w 752994"/>
                <a:gd name="connsiteY169" fmla="*/ 822396 h 1333436"/>
                <a:gd name="connsiteX170" fmla="*/ 57375 w 752994"/>
                <a:gd name="connsiteY170" fmla="*/ 816493 h 1333436"/>
                <a:gd name="connsiteX171" fmla="*/ 55319 w 752994"/>
                <a:gd name="connsiteY171" fmla="*/ 801617 h 1333436"/>
                <a:gd name="connsiteX172" fmla="*/ 48383 w 752994"/>
                <a:gd name="connsiteY172" fmla="*/ 802204 h 1333436"/>
                <a:gd name="connsiteX173" fmla="*/ 40428 w 752994"/>
                <a:gd name="connsiteY173" fmla="*/ 797924 h 1333436"/>
                <a:gd name="connsiteX174" fmla="*/ 37565 w 752994"/>
                <a:gd name="connsiteY174" fmla="*/ 790606 h 1333436"/>
                <a:gd name="connsiteX175" fmla="*/ 37565 w 752994"/>
                <a:gd name="connsiteY175" fmla="*/ 790399 h 1333436"/>
                <a:gd name="connsiteX176" fmla="*/ 35931 w 752994"/>
                <a:gd name="connsiteY176" fmla="*/ 785912 h 1333436"/>
                <a:gd name="connsiteX177" fmla="*/ 34510 w 752994"/>
                <a:gd name="connsiteY177" fmla="*/ 780597 h 1333436"/>
                <a:gd name="connsiteX178" fmla="*/ 36335 w 752994"/>
                <a:gd name="connsiteY178" fmla="*/ 774280 h 1333436"/>
                <a:gd name="connsiteX179" fmla="*/ 38180 w 752994"/>
                <a:gd name="connsiteY179" fmla="*/ 766721 h 1333436"/>
                <a:gd name="connsiteX180" fmla="*/ 37161 w 752994"/>
                <a:gd name="connsiteY180" fmla="*/ 760405 h 1333436"/>
                <a:gd name="connsiteX181" fmla="*/ 35720 w 752994"/>
                <a:gd name="connsiteY181" fmla="*/ 754710 h 1333436"/>
                <a:gd name="connsiteX182" fmla="*/ 36546 w 752994"/>
                <a:gd name="connsiteY182" fmla="*/ 748773 h 1333436"/>
                <a:gd name="connsiteX183" fmla="*/ 38372 w 752994"/>
                <a:gd name="connsiteY183" fmla="*/ 744528 h 1333436"/>
                <a:gd name="connsiteX184" fmla="*/ 41638 w 752994"/>
                <a:gd name="connsiteY184" fmla="*/ 744321 h 1333436"/>
                <a:gd name="connsiteX185" fmla="*/ 44713 w 752994"/>
                <a:gd name="connsiteY185" fmla="*/ 746357 h 1333436"/>
                <a:gd name="connsiteX186" fmla="*/ 47364 w 752994"/>
                <a:gd name="connsiteY186" fmla="*/ 753260 h 1333436"/>
                <a:gd name="connsiteX187" fmla="*/ 55742 w 752994"/>
                <a:gd name="connsiteY187" fmla="*/ 764305 h 1333436"/>
                <a:gd name="connsiteX188" fmla="*/ 56338 w 752994"/>
                <a:gd name="connsiteY188" fmla="*/ 761233 h 1333436"/>
                <a:gd name="connsiteX189" fmla="*/ 56145 w 752994"/>
                <a:gd name="connsiteY189" fmla="*/ 757368 h 1333436"/>
                <a:gd name="connsiteX190" fmla="*/ 54916 w 752994"/>
                <a:gd name="connsiteY190" fmla="*/ 748601 h 1333436"/>
                <a:gd name="connsiteX191" fmla="*/ 52879 w 752994"/>
                <a:gd name="connsiteY191" fmla="*/ 747358 h 1333436"/>
                <a:gd name="connsiteX192" fmla="*/ 51649 w 752994"/>
                <a:gd name="connsiteY192" fmla="*/ 745322 h 1333436"/>
                <a:gd name="connsiteX193" fmla="*/ 51649 w 752994"/>
                <a:gd name="connsiteY193" fmla="*/ 739212 h 1333436"/>
                <a:gd name="connsiteX194" fmla="*/ 50227 w 752994"/>
                <a:gd name="connsiteY194" fmla="*/ 734725 h 1333436"/>
                <a:gd name="connsiteX195" fmla="*/ 48786 w 752994"/>
                <a:gd name="connsiteY195" fmla="*/ 731446 h 1333436"/>
                <a:gd name="connsiteX196" fmla="*/ 54512 w 752994"/>
                <a:gd name="connsiteY196" fmla="*/ 726372 h 1333436"/>
                <a:gd name="connsiteX197" fmla="*/ 59815 w 752994"/>
                <a:gd name="connsiteY197" fmla="*/ 725130 h 1333436"/>
                <a:gd name="connsiteX198" fmla="*/ 58182 w 752994"/>
                <a:gd name="connsiteY198" fmla="*/ 722886 h 1333436"/>
                <a:gd name="connsiteX199" fmla="*/ 51861 w 752994"/>
                <a:gd name="connsiteY199" fmla="*/ 717985 h 1333436"/>
                <a:gd name="connsiteX200" fmla="*/ 46749 w 752994"/>
                <a:gd name="connsiteY200" fmla="*/ 729617 h 1333436"/>
                <a:gd name="connsiteX201" fmla="*/ 40831 w 752994"/>
                <a:gd name="connsiteY201" fmla="*/ 739212 h 1333436"/>
                <a:gd name="connsiteX202" fmla="*/ 39601 w 752994"/>
                <a:gd name="connsiteY202" fmla="*/ 738798 h 1333436"/>
                <a:gd name="connsiteX203" fmla="*/ 39409 w 752994"/>
                <a:gd name="connsiteY203" fmla="*/ 738591 h 1333436"/>
                <a:gd name="connsiteX204" fmla="*/ 37161 w 752994"/>
                <a:gd name="connsiteY204" fmla="*/ 734725 h 1333436"/>
                <a:gd name="connsiteX205" fmla="*/ 32665 w 752994"/>
                <a:gd name="connsiteY205" fmla="*/ 727788 h 1333436"/>
                <a:gd name="connsiteX206" fmla="*/ 26747 w 752994"/>
                <a:gd name="connsiteY206" fmla="*/ 719435 h 1333436"/>
                <a:gd name="connsiteX207" fmla="*/ 23884 w 752994"/>
                <a:gd name="connsiteY207" fmla="*/ 717812 h 1333436"/>
                <a:gd name="connsiteX208" fmla="*/ 24710 w 752994"/>
                <a:gd name="connsiteY208" fmla="*/ 709632 h 1333436"/>
                <a:gd name="connsiteX209" fmla="*/ 27554 w 752994"/>
                <a:gd name="connsiteY209" fmla="*/ 701694 h 1333436"/>
                <a:gd name="connsiteX210" fmla="*/ 24902 w 752994"/>
                <a:gd name="connsiteY210" fmla="*/ 696171 h 1333436"/>
                <a:gd name="connsiteX211" fmla="*/ 24095 w 752994"/>
                <a:gd name="connsiteY211" fmla="*/ 687818 h 1333436"/>
                <a:gd name="connsiteX212" fmla="*/ 22462 w 752994"/>
                <a:gd name="connsiteY212" fmla="*/ 682330 h 1333436"/>
                <a:gd name="connsiteX213" fmla="*/ 17159 w 752994"/>
                <a:gd name="connsiteY213" fmla="*/ 677636 h 1333436"/>
                <a:gd name="connsiteX214" fmla="*/ 14296 w 752994"/>
                <a:gd name="connsiteY214" fmla="*/ 671492 h 1333436"/>
                <a:gd name="connsiteX215" fmla="*/ 12451 w 752994"/>
                <a:gd name="connsiteY215" fmla="*/ 665797 h 1333436"/>
                <a:gd name="connsiteX216" fmla="*/ 5111 w 752994"/>
                <a:gd name="connsiteY216" fmla="*/ 654994 h 1333436"/>
                <a:gd name="connsiteX217" fmla="*/ 2248 w 752994"/>
                <a:gd name="connsiteY217" fmla="*/ 645605 h 1333436"/>
                <a:gd name="connsiteX218" fmla="*/ 4496 w 752994"/>
                <a:gd name="connsiteY218" fmla="*/ 640497 h 1333436"/>
                <a:gd name="connsiteX219" fmla="*/ 6744 w 752994"/>
                <a:gd name="connsiteY219" fmla="*/ 632765 h 1333436"/>
                <a:gd name="connsiteX220" fmla="*/ 6744 w 752994"/>
                <a:gd name="connsiteY220" fmla="*/ 628485 h 1333436"/>
                <a:gd name="connsiteX221" fmla="*/ 6533 w 752994"/>
                <a:gd name="connsiteY221" fmla="*/ 620305 h 1333436"/>
                <a:gd name="connsiteX222" fmla="*/ 7359 w 752994"/>
                <a:gd name="connsiteY222" fmla="*/ 611745 h 1333436"/>
                <a:gd name="connsiteX223" fmla="*/ 11836 w 752994"/>
                <a:gd name="connsiteY223" fmla="*/ 602978 h 1333436"/>
                <a:gd name="connsiteX224" fmla="*/ 15103 w 752994"/>
                <a:gd name="connsiteY224" fmla="*/ 591760 h 1333436"/>
                <a:gd name="connsiteX225" fmla="*/ 14488 w 752994"/>
                <a:gd name="connsiteY225" fmla="*/ 584029 h 1333436"/>
                <a:gd name="connsiteX226" fmla="*/ 13873 w 752994"/>
                <a:gd name="connsiteY226" fmla="*/ 578299 h 1333436"/>
                <a:gd name="connsiteX227" fmla="*/ 10626 w 752994"/>
                <a:gd name="connsiteY227" fmla="*/ 568531 h 1333436"/>
                <a:gd name="connsiteX228" fmla="*/ 3670 w 752994"/>
                <a:gd name="connsiteY228" fmla="*/ 558107 h 1333436"/>
                <a:gd name="connsiteX229" fmla="*/ 0 w 752994"/>
                <a:gd name="connsiteY229" fmla="*/ 551377 h 1333436"/>
                <a:gd name="connsiteX230" fmla="*/ 0 w 752994"/>
                <a:gd name="connsiteY230" fmla="*/ 550997 h 1333436"/>
                <a:gd name="connsiteX231" fmla="*/ 4900 w 752994"/>
                <a:gd name="connsiteY231" fmla="*/ 531220 h 1333436"/>
                <a:gd name="connsiteX232" fmla="*/ 13873 w 752994"/>
                <a:gd name="connsiteY232" fmla="*/ 520589 h 1333436"/>
                <a:gd name="connsiteX233" fmla="*/ 18369 w 752994"/>
                <a:gd name="connsiteY233" fmla="*/ 516516 h 1333436"/>
                <a:gd name="connsiteX234" fmla="*/ 18773 w 752994"/>
                <a:gd name="connsiteY234" fmla="*/ 514272 h 1333436"/>
                <a:gd name="connsiteX235" fmla="*/ 23077 w 752994"/>
                <a:gd name="connsiteY235" fmla="*/ 506127 h 1333436"/>
                <a:gd name="connsiteX236" fmla="*/ 23884 w 752994"/>
                <a:gd name="connsiteY236" fmla="*/ 502261 h 1333436"/>
                <a:gd name="connsiteX237" fmla="*/ 23692 w 752994"/>
                <a:gd name="connsiteY237" fmla="*/ 496738 h 1333436"/>
                <a:gd name="connsiteX238" fmla="*/ 30013 w 752994"/>
                <a:gd name="connsiteY238" fmla="*/ 486556 h 1333436"/>
                <a:gd name="connsiteX239" fmla="*/ 36546 w 752994"/>
                <a:gd name="connsiteY239" fmla="*/ 470230 h 1333436"/>
                <a:gd name="connsiteX240" fmla="*/ 36546 w 752994"/>
                <a:gd name="connsiteY240" fmla="*/ 462671 h 1333436"/>
                <a:gd name="connsiteX241" fmla="*/ 36335 w 752994"/>
                <a:gd name="connsiteY241" fmla="*/ 461670 h 1333436"/>
                <a:gd name="connsiteX242" fmla="*/ 35931 w 752994"/>
                <a:gd name="connsiteY242" fmla="*/ 453110 h 1333436"/>
                <a:gd name="connsiteX243" fmla="*/ 38583 w 752994"/>
                <a:gd name="connsiteY243" fmla="*/ 442514 h 1333436"/>
                <a:gd name="connsiteX244" fmla="*/ 41043 w 752994"/>
                <a:gd name="connsiteY244" fmla="*/ 436991 h 1333436"/>
                <a:gd name="connsiteX245" fmla="*/ 41650 w 752994"/>
                <a:gd name="connsiteY245" fmla="*/ 437186 h 1333436"/>
                <a:gd name="connsiteX246" fmla="*/ 41239 w 752994"/>
                <a:gd name="connsiteY246" fmla="*/ 436549 h 1333436"/>
                <a:gd name="connsiteX247" fmla="*/ 37778 w 752994"/>
                <a:gd name="connsiteY247" fmla="*/ 433894 h 1333436"/>
                <a:gd name="connsiteX248" fmla="*/ 37169 w 752994"/>
                <a:gd name="connsiteY248" fmla="*/ 432261 h 1333436"/>
                <a:gd name="connsiteX249" fmla="*/ 37365 w 752994"/>
                <a:gd name="connsiteY249" fmla="*/ 429198 h 1333436"/>
                <a:gd name="connsiteX250" fmla="*/ 36756 w 752994"/>
                <a:gd name="connsiteY250" fmla="*/ 422272 h 1333436"/>
                <a:gd name="connsiteX251" fmla="*/ 36952 w 752994"/>
                <a:gd name="connsiteY251" fmla="*/ 418800 h 1333436"/>
                <a:gd name="connsiteX252" fmla="*/ 36756 w 752994"/>
                <a:gd name="connsiteY252" fmla="*/ 412487 h 1333436"/>
                <a:gd name="connsiteX253" fmla="*/ 40433 w 752994"/>
                <a:gd name="connsiteY253" fmla="*/ 406174 h 1333436"/>
                <a:gd name="connsiteX254" fmla="*/ 44720 w 752994"/>
                <a:gd name="connsiteY254" fmla="*/ 399435 h 1333436"/>
                <a:gd name="connsiteX255" fmla="*/ 44110 w 752994"/>
                <a:gd name="connsiteY255" fmla="*/ 389651 h 1333436"/>
                <a:gd name="connsiteX256" fmla="*/ 43894 w 752994"/>
                <a:gd name="connsiteY256" fmla="*/ 378437 h 1333436"/>
                <a:gd name="connsiteX257" fmla="*/ 47158 w 752994"/>
                <a:gd name="connsiteY257" fmla="*/ 371102 h 1333436"/>
                <a:gd name="connsiteX258" fmla="*/ 55731 w 752994"/>
                <a:gd name="connsiteY258" fmla="*/ 360909 h 1333436"/>
                <a:gd name="connsiteX259" fmla="*/ 57580 w 752994"/>
                <a:gd name="connsiteY259" fmla="*/ 355804 h 1333436"/>
                <a:gd name="connsiteX260" fmla="*/ 62673 w 752994"/>
                <a:gd name="connsiteY260" fmla="*/ 349695 h 1333436"/>
                <a:gd name="connsiteX261" fmla="*/ 65937 w 752994"/>
                <a:gd name="connsiteY261" fmla="*/ 348470 h 1333436"/>
                <a:gd name="connsiteX262" fmla="*/ 68395 w 752994"/>
                <a:gd name="connsiteY262" fmla="*/ 348674 h 1333436"/>
                <a:gd name="connsiteX263" fmla="*/ 70224 w 752994"/>
                <a:gd name="connsiteY263" fmla="*/ 347449 h 1333436"/>
                <a:gd name="connsiteX264" fmla="*/ 67785 w 752994"/>
                <a:gd name="connsiteY264" fmla="*/ 345203 h 1333436"/>
                <a:gd name="connsiteX265" fmla="*/ 65524 w 752994"/>
                <a:gd name="connsiteY265" fmla="*/ 343178 h 1333436"/>
                <a:gd name="connsiteX266" fmla="*/ 73095 w 752994"/>
                <a:gd name="connsiteY266" fmla="*/ 333376 h 1333436"/>
                <a:gd name="connsiteX267" fmla="*/ 73291 w 752994"/>
                <a:gd name="connsiteY267" fmla="*/ 333376 h 1333436"/>
                <a:gd name="connsiteX268" fmla="*/ 77991 w 752994"/>
                <a:gd name="connsiteY268" fmla="*/ 325838 h 1333436"/>
                <a:gd name="connsiteX269" fmla="*/ 82671 w 752994"/>
                <a:gd name="connsiteY269" fmla="*/ 313619 h 1333436"/>
                <a:gd name="connsiteX270" fmla="*/ 87980 w 752994"/>
                <a:gd name="connsiteY270" fmla="*/ 303018 h 1333436"/>
                <a:gd name="connsiteX271" fmla="*/ 92267 w 752994"/>
                <a:gd name="connsiteY271" fmla="*/ 291191 h 1333436"/>
                <a:gd name="connsiteX272" fmla="*/ 96553 w 752994"/>
                <a:gd name="connsiteY272" fmla="*/ 281202 h 1333436"/>
                <a:gd name="connsiteX273" fmla="*/ 99621 w 752994"/>
                <a:gd name="connsiteY273" fmla="*/ 274481 h 1333436"/>
                <a:gd name="connsiteX274" fmla="*/ 103082 w 752994"/>
                <a:gd name="connsiteY274" fmla="*/ 262450 h 1333436"/>
                <a:gd name="connsiteX275" fmla="*/ 107172 w 752994"/>
                <a:gd name="connsiteY275" fmla="*/ 254299 h 1333436"/>
                <a:gd name="connsiteX276" fmla="*/ 112481 w 752994"/>
                <a:gd name="connsiteY276" fmla="*/ 243697 h 1333436"/>
                <a:gd name="connsiteX277" fmla="*/ 117181 w 752994"/>
                <a:gd name="connsiteY277" fmla="*/ 232279 h 1333436"/>
                <a:gd name="connsiteX278" fmla="*/ 125951 w 752994"/>
                <a:gd name="connsiteY278" fmla="*/ 217389 h 1333436"/>
                <a:gd name="connsiteX279" fmla="*/ 136156 w 752994"/>
                <a:gd name="connsiteY279" fmla="*/ 202925 h 1333436"/>
                <a:gd name="connsiteX280" fmla="*/ 138811 w 752994"/>
                <a:gd name="connsiteY280" fmla="*/ 183339 h 1333436"/>
                <a:gd name="connsiteX281" fmla="*/ 148801 w 752994"/>
                <a:gd name="connsiteY281" fmla="*/ 167445 h 1333436"/>
                <a:gd name="connsiteX282" fmla="*/ 159616 w 752994"/>
                <a:gd name="connsiteY282" fmla="*/ 170712 h 1333436"/>
                <a:gd name="connsiteX283" fmla="*/ 173105 w 752994"/>
                <a:gd name="connsiteY283" fmla="*/ 175188 h 1333436"/>
                <a:gd name="connsiteX284" fmla="*/ 175347 w 752994"/>
                <a:gd name="connsiteY284" fmla="*/ 175188 h 1333436"/>
                <a:gd name="connsiteX285" fmla="*/ 175347 w 752994"/>
                <a:gd name="connsiteY285" fmla="*/ 173758 h 1333436"/>
                <a:gd name="connsiteX286" fmla="*/ 184975 w 752994"/>
                <a:gd name="connsiteY286" fmla="*/ 187393 h 1333436"/>
                <a:gd name="connsiteX287" fmla="*/ 184762 w 752994"/>
                <a:gd name="connsiteY287" fmla="*/ 184637 h 1333436"/>
                <a:gd name="connsiteX288" fmla="*/ 174971 w 752994"/>
                <a:gd name="connsiteY288" fmla="*/ 170774 h 1333436"/>
                <a:gd name="connsiteX289" fmla="*/ 174971 w 752994"/>
                <a:gd name="connsiteY289" fmla="*/ 169550 h 1333436"/>
                <a:gd name="connsiteX290" fmla="*/ 158851 w 752994"/>
                <a:gd name="connsiteY290" fmla="*/ 156924 h 1333436"/>
                <a:gd name="connsiteX291" fmla="*/ 147025 w 752994"/>
                <a:gd name="connsiteY291" fmla="*/ 145709 h 1333436"/>
                <a:gd name="connsiteX292" fmla="*/ 154364 w 752994"/>
                <a:gd name="connsiteY292" fmla="*/ 136335 h 1333436"/>
                <a:gd name="connsiteX293" fmla="*/ 161511 w 752994"/>
                <a:gd name="connsiteY293" fmla="*/ 131042 h 1333436"/>
                <a:gd name="connsiteX294" fmla="*/ 160902 w 752994"/>
                <a:gd name="connsiteY294" fmla="*/ 128384 h 1333436"/>
                <a:gd name="connsiteX295" fmla="*/ 160277 w 752994"/>
                <a:gd name="connsiteY295" fmla="*/ 127778 h 1333436"/>
                <a:gd name="connsiteX296" fmla="*/ 154973 w 752994"/>
                <a:gd name="connsiteY296" fmla="*/ 122077 h 1333436"/>
                <a:gd name="connsiteX297" fmla="*/ 160277 w 752994"/>
                <a:gd name="connsiteY297" fmla="*/ 115140 h 1333436"/>
                <a:gd name="connsiteX298" fmla="*/ 165181 w 752994"/>
                <a:gd name="connsiteY298" fmla="*/ 108215 h 1333436"/>
                <a:gd name="connsiteX299" fmla="*/ 161303 w 752994"/>
                <a:gd name="connsiteY299" fmla="*/ 104146 h 1333436"/>
                <a:gd name="connsiteX300" fmla="*/ 157842 w 752994"/>
                <a:gd name="connsiteY300" fmla="*/ 104542 h 1333436"/>
                <a:gd name="connsiteX301" fmla="*/ 157024 w 752994"/>
                <a:gd name="connsiteY301" fmla="*/ 102304 h 1333436"/>
                <a:gd name="connsiteX302" fmla="*/ 160694 w 752994"/>
                <a:gd name="connsiteY302" fmla="*/ 55437 h 1333436"/>
                <a:gd name="connsiteX303" fmla="*/ 160486 w 752994"/>
                <a:gd name="connsiteY303" fmla="*/ 31991 h 1333436"/>
                <a:gd name="connsiteX304" fmla="*/ 164972 w 752994"/>
                <a:gd name="connsiteY304" fmla="*/ 18141 h 1333436"/>
                <a:gd name="connsiteX305" fmla="*/ 171911 w 752994"/>
                <a:gd name="connsiteY305" fmla="*/ 11204 h 1333436"/>
                <a:gd name="connsiteX306" fmla="*/ 187406 w 752994"/>
                <a:gd name="connsiteY306" fmla="*/ 21801 h 1333436"/>
                <a:gd name="connsiteX307" fmla="*/ 210866 w 752994"/>
                <a:gd name="connsiteY307" fmla="*/ 37086 h 1333436"/>
                <a:gd name="connsiteX308" fmla="*/ 219230 w 752994"/>
                <a:gd name="connsiteY308" fmla="*/ 41166 h 1333436"/>
                <a:gd name="connsiteX309" fmla="*/ 226778 w 752994"/>
                <a:gd name="connsiteY309" fmla="*/ 47486 h 1333436"/>
                <a:gd name="connsiteX310" fmla="*/ 236152 w 752994"/>
                <a:gd name="connsiteY310" fmla="*/ 52370 h 1333436"/>
                <a:gd name="connsiteX311" fmla="*/ 239629 w 752994"/>
                <a:gd name="connsiteY311" fmla="*/ 58491 h 1333436"/>
                <a:gd name="connsiteX312" fmla="*/ 239629 w 752994"/>
                <a:gd name="connsiteY312" fmla="*/ 63376 h 1333436"/>
                <a:gd name="connsiteX313" fmla="*/ 236568 w 752994"/>
                <a:gd name="connsiteY313" fmla="*/ 67457 h 1333436"/>
                <a:gd name="connsiteX314" fmla="*/ 231264 w 752994"/>
                <a:gd name="connsiteY314" fmla="*/ 69905 h 1333436"/>
                <a:gd name="connsiteX315" fmla="*/ 216778 w 752994"/>
                <a:gd name="connsiteY315" fmla="*/ 82741 h 1333436"/>
                <a:gd name="connsiteX316" fmla="*/ 214134 w 752994"/>
                <a:gd name="connsiteY316" fmla="*/ 93536 h 1333436"/>
                <a:gd name="connsiteX317" fmla="*/ 214535 w 752994"/>
                <a:gd name="connsiteY317" fmla="*/ 96801 h 1333436"/>
                <a:gd name="connsiteX318" fmla="*/ 216378 w 752994"/>
                <a:gd name="connsiteY318" fmla="*/ 96801 h 1333436"/>
                <a:gd name="connsiteX319" fmla="*/ 230046 w 752994"/>
                <a:gd name="connsiteY319" fmla="*/ 85387 h 1333436"/>
                <a:gd name="connsiteX320" fmla="*/ 243298 w 752994"/>
                <a:gd name="connsiteY320" fmla="*/ 75198 h 1333436"/>
                <a:gd name="connsiteX321" fmla="*/ 246760 w 752994"/>
                <a:gd name="connsiteY321" fmla="*/ 77646 h 1333436"/>
                <a:gd name="connsiteX322" fmla="*/ 255541 w 752994"/>
                <a:gd name="connsiteY322" fmla="*/ 63376 h 1333436"/>
                <a:gd name="connsiteX323" fmla="*/ 259611 w 752994"/>
                <a:gd name="connsiteY323" fmla="*/ 43405 h 1333436"/>
                <a:gd name="connsiteX324" fmla="*/ 256967 w 752994"/>
                <a:gd name="connsiteY324" fmla="*/ 38520 h 1333436"/>
                <a:gd name="connsiteX325" fmla="*/ 253906 w 752994"/>
                <a:gd name="connsiteY325" fmla="*/ 34242 h 1333436"/>
                <a:gd name="connsiteX326" fmla="*/ 256967 w 752994"/>
                <a:gd name="connsiteY326" fmla="*/ 30161 h 1333436"/>
                <a:gd name="connsiteX327" fmla="*/ 262063 w 752994"/>
                <a:gd name="connsiteY327" fmla="*/ 27712 h 1333436"/>
                <a:gd name="connsiteX328" fmla="*/ 264915 w 752994"/>
                <a:gd name="connsiteY328" fmla="*/ 23026 h 1333436"/>
                <a:gd name="connsiteX329" fmla="*/ 267976 w 752994"/>
                <a:gd name="connsiteY329" fmla="*/ 22618 h 1333436"/>
                <a:gd name="connsiteX330" fmla="*/ 270427 w 752994"/>
                <a:gd name="connsiteY330" fmla="*/ 20787 h 1333436"/>
                <a:gd name="connsiteX331" fmla="*/ 263088 w 752994"/>
                <a:gd name="connsiteY331" fmla="*/ 13652 h 1333436"/>
                <a:gd name="connsiteX332" fmla="*/ 255541 w 752994"/>
                <a:gd name="connsiteY332" fmla="*/ 3055 h 1333436"/>
                <a:gd name="connsiteX333" fmla="*/ 256358 w 752994"/>
                <a:gd name="connsiteY333" fmla="*/ 1224 h 1333436"/>
                <a:gd name="connsiteX334" fmla="*/ 257159 w 752994"/>
                <a:gd name="connsiteY334"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40789 w 752994"/>
                <a:gd name="connsiteY27" fmla="*/ 243536 h 1333436"/>
                <a:gd name="connsiteX28" fmla="*/ 323868 w 752994"/>
                <a:gd name="connsiteY28" fmla="*/ 241495 h 1333436"/>
                <a:gd name="connsiteX29" fmla="*/ 280827 w 752994"/>
                <a:gd name="connsiteY29" fmla="*/ 242720 h 1333436"/>
                <a:gd name="connsiteX30" fmla="*/ 274497 w 752994"/>
                <a:gd name="connsiteY30" fmla="*/ 238441 h 1333436"/>
                <a:gd name="connsiteX31" fmla="*/ 269001 w 752994"/>
                <a:gd name="connsiteY31" fmla="*/ 240679 h 1333436"/>
                <a:gd name="connsiteX32" fmla="*/ 262880 w 752994"/>
                <a:gd name="connsiteY32" fmla="*/ 243128 h 1333436"/>
                <a:gd name="connsiteX33" fmla="*/ 260028 w 752994"/>
                <a:gd name="connsiteY33" fmla="*/ 242720 h 1333436"/>
                <a:gd name="connsiteX34" fmla="*/ 247994 w 752994"/>
                <a:gd name="connsiteY34" fmla="*/ 241693 h 1333436"/>
                <a:gd name="connsiteX35" fmla="*/ 235142 w 752994"/>
                <a:gd name="connsiteY35" fmla="*/ 229476 h 1333436"/>
                <a:gd name="connsiteX36" fmla="*/ 224742 w 752994"/>
                <a:gd name="connsiteY36" fmla="*/ 226817 h 1333436"/>
                <a:gd name="connsiteX37" fmla="*/ 216778 w 752994"/>
                <a:gd name="connsiteY37" fmla="*/ 229068 h 1333436"/>
                <a:gd name="connsiteX38" fmla="*/ 195162 w 752994"/>
                <a:gd name="connsiteY38" fmla="*/ 228857 h 1333436"/>
                <a:gd name="connsiteX39" fmla="*/ 188223 w 752994"/>
                <a:gd name="connsiteY39" fmla="*/ 223973 h 1333436"/>
                <a:gd name="connsiteX40" fmla="*/ 185163 w 752994"/>
                <a:gd name="connsiteY40" fmla="*/ 219484 h 1333436"/>
                <a:gd name="connsiteX41" fmla="*/ 184180 w 752994"/>
                <a:gd name="connsiteY41" fmla="*/ 213866 h 1333436"/>
                <a:gd name="connsiteX42" fmla="*/ 257159 w 752994"/>
                <a:gd name="connsiteY42" fmla="*/ 0 h 1333436"/>
                <a:gd name="connsiteX43" fmla="*/ 493147 w 752994"/>
                <a:gd name="connsiteY43" fmla="*/ 73157 h 1333436"/>
                <a:gd name="connsiteX44" fmla="*/ 492970 w 752994"/>
                <a:gd name="connsiteY44" fmla="*/ 73792 h 1333436"/>
                <a:gd name="connsiteX45" fmla="*/ 525816 w 752994"/>
                <a:gd name="connsiteY45" fmla="*/ 82491 h 1333436"/>
                <a:gd name="connsiteX46" fmla="*/ 520098 w 752994"/>
                <a:gd name="connsiteY46" fmla="*/ 111245 h 1333436"/>
                <a:gd name="connsiteX47" fmla="*/ 512552 w 752994"/>
                <a:gd name="connsiteY47" fmla="*/ 143854 h 1333436"/>
                <a:gd name="connsiteX48" fmla="*/ 517849 w 752994"/>
                <a:gd name="connsiteY48" fmla="*/ 157740 h 1333436"/>
                <a:gd name="connsiteX49" fmla="*/ 523160 w 752994"/>
                <a:gd name="connsiteY49" fmla="*/ 172009 h 1333436"/>
                <a:gd name="connsiteX50" fmla="*/ 521535 w 752994"/>
                <a:gd name="connsiteY50" fmla="*/ 178928 h 1333436"/>
                <a:gd name="connsiteX51" fmla="*/ 520098 w 752994"/>
                <a:gd name="connsiteY51" fmla="*/ 186279 h 1333436"/>
                <a:gd name="connsiteX52" fmla="*/ 526019 w 752994"/>
                <a:gd name="connsiteY52" fmla="*/ 193629 h 1333436"/>
                <a:gd name="connsiteX53" fmla="*/ 537251 w 752994"/>
                <a:gd name="connsiteY53" fmla="*/ 206270 h 1333436"/>
                <a:gd name="connsiteX54" fmla="*/ 542765 w 752994"/>
                <a:gd name="connsiteY54" fmla="*/ 217475 h 1333436"/>
                <a:gd name="connsiteX55" fmla="*/ 546857 w 752994"/>
                <a:gd name="connsiteY55" fmla="*/ 230930 h 1333436"/>
                <a:gd name="connsiteX56" fmla="*/ 549499 w 752994"/>
                <a:gd name="connsiteY56" fmla="*/ 235622 h 1333436"/>
                <a:gd name="connsiteX57" fmla="*/ 553388 w 752994"/>
                <a:gd name="connsiteY57" fmla="*/ 240722 h 1333436"/>
                <a:gd name="connsiteX58" fmla="*/ 557465 w 752994"/>
                <a:gd name="connsiteY58" fmla="*/ 246037 h 1333436"/>
                <a:gd name="connsiteX59" fmla="*/ 561761 w 752994"/>
                <a:gd name="connsiteY59" fmla="*/ 248671 h 1333436"/>
                <a:gd name="connsiteX60" fmla="*/ 567478 w 752994"/>
                <a:gd name="connsiteY60" fmla="*/ 247665 h 1333436"/>
                <a:gd name="connsiteX61" fmla="*/ 569931 w 752994"/>
                <a:gd name="connsiteY61" fmla="*/ 249293 h 1333436"/>
                <a:gd name="connsiteX62" fmla="*/ 570540 w 752994"/>
                <a:gd name="connsiteY62" fmla="*/ 251951 h 1333436"/>
                <a:gd name="connsiteX63" fmla="*/ 561964 w 752994"/>
                <a:gd name="connsiteY63" fmla="*/ 267656 h 1333436"/>
                <a:gd name="connsiteX64" fmla="*/ 553591 w 752994"/>
                <a:gd name="connsiteY64" fmla="*/ 289659 h 1333436"/>
                <a:gd name="connsiteX65" fmla="*/ 554810 w 752994"/>
                <a:gd name="connsiteY65" fmla="*/ 292939 h 1333436"/>
                <a:gd name="connsiteX66" fmla="*/ 556246 w 752994"/>
                <a:gd name="connsiteY66" fmla="*/ 299260 h 1333436"/>
                <a:gd name="connsiteX67" fmla="*/ 552778 w 752994"/>
                <a:gd name="connsiteY67" fmla="*/ 301917 h 1333436"/>
                <a:gd name="connsiteX68" fmla="*/ 549295 w 752994"/>
                <a:gd name="connsiteY68" fmla="*/ 306993 h 1333436"/>
                <a:gd name="connsiteX69" fmla="*/ 547061 w 752994"/>
                <a:gd name="connsiteY69" fmla="*/ 313122 h 1333436"/>
                <a:gd name="connsiteX70" fmla="*/ 544811 w 752994"/>
                <a:gd name="connsiteY70" fmla="*/ 316593 h 1333436"/>
                <a:gd name="connsiteX71" fmla="*/ 549919 w 752994"/>
                <a:gd name="connsiteY71" fmla="*/ 322698 h 1333436"/>
                <a:gd name="connsiteX72" fmla="*/ 553184 w 752994"/>
                <a:gd name="connsiteY72" fmla="*/ 325955 h 1333436"/>
                <a:gd name="connsiteX73" fmla="*/ 555840 w 752994"/>
                <a:gd name="connsiteY73" fmla="*/ 328205 h 1333436"/>
                <a:gd name="connsiteX74" fmla="*/ 574212 w 752994"/>
                <a:gd name="connsiteY74" fmla="*/ 318820 h 1333436"/>
                <a:gd name="connsiteX75" fmla="*/ 579523 w 752994"/>
                <a:gd name="connsiteY75" fmla="*/ 326577 h 1333436"/>
                <a:gd name="connsiteX76" fmla="*/ 580539 w 752994"/>
                <a:gd name="connsiteY76" fmla="*/ 334933 h 1333436"/>
                <a:gd name="connsiteX77" fmla="*/ 579726 w 752994"/>
                <a:gd name="connsiteY77" fmla="*/ 343097 h 1333436"/>
                <a:gd name="connsiteX78" fmla="*/ 581366 w 752994"/>
                <a:gd name="connsiteY78" fmla="*/ 350231 h 1333436"/>
                <a:gd name="connsiteX79" fmla="*/ 586256 w 752994"/>
                <a:gd name="connsiteY79" fmla="*/ 355930 h 1333436"/>
                <a:gd name="connsiteX80" fmla="*/ 589536 w 752994"/>
                <a:gd name="connsiteY80" fmla="*/ 362059 h 1333436"/>
                <a:gd name="connsiteX81" fmla="*/ 588099 w 752994"/>
                <a:gd name="connsiteY81" fmla="*/ 369600 h 1333436"/>
                <a:gd name="connsiteX82" fmla="*/ 586459 w 752994"/>
                <a:gd name="connsiteY82" fmla="*/ 377357 h 1333436"/>
                <a:gd name="connsiteX83" fmla="*/ 588709 w 752994"/>
                <a:gd name="connsiteY83" fmla="*/ 381835 h 1333436"/>
                <a:gd name="connsiteX84" fmla="*/ 595036 w 752994"/>
                <a:gd name="connsiteY84" fmla="*/ 382457 h 1333436"/>
                <a:gd name="connsiteX85" fmla="*/ 599331 w 752994"/>
                <a:gd name="connsiteY85" fmla="*/ 385306 h 1333436"/>
                <a:gd name="connsiteX86" fmla="*/ 601987 w 752994"/>
                <a:gd name="connsiteY86" fmla="*/ 391004 h 1333436"/>
                <a:gd name="connsiteX87" fmla="*/ 602799 w 752994"/>
                <a:gd name="connsiteY87" fmla="*/ 404076 h 1333436"/>
                <a:gd name="connsiteX88" fmla="*/ 606892 w 752994"/>
                <a:gd name="connsiteY88" fmla="*/ 415688 h 1333436"/>
                <a:gd name="connsiteX89" fmla="*/ 610563 w 752994"/>
                <a:gd name="connsiteY89" fmla="*/ 412217 h 1333436"/>
                <a:gd name="connsiteX90" fmla="*/ 617920 w 752994"/>
                <a:gd name="connsiteY90" fmla="*/ 408769 h 1333436"/>
                <a:gd name="connsiteX91" fmla="*/ 624654 w 752994"/>
                <a:gd name="connsiteY91" fmla="*/ 411211 h 1333436"/>
                <a:gd name="connsiteX92" fmla="*/ 634652 w 752994"/>
                <a:gd name="connsiteY92" fmla="*/ 410182 h 1333436"/>
                <a:gd name="connsiteX93" fmla="*/ 640573 w 752994"/>
                <a:gd name="connsiteY93" fmla="*/ 407739 h 1333436"/>
                <a:gd name="connsiteX94" fmla="*/ 646711 w 752994"/>
                <a:gd name="connsiteY94" fmla="*/ 410589 h 1333436"/>
                <a:gd name="connsiteX95" fmla="*/ 650383 w 752994"/>
                <a:gd name="connsiteY95" fmla="*/ 410589 h 1333436"/>
                <a:gd name="connsiteX96" fmla="*/ 654257 w 752994"/>
                <a:gd name="connsiteY96" fmla="*/ 411618 h 1333436"/>
                <a:gd name="connsiteX97" fmla="*/ 656913 w 752994"/>
                <a:gd name="connsiteY97" fmla="*/ 413653 h 1333436"/>
                <a:gd name="connsiteX98" fmla="*/ 660802 w 752994"/>
                <a:gd name="connsiteY98" fmla="*/ 415090 h 1333436"/>
                <a:gd name="connsiteX99" fmla="*/ 669581 w 752994"/>
                <a:gd name="connsiteY99" fmla="*/ 415904 h 1333436"/>
                <a:gd name="connsiteX100" fmla="*/ 672237 w 752994"/>
                <a:gd name="connsiteY100" fmla="*/ 415688 h 1333436"/>
                <a:gd name="connsiteX101" fmla="*/ 675705 w 752994"/>
                <a:gd name="connsiteY101" fmla="*/ 409367 h 1333436"/>
                <a:gd name="connsiteX102" fmla="*/ 679986 w 752994"/>
                <a:gd name="connsiteY102" fmla="*/ 403238 h 1333436"/>
                <a:gd name="connsiteX103" fmla="*/ 693264 w 752994"/>
                <a:gd name="connsiteY103" fmla="*/ 419567 h 1333436"/>
                <a:gd name="connsiteX104" fmla="*/ 688563 w 752994"/>
                <a:gd name="connsiteY104" fmla="*/ 448321 h 1333436"/>
                <a:gd name="connsiteX105" fmla="*/ 663949 w 752994"/>
                <a:gd name="connsiteY105" fmla="*/ 590165 h 1333436"/>
                <a:gd name="connsiteX106" fmla="*/ 666304 w 752994"/>
                <a:gd name="connsiteY106" fmla="*/ 590504 h 1333436"/>
                <a:gd name="connsiteX107" fmla="*/ 655288 w 752994"/>
                <a:gd name="connsiteY107" fmla="*/ 656178 h 1333436"/>
                <a:gd name="connsiteX108" fmla="*/ 681808 w 752994"/>
                <a:gd name="connsiteY108" fmla="*/ 662301 h 1333436"/>
                <a:gd name="connsiteX109" fmla="*/ 752994 w 752994"/>
                <a:gd name="connsiteY109" fmla="*/ 675560 h 1333436"/>
                <a:gd name="connsiteX110" fmla="*/ 714651 w 752994"/>
                <a:gd name="connsiteY110" fmla="*/ 946985 h 1333436"/>
                <a:gd name="connsiteX111" fmla="*/ 654533 w 752994"/>
                <a:gd name="connsiteY111" fmla="*/ 1333436 h 1333436"/>
                <a:gd name="connsiteX112" fmla="*/ 546831 w 752994"/>
                <a:gd name="connsiteY112" fmla="*/ 1317126 h 1333436"/>
                <a:gd name="connsiteX113" fmla="*/ 351227 w 752994"/>
                <a:gd name="connsiteY113" fmla="*/ 1194172 h 1333436"/>
                <a:gd name="connsiteX114" fmla="*/ 361011 w 752994"/>
                <a:gd name="connsiteY114" fmla="*/ 1182755 h 1333436"/>
                <a:gd name="connsiteX115" fmla="*/ 368981 w 752994"/>
                <a:gd name="connsiteY115" fmla="*/ 1182130 h 1333436"/>
                <a:gd name="connsiteX116" fmla="*/ 369571 w 752994"/>
                <a:gd name="connsiteY116" fmla="*/ 1181558 h 1333436"/>
                <a:gd name="connsiteX117" fmla="*/ 362372 w 752994"/>
                <a:gd name="connsiteY117" fmla="*/ 1182120 h 1333436"/>
                <a:gd name="connsiteX118" fmla="*/ 229464 w 752994"/>
                <a:gd name="connsiteY118" fmla="*/ 1161721 h 1333436"/>
                <a:gd name="connsiteX119" fmla="*/ 227427 w 752994"/>
                <a:gd name="connsiteY119" fmla="*/ 1157269 h 1333436"/>
                <a:gd name="connsiteX120" fmla="*/ 224967 w 752994"/>
                <a:gd name="connsiteY120" fmla="*/ 1152575 h 1333436"/>
                <a:gd name="connsiteX121" fmla="*/ 225582 w 752994"/>
                <a:gd name="connsiteY121" fmla="*/ 1144808 h 1333436"/>
                <a:gd name="connsiteX122" fmla="*/ 227215 w 752994"/>
                <a:gd name="connsiteY122" fmla="*/ 1135834 h 1333436"/>
                <a:gd name="connsiteX123" fmla="*/ 227215 w 752994"/>
                <a:gd name="connsiteY123" fmla="*/ 1134212 h 1333436"/>
                <a:gd name="connsiteX124" fmla="*/ 225179 w 752994"/>
                <a:gd name="connsiteY124" fmla="*/ 1114020 h 1333436"/>
                <a:gd name="connsiteX125" fmla="*/ 217839 w 752994"/>
                <a:gd name="connsiteY125" fmla="*/ 1100352 h 1333436"/>
                <a:gd name="connsiteX126" fmla="*/ 199661 w 752994"/>
                <a:gd name="connsiteY126" fmla="*/ 1076502 h 1333436"/>
                <a:gd name="connsiteX127" fmla="*/ 196395 w 752994"/>
                <a:gd name="connsiteY127" fmla="*/ 1071807 h 1333436"/>
                <a:gd name="connsiteX128" fmla="*/ 190880 w 752994"/>
                <a:gd name="connsiteY128" fmla="*/ 1067527 h 1333436"/>
                <a:gd name="connsiteX129" fmla="*/ 187210 w 752994"/>
                <a:gd name="connsiteY129" fmla="*/ 1068735 h 1333436"/>
                <a:gd name="connsiteX130" fmla="*/ 180062 w 752994"/>
                <a:gd name="connsiteY130" fmla="*/ 1066699 h 1333436"/>
                <a:gd name="connsiteX131" fmla="*/ 180466 w 752994"/>
                <a:gd name="connsiteY131" fmla="*/ 1053031 h 1333436"/>
                <a:gd name="connsiteX132" fmla="*/ 180062 w 752994"/>
                <a:gd name="connsiteY132" fmla="*/ 1045299 h 1333436"/>
                <a:gd name="connsiteX133" fmla="*/ 174144 w 752994"/>
                <a:gd name="connsiteY133" fmla="*/ 1044057 h 1333436"/>
                <a:gd name="connsiteX134" fmla="*/ 158426 w 752994"/>
                <a:gd name="connsiteY134" fmla="*/ 1042641 h 1333436"/>
                <a:gd name="connsiteX135" fmla="*/ 149857 w 752994"/>
                <a:gd name="connsiteY135" fmla="*/ 1035497 h 1333436"/>
                <a:gd name="connsiteX136" fmla="*/ 142497 w 752994"/>
                <a:gd name="connsiteY136" fmla="*/ 1028766 h 1333436"/>
                <a:gd name="connsiteX137" fmla="*/ 140864 w 752994"/>
                <a:gd name="connsiteY137" fmla="*/ 1020620 h 1333436"/>
                <a:gd name="connsiteX138" fmla="*/ 138212 w 752994"/>
                <a:gd name="connsiteY138" fmla="*/ 1013061 h 1333436"/>
                <a:gd name="connsiteX139" fmla="*/ 131064 w 752994"/>
                <a:gd name="connsiteY139" fmla="*/ 1007159 h 1333436"/>
                <a:gd name="connsiteX140" fmla="*/ 121264 w 752994"/>
                <a:gd name="connsiteY140" fmla="*/ 1005330 h 1333436"/>
                <a:gd name="connsiteX141" fmla="*/ 112483 w 752994"/>
                <a:gd name="connsiteY141" fmla="*/ 1001671 h 1333436"/>
                <a:gd name="connsiteX142" fmla="*/ 105950 w 752994"/>
                <a:gd name="connsiteY142" fmla="*/ 995734 h 1333436"/>
                <a:gd name="connsiteX143" fmla="*/ 97380 w 752994"/>
                <a:gd name="connsiteY143" fmla="*/ 994526 h 1333436"/>
                <a:gd name="connsiteX144" fmla="*/ 87984 w 752994"/>
                <a:gd name="connsiteY144" fmla="*/ 991040 h 1333436"/>
                <a:gd name="connsiteX145" fmla="*/ 80029 w 752994"/>
                <a:gd name="connsiteY145" fmla="*/ 985138 h 1333436"/>
                <a:gd name="connsiteX146" fmla="*/ 77166 w 752994"/>
                <a:gd name="connsiteY146" fmla="*/ 976164 h 1333436"/>
                <a:gd name="connsiteX147" fmla="*/ 79203 w 752994"/>
                <a:gd name="connsiteY147" fmla="*/ 970676 h 1333436"/>
                <a:gd name="connsiteX148" fmla="*/ 82470 w 752994"/>
                <a:gd name="connsiteY148" fmla="*/ 963117 h 1333436"/>
                <a:gd name="connsiteX149" fmla="*/ 84314 w 752994"/>
                <a:gd name="connsiteY149" fmla="*/ 954557 h 1333436"/>
                <a:gd name="connsiteX150" fmla="*/ 86351 w 752994"/>
                <a:gd name="connsiteY150" fmla="*/ 948033 h 1333436"/>
                <a:gd name="connsiteX151" fmla="*/ 86159 w 752994"/>
                <a:gd name="connsiteY151" fmla="*/ 942925 h 1333436"/>
                <a:gd name="connsiteX152" fmla="*/ 83085 w 752994"/>
                <a:gd name="connsiteY152" fmla="*/ 939853 h 1333436"/>
                <a:gd name="connsiteX153" fmla="*/ 77570 w 752994"/>
                <a:gd name="connsiteY153" fmla="*/ 937437 h 1333436"/>
                <a:gd name="connsiteX154" fmla="*/ 76763 w 752994"/>
                <a:gd name="connsiteY154" fmla="*/ 931915 h 1333436"/>
                <a:gd name="connsiteX155" fmla="*/ 78800 w 752994"/>
                <a:gd name="connsiteY155" fmla="*/ 927013 h 1333436"/>
                <a:gd name="connsiteX156" fmla="*/ 79626 w 752994"/>
                <a:gd name="connsiteY156" fmla="*/ 922526 h 1333436"/>
                <a:gd name="connsiteX157" fmla="*/ 77781 w 752994"/>
                <a:gd name="connsiteY157" fmla="*/ 919903 h 1333436"/>
                <a:gd name="connsiteX158" fmla="*/ 74303 w 752994"/>
                <a:gd name="connsiteY158" fmla="*/ 917418 h 1333436"/>
                <a:gd name="connsiteX159" fmla="*/ 71863 w 752994"/>
                <a:gd name="connsiteY159" fmla="*/ 915174 h 1333436"/>
                <a:gd name="connsiteX160" fmla="*/ 71652 w 752994"/>
                <a:gd name="connsiteY160" fmla="*/ 910894 h 1333436"/>
                <a:gd name="connsiteX161" fmla="*/ 70633 w 752994"/>
                <a:gd name="connsiteY161" fmla="*/ 906614 h 1333436"/>
                <a:gd name="connsiteX162" fmla="*/ 68385 w 752994"/>
                <a:gd name="connsiteY162" fmla="*/ 902749 h 1333436"/>
                <a:gd name="connsiteX163" fmla="*/ 61045 w 752994"/>
                <a:gd name="connsiteY163" fmla="*/ 889494 h 1333436"/>
                <a:gd name="connsiteX164" fmla="*/ 57971 w 752994"/>
                <a:gd name="connsiteY164" fmla="*/ 875619 h 1333436"/>
                <a:gd name="connsiteX165" fmla="*/ 52264 w 752994"/>
                <a:gd name="connsiteY165" fmla="*/ 862572 h 1333436"/>
                <a:gd name="connsiteX166" fmla="*/ 44309 w 752994"/>
                <a:gd name="connsiteY166" fmla="*/ 850561 h 1333436"/>
                <a:gd name="connsiteX167" fmla="*/ 45520 w 752994"/>
                <a:gd name="connsiteY167" fmla="*/ 827090 h 1333436"/>
                <a:gd name="connsiteX168" fmla="*/ 53071 w 752994"/>
                <a:gd name="connsiteY168" fmla="*/ 822396 h 1333436"/>
                <a:gd name="connsiteX169" fmla="*/ 57375 w 752994"/>
                <a:gd name="connsiteY169" fmla="*/ 816493 h 1333436"/>
                <a:gd name="connsiteX170" fmla="*/ 55319 w 752994"/>
                <a:gd name="connsiteY170" fmla="*/ 801617 h 1333436"/>
                <a:gd name="connsiteX171" fmla="*/ 48383 w 752994"/>
                <a:gd name="connsiteY171" fmla="*/ 802204 h 1333436"/>
                <a:gd name="connsiteX172" fmla="*/ 40428 w 752994"/>
                <a:gd name="connsiteY172" fmla="*/ 797924 h 1333436"/>
                <a:gd name="connsiteX173" fmla="*/ 37565 w 752994"/>
                <a:gd name="connsiteY173" fmla="*/ 790606 h 1333436"/>
                <a:gd name="connsiteX174" fmla="*/ 37565 w 752994"/>
                <a:gd name="connsiteY174" fmla="*/ 790399 h 1333436"/>
                <a:gd name="connsiteX175" fmla="*/ 35931 w 752994"/>
                <a:gd name="connsiteY175" fmla="*/ 785912 h 1333436"/>
                <a:gd name="connsiteX176" fmla="*/ 34510 w 752994"/>
                <a:gd name="connsiteY176" fmla="*/ 780597 h 1333436"/>
                <a:gd name="connsiteX177" fmla="*/ 36335 w 752994"/>
                <a:gd name="connsiteY177" fmla="*/ 774280 h 1333436"/>
                <a:gd name="connsiteX178" fmla="*/ 38180 w 752994"/>
                <a:gd name="connsiteY178" fmla="*/ 766721 h 1333436"/>
                <a:gd name="connsiteX179" fmla="*/ 37161 w 752994"/>
                <a:gd name="connsiteY179" fmla="*/ 760405 h 1333436"/>
                <a:gd name="connsiteX180" fmla="*/ 35720 w 752994"/>
                <a:gd name="connsiteY180" fmla="*/ 754710 h 1333436"/>
                <a:gd name="connsiteX181" fmla="*/ 36546 w 752994"/>
                <a:gd name="connsiteY181" fmla="*/ 748773 h 1333436"/>
                <a:gd name="connsiteX182" fmla="*/ 38372 w 752994"/>
                <a:gd name="connsiteY182" fmla="*/ 744528 h 1333436"/>
                <a:gd name="connsiteX183" fmla="*/ 41638 w 752994"/>
                <a:gd name="connsiteY183" fmla="*/ 744321 h 1333436"/>
                <a:gd name="connsiteX184" fmla="*/ 44713 w 752994"/>
                <a:gd name="connsiteY184" fmla="*/ 746357 h 1333436"/>
                <a:gd name="connsiteX185" fmla="*/ 47364 w 752994"/>
                <a:gd name="connsiteY185" fmla="*/ 753260 h 1333436"/>
                <a:gd name="connsiteX186" fmla="*/ 55742 w 752994"/>
                <a:gd name="connsiteY186" fmla="*/ 764305 h 1333436"/>
                <a:gd name="connsiteX187" fmla="*/ 56338 w 752994"/>
                <a:gd name="connsiteY187" fmla="*/ 761233 h 1333436"/>
                <a:gd name="connsiteX188" fmla="*/ 56145 w 752994"/>
                <a:gd name="connsiteY188" fmla="*/ 757368 h 1333436"/>
                <a:gd name="connsiteX189" fmla="*/ 54916 w 752994"/>
                <a:gd name="connsiteY189" fmla="*/ 748601 h 1333436"/>
                <a:gd name="connsiteX190" fmla="*/ 52879 w 752994"/>
                <a:gd name="connsiteY190" fmla="*/ 747358 h 1333436"/>
                <a:gd name="connsiteX191" fmla="*/ 51649 w 752994"/>
                <a:gd name="connsiteY191" fmla="*/ 745322 h 1333436"/>
                <a:gd name="connsiteX192" fmla="*/ 51649 w 752994"/>
                <a:gd name="connsiteY192" fmla="*/ 739212 h 1333436"/>
                <a:gd name="connsiteX193" fmla="*/ 50227 w 752994"/>
                <a:gd name="connsiteY193" fmla="*/ 734725 h 1333436"/>
                <a:gd name="connsiteX194" fmla="*/ 48786 w 752994"/>
                <a:gd name="connsiteY194" fmla="*/ 731446 h 1333436"/>
                <a:gd name="connsiteX195" fmla="*/ 54512 w 752994"/>
                <a:gd name="connsiteY195" fmla="*/ 726372 h 1333436"/>
                <a:gd name="connsiteX196" fmla="*/ 59815 w 752994"/>
                <a:gd name="connsiteY196" fmla="*/ 725130 h 1333436"/>
                <a:gd name="connsiteX197" fmla="*/ 58182 w 752994"/>
                <a:gd name="connsiteY197" fmla="*/ 722886 h 1333436"/>
                <a:gd name="connsiteX198" fmla="*/ 51861 w 752994"/>
                <a:gd name="connsiteY198" fmla="*/ 717985 h 1333436"/>
                <a:gd name="connsiteX199" fmla="*/ 46749 w 752994"/>
                <a:gd name="connsiteY199" fmla="*/ 729617 h 1333436"/>
                <a:gd name="connsiteX200" fmla="*/ 40831 w 752994"/>
                <a:gd name="connsiteY200" fmla="*/ 739212 h 1333436"/>
                <a:gd name="connsiteX201" fmla="*/ 39601 w 752994"/>
                <a:gd name="connsiteY201" fmla="*/ 738798 h 1333436"/>
                <a:gd name="connsiteX202" fmla="*/ 39409 w 752994"/>
                <a:gd name="connsiteY202" fmla="*/ 738591 h 1333436"/>
                <a:gd name="connsiteX203" fmla="*/ 37161 w 752994"/>
                <a:gd name="connsiteY203" fmla="*/ 734725 h 1333436"/>
                <a:gd name="connsiteX204" fmla="*/ 32665 w 752994"/>
                <a:gd name="connsiteY204" fmla="*/ 727788 h 1333436"/>
                <a:gd name="connsiteX205" fmla="*/ 26747 w 752994"/>
                <a:gd name="connsiteY205" fmla="*/ 719435 h 1333436"/>
                <a:gd name="connsiteX206" fmla="*/ 23884 w 752994"/>
                <a:gd name="connsiteY206" fmla="*/ 717812 h 1333436"/>
                <a:gd name="connsiteX207" fmla="*/ 24710 w 752994"/>
                <a:gd name="connsiteY207" fmla="*/ 709632 h 1333436"/>
                <a:gd name="connsiteX208" fmla="*/ 27554 w 752994"/>
                <a:gd name="connsiteY208" fmla="*/ 701694 h 1333436"/>
                <a:gd name="connsiteX209" fmla="*/ 24902 w 752994"/>
                <a:gd name="connsiteY209" fmla="*/ 696171 h 1333436"/>
                <a:gd name="connsiteX210" fmla="*/ 24095 w 752994"/>
                <a:gd name="connsiteY210" fmla="*/ 687818 h 1333436"/>
                <a:gd name="connsiteX211" fmla="*/ 22462 w 752994"/>
                <a:gd name="connsiteY211" fmla="*/ 682330 h 1333436"/>
                <a:gd name="connsiteX212" fmla="*/ 17159 w 752994"/>
                <a:gd name="connsiteY212" fmla="*/ 677636 h 1333436"/>
                <a:gd name="connsiteX213" fmla="*/ 14296 w 752994"/>
                <a:gd name="connsiteY213" fmla="*/ 671492 h 1333436"/>
                <a:gd name="connsiteX214" fmla="*/ 12451 w 752994"/>
                <a:gd name="connsiteY214" fmla="*/ 665797 h 1333436"/>
                <a:gd name="connsiteX215" fmla="*/ 5111 w 752994"/>
                <a:gd name="connsiteY215" fmla="*/ 654994 h 1333436"/>
                <a:gd name="connsiteX216" fmla="*/ 2248 w 752994"/>
                <a:gd name="connsiteY216" fmla="*/ 645605 h 1333436"/>
                <a:gd name="connsiteX217" fmla="*/ 4496 w 752994"/>
                <a:gd name="connsiteY217" fmla="*/ 640497 h 1333436"/>
                <a:gd name="connsiteX218" fmla="*/ 6744 w 752994"/>
                <a:gd name="connsiteY218" fmla="*/ 632765 h 1333436"/>
                <a:gd name="connsiteX219" fmla="*/ 6744 w 752994"/>
                <a:gd name="connsiteY219" fmla="*/ 628485 h 1333436"/>
                <a:gd name="connsiteX220" fmla="*/ 6533 w 752994"/>
                <a:gd name="connsiteY220" fmla="*/ 620305 h 1333436"/>
                <a:gd name="connsiteX221" fmla="*/ 7359 w 752994"/>
                <a:gd name="connsiteY221" fmla="*/ 611745 h 1333436"/>
                <a:gd name="connsiteX222" fmla="*/ 11836 w 752994"/>
                <a:gd name="connsiteY222" fmla="*/ 602978 h 1333436"/>
                <a:gd name="connsiteX223" fmla="*/ 15103 w 752994"/>
                <a:gd name="connsiteY223" fmla="*/ 591760 h 1333436"/>
                <a:gd name="connsiteX224" fmla="*/ 14488 w 752994"/>
                <a:gd name="connsiteY224" fmla="*/ 584029 h 1333436"/>
                <a:gd name="connsiteX225" fmla="*/ 13873 w 752994"/>
                <a:gd name="connsiteY225" fmla="*/ 578299 h 1333436"/>
                <a:gd name="connsiteX226" fmla="*/ 10626 w 752994"/>
                <a:gd name="connsiteY226" fmla="*/ 568531 h 1333436"/>
                <a:gd name="connsiteX227" fmla="*/ 3670 w 752994"/>
                <a:gd name="connsiteY227" fmla="*/ 558107 h 1333436"/>
                <a:gd name="connsiteX228" fmla="*/ 0 w 752994"/>
                <a:gd name="connsiteY228" fmla="*/ 551377 h 1333436"/>
                <a:gd name="connsiteX229" fmla="*/ 0 w 752994"/>
                <a:gd name="connsiteY229" fmla="*/ 550997 h 1333436"/>
                <a:gd name="connsiteX230" fmla="*/ 4900 w 752994"/>
                <a:gd name="connsiteY230" fmla="*/ 531220 h 1333436"/>
                <a:gd name="connsiteX231" fmla="*/ 13873 w 752994"/>
                <a:gd name="connsiteY231" fmla="*/ 520589 h 1333436"/>
                <a:gd name="connsiteX232" fmla="*/ 18369 w 752994"/>
                <a:gd name="connsiteY232" fmla="*/ 516516 h 1333436"/>
                <a:gd name="connsiteX233" fmla="*/ 18773 w 752994"/>
                <a:gd name="connsiteY233" fmla="*/ 514272 h 1333436"/>
                <a:gd name="connsiteX234" fmla="*/ 23077 w 752994"/>
                <a:gd name="connsiteY234" fmla="*/ 506127 h 1333436"/>
                <a:gd name="connsiteX235" fmla="*/ 23884 w 752994"/>
                <a:gd name="connsiteY235" fmla="*/ 502261 h 1333436"/>
                <a:gd name="connsiteX236" fmla="*/ 23692 w 752994"/>
                <a:gd name="connsiteY236" fmla="*/ 496738 h 1333436"/>
                <a:gd name="connsiteX237" fmla="*/ 30013 w 752994"/>
                <a:gd name="connsiteY237" fmla="*/ 486556 h 1333436"/>
                <a:gd name="connsiteX238" fmla="*/ 36546 w 752994"/>
                <a:gd name="connsiteY238" fmla="*/ 470230 h 1333436"/>
                <a:gd name="connsiteX239" fmla="*/ 36546 w 752994"/>
                <a:gd name="connsiteY239" fmla="*/ 462671 h 1333436"/>
                <a:gd name="connsiteX240" fmla="*/ 36335 w 752994"/>
                <a:gd name="connsiteY240" fmla="*/ 461670 h 1333436"/>
                <a:gd name="connsiteX241" fmla="*/ 35931 w 752994"/>
                <a:gd name="connsiteY241" fmla="*/ 453110 h 1333436"/>
                <a:gd name="connsiteX242" fmla="*/ 38583 w 752994"/>
                <a:gd name="connsiteY242" fmla="*/ 442514 h 1333436"/>
                <a:gd name="connsiteX243" fmla="*/ 41043 w 752994"/>
                <a:gd name="connsiteY243" fmla="*/ 436991 h 1333436"/>
                <a:gd name="connsiteX244" fmla="*/ 41650 w 752994"/>
                <a:gd name="connsiteY244" fmla="*/ 437186 h 1333436"/>
                <a:gd name="connsiteX245" fmla="*/ 41239 w 752994"/>
                <a:gd name="connsiteY245" fmla="*/ 436549 h 1333436"/>
                <a:gd name="connsiteX246" fmla="*/ 37778 w 752994"/>
                <a:gd name="connsiteY246" fmla="*/ 433894 h 1333436"/>
                <a:gd name="connsiteX247" fmla="*/ 37169 w 752994"/>
                <a:gd name="connsiteY247" fmla="*/ 432261 h 1333436"/>
                <a:gd name="connsiteX248" fmla="*/ 37365 w 752994"/>
                <a:gd name="connsiteY248" fmla="*/ 429198 h 1333436"/>
                <a:gd name="connsiteX249" fmla="*/ 36756 w 752994"/>
                <a:gd name="connsiteY249" fmla="*/ 422272 h 1333436"/>
                <a:gd name="connsiteX250" fmla="*/ 36952 w 752994"/>
                <a:gd name="connsiteY250" fmla="*/ 418800 h 1333436"/>
                <a:gd name="connsiteX251" fmla="*/ 36756 w 752994"/>
                <a:gd name="connsiteY251" fmla="*/ 412487 h 1333436"/>
                <a:gd name="connsiteX252" fmla="*/ 40433 w 752994"/>
                <a:gd name="connsiteY252" fmla="*/ 406174 h 1333436"/>
                <a:gd name="connsiteX253" fmla="*/ 44720 w 752994"/>
                <a:gd name="connsiteY253" fmla="*/ 399435 h 1333436"/>
                <a:gd name="connsiteX254" fmla="*/ 44110 w 752994"/>
                <a:gd name="connsiteY254" fmla="*/ 389651 h 1333436"/>
                <a:gd name="connsiteX255" fmla="*/ 43894 w 752994"/>
                <a:gd name="connsiteY255" fmla="*/ 378437 h 1333436"/>
                <a:gd name="connsiteX256" fmla="*/ 47158 w 752994"/>
                <a:gd name="connsiteY256" fmla="*/ 371102 h 1333436"/>
                <a:gd name="connsiteX257" fmla="*/ 55731 w 752994"/>
                <a:gd name="connsiteY257" fmla="*/ 360909 h 1333436"/>
                <a:gd name="connsiteX258" fmla="*/ 57580 w 752994"/>
                <a:gd name="connsiteY258" fmla="*/ 355804 h 1333436"/>
                <a:gd name="connsiteX259" fmla="*/ 62673 w 752994"/>
                <a:gd name="connsiteY259" fmla="*/ 349695 h 1333436"/>
                <a:gd name="connsiteX260" fmla="*/ 65937 w 752994"/>
                <a:gd name="connsiteY260" fmla="*/ 348470 h 1333436"/>
                <a:gd name="connsiteX261" fmla="*/ 68395 w 752994"/>
                <a:gd name="connsiteY261" fmla="*/ 348674 h 1333436"/>
                <a:gd name="connsiteX262" fmla="*/ 70224 w 752994"/>
                <a:gd name="connsiteY262" fmla="*/ 347449 h 1333436"/>
                <a:gd name="connsiteX263" fmla="*/ 67785 w 752994"/>
                <a:gd name="connsiteY263" fmla="*/ 345203 h 1333436"/>
                <a:gd name="connsiteX264" fmla="*/ 65524 w 752994"/>
                <a:gd name="connsiteY264" fmla="*/ 343178 h 1333436"/>
                <a:gd name="connsiteX265" fmla="*/ 73095 w 752994"/>
                <a:gd name="connsiteY265" fmla="*/ 333376 h 1333436"/>
                <a:gd name="connsiteX266" fmla="*/ 73291 w 752994"/>
                <a:gd name="connsiteY266" fmla="*/ 333376 h 1333436"/>
                <a:gd name="connsiteX267" fmla="*/ 77991 w 752994"/>
                <a:gd name="connsiteY267" fmla="*/ 325838 h 1333436"/>
                <a:gd name="connsiteX268" fmla="*/ 82671 w 752994"/>
                <a:gd name="connsiteY268" fmla="*/ 313619 h 1333436"/>
                <a:gd name="connsiteX269" fmla="*/ 87980 w 752994"/>
                <a:gd name="connsiteY269" fmla="*/ 303018 h 1333436"/>
                <a:gd name="connsiteX270" fmla="*/ 92267 w 752994"/>
                <a:gd name="connsiteY270" fmla="*/ 291191 h 1333436"/>
                <a:gd name="connsiteX271" fmla="*/ 96553 w 752994"/>
                <a:gd name="connsiteY271" fmla="*/ 281202 h 1333436"/>
                <a:gd name="connsiteX272" fmla="*/ 99621 w 752994"/>
                <a:gd name="connsiteY272" fmla="*/ 274481 h 1333436"/>
                <a:gd name="connsiteX273" fmla="*/ 103082 w 752994"/>
                <a:gd name="connsiteY273" fmla="*/ 262450 h 1333436"/>
                <a:gd name="connsiteX274" fmla="*/ 107172 w 752994"/>
                <a:gd name="connsiteY274" fmla="*/ 254299 h 1333436"/>
                <a:gd name="connsiteX275" fmla="*/ 112481 w 752994"/>
                <a:gd name="connsiteY275" fmla="*/ 243697 h 1333436"/>
                <a:gd name="connsiteX276" fmla="*/ 117181 w 752994"/>
                <a:gd name="connsiteY276" fmla="*/ 232279 h 1333436"/>
                <a:gd name="connsiteX277" fmla="*/ 125951 w 752994"/>
                <a:gd name="connsiteY277" fmla="*/ 217389 h 1333436"/>
                <a:gd name="connsiteX278" fmla="*/ 136156 w 752994"/>
                <a:gd name="connsiteY278" fmla="*/ 202925 h 1333436"/>
                <a:gd name="connsiteX279" fmla="*/ 138811 w 752994"/>
                <a:gd name="connsiteY279" fmla="*/ 183339 h 1333436"/>
                <a:gd name="connsiteX280" fmla="*/ 148801 w 752994"/>
                <a:gd name="connsiteY280" fmla="*/ 167445 h 1333436"/>
                <a:gd name="connsiteX281" fmla="*/ 159616 w 752994"/>
                <a:gd name="connsiteY281" fmla="*/ 170712 h 1333436"/>
                <a:gd name="connsiteX282" fmla="*/ 173105 w 752994"/>
                <a:gd name="connsiteY282" fmla="*/ 175188 h 1333436"/>
                <a:gd name="connsiteX283" fmla="*/ 175347 w 752994"/>
                <a:gd name="connsiteY283" fmla="*/ 175188 h 1333436"/>
                <a:gd name="connsiteX284" fmla="*/ 175347 w 752994"/>
                <a:gd name="connsiteY284" fmla="*/ 173758 h 1333436"/>
                <a:gd name="connsiteX285" fmla="*/ 184975 w 752994"/>
                <a:gd name="connsiteY285" fmla="*/ 187393 h 1333436"/>
                <a:gd name="connsiteX286" fmla="*/ 184762 w 752994"/>
                <a:gd name="connsiteY286" fmla="*/ 184637 h 1333436"/>
                <a:gd name="connsiteX287" fmla="*/ 174971 w 752994"/>
                <a:gd name="connsiteY287" fmla="*/ 170774 h 1333436"/>
                <a:gd name="connsiteX288" fmla="*/ 174971 w 752994"/>
                <a:gd name="connsiteY288" fmla="*/ 169550 h 1333436"/>
                <a:gd name="connsiteX289" fmla="*/ 158851 w 752994"/>
                <a:gd name="connsiteY289" fmla="*/ 156924 h 1333436"/>
                <a:gd name="connsiteX290" fmla="*/ 147025 w 752994"/>
                <a:gd name="connsiteY290" fmla="*/ 145709 h 1333436"/>
                <a:gd name="connsiteX291" fmla="*/ 154364 w 752994"/>
                <a:gd name="connsiteY291" fmla="*/ 136335 h 1333436"/>
                <a:gd name="connsiteX292" fmla="*/ 161511 w 752994"/>
                <a:gd name="connsiteY292" fmla="*/ 131042 h 1333436"/>
                <a:gd name="connsiteX293" fmla="*/ 160902 w 752994"/>
                <a:gd name="connsiteY293" fmla="*/ 128384 h 1333436"/>
                <a:gd name="connsiteX294" fmla="*/ 160277 w 752994"/>
                <a:gd name="connsiteY294" fmla="*/ 127778 h 1333436"/>
                <a:gd name="connsiteX295" fmla="*/ 154973 w 752994"/>
                <a:gd name="connsiteY295" fmla="*/ 122077 h 1333436"/>
                <a:gd name="connsiteX296" fmla="*/ 160277 w 752994"/>
                <a:gd name="connsiteY296" fmla="*/ 115140 h 1333436"/>
                <a:gd name="connsiteX297" fmla="*/ 165181 w 752994"/>
                <a:gd name="connsiteY297" fmla="*/ 108215 h 1333436"/>
                <a:gd name="connsiteX298" fmla="*/ 161303 w 752994"/>
                <a:gd name="connsiteY298" fmla="*/ 104146 h 1333436"/>
                <a:gd name="connsiteX299" fmla="*/ 157842 w 752994"/>
                <a:gd name="connsiteY299" fmla="*/ 104542 h 1333436"/>
                <a:gd name="connsiteX300" fmla="*/ 157024 w 752994"/>
                <a:gd name="connsiteY300" fmla="*/ 102304 h 1333436"/>
                <a:gd name="connsiteX301" fmla="*/ 160694 w 752994"/>
                <a:gd name="connsiteY301" fmla="*/ 55437 h 1333436"/>
                <a:gd name="connsiteX302" fmla="*/ 160486 w 752994"/>
                <a:gd name="connsiteY302" fmla="*/ 31991 h 1333436"/>
                <a:gd name="connsiteX303" fmla="*/ 164972 w 752994"/>
                <a:gd name="connsiteY303" fmla="*/ 18141 h 1333436"/>
                <a:gd name="connsiteX304" fmla="*/ 171911 w 752994"/>
                <a:gd name="connsiteY304" fmla="*/ 11204 h 1333436"/>
                <a:gd name="connsiteX305" fmla="*/ 187406 w 752994"/>
                <a:gd name="connsiteY305" fmla="*/ 21801 h 1333436"/>
                <a:gd name="connsiteX306" fmla="*/ 210866 w 752994"/>
                <a:gd name="connsiteY306" fmla="*/ 37086 h 1333436"/>
                <a:gd name="connsiteX307" fmla="*/ 219230 w 752994"/>
                <a:gd name="connsiteY307" fmla="*/ 41166 h 1333436"/>
                <a:gd name="connsiteX308" fmla="*/ 226778 w 752994"/>
                <a:gd name="connsiteY308" fmla="*/ 47486 h 1333436"/>
                <a:gd name="connsiteX309" fmla="*/ 236152 w 752994"/>
                <a:gd name="connsiteY309" fmla="*/ 52370 h 1333436"/>
                <a:gd name="connsiteX310" fmla="*/ 239629 w 752994"/>
                <a:gd name="connsiteY310" fmla="*/ 58491 h 1333436"/>
                <a:gd name="connsiteX311" fmla="*/ 239629 w 752994"/>
                <a:gd name="connsiteY311" fmla="*/ 63376 h 1333436"/>
                <a:gd name="connsiteX312" fmla="*/ 236568 w 752994"/>
                <a:gd name="connsiteY312" fmla="*/ 67457 h 1333436"/>
                <a:gd name="connsiteX313" fmla="*/ 231264 w 752994"/>
                <a:gd name="connsiteY313" fmla="*/ 69905 h 1333436"/>
                <a:gd name="connsiteX314" fmla="*/ 216778 w 752994"/>
                <a:gd name="connsiteY314" fmla="*/ 82741 h 1333436"/>
                <a:gd name="connsiteX315" fmla="*/ 214134 w 752994"/>
                <a:gd name="connsiteY315" fmla="*/ 93536 h 1333436"/>
                <a:gd name="connsiteX316" fmla="*/ 214535 w 752994"/>
                <a:gd name="connsiteY316" fmla="*/ 96801 h 1333436"/>
                <a:gd name="connsiteX317" fmla="*/ 216378 w 752994"/>
                <a:gd name="connsiteY317" fmla="*/ 96801 h 1333436"/>
                <a:gd name="connsiteX318" fmla="*/ 230046 w 752994"/>
                <a:gd name="connsiteY318" fmla="*/ 85387 h 1333436"/>
                <a:gd name="connsiteX319" fmla="*/ 243298 w 752994"/>
                <a:gd name="connsiteY319" fmla="*/ 75198 h 1333436"/>
                <a:gd name="connsiteX320" fmla="*/ 246760 w 752994"/>
                <a:gd name="connsiteY320" fmla="*/ 77646 h 1333436"/>
                <a:gd name="connsiteX321" fmla="*/ 255541 w 752994"/>
                <a:gd name="connsiteY321" fmla="*/ 63376 h 1333436"/>
                <a:gd name="connsiteX322" fmla="*/ 259611 w 752994"/>
                <a:gd name="connsiteY322" fmla="*/ 43405 h 1333436"/>
                <a:gd name="connsiteX323" fmla="*/ 256967 w 752994"/>
                <a:gd name="connsiteY323" fmla="*/ 38520 h 1333436"/>
                <a:gd name="connsiteX324" fmla="*/ 253906 w 752994"/>
                <a:gd name="connsiteY324" fmla="*/ 34242 h 1333436"/>
                <a:gd name="connsiteX325" fmla="*/ 256967 w 752994"/>
                <a:gd name="connsiteY325" fmla="*/ 30161 h 1333436"/>
                <a:gd name="connsiteX326" fmla="*/ 262063 w 752994"/>
                <a:gd name="connsiteY326" fmla="*/ 27712 h 1333436"/>
                <a:gd name="connsiteX327" fmla="*/ 264915 w 752994"/>
                <a:gd name="connsiteY327" fmla="*/ 23026 h 1333436"/>
                <a:gd name="connsiteX328" fmla="*/ 267976 w 752994"/>
                <a:gd name="connsiteY328" fmla="*/ 22618 h 1333436"/>
                <a:gd name="connsiteX329" fmla="*/ 270427 w 752994"/>
                <a:gd name="connsiteY329" fmla="*/ 20787 h 1333436"/>
                <a:gd name="connsiteX330" fmla="*/ 263088 w 752994"/>
                <a:gd name="connsiteY330" fmla="*/ 13652 h 1333436"/>
                <a:gd name="connsiteX331" fmla="*/ 255541 w 752994"/>
                <a:gd name="connsiteY331" fmla="*/ 3055 h 1333436"/>
                <a:gd name="connsiteX332" fmla="*/ 256358 w 752994"/>
                <a:gd name="connsiteY332" fmla="*/ 1224 h 1333436"/>
                <a:gd name="connsiteX333" fmla="*/ 257159 w 752994"/>
                <a:gd name="connsiteY333"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65772 w 752994"/>
                <a:gd name="connsiteY26" fmla="*/ 248785 h 1333436"/>
                <a:gd name="connsiteX27" fmla="*/ 340789 w 752994"/>
                <a:gd name="connsiteY27" fmla="*/ 243536 h 1333436"/>
                <a:gd name="connsiteX28" fmla="*/ 323868 w 752994"/>
                <a:gd name="connsiteY28" fmla="*/ 241495 h 1333436"/>
                <a:gd name="connsiteX29" fmla="*/ 280827 w 752994"/>
                <a:gd name="connsiteY29" fmla="*/ 242720 h 1333436"/>
                <a:gd name="connsiteX30" fmla="*/ 274497 w 752994"/>
                <a:gd name="connsiteY30" fmla="*/ 238441 h 1333436"/>
                <a:gd name="connsiteX31" fmla="*/ 269001 w 752994"/>
                <a:gd name="connsiteY31" fmla="*/ 240679 h 1333436"/>
                <a:gd name="connsiteX32" fmla="*/ 262880 w 752994"/>
                <a:gd name="connsiteY32" fmla="*/ 243128 h 1333436"/>
                <a:gd name="connsiteX33" fmla="*/ 247994 w 752994"/>
                <a:gd name="connsiteY33" fmla="*/ 241693 h 1333436"/>
                <a:gd name="connsiteX34" fmla="*/ 235142 w 752994"/>
                <a:gd name="connsiteY34" fmla="*/ 229476 h 1333436"/>
                <a:gd name="connsiteX35" fmla="*/ 224742 w 752994"/>
                <a:gd name="connsiteY35" fmla="*/ 226817 h 1333436"/>
                <a:gd name="connsiteX36" fmla="*/ 216778 w 752994"/>
                <a:gd name="connsiteY36" fmla="*/ 229068 h 1333436"/>
                <a:gd name="connsiteX37" fmla="*/ 195162 w 752994"/>
                <a:gd name="connsiteY37" fmla="*/ 228857 h 1333436"/>
                <a:gd name="connsiteX38" fmla="*/ 188223 w 752994"/>
                <a:gd name="connsiteY38" fmla="*/ 223973 h 1333436"/>
                <a:gd name="connsiteX39" fmla="*/ 185163 w 752994"/>
                <a:gd name="connsiteY39" fmla="*/ 219484 h 1333436"/>
                <a:gd name="connsiteX40" fmla="*/ 184180 w 752994"/>
                <a:gd name="connsiteY40" fmla="*/ 213866 h 1333436"/>
                <a:gd name="connsiteX41" fmla="*/ 257159 w 752994"/>
                <a:gd name="connsiteY41" fmla="*/ 0 h 1333436"/>
                <a:gd name="connsiteX42" fmla="*/ 493147 w 752994"/>
                <a:gd name="connsiteY42" fmla="*/ 73157 h 1333436"/>
                <a:gd name="connsiteX43" fmla="*/ 492970 w 752994"/>
                <a:gd name="connsiteY43" fmla="*/ 73792 h 1333436"/>
                <a:gd name="connsiteX44" fmla="*/ 525816 w 752994"/>
                <a:gd name="connsiteY44" fmla="*/ 82491 h 1333436"/>
                <a:gd name="connsiteX45" fmla="*/ 520098 w 752994"/>
                <a:gd name="connsiteY45" fmla="*/ 111245 h 1333436"/>
                <a:gd name="connsiteX46" fmla="*/ 512552 w 752994"/>
                <a:gd name="connsiteY46" fmla="*/ 143854 h 1333436"/>
                <a:gd name="connsiteX47" fmla="*/ 517849 w 752994"/>
                <a:gd name="connsiteY47" fmla="*/ 157740 h 1333436"/>
                <a:gd name="connsiteX48" fmla="*/ 523160 w 752994"/>
                <a:gd name="connsiteY48" fmla="*/ 172009 h 1333436"/>
                <a:gd name="connsiteX49" fmla="*/ 521535 w 752994"/>
                <a:gd name="connsiteY49" fmla="*/ 178928 h 1333436"/>
                <a:gd name="connsiteX50" fmla="*/ 520098 w 752994"/>
                <a:gd name="connsiteY50" fmla="*/ 186279 h 1333436"/>
                <a:gd name="connsiteX51" fmla="*/ 526019 w 752994"/>
                <a:gd name="connsiteY51" fmla="*/ 193629 h 1333436"/>
                <a:gd name="connsiteX52" fmla="*/ 537251 w 752994"/>
                <a:gd name="connsiteY52" fmla="*/ 206270 h 1333436"/>
                <a:gd name="connsiteX53" fmla="*/ 542765 w 752994"/>
                <a:gd name="connsiteY53" fmla="*/ 217475 h 1333436"/>
                <a:gd name="connsiteX54" fmla="*/ 546857 w 752994"/>
                <a:gd name="connsiteY54" fmla="*/ 230930 h 1333436"/>
                <a:gd name="connsiteX55" fmla="*/ 549499 w 752994"/>
                <a:gd name="connsiteY55" fmla="*/ 235622 h 1333436"/>
                <a:gd name="connsiteX56" fmla="*/ 553388 w 752994"/>
                <a:gd name="connsiteY56" fmla="*/ 240722 h 1333436"/>
                <a:gd name="connsiteX57" fmla="*/ 557465 w 752994"/>
                <a:gd name="connsiteY57" fmla="*/ 246037 h 1333436"/>
                <a:gd name="connsiteX58" fmla="*/ 561761 w 752994"/>
                <a:gd name="connsiteY58" fmla="*/ 248671 h 1333436"/>
                <a:gd name="connsiteX59" fmla="*/ 567478 w 752994"/>
                <a:gd name="connsiteY59" fmla="*/ 247665 h 1333436"/>
                <a:gd name="connsiteX60" fmla="*/ 569931 w 752994"/>
                <a:gd name="connsiteY60" fmla="*/ 249293 h 1333436"/>
                <a:gd name="connsiteX61" fmla="*/ 570540 w 752994"/>
                <a:gd name="connsiteY61" fmla="*/ 251951 h 1333436"/>
                <a:gd name="connsiteX62" fmla="*/ 561964 w 752994"/>
                <a:gd name="connsiteY62" fmla="*/ 267656 h 1333436"/>
                <a:gd name="connsiteX63" fmla="*/ 553591 w 752994"/>
                <a:gd name="connsiteY63" fmla="*/ 289659 h 1333436"/>
                <a:gd name="connsiteX64" fmla="*/ 554810 w 752994"/>
                <a:gd name="connsiteY64" fmla="*/ 292939 h 1333436"/>
                <a:gd name="connsiteX65" fmla="*/ 556246 w 752994"/>
                <a:gd name="connsiteY65" fmla="*/ 299260 h 1333436"/>
                <a:gd name="connsiteX66" fmla="*/ 552778 w 752994"/>
                <a:gd name="connsiteY66" fmla="*/ 301917 h 1333436"/>
                <a:gd name="connsiteX67" fmla="*/ 549295 w 752994"/>
                <a:gd name="connsiteY67" fmla="*/ 306993 h 1333436"/>
                <a:gd name="connsiteX68" fmla="*/ 547061 w 752994"/>
                <a:gd name="connsiteY68" fmla="*/ 313122 h 1333436"/>
                <a:gd name="connsiteX69" fmla="*/ 544811 w 752994"/>
                <a:gd name="connsiteY69" fmla="*/ 316593 h 1333436"/>
                <a:gd name="connsiteX70" fmla="*/ 549919 w 752994"/>
                <a:gd name="connsiteY70" fmla="*/ 322698 h 1333436"/>
                <a:gd name="connsiteX71" fmla="*/ 553184 w 752994"/>
                <a:gd name="connsiteY71" fmla="*/ 325955 h 1333436"/>
                <a:gd name="connsiteX72" fmla="*/ 555840 w 752994"/>
                <a:gd name="connsiteY72" fmla="*/ 328205 h 1333436"/>
                <a:gd name="connsiteX73" fmla="*/ 574212 w 752994"/>
                <a:gd name="connsiteY73" fmla="*/ 318820 h 1333436"/>
                <a:gd name="connsiteX74" fmla="*/ 579523 w 752994"/>
                <a:gd name="connsiteY74" fmla="*/ 326577 h 1333436"/>
                <a:gd name="connsiteX75" fmla="*/ 580539 w 752994"/>
                <a:gd name="connsiteY75" fmla="*/ 334933 h 1333436"/>
                <a:gd name="connsiteX76" fmla="*/ 579726 w 752994"/>
                <a:gd name="connsiteY76" fmla="*/ 343097 h 1333436"/>
                <a:gd name="connsiteX77" fmla="*/ 581366 w 752994"/>
                <a:gd name="connsiteY77" fmla="*/ 350231 h 1333436"/>
                <a:gd name="connsiteX78" fmla="*/ 586256 w 752994"/>
                <a:gd name="connsiteY78" fmla="*/ 355930 h 1333436"/>
                <a:gd name="connsiteX79" fmla="*/ 589536 w 752994"/>
                <a:gd name="connsiteY79" fmla="*/ 362059 h 1333436"/>
                <a:gd name="connsiteX80" fmla="*/ 588099 w 752994"/>
                <a:gd name="connsiteY80" fmla="*/ 369600 h 1333436"/>
                <a:gd name="connsiteX81" fmla="*/ 586459 w 752994"/>
                <a:gd name="connsiteY81" fmla="*/ 377357 h 1333436"/>
                <a:gd name="connsiteX82" fmla="*/ 588709 w 752994"/>
                <a:gd name="connsiteY82" fmla="*/ 381835 h 1333436"/>
                <a:gd name="connsiteX83" fmla="*/ 595036 w 752994"/>
                <a:gd name="connsiteY83" fmla="*/ 382457 h 1333436"/>
                <a:gd name="connsiteX84" fmla="*/ 599331 w 752994"/>
                <a:gd name="connsiteY84" fmla="*/ 385306 h 1333436"/>
                <a:gd name="connsiteX85" fmla="*/ 601987 w 752994"/>
                <a:gd name="connsiteY85" fmla="*/ 391004 h 1333436"/>
                <a:gd name="connsiteX86" fmla="*/ 602799 w 752994"/>
                <a:gd name="connsiteY86" fmla="*/ 404076 h 1333436"/>
                <a:gd name="connsiteX87" fmla="*/ 606892 w 752994"/>
                <a:gd name="connsiteY87" fmla="*/ 415688 h 1333436"/>
                <a:gd name="connsiteX88" fmla="*/ 610563 w 752994"/>
                <a:gd name="connsiteY88" fmla="*/ 412217 h 1333436"/>
                <a:gd name="connsiteX89" fmla="*/ 617920 w 752994"/>
                <a:gd name="connsiteY89" fmla="*/ 408769 h 1333436"/>
                <a:gd name="connsiteX90" fmla="*/ 624654 w 752994"/>
                <a:gd name="connsiteY90" fmla="*/ 411211 h 1333436"/>
                <a:gd name="connsiteX91" fmla="*/ 634652 w 752994"/>
                <a:gd name="connsiteY91" fmla="*/ 410182 h 1333436"/>
                <a:gd name="connsiteX92" fmla="*/ 640573 w 752994"/>
                <a:gd name="connsiteY92" fmla="*/ 407739 h 1333436"/>
                <a:gd name="connsiteX93" fmla="*/ 646711 w 752994"/>
                <a:gd name="connsiteY93" fmla="*/ 410589 h 1333436"/>
                <a:gd name="connsiteX94" fmla="*/ 650383 w 752994"/>
                <a:gd name="connsiteY94" fmla="*/ 410589 h 1333436"/>
                <a:gd name="connsiteX95" fmla="*/ 654257 w 752994"/>
                <a:gd name="connsiteY95" fmla="*/ 411618 h 1333436"/>
                <a:gd name="connsiteX96" fmla="*/ 656913 w 752994"/>
                <a:gd name="connsiteY96" fmla="*/ 413653 h 1333436"/>
                <a:gd name="connsiteX97" fmla="*/ 660802 w 752994"/>
                <a:gd name="connsiteY97" fmla="*/ 415090 h 1333436"/>
                <a:gd name="connsiteX98" fmla="*/ 669581 w 752994"/>
                <a:gd name="connsiteY98" fmla="*/ 415904 h 1333436"/>
                <a:gd name="connsiteX99" fmla="*/ 672237 w 752994"/>
                <a:gd name="connsiteY99" fmla="*/ 415688 h 1333436"/>
                <a:gd name="connsiteX100" fmla="*/ 675705 w 752994"/>
                <a:gd name="connsiteY100" fmla="*/ 409367 h 1333436"/>
                <a:gd name="connsiteX101" fmla="*/ 679986 w 752994"/>
                <a:gd name="connsiteY101" fmla="*/ 403238 h 1333436"/>
                <a:gd name="connsiteX102" fmla="*/ 693264 w 752994"/>
                <a:gd name="connsiteY102" fmla="*/ 419567 h 1333436"/>
                <a:gd name="connsiteX103" fmla="*/ 688563 w 752994"/>
                <a:gd name="connsiteY103" fmla="*/ 448321 h 1333436"/>
                <a:gd name="connsiteX104" fmla="*/ 663949 w 752994"/>
                <a:gd name="connsiteY104" fmla="*/ 590165 h 1333436"/>
                <a:gd name="connsiteX105" fmla="*/ 666304 w 752994"/>
                <a:gd name="connsiteY105" fmla="*/ 590504 h 1333436"/>
                <a:gd name="connsiteX106" fmla="*/ 655288 w 752994"/>
                <a:gd name="connsiteY106" fmla="*/ 656178 h 1333436"/>
                <a:gd name="connsiteX107" fmla="*/ 681808 w 752994"/>
                <a:gd name="connsiteY107" fmla="*/ 662301 h 1333436"/>
                <a:gd name="connsiteX108" fmla="*/ 752994 w 752994"/>
                <a:gd name="connsiteY108" fmla="*/ 675560 h 1333436"/>
                <a:gd name="connsiteX109" fmla="*/ 714651 w 752994"/>
                <a:gd name="connsiteY109" fmla="*/ 946985 h 1333436"/>
                <a:gd name="connsiteX110" fmla="*/ 654533 w 752994"/>
                <a:gd name="connsiteY110" fmla="*/ 1333436 h 1333436"/>
                <a:gd name="connsiteX111" fmla="*/ 546831 w 752994"/>
                <a:gd name="connsiteY111" fmla="*/ 1317126 h 1333436"/>
                <a:gd name="connsiteX112" fmla="*/ 351227 w 752994"/>
                <a:gd name="connsiteY112" fmla="*/ 1194172 h 1333436"/>
                <a:gd name="connsiteX113" fmla="*/ 361011 w 752994"/>
                <a:gd name="connsiteY113" fmla="*/ 1182755 h 1333436"/>
                <a:gd name="connsiteX114" fmla="*/ 368981 w 752994"/>
                <a:gd name="connsiteY114" fmla="*/ 1182130 h 1333436"/>
                <a:gd name="connsiteX115" fmla="*/ 369571 w 752994"/>
                <a:gd name="connsiteY115" fmla="*/ 1181558 h 1333436"/>
                <a:gd name="connsiteX116" fmla="*/ 362372 w 752994"/>
                <a:gd name="connsiteY116" fmla="*/ 1182120 h 1333436"/>
                <a:gd name="connsiteX117" fmla="*/ 229464 w 752994"/>
                <a:gd name="connsiteY117" fmla="*/ 1161721 h 1333436"/>
                <a:gd name="connsiteX118" fmla="*/ 227427 w 752994"/>
                <a:gd name="connsiteY118" fmla="*/ 1157269 h 1333436"/>
                <a:gd name="connsiteX119" fmla="*/ 224967 w 752994"/>
                <a:gd name="connsiteY119" fmla="*/ 1152575 h 1333436"/>
                <a:gd name="connsiteX120" fmla="*/ 225582 w 752994"/>
                <a:gd name="connsiteY120" fmla="*/ 1144808 h 1333436"/>
                <a:gd name="connsiteX121" fmla="*/ 227215 w 752994"/>
                <a:gd name="connsiteY121" fmla="*/ 1135834 h 1333436"/>
                <a:gd name="connsiteX122" fmla="*/ 227215 w 752994"/>
                <a:gd name="connsiteY122" fmla="*/ 1134212 h 1333436"/>
                <a:gd name="connsiteX123" fmla="*/ 225179 w 752994"/>
                <a:gd name="connsiteY123" fmla="*/ 1114020 h 1333436"/>
                <a:gd name="connsiteX124" fmla="*/ 217839 w 752994"/>
                <a:gd name="connsiteY124" fmla="*/ 1100352 h 1333436"/>
                <a:gd name="connsiteX125" fmla="*/ 199661 w 752994"/>
                <a:gd name="connsiteY125" fmla="*/ 1076502 h 1333436"/>
                <a:gd name="connsiteX126" fmla="*/ 196395 w 752994"/>
                <a:gd name="connsiteY126" fmla="*/ 1071807 h 1333436"/>
                <a:gd name="connsiteX127" fmla="*/ 190880 w 752994"/>
                <a:gd name="connsiteY127" fmla="*/ 1067527 h 1333436"/>
                <a:gd name="connsiteX128" fmla="*/ 187210 w 752994"/>
                <a:gd name="connsiteY128" fmla="*/ 1068735 h 1333436"/>
                <a:gd name="connsiteX129" fmla="*/ 180062 w 752994"/>
                <a:gd name="connsiteY129" fmla="*/ 1066699 h 1333436"/>
                <a:gd name="connsiteX130" fmla="*/ 180466 w 752994"/>
                <a:gd name="connsiteY130" fmla="*/ 1053031 h 1333436"/>
                <a:gd name="connsiteX131" fmla="*/ 180062 w 752994"/>
                <a:gd name="connsiteY131" fmla="*/ 1045299 h 1333436"/>
                <a:gd name="connsiteX132" fmla="*/ 174144 w 752994"/>
                <a:gd name="connsiteY132" fmla="*/ 1044057 h 1333436"/>
                <a:gd name="connsiteX133" fmla="*/ 158426 w 752994"/>
                <a:gd name="connsiteY133" fmla="*/ 1042641 h 1333436"/>
                <a:gd name="connsiteX134" fmla="*/ 149857 w 752994"/>
                <a:gd name="connsiteY134" fmla="*/ 1035497 h 1333436"/>
                <a:gd name="connsiteX135" fmla="*/ 142497 w 752994"/>
                <a:gd name="connsiteY135" fmla="*/ 1028766 h 1333436"/>
                <a:gd name="connsiteX136" fmla="*/ 140864 w 752994"/>
                <a:gd name="connsiteY136" fmla="*/ 1020620 h 1333436"/>
                <a:gd name="connsiteX137" fmla="*/ 138212 w 752994"/>
                <a:gd name="connsiteY137" fmla="*/ 1013061 h 1333436"/>
                <a:gd name="connsiteX138" fmla="*/ 131064 w 752994"/>
                <a:gd name="connsiteY138" fmla="*/ 1007159 h 1333436"/>
                <a:gd name="connsiteX139" fmla="*/ 121264 w 752994"/>
                <a:gd name="connsiteY139" fmla="*/ 1005330 h 1333436"/>
                <a:gd name="connsiteX140" fmla="*/ 112483 w 752994"/>
                <a:gd name="connsiteY140" fmla="*/ 1001671 h 1333436"/>
                <a:gd name="connsiteX141" fmla="*/ 105950 w 752994"/>
                <a:gd name="connsiteY141" fmla="*/ 995734 h 1333436"/>
                <a:gd name="connsiteX142" fmla="*/ 97380 w 752994"/>
                <a:gd name="connsiteY142" fmla="*/ 994526 h 1333436"/>
                <a:gd name="connsiteX143" fmla="*/ 87984 w 752994"/>
                <a:gd name="connsiteY143" fmla="*/ 991040 h 1333436"/>
                <a:gd name="connsiteX144" fmla="*/ 80029 w 752994"/>
                <a:gd name="connsiteY144" fmla="*/ 985138 h 1333436"/>
                <a:gd name="connsiteX145" fmla="*/ 77166 w 752994"/>
                <a:gd name="connsiteY145" fmla="*/ 976164 h 1333436"/>
                <a:gd name="connsiteX146" fmla="*/ 79203 w 752994"/>
                <a:gd name="connsiteY146" fmla="*/ 970676 h 1333436"/>
                <a:gd name="connsiteX147" fmla="*/ 82470 w 752994"/>
                <a:gd name="connsiteY147" fmla="*/ 963117 h 1333436"/>
                <a:gd name="connsiteX148" fmla="*/ 84314 w 752994"/>
                <a:gd name="connsiteY148" fmla="*/ 954557 h 1333436"/>
                <a:gd name="connsiteX149" fmla="*/ 86351 w 752994"/>
                <a:gd name="connsiteY149" fmla="*/ 948033 h 1333436"/>
                <a:gd name="connsiteX150" fmla="*/ 86159 w 752994"/>
                <a:gd name="connsiteY150" fmla="*/ 942925 h 1333436"/>
                <a:gd name="connsiteX151" fmla="*/ 83085 w 752994"/>
                <a:gd name="connsiteY151" fmla="*/ 939853 h 1333436"/>
                <a:gd name="connsiteX152" fmla="*/ 77570 w 752994"/>
                <a:gd name="connsiteY152" fmla="*/ 937437 h 1333436"/>
                <a:gd name="connsiteX153" fmla="*/ 76763 w 752994"/>
                <a:gd name="connsiteY153" fmla="*/ 931915 h 1333436"/>
                <a:gd name="connsiteX154" fmla="*/ 78800 w 752994"/>
                <a:gd name="connsiteY154" fmla="*/ 927013 h 1333436"/>
                <a:gd name="connsiteX155" fmla="*/ 79626 w 752994"/>
                <a:gd name="connsiteY155" fmla="*/ 922526 h 1333436"/>
                <a:gd name="connsiteX156" fmla="*/ 77781 w 752994"/>
                <a:gd name="connsiteY156" fmla="*/ 919903 h 1333436"/>
                <a:gd name="connsiteX157" fmla="*/ 74303 w 752994"/>
                <a:gd name="connsiteY157" fmla="*/ 917418 h 1333436"/>
                <a:gd name="connsiteX158" fmla="*/ 71863 w 752994"/>
                <a:gd name="connsiteY158" fmla="*/ 915174 h 1333436"/>
                <a:gd name="connsiteX159" fmla="*/ 71652 w 752994"/>
                <a:gd name="connsiteY159" fmla="*/ 910894 h 1333436"/>
                <a:gd name="connsiteX160" fmla="*/ 70633 w 752994"/>
                <a:gd name="connsiteY160" fmla="*/ 906614 h 1333436"/>
                <a:gd name="connsiteX161" fmla="*/ 68385 w 752994"/>
                <a:gd name="connsiteY161" fmla="*/ 902749 h 1333436"/>
                <a:gd name="connsiteX162" fmla="*/ 61045 w 752994"/>
                <a:gd name="connsiteY162" fmla="*/ 889494 h 1333436"/>
                <a:gd name="connsiteX163" fmla="*/ 57971 w 752994"/>
                <a:gd name="connsiteY163" fmla="*/ 875619 h 1333436"/>
                <a:gd name="connsiteX164" fmla="*/ 52264 w 752994"/>
                <a:gd name="connsiteY164" fmla="*/ 862572 h 1333436"/>
                <a:gd name="connsiteX165" fmla="*/ 44309 w 752994"/>
                <a:gd name="connsiteY165" fmla="*/ 850561 h 1333436"/>
                <a:gd name="connsiteX166" fmla="*/ 45520 w 752994"/>
                <a:gd name="connsiteY166" fmla="*/ 827090 h 1333436"/>
                <a:gd name="connsiteX167" fmla="*/ 53071 w 752994"/>
                <a:gd name="connsiteY167" fmla="*/ 822396 h 1333436"/>
                <a:gd name="connsiteX168" fmla="*/ 57375 w 752994"/>
                <a:gd name="connsiteY168" fmla="*/ 816493 h 1333436"/>
                <a:gd name="connsiteX169" fmla="*/ 55319 w 752994"/>
                <a:gd name="connsiteY169" fmla="*/ 801617 h 1333436"/>
                <a:gd name="connsiteX170" fmla="*/ 48383 w 752994"/>
                <a:gd name="connsiteY170" fmla="*/ 802204 h 1333436"/>
                <a:gd name="connsiteX171" fmla="*/ 40428 w 752994"/>
                <a:gd name="connsiteY171" fmla="*/ 797924 h 1333436"/>
                <a:gd name="connsiteX172" fmla="*/ 37565 w 752994"/>
                <a:gd name="connsiteY172" fmla="*/ 790606 h 1333436"/>
                <a:gd name="connsiteX173" fmla="*/ 37565 w 752994"/>
                <a:gd name="connsiteY173" fmla="*/ 790399 h 1333436"/>
                <a:gd name="connsiteX174" fmla="*/ 35931 w 752994"/>
                <a:gd name="connsiteY174" fmla="*/ 785912 h 1333436"/>
                <a:gd name="connsiteX175" fmla="*/ 34510 w 752994"/>
                <a:gd name="connsiteY175" fmla="*/ 780597 h 1333436"/>
                <a:gd name="connsiteX176" fmla="*/ 36335 w 752994"/>
                <a:gd name="connsiteY176" fmla="*/ 774280 h 1333436"/>
                <a:gd name="connsiteX177" fmla="*/ 38180 w 752994"/>
                <a:gd name="connsiteY177" fmla="*/ 766721 h 1333436"/>
                <a:gd name="connsiteX178" fmla="*/ 37161 w 752994"/>
                <a:gd name="connsiteY178" fmla="*/ 760405 h 1333436"/>
                <a:gd name="connsiteX179" fmla="*/ 35720 w 752994"/>
                <a:gd name="connsiteY179" fmla="*/ 754710 h 1333436"/>
                <a:gd name="connsiteX180" fmla="*/ 36546 w 752994"/>
                <a:gd name="connsiteY180" fmla="*/ 748773 h 1333436"/>
                <a:gd name="connsiteX181" fmla="*/ 38372 w 752994"/>
                <a:gd name="connsiteY181" fmla="*/ 744528 h 1333436"/>
                <a:gd name="connsiteX182" fmla="*/ 41638 w 752994"/>
                <a:gd name="connsiteY182" fmla="*/ 744321 h 1333436"/>
                <a:gd name="connsiteX183" fmla="*/ 44713 w 752994"/>
                <a:gd name="connsiteY183" fmla="*/ 746357 h 1333436"/>
                <a:gd name="connsiteX184" fmla="*/ 47364 w 752994"/>
                <a:gd name="connsiteY184" fmla="*/ 753260 h 1333436"/>
                <a:gd name="connsiteX185" fmla="*/ 55742 w 752994"/>
                <a:gd name="connsiteY185" fmla="*/ 764305 h 1333436"/>
                <a:gd name="connsiteX186" fmla="*/ 56338 w 752994"/>
                <a:gd name="connsiteY186" fmla="*/ 761233 h 1333436"/>
                <a:gd name="connsiteX187" fmla="*/ 56145 w 752994"/>
                <a:gd name="connsiteY187" fmla="*/ 757368 h 1333436"/>
                <a:gd name="connsiteX188" fmla="*/ 54916 w 752994"/>
                <a:gd name="connsiteY188" fmla="*/ 748601 h 1333436"/>
                <a:gd name="connsiteX189" fmla="*/ 52879 w 752994"/>
                <a:gd name="connsiteY189" fmla="*/ 747358 h 1333436"/>
                <a:gd name="connsiteX190" fmla="*/ 51649 w 752994"/>
                <a:gd name="connsiteY190" fmla="*/ 745322 h 1333436"/>
                <a:gd name="connsiteX191" fmla="*/ 51649 w 752994"/>
                <a:gd name="connsiteY191" fmla="*/ 739212 h 1333436"/>
                <a:gd name="connsiteX192" fmla="*/ 50227 w 752994"/>
                <a:gd name="connsiteY192" fmla="*/ 734725 h 1333436"/>
                <a:gd name="connsiteX193" fmla="*/ 48786 w 752994"/>
                <a:gd name="connsiteY193" fmla="*/ 731446 h 1333436"/>
                <a:gd name="connsiteX194" fmla="*/ 54512 w 752994"/>
                <a:gd name="connsiteY194" fmla="*/ 726372 h 1333436"/>
                <a:gd name="connsiteX195" fmla="*/ 59815 w 752994"/>
                <a:gd name="connsiteY195" fmla="*/ 725130 h 1333436"/>
                <a:gd name="connsiteX196" fmla="*/ 58182 w 752994"/>
                <a:gd name="connsiteY196" fmla="*/ 722886 h 1333436"/>
                <a:gd name="connsiteX197" fmla="*/ 51861 w 752994"/>
                <a:gd name="connsiteY197" fmla="*/ 717985 h 1333436"/>
                <a:gd name="connsiteX198" fmla="*/ 46749 w 752994"/>
                <a:gd name="connsiteY198" fmla="*/ 729617 h 1333436"/>
                <a:gd name="connsiteX199" fmla="*/ 40831 w 752994"/>
                <a:gd name="connsiteY199" fmla="*/ 739212 h 1333436"/>
                <a:gd name="connsiteX200" fmla="*/ 39601 w 752994"/>
                <a:gd name="connsiteY200" fmla="*/ 738798 h 1333436"/>
                <a:gd name="connsiteX201" fmla="*/ 39409 w 752994"/>
                <a:gd name="connsiteY201" fmla="*/ 738591 h 1333436"/>
                <a:gd name="connsiteX202" fmla="*/ 37161 w 752994"/>
                <a:gd name="connsiteY202" fmla="*/ 734725 h 1333436"/>
                <a:gd name="connsiteX203" fmla="*/ 32665 w 752994"/>
                <a:gd name="connsiteY203" fmla="*/ 727788 h 1333436"/>
                <a:gd name="connsiteX204" fmla="*/ 26747 w 752994"/>
                <a:gd name="connsiteY204" fmla="*/ 719435 h 1333436"/>
                <a:gd name="connsiteX205" fmla="*/ 23884 w 752994"/>
                <a:gd name="connsiteY205" fmla="*/ 717812 h 1333436"/>
                <a:gd name="connsiteX206" fmla="*/ 24710 w 752994"/>
                <a:gd name="connsiteY206" fmla="*/ 709632 h 1333436"/>
                <a:gd name="connsiteX207" fmla="*/ 27554 w 752994"/>
                <a:gd name="connsiteY207" fmla="*/ 701694 h 1333436"/>
                <a:gd name="connsiteX208" fmla="*/ 24902 w 752994"/>
                <a:gd name="connsiteY208" fmla="*/ 696171 h 1333436"/>
                <a:gd name="connsiteX209" fmla="*/ 24095 w 752994"/>
                <a:gd name="connsiteY209" fmla="*/ 687818 h 1333436"/>
                <a:gd name="connsiteX210" fmla="*/ 22462 w 752994"/>
                <a:gd name="connsiteY210" fmla="*/ 682330 h 1333436"/>
                <a:gd name="connsiteX211" fmla="*/ 17159 w 752994"/>
                <a:gd name="connsiteY211" fmla="*/ 677636 h 1333436"/>
                <a:gd name="connsiteX212" fmla="*/ 14296 w 752994"/>
                <a:gd name="connsiteY212" fmla="*/ 671492 h 1333436"/>
                <a:gd name="connsiteX213" fmla="*/ 12451 w 752994"/>
                <a:gd name="connsiteY213" fmla="*/ 665797 h 1333436"/>
                <a:gd name="connsiteX214" fmla="*/ 5111 w 752994"/>
                <a:gd name="connsiteY214" fmla="*/ 654994 h 1333436"/>
                <a:gd name="connsiteX215" fmla="*/ 2248 w 752994"/>
                <a:gd name="connsiteY215" fmla="*/ 645605 h 1333436"/>
                <a:gd name="connsiteX216" fmla="*/ 4496 w 752994"/>
                <a:gd name="connsiteY216" fmla="*/ 640497 h 1333436"/>
                <a:gd name="connsiteX217" fmla="*/ 6744 w 752994"/>
                <a:gd name="connsiteY217" fmla="*/ 632765 h 1333436"/>
                <a:gd name="connsiteX218" fmla="*/ 6744 w 752994"/>
                <a:gd name="connsiteY218" fmla="*/ 628485 h 1333436"/>
                <a:gd name="connsiteX219" fmla="*/ 6533 w 752994"/>
                <a:gd name="connsiteY219" fmla="*/ 620305 h 1333436"/>
                <a:gd name="connsiteX220" fmla="*/ 7359 w 752994"/>
                <a:gd name="connsiteY220" fmla="*/ 611745 h 1333436"/>
                <a:gd name="connsiteX221" fmla="*/ 11836 w 752994"/>
                <a:gd name="connsiteY221" fmla="*/ 602978 h 1333436"/>
                <a:gd name="connsiteX222" fmla="*/ 15103 w 752994"/>
                <a:gd name="connsiteY222" fmla="*/ 591760 h 1333436"/>
                <a:gd name="connsiteX223" fmla="*/ 14488 w 752994"/>
                <a:gd name="connsiteY223" fmla="*/ 584029 h 1333436"/>
                <a:gd name="connsiteX224" fmla="*/ 13873 w 752994"/>
                <a:gd name="connsiteY224" fmla="*/ 578299 h 1333436"/>
                <a:gd name="connsiteX225" fmla="*/ 10626 w 752994"/>
                <a:gd name="connsiteY225" fmla="*/ 568531 h 1333436"/>
                <a:gd name="connsiteX226" fmla="*/ 3670 w 752994"/>
                <a:gd name="connsiteY226" fmla="*/ 558107 h 1333436"/>
                <a:gd name="connsiteX227" fmla="*/ 0 w 752994"/>
                <a:gd name="connsiteY227" fmla="*/ 551377 h 1333436"/>
                <a:gd name="connsiteX228" fmla="*/ 0 w 752994"/>
                <a:gd name="connsiteY228" fmla="*/ 550997 h 1333436"/>
                <a:gd name="connsiteX229" fmla="*/ 4900 w 752994"/>
                <a:gd name="connsiteY229" fmla="*/ 531220 h 1333436"/>
                <a:gd name="connsiteX230" fmla="*/ 13873 w 752994"/>
                <a:gd name="connsiteY230" fmla="*/ 520589 h 1333436"/>
                <a:gd name="connsiteX231" fmla="*/ 18369 w 752994"/>
                <a:gd name="connsiteY231" fmla="*/ 516516 h 1333436"/>
                <a:gd name="connsiteX232" fmla="*/ 18773 w 752994"/>
                <a:gd name="connsiteY232" fmla="*/ 514272 h 1333436"/>
                <a:gd name="connsiteX233" fmla="*/ 23077 w 752994"/>
                <a:gd name="connsiteY233" fmla="*/ 506127 h 1333436"/>
                <a:gd name="connsiteX234" fmla="*/ 23884 w 752994"/>
                <a:gd name="connsiteY234" fmla="*/ 502261 h 1333436"/>
                <a:gd name="connsiteX235" fmla="*/ 23692 w 752994"/>
                <a:gd name="connsiteY235" fmla="*/ 496738 h 1333436"/>
                <a:gd name="connsiteX236" fmla="*/ 30013 w 752994"/>
                <a:gd name="connsiteY236" fmla="*/ 486556 h 1333436"/>
                <a:gd name="connsiteX237" fmla="*/ 36546 w 752994"/>
                <a:gd name="connsiteY237" fmla="*/ 470230 h 1333436"/>
                <a:gd name="connsiteX238" fmla="*/ 36546 w 752994"/>
                <a:gd name="connsiteY238" fmla="*/ 462671 h 1333436"/>
                <a:gd name="connsiteX239" fmla="*/ 36335 w 752994"/>
                <a:gd name="connsiteY239" fmla="*/ 461670 h 1333436"/>
                <a:gd name="connsiteX240" fmla="*/ 35931 w 752994"/>
                <a:gd name="connsiteY240" fmla="*/ 453110 h 1333436"/>
                <a:gd name="connsiteX241" fmla="*/ 38583 w 752994"/>
                <a:gd name="connsiteY241" fmla="*/ 442514 h 1333436"/>
                <a:gd name="connsiteX242" fmla="*/ 41043 w 752994"/>
                <a:gd name="connsiteY242" fmla="*/ 436991 h 1333436"/>
                <a:gd name="connsiteX243" fmla="*/ 41650 w 752994"/>
                <a:gd name="connsiteY243" fmla="*/ 437186 h 1333436"/>
                <a:gd name="connsiteX244" fmla="*/ 41239 w 752994"/>
                <a:gd name="connsiteY244" fmla="*/ 436549 h 1333436"/>
                <a:gd name="connsiteX245" fmla="*/ 37778 w 752994"/>
                <a:gd name="connsiteY245" fmla="*/ 433894 h 1333436"/>
                <a:gd name="connsiteX246" fmla="*/ 37169 w 752994"/>
                <a:gd name="connsiteY246" fmla="*/ 432261 h 1333436"/>
                <a:gd name="connsiteX247" fmla="*/ 37365 w 752994"/>
                <a:gd name="connsiteY247" fmla="*/ 429198 h 1333436"/>
                <a:gd name="connsiteX248" fmla="*/ 36756 w 752994"/>
                <a:gd name="connsiteY248" fmla="*/ 422272 h 1333436"/>
                <a:gd name="connsiteX249" fmla="*/ 36952 w 752994"/>
                <a:gd name="connsiteY249" fmla="*/ 418800 h 1333436"/>
                <a:gd name="connsiteX250" fmla="*/ 36756 w 752994"/>
                <a:gd name="connsiteY250" fmla="*/ 412487 h 1333436"/>
                <a:gd name="connsiteX251" fmla="*/ 40433 w 752994"/>
                <a:gd name="connsiteY251" fmla="*/ 406174 h 1333436"/>
                <a:gd name="connsiteX252" fmla="*/ 44720 w 752994"/>
                <a:gd name="connsiteY252" fmla="*/ 399435 h 1333436"/>
                <a:gd name="connsiteX253" fmla="*/ 44110 w 752994"/>
                <a:gd name="connsiteY253" fmla="*/ 389651 h 1333436"/>
                <a:gd name="connsiteX254" fmla="*/ 43894 w 752994"/>
                <a:gd name="connsiteY254" fmla="*/ 378437 h 1333436"/>
                <a:gd name="connsiteX255" fmla="*/ 47158 w 752994"/>
                <a:gd name="connsiteY255" fmla="*/ 371102 h 1333436"/>
                <a:gd name="connsiteX256" fmla="*/ 55731 w 752994"/>
                <a:gd name="connsiteY256" fmla="*/ 360909 h 1333436"/>
                <a:gd name="connsiteX257" fmla="*/ 57580 w 752994"/>
                <a:gd name="connsiteY257" fmla="*/ 355804 h 1333436"/>
                <a:gd name="connsiteX258" fmla="*/ 62673 w 752994"/>
                <a:gd name="connsiteY258" fmla="*/ 349695 h 1333436"/>
                <a:gd name="connsiteX259" fmla="*/ 65937 w 752994"/>
                <a:gd name="connsiteY259" fmla="*/ 348470 h 1333436"/>
                <a:gd name="connsiteX260" fmla="*/ 68395 w 752994"/>
                <a:gd name="connsiteY260" fmla="*/ 348674 h 1333436"/>
                <a:gd name="connsiteX261" fmla="*/ 70224 w 752994"/>
                <a:gd name="connsiteY261" fmla="*/ 347449 h 1333436"/>
                <a:gd name="connsiteX262" fmla="*/ 67785 w 752994"/>
                <a:gd name="connsiteY262" fmla="*/ 345203 h 1333436"/>
                <a:gd name="connsiteX263" fmla="*/ 65524 w 752994"/>
                <a:gd name="connsiteY263" fmla="*/ 343178 h 1333436"/>
                <a:gd name="connsiteX264" fmla="*/ 73095 w 752994"/>
                <a:gd name="connsiteY264" fmla="*/ 333376 h 1333436"/>
                <a:gd name="connsiteX265" fmla="*/ 73291 w 752994"/>
                <a:gd name="connsiteY265" fmla="*/ 333376 h 1333436"/>
                <a:gd name="connsiteX266" fmla="*/ 77991 w 752994"/>
                <a:gd name="connsiteY266" fmla="*/ 325838 h 1333436"/>
                <a:gd name="connsiteX267" fmla="*/ 82671 w 752994"/>
                <a:gd name="connsiteY267" fmla="*/ 313619 h 1333436"/>
                <a:gd name="connsiteX268" fmla="*/ 87980 w 752994"/>
                <a:gd name="connsiteY268" fmla="*/ 303018 h 1333436"/>
                <a:gd name="connsiteX269" fmla="*/ 92267 w 752994"/>
                <a:gd name="connsiteY269" fmla="*/ 291191 h 1333436"/>
                <a:gd name="connsiteX270" fmla="*/ 96553 w 752994"/>
                <a:gd name="connsiteY270" fmla="*/ 281202 h 1333436"/>
                <a:gd name="connsiteX271" fmla="*/ 99621 w 752994"/>
                <a:gd name="connsiteY271" fmla="*/ 274481 h 1333436"/>
                <a:gd name="connsiteX272" fmla="*/ 103082 w 752994"/>
                <a:gd name="connsiteY272" fmla="*/ 262450 h 1333436"/>
                <a:gd name="connsiteX273" fmla="*/ 107172 w 752994"/>
                <a:gd name="connsiteY273" fmla="*/ 254299 h 1333436"/>
                <a:gd name="connsiteX274" fmla="*/ 112481 w 752994"/>
                <a:gd name="connsiteY274" fmla="*/ 243697 h 1333436"/>
                <a:gd name="connsiteX275" fmla="*/ 117181 w 752994"/>
                <a:gd name="connsiteY275" fmla="*/ 232279 h 1333436"/>
                <a:gd name="connsiteX276" fmla="*/ 125951 w 752994"/>
                <a:gd name="connsiteY276" fmla="*/ 217389 h 1333436"/>
                <a:gd name="connsiteX277" fmla="*/ 136156 w 752994"/>
                <a:gd name="connsiteY277" fmla="*/ 202925 h 1333436"/>
                <a:gd name="connsiteX278" fmla="*/ 138811 w 752994"/>
                <a:gd name="connsiteY278" fmla="*/ 183339 h 1333436"/>
                <a:gd name="connsiteX279" fmla="*/ 148801 w 752994"/>
                <a:gd name="connsiteY279" fmla="*/ 167445 h 1333436"/>
                <a:gd name="connsiteX280" fmla="*/ 159616 w 752994"/>
                <a:gd name="connsiteY280" fmla="*/ 170712 h 1333436"/>
                <a:gd name="connsiteX281" fmla="*/ 173105 w 752994"/>
                <a:gd name="connsiteY281" fmla="*/ 175188 h 1333436"/>
                <a:gd name="connsiteX282" fmla="*/ 175347 w 752994"/>
                <a:gd name="connsiteY282" fmla="*/ 175188 h 1333436"/>
                <a:gd name="connsiteX283" fmla="*/ 175347 w 752994"/>
                <a:gd name="connsiteY283" fmla="*/ 173758 h 1333436"/>
                <a:gd name="connsiteX284" fmla="*/ 184975 w 752994"/>
                <a:gd name="connsiteY284" fmla="*/ 187393 h 1333436"/>
                <a:gd name="connsiteX285" fmla="*/ 184762 w 752994"/>
                <a:gd name="connsiteY285" fmla="*/ 184637 h 1333436"/>
                <a:gd name="connsiteX286" fmla="*/ 174971 w 752994"/>
                <a:gd name="connsiteY286" fmla="*/ 170774 h 1333436"/>
                <a:gd name="connsiteX287" fmla="*/ 174971 w 752994"/>
                <a:gd name="connsiteY287" fmla="*/ 169550 h 1333436"/>
                <a:gd name="connsiteX288" fmla="*/ 158851 w 752994"/>
                <a:gd name="connsiteY288" fmla="*/ 156924 h 1333436"/>
                <a:gd name="connsiteX289" fmla="*/ 147025 w 752994"/>
                <a:gd name="connsiteY289" fmla="*/ 145709 h 1333436"/>
                <a:gd name="connsiteX290" fmla="*/ 154364 w 752994"/>
                <a:gd name="connsiteY290" fmla="*/ 136335 h 1333436"/>
                <a:gd name="connsiteX291" fmla="*/ 161511 w 752994"/>
                <a:gd name="connsiteY291" fmla="*/ 131042 h 1333436"/>
                <a:gd name="connsiteX292" fmla="*/ 160902 w 752994"/>
                <a:gd name="connsiteY292" fmla="*/ 128384 h 1333436"/>
                <a:gd name="connsiteX293" fmla="*/ 160277 w 752994"/>
                <a:gd name="connsiteY293" fmla="*/ 127778 h 1333436"/>
                <a:gd name="connsiteX294" fmla="*/ 154973 w 752994"/>
                <a:gd name="connsiteY294" fmla="*/ 122077 h 1333436"/>
                <a:gd name="connsiteX295" fmla="*/ 160277 w 752994"/>
                <a:gd name="connsiteY295" fmla="*/ 115140 h 1333436"/>
                <a:gd name="connsiteX296" fmla="*/ 165181 w 752994"/>
                <a:gd name="connsiteY296" fmla="*/ 108215 h 1333436"/>
                <a:gd name="connsiteX297" fmla="*/ 161303 w 752994"/>
                <a:gd name="connsiteY297" fmla="*/ 104146 h 1333436"/>
                <a:gd name="connsiteX298" fmla="*/ 157842 w 752994"/>
                <a:gd name="connsiteY298" fmla="*/ 104542 h 1333436"/>
                <a:gd name="connsiteX299" fmla="*/ 157024 w 752994"/>
                <a:gd name="connsiteY299" fmla="*/ 102304 h 1333436"/>
                <a:gd name="connsiteX300" fmla="*/ 160694 w 752994"/>
                <a:gd name="connsiteY300" fmla="*/ 55437 h 1333436"/>
                <a:gd name="connsiteX301" fmla="*/ 160486 w 752994"/>
                <a:gd name="connsiteY301" fmla="*/ 31991 h 1333436"/>
                <a:gd name="connsiteX302" fmla="*/ 164972 w 752994"/>
                <a:gd name="connsiteY302" fmla="*/ 18141 h 1333436"/>
                <a:gd name="connsiteX303" fmla="*/ 171911 w 752994"/>
                <a:gd name="connsiteY303" fmla="*/ 11204 h 1333436"/>
                <a:gd name="connsiteX304" fmla="*/ 187406 w 752994"/>
                <a:gd name="connsiteY304" fmla="*/ 21801 h 1333436"/>
                <a:gd name="connsiteX305" fmla="*/ 210866 w 752994"/>
                <a:gd name="connsiteY305" fmla="*/ 37086 h 1333436"/>
                <a:gd name="connsiteX306" fmla="*/ 219230 w 752994"/>
                <a:gd name="connsiteY306" fmla="*/ 41166 h 1333436"/>
                <a:gd name="connsiteX307" fmla="*/ 226778 w 752994"/>
                <a:gd name="connsiteY307" fmla="*/ 47486 h 1333436"/>
                <a:gd name="connsiteX308" fmla="*/ 236152 w 752994"/>
                <a:gd name="connsiteY308" fmla="*/ 52370 h 1333436"/>
                <a:gd name="connsiteX309" fmla="*/ 239629 w 752994"/>
                <a:gd name="connsiteY309" fmla="*/ 58491 h 1333436"/>
                <a:gd name="connsiteX310" fmla="*/ 239629 w 752994"/>
                <a:gd name="connsiteY310" fmla="*/ 63376 h 1333436"/>
                <a:gd name="connsiteX311" fmla="*/ 236568 w 752994"/>
                <a:gd name="connsiteY311" fmla="*/ 67457 h 1333436"/>
                <a:gd name="connsiteX312" fmla="*/ 231264 w 752994"/>
                <a:gd name="connsiteY312" fmla="*/ 69905 h 1333436"/>
                <a:gd name="connsiteX313" fmla="*/ 216778 w 752994"/>
                <a:gd name="connsiteY313" fmla="*/ 82741 h 1333436"/>
                <a:gd name="connsiteX314" fmla="*/ 214134 w 752994"/>
                <a:gd name="connsiteY314" fmla="*/ 93536 h 1333436"/>
                <a:gd name="connsiteX315" fmla="*/ 214535 w 752994"/>
                <a:gd name="connsiteY315" fmla="*/ 96801 h 1333436"/>
                <a:gd name="connsiteX316" fmla="*/ 216378 w 752994"/>
                <a:gd name="connsiteY316" fmla="*/ 96801 h 1333436"/>
                <a:gd name="connsiteX317" fmla="*/ 230046 w 752994"/>
                <a:gd name="connsiteY317" fmla="*/ 85387 h 1333436"/>
                <a:gd name="connsiteX318" fmla="*/ 243298 w 752994"/>
                <a:gd name="connsiteY318" fmla="*/ 75198 h 1333436"/>
                <a:gd name="connsiteX319" fmla="*/ 246760 w 752994"/>
                <a:gd name="connsiteY319" fmla="*/ 77646 h 1333436"/>
                <a:gd name="connsiteX320" fmla="*/ 255541 w 752994"/>
                <a:gd name="connsiteY320" fmla="*/ 63376 h 1333436"/>
                <a:gd name="connsiteX321" fmla="*/ 259611 w 752994"/>
                <a:gd name="connsiteY321" fmla="*/ 43405 h 1333436"/>
                <a:gd name="connsiteX322" fmla="*/ 256967 w 752994"/>
                <a:gd name="connsiteY322" fmla="*/ 38520 h 1333436"/>
                <a:gd name="connsiteX323" fmla="*/ 253906 w 752994"/>
                <a:gd name="connsiteY323" fmla="*/ 34242 h 1333436"/>
                <a:gd name="connsiteX324" fmla="*/ 256967 w 752994"/>
                <a:gd name="connsiteY324" fmla="*/ 30161 h 1333436"/>
                <a:gd name="connsiteX325" fmla="*/ 262063 w 752994"/>
                <a:gd name="connsiteY325" fmla="*/ 27712 h 1333436"/>
                <a:gd name="connsiteX326" fmla="*/ 264915 w 752994"/>
                <a:gd name="connsiteY326" fmla="*/ 23026 h 1333436"/>
                <a:gd name="connsiteX327" fmla="*/ 267976 w 752994"/>
                <a:gd name="connsiteY327" fmla="*/ 22618 h 1333436"/>
                <a:gd name="connsiteX328" fmla="*/ 270427 w 752994"/>
                <a:gd name="connsiteY328" fmla="*/ 20787 h 1333436"/>
                <a:gd name="connsiteX329" fmla="*/ 263088 w 752994"/>
                <a:gd name="connsiteY329" fmla="*/ 13652 h 1333436"/>
                <a:gd name="connsiteX330" fmla="*/ 255541 w 752994"/>
                <a:gd name="connsiteY330" fmla="*/ 3055 h 1333436"/>
                <a:gd name="connsiteX331" fmla="*/ 256358 w 752994"/>
                <a:gd name="connsiteY331" fmla="*/ 1224 h 1333436"/>
                <a:gd name="connsiteX332" fmla="*/ 257159 w 752994"/>
                <a:gd name="connsiteY332"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40789 w 752994"/>
                <a:gd name="connsiteY26" fmla="*/ 243536 h 1333436"/>
                <a:gd name="connsiteX27" fmla="*/ 323868 w 752994"/>
                <a:gd name="connsiteY27" fmla="*/ 241495 h 1333436"/>
                <a:gd name="connsiteX28" fmla="*/ 280827 w 752994"/>
                <a:gd name="connsiteY28" fmla="*/ 242720 h 1333436"/>
                <a:gd name="connsiteX29" fmla="*/ 274497 w 752994"/>
                <a:gd name="connsiteY29" fmla="*/ 238441 h 1333436"/>
                <a:gd name="connsiteX30" fmla="*/ 269001 w 752994"/>
                <a:gd name="connsiteY30" fmla="*/ 240679 h 1333436"/>
                <a:gd name="connsiteX31" fmla="*/ 262880 w 752994"/>
                <a:gd name="connsiteY31" fmla="*/ 243128 h 1333436"/>
                <a:gd name="connsiteX32" fmla="*/ 247994 w 752994"/>
                <a:gd name="connsiteY32" fmla="*/ 241693 h 1333436"/>
                <a:gd name="connsiteX33" fmla="*/ 235142 w 752994"/>
                <a:gd name="connsiteY33" fmla="*/ 229476 h 1333436"/>
                <a:gd name="connsiteX34" fmla="*/ 224742 w 752994"/>
                <a:gd name="connsiteY34" fmla="*/ 226817 h 1333436"/>
                <a:gd name="connsiteX35" fmla="*/ 216778 w 752994"/>
                <a:gd name="connsiteY35" fmla="*/ 229068 h 1333436"/>
                <a:gd name="connsiteX36" fmla="*/ 195162 w 752994"/>
                <a:gd name="connsiteY36" fmla="*/ 228857 h 1333436"/>
                <a:gd name="connsiteX37" fmla="*/ 188223 w 752994"/>
                <a:gd name="connsiteY37" fmla="*/ 223973 h 1333436"/>
                <a:gd name="connsiteX38" fmla="*/ 185163 w 752994"/>
                <a:gd name="connsiteY38" fmla="*/ 219484 h 1333436"/>
                <a:gd name="connsiteX39" fmla="*/ 184180 w 752994"/>
                <a:gd name="connsiteY39" fmla="*/ 213866 h 1333436"/>
                <a:gd name="connsiteX40" fmla="*/ 257159 w 752994"/>
                <a:gd name="connsiteY40" fmla="*/ 0 h 1333436"/>
                <a:gd name="connsiteX41" fmla="*/ 493147 w 752994"/>
                <a:gd name="connsiteY41" fmla="*/ 73157 h 1333436"/>
                <a:gd name="connsiteX42" fmla="*/ 492970 w 752994"/>
                <a:gd name="connsiteY42" fmla="*/ 73792 h 1333436"/>
                <a:gd name="connsiteX43" fmla="*/ 525816 w 752994"/>
                <a:gd name="connsiteY43" fmla="*/ 82491 h 1333436"/>
                <a:gd name="connsiteX44" fmla="*/ 520098 w 752994"/>
                <a:gd name="connsiteY44" fmla="*/ 111245 h 1333436"/>
                <a:gd name="connsiteX45" fmla="*/ 512552 w 752994"/>
                <a:gd name="connsiteY45" fmla="*/ 143854 h 1333436"/>
                <a:gd name="connsiteX46" fmla="*/ 517849 w 752994"/>
                <a:gd name="connsiteY46" fmla="*/ 157740 h 1333436"/>
                <a:gd name="connsiteX47" fmla="*/ 523160 w 752994"/>
                <a:gd name="connsiteY47" fmla="*/ 172009 h 1333436"/>
                <a:gd name="connsiteX48" fmla="*/ 521535 w 752994"/>
                <a:gd name="connsiteY48" fmla="*/ 178928 h 1333436"/>
                <a:gd name="connsiteX49" fmla="*/ 520098 w 752994"/>
                <a:gd name="connsiteY49" fmla="*/ 186279 h 1333436"/>
                <a:gd name="connsiteX50" fmla="*/ 526019 w 752994"/>
                <a:gd name="connsiteY50" fmla="*/ 193629 h 1333436"/>
                <a:gd name="connsiteX51" fmla="*/ 537251 w 752994"/>
                <a:gd name="connsiteY51" fmla="*/ 206270 h 1333436"/>
                <a:gd name="connsiteX52" fmla="*/ 542765 w 752994"/>
                <a:gd name="connsiteY52" fmla="*/ 217475 h 1333436"/>
                <a:gd name="connsiteX53" fmla="*/ 546857 w 752994"/>
                <a:gd name="connsiteY53" fmla="*/ 230930 h 1333436"/>
                <a:gd name="connsiteX54" fmla="*/ 549499 w 752994"/>
                <a:gd name="connsiteY54" fmla="*/ 235622 h 1333436"/>
                <a:gd name="connsiteX55" fmla="*/ 553388 w 752994"/>
                <a:gd name="connsiteY55" fmla="*/ 240722 h 1333436"/>
                <a:gd name="connsiteX56" fmla="*/ 557465 w 752994"/>
                <a:gd name="connsiteY56" fmla="*/ 246037 h 1333436"/>
                <a:gd name="connsiteX57" fmla="*/ 561761 w 752994"/>
                <a:gd name="connsiteY57" fmla="*/ 248671 h 1333436"/>
                <a:gd name="connsiteX58" fmla="*/ 567478 w 752994"/>
                <a:gd name="connsiteY58" fmla="*/ 247665 h 1333436"/>
                <a:gd name="connsiteX59" fmla="*/ 569931 w 752994"/>
                <a:gd name="connsiteY59" fmla="*/ 249293 h 1333436"/>
                <a:gd name="connsiteX60" fmla="*/ 570540 w 752994"/>
                <a:gd name="connsiteY60" fmla="*/ 251951 h 1333436"/>
                <a:gd name="connsiteX61" fmla="*/ 561964 w 752994"/>
                <a:gd name="connsiteY61" fmla="*/ 267656 h 1333436"/>
                <a:gd name="connsiteX62" fmla="*/ 553591 w 752994"/>
                <a:gd name="connsiteY62" fmla="*/ 289659 h 1333436"/>
                <a:gd name="connsiteX63" fmla="*/ 554810 w 752994"/>
                <a:gd name="connsiteY63" fmla="*/ 292939 h 1333436"/>
                <a:gd name="connsiteX64" fmla="*/ 556246 w 752994"/>
                <a:gd name="connsiteY64" fmla="*/ 299260 h 1333436"/>
                <a:gd name="connsiteX65" fmla="*/ 552778 w 752994"/>
                <a:gd name="connsiteY65" fmla="*/ 301917 h 1333436"/>
                <a:gd name="connsiteX66" fmla="*/ 549295 w 752994"/>
                <a:gd name="connsiteY66" fmla="*/ 306993 h 1333436"/>
                <a:gd name="connsiteX67" fmla="*/ 547061 w 752994"/>
                <a:gd name="connsiteY67" fmla="*/ 313122 h 1333436"/>
                <a:gd name="connsiteX68" fmla="*/ 544811 w 752994"/>
                <a:gd name="connsiteY68" fmla="*/ 316593 h 1333436"/>
                <a:gd name="connsiteX69" fmla="*/ 549919 w 752994"/>
                <a:gd name="connsiteY69" fmla="*/ 322698 h 1333436"/>
                <a:gd name="connsiteX70" fmla="*/ 553184 w 752994"/>
                <a:gd name="connsiteY70" fmla="*/ 325955 h 1333436"/>
                <a:gd name="connsiteX71" fmla="*/ 555840 w 752994"/>
                <a:gd name="connsiteY71" fmla="*/ 328205 h 1333436"/>
                <a:gd name="connsiteX72" fmla="*/ 574212 w 752994"/>
                <a:gd name="connsiteY72" fmla="*/ 318820 h 1333436"/>
                <a:gd name="connsiteX73" fmla="*/ 579523 w 752994"/>
                <a:gd name="connsiteY73" fmla="*/ 326577 h 1333436"/>
                <a:gd name="connsiteX74" fmla="*/ 580539 w 752994"/>
                <a:gd name="connsiteY74" fmla="*/ 334933 h 1333436"/>
                <a:gd name="connsiteX75" fmla="*/ 579726 w 752994"/>
                <a:gd name="connsiteY75" fmla="*/ 343097 h 1333436"/>
                <a:gd name="connsiteX76" fmla="*/ 581366 w 752994"/>
                <a:gd name="connsiteY76" fmla="*/ 350231 h 1333436"/>
                <a:gd name="connsiteX77" fmla="*/ 586256 w 752994"/>
                <a:gd name="connsiteY77" fmla="*/ 355930 h 1333436"/>
                <a:gd name="connsiteX78" fmla="*/ 589536 w 752994"/>
                <a:gd name="connsiteY78" fmla="*/ 362059 h 1333436"/>
                <a:gd name="connsiteX79" fmla="*/ 588099 w 752994"/>
                <a:gd name="connsiteY79" fmla="*/ 369600 h 1333436"/>
                <a:gd name="connsiteX80" fmla="*/ 586459 w 752994"/>
                <a:gd name="connsiteY80" fmla="*/ 377357 h 1333436"/>
                <a:gd name="connsiteX81" fmla="*/ 588709 w 752994"/>
                <a:gd name="connsiteY81" fmla="*/ 381835 h 1333436"/>
                <a:gd name="connsiteX82" fmla="*/ 595036 w 752994"/>
                <a:gd name="connsiteY82" fmla="*/ 382457 h 1333436"/>
                <a:gd name="connsiteX83" fmla="*/ 599331 w 752994"/>
                <a:gd name="connsiteY83" fmla="*/ 385306 h 1333436"/>
                <a:gd name="connsiteX84" fmla="*/ 601987 w 752994"/>
                <a:gd name="connsiteY84" fmla="*/ 391004 h 1333436"/>
                <a:gd name="connsiteX85" fmla="*/ 602799 w 752994"/>
                <a:gd name="connsiteY85" fmla="*/ 404076 h 1333436"/>
                <a:gd name="connsiteX86" fmla="*/ 606892 w 752994"/>
                <a:gd name="connsiteY86" fmla="*/ 415688 h 1333436"/>
                <a:gd name="connsiteX87" fmla="*/ 610563 w 752994"/>
                <a:gd name="connsiteY87" fmla="*/ 412217 h 1333436"/>
                <a:gd name="connsiteX88" fmla="*/ 617920 w 752994"/>
                <a:gd name="connsiteY88" fmla="*/ 408769 h 1333436"/>
                <a:gd name="connsiteX89" fmla="*/ 624654 w 752994"/>
                <a:gd name="connsiteY89" fmla="*/ 411211 h 1333436"/>
                <a:gd name="connsiteX90" fmla="*/ 634652 w 752994"/>
                <a:gd name="connsiteY90" fmla="*/ 410182 h 1333436"/>
                <a:gd name="connsiteX91" fmla="*/ 640573 w 752994"/>
                <a:gd name="connsiteY91" fmla="*/ 407739 h 1333436"/>
                <a:gd name="connsiteX92" fmla="*/ 646711 w 752994"/>
                <a:gd name="connsiteY92" fmla="*/ 410589 h 1333436"/>
                <a:gd name="connsiteX93" fmla="*/ 650383 w 752994"/>
                <a:gd name="connsiteY93" fmla="*/ 410589 h 1333436"/>
                <a:gd name="connsiteX94" fmla="*/ 654257 w 752994"/>
                <a:gd name="connsiteY94" fmla="*/ 411618 h 1333436"/>
                <a:gd name="connsiteX95" fmla="*/ 656913 w 752994"/>
                <a:gd name="connsiteY95" fmla="*/ 413653 h 1333436"/>
                <a:gd name="connsiteX96" fmla="*/ 660802 w 752994"/>
                <a:gd name="connsiteY96" fmla="*/ 415090 h 1333436"/>
                <a:gd name="connsiteX97" fmla="*/ 669581 w 752994"/>
                <a:gd name="connsiteY97" fmla="*/ 415904 h 1333436"/>
                <a:gd name="connsiteX98" fmla="*/ 672237 w 752994"/>
                <a:gd name="connsiteY98" fmla="*/ 415688 h 1333436"/>
                <a:gd name="connsiteX99" fmla="*/ 675705 w 752994"/>
                <a:gd name="connsiteY99" fmla="*/ 409367 h 1333436"/>
                <a:gd name="connsiteX100" fmla="*/ 679986 w 752994"/>
                <a:gd name="connsiteY100" fmla="*/ 403238 h 1333436"/>
                <a:gd name="connsiteX101" fmla="*/ 693264 w 752994"/>
                <a:gd name="connsiteY101" fmla="*/ 419567 h 1333436"/>
                <a:gd name="connsiteX102" fmla="*/ 688563 w 752994"/>
                <a:gd name="connsiteY102" fmla="*/ 448321 h 1333436"/>
                <a:gd name="connsiteX103" fmla="*/ 663949 w 752994"/>
                <a:gd name="connsiteY103" fmla="*/ 590165 h 1333436"/>
                <a:gd name="connsiteX104" fmla="*/ 666304 w 752994"/>
                <a:gd name="connsiteY104" fmla="*/ 590504 h 1333436"/>
                <a:gd name="connsiteX105" fmla="*/ 655288 w 752994"/>
                <a:gd name="connsiteY105" fmla="*/ 656178 h 1333436"/>
                <a:gd name="connsiteX106" fmla="*/ 681808 w 752994"/>
                <a:gd name="connsiteY106" fmla="*/ 662301 h 1333436"/>
                <a:gd name="connsiteX107" fmla="*/ 752994 w 752994"/>
                <a:gd name="connsiteY107" fmla="*/ 675560 h 1333436"/>
                <a:gd name="connsiteX108" fmla="*/ 714651 w 752994"/>
                <a:gd name="connsiteY108" fmla="*/ 946985 h 1333436"/>
                <a:gd name="connsiteX109" fmla="*/ 654533 w 752994"/>
                <a:gd name="connsiteY109" fmla="*/ 1333436 h 1333436"/>
                <a:gd name="connsiteX110" fmla="*/ 546831 w 752994"/>
                <a:gd name="connsiteY110" fmla="*/ 1317126 h 1333436"/>
                <a:gd name="connsiteX111" fmla="*/ 351227 w 752994"/>
                <a:gd name="connsiteY111" fmla="*/ 1194172 h 1333436"/>
                <a:gd name="connsiteX112" fmla="*/ 361011 w 752994"/>
                <a:gd name="connsiteY112" fmla="*/ 1182755 h 1333436"/>
                <a:gd name="connsiteX113" fmla="*/ 368981 w 752994"/>
                <a:gd name="connsiteY113" fmla="*/ 1182130 h 1333436"/>
                <a:gd name="connsiteX114" fmla="*/ 369571 w 752994"/>
                <a:gd name="connsiteY114" fmla="*/ 1181558 h 1333436"/>
                <a:gd name="connsiteX115" fmla="*/ 362372 w 752994"/>
                <a:gd name="connsiteY115" fmla="*/ 1182120 h 1333436"/>
                <a:gd name="connsiteX116" fmla="*/ 229464 w 752994"/>
                <a:gd name="connsiteY116" fmla="*/ 1161721 h 1333436"/>
                <a:gd name="connsiteX117" fmla="*/ 227427 w 752994"/>
                <a:gd name="connsiteY117" fmla="*/ 1157269 h 1333436"/>
                <a:gd name="connsiteX118" fmla="*/ 224967 w 752994"/>
                <a:gd name="connsiteY118" fmla="*/ 1152575 h 1333436"/>
                <a:gd name="connsiteX119" fmla="*/ 225582 w 752994"/>
                <a:gd name="connsiteY119" fmla="*/ 1144808 h 1333436"/>
                <a:gd name="connsiteX120" fmla="*/ 227215 w 752994"/>
                <a:gd name="connsiteY120" fmla="*/ 1135834 h 1333436"/>
                <a:gd name="connsiteX121" fmla="*/ 227215 w 752994"/>
                <a:gd name="connsiteY121" fmla="*/ 1134212 h 1333436"/>
                <a:gd name="connsiteX122" fmla="*/ 225179 w 752994"/>
                <a:gd name="connsiteY122" fmla="*/ 1114020 h 1333436"/>
                <a:gd name="connsiteX123" fmla="*/ 217839 w 752994"/>
                <a:gd name="connsiteY123" fmla="*/ 1100352 h 1333436"/>
                <a:gd name="connsiteX124" fmla="*/ 199661 w 752994"/>
                <a:gd name="connsiteY124" fmla="*/ 1076502 h 1333436"/>
                <a:gd name="connsiteX125" fmla="*/ 196395 w 752994"/>
                <a:gd name="connsiteY125" fmla="*/ 1071807 h 1333436"/>
                <a:gd name="connsiteX126" fmla="*/ 190880 w 752994"/>
                <a:gd name="connsiteY126" fmla="*/ 1067527 h 1333436"/>
                <a:gd name="connsiteX127" fmla="*/ 187210 w 752994"/>
                <a:gd name="connsiteY127" fmla="*/ 1068735 h 1333436"/>
                <a:gd name="connsiteX128" fmla="*/ 180062 w 752994"/>
                <a:gd name="connsiteY128" fmla="*/ 1066699 h 1333436"/>
                <a:gd name="connsiteX129" fmla="*/ 180466 w 752994"/>
                <a:gd name="connsiteY129" fmla="*/ 1053031 h 1333436"/>
                <a:gd name="connsiteX130" fmla="*/ 180062 w 752994"/>
                <a:gd name="connsiteY130" fmla="*/ 1045299 h 1333436"/>
                <a:gd name="connsiteX131" fmla="*/ 174144 w 752994"/>
                <a:gd name="connsiteY131" fmla="*/ 1044057 h 1333436"/>
                <a:gd name="connsiteX132" fmla="*/ 158426 w 752994"/>
                <a:gd name="connsiteY132" fmla="*/ 1042641 h 1333436"/>
                <a:gd name="connsiteX133" fmla="*/ 149857 w 752994"/>
                <a:gd name="connsiteY133" fmla="*/ 1035497 h 1333436"/>
                <a:gd name="connsiteX134" fmla="*/ 142497 w 752994"/>
                <a:gd name="connsiteY134" fmla="*/ 1028766 h 1333436"/>
                <a:gd name="connsiteX135" fmla="*/ 140864 w 752994"/>
                <a:gd name="connsiteY135" fmla="*/ 1020620 h 1333436"/>
                <a:gd name="connsiteX136" fmla="*/ 138212 w 752994"/>
                <a:gd name="connsiteY136" fmla="*/ 1013061 h 1333436"/>
                <a:gd name="connsiteX137" fmla="*/ 131064 w 752994"/>
                <a:gd name="connsiteY137" fmla="*/ 1007159 h 1333436"/>
                <a:gd name="connsiteX138" fmla="*/ 121264 w 752994"/>
                <a:gd name="connsiteY138" fmla="*/ 1005330 h 1333436"/>
                <a:gd name="connsiteX139" fmla="*/ 112483 w 752994"/>
                <a:gd name="connsiteY139" fmla="*/ 1001671 h 1333436"/>
                <a:gd name="connsiteX140" fmla="*/ 105950 w 752994"/>
                <a:gd name="connsiteY140" fmla="*/ 995734 h 1333436"/>
                <a:gd name="connsiteX141" fmla="*/ 97380 w 752994"/>
                <a:gd name="connsiteY141" fmla="*/ 994526 h 1333436"/>
                <a:gd name="connsiteX142" fmla="*/ 87984 w 752994"/>
                <a:gd name="connsiteY142" fmla="*/ 991040 h 1333436"/>
                <a:gd name="connsiteX143" fmla="*/ 80029 w 752994"/>
                <a:gd name="connsiteY143" fmla="*/ 985138 h 1333436"/>
                <a:gd name="connsiteX144" fmla="*/ 77166 w 752994"/>
                <a:gd name="connsiteY144" fmla="*/ 976164 h 1333436"/>
                <a:gd name="connsiteX145" fmla="*/ 79203 w 752994"/>
                <a:gd name="connsiteY145" fmla="*/ 970676 h 1333436"/>
                <a:gd name="connsiteX146" fmla="*/ 82470 w 752994"/>
                <a:gd name="connsiteY146" fmla="*/ 963117 h 1333436"/>
                <a:gd name="connsiteX147" fmla="*/ 84314 w 752994"/>
                <a:gd name="connsiteY147" fmla="*/ 954557 h 1333436"/>
                <a:gd name="connsiteX148" fmla="*/ 86351 w 752994"/>
                <a:gd name="connsiteY148" fmla="*/ 948033 h 1333436"/>
                <a:gd name="connsiteX149" fmla="*/ 86159 w 752994"/>
                <a:gd name="connsiteY149" fmla="*/ 942925 h 1333436"/>
                <a:gd name="connsiteX150" fmla="*/ 83085 w 752994"/>
                <a:gd name="connsiteY150" fmla="*/ 939853 h 1333436"/>
                <a:gd name="connsiteX151" fmla="*/ 77570 w 752994"/>
                <a:gd name="connsiteY151" fmla="*/ 937437 h 1333436"/>
                <a:gd name="connsiteX152" fmla="*/ 76763 w 752994"/>
                <a:gd name="connsiteY152" fmla="*/ 931915 h 1333436"/>
                <a:gd name="connsiteX153" fmla="*/ 78800 w 752994"/>
                <a:gd name="connsiteY153" fmla="*/ 927013 h 1333436"/>
                <a:gd name="connsiteX154" fmla="*/ 79626 w 752994"/>
                <a:gd name="connsiteY154" fmla="*/ 922526 h 1333436"/>
                <a:gd name="connsiteX155" fmla="*/ 77781 w 752994"/>
                <a:gd name="connsiteY155" fmla="*/ 919903 h 1333436"/>
                <a:gd name="connsiteX156" fmla="*/ 74303 w 752994"/>
                <a:gd name="connsiteY156" fmla="*/ 917418 h 1333436"/>
                <a:gd name="connsiteX157" fmla="*/ 71863 w 752994"/>
                <a:gd name="connsiteY157" fmla="*/ 915174 h 1333436"/>
                <a:gd name="connsiteX158" fmla="*/ 71652 w 752994"/>
                <a:gd name="connsiteY158" fmla="*/ 910894 h 1333436"/>
                <a:gd name="connsiteX159" fmla="*/ 70633 w 752994"/>
                <a:gd name="connsiteY159" fmla="*/ 906614 h 1333436"/>
                <a:gd name="connsiteX160" fmla="*/ 68385 w 752994"/>
                <a:gd name="connsiteY160" fmla="*/ 902749 h 1333436"/>
                <a:gd name="connsiteX161" fmla="*/ 61045 w 752994"/>
                <a:gd name="connsiteY161" fmla="*/ 889494 h 1333436"/>
                <a:gd name="connsiteX162" fmla="*/ 57971 w 752994"/>
                <a:gd name="connsiteY162" fmla="*/ 875619 h 1333436"/>
                <a:gd name="connsiteX163" fmla="*/ 52264 w 752994"/>
                <a:gd name="connsiteY163" fmla="*/ 862572 h 1333436"/>
                <a:gd name="connsiteX164" fmla="*/ 44309 w 752994"/>
                <a:gd name="connsiteY164" fmla="*/ 850561 h 1333436"/>
                <a:gd name="connsiteX165" fmla="*/ 45520 w 752994"/>
                <a:gd name="connsiteY165" fmla="*/ 827090 h 1333436"/>
                <a:gd name="connsiteX166" fmla="*/ 53071 w 752994"/>
                <a:gd name="connsiteY166" fmla="*/ 822396 h 1333436"/>
                <a:gd name="connsiteX167" fmla="*/ 57375 w 752994"/>
                <a:gd name="connsiteY167" fmla="*/ 816493 h 1333436"/>
                <a:gd name="connsiteX168" fmla="*/ 55319 w 752994"/>
                <a:gd name="connsiteY168" fmla="*/ 801617 h 1333436"/>
                <a:gd name="connsiteX169" fmla="*/ 48383 w 752994"/>
                <a:gd name="connsiteY169" fmla="*/ 802204 h 1333436"/>
                <a:gd name="connsiteX170" fmla="*/ 40428 w 752994"/>
                <a:gd name="connsiteY170" fmla="*/ 797924 h 1333436"/>
                <a:gd name="connsiteX171" fmla="*/ 37565 w 752994"/>
                <a:gd name="connsiteY171" fmla="*/ 790606 h 1333436"/>
                <a:gd name="connsiteX172" fmla="*/ 37565 w 752994"/>
                <a:gd name="connsiteY172" fmla="*/ 790399 h 1333436"/>
                <a:gd name="connsiteX173" fmla="*/ 35931 w 752994"/>
                <a:gd name="connsiteY173" fmla="*/ 785912 h 1333436"/>
                <a:gd name="connsiteX174" fmla="*/ 34510 w 752994"/>
                <a:gd name="connsiteY174" fmla="*/ 780597 h 1333436"/>
                <a:gd name="connsiteX175" fmla="*/ 36335 w 752994"/>
                <a:gd name="connsiteY175" fmla="*/ 774280 h 1333436"/>
                <a:gd name="connsiteX176" fmla="*/ 38180 w 752994"/>
                <a:gd name="connsiteY176" fmla="*/ 766721 h 1333436"/>
                <a:gd name="connsiteX177" fmla="*/ 37161 w 752994"/>
                <a:gd name="connsiteY177" fmla="*/ 760405 h 1333436"/>
                <a:gd name="connsiteX178" fmla="*/ 35720 w 752994"/>
                <a:gd name="connsiteY178" fmla="*/ 754710 h 1333436"/>
                <a:gd name="connsiteX179" fmla="*/ 36546 w 752994"/>
                <a:gd name="connsiteY179" fmla="*/ 748773 h 1333436"/>
                <a:gd name="connsiteX180" fmla="*/ 38372 w 752994"/>
                <a:gd name="connsiteY180" fmla="*/ 744528 h 1333436"/>
                <a:gd name="connsiteX181" fmla="*/ 41638 w 752994"/>
                <a:gd name="connsiteY181" fmla="*/ 744321 h 1333436"/>
                <a:gd name="connsiteX182" fmla="*/ 44713 w 752994"/>
                <a:gd name="connsiteY182" fmla="*/ 746357 h 1333436"/>
                <a:gd name="connsiteX183" fmla="*/ 47364 w 752994"/>
                <a:gd name="connsiteY183" fmla="*/ 753260 h 1333436"/>
                <a:gd name="connsiteX184" fmla="*/ 55742 w 752994"/>
                <a:gd name="connsiteY184" fmla="*/ 764305 h 1333436"/>
                <a:gd name="connsiteX185" fmla="*/ 56338 w 752994"/>
                <a:gd name="connsiteY185" fmla="*/ 761233 h 1333436"/>
                <a:gd name="connsiteX186" fmla="*/ 56145 w 752994"/>
                <a:gd name="connsiteY186" fmla="*/ 757368 h 1333436"/>
                <a:gd name="connsiteX187" fmla="*/ 54916 w 752994"/>
                <a:gd name="connsiteY187" fmla="*/ 748601 h 1333436"/>
                <a:gd name="connsiteX188" fmla="*/ 52879 w 752994"/>
                <a:gd name="connsiteY188" fmla="*/ 747358 h 1333436"/>
                <a:gd name="connsiteX189" fmla="*/ 51649 w 752994"/>
                <a:gd name="connsiteY189" fmla="*/ 745322 h 1333436"/>
                <a:gd name="connsiteX190" fmla="*/ 51649 w 752994"/>
                <a:gd name="connsiteY190" fmla="*/ 739212 h 1333436"/>
                <a:gd name="connsiteX191" fmla="*/ 50227 w 752994"/>
                <a:gd name="connsiteY191" fmla="*/ 734725 h 1333436"/>
                <a:gd name="connsiteX192" fmla="*/ 48786 w 752994"/>
                <a:gd name="connsiteY192" fmla="*/ 731446 h 1333436"/>
                <a:gd name="connsiteX193" fmla="*/ 54512 w 752994"/>
                <a:gd name="connsiteY193" fmla="*/ 726372 h 1333436"/>
                <a:gd name="connsiteX194" fmla="*/ 59815 w 752994"/>
                <a:gd name="connsiteY194" fmla="*/ 725130 h 1333436"/>
                <a:gd name="connsiteX195" fmla="*/ 58182 w 752994"/>
                <a:gd name="connsiteY195" fmla="*/ 722886 h 1333436"/>
                <a:gd name="connsiteX196" fmla="*/ 51861 w 752994"/>
                <a:gd name="connsiteY196" fmla="*/ 717985 h 1333436"/>
                <a:gd name="connsiteX197" fmla="*/ 46749 w 752994"/>
                <a:gd name="connsiteY197" fmla="*/ 729617 h 1333436"/>
                <a:gd name="connsiteX198" fmla="*/ 40831 w 752994"/>
                <a:gd name="connsiteY198" fmla="*/ 739212 h 1333436"/>
                <a:gd name="connsiteX199" fmla="*/ 39601 w 752994"/>
                <a:gd name="connsiteY199" fmla="*/ 738798 h 1333436"/>
                <a:gd name="connsiteX200" fmla="*/ 39409 w 752994"/>
                <a:gd name="connsiteY200" fmla="*/ 738591 h 1333436"/>
                <a:gd name="connsiteX201" fmla="*/ 37161 w 752994"/>
                <a:gd name="connsiteY201" fmla="*/ 734725 h 1333436"/>
                <a:gd name="connsiteX202" fmla="*/ 32665 w 752994"/>
                <a:gd name="connsiteY202" fmla="*/ 727788 h 1333436"/>
                <a:gd name="connsiteX203" fmla="*/ 26747 w 752994"/>
                <a:gd name="connsiteY203" fmla="*/ 719435 h 1333436"/>
                <a:gd name="connsiteX204" fmla="*/ 23884 w 752994"/>
                <a:gd name="connsiteY204" fmla="*/ 717812 h 1333436"/>
                <a:gd name="connsiteX205" fmla="*/ 24710 w 752994"/>
                <a:gd name="connsiteY205" fmla="*/ 709632 h 1333436"/>
                <a:gd name="connsiteX206" fmla="*/ 27554 w 752994"/>
                <a:gd name="connsiteY206" fmla="*/ 701694 h 1333436"/>
                <a:gd name="connsiteX207" fmla="*/ 24902 w 752994"/>
                <a:gd name="connsiteY207" fmla="*/ 696171 h 1333436"/>
                <a:gd name="connsiteX208" fmla="*/ 24095 w 752994"/>
                <a:gd name="connsiteY208" fmla="*/ 687818 h 1333436"/>
                <a:gd name="connsiteX209" fmla="*/ 22462 w 752994"/>
                <a:gd name="connsiteY209" fmla="*/ 682330 h 1333436"/>
                <a:gd name="connsiteX210" fmla="*/ 17159 w 752994"/>
                <a:gd name="connsiteY210" fmla="*/ 677636 h 1333436"/>
                <a:gd name="connsiteX211" fmla="*/ 14296 w 752994"/>
                <a:gd name="connsiteY211" fmla="*/ 671492 h 1333436"/>
                <a:gd name="connsiteX212" fmla="*/ 12451 w 752994"/>
                <a:gd name="connsiteY212" fmla="*/ 665797 h 1333436"/>
                <a:gd name="connsiteX213" fmla="*/ 5111 w 752994"/>
                <a:gd name="connsiteY213" fmla="*/ 654994 h 1333436"/>
                <a:gd name="connsiteX214" fmla="*/ 2248 w 752994"/>
                <a:gd name="connsiteY214" fmla="*/ 645605 h 1333436"/>
                <a:gd name="connsiteX215" fmla="*/ 4496 w 752994"/>
                <a:gd name="connsiteY215" fmla="*/ 640497 h 1333436"/>
                <a:gd name="connsiteX216" fmla="*/ 6744 w 752994"/>
                <a:gd name="connsiteY216" fmla="*/ 632765 h 1333436"/>
                <a:gd name="connsiteX217" fmla="*/ 6744 w 752994"/>
                <a:gd name="connsiteY217" fmla="*/ 628485 h 1333436"/>
                <a:gd name="connsiteX218" fmla="*/ 6533 w 752994"/>
                <a:gd name="connsiteY218" fmla="*/ 620305 h 1333436"/>
                <a:gd name="connsiteX219" fmla="*/ 7359 w 752994"/>
                <a:gd name="connsiteY219" fmla="*/ 611745 h 1333436"/>
                <a:gd name="connsiteX220" fmla="*/ 11836 w 752994"/>
                <a:gd name="connsiteY220" fmla="*/ 602978 h 1333436"/>
                <a:gd name="connsiteX221" fmla="*/ 15103 w 752994"/>
                <a:gd name="connsiteY221" fmla="*/ 591760 h 1333436"/>
                <a:gd name="connsiteX222" fmla="*/ 14488 w 752994"/>
                <a:gd name="connsiteY222" fmla="*/ 584029 h 1333436"/>
                <a:gd name="connsiteX223" fmla="*/ 13873 w 752994"/>
                <a:gd name="connsiteY223" fmla="*/ 578299 h 1333436"/>
                <a:gd name="connsiteX224" fmla="*/ 10626 w 752994"/>
                <a:gd name="connsiteY224" fmla="*/ 568531 h 1333436"/>
                <a:gd name="connsiteX225" fmla="*/ 3670 w 752994"/>
                <a:gd name="connsiteY225" fmla="*/ 558107 h 1333436"/>
                <a:gd name="connsiteX226" fmla="*/ 0 w 752994"/>
                <a:gd name="connsiteY226" fmla="*/ 551377 h 1333436"/>
                <a:gd name="connsiteX227" fmla="*/ 0 w 752994"/>
                <a:gd name="connsiteY227" fmla="*/ 550997 h 1333436"/>
                <a:gd name="connsiteX228" fmla="*/ 4900 w 752994"/>
                <a:gd name="connsiteY228" fmla="*/ 531220 h 1333436"/>
                <a:gd name="connsiteX229" fmla="*/ 13873 w 752994"/>
                <a:gd name="connsiteY229" fmla="*/ 520589 h 1333436"/>
                <a:gd name="connsiteX230" fmla="*/ 18369 w 752994"/>
                <a:gd name="connsiteY230" fmla="*/ 516516 h 1333436"/>
                <a:gd name="connsiteX231" fmla="*/ 18773 w 752994"/>
                <a:gd name="connsiteY231" fmla="*/ 514272 h 1333436"/>
                <a:gd name="connsiteX232" fmla="*/ 23077 w 752994"/>
                <a:gd name="connsiteY232" fmla="*/ 506127 h 1333436"/>
                <a:gd name="connsiteX233" fmla="*/ 23884 w 752994"/>
                <a:gd name="connsiteY233" fmla="*/ 502261 h 1333436"/>
                <a:gd name="connsiteX234" fmla="*/ 23692 w 752994"/>
                <a:gd name="connsiteY234" fmla="*/ 496738 h 1333436"/>
                <a:gd name="connsiteX235" fmla="*/ 30013 w 752994"/>
                <a:gd name="connsiteY235" fmla="*/ 486556 h 1333436"/>
                <a:gd name="connsiteX236" fmla="*/ 36546 w 752994"/>
                <a:gd name="connsiteY236" fmla="*/ 470230 h 1333436"/>
                <a:gd name="connsiteX237" fmla="*/ 36546 w 752994"/>
                <a:gd name="connsiteY237" fmla="*/ 462671 h 1333436"/>
                <a:gd name="connsiteX238" fmla="*/ 36335 w 752994"/>
                <a:gd name="connsiteY238" fmla="*/ 461670 h 1333436"/>
                <a:gd name="connsiteX239" fmla="*/ 35931 w 752994"/>
                <a:gd name="connsiteY239" fmla="*/ 453110 h 1333436"/>
                <a:gd name="connsiteX240" fmla="*/ 38583 w 752994"/>
                <a:gd name="connsiteY240" fmla="*/ 442514 h 1333436"/>
                <a:gd name="connsiteX241" fmla="*/ 41043 w 752994"/>
                <a:gd name="connsiteY241" fmla="*/ 436991 h 1333436"/>
                <a:gd name="connsiteX242" fmla="*/ 41650 w 752994"/>
                <a:gd name="connsiteY242" fmla="*/ 437186 h 1333436"/>
                <a:gd name="connsiteX243" fmla="*/ 41239 w 752994"/>
                <a:gd name="connsiteY243" fmla="*/ 436549 h 1333436"/>
                <a:gd name="connsiteX244" fmla="*/ 37778 w 752994"/>
                <a:gd name="connsiteY244" fmla="*/ 433894 h 1333436"/>
                <a:gd name="connsiteX245" fmla="*/ 37169 w 752994"/>
                <a:gd name="connsiteY245" fmla="*/ 432261 h 1333436"/>
                <a:gd name="connsiteX246" fmla="*/ 37365 w 752994"/>
                <a:gd name="connsiteY246" fmla="*/ 429198 h 1333436"/>
                <a:gd name="connsiteX247" fmla="*/ 36756 w 752994"/>
                <a:gd name="connsiteY247" fmla="*/ 422272 h 1333436"/>
                <a:gd name="connsiteX248" fmla="*/ 36952 w 752994"/>
                <a:gd name="connsiteY248" fmla="*/ 418800 h 1333436"/>
                <a:gd name="connsiteX249" fmla="*/ 36756 w 752994"/>
                <a:gd name="connsiteY249" fmla="*/ 412487 h 1333436"/>
                <a:gd name="connsiteX250" fmla="*/ 40433 w 752994"/>
                <a:gd name="connsiteY250" fmla="*/ 406174 h 1333436"/>
                <a:gd name="connsiteX251" fmla="*/ 44720 w 752994"/>
                <a:gd name="connsiteY251" fmla="*/ 399435 h 1333436"/>
                <a:gd name="connsiteX252" fmla="*/ 44110 w 752994"/>
                <a:gd name="connsiteY252" fmla="*/ 389651 h 1333436"/>
                <a:gd name="connsiteX253" fmla="*/ 43894 w 752994"/>
                <a:gd name="connsiteY253" fmla="*/ 378437 h 1333436"/>
                <a:gd name="connsiteX254" fmla="*/ 47158 w 752994"/>
                <a:gd name="connsiteY254" fmla="*/ 371102 h 1333436"/>
                <a:gd name="connsiteX255" fmla="*/ 55731 w 752994"/>
                <a:gd name="connsiteY255" fmla="*/ 360909 h 1333436"/>
                <a:gd name="connsiteX256" fmla="*/ 57580 w 752994"/>
                <a:gd name="connsiteY256" fmla="*/ 355804 h 1333436"/>
                <a:gd name="connsiteX257" fmla="*/ 62673 w 752994"/>
                <a:gd name="connsiteY257" fmla="*/ 349695 h 1333436"/>
                <a:gd name="connsiteX258" fmla="*/ 65937 w 752994"/>
                <a:gd name="connsiteY258" fmla="*/ 348470 h 1333436"/>
                <a:gd name="connsiteX259" fmla="*/ 68395 w 752994"/>
                <a:gd name="connsiteY259" fmla="*/ 348674 h 1333436"/>
                <a:gd name="connsiteX260" fmla="*/ 70224 w 752994"/>
                <a:gd name="connsiteY260" fmla="*/ 347449 h 1333436"/>
                <a:gd name="connsiteX261" fmla="*/ 67785 w 752994"/>
                <a:gd name="connsiteY261" fmla="*/ 345203 h 1333436"/>
                <a:gd name="connsiteX262" fmla="*/ 65524 w 752994"/>
                <a:gd name="connsiteY262" fmla="*/ 343178 h 1333436"/>
                <a:gd name="connsiteX263" fmla="*/ 73095 w 752994"/>
                <a:gd name="connsiteY263" fmla="*/ 333376 h 1333436"/>
                <a:gd name="connsiteX264" fmla="*/ 73291 w 752994"/>
                <a:gd name="connsiteY264" fmla="*/ 333376 h 1333436"/>
                <a:gd name="connsiteX265" fmla="*/ 77991 w 752994"/>
                <a:gd name="connsiteY265" fmla="*/ 325838 h 1333436"/>
                <a:gd name="connsiteX266" fmla="*/ 82671 w 752994"/>
                <a:gd name="connsiteY266" fmla="*/ 313619 h 1333436"/>
                <a:gd name="connsiteX267" fmla="*/ 87980 w 752994"/>
                <a:gd name="connsiteY267" fmla="*/ 303018 h 1333436"/>
                <a:gd name="connsiteX268" fmla="*/ 92267 w 752994"/>
                <a:gd name="connsiteY268" fmla="*/ 291191 h 1333436"/>
                <a:gd name="connsiteX269" fmla="*/ 96553 w 752994"/>
                <a:gd name="connsiteY269" fmla="*/ 281202 h 1333436"/>
                <a:gd name="connsiteX270" fmla="*/ 99621 w 752994"/>
                <a:gd name="connsiteY270" fmla="*/ 274481 h 1333436"/>
                <a:gd name="connsiteX271" fmla="*/ 103082 w 752994"/>
                <a:gd name="connsiteY271" fmla="*/ 262450 h 1333436"/>
                <a:gd name="connsiteX272" fmla="*/ 107172 w 752994"/>
                <a:gd name="connsiteY272" fmla="*/ 254299 h 1333436"/>
                <a:gd name="connsiteX273" fmla="*/ 112481 w 752994"/>
                <a:gd name="connsiteY273" fmla="*/ 243697 h 1333436"/>
                <a:gd name="connsiteX274" fmla="*/ 117181 w 752994"/>
                <a:gd name="connsiteY274" fmla="*/ 232279 h 1333436"/>
                <a:gd name="connsiteX275" fmla="*/ 125951 w 752994"/>
                <a:gd name="connsiteY275" fmla="*/ 217389 h 1333436"/>
                <a:gd name="connsiteX276" fmla="*/ 136156 w 752994"/>
                <a:gd name="connsiteY276" fmla="*/ 202925 h 1333436"/>
                <a:gd name="connsiteX277" fmla="*/ 138811 w 752994"/>
                <a:gd name="connsiteY277" fmla="*/ 183339 h 1333436"/>
                <a:gd name="connsiteX278" fmla="*/ 148801 w 752994"/>
                <a:gd name="connsiteY278" fmla="*/ 167445 h 1333436"/>
                <a:gd name="connsiteX279" fmla="*/ 159616 w 752994"/>
                <a:gd name="connsiteY279" fmla="*/ 170712 h 1333436"/>
                <a:gd name="connsiteX280" fmla="*/ 173105 w 752994"/>
                <a:gd name="connsiteY280" fmla="*/ 175188 h 1333436"/>
                <a:gd name="connsiteX281" fmla="*/ 175347 w 752994"/>
                <a:gd name="connsiteY281" fmla="*/ 175188 h 1333436"/>
                <a:gd name="connsiteX282" fmla="*/ 175347 w 752994"/>
                <a:gd name="connsiteY282" fmla="*/ 173758 h 1333436"/>
                <a:gd name="connsiteX283" fmla="*/ 184975 w 752994"/>
                <a:gd name="connsiteY283" fmla="*/ 187393 h 1333436"/>
                <a:gd name="connsiteX284" fmla="*/ 184762 w 752994"/>
                <a:gd name="connsiteY284" fmla="*/ 184637 h 1333436"/>
                <a:gd name="connsiteX285" fmla="*/ 174971 w 752994"/>
                <a:gd name="connsiteY285" fmla="*/ 170774 h 1333436"/>
                <a:gd name="connsiteX286" fmla="*/ 174971 w 752994"/>
                <a:gd name="connsiteY286" fmla="*/ 169550 h 1333436"/>
                <a:gd name="connsiteX287" fmla="*/ 158851 w 752994"/>
                <a:gd name="connsiteY287" fmla="*/ 156924 h 1333436"/>
                <a:gd name="connsiteX288" fmla="*/ 147025 w 752994"/>
                <a:gd name="connsiteY288" fmla="*/ 145709 h 1333436"/>
                <a:gd name="connsiteX289" fmla="*/ 154364 w 752994"/>
                <a:gd name="connsiteY289" fmla="*/ 136335 h 1333436"/>
                <a:gd name="connsiteX290" fmla="*/ 161511 w 752994"/>
                <a:gd name="connsiteY290" fmla="*/ 131042 h 1333436"/>
                <a:gd name="connsiteX291" fmla="*/ 160902 w 752994"/>
                <a:gd name="connsiteY291" fmla="*/ 128384 h 1333436"/>
                <a:gd name="connsiteX292" fmla="*/ 160277 w 752994"/>
                <a:gd name="connsiteY292" fmla="*/ 127778 h 1333436"/>
                <a:gd name="connsiteX293" fmla="*/ 154973 w 752994"/>
                <a:gd name="connsiteY293" fmla="*/ 122077 h 1333436"/>
                <a:gd name="connsiteX294" fmla="*/ 160277 w 752994"/>
                <a:gd name="connsiteY294" fmla="*/ 115140 h 1333436"/>
                <a:gd name="connsiteX295" fmla="*/ 165181 w 752994"/>
                <a:gd name="connsiteY295" fmla="*/ 108215 h 1333436"/>
                <a:gd name="connsiteX296" fmla="*/ 161303 w 752994"/>
                <a:gd name="connsiteY296" fmla="*/ 104146 h 1333436"/>
                <a:gd name="connsiteX297" fmla="*/ 157842 w 752994"/>
                <a:gd name="connsiteY297" fmla="*/ 104542 h 1333436"/>
                <a:gd name="connsiteX298" fmla="*/ 157024 w 752994"/>
                <a:gd name="connsiteY298" fmla="*/ 102304 h 1333436"/>
                <a:gd name="connsiteX299" fmla="*/ 160694 w 752994"/>
                <a:gd name="connsiteY299" fmla="*/ 55437 h 1333436"/>
                <a:gd name="connsiteX300" fmla="*/ 160486 w 752994"/>
                <a:gd name="connsiteY300" fmla="*/ 31991 h 1333436"/>
                <a:gd name="connsiteX301" fmla="*/ 164972 w 752994"/>
                <a:gd name="connsiteY301" fmla="*/ 18141 h 1333436"/>
                <a:gd name="connsiteX302" fmla="*/ 171911 w 752994"/>
                <a:gd name="connsiteY302" fmla="*/ 11204 h 1333436"/>
                <a:gd name="connsiteX303" fmla="*/ 187406 w 752994"/>
                <a:gd name="connsiteY303" fmla="*/ 21801 h 1333436"/>
                <a:gd name="connsiteX304" fmla="*/ 210866 w 752994"/>
                <a:gd name="connsiteY304" fmla="*/ 37086 h 1333436"/>
                <a:gd name="connsiteX305" fmla="*/ 219230 w 752994"/>
                <a:gd name="connsiteY305" fmla="*/ 41166 h 1333436"/>
                <a:gd name="connsiteX306" fmla="*/ 226778 w 752994"/>
                <a:gd name="connsiteY306" fmla="*/ 47486 h 1333436"/>
                <a:gd name="connsiteX307" fmla="*/ 236152 w 752994"/>
                <a:gd name="connsiteY307" fmla="*/ 52370 h 1333436"/>
                <a:gd name="connsiteX308" fmla="*/ 239629 w 752994"/>
                <a:gd name="connsiteY308" fmla="*/ 58491 h 1333436"/>
                <a:gd name="connsiteX309" fmla="*/ 239629 w 752994"/>
                <a:gd name="connsiteY309" fmla="*/ 63376 h 1333436"/>
                <a:gd name="connsiteX310" fmla="*/ 236568 w 752994"/>
                <a:gd name="connsiteY310" fmla="*/ 67457 h 1333436"/>
                <a:gd name="connsiteX311" fmla="*/ 231264 w 752994"/>
                <a:gd name="connsiteY311" fmla="*/ 69905 h 1333436"/>
                <a:gd name="connsiteX312" fmla="*/ 216778 w 752994"/>
                <a:gd name="connsiteY312" fmla="*/ 82741 h 1333436"/>
                <a:gd name="connsiteX313" fmla="*/ 214134 w 752994"/>
                <a:gd name="connsiteY313" fmla="*/ 93536 h 1333436"/>
                <a:gd name="connsiteX314" fmla="*/ 214535 w 752994"/>
                <a:gd name="connsiteY314" fmla="*/ 96801 h 1333436"/>
                <a:gd name="connsiteX315" fmla="*/ 216378 w 752994"/>
                <a:gd name="connsiteY315" fmla="*/ 96801 h 1333436"/>
                <a:gd name="connsiteX316" fmla="*/ 230046 w 752994"/>
                <a:gd name="connsiteY316" fmla="*/ 85387 h 1333436"/>
                <a:gd name="connsiteX317" fmla="*/ 243298 w 752994"/>
                <a:gd name="connsiteY317" fmla="*/ 75198 h 1333436"/>
                <a:gd name="connsiteX318" fmla="*/ 246760 w 752994"/>
                <a:gd name="connsiteY318" fmla="*/ 77646 h 1333436"/>
                <a:gd name="connsiteX319" fmla="*/ 255541 w 752994"/>
                <a:gd name="connsiteY319" fmla="*/ 63376 h 1333436"/>
                <a:gd name="connsiteX320" fmla="*/ 259611 w 752994"/>
                <a:gd name="connsiteY320" fmla="*/ 43405 h 1333436"/>
                <a:gd name="connsiteX321" fmla="*/ 256967 w 752994"/>
                <a:gd name="connsiteY321" fmla="*/ 38520 h 1333436"/>
                <a:gd name="connsiteX322" fmla="*/ 253906 w 752994"/>
                <a:gd name="connsiteY322" fmla="*/ 34242 h 1333436"/>
                <a:gd name="connsiteX323" fmla="*/ 256967 w 752994"/>
                <a:gd name="connsiteY323" fmla="*/ 30161 h 1333436"/>
                <a:gd name="connsiteX324" fmla="*/ 262063 w 752994"/>
                <a:gd name="connsiteY324" fmla="*/ 27712 h 1333436"/>
                <a:gd name="connsiteX325" fmla="*/ 264915 w 752994"/>
                <a:gd name="connsiteY325" fmla="*/ 23026 h 1333436"/>
                <a:gd name="connsiteX326" fmla="*/ 267976 w 752994"/>
                <a:gd name="connsiteY326" fmla="*/ 22618 h 1333436"/>
                <a:gd name="connsiteX327" fmla="*/ 270427 w 752994"/>
                <a:gd name="connsiteY327" fmla="*/ 20787 h 1333436"/>
                <a:gd name="connsiteX328" fmla="*/ 263088 w 752994"/>
                <a:gd name="connsiteY328" fmla="*/ 13652 h 1333436"/>
                <a:gd name="connsiteX329" fmla="*/ 255541 w 752994"/>
                <a:gd name="connsiteY329" fmla="*/ 3055 h 1333436"/>
                <a:gd name="connsiteX330" fmla="*/ 256358 w 752994"/>
                <a:gd name="connsiteY330" fmla="*/ 1224 h 1333436"/>
                <a:gd name="connsiteX331" fmla="*/ 257159 w 752994"/>
                <a:gd name="connsiteY331"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40789 w 752994"/>
                <a:gd name="connsiteY26" fmla="*/ 243536 h 1333436"/>
                <a:gd name="connsiteX27" fmla="*/ 323868 w 752994"/>
                <a:gd name="connsiteY27" fmla="*/ 241495 h 1333436"/>
                <a:gd name="connsiteX28" fmla="*/ 280827 w 752994"/>
                <a:gd name="connsiteY28" fmla="*/ 242720 h 1333436"/>
                <a:gd name="connsiteX29" fmla="*/ 274497 w 752994"/>
                <a:gd name="connsiteY29" fmla="*/ 238441 h 1333436"/>
                <a:gd name="connsiteX30" fmla="*/ 269001 w 752994"/>
                <a:gd name="connsiteY30" fmla="*/ 240679 h 1333436"/>
                <a:gd name="connsiteX31" fmla="*/ 247994 w 752994"/>
                <a:gd name="connsiteY31" fmla="*/ 241693 h 1333436"/>
                <a:gd name="connsiteX32" fmla="*/ 235142 w 752994"/>
                <a:gd name="connsiteY32" fmla="*/ 229476 h 1333436"/>
                <a:gd name="connsiteX33" fmla="*/ 224742 w 752994"/>
                <a:gd name="connsiteY33" fmla="*/ 226817 h 1333436"/>
                <a:gd name="connsiteX34" fmla="*/ 216778 w 752994"/>
                <a:gd name="connsiteY34" fmla="*/ 229068 h 1333436"/>
                <a:gd name="connsiteX35" fmla="*/ 195162 w 752994"/>
                <a:gd name="connsiteY35" fmla="*/ 228857 h 1333436"/>
                <a:gd name="connsiteX36" fmla="*/ 188223 w 752994"/>
                <a:gd name="connsiteY36" fmla="*/ 223973 h 1333436"/>
                <a:gd name="connsiteX37" fmla="*/ 185163 w 752994"/>
                <a:gd name="connsiteY37" fmla="*/ 219484 h 1333436"/>
                <a:gd name="connsiteX38" fmla="*/ 184180 w 752994"/>
                <a:gd name="connsiteY38" fmla="*/ 213866 h 1333436"/>
                <a:gd name="connsiteX39" fmla="*/ 257159 w 752994"/>
                <a:gd name="connsiteY39" fmla="*/ 0 h 1333436"/>
                <a:gd name="connsiteX40" fmla="*/ 493147 w 752994"/>
                <a:gd name="connsiteY40" fmla="*/ 73157 h 1333436"/>
                <a:gd name="connsiteX41" fmla="*/ 492970 w 752994"/>
                <a:gd name="connsiteY41" fmla="*/ 73792 h 1333436"/>
                <a:gd name="connsiteX42" fmla="*/ 525816 w 752994"/>
                <a:gd name="connsiteY42" fmla="*/ 82491 h 1333436"/>
                <a:gd name="connsiteX43" fmla="*/ 520098 w 752994"/>
                <a:gd name="connsiteY43" fmla="*/ 111245 h 1333436"/>
                <a:gd name="connsiteX44" fmla="*/ 512552 w 752994"/>
                <a:gd name="connsiteY44" fmla="*/ 143854 h 1333436"/>
                <a:gd name="connsiteX45" fmla="*/ 517849 w 752994"/>
                <a:gd name="connsiteY45" fmla="*/ 157740 h 1333436"/>
                <a:gd name="connsiteX46" fmla="*/ 523160 w 752994"/>
                <a:gd name="connsiteY46" fmla="*/ 172009 h 1333436"/>
                <a:gd name="connsiteX47" fmla="*/ 521535 w 752994"/>
                <a:gd name="connsiteY47" fmla="*/ 178928 h 1333436"/>
                <a:gd name="connsiteX48" fmla="*/ 520098 w 752994"/>
                <a:gd name="connsiteY48" fmla="*/ 186279 h 1333436"/>
                <a:gd name="connsiteX49" fmla="*/ 526019 w 752994"/>
                <a:gd name="connsiteY49" fmla="*/ 193629 h 1333436"/>
                <a:gd name="connsiteX50" fmla="*/ 537251 w 752994"/>
                <a:gd name="connsiteY50" fmla="*/ 206270 h 1333436"/>
                <a:gd name="connsiteX51" fmla="*/ 542765 w 752994"/>
                <a:gd name="connsiteY51" fmla="*/ 217475 h 1333436"/>
                <a:gd name="connsiteX52" fmla="*/ 546857 w 752994"/>
                <a:gd name="connsiteY52" fmla="*/ 230930 h 1333436"/>
                <a:gd name="connsiteX53" fmla="*/ 549499 w 752994"/>
                <a:gd name="connsiteY53" fmla="*/ 235622 h 1333436"/>
                <a:gd name="connsiteX54" fmla="*/ 553388 w 752994"/>
                <a:gd name="connsiteY54" fmla="*/ 240722 h 1333436"/>
                <a:gd name="connsiteX55" fmla="*/ 557465 w 752994"/>
                <a:gd name="connsiteY55" fmla="*/ 246037 h 1333436"/>
                <a:gd name="connsiteX56" fmla="*/ 561761 w 752994"/>
                <a:gd name="connsiteY56" fmla="*/ 248671 h 1333436"/>
                <a:gd name="connsiteX57" fmla="*/ 567478 w 752994"/>
                <a:gd name="connsiteY57" fmla="*/ 247665 h 1333436"/>
                <a:gd name="connsiteX58" fmla="*/ 569931 w 752994"/>
                <a:gd name="connsiteY58" fmla="*/ 249293 h 1333436"/>
                <a:gd name="connsiteX59" fmla="*/ 570540 w 752994"/>
                <a:gd name="connsiteY59" fmla="*/ 251951 h 1333436"/>
                <a:gd name="connsiteX60" fmla="*/ 561964 w 752994"/>
                <a:gd name="connsiteY60" fmla="*/ 267656 h 1333436"/>
                <a:gd name="connsiteX61" fmla="*/ 553591 w 752994"/>
                <a:gd name="connsiteY61" fmla="*/ 289659 h 1333436"/>
                <a:gd name="connsiteX62" fmla="*/ 554810 w 752994"/>
                <a:gd name="connsiteY62" fmla="*/ 292939 h 1333436"/>
                <a:gd name="connsiteX63" fmla="*/ 556246 w 752994"/>
                <a:gd name="connsiteY63" fmla="*/ 299260 h 1333436"/>
                <a:gd name="connsiteX64" fmla="*/ 552778 w 752994"/>
                <a:gd name="connsiteY64" fmla="*/ 301917 h 1333436"/>
                <a:gd name="connsiteX65" fmla="*/ 549295 w 752994"/>
                <a:gd name="connsiteY65" fmla="*/ 306993 h 1333436"/>
                <a:gd name="connsiteX66" fmla="*/ 547061 w 752994"/>
                <a:gd name="connsiteY66" fmla="*/ 313122 h 1333436"/>
                <a:gd name="connsiteX67" fmla="*/ 544811 w 752994"/>
                <a:gd name="connsiteY67" fmla="*/ 316593 h 1333436"/>
                <a:gd name="connsiteX68" fmla="*/ 549919 w 752994"/>
                <a:gd name="connsiteY68" fmla="*/ 322698 h 1333436"/>
                <a:gd name="connsiteX69" fmla="*/ 553184 w 752994"/>
                <a:gd name="connsiteY69" fmla="*/ 325955 h 1333436"/>
                <a:gd name="connsiteX70" fmla="*/ 555840 w 752994"/>
                <a:gd name="connsiteY70" fmla="*/ 328205 h 1333436"/>
                <a:gd name="connsiteX71" fmla="*/ 574212 w 752994"/>
                <a:gd name="connsiteY71" fmla="*/ 318820 h 1333436"/>
                <a:gd name="connsiteX72" fmla="*/ 579523 w 752994"/>
                <a:gd name="connsiteY72" fmla="*/ 326577 h 1333436"/>
                <a:gd name="connsiteX73" fmla="*/ 580539 w 752994"/>
                <a:gd name="connsiteY73" fmla="*/ 334933 h 1333436"/>
                <a:gd name="connsiteX74" fmla="*/ 579726 w 752994"/>
                <a:gd name="connsiteY74" fmla="*/ 343097 h 1333436"/>
                <a:gd name="connsiteX75" fmla="*/ 581366 w 752994"/>
                <a:gd name="connsiteY75" fmla="*/ 350231 h 1333436"/>
                <a:gd name="connsiteX76" fmla="*/ 586256 w 752994"/>
                <a:gd name="connsiteY76" fmla="*/ 355930 h 1333436"/>
                <a:gd name="connsiteX77" fmla="*/ 589536 w 752994"/>
                <a:gd name="connsiteY77" fmla="*/ 362059 h 1333436"/>
                <a:gd name="connsiteX78" fmla="*/ 588099 w 752994"/>
                <a:gd name="connsiteY78" fmla="*/ 369600 h 1333436"/>
                <a:gd name="connsiteX79" fmla="*/ 586459 w 752994"/>
                <a:gd name="connsiteY79" fmla="*/ 377357 h 1333436"/>
                <a:gd name="connsiteX80" fmla="*/ 588709 w 752994"/>
                <a:gd name="connsiteY80" fmla="*/ 381835 h 1333436"/>
                <a:gd name="connsiteX81" fmla="*/ 595036 w 752994"/>
                <a:gd name="connsiteY81" fmla="*/ 382457 h 1333436"/>
                <a:gd name="connsiteX82" fmla="*/ 599331 w 752994"/>
                <a:gd name="connsiteY82" fmla="*/ 385306 h 1333436"/>
                <a:gd name="connsiteX83" fmla="*/ 601987 w 752994"/>
                <a:gd name="connsiteY83" fmla="*/ 391004 h 1333436"/>
                <a:gd name="connsiteX84" fmla="*/ 602799 w 752994"/>
                <a:gd name="connsiteY84" fmla="*/ 404076 h 1333436"/>
                <a:gd name="connsiteX85" fmla="*/ 606892 w 752994"/>
                <a:gd name="connsiteY85" fmla="*/ 415688 h 1333436"/>
                <a:gd name="connsiteX86" fmla="*/ 610563 w 752994"/>
                <a:gd name="connsiteY86" fmla="*/ 412217 h 1333436"/>
                <a:gd name="connsiteX87" fmla="*/ 617920 w 752994"/>
                <a:gd name="connsiteY87" fmla="*/ 408769 h 1333436"/>
                <a:gd name="connsiteX88" fmla="*/ 624654 w 752994"/>
                <a:gd name="connsiteY88" fmla="*/ 411211 h 1333436"/>
                <a:gd name="connsiteX89" fmla="*/ 634652 w 752994"/>
                <a:gd name="connsiteY89" fmla="*/ 410182 h 1333436"/>
                <a:gd name="connsiteX90" fmla="*/ 640573 w 752994"/>
                <a:gd name="connsiteY90" fmla="*/ 407739 h 1333436"/>
                <a:gd name="connsiteX91" fmla="*/ 646711 w 752994"/>
                <a:gd name="connsiteY91" fmla="*/ 410589 h 1333436"/>
                <a:gd name="connsiteX92" fmla="*/ 650383 w 752994"/>
                <a:gd name="connsiteY92" fmla="*/ 410589 h 1333436"/>
                <a:gd name="connsiteX93" fmla="*/ 654257 w 752994"/>
                <a:gd name="connsiteY93" fmla="*/ 411618 h 1333436"/>
                <a:gd name="connsiteX94" fmla="*/ 656913 w 752994"/>
                <a:gd name="connsiteY94" fmla="*/ 413653 h 1333436"/>
                <a:gd name="connsiteX95" fmla="*/ 660802 w 752994"/>
                <a:gd name="connsiteY95" fmla="*/ 415090 h 1333436"/>
                <a:gd name="connsiteX96" fmla="*/ 669581 w 752994"/>
                <a:gd name="connsiteY96" fmla="*/ 415904 h 1333436"/>
                <a:gd name="connsiteX97" fmla="*/ 672237 w 752994"/>
                <a:gd name="connsiteY97" fmla="*/ 415688 h 1333436"/>
                <a:gd name="connsiteX98" fmla="*/ 675705 w 752994"/>
                <a:gd name="connsiteY98" fmla="*/ 409367 h 1333436"/>
                <a:gd name="connsiteX99" fmla="*/ 679986 w 752994"/>
                <a:gd name="connsiteY99" fmla="*/ 403238 h 1333436"/>
                <a:gd name="connsiteX100" fmla="*/ 693264 w 752994"/>
                <a:gd name="connsiteY100" fmla="*/ 419567 h 1333436"/>
                <a:gd name="connsiteX101" fmla="*/ 688563 w 752994"/>
                <a:gd name="connsiteY101" fmla="*/ 448321 h 1333436"/>
                <a:gd name="connsiteX102" fmla="*/ 663949 w 752994"/>
                <a:gd name="connsiteY102" fmla="*/ 590165 h 1333436"/>
                <a:gd name="connsiteX103" fmla="*/ 666304 w 752994"/>
                <a:gd name="connsiteY103" fmla="*/ 590504 h 1333436"/>
                <a:gd name="connsiteX104" fmla="*/ 655288 w 752994"/>
                <a:gd name="connsiteY104" fmla="*/ 656178 h 1333436"/>
                <a:gd name="connsiteX105" fmla="*/ 681808 w 752994"/>
                <a:gd name="connsiteY105" fmla="*/ 662301 h 1333436"/>
                <a:gd name="connsiteX106" fmla="*/ 752994 w 752994"/>
                <a:gd name="connsiteY106" fmla="*/ 675560 h 1333436"/>
                <a:gd name="connsiteX107" fmla="*/ 714651 w 752994"/>
                <a:gd name="connsiteY107" fmla="*/ 946985 h 1333436"/>
                <a:gd name="connsiteX108" fmla="*/ 654533 w 752994"/>
                <a:gd name="connsiteY108" fmla="*/ 1333436 h 1333436"/>
                <a:gd name="connsiteX109" fmla="*/ 546831 w 752994"/>
                <a:gd name="connsiteY109" fmla="*/ 1317126 h 1333436"/>
                <a:gd name="connsiteX110" fmla="*/ 351227 w 752994"/>
                <a:gd name="connsiteY110" fmla="*/ 1194172 h 1333436"/>
                <a:gd name="connsiteX111" fmla="*/ 361011 w 752994"/>
                <a:gd name="connsiteY111" fmla="*/ 1182755 h 1333436"/>
                <a:gd name="connsiteX112" fmla="*/ 368981 w 752994"/>
                <a:gd name="connsiteY112" fmla="*/ 1182130 h 1333436"/>
                <a:gd name="connsiteX113" fmla="*/ 369571 w 752994"/>
                <a:gd name="connsiteY113" fmla="*/ 1181558 h 1333436"/>
                <a:gd name="connsiteX114" fmla="*/ 362372 w 752994"/>
                <a:gd name="connsiteY114" fmla="*/ 1182120 h 1333436"/>
                <a:gd name="connsiteX115" fmla="*/ 229464 w 752994"/>
                <a:gd name="connsiteY115" fmla="*/ 1161721 h 1333436"/>
                <a:gd name="connsiteX116" fmla="*/ 227427 w 752994"/>
                <a:gd name="connsiteY116" fmla="*/ 1157269 h 1333436"/>
                <a:gd name="connsiteX117" fmla="*/ 224967 w 752994"/>
                <a:gd name="connsiteY117" fmla="*/ 1152575 h 1333436"/>
                <a:gd name="connsiteX118" fmla="*/ 225582 w 752994"/>
                <a:gd name="connsiteY118" fmla="*/ 1144808 h 1333436"/>
                <a:gd name="connsiteX119" fmla="*/ 227215 w 752994"/>
                <a:gd name="connsiteY119" fmla="*/ 1135834 h 1333436"/>
                <a:gd name="connsiteX120" fmla="*/ 227215 w 752994"/>
                <a:gd name="connsiteY120" fmla="*/ 1134212 h 1333436"/>
                <a:gd name="connsiteX121" fmla="*/ 225179 w 752994"/>
                <a:gd name="connsiteY121" fmla="*/ 1114020 h 1333436"/>
                <a:gd name="connsiteX122" fmla="*/ 217839 w 752994"/>
                <a:gd name="connsiteY122" fmla="*/ 1100352 h 1333436"/>
                <a:gd name="connsiteX123" fmla="*/ 199661 w 752994"/>
                <a:gd name="connsiteY123" fmla="*/ 1076502 h 1333436"/>
                <a:gd name="connsiteX124" fmla="*/ 196395 w 752994"/>
                <a:gd name="connsiteY124" fmla="*/ 1071807 h 1333436"/>
                <a:gd name="connsiteX125" fmla="*/ 190880 w 752994"/>
                <a:gd name="connsiteY125" fmla="*/ 1067527 h 1333436"/>
                <a:gd name="connsiteX126" fmla="*/ 187210 w 752994"/>
                <a:gd name="connsiteY126" fmla="*/ 1068735 h 1333436"/>
                <a:gd name="connsiteX127" fmla="*/ 180062 w 752994"/>
                <a:gd name="connsiteY127" fmla="*/ 1066699 h 1333436"/>
                <a:gd name="connsiteX128" fmla="*/ 180466 w 752994"/>
                <a:gd name="connsiteY128" fmla="*/ 1053031 h 1333436"/>
                <a:gd name="connsiteX129" fmla="*/ 180062 w 752994"/>
                <a:gd name="connsiteY129" fmla="*/ 1045299 h 1333436"/>
                <a:gd name="connsiteX130" fmla="*/ 174144 w 752994"/>
                <a:gd name="connsiteY130" fmla="*/ 1044057 h 1333436"/>
                <a:gd name="connsiteX131" fmla="*/ 158426 w 752994"/>
                <a:gd name="connsiteY131" fmla="*/ 1042641 h 1333436"/>
                <a:gd name="connsiteX132" fmla="*/ 149857 w 752994"/>
                <a:gd name="connsiteY132" fmla="*/ 1035497 h 1333436"/>
                <a:gd name="connsiteX133" fmla="*/ 142497 w 752994"/>
                <a:gd name="connsiteY133" fmla="*/ 1028766 h 1333436"/>
                <a:gd name="connsiteX134" fmla="*/ 140864 w 752994"/>
                <a:gd name="connsiteY134" fmla="*/ 1020620 h 1333436"/>
                <a:gd name="connsiteX135" fmla="*/ 138212 w 752994"/>
                <a:gd name="connsiteY135" fmla="*/ 1013061 h 1333436"/>
                <a:gd name="connsiteX136" fmla="*/ 131064 w 752994"/>
                <a:gd name="connsiteY136" fmla="*/ 1007159 h 1333436"/>
                <a:gd name="connsiteX137" fmla="*/ 121264 w 752994"/>
                <a:gd name="connsiteY137" fmla="*/ 1005330 h 1333436"/>
                <a:gd name="connsiteX138" fmla="*/ 112483 w 752994"/>
                <a:gd name="connsiteY138" fmla="*/ 1001671 h 1333436"/>
                <a:gd name="connsiteX139" fmla="*/ 105950 w 752994"/>
                <a:gd name="connsiteY139" fmla="*/ 995734 h 1333436"/>
                <a:gd name="connsiteX140" fmla="*/ 97380 w 752994"/>
                <a:gd name="connsiteY140" fmla="*/ 994526 h 1333436"/>
                <a:gd name="connsiteX141" fmla="*/ 87984 w 752994"/>
                <a:gd name="connsiteY141" fmla="*/ 991040 h 1333436"/>
                <a:gd name="connsiteX142" fmla="*/ 80029 w 752994"/>
                <a:gd name="connsiteY142" fmla="*/ 985138 h 1333436"/>
                <a:gd name="connsiteX143" fmla="*/ 77166 w 752994"/>
                <a:gd name="connsiteY143" fmla="*/ 976164 h 1333436"/>
                <a:gd name="connsiteX144" fmla="*/ 79203 w 752994"/>
                <a:gd name="connsiteY144" fmla="*/ 970676 h 1333436"/>
                <a:gd name="connsiteX145" fmla="*/ 82470 w 752994"/>
                <a:gd name="connsiteY145" fmla="*/ 963117 h 1333436"/>
                <a:gd name="connsiteX146" fmla="*/ 84314 w 752994"/>
                <a:gd name="connsiteY146" fmla="*/ 954557 h 1333436"/>
                <a:gd name="connsiteX147" fmla="*/ 86351 w 752994"/>
                <a:gd name="connsiteY147" fmla="*/ 948033 h 1333436"/>
                <a:gd name="connsiteX148" fmla="*/ 86159 w 752994"/>
                <a:gd name="connsiteY148" fmla="*/ 942925 h 1333436"/>
                <a:gd name="connsiteX149" fmla="*/ 83085 w 752994"/>
                <a:gd name="connsiteY149" fmla="*/ 939853 h 1333436"/>
                <a:gd name="connsiteX150" fmla="*/ 77570 w 752994"/>
                <a:gd name="connsiteY150" fmla="*/ 937437 h 1333436"/>
                <a:gd name="connsiteX151" fmla="*/ 76763 w 752994"/>
                <a:gd name="connsiteY151" fmla="*/ 931915 h 1333436"/>
                <a:gd name="connsiteX152" fmla="*/ 78800 w 752994"/>
                <a:gd name="connsiteY152" fmla="*/ 927013 h 1333436"/>
                <a:gd name="connsiteX153" fmla="*/ 79626 w 752994"/>
                <a:gd name="connsiteY153" fmla="*/ 922526 h 1333436"/>
                <a:gd name="connsiteX154" fmla="*/ 77781 w 752994"/>
                <a:gd name="connsiteY154" fmla="*/ 919903 h 1333436"/>
                <a:gd name="connsiteX155" fmla="*/ 74303 w 752994"/>
                <a:gd name="connsiteY155" fmla="*/ 917418 h 1333436"/>
                <a:gd name="connsiteX156" fmla="*/ 71863 w 752994"/>
                <a:gd name="connsiteY156" fmla="*/ 915174 h 1333436"/>
                <a:gd name="connsiteX157" fmla="*/ 71652 w 752994"/>
                <a:gd name="connsiteY157" fmla="*/ 910894 h 1333436"/>
                <a:gd name="connsiteX158" fmla="*/ 70633 w 752994"/>
                <a:gd name="connsiteY158" fmla="*/ 906614 h 1333436"/>
                <a:gd name="connsiteX159" fmla="*/ 68385 w 752994"/>
                <a:gd name="connsiteY159" fmla="*/ 902749 h 1333436"/>
                <a:gd name="connsiteX160" fmla="*/ 61045 w 752994"/>
                <a:gd name="connsiteY160" fmla="*/ 889494 h 1333436"/>
                <a:gd name="connsiteX161" fmla="*/ 57971 w 752994"/>
                <a:gd name="connsiteY161" fmla="*/ 875619 h 1333436"/>
                <a:gd name="connsiteX162" fmla="*/ 52264 w 752994"/>
                <a:gd name="connsiteY162" fmla="*/ 862572 h 1333436"/>
                <a:gd name="connsiteX163" fmla="*/ 44309 w 752994"/>
                <a:gd name="connsiteY163" fmla="*/ 850561 h 1333436"/>
                <a:gd name="connsiteX164" fmla="*/ 45520 w 752994"/>
                <a:gd name="connsiteY164" fmla="*/ 827090 h 1333436"/>
                <a:gd name="connsiteX165" fmla="*/ 53071 w 752994"/>
                <a:gd name="connsiteY165" fmla="*/ 822396 h 1333436"/>
                <a:gd name="connsiteX166" fmla="*/ 57375 w 752994"/>
                <a:gd name="connsiteY166" fmla="*/ 816493 h 1333436"/>
                <a:gd name="connsiteX167" fmla="*/ 55319 w 752994"/>
                <a:gd name="connsiteY167" fmla="*/ 801617 h 1333436"/>
                <a:gd name="connsiteX168" fmla="*/ 48383 w 752994"/>
                <a:gd name="connsiteY168" fmla="*/ 802204 h 1333436"/>
                <a:gd name="connsiteX169" fmla="*/ 40428 w 752994"/>
                <a:gd name="connsiteY169" fmla="*/ 797924 h 1333436"/>
                <a:gd name="connsiteX170" fmla="*/ 37565 w 752994"/>
                <a:gd name="connsiteY170" fmla="*/ 790606 h 1333436"/>
                <a:gd name="connsiteX171" fmla="*/ 37565 w 752994"/>
                <a:gd name="connsiteY171" fmla="*/ 790399 h 1333436"/>
                <a:gd name="connsiteX172" fmla="*/ 35931 w 752994"/>
                <a:gd name="connsiteY172" fmla="*/ 785912 h 1333436"/>
                <a:gd name="connsiteX173" fmla="*/ 34510 w 752994"/>
                <a:gd name="connsiteY173" fmla="*/ 780597 h 1333436"/>
                <a:gd name="connsiteX174" fmla="*/ 36335 w 752994"/>
                <a:gd name="connsiteY174" fmla="*/ 774280 h 1333436"/>
                <a:gd name="connsiteX175" fmla="*/ 38180 w 752994"/>
                <a:gd name="connsiteY175" fmla="*/ 766721 h 1333436"/>
                <a:gd name="connsiteX176" fmla="*/ 37161 w 752994"/>
                <a:gd name="connsiteY176" fmla="*/ 760405 h 1333436"/>
                <a:gd name="connsiteX177" fmla="*/ 35720 w 752994"/>
                <a:gd name="connsiteY177" fmla="*/ 754710 h 1333436"/>
                <a:gd name="connsiteX178" fmla="*/ 36546 w 752994"/>
                <a:gd name="connsiteY178" fmla="*/ 748773 h 1333436"/>
                <a:gd name="connsiteX179" fmla="*/ 38372 w 752994"/>
                <a:gd name="connsiteY179" fmla="*/ 744528 h 1333436"/>
                <a:gd name="connsiteX180" fmla="*/ 41638 w 752994"/>
                <a:gd name="connsiteY180" fmla="*/ 744321 h 1333436"/>
                <a:gd name="connsiteX181" fmla="*/ 44713 w 752994"/>
                <a:gd name="connsiteY181" fmla="*/ 746357 h 1333436"/>
                <a:gd name="connsiteX182" fmla="*/ 47364 w 752994"/>
                <a:gd name="connsiteY182" fmla="*/ 753260 h 1333436"/>
                <a:gd name="connsiteX183" fmla="*/ 55742 w 752994"/>
                <a:gd name="connsiteY183" fmla="*/ 764305 h 1333436"/>
                <a:gd name="connsiteX184" fmla="*/ 56338 w 752994"/>
                <a:gd name="connsiteY184" fmla="*/ 761233 h 1333436"/>
                <a:gd name="connsiteX185" fmla="*/ 56145 w 752994"/>
                <a:gd name="connsiteY185" fmla="*/ 757368 h 1333436"/>
                <a:gd name="connsiteX186" fmla="*/ 54916 w 752994"/>
                <a:gd name="connsiteY186" fmla="*/ 748601 h 1333436"/>
                <a:gd name="connsiteX187" fmla="*/ 52879 w 752994"/>
                <a:gd name="connsiteY187" fmla="*/ 747358 h 1333436"/>
                <a:gd name="connsiteX188" fmla="*/ 51649 w 752994"/>
                <a:gd name="connsiteY188" fmla="*/ 745322 h 1333436"/>
                <a:gd name="connsiteX189" fmla="*/ 51649 w 752994"/>
                <a:gd name="connsiteY189" fmla="*/ 739212 h 1333436"/>
                <a:gd name="connsiteX190" fmla="*/ 50227 w 752994"/>
                <a:gd name="connsiteY190" fmla="*/ 734725 h 1333436"/>
                <a:gd name="connsiteX191" fmla="*/ 48786 w 752994"/>
                <a:gd name="connsiteY191" fmla="*/ 731446 h 1333436"/>
                <a:gd name="connsiteX192" fmla="*/ 54512 w 752994"/>
                <a:gd name="connsiteY192" fmla="*/ 726372 h 1333436"/>
                <a:gd name="connsiteX193" fmla="*/ 59815 w 752994"/>
                <a:gd name="connsiteY193" fmla="*/ 725130 h 1333436"/>
                <a:gd name="connsiteX194" fmla="*/ 58182 w 752994"/>
                <a:gd name="connsiteY194" fmla="*/ 722886 h 1333436"/>
                <a:gd name="connsiteX195" fmla="*/ 51861 w 752994"/>
                <a:gd name="connsiteY195" fmla="*/ 717985 h 1333436"/>
                <a:gd name="connsiteX196" fmla="*/ 46749 w 752994"/>
                <a:gd name="connsiteY196" fmla="*/ 729617 h 1333436"/>
                <a:gd name="connsiteX197" fmla="*/ 40831 w 752994"/>
                <a:gd name="connsiteY197" fmla="*/ 739212 h 1333436"/>
                <a:gd name="connsiteX198" fmla="*/ 39601 w 752994"/>
                <a:gd name="connsiteY198" fmla="*/ 738798 h 1333436"/>
                <a:gd name="connsiteX199" fmla="*/ 39409 w 752994"/>
                <a:gd name="connsiteY199" fmla="*/ 738591 h 1333436"/>
                <a:gd name="connsiteX200" fmla="*/ 37161 w 752994"/>
                <a:gd name="connsiteY200" fmla="*/ 734725 h 1333436"/>
                <a:gd name="connsiteX201" fmla="*/ 32665 w 752994"/>
                <a:gd name="connsiteY201" fmla="*/ 727788 h 1333436"/>
                <a:gd name="connsiteX202" fmla="*/ 26747 w 752994"/>
                <a:gd name="connsiteY202" fmla="*/ 719435 h 1333436"/>
                <a:gd name="connsiteX203" fmla="*/ 23884 w 752994"/>
                <a:gd name="connsiteY203" fmla="*/ 717812 h 1333436"/>
                <a:gd name="connsiteX204" fmla="*/ 24710 w 752994"/>
                <a:gd name="connsiteY204" fmla="*/ 709632 h 1333436"/>
                <a:gd name="connsiteX205" fmla="*/ 27554 w 752994"/>
                <a:gd name="connsiteY205" fmla="*/ 701694 h 1333436"/>
                <a:gd name="connsiteX206" fmla="*/ 24902 w 752994"/>
                <a:gd name="connsiteY206" fmla="*/ 696171 h 1333436"/>
                <a:gd name="connsiteX207" fmla="*/ 24095 w 752994"/>
                <a:gd name="connsiteY207" fmla="*/ 687818 h 1333436"/>
                <a:gd name="connsiteX208" fmla="*/ 22462 w 752994"/>
                <a:gd name="connsiteY208" fmla="*/ 682330 h 1333436"/>
                <a:gd name="connsiteX209" fmla="*/ 17159 w 752994"/>
                <a:gd name="connsiteY209" fmla="*/ 677636 h 1333436"/>
                <a:gd name="connsiteX210" fmla="*/ 14296 w 752994"/>
                <a:gd name="connsiteY210" fmla="*/ 671492 h 1333436"/>
                <a:gd name="connsiteX211" fmla="*/ 12451 w 752994"/>
                <a:gd name="connsiteY211" fmla="*/ 665797 h 1333436"/>
                <a:gd name="connsiteX212" fmla="*/ 5111 w 752994"/>
                <a:gd name="connsiteY212" fmla="*/ 654994 h 1333436"/>
                <a:gd name="connsiteX213" fmla="*/ 2248 w 752994"/>
                <a:gd name="connsiteY213" fmla="*/ 645605 h 1333436"/>
                <a:gd name="connsiteX214" fmla="*/ 4496 w 752994"/>
                <a:gd name="connsiteY214" fmla="*/ 640497 h 1333436"/>
                <a:gd name="connsiteX215" fmla="*/ 6744 w 752994"/>
                <a:gd name="connsiteY215" fmla="*/ 632765 h 1333436"/>
                <a:gd name="connsiteX216" fmla="*/ 6744 w 752994"/>
                <a:gd name="connsiteY216" fmla="*/ 628485 h 1333436"/>
                <a:gd name="connsiteX217" fmla="*/ 6533 w 752994"/>
                <a:gd name="connsiteY217" fmla="*/ 620305 h 1333436"/>
                <a:gd name="connsiteX218" fmla="*/ 7359 w 752994"/>
                <a:gd name="connsiteY218" fmla="*/ 611745 h 1333436"/>
                <a:gd name="connsiteX219" fmla="*/ 11836 w 752994"/>
                <a:gd name="connsiteY219" fmla="*/ 602978 h 1333436"/>
                <a:gd name="connsiteX220" fmla="*/ 15103 w 752994"/>
                <a:gd name="connsiteY220" fmla="*/ 591760 h 1333436"/>
                <a:gd name="connsiteX221" fmla="*/ 14488 w 752994"/>
                <a:gd name="connsiteY221" fmla="*/ 584029 h 1333436"/>
                <a:gd name="connsiteX222" fmla="*/ 13873 w 752994"/>
                <a:gd name="connsiteY222" fmla="*/ 578299 h 1333436"/>
                <a:gd name="connsiteX223" fmla="*/ 10626 w 752994"/>
                <a:gd name="connsiteY223" fmla="*/ 568531 h 1333436"/>
                <a:gd name="connsiteX224" fmla="*/ 3670 w 752994"/>
                <a:gd name="connsiteY224" fmla="*/ 558107 h 1333436"/>
                <a:gd name="connsiteX225" fmla="*/ 0 w 752994"/>
                <a:gd name="connsiteY225" fmla="*/ 551377 h 1333436"/>
                <a:gd name="connsiteX226" fmla="*/ 0 w 752994"/>
                <a:gd name="connsiteY226" fmla="*/ 550997 h 1333436"/>
                <a:gd name="connsiteX227" fmla="*/ 4900 w 752994"/>
                <a:gd name="connsiteY227" fmla="*/ 531220 h 1333436"/>
                <a:gd name="connsiteX228" fmla="*/ 13873 w 752994"/>
                <a:gd name="connsiteY228" fmla="*/ 520589 h 1333436"/>
                <a:gd name="connsiteX229" fmla="*/ 18369 w 752994"/>
                <a:gd name="connsiteY229" fmla="*/ 516516 h 1333436"/>
                <a:gd name="connsiteX230" fmla="*/ 18773 w 752994"/>
                <a:gd name="connsiteY230" fmla="*/ 514272 h 1333436"/>
                <a:gd name="connsiteX231" fmla="*/ 23077 w 752994"/>
                <a:gd name="connsiteY231" fmla="*/ 506127 h 1333436"/>
                <a:gd name="connsiteX232" fmla="*/ 23884 w 752994"/>
                <a:gd name="connsiteY232" fmla="*/ 502261 h 1333436"/>
                <a:gd name="connsiteX233" fmla="*/ 23692 w 752994"/>
                <a:gd name="connsiteY233" fmla="*/ 496738 h 1333436"/>
                <a:gd name="connsiteX234" fmla="*/ 30013 w 752994"/>
                <a:gd name="connsiteY234" fmla="*/ 486556 h 1333436"/>
                <a:gd name="connsiteX235" fmla="*/ 36546 w 752994"/>
                <a:gd name="connsiteY235" fmla="*/ 470230 h 1333436"/>
                <a:gd name="connsiteX236" fmla="*/ 36546 w 752994"/>
                <a:gd name="connsiteY236" fmla="*/ 462671 h 1333436"/>
                <a:gd name="connsiteX237" fmla="*/ 36335 w 752994"/>
                <a:gd name="connsiteY237" fmla="*/ 461670 h 1333436"/>
                <a:gd name="connsiteX238" fmla="*/ 35931 w 752994"/>
                <a:gd name="connsiteY238" fmla="*/ 453110 h 1333436"/>
                <a:gd name="connsiteX239" fmla="*/ 38583 w 752994"/>
                <a:gd name="connsiteY239" fmla="*/ 442514 h 1333436"/>
                <a:gd name="connsiteX240" fmla="*/ 41043 w 752994"/>
                <a:gd name="connsiteY240" fmla="*/ 436991 h 1333436"/>
                <a:gd name="connsiteX241" fmla="*/ 41650 w 752994"/>
                <a:gd name="connsiteY241" fmla="*/ 437186 h 1333436"/>
                <a:gd name="connsiteX242" fmla="*/ 41239 w 752994"/>
                <a:gd name="connsiteY242" fmla="*/ 436549 h 1333436"/>
                <a:gd name="connsiteX243" fmla="*/ 37778 w 752994"/>
                <a:gd name="connsiteY243" fmla="*/ 433894 h 1333436"/>
                <a:gd name="connsiteX244" fmla="*/ 37169 w 752994"/>
                <a:gd name="connsiteY244" fmla="*/ 432261 h 1333436"/>
                <a:gd name="connsiteX245" fmla="*/ 37365 w 752994"/>
                <a:gd name="connsiteY245" fmla="*/ 429198 h 1333436"/>
                <a:gd name="connsiteX246" fmla="*/ 36756 w 752994"/>
                <a:gd name="connsiteY246" fmla="*/ 422272 h 1333436"/>
                <a:gd name="connsiteX247" fmla="*/ 36952 w 752994"/>
                <a:gd name="connsiteY247" fmla="*/ 418800 h 1333436"/>
                <a:gd name="connsiteX248" fmla="*/ 36756 w 752994"/>
                <a:gd name="connsiteY248" fmla="*/ 412487 h 1333436"/>
                <a:gd name="connsiteX249" fmla="*/ 40433 w 752994"/>
                <a:gd name="connsiteY249" fmla="*/ 406174 h 1333436"/>
                <a:gd name="connsiteX250" fmla="*/ 44720 w 752994"/>
                <a:gd name="connsiteY250" fmla="*/ 399435 h 1333436"/>
                <a:gd name="connsiteX251" fmla="*/ 44110 w 752994"/>
                <a:gd name="connsiteY251" fmla="*/ 389651 h 1333436"/>
                <a:gd name="connsiteX252" fmla="*/ 43894 w 752994"/>
                <a:gd name="connsiteY252" fmla="*/ 378437 h 1333436"/>
                <a:gd name="connsiteX253" fmla="*/ 47158 w 752994"/>
                <a:gd name="connsiteY253" fmla="*/ 371102 h 1333436"/>
                <a:gd name="connsiteX254" fmla="*/ 55731 w 752994"/>
                <a:gd name="connsiteY254" fmla="*/ 360909 h 1333436"/>
                <a:gd name="connsiteX255" fmla="*/ 57580 w 752994"/>
                <a:gd name="connsiteY255" fmla="*/ 355804 h 1333436"/>
                <a:gd name="connsiteX256" fmla="*/ 62673 w 752994"/>
                <a:gd name="connsiteY256" fmla="*/ 349695 h 1333436"/>
                <a:gd name="connsiteX257" fmla="*/ 65937 w 752994"/>
                <a:gd name="connsiteY257" fmla="*/ 348470 h 1333436"/>
                <a:gd name="connsiteX258" fmla="*/ 68395 w 752994"/>
                <a:gd name="connsiteY258" fmla="*/ 348674 h 1333436"/>
                <a:gd name="connsiteX259" fmla="*/ 70224 w 752994"/>
                <a:gd name="connsiteY259" fmla="*/ 347449 h 1333436"/>
                <a:gd name="connsiteX260" fmla="*/ 67785 w 752994"/>
                <a:gd name="connsiteY260" fmla="*/ 345203 h 1333436"/>
                <a:gd name="connsiteX261" fmla="*/ 65524 w 752994"/>
                <a:gd name="connsiteY261" fmla="*/ 343178 h 1333436"/>
                <a:gd name="connsiteX262" fmla="*/ 73095 w 752994"/>
                <a:gd name="connsiteY262" fmla="*/ 333376 h 1333436"/>
                <a:gd name="connsiteX263" fmla="*/ 73291 w 752994"/>
                <a:gd name="connsiteY263" fmla="*/ 333376 h 1333436"/>
                <a:gd name="connsiteX264" fmla="*/ 77991 w 752994"/>
                <a:gd name="connsiteY264" fmla="*/ 325838 h 1333436"/>
                <a:gd name="connsiteX265" fmla="*/ 82671 w 752994"/>
                <a:gd name="connsiteY265" fmla="*/ 313619 h 1333436"/>
                <a:gd name="connsiteX266" fmla="*/ 87980 w 752994"/>
                <a:gd name="connsiteY266" fmla="*/ 303018 h 1333436"/>
                <a:gd name="connsiteX267" fmla="*/ 92267 w 752994"/>
                <a:gd name="connsiteY267" fmla="*/ 291191 h 1333436"/>
                <a:gd name="connsiteX268" fmla="*/ 96553 w 752994"/>
                <a:gd name="connsiteY268" fmla="*/ 281202 h 1333436"/>
                <a:gd name="connsiteX269" fmla="*/ 99621 w 752994"/>
                <a:gd name="connsiteY269" fmla="*/ 274481 h 1333436"/>
                <a:gd name="connsiteX270" fmla="*/ 103082 w 752994"/>
                <a:gd name="connsiteY270" fmla="*/ 262450 h 1333436"/>
                <a:gd name="connsiteX271" fmla="*/ 107172 w 752994"/>
                <a:gd name="connsiteY271" fmla="*/ 254299 h 1333436"/>
                <a:gd name="connsiteX272" fmla="*/ 112481 w 752994"/>
                <a:gd name="connsiteY272" fmla="*/ 243697 h 1333436"/>
                <a:gd name="connsiteX273" fmla="*/ 117181 w 752994"/>
                <a:gd name="connsiteY273" fmla="*/ 232279 h 1333436"/>
                <a:gd name="connsiteX274" fmla="*/ 125951 w 752994"/>
                <a:gd name="connsiteY274" fmla="*/ 217389 h 1333436"/>
                <a:gd name="connsiteX275" fmla="*/ 136156 w 752994"/>
                <a:gd name="connsiteY275" fmla="*/ 202925 h 1333436"/>
                <a:gd name="connsiteX276" fmla="*/ 138811 w 752994"/>
                <a:gd name="connsiteY276" fmla="*/ 183339 h 1333436"/>
                <a:gd name="connsiteX277" fmla="*/ 148801 w 752994"/>
                <a:gd name="connsiteY277" fmla="*/ 167445 h 1333436"/>
                <a:gd name="connsiteX278" fmla="*/ 159616 w 752994"/>
                <a:gd name="connsiteY278" fmla="*/ 170712 h 1333436"/>
                <a:gd name="connsiteX279" fmla="*/ 173105 w 752994"/>
                <a:gd name="connsiteY279" fmla="*/ 175188 h 1333436"/>
                <a:gd name="connsiteX280" fmla="*/ 175347 w 752994"/>
                <a:gd name="connsiteY280" fmla="*/ 175188 h 1333436"/>
                <a:gd name="connsiteX281" fmla="*/ 175347 w 752994"/>
                <a:gd name="connsiteY281" fmla="*/ 173758 h 1333436"/>
                <a:gd name="connsiteX282" fmla="*/ 184975 w 752994"/>
                <a:gd name="connsiteY282" fmla="*/ 187393 h 1333436"/>
                <a:gd name="connsiteX283" fmla="*/ 184762 w 752994"/>
                <a:gd name="connsiteY283" fmla="*/ 184637 h 1333436"/>
                <a:gd name="connsiteX284" fmla="*/ 174971 w 752994"/>
                <a:gd name="connsiteY284" fmla="*/ 170774 h 1333436"/>
                <a:gd name="connsiteX285" fmla="*/ 174971 w 752994"/>
                <a:gd name="connsiteY285" fmla="*/ 169550 h 1333436"/>
                <a:gd name="connsiteX286" fmla="*/ 158851 w 752994"/>
                <a:gd name="connsiteY286" fmla="*/ 156924 h 1333436"/>
                <a:gd name="connsiteX287" fmla="*/ 147025 w 752994"/>
                <a:gd name="connsiteY287" fmla="*/ 145709 h 1333436"/>
                <a:gd name="connsiteX288" fmla="*/ 154364 w 752994"/>
                <a:gd name="connsiteY288" fmla="*/ 136335 h 1333436"/>
                <a:gd name="connsiteX289" fmla="*/ 161511 w 752994"/>
                <a:gd name="connsiteY289" fmla="*/ 131042 h 1333436"/>
                <a:gd name="connsiteX290" fmla="*/ 160902 w 752994"/>
                <a:gd name="connsiteY290" fmla="*/ 128384 h 1333436"/>
                <a:gd name="connsiteX291" fmla="*/ 160277 w 752994"/>
                <a:gd name="connsiteY291" fmla="*/ 127778 h 1333436"/>
                <a:gd name="connsiteX292" fmla="*/ 154973 w 752994"/>
                <a:gd name="connsiteY292" fmla="*/ 122077 h 1333436"/>
                <a:gd name="connsiteX293" fmla="*/ 160277 w 752994"/>
                <a:gd name="connsiteY293" fmla="*/ 115140 h 1333436"/>
                <a:gd name="connsiteX294" fmla="*/ 165181 w 752994"/>
                <a:gd name="connsiteY294" fmla="*/ 108215 h 1333436"/>
                <a:gd name="connsiteX295" fmla="*/ 161303 w 752994"/>
                <a:gd name="connsiteY295" fmla="*/ 104146 h 1333436"/>
                <a:gd name="connsiteX296" fmla="*/ 157842 w 752994"/>
                <a:gd name="connsiteY296" fmla="*/ 104542 h 1333436"/>
                <a:gd name="connsiteX297" fmla="*/ 157024 w 752994"/>
                <a:gd name="connsiteY297" fmla="*/ 102304 h 1333436"/>
                <a:gd name="connsiteX298" fmla="*/ 160694 w 752994"/>
                <a:gd name="connsiteY298" fmla="*/ 55437 h 1333436"/>
                <a:gd name="connsiteX299" fmla="*/ 160486 w 752994"/>
                <a:gd name="connsiteY299" fmla="*/ 31991 h 1333436"/>
                <a:gd name="connsiteX300" fmla="*/ 164972 w 752994"/>
                <a:gd name="connsiteY300" fmla="*/ 18141 h 1333436"/>
                <a:gd name="connsiteX301" fmla="*/ 171911 w 752994"/>
                <a:gd name="connsiteY301" fmla="*/ 11204 h 1333436"/>
                <a:gd name="connsiteX302" fmla="*/ 187406 w 752994"/>
                <a:gd name="connsiteY302" fmla="*/ 21801 h 1333436"/>
                <a:gd name="connsiteX303" fmla="*/ 210866 w 752994"/>
                <a:gd name="connsiteY303" fmla="*/ 37086 h 1333436"/>
                <a:gd name="connsiteX304" fmla="*/ 219230 w 752994"/>
                <a:gd name="connsiteY304" fmla="*/ 41166 h 1333436"/>
                <a:gd name="connsiteX305" fmla="*/ 226778 w 752994"/>
                <a:gd name="connsiteY305" fmla="*/ 47486 h 1333436"/>
                <a:gd name="connsiteX306" fmla="*/ 236152 w 752994"/>
                <a:gd name="connsiteY306" fmla="*/ 52370 h 1333436"/>
                <a:gd name="connsiteX307" fmla="*/ 239629 w 752994"/>
                <a:gd name="connsiteY307" fmla="*/ 58491 h 1333436"/>
                <a:gd name="connsiteX308" fmla="*/ 239629 w 752994"/>
                <a:gd name="connsiteY308" fmla="*/ 63376 h 1333436"/>
                <a:gd name="connsiteX309" fmla="*/ 236568 w 752994"/>
                <a:gd name="connsiteY309" fmla="*/ 67457 h 1333436"/>
                <a:gd name="connsiteX310" fmla="*/ 231264 w 752994"/>
                <a:gd name="connsiteY310" fmla="*/ 69905 h 1333436"/>
                <a:gd name="connsiteX311" fmla="*/ 216778 w 752994"/>
                <a:gd name="connsiteY311" fmla="*/ 82741 h 1333436"/>
                <a:gd name="connsiteX312" fmla="*/ 214134 w 752994"/>
                <a:gd name="connsiteY312" fmla="*/ 93536 h 1333436"/>
                <a:gd name="connsiteX313" fmla="*/ 214535 w 752994"/>
                <a:gd name="connsiteY313" fmla="*/ 96801 h 1333436"/>
                <a:gd name="connsiteX314" fmla="*/ 216378 w 752994"/>
                <a:gd name="connsiteY314" fmla="*/ 96801 h 1333436"/>
                <a:gd name="connsiteX315" fmla="*/ 230046 w 752994"/>
                <a:gd name="connsiteY315" fmla="*/ 85387 h 1333436"/>
                <a:gd name="connsiteX316" fmla="*/ 243298 w 752994"/>
                <a:gd name="connsiteY316" fmla="*/ 75198 h 1333436"/>
                <a:gd name="connsiteX317" fmla="*/ 246760 w 752994"/>
                <a:gd name="connsiteY317" fmla="*/ 77646 h 1333436"/>
                <a:gd name="connsiteX318" fmla="*/ 255541 w 752994"/>
                <a:gd name="connsiteY318" fmla="*/ 63376 h 1333436"/>
                <a:gd name="connsiteX319" fmla="*/ 259611 w 752994"/>
                <a:gd name="connsiteY319" fmla="*/ 43405 h 1333436"/>
                <a:gd name="connsiteX320" fmla="*/ 256967 w 752994"/>
                <a:gd name="connsiteY320" fmla="*/ 38520 h 1333436"/>
                <a:gd name="connsiteX321" fmla="*/ 253906 w 752994"/>
                <a:gd name="connsiteY321" fmla="*/ 34242 h 1333436"/>
                <a:gd name="connsiteX322" fmla="*/ 256967 w 752994"/>
                <a:gd name="connsiteY322" fmla="*/ 30161 h 1333436"/>
                <a:gd name="connsiteX323" fmla="*/ 262063 w 752994"/>
                <a:gd name="connsiteY323" fmla="*/ 27712 h 1333436"/>
                <a:gd name="connsiteX324" fmla="*/ 264915 w 752994"/>
                <a:gd name="connsiteY324" fmla="*/ 23026 h 1333436"/>
                <a:gd name="connsiteX325" fmla="*/ 267976 w 752994"/>
                <a:gd name="connsiteY325" fmla="*/ 22618 h 1333436"/>
                <a:gd name="connsiteX326" fmla="*/ 270427 w 752994"/>
                <a:gd name="connsiteY326" fmla="*/ 20787 h 1333436"/>
                <a:gd name="connsiteX327" fmla="*/ 263088 w 752994"/>
                <a:gd name="connsiteY327" fmla="*/ 13652 h 1333436"/>
                <a:gd name="connsiteX328" fmla="*/ 255541 w 752994"/>
                <a:gd name="connsiteY328" fmla="*/ 3055 h 1333436"/>
                <a:gd name="connsiteX329" fmla="*/ 256358 w 752994"/>
                <a:gd name="connsiteY329" fmla="*/ 1224 h 1333436"/>
                <a:gd name="connsiteX330" fmla="*/ 257159 w 752994"/>
                <a:gd name="connsiteY330"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23868 w 752994"/>
                <a:gd name="connsiteY26" fmla="*/ 241495 h 1333436"/>
                <a:gd name="connsiteX27" fmla="*/ 280827 w 752994"/>
                <a:gd name="connsiteY27" fmla="*/ 242720 h 1333436"/>
                <a:gd name="connsiteX28" fmla="*/ 274497 w 752994"/>
                <a:gd name="connsiteY28" fmla="*/ 238441 h 1333436"/>
                <a:gd name="connsiteX29" fmla="*/ 269001 w 752994"/>
                <a:gd name="connsiteY29" fmla="*/ 240679 h 1333436"/>
                <a:gd name="connsiteX30" fmla="*/ 247994 w 752994"/>
                <a:gd name="connsiteY30" fmla="*/ 241693 h 1333436"/>
                <a:gd name="connsiteX31" fmla="*/ 235142 w 752994"/>
                <a:gd name="connsiteY31" fmla="*/ 229476 h 1333436"/>
                <a:gd name="connsiteX32" fmla="*/ 224742 w 752994"/>
                <a:gd name="connsiteY32" fmla="*/ 226817 h 1333436"/>
                <a:gd name="connsiteX33" fmla="*/ 216778 w 752994"/>
                <a:gd name="connsiteY33" fmla="*/ 229068 h 1333436"/>
                <a:gd name="connsiteX34" fmla="*/ 195162 w 752994"/>
                <a:gd name="connsiteY34" fmla="*/ 228857 h 1333436"/>
                <a:gd name="connsiteX35" fmla="*/ 188223 w 752994"/>
                <a:gd name="connsiteY35" fmla="*/ 223973 h 1333436"/>
                <a:gd name="connsiteX36" fmla="*/ 185163 w 752994"/>
                <a:gd name="connsiteY36" fmla="*/ 219484 h 1333436"/>
                <a:gd name="connsiteX37" fmla="*/ 184180 w 752994"/>
                <a:gd name="connsiteY37" fmla="*/ 213866 h 1333436"/>
                <a:gd name="connsiteX38" fmla="*/ 257159 w 752994"/>
                <a:gd name="connsiteY38" fmla="*/ 0 h 1333436"/>
                <a:gd name="connsiteX39" fmla="*/ 493147 w 752994"/>
                <a:gd name="connsiteY39" fmla="*/ 73157 h 1333436"/>
                <a:gd name="connsiteX40" fmla="*/ 492970 w 752994"/>
                <a:gd name="connsiteY40" fmla="*/ 73792 h 1333436"/>
                <a:gd name="connsiteX41" fmla="*/ 525816 w 752994"/>
                <a:gd name="connsiteY41" fmla="*/ 82491 h 1333436"/>
                <a:gd name="connsiteX42" fmla="*/ 520098 w 752994"/>
                <a:gd name="connsiteY42" fmla="*/ 111245 h 1333436"/>
                <a:gd name="connsiteX43" fmla="*/ 512552 w 752994"/>
                <a:gd name="connsiteY43" fmla="*/ 143854 h 1333436"/>
                <a:gd name="connsiteX44" fmla="*/ 517849 w 752994"/>
                <a:gd name="connsiteY44" fmla="*/ 157740 h 1333436"/>
                <a:gd name="connsiteX45" fmla="*/ 523160 w 752994"/>
                <a:gd name="connsiteY45" fmla="*/ 172009 h 1333436"/>
                <a:gd name="connsiteX46" fmla="*/ 521535 w 752994"/>
                <a:gd name="connsiteY46" fmla="*/ 178928 h 1333436"/>
                <a:gd name="connsiteX47" fmla="*/ 520098 w 752994"/>
                <a:gd name="connsiteY47" fmla="*/ 186279 h 1333436"/>
                <a:gd name="connsiteX48" fmla="*/ 526019 w 752994"/>
                <a:gd name="connsiteY48" fmla="*/ 193629 h 1333436"/>
                <a:gd name="connsiteX49" fmla="*/ 537251 w 752994"/>
                <a:gd name="connsiteY49" fmla="*/ 206270 h 1333436"/>
                <a:gd name="connsiteX50" fmla="*/ 542765 w 752994"/>
                <a:gd name="connsiteY50" fmla="*/ 217475 h 1333436"/>
                <a:gd name="connsiteX51" fmla="*/ 546857 w 752994"/>
                <a:gd name="connsiteY51" fmla="*/ 230930 h 1333436"/>
                <a:gd name="connsiteX52" fmla="*/ 549499 w 752994"/>
                <a:gd name="connsiteY52" fmla="*/ 235622 h 1333436"/>
                <a:gd name="connsiteX53" fmla="*/ 553388 w 752994"/>
                <a:gd name="connsiteY53" fmla="*/ 240722 h 1333436"/>
                <a:gd name="connsiteX54" fmla="*/ 557465 w 752994"/>
                <a:gd name="connsiteY54" fmla="*/ 246037 h 1333436"/>
                <a:gd name="connsiteX55" fmla="*/ 561761 w 752994"/>
                <a:gd name="connsiteY55" fmla="*/ 248671 h 1333436"/>
                <a:gd name="connsiteX56" fmla="*/ 567478 w 752994"/>
                <a:gd name="connsiteY56" fmla="*/ 247665 h 1333436"/>
                <a:gd name="connsiteX57" fmla="*/ 569931 w 752994"/>
                <a:gd name="connsiteY57" fmla="*/ 249293 h 1333436"/>
                <a:gd name="connsiteX58" fmla="*/ 570540 w 752994"/>
                <a:gd name="connsiteY58" fmla="*/ 251951 h 1333436"/>
                <a:gd name="connsiteX59" fmla="*/ 561964 w 752994"/>
                <a:gd name="connsiteY59" fmla="*/ 267656 h 1333436"/>
                <a:gd name="connsiteX60" fmla="*/ 553591 w 752994"/>
                <a:gd name="connsiteY60" fmla="*/ 289659 h 1333436"/>
                <a:gd name="connsiteX61" fmla="*/ 554810 w 752994"/>
                <a:gd name="connsiteY61" fmla="*/ 292939 h 1333436"/>
                <a:gd name="connsiteX62" fmla="*/ 556246 w 752994"/>
                <a:gd name="connsiteY62" fmla="*/ 299260 h 1333436"/>
                <a:gd name="connsiteX63" fmla="*/ 552778 w 752994"/>
                <a:gd name="connsiteY63" fmla="*/ 301917 h 1333436"/>
                <a:gd name="connsiteX64" fmla="*/ 549295 w 752994"/>
                <a:gd name="connsiteY64" fmla="*/ 306993 h 1333436"/>
                <a:gd name="connsiteX65" fmla="*/ 547061 w 752994"/>
                <a:gd name="connsiteY65" fmla="*/ 313122 h 1333436"/>
                <a:gd name="connsiteX66" fmla="*/ 544811 w 752994"/>
                <a:gd name="connsiteY66" fmla="*/ 316593 h 1333436"/>
                <a:gd name="connsiteX67" fmla="*/ 549919 w 752994"/>
                <a:gd name="connsiteY67" fmla="*/ 322698 h 1333436"/>
                <a:gd name="connsiteX68" fmla="*/ 553184 w 752994"/>
                <a:gd name="connsiteY68" fmla="*/ 325955 h 1333436"/>
                <a:gd name="connsiteX69" fmla="*/ 555840 w 752994"/>
                <a:gd name="connsiteY69" fmla="*/ 328205 h 1333436"/>
                <a:gd name="connsiteX70" fmla="*/ 574212 w 752994"/>
                <a:gd name="connsiteY70" fmla="*/ 318820 h 1333436"/>
                <a:gd name="connsiteX71" fmla="*/ 579523 w 752994"/>
                <a:gd name="connsiteY71" fmla="*/ 326577 h 1333436"/>
                <a:gd name="connsiteX72" fmla="*/ 580539 w 752994"/>
                <a:gd name="connsiteY72" fmla="*/ 334933 h 1333436"/>
                <a:gd name="connsiteX73" fmla="*/ 579726 w 752994"/>
                <a:gd name="connsiteY73" fmla="*/ 343097 h 1333436"/>
                <a:gd name="connsiteX74" fmla="*/ 581366 w 752994"/>
                <a:gd name="connsiteY74" fmla="*/ 350231 h 1333436"/>
                <a:gd name="connsiteX75" fmla="*/ 586256 w 752994"/>
                <a:gd name="connsiteY75" fmla="*/ 355930 h 1333436"/>
                <a:gd name="connsiteX76" fmla="*/ 589536 w 752994"/>
                <a:gd name="connsiteY76" fmla="*/ 362059 h 1333436"/>
                <a:gd name="connsiteX77" fmla="*/ 588099 w 752994"/>
                <a:gd name="connsiteY77" fmla="*/ 369600 h 1333436"/>
                <a:gd name="connsiteX78" fmla="*/ 586459 w 752994"/>
                <a:gd name="connsiteY78" fmla="*/ 377357 h 1333436"/>
                <a:gd name="connsiteX79" fmla="*/ 588709 w 752994"/>
                <a:gd name="connsiteY79" fmla="*/ 381835 h 1333436"/>
                <a:gd name="connsiteX80" fmla="*/ 595036 w 752994"/>
                <a:gd name="connsiteY80" fmla="*/ 382457 h 1333436"/>
                <a:gd name="connsiteX81" fmla="*/ 599331 w 752994"/>
                <a:gd name="connsiteY81" fmla="*/ 385306 h 1333436"/>
                <a:gd name="connsiteX82" fmla="*/ 601987 w 752994"/>
                <a:gd name="connsiteY82" fmla="*/ 391004 h 1333436"/>
                <a:gd name="connsiteX83" fmla="*/ 602799 w 752994"/>
                <a:gd name="connsiteY83" fmla="*/ 404076 h 1333436"/>
                <a:gd name="connsiteX84" fmla="*/ 606892 w 752994"/>
                <a:gd name="connsiteY84" fmla="*/ 415688 h 1333436"/>
                <a:gd name="connsiteX85" fmla="*/ 610563 w 752994"/>
                <a:gd name="connsiteY85" fmla="*/ 412217 h 1333436"/>
                <a:gd name="connsiteX86" fmla="*/ 617920 w 752994"/>
                <a:gd name="connsiteY86" fmla="*/ 408769 h 1333436"/>
                <a:gd name="connsiteX87" fmla="*/ 624654 w 752994"/>
                <a:gd name="connsiteY87" fmla="*/ 411211 h 1333436"/>
                <a:gd name="connsiteX88" fmla="*/ 634652 w 752994"/>
                <a:gd name="connsiteY88" fmla="*/ 410182 h 1333436"/>
                <a:gd name="connsiteX89" fmla="*/ 640573 w 752994"/>
                <a:gd name="connsiteY89" fmla="*/ 407739 h 1333436"/>
                <a:gd name="connsiteX90" fmla="*/ 646711 w 752994"/>
                <a:gd name="connsiteY90" fmla="*/ 410589 h 1333436"/>
                <a:gd name="connsiteX91" fmla="*/ 650383 w 752994"/>
                <a:gd name="connsiteY91" fmla="*/ 410589 h 1333436"/>
                <a:gd name="connsiteX92" fmla="*/ 654257 w 752994"/>
                <a:gd name="connsiteY92" fmla="*/ 411618 h 1333436"/>
                <a:gd name="connsiteX93" fmla="*/ 656913 w 752994"/>
                <a:gd name="connsiteY93" fmla="*/ 413653 h 1333436"/>
                <a:gd name="connsiteX94" fmla="*/ 660802 w 752994"/>
                <a:gd name="connsiteY94" fmla="*/ 415090 h 1333436"/>
                <a:gd name="connsiteX95" fmla="*/ 669581 w 752994"/>
                <a:gd name="connsiteY95" fmla="*/ 415904 h 1333436"/>
                <a:gd name="connsiteX96" fmla="*/ 672237 w 752994"/>
                <a:gd name="connsiteY96" fmla="*/ 415688 h 1333436"/>
                <a:gd name="connsiteX97" fmla="*/ 675705 w 752994"/>
                <a:gd name="connsiteY97" fmla="*/ 409367 h 1333436"/>
                <a:gd name="connsiteX98" fmla="*/ 679986 w 752994"/>
                <a:gd name="connsiteY98" fmla="*/ 403238 h 1333436"/>
                <a:gd name="connsiteX99" fmla="*/ 693264 w 752994"/>
                <a:gd name="connsiteY99" fmla="*/ 419567 h 1333436"/>
                <a:gd name="connsiteX100" fmla="*/ 688563 w 752994"/>
                <a:gd name="connsiteY100" fmla="*/ 448321 h 1333436"/>
                <a:gd name="connsiteX101" fmla="*/ 663949 w 752994"/>
                <a:gd name="connsiteY101" fmla="*/ 590165 h 1333436"/>
                <a:gd name="connsiteX102" fmla="*/ 666304 w 752994"/>
                <a:gd name="connsiteY102" fmla="*/ 590504 h 1333436"/>
                <a:gd name="connsiteX103" fmla="*/ 655288 w 752994"/>
                <a:gd name="connsiteY103" fmla="*/ 656178 h 1333436"/>
                <a:gd name="connsiteX104" fmla="*/ 681808 w 752994"/>
                <a:gd name="connsiteY104" fmla="*/ 662301 h 1333436"/>
                <a:gd name="connsiteX105" fmla="*/ 752994 w 752994"/>
                <a:gd name="connsiteY105" fmla="*/ 675560 h 1333436"/>
                <a:gd name="connsiteX106" fmla="*/ 714651 w 752994"/>
                <a:gd name="connsiteY106" fmla="*/ 946985 h 1333436"/>
                <a:gd name="connsiteX107" fmla="*/ 654533 w 752994"/>
                <a:gd name="connsiteY107" fmla="*/ 1333436 h 1333436"/>
                <a:gd name="connsiteX108" fmla="*/ 546831 w 752994"/>
                <a:gd name="connsiteY108" fmla="*/ 1317126 h 1333436"/>
                <a:gd name="connsiteX109" fmla="*/ 351227 w 752994"/>
                <a:gd name="connsiteY109" fmla="*/ 1194172 h 1333436"/>
                <a:gd name="connsiteX110" fmla="*/ 361011 w 752994"/>
                <a:gd name="connsiteY110" fmla="*/ 1182755 h 1333436"/>
                <a:gd name="connsiteX111" fmla="*/ 368981 w 752994"/>
                <a:gd name="connsiteY111" fmla="*/ 1182130 h 1333436"/>
                <a:gd name="connsiteX112" fmla="*/ 369571 w 752994"/>
                <a:gd name="connsiteY112" fmla="*/ 1181558 h 1333436"/>
                <a:gd name="connsiteX113" fmla="*/ 362372 w 752994"/>
                <a:gd name="connsiteY113" fmla="*/ 1182120 h 1333436"/>
                <a:gd name="connsiteX114" fmla="*/ 229464 w 752994"/>
                <a:gd name="connsiteY114" fmla="*/ 1161721 h 1333436"/>
                <a:gd name="connsiteX115" fmla="*/ 227427 w 752994"/>
                <a:gd name="connsiteY115" fmla="*/ 1157269 h 1333436"/>
                <a:gd name="connsiteX116" fmla="*/ 224967 w 752994"/>
                <a:gd name="connsiteY116" fmla="*/ 1152575 h 1333436"/>
                <a:gd name="connsiteX117" fmla="*/ 225582 w 752994"/>
                <a:gd name="connsiteY117" fmla="*/ 1144808 h 1333436"/>
                <a:gd name="connsiteX118" fmla="*/ 227215 w 752994"/>
                <a:gd name="connsiteY118" fmla="*/ 1135834 h 1333436"/>
                <a:gd name="connsiteX119" fmla="*/ 227215 w 752994"/>
                <a:gd name="connsiteY119" fmla="*/ 1134212 h 1333436"/>
                <a:gd name="connsiteX120" fmla="*/ 225179 w 752994"/>
                <a:gd name="connsiteY120" fmla="*/ 1114020 h 1333436"/>
                <a:gd name="connsiteX121" fmla="*/ 217839 w 752994"/>
                <a:gd name="connsiteY121" fmla="*/ 1100352 h 1333436"/>
                <a:gd name="connsiteX122" fmla="*/ 199661 w 752994"/>
                <a:gd name="connsiteY122" fmla="*/ 1076502 h 1333436"/>
                <a:gd name="connsiteX123" fmla="*/ 196395 w 752994"/>
                <a:gd name="connsiteY123" fmla="*/ 1071807 h 1333436"/>
                <a:gd name="connsiteX124" fmla="*/ 190880 w 752994"/>
                <a:gd name="connsiteY124" fmla="*/ 1067527 h 1333436"/>
                <a:gd name="connsiteX125" fmla="*/ 187210 w 752994"/>
                <a:gd name="connsiteY125" fmla="*/ 1068735 h 1333436"/>
                <a:gd name="connsiteX126" fmla="*/ 180062 w 752994"/>
                <a:gd name="connsiteY126" fmla="*/ 1066699 h 1333436"/>
                <a:gd name="connsiteX127" fmla="*/ 180466 w 752994"/>
                <a:gd name="connsiteY127" fmla="*/ 1053031 h 1333436"/>
                <a:gd name="connsiteX128" fmla="*/ 180062 w 752994"/>
                <a:gd name="connsiteY128" fmla="*/ 1045299 h 1333436"/>
                <a:gd name="connsiteX129" fmla="*/ 174144 w 752994"/>
                <a:gd name="connsiteY129" fmla="*/ 1044057 h 1333436"/>
                <a:gd name="connsiteX130" fmla="*/ 158426 w 752994"/>
                <a:gd name="connsiteY130" fmla="*/ 1042641 h 1333436"/>
                <a:gd name="connsiteX131" fmla="*/ 149857 w 752994"/>
                <a:gd name="connsiteY131" fmla="*/ 1035497 h 1333436"/>
                <a:gd name="connsiteX132" fmla="*/ 142497 w 752994"/>
                <a:gd name="connsiteY132" fmla="*/ 1028766 h 1333436"/>
                <a:gd name="connsiteX133" fmla="*/ 140864 w 752994"/>
                <a:gd name="connsiteY133" fmla="*/ 1020620 h 1333436"/>
                <a:gd name="connsiteX134" fmla="*/ 138212 w 752994"/>
                <a:gd name="connsiteY134" fmla="*/ 1013061 h 1333436"/>
                <a:gd name="connsiteX135" fmla="*/ 131064 w 752994"/>
                <a:gd name="connsiteY135" fmla="*/ 1007159 h 1333436"/>
                <a:gd name="connsiteX136" fmla="*/ 121264 w 752994"/>
                <a:gd name="connsiteY136" fmla="*/ 1005330 h 1333436"/>
                <a:gd name="connsiteX137" fmla="*/ 112483 w 752994"/>
                <a:gd name="connsiteY137" fmla="*/ 1001671 h 1333436"/>
                <a:gd name="connsiteX138" fmla="*/ 105950 w 752994"/>
                <a:gd name="connsiteY138" fmla="*/ 995734 h 1333436"/>
                <a:gd name="connsiteX139" fmla="*/ 97380 w 752994"/>
                <a:gd name="connsiteY139" fmla="*/ 994526 h 1333436"/>
                <a:gd name="connsiteX140" fmla="*/ 87984 w 752994"/>
                <a:gd name="connsiteY140" fmla="*/ 991040 h 1333436"/>
                <a:gd name="connsiteX141" fmla="*/ 80029 w 752994"/>
                <a:gd name="connsiteY141" fmla="*/ 985138 h 1333436"/>
                <a:gd name="connsiteX142" fmla="*/ 77166 w 752994"/>
                <a:gd name="connsiteY142" fmla="*/ 976164 h 1333436"/>
                <a:gd name="connsiteX143" fmla="*/ 79203 w 752994"/>
                <a:gd name="connsiteY143" fmla="*/ 970676 h 1333436"/>
                <a:gd name="connsiteX144" fmla="*/ 82470 w 752994"/>
                <a:gd name="connsiteY144" fmla="*/ 963117 h 1333436"/>
                <a:gd name="connsiteX145" fmla="*/ 84314 w 752994"/>
                <a:gd name="connsiteY145" fmla="*/ 954557 h 1333436"/>
                <a:gd name="connsiteX146" fmla="*/ 86351 w 752994"/>
                <a:gd name="connsiteY146" fmla="*/ 948033 h 1333436"/>
                <a:gd name="connsiteX147" fmla="*/ 86159 w 752994"/>
                <a:gd name="connsiteY147" fmla="*/ 942925 h 1333436"/>
                <a:gd name="connsiteX148" fmla="*/ 83085 w 752994"/>
                <a:gd name="connsiteY148" fmla="*/ 939853 h 1333436"/>
                <a:gd name="connsiteX149" fmla="*/ 77570 w 752994"/>
                <a:gd name="connsiteY149" fmla="*/ 937437 h 1333436"/>
                <a:gd name="connsiteX150" fmla="*/ 76763 w 752994"/>
                <a:gd name="connsiteY150" fmla="*/ 931915 h 1333436"/>
                <a:gd name="connsiteX151" fmla="*/ 78800 w 752994"/>
                <a:gd name="connsiteY151" fmla="*/ 927013 h 1333436"/>
                <a:gd name="connsiteX152" fmla="*/ 79626 w 752994"/>
                <a:gd name="connsiteY152" fmla="*/ 922526 h 1333436"/>
                <a:gd name="connsiteX153" fmla="*/ 77781 w 752994"/>
                <a:gd name="connsiteY153" fmla="*/ 919903 h 1333436"/>
                <a:gd name="connsiteX154" fmla="*/ 74303 w 752994"/>
                <a:gd name="connsiteY154" fmla="*/ 917418 h 1333436"/>
                <a:gd name="connsiteX155" fmla="*/ 71863 w 752994"/>
                <a:gd name="connsiteY155" fmla="*/ 915174 h 1333436"/>
                <a:gd name="connsiteX156" fmla="*/ 71652 w 752994"/>
                <a:gd name="connsiteY156" fmla="*/ 910894 h 1333436"/>
                <a:gd name="connsiteX157" fmla="*/ 70633 w 752994"/>
                <a:gd name="connsiteY157" fmla="*/ 906614 h 1333436"/>
                <a:gd name="connsiteX158" fmla="*/ 68385 w 752994"/>
                <a:gd name="connsiteY158" fmla="*/ 902749 h 1333436"/>
                <a:gd name="connsiteX159" fmla="*/ 61045 w 752994"/>
                <a:gd name="connsiteY159" fmla="*/ 889494 h 1333436"/>
                <a:gd name="connsiteX160" fmla="*/ 57971 w 752994"/>
                <a:gd name="connsiteY160" fmla="*/ 875619 h 1333436"/>
                <a:gd name="connsiteX161" fmla="*/ 52264 w 752994"/>
                <a:gd name="connsiteY161" fmla="*/ 862572 h 1333436"/>
                <a:gd name="connsiteX162" fmla="*/ 44309 w 752994"/>
                <a:gd name="connsiteY162" fmla="*/ 850561 h 1333436"/>
                <a:gd name="connsiteX163" fmla="*/ 45520 w 752994"/>
                <a:gd name="connsiteY163" fmla="*/ 827090 h 1333436"/>
                <a:gd name="connsiteX164" fmla="*/ 53071 w 752994"/>
                <a:gd name="connsiteY164" fmla="*/ 822396 h 1333436"/>
                <a:gd name="connsiteX165" fmla="*/ 57375 w 752994"/>
                <a:gd name="connsiteY165" fmla="*/ 816493 h 1333436"/>
                <a:gd name="connsiteX166" fmla="*/ 55319 w 752994"/>
                <a:gd name="connsiteY166" fmla="*/ 801617 h 1333436"/>
                <a:gd name="connsiteX167" fmla="*/ 48383 w 752994"/>
                <a:gd name="connsiteY167" fmla="*/ 802204 h 1333436"/>
                <a:gd name="connsiteX168" fmla="*/ 40428 w 752994"/>
                <a:gd name="connsiteY168" fmla="*/ 797924 h 1333436"/>
                <a:gd name="connsiteX169" fmla="*/ 37565 w 752994"/>
                <a:gd name="connsiteY169" fmla="*/ 790606 h 1333436"/>
                <a:gd name="connsiteX170" fmla="*/ 37565 w 752994"/>
                <a:gd name="connsiteY170" fmla="*/ 790399 h 1333436"/>
                <a:gd name="connsiteX171" fmla="*/ 35931 w 752994"/>
                <a:gd name="connsiteY171" fmla="*/ 785912 h 1333436"/>
                <a:gd name="connsiteX172" fmla="*/ 34510 w 752994"/>
                <a:gd name="connsiteY172" fmla="*/ 780597 h 1333436"/>
                <a:gd name="connsiteX173" fmla="*/ 36335 w 752994"/>
                <a:gd name="connsiteY173" fmla="*/ 774280 h 1333436"/>
                <a:gd name="connsiteX174" fmla="*/ 38180 w 752994"/>
                <a:gd name="connsiteY174" fmla="*/ 766721 h 1333436"/>
                <a:gd name="connsiteX175" fmla="*/ 37161 w 752994"/>
                <a:gd name="connsiteY175" fmla="*/ 760405 h 1333436"/>
                <a:gd name="connsiteX176" fmla="*/ 35720 w 752994"/>
                <a:gd name="connsiteY176" fmla="*/ 754710 h 1333436"/>
                <a:gd name="connsiteX177" fmla="*/ 36546 w 752994"/>
                <a:gd name="connsiteY177" fmla="*/ 748773 h 1333436"/>
                <a:gd name="connsiteX178" fmla="*/ 38372 w 752994"/>
                <a:gd name="connsiteY178" fmla="*/ 744528 h 1333436"/>
                <a:gd name="connsiteX179" fmla="*/ 41638 w 752994"/>
                <a:gd name="connsiteY179" fmla="*/ 744321 h 1333436"/>
                <a:gd name="connsiteX180" fmla="*/ 44713 w 752994"/>
                <a:gd name="connsiteY180" fmla="*/ 746357 h 1333436"/>
                <a:gd name="connsiteX181" fmla="*/ 47364 w 752994"/>
                <a:gd name="connsiteY181" fmla="*/ 753260 h 1333436"/>
                <a:gd name="connsiteX182" fmla="*/ 55742 w 752994"/>
                <a:gd name="connsiteY182" fmla="*/ 764305 h 1333436"/>
                <a:gd name="connsiteX183" fmla="*/ 56338 w 752994"/>
                <a:gd name="connsiteY183" fmla="*/ 761233 h 1333436"/>
                <a:gd name="connsiteX184" fmla="*/ 56145 w 752994"/>
                <a:gd name="connsiteY184" fmla="*/ 757368 h 1333436"/>
                <a:gd name="connsiteX185" fmla="*/ 54916 w 752994"/>
                <a:gd name="connsiteY185" fmla="*/ 748601 h 1333436"/>
                <a:gd name="connsiteX186" fmla="*/ 52879 w 752994"/>
                <a:gd name="connsiteY186" fmla="*/ 747358 h 1333436"/>
                <a:gd name="connsiteX187" fmla="*/ 51649 w 752994"/>
                <a:gd name="connsiteY187" fmla="*/ 745322 h 1333436"/>
                <a:gd name="connsiteX188" fmla="*/ 51649 w 752994"/>
                <a:gd name="connsiteY188" fmla="*/ 739212 h 1333436"/>
                <a:gd name="connsiteX189" fmla="*/ 50227 w 752994"/>
                <a:gd name="connsiteY189" fmla="*/ 734725 h 1333436"/>
                <a:gd name="connsiteX190" fmla="*/ 48786 w 752994"/>
                <a:gd name="connsiteY190" fmla="*/ 731446 h 1333436"/>
                <a:gd name="connsiteX191" fmla="*/ 54512 w 752994"/>
                <a:gd name="connsiteY191" fmla="*/ 726372 h 1333436"/>
                <a:gd name="connsiteX192" fmla="*/ 59815 w 752994"/>
                <a:gd name="connsiteY192" fmla="*/ 725130 h 1333436"/>
                <a:gd name="connsiteX193" fmla="*/ 58182 w 752994"/>
                <a:gd name="connsiteY193" fmla="*/ 722886 h 1333436"/>
                <a:gd name="connsiteX194" fmla="*/ 51861 w 752994"/>
                <a:gd name="connsiteY194" fmla="*/ 717985 h 1333436"/>
                <a:gd name="connsiteX195" fmla="*/ 46749 w 752994"/>
                <a:gd name="connsiteY195" fmla="*/ 729617 h 1333436"/>
                <a:gd name="connsiteX196" fmla="*/ 40831 w 752994"/>
                <a:gd name="connsiteY196" fmla="*/ 739212 h 1333436"/>
                <a:gd name="connsiteX197" fmla="*/ 39601 w 752994"/>
                <a:gd name="connsiteY197" fmla="*/ 738798 h 1333436"/>
                <a:gd name="connsiteX198" fmla="*/ 39409 w 752994"/>
                <a:gd name="connsiteY198" fmla="*/ 738591 h 1333436"/>
                <a:gd name="connsiteX199" fmla="*/ 37161 w 752994"/>
                <a:gd name="connsiteY199" fmla="*/ 734725 h 1333436"/>
                <a:gd name="connsiteX200" fmla="*/ 32665 w 752994"/>
                <a:gd name="connsiteY200" fmla="*/ 727788 h 1333436"/>
                <a:gd name="connsiteX201" fmla="*/ 26747 w 752994"/>
                <a:gd name="connsiteY201" fmla="*/ 719435 h 1333436"/>
                <a:gd name="connsiteX202" fmla="*/ 23884 w 752994"/>
                <a:gd name="connsiteY202" fmla="*/ 717812 h 1333436"/>
                <a:gd name="connsiteX203" fmla="*/ 24710 w 752994"/>
                <a:gd name="connsiteY203" fmla="*/ 709632 h 1333436"/>
                <a:gd name="connsiteX204" fmla="*/ 27554 w 752994"/>
                <a:gd name="connsiteY204" fmla="*/ 701694 h 1333436"/>
                <a:gd name="connsiteX205" fmla="*/ 24902 w 752994"/>
                <a:gd name="connsiteY205" fmla="*/ 696171 h 1333436"/>
                <a:gd name="connsiteX206" fmla="*/ 24095 w 752994"/>
                <a:gd name="connsiteY206" fmla="*/ 687818 h 1333436"/>
                <a:gd name="connsiteX207" fmla="*/ 22462 w 752994"/>
                <a:gd name="connsiteY207" fmla="*/ 682330 h 1333436"/>
                <a:gd name="connsiteX208" fmla="*/ 17159 w 752994"/>
                <a:gd name="connsiteY208" fmla="*/ 677636 h 1333436"/>
                <a:gd name="connsiteX209" fmla="*/ 14296 w 752994"/>
                <a:gd name="connsiteY209" fmla="*/ 671492 h 1333436"/>
                <a:gd name="connsiteX210" fmla="*/ 12451 w 752994"/>
                <a:gd name="connsiteY210" fmla="*/ 665797 h 1333436"/>
                <a:gd name="connsiteX211" fmla="*/ 5111 w 752994"/>
                <a:gd name="connsiteY211" fmla="*/ 654994 h 1333436"/>
                <a:gd name="connsiteX212" fmla="*/ 2248 w 752994"/>
                <a:gd name="connsiteY212" fmla="*/ 645605 h 1333436"/>
                <a:gd name="connsiteX213" fmla="*/ 4496 w 752994"/>
                <a:gd name="connsiteY213" fmla="*/ 640497 h 1333436"/>
                <a:gd name="connsiteX214" fmla="*/ 6744 w 752994"/>
                <a:gd name="connsiteY214" fmla="*/ 632765 h 1333436"/>
                <a:gd name="connsiteX215" fmla="*/ 6744 w 752994"/>
                <a:gd name="connsiteY215" fmla="*/ 628485 h 1333436"/>
                <a:gd name="connsiteX216" fmla="*/ 6533 w 752994"/>
                <a:gd name="connsiteY216" fmla="*/ 620305 h 1333436"/>
                <a:gd name="connsiteX217" fmla="*/ 7359 w 752994"/>
                <a:gd name="connsiteY217" fmla="*/ 611745 h 1333436"/>
                <a:gd name="connsiteX218" fmla="*/ 11836 w 752994"/>
                <a:gd name="connsiteY218" fmla="*/ 602978 h 1333436"/>
                <a:gd name="connsiteX219" fmla="*/ 15103 w 752994"/>
                <a:gd name="connsiteY219" fmla="*/ 591760 h 1333436"/>
                <a:gd name="connsiteX220" fmla="*/ 14488 w 752994"/>
                <a:gd name="connsiteY220" fmla="*/ 584029 h 1333436"/>
                <a:gd name="connsiteX221" fmla="*/ 13873 w 752994"/>
                <a:gd name="connsiteY221" fmla="*/ 578299 h 1333436"/>
                <a:gd name="connsiteX222" fmla="*/ 10626 w 752994"/>
                <a:gd name="connsiteY222" fmla="*/ 568531 h 1333436"/>
                <a:gd name="connsiteX223" fmla="*/ 3670 w 752994"/>
                <a:gd name="connsiteY223" fmla="*/ 558107 h 1333436"/>
                <a:gd name="connsiteX224" fmla="*/ 0 w 752994"/>
                <a:gd name="connsiteY224" fmla="*/ 551377 h 1333436"/>
                <a:gd name="connsiteX225" fmla="*/ 0 w 752994"/>
                <a:gd name="connsiteY225" fmla="*/ 550997 h 1333436"/>
                <a:gd name="connsiteX226" fmla="*/ 4900 w 752994"/>
                <a:gd name="connsiteY226" fmla="*/ 531220 h 1333436"/>
                <a:gd name="connsiteX227" fmla="*/ 13873 w 752994"/>
                <a:gd name="connsiteY227" fmla="*/ 520589 h 1333436"/>
                <a:gd name="connsiteX228" fmla="*/ 18369 w 752994"/>
                <a:gd name="connsiteY228" fmla="*/ 516516 h 1333436"/>
                <a:gd name="connsiteX229" fmla="*/ 18773 w 752994"/>
                <a:gd name="connsiteY229" fmla="*/ 514272 h 1333436"/>
                <a:gd name="connsiteX230" fmla="*/ 23077 w 752994"/>
                <a:gd name="connsiteY230" fmla="*/ 506127 h 1333436"/>
                <a:gd name="connsiteX231" fmla="*/ 23884 w 752994"/>
                <a:gd name="connsiteY231" fmla="*/ 502261 h 1333436"/>
                <a:gd name="connsiteX232" fmla="*/ 23692 w 752994"/>
                <a:gd name="connsiteY232" fmla="*/ 496738 h 1333436"/>
                <a:gd name="connsiteX233" fmla="*/ 30013 w 752994"/>
                <a:gd name="connsiteY233" fmla="*/ 486556 h 1333436"/>
                <a:gd name="connsiteX234" fmla="*/ 36546 w 752994"/>
                <a:gd name="connsiteY234" fmla="*/ 470230 h 1333436"/>
                <a:gd name="connsiteX235" fmla="*/ 36546 w 752994"/>
                <a:gd name="connsiteY235" fmla="*/ 462671 h 1333436"/>
                <a:gd name="connsiteX236" fmla="*/ 36335 w 752994"/>
                <a:gd name="connsiteY236" fmla="*/ 461670 h 1333436"/>
                <a:gd name="connsiteX237" fmla="*/ 35931 w 752994"/>
                <a:gd name="connsiteY237" fmla="*/ 453110 h 1333436"/>
                <a:gd name="connsiteX238" fmla="*/ 38583 w 752994"/>
                <a:gd name="connsiteY238" fmla="*/ 442514 h 1333436"/>
                <a:gd name="connsiteX239" fmla="*/ 41043 w 752994"/>
                <a:gd name="connsiteY239" fmla="*/ 436991 h 1333436"/>
                <a:gd name="connsiteX240" fmla="*/ 41650 w 752994"/>
                <a:gd name="connsiteY240" fmla="*/ 437186 h 1333436"/>
                <a:gd name="connsiteX241" fmla="*/ 41239 w 752994"/>
                <a:gd name="connsiteY241" fmla="*/ 436549 h 1333436"/>
                <a:gd name="connsiteX242" fmla="*/ 37778 w 752994"/>
                <a:gd name="connsiteY242" fmla="*/ 433894 h 1333436"/>
                <a:gd name="connsiteX243" fmla="*/ 37169 w 752994"/>
                <a:gd name="connsiteY243" fmla="*/ 432261 h 1333436"/>
                <a:gd name="connsiteX244" fmla="*/ 37365 w 752994"/>
                <a:gd name="connsiteY244" fmla="*/ 429198 h 1333436"/>
                <a:gd name="connsiteX245" fmla="*/ 36756 w 752994"/>
                <a:gd name="connsiteY245" fmla="*/ 422272 h 1333436"/>
                <a:gd name="connsiteX246" fmla="*/ 36952 w 752994"/>
                <a:gd name="connsiteY246" fmla="*/ 418800 h 1333436"/>
                <a:gd name="connsiteX247" fmla="*/ 36756 w 752994"/>
                <a:gd name="connsiteY247" fmla="*/ 412487 h 1333436"/>
                <a:gd name="connsiteX248" fmla="*/ 40433 w 752994"/>
                <a:gd name="connsiteY248" fmla="*/ 406174 h 1333436"/>
                <a:gd name="connsiteX249" fmla="*/ 44720 w 752994"/>
                <a:gd name="connsiteY249" fmla="*/ 399435 h 1333436"/>
                <a:gd name="connsiteX250" fmla="*/ 44110 w 752994"/>
                <a:gd name="connsiteY250" fmla="*/ 389651 h 1333436"/>
                <a:gd name="connsiteX251" fmla="*/ 43894 w 752994"/>
                <a:gd name="connsiteY251" fmla="*/ 378437 h 1333436"/>
                <a:gd name="connsiteX252" fmla="*/ 47158 w 752994"/>
                <a:gd name="connsiteY252" fmla="*/ 371102 h 1333436"/>
                <a:gd name="connsiteX253" fmla="*/ 55731 w 752994"/>
                <a:gd name="connsiteY253" fmla="*/ 360909 h 1333436"/>
                <a:gd name="connsiteX254" fmla="*/ 57580 w 752994"/>
                <a:gd name="connsiteY254" fmla="*/ 355804 h 1333436"/>
                <a:gd name="connsiteX255" fmla="*/ 62673 w 752994"/>
                <a:gd name="connsiteY255" fmla="*/ 349695 h 1333436"/>
                <a:gd name="connsiteX256" fmla="*/ 65937 w 752994"/>
                <a:gd name="connsiteY256" fmla="*/ 348470 h 1333436"/>
                <a:gd name="connsiteX257" fmla="*/ 68395 w 752994"/>
                <a:gd name="connsiteY257" fmla="*/ 348674 h 1333436"/>
                <a:gd name="connsiteX258" fmla="*/ 70224 w 752994"/>
                <a:gd name="connsiteY258" fmla="*/ 347449 h 1333436"/>
                <a:gd name="connsiteX259" fmla="*/ 67785 w 752994"/>
                <a:gd name="connsiteY259" fmla="*/ 345203 h 1333436"/>
                <a:gd name="connsiteX260" fmla="*/ 65524 w 752994"/>
                <a:gd name="connsiteY260" fmla="*/ 343178 h 1333436"/>
                <a:gd name="connsiteX261" fmla="*/ 73095 w 752994"/>
                <a:gd name="connsiteY261" fmla="*/ 333376 h 1333436"/>
                <a:gd name="connsiteX262" fmla="*/ 73291 w 752994"/>
                <a:gd name="connsiteY262" fmla="*/ 333376 h 1333436"/>
                <a:gd name="connsiteX263" fmla="*/ 77991 w 752994"/>
                <a:gd name="connsiteY263" fmla="*/ 325838 h 1333436"/>
                <a:gd name="connsiteX264" fmla="*/ 82671 w 752994"/>
                <a:gd name="connsiteY264" fmla="*/ 313619 h 1333436"/>
                <a:gd name="connsiteX265" fmla="*/ 87980 w 752994"/>
                <a:gd name="connsiteY265" fmla="*/ 303018 h 1333436"/>
                <a:gd name="connsiteX266" fmla="*/ 92267 w 752994"/>
                <a:gd name="connsiteY266" fmla="*/ 291191 h 1333436"/>
                <a:gd name="connsiteX267" fmla="*/ 96553 w 752994"/>
                <a:gd name="connsiteY267" fmla="*/ 281202 h 1333436"/>
                <a:gd name="connsiteX268" fmla="*/ 99621 w 752994"/>
                <a:gd name="connsiteY268" fmla="*/ 274481 h 1333436"/>
                <a:gd name="connsiteX269" fmla="*/ 103082 w 752994"/>
                <a:gd name="connsiteY269" fmla="*/ 262450 h 1333436"/>
                <a:gd name="connsiteX270" fmla="*/ 107172 w 752994"/>
                <a:gd name="connsiteY270" fmla="*/ 254299 h 1333436"/>
                <a:gd name="connsiteX271" fmla="*/ 112481 w 752994"/>
                <a:gd name="connsiteY271" fmla="*/ 243697 h 1333436"/>
                <a:gd name="connsiteX272" fmla="*/ 117181 w 752994"/>
                <a:gd name="connsiteY272" fmla="*/ 232279 h 1333436"/>
                <a:gd name="connsiteX273" fmla="*/ 125951 w 752994"/>
                <a:gd name="connsiteY273" fmla="*/ 217389 h 1333436"/>
                <a:gd name="connsiteX274" fmla="*/ 136156 w 752994"/>
                <a:gd name="connsiteY274" fmla="*/ 202925 h 1333436"/>
                <a:gd name="connsiteX275" fmla="*/ 138811 w 752994"/>
                <a:gd name="connsiteY275" fmla="*/ 183339 h 1333436"/>
                <a:gd name="connsiteX276" fmla="*/ 148801 w 752994"/>
                <a:gd name="connsiteY276" fmla="*/ 167445 h 1333436"/>
                <a:gd name="connsiteX277" fmla="*/ 159616 w 752994"/>
                <a:gd name="connsiteY277" fmla="*/ 170712 h 1333436"/>
                <a:gd name="connsiteX278" fmla="*/ 173105 w 752994"/>
                <a:gd name="connsiteY278" fmla="*/ 175188 h 1333436"/>
                <a:gd name="connsiteX279" fmla="*/ 175347 w 752994"/>
                <a:gd name="connsiteY279" fmla="*/ 175188 h 1333436"/>
                <a:gd name="connsiteX280" fmla="*/ 175347 w 752994"/>
                <a:gd name="connsiteY280" fmla="*/ 173758 h 1333436"/>
                <a:gd name="connsiteX281" fmla="*/ 184975 w 752994"/>
                <a:gd name="connsiteY281" fmla="*/ 187393 h 1333436"/>
                <a:gd name="connsiteX282" fmla="*/ 184762 w 752994"/>
                <a:gd name="connsiteY282" fmla="*/ 184637 h 1333436"/>
                <a:gd name="connsiteX283" fmla="*/ 174971 w 752994"/>
                <a:gd name="connsiteY283" fmla="*/ 170774 h 1333436"/>
                <a:gd name="connsiteX284" fmla="*/ 174971 w 752994"/>
                <a:gd name="connsiteY284" fmla="*/ 169550 h 1333436"/>
                <a:gd name="connsiteX285" fmla="*/ 158851 w 752994"/>
                <a:gd name="connsiteY285" fmla="*/ 156924 h 1333436"/>
                <a:gd name="connsiteX286" fmla="*/ 147025 w 752994"/>
                <a:gd name="connsiteY286" fmla="*/ 145709 h 1333436"/>
                <a:gd name="connsiteX287" fmla="*/ 154364 w 752994"/>
                <a:gd name="connsiteY287" fmla="*/ 136335 h 1333436"/>
                <a:gd name="connsiteX288" fmla="*/ 161511 w 752994"/>
                <a:gd name="connsiteY288" fmla="*/ 131042 h 1333436"/>
                <a:gd name="connsiteX289" fmla="*/ 160902 w 752994"/>
                <a:gd name="connsiteY289" fmla="*/ 128384 h 1333436"/>
                <a:gd name="connsiteX290" fmla="*/ 160277 w 752994"/>
                <a:gd name="connsiteY290" fmla="*/ 127778 h 1333436"/>
                <a:gd name="connsiteX291" fmla="*/ 154973 w 752994"/>
                <a:gd name="connsiteY291" fmla="*/ 122077 h 1333436"/>
                <a:gd name="connsiteX292" fmla="*/ 160277 w 752994"/>
                <a:gd name="connsiteY292" fmla="*/ 115140 h 1333436"/>
                <a:gd name="connsiteX293" fmla="*/ 165181 w 752994"/>
                <a:gd name="connsiteY293" fmla="*/ 108215 h 1333436"/>
                <a:gd name="connsiteX294" fmla="*/ 161303 w 752994"/>
                <a:gd name="connsiteY294" fmla="*/ 104146 h 1333436"/>
                <a:gd name="connsiteX295" fmla="*/ 157842 w 752994"/>
                <a:gd name="connsiteY295" fmla="*/ 104542 h 1333436"/>
                <a:gd name="connsiteX296" fmla="*/ 157024 w 752994"/>
                <a:gd name="connsiteY296" fmla="*/ 102304 h 1333436"/>
                <a:gd name="connsiteX297" fmla="*/ 160694 w 752994"/>
                <a:gd name="connsiteY297" fmla="*/ 55437 h 1333436"/>
                <a:gd name="connsiteX298" fmla="*/ 160486 w 752994"/>
                <a:gd name="connsiteY298" fmla="*/ 31991 h 1333436"/>
                <a:gd name="connsiteX299" fmla="*/ 164972 w 752994"/>
                <a:gd name="connsiteY299" fmla="*/ 18141 h 1333436"/>
                <a:gd name="connsiteX300" fmla="*/ 171911 w 752994"/>
                <a:gd name="connsiteY300" fmla="*/ 11204 h 1333436"/>
                <a:gd name="connsiteX301" fmla="*/ 187406 w 752994"/>
                <a:gd name="connsiteY301" fmla="*/ 21801 h 1333436"/>
                <a:gd name="connsiteX302" fmla="*/ 210866 w 752994"/>
                <a:gd name="connsiteY302" fmla="*/ 37086 h 1333436"/>
                <a:gd name="connsiteX303" fmla="*/ 219230 w 752994"/>
                <a:gd name="connsiteY303" fmla="*/ 41166 h 1333436"/>
                <a:gd name="connsiteX304" fmla="*/ 226778 w 752994"/>
                <a:gd name="connsiteY304" fmla="*/ 47486 h 1333436"/>
                <a:gd name="connsiteX305" fmla="*/ 236152 w 752994"/>
                <a:gd name="connsiteY305" fmla="*/ 52370 h 1333436"/>
                <a:gd name="connsiteX306" fmla="*/ 239629 w 752994"/>
                <a:gd name="connsiteY306" fmla="*/ 58491 h 1333436"/>
                <a:gd name="connsiteX307" fmla="*/ 239629 w 752994"/>
                <a:gd name="connsiteY307" fmla="*/ 63376 h 1333436"/>
                <a:gd name="connsiteX308" fmla="*/ 236568 w 752994"/>
                <a:gd name="connsiteY308" fmla="*/ 67457 h 1333436"/>
                <a:gd name="connsiteX309" fmla="*/ 231264 w 752994"/>
                <a:gd name="connsiteY309" fmla="*/ 69905 h 1333436"/>
                <a:gd name="connsiteX310" fmla="*/ 216778 w 752994"/>
                <a:gd name="connsiteY310" fmla="*/ 82741 h 1333436"/>
                <a:gd name="connsiteX311" fmla="*/ 214134 w 752994"/>
                <a:gd name="connsiteY311" fmla="*/ 93536 h 1333436"/>
                <a:gd name="connsiteX312" fmla="*/ 214535 w 752994"/>
                <a:gd name="connsiteY312" fmla="*/ 96801 h 1333436"/>
                <a:gd name="connsiteX313" fmla="*/ 216378 w 752994"/>
                <a:gd name="connsiteY313" fmla="*/ 96801 h 1333436"/>
                <a:gd name="connsiteX314" fmla="*/ 230046 w 752994"/>
                <a:gd name="connsiteY314" fmla="*/ 85387 h 1333436"/>
                <a:gd name="connsiteX315" fmla="*/ 243298 w 752994"/>
                <a:gd name="connsiteY315" fmla="*/ 75198 h 1333436"/>
                <a:gd name="connsiteX316" fmla="*/ 246760 w 752994"/>
                <a:gd name="connsiteY316" fmla="*/ 77646 h 1333436"/>
                <a:gd name="connsiteX317" fmla="*/ 255541 w 752994"/>
                <a:gd name="connsiteY317" fmla="*/ 63376 h 1333436"/>
                <a:gd name="connsiteX318" fmla="*/ 259611 w 752994"/>
                <a:gd name="connsiteY318" fmla="*/ 43405 h 1333436"/>
                <a:gd name="connsiteX319" fmla="*/ 256967 w 752994"/>
                <a:gd name="connsiteY319" fmla="*/ 38520 h 1333436"/>
                <a:gd name="connsiteX320" fmla="*/ 253906 w 752994"/>
                <a:gd name="connsiteY320" fmla="*/ 34242 h 1333436"/>
                <a:gd name="connsiteX321" fmla="*/ 256967 w 752994"/>
                <a:gd name="connsiteY321" fmla="*/ 30161 h 1333436"/>
                <a:gd name="connsiteX322" fmla="*/ 262063 w 752994"/>
                <a:gd name="connsiteY322" fmla="*/ 27712 h 1333436"/>
                <a:gd name="connsiteX323" fmla="*/ 264915 w 752994"/>
                <a:gd name="connsiteY323" fmla="*/ 23026 h 1333436"/>
                <a:gd name="connsiteX324" fmla="*/ 267976 w 752994"/>
                <a:gd name="connsiteY324" fmla="*/ 22618 h 1333436"/>
                <a:gd name="connsiteX325" fmla="*/ 270427 w 752994"/>
                <a:gd name="connsiteY325" fmla="*/ 20787 h 1333436"/>
                <a:gd name="connsiteX326" fmla="*/ 263088 w 752994"/>
                <a:gd name="connsiteY326" fmla="*/ 13652 h 1333436"/>
                <a:gd name="connsiteX327" fmla="*/ 255541 w 752994"/>
                <a:gd name="connsiteY327" fmla="*/ 3055 h 1333436"/>
                <a:gd name="connsiteX328" fmla="*/ 256358 w 752994"/>
                <a:gd name="connsiteY328" fmla="*/ 1224 h 1333436"/>
                <a:gd name="connsiteX329" fmla="*/ 257159 w 752994"/>
                <a:gd name="connsiteY329"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323868 w 752994"/>
                <a:gd name="connsiteY26" fmla="*/ 241495 h 1333436"/>
                <a:gd name="connsiteX27" fmla="*/ 280827 w 752994"/>
                <a:gd name="connsiteY27" fmla="*/ 242720 h 1333436"/>
                <a:gd name="connsiteX28" fmla="*/ 274497 w 752994"/>
                <a:gd name="connsiteY28" fmla="*/ 238441 h 1333436"/>
                <a:gd name="connsiteX29" fmla="*/ 269001 w 752994"/>
                <a:gd name="connsiteY29" fmla="*/ 240679 h 1333436"/>
                <a:gd name="connsiteX30" fmla="*/ 247994 w 752994"/>
                <a:gd name="connsiteY30" fmla="*/ 241693 h 1333436"/>
                <a:gd name="connsiteX31" fmla="*/ 235142 w 752994"/>
                <a:gd name="connsiteY31" fmla="*/ 229476 h 1333436"/>
                <a:gd name="connsiteX32" fmla="*/ 224742 w 752994"/>
                <a:gd name="connsiteY32" fmla="*/ 226817 h 1333436"/>
                <a:gd name="connsiteX33" fmla="*/ 195162 w 752994"/>
                <a:gd name="connsiteY33" fmla="*/ 228857 h 1333436"/>
                <a:gd name="connsiteX34" fmla="*/ 188223 w 752994"/>
                <a:gd name="connsiteY34" fmla="*/ 223973 h 1333436"/>
                <a:gd name="connsiteX35" fmla="*/ 185163 w 752994"/>
                <a:gd name="connsiteY35" fmla="*/ 219484 h 1333436"/>
                <a:gd name="connsiteX36" fmla="*/ 184180 w 752994"/>
                <a:gd name="connsiteY36" fmla="*/ 213866 h 1333436"/>
                <a:gd name="connsiteX37" fmla="*/ 257159 w 752994"/>
                <a:gd name="connsiteY37" fmla="*/ 0 h 1333436"/>
                <a:gd name="connsiteX38" fmla="*/ 493147 w 752994"/>
                <a:gd name="connsiteY38" fmla="*/ 73157 h 1333436"/>
                <a:gd name="connsiteX39" fmla="*/ 492970 w 752994"/>
                <a:gd name="connsiteY39" fmla="*/ 73792 h 1333436"/>
                <a:gd name="connsiteX40" fmla="*/ 525816 w 752994"/>
                <a:gd name="connsiteY40" fmla="*/ 82491 h 1333436"/>
                <a:gd name="connsiteX41" fmla="*/ 520098 w 752994"/>
                <a:gd name="connsiteY41" fmla="*/ 111245 h 1333436"/>
                <a:gd name="connsiteX42" fmla="*/ 512552 w 752994"/>
                <a:gd name="connsiteY42" fmla="*/ 143854 h 1333436"/>
                <a:gd name="connsiteX43" fmla="*/ 517849 w 752994"/>
                <a:gd name="connsiteY43" fmla="*/ 157740 h 1333436"/>
                <a:gd name="connsiteX44" fmla="*/ 523160 w 752994"/>
                <a:gd name="connsiteY44" fmla="*/ 172009 h 1333436"/>
                <a:gd name="connsiteX45" fmla="*/ 521535 w 752994"/>
                <a:gd name="connsiteY45" fmla="*/ 178928 h 1333436"/>
                <a:gd name="connsiteX46" fmla="*/ 520098 w 752994"/>
                <a:gd name="connsiteY46" fmla="*/ 186279 h 1333436"/>
                <a:gd name="connsiteX47" fmla="*/ 526019 w 752994"/>
                <a:gd name="connsiteY47" fmla="*/ 193629 h 1333436"/>
                <a:gd name="connsiteX48" fmla="*/ 537251 w 752994"/>
                <a:gd name="connsiteY48" fmla="*/ 206270 h 1333436"/>
                <a:gd name="connsiteX49" fmla="*/ 542765 w 752994"/>
                <a:gd name="connsiteY49" fmla="*/ 217475 h 1333436"/>
                <a:gd name="connsiteX50" fmla="*/ 546857 w 752994"/>
                <a:gd name="connsiteY50" fmla="*/ 230930 h 1333436"/>
                <a:gd name="connsiteX51" fmla="*/ 549499 w 752994"/>
                <a:gd name="connsiteY51" fmla="*/ 235622 h 1333436"/>
                <a:gd name="connsiteX52" fmla="*/ 553388 w 752994"/>
                <a:gd name="connsiteY52" fmla="*/ 240722 h 1333436"/>
                <a:gd name="connsiteX53" fmla="*/ 557465 w 752994"/>
                <a:gd name="connsiteY53" fmla="*/ 246037 h 1333436"/>
                <a:gd name="connsiteX54" fmla="*/ 561761 w 752994"/>
                <a:gd name="connsiteY54" fmla="*/ 248671 h 1333436"/>
                <a:gd name="connsiteX55" fmla="*/ 567478 w 752994"/>
                <a:gd name="connsiteY55" fmla="*/ 247665 h 1333436"/>
                <a:gd name="connsiteX56" fmla="*/ 569931 w 752994"/>
                <a:gd name="connsiteY56" fmla="*/ 249293 h 1333436"/>
                <a:gd name="connsiteX57" fmla="*/ 570540 w 752994"/>
                <a:gd name="connsiteY57" fmla="*/ 251951 h 1333436"/>
                <a:gd name="connsiteX58" fmla="*/ 561964 w 752994"/>
                <a:gd name="connsiteY58" fmla="*/ 267656 h 1333436"/>
                <a:gd name="connsiteX59" fmla="*/ 553591 w 752994"/>
                <a:gd name="connsiteY59" fmla="*/ 289659 h 1333436"/>
                <a:gd name="connsiteX60" fmla="*/ 554810 w 752994"/>
                <a:gd name="connsiteY60" fmla="*/ 292939 h 1333436"/>
                <a:gd name="connsiteX61" fmla="*/ 556246 w 752994"/>
                <a:gd name="connsiteY61" fmla="*/ 299260 h 1333436"/>
                <a:gd name="connsiteX62" fmla="*/ 552778 w 752994"/>
                <a:gd name="connsiteY62" fmla="*/ 301917 h 1333436"/>
                <a:gd name="connsiteX63" fmla="*/ 549295 w 752994"/>
                <a:gd name="connsiteY63" fmla="*/ 306993 h 1333436"/>
                <a:gd name="connsiteX64" fmla="*/ 547061 w 752994"/>
                <a:gd name="connsiteY64" fmla="*/ 313122 h 1333436"/>
                <a:gd name="connsiteX65" fmla="*/ 544811 w 752994"/>
                <a:gd name="connsiteY65" fmla="*/ 316593 h 1333436"/>
                <a:gd name="connsiteX66" fmla="*/ 549919 w 752994"/>
                <a:gd name="connsiteY66" fmla="*/ 322698 h 1333436"/>
                <a:gd name="connsiteX67" fmla="*/ 553184 w 752994"/>
                <a:gd name="connsiteY67" fmla="*/ 325955 h 1333436"/>
                <a:gd name="connsiteX68" fmla="*/ 555840 w 752994"/>
                <a:gd name="connsiteY68" fmla="*/ 328205 h 1333436"/>
                <a:gd name="connsiteX69" fmla="*/ 574212 w 752994"/>
                <a:gd name="connsiteY69" fmla="*/ 318820 h 1333436"/>
                <a:gd name="connsiteX70" fmla="*/ 579523 w 752994"/>
                <a:gd name="connsiteY70" fmla="*/ 326577 h 1333436"/>
                <a:gd name="connsiteX71" fmla="*/ 580539 w 752994"/>
                <a:gd name="connsiteY71" fmla="*/ 334933 h 1333436"/>
                <a:gd name="connsiteX72" fmla="*/ 579726 w 752994"/>
                <a:gd name="connsiteY72" fmla="*/ 343097 h 1333436"/>
                <a:gd name="connsiteX73" fmla="*/ 581366 w 752994"/>
                <a:gd name="connsiteY73" fmla="*/ 350231 h 1333436"/>
                <a:gd name="connsiteX74" fmla="*/ 586256 w 752994"/>
                <a:gd name="connsiteY74" fmla="*/ 355930 h 1333436"/>
                <a:gd name="connsiteX75" fmla="*/ 589536 w 752994"/>
                <a:gd name="connsiteY75" fmla="*/ 362059 h 1333436"/>
                <a:gd name="connsiteX76" fmla="*/ 588099 w 752994"/>
                <a:gd name="connsiteY76" fmla="*/ 369600 h 1333436"/>
                <a:gd name="connsiteX77" fmla="*/ 586459 w 752994"/>
                <a:gd name="connsiteY77" fmla="*/ 377357 h 1333436"/>
                <a:gd name="connsiteX78" fmla="*/ 588709 w 752994"/>
                <a:gd name="connsiteY78" fmla="*/ 381835 h 1333436"/>
                <a:gd name="connsiteX79" fmla="*/ 595036 w 752994"/>
                <a:gd name="connsiteY79" fmla="*/ 382457 h 1333436"/>
                <a:gd name="connsiteX80" fmla="*/ 599331 w 752994"/>
                <a:gd name="connsiteY80" fmla="*/ 385306 h 1333436"/>
                <a:gd name="connsiteX81" fmla="*/ 601987 w 752994"/>
                <a:gd name="connsiteY81" fmla="*/ 391004 h 1333436"/>
                <a:gd name="connsiteX82" fmla="*/ 602799 w 752994"/>
                <a:gd name="connsiteY82" fmla="*/ 404076 h 1333436"/>
                <a:gd name="connsiteX83" fmla="*/ 606892 w 752994"/>
                <a:gd name="connsiteY83" fmla="*/ 415688 h 1333436"/>
                <a:gd name="connsiteX84" fmla="*/ 610563 w 752994"/>
                <a:gd name="connsiteY84" fmla="*/ 412217 h 1333436"/>
                <a:gd name="connsiteX85" fmla="*/ 617920 w 752994"/>
                <a:gd name="connsiteY85" fmla="*/ 408769 h 1333436"/>
                <a:gd name="connsiteX86" fmla="*/ 624654 w 752994"/>
                <a:gd name="connsiteY86" fmla="*/ 411211 h 1333436"/>
                <a:gd name="connsiteX87" fmla="*/ 634652 w 752994"/>
                <a:gd name="connsiteY87" fmla="*/ 410182 h 1333436"/>
                <a:gd name="connsiteX88" fmla="*/ 640573 w 752994"/>
                <a:gd name="connsiteY88" fmla="*/ 407739 h 1333436"/>
                <a:gd name="connsiteX89" fmla="*/ 646711 w 752994"/>
                <a:gd name="connsiteY89" fmla="*/ 410589 h 1333436"/>
                <a:gd name="connsiteX90" fmla="*/ 650383 w 752994"/>
                <a:gd name="connsiteY90" fmla="*/ 410589 h 1333436"/>
                <a:gd name="connsiteX91" fmla="*/ 654257 w 752994"/>
                <a:gd name="connsiteY91" fmla="*/ 411618 h 1333436"/>
                <a:gd name="connsiteX92" fmla="*/ 656913 w 752994"/>
                <a:gd name="connsiteY92" fmla="*/ 413653 h 1333436"/>
                <a:gd name="connsiteX93" fmla="*/ 660802 w 752994"/>
                <a:gd name="connsiteY93" fmla="*/ 415090 h 1333436"/>
                <a:gd name="connsiteX94" fmla="*/ 669581 w 752994"/>
                <a:gd name="connsiteY94" fmla="*/ 415904 h 1333436"/>
                <a:gd name="connsiteX95" fmla="*/ 672237 w 752994"/>
                <a:gd name="connsiteY95" fmla="*/ 415688 h 1333436"/>
                <a:gd name="connsiteX96" fmla="*/ 675705 w 752994"/>
                <a:gd name="connsiteY96" fmla="*/ 409367 h 1333436"/>
                <a:gd name="connsiteX97" fmla="*/ 679986 w 752994"/>
                <a:gd name="connsiteY97" fmla="*/ 403238 h 1333436"/>
                <a:gd name="connsiteX98" fmla="*/ 693264 w 752994"/>
                <a:gd name="connsiteY98" fmla="*/ 419567 h 1333436"/>
                <a:gd name="connsiteX99" fmla="*/ 688563 w 752994"/>
                <a:gd name="connsiteY99" fmla="*/ 448321 h 1333436"/>
                <a:gd name="connsiteX100" fmla="*/ 663949 w 752994"/>
                <a:gd name="connsiteY100" fmla="*/ 590165 h 1333436"/>
                <a:gd name="connsiteX101" fmla="*/ 666304 w 752994"/>
                <a:gd name="connsiteY101" fmla="*/ 590504 h 1333436"/>
                <a:gd name="connsiteX102" fmla="*/ 655288 w 752994"/>
                <a:gd name="connsiteY102" fmla="*/ 656178 h 1333436"/>
                <a:gd name="connsiteX103" fmla="*/ 681808 w 752994"/>
                <a:gd name="connsiteY103" fmla="*/ 662301 h 1333436"/>
                <a:gd name="connsiteX104" fmla="*/ 752994 w 752994"/>
                <a:gd name="connsiteY104" fmla="*/ 675560 h 1333436"/>
                <a:gd name="connsiteX105" fmla="*/ 714651 w 752994"/>
                <a:gd name="connsiteY105" fmla="*/ 946985 h 1333436"/>
                <a:gd name="connsiteX106" fmla="*/ 654533 w 752994"/>
                <a:gd name="connsiteY106" fmla="*/ 1333436 h 1333436"/>
                <a:gd name="connsiteX107" fmla="*/ 546831 w 752994"/>
                <a:gd name="connsiteY107" fmla="*/ 1317126 h 1333436"/>
                <a:gd name="connsiteX108" fmla="*/ 351227 w 752994"/>
                <a:gd name="connsiteY108" fmla="*/ 1194172 h 1333436"/>
                <a:gd name="connsiteX109" fmla="*/ 361011 w 752994"/>
                <a:gd name="connsiteY109" fmla="*/ 1182755 h 1333436"/>
                <a:gd name="connsiteX110" fmla="*/ 368981 w 752994"/>
                <a:gd name="connsiteY110" fmla="*/ 1182130 h 1333436"/>
                <a:gd name="connsiteX111" fmla="*/ 369571 w 752994"/>
                <a:gd name="connsiteY111" fmla="*/ 1181558 h 1333436"/>
                <a:gd name="connsiteX112" fmla="*/ 362372 w 752994"/>
                <a:gd name="connsiteY112" fmla="*/ 1182120 h 1333436"/>
                <a:gd name="connsiteX113" fmla="*/ 229464 w 752994"/>
                <a:gd name="connsiteY113" fmla="*/ 1161721 h 1333436"/>
                <a:gd name="connsiteX114" fmla="*/ 227427 w 752994"/>
                <a:gd name="connsiteY114" fmla="*/ 1157269 h 1333436"/>
                <a:gd name="connsiteX115" fmla="*/ 224967 w 752994"/>
                <a:gd name="connsiteY115" fmla="*/ 1152575 h 1333436"/>
                <a:gd name="connsiteX116" fmla="*/ 225582 w 752994"/>
                <a:gd name="connsiteY116" fmla="*/ 1144808 h 1333436"/>
                <a:gd name="connsiteX117" fmla="*/ 227215 w 752994"/>
                <a:gd name="connsiteY117" fmla="*/ 1135834 h 1333436"/>
                <a:gd name="connsiteX118" fmla="*/ 227215 w 752994"/>
                <a:gd name="connsiteY118" fmla="*/ 1134212 h 1333436"/>
                <a:gd name="connsiteX119" fmla="*/ 225179 w 752994"/>
                <a:gd name="connsiteY119" fmla="*/ 1114020 h 1333436"/>
                <a:gd name="connsiteX120" fmla="*/ 217839 w 752994"/>
                <a:gd name="connsiteY120" fmla="*/ 1100352 h 1333436"/>
                <a:gd name="connsiteX121" fmla="*/ 199661 w 752994"/>
                <a:gd name="connsiteY121" fmla="*/ 1076502 h 1333436"/>
                <a:gd name="connsiteX122" fmla="*/ 196395 w 752994"/>
                <a:gd name="connsiteY122" fmla="*/ 1071807 h 1333436"/>
                <a:gd name="connsiteX123" fmla="*/ 190880 w 752994"/>
                <a:gd name="connsiteY123" fmla="*/ 1067527 h 1333436"/>
                <a:gd name="connsiteX124" fmla="*/ 187210 w 752994"/>
                <a:gd name="connsiteY124" fmla="*/ 1068735 h 1333436"/>
                <a:gd name="connsiteX125" fmla="*/ 180062 w 752994"/>
                <a:gd name="connsiteY125" fmla="*/ 1066699 h 1333436"/>
                <a:gd name="connsiteX126" fmla="*/ 180466 w 752994"/>
                <a:gd name="connsiteY126" fmla="*/ 1053031 h 1333436"/>
                <a:gd name="connsiteX127" fmla="*/ 180062 w 752994"/>
                <a:gd name="connsiteY127" fmla="*/ 1045299 h 1333436"/>
                <a:gd name="connsiteX128" fmla="*/ 174144 w 752994"/>
                <a:gd name="connsiteY128" fmla="*/ 1044057 h 1333436"/>
                <a:gd name="connsiteX129" fmla="*/ 158426 w 752994"/>
                <a:gd name="connsiteY129" fmla="*/ 1042641 h 1333436"/>
                <a:gd name="connsiteX130" fmla="*/ 149857 w 752994"/>
                <a:gd name="connsiteY130" fmla="*/ 1035497 h 1333436"/>
                <a:gd name="connsiteX131" fmla="*/ 142497 w 752994"/>
                <a:gd name="connsiteY131" fmla="*/ 1028766 h 1333436"/>
                <a:gd name="connsiteX132" fmla="*/ 140864 w 752994"/>
                <a:gd name="connsiteY132" fmla="*/ 1020620 h 1333436"/>
                <a:gd name="connsiteX133" fmla="*/ 138212 w 752994"/>
                <a:gd name="connsiteY133" fmla="*/ 1013061 h 1333436"/>
                <a:gd name="connsiteX134" fmla="*/ 131064 w 752994"/>
                <a:gd name="connsiteY134" fmla="*/ 1007159 h 1333436"/>
                <a:gd name="connsiteX135" fmla="*/ 121264 w 752994"/>
                <a:gd name="connsiteY135" fmla="*/ 1005330 h 1333436"/>
                <a:gd name="connsiteX136" fmla="*/ 112483 w 752994"/>
                <a:gd name="connsiteY136" fmla="*/ 1001671 h 1333436"/>
                <a:gd name="connsiteX137" fmla="*/ 105950 w 752994"/>
                <a:gd name="connsiteY137" fmla="*/ 995734 h 1333436"/>
                <a:gd name="connsiteX138" fmla="*/ 97380 w 752994"/>
                <a:gd name="connsiteY138" fmla="*/ 994526 h 1333436"/>
                <a:gd name="connsiteX139" fmla="*/ 87984 w 752994"/>
                <a:gd name="connsiteY139" fmla="*/ 991040 h 1333436"/>
                <a:gd name="connsiteX140" fmla="*/ 80029 w 752994"/>
                <a:gd name="connsiteY140" fmla="*/ 985138 h 1333436"/>
                <a:gd name="connsiteX141" fmla="*/ 77166 w 752994"/>
                <a:gd name="connsiteY141" fmla="*/ 976164 h 1333436"/>
                <a:gd name="connsiteX142" fmla="*/ 79203 w 752994"/>
                <a:gd name="connsiteY142" fmla="*/ 970676 h 1333436"/>
                <a:gd name="connsiteX143" fmla="*/ 82470 w 752994"/>
                <a:gd name="connsiteY143" fmla="*/ 963117 h 1333436"/>
                <a:gd name="connsiteX144" fmla="*/ 84314 w 752994"/>
                <a:gd name="connsiteY144" fmla="*/ 954557 h 1333436"/>
                <a:gd name="connsiteX145" fmla="*/ 86351 w 752994"/>
                <a:gd name="connsiteY145" fmla="*/ 948033 h 1333436"/>
                <a:gd name="connsiteX146" fmla="*/ 86159 w 752994"/>
                <a:gd name="connsiteY146" fmla="*/ 942925 h 1333436"/>
                <a:gd name="connsiteX147" fmla="*/ 83085 w 752994"/>
                <a:gd name="connsiteY147" fmla="*/ 939853 h 1333436"/>
                <a:gd name="connsiteX148" fmla="*/ 77570 w 752994"/>
                <a:gd name="connsiteY148" fmla="*/ 937437 h 1333436"/>
                <a:gd name="connsiteX149" fmla="*/ 76763 w 752994"/>
                <a:gd name="connsiteY149" fmla="*/ 931915 h 1333436"/>
                <a:gd name="connsiteX150" fmla="*/ 78800 w 752994"/>
                <a:gd name="connsiteY150" fmla="*/ 927013 h 1333436"/>
                <a:gd name="connsiteX151" fmla="*/ 79626 w 752994"/>
                <a:gd name="connsiteY151" fmla="*/ 922526 h 1333436"/>
                <a:gd name="connsiteX152" fmla="*/ 77781 w 752994"/>
                <a:gd name="connsiteY152" fmla="*/ 919903 h 1333436"/>
                <a:gd name="connsiteX153" fmla="*/ 74303 w 752994"/>
                <a:gd name="connsiteY153" fmla="*/ 917418 h 1333436"/>
                <a:gd name="connsiteX154" fmla="*/ 71863 w 752994"/>
                <a:gd name="connsiteY154" fmla="*/ 915174 h 1333436"/>
                <a:gd name="connsiteX155" fmla="*/ 71652 w 752994"/>
                <a:gd name="connsiteY155" fmla="*/ 910894 h 1333436"/>
                <a:gd name="connsiteX156" fmla="*/ 70633 w 752994"/>
                <a:gd name="connsiteY156" fmla="*/ 906614 h 1333436"/>
                <a:gd name="connsiteX157" fmla="*/ 68385 w 752994"/>
                <a:gd name="connsiteY157" fmla="*/ 902749 h 1333436"/>
                <a:gd name="connsiteX158" fmla="*/ 61045 w 752994"/>
                <a:gd name="connsiteY158" fmla="*/ 889494 h 1333436"/>
                <a:gd name="connsiteX159" fmla="*/ 57971 w 752994"/>
                <a:gd name="connsiteY159" fmla="*/ 875619 h 1333436"/>
                <a:gd name="connsiteX160" fmla="*/ 52264 w 752994"/>
                <a:gd name="connsiteY160" fmla="*/ 862572 h 1333436"/>
                <a:gd name="connsiteX161" fmla="*/ 44309 w 752994"/>
                <a:gd name="connsiteY161" fmla="*/ 850561 h 1333436"/>
                <a:gd name="connsiteX162" fmla="*/ 45520 w 752994"/>
                <a:gd name="connsiteY162" fmla="*/ 827090 h 1333436"/>
                <a:gd name="connsiteX163" fmla="*/ 53071 w 752994"/>
                <a:gd name="connsiteY163" fmla="*/ 822396 h 1333436"/>
                <a:gd name="connsiteX164" fmla="*/ 57375 w 752994"/>
                <a:gd name="connsiteY164" fmla="*/ 816493 h 1333436"/>
                <a:gd name="connsiteX165" fmla="*/ 55319 w 752994"/>
                <a:gd name="connsiteY165" fmla="*/ 801617 h 1333436"/>
                <a:gd name="connsiteX166" fmla="*/ 48383 w 752994"/>
                <a:gd name="connsiteY166" fmla="*/ 802204 h 1333436"/>
                <a:gd name="connsiteX167" fmla="*/ 40428 w 752994"/>
                <a:gd name="connsiteY167" fmla="*/ 797924 h 1333436"/>
                <a:gd name="connsiteX168" fmla="*/ 37565 w 752994"/>
                <a:gd name="connsiteY168" fmla="*/ 790606 h 1333436"/>
                <a:gd name="connsiteX169" fmla="*/ 37565 w 752994"/>
                <a:gd name="connsiteY169" fmla="*/ 790399 h 1333436"/>
                <a:gd name="connsiteX170" fmla="*/ 35931 w 752994"/>
                <a:gd name="connsiteY170" fmla="*/ 785912 h 1333436"/>
                <a:gd name="connsiteX171" fmla="*/ 34510 w 752994"/>
                <a:gd name="connsiteY171" fmla="*/ 780597 h 1333436"/>
                <a:gd name="connsiteX172" fmla="*/ 36335 w 752994"/>
                <a:gd name="connsiteY172" fmla="*/ 774280 h 1333436"/>
                <a:gd name="connsiteX173" fmla="*/ 38180 w 752994"/>
                <a:gd name="connsiteY173" fmla="*/ 766721 h 1333436"/>
                <a:gd name="connsiteX174" fmla="*/ 37161 w 752994"/>
                <a:gd name="connsiteY174" fmla="*/ 760405 h 1333436"/>
                <a:gd name="connsiteX175" fmla="*/ 35720 w 752994"/>
                <a:gd name="connsiteY175" fmla="*/ 754710 h 1333436"/>
                <a:gd name="connsiteX176" fmla="*/ 36546 w 752994"/>
                <a:gd name="connsiteY176" fmla="*/ 748773 h 1333436"/>
                <a:gd name="connsiteX177" fmla="*/ 38372 w 752994"/>
                <a:gd name="connsiteY177" fmla="*/ 744528 h 1333436"/>
                <a:gd name="connsiteX178" fmla="*/ 41638 w 752994"/>
                <a:gd name="connsiteY178" fmla="*/ 744321 h 1333436"/>
                <a:gd name="connsiteX179" fmla="*/ 44713 w 752994"/>
                <a:gd name="connsiteY179" fmla="*/ 746357 h 1333436"/>
                <a:gd name="connsiteX180" fmla="*/ 47364 w 752994"/>
                <a:gd name="connsiteY180" fmla="*/ 753260 h 1333436"/>
                <a:gd name="connsiteX181" fmla="*/ 55742 w 752994"/>
                <a:gd name="connsiteY181" fmla="*/ 764305 h 1333436"/>
                <a:gd name="connsiteX182" fmla="*/ 56338 w 752994"/>
                <a:gd name="connsiteY182" fmla="*/ 761233 h 1333436"/>
                <a:gd name="connsiteX183" fmla="*/ 56145 w 752994"/>
                <a:gd name="connsiteY183" fmla="*/ 757368 h 1333436"/>
                <a:gd name="connsiteX184" fmla="*/ 54916 w 752994"/>
                <a:gd name="connsiteY184" fmla="*/ 748601 h 1333436"/>
                <a:gd name="connsiteX185" fmla="*/ 52879 w 752994"/>
                <a:gd name="connsiteY185" fmla="*/ 747358 h 1333436"/>
                <a:gd name="connsiteX186" fmla="*/ 51649 w 752994"/>
                <a:gd name="connsiteY186" fmla="*/ 745322 h 1333436"/>
                <a:gd name="connsiteX187" fmla="*/ 51649 w 752994"/>
                <a:gd name="connsiteY187" fmla="*/ 739212 h 1333436"/>
                <a:gd name="connsiteX188" fmla="*/ 50227 w 752994"/>
                <a:gd name="connsiteY188" fmla="*/ 734725 h 1333436"/>
                <a:gd name="connsiteX189" fmla="*/ 48786 w 752994"/>
                <a:gd name="connsiteY189" fmla="*/ 731446 h 1333436"/>
                <a:gd name="connsiteX190" fmla="*/ 54512 w 752994"/>
                <a:gd name="connsiteY190" fmla="*/ 726372 h 1333436"/>
                <a:gd name="connsiteX191" fmla="*/ 59815 w 752994"/>
                <a:gd name="connsiteY191" fmla="*/ 725130 h 1333436"/>
                <a:gd name="connsiteX192" fmla="*/ 58182 w 752994"/>
                <a:gd name="connsiteY192" fmla="*/ 722886 h 1333436"/>
                <a:gd name="connsiteX193" fmla="*/ 51861 w 752994"/>
                <a:gd name="connsiteY193" fmla="*/ 717985 h 1333436"/>
                <a:gd name="connsiteX194" fmla="*/ 46749 w 752994"/>
                <a:gd name="connsiteY194" fmla="*/ 729617 h 1333436"/>
                <a:gd name="connsiteX195" fmla="*/ 40831 w 752994"/>
                <a:gd name="connsiteY195" fmla="*/ 739212 h 1333436"/>
                <a:gd name="connsiteX196" fmla="*/ 39601 w 752994"/>
                <a:gd name="connsiteY196" fmla="*/ 738798 h 1333436"/>
                <a:gd name="connsiteX197" fmla="*/ 39409 w 752994"/>
                <a:gd name="connsiteY197" fmla="*/ 738591 h 1333436"/>
                <a:gd name="connsiteX198" fmla="*/ 37161 w 752994"/>
                <a:gd name="connsiteY198" fmla="*/ 734725 h 1333436"/>
                <a:gd name="connsiteX199" fmla="*/ 32665 w 752994"/>
                <a:gd name="connsiteY199" fmla="*/ 727788 h 1333436"/>
                <a:gd name="connsiteX200" fmla="*/ 26747 w 752994"/>
                <a:gd name="connsiteY200" fmla="*/ 719435 h 1333436"/>
                <a:gd name="connsiteX201" fmla="*/ 23884 w 752994"/>
                <a:gd name="connsiteY201" fmla="*/ 717812 h 1333436"/>
                <a:gd name="connsiteX202" fmla="*/ 24710 w 752994"/>
                <a:gd name="connsiteY202" fmla="*/ 709632 h 1333436"/>
                <a:gd name="connsiteX203" fmla="*/ 27554 w 752994"/>
                <a:gd name="connsiteY203" fmla="*/ 701694 h 1333436"/>
                <a:gd name="connsiteX204" fmla="*/ 24902 w 752994"/>
                <a:gd name="connsiteY204" fmla="*/ 696171 h 1333436"/>
                <a:gd name="connsiteX205" fmla="*/ 24095 w 752994"/>
                <a:gd name="connsiteY205" fmla="*/ 687818 h 1333436"/>
                <a:gd name="connsiteX206" fmla="*/ 22462 w 752994"/>
                <a:gd name="connsiteY206" fmla="*/ 682330 h 1333436"/>
                <a:gd name="connsiteX207" fmla="*/ 17159 w 752994"/>
                <a:gd name="connsiteY207" fmla="*/ 677636 h 1333436"/>
                <a:gd name="connsiteX208" fmla="*/ 14296 w 752994"/>
                <a:gd name="connsiteY208" fmla="*/ 671492 h 1333436"/>
                <a:gd name="connsiteX209" fmla="*/ 12451 w 752994"/>
                <a:gd name="connsiteY209" fmla="*/ 665797 h 1333436"/>
                <a:gd name="connsiteX210" fmla="*/ 5111 w 752994"/>
                <a:gd name="connsiteY210" fmla="*/ 654994 h 1333436"/>
                <a:gd name="connsiteX211" fmla="*/ 2248 w 752994"/>
                <a:gd name="connsiteY211" fmla="*/ 645605 h 1333436"/>
                <a:gd name="connsiteX212" fmla="*/ 4496 w 752994"/>
                <a:gd name="connsiteY212" fmla="*/ 640497 h 1333436"/>
                <a:gd name="connsiteX213" fmla="*/ 6744 w 752994"/>
                <a:gd name="connsiteY213" fmla="*/ 632765 h 1333436"/>
                <a:gd name="connsiteX214" fmla="*/ 6744 w 752994"/>
                <a:gd name="connsiteY214" fmla="*/ 628485 h 1333436"/>
                <a:gd name="connsiteX215" fmla="*/ 6533 w 752994"/>
                <a:gd name="connsiteY215" fmla="*/ 620305 h 1333436"/>
                <a:gd name="connsiteX216" fmla="*/ 7359 w 752994"/>
                <a:gd name="connsiteY216" fmla="*/ 611745 h 1333436"/>
                <a:gd name="connsiteX217" fmla="*/ 11836 w 752994"/>
                <a:gd name="connsiteY217" fmla="*/ 602978 h 1333436"/>
                <a:gd name="connsiteX218" fmla="*/ 15103 w 752994"/>
                <a:gd name="connsiteY218" fmla="*/ 591760 h 1333436"/>
                <a:gd name="connsiteX219" fmla="*/ 14488 w 752994"/>
                <a:gd name="connsiteY219" fmla="*/ 584029 h 1333436"/>
                <a:gd name="connsiteX220" fmla="*/ 13873 w 752994"/>
                <a:gd name="connsiteY220" fmla="*/ 578299 h 1333436"/>
                <a:gd name="connsiteX221" fmla="*/ 10626 w 752994"/>
                <a:gd name="connsiteY221" fmla="*/ 568531 h 1333436"/>
                <a:gd name="connsiteX222" fmla="*/ 3670 w 752994"/>
                <a:gd name="connsiteY222" fmla="*/ 558107 h 1333436"/>
                <a:gd name="connsiteX223" fmla="*/ 0 w 752994"/>
                <a:gd name="connsiteY223" fmla="*/ 551377 h 1333436"/>
                <a:gd name="connsiteX224" fmla="*/ 0 w 752994"/>
                <a:gd name="connsiteY224" fmla="*/ 550997 h 1333436"/>
                <a:gd name="connsiteX225" fmla="*/ 4900 w 752994"/>
                <a:gd name="connsiteY225" fmla="*/ 531220 h 1333436"/>
                <a:gd name="connsiteX226" fmla="*/ 13873 w 752994"/>
                <a:gd name="connsiteY226" fmla="*/ 520589 h 1333436"/>
                <a:gd name="connsiteX227" fmla="*/ 18369 w 752994"/>
                <a:gd name="connsiteY227" fmla="*/ 516516 h 1333436"/>
                <a:gd name="connsiteX228" fmla="*/ 18773 w 752994"/>
                <a:gd name="connsiteY228" fmla="*/ 514272 h 1333436"/>
                <a:gd name="connsiteX229" fmla="*/ 23077 w 752994"/>
                <a:gd name="connsiteY229" fmla="*/ 506127 h 1333436"/>
                <a:gd name="connsiteX230" fmla="*/ 23884 w 752994"/>
                <a:gd name="connsiteY230" fmla="*/ 502261 h 1333436"/>
                <a:gd name="connsiteX231" fmla="*/ 23692 w 752994"/>
                <a:gd name="connsiteY231" fmla="*/ 496738 h 1333436"/>
                <a:gd name="connsiteX232" fmla="*/ 30013 w 752994"/>
                <a:gd name="connsiteY232" fmla="*/ 486556 h 1333436"/>
                <a:gd name="connsiteX233" fmla="*/ 36546 w 752994"/>
                <a:gd name="connsiteY233" fmla="*/ 470230 h 1333436"/>
                <a:gd name="connsiteX234" fmla="*/ 36546 w 752994"/>
                <a:gd name="connsiteY234" fmla="*/ 462671 h 1333436"/>
                <a:gd name="connsiteX235" fmla="*/ 36335 w 752994"/>
                <a:gd name="connsiteY235" fmla="*/ 461670 h 1333436"/>
                <a:gd name="connsiteX236" fmla="*/ 35931 w 752994"/>
                <a:gd name="connsiteY236" fmla="*/ 453110 h 1333436"/>
                <a:gd name="connsiteX237" fmla="*/ 38583 w 752994"/>
                <a:gd name="connsiteY237" fmla="*/ 442514 h 1333436"/>
                <a:gd name="connsiteX238" fmla="*/ 41043 w 752994"/>
                <a:gd name="connsiteY238" fmla="*/ 436991 h 1333436"/>
                <a:gd name="connsiteX239" fmla="*/ 41650 w 752994"/>
                <a:gd name="connsiteY239" fmla="*/ 437186 h 1333436"/>
                <a:gd name="connsiteX240" fmla="*/ 41239 w 752994"/>
                <a:gd name="connsiteY240" fmla="*/ 436549 h 1333436"/>
                <a:gd name="connsiteX241" fmla="*/ 37778 w 752994"/>
                <a:gd name="connsiteY241" fmla="*/ 433894 h 1333436"/>
                <a:gd name="connsiteX242" fmla="*/ 37169 w 752994"/>
                <a:gd name="connsiteY242" fmla="*/ 432261 h 1333436"/>
                <a:gd name="connsiteX243" fmla="*/ 37365 w 752994"/>
                <a:gd name="connsiteY243" fmla="*/ 429198 h 1333436"/>
                <a:gd name="connsiteX244" fmla="*/ 36756 w 752994"/>
                <a:gd name="connsiteY244" fmla="*/ 422272 h 1333436"/>
                <a:gd name="connsiteX245" fmla="*/ 36952 w 752994"/>
                <a:gd name="connsiteY245" fmla="*/ 418800 h 1333436"/>
                <a:gd name="connsiteX246" fmla="*/ 36756 w 752994"/>
                <a:gd name="connsiteY246" fmla="*/ 412487 h 1333436"/>
                <a:gd name="connsiteX247" fmla="*/ 40433 w 752994"/>
                <a:gd name="connsiteY247" fmla="*/ 406174 h 1333436"/>
                <a:gd name="connsiteX248" fmla="*/ 44720 w 752994"/>
                <a:gd name="connsiteY248" fmla="*/ 399435 h 1333436"/>
                <a:gd name="connsiteX249" fmla="*/ 44110 w 752994"/>
                <a:gd name="connsiteY249" fmla="*/ 389651 h 1333436"/>
                <a:gd name="connsiteX250" fmla="*/ 43894 w 752994"/>
                <a:gd name="connsiteY250" fmla="*/ 378437 h 1333436"/>
                <a:gd name="connsiteX251" fmla="*/ 47158 w 752994"/>
                <a:gd name="connsiteY251" fmla="*/ 371102 h 1333436"/>
                <a:gd name="connsiteX252" fmla="*/ 55731 w 752994"/>
                <a:gd name="connsiteY252" fmla="*/ 360909 h 1333436"/>
                <a:gd name="connsiteX253" fmla="*/ 57580 w 752994"/>
                <a:gd name="connsiteY253" fmla="*/ 355804 h 1333436"/>
                <a:gd name="connsiteX254" fmla="*/ 62673 w 752994"/>
                <a:gd name="connsiteY254" fmla="*/ 349695 h 1333436"/>
                <a:gd name="connsiteX255" fmla="*/ 65937 w 752994"/>
                <a:gd name="connsiteY255" fmla="*/ 348470 h 1333436"/>
                <a:gd name="connsiteX256" fmla="*/ 68395 w 752994"/>
                <a:gd name="connsiteY256" fmla="*/ 348674 h 1333436"/>
                <a:gd name="connsiteX257" fmla="*/ 70224 w 752994"/>
                <a:gd name="connsiteY257" fmla="*/ 347449 h 1333436"/>
                <a:gd name="connsiteX258" fmla="*/ 67785 w 752994"/>
                <a:gd name="connsiteY258" fmla="*/ 345203 h 1333436"/>
                <a:gd name="connsiteX259" fmla="*/ 65524 w 752994"/>
                <a:gd name="connsiteY259" fmla="*/ 343178 h 1333436"/>
                <a:gd name="connsiteX260" fmla="*/ 73095 w 752994"/>
                <a:gd name="connsiteY260" fmla="*/ 333376 h 1333436"/>
                <a:gd name="connsiteX261" fmla="*/ 73291 w 752994"/>
                <a:gd name="connsiteY261" fmla="*/ 333376 h 1333436"/>
                <a:gd name="connsiteX262" fmla="*/ 77991 w 752994"/>
                <a:gd name="connsiteY262" fmla="*/ 325838 h 1333436"/>
                <a:gd name="connsiteX263" fmla="*/ 82671 w 752994"/>
                <a:gd name="connsiteY263" fmla="*/ 313619 h 1333436"/>
                <a:gd name="connsiteX264" fmla="*/ 87980 w 752994"/>
                <a:gd name="connsiteY264" fmla="*/ 303018 h 1333436"/>
                <a:gd name="connsiteX265" fmla="*/ 92267 w 752994"/>
                <a:gd name="connsiteY265" fmla="*/ 291191 h 1333436"/>
                <a:gd name="connsiteX266" fmla="*/ 96553 w 752994"/>
                <a:gd name="connsiteY266" fmla="*/ 281202 h 1333436"/>
                <a:gd name="connsiteX267" fmla="*/ 99621 w 752994"/>
                <a:gd name="connsiteY267" fmla="*/ 274481 h 1333436"/>
                <a:gd name="connsiteX268" fmla="*/ 103082 w 752994"/>
                <a:gd name="connsiteY268" fmla="*/ 262450 h 1333436"/>
                <a:gd name="connsiteX269" fmla="*/ 107172 w 752994"/>
                <a:gd name="connsiteY269" fmla="*/ 254299 h 1333436"/>
                <a:gd name="connsiteX270" fmla="*/ 112481 w 752994"/>
                <a:gd name="connsiteY270" fmla="*/ 243697 h 1333436"/>
                <a:gd name="connsiteX271" fmla="*/ 117181 w 752994"/>
                <a:gd name="connsiteY271" fmla="*/ 232279 h 1333436"/>
                <a:gd name="connsiteX272" fmla="*/ 125951 w 752994"/>
                <a:gd name="connsiteY272" fmla="*/ 217389 h 1333436"/>
                <a:gd name="connsiteX273" fmla="*/ 136156 w 752994"/>
                <a:gd name="connsiteY273" fmla="*/ 202925 h 1333436"/>
                <a:gd name="connsiteX274" fmla="*/ 138811 w 752994"/>
                <a:gd name="connsiteY274" fmla="*/ 183339 h 1333436"/>
                <a:gd name="connsiteX275" fmla="*/ 148801 w 752994"/>
                <a:gd name="connsiteY275" fmla="*/ 167445 h 1333436"/>
                <a:gd name="connsiteX276" fmla="*/ 159616 w 752994"/>
                <a:gd name="connsiteY276" fmla="*/ 170712 h 1333436"/>
                <a:gd name="connsiteX277" fmla="*/ 173105 w 752994"/>
                <a:gd name="connsiteY277" fmla="*/ 175188 h 1333436"/>
                <a:gd name="connsiteX278" fmla="*/ 175347 w 752994"/>
                <a:gd name="connsiteY278" fmla="*/ 175188 h 1333436"/>
                <a:gd name="connsiteX279" fmla="*/ 175347 w 752994"/>
                <a:gd name="connsiteY279" fmla="*/ 173758 h 1333436"/>
                <a:gd name="connsiteX280" fmla="*/ 184975 w 752994"/>
                <a:gd name="connsiteY280" fmla="*/ 187393 h 1333436"/>
                <a:gd name="connsiteX281" fmla="*/ 184762 w 752994"/>
                <a:gd name="connsiteY281" fmla="*/ 184637 h 1333436"/>
                <a:gd name="connsiteX282" fmla="*/ 174971 w 752994"/>
                <a:gd name="connsiteY282" fmla="*/ 170774 h 1333436"/>
                <a:gd name="connsiteX283" fmla="*/ 174971 w 752994"/>
                <a:gd name="connsiteY283" fmla="*/ 169550 h 1333436"/>
                <a:gd name="connsiteX284" fmla="*/ 158851 w 752994"/>
                <a:gd name="connsiteY284" fmla="*/ 156924 h 1333436"/>
                <a:gd name="connsiteX285" fmla="*/ 147025 w 752994"/>
                <a:gd name="connsiteY285" fmla="*/ 145709 h 1333436"/>
                <a:gd name="connsiteX286" fmla="*/ 154364 w 752994"/>
                <a:gd name="connsiteY286" fmla="*/ 136335 h 1333436"/>
                <a:gd name="connsiteX287" fmla="*/ 161511 w 752994"/>
                <a:gd name="connsiteY287" fmla="*/ 131042 h 1333436"/>
                <a:gd name="connsiteX288" fmla="*/ 160902 w 752994"/>
                <a:gd name="connsiteY288" fmla="*/ 128384 h 1333436"/>
                <a:gd name="connsiteX289" fmla="*/ 160277 w 752994"/>
                <a:gd name="connsiteY289" fmla="*/ 127778 h 1333436"/>
                <a:gd name="connsiteX290" fmla="*/ 154973 w 752994"/>
                <a:gd name="connsiteY290" fmla="*/ 122077 h 1333436"/>
                <a:gd name="connsiteX291" fmla="*/ 160277 w 752994"/>
                <a:gd name="connsiteY291" fmla="*/ 115140 h 1333436"/>
                <a:gd name="connsiteX292" fmla="*/ 165181 w 752994"/>
                <a:gd name="connsiteY292" fmla="*/ 108215 h 1333436"/>
                <a:gd name="connsiteX293" fmla="*/ 161303 w 752994"/>
                <a:gd name="connsiteY293" fmla="*/ 104146 h 1333436"/>
                <a:gd name="connsiteX294" fmla="*/ 157842 w 752994"/>
                <a:gd name="connsiteY294" fmla="*/ 104542 h 1333436"/>
                <a:gd name="connsiteX295" fmla="*/ 157024 w 752994"/>
                <a:gd name="connsiteY295" fmla="*/ 102304 h 1333436"/>
                <a:gd name="connsiteX296" fmla="*/ 160694 w 752994"/>
                <a:gd name="connsiteY296" fmla="*/ 55437 h 1333436"/>
                <a:gd name="connsiteX297" fmla="*/ 160486 w 752994"/>
                <a:gd name="connsiteY297" fmla="*/ 31991 h 1333436"/>
                <a:gd name="connsiteX298" fmla="*/ 164972 w 752994"/>
                <a:gd name="connsiteY298" fmla="*/ 18141 h 1333436"/>
                <a:gd name="connsiteX299" fmla="*/ 171911 w 752994"/>
                <a:gd name="connsiteY299" fmla="*/ 11204 h 1333436"/>
                <a:gd name="connsiteX300" fmla="*/ 187406 w 752994"/>
                <a:gd name="connsiteY300" fmla="*/ 21801 h 1333436"/>
                <a:gd name="connsiteX301" fmla="*/ 210866 w 752994"/>
                <a:gd name="connsiteY301" fmla="*/ 37086 h 1333436"/>
                <a:gd name="connsiteX302" fmla="*/ 219230 w 752994"/>
                <a:gd name="connsiteY302" fmla="*/ 41166 h 1333436"/>
                <a:gd name="connsiteX303" fmla="*/ 226778 w 752994"/>
                <a:gd name="connsiteY303" fmla="*/ 47486 h 1333436"/>
                <a:gd name="connsiteX304" fmla="*/ 236152 w 752994"/>
                <a:gd name="connsiteY304" fmla="*/ 52370 h 1333436"/>
                <a:gd name="connsiteX305" fmla="*/ 239629 w 752994"/>
                <a:gd name="connsiteY305" fmla="*/ 58491 h 1333436"/>
                <a:gd name="connsiteX306" fmla="*/ 239629 w 752994"/>
                <a:gd name="connsiteY306" fmla="*/ 63376 h 1333436"/>
                <a:gd name="connsiteX307" fmla="*/ 236568 w 752994"/>
                <a:gd name="connsiteY307" fmla="*/ 67457 h 1333436"/>
                <a:gd name="connsiteX308" fmla="*/ 231264 w 752994"/>
                <a:gd name="connsiteY308" fmla="*/ 69905 h 1333436"/>
                <a:gd name="connsiteX309" fmla="*/ 216778 w 752994"/>
                <a:gd name="connsiteY309" fmla="*/ 82741 h 1333436"/>
                <a:gd name="connsiteX310" fmla="*/ 214134 w 752994"/>
                <a:gd name="connsiteY310" fmla="*/ 93536 h 1333436"/>
                <a:gd name="connsiteX311" fmla="*/ 214535 w 752994"/>
                <a:gd name="connsiteY311" fmla="*/ 96801 h 1333436"/>
                <a:gd name="connsiteX312" fmla="*/ 216378 w 752994"/>
                <a:gd name="connsiteY312" fmla="*/ 96801 h 1333436"/>
                <a:gd name="connsiteX313" fmla="*/ 230046 w 752994"/>
                <a:gd name="connsiteY313" fmla="*/ 85387 h 1333436"/>
                <a:gd name="connsiteX314" fmla="*/ 243298 w 752994"/>
                <a:gd name="connsiteY314" fmla="*/ 75198 h 1333436"/>
                <a:gd name="connsiteX315" fmla="*/ 246760 w 752994"/>
                <a:gd name="connsiteY315" fmla="*/ 77646 h 1333436"/>
                <a:gd name="connsiteX316" fmla="*/ 255541 w 752994"/>
                <a:gd name="connsiteY316" fmla="*/ 63376 h 1333436"/>
                <a:gd name="connsiteX317" fmla="*/ 259611 w 752994"/>
                <a:gd name="connsiteY317" fmla="*/ 43405 h 1333436"/>
                <a:gd name="connsiteX318" fmla="*/ 256967 w 752994"/>
                <a:gd name="connsiteY318" fmla="*/ 38520 h 1333436"/>
                <a:gd name="connsiteX319" fmla="*/ 253906 w 752994"/>
                <a:gd name="connsiteY319" fmla="*/ 34242 h 1333436"/>
                <a:gd name="connsiteX320" fmla="*/ 256967 w 752994"/>
                <a:gd name="connsiteY320" fmla="*/ 30161 h 1333436"/>
                <a:gd name="connsiteX321" fmla="*/ 262063 w 752994"/>
                <a:gd name="connsiteY321" fmla="*/ 27712 h 1333436"/>
                <a:gd name="connsiteX322" fmla="*/ 264915 w 752994"/>
                <a:gd name="connsiteY322" fmla="*/ 23026 h 1333436"/>
                <a:gd name="connsiteX323" fmla="*/ 267976 w 752994"/>
                <a:gd name="connsiteY323" fmla="*/ 22618 h 1333436"/>
                <a:gd name="connsiteX324" fmla="*/ 270427 w 752994"/>
                <a:gd name="connsiteY324" fmla="*/ 20787 h 1333436"/>
                <a:gd name="connsiteX325" fmla="*/ 263088 w 752994"/>
                <a:gd name="connsiteY325" fmla="*/ 13652 h 1333436"/>
                <a:gd name="connsiteX326" fmla="*/ 255541 w 752994"/>
                <a:gd name="connsiteY326" fmla="*/ 3055 h 1333436"/>
                <a:gd name="connsiteX327" fmla="*/ 256358 w 752994"/>
                <a:gd name="connsiteY327" fmla="*/ 1224 h 1333436"/>
                <a:gd name="connsiteX328" fmla="*/ 257159 w 752994"/>
                <a:gd name="connsiteY328"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280827 w 752994"/>
                <a:gd name="connsiteY26" fmla="*/ 242720 h 1333436"/>
                <a:gd name="connsiteX27" fmla="*/ 274497 w 752994"/>
                <a:gd name="connsiteY27" fmla="*/ 238441 h 1333436"/>
                <a:gd name="connsiteX28" fmla="*/ 269001 w 752994"/>
                <a:gd name="connsiteY28" fmla="*/ 240679 h 1333436"/>
                <a:gd name="connsiteX29" fmla="*/ 247994 w 752994"/>
                <a:gd name="connsiteY29" fmla="*/ 241693 h 1333436"/>
                <a:gd name="connsiteX30" fmla="*/ 235142 w 752994"/>
                <a:gd name="connsiteY30" fmla="*/ 229476 h 1333436"/>
                <a:gd name="connsiteX31" fmla="*/ 224742 w 752994"/>
                <a:gd name="connsiteY31" fmla="*/ 226817 h 1333436"/>
                <a:gd name="connsiteX32" fmla="*/ 195162 w 752994"/>
                <a:gd name="connsiteY32" fmla="*/ 228857 h 1333436"/>
                <a:gd name="connsiteX33" fmla="*/ 188223 w 752994"/>
                <a:gd name="connsiteY33" fmla="*/ 223973 h 1333436"/>
                <a:gd name="connsiteX34" fmla="*/ 185163 w 752994"/>
                <a:gd name="connsiteY34" fmla="*/ 219484 h 1333436"/>
                <a:gd name="connsiteX35" fmla="*/ 184180 w 752994"/>
                <a:gd name="connsiteY35" fmla="*/ 213866 h 1333436"/>
                <a:gd name="connsiteX36" fmla="*/ 257159 w 752994"/>
                <a:gd name="connsiteY36" fmla="*/ 0 h 1333436"/>
                <a:gd name="connsiteX37" fmla="*/ 493147 w 752994"/>
                <a:gd name="connsiteY37" fmla="*/ 73157 h 1333436"/>
                <a:gd name="connsiteX38" fmla="*/ 492970 w 752994"/>
                <a:gd name="connsiteY38" fmla="*/ 73792 h 1333436"/>
                <a:gd name="connsiteX39" fmla="*/ 525816 w 752994"/>
                <a:gd name="connsiteY39" fmla="*/ 82491 h 1333436"/>
                <a:gd name="connsiteX40" fmla="*/ 520098 w 752994"/>
                <a:gd name="connsiteY40" fmla="*/ 111245 h 1333436"/>
                <a:gd name="connsiteX41" fmla="*/ 512552 w 752994"/>
                <a:gd name="connsiteY41" fmla="*/ 143854 h 1333436"/>
                <a:gd name="connsiteX42" fmla="*/ 517849 w 752994"/>
                <a:gd name="connsiteY42" fmla="*/ 157740 h 1333436"/>
                <a:gd name="connsiteX43" fmla="*/ 523160 w 752994"/>
                <a:gd name="connsiteY43" fmla="*/ 172009 h 1333436"/>
                <a:gd name="connsiteX44" fmla="*/ 521535 w 752994"/>
                <a:gd name="connsiteY44" fmla="*/ 178928 h 1333436"/>
                <a:gd name="connsiteX45" fmla="*/ 520098 w 752994"/>
                <a:gd name="connsiteY45" fmla="*/ 186279 h 1333436"/>
                <a:gd name="connsiteX46" fmla="*/ 526019 w 752994"/>
                <a:gd name="connsiteY46" fmla="*/ 193629 h 1333436"/>
                <a:gd name="connsiteX47" fmla="*/ 537251 w 752994"/>
                <a:gd name="connsiteY47" fmla="*/ 206270 h 1333436"/>
                <a:gd name="connsiteX48" fmla="*/ 542765 w 752994"/>
                <a:gd name="connsiteY48" fmla="*/ 217475 h 1333436"/>
                <a:gd name="connsiteX49" fmla="*/ 546857 w 752994"/>
                <a:gd name="connsiteY49" fmla="*/ 230930 h 1333436"/>
                <a:gd name="connsiteX50" fmla="*/ 549499 w 752994"/>
                <a:gd name="connsiteY50" fmla="*/ 235622 h 1333436"/>
                <a:gd name="connsiteX51" fmla="*/ 553388 w 752994"/>
                <a:gd name="connsiteY51" fmla="*/ 240722 h 1333436"/>
                <a:gd name="connsiteX52" fmla="*/ 557465 w 752994"/>
                <a:gd name="connsiteY52" fmla="*/ 246037 h 1333436"/>
                <a:gd name="connsiteX53" fmla="*/ 561761 w 752994"/>
                <a:gd name="connsiteY53" fmla="*/ 248671 h 1333436"/>
                <a:gd name="connsiteX54" fmla="*/ 567478 w 752994"/>
                <a:gd name="connsiteY54" fmla="*/ 247665 h 1333436"/>
                <a:gd name="connsiteX55" fmla="*/ 569931 w 752994"/>
                <a:gd name="connsiteY55" fmla="*/ 249293 h 1333436"/>
                <a:gd name="connsiteX56" fmla="*/ 570540 w 752994"/>
                <a:gd name="connsiteY56" fmla="*/ 251951 h 1333436"/>
                <a:gd name="connsiteX57" fmla="*/ 561964 w 752994"/>
                <a:gd name="connsiteY57" fmla="*/ 267656 h 1333436"/>
                <a:gd name="connsiteX58" fmla="*/ 553591 w 752994"/>
                <a:gd name="connsiteY58" fmla="*/ 289659 h 1333436"/>
                <a:gd name="connsiteX59" fmla="*/ 554810 w 752994"/>
                <a:gd name="connsiteY59" fmla="*/ 292939 h 1333436"/>
                <a:gd name="connsiteX60" fmla="*/ 556246 w 752994"/>
                <a:gd name="connsiteY60" fmla="*/ 299260 h 1333436"/>
                <a:gd name="connsiteX61" fmla="*/ 552778 w 752994"/>
                <a:gd name="connsiteY61" fmla="*/ 301917 h 1333436"/>
                <a:gd name="connsiteX62" fmla="*/ 549295 w 752994"/>
                <a:gd name="connsiteY62" fmla="*/ 306993 h 1333436"/>
                <a:gd name="connsiteX63" fmla="*/ 547061 w 752994"/>
                <a:gd name="connsiteY63" fmla="*/ 313122 h 1333436"/>
                <a:gd name="connsiteX64" fmla="*/ 544811 w 752994"/>
                <a:gd name="connsiteY64" fmla="*/ 316593 h 1333436"/>
                <a:gd name="connsiteX65" fmla="*/ 549919 w 752994"/>
                <a:gd name="connsiteY65" fmla="*/ 322698 h 1333436"/>
                <a:gd name="connsiteX66" fmla="*/ 553184 w 752994"/>
                <a:gd name="connsiteY66" fmla="*/ 325955 h 1333436"/>
                <a:gd name="connsiteX67" fmla="*/ 555840 w 752994"/>
                <a:gd name="connsiteY67" fmla="*/ 328205 h 1333436"/>
                <a:gd name="connsiteX68" fmla="*/ 574212 w 752994"/>
                <a:gd name="connsiteY68" fmla="*/ 318820 h 1333436"/>
                <a:gd name="connsiteX69" fmla="*/ 579523 w 752994"/>
                <a:gd name="connsiteY69" fmla="*/ 326577 h 1333436"/>
                <a:gd name="connsiteX70" fmla="*/ 580539 w 752994"/>
                <a:gd name="connsiteY70" fmla="*/ 334933 h 1333436"/>
                <a:gd name="connsiteX71" fmla="*/ 579726 w 752994"/>
                <a:gd name="connsiteY71" fmla="*/ 343097 h 1333436"/>
                <a:gd name="connsiteX72" fmla="*/ 581366 w 752994"/>
                <a:gd name="connsiteY72" fmla="*/ 350231 h 1333436"/>
                <a:gd name="connsiteX73" fmla="*/ 586256 w 752994"/>
                <a:gd name="connsiteY73" fmla="*/ 355930 h 1333436"/>
                <a:gd name="connsiteX74" fmla="*/ 589536 w 752994"/>
                <a:gd name="connsiteY74" fmla="*/ 362059 h 1333436"/>
                <a:gd name="connsiteX75" fmla="*/ 588099 w 752994"/>
                <a:gd name="connsiteY75" fmla="*/ 369600 h 1333436"/>
                <a:gd name="connsiteX76" fmla="*/ 586459 w 752994"/>
                <a:gd name="connsiteY76" fmla="*/ 377357 h 1333436"/>
                <a:gd name="connsiteX77" fmla="*/ 588709 w 752994"/>
                <a:gd name="connsiteY77" fmla="*/ 381835 h 1333436"/>
                <a:gd name="connsiteX78" fmla="*/ 595036 w 752994"/>
                <a:gd name="connsiteY78" fmla="*/ 382457 h 1333436"/>
                <a:gd name="connsiteX79" fmla="*/ 599331 w 752994"/>
                <a:gd name="connsiteY79" fmla="*/ 385306 h 1333436"/>
                <a:gd name="connsiteX80" fmla="*/ 601987 w 752994"/>
                <a:gd name="connsiteY80" fmla="*/ 391004 h 1333436"/>
                <a:gd name="connsiteX81" fmla="*/ 602799 w 752994"/>
                <a:gd name="connsiteY81" fmla="*/ 404076 h 1333436"/>
                <a:gd name="connsiteX82" fmla="*/ 606892 w 752994"/>
                <a:gd name="connsiteY82" fmla="*/ 415688 h 1333436"/>
                <a:gd name="connsiteX83" fmla="*/ 610563 w 752994"/>
                <a:gd name="connsiteY83" fmla="*/ 412217 h 1333436"/>
                <a:gd name="connsiteX84" fmla="*/ 617920 w 752994"/>
                <a:gd name="connsiteY84" fmla="*/ 408769 h 1333436"/>
                <a:gd name="connsiteX85" fmla="*/ 624654 w 752994"/>
                <a:gd name="connsiteY85" fmla="*/ 411211 h 1333436"/>
                <a:gd name="connsiteX86" fmla="*/ 634652 w 752994"/>
                <a:gd name="connsiteY86" fmla="*/ 410182 h 1333436"/>
                <a:gd name="connsiteX87" fmla="*/ 640573 w 752994"/>
                <a:gd name="connsiteY87" fmla="*/ 407739 h 1333436"/>
                <a:gd name="connsiteX88" fmla="*/ 646711 w 752994"/>
                <a:gd name="connsiteY88" fmla="*/ 410589 h 1333436"/>
                <a:gd name="connsiteX89" fmla="*/ 650383 w 752994"/>
                <a:gd name="connsiteY89" fmla="*/ 410589 h 1333436"/>
                <a:gd name="connsiteX90" fmla="*/ 654257 w 752994"/>
                <a:gd name="connsiteY90" fmla="*/ 411618 h 1333436"/>
                <a:gd name="connsiteX91" fmla="*/ 656913 w 752994"/>
                <a:gd name="connsiteY91" fmla="*/ 413653 h 1333436"/>
                <a:gd name="connsiteX92" fmla="*/ 660802 w 752994"/>
                <a:gd name="connsiteY92" fmla="*/ 415090 h 1333436"/>
                <a:gd name="connsiteX93" fmla="*/ 669581 w 752994"/>
                <a:gd name="connsiteY93" fmla="*/ 415904 h 1333436"/>
                <a:gd name="connsiteX94" fmla="*/ 672237 w 752994"/>
                <a:gd name="connsiteY94" fmla="*/ 415688 h 1333436"/>
                <a:gd name="connsiteX95" fmla="*/ 675705 w 752994"/>
                <a:gd name="connsiteY95" fmla="*/ 409367 h 1333436"/>
                <a:gd name="connsiteX96" fmla="*/ 679986 w 752994"/>
                <a:gd name="connsiteY96" fmla="*/ 403238 h 1333436"/>
                <a:gd name="connsiteX97" fmla="*/ 693264 w 752994"/>
                <a:gd name="connsiteY97" fmla="*/ 419567 h 1333436"/>
                <a:gd name="connsiteX98" fmla="*/ 688563 w 752994"/>
                <a:gd name="connsiteY98" fmla="*/ 448321 h 1333436"/>
                <a:gd name="connsiteX99" fmla="*/ 663949 w 752994"/>
                <a:gd name="connsiteY99" fmla="*/ 590165 h 1333436"/>
                <a:gd name="connsiteX100" fmla="*/ 666304 w 752994"/>
                <a:gd name="connsiteY100" fmla="*/ 590504 h 1333436"/>
                <a:gd name="connsiteX101" fmla="*/ 655288 w 752994"/>
                <a:gd name="connsiteY101" fmla="*/ 656178 h 1333436"/>
                <a:gd name="connsiteX102" fmla="*/ 681808 w 752994"/>
                <a:gd name="connsiteY102" fmla="*/ 662301 h 1333436"/>
                <a:gd name="connsiteX103" fmla="*/ 752994 w 752994"/>
                <a:gd name="connsiteY103" fmla="*/ 675560 h 1333436"/>
                <a:gd name="connsiteX104" fmla="*/ 714651 w 752994"/>
                <a:gd name="connsiteY104" fmla="*/ 946985 h 1333436"/>
                <a:gd name="connsiteX105" fmla="*/ 654533 w 752994"/>
                <a:gd name="connsiteY105" fmla="*/ 1333436 h 1333436"/>
                <a:gd name="connsiteX106" fmla="*/ 546831 w 752994"/>
                <a:gd name="connsiteY106" fmla="*/ 1317126 h 1333436"/>
                <a:gd name="connsiteX107" fmla="*/ 351227 w 752994"/>
                <a:gd name="connsiteY107" fmla="*/ 1194172 h 1333436"/>
                <a:gd name="connsiteX108" fmla="*/ 361011 w 752994"/>
                <a:gd name="connsiteY108" fmla="*/ 1182755 h 1333436"/>
                <a:gd name="connsiteX109" fmla="*/ 368981 w 752994"/>
                <a:gd name="connsiteY109" fmla="*/ 1182130 h 1333436"/>
                <a:gd name="connsiteX110" fmla="*/ 369571 w 752994"/>
                <a:gd name="connsiteY110" fmla="*/ 1181558 h 1333436"/>
                <a:gd name="connsiteX111" fmla="*/ 362372 w 752994"/>
                <a:gd name="connsiteY111" fmla="*/ 1182120 h 1333436"/>
                <a:gd name="connsiteX112" fmla="*/ 229464 w 752994"/>
                <a:gd name="connsiteY112" fmla="*/ 1161721 h 1333436"/>
                <a:gd name="connsiteX113" fmla="*/ 227427 w 752994"/>
                <a:gd name="connsiteY113" fmla="*/ 1157269 h 1333436"/>
                <a:gd name="connsiteX114" fmla="*/ 224967 w 752994"/>
                <a:gd name="connsiteY114" fmla="*/ 1152575 h 1333436"/>
                <a:gd name="connsiteX115" fmla="*/ 225582 w 752994"/>
                <a:gd name="connsiteY115" fmla="*/ 1144808 h 1333436"/>
                <a:gd name="connsiteX116" fmla="*/ 227215 w 752994"/>
                <a:gd name="connsiteY116" fmla="*/ 1135834 h 1333436"/>
                <a:gd name="connsiteX117" fmla="*/ 227215 w 752994"/>
                <a:gd name="connsiteY117" fmla="*/ 1134212 h 1333436"/>
                <a:gd name="connsiteX118" fmla="*/ 225179 w 752994"/>
                <a:gd name="connsiteY118" fmla="*/ 1114020 h 1333436"/>
                <a:gd name="connsiteX119" fmla="*/ 217839 w 752994"/>
                <a:gd name="connsiteY119" fmla="*/ 1100352 h 1333436"/>
                <a:gd name="connsiteX120" fmla="*/ 199661 w 752994"/>
                <a:gd name="connsiteY120" fmla="*/ 1076502 h 1333436"/>
                <a:gd name="connsiteX121" fmla="*/ 196395 w 752994"/>
                <a:gd name="connsiteY121" fmla="*/ 1071807 h 1333436"/>
                <a:gd name="connsiteX122" fmla="*/ 190880 w 752994"/>
                <a:gd name="connsiteY122" fmla="*/ 1067527 h 1333436"/>
                <a:gd name="connsiteX123" fmla="*/ 187210 w 752994"/>
                <a:gd name="connsiteY123" fmla="*/ 1068735 h 1333436"/>
                <a:gd name="connsiteX124" fmla="*/ 180062 w 752994"/>
                <a:gd name="connsiteY124" fmla="*/ 1066699 h 1333436"/>
                <a:gd name="connsiteX125" fmla="*/ 180466 w 752994"/>
                <a:gd name="connsiteY125" fmla="*/ 1053031 h 1333436"/>
                <a:gd name="connsiteX126" fmla="*/ 180062 w 752994"/>
                <a:gd name="connsiteY126" fmla="*/ 1045299 h 1333436"/>
                <a:gd name="connsiteX127" fmla="*/ 174144 w 752994"/>
                <a:gd name="connsiteY127" fmla="*/ 1044057 h 1333436"/>
                <a:gd name="connsiteX128" fmla="*/ 158426 w 752994"/>
                <a:gd name="connsiteY128" fmla="*/ 1042641 h 1333436"/>
                <a:gd name="connsiteX129" fmla="*/ 149857 w 752994"/>
                <a:gd name="connsiteY129" fmla="*/ 1035497 h 1333436"/>
                <a:gd name="connsiteX130" fmla="*/ 142497 w 752994"/>
                <a:gd name="connsiteY130" fmla="*/ 1028766 h 1333436"/>
                <a:gd name="connsiteX131" fmla="*/ 140864 w 752994"/>
                <a:gd name="connsiteY131" fmla="*/ 1020620 h 1333436"/>
                <a:gd name="connsiteX132" fmla="*/ 138212 w 752994"/>
                <a:gd name="connsiteY132" fmla="*/ 1013061 h 1333436"/>
                <a:gd name="connsiteX133" fmla="*/ 131064 w 752994"/>
                <a:gd name="connsiteY133" fmla="*/ 1007159 h 1333436"/>
                <a:gd name="connsiteX134" fmla="*/ 121264 w 752994"/>
                <a:gd name="connsiteY134" fmla="*/ 1005330 h 1333436"/>
                <a:gd name="connsiteX135" fmla="*/ 112483 w 752994"/>
                <a:gd name="connsiteY135" fmla="*/ 1001671 h 1333436"/>
                <a:gd name="connsiteX136" fmla="*/ 105950 w 752994"/>
                <a:gd name="connsiteY136" fmla="*/ 995734 h 1333436"/>
                <a:gd name="connsiteX137" fmla="*/ 97380 w 752994"/>
                <a:gd name="connsiteY137" fmla="*/ 994526 h 1333436"/>
                <a:gd name="connsiteX138" fmla="*/ 87984 w 752994"/>
                <a:gd name="connsiteY138" fmla="*/ 991040 h 1333436"/>
                <a:gd name="connsiteX139" fmla="*/ 80029 w 752994"/>
                <a:gd name="connsiteY139" fmla="*/ 985138 h 1333436"/>
                <a:gd name="connsiteX140" fmla="*/ 77166 w 752994"/>
                <a:gd name="connsiteY140" fmla="*/ 976164 h 1333436"/>
                <a:gd name="connsiteX141" fmla="*/ 79203 w 752994"/>
                <a:gd name="connsiteY141" fmla="*/ 970676 h 1333436"/>
                <a:gd name="connsiteX142" fmla="*/ 82470 w 752994"/>
                <a:gd name="connsiteY142" fmla="*/ 963117 h 1333436"/>
                <a:gd name="connsiteX143" fmla="*/ 84314 w 752994"/>
                <a:gd name="connsiteY143" fmla="*/ 954557 h 1333436"/>
                <a:gd name="connsiteX144" fmla="*/ 86351 w 752994"/>
                <a:gd name="connsiteY144" fmla="*/ 948033 h 1333436"/>
                <a:gd name="connsiteX145" fmla="*/ 86159 w 752994"/>
                <a:gd name="connsiteY145" fmla="*/ 942925 h 1333436"/>
                <a:gd name="connsiteX146" fmla="*/ 83085 w 752994"/>
                <a:gd name="connsiteY146" fmla="*/ 939853 h 1333436"/>
                <a:gd name="connsiteX147" fmla="*/ 77570 w 752994"/>
                <a:gd name="connsiteY147" fmla="*/ 937437 h 1333436"/>
                <a:gd name="connsiteX148" fmla="*/ 76763 w 752994"/>
                <a:gd name="connsiteY148" fmla="*/ 931915 h 1333436"/>
                <a:gd name="connsiteX149" fmla="*/ 78800 w 752994"/>
                <a:gd name="connsiteY149" fmla="*/ 927013 h 1333436"/>
                <a:gd name="connsiteX150" fmla="*/ 79626 w 752994"/>
                <a:gd name="connsiteY150" fmla="*/ 922526 h 1333436"/>
                <a:gd name="connsiteX151" fmla="*/ 77781 w 752994"/>
                <a:gd name="connsiteY151" fmla="*/ 919903 h 1333436"/>
                <a:gd name="connsiteX152" fmla="*/ 74303 w 752994"/>
                <a:gd name="connsiteY152" fmla="*/ 917418 h 1333436"/>
                <a:gd name="connsiteX153" fmla="*/ 71863 w 752994"/>
                <a:gd name="connsiteY153" fmla="*/ 915174 h 1333436"/>
                <a:gd name="connsiteX154" fmla="*/ 71652 w 752994"/>
                <a:gd name="connsiteY154" fmla="*/ 910894 h 1333436"/>
                <a:gd name="connsiteX155" fmla="*/ 70633 w 752994"/>
                <a:gd name="connsiteY155" fmla="*/ 906614 h 1333436"/>
                <a:gd name="connsiteX156" fmla="*/ 68385 w 752994"/>
                <a:gd name="connsiteY156" fmla="*/ 902749 h 1333436"/>
                <a:gd name="connsiteX157" fmla="*/ 61045 w 752994"/>
                <a:gd name="connsiteY157" fmla="*/ 889494 h 1333436"/>
                <a:gd name="connsiteX158" fmla="*/ 57971 w 752994"/>
                <a:gd name="connsiteY158" fmla="*/ 875619 h 1333436"/>
                <a:gd name="connsiteX159" fmla="*/ 52264 w 752994"/>
                <a:gd name="connsiteY159" fmla="*/ 862572 h 1333436"/>
                <a:gd name="connsiteX160" fmla="*/ 44309 w 752994"/>
                <a:gd name="connsiteY160" fmla="*/ 850561 h 1333436"/>
                <a:gd name="connsiteX161" fmla="*/ 45520 w 752994"/>
                <a:gd name="connsiteY161" fmla="*/ 827090 h 1333436"/>
                <a:gd name="connsiteX162" fmla="*/ 53071 w 752994"/>
                <a:gd name="connsiteY162" fmla="*/ 822396 h 1333436"/>
                <a:gd name="connsiteX163" fmla="*/ 57375 w 752994"/>
                <a:gd name="connsiteY163" fmla="*/ 816493 h 1333436"/>
                <a:gd name="connsiteX164" fmla="*/ 55319 w 752994"/>
                <a:gd name="connsiteY164" fmla="*/ 801617 h 1333436"/>
                <a:gd name="connsiteX165" fmla="*/ 48383 w 752994"/>
                <a:gd name="connsiteY165" fmla="*/ 802204 h 1333436"/>
                <a:gd name="connsiteX166" fmla="*/ 40428 w 752994"/>
                <a:gd name="connsiteY166" fmla="*/ 797924 h 1333436"/>
                <a:gd name="connsiteX167" fmla="*/ 37565 w 752994"/>
                <a:gd name="connsiteY167" fmla="*/ 790606 h 1333436"/>
                <a:gd name="connsiteX168" fmla="*/ 37565 w 752994"/>
                <a:gd name="connsiteY168" fmla="*/ 790399 h 1333436"/>
                <a:gd name="connsiteX169" fmla="*/ 35931 w 752994"/>
                <a:gd name="connsiteY169" fmla="*/ 785912 h 1333436"/>
                <a:gd name="connsiteX170" fmla="*/ 34510 w 752994"/>
                <a:gd name="connsiteY170" fmla="*/ 780597 h 1333436"/>
                <a:gd name="connsiteX171" fmla="*/ 36335 w 752994"/>
                <a:gd name="connsiteY171" fmla="*/ 774280 h 1333436"/>
                <a:gd name="connsiteX172" fmla="*/ 38180 w 752994"/>
                <a:gd name="connsiteY172" fmla="*/ 766721 h 1333436"/>
                <a:gd name="connsiteX173" fmla="*/ 37161 w 752994"/>
                <a:gd name="connsiteY173" fmla="*/ 760405 h 1333436"/>
                <a:gd name="connsiteX174" fmla="*/ 35720 w 752994"/>
                <a:gd name="connsiteY174" fmla="*/ 754710 h 1333436"/>
                <a:gd name="connsiteX175" fmla="*/ 36546 w 752994"/>
                <a:gd name="connsiteY175" fmla="*/ 748773 h 1333436"/>
                <a:gd name="connsiteX176" fmla="*/ 38372 w 752994"/>
                <a:gd name="connsiteY176" fmla="*/ 744528 h 1333436"/>
                <a:gd name="connsiteX177" fmla="*/ 41638 w 752994"/>
                <a:gd name="connsiteY177" fmla="*/ 744321 h 1333436"/>
                <a:gd name="connsiteX178" fmla="*/ 44713 w 752994"/>
                <a:gd name="connsiteY178" fmla="*/ 746357 h 1333436"/>
                <a:gd name="connsiteX179" fmla="*/ 47364 w 752994"/>
                <a:gd name="connsiteY179" fmla="*/ 753260 h 1333436"/>
                <a:gd name="connsiteX180" fmla="*/ 55742 w 752994"/>
                <a:gd name="connsiteY180" fmla="*/ 764305 h 1333436"/>
                <a:gd name="connsiteX181" fmla="*/ 56338 w 752994"/>
                <a:gd name="connsiteY181" fmla="*/ 761233 h 1333436"/>
                <a:gd name="connsiteX182" fmla="*/ 56145 w 752994"/>
                <a:gd name="connsiteY182" fmla="*/ 757368 h 1333436"/>
                <a:gd name="connsiteX183" fmla="*/ 54916 w 752994"/>
                <a:gd name="connsiteY183" fmla="*/ 748601 h 1333436"/>
                <a:gd name="connsiteX184" fmla="*/ 52879 w 752994"/>
                <a:gd name="connsiteY184" fmla="*/ 747358 h 1333436"/>
                <a:gd name="connsiteX185" fmla="*/ 51649 w 752994"/>
                <a:gd name="connsiteY185" fmla="*/ 745322 h 1333436"/>
                <a:gd name="connsiteX186" fmla="*/ 51649 w 752994"/>
                <a:gd name="connsiteY186" fmla="*/ 739212 h 1333436"/>
                <a:gd name="connsiteX187" fmla="*/ 50227 w 752994"/>
                <a:gd name="connsiteY187" fmla="*/ 734725 h 1333436"/>
                <a:gd name="connsiteX188" fmla="*/ 48786 w 752994"/>
                <a:gd name="connsiteY188" fmla="*/ 731446 h 1333436"/>
                <a:gd name="connsiteX189" fmla="*/ 54512 w 752994"/>
                <a:gd name="connsiteY189" fmla="*/ 726372 h 1333436"/>
                <a:gd name="connsiteX190" fmla="*/ 59815 w 752994"/>
                <a:gd name="connsiteY190" fmla="*/ 725130 h 1333436"/>
                <a:gd name="connsiteX191" fmla="*/ 58182 w 752994"/>
                <a:gd name="connsiteY191" fmla="*/ 722886 h 1333436"/>
                <a:gd name="connsiteX192" fmla="*/ 51861 w 752994"/>
                <a:gd name="connsiteY192" fmla="*/ 717985 h 1333436"/>
                <a:gd name="connsiteX193" fmla="*/ 46749 w 752994"/>
                <a:gd name="connsiteY193" fmla="*/ 729617 h 1333436"/>
                <a:gd name="connsiteX194" fmla="*/ 40831 w 752994"/>
                <a:gd name="connsiteY194" fmla="*/ 739212 h 1333436"/>
                <a:gd name="connsiteX195" fmla="*/ 39601 w 752994"/>
                <a:gd name="connsiteY195" fmla="*/ 738798 h 1333436"/>
                <a:gd name="connsiteX196" fmla="*/ 39409 w 752994"/>
                <a:gd name="connsiteY196" fmla="*/ 738591 h 1333436"/>
                <a:gd name="connsiteX197" fmla="*/ 37161 w 752994"/>
                <a:gd name="connsiteY197" fmla="*/ 734725 h 1333436"/>
                <a:gd name="connsiteX198" fmla="*/ 32665 w 752994"/>
                <a:gd name="connsiteY198" fmla="*/ 727788 h 1333436"/>
                <a:gd name="connsiteX199" fmla="*/ 26747 w 752994"/>
                <a:gd name="connsiteY199" fmla="*/ 719435 h 1333436"/>
                <a:gd name="connsiteX200" fmla="*/ 23884 w 752994"/>
                <a:gd name="connsiteY200" fmla="*/ 717812 h 1333436"/>
                <a:gd name="connsiteX201" fmla="*/ 24710 w 752994"/>
                <a:gd name="connsiteY201" fmla="*/ 709632 h 1333436"/>
                <a:gd name="connsiteX202" fmla="*/ 27554 w 752994"/>
                <a:gd name="connsiteY202" fmla="*/ 701694 h 1333436"/>
                <a:gd name="connsiteX203" fmla="*/ 24902 w 752994"/>
                <a:gd name="connsiteY203" fmla="*/ 696171 h 1333436"/>
                <a:gd name="connsiteX204" fmla="*/ 24095 w 752994"/>
                <a:gd name="connsiteY204" fmla="*/ 687818 h 1333436"/>
                <a:gd name="connsiteX205" fmla="*/ 22462 w 752994"/>
                <a:gd name="connsiteY205" fmla="*/ 682330 h 1333436"/>
                <a:gd name="connsiteX206" fmla="*/ 17159 w 752994"/>
                <a:gd name="connsiteY206" fmla="*/ 677636 h 1333436"/>
                <a:gd name="connsiteX207" fmla="*/ 14296 w 752994"/>
                <a:gd name="connsiteY207" fmla="*/ 671492 h 1333436"/>
                <a:gd name="connsiteX208" fmla="*/ 12451 w 752994"/>
                <a:gd name="connsiteY208" fmla="*/ 665797 h 1333436"/>
                <a:gd name="connsiteX209" fmla="*/ 5111 w 752994"/>
                <a:gd name="connsiteY209" fmla="*/ 654994 h 1333436"/>
                <a:gd name="connsiteX210" fmla="*/ 2248 w 752994"/>
                <a:gd name="connsiteY210" fmla="*/ 645605 h 1333436"/>
                <a:gd name="connsiteX211" fmla="*/ 4496 w 752994"/>
                <a:gd name="connsiteY211" fmla="*/ 640497 h 1333436"/>
                <a:gd name="connsiteX212" fmla="*/ 6744 w 752994"/>
                <a:gd name="connsiteY212" fmla="*/ 632765 h 1333436"/>
                <a:gd name="connsiteX213" fmla="*/ 6744 w 752994"/>
                <a:gd name="connsiteY213" fmla="*/ 628485 h 1333436"/>
                <a:gd name="connsiteX214" fmla="*/ 6533 w 752994"/>
                <a:gd name="connsiteY214" fmla="*/ 620305 h 1333436"/>
                <a:gd name="connsiteX215" fmla="*/ 7359 w 752994"/>
                <a:gd name="connsiteY215" fmla="*/ 611745 h 1333436"/>
                <a:gd name="connsiteX216" fmla="*/ 11836 w 752994"/>
                <a:gd name="connsiteY216" fmla="*/ 602978 h 1333436"/>
                <a:gd name="connsiteX217" fmla="*/ 15103 w 752994"/>
                <a:gd name="connsiteY217" fmla="*/ 591760 h 1333436"/>
                <a:gd name="connsiteX218" fmla="*/ 14488 w 752994"/>
                <a:gd name="connsiteY218" fmla="*/ 584029 h 1333436"/>
                <a:gd name="connsiteX219" fmla="*/ 13873 w 752994"/>
                <a:gd name="connsiteY219" fmla="*/ 578299 h 1333436"/>
                <a:gd name="connsiteX220" fmla="*/ 10626 w 752994"/>
                <a:gd name="connsiteY220" fmla="*/ 568531 h 1333436"/>
                <a:gd name="connsiteX221" fmla="*/ 3670 w 752994"/>
                <a:gd name="connsiteY221" fmla="*/ 558107 h 1333436"/>
                <a:gd name="connsiteX222" fmla="*/ 0 w 752994"/>
                <a:gd name="connsiteY222" fmla="*/ 551377 h 1333436"/>
                <a:gd name="connsiteX223" fmla="*/ 0 w 752994"/>
                <a:gd name="connsiteY223" fmla="*/ 550997 h 1333436"/>
                <a:gd name="connsiteX224" fmla="*/ 4900 w 752994"/>
                <a:gd name="connsiteY224" fmla="*/ 531220 h 1333436"/>
                <a:gd name="connsiteX225" fmla="*/ 13873 w 752994"/>
                <a:gd name="connsiteY225" fmla="*/ 520589 h 1333436"/>
                <a:gd name="connsiteX226" fmla="*/ 18369 w 752994"/>
                <a:gd name="connsiteY226" fmla="*/ 516516 h 1333436"/>
                <a:gd name="connsiteX227" fmla="*/ 18773 w 752994"/>
                <a:gd name="connsiteY227" fmla="*/ 514272 h 1333436"/>
                <a:gd name="connsiteX228" fmla="*/ 23077 w 752994"/>
                <a:gd name="connsiteY228" fmla="*/ 506127 h 1333436"/>
                <a:gd name="connsiteX229" fmla="*/ 23884 w 752994"/>
                <a:gd name="connsiteY229" fmla="*/ 502261 h 1333436"/>
                <a:gd name="connsiteX230" fmla="*/ 23692 w 752994"/>
                <a:gd name="connsiteY230" fmla="*/ 496738 h 1333436"/>
                <a:gd name="connsiteX231" fmla="*/ 30013 w 752994"/>
                <a:gd name="connsiteY231" fmla="*/ 486556 h 1333436"/>
                <a:gd name="connsiteX232" fmla="*/ 36546 w 752994"/>
                <a:gd name="connsiteY232" fmla="*/ 470230 h 1333436"/>
                <a:gd name="connsiteX233" fmla="*/ 36546 w 752994"/>
                <a:gd name="connsiteY233" fmla="*/ 462671 h 1333436"/>
                <a:gd name="connsiteX234" fmla="*/ 36335 w 752994"/>
                <a:gd name="connsiteY234" fmla="*/ 461670 h 1333436"/>
                <a:gd name="connsiteX235" fmla="*/ 35931 w 752994"/>
                <a:gd name="connsiteY235" fmla="*/ 453110 h 1333436"/>
                <a:gd name="connsiteX236" fmla="*/ 38583 w 752994"/>
                <a:gd name="connsiteY236" fmla="*/ 442514 h 1333436"/>
                <a:gd name="connsiteX237" fmla="*/ 41043 w 752994"/>
                <a:gd name="connsiteY237" fmla="*/ 436991 h 1333436"/>
                <a:gd name="connsiteX238" fmla="*/ 41650 w 752994"/>
                <a:gd name="connsiteY238" fmla="*/ 437186 h 1333436"/>
                <a:gd name="connsiteX239" fmla="*/ 41239 w 752994"/>
                <a:gd name="connsiteY239" fmla="*/ 436549 h 1333436"/>
                <a:gd name="connsiteX240" fmla="*/ 37778 w 752994"/>
                <a:gd name="connsiteY240" fmla="*/ 433894 h 1333436"/>
                <a:gd name="connsiteX241" fmla="*/ 37169 w 752994"/>
                <a:gd name="connsiteY241" fmla="*/ 432261 h 1333436"/>
                <a:gd name="connsiteX242" fmla="*/ 37365 w 752994"/>
                <a:gd name="connsiteY242" fmla="*/ 429198 h 1333436"/>
                <a:gd name="connsiteX243" fmla="*/ 36756 w 752994"/>
                <a:gd name="connsiteY243" fmla="*/ 422272 h 1333436"/>
                <a:gd name="connsiteX244" fmla="*/ 36952 w 752994"/>
                <a:gd name="connsiteY244" fmla="*/ 418800 h 1333436"/>
                <a:gd name="connsiteX245" fmla="*/ 36756 w 752994"/>
                <a:gd name="connsiteY245" fmla="*/ 412487 h 1333436"/>
                <a:gd name="connsiteX246" fmla="*/ 40433 w 752994"/>
                <a:gd name="connsiteY246" fmla="*/ 406174 h 1333436"/>
                <a:gd name="connsiteX247" fmla="*/ 44720 w 752994"/>
                <a:gd name="connsiteY247" fmla="*/ 399435 h 1333436"/>
                <a:gd name="connsiteX248" fmla="*/ 44110 w 752994"/>
                <a:gd name="connsiteY248" fmla="*/ 389651 h 1333436"/>
                <a:gd name="connsiteX249" fmla="*/ 43894 w 752994"/>
                <a:gd name="connsiteY249" fmla="*/ 378437 h 1333436"/>
                <a:gd name="connsiteX250" fmla="*/ 47158 w 752994"/>
                <a:gd name="connsiteY250" fmla="*/ 371102 h 1333436"/>
                <a:gd name="connsiteX251" fmla="*/ 55731 w 752994"/>
                <a:gd name="connsiteY251" fmla="*/ 360909 h 1333436"/>
                <a:gd name="connsiteX252" fmla="*/ 57580 w 752994"/>
                <a:gd name="connsiteY252" fmla="*/ 355804 h 1333436"/>
                <a:gd name="connsiteX253" fmla="*/ 62673 w 752994"/>
                <a:gd name="connsiteY253" fmla="*/ 349695 h 1333436"/>
                <a:gd name="connsiteX254" fmla="*/ 65937 w 752994"/>
                <a:gd name="connsiteY254" fmla="*/ 348470 h 1333436"/>
                <a:gd name="connsiteX255" fmla="*/ 68395 w 752994"/>
                <a:gd name="connsiteY255" fmla="*/ 348674 h 1333436"/>
                <a:gd name="connsiteX256" fmla="*/ 70224 w 752994"/>
                <a:gd name="connsiteY256" fmla="*/ 347449 h 1333436"/>
                <a:gd name="connsiteX257" fmla="*/ 67785 w 752994"/>
                <a:gd name="connsiteY257" fmla="*/ 345203 h 1333436"/>
                <a:gd name="connsiteX258" fmla="*/ 65524 w 752994"/>
                <a:gd name="connsiteY258" fmla="*/ 343178 h 1333436"/>
                <a:gd name="connsiteX259" fmla="*/ 73095 w 752994"/>
                <a:gd name="connsiteY259" fmla="*/ 333376 h 1333436"/>
                <a:gd name="connsiteX260" fmla="*/ 73291 w 752994"/>
                <a:gd name="connsiteY260" fmla="*/ 333376 h 1333436"/>
                <a:gd name="connsiteX261" fmla="*/ 77991 w 752994"/>
                <a:gd name="connsiteY261" fmla="*/ 325838 h 1333436"/>
                <a:gd name="connsiteX262" fmla="*/ 82671 w 752994"/>
                <a:gd name="connsiteY262" fmla="*/ 313619 h 1333436"/>
                <a:gd name="connsiteX263" fmla="*/ 87980 w 752994"/>
                <a:gd name="connsiteY263" fmla="*/ 303018 h 1333436"/>
                <a:gd name="connsiteX264" fmla="*/ 92267 w 752994"/>
                <a:gd name="connsiteY264" fmla="*/ 291191 h 1333436"/>
                <a:gd name="connsiteX265" fmla="*/ 96553 w 752994"/>
                <a:gd name="connsiteY265" fmla="*/ 281202 h 1333436"/>
                <a:gd name="connsiteX266" fmla="*/ 99621 w 752994"/>
                <a:gd name="connsiteY266" fmla="*/ 274481 h 1333436"/>
                <a:gd name="connsiteX267" fmla="*/ 103082 w 752994"/>
                <a:gd name="connsiteY267" fmla="*/ 262450 h 1333436"/>
                <a:gd name="connsiteX268" fmla="*/ 107172 w 752994"/>
                <a:gd name="connsiteY268" fmla="*/ 254299 h 1333436"/>
                <a:gd name="connsiteX269" fmla="*/ 112481 w 752994"/>
                <a:gd name="connsiteY269" fmla="*/ 243697 h 1333436"/>
                <a:gd name="connsiteX270" fmla="*/ 117181 w 752994"/>
                <a:gd name="connsiteY270" fmla="*/ 232279 h 1333436"/>
                <a:gd name="connsiteX271" fmla="*/ 125951 w 752994"/>
                <a:gd name="connsiteY271" fmla="*/ 217389 h 1333436"/>
                <a:gd name="connsiteX272" fmla="*/ 136156 w 752994"/>
                <a:gd name="connsiteY272" fmla="*/ 202925 h 1333436"/>
                <a:gd name="connsiteX273" fmla="*/ 138811 w 752994"/>
                <a:gd name="connsiteY273" fmla="*/ 183339 h 1333436"/>
                <a:gd name="connsiteX274" fmla="*/ 148801 w 752994"/>
                <a:gd name="connsiteY274" fmla="*/ 167445 h 1333436"/>
                <a:gd name="connsiteX275" fmla="*/ 159616 w 752994"/>
                <a:gd name="connsiteY275" fmla="*/ 170712 h 1333436"/>
                <a:gd name="connsiteX276" fmla="*/ 173105 w 752994"/>
                <a:gd name="connsiteY276" fmla="*/ 175188 h 1333436"/>
                <a:gd name="connsiteX277" fmla="*/ 175347 w 752994"/>
                <a:gd name="connsiteY277" fmla="*/ 175188 h 1333436"/>
                <a:gd name="connsiteX278" fmla="*/ 175347 w 752994"/>
                <a:gd name="connsiteY278" fmla="*/ 173758 h 1333436"/>
                <a:gd name="connsiteX279" fmla="*/ 184975 w 752994"/>
                <a:gd name="connsiteY279" fmla="*/ 187393 h 1333436"/>
                <a:gd name="connsiteX280" fmla="*/ 184762 w 752994"/>
                <a:gd name="connsiteY280" fmla="*/ 184637 h 1333436"/>
                <a:gd name="connsiteX281" fmla="*/ 174971 w 752994"/>
                <a:gd name="connsiteY281" fmla="*/ 170774 h 1333436"/>
                <a:gd name="connsiteX282" fmla="*/ 174971 w 752994"/>
                <a:gd name="connsiteY282" fmla="*/ 169550 h 1333436"/>
                <a:gd name="connsiteX283" fmla="*/ 158851 w 752994"/>
                <a:gd name="connsiteY283" fmla="*/ 156924 h 1333436"/>
                <a:gd name="connsiteX284" fmla="*/ 147025 w 752994"/>
                <a:gd name="connsiteY284" fmla="*/ 145709 h 1333436"/>
                <a:gd name="connsiteX285" fmla="*/ 154364 w 752994"/>
                <a:gd name="connsiteY285" fmla="*/ 136335 h 1333436"/>
                <a:gd name="connsiteX286" fmla="*/ 161511 w 752994"/>
                <a:gd name="connsiteY286" fmla="*/ 131042 h 1333436"/>
                <a:gd name="connsiteX287" fmla="*/ 160902 w 752994"/>
                <a:gd name="connsiteY287" fmla="*/ 128384 h 1333436"/>
                <a:gd name="connsiteX288" fmla="*/ 160277 w 752994"/>
                <a:gd name="connsiteY288" fmla="*/ 127778 h 1333436"/>
                <a:gd name="connsiteX289" fmla="*/ 154973 w 752994"/>
                <a:gd name="connsiteY289" fmla="*/ 122077 h 1333436"/>
                <a:gd name="connsiteX290" fmla="*/ 160277 w 752994"/>
                <a:gd name="connsiteY290" fmla="*/ 115140 h 1333436"/>
                <a:gd name="connsiteX291" fmla="*/ 165181 w 752994"/>
                <a:gd name="connsiteY291" fmla="*/ 108215 h 1333436"/>
                <a:gd name="connsiteX292" fmla="*/ 161303 w 752994"/>
                <a:gd name="connsiteY292" fmla="*/ 104146 h 1333436"/>
                <a:gd name="connsiteX293" fmla="*/ 157842 w 752994"/>
                <a:gd name="connsiteY293" fmla="*/ 104542 h 1333436"/>
                <a:gd name="connsiteX294" fmla="*/ 157024 w 752994"/>
                <a:gd name="connsiteY294" fmla="*/ 102304 h 1333436"/>
                <a:gd name="connsiteX295" fmla="*/ 160694 w 752994"/>
                <a:gd name="connsiteY295" fmla="*/ 55437 h 1333436"/>
                <a:gd name="connsiteX296" fmla="*/ 160486 w 752994"/>
                <a:gd name="connsiteY296" fmla="*/ 31991 h 1333436"/>
                <a:gd name="connsiteX297" fmla="*/ 164972 w 752994"/>
                <a:gd name="connsiteY297" fmla="*/ 18141 h 1333436"/>
                <a:gd name="connsiteX298" fmla="*/ 171911 w 752994"/>
                <a:gd name="connsiteY298" fmla="*/ 11204 h 1333436"/>
                <a:gd name="connsiteX299" fmla="*/ 187406 w 752994"/>
                <a:gd name="connsiteY299" fmla="*/ 21801 h 1333436"/>
                <a:gd name="connsiteX300" fmla="*/ 210866 w 752994"/>
                <a:gd name="connsiteY300" fmla="*/ 37086 h 1333436"/>
                <a:gd name="connsiteX301" fmla="*/ 219230 w 752994"/>
                <a:gd name="connsiteY301" fmla="*/ 41166 h 1333436"/>
                <a:gd name="connsiteX302" fmla="*/ 226778 w 752994"/>
                <a:gd name="connsiteY302" fmla="*/ 47486 h 1333436"/>
                <a:gd name="connsiteX303" fmla="*/ 236152 w 752994"/>
                <a:gd name="connsiteY303" fmla="*/ 52370 h 1333436"/>
                <a:gd name="connsiteX304" fmla="*/ 239629 w 752994"/>
                <a:gd name="connsiteY304" fmla="*/ 58491 h 1333436"/>
                <a:gd name="connsiteX305" fmla="*/ 239629 w 752994"/>
                <a:gd name="connsiteY305" fmla="*/ 63376 h 1333436"/>
                <a:gd name="connsiteX306" fmla="*/ 236568 w 752994"/>
                <a:gd name="connsiteY306" fmla="*/ 67457 h 1333436"/>
                <a:gd name="connsiteX307" fmla="*/ 231264 w 752994"/>
                <a:gd name="connsiteY307" fmla="*/ 69905 h 1333436"/>
                <a:gd name="connsiteX308" fmla="*/ 216778 w 752994"/>
                <a:gd name="connsiteY308" fmla="*/ 82741 h 1333436"/>
                <a:gd name="connsiteX309" fmla="*/ 214134 w 752994"/>
                <a:gd name="connsiteY309" fmla="*/ 93536 h 1333436"/>
                <a:gd name="connsiteX310" fmla="*/ 214535 w 752994"/>
                <a:gd name="connsiteY310" fmla="*/ 96801 h 1333436"/>
                <a:gd name="connsiteX311" fmla="*/ 216378 w 752994"/>
                <a:gd name="connsiteY311" fmla="*/ 96801 h 1333436"/>
                <a:gd name="connsiteX312" fmla="*/ 230046 w 752994"/>
                <a:gd name="connsiteY312" fmla="*/ 85387 h 1333436"/>
                <a:gd name="connsiteX313" fmla="*/ 243298 w 752994"/>
                <a:gd name="connsiteY313" fmla="*/ 75198 h 1333436"/>
                <a:gd name="connsiteX314" fmla="*/ 246760 w 752994"/>
                <a:gd name="connsiteY314" fmla="*/ 77646 h 1333436"/>
                <a:gd name="connsiteX315" fmla="*/ 255541 w 752994"/>
                <a:gd name="connsiteY315" fmla="*/ 63376 h 1333436"/>
                <a:gd name="connsiteX316" fmla="*/ 259611 w 752994"/>
                <a:gd name="connsiteY316" fmla="*/ 43405 h 1333436"/>
                <a:gd name="connsiteX317" fmla="*/ 256967 w 752994"/>
                <a:gd name="connsiteY317" fmla="*/ 38520 h 1333436"/>
                <a:gd name="connsiteX318" fmla="*/ 253906 w 752994"/>
                <a:gd name="connsiteY318" fmla="*/ 34242 h 1333436"/>
                <a:gd name="connsiteX319" fmla="*/ 256967 w 752994"/>
                <a:gd name="connsiteY319" fmla="*/ 30161 h 1333436"/>
                <a:gd name="connsiteX320" fmla="*/ 262063 w 752994"/>
                <a:gd name="connsiteY320" fmla="*/ 27712 h 1333436"/>
                <a:gd name="connsiteX321" fmla="*/ 264915 w 752994"/>
                <a:gd name="connsiteY321" fmla="*/ 23026 h 1333436"/>
                <a:gd name="connsiteX322" fmla="*/ 267976 w 752994"/>
                <a:gd name="connsiteY322" fmla="*/ 22618 h 1333436"/>
                <a:gd name="connsiteX323" fmla="*/ 270427 w 752994"/>
                <a:gd name="connsiteY323" fmla="*/ 20787 h 1333436"/>
                <a:gd name="connsiteX324" fmla="*/ 263088 w 752994"/>
                <a:gd name="connsiteY324" fmla="*/ 13652 h 1333436"/>
                <a:gd name="connsiteX325" fmla="*/ 255541 w 752994"/>
                <a:gd name="connsiteY325" fmla="*/ 3055 h 1333436"/>
                <a:gd name="connsiteX326" fmla="*/ 256358 w 752994"/>
                <a:gd name="connsiteY326" fmla="*/ 1224 h 1333436"/>
                <a:gd name="connsiteX327" fmla="*/ 257159 w 752994"/>
                <a:gd name="connsiteY327"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280827 w 752994"/>
                <a:gd name="connsiteY26" fmla="*/ 242720 h 1333436"/>
                <a:gd name="connsiteX27" fmla="*/ 274497 w 752994"/>
                <a:gd name="connsiteY27" fmla="*/ 238441 h 1333436"/>
                <a:gd name="connsiteX28" fmla="*/ 269001 w 752994"/>
                <a:gd name="connsiteY28" fmla="*/ 240679 h 1333436"/>
                <a:gd name="connsiteX29" fmla="*/ 247994 w 752994"/>
                <a:gd name="connsiteY29" fmla="*/ 241693 h 1333436"/>
                <a:gd name="connsiteX30" fmla="*/ 235142 w 752994"/>
                <a:gd name="connsiteY30" fmla="*/ 229476 h 1333436"/>
                <a:gd name="connsiteX31" fmla="*/ 195162 w 752994"/>
                <a:gd name="connsiteY31" fmla="*/ 228857 h 1333436"/>
                <a:gd name="connsiteX32" fmla="*/ 188223 w 752994"/>
                <a:gd name="connsiteY32" fmla="*/ 223973 h 1333436"/>
                <a:gd name="connsiteX33" fmla="*/ 185163 w 752994"/>
                <a:gd name="connsiteY33" fmla="*/ 219484 h 1333436"/>
                <a:gd name="connsiteX34" fmla="*/ 184180 w 752994"/>
                <a:gd name="connsiteY34" fmla="*/ 213866 h 1333436"/>
                <a:gd name="connsiteX35" fmla="*/ 257159 w 752994"/>
                <a:gd name="connsiteY35" fmla="*/ 0 h 1333436"/>
                <a:gd name="connsiteX36" fmla="*/ 493147 w 752994"/>
                <a:gd name="connsiteY36" fmla="*/ 73157 h 1333436"/>
                <a:gd name="connsiteX37" fmla="*/ 492970 w 752994"/>
                <a:gd name="connsiteY37" fmla="*/ 73792 h 1333436"/>
                <a:gd name="connsiteX38" fmla="*/ 525816 w 752994"/>
                <a:gd name="connsiteY38" fmla="*/ 82491 h 1333436"/>
                <a:gd name="connsiteX39" fmla="*/ 520098 w 752994"/>
                <a:gd name="connsiteY39" fmla="*/ 111245 h 1333436"/>
                <a:gd name="connsiteX40" fmla="*/ 512552 w 752994"/>
                <a:gd name="connsiteY40" fmla="*/ 143854 h 1333436"/>
                <a:gd name="connsiteX41" fmla="*/ 517849 w 752994"/>
                <a:gd name="connsiteY41" fmla="*/ 157740 h 1333436"/>
                <a:gd name="connsiteX42" fmla="*/ 523160 w 752994"/>
                <a:gd name="connsiteY42" fmla="*/ 172009 h 1333436"/>
                <a:gd name="connsiteX43" fmla="*/ 521535 w 752994"/>
                <a:gd name="connsiteY43" fmla="*/ 178928 h 1333436"/>
                <a:gd name="connsiteX44" fmla="*/ 520098 w 752994"/>
                <a:gd name="connsiteY44" fmla="*/ 186279 h 1333436"/>
                <a:gd name="connsiteX45" fmla="*/ 526019 w 752994"/>
                <a:gd name="connsiteY45" fmla="*/ 193629 h 1333436"/>
                <a:gd name="connsiteX46" fmla="*/ 537251 w 752994"/>
                <a:gd name="connsiteY46" fmla="*/ 206270 h 1333436"/>
                <a:gd name="connsiteX47" fmla="*/ 542765 w 752994"/>
                <a:gd name="connsiteY47" fmla="*/ 217475 h 1333436"/>
                <a:gd name="connsiteX48" fmla="*/ 546857 w 752994"/>
                <a:gd name="connsiteY48" fmla="*/ 230930 h 1333436"/>
                <a:gd name="connsiteX49" fmla="*/ 549499 w 752994"/>
                <a:gd name="connsiteY49" fmla="*/ 235622 h 1333436"/>
                <a:gd name="connsiteX50" fmla="*/ 553388 w 752994"/>
                <a:gd name="connsiteY50" fmla="*/ 240722 h 1333436"/>
                <a:gd name="connsiteX51" fmla="*/ 557465 w 752994"/>
                <a:gd name="connsiteY51" fmla="*/ 246037 h 1333436"/>
                <a:gd name="connsiteX52" fmla="*/ 561761 w 752994"/>
                <a:gd name="connsiteY52" fmla="*/ 248671 h 1333436"/>
                <a:gd name="connsiteX53" fmla="*/ 567478 w 752994"/>
                <a:gd name="connsiteY53" fmla="*/ 247665 h 1333436"/>
                <a:gd name="connsiteX54" fmla="*/ 569931 w 752994"/>
                <a:gd name="connsiteY54" fmla="*/ 249293 h 1333436"/>
                <a:gd name="connsiteX55" fmla="*/ 570540 w 752994"/>
                <a:gd name="connsiteY55" fmla="*/ 251951 h 1333436"/>
                <a:gd name="connsiteX56" fmla="*/ 561964 w 752994"/>
                <a:gd name="connsiteY56" fmla="*/ 267656 h 1333436"/>
                <a:gd name="connsiteX57" fmla="*/ 553591 w 752994"/>
                <a:gd name="connsiteY57" fmla="*/ 289659 h 1333436"/>
                <a:gd name="connsiteX58" fmla="*/ 554810 w 752994"/>
                <a:gd name="connsiteY58" fmla="*/ 292939 h 1333436"/>
                <a:gd name="connsiteX59" fmla="*/ 556246 w 752994"/>
                <a:gd name="connsiteY59" fmla="*/ 299260 h 1333436"/>
                <a:gd name="connsiteX60" fmla="*/ 552778 w 752994"/>
                <a:gd name="connsiteY60" fmla="*/ 301917 h 1333436"/>
                <a:gd name="connsiteX61" fmla="*/ 549295 w 752994"/>
                <a:gd name="connsiteY61" fmla="*/ 306993 h 1333436"/>
                <a:gd name="connsiteX62" fmla="*/ 547061 w 752994"/>
                <a:gd name="connsiteY62" fmla="*/ 313122 h 1333436"/>
                <a:gd name="connsiteX63" fmla="*/ 544811 w 752994"/>
                <a:gd name="connsiteY63" fmla="*/ 316593 h 1333436"/>
                <a:gd name="connsiteX64" fmla="*/ 549919 w 752994"/>
                <a:gd name="connsiteY64" fmla="*/ 322698 h 1333436"/>
                <a:gd name="connsiteX65" fmla="*/ 553184 w 752994"/>
                <a:gd name="connsiteY65" fmla="*/ 325955 h 1333436"/>
                <a:gd name="connsiteX66" fmla="*/ 555840 w 752994"/>
                <a:gd name="connsiteY66" fmla="*/ 328205 h 1333436"/>
                <a:gd name="connsiteX67" fmla="*/ 574212 w 752994"/>
                <a:gd name="connsiteY67" fmla="*/ 318820 h 1333436"/>
                <a:gd name="connsiteX68" fmla="*/ 579523 w 752994"/>
                <a:gd name="connsiteY68" fmla="*/ 326577 h 1333436"/>
                <a:gd name="connsiteX69" fmla="*/ 580539 w 752994"/>
                <a:gd name="connsiteY69" fmla="*/ 334933 h 1333436"/>
                <a:gd name="connsiteX70" fmla="*/ 579726 w 752994"/>
                <a:gd name="connsiteY70" fmla="*/ 343097 h 1333436"/>
                <a:gd name="connsiteX71" fmla="*/ 581366 w 752994"/>
                <a:gd name="connsiteY71" fmla="*/ 350231 h 1333436"/>
                <a:gd name="connsiteX72" fmla="*/ 586256 w 752994"/>
                <a:gd name="connsiteY72" fmla="*/ 355930 h 1333436"/>
                <a:gd name="connsiteX73" fmla="*/ 589536 w 752994"/>
                <a:gd name="connsiteY73" fmla="*/ 362059 h 1333436"/>
                <a:gd name="connsiteX74" fmla="*/ 588099 w 752994"/>
                <a:gd name="connsiteY74" fmla="*/ 369600 h 1333436"/>
                <a:gd name="connsiteX75" fmla="*/ 586459 w 752994"/>
                <a:gd name="connsiteY75" fmla="*/ 377357 h 1333436"/>
                <a:gd name="connsiteX76" fmla="*/ 588709 w 752994"/>
                <a:gd name="connsiteY76" fmla="*/ 381835 h 1333436"/>
                <a:gd name="connsiteX77" fmla="*/ 595036 w 752994"/>
                <a:gd name="connsiteY77" fmla="*/ 382457 h 1333436"/>
                <a:gd name="connsiteX78" fmla="*/ 599331 w 752994"/>
                <a:gd name="connsiteY78" fmla="*/ 385306 h 1333436"/>
                <a:gd name="connsiteX79" fmla="*/ 601987 w 752994"/>
                <a:gd name="connsiteY79" fmla="*/ 391004 h 1333436"/>
                <a:gd name="connsiteX80" fmla="*/ 602799 w 752994"/>
                <a:gd name="connsiteY80" fmla="*/ 404076 h 1333436"/>
                <a:gd name="connsiteX81" fmla="*/ 606892 w 752994"/>
                <a:gd name="connsiteY81" fmla="*/ 415688 h 1333436"/>
                <a:gd name="connsiteX82" fmla="*/ 610563 w 752994"/>
                <a:gd name="connsiteY82" fmla="*/ 412217 h 1333436"/>
                <a:gd name="connsiteX83" fmla="*/ 617920 w 752994"/>
                <a:gd name="connsiteY83" fmla="*/ 408769 h 1333436"/>
                <a:gd name="connsiteX84" fmla="*/ 624654 w 752994"/>
                <a:gd name="connsiteY84" fmla="*/ 411211 h 1333436"/>
                <a:gd name="connsiteX85" fmla="*/ 634652 w 752994"/>
                <a:gd name="connsiteY85" fmla="*/ 410182 h 1333436"/>
                <a:gd name="connsiteX86" fmla="*/ 640573 w 752994"/>
                <a:gd name="connsiteY86" fmla="*/ 407739 h 1333436"/>
                <a:gd name="connsiteX87" fmla="*/ 646711 w 752994"/>
                <a:gd name="connsiteY87" fmla="*/ 410589 h 1333436"/>
                <a:gd name="connsiteX88" fmla="*/ 650383 w 752994"/>
                <a:gd name="connsiteY88" fmla="*/ 410589 h 1333436"/>
                <a:gd name="connsiteX89" fmla="*/ 654257 w 752994"/>
                <a:gd name="connsiteY89" fmla="*/ 411618 h 1333436"/>
                <a:gd name="connsiteX90" fmla="*/ 656913 w 752994"/>
                <a:gd name="connsiteY90" fmla="*/ 413653 h 1333436"/>
                <a:gd name="connsiteX91" fmla="*/ 660802 w 752994"/>
                <a:gd name="connsiteY91" fmla="*/ 415090 h 1333436"/>
                <a:gd name="connsiteX92" fmla="*/ 669581 w 752994"/>
                <a:gd name="connsiteY92" fmla="*/ 415904 h 1333436"/>
                <a:gd name="connsiteX93" fmla="*/ 672237 w 752994"/>
                <a:gd name="connsiteY93" fmla="*/ 415688 h 1333436"/>
                <a:gd name="connsiteX94" fmla="*/ 675705 w 752994"/>
                <a:gd name="connsiteY94" fmla="*/ 409367 h 1333436"/>
                <a:gd name="connsiteX95" fmla="*/ 679986 w 752994"/>
                <a:gd name="connsiteY95" fmla="*/ 403238 h 1333436"/>
                <a:gd name="connsiteX96" fmla="*/ 693264 w 752994"/>
                <a:gd name="connsiteY96" fmla="*/ 419567 h 1333436"/>
                <a:gd name="connsiteX97" fmla="*/ 688563 w 752994"/>
                <a:gd name="connsiteY97" fmla="*/ 448321 h 1333436"/>
                <a:gd name="connsiteX98" fmla="*/ 663949 w 752994"/>
                <a:gd name="connsiteY98" fmla="*/ 590165 h 1333436"/>
                <a:gd name="connsiteX99" fmla="*/ 666304 w 752994"/>
                <a:gd name="connsiteY99" fmla="*/ 590504 h 1333436"/>
                <a:gd name="connsiteX100" fmla="*/ 655288 w 752994"/>
                <a:gd name="connsiteY100" fmla="*/ 656178 h 1333436"/>
                <a:gd name="connsiteX101" fmla="*/ 681808 w 752994"/>
                <a:gd name="connsiteY101" fmla="*/ 662301 h 1333436"/>
                <a:gd name="connsiteX102" fmla="*/ 752994 w 752994"/>
                <a:gd name="connsiteY102" fmla="*/ 675560 h 1333436"/>
                <a:gd name="connsiteX103" fmla="*/ 714651 w 752994"/>
                <a:gd name="connsiteY103" fmla="*/ 946985 h 1333436"/>
                <a:gd name="connsiteX104" fmla="*/ 654533 w 752994"/>
                <a:gd name="connsiteY104" fmla="*/ 1333436 h 1333436"/>
                <a:gd name="connsiteX105" fmla="*/ 546831 w 752994"/>
                <a:gd name="connsiteY105" fmla="*/ 1317126 h 1333436"/>
                <a:gd name="connsiteX106" fmla="*/ 351227 w 752994"/>
                <a:gd name="connsiteY106" fmla="*/ 1194172 h 1333436"/>
                <a:gd name="connsiteX107" fmla="*/ 361011 w 752994"/>
                <a:gd name="connsiteY107" fmla="*/ 1182755 h 1333436"/>
                <a:gd name="connsiteX108" fmla="*/ 368981 w 752994"/>
                <a:gd name="connsiteY108" fmla="*/ 1182130 h 1333436"/>
                <a:gd name="connsiteX109" fmla="*/ 369571 w 752994"/>
                <a:gd name="connsiteY109" fmla="*/ 1181558 h 1333436"/>
                <a:gd name="connsiteX110" fmla="*/ 362372 w 752994"/>
                <a:gd name="connsiteY110" fmla="*/ 1182120 h 1333436"/>
                <a:gd name="connsiteX111" fmla="*/ 229464 w 752994"/>
                <a:gd name="connsiteY111" fmla="*/ 1161721 h 1333436"/>
                <a:gd name="connsiteX112" fmla="*/ 227427 w 752994"/>
                <a:gd name="connsiteY112" fmla="*/ 1157269 h 1333436"/>
                <a:gd name="connsiteX113" fmla="*/ 224967 w 752994"/>
                <a:gd name="connsiteY113" fmla="*/ 1152575 h 1333436"/>
                <a:gd name="connsiteX114" fmla="*/ 225582 w 752994"/>
                <a:gd name="connsiteY114" fmla="*/ 1144808 h 1333436"/>
                <a:gd name="connsiteX115" fmla="*/ 227215 w 752994"/>
                <a:gd name="connsiteY115" fmla="*/ 1135834 h 1333436"/>
                <a:gd name="connsiteX116" fmla="*/ 227215 w 752994"/>
                <a:gd name="connsiteY116" fmla="*/ 1134212 h 1333436"/>
                <a:gd name="connsiteX117" fmla="*/ 225179 w 752994"/>
                <a:gd name="connsiteY117" fmla="*/ 1114020 h 1333436"/>
                <a:gd name="connsiteX118" fmla="*/ 217839 w 752994"/>
                <a:gd name="connsiteY118" fmla="*/ 1100352 h 1333436"/>
                <a:gd name="connsiteX119" fmla="*/ 199661 w 752994"/>
                <a:gd name="connsiteY119" fmla="*/ 1076502 h 1333436"/>
                <a:gd name="connsiteX120" fmla="*/ 196395 w 752994"/>
                <a:gd name="connsiteY120" fmla="*/ 1071807 h 1333436"/>
                <a:gd name="connsiteX121" fmla="*/ 190880 w 752994"/>
                <a:gd name="connsiteY121" fmla="*/ 1067527 h 1333436"/>
                <a:gd name="connsiteX122" fmla="*/ 187210 w 752994"/>
                <a:gd name="connsiteY122" fmla="*/ 1068735 h 1333436"/>
                <a:gd name="connsiteX123" fmla="*/ 180062 w 752994"/>
                <a:gd name="connsiteY123" fmla="*/ 1066699 h 1333436"/>
                <a:gd name="connsiteX124" fmla="*/ 180466 w 752994"/>
                <a:gd name="connsiteY124" fmla="*/ 1053031 h 1333436"/>
                <a:gd name="connsiteX125" fmla="*/ 180062 w 752994"/>
                <a:gd name="connsiteY125" fmla="*/ 1045299 h 1333436"/>
                <a:gd name="connsiteX126" fmla="*/ 174144 w 752994"/>
                <a:gd name="connsiteY126" fmla="*/ 1044057 h 1333436"/>
                <a:gd name="connsiteX127" fmla="*/ 158426 w 752994"/>
                <a:gd name="connsiteY127" fmla="*/ 1042641 h 1333436"/>
                <a:gd name="connsiteX128" fmla="*/ 149857 w 752994"/>
                <a:gd name="connsiteY128" fmla="*/ 1035497 h 1333436"/>
                <a:gd name="connsiteX129" fmla="*/ 142497 w 752994"/>
                <a:gd name="connsiteY129" fmla="*/ 1028766 h 1333436"/>
                <a:gd name="connsiteX130" fmla="*/ 140864 w 752994"/>
                <a:gd name="connsiteY130" fmla="*/ 1020620 h 1333436"/>
                <a:gd name="connsiteX131" fmla="*/ 138212 w 752994"/>
                <a:gd name="connsiteY131" fmla="*/ 1013061 h 1333436"/>
                <a:gd name="connsiteX132" fmla="*/ 131064 w 752994"/>
                <a:gd name="connsiteY132" fmla="*/ 1007159 h 1333436"/>
                <a:gd name="connsiteX133" fmla="*/ 121264 w 752994"/>
                <a:gd name="connsiteY133" fmla="*/ 1005330 h 1333436"/>
                <a:gd name="connsiteX134" fmla="*/ 112483 w 752994"/>
                <a:gd name="connsiteY134" fmla="*/ 1001671 h 1333436"/>
                <a:gd name="connsiteX135" fmla="*/ 105950 w 752994"/>
                <a:gd name="connsiteY135" fmla="*/ 995734 h 1333436"/>
                <a:gd name="connsiteX136" fmla="*/ 97380 w 752994"/>
                <a:gd name="connsiteY136" fmla="*/ 994526 h 1333436"/>
                <a:gd name="connsiteX137" fmla="*/ 87984 w 752994"/>
                <a:gd name="connsiteY137" fmla="*/ 991040 h 1333436"/>
                <a:gd name="connsiteX138" fmla="*/ 80029 w 752994"/>
                <a:gd name="connsiteY138" fmla="*/ 985138 h 1333436"/>
                <a:gd name="connsiteX139" fmla="*/ 77166 w 752994"/>
                <a:gd name="connsiteY139" fmla="*/ 976164 h 1333436"/>
                <a:gd name="connsiteX140" fmla="*/ 79203 w 752994"/>
                <a:gd name="connsiteY140" fmla="*/ 970676 h 1333436"/>
                <a:gd name="connsiteX141" fmla="*/ 82470 w 752994"/>
                <a:gd name="connsiteY141" fmla="*/ 963117 h 1333436"/>
                <a:gd name="connsiteX142" fmla="*/ 84314 w 752994"/>
                <a:gd name="connsiteY142" fmla="*/ 954557 h 1333436"/>
                <a:gd name="connsiteX143" fmla="*/ 86351 w 752994"/>
                <a:gd name="connsiteY143" fmla="*/ 948033 h 1333436"/>
                <a:gd name="connsiteX144" fmla="*/ 86159 w 752994"/>
                <a:gd name="connsiteY144" fmla="*/ 942925 h 1333436"/>
                <a:gd name="connsiteX145" fmla="*/ 83085 w 752994"/>
                <a:gd name="connsiteY145" fmla="*/ 939853 h 1333436"/>
                <a:gd name="connsiteX146" fmla="*/ 77570 w 752994"/>
                <a:gd name="connsiteY146" fmla="*/ 937437 h 1333436"/>
                <a:gd name="connsiteX147" fmla="*/ 76763 w 752994"/>
                <a:gd name="connsiteY147" fmla="*/ 931915 h 1333436"/>
                <a:gd name="connsiteX148" fmla="*/ 78800 w 752994"/>
                <a:gd name="connsiteY148" fmla="*/ 927013 h 1333436"/>
                <a:gd name="connsiteX149" fmla="*/ 79626 w 752994"/>
                <a:gd name="connsiteY149" fmla="*/ 922526 h 1333436"/>
                <a:gd name="connsiteX150" fmla="*/ 77781 w 752994"/>
                <a:gd name="connsiteY150" fmla="*/ 919903 h 1333436"/>
                <a:gd name="connsiteX151" fmla="*/ 74303 w 752994"/>
                <a:gd name="connsiteY151" fmla="*/ 917418 h 1333436"/>
                <a:gd name="connsiteX152" fmla="*/ 71863 w 752994"/>
                <a:gd name="connsiteY152" fmla="*/ 915174 h 1333436"/>
                <a:gd name="connsiteX153" fmla="*/ 71652 w 752994"/>
                <a:gd name="connsiteY153" fmla="*/ 910894 h 1333436"/>
                <a:gd name="connsiteX154" fmla="*/ 70633 w 752994"/>
                <a:gd name="connsiteY154" fmla="*/ 906614 h 1333436"/>
                <a:gd name="connsiteX155" fmla="*/ 68385 w 752994"/>
                <a:gd name="connsiteY155" fmla="*/ 902749 h 1333436"/>
                <a:gd name="connsiteX156" fmla="*/ 61045 w 752994"/>
                <a:gd name="connsiteY156" fmla="*/ 889494 h 1333436"/>
                <a:gd name="connsiteX157" fmla="*/ 57971 w 752994"/>
                <a:gd name="connsiteY157" fmla="*/ 875619 h 1333436"/>
                <a:gd name="connsiteX158" fmla="*/ 52264 w 752994"/>
                <a:gd name="connsiteY158" fmla="*/ 862572 h 1333436"/>
                <a:gd name="connsiteX159" fmla="*/ 44309 w 752994"/>
                <a:gd name="connsiteY159" fmla="*/ 850561 h 1333436"/>
                <a:gd name="connsiteX160" fmla="*/ 45520 w 752994"/>
                <a:gd name="connsiteY160" fmla="*/ 827090 h 1333436"/>
                <a:gd name="connsiteX161" fmla="*/ 53071 w 752994"/>
                <a:gd name="connsiteY161" fmla="*/ 822396 h 1333436"/>
                <a:gd name="connsiteX162" fmla="*/ 57375 w 752994"/>
                <a:gd name="connsiteY162" fmla="*/ 816493 h 1333436"/>
                <a:gd name="connsiteX163" fmla="*/ 55319 w 752994"/>
                <a:gd name="connsiteY163" fmla="*/ 801617 h 1333436"/>
                <a:gd name="connsiteX164" fmla="*/ 48383 w 752994"/>
                <a:gd name="connsiteY164" fmla="*/ 802204 h 1333436"/>
                <a:gd name="connsiteX165" fmla="*/ 40428 w 752994"/>
                <a:gd name="connsiteY165" fmla="*/ 797924 h 1333436"/>
                <a:gd name="connsiteX166" fmla="*/ 37565 w 752994"/>
                <a:gd name="connsiteY166" fmla="*/ 790606 h 1333436"/>
                <a:gd name="connsiteX167" fmla="*/ 37565 w 752994"/>
                <a:gd name="connsiteY167" fmla="*/ 790399 h 1333436"/>
                <a:gd name="connsiteX168" fmla="*/ 35931 w 752994"/>
                <a:gd name="connsiteY168" fmla="*/ 785912 h 1333436"/>
                <a:gd name="connsiteX169" fmla="*/ 34510 w 752994"/>
                <a:gd name="connsiteY169" fmla="*/ 780597 h 1333436"/>
                <a:gd name="connsiteX170" fmla="*/ 36335 w 752994"/>
                <a:gd name="connsiteY170" fmla="*/ 774280 h 1333436"/>
                <a:gd name="connsiteX171" fmla="*/ 38180 w 752994"/>
                <a:gd name="connsiteY171" fmla="*/ 766721 h 1333436"/>
                <a:gd name="connsiteX172" fmla="*/ 37161 w 752994"/>
                <a:gd name="connsiteY172" fmla="*/ 760405 h 1333436"/>
                <a:gd name="connsiteX173" fmla="*/ 35720 w 752994"/>
                <a:gd name="connsiteY173" fmla="*/ 754710 h 1333436"/>
                <a:gd name="connsiteX174" fmla="*/ 36546 w 752994"/>
                <a:gd name="connsiteY174" fmla="*/ 748773 h 1333436"/>
                <a:gd name="connsiteX175" fmla="*/ 38372 w 752994"/>
                <a:gd name="connsiteY175" fmla="*/ 744528 h 1333436"/>
                <a:gd name="connsiteX176" fmla="*/ 41638 w 752994"/>
                <a:gd name="connsiteY176" fmla="*/ 744321 h 1333436"/>
                <a:gd name="connsiteX177" fmla="*/ 44713 w 752994"/>
                <a:gd name="connsiteY177" fmla="*/ 746357 h 1333436"/>
                <a:gd name="connsiteX178" fmla="*/ 47364 w 752994"/>
                <a:gd name="connsiteY178" fmla="*/ 753260 h 1333436"/>
                <a:gd name="connsiteX179" fmla="*/ 55742 w 752994"/>
                <a:gd name="connsiteY179" fmla="*/ 764305 h 1333436"/>
                <a:gd name="connsiteX180" fmla="*/ 56338 w 752994"/>
                <a:gd name="connsiteY180" fmla="*/ 761233 h 1333436"/>
                <a:gd name="connsiteX181" fmla="*/ 56145 w 752994"/>
                <a:gd name="connsiteY181" fmla="*/ 757368 h 1333436"/>
                <a:gd name="connsiteX182" fmla="*/ 54916 w 752994"/>
                <a:gd name="connsiteY182" fmla="*/ 748601 h 1333436"/>
                <a:gd name="connsiteX183" fmla="*/ 52879 w 752994"/>
                <a:gd name="connsiteY183" fmla="*/ 747358 h 1333436"/>
                <a:gd name="connsiteX184" fmla="*/ 51649 w 752994"/>
                <a:gd name="connsiteY184" fmla="*/ 745322 h 1333436"/>
                <a:gd name="connsiteX185" fmla="*/ 51649 w 752994"/>
                <a:gd name="connsiteY185" fmla="*/ 739212 h 1333436"/>
                <a:gd name="connsiteX186" fmla="*/ 50227 w 752994"/>
                <a:gd name="connsiteY186" fmla="*/ 734725 h 1333436"/>
                <a:gd name="connsiteX187" fmla="*/ 48786 w 752994"/>
                <a:gd name="connsiteY187" fmla="*/ 731446 h 1333436"/>
                <a:gd name="connsiteX188" fmla="*/ 54512 w 752994"/>
                <a:gd name="connsiteY188" fmla="*/ 726372 h 1333436"/>
                <a:gd name="connsiteX189" fmla="*/ 59815 w 752994"/>
                <a:gd name="connsiteY189" fmla="*/ 725130 h 1333436"/>
                <a:gd name="connsiteX190" fmla="*/ 58182 w 752994"/>
                <a:gd name="connsiteY190" fmla="*/ 722886 h 1333436"/>
                <a:gd name="connsiteX191" fmla="*/ 51861 w 752994"/>
                <a:gd name="connsiteY191" fmla="*/ 717985 h 1333436"/>
                <a:gd name="connsiteX192" fmla="*/ 46749 w 752994"/>
                <a:gd name="connsiteY192" fmla="*/ 729617 h 1333436"/>
                <a:gd name="connsiteX193" fmla="*/ 40831 w 752994"/>
                <a:gd name="connsiteY193" fmla="*/ 739212 h 1333436"/>
                <a:gd name="connsiteX194" fmla="*/ 39601 w 752994"/>
                <a:gd name="connsiteY194" fmla="*/ 738798 h 1333436"/>
                <a:gd name="connsiteX195" fmla="*/ 39409 w 752994"/>
                <a:gd name="connsiteY195" fmla="*/ 738591 h 1333436"/>
                <a:gd name="connsiteX196" fmla="*/ 37161 w 752994"/>
                <a:gd name="connsiteY196" fmla="*/ 734725 h 1333436"/>
                <a:gd name="connsiteX197" fmla="*/ 32665 w 752994"/>
                <a:gd name="connsiteY197" fmla="*/ 727788 h 1333436"/>
                <a:gd name="connsiteX198" fmla="*/ 26747 w 752994"/>
                <a:gd name="connsiteY198" fmla="*/ 719435 h 1333436"/>
                <a:gd name="connsiteX199" fmla="*/ 23884 w 752994"/>
                <a:gd name="connsiteY199" fmla="*/ 717812 h 1333436"/>
                <a:gd name="connsiteX200" fmla="*/ 24710 w 752994"/>
                <a:gd name="connsiteY200" fmla="*/ 709632 h 1333436"/>
                <a:gd name="connsiteX201" fmla="*/ 27554 w 752994"/>
                <a:gd name="connsiteY201" fmla="*/ 701694 h 1333436"/>
                <a:gd name="connsiteX202" fmla="*/ 24902 w 752994"/>
                <a:gd name="connsiteY202" fmla="*/ 696171 h 1333436"/>
                <a:gd name="connsiteX203" fmla="*/ 24095 w 752994"/>
                <a:gd name="connsiteY203" fmla="*/ 687818 h 1333436"/>
                <a:gd name="connsiteX204" fmla="*/ 22462 w 752994"/>
                <a:gd name="connsiteY204" fmla="*/ 682330 h 1333436"/>
                <a:gd name="connsiteX205" fmla="*/ 17159 w 752994"/>
                <a:gd name="connsiteY205" fmla="*/ 677636 h 1333436"/>
                <a:gd name="connsiteX206" fmla="*/ 14296 w 752994"/>
                <a:gd name="connsiteY206" fmla="*/ 671492 h 1333436"/>
                <a:gd name="connsiteX207" fmla="*/ 12451 w 752994"/>
                <a:gd name="connsiteY207" fmla="*/ 665797 h 1333436"/>
                <a:gd name="connsiteX208" fmla="*/ 5111 w 752994"/>
                <a:gd name="connsiteY208" fmla="*/ 654994 h 1333436"/>
                <a:gd name="connsiteX209" fmla="*/ 2248 w 752994"/>
                <a:gd name="connsiteY209" fmla="*/ 645605 h 1333436"/>
                <a:gd name="connsiteX210" fmla="*/ 4496 w 752994"/>
                <a:gd name="connsiteY210" fmla="*/ 640497 h 1333436"/>
                <a:gd name="connsiteX211" fmla="*/ 6744 w 752994"/>
                <a:gd name="connsiteY211" fmla="*/ 632765 h 1333436"/>
                <a:gd name="connsiteX212" fmla="*/ 6744 w 752994"/>
                <a:gd name="connsiteY212" fmla="*/ 628485 h 1333436"/>
                <a:gd name="connsiteX213" fmla="*/ 6533 w 752994"/>
                <a:gd name="connsiteY213" fmla="*/ 620305 h 1333436"/>
                <a:gd name="connsiteX214" fmla="*/ 7359 w 752994"/>
                <a:gd name="connsiteY214" fmla="*/ 611745 h 1333436"/>
                <a:gd name="connsiteX215" fmla="*/ 11836 w 752994"/>
                <a:gd name="connsiteY215" fmla="*/ 602978 h 1333436"/>
                <a:gd name="connsiteX216" fmla="*/ 15103 w 752994"/>
                <a:gd name="connsiteY216" fmla="*/ 591760 h 1333436"/>
                <a:gd name="connsiteX217" fmla="*/ 14488 w 752994"/>
                <a:gd name="connsiteY217" fmla="*/ 584029 h 1333436"/>
                <a:gd name="connsiteX218" fmla="*/ 13873 w 752994"/>
                <a:gd name="connsiteY218" fmla="*/ 578299 h 1333436"/>
                <a:gd name="connsiteX219" fmla="*/ 10626 w 752994"/>
                <a:gd name="connsiteY219" fmla="*/ 568531 h 1333436"/>
                <a:gd name="connsiteX220" fmla="*/ 3670 w 752994"/>
                <a:gd name="connsiteY220" fmla="*/ 558107 h 1333436"/>
                <a:gd name="connsiteX221" fmla="*/ 0 w 752994"/>
                <a:gd name="connsiteY221" fmla="*/ 551377 h 1333436"/>
                <a:gd name="connsiteX222" fmla="*/ 0 w 752994"/>
                <a:gd name="connsiteY222" fmla="*/ 550997 h 1333436"/>
                <a:gd name="connsiteX223" fmla="*/ 4900 w 752994"/>
                <a:gd name="connsiteY223" fmla="*/ 531220 h 1333436"/>
                <a:gd name="connsiteX224" fmla="*/ 13873 w 752994"/>
                <a:gd name="connsiteY224" fmla="*/ 520589 h 1333436"/>
                <a:gd name="connsiteX225" fmla="*/ 18369 w 752994"/>
                <a:gd name="connsiteY225" fmla="*/ 516516 h 1333436"/>
                <a:gd name="connsiteX226" fmla="*/ 18773 w 752994"/>
                <a:gd name="connsiteY226" fmla="*/ 514272 h 1333436"/>
                <a:gd name="connsiteX227" fmla="*/ 23077 w 752994"/>
                <a:gd name="connsiteY227" fmla="*/ 506127 h 1333436"/>
                <a:gd name="connsiteX228" fmla="*/ 23884 w 752994"/>
                <a:gd name="connsiteY228" fmla="*/ 502261 h 1333436"/>
                <a:gd name="connsiteX229" fmla="*/ 23692 w 752994"/>
                <a:gd name="connsiteY229" fmla="*/ 496738 h 1333436"/>
                <a:gd name="connsiteX230" fmla="*/ 30013 w 752994"/>
                <a:gd name="connsiteY230" fmla="*/ 486556 h 1333436"/>
                <a:gd name="connsiteX231" fmla="*/ 36546 w 752994"/>
                <a:gd name="connsiteY231" fmla="*/ 470230 h 1333436"/>
                <a:gd name="connsiteX232" fmla="*/ 36546 w 752994"/>
                <a:gd name="connsiteY232" fmla="*/ 462671 h 1333436"/>
                <a:gd name="connsiteX233" fmla="*/ 36335 w 752994"/>
                <a:gd name="connsiteY233" fmla="*/ 461670 h 1333436"/>
                <a:gd name="connsiteX234" fmla="*/ 35931 w 752994"/>
                <a:gd name="connsiteY234" fmla="*/ 453110 h 1333436"/>
                <a:gd name="connsiteX235" fmla="*/ 38583 w 752994"/>
                <a:gd name="connsiteY235" fmla="*/ 442514 h 1333436"/>
                <a:gd name="connsiteX236" fmla="*/ 41043 w 752994"/>
                <a:gd name="connsiteY236" fmla="*/ 436991 h 1333436"/>
                <a:gd name="connsiteX237" fmla="*/ 41650 w 752994"/>
                <a:gd name="connsiteY237" fmla="*/ 437186 h 1333436"/>
                <a:gd name="connsiteX238" fmla="*/ 41239 w 752994"/>
                <a:gd name="connsiteY238" fmla="*/ 436549 h 1333436"/>
                <a:gd name="connsiteX239" fmla="*/ 37778 w 752994"/>
                <a:gd name="connsiteY239" fmla="*/ 433894 h 1333436"/>
                <a:gd name="connsiteX240" fmla="*/ 37169 w 752994"/>
                <a:gd name="connsiteY240" fmla="*/ 432261 h 1333436"/>
                <a:gd name="connsiteX241" fmla="*/ 37365 w 752994"/>
                <a:gd name="connsiteY241" fmla="*/ 429198 h 1333436"/>
                <a:gd name="connsiteX242" fmla="*/ 36756 w 752994"/>
                <a:gd name="connsiteY242" fmla="*/ 422272 h 1333436"/>
                <a:gd name="connsiteX243" fmla="*/ 36952 w 752994"/>
                <a:gd name="connsiteY243" fmla="*/ 418800 h 1333436"/>
                <a:gd name="connsiteX244" fmla="*/ 36756 w 752994"/>
                <a:gd name="connsiteY244" fmla="*/ 412487 h 1333436"/>
                <a:gd name="connsiteX245" fmla="*/ 40433 w 752994"/>
                <a:gd name="connsiteY245" fmla="*/ 406174 h 1333436"/>
                <a:gd name="connsiteX246" fmla="*/ 44720 w 752994"/>
                <a:gd name="connsiteY246" fmla="*/ 399435 h 1333436"/>
                <a:gd name="connsiteX247" fmla="*/ 44110 w 752994"/>
                <a:gd name="connsiteY247" fmla="*/ 389651 h 1333436"/>
                <a:gd name="connsiteX248" fmla="*/ 43894 w 752994"/>
                <a:gd name="connsiteY248" fmla="*/ 378437 h 1333436"/>
                <a:gd name="connsiteX249" fmla="*/ 47158 w 752994"/>
                <a:gd name="connsiteY249" fmla="*/ 371102 h 1333436"/>
                <a:gd name="connsiteX250" fmla="*/ 55731 w 752994"/>
                <a:gd name="connsiteY250" fmla="*/ 360909 h 1333436"/>
                <a:gd name="connsiteX251" fmla="*/ 57580 w 752994"/>
                <a:gd name="connsiteY251" fmla="*/ 355804 h 1333436"/>
                <a:gd name="connsiteX252" fmla="*/ 62673 w 752994"/>
                <a:gd name="connsiteY252" fmla="*/ 349695 h 1333436"/>
                <a:gd name="connsiteX253" fmla="*/ 65937 w 752994"/>
                <a:gd name="connsiteY253" fmla="*/ 348470 h 1333436"/>
                <a:gd name="connsiteX254" fmla="*/ 68395 w 752994"/>
                <a:gd name="connsiteY254" fmla="*/ 348674 h 1333436"/>
                <a:gd name="connsiteX255" fmla="*/ 70224 w 752994"/>
                <a:gd name="connsiteY255" fmla="*/ 347449 h 1333436"/>
                <a:gd name="connsiteX256" fmla="*/ 67785 w 752994"/>
                <a:gd name="connsiteY256" fmla="*/ 345203 h 1333436"/>
                <a:gd name="connsiteX257" fmla="*/ 65524 w 752994"/>
                <a:gd name="connsiteY257" fmla="*/ 343178 h 1333436"/>
                <a:gd name="connsiteX258" fmla="*/ 73095 w 752994"/>
                <a:gd name="connsiteY258" fmla="*/ 333376 h 1333436"/>
                <a:gd name="connsiteX259" fmla="*/ 73291 w 752994"/>
                <a:gd name="connsiteY259" fmla="*/ 333376 h 1333436"/>
                <a:gd name="connsiteX260" fmla="*/ 77991 w 752994"/>
                <a:gd name="connsiteY260" fmla="*/ 325838 h 1333436"/>
                <a:gd name="connsiteX261" fmla="*/ 82671 w 752994"/>
                <a:gd name="connsiteY261" fmla="*/ 313619 h 1333436"/>
                <a:gd name="connsiteX262" fmla="*/ 87980 w 752994"/>
                <a:gd name="connsiteY262" fmla="*/ 303018 h 1333436"/>
                <a:gd name="connsiteX263" fmla="*/ 92267 w 752994"/>
                <a:gd name="connsiteY263" fmla="*/ 291191 h 1333436"/>
                <a:gd name="connsiteX264" fmla="*/ 96553 w 752994"/>
                <a:gd name="connsiteY264" fmla="*/ 281202 h 1333436"/>
                <a:gd name="connsiteX265" fmla="*/ 99621 w 752994"/>
                <a:gd name="connsiteY265" fmla="*/ 274481 h 1333436"/>
                <a:gd name="connsiteX266" fmla="*/ 103082 w 752994"/>
                <a:gd name="connsiteY266" fmla="*/ 262450 h 1333436"/>
                <a:gd name="connsiteX267" fmla="*/ 107172 w 752994"/>
                <a:gd name="connsiteY267" fmla="*/ 254299 h 1333436"/>
                <a:gd name="connsiteX268" fmla="*/ 112481 w 752994"/>
                <a:gd name="connsiteY268" fmla="*/ 243697 h 1333436"/>
                <a:gd name="connsiteX269" fmla="*/ 117181 w 752994"/>
                <a:gd name="connsiteY269" fmla="*/ 232279 h 1333436"/>
                <a:gd name="connsiteX270" fmla="*/ 125951 w 752994"/>
                <a:gd name="connsiteY270" fmla="*/ 217389 h 1333436"/>
                <a:gd name="connsiteX271" fmla="*/ 136156 w 752994"/>
                <a:gd name="connsiteY271" fmla="*/ 202925 h 1333436"/>
                <a:gd name="connsiteX272" fmla="*/ 138811 w 752994"/>
                <a:gd name="connsiteY272" fmla="*/ 183339 h 1333436"/>
                <a:gd name="connsiteX273" fmla="*/ 148801 w 752994"/>
                <a:gd name="connsiteY273" fmla="*/ 167445 h 1333436"/>
                <a:gd name="connsiteX274" fmla="*/ 159616 w 752994"/>
                <a:gd name="connsiteY274" fmla="*/ 170712 h 1333436"/>
                <a:gd name="connsiteX275" fmla="*/ 173105 w 752994"/>
                <a:gd name="connsiteY275" fmla="*/ 175188 h 1333436"/>
                <a:gd name="connsiteX276" fmla="*/ 175347 w 752994"/>
                <a:gd name="connsiteY276" fmla="*/ 175188 h 1333436"/>
                <a:gd name="connsiteX277" fmla="*/ 175347 w 752994"/>
                <a:gd name="connsiteY277" fmla="*/ 173758 h 1333436"/>
                <a:gd name="connsiteX278" fmla="*/ 184975 w 752994"/>
                <a:gd name="connsiteY278" fmla="*/ 187393 h 1333436"/>
                <a:gd name="connsiteX279" fmla="*/ 184762 w 752994"/>
                <a:gd name="connsiteY279" fmla="*/ 184637 h 1333436"/>
                <a:gd name="connsiteX280" fmla="*/ 174971 w 752994"/>
                <a:gd name="connsiteY280" fmla="*/ 170774 h 1333436"/>
                <a:gd name="connsiteX281" fmla="*/ 174971 w 752994"/>
                <a:gd name="connsiteY281" fmla="*/ 169550 h 1333436"/>
                <a:gd name="connsiteX282" fmla="*/ 158851 w 752994"/>
                <a:gd name="connsiteY282" fmla="*/ 156924 h 1333436"/>
                <a:gd name="connsiteX283" fmla="*/ 147025 w 752994"/>
                <a:gd name="connsiteY283" fmla="*/ 145709 h 1333436"/>
                <a:gd name="connsiteX284" fmla="*/ 154364 w 752994"/>
                <a:gd name="connsiteY284" fmla="*/ 136335 h 1333436"/>
                <a:gd name="connsiteX285" fmla="*/ 161511 w 752994"/>
                <a:gd name="connsiteY285" fmla="*/ 131042 h 1333436"/>
                <a:gd name="connsiteX286" fmla="*/ 160902 w 752994"/>
                <a:gd name="connsiteY286" fmla="*/ 128384 h 1333436"/>
                <a:gd name="connsiteX287" fmla="*/ 160277 w 752994"/>
                <a:gd name="connsiteY287" fmla="*/ 127778 h 1333436"/>
                <a:gd name="connsiteX288" fmla="*/ 154973 w 752994"/>
                <a:gd name="connsiteY288" fmla="*/ 122077 h 1333436"/>
                <a:gd name="connsiteX289" fmla="*/ 160277 w 752994"/>
                <a:gd name="connsiteY289" fmla="*/ 115140 h 1333436"/>
                <a:gd name="connsiteX290" fmla="*/ 165181 w 752994"/>
                <a:gd name="connsiteY290" fmla="*/ 108215 h 1333436"/>
                <a:gd name="connsiteX291" fmla="*/ 161303 w 752994"/>
                <a:gd name="connsiteY291" fmla="*/ 104146 h 1333436"/>
                <a:gd name="connsiteX292" fmla="*/ 157842 w 752994"/>
                <a:gd name="connsiteY292" fmla="*/ 104542 h 1333436"/>
                <a:gd name="connsiteX293" fmla="*/ 157024 w 752994"/>
                <a:gd name="connsiteY293" fmla="*/ 102304 h 1333436"/>
                <a:gd name="connsiteX294" fmla="*/ 160694 w 752994"/>
                <a:gd name="connsiteY294" fmla="*/ 55437 h 1333436"/>
                <a:gd name="connsiteX295" fmla="*/ 160486 w 752994"/>
                <a:gd name="connsiteY295" fmla="*/ 31991 h 1333436"/>
                <a:gd name="connsiteX296" fmla="*/ 164972 w 752994"/>
                <a:gd name="connsiteY296" fmla="*/ 18141 h 1333436"/>
                <a:gd name="connsiteX297" fmla="*/ 171911 w 752994"/>
                <a:gd name="connsiteY297" fmla="*/ 11204 h 1333436"/>
                <a:gd name="connsiteX298" fmla="*/ 187406 w 752994"/>
                <a:gd name="connsiteY298" fmla="*/ 21801 h 1333436"/>
                <a:gd name="connsiteX299" fmla="*/ 210866 w 752994"/>
                <a:gd name="connsiteY299" fmla="*/ 37086 h 1333436"/>
                <a:gd name="connsiteX300" fmla="*/ 219230 w 752994"/>
                <a:gd name="connsiteY300" fmla="*/ 41166 h 1333436"/>
                <a:gd name="connsiteX301" fmla="*/ 226778 w 752994"/>
                <a:gd name="connsiteY301" fmla="*/ 47486 h 1333436"/>
                <a:gd name="connsiteX302" fmla="*/ 236152 w 752994"/>
                <a:gd name="connsiteY302" fmla="*/ 52370 h 1333436"/>
                <a:gd name="connsiteX303" fmla="*/ 239629 w 752994"/>
                <a:gd name="connsiteY303" fmla="*/ 58491 h 1333436"/>
                <a:gd name="connsiteX304" fmla="*/ 239629 w 752994"/>
                <a:gd name="connsiteY304" fmla="*/ 63376 h 1333436"/>
                <a:gd name="connsiteX305" fmla="*/ 236568 w 752994"/>
                <a:gd name="connsiteY305" fmla="*/ 67457 h 1333436"/>
                <a:gd name="connsiteX306" fmla="*/ 231264 w 752994"/>
                <a:gd name="connsiteY306" fmla="*/ 69905 h 1333436"/>
                <a:gd name="connsiteX307" fmla="*/ 216778 w 752994"/>
                <a:gd name="connsiteY307" fmla="*/ 82741 h 1333436"/>
                <a:gd name="connsiteX308" fmla="*/ 214134 w 752994"/>
                <a:gd name="connsiteY308" fmla="*/ 93536 h 1333436"/>
                <a:gd name="connsiteX309" fmla="*/ 214535 w 752994"/>
                <a:gd name="connsiteY309" fmla="*/ 96801 h 1333436"/>
                <a:gd name="connsiteX310" fmla="*/ 216378 w 752994"/>
                <a:gd name="connsiteY310" fmla="*/ 96801 h 1333436"/>
                <a:gd name="connsiteX311" fmla="*/ 230046 w 752994"/>
                <a:gd name="connsiteY311" fmla="*/ 85387 h 1333436"/>
                <a:gd name="connsiteX312" fmla="*/ 243298 w 752994"/>
                <a:gd name="connsiteY312" fmla="*/ 75198 h 1333436"/>
                <a:gd name="connsiteX313" fmla="*/ 246760 w 752994"/>
                <a:gd name="connsiteY313" fmla="*/ 77646 h 1333436"/>
                <a:gd name="connsiteX314" fmla="*/ 255541 w 752994"/>
                <a:gd name="connsiteY314" fmla="*/ 63376 h 1333436"/>
                <a:gd name="connsiteX315" fmla="*/ 259611 w 752994"/>
                <a:gd name="connsiteY315" fmla="*/ 43405 h 1333436"/>
                <a:gd name="connsiteX316" fmla="*/ 256967 w 752994"/>
                <a:gd name="connsiteY316" fmla="*/ 38520 h 1333436"/>
                <a:gd name="connsiteX317" fmla="*/ 253906 w 752994"/>
                <a:gd name="connsiteY317" fmla="*/ 34242 h 1333436"/>
                <a:gd name="connsiteX318" fmla="*/ 256967 w 752994"/>
                <a:gd name="connsiteY318" fmla="*/ 30161 h 1333436"/>
                <a:gd name="connsiteX319" fmla="*/ 262063 w 752994"/>
                <a:gd name="connsiteY319" fmla="*/ 27712 h 1333436"/>
                <a:gd name="connsiteX320" fmla="*/ 264915 w 752994"/>
                <a:gd name="connsiteY320" fmla="*/ 23026 h 1333436"/>
                <a:gd name="connsiteX321" fmla="*/ 267976 w 752994"/>
                <a:gd name="connsiteY321" fmla="*/ 22618 h 1333436"/>
                <a:gd name="connsiteX322" fmla="*/ 270427 w 752994"/>
                <a:gd name="connsiteY322" fmla="*/ 20787 h 1333436"/>
                <a:gd name="connsiteX323" fmla="*/ 263088 w 752994"/>
                <a:gd name="connsiteY323" fmla="*/ 13652 h 1333436"/>
                <a:gd name="connsiteX324" fmla="*/ 255541 w 752994"/>
                <a:gd name="connsiteY324" fmla="*/ 3055 h 1333436"/>
                <a:gd name="connsiteX325" fmla="*/ 256358 w 752994"/>
                <a:gd name="connsiteY325" fmla="*/ 1224 h 1333436"/>
                <a:gd name="connsiteX326" fmla="*/ 257159 w 752994"/>
                <a:gd name="connsiteY326"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280827 w 752994"/>
                <a:gd name="connsiteY26" fmla="*/ 242720 h 1333436"/>
                <a:gd name="connsiteX27" fmla="*/ 274497 w 752994"/>
                <a:gd name="connsiteY27" fmla="*/ 238441 h 1333436"/>
                <a:gd name="connsiteX28" fmla="*/ 247994 w 752994"/>
                <a:gd name="connsiteY28" fmla="*/ 241693 h 1333436"/>
                <a:gd name="connsiteX29" fmla="*/ 235142 w 752994"/>
                <a:gd name="connsiteY29" fmla="*/ 229476 h 1333436"/>
                <a:gd name="connsiteX30" fmla="*/ 195162 w 752994"/>
                <a:gd name="connsiteY30" fmla="*/ 228857 h 1333436"/>
                <a:gd name="connsiteX31" fmla="*/ 188223 w 752994"/>
                <a:gd name="connsiteY31" fmla="*/ 223973 h 1333436"/>
                <a:gd name="connsiteX32" fmla="*/ 185163 w 752994"/>
                <a:gd name="connsiteY32" fmla="*/ 219484 h 1333436"/>
                <a:gd name="connsiteX33" fmla="*/ 184180 w 752994"/>
                <a:gd name="connsiteY33" fmla="*/ 213866 h 1333436"/>
                <a:gd name="connsiteX34" fmla="*/ 257159 w 752994"/>
                <a:gd name="connsiteY34" fmla="*/ 0 h 1333436"/>
                <a:gd name="connsiteX35" fmla="*/ 493147 w 752994"/>
                <a:gd name="connsiteY35" fmla="*/ 73157 h 1333436"/>
                <a:gd name="connsiteX36" fmla="*/ 492970 w 752994"/>
                <a:gd name="connsiteY36" fmla="*/ 73792 h 1333436"/>
                <a:gd name="connsiteX37" fmla="*/ 525816 w 752994"/>
                <a:gd name="connsiteY37" fmla="*/ 82491 h 1333436"/>
                <a:gd name="connsiteX38" fmla="*/ 520098 w 752994"/>
                <a:gd name="connsiteY38" fmla="*/ 111245 h 1333436"/>
                <a:gd name="connsiteX39" fmla="*/ 512552 w 752994"/>
                <a:gd name="connsiteY39" fmla="*/ 143854 h 1333436"/>
                <a:gd name="connsiteX40" fmla="*/ 517849 w 752994"/>
                <a:gd name="connsiteY40" fmla="*/ 157740 h 1333436"/>
                <a:gd name="connsiteX41" fmla="*/ 523160 w 752994"/>
                <a:gd name="connsiteY41" fmla="*/ 172009 h 1333436"/>
                <a:gd name="connsiteX42" fmla="*/ 521535 w 752994"/>
                <a:gd name="connsiteY42" fmla="*/ 178928 h 1333436"/>
                <a:gd name="connsiteX43" fmla="*/ 520098 w 752994"/>
                <a:gd name="connsiteY43" fmla="*/ 186279 h 1333436"/>
                <a:gd name="connsiteX44" fmla="*/ 526019 w 752994"/>
                <a:gd name="connsiteY44" fmla="*/ 193629 h 1333436"/>
                <a:gd name="connsiteX45" fmla="*/ 537251 w 752994"/>
                <a:gd name="connsiteY45" fmla="*/ 206270 h 1333436"/>
                <a:gd name="connsiteX46" fmla="*/ 542765 w 752994"/>
                <a:gd name="connsiteY46" fmla="*/ 217475 h 1333436"/>
                <a:gd name="connsiteX47" fmla="*/ 546857 w 752994"/>
                <a:gd name="connsiteY47" fmla="*/ 230930 h 1333436"/>
                <a:gd name="connsiteX48" fmla="*/ 549499 w 752994"/>
                <a:gd name="connsiteY48" fmla="*/ 235622 h 1333436"/>
                <a:gd name="connsiteX49" fmla="*/ 553388 w 752994"/>
                <a:gd name="connsiteY49" fmla="*/ 240722 h 1333436"/>
                <a:gd name="connsiteX50" fmla="*/ 557465 w 752994"/>
                <a:gd name="connsiteY50" fmla="*/ 246037 h 1333436"/>
                <a:gd name="connsiteX51" fmla="*/ 561761 w 752994"/>
                <a:gd name="connsiteY51" fmla="*/ 248671 h 1333436"/>
                <a:gd name="connsiteX52" fmla="*/ 567478 w 752994"/>
                <a:gd name="connsiteY52" fmla="*/ 247665 h 1333436"/>
                <a:gd name="connsiteX53" fmla="*/ 569931 w 752994"/>
                <a:gd name="connsiteY53" fmla="*/ 249293 h 1333436"/>
                <a:gd name="connsiteX54" fmla="*/ 570540 w 752994"/>
                <a:gd name="connsiteY54" fmla="*/ 251951 h 1333436"/>
                <a:gd name="connsiteX55" fmla="*/ 561964 w 752994"/>
                <a:gd name="connsiteY55" fmla="*/ 267656 h 1333436"/>
                <a:gd name="connsiteX56" fmla="*/ 553591 w 752994"/>
                <a:gd name="connsiteY56" fmla="*/ 289659 h 1333436"/>
                <a:gd name="connsiteX57" fmla="*/ 554810 w 752994"/>
                <a:gd name="connsiteY57" fmla="*/ 292939 h 1333436"/>
                <a:gd name="connsiteX58" fmla="*/ 556246 w 752994"/>
                <a:gd name="connsiteY58" fmla="*/ 299260 h 1333436"/>
                <a:gd name="connsiteX59" fmla="*/ 552778 w 752994"/>
                <a:gd name="connsiteY59" fmla="*/ 301917 h 1333436"/>
                <a:gd name="connsiteX60" fmla="*/ 549295 w 752994"/>
                <a:gd name="connsiteY60" fmla="*/ 306993 h 1333436"/>
                <a:gd name="connsiteX61" fmla="*/ 547061 w 752994"/>
                <a:gd name="connsiteY61" fmla="*/ 313122 h 1333436"/>
                <a:gd name="connsiteX62" fmla="*/ 544811 w 752994"/>
                <a:gd name="connsiteY62" fmla="*/ 316593 h 1333436"/>
                <a:gd name="connsiteX63" fmla="*/ 549919 w 752994"/>
                <a:gd name="connsiteY63" fmla="*/ 322698 h 1333436"/>
                <a:gd name="connsiteX64" fmla="*/ 553184 w 752994"/>
                <a:gd name="connsiteY64" fmla="*/ 325955 h 1333436"/>
                <a:gd name="connsiteX65" fmla="*/ 555840 w 752994"/>
                <a:gd name="connsiteY65" fmla="*/ 328205 h 1333436"/>
                <a:gd name="connsiteX66" fmla="*/ 574212 w 752994"/>
                <a:gd name="connsiteY66" fmla="*/ 318820 h 1333436"/>
                <a:gd name="connsiteX67" fmla="*/ 579523 w 752994"/>
                <a:gd name="connsiteY67" fmla="*/ 326577 h 1333436"/>
                <a:gd name="connsiteX68" fmla="*/ 580539 w 752994"/>
                <a:gd name="connsiteY68" fmla="*/ 334933 h 1333436"/>
                <a:gd name="connsiteX69" fmla="*/ 579726 w 752994"/>
                <a:gd name="connsiteY69" fmla="*/ 343097 h 1333436"/>
                <a:gd name="connsiteX70" fmla="*/ 581366 w 752994"/>
                <a:gd name="connsiteY70" fmla="*/ 350231 h 1333436"/>
                <a:gd name="connsiteX71" fmla="*/ 586256 w 752994"/>
                <a:gd name="connsiteY71" fmla="*/ 355930 h 1333436"/>
                <a:gd name="connsiteX72" fmla="*/ 589536 w 752994"/>
                <a:gd name="connsiteY72" fmla="*/ 362059 h 1333436"/>
                <a:gd name="connsiteX73" fmla="*/ 588099 w 752994"/>
                <a:gd name="connsiteY73" fmla="*/ 369600 h 1333436"/>
                <a:gd name="connsiteX74" fmla="*/ 586459 w 752994"/>
                <a:gd name="connsiteY74" fmla="*/ 377357 h 1333436"/>
                <a:gd name="connsiteX75" fmla="*/ 588709 w 752994"/>
                <a:gd name="connsiteY75" fmla="*/ 381835 h 1333436"/>
                <a:gd name="connsiteX76" fmla="*/ 595036 w 752994"/>
                <a:gd name="connsiteY76" fmla="*/ 382457 h 1333436"/>
                <a:gd name="connsiteX77" fmla="*/ 599331 w 752994"/>
                <a:gd name="connsiteY77" fmla="*/ 385306 h 1333436"/>
                <a:gd name="connsiteX78" fmla="*/ 601987 w 752994"/>
                <a:gd name="connsiteY78" fmla="*/ 391004 h 1333436"/>
                <a:gd name="connsiteX79" fmla="*/ 602799 w 752994"/>
                <a:gd name="connsiteY79" fmla="*/ 404076 h 1333436"/>
                <a:gd name="connsiteX80" fmla="*/ 606892 w 752994"/>
                <a:gd name="connsiteY80" fmla="*/ 415688 h 1333436"/>
                <a:gd name="connsiteX81" fmla="*/ 610563 w 752994"/>
                <a:gd name="connsiteY81" fmla="*/ 412217 h 1333436"/>
                <a:gd name="connsiteX82" fmla="*/ 617920 w 752994"/>
                <a:gd name="connsiteY82" fmla="*/ 408769 h 1333436"/>
                <a:gd name="connsiteX83" fmla="*/ 624654 w 752994"/>
                <a:gd name="connsiteY83" fmla="*/ 411211 h 1333436"/>
                <a:gd name="connsiteX84" fmla="*/ 634652 w 752994"/>
                <a:gd name="connsiteY84" fmla="*/ 410182 h 1333436"/>
                <a:gd name="connsiteX85" fmla="*/ 640573 w 752994"/>
                <a:gd name="connsiteY85" fmla="*/ 407739 h 1333436"/>
                <a:gd name="connsiteX86" fmla="*/ 646711 w 752994"/>
                <a:gd name="connsiteY86" fmla="*/ 410589 h 1333436"/>
                <a:gd name="connsiteX87" fmla="*/ 650383 w 752994"/>
                <a:gd name="connsiteY87" fmla="*/ 410589 h 1333436"/>
                <a:gd name="connsiteX88" fmla="*/ 654257 w 752994"/>
                <a:gd name="connsiteY88" fmla="*/ 411618 h 1333436"/>
                <a:gd name="connsiteX89" fmla="*/ 656913 w 752994"/>
                <a:gd name="connsiteY89" fmla="*/ 413653 h 1333436"/>
                <a:gd name="connsiteX90" fmla="*/ 660802 w 752994"/>
                <a:gd name="connsiteY90" fmla="*/ 415090 h 1333436"/>
                <a:gd name="connsiteX91" fmla="*/ 669581 w 752994"/>
                <a:gd name="connsiteY91" fmla="*/ 415904 h 1333436"/>
                <a:gd name="connsiteX92" fmla="*/ 672237 w 752994"/>
                <a:gd name="connsiteY92" fmla="*/ 415688 h 1333436"/>
                <a:gd name="connsiteX93" fmla="*/ 675705 w 752994"/>
                <a:gd name="connsiteY93" fmla="*/ 409367 h 1333436"/>
                <a:gd name="connsiteX94" fmla="*/ 679986 w 752994"/>
                <a:gd name="connsiteY94" fmla="*/ 403238 h 1333436"/>
                <a:gd name="connsiteX95" fmla="*/ 693264 w 752994"/>
                <a:gd name="connsiteY95" fmla="*/ 419567 h 1333436"/>
                <a:gd name="connsiteX96" fmla="*/ 688563 w 752994"/>
                <a:gd name="connsiteY96" fmla="*/ 448321 h 1333436"/>
                <a:gd name="connsiteX97" fmla="*/ 663949 w 752994"/>
                <a:gd name="connsiteY97" fmla="*/ 590165 h 1333436"/>
                <a:gd name="connsiteX98" fmla="*/ 666304 w 752994"/>
                <a:gd name="connsiteY98" fmla="*/ 590504 h 1333436"/>
                <a:gd name="connsiteX99" fmla="*/ 655288 w 752994"/>
                <a:gd name="connsiteY99" fmla="*/ 656178 h 1333436"/>
                <a:gd name="connsiteX100" fmla="*/ 681808 w 752994"/>
                <a:gd name="connsiteY100" fmla="*/ 662301 h 1333436"/>
                <a:gd name="connsiteX101" fmla="*/ 752994 w 752994"/>
                <a:gd name="connsiteY101" fmla="*/ 675560 h 1333436"/>
                <a:gd name="connsiteX102" fmla="*/ 714651 w 752994"/>
                <a:gd name="connsiteY102" fmla="*/ 946985 h 1333436"/>
                <a:gd name="connsiteX103" fmla="*/ 654533 w 752994"/>
                <a:gd name="connsiteY103" fmla="*/ 1333436 h 1333436"/>
                <a:gd name="connsiteX104" fmla="*/ 546831 w 752994"/>
                <a:gd name="connsiteY104" fmla="*/ 1317126 h 1333436"/>
                <a:gd name="connsiteX105" fmla="*/ 351227 w 752994"/>
                <a:gd name="connsiteY105" fmla="*/ 1194172 h 1333436"/>
                <a:gd name="connsiteX106" fmla="*/ 361011 w 752994"/>
                <a:gd name="connsiteY106" fmla="*/ 1182755 h 1333436"/>
                <a:gd name="connsiteX107" fmla="*/ 368981 w 752994"/>
                <a:gd name="connsiteY107" fmla="*/ 1182130 h 1333436"/>
                <a:gd name="connsiteX108" fmla="*/ 369571 w 752994"/>
                <a:gd name="connsiteY108" fmla="*/ 1181558 h 1333436"/>
                <a:gd name="connsiteX109" fmla="*/ 362372 w 752994"/>
                <a:gd name="connsiteY109" fmla="*/ 1182120 h 1333436"/>
                <a:gd name="connsiteX110" fmla="*/ 229464 w 752994"/>
                <a:gd name="connsiteY110" fmla="*/ 1161721 h 1333436"/>
                <a:gd name="connsiteX111" fmla="*/ 227427 w 752994"/>
                <a:gd name="connsiteY111" fmla="*/ 1157269 h 1333436"/>
                <a:gd name="connsiteX112" fmla="*/ 224967 w 752994"/>
                <a:gd name="connsiteY112" fmla="*/ 1152575 h 1333436"/>
                <a:gd name="connsiteX113" fmla="*/ 225582 w 752994"/>
                <a:gd name="connsiteY113" fmla="*/ 1144808 h 1333436"/>
                <a:gd name="connsiteX114" fmla="*/ 227215 w 752994"/>
                <a:gd name="connsiteY114" fmla="*/ 1135834 h 1333436"/>
                <a:gd name="connsiteX115" fmla="*/ 227215 w 752994"/>
                <a:gd name="connsiteY115" fmla="*/ 1134212 h 1333436"/>
                <a:gd name="connsiteX116" fmla="*/ 225179 w 752994"/>
                <a:gd name="connsiteY116" fmla="*/ 1114020 h 1333436"/>
                <a:gd name="connsiteX117" fmla="*/ 217839 w 752994"/>
                <a:gd name="connsiteY117" fmla="*/ 1100352 h 1333436"/>
                <a:gd name="connsiteX118" fmla="*/ 199661 w 752994"/>
                <a:gd name="connsiteY118" fmla="*/ 1076502 h 1333436"/>
                <a:gd name="connsiteX119" fmla="*/ 196395 w 752994"/>
                <a:gd name="connsiteY119" fmla="*/ 1071807 h 1333436"/>
                <a:gd name="connsiteX120" fmla="*/ 190880 w 752994"/>
                <a:gd name="connsiteY120" fmla="*/ 1067527 h 1333436"/>
                <a:gd name="connsiteX121" fmla="*/ 187210 w 752994"/>
                <a:gd name="connsiteY121" fmla="*/ 1068735 h 1333436"/>
                <a:gd name="connsiteX122" fmla="*/ 180062 w 752994"/>
                <a:gd name="connsiteY122" fmla="*/ 1066699 h 1333436"/>
                <a:gd name="connsiteX123" fmla="*/ 180466 w 752994"/>
                <a:gd name="connsiteY123" fmla="*/ 1053031 h 1333436"/>
                <a:gd name="connsiteX124" fmla="*/ 180062 w 752994"/>
                <a:gd name="connsiteY124" fmla="*/ 1045299 h 1333436"/>
                <a:gd name="connsiteX125" fmla="*/ 174144 w 752994"/>
                <a:gd name="connsiteY125" fmla="*/ 1044057 h 1333436"/>
                <a:gd name="connsiteX126" fmla="*/ 158426 w 752994"/>
                <a:gd name="connsiteY126" fmla="*/ 1042641 h 1333436"/>
                <a:gd name="connsiteX127" fmla="*/ 149857 w 752994"/>
                <a:gd name="connsiteY127" fmla="*/ 1035497 h 1333436"/>
                <a:gd name="connsiteX128" fmla="*/ 142497 w 752994"/>
                <a:gd name="connsiteY128" fmla="*/ 1028766 h 1333436"/>
                <a:gd name="connsiteX129" fmla="*/ 140864 w 752994"/>
                <a:gd name="connsiteY129" fmla="*/ 1020620 h 1333436"/>
                <a:gd name="connsiteX130" fmla="*/ 138212 w 752994"/>
                <a:gd name="connsiteY130" fmla="*/ 1013061 h 1333436"/>
                <a:gd name="connsiteX131" fmla="*/ 131064 w 752994"/>
                <a:gd name="connsiteY131" fmla="*/ 1007159 h 1333436"/>
                <a:gd name="connsiteX132" fmla="*/ 121264 w 752994"/>
                <a:gd name="connsiteY132" fmla="*/ 1005330 h 1333436"/>
                <a:gd name="connsiteX133" fmla="*/ 112483 w 752994"/>
                <a:gd name="connsiteY133" fmla="*/ 1001671 h 1333436"/>
                <a:gd name="connsiteX134" fmla="*/ 105950 w 752994"/>
                <a:gd name="connsiteY134" fmla="*/ 995734 h 1333436"/>
                <a:gd name="connsiteX135" fmla="*/ 97380 w 752994"/>
                <a:gd name="connsiteY135" fmla="*/ 994526 h 1333436"/>
                <a:gd name="connsiteX136" fmla="*/ 87984 w 752994"/>
                <a:gd name="connsiteY136" fmla="*/ 991040 h 1333436"/>
                <a:gd name="connsiteX137" fmla="*/ 80029 w 752994"/>
                <a:gd name="connsiteY137" fmla="*/ 985138 h 1333436"/>
                <a:gd name="connsiteX138" fmla="*/ 77166 w 752994"/>
                <a:gd name="connsiteY138" fmla="*/ 976164 h 1333436"/>
                <a:gd name="connsiteX139" fmla="*/ 79203 w 752994"/>
                <a:gd name="connsiteY139" fmla="*/ 970676 h 1333436"/>
                <a:gd name="connsiteX140" fmla="*/ 82470 w 752994"/>
                <a:gd name="connsiteY140" fmla="*/ 963117 h 1333436"/>
                <a:gd name="connsiteX141" fmla="*/ 84314 w 752994"/>
                <a:gd name="connsiteY141" fmla="*/ 954557 h 1333436"/>
                <a:gd name="connsiteX142" fmla="*/ 86351 w 752994"/>
                <a:gd name="connsiteY142" fmla="*/ 948033 h 1333436"/>
                <a:gd name="connsiteX143" fmla="*/ 86159 w 752994"/>
                <a:gd name="connsiteY143" fmla="*/ 942925 h 1333436"/>
                <a:gd name="connsiteX144" fmla="*/ 83085 w 752994"/>
                <a:gd name="connsiteY144" fmla="*/ 939853 h 1333436"/>
                <a:gd name="connsiteX145" fmla="*/ 77570 w 752994"/>
                <a:gd name="connsiteY145" fmla="*/ 937437 h 1333436"/>
                <a:gd name="connsiteX146" fmla="*/ 76763 w 752994"/>
                <a:gd name="connsiteY146" fmla="*/ 931915 h 1333436"/>
                <a:gd name="connsiteX147" fmla="*/ 78800 w 752994"/>
                <a:gd name="connsiteY147" fmla="*/ 927013 h 1333436"/>
                <a:gd name="connsiteX148" fmla="*/ 79626 w 752994"/>
                <a:gd name="connsiteY148" fmla="*/ 922526 h 1333436"/>
                <a:gd name="connsiteX149" fmla="*/ 77781 w 752994"/>
                <a:gd name="connsiteY149" fmla="*/ 919903 h 1333436"/>
                <a:gd name="connsiteX150" fmla="*/ 74303 w 752994"/>
                <a:gd name="connsiteY150" fmla="*/ 917418 h 1333436"/>
                <a:gd name="connsiteX151" fmla="*/ 71863 w 752994"/>
                <a:gd name="connsiteY151" fmla="*/ 915174 h 1333436"/>
                <a:gd name="connsiteX152" fmla="*/ 71652 w 752994"/>
                <a:gd name="connsiteY152" fmla="*/ 910894 h 1333436"/>
                <a:gd name="connsiteX153" fmla="*/ 70633 w 752994"/>
                <a:gd name="connsiteY153" fmla="*/ 906614 h 1333436"/>
                <a:gd name="connsiteX154" fmla="*/ 68385 w 752994"/>
                <a:gd name="connsiteY154" fmla="*/ 902749 h 1333436"/>
                <a:gd name="connsiteX155" fmla="*/ 61045 w 752994"/>
                <a:gd name="connsiteY155" fmla="*/ 889494 h 1333436"/>
                <a:gd name="connsiteX156" fmla="*/ 57971 w 752994"/>
                <a:gd name="connsiteY156" fmla="*/ 875619 h 1333436"/>
                <a:gd name="connsiteX157" fmla="*/ 52264 w 752994"/>
                <a:gd name="connsiteY157" fmla="*/ 862572 h 1333436"/>
                <a:gd name="connsiteX158" fmla="*/ 44309 w 752994"/>
                <a:gd name="connsiteY158" fmla="*/ 850561 h 1333436"/>
                <a:gd name="connsiteX159" fmla="*/ 45520 w 752994"/>
                <a:gd name="connsiteY159" fmla="*/ 827090 h 1333436"/>
                <a:gd name="connsiteX160" fmla="*/ 53071 w 752994"/>
                <a:gd name="connsiteY160" fmla="*/ 822396 h 1333436"/>
                <a:gd name="connsiteX161" fmla="*/ 57375 w 752994"/>
                <a:gd name="connsiteY161" fmla="*/ 816493 h 1333436"/>
                <a:gd name="connsiteX162" fmla="*/ 55319 w 752994"/>
                <a:gd name="connsiteY162" fmla="*/ 801617 h 1333436"/>
                <a:gd name="connsiteX163" fmla="*/ 48383 w 752994"/>
                <a:gd name="connsiteY163" fmla="*/ 802204 h 1333436"/>
                <a:gd name="connsiteX164" fmla="*/ 40428 w 752994"/>
                <a:gd name="connsiteY164" fmla="*/ 797924 h 1333436"/>
                <a:gd name="connsiteX165" fmla="*/ 37565 w 752994"/>
                <a:gd name="connsiteY165" fmla="*/ 790606 h 1333436"/>
                <a:gd name="connsiteX166" fmla="*/ 37565 w 752994"/>
                <a:gd name="connsiteY166" fmla="*/ 790399 h 1333436"/>
                <a:gd name="connsiteX167" fmla="*/ 35931 w 752994"/>
                <a:gd name="connsiteY167" fmla="*/ 785912 h 1333436"/>
                <a:gd name="connsiteX168" fmla="*/ 34510 w 752994"/>
                <a:gd name="connsiteY168" fmla="*/ 780597 h 1333436"/>
                <a:gd name="connsiteX169" fmla="*/ 36335 w 752994"/>
                <a:gd name="connsiteY169" fmla="*/ 774280 h 1333436"/>
                <a:gd name="connsiteX170" fmla="*/ 38180 w 752994"/>
                <a:gd name="connsiteY170" fmla="*/ 766721 h 1333436"/>
                <a:gd name="connsiteX171" fmla="*/ 37161 w 752994"/>
                <a:gd name="connsiteY171" fmla="*/ 760405 h 1333436"/>
                <a:gd name="connsiteX172" fmla="*/ 35720 w 752994"/>
                <a:gd name="connsiteY172" fmla="*/ 754710 h 1333436"/>
                <a:gd name="connsiteX173" fmla="*/ 36546 w 752994"/>
                <a:gd name="connsiteY173" fmla="*/ 748773 h 1333436"/>
                <a:gd name="connsiteX174" fmla="*/ 38372 w 752994"/>
                <a:gd name="connsiteY174" fmla="*/ 744528 h 1333436"/>
                <a:gd name="connsiteX175" fmla="*/ 41638 w 752994"/>
                <a:gd name="connsiteY175" fmla="*/ 744321 h 1333436"/>
                <a:gd name="connsiteX176" fmla="*/ 44713 w 752994"/>
                <a:gd name="connsiteY176" fmla="*/ 746357 h 1333436"/>
                <a:gd name="connsiteX177" fmla="*/ 47364 w 752994"/>
                <a:gd name="connsiteY177" fmla="*/ 753260 h 1333436"/>
                <a:gd name="connsiteX178" fmla="*/ 55742 w 752994"/>
                <a:gd name="connsiteY178" fmla="*/ 764305 h 1333436"/>
                <a:gd name="connsiteX179" fmla="*/ 56338 w 752994"/>
                <a:gd name="connsiteY179" fmla="*/ 761233 h 1333436"/>
                <a:gd name="connsiteX180" fmla="*/ 56145 w 752994"/>
                <a:gd name="connsiteY180" fmla="*/ 757368 h 1333436"/>
                <a:gd name="connsiteX181" fmla="*/ 54916 w 752994"/>
                <a:gd name="connsiteY181" fmla="*/ 748601 h 1333436"/>
                <a:gd name="connsiteX182" fmla="*/ 52879 w 752994"/>
                <a:gd name="connsiteY182" fmla="*/ 747358 h 1333436"/>
                <a:gd name="connsiteX183" fmla="*/ 51649 w 752994"/>
                <a:gd name="connsiteY183" fmla="*/ 745322 h 1333436"/>
                <a:gd name="connsiteX184" fmla="*/ 51649 w 752994"/>
                <a:gd name="connsiteY184" fmla="*/ 739212 h 1333436"/>
                <a:gd name="connsiteX185" fmla="*/ 50227 w 752994"/>
                <a:gd name="connsiteY185" fmla="*/ 734725 h 1333436"/>
                <a:gd name="connsiteX186" fmla="*/ 48786 w 752994"/>
                <a:gd name="connsiteY186" fmla="*/ 731446 h 1333436"/>
                <a:gd name="connsiteX187" fmla="*/ 54512 w 752994"/>
                <a:gd name="connsiteY187" fmla="*/ 726372 h 1333436"/>
                <a:gd name="connsiteX188" fmla="*/ 59815 w 752994"/>
                <a:gd name="connsiteY188" fmla="*/ 725130 h 1333436"/>
                <a:gd name="connsiteX189" fmla="*/ 58182 w 752994"/>
                <a:gd name="connsiteY189" fmla="*/ 722886 h 1333436"/>
                <a:gd name="connsiteX190" fmla="*/ 51861 w 752994"/>
                <a:gd name="connsiteY190" fmla="*/ 717985 h 1333436"/>
                <a:gd name="connsiteX191" fmla="*/ 46749 w 752994"/>
                <a:gd name="connsiteY191" fmla="*/ 729617 h 1333436"/>
                <a:gd name="connsiteX192" fmla="*/ 40831 w 752994"/>
                <a:gd name="connsiteY192" fmla="*/ 739212 h 1333436"/>
                <a:gd name="connsiteX193" fmla="*/ 39601 w 752994"/>
                <a:gd name="connsiteY193" fmla="*/ 738798 h 1333436"/>
                <a:gd name="connsiteX194" fmla="*/ 39409 w 752994"/>
                <a:gd name="connsiteY194" fmla="*/ 738591 h 1333436"/>
                <a:gd name="connsiteX195" fmla="*/ 37161 w 752994"/>
                <a:gd name="connsiteY195" fmla="*/ 734725 h 1333436"/>
                <a:gd name="connsiteX196" fmla="*/ 32665 w 752994"/>
                <a:gd name="connsiteY196" fmla="*/ 727788 h 1333436"/>
                <a:gd name="connsiteX197" fmla="*/ 26747 w 752994"/>
                <a:gd name="connsiteY197" fmla="*/ 719435 h 1333436"/>
                <a:gd name="connsiteX198" fmla="*/ 23884 w 752994"/>
                <a:gd name="connsiteY198" fmla="*/ 717812 h 1333436"/>
                <a:gd name="connsiteX199" fmla="*/ 24710 w 752994"/>
                <a:gd name="connsiteY199" fmla="*/ 709632 h 1333436"/>
                <a:gd name="connsiteX200" fmla="*/ 27554 w 752994"/>
                <a:gd name="connsiteY200" fmla="*/ 701694 h 1333436"/>
                <a:gd name="connsiteX201" fmla="*/ 24902 w 752994"/>
                <a:gd name="connsiteY201" fmla="*/ 696171 h 1333436"/>
                <a:gd name="connsiteX202" fmla="*/ 24095 w 752994"/>
                <a:gd name="connsiteY202" fmla="*/ 687818 h 1333436"/>
                <a:gd name="connsiteX203" fmla="*/ 22462 w 752994"/>
                <a:gd name="connsiteY203" fmla="*/ 682330 h 1333436"/>
                <a:gd name="connsiteX204" fmla="*/ 17159 w 752994"/>
                <a:gd name="connsiteY204" fmla="*/ 677636 h 1333436"/>
                <a:gd name="connsiteX205" fmla="*/ 14296 w 752994"/>
                <a:gd name="connsiteY205" fmla="*/ 671492 h 1333436"/>
                <a:gd name="connsiteX206" fmla="*/ 12451 w 752994"/>
                <a:gd name="connsiteY206" fmla="*/ 665797 h 1333436"/>
                <a:gd name="connsiteX207" fmla="*/ 5111 w 752994"/>
                <a:gd name="connsiteY207" fmla="*/ 654994 h 1333436"/>
                <a:gd name="connsiteX208" fmla="*/ 2248 w 752994"/>
                <a:gd name="connsiteY208" fmla="*/ 645605 h 1333436"/>
                <a:gd name="connsiteX209" fmla="*/ 4496 w 752994"/>
                <a:gd name="connsiteY209" fmla="*/ 640497 h 1333436"/>
                <a:gd name="connsiteX210" fmla="*/ 6744 w 752994"/>
                <a:gd name="connsiteY210" fmla="*/ 632765 h 1333436"/>
                <a:gd name="connsiteX211" fmla="*/ 6744 w 752994"/>
                <a:gd name="connsiteY211" fmla="*/ 628485 h 1333436"/>
                <a:gd name="connsiteX212" fmla="*/ 6533 w 752994"/>
                <a:gd name="connsiteY212" fmla="*/ 620305 h 1333436"/>
                <a:gd name="connsiteX213" fmla="*/ 7359 w 752994"/>
                <a:gd name="connsiteY213" fmla="*/ 611745 h 1333436"/>
                <a:gd name="connsiteX214" fmla="*/ 11836 w 752994"/>
                <a:gd name="connsiteY214" fmla="*/ 602978 h 1333436"/>
                <a:gd name="connsiteX215" fmla="*/ 15103 w 752994"/>
                <a:gd name="connsiteY215" fmla="*/ 591760 h 1333436"/>
                <a:gd name="connsiteX216" fmla="*/ 14488 w 752994"/>
                <a:gd name="connsiteY216" fmla="*/ 584029 h 1333436"/>
                <a:gd name="connsiteX217" fmla="*/ 13873 w 752994"/>
                <a:gd name="connsiteY217" fmla="*/ 578299 h 1333436"/>
                <a:gd name="connsiteX218" fmla="*/ 10626 w 752994"/>
                <a:gd name="connsiteY218" fmla="*/ 568531 h 1333436"/>
                <a:gd name="connsiteX219" fmla="*/ 3670 w 752994"/>
                <a:gd name="connsiteY219" fmla="*/ 558107 h 1333436"/>
                <a:gd name="connsiteX220" fmla="*/ 0 w 752994"/>
                <a:gd name="connsiteY220" fmla="*/ 551377 h 1333436"/>
                <a:gd name="connsiteX221" fmla="*/ 0 w 752994"/>
                <a:gd name="connsiteY221" fmla="*/ 550997 h 1333436"/>
                <a:gd name="connsiteX222" fmla="*/ 4900 w 752994"/>
                <a:gd name="connsiteY222" fmla="*/ 531220 h 1333436"/>
                <a:gd name="connsiteX223" fmla="*/ 13873 w 752994"/>
                <a:gd name="connsiteY223" fmla="*/ 520589 h 1333436"/>
                <a:gd name="connsiteX224" fmla="*/ 18369 w 752994"/>
                <a:gd name="connsiteY224" fmla="*/ 516516 h 1333436"/>
                <a:gd name="connsiteX225" fmla="*/ 18773 w 752994"/>
                <a:gd name="connsiteY225" fmla="*/ 514272 h 1333436"/>
                <a:gd name="connsiteX226" fmla="*/ 23077 w 752994"/>
                <a:gd name="connsiteY226" fmla="*/ 506127 h 1333436"/>
                <a:gd name="connsiteX227" fmla="*/ 23884 w 752994"/>
                <a:gd name="connsiteY227" fmla="*/ 502261 h 1333436"/>
                <a:gd name="connsiteX228" fmla="*/ 23692 w 752994"/>
                <a:gd name="connsiteY228" fmla="*/ 496738 h 1333436"/>
                <a:gd name="connsiteX229" fmla="*/ 30013 w 752994"/>
                <a:gd name="connsiteY229" fmla="*/ 486556 h 1333436"/>
                <a:gd name="connsiteX230" fmla="*/ 36546 w 752994"/>
                <a:gd name="connsiteY230" fmla="*/ 470230 h 1333436"/>
                <a:gd name="connsiteX231" fmla="*/ 36546 w 752994"/>
                <a:gd name="connsiteY231" fmla="*/ 462671 h 1333436"/>
                <a:gd name="connsiteX232" fmla="*/ 36335 w 752994"/>
                <a:gd name="connsiteY232" fmla="*/ 461670 h 1333436"/>
                <a:gd name="connsiteX233" fmla="*/ 35931 w 752994"/>
                <a:gd name="connsiteY233" fmla="*/ 453110 h 1333436"/>
                <a:gd name="connsiteX234" fmla="*/ 38583 w 752994"/>
                <a:gd name="connsiteY234" fmla="*/ 442514 h 1333436"/>
                <a:gd name="connsiteX235" fmla="*/ 41043 w 752994"/>
                <a:gd name="connsiteY235" fmla="*/ 436991 h 1333436"/>
                <a:gd name="connsiteX236" fmla="*/ 41650 w 752994"/>
                <a:gd name="connsiteY236" fmla="*/ 437186 h 1333436"/>
                <a:gd name="connsiteX237" fmla="*/ 41239 w 752994"/>
                <a:gd name="connsiteY237" fmla="*/ 436549 h 1333436"/>
                <a:gd name="connsiteX238" fmla="*/ 37778 w 752994"/>
                <a:gd name="connsiteY238" fmla="*/ 433894 h 1333436"/>
                <a:gd name="connsiteX239" fmla="*/ 37169 w 752994"/>
                <a:gd name="connsiteY239" fmla="*/ 432261 h 1333436"/>
                <a:gd name="connsiteX240" fmla="*/ 37365 w 752994"/>
                <a:gd name="connsiteY240" fmla="*/ 429198 h 1333436"/>
                <a:gd name="connsiteX241" fmla="*/ 36756 w 752994"/>
                <a:gd name="connsiteY241" fmla="*/ 422272 h 1333436"/>
                <a:gd name="connsiteX242" fmla="*/ 36952 w 752994"/>
                <a:gd name="connsiteY242" fmla="*/ 418800 h 1333436"/>
                <a:gd name="connsiteX243" fmla="*/ 36756 w 752994"/>
                <a:gd name="connsiteY243" fmla="*/ 412487 h 1333436"/>
                <a:gd name="connsiteX244" fmla="*/ 40433 w 752994"/>
                <a:gd name="connsiteY244" fmla="*/ 406174 h 1333436"/>
                <a:gd name="connsiteX245" fmla="*/ 44720 w 752994"/>
                <a:gd name="connsiteY245" fmla="*/ 399435 h 1333436"/>
                <a:gd name="connsiteX246" fmla="*/ 44110 w 752994"/>
                <a:gd name="connsiteY246" fmla="*/ 389651 h 1333436"/>
                <a:gd name="connsiteX247" fmla="*/ 43894 w 752994"/>
                <a:gd name="connsiteY247" fmla="*/ 378437 h 1333436"/>
                <a:gd name="connsiteX248" fmla="*/ 47158 w 752994"/>
                <a:gd name="connsiteY248" fmla="*/ 371102 h 1333436"/>
                <a:gd name="connsiteX249" fmla="*/ 55731 w 752994"/>
                <a:gd name="connsiteY249" fmla="*/ 360909 h 1333436"/>
                <a:gd name="connsiteX250" fmla="*/ 57580 w 752994"/>
                <a:gd name="connsiteY250" fmla="*/ 355804 h 1333436"/>
                <a:gd name="connsiteX251" fmla="*/ 62673 w 752994"/>
                <a:gd name="connsiteY251" fmla="*/ 349695 h 1333436"/>
                <a:gd name="connsiteX252" fmla="*/ 65937 w 752994"/>
                <a:gd name="connsiteY252" fmla="*/ 348470 h 1333436"/>
                <a:gd name="connsiteX253" fmla="*/ 68395 w 752994"/>
                <a:gd name="connsiteY253" fmla="*/ 348674 h 1333436"/>
                <a:gd name="connsiteX254" fmla="*/ 70224 w 752994"/>
                <a:gd name="connsiteY254" fmla="*/ 347449 h 1333436"/>
                <a:gd name="connsiteX255" fmla="*/ 67785 w 752994"/>
                <a:gd name="connsiteY255" fmla="*/ 345203 h 1333436"/>
                <a:gd name="connsiteX256" fmla="*/ 65524 w 752994"/>
                <a:gd name="connsiteY256" fmla="*/ 343178 h 1333436"/>
                <a:gd name="connsiteX257" fmla="*/ 73095 w 752994"/>
                <a:gd name="connsiteY257" fmla="*/ 333376 h 1333436"/>
                <a:gd name="connsiteX258" fmla="*/ 73291 w 752994"/>
                <a:gd name="connsiteY258" fmla="*/ 333376 h 1333436"/>
                <a:gd name="connsiteX259" fmla="*/ 77991 w 752994"/>
                <a:gd name="connsiteY259" fmla="*/ 325838 h 1333436"/>
                <a:gd name="connsiteX260" fmla="*/ 82671 w 752994"/>
                <a:gd name="connsiteY260" fmla="*/ 313619 h 1333436"/>
                <a:gd name="connsiteX261" fmla="*/ 87980 w 752994"/>
                <a:gd name="connsiteY261" fmla="*/ 303018 h 1333436"/>
                <a:gd name="connsiteX262" fmla="*/ 92267 w 752994"/>
                <a:gd name="connsiteY262" fmla="*/ 291191 h 1333436"/>
                <a:gd name="connsiteX263" fmla="*/ 96553 w 752994"/>
                <a:gd name="connsiteY263" fmla="*/ 281202 h 1333436"/>
                <a:gd name="connsiteX264" fmla="*/ 99621 w 752994"/>
                <a:gd name="connsiteY264" fmla="*/ 274481 h 1333436"/>
                <a:gd name="connsiteX265" fmla="*/ 103082 w 752994"/>
                <a:gd name="connsiteY265" fmla="*/ 262450 h 1333436"/>
                <a:gd name="connsiteX266" fmla="*/ 107172 w 752994"/>
                <a:gd name="connsiteY266" fmla="*/ 254299 h 1333436"/>
                <a:gd name="connsiteX267" fmla="*/ 112481 w 752994"/>
                <a:gd name="connsiteY267" fmla="*/ 243697 h 1333436"/>
                <a:gd name="connsiteX268" fmla="*/ 117181 w 752994"/>
                <a:gd name="connsiteY268" fmla="*/ 232279 h 1333436"/>
                <a:gd name="connsiteX269" fmla="*/ 125951 w 752994"/>
                <a:gd name="connsiteY269" fmla="*/ 217389 h 1333436"/>
                <a:gd name="connsiteX270" fmla="*/ 136156 w 752994"/>
                <a:gd name="connsiteY270" fmla="*/ 202925 h 1333436"/>
                <a:gd name="connsiteX271" fmla="*/ 138811 w 752994"/>
                <a:gd name="connsiteY271" fmla="*/ 183339 h 1333436"/>
                <a:gd name="connsiteX272" fmla="*/ 148801 w 752994"/>
                <a:gd name="connsiteY272" fmla="*/ 167445 h 1333436"/>
                <a:gd name="connsiteX273" fmla="*/ 159616 w 752994"/>
                <a:gd name="connsiteY273" fmla="*/ 170712 h 1333436"/>
                <a:gd name="connsiteX274" fmla="*/ 173105 w 752994"/>
                <a:gd name="connsiteY274" fmla="*/ 175188 h 1333436"/>
                <a:gd name="connsiteX275" fmla="*/ 175347 w 752994"/>
                <a:gd name="connsiteY275" fmla="*/ 175188 h 1333436"/>
                <a:gd name="connsiteX276" fmla="*/ 175347 w 752994"/>
                <a:gd name="connsiteY276" fmla="*/ 173758 h 1333436"/>
                <a:gd name="connsiteX277" fmla="*/ 184975 w 752994"/>
                <a:gd name="connsiteY277" fmla="*/ 187393 h 1333436"/>
                <a:gd name="connsiteX278" fmla="*/ 184762 w 752994"/>
                <a:gd name="connsiteY278" fmla="*/ 184637 h 1333436"/>
                <a:gd name="connsiteX279" fmla="*/ 174971 w 752994"/>
                <a:gd name="connsiteY279" fmla="*/ 170774 h 1333436"/>
                <a:gd name="connsiteX280" fmla="*/ 174971 w 752994"/>
                <a:gd name="connsiteY280" fmla="*/ 169550 h 1333436"/>
                <a:gd name="connsiteX281" fmla="*/ 158851 w 752994"/>
                <a:gd name="connsiteY281" fmla="*/ 156924 h 1333436"/>
                <a:gd name="connsiteX282" fmla="*/ 147025 w 752994"/>
                <a:gd name="connsiteY282" fmla="*/ 145709 h 1333436"/>
                <a:gd name="connsiteX283" fmla="*/ 154364 w 752994"/>
                <a:gd name="connsiteY283" fmla="*/ 136335 h 1333436"/>
                <a:gd name="connsiteX284" fmla="*/ 161511 w 752994"/>
                <a:gd name="connsiteY284" fmla="*/ 131042 h 1333436"/>
                <a:gd name="connsiteX285" fmla="*/ 160902 w 752994"/>
                <a:gd name="connsiteY285" fmla="*/ 128384 h 1333436"/>
                <a:gd name="connsiteX286" fmla="*/ 160277 w 752994"/>
                <a:gd name="connsiteY286" fmla="*/ 127778 h 1333436"/>
                <a:gd name="connsiteX287" fmla="*/ 154973 w 752994"/>
                <a:gd name="connsiteY287" fmla="*/ 122077 h 1333436"/>
                <a:gd name="connsiteX288" fmla="*/ 160277 w 752994"/>
                <a:gd name="connsiteY288" fmla="*/ 115140 h 1333436"/>
                <a:gd name="connsiteX289" fmla="*/ 165181 w 752994"/>
                <a:gd name="connsiteY289" fmla="*/ 108215 h 1333436"/>
                <a:gd name="connsiteX290" fmla="*/ 161303 w 752994"/>
                <a:gd name="connsiteY290" fmla="*/ 104146 h 1333436"/>
                <a:gd name="connsiteX291" fmla="*/ 157842 w 752994"/>
                <a:gd name="connsiteY291" fmla="*/ 104542 h 1333436"/>
                <a:gd name="connsiteX292" fmla="*/ 157024 w 752994"/>
                <a:gd name="connsiteY292" fmla="*/ 102304 h 1333436"/>
                <a:gd name="connsiteX293" fmla="*/ 160694 w 752994"/>
                <a:gd name="connsiteY293" fmla="*/ 55437 h 1333436"/>
                <a:gd name="connsiteX294" fmla="*/ 160486 w 752994"/>
                <a:gd name="connsiteY294" fmla="*/ 31991 h 1333436"/>
                <a:gd name="connsiteX295" fmla="*/ 164972 w 752994"/>
                <a:gd name="connsiteY295" fmla="*/ 18141 h 1333436"/>
                <a:gd name="connsiteX296" fmla="*/ 171911 w 752994"/>
                <a:gd name="connsiteY296" fmla="*/ 11204 h 1333436"/>
                <a:gd name="connsiteX297" fmla="*/ 187406 w 752994"/>
                <a:gd name="connsiteY297" fmla="*/ 21801 h 1333436"/>
                <a:gd name="connsiteX298" fmla="*/ 210866 w 752994"/>
                <a:gd name="connsiteY298" fmla="*/ 37086 h 1333436"/>
                <a:gd name="connsiteX299" fmla="*/ 219230 w 752994"/>
                <a:gd name="connsiteY299" fmla="*/ 41166 h 1333436"/>
                <a:gd name="connsiteX300" fmla="*/ 226778 w 752994"/>
                <a:gd name="connsiteY300" fmla="*/ 47486 h 1333436"/>
                <a:gd name="connsiteX301" fmla="*/ 236152 w 752994"/>
                <a:gd name="connsiteY301" fmla="*/ 52370 h 1333436"/>
                <a:gd name="connsiteX302" fmla="*/ 239629 w 752994"/>
                <a:gd name="connsiteY302" fmla="*/ 58491 h 1333436"/>
                <a:gd name="connsiteX303" fmla="*/ 239629 w 752994"/>
                <a:gd name="connsiteY303" fmla="*/ 63376 h 1333436"/>
                <a:gd name="connsiteX304" fmla="*/ 236568 w 752994"/>
                <a:gd name="connsiteY304" fmla="*/ 67457 h 1333436"/>
                <a:gd name="connsiteX305" fmla="*/ 231264 w 752994"/>
                <a:gd name="connsiteY305" fmla="*/ 69905 h 1333436"/>
                <a:gd name="connsiteX306" fmla="*/ 216778 w 752994"/>
                <a:gd name="connsiteY306" fmla="*/ 82741 h 1333436"/>
                <a:gd name="connsiteX307" fmla="*/ 214134 w 752994"/>
                <a:gd name="connsiteY307" fmla="*/ 93536 h 1333436"/>
                <a:gd name="connsiteX308" fmla="*/ 214535 w 752994"/>
                <a:gd name="connsiteY308" fmla="*/ 96801 h 1333436"/>
                <a:gd name="connsiteX309" fmla="*/ 216378 w 752994"/>
                <a:gd name="connsiteY309" fmla="*/ 96801 h 1333436"/>
                <a:gd name="connsiteX310" fmla="*/ 230046 w 752994"/>
                <a:gd name="connsiteY310" fmla="*/ 85387 h 1333436"/>
                <a:gd name="connsiteX311" fmla="*/ 243298 w 752994"/>
                <a:gd name="connsiteY311" fmla="*/ 75198 h 1333436"/>
                <a:gd name="connsiteX312" fmla="*/ 246760 w 752994"/>
                <a:gd name="connsiteY312" fmla="*/ 77646 h 1333436"/>
                <a:gd name="connsiteX313" fmla="*/ 255541 w 752994"/>
                <a:gd name="connsiteY313" fmla="*/ 63376 h 1333436"/>
                <a:gd name="connsiteX314" fmla="*/ 259611 w 752994"/>
                <a:gd name="connsiteY314" fmla="*/ 43405 h 1333436"/>
                <a:gd name="connsiteX315" fmla="*/ 256967 w 752994"/>
                <a:gd name="connsiteY315" fmla="*/ 38520 h 1333436"/>
                <a:gd name="connsiteX316" fmla="*/ 253906 w 752994"/>
                <a:gd name="connsiteY316" fmla="*/ 34242 h 1333436"/>
                <a:gd name="connsiteX317" fmla="*/ 256967 w 752994"/>
                <a:gd name="connsiteY317" fmla="*/ 30161 h 1333436"/>
                <a:gd name="connsiteX318" fmla="*/ 262063 w 752994"/>
                <a:gd name="connsiteY318" fmla="*/ 27712 h 1333436"/>
                <a:gd name="connsiteX319" fmla="*/ 264915 w 752994"/>
                <a:gd name="connsiteY319" fmla="*/ 23026 h 1333436"/>
                <a:gd name="connsiteX320" fmla="*/ 267976 w 752994"/>
                <a:gd name="connsiteY320" fmla="*/ 22618 h 1333436"/>
                <a:gd name="connsiteX321" fmla="*/ 270427 w 752994"/>
                <a:gd name="connsiteY321" fmla="*/ 20787 h 1333436"/>
                <a:gd name="connsiteX322" fmla="*/ 263088 w 752994"/>
                <a:gd name="connsiteY322" fmla="*/ 13652 h 1333436"/>
                <a:gd name="connsiteX323" fmla="*/ 255541 w 752994"/>
                <a:gd name="connsiteY323" fmla="*/ 3055 h 1333436"/>
                <a:gd name="connsiteX324" fmla="*/ 256358 w 752994"/>
                <a:gd name="connsiteY324" fmla="*/ 1224 h 1333436"/>
                <a:gd name="connsiteX325" fmla="*/ 257159 w 752994"/>
                <a:gd name="connsiteY325"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1271 w 752994"/>
                <a:gd name="connsiteY22" fmla="*/ 246539 h 1333436"/>
                <a:gd name="connsiteX23" fmla="*/ 348428 w 752994"/>
                <a:gd name="connsiteY23" fmla="*/ 250011 h 1333436"/>
                <a:gd name="connsiteX24" fmla="*/ 351279 w 752994"/>
                <a:gd name="connsiteY24" fmla="*/ 247356 h 1333436"/>
                <a:gd name="connsiteX25" fmla="*/ 355566 w 752994"/>
                <a:gd name="connsiteY25" fmla="*/ 244293 h 1333436"/>
                <a:gd name="connsiteX26" fmla="*/ 280827 w 752994"/>
                <a:gd name="connsiteY26" fmla="*/ 242720 h 1333436"/>
                <a:gd name="connsiteX27" fmla="*/ 247994 w 752994"/>
                <a:gd name="connsiteY27" fmla="*/ 241693 h 1333436"/>
                <a:gd name="connsiteX28" fmla="*/ 235142 w 752994"/>
                <a:gd name="connsiteY28" fmla="*/ 229476 h 1333436"/>
                <a:gd name="connsiteX29" fmla="*/ 195162 w 752994"/>
                <a:gd name="connsiteY29" fmla="*/ 228857 h 1333436"/>
                <a:gd name="connsiteX30" fmla="*/ 188223 w 752994"/>
                <a:gd name="connsiteY30" fmla="*/ 223973 h 1333436"/>
                <a:gd name="connsiteX31" fmla="*/ 185163 w 752994"/>
                <a:gd name="connsiteY31" fmla="*/ 219484 h 1333436"/>
                <a:gd name="connsiteX32" fmla="*/ 184180 w 752994"/>
                <a:gd name="connsiteY32" fmla="*/ 213866 h 1333436"/>
                <a:gd name="connsiteX33" fmla="*/ 257159 w 752994"/>
                <a:gd name="connsiteY33" fmla="*/ 0 h 1333436"/>
                <a:gd name="connsiteX34" fmla="*/ 493147 w 752994"/>
                <a:gd name="connsiteY34" fmla="*/ 73157 h 1333436"/>
                <a:gd name="connsiteX35" fmla="*/ 492970 w 752994"/>
                <a:gd name="connsiteY35" fmla="*/ 73792 h 1333436"/>
                <a:gd name="connsiteX36" fmla="*/ 525816 w 752994"/>
                <a:gd name="connsiteY36" fmla="*/ 82491 h 1333436"/>
                <a:gd name="connsiteX37" fmla="*/ 520098 w 752994"/>
                <a:gd name="connsiteY37" fmla="*/ 111245 h 1333436"/>
                <a:gd name="connsiteX38" fmla="*/ 512552 w 752994"/>
                <a:gd name="connsiteY38" fmla="*/ 143854 h 1333436"/>
                <a:gd name="connsiteX39" fmla="*/ 517849 w 752994"/>
                <a:gd name="connsiteY39" fmla="*/ 157740 h 1333436"/>
                <a:gd name="connsiteX40" fmla="*/ 523160 w 752994"/>
                <a:gd name="connsiteY40" fmla="*/ 172009 h 1333436"/>
                <a:gd name="connsiteX41" fmla="*/ 521535 w 752994"/>
                <a:gd name="connsiteY41" fmla="*/ 178928 h 1333436"/>
                <a:gd name="connsiteX42" fmla="*/ 520098 w 752994"/>
                <a:gd name="connsiteY42" fmla="*/ 186279 h 1333436"/>
                <a:gd name="connsiteX43" fmla="*/ 526019 w 752994"/>
                <a:gd name="connsiteY43" fmla="*/ 193629 h 1333436"/>
                <a:gd name="connsiteX44" fmla="*/ 537251 w 752994"/>
                <a:gd name="connsiteY44" fmla="*/ 206270 h 1333436"/>
                <a:gd name="connsiteX45" fmla="*/ 542765 w 752994"/>
                <a:gd name="connsiteY45" fmla="*/ 217475 h 1333436"/>
                <a:gd name="connsiteX46" fmla="*/ 546857 w 752994"/>
                <a:gd name="connsiteY46" fmla="*/ 230930 h 1333436"/>
                <a:gd name="connsiteX47" fmla="*/ 549499 w 752994"/>
                <a:gd name="connsiteY47" fmla="*/ 235622 h 1333436"/>
                <a:gd name="connsiteX48" fmla="*/ 553388 w 752994"/>
                <a:gd name="connsiteY48" fmla="*/ 240722 h 1333436"/>
                <a:gd name="connsiteX49" fmla="*/ 557465 w 752994"/>
                <a:gd name="connsiteY49" fmla="*/ 246037 h 1333436"/>
                <a:gd name="connsiteX50" fmla="*/ 561761 w 752994"/>
                <a:gd name="connsiteY50" fmla="*/ 248671 h 1333436"/>
                <a:gd name="connsiteX51" fmla="*/ 567478 w 752994"/>
                <a:gd name="connsiteY51" fmla="*/ 247665 h 1333436"/>
                <a:gd name="connsiteX52" fmla="*/ 569931 w 752994"/>
                <a:gd name="connsiteY52" fmla="*/ 249293 h 1333436"/>
                <a:gd name="connsiteX53" fmla="*/ 570540 w 752994"/>
                <a:gd name="connsiteY53" fmla="*/ 251951 h 1333436"/>
                <a:gd name="connsiteX54" fmla="*/ 561964 w 752994"/>
                <a:gd name="connsiteY54" fmla="*/ 267656 h 1333436"/>
                <a:gd name="connsiteX55" fmla="*/ 553591 w 752994"/>
                <a:gd name="connsiteY55" fmla="*/ 289659 h 1333436"/>
                <a:gd name="connsiteX56" fmla="*/ 554810 w 752994"/>
                <a:gd name="connsiteY56" fmla="*/ 292939 h 1333436"/>
                <a:gd name="connsiteX57" fmla="*/ 556246 w 752994"/>
                <a:gd name="connsiteY57" fmla="*/ 299260 h 1333436"/>
                <a:gd name="connsiteX58" fmla="*/ 552778 w 752994"/>
                <a:gd name="connsiteY58" fmla="*/ 301917 h 1333436"/>
                <a:gd name="connsiteX59" fmla="*/ 549295 w 752994"/>
                <a:gd name="connsiteY59" fmla="*/ 306993 h 1333436"/>
                <a:gd name="connsiteX60" fmla="*/ 547061 w 752994"/>
                <a:gd name="connsiteY60" fmla="*/ 313122 h 1333436"/>
                <a:gd name="connsiteX61" fmla="*/ 544811 w 752994"/>
                <a:gd name="connsiteY61" fmla="*/ 316593 h 1333436"/>
                <a:gd name="connsiteX62" fmla="*/ 549919 w 752994"/>
                <a:gd name="connsiteY62" fmla="*/ 322698 h 1333436"/>
                <a:gd name="connsiteX63" fmla="*/ 553184 w 752994"/>
                <a:gd name="connsiteY63" fmla="*/ 325955 h 1333436"/>
                <a:gd name="connsiteX64" fmla="*/ 555840 w 752994"/>
                <a:gd name="connsiteY64" fmla="*/ 328205 h 1333436"/>
                <a:gd name="connsiteX65" fmla="*/ 574212 w 752994"/>
                <a:gd name="connsiteY65" fmla="*/ 318820 h 1333436"/>
                <a:gd name="connsiteX66" fmla="*/ 579523 w 752994"/>
                <a:gd name="connsiteY66" fmla="*/ 326577 h 1333436"/>
                <a:gd name="connsiteX67" fmla="*/ 580539 w 752994"/>
                <a:gd name="connsiteY67" fmla="*/ 334933 h 1333436"/>
                <a:gd name="connsiteX68" fmla="*/ 579726 w 752994"/>
                <a:gd name="connsiteY68" fmla="*/ 343097 h 1333436"/>
                <a:gd name="connsiteX69" fmla="*/ 581366 w 752994"/>
                <a:gd name="connsiteY69" fmla="*/ 350231 h 1333436"/>
                <a:gd name="connsiteX70" fmla="*/ 586256 w 752994"/>
                <a:gd name="connsiteY70" fmla="*/ 355930 h 1333436"/>
                <a:gd name="connsiteX71" fmla="*/ 589536 w 752994"/>
                <a:gd name="connsiteY71" fmla="*/ 362059 h 1333436"/>
                <a:gd name="connsiteX72" fmla="*/ 588099 w 752994"/>
                <a:gd name="connsiteY72" fmla="*/ 369600 h 1333436"/>
                <a:gd name="connsiteX73" fmla="*/ 586459 w 752994"/>
                <a:gd name="connsiteY73" fmla="*/ 377357 h 1333436"/>
                <a:gd name="connsiteX74" fmla="*/ 588709 w 752994"/>
                <a:gd name="connsiteY74" fmla="*/ 381835 h 1333436"/>
                <a:gd name="connsiteX75" fmla="*/ 595036 w 752994"/>
                <a:gd name="connsiteY75" fmla="*/ 382457 h 1333436"/>
                <a:gd name="connsiteX76" fmla="*/ 599331 w 752994"/>
                <a:gd name="connsiteY76" fmla="*/ 385306 h 1333436"/>
                <a:gd name="connsiteX77" fmla="*/ 601987 w 752994"/>
                <a:gd name="connsiteY77" fmla="*/ 391004 h 1333436"/>
                <a:gd name="connsiteX78" fmla="*/ 602799 w 752994"/>
                <a:gd name="connsiteY78" fmla="*/ 404076 h 1333436"/>
                <a:gd name="connsiteX79" fmla="*/ 606892 w 752994"/>
                <a:gd name="connsiteY79" fmla="*/ 415688 h 1333436"/>
                <a:gd name="connsiteX80" fmla="*/ 610563 w 752994"/>
                <a:gd name="connsiteY80" fmla="*/ 412217 h 1333436"/>
                <a:gd name="connsiteX81" fmla="*/ 617920 w 752994"/>
                <a:gd name="connsiteY81" fmla="*/ 408769 h 1333436"/>
                <a:gd name="connsiteX82" fmla="*/ 624654 w 752994"/>
                <a:gd name="connsiteY82" fmla="*/ 411211 h 1333436"/>
                <a:gd name="connsiteX83" fmla="*/ 634652 w 752994"/>
                <a:gd name="connsiteY83" fmla="*/ 410182 h 1333436"/>
                <a:gd name="connsiteX84" fmla="*/ 640573 w 752994"/>
                <a:gd name="connsiteY84" fmla="*/ 407739 h 1333436"/>
                <a:gd name="connsiteX85" fmla="*/ 646711 w 752994"/>
                <a:gd name="connsiteY85" fmla="*/ 410589 h 1333436"/>
                <a:gd name="connsiteX86" fmla="*/ 650383 w 752994"/>
                <a:gd name="connsiteY86" fmla="*/ 410589 h 1333436"/>
                <a:gd name="connsiteX87" fmla="*/ 654257 w 752994"/>
                <a:gd name="connsiteY87" fmla="*/ 411618 h 1333436"/>
                <a:gd name="connsiteX88" fmla="*/ 656913 w 752994"/>
                <a:gd name="connsiteY88" fmla="*/ 413653 h 1333436"/>
                <a:gd name="connsiteX89" fmla="*/ 660802 w 752994"/>
                <a:gd name="connsiteY89" fmla="*/ 415090 h 1333436"/>
                <a:gd name="connsiteX90" fmla="*/ 669581 w 752994"/>
                <a:gd name="connsiteY90" fmla="*/ 415904 h 1333436"/>
                <a:gd name="connsiteX91" fmla="*/ 672237 w 752994"/>
                <a:gd name="connsiteY91" fmla="*/ 415688 h 1333436"/>
                <a:gd name="connsiteX92" fmla="*/ 675705 w 752994"/>
                <a:gd name="connsiteY92" fmla="*/ 409367 h 1333436"/>
                <a:gd name="connsiteX93" fmla="*/ 679986 w 752994"/>
                <a:gd name="connsiteY93" fmla="*/ 403238 h 1333436"/>
                <a:gd name="connsiteX94" fmla="*/ 693264 w 752994"/>
                <a:gd name="connsiteY94" fmla="*/ 419567 h 1333436"/>
                <a:gd name="connsiteX95" fmla="*/ 688563 w 752994"/>
                <a:gd name="connsiteY95" fmla="*/ 448321 h 1333436"/>
                <a:gd name="connsiteX96" fmla="*/ 663949 w 752994"/>
                <a:gd name="connsiteY96" fmla="*/ 590165 h 1333436"/>
                <a:gd name="connsiteX97" fmla="*/ 666304 w 752994"/>
                <a:gd name="connsiteY97" fmla="*/ 590504 h 1333436"/>
                <a:gd name="connsiteX98" fmla="*/ 655288 w 752994"/>
                <a:gd name="connsiteY98" fmla="*/ 656178 h 1333436"/>
                <a:gd name="connsiteX99" fmla="*/ 681808 w 752994"/>
                <a:gd name="connsiteY99" fmla="*/ 662301 h 1333436"/>
                <a:gd name="connsiteX100" fmla="*/ 752994 w 752994"/>
                <a:gd name="connsiteY100" fmla="*/ 675560 h 1333436"/>
                <a:gd name="connsiteX101" fmla="*/ 714651 w 752994"/>
                <a:gd name="connsiteY101" fmla="*/ 946985 h 1333436"/>
                <a:gd name="connsiteX102" fmla="*/ 654533 w 752994"/>
                <a:gd name="connsiteY102" fmla="*/ 1333436 h 1333436"/>
                <a:gd name="connsiteX103" fmla="*/ 546831 w 752994"/>
                <a:gd name="connsiteY103" fmla="*/ 1317126 h 1333436"/>
                <a:gd name="connsiteX104" fmla="*/ 351227 w 752994"/>
                <a:gd name="connsiteY104" fmla="*/ 1194172 h 1333436"/>
                <a:gd name="connsiteX105" fmla="*/ 361011 w 752994"/>
                <a:gd name="connsiteY105" fmla="*/ 1182755 h 1333436"/>
                <a:gd name="connsiteX106" fmla="*/ 368981 w 752994"/>
                <a:gd name="connsiteY106" fmla="*/ 1182130 h 1333436"/>
                <a:gd name="connsiteX107" fmla="*/ 369571 w 752994"/>
                <a:gd name="connsiteY107" fmla="*/ 1181558 h 1333436"/>
                <a:gd name="connsiteX108" fmla="*/ 362372 w 752994"/>
                <a:gd name="connsiteY108" fmla="*/ 1182120 h 1333436"/>
                <a:gd name="connsiteX109" fmla="*/ 229464 w 752994"/>
                <a:gd name="connsiteY109" fmla="*/ 1161721 h 1333436"/>
                <a:gd name="connsiteX110" fmla="*/ 227427 w 752994"/>
                <a:gd name="connsiteY110" fmla="*/ 1157269 h 1333436"/>
                <a:gd name="connsiteX111" fmla="*/ 224967 w 752994"/>
                <a:gd name="connsiteY111" fmla="*/ 1152575 h 1333436"/>
                <a:gd name="connsiteX112" fmla="*/ 225582 w 752994"/>
                <a:gd name="connsiteY112" fmla="*/ 1144808 h 1333436"/>
                <a:gd name="connsiteX113" fmla="*/ 227215 w 752994"/>
                <a:gd name="connsiteY113" fmla="*/ 1135834 h 1333436"/>
                <a:gd name="connsiteX114" fmla="*/ 227215 w 752994"/>
                <a:gd name="connsiteY114" fmla="*/ 1134212 h 1333436"/>
                <a:gd name="connsiteX115" fmla="*/ 225179 w 752994"/>
                <a:gd name="connsiteY115" fmla="*/ 1114020 h 1333436"/>
                <a:gd name="connsiteX116" fmla="*/ 217839 w 752994"/>
                <a:gd name="connsiteY116" fmla="*/ 1100352 h 1333436"/>
                <a:gd name="connsiteX117" fmla="*/ 199661 w 752994"/>
                <a:gd name="connsiteY117" fmla="*/ 1076502 h 1333436"/>
                <a:gd name="connsiteX118" fmla="*/ 196395 w 752994"/>
                <a:gd name="connsiteY118" fmla="*/ 1071807 h 1333436"/>
                <a:gd name="connsiteX119" fmla="*/ 190880 w 752994"/>
                <a:gd name="connsiteY119" fmla="*/ 1067527 h 1333436"/>
                <a:gd name="connsiteX120" fmla="*/ 187210 w 752994"/>
                <a:gd name="connsiteY120" fmla="*/ 1068735 h 1333436"/>
                <a:gd name="connsiteX121" fmla="*/ 180062 w 752994"/>
                <a:gd name="connsiteY121" fmla="*/ 1066699 h 1333436"/>
                <a:gd name="connsiteX122" fmla="*/ 180466 w 752994"/>
                <a:gd name="connsiteY122" fmla="*/ 1053031 h 1333436"/>
                <a:gd name="connsiteX123" fmla="*/ 180062 w 752994"/>
                <a:gd name="connsiteY123" fmla="*/ 1045299 h 1333436"/>
                <a:gd name="connsiteX124" fmla="*/ 174144 w 752994"/>
                <a:gd name="connsiteY124" fmla="*/ 1044057 h 1333436"/>
                <a:gd name="connsiteX125" fmla="*/ 158426 w 752994"/>
                <a:gd name="connsiteY125" fmla="*/ 1042641 h 1333436"/>
                <a:gd name="connsiteX126" fmla="*/ 149857 w 752994"/>
                <a:gd name="connsiteY126" fmla="*/ 1035497 h 1333436"/>
                <a:gd name="connsiteX127" fmla="*/ 142497 w 752994"/>
                <a:gd name="connsiteY127" fmla="*/ 1028766 h 1333436"/>
                <a:gd name="connsiteX128" fmla="*/ 140864 w 752994"/>
                <a:gd name="connsiteY128" fmla="*/ 1020620 h 1333436"/>
                <a:gd name="connsiteX129" fmla="*/ 138212 w 752994"/>
                <a:gd name="connsiteY129" fmla="*/ 1013061 h 1333436"/>
                <a:gd name="connsiteX130" fmla="*/ 131064 w 752994"/>
                <a:gd name="connsiteY130" fmla="*/ 1007159 h 1333436"/>
                <a:gd name="connsiteX131" fmla="*/ 121264 w 752994"/>
                <a:gd name="connsiteY131" fmla="*/ 1005330 h 1333436"/>
                <a:gd name="connsiteX132" fmla="*/ 112483 w 752994"/>
                <a:gd name="connsiteY132" fmla="*/ 1001671 h 1333436"/>
                <a:gd name="connsiteX133" fmla="*/ 105950 w 752994"/>
                <a:gd name="connsiteY133" fmla="*/ 995734 h 1333436"/>
                <a:gd name="connsiteX134" fmla="*/ 97380 w 752994"/>
                <a:gd name="connsiteY134" fmla="*/ 994526 h 1333436"/>
                <a:gd name="connsiteX135" fmla="*/ 87984 w 752994"/>
                <a:gd name="connsiteY135" fmla="*/ 991040 h 1333436"/>
                <a:gd name="connsiteX136" fmla="*/ 80029 w 752994"/>
                <a:gd name="connsiteY136" fmla="*/ 985138 h 1333436"/>
                <a:gd name="connsiteX137" fmla="*/ 77166 w 752994"/>
                <a:gd name="connsiteY137" fmla="*/ 976164 h 1333436"/>
                <a:gd name="connsiteX138" fmla="*/ 79203 w 752994"/>
                <a:gd name="connsiteY138" fmla="*/ 970676 h 1333436"/>
                <a:gd name="connsiteX139" fmla="*/ 82470 w 752994"/>
                <a:gd name="connsiteY139" fmla="*/ 963117 h 1333436"/>
                <a:gd name="connsiteX140" fmla="*/ 84314 w 752994"/>
                <a:gd name="connsiteY140" fmla="*/ 954557 h 1333436"/>
                <a:gd name="connsiteX141" fmla="*/ 86351 w 752994"/>
                <a:gd name="connsiteY141" fmla="*/ 948033 h 1333436"/>
                <a:gd name="connsiteX142" fmla="*/ 86159 w 752994"/>
                <a:gd name="connsiteY142" fmla="*/ 942925 h 1333436"/>
                <a:gd name="connsiteX143" fmla="*/ 83085 w 752994"/>
                <a:gd name="connsiteY143" fmla="*/ 939853 h 1333436"/>
                <a:gd name="connsiteX144" fmla="*/ 77570 w 752994"/>
                <a:gd name="connsiteY144" fmla="*/ 937437 h 1333436"/>
                <a:gd name="connsiteX145" fmla="*/ 76763 w 752994"/>
                <a:gd name="connsiteY145" fmla="*/ 931915 h 1333436"/>
                <a:gd name="connsiteX146" fmla="*/ 78800 w 752994"/>
                <a:gd name="connsiteY146" fmla="*/ 927013 h 1333436"/>
                <a:gd name="connsiteX147" fmla="*/ 79626 w 752994"/>
                <a:gd name="connsiteY147" fmla="*/ 922526 h 1333436"/>
                <a:gd name="connsiteX148" fmla="*/ 77781 w 752994"/>
                <a:gd name="connsiteY148" fmla="*/ 919903 h 1333436"/>
                <a:gd name="connsiteX149" fmla="*/ 74303 w 752994"/>
                <a:gd name="connsiteY149" fmla="*/ 917418 h 1333436"/>
                <a:gd name="connsiteX150" fmla="*/ 71863 w 752994"/>
                <a:gd name="connsiteY150" fmla="*/ 915174 h 1333436"/>
                <a:gd name="connsiteX151" fmla="*/ 71652 w 752994"/>
                <a:gd name="connsiteY151" fmla="*/ 910894 h 1333436"/>
                <a:gd name="connsiteX152" fmla="*/ 70633 w 752994"/>
                <a:gd name="connsiteY152" fmla="*/ 906614 h 1333436"/>
                <a:gd name="connsiteX153" fmla="*/ 68385 w 752994"/>
                <a:gd name="connsiteY153" fmla="*/ 902749 h 1333436"/>
                <a:gd name="connsiteX154" fmla="*/ 61045 w 752994"/>
                <a:gd name="connsiteY154" fmla="*/ 889494 h 1333436"/>
                <a:gd name="connsiteX155" fmla="*/ 57971 w 752994"/>
                <a:gd name="connsiteY155" fmla="*/ 875619 h 1333436"/>
                <a:gd name="connsiteX156" fmla="*/ 52264 w 752994"/>
                <a:gd name="connsiteY156" fmla="*/ 862572 h 1333436"/>
                <a:gd name="connsiteX157" fmla="*/ 44309 w 752994"/>
                <a:gd name="connsiteY157" fmla="*/ 850561 h 1333436"/>
                <a:gd name="connsiteX158" fmla="*/ 45520 w 752994"/>
                <a:gd name="connsiteY158" fmla="*/ 827090 h 1333436"/>
                <a:gd name="connsiteX159" fmla="*/ 53071 w 752994"/>
                <a:gd name="connsiteY159" fmla="*/ 822396 h 1333436"/>
                <a:gd name="connsiteX160" fmla="*/ 57375 w 752994"/>
                <a:gd name="connsiteY160" fmla="*/ 816493 h 1333436"/>
                <a:gd name="connsiteX161" fmla="*/ 55319 w 752994"/>
                <a:gd name="connsiteY161" fmla="*/ 801617 h 1333436"/>
                <a:gd name="connsiteX162" fmla="*/ 48383 w 752994"/>
                <a:gd name="connsiteY162" fmla="*/ 802204 h 1333436"/>
                <a:gd name="connsiteX163" fmla="*/ 40428 w 752994"/>
                <a:gd name="connsiteY163" fmla="*/ 797924 h 1333436"/>
                <a:gd name="connsiteX164" fmla="*/ 37565 w 752994"/>
                <a:gd name="connsiteY164" fmla="*/ 790606 h 1333436"/>
                <a:gd name="connsiteX165" fmla="*/ 37565 w 752994"/>
                <a:gd name="connsiteY165" fmla="*/ 790399 h 1333436"/>
                <a:gd name="connsiteX166" fmla="*/ 35931 w 752994"/>
                <a:gd name="connsiteY166" fmla="*/ 785912 h 1333436"/>
                <a:gd name="connsiteX167" fmla="*/ 34510 w 752994"/>
                <a:gd name="connsiteY167" fmla="*/ 780597 h 1333436"/>
                <a:gd name="connsiteX168" fmla="*/ 36335 w 752994"/>
                <a:gd name="connsiteY168" fmla="*/ 774280 h 1333436"/>
                <a:gd name="connsiteX169" fmla="*/ 38180 w 752994"/>
                <a:gd name="connsiteY169" fmla="*/ 766721 h 1333436"/>
                <a:gd name="connsiteX170" fmla="*/ 37161 w 752994"/>
                <a:gd name="connsiteY170" fmla="*/ 760405 h 1333436"/>
                <a:gd name="connsiteX171" fmla="*/ 35720 w 752994"/>
                <a:gd name="connsiteY171" fmla="*/ 754710 h 1333436"/>
                <a:gd name="connsiteX172" fmla="*/ 36546 w 752994"/>
                <a:gd name="connsiteY172" fmla="*/ 748773 h 1333436"/>
                <a:gd name="connsiteX173" fmla="*/ 38372 w 752994"/>
                <a:gd name="connsiteY173" fmla="*/ 744528 h 1333436"/>
                <a:gd name="connsiteX174" fmla="*/ 41638 w 752994"/>
                <a:gd name="connsiteY174" fmla="*/ 744321 h 1333436"/>
                <a:gd name="connsiteX175" fmla="*/ 44713 w 752994"/>
                <a:gd name="connsiteY175" fmla="*/ 746357 h 1333436"/>
                <a:gd name="connsiteX176" fmla="*/ 47364 w 752994"/>
                <a:gd name="connsiteY176" fmla="*/ 753260 h 1333436"/>
                <a:gd name="connsiteX177" fmla="*/ 55742 w 752994"/>
                <a:gd name="connsiteY177" fmla="*/ 764305 h 1333436"/>
                <a:gd name="connsiteX178" fmla="*/ 56338 w 752994"/>
                <a:gd name="connsiteY178" fmla="*/ 761233 h 1333436"/>
                <a:gd name="connsiteX179" fmla="*/ 56145 w 752994"/>
                <a:gd name="connsiteY179" fmla="*/ 757368 h 1333436"/>
                <a:gd name="connsiteX180" fmla="*/ 54916 w 752994"/>
                <a:gd name="connsiteY180" fmla="*/ 748601 h 1333436"/>
                <a:gd name="connsiteX181" fmla="*/ 52879 w 752994"/>
                <a:gd name="connsiteY181" fmla="*/ 747358 h 1333436"/>
                <a:gd name="connsiteX182" fmla="*/ 51649 w 752994"/>
                <a:gd name="connsiteY182" fmla="*/ 745322 h 1333436"/>
                <a:gd name="connsiteX183" fmla="*/ 51649 w 752994"/>
                <a:gd name="connsiteY183" fmla="*/ 739212 h 1333436"/>
                <a:gd name="connsiteX184" fmla="*/ 50227 w 752994"/>
                <a:gd name="connsiteY184" fmla="*/ 734725 h 1333436"/>
                <a:gd name="connsiteX185" fmla="*/ 48786 w 752994"/>
                <a:gd name="connsiteY185" fmla="*/ 731446 h 1333436"/>
                <a:gd name="connsiteX186" fmla="*/ 54512 w 752994"/>
                <a:gd name="connsiteY186" fmla="*/ 726372 h 1333436"/>
                <a:gd name="connsiteX187" fmla="*/ 59815 w 752994"/>
                <a:gd name="connsiteY187" fmla="*/ 725130 h 1333436"/>
                <a:gd name="connsiteX188" fmla="*/ 58182 w 752994"/>
                <a:gd name="connsiteY188" fmla="*/ 722886 h 1333436"/>
                <a:gd name="connsiteX189" fmla="*/ 51861 w 752994"/>
                <a:gd name="connsiteY189" fmla="*/ 717985 h 1333436"/>
                <a:gd name="connsiteX190" fmla="*/ 46749 w 752994"/>
                <a:gd name="connsiteY190" fmla="*/ 729617 h 1333436"/>
                <a:gd name="connsiteX191" fmla="*/ 40831 w 752994"/>
                <a:gd name="connsiteY191" fmla="*/ 739212 h 1333436"/>
                <a:gd name="connsiteX192" fmla="*/ 39601 w 752994"/>
                <a:gd name="connsiteY192" fmla="*/ 738798 h 1333436"/>
                <a:gd name="connsiteX193" fmla="*/ 39409 w 752994"/>
                <a:gd name="connsiteY193" fmla="*/ 738591 h 1333436"/>
                <a:gd name="connsiteX194" fmla="*/ 37161 w 752994"/>
                <a:gd name="connsiteY194" fmla="*/ 734725 h 1333436"/>
                <a:gd name="connsiteX195" fmla="*/ 32665 w 752994"/>
                <a:gd name="connsiteY195" fmla="*/ 727788 h 1333436"/>
                <a:gd name="connsiteX196" fmla="*/ 26747 w 752994"/>
                <a:gd name="connsiteY196" fmla="*/ 719435 h 1333436"/>
                <a:gd name="connsiteX197" fmla="*/ 23884 w 752994"/>
                <a:gd name="connsiteY197" fmla="*/ 717812 h 1333436"/>
                <a:gd name="connsiteX198" fmla="*/ 24710 w 752994"/>
                <a:gd name="connsiteY198" fmla="*/ 709632 h 1333436"/>
                <a:gd name="connsiteX199" fmla="*/ 27554 w 752994"/>
                <a:gd name="connsiteY199" fmla="*/ 701694 h 1333436"/>
                <a:gd name="connsiteX200" fmla="*/ 24902 w 752994"/>
                <a:gd name="connsiteY200" fmla="*/ 696171 h 1333436"/>
                <a:gd name="connsiteX201" fmla="*/ 24095 w 752994"/>
                <a:gd name="connsiteY201" fmla="*/ 687818 h 1333436"/>
                <a:gd name="connsiteX202" fmla="*/ 22462 w 752994"/>
                <a:gd name="connsiteY202" fmla="*/ 682330 h 1333436"/>
                <a:gd name="connsiteX203" fmla="*/ 17159 w 752994"/>
                <a:gd name="connsiteY203" fmla="*/ 677636 h 1333436"/>
                <a:gd name="connsiteX204" fmla="*/ 14296 w 752994"/>
                <a:gd name="connsiteY204" fmla="*/ 671492 h 1333436"/>
                <a:gd name="connsiteX205" fmla="*/ 12451 w 752994"/>
                <a:gd name="connsiteY205" fmla="*/ 665797 h 1333436"/>
                <a:gd name="connsiteX206" fmla="*/ 5111 w 752994"/>
                <a:gd name="connsiteY206" fmla="*/ 654994 h 1333436"/>
                <a:gd name="connsiteX207" fmla="*/ 2248 w 752994"/>
                <a:gd name="connsiteY207" fmla="*/ 645605 h 1333436"/>
                <a:gd name="connsiteX208" fmla="*/ 4496 w 752994"/>
                <a:gd name="connsiteY208" fmla="*/ 640497 h 1333436"/>
                <a:gd name="connsiteX209" fmla="*/ 6744 w 752994"/>
                <a:gd name="connsiteY209" fmla="*/ 632765 h 1333436"/>
                <a:gd name="connsiteX210" fmla="*/ 6744 w 752994"/>
                <a:gd name="connsiteY210" fmla="*/ 628485 h 1333436"/>
                <a:gd name="connsiteX211" fmla="*/ 6533 w 752994"/>
                <a:gd name="connsiteY211" fmla="*/ 620305 h 1333436"/>
                <a:gd name="connsiteX212" fmla="*/ 7359 w 752994"/>
                <a:gd name="connsiteY212" fmla="*/ 611745 h 1333436"/>
                <a:gd name="connsiteX213" fmla="*/ 11836 w 752994"/>
                <a:gd name="connsiteY213" fmla="*/ 602978 h 1333436"/>
                <a:gd name="connsiteX214" fmla="*/ 15103 w 752994"/>
                <a:gd name="connsiteY214" fmla="*/ 591760 h 1333436"/>
                <a:gd name="connsiteX215" fmla="*/ 14488 w 752994"/>
                <a:gd name="connsiteY215" fmla="*/ 584029 h 1333436"/>
                <a:gd name="connsiteX216" fmla="*/ 13873 w 752994"/>
                <a:gd name="connsiteY216" fmla="*/ 578299 h 1333436"/>
                <a:gd name="connsiteX217" fmla="*/ 10626 w 752994"/>
                <a:gd name="connsiteY217" fmla="*/ 568531 h 1333436"/>
                <a:gd name="connsiteX218" fmla="*/ 3670 w 752994"/>
                <a:gd name="connsiteY218" fmla="*/ 558107 h 1333436"/>
                <a:gd name="connsiteX219" fmla="*/ 0 w 752994"/>
                <a:gd name="connsiteY219" fmla="*/ 551377 h 1333436"/>
                <a:gd name="connsiteX220" fmla="*/ 0 w 752994"/>
                <a:gd name="connsiteY220" fmla="*/ 550997 h 1333436"/>
                <a:gd name="connsiteX221" fmla="*/ 4900 w 752994"/>
                <a:gd name="connsiteY221" fmla="*/ 531220 h 1333436"/>
                <a:gd name="connsiteX222" fmla="*/ 13873 w 752994"/>
                <a:gd name="connsiteY222" fmla="*/ 520589 h 1333436"/>
                <a:gd name="connsiteX223" fmla="*/ 18369 w 752994"/>
                <a:gd name="connsiteY223" fmla="*/ 516516 h 1333436"/>
                <a:gd name="connsiteX224" fmla="*/ 18773 w 752994"/>
                <a:gd name="connsiteY224" fmla="*/ 514272 h 1333436"/>
                <a:gd name="connsiteX225" fmla="*/ 23077 w 752994"/>
                <a:gd name="connsiteY225" fmla="*/ 506127 h 1333436"/>
                <a:gd name="connsiteX226" fmla="*/ 23884 w 752994"/>
                <a:gd name="connsiteY226" fmla="*/ 502261 h 1333436"/>
                <a:gd name="connsiteX227" fmla="*/ 23692 w 752994"/>
                <a:gd name="connsiteY227" fmla="*/ 496738 h 1333436"/>
                <a:gd name="connsiteX228" fmla="*/ 30013 w 752994"/>
                <a:gd name="connsiteY228" fmla="*/ 486556 h 1333436"/>
                <a:gd name="connsiteX229" fmla="*/ 36546 w 752994"/>
                <a:gd name="connsiteY229" fmla="*/ 470230 h 1333436"/>
                <a:gd name="connsiteX230" fmla="*/ 36546 w 752994"/>
                <a:gd name="connsiteY230" fmla="*/ 462671 h 1333436"/>
                <a:gd name="connsiteX231" fmla="*/ 36335 w 752994"/>
                <a:gd name="connsiteY231" fmla="*/ 461670 h 1333436"/>
                <a:gd name="connsiteX232" fmla="*/ 35931 w 752994"/>
                <a:gd name="connsiteY232" fmla="*/ 453110 h 1333436"/>
                <a:gd name="connsiteX233" fmla="*/ 38583 w 752994"/>
                <a:gd name="connsiteY233" fmla="*/ 442514 h 1333436"/>
                <a:gd name="connsiteX234" fmla="*/ 41043 w 752994"/>
                <a:gd name="connsiteY234" fmla="*/ 436991 h 1333436"/>
                <a:gd name="connsiteX235" fmla="*/ 41650 w 752994"/>
                <a:gd name="connsiteY235" fmla="*/ 437186 h 1333436"/>
                <a:gd name="connsiteX236" fmla="*/ 41239 w 752994"/>
                <a:gd name="connsiteY236" fmla="*/ 436549 h 1333436"/>
                <a:gd name="connsiteX237" fmla="*/ 37778 w 752994"/>
                <a:gd name="connsiteY237" fmla="*/ 433894 h 1333436"/>
                <a:gd name="connsiteX238" fmla="*/ 37169 w 752994"/>
                <a:gd name="connsiteY238" fmla="*/ 432261 h 1333436"/>
                <a:gd name="connsiteX239" fmla="*/ 37365 w 752994"/>
                <a:gd name="connsiteY239" fmla="*/ 429198 h 1333436"/>
                <a:gd name="connsiteX240" fmla="*/ 36756 w 752994"/>
                <a:gd name="connsiteY240" fmla="*/ 422272 h 1333436"/>
                <a:gd name="connsiteX241" fmla="*/ 36952 w 752994"/>
                <a:gd name="connsiteY241" fmla="*/ 418800 h 1333436"/>
                <a:gd name="connsiteX242" fmla="*/ 36756 w 752994"/>
                <a:gd name="connsiteY242" fmla="*/ 412487 h 1333436"/>
                <a:gd name="connsiteX243" fmla="*/ 40433 w 752994"/>
                <a:gd name="connsiteY243" fmla="*/ 406174 h 1333436"/>
                <a:gd name="connsiteX244" fmla="*/ 44720 w 752994"/>
                <a:gd name="connsiteY244" fmla="*/ 399435 h 1333436"/>
                <a:gd name="connsiteX245" fmla="*/ 44110 w 752994"/>
                <a:gd name="connsiteY245" fmla="*/ 389651 h 1333436"/>
                <a:gd name="connsiteX246" fmla="*/ 43894 w 752994"/>
                <a:gd name="connsiteY246" fmla="*/ 378437 h 1333436"/>
                <a:gd name="connsiteX247" fmla="*/ 47158 w 752994"/>
                <a:gd name="connsiteY247" fmla="*/ 371102 h 1333436"/>
                <a:gd name="connsiteX248" fmla="*/ 55731 w 752994"/>
                <a:gd name="connsiteY248" fmla="*/ 360909 h 1333436"/>
                <a:gd name="connsiteX249" fmla="*/ 57580 w 752994"/>
                <a:gd name="connsiteY249" fmla="*/ 355804 h 1333436"/>
                <a:gd name="connsiteX250" fmla="*/ 62673 w 752994"/>
                <a:gd name="connsiteY250" fmla="*/ 349695 h 1333436"/>
                <a:gd name="connsiteX251" fmla="*/ 65937 w 752994"/>
                <a:gd name="connsiteY251" fmla="*/ 348470 h 1333436"/>
                <a:gd name="connsiteX252" fmla="*/ 68395 w 752994"/>
                <a:gd name="connsiteY252" fmla="*/ 348674 h 1333436"/>
                <a:gd name="connsiteX253" fmla="*/ 70224 w 752994"/>
                <a:gd name="connsiteY253" fmla="*/ 347449 h 1333436"/>
                <a:gd name="connsiteX254" fmla="*/ 67785 w 752994"/>
                <a:gd name="connsiteY254" fmla="*/ 345203 h 1333436"/>
                <a:gd name="connsiteX255" fmla="*/ 65524 w 752994"/>
                <a:gd name="connsiteY255" fmla="*/ 343178 h 1333436"/>
                <a:gd name="connsiteX256" fmla="*/ 73095 w 752994"/>
                <a:gd name="connsiteY256" fmla="*/ 333376 h 1333436"/>
                <a:gd name="connsiteX257" fmla="*/ 73291 w 752994"/>
                <a:gd name="connsiteY257" fmla="*/ 333376 h 1333436"/>
                <a:gd name="connsiteX258" fmla="*/ 77991 w 752994"/>
                <a:gd name="connsiteY258" fmla="*/ 325838 h 1333436"/>
                <a:gd name="connsiteX259" fmla="*/ 82671 w 752994"/>
                <a:gd name="connsiteY259" fmla="*/ 313619 h 1333436"/>
                <a:gd name="connsiteX260" fmla="*/ 87980 w 752994"/>
                <a:gd name="connsiteY260" fmla="*/ 303018 h 1333436"/>
                <a:gd name="connsiteX261" fmla="*/ 92267 w 752994"/>
                <a:gd name="connsiteY261" fmla="*/ 291191 h 1333436"/>
                <a:gd name="connsiteX262" fmla="*/ 96553 w 752994"/>
                <a:gd name="connsiteY262" fmla="*/ 281202 h 1333436"/>
                <a:gd name="connsiteX263" fmla="*/ 99621 w 752994"/>
                <a:gd name="connsiteY263" fmla="*/ 274481 h 1333436"/>
                <a:gd name="connsiteX264" fmla="*/ 103082 w 752994"/>
                <a:gd name="connsiteY264" fmla="*/ 262450 h 1333436"/>
                <a:gd name="connsiteX265" fmla="*/ 107172 w 752994"/>
                <a:gd name="connsiteY265" fmla="*/ 254299 h 1333436"/>
                <a:gd name="connsiteX266" fmla="*/ 112481 w 752994"/>
                <a:gd name="connsiteY266" fmla="*/ 243697 h 1333436"/>
                <a:gd name="connsiteX267" fmla="*/ 117181 w 752994"/>
                <a:gd name="connsiteY267" fmla="*/ 232279 h 1333436"/>
                <a:gd name="connsiteX268" fmla="*/ 125951 w 752994"/>
                <a:gd name="connsiteY268" fmla="*/ 217389 h 1333436"/>
                <a:gd name="connsiteX269" fmla="*/ 136156 w 752994"/>
                <a:gd name="connsiteY269" fmla="*/ 202925 h 1333436"/>
                <a:gd name="connsiteX270" fmla="*/ 138811 w 752994"/>
                <a:gd name="connsiteY270" fmla="*/ 183339 h 1333436"/>
                <a:gd name="connsiteX271" fmla="*/ 148801 w 752994"/>
                <a:gd name="connsiteY271" fmla="*/ 167445 h 1333436"/>
                <a:gd name="connsiteX272" fmla="*/ 159616 w 752994"/>
                <a:gd name="connsiteY272" fmla="*/ 170712 h 1333436"/>
                <a:gd name="connsiteX273" fmla="*/ 173105 w 752994"/>
                <a:gd name="connsiteY273" fmla="*/ 175188 h 1333436"/>
                <a:gd name="connsiteX274" fmla="*/ 175347 w 752994"/>
                <a:gd name="connsiteY274" fmla="*/ 175188 h 1333436"/>
                <a:gd name="connsiteX275" fmla="*/ 175347 w 752994"/>
                <a:gd name="connsiteY275" fmla="*/ 173758 h 1333436"/>
                <a:gd name="connsiteX276" fmla="*/ 184975 w 752994"/>
                <a:gd name="connsiteY276" fmla="*/ 187393 h 1333436"/>
                <a:gd name="connsiteX277" fmla="*/ 184762 w 752994"/>
                <a:gd name="connsiteY277" fmla="*/ 184637 h 1333436"/>
                <a:gd name="connsiteX278" fmla="*/ 174971 w 752994"/>
                <a:gd name="connsiteY278" fmla="*/ 170774 h 1333436"/>
                <a:gd name="connsiteX279" fmla="*/ 174971 w 752994"/>
                <a:gd name="connsiteY279" fmla="*/ 169550 h 1333436"/>
                <a:gd name="connsiteX280" fmla="*/ 158851 w 752994"/>
                <a:gd name="connsiteY280" fmla="*/ 156924 h 1333436"/>
                <a:gd name="connsiteX281" fmla="*/ 147025 w 752994"/>
                <a:gd name="connsiteY281" fmla="*/ 145709 h 1333436"/>
                <a:gd name="connsiteX282" fmla="*/ 154364 w 752994"/>
                <a:gd name="connsiteY282" fmla="*/ 136335 h 1333436"/>
                <a:gd name="connsiteX283" fmla="*/ 161511 w 752994"/>
                <a:gd name="connsiteY283" fmla="*/ 131042 h 1333436"/>
                <a:gd name="connsiteX284" fmla="*/ 160902 w 752994"/>
                <a:gd name="connsiteY284" fmla="*/ 128384 h 1333436"/>
                <a:gd name="connsiteX285" fmla="*/ 160277 w 752994"/>
                <a:gd name="connsiteY285" fmla="*/ 127778 h 1333436"/>
                <a:gd name="connsiteX286" fmla="*/ 154973 w 752994"/>
                <a:gd name="connsiteY286" fmla="*/ 122077 h 1333436"/>
                <a:gd name="connsiteX287" fmla="*/ 160277 w 752994"/>
                <a:gd name="connsiteY287" fmla="*/ 115140 h 1333436"/>
                <a:gd name="connsiteX288" fmla="*/ 165181 w 752994"/>
                <a:gd name="connsiteY288" fmla="*/ 108215 h 1333436"/>
                <a:gd name="connsiteX289" fmla="*/ 161303 w 752994"/>
                <a:gd name="connsiteY289" fmla="*/ 104146 h 1333436"/>
                <a:gd name="connsiteX290" fmla="*/ 157842 w 752994"/>
                <a:gd name="connsiteY290" fmla="*/ 104542 h 1333436"/>
                <a:gd name="connsiteX291" fmla="*/ 157024 w 752994"/>
                <a:gd name="connsiteY291" fmla="*/ 102304 h 1333436"/>
                <a:gd name="connsiteX292" fmla="*/ 160694 w 752994"/>
                <a:gd name="connsiteY292" fmla="*/ 55437 h 1333436"/>
                <a:gd name="connsiteX293" fmla="*/ 160486 w 752994"/>
                <a:gd name="connsiteY293" fmla="*/ 31991 h 1333436"/>
                <a:gd name="connsiteX294" fmla="*/ 164972 w 752994"/>
                <a:gd name="connsiteY294" fmla="*/ 18141 h 1333436"/>
                <a:gd name="connsiteX295" fmla="*/ 171911 w 752994"/>
                <a:gd name="connsiteY295" fmla="*/ 11204 h 1333436"/>
                <a:gd name="connsiteX296" fmla="*/ 187406 w 752994"/>
                <a:gd name="connsiteY296" fmla="*/ 21801 h 1333436"/>
                <a:gd name="connsiteX297" fmla="*/ 210866 w 752994"/>
                <a:gd name="connsiteY297" fmla="*/ 37086 h 1333436"/>
                <a:gd name="connsiteX298" fmla="*/ 219230 w 752994"/>
                <a:gd name="connsiteY298" fmla="*/ 41166 h 1333436"/>
                <a:gd name="connsiteX299" fmla="*/ 226778 w 752994"/>
                <a:gd name="connsiteY299" fmla="*/ 47486 h 1333436"/>
                <a:gd name="connsiteX300" fmla="*/ 236152 w 752994"/>
                <a:gd name="connsiteY300" fmla="*/ 52370 h 1333436"/>
                <a:gd name="connsiteX301" fmla="*/ 239629 w 752994"/>
                <a:gd name="connsiteY301" fmla="*/ 58491 h 1333436"/>
                <a:gd name="connsiteX302" fmla="*/ 239629 w 752994"/>
                <a:gd name="connsiteY302" fmla="*/ 63376 h 1333436"/>
                <a:gd name="connsiteX303" fmla="*/ 236568 w 752994"/>
                <a:gd name="connsiteY303" fmla="*/ 67457 h 1333436"/>
                <a:gd name="connsiteX304" fmla="*/ 231264 w 752994"/>
                <a:gd name="connsiteY304" fmla="*/ 69905 h 1333436"/>
                <a:gd name="connsiteX305" fmla="*/ 216778 w 752994"/>
                <a:gd name="connsiteY305" fmla="*/ 82741 h 1333436"/>
                <a:gd name="connsiteX306" fmla="*/ 214134 w 752994"/>
                <a:gd name="connsiteY306" fmla="*/ 93536 h 1333436"/>
                <a:gd name="connsiteX307" fmla="*/ 214535 w 752994"/>
                <a:gd name="connsiteY307" fmla="*/ 96801 h 1333436"/>
                <a:gd name="connsiteX308" fmla="*/ 216378 w 752994"/>
                <a:gd name="connsiteY308" fmla="*/ 96801 h 1333436"/>
                <a:gd name="connsiteX309" fmla="*/ 230046 w 752994"/>
                <a:gd name="connsiteY309" fmla="*/ 85387 h 1333436"/>
                <a:gd name="connsiteX310" fmla="*/ 243298 w 752994"/>
                <a:gd name="connsiteY310" fmla="*/ 75198 h 1333436"/>
                <a:gd name="connsiteX311" fmla="*/ 246760 w 752994"/>
                <a:gd name="connsiteY311" fmla="*/ 77646 h 1333436"/>
                <a:gd name="connsiteX312" fmla="*/ 255541 w 752994"/>
                <a:gd name="connsiteY312" fmla="*/ 63376 h 1333436"/>
                <a:gd name="connsiteX313" fmla="*/ 259611 w 752994"/>
                <a:gd name="connsiteY313" fmla="*/ 43405 h 1333436"/>
                <a:gd name="connsiteX314" fmla="*/ 256967 w 752994"/>
                <a:gd name="connsiteY314" fmla="*/ 38520 h 1333436"/>
                <a:gd name="connsiteX315" fmla="*/ 253906 w 752994"/>
                <a:gd name="connsiteY315" fmla="*/ 34242 h 1333436"/>
                <a:gd name="connsiteX316" fmla="*/ 256967 w 752994"/>
                <a:gd name="connsiteY316" fmla="*/ 30161 h 1333436"/>
                <a:gd name="connsiteX317" fmla="*/ 262063 w 752994"/>
                <a:gd name="connsiteY317" fmla="*/ 27712 h 1333436"/>
                <a:gd name="connsiteX318" fmla="*/ 264915 w 752994"/>
                <a:gd name="connsiteY318" fmla="*/ 23026 h 1333436"/>
                <a:gd name="connsiteX319" fmla="*/ 267976 w 752994"/>
                <a:gd name="connsiteY319" fmla="*/ 22618 h 1333436"/>
                <a:gd name="connsiteX320" fmla="*/ 270427 w 752994"/>
                <a:gd name="connsiteY320" fmla="*/ 20787 h 1333436"/>
                <a:gd name="connsiteX321" fmla="*/ 263088 w 752994"/>
                <a:gd name="connsiteY321" fmla="*/ 13652 h 1333436"/>
                <a:gd name="connsiteX322" fmla="*/ 255541 w 752994"/>
                <a:gd name="connsiteY322" fmla="*/ 3055 h 1333436"/>
                <a:gd name="connsiteX323" fmla="*/ 256358 w 752994"/>
                <a:gd name="connsiteY323" fmla="*/ 1224 h 1333436"/>
                <a:gd name="connsiteX324" fmla="*/ 257159 w 752994"/>
                <a:gd name="connsiteY324"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33523 w 752994"/>
                <a:gd name="connsiteY21" fmla="*/ 243289 h 1333436"/>
                <a:gd name="connsiteX22" fmla="*/ 348428 w 752994"/>
                <a:gd name="connsiteY22" fmla="*/ 250011 h 1333436"/>
                <a:gd name="connsiteX23" fmla="*/ 351279 w 752994"/>
                <a:gd name="connsiteY23" fmla="*/ 247356 h 1333436"/>
                <a:gd name="connsiteX24" fmla="*/ 355566 w 752994"/>
                <a:gd name="connsiteY24" fmla="*/ 244293 h 1333436"/>
                <a:gd name="connsiteX25" fmla="*/ 280827 w 752994"/>
                <a:gd name="connsiteY25" fmla="*/ 242720 h 1333436"/>
                <a:gd name="connsiteX26" fmla="*/ 247994 w 752994"/>
                <a:gd name="connsiteY26" fmla="*/ 241693 h 1333436"/>
                <a:gd name="connsiteX27" fmla="*/ 235142 w 752994"/>
                <a:gd name="connsiteY27" fmla="*/ 229476 h 1333436"/>
                <a:gd name="connsiteX28" fmla="*/ 195162 w 752994"/>
                <a:gd name="connsiteY28" fmla="*/ 228857 h 1333436"/>
                <a:gd name="connsiteX29" fmla="*/ 188223 w 752994"/>
                <a:gd name="connsiteY29" fmla="*/ 223973 h 1333436"/>
                <a:gd name="connsiteX30" fmla="*/ 185163 w 752994"/>
                <a:gd name="connsiteY30" fmla="*/ 219484 h 1333436"/>
                <a:gd name="connsiteX31" fmla="*/ 184180 w 752994"/>
                <a:gd name="connsiteY31" fmla="*/ 213866 h 1333436"/>
                <a:gd name="connsiteX32" fmla="*/ 257159 w 752994"/>
                <a:gd name="connsiteY32" fmla="*/ 0 h 1333436"/>
                <a:gd name="connsiteX33" fmla="*/ 493147 w 752994"/>
                <a:gd name="connsiteY33" fmla="*/ 73157 h 1333436"/>
                <a:gd name="connsiteX34" fmla="*/ 492970 w 752994"/>
                <a:gd name="connsiteY34" fmla="*/ 73792 h 1333436"/>
                <a:gd name="connsiteX35" fmla="*/ 525816 w 752994"/>
                <a:gd name="connsiteY35" fmla="*/ 82491 h 1333436"/>
                <a:gd name="connsiteX36" fmla="*/ 520098 w 752994"/>
                <a:gd name="connsiteY36" fmla="*/ 111245 h 1333436"/>
                <a:gd name="connsiteX37" fmla="*/ 512552 w 752994"/>
                <a:gd name="connsiteY37" fmla="*/ 143854 h 1333436"/>
                <a:gd name="connsiteX38" fmla="*/ 517849 w 752994"/>
                <a:gd name="connsiteY38" fmla="*/ 157740 h 1333436"/>
                <a:gd name="connsiteX39" fmla="*/ 523160 w 752994"/>
                <a:gd name="connsiteY39" fmla="*/ 172009 h 1333436"/>
                <a:gd name="connsiteX40" fmla="*/ 521535 w 752994"/>
                <a:gd name="connsiteY40" fmla="*/ 178928 h 1333436"/>
                <a:gd name="connsiteX41" fmla="*/ 520098 w 752994"/>
                <a:gd name="connsiteY41" fmla="*/ 186279 h 1333436"/>
                <a:gd name="connsiteX42" fmla="*/ 526019 w 752994"/>
                <a:gd name="connsiteY42" fmla="*/ 193629 h 1333436"/>
                <a:gd name="connsiteX43" fmla="*/ 537251 w 752994"/>
                <a:gd name="connsiteY43" fmla="*/ 206270 h 1333436"/>
                <a:gd name="connsiteX44" fmla="*/ 542765 w 752994"/>
                <a:gd name="connsiteY44" fmla="*/ 217475 h 1333436"/>
                <a:gd name="connsiteX45" fmla="*/ 546857 w 752994"/>
                <a:gd name="connsiteY45" fmla="*/ 230930 h 1333436"/>
                <a:gd name="connsiteX46" fmla="*/ 549499 w 752994"/>
                <a:gd name="connsiteY46" fmla="*/ 235622 h 1333436"/>
                <a:gd name="connsiteX47" fmla="*/ 553388 w 752994"/>
                <a:gd name="connsiteY47" fmla="*/ 240722 h 1333436"/>
                <a:gd name="connsiteX48" fmla="*/ 557465 w 752994"/>
                <a:gd name="connsiteY48" fmla="*/ 246037 h 1333436"/>
                <a:gd name="connsiteX49" fmla="*/ 561761 w 752994"/>
                <a:gd name="connsiteY49" fmla="*/ 248671 h 1333436"/>
                <a:gd name="connsiteX50" fmla="*/ 567478 w 752994"/>
                <a:gd name="connsiteY50" fmla="*/ 247665 h 1333436"/>
                <a:gd name="connsiteX51" fmla="*/ 569931 w 752994"/>
                <a:gd name="connsiteY51" fmla="*/ 249293 h 1333436"/>
                <a:gd name="connsiteX52" fmla="*/ 570540 w 752994"/>
                <a:gd name="connsiteY52" fmla="*/ 251951 h 1333436"/>
                <a:gd name="connsiteX53" fmla="*/ 561964 w 752994"/>
                <a:gd name="connsiteY53" fmla="*/ 267656 h 1333436"/>
                <a:gd name="connsiteX54" fmla="*/ 553591 w 752994"/>
                <a:gd name="connsiteY54" fmla="*/ 289659 h 1333436"/>
                <a:gd name="connsiteX55" fmla="*/ 554810 w 752994"/>
                <a:gd name="connsiteY55" fmla="*/ 292939 h 1333436"/>
                <a:gd name="connsiteX56" fmla="*/ 556246 w 752994"/>
                <a:gd name="connsiteY56" fmla="*/ 299260 h 1333436"/>
                <a:gd name="connsiteX57" fmla="*/ 552778 w 752994"/>
                <a:gd name="connsiteY57" fmla="*/ 301917 h 1333436"/>
                <a:gd name="connsiteX58" fmla="*/ 549295 w 752994"/>
                <a:gd name="connsiteY58" fmla="*/ 306993 h 1333436"/>
                <a:gd name="connsiteX59" fmla="*/ 547061 w 752994"/>
                <a:gd name="connsiteY59" fmla="*/ 313122 h 1333436"/>
                <a:gd name="connsiteX60" fmla="*/ 544811 w 752994"/>
                <a:gd name="connsiteY60" fmla="*/ 316593 h 1333436"/>
                <a:gd name="connsiteX61" fmla="*/ 549919 w 752994"/>
                <a:gd name="connsiteY61" fmla="*/ 322698 h 1333436"/>
                <a:gd name="connsiteX62" fmla="*/ 553184 w 752994"/>
                <a:gd name="connsiteY62" fmla="*/ 325955 h 1333436"/>
                <a:gd name="connsiteX63" fmla="*/ 555840 w 752994"/>
                <a:gd name="connsiteY63" fmla="*/ 328205 h 1333436"/>
                <a:gd name="connsiteX64" fmla="*/ 574212 w 752994"/>
                <a:gd name="connsiteY64" fmla="*/ 318820 h 1333436"/>
                <a:gd name="connsiteX65" fmla="*/ 579523 w 752994"/>
                <a:gd name="connsiteY65" fmla="*/ 326577 h 1333436"/>
                <a:gd name="connsiteX66" fmla="*/ 580539 w 752994"/>
                <a:gd name="connsiteY66" fmla="*/ 334933 h 1333436"/>
                <a:gd name="connsiteX67" fmla="*/ 579726 w 752994"/>
                <a:gd name="connsiteY67" fmla="*/ 343097 h 1333436"/>
                <a:gd name="connsiteX68" fmla="*/ 581366 w 752994"/>
                <a:gd name="connsiteY68" fmla="*/ 350231 h 1333436"/>
                <a:gd name="connsiteX69" fmla="*/ 586256 w 752994"/>
                <a:gd name="connsiteY69" fmla="*/ 355930 h 1333436"/>
                <a:gd name="connsiteX70" fmla="*/ 589536 w 752994"/>
                <a:gd name="connsiteY70" fmla="*/ 362059 h 1333436"/>
                <a:gd name="connsiteX71" fmla="*/ 588099 w 752994"/>
                <a:gd name="connsiteY71" fmla="*/ 369600 h 1333436"/>
                <a:gd name="connsiteX72" fmla="*/ 586459 w 752994"/>
                <a:gd name="connsiteY72" fmla="*/ 377357 h 1333436"/>
                <a:gd name="connsiteX73" fmla="*/ 588709 w 752994"/>
                <a:gd name="connsiteY73" fmla="*/ 381835 h 1333436"/>
                <a:gd name="connsiteX74" fmla="*/ 595036 w 752994"/>
                <a:gd name="connsiteY74" fmla="*/ 382457 h 1333436"/>
                <a:gd name="connsiteX75" fmla="*/ 599331 w 752994"/>
                <a:gd name="connsiteY75" fmla="*/ 385306 h 1333436"/>
                <a:gd name="connsiteX76" fmla="*/ 601987 w 752994"/>
                <a:gd name="connsiteY76" fmla="*/ 391004 h 1333436"/>
                <a:gd name="connsiteX77" fmla="*/ 602799 w 752994"/>
                <a:gd name="connsiteY77" fmla="*/ 404076 h 1333436"/>
                <a:gd name="connsiteX78" fmla="*/ 606892 w 752994"/>
                <a:gd name="connsiteY78" fmla="*/ 415688 h 1333436"/>
                <a:gd name="connsiteX79" fmla="*/ 610563 w 752994"/>
                <a:gd name="connsiteY79" fmla="*/ 412217 h 1333436"/>
                <a:gd name="connsiteX80" fmla="*/ 617920 w 752994"/>
                <a:gd name="connsiteY80" fmla="*/ 408769 h 1333436"/>
                <a:gd name="connsiteX81" fmla="*/ 624654 w 752994"/>
                <a:gd name="connsiteY81" fmla="*/ 411211 h 1333436"/>
                <a:gd name="connsiteX82" fmla="*/ 634652 w 752994"/>
                <a:gd name="connsiteY82" fmla="*/ 410182 h 1333436"/>
                <a:gd name="connsiteX83" fmla="*/ 640573 w 752994"/>
                <a:gd name="connsiteY83" fmla="*/ 407739 h 1333436"/>
                <a:gd name="connsiteX84" fmla="*/ 646711 w 752994"/>
                <a:gd name="connsiteY84" fmla="*/ 410589 h 1333436"/>
                <a:gd name="connsiteX85" fmla="*/ 650383 w 752994"/>
                <a:gd name="connsiteY85" fmla="*/ 410589 h 1333436"/>
                <a:gd name="connsiteX86" fmla="*/ 654257 w 752994"/>
                <a:gd name="connsiteY86" fmla="*/ 411618 h 1333436"/>
                <a:gd name="connsiteX87" fmla="*/ 656913 w 752994"/>
                <a:gd name="connsiteY87" fmla="*/ 413653 h 1333436"/>
                <a:gd name="connsiteX88" fmla="*/ 660802 w 752994"/>
                <a:gd name="connsiteY88" fmla="*/ 415090 h 1333436"/>
                <a:gd name="connsiteX89" fmla="*/ 669581 w 752994"/>
                <a:gd name="connsiteY89" fmla="*/ 415904 h 1333436"/>
                <a:gd name="connsiteX90" fmla="*/ 672237 w 752994"/>
                <a:gd name="connsiteY90" fmla="*/ 415688 h 1333436"/>
                <a:gd name="connsiteX91" fmla="*/ 675705 w 752994"/>
                <a:gd name="connsiteY91" fmla="*/ 409367 h 1333436"/>
                <a:gd name="connsiteX92" fmla="*/ 679986 w 752994"/>
                <a:gd name="connsiteY92" fmla="*/ 403238 h 1333436"/>
                <a:gd name="connsiteX93" fmla="*/ 693264 w 752994"/>
                <a:gd name="connsiteY93" fmla="*/ 419567 h 1333436"/>
                <a:gd name="connsiteX94" fmla="*/ 688563 w 752994"/>
                <a:gd name="connsiteY94" fmla="*/ 448321 h 1333436"/>
                <a:gd name="connsiteX95" fmla="*/ 663949 w 752994"/>
                <a:gd name="connsiteY95" fmla="*/ 590165 h 1333436"/>
                <a:gd name="connsiteX96" fmla="*/ 666304 w 752994"/>
                <a:gd name="connsiteY96" fmla="*/ 590504 h 1333436"/>
                <a:gd name="connsiteX97" fmla="*/ 655288 w 752994"/>
                <a:gd name="connsiteY97" fmla="*/ 656178 h 1333436"/>
                <a:gd name="connsiteX98" fmla="*/ 681808 w 752994"/>
                <a:gd name="connsiteY98" fmla="*/ 662301 h 1333436"/>
                <a:gd name="connsiteX99" fmla="*/ 752994 w 752994"/>
                <a:gd name="connsiteY99" fmla="*/ 675560 h 1333436"/>
                <a:gd name="connsiteX100" fmla="*/ 714651 w 752994"/>
                <a:gd name="connsiteY100" fmla="*/ 946985 h 1333436"/>
                <a:gd name="connsiteX101" fmla="*/ 654533 w 752994"/>
                <a:gd name="connsiteY101" fmla="*/ 1333436 h 1333436"/>
                <a:gd name="connsiteX102" fmla="*/ 546831 w 752994"/>
                <a:gd name="connsiteY102" fmla="*/ 1317126 h 1333436"/>
                <a:gd name="connsiteX103" fmla="*/ 351227 w 752994"/>
                <a:gd name="connsiteY103" fmla="*/ 1194172 h 1333436"/>
                <a:gd name="connsiteX104" fmla="*/ 361011 w 752994"/>
                <a:gd name="connsiteY104" fmla="*/ 1182755 h 1333436"/>
                <a:gd name="connsiteX105" fmla="*/ 368981 w 752994"/>
                <a:gd name="connsiteY105" fmla="*/ 1182130 h 1333436"/>
                <a:gd name="connsiteX106" fmla="*/ 369571 w 752994"/>
                <a:gd name="connsiteY106" fmla="*/ 1181558 h 1333436"/>
                <a:gd name="connsiteX107" fmla="*/ 362372 w 752994"/>
                <a:gd name="connsiteY107" fmla="*/ 1182120 h 1333436"/>
                <a:gd name="connsiteX108" fmla="*/ 229464 w 752994"/>
                <a:gd name="connsiteY108" fmla="*/ 1161721 h 1333436"/>
                <a:gd name="connsiteX109" fmla="*/ 227427 w 752994"/>
                <a:gd name="connsiteY109" fmla="*/ 1157269 h 1333436"/>
                <a:gd name="connsiteX110" fmla="*/ 224967 w 752994"/>
                <a:gd name="connsiteY110" fmla="*/ 1152575 h 1333436"/>
                <a:gd name="connsiteX111" fmla="*/ 225582 w 752994"/>
                <a:gd name="connsiteY111" fmla="*/ 1144808 h 1333436"/>
                <a:gd name="connsiteX112" fmla="*/ 227215 w 752994"/>
                <a:gd name="connsiteY112" fmla="*/ 1135834 h 1333436"/>
                <a:gd name="connsiteX113" fmla="*/ 227215 w 752994"/>
                <a:gd name="connsiteY113" fmla="*/ 1134212 h 1333436"/>
                <a:gd name="connsiteX114" fmla="*/ 225179 w 752994"/>
                <a:gd name="connsiteY114" fmla="*/ 1114020 h 1333436"/>
                <a:gd name="connsiteX115" fmla="*/ 217839 w 752994"/>
                <a:gd name="connsiteY115" fmla="*/ 1100352 h 1333436"/>
                <a:gd name="connsiteX116" fmla="*/ 199661 w 752994"/>
                <a:gd name="connsiteY116" fmla="*/ 1076502 h 1333436"/>
                <a:gd name="connsiteX117" fmla="*/ 196395 w 752994"/>
                <a:gd name="connsiteY117" fmla="*/ 1071807 h 1333436"/>
                <a:gd name="connsiteX118" fmla="*/ 190880 w 752994"/>
                <a:gd name="connsiteY118" fmla="*/ 1067527 h 1333436"/>
                <a:gd name="connsiteX119" fmla="*/ 187210 w 752994"/>
                <a:gd name="connsiteY119" fmla="*/ 1068735 h 1333436"/>
                <a:gd name="connsiteX120" fmla="*/ 180062 w 752994"/>
                <a:gd name="connsiteY120" fmla="*/ 1066699 h 1333436"/>
                <a:gd name="connsiteX121" fmla="*/ 180466 w 752994"/>
                <a:gd name="connsiteY121" fmla="*/ 1053031 h 1333436"/>
                <a:gd name="connsiteX122" fmla="*/ 180062 w 752994"/>
                <a:gd name="connsiteY122" fmla="*/ 1045299 h 1333436"/>
                <a:gd name="connsiteX123" fmla="*/ 174144 w 752994"/>
                <a:gd name="connsiteY123" fmla="*/ 1044057 h 1333436"/>
                <a:gd name="connsiteX124" fmla="*/ 158426 w 752994"/>
                <a:gd name="connsiteY124" fmla="*/ 1042641 h 1333436"/>
                <a:gd name="connsiteX125" fmla="*/ 149857 w 752994"/>
                <a:gd name="connsiteY125" fmla="*/ 1035497 h 1333436"/>
                <a:gd name="connsiteX126" fmla="*/ 142497 w 752994"/>
                <a:gd name="connsiteY126" fmla="*/ 1028766 h 1333436"/>
                <a:gd name="connsiteX127" fmla="*/ 140864 w 752994"/>
                <a:gd name="connsiteY127" fmla="*/ 1020620 h 1333436"/>
                <a:gd name="connsiteX128" fmla="*/ 138212 w 752994"/>
                <a:gd name="connsiteY128" fmla="*/ 1013061 h 1333436"/>
                <a:gd name="connsiteX129" fmla="*/ 131064 w 752994"/>
                <a:gd name="connsiteY129" fmla="*/ 1007159 h 1333436"/>
                <a:gd name="connsiteX130" fmla="*/ 121264 w 752994"/>
                <a:gd name="connsiteY130" fmla="*/ 1005330 h 1333436"/>
                <a:gd name="connsiteX131" fmla="*/ 112483 w 752994"/>
                <a:gd name="connsiteY131" fmla="*/ 1001671 h 1333436"/>
                <a:gd name="connsiteX132" fmla="*/ 105950 w 752994"/>
                <a:gd name="connsiteY132" fmla="*/ 995734 h 1333436"/>
                <a:gd name="connsiteX133" fmla="*/ 97380 w 752994"/>
                <a:gd name="connsiteY133" fmla="*/ 994526 h 1333436"/>
                <a:gd name="connsiteX134" fmla="*/ 87984 w 752994"/>
                <a:gd name="connsiteY134" fmla="*/ 991040 h 1333436"/>
                <a:gd name="connsiteX135" fmla="*/ 80029 w 752994"/>
                <a:gd name="connsiteY135" fmla="*/ 985138 h 1333436"/>
                <a:gd name="connsiteX136" fmla="*/ 77166 w 752994"/>
                <a:gd name="connsiteY136" fmla="*/ 976164 h 1333436"/>
                <a:gd name="connsiteX137" fmla="*/ 79203 w 752994"/>
                <a:gd name="connsiteY137" fmla="*/ 970676 h 1333436"/>
                <a:gd name="connsiteX138" fmla="*/ 82470 w 752994"/>
                <a:gd name="connsiteY138" fmla="*/ 963117 h 1333436"/>
                <a:gd name="connsiteX139" fmla="*/ 84314 w 752994"/>
                <a:gd name="connsiteY139" fmla="*/ 954557 h 1333436"/>
                <a:gd name="connsiteX140" fmla="*/ 86351 w 752994"/>
                <a:gd name="connsiteY140" fmla="*/ 948033 h 1333436"/>
                <a:gd name="connsiteX141" fmla="*/ 86159 w 752994"/>
                <a:gd name="connsiteY141" fmla="*/ 942925 h 1333436"/>
                <a:gd name="connsiteX142" fmla="*/ 83085 w 752994"/>
                <a:gd name="connsiteY142" fmla="*/ 939853 h 1333436"/>
                <a:gd name="connsiteX143" fmla="*/ 77570 w 752994"/>
                <a:gd name="connsiteY143" fmla="*/ 937437 h 1333436"/>
                <a:gd name="connsiteX144" fmla="*/ 76763 w 752994"/>
                <a:gd name="connsiteY144" fmla="*/ 931915 h 1333436"/>
                <a:gd name="connsiteX145" fmla="*/ 78800 w 752994"/>
                <a:gd name="connsiteY145" fmla="*/ 927013 h 1333436"/>
                <a:gd name="connsiteX146" fmla="*/ 79626 w 752994"/>
                <a:gd name="connsiteY146" fmla="*/ 922526 h 1333436"/>
                <a:gd name="connsiteX147" fmla="*/ 77781 w 752994"/>
                <a:gd name="connsiteY147" fmla="*/ 919903 h 1333436"/>
                <a:gd name="connsiteX148" fmla="*/ 74303 w 752994"/>
                <a:gd name="connsiteY148" fmla="*/ 917418 h 1333436"/>
                <a:gd name="connsiteX149" fmla="*/ 71863 w 752994"/>
                <a:gd name="connsiteY149" fmla="*/ 915174 h 1333436"/>
                <a:gd name="connsiteX150" fmla="*/ 71652 w 752994"/>
                <a:gd name="connsiteY150" fmla="*/ 910894 h 1333436"/>
                <a:gd name="connsiteX151" fmla="*/ 70633 w 752994"/>
                <a:gd name="connsiteY151" fmla="*/ 906614 h 1333436"/>
                <a:gd name="connsiteX152" fmla="*/ 68385 w 752994"/>
                <a:gd name="connsiteY152" fmla="*/ 902749 h 1333436"/>
                <a:gd name="connsiteX153" fmla="*/ 61045 w 752994"/>
                <a:gd name="connsiteY153" fmla="*/ 889494 h 1333436"/>
                <a:gd name="connsiteX154" fmla="*/ 57971 w 752994"/>
                <a:gd name="connsiteY154" fmla="*/ 875619 h 1333436"/>
                <a:gd name="connsiteX155" fmla="*/ 52264 w 752994"/>
                <a:gd name="connsiteY155" fmla="*/ 862572 h 1333436"/>
                <a:gd name="connsiteX156" fmla="*/ 44309 w 752994"/>
                <a:gd name="connsiteY156" fmla="*/ 850561 h 1333436"/>
                <a:gd name="connsiteX157" fmla="*/ 45520 w 752994"/>
                <a:gd name="connsiteY157" fmla="*/ 827090 h 1333436"/>
                <a:gd name="connsiteX158" fmla="*/ 53071 w 752994"/>
                <a:gd name="connsiteY158" fmla="*/ 822396 h 1333436"/>
                <a:gd name="connsiteX159" fmla="*/ 57375 w 752994"/>
                <a:gd name="connsiteY159" fmla="*/ 816493 h 1333436"/>
                <a:gd name="connsiteX160" fmla="*/ 55319 w 752994"/>
                <a:gd name="connsiteY160" fmla="*/ 801617 h 1333436"/>
                <a:gd name="connsiteX161" fmla="*/ 48383 w 752994"/>
                <a:gd name="connsiteY161" fmla="*/ 802204 h 1333436"/>
                <a:gd name="connsiteX162" fmla="*/ 40428 w 752994"/>
                <a:gd name="connsiteY162" fmla="*/ 797924 h 1333436"/>
                <a:gd name="connsiteX163" fmla="*/ 37565 w 752994"/>
                <a:gd name="connsiteY163" fmla="*/ 790606 h 1333436"/>
                <a:gd name="connsiteX164" fmla="*/ 37565 w 752994"/>
                <a:gd name="connsiteY164" fmla="*/ 790399 h 1333436"/>
                <a:gd name="connsiteX165" fmla="*/ 35931 w 752994"/>
                <a:gd name="connsiteY165" fmla="*/ 785912 h 1333436"/>
                <a:gd name="connsiteX166" fmla="*/ 34510 w 752994"/>
                <a:gd name="connsiteY166" fmla="*/ 780597 h 1333436"/>
                <a:gd name="connsiteX167" fmla="*/ 36335 w 752994"/>
                <a:gd name="connsiteY167" fmla="*/ 774280 h 1333436"/>
                <a:gd name="connsiteX168" fmla="*/ 38180 w 752994"/>
                <a:gd name="connsiteY168" fmla="*/ 766721 h 1333436"/>
                <a:gd name="connsiteX169" fmla="*/ 37161 w 752994"/>
                <a:gd name="connsiteY169" fmla="*/ 760405 h 1333436"/>
                <a:gd name="connsiteX170" fmla="*/ 35720 w 752994"/>
                <a:gd name="connsiteY170" fmla="*/ 754710 h 1333436"/>
                <a:gd name="connsiteX171" fmla="*/ 36546 w 752994"/>
                <a:gd name="connsiteY171" fmla="*/ 748773 h 1333436"/>
                <a:gd name="connsiteX172" fmla="*/ 38372 w 752994"/>
                <a:gd name="connsiteY172" fmla="*/ 744528 h 1333436"/>
                <a:gd name="connsiteX173" fmla="*/ 41638 w 752994"/>
                <a:gd name="connsiteY173" fmla="*/ 744321 h 1333436"/>
                <a:gd name="connsiteX174" fmla="*/ 44713 w 752994"/>
                <a:gd name="connsiteY174" fmla="*/ 746357 h 1333436"/>
                <a:gd name="connsiteX175" fmla="*/ 47364 w 752994"/>
                <a:gd name="connsiteY175" fmla="*/ 753260 h 1333436"/>
                <a:gd name="connsiteX176" fmla="*/ 55742 w 752994"/>
                <a:gd name="connsiteY176" fmla="*/ 764305 h 1333436"/>
                <a:gd name="connsiteX177" fmla="*/ 56338 w 752994"/>
                <a:gd name="connsiteY177" fmla="*/ 761233 h 1333436"/>
                <a:gd name="connsiteX178" fmla="*/ 56145 w 752994"/>
                <a:gd name="connsiteY178" fmla="*/ 757368 h 1333436"/>
                <a:gd name="connsiteX179" fmla="*/ 54916 w 752994"/>
                <a:gd name="connsiteY179" fmla="*/ 748601 h 1333436"/>
                <a:gd name="connsiteX180" fmla="*/ 52879 w 752994"/>
                <a:gd name="connsiteY180" fmla="*/ 747358 h 1333436"/>
                <a:gd name="connsiteX181" fmla="*/ 51649 w 752994"/>
                <a:gd name="connsiteY181" fmla="*/ 745322 h 1333436"/>
                <a:gd name="connsiteX182" fmla="*/ 51649 w 752994"/>
                <a:gd name="connsiteY182" fmla="*/ 739212 h 1333436"/>
                <a:gd name="connsiteX183" fmla="*/ 50227 w 752994"/>
                <a:gd name="connsiteY183" fmla="*/ 734725 h 1333436"/>
                <a:gd name="connsiteX184" fmla="*/ 48786 w 752994"/>
                <a:gd name="connsiteY184" fmla="*/ 731446 h 1333436"/>
                <a:gd name="connsiteX185" fmla="*/ 54512 w 752994"/>
                <a:gd name="connsiteY185" fmla="*/ 726372 h 1333436"/>
                <a:gd name="connsiteX186" fmla="*/ 59815 w 752994"/>
                <a:gd name="connsiteY186" fmla="*/ 725130 h 1333436"/>
                <a:gd name="connsiteX187" fmla="*/ 58182 w 752994"/>
                <a:gd name="connsiteY187" fmla="*/ 722886 h 1333436"/>
                <a:gd name="connsiteX188" fmla="*/ 51861 w 752994"/>
                <a:gd name="connsiteY188" fmla="*/ 717985 h 1333436"/>
                <a:gd name="connsiteX189" fmla="*/ 46749 w 752994"/>
                <a:gd name="connsiteY189" fmla="*/ 729617 h 1333436"/>
                <a:gd name="connsiteX190" fmla="*/ 40831 w 752994"/>
                <a:gd name="connsiteY190" fmla="*/ 739212 h 1333436"/>
                <a:gd name="connsiteX191" fmla="*/ 39601 w 752994"/>
                <a:gd name="connsiteY191" fmla="*/ 738798 h 1333436"/>
                <a:gd name="connsiteX192" fmla="*/ 39409 w 752994"/>
                <a:gd name="connsiteY192" fmla="*/ 738591 h 1333436"/>
                <a:gd name="connsiteX193" fmla="*/ 37161 w 752994"/>
                <a:gd name="connsiteY193" fmla="*/ 734725 h 1333436"/>
                <a:gd name="connsiteX194" fmla="*/ 32665 w 752994"/>
                <a:gd name="connsiteY194" fmla="*/ 727788 h 1333436"/>
                <a:gd name="connsiteX195" fmla="*/ 26747 w 752994"/>
                <a:gd name="connsiteY195" fmla="*/ 719435 h 1333436"/>
                <a:gd name="connsiteX196" fmla="*/ 23884 w 752994"/>
                <a:gd name="connsiteY196" fmla="*/ 717812 h 1333436"/>
                <a:gd name="connsiteX197" fmla="*/ 24710 w 752994"/>
                <a:gd name="connsiteY197" fmla="*/ 709632 h 1333436"/>
                <a:gd name="connsiteX198" fmla="*/ 27554 w 752994"/>
                <a:gd name="connsiteY198" fmla="*/ 701694 h 1333436"/>
                <a:gd name="connsiteX199" fmla="*/ 24902 w 752994"/>
                <a:gd name="connsiteY199" fmla="*/ 696171 h 1333436"/>
                <a:gd name="connsiteX200" fmla="*/ 24095 w 752994"/>
                <a:gd name="connsiteY200" fmla="*/ 687818 h 1333436"/>
                <a:gd name="connsiteX201" fmla="*/ 22462 w 752994"/>
                <a:gd name="connsiteY201" fmla="*/ 682330 h 1333436"/>
                <a:gd name="connsiteX202" fmla="*/ 17159 w 752994"/>
                <a:gd name="connsiteY202" fmla="*/ 677636 h 1333436"/>
                <a:gd name="connsiteX203" fmla="*/ 14296 w 752994"/>
                <a:gd name="connsiteY203" fmla="*/ 671492 h 1333436"/>
                <a:gd name="connsiteX204" fmla="*/ 12451 w 752994"/>
                <a:gd name="connsiteY204" fmla="*/ 665797 h 1333436"/>
                <a:gd name="connsiteX205" fmla="*/ 5111 w 752994"/>
                <a:gd name="connsiteY205" fmla="*/ 654994 h 1333436"/>
                <a:gd name="connsiteX206" fmla="*/ 2248 w 752994"/>
                <a:gd name="connsiteY206" fmla="*/ 645605 h 1333436"/>
                <a:gd name="connsiteX207" fmla="*/ 4496 w 752994"/>
                <a:gd name="connsiteY207" fmla="*/ 640497 h 1333436"/>
                <a:gd name="connsiteX208" fmla="*/ 6744 w 752994"/>
                <a:gd name="connsiteY208" fmla="*/ 632765 h 1333436"/>
                <a:gd name="connsiteX209" fmla="*/ 6744 w 752994"/>
                <a:gd name="connsiteY209" fmla="*/ 628485 h 1333436"/>
                <a:gd name="connsiteX210" fmla="*/ 6533 w 752994"/>
                <a:gd name="connsiteY210" fmla="*/ 620305 h 1333436"/>
                <a:gd name="connsiteX211" fmla="*/ 7359 w 752994"/>
                <a:gd name="connsiteY211" fmla="*/ 611745 h 1333436"/>
                <a:gd name="connsiteX212" fmla="*/ 11836 w 752994"/>
                <a:gd name="connsiteY212" fmla="*/ 602978 h 1333436"/>
                <a:gd name="connsiteX213" fmla="*/ 15103 w 752994"/>
                <a:gd name="connsiteY213" fmla="*/ 591760 h 1333436"/>
                <a:gd name="connsiteX214" fmla="*/ 14488 w 752994"/>
                <a:gd name="connsiteY214" fmla="*/ 584029 h 1333436"/>
                <a:gd name="connsiteX215" fmla="*/ 13873 w 752994"/>
                <a:gd name="connsiteY215" fmla="*/ 578299 h 1333436"/>
                <a:gd name="connsiteX216" fmla="*/ 10626 w 752994"/>
                <a:gd name="connsiteY216" fmla="*/ 568531 h 1333436"/>
                <a:gd name="connsiteX217" fmla="*/ 3670 w 752994"/>
                <a:gd name="connsiteY217" fmla="*/ 558107 h 1333436"/>
                <a:gd name="connsiteX218" fmla="*/ 0 w 752994"/>
                <a:gd name="connsiteY218" fmla="*/ 551377 h 1333436"/>
                <a:gd name="connsiteX219" fmla="*/ 0 w 752994"/>
                <a:gd name="connsiteY219" fmla="*/ 550997 h 1333436"/>
                <a:gd name="connsiteX220" fmla="*/ 4900 w 752994"/>
                <a:gd name="connsiteY220" fmla="*/ 531220 h 1333436"/>
                <a:gd name="connsiteX221" fmla="*/ 13873 w 752994"/>
                <a:gd name="connsiteY221" fmla="*/ 520589 h 1333436"/>
                <a:gd name="connsiteX222" fmla="*/ 18369 w 752994"/>
                <a:gd name="connsiteY222" fmla="*/ 516516 h 1333436"/>
                <a:gd name="connsiteX223" fmla="*/ 18773 w 752994"/>
                <a:gd name="connsiteY223" fmla="*/ 514272 h 1333436"/>
                <a:gd name="connsiteX224" fmla="*/ 23077 w 752994"/>
                <a:gd name="connsiteY224" fmla="*/ 506127 h 1333436"/>
                <a:gd name="connsiteX225" fmla="*/ 23884 w 752994"/>
                <a:gd name="connsiteY225" fmla="*/ 502261 h 1333436"/>
                <a:gd name="connsiteX226" fmla="*/ 23692 w 752994"/>
                <a:gd name="connsiteY226" fmla="*/ 496738 h 1333436"/>
                <a:gd name="connsiteX227" fmla="*/ 30013 w 752994"/>
                <a:gd name="connsiteY227" fmla="*/ 486556 h 1333436"/>
                <a:gd name="connsiteX228" fmla="*/ 36546 w 752994"/>
                <a:gd name="connsiteY228" fmla="*/ 470230 h 1333436"/>
                <a:gd name="connsiteX229" fmla="*/ 36546 w 752994"/>
                <a:gd name="connsiteY229" fmla="*/ 462671 h 1333436"/>
                <a:gd name="connsiteX230" fmla="*/ 36335 w 752994"/>
                <a:gd name="connsiteY230" fmla="*/ 461670 h 1333436"/>
                <a:gd name="connsiteX231" fmla="*/ 35931 w 752994"/>
                <a:gd name="connsiteY231" fmla="*/ 453110 h 1333436"/>
                <a:gd name="connsiteX232" fmla="*/ 38583 w 752994"/>
                <a:gd name="connsiteY232" fmla="*/ 442514 h 1333436"/>
                <a:gd name="connsiteX233" fmla="*/ 41043 w 752994"/>
                <a:gd name="connsiteY233" fmla="*/ 436991 h 1333436"/>
                <a:gd name="connsiteX234" fmla="*/ 41650 w 752994"/>
                <a:gd name="connsiteY234" fmla="*/ 437186 h 1333436"/>
                <a:gd name="connsiteX235" fmla="*/ 41239 w 752994"/>
                <a:gd name="connsiteY235" fmla="*/ 436549 h 1333436"/>
                <a:gd name="connsiteX236" fmla="*/ 37778 w 752994"/>
                <a:gd name="connsiteY236" fmla="*/ 433894 h 1333436"/>
                <a:gd name="connsiteX237" fmla="*/ 37169 w 752994"/>
                <a:gd name="connsiteY237" fmla="*/ 432261 h 1333436"/>
                <a:gd name="connsiteX238" fmla="*/ 37365 w 752994"/>
                <a:gd name="connsiteY238" fmla="*/ 429198 h 1333436"/>
                <a:gd name="connsiteX239" fmla="*/ 36756 w 752994"/>
                <a:gd name="connsiteY239" fmla="*/ 422272 h 1333436"/>
                <a:gd name="connsiteX240" fmla="*/ 36952 w 752994"/>
                <a:gd name="connsiteY240" fmla="*/ 418800 h 1333436"/>
                <a:gd name="connsiteX241" fmla="*/ 36756 w 752994"/>
                <a:gd name="connsiteY241" fmla="*/ 412487 h 1333436"/>
                <a:gd name="connsiteX242" fmla="*/ 40433 w 752994"/>
                <a:gd name="connsiteY242" fmla="*/ 406174 h 1333436"/>
                <a:gd name="connsiteX243" fmla="*/ 44720 w 752994"/>
                <a:gd name="connsiteY243" fmla="*/ 399435 h 1333436"/>
                <a:gd name="connsiteX244" fmla="*/ 44110 w 752994"/>
                <a:gd name="connsiteY244" fmla="*/ 389651 h 1333436"/>
                <a:gd name="connsiteX245" fmla="*/ 43894 w 752994"/>
                <a:gd name="connsiteY245" fmla="*/ 378437 h 1333436"/>
                <a:gd name="connsiteX246" fmla="*/ 47158 w 752994"/>
                <a:gd name="connsiteY246" fmla="*/ 371102 h 1333436"/>
                <a:gd name="connsiteX247" fmla="*/ 55731 w 752994"/>
                <a:gd name="connsiteY247" fmla="*/ 360909 h 1333436"/>
                <a:gd name="connsiteX248" fmla="*/ 57580 w 752994"/>
                <a:gd name="connsiteY248" fmla="*/ 355804 h 1333436"/>
                <a:gd name="connsiteX249" fmla="*/ 62673 w 752994"/>
                <a:gd name="connsiteY249" fmla="*/ 349695 h 1333436"/>
                <a:gd name="connsiteX250" fmla="*/ 65937 w 752994"/>
                <a:gd name="connsiteY250" fmla="*/ 348470 h 1333436"/>
                <a:gd name="connsiteX251" fmla="*/ 68395 w 752994"/>
                <a:gd name="connsiteY251" fmla="*/ 348674 h 1333436"/>
                <a:gd name="connsiteX252" fmla="*/ 70224 w 752994"/>
                <a:gd name="connsiteY252" fmla="*/ 347449 h 1333436"/>
                <a:gd name="connsiteX253" fmla="*/ 67785 w 752994"/>
                <a:gd name="connsiteY253" fmla="*/ 345203 h 1333436"/>
                <a:gd name="connsiteX254" fmla="*/ 65524 w 752994"/>
                <a:gd name="connsiteY254" fmla="*/ 343178 h 1333436"/>
                <a:gd name="connsiteX255" fmla="*/ 73095 w 752994"/>
                <a:gd name="connsiteY255" fmla="*/ 333376 h 1333436"/>
                <a:gd name="connsiteX256" fmla="*/ 73291 w 752994"/>
                <a:gd name="connsiteY256" fmla="*/ 333376 h 1333436"/>
                <a:gd name="connsiteX257" fmla="*/ 77991 w 752994"/>
                <a:gd name="connsiteY257" fmla="*/ 325838 h 1333436"/>
                <a:gd name="connsiteX258" fmla="*/ 82671 w 752994"/>
                <a:gd name="connsiteY258" fmla="*/ 313619 h 1333436"/>
                <a:gd name="connsiteX259" fmla="*/ 87980 w 752994"/>
                <a:gd name="connsiteY259" fmla="*/ 303018 h 1333436"/>
                <a:gd name="connsiteX260" fmla="*/ 92267 w 752994"/>
                <a:gd name="connsiteY260" fmla="*/ 291191 h 1333436"/>
                <a:gd name="connsiteX261" fmla="*/ 96553 w 752994"/>
                <a:gd name="connsiteY261" fmla="*/ 281202 h 1333436"/>
                <a:gd name="connsiteX262" fmla="*/ 99621 w 752994"/>
                <a:gd name="connsiteY262" fmla="*/ 274481 h 1333436"/>
                <a:gd name="connsiteX263" fmla="*/ 103082 w 752994"/>
                <a:gd name="connsiteY263" fmla="*/ 262450 h 1333436"/>
                <a:gd name="connsiteX264" fmla="*/ 107172 w 752994"/>
                <a:gd name="connsiteY264" fmla="*/ 254299 h 1333436"/>
                <a:gd name="connsiteX265" fmla="*/ 112481 w 752994"/>
                <a:gd name="connsiteY265" fmla="*/ 243697 h 1333436"/>
                <a:gd name="connsiteX266" fmla="*/ 117181 w 752994"/>
                <a:gd name="connsiteY266" fmla="*/ 232279 h 1333436"/>
                <a:gd name="connsiteX267" fmla="*/ 125951 w 752994"/>
                <a:gd name="connsiteY267" fmla="*/ 217389 h 1333436"/>
                <a:gd name="connsiteX268" fmla="*/ 136156 w 752994"/>
                <a:gd name="connsiteY268" fmla="*/ 202925 h 1333436"/>
                <a:gd name="connsiteX269" fmla="*/ 138811 w 752994"/>
                <a:gd name="connsiteY269" fmla="*/ 183339 h 1333436"/>
                <a:gd name="connsiteX270" fmla="*/ 148801 w 752994"/>
                <a:gd name="connsiteY270" fmla="*/ 167445 h 1333436"/>
                <a:gd name="connsiteX271" fmla="*/ 159616 w 752994"/>
                <a:gd name="connsiteY271" fmla="*/ 170712 h 1333436"/>
                <a:gd name="connsiteX272" fmla="*/ 173105 w 752994"/>
                <a:gd name="connsiteY272" fmla="*/ 175188 h 1333436"/>
                <a:gd name="connsiteX273" fmla="*/ 175347 w 752994"/>
                <a:gd name="connsiteY273" fmla="*/ 175188 h 1333436"/>
                <a:gd name="connsiteX274" fmla="*/ 175347 w 752994"/>
                <a:gd name="connsiteY274" fmla="*/ 173758 h 1333436"/>
                <a:gd name="connsiteX275" fmla="*/ 184975 w 752994"/>
                <a:gd name="connsiteY275" fmla="*/ 187393 h 1333436"/>
                <a:gd name="connsiteX276" fmla="*/ 184762 w 752994"/>
                <a:gd name="connsiteY276" fmla="*/ 184637 h 1333436"/>
                <a:gd name="connsiteX277" fmla="*/ 174971 w 752994"/>
                <a:gd name="connsiteY277" fmla="*/ 170774 h 1333436"/>
                <a:gd name="connsiteX278" fmla="*/ 174971 w 752994"/>
                <a:gd name="connsiteY278" fmla="*/ 169550 h 1333436"/>
                <a:gd name="connsiteX279" fmla="*/ 158851 w 752994"/>
                <a:gd name="connsiteY279" fmla="*/ 156924 h 1333436"/>
                <a:gd name="connsiteX280" fmla="*/ 147025 w 752994"/>
                <a:gd name="connsiteY280" fmla="*/ 145709 h 1333436"/>
                <a:gd name="connsiteX281" fmla="*/ 154364 w 752994"/>
                <a:gd name="connsiteY281" fmla="*/ 136335 h 1333436"/>
                <a:gd name="connsiteX282" fmla="*/ 161511 w 752994"/>
                <a:gd name="connsiteY282" fmla="*/ 131042 h 1333436"/>
                <a:gd name="connsiteX283" fmla="*/ 160902 w 752994"/>
                <a:gd name="connsiteY283" fmla="*/ 128384 h 1333436"/>
                <a:gd name="connsiteX284" fmla="*/ 160277 w 752994"/>
                <a:gd name="connsiteY284" fmla="*/ 127778 h 1333436"/>
                <a:gd name="connsiteX285" fmla="*/ 154973 w 752994"/>
                <a:gd name="connsiteY285" fmla="*/ 122077 h 1333436"/>
                <a:gd name="connsiteX286" fmla="*/ 160277 w 752994"/>
                <a:gd name="connsiteY286" fmla="*/ 115140 h 1333436"/>
                <a:gd name="connsiteX287" fmla="*/ 165181 w 752994"/>
                <a:gd name="connsiteY287" fmla="*/ 108215 h 1333436"/>
                <a:gd name="connsiteX288" fmla="*/ 161303 w 752994"/>
                <a:gd name="connsiteY288" fmla="*/ 104146 h 1333436"/>
                <a:gd name="connsiteX289" fmla="*/ 157842 w 752994"/>
                <a:gd name="connsiteY289" fmla="*/ 104542 h 1333436"/>
                <a:gd name="connsiteX290" fmla="*/ 157024 w 752994"/>
                <a:gd name="connsiteY290" fmla="*/ 102304 h 1333436"/>
                <a:gd name="connsiteX291" fmla="*/ 160694 w 752994"/>
                <a:gd name="connsiteY291" fmla="*/ 55437 h 1333436"/>
                <a:gd name="connsiteX292" fmla="*/ 160486 w 752994"/>
                <a:gd name="connsiteY292" fmla="*/ 31991 h 1333436"/>
                <a:gd name="connsiteX293" fmla="*/ 164972 w 752994"/>
                <a:gd name="connsiteY293" fmla="*/ 18141 h 1333436"/>
                <a:gd name="connsiteX294" fmla="*/ 171911 w 752994"/>
                <a:gd name="connsiteY294" fmla="*/ 11204 h 1333436"/>
                <a:gd name="connsiteX295" fmla="*/ 187406 w 752994"/>
                <a:gd name="connsiteY295" fmla="*/ 21801 h 1333436"/>
                <a:gd name="connsiteX296" fmla="*/ 210866 w 752994"/>
                <a:gd name="connsiteY296" fmla="*/ 37086 h 1333436"/>
                <a:gd name="connsiteX297" fmla="*/ 219230 w 752994"/>
                <a:gd name="connsiteY297" fmla="*/ 41166 h 1333436"/>
                <a:gd name="connsiteX298" fmla="*/ 226778 w 752994"/>
                <a:gd name="connsiteY298" fmla="*/ 47486 h 1333436"/>
                <a:gd name="connsiteX299" fmla="*/ 236152 w 752994"/>
                <a:gd name="connsiteY299" fmla="*/ 52370 h 1333436"/>
                <a:gd name="connsiteX300" fmla="*/ 239629 w 752994"/>
                <a:gd name="connsiteY300" fmla="*/ 58491 h 1333436"/>
                <a:gd name="connsiteX301" fmla="*/ 239629 w 752994"/>
                <a:gd name="connsiteY301" fmla="*/ 63376 h 1333436"/>
                <a:gd name="connsiteX302" fmla="*/ 236568 w 752994"/>
                <a:gd name="connsiteY302" fmla="*/ 67457 h 1333436"/>
                <a:gd name="connsiteX303" fmla="*/ 231264 w 752994"/>
                <a:gd name="connsiteY303" fmla="*/ 69905 h 1333436"/>
                <a:gd name="connsiteX304" fmla="*/ 216778 w 752994"/>
                <a:gd name="connsiteY304" fmla="*/ 82741 h 1333436"/>
                <a:gd name="connsiteX305" fmla="*/ 214134 w 752994"/>
                <a:gd name="connsiteY305" fmla="*/ 93536 h 1333436"/>
                <a:gd name="connsiteX306" fmla="*/ 214535 w 752994"/>
                <a:gd name="connsiteY306" fmla="*/ 96801 h 1333436"/>
                <a:gd name="connsiteX307" fmla="*/ 216378 w 752994"/>
                <a:gd name="connsiteY307" fmla="*/ 96801 h 1333436"/>
                <a:gd name="connsiteX308" fmla="*/ 230046 w 752994"/>
                <a:gd name="connsiteY308" fmla="*/ 85387 h 1333436"/>
                <a:gd name="connsiteX309" fmla="*/ 243298 w 752994"/>
                <a:gd name="connsiteY309" fmla="*/ 75198 h 1333436"/>
                <a:gd name="connsiteX310" fmla="*/ 246760 w 752994"/>
                <a:gd name="connsiteY310" fmla="*/ 77646 h 1333436"/>
                <a:gd name="connsiteX311" fmla="*/ 255541 w 752994"/>
                <a:gd name="connsiteY311" fmla="*/ 63376 h 1333436"/>
                <a:gd name="connsiteX312" fmla="*/ 259611 w 752994"/>
                <a:gd name="connsiteY312" fmla="*/ 43405 h 1333436"/>
                <a:gd name="connsiteX313" fmla="*/ 256967 w 752994"/>
                <a:gd name="connsiteY313" fmla="*/ 38520 h 1333436"/>
                <a:gd name="connsiteX314" fmla="*/ 253906 w 752994"/>
                <a:gd name="connsiteY314" fmla="*/ 34242 h 1333436"/>
                <a:gd name="connsiteX315" fmla="*/ 256967 w 752994"/>
                <a:gd name="connsiteY315" fmla="*/ 30161 h 1333436"/>
                <a:gd name="connsiteX316" fmla="*/ 262063 w 752994"/>
                <a:gd name="connsiteY316" fmla="*/ 27712 h 1333436"/>
                <a:gd name="connsiteX317" fmla="*/ 264915 w 752994"/>
                <a:gd name="connsiteY317" fmla="*/ 23026 h 1333436"/>
                <a:gd name="connsiteX318" fmla="*/ 267976 w 752994"/>
                <a:gd name="connsiteY318" fmla="*/ 22618 h 1333436"/>
                <a:gd name="connsiteX319" fmla="*/ 270427 w 752994"/>
                <a:gd name="connsiteY319" fmla="*/ 20787 h 1333436"/>
                <a:gd name="connsiteX320" fmla="*/ 263088 w 752994"/>
                <a:gd name="connsiteY320" fmla="*/ 13652 h 1333436"/>
                <a:gd name="connsiteX321" fmla="*/ 255541 w 752994"/>
                <a:gd name="connsiteY321" fmla="*/ 3055 h 1333436"/>
                <a:gd name="connsiteX322" fmla="*/ 256358 w 752994"/>
                <a:gd name="connsiteY322" fmla="*/ 1224 h 1333436"/>
                <a:gd name="connsiteX323" fmla="*/ 257159 w 752994"/>
                <a:gd name="connsiteY323"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48428 w 752994"/>
                <a:gd name="connsiteY21" fmla="*/ 250011 h 1333436"/>
                <a:gd name="connsiteX22" fmla="*/ 351279 w 752994"/>
                <a:gd name="connsiteY22" fmla="*/ 247356 h 1333436"/>
                <a:gd name="connsiteX23" fmla="*/ 355566 w 752994"/>
                <a:gd name="connsiteY23" fmla="*/ 244293 h 1333436"/>
                <a:gd name="connsiteX24" fmla="*/ 280827 w 752994"/>
                <a:gd name="connsiteY24" fmla="*/ 242720 h 1333436"/>
                <a:gd name="connsiteX25" fmla="*/ 247994 w 752994"/>
                <a:gd name="connsiteY25" fmla="*/ 241693 h 1333436"/>
                <a:gd name="connsiteX26" fmla="*/ 235142 w 752994"/>
                <a:gd name="connsiteY26" fmla="*/ 229476 h 1333436"/>
                <a:gd name="connsiteX27" fmla="*/ 195162 w 752994"/>
                <a:gd name="connsiteY27" fmla="*/ 228857 h 1333436"/>
                <a:gd name="connsiteX28" fmla="*/ 188223 w 752994"/>
                <a:gd name="connsiteY28" fmla="*/ 223973 h 1333436"/>
                <a:gd name="connsiteX29" fmla="*/ 185163 w 752994"/>
                <a:gd name="connsiteY29" fmla="*/ 219484 h 1333436"/>
                <a:gd name="connsiteX30" fmla="*/ 184180 w 752994"/>
                <a:gd name="connsiteY30" fmla="*/ 213866 h 1333436"/>
                <a:gd name="connsiteX31" fmla="*/ 257159 w 752994"/>
                <a:gd name="connsiteY31" fmla="*/ 0 h 1333436"/>
                <a:gd name="connsiteX32" fmla="*/ 493147 w 752994"/>
                <a:gd name="connsiteY32" fmla="*/ 73157 h 1333436"/>
                <a:gd name="connsiteX33" fmla="*/ 492970 w 752994"/>
                <a:gd name="connsiteY33" fmla="*/ 73792 h 1333436"/>
                <a:gd name="connsiteX34" fmla="*/ 525816 w 752994"/>
                <a:gd name="connsiteY34" fmla="*/ 82491 h 1333436"/>
                <a:gd name="connsiteX35" fmla="*/ 520098 w 752994"/>
                <a:gd name="connsiteY35" fmla="*/ 111245 h 1333436"/>
                <a:gd name="connsiteX36" fmla="*/ 512552 w 752994"/>
                <a:gd name="connsiteY36" fmla="*/ 143854 h 1333436"/>
                <a:gd name="connsiteX37" fmla="*/ 517849 w 752994"/>
                <a:gd name="connsiteY37" fmla="*/ 157740 h 1333436"/>
                <a:gd name="connsiteX38" fmla="*/ 523160 w 752994"/>
                <a:gd name="connsiteY38" fmla="*/ 172009 h 1333436"/>
                <a:gd name="connsiteX39" fmla="*/ 521535 w 752994"/>
                <a:gd name="connsiteY39" fmla="*/ 178928 h 1333436"/>
                <a:gd name="connsiteX40" fmla="*/ 520098 w 752994"/>
                <a:gd name="connsiteY40" fmla="*/ 186279 h 1333436"/>
                <a:gd name="connsiteX41" fmla="*/ 526019 w 752994"/>
                <a:gd name="connsiteY41" fmla="*/ 193629 h 1333436"/>
                <a:gd name="connsiteX42" fmla="*/ 537251 w 752994"/>
                <a:gd name="connsiteY42" fmla="*/ 206270 h 1333436"/>
                <a:gd name="connsiteX43" fmla="*/ 542765 w 752994"/>
                <a:gd name="connsiteY43" fmla="*/ 217475 h 1333436"/>
                <a:gd name="connsiteX44" fmla="*/ 546857 w 752994"/>
                <a:gd name="connsiteY44" fmla="*/ 230930 h 1333436"/>
                <a:gd name="connsiteX45" fmla="*/ 549499 w 752994"/>
                <a:gd name="connsiteY45" fmla="*/ 235622 h 1333436"/>
                <a:gd name="connsiteX46" fmla="*/ 553388 w 752994"/>
                <a:gd name="connsiteY46" fmla="*/ 240722 h 1333436"/>
                <a:gd name="connsiteX47" fmla="*/ 557465 w 752994"/>
                <a:gd name="connsiteY47" fmla="*/ 246037 h 1333436"/>
                <a:gd name="connsiteX48" fmla="*/ 561761 w 752994"/>
                <a:gd name="connsiteY48" fmla="*/ 248671 h 1333436"/>
                <a:gd name="connsiteX49" fmla="*/ 567478 w 752994"/>
                <a:gd name="connsiteY49" fmla="*/ 247665 h 1333436"/>
                <a:gd name="connsiteX50" fmla="*/ 569931 w 752994"/>
                <a:gd name="connsiteY50" fmla="*/ 249293 h 1333436"/>
                <a:gd name="connsiteX51" fmla="*/ 570540 w 752994"/>
                <a:gd name="connsiteY51" fmla="*/ 251951 h 1333436"/>
                <a:gd name="connsiteX52" fmla="*/ 561964 w 752994"/>
                <a:gd name="connsiteY52" fmla="*/ 267656 h 1333436"/>
                <a:gd name="connsiteX53" fmla="*/ 553591 w 752994"/>
                <a:gd name="connsiteY53" fmla="*/ 289659 h 1333436"/>
                <a:gd name="connsiteX54" fmla="*/ 554810 w 752994"/>
                <a:gd name="connsiteY54" fmla="*/ 292939 h 1333436"/>
                <a:gd name="connsiteX55" fmla="*/ 556246 w 752994"/>
                <a:gd name="connsiteY55" fmla="*/ 299260 h 1333436"/>
                <a:gd name="connsiteX56" fmla="*/ 552778 w 752994"/>
                <a:gd name="connsiteY56" fmla="*/ 301917 h 1333436"/>
                <a:gd name="connsiteX57" fmla="*/ 549295 w 752994"/>
                <a:gd name="connsiteY57" fmla="*/ 306993 h 1333436"/>
                <a:gd name="connsiteX58" fmla="*/ 547061 w 752994"/>
                <a:gd name="connsiteY58" fmla="*/ 313122 h 1333436"/>
                <a:gd name="connsiteX59" fmla="*/ 544811 w 752994"/>
                <a:gd name="connsiteY59" fmla="*/ 316593 h 1333436"/>
                <a:gd name="connsiteX60" fmla="*/ 549919 w 752994"/>
                <a:gd name="connsiteY60" fmla="*/ 322698 h 1333436"/>
                <a:gd name="connsiteX61" fmla="*/ 553184 w 752994"/>
                <a:gd name="connsiteY61" fmla="*/ 325955 h 1333436"/>
                <a:gd name="connsiteX62" fmla="*/ 555840 w 752994"/>
                <a:gd name="connsiteY62" fmla="*/ 328205 h 1333436"/>
                <a:gd name="connsiteX63" fmla="*/ 574212 w 752994"/>
                <a:gd name="connsiteY63" fmla="*/ 318820 h 1333436"/>
                <a:gd name="connsiteX64" fmla="*/ 579523 w 752994"/>
                <a:gd name="connsiteY64" fmla="*/ 326577 h 1333436"/>
                <a:gd name="connsiteX65" fmla="*/ 580539 w 752994"/>
                <a:gd name="connsiteY65" fmla="*/ 334933 h 1333436"/>
                <a:gd name="connsiteX66" fmla="*/ 579726 w 752994"/>
                <a:gd name="connsiteY66" fmla="*/ 343097 h 1333436"/>
                <a:gd name="connsiteX67" fmla="*/ 581366 w 752994"/>
                <a:gd name="connsiteY67" fmla="*/ 350231 h 1333436"/>
                <a:gd name="connsiteX68" fmla="*/ 586256 w 752994"/>
                <a:gd name="connsiteY68" fmla="*/ 355930 h 1333436"/>
                <a:gd name="connsiteX69" fmla="*/ 589536 w 752994"/>
                <a:gd name="connsiteY69" fmla="*/ 362059 h 1333436"/>
                <a:gd name="connsiteX70" fmla="*/ 588099 w 752994"/>
                <a:gd name="connsiteY70" fmla="*/ 369600 h 1333436"/>
                <a:gd name="connsiteX71" fmla="*/ 586459 w 752994"/>
                <a:gd name="connsiteY71" fmla="*/ 377357 h 1333436"/>
                <a:gd name="connsiteX72" fmla="*/ 588709 w 752994"/>
                <a:gd name="connsiteY72" fmla="*/ 381835 h 1333436"/>
                <a:gd name="connsiteX73" fmla="*/ 595036 w 752994"/>
                <a:gd name="connsiteY73" fmla="*/ 382457 h 1333436"/>
                <a:gd name="connsiteX74" fmla="*/ 599331 w 752994"/>
                <a:gd name="connsiteY74" fmla="*/ 385306 h 1333436"/>
                <a:gd name="connsiteX75" fmla="*/ 601987 w 752994"/>
                <a:gd name="connsiteY75" fmla="*/ 391004 h 1333436"/>
                <a:gd name="connsiteX76" fmla="*/ 602799 w 752994"/>
                <a:gd name="connsiteY76" fmla="*/ 404076 h 1333436"/>
                <a:gd name="connsiteX77" fmla="*/ 606892 w 752994"/>
                <a:gd name="connsiteY77" fmla="*/ 415688 h 1333436"/>
                <a:gd name="connsiteX78" fmla="*/ 610563 w 752994"/>
                <a:gd name="connsiteY78" fmla="*/ 412217 h 1333436"/>
                <a:gd name="connsiteX79" fmla="*/ 617920 w 752994"/>
                <a:gd name="connsiteY79" fmla="*/ 408769 h 1333436"/>
                <a:gd name="connsiteX80" fmla="*/ 624654 w 752994"/>
                <a:gd name="connsiteY80" fmla="*/ 411211 h 1333436"/>
                <a:gd name="connsiteX81" fmla="*/ 634652 w 752994"/>
                <a:gd name="connsiteY81" fmla="*/ 410182 h 1333436"/>
                <a:gd name="connsiteX82" fmla="*/ 640573 w 752994"/>
                <a:gd name="connsiteY82" fmla="*/ 407739 h 1333436"/>
                <a:gd name="connsiteX83" fmla="*/ 646711 w 752994"/>
                <a:gd name="connsiteY83" fmla="*/ 410589 h 1333436"/>
                <a:gd name="connsiteX84" fmla="*/ 650383 w 752994"/>
                <a:gd name="connsiteY84" fmla="*/ 410589 h 1333436"/>
                <a:gd name="connsiteX85" fmla="*/ 654257 w 752994"/>
                <a:gd name="connsiteY85" fmla="*/ 411618 h 1333436"/>
                <a:gd name="connsiteX86" fmla="*/ 656913 w 752994"/>
                <a:gd name="connsiteY86" fmla="*/ 413653 h 1333436"/>
                <a:gd name="connsiteX87" fmla="*/ 660802 w 752994"/>
                <a:gd name="connsiteY87" fmla="*/ 415090 h 1333436"/>
                <a:gd name="connsiteX88" fmla="*/ 669581 w 752994"/>
                <a:gd name="connsiteY88" fmla="*/ 415904 h 1333436"/>
                <a:gd name="connsiteX89" fmla="*/ 672237 w 752994"/>
                <a:gd name="connsiteY89" fmla="*/ 415688 h 1333436"/>
                <a:gd name="connsiteX90" fmla="*/ 675705 w 752994"/>
                <a:gd name="connsiteY90" fmla="*/ 409367 h 1333436"/>
                <a:gd name="connsiteX91" fmla="*/ 679986 w 752994"/>
                <a:gd name="connsiteY91" fmla="*/ 403238 h 1333436"/>
                <a:gd name="connsiteX92" fmla="*/ 693264 w 752994"/>
                <a:gd name="connsiteY92" fmla="*/ 419567 h 1333436"/>
                <a:gd name="connsiteX93" fmla="*/ 688563 w 752994"/>
                <a:gd name="connsiteY93" fmla="*/ 448321 h 1333436"/>
                <a:gd name="connsiteX94" fmla="*/ 663949 w 752994"/>
                <a:gd name="connsiteY94" fmla="*/ 590165 h 1333436"/>
                <a:gd name="connsiteX95" fmla="*/ 666304 w 752994"/>
                <a:gd name="connsiteY95" fmla="*/ 590504 h 1333436"/>
                <a:gd name="connsiteX96" fmla="*/ 655288 w 752994"/>
                <a:gd name="connsiteY96" fmla="*/ 656178 h 1333436"/>
                <a:gd name="connsiteX97" fmla="*/ 681808 w 752994"/>
                <a:gd name="connsiteY97" fmla="*/ 662301 h 1333436"/>
                <a:gd name="connsiteX98" fmla="*/ 752994 w 752994"/>
                <a:gd name="connsiteY98" fmla="*/ 675560 h 1333436"/>
                <a:gd name="connsiteX99" fmla="*/ 714651 w 752994"/>
                <a:gd name="connsiteY99" fmla="*/ 946985 h 1333436"/>
                <a:gd name="connsiteX100" fmla="*/ 654533 w 752994"/>
                <a:gd name="connsiteY100" fmla="*/ 1333436 h 1333436"/>
                <a:gd name="connsiteX101" fmla="*/ 546831 w 752994"/>
                <a:gd name="connsiteY101" fmla="*/ 1317126 h 1333436"/>
                <a:gd name="connsiteX102" fmla="*/ 351227 w 752994"/>
                <a:gd name="connsiteY102" fmla="*/ 1194172 h 1333436"/>
                <a:gd name="connsiteX103" fmla="*/ 361011 w 752994"/>
                <a:gd name="connsiteY103" fmla="*/ 1182755 h 1333436"/>
                <a:gd name="connsiteX104" fmla="*/ 368981 w 752994"/>
                <a:gd name="connsiteY104" fmla="*/ 1182130 h 1333436"/>
                <a:gd name="connsiteX105" fmla="*/ 369571 w 752994"/>
                <a:gd name="connsiteY105" fmla="*/ 1181558 h 1333436"/>
                <a:gd name="connsiteX106" fmla="*/ 362372 w 752994"/>
                <a:gd name="connsiteY106" fmla="*/ 1182120 h 1333436"/>
                <a:gd name="connsiteX107" fmla="*/ 229464 w 752994"/>
                <a:gd name="connsiteY107" fmla="*/ 1161721 h 1333436"/>
                <a:gd name="connsiteX108" fmla="*/ 227427 w 752994"/>
                <a:gd name="connsiteY108" fmla="*/ 1157269 h 1333436"/>
                <a:gd name="connsiteX109" fmla="*/ 224967 w 752994"/>
                <a:gd name="connsiteY109" fmla="*/ 1152575 h 1333436"/>
                <a:gd name="connsiteX110" fmla="*/ 225582 w 752994"/>
                <a:gd name="connsiteY110" fmla="*/ 1144808 h 1333436"/>
                <a:gd name="connsiteX111" fmla="*/ 227215 w 752994"/>
                <a:gd name="connsiteY111" fmla="*/ 1135834 h 1333436"/>
                <a:gd name="connsiteX112" fmla="*/ 227215 w 752994"/>
                <a:gd name="connsiteY112" fmla="*/ 1134212 h 1333436"/>
                <a:gd name="connsiteX113" fmla="*/ 225179 w 752994"/>
                <a:gd name="connsiteY113" fmla="*/ 1114020 h 1333436"/>
                <a:gd name="connsiteX114" fmla="*/ 217839 w 752994"/>
                <a:gd name="connsiteY114" fmla="*/ 1100352 h 1333436"/>
                <a:gd name="connsiteX115" fmla="*/ 199661 w 752994"/>
                <a:gd name="connsiteY115" fmla="*/ 1076502 h 1333436"/>
                <a:gd name="connsiteX116" fmla="*/ 196395 w 752994"/>
                <a:gd name="connsiteY116" fmla="*/ 1071807 h 1333436"/>
                <a:gd name="connsiteX117" fmla="*/ 190880 w 752994"/>
                <a:gd name="connsiteY117" fmla="*/ 1067527 h 1333436"/>
                <a:gd name="connsiteX118" fmla="*/ 187210 w 752994"/>
                <a:gd name="connsiteY118" fmla="*/ 1068735 h 1333436"/>
                <a:gd name="connsiteX119" fmla="*/ 180062 w 752994"/>
                <a:gd name="connsiteY119" fmla="*/ 1066699 h 1333436"/>
                <a:gd name="connsiteX120" fmla="*/ 180466 w 752994"/>
                <a:gd name="connsiteY120" fmla="*/ 1053031 h 1333436"/>
                <a:gd name="connsiteX121" fmla="*/ 180062 w 752994"/>
                <a:gd name="connsiteY121" fmla="*/ 1045299 h 1333436"/>
                <a:gd name="connsiteX122" fmla="*/ 174144 w 752994"/>
                <a:gd name="connsiteY122" fmla="*/ 1044057 h 1333436"/>
                <a:gd name="connsiteX123" fmla="*/ 158426 w 752994"/>
                <a:gd name="connsiteY123" fmla="*/ 1042641 h 1333436"/>
                <a:gd name="connsiteX124" fmla="*/ 149857 w 752994"/>
                <a:gd name="connsiteY124" fmla="*/ 1035497 h 1333436"/>
                <a:gd name="connsiteX125" fmla="*/ 142497 w 752994"/>
                <a:gd name="connsiteY125" fmla="*/ 1028766 h 1333436"/>
                <a:gd name="connsiteX126" fmla="*/ 140864 w 752994"/>
                <a:gd name="connsiteY126" fmla="*/ 1020620 h 1333436"/>
                <a:gd name="connsiteX127" fmla="*/ 138212 w 752994"/>
                <a:gd name="connsiteY127" fmla="*/ 1013061 h 1333436"/>
                <a:gd name="connsiteX128" fmla="*/ 131064 w 752994"/>
                <a:gd name="connsiteY128" fmla="*/ 1007159 h 1333436"/>
                <a:gd name="connsiteX129" fmla="*/ 121264 w 752994"/>
                <a:gd name="connsiteY129" fmla="*/ 1005330 h 1333436"/>
                <a:gd name="connsiteX130" fmla="*/ 112483 w 752994"/>
                <a:gd name="connsiteY130" fmla="*/ 1001671 h 1333436"/>
                <a:gd name="connsiteX131" fmla="*/ 105950 w 752994"/>
                <a:gd name="connsiteY131" fmla="*/ 995734 h 1333436"/>
                <a:gd name="connsiteX132" fmla="*/ 97380 w 752994"/>
                <a:gd name="connsiteY132" fmla="*/ 994526 h 1333436"/>
                <a:gd name="connsiteX133" fmla="*/ 87984 w 752994"/>
                <a:gd name="connsiteY133" fmla="*/ 991040 h 1333436"/>
                <a:gd name="connsiteX134" fmla="*/ 80029 w 752994"/>
                <a:gd name="connsiteY134" fmla="*/ 985138 h 1333436"/>
                <a:gd name="connsiteX135" fmla="*/ 77166 w 752994"/>
                <a:gd name="connsiteY135" fmla="*/ 976164 h 1333436"/>
                <a:gd name="connsiteX136" fmla="*/ 79203 w 752994"/>
                <a:gd name="connsiteY136" fmla="*/ 970676 h 1333436"/>
                <a:gd name="connsiteX137" fmla="*/ 82470 w 752994"/>
                <a:gd name="connsiteY137" fmla="*/ 963117 h 1333436"/>
                <a:gd name="connsiteX138" fmla="*/ 84314 w 752994"/>
                <a:gd name="connsiteY138" fmla="*/ 954557 h 1333436"/>
                <a:gd name="connsiteX139" fmla="*/ 86351 w 752994"/>
                <a:gd name="connsiteY139" fmla="*/ 948033 h 1333436"/>
                <a:gd name="connsiteX140" fmla="*/ 86159 w 752994"/>
                <a:gd name="connsiteY140" fmla="*/ 942925 h 1333436"/>
                <a:gd name="connsiteX141" fmla="*/ 83085 w 752994"/>
                <a:gd name="connsiteY141" fmla="*/ 939853 h 1333436"/>
                <a:gd name="connsiteX142" fmla="*/ 77570 w 752994"/>
                <a:gd name="connsiteY142" fmla="*/ 937437 h 1333436"/>
                <a:gd name="connsiteX143" fmla="*/ 76763 w 752994"/>
                <a:gd name="connsiteY143" fmla="*/ 931915 h 1333436"/>
                <a:gd name="connsiteX144" fmla="*/ 78800 w 752994"/>
                <a:gd name="connsiteY144" fmla="*/ 927013 h 1333436"/>
                <a:gd name="connsiteX145" fmla="*/ 79626 w 752994"/>
                <a:gd name="connsiteY145" fmla="*/ 922526 h 1333436"/>
                <a:gd name="connsiteX146" fmla="*/ 77781 w 752994"/>
                <a:gd name="connsiteY146" fmla="*/ 919903 h 1333436"/>
                <a:gd name="connsiteX147" fmla="*/ 74303 w 752994"/>
                <a:gd name="connsiteY147" fmla="*/ 917418 h 1333436"/>
                <a:gd name="connsiteX148" fmla="*/ 71863 w 752994"/>
                <a:gd name="connsiteY148" fmla="*/ 915174 h 1333436"/>
                <a:gd name="connsiteX149" fmla="*/ 71652 w 752994"/>
                <a:gd name="connsiteY149" fmla="*/ 910894 h 1333436"/>
                <a:gd name="connsiteX150" fmla="*/ 70633 w 752994"/>
                <a:gd name="connsiteY150" fmla="*/ 906614 h 1333436"/>
                <a:gd name="connsiteX151" fmla="*/ 68385 w 752994"/>
                <a:gd name="connsiteY151" fmla="*/ 902749 h 1333436"/>
                <a:gd name="connsiteX152" fmla="*/ 61045 w 752994"/>
                <a:gd name="connsiteY152" fmla="*/ 889494 h 1333436"/>
                <a:gd name="connsiteX153" fmla="*/ 57971 w 752994"/>
                <a:gd name="connsiteY153" fmla="*/ 875619 h 1333436"/>
                <a:gd name="connsiteX154" fmla="*/ 52264 w 752994"/>
                <a:gd name="connsiteY154" fmla="*/ 862572 h 1333436"/>
                <a:gd name="connsiteX155" fmla="*/ 44309 w 752994"/>
                <a:gd name="connsiteY155" fmla="*/ 850561 h 1333436"/>
                <a:gd name="connsiteX156" fmla="*/ 45520 w 752994"/>
                <a:gd name="connsiteY156" fmla="*/ 827090 h 1333436"/>
                <a:gd name="connsiteX157" fmla="*/ 53071 w 752994"/>
                <a:gd name="connsiteY157" fmla="*/ 822396 h 1333436"/>
                <a:gd name="connsiteX158" fmla="*/ 57375 w 752994"/>
                <a:gd name="connsiteY158" fmla="*/ 816493 h 1333436"/>
                <a:gd name="connsiteX159" fmla="*/ 55319 w 752994"/>
                <a:gd name="connsiteY159" fmla="*/ 801617 h 1333436"/>
                <a:gd name="connsiteX160" fmla="*/ 48383 w 752994"/>
                <a:gd name="connsiteY160" fmla="*/ 802204 h 1333436"/>
                <a:gd name="connsiteX161" fmla="*/ 40428 w 752994"/>
                <a:gd name="connsiteY161" fmla="*/ 797924 h 1333436"/>
                <a:gd name="connsiteX162" fmla="*/ 37565 w 752994"/>
                <a:gd name="connsiteY162" fmla="*/ 790606 h 1333436"/>
                <a:gd name="connsiteX163" fmla="*/ 37565 w 752994"/>
                <a:gd name="connsiteY163" fmla="*/ 790399 h 1333436"/>
                <a:gd name="connsiteX164" fmla="*/ 35931 w 752994"/>
                <a:gd name="connsiteY164" fmla="*/ 785912 h 1333436"/>
                <a:gd name="connsiteX165" fmla="*/ 34510 w 752994"/>
                <a:gd name="connsiteY165" fmla="*/ 780597 h 1333436"/>
                <a:gd name="connsiteX166" fmla="*/ 36335 w 752994"/>
                <a:gd name="connsiteY166" fmla="*/ 774280 h 1333436"/>
                <a:gd name="connsiteX167" fmla="*/ 38180 w 752994"/>
                <a:gd name="connsiteY167" fmla="*/ 766721 h 1333436"/>
                <a:gd name="connsiteX168" fmla="*/ 37161 w 752994"/>
                <a:gd name="connsiteY168" fmla="*/ 760405 h 1333436"/>
                <a:gd name="connsiteX169" fmla="*/ 35720 w 752994"/>
                <a:gd name="connsiteY169" fmla="*/ 754710 h 1333436"/>
                <a:gd name="connsiteX170" fmla="*/ 36546 w 752994"/>
                <a:gd name="connsiteY170" fmla="*/ 748773 h 1333436"/>
                <a:gd name="connsiteX171" fmla="*/ 38372 w 752994"/>
                <a:gd name="connsiteY171" fmla="*/ 744528 h 1333436"/>
                <a:gd name="connsiteX172" fmla="*/ 41638 w 752994"/>
                <a:gd name="connsiteY172" fmla="*/ 744321 h 1333436"/>
                <a:gd name="connsiteX173" fmla="*/ 44713 w 752994"/>
                <a:gd name="connsiteY173" fmla="*/ 746357 h 1333436"/>
                <a:gd name="connsiteX174" fmla="*/ 47364 w 752994"/>
                <a:gd name="connsiteY174" fmla="*/ 753260 h 1333436"/>
                <a:gd name="connsiteX175" fmla="*/ 55742 w 752994"/>
                <a:gd name="connsiteY175" fmla="*/ 764305 h 1333436"/>
                <a:gd name="connsiteX176" fmla="*/ 56338 w 752994"/>
                <a:gd name="connsiteY176" fmla="*/ 761233 h 1333436"/>
                <a:gd name="connsiteX177" fmla="*/ 56145 w 752994"/>
                <a:gd name="connsiteY177" fmla="*/ 757368 h 1333436"/>
                <a:gd name="connsiteX178" fmla="*/ 54916 w 752994"/>
                <a:gd name="connsiteY178" fmla="*/ 748601 h 1333436"/>
                <a:gd name="connsiteX179" fmla="*/ 52879 w 752994"/>
                <a:gd name="connsiteY179" fmla="*/ 747358 h 1333436"/>
                <a:gd name="connsiteX180" fmla="*/ 51649 w 752994"/>
                <a:gd name="connsiteY180" fmla="*/ 745322 h 1333436"/>
                <a:gd name="connsiteX181" fmla="*/ 51649 w 752994"/>
                <a:gd name="connsiteY181" fmla="*/ 739212 h 1333436"/>
                <a:gd name="connsiteX182" fmla="*/ 50227 w 752994"/>
                <a:gd name="connsiteY182" fmla="*/ 734725 h 1333436"/>
                <a:gd name="connsiteX183" fmla="*/ 48786 w 752994"/>
                <a:gd name="connsiteY183" fmla="*/ 731446 h 1333436"/>
                <a:gd name="connsiteX184" fmla="*/ 54512 w 752994"/>
                <a:gd name="connsiteY184" fmla="*/ 726372 h 1333436"/>
                <a:gd name="connsiteX185" fmla="*/ 59815 w 752994"/>
                <a:gd name="connsiteY185" fmla="*/ 725130 h 1333436"/>
                <a:gd name="connsiteX186" fmla="*/ 58182 w 752994"/>
                <a:gd name="connsiteY186" fmla="*/ 722886 h 1333436"/>
                <a:gd name="connsiteX187" fmla="*/ 51861 w 752994"/>
                <a:gd name="connsiteY187" fmla="*/ 717985 h 1333436"/>
                <a:gd name="connsiteX188" fmla="*/ 46749 w 752994"/>
                <a:gd name="connsiteY188" fmla="*/ 729617 h 1333436"/>
                <a:gd name="connsiteX189" fmla="*/ 40831 w 752994"/>
                <a:gd name="connsiteY189" fmla="*/ 739212 h 1333436"/>
                <a:gd name="connsiteX190" fmla="*/ 39601 w 752994"/>
                <a:gd name="connsiteY190" fmla="*/ 738798 h 1333436"/>
                <a:gd name="connsiteX191" fmla="*/ 39409 w 752994"/>
                <a:gd name="connsiteY191" fmla="*/ 738591 h 1333436"/>
                <a:gd name="connsiteX192" fmla="*/ 37161 w 752994"/>
                <a:gd name="connsiteY192" fmla="*/ 734725 h 1333436"/>
                <a:gd name="connsiteX193" fmla="*/ 32665 w 752994"/>
                <a:gd name="connsiteY193" fmla="*/ 727788 h 1333436"/>
                <a:gd name="connsiteX194" fmla="*/ 26747 w 752994"/>
                <a:gd name="connsiteY194" fmla="*/ 719435 h 1333436"/>
                <a:gd name="connsiteX195" fmla="*/ 23884 w 752994"/>
                <a:gd name="connsiteY195" fmla="*/ 717812 h 1333436"/>
                <a:gd name="connsiteX196" fmla="*/ 24710 w 752994"/>
                <a:gd name="connsiteY196" fmla="*/ 709632 h 1333436"/>
                <a:gd name="connsiteX197" fmla="*/ 27554 w 752994"/>
                <a:gd name="connsiteY197" fmla="*/ 701694 h 1333436"/>
                <a:gd name="connsiteX198" fmla="*/ 24902 w 752994"/>
                <a:gd name="connsiteY198" fmla="*/ 696171 h 1333436"/>
                <a:gd name="connsiteX199" fmla="*/ 24095 w 752994"/>
                <a:gd name="connsiteY199" fmla="*/ 687818 h 1333436"/>
                <a:gd name="connsiteX200" fmla="*/ 22462 w 752994"/>
                <a:gd name="connsiteY200" fmla="*/ 682330 h 1333436"/>
                <a:gd name="connsiteX201" fmla="*/ 17159 w 752994"/>
                <a:gd name="connsiteY201" fmla="*/ 677636 h 1333436"/>
                <a:gd name="connsiteX202" fmla="*/ 14296 w 752994"/>
                <a:gd name="connsiteY202" fmla="*/ 671492 h 1333436"/>
                <a:gd name="connsiteX203" fmla="*/ 12451 w 752994"/>
                <a:gd name="connsiteY203" fmla="*/ 665797 h 1333436"/>
                <a:gd name="connsiteX204" fmla="*/ 5111 w 752994"/>
                <a:gd name="connsiteY204" fmla="*/ 654994 h 1333436"/>
                <a:gd name="connsiteX205" fmla="*/ 2248 w 752994"/>
                <a:gd name="connsiteY205" fmla="*/ 645605 h 1333436"/>
                <a:gd name="connsiteX206" fmla="*/ 4496 w 752994"/>
                <a:gd name="connsiteY206" fmla="*/ 640497 h 1333436"/>
                <a:gd name="connsiteX207" fmla="*/ 6744 w 752994"/>
                <a:gd name="connsiteY207" fmla="*/ 632765 h 1333436"/>
                <a:gd name="connsiteX208" fmla="*/ 6744 w 752994"/>
                <a:gd name="connsiteY208" fmla="*/ 628485 h 1333436"/>
                <a:gd name="connsiteX209" fmla="*/ 6533 w 752994"/>
                <a:gd name="connsiteY209" fmla="*/ 620305 h 1333436"/>
                <a:gd name="connsiteX210" fmla="*/ 7359 w 752994"/>
                <a:gd name="connsiteY210" fmla="*/ 611745 h 1333436"/>
                <a:gd name="connsiteX211" fmla="*/ 11836 w 752994"/>
                <a:gd name="connsiteY211" fmla="*/ 602978 h 1333436"/>
                <a:gd name="connsiteX212" fmla="*/ 15103 w 752994"/>
                <a:gd name="connsiteY212" fmla="*/ 591760 h 1333436"/>
                <a:gd name="connsiteX213" fmla="*/ 14488 w 752994"/>
                <a:gd name="connsiteY213" fmla="*/ 584029 h 1333436"/>
                <a:gd name="connsiteX214" fmla="*/ 13873 w 752994"/>
                <a:gd name="connsiteY214" fmla="*/ 578299 h 1333436"/>
                <a:gd name="connsiteX215" fmla="*/ 10626 w 752994"/>
                <a:gd name="connsiteY215" fmla="*/ 568531 h 1333436"/>
                <a:gd name="connsiteX216" fmla="*/ 3670 w 752994"/>
                <a:gd name="connsiteY216" fmla="*/ 558107 h 1333436"/>
                <a:gd name="connsiteX217" fmla="*/ 0 w 752994"/>
                <a:gd name="connsiteY217" fmla="*/ 551377 h 1333436"/>
                <a:gd name="connsiteX218" fmla="*/ 0 w 752994"/>
                <a:gd name="connsiteY218" fmla="*/ 550997 h 1333436"/>
                <a:gd name="connsiteX219" fmla="*/ 4900 w 752994"/>
                <a:gd name="connsiteY219" fmla="*/ 531220 h 1333436"/>
                <a:gd name="connsiteX220" fmla="*/ 13873 w 752994"/>
                <a:gd name="connsiteY220" fmla="*/ 520589 h 1333436"/>
                <a:gd name="connsiteX221" fmla="*/ 18369 w 752994"/>
                <a:gd name="connsiteY221" fmla="*/ 516516 h 1333436"/>
                <a:gd name="connsiteX222" fmla="*/ 18773 w 752994"/>
                <a:gd name="connsiteY222" fmla="*/ 514272 h 1333436"/>
                <a:gd name="connsiteX223" fmla="*/ 23077 w 752994"/>
                <a:gd name="connsiteY223" fmla="*/ 506127 h 1333436"/>
                <a:gd name="connsiteX224" fmla="*/ 23884 w 752994"/>
                <a:gd name="connsiteY224" fmla="*/ 502261 h 1333436"/>
                <a:gd name="connsiteX225" fmla="*/ 23692 w 752994"/>
                <a:gd name="connsiteY225" fmla="*/ 496738 h 1333436"/>
                <a:gd name="connsiteX226" fmla="*/ 30013 w 752994"/>
                <a:gd name="connsiteY226" fmla="*/ 486556 h 1333436"/>
                <a:gd name="connsiteX227" fmla="*/ 36546 w 752994"/>
                <a:gd name="connsiteY227" fmla="*/ 470230 h 1333436"/>
                <a:gd name="connsiteX228" fmla="*/ 36546 w 752994"/>
                <a:gd name="connsiteY228" fmla="*/ 462671 h 1333436"/>
                <a:gd name="connsiteX229" fmla="*/ 36335 w 752994"/>
                <a:gd name="connsiteY229" fmla="*/ 461670 h 1333436"/>
                <a:gd name="connsiteX230" fmla="*/ 35931 w 752994"/>
                <a:gd name="connsiteY230" fmla="*/ 453110 h 1333436"/>
                <a:gd name="connsiteX231" fmla="*/ 38583 w 752994"/>
                <a:gd name="connsiteY231" fmla="*/ 442514 h 1333436"/>
                <a:gd name="connsiteX232" fmla="*/ 41043 w 752994"/>
                <a:gd name="connsiteY232" fmla="*/ 436991 h 1333436"/>
                <a:gd name="connsiteX233" fmla="*/ 41650 w 752994"/>
                <a:gd name="connsiteY233" fmla="*/ 437186 h 1333436"/>
                <a:gd name="connsiteX234" fmla="*/ 41239 w 752994"/>
                <a:gd name="connsiteY234" fmla="*/ 436549 h 1333436"/>
                <a:gd name="connsiteX235" fmla="*/ 37778 w 752994"/>
                <a:gd name="connsiteY235" fmla="*/ 433894 h 1333436"/>
                <a:gd name="connsiteX236" fmla="*/ 37169 w 752994"/>
                <a:gd name="connsiteY236" fmla="*/ 432261 h 1333436"/>
                <a:gd name="connsiteX237" fmla="*/ 37365 w 752994"/>
                <a:gd name="connsiteY237" fmla="*/ 429198 h 1333436"/>
                <a:gd name="connsiteX238" fmla="*/ 36756 w 752994"/>
                <a:gd name="connsiteY238" fmla="*/ 422272 h 1333436"/>
                <a:gd name="connsiteX239" fmla="*/ 36952 w 752994"/>
                <a:gd name="connsiteY239" fmla="*/ 418800 h 1333436"/>
                <a:gd name="connsiteX240" fmla="*/ 36756 w 752994"/>
                <a:gd name="connsiteY240" fmla="*/ 412487 h 1333436"/>
                <a:gd name="connsiteX241" fmla="*/ 40433 w 752994"/>
                <a:gd name="connsiteY241" fmla="*/ 406174 h 1333436"/>
                <a:gd name="connsiteX242" fmla="*/ 44720 w 752994"/>
                <a:gd name="connsiteY242" fmla="*/ 399435 h 1333436"/>
                <a:gd name="connsiteX243" fmla="*/ 44110 w 752994"/>
                <a:gd name="connsiteY243" fmla="*/ 389651 h 1333436"/>
                <a:gd name="connsiteX244" fmla="*/ 43894 w 752994"/>
                <a:gd name="connsiteY244" fmla="*/ 378437 h 1333436"/>
                <a:gd name="connsiteX245" fmla="*/ 47158 w 752994"/>
                <a:gd name="connsiteY245" fmla="*/ 371102 h 1333436"/>
                <a:gd name="connsiteX246" fmla="*/ 55731 w 752994"/>
                <a:gd name="connsiteY246" fmla="*/ 360909 h 1333436"/>
                <a:gd name="connsiteX247" fmla="*/ 57580 w 752994"/>
                <a:gd name="connsiteY247" fmla="*/ 355804 h 1333436"/>
                <a:gd name="connsiteX248" fmla="*/ 62673 w 752994"/>
                <a:gd name="connsiteY248" fmla="*/ 349695 h 1333436"/>
                <a:gd name="connsiteX249" fmla="*/ 65937 w 752994"/>
                <a:gd name="connsiteY249" fmla="*/ 348470 h 1333436"/>
                <a:gd name="connsiteX250" fmla="*/ 68395 w 752994"/>
                <a:gd name="connsiteY250" fmla="*/ 348674 h 1333436"/>
                <a:gd name="connsiteX251" fmla="*/ 70224 w 752994"/>
                <a:gd name="connsiteY251" fmla="*/ 347449 h 1333436"/>
                <a:gd name="connsiteX252" fmla="*/ 67785 w 752994"/>
                <a:gd name="connsiteY252" fmla="*/ 345203 h 1333436"/>
                <a:gd name="connsiteX253" fmla="*/ 65524 w 752994"/>
                <a:gd name="connsiteY253" fmla="*/ 343178 h 1333436"/>
                <a:gd name="connsiteX254" fmla="*/ 73095 w 752994"/>
                <a:gd name="connsiteY254" fmla="*/ 333376 h 1333436"/>
                <a:gd name="connsiteX255" fmla="*/ 73291 w 752994"/>
                <a:gd name="connsiteY255" fmla="*/ 333376 h 1333436"/>
                <a:gd name="connsiteX256" fmla="*/ 77991 w 752994"/>
                <a:gd name="connsiteY256" fmla="*/ 325838 h 1333436"/>
                <a:gd name="connsiteX257" fmla="*/ 82671 w 752994"/>
                <a:gd name="connsiteY257" fmla="*/ 313619 h 1333436"/>
                <a:gd name="connsiteX258" fmla="*/ 87980 w 752994"/>
                <a:gd name="connsiteY258" fmla="*/ 303018 h 1333436"/>
                <a:gd name="connsiteX259" fmla="*/ 92267 w 752994"/>
                <a:gd name="connsiteY259" fmla="*/ 291191 h 1333436"/>
                <a:gd name="connsiteX260" fmla="*/ 96553 w 752994"/>
                <a:gd name="connsiteY260" fmla="*/ 281202 h 1333436"/>
                <a:gd name="connsiteX261" fmla="*/ 99621 w 752994"/>
                <a:gd name="connsiteY261" fmla="*/ 274481 h 1333436"/>
                <a:gd name="connsiteX262" fmla="*/ 103082 w 752994"/>
                <a:gd name="connsiteY262" fmla="*/ 262450 h 1333436"/>
                <a:gd name="connsiteX263" fmla="*/ 107172 w 752994"/>
                <a:gd name="connsiteY263" fmla="*/ 254299 h 1333436"/>
                <a:gd name="connsiteX264" fmla="*/ 112481 w 752994"/>
                <a:gd name="connsiteY264" fmla="*/ 243697 h 1333436"/>
                <a:gd name="connsiteX265" fmla="*/ 117181 w 752994"/>
                <a:gd name="connsiteY265" fmla="*/ 232279 h 1333436"/>
                <a:gd name="connsiteX266" fmla="*/ 125951 w 752994"/>
                <a:gd name="connsiteY266" fmla="*/ 217389 h 1333436"/>
                <a:gd name="connsiteX267" fmla="*/ 136156 w 752994"/>
                <a:gd name="connsiteY267" fmla="*/ 202925 h 1333436"/>
                <a:gd name="connsiteX268" fmla="*/ 138811 w 752994"/>
                <a:gd name="connsiteY268" fmla="*/ 183339 h 1333436"/>
                <a:gd name="connsiteX269" fmla="*/ 148801 w 752994"/>
                <a:gd name="connsiteY269" fmla="*/ 167445 h 1333436"/>
                <a:gd name="connsiteX270" fmla="*/ 159616 w 752994"/>
                <a:gd name="connsiteY270" fmla="*/ 170712 h 1333436"/>
                <a:gd name="connsiteX271" fmla="*/ 173105 w 752994"/>
                <a:gd name="connsiteY271" fmla="*/ 175188 h 1333436"/>
                <a:gd name="connsiteX272" fmla="*/ 175347 w 752994"/>
                <a:gd name="connsiteY272" fmla="*/ 175188 h 1333436"/>
                <a:gd name="connsiteX273" fmla="*/ 175347 w 752994"/>
                <a:gd name="connsiteY273" fmla="*/ 173758 h 1333436"/>
                <a:gd name="connsiteX274" fmla="*/ 184975 w 752994"/>
                <a:gd name="connsiteY274" fmla="*/ 187393 h 1333436"/>
                <a:gd name="connsiteX275" fmla="*/ 184762 w 752994"/>
                <a:gd name="connsiteY275" fmla="*/ 184637 h 1333436"/>
                <a:gd name="connsiteX276" fmla="*/ 174971 w 752994"/>
                <a:gd name="connsiteY276" fmla="*/ 170774 h 1333436"/>
                <a:gd name="connsiteX277" fmla="*/ 174971 w 752994"/>
                <a:gd name="connsiteY277" fmla="*/ 169550 h 1333436"/>
                <a:gd name="connsiteX278" fmla="*/ 158851 w 752994"/>
                <a:gd name="connsiteY278" fmla="*/ 156924 h 1333436"/>
                <a:gd name="connsiteX279" fmla="*/ 147025 w 752994"/>
                <a:gd name="connsiteY279" fmla="*/ 145709 h 1333436"/>
                <a:gd name="connsiteX280" fmla="*/ 154364 w 752994"/>
                <a:gd name="connsiteY280" fmla="*/ 136335 h 1333436"/>
                <a:gd name="connsiteX281" fmla="*/ 161511 w 752994"/>
                <a:gd name="connsiteY281" fmla="*/ 131042 h 1333436"/>
                <a:gd name="connsiteX282" fmla="*/ 160902 w 752994"/>
                <a:gd name="connsiteY282" fmla="*/ 128384 h 1333436"/>
                <a:gd name="connsiteX283" fmla="*/ 160277 w 752994"/>
                <a:gd name="connsiteY283" fmla="*/ 127778 h 1333436"/>
                <a:gd name="connsiteX284" fmla="*/ 154973 w 752994"/>
                <a:gd name="connsiteY284" fmla="*/ 122077 h 1333436"/>
                <a:gd name="connsiteX285" fmla="*/ 160277 w 752994"/>
                <a:gd name="connsiteY285" fmla="*/ 115140 h 1333436"/>
                <a:gd name="connsiteX286" fmla="*/ 165181 w 752994"/>
                <a:gd name="connsiteY286" fmla="*/ 108215 h 1333436"/>
                <a:gd name="connsiteX287" fmla="*/ 161303 w 752994"/>
                <a:gd name="connsiteY287" fmla="*/ 104146 h 1333436"/>
                <a:gd name="connsiteX288" fmla="*/ 157842 w 752994"/>
                <a:gd name="connsiteY288" fmla="*/ 104542 h 1333436"/>
                <a:gd name="connsiteX289" fmla="*/ 157024 w 752994"/>
                <a:gd name="connsiteY289" fmla="*/ 102304 h 1333436"/>
                <a:gd name="connsiteX290" fmla="*/ 160694 w 752994"/>
                <a:gd name="connsiteY290" fmla="*/ 55437 h 1333436"/>
                <a:gd name="connsiteX291" fmla="*/ 160486 w 752994"/>
                <a:gd name="connsiteY291" fmla="*/ 31991 h 1333436"/>
                <a:gd name="connsiteX292" fmla="*/ 164972 w 752994"/>
                <a:gd name="connsiteY292" fmla="*/ 18141 h 1333436"/>
                <a:gd name="connsiteX293" fmla="*/ 171911 w 752994"/>
                <a:gd name="connsiteY293" fmla="*/ 11204 h 1333436"/>
                <a:gd name="connsiteX294" fmla="*/ 187406 w 752994"/>
                <a:gd name="connsiteY294" fmla="*/ 21801 h 1333436"/>
                <a:gd name="connsiteX295" fmla="*/ 210866 w 752994"/>
                <a:gd name="connsiteY295" fmla="*/ 37086 h 1333436"/>
                <a:gd name="connsiteX296" fmla="*/ 219230 w 752994"/>
                <a:gd name="connsiteY296" fmla="*/ 41166 h 1333436"/>
                <a:gd name="connsiteX297" fmla="*/ 226778 w 752994"/>
                <a:gd name="connsiteY297" fmla="*/ 47486 h 1333436"/>
                <a:gd name="connsiteX298" fmla="*/ 236152 w 752994"/>
                <a:gd name="connsiteY298" fmla="*/ 52370 h 1333436"/>
                <a:gd name="connsiteX299" fmla="*/ 239629 w 752994"/>
                <a:gd name="connsiteY299" fmla="*/ 58491 h 1333436"/>
                <a:gd name="connsiteX300" fmla="*/ 239629 w 752994"/>
                <a:gd name="connsiteY300" fmla="*/ 63376 h 1333436"/>
                <a:gd name="connsiteX301" fmla="*/ 236568 w 752994"/>
                <a:gd name="connsiteY301" fmla="*/ 67457 h 1333436"/>
                <a:gd name="connsiteX302" fmla="*/ 231264 w 752994"/>
                <a:gd name="connsiteY302" fmla="*/ 69905 h 1333436"/>
                <a:gd name="connsiteX303" fmla="*/ 216778 w 752994"/>
                <a:gd name="connsiteY303" fmla="*/ 82741 h 1333436"/>
                <a:gd name="connsiteX304" fmla="*/ 214134 w 752994"/>
                <a:gd name="connsiteY304" fmla="*/ 93536 h 1333436"/>
                <a:gd name="connsiteX305" fmla="*/ 214535 w 752994"/>
                <a:gd name="connsiteY305" fmla="*/ 96801 h 1333436"/>
                <a:gd name="connsiteX306" fmla="*/ 216378 w 752994"/>
                <a:gd name="connsiteY306" fmla="*/ 96801 h 1333436"/>
                <a:gd name="connsiteX307" fmla="*/ 230046 w 752994"/>
                <a:gd name="connsiteY307" fmla="*/ 85387 h 1333436"/>
                <a:gd name="connsiteX308" fmla="*/ 243298 w 752994"/>
                <a:gd name="connsiteY308" fmla="*/ 75198 h 1333436"/>
                <a:gd name="connsiteX309" fmla="*/ 246760 w 752994"/>
                <a:gd name="connsiteY309" fmla="*/ 77646 h 1333436"/>
                <a:gd name="connsiteX310" fmla="*/ 255541 w 752994"/>
                <a:gd name="connsiteY310" fmla="*/ 63376 h 1333436"/>
                <a:gd name="connsiteX311" fmla="*/ 259611 w 752994"/>
                <a:gd name="connsiteY311" fmla="*/ 43405 h 1333436"/>
                <a:gd name="connsiteX312" fmla="*/ 256967 w 752994"/>
                <a:gd name="connsiteY312" fmla="*/ 38520 h 1333436"/>
                <a:gd name="connsiteX313" fmla="*/ 253906 w 752994"/>
                <a:gd name="connsiteY313" fmla="*/ 34242 h 1333436"/>
                <a:gd name="connsiteX314" fmla="*/ 256967 w 752994"/>
                <a:gd name="connsiteY314" fmla="*/ 30161 h 1333436"/>
                <a:gd name="connsiteX315" fmla="*/ 262063 w 752994"/>
                <a:gd name="connsiteY315" fmla="*/ 27712 h 1333436"/>
                <a:gd name="connsiteX316" fmla="*/ 264915 w 752994"/>
                <a:gd name="connsiteY316" fmla="*/ 23026 h 1333436"/>
                <a:gd name="connsiteX317" fmla="*/ 267976 w 752994"/>
                <a:gd name="connsiteY317" fmla="*/ 22618 h 1333436"/>
                <a:gd name="connsiteX318" fmla="*/ 270427 w 752994"/>
                <a:gd name="connsiteY318" fmla="*/ 20787 h 1333436"/>
                <a:gd name="connsiteX319" fmla="*/ 263088 w 752994"/>
                <a:gd name="connsiteY319" fmla="*/ 13652 h 1333436"/>
                <a:gd name="connsiteX320" fmla="*/ 255541 w 752994"/>
                <a:gd name="connsiteY320" fmla="*/ 3055 h 1333436"/>
                <a:gd name="connsiteX321" fmla="*/ 256358 w 752994"/>
                <a:gd name="connsiteY321" fmla="*/ 1224 h 1333436"/>
                <a:gd name="connsiteX322" fmla="*/ 257159 w 752994"/>
                <a:gd name="connsiteY322"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24340 w 752994"/>
                <a:gd name="connsiteY20" fmla="*/ 244497 h 1333436"/>
                <a:gd name="connsiteX21" fmla="*/ 348428 w 752994"/>
                <a:gd name="connsiteY21" fmla="*/ 250011 h 1333436"/>
                <a:gd name="connsiteX22" fmla="*/ 351279 w 752994"/>
                <a:gd name="connsiteY22" fmla="*/ 247356 h 1333436"/>
                <a:gd name="connsiteX23" fmla="*/ 355566 w 752994"/>
                <a:gd name="connsiteY23" fmla="*/ 244293 h 1333436"/>
                <a:gd name="connsiteX24" fmla="*/ 280827 w 752994"/>
                <a:gd name="connsiteY24" fmla="*/ 242720 h 1333436"/>
                <a:gd name="connsiteX25" fmla="*/ 247994 w 752994"/>
                <a:gd name="connsiteY25" fmla="*/ 241693 h 1333436"/>
                <a:gd name="connsiteX26" fmla="*/ 195162 w 752994"/>
                <a:gd name="connsiteY26" fmla="*/ 228857 h 1333436"/>
                <a:gd name="connsiteX27" fmla="*/ 188223 w 752994"/>
                <a:gd name="connsiteY27" fmla="*/ 223973 h 1333436"/>
                <a:gd name="connsiteX28" fmla="*/ 185163 w 752994"/>
                <a:gd name="connsiteY28" fmla="*/ 219484 h 1333436"/>
                <a:gd name="connsiteX29" fmla="*/ 184180 w 752994"/>
                <a:gd name="connsiteY29" fmla="*/ 213866 h 1333436"/>
                <a:gd name="connsiteX30" fmla="*/ 257159 w 752994"/>
                <a:gd name="connsiteY30" fmla="*/ 0 h 1333436"/>
                <a:gd name="connsiteX31" fmla="*/ 493147 w 752994"/>
                <a:gd name="connsiteY31" fmla="*/ 73157 h 1333436"/>
                <a:gd name="connsiteX32" fmla="*/ 492970 w 752994"/>
                <a:gd name="connsiteY32" fmla="*/ 73792 h 1333436"/>
                <a:gd name="connsiteX33" fmla="*/ 525816 w 752994"/>
                <a:gd name="connsiteY33" fmla="*/ 82491 h 1333436"/>
                <a:gd name="connsiteX34" fmla="*/ 520098 w 752994"/>
                <a:gd name="connsiteY34" fmla="*/ 111245 h 1333436"/>
                <a:gd name="connsiteX35" fmla="*/ 512552 w 752994"/>
                <a:gd name="connsiteY35" fmla="*/ 143854 h 1333436"/>
                <a:gd name="connsiteX36" fmla="*/ 517849 w 752994"/>
                <a:gd name="connsiteY36" fmla="*/ 157740 h 1333436"/>
                <a:gd name="connsiteX37" fmla="*/ 523160 w 752994"/>
                <a:gd name="connsiteY37" fmla="*/ 172009 h 1333436"/>
                <a:gd name="connsiteX38" fmla="*/ 521535 w 752994"/>
                <a:gd name="connsiteY38" fmla="*/ 178928 h 1333436"/>
                <a:gd name="connsiteX39" fmla="*/ 520098 w 752994"/>
                <a:gd name="connsiteY39" fmla="*/ 186279 h 1333436"/>
                <a:gd name="connsiteX40" fmla="*/ 526019 w 752994"/>
                <a:gd name="connsiteY40" fmla="*/ 193629 h 1333436"/>
                <a:gd name="connsiteX41" fmla="*/ 537251 w 752994"/>
                <a:gd name="connsiteY41" fmla="*/ 206270 h 1333436"/>
                <a:gd name="connsiteX42" fmla="*/ 542765 w 752994"/>
                <a:gd name="connsiteY42" fmla="*/ 217475 h 1333436"/>
                <a:gd name="connsiteX43" fmla="*/ 546857 w 752994"/>
                <a:gd name="connsiteY43" fmla="*/ 230930 h 1333436"/>
                <a:gd name="connsiteX44" fmla="*/ 549499 w 752994"/>
                <a:gd name="connsiteY44" fmla="*/ 235622 h 1333436"/>
                <a:gd name="connsiteX45" fmla="*/ 553388 w 752994"/>
                <a:gd name="connsiteY45" fmla="*/ 240722 h 1333436"/>
                <a:gd name="connsiteX46" fmla="*/ 557465 w 752994"/>
                <a:gd name="connsiteY46" fmla="*/ 246037 h 1333436"/>
                <a:gd name="connsiteX47" fmla="*/ 561761 w 752994"/>
                <a:gd name="connsiteY47" fmla="*/ 248671 h 1333436"/>
                <a:gd name="connsiteX48" fmla="*/ 567478 w 752994"/>
                <a:gd name="connsiteY48" fmla="*/ 247665 h 1333436"/>
                <a:gd name="connsiteX49" fmla="*/ 569931 w 752994"/>
                <a:gd name="connsiteY49" fmla="*/ 249293 h 1333436"/>
                <a:gd name="connsiteX50" fmla="*/ 570540 w 752994"/>
                <a:gd name="connsiteY50" fmla="*/ 251951 h 1333436"/>
                <a:gd name="connsiteX51" fmla="*/ 561964 w 752994"/>
                <a:gd name="connsiteY51" fmla="*/ 267656 h 1333436"/>
                <a:gd name="connsiteX52" fmla="*/ 553591 w 752994"/>
                <a:gd name="connsiteY52" fmla="*/ 289659 h 1333436"/>
                <a:gd name="connsiteX53" fmla="*/ 554810 w 752994"/>
                <a:gd name="connsiteY53" fmla="*/ 292939 h 1333436"/>
                <a:gd name="connsiteX54" fmla="*/ 556246 w 752994"/>
                <a:gd name="connsiteY54" fmla="*/ 299260 h 1333436"/>
                <a:gd name="connsiteX55" fmla="*/ 552778 w 752994"/>
                <a:gd name="connsiteY55" fmla="*/ 301917 h 1333436"/>
                <a:gd name="connsiteX56" fmla="*/ 549295 w 752994"/>
                <a:gd name="connsiteY56" fmla="*/ 306993 h 1333436"/>
                <a:gd name="connsiteX57" fmla="*/ 547061 w 752994"/>
                <a:gd name="connsiteY57" fmla="*/ 313122 h 1333436"/>
                <a:gd name="connsiteX58" fmla="*/ 544811 w 752994"/>
                <a:gd name="connsiteY58" fmla="*/ 316593 h 1333436"/>
                <a:gd name="connsiteX59" fmla="*/ 549919 w 752994"/>
                <a:gd name="connsiteY59" fmla="*/ 322698 h 1333436"/>
                <a:gd name="connsiteX60" fmla="*/ 553184 w 752994"/>
                <a:gd name="connsiteY60" fmla="*/ 325955 h 1333436"/>
                <a:gd name="connsiteX61" fmla="*/ 555840 w 752994"/>
                <a:gd name="connsiteY61" fmla="*/ 328205 h 1333436"/>
                <a:gd name="connsiteX62" fmla="*/ 574212 w 752994"/>
                <a:gd name="connsiteY62" fmla="*/ 318820 h 1333436"/>
                <a:gd name="connsiteX63" fmla="*/ 579523 w 752994"/>
                <a:gd name="connsiteY63" fmla="*/ 326577 h 1333436"/>
                <a:gd name="connsiteX64" fmla="*/ 580539 w 752994"/>
                <a:gd name="connsiteY64" fmla="*/ 334933 h 1333436"/>
                <a:gd name="connsiteX65" fmla="*/ 579726 w 752994"/>
                <a:gd name="connsiteY65" fmla="*/ 343097 h 1333436"/>
                <a:gd name="connsiteX66" fmla="*/ 581366 w 752994"/>
                <a:gd name="connsiteY66" fmla="*/ 350231 h 1333436"/>
                <a:gd name="connsiteX67" fmla="*/ 586256 w 752994"/>
                <a:gd name="connsiteY67" fmla="*/ 355930 h 1333436"/>
                <a:gd name="connsiteX68" fmla="*/ 589536 w 752994"/>
                <a:gd name="connsiteY68" fmla="*/ 362059 h 1333436"/>
                <a:gd name="connsiteX69" fmla="*/ 588099 w 752994"/>
                <a:gd name="connsiteY69" fmla="*/ 369600 h 1333436"/>
                <a:gd name="connsiteX70" fmla="*/ 586459 w 752994"/>
                <a:gd name="connsiteY70" fmla="*/ 377357 h 1333436"/>
                <a:gd name="connsiteX71" fmla="*/ 588709 w 752994"/>
                <a:gd name="connsiteY71" fmla="*/ 381835 h 1333436"/>
                <a:gd name="connsiteX72" fmla="*/ 595036 w 752994"/>
                <a:gd name="connsiteY72" fmla="*/ 382457 h 1333436"/>
                <a:gd name="connsiteX73" fmla="*/ 599331 w 752994"/>
                <a:gd name="connsiteY73" fmla="*/ 385306 h 1333436"/>
                <a:gd name="connsiteX74" fmla="*/ 601987 w 752994"/>
                <a:gd name="connsiteY74" fmla="*/ 391004 h 1333436"/>
                <a:gd name="connsiteX75" fmla="*/ 602799 w 752994"/>
                <a:gd name="connsiteY75" fmla="*/ 404076 h 1333436"/>
                <a:gd name="connsiteX76" fmla="*/ 606892 w 752994"/>
                <a:gd name="connsiteY76" fmla="*/ 415688 h 1333436"/>
                <a:gd name="connsiteX77" fmla="*/ 610563 w 752994"/>
                <a:gd name="connsiteY77" fmla="*/ 412217 h 1333436"/>
                <a:gd name="connsiteX78" fmla="*/ 617920 w 752994"/>
                <a:gd name="connsiteY78" fmla="*/ 408769 h 1333436"/>
                <a:gd name="connsiteX79" fmla="*/ 624654 w 752994"/>
                <a:gd name="connsiteY79" fmla="*/ 411211 h 1333436"/>
                <a:gd name="connsiteX80" fmla="*/ 634652 w 752994"/>
                <a:gd name="connsiteY80" fmla="*/ 410182 h 1333436"/>
                <a:gd name="connsiteX81" fmla="*/ 640573 w 752994"/>
                <a:gd name="connsiteY81" fmla="*/ 407739 h 1333436"/>
                <a:gd name="connsiteX82" fmla="*/ 646711 w 752994"/>
                <a:gd name="connsiteY82" fmla="*/ 410589 h 1333436"/>
                <a:gd name="connsiteX83" fmla="*/ 650383 w 752994"/>
                <a:gd name="connsiteY83" fmla="*/ 410589 h 1333436"/>
                <a:gd name="connsiteX84" fmla="*/ 654257 w 752994"/>
                <a:gd name="connsiteY84" fmla="*/ 411618 h 1333436"/>
                <a:gd name="connsiteX85" fmla="*/ 656913 w 752994"/>
                <a:gd name="connsiteY85" fmla="*/ 413653 h 1333436"/>
                <a:gd name="connsiteX86" fmla="*/ 660802 w 752994"/>
                <a:gd name="connsiteY86" fmla="*/ 415090 h 1333436"/>
                <a:gd name="connsiteX87" fmla="*/ 669581 w 752994"/>
                <a:gd name="connsiteY87" fmla="*/ 415904 h 1333436"/>
                <a:gd name="connsiteX88" fmla="*/ 672237 w 752994"/>
                <a:gd name="connsiteY88" fmla="*/ 415688 h 1333436"/>
                <a:gd name="connsiteX89" fmla="*/ 675705 w 752994"/>
                <a:gd name="connsiteY89" fmla="*/ 409367 h 1333436"/>
                <a:gd name="connsiteX90" fmla="*/ 679986 w 752994"/>
                <a:gd name="connsiteY90" fmla="*/ 403238 h 1333436"/>
                <a:gd name="connsiteX91" fmla="*/ 693264 w 752994"/>
                <a:gd name="connsiteY91" fmla="*/ 419567 h 1333436"/>
                <a:gd name="connsiteX92" fmla="*/ 688563 w 752994"/>
                <a:gd name="connsiteY92" fmla="*/ 448321 h 1333436"/>
                <a:gd name="connsiteX93" fmla="*/ 663949 w 752994"/>
                <a:gd name="connsiteY93" fmla="*/ 590165 h 1333436"/>
                <a:gd name="connsiteX94" fmla="*/ 666304 w 752994"/>
                <a:gd name="connsiteY94" fmla="*/ 590504 h 1333436"/>
                <a:gd name="connsiteX95" fmla="*/ 655288 w 752994"/>
                <a:gd name="connsiteY95" fmla="*/ 656178 h 1333436"/>
                <a:gd name="connsiteX96" fmla="*/ 681808 w 752994"/>
                <a:gd name="connsiteY96" fmla="*/ 662301 h 1333436"/>
                <a:gd name="connsiteX97" fmla="*/ 752994 w 752994"/>
                <a:gd name="connsiteY97" fmla="*/ 675560 h 1333436"/>
                <a:gd name="connsiteX98" fmla="*/ 714651 w 752994"/>
                <a:gd name="connsiteY98" fmla="*/ 946985 h 1333436"/>
                <a:gd name="connsiteX99" fmla="*/ 654533 w 752994"/>
                <a:gd name="connsiteY99" fmla="*/ 1333436 h 1333436"/>
                <a:gd name="connsiteX100" fmla="*/ 546831 w 752994"/>
                <a:gd name="connsiteY100" fmla="*/ 1317126 h 1333436"/>
                <a:gd name="connsiteX101" fmla="*/ 351227 w 752994"/>
                <a:gd name="connsiteY101" fmla="*/ 1194172 h 1333436"/>
                <a:gd name="connsiteX102" fmla="*/ 361011 w 752994"/>
                <a:gd name="connsiteY102" fmla="*/ 1182755 h 1333436"/>
                <a:gd name="connsiteX103" fmla="*/ 368981 w 752994"/>
                <a:gd name="connsiteY103" fmla="*/ 1182130 h 1333436"/>
                <a:gd name="connsiteX104" fmla="*/ 369571 w 752994"/>
                <a:gd name="connsiteY104" fmla="*/ 1181558 h 1333436"/>
                <a:gd name="connsiteX105" fmla="*/ 362372 w 752994"/>
                <a:gd name="connsiteY105" fmla="*/ 1182120 h 1333436"/>
                <a:gd name="connsiteX106" fmla="*/ 229464 w 752994"/>
                <a:gd name="connsiteY106" fmla="*/ 1161721 h 1333436"/>
                <a:gd name="connsiteX107" fmla="*/ 227427 w 752994"/>
                <a:gd name="connsiteY107" fmla="*/ 1157269 h 1333436"/>
                <a:gd name="connsiteX108" fmla="*/ 224967 w 752994"/>
                <a:gd name="connsiteY108" fmla="*/ 1152575 h 1333436"/>
                <a:gd name="connsiteX109" fmla="*/ 225582 w 752994"/>
                <a:gd name="connsiteY109" fmla="*/ 1144808 h 1333436"/>
                <a:gd name="connsiteX110" fmla="*/ 227215 w 752994"/>
                <a:gd name="connsiteY110" fmla="*/ 1135834 h 1333436"/>
                <a:gd name="connsiteX111" fmla="*/ 227215 w 752994"/>
                <a:gd name="connsiteY111" fmla="*/ 1134212 h 1333436"/>
                <a:gd name="connsiteX112" fmla="*/ 225179 w 752994"/>
                <a:gd name="connsiteY112" fmla="*/ 1114020 h 1333436"/>
                <a:gd name="connsiteX113" fmla="*/ 217839 w 752994"/>
                <a:gd name="connsiteY113" fmla="*/ 1100352 h 1333436"/>
                <a:gd name="connsiteX114" fmla="*/ 199661 w 752994"/>
                <a:gd name="connsiteY114" fmla="*/ 1076502 h 1333436"/>
                <a:gd name="connsiteX115" fmla="*/ 196395 w 752994"/>
                <a:gd name="connsiteY115" fmla="*/ 1071807 h 1333436"/>
                <a:gd name="connsiteX116" fmla="*/ 190880 w 752994"/>
                <a:gd name="connsiteY116" fmla="*/ 1067527 h 1333436"/>
                <a:gd name="connsiteX117" fmla="*/ 187210 w 752994"/>
                <a:gd name="connsiteY117" fmla="*/ 1068735 h 1333436"/>
                <a:gd name="connsiteX118" fmla="*/ 180062 w 752994"/>
                <a:gd name="connsiteY118" fmla="*/ 1066699 h 1333436"/>
                <a:gd name="connsiteX119" fmla="*/ 180466 w 752994"/>
                <a:gd name="connsiteY119" fmla="*/ 1053031 h 1333436"/>
                <a:gd name="connsiteX120" fmla="*/ 180062 w 752994"/>
                <a:gd name="connsiteY120" fmla="*/ 1045299 h 1333436"/>
                <a:gd name="connsiteX121" fmla="*/ 174144 w 752994"/>
                <a:gd name="connsiteY121" fmla="*/ 1044057 h 1333436"/>
                <a:gd name="connsiteX122" fmla="*/ 158426 w 752994"/>
                <a:gd name="connsiteY122" fmla="*/ 1042641 h 1333436"/>
                <a:gd name="connsiteX123" fmla="*/ 149857 w 752994"/>
                <a:gd name="connsiteY123" fmla="*/ 1035497 h 1333436"/>
                <a:gd name="connsiteX124" fmla="*/ 142497 w 752994"/>
                <a:gd name="connsiteY124" fmla="*/ 1028766 h 1333436"/>
                <a:gd name="connsiteX125" fmla="*/ 140864 w 752994"/>
                <a:gd name="connsiteY125" fmla="*/ 1020620 h 1333436"/>
                <a:gd name="connsiteX126" fmla="*/ 138212 w 752994"/>
                <a:gd name="connsiteY126" fmla="*/ 1013061 h 1333436"/>
                <a:gd name="connsiteX127" fmla="*/ 131064 w 752994"/>
                <a:gd name="connsiteY127" fmla="*/ 1007159 h 1333436"/>
                <a:gd name="connsiteX128" fmla="*/ 121264 w 752994"/>
                <a:gd name="connsiteY128" fmla="*/ 1005330 h 1333436"/>
                <a:gd name="connsiteX129" fmla="*/ 112483 w 752994"/>
                <a:gd name="connsiteY129" fmla="*/ 1001671 h 1333436"/>
                <a:gd name="connsiteX130" fmla="*/ 105950 w 752994"/>
                <a:gd name="connsiteY130" fmla="*/ 995734 h 1333436"/>
                <a:gd name="connsiteX131" fmla="*/ 97380 w 752994"/>
                <a:gd name="connsiteY131" fmla="*/ 994526 h 1333436"/>
                <a:gd name="connsiteX132" fmla="*/ 87984 w 752994"/>
                <a:gd name="connsiteY132" fmla="*/ 991040 h 1333436"/>
                <a:gd name="connsiteX133" fmla="*/ 80029 w 752994"/>
                <a:gd name="connsiteY133" fmla="*/ 985138 h 1333436"/>
                <a:gd name="connsiteX134" fmla="*/ 77166 w 752994"/>
                <a:gd name="connsiteY134" fmla="*/ 976164 h 1333436"/>
                <a:gd name="connsiteX135" fmla="*/ 79203 w 752994"/>
                <a:gd name="connsiteY135" fmla="*/ 970676 h 1333436"/>
                <a:gd name="connsiteX136" fmla="*/ 82470 w 752994"/>
                <a:gd name="connsiteY136" fmla="*/ 963117 h 1333436"/>
                <a:gd name="connsiteX137" fmla="*/ 84314 w 752994"/>
                <a:gd name="connsiteY137" fmla="*/ 954557 h 1333436"/>
                <a:gd name="connsiteX138" fmla="*/ 86351 w 752994"/>
                <a:gd name="connsiteY138" fmla="*/ 948033 h 1333436"/>
                <a:gd name="connsiteX139" fmla="*/ 86159 w 752994"/>
                <a:gd name="connsiteY139" fmla="*/ 942925 h 1333436"/>
                <a:gd name="connsiteX140" fmla="*/ 83085 w 752994"/>
                <a:gd name="connsiteY140" fmla="*/ 939853 h 1333436"/>
                <a:gd name="connsiteX141" fmla="*/ 77570 w 752994"/>
                <a:gd name="connsiteY141" fmla="*/ 937437 h 1333436"/>
                <a:gd name="connsiteX142" fmla="*/ 76763 w 752994"/>
                <a:gd name="connsiteY142" fmla="*/ 931915 h 1333436"/>
                <a:gd name="connsiteX143" fmla="*/ 78800 w 752994"/>
                <a:gd name="connsiteY143" fmla="*/ 927013 h 1333436"/>
                <a:gd name="connsiteX144" fmla="*/ 79626 w 752994"/>
                <a:gd name="connsiteY144" fmla="*/ 922526 h 1333436"/>
                <a:gd name="connsiteX145" fmla="*/ 77781 w 752994"/>
                <a:gd name="connsiteY145" fmla="*/ 919903 h 1333436"/>
                <a:gd name="connsiteX146" fmla="*/ 74303 w 752994"/>
                <a:gd name="connsiteY146" fmla="*/ 917418 h 1333436"/>
                <a:gd name="connsiteX147" fmla="*/ 71863 w 752994"/>
                <a:gd name="connsiteY147" fmla="*/ 915174 h 1333436"/>
                <a:gd name="connsiteX148" fmla="*/ 71652 w 752994"/>
                <a:gd name="connsiteY148" fmla="*/ 910894 h 1333436"/>
                <a:gd name="connsiteX149" fmla="*/ 70633 w 752994"/>
                <a:gd name="connsiteY149" fmla="*/ 906614 h 1333436"/>
                <a:gd name="connsiteX150" fmla="*/ 68385 w 752994"/>
                <a:gd name="connsiteY150" fmla="*/ 902749 h 1333436"/>
                <a:gd name="connsiteX151" fmla="*/ 61045 w 752994"/>
                <a:gd name="connsiteY151" fmla="*/ 889494 h 1333436"/>
                <a:gd name="connsiteX152" fmla="*/ 57971 w 752994"/>
                <a:gd name="connsiteY152" fmla="*/ 875619 h 1333436"/>
                <a:gd name="connsiteX153" fmla="*/ 52264 w 752994"/>
                <a:gd name="connsiteY153" fmla="*/ 862572 h 1333436"/>
                <a:gd name="connsiteX154" fmla="*/ 44309 w 752994"/>
                <a:gd name="connsiteY154" fmla="*/ 850561 h 1333436"/>
                <a:gd name="connsiteX155" fmla="*/ 45520 w 752994"/>
                <a:gd name="connsiteY155" fmla="*/ 827090 h 1333436"/>
                <a:gd name="connsiteX156" fmla="*/ 53071 w 752994"/>
                <a:gd name="connsiteY156" fmla="*/ 822396 h 1333436"/>
                <a:gd name="connsiteX157" fmla="*/ 57375 w 752994"/>
                <a:gd name="connsiteY157" fmla="*/ 816493 h 1333436"/>
                <a:gd name="connsiteX158" fmla="*/ 55319 w 752994"/>
                <a:gd name="connsiteY158" fmla="*/ 801617 h 1333436"/>
                <a:gd name="connsiteX159" fmla="*/ 48383 w 752994"/>
                <a:gd name="connsiteY159" fmla="*/ 802204 h 1333436"/>
                <a:gd name="connsiteX160" fmla="*/ 40428 w 752994"/>
                <a:gd name="connsiteY160" fmla="*/ 797924 h 1333436"/>
                <a:gd name="connsiteX161" fmla="*/ 37565 w 752994"/>
                <a:gd name="connsiteY161" fmla="*/ 790606 h 1333436"/>
                <a:gd name="connsiteX162" fmla="*/ 37565 w 752994"/>
                <a:gd name="connsiteY162" fmla="*/ 790399 h 1333436"/>
                <a:gd name="connsiteX163" fmla="*/ 35931 w 752994"/>
                <a:gd name="connsiteY163" fmla="*/ 785912 h 1333436"/>
                <a:gd name="connsiteX164" fmla="*/ 34510 w 752994"/>
                <a:gd name="connsiteY164" fmla="*/ 780597 h 1333436"/>
                <a:gd name="connsiteX165" fmla="*/ 36335 w 752994"/>
                <a:gd name="connsiteY165" fmla="*/ 774280 h 1333436"/>
                <a:gd name="connsiteX166" fmla="*/ 38180 w 752994"/>
                <a:gd name="connsiteY166" fmla="*/ 766721 h 1333436"/>
                <a:gd name="connsiteX167" fmla="*/ 37161 w 752994"/>
                <a:gd name="connsiteY167" fmla="*/ 760405 h 1333436"/>
                <a:gd name="connsiteX168" fmla="*/ 35720 w 752994"/>
                <a:gd name="connsiteY168" fmla="*/ 754710 h 1333436"/>
                <a:gd name="connsiteX169" fmla="*/ 36546 w 752994"/>
                <a:gd name="connsiteY169" fmla="*/ 748773 h 1333436"/>
                <a:gd name="connsiteX170" fmla="*/ 38372 w 752994"/>
                <a:gd name="connsiteY170" fmla="*/ 744528 h 1333436"/>
                <a:gd name="connsiteX171" fmla="*/ 41638 w 752994"/>
                <a:gd name="connsiteY171" fmla="*/ 744321 h 1333436"/>
                <a:gd name="connsiteX172" fmla="*/ 44713 w 752994"/>
                <a:gd name="connsiteY172" fmla="*/ 746357 h 1333436"/>
                <a:gd name="connsiteX173" fmla="*/ 47364 w 752994"/>
                <a:gd name="connsiteY173" fmla="*/ 753260 h 1333436"/>
                <a:gd name="connsiteX174" fmla="*/ 55742 w 752994"/>
                <a:gd name="connsiteY174" fmla="*/ 764305 h 1333436"/>
                <a:gd name="connsiteX175" fmla="*/ 56338 w 752994"/>
                <a:gd name="connsiteY175" fmla="*/ 761233 h 1333436"/>
                <a:gd name="connsiteX176" fmla="*/ 56145 w 752994"/>
                <a:gd name="connsiteY176" fmla="*/ 757368 h 1333436"/>
                <a:gd name="connsiteX177" fmla="*/ 54916 w 752994"/>
                <a:gd name="connsiteY177" fmla="*/ 748601 h 1333436"/>
                <a:gd name="connsiteX178" fmla="*/ 52879 w 752994"/>
                <a:gd name="connsiteY178" fmla="*/ 747358 h 1333436"/>
                <a:gd name="connsiteX179" fmla="*/ 51649 w 752994"/>
                <a:gd name="connsiteY179" fmla="*/ 745322 h 1333436"/>
                <a:gd name="connsiteX180" fmla="*/ 51649 w 752994"/>
                <a:gd name="connsiteY180" fmla="*/ 739212 h 1333436"/>
                <a:gd name="connsiteX181" fmla="*/ 50227 w 752994"/>
                <a:gd name="connsiteY181" fmla="*/ 734725 h 1333436"/>
                <a:gd name="connsiteX182" fmla="*/ 48786 w 752994"/>
                <a:gd name="connsiteY182" fmla="*/ 731446 h 1333436"/>
                <a:gd name="connsiteX183" fmla="*/ 54512 w 752994"/>
                <a:gd name="connsiteY183" fmla="*/ 726372 h 1333436"/>
                <a:gd name="connsiteX184" fmla="*/ 59815 w 752994"/>
                <a:gd name="connsiteY184" fmla="*/ 725130 h 1333436"/>
                <a:gd name="connsiteX185" fmla="*/ 58182 w 752994"/>
                <a:gd name="connsiteY185" fmla="*/ 722886 h 1333436"/>
                <a:gd name="connsiteX186" fmla="*/ 51861 w 752994"/>
                <a:gd name="connsiteY186" fmla="*/ 717985 h 1333436"/>
                <a:gd name="connsiteX187" fmla="*/ 46749 w 752994"/>
                <a:gd name="connsiteY187" fmla="*/ 729617 h 1333436"/>
                <a:gd name="connsiteX188" fmla="*/ 40831 w 752994"/>
                <a:gd name="connsiteY188" fmla="*/ 739212 h 1333436"/>
                <a:gd name="connsiteX189" fmla="*/ 39601 w 752994"/>
                <a:gd name="connsiteY189" fmla="*/ 738798 h 1333436"/>
                <a:gd name="connsiteX190" fmla="*/ 39409 w 752994"/>
                <a:gd name="connsiteY190" fmla="*/ 738591 h 1333436"/>
                <a:gd name="connsiteX191" fmla="*/ 37161 w 752994"/>
                <a:gd name="connsiteY191" fmla="*/ 734725 h 1333436"/>
                <a:gd name="connsiteX192" fmla="*/ 32665 w 752994"/>
                <a:gd name="connsiteY192" fmla="*/ 727788 h 1333436"/>
                <a:gd name="connsiteX193" fmla="*/ 26747 w 752994"/>
                <a:gd name="connsiteY193" fmla="*/ 719435 h 1333436"/>
                <a:gd name="connsiteX194" fmla="*/ 23884 w 752994"/>
                <a:gd name="connsiteY194" fmla="*/ 717812 h 1333436"/>
                <a:gd name="connsiteX195" fmla="*/ 24710 w 752994"/>
                <a:gd name="connsiteY195" fmla="*/ 709632 h 1333436"/>
                <a:gd name="connsiteX196" fmla="*/ 27554 w 752994"/>
                <a:gd name="connsiteY196" fmla="*/ 701694 h 1333436"/>
                <a:gd name="connsiteX197" fmla="*/ 24902 w 752994"/>
                <a:gd name="connsiteY197" fmla="*/ 696171 h 1333436"/>
                <a:gd name="connsiteX198" fmla="*/ 24095 w 752994"/>
                <a:gd name="connsiteY198" fmla="*/ 687818 h 1333436"/>
                <a:gd name="connsiteX199" fmla="*/ 22462 w 752994"/>
                <a:gd name="connsiteY199" fmla="*/ 682330 h 1333436"/>
                <a:gd name="connsiteX200" fmla="*/ 17159 w 752994"/>
                <a:gd name="connsiteY200" fmla="*/ 677636 h 1333436"/>
                <a:gd name="connsiteX201" fmla="*/ 14296 w 752994"/>
                <a:gd name="connsiteY201" fmla="*/ 671492 h 1333436"/>
                <a:gd name="connsiteX202" fmla="*/ 12451 w 752994"/>
                <a:gd name="connsiteY202" fmla="*/ 665797 h 1333436"/>
                <a:gd name="connsiteX203" fmla="*/ 5111 w 752994"/>
                <a:gd name="connsiteY203" fmla="*/ 654994 h 1333436"/>
                <a:gd name="connsiteX204" fmla="*/ 2248 w 752994"/>
                <a:gd name="connsiteY204" fmla="*/ 645605 h 1333436"/>
                <a:gd name="connsiteX205" fmla="*/ 4496 w 752994"/>
                <a:gd name="connsiteY205" fmla="*/ 640497 h 1333436"/>
                <a:gd name="connsiteX206" fmla="*/ 6744 w 752994"/>
                <a:gd name="connsiteY206" fmla="*/ 632765 h 1333436"/>
                <a:gd name="connsiteX207" fmla="*/ 6744 w 752994"/>
                <a:gd name="connsiteY207" fmla="*/ 628485 h 1333436"/>
                <a:gd name="connsiteX208" fmla="*/ 6533 w 752994"/>
                <a:gd name="connsiteY208" fmla="*/ 620305 h 1333436"/>
                <a:gd name="connsiteX209" fmla="*/ 7359 w 752994"/>
                <a:gd name="connsiteY209" fmla="*/ 611745 h 1333436"/>
                <a:gd name="connsiteX210" fmla="*/ 11836 w 752994"/>
                <a:gd name="connsiteY210" fmla="*/ 602978 h 1333436"/>
                <a:gd name="connsiteX211" fmla="*/ 15103 w 752994"/>
                <a:gd name="connsiteY211" fmla="*/ 591760 h 1333436"/>
                <a:gd name="connsiteX212" fmla="*/ 14488 w 752994"/>
                <a:gd name="connsiteY212" fmla="*/ 584029 h 1333436"/>
                <a:gd name="connsiteX213" fmla="*/ 13873 w 752994"/>
                <a:gd name="connsiteY213" fmla="*/ 578299 h 1333436"/>
                <a:gd name="connsiteX214" fmla="*/ 10626 w 752994"/>
                <a:gd name="connsiteY214" fmla="*/ 568531 h 1333436"/>
                <a:gd name="connsiteX215" fmla="*/ 3670 w 752994"/>
                <a:gd name="connsiteY215" fmla="*/ 558107 h 1333436"/>
                <a:gd name="connsiteX216" fmla="*/ 0 w 752994"/>
                <a:gd name="connsiteY216" fmla="*/ 551377 h 1333436"/>
                <a:gd name="connsiteX217" fmla="*/ 0 w 752994"/>
                <a:gd name="connsiteY217" fmla="*/ 550997 h 1333436"/>
                <a:gd name="connsiteX218" fmla="*/ 4900 w 752994"/>
                <a:gd name="connsiteY218" fmla="*/ 531220 h 1333436"/>
                <a:gd name="connsiteX219" fmla="*/ 13873 w 752994"/>
                <a:gd name="connsiteY219" fmla="*/ 520589 h 1333436"/>
                <a:gd name="connsiteX220" fmla="*/ 18369 w 752994"/>
                <a:gd name="connsiteY220" fmla="*/ 516516 h 1333436"/>
                <a:gd name="connsiteX221" fmla="*/ 18773 w 752994"/>
                <a:gd name="connsiteY221" fmla="*/ 514272 h 1333436"/>
                <a:gd name="connsiteX222" fmla="*/ 23077 w 752994"/>
                <a:gd name="connsiteY222" fmla="*/ 506127 h 1333436"/>
                <a:gd name="connsiteX223" fmla="*/ 23884 w 752994"/>
                <a:gd name="connsiteY223" fmla="*/ 502261 h 1333436"/>
                <a:gd name="connsiteX224" fmla="*/ 23692 w 752994"/>
                <a:gd name="connsiteY224" fmla="*/ 496738 h 1333436"/>
                <a:gd name="connsiteX225" fmla="*/ 30013 w 752994"/>
                <a:gd name="connsiteY225" fmla="*/ 486556 h 1333436"/>
                <a:gd name="connsiteX226" fmla="*/ 36546 w 752994"/>
                <a:gd name="connsiteY226" fmla="*/ 470230 h 1333436"/>
                <a:gd name="connsiteX227" fmla="*/ 36546 w 752994"/>
                <a:gd name="connsiteY227" fmla="*/ 462671 h 1333436"/>
                <a:gd name="connsiteX228" fmla="*/ 36335 w 752994"/>
                <a:gd name="connsiteY228" fmla="*/ 461670 h 1333436"/>
                <a:gd name="connsiteX229" fmla="*/ 35931 w 752994"/>
                <a:gd name="connsiteY229" fmla="*/ 453110 h 1333436"/>
                <a:gd name="connsiteX230" fmla="*/ 38583 w 752994"/>
                <a:gd name="connsiteY230" fmla="*/ 442514 h 1333436"/>
                <a:gd name="connsiteX231" fmla="*/ 41043 w 752994"/>
                <a:gd name="connsiteY231" fmla="*/ 436991 h 1333436"/>
                <a:gd name="connsiteX232" fmla="*/ 41650 w 752994"/>
                <a:gd name="connsiteY232" fmla="*/ 437186 h 1333436"/>
                <a:gd name="connsiteX233" fmla="*/ 41239 w 752994"/>
                <a:gd name="connsiteY233" fmla="*/ 436549 h 1333436"/>
                <a:gd name="connsiteX234" fmla="*/ 37778 w 752994"/>
                <a:gd name="connsiteY234" fmla="*/ 433894 h 1333436"/>
                <a:gd name="connsiteX235" fmla="*/ 37169 w 752994"/>
                <a:gd name="connsiteY235" fmla="*/ 432261 h 1333436"/>
                <a:gd name="connsiteX236" fmla="*/ 37365 w 752994"/>
                <a:gd name="connsiteY236" fmla="*/ 429198 h 1333436"/>
                <a:gd name="connsiteX237" fmla="*/ 36756 w 752994"/>
                <a:gd name="connsiteY237" fmla="*/ 422272 h 1333436"/>
                <a:gd name="connsiteX238" fmla="*/ 36952 w 752994"/>
                <a:gd name="connsiteY238" fmla="*/ 418800 h 1333436"/>
                <a:gd name="connsiteX239" fmla="*/ 36756 w 752994"/>
                <a:gd name="connsiteY239" fmla="*/ 412487 h 1333436"/>
                <a:gd name="connsiteX240" fmla="*/ 40433 w 752994"/>
                <a:gd name="connsiteY240" fmla="*/ 406174 h 1333436"/>
                <a:gd name="connsiteX241" fmla="*/ 44720 w 752994"/>
                <a:gd name="connsiteY241" fmla="*/ 399435 h 1333436"/>
                <a:gd name="connsiteX242" fmla="*/ 44110 w 752994"/>
                <a:gd name="connsiteY242" fmla="*/ 389651 h 1333436"/>
                <a:gd name="connsiteX243" fmla="*/ 43894 w 752994"/>
                <a:gd name="connsiteY243" fmla="*/ 378437 h 1333436"/>
                <a:gd name="connsiteX244" fmla="*/ 47158 w 752994"/>
                <a:gd name="connsiteY244" fmla="*/ 371102 h 1333436"/>
                <a:gd name="connsiteX245" fmla="*/ 55731 w 752994"/>
                <a:gd name="connsiteY245" fmla="*/ 360909 h 1333436"/>
                <a:gd name="connsiteX246" fmla="*/ 57580 w 752994"/>
                <a:gd name="connsiteY246" fmla="*/ 355804 h 1333436"/>
                <a:gd name="connsiteX247" fmla="*/ 62673 w 752994"/>
                <a:gd name="connsiteY247" fmla="*/ 349695 h 1333436"/>
                <a:gd name="connsiteX248" fmla="*/ 65937 w 752994"/>
                <a:gd name="connsiteY248" fmla="*/ 348470 h 1333436"/>
                <a:gd name="connsiteX249" fmla="*/ 68395 w 752994"/>
                <a:gd name="connsiteY249" fmla="*/ 348674 h 1333436"/>
                <a:gd name="connsiteX250" fmla="*/ 70224 w 752994"/>
                <a:gd name="connsiteY250" fmla="*/ 347449 h 1333436"/>
                <a:gd name="connsiteX251" fmla="*/ 67785 w 752994"/>
                <a:gd name="connsiteY251" fmla="*/ 345203 h 1333436"/>
                <a:gd name="connsiteX252" fmla="*/ 65524 w 752994"/>
                <a:gd name="connsiteY252" fmla="*/ 343178 h 1333436"/>
                <a:gd name="connsiteX253" fmla="*/ 73095 w 752994"/>
                <a:gd name="connsiteY253" fmla="*/ 333376 h 1333436"/>
                <a:gd name="connsiteX254" fmla="*/ 73291 w 752994"/>
                <a:gd name="connsiteY254" fmla="*/ 333376 h 1333436"/>
                <a:gd name="connsiteX255" fmla="*/ 77991 w 752994"/>
                <a:gd name="connsiteY255" fmla="*/ 325838 h 1333436"/>
                <a:gd name="connsiteX256" fmla="*/ 82671 w 752994"/>
                <a:gd name="connsiteY256" fmla="*/ 313619 h 1333436"/>
                <a:gd name="connsiteX257" fmla="*/ 87980 w 752994"/>
                <a:gd name="connsiteY257" fmla="*/ 303018 h 1333436"/>
                <a:gd name="connsiteX258" fmla="*/ 92267 w 752994"/>
                <a:gd name="connsiteY258" fmla="*/ 291191 h 1333436"/>
                <a:gd name="connsiteX259" fmla="*/ 96553 w 752994"/>
                <a:gd name="connsiteY259" fmla="*/ 281202 h 1333436"/>
                <a:gd name="connsiteX260" fmla="*/ 99621 w 752994"/>
                <a:gd name="connsiteY260" fmla="*/ 274481 h 1333436"/>
                <a:gd name="connsiteX261" fmla="*/ 103082 w 752994"/>
                <a:gd name="connsiteY261" fmla="*/ 262450 h 1333436"/>
                <a:gd name="connsiteX262" fmla="*/ 107172 w 752994"/>
                <a:gd name="connsiteY262" fmla="*/ 254299 h 1333436"/>
                <a:gd name="connsiteX263" fmla="*/ 112481 w 752994"/>
                <a:gd name="connsiteY263" fmla="*/ 243697 h 1333436"/>
                <a:gd name="connsiteX264" fmla="*/ 117181 w 752994"/>
                <a:gd name="connsiteY264" fmla="*/ 232279 h 1333436"/>
                <a:gd name="connsiteX265" fmla="*/ 125951 w 752994"/>
                <a:gd name="connsiteY265" fmla="*/ 217389 h 1333436"/>
                <a:gd name="connsiteX266" fmla="*/ 136156 w 752994"/>
                <a:gd name="connsiteY266" fmla="*/ 202925 h 1333436"/>
                <a:gd name="connsiteX267" fmla="*/ 138811 w 752994"/>
                <a:gd name="connsiteY267" fmla="*/ 183339 h 1333436"/>
                <a:gd name="connsiteX268" fmla="*/ 148801 w 752994"/>
                <a:gd name="connsiteY268" fmla="*/ 167445 h 1333436"/>
                <a:gd name="connsiteX269" fmla="*/ 159616 w 752994"/>
                <a:gd name="connsiteY269" fmla="*/ 170712 h 1333436"/>
                <a:gd name="connsiteX270" fmla="*/ 173105 w 752994"/>
                <a:gd name="connsiteY270" fmla="*/ 175188 h 1333436"/>
                <a:gd name="connsiteX271" fmla="*/ 175347 w 752994"/>
                <a:gd name="connsiteY271" fmla="*/ 175188 h 1333436"/>
                <a:gd name="connsiteX272" fmla="*/ 175347 w 752994"/>
                <a:gd name="connsiteY272" fmla="*/ 173758 h 1333436"/>
                <a:gd name="connsiteX273" fmla="*/ 184975 w 752994"/>
                <a:gd name="connsiteY273" fmla="*/ 187393 h 1333436"/>
                <a:gd name="connsiteX274" fmla="*/ 184762 w 752994"/>
                <a:gd name="connsiteY274" fmla="*/ 184637 h 1333436"/>
                <a:gd name="connsiteX275" fmla="*/ 174971 w 752994"/>
                <a:gd name="connsiteY275" fmla="*/ 170774 h 1333436"/>
                <a:gd name="connsiteX276" fmla="*/ 174971 w 752994"/>
                <a:gd name="connsiteY276" fmla="*/ 169550 h 1333436"/>
                <a:gd name="connsiteX277" fmla="*/ 158851 w 752994"/>
                <a:gd name="connsiteY277" fmla="*/ 156924 h 1333436"/>
                <a:gd name="connsiteX278" fmla="*/ 147025 w 752994"/>
                <a:gd name="connsiteY278" fmla="*/ 145709 h 1333436"/>
                <a:gd name="connsiteX279" fmla="*/ 154364 w 752994"/>
                <a:gd name="connsiteY279" fmla="*/ 136335 h 1333436"/>
                <a:gd name="connsiteX280" fmla="*/ 161511 w 752994"/>
                <a:gd name="connsiteY280" fmla="*/ 131042 h 1333436"/>
                <a:gd name="connsiteX281" fmla="*/ 160902 w 752994"/>
                <a:gd name="connsiteY281" fmla="*/ 128384 h 1333436"/>
                <a:gd name="connsiteX282" fmla="*/ 160277 w 752994"/>
                <a:gd name="connsiteY282" fmla="*/ 127778 h 1333436"/>
                <a:gd name="connsiteX283" fmla="*/ 154973 w 752994"/>
                <a:gd name="connsiteY283" fmla="*/ 122077 h 1333436"/>
                <a:gd name="connsiteX284" fmla="*/ 160277 w 752994"/>
                <a:gd name="connsiteY284" fmla="*/ 115140 h 1333436"/>
                <a:gd name="connsiteX285" fmla="*/ 165181 w 752994"/>
                <a:gd name="connsiteY285" fmla="*/ 108215 h 1333436"/>
                <a:gd name="connsiteX286" fmla="*/ 161303 w 752994"/>
                <a:gd name="connsiteY286" fmla="*/ 104146 h 1333436"/>
                <a:gd name="connsiteX287" fmla="*/ 157842 w 752994"/>
                <a:gd name="connsiteY287" fmla="*/ 104542 h 1333436"/>
                <a:gd name="connsiteX288" fmla="*/ 157024 w 752994"/>
                <a:gd name="connsiteY288" fmla="*/ 102304 h 1333436"/>
                <a:gd name="connsiteX289" fmla="*/ 160694 w 752994"/>
                <a:gd name="connsiteY289" fmla="*/ 55437 h 1333436"/>
                <a:gd name="connsiteX290" fmla="*/ 160486 w 752994"/>
                <a:gd name="connsiteY290" fmla="*/ 31991 h 1333436"/>
                <a:gd name="connsiteX291" fmla="*/ 164972 w 752994"/>
                <a:gd name="connsiteY291" fmla="*/ 18141 h 1333436"/>
                <a:gd name="connsiteX292" fmla="*/ 171911 w 752994"/>
                <a:gd name="connsiteY292" fmla="*/ 11204 h 1333436"/>
                <a:gd name="connsiteX293" fmla="*/ 187406 w 752994"/>
                <a:gd name="connsiteY293" fmla="*/ 21801 h 1333436"/>
                <a:gd name="connsiteX294" fmla="*/ 210866 w 752994"/>
                <a:gd name="connsiteY294" fmla="*/ 37086 h 1333436"/>
                <a:gd name="connsiteX295" fmla="*/ 219230 w 752994"/>
                <a:gd name="connsiteY295" fmla="*/ 41166 h 1333436"/>
                <a:gd name="connsiteX296" fmla="*/ 226778 w 752994"/>
                <a:gd name="connsiteY296" fmla="*/ 47486 h 1333436"/>
                <a:gd name="connsiteX297" fmla="*/ 236152 w 752994"/>
                <a:gd name="connsiteY297" fmla="*/ 52370 h 1333436"/>
                <a:gd name="connsiteX298" fmla="*/ 239629 w 752994"/>
                <a:gd name="connsiteY298" fmla="*/ 58491 h 1333436"/>
                <a:gd name="connsiteX299" fmla="*/ 239629 w 752994"/>
                <a:gd name="connsiteY299" fmla="*/ 63376 h 1333436"/>
                <a:gd name="connsiteX300" fmla="*/ 236568 w 752994"/>
                <a:gd name="connsiteY300" fmla="*/ 67457 h 1333436"/>
                <a:gd name="connsiteX301" fmla="*/ 231264 w 752994"/>
                <a:gd name="connsiteY301" fmla="*/ 69905 h 1333436"/>
                <a:gd name="connsiteX302" fmla="*/ 216778 w 752994"/>
                <a:gd name="connsiteY302" fmla="*/ 82741 h 1333436"/>
                <a:gd name="connsiteX303" fmla="*/ 214134 w 752994"/>
                <a:gd name="connsiteY303" fmla="*/ 93536 h 1333436"/>
                <a:gd name="connsiteX304" fmla="*/ 214535 w 752994"/>
                <a:gd name="connsiteY304" fmla="*/ 96801 h 1333436"/>
                <a:gd name="connsiteX305" fmla="*/ 216378 w 752994"/>
                <a:gd name="connsiteY305" fmla="*/ 96801 h 1333436"/>
                <a:gd name="connsiteX306" fmla="*/ 230046 w 752994"/>
                <a:gd name="connsiteY306" fmla="*/ 85387 h 1333436"/>
                <a:gd name="connsiteX307" fmla="*/ 243298 w 752994"/>
                <a:gd name="connsiteY307" fmla="*/ 75198 h 1333436"/>
                <a:gd name="connsiteX308" fmla="*/ 246760 w 752994"/>
                <a:gd name="connsiteY308" fmla="*/ 77646 h 1333436"/>
                <a:gd name="connsiteX309" fmla="*/ 255541 w 752994"/>
                <a:gd name="connsiteY309" fmla="*/ 63376 h 1333436"/>
                <a:gd name="connsiteX310" fmla="*/ 259611 w 752994"/>
                <a:gd name="connsiteY310" fmla="*/ 43405 h 1333436"/>
                <a:gd name="connsiteX311" fmla="*/ 256967 w 752994"/>
                <a:gd name="connsiteY311" fmla="*/ 38520 h 1333436"/>
                <a:gd name="connsiteX312" fmla="*/ 253906 w 752994"/>
                <a:gd name="connsiteY312" fmla="*/ 34242 h 1333436"/>
                <a:gd name="connsiteX313" fmla="*/ 256967 w 752994"/>
                <a:gd name="connsiteY313" fmla="*/ 30161 h 1333436"/>
                <a:gd name="connsiteX314" fmla="*/ 262063 w 752994"/>
                <a:gd name="connsiteY314" fmla="*/ 27712 h 1333436"/>
                <a:gd name="connsiteX315" fmla="*/ 264915 w 752994"/>
                <a:gd name="connsiteY315" fmla="*/ 23026 h 1333436"/>
                <a:gd name="connsiteX316" fmla="*/ 267976 w 752994"/>
                <a:gd name="connsiteY316" fmla="*/ 22618 h 1333436"/>
                <a:gd name="connsiteX317" fmla="*/ 270427 w 752994"/>
                <a:gd name="connsiteY317" fmla="*/ 20787 h 1333436"/>
                <a:gd name="connsiteX318" fmla="*/ 263088 w 752994"/>
                <a:gd name="connsiteY318" fmla="*/ 13652 h 1333436"/>
                <a:gd name="connsiteX319" fmla="*/ 255541 w 752994"/>
                <a:gd name="connsiteY319" fmla="*/ 3055 h 1333436"/>
                <a:gd name="connsiteX320" fmla="*/ 256358 w 752994"/>
                <a:gd name="connsiteY320" fmla="*/ 1224 h 1333436"/>
                <a:gd name="connsiteX321" fmla="*/ 257159 w 752994"/>
                <a:gd name="connsiteY321"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48428 w 752994"/>
                <a:gd name="connsiteY20" fmla="*/ 250011 h 1333436"/>
                <a:gd name="connsiteX21" fmla="*/ 351279 w 752994"/>
                <a:gd name="connsiteY21" fmla="*/ 247356 h 1333436"/>
                <a:gd name="connsiteX22" fmla="*/ 355566 w 752994"/>
                <a:gd name="connsiteY22" fmla="*/ 244293 h 1333436"/>
                <a:gd name="connsiteX23" fmla="*/ 280827 w 752994"/>
                <a:gd name="connsiteY23" fmla="*/ 242720 h 1333436"/>
                <a:gd name="connsiteX24" fmla="*/ 247994 w 752994"/>
                <a:gd name="connsiteY24" fmla="*/ 241693 h 1333436"/>
                <a:gd name="connsiteX25" fmla="*/ 195162 w 752994"/>
                <a:gd name="connsiteY25" fmla="*/ 228857 h 1333436"/>
                <a:gd name="connsiteX26" fmla="*/ 188223 w 752994"/>
                <a:gd name="connsiteY26" fmla="*/ 223973 h 1333436"/>
                <a:gd name="connsiteX27" fmla="*/ 185163 w 752994"/>
                <a:gd name="connsiteY27" fmla="*/ 219484 h 1333436"/>
                <a:gd name="connsiteX28" fmla="*/ 184180 w 752994"/>
                <a:gd name="connsiteY28" fmla="*/ 213866 h 1333436"/>
                <a:gd name="connsiteX29" fmla="*/ 257159 w 752994"/>
                <a:gd name="connsiteY29" fmla="*/ 0 h 1333436"/>
                <a:gd name="connsiteX30" fmla="*/ 493147 w 752994"/>
                <a:gd name="connsiteY30" fmla="*/ 73157 h 1333436"/>
                <a:gd name="connsiteX31" fmla="*/ 492970 w 752994"/>
                <a:gd name="connsiteY31" fmla="*/ 73792 h 1333436"/>
                <a:gd name="connsiteX32" fmla="*/ 525816 w 752994"/>
                <a:gd name="connsiteY32" fmla="*/ 82491 h 1333436"/>
                <a:gd name="connsiteX33" fmla="*/ 520098 w 752994"/>
                <a:gd name="connsiteY33" fmla="*/ 111245 h 1333436"/>
                <a:gd name="connsiteX34" fmla="*/ 512552 w 752994"/>
                <a:gd name="connsiteY34" fmla="*/ 143854 h 1333436"/>
                <a:gd name="connsiteX35" fmla="*/ 517849 w 752994"/>
                <a:gd name="connsiteY35" fmla="*/ 157740 h 1333436"/>
                <a:gd name="connsiteX36" fmla="*/ 523160 w 752994"/>
                <a:gd name="connsiteY36" fmla="*/ 172009 h 1333436"/>
                <a:gd name="connsiteX37" fmla="*/ 521535 w 752994"/>
                <a:gd name="connsiteY37" fmla="*/ 178928 h 1333436"/>
                <a:gd name="connsiteX38" fmla="*/ 520098 w 752994"/>
                <a:gd name="connsiteY38" fmla="*/ 186279 h 1333436"/>
                <a:gd name="connsiteX39" fmla="*/ 526019 w 752994"/>
                <a:gd name="connsiteY39" fmla="*/ 193629 h 1333436"/>
                <a:gd name="connsiteX40" fmla="*/ 537251 w 752994"/>
                <a:gd name="connsiteY40" fmla="*/ 206270 h 1333436"/>
                <a:gd name="connsiteX41" fmla="*/ 542765 w 752994"/>
                <a:gd name="connsiteY41" fmla="*/ 217475 h 1333436"/>
                <a:gd name="connsiteX42" fmla="*/ 546857 w 752994"/>
                <a:gd name="connsiteY42" fmla="*/ 230930 h 1333436"/>
                <a:gd name="connsiteX43" fmla="*/ 549499 w 752994"/>
                <a:gd name="connsiteY43" fmla="*/ 235622 h 1333436"/>
                <a:gd name="connsiteX44" fmla="*/ 553388 w 752994"/>
                <a:gd name="connsiteY44" fmla="*/ 240722 h 1333436"/>
                <a:gd name="connsiteX45" fmla="*/ 557465 w 752994"/>
                <a:gd name="connsiteY45" fmla="*/ 246037 h 1333436"/>
                <a:gd name="connsiteX46" fmla="*/ 561761 w 752994"/>
                <a:gd name="connsiteY46" fmla="*/ 248671 h 1333436"/>
                <a:gd name="connsiteX47" fmla="*/ 567478 w 752994"/>
                <a:gd name="connsiteY47" fmla="*/ 247665 h 1333436"/>
                <a:gd name="connsiteX48" fmla="*/ 569931 w 752994"/>
                <a:gd name="connsiteY48" fmla="*/ 249293 h 1333436"/>
                <a:gd name="connsiteX49" fmla="*/ 570540 w 752994"/>
                <a:gd name="connsiteY49" fmla="*/ 251951 h 1333436"/>
                <a:gd name="connsiteX50" fmla="*/ 561964 w 752994"/>
                <a:gd name="connsiteY50" fmla="*/ 267656 h 1333436"/>
                <a:gd name="connsiteX51" fmla="*/ 553591 w 752994"/>
                <a:gd name="connsiteY51" fmla="*/ 289659 h 1333436"/>
                <a:gd name="connsiteX52" fmla="*/ 554810 w 752994"/>
                <a:gd name="connsiteY52" fmla="*/ 292939 h 1333436"/>
                <a:gd name="connsiteX53" fmla="*/ 556246 w 752994"/>
                <a:gd name="connsiteY53" fmla="*/ 299260 h 1333436"/>
                <a:gd name="connsiteX54" fmla="*/ 552778 w 752994"/>
                <a:gd name="connsiteY54" fmla="*/ 301917 h 1333436"/>
                <a:gd name="connsiteX55" fmla="*/ 549295 w 752994"/>
                <a:gd name="connsiteY55" fmla="*/ 306993 h 1333436"/>
                <a:gd name="connsiteX56" fmla="*/ 547061 w 752994"/>
                <a:gd name="connsiteY56" fmla="*/ 313122 h 1333436"/>
                <a:gd name="connsiteX57" fmla="*/ 544811 w 752994"/>
                <a:gd name="connsiteY57" fmla="*/ 316593 h 1333436"/>
                <a:gd name="connsiteX58" fmla="*/ 549919 w 752994"/>
                <a:gd name="connsiteY58" fmla="*/ 322698 h 1333436"/>
                <a:gd name="connsiteX59" fmla="*/ 553184 w 752994"/>
                <a:gd name="connsiteY59" fmla="*/ 325955 h 1333436"/>
                <a:gd name="connsiteX60" fmla="*/ 555840 w 752994"/>
                <a:gd name="connsiteY60" fmla="*/ 328205 h 1333436"/>
                <a:gd name="connsiteX61" fmla="*/ 574212 w 752994"/>
                <a:gd name="connsiteY61" fmla="*/ 318820 h 1333436"/>
                <a:gd name="connsiteX62" fmla="*/ 579523 w 752994"/>
                <a:gd name="connsiteY62" fmla="*/ 326577 h 1333436"/>
                <a:gd name="connsiteX63" fmla="*/ 580539 w 752994"/>
                <a:gd name="connsiteY63" fmla="*/ 334933 h 1333436"/>
                <a:gd name="connsiteX64" fmla="*/ 579726 w 752994"/>
                <a:gd name="connsiteY64" fmla="*/ 343097 h 1333436"/>
                <a:gd name="connsiteX65" fmla="*/ 581366 w 752994"/>
                <a:gd name="connsiteY65" fmla="*/ 350231 h 1333436"/>
                <a:gd name="connsiteX66" fmla="*/ 586256 w 752994"/>
                <a:gd name="connsiteY66" fmla="*/ 355930 h 1333436"/>
                <a:gd name="connsiteX67" fmla="*/ 589536 w 752994"/>
                <a:gd name="connsiteY67" fmla="*/ 362059 h 1333436"/>
                <a:gd name="connsiteX68" fmla="*/ 588099 w 752994"/>
                <a:gd name="connsiteY68" fmla="*/ 369600 h 1333436"/>
                <a:gd name="connsiteX69" fmla="*/ 586459 w 752994"/>
                <a:gd name="connsiteY69" fmla="*/ 377357 h 1333436"/>
                <a:gd name="connsiteX70" fmla="*/ 588709 w 752994"/>
                <a:gd name="connsiteY70" fmla="*/ 381835 h 1333436"/>
                <a:gd name="connsiteX71" fmla="*/ 595036 w 752994"/>
                <a:gd name="connsiteY71" fmla="*/ 382457 h 1333436"/>
                <a:gd name="connsiteX72" fmla="*/ 599331 w 752994"/>
                <a:gd name="connsiteY72" fmla="*/ 385306 h 1333436"/>
                <a:gd name="connsiteX73" fmla="*/ 601987 w 752994"/>
                <a:gd name="connsiteY73" fmla="*/ 391004 h 1333436"/>
                <a:gd name="connsiteX74" fmla="*/ 602799 w 752994"/>
                <a:gd name="connsiteY74" fmla="*/ 404076 h 1333436"/>
                <a:gd name="connsiteX75" fmla="*/ 606892 w 752994"/>
                <a:gd name="connsiteY75" fmla="*/ 415688 h 1333436"/>
                <a:gd name="connsiteX76" fmla="*/ 610563 w 752994"/>
                <a:gd name="connsiteY76" fmla="*/ 412217 h 1333436"/>
                <a:gd name="connsiteX77" fmla="*/ 617920 w 752994"/>
                <a:gd name="connsiteY77" fmla="*/ 408769 h 1333436"/>
                <a:gd name="connsiteX78" fmla="*/ 624654 w 752994"/>
                <a:gd name="connsiteY78" fmla="*/ 411211 h 1333436"/>
                <a:gd name="connsiteX79" fmla="*/ 634652 w 752994"/>
                <a:gd name="connsiteY79" fmla="*/ 410182 h 1333436"/>
                <a:gd name="connsiteX80" fmla="*/ 640573 w 752994"/>
                <a:gd name="connsiteY80" fmla="*/ 407739 h 1333436"/>
                <a:gd name="connsiteX81" fmla="*/ 646711 w 752994"/>
                <a:gd name="connsiteY81" fmla="*/ 410589 h 1333436"/>
                <a:gd name="connsiteX82" fmla="*/ 650383 w 752994"/>
                <a:gd name="connsiteY82" fmla="*/ 410589 h 1333436"/>
                <a:gd name="connsiteX83" fmla="*/ 654257 w 752994"/>
                <a:gd name="connsiteY83" fmla="*/ 411618 h 1333436"/>
                <a:gd name="connsiteX84" fmla="*/ 656913 w 752994"/>
                <a:gd name="connsiteY84" fmla="*/ 413653 h 1333436"/>
                <a:gd name="connsiteX85" fmla="*/ 660802 w 752994"/>
                <a:gd name="connsiteY85" fmla="*/ 415090 h 1333436"/>
                <a:gd name="connsiteX86" fmla="*/ 669581 w 752994"/>
                <a:gd name="connsiteY86" fmla="*/ 415904 h 1333436"/>
                <a:gd name="connsiteX87" fmla="*/ 672237 w 752994"/>
                <a:gd name="connsiteY87" fmla="*/ 415688 h 1333436"/>
                <a:gd name="connsiteX88" fmla="*/ 675705 w 752994"/>
                <a:gd name="connsiteY88" fmla="*/ 409367 h 1333436"/>
                <a:gd name="connsiteX89" fmla="*/ 679986 w 752994"/>
                <a:gd name="connsiteY89" fmla="*/ 403238 h 1333436"/>
                <a:gd name="connsiteX90" fmla="*/ 693264 w 752994"/>
                <a:gd name="connsiteY90" fmla="*/ 419567 h 1333436"/>
                <a:gd name="connsiteX91" fmla="*/ 688563 w 752994"/>
                <a:gd name="connsiteY91" fmla="*/ 448321 h 1333436"/>
                <a:gd name="connsiteX92" fmla="*/ 663949 w 752994"/>
                <a:gd name="connsiteY92" fmla="*/ 590165 h 1333436"/>
                <a:gd name="connsiteX93" fmla="*/ 666304 w 752994"/>
                <a:gd name="connsiteY93" fmla="*/ 590504 h 1333436"/>
                <a:gd name="connsiteX94" fmla="*/ 655288 w 752994"/>
                <a:gd name="connsiteY94" fmla="*/ 656178 h 1333436"/>
                <a:gd name="connsiteX95" fmla="*/ 681808 w 752994"/>
                <a:gd name="connsiteY95" fmla="*/ 662301 h 1333436"/>
                <a:gd name="connsiteX96" fmla="*/ 752994 w 752994"/>
                <a:gd name="connsiteY96" fmla="*/ 675560 h 1333436"/>
                <a:gd name="connsiteX97" fmla="*/ 714651 w 752994"/>
                <a:gd name="connsiteY97" fmla="*/ 946985 h 1333436"/>
                <a:gd name="connsiteX98" fmla="*/ 654533 w 752994"/>
                <a:gd name="connsiteY98" fmla="*/ 1333436 h 1333436"/>
                <a:gd name="connsiteX99" fmla="*/ 546831 w 752994"/>
                <a:gd name="connsiteY99" fmla="*/ 1317126 h 1333436"/>
                <a:gd name="connsiteX100" fmla="*/ 351227 w 752994"/>
                <a:gd name="connsiteY100" fmla="*/ 1194172 h 1333436"/>
                <a:gd name="connsiteX101" fmla="*/ 361011 w 752994"/>
                <a:gd name="connsiteY101" fmla="*/ 1182755 h 1333436"/>
                <a:gd name="connsiteX102" fmla="*/ 368981 w 752994"/>
                <a:gd name="connsiteY102" fmla="*/ 1182130 h 1333436"/>
                <a:gd name="connsiteX103" fmla="*/ 369571 w 752994"/>
                <a:gd name="connsiteY103" fmla="*/ 1181558 h 1333436"/>
                <a:gd name="connsiteX104" fmla="*/ 362372 w 752994"/>
                <a:gd name="connsiteY104" fmla="*/ 1182120 h 1333436"/>
                <a:gd name="connsiteX105" fmla="*/ 229464 w 752994"/>
                <a:gd name="connsiteY105" fmla="*/ 1161721 h 1333436"/>
                <a:gd name="connsiteX106" fmla="*/ 227427 w 752994"/>
                <a:gd name="connsiteY106" fmla="*/ 1157269 h 1333436"/>
                <a:gd name="connsiteX107" fmla="*/ 224967 w 752994"/>
                <a:gd name="connsiteY107" fmla="*/ 1152575 h 1333436"/>
                <a:gd name="connsiteX108" fmla="*/ 225582 w 752994"/>
                <a:gd name="connsiteY108" fmla="*/ 1144808 h 1333436"/>
                <a:gd name="connsiteX109" fmla="*/ 227215 w 752994"/>
                <a:gd name="connsiteY109" fmla="*/ 1135834 h 1333436"/>
                <a:gd name="connsiteX110" fmla="*/ 227215 w 752994"/>
                <a:gd name="connsiteY110" fmla="*/ 1134212 h 1333436"/>
                <a:gd name="connsiteX111" fmla="*/ 225179 w 752994"/>
                <a:gd name="connsiteY111" fmla="*/ 1114020 h 1333436"/>
                <a:gd name="connsiteX112" fmla="*/ 217839 w 752994"/>
                <a:gd name="connsiteY112" fmla="*/ 1100352 h 1333436"/>
                <a:gd name="connsiteX113" fmla="*/ 199661 w 752994"/>
                <a:gd name="connsiteY113" fmla="*/ 1076502 h 1333436"/>
                <a:gd name="connsiteX114" fmla="*/ 196395 w 752994"/>
                <a:gd name="connsiteY114" fmla="*/ 1071807 h 1333436"/>
                <a:gd name="connsiteX115" fmla="*/ 190880 w 752994"/>
                <a:gd name="connsiteY115" fmla="*/ 1067527 h 1333436"/>
                <a:gd name="connsiteX116" fmla="*/ 187210 w 752994"/>
                <a:gd name="connsiteY116" fmla="*/ 1068735 h 1333436"/>
                <a:gd name="connsiteX117" fmla="*/ 180062 w 752994"/>
                <a:gd name="connsiteY117" fmla="*/ 1066699 h 1333436"/>
                <a:gd name="connsiteX118" fmla="*/ 180466 w 752994"/>
                <a:gd name="connsiteY118" fmla="*/ 1053031 h 1333436"/>
                <a:gd name="connsiteX119" fmla="*/ 180062 w 752994"/>
                <a:gd name="connsiteY119" fmla="*/ 1045299 h 1333436"/>
                <a:gd name="connsiteX120" fmla="*/ 174144 w 752994"/>
                <a:gd name="connsiteY120" fmla="*/ 1044057 h 1333436"/>
                <a:gd name="connsiteX121" fmla="*/ 158426 w 752994"/>
                <a:gd name="connsiteY121" fmla="*/ 1042641 h 1333436"/>
                <a:gd name="connsiteX122" fmla="*/ 149857 w 752994"/>
                <a:gd name="connsiteY122" fmla="*/ 1035497 h 1333436"/>
                <a:gd name="connsiteX123" fmla="*/ 142497 w 752994"/>
                <a:gd name="connsiteY123" fmla="*/ 1028766 h 1333436"/>
                <a:gd name="connsiteX124" fmla="*/ 140864 w 752994"/>
                <a:gd name="connsiteY124" fmla="*/ 1020620 h 1333436"/>
                <a:gd name="connsiteX125" fmla="*/ 138212 w 752994"/>
                <a:gd name="connsiteY125" fmla="*/ 1013061 h 1333436"/>
                <a:gd name="connsiteX126" fmla="*/ 131064 w 752994"/>
                <a:gd name="connsiteY126" fmla="*/ 1007159 h 1333436"/>
                <a:gd name="connsiteX127" fmla="*/ 121264 w 752994"/>
                <a:gd name="connsiteY127" fmla="*/ 1005330 h 1333436"/>
                <a:gd name="connsiteX128" fmla="*/ 112483 w 752994"/>
                <a:gd name="connsiteY128" fmla="*/ 1001671 h 1333436"/>
                <a:gd name="connsiteX129" fmla="*/ 105950 w 752994"/>
                <a:gd name="connsiteY129" fmla="*/ 995734 h 1333436"/>
                <a:gd name="connsiteX130" fmla="*/ 97380 w 752994"/>
                <a:gd name="connsiteY130" fmla="*/ 994526 h 1333436"/>
                <a:gd name="connsiteX131" fmla="*/ 87984 w 752994"/>
                <a:gd name="connsiteY131" fmla="*/ 991040 h 1333436"/>
                <a:gd name="connsiteX132" fmla="*/ 80029 w 752994"/>
                <a:gd name="connsiteY132" fmla="*/ 985138 h 1333436"/>
                <a:gd name="connsiteX133" fmla="*/ 77166 w 752994"/>
                <a:gd name="connsiteY133" fmla="*/ 976164 h 1333436"/>
                <a:gd name="connsiteX134" fmla="*/ 79203 w 752994"/>
                <a:gd name="connsiteY134" fmla="*/ 970676 h 1333436"/>
                <a:gd name="connsiteX135" fmla="*/ 82470 w 752994"/>
                <a:gd name="connsiteY135" fmla="*/ 963117 h 1333436"/>
                <a:gd name="connsiteX136" fmla="*/ 84314 w 752994"/>
                <a:gd name="connsiteY136" fmla="*/ 954557 h 1333436"/>
                <a:gd name="connsiteX137" fmla="*/ 86351 w 752994"/>
                <a:gd name="connsiteY137" fmla="*/ 948033 h 1333436"/>
                <a:gd name="connsiteX138" fmla="*/ 86159 w 752994"/>
                <a:gd name="connsiteY138" fmla="*/ 942925 h 1333436"/>
                <a:gd name="connsiteX139" fmla="*/ 83085 w 752994"/>
                <a:gd name="connsiteY139" fmla="*/ 939853 h 1333436"/>
                <a:gd name="connsiteX140" fmla="*/ 77570 w 752994"/>
                <a:gd name="connsiteY140" fmla="*/ 937437 h 1333436"/>
                <a:gd name="connsiteX141" fmla="*/ 76763 w 752994"/>
                <a:gd name="connsiteY141" fmla="*/ 931915 h 1333436"/>
                <a:gd name="connsiteX142" fmla="*/ 78800 w 752994"/>
                <a:gd name="connsiteY142" fmla="*/ 927013 h 1333436"/>
                <a:gd name="connsiteX143" fmla="*/ 79626 w 752994"/>
                <a:gd name="connsiteY143" fmla="*/ 922526 h 1333436"/>
                <a:gd name="connsiteX144" fmla="*/ 77781 w 752994"/>
                <a:gd name="connsiteY144" fmla="*/ 919903 h 1333436"/>
                <a:gd name="connsiteX145" fmla="*/ 74303 w 752994"/>
                <a:gd name="connsiteY145" fmla="*/ 917418 h 1333436"/>
                <a:gd name="connsiteX146" fmla="*/ 71863 w 752994"/>
                <a:gd name="connsiteY146" fmla="*/ 915174 h 1333436"/>
                <a:gd name="connsiteX147" fmla="*/ 71652 w 752994"/>
                <a:gd name="connsiteY147" fmla="*/ 910894 h 1333436"/>
                <a:gd name="connsiteX148" fmla="*/ 70633 w 752994"/>
                <a:gd name="connsiteY148" fmla="*/ 906614 h 1333436"/>
                <a:gd name="connsiteX149" fmla="*/ 68385 w 752994"/>
                <a:gd name="connsiteY149" fmla="*/ 902749 h 1333436"/>
                <a:gd name="connsiteX150" fmla="*/ 61045 w 752994"/>
                <a:gd name="connsiteY150" fmla="*/ 889494 h 1333436"/>
                <a:gd name="connsiteX151" fmla="*/ 57971 w 752994"/>
                <a:gd name="connsiteY151" fmla="*/ 875619 h 1333436"/>
                <a:gd name="connsiteX152" fmla="*/ 52264 w 752994"/>
                <a:gd name="connsiteY152" fmla="*/ 862572 h 1333436"/>
                <a:gd name="connsiteX153" fmla="*/ 44309 w 752994"/>
                <a:gd name="connsiteY153" fmla="*/ 850561 h 1333436"/>
                <a:gd name="connsiteX154" fmla="*/ 45520 w 752994"/>
                <a:gd name="connsiteY154" fmla="*/ 827090 h 1333436"/>
                <a:gd name="connsiteX155" fmla="*/ 53071 w 752994"/>
                <a:gd name="connsiteY155" fmla="*/ 822396 h 1333436"/>
                <a:gd name="connsiteX156" fmla="*/ 57375 w 752994"/>
                <a:gd name="connsiteY156" fmla="*/ 816493 h 1333436"/>
                <a:gd name="connsiteX157" fmla="*/ 55319 w 752994"/>
                <a:gd name="connsiteY157" fmla="*/ 801617 h 1333436"/>
                <a:gd name="connsiteX158" fmla="*/ 48383 w 752994"/>
                <a:gd name="connsiteY158" fmla="*/ 802204 h 1333436"/>
                <a:gd name="connsiteX159" fmla="*/ 40428 w 752994"/>
                <a:gd name="connsiteY159" fmla="*/ 797924 h 1333436"/>
                <a:gd name="connsiteX160" fmla="*/ 37565 w 752994"/>
                <a:gd name="connsiteY160" fmla="*/ 790606 h 1333436"/>
                <a:gd name="connsiteX161" fmla="*/ 37565 w 752994"/>
                <a:gd name="connsiteY161" fmla="*/ 790399 h 1333436"/>
                <a:gd name="connsiteX162" fmla="*/ 35931 w 752994"/>
                <a:gd name="connsiteY162" fmla="*/ 785912 h 1333436"/>
                <a:gd name="connsiteX163" fmla="*/ 34510 w 752994"/>
                <a:gd name="connsiteY163" fmla="*/ 780597 h 1333436"/>
                <a:gd name="connsiteX164" fmla="*/ 36335 w 752994"/>
                <a:gd name="connsiteY164" fmla="*/ 774280 h 1333436"/>
                <a:gd name="connsiteX165" fmla="*/ 38180 w 752994"/>
                <a:gd name="connsiteY165" fmla="*/ 766721 h 1333436"/>
                <a:gd name="connsiteX166" fmla="*/ 37161 w 752994"/>
                <a:gd name="connsiteY166" fmla="*/ 760405 h 1333436"/>
                <a:gd name="connsiteX167" fmla="*/ 35720 w 752994"/>
                <a:gd name="connsiteY167" fmla="*/ 754710 h 1333436"/>
                <a:gd name="connsiteX168" fmla="*/ 36546 w 752994"/>
                <a:gd name="connsiteY168" fmla="*/ 748773 h 1333436"/>
                <a:gd name="connsiteX169" fmla="*/ 38372 w 752994"/>
                <a:gd name="connsiteY169" fmla="*/ 744528 h 1333436"/>
                <a:gd name="connsiteX170" fmla="*/ 41638 w 752994"/>
                <a:gd name="connsiteY170" fmla="*/ 744321 h 1333436"/>
                <a:gd name="connsiteX171" fmla="*/ 44713 w 752994"/>
                <a:gd name="connsiteY171" fmla="*/ 746357 h 1333436"/>
                <a:gd name="connsiteX172" fmla="*/ 47364 w 752994"/>
                <a:gd name="connsiteY172" fmla="*/ 753260 h 1333436"/>
                <a:gd name="connsiteX173" fmla="*/ 55742 w 752994"/>
                <a:gd name="connsiteY173" fmla="*/ 764305 h 1333436"/>
                <a:gd name="connsiteX174" fmla="*/ 56338 w 752994"/>
                <a:gd name="connsiteY174" fmla="*/ 761233 h 1333436"/>
                <a:gd name="connsiteX175" fmla="*/ 56145 w 752994"/>
                <a:gd name="connsiteY175" fmla="*/ 757368 h 1333436"/>
                <a:gd name="connsiteX176" fmla="*/ 54916 w 752994"/>
                <a:gd name="connsiteY176" fmla="*/ 748601 h 1333436"/>
                <a:gd name="connsiteX177" fmla="*/ 52879 w 752994"/>
                <a:gd name="connsiteY177" fmla="*/ 747358 h 1333436"/>
                <a:gd name="connsiteX178" fmla="*/ 51649 w 752994"/>
                <a:gd name="connsiteY178" fmla="*/ 745322 h 1333436"/>
                <a:gd name="connsiteX179" fmla="*/ 51649 w 752994"/>
                <a:gd name="connsiteY179" fmla="*/ 739212 h 1333436"/>
                <a:gd name="connsiteX180" fmla="*/ 50227 w 752994"/>
                <a:gd name="connsiteY180" fmla="*/ 734725 h 1333436"/>
                <a:gd name="connsiteX181" fmla="*/ 48786 w 752994"/>
                <a:gd name="connsiteY181" fmla="*/ 731446 h 1333436"/>
                <a:gd name="connsiteX182" fmla="*/ 54512 w 752994"/>
                <a:gd name="connsiteY182" fmla="*/ 726372 h 1333436"/>
                <a:gd name="connsiteX183" fmla="*/ 59815 w 752994"/>
                <a:gd name="connsiteY183" fmla="*/ 725130 h 1333436"/>
                <a:gd name="connsiteX184" fmla="*/ 58182 w 752994"/>
                <a:gd name="connsiteY184" fmla="*/ 722886 h 1333436"/>
                <a:gd name="connsiteX185" fmla="*/ 51861 w 752994"/>
                <a:gd name="connsiteY185" fmla="*/ 717985 h 1333436"/>
                <a:gd name="connsiteX186" fmla="*/ 46749 w 752994"/>
                <a:gd name="connsiteY186" fmla="*/ 729617 h 1333436"/>
                <a:gd name="connsiteX187" fmla="*/ 40831 w 752994"/>
                <a:gd name="connsiteY187" fmla="*/ 739212 h 1333436"/>
                <a:gd name="connsiteX188" fmla="*/ 39601 w 752994"/>
                <a:gd name="connsiteY188" fmla="*/ 738798 h 1333436"/>
                <a:gd name="connsiteX189" fmla="*/ 39409 w 752994"/>
                <a:gd name="connsiteY189" fmla="*/ 738591 h 1333436"/>
                <a:gd name="connsiteX190" fmla="*/ 37161 w 752994"/>
                <a:gd name="connsiteY190" fmla="*/ 734725 h 1333436"/>
                <a:gd name="connsiteX191" fmla="*/ 32665 w 752994"/>
                <a:gd name="connsiteY191" fmla="*/ 727788 h 1333436"/>
                <a:gd name="connsiteX192" fmla="*/ 26747 w 752994"/>
                <a:gd name="connsiteY192" fmla="*/ 719435 h 1333436"/>
                <a:gd name="connsiteX193" fmla="*/ 23884 w 752994"/>
                <a:gd name="connsiteY193" fmla="*/ 717812 h 1333436"/>
                <a:gd name="connsiteX194" fmla="*/ 24710 w 752994"/>
                <a:gd name="connsiteY194" fmla="*/ 709632 h 1333436"/>
                <a:gd name="connsiteX195" fmla="*/ 27554 w 752994"/>
                <a:gd name="connsiteY195" fmla="*/ 701694 h 1333436"/>
                <a:gd name="connsiteX196" fmla="*/ 24902 w 752994"/>
                <a:gd name="connsiteY196" fmla="*/ 696171 h 1333436"/>
                <a:gd name="connsiteX197" fmla="*/ 24095 w 752994"/>
                <a:gd name="connsiteY197" fmla="*/ 687818 h 1333436"/>
                <a:gd name="connsiteX198" fmla="*/ 22462 w 752994"/>
                <a:gd name="connsiteY198" fmla="*/ 682330 h 1333436"/>
                <a:gd name="connsiteX199" fmla="*/ 17159 w 752994"/>
                <a:gd name="connsiteY199" fmla="*/ 677636 h 1333436"/>
                <a:gd name="connsiteX200" fmla="*/ 14296 w 752994"/>
                <a:gd name="connsiteY200" fmla="*/ 671492 h 1333436"/>
                <a:gd name="connsiteX201" fmla="*/ 12451 w 752994"/>
                <a:gd name="connsiteY201" fmla="*/ 665797 h 1333436"/>
                <a:gd name="connsiteX202" fmla="*/ 5111 w 752994"/>
                <a:gd name="connsiteY202" fmla="*/ 654994 h 1333436"/>
                <a:gd name="connsiteX203" fmla="*/ 2248 w 752994"/>
                <a:gd name="connsiteY203" fmla="*/ 645605 h 1333436"/>
                <a:gd name="connsiteX204" fmla="*/ 4496 w 752994"/>
                <a:gd name="connsiteY204" fmla="*/ 640497 h 1333436"/>
                <a:gd name="connsiteX205" fmla="*/ 6744 w 752994"/>
                <a:gd name="connsiteY205" fmla="*/ 632765 h 1333436"/>
                <a:gd name="connsiteX206" fmla="*/ 6744 w 752994"/>
                <a:gd name="connsiteY206" fmla="*/ 628485 h 1333436"/>
                <a:gd name="connsiteX207" fmla="*/ 6533 w 752994"/>
                <a:gd name="connsiteY207" fmla="*/ 620305 h 1333436"/>
                <a:gd name="connsiteX208" fmla="*/ 7359 w 752994"/>
                <a:gd name="connsiteY208" fmla="*/ 611745 h 1333436"/>
                <a:gd name="connsiteX209" fmla="*/ 11836 w 752994"/>
                <a:gd name="connsiteY209" fmla="*/ 602978 h 1333436"/>
                <a:gd name="connsiteX210" fmla="*/ 15103 w 752994"/>
                <a:gd name="connsiteY210" fmla="*/ 591760 h 1333436"/>
                <a:gd name="connsiteX211" fmla="*/ 14488 w 752994"/>
                <a:gd name="connsiteY211" fmla="*/ 584029 h 1333436"/>
                <a:gd name="connsiteX212" fmla="*/ 13873 w 752994"/>
                <a:gd name="connsiteY212" fmla="*/ 578299 h 1333436"/>
                <a:gd name="connsiteX213" fmla="*/ 10626 w 752994"/>
                <a:gd name="connsiteY213" fmla="*/ 568531 h 1333436"/>
                <a:gd name="connsiteX214" fmla="*/ 3670 w 752994"/>
                <a:gd name="connsiteY214" fmla="*/ 558107 h 1333436"/>
                <a:gd name="connsiteX215" fmla="*/ 0 w 752994"/>
                <a:gd name="connsiteY215" fmla="*/ 551377 h 1333436"/>
                <a:gd name="connsiteX216" fmla="*/ 0 w 752994"/>
                <a:gd name="connsiteY216" fmla="*/ 550997 h 1333436"/>
                <a:gd name="connsiteX217" fmla="*/ 4900 w 752994"/>
                <a:gd name="connsiteY217" fmla="*/ 531220 h 1333436"/>
                <a:gd name="connsiteX218" fmla="*/ 13873 w 752994"/>
                <a:gd name="connsiteY218" fmla="*/ 520589 h 1333436"/>
                <a:gd name="connsiteX219" fmla="*/ 18369 w 752994"/>
                <a:gd name="connsiteY219" fmla="*/ 516516 h 1333436"/>
                <a:gd name="connsiteX220" fmla="*/ 18773 w 752994"/>
                <a:gd name="connsiteY220" fmla="*/ 514272 h 1333436"/>
                <a:gd name="connsiteX221" fmla="*/ 23077 w 752994"/>
                <a:gd name="connsiteY221" fmla="*/ 506127 h 1333436"/>
                <a:gd name="connsiteX222" fmla="*/ 23884 w 752994"/>
                <a:gd name="connsiteY222" fmla="*/ 502261 h 1333436"/>
                <a:gd name="connsiteX223" fmla="*/ 23692 w 752994"/>
                <a:gd name="connsiteY223" fmla="*/ 496738 h 1333436"/>
                <a:gd name="connsiteX224" fmla="*/ 30013 w 752994"/>
                <a:gd name="connsiteY224" fmla="*/ 486556 h 1333436"/>
                <a:gd name="connsiteX225" fmla="*/ 36546 w 752994"/>
                <a:gd name="connsiteY225" fmla="*/ 470230 h 1333436"/>
                <a:gd name="connsiteX226" fmla="*/ 36546 w 752994"/>
                <a:gd name="connsiteY226" fmla="*/ 462671 h 1333436"/>
                <a:gd name="connsiteX227" fmla="*/ 36335 w 752994"/>
                <a:gd name="connsiteY227" fmla="*/ 461670 h 1333436"/>
                <a:gd name="connsiteX228" fmla="*/ 35931 w 752994"/>
                <a:gd name="connsiteY228" fmla="*/ 453110 h 1333436"/>
                <a:gd name="connsiteX229" fmla="*/ 38583 w 752994"/>
                <a:gd name="connsiteY229" fmla="*/ 442514 h 1333436"/>
                <a:gd name="connsiteX230" fmla="*/ 41043 w 752994"/>
                <a:gd name="connsiteY230" fmla="*/ 436991 h 1333436"/>
                <a:gd name="connsiteX231" fmla="*/ 41650 w 752994"/>
                <a:gd name="connsiteY231" fmla="*/ 437186 h 1333436"/>
                <a:gd name="connsiteX232" fmla="*/ 41239 w 752994"/>
                <a:gd name="connsiteY232" fmla="*/ 436549 h 1333436"/>
                <a:gd name="connsiteX233" fmla="*/ 37778 w 752994"/>
                <a:gd name="connsiteY233" fmla="*/ 433894 h 1333436"/>
                <a:gd name="connsiteX234" fmla="*/ 37169 w 752994"/>
                <a:gd name="connsiteY234" fmla="*/ 432261 h 1333436"/>
                <a:gd name="connsiteX235" fmla="*/ 37365 w 752994"/>
                <a:gd name="connsiteY235" fmla="*/ 429198 h 1333436"/>
                <a:gd name="connsiteX236" fmla="*/ 36756 w 752994"/>
                <a:gd name="connsiteY236" fmla="*/ 422272 h 1333436"/>
                <a:gd name="connsiteX237" fmla="*/ 36952 w 752994"/>
                <a:gd name="connsiteY237" fmla="*/ 418800 h 1333436"/>
                <a:gd name="connsiteX238" fmla="*/ 36756 w 752994"/>
                <a:gd name="connsiteY238" fmla="*/ 412487 h 1333436"/>
                <a:gd name="connsiteX239" fmla="*/ 40433 w 752994"/>
                <a:gd name="connsiteY239" fmla="*/ 406174 h 1333436"/>
                <a:gd name="connsiteX240" fmla="*/ 44720 w 752994"/>
                <a:gd name="connsiteY240" fmla="*/ 399435 h 1333436"/>
                <a:gd name="connsiteX241" fmla="*/ 44110 w 752994"/>
                <a:gd name="connsiteY241" fmla="*/ 389651 h 1333436"/>
                <a:gd name="connsiteX242" fmla="*/ 43894 w 752994"/>
                <a:gd name="connsiteY242" fmla="*/ 378437 h 1333436"/>
                <a:gd name="connsiteX243" fmla="*/ 47158 w 752994"/>
                <a:gd name="connsiteY243" fmla="*/ 371102 h 1333436"/>
                <a:gd name="connsiteX244" fmla="*/ 55731 w 752994"/>
                <a:gd name="connsiteY244" fmla="*/ 360909 h 1333436"/>
                <a:gd name="connsiteX245" fmla="*/ 57580 w 752994"/>
                <a:gd name="connsiteY245" fmla="*/ 355804 h 1333436"/>
                <a:gd name="connsiteX246" fmla="*/ 62673 w 752994"/>
                <a:gd name="connsiteY246" fmla="*/ 349695 h 1333436"/>
                <a:gd name="connsiteX247" fmla="*/ 65937 w 752994"/>
                <a:gd name="connsiteY247" fmla="*/ 348470 h 1333436"/>
                <a:gd name="connsiteX248" fmla="*/ 68395 w 752994"/>
                <a:gd name="connsiteY248" fmla="*/ 348674 h 1333436"/>
                <a:gd name="connsiteX249" fmla="*/ 70224 w 752994"/>
                <a:gd name="connsiteY249" fmla="*/ 347449 h 1333436"/>
                <a:gd name="connsiteX250" fmla="*/ 67785 w 752994"/>
                <a:gd name="connsiteY250" fmla="*/ 345203 h 1333436"/>
                <a:gd name="connsiteX251" fmla="*/ 65524 w 752994"/>
                <a:gd name="connsiteY251" fmla="*/ 343178 h 1333436"/>
                <a:gd name="connsiteX252" fmla="*/ 73095 w 752994"/>
                <a:gd name="connsiteY252" fmla="*/ 333376 h 1333436"/>
                <a:gd name="connsiteX253" fmla="*/ 73291 w 752994"/>
                <a:gd name="connsiteY253" fmla="*/ 333376 h 1333436"/>
                <a:gd name="connsiteX254" fmla="*/ 77991 w 752994"/>
                <a:gd name="connsiteY254" fmla="*/ 325838 h 1333436"/>
                <a:gd name="connsiteX255" fmla="*/ 82671 w 752994"/>
                <a:gd name="connsiteY255" fmla="*/ 313619 h 1333436"/>
                <a:gd name="connsiteX256" fmla="*/ 87980 w 752994"/>
                <a:gd name="connsiteY256" fmla="*/ 303018 h 1333436"/>
                <a:gd name="connsiteX257" fmla="*/ 92267 w 752994"/>
                <a:gd name="connsiteY257" fmla="*/ 291191 h 1333436"/>
                <a:gd name="connsiteX258" fmla="*/ 96553 w 752994"/>
                <a:gd name="connsiteY258" fmla="*/ 281202 h 1333436"/>
                <a:gd name="connsiteX259" fmla="*/ 99621 w 752994"/>
                <a:gd name="connsiteY259" fmla="*/ 274481 h 1333436"/>
                <a:gd name="connsiteX260" fmla="*/ 103082 w 752994"/>
                <a:gd name="connsiteY260" fmla="*/ 262450 h 1333436"/>
                <a:gd name="connsiteX261" fmla="*/ 107172 w 752994"/>
                <a:gd name="connsiteY261" fmla="*/ 254299 h 1333436"/>
                <a:gd name="connsiteX262" fmla="*/ 112481 w 752994"/>
                <a:gd name="connsiteY262" fmla="*/ 243697 h 1333436"/>
                <a:gd name="connsiteX263" fmla="*/ 117181 w 752994"/>
                <a:gd name="connsiteY263" fmla="*/ 232279 h 1333436"/>
                <a:gd name="connsiteX264" fmla="*/ 125951 w 752994"/>
                <a:gd name="connsiteY264" fmla="*/ 217389 h 1333436"/>
                <a:gd name="connsiteX265" fmla="*/ 136156 w 752994"/>
                <a:gd name="connsiteY265" fmla="*/ 202925 h 1333436"/>
                <a:gd name="connsiteX266" fmla="*/ 138811 w 752994"/>
                <a:gd name="connsiteY266" fmla="*/ 183339 h 1333436"/>
                <a:gd name="connsiteX267" fmla="*/ 148801 w 752994"/>
                <a:gd name="connsiteY267" fmla="*/ 167445 h 1333436"/>
                <a:gd name="connsiteX268" fmla="*/ 159616 w 752994"/>
                <a:gd name="connsiteY268" fmla="*/ 170712 h 1333436"/>
                <a:gd name="connsiteX269" fmla="*/ 173105 w 752994"/>
                <a:gd name="connsiteY269" fmla="*/ 175188 h 1333436"/>
                <a:gd name="connsiteX270" fmla="*/ 175347 w 752994"/>
                <a:gd name="connsiteY270" fmla="*/ 175188 h 1333436"/>
                <a:gd name="connsiteX271" fmla="*/ 175347 w 752994"/>
                <a:gd name="connsiteY271" fmla="*/ 173758 h 1333436"/>
                <a:gd name="connsiteX272" fmla="*/ 184975 w 752994"/>
                <a:gd name="connsiteY272" fmla="*/ 187393 h 1333436"/>
                <a:gd name="connsiteX273" fmla="*/ 184762 w 752994"/>
                <a:gd name="connsiteY273" fmla="*/ 184637 h 1333436"/>
                <a:gd name="connsiteX274" fmla="*/ 174971 w 752994"/>
                <a:gd name="connsiteY274" fmla="*/ 170774 h 1333436"/>
                <a:gd name="connsiteX275" fmla="*/ 174971 w 752994"/>
                <a:gd name="connsiteY275" fmla="*/ 169550 h 1333436"/>
                <a:gd name="connsiteX276" fmla="*/ 158851 w 752994"/>
                <a:gd name="connsiteY276" fmla="*/ 156924 h 1333436"/>
                <a:gd name="connsiteX277" fmla="*/ 147025 w 752994"/>
                <a:gd name="connsiteY277" fmla="*/ 145709 h 1333436"/>
                <a:gd name="connsiteX278" fmla="*/ 154364 w 752994"/>
                <a:gd name="connsiteY278" fmla="*/ 136335 h 1333436"/>
                <a:gd name="connsiteX279" fmla="*/ 161511 w 752994"/>
                <a:gd name="connsiteY279" fmla="*/ 131042 h 1333436"/>
                <a:gd name="connsiteX280" fmla="*/ 160902 w 752994"/>
                <a:gd name="connsiteY280" fmla="*/ 128384 h 1333436"/>
                <a:gd name="connsiteX281" fmla="*/ 160277 w 752994"/>
                <a:gd name="connsiteY281" fmla="*/ 127778 h 1333436"/>
                <a:gd name="connsiteX282" fmla="*/ 154973 w 752994"/>
                <a:gd name="connsiteY282" fmla="*/ 122077 h 1333436"/>
                <a:gd name="connsiteX283" fmla="*/ 160277 w 752994"/>
                <a:gd name="connsiteY283" fmla="*/ 115140 h 1333436"/>
                <a:gd name="connsiteX284" fmla="*/ 165181 w 752994"/>
                <a:gd name="connsiteY284" fmla="*/ 108215 h 1333436"/>
                <a:gd name="connsiteX285" fmla="*/ 161303 w 752994"/>
                <a:gd name="connsiteY285" fmla="*/ 104146 h 1333436"/>
                <a:gd name="connsiteX286" fmla="*/ 157842 w 752994"/>
                <a:gd name="connsiteY286" fmla="*/ 104542 h 1333436"/>
                <a:gd name="connsiteX287" fmla="*/ 157024 w 752994"/>
                <a:gd name="connsiteY287" fmla="*/ 102304 h 1333436"/>
                <a:gd name="connsiteX288" fmla="*/ 160694 w 752994"/>
                <a:gd name="connsiteY288" fmla="*/ 55437 h 1333436"/>
                <a:gd name="connsiteX289" fmla="*/ 160486 w 752994"/>
                <a:gd name="connsiteY289" fmla="*/ 31991 h 1333436"/>
                <a:gd name="connsiteX290" fmla="*/ 164972 w 752994"/>
                <a:gd name="connsiteY290" fmla="*/ 18141 h 1333436"/>
                <a:gd name="connsiteX291" fmla="*/ 171911 w 752994"/>
                <a:gd name="connsiteY291" fmla="*/ 11204 h 1333436"/>
                <a:gd name="connsiteX292" fmla="*/ 187406 w 752994"/>
                <a:gd name="connsiteY292" fmla="*/ 21801 h 1333436"/>
                <a:gd name="connsiteX293" fmla="*/ 210866 w 752994"/>
                <a:gd name="connsiteY293" fmla="*/ 37086 h 1333436"/>
                <a:gd name="connsiteX294" fmla="*/ 219230 w 752994"/>
                <a:gd name="connsiteY294" fmla="*/ 41166 h 1333436"/>
                <a:gd name="connsiteX295" fmla="*/ 226778 w 752994"/>
                <a:gd name="connsiteY295" fmla="*/ 47486 h 1333436"/>
                <a:gd name="connsiteX296" fmla="*/ 236152 w 752994"/>
                <a:gd name="connsiteY296" fmla="*/ 52370 h 1333436"/>
                <a:gd name="connsiteX297" fmla="*/ 239629 w 752994"/>
                <a:gd name="connsiteY297" fmla="*/ 58491 h 1333436"/>
                <a:gd name="connsiteX298" fmla="*/ 239629 w 752994"/>
                <a:gd name="connsiteY298" fmla="*/ 63376 h 1333436"/>
                <a:gd name="connsiteX299" fmla="*/ 236568 w 752994"/>
                <a:gd name="connsiteY299" fmla="*/ 67457 h 1333436"/>
                <a:gd name="connsiteX300" fmla="*/ 231264 w 752994"/>
                <a:gd name="connsiteY300" fmla="*/ 69905 h 1333436"/>
                <a:gd name="connsiteX301" fmla="*/ 216778 w 752994"/>
                <a:gd name="connsiteY301" fmla="*/ 82741 h 1333436"/>
                <a:gd name="connsiteX302" fmla="*/ 214134 w 752994"/>
                <a:gd name="connsiteY302" fmla="*/ 93536 h 1333436"/>
                <a:gd name="connsiteX303" fmla="*/ 214535 w 752994"/>
                <a:gd name="connsiteY303" fmla="*/ 96801 h 1333436"/>
                <a:gd name="connsiteX304" fmla="*/ 216378 w 752994"/>
                <a:gd name="connsiteY304" fmla="*/ 96801 h 1333436"/>
                <a:gd name="connsiteX305" fmla="*/ 230046 w 752994"/>
                <a:gd name="connsiteY305" fmla="*/ 85387 h 1333436"/>
                <a:gd name="connsiteX306" fmla="*/ 243298 w 752994"/>
                <a:gd name="connsiteY306" fmla="*/ 75198 h 1333436"/>
                <a:gd name="connsiteX307" fmla="*/ 246760 w 752994"/>
                <a:gd name="connsiteY307" fmla="*/ 77646 h 1333436"/>
                <a:gd name="connsiteX308" fmla="*/ 255541 w 752994"/>
                <a:gd name="connsiteY308" fmla="*/ 63376 h 1333436"/>
                <a:gd name="connsiteX309" fmla="*/ 259611 w 752994"/>
                <a:gd name="connsiteY309" fmla="*/ 43405 h 1333436"/>
                <a:gd name="connsiteX310" fmla="*/ 256967 w 752994"/>
                <a:gd name="connsiteY310" fmla="*/ 38520 h 1333436"/>
                <a:gd name="connsiteX311" fmla="*/ 253906 w 752994"/>
                <a:gd name="connsiteY311" fmla="*/ 34242 h 1333436"/>
                <a:gd name="connsiteX312" fmla="*/ 256967 w 752994"/>
                <a:gd name="connsiteY312" fmla="*/ 30161 h 1333436"/>
                <a:gd name="connsiteX313" fmla="*/ 262063 w 752994"/>
                <a:gd name="connsiteY313" fmla="*/ 27712 h 1333436"/>
                <a:gd name="connsiteX314" fmla="*/ 264915 w 752994"/>
                <a:gd name="connsiteY314" fmla="*/ 23026 h 1333436"/>
                <a:gd name="connsiteX315" fmla="*/ 267976 w 752994"/>
                <a:gd name="connsiteY315" fmla="*/ 22618 h 1333436"/>
                <a:gd name="connsiteX316" fmla="*/ 270427 w 752994"/>
                <a:gd name="connsiteY316" fmla="*/ 20787 h 1333436"/>
                <a:gd name="connsiteX317" fmla="*/ 263088 w 752994"/>
                <a:gd name="connsiteY317" fmla="*/ 13652 h 1333436"/>
                <a:gd name="connsiteX318" fmla="*/ 255541 w 752994"/>
                <a:gd name="connsiteY318" fmla="*/ 3055 h 1333436"/>
                <a:gd name="connsiteX319" fmla="*/ 256358 w 752994"/>
                <a:gd name="connsiteY319" fmla="*/ 1224 h 1333436"/>
                <a:gd name="connsiteX320" fmla="*/ 257159 w 752994"/>
                <a:gd name="connsiteY320"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48428 w 752994"/>
                <a:gd name="connsiteY20" fmla="*/ 250011 h 1333436"/>
                <a:gd name="connsiteX21" fmla="*/ 351279 w 752994"/>
                <a:gd name="connsiteY21" fmla="*/ 247356 h 1333436"/>
                <a:gd name="connsiteX22" fmla="*/ 280827 w 752994"/>
                <a:gd name="connsiteY22" fmla="*/ 242720 h 1333436"/>
                <a:gd name="connsiteX23" fmla="*/ 247994 w 752994"/>
                <a:gd name="connsiteY23" fmla="*/ 241693 h 1333436"/>
                <a:gd name="connsiteX24" fmla="*/ 195162 w 752994"/>
                <a:gd name="connsiteY24" fmla="*/ 228857 h 1333436"/>
                <a:gd name="connsiteX25" fmla="*/ 188223 w 752994"/>
                <a:gd name="connsiteY25" fmla="*/ 223973 h 1333436"/>
                <a:gd name="connsiteX26" fmla="*/ 185163 w 752994"/>
                <a:gd name="connsiteY26" fmla="*/ 219484 h 1333436"/>
                <a:gd name="connsiteX27" fmla="*/ 184180 w 752994"/>
                <a:gd name="connsiteY27" fmla="*/ 213866 h 1333436"/>
                <a:gd name="connsiteX28" fmla="*/ 257159 w 752994"/>
                <a:gd name="connsiteY28" fmla="*/ 0 h 1333436"/>
                <a:gd name="connsiteX29" fmla="*/ 493147 w 752994"/>
                <a:gd name="connsiteY29" fmla="*/ 73157 h 1333436"/>
                <a:gd name="connsiteX30" fmla="*/ 492970 w 752994"/>
                <a:gd name="connsiteY30" fmla="*/ 73792 h 1333436"/>
                <a:gd name="connsiteX31" fmla="*/ 525816 w 752994"/>
                <a:gd name="connsiteY31" fmla="*/ 82491 h 1333436"/>
                <a:gd name="connsiteX32" fmla="*/ 520098 w 752994"/>
                <a:gd name="connsiteY32" fmla="*/ 111245 h 1333436"/>
                <a:gd name="connsiteX33" fmla="*/ 512552 w 752994"/>
                <a:gd name="connsiteY33" fmla="*/ 143854 h 1333436"/>
                <a:gd name="connsiteX34" fmla="*/ 517849 w 752994"/>
                <a:gd name="connsiteY34" fmla="*/ 157740 h 1333436"/>
                <a:gd name="connsiteX35" fmla="*/ 523160 w 752994"/>
                <a:gd name="connsiteY35" fmla="*/ 172009 h 1333436"/>
                <a:gd name="connsiteX36" fmla="*/ 521535 w 752994"/>
                <a:gd name="connsiteY36" fmla="*/ 178928 h 1333436"/>
                <a:gd name="connsiteX37" fmla="*/ 520098 w 752994"/>
                <a:gd name="connsiteY37" fmla="*/ 186279 h 1333436"/>
                <a:gd name="connsiteX38" fmla="*/ 526019 w 752994"/>
                <a:gd name="connsiteY38" fmla="*/ 193629 h 1333436"/>
                <a:gd name="connsiteX39" fmla="*/ 537251 w 752994"/>
                <a:gd name="connsiteY39" fmla="*/ 206270 h 1333436"/>
                <a:gd name="connsiteX40" fmla="*/ 542765 w 752994"/>
                <a:gd name="connsiteY40" fmla="*/ 217475 h 1333436"/>
                <a:gd name="connsiteX41" fmla="*/ 546857 w 752994"/>
                <a:gd name="connsiteY41" fmla="*/ 230930 h 1333436"/>
                <a:gd name="connsiteX42" fmla="*/ 549499 w 752994"/>
                <a:gd name="connsiteY42" fmla="*/ 235622 h 1333436"/>
                <a:gd name="connsiteX43" fmla="*/ 553388 w 752994"/>
                <a:gd name="connsiteY43" fmla="*/ 240722 h 1333436"/>
                <a:gd name="connsiteX44" fmla="*/ 557465 w 752994"/>
                <a:gd name="connsiteY44" fmla="*/ 246037 h 1333436"/>
                <a:gd name="connsiteX45" fmla="*/ 561761 w 752994"/>
                <a:gd name="connsiteY45" fmla="*/ 248671 h 1333436"/>
                <a:gd name="connsiteX46" fmla="*/ 567478 w 752994"/>
                <a:gd name="connsiteY46" fmla="*/ 247665 h 1333436"/>
                <a:gd name="connsiteX47" fmla="*/ 569931 w 752994"/>
                <a:gd name="connsiteY47" fmla="*/ 249293 h 1333436"/>
                <a:gd name="connsiteX48" fmla="*/ 570540 w 752994"/>
                <a:gd name="connsiteY48" fmla="*/ 251951 h 1333436"/>
                <a:gd name="connsiteX49" fmla="*/ 561964 w 752994"/>
                <a:gd name="connsiteY49" fmla="*/ 267656 h 1333436"/>
                <a:gd name="connsiteX50" fmla="*/ 553591 w 752994"/>
                <a:gd name="connsiteY50" fmla="*/ 289659 h 1333436"/>
                <a:gd name="connsiteX51" fmla="*/ 554810 w 752994"/>
                <a:gd name="connsiteY51" fmla="*/ 292939 h 1333436"/>
                <a:gd name="connsiteX52" fmla="*/ 556246 w 752994"/>
                <a:gd name="connsiteY52" fmla="*/ 299260 h 1333436"/>
                <a:gd name="connsiteX53" fmla="*/ 552778 w 752994"/>
                <a:gd name="connsiteY53" fmla="*/ 301917 h 1333436"/>
                <a:gd name="connsiteX54" fmla="*/ 549295 w 752994"/>
                <a:gd name="connsiteY54" fmla="*/ 306993 h 1333436"/>
                <a:gd name="connsiteX55" fmla="*/ 547061 w 752994"/>
                <a:gd name="connsiteY55" fmla="*/ 313122 h 1333436"/>
                <a:gd name="connsiteX56" fmla="*/ 544811 w 752994"/>
                <a:gd name="connsiteY56" fmla="*/ 316593 h 1333436"/>
                <a:gd name="connsiteX57" fmla="*/ 549919 w 752994"/>
                <a:gd name="connsiteY57" fmla="*/ 322698 h 1333436"/>
                <a:gd name="connsiteX58" fmla="*/ 553184 w 752994"/>
                <a:gd name="connsiteY58" fmla="*/ 325955 h 1333436"/>
                <a:gd name="connsiteX59" fmla="*/ 555840 w 752994"/>
                <a:gd name="connsiteY59" fmla="*/ 328205 h 1333436"/>
                <a:gd name="connsiteX60" fmla="*/ 574212 w 752994"/>
                <a:gd name="connsiteY60" fmla="*/ 318820 h 1333436"/>
                <a:gd name="connsiteX61" fmla="*/ 579523 w 752994"/>
                <a:gd name="connsiteY61" fmla="*/ 326577 h 1333436"/>
                <a:gd name="connsiteX62" fmla="*/ 580539 w 752994"/>
                <a:gd name="connsiteY62" fmla="*/ 334933 h 1333436"/>
                <a:gd name="connsiteX63" fmla="*/ 579726 w 752994"/>
                <a:gd name="connsiteY63" fmla="*/ 343097 h 1333436"/>
                <a:gd name="connsiteX64" fmla="*/ 581366 w 752994"/>
                <a:gd name="connsiteY64" fmla="*/ 350231 h 1333436"/>
                <a:gd name="connsiteX65" fmla="*/ 586256 w 752994"/>
                <a:gd name="connsiteY65" fmla="*/ 355930 h 1333436"/>
                <a:gd name="connsiteX66" fmla="*/ 589536 w 752994"/>
                <a:gd name="connsiteY66" fmla="*/ 362059 h 1333436"/>
                <a:gd name="connsiteX67" fmla="*/ 588099 w 752994"/>
                <a:gd name="connsiteY67" fmla="*/ 369600 h 1333436"/>
                <a:gd name="connsiteX68" fmla="*/ 586459 w 752994"/>
                <a:gd name="connsiteY68" fmla="*/ 377357 h 1333436"/>
                <a:gd name="connsiteX69" fmla="*/ 588709 w 752994"/>
                <a:gd name="connsiteY69" fmla="*/ 381835 h 1333436"/>
                <a:gd name="connsiteX70" fmla="*/ 595036 w 752994"/>
                <a:gd name="connsiteY70" fmla="*/ 382457 h 1333436"/>
                <a:gd name="connsiteX71" fmla="*/ 599331 w 752994"/>
                <a:gd name="connsiteY71" fmla="*/ 385306 h 1333436"/>
                <a:gd name="connsiteX72" fmla="*/ 601987 w 752994"/>
                <a:gd name="connsiteY72" fmla="*/ 391004 h 1333436"/>
                <a:gd name="connsiteX73" fmla="*/ 602799 w 752994"/>
                <a:gd name="connsiteY73" fmla="*/ 404076 h 1333436"/>
                <a:gd name="connsiteX74" fmla="*/ 606892 w 752994"/>
                <a:gd name="connsiteY74" fmla="*/ 415688 h 1333436"/>
                <a:gd name="connsiteX75" fmla="*/ 610563 w 752994"/>
                <a:gd name="connsiteY75" fmla="*/ 412217 h 1333436"/>
                <a:gd name="connsiteX76" fmla="*/ 617920 w 752994"/>
                <a:gd name="connsiteY76" fmla="*/ 408769 h 1333436"/>
                <a:gd name="connsiteX77" fmla="*/ 624654 w 752994"/>
                <a:gd name="connsiteY77" fmla="*/ 411211 h 1333436"/>
                <a:gd name="connsiteX78" fmla="*/ 634652 w 752994"/>
                <a:gd name="connsiteY78" fmla="*/ 410182 h 1333436"/>
                <a:gd name="connsiteX79" fmla="*/ 640573 w 752994"/>
                <a:gd name="connsiteY79" fmla="*/ 407739 h 1333436"/>
                <a:gd name="connsiteX80" fmla="*/ 646711 w 752994"/>
                <a:gd name="connsiteY80" fmla="*/ 410589 h 1333436"/>
                <a:gd name="connsiteX81" fmla="*/ 650383 w 752994"/>
                <a:gd name="connsiteY81" fmla="*/ 410589 h 1333436"/>
                <a:gd name="connsiteX82" fmla="*/ 654257 w 752994"/>
                <a:gd name="connsiteY82" fmla="*/ 411618 h 1333436"/>
                <a:gd name="connsiteX83" fmla="*/ 656913 w 752994"/>
                <a:gd name="connsiteY83" fmla="*/ 413653 h 1333436"/>
                <a:gd name="connsiteX84" fmla="*/ 660802 w 752994"/>
                <a:gd name="connsiteY84" fmla="*/ 415090 h 1333436"/>
                <a:gd name="connsiteX85" fmla="*/ 669581 w 752994"/>
                <a:gd name="connsiteY85" fmla="*/ 415904 h 1333436"/>
                <a:gd name="connsiteX86" fmla="*/ 672237 w 752994"/>
                <a:gd name="connsiteY86" fmla="*/ 415688 h 1333436"/>
                <a:gd name="connsiteX87" fmla="*/ 675705 w 752994"/>
                <a:gd name="connsiteY87" fmla="*/ 409367 h 1333436"/>
                <a:gd name="connsiteX88" fmla="*/ 679986 w 752994"/>
                <a:gd name="connsiteY88" fmla="*/ 403238 h 1333436"/>
                <a:gd name="connsiteX89" fmla="*/ 693264 w 752994"/>
                <a:gd name="connsiteY89" fmla="*/ 419567 h 1333436"/>
                <a:gd name="connsiteX90" fmla="*/ 688563 w 752994"/>
                <a:gd name="connsiteY90" fmla="*/ 448321 h 1333436"/>
                <a:gd name="connsiteX91" fmla="*/ 663949 w 752994"/>
                <a:gd name="connsiteY91" fmla="*/ 590165 h 1333436"/>
                <a:gd name="connsiteX92" fmla="*/ 666304 w 752994"/>
                <a:gd name="connsiteY92" fmla="*/ 590504 h 1333436"/>
                <a:gd name="connsiteX93" fmla="*/ 655288 w 752994"/>
                <a:gd name="connsiteY93" fmla="*/ 656178 h 1333436"/>
                <a:gd name="connsiteX94" fmla="*/ 681808 w 752994"/>
                <a:gd name="connsiteY94" fmla="*/ 662301 h 1333436"/>
                <a:gd name="connsiteX95" fmla="*/ 752994 w 752994"/>
                <a:gd name="connsiteY95" fmla="*/ 675560 h 1333436"/>
                <a:gd name="connsiteX96" fmla="*/ 714651 w 752994"/>
                <a:gd name="connsiteY96" fmla="*/ 946985 h 1333436"/>
                <a:gd name="connsiteX97" fmla="*/ 654533 w 752994"/>
                <a:gd name="connsiteY97" fmla="*/ 1333436 h 1333436"/>
                <a:gd name="connsiteX98" fmla="*/ 546831 w 752994"/>
                <a:gd name="connsiteY98" fmla="*/ 1317126 h 1333436"/>
                <a:gd name="connsiteX99" fmla="*/ 351227 w 752994"/>
                <a:gd name="connsiteY99" fmla="*/ 1194172 h 1333436"/>
                <a:gd name="connsiteX100" fmla="*/ 361011 w 752994"/>
                <a:gd name="connsiteY100" fmla="*/ 1182755 h 1333436"/>
                <a:gd name="connsiteX101" fmla="*/ 368981 w 752994"/>
                <a:gd name="connsiteY101" fmla="*/ 1182130 h 1333436"/>
                <a:gd name="connsiteX102" fmla="*/ 369571 w 752994"/>
                <a:gd name="connsiteY102" fmla="*/ 1181558 h 1333436"/>
                <a:gd name="connsiteX103" fmla="*/ 362372 w 752994"/>
                <a:gd name="connsiteY103" fmla="*/ 1182120 h 1333436"/>
                <a:gd name="connsiteX104" fmla="*/ 229464 w 752994"/>
                <a:gd name="connsiteY104" fmla="*/ 1161721 h 1333436"/>
                <a:gd name="connsiteX105" fmla="*/ 227427 w 752994"/>
                <a:gd name="connsiteY105" fmla="*/ 1157269 h 1333436"/>
                <a:gd name="connsiteX106" fmla="*/ 224967 w 752994"/>
                <a:gd name="connsiteY106" fmla="*/ 1152575 h 1333436"/>
                <a:gd name="connsiteX107" fmla="*/ 225582 w 752994"/>
                <a:gd name="connsiteY107" fmla="*/ 1144808 h 1333436"/>
                <a:gd name="connsiteX108" fmla="*/ 227215 w 752994"/>
                <a:gd name="connsiteY108" fmla="*/ 1135834 h 1333436"/>
                <a:gd name="connsiteX109" fmla="*/ 227215 w 752994"/>
                <a:gd name="connsiteY109" fmla="*/ 1134212 h 1333436"/>
                <a:gd name="connsiteX110" fmla="*/ 225179 w 752994"/>
                <a:gd name="connsiteY110" fmla="*/ 1114020 h 1333436"/>
                <a:gd name="connsiteX111" fmla="*/ 217839 w 752994"/>
                <a:gd name="connsiteY111" fmla="*/ 1100352 h 1333436"/>
                <a:gd name="connsiteX112" fmla="*/ 199661 w 752994"/>
                <a:gd name="connsiteY112" fmla="*/ 1076502 h 1333436"/>
                <a:gd name="connsiteX113" fmla="*/ 196395 w 752994"/>
                <a:gd name="connsiteY113" fmla="*/ 1071807 h 1333436"/>
                <a:gd name="connsiteX114" fmla="*/ 190880 w 752994"/>
                <a:gd name="connsiteY114" fmla="*/ 1067527 h 1333436"/>
                <a:gd name="connsiteX115" fmla="*/ 187210 w 752994"/>
                <a:gd name="connsiteY115" fmla="*/ 1068735 h 1333436"/>
                <a:gd name="connsiteX116" fmla="*/ 180062 w 752994"/>
                <a:gd name="connsiteY116" fmla="*/ 1066699 h 1333436"/>
                <a:gd name="connsiteX117" fmla="*/ 180466 w 752994"/>
                <a:gd name="connsiteY117" fmla="*/ 1053031 h 1333436"/>
                <a:gd name="connsiteX118" fmla="*/ 180062 w 752994"/>
                <a:gd name="connsiteY118" fmla="*/ 1045299 h 1333436"/>
                <a:gd name="connsiteX119" fmla="*/ 174144 w 752994"/>
                <a:gd name="connsiteY119" fmla="*/ 1044057 h 1333436"/>
                <a:gd name="connsiteX120" fmla="*/ 158426 w 752994"/>
                <a:gd name="connsiteY120" fmla="*/ 1042641 h 1333436"/>
                <a:gd name="connsiteX121" fmla="*/ 149857 w 752994"/>
                <a:gd name="connsiteY121" fmla="*/ 1035497 h 1333436"/>
                <a:gd name="connsiteX122" fmla="*/ 142497 w 752994"/>
                <a:gd name="connsiteY122" fmla="*/ 1028766 h 1333436"/>
                <a:gd name="connsiteX123" fmla="*/ 140864 w 752994"/>
                <a:gd name="connsiteY123" fmla="*/ 1020620 h 1333436"/>
                <a:gd name="connsiteX124" fmla="*/ 138212 w 752994"/>
                <a:gd name="connsiteY124" fmla="*/ 1013061 h 1333436"/>
                <a:gd name="connsiteX125" fmla="*/ 131064 w 752994"/>
                <a:gd name="connsiteY125" fmla="*/ 1007159 h 1333436"/>
                <a:gd name="connsiteX126" fmla="*/ 121264 w 752994"/>
                <a:gd name="connsiteY126" fmla="*/ 1005330 h 1333436"/>
                <a:gd name="connsiteX127" fmla="*/ 112483 w 752994"/>
                <a:gd name="connsiteY127" fmla="*/ 1001671 h 1333436"/>
                <a:gd name="connsiteX128" fmla="*/ 105950 w 752994"/>
                <a:gd name="connsiteY128" fmla="*/ 995734 h 1333436"/>
                <a:gd name="connsiteX129" fmla="*/ 97380 w 752994"/>
                <a:gd name="connsiteY129" fmla="*/ 994526 h 1333436"/>
                <a:gd name="connsiteX130" fmla="*/ 87984 w 752994"/>
                <a:gd name="connsiteY130" fmla="*/ 991040 h 1333436"/>
                <a:gd name="connsiteX131" fmla="*/ 80029 w 752994"/>
                <a:gd name="connsiteY131" fmla="*/ 985138 h 1333436"/>
                <a:gd name="connsiteX132" fmla="*/ 77166 w 752994"/>
                <a:gd name="connsiteY132" fmla="*/ 976164 h 1333436"/>
                <a:gd name="connsiteX133" fmla="*/ 79203 w 752994"/>
                <a:gd name="connsiteY133" fmla="*/ 970676 h 1333436"/>
                <a:gd name="connsiteX134" fmla="*/ 82470 w 752994"/>
                <a:gd name="connsiteY134" fmla="*/ 963117 h 1333436"/>
                <a:gd name="connsiteX135" fmla="*/ 84314 w 752994"/>
                <a:gd name="connsiteY135" fmla="*/ 954557 h 1333436"/>
                <a:gd name="connsiteX136" fmla="*/ 86351 w 752994"/>
                <a:gd name="connsiteY136" fmla="*/ 948033 h 1333436"/>
                <a:gd name="connsiteX137" fmla="*/ 86159 w 752994"/>
                <a:gd name="connsiteY137" fmla="*/ 942925 h 1333436"/>
                <a:gd name="connsiteX138" fmla="*/ 83085 w 752994"/>
                <a:gd name="connsiteY138" fmla="*/ 939853 h 1333436"/>
                <a:gd name="connsiteX139" fmla="*/ 77570 w 752994"/>
                <a:gd name="connsiteY139" fmla="*/ 937437 h 1333436"/>
                <a:gd name="connsiteX140" fmla="*/ 76763 w 752994"/>
                <a:gd name="connsiteY140" fmla="*/ 931915 h 1333436"/>
                <a:gd name="connsiteX141" fmla="*/ 78800 w 752994"/>
                <a:gd name="connsiteY141" fmla="*/ 927013 h 1333436"/>
                <a:gd name="connsiteX142" fmla="*/ 79626 w 752994"/>
                <a:gd name="connsiteY142" fmla="*/ 922526 h 1333436"/>
                <a:gd name="connsiteX143" fmla="*/ 77781 w 752994"/>
                <a:gd name="connsiteY143" fmla="*/ 919903 h 1333436"/>
                <a:gd name="connsiteX144" fmla="*/ 74303 w 752994"/>
                <a:gd name="connsiteY144" fmla="*/ 917418 h 1333436"/>
                <a:gd name="connsiteX145" fmla="*/ 71863 w 752994"/>
                <a:gd name="connsiteY145" fmla="*/ 915174 h 1333436"/>
                <a:gd name="connsiteX146" fmla="*/ 71652 w 752994"/>
                <a:gd name="connsiteY146" fmla="*/ 910894 h 1333436"/>
                <a:gd name="connsiteX147" fmla="*/ 70633 w 752994"/>
                <a:gd name="connsiteY147" fmla="*/ 906614 h 1333436"/>
                <a:gd name="connsiteX148" fmla="*/ 68385 w 752994"/>
                <a:gd name="connsiteY148" fmla="*/ 902749 h 1333436"/>
                <a:gd name="connsiteX149" fmla="*/ 61045 w 752994"/>
                <a:gd name="connsiteY149" fmla="*/ 889494 h 1333436"/>
                <a:gd name="connsiteX150" fmla="*/ 57971 w 752994"/>
                <a:gd name="connsiteY150" fmla="*/ 875619 h 1333436"/>
                <a:gd name="connsiteX151" fmla="*/ 52264 w 752994"/>
                <a:gd name="connsiteY151" fmla="*/ 862572 h 1333436"/>
                <a:gd name="connsiteX152" fmla="*/ 44309 w 752994"/>
                <a:gd name="connsiteY152" fmla="*/ 850561 h 1333436"/>
                <a:gd name="connsiteX153" fmla="*/ 45520 w 752994"/>
                <a:gd name="connsiteY153" fmla="*/ 827090 h 1333436"/>
                <a:gd name="connsiteX154" fmla="*/ 53071 w 752994"/>
                <a:gd name="connsiteY154" fmla="*/ 822396 h 1333436"/>
                <a:gd name="connsiteX155" fmla="*/ 57375 w 752994"/>
                <a:gd name="connsiteY155" fmla="*/ 816493 h 1333436"/>
                <a:gd name="connsiteX156" fmla="*/ 55319 w 752994"/>
                <a:gd name="connsiteY156" fmla="*/ 801617 h 1333436"/>
                <a:gd name="connsiteX157" fmla="*/ 48383 w 752994"/>
                <a:gd name="connsiteY157" fmla="*/ 802204 h 1333436"/>
                <a:gd name="connsiteX158" fmla="*/ 40428 w 752994"/>
                <a:gd name="connsiteY158" fmla="*/ 797924 h 1333436"/>
                <a:gd name="connsiteX159" fmla="*/ 37565 w 752994"/>
                <a:gd name="connsiteY159" fmla="*/ 790606 h 1333436"/>
                <a:gd name="connsiteX160" fmla="*/ 37565 w 752994"/>
                <a:gd name="connsiteY160" fmla="*/ 790399 h 1333436"/>
                <a:gd name="connsiteX161" fmla="*/ 35931 w 752994"/>
                <a:gd name="connsiteY161" fmla="*/ 785912 h 1333436"/>
                <a:gd name="connsiteX162" fmla="*/ 34510 w 752994"/>
                <a:gd name="connsiteY162" fmla="*/ 780597 h 1333436"/>
                <a:gd name="connsiteX163" fmla="*/ 36335 w 752994"/>
                <a:gd name="connsiteY163" fmla="*/ 774280 h 1333436"/>
                <a:gd name="connsiteX164" fmla="*/ 38180 w 752994"/>
                <a:gd name="connsiteY164" fmla="*/ 766721 h 1333436"/>
                <a:gd name="connsiteX165" fmla="*/ 37161 w 752994"/>
                <a:gd name="connsiteY165" fmla="*/ 760405 h 1333436"/>
                <a:gd name="connsiteX166" fmla="*/ 35720 w 752994"/>
                <a:gd name="connsiteY166" fmla="*/ 754710 h 1333436"/>
                <a:gd name="connsiteX167" fmla="*/ 36546 w 752994"/>
                <a:gd name="connsiteY167" fmla="*/ 748773 h 1333436"/>
                <a:gd name="connsiteX168" fmla="*/ 38372 w 752994"/>
                <a:gd name="connsiteY168" fmla="*/ 744528 h 1333436"/>
                <a:gd name="connsiteX169" fmla="*/ 41638 w 752994"/>
                <a:gd name="connsiteY169" fmla="*/ 744321 h 1333436"/>
                <a:gd name="connsiteX170" fmla="*/ 44713 w 752994"/>
                <a:gd name="connsiteY170" fmla="*/ 746357 h 1333436"/>
                <a:gd name="connsiteX171" fmla="*/ 47364 w 752994"/>
                <a:gd name="connsiteY171" fmla="*/ 753260 h 1333436"/>
                <a:gd name="connsiteX172" fmla="*/ 55742 w 752994"/>
                <a:gd name="connsiteY172" fmla="*/ 764305 h 1333436"/>
                <a:gd name="connsiteX173" fmla="*/ 56338 w 752994"/>
                <a:gd name="connsiteY173" fmla="*/ 761233 h 1333436"/>
                <a:gd name="connsiteX174" fmla="*/ 56145 w 752994"/>
                <a:gd name="connsiteY174" fmla="*/ 757368 h 1333436"/>
                <a:gd name="connsiteX175" fmla="*/ 54916 w 752994"/>
                <a:gd name="connsiteY175" fmla="*/ 748601 h 1333436"/>
                <a:gd name="connsiteX176" fmla="*/ 52879 w 752994"/>
                <a:gd name="connsiteY176" fmla="*/ 747358 h 1333436"/>
                <a:gd name="connsiteX177" fmla="*/ 51649 w 752994"/>
                <a:gd name="connsiteY177" fmla="*/ 745322 h 1333436"/>
                <a:gd name="connsiteX178" fmla="*/ 51649 w 752994"/>
                <a:gd name="connsiteY178" fmla="*/ 739212 h 1333436"/>
                <a:gd name="connsiteX179" fmla="*/ 50227 w 752994"/>
                <a:gd name="connsiteY179" fmla="*/ 734725 h 1333436"/>
                <a:gd name="connsiteX180" fmla="*/ 48786 w 752994"/>
                <a:gd name="connsiteY180" fmla="*/ 731446 h 1333436"/>
                <a:gd name="connsiteX181" fmla="*/ 54512 w 752994"/>
                <a:gd name="connsiteY181" fmla="*/ 726372 h 1333436"/>
                <a:gd name="connsiteX182" fmla="*/ 59815 w 752994"/>
                <a:gd name="connsiteY182" fmla="*/ 725130 h 1333436"/>
                <a:gd name="connsiteX183" fmla="*/ 58182 w 752994"/>
                <a:gd name="connsiteY183" fmla="*/ 722886 h 1333436"/>
                <a:gd name="connsiteX184" fmla="*/ 51861 w 752994"/>
                <a:gd name="connsiteY184" fmla="*/ 717985 h 1333436"/>
                <a:gd name="connsiteX185" fmla="*/ 46749 w 752994"/>
                <a:gd name="connsiteY185" fmla="*/ 729617 h 1333436"/>
                <a:gd name="connsiteX186" fmla="*/ 40831 w 752994"/>
                <a:gd name="connsiteY186" fmla="*/ 739212 h 1333436"/>
                <a:gd name="connsiteX187" fmla="*/ 39601 w 752994"/>
                <a:gd name="connsiteY187" fmla="*/ 738798 h 1333436"/>
                <a:gd name="connsiteX188" fmla="*/ 39409 w 752994"/>
                <a:gd name="connsiteY188" fmla="*/ 738591 h 1333436"/>
                <a:gd name="connsiteX189" fmla="*/ 37161 w 752994"/>
                <a:gd name="connsiteY189" fmla="*/ 734725 h 1333436"/>
                <a:gd name="connsiteX190" fmla="*/ 32665 w 752994"/>
                <a:gd name="connsiteY190" fmla="*/ 727788 h 1333436"/>
                <a:gd name="connsiteX191" fmla="*/ 26747 w 752994"/>
                <a:gd name="connsiteY191" fmla="*/ 719435 h 1333436"/>
                <a:gd name="connsiteX192" fmla="*/ 23884 w 752994"/>
                <a:gd name="connsiteY192" fmla="*/ 717812 h 1333436"/>
                <a:gd name="connsiteX193" fmla="*/ 24710 w 752994"/>
                <a:gd name="connsiteY193" fmla="*/ 709632 h 1333436"/>
                <a:gd name="connsiteX194" fmla="*/ 27554 w 752994"/>
                <a:gd name="connsiteY194" fmla="*/ 701694 h 1333436"/>
                <a:gd name="connsiteX195" fmla="*/ 24902 w 752994"/>
                <a:gd name="connsiteY195" fmla="*/ 696171 h 1333436"/>
                <a:gd name="connsiteX196" fmla="*/ 24095 w 752994"/>
                <a:gd name="connsiteY196" fmla="*/ 687818 h 1333436"/>
                <a:gd name="connsiteX197" fmla="*/ 22462 w 752994"/>
                <a:gd name="connsiteY197" fmla="*/ 682330 h 1333436"/>
                <a:gd name="connsiteX198" fmla="*/ 17159 w 752994"/>
                <a:gd name="connsiteY198" fmla="*/ 677636 h 1333436"/>
                <a:gd name="connsiteX199" fmla="*/ 14296 w 752994"/>
                <a:gd name="connsiteY199" fmla="*/ 671492 h 1333436"/>
                <a:gd name="connsiteX200" fmla="*/ 12451 w 752994"/>
                <a:gd name="connsiteY200" fmla="*/ 665797 h 1333436"/>
                <a:gd name="connsiteX201" fmla="*/ 5111 w 752994"/>
                <a:gd name="connsiteY201" fmla="*/ 654994 h 1333436"/>
                <a:gd name="connsiteX202" fmla="*/ 2248 w 752994"/>
                <a:gd name="connsiteY202" fmla="*/ 645605 h 1333436"/>
                <a:gd name="connsiteX203" fmla="*/ 4496 w 752994"/>
                <a:gd name="connsiteY203" fmla="*/ 640497 h 1333436"/>
                <a:gd name="connsiteX204" fmla="*/ 6744 w 752994"/>
                <a:gd name="connsiteY204" fmla="*/ 632765 h 1333436"/>
                <a:gd name="connsiteX205" fmla="*/ 6744 w 752994"/>
                <a:gd name="connsiteY205" fmla="*/ 628485 h 1333436"/>
                <a:gd name="connsiteX206" fmla="*/ 6533 w 752994"/>
                <a:gd name="connsiteY206" fmla="*/ 620305 h 1333436"/>
                <a:gd name="connsiteX207" fmla="*/ 7359 w 752994"/>
                <a:gd name="connsiteY207" fmla="*/ 611745 h 1333436"/>
                <a:gd name="connsiteX208" fmla="*/ 11836 w 752994"/>
                <a:gd name="connsiteY208" fmla="*/ 602978 h 1333436"/>
                <a:gd name="connsiteX209" fmla="*/ 15103 w 752994"/>
                <a:gd name="connsiteY209" fmla="*/ 591760 h 1333436"/>
                <a:gd name="connsiteX210" fmla="*/ 14488 w 752994"/>
                <a:gd name="connsiteY210" fmla="*/ 584029 h 1333436"/>
                <a:gd name="connsiteX211" fmla="*/ 13873 w 752994"/>
                <a:gd name="connsiteY211" fmla="*/ 578299 h 1333436"/>
                <a:gd name="connsiteX212" fmla="*/ 10626 w 752994"/>
                <a:gd name="connsiteY212" fmla="*/ 568531 h 1333436"/>
                <a:gd name="connsiteX213" fmla="*/ 3670 w 752994"/>
                <a:gd name="connsiteY213" fmla="*/ 558107 h 1333436"/>
                <a:gd name="connsiteX214" fmla="*/ 0 w 752994"/>
                <a:gd name="connsiteY214" fmla="*/ 551377 h 1333436"/>
                <a:gd name="connsiteX215" fmla="*/ 0 w 752994"/>
                <a:gd name="connsiteY215" fmla="*/ 550997 h 1333436"/>
                <a:gd name="connsiteX216" fmla="*/ 4900 w 752994"/>
                <a:gd name="connsiteY216" fmla="*/ 531220 h 1333436"/>
                <a:gd name="connsiteX217" fmla="*/ 13873 w 752994"/>
                <a:gd name="connsiteY217" fmla="*/ 520589 h 1333436"/>
                <a:gd name="connsiteX218" fmla="*/ 18369 w 752994"/>
                <a:gd name="connsiteY218" fmla="*/ 516516 h 1333436"/>
                <a:gd name="connsiteX219" fmla="*/ 18773 w 752994"/>
                <a:gd name="connsiteY219" fmla="*/ 514272 h 1333436"/>
                <a:gd name="connsiteX220" fmla="*/ 23077 w 752994"/>
                <a:gd name="connsiteY220" fmla="*/ 506127 h 1333436"/>
                <a:gd name="connsiteX221" fmla="*/ 23884 w 752994"/>
                <a:gd name="connsiteY221" fmla="*/ 502261 h 1333436"/>
                <a:gd name="connsiteX222" fmla="*/ 23692 w 752994"/>
                <a:gd name="connsiteY222" fmla="*/ 496738 h 1333436"/>
                <a:gd name="connsiteX223" fmla="*/ 30013 w 752994"/>
                <a:gd name="connsiteY223" fmla="*/ 486556 h 1333436"/>
                <a:gd name="connsiteX224" fmla="*/ 36546 w 752994"/>
                <a:gd name="connsiteY224" fmla="*/ 470230 h 1333436"/>
                <a:gd name="connsiteX225" fmla="*/ 36546 w 752994"/>
                <a:gd name="connsiteY225" fmla="*/ 462671 h 1333436"/>
                <a:gd name="connsiteX226" fmla="*/ 36335 w 752994"/>
                <a:gd name="connsiteY226" fmla="*/ 461670 h 1333436"/>
                <a:gd name="connsiteX227" fmla="*/ 35931 w 752994"/>
                <a:gd name="connsiteY227" fmla="*/ 453110 h 1333436"/>
                <a:gd name="connsiteX228" fmla="*/ 38583 w 752994"/>
                <a:gd name="connsiteY228" fmla="*/ 442514 h 1333436"/>
                <a:gd name="connsiteX229" fmla="*/ 41043 w 752994"/>
                <a:gd name="connsiteY229" fmla="*/ 436991 h 1333436"/>
                <a:gd name="connsiteX230" fmla="*/ 41650 w 752994"/>
                <a:gd name="connsiteY230" fmla="*/ 437186 h 1333436"/>
                <a:gd name="connsiteX231" fmla="*/ 41239 w 752994"/>
                <a:gd name="connsiteY231" fmla="*/ 436549 h 1333436"/>
                <a:gd name="connsiteX232" fmla="*/ 37778 w 752994"/>
                <a:gd name="connsiteY232" fmla="*/ 433894 h 1333436"/>
                <a:gd name="connsiteX233" fmla="*/ 37169 w 752994"/>
                <a:gd name="connsiteY233" fmla="*/ 432261 h 1333436"/>
                <a:gd name="connsiteX234" fmla="*/ 37365 w 752994"/>
                <a:gd name="connsiteY234" fmla="*/ 429198 h 1333436"/>
                <a:gd name="connsiteX235" fmla="*/ 36756 w 752994"/>
                <a:gd name="connsiteY235" fmla="*/ 422272 h 1333436"/>
                <a:gd name="connsiteX236" fmla="*/ 36952 w 752994"/>
                <a:gd name="connsiteY236" fmla="*/ 418800 h 1333436"/>
                <a:gd name="connsiteX237" fmla="*/ 36756 w 752994"/>
                <a:gd name="connsiteY237" fmla="*/ 412487 h 1333436"/>
                <a:gd name="connsiteX238" fmla="*/ 40433 w 752994"/>
                <a:gd name="connsiteY238" fmla="*/ 406174 h 1333436"/>
                <a:gd name="connsiteX239" fmla="*/ 44720 w 752994"/>
                <a:gd name="connsiteY239" fmla="*/ 399435 h 1333436"/>
                <a:gd name="connsiteX240" fmla="*/ 44110 w 752994"/>
                <a:gd name="connsiteY240" fmla="*/ 389651 h 1333436"/>
                <a:gd name="connsiteX241" fmla="*/ 43894 w 752994"/>
                <a:gd name="connsiteY241" fmla="*/ 378437 h 1333436"/>
                <a:gd name="connsiteX242" fmla="*/ 47158 w 752994"/>
                <a:gd name="connsiteY242" fmla="*/ 371102 h 1333436"/>
                <a:gd name="connsiteX243" fmla="*/ 55731 w 752994"/>
                <a:gd name="connsiteY243" fmla="*/ 360909 h 1333436"/>
                <a:gd name="connsiteX244" fmla="*/ 57580 w 752994"/>
                <a:gd name="connsiteY244" fmla="*/ 355804 h 1333436"/>
                <a:gd name="connsiteX245" fmla="*/ 62673 w 752994"/>
                <a:gd name="connsiteY245" fmla="*/ 349695 h 1333436"/>
                <a:gd name="connsiteX246" fmla="*/ 65937 w 752994"/>
                <a:gd name="connsiteY246" fmla="*/ 348470 h 1333436"/>
                <a:gd name="connsiteX247" fmla="*/ 68395 w 752994"/>
                <a:gd name="connsiteY247" fmla="*/ 348674 h 1333436"/>
                <a:gd name="connsiteX248" fmla="*/ 70224 w 752994"/>
                <a:gd name="connsiteY248" fmla="*/ 347449 h 1333436"/>
                <a:gd name="connsiteX249" fmla="*/ 67785 w 752994"/>
                <a:gd name="connsiteY249" fmla="*/ 345203 h 1333436"/>
                <a:gd name="connsiteX250" fmla="*/ 65524 w 752994"/>
                <a:gd name="connsiteY250" fmla="*/ 343178 h 1333436"/>
                <a:gd name="connsiteX251" fmla="*/ 73095 w 752994"/>
                <a:gd name="connsiteY251" fmla="*/ 333376 h 1333436"/>
                <a:gd name="connsiteX252" fmla="*/ 73291 w 752994"/>
                <a:gd name="connsiteY252" fmla="*/ 333376 h 1333436"/>
                <a:gd name="connsiteX253" fmla="*/ 77991 w 752994"/>
                <a:gd name="connsiteY253" fmla="*/ 325838 h 1333436"/>
                <a:gd name="connsiteX254" fmla="*/ 82671 w 752994"/>
                <a:gd name="connsiteY254" fmla="*/ 313619 h 1333436"/>
                <a:gd name="connsiteX255" fmla="*/ 87980 w 752994"/>
                <a:gd name="connsiteY255" fmla="*/ 303018 h 1333436"/>
                <a:gd name="connsiteX256" fmla="*/ 92267 w 752994"/>
                <a:gd name="connsiteY256" fmla="*/ 291191 h 1333436"/>
                <a:gd name="connsiteX257" fmla="*/ 96553 w 752994"/>
                <a:gd name="connsiteY257" fmla="*/ 281202 h 1333436"/>
                <a:gd name="connsiteX258" fmla="*/ 99621 w 752994"/>
                <a:gd name="connsiteY258" fmla="*/ 274481 h 1333436"/>
                <a:gd name="connsiteX259" fmla="*/ 103082 w 752994"/>
                <a:gd name="connsiteY259" fmla="*/ 262450 h 1333436"/>
                <a:gd name="connsiteX260" fmla="*/ 107172 w 752994"/>
                <a:gd name="connsiteY260" fmla="*/ 254299 h 1333436"/>
                <a:gd name="connsiteX261" fmla="*/ 112481 w 752994"/>
                <a:gd name="connsiteY261" fmla="*/ 243697 h 1333436"/>
                <a:gd name="connsiteX262" fmla="*/ 117181 w 752994"/>
                <a:gd name="connsiteY262" fmla="*/ 232279 h 1333436"/>
                <a:gd name="connsiteX263" fmla="*/ 125951 w 752994"/>
                <a:gd name="connsiteY263" fmla="*/ 217389 h 1333436"/>
                <a:gd name="connsiteX264" fmla="*/ 136156 w 752994"/>
                <a:gd name="connsiteY264" fmla="*/ 202925 h 1333436"/>
                <a:gd name="connsiteX265" fmla="*/ 138811 w 752994"/>
                <a:gd name="connsiteY265" fmla="*/ 183339 h 1333436"/>
                <a:gd name="connsiteX266" fmla="*/ 148801 w 752994"/>
                <a:gd name="connsiteY266" fmla="*/ 167445 h 1333436"/>
                <a:gd name="connsiteX267" fmla="*/ 159616 w 752994"/>
                <a:gd name="connsiteY267" fmla="*/ 170712 h 1333436"/>
                <a:gd name="connsiteX268" fmla="*/ 173105 w 752994"/>
                <a:gd name="connsiteY268" fmla="*/ 175188 h 1333436"/>
                <a:gd name="connsiteX269" fmla="*/ 175347 w 752994"/>
                <a:gd name="connsiteY269" fmla="*/ 175188 h 1333436"/>
                <a:gd name="connsiteX270" fmla="*/ 175347 w 752994"/>
                <a:gd name="connsiteY270" fmla="*/ 173758 h 1333436"/>
                <a:gd name="connsiteX271" fmla="*/ 184975 w 752994"/>
                <a:gd name="connsiteY271" fmla="*/ 187393 h 1333436"/>
                <a:gd name="connsiteX272" fmla="*/ 184762 w 752994"/>
                <a:gd name="connsiteY272" fmla="*/ 184637 h 1333436"/>
                <a:gd name="connsiteX273" fmla="*/ 174971 w 752994"/>
                <a:gd name="connsiteY273" fmla="*/ 170774 h 1333436"/>
                <a:gd name="connsiteX274" fmla="*/ 174971 w 752994"/>
                <a:gd name="connsiteY274" fmla="*/ 169550 h 1333436"/>
                <a:gd name="connsiteX275" fmla="*/ 158851 w 752994"/>
                <a:gd name="connsiteY275" fmla="*/ 156924 h 1333436"/>
                <a:gd name="connsiteX276" fmla="*/ 147025 w 752994"/>
                <a:gd name="connsiteY276" fmla="*/ 145709 h 1333436"/>
                <a:gd name="connsiteX277" fmla="*/ 154364 w 752994"/>
                <a:gd name="connsiteY277" fmla="*/ 136335 h 1333436"/>
                <a:gd name="connsiteX278" fmla="*/ 161511 w 752994"/>
                <a:gd name="connsiteY278" fmla="*/ 131042 h 1333436"/>
                <a:gd name="connsiteX279" fmla="*/ 160902 w 752994"/>
                <a:gd name="connsiteY279" fmla="*/ 128384 h 1333436"/>
                <a:gd name="connsiteX280" fmla="*/ 160277 w 752994"/>
                <a:gd name="connsiteY280" fmla="*/ 127778 h 1333436"/>
                <a:gd name="connsiteX281" fmla="*/ 154973 w 752994"/>
                <a:gd name="connsiteY281" fmla="*/ 122077 h 1333436"/>
                <a:gd name="connsiteX282" fmla="*/ 160277 w 752994"/>
                <a:gd name="connsiteY282" fmla="*/ 115140 h 1333436"/>
                <a:gd name="connsiteX283" fmla="*/ 165181 w 752994"/>
                <a:gd name="connsiteY283" fmla="*/ 108215 h 1333436"/>
                <a:gd name="connsiteX284" fmla="*/ 161303 w 752994"/>
                <a:gd name="connsiteY284" fmla="*/ 104146 h 1333436"/>
                <a:gd name="connsiteX285" fmla="*/ 157842 w 752994"/>
                <a:gd name="connsiteY285" fmla="*/ 104542 h 1333436"/>
                <a:gd name="connsiteX286" fmla="*/ 157024 w 752994"/>
                <a:gd name="connsiteY286" fmla="*/ 102304 h 1333436"/>
                <a:gd name="connsiteX287" fmla="*/ 160694 w 752994"/>
                <a:gd name="connsiteY287" fmla="*/ 55437 h 1333436"/>
                <a:gd name="connsiteX288" fmla="*/ 160486 w 752994"/>
                <a:gd name="connsiteY288" fmla="*/ 31991 h 1333436"/>
                <a:gd name="connsiteX289" fmla="*/ 164972 w 752994"/>
                <a:gd name="connsiteY289" fmla="*/ 18141 h 1333436"/>
                <a:gd name="connsiteX290" fmla="*/ 171911 w 752994"/>
                <a:gd name="connsiteY290" fmla="*/ 11204 h 1333436"/>
                <a:gd name="connsiteX291" fmla="*/ 187406 w 752994"/>
                <a:gd name="connsiteY291" fmla="*/ 21801 h 1333436"/>
                <a:gd name="connsiteX292" fmla="*/ 210866 w 752994"/>
                <a:gd name="connsiteY292" fmla="*/ 37086 h 1333436"/>
                <a:gd name="connsiteX293" fmla="*/ 219230 w 752994"/>
                <a:gd name="connsiteY293" fmla="*/ 41166 h 1333436"/>
                <a:gd name="connsiteX294" fmla="*/ 226778 w 752994"/>
                <a:gd name="connsiteY294" fmla="*/ 47486 h 1333436"/>
                <a:gd name="connsiteX295" fmla="*/ 236152 w 752994"/>
                <a:gd name="connsiteY295" fmla="*/ 52370 h 1333436"/>
                <a:gd name="connsiteX296" fmla="*/ 239629 w 752994"/>
                <a:gd name="connsiteY296" fmla="*/ 58491 h 1333436"/>
                <a:gd name="connsiteX297" fmla="*/ 239629 w 752994"/>
                <a:gd name="connsiteY297" fmla="*/ 63376 h 1333436"/>
                <a:gd name="connsiteX298" fmla="*/ 236568 w 752994"/>
                <a:gd name="connsiteY298" fmla="*/ 67457 h 1333436"/>
                <a:gd name="connsiteX299" fmla="*/ 231264 w 752994"/>
                <a:gd name="connsiteY299" fmla="*/ 69905 h 1333436"/>
                <a:gd name="connsiteX300" fmla="*/ 216778 w 752994"/>
                <a:gd name="connsiteY300" fmla="*/ 82741 h 1333436"/>
                <a:gd name="connsiteX301" fmla="*/ 214134 w 752994"/>
                <a:gd name="connsiteY301" fmla="*/ 93536 h 1333436"/>
                <a:gd name="connsiteX302" fmla="*/ 214535 w 752994"/>
                <a:gd name="connsiteY302" fmla="*/ 96801 h 1333436"/>
                <a:gd name="connsiteX303" fmla="*/ 216378 w 752994"/>
                <a:gd name="connsiteY303" fmla="*/ 96801 h 1333436"/>
                <a:gd name="connsiteX304" fmla="*/ 230046 w 752994"/>
                <a:gd name="connsiteY304" fmla="*/ 85387 h 1333436"/>
                <a:gd name="connsiteX305" fmla="*/ 243298 w 752994"/>
                <a:gd name="connsiteY305" fmla="*/ 75198 h 1333436"/>
                <a:gd name="connsiteX306" fmla="*/ 246760 w 752994"/>
                <a:gd name="connsiteY306" fmla="*/ 77646 h 1333436"/>
                <a:gd name="connsiteX307" fmla="*/ 255541 w 752994"/>
                <a:gd name="connsiteY307" fmla="*/ 63376 h 1333436"/>
                <a:gd name="connsiteX308" fmla="*/ 259611 w 752994"/>
                <a:gd name="connsiteY308" fmla="*/ 43405 h 1333436"/>
                <a:gd name="connsiteX309" fmla="*/ 256967 w 752994"/>
                <a:gd name="connsiteY309" fmla="*/ 38520 h 1333436"/>
                <a:gd name="connsiteX310" fmla="*/ 253906 w 752994"/>
                <a:gd name="connsiteY310" fmla="*/ 34242 h 1333436"/>
                <a:gd name="connsiteX311" fmla="*/ 256967 w 752994"/>
                <a:gd name="connsiteY311" fmla="*/ 30161 h 1333436"/>
                <a:gd name="connsiteX312" fmla="*/ 262063 w 752994"/>
                <a:gd name="connsiteY312" fmla="*/ 27712 h 1333436"/>
                <a:gd name="connsiteX313" fmla="*/ 264915 w 752994"/>
                <a:gd name="connsiteY313" fmla="*/ 23026 h 1333436"/>
                <a:gd name="connsiteX314" fmla="*/ 267976 w 752994"/>
                <a:gd name="connsiteY314" fmla="*/ 22618 h 1333436"/>
                <a:gd name="connsiteX315" fmla="*/ 270427 w 752994"/>
                <a:gd name="connsiteY315" fmla="*/ 20787 h 1333436"/>
                <a:gd name="connsiteX316" fmla="*/ 263088 w 752994"/>
                <a:gd name="connsiteY316" fmla="*/ 13652 h 1333436"/>
                <a:gd name="connsiteX317" fmla="*/ 255541 w 752994"/>
                <a:gd name="connsiteY317" fmla="*/ 3055 h 1333436"/>
                <a:gd name="connsiteX318" fmla="*/ 256358 w 752994"/>
                <a:gd name="connsiteY318" fmla="*/ 1224 h 1333436"/>
                <a:gd name="connsiteX319" fmla="*/ 257159 w 752994"/>
                <a:gd name="connsiteY319"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10261 w 752994"/>
                <a:gd name="connsiteY19" fmla="*/ 246539 h 1333436"/>
                <a:gd name="connsiteX20" fmla="*/ 348428 w 752994"/>
                <a:gd name="connsiteY20" fmla="*/ 250011 h 1333436"/>
                <a:gd name="connsiteX21" fmla="*/ 351279 w 752994"/>
                <a:gd name="connsiteY21" fmla="*/ 247356 h 1333436"/>
                <a:gd name="connsiteX22" fmla="*/ 280827 w 752994"/>
                <a:gd name="connsiteY22" fmla="*/ 242720 h 1333436"/>
                <a:gd name="connsiteX23" fmla="*/ 195162 w 752994"/>
                <a:gd name="connsiteY23" fmla="*/ 228857 h 1333436"/>
                <a:gd name="connsiteX24" fmla="*/ 188223 w 752994"/>
                <a:gd name="connsiteY24" fmla="*/ 223973 h 1333436"/>
                <a:gd name="connsiteX25" fmla="*/ 185163 w 752994"/>
                <a:gd name="connsiteY25" fmla="*/ 219484 h 1333436"/>
                <a:gd name="connsiteX26" fmla="*/ 184180 w 752994"/>
                <a:gd name="connsiteY26" fmla="*/ 213866 h 1333436"/>
                <a:gd name="connsiteX27" fmla="*/ 257159 w 752994"/>
                <a:gd name="connsiteY27" fmla="*/ 0 h 1333436"/>
                <a:gd name="connsiteX28" fmla="*/ 493147 w 752994"/>
                <a:gd name="connsiteY28" fmla="*/ 73157 h 1333436"/>
                <a:gd name="connsiteX29" fmla="*/ 492970 w 752994"/>
                <a:gd name="connsiteY29" fmla="*/ 73792 h 1333436"/>
                <a:gd name="connsiteX30" fmla="*/ 525816 w 752994"/>
                <a:gd name="connsiteY30" fmla="*/ 82491 h 1333436"/>
                <a:gd name="connsiteX31" fmla="*/ 520098 w 752994"/>
                <a:gd name="connsiteY31" fmla="*/ 111245 h 1333436"/>
                <a:gd name="connsiteX32" fmla="*/ 512552 w 752994"/>
                <a:gd name="connsiteY32" fmla="*/ 143854 h 1333436"/>
                <a:gd name="connsiteX33" fmla="*/ 517849 w 752994"/>
                <a:gd name="connsiteY33" fmla="*/ 157740 h 1333436"/>
                <a:gd name="connsiteX34" fmla="*/ 523160 w 752994"/>
                <a:gd name="connsiteY34" fmla="*/ 172009 h 1333436"/>
                <a:gd name="connsiteX35" fmla="*/ 521535 w 752994"/>
                <a:gd name="connsiteY35" fmla="*/ 178928 h 1333436"/>
                <a:gd name="connsiteX36" fmla="*/ 520098 w 752994"/>
                <a:gd name="connsiteY36" fmla="*/ 186279 h 1333436"/>
                <a:gd name="connsiteX37" fmla="*/ 526019 w 752994"/>
                <a:gd name="connsiteY37" fmla="*/ 193629 h 1333436"/>
                <a:gd name="connsiteX38" fmla="*/ 537251 w 752994"/>
                <a:gd name="connsiteY38" fmla="*/ 206270 h 1333436"/>
                <a:gd name="connsiteX39" fmla="*/ 542765 w 752994"/>
                <a:gd name="connsiteY39" fmla="*/ 217475 h 1333436"/>
                <a:gd name="connsiteX40" fmla="*/ 546857 w 752994"/>
                <a:gd name="connsiteY40" fmla="*/ 230930 h 1333436"/>
                <a:gd name="connsiteX41" fmla="*/ 549499 w 752994"/>
                <a:gd name="connsiteY41" fmla="*/ 235622 h 1333436"/>
                <a:gd name="connsiteX42" fmla="*/ 553388 w 752994"/>
                <a:gd name="connsiteY42" fmla="*/ 240722 h 1333436"/>
                <a:gd name="connsiteX43" fmla="*/ 557465 w 752994"/>
                <a:gd name="connsiteY43" fmla="*/ 246037 h 1333436"/>
                <a:gd name="connsiteX44" fmla="*/ 561761 w 752994"/>
                <a:gd name="connsiteY44" fmla="*/ 248671 h 1333436"/>
                <a:gd name="connsiteX45" fmla="*/ 567478 w 752994"/>
                <a:gd name="connsiteY45" fmla="*/ 247665 h 1333436"/>
                <a:gd name="connsiteX46" fmla="*/ 569931 w 752994"/>
                <a:gd name="connsiteY46" fmla="*/ 249293 h 1333436"/>
                <a:gd name="connsiteX47" fmla="*/ 570540 w 752994"/>
                <a:gd name="connsiteY47" fmla="*/ 251951 h 1333436"/>
                <a:gd name="connsiteX48" fmla="*/ 561964 w 752994"/>
                <a:gd name="connsiteY48" fmla="*/ 267656 h 1333436"/>
                <a:gd name="connsiteX49" fmla="*/ 553591 w 752994"/>
                <a:gd name="connsiteY49" fmla="*/ 289659 h 1333436"/>
                <a:gd name="connsiteX50" fmla="*/ 554810 w 752994"/>
                <a:gd name="connsiteY50" fmla="*/ 292939 h 1333436"/>
                <a:gd name="connsiteX51" fmla="*/ 556246 w 752994"/>
                <a:gd name="connsiteY51" fmla="*/ 299260 h 1333436"/>
                <a:gd name="connsiteX52" fmla="*/ 552778 w 752994"/>
                <a:gd name="connsiteY52" fmla="*/ 301917 h 1333436"/>
                <a:gd name="connsiteX53" fmla="*/ 549295 w 752994"/>
                <a:gd name="connsiteY53" fmla="*/ 306993 h 1333436"/>
                <a:gd name="connsiteX54" fmla="*/ 547061 w 752994"/>
                <a:gd name="connsiteY54" fmla="*/ 313122 h 1333436"/>
                <a:gd name="connsiteX55" fmla="*/ 544811 w 752994"/>
                <a:gd name="connsiteY55" fmla="*/ 316593 h 1333436"/>
                <a:gd name="connsiteX56" fmla="*/ 549919 w 752994"/>
                <a:gd name="connsiteY56" fmla="*/ 322698 h 1333436"/>
                <a:gd name="connsiteX57" fmla="*/ 553184 w 752994"/>
                <a:gd name="connsiteY57" fmla="*/ 325955 h 1333436"/>
                <a:gd name="connsiteX58" fmla="*/ 555840 w 752994"/>
                <a:gd name="connsiteY58" fmla="*/ 328205 h 1333436"/>
                <a:gd name="connsiteX59" fmla="*/ 574212 w 752994"/>
                <a:gd name="connsiteY59" fmla="*/ 318820 h 1333436"/>
                <a:gd name="connsiteX60" fmla="*/ 579523 w 752994"/>
                <a:gd name="connsiteY60" fmla="*/ 326577 h 1333436"/>
                <a:gd name="connsiteX61" fmla="*/ 580539 w 752994"/>
                <a:gd name="connsiteY61" fmla="*/ 334933 h 1333436"/>
                <a:gd name="connsiteX62" fmla="*/ 579726 w 752994"/>
                <a:gd name="connsiteY62" fmla="*/ 343097 h 1333436"/>
                <a:gd name="connsiteX63" fmla="*/ 581366 w 752994"/>
                <a:gd name="connsiteY63" fmla="*/ 350231 h 1333436"/>
                <a:gd name="connsiteX64" fmla="*/ 586256 w 752994"/>
                <a:gd name="connsiteY64" fmla="*/ 355930 h 1333436"/>
                <a:gd name="connsiteX65" fmla="*/ 589536 w 752994"/>
                <a:gd name="connsiteY65" fmla="*/ 362059 h 1333436"/>
                <a:gd name="connsiteX66" fmla="*/ 588099 w 752994"/>
                <a:gd name="connsiteY66" fmla="*/ 369600 h 1333436"/>
                <a:gd name="connsiteX67" fmla="*/ 586459 w 752994"/>
                <a:gd name="connsiteY67" fmla="*/ 377357 h 1333436"/>
                <a:gd name="connsiteX68" fmla="*/ 588709 w 752994"/>
                <a:gd name="connsiteY68" fmla="*/ 381835 h 1333436"/>
                <a:gd name="connsiteX69" fmla="*/ 595036 w 752994"/>
                <a:gd name="connsiteY69" fmla="*/ 382457 h 1333436"/>
                <a:gd name="connsiteX70" fmla="*/ 599331 w 752994"/>
                <a:gd name="connsiteY70" fmla="*/ 385306 h 1333436"/>
                <a:gd name="connsiteX71" fmla="*/ 601987 w 752994"/>
                <a:gd name="connsiteY71" fmla="*/ 391004 h 1333436"/>
                <a:gd name="connsiteX72" fmla="*/ 602799 w 752994"/>
                <a:gd name="connsiteY72" fmla="*/ 404076 h 1333436"/>
                <a:gd name="connsiteX73" fmla="*/ 606892 w 752994"/>
                <a:gd name="connsiteY73" fmla="*/ 415688 h 1333436"/>
                <a:gd name="connsiteX74" fmla="*/ 610563 w 752994"/>
                <a:gd name="connsiteY74" fmla="*/ 412217 h 1333436"/>
                <a:gd name="connsiteX75" fmla="*/ 617920 w 752994"/>
                <a:gd name="connsiteY75" fmla="*/ 408769 h 1333436"/>
                <a:gd name="connsiteX76" fmla="*/ 624654 w 752994"/>
                <a:gd name="connsiteY76" fmla="*/ 411211 h 1333436"/>
                <a:gd name="connsiteX77" fmla="*/ 634652 w 752994"/>
                <a:gd name="connsiteY77" fmla="*/ 410182 h 1333436"/>
                <a:gd name="connsiteX78" fmla="*/ 640573 w 752994"/>
                <a:gd name="connsiteY78" fmla="*/ 407739 h 1333436"/>
                <a:gd name="connsiteX79" fmla="*/ 646711 w 752994"/>
                <a:gd name="connsiteY79" fmla="*/ 410589 h 1333436"/>
                <a:gd name="connsiteX80" fmla="*/ 650383 w 752994"/>
                <a:gd name="connsiteY80" fmla="*/ 410589 h 1333436"/>
                <a:gd name="connsiteX81" fmla="*/ 654257 w 752994"/>
                <a:gd name="connsiteY81" fmla="*/ 411618 h 1333436"/>
                <a:gd name="connsiteX82" fmla="*/ 656913 w 752994"/>
                <a:gd name="connsiteY82" fmla="*/ 413653 h 1333436"/>
                <a:gd name="connsiteX83" fmla="*/ 660802 w 752994"/>
                <a:gd name="connsiteY83" fmla="*/ 415090 h 1333436"/>
                <a:gd name="connsiteX84" fmla="*/ 669581 w 752994"/>
                <a:gd name="connsiteY84" fmla="*/ 415904 h 1333436"/>
                <a:gd name="connsiteX85" fmla="*/ 672237 w 752994"/>
                <a:gd name="connsiteY85" fmla="*/ 415688 h 1333436"/>
                <a:gd name="connsiteX86" fmla="*/ 675705 w 752994"/>
                <a:gd name="connsiteY86" fmla="*/ 409367 h 1333436"/>
                <a:gd name="connsiteX87" fmla="*/ 679986 w 752994"/>
                <a:gd name="connsiteY87" fmla="*/ 403238 h 1333436"/>
                <a:gd name="connsiteX88" fmla="*/ 693264 w 752994"/>
                <a:gd name="connsiteY88" fmla="*/ 419567 h 1333436"/>
                <a:gd name="connsiteX89" fmla="*/ 688563 w 752994"/>
                <a:gd name="connsiteY89" fmla="*/ 448321 h 1333436"/>
                <a:gd name="connsiteX90" fmla="*/ 663949 w 752994"/>
                <a:gd name="connsiteY90" fmla="*/ 590165 h 1333436"/>
                <a:gd name="connsiteX91" fmla="*/ 666304 w 752994"/>
                <a:gd name="connsiteY91" fmla="*/ 590504 h 1333436"/>
                <a:gd name="connsiteX92" fmla="*/ 655288 w 752994"/>
                <a:gd name="connsiteY92" fmla="*/ 656178 h 1333436"/>
                <a:gd name="connsiteX93" fmla="*/ 681808 w 752994"/>
                <a:gd name="connsiteY93" fmla="*/ 662301 h 1333436"/>
                <a:gd name="connsiteX94" fmla="*/ 752994 w 752994"/>
                <a:gd name="connsiteY94" fmla="*/ 675560 h 1333436"/>
                <a:gd name="connsiteX95" fmla="*/ 714651 w 752994"/>
                <a:gd name="connsiteY95" fmla="*/ 946985 h 1333436"/>
                <a:gd name="connsiteX96" fmla="*/ 654533 w 752994"/>
                <a:gd name="connsiteY96" fmla="*/ 1333436 h 1333436"/>
                <a:gd name="connsiteX97" fmla="*/ 546831 w 752994"/>
                <a:gd name="connsiteY97" fmla="*/ 1317126 h 1333436"/>
                <a:gd name="connsiteX98" fmla="*/ 351227 w 752994"/>
                <a:gd name="connsiteY98" fmla="*/ 1194172 h 1333436"/>
                <a:gd name="connsiteX99" fmla="*/ 361011 w 752994"/>
                <a:gd name="connsiteY99" fmla="*/ 1182755 h 1333436"/>
                <a:gd name="connsiteX100" fmla="*/ 368981 w 752994"/>
                <a:gd name="connsiteY100" fmla="*/ 1182130 h 1333436"/>
                <a:gd name="connsiteX101" fmla="*/ 369571 w 752994"/>
                <a:gd name="connsiteY101" fmla="*/ 1181558 h 1333436"/>
                <a:gd name="connsiteX102" fmla="*/ 362372 w 752994"/>
                <a:gd name="connsiteY102" fmla="*/ 1182120 h 1333436"/>
                <a:gd name="connsiteX103" fmla="*/ 229464 w 752994"/>
                <a:gd name="connsiteY103" fmla="*/ 1161721 h 1333436"/>
                <a:gd name="connsiteX104" fmla="*/ 227427 w 752994"/>
                <a:gd name="connsiteY104" fmla="*/ 1157269 h 1333436"/>
                <a:gd name="connsiteX105" fmla="*/ 224967 w 752994"/>
                <a:gd name="connsiteY105" fmla="*/ 1152575 h 1333436"/>
                <a:gd name="connsiteX106" fmla="*/ 225582 w 752994"/>
                <a:gd name="connsiteY106" fmla="*/ 1144808 h 1333436"/>
                <a:gd name="connsiteX107" fmla="*/ 227215 w 752994"/>
                <a:gd name="connsiteY107" fmla="*/ 1135834 h 1333436"/>
                <a:gd name="connsiteX108" fmla="*/ 227215 w 752994"/>
                <a:gd name="connsiteY108" fmla="*/ 1134212 h 1333436"/>
                <a:gd name="connsiteX109" fmla="*/ 225179 w 752994"/>
                <a:gd name="connsiteY109" fmla="*/ 1114020 h 1333436"/>
                <a:gd name="connsiteX110" fmla="*/ 217839 w 752994"/>
                <a:gd name="connsiteY110" fmla="*/ 1100352 h 1333436"/>
                <a:gd name="connsiteX111" fmla="*/ 199661 w 752994"/>
                <a:gd name="connsiteY111" fmla="*/ 1076502 h 1333436"/>
                <a:gd name="connsiteX112" fmla="*/ 196395 w 752994"/>
                <a:gd name="connsiteY112" fmla="*/ 1071807 h 1333436"/>
                <a:gd name="connsiteX113" fmla="*/ 190880 w 752994"/>
                <a:gd name="connsiteY113" fmla="*/ 1067527 h 1333436"/>
                <a:gd name="connsiteX114" fmla="*/ 187210 w 752994"/>
                <a:gd name="connsiteY114" fmla="*/ 1068735 h 1333436"/>
                <a:gd name="connsiteX115" fmla="*/ 180062 w 752994"/>
                <a:gd name="connsiteY115" fmla="*/ 1066699 h 1333436"/>
                <a:gd name="connsiteX116" fmla="*/ 180466 w 752994"/>
                <a:gd name="connsiteY116" fmla="*/ 1053031 h 1333436"/>
                <a:gd name="connsiteX117" fmla="*/ 180062 w 752994"/>
                <a:gd name="connsiteY117" fmla="*/ 1045299 h 1333436"/>
                <a:gd name="connsiteX118" fmla="*/ 174144 w 752994"/>
                <a:gd name="connsiteY118" fmla="*/ 1044057 h 1333436"/>
                <a:gd name="connsiteX119" fmla="*/ 158426 w 752994"/>
                <a:gd name="connsiteY119" fmla="*/ 1042641 h 1333436"/>
                <a:gd name="connsiteX120" fmla="*/ 149857 w 752994"/>
                <a:gd name="connsiteY120" fmla="*/ 1035497 h 1333436"/>
                <a:gd name="connsiteX121" fmla="*/ 142497 w 752994"/>
                <a:gd name="connsiteY121" fmla="*/ 1028766 h 1333436"/>
                <a:gd name="connsiteX122" fmla="*/ 140864 w 752994"/>
                <a:gd name="connsiteY122" fmla="*/ 1020620 h 1333436"/>
                <a:gd name="connsiteX123" fmla="*/ 138212 w 752994"/>
                <a:gd name="connsiteY123" fmla="*/ 1013061 h 1333436"/>
                <a:gd name="connsiteX124" fmla="*/ 131064 w 752994"/>
                <a:gd name="connsiteY124" fmla="*/ 1007159 h 1333436"/>
                <a:gd name="connsiteX125" fmla="*/ 121264 w 752994"/>
                <a:gd name="connsiteY125" fmla="*/ 1005330 h 1333436"/>
                <a:gd name="connsiteX126" fmla="*/ 112483 w 752994"/>
                <a:gd name="connsiteY126" fmla="*/ 1001671 h 1333436"/>
                <a:gd name="connsiteX127" fmla="*/ 105950 w 752994"/>
                <a:gd name="connsiteY127" fmla="*/ 995734 h 1333436"/>
                <a:gd name="connsiteX128" fmla="*/ 97380 w 752994"/>
                <a:gd name="connsiteY128" fmla="*/ 994526 h 1333436"/>
                <a:gd name="connsiteX129" fmla="*/ 87984 w 752994"/>
                <a:gd name="connsiteY129" fmla="*/ 991040 h 1333436"/>
                <a:gd name="connsiteX130" fmla="*/ 80029 w 752994"/>
                <a:gd name="connsiteY130" fmla="*/ 985138 h 1333436"/>
                <a:gd name="connsiteX131" fmla="*/ 77166 w 752994"/>
                <a:gd name="connsiteY131" fmla="*/ 976164 h 1333436"/>
                <a:gd name="connsiteX132" fmla="*/ 79203 w 752994"/>
                <a:gd name="connsiteY132" fmla="*/ 970676 h 1333436"/>
                <a:gd name="connsiteX133" fmla="*/ 82470 w 752994"/>
                <a:gd name="connsiteY133" fmla="*/ 963117 h 1333436"/>
                <a:gd name="connsiteX134" fmla="*/ 84314 w 752994"/>
                <a:gd name="connsiteY134" fmla="*/ 954557 h 1333436"/>
                <a:gd name="connsiteX135" fmla="*/ 86351 w 752994"/>
                <a:gd name="connsiteY135" fmla="*/ 948033 h 1333436"/>
                <a:gd name="connsiteX136" fmla="*/ 86159 w 752994"/>
                <a:gd name="connsiteY136" fmla="*/ 942925 h 1333436"/>
                <a:gd name="connsiteX137" fmla="*/ 83085 w 752994"/>
                <a:gd name="connsiteY137" fmla="*/ 939853 h 1333436"/>
                <a:gd name="connsiteX138" fmla="*/ 77570 w 752994"/>
                <a:gd name="connsiteY138" fmla="*/ 937437 h 1333436"/>
                <a:gd name="connsiteX139" fmla="*/ 76763 w 752994"/>
                <a:gd name="connsiteY139" fmla="*/ 931915 h 1333436"/>
                <a:gd name="connsiteX140" fmla="*/ 78800 w 752994"/>
                <a:gd name="connsiteY140" fmla="*/ 927013 h 1333436"/>
                <a:gd name="connsiteX141" fmla="*/ 79626 w 752994"/>
                <a:gd name="connsiteY141" fmla="*/ 922526 h 1333436"/>
                <a:gd name="connsiteX142" fmla="*/ 77781 w 752994"/>
                <a:gd name="connsiteY142" fmla="*/ 919903 h 1333436"/>
                <a:gd name="connsiteX143" fmla="*/ 74303 w 752994"/>
                <a:gd name="connsiteY143" fmla="*/ 917418 h 1333436"/>
                <a:gd name="connsiteX144" fmla="*/ 71863 w 752994"/>
                <a:gd name="connsiteY144" fmla="*/ 915174 h 1333436"/>
                <a:gd name="connsiteX145" fmla="*/ 71652 w 752994"/>
                <a:gd name="connsiteY145" fmla="*/ 910894 h 1333436"/>
                <a:gd name="connsiteX146" fmla="*/ 70633 w 752994"/>
                <a:gd name="connsiteY146" fmla="*/ 906614 h 1333436"/>
                <a:gd name="connsiteX147" fmla="*/ 68385 w 752994"/>
                <a:gd name="connsiteY147" fmla="*/ 902749 h 1333436"/>
                <a:gd name="connsiteX148" fmla="*/ 61045 w 752994"/>
                <a:gd name="connsiteY148" fmla="*/ 889494 h 1333436"/>
                <a:gd name="connsiteX149" fmla="*/ 57971 w 752994"/>
                <a:gd name="connsiteY149" fmla="*/ 875619 h 1333436"/>
                <a:gd name="connsiteX150" fmla="*/ 52264 w 752994"/>
                <a:gd name="connsiteY150" fmla="*/ 862572 h 1333436"/>
                <a:gd name="connsiteX151" fmla="*/ 44309 w 752994"/>
                <a:gd name="connsiteY151" fmla="*/ 850561 h 1333436"/>
                <a:gd name="connsiteX152" fmla="*/ 45520 w 752994"/>
                <a:gd name="connsiteY152" fmla="*/ 827090 h 1333436"/>
                <a:gd name="connsiteX153" fmla="*/ 53071 w 752994"/>
                <a:gd name="connsiteY153" fmla="*/ 822396 h 1333436"/>
                <a:gd name="connsiteX154" fmla="*/ 57375 w 752994"/>
                <a:gd name="connsiteY154" fmla="*/ 816493 h 1333436"/>
                <a:gd name="connsiteX155" fmla="*/ 55319 w 752994"/>
                <a:gd name="connsiteY155" fmla="*/ 801617 h 1333436"/>
                <a:gd name="connsiteX156" fmla="*/ 48383 w 752994"/>
                <a:gd name="connsiteY156" fmla="*/ 802204 h 1333436"/>
                <a:gd name="connsiteX157" fmla="*/ 40428 w 752994"/>
                <a:gd name="connsiteY157" fmla="*/ 797924 h 1333436"/>
                <a:gd name="connsiteX158" fmla="*/ 37565 w 752994"/>
                <a:gd name="connsiteY158" fmla="*/ 790606 h 1333436"/>
                <a:gd name="connsiteX159" fmla="*/ 37565 w 752994"/>
                <a:gd name="connsiteY159" fmla="*/ 790399 h 1333436"/>
                <a:gd name="connsiteX160" fmla="*/ 35931 w 752994"/>
                <a:gd name="connsiteY160" fmla="*/ 785912 h 1333436"/>
                <a:gd name="connsiteX161" fmla="*/ 34510 w 752994"/>
                <a:gd name="connsiteY161" fmla="*/ 780597 h 1333436"/>
                <a:gd name="connsiteX162" fmla="*/ 36335 w 752994"/>
                <a:gd name="connsiteY162" fmla="*/ 774280 h 1333436"/>
                <a:gd name="connsiteX163" fmla="*/ 38180 w 752994"/>
                <a:gd name="connsiteY163" fmla="*/ 766721 h 1333436"/>
                <a:gd name="connsiteX164" fmla="*/ 37161 w 752994"/>
                <a:gd name="connsiteY164" fmla="*/ 760405 h 1333436"/>
                <a:gd name="connsiteX165" fmla="*/ 35720 w 752994"/>
                <a:gd name="connsiteY165" fmla="*/ 754710 h 1333436"/>
                <a:gd name="connsiteX166" fmla="*/ 36546 w 752994"/>
                <a:gd name="connsiteY166" fmla="*/ 748773 h 1333436"/>
                <a:gd name="connsiteX167" fmla="*/ 38372 w 752994"/>
                <a:gd name="connsiteY167" fmla="*/ 744528 h 1333436"/>
                <a:gd name="connsiteX168" fmla="*/ 41638 w 752994"/>
                <a:gd name="connsiteY168" fmla="*/ 744321 h 1333436"/>
                <a:gd name="connsiteX169" fmla="*/ 44713 w 752994"/>
                <a:gd name="connsiteY169" fmla="*/ 746357 h 1333436"/>
                <a:gd name="connsiteX170" fmla="*/ 47364 w 752994"/>
                <a:gd name="connsiteY170" fmla="*/ 753260 h 1333436"/>
                <a:gd name="connsiteX171" fmla="*/ 55742 w 752994"/>
                <a:gd name="connsiteY171" fmla="*/ 764305 h 1333436"/>
                <a:gd name="connsiteX172" fmla="*/ 56338 w 752994"/>
                <a:gd name="connsiteY172" fmla="*/ 761233 h 1333436"/>
                <a:gd name="connsiteX173" fmla="*/ 56145 w 752994"/>
                <a:gd name="connsiteY173" fmla="*/ 757368 h 1333436"/>
                <a:gd name="connsiteX174" fmla="*/ 54916 w 752994"/>
                <a:gd name="connsiteY174" fmla="*/ 748601 h 1333436"/>
                <a:gd name="connsiteX175" fmla="*/ 52879 w 752994"/>
                <a:gd name="connsiteY175" fmla="*/ 747358 h 1333436"/>
                <a:gd name="connsiteX176" fmla="*/ 51649 w 752994"/>
                <a:gd name="connsiteY176" fmla="*/ 745322 h 1333436"/>
                <a:gd name="connsiteX177" fmla="*/ 51649 w 752994"/>
                <a:gd name="connsiteY177" fmla="*/ 739212 h 1333436"/>
                <a:gd name="connsiteX178" fmla="*/ 50227 w 752994"/>
                <a:gd name="connsiteY178" fmla="*/ 734725 h 1333436"/>
                <a:gd name="connsiteX179" fmla="*/ 48786 w 752994"/>
                <a:gd name="connsiteY179" fmla="*/ 731446 h 1333436"/>
                <a:gd name="connsiteX180" fmla="*/ 54512 w 752994"/>
                <a:gd name="connsiteY180" fmla="*/ 726372 h 1333436"/>
                <a:gd name="connsiteX181" fmla="*/ 59815 w 752994"/>
                <a:gd name="connsiteY181" fmla="*/ 725130 h 1333436"/>
                <a:gd name="connsiteX182" fmla="*/ 58182 w 752994"/>
                <a:gd name="connsiteY182" fmla="*/ 722886 h 1333436"/>
                <a:gd name="connsiteX183" fmla="*/ 51861 w 752994"/>
                <a:gd name="connsiteY183" fmla="*/ 717985 h 1333436"/>
                <a:gd name="connsiteX184" fmla="*/ 46749 w 752994"/>
                <a:gd name="connsiteY184" fmla="*/ 729617 h 1333436"/>
                <a:gd name="connsiteX185" fmla="*/ 40831 w 752994"/>
                <a:gd name="connsiteY185" fmla="*/ 739212 h 1333436"/>
                <a:gd name="connsiteX186" fmla="*/ 39601 w 752994"/>
                <a:gd name="connsiteY186" fmla="*/ 738798 h 1333436"/>
                <a:gd name="connsiteX187" fmla="*/ 39409 w 752994"/>
                <a:gd name="connsiteY187" fmla="*/ 738591 h 1333436"/>
                <a:gd name="connsiteX188" fmla="*/ 37161 w 752994"/>
                <a:gd name="connsiteY188" fmla="*/ 734725 h 1333436"/>
                <a:gd name="connsiteX189" fmla="*/ 32665 w 752994"/>
                <a:gd name="connsiteY189" fmla="*/ 727788 h 1333436"/>
                <a:gd name="connsiteX190" fmla="*/ 26747 w 752994"/>
                <a:gd name="connsiteY190" fmla="*/ 719435 h 1333436"/>
                <a:gd name="connsiteX191" fmla="*/ 23884 w 752994"/>
                <a:gd name="connsiteY191" fmla="*/ 717812 h 1333436"/>
                <a:gd name="connsiteX192" fmla="*/ 24710 w 752994"/>
                <a:gd name="connsiteY192" fmla="*/ 709632 h 1333436"/>
                <a:gd name="connsiteX193" fmla="*/ 27554 w 752994"/>
                <a:gd name="connsiteY193" fmla="*/ 701694 h 1333436"/>
                <a:gd name="connsiteX194" fmla="*/ 24902 w 752994"/>
                <a:gd name="connsiteY194" fmla="*/ 696171 h 1333436"/>
                <a:gd name="connsiteX195" fmla="*/ 24095 w 752994"/>
                <a:gd name="connsiteY195" fmla="*/ 687818 h 1333436"/>
                <a:gd name="connsiteX196" fmla="*/ 22462 w 752994"/>
                <a:gd name="connsiteY196" fmla="*/ 682330 h 1333436"/>
                <a:gd name="connsiteX197" fmla="*/ 17159 w 752994"/>
                <a:gd name="connsiteY197" fmla="*/ 677636 h 1333436"/>
                <a:gd name="connsiteX198" fmla="*/ 14296 w 752994"/>
                <a:gd name="connsiteY198" fmla="*/ 671492 h 1333436"/>
                <a:gd name="connsiteX199" fmla="*/ 12451 w 752994"/>
                <a:gd name="connsiteY199" fmla="*/ 665797 h 1333436"/>
                <a:gd name="connsiteX200" fmla="*/ 5111 w 752994"/>
                <a:gd name="connsiteY200" fmla="*/ 654994 h 1333436"/>
                <a:gd name="connsiteX201" fmla="*/ 2248 w 752994"/>
                <a:gd name="connsiteY201" fmla="*/ 645605 h 1333436"/>
                <a:gd name="connsiteX202" fmla="*/ 4496 w 752994"/>
                <a:gd name="connsiteY202" fmla="*/ 640497 h 1333436"/>
                <a:gd name="connsiteX203" fmla="*/ 6744 w 752994"/>
                <a:gd name="connsiteY203" fmla="*/ 632765 h 1333436"/>
                <a:gd name="connsiteX204" fmla="*/ 6744 w 752994"/>
                <a:gd name="connsiteY204" fmla="*/ 628485 h 1333436"/>
                <a:gd name="connsiteX205" fmla="*/ 6533 w 752994"/>
                <a:gd name="connsiteY205" fmla="*/ 620305 h 1333436"/>
                <a:gd name="connsiteX206" fmla="*/ 7359 w 752994"/>
                <a:gd name="connsiteY206" fmla="*/ 611745 h 1333436"/>
                <a:gd name="connsiteX207" fmla="*/ 11836 w 752994"/>
                <a:gd name="connsiteY207" fmla="*/ 602978 h 1333436"/>
                <a:gd name="connsiteX208" fmla="*/ 15103 w 752994"/>
                <a:gd name="connsiteY208" fmla="*/ 591760 h 1333436"/>
                <a:gd name="connsiteX209" fmla="*/ 14488 w 752994"/>
                <a:gd name="connsiteY209" fmla="*/ 584029 h 1333436"/>
                <a:gd name="connsiteX210" fmla="*/ 13873 w 752994"/>
                <a:gd name="connsiteY210" fmla="*/ 578299 h 1333436"/>
                <a:gd name="connsiteX211" fmla="*/ 10626 w 752994"/>
                <a:gd name="connsiteY211" fmla="*/ 568531 h 1333436"/>
                <a:gd name="connsiteX212" fmla="*/ 3670 w 752994"/>
                <a:gd name="connsiteY212" fmla="*/ 558107 h 1333436"/>
                <a:gd name="connsiteX213" fmla="*/ 0 w 752994"/>
                <a:gd name="connsiteY213" fmla="*/ 551377 h 1333436"/>
                <a:gd name="connsiteX214" fmla="*/ 0 w 752994"/>
                <a:gd name="connsiteY214" fmla="*/ 550997 h 1333436"/>
                <a:gd name="connsiteX215" fmla="*/ 4900 w 752994"/>
                <a:gd name="connsiteY215" fmla="*/ 531220 h 1333436"/>
                <a:gd name="connsiteX216" fmla="*/ 13873 w 752994"/>
                <a:gd name="connsiteY216" fmla="*/ 520589 h 1333436"/>
                <a:gd name="connsiteX217" fmla="*/ 18369 w 752994"/>
                <a:gd name="connsiteY217" fmla="*/ 516516 h 1333436"/>
                <a:gd name="connsiteX218" fmla="*/ 18773 w 752994"/>
                <a:gd name="connsiteY218" fmla="*/ 514272 h 1333436"/>
                <a:gd name="connsiteX219" fmla="*/ 23077 w 752994"/>
                <a:gd name="connsiteY219" fmla="*/ 506127 h 1333436"/>
                <a:gd name="connsiteX220" fmla="*/ 23884 w 752994"/>
                <a:gd name="connsiteY220" fmla="*/ 502261 h 1333436"/>
                <a:gd name="connsiteX221" fmla="*/ 23692 w 752994"/>
                <a:gd name="connsiteY221" fmla="*/ 496738 h 1333436"/>
                <a:gd name="connsiteX222" fmla="*/ 30013 w 752994"/>
                <a:gd name="connsiteY222" fmla="*/ 486556 h 1333436"/>
                <a:gd name="connsiteX223" fmla="*/ 36546 w 752994"/>
                <a:gd name="connsiteY223" fmla="*/ 470230 h 1333436"/>
                <a:gd name="connsiteX224" fmla="*/ 36546 w 752994"/>
                <a:gd name="connsiteY224" fmla="*/ 462671 h 1333436"/>
                <a:gd name="connsiteX225" fmla="*/ 36335 w 752994"/>
                <a:gd name="connsiteY225" fmla="*/ 461670 h 1333436"/>
                <a:gd name="connsiteX226" fmla="*/ 35931 w 752994"/>
                <a:gd name="connsiteY226" fmla="*/ 453110 h 1333436"/>
                <a:gd name="connsiteX227" fmla="*/ 38583 w 752994"/>
                <a:gd name="connsiteY227" fmla="*/ 442514 h 1333436"/>
                <a:gd name="connsiteX228" fmla="*/ 41043 w 752994"/>
                <a:gd name="connsiteY228" fmla="*/ 436991 h 1333436"/>
                <a:gd name="connsiteX229" fmla="*/ 41650 w 752994"/>
                <a:gd name="connsiteY229" fmla="*/ 437186 h 1333436"/>
                <a:gd name="connsiteX230" fmla="*/ 41239 w 752994"/>
                <a:gd name="connsiteY230" fmla="*/ 436549 h 1333436"/>
                <a:gd name="connsiteX231" fmla="*/ 37778 w 752994"/>
                <a:gd name="connsiteY231" fmla="*/ 433894 h 1333436"/>
                <a:gd name="connsiteX232" fmla="*/ 37169 w 752994"/>
                <a:gd name="connsiteY232" fmla="*/ 432261 h 1333436"/>
                <a:gd name="connsiteX233" fmla="*/ 37365 w 752994"/>
                <a:gd name="connsiteY233" fmla="*/ 429198 h 1333436"/>
                <a:gd name="connsiteX234" fmla="*/ 36756 w 752994"/>
                <a:gd name="connsiteY234" fmla="*/ 422272 h 1333436"/>
                <a:gd name="connsiteX235" fmla="*/ 36952 w 752994"/>
                <a:gd name="connsiteY235" fmla="*/ 418800 h 1333436"/>
                <a:gd name="connsiteX236" fmla="*/ 36756 w 752994"/>
                <a:gd name="connsiteY236" fmla="*/ 412487 h 1333436"/>
                <a:gd name="connsiteX237" fmla="*/ 40433 w 752994"/>
                <a:gd name="connsiteY237" fmla="*/ 406174 h 1333436"/>
                <a:gd name="connsiteX238" fmla="*/ 44720 w 752994"/>
                <a:gd name="connsiteY238" fmla="*/ 399435 h 1333436"/>
                <a:gd name="connsiteX239" fmla="*/ 44110 w 752994"/>
                <a:gd name="connsiteY239" fmla="*/ 389651 h 1333436"/>
                <a:gd name="connsiteX240" fmla="*/ 43894 w 752994"/>
                <a:gd name="connsiteY240" fmla="*/ 378437 h 1333436"/>
                <a:gd name="connsiteX241" fmla="*/ 47158 w 752994"/>
                <a:gd name="connsiteY241" fmla="*/ 371102 h 1333436"/>
                <a:gd name="connsiteX242" fmla="*/ 55731 w 752994"/>
                <a:gd name="connsiteY242" fmla="*/ 360909 h 1333436"/>
                <a:gd name="connsiteX243" fmla="*/ 57580 w 752994"/>
                <a:gd name="connsiteY243" fmla="*/ 355804 h 1333436"/>
                <a:gd name="connsiteX244" fmla="*/ 62673 w 752994"/>
                <a:gd name="connsiteY244" fmla="*/ 349695 h 1333436"/>
                <a:gd name="connsiteX245" fmla="*/ 65937 w 752994"/>
                <a:gd name="connsiteY245" fmla="*/ 348470 h 1333436"/>
                <a:gd name="connsiteX246" fmla="*/ 68395 w 752994"/>
                <a:gd name="connsiteY246" fmla="*/ 348674 h 1333436"/>
                <a:gd name="connsiteX247" fmla="*/ 70224 w 752994"/>
                <a:gd name="connsiteY247" fmla="*/ 347449 h 1333436"/>
                <a:gd name="connsiteX248" fmla="*/ 67785 w 752994"/>
                <a:gd name="connsiteY248" fmla="*/ 345203 h 1333436"/>
                <a:gd name="connsiteX249" fmla="*/ 65524 w 752994"/>
                <a:gd name="connsiteY249" fmla="*/ 343178 h 1333436"/>
                <a:gd name="connsiteX250" fmla="*/ 73095 w 752994"/>
                <a:gd name="connsiteY250" fmla="*/ 333376 h 1333436"/>
                <a:gd name="connsiteX251" fmla="*/ 73291 w 752994"/>
                <a:gd name="connsiteY251" fmla="*/ 333376 h 1333436"/>
                <a:gd name="connsiteX252" fmla="*/ 77991 w 752994"/>
                <a:gd name="connsiteY252" fmla="*/ 325838 h 1333436"/>
                <a:gd name="connsiteX253" fmla="*/ 82671 w 752994"/>
                <a:gd name="connsiteY253" fmla="*/ 313619 h 1333436"/>
                <a:gd name="connsiteX254" fmla="*/ 87980 w 752994"/>
                <a:gd name="connsiteY254" fmla="*/ 303018 h 1333436"/>
                <a:gd name="connsiteX255" fmla="*/ 92267 w 752994"/>
                <a:gd name="connsiteY255" fmla="*/ 291191 h 1333436"/>
                <a:gd name="connsiteX256" fmla="*/ 96553 w 752994"/>
                <a:gd name="connsiteY256" fmla="*/ 281202 h 1333436"/>
                <a:gd name="connsiteX257" fmla="*/ 99621 w 752994"/>
                <a:gd name="connsiteY257" fmla="*/ 274481 h 1333436"/>
                <a:gd name="connsiteX258" fmla="*/ 103082 w 752994"/>
                <a:gd name="connsiteY258" fmla="*/ 262450 h 1333436"/>
                <a:gd name="connsiteX259" fmla="*/ 107172 w 752994"/>
                <a:gd name="connsiteY259" fmla="*/ 254299 h 1333436"/>
                <a:gd name="connsiteX260" fmla="*/ 112481 w 752994"/>
                <a:gd name="connsiteY260" fmla="*/ 243697 h 1333436"/>
                <a:gd name="connsiteX261" fmla="*/ 117181 w 752994"/>
                <a:gd name="connsiteY261" fmla="*/ 232279 h 1333436"/>
                <a:gd name="connsiteX262" fmla="*/ 125951 w 752994"/>
                <a:gd name="connsiteY262" fmla="*/ 217389 h 1333436"/>
                <a:gd name="connsiteX263" fmla="*/ 136156 w 752994"/>
                <a:gd name="connsiteY263" fmla="*/ 202925 h 1333436"/>
                <a:gd name="connsiteX264" fmla="*/ 138811 w 752994"/>
                <a:gd name="connsiteY264" fmla="*/ 183339 h 1333436"/>
                <a:gd name="connsiteX265" fmla="*/ 148801 w 752994"/>
                <a:gd name="connsiteY265" fmla="*/ 167445 h 1333436"/>
                <a:gd name="connsiteX266" fmla="*/ 159616 w 752994"/>
                <a:gd name="connsiteY266" fmla="*/ 170712 h 1333436"/>
                <a:gd name="connsiteX267" fmla="*/ 173105 w 752994"/>
                <a:gd name="connsiteY267" fmla="*/ 175188 h 1333436"/>
                <a:gd name="connsiteX268" fmla="*/ 175347 w 752994"/>
                <a:gd name="connsiteY268" fmla="*/ 175188 h 1333436"/>
                <a:gd name="connsiteX269" fmla="*/ 175347 w 752994"/>
                <a:gd name="connsiteY269" fmla="*/ 173758 h 1333436"/>
                <a:gd name="connsiteX270" fmla="*/ 184975 w 752994"/>
                <a:gd name="connsiteY270" fmla="*/ 187393 h 1333436"/>
                <a:gd name="connsiteX271" fmla="*/ 184762 w 752994"/>
                <a:gd name="connsiteY271" fmla="*/ 184637 h 1333436"/>
                <a:gd name="connsiteX272" fmla="*/ 174971 w 752994"/>
                <a:gd name="connsiteY272" fmla="*/ 170774 h 1333436"/>
                <a:gd name="connsiteX273" fmla="*/ 174971 w 752994"/>
                <a:gd name="connsiteY273" fmla="*/ 169550 h 1333436"/>
                <a:gd name="connsiteX274" fmla="*/ 158851 w 752994"/>
                <a:gd name="connsiteY274" fmla="*/ 156924 h 1333436"/>
                <a:gd name="connsiteX275" fmla="*/ 147025 w 752994"/>
                <a:gd name="connsiteY275" fmla="*/ 145709 h 1333436"/>
                <a:gd name="connsiteX276" fmla="*/ 154364 w 752994"/>
                <a:gd name="connsiteY276" fmla="*/ 136335 h 1333436"/>
                <a:gd name="connsiteX277" fmla="*/ 161511 w 752994"/>
                <a:gd name="connsiteY277" fmla="*/ 131042 h 1333436"/>
                <a:gd name="connsiteX278" fmla="*/ 160902 w 752994"/>
                <a:gd name="connsiteY278" fmla="*/ 128384 h 1333436"/>
                <a:gd name="connsiteX279" fmla="*/ 160277 w 752994"/>
                <a:gd name="connsiteY279" fmla="*/ 127778 h 1333436"/>
                <a:gd name="connsiteX280" fmla="*/ 154973 w 752994"/>
                <a:gd name="connsiteY280" fmla="*/ 122077 h 1333436"/>
                <a:gd name="connsiteX281" fmla="*/ 160277 w 752994"/>
                <a:gd name="connsiteY281" fmla="*/ 115140 h 1333436"/>
                <a:gd name="connsiteX282" fmla="*/ 165181 w 752994"/>
                <a:gd name="connsiteY282" fmla="*/ 108215 h 1333436"/>
                <a:gd name="connsiteX283" fmla="*/ 161303 w 752994"/>
                <a:gd name="connsiteY283" fmla="*/ 104146 h 1333436"/>
                <a:gd name="connsiteX284" fmla="*/ 157842 w 752994"/>
                <a:gd name="connsiteY284" fmla="*/ 104542 h 1333436"/>
                <a:gd name="connsiteX285" fmla="*/ 157024 w 752994"/>
                <a:gd name="connsiteY285" fmla="*/ 102304 h 1333436"/>
                <a:gd name="connsiteX286" fmla="*/ 160694 w 752994"/>
                <a:gd name="connsiteY286" fmla="*/ 55437 h 1333436"/>
                <a:gd name="connsiteX287" fmla="*/ 160486 w 752994"/>
                <a:gd name="connsiteY287" fmla="*/ 31991 h 1333436"/>
                <a:gd name="connsiteX288" fmla="*/ 164972 w 752994"/>
                <a:gd name="connsiteY288" fmla="*/ 18141 h 1333436"/>
                <a:gd name="connsiteX289" fmla="*/ 171911 w 752994"/>
                <a:gd name="connsiteY289" fmla="*/ 11204 h 1333436"/>
                <a:gd name="connsiteX290" fmla="*/ 187406 w 752994"/>
                <a:gd name="connsiteY290" fmla="*/ 21801 h 1333436"/>
                <a:gd name="connsiteX291" fmla="*/ 210866 w 752994"/>
                <a:gd name="connsiteY291" fmla="*/ 37086 h 1333436"/>
                <a:gd name="connsiteX292" fmla="*/ 219230 w 752994"/>
                <a:gd name="connsiteY292" fmla="*/ 41166 h 1333436"/>
                <a:gd name="connsiteX293" fmla="*/ 226778 w 752994"/>
                <a:gd name="connsiteY293" fmla="*/ 47486 h 1333436"/>
                <a:gd name="connsiteX294" fmla="*/ 236152 w 752994"/>
                <a:gd name="connsiteY294" fmla="*/ 52370 h 1333436"/>
                <a:gd name="connsiteX295" fmla="*/ 239629 w 752994"/>
                <a:gd name="connsiteY295" fmla="*/ 58491 h 1333436"/>
                <a:gd name="connsiteX296" fmla="*/ 239629 w 752994"/>
                <a:gd name="connsiteY296" fmla="*/ 63376 h 1333436"/>
                <a:gd name="connsiteX297" fmla="*/ 236568 w 752994"/>
                <a:gd name="connsiteY297" fmla="*/ 67457 h 1333436"/>
                <a:gd name="connsiteX298" fmla="*/ 231264 w 752994"/>
                <a:gd name="connsiteY298" fmla="*/ 69905 h 1333436"/>
                <a:gd name="connsiteX299" fmla="*/ 216778 w 752994"/>
                <a:gd name="connsiteY299" fmla="*/ 82741 h 1333436"/>
                <a:gd name="connsiteX300" fmla="*/ 214134 w 752994"/>
                <a:gd name="connsiteY300" fmla="*/ 93536 h 1333436"/>
                <a:gd name="connsiteX301" fmla="*/ 214535 w 752994"/>
                <a:gd name="connsiteY301" fmla="*/ 96801 h 1333436"/>
                <a:gd name="connsiteX302" fmla="*/ 216378 w 752994"/>
                <a:gd name="connsiteY302" fmla="*/ 96801 h 1333436"/>
                <a:gd name="connsiteX303" fmla="*/ 230046 w 752994"/>
                <a:gd name="connsiteY303" fmla="*/ 85387 h 1333436"/>
                <a:gd name="connsiteX304" fmla="*/ 243298 w 752994"/>
                <a:gd name="connsiteY304" fmla="*/ 75198 h 1333436"/>
                <a:gd name="connsiteX305" fmla="*/ 246760 w 752994"/>
                <a:gd name="connsiteY305" fmla="*/ 77646 h 1333436"/>
                <a:gd name="connsiteX306" fmla="*/ 255541 w 752994"/>
                <a:gd name="connsiteY306" fmla="*/ 63376 h 1333436"/>
                <a:gd name="connsiteX307" fmla="*/ 259611 w 752994"/>
                <a:gd name="connsiteY307" fmla="*/ 43405 h 1333436"/>
                <a:gd name="connsiteX308" fmla="*/ 256967 w 752994"/>
                <a:gd name="connsiteY308" fmla="*/ 38520 h 1333436"/>
                <a:gd name="connsiteX309" fmla="*/ 253906 w 752994"/>
                <a:gd name="connsiteY309" fmla="*/ 34242 h 1333436"/>
                <a:gd name="connsiteX310" fmla="*/ 256967 w 752994"/>
                <a:gd name="connsiteY310" fmla="*/ 30161 h 1333436"/>
                <a:gd name="connsiteX311" fmla="*/ 262063 w 752994"/>
                <a:gd name="connsiteY311" fmla="*/ 27712 h 1333436"/>
                <a:gd name="connsiteX312" fmla="*/ 264915 w 752994"/>
                <a:gd name="connsiteY312" fmla="*/ 23026 h 1333436"/>
                <a:gd name="connsiteX313" fmla="*/ 267976 w 752994"/>
                <a:gd name="connsiteY313" fmla="*/ 22618 h 1333436"/>
                <a:gd name="connsiteX314" fmla="*/ 270427 w 752994"/>
                <a:gd name="connsiteY314" fmla="*/ 20787 h 1333436"/>
                <a:gd name="connsiteX315" fmla="*/ 263088 w 752994"/>
                <a:gd name="connsiteY315" fmla="*/ 13652 h 1333436"/>
                <a:gd name="connsiteX316" fmla="*/ 255541 w 752994"/>
                <a:gd name="connsiteY316" fmla="*/ 3055 h 1333436"/>
                <a:gd name="connsiteX317" fmla="*/ 256358 w 752994"/>
                <a:gd name="connsiteY317" fmla="*/ 1224 h 1333436"/>
                <a:gd name="connsiteX318" fmla="*/ 257159 w 752994"/>
                <a:gd name="connsiteY318"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48428 w 752994"/>
                <a:gd name="connsiteY19" fmla="*/ 250011 h 1333436"/>
                <a:gd name="connsiteX20" fmla="*/ 351279 w 752994"/>
                <a:gd name="connsiteY20" fmla="*/ 247356 h 1333436"/>
                <a:gd name="connsiteX21" fmla="*/ 280827 w 752994"/>
                <a:gd name="connsiteY21" fmla="*/ 242720 h 1333436"/>
                <a:gd name="connsiteX22" fmla="*/ 195162 w 752994"/>
                <a:gd name="connsiteY22" fmla="*/ 228857 h 1333436"/>
                <a:gd name="connsiteX23" fmla="*/ 188223 w 752994"/>
                <a:gd name="connsiteY23" fmla="*/ 223973 h 1333436"/>
                <a:gd name="connsiteX24" fmla="*/ 185163 w 752994"/>
                <a:gd name="connsiteY24" fmla="*/ 219484 h 1333436"/>
                <a:gd name="connsiteX25" fmla="*/ 184180 w 752994"/>
                <a:gd name="connsiteY25" fmla="*/ 213866 h 1333436"/>
                <a:gd name="connsiteX26" fmla="*/ 257159 w 752994"/>
                <a:gd name="connsiteY26" fmla="*/ 0 h 1333436"/>
                <a:gd name="connsiteX27" fmla="*/ 493147 w 752994"/>
                <a:gd name="connsiteY27" fmla="*/ 73157 h 1333436"/>
                <a:gd name="connsiteX28" fmla="*/ 492970 w 752994"/>
                <a:gd name="connsiteY28" fmla="*/ 73792 h 1333436"/>
                <a:gd name="connsiteX29" fmla="*/ 525816 w 752994"/>
                <a:gd name="connsiteY29" fmla="*/ 82491 h 1333436"/>
                <a:gd name="connsiteX30" fmla="*/ 520098 w 752994"/>
                <a:gd name="connsiteY30" fmla="*/ 111245 h 1333436"/>
                <a:gd name="connsiteX31" fmla="*/ 512552 w 752994"/>
                <a:gd name="connsiteY31" fmla="*/ 143854 h 1333436"/>
                <a:gd name="connsiteX32" fmla="*/ 517849 w 752994"/>
                <a:gd name="connsiteY32" fmla="*/ 157740 h 1333436"/>
                <a:gd name="connsiteX33" fmla="*/ 523160 w 752994"/>
                <a:gd name="connsiteY33" fmla="*/ 172009 h 1333436"/>
                <a:gd name="connsiteX34" fmla="*/ 521535 w 752994"/>
                <a:gd name="connsiteY34" fmla="*/ 178928 h 1333436"/>
                <a:gd name="connsiteX35" fmla="*/ 520098 w 752994"/>
                <a:gd name="connsiteY35" fmla="*/ 186279 h 1333436"/>
                <a:gd name="connsiteX36" fmla="*/ 526019 w 752994"/>
                <a:gd name="connsiteY36" fmla="*/ 193629 h 1333436"/>
                <a:gd name="connsiteX37" fmla="*/ 537251 w 752994"/>
                <a:gd name="connsiteY37" fmla="*/ 206270 h 1333436"/>
                <a:gd name="connsiteX38" fmla="*/ 542765 w 752994"/>
                <a:gd name="connsiteY38" fmla="*/ 217475 h 1333436"/>
                <a:gd name="connsiteX39" fmla="*/ 546857 w 752994"/>
                <a:gd name="connsiteY39" fmla="*/ 230930 h 1333436"/>
                <a:gd name="connsiteX40" fmla="*/ 549499 w 752994"/>
                <a:gd name="connsiteY40" fmla="*/ 235622 h 1333436"/>
                <a:gd name="connsiteX41" fmla="*/ 553388 w 752994"/>
                <a:gd name="connsiteY41" fmla="*/ 240722 h 1333436"/>
                <a:gd name="connsiteX42" fmla="*/ 557465 w 752994"/>
                <a:gd name="connsiteY42" fmla="*/ 246037 h 1333436"/>
                <a:gd name="connsiteX43" fmla="*/ 561761 w 752994"/>
                <a:gd name="connsiteY43" fmla="*/ 248671 h 1333436"/>
                <a:gd name="connsiteX44" fmla="*/ 567478 w 752994"/>
                <a:gd name="connsiteY44" fmla="*/ 247665 h 1333436"/>
                <a:gd name="connsiteX45" fmla="*/ 569931 w 752994"/>
                <a:gd name="connsiteY45" fmla="*/ 249293 h 1333436"/>
                <a:gd name="connsiteX46" fmla="*/ 570540 w 752994"/>
                <a:gd name="connsiteY46" fmla="*/ 251951 h 1333436"/>
                <a:gd name="connsiteX47" fmla="*/ 561964 w 752994"/>
                <a:gd name="connsiteY47" fmla="*/ 267656 h 1333436"/>
                <a:gd name="connsiteX48" fmla="*/ 553591 w 752994"/>
                <a:gd name="connsiteY48" fmla="*/ 289659 h 1333436"/>
                <a:gd name="connsiteX49" fmla="*/ 554810 w 752994"/>
                <a:gd name="connsiteY49" fmla="*/ 292939 h 1333436"/>
                <a:gd name="connsiteX50" fmla="*/ 556246 w 752994"/>
                <a:gd name="connsiteY50" fmla="*/ 299260 h 1333436"/>
                <a:gd name="connsiteX51" fmla="*/ 552778 w 752994"/>
                <a:gd name="connsiteY51" fmla="*/ 301917 h 1333436"/>
                <a:gd name="connsiteX52" fmla="*/ 549295 w 752994"/>
                <a:gd name="connsiteY52" fmla="*/ 306993 h 1333436"/>
                <a:gd name="connsiteX53" fmla="*/ 547061 w 752994"/>
                <a:gd name="connsiteY53" fmla="*/ 313122 h 1333436"/>
                <a:gd name="connsiteX54" fmla="*/ 544811 w 752994"/>
                <a:gd name="connsiteY54" fmla="*/ 316593 h 1333436"/>
                <a:gd name="connsiteX55" fmla="*/ 549919 w 752994"/>
                <a:gd name="connsiteY55" fmla="*/ 322698 h 1333436"/>
                <a:gd name="connsiteX56" fmla="*/ 553184 w 752994"/>
                <a:gd name="connsiteY56" fmla="*/ 325955 h 1333436"/>
                <a:gd name="connsiteX57" fmla="*/ 555840 w 752994"/>
                <a:gd name="connsiteY57" fmla="*/ 328205 h 1333436"/>
                <a:gd name="connsiteX58" fmla="*/ 574212 w 752994"/>
                <a:gd name="connsiteY58" fmla="*/ 318820 h 1333436"/>
                <a:gd name="connsiteX59" fmla="*/ 579523 w 752994"/>
                <a:gd name="connsiteY59" fmla="*/ 326577 h 1333436"/>
                <a:gd name="connsiteX60" fmla="*/ 580539 w 752994"/>
                <a:gd name="connsiteY60" fmla="*/ 334933 h 1333436"/>
                <a:gd name="connsiteX61" fmla="*/ 579726 w 752994"/>
                <a:gd name="connsiteY61" fmla="*/ 343097 h 1333436"/>
                <a:gd name="connsiteX62" fmla="*/ 581366 w 752994"/>
                <a:gd name="connsiteY62" fmla="*/ 350231 h 1333436"/>
                <a:gd name="connsiteX63" fmla="*/ 586256 w 752994"/>
                <a:gd name="connsiteY63" fmla="*/ 355930 h 1333436"/>
                <a:gd name="connsiteX64" fmla="*/ 589536 w 752994"/>
                <a:gd name="connsiteY64" fmla="*/ 362059 h 1333436"/>
                <a:gd name="connsiteX65" fmla="*/ 588099 w 752994"/>
                <a:gd name="connsiteY65" fmla="*/ 369600 h 1333436"/>
                <a:gd name="connsiteX66" fmla="*/ 586459 w 752994"/>
                <a:gd name="connsiteY66" fmla="*/ 377357 h 1333436"/>
                <a:gd name="connsiteX67" fmla="*/ 588709 w 752994"/>
                <a:gd name="connsiteY67" fmla="*/ 381835 h 1333436"/>
                <a:gd name="connsiteX68" fmla="*/ 595036 w 752994"/>
                <a:gd name="connsiteY68" fmla="*/ 382457 h 1333436"/>
                <a:gd name="connsiteX69" fmla="*/ 599331 w 752994"/>
                <a:gd name="connsiteY69" fmla="*/ 385306 h 1333436"/>
                <a:gd name="connsiteX70" fmla="*/ 601987 w 752994"/>
                <a:gd name="connsiteY70" fmla="*/ 391004 h 1333436"/>
                <a:gd name="connsiteX71" fmla="*/ 602799 w 752994"/>
                <a:gd name="connsiteY71" fmla="*/ 404076 h 1333436"/>
                <a:gd name="connsiteX72" fmla="*/ 606892 w 752994"/>
                <a:gd name="connsiteY72" fmla="*/ 415688 h 1333436"/>
                <a:gd name="connsiteX73" fmla="*/ 610563 w 752994"/>
                <a:gd name="connsiteY73" fmla="*/ 412217 h 1333436"/>
                <a:gd name="connsiteX74" fmla="*/ 617920 w 752994"/>
                <a:gd name="connsiteY74" fmla="*/ 408769 h 1333436"/>
                <a:gd name="connsiteX75" fmla="*/ 624654 w 752994"/>
                <a:gd name="connsiteY75" fmla="*/ 411211 h 1333436"/>
                <a:gd name="connsiteX76" fmla="*/ 634652 w 752994"/>
                <a:gd name="connsiteY76" fmla="*/ 410182 h 1333436"/>
                <a:gd name="connsiteX77" fmla="*/ 640573 w 752994"/>
                <a:gd name="connsiteY77" fmla="*/ 407739 h 1333436"/>
                <a:gd name="connsiteX78" fmla="*/ 646711 w 752994"/>
                <a:gd name="connsiteY78" fmla="*/ 410589 h 1333436"/>
                <a:gd name="connsiteX79" fmla="*/ 650383 w 752994"/>
                <a:gd name="connsiteY79" fmla="*/ 410589 h 1333436"/>
                <a:gd name="connsiteX80" fmla="*/ 654257 w 752994"/>
                <a:gd name="connsiteY80" fmla="*/ 411618 h 1333436"/>
                <a:gd name="connsiteX81" fmla="*/ 656913 w 752994"/>
                <a:gd name="connsiteY81" fmla="*/ 413653 h 1333436"/>
                <a:gd name="connsiteX82" fmla="*/ 660802 w 752994"/>
                <a:gd name="connsiteY82" fmla="*/ 415090 h 1333436"/>
                <a:gd name="connsiteX83" fmla="*/ 669581 w 752994"/>
                <a:gd name="connsiteY83" fmla="*/ 415904 h 1333436"/>
                <a:gd name="connsiteX84" fmla="*/ 672237 w 752994"/>
                <a:gd name="connsiteY84" fmla="*/ 415688 h 1333436"/>
                <a:gd name="connsiteX85" fmla="*/ 675705 w 752994"/>
                <a:gd name="connsiteY85" fmla="*/ 409367 h 1333436"/>
                <a:gd name="connsiteX86" fmla="*/ 679986 w 752994"/>
                <a:gd name="connsiteY86" fmla="*/ 403238 h 1333436"/>
                <a:gd name="connsiteX87" fmla="*/ 693264 w 752994"/>
                <a:gd name="connsiteY87" fmla="*/ 419567 h 1333436"/>
                <a:gd name="connsiteX88" fmla="*/ 688563 w 752994"/>
                <a:gd name="connsiteY88" fmla="*/ 448321 h 1333436"/>
                <a:gd name="connsiteX89" fmla="*/ 663949 w 752994"/>
                <a:gd name="connsiteY89" fmla="*/ 590165 h 1333436"/>
                <a:gd name="connsiteX90" fmla="*/ 666304 w 752994"/>
                <a:gd name="connsiteY90" fmla="*/ 590504 h 1333436"/>
                <a:gd name="connsiteX91" fmla="*/ 655288 w 752994"/>
                <a:gd name="connsiteY91" fmla="*/ 656178 h 1333436"/>
                <a:gd name="connsiteX92" fmla="*/ 681808 w 752994"/>
                <a:gd name="connsiteY92" fmla="*/ 662301 h 1333436"/>
                <a:gd name="connsiteX93" fmla="*/ 752994 w 752994"/>
                <a:gd name="connsiteY93" fmla="*/ 675560 h 1333436"/>
                <a:gd name="connsiteX94" fmla="*/ 714651 w 752994"/>
                <a:gd name="connsiteY94" fmla="*/ 946985 h 1333436"/>
                <a:gd name="connsiteX95" fmla="*/ 654533 w 752994"/>
                <a:gd name="connsiteY95" fmla="*/ 1333436 h 1333436"/>
                <a:gd name="connsiteX96" fmla="*/ 546831 w 752994"/>
                <a:gd name="connsiteY96" fmla="*/ 1317126 h 1333436"/>
                <a:gd name="connsiteX97" fmla="*/ 351227 w 752994"/>
                <a:gd name="connsiteY97" fmla="*/ 1194172 h 1333436"/>
                <a:gd name="connsiteX98" fmla="*/ 361011 w 752994"/>
                <a:gd name="connsiteY98" fmla="*/ 1182755 h 1333436"/>
                <a:gd name="connsiteX99" fmla="*/ 368981 w 752994"/>
                <a:gd name="connsiteY99" fmla="*/ 1182130 h 1333436"/>
                <a:gd name="connsiteX100" fmla="*/ 369571 w 752994"/>
                <a:gd name="connsiteY100" fmla="*/ 1181558 h 1333436"/>
                <a:gd name="connsiteX101" fmla="*/ 362372 w 752994"/>
                <a:gd name="connsiteY101" fmla="*/ 1182120 h 1333436"/>
                <a:gd name="connsiteX102" fmla="*/ 229464 w 752994"/>
                <a:gd name="connsiteY102" fmla="*/ 1161721 h 1333436"/>
                <a:gd name="connsiteX103" fmla="*/ 227427 w 752994"/>
                <a:gd name="connsiteY103" fmla="*/ 1157269 h 1333436"/>
                <a:gd name="connsiteX104" fmla="*/ 224967 w 752994"/>
                <a:gd name="connsiteY104" fmla="*/ 1152575 h 1333436"/>
                <a:gd name="connsiteX105" fmla="*/ 225582 w 752994"/>
                <a:gd name="connsiteY105" fmla="*/ 1144808 h 1333436"/>
                <a:gd name="connsiteX106" fmla="*/ 227215 w 752994"/>
                <a:gd name="connsiteY106" fmla="*/ 1135834 h 1333436"/>
                <a:gd name="connsiteX107" fmla="*/ 227215 w 752994"/>
                <a:gd name="connsiteY107" fmla="*/ 1134212 h 1333436"/>
                <a:gd name="connsiteX108" fmla="*/ 225179 w 752994"/>
                <a:gd name="connsiteY108" fmla="*/ 1114020 h 1333436"/>
                <a:gd name="connsiteX109" fmla="*/ 217839 w 752994"/>
                <a:gd name="connsiteY109" fmla="*/ 1100352 h 1333436"/>
                <a:gd name="connsiteX110" fmla="*/ 199661 w 752994"/>
                <a:gd name="connsiteY110" fmla="*/ 1076502 h 1333436"/>
                <a:gd name="connsiteX111" fmla="*/ 196395 w 752994"/>
                <a:gd name="connsiteY111" fmla="*/ 1071807 h 1333436"/>
                <a:gd name="connsiteX112" fmla="*/ 190880 w 752994"/>
                <a:gd name="connsiteY112" fmla="*/ 1067527 h 1333436"/>
                <a:gd name="connsiteX113" fmla="*/ 187210 w 752994"/>
                <a:gd name="connsiteY113" fmla="*/ 1068735 h 1333436"/>
                <a:gd name="connsiteX114" fmla="*/ 180062 w 752994"/>
                <a:gd name="connsiteY114" fmla="*/ 1066699 h 1333436"/>
                <a:gd name="connsiteX115" fmla="*/ 180466 w 752994"/>
                <a:gd name="connsiteY115" fmla="*/ 1053031 h 1333436"/>
                <a:gd name="connsiteX116" fmla="*/ 180062 w 752994"/>
                <a:gd name="connsiteY116" fmla="*/ 1045299 h 1333436"/>
                <a:gd name="connsiteX117" fmla="*/ 174144 w 752994"/>
                <a:gd name="connsiteY117" fmla="*/ 1044057 h 1333436"/>
                <a:gd name="connsiteX118" fmla="*/ 158426 w 752994"/>
                <a:gd name="connsiteY118" fmla="*/ 1042641 h 1333436"/>
                <a:gd name="connsiteX119" fmla="*/ 149857 w 752994"/>
                <a:gd name="connsiteY119" fmla="*/ 1035497 h 1333436"/>
                <a:gd name="connsiteX120" fmla="*/ 142497 w 752994"/>
                <a:gd name="connsiteY120" fmla="*/ 1028766 h 1333436"/>
                <a:gd name="connsiteX121" fmla="*/ 140864 w 752994"/>
                <a:gd name="connsiteY121" fmla="*/ 1020620 h 1333436"/>
                <a:gd name="connsiteX122" fmla="*/ 138212 w 752994"/>
                <a:gd name="connsiteY122" fmla="*/ 1013061 h 1333436"/>
                <a:gd name="connsiteX123" fmla="*/ 131064 w 752994"/>
                <a:gd name="connsiteY123" fmla="*/ 1007159 h 1333436"/>
                <a:gd name="connsiteX124" fmla="*/ 121264 w 752994"/>
                <a:gd name="connsiteY124" fmla="*/ 1005330 h 1333436"/>
                <a:gd name="connsiteX125" fmla="*/ 112483 w 752994"/>
                <a:gd name="connsiteY125" fmla="*/ 1001671 h 1333436"/>
                <a:gd name="connsiteX126" fmla="*/ 105950 w 752994"/>
                <a:gd name="connsiteY126" fmla="*/ 995734 h 1333436"/>
                <a:gd name="connsiteX127" fmla="*/ 97380 w 752994"/>
                <a:gd name="connsiteY127" fmla="*/ 994526 h 1333436"/>
                <a:gd name="connsiteX128" fmla="*/ 87984 w 752994"/>
                <a:gd name="connsiteY128" fmla="*/ 991040 h 1333436"/>
                <a:gd name="connsiteX129" fmla="*/ 80029 w 752994"/>
                <a:gd name="connsiteY129" fmla="*/ 985138 h 1333436"/>
                <a:gd name="connsiteX130" fmla="*/ 77166 w 752994"/>
                <a:gd name="connsiteY130" fmla="*/ 976164 h 1333436"/>
                <a:gd name="connsiteX131" fmla="*/ 79203 w 752994"/>
                <a:gd name="connsiteY131" fmla="*/ 970676 h 1333436"/>
                <a:gd name="connsiteX132" fmla="*/ 82470 w 752994"/>
                <a:gd name="connsiteY132" fmla="*/ 963117 h 1333436"/>
                <a:gd name="connsiteX133" fmla="*/ 84314 w 752994"/>
                <a:gd name="connsiteY133" fmla="*/ 954557 h 1333436"/>
                <a:gd name="connsiteX134" fmla="*/ 86351 w 752994"/>
                <a:gd name="connsiteY134" fmla="*/ 948033 h 1333436"/>
                <a:gd name="connsiteX135" fmla="*/ 86159 w 752994"/>
                <a:gd name="connsiteY135" fmla="*/ 942925 h 1333436"/>
                <a:gd name="connsiteX136" fmla="*/ 83085 w 752994"/>
                <a:gd name="connsiteY136" fmla="*/ 939853 h 1333436"/>
                <a:gd name="connsiteX137" fmla="*/ 77570 w 752994"/>
                <a:gd name="connsiteY137" fmla="*/ 937437 h 1333436"/>
                <a:gd name="connsiteX138" fmla="*/ 76763 w 752994"/>
                <a:gd name="connsiteY138" fmla="*/ 931915 h 1333436"/>
                <a:gd name="connsiteX139" fmla="*/ 78800 w 752994"/>
                <a:gd name="connsiteY139" fmla="*/ 927013 h 1333436"/>
                <a:gd name="connsiteX140" fmla="*/ 79626 w 752994"/>
                <a:gd name="connsiteY140" fmla="*/ 922526 h 1333436"/>
                <a:gd name="connsiteX141" fmla="*/ 77781 w 752994"/>
                <a:gd name="connsiteY141" fmla="*/ 919903 h 1333436"/>
                <a:gd name="connsiteX142" fmla="*/ 74303 w 752994"/>
                <a:gd name="connsiteY142" fmla="*/ 917418 h 1333436"/>
                <a:gd name="connsiteX143" fmla="*/ 71863 w 752994"/>
                <a:gd name="connsiteY143" fmla="*/ 915174 h 1333436"/>
                <a:gd name="connsiteX144" fmla="*/ 71652 w 752994"/>
                <a:gd name="connsiteY144" fmla="*/ 910894 h 1333436"/>
                <a:gd name="connsiteX145" fmla="*/ 70633 w 752994"/>
                <a:gd name="connsiteY145" fmla="*/ 906614 h 1333436"/>
                <a:gd name="connsiteX146" fmla="*/ 68385 w 752994"/>
                <a:gd name="connsiteY146" fmla="*/ 902749 h 1333436"/>
                <a:gd name="connsiteX147" fmla="*/ 61045 w 752994"/>
                <a:gd name="connsiteY147" fmla="*/ 889494 h 1333436"/>
                <a:gd name="connsiteX148" fmla="*/ 57971 w 752994"/>
                <a:gd name="connsiteY148" fmla="*/ 875619 h 1333436"/>
                <a:gd name="connsiteX149" fmla="*/ 52264 w 752994"/>
                <a:gd name="connsiteY149" fmla="*/ 862572 h 1333436"/>
                <a:gd name="connsiteX150" fmla="*/ 44309 w 752994"/>
                <a:gd name="connsiteY150" fmla="*/ 850561 h 1333436"/>
                <a:gd name="connsiteX151" fmla="*/ 45520 w 752994"/>
                <a:gd name="connsiteY151" fmla="*/ 827090 h 1333436"/>
                <a:gd name="connsiteX152" fmla="*/ 53071 w 752994"/>
                <a:gd name="connsiteY152" fmla="*/ 822396 h 1333436"/>
                <a:gd name="connsiteX153" fmla="*/ 57375 w 752994"/>
                <a:gd name="connsiteY153" fmla="*/ 816493 h 1333436"/>
                <a:gd name="connsiteX154" fmla="*/ 55319 w 752994"/>
                <a:gd name="connsiteY154" fmla="*/ 801617 h 1333436"/>
                <a:gd name="connsiteX155" fmla="*/ 48383 w 752994"/>
                <a:gd name="connsiteY155" fmla="*/ 802204 h 1333436"/>
                <a:gd name="connsiteX156" fmla="*/ 40428 w 752994"/>
                <a:gd name="connsiteY156" fmla="*/ 797924 h 1333436"/>
                <a:gd name="connsiteX157" fmla="*/ 37565 w 752994"/>
                <a:gd name="connsiteY157" fmla="*/ 790606 h 1333436"/>
                <a:gd name="connsiteX158" fmla="*/ 37565 w 752994"/>
                <a:gd name="connsiteY158" fmla="*/ 790399 h 1333436"/>
                <a:gd name="connsiteX159" fmla="*/ 35931 w 752994"/>
                <a:gd name="connsiteY159" fmla="*/ 785912 h 1333436"/>
                <a:gd name="connsiteX160" fmla="*/ 34510 w 752994"/>
                <a:gd name="connsiteY160" fmla="*/ 780597 h 1333436"/>
                <a:gd name="connsiteX161" fmla="*/ 36335 w 752994"/>
                <a:gd name="connsiteY161" fmla="*/ 774280 h 1333436"/>
                <a:gd name="connsiteX162" fmla="*/ 38180 w 752994"/>
                <a:gd name="connsiteY162" fmla="*/ 766721 h 1333436"/>
                <a:gd name="connsiteX163" fmla="*/ 37161 w 752994"/>
                <a:gd name="connsiteY163" fmla="*/ 760405 h 1333436"/>
                <a:gd name="connsiteX164" fmla="*/ 35720 w 752994"/>
                <a:gd name="connsiteY164" fmla="*/ 754710 h 1333436"/>
                <a:gd name="connsiteX165" fmla="*/ 36546 w 752994"/>
                <a:gd name="connsiteY165" fmla="*/ 748773 h 1333436"/>
                <a:gd name="connsiteX166" fmla="*/ 38372 w 752994"/>
                <a:gd name="connsiteY166" fmla="*/ 744528 h 1333436"/>
                <a:gd name="connsiteX167" fmla="*/ 41638 w 752994"/>
                <a:gd name="connsiteY167" fmla="*/ 744321 h 1333436"/>
                <a:gd name="connsiteX168" fmla="*/ 44713 w 752994"/>
                <a:gd name="connsiteY168" fmla="*/ 746357 h 1333436"/>
                <a:gd name="connsiteX169" fmla="*/ 47364 w 752994"/>
                <a:gd name="connsiteY169" fmla="*/ 753260 h 1333436"/>
                <a:gd name="connsiteX170" fmla="*/ 55742 w 752994"/>
                <a:gd name="connsiteY170" fmla="*/ 764305 h 1333436"/>
                <a:gd name="connsiteX171" fmla="*/ 56338 w 752994"/>
                <a:gd name="connsiteY171" fmla="*/ 761233 h 1333436"/>
                <a:gd name="connsiteX172" fmla="*/ 56145 w 752994"/>
                <a:gd name="connsiteY172" fmla="*/ 757368 h 1333436"/>
                <a:gd name="connsiteX173" fmla="*/ 54916 w 752994"/>
                <a:gd name="connsiteY173" fmla="*/ 748601 h 1333436"/>
                <a:gd name="connsiteX174" fmla="*/ 52879 w 752994"/>
                <a:gd name="connsiteY174" fmla="*/ 747358 h 1333436"/>
                <a:gd name="connsiteX175" fmla="*/ 51649 w 752994"/>
                <a:gd name="connsiteY175" fmla="*/ 745322 h 1333436"/>
                <a:gd name="connsiteX176" fmla="*/ 51649 w 752994"/>
                <a:gd name="connsiteY176" fmla="*/ 739212 h 1333436"/>
                <a:gd name="connsiteX177" fmla="*/ 50227 w 752994"/>
                <a:gd name="connsiteY177" fmla="*/ 734725 h 1333436"/>
                <a:gd name="connsiteX178" fmla="*/ 48786 w 752994"/>
                <a:gd name="connsiteY178" fmla="*/ 731446 h 1333436"/>
                <a:gd name="connsiteX179" fmla="*/ 54512 w 752994"/>
                <a:gd name="connsiteY179" fmla="*/ 726372 h 1333436"/>
                <a:gd name="connsiteX180" fmla="*/ 59815 w 752994"/>
                <a:gd name="connsiteY180" fmla="*/ 725130 h 1333436"/>
                <a:gd name="connsiteX181" fmla="*/ 58182 w 752994"/>
                <a:gd name="connsiteY181" fmla="*/ 722886 h 1333436"/>
                <a:gd name="connsiteX182" fmla="*/ 51861 w 752994"/>
                <a:gd name="connsiteY182" fmla="*/ 717985 h 1333436"/>
                <a:gd name="connsiteX183" fmla="*/ 46749 w 752994"/>
                <a:gd name="connsiteY183" fmla="*/ 729617 h 1333436"/>
                <a:gd name="connsiteX184" fmla="*/ 40831 w 752994"/>
                <a:gd name="connsiteY184" fmla="*/ 739212 h 1333436"/>
                <a:gd name="connsiteX185" fmla="*/ 39601 w 752994"/>
                <a:gd name="connsiteY185" fmla="*/ 738798 h 1333436"/>
                <a:gd name="connsiteX186" fmla="*/ 39409 w 752994"/>
                <a:gd name="connsiteY186" fmla="*/ 738591 h 1333436"/>
                <a:gd name="connsiteX187" fmla="*/ 37161 w 752994"/>
                <a:gd name="connsiteY187" fmla="*/ 734725 h 1333436"/>
                <a:gd name="connsiteX188" fmla="*/ 32665 w 752994"/>
                <a:gd name="connsiteY188" fmla="*/ 727788 h 1333436"/>
                <a:gd name="connsiteX189" fmla="*/ 26747 w 752994"/>
                <a:gd name="connsiteY189" fmla="*/ 719435 h 1333436"/>
                <a:gd name="connsiteX190" fmla="*/ 23884 w 752994"/>
                <a:gd name="connsiteY190" fmla="*/ 717812 h 1333436"/>
                <a:gd name="connsiteX191" fmla="*/ 24710 w 752994"/>
                <a:gd name="connsiteY191" fmla="*/ 709632 h 1333436"/>
                <a:gd name="connsiteX192" fmla="*/ 27554 w 752994"/>
                <a:gd name="connsiteY192" fmla="*/ 701694 h 1333436"/>
                <a:gd name="connsiteX193" fmla="*/ 24902 w 752994"/>
                <a:gd name="connsiteY193" fmla="*/ 696171 h 1333436"/>
                <a:gd name="connsiteX194" fmla="*/ 24095 w 752994"/>
                <a:gd name="connsiteY194" fmla="*/ 687818 h 1333436"/>
                <a:gd name="connsiteX195" fmla="*/ 22462 w 752994"/>
                <a:gd name="connsiteY195" fmla="*/ 682330 h 1333436"/>
                <a:gd name="connsiteX196" fmla="*/ 17159 w 752994"/>
                <a:gd name="connsiteY196" fmla="*/ 677636 h 1333436"/>
                <a:gd name="connsiteX197" fmla="*/ 14296 w 752994"/>
                <a:gd name="connsiteY197" fmla="*/ 671492 h 1333436"/>
                <a:gd name="connsiteX198" fmla="*/ 12451 w 752994"/>
                <a:gd name="connsiteY198" fmla="*/ 665797 h 1333436"/>
                <a:gd name="connsiteX199" fmla="*/ 5111 w 752994"/>
                <a:gd name="connsiteY199" fmla="*/ 654994 h 1333436"/>
                <a:gd name="connsiteX200" fmla="*/ 2248 w 752994"/>
                <a:gd name="connsiteY200" fmla="*/ 645605 h 1333436"/>
                <a:gd name="connsiteX201" fmla="*/ 4496 w 752994"/>
                <a:gd name="connsiteY201" fmla="*/ 640497 h 1333436"/>
                <a:gd name="connsiteX202" fmla="*/ 6744 w 752994"/>
                <a:gd name="connsiteY202" fmla="*/ 632765 h 1333436"/>
                <a:gd name="connsiteX203" fmla="*/ 6744 w 752994"/>
                <a:gd name="connsiteY203" fmla="*/ 628485 h 1333436"/>
                <a:gd name="connsiteX204" fmla="*/ 6533 w 752994"/>
                <a:gd name="connsiteY204" fmla="*/ 620305 h 1333436"/>
                <a:gd name="connsiteX205" fmla="*/ 7359 w 752994"/>
                <a:gd name="connsiteY205" fmla="*/ 611745 h 1333436"/>
                <a:gd name="connsiteX206" fmla="*/ 11836 w 752994"/>
                <a:gd name="connsiteY206" fmla="*/ 602978 h 1333436"/>
                <a:gd name="connsiteX207" fmla="*/ 15103 w 752994"/>
                <a:gd name="connsiteY207" fmla="*/ 591760 h 1333436"/>
                <a:gd name="connsiteX208" fmla="*/ 14488 w 752994"/>
                <a:gd name="connsiteY208" fmla="*/ 584029 h 1333436"/>
                <a:gd name="connsiteX209" fmla="*/ 13873 w 752994"/>
                <a:gd name="connsiteY209" fmla="*/ 578299 h 1333436"/>
                <a:gd name="connsiteX210" fmla="*/ 10626 w 752994"/>
                <a:gd name="connsiteY210" fmla="*/ 568531 h 1333436"/>
                <a:gd name="connsiteX211" fmla="*/ 3670 w 752994"/>
                <a:gd name="connsiteY211" fmla="*/ 558107 h 1333436"/>
                <a:gd name="connsiteX212" fmla="*/ 0 w 752994"/>
                <a:gd name="connsiteY212" fmla="*/ 551377 h 1333436"/>
                <a:gd name="connsiteX213" fmla="*/ 0 w 752994"/>
                <a:gd name="connsiteY213" fmla="*/ 550997 h 1333436"/>
                <a:gd name="connsiteX214" fmla="*/ 4900 w 752994"/>
                <a:gd name="connsiteY214" fmla="*/ 531220 h 1333436"/>
                <a:gd name="connsiteX215" fmla="*/ 13873 w 752994"/>
                <a:gd name="connsiteY215" fmla="*/ 520589 h 1333436"/>
                <a:gd name="connsiteX216" fmla="*/ 18369 w 752994"/>
                <a:gd name="connsiteY216" fmla="*/ 516516 h 1333436"/>
                <a:gd name="connsiteX217" fmla="*/ 18773 w 752994"/>
                <a:gd name="connsiteY217" fmla="*/ 514272 h 1333436"/>
                <a:gd name="connsiteX218" fmla="*/ 23077 w 752994"/>
                <a:gd name="connsiteY218" fmla="*/ 506127 h 1333436"/>
                <a:gd name="connsiteX219" fmla="*/ 23884 w 752994"/>
                <a:gd name="connsiteY219" fmla="*/ 502261 h 1333436"/>
                <a:gd name="connsiteX220" fmla="*/ 23692 w 752994"/>
                <a:gd name="connsiteY220" fmla="*/ 496738 h 1333436"/>
                <a:gd name="connsiteX221" fmla="*/ 30013 w 752994"/>
                <a:gd name="connsiteY221" fmla="*/ 486556 h 1333436"/>
                <a:gd name="connsiteX222" fmla="*/ 36546 w 752994"/>
                <a:gd name="connsiteY222" fmla="*/ 470230 h 1333436"/>
                <a:gd name="connsiteX223" fmla="*/ 36546 w 752994"/>
                <a:gd name="connsiteY223" fmla="*/ 462671 h 1333436"/>
                <a:gd name="connsiteX224" fmla="*/ 36335 w 752994"/>
                <a:gd name="connsiteY224" fmla="*/ 461670 h 1333436"/>
                <a:gd name="connsiteX225" fmla="*/ 35931 w 752994"/>
                <a:gd name="connsiteY225" fmla="*/ 453110 h 1333436"/>
                <a:gd name="connsiteX226" fmla="*/ 38583 w 752994"/>
                <a:gd name="connsiteY226" fmla="*/ 442514 h 1333436"/>
                <a:gd name="connsiteX227" fmla="*/ 41043 w 752994"/>
                <a:gd name="connsiteY227" fmla="*/ 436991 h 1333436"/>
                <a:gd name="connsiteX228" fmla="*/ 41650 w 752994"/>
                <a:gd name="connsiteY228" fmla="*/ 437186 h 1333436"/>
                <a:gd name="connsiteX229" fmla="*/ 41239 w 752994"/>
                <a:gd name="connsiteY229" fmla="*/ 436549 h 1333436"/>
                <a:gd name="connsiteX230" fmla="*/ 37778 w 752994"/>
                <a:gd name="connsiteY230" fmla="*/ 433894 h 1333436"/>
                <a:gd name="connsiteX231" fmla="*/ 37169 w 752994"/>
                <a:gd name="connsiteY231" fmla="*/ 432261 h 1333436"/>
                <a:gd name="connsiteX232" fmla="*/ 37365 w 752994"/>
                <a:gd name="connsiteY232" fmla="*/ 429198 h 1333436"/>
                <a:gd name="connsiteX233" fmla="*/ 36756 w 752994"/>
                <a:gd name="connsiteY233" fmla="*/ 422272 h 1333436"/>
                <a:gd name="connsiteX234" fmla="*/ 36952 w 752994"/>
                <a:gd name="connsiteY234" fmla="*/ 418800 h 1333436"/>
                <a:gd name="connsiteX235" fmla="*/ 36756 w 752994"/>
                <a:gd name="connsiteY235" fmla="*/ 412487 h 1333436"/>
                <a:gd name="connsiteX236" fmla="*/ 40433 w 752994"/>
                <a:gd name="connsiteY236" fmla="*/ 406174 h 1333436"/>
                <a:gd name="connsiteX237" fmla="*/ 44720 w 752994"/>
                <a:gd name="connsiteY237" fmla="*/ 399435 h 1333436"/>
                <a:gd name="connsiteX238" fmla="*/ 44110 w 752994"/>
                <a:gd name="connsiteY238" fmla="*/ 389651 h 1333436"/>
                <a:gd name="connsiteX239" fmla="*/ 43894 w 752994"/>
                <a:gd name="connsiteY239" fmla="*/ 378437 h 1333436"/>
                <a:gd name="connsiteX240" fmla="*/ 47158 w 752994"/>
                <a:gd name="connsiteY240" fmla="*/ 371102 h 1333436"/>
                <a:gd name="connsiteX241" fmla="*/ 55731 w 752994"/>
                <a:gd name="connsiteY241" fmla="*/ 360909 h 1333436"/>
                <a:gd name="connsiteX242" fmla="*/ 57580 w 752994"/>
                <a:gd name="connsiteY242" fmla="*/ 355804 h 1333436"/>
                <a:gd name="connsiteX243" fmla="*/ 62673 w 752994"/>
                <a:gd name="connsiteY243" fmla="*/ 349695 h 1333436"/>
                <a:gd name="connsiteX244" fmla="*/ 65937 w 752994"/>
                <a:gd name="connsiteY244" fmla="*/ 348470 h 1333436"/>
                <a:gd name="connsiteX245" fmla="*/ 68395 w 752994"/>
                <a:gd name="connsiteY245" fmla="*/ 348674 h 1333436"/>
                <a:gd name="connsiteX246" fmla="*/ 70224 w 752994"/>
                <a:gd name="connsiteY246" fmla="*/ 347449 h 1333436"/>
                <a:gd name="connsiteX247" fmla="*/ 67785 w 752994"/>
                <a:gd name="connsiteY247" fmla="*/ 345203 h 1333436"/>
                <a:gd name="connsiteX248" fmla="*/ 65524 w 752994"/>
                <a:gd name="connsiteY248" fmla="*/ 343178 h 1333436"/>
                <a:gd name="connsiteX249" fmla="*/ 73095 w 752994"/>
                <a:gd name="connsiteY249" fmla="*/ 333376 h 1333436"/>
                <a:gd name="connsiteX250" fmla="*/ 73291 w 752994"/>
                <a:gd name="connsiteY250" fmla="*/ 333376 h 1333436"/>
                <a:gd name="connsiteX251" fmla="*/ 77991 w 752994"/>
                <a:gd name="connsiteY251" fmla="*/ 325838 h 1333436"/>
                <a:gd name="connsiteX252" fmla="*/ 82671 w 752994"/>
                <a:gd name="connsiteY252" fmla="*/ 313619 h 1333436"/>
                <a:gd name="connsiteX253" fmla="*/ 87980 w 752994"/>
                <a:gd name="connsiteY253" fmla="*/ 303018 h 1333436"/>
                <a:gd name="connsiteX254" fmla="*/ 92267 w 752994"/>
                <a:gd name="connsiteY254" fmla="*/ 291191 h 1333436"/>
                <a:gd name="connsiteX255" fmla="*/ 96553 w 752994"/>
                <a:gd name="connsiteY255" fmla="*/ 281202 h 1333436"/>
                <a:gd name="connsiteX256" fmla="*/ 99621 w 752994"/>
                <a:gd name="connsiteY256" fmla="*/ 274481 h 1333436"/>
                <a:gd name="connsiteX257" fmla="*/ 103082 w 752994"/>
                <a:gd name="connsiteY257" fmla="*/ 262450 h 1333436"/>
                <a:gd name="connsiteX258" fmla="*/ 107172 w 752994"/>
                <a:gd name="connsiteY258" fmla="*/ 254299 h 1333436"/>
                <a:gd name="connsiteX259" fmla="*/ 112481 w 752994"/>
                <a:gd name="connsiteY259" fmla="*/ 243697 h 1333436"/>
                <a:gd name="connsiteX260" fmla="*/ 117181 w 752994"/>
                <a:gd name="connsiteY260" fmla="*/ 232279 h 1333436"/>
                <a:gd name="connsiteX261" fmla="*/ 125951 w 752994"/>
                <a:gd name="connsiteY261" fmla="*/ 217389 h 1333436"/>
                <a:gd name="connsiteX262" fmla="*/ 136156 w 752994"/>
                <a:gd name="connsiteY262" fmla="*/ 202925 h 1333436"/>
                <a:gd name="connsiteX263" fmla="*/ 138811 w 752994"/>
                <a:gd name="connsiteY263" fmla="*/ 183339 h 1333436"/>
                <a:gd name="connsiteX264" fmla="*/ 148801 w 752994"/>
                <a:gd name="connsiteY264" fmla="*/ 167445 h 1333436"/>
                <a:gd name="connsiteX265" fmla="*/ 159616 w 752994"/>
                <a:gd name="connsiteY265" fmla="*/ 170712 h 1333436"/>
                <a:gd name="connsiteX266" fmla="*/ 173105 w 752994"/>
                <a:gd name="connsiteY266" fmla="*/ 175188 h 1333436"/>
                <a:gd name="connsiteX267" fmla="*/ 175347 w 752994"/>
                <a:gd name="connsiteY267" fmla="*/ 175188 h 1333436"/>
                <a:gd name="connsiteX268" fmla="*/ 175347 w 752994"/>
                <a:gd name="connsiteY268" fmla="*/ 173758 h 1333436"/>
                <a:gd name="connsiteX269" fmla="*/ 184975 w 752994"/>
                <a:gd name="connsiteY269" fmla="*/ 187393 h 1333436"/>
                <a:gd name="connsiteX270" fmla="*/ 184762 w 752994"/>
                <a:gd name="connsiteY270" fmla="*/ 184637 h 1333436"/>
                <a:gd name="connsiteX271" fmla="*/ 174971 w 752994"/>
                <a:gd name="connsiteY271" fmla="*/ 170774 h 1333436"/>
                <a:gd name="connsiteX272" fmla="*/ 174971 w 752994"/>
                <a:gd name="connsiteY272" fmla="*/ 169550 h 1333436"/>
                <a:gd name="connsiteX273" fmla="*/ 158851 w 752994"/>
                <a:gd name="connsiteY273" fmla="*/ 156924 h 1333436"/>
                <a:gd name="connsiteX274" fmla="*/ 147025 w 752994"/>
                <a:gd name="connsiteY274" fmla="*/ 145709 h 1333436"/>
                <a:gd name="connsiteX275" fmla="*/ 154364 w 752994"/>
                <a:gd name="connsiteY275" fmla="*/ 136335 h 1333436"/>
                <a:gd name="connsiteX276" fmla="*/ 161511 w 752994"/>
                <a:gd name="connsiteY276" fmla="*/ 131042 h 1333436"/>
                <a:gd name="connsiteX277" fmla="*/ 160902 w 752994"/>
                <a:gd name="connsiteY277" fmla="*/ 128384 h 1333436"/>
                <a:gd name="connsiteX278" fmla="*/ 160277 w 752994"/>
                <a:gd name="connsiteY278" fmla="*/ 127778 h 1333436"/>
                <a:gd name="connsiteX279" fmla="*/ 154973 w 752994"/>
                <a:gd name="connsiteY279" fmla="*/ 122077 h 1333436"/>
                <a:gd name="connsiteX280" fmla="*/ 160277 w 752994"/>
                <a:gd name="connsiteY280" fmla="*/ 115140 h 1333436"/>
                <a:gd name="connsiteX281" fmla="*/ 165181 w 752994"/>
                <a:gd name="connsiteY281" fmla="*/ 108215 h 1333436"/>
                <a:gd name="connsiteX282" fmla="*/ 161303 w 752994"/>
                <a:gd name="connsiteY282" fmla="*/ 104146 h 1333436"/>
                <a:gd name="connsiteX283" fmla="*/ 157842 w 752994"/>
                <a:gd name="connsiteY283" fmla="*/ 104542 h 1333436"/>
                <a:gd name="connsiteX284" fmla="*/ 157024 w 752994"/>
                <a:gd name="connsiteY284" fmla="*/ 102304 h 1333436"/>
                <a:gd name="connsiteX285" fmla="*/ 160694 w 752994"/>
                <a:gd name="connsiteY285" fmla="*/ 55437 h 1333436"/>
                <a:gd name="connsiteX286" fmla="*/ 160486 w 752994"/>
                <a:gd name="connsiteY286" fmla="*/ 31991 h 1333436"/>
                <a:gd name="connsiteX287" fmla="*/ 164972 w 752994"/>
                <a:gd name="connsiteY287" fmla="*/ 18141 h 1333436"/>
                <a:gd name="connsiteX288" fmla="*/ 171911 w 752994"/>
                <a:gd name="connsiteY288" fmla="*/ 11204 h 1333436"/>
                <a:gd name="connsiteX289" fmla="*/ 187406 w 752994"/>
                <a:gd name="connsiteY289" fmla="*/ 21801 h 1333436"/>
                <a:gd name="connsiteX290" fmla="*/ 210866 w 752994"/>
                <a:gd name="connsiteY290" fmla="*/ 37086 h 1333436"/>
                <a:gd name="connsiteX291" fmla="*/ 219230 w 752994"/>
                <a:gd name="connsiteY291" fmla="*/ 41166 h 1333436"/>
                <a:gd name="connsiteX292" fmla="*/ 226778 w 752994"/>
                <a:gd name="connsiteY292" fmla="*/ 47486 h 1333436"/>
                <a:gd name="connsiteX293" fmla="*/ 236152 w 752994"/>
                <a:gd name="connsiteY293" fmla="*/ 52370 h 1333436"/>
                <a:gd name="connsiteX294" fmla="*/ 239629 w 752994"/>
                <a:gd name="connsiteY294" fmla="*/ 58491 h 1333436"/>
                <a:gd name="connsiteX295" fmla="*/ 239629 w 752994"/>
                <a:gd name="connsiteY295" fmla="*/ 63376 h 1333436"/>
                <a:gd name="connsiteX296" fmla="*/ 236568 w 752994"/>
                <a:gd name="connsiteY296" fmla="*/ 67457 h 1333436"/>
                <a:gd name="connsiteX297" fmla="*/ 231264 w 752994"/>
                <a:gd name="connsiteY297" fmla="*/ 69905 h 1333436"/>
                <a:gd name="connsiteX298" fmla="*/ 216778 w 752994"/>
                <a:gd name="connsiteY298" fmla="*/ 82741 h 1333436"/>
                <a:gd name="connsiteX299" fmla="*/ 214134 w 752994"/>
                <a:gd name="connsiteY299" fmla="*/ 93536 h 1333436"/>
                <a:gd name="connsiteX300" fmla="*/ 214535 w 752994"/>
                <a:gd name="connsiteY300" fmla="*/ 96801 h 1333436"/>
                <a:gd name="connsiteX301" fmla="*/ 216378 w 752994"/>
                <a:gd name="connsiteY301" fmla="*/ 96801 h 1333436"/>
                <a:gd name="connsiteX302" fmla="*/ 230046 w 752994"/>
                <a:gd name="connsiteY302" fmla="*/ 85387 h 1333436"/>
                <a:gd name="connsiteX303" fmla="*/ 243298 w 752994"/>
                <a:gd name="connsiteY303" fmla="*/ 75198 h 1333436"/>
                <a:gd name="connsiteX304" fmla="*/ 246760 w 752994"/>
                <a:gd name="connsiteY304" fmla="*/ 77646 h 1333436"/>
                <a:gd name="connsiteX305" fmla="*/ 255541 w 752994"/>
                <a:gd name="connsiteY305" fmla="*/ 63376 h 1333436"/>
                <a:gd name="connsiteX306" fmla="*/ 259611 w 752994"/>
                <a:gd name="connsiteY306" fmla="*/ 43405 h 1333436"/>
                <a:gd name="connsiteX307" fmla="*/ 256967 w 752994"/>
                <a:gd name="connsiteY307" fmla="*/ 38520 h 1333436"/>
                <a:gd name="connsiteX308" fmla="*/ 253906 w 752994"/>
                <a:gd name="connsiteY308" fmla="*/ 34242 h 1333436"/>
                <a:gd name="connsiteX309" fmla="*/ 256967 w 752994"/>
                <a:gd name="connsiteY309" fmla="*/ 30161 h 1333436"/>
                <a:gd name="connsiteX310" fmla="*/ 262063 w 752994"/>
                <a:gd name="connsiteY310" fmla="*/ 27712 h 1333436"/>
                <a:gd name="connsiteX311" fmla="*/ 264915 w 752994"/>
                <a:gd name="connsiteY311" fmla="*/ 23026 h 1333436"/>
                <a:gd name="connsiteX312" fmla="*/ 267976 w 752994"/>
                <a:gd name="connsiteY312" fmla="*/ 22618 h 1333436"/>
                <a:gd name="connsiteX313" fmla="*/ 270427 w 752994"/>
                <a:gd name="connsiteY313" fmla="*/ 20787 h 1333436"/>
                <a:gd name="connsiteX314" fmla="*/ 263088 w 752994"/>
                <a:gd name="connsiteY314" fmla="*/ 13652 h 1333436"/>
                <a:gd name="connsiteX315" fmla="*/ 255541 w 752994"/>
                <a:gd name="connsiteY315" fmla="*/ 3055 h 1333436"/>
                <a:gd name="connsiteX316" fmla="*/ 256358 w 752994"/>
                <a:gd name="connsiteY316" fmla="*/ 1224 h 1333436"/>
                <a:gd name="connsiteX317" fmla="*/ 257159 w 752994"/>
                <a:gd name="connsiteY317"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48428 w 752994"/>
                <a:gd name="connsiteY19" fmla="*/ 250011 h 1333436"/>
                <a:gd name="connsiteX20" fmla="*/ 280827 w 752994"/>
                <a:gd name="connsiteY20" fmla="*/ 242720 h 1333436"/>
                <a:gd name="connsiteX21" fmla="*/ 195162 w 752994"/>
                <a:gd name="connsiteY21" fmla="*/ 228857 h 1333436"/>
                <a:gd name="connsiteX22" fmla="*/ 188223 w 752994"/>
                <a:gd name="connsiteY22" fmla="*/ 223973 h 1333436"/>
                <a:gd name="connsiteX23" fmla="*/ 185163 w 752994"/>
                <a:gd name="connsiteY23" fmla="*/ 219484 h 1333436"/>
                <a:gd name="connsiteX24" fmla="*/ 184180 w 752994"/>
                <a:gd name="connsiteY24" fmla="*/ 213866 h 1333436"/>
                <a:gd name="connsiteX25" fmla="*/ 257159 w 752994"/>
                <a:gd name="connsiteY25" fmla="*/ 0 h 1333436"/>
                <a:gd name="connsiteX26" fmla="*/ 493147 w 752994"/>
                <a:gd name="connsiteY26" fmla="*/ 73157 h 1333436"/>
                <a:gd name="connsiteX27" fmla="*/ 492970 w 752994"/>
                <a:gd name="connsiteY27" fmla="*/ 73792 h 1333436"/>
                <a:gd name="connsiteX28" fmla="*/ 525816 w 752994"/>
                <a:gd name="connsiteY28" fmla="*/ 82491 h 1333436"/>
                <a:gd name="connsiteX29" fmla="*/ 520098 w 752994"/>
                <a:gd name="connsiteY29" fmla="*/ 111245 h 1333436"/>
                <a:gd name="connsiteX30" fmla="*/ 512552 w 752994"/>
                <a:gd name="connsiteY30" fmla="*/ 143854 h 1333436"/>
                <a:gd name="connsiteX31" fmla="*/ 517849 w 752994"/>
                <a:gd name="connsiteY31" fmla="*/ 157740 h 1333436"/>
                <a:gd name="connsiteX32" fmla="*/ 523160 w 752994"/>
                <a:gd name="connsiteY32" fmla="*/ 172009 h 1333436"/>
                <a:gd name="connsiteX33" fmla="*/ 521535 w 752994"/>
                <a:gd name="connsiteY33" fmla="*/ 178928 h 1333436"/>
                <a:gd name="connsiteX34" fmla="*/ 520098 w 752994"/>
                <a:gd name="connsiteY34" fmla="*/ 186279 h 1333436"/>
                <a:gd name="connsiteX35" fmla="*/ 526019 w 752994"/>
                <a:gd name="connsiteY35" fmla="*/ 193629 h 1333436"/>
                <a:gd name="connsiteX36" fmla="*/ 537251 w 752994"/>
                <a:gd name="connsiteY36" fmla="*/ 206270 h 1333436"/>
                <a:gd name="connsiteX37" fmla="*/ 542765 w 752994"/>
                <a:gd name="connsiteY37" fmla="*/ 217475 h 1333436"/>
                <a:gd name="connsiteX38" fmla="*/ 546857 w 752994"/>
                <a:gd name="connsiteY38" fmla="*/ 230930 h 1333436"/>
                <a:gd name="connsiteX39" fmla="*/ 549499 w 752994"/>
                <a:gd name="connsiteY39" fmla="*/ 235622 h 1333436"/>
                <a:gd name="connsiteX40" fmla="*/ 553388 w 752994"/>
                <a:gd name="connsiteY40" fmla="*/ 240722 h 1333436"/>
                <a:gd name="connsiteX41" fmla="*/ 557465 w 752994"/>
                <a:gd name="connsiteY41" fmla="*/ 246037 h 1333436"/>
                <a:gd name="connsiteX42" fmla="*/ 561761 w 752994"/>
                <a:gd name="connsiteY42" fmla="*/ 248671 h 1333436"/>
                <a:gd name="connsiteX43" fmla="*/ 567478 w 752994"/>
                <a:gd name="connsiteY43" fmla="*/ 247665 h 1333436"/>
                <a:gd name="connsiteX44" fmla="*/ 569931 w 752994"/>
                <a:gd name="connsiteY44" fmla="*/ 249293 h 1333436"/>
                <a:gd name="connsiteX45" fmla="*/ 570540 w 752994"/>
                <a:gd name="connsiteY45" fmla="*/ 251951 h 1333436"/>
                <a:gd name="connsiteX46" fmla="*/ 561964 w 752994"/>
                <a:gd name="connsiteY46" fmla="*/ 267656 h 1333436"/>
                <a:gd name="connsiteX47" fmla="*/ 553591 w 752994"/>
                <a:gd name="connsiteY47" fmla="*/ 289659 h 1333436"/>
                <a:gd name="connsiteX48" fmla="*/ 554810 w 752994"/>
                <a:gd name="connsiteY48" fmla="*/ 292939 h 1333436"/>
                <a:gd name="connsiteX49" fmla="*/ 556246 w 752994"/>
                <a:gd name="connsiteY49" fmla="*/ 299260 h 1333436"/>
                <a:gd name="connsiteX50" fmla="*/ 552778 w 752994"/>
                <a:gd name="connsiteY50" fmla="*/ 301917 h 1333436"/>
                <a:gd name="connsiteX51" fmla="*/ 549295 w 752994"/>
                <a:gd name="connsiteY51" fmla="*/ 306993 h 1333436"/>
                <a:gd name="connsiteX52" fmla="*/ 547061 w 752994"/>
                <a:gd name="connsiteY52" fmla="*/ 313122 h 1333436"/>
                <a:gd name="connsiteX53" fmla="*/ 544811 w 752994"/>
                <a:gd name="connsiteY53" fmla="*/ 316593 h 1333436"/>
                <a:gd name="connsiteX54" fmla="*/ 549919 w 752994"/>
                <a:gd name="connsiteY54" fmla="*/ 322698 h 1333436"/>
                <a:gd name="connsiteX55" fmla="*/ 553184 w 752994"/>
                <a:gd name="connsiteY55" fmla="*/ 325955 h 1333436"/>
                <a:gd name="connsiteX56" fmla="*/ 555840 w 752994"/>
                <a:gd name="connsiteY56" fmla="*/ 328205 h 1333436"/>
                <a:gd name="connsiteX57" fmla="*/ 574212 w 752994"/>
                <a:gd name="connsiteY57" fmla="*/ 318820 h 1333436"/>
                <a:gd name="connsiteX58" fmla="*/ 579523 w 752994"/>
                <a:gd name="connsiteY58" fmla="*/ 326577 h 1333436"/>
                <a:gd name="connsiteX59" fmla="*/ 580539 w 752994"/>
                <a:gd name="connsiteY59" fmla="*/ 334933 h 1333436"/>
                <a:gd name="connsiteX60" fmla="*/ 579726 w 752994"/>
                <a:gd name="connsiteY60" fmla="*/ 343097 h 1333436"/>
                <a:gd name="connsiteX61" fmla="*/ 581366 w 752994"/>
                <a:gd name="connsiteY61" fmla="*/ 350231 h 1333436"/>
                <a:gd name="connsiteX62" fmla="*/ 586256 w 752994"/>
                <a:gd name="connsiteY62" fmla="*/ 355930 h 1333436"/>
                <a:gd name="connsiteX63" fmla="*/ 589536 w 752994"/>
                <a:gd name="connsiteY63" fmla="*/ 362059 h 1333436"/>
                <a:gd name="connsiteX64" fmla="*/ 588099 w 752994"/>
                <a:gd name="connsiteY64" fmla="*/ 369600 h 1333436"/>
                <a:gd name="connsiteX65" fmla="*/ 586459 w 752994"/>
                <a:gd name="connsiteY65" fmla="*/ 377357 h 1333436"/>
                <a:gd name="connsiteX66" fmla="*/ 588709 w 752994"/>
                <a:gd name="connsiteY66" fmla="*/ 381835 h 1333436"/>
                <a:gd name="connsiteX67" fmla="*/ 595036 w 752994"/>
                <a:gd name="connsiteY67" fmla="*/ 382457 h 1333436"/>
                <a:gd name="connsiteX68" fmla="*/ 599331 w 752994"/>
                <a:gd name="connsiteY68" fmla="*/ 385306 h 1333436"/>
                <a:gd name="connsiteX69" fmla="*/ 601987 w 752994"/>
                <a:gd name="connsiteY69" fmla="*/ 391004 h 1333436"/>
                <a:gd name="connsiteX70" fmla="*/ 602799 w 752994"/>
                <a:gd name="connsiteY70" fmla="*/ 404076 h 1333436"/>
                <a:gd name="connsiteX71" fmla="*/ 606892 w 752994"/>
                <a:gd name="connsiteY71" fmla="*/ 415688 h 1333436"/>
                <a:gd name="connsiteX72" fmla="*/ 610563 w 752994"/>
                <a:gd name="connsiteY72" fmla="*/ 412217 h 1333436"/>
                <a:gd name="connsiteX73" fmla="*/ 617920 w 752994"/>
                <a:gd name="connsiteY73" fmla="*/ 408769 h 1333436"/>
                <a:gd name="connsiteX74" fmla="*/ 624654 w 752994"/>
                <a:gd name="connsiteY74" fmla="*/ 411211 h 1333436"/>
                <a:gd name="connsiteX75" fmla="*/ 634652 w 752994"/>
                <a:gd name="connsiteY75" fmla="*/ 410182 h 1333436"/>
                <a:gd name="connsiteX76" fmla="*/ 640573 w 752994"/>
                <a:gd name="connsiteY76" fmla="*/ 407739 h 1333436"/>
                <a:gd name="connsiteX77" fmla="*/ 646711 w 752994"/>
                <a:gd name="connsiteY77" fmla="*/ 410589 h 1333436"/>
                <a:gd name="connsiteX78" fmla="*/ 650383 w 752994"/>
                <a:gd name="connsiteY78" fmla="*/ 410589 h 1333436"/>
                <a:gd name="connsiteX79" fmla="*/ 654257 w 752994"/>
                <a:gd name="connsiteY79" fmla="*/ 411618 h 1333436"/>
                <a:gd name="connsiteX80" fmla="*/ 656913 w 752994"/>
                <a:gd name="connsiteY80" fmla="*/ 413653 h 1333436"/>
                <a:gd name="connsiteX81" fmla="*/ 660802 w 752994"/>
                <a:gd name="connsiteY81" fmla="*/ 415090 h 1333436"/>
                <a:gd name="connsiteX82" fmla="*/ 669581 w 752994"/>
                <a:gd name="connsiteY82" fmla="*/ 415904 h 1333436"/>
                <a:gd name="connsiteX83" fmla="*/ 672237 w 752994"/>
                <a:gd name="connsiteY83" fmla="*/ 415688 h 1333436"/>
                <a:gd name="connsiteX84" fmla="*/ 675705 w 752994"/>
                <a:gd name="connsiteY84" fmla="*/ 409367 h 1333436"/>
                <a:gd name="connsiteX85" fmla="*/ 679986 w 752994"/>
                <a:gd name="connsiteY85" fmla="*/ 403238 h 1333436"/>
                <a:gd name="connsiteX86" fmla="*/ 693264 w 752994"/>
                <a:gd name="connsiteY86" fmla="*/ 419567 h 1333436"/>
                <a:gd name="connsiteX87" fmla="*/ 688563 w 752994"/>
                <a:gd name="connsiteY87" fmla="*/ 448321 h 1333436"/>
                <a:gd name="connsiteX88" fmla="*/ 663949 w 752994"/>
                <a:gd name="connsiteY88" fmla="*/ 590165 h 1333436"/>
                <a:gd name="connsiteX89" fmla="*/ 666304 w 752994"/>
                <a:gd name="connsiteY89" fmla="*/ 590504 h 1333436"/>
                <a:gd name="connsiteX90" fmla="*/ 655288 w 752994"/>
                <a:gd name="connsiteY90" fmla="*/ 656178 h 1333436"/>
                <a:gd name="connsiteX91" fmla="*/ 681808 w 752994"/>
                <a:gd name="connsiteY91" fmla="*/ 662301 h 1333436"/>
                <a:gd name="connsiteX92" fmla="*/ 752994 w 752994"/>
                <a:gd name="connsiteY92" fmla="*/ 675560 h 1333436"/>
                <a:gd name="connsiteX93" fmla="*/ 714651 w 752994"/>
                <a:gd name="connsiteY93" fmla="*/ 946985 h 1333436"/>
                <a:gd name="connsiteX94" fmla="*/ 654533 w 752994"/>
                <a:gd name="connsiteY94" fmla="*/ 1333436 h 1333436"/>
                <a:gd name="connsiteX95" fmla="*/ 546831 w 752994"/>
                <a:gd name="connsiteY95" fmla="*/ 1317126 h 1333436"/>
                <a:gd name="connsiteX96" fmla="*/ 351227 w 752994"/>
                <a:gd name="connsiteY96" fmla="*/ 1194172 h 1333436"/>
                <a:gd name="connsiteX97" fmla="*/ 361011 w 752994"/>
                <a:gd name="connsiteY97" fmla="*/ 1182755 h 1333436"/>
                <a:gd name="connsiteX98" fmla="*/ 368981 w 752994"/>
                <a:gd name="connsiteY98" fmla="*/ 1182130 h 1333436"/>
                <a:gd name="connsiteX99" fmla="*/ 369571 w 752994"/>
                <a:gd name="connsiteY99" fmla="*/ 1181558 h 1333436"/>
                <a:gd name="connsiteX100" fmla="*/ 362372 w 752994"/>
                <a:gd name="connsiteY100" fmla="*/ 1182120 h 1333436"/>
                <a:gd name="connsiteX101" fmla="*/ 229464 w 752994"/>
                <a:gd name="connsiteY101" fmla="*/ 1161721 h 1333436"/>
                <a:gd name="connsiteX102" fmla="*/ 227427 w 752994"/>
                <a:gd name="connsiteY102" fmla="*/ 1157269 h 1333436"/>
                <a:gd name="connsiteX103" fmla="*/ 224967 w 752994"/>
                <a:gd name="connsiteY103" fmla="*/ 1152575 h 1333436"/>
                <a:gd name="connsiteX104" fmla="*/ 225582 w 752994"/>
                <a:gd name="connsiteY104" fmla="*/ 1144808 h 1333436"/>
                <a:gd name="connsiteX105" fmla="*/ 227215 w 752994"/>
                <a:gd name="connsiteY105" fmla="*/ 1135834 h 1333436"/>
                <a:gd name="connsiteX106" fmla="*/ 227215 w 752994"/>
                <a:gd name="connsiteY106" fmla="*/ 1134212 h 1333436"/>
                <a:gd name="connsiteX107" fmla="*/ 225179 w 752994"/>
                <a:gd name="connsiteY107" fmla="*/ 1114020 h 1333436"/>
                <a:gd name="connsiteX108" fmla="*/ 217839 w 752994"/>
                <a:gd name="connsiteY108" fmla="*/ 1100352 h 1333436"/>
                <a:gd name="connsiteX109" fmla="*/ 199661 w 752994"/>
                <a:gd name="connsiteY109" fmla="*/ 1076502 h 1333436"/>
                <a:gd name="connsiteX110" fmla="*/ 196395 w 752994"/>
                <a:gd name="connsiteY110" fmla="*/ 1071807 h 1333436"/>
                <a:gd name="connsiteX111" fmla="*/ 190880 w 752994"/>
                <a:gd name="connsiteY111" fmla="*/ 1067527 h 1333436"/>
                <a:gd name="connsiteX112" fmla="*/ 187210 w 752994"/>
                <a:gd name="connsiteY112" fmla="*/ 1068735 h 1333436"/>
                <a:gd name="connsiteX113" fmla="*/ 180062 w 752994"/>
                <a:gd name="connsiteY113" fmla="*/ 1066699 h 1333436"/>
                <a:gd name="connsiteX114" fmla="*/ 180466 w 752994"/>
                <a:gd name="connsiteY114" fmla="*/ 1053031 h 1333436"/>
                <a:gd name="connsiteX115" fmla="*/ 180062 w 752994"/>
                <a:gd name="connsiteY115" fmla="*/ 1045299 h 1333436"/>
                <a:gd name="connsiteX116" fmla="*/ 174144 w 752994"/>
                <a:gd name="connsiteY116" fmla="*/ 1044057 h 1333436"/>
                <a:gd name="connsiteX117" fmla="*/ 158426 w 752994"/>
                <a:gd name="connsiteY117" fmla="*/ 1042641 h 1333436"/>
                <a:gd name="connsiteX118" fmla="*/ 149857 w 752994"/>
                <a:gd name="connsiteY118" fmla="*/ 1035497 h 1333436"/>
                <a:gd name="connsiteX119" fmla="*/ 142497 w 752994"/>
                <a:gd name="connsiteY119" fmla="*/ 1028766 h 1333436"/>
                <a:gd name="connsiteX120" fmla="*/ 140864 w 752994"/>
                <a:gd name="connsiteY120" fmla="*/ 1020620 h 1333436"/>
                <a:gd name="connsiteX121" fmla="*/ 138212 w 752994"/>
                <a:gd name="connsiteY121" fmla="*/ 1013061 h 1333436"/>
                <a:gd name="connsiteX122" fmla="*/ 131064 w 752994"/>
                <a:gd name="connsiteY122" fmla="*/ 1007159 h 1333436"/>
                <a:gd name="connsiteX123" fmla="*/ 121264 w 752994"/>
                <a:gd name="connsiteY123" fmla="*/ 1005330 h 1333436"/>
                <a:gd name="connsiteX124" fmla="*/ 112483 w 752994"/>
                <a:gd name="connsiteY124" fmla="*/ 1001671 h 1333436"/>
                <a:gd name="connsiteX125" fmla="*/ 105950 w 752994"/>
                <a:gd name="connsiteY125" fmla="*/ 995734 h 1333436"/>
                <a:gd name="connsiteX126" fmla="*/ 97380 w 752994"/>
                <a:gd name="connsiteY126" fmla="*/ 994526 h 1333436"/>
                <a:gd name="connsiteX127" fmla="*/ 87984 w 752994"/>
                <a:gd name="connsiteY127" fmla="*/ 991040 h 1333436"/>
                <a:gd name="connsiteX128" fmla="*/ 80029 w 752994"/>
                <a:gd name="connsiteY128" fmla="*/ 985138 h 1333436"/>
                <a:gd name="connsiteX129" fmla="*/ 77166 w 752994"/>
                <a:gd name="connsiteY129" fmla="*/ 976164 h 1333436"/>
                <a:gd name="connsiteX130" fmla="*/ 79203 w 752994"/>
                <a:gd name="connsiteY130" fmla="*/ 970676 h 1333436"/>
                <a:gd name="connsiteX131" fmla="*/ 82470 w 752994"/>
                <a:gd name="connsiteY131" fmla="*/ 963117 h 1333436"/>
                <a:gd name="connsiteX132" fmla="*/ 84314 w 752994"/>
                <a:gd name="connsiteY132" fmla="*/ 954557 h 1333436"/>
                <a:gd name="connsiteX133" fmla="*/ 86351 w 752994"/>
                <a:gd name="connsiteY133" fmla="*/ 948033 h 1333436"/>
                <a:gd name="connsiteX134" fmla="*/ 86159 w 752994"/>
                <a:gd name="connsiteY134" fmla="*/ 942925 h 1333436"/>
                <a:gd name="connsiteX135" fmla="*/ 83085 w 752994"/>
                <a:gd name="connsiteY135" fmla="*/ 939853 h 1333436"/>
                <a:gd name="connsiteX136" fmla="*/ 77570 w 752994"/>
                <a:gd name="connsiteY136" fmla="*/ 937437 h 1333436"/>
                <a:gd name="connsiteX137" fmla="*/ 76763 w 752994"/>
                <a:gd name="connsiteY137" fmla="*/ 931915 h 1333436"/>
                <a:gd name="connsiteX138" fmla="*/ 78800 w 752994"/>
                <a:gd name="connsiteY138" fmla="*/ 927013 h 1333436"/>
                <a:gd name="connsiteX139" fmla="*/ 79626 w 752994"/>
                <a:gd name="connsiteY139" fmla="*/ 922526 h 1333436"/>
                <a:gd name="connsiteX140" fmla="*/ 77781 w 752994"/>
                <a:gd name="connsiteY140" fmla="*/ 919903 h 1333436"/>
                <a:gd name="connsiteX141" fmla="*/ 74303 w 752994"/>
                <a:gd name="connsiteY141" fmla="*/ 917418 h 1333436"/>
                <a:gd name="connsiteX142" fmla="*/ 71863 w 752994"/>
                <a:gd name="connsiteY142" fmla="*/ 915174 h 1333436"/>
                <a:gd name="connsiteX143" fmla="*/ 71652 w 752994"/>
                <a:gd name="connsiteY143" fmla="*/ 910894 h 1333436"/>
                <a:gd name="connsiteX144" fmla="*/ 70633 w 752994"/>
                <a:gd name="connsiteY144" fmla="*/ 906614 h 1333436"/>
                <a:gd name="connsiteX145" fmla="*/ 68385 w 752994"/>
                <a:gd name="connsiteY145" fmla="*/ 902749 h 1333436"/>
                <a:gd name="connsiteX146" fmla="*/ 61045 w 752994"/>
                <a:gd name="connsiteY146" fmla="*/ 889494 h 1333436"/>
                <a:gd name="connsiteX147" fmla="*/ 57971 w 752994"/>
                <a:gd name="connsiteY147" fmla="*/ 875619 h 1333436"/>
                <a:gd name="connsiteX148" fmla="*/ 52264 w 752994"/>
                <a:gd name="connsiteY148" fmla="*/ 862572 h 1333436"/>
                <a:gd name="connsiteX149" fmla="*/ 44309 w 752994"/>
                <a:gd name="connsiteY149" fmla="*/ 850561 h 1333436"/>
                <a:gd name="connsiteX150" fmla="*/ 45520 w 752994"/>
                <a:gd name="connsiteY150" fmla="*/ 827090 h 1333436"/>
                <a:gd name="connsiteX151" fmla="*/ 53071 w 752994"/>
                <a:gd name="connsiteY151" fmla="*/ 822396 h 1333436"/>
                <a:gd name="connsiteX152" fmla="*/ 57375 w 752994"/>
                <a:gd name="connsiteY152" fmla="*/ 816493 h 1333436"/>
                <a:gd name="connsiteX153" fmla="*/ 55319 w 752994"/>
                <a:gd name="connsiteY153" fmla="*/ 801617 h 1333436"/>
                <a:gd name="connsiteX154" fmla="*/ 48383 w 752994"/>
                <a:gd name="connsiteY154" fmla="*/ 802204 h 1333436"/>
                <a:gd name="connsiteX155" fmla="*/ 40428 w 752994"/>
                <a:gd name="connsiteY155" fmla="*/ 797924 h 1333436"/>
                <a:gd name="connsiteX156" fmla="*/ 37565 w 752994"/>
                <a:gd name="connsiteY156" fmla="*/ 790606 h 1333436"/>
                <a:gd name="connsiteX157" fmla="*/ 37565 w 752994"/>
                <a:gd name="connsiteY157" fmla="*/ 790399 h 1333436"/>
                <a:gd name="connsiteX158" fmla="*/ 35931 w 752994"/>
                <a:gd name="connsiteY158" fmla="*/ 785912 h 1333436"/>
                <a:gd name="connsiteX159" fmla="*/ 34510 w 752994"/>
                <a:gd name="connsiteY159" fmla="*/ 780597 h 1333436"/>
                <a:gd name="connsiteX160" fmla="*/ 36335 w 752994"/>
                <a:gd name="connsiteY160" fmla="*/ 774280 h 1333436"/>
                <a:gd name="connsiteX161" fmla="*/ 38180 w 752994"/>
                <a:gd name="connsiteY161" fmla="*/ 766721 h 1333436"/>
                <a:gd name="connsiteX162" fmla="*/ 37161 w 752994"/>
                <a:gd name="connsiteY162" fmla="*/ 760405 h 1333436"/>
                <a:gd name="connsiteX163" fmla="*/ 35720 w 752994"/>
                <a:gd name="connsiteY163" fmla="*/ 754710 h 1333436"/>
                <a:gd name="connsiteX164" fmla="*/ 36546 w 752994"/>
                <a:gd name="connsiteY164" fmla="*/ 748773 h 1333436"/>
                <a:gd name="connsiteX165" fmla="*/ 38372 w 752994"/>
                <a:gd name="connsiteY165" fmla="*/ 744528 h 1333436"/>
                <a:gd name="connsiteX166" fmla="*/ 41638 w 752994"/>
                <a:gd name="connsiteY166" fmla="*/ 744321 h 1333436"/>
                <a:gd name="connsiteX167" fmla="*/ 44713 w 752994"/>
                <a:gd name="connsiteY167" fmla="*/ 746357 h 1333436"/>
                <a:gd name="connsiteX168" fmla="*/ 47364 w 752994"/>
                <a:gd name="connsiteY168" fmla="*/ 753260 h 1333436"/>
                <a:gd name="connsiteX169" fmla="*/ 55742 w 752994"/>
                <a:gd name="connsiteY169" fmla="*/ 764305 h 1333436"/>
                <a:gd name="connsiteX170" fmla="*/ 56338 w 752994"/>
                <a:gd name="connsiteY170" fmla="*/ 761233 h 1333436"/>
                <a:gd name="connsiteX171" fmla="*/ 56145 w 752994"/>
                <a:gd name="connsiteY171" fmla="*/ 757368 h 1333436"/>
                <a:gd name="connsiteX172" fmla="*/ 54916 w 752994"/>
                <a:gd name="connsiteY172" fmla="*/ 748601 h 1333436"/>
                <a:gd name="connsiteX173" fmla="*/ 52879 w 752994"/>
                <a:gd name="connsiteY173" fmla="*/ 747358 h 1333436"/>
                <a:gd name="connsiteX174" fmla="*/ 51649 w 752994"/>
                <a:gd name="connsiteY174" fmla="*/ 745322 h 1333436"/>
                <a:gd name="connsiteX175" fmla="*/ 51649 w 752994"/>
                <a:gd name="connsiteY175" fmla="*/ 739212 h 1333436"/>
                <a:gd name="connsiteX176" fmla="*/ 50227 w 752994"/>
                <a:gd name="connsiteY176" fmla="*/ 734725 h 1333436"/>
                <a:gd name="connsiteX177" fmla="*/ 48786 w 752994"/>
                <a:gd name="connsiteY177" fmla="*/ 731446 h 1333436"/>
                <a:gd name="connsiteX178" fmla="*/ 54512 w 752994"/>
                <a:gd name="connsiteY178" fmla="*/ 726372 h 1333436"/>
                <a:gd name="connsiteX179" fmla="*/ 59815 w 752994"/>
                <a:gd name="connsiteY179" fmla="*/ 725130 h 1333436"/>
                <a:gd name="connsiteX180" fmla="*/ 58182 w 752994"/>
                <a:gd name="connsiteY180" fmla="*/ 722886 h 1333436"/>
                <a:gd name="connsiteX181" fmla="*/ 51861 w 752994"/>
                <a:gd name="connsiteY181" fmla="*/ 717985 h 1333436"/>
                <a:gd name="connsiteX182" fmla="*/ 46749 w 752994"/>
                <a:gd name="connsiteY182" fmla="*/ 729617 h 1333436"/>
                <a:gd name="connsiteX183" fmla="*/ 40831 w 752994"/>
                <a:gd name="connsiteY183" fmla="*/ 739212 h 1333436"/>
                <a:gd name="connsiteX184" fmla="*/ 39601 w 752994"/>
                <a:gd name="connsiteY184" fmla="*/ 738798 h 1333436"/>
                <a:gd name="connsiteX185" fmla="*/ 39409 w 752994"/>
                <a:gd name="connsiteY185" fmla="*/ 738591 h 1333436"/>
                <a:gd name="connsiteX186" fmla="*/ 37161 w 752994"/>
                <a:gd name="connsiteY186" fmla="*/ 734725 h 1333436"/>
                <a:gd name="connsiteX187" fmla="*/ 32665 w 752994"/>
                <a:gd name="connsiteY187" fmla="*/ 727788 h 1333436"/>
                <a:gd name="connsiteX188" fmla="*/ 26747 w 752994"/>
                <a:gd name="connsiteY188" fmla="*/ 719435 h 1333436"/>
                <a:gd name="connsiteX189" fmla="*/ 23884 w 752994"/>
                <a:gd name="connsiteY189" fmla="*/ 717812 h 1333436"/>
                <a:gd name="connsiteX190" fmla="*/ 24710 w 752994"/>
                <a:gd name="connsiteY190" fmla="*/ 709632 h 1333436"/>
                <a:gd name="connsiteX191" fmla="*/ 27554 w 752994"/>
                <a:gd name="connsiteY191" fmla="*/ 701694 h 1333436"/>
                <a:gd name="connsiteX192" fmla="*/ 24902 w 752994"/>
                <a:gd name="connsiteY192" fmla="*/ 696171 h 1333436"/>
                <a:gd name="connsiteX193" fmla="*/ 24095 w 752994"/>
                <a:gd name="connsiteY193" fmla="*/ 687818 h 1333436"/>
                <a:gd name="connsiteX194" fmla="*/ 22462 w 752994"/>
                <a:gd name="connsiteY194" fmla="*/ 682330 h 1333436"/>
                <a:gd name="connsiteX195" fmla="*/ 17159 w 752994"/>
                <a:gd name="connsiteY195" fmla="*/ 677636 h 1333436"/>
                <a:gd name="connsiteX196" fmla="*/ 14296 w 752994"/>
                <a:gd name="connsiteY196" fmla="*/ 671492 h 1333436"/>
                <a:gd name="connsiteX197" fmla="*/ 12451 w 752994"/>
                <a:gd name="connsiteY197" fmla="*/ 665797 h 1333436"/>
                <a:gd name="connsiteX198" fmla="*/ 5111 w 752994"/>
                <a:gd name="connsiteY198" fmla="*/ 654994 h 1333436"/>
                <a:gd name="connsiteX199" fmla="*/ 2248 w 752994"/>
                <a:gd name="connsiteY199" fmla="*/ 645605 h 1333436"/>
                <a:gd name="connsiteX200" fmla="*/ 4496 w 752994"/>
                <a:gd name="connsiteY200" fmla="*/ 640497 h 1333436"/>
                <a:gd name="connsiteX201" fmla="*/ 6744 w 752994"/>
                <a:gd name="connsiteY201" fmla="*/ 632765 h 1333436"/>
                <a:gd name="connsiteX202" fmla="*/ 6744 w 752994"/>
                <a:gd name="connsiteY202" fmla="*/ 628485 h 1333436"/>
                <a:gd name="connsiteX203" fmla="*/ 6533 w 752994"/>
                <a:gd name="connsiteY203" fmla="*/ 620305 h 1333436"/>
                <a:gd name="connsiteX204" fmla="*/ 7359 w 752994"/>
                <a:gd name="connsiteY204" fmla="*/ 611745 h 1333436"/>
                <a:gd name="connsiteX205" fmla="*/ 11836 w 752994"/>
                <a:gd name="connsiteY205" fmla="*/ 602978 h 1333436"/>
                <a:gd name="connsiteX206" fmla="*/ 15103 w 752994"/>
                <a:gd name="connsiteY206" fmla="*/ 591760 h 1333436"/>
                <a:gd name="connsiteX207" fmla="*/ 14488 w 752994"/>
                <a:gd name="connsiteY207" fmla="*/ 584029 h 1333436"/>
                <a:gd name="connsiteX208" fmla="*/ 13873 w 752994"/>
                <a:gd name="connsiteY208" fmla="*/ 578299 h 1333436"/>
                <a:gd name="connsiteX209" fmla="*/ 10626 w 752994"/>
                <a:gd name="connsiteY209" fmla="*/ 568531 h 1333436"/>
                <a:gd name="connsiteX210" fmla="*/ 3670 w 752994"/>
                <a:gd name="connsiteY210" fmla="*/ 558107 h 1333436"/>
                <a:gd name="connsiteX211" fmla="*/ 0 w 752994"/>
                <a:gd name="connsiteY211" fmla="*/ 551377 h 1333436"/>
                <a:gd name="connsiteX212" fmla="*/ 0 w 752994"/>
                <a:gd name="connsiteY212" fmla="*/ 550997 h 1333436"/>
                <a:gd name="connsiteX213" fmla="*/ 4900 w 752994"/>
                <a:gd name="connsiteY213" fmla="*/ 531220 h 1333436"/>
                <a:gd name="connsiteX214" fmla="*/ 13873 w 752994"/>
                <a:gd name="connsiteY214" fmla="*/ 520589 h 1333436"/>
                <a:gd name="connsiteX215" fmla="*/ 18369 w 752994"/>
                <a:gd name="connsiteY215" fmla="*/ 516516 h 1333436"/>
                <a:gd name="connsiteX216" fmla="*/ 18773 w 752994"/>
                <a:gd name="connsiteY216" fmla="*/ 514272 h 1333436"/>
                <a:gd name="connsiteX217" fmla="*/ 23077 w 752994"/>
                <a:gd name="connsiteY217" fmla="*/ 506127 h 1333436"/>
                <a:gd name="connsiteX218" fmla="*/ 23884 w 752994"/>
                <a:gd name="connsiteY218" fmla="*/ 502261 h 1333436"/>
                <a:gd name="connsiteX219" fmla="*/ 23692 w 752994"/>
                <a:gd name="connsiteY219" fmla="*/ 496738 h 1333436"/>
                <a:gd name="connsiteX220" fmla="*/ 30013 w 752994"/>
                <a:gd name="connsiteY220" fmla="*/ 486556 h 1333436"/>
                <a:gd name="connsiteX221" fmla="*/ 36546 w 752994"/>
                <a:gd name="connsiteY221" fmla="*/ 470230 h 1333436"/>
                <a:gd name="connsiteX222" fmla="*/ 36546 w 752994"/>
                <a:gd name="connsiteY222" fmla="*/ 462671 h 1333436"/>
                <a:gd name="connsiteX223" fmla="*/ 36335 w 752994"/>
                <a:gd name="connsiteY223" fmla="*/ 461670 h 1333436"/>
                <a:gd name="connsiteX224" fmla="*/ 35931 w 752994"/>
                <a:gd name="connsiteY224" fmla="*/ 453110 h 1333436"/>
                <a:gd name="connsiteX225" fmla="*/ 38583 w 752994"/>
                <a:gd name="connsiteY225" fmla="*/ 442514 h 1333436"/>
                <a:gd name="connsiteX226" fmla="*/ 41043 w 752994"/>
                <a:gd name="connsiteY226" fmla="*/ 436991 h 1333436"/>
                <a:gd name="connsiteX227" fmla="*/ 41650 w 752994"/>
                <a:gd name="connsiteY227" fmla="*/ 437186 h 1333436"/>
                <a:gd name="connsiteX228" fmla="*/ 41239 w 752994"/>
                <a:gd name="connsiteY228" fmla="*/ 436549 h 1333436"/>
                <a:gd name="connsiteX229" fmla="*/ 37778 w 752994"/>
                <a:gd name="connsiteY229" fmla="*/ 433894 h 1333436"/>
                <a:gd name="connsiteX230" fmla="*/ 37169 w 752994"/>
                <a:gd name="connsiteY230" fmla="*/ 432261 h 1333436"/>
                <a:gd name="connsiteX231" fmla="*/ 37365 w 752994"/>
                <a:gd name="connsiteY231" fmla="*/ 429198 h 1333436"/>
                <a:gd name="connsiteX232" fmla="*/ 36756 w 752994"/>
                <a:gd name="connsiteY232" fmla="*/ 422272 h 1333436"/>
                <a:gd name="connsiteX233" fmla="*/ 36952 w 752994"/>
                <a:gd name="connsiteY233" fmla="*/ 418800 h 1333436"/>
                <a:gd name="connsiteX234" fmla="*/ 36756 w 752994"/>
                <a:gd name="connsiteY234" fmla="*/ 412487 h 1333436"/>
                <a:gd name="connsiteX235" fmla="*/ 40433 w 752994"/>
                <a:gd name="connsiteY235" fmla="*/ 406174 h 1333436"/>
                <a:gd name="connsiteX236" fmla="*/ 44720 w 752994"/>
                <a:gd name="connsiteY236" fmla="*/ 399435 h 1333436"/>
                <a:gd name="connsiteX237" fmla="*/ 44110 w 752994"/>
                <a:gd name="connsiteY237" fmla="*/ 389651 h 1333436"/>
                <a:gd name="connsiteX238" fmla="*/ 43894 w 752994"/>
                <a:gd name="connsiteY238" fmla="*/ 378437 h 1333436"/>
                <a:gd name="connsiteX239" fmla="*/ 47158 w 752994"/>
                <a:gd name="connsiteY239" fmla="*/ 371102 h 1333436"/>
                <a:gd name="connsiteX240" fmla="*/ 55731 w 752994"/>
                <a:gd name="connsiteY240" fmla="*/ 360909 h 1333436"/>
                <a:gd name="connsiteX241" fmla="*/ 57580 w 752994"/>
                <a:gd name="connsiteY241" fmla="*/ 355804 h 1333436"/>
                <a:gd name="connsiteX242" fmla="*/ 62673 w 752994"/>
                <a:gd name="connsiteY242" fmla="*/ 349695 h 1333436"/>
                <a:gd name="connsiteX243" fmla="*/ 65937 w 752994"/>
                <a:gd name="connsiteY243" fmla="*/ 348470 h 1333436"/>
                <a:gd name="connsiteX244" fmla="*/ 68395 w 752994"/>
                <a:gd name="connsiteY244" fmla="*/ 348674 h 1333436"/>
                <a:gd name="connsiteX245" fmla="*/ 70224 w 752994"/>
                <a:gd name="connsiteY245" fmla="*/ 347449 h 1333436"/>
                <a:gd name="connsiteX246" fmla="*/ 67785 w 752994"/>
                <a:gd name="connsiteY246" fmla="*/ 345203 h 1333436"/>
                <a:gd name="connsiteX247" fmla="*/ 65524 w 752994"/>
                <a:gd name="connsiteY247" fmla="*/ 343178 h 1333436"/>
                <a:gd name="connsiteX248" fmla="*/ 73095 w 752994"/>
                <a:gd name="connsiteY248" fmla="*/ 333376 h 1333436"/>
                <a:gd name="connsiteX249" fmla="*/ 73291 w 752994"/>
                <a:gd name="connsiteY249" fmla="*/ 333376 h 1333436"/>
                <a:gd name="connsiteX250" fmla="*/ 77991 w 752994"/>
                <a:gd name="connsiteY250" fmla="*/ 325838 h 1333436"/>
                <a:gd name="connsiteX251" fmla="*/ 82671 w 752994"/>
                <a:gd name="connsiteY251" fmla="*/ 313619 h 1333436"/>
                <a:gd name="connsiteX252" fmla="*/ 87980 w 752994"/>
                <a:gd name="connsiteY252" fmla="*/ 303018 h 1333436"/>
                <a:gd name="connsiteX253" fmla="*/ 92267 w 752994"/>
                <a:gd name="connsiteY253" fmla="*/ 291191 h 1333436"/>
                <a:gd name="connsiteX254" fmla="*/ 96553 w 752994"/>
                <a:gd name="connsiteY254" fmla="*/ 281202 h 1333436"/>
                <a:gd name="connsiteX255" fmla="*/ 99621 w 752994"/>
                <a:gd name="connsiteY255" fmla="*/ 274481 h 1333436"/>
                <a:gd name="connsiteX256" fmla="*/ 103082 w 752994"/>
                <a:gd name="connsiteY256" fmla="*/ 262450 h 1333436"/>
                <a:gd name="connsiteX257" fmla="*/ 107172 w 752994"/>
                <a:gd name="connsiteY257" fmla="*/ 254299 h 1333436"/>
                <a:gd name="connsiteX258" fmla="*/ 112481 w 752994"/>
                <a:gd name="connsiteY258" fmla="*/ 243697 h 1333436"/>
                <a:gd name="connsiteX259" fmla="*/ 117181 w 752994"/>
                <a:gd name="connsiteY259" fmla="*/ 232279 h 1333436"/>
                <a:gd name="connsiteX260" fmla="*/ 125951 w 752994"/>
                <a:gd name="connsiteY260" fmla="*/ 217389 h 1333436"/>
                <a:gd name="connsiteX261" fmla="*/ 136156 w 752994"/>
                <a:gd name="connsiteY261" fmla="*/ 202925 h 1333436"/>
                <a:gd name="connsiteX262" fmla="*/ 138811 w 752994"/>
                <a:gd name="connsiteY262" fmla="*/ 183339 h 1333436"/>
                <a:gd name="connsiteX263" fmla="*/ 148801 w 752994"/>
                <a:gd name="connsiteY263" fmla="*/ 167445 h 1333436"/>
                <a:gd name="connsiteX264" fmla="*/ 159616 w 752994"/>
                <a:gd name="connsiteY264" fmla="*/ 170712 h 1333436"/>
                <a:gd name="connsiteX265" fmla="*/ 173105 w 752994"/>
                <a:gd name="connsiteY265" fmla="*/ 175188 h 1333436"/>
                <a:gd name="connsiteX266" fmla="*/ 175347 w 752994"/>
                <a:gd name="connsiteY266" fmla="*/ 175188 h 1333436"/>
                <a:gd name="connsiteX267" fmla="*/ 175347 w 752994"/>
                <a:gd name="connsiteY267" fmla="*/ 173758 h 1333436"/>
                <a:gd name="connsiteX268" fmla="*/ 184975 w 752994"/>
                <a:gd name="connsiteY268" fmla="*/ 187393 h 1333436"/>
                <a:gd name="connsiteX269" fmla="*/ 184762 w 752994"/>
                <a:gd name="connsiteY269" fmla="*/ 184637 h 1333436"/>
                <a:gd name="connsiteX270" fmla="*/ 174971 w 752994"/>
                <a:gd name="connsiteY270" fmla="*/ 170774 h 1333436"/>
                <a:gd name="connsiteX271" fmla="*/ 174971 w 752994"/>
                <a:gd name="connsiteY271" fmla="*/ 169550 h 1333436"/>
                <a:gd name="connsiteX272" fmla="*/ 158851 w 752994"/>
                <a:gd name="connsiteY272" fmla="*/ 156924 h 1333436"/>
                <a:gd name="connsiteX273" fmla="*/ 147025 w 752994"/>
                <a:gd name="connsiteY273" fmla="*/ 145709 h 1333436"/>
                <a:gd name="connsiteX274" fmla="*/ 154364 w 752994"/>
                <a:gd name="connsiteY274" fmla="*/ 136335 h 1333436"/>
                <a:gd name="connsiteX275" fmla="*/ 161511 w 752994"/>
                <a:gd name="connsiteY275" fmla="*/ 131042 h 1333436"/>
                <a:gd name="connsiteX276" fmla="*/ 160902 w 752994"/>
                <a:gd name="connsiteY276" fmla="*/ 128384 h 1333436"/>
                <a:gd name="connsiteX277" fmla="*/ 160277 w 752994"/>
                <a:gd name="connsiteY277" fmla="*/ 127778 h 1333436"/>
                <a:gd name="connsiteX278" fmla="*/ 154973 w 752994"/>
                <a:gd name="connsiteY278" fmla="*/ 122077 h 1333436"/>
                <a:gd name="connsiteX279" fmla="*/ 160277 w 752994"/>
                <a:gd name="connsiteY279" fmla="*/ 115140 h 1333436"/>
                <a:gd name="connsiteX280" fmla="*/ 165181 w 752994"/>
                <a:gd name="connsiteY280" fmla="*/ 108215 h 1333436"/>
                <a:gd name="connsiteX281" fmla="*/ 161303 w 752994"/>
                <a:gd name="connsiteY281" fmla="*/ 104146 h 1333436"/>
                <a:gd name="connsiteX282" fmla="*/ 157842 w 752994"/>
                <a:gd name="connsiteY282" fmla="*/ 104542 h 1333436"/>
                <a:gd name="connsiteX283" fmla="*/ 157024 w 752994"/>
                <a:gd name="connsiteY283" fmla="*/ 102304 h 1333436"/>
                <a:gd name="connsiteX284" fmla="*/ 160694 w 752994"/>
                <a:gd name="connsiteY284" fmla="*/ 55437 h 1333436"/>
                <a:gd name="connsiteX285" fmla="*/ 160486 w 752994"/>
                <a:gd name="connsiteY285" fmla="*/ 31991 h 1333436"/>
                <a:gd name="connsiteX286" fmla="*/ 164972 w 752994"/>
                <a:gd name="connsiteY286" fmla="*/ 18141 h 1333436"/>
                <a:gd name="connsiteX287" fmla="*/ 171911 w 752994"/>
                <a:gd name="connsiteY287" fmla="*/ 11204 h 1333436"/>
                <a:gd name="connsiteX288" fmla="*/ 187406 w 752994"/>
                <a:gd name="connsiteY288" fmla="*/ 21801 h 1333436"/>
                <a:gd name="connsiteX289" fmla="*/ 210866 w 752994"/>
                <a:gd name="connsiteY289" fmla="*/ 37086 h 1333436"/>
                <a:gd name="connsiteX290" fmla="*/ 219230 w 752994"/>
                <a:gd name="connsiteY290" fmla="*/ 41166 h 1333436"/>
                <a:gd name="connsiteX291" fmla="*/ 226778 w 752994"/>
                <a:gd name="connsiteY291" fmla="*/ 47486 h 1333436"/>
                <a:gd name="connsiteX292" fmla="*/ 236152 w 752994"/>
                <a:gd name="connsiteY292" fmla="*/ 52370 h 1333436"/>
                <a:gd name="connsiteX293" fmla="*/ 239629 w 752994"/>
                <a:gd name="connsiteY293" fmla="*/ 58491 h 1333436"/>
                <a:gd name="connsiteX294" fmla="*/ 239629 w 752994"/>
                <a:gd name="connsiteY294" fmla="*/ 63376 h 1333436"/>
                <a:gd name="connsiteX295" fmla="*/ 236568 w 752994"/>
                <a:gd name="connsiteY295" fmla="*/ 67457 h 1333436"/>
                <a:gd name="connsiteX296" fmla="*/ 231264 w 752994"/>
                <a:gd name="connsiteY296" fmla="*/ 69905 h 1333436"/>
                <a:gd name="connsiteX297" fmla="*/ 216778 w 752994"/>
                <a:gd name="connsiteY297" fmla="*/ 82741 h 1333436"/>
                <a:gd name="connsiteX298" fmla="*/ 214134 w 752994"/>
                <a:gd name="connsiteY298" fmla="*/ 93536 h 1333436"/>
                <a:gd name="connsiteX299" fmla="*/ 214535 w 752994"/>
                <a:gd name="connsiteY299" fmla="*/ 96801 h 1333436"/>
                <a:gd name="connsiteX300" fmla="*/ 216378 w 752994"/>
                <a:gd name="connsiteY300" fmla="*/ 96801 h 1333436"/>
                <a:gd name="connsiteX301" fmla="*/ 230046 w 752994"/>
                <a:gd name="connsiteY301" fmla="*/ 85387 h 1333436"/>
                <a:gd name="connsiteX302" fmla="*/ 243298 w 752994"/>
                <a:gd name="connsiteY302" fmla="*/ 75198 h 1333436"/>
                <a:gd name="connsiteX303" fmla="*/ 246760 w 752994"/>
                <a:gd name="connsiteY303" fmla="*/ 77646 h 1333436"/>
                <a:gd name="connsiteX304" fmla="*/ 255541 w 752994"/>
                <a:gd name="connsiteY304" fmla="*/ 63376 h 1333436"/>
                <a:gd name="connsiteX305" fmla="*/ 259611 w 752994"/>
                <a:gd name="connsiteY305" fmla="*/ 43405 h 1333436"/>
                <a:gd name="connsiteX306" fmla="*/ 256967 w 752994"/>
                <a:gd name="connsiteY306" fmla="*/ 38520 h 1333436"/>
                <a:gd name="connsiteX307" fmla="*/ 253906 w 752994"/>
                <a:gd name="connsiteY307" fmla="*/ 34242 h 1333436"/>
                <a:gd name="connsiteX308" fmla="*/ 256967 w 752994"/>
                <a:gd name="connsiteY308" fmla="*/ 30161 h 1333436"/>
                <a:gd name="connsiteX309" fmla="*/ 262063 w 752994"/>
                <a:gd name="connsiteY309" fmla="*/ 27712 h 1333436"/>
                <a:gd name="connsiteX310" fmla="*/ 264915 w 752994"/>
                <a:gd name="connsiteY310" fmla="*/ 23026 h 1333436"/>
                <a:gd name="connsiteX311" fmla="*/ 267976 w 752994"/>
                <a:gd name="connsiteY311" fmla="*/ 22618 h 1333436"/>
                <a:gd name="connsiteX312" fmla="*/ 270427 w 752994"/>
                <a:gd name="connsiteY312" fmla="*/ 20787 h 1333436"/>
                <a:gd name="connsiteX313" fmla="*/ 263088 w 752994"/>
                <a:gd name="connsiteY313" fmla="*/ 13652 h 1333436"/>
                <a:gd name="connsiteX314" fmla="*/ 255541 w 752994"/>
                <a:gd name="connsiteY314" fmla="*/ 3055 h 1333436"/>
                <a:gd name="connsiteX315" fmla="*/ 256358 w 752994"/>
                <a:gd name="connsiteY315" fmla="*/ 1224 h 1333436"/>
                <a:gd name="connsiteX316" fmla="*/ 257159 w 752994"/>
                <a:gd name="connsiteY316"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348428 w 752994"/>
                <a:gd name="connsiteY19" fmla="*/ 250011 h 1333436"/>
                <a:gd name="connsiteX20" fmla="*/ 195162 w 752994"/>
                <a:gd name="connsiteY20" fmla="*/ 228857 h 1333436"/>
                <a:gd name="connsiteX21" fmla="*/ 188223 w 752994"/>
                <a:gd name="connsiteY21" fmla="*/ 223973 h 1333436"/>
                <a:gd name="connsiteX22" fmla="*/ 185163 w 752994"/>
                <a:gd name="connsiteY22" fmla="*/ 219484 h 1333436"/>
                <a:gd name="connsiteX23" fmla="*/ 184180 w 752994"/>
                <a:gd name="connsiteY23" fmla="*/ 213866 h 1333436"/>
                <a:gd name="connsiteX24" fmla="*/ 257159 w 752994"/>
                <a:gd name="connsiteY24" fmla="*/ 0 h 1333436"/>
                <a:gd name="connsiteX25" fmla="*/ 493147 w 752994"/>
                <a:gd name="connsiteY25" fmla="*/ 73157 h 1333436"/>
                <a:gd name="connsiteX26" fmla="*/ 492970 w 752994"/>
                <a:gd name="connsiteY26" fmla="*/ 73792 h 1333436"/>
                <a:gd name="connsiteX27" fmla="*/ 525816 w 752994"/>
                <a:gd name="connsiteY27" fmla="*/ 82491 h 1333436"/>
                <a:gd name="connsiteX28" fmla="*/ 520098 w 752994"/>
                <a:gd name="connsiteY28" fmla="*/ 111245 h 1333436"/>
                <a:gd name="connsiteX29" fmla="*/ 512552 w 752994"/>
                <a:gd name="connsiteY29" fmla="*/ 143854 h 1333436"/>
                <a:gd name="connsiteX30" fmla="*/ 517849 w 752994"/>
                <a:gd name="connsiteY30" fmla="*/ 157740 h 1333436"/>
                <a:gd name="connsiteX31" fmla="*/ 523160 w 752994"/>
                <a:gd name="connsiteY31" fmla="*/ 172009 h 1333436"/>
                <a:gd name="connsiteX32" fmla="*/ 521535 w 752994"/>
                <a:gd name="connsiteY32" fmla="*/ 178928 h 1333436"/>
                <a:gd name="connsiteX33" fmla="*/ 520098 w 752994"/>
                <a:gd name="connsiteY33" fmla="*/ 186279 h 1333436"/>
                <a:gd name="connsiteX34" fmla="*/ 526019 w 752994"/>
                <a:gd name="connsiteY34" fmla="*/ 193629 h 1333436"/>
                <a:gd name="connsiteX35" fmla="*/ 537251 w 752994"/>
                <a:gd name="connsiteY35" fmla="*/ 206270 h 1333436"/>
                <a:gd name="connsiteX36" fmla="*/ 542765 w 752994"/>
                <a:gd name="connsiteY36" fmla="*/ 217475 h 1333436"/>
                <a:gd name="connsiteX37" fmla="*/ 546857 w 752994"/>
                <a:gd name="connsiteY37" fmla="*/ 230930 h 1333436"/>
                <a:gd name="connsiteX38" fmla="*/ 549499 w 752994"/>
                <a:gd name="connsiteY38" fmla="*/ 235622 h 1333436"/>
                <a:gd name="connsiteX39" fmla="*/ 553388 w 752994"/>
                <a:gd name="connsiteY39" fmla="*/ 240722 h 1333436"/>
                <a:gd name="connsiteX40" fmla="*/ 557465 w 752994"/>
                <a:gd name="connsiteY40" fmla="*/ 246037 h 1333436"/>
                <a:gd name="connsiteX41" fmla="*/ 561761 w 752994"/>
                <a:gd name="connsiteY41" fmla="*/ 248671 h 1333436"/>
                <a:gd name="connsiteX42" fmla="*/ 567478 w 752994"/>
                <a:gd name="connsiteY42" fmla="*/ 247665 h 1333436"/>
                <a:gd name="connsiteX43" fmla="*/ 569931 w 752994"/>
                <a:gd name="connsiteY43" fmla="*/ 249293 h 1333436"/>
                <a:gd name="connsiteX44" fmla="*/ 570540 w 752994"/>
                <a:gd name="connsiteY44" fmla="*/ 251951 h 1333436"/>
                <a:gd name="connsiteX45" fmla="*/ 561964 w 752994"/>
                <a:gd name="connsiteY45" fmla="*/ 267656 h 1333436"/>
                <a:gd name="connsiteX46" fmla="*/ 553591 w 752994"/>
                <a:gd name="connsiteY46" fmla="*/ 289659 h 1333436"/>
                <a:gd name="connsiteX47" fmla="*/ 554810 w 752994"/>
                <a:gd name="connsiteY47" fmla="*/ 292939 h 1333436"/>
                <a:gd name="connsiteX48" fmla="*/ 556246 w 752994"/>
                <a:gd name="connsiteY48" fmla="*/ 299260 h 1333436"/>
                <a:gd name="connsiteX49" fmla="*/ 552778 w 752994"/>
                <a:gd name="connsiteY49" fmla="*/ 301917 h 1333436"/>
                <a:gd name="connsiteX50" fmla="*/ 549295 w 752994"/>
                <a:gd name="connsiteY50" fmla="*/ 306993 h 1333436"/>
                <a:gd name="connsiteX51" fmla="*/ 547061 w 752994"/>
                <a:gd name="connsiteY51" fmla="*/ 313122 h 1333436"/>
                <a:gd name="connsiteX52" fmla="*/ 544811 w 752994"/>
                <a:gd name="connsiteY52" fmla="*/ 316593 h 1333436"/>
                <a:gd name="connsiteX53" fmla="*/ 549919 w 752994"/>
                <a:gd name="connsiteY53" fmla="*/ 322698 h 1333436"/>
                <a:gd name="connsiteX54" fmla="*/ 553184 w 752994"/>
                <a:gd name="connsiteY54" fmla="*/ 325955 h 1333436"/>
                <a:gd name="connsiteX55" fmla="*/ 555840 w 752994"/>
                <a:gd name="connsiteY55" fmla="*/ 328205 h 1333436"/>
                <a:gd name="connsiteX56" fmla="*/ 574212 w 752994"/>
                <a:gd name="connsiteY56" fmla="*/ 318820 h 1333436"/>
                <a:gd name="connsiteX57" fmla="*/ 579523 w 752994"/>
                <a:gd name="connsiteY57" fmla="*/ 326577 h 1333436"/>
                <a:gd name="connsiteX58" fmla="*/ 580539 w 752994"/>
                <a:gd name="connsiteY58" fmla="*/ 334933 h 1333436"/>
                <a:gd name="connsiteX59" fmla="*/ 579726 w 752994"/>
                <a:gd name="connsiteY59" fmla="*/ 343097 h 1333436"/>
                <a:gd name="connsiteX60" fmla="*/ 581366 w 752994"/>
                <a:gd name="connsiteY60" fmla="*/ 350231 h 1333436"/>
                <a:gd name="connsiteX61" fmla="*/ 586256 w 752994"/>
                <a:gd name="connsiteY61" fmla="*/ 355930 h 1333436"/>
                <a:gd name="connsiteX62" fmla="*/ 589536 w 752994"/>
                <a:gd name="connsiteY62" fmla="*/ 362059 h 1333436"/>
                <a:gd name="connsiteX63" fmla="*/ 588099 w 752994"/>
                <a:gd name="connsiteY63" fmla="*/ 369600 h 1333436"/>
                <a:gd name="connsiteX64" fmla="*/ 586459 w 752994"/>
                <a:gd name="connsiteY64" fmla="*/ 377357 h 1333436"/>
                <a:gd name="connsiteX65" fmla="*/ 588709 w 752994"/>
                <a:gd name="connsiteY65" fmla="*/ 381835 h 1333436"/>
                <a:gd name="connsiteX66" fmla="*/ 595036 w 752994"/>
                <a:gd name="connsiteY66" fmla="*/ 382457 h 1333436"/>
                <a:gd name="connsiteX67" fmla="*/ 599331 w 752994"/>
                <a:gd name="connsiteY67" fmla="*/ 385306 h 1333436"/>
                <a:gd name="connsiteX68" fmla="*/ 601987 w 752994"/>
                <a:gd name="connsiteY68" fmla="*/ 391004 h 1333436"/>
                <a:gd name="connsiteX69" fmla="*/ 602799 w 752994"/>
                <a:gd name="connsiteY69" fmla="*/ 404076 h 1333436"/>
                <a:gd name="connsiteX70" fmla="*/ 606892 w 752994"/>
                <a:gd name="connsiteY70" fmla="*/ 415688 h 1333436"/>
                <a:gd name="connsiteX71" fmla="*/ 610563 w 752994"/>
                <a:gd name="connsiteY71" fmla="*/ 412217 h 1333436"/>
                <a:gd name="connsiteX72" fmla="*/ 617920 w 752994"/>
                <a:gd name="connsiteY72" fmla="*/ 408769 h 1333436"/>
                <a:gd name="connsiteX73" fmla="*/ 624654 w 752994"/>
                <a:gd name="connsiteY73" fmla="*/ 411211 h 1333436"/>
                <a:gd name="connsiteX74" fmla="*/ 634652 w 752994"/>
                <a:gd name="connsiteY74" fmla="*/ 410182 h 1333436"/>
                <a:gd name="connsiteX75" fmla="*/ 640573 w 752994"/>
                <a:gd name="connsiteY75" fmla="*/ 407739 h 1333436"/>
                <a:gd name="connsiteX76" fmla="*/ 646711 w 752994"/>
                <a:gd name="connsiteY76" fmla="*/ 410589 h 1333436"/>
                <a:gd name="connsiteX77" fmla="*/ 650383 w 752994"/>
                <a:gd name="connsiteY77" fmla="*/ 410589 h 1333436"/>
                <a:gd name="connsiteX78" fmla="*/ 654257 w 752994"/>
                <a:gd name="connsiteY78" fmla="*/ 411618 h 1333436"/>
                <a:gd name="connsiteX79" fmla="*/ 656913 w 752994"/>
                <a:gd name="connsiteY79" fmla="*/ 413653 h 1333436"/>
                <a:gd name="connsiteX80" fmla="*/ 660802 w 752994"/>
                <a:gd name="connsiteY80" fmla="*/ 415090 h 1333436"/>
                <a:gd name="connsiteX81" fmla="*/ 669581 w 752994"/>
                <a:gd name="connsiteY81" fmla="*/ 415904 h 1333436"/>
                <a:gd name="connsiteX82" fmla="*/ 672237 w 752994"/>
                <a:gd name="connsiteY82" fmla="*/ 415688 h 1333436"/>
                <a:gd name="connsiteX83" fmla="*/ 675705 w 752994"/>
                <a:gd name="connsiteY83" fmla="*/ 409367 h 1333436"/>
                <a:gd name="connsiteX84" fmla="*/ 679986 w 752994"/>
                <a:gd name="connsiteY84" fmla="*/ 403238 h 1333436"/>
                <a:gd name="connsiteX85" fmla="*/ 693264 w 752994"/>
                <a:gd name="connsiteY85" fmla="*/ 419567 h 1333436"/>
                <a:gd name="connsiteX86" fmla="*/ 688563 w 752994"/>
                <a:gd name="connsiteY86" fmla="*/ 448321 h 1333436"/>
                <a:gd name="connsiteX87" fmla="*/ 663949 w 752994"/>
                <a:gd name="connsiteY87" fmla="*/ 590165 h 1333436"/>
                <a:gd name="connsiteX88" fmla="*/ 666304 w 752994"/>
                <a:gd name="connsiteY88" fmla="*/ 590504 h 1333436"/>
                <a:gd name="connsiteX89" fmla="*/ 655288 w 752994"/>
                <a:gd name="connsiteY89" fmla="*/ 656178 h 1333436"/>
                <a:gd name="connsiteX90" fmla="*/ 681808 w 752994"/>
                <a:gd name="connsiteY90" fmla="*/ 662301 h 1333436"/>
                <a:gd name="connsiteX91" fmla="*/ 752994 w 752994"/>
                <a:gd name="connsiteY91" fmla="*/ 675560 h 1333436"/>
                <a:gd name="connsiteX92" fmla="*/ 714651 w 752994"/>
                <a:gd name="connsiteY92" fmla="*/ 946985 h 1333436"/>
                <a:gd name="connsiteX93" fmla="*/ 654533 w 752994"/>
                <a:gd name="connsiteY93" fmla="*/ 1333436 h 1333436"/>
                <a:gd name="connsiteX94" fmla="*/ 546831 w 752994"/>
                <a:gd name="connsiteY94" fmla="*/ 1317126 h 1333436"/>
                <a:gd name="connsiteX95" fmla="*/ 351227 w 752994"/>
                <a:gd name="connsiteY95" fmla="*/ 1194172 h 1333436"/>
                <a:gd name="connsiteX96" fmla="*/ 361011 w 752994"/>
                <a:gd name="connsiteY96" fmla="*/ 1182755 h 1333436"/>
                <a:gd name="connsiteX97" fmla="*/ 368981 w 752994"/>
                <a:gd name="connsiteY97" fmla="*/ 1182130 h 1333436"/>
                <a:gd name="connsiteX98" fmla="*/ 369571 w 752994"/>
                <a:gd name="connsiteY98" fmla="*/ 1181558 h 1333436"/>
                <a:gd name="connsiteX99" fmla="*/ 362372 w 752994"/>
                <a:gd name="connsiteY99" fmla="*/ 1182120 h 1333436"/>
                <a:gd name="connsiteX100" fmla="*/ 229464 w 752994"/>
                <a:gd name="connsiteY100" fmla="*/ 1161721 h 1333436"/>
                <a:gd name="connsiteX101" fmla="*/ 227427 w 752994"/>
                <a:gd name="connsiteY101" fmla="*/ 1157269 h 1333436"/>
                <a:gd name="connsiteX102" fmla="*/ 224967 w 752994"/>
                <a:gd name="connsiteY102" fmla="*/ 1152575 h 1333436"/>
                <a:gd name="connsiteX103" fmla="*/ 225582 w 752994"/>
                <a:gd name="connsiteY103" fmla="*/ 1144808 h 1333436"/>
                <a:gd name="connsiteX104" fmla="*/ 227215 w 752994"/>
                <a:gd name="connsiteY104" fmla="*/ 1135834 h 1333436"/>
                <a:gd name="connsiteX105" fmla="*/ 227215 w 752994"/>
                <a:gd name="connsiteY105" fmla="*/ 1134212 h 1333436"/>
                <a:gd name="connsiteX106" fmla="*/ 225179 w 752994"/>
                <a:gd name="connsiteY106" fmla="*/ 1114020 h 1333436"/>
                <a:gd name="connsiteX107" fmla="*/ 217839 w 752994"/>
                <a:gd name="connsiteY107" fmla="*/ 1100352 h 1333436"/>
                <a:gd name="connsiteX108" fmla="*/ 199661 w 752994"/>
                <a:gd name="connsiteY108" fmla="*/ 1076502 h 1333436"/>
                <a:gd name="connsiteX109" fmla="*/ 196395 w 752994"/>
                <a:gd name="connsiteY109" fmla="*/ 1071807 h 1333436"/>
                <a:gd name="connsiteX110" fmla="*/ 190880 w 752994"/>
                <a:gd name="connsiteY110" fmla="*/ 1067527 h 1333436"/>
                <a:gd name="connsiteX111" fmla="*/ 187210 w 752994"/>
                <a:gd name="connsiteY111" fmla="*/ 1068735 h 1333436"/>
                <a:gd name="connsiteX112" fmla="*/ 180062 w 752994"/>
                <a:gd name="connsiteY112" fmla="*/ 1066699 h 1333436"/>
                <a:gd name="connsiteX113" fmla="*/ 180466 w 752994"/>
                <a:gd name="connsiteY113" fmla="*/ 1053031 h 1333436"/>
                <a:gd name="connsiteX114" fmla="*/ 180062 w 752994"/>
                <a:gd name="connsiteY114" fmla="*/ 1045299 h 1333436"/>
                <a:gd name="connsiteX115" fmla="*/ 174144 w 752994"/>
                <a:gd name="connsiteY115" fmla="*/ 1044057 h 1333436"/>
                <a:gd name="connsiteX116" fmla="*/ 158426 w 752994"/>
                <a:gd name="connsiteY116" fmla="*/ 1042641 h 1333436"/>
                <a:gd name="connsiteX117" fmla="*/ 149857 w 752994"/>
                <a:gd name="connsiteY117" fmla="*/ 1035497 h 1333436"/>
                <a:gd name="connsiteX118" fmla="*/ 142497 w 752994"/>
                <a:gd name="connsiteY118" fmla="*/ 1028766 h 1333436"/>
                <a:gd name="connsiteX119" fmla="*/ 140864 w 752994"/>
                <a:gd name="connsiteY119" fmla="*/ 1020620 h 1333436"/>
                <a:gd name="connsiteX120" fmla="*/ 138212 w 752994"/>
                <a:gd name="connsiteY120" fmla="*/ 1013061 h 1333436"/>
                <a:gd name="connsiteX121" fmla="*/ 131064 w 752994"/>
                <a:gd name="connsiteY121" fmla="*/ 1007159 h 1333436"/>
                <a:gd name="connsiteX122" fmla="*/ 121264 w 752994"/>
                <a:gd name="connsiteY122" fmla="*/ 1005330 h 1333436"/>
                <a:gd name="connsiteX123" fmla="*/ 112483 w 752994"/>
                <a:gd name="connsiteY123" fmla="*/ 1001671 h 1333436"/>
                <a:gd name="connsiteX124" fmla="*/ 105950 w 752994"/>
                <a:gd name="connsiteY124" fmla="*/ 995734 h 1333436"/>
                <a:gd name="connsiteX125" fmla="*/ 97380 w 752994"/>
                <a:gd name="connsiteY125" fmla="*/ 994526 h 1333436"/>
                <a:gd name="connsiteX126" fmla="*/ 87984 w 752994"/>
                <a:gd name="connsiteY126" fmla="*/ 991040 h 1333436"/>
                <a:gd name="connsiteX127" fmla="*/ 80029 w 752994"/>
                <a:gd name="connsiteY127" fmla="*/ 985138 h 1333436"/>
                <a:gd name="connsiteX128" fmla="*/ 77166 w 752994"/>
                <a:gd name="connsiteY128" fmla="*/ 976164 h 1333436"/>
                <a:gd name="connsiteX129" fmla="*/ 79203 w 752994"/>
                <a:gd name="connsiteY129" fmla="*/ 970676 h 1333436"/>
                <a:gd name="connsiteX130" fmla="*/ 82470 w 752994"/>
                <a:gd name="connsiteY130" fmla="*/ 963117 h 1333436"/>
                <a:gd name="connsiteX131" fmla="*/ 84314 w 752994"/>
                <a:gd name="connsiteY131" fmla="*/ 954557 h 1333436"/>
                <a:gd name="connsiteX132" fmla="*/ 86351 w 752994"/>
                <a:gd name="connsiteY132" fmla="*/ 948033 h 1333436"/>
                <a:gd name="connsiteX133" fmla="*/ 86159 w 752994"/>
                <a:gd name="connsiteY133" fmla="*/ 942925 h 1333436"/>
                <a:gd name="connsiteX134" fmla="*/ 83085 w 752994"/>
                <a:gd name="connsiteY134" fmla="*/ 939853 h 1333436"/>
                <a:gd name="connsiteX135" fmla="*/ 77570 w 752994"/>
                <a:gd name="connsiteY135" fmla="*/ 937437 h 1333436"/>
                <a:gd name="connsiteX136" fmla="*/ 76763 w 752994"/>
                <a:gd name="connsiteY136" fmla="*/ 931915 h 1333436"/>
                <a:gd name="connsiteX137" fmla="*/ 78800 w 752994"/>
                <a:gd name="connsiteY137" fmla="*/ 927013 h 1333436"/>
                <a:gd name="connsiteX138" fmla="*/ 79626 w 752994"/>
                <a:gd name="connsiteY138" fmla="*/ 922526 h 1333436"/>
                <a:gd name="connsiteX139" fmla="*/ 77781 w 752994"/>
                <a:gd name="connsiteY139" fmla="*/ 919903 h 1333436"/>
                <a:gd name="connsiteX140" fmla="*/ 74303 w 752994"/>
                <a:gd name="connsiteY140" fmla="*/ 917418 h 1333436"/>
                <a:gd name="connsiteX141" fmla="*/ 71863 w 752994"/>
                <a:gd name="connsiteY141" fmla="*/ 915174 h 1333436"/>
                <a:gd name="connsiteX142" fmla="*/ 71652 w 752994"/>
                <a:gd name="connsiteY142" fmla="*/ 910894 h 1333436"/>
                <a:gd name="connsiteX143" fmla="*/ 70633 w 752994"/>
                <a:gd name="connsiteY143" fmla="*/ 906614 h 1333436"/>
                <a:gd name="connsiteX144" fmla="*/ 68385 w 752994"/>
                <a:gd name="connsiteY144" fmla="*/ 902749 h 1333436"/>
                <a:gd name="connsiteX145" fmla="*/ 61045 w 752994"/>
                <a:gd name="connsiteY145" fmla="*/ 889494 h 1333436"/>
                <a:gd name="connsiteX146" fmla="*/ 57971 w 752994"/>
                <a:gd name="connsiteY146" fmla="*/ 875619 h 1333436"/>
                <a:gd name="connsiteX147" fmla="*/ 52264 w 752994"/>
                <a:gd name="connsiteY147" fmla="*/ 862572 h 1333436"/>
                <a:gd name="connsiteX148" fmla="*/ 44309 w 752994"/>
                <a:gd name="connsiteY148" fmla="*/ 850561 h 1333436"/>
                <a:gd name="connsiteX149" fmla="*/ 45520 w 752994"/>
                <a:gd name="connsiteY149" fmla="*/ 827090 h 1333436"/>
                <a:gd name="connsiteX150" fmla="*/ 53071 w 752994"/>
                <a:gd name="connsiteY150" fmla="*/ 822396 h 1333436"/>
                <a:gd name="connsiteX151" fmla="*/ 57375 w 752994"/>
                <a:gd name="connsiteY151" fmla="*/ 816493 h 1333436"/>
                <a:gd name="connsiteX152" fmla="*/ 55319 w 752994"/>
                <a:gd name="connsiteY152" fmla="*/ 801617 h 1333436"/>
                <a:gd name="connsiteX153" fmla="*/ 48383 w 752994"/>
                <a:gd name="connsiteY153" fmla="*/ 802204 h 1333436"/>
                <a:gd name="connsiteX154" fmla="*/ 40428 w 752994"/>
                <a:gd name="connsiteY154" fmla="*/ 797924 h 1333436"/>
                <a:gd name="connsiteX155" fmla="*/ 37565 w 752994"/>
                <a:gd name="connsiteY155" fmla="*/ 790606 h 1333436"/>
                <a:gd name="connsiteX156" fmla="*/ 37565 w 752994"/>
                <a:gd name="connsiteY156" fmla="*/ 790399 h 1333436"/>
                <a:gd name="connsiteX157" fmla="*/ 35931 w 752994"/>
                <a:gd name="connsiteY157" fmla="*/ 785912 h 1333436"/>
                <a:gd name="connsiteX158" fmla="*/ 34510 w 752994"/>
                <a:gd name="connsiteY158" fmla="*/ 780597 h 1333436"/>
                <a:gd name="connsiteX159" fmla="*/ 36335 w 752994"/>
                <a:gd name="connsiteY159" fmla="*/ 774280 h 1333436"/>
                <a:gd name="connsiteX160" fmla="*/ 38180 w 752994"/>
                <a:gd name="connsiteY160" fmla="*/ 766721 h 1333436"/>
                <a:gd name="connsiteX161" fmla="*/ 37161 w 752994"/>
                <a:gd name="connsiteY161" fmla="*/ 760405 h 1333436"/>
                <a:gd name="connsiteX162" fmla="*/ 35720 w 752994"/>
                <a:gd name="connsiteY162" fmla="*/ 754710 h 1333436"/>
                <a:gd name="connsiteX163" fmla="*/ 36546 w 752994"/>
                <a:gd name="connsiteY163" fmla="*/ 748773 h 1333436"/>
                <a:gd name="connsiteX164" fmla="*/ 38372 w 752994"/>
                <a:gd name="connsiteY164" fmla="*/ 744528 h 1333436"/>
                <a:gd name="connsiteX165" fmla="*/ 41638 w 752994"/>
                <a:gd name="connsiteY165" fmla="*/ 744321 h 1333436"/>
                <a:gd name="connsiteX166" fmla="*/ 44713 w 752994"/>
                <a:gd name="connsiteY166" fmla="*/ 746357 h 1333436"/>
                <a:gd name="connsiteX167" fmla="*/ 47364 w 752994"/>
                <a:gd name="connsiteY167" fmla="*/ 753260 h 1333436"/>
                <a:gd name="connsiteX168" fmla="*/ 55742 w 752994"/>
                <a:gd name="connsiteY168" fmla="*/ 764305 h 1333436"/>
                <a:gd name="connsiteX169" fmla="*/ 56338 w 752994"/>
                <a:gd name="connsiteY169" fmla="*/ 761233 h 1333436"/>
                <a:gd name="connsiteX170" fmla="*/ 56145 w 752994"/>
                <a:gd name="connsiteY170" fmla="*/ 757368 h 1333436"/>
                <a:gd name="connsiteX171" fmla="*/ 54916 w 752994"/>
                <a:gd name="connsiteY171" fmla="*/ 748601 h 1333436"/>
                <a:gd name="connsiteX172" fmla="*/ 52879 w 752994"/>
                <a:gd name="connsiteY172" fmla="*/ 747358 h 1333436"/>
                <a:gd name="connsiteX173" fmla="*/ 51649 w 752994"/>
                <a:gd name="connsiteY173" fmla="*/ 745322 h 1333436"/>
                <a:gd name="connsiteX174" fmla="*/ 51649 w 752994"/>
                <a:gd name="connsiteY174" fmla="*/ 739212 h 1333436"/>
                <a:gd name="connsiteX175" fmla="*/ 50227 w 752994"/>
                <a:gd name="connsiteY175" fmla="*/ 734725 h 1333436"/>
                <a:gd name="connsiteX176" fmla="*/ 48786 w 752994"/>
                <a:gd name="connsiteY176" fmla="*/ 731446 h 1333436"/>
                <a:gd name="connsiteX177" fmla="*/ 54512 w 752994"/>
                <a:gd name="connsiteY177" fmla="*/ 726372 h 1333436"/>
                <a:gd name="connsiteX178" fmla="*/ 59815 w 752994"/>
                <a:gd name="connsiteY178" fmla="*/ 725130 h 1333436"/>
                <a:gd name="connsiteX179" fmla="*/ 58182 w 752994"/>
                <a:gd name="connsiteY179" fmla="*/ 722886 h 1333436"/>
                <a:gd name="connsiteX180" fmla="*/ 51861 w 752994"/>
                <a:gd name="connsiteY180" fmla="*/ 717985 h 1333436"/>
                <a:gd name="connsiteX181" fmla="*/ 46749 w 752994"/>
                <a:gd name="connsiteY181" fmla="*/ 729617 h 1333436"/>
                <a:gd name="connsiteX182" fmla="*/ 40831 w 752994"/>
                <a:gd name="connsiteY182" fmla="*/ 739212 h 1333436"/>
                <a:gd name="connsiteX183" fmla="*/ 39601 w 752994"/>
                <a:gd name="connsiteY183" fmla="*/ 738798 h 1333436"/>
                <a:gd name="connsiteX184" fmla="*/ 39409 w 752994"/>
                <a:gd name="connsiteY184" fmla="*/ 738591 h 1333436"/>
                <a:gd name="connsiteX185" fmla="*/ 37161 w 752994"/>
                <a:gd name="connsiteY185" fmla="*/ 734725 h 1333436"/>
                <a:gd name="connsiteX186" fmla="*/ 32665 w 752994"/>
                <a:gd name="connsiteY186" fmla="*/ 727788 h 1333436"/>
                <a:gd name="connsiteX187" fmla="*/ 26747 w 752994"/>
                <a:gd name="connsiteY187" fmla="*/ 719435 h 1333436"/>
                <a:gd name="connsiteX188" fmla="*/ 23884 w 752994"/>
                <a:gd name="connsiteY188" fmla="*/ 717812 h 1333436"/>
                <a:gd name="connsiteX189" fmla="*/ 24710 w 752994"/>
                <a:gd name="connsiteY189" fmla="*/ 709632 h 1333436"/>
                <a:gd name="connsiteX190" fmla="*/ 27554 w 752994"/>
                <a:gd name="connsiteY190" fmla="*/ 701694 h 1333436"/>
                <a:gd name="connsiteX191" fmla="*/ 24902 w 752994"/>
                <a:gd name="connsiteY191" fmla="*/ 696171 h 1333436"/>
                <a:gd name="connsiteX192" fmla="*/ 24095 w 752994"/>
                <a:gd name="connsiteY192" fmla="*/ 687818 h 1333436"/>
                <a:gd name="connsiteX193" fmla="*/ 22462 w 752994"/>
                <a:gd name="connsiteY193" fmla="*/ 682330 h 1333436"/>
                <a:gd name="connsiteX194" fmla="*/ 17159 w 752994"/>
                <a:gd name="connsiteY194" fmla="*/ 677636 h 1333436"/>
                <a:gd name="connsiteX195" fmla="*/ 14296 w 752994"/>
                <a:gd name="connsiteY195" fmla="*/ 671492 h 1333436"/>
                <a:gd name="connsiteX196" fmla="*/ 12451 w 752994"/>
                <a:gd name="connsiteY196" fmla="*/ 665797 h 1333436"/>
                <a:gd name="connsiteX197" fmla="*/ 5111 w 752994"/>
                <a:gd name="connsiteY197" fmla="*/ 654994 h 1333436"/>
                <a:gd name="connsiteX198" fmla="*/ 2248 w 752994"/>
                <a:gd name="connsiteY198" fmla="*/ 645605 h 1333436"/>
                <a:gd name="connsiteX199" fmla="*/ 4496 w 752994"/>
                <a:gd name="connsiteY199" fmla="*/ 640497 h 1333436"/>
                <a:gd name="connsiteX200" fmla="*/ 6744 w 752994"/>
                <a:gd name="connsiteY200" fmla="*/ 632765 h 1333436"/>
                <a:gd name="connsiteX201" fmla="*/ 6744 w 752994"/>
                <a:gd name="connsiteY201" fmla="*/ 628485 h 1333436"/>
                <a:gd name="connsiteX202" fmla="*/ 6533 w 752994"/>
                <a:gd name="connsiteY202" fmla="*/ 620305 h 1333436"/>
                <a:gd name="connsiteX203" fmla="*/ 7359 w 752994"/>
                <a:gd name="connsiteY203" fmla="*/ 611745 h 1333436"/>
                <a:gd name="connsiteX204" fmla="*/ 11836 w 752994"/>
                <a:gd name="connsiteY204" fmla="*/ 602978 h 1333436"/>
                <a:gd name="connsiteX205" fmla="*/ 15103 w 752994"/>
                <a:gd name="connsiteY205" fmla="*/ 591760 h 1333436"/>
                <a:gd name="connsiteX206" fmla="*/ 14488 w 752994"/>
                <a:gd name="connsiteY206" fmla="*/ 584029 h 1333436"/>
                <a:gd name="connsiteX207" fmla="*/ 13873 w 752994"/>
                <a:gd name="connsiteY207" fmla="*/ 578299 h 1333436"/>
                <a:gd name="connsiteX208" fmla="*/ 10626 w 752994"/>
                <a:gd name="connsiteY208" fmla="*/ 568531 h 1333436"/>
                <a:gd name="connsiteX209" fmla="*/ 3670 w 752994"/>
                <a:gd name="connsiteY209" fmla="*/ 558107 h 1333436"/>
                <a:gd name="connsiteX210" fmla="*/ 0 w 752994"/>
                <a:gd name="connsiteY210" fmla="*/ 551377 h 1333436"/>
                <a:gd name="connsiteX211" fmla="*/ 0 w 752994"/>
                <a:gd name="connsiteY211" fmla="*/ 550997 h 1333436"/>
                <a:gd name="connsiteX212" fmla="*/ 4900 w 752994"/>
                <a:gd name="connsiteY212" fmla="*/ 531220 h 1333436"/>
                <a:gd name="connsiteX213" fmla="*/ 13873 w 752994"/>
                <a:gd name="connsiteY213" fmla="*/ 520589 h 1333436"/>
                <a:gd name="connsiteX214" fmla="*/ 18369 w 752994"/>
                <a:gd name="connsiteY214" fmla="*/ 516516 h 1333436"/>
                <a:gd name="connsiteX215" fmla="*/ 18773 w 752994"/>
                <a:gd name="connsiteY215" fmla="*/ 514272 h 1333436"/>
                <a:gd name="connsiteX216" fmla="*/ 23077 w 752994"/>
                <a:gd name="connsiteY216" fmla="*/ 506127 h 1333436"/>
                <a:gd name="connsiteX217" fmla="*/ 23884 w 752994"/>
                <a:gd name="connsiteY217" fmla="*/ 502261 h 1333436"/>
                <a:gd name="connsiteX218" fmla="*/ 23692 w 752994"/>
                <a:gd name="connsiteY218" fmla="*/ 496738 h 1333436"/>
                <a:gd name="connsiteX219" fmla="*/ 30013 w 752994"/>
                <a:gd name="connsiteY219" fmla="*/ 486556 h 1333436"/>
                <a:gd name="connsiteX220" fmla="*/ 36546 w 752994"/>
                <a:gd name="connsiteY220" fmla="*/ 470230 h 1333436"/>
                <a:gd name="connsiteX221" fmla="*/ 36546 w 752994"/>
                <a:gd name="connsiteY221" fmla="*/ 462671 h 1333436"/>
                <a:gd name="connsiteX222" fmla="*/ 36335 w 752994"/>
                <a:gd name="connsiteY222" fmla="*/ 461670 h 1333436"/>
                <a:gd name="connsiteX223" fmla="*/ 35931 w 752994"/>
                <a:gd name="connsiteY223" fmla="*/ 453110 h 1333436"/>
                <a:gd name="connsiteX224" fmla="*/ 38583 w 752994"/>
                <a:gd name="connsiteY224" fmla="*/ 442514 h 1333436"/>
                <a:gd name="connsiteX225" fmla="*/ 41043 w 752994"/>
                <a:gd name="connsiteY225" fmla="*/ 436991 h 1333436"/>
                <a:gd name="connsiteX226" fmla="*/ 41650 w 752994"/>
                <a:gd name="connsiteY226" fmla="*/ 437186 h 1333436"/>
                <a:gd name="connsiteX227" fmla="*/ 41239 w 752994"/>
                <a:gd name="connsiteY227" fmla="*/ 436549 h 1333436"/>
                <a:gd name="connsiteX228" fmla="*/ 37778 w 752994"/>
                <a:gd name="connsiteY228" fmla="*/ 433894 h 1333436"/>
                <a:gd name="connsiteX229" fmla="*/ 37169 w 752994"/>
                <a:gd name="connsiteY229" fmla="*/ 432261 h 1333436"/>
                <a:gd name="connsiteX230" fmla="*/ 37365 w 752994"/>
                <a:gd name="connsiteY230" fmla="*/ 429198 h 1333436"/>
                <a:gd name="connsiteX231" fmla="*/ 36756 w 752994"/>
                <a:gd name="connsiteY231" fmla="*/ 422272 h 1333436"/>
                <a:gd name="connsiteX232" fmla="*/ 36952 w 752994"/>
                <a:gd name="connsiteY232" fmla="*/ 418800 h 1333436"/>
                <a:gd name="connsiteX233" fmla="*/ 36756 w 752994"/>
                <a:gd name="connsiteY233" fmla="*/ 412487 h 1333436"/>
                <a:gd name="connsiteX234" fmla="*/ 40433 w 752994"/>
                <a:gd name="connsiteY234" fmla="*/ 406174 h 1333436"/>
                <a:gd name="connsiteX235" fmla="*/ 44720 w 752994"/>
                <a:gd name="connsiteY235" fmla="*/ 399435 h 1333436"/>
                <a:gd name="connsiteX236" fmla="*/ 44110 w 752994"/>
                <a:gd name="connsiteY236" fmla="*/ 389651 h 1333436"/>
                <a:gd name="connsiteX237" fmla="*/ 43894 w 752994"/>
                <a:gd name="connsiteY237" fmla="*/ 378437 h 1333436"/>
                <a:gd name="connsiteX238" fmla="*/ 47158 w 752994"/>
                <a:gd name="connsiteY238" fmla="*/ 371102 h 1333436"/>
                <a:gd name="connsiteX239" fmla="*/ 55731 w 752994"/>
                <a:gd name="connsiteY239" fmla="*/ 360909 h 1333436"/>
                <a:gd name="connsiteX240" fmla="*/ 57580 w 752994"/>
                <a:gd name="connsiteY240" fmla="*/ 355804 h 1333436"/>
                <a:gd name="connsiteX241" fmla="*/ 62673 w 752994"/>
                <a:gd name="connsiteY241" fmla="*/ 349695 h 1333436"/>
                <a:gd name="connsiteX242" fmla="*/ 65937 w 752994"/>
                <a:gd name="connsiteY242" fmla="*/ 348470 h 1333436"/>
                <a:gd name="connsiteX243" fmla="*/ 68395 w 752994"/>
                <a:gd name="connsiteY243" fmla="*/ 348674 h 1333436"/>
                <a:gd name="connsiteX244" fmla="*/ 70224 w 752994"/>
                <a:gd name="connsiteY244" fmla="*/ 347449 h 1333436"/>
                <a:gd name="connsiteX245" fmla="*/ 67785 w 752994"/>
                <a:gd name="connsiteY245" fmla="*/ 345203 h 1333436"/>
                <a:gd name="connsiteX246" fmla="*/ 65524 w 752994"/>
                <a:gd name="connsiteY246" fmla="*/ 343178 h 1333436"/>
                <a:gd name="connsiteX247" fmla="*/ 73095 w 752994"/>
                <a:gd name="connsiteY247" fmla="*/ 333376 h 1333436"/>
                <a:gd name="connsiteX248" fmla="*/ 73291 w 752994"/>
                <a:gd name="connsiteY248" fmla="*/ 333376 h 1333436"/>
                <a:gd name="connsiteX249" fmla="*/ 77991 w 752994"/>
                <a:gd name="connsiteY249" fmla="*/ 325838 h 1333436"/>
                <a:gd name="connsiteX250" fmla="*/ 82671 w 752994"/>
                <a:gd name="connsiteY250" fmla="*/ 313619 h 1333436"/>
                <a:gd name="connsiteX251" fmla="*/ 87980 w 752994"/>
                <a:gd name="connsiteY251" fmla="*/ 303018 h 1333436"/>
                <a:gd name="connsiteX252" fmla="*/ 92267 w 752994"/>
                <a:gd name="connsiteY252" fmla="*/ 291191 h 1333436"/>
                <a:gd name="connsiteX253" fmla="*/ 96553 w 752994"/>
                <a:gd name="connsiteY253" fmla="*/ 281202 h 1333436"/>
                <a:gd name="connsiteX254" fmla="*/ 99621 w 752994"/>
                <a:gd name="connsiteY254" fmla="*/ 274481 h 1333436"/>
                <a:gd name="connsiteX255" fmla="*/ 103082 w 752994"/>
                <a:gd name="connsiteY255" fmla="*/ 262450 h 1333436"/>
                <a:gd name="connsiteX256" fmla="*/ 107172 w 752994"/>
                <a:gd name="connsiteY256" fmla="*/ 254299 h 1333436"/>
                <a:gd name="connsiteX257" fmla="*/ 112481 w 752994"/>
                <a:gd name="connsiteY257" fmla="*/ 243697 h 1333436"/>
                <a:gd name="connsiteX258" fmla="*/ 117181 w 752994"/>
                <a:gd name="connsiteY258" fmla="*/ 232279 h 1333436"/>
                <a:gd name="connsiteX259" fmla="*/ 125951 w 752994"/>
                <a:gd name="connsiteY259" fmla="*/ 217389 h 1333436"/>
                <a:gd name="connsiteX260" fmla="*/ 136156 w 752994"/>
                <a:gd name="connsiteY260" fmla="*/ 202925 h 1333436"/>
                <a:gd name="connsiteX261" fmla="*/ 138811 w 752994"/>
                <a:gd name="connsiteY261" fmla="*/ 183339 h 1333436"/>
                <a:gd name="connsiteX262" fmla="*/ 148801 w 752994"/>
                <a:gd name="connsiteY262" fmla="*/ 167445 h 1333436"/>
                <a:gd name="connsiteX263" fmla="*/ 159616 w 752994"/>
                <a:gd name="connsiteY263" fmla="*/ 170712 h 1333436"/>
                <a:gd name="connsiteX264" fmla="*/ 173105 w 752994"/>
                <a:gd name="connsiteY264" fmla="*/ 175188 h 1333436"/>
                <a:gd name="connsiteX265" fmla="*/ 175347 w 752994"/>
                <a:gd name="connsiteY265" fmla="*/ 175188 h 1333436"/>
                <a:gd name="connsiteX266" fmla="*/ 175347 w 752994"/>
                <a:gd name="connsiteY266" fmla="*/ 173758 h 1333436"/>
                <a:gd name="connsiteX267" fmla="*/ 184975 w 752994"/>
                <a:gd name="connsiteY267" fmla="*/ 187393 h 1333436"/>
                <a:gd name="connsiteX268" fmla="*/ 184762 w 752994"/>
                <a:gd name="connsiteY268" fmla="*/ 184637 h 1333436"/>
                <a:gd name="connsiteX269" fmla="*/ 174971 w 752994"/>
                <a:gd name="connsiteY269" fmla="*/ 170774 h 1333436"/>
                <a:gd name="connsiteX270" fmla="*/ 174971 w 752994"/>
                <a:gd name="connsiteY270" fmla="*/ 169550 h 1333436"/>
                <a:gd name="connsiteX271" fmla="*/ 158851 w 752994"/>
                <a:gd name="connsiteY271" fmla="*/ 156924 h 1333436"/>
                <a:gd name="connsiteX272" fmla="*/ 147025 w 752994"/>
                <a:gd name="connsiteY272" fmla="*/ 145709 h 1333436"/>
                <a:gd name="connsiteX273" fmla="*/ 154364 w 752994"/>
                <a:gd name="connsiteY273" fmla="*/ 136335 h 1333436"/>
                <a:gd name="connsiteX274" fmla="*/ 161511 w 752994"/>
                <a:gd name="connsiteY274" fmla="*/ 131042 h 1333436"/>
                <a:gd name="connsiteX275" fmla="*/ 160902 w 752994"/>
                <a:gd name="connsiteY275" fmla="*/ 128384 h 1333436"/>
                <a:gd name="connsiteX276" fmla="*/ 160277 w 752994"/>
                <a:gd name="connsiteY276" fmla="*/ 127778 h 1333436"/>
                <a:gd name="connsiteX277" fmla="*/ 154973 w 752994"/>
                <a:gd name="connsiteY277" fmla="*/ 122077 h 1333436"/>
                <a:gd name="connsiteX278" fmla="*/ 160277 w 752994"/>
                <a:gd name="connsiteY278" fmla="*/ 115140 h 1333436"/>
                <a:gd name="connsiteX279" fmla="*/ 165181 w 752994"/>
                <a:gd name="connsiteY279" fmla="*/ 108215 h 1333436"/>
                <a:gd name="connsiteX280" fmla="*/ 161303 w 752994"/>
                <a:gd name="connsiteY280" fmla="*/ 104146 h 1333436"/>
                <a:gd name="connsiteX281" fmla="*/ 157842 w 752994"/>
                <a:gd name="connsiteY281" fmla="*/ 104542 h 1333436"/>
                <a:gd name="connsiteX282" fmla="*/ 157024 w 752994"/>
                <a:gd name="connsiteY282" fmla="*/ 102304 h 1333436"/>
                <a:gd name="connsiteX283" fmla="*/ 160694 w 752994"/>
                <a:gd name="connsiteY283" fmla="*/ 55437 h 1333436"/>
                <a:gd name="connsiteX284" fmla="*/ 160486 w 752994"/>
                <a:gd name="connsiteY284" fmla="*/ 31991 h 1333436"/>
                <a:gd name="connsiteX285" fmla="*/ 164972 w 752994"/>
                <a:gd name="connsiteY285" fmla="*/ 18141 h 1333436"/>
                <a:gd name="connsiteX286" fmla="*/ 171911 w 752994"/>
                <a:gd name="connsiteY286" fmla="*/ 11204 h 1333436"/>
                <a:gd name="connsiteX287" fmla="*/ 187406 w 752994"/>
                <a:gd name="connsiteY287" fmla="*/ 21801 h 1333436"/>
                <a:gd name="connsiteX288" fmla="*/ 210866 w 752994"/>
                <a:gd name="connsiteY288" fmla="*/ 37086 h 1333436"/>
                <a:gd name="connsiteX289" fmla="*/ 219230 w 752994"/>
                <a:gd name="connsiteY289" fmla="*/ 41166 h 1333436"/>
                <a:gd name="connsiteX290" fmla="*/ 226778 w 752994"/>
                <a:gd name="connsiteY290" fmla="*/ 47486 h 1333436"/>
                <a:gd name="connsiteX291" fmla="*/ 236152 w 752994"/>
                <a:gd name="connsiteY291" fmla="*/ 52370 h 1333436"/>
                <a:gd name="connsiteX292" fmla="*/ 239629 w 752994"/>
                <a:gd name="connsiteY292" fmla="*/ 58491 h 1333436"/>
                <a:gd name="connsiteX293" fmla="*/ 239629 w 752994"/>
                <a:gd name="connsiteY293" fmla="*/ 63376 h 1333436"/>
                <a:gd name="connsiteX294" fmla="*/ 236568 w 752994"/>
                <a:gd name="connsiteY294" fmla="*/ 67457 h 1333436"/>
                <a:gd name="connsiteX295" fmla="*/ 231264 w 752994"/>
                <a:gd name="connsiteY295" fmla="*/ 69905 h 1333436"/>
                <a:gd name="connsiteX296" fmla="*/ 216778 w 752994"/>
                <a:gd name="connsiteY296" fmla="*/ 82741 h 1333436"/>
                <a:gd name="connsiteX297" fmla="*/ 214134 w 752994"/>
                <a:gd name="connsiteY297" fmla="*/ 93536 h 1333436"/>
                <a:gd name="connsiteX298" fmla="*/ 214535 w 752994"/>
                <a:gd name="connsiteY298" fmla="*/ 96801 h 1333436"/>
                <a:gd name="connsiteX299" fmla="*/ 216378 w 752994"/>
                <a:gd name="connsiteY299" fmla="*/ 96801 h 1333436"/>
                <a:gd name="connsiteX300" fmla="*/ 230046 w 752994"/>
                <a:gd name="connsiteY300" fmla="*/ 85387 h 1333436"/>
                <a:gd name="connsiteX301" fmla="*/ 243298 w 752994"/>
                <a:gd name="connsiteY301" fmla="*/ 75198 h 1333436"/>
                <a:gd name="connsiteX302" fmla="*/ 246760 w 752994"/>
                <a:gd name="connsiteY302" fmla="*/ 77646 h 1333436"/>
                <a:gd name="connsiteX303" fmla="*/ 255541 w 752994"/>
                <a:gd name="connsiteY303" fmla="*/ 63376 h 1333436"/>
                <a:gd name="connsiteX304" fmla="*/ 259611 w 752994"/>
                <a:gd name="connsiteY304" fmla="*/ 43405 h 1333436"/>
                <a:gd name="connsiteX305" fmla="*/ 256967 w 752994"/>
                <a:gd name="connsiteY305" fmla="*/ 38520 h 1333436"/>
                <a:gd name="connsiteX306" fmla="*/ 253906 w 752994"/>
                <a:gd name="connsiteY306" fmla="*/ 34242 h 1333436"/>
                <a:gd name="connsiteX307" fmla="*/ 256967 w 752994"/>
                <a:gd name="connsiteY307" fmla="*/ 30161 h 1333436"/>
                <a:gd name="connsiteX308" fmla="*/ 262063 w 752994"/>
                <a:gd name="connsiteY308" fmla="*/ 27712 h 1333436"/>
                <a:gd name="connsiteX309" fmla="*/ 264915 w 752994"/>
                <a:gd name="connsiteY309" fmla="*/ 23026 h 1333436"/>
                <a:gd name="connsiteX310" fmla="*/ 267976 w 752994"/>
                <a:gd name="connsiteY310" fmla="*/ 22618 h 1333436"/>
                <a:gd name="connsiteX311" fmla="*/ 270427 w 752994"/>
                <a:gd name="connsiteY311" fmla="*/ 20787 h 1333436"/>
                <a:gd name="connsiteX312" fmla="*/ 263088 w 752994"/>
                <a:gd name="connsiteY312" fmla="*/ 13652 h 1333436"/>
                <a:gd name="connsiteX313" fmla="*/ 255541 w 752994"/>
                <a:gd name="connsiteY313" fmla="*/ 3055 h 1333436"/>
                <a:gd name="connsiteX314" fmla="*/ 256358 w 752994"/>
                <a:gd name="connsiteY314" fmla="*/ 1224 h 1333436"/>
                <a:gd name="connsiteX315" fmla="*/ 257159 w 752994"/>
                <a:gd name="connsiteY315"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297597 w 752994"/>
                <a:gd name="connsiteY18" fmla="*/ 248581 h 1333436"/>
                <a:gd name="connsiteX19" fmla="*/ 195162 w 752994"/>
                <a:gd name="connsiteY19" fmla="*/ 228857 h 1333436"/>
                <a:gd name="connsiteX20" fmla="*/ 188223 w 752994"/>
                <a:gd name="connsiteY20" fmla="*/ 223973 h 1333436"/>
                <a:gd name="connsiteX21" fmla="*/ 185163 w 752994"/>
                <a:gd name="connsiteY21" fmla="*/ 219484 h 1333436"/>
                <a:gd name="connsiteX22" fmla="*/ 184180 w 752994"/>
                <a:gd name="connsiteY22" fmla="*/ 213866 h 1333436"/>
                <a:gd name="connsiteX23" fmla="*/ 257159 w 752994"/>
                <a:gd name="connsiteY23" fmla="*/ 0 h 1333436"/>
                <a:gd name="connsiteX24" fmla="*/ 493147 w 752994"/>
                <a:gd name="connsiteY24" fmla="*/ 73157 h 1333436"/>
                <a:gd name="connsiteX25" fmla="*/ 492970 w 752994"/>
                <a:gd name="connsiteY25" fmla="*/ 73792 h 1333436"/>
                <a:gd name="connsiteX26" fmla="*/ 525816 w 752994"/>
                <a:gd name="connsiteY26" fmla="*/ 82491 h 1333436"/>
                <a:gd name="connsiteX27" fmla="*/ 520098 w 752994"/>
                <a:gd name="connsiteY27" fmla="*/ 111245 h 1333436"/>
                <a:gd name="connsiteX28" fmla="*/ 512552 w 752994"/>
                <a:gd name="connsiteY28" fmla="*/ 143854 h 1333436"/>
                <a:gd name="connsiteX29" fmla="*/ 517849 w 752994"/>
                <a:gd name="connsiteY29" fmla="*/ 157740 h 1333436"/>
                <a:gd name="connsiteX30" fmla="*/ 523160 w 752994"/>
                <a:gd name="connsiteY30" fmla="*/ 172009 h 1333436"/>
                <a:gd name="connsiteX31" fmla="*/ 521535 w 752994"/>
                <a:gd name="connsiteY31" fmla="*/ 178928 h 1333436"/>
                <a:gd name="connsiteX32" fmla="*/ 520098 w 752994"/>
                <a:gd name="connsiteY32" fmla="*/ 186279 h 1333436"/>
                <a:gd name="connsiteX33" fmla="*/ 526019 w 752994"/>
                <a:gd name="connsiteY33" fmla="*/ 193629 h 1333436"/>
                <a:gd name="connsiteX34" fmla="*/ 537251 w 752994"/>
                <a:gd name="connsiteY34" fmla="*/ 206270 h 1333436"/>
                <a:gd name="connsiteX35" fmla="*/ 542765 w 752994"/>
                <a:gd name="connsiteY35" fmla="*/ 217475 h 1333436"/>
                <a:gd name="connsiteX36" fmla="*/ 546857 w 752994"/>
                <a:gd name="connsiteY36" fmla="*/ 230930 h 1333436"/>
                <a:gd name="connsiteX37" fmla="*/ 549499 w 752994"/>
                <a:gd name="connsiteY37" fmla="*/ 235622 h 1333436"/>
                <a:gd name="connsiteX38" fmla="*/ 553388 w 752994"/>
                <a:gd name="connsiteY38" fmla="*/ 240722 h 1333436"/>
                <a:gd name="connsiteX39" fmla="*/ 557465 w 752994"/>
                <a:gd name="connsiteY39" fmla="*/ 246037 h 1333436"/>
                <a:gd name="connsiteX40" fmla="*/ 561761 w 752994"/>
                <a:gd name="connsiteY40" fmla="*/ 248671 h 1333436"/>
                <a:gd name="connsiteX41" fmla="*/ 567478 w 752994"/>
                <a:gd name="connsiteY41" fmla="*/ 247665 h 1333436"/>
                <a:gd name="connsiteX42" fmla="*/ 569931 w 752994"/>
                <a:gd name="connsiteY42" fmla="*/ 249293 h 1333436"/>
                <a:gd name="connsiteX43" fmla="*/ 570540 w 752994"/>
                <a:gd name="connsiteY43" fmla="*/ 251951 h 1333436"/>
                <a:gd name="connsiteX44" fmla="*/ 561964 w 752994"/>
                <a:gd name="connsiteY44" fmla="*/ 267656 h 1333436"/>
                <a:gd name="connsiteX45" fmla="*/ 553591 w 752994"/>
                <a:gd name="connsiteY45" fmla="*/ 289659 h 1333436"/>
                <a:gd name="connsiteX46" fmla="*/ 554810 w 752994"/>
                <a:gd name="connsiteY46" fmla="*/ 292939 h 1333436"/>
                <a:gd name="connsiteX47" fmla="*/ 556246 w 752994"/>
                <a:gd name="connsiteY47" fmla="*/ 299260 h 1333436"/>
                <a:gd name="connsiteX48" fmla="*/ 552778 w 752994"/>
                <a:gd name="connsiteY48" fmla="*/ 301917 h 1333436"/>
                <a:gd name="connsiteX49" fmla="*/ 549295 w 752994"/>
                <a:gd name="connsiteY49" fmla="*/ 306993 h 1333436"/>
                <a:gd name="connsiteX50" fmla="*/ 547061 w 752994"/>
                <a:gd name="connsiteY50" fmla="*/ 313122 h 1333436"/>
                <a:gd name="connsiteX51" fmla="*/ 544811 w 752994"/>
                <a:gd name="connsiteY51" fmla="*/ 316593 h 1333436"/>
                <a:gd name="connsiteX52" fmla="*/ 549919 w 752994"/>
                <a:gd name="connsiteY52" fmla="*/ 322698 h 1333436"/>
                <a:gd name="connsiteX53" fmla="*/ 553184 w 752994"/>
                <a:gd name="connsiteY53" fmla="*/ 325955 h 1333436"/>
                <a:gd name="connsiteX54" fmla="*/ 555840 w 752994"/>
                <a:gd name="connsiteY54" fmla="*/ 328205 h 1333436"/>
                <a:gd name="connsiteX55" fmla="*/ 574212 w 752994"/>
                <a:gd name="connsiteY55" fmla="*/ 318820 h 1333436"/>
                <a:gd name="connsiteX56" fmla="*/ 579523 w 752994"/>
                <a:gd name="connsiteY56" fmla="*/ 326577 h 1333436"/>
                <a:gd name="connsiteX57" fmla="*/ 580539 w 752994"/>
                <a:gd name="connsiteY57" fmla="*/ 334933 h 1333436"/>
                <a:gd name="connsiteX58" fmla="*/ 579726 w 752994"/>
                <a:gd name="connsiteY58" fmla="*/ 343097 h 1333436"/>
                <a:gd name="connsiteX59" fmla="*/ 581366 w 752994"/>
                <a:gd name="connsiteY59" fmla="*/ 350231 h 1333436"/>
                <a:gd name="connsiteX60" fmla="*/ 586256 w 752994"/>
                <a:gd name="connsiteY60" fmla="*/ 355930 h 1333436"/>
                <a:gd name="connsiteX61" fmla="*/ 589536 w 752994"/>
                <a:gd name="connsiteY61" fmla="*/ 362059 h 1333436"/>
                <a:gd name="connsiteX62" fmla="*/ 588099 w 752994"/>
                <a:gd name="connsiteY62" fmla="*/ 369600 h 1333436"/>
                <a:gd name="connsiteX63" fmla="*/ 586459 w 752994"/>
                <a:gd name="connsiteY63" fmla="*/ 377357 h 1333436"/>
                <a:gd name="connsiteX64" fmla="*/ 588709 w 752994"/>
                <a:gd name="connsiteY64" fmla="*/ 381835 h 1333436"/>
                <a:gd name="connsiteX65" fmla="*/ 595036 w 752994"/>
                <a:gd name="connsiteY65" fmla="*/ 382457 h 1333436"/>
                <a:gd name="connsiteX66" fmla="*/ 599331 w 752994"/>
                <a:gd name="connsiteY66" fmla="*/ 385306 h 1333436"/>
                <a:gd name="connsiteX67" fmla="*/ 601987 w 752994"/>
                <a:gd name="connsiteY67" fmla="*/ 391004 h 1333436"/>
                <a:gd name="connsiteX68" fmla="*/ 602799 w 752994"/>
                <a:gd name="connsiteY68" fmla="*/ 404076 h 1333436"/>
                <a:gd name="connsiteX69" fmla="*/ 606892 w 752994"/>
                <a:gd name="connsiteY69" fmla="*/ 415688 h 1333436"/>
                <a:gd name="connsiteX70" fmla="*/ 610563 w 752994"/>
                <a:gd name="connsiteY70" fmla="*/ 412217 h 1333436"/>
                <a:gd name="connsiteX71" fmla="*/ 617920 w 752994"/>
                <a:gd name="connsiteY71" fmla="*/ 408769 h 1333436"/>
                <a:gd name="connsiteX72" fmla="*/ 624654 w 752994"/>
                <a:gd name="connsiteY72" fmla="*/ 411211 h 1333436"/>
                <a:gd name="connsiteX73" fmla="*/ 634652 w 752994"/>
                <a:gd name="connsiteY73" fmla="*/ 410182 h 1333436"/>
                <a:gd name="connsiteX74" fmla="*/ 640573 w 752994"/>
                <a:gd name="connsiteY74" fmla="*/ 407739 h 1333436"/>
                <a:gd name="connsiteX75" fmla="*/ 646711 w 752994"/>
                <a:gd name="connsiteY75" fmla="*/ 410589 h 1333436"/>
                <a:gd name="connsiteX76" fmla="*/ 650383 w 752994"/>
                <a:gd name="connsiteY76" fmla="*/ 410589 h 1333436"/>
                <a:gd name="connsiteX77" fmla="*/ 654257 w 752994"/>
                <a:gd name="connsiteY77" fmla="*/ 411618 h 1333436"/>
                <a:gd name="connsiteX78" fmla="*/ 656913 w 752994"/>
                <a:gd name="connsiteY78" fmla="*/ 413653 h 1333436"/>
                <a:gd name="connsiteX79" fmla="*/ 660802 w 752994"/>
                <a:gd name="connsiteY79" fmla="*/ 415090 h 1333436"/>
                <a:gd name="connsiteX80" fmla="*/ 669581 w 752994"/>
                <a:gd name="connsiteY80" fmla="*/ 415904 h 1333436"/>
                <a:gd name="connsiteX81" fmla="*/ 672237 w 752994"/>
                <a:gd name="connsiteY81" fmla="*/ 415688 h 1333436"/>
                <a:gd name="connsiteX82" fmla="*/ 675705 w 752994"/>
                <a:gd name="connsiteY82" fmla="*/ 409367 h 1333436"/>
                <a:gd name="connsiteX83" fmla="*/ 679986 w 752994"/>
                <a:gd name="connsiteY83" fmla="*/ 403238 h 1333436"/>
                <a:gd name="connsiteX84" fmla="*/ 693264 w 752994"/>
                <a:gd name="connsiteY84" fmla="*/ 419567 h 1333436"/>
                <a:gd name="connsiteX85" fmla="*/ 688563 w 752994"/>
                <a:gd name="connsiteY85" fmla="*/ 448321 h 1333436"/>
                <a:gd name="connsiteX86" fmla="*/ 663949 w 752994"/>
                <a:gd name="connsiteY86" fmla="*/ 590165 h 1333436"/>
                <a:gd name="connsiteX87" fmla="*/ 666304 w 752994"/>
                <a:gd name="connsiteY87" fmla="*/ 590504 h 1333436"/>
                <a:gd name="connsiteX88" fmla="*/ 655288 w 752994"/>
                <a:gd name="connsiteY88" fmla="*/ 656178 h 1333436"/>
                <a:gd name="connsiteX89" fmla="*/ 681808 w 752994"/>
                <a:gd name="connsiteY89" fmla="*/ 662301 h 1333436"/>
                <a:gd name="connsiteX90" fmla="*/ 752994 w 752994"/>
                <a:gd name="connsiteY90" fmla="*/ 675560 h 1333436"/>
                <a:gd name="connsiteX91" fmla="*/ 714651 w 752994"/>
                <a:gd name="connsiteY91" fmla="*/ 946985 h 1333436"/>
                <a:gd name="connsiteX92" fmla="*/ 654533 w 752994"/>
                <a:gd name="connsiteY92" fmla="*/ 1333436 h 1333436"/>
                <a:gd name="connsiteX93" fmla="*/ 546831 w 752994"/>
                <a:gd name="connsiteY93" fmla="*/ 1317126 h 1333436"/>
                <a:gd name="connsiteX94" fmla="*/ 351227 w 752994"/>
                <a:gd name="connsiteY94" fmla="*/ 1194172 h 1333436"/>
                <a:gd name="connsiteX95" fmla="*/ 361011 w 752994"/>
                <a:gd name="connsiteY95" fmla="*/ 1182755 h 1333436"/>
                <a:gd name="connsiteX96" fmla="*/ 368981 w 752994"/>
                <a:gd name="connsiteY96" fmla="*/ 1182130 h 1333436"/>
                <a:gd name="connsiteX97" fmla="*/ 369571 w 752994"/>
                <a:gd name="connsiteY97" fmla="*/ 1181558 h 1333436"/>
                <a:gd name="connsiteX98" fmla="*/ 362372 w 752994"/>
                <a:gd name="connsiteY98" fmla="*/ 1182120 h 1333436"/>
                <a:gd name="connsiteX99" fmla="*/ 229464 w 752994"/>
                <a:gd name="connsiteY99" fmla="*/ 1161721 h 1333436"/>
                <a:gd name="connsiteX100" fmla="*/ 227427 w 752994"/>
                <a:gd name="connsiteY100" fmla="*/ 1157269 h 1333436"/>
                <a:gd name="connsiteX101" fmla="*/ 224967 w 752994"/>
                <a:gd name="connsiteY101" fmla="*/ 1152575 h 1333436"/>
                <a:gd name="connsiteX102" fmla="*/ 225582 w 752994"/>
                <a:gd name="connsiteY102" fmla="*/ 1144808 h 1333436"/>
                <a:gd name="connsiteX103" fmla="*/ 227215 w 752994"/>
                <a:gd name="connsiteY103" fmla="*/ 1135834 h 1333436"/>
                <a:gd name="connsiteX104" fmla="*/ 227215 w 752994"/>
                <a:gd name="connsiteY104" fmla="*/ 1134212 h 1333436"/>
                <a:gd name="connsiteX105" fmla="*/ 225179 w 752994"/>
                <a:gd name="connsiteY105" fmla="*/ 1114020 h 1333436"/>
                <a:gd name="connsiteX106" fmla="*/ 217839 w 752994"/>
                <a:gd name="connsiteY106" fmla="*/ 1100352 h 1333436"/>
                <a:gd name="connsiteX107" fmla="*/ 199661 w 752994"/>
                <a:gd name="connsiteY107" fmla="*/ 1076502 h 1333436"/>
                <a:gd name="connsiteX108" fmla="*/ 196395 w 752994"/>
                <a:gd name="connsiteY108" fmla="*/ 1071807 h 1333436"/>
                <a:gd name="connsiteX109" fmla="*/ 190880 w 752994"/>
                <a:gd name="connsiteY109" fmla="*/ 1067527 h 1333436"/>
                <a:gd name="connsiteX110" fmla="*/ 187210 w 752994"/>
                <a:gd name="connsiteY110" fmla="*/ 1068735 h 1333436"/>
                <a:gd name="connsiteX111" fmla="*/ 180062 w 752994"/>
                <a:gd name="connsiteY111" fmla="*/ 1066699 h 1333436"/>
                <a:gd name="connsiteX112" fmla="*/ 180466 w 752994"/>
                <a:gd name="connsiteY112" fmla="*/ 1053031 h 1333436"/>
                <a:gd name="connsiteX113" fmla="*/ 180062 w 752994"/>
                <a:gd name="connsiteY113" fmla="*/ 1045299 h 1333436"/>
                <a:gd name="connsiteX114" fmla="*/ 174144 w 752994"/>
                <a:gd name="connsiteY114" fmla="*/ 1044057 h 1333436"/>
                <a:gd name="connsiteX115" fmla="*/ 158426 w 752994"/>
                <a:gd name="connsiteY115" fmla="*/ 1042641 h 1333436"/>
                <a:gd name="connsiteX116" fmla="*/ 149857 w 752994"/>
                <a:gd name="connsiteY116" fmla="*/ 1035497 h 1333436"/>
                <a:gd name="connsiteX117" fmla="*/ 142497 w 752994"/>
                <a:gd name="connsiteY117" fmla="*/ 1028766 h 1333436"/>
                <a:gd name="connsiteX118" fmla="*/ 140864 w 752994"/>
                <a:gd name="connsiteY118" fmla="*/ 1020620 h 1333436"/>
                <a:gd name="connsiteX119" fmla="*/ 138212 w 752994"/>
                <a:gd name="connsiteY119" fmla="*/ 1013061 h 1333436"/>
                <a:gd name="connsiteX120" fmla="*/ 131064 w 752994"/>
                <a:gd name="connsiteY120" fmla="*/ 1007159 h 1333436"/>
                <a:gd name="connsiteX121" fmla="*/ 121264 w 752994"/>
                <a:gd name="connsiteY121" fmla="*/ 1005330 h 1333436"/>
                <a:gd name="connsiteX122" fmla="*/ 112483 w 752994"/>
                <a:gd name="connsiteY122" fmla="*/ 1001671 h 1333436"/>
                <a:gd name="connsiteX123" fmla="*/ 105950 w 752994"/>
                <a:gd name="connsiteY123" fmla="*/ 995734 h 1333436"/>
                <a:gd name="connsiteX124" fmla="*/ 97380 w 752994"/>
                <a:gd name="connsiteY124" fmla="*/ 994526 h 1333436"/>
                <a:gd name="connsiteX125" fmla="*/ 87984 w 752994"/>
                <a:gd name="connsiteY125" fmla="*/ 991040 h 1333436"/>
                <a:gd name="connsiteX126" fmla="*/ 80029 w 752994"/>
                <a:gd name="connsiteY126" fmla="*/ 985138 h 1333436"/>
                <a:gd name="connsiteX127" fmla="*/ 77166 w 752994"/>
                <a:gd name="connsiteY127" fmla="*/ 976164 h 1333436"/>
                <a:gd name="connsiteX128" fmla="*/ 79203 w 752994"/>
                <a:gd name="connsiteY128" fmla="*/ 970676 h 1333436"/>
                <a:gd name="connsiteX129" fmla="*/ 82470 w 752994"/>
                <a:gd name="connsiteY129" fmla="*/ 963117 h 1333436"/>
                <a:gd name="connsiteX130" fmla="*/ 84314 w 752994"/>
                <a:gd name="connsiteY130" fmla="*/ 954557 h 1333436"/>
                <a:gd name="connsiteX131" fmla="*/ 86351 w 752994"/>
                <a:gd name="connsiteY131" fmla="*/ 948033 h 1333436"/>
                <a:gd name="connsiteX132" fmla="*/ 86159 w 752994"/>
                <a:gd name="connsiteY132" fmla="*/ 942925 h 1333436"/>
                <a:gd name="connsiteX133" fmla="*/ 83085 w 752994"/>
                <a:gd name="connsiteY133" fmla="*/ 939853 h 1333436"/>
                <a:gd name="connsiteX134" fmla="*/ 77570 w 752994"/>
                <a:gd name="connsiteY134" fmla="*/ 937437 h 1333436"/>
                <a:gd name="connsiteX135" fmla="*/ 76763 w 752994"/>
                <a:gd name="connsiteY135" fmla="*/ 931915 h 1333436"/>
                <a:gd name="connsiteX136" fmla="*/ 78800 w 752994"/>
                <a:gd name="connsiteY136" fmla="*/ 927013 h 1333436"/>
                <a:gd name="connsiteX137" fmla="*/ 79626 w 752994"/>
                <a:gd name="connsiteY137" fmla="*/ 922526 h 1333436"/>
                <a:gd name="connsiteX138" fmla="*/ 77781 w 752994"/>
                <a:gd name="connsiteY138" fmla="*/ 919903 h 1333436"/>
                <a:gd name="connsiteX139" fmla="*/ 74303 w 752994"/>
                <a:gd name="connsiteY139" fmla="*/ 917418 h 1333436"/>
                <a:gd name="connsiteX140" fmla="*/ 71863 w 752994"/>
                <a:gd name="connsiteY140" fmla="*/ 915174 h 1333436"/>
                <a:gd name="connsiteX141" fmla="*/ 71652 w 752994"/>
                <a:gd name="connsiteY141" fmla="*/ 910894 h 1333436"/>
                <a:gd name="connsiteX142" fmla="*/ 70633 w 752994"/>
                <a:gd name="connsiteY142" fmla="*/ 906614 h 1333436"/>
                <a:gd name="connsiteX143" fmla="*/ 68385 w 752994"/>
                <a:gd name="connsiteY143" fmla="*/ 902749 h 1333436"/>
                <a:gd name="connsiteX144" fmla="*/ 61045 w 752994"/>
                <a:gd name="connsiteY144" fmla="*/ 889494 h 1333436"/>
                <a:gd name="connsiteX145" fmla="*/ 57971 w 752994"/>
                <a:gd name="connsiteY145" fmla="*/ 875619 h 1333436"/>
                <a:gd name="connsiteX146" fmla="*/ 52264 w 752994"/>
                <a:gd name="connsiteY146" fmla="*/ 862572 h 1333436"/>
                <a:gd name="connsiteX147" fmla="*/ 44309 w 752994"/>
                <a:gd name="connsiteY147" fmla="*/ 850561 h 1333436"/>
                <a:gd name="connsiteX148" fmla="*/ 45520 w 752994"/>
                <a:gd name="connsiteY148" fmla="*/ 827090 h 1333436"/>
                <a:gd name="connsiteX149" fmla="*/ 53071 w 752994"/>
                <a:gd name="connsiteY149" fmla="*/ 822396 h 1333436"/>
                <a:gd name="connsiteX150" fmla="*/ 57375 w 752994"/>
                <a:gd name="connsiteY150" fmla="*/ 816493 h 1333436"/>
                <a:gd name="connsiteX151" fmla="*/ 55319 w 752994"/>
                <a:gd name="connsiteY151" fmla="*/ 801617 h 1333436"/>
                <a:gd name="connsiteX152" fmla="*/ 48383 w 752994"/>
                <a:gd name="connsiteY152" fmla="*/ 802204 h 1333436"/>
                <a:gd name="connsiteX153" fmla="*/ 40428 w 752994"/>
                <a:gd name="connsiteY153" fmla="*/ 797924 h 1333436"/>
                <a:gd name="connsiteX154" fmla="*/ 37565 w 752994"/>
                <a:gd name="connsiteY154" fmla="*/ 790606 h 1333436"/>
                <a:gd name="connsiteX155" fmla="*/ 37565 w 752994"/>
                <a:gd name="connsiteY155" fmla="*/ 790399 h 1333436"/>
                <a:gd name="connsiteX156" fmla="*/ 35931 w 752994"/>
                <a:gd name="connsiteY156" fmla="*/ 785912 h 1333436"/>
                <a:gd name="connsiteX157" fmla="*/ 34510 w 752994"/>
                <a:gd name="connsiteY157" fmla="*/ 780597 h 1333436"/>
                <a:gd name="connsiteX158" fmla="*/ 36335 w 752994"/>
                <a:gd name="connsiteY158" fmla="*/ 774280 h 1333436"/>
                <a:gd name="connsiteX159" fmla="*/ 38180 w 752994"/>
                <a:gd name="connsiteY159" fmla="*/ 766721 h 1333436"/>
                <a:gd name="connsiteX160" fmla="*/ 37161 w 752994"/>
                <a:gd name="connsiteY160" fmla="*/ 760405 h 1333436"/>
                <a:gd name="connsiteX161" fmla="*/ 35720 w 752994"/>
                <a:gd name="connsiteY161" fmla="*/ 754710 h 1333436"/>
                <a:gd name="connsiteX162" fmla="*/ 36546 w 752994"/>
                <a:gd name="connsiteY162" fmla="*/ 748773 h 1333436"/>
                <a:gd name="connsiteX163" fmla="*/ 38372 w 752994"/>
                <a:gd name="connsiteY163" fmla="*/ 744528 h 1333436"/>
                <a:gd name="connsiteX164" fmla="*/ 41638 w 752994"/>
                <a:gd name="connsiteY164" fmla="*/ 744321 h 1333436"/>
                <a:gd name="connsiteX165" fmla="*/ 44713 w 752994"/>
                <a:gd name="connsiteY165" fmla="*/ 746357 h 1333436"/>
                <a:gd name="connsiteX166" fmla="*/ 47364 w 752994"/>
                <a:gd name="connsiteY166" fmla="*/ 753260 h 1333436"/>
                <a:gd name="connsiteX167" fmla="*/ 55742 w 752994"/>
                <a:gd name="connsiteY167" fmla="*/ 764305 h 1333436"/>
                <a:gd name="connsiteX168" fmla="*/ 56338 w 752994"/>
                <a:gd name="connsiteY168" fmla="*/ 761233 h 1333436"/>
                <a:gd name="connsiteX169" fmla="*/ 56145 w 752994"/>
                <a:gd name="connsiteY169" fmla="*/ 757368 h 1333436"/>
                <a:gd name="connsiteX170" fmla="*/ 54916 w 752994"/>
                <a:gd name="connsiteY170" fmla="*/ 748601 h 1333436"/>
                <a:gd name="connsiteX171" fmla="*/ 52879 w 752994"/>
                <a:gd name="connsiteY171" fmla="*/ 747358 h 1333436"/>
                <a:gd name="connsiteX172" fmla="*/ 51649 w 752994"/>
                <a:gd name="connsiteY172" fmla="*/ 745322 h 1333436"/>
                <a:gd name="connsiteX173" fmla="*/ 51649 w 752994"/>
                <a:gd name="connsiteY173" fmla="*/ 739212 h 1333436"/>
                <a:gd name="connsiteX174" fmla="*/ 50227 w 752994"/>
                <a:gd name="connsiteY174" fmla="*/ 734725 h 1333436"/>
                <a:gd name="connsiteX175" fmla="*/ 48786 w 752994"/>
                <a:gd name="connsiteY175" fmla="*/ 731446 h 1333436"/>
                <a:gd name="connsiteX176" fmla="*/ 54512 w 752994"/>
                <a:gd name="connsiteY176" fmla="*/ 726372 h 1333436"/>
                <a:gd name="connsiteX177" fmla="*/ 59815 w 752994"/>
                <a:gd name="connsiteY177" fmla="*/ 725130 h 1333436"/>
                <a:gd name="connsiteX178" fmla="*/ 58182 w 752994"/>
                <a:gd name="connsiteY178" fmla="*/ 722886 h 1333436"/>
                <a:gd name="connsiteX179" fmla="*/ 51861 w 752994"/>
                <a:gd name="connsiteY179" fmla="*/ 717985 h 1333436"/>
                <a:gd name="connsiteX180" fmla="*/ 46749 w 752994"/>
                <a:gd name="connsiteY180" fmla="*/ 729617 h 1333436"/>
                <a:gd name="connsiteX181" fmla="*/ 40831 w 752994"/>
                <a:gd name="connsiteY181" fmla="*/ 739212 h 1333436"/>
                <a:gd name="connsiteX182" fmla="*/ 39601 w 752994"/>
                <a:gd name="connsiteY182" fmla="*/ 738798 h 1333436"/>
                <a:gd name="connsiteX183" fmla="*/ 39409 w 752994"/>
                <a:gd name="connsiteY183" fmla="*/ 738591 h 1333436"/>
                <a:gd name="connsiteX184" fmla="*/ 37161 w 752994"/>
                <a:gd name="connsiteY184" fmla="*/ 734725 h 1333436"/>
                <a:gd name="connsiteX185" fmla="*/ 32665 w 752994"/>
                <a:gd name="connsiteY185" fmla="*/ 727788 h 1333436"/>
                <a:gd name="connsiteX186" fmla="*/ 26747 w 752994"/>
                <a:gd name="connsiteY186" fmla="*/ 719435 h 1333436"/>
                <a:gd name="connsiteX187" fmla="*/ 23884 w 752994"/>
                <a:gd name="connsiteY187" fmla="*/ 717812 h 1333436"/>
                <a:gd name="connsiteX188" fmla="*/ 24710 w 752994"/>
                <a:gd name="connsiteY188" fmla="*/ 709632 h 1333436"/>
                <a:gd name="connsiteX189" fmla="*/ 27554 w 752994"/>
                <a:gd name="connsiteY189" fmla="*/ 701694 h 1333436"/>
                <a:gd name="connsiteX190" fmla="*/ 24902 w 752994"/>
                <a:gd name="connsiteY190" fmla="*/ 696171 h 1333436"/>
                <a:gd name="connsiteX191" fmla="*/ 24095 w 752994"/>
                <a:gd name="connsiteY191" fmla="*/ 687818 h 1333436"/>
                <a:gd name="connsiteX192" fmla="*/ 22462 w 752994"/>
                <a:gd name="connsiteY192" fmla="*/ 682330 h 1333436"/>
                <a:gd name="connsiteX193" fmla="*/ 17159 w 752994"/>
                <a:gd name="connsiteY193" fmla="*/ 677636 h 1333436"/>
                <a:gd name="connsiteX194" fmla="*/ 14296 w 752994"/>
                <a:gd name="connsiteY194" fmla="*/ 671492 h 1333436"/>
                <a:gd name="connsiteX195" fmla="*/ 12451 w 752994"/>
                <a:gd name="connsiteY195" fmla="*/ 665797 h 1333436"/>
                <a:gd name="connsiteX196" fmla="*/ 5111 w 752994"/>
                <a:gd name="connsiteY196" fmla="*/ 654994 h 1333436"/>
                <a:gd name="connsiteX197" fmla="*/ 2248 w 752994"/>
                <a:gd name="connsiteY197" fmla="*/ 645605 h 1333436"/>
                <a:gd name="connsiteX198" fmla="*/ 4496 w 752994"/>
                <a:gd name="connsiteY198" fmla="*/ 640497 h 1333436"/>
                <a:gd name="connsiteX199" fmla="*/ 6744 w 752994"/>
                <a:gd name="connsiteY199" fmla="*/ 632765 h 1333436"/>
                <a:gd name="connsiteX200" fmla="*/ 6744 w 752994"/>
                <a:gd name="connsiteY200" fmla="*/ 628485 h 1333436"/>
                <a:gd name="connsiteX201" fmla="*/ 6533 w 752994"/>
                <a:gd name="connsiteY201" fmla="*/ 620305 h 1333436"/>
                <a:gd name="connsiteX202" fmla="*/ 7359 w 752994"/>
                <a:gd name="connsiteY202" fmla="*/ 611745 h 1333436"/>
                <a:gd name="connsiteX203" fmla="*/ 11836 w 752994"/>
                <a:gd name="connsiteY203" fmla="*/ 602978 h 1333436"/>
                <a:gd name="connsiteX204" fmla="*/ 15103 w 752994"/>
                <a:gd name="connsiteY204" fmla="*/ 591760 h 1333436"/>
                <a:gd name="connsiteX205" fmla="*/ 14488 w 752994"/>
                <a:gd name="connsiteY205" fmla="*/ 584029 h 1333436"/>
                <a:gd name="connsiteX206" fmla="*/ 13873 w 752994"/>
                <a:gd name="connsiteY206" fmla="*/ 578299 h 1333436"/>
                <a:gd name="connsiteX207" fmla="*/ 10626 w 752994"/>
                <a:gd name="connsiteY207" fmla="*/ 568531 h 1333436"/>
                <a:gd name="connsiteX208" fmla="*/ 3670 w 752994"/>
                <a:gd name="connsiteY208" fmla="*/ 558107 h 1333436"/>
                <a:gd name="connsiteX209" fmla="*/ 0 w 752994"/>
                <a:gd name="connsiteY209" fmla="*/ 551377 h 1333436"/>
                <a:gd name="connsiteX210" fmla="*/ 0 w 752994"/>
                <a:gd name="connsiteY210" fmla="*/ 550997 h 1333436"/>
                <a:gd name="connsiteX211" fmla="*/ 4900 w 752994"/>
                <a:gd name="connsiteY211" fmla="*/ 531220 h 1333436"/>
                <a:gd name="connsiteX212" fmla="*/ 13873 w 752994"/>
                <a:gd name="connsiteY212" fmla="*/ 520589 h 1333436"/>
                <a:gd name="connsiteX213" fmla="*/ 18369 w 752994"/>
                <a:gd name="connsiteY213" fmla="*/ 516516 h 1333436"/>
                <a:gd name="connsiteX214" fmla="*/ 18773 w 752994"/>
                <a:gd name="connsiteY214" fmla="*/ 514272 h 1333436"/>
                <a:gd name="connsiteX215" fmla="*/ 23077 w 752994"/>
                <a:gd name="connsiteY215" fmla="*/ 506127 h 1333436"/>
                <a:gd name="connsiteX216" fmla="*/ 23884 w 752994"/>
                <a:gd name="connsiteY216" fmla="*/ 502261 h 1333436"/>
                <a:gd name="connsiteX217" fmla="*/ 23692 w 752994"/>
                <a:gd name="connsiteY217" fmla="*/ 496738 h 1333436"/>
                <a:gd name="connsiteX218" fmla="*/ 30013 w 752994"/>
                <a:gd name="connsiteY218" fmla="*/ 486556 h 1333436"/>
                <a:gd name="connsiteX219" fmla="*/ 36546 w 752994"/>
                <a:gd name="connsiteY219" fmla="*/ 470230 h 1333436"/>
                <a:gd name="connsiteX220" fmla="*/ 36546 w 752994"/>
                <a:gd name="connsiteY220" fmla="*/ 462671 h 1333436"/>
                <a:gd name="connsiteX221" fmla="*/ 36335 w 752994"/>
                <a:gd name="connsiteY221" fmla="*/ 461670 h 1333436"/>
                <a:gd name="connsiteX222" fmla="*/ 35931 w 752994"/>
                <a:gd name="connsiteY222" fmla="*/ 453110 h 1333436"/>
                <a:gd name="connsiteX223" fmla="*/ 38583 w 752994"/>
                <a:gd name="connsiteY223" fmla="*/ 442514 h 1333436"/>
                <a:gd name="connsiteX224" fmla="*/ 41043 w 752994"/>
                <a:gd name="connsiteY224" fmla="*/ 436991 h 1333436"/>
                <a:gd name="connsiteX225" fmla="*/ 41650 w 752994"/>
                <a:gd name="connsiteY225" fmla="*/ 437186 h 1333436"/>
                <a:gd name="connsiteX226" fmla="*/ 41239 w 752994"/>
                <a:gd name="connsiteY226" fmla="*/ 436549 h 1333436"/>
                <a:gd name="connsiteX227" fmla="*/ 37778 w 752994"/>
                <a:gd name="connsiteY227" fmla="*/ 433894 h 1333436"/>
                <a:gd name="connsiteX228" fmla="*/ 37169 w 752994"/>
                <a:gd name="connsiteY228" fmla="*/ 432261 h 1333436"/>
                <a:gd name="connsiteX229" fmla="*/ 37365 w 752994"/>
                <a:gd name="connsiteY229" fmla="*/ 429198 h 1333436"/>
                <a:gd name="connsiteX230" fmla="*/ 36756 w 752994"/>
                <a:gd name="connsiteY230" fmla="*/ 422272 h 1333436"/>
                <a:gd name="connsiteX231" fmla="*/ 36952 w 752994"/>
                <a:gd name="connsiteY231" fmla="*/ 418800 h 1333436"/>
                <a:gd name="connsiteX232" fmla="*/ 36756 w 752994"/>
                <a:gd name="connsiteY232" fmla="*/ 412487 h 1333436"/>
                <a:gd name="connsiteX233" fmla="*/ 40433 w 752994"/>
                <a:gd name="connsiteY233" fmla="*/ 406174 h 1333436"/>
                <a:gd name="connsiteX234" fmla="*/ 44720 w 752994"/>
                <a:gd name="connsiteY234" fmla="*/ 399435 h 1333436"/>
                <a:gd name="connsiteX235" fmla="*/ 44110 w 752994"/>
                <a:gd name="connsiteY235" fmla="*/ 389651 h 1333436"/>
                <a:gd name="connsiteX236" fmla="*/ 43894 w 752994"/>
                <a:gd name="connsiteY236" fmla="*/ 378437 h 1333436"/>
                <a:gd name="connsiteX237" fmla="*/ 47158 w 752994"/>
                <a:gd name="connsiteY237" fmla="*/ 371102 h 1333436"/>
                <a:gd name="connsiteX238" fmla="*/ 55731 w 752994"/>
                <a:gd name="connsiteY238" fmla="*/ 360909 h 1333436"/>
                <a:gd name="connsiteX239" fmla="*/ 57580 w 752994"/>
                <a:gd name="connsiteY239" fmla="*/ 355804 h 1333436"/>
                <a:gd name="connsiteX240" fmla="*/ 62673 w 752994"/>
                <a:gd name="connsiteY240" fmla="*/ 349695 h 1333436"/>
                <a:gd name="connsiteX241" fmla="*/ 65937 w 752994"/>
                <a:gd name="connsiteY241" fmla="*/ 348470 h 1333436"/>
                <a:gd name="connsiteX242" fmla="*/ 68395 w 752994"/>
                <a:gd name="connsiteY242" fmla="*/ 348674 h 1333436"/>
                <a:gd name="connsiteX243" fmla="*/ 70224 w 752994"/>
                <a:gd name="connsiteY243" fmla="*/ 347449 h 1333436"/>
                <a:gd name="connsiteX244" fmla="*/ 67785 w 752994"/>
                <a:gd name="connsiteY244" fmla="*/ 345203 h 1333436"/>
                <a:gd name="connsiteX245" fmla="*/ 65524 w 752994"/>
                <a:gd name="connsiteY245" fmla="*/ 343178 h 1333436"/>
                <a:gd name="connsiteX246" fmla="*/ 73095 w 752994"/>
                <a:gd name="connsiteY246" fmla="*/ 333376 h 1333436"/>
                <a:gd name="connsiteX247" fmla="*/ 73291 w 752994"/>
                <a:gd name="connsiteY247" fmla="*/ 333376 h 1333436"/>
                <a:gd name="connsiteX248" fmla="*/ 77991 w 752994"/>
                <a:gd name="connsiteY248" fmla="*/ 325838 h 1333436"/>
                <a:gd name="connsiteX249" fmla="*/ 82671 w 752994"/>
                <a:gd name="connsiteY249" fmla="*/ 313619 h 1333436"/>
                <a:gd name="connsiteX250" fmla="*/ 87980 w 752994"/>
                <a:gd name="connsiteY250" fmla="*/ 303018 h 1333436"/>
                <a:gd name="connsiteX251" fmla="*/ 92267 w 752994"/>
                <a:gd name="connsiteY251" fmla="*/ 291191 h 1333436"/>
                <a:gd name="connsiteX252" fmla="*/ 96553 w 752994"/>
                <a:gd name="connsiteY252" fmla="*/ 281202 h 1333436"/>
                <a:gd name="connsiteX253" fmla="*/ 99621 w 752994"/>
                <a:gd name="connsiteY253" fmla="*/ 274481 h 1333436"/>
                <a:gd name="connsiteX254" fmla="*/ 103082 w 752994"/>
                <a:gd name="connsiteY254" fmla="*/ 262450 h 1333436"/>
                <a:gd name="connsiteX255" fmla="*/ 107172 w 752994"/>
                <a:gd name="connsiteY255" fmla="*/ 254299 h 1333436"/>
                <a:gd name="connsiteX256" fmla="*/ 112481 w 752994"/>
                <a:gd name="connsiteY256" fmla="*/ 243697 h 1333436"/>
                <a:gd name="connsiteX257" fmla="*/ 117181 w 752994"/>
                <a:gd name="connsiteY257" fmla="*/ 232279 h 1333436"/>
                <a:gd name="connsiteX258" fmla="*/ 125951 w 752994"/>
                <a:gd name="connsiteY258" fmla="*/ 217389 h 1333436"/>
                <a:gd name="connsiteX259" fmla="*/ 136156 w 752994"/>
                <a:gd name="connsiteY259" fmla="*/ 202925 h 1333436"/>
                <a:gd name="connsiteX260" fmla="*/ 138811 w 752994"/>
                <a:gd name="connsiteY260" fmla="*/ 183339 h 1333436"/>
                <a:gd name="connsiteX261" fmla="*/ 148801 w 752994"/>
                <a:gd name="connsiteY261" fmla="*/ 167445 h 1333436"/>
                <a:gd name="connsiteX262" fmla="*/ 159616 w 752994"/>
                <a:gd name="connsiteY262" fmla="*/ 170712 h 1333436"/>
                <a:gd name="connsiteX263" fmla="*/ 173105 w 752994"/>
                <a:gd name="connsiteY263" fmla="*/ 175188 h 1333436"/>
                <a:gd name="connsiteX264" fmla="*/ 175347 w 752994"/>
                <a:gd name="connsiteY264" fmla="*/ 175188 h 1333436"/>
                <a:gd name="connsiteX265" fmla="*/ 175347 w 752994"/>
                <a:gd name="connsiteY265" fmla="*/ 173758 h 1333436"/>
                <a:gd name="connsiteX266" fmla="*/ 184975 w 752994"/>
                <a:gd name="connsiteY266" fmla="*/ 187393 h 1333436"/>
                <a:gd name="connsiteX267" fmla="*/ 184762 w 752994"/>
                <a:gd name="connsiteY267" fmla="*/ 184637 h 1333436"/>
                <a:gd name="connsiteX268" fmla="*/ 174971 w 752994"/>
                <a:gd name="connsiteY268" fmla="*/ 170774 h 1333436"/>
                <a:gd name="connsiteX269" fmla="*/ 174971 w 752994"/>
                <a:gd name="connsiteY269" fmla="*/ 169550 h 1333436"/>
                <a:gd name="connsiteX270" fmla="*/ 158851 w 752994"/>
                <a:gd name="connsiteY270" fmla="*/ 156924 h 1333436"/>
                <a:gd name="connsiteX271" fmla="*/ 147025 w 752994"/>
                <a:gd name="connsiteY271" fmla="*/ 145709 h 1333436"/>
                <a:gd name="connsiteX272" fmla="*/ 154364 w 752994"/>
                <a:gd name="connsiteY272" fmla="*/ 136335 h 1333436"/>
                <a:gd name="connsiteX273" fmla="*/ 161511 w 752994"/>
                <a:gd name="connsiteY273" fmla="*/ 131042 h 1333436"/>
                <a:gd name="connsiteX274" fmla="*/ 160902 w 752994"/>
                <a:gd name="connsiteY274" fmla="*/ 128384 h 1333436"/>
                <a:gd name="connsiteX275" fmla="*/ 160277 w 752994"/>
                <a:gd name="connsiteY275" fmla="*/ 127778 h 1333436"/>
                <a:gd name="connsiteX276" fmla="*/ 154973 w 752994"/>
                <a:gd name="connsiteY276" fmla="*/ 122077 h 1333436"/>
                <a:gd name="connsiteX277" fmla="*/ 160277 w 752994"/>
                <a:gd name="connsiteY277" fmla="*/ 115140 h 1333436"/>
                <a:gd name="connsiteX278" fmla="*/ 165181 w 752994"/>
                <a:gd name="connsiteY278" fmla="*/ 108215 h 1333436"/>
                <a:gd name="connsiteX279" fmla="*/ 161303 w 752994"/>
                <a:gd name="connsiteY279" fmla="*/ 104146 h 1333436"/>
                <a:gd name="connsiteX280" fmla="*/ 157842 w 752994"/>
                <a:gd name="connsiteY280" fmla="*/ 104542 h 1333436"/>
                <a:gd name="connsiteX281" fmla="*/ 157024 w 752994"/>
                <a:gd name="connsiteY281" fmla="*/ 102304 h 1333436"/>
                <a:gd name="connsiteX282" fmla="*/ 160694 w 752994"/>
                <a:gd name="connsiteY282" fmla="*/ 55437 h 1333436"/>
                <a:gd name="connsiteX283" fmla="*/ 160486 w 752994"/>
                <a:gd name="connsiteY283" fmla="*/ 31991 h 1333436"/>
                <a:gd name="connsiteX284" fmla="*/ 164972 w 752994"/>
                <a:gd name="connsiteY284" fmla="*/ 18141 h 1333436"/>
                <a:gd name="connsiteX285" fmla="*/ 171911 w 752994"/>
                <a:gd name="connsiteY285" fmla="*/ 11204 h 1333436"/>
                <a:gd name="connsiteX286" fmla="*/ 187406 w 752994"/>
                <a:gd name="connsiteY286" fmla="*/ 21801 h 1333436"/>
                <a:gd name="connsiteX287" fmla="*/ 210866 w 752994"/>
                <a:gd name="connsiteY287" fmla="*/ 37086 h 1333436"/>
                <a:gd name="connsiteX288" fmla="*/ 219230 w 752994"/>
                <a:gd name="connsiteY288" fmla="*/ 41166 h 1333436"/>
                <a:gd name="connsiteX289" fmla="*/ 226778 w 752994"/>
                <a:gd name="connsiteY289" fmla="*/ 47486 h 1333436"/>
                <a:gd name="connsiteX290" fmla="*/ 236152 w 752994"/>
                <a:gd name="connsiteY290" fmla="*/ 52370 h 1333436"/>
                <a:gd name="connsiteX291" fmla="*/ 239629 w 752994"/>
                <a:gd name="connsiteY291" fmla="*/ 58491 h 1333436"/>
                <a:gd name="connsiteX292" fmla="*/ 239629 w 752994"/>
                <a:gd name="connsiteY292" fmla="*/ 63376 h 1333436"/>
                <a:gd name="connsiteX293" fmla="*/ 236568 w 752994"/>
                <a:gd name="connsiteY293" fmla="*/ 67457 h 1333436"/>
                <a:gd name="connsiteX294" fmla="*/ 231264 w 752994"/>
                <a:gd name="connsiteY294" fmla="*/ 69905 h 1333436"/>
                <a:gd name="connsiteX295" fmla="*/ 216778 w 752994"/>
                <a:gd name="connsiteY295" fmla="*/ 82741 h 1333436"/>
                <a:gd name="connsiteX296" fmla="*/ 214134 w 752994"/>
                <a:gd name="connsiteY296" fmla="*/ 93536 h 1333436"/>
                <a:gd name="connsiteX297" fmla="*/ 214535 w 752994"/>
                <a:gd name="connsiteY297" fmla="*/ 96801 h 1333436"/>
                <a:gd name="connsiteX298" fmla="*/ 216378 w 752994"/>
                <a:gd name="connsiteY298" fmla="*/ 96801 h 1333436"/>
                <a:gd name="connsiteX299" fmla="*/ 230046 w 752994"/>
                <a:gd name="connsiteY299" fmla="*/ 85387 h 1333436"/>
                <a:gd name="connsiteX300" fmla="*/ 243298 w 752994"/>
                <a:gd name="connsiteY300" fmla="*/ 75198 h 1333436"/>
                <a:gd name="connsiteX301" fmla="*/ 246760 w 752994"/>
                <a:gd name="connsiteY301" fmla="*/ 77646 h 1333436"/>
                <a:gd name="connsiteX302" fmla="*/ 255541 w 752994"/>
                <a:gd name="connsiteY302" fmla="*/ 63376 h 1333436"/>
                <a:gd name="connsiteX303" fmla="*/ 259611 w 752994"/>
                <a:gd name="connsiteY303" fmla="*/ 43405 h 1333436"/>
                <a:gd name="connsiteX304" fmla="*/ 256967 w 752994"/>
                <a:gd name="connsiteY304" fmla="*/ 38520 h 1333436"/>
                <a:gd name="connsiteX305" fmla="*/ 253906 w 752994"/>
                <a:gd name="connsiteY305" fmla="*/ 34242 h 1333436"/>
                <a:gd name="connsiteX306" fmla="*/ 256967 w 752994"/>
                <a:gd name="connsiteY306" fmla="*/ 30161 h 1333436"/>
                <a:gd name="connsiteX307" fmla="*/ 262063 w 752994"/>
                <a:gd name="connsiteY307" fmla="*/ 27712 h 1333436"/>
                <a:gd name="connsiteX308" fmla="*/ 264915 w 752994"/>
                <a:gd name="connsiteY308" fmla="*/ 23026 h 1333436"/>
                <a:gd name="connsiteX309" fmla="*/ 267976 w 752994"/>
                <a:gd name="connsiteY309" fmla="*/ 22618 h 1333436"/>
                <a:gd name="connsiteX310" fmla="*/ 270427 w 752994"/>
                <a:gd name="connsiteY310" fmla="*/ 20787 h 1333436"/>
                <a:gd name="connsiteX311" fmla="*/ 263088 w 752994"/>
                <a:gd name="connsiteY311" fmla="*/ 13652 h 1333436"/>
                <a:gd name="connsiteX312" fmla="*/ 255541 w 752994"/>
                <a:gd name="connsiteY312" fmla="*/ 3055 h 1333436"/>
                <a:gd name="connsiteX313" fmla="*/ 256358 w 752994"/>
                <a:gd name="connsiteY313" fmla="*/ 1224 h 1333436"/>
                <a:gd name="connsiteX314" fmla="*/ 257159 w 752994"/>
                <a:gd name="connsiteY314"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1276 w 752994"/>
                <a:gd name="connsiteY16" fmla="*/ 245722 h 1333436"/>
                <a:gd name="connsiteX17" fmla="*/ 289240 w 752994"/>
                <a:gd name="connsiteY17" fmla="*/ 250419 h 1333436"/>
                <a:gd name="connsiteX18" fmla="*/ 195162 w 752994"/>
                <a:gd name="connsiteY18" fmla="*/ 228857 h 1333436"/>
                <a:gd name="connsiteX19" fmla="*/ 188223 w 752994"/>
                <a:gd name="connsiteY19" fmla="*/ 223973 h 1333436"/>
                <a:gd name="connsiteX20" fmla="*/ 185163 w 752994"/>
                <a:gd name="connsiteY20" fmla="*/ 219484 h 1333436"/>
                <a:gd name="connsiteX21" fmla="*/ 184180 w 752994"/>
                <a:gd name="connsiteY21" fmla="*/ 213866 h 1333436"/>
                <a:gd name="connsiteX22" fmla="*/ 257159 w 752994"/>
                <a:gd name="connsiteY22" fmla="*/ 0 h 1333436"/>
                <a:gd name="connsiteX23" fmla="*/ 493147 w 752994"/>
                <a:gd name="connsiteY23" fmla="*/ 73157 h 1333436"/>
                <a:gd name="connsiteX24" fmla="*/ 492970 w 752994"/>
                <a:gd name="connsiteY24" fmla="*/ 73792 h 1333436"/>
                <a:gd name="connsiteX25" fmla="*/ 525816 w 752994"/>
                <a:gd name="connsiteY25" fmla="*/ 82491 h 1333436"/>
                <a:gd name="connsiteX26" fmla="*/ 520098 w 752994"/>
                <a:gd name="connsiteY26" fmla="*/ 111245 h 1333436"/>
                <a:gd name="connsiteX27" fmla="*/ 512552 w 752994"/>
                <a:gd name="connsiteY27" fmla="*/ 143854 h 1333436"/>
                <a:gd name="connsiteX28" fmla="*/ 517849 w 752994"/>
                <a:gd name="connsiteY28" fmla="*/ 157740 h 1333436"/>
                <a:gd name="connsiteX29" fmla="*/ 523160 w 752994"/>
                <a:gd name="connsiteY29" fmla="*/ 172009 h 1333436"/>
                <a:gd name="connsiteX30" fmla="*/ 521535 w 752994"/>
                <a:gd name="connsiteY30" fmla="*/ 178928 h 1333436"/>
                <a:gd name="connsiteX31" fmla="*/ 520098 w 752994"/>
                <a:gd name="connsiteY31" fmla="*/ 186279 h 1333436"/>
                <a:gd name="connsiteX32" fmla="*/ 526019 w 752994"/>
                <a:gd name="connsiteY32" fmla="*/ 193629 h 1333436"/>
                <a:gd name="connsiteX33" fmla="*/ 537251 w 752994"/>
                <a:gd name="connsiteY33" fmla="*/ 206270 h 1333436"/>
                <a:gd name="connsiteX34" fmla="*/ 542765 w 752994"/>
                <a:gd name="connsiteY34" fmla="*/ 217475 h 1333436"/>
                <a:gd name="connsiteX35" fmla="*/ 546857 w 752994"/>
                <a:gd name="connsiteY35" fmla="*/ 230930 h 1333436"/>
                <a:gd name="connsiteX36" fmla="*/ 549499 w 752994"/>
                <a:gd name="connsiteY36" fmla="*/ 235622 h 1333436"/>
                <a:gd name="connsiteX37" fmla="*/ 553388 w 752994"/>
                <a:gd name="connsiteY37" fmla="*/ 240722 h 1333436"/>
                <a:gd name="connsiteX38" fmla="*/ 557465 w 752994"/>
                <a:gd name="connsiteY38" fmla="*/ 246037 h 1333436"/>
                <a:gd name="connsiteX39" fmla="*/ 561761 w 752994"/>
                <a:gd name="connsiteY39" fmla="*/ 248671 h 1333436"/>
                <a:gd name="connsiteX40" fmla="*/ 567478 w 752994"/>
                <a:gd name="connsiteY40" fmla="*/ 247665 h 1333436"/>
                <a:gd name="connsiteX41" fmla="*/ 569931 w 752994"/>
                <a:gd name="connsiteY41" fmla="*/ 249293 h 1333436"/>
                <a:gd name="connsiteX42" fmla="*/ 570540 w 752994"/>
                <a:gd name="connsiteY42" fmla="*/ 251951 h 1333436"/>
                <a:gd name="connsiteX43" fmla="*/ 561964 w 752994"/>
                <a:gd name="connsiteY43" fmla="*/ 267656 h 1333436"/>
                <a:gd name="connsiteX44" fmla="*/ 553591 w 752994"/>
                <a:gd name="connsiteY44" fmla="*/ 289659 h 1333436"/>
                <a:gd name="connsiteX45" fmla="*/ 554810 w 752994"/>
                <a:gd name="connsiteY45" fmla="*/ 292939 h 1333436"/>
                <a:gd name="connsiteX46" fmla="*/ 556246 w 752994"/>
                <a:gd name="connsiteY46" fmla="*/ 299260 h 1333436"/>
                <a:gd name="connsiteX47" fmla="*/ 552778 w 752994"/>
                <a:gd name="connsiteY47" fmla="*/ 301917 h 1333436"/>
                <a:gd name="connsiteX48" fmla="*/ 549295 w 752994"/>
                <a:gd name="connsiteY48" fmla="*/ 306993 h 1333436"/>
                <a:gd name="connsiteX49" fmla="*/ 547061 w 752994"/>
                <a:gd name="connsiteY49" fmla="*/ 313122 h 1333436"/>
                <a:gd name="connsiteX50" fmla="*/ 544811 w 752994"/>
                <a:gd name="connsiteY50" fmla="*/ 316593 h 1333436"/>
                <a:gd name="connsiteX51" fmla="*/ 549919 w 752994"/>
                <a:gd name="connsiteY51" fmla="*/ 322698 h 1333436"/>
                <a:gd name="connsiteX52" fmla="*/ 553184 w 752994"/>
                <a:gd name="connsiteY52" fmla="*/ 325955 h 1333436"/>
                <a:gd name="connsiteX53" fmla="*/ 555840 w 752994"/>
                <a:gd name="connsiteY53" fmla="*/ 328205 h 1333436"/>
                <a:gd name="connsiteX54" fmla="*/ 574212 w 752994"/>
                <a:gd name="connsiteY54" fmla="*/ 318820 h 1333436"/>
                <a:gd name="connsiteX55" fmla="*/ 579523 w 752994"/>
                <a:gd name="connsiteY55" fmla="*/ 326577 h 1333436"/>
                <a:gd name="connsiteX56" fmla="*/ 580539 w 752994"/>
                <a:gd name="connsiteY56" fmla="*/ 334933 h 1333436"/>
                <a:gd name="connsiteX57" fmla="*/ 579726 w 752994"/>
                <a:gd name="connsiteY57" fmla="*/ 343097 h 1333436"/>
                <a:gd name="connsiteX58" fmla="*/ 581366 w 752994"/>
                <a:gd name="connsiteY58" fmla="*/ 350231 h 1333436"/>
                <a:gd name="connsiteX59" fmla="*/ 586256 w 752994"/>
                <a:gd name="connsiteY59" fmla="*/ 355930 h 1333436"/>
                <a:gd name="connsiteX60" fmla="*/ 589536 w 752994"/>
                <a:gd name="connsiteY60" fmla="*/ 362059 h 1333436"/>
                <a:gd name="connsiteX61" fmla="*/ 588099 w 752994"/>
                <a:gd name="connsiteY61" fmla="*/ 369600 h 1333436"/>
                <a:gd name="connsiteX62" fmla="*/ 586459 w 752994"/>
                <a:gd name="connsiteY62" fmla="*/ 377357 h 1333436"/>
                <a:gd name="connsiteX63" fmla="*/ 588709 w 752994"/>
                <a:gd name="connsiteY63" fmla="*/ 381835 h 1333436"/>
                <a:gd name="connsiteX64" fmla="*/ 595036 w 752994"/>
                <a:gd name="connsiteY64" fmla="*/ 382457 h 1333436"/>
                <a:gd name="connsiteX65" fmla="*/ 599331 w 752994"/>
                <a:gd name="connsiteY65" fmla="*/ 385306 h 1333436"/>
                <a:gd name="connsiteX66" fmla="*/ 601987 w 752994"/>
                <a:gd name="connsiteY66" fmla="*/ 391004 h 1333436"/>
                <a:gd name="connsiteX67" fmla="*/ 602799 w 752994"/>
                <a:gd name="connsiteY67" fmla="*/ 404076 h 1333436"/>
                <a:gd name="connsiteX68" fmla="*/ 606892 w 752994"/>
                <a:gd name="connsiteY68" fmla="*/ 415688 h 1333436"/>
                <a:gd name="connsiteX69" fmla="*/ 610563 w 752994"/>
                <a:gd name="connsiteY69" fmla="*/ 412217 h 1333436"/>
                <a:gd name="connsiteX70" fmla="*/ 617920 w 752994"/>
                <a:gd name="connsiteY70" fmla="*/ 408769 h 1333436"/>
                <a:gd name="connsiteX71" fmla="*/ 624654 w 752994"/>
                <a:gd name="connsiteY71" fmla="*/ 411211 h 1333436"/>
                <a:gd name="connsiteX72" fmla="*/ 634652 w 752994"/>
                <a:gd name="connsiteY72" fmla="*/ 410182 h 1333436"/>
                <a:gd name="connsiteX73" fmla="*/ 640573 w 752994"/>
                <a:gd name="connsiteY73" fmla="*/ 407739 h 1333436"/>
                <a:gd name="connsiteX74" fmla="*/ 646711 w 752994"/>
                <a:gd name="connsiteY74" fmla="*/ 410589 h 1333436"/>
                <a:gd name="connsiteX75" fmla="*/ 650383 w 752994"/>
                <a:gd name="connsiteY75" fmla="*/ 410589 h 1333436"/>
                <a:gd name="connsiteX76" fmla="*/ 654257 w 752994"/>
                <a:gd name="connsiteY76" fmla="*/ 411618 h 1333436"/>
                <a:gd name="connsiteX77" fmla="*/ 656913 w 752994"/>
                <a:gd name="connsiteY77" fmla="*/ 413653 h 1333436"/>
                <a:gd name="connsiteX78" fmla="*/ 660802 w 752994"/>
                <a:gd name="connsiteY78" fmla="*/ 415090 h 1333436"/>
                <a:gd name="connsiteX79" fmla="*/ 669581 w 752994"/>
                <a:gd name="connsiteY79" fmla="*/ 415904 h 1333436"/>
                <a:gd name="connsiteX80" fmla="*/ 672237 w 752994"/>
                <a:gd name="connsiteY80" fmla="*/ 415688 h 1333436"/>
                <a:gd name="connsiteX81" fmla="*/ 675705 w 752994"/>
                <a:gd name="connsiteY81" fmla="*/ 409367 h 1333436"/>
                <a:gd name="connsiteX82" fmla="*/ 679986 w 752994"/>
                <a:gd name="connsiteY82" fmla="*/ 403238 h 1333436"/>
                <a:gd name="connsiteX83" fmla="*/ 693264 w 752994"/>
                <a:gd name="connsiteY83" fmla="*/ 419567 h 1333436"/>
                <a:gd name="connsiteX84" fmla="*/ 688563 w 752994"/>
                <a:gd name="connsiteY84" fmla="*/ 448321 h 1333436"/>
                <a:gd name="connsiteX85" fmla="*/ 663949 w 752994"/>
                <a:gd name="connsiteY85" fmla="*/ 590165 h 1333436"/>
                <a:gd name="connsiteX86" fmla="*/ 666304 w 752994"/>
                <a:gd name="connsiteY86" fmla="*/ 590504 h 1333436"/>
                <a:gd name="connsiteX87" fmla="*/ 655288 w 752994"/>
                <a:gd name="connsiteY87" fmla="*/ 656178 h 1333436"/>
                <a:gd name="connsiteX88" fmla="*/ 681808 w 752994"/>
                <a:gd name="connsiteY88" fmla="*/ 662301 h 1333436"/>
                <a:gd name="connsiteX89" fmla="*/ 752994 w 752994"/>
                <a:gd name="connsiteY89" fmla="*/ 675560 h 1333436"/>
                <a:gd name="connsiteX90" fmla="*/ 714651 w 752994"/>
                <a:gd name="connsiteY90" fmla="*/ 946985 h 1333436"/>
                <a:gd name="connsiteX91" fmla="*/ 654533 w 752994"/>
                <a:gd name="connsiteY91" fmla="*/ 1333436 h 1333436"/>
                <a:gd name="connsiteX92" fmla="*/ 546831 w 752994"/>
                <a:gd name="connsiteY92" fmla="*/ 1317126 h 1333436"/>
                <a:gd name="connsiteX93" fmla="*/ 351227 w 752994"/>
                <a:gd name="connsiteY93" fmla="*/ 1194172 h 1333436"/>
                <a:gd name="connsiteX94" fmla="*/ 361011 w 752994"/>
                <a:gd name="connsiteY94" fmla="*/ 1182755 h 1333436"/>
                <a:gd name="connsiteX95" fmla="*/ 368981 w 752994"/>
                <a:gd name="connsiteY95" fmla="*/ 1182130 h 1333436"/>
                <a:gd name="connsiteX96" fmla="*/ 369571 w 752994"/>
                <a:gd name="connsiteY96" fmla="*/ 1181558 h 1333436"/>
                <a:gd name="connsiteX97" fmla="*/ 362372 w 752994"/>
                <a:gd name="connsiteY97" fmla="*/ 1182120 h 1333436"/>
                <a:gd name="connsiteX98" fmla="*/ 229464 w 752994"/>
                <a:gd name="connsiteY98" fmla="*/ 1161721 h 1333436"/>
                <a:gd name="connsiteX99" fmla="*/ 227427 w 752994"/>
                <a:gd name="connsiteY99" fmla="*/ 1157269 h 1333436"/>
                <a:gd name="connsiteX100" fmla="*/ 224967 w 752994"/>
                <a:gd name="connsiteY100" fmla="*/ 1152575 h 1333436"/>
                <a:gd name="connsiteX101" fmla="*/ 225582 w 752994"/>
                <a:gd name="connsiteY101" fmla="*/ 1144808 h 1333436"/>
                <a:gd name="connsiteX102" fmla="*/ 227215 w 752994"/>
                <a:gd name="connsiteY102" fmla="*/ 1135834 h 1333436"/>
                <a:gd name="connsiteX103" fmla="*/ 227215 w 752994"/>
                <a:gd name="connsiteY103" fmla="*/ 1134212 h 1333436"/>
                <a:gd name="connsiteX104" fmla="*/ 225179 w 752994"/>
                <a:gd name="connsiteY104" fmla="*/ 1114020 h 1333436"/>
                <a:gd name="connsiteX105" fmla="*/ 217839 w 752994"/>
                <a:gd name="connsiteY105" fmla="*/ 1100352 h 1333436"/>
                <a:gd name="connsiteX106" fmla="*/ 199661 w 752994"/>
                <a:gd name="connsiteY106" fmla="*/ 1076502 h 1333436"/>
                <a:gd name="connsiteX107" fmla="*/ 196395 w 752994"/>
                <a:gd name="connsiteY107" fmla="*/ 1071807 h 1333436"/>
                <a:gd name="connsiteX108" fmla="*/ 190880 w 752994"/>
                <a:gd name="connsiteY108" fmla="*/ 1067527 h 1333436"/>
                <a:gd name="connsiteX109" fmla="*/ 187210 w 752994"/>
                <a:gd name="connsiteY109" fmla="*/ 1068735 h 1333436"/>
                <a:gd name="connsiteX110" fmla="*/ 180062 w 752994"/>
                <a:gd name="connsiteY110" fmla="*/ 1066699 h 1333436"/>
                <a:gd name="connsiteX111" fmla="*/ 180466 w 752994"/>
                <a:gd name="connsiteY111" fmla="*/ 1053031 h 1333436"/>
                <a:gd name="connsiteX112" fmla="*/ 180062 w 752994"/>
                <a:gd name="connsiteY112" fmla="*/ 1045299 h 1333436"/>
                <a:gd name="connsiteX113" fmla="*/ 174144 w 752994"/>
                <a:gd name="connsiteY113" fmla="*/ 1044057 h 1333436"/>
                <a:gd name="connsiteX114" fmla="*/ 158426 w 752994"/>
                <a:gd name="connsiteY114" fmla="*/ 1042641 h 1333436"/>
                <a:gd name="connsiteX115" fmla="*/ 149857 w 752994"/>
                <a:gd name="connsiteY115" fmla="*/ 1035497 h 1333436"/>
                <a:gd name="connsiteX116" fmla="*/ 142497 w 752994"/>
                <a:gd name="connsiteY116" fmla="*/ 1028766 h 1333436"/>
                <a:gd name="connsiteX117" fmla="*/ 140864 w 752994"/>
                <a:gd name="connsiteY117" fmla="*/ 1020620 h 1333436"/>
                <a:gd name="connsiteX118" fmla="*/ 138212 w 752994"/>
                <a:gd name="connsiteY118" fmla="*/ 1013061 h 1333436"/>
                <a:gd name="connsiteX119" fmla="*/ 131064 w 752994"/>
                <a:gd name="connsiteY119" fmla="*/ 1007159 h 1333436"/>
                <a:gd name="connsiteX120" fmla="*/ 121264 w 752994"/>
                <a:gd name="connsiteY120" fmla="*/ 1005330 h 1333436"/>
                <a:gd name="connsiteX121" fmla="*/ 112483 w 752994"/>
                <a:gd name="connsiteY121" fmla="*/ 1001671 h 1333436"/>
                <a:gd name="connsiteX122" fmla="*/ 105950 w 752994"/>
                <a:gd name="connsiteY122" fmla="*/ 995734 h 1333436"/>
                <a:gd name="connsiteX123" fmla="*/ 97380 w 752994"/>
                <a:gd name="connsiteY123" fmla="*/ 994526 h 1333436"/>
                <a:gd name="connsiteX124" fmla="*/ 87984 w 752994"/>
                <a:gd name="connsiteY124" fmla="*/ 991040 h 1333436"/>
                <a:gd name="connsiteX125" fmla="*/ 80029 w 752994"/>
                <a:gd name="connsiteY125" fmla="*/ 985138 h 1333436"/>
                <a:gd name="connsiteX126" fmla="*/ 77166 w 752994"/>
                <a:gd name="connsiteY126" fmla="*/ 976164 h 1333436"/>
                <a:gd name="connsiteX127" fmla="*/ 79203 w 752994"/>
                <a:gd name="connsiteY127" fmla="*/ 970676 h 1333436"/>
                <a:gd name="connsiteX128" fmla="*/ 82470 w 752994"/>
                <a:gd name="connsiteY128" fmla="*/ 963117 h 1333436"/>
                <a:gd name="connsiteX129" fmla="*/ 84314 w 752994"/>
                <a:gd name="connsiteY129" fmla="*/ 954557 h 1333436"/>
                <a:gd name="connsiteX130" fmla="*/ 86351 w 752994"/>
                <a:gd name="connsiteY130" fmla="*/ 948033 h 1333436"/>
                <a:gd name="connsiteX131" fmla="*/ 86159 w 752994"/>
                <a:gd name="connsiteY131" fmla="*/ 942925 h 1333436"/>
                <a:gd name="connsiteX132" fmla="*/ 83085 w 752994"/>
                <a:gd name="connsiteY132" fmla="*/ 939853 h 1333436"/>
                <a:gd name="connsiteX133" fmla="*/ 77570 w 752994"/>
                <a:gd name="connsiteY133" fmla="*/ 937437 h 1333436"/>
                <a:gd name="connsiteX134" fmla="*/ 76763 w 752994"/>
                <a:gd name="connsiteY134" fmla="*/ 931915 h 1333436"/>
                <a:gd name="connsiteX135" fmla="*/ 78800 w 752994"/>
                <a:gd name="connsiteY135" fmla="*/ 927013 h 1333436"/>
                <a:gd name="connsiteX136" fmla="*/ 79626 w 752994"/>
                <a:gd name="connsiteY136" fmla="*/ 922526 h 1333436"/>
                <a:gd name="connsiteX137" fmla="*/ 77781 w 752994"/>
                <a:gd name="connsiteY137" fmla="*/ 919903 h 1333436"/>
                <a:gd name="connsiteX138" fmla="*/ 74303 w 752994"/>
                <a:gd name="connsiteY138" fmla="*/ 917418 h 1333436"/>
                <a:gd name="connsiteX139" fmla="*/ 71863 w 752994"/>
                <a:gd name="connsiteY139" fmla="*/ 915174 h 1333436"/>
                <a:gd name="connsiteX140" fmla="*/ 71652 w 752994"/>
                <a:gd name="connsiteY140" fmla="*/ 910894 h 1333436"/>
                <a:gd name="connsiteX141" fmla="*/ 70633 w 752994"/>
                <a:gd name="connsiteY141" fmla="*/ 906614 h 1333436"/>
                <a:gd name="connsiteX142" fmla="*/ 68385 w 752994"/>
                <a:gd name="connsiteY142" fmla="*/ 902749 h 1333436"/>
                <a:gd name="connsiteX143" fmla="*/ 61045 w 752994"/>
                <a:gd name="connsiteY143" fmla="*/ 889494 h 1333436"/>
                <a:gd name="connsiteX144" fmla="*/ 57971 w 752994"/>
                <a:gd name="connsiteY144" fmla="*/ 875619 h 1333436"/>
                <a:gd name="connsiteX145" fmla="*/ 52264 w 752994"/>
                <a:gd name="connsiteY145" fmla="*/ 862572 h 1333436"/>
                <a:gd name="connsiteX146" fmla="*/ 44309 w 752994"/>
                <a:gd name="connsiteY146" fmla="*/ 850561 h 1333436"/>
                <a:gd name="connsiteX147" fmla="*/ 45520 w 752994"/>
                <a:gd name="connsiteY147" fmla="*/ 827090 h 1333436"/>
                <a:gd name="connsiteX148" fmla="*/ 53071 w 752994"/>
                <a:gd name="connsiteY148" fmla="*/ 822396 h 1333436"/>
                <a:gd name="connsiteX149" fmla="*/ 57375 w 752994"/>
                <a:gd name="connsiteY149" fmla="*/ 816493 h 1333436"/>
                <a:gd name="connsiteX150" fmla="*/ 55319 w 752994"/>
                <a:gd name="connsiteY150" fmla="*/ 801617 h 1333436"/>
                <a:gd name="connsiteX151" fmla="*/ 48383 w 752994"/>
                <a:gd name="connsiteY151" fmla="*/ 802204 h 1333436"/>
                <a:gd name="connsiteX152" fmla="*/ 40428 w 752994"/>
                <a:gd name="connsiteY152" fmla="*/ 797924 h 1333436"/>
                <a:gd name="connsiteX153" fmla="*/ 37565 w 752994"/>
                <a:gd name="connsiteY153" fmla="*/ 790606 h 1333436"/>
                <a:gd name="connsiteX154" fmla="*/ 37565 w 752994"/>
                <a:gd name="connsiteY154" fmla="*/ 790399 h 1333436"/>
                <a:gd name="connsiteX155" fmla="*/ 35931 w 752994"/>
                <a:gd name="connsiteY155" fmla="*/ 785912 h 1333436"/>
                <a:gd name="connsiteX156" fmla="*/ 34510 w 752994"/>
                <a:gd name="connsiteY156" fmla="*/ 780597 h 1333436"/>
                <a:gd name="connsiteX157" fmla="*/ 36335 w 752994"/>
                <a:gd name="connsiteY157" fmla="*/ 774280 h 1333436"/>
                <a:gd name="connsiteX158" fmla="*/ 38180 w 752994"/>
                <a:gd name="connsiteY158" fmla="*/ 766721 h 1333436"/>
                <a:gd name="connsiteX159" fmla="*/ 37161 w 752994"/>
                <a:gd name="connsiteY159" fmla="*/ 760405 h 1333436"/>
                <a:gd name="connsiteX160" fmla="*/ 35720 w 752994"/>
                <a:gd name="connsiteY160" fmla="*/ 754710 h 1333436"/>
                <a:gd name="connsiteX161" fmla="*/ 36546 w 752994"/>
                <a:gd name="connsiteY161" fmla="*/ 748773 h 1333436"/>
                <a:gd name="connsiteX162" fmla="*/ 38372 w 752994"/>
                <a:gd name="connsiteY162" fmla="*/ 744528 h 1333436"/>
                <a:gd name="connsiteX163" fmla="*/ 41638 w 752994"/>
                <a:gd name="connsiteY163" fmla="*/ 744321 h 1333436"/>
                <a:gd name="connsiteX164" fmla="*/ 44713 w 752994"/>
                <a:gd name="connsiteY164" fmla="*/ 746357 h 1333436"/>
                <a:gd name="connsiteX165" fmla="*/ 47364 w 752994"/>
                <a:gd name="connsiteY165" fmla="*/ 753260 h 1333436"/>
                <a:gd name="connsiteX166" fmla="*/ 55742 w 752994"/>
                <a:gd name="connsiteY166" fmla="*/ 764305 h 1333436"/>
                <a:gd name="connsiteX167" fmla="*/ 56338 w 752994"/>
                <a:gd name="connsiteY167" fmla="*/ 761233 h 1333436"/>
                <a:gd name="connsiteX168" fmla="*/ 56145 w 752994"/>
                <a:gd name="connsiteY168" fmla="*/ 757368 h 1333436"/>
                <a:gd name="connsiteX169" fmla="*/ 54916 w 752994"/>
                <a:gd name="connsiteY169" fmla="*/ 748601 h 1333436"/>
                <a:gd name="connsiteX170" fmla="*/ 52879 w 752994"/>
                <a:gd name="connsiteY170" fmla="*/ 747358 h 1333436"/>
                <a:gd name="connsiteX171" fmla="*/ 51649 w 752994"/>
                <a:gd name="connsiteY171" fmla="*/ 745322 h 1333436"/>
                <a:gd name="connsiteX172" fmla="*/ 51649 w 752994"/>
                <a:gd name="connsiteY172" fmla="*/ 739212 h 1333436"/>
                <a:gd name="connsiteX173" fmla="*/ 50227 w 752994"/>
                <a:gd name="connsiteY173" fmla="*/ 734725 h 1333436"/>
                <a:gd name="connsiteX174" fmla="*/ 48786 w 752994"/>
                <a:gd name="connsiteY174" fmla="*/ 731446 h 1333436"/>
                <a:gd name="connsiteX175" fmla="*/ 54512 w 752994"/>
                <a:gd name="connsiteY175" fmla="*/ 726372 h 1333436"/>
                <a:gd name="connsiteX176" fmla="*/ 59815 w 752994"/>
                <a:gd name="connsiteY176" fmla="*/ 725130 h 1333436"/>
                <a:gd name="connsiteX177" fmla="*/ 58182 w 752994"/>
                <a:gd name="connsiteY177" fmla="*/ 722886 h 1333436"/>
                <a:gd name="connsiteX178" fmla="*/ 51861 w 752994"/>
                <a:gd name="connsiteY178" fmla="*/ 717985 h 1333436"/>
                <a:gd name="connsiteX179" fmla="*/ 46749 w 752994"/>
                <a:gd name="connsiteY179" fmla="*/ 729617 h 1333436"/>
                <a:gd name="connsiteX180" fmla="*/ 40831 w 752994"/>
                <a:gd name="connsiteY180" fmla="*/ 739212 h 1333436"/>
                <a:gd name="connsiteX181" fmla="*/ 39601 w 752994"/>
                <a:gd name="connsiteY181" fmla="*/ 738798 h 1333436"/>
                <a:gd name="connsiteX182" fmla="*/ 39409 w 752994"/>
                <a:gd name="connsiteY182" fmla="*/ 738591 h 1333436"/>
                <a:gd name="connsiteX183" fmla="*/ 37161 w 752994"/>
                <a:gd name="connsiteY183" fmla="*/ 734725 h 1333436"/>
                <a:gd name="connsiteX184" fmla="*/ 32665 w 752994"/>
                <a:gd name="connsiteY184" fmla="*/ 727788 h 1333436"/>
                <a:gd name="connsiteX185" fmla="*/ 26747 w 752994"/>
                <a:gd name="connsiteY185" fmla="*/ 719435 h 1333436"/>
                <a:gd name="connsiteX186" fmla="*/ 23884 w 752994"/>
                <a:gd name="connsiteY186" fmla="*/ 717812 h 1333436"/>
                <a:gd name="connsiteX187" fmla="*/ 24710 w 752994"/>
                <a:gd name="connsiteY187" fmla="*/ 709632 h 1333436"/>
                <a:gd name="connsiteX188" fmla="*/ 27554 w 752994"/>
                <a:gd name="connsiteY188" fmla="*/ 701694 h 1333436"/>
                <a:gd name="connsiteX189" fmla="*/ 24902 w 752994"/>
                <a:gd name="connsiteY189" fmla="*/ 696171 h 1333436"/>
                <a:gd name="connsiteX190" fmla="*/ 24095 w 752994"/>
                <a:gd name="connsiteY190" fmla="*/ 687818 h 1333436"/>
                <a:gd name="connsiteX191" fmla="*/ 22462 w 752994"/>
                <a:gd name="connsiteY191" fmla="*/ 682330 h 1333436"/>
                <a:gd name="connsiteX192" fmla="*/ 17159 w 752994"/>
                <a:gd name="connsiteY192" fmla="*/ 677636 h 1333436"/>
                <a:gd name="connsiteX193" fmla="*/ 14296 w 752994"/>
                <a:gd name="connsiteY193" fmla="*/ 671492 h 1333436"/>
                <a:gd name="connsiteX194" fmla="*/ 12451 w 752994"/>
                <a:gd name="connsiteY194" fmla="*/ 665797 h 1333436"/>
                <a:gd name="connsiteX195" fmla="*/ 5111 w 752994"/>
                <a:gd name="connsiteY195" fmla="*/ 654994 h 1333436"/>
                <a:gd name="connsiteX196" fmla="*/ 2248 w 752994"/>
                <a:gd name="connsiteY196" fmla="*/ 645605 h 1333436"/>
                <a:gd name="connsiteX197" fmla="*/ 4496 w 752994"/>
                <a:gd name="connsiteY197" fmla="*/ 640497 h 1333436"/>
                <a:gd name="connsiteX198" fmla="*/ 6744 w 752994"/>
                <a:gd name="connsiteY198" fmla="*/ 632765 h 1333436"/>
                <a:gd name="connsiteX199" fmla="*/ 6744 w 752994"/>
                <a:gd name="connsiteY199" fmla="*/ 628485 h 1333436"/>
                <a:gd name="connsiteX200" fmla="*/ 6533 w 752994"/>
                <a:gd name="connsiteY200" fmla="*/ 620305 h 1333436"/>
                <a:gd name="connsiteX201" fmla="*/ 7359 w 752994"/>
                <a:gd name="connsiteY201" fmla="*/ 611745 h 1333436"/>
                <a:gd name="connsiteX202" fmla="*/ 11836 w 752994"/>
                <a:gd name="connsiteY202" fmla="*/ 602978 h 1333436"/>
                <a:gd name="connsiteX203" fmla="*/ 15103 w 752994"/>
                <a:gd name="connsiteY203" fmla="*/ 591760 h 1333436"/>
                <a:gd name="connsiteX204" fmla="*/ 14488 w 752994"/>
                <a:gd name="connsiteY204" fmla="*/ 584029 h 1333436"/>
                <a:gd name="connsiteX205" fmla="*/ 13873 w 752994"/>
                <a:gd name="connsiteY205" fmla="*/ 578299 h 1333436"/>
                <a:gd name="connsiteX206" fmla="*/ 10626 w 752994"/>
                <a:gd name="connsiteY206" fmla="*/ 568531 h 1333436"/>
                <a:gd name="connsiteX207" fmla="*/ 3670 w 752994"/>
                <a:gd name="connsiteY207" fmla="*/ 558107 h 1333436"/>
                <a:gd name="connsiteX208" fmla="*/ 0 w 752994"/>
                <a:gd name="connsiteY208" fmla="*/ 551377 h 1333436"/>
                <a:gd name="connsiteX209" fmla="*/ 0 w 752994"/>
                <a:gd name="connsiteY209" fmla="*/ 550997 h 1333436"/>
                <a:gd name="connsiteX210" fmla="*/ 4900 w 752994"/>
                <a:gd name="connsiteY210" fmla="*/ 531220 h 1333436"/>
                <a:gd name="connsiteX211" fmla="*/ 13873 w 752994"/>
                <a:gd name="connsiteY211" fmla="*/ 520589 h 1333436"/>
                <a:gd name="connsiteX212" fmla="*/ 18369 w 752994"/>
                <a:gd name="connsiteY212" fmla="*/ 516516 h 1333436"/>
                <a:gd name="connsiteX213" fmla="*/ 18773 w 752994"/>
                <a:gd name="connsiteY213" fmla="*/ 514272 h 1333436"/>
                <a:gd name="connsiteX214" fmla="*/ 23077 w 752994"/>
                <a:gd name="connsiteY214" fmla="*/ 506127 h 1333436"/>
                <a:gd name="connsiteX215" fmla="*/ 23884 w 752994"/>
                <a:gd name="connsiteY215" fmla="*/ 502261 h 1333436"/>
                <a:gd name="connsiteX216" fmla="*/ 23692 w 752994"/>
                <a:gd name="connsiteY216" fmla="*/ 496738 h 1333436"/>
                <a:gd name="connsiteX217" fmla="*/ 30013 w 752994"/>
                <a:gd name="connsiteY217" fmla="*/ 486556 h 1333436"/>
                <a:gd name="connsiteX218" fmla="*/ 36546 w 752994"/>
                <a:gd name="connsiteY218" fmla="*/ 470230 h 1333436"/>
                <a:gd name="connsiteX219" fmla="*/ 36546 w 752994"/>
                <a:gd name="connsiteY219" fmla="*/ 462671 h 1333436"/>
                <a:gd name="connsiteX220" fmla="*/ 36335 w 752994"/>
                <a:gd name="connsiteY220" fmla="*/ 461670 h 1333436"/>
                <a:gd name="connsiteX221" fmla="*/ 35931 w 752994"/>
                <a:gd name="connsiteY221" fmla="*/ 453110 h 1333436"/>
                <a:gd name="connsiteX222" fmla="*/ 38583 w 752994"/>
                <a:gd name="connsiteY222" fmla="*/ 442514 h 1333436"/>
                <a:gd name="connsiteX223" fmla="*/ 41043 w 752994"/>
                <a:gd name="connsiteY223" fmla="*/ 436991 h 1333436"/>
                <a:gd name="connsiteX224" fmla="*/ 41650 w 752994"/>
                <a:gd name="connsiteY224" fmla="*/ 437186 h 1333436"/>
                <a:gd name="connsiteX225" fmla="*/ 41239 w 752994"/>
                <a:gd name="connsiteY225" fmla="*/ 436549 h 1333436"/>
                <a:gd name="connsiteX226" fmla="*/ 37778 w 752994"/>
                <a:gd name="connsiteY226" fmla="*/ 433894 h 1333436"/>
                <a:gd name="connsiteX227" fmla="*/ 37169 w 752994"/>
                <a:gd name="connsiteY227" fmla="*/ 432261 h 1333436"/>
                <a:gd name="connsiteX228" fmla="*/ 37365 w 752994"/>
                <a:gd name="connsiteY228" fmla="*/ 429198 h 1333436"/>
                <a:gd name="connsiteX229" fmla="*/ 36756 w 752994"/>
                <a:gd name="connsiteY229" fmla="*/ 422272 h 1333436"/>
                <a:gd name="connsiteX230" fmla="*/ 36952 w 752994"/>
                <a:gd name="connsiteY230" fmla="*/ 418800 h 1333436"/>
                <a:gd name="connsiteX231" fmla="*/ 36756 w 752994"/>
                <a:gd name="connsiteY231" fmla="*/ 412487 h 1333436"/>
                <a:gd name="connsiteX232" fmla="*/ 40433 w 752994"/>
                <a:gd name="connsiteY232" fmla="*/ 406174 h 1333436"/>
                <a:gd name="connsiteX233" fmla="*/ 44720 w 752994"/>
                <a:gd name="connsiteY233" fmla="*/ 399435 h 1333436"/>
                <a:gd name="connsiteX234" fmla="*/ 44110 w 752994"/>
                <a:gd name="connsiteY234" fmla="*/ 389651 h 1333436"/>
                <a:gd name="connsiteX235" fmla="*/ 43894 w 752994"/>
                <a:gd name="connsiteY235" fmla="*/ 378437 h 1333436"/>
                <a:gd name="connsiteX236" fmla="*/ 47158 w 752994"/>
                <a:gd name="connsiteY236" fmla="*/ 371102 h 1333436"/>
                <a:gd name="connsiteX237" fmla="*/ 55731 w 752994"/>
                <a:gd name="connsiteY237" fmla="*/ 360909 h 1333436"/>
                <a:gd name="connsiteX238" fmla="*/ 57580 w 752994"/>
                <a:gd name="connsiteY238" fmla="*/ 355804 h 1333436"/>
                <a:gd name="connsiteX239" fmla="*/ 62673 w 752994"/>
                <a:gd name="connsiteY239" fmla="*/ 349695 h 1333436"/>
                <a:gd name="connsiteX240" fmla="*/ 65937 w 752994"/>
                <a:gd name="connsiteY240" fmla="*/ 348470 h 1333436"/>
                <a:gd name="connsiteX241" fmla="*/ 68395 w 752994"/>
                <a:gd name="connsiteY241" fmla="*/ 348674 h 1333436"/>
                <a:gd name="connsiteX242" fmla="*/ 70224 w 752994"/>
                <a:gd name="connsiteY242" fmla="*/ 347449 h 1333436"/>
                <a:gd name="connsiteX243" fmla="*/ 67785 w 752994"/>
                <a:gd name="connsiteY243" fmla="*/ 345203 h 1333436"/>
                <a:gd name="connsiteX244" fmla="*/ 65524 w 752994"/>
                <a:gd name="connsiteY244" fmla="*/ 343178 h 1333436"/>
                <a:gd name="connsiteX245" fmla="*/ 73095 w 752994"/>
                <a:gd name="connsiteY245" fmla="*/ 333376 h 1333436"/>
                <a:gd name="connsiteX246" fmla="*/ 73291 w 752994"/>
                <a:gd name="connsiteY246" fmla="*/ 333376 h 1333436"/>
                <a:gd name="connsiteX247" fmla="*/ 77991 w 752994"/>
                <a:gd name="connsiteY247" fmla="*/ 325838 h 1333436"/>
                <a:gd name="connsiteX248" fmla="*/ 82671 w 752994"/>
                <a:gd name="connsiteY248" fmla="*/ 313619 h 1333436"/>
                <a:gd name="connsiteX249" fmla="*/ 87980 w 752994"/>
                <a:gd name="connsiteY249" fmla="*/ 303018 h 1333436"/>
                <a:gd name="connsiteX250" fmla="*/ 92267 w 752994"/>
                <a:gd name="connsiteY250" fmla="*/ 291191 h 1333436"/>
                <a:gd name="connsiteX251" fmla="*/ 96553 w 752994"/>
                <a:gd name="connsiteY251" fmla="*/ 281202 h 1333436"/>
                <a:gd name="connsiteX252" fmla="*/ 99621 w 752994"/>
                <a:gd name="connsiteY252" fmla="*/ 274481 h 1333436"/>
                <a:gd name="connsiteX253" fmla="*/ 103082 w 752994"/>
                <a:gd name="connsiteY253" fmla="*/ 262450 h 1333436"/>
                <a:gd name="connsiteX254" fmla="*/ 107172 w 752994"/>
                <a:gd name="connsiteY254" fmla="*/ 254299 h 1333436"/>
                <a:gd name="connsiteX255" fmla="*/ 112481 w 752994"/>
                <a:gd name="connsiteY255" fmla="*/ 243697 h 1333436"/>
                <a:gd name="connsiteX256" fmla="*/ 117181 w 752994"/>
                <a:gd name="connsiteY256" fmla="*/ 232279 h 1333436"/>
                <a:gd name="connsiteX257" fmla="*/ 125951 w 752994"/>
                <a:gd name="connsiteY257" fmla="*/ 217389 h 1333436"/>
                <a:gd name="connsiteX258" fmla="*/ 136156 w 752994"/>
                <a:gd name="connsiteY258" fmla="*/ 202925 h 1333436"/>
                <a:gd name="connsiteX259" fmla="*/ 138811 w 752994"/>
                <a:gd name="connsiteY259" fmla="*/ 183339 h 1333436"/>
                <a:gd name="connsiteX260" fmla="*/ 148801 w 752994"/>
                <a:gd name="connsiteY260" fmla="*/ 167445 h 1333436"/>
                <a:gd name="connsiteX261" fmla="*/ 159616 w 752994"/>
                <a:gd name="connsiteY261" fmla="*/ 170712 h 1333436"/>
                <a:gd name="connsiteX262" fmla="*/ 173105 w 752994"/>
                <a:gd name="connsiteY262" fmla="*/ 175188 h 1333436"/>
                <a:gd name="connsiteX263" fmla="*/ 175347 w 752994"/>
                <a:gd name="connsiteY263" fmla="*/ 175188 h 1333436"/>
                <a:gd name="connsiteX264" fmla="*/ 175347 w 752994"/>
                <a:gd name="connsiteY264" fmla="*/ 173758 h 1333436"/>
                <a:gd name="connsiteX265" fmla="*/ 184975 w 752994"/>
                <a:gd name="connsiteY265" fmla="*/ 187393 h 1333436"/>
                <a:gd name="connsiteX266" fmla="*/ 184762 w 752994"/>
                <a:gd name="connsiteY266" fmla="*/ 184637 h 1333436"/>
                <a:gd name="connsiteX267" fmla="*/ 174971 w 752994"/>
                <a:gd name="connsiteY267" fmla="*/ 170774 h 1333436"/>
                <a:gd name="connsiteX268" fmla="*/ 174971 w 752994"/>
                <a:gd name="connsiteY268" fmla="*/ 169550 h 1333436"/>
                <a:gd name="connsiteX269" fmla="*/ 158851 w 752994"/>
                <a:gd name="connsiteY269" fmla="*/ 156924 h 1333436"/>
                <a:gd name="connsiteX270" fmla="*/ 147025 w 752994"/>
                <a:gd name="connsiteY270" fmla="*/ 145709 h 1333436"/>
                <a:gd name="connsiteX271" fmla="*/ 154364 w 752994"/>
                <a:gd name="connsiteY271" fmla="*/ 136335 h 1333436"/>
                <a:gd name="connsiteX272" fmla="*/ 161511 w 752994"/>
                <a:gd name="connsiteY272" fmla="*/ 131042 h 1333436"/>
                <a:gd name="connsiteX273" fmla="*/ 160902 w 752994"/>
                <a:gd name="connsiteY273" fmla="*/ 128384 h 1333436"/>
                <a:gd name="connsiteX274" fmla="*/ 160277 w 752994"/>
                <a:gd name="connsiteY274" fmla="*/ 127778 h 1333436"/>
                <a:gd name="connsiteX275" fmla="*/ 154973 w 752994"/>
                <a:gd name="connsiteY275" fmla="*/ 122077 h 1333436"/>
                <a:gd name="connsiteX276" fmla="*/ 160277 w 752994"/>
                <a:gd name="connsiteY276" fmla="*/ 115140 h 1333436"/>
                <a:gd name="connsiteX277" fmla="*/ 165181 w 752994"/>
                <a:gd name="connsiteY277" fmla="*/ 108215 h 1333436"/>
                <a:gd name="connsiteX278" fmla="*/ 161303 w 752994"/>
                <a:gd name="connsiteY278" fmla="*/ 104146 h 1333436"/>
                <a:gd name="connsiteX279" fmla="*/ 157842 w 752994"/>
                <a:gd name="connsiteY279" fmla="*/ 104542 h 1333436"/>
                <a:gd name="connsiteX280" fmla="*/ 157024 w 752994"/>
                <a:gd name="connsiteY280" fmla="*/ 102304 h 1333436"/>
                <a:gd name="connsiteX281" fmla="*/ 160694 w 752994"/>
                <a:gd name="connsiteY281" fmla="*/ 55437 h 1333436"/>
                <a:gd name="connsiteX282" fmla="*/ 160486 w 752994"/>
                <a:gd name="connsiteY282" fmla="*/ 31991 h 1333436"/>
                <a:gd name="connsiteX283" fmla="*/ 164972 w 752994"/>
                <a:gd name="connsiteY283" fmla="*/ 18141 h 1333436"/>
                <a:gd name="connsiteX284" fmla="*/ 171911 w 752994"/>
                <a:gd name="connsiteY284" fmla="*/ 11204 h 1333436"/>
                <a:gd name="connsiteX285" fmla="*/ 187406 w 752994"/>
                <a:gd name="connsiteY285" fmla="*/ 21801 h 1333436"/>
                <a:gd name="connsiteX286" fmla="*/ 210866 w 752994"/>
                <a:gd name="connsiteY286" fmla="*/ 37086 h 1333436"/>
                <a:gd name="connsiteX287" fmla="*/ 219230 w 752994"/>
                <a:gd name="connsiteY287" fmla="*/ 41166 h 1333436"/>
                <a:gd name="connsiteX288" fmla="*/ 226778 w 752994"/>
                <a:gd name="connsiteY288" fmla="*/ 47486 h 1333436"/>
                <a:gd name="connsiteX289" fmla="*/ 236152 w 752994"/>
                <a:gd name="connsiteY289" fmla="*/ 52370 h 1333436"/>
                <a:gd name="connsiteX290" fmla="*/ 239629 w 752994"/>
                <a:gd name="connsiteY290" fmla="*/ 58491 h 1333436"/>
                <a:gd name="connsiteX291" fmla="*/ 239629 w 752994"/>
                <a:gd name="connsiteY291" fmla="*/ 63376 h 1333436"/>
                <a:gd name="connsiteX292" fmla="*/ 236568 w 752994"/>
                <a:gd name="connsiteY292" fmla="*/ 67457 h 1333436"/>
                <a:gd name="connsiteX293" fmla="*/ 231264 w 752994"/>
                <a:gd name="connsiteY293" fmla="*/ 69905 h 1333436"/>
                <a:gd name="connsiteX294" fmla="*/ 216778 w 752994"/>
                <a:gd name="connsiteY294" fmla="*/ 82741 h 1333436"/>
                <a:gd name="connsiteX295" fmla="*/ 214134 w 752994"/>
                <a:gd name="connsiteY295" fmla="*/ 93536 h 1333436"/>
                <a:gd name="connsiteX296" fmla="*/ 214535 w 752994"/>
                <a:gd name="connsiteY296" fmla="*/ 96801 h 1333436"/>
                <a:gd name="connsiteX297" fmla="*/ 216378 w 752994"/>
                <a:gd name="connsiteY297" fmla="*/ 96801 h 1333436"/>
                <a:gd name="connsiteX298" fmla="*/ 230046 w 752994"/>
                <a:gd name="connsiteY298" fmla="*/ 85387 h 1333436"/>
                <a:gd name="connsiteX299" fmla="*/ 243298 w 752994"/>
                <a:gd name="connsiteY299" fmla="*/ 75198 h 1333436"/>
                <a:gd name="connsiteX300" fmla="*/ 246760 w 752994"/>
                <a:gd name="connsiteY300" fmla="*/ 77646 h 1333436"/>
                <a:gd name="connsiteX301" fmla="*/ 255541 w 752994"/>
                <a:gd name="connsiteY301" fmla="*/ 63376 h 1333436"/>
                <a:gd name="connsiteX302" fmla="*/ 259611 w 752994"/>
                <a:gd name="connsiteY302" fmla="*/ 43405 h 1333436"/>
                <a:gd name="connsiteX303" fmla="*/ 256967 w 752994"/>
                <a:gd name="connsiteY303" fmla="*/ 38520 h 1333436"/>
                <a:gd name="connsiteX304" fmla="*/ 253906 w 752994"/>
                <a:gd name="connsiteY304" fmla="*/ 34242 h 1333436"/>
                <a:gd name="connsiteX305" fmla="*/ 256967 w 752994"/>
                <a:gd name="connsiteY305" fmla="*/ 30161 h 1333436"/>
                <a:gd name="connsiteX306" fmla="*/ 262063 w 752994"/>
                <a:gd name="connsiteY306" fmla="*/ 27712 h 1333436"/>
                <a:gd name="connsiteX307" fmla="*/ 264915 w 752994"/>
                <a:gd name="connsiteY307" fmla="*/ 23026 h 1333436"/>
                <a:gd name="connsiteX308" fmla="*/ 267976 w 752994"/>
                <a:gd name="connsiteY308" fmla="*/ 22618 h 1333436"/>
                <a:gd name="connsiteX309" fmla="*/ 270427 w 752994"/>
                <a:gd name="connsiteY309" fmla="*/ 20787 h 1333436"/>
                <a:gd name="connsiteX310" fmla="*/ 263088 w 752994"/>
                <a:gd name="connsiteY310" fmla="*/ 13652 h 1333436"/>
                <a:gd name="connsiteX311" fmla="*/ 255541 w 752994"/>
                <a:gd name="connsiteY311" fmla="*/ 3055 h 1333436"/>
                <a:gd name="connsiteX312" fmla="*/ 256358 w 752994"/>
                <a:gd name="connsiteY312" fmla="*/ 1224 h 1333436"/>
                <a:gd name="connsiteX313" fmla="*/ 257159 w 752994"/>
                <a:gd name="connsiteY313"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58210 w 752994"/>
                <a:gd name="connsiteY12" fmla="*/ 244906 h 1333436"/>
                <a:gd name="connsiteX13" fmla="*/ 263303 w 752994"/>
                <a:gd name="connsiteY13" fmla="*/ 246131 h 1333436"/>
                <a:gd name="connsiteX14" fmla="*/ 269438 w 752994"/>
                <a:gd name="connsiteY14" fmla="*/ 243697 h 1333436"/>
                <a:gd name="connsiteX15" fmla="*/ 274944 w 752994"/>
                <a:gd name="connsiteY15" fmla="*/ 241451 h 1333436"/>
                <a:gd name="connsiteX16" fmla="*/ 289240 w 752994"/>
                <a:gd name="connsiteY16" fmla="*/ 250419 h 1333436"/>
                <a:gd name="connsiteX17" fmla="*/ 195162 w 752994"/>
                <a:gd name="connsiteY17" fmla="*/ 228857 h 1333436"/>
                <a:gd name="connsiteX18" fmla="*/ 188223 w 752994"/>
                <a:gd name="connsiteY18" fmla="*/ 223973 h 1333436"/>
                <a:gd name="connsiteX19" fmla="*/ 185163 w 752994"/>
                <a:gd name="connsiteY19" fmla="*/ 219484 h 1333436"/>
                <a:gd name="connsiteX20" fmla="*/ 184180 w 752994"/>
                <a:gd name="connsiteY20" fmla="*/ 213866 h 1333436"/>
                <a:gd name="connsiteX21" fmla="*/ 257159 w 752994"/>
                <a:gd name="connsiteY21" fmla="*/ 0 h 1333436"/>
                <a:gd name="connsiteX22" fmla="*/ 493147 w 752994"/>
                <a:gd name="connsiteY22" fmla="*/ 73157 h 1333436"/>
                <a:gd name="connsiteX23" fmla="*/ 492970 w 752994"/>
                <a:gd name="connsiteY23" fmla="*/ 73792 h 1333436"/>
                <a:gd name="connsiteX24" fmla="*/ 525816 w 752994"/>
                <a:gd name="connsiteY24" fmla="*/ 82491 h 1333436"/>
                <a:gd name="connsiteX25" fmla="*/ 520098 w 752994"/>
                <a:gd name="connsiteY25" fmla="*/ 111245 h 1333436"/>
                <a:gd name="connsiteX26" fmla="*/ 512552 w 752994"/>
                <a:gd name="connsiteY26" fmla="*/ 143854 h 1333436"/>
                <a:gd name="connsiteX27" fmla="*/ 517849 w 752994"/>
                <a:gd name="connsiteY27" fmla="*/ 157740 h 1333436"/>
                <a:gd name="connsiteX28" fmla="*/ 523160 w 752994"/>
                <a:gd name="connsiteY28" fmla="*/ 172009 h 1333436"/>
                <a:gd name="connsiteX29" fmla="*/ 521535 w 752994"/>
                <a:gd name="connsiteY29" fmla="*/ 178928 h 1333436"/>
                <a:gd name="connsiteX30" fmla="*/ 520098 w 752994"/>
                <a:gd name="connsiteY30" fmla="*/ 186279 h 1333436"/>
                <a:gd name="connsiteX31" fmla="*/ 526019 w 752994"/>
                <a:gd name="connsiteY31" fmla="*/ 193629 h 1333436"/>
                <a:gd name="connsiteX32" fmla="*/ 537251 w 752994"/>
                <a:gd name="connsiteY32" fmla="*/ 206270 h 1333436"/>
                <a:gd name="connsiteX33" fmla="*/ 542765 w 752994"/>
                <a:gd name="connsiteY33" fmla="*/ 217475 h 1333436"/>
                <a:gd name="connsiteX34" fmla="*/ 546857 w 752994"/>
                <a:gd name="connsiteY34" fmla="*/ 230930 h 1333436"/>
                <a:gd name="connsiteX35" fmla="*/ 549499 w 752994"/>
                <a:gd name="connsiteY35" fmla="*/ 235622 h 1333436"/>
                <a:gd name="connsiteX36" fmla="*/ 553388 w 752994"/>
                <a:gd name="connsiteY36" fmla="*/ 240722 h 1333436"/>
                <a:gd name="connsiteX37" fmla="*/ 557465 w 752994"/>
                <a:gd name="connsiteY37" fmla="*/ 246037 h 1333436"/>
                <a:gd name="connsiteX38" fmla="*/ 561761 w 752994"/>
                <a:gd name="connsiteY38" fmla="*/ 248671 h 1333436"/>
                <a:gd name="connsiteX39" fmla="*/ 567478 w 752994"/>
                <a:gd name="connsiteY39" fmla="*/ 247665 h 1333436"/>
                <a:gd name="connsiteX40" fmla="*/ 569931 w 752994"/>
                <a:gd name="connsiteY40" fmla="*/ 249293 h 1333436"/>
                <a:gd name="connsiteX41" fmla="*/ 570540 w 752994"/>
                <a:gd name="connsiteY41" fmla="*/ 251951 h 1333436"/>
                <a:gd name="connsiteX42" fmla="*/ 561964 w 752994"/>
                <a:gd name="connsiteY42" fmla="*/ 267656 h 1333436"/>
                <a:gd name="connsiteX43" fmla="*/ 553591 w 752994"/>
                <a:gd name="connsiteY43" fmla="*/ 289659 h 1333436"/>
                <a:gd name="connsiteX44" fmla="*/ 554810 w 752994"/>
                <a:gd name="connsiteY44" fmla="*/ 292939 h 1333436"/>
                <a:gd name="connsiteX45" fmla="*/ 556246 w 752994"/>
                <a:gd name="connsiteY45" fmla="*/ 299260 h 1333436"/>
                <a:gd name="connsiteX46" fmla="*/ 552778 w 752994"/>
                <a:gd name="connsiteY46" fmla="*/ 301917 h 1333436"/>
                <a:gd name="connsiteX47" fmla="*/ 549295 w 752994"/>
                <a:gd name="connsiteY47" fmla="*/ 306993 h 1333436"/>
                <a:gd name="connsiteX48" fmla="*/ 547061 w 752994"/>
                <a:gd name="connsiteY48" fmla="*/ 313122 h 1333436"/>
                <a:gd name="connsiteX49" fmla="*/ 544811 w 752994"/>
                <a:gd name="connsiteY49" fmla="*/ 316593 h 1333436"/>
                <a:gd name="connsiteX50" fmla="*/ 549919 w 752994"/>
                <a:gd name="connsiteY50" fmla="*/ 322698 h 1333436"/>
                <a:gd name="connsiteX51" fmla="*/ 553184 w 752994"/>
                <a:gd name="connsiteY51" fmla="*/ 325955 h 1333436"/>
                <a:gd name="connsiteX52" fmla="*/ 555840 w 752994"/>
                <a:gd name="connsiteY52" fmla="*/ 328205 h 1333436"/>
                <a:gd name="connsiteX53" fmla="*/ 574212 w 752994"/>
                <a:gd name="connsiteY53" fmla="*/ 318820 h 1333436"/>
                <a:gd name="connsiteX54" fmla="*/ 579523 w 752994"/>
                <a:gd name="connsiteY54" fmla="*/ 326577 h 1333436"/>
                <a:gd name="connsiteX55" fmla="*/ 580539 w 752994"/>
                <a:gd name="connsiteY55" fmla="*/ 334933 h 1333436"/>
                <a:gd name="connsiteX56" fmla="*/ 579726 w 752994"/>
                <a:gd name="connsiteY56" fmla="*/ 343097 h 1333436"/>
                <a:gd name="connsiteX57" fmla="*/ 581366 w 752994"/>
                <a:gd name="connsiteY57" fmla="*/ 350231 h 1333436"/>
                <a:gd name="connsiteX58" fmla="*/ 586256 w 752994"/>
                <a:gd name="connsiteY58" fmla="*/ 355930 h 1333436"/>
                <a:gd name="connsiteX59" fmla="*/ 589536 w 752994"/>
                <a:gd name="connsiteY59" fmla="*/ 362059 h 1333436"/>
                <a:gd name="connsiteX60" fmla="*/ 588099 w 752994"/>
                <a:gd name="connsiteY60" fmla="*/ 369600 h 1333436"/>
                <a:gd name="connsiteX61" fmla="*/ 586459 w 752994"/>
                <a:gd name="connsiteY61" fmla="*/ 377357 h 1333436"/>
                <a:gd name="connsiteX62" fmla="*/ 588709 w 752994"/>
                <a:gd name="connsiteY62" fmla="*/ 381835 h 1333436"/>
                <a:gd name="connsiteX63" fmla="*/ 595036 w 752994"/>
                <a:gd name="connsiteY63" fmla="*/ 382457 h 1333436"/>
                <a:gd name="connsiteX64" fmla="*/ 599331 w 752994"/>
                <a:gd name="connsiteY64" fmla="*/ 385306 h 1333436"/>
                <a:gd name="connsiteX65" fmla="*/ 601987 w 752994"/>
                <a:gd name="connsiteY65" fmla="*/ 391004 h 1333436"/>
                <a:gd name="connsiteX66" fmla="*/ 602799 w 752994"/>
                <a:gd name="connsiteY66" fmla="*/ 404076 h 1333436"/>
                <a:gd name="connsiteX67" fmla="*/ 606892 w 752994"/>
                <a:gd name="connsiteY67" fmla="*/ 415688 h 1333436"/>
                <a:gd name="connsiteX68" fmla="*/ 610563 w 752994"/>
                <a:gd name="connsiteY68" fmla="*/ 412217 h 1333436"/>
                <a:gd name="connsiteX69" fmla="*/ 617920 w 752994"/>
                <a:gd name="connsiteY69" fmla="*/ 408769 h 1333436"/>
                <a:gd name="connsiteX70" fmla="*/ 624654 w 752994"/>
                <a:gd name="connsiteY70" fmla="*/ 411211 h 1333436"/>
                <a:gd name="connsiteX71" fmla="*/ 634652 w 752994"/>
                <a:gd name="connsiteY71" fmla="*/ 410182 h 1333436"/>
                <a:gd name="connsiteX72" fmla="*/ 640573 w 752994"/>
                <a:gd name="connsiteY72" fmla="*/ 407739 h 1333436"/>
                <a:gd name="connsiteX73" fmla="*/ 646711 w 752994"/>
                <a:gd name="connsiteY73" fmla="*/ 410589 h 1333436"/>
                <a:gd name="connsiteX74" fmla="*/ 650383 w 752994"/>
                <a:gd name="connsiteY74" fmla="*/ 410589 h 1333436"/>
                <a:gd name="connsiteX75" fmla="*/ 654257 w 752994"/>
                <a:gd name="connsiteY75" fmla="*/ 411618 h 1333436"/>
                <a:gd name="connsiteX76" fmla="*/ 656913 w 752994"/>
                <a:gd name="connsiteY76" fmla="*/ 413653 h 1333436"/>
                <a:gd name="connsiteX77" fmla="*/ 660802 w 752994"/>
                <a:gd name="connsiteY77" fmla="*/ 415090 h 1333436"/>
                <a:gd name="connsiteX78" fmla="*/ 669581 w 752994"/>
                <a:gd name="connsiteY78" fmla="*/ 415904 h 1333436"/>
                <a:gd name="connsiteX79" fmla="*/ 672237 w 752994"/>
                <a:gd name="connsiteY79" fmla="*/ 415688 h 1333436"/>
                <a:gd name="connsiteX80" fmla="*/ 675705 w 752994"/>
                <a:gd name="connsiteY80" fmla="*/ 409367 h 1333436"/>
                <a:gd name="connsiteX81" fmla="*/ 679986 w 752994"/>
                <a:gd name="connsiteY81" fmla="*/ 403238 h 1333436"/>
                <a:gd name="connsiteX82" fmla="*/ 693264 w 752994"/>
                <a:gd name="connsiteY82" fmla="*/ 419567 h 1333436"/>
                <a:gd name="connsiteX83" fmla="*/ 688563 w 752994"/>
                <a:gd name="connsiteY83" fmla="*/ 448321 h 1333436"/>
                <a:gd name="connsiteX84" fmla="*/ 663949 w 752994"/>
                <a:gd name="connsiteY84" fmla="*/ 590165 h 1333436"/>
                <a:gd name="connsiteX85" fmla="*/ 666304 w 752994"/>
                <a:gd name="connsiteY85" fmla="*/ 590504 h 1333436"/>
                <a:gd name="connsiteX86" fmla="*/ 655288 w 752994"/>
                <a:gd name="connsiteY86" fmla="*/ 656178 h 1333436"/>
                <a:gd name="connsiteX87" fmla="*/ 681808 w 752994"/>
                <a:gd name="connsiteY87" fmla="*/ 662301 h 1333436"/>
                <a:gd name="connsiteX88" fmla="*/ 752994 w 752994"/>
                <a:gd name="connsiteY88" fmla="*/ 675560 h 1333436"/>
                <a:gd name="connsiteX89" fmla="*/ 714651 w 752994"/>
                <a:gd name="connsiteY89" fmla="*/ 946985 h 1333436"/>
                <a:gd name="connsiteX90" fmla="*/ 654533 w 752994"/>
                <a:gd name="connsiteY90" fmla="*/ 1333436 h 1333436"/>
                <a:gd name="connsiteX91" fmla="*/ 546831 w 752994"/>
                <a:gd name="connsiteY91" fmla="*/ 1317126 h 1333436"/>
                <a:gd name="connsiteX92" fmla="*/ 351227 w 752994"/>
                <a:gd name="connsiteY92" fmla="*/ 1194172 h 1333436"/>
                <a:gd name="connsiteX93" fmla="*/ 361011 w 752994"/>
                <a:gd name="connsiteY93" fmla="*/ 1182755 h 1333436"/>
                <a:gd name="connsiteX94" fmla="*/ 368981 w 752994"/>
                <a:gd name="connsiteY94" fmla="*/ 1182130 h 1333436"/>
                <a:gd name="connsiteX95" fmla="*/ 369571 w 752994"/>
                <a:gd name="connsiteY95" fmla="*/ 1181558 h 1333436"/>
                <a:gd name="connsiteX96" fmla="*/ 362372 w 752994"/>
                <a:gd name="connsiteY96" fmla="*/ 1182120 h 1333436"/>
                <a:gd name="connsiteX97" fmla="*/ 229464 w 752994"/>
                <a:gd name="connsiteY97" fmla="*/ 1161721 h 1333436"/>
                <a:gd name="connsiteX98" fmla="*/ 227427 w 752994"/>
                <a:gd name="connsiteY98" fmla="*/ 1157269 h 1333436"/>
                <a:gd name="connsiteX99" fmla="*/ 224967 w 752994"/>
                <a:gd name="connsiteY99" fmla="*/ 1152575 h 1333436"/>
                <a:gd name="connsiteX100" fmla="*/ 225582 w 752994"/>
                <a:gd name="connsiteY100" fmla="*/ 1144808 h 1333436"/>
                <a:gd name="connsiteX101" fmla="*/ 227215 w 752994"/>
                <a:gd name="connsiteY101" fmla="*/ 1135834 h 1333436"/>
                <a:gd name="connsiteX102" fmla="*/ 227215 w 752994"/>
                <a:gd name="connsiteY102" fmla="*/ 1134212 h 1333436"/>
                <a:gd name="connsiteX103" fmla="*/ 225179 w 752994"/>
                <a:gd name="connsiteY103" fmla="*/ 1114020 h 1333436"/>
                <a:gd name="connsiteX104" fmla="*/ 217839 w 752994"/>
                <a:gd name="connsiteY104" fmla="*/ 1100352 h 1333436"/>
                <a:gd name="connsiteX105" fmla="*/ 199661 w 752994"/>
                <a:gd name="connsiteY105" fmla="*/ 1076502 h 1333436"/>
                <a:gd name="connsiteX106" fmla="*/ 196395 w 752994"/>
                <a:gd name="connsiteY106" fmla="*/ 1071807 h 1333436"/>
                <a:gd name="connsiteX107" fmla="*/ 190880 w 752994"/>
                <a:gd name="connsiteY107" fmla="*/ 1067527 h 1333436"/>
                <a:gd name="connsiteX108" fmla="*/ 187210 w 752994"/>
                <a:gd name="connsiteY108" fmla="*/ 1068735 h 1333436"/>
                <a:gd name="connsiteX109" fmla="*/ 180062 w 752994"/>
                <a:gd name="connsiteY109" fmla="*/ 1066699 h 1333436"/>
                <a:gd name="connsiteX110" fmla="*/ 180466 w 752994"/>
                <a:gd name="connsiteY110" fmla="*/ 1053031 h 1333436"/>
                <a:gd name="connsiteX111" fmla="*/ 180062 w 752994"/>
                <a:gd name="connsiteY111" fmla="*/ 1045299 h 1333436"/>
                <a:gd name="connsiteX112" fmla="*/ 174144 w 752994"/>
                <a:gd name="connsiteY112" fmla="*/ 1044057 h 1333436"/>
                <a:gd name="connsiteX113" fmla="*/ 158426 w 752994"/>
                <a:gd name="connsiteY113" fmla="*/ 1042641 h 1333436"/>
                <a:gd name="connsiteX114" fmla="*/ 149857 w 752994"/>
                <a:gd name="connsiteY114" fmla="*/ 1035497 h 1333436"/>
                <a:gd name="connsiteX115" fmla="*/ 142497 w 752994"/>
                <a:gd name="connsiteY115" fmla="*/ 1028766 h 1333436"/>
                <a:gd name="connsiteX116" fmla="*/ 140864 w 752994"/>
                <a:gd name="connsiteY116" fmla="*/ 1020620 h 1333436"/>
                <a:gd name="connsiteX117" fmla="*/ 138212 w 752994"/>
                <a:gd name="connsiteY117" fmla="*/ 1013061 h 1333436"/>
                <a:gd name="connsiteX118" fmla="*/ 131064 w 752994"/>
                <a:gd name="connsiteY118" fmla="*/ 1007159 h 1333436"/>
                <a:gd name="connsiteX119" fmla="*/ 121264 w 752994"/>
                <a:gd name="connsiteY119" fmla="*/ 1005330 h 1333436"/>
                <a:gd name="connsiteX120" fmla="*/ 112483 w 752994"/>
                <a:gd name="connsiteY120" fmla="*/ 1001671 h 1333436"/>
                <a:gd name="connsiteX121" fmla="*/ 105950 w 752994"/>
                <a:gd name="connsiteY121" fmla="*/ 995734 h 1333436"/>
                <a:gd name="connsiteX122" fmla="*/ 97380 w 752994"/>
                <a:gd name="connsiteY122" fmla="*/ 994526 h 1333436"/>
                <a:gd name="connsiteX123" fmla="*/ 87984 w 752994"/>
                <a:gd name="connsiteY123" fmla="*/ 991040 h 1333436"/>
                <a:gd name="connsiteX124" fmla="*/ 80029 w 752994"/>
                <a:gd name="connsiteY124" fmla="*/ 985138 h 1333436"/>
                <a:gd name="connsiteX125" fmla="*/ 77166 w 752994"/>
                <a:gd name="connsiteY125" fmla="*/ 976164 h 1333436"/>
                <a:gd name="connsiteX126" fmla="*/ 79203 w 752994"/>
                <a:gd name="connsiteY126" fmla="*/ 970676 h 1333436"/>
                <a:gd name="connsiteX127" fmla="*/ 82470 w 752994"/>
                <a:gd name="connsiteY127" fmla="*/ 963117 h 1333436"/>
                <a:gd name="connsiteX128" fmla="*/ 84314 w 752994"/>
                <a:gd name="connsiteY128" fmla="*/ 954557 h 1333436"/>
                <a:gd name="connsiteX129" fmla="*/ 86351 w 752994"/>
                <a:gd name="connsiteY129" fmla="*/ 948033 h 1333436"/>
                <a:gd name="connsiteX130" fmla="*/ 86159 w 752994"/>
                <a:gd name="connsiteY130" fmla="*/ 942925 h 1333436"/>
                <a:gd name="connsiteX131" fmla="*/ 83085 w 752994"/>
                <a:gd name="connsiteY131" fmla="*/ 939853 h 1333436"/>
                <a:gd name="connsiteX132" fmla="*/ 77570 w 752994"/>
                <a:gd name="connsiteY132" fmla="*/ 937437 h 1333436"/>
                <a:gd name="connsiteX133" fmla="*/ 76763 w 752994"/>
                <a:gd name="connsiteY133" fmla="*/ 931915 h 1333436"/>
                <a:gd name="connsiteX134" fmla="*/ 78800 w 752994"/>
                <a:gd name="connsiteY134" fmla="*/ 927013 h 1333436"/>
                <a:gd name="connsiteX135" fmla="*/ 79626 w 752994"/>
                <a:gd name="connsiteY135" fmla="*/ 922526 h 1333436"/>
                <a:gd name="connsiteX136" fmla="*/ 77781 w 752994"/>
                <a:gd name="connsiteY136" fmla="*/ 919903 h 1333436"/>
                <a:gd name="connsiteX137" fmla="*/ 74303 w 752994"/>
                <a:gd name="connsiteY137" fmla="*/ 917418 h 1333436"/>
                <a:gd name="connsiteX138" fmla="*/ 71863 w 752994"/>
                <a:gd name="connsiteY138" fmla="*/ 915174 h 1333436"/>
                <a:gd name="connsiteX139" fmla="*/ 71652 w 752994"/>
                <a:gd name="connsiteY139" fmla="*/ 910894 h 1333436"/>
                <a:gd name="connsiteX140" fmla="*/ 70633 w 752994"/>
                <a:gd name="connsiteY140" fmla="*/ 906614 h 1333436"/>
                <a:gd name="connsiteX141" fmla="*/ 68385 w 752994"/>
                <a:gd name="connsiteY141" fmla="*/ 902749 h 1333436"/>
                <a:gd name="connsiteX142" fmla="*/ 61045 w 752994"/>
                <a:gd name="connsiteY142" fmla="*/ 889494 h 1333436"/>
                <a:gd name="connsiteX143" fmla="*/ 57971 w 752994"/>
                <a:gd name="connsiteY143" fmla="*/ 875619 h 1333436"/>
                <a:gd name="connsiteX144" fmla="*/ 52264 w 752994"/>
                <a:gd name="connsiteY144" fmla="*/ 862572 h 1333436"/>
                <a:gd name="connsiteX145" fmla="*/ 44309 w 752994"/>
                <a:gd name="connsiteY145" fmla="*/ 850561 h 1333436"/>
                <a:gd name="connsiteX146" fmla="*/ 45520 w 752994"/>
                <a:gd name="connsiteY146" fmla="*/ 827090 h 1333436"/>
                <a:gd name="connsiteX147" fmla="*/ 53071 w 752994"/>
                <a:gd name="connsiteY147" fmla="*/ 822396 h 1333436"/>
                <a:gd name="connsiteX148" fmla="*/ 57375 w 752994"/>
                <a:gd name="connsiteY148" fmla="*/ 816493 h 1333436"/>
                <a:gd name="connsiteX149" fmla="*/ 55319 w 752994"/>
                <a:gd name="connsiteY149" fmla="*/ 801617 h 1333436"/>
                <a:gd name="connsiteX150" fmla="*/ 48383 w 752994"/>
                <a:gd name="connsiteY150" fmla="*/ 802204 h 1333436"/>
                <a:gd name="connsiteX151" fmla="*/ 40428 w 752994"/>
                <a:gd name="connsiteY151" fmla="*/ 797924 h 1333436"/>
                <a:gd name="connsiteX152" fmla="*/ 37565 w 752994"/>
                <a:gd name="connsiteY152" fmla="*/ 790606 h 1333436"/>
                <a:gd name="connsiteX153" fmla="*/ 37565 w 752994"/>
                <a:gd name="connsiteY153" fmla="*/ 790399 h 1333436"/>
                <a:gd name="connsiteX154" fmla="*/ 35931 w 752994"/>
                <a:gd name="connsiteY154" fmla="*/ 785912 h 1333436"/>
                <a:gd name="connsiteX155" fmla="*/ 34510 w 752994"/>
                <a:gd name="connsiteY155" fmla="*/ 780597 h 1333436"/>
                <a:gd name="connsiteX156" fmla="*/ 36335 w 752994"/>
                <a:gd name="connsiteY156" fmla="*/ 774280 h 1333436"/>
                <a:gd name="connsiteX157" fmla="*/ 38180 w 752994"/>
                <a:gd name="connsiteY157" fmla="*/ 766721 h 1333436"/>
                <a:gd name="connsiteX158" fmla="*/ 37161 w 752994"/>
                <a:gd name="connsiteY158" fmla="*/ 760405 h 1333436"/>
                <a:gd name="connsiteX159" fmla="*/ 35720 w 752994"/>
                <a:gd name="connsiteY159" fmla="*/ 754710 h 1333436"/>
                <a:gd name="connsiteX160" fmla="*/ 36546 w 752994"/>
                <a:gd name="connsiteY160" fmla="*/ 748773 h 1333436"/>
                <a:gd name="connsiteX161" fmla="*/ 38372 w 752994"/>
                <a:gd name="connsiteY161" fmla="*/ 744528 h 1333436"/>
                <a:gd name="connsiteX162" fmla="*/ 41638 w 752994"/>
                <a:gd name="connsiteY162" fmla="*/ 744321 h 1333436"/>
                <a:gd name="connsiteX163" fmla="*/ 44713 w 752994"/>
                <a:gd name="connsiteY163" fmla="*/ 746357 h 1333436"/>
                <a:gd name="connsiteX164" fmla="*/ 47364 w 752994"/>
                <a:gd name="connsiteY164" fmla="*/ 753260 h 1333436"/>
                <a:gd name="connsiteX165" fmla="*/ 55742 w 752994"/>
                <a:gd name="connsiteY165" fmla="*/ 764305 h 1333436"/>
                <a:gd name="connsiteX166" fmla="*/ 56338 w 752994"/>
                <a:gd name="connsiteY166" fmla="*/ 761233 h 1333436"/>
                <a:gd name="connsiteX167" fmla="*/ 56145 w 752994"/>
                <a:gd name="connsiteY167" fmla="*/ 757368 h 1333436"/>
                <a:gd name="connsiteX168" fmla="*/ 54916 w 752994"/>
                <a:gd name="connsiteY168" fmla="*/ 748601 h 1333436"/>
                <a:gd name="connsiteX169" fmla="*/ 52879 w 752994"/>
                <a:gd name="connsiteY169" fmla="*/ 747358 h 1333436"/>
                <a:gd name="connsiteX170" fmla="*/ 51649 w 752994"/>
                <a:gd name="connsiteY170" fmla="*/ 745322 h 1333436"/>
                <a:gd name="connsiteX171" fmla="*/ 51649 w 752994"/>
                <a:gd name="connsiteY171" fmla="*/ 739212 h 1333436"/>
                <a:gd name="connsiteX172" fmla="*/ 50227 w 752994"/>
                <a:gd name="connsiteY172" fmla="*/ 734725 h 1333436"/>
                <a:gd name="connsiteX173" fmla="*/ 48786 w 752994"/>
                <a:gd name="connsiteY173" fmla="*/ 731446 h 1333436"/>
                <a:gd name="connsiteX174" fmla="*/ 54512 w 752994"/>
                <a:gd name="connsiteY174" fmla="*/ 726372 h 1333436"/>
                <a:gd name="connsiteX175" fmla="*/ 59815 w 752994"/>
                <a:gd name="connsiteY175" fmla="*/ 725130 h 1333436"/>
                <a:gd name="connsiteX176" fmla="*/ 58182 w 752994"/>
                <a:gd name="connsiteY176" fmla="*/ 722886 h 1333436"/>
                <a:gd name="connsiteX177" fmla="*/ 51861 w 752994"/>
                <a:gd name="connsiteY177" fmla="*/ 717985 h 1333436"/>
                <a:gd name="connsiteX178" fmla="*/ 46749 w 752994"/>
                <a:gd name="connsiteY178" fmla="*/ 729617 h 1333436"/>
                <a:gd name="connsiteX179" fmla="*/ 40831 w 752994"/>
                <a:gd name="connsiteY179" fmla="*/ 739212 h 1333436"/>
                <a:gd name="connsiteX180" fmla="*/ 39601 w 752994"/>
                <a:gd name="connsiteY180" fmla="*/ 738798 h 1333436"/>
                <a:gd name="connsiteX181" fmla="*/ 39409 w 752994"/>
                <a:gd name="connsiteY181" fmla="*/ 738591 h 1333436"/>
                <a:gd name="connsiteX182" fmla="*/ 37161 w 752994"/>
                <a:gd name="connsiteY182" fmla="*/ 734725 h 1333436"/>
                <a:gd name="connsiteX183" fmla="*/ 32665 w 752994"/>
                <a:gd name="connsiteY183" fmla="*/ 727788 h 1333436"/>
                <a:gd name="connsiteX184" fmla="*/ 26747 w 752994"/>
                <a:gd name="connsiteY184" fmla="*/ 719435 h 1333436"/>
                <a:gd name="connsiteX185" fmla="*/ 23884 w 752994"/>
                <a:gd name="connsiteY185" fmla="*/ 717812 h 1333436"/>
                <a:gd name="connsiteX186" fmla="*/ 24710 w 752994"/>
                <a:gd name="connsiteY186" fmla="*/ 709632 h 1333436"/>
                <a:gd name="connsiteX187" fmla="*/ 27554 w 752994"/>
                <a:gd name="connsiteY187" fmla="*/ 701694 h 1333436"/>
                <a:gd name="connsiteX188" fmla="*/ 24902 w 752994"/>
                <a:gd name="connsiteY188" fmla="*/ 696171 h 1333436"/>
                <a:gd name="connsiteX189" fmla="*/ 24095 w 752994"/>
                <a:gd name="connsiteY189" fmla="*/ 687818 h 1333436"/>
                <a:gd name="connsiteX190" fmla="*/ 22462 w 752994"/>
                <a:gd name="connsiteY190" fmla="*/ 682330 h 1333436"/>
                <a:gd name="connsiteX191" fmla="*/ 17159 w 752994"/>
                <a:gd name="connsiteY191" fmla="*/ 677636 h 1333436"/>
                <a:gd name="connsiteX192" fmla="*/ 14296 w 752994"/>
                <a:gd name="connsiteY192" fmla="*/ 671492 h 1333436"/>
                <a:gd name="connsiteX193" fmla="*/ 12451 w 752994"/>
                <a:gd name="connsiteY193" fmla="*/ 665797 h 1333436"/>
                <a:gd name="connsiteX194" fmla="*/ 5111 w 752994"/>
                <a:gd name="connsiteY194" fmla="*/ 654994 h 1333436"/>
                <a:gd name="connsiteX195" fmla="*/ 2248 w 752994"/>
                <a:gd name="connsiteY195" fmla="*/ 645605 h 1333436"/>
                <a:gd name="connsiteX196" fmla="*/ 4496 w 752994"/>
                <a:gd name="connsiteY196" fmla="*/ 640497 h 1333436"/>
                <a:gd name="connsiteX197" fmla="*/ 6744 w 752994"/>
                <a:gd name="connsiteY197" fmla="*/ 632765 h 1333436"/>
                <a:gd name="connsiteX198" fmla="*/ 6744 w 752994"/>
                <a:gd name="connsiteY198" fmla="*/ 628485 h 1333436"/>
                <a:gd name="connsiteX199" fmla="*/ 6533 w 752994"/>
                <a:gd name="connsiteY199" fmla="*/ 620305 h 1333436"/>
                <a:gd name="connsiteX200" fmla="*/ 7359 w 752994"/>
                <a:gd name="connsiteY200" fmla="*/ 611745 h 1333436"/>
                <a:gd name="connsiteX201" fmla="*/ 11836 w 752994"/>
                <a:gd name="connsiteY201" fmla="*/ 602978 h 1333436"/>
                <a:gd name="connsiteX202" fmla="*/ 15103 w 752994"/>
                <a:gd name="connsiteY202" fmla="*/ 591760 h 1333436"/>
                <a:gd name="connsiteX203" fmla="*/ 14488 w 752994"/>
                <a:gd name="connsiteY203" fmla="*/ 584029 h 1333436"/>
                <a:gd name="connsiteX204" fmla="*/ 13873 w 752994"/>
                <a:gd name="connsiteY204" fmla="*/ 578299 h 1333436"/>
                <a:gd name="connsiteX205" fmla="*/ 10626 w 752994"/>
                <a:gd name="connsiteY205" fmla="*/ 568531 h 1333436"/>
                <a:gd name="connsiteX206" fmla="*/ 3670 w 752994"/>
                <a:gd name="connsiteY206" fmla="*/ 558107 h 1333436"/>
                <a:gd name="connsiteX207" fmla="*/ 0 w 752994"/>
                <a:gd name="connsiteY207" fmla="*/ 551377 h 1333436"/>
                <a:gd name="connsiteX208" fmla="*/ 0 w 752994"/>
                <a:gd name="connsiteY208" fmla="*/ 550997 h 1333436"/>
                <a:gd name="connsiteX209" fmla="*/ 4900 w 752994"/>
                <a:gd name="connsiteY209" fmla="*/ 531220 h 1333436"/>
                <a:gd name="connsiteX210" fmla="*/ 13873 w 752994"/>
                <a:gd name="connsiteY210" fmla="*/ 520589 h 1333436"/>
                <a:gd name="connsiteX211" fmla="*/ 18369 w 752994"/>
                <a:gd name="connsiteY211" fmla="*/ 516516 h 1333436"/>
                <a:gd name="connsiteX212" fmla="*/ 18773 w 752994"/>
                <a:gd name="connsiteY212" fmla="*/ 514272 h 1333436"/>
                <a:gd name="connsiteX213" fmla="*/ 23077 w 752994"/>
                <a:gd name="connsiteY213" fmla="*/ 506127 h 1333436"/>
                <a:gd name="connsiteX214" fmla="*/ 23884 w 752994"/>
                <a:gd name="connsiteY214" fmla="*/ 502261 h 1333436"/>
                <a:gd name="connsiteX215" fmla="*/ 23692 w 752994"/>
                <a:gd name="connsiteY215" fmla="*/ 496738 h 1333436"/>
                <a:gd name="connsiteX216" fmla="*/ 30013 w 752994"/>
                <a:gd name="connsiteY216" fmla="*/ 486556 h 1333436"/>
                <a:gd name="connsiteX217" fmla="*/ 36546 w 752994"/>
                <a:gd name="connsiteY217" fmla="*/ 470230 h 1333436"/>
                <a:gd name="connsiteX218" fmla="*/ 36546 w 752994"/>
                <a:gd name="connsiteY218" fmla="*/ 462671 h 1333436"/>
                <a:gd name="connsiteX219" fmla="*/ 36335 w 752994"/>
                <a:gd name="connsiteY219" fmla="*/ 461670 h 1333436"/>
                <a:gd name="connsiteX220" fmla="*/ 35931 w 752994"/>
                <a:gd name="connsiteY220" fmla="*/ 453110 h 1333436"/>
                <a:gd name="connsiteX221" fmla="*/ 38583 w 752994"/>
                <a:gd name="connsiteY221" fmla="*/ 442514 h 1333436"/>
                <a:gd name="connsiteX222" fmla="*/ 41043 w 752994"/>
                <a:gd name="connsiteY222" fmla="*/ 436991 h 1333436"/>
                <a:gd name="connsiteX223" fmla="*/ 41650 w 752994"/>
                <a:gd name="connsiteY223" fmla="*/ 437186 h 1333436"/>
                <a:gd name="connsiteX224" fmla="*/ 41239 w 752994"/>
                <a:gd name="connsiteY224" fmla="*/ 436549 h 1333436"/>
                <a:gd name="connsiteX225" fmla="*/ 37778 w 752994"/>
                <a:gd name="connsiteY225" fmla="*/ 433894 h 1333436"/>
                <a:gd name="connsiteX226" fmla="*/ 37169 w 752994"/>
                <a:gd name="connsiteY226" fmla="*/ 432261 h 1333436"/>
                <a:gd name="connsiteX227" fmla="*/ 37365 w 752994"/>
                <a:gd name="connsiteY227" fmla="*/ 429198 h 1333436"/>
                <a:gd name="connsiteX228" fmla="*/ 36756 w 752994"/>
                <a:gd name="connsiteY228" fmla="*/ 422272 h 1333436"/>
                <a:gd name="connsiteX229" fmla="*/ 36952 w 752994"/>
                <a:gd name="connsiteY229" fmla="*/ 418800 h 1333436"/>
                <a:gd name="connsiteX230" fmla="*/ 36756 w 752994"/>
                <a:gd name="connsiteY230" fmla="*/ 412487 h 1333436"/>
                <a:gd name="connsiteX231" fmla="*/ 40433 w 752994"/>
                <a:gd name="connsiteY231" fmla="*/ 406174 h 1333436"/>
                <a:gd name="connsiteX232" fmla="*/ 44720 w 752994"/>
                <a:gd name="connsiteY232" fmla="*/ 399435 h 1333436"/>
                <a:gd name="connsiteX233" fmla="*/ 44110 w 752994"/>
                <a:gd name="connsiteY233" fmla="*/ 389651 h 1333436"/>
                <a:gd name="connsiteX234" fmla="*/ 43894 w 752994"/>
                <a:gd name="connsiteY234" fmla="*/ 378437 h 1333436"/>
                <a:gd name="connsiteX235" fmla="*/ 47158 w 752994"/>
                <a:gd name="connsiteY235" fmla="*/ 371102 h 1333436"/>
                <a:gd name="connsiteX236" fmla="*/ 55731 w 752994"/>
                <a:gd name="connsiteY236" fmla="*/ 360909 h 1333436"/>
                <a:gd name="connsiteX237" fmla="*/ 57580 w 752994"/>
                <a:gd name="connsiteY237" fmla="*/ 355804 h 1333436"/>
                <a:gd name="connsiteX238" fmla="*/ 62673 w 752994"/>
                <a:gd name="connsiteY238" fmla="*/ 349695 h 1333436"/>
                <a:gd name="connsiteX239" fmla="*/ 65937 w 752994"/>
                <a:gd name="connsiteY239" fmla="*/ 348470 h 1333436"/>
                <a:gd name="connsiteX240" fmla="*/ 68395 w 752994"/>
                <a:gd name="connsiteY240" fmla="*/ 348674 h 1333436"/>
                <a:gd name="connsiteX241" fmla="*/ 70224 w 752994"/>
                <a:gd name="connsiteY241" fmla="*/ 347449 h 1333436"/>
                <a:gd name="connsiteX242" fmla="*/ 67785 w 752994"/>
                <a:gd name="connsiteY242" fmla="*/ 345203 h 1333436"/>
                <a:gd name="connsiteX243" fmla="*/ 65524 w 752994"/>
                <a:gd name="connsiteY243" fmla="*/ 343178 h 1333436"/>
                <a:gd name="connsiteX244" fmla="*/ 73095 w 752994"/>
                <a:gd name="connsiteY244" fmla="*/ 333376 h 1333436"/>
                <a:gd name="connsiteX245" fmla="*/ 73291 w 752994"/>
                <a:gd name="connsiteY245" fmla="*/ 333376 h 1333436"/>
                <a:gd name="connsiteX246" fmla="*/ 77991 w 752994"/>
                <a:gd name="connsiteY246" fmla="*/ 325838 h 1333436"/>
                <a:gd name="connsiteX247" fmla="*/ 82671 w 752994"/>
                <a:gd name="connsiteY247" fmla="*/ 313619 h 1333436"/>
                <a:gd name="connsiteX248" fmla="*/ 87980 w 752994"/>
                <a:gd name="connsiteY248" fmla="*/ 303018 h 1333436"/>
                <a:gd name="connsiteX249" fmla="*/ 92267 w 752994"/>
                <a:gd name="connsiteY249" fmla="*/ 291191 h 1333436"/>
                <a:gd name="connsiteX250" fmla="*/ 96553 w 752994"/>
                <a:gd name="connsiteY250" fmla="*/ 281202 h 1333436"/>
                <a:gd name="connsiteX251" fmla="*/ 99621 w 752994"/>
                <a:gd name="connsiteY251" fmla="*/ 274481 h 1333436"/>
                <a:gd name="connsiteX252" fmla="*/ 103082 w 752994"/>
                <a:gd name="connsiteY252" fmla="*/ 262450 h 1333436"/>
                <a:gd name="connsiteX253" fmla="*/ 107172 w 752994"/>
                <a:gd name="connsiteY253" fmla="*/ 254299 h 1333436"/>
                <a:gd name="connsiteX254" fmla="*/ 112481 w 752994"/>
                <a:gd name="connsiteY254" fmla="*/ 243697 h 1333436"/>
                <a:gd name="connsiteX255" fmla="*/ 117181 w 752994"/>
                <a:gd name="connsiteY255" fmla="*/ 232279 h 1333436"/>
                <a:gd name="connsiteX256" fmla="*/ 125951 w 752994"/>
                <a:gd name="connsiteY256" fmla="*/ 217389 h 1333436"/>
                <a:gd name="connsiteX257" fmla="*/ 136156 w 752994"/>
                <a:gd name="connsiteY257" fmla="*/ 202925 h 1333436"/>
                <a:gd name="connsiteX258" fmla="*/ 138811 w 752994"/>
                <a:gd name="connsiteY258" fmla="*/ 183339 h 1333436"/>
                <a:gd name="connsiteX259" fmla="*/ 148801 w 752994"/>
                <a:gd name="connsiteY259" fmla="*/ 167445 h 1333436"/>
                <a:gd name="connsiteX260" fmla="*/ 159616 w 752994"/>
                <a:gd name="connsiteY260" fmla="*/ 170712 h 1333436"/>
                <a:gd name="connsiteX261" fmla="*/ 173105 w 752994"/>
                <a:gd name="connsiteY261" fmla="*/ 175188 h 1333436"/>
                <a:gd name="connsiteX262" fmla="*/ 175347 w 752994"/>
                <a:gd name="connsiteY262" fmla="*/ 175188 h 1333436"/>
                <a:gd name="connsiteX263" fmla="*/ 175347 w 752994"/>
                <a:gd name="connsiteY263" fmla="*/ 173758 h 1333436"/>
                <a:gd name="connsiteX264" fmla="*/ 184975 w 752994"/>
                <a:gd name="connsiteY264" fmla="*/ 187393 h 1333436"/>
                <a:gd name="connsiteX265" fmla="*/ 184762 w 752994"/>
                <a:gd name="connsiteY265" fmla="*/ 184637 h 1333436"/>
                <a:gd name="connsiteX266" fmla="*/ 174971 w 752994"/>
                <a:gd name="connsiteY266" fmla="*/ 170774 h 1333436"/>
                <a:gd name="connsiteX267" fmla="*/ 174971 w 752994"/>
                <a:gd name="connsiteY267" fmla="*/ 169550 h 1333436"/>
                <a:gd name="connsiteX268" fmla="*/ 158851 w 752994"/>
                <a:gd name="connsiteY268" fmla="*/ 156924 h 1333436"/>
                <a:gd name="connsiteX269" fmla="*/ 147025 w 752994"/>
                <a:gd name="connsiteY269" fmla="*/ 145709 h 1333436"/>
                <a:gd name="connsiteX270" fmla="*/ 154364 w 752994"/>
                <a:gd name="connsiteY270" fmla="*/ 136335 h 1333436"/>
                <a:gd name="connsiteX271" fmla="*/ 161511 w 752994"/>
                <a:gd name="connsiteY271" fmla="*/ 131042 h 1333436"/>
                <a:gd name="connsiteX272" fmla="*/ 160902 w 752994"/>
                <a:gd name="connsiteY272" fmla="*/ 128384 h 1333436"/>
                <a:gd name="connsiteX273" fmla="*/ 160277 w 752994"/>
                <a:gd name="connsiteY273" fmla="*/ 127778 h 1333436"/>
                <a:gd name="connsiteX274" fmla="*/ 154973 w 752994"/>
                <a:gd name="connsiteY274" fmla="*/ 122077 h 1333436"/>
                <a:gd name="connsiteX275" fmla="*/ 160277 w 752994"/>
                <a:gd name="connsiteY275" fmla="*/ 115140 h 1333436"/>
                <a:gd name="connsiteX276" fmla="*/ 165181 w 752994"/>
                <a:gd name="connsiteY276" fmla="*/ 108215 h 1333436"/>
                <a:gd name="connsiteX277" fmla="*/ 161303 w 752994"/>
                <a:gd name="connsiteY277" fmla="*/ 104146 h 1333436"/>
                <a:gd name="connsiteX278" fmla="*/ 157842 w 752994"/>
                <a:gd name="connsiteY278" fmla="*/ 104542 h 1333436"/>
                <a:gd name="connsiteX279" fmla="*/ 157024 w 752994"/>
                <a:gd name="connsiteY279" fmla="*/ 102304 h 1333436"/>
                <a:gd name="connsiteX280" fmla="*/ 160694 w 752994"/>
                <a:gd name="connsiteY280" fmla="*/ 55437 h 1333436"/>
                <a:gd name="connsiteX281" fmla="*/ 160486 w 752994"/>
                <a:gd name="connsiteY281" fmla="*/ 31991 h 1333436"/>
                <a:gd name="connsiteX282" fmla="*/ 164972 w 752994"/>
                <a:gd name="connsiteY282" fmla="*/ 18141 h 1333436"/>
                <a:gd name="connsiteX283" fmla="*/ 171911 w 752994"/>
                <a:gd name="connsiteY283" fmla="*/ 11204 h 1333436"/>
                <a:gd name="connsiteX284" fmla="*/ 187406 w 752994"/>
                <a:gd name="connsiteY284" fmla="*/ 21801 h 1333436"/>
                <a:gd name="connsiteX285" fmla="*/ 210866 w 752994"/>
                <a:gd name="connsiteY285" fmla="*/ 37086 h 1333436"/>
                <a:gd name="connsiteX286" fmla="*/ 219230 w 752994"/>
                <a:gd name="connsiteY286" fmla="*/ 41166 h 1333436"/>
                <a:gd name="connsiteX287" fmla="*/ 226778 w 752994"/>
                <a:gd name="connsiteY287" fmla="*/ 47486 h 1333436"/>
                <a:gd name="connsiteX288" fmla="*/ 236152 w 752994"/>
                <a:gd name="connsiteY288" fmla="*/ 52370 h 1333436"/>
                <a:gd name="connsiteX289" fmla="*/ 239629 w 752994"/>
                <a:gd name="connsiteY289" fmla="*/ 58491 h 1333436"/>
                <a:gd name="connsiteX290" fmla="*/ 239629 w 752994"/>
                <a:gd name="connsiteY290" fmla="*/ 63376 h 1333436"/>
                <a:gd name="connsiteX291" fmla="*/ 236568 w 752994"/>
                <a:gd name="connsiteY291" fmla="*/ 67457 h 1333436"/>
                <a:gd name="connsiteX292" fmla="*/ 231264 w 752994"/>
                <a:gd name="connsiteY292" fmla="*/ 69905 h 1333436"/>
                <a:gd name="connsiteX293" fmla="*/ 216778 w 752994"/>
                <a:gd name="connsiteY293" fmla="*/ 82741 h 1333436"/>
                <a:gd name="connsiteX294" fmla="*/ 214134 w 752994"/>
                <a:gd name="connsiteY294" fmla="*/ 93536 h 1333436"/>
                <a:gd name="connsiteX295" fmla="*/ 214535 w 752994"/>
                <a:gd name="connsiteY295" fmla="*/ 96801 h 1333436"/>
                <a:gd name="connsiteX296" fmla="*/ 216378 w 752994"/>
                <a:gd name="connsiteY296" fmla="*/ 96801 h 1333436"/>
                <a:gd name="connsiteX297" fmla="*/ 230046 w 752994"/>
                <a:gd name="connsiteY297" fmla="*/ 85387 h 1333436"/>
                <a:gd name="connsiteX298" fmla="*/ 243298 w 752994"/>
                <a:gd name="connsiteY298" fmla="*/ 75198 h 1333436"/>
                <a:gd name="connsiteX299" fmla="*/ 246760 w 752994"/>
                <a:gd name="connsiteY299" fmla="*/ 77646 h 1333436"/>
                <a:gd name="connsiteX300" fmla="*/ 255541 w 752994"/>
                <a:gd name="connsiteY300" fmla="*/ 63376 h 1333436"/>
                <a:gd name="connsiteX301" fmla="*/ 259611 w 752994"/>
                <a:gd name="connsiteY301" fmla="*/ 43405 h 1333436"/>
                <a:gd name="connsiteX302" fmla="*/ 256967 w 752994"/>
                <a:gd name="connsiteY302" fmla="*/ 38520 h 1333436"/>
                <a:gd name="connsiteX303" fmla="*/ 253906 w 752994"/>
                <a:gd name="connsiteY303" fmla="*/ 34242 h 1333436"/>
                <a:gd name="connsiteX304" fmla="*/ 256967 w 752994"/>
                <a:gd name="connsiteY304" fmla="*/ 30161 h 1333436"/>
                <a:gd name="connsiteX305" fmla="*/ 262063 w 752994"/>
                <a:gd name="connsiteY305" fmla="*/ 27712 h 1333436"/>
                <a:gd name="connsiteX306" fmla="*/ 264915 w 752994"/>
                <a:gd name="connsiteY306" fmla="*/ 23026 h 1333436"/>
                <a:gd name="connsiteX307" fmla="*/ 267976 w 752994"/>
                <a:gd name="connsiteY307" fmla="*/ 22618 h 1333436"/>
                <a:gd name="connsiteX308" fmla="*/ 270427 w 752994"/>
                <a:gd name="connsiteY308" fmla="*/ 20787 h 1333436"/>
                <a:gd name="connsiteX309" fmla="*/ 263088 w 752994"/>
                <a:gd name="connsiteY309" fmla="*/ 13652 h 1333436"/>
                <a:gd name="connsiteX310" fmla="*/ 255541 w 752994"/>
                <a:gd name="connsiteY310" fmla="*/ 3055 h 1333436"/>
                <a:gd name="connsiteX311" fmla="*/ 256358 w 752994"/>
                <a:gd name="connsiteY311" fmla="*/ 1224 h 1333436"/>
                <a:gd name="connsiteX312" fmla="*/ 257159 w 752994"/>
                <a:gd name="connsiteY312"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63303 w 752994"/>
                <a:gd name="connsiteY12" fmla="*/ 246131 h 1333436"/>
                <a:gd name="connsiteX13" fmla="*/ 269438 w 752994"/>
                <a:gd name="connsiteY13" fmla="*/ 243697 h 1333436"/>
                <a:gd name="connsiteX14" fmla="*/ 274944 w 752994"/>
                <a:gd name="connsiteY14" fmla="*/ 241451 h 1333436"/>
                <a:gd name="connsiteX15" fmla="*/ 289240 w 752994"/>
                <a:gd name="connsiteY15" fmla="*/ 250419 h 1333436"/>
                <a:gd name="connsiteX16" fmla="*/ 195162 w 752994"/>
                <a:gd name="connsiteY16" fmla="*/ 228857 h 1333436"/>
                <a:gd name="connsiteX17" fmla="*/ 188223 w 752994"/>
                <a:gd name="connsiteY17" fmla="*/ 223973 h 1333436"/>
                <a:gd name="connsiteX18" fmla="*/ 185163 w 752994"/>
                <a:gd name="connsiteY18" fmla="*/ 219484 h 1333436"/>
                <a:gd name="connsiteX19" fmla="*/ 184180 w 752994"/>
                <a:gd name="connsiteY19" fmla="*/ 213866 h 1333436"/>
                <a:gd name="connsiteX20" fmla="*/ 257159 w 752994"/>
                <a:gd name="connsiteY20" fmla="*/ 0 h 1333436"/>
                <a:gd name="connsiteX21" fmla="*/ 493147 w 752994"/>
                <a:gd name="connsiteY21" fmla="*/ 73157 h 1333436"/>
                <a:gd name="connsiteX22" fmla="*/ 492970 w 752994"/>
                <a:gd name="connsiteY22" fmla="*/ 73792 h 1333436"/>
                <a:gd name="connsiteX23" fmla="*/ 525816 w 752994"/>
                <a:gd name="connsiteY23" fmla="*/ 82491 h 1333436"/>
                <a:gd name="connsiteX24" fmla="*/ 520098 w 752994"/>
                <a:gd name="connsiteY24" fmla="*/ 111245 h 1333436"/>
                <a:gd name="connsiteX25" fmla="*/ 512552 w 752994"/>
                <a:gd name="connsiteY25" fmla="*/ 143854 h 1333436"/>
                <a:gd name="connsiteX26" fmla="*/ 517849 w 752994"/>
                <a:gd name="connsiteY26" fmla="*/ 157740 h 1333436"/>
                <a:gd name="connsiteX27" fmla="*/ 523160 w 752994"/>
                <a:gd name="connsiteY27" fmla="*/ 172009 h 1333436"/>
                <a:gd name="connsiteX28" fmla="*/ 521535 w 752994"/>
                <a:gd name="connsiteY28" fmla="*/ 178928 h 1333436"/>
                <a:gd name="connsiteX29" fmla="*/ 520098 w 752994"/>
                <a:gd name="connsiteY29" fmla="*/ 186279 h 1333436"/>
                <a:gd name="connsiteX30" fmla="*/ 526019 w 752994"/>
                <a:gd name="connsiteY30" fmla="*/ 193629 h 1333436"/>
                <a:gd name="connsiteX31" fmla="*/ 537251 w 752994"/>
                <a:gd name="connsiteY31" fmla="*/ 206270 h 1333436"/>
                <a:gd name="connsiteX32" fmla="*/ 542765 w 752994"/>
                <a:gd name="connsiteY32" fmla="*/ 217475 h 1333436"/>
                <a:gd name="connsiteX33" fmla="*/ 546857 w 752994"/>
                <a:gd name="connsiteY33" fmla="*/ 230930 h 1333436"/>
                <a:gd name="connsiteX34" fmla="*/ 549499 w 752994"/>
                <a:gd name="connsiteY34" fmla="*/ 235622 h 1333436"/>
                <a:gd name="connsiteX35" fmla="*/ 553388 w 752994"/>
                <a:gd name="connsiteY35" fmla="*/ 240722 h 1333436"/>
                <a:gd name="connsiteX36" fmla="*/ 557465 w 752994"/>
                <a:gd name="connsiteY36" fmla="*/ 246037 h 1333436"/>
                <a:gd name="connsiteX37" fmla="*/ 561761 w 752994"/>
                <a:gd name="connsiteY37" fmla="*/ 248671 h 1333436"/>
                <a:gd name="connsiteX38" fmla="*/ 567478 w 752994"/>
                <a:gd name="connsiteY38" fmla="*/ 247665 h 1333436"/>
                <a:gd name="connsiteX39" fmla="*/ 569931 w 752994"/>
                <a:gd name="connsiteY39" fmla="*/ 249293 h 1333436"/>
                <a:gd name="connsiteX40" fmla="*/ 570540 w 752994"/>
                <a:gd name="connsiteY40" fmla="*/ 251951 h 1333436"/>
                <a:gd name="connsiteX41" fmla="*/ 561964 w 752994"/>
                <a:gd name="connsiteY41" fmla="*/ 267656 h 1333436"/>
                <a:gd name="connsiteX42" fmla="*/ 553591 w 752994"/>
                <a:gd name="connsiteY42" fmla="*/ 289659 h 1333436"/>
                <a:gd name="connsiteX43" fmla="*/ 554810 w 752994"/>
                <a:gd name="connsiteY43" fmla="*/ 292939 h 1333436"/>
                <a:gd name="connsiteX44" fmla="*/ 556246 w 752994"/>
                <a:gd name="connsiteY44" fmla="*/ 299260 h 1333436"/>
                <a:gd name="connsiteX45" fmla="*/ 552778 w 752994"/>
                <a:gd name="connsiteY45" fmla="*/ 301917 h 1333436"/>
                <a:gd name="connsiteX46" fmla="*/ 549295 w 752994"/>
                <a:gd name="connsiteY46" fmla="*/ 306993 h 1333436"/>
                <a:gd name="connsiteX47" fmla="*/ 547061 w 752994"/>
                <a:gd name="connsiteY47" fmla="*/ 313122 h 1333436"/>
                <a:gd name="connsiteX48" fmla="*/ 544811 w 752994"/>
                <a:gd name="connsiteY48" fmla="*/ 316593 h 1333436"/>
                <a:gd name="connsiteX49" fmla="*/ 549919 w 752994"/>
                <a:gd name="connsiteY49" fmla="*/ 322698 h 1333436"/>
                <a:gd name="connsiteX50" fmla="*/ 553184 w 752994"/>
                <a:gd name="connsiteY50" fmla="*/ 325955 h 1333436"/>
                <a:gd name="connsiteX51" fmla="*/ 555840 w 752994"/>
                <a:gd name="connsiteY51" fmla="*/ 328205 h 1333436"/>
                <a:gd name="connsiteX52" fmla="*/ 574212 w 752994"/>
                <a:gd name="connsiteY52" fmla="*/ 318820 h 1333436"/>
                <a:gd name="connsiteX53" fmla="*/ 579523 w 752994"/>
                <a:gd name="connsiteY53" fmla="*/ 326577 h 1333436"/>
                <a:gd name="connsiteX54" fmla="*/ 580539 w 752994"/>
                <a:gd name="connsiteY54" fmla="*/ 334933 h 1333436"/>
                <a:gd name="connsiteX55" fmla="*/ 579726 w 752994"/>
                <a:gd name="connsiteY55" fmla="*/ 343097 h 1333436"/>
                <a:gd name="connsiteX56" fmla="*/ 581366 w 752994"/>
                <a:gd name="connsiteY56" fmla="*/ 350231 h 1333436"/>
                <a:gd name="connsiteX57" fmla="*/ 586256 w 752994"/>
                <a:gd name="connsiteY57" fmla="*/ 355930 h 1333436"/>
                <a:gd name="connsiteX58" fmla="*/ 589536 w 752994"/>
                <a:gd name="connsiteY58" fmla="*/ 362059 h 1333436"/>
                <a:gd name="connsiteX59" fmla="*/ 588099 w 752994"/>
                <a:gd name="connsiteY59" fmla="*/ 369600 h 1333436"/>
                <a:gd name="connsiteX60" fmla="*/ 586459 w 752994"/>
                <a:gd name="connsiteY60" fmla="*/ 377357 h 1333436"/>
                <a:gd name="connsiteX61" fmla="*/ 588709 w 752994"/>
                <a:gd name="connsiteY61" fmla="*/ 381835 h 1333436"/>
                <a:gd name="connsiteX62" fmla="*/ 595036 w 752994"/>
                <a:gd name="connsiteY62" fmla="*/ 382457 h 1333436"/>
                <a:gd name="connsiteX63" fmla="*/ 599331 w 752994"/>
                <a:gd name="connsiteY63" fmla="*/ 385306 h 1333436"/>
                <a:gd name="connsiteX64" fmla="*/ 601987 w 752994"/>
                <a:gd name="connsiteY64" fmla="*/ 391004 h 1333436"/>
                <a:gd name="connsiteX65" fmla="*/ 602799 w 752994"/>
                <a:gd name="connsiteY65" fmla="*/ 404076 h 1333436"/>
                <a:gd name="connsiteX66" fmla="*/ 606892 w 752994"/>
                <a:gd name="connsiteY66" fmla="*/ 415688 h 1333436"/>
                <a:gd name="connsiteX67" fmla="*/ 610563 w 752994"/>
                <a:gd name="connsiteY67" fmla="*/ 412217 h 1333436"/>
                <a:gd name="connsiteX68" fmla="*/ 617920 w 752994"/>
                <a:gd name="connsiteY68" fmla="*/ 408769 h 1333436"/>
                <a:gd name="connsiteX69" fmla="*/ 624654 w 752994"/>
                <a:gd name="connsiteY69" fmla="*/ 411211 h 1333436"/>
                <a:gd name="connsiteX70" fmla="*/ 634652 w 752994"/>
                <a:gd name="connsiteY70" fmla="*/ 410182 h 1333436"/>
                <a:gd name="connsiteX71" fmla="*/ 640573 w 752994"/>
                <a:gd name="connsiteY71" fmla="*/ 407739 h 1333436"/>
                <a:gd name="connsiteX72" fmla="*/ 646711 w 752994"/>
                <a:gd name="connsiteY72" fmla="*/ 410589 h 1333436"/>
                <a:gd name="connsiteX73" fmla="*/ 650383 w 752994"/>
                <a:gd name="connsiteY73" fmla="*/ 410589 h 1333436"/>
                <a:gd name="connsiteX74" fmla="*/ 654257 w 752994"/>
                <a:gd name="connsiteY74" fmla="*/ 411618 h 1333436"/>
                <a:gd name="connsiteX75" fmla="*/ 656913 w 752994"/>
                <a:gd name="connsiteY75" fmla="*/ 413653 h 1333436"/>
                <a:gd name="connsiteX76" fmla="*/ 660802 w 752994"/>
                <a:gd name="connsiteY76" fmla="*/ 415090 h 1333436"/>
                <a:gd name="connsiteX77" fmla="*/ 669581 w 752994"/>
                <a:gd name="connsiteY77" fmla="*/ 415904 h 1333436"/>
                <a:gd name="connsiteX78" fmla="*/ 672237 w 752994"/>
                <a:gd name="connsiteY78" fmla="*/ 415688 h 1333436"/>
                <a:gd name="connsiteX79" fmla="*/ 675705 w 752994"/>
                <a:gd name="connsiteY79" fmla="*/ 409367 h 1333436"/>
                <a:gd name="connsiteX80" fmla="*/ 679986 w 752994"/>
                <a:gd name="connsiteY80" fmla="*/ 403238 h 1333436"/>
                <a:gd name="connsiteX81" fmla="*/ 693264 w 752994"/>
                <a:gd name="connsiteY81" fmla="*/ 419567 h 1333436"/>
                <a:gd name="connsiteX82" fmla="*/ 688563 w 752994"/>
                <a:gd name="connsiteY82" fmla="*/ 448321 h 1333436"/>
                <a:gd name="connsiteX83" fmla="*/ 663949 w 752994"/>
                <a:gd name="connsiteY83" fmla="*/ 590165 h 1333436"/>
                <a:gd name="connsiteX84" fmla="*/ 666304 w 752994"/>
                <a:gd name="connsiteY84" fmla="*/ 590504 h 1333436"/>
                <a:gd name="connsiteX85" fmla="*/ 655288 w 752994"/>
                <a:gd name="connsiteY85" fmla="*/ 656178 h 1333436"/>
                <a:gd name="connsiteX86" fmla="*/ 681808 w 752994"/>
                <a:gd name="connsiteY86" fmla="*/ 662301 h 1333436"/>
                <a:gd name="connsiteX87" fmla="*/ 752994 w 752994"/>
                <a:gd name="connsiteY87" fmla="*/ 675560 h 1333436"/>
                <a:gd name="connsiteX88" fmla="*/ 714651 w 752994"/>
                <a:gd name="connsiteY88" fmla="*/ 946985 h 1333436"/>
                <a:gd name="connsiteX89" fmla="*/ 654533 w 752994"/>
                <a:gd name="connsiteY89" fmla="*/ 1333436 h 1333436"/>
                <a:gd name="connsiteX90" fmla="*/ 546831 w 752994"/>
                <a:gd name="connsiteY90" fmla="*/ 1317126 h 1333436"/>
                <a:gd name="connsiteX91" fmla="*/ 351227 w 752994"/>
                <a:gd name="connsiteY91" fmla="*/ 1194172 h 1333436"/>
                <a:gd name="connsiteX92" fmla="*/ 361011 w 752994"/>
                <a:gd name="connsiteY92" fmla="*/ 1182755 h 1333436"/>
                <a:gd name="connsiteX93" fmla="*/ 368981 w 752994"/>
                <a:gd name="connsiteY93" fmla="*/ 1182130 h 1333436"/>
                <a:gd name="connsiteX94" fmla="*/ 369571 w 752994"/>
                <a:gd name="connsiteY94" fmla="*/ 1181558 h 1333436"/>
                <a:gd name="connsiteX95" fmla="*/ 362372 w 752994"/>
                <a:gd name="connsiteY95" fmla="*/ 1182120 h 1333436"/>
                <a:gd name="connsiteX96" fmla="*/ 229464 w 752994"/>
                <a:gd name="connsiteY96" fmla="*/ 1161721 h 1333436"/>
                <a:gd name="connsiteX97" fmla="*/ 227427 w 752994"/>
                <a:gd name="connsiteY97" fmla="*/ 1157269 h 1333436"/>
                <a:gd name="connsiteX98" fmla="*/ 224967 w 752994"/>
                <a:gd name="connsiteY98" fmla="*/ 1152575 h 1333436"/>
                <a:gd name="connsiteX99" fmla="*/ 225582 w 752994"/>
                <a:gd name="connsiteY99" fmla="*/ 1144808 h 1333436"/>
                <a:gd name="connsiteX100" fmla="*/ 227215 w 752994"/>
                <a:gd name="connsiteY100" fmla="*/ 1135834 h 1333436"/>
                <a:gd name="connsiteX101" fmla="*/ 227215 w 752994"/>
                <a:gd name="connsiteY101" fmla="*/ 1134212 h 1333436"/>
                <a:gd name="connsiteX102" fmla="*/ 225179 w 752994"/>
                <a:gd name="connsiteY102" fmla="*/ 1114020 h 1333436"/>
                <a:gd name="connsiteX103" fmla="*/ 217839 w 752994"/>
                <a:gd name="connsiteY103" fmla="*/ 1100352 h 1333436"/>
                <a:gd name="connsiteX104" fmla="*/ 199661 w 752994"/>
                <a:gd name="connsiteY104" fmla="*/ 1076502 h 1333436"/>
                <a:gd name="connsiteX105" fmla="*/ 196395 w 752994"/>
                <a:gd name="connsiteY105" fmla="*/ 1071807 h 1333436"/>
                <a:gd name="connsiteX106" fmla="*/ 190880 w 752994"/>
                <a:gd name="connsiteY106" fmla="*/ 1067527 h 1333436"/>
                <a:gd name="connsiteX107" fmla="*/ 187210 w 752994"/>
                <a:gd name="connsiteY107" fmla="*/ 1068735 h 1333436"/>
                <a:gd name="connsiteX108" fmla="*/ 180062 w 752994"/>
                <a:gd name="connsiteY108" fmla="*/ 1066699 h 1333436"/>
                <a:gd name="connsiteX109" fmla="*/ 180466 w 752994"/>
                <a:gd name="connsiteY109" fmla="*/ 1053031 h 1333436"/>
                <a:gd name="connsiteX110" fmla="*/ 180062 w 752994"/>
                <a:gd name="connsiteY110" fmla="*/ 1045299 h 1333436"/>
                <a:gd name="connsiteX111" fmla="*/ 174144 w 752994"/>
                <a:gd name="connsiteY111" fmla="*/ 1044057 h 1333436"/>
                <a:gd name="connsiteX112" fmla="*/ 158426 w 752994"/>
                <a:gd name="connsiteY112" fmla="*/ 1042641 h 1333436"/>
                <a:gd name="connsiteX113" fmla="*/ 149857 w 752994"/>
                <a:gd name="connsiteY113" fmla="*/ 1035497 h 1333436"/>
                <a:gd name="connsiteX114" fmla="*/ 142497 w 752994"/>
                <a:gd name="connsiteY114" fmla="*/ 1028766 h 1333436"/>
                <a:gd name="connsiteX115" fmla="*/ 140864 w 752994"/>
                <a:gd name="connsiteY115" fmla="*/ 1020620 h 1333436"/>
                <a:gd name="connsiteX116" fmla="*/ 138212 w 752994"/>
                <a:gd name="connsiteY116" fmla="*/ 1013061 h 1333436"/>
                <a:gd name="connsiteX117" fmla="*/ 131064 w 752994"/>
                <a:gd name="connsiteY117" fmla="*/ 1007159 h 1333436"/>
                <a:gd name="connsiteX118" fmla="*/ 121264 w 752994"/>
                <a:gd name="connsiteY118" fmla="*/ 1005330 h 1333436"/>
                <a:gd name="connsiteX119" fmla="*/ 112483 w 752994"/>
                <a:gd name="connsiteY119" fmla="*/ 1001671 h 1333436"/>
                <a:gd name="connsiteX120" fmla="*/ 105950 w 752994"/>
                <a:gd name="connsiteY120" fmla="*/ 995734 h 1333436"/>
                <a:gd name="connsiteX121" fmla="*/ 97380 w 752994"/>
                <a:gd name="connsiteY121" fmla="*/ 994526 h 1333436"/>
                <a:gd name="connsiteX122" fmla="*/ 87984 w 752994"/>
                <a:gd name="connsiteY122" fmla="*/ 991040 h 1333436"/>
                <a:gd name="connsiteX123" fmla="*/ 80029 w 752994"/>
                <a:gd name="connsiteY123" fmla="*/ 985138 h 1333436"/>
                <a:gd name="connsiteX124" fmla="*/ 77166 w 752994"/>
                <a:gd name="connsiteY124" fmla="*/ 976164 h 1333436"/>
                <a:gd name="connsiteX125" fmla="*/ 79203 w 752994"/>
                <a:gd name="connsiteY125" fmla="*/ 970676 h 1333436"/>
                <a:gd name="connsiteX126" fmla="*/ 82470 w 752994"/>
                <a:gd name="connsiteY126" fmla="*/ 963117 h 1333436"/>
                <a:gd name="connsiteX127" fmla="*/ 84314 w 752994"/>
                <a:gd name="connsiteY127" fmla="*/ 954557 h 1333436"/>
                <a:gd name="connsiteX128" fmla="*/ 86351 w 752994"/>
                <a:gd name="connsiteY128" fmla="*/ 948033 h 1333436"/>
                <a:gd name="connsiteX129" fmla="*/ 86159 w 752994"/>
                <a:gd name="connsiteY129" fmla="*/ 942925 h 1333436"/>
                <a:gd name="connsiteX130" fmla="*/ 83085 w 752994"/>
                <a:gd name="connsiteY130" fmla="*/ 939853 h 1333436"/>
                <a:gd name="connsiteX131" fmla="*/ 77570 w 752994"/>
                <a:gd name="connsiteY131" fmla="*/ 937437 h 1333436"/>
                <a:gd name="connsiteX132" fmla="*/ 76763 w 752994"/>
                <a:gd name="connsiteY132" fmla="*/ 931915 h 1333436"/>
                <a:gd name="connsiteX133" fmla="*/ 78800 w 752994"/>
                <a:gd name="connsiteY133" fmla="*/ 927013 h 1333436"/>
                <a:gd name="connsiteX134" fmla="*/ 79626 w 752994"/>
                <a:gd name="connsiteY134" fmla="*/ 922526 h 1333436"/>
                <a:gd name="connsiteX135" fmla="*/ 77781 w 752994"/>
                <a:gd name="connsiteY135" fmla="*/ 919903 h 1333436"/>
                <a:gd name="connsiteX136" fmla="*/ 74303 w 752994"/>
                <a:gd name="connsiteY136" fmla="*/ 917418 h 1333436"/>
                <a:gd name="connsiteX137" fmla="*/ 71863 w 752994"/>
                <a:gd name="connsiteY137" fmla="*/ 915174 h 1333436"/>
                <a:gd name="connsiteX138" fmla="*/ 71652 w 752994"/>
                <a:gd name="connsiteY138" fmla="*/ 910894 h 1333436"/>
                <a:gd name="connsiteX139" fmla="*/ 70633 w 752994"/>
                <a:gd name="connsiteY139" fmla="*/ 906614 h 1333436"/>
                <a:gd name="connsiteX140" fmla="*/ 68385 w 752994"/>
                <a:gd name="connsiteY140" fmla="*/ 902749 h 1333436"/>
                <a:gd name="connsiteX141" fmla="*/ 61045 w 752994"/>
                <a:gd name="connsiteY141" fmla="*/ 889494 h 1333436"/>
                <a:gd name="connsiteX142" fmla="*/ 57971 w 752994"/>
                <a:gd name="connsiteY142" fmla="*/ 875619 h 1333436"/>
                <a:gd name="connsiteX143" fmla="*/ 52264 w 752994"/>
                <a:gd name="connsiteY143" fmla="*/ 862572 h 1333436"/>
                <a:gd name="connsiteX144" fmla="*/ 44309 w 752994"/>
                <a:gd name="connsiteY144" fmla="*/ 850561 h 1333436"/>
                <a:gd name="connsiteX145" fmla="*/ 45520 w 752994"/>
                <a:gd name="connsiteY145" fmla="*/ 827090 h 1333436"/>
                <a:gd name="connsiteX146" fmla="*/ 53071 w 752994"/>
                <a:gd name="connsiteY146" fmla="*/ 822396 h 1333436"/>
                <a:gd name="connsiteX147" fmla="*/ 57375 w 752994"/>
                <a:gd name="connsiteY147" fmla="*/ 816493 h 1333436"/>
                <a:gd name="connsiteX148" fmla="*/ 55319 w 752994"/>
                <a:gd name="connsiteY148" fmla="*/ 801617 h 1333436"/>
                <a:gd name="connsiteX149" fmla="*/ 48383 w 752994"/>
                <a:gd name="connsiteY149" fmla="*/ 802204 h 1333436"/>
                <a:gd name="connsiteX150" fmla="*/ 40428 w 752994"/>
                <a:gd name="connsiteY150" fmla="*/ 797924 h 1333436"/>
                <a:gd name="connsiteX151" fmla="*/ 37565 w 752994"/>
                <a:gd name="connsiteY151" fmla="*/ 790606 h 1333436"/>
                <a:gd name="connsiteX152" fmla="*/ 37565 w 752994"/>
                <a:gd name="connsiteY152" fmla="*/ 790399 h 1333436"/>
                <a:gd name="connsiteX153" fmla="*/ 35931 w 752994"/>
                <a:gd name="connsiteY153" fmla="*/ 785912 h 1333436"/>
                <a:gd name="connsiteX154" fmla="*/ 34510 w 752994"/>
                <a:gd name="connsiteY154" fmla="*/ 780597 h 1333436"/>
                <a:gd name="connsiteX155" fmla="*/ 36335 w 752994"/>
                <a:gd name="connsiteY155" fmla="*/ 774280 h 1333436"/>
                <a:gd name="connsiteX156" fmla="*/ 38180 w 752994"/>
                <a:gd name="connsiteY156" fmla="*/ 766721 h 1333436"/>
                <a:gd name="connsiteX157" fmla="*/ 37161 w 752994"/>
                <a:gd name="connsiteY157" fmla="*/ 760405 h 1333436"/>
                <a:gd name="connsiteX158" fmla="*/ 35720 w 752994"/>
                <a:gd name="connsiteY158" fmla="*/ 754710 h 1333436"/>
                <a:gd name="connsiteX159" fmla="*/ 36546 w 752994"/>
                <a:gd name="connsiteY159" fmla="*/ 748773 h 1333436"/>
                <a:gd name="connsiteX160" fmla="*/ 38372 w 752994"/>
                <a:gd name="connsiteY160" fmla="*/ 744528 h 1333436"/>
                <a:gd name="connsiteX161" fmla="*/ 41638 w 752994"/>
                <a:gd name="connsiteY161" fmla="*/ 744321 h 1333436"/>
                <a:gd name="connsiteX162" fmla="*/ 44713 w 752994"/>
                <a:gd name="connsiteY162" fmla="*/ 746357 h 1333436"/>
                <a:gd name="connsiteX163" fmla="*/ 47364 w 752994"/>
                <a:gd name="connsiteY163" fmla="*/ 753260 h 1333436"/>
                <a:gd name="connsiteX164" fmla="*/ 55742 w 752994"/>
                <a:gd name="connsiteY164" fmla="*/ 764305 h 1333436"/>
                <a:gd name="connsiteX165" fmla="*/ 56338 w 752994"/>
                <a:gd name="connsiteY165" fmla="*/ 761233 h 1333436"/>
                <a:gd name="connsiteX166" fmla="*/ 56145 w 752994"/>
                <a:gd name="connsiteY166" fmla="*/ 757368 h 1333436"/>
                <a:gd name="connsiteX167" fmla="*/ 54916 w 752994"/>
                <a:gd name="connsiteY167" fmla="*/ 748601 h 1333436"/>
                <a:gd name="connsiteX168" fmla="*/ 52879 w 752994"/>
                <a:gd name="connsiteY168" fmla="*/ 747358 h 1333436"/>
                <a:gd name="connsiteX169" fmla="*/ 51649 w 752994"/>
                <a:gd name="connsiteY169" fmla="*/ 745322 h 1333436"/>
                <a:gd name="connsiteX170" fmla="*/ 51649 w 752994"/>
                <a:gd name="connsiteY170" fmla="*/ 739212 h 1333436"/>
                <a:gd name="connsiteX171" fmla="*/ 50227 w 752994"/>
                <a:gd name="connsiteY171" fmla="*/ 734725 h 1333436"/>
                <a:gd name="connsiteX172" fmla="*/ 48786 w 752994"/>
                <a:gd name="connsiteY172" fmla="*/ 731446 h 1333436"/>
                <a:gd name="connsiteX173" fmla="*/ 54512 w 752994"/>
                <a:gd name="connsiteY173" fmla="*/ 726372 h 1333436"/>
                <a:gd name="connsiteX174" fmla="*/ 59815 w 752994"/>
                <a:gd name="connsiteY174" fmla="*/ 725130 h 1333436"/>
                <a:gd name="connsiteX175" fmla="*/ 58182 w 752994"/>
                <a:gd name="connsiteY175" fmla="*/ 722886 h 1333436"/>
                <a:gd name="connsiteX176" fmla="*/ 51861 w 752994"/>
                <a:gd name="connsiteY176" fmla="*/ 717985 h 1333436"/>
                <a:gd name="connsiteX177" fmla="*/ 46749 w 752994"/>
                <a:gd name="connsiteY177" fmla="*/ 729617 h 1333436"/>
                <a:gd name="connsiteX178" fmla="*/ 40831 w 752994"/>
                <a:gd name="connsiteY178" fmla="*/ 739212 h 1333436"/>
                <a:gd name="connsiteX179" fmla="*/ 39601 w 752994"/>
                <a:gd name="connsiteY179" fmla="*/ 738798 h 1333436"/>
                <a:gd name="connsiteX180" fmla="*/ 39409 w 752994"/>
                <a:gd name="connsiteY180" fmla="*/ 738591 h 1333436"/>
                <a:gd name="connsiteX181" fmla="*/ 37161 w 752994"/>
                <a:gd name="connsiteY181" fmla="*/ 734725 h 1333436"/>
                <a:gd name="connsiteX182" fmla="*/ 32665 w 752994"/>
                <a:gd name="connsiteY182" fmla="*/ 727788 h 1333436"/>
                <a:gd name="connsiteX183" fmla="*/ 26747 w 752994"/>
                <a:gd name="connsiteY183" fmla="*/ 719435 h 1333436"/>
                <a:gd name="connsiteX184" fmla="*/ 23884 w 752994"/>
                <a:gd name="connsiteY184" fmla="*/ 717812 h 1333436"/>
                <a:gd name="connsiteX185" fmla="*/ 24710 w 752994"/>
                <a:gd name="connsiteY185" fmla="*/ 709632 h 1333436"/>
                <a:gd name="connsiteX186" fmla="*/ 27554 w 752994"/>
                <a:gd name="connsiteY186" fmla="*/ 701694 h 1333436"/>
                <a:gd name="connsiteX187" fmla="*/ 24902 w 752994"/>
                <a:gd name="connsiteY187" fmla="*/ 696171 h 1333436"/>
                <a:gd name="connsiteX188" fmla="*/ 24095 w 752994"/>
                <a:gd name="connsiteY188" fmla="*/ 687818 h 1333436"/>
                <a:gd name="connsiteX189" fmla="*/ 22462 w 752994"/>
                <a:gd name="connsiteY189" fmla="*/ 682330 h 1333436"/>
                <a:gd name="connsiteX190" fmla="*/ 17159 w 752994"/>
                <a:gd name="connsiteY190" fmla="*/ 677636 h 1333436"/>
                <a:gd name="connsiteX191" fmla="*/ 14296 w 752994"/>
                <a:gd name="connsiteY191" fmla="*/ 671492 h 1333436"/>
                <a:gd name="connsiteX192" fmla="*/ 12451 w 752994"/>
                <a:gd name="connsiteY192" fmla="*/ 665797 h 1333436"/>
                <a:gd name="connsiteX193" fmla="*/ 5111 w 752994"/>
                <a:gd name="connsiteY193" fmla="*/ 654994 h 1333436"/>
                <a:gd name="connsiteX194" fmla="*/ 2248 w 752994"/>
                <a:gd name="connsiteY194" fmla="*/ 645605 h 1333436"/>
                <a:gd name="connsiteX195" fmla="*/ 4496 w 752994"/>
                <a:gd name="connsiteY195" fmla="*/ 640497 h 1333436"/>
                <a:gd name="connsiteX196" fmla="*/ 6744 w 752994"/>
                <a:gd name="connsiteY196" fmla="*/ 632765 h 1333436"/>
                <a:gd name="connsiteX197" fmla="*/ 6744 w 752994"/>
                <a:gd name="connsiteY197" fmla="*/ 628485 h 1333436"/>
                <a:gd name="connsiteX198" fmla="*/ 6533 w 752994"/>
                <a:gd name="connsiteY198" fmla="*/ 620305 h 1333436"/>
                <a:gd name="connsiteX199" fmla="*/ 7359 w 752994"/>
                <a:gd name="connsiteY199" fmla="*/ 611745 h 1333436"/>
                <a:gd name="connsiteX200" fmla="*/ 11836 w 752994"/>
                <a:gd name="connsiteY200" fmla="*/ 602978 h 1333436"/>
                <a:gd name="connsiteX201" fmla="*/ 15103 w 752994"/>
                <a:gd name="connsiteY201" fmla="*/ 591760 h 1333436"/>
                <a:gd name="connsiteX202" fmla="*/ 14488 w 752994"/>
                <a:gd name="connsiteY202" fmla="*/ 584029 h 1333436"/>
                <a:gd name="connsiteX203" fmla="*/ 13873 w 752994"/>
                <a:gd name="connsiteY203" fmla="*/ 578299 h 1333436"/>
                <a:gd name="connsiteX204" fmla="*/ 10626 w 752994"/>
                <a:gd name="connsiteY204" fmla="*/ 568531 h 1333436"/>
                <a:gd name="connsiteX205" fmla="*/ 3670 w 752994"/>
                <a:gd name="connsiteY205" fmla="*/ 558107 h 1333436"/>
                <a:gd name="connsiteX206" fmla="*/ 0 w 752994"/>
                <a:gd name="connsiteY206" fmla="*/ 551377 h 1333436"/>
                <a:gd name="connsiteX207" fmla="*/ 0 w 752994"/>
                <a:gd name="connsiteY207" fmla="*/ 550997 h 1333436"/>
                <a:gd name="connsiteX208" fmla="*/ 4900 w 752994"/>
                <a:gd name="connsiteY208" fmla="*/ 531220 h 1333436"/>
                <a:gd name="connsiteX209" fmla="*/ 13873 w 752994"/>
                <a:gd name="connsiteY209" fmla="*/ 520589 h 1333436"/>
                <a:gd name="connsiteX210" fmla="*/ 18369 w 752994"/>
                <a:gd name="connsiteY210" fmla="*/ 516516 h 1333436"/>
                <a:gd name="connsiteX211" fmla="*/ 18773 w 752994"/>
                <a:gd name="connsiteY211" fmla="*/ 514272 h 1333436"/>
                <a:gd name="connsiteX212" fmla="*/ 23077 w 752994"/>
                <a:gd name="connsiteY212" fmla="*/ 506127 h 1333436"/>
                <a:gd name="connsiteX213" fmla="*/ 23884 w 752994"/>
                <a:gd name="connsiteY213" fmla="*/ 502261 h 1333436"/>
                <a:gd name="connsiteX214" fmla="*/ 23692 w 752994"/>
                <a:gd name="connsiteY214" fmla="*/ 496738 h 1333436"/>
                <a:gd name="connsiteX215" fmla="*/ 30013 w 752994"/>
                <a:gd name="connsiteY215" fmla="*/ 486556 h 1333436"/>
                <a:gd name="connsiteX216" fmla="*/ 36546 w 752994"/>
                <a:gd name="connsiteY216" fmla="*/ 470230 h 1333436"/>
                <a:gd name="connsiteX217" fmla="*/ 36546 w 752994"/>
                <a:gd name="connsiteY217" fmla="*/ 462671 h 1333436"/>
                <a:gd name="connsiteX218" fmla="*/ 36335 w 752994"/>
                <a:gd name="connsiteY218" fmla="*/ 461670 h 1333436"/>
                <a:gd name="connsiteX219" fmla="*/ 35931 w 752994"/>
                <a:gd name="connsiteY219" fmla="*/ 453110 h 1333436"/>
                <a:gd name="connsiteX220" fmla="*/ 38583 w 752994"/>
                <a:gd name="connsiteY220" fmla="*/ 442514 h 1333436"/>
                <a:gd name="connsiteX221" fmla="*/ 41043 w 752994"/>
                <a:gd name="connsiteY221" fmla="*/ 436991 h 1333436"/>
                <a:gd name="connsiteX222" fmla="*/ 41650 w 752994"/>
                <a:gd name="connsiteY222" fmla="*/ 437186 h 1333436"/>
                <a:gd name="connsiteX223" fmla="*/ 41239 w 752994"/>
                <a:gd name="connsiteY223" fmla="*/ 436549 h 1333436"/>
                <a:gd name="connsiteX224" fmla="*/ 37778 w 752994"/>
                <a:gd name="connsiteY224" fmla="*/ 433894 h 1333436"/>
                <a:gd name="connsiteX225" fmla="*/ 37169 w 752994"/>
                <a:gd name="connsiteY225" fmla="*/ 432261 h 1333436"/>
                <a:gd name="connsiteX226" fmla="*/ 37365 w 752994"/>
                <a:gd name="connsiteY226" fmla="*/ 429198 h 1333436"/>
                <a:gd name="connsiteX227" fmla="*/ 36756 w 752994"/>
                <a:gd name="connsiteY227" fmla="*/ 422272 h 1333436"/>
                <a:gd name="connsiteX228" fmla="*/ 36952 w 752994"/>
                <a:gd name="connsiteY228" fmla="*/ 418800 h 1333436"/>
                <a:gd name="connsiteX229" fmla="*/ 36756 w 752994"/>
                <a:gd name="connsiteY229" fmla="*/ 412487 h 1333436"/>
                <a:gd name="connsiteX230" fmla="*/ 40433 w 752994"/>
                <a:gd name="connsiteY230" fmla="*/ 406174 h 1333436"/>
                <a:gd name="connsiteX231" fmla="*/ 44720 w 752994"/>
                <a:gd name="connsiteY231" fmla="*/ 399435 h 1333436"/>
                <a:gd name="connsiteX232" fmla="*/ 44110 w 752994"/>
                <a:gd name="connsiteY232" fmla="*/ 389651 h 1333436"/>
                <a:gd name="connsiteX233" fmla="*/ 43894 w 752994"/>
                <a:gd name="connsiteY233" fmla="*/ 378437 h 1333436"/>
                <a:gd name="connsiteX234" fmla="*/ 47158 w 752994"/>
                <a:gd name="connsiteY234" fmla="*/ 371102 h 1333436"/>
                <a:gd name="connsiteX235" fmla="*/ 55731 w 752994"/>
                <a:gd name="connsiteY235" fmla="*/ 360909 h 1333436"/>
                <a:gd name="connsiteX236" fmla="*/ 57580 w 752994"/>
                <a:gd name="connsiteY236" fmla="*/ 355804 h 1333436"/>
                <a:gd name="connsiteX237" fmla="*/ 62673 w 752994"/>
                <a:gd name="connsiteY237" fmla="*/ 349695 h 1333436"/>
                <a:gd name="connsiteX238" fmla="*/ 65937 w 752994"/>
                <a:gd name="connsiteY238" fmla="*/ 348470 h 1333436"/>
                <a:gd name="connsiteX239" fmla="*/ 68395 w 752994"/>
                <a:gd name="connsiteY239" fmla="*/ 348674 h 1333436"/>
                <a:gd name="connsiteX240" fmla="*/ 70224 w 752994"/>
                <a:gd name="connsiteY240" fmla="*/ 347449 h 1333436"/>
                <a:gd name="connsiteX241" fmla="*/ 67785 w 752994"/>
                <a:gd name="connsiteY241" fmla="*/ 345203 h 1333436"/>
                <a:gd name="connsiteX242" fmla="*/ 65524 w 752994"/>
                <a:gd name="connsiteY242" fmla="*/ 343178 h 1333436"/>
                <a:gd name="connsiteX243" fmla="*/ 73095 w 752994"/>
                <a:gd name="connsiteY243" fmla="*/ 333376 h 1333436"/>
                <a:gd name="connsiteX244" fmla="*/ 73291 w 752994"/>
                <a:gd name="connsiteY244" fmla="*/ 333376 h 1333436"/>
                <a:gd name="connsiteX245" fmla="*/ 77991 w 752994"/>
                <a:gd name="connsiteY245" fmla="*/ 325838 h 1333436"/>
                <a:gd name="connsiteX246" fmla="*/ 82671 w 752994"/>
                <a:gd name="connsiteY246" fmla="*/ 313619 h 1333436"/>
                <a:gd name="connsiteX247" fmla="*/ 87980 w 752994"/>
                <a:gd name="connsiteY247" fmla="*/ 303018 h 1333436"/>
                <a:gd name="connsiteX248" fmla="*/ 92267 w 752994"/>
                <a:gd name="connsiteY248" fmla="*/ 291191 h 1333436"/>
                <a:gd name="connsiteX249" fmla="*/ 96553 w 752994"/>
                <a:gd name="connsiteY249" fmla="*/ 281202 h 1333436"/>
                <a:gd name="connsiteX250" fmla="*/ 99621 w 752994"/>
                <a:gd name="connsiteY250" fmla="*/ 274481 h 1333436"/>
                <a:gd name="connsiteX251" fmla="*/ 103082 w 752994"/>
                <a:gd name="connsiteY251" fmla="*/ 262450 h 1333436"/>
                <a:gd name="connsiteX252" fmla="*/ 107172 w 752994"/>
                <a:gd name="connsiteY252" fmla="*/ 254299 h 1333436"/>
                <a:gd name="connsiteX253" fmla="*/ 112481 w 752994"/>
                <a:gd name="connsiteY253" fmla="*/ 243697 h 1333436"/>
                <a:gd name="connsiteX254" fmla="*/ 117181 w 752994"/>
                <a:gd name="connsiteY254" fmla="*/ 232279 h 1333436"/>
                <a:gd name="connsiteX255" fmla="*/ 125951 w 752994"/>
                <a:gd name="connsiteY255" fmla="*/ 217389 h 1333436"/>
                <a:gd name="connsiteX256" fmla="*/ 136156 w 752994"/>
                <a:gd name="connsiteY256" fmla="*/ 202925 h 1333436"/>
                <a:gd name="connsiteX257" fmla="*/ 138811 w 752994"/>
                <a:gd name="connsiteY257" fmla="*/ 183339 h 1333436"/>
                <a:gd name="connsiteX258" fmla="*/ 148801 w 752994"/>
                <a:gd name="connsiteY258" fmla="*/ 167445 h 1333436"/>
                <a:gd name="connsiteX259" fmla="*/ 159616 w 752994"/>
                <a:gd name="connsiteY259" fmla="*/ 170712 h 1333436"/>
                <a:gd name="connsiteX260" fmla="*/ 173105 w 752994"/>
                <a:gd name="connsiteY260" fmla="*/ 175188 h 1333436"/>
                <a:gd name="connsiteX261" fmla="*/ 175347 w 752994"/>
                <a:gd name="connsiteY261" fmla="*/ 175188 h 1333436"/>
                <a:gd name="connsiteX262" fmla="*/ 175347 w 752994"/>
                <a:gd name="connsiteY262" fmla="*/ 173758 h 1333436"/>
                <a:gd name="connsiteX263" fmla="*/ 184975 w 752994"/>
                <a:gd name="connsiteY263" fmla="*/ 187393 h 1333436"/>
                <a:gd name="connsiteX264" fmla="*/ 184762 w 752994"/>
                <a:gd name="connsiteY264" fmla="*/ 184637 h 1333436"/>
                <a:gd name="connsiteX265" fmla="*/ 174971 w 752994"/>
                <a:gd name="connsiteY265" fmla="*/ 170774 h 1333436"/>
                <a:gd name="connsiteX266" fmla="*/ 174971 w 752994"/>
                <a:gd name="connsiteY266" fmla="*/ 169550 h 1333436"/>
                <a:gd name="connsiteX267" fmla="*/ 158851 w 752994"/>
                <a:gd name="connsiteY267" fmla="*/ 156924 h 1333436"/>
                <a:gd name="connsiteX268" fmla="*/ 147025 w 752994"/>
                <a:gd name="connsiteY268" fmla="*/ 145709 h 1333436"/>
                <a:gd name="connsiteX269" fmla="*/ 154364 w 752994"/>
                <a:gd name="connsiteY269" fmla="*/ 136335 h 1333436"/>
                <a:gd name="connsiteX270" fmla="*/ 161511 w 752994"/>
                <a:gd name="connsiteY270" fmla="*/ 131042 h 1333436"/>
                <a:gd name="connsiteX271" fmla="*/ 160902 w 752994"/>
                <a:gd name="connsiteY271" fmla="*/ 128384 h 1333436"/>
                <a:gd name="connsiteX272" fmla="*/ 160277 w 752994"/>
                <a:gd name="connsiteY272" fmla="*/ 127778 h 1333436"/>
                <a:gd name="connsiteX273" fmla="*/ 154973 w 752994"/>
                <a:gd name="connsiteY273" fmla="*/ 122077 h 1333436"/>
                <a:gd name="connsiteX274" fmla="*/ 160277 w 752994"/>
                <a:gd name="connsiteY274" fmla="*/ 115140 h 1333436"/>
                <a:gd name="connsiteX275" fmla="*/ 165181 w 752994"/>
                <a:gd name="connsiteY275" fmla="*/ 108215 h 1333436"/>
                <a:gd name="connsiteX276" fmla="*/ 161303 w 752994"/>
                <a:gd name="connsiteY276" fmla="*/ 104146 h 1333436"/>
                <a:gd name="connsiteX277" fmla="*/ 157842 w 752994"/>
                <a:gd name="connsiteY277" fmla="*/ 104542 h 1333436"/>
                <a:gd name="connsiteX278" fmla="*/ 157024 w 752994"/>
                <a:gd name="connsiteY278" fmla="*/ 102304 h 1333436"/>
                <a:gd name="connsiteX279" fmla="*/ 160694 w 752994"/>
                <a:gd name="connsiteY279" fmla="*/ 55437 h 1333436"/>
                <a:gd name="connsiteX280" fmla="*/ 160486 w 752994"/>
                <a:gd name="connsiteY280" fmla="*/ 31991 h 1333436"/>
                <a:gd name="connsiteX281" fmla="*/ 164972 w 752994"/>
                <a:gd name="connsiteY281" fmla="*/ 18141 h 1333436"/>
                <a:gd name="connsiteX282" fmla="*/ 171911 w 752994"/>
                <a:gd name="connsiteY282" fmla="*/ 11204 h 1333436"/>
                <a:gd name="connsiteX283" fmla="*/ 187406 w 752994"/>
                <a:gd name="connsiteY283" fmla="*/ 21801 h 1333436"/>
                <a:gd name="connsiteX284" fmla="*/ 210866 w 752994"/>
                <a:gd name="connsiteY284" fmla="*/ 37086 h 1333436"/>
                <a:gd name="connsiteX285" fmla="*/ 219230 w 752994"/>
                <a:gd name="connsiteY285" fmla="*/ 41166 h 1333436"/>
                <a:gd name="connsiteX286" fmla="*/ 226778 w 752994"/>
                <a:gd name="connsiteY286" fmla="*/ 47486 h 1333436"/>
                <a:gd name="connsiteX287" fmla="*/ 236152 w 752994"/>
                <a:gd name="connsiteY287" fmla="*/ 52370 h 1333436"/>
                <a:gd name="connsiteX288" fmla="*/ 239629 w 752994"/>
                <a:gd name="connsiteY288" fmla="*/ 58491 h 1333436"/>
                <a:gd name="connsiteX289" fmla="*/ 239629 w 752994"/>
                <a:gd name="connsiteY289" fmla="*/ 63376 h 1333436"/>
                <a:gd name="connsiteX290" fmla="*/ 236568 w 752994"/>
                <a:gd name="connsiteY290" fmla="*/ 67457 h 1333436"/>
                <a:gd name="connsiteX291" fmla="*/ 231264 w 752994"/>
                <a:gd name="connsiteY291" fmla="*/ 69905 h 1333436"/>
                <a:gd name="connsiteX292" fmla="*/ 216778 w 752994"/>
                <a:gd name="connsiteY292" fmla="*/ 82741 h 1333436"/>
                <a:gd name="connsiteX293" fmla="*/ 214134 w 752994"/>
                <a:gd name="connsiteY293" fmla="*/ 93536 h 1333436"/>
                <a:gd name="connsiteX294" fmla="*/ 214535 w 752994"/>
                <a:gd name="connsiteY294" fmla="*/ 96801 h 1333436"/>
                <a:gd name="connsiteX295" fmla="*/ 216378 w 752994"/>
                <a:gd name="connsiteY295" fmla="*/ 96801 h 1333436"/>
                <a:gd name="connsiteX296" fmla="*/ 230046 w 752994"/>
                <a:gd name="connsiteY296" fmla="*/ 85387 h 1333436"/>
                <a:gd name="connsiteX297" fmla="*/ 243298 w 752994"/>
                <a:gd name="connsiteY297" fmla="*/ 75198 h 1333436"/>
                <a:gd name="connsiteX298" fmla="*/ 246760 w 752994"/>
                <a:gd name="connsiteY298" fmla="*/ 77646 h 1333436"/>
                <a:gd name="connsiteX299" fmla="*/ 255541 w 752994"/>
                <a:gd name="connsiteY299" fmla="*/ 63376 h 1333436"/>
                <a:gd name="connsiteX300" fmla="*/ 259611 w 752994"/>
                <a:gd name="connsiteY300" fmla="*/ 43405 h 1333436"/>
                <a:gd name="connsiteX301" fmla="*/ 256967 w 752994"/>
                <a:gd name="connsiteY301" fmla="*/ 38520 h 1333436"/>
                <a:gd name="connsiteX302" fmla="*/ 253906 w 752994"/>
                <a:gd name="connsiteY302" fmla="*/ 34242 h 1333436"/>
                <a:gd name="connsiteX303" fmla="*/ 256967 w 752994"/>
                <a:gd name="connsiteY303" fmla="*/ 30161 h 1333436"/>
                <a:gd name="connsiteX304" fmla="*/ 262063 w 752994"/>
                <a:gd name="connsiteY304" fmla="*/ 27712 h 1333436"/>
                <a:gd name="connsiteX305" fmla="*/ 264915 w 752994"/>
                <a:gd name="connsiteY305" fmla="*/ 23026 h 1333436"/>
                <a:gd name="connsiteX306" fmla="*/ 267976 w 752994"/>
                <a:gd name="connsiteY306" fmla="*/ 22618 h 1333436"/>
                <a:gd name="connsiteX307" fmla="*/ 270427 w 752994"/>
                <a:gd name="connsiteY307" fmla="*/ 20787 h 1333436"/>
                <a:gd name="connsiteX308" fmla="*/ 263088 w 752994"/>
                <a:gd name="connsiteY308" fmla="*/ 13652 h 1333436"/>
                <a:gd name="connsiteX309" fmla="*/ 255541 w 752994"/>
                <a:gd name="connsiteY309" fmla="*/ 3055 h 1333436"/>
                <a:gd name="connsiteX310" fmla="*/ 256358 w 752994"/>
                <a:gd name="connsiteY310" fmla="*/ 1224 h 1333436"/>
                <a:gd name="connsiteX311" fmla="*/ 257159 w 752994"/>
                <a:gd name="connsiteY311"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2499 w 752994"/>
                <a:gd name="connsiteY9" fmla="*/ 237163 h 1333436"/>
                <a:gd name="connsiteX10" fmla="*/ 248418 w 752994"/>
                <a:gd name="connsiteY10" fmla="*/ 244701 h 1333436"/>
                <a:gd name="connsiteX11" fmla="*/ 255359 w 752994"/>
                <a:gd name="connsiteY11" fmla="*/ 244906 h 1333436"/>
                <a:gd name="connsiteX12" fmla="*/ 263303 w 752994"/>
                <a:gd name="connsiteY12" fmla="*/ 246131 h 1333436"/>
                <a:gd name="connsiteX13" fmla="*/ 269438 w 752994"/>
                <a:gd name="connsiteY13" fmla="*/ 243697 h 1333436"/>
                <a:gd name="connsiteX14" fmla="*/ 274944 w 752994"/>
                <a:gd name="connsiteY14" fmla="*/ 241451 h 1333436"/>
                <a:gd name="connsiteX15" fmla="*/ 195162 w 752994"/>
                <a:gd name="connsiteY15" fmla="*/ 228857 h 1333436"/>
                <a:gd name="connsiteX16" fmla="*/ 188223 w 752994"/>
                <a:gd name="connsiteY16" fmla="*/ 223973 h 1333436"/>
                <a:gd name="connsiteX17" fmla="*/ 185163 w 752994"/>
                <a:gd name="connsiteY17" fmla="*/ 219484 h 1333436"/>
                <a:gd name="connsiteX18" fmla="*/ 184180 w 752994"/>
                <a:gd name="connsiteY18" fmla="*/ 213866 h 1333436"/>
                <a:gd name="connsiteX19" fmla="*/ 257159 w 752994"/>
                <a:gd name="connsiteY19" fmla="*/ 0 h 1333436"/>
                <a:gd name="connsiteX20" fmla="*/ 493147 w 752994"/>
                <a:gd name="connsiteY20" fmla="*/ 73157 h 1333436"/>
                <a:gd name="connsiteX21" fmla="*/ 492970 w 752994"/>
                <a:gd name="connsiteY21" fmla="*/ 73792 h 1333436"/>
                <a:gd name="connsiteX22" fmla="*/ 525816 w 752994"/>
                <a:gd name="connsiteY22" fmla="*/ 82491 h 1333436"/>
                <a:gd name="connsiteX23" fmla="*/ 520098 w 752994"/>
                <a:gd name="connsiteY23" fmla="*/ 111245 h 1333436"/>
                <a:gd name="connsiteX24" fmla="*/ 512552 w 752994"/>
                <a:gd name="connsiteY24" fmla="*/ 143854 h 1333436"/>
                <a:gd name="connsiteX25" fmla="*/ 517849 w 752994"/>
                <a:gd name="connsiteY25" fmla="*/ 157740 h 1333436"/>
                <a:gd name="connsiteX26" fmla="*/ 523160 w 752994"/>
                <a:gd name="connsiteY26" fmla="*/ 172009 h 1333436"/>
                <a:gd name="connsiteX27" fmla="*/ 521535 w 752994"/>
                <a:gd name="connsiteY27" fmla="*/ 178928 h 1333436"/>
                <a:gd name="connsiteX28" fmla="*/ 520098 w 752994"/>
                <a:gd name="connsiteY28" fmla="*/ 186279 h 1333436"/>
                <a:gd name="connsiteX29" fmla="*/ 526019 w 752994"/>
                <a:gd name="connsiteY29" fmla="*/ 193629 h 1333436"/>
                <a:gd name="connsiteX30" fmla="*/ 537251 w 752994"/>
                <a:gd name="connsiteY30" fmla="*/ 206270 h 1333436"/>
                <a:gd name="connsiteX31" fmla="*/ 542765 w 752994"/>
                <a:gd name="connsiteY31" fmla="*/ 217475 h 1333436"/>
                <a:gd name="connsiteX32" fmla="*/ 546857 w 752994"/>
                <a:gd name="connsiteY32" fmla="*/ 230930 h 1333436"/>
                <a:gd name="connsiteX33" fmla="*/ 549499 w 752994"/>
                <a:gd name="connsiteY33" fmla="*/ 235622 h 1333436"/>
                <a:gd name="connsiteX34" fmla="*/ 553388 w 752994"/>
                <a:gd name="connsiteY34" fmla="*/ 240722 h 1333436"/>
                <a:gd name="connsiteX35" fmla="*/ 557465 w 752994"/>
                <a:gd name="connsiteY35" fmla="*/ 246037 h 1333436"/>
                <a:gd name="connsiteX36" fmla="*/ 561761 w 752994"/>
                <a:gd name="connsiteY36" fmla="*/ 248671 h 1333436"/>
                <a:gd name="connsiteX37" fmla="*/ 567478 w 752994"/>
                <a:gd name="connsiteY37" fmla="*/ 247665 h 1333436"/>
                <a:gd name="connsiteX38" fmla="*/ 569931 w 752994"/>
                <a:gd name="connsiteY38" fmla="*/ 249293 h 1333436"/>
                <a:gd name="connsiteX39" fmla="*/ 570540 w 752994"/>
                <a:gd name="connsiteY39" fmla="*/ 251951 h 1333436"/>
                <a:gd name="connsiteX40" fmla="*/ 561964 w 752994"/>
                <a:gd name="connsiteY40" fmla="*/ 267656 h 1333436"/>
                <a:gd name="connsiteX41" fmla="*/ 553591 w 752994"/>
                <a:gd name="connsiteY41" fmla="*/ 289659 h 1333436"/>
                <a:gd name="connsiteX42" fmla="*/ 554810 w 752994"/>
                <a:gd name="connsiteY42" fmla="*/ 292939 h 1333436"/>
                <a:gd name="connsiteX43" fmla="*/ 556246 w 752994"/>
                <a:gd name="connsiteY43" fmla="*/ 299260 h 1333436"/>
                <a:gd name="connsiteX44" fmla="*/ 552778 w 752994"/>
                <a:gd name="connsiteY44" fmla="*/ 301917 h 1333436"/>
                <a:gd name="connsiteX45" fmla="*/ 549295 w 752994"/>
                <a:gd name="connsiteY45" fmla="*/ 306993 h 1333436"/>
                <a:gd name="connsiteX46" fmla="*/ 547061 w 752994"/>
                <a:gd name="connsiteY46" fmla="*/ 313122 h 1333436"/>
                <a:gd name="connsiteX47" fmla="*/ 544811 w 752994"/>
                <a:gd name="connsiteY47" fmla="*/ 316593 h 1333436"/>
                <a:gd name="connsiteX48" fmla="*/ 549919 w 752994"/>
                <a:gd name="connsiteY48" fmla="*/ 322698 h 1333436"/>
                <a:gd name="connsiteX49" fmla="*/ 553184 w 752994"/>
                <a:gd name="connsiteY49" fmla="*/ 325955 h 1333436"/>
                <a:gd name="connsiteX50" fmla="*/ 555840 w 752994"/>
                <a:gd name="connsiteY50" fmla="*/ 328205 h 1333436"/>
                <a:gd name="connsiteX51" fmla="*/ 574212 w 752994"/>
                <a:gd name="connsiteY51" fmla="*/ 318820 h 1333436"/>
                <a:gd name="connsiteX52" fmla="*/ 579523 w 752994"/>
                <a:gd name="connsiteY52" fmla="*/ 326577 h 1333436"/>
                <a:gd name="connsiteX53" fmla="*/ 580539 w 752994"/>
                <a:gd name="connsiteY53" fmla="*/ 334933 h 1333436"/>
                <a:gd name="connsiteX54" fmla="*/ 579726 w 752994"/>
                <a:gd name="connsiteY54" fmla="*/ 343097 h 1333436"/>
                <a:gd name="connsiteX55" fmla="*/ 581366 w 752994"/>
                <a:gd name="connsiteY55" fmla="*/ 350231 h 1333436"/>
                <a:gd name="connsiteX56" fmla="*/ 586256 w 752994"/>
                <a:gd name="connsiteY56" fmla="*/ 355930 h 1333436"/>
                <a:gd name="connsiteX57" fmla="*/ 589536 w 752994"/>
                <a:gd name="connsiteY57" fmla="*/ 362059 h 1333436"/>
                <a:gd name="connsiteX58" fmla="*/ 588099 w 752994"/>
                <a:gd name="connsiteY58" fmla="*/ 369600 h 1333436"/>
                <a:gd name="connsiteX59" fmla="*/ 586459 w 752994"/>
                <a:gd name="connsiteY59" fmla="*/ 377357 h 1333436"/>
                <a:gd name="connsiteX60" fmla="*/ 588709 w 752994"/>
                <a:gd name="connsiteY60" fmla="*/ 381835 h 1333436"/>
                <a:gd name="connsiteX61" fmla="*/ 595036 w 752994"/>
                <a:gd name="connsiteY61" fmla="*/ 382457 h 1333436"/>
                <a:gd name="connsiteX62" fmla="*/ 599331 w 752994"/>
                <a:gd name="connsiteY62" fmla="*/ 385306 h 1333436"/>
                <a:gd name="connsiteX63" fmla="*/ 601987 w 752994"/>
                <a:gd name="connsiteY63" fmla="*/ 391004 h 1333436"/>
                <a:gd name="connsiteX64" fmla="*/ 602799 w 752994"/>
                <a:gd name="connsiteY64" fmla="*/ 404076 h 1333436"/>
                <a:gd name="connsiteX65" fmla="*/ 606892 w 752994"/>
                <a:gd name="connsiteY65" fmla="*/ 415688 h 1333436"/>
                <a:gd name="connsiteX66" fmla="*/ 610563 w 752994"/>
                <a:gd name="connsiteY66" fmla="*/ 412217 h 1333436"/>
                <a:gd name="connsiteX67" fmla="*/ 617920 w 752994"/>
                <a:gd name="connsiteY67" fmla="*/ 408769 h 1333436"/>
                <a:gd name="connsiteX68" fmla="*/ 624654 w 752994"/>
                <a:gd name="connsiteY68" fmla="*/ 411211 h 1333436"/>
                <a:gd name="connsiteX69" fmla="*/ 634652 w 752994"/>
                <a:gd name="connsiteY69" fmla="*/ 410182 h 1333436"/>
                <a:gd name="connsiteX70" fmla="*/ 640573 w 752994"/>
                <a:gd name="connsiteY70" fmla="*/ 407739 h 1333436"/>
                <a:gd name="connsiteX71" fmla="*/ 646711 w 752994"/>
                <a:gd name="connsiteY71" fmla="*/ 410589 h 1333436"/>
                <a:gd name="connsiteX72" fmla="*/ 650383 w 752994"/>
                <a:gd name="connsiteY72" fmla="*/ 410589 h 1333436"/>
                <a:gd name="connsiteX73" fmla="*/ 654257 w 752994"/>
                <a:gd name="connsiteY73" fmla="*/ 411618 h 1333436"/>
                <a:gd name="connsiteX74" fmla="*/ 656913 w 752994"/>
                <a:gd name="connsiteY74" fmla="*/ 413653 h 1333436"/>
                <a:gd name="connsiteX75" fmla="*/ 660802 w 752994"/>
                <a:gd name="connsiteY75" fmla="*/ 415090 h 1333436"/>
                <a:gd name="connsiteX76" fmla="*/ 669581 w 752994"/>
                <a:gd name="connsiteY76" fmla="*/ 415904 h 1333436"/>
                <a:gd name="connsiteX77" fmla="*/ 672237 w 752994"/>
                <a:gd name="connsiteY77" fmla="*/ 415688 h 1333436"/>
                <a:gd name="connsiteX78" fmla="*/ 675705 w 752994"/>
                <a:gd name="connsiteY78" fmla="*/ 409367 h 1333436"/>
                <a:gd name="connsiteX79" fmla="*/ 679986 w 752994"/>
                <a:gd name="connsiteY79" fmla="*/ 403238 h 1333436"/>
                <a:gd name="connsiteX80" fmla="*/ 693264 w 752994"/>
                <a:gd name="connsiteY80" fmla="*/ 419567 h 1333436"/>
                <a:gd name="connsiteX81" fmla="*/ 688563 w 752994"/>
                <a:gd name="connsiteY81" fmla="*/ 448321 h 1333436"/>
                <a:gd name="connsiteX82" fmla="*/ 663949 w 752994"/>
                <a:gd name="connsiteY82" fmla="*/ 590165 h 1333436"/>
                <a:gd name="connsiteX83" fmla="*/ 666304 w 752994"/>
                <a:gd name="connsiteY83" fmla="*/ 590504 h 1333436"/>
                <a:gd name="connsiteX84" fmla="*/ 655288 w 752994"/>
                <a:gd name="connsiteY84" fmla="*/ 656178 h 1333436"/>
                <a:gd name="connsiteX85" fmla="*/ 681808 w 752994"/>
                <a:gd name="connsiteY85" fmla="*/ 662301 h 1333436"/>
                <a:gd name="connsiteX86" fmla="*/ 752994 w 752994"/>
                <a:gd name="connsiteY86" fmla="*/ 675560 h 1333436"/>
                <a:gd name="connsiteX87" fmla="*/ 714651 w 752994"/>
                <a:gd name="connsiteY87" fmla="*/ 946985 h 1333436"/>
                <a:gd name="connsiteX88" fmla="*/ 654533 w 752994"/>
                <a:gd name="connsiteY88" fmla="*/ 1333436 h 1333436"/>
                <a:gd name="connsiteX89" fmla="*/ 546831 w 752994"/>
                <a:gd name="connsiteY89" fmla="*/ 1317126 h 1333436"/>
                <a:gd name="connsiteX90" fmla="*/ 351227 w 752994"/>
                <a:gd name="connsiteY90" fmla="*/ 1194172 h 1333436"/>
                <a:gd name="connsiteX91" fmla="*/ 361011 w 752994"/>
                <a:gd name="connsiteY91" fmla="*/ 1182755 h 1333436"/>
                <a:gd name="connsiteX92" fmla="*/ 368981 w 752994"/>
                <a:gd name="connsiteY92" fmla="*/ 1182130 h 1333436"/>
                <a:gd name="connsiteX93" fmla="*/ 369571 w 752994"/>
                <a:gd name="connsiteY93" fmla="*/ 1181558 h 1333436"/>
                <a:gd name="connsiteX94" fmla="*/ 362372 w 752994"/>
                <a:gd name="connsiteY94" fmla="*/ 1182120 h 1333436"/>
                <a:gd name="connsiteX95" fmla="*/ 229464 w 752994"/>
                <a:gd name="connsiteY95" fmla="*/ 1161721 h 1333436"/>
                <a:gd name="connsiteX96" fmla="*/ 227427 w 752994"/>
                <a:gd name="connsiteY96" fmla="*/ 1157269 h 1333436"/>
                <a:gd name="connsiteX97" fmla="*/ 224967 w 752994"/>
                <a:gd name="connsiteY97" fmla="*/ 1152575 h 1333436"/>
                <a:gd name="connsiteX98" fmla="*/ 225582 w 752994"/>
                <a:gd name="connsiteY98" fmla="*/ 1144808 h 1333436"/>
                <a:gd name="connsiteX99" fmla="*/ 227215 w 752994"/>
                <a:gd name="connsiteY99" fmla="*/ 1135834 h 1333436"/>
                <a:gd name="connsiteX100" fmla="*/ 227215 w 752994"/>
                <a:gd name="connsiteY100" fmla="*/ 1134212 h 1333436"/>
                <a:gd name="connsiteX101" fmla="*/ 225179 w 752994"/>
                <a:gd name="connsiteY101" fmla="*/ 1114020 h 1333436"/>
                <a:gd name="connsiteX102" fmla="*/ 217839 w 752994"/>
                <a:gd name="connsiteY102" fmla="*/ 1100352 h 1333436"/>
                <a:gd name="connsiteX103" fmla="*/ 199661 w 752994"/>
                <a:gd name="connsiteY103" fmla="*/ 1076502 h 1333436"/>
                <a:gd name="connsiteX104" fmla="*/ 196395 w 752994"/>
                <a:gd name="connsiteY104" fmla="*/ 1071807 h 1333436"/>
                <a:gd name="connsiteX105" fmla="*/ 190880 w 752994"/>
                <a:gd name="connsiteY105" fmla="*/ 1067527 h 1333436"/>
                <a:gd name="connsiteX106" fmla="*/ 187210 w 752994"/>
                <a:gd name="connsiteY106" fmla="*/ 1068735 h 1333436"/>
                <a:gd name="connsiteX107" fmla="*/ 180062 w 752994"/>
                <a:gd name="connsiteY107" fmla="*/ 1066699 h 1333436"/>
                <a:gd name="connsiteX108" fmla="*/ 180466 w 752994"/>
                <a:gd name="connsiteY108" fmla="*/ 1053031 h 1333436"/>
                <a:gd name="connsiteX109" fmla="*/ 180062 w 752994"/>
                <a:gd name="connsiteY109" fmla="*/ 1045299 h 1333436"/>
                <a:gd name="connsiteX110" fmla="*/ 174144 w 752994"/>
                <a:gd name="connsiteY110" fmla="*/ 1044057 h 1333436"/>
                <a:gd name="connsiteX111" fmla="*/ 158426 w 752994"/>
                <a:gd name="connsiteY111" fmla="*/ 1042641 h 1333436"/>
                <a:gd name="connsiteX112" fmla="*/ 149857 w 752994"/>
                <a:gd name="connsiteY112" fmla="*/ 1035497 h 1333436"/>
                <a:gd name="connsiteX113" fmla="*/ 142497 w 752994"/>
                <a:gd name="connsiteY113" fmla="*/ 1028766 h 1333436"/>
                <a:gd name="connsiteX114" fmla="*/ 140864 w 752994"/>
                <a:gd name="connsiteY114" fmla="*/ 1020620 h 1333436"/>
                <a:gd name="connsiteX115" fmla="*/ 138212 w 752994"/>
                <a:gd name="connsiteY115" fmla="*/ 1013061 h 1333436"/>
                <a:gd name="connsiteX116" fmla="*/ 131064 w 752994"/>
                <a:gd name="connsiteY116" fmla="*/ 1007159 h 1333436"/>
                <a:gd name="connsiteX117" fmla="*/ 121264 w 752994"/>
                <a:gd name="connsiteY117" fmla="*/ 1005330 h 1333436"/>
                <a:gd name="connsiteX118" fmla="*/ 112483 w 752994"/>
                <a:gd name="connsiteY118" fmla="*/ 1001671 h 1333436"/>
                <a:gd name="connsiteX119" fmla="*/ 105950 w 752994"/>
                <a:gd name="connsiteY119" fmla="*/ 995734 h 1333436"/>
                <a:gd name="connsiteX120" fmla="*/ 97380 w 752994"/>
                <a:gd name="connsiteY120" fmla="*/ 994526 h 1333436"/>
                <a:gd name="connsiteX121" fmla="*/ 87984 w 752994"/>
                <a:gd name="connsiteY121" fmla="*/ 991040 h 1333436"/>
                <a:gd name="connsiteX122" fmla="*/ 80029 w 752994"/>
                <a:gd name="connsiteY122" fmla="*/ 985138 h 1333436"/>
                <a:gd name="connsiteX123" fmla="*/ 77166 w 752994"/>
                <a:gd name="connsiteY123" fmla="*/ 976164 h 1333436"/>
                <a:gd name="connsiteX124" fmla="*/ 79203 w 752994"/>
                <a:gd name="connsiteY124" fmla="*/ 970676 h 1333436"/>
                <a:gd name="connsiteX125" fmla="*/ 82470 w 752994"/>
                <a:gd name="connsiteY125" fmla="*/ 963117 h 1333436"/>
                <a:gd name="connsiteX126" fmla="*/ 84314 w 752994"/>
                <a:gd name="connsiteY126" fmla="*/ 954557 h 1333436"/>
                <a:gd name="connsiteX127" fmla="*/ 86351 w 752994"/>
                <a:gd name="connsiteY127" fmla="*/ 948033 h 1333436"/>
                <a:gd name="connsiteX128" fmla="*/ 86159 w 752994"/>
                <a:gd name="connsiteY128" fmla="*/ 942925 h 1333436"/>
                <a:gd name="connsiteX129" fmla="*/ 83085 w 752994"/>
                <a:gd name="connsiteY129" fmla="*/ 939853 h 1333436"/>
                <a:gd name="connsiteX130" fmla="*/ 77570 w 752994"/>
                <a:gd name="connsiteY130" fmla="*/ 937437 h 1333436"/>
                <a:gd name="connsiteX131" fmla="*/ 76763 w 752994"/>
                <a:gd name="connsiteY131" fmla="*/ 931915 h 1333436"/>
                <a:gd name="connsiteX132" fmla="*/ 78800 w 752994"/>
                <a:gd name="connsiteY132" fmla="*/ 927013 h 1333436"/>
                <a:gd name="connsiteX133" fmla="*/ 79626 w 752994"/>
                <a:gd name="connsiteY133" fmla="*/ 922526 h 1333436"/>
                <a:gd name="connsiteX134" fmla="*/ 77781 w 752994"/>
                <a:gd name="connsiteY134" fmla="*/ 919903 h 1333436"/>
                <a:gd name="connsiteX135" fmla="*/ 74303 w 752994"/>
                <a:gd name="connsiteY135" fmla="*/ 917418 h 1333436"/>
                <a:gd name="connsiteX136" fmla="*/ 71863 w 752994"/>
                <a:gd name="connsiteY136" fmla="*/ 915174 h 1333436"/>
                <a:gd name="connsiteX137" fmla="*/ 71652 w 752994"/>
                <a:gd name="connsiteY137" fmla="*/ 910894 h 1333436"/>
                <a:gd name="connsiteX138" fmla="*/ 70633 w 752994"/>
                <a:gd name="connsiteY138" fmla="*/ 906614 h 1333436"/>
                <a:gd name="connsiteX139" fmla="*/ 68385 w 752994"/>
                <a:gd name="connsiteY139" fmla="*/ 902749 h 1333436"/>
                <a:gd name="connsiteX140" fmla="*/ 61045 w 752994"/>
                <a:gd name="connsiteY140" fmla="*/ 889494 h 1333436"/>
                <a:gd name="connsiteX141" fmla="*/ 57971 w 752994"/>
                <a:gd name="connsiteY141" fmla="*/ 875619 h 1333436"/>
                <a:gd name="connsiteX142" fmla="*/ 52264 w 752994"/>
                <a:gd name="connsiteY142" fmla="*/ 862572 h 1333436"/>
                <a:gd name="connsiteX143" fmla="*/ 44309 w 752994"/>
                <a:gd name="connsiteY143" fmla="*/ 850561 h 1333436"/>
                <a:gd name="connsiteX144" fmla="*/ 45520 w 752994"/>
                <a:gd name="connsiteY144" fmla="*/ 827090 h 1333436"/>
                <a:gd name="connsiteX145" fmla="*/ 53071 w 752994"/>
                <a:gd name="connsiteY145" fmla="*/ 822396 h 1333436"/>
                <a:gd name="connsiteX146" fmla="*/ 57375 w 752994"/>
                <a:gd name="connsiteY146" fmla="*/ 816493 h 1333436"/>
                <a:gd name="connsiteX147" fmla="*/ 55319 w 752994"/>
                <a:gd name="connsiteY147" fmla="*/ 801617 h 1333436"/>
                <a:gd name="connsiteX148" fmla="*/ 48383 w 752994"/>
                <a:gd name="connsiteY148" fmla="*/ 802204 h 1333436"/>
                <a:gd name="connsiteX149" fmla="*/ 40428 w 752994"/>
                <a:gd name="connsiteY149" fmla="*/ 797924 h 1333436"/>
                <a:gd name="connsiteX150" fmla="*/ 37565 w 752994"/>
                <a:gd name="connsiteY150" fmla="*/ 790606 h 1333436"/>
                <a:gd name="connsiteX151" fmla="*/ 37565 w 752994"/>
                <a:gd name="connsiteY151" fmla="*/ 790399 h 1333436"/>
                <a:gd name="connsiteX152" fmla="*/ 35931 w 752994"/>
                <a:gd name="connsiteY152" fmla="*/ 785912 h 1333436"/>
                <a:gd name="connsiteX153" fmla="*/ 34510 w 752994"/>
                <a:gd name="connsiteY153" fmla="*/ 780597 h 1333436"/>
                <a:gd name="connsiteX154" fmla="*/ 36335 w 752994"/>
                <a:gd name="connsiteY154" fmla="*/ 774280 h 1333436"/>
                <a:gd name="connsiteX155" fmla="*/ 38180 w 752994"/>
                <a:gd name="connsiteY155" fmla="*/ 766721 h 1333436"/>
                <a:gd name="connsiteX156" fmla="*/ 37161 w 752994"/>
                <a:gd name="connsiteY156" fmla="*/ 760405 h 1333436"/>
                <a:gd name="connsiteX157" fmla="*/ 35720 w 752994"/>
                <a:gd name="connsiteY157" fmla="*/ 754710 h 1333436"/>
                <a:gd name="connsiteX158" fmla="*/ 36546 w 752994"/>
                <a:gd name="connsiteY158" fmla="*/ 748773 h 1333436"/>
                <a:gd name="connsiteX159" fmla="*/ 38372 w 752994"/>
                <a:gd name="connsiteY159" fmla="*/ 744528 h 1333436"/>
                <a:gd name="connsiteX160" fmla="*/ 41638 w 752994"/>
                <a:gd name="connsiteY160" fmla="*/ 744321 h 1333436"/>
                <a:gd name="connsiteX161" fmla="*/ 44713 w 752994"/>
                <a:gd name="connsiteY161" fmla="*/ 746357 h 1333436"/>
                <a:gd name="connsiteX162" fmla="*/ 47364 w 752994"/>
                <a:gd name="connsiteY162" fmla="*/ 753260 h 1333436"/>
                <a:gd name="connsiteX163" fmla="*/ 55742 w 752994"/>
                <a:gd name="connsiteY163" fmla="*/ 764305 h 1333436"/>
                <a:gd name="connsiteX164" fmla="*/ 56338 w 752994"/>
                <a:gd name="connsiteY164" fmla="*/ 761233 h 1333436"/>
                <a:gd name="connsiteX165" fmla="*/ 56145 w 752994"/>
                <a:gd name="connsiteY165" fmla="*/ 757368 h 1333436"/>
                <a:gd name="connsiteX166" fmla="*/ 54916 w 752994"/>
                <a:gd name="connsiteY166" fmla="*/ 748601 h 1333436"/>
                <a:gd name="connsiteX167" fmla="*/ 52879 w 752994"/>
                <a:gd name="connsiteY167" fmla="*/ 747358 h 1333436"/>
                <a:gd name="connsiteX168" fmla="*/ 51649 w 752994"/>
                <a:gd name="connsiteY168" fmla="*/ 745322 h 1333436"/>
                <a:gd name="connsiteX169" fmla="*/ 51649 w 752994"/>
                <a:gd name="connsiteY169" fmla="*/ 739212 h 1333436"/>
                <a:gd name="connsiteX170" fmla="*/ 50227 w 752994"/>
                <a:gd name="connsiteY170" fmla="*/ 734725 h 1333436"/>
                <a:gd name="connsiteX171" fmla="*/ 48786 w 752994"/>
                <a:gd name="connsiteY171" fmla="*/ 731446 h 1333436"/>
                <a:gd name="connsiteX172" fmla="*/ 54512 w 752994"/>
                <a:gd name="connsiteY172" fmla="*/ 726372 h 1333436"/>
                <a:gd name="connsiteX173" fmla="*/ 59815 w 752994"/>
                <a:gd name="connsiteY173" fmla="*/ 725130 h 1333436"/>
                <a:gd name="connsiteX174" fmla="*/ 58182 w 752994"/>
                <a:gd name="connsiteY174" fmla="*/ 722886 h 1333436"/>
                <a:gd name="connsiteX175" fmla="*/ 51861 w 752994"/>
                <a:gd name="connsiteY175" fmla="*/ 717985 h 1333436"/>
                <a:gd name="connsiteX176" fmla="*/ 46749 w 752994"/>
                <a:gd name="connsiteY176" fmla="*/ 729617 h 1333436"/>
                <a:gd name="connsiteX177" fmla="*/ 40831 w 752994"/>
                <a:gd name="connsiteY177" fmla="*/ 739212 h 1333436"/>
                <a:gd name="connsiteX178" fmla="*/ 39601 w 752994"/>
                <a:gd name="connsiteY178" fmla="*/ 738798 h 1333436"/>
                <a:gd name="connsiteX179" fmla="*/ 39409 w 752994"/>
                <a:gd name="connsiteY179" fmla="*/ 738591 h 1333436"/>
                <a:gd name="connsiteX180" fmla="*/ 37161 w 752994"/>
                <a:gd name="connsiteY180" fmla="*/ 734725 h 1333436"/>
                <a:gd name="connsiteX181" fmla="*/ 32665 w 752994"/>
                <a:gd name="connsiteY181" fmla="*/ 727788 h 1333436"/>
                <a:gd name="connsiteX182" fmla="*/ 26747 w 752994"/>
                <a:gd name="connsiteY182" fmla="*/ 719435 h 1333436"/>
                <a:gd name="connsiteX183" fmla="*/ 23884 w 752994"/>
                <a:gd name="connsiteY183" fmla="*/ 717812 h 1333436"/>
                <a:gd name="connsiteX184" fmla="*/ 24710 w 752994"/>
                <a:gd name="connsiteY184" fmla="*/ 709632 h 1333436"/>
                <a:gd name="connsiteX185" fmla="*/ 27554 w 752994"/>
                <a:gd name="connsiteY185" fmla="*/ 701694 h 1333436"/>
                <a:gd name="connsiteX186" fmla="*/ 24902 w 752994"/>
                <a:gd name="connsiteY186" fmla="*/ 696171 h 1333436"/>
                <a:gd name="connsiteX187" fmla="*/ 24095 w 752994"/>
                <a:gd name="connsiteY187" fmla="*/ 687818 h 1333436"/>
                <a:gd name="connsiteX188" fmla="*/ 22462 w 752994"/>
                <a:gd name="connsiteY188" fmla="*/ 682330 h 1333436"/>
                <a:gd name="connsiteX189" fmla="*/ 17159 w 752994"/>
                <a:gd name="connsiteY189" fmla="*/ 677636 h 1333436"/>
                <a:gd name="connsiteX190" fmla="*/ 14296 w 752994"/>
                <a:gd name="connsiteY190" fmla="*/ 671492 h 1333436"/>
                <a:gd name="connsiteX191" fmla="*/ 12451 w 752994"/>
                <a:gd name="connsiteY191" fmla="*/ 665797 h 1333436"/>
                <a:gd name="connsiteX192" fmla="*/ 5111 w 752994"/>
                <a:gd name="connsiteY192" fmla="*/ 654994 h 1333436"/>
                <a:gd name="connsiteX193" fmla="*/ 2248 w 752994"/>
                <a:gd name="connsiteY193" fmla="*/ 645605 h 1333436"/>
                <a:gd name="connsiteX194" fmla="*/ 4496 w 752994"/>
                <a:gd name="connsiteY194" fmla="*/ 640497 h 1333436"/>
                <a:gd name="connsiteX195" fmla="*/ 6744 w 752994"/>
                <a:gd name="connsiteY195" fmla="*/ 632765 h 1333436"/>
                <a:gd name="connsiteX196" fmla="*/ 6744 w 752994"/>
                <a:gd name="connsiteY196" fmla="*/ 628485 h 1333436"/>
                <a:gd name="connsiteX197" fmla="*/ 6533 w 752994"/>
                <a:gd name="connsiteY197" fmla="*/ 620305 h 1333436"/>
                <a:gd name="connsiteX198" fmla="*/ 7359 w 752994"/>
                <a:gd name="connsiteY198" fmla="*/ 611745 h 1333436"/>
                <a:gd name="connsiteX199" fmla="*/ 11836 w 752994"/>
                <a:gd name="connsiteY199" fmla="*/ 602978 h 1333436"/>
                <a:gd name="connsiteX200" fmla="*/ 15103 w 752994"/>
                <a:gd name="connsiteY200" fmla="*/ 591760 h 1333436"/>
                <a:gd name="connsiteX201" fmla="*/ 14488 w 752994"/>
                <a:gd name="connsiteY201" fmla="*/ 584029 h 1333436"/>
                <a:gd name="connsiteX202" fmla="*/ 13873 w 752994"/>
                <a:gd name="connsiteY202" fmla="*/ 578299 h 1333436"/>
                <a:gd name="connsiteX203" fmla="*/ 10626 w 752994"/>
                <a:gd name="connsiteY203" fmla="*/ 568531 h 1333436"/>
                <a:gd name="connsiteX204" fmla="*/ 3670 w 752994"/>
                <a:gd name="connsiteY204" fmla="*/ 558107 h 1333436"/>
                <a:gd name="connsiteX205" fmla="*/ 0 w 752994"/>
                <a:gd name="connsiteY205" fmla="*/ 551377 h 1333436"/>
                <a:gd name="connsiteX206" fmla="*/ 0 w 752994"/>
                <a:gd name="connsiteY206" fmla="*/ 550997 h 1333436"/>
                <a:gd name="connsiteX207" fmla="*/ 4900 w 752994"/>
                <a:gd name="connsiteY207" fmla="*/ 531220 h 1333436"/>
                <a:gd name="connsiteX208" fmla="*/ 13873 w 752994"/>
                <a:gd name="connsiteY208" fmla="*/ 520589 h 1333436"/>
                <a:gd name="connsiteX209" fmla="*/ 18369 w 752994"/>
                <a:gd name="connsiteY209" fmla="*/ 516516 h 1333436"/>
                <a:gd name="connsiteX210" fmla="*/ 18773 w 752994"/>
                <a:gd name="connsiteY210" fmla="*/ 514272 h 1333436"/>
                <a:gd name="connsiteX211" fmla="*/ 23077 w 752994"/>
                <a:gd name="connsiteY211" fmla="*/ 506127 h 1333436"/>
                <a:gd name="connsiteX212" fmla="*/ 23884 w 752994"/>
                <a:gd name="connsiteY212" fmla="*/ 502261 h 1333436"/>
                <a:gd name="connsiteX213" fmla="*/ 23692 w 752994"/>
                <a:gd name="connsiteY213" fmla="*/ 496738 h 1333436"/>
                <a:gd name="connsiteX214" fmla="*/ 30013 w 752994"/>
                <a:gd name="connsiteY214" fmla="*/ 486556 h 1333436"/>
                <a:gd name="connsiteX215" fmla="*/ 36546 w 752994"/>
                <a:gd name="connsiteY215" fmla="*/ 470230 h 1333436"/>
                <a:gd name="connsiteX216" fmla="*/ 36546 w 752994"/>
                <a:gd name="connsiteY216" fmla="*/ 462671 h 1333436"/>
                <a:gd name="connsiteX217" fmla="*/ 36335 w 752994"/>
                <a:gd name="connsiteY217" fmla="*/ 461670 h 1333436"/>
                <a:gd name="connsiteX218" fmla="*/ 35931 w 752994"/>
                <a:gd name="connsiteY218" fmla="*/ 453110 h 1333436"/>
                <a:gd name="connsiteX219" fmla="*/ 38583 w 752994"/>
                <a:gd name="connsiteY219" fmla="*/ 442514 h 1333436"/>
                <a:gd name="connsiteX220" fmla="*/ 41043 w 752994"/>
                <a:gd name="connsiteY220" fmla="*/ 436991 h 1333436"/>
                <a:gd name="connsiteX221" fmla="*/ 41650 w 752994"/>
                <a:gd name="connsiteY221" fmla="*/ 437186 h 1333436"/>
                <a:gd name="connsiteX222" fmla="*/ 41239 w 752994"/>
                <a:gd name="connsiteY222" fmla="*/ 436549 h 1333436"/>
                <a:gd name="connsiteX223" fmla="*/ 37778 w 752994"/>
                <a:gd name="connsiteY223" fmla="*/ 433894 h 1333436"/>
                <a:gd name="connsiteX224" fmla="*/ 37169 w 752994"/>
                <a:gd name="connsiteY224" fmla="*/ 432261 h 1333436"/>
                <a:gd name="connsiteX225" fmla="*/ 37365 w 752994"/>
                <a:gd name="connsiteY225" fmla="*/ 429198 h 1333436"/>
                <a:gd name="connsiteX226" fmla="*/ 36756 w 752994"/>
                <a:gd name="connsiteY226" fmla="*/ 422272 h 1333436"/>
                <a:gd name="connsiteX227" fmla="*/ 36952 w 752994"/>
                <a:gd name="connsiteY227" fmla="*/ 418800 h 1333436"/>
                <a:gd name="connsiteX228" fmla="*/ 36756 w 752994"/>
                <a:gd name="connsiteY228" fmla="*/ 412487 h 1333436"/>
                <a:gd name="connsiteX229" fmla="*/ 40433 w 752994"/>
                <a:gd name="connsiteY229" fmla="*/ 406174 h 1333436"/>
                <a:gd name="connsiteX230" fmla="*/ 44720 w 752994"/>
                <a:gd name="connsiteY230" fmla="*/ 399435 h 1333436"/>
                <a:gd name="connsiteX231" fmla="*/ 44110 w 752994"/>
                <a:gd name="connsiteY231" fmla="*/ 389651 h 1333436"/>
                <a:gd name="connsiteX232" fmla="*/ 43894 w 752994"/>
                <a:gd name="connsiteY232" fmla="*/ 378437 h 1333436"/>
                <a:gd name="connsiteX233" fmla="*/ 47158 w 752994"/>
                <a:gd name="connsiteY233" fmla="*/ 371102 h 1333436"/>
                <a:gd name="connsiteX234" fmla="*/ 55731 w 752994"/>
                <a:gd name="connsiteY234" fmla="*/ 360909 h 1333436"/>
                <a:gd name="connsiteX235" fmla="*/ 57580 w 752994"/>
                <a:gd name="connsiteY235" fmla="*/ 355804 h 1333436"/>
                <a:gd name="connsiteX236" fmla="*/ 62673 w 752994"/>
                <a:gd name="connsiteY236" fmla="*/ 349695 h 1333436"/>
                <a:gd name="connsiteX237" fmla="*/ 65937 w 752994"/>
                <a:gd name="connsiteY237" fmla="*/ 348470 h 1333436"/>
                <a:gd name="connsiteX238" fmla="*/ 68395 w 752994"/>
                <a:gd name="connsiteY238" fmla="*/ 348674 h 1333436"/>
                <a:gd name="connsiteX239" fmla="*/ 70224 w 752994"/>
                <a:gd name="connsiteY239" fmla="*/ 347449 h 1333436"/>
                <a:gd name="connsiteX240" fmla="*/ 67785 w 752994"/>
                <a:gd name="connsiteY240" fmla="*/ 345203 h 1333436"/>
                <a:gd name="connsiteX241" fmla="*/ 65524 w 752994"/>
                <a:gd name="connsiteY241" fmla="*/ 343178 h 1333436"/>
                <a:gd name="connsiteX242" fmla="*/ 73095 w 752994"/>
                <a:gd name="connsiteY242" fmla="*/ 333376 h 1333436"/>
                <a:gd name="connsiteX243" fmla="*/ 73291 w 752994"/>
                <a:gd name="connsiteY243" fmla="*/ 333376 h 1333436"/>
                <a:gd name="connsiteX244" fmla="*/ 77991 w 752994"/>
                <a:gd name="connsiteY244" fmla="*/ 325838 h 1333436"/>
                <a:gd name="connsiteX245" fmla="*/ 82671 w 752994"/>
                <a:gd name="connsiteY245" fmla="*/ 313619 h 1333436"/>
                <a:gd name="connsiteX246" fmla="*/ 87980 w 752994"/>
                <a:gd name="connsiteY246" fmla="*/ 303018 h 1333436"/>
                <a:gd name="connsiteX247" fmla="*/ 92267 w 752994"/>
                <a:gd name="connsiteY247" fmla="*/ 291191 h 1333436"/>
                <a:gd name="connsiteX248" fmla="*/ 96553 w 752994"/>
                <a:gd name="connsiteY248" fmla="*/ 281202 h 1333436"/>
                <a:gd name="connsiteX249" fmla="*/ 99621 w 752994"/>
                <a:gd name="connsiteY249" fmla="*/ 274481 h 1333436"/>
                <a:gd name="connsiteX250" fmla="*/ 103082 w 752994"/>
                <a:gd name="connsiteY250" fmla="*/ 262450 h 1333436"/>
                <a:gd name="connsiteX251" fmla="*/ 107172 w 752994"/>
                <a:gd name="connsiteY251" fmla="*/ 254299 h 1333436"/>
                <a:gd name="connsiteX252" fmla="*/ 112481 w 752994"/>
                <a:gd name="connsiteY252" fmla="*/ 243697 h 1333436"/>
                <a:gd name="connsiteX253" fmla="*/ 117181 w 752994"/>
                <a:gd name="connsiteY253" fmla="*/ 232279 h 1333436"/>
                <a:gd name="connsiteX254" fmla="*/ 125951 w 752994"/>
                <a:gd name="connsiteY254" fmla="*/ 217389 h 1333436"/>
                <a:gd name="connsiteX255" fmla="*/ 136156 w 752994"/>
                <a:gd name="connsiteY255" fmla="*/ 202925 h 1333436"/>
                <a:gd name="connsiteX256" fmla="*/ 138811 w 752994"/>
                <a:gd name="connsiteY256" fmla="*/ 183339 h 1333436"/>
                <a:gd name="connsiteX257" fmla="*/ 148801 w 752994"/>
                <a:gd name="connsiteY257" fmla="*/ 167445 h 1333436"/>
                <a:gd name="connsiteX258" fmla="*/ 159616 w 752994"/>
                <a:gd name="connsiteY258" fmla="*/ 170712 h 1333436"/>
                <a:gd name="connsiteX259" fmla="*/ 173105 w 752994"/>
                <a:gd name="connsiteY259" fmla="*/ 175188 h 1333436"/>
                <a:gd name="connsiteX260" fmla="*/ 175347 w 752994"/>
                <a:gd name="connsiteY260" fmla="*/ 175188 h 1333436"/>
                <a:gd name="connsiteX261" fmla="*/ 175347 w 752994"/>
                <a:gd name="connsiteY261" fmla="*/ 173758 h 1333436"/>
                <a:gd name="connsiteX262" fmla="*/ 184975 w 752994"/>
                <a:gd name="connsiteY262" fmla="*/ 187393 h 1333436"/>
                <a:gd name="connsiteX263" fmla="*/ 184762 w 752994"/>
                <a:gd name="connsiteY263" fmla="*/ 184637 h 1333436"/>
                <a:gd name="connsiteX264" fmla="*/ 174971 w 752994"/>
                <a:gd name="connsiteY264" fmla="*/ 170774 h 1333436"/>
                <a:gd name="connsiteX265" fmla="*/ 174971 w 752994"/>
                <a:gd name="connsiteY265" fmla="*/ 169550 h 1333436"/>
                <a:gd name="connsiteX266" fmla="*/ 158851 w 752994"/>
                <a:gd name="connsiteY266" fmla="*/ 156924 h 1333436"/>
                <a:gd name="connsiteX267" fmla="*/ 147025 w 752994"/>
                <a:gd name="connsiteY267" fmla="*/ 145709 h 1333436"/>
                <a:gd name="connsiteX268" fmla="*/ 154364 w 752994"/>
                <a:gd name="connsiteY268" fmla="*/ 136335 h 1333436"/>
                <a:gd name="connsiteX269" fmla="*/ 161511 w 752994"/>
                <a:gd name="connsiteY269" fmla="*/ 131042 h 1333436"/>
                <a:gd name="connsiteX270" fmla="*/ 160902 w 752994"/>
                <a:gd name="connsiteY270" fmla="*/ 128384 h 1333436"/>
                <a:gd name="connsiteX271" fmla="*/ 160277 w 752994"/>
                <a:gd name="connsiteY271" fmla="*/ 127778 h 1333436"/>
                <a:gd name="connsiteX272" fmla="*/ 154973 w 752994"/>
                <a:gd name="connsiteY272" fmla="*/ 122077 h 1333436"/>
                <a:gd name="connsiteX273" fmla="*/ 160277 w 752994"/>
                <a:gd name="connsiteY273" fmla="*/ 115140 h 1333436"/>
                <a:gd name="connsiteX274" fmla="*/ 165181 w 752994"/>
                <a:gd name="connsiteY274" fmla="*/ 108215 h 1333436"/>
                <a:gd name="connsiteX275" fmla="*/ 161303 w 752994"/>
                <a:gd name="connsiteY275" fmla="*/ 104146 h 1333436"/>
                <a:gd name="connsiteX276" fmla="*/ 157842 w 752994"/>
                <a:gd name="connsiteY276" fmla="*/ 104542 h 1333436"/>
                <a:gd name="connsiteX277" fmla="*/ 157024 w 752994"/>
                <a:gd name="connsiteY277" fmla="*/ 102304 h 1333436"/>
                <a:gd name="connsiteX278" fmla="*/ 160694 w 752994"/>
                <a:gd name="connsiteY278" fmla="*/ 55437 h 1333436"/>
                <a:gd name="connsiteX279" fmla="*/ 160486 w 752994"/>
                <a:gd name="connsiteY279" fmla="*/ 31991 h 1333436"/>
                <a:gd name="connsiteX280" fmla="*/ 164972 w 752994"/>
                <a:gd name="connsiteY280" fmla="*/ 18141 h 1333436"/>
                <a:gd name="connsiteX281" fmla="*/ 171911 w 752994"/>
                <a:gd name="connsiteY281" fmla="*/ 11204 h 1333436"/>
                <a:gd name="connsiteX282" fmla="*/ 187406 w 752994"/>
                <a:gd name="connsiteY282" fmla="*/ 21801 h 1333436"/>
                <a:gd name="connsiteX283" fmla="*/ 210866 w 752994"/>
                <a:gd name="connsiteY283" fmla="*/ 37086 h 1333436"/>
                <a:gd name="connsiteX284" fmla="*/ 219230 w 752994"/>
                <a:gd name="connsiteY284" fmla="*/ 41166 h 1333436"/>
                <a:gd name="connsiteX285" fmla="*/ 226778 w 752994"/>
                <a:gd name="connsiteY285" fmla="*/ 47486 h 1333436"/>
                <a:gd name="connsiteX286" fmla="*/ 236152 w 752994"/>
                <a:gd name="connsiteY286" fmla="*/ 52370 h 1333436"/>
                <a:gd name="connsiteX287" fmla="*/ 239629 w 752994"/>
                <a:gd name="connsiteY287" fmla="*/ 58491 h 1333436"/>
                <a:gd name="connsiteX288" fmla="*/ 239629 w 752994"/>
                <a:gd name="connsiteY288" fmla="*/ 63376 h 1333436"/>
                <a:gd name="connsiteX289" fmla="*/ 236568 w 752994"/>
                <a:gd name="connsiteY289" fmla="*/ 67457 h 1333436"/>
                <a:gd name="connsiteX290" fmla="*/ 231264 w 752994"/>
                <a:gd name="connsiteY290" fmla="*/ 69905 h 1333436"/>
                <a:gd name="connsiteX291" fmla="*/ 216778 w 752994"/>
                <a:gd name="connsiteY291" fmla="*/ 82741 h 1333436"/>
                <a:gd name="connsiteX292" fmla="*/ 214134 w 752994"/>
                <a:gd name="connsiteY292" fmla="*/ 93536 h 1333436"/>
                <a:gd name="connsiteX293" fmla="*/ 214535 w 752994"/>
                <a:gd name="connsiteY293" fmla="*/ 96801 h 1333436"/>
                <a:gd name="connsiteX294" fmla="*/ 216378 w 752994"/>
                <a:gd name="connsiteY294" fmla="*/ 96801 h 1333436"/>
                <a:gd name="connsiteX295" fmla="*/ 230046 w 752994"/>
                <a:gd name="connsiteY295" fmla="*/ 85387 h 1333436"/>
                <a:gd name="connsiteX296" fmla="*/ 243298 w 752994"/>
                <a:gd name="connsiteY296" fmla="*/ 75198 h 1333436"/>
                <a:gd name="connsiteX297" fmla="*/ 246760 w 752994"/>
                <a:gd name="connsiteY297" fmla="*/ 77646 h 1333436"/>
                <a:gd name="connsiteX298" fmla="*/ 255541 w 752994"/>
                <a:gd name="connsiteY298" fmla="*/ 63376 h 1333436"/>
                <a:gd name="connsiteX299" fmla="*/ 259611 w 752994"/>
                <a:gd name="connsiteY299" fmla="*/ 43405 h 1333436"/>
                <a:gd name="connsiteX300" fmla="*/ 256967 w 752994"/>
                <a:gd name="connsiteY300" fmla="*/ 38520 h 1333436"/>
                <a:gd name="connsiteX301" fmla="*/ 253906 w 752994"/>
                <a:gd name="connsiteY301" fmla="*/ 34242 h 1333436"/>
                <a:gd name="connsiteX302" fmla="*/ 256967 w 752994"/>
                <a:gd name="connsiteY302" fmla="*/ 30161 h 1333436"/>
                <a:gd name="connsiteX303" fmla="*/ 262063 w 752994"/>
                <a:gd name="connsiteY303" fmla="*/ 27712 h 1333436"/>
                <a:gd name="connsiteX304" fmla="*/ 264915 w 752994"/>
                <a:gd name="connsiteY304" fmla="*/ 23026 h 1333436"/>
                <a:gd name="connsiteX305" fmla="*/ 267976 w 752994"/>
                <a:gd name="connsiteY305" fmla="*/ 22618 h 1333436"/>
                <a:gd name="connsiteX306" fmla="*/ 270427 w 752994"/>
                <a:gd name="connsiteY306" fmla="*/ 20787 h 1333436"/>
                <a:gd name="connsiteX307" fmla="*/ 263088 w 752994"/>
                <a:gd name="connsiteY307" fmla="*/ 13652 h 1333436"/>
                <a:gd name="connsiteX308" fmla="*/ 255541 w 752994"/>
                <a:gd name="connsiteY308" fmla="*/ 3055 h 1333436"/>
                <a:gd name="connsiteX309" fmla="*/ 256358 w 752994"/>
                <a:gd name="connsiteY309" fmla="*/ 1224 h 1333436"/>
                <a:gd name="connsiteX310" fmla="*/ 257159 w 752994"/>
                <a:gd name="connsiteY310"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8418 w 752994"/>
                <a:gd name="connsiteY9" fmla="*/ 244701 h 1333436"/>
                <a:gd name="connsiteX10" fmla="*/ 255359 w 752994"/>
                <a:gd name="connsiteY10" fmla="*/ 244906 h 1333436"/>
                <a:gd name="connsiteX11" fmla="*/ 263303 w 752994"/>
                <a:gd name="connsiteY11" fmla="*/ 246131 h 1333436"/>
                <a:gd name="connsiteX12" fmla="*/ 269438 w 752994"/>
                <a:gd name="connsiteY12" fmla="*/ 243697 h 1333436"/>
                <a:gd name="connsiteX13" fmla="*/ 274944 w 752994"/>
                <a:gd name="connsiteY13" fmla="*/ 241451 h 1333436"/>
                <a:gd name="connsiteX14" fmla="*/ 195162 w 752994"/>
                <a:gd name="connsiteY14" fmla="*/ 228857 h 1333436"/>
                <a:gd name="connsiteX15" fmla="*/ 188223 w 752994"/>
                <a:gd name="connsiteY15" fmla="*/ 223973 h 1333436"/>
                <a:gd name="connsiteX16" fmla="*/ 185163 w 752994"/>
                <a:gd name="connsiteY16" fmla="*/ 219484 h 1333436"/>
                <a:gd name="connsiteX17" fmla="*/ 184180 w 752994"/>
                <a:gd name="connsiteY17" fmla="*/ 213866 h 1333436"/>
                <a:gd name="connsiteX18" fmla="*/ 257159 w 752994"/>
                <a:gd name="connsiteY18" fmla="*/ 0 h 1333436"/>
                <a:gd name="connsiteX19" fmla="*/ 493147 w 752994"/>
                <a:gd name="connsiteY19" fmla="*/ 73157 h 1333436"/>
                <a:gd name="connsiteX20" fmla="*/ 492970 w 752994"/>
                <a:gd name="connsiteY20" fmla="*/ 73792 h 1333436"/>
                <a:gd name="connsiteX21" fmla="*/ 525816 w 752994"/>
                <a:gd name="connsiteY21" fmla="*/ 82491 h 1333436"/>
                <a:gd name="connsiteX22" fmla="*/ 520098 w 752994"/>
                <a:gd name="connsiteY22" fmla="*/ 111245 h 1333436"/>
                <a:gd name="connsiteX23" fmla="*/ 512552 w 752994"/>
                <a:gd name="connsiteY23" fmla="*/ 143854 h 1333436"/>
                <a:gd name="connsiteX24" fmla="*/ 517849 w 752994"/>
                <a:gd name="connsiteY24" fmla="*/ 157740 h 1333436"/>
                <a:gd name="connsiteX25" fmla="*/ 523160 w 752994"/>
                <a:gd name="connsiteY25" fmla="*/ 172009 h 1333436"/>
                <a:gd name="connsiteX26" fmla="*/ 521535 w 752994"/>
                <a:gd name="connsiteY26" fmla="*/ 178928 h 1333436"/>
                <a:gd name="connsiteX27" fmla="*/ 520098 w 752994"/>
                <a:gd name="connsiteY27" fmla="*/ 186279 h 1333436"/>
                <a:gd name="connsiteX28" fmla="*/ 526019 w 752994"/>
                <a:gd name="connsiteY28" fmla="*/ 193629 h 1333436"/>
                <a:gd name="connsiteX29" fmla="*/ 537251 w 752994"/>
                <a:gd name="connsiteY29" fmla="*/ 206270 h 1333436"/>
                <a:gd name="connsiteX30" fmla="*/ 542765 w 752994"/>
                <a:gd name="connsiteY30" fmla="*/ 217475 h 1333436"/>
                <a:gd name="connsiteX31" fmla="*/ 546857 w 752994"/>
                <a:gd name="connsiteY31" fmla="*/ 230930 h 1333436"/>
                <a:gd name="connsiteX32" fmla="*/ 549499 w 752994"/>
                <a:gd name="connsiteY32" fmla="*/ 235622 h 1333436"/>
                <a:gd name="connsiteX33" fmla="*/ 553388 w 752994"/>
                <a:gd name="connsiteY33" fmla="*/ 240722 h 1333436"/>
                <a:gd name="connsiteX34" fmla="*/ 557465 w 752994"/>
                <a:gd name="connsiteY34" fmla="*/ 246037 h 1333436"/>
                <a:gd name="connsiteX35" fmla="*/ 561761 w 752994"/>
                <a:gd name="connsiteY35" fmla="*/ 248671 h 1333436"/>
                <a:gd name="connsiteX36" fmla="*/ 567478 w 752994"/>
                <a:gd name="connsiteY36" fmla="*/ 247665 h 1333436"/>
                <a:gd name="connsiteX37" fmla="*/ 569931 w 752994"/>
                <a:gd name="connsiteY37" fmla="*/ 249293 h 1333436"/>
                <a:gd name="connsiteX38" fmla="*/ 570540 w 752994"/>
                <a:gd name="connsiteY38" fmla="*/ 251951 h 1333436"/>
                <a:gd name="connsiteX39" fmla="*/ 561964 w 752994"/>
                <a:gd name="connsiteY39" fmla="*/ 267656 h 1333436"/>
                <a:gd name="connsiteX40" fmla="*/ 553591 w 752994"/>
                <a:gd name="connsiteY40" fmla="*/ 289659 h 1333436"/>
                <a:gd name="connsiteX41" fmla="*/ 554810 w 752994"/>
                <a:gd name="connsiteY41" fmla="*/ 292939 h 1333436"/>
                <a:gd name="connsiteX42" fmla="*/ 556246 w 752994"/>
                <a:gd name="connsiteY42" fmla="*/ 299260 h 1333436"/>
                <a:gd name="connsiteX43" fmla="*/ 552778 w 752994"/>
                <a:gd name="connsiteY43" fmla="*/ 301917 h 1333436"/>
                <a:gd name="connsiteX44" fmla="*/ 549295 w 752994"/>
                <a:gd name="connsiteY44" fmla="*/ 306993 h 1333436"/>
                <a:gd name="connsiteX45" fmla="*/ 547061 w 752994"/>
                <a:gd name="connsiteY45" fmla="*/ 313122 h 1333436"/>
                <a:gd name="connsiteX46" fmla="*/ 544811 w 752994"/>
                <a:gd name="connsiteY46" fmla="*/ 316593 h 1333436"/>
                <a:gd name="connsiteX47" fmla="*/ 549919 w 752994"/>
                <a:gd name="connsiteY47" fmla="*/ 322698 h 1333436"/>
                <a:gd name="connsiteX48" fmla="*/ 553184 w 752994"/>
                <a:gd name="connsiteY48" fmla="*/ 325955 h 1333436"/>
                <a:gd name="connsiteX49" fmla="*/ 555840 w 752994"/>
                <a:gd name="connsiteY49" fmla="*/ 328205 h 1333436"/>
                <a:gd name="connsiteX50" fmla="*/ 574212 w 752994"/>
                <a:gd name="connsiteY50" fmla="*/ 318820 h 1333436"/>
                <a:gd name="connsiteX51" fmla="*/ 579523 w 752994"/>
                <a:gd name="connsiteY51" fmla="*/ 326577 h 1333436"/>
                <a:gd name="connsiteX52" fmla="*/ 580539 w 752994"/>
                <a:gd name="connsiteY52" fmla="*/ 334933 h 1333436"/>
                <a:gd name="connsiteX53" fmla="*/ 579726 w 752994"/>
                <a:gd name="connsiteY53" fmla="*/ 343097 h 1333436"/>
                <a:gd name="connsiteX54" fmla="*/ 581366 w 752994"/>
                <a:gd name="connsiteY54" fmla="*/ 350231 h 1333436"/>
                <a:gd name="connsiteX55" fmla="*/ 586256 w 752994"/>
                <a:gd name="connsiteY55" fmla="*/ 355930 h 1333436"/>
                <a:gd name="connsiteX56" fmla="*/ 589536 w 752994"/>
                <a:gd name="connsiteY56" fmla="*/ 362059 h 1333436"/>
                <a:gd name="connsiteX57" fmla="*/ 588099 w 752994"/>
                <a:gd name="connsiteY57" fmla="*/ 369600 h 1333436"/>
                <a:gd name="connsiteX58" fmla="*/ 586459 w 752994"/>
                <a:gd name="connsiteY58" fmla="*/ 377357 h 1333436"/>
                <a:gd name="connsiteX59" fmla="*/ 588709 w 752994"/>
                <a:gd name="connsiteY59" fmla="*/ 381835 h 1333436"/>
                <a:gd name="connsiteX60" fmla="*/ 595036 w 752994"/>
                <a:gd name="connsiteY60" fmla="*/ 382457 h 1333436"/>
                <a:gd name="connsiteX61" fmla="*/ 599331 w 752994"/>
                <a:gd name="connsiteY61" fmla="*/ 385306 h 1333436"/>
                <a:gd name="connsiteX62" fmla="*/ 601987 w 752994"/>
                <a:gd name="connsiteY62" fmla="*/ 391004 h 1333436"/>
                <a:gd name="connsiteX63" fmla="*/ 602799 w 752994"/>
                <a:gd name="connsiteY63" fmla="*/ 404076 h 1333436"/>
                <a:gd name="connsiteX64" fmla="*/ 606892 w 752994"/>
                <a:gd name="connsiteY64" fmla="*/ 415688 h 1333436"/>
                <a:gd name="connsiteX65" fmla="*/ 610563 w 752994"/>
                <a:gd name="connsiteY65" fmla="*/ 412217 h 1333436"/>
                <a:gd name="connsiteX66" fmla="*/ 617920 w 752994"/>
                <a:gd name="connsiteY66" fmla="*/ 408769 h 1333436"/>
                <a:gd name="connsiteX67" fmla="*/ 624654 w 752994"/>
                <a:gd name="connsiteY67" fmla="*/ 411211 h 1333436"/>
                <a:gd name="connsiteX68" fmla="*/ 634652 w 752994"/>
                <a:gd name="connsiteY68" fmla="*/ 410182 h 1333436"/>
                <a:gd name="connsiteX69" fmla="*/ 640573 w 752994"/>
                <a:gd name="connsiteY69" fmla="*/ 407739 h 1333436"/>
                <a:gd name="connsiteX70" fmla="*/ 646711 w 752994"/>
                <a:gd name="connsiteY70" fmla="*/ 410589 h 1333436"/>
                <a:gd name="connsiteX71" fmla="*/ 650383 w 752994"/>
                <a:gd name="connsiteY71" fmla="*/ 410589 h 1333436"/>
                <a:gd name="connsiteX72" fmla="*/ 654257 w 752994"/>
                <a:gd name="connsiteY72" fmla="*/ 411618 h 1333436"/>
                <a:gd name="connsiteX73" fmla="*/ 656913 w 752994"/>
                <a:gd name="connsiteY73" fmla="*/ 413653 h 1333436"/>
                <a:gd name="connsiteX74" fmla="*/ 660802 w 752994"/>
                <a:gd name="connsiteY74" fmla="*/ 415090 h 1333436"/>
                <a:gd name="connsiteX75" fmla="*/ 669581 w 752994"/>
                <a:gd name="connsiteY75" fmla="*/ 415904 h 1333436"/>
                <a:gd name="connsiteX76" fmla="*/ 672237 w 752994"/>
                <a:gd name="connsiteY76" fmla="*/ 415688 h 1333436"/>
                <a:gd name="connsiteX77" fmla="*/ 675705 w 752994"/>
                <a:gd name="connsiteY77" fmla="*/ 409367 h 1333436"/>
                <a:gd name="connsiteX78" fmla="*/ 679986 w 752994"/>
                <a:gd name="connsiteY78" fmla="*/ 403238 h 1333436"/>
                <a:gd name="connsiteX79" fmla="*/ 693264 w 752994"/>
                <a:gd name="connsiteY79" fmla="*/ 419567 h 1333436"/>
                <a:gd name="connsiteX80" fmla="*/ 688563 w 752994"/>
                <a:gd name="connsiteY80" fmla="*/ 448321 h 1333436"/>
                <a:gd name="connsiteX81" fmla="*/ 663949 w 752994"/>
                <a:gd name="connsiteY81" fmla="*/ 590165 h 1333436"/>
                <a:gd name="connsiteX82" fmla="*/ 666304 w 752994"/>
                <a:gd name="connsiteY82" fmla="*/ 590504 h 1333436"/>
                <a:gd name="connsiteX83" fmla="*/ 655288 w 752994"/>
                <a:gd name="connsiteY83" fmla="*/ 656178 h 1333436"/>
                <a:gd name="connsiteX84" fmla="*/ 681808 w 752994"/>
                <a:gd name="connsiteY84" fmla="*/ 662301 h 1333436"/>
                <a:gd name="connsiteX85" fmla="*/ 752994 w 752994"/>
                <a:gd name="connsiteY85" fmla="*/ 675560 h 1333436"/>
                <a:gd name="connsiteX86" fmla="*/ 714651 w 752994"/>
                <a:gd name="connsiteY86" fmla="*/ 946985 h 1333436"/>
                <a:gd name="connsiteX87" fmla="*/ 654533 w 752994"/>
                <a:gd name="connsiteY87" fmla="*/ 1333436 h 1333436"/>
                <a:gd name="connsiteX88" fmla="*/ 546831 w 752994"/>
                <a:gd name="connsiteY88" fmla="*/ 1317126 h 1333436"/>
                <a:gd name="connsiteX89" fmla="*/ 351227 w 752994"/>
                <a:gd name="connsiteY89" fmla="*/ 1194172 h 1333436"/>
                <a:gd name="connsiteX90" fmla="*/ 361011 w 752994"/>
                <a:gd name="connsiteY90" fmla="*/ 1182755 h 1333436"/>
                <a:gd name="connsiteX91" fmla="*/ 368981 w 752994"/>
                <a:gd name="connsiteY91" fmla="*/ 1182130 h 1333436"/>
                <a:gd name="connsiteX92" fmla="*/ 369571 w 752994"/>
                <a:gd name="connsiteY92" fmla="*/ 1181558 h 1333436"/>
                <a:gd name="connsiteX93" fmla="*/ 362372 w 752994"/>
                <a:gd name="connsiteY93" fmla="*/ 1182120 h 1333436"/>
                <a:gd name="connsiteX94" fmla="*/ 229464 w 752994"/>
                <a:gd name="connsiteY94" fmla="*/ 1161721 h 1333436"/>
                <a:gd name="connsiteX95" fmla="*/ 227427 w 752994"/>
                <a:gd name="connsiteY95" fmla="*/ 1157269 h 1333436"/>
                <a:gd name="connsiteX96" fmla="*/ 224967 w 752994"/>
                <a:gd name="connsiteY96" fmla="*/ 1152575 h 1333436"/>
                <a:gd name="connsiteX97" fmla="*/ 225582 w 752994"/>
                <a:gd name="connsiteY97" fmla="*/ 1144808 h 1333436"/>
                <a:gd name="connsiteX98" fmla="*/ 227215 w 752994"/>
                <a:gd name="connsiteY98" fmla="*/ 1135834 h 1333436"/>
                <a:gd name="connsiteX99" fmla="*/ 227215 w 752994"/>
                <a:gd name="connsiteY99" fmla="*/ 1134212 h 1333436"/>
                <a:gd name="connsiteX100" fmla="*/ 225179 w 752994"/>
                <a:gd name="connsiteY100" fmla="*/ 1114020 h 1333436"/>
                <a:gd name="connsiteX101" fmla="*/ 217839 w 752994"/>
                <a:gd name="connsiteY101" fmla="*/ 1100352 h 1333436"/>
                <a:gd name="connsiteX102" fmla="*/ 199661 w 752994"/>
                <a:gd name="connsiteY102" fmla="*/ 1076502 h 1333436"/>
                <a:gd name="connsiteX103" fmla="*/ 196395 w 752994"/>
                <a:gd name="connsiteY103" fmla="*/ 1071807 h 1333436"/>
                <a:gd name="connsiteX104" fmla="*/ 190880 w 752994"/>
                <a:gd name="connsiteY104" fmla="*/ 1067527 h 1333436"/>
                <a:gd name="connsiteX105" fmla="*/ 187210 w 752994"/>
                <a:gd name="connsiteY105" fmla="*/ 1068735 h 1333436"/>
                <a:gd name="connsiteX106" fmla="*/ 180062 w 752994"/>
                <a:gd name="connsiteY106" fmla="*/ 1066699 h 1333436"/>
                <a:gd name="connsiteX107" fmla="*/ 180466 w 752994"/>
                <a:gd name="connsiteY107" fmla="*/ 1053031 h 1333436"/>
                <a:gd name="connsiteX108" fmla="*/ 180062 w 752994"/>
                <a:gd name="connsiteY108" fmla="*/ 1045299 h 1333436"/>
                <a:gd name="connsiteX109" fmla="*/ 174144 w 752994"/>
                <a:gd name="connsiteY109" fmla="*/ 1044057 h 1333436"/>
                <a:gd name="connsiteX110" fmla="*/ 158426 w 752994"/>
                <a:gd name="connsiteY110" fmla="*/ 1042641 h 1333436"/>
                <a:gd name="connsiteX111" fmla="*/ 149857 w 752994"/>
                <a:gd name="connsiteY111" fmla="*/ 1035497 h 1333436"/>
                <a:gd name="connsiteX112" fmla="*/ 142497 w 752994"/>
                <a:gd name="connsiteY112" fmla="*/ 1028766 h 1333436"/>
                <a:gd name="connsiteX113" fmla="*/ 140864 w 752994"/>
                <a:gd name="connsiteY113" fmla="*/ 1020620 h 1333436"/>
                <a:gd name="connsiteX114" fmla="*/ 138212 w 752994"/>
                <a:gd name="connsiteY114" fmla="*/ 1013061 h 1333436"/>
                <a:gd name="connsiteX115" fmla="*/ 131064 w 752994"/>
                <a:gd name="connsiteY115" fmla="*/ 1007159 h 1333436"/>
                <a:gd name="connsiteX116" fmla="*/ 121264 w 752994"/>
                <a:gd name="connsiteY116" fmla="*/ 1005330 h 1333436"/>
                <a:gd name="connsiteX117" fmla="*/ 112483 w 752994"/>
                <a:gd name="connsiteY117" fmla="*/ 1001671 h 1333436"/>
                <a:gd name="connsiteX118" fmla="*/ 105950 w 752994"/>
                <a:gd name="connsiteY118" fmla="*/ 995734 h 1333436"/>
                <a:gd name="connsiteX119" fmla="*/ 97380 w 752994"/>
                <a:gd name="connsiteY119" fmla="*/ 994526 h 1333436"/>
                <a:gd name="connsiteX120" fmla="*/ 87984 w 752994"/>
                <a:gd name="connsiteY120" fmla="*/ 991040 h 1333436"/>
                <a:gd name="connsiteX121" fmla="*/ 80029 w 752994"/>
                <a:gd name="connsiteY121" fmla="*/ 985138 h 1333436"/>
                <a:gd name="connsiteX122" fmla="*/ 77166 w 752994"/>
                <a:gd name="connsiteY122" fmla="*/ 976164 h 1333436"/>
                <a:gd name="connsiteX123" fmla="*/ 79203 w 752994"/>
                <a:gd name="connsiteY123" fmla="*/ 970676 h 1333436"/>
                <a:gd name="connsiteX124" fmla="*/ 82470 w 752994"/>
                <a:gd name="connsiteY124" fmla="*/ 963117 h 1333436"/>
                <a:gd name="connsiteX125" fmla="*/ 84314 w 752994"/>
                <a:gd name="connsiteY125" fmla="*/ 954557 h 1333436"/>
                <a:gd name="connsiteX126" fmla="*/ 86351 w 752994"/>
                <a:gd name="connsiteY126" fmla="*/ 948033 h 1333436"/>
                <a:gd name="connsiteX127" fmla="*/ 86159 w 752994"/>
                <a:gd name="connsiteY127" fmla="*/ 942925 h 1333436"/>
                <a:gd name="connsiteX128" fmla="*/ 83085 w 752994"/>
                <a:gd name="connsiteY128" fmla="*/ 939853 h 1333436"/>
                <a:gd name="connsiteX129" fmla="*/ 77570 w 752994"/>
                <a:gd name="connsiteY129" fmla="*/ 937437 h 1333436"/>
                <a:gd name="connsiteX130" fmla="*/ 76763 w 752994"/>
                <a:gd name="connsiteY130" fmla="*/ 931915 h 1333436"/>
                <a:gd name="connsiteX131" fmla="*/ 78800 w 752994"/>
                <a:gd name="connsiteY131" fmla="*/ 927013 h 1333436"/>
                <a:gd name="connsiteX132" fmla="*/ 79626 w 752994"/>
                <a:gd name="connsiteY132" fmla="*/ 922526 h 1333436"/>
                <a:gd name="connsiteX133" fmla="*/ 77781 w 752994"/>
                <a:gd name="connsiteY133" fmla="*/ 919903 h 1333436"/>
                <a:gd name="connsiteX134" fmla="*/ 74303 w 752994"/>
                <a:gd name="connsiteY134" fmla="*/ 917418 h 1333436"/>
                <a:gd name="connsiteX135" fmla="*/ 71863 w 752994"/>
                <a:gd name="connsiteY135" fmla="*/ 915174 h 1333436"/>
                <a:gd name="connsiteX136" fmla="*/ 71652 w 752994"/>
                <a:gd name="connsiteY136" fmla="*/ 910894 h 1333436"/>
                <a:gd name="connsiteX137" fmla="*/ 70633 w 752994"/>
                <a:gd name="connsiteY137" fmla="*/ 906614 h 1333436"/>
                <a:gd name="connsiteX138" fmla="*/ 68385 w 752994"/>
                <a:gd name="connsiteY138" fmla="*/ 902749 h 1333436"/>
                <a:gd name="connsiteX139" fmla="*/ 61045 w 752994"/>
                <a:gd name="connsiteY139" fmla="*/ 889494 h 1333436"/>
                <a:gd name="connsiteX140" fmla="*/ 57971 w 752994"/>
                <a:gd name="connsiteY140" fmla="*/ 875619 h 1333436"/>
                <a:gd name="connsiteX141" fmla="*/ 52264 w 752994"/>
                <a:gd name="connsiteY141" fmla="*/ 862572 h 1333436"/>
                <a:gd name="connsiteX142" fmla="*/ 44309 w 752994"/>
                <a:gd name="connsiteY142" fmla="*/ 850561 h 1333436"/>
                <a:gd name="connsiteX143" fmla="*/ 45520 w 752994"/>
                <a:gd name="connsiteY143" fmla="*/ 827090 h 1333436"/>
                <a:gd name="connsiteX144" fmla="*/ 53071 w 752994"/>
                <a:gd name="connsiteY144" fmla="*/ 822396 h 1333436"/>
                <a:gd name="connsiteX145" fmla="*/ 57375 w 752994"/>
                <a:gd name="connsiteY145" fmla="*/ 816493 h 1333436"/>
                <a:gd name="connsiteX146" fmla="*/ 55319 w 752994"/>
                <a:gd name="connsiteY146" fmla="*/ 801617 h 1333436"/>
                <a:gd name="connsiteX147" fmla="*/ 48383 w 752994"/>
                <a:gd name="connsiteY147" fmla="*/ 802204 h 1333436"/>
                <a:gd name="connsiteX148" fmla="*/ 40428 w 752994"/>
                <a:gd name="connsiteY148" fmla="*/ 797924 h 1333436"/>
                <a:gd name="connsiteX149" fmla="*/ 37565 w 752994"/>
                <a:gd name="connsiteY149" fmla="*/ 790606 h 1333436"/>
                <a:gd name="connsiteX150" fmla="*/ 37565 w 752994"/>
                <a:gd name="connsiteY150" fmla="*/ 790399 h 1333436"/>
                <a:gd name="connsiteX151" fmla="*/ 35931 w 752994"/>
                <a:gd name="connsiteY151" fmla="*/ 785912 h 1333436"/>
                <a:gd name="connsiteX152" fmla="*/ 34510 w 752994"/>
                <a:gd name="connsiteY152" fmla="*/ 780597 h 1333436"/>
                <a:gd name="connsiteX153" fmla="*/ 36335 w 752994"/>
                <a:gd name="connsiteY153" fmla="*/ 774280 h 1333436"/>
                <a:gd name="connsiteX154" fmla="*/ 38180 w 752994"/>
                <a:gd name="connsiteY154" fmla="*/ 766721 h 1333436"/>
                <a:gd name="connsiteX155" fmla="*/ 37161 w 752994"/>
                <a:gd name="connsiteY155" fmla="*/ 760405 h 1333436"/>
                <a:gd name="connsiteX156" fmla="*/ 35720 w 752994"/>
                <a:gd name="connsiteY156" fmla="*/ 754710 h 1333436"/>
                <a:gd name="connsiteX157" fmla="*/ 36546 w 752994"/>
                <a:gd name="connsiteY157" fmla="*/ 748773 h 1333436"/>
                <a:gd name="connsiteX158" fmla="*/ 38372 w 752994"/>
                <a:gd name="connsiteY158" fmla="*/ 744528 h 1333436"/>
                <a:gd name="connsiteX159" fmla="*/ 41638 w 752994"/>
                <a:gd name="connsiteY159" fmla="*/ 744321 h 1333436"/>
                <a:gd name="connsiteX160" fmla="*/ 44713 w 752994"/>
                <a:gd name="connsiteY160" fmla="*/ 746357 h 1333436"/>
                <a:gd name="connsiteX161" fmla="*/ 47364 w 752994"/>
                <a:gd name="connsiteY161" fmla="*/ 753260 h 1333436"/>
                <a:gd name="connsiteX162" fmla="*/ 55742 w 752994"/>
                <a:gd name="connsiteY162" fmla="*/ 764305 h 1333436"/>
                <a:gd name="connsiteX163" fmla="*/ 56338 w 752994"/>
                <a:gd name="connsiteY163" fmla="*/ 761233 h 1333436"/>
                <a:gd name="connsiteX164" fmla="*/ 56145 w 752994"/>
                <a:gd name="connsiteY164" fmla="*/ 757368 h 1333436"/>
                <a:gd name="connsiteX165" fmla="*/ 54916 w 752994"/>
                <a:gd name="connsiteY165" fmla="*/ 748601 h 1333436"/>
                <a:gd name="connsiteX166" fmla="*/ 52879 w 752994"/>
                <a:gd name="connsiteY166" fmla="*/ 747358 h 1333436"/>
                <a:gd name="connsiteX167" fmla="*/ 51649 w 752994"/>
                <a:gd name="connsiteY167" fmla="*/ 745322 h 1333436"/>
                <a:gd name="connsiteX168" fmla="*/ 51649 w 752994"/>
                <a:gd name="connsiteY168" fmla="*/ 739212 h 1333436"/>
                <a:gd name="connsiteX169" fmla="*/ 50227 w 752994"/>
                <a:gd name="connsiteY169" fmla="*/ 734725 h 1333436"/>
                <a:gd name="connsiteX170" fmla="*/ 48786 w 752994"/>
                <a:gd name="connsiteY170" fmla="*/ 731446 h 1333436"/>
                <a:gd name="connsiteX171" fmla="*/ 54512 w 752994"/>
                <a:gd name="connsiteY171" fmla="*/ 726372 h 1333436"/>
                <a:gd name="connsiteX172" fmla="*/ 59815 w 752994"/>
                <a:gd name="connsiteY172" fmla="*/ 725130 h 1333436"/>
                <a:gd name="connsiteX173" fmla="*/ 58182 w 752994"/>
                <a:gd name="connsiteY173" fmla="*/ 722886 h 1333436"/>
                <a:gd name="connsiteX174" fmla="*/ 51861 w 752994"/>
                <a:gd name="connsiteY174" fmla="*/ 717985 h 1333436"/>
                <a:gd name="connsiteX175" fmla="*/ 46749 w 752994"/>
                <a:gd name="connsiteY175" fmla="*/ 729617 h 1333436"/>
                <a:gd name="connsiteX176" fmla="*/ 40831 w 752994"/>
                <a:gd name="connsiteY176" fmla="*/ 739212 h 1333436"/>
                <a:gd name="connsiteX177" fmla="*/ 39601 w 752994"/>
                <a:gd name="connsiteY177" fmla="*/ 738798 h 1333436"/>
                <a:gd name="connsiteX178" fmla="*/ 39409 w 752994"/>
                <a:gd name="connsiteY178" fmla="*/ 738591 h 1333436"/>
                <a:gd name="connsiteX179" fmla="*/ 37161 w 752994"/>
                <a:gd name="connsiteY179" fmla="*/ 734725 h 1333436"/>
                <a:gd name="connsiteX180" fmla="*/ 32665 w 752994"/>
                <a:gd name="connsiteY180" fmla="*/ 727788 h 1333436"/>
                <a:gd name="connsiteX181" fmla="*/ 26747 w 752994"/>
                <a:gd name="connsiteY181" fmla="*/ 719435 h 1333436"/>
                <a:gd name="connsiteX182" fmla="*/ 23884 w 752994"/>
                <a:gd name="connsiteY182" fmla="*/ 717812 h 1333436"/>
                <a:gd name="connsiteX183" fmla="*/ 24710 w 752994"/>
                <a:gd name="connsiteY183" fmla="*/ 709632 h 1333436"/>
                <a:gd name="connsiteX184" fmla="*/ 27554 w 752994"/>
                <a:gd name="connsiteY184" fmla="*/ 701694 h 1333436"/>
                <a:gd name="connsiteX185" fmla="*/ 24902 w 752994"/>
                <a:gd name="connsiteY185" fmla="*/ 696171 h 1333436"/>
                <a:gd name="connsiteX186" fmla="*/ 24095 w 752994"/>
                <a:gd name="connsiteY186" fmla="*/ 687818 h 1333436"/>
                <a:gd name="connsiteX187" fmla="*/ 22462 w 752994"/>
                <a:gd name="connsiteY187" fmla="*/ 682330 h 1333436"/>
                <a:gd name="connsiteX188" fmla="*/ 17159 w 752994"/>
                <a:gd name="connsiteY188" fmla="*/ 677636 h 1333436"/>
                <a:gd name="connsiteX189" fmla="*/ 14296 w 752994"/>
                <a:gd name="connsiteY189" fmla="*/ 671492 h 1333436"/>
                <a:gd name="connsiteX190" fmla="*/ 12451 w 752994"/>
                <a:gd name="connsiteY190" fmla="*/ 665797 h 1333436"/>
                <a:gd name="connsiteX191" fmla="*/ 5111 w 752994"/>
                <a:gd name="connsiteY191" fmla="*/ 654994 h 1333436"/>
                <a:gd name="connsiteX192" fmla="*/ 2248 w 752994"/>
                <a:gd name="connsiteY192" fmla="*/ 645605 h 1333436"/>
                <a:gd name="connsiteX193" fmla="*/ 4496 w 752994"/>
                <a:gd name="connsiteY193" fmla="*/ 640497 h 1333436"/>
                <a:gd name="connsiteX194" fmla="*/ 6744 w 752994"/>
                <a:gd name="connsiteY194" fmla="*/ 632765 h 1333436"/>
                <a:gd name="connsiteX195" fmla="*/ 6744 w 752994"/>
                <a:gd name="connsiteY195" fmla="*/ 628485 h 1333436"/>
                <a:gd name="connsiteX196" fmla="*/ 6533 w 752994"/>
                <a:gd name="connsiteY196" fmla="*/ 620305 h 1333436"/>
                <a:gd name="connsiteX197" fmla="*/ 7359 w 752994"/>
                <a:gd name="connsiteY197" fmla="*/ 611745 h 1333436"/>
                <a:gd name="connsiteX198" fmla="*/ 11836 w 752994"/>
                <a:gd name="connsiteY198" fmla="*/ 602978 h 1333436"/>
                <a:gd name="connsiteX199" fmla="*/ 15103 w 752994"/>
                <a:gd name="connsiteY199" fmla="*/ 591760 h 1333436"/>
                <a:gd name="connsiteX200" fmla="*/ 14488 w 752994"/>
                <a:gd name="connsiteY200" fmla="*/ 584029 h 1333436"/>
                <a:gd name="connsiteX201" fmla="*/ 13873 w 752994"/>
                <a:gd name="connsiteY201" fmla="*/ 578299 h 1333436"/>
                <a:gd name="connsiteX202" fmla="*/ 10626 w 752994"/>
                <a:gd name="connsiteY202" fmla="*/ 568531 h 1333436"/>
                <a:gd name="connsiteX203" fmla="*/ 3670 w 752994"/>
                <a:gd name="connsiteY203" fmla="*/ 558107 h 1333436"/>
                <a:gd name="connsiteX204" fmla="*/ 0 w 752994"/>
                <a:gd name="connsiteY204" fmla="*/ 551377 h 1333436"/>
                <a:gd name="connsiteX205" fmla="*/ 0 w 752994"/>
                <a:gd name="connsiteY205" fmla="*/ 550997 h 1333436"/>
                <a:gd name="connsiteX206" fmla="*/ 4900 w 752994"/>
                <a:gd name="connsiteY206" fmla="*/ 531220 h 1333436"/>
                <a:gd name="connsiteX207" fmla="*/ 13873 w 752994"/>
                <a:gd name="connsiteY207" fmla="*/ 520589 h 1333436"/>
                <a:gd name="connsiteX208" fmla="*/ 18369 w 752994"/>
                <a:gd name="connsiteY208" fmla="*/ 516516 h 1333436"/>
                <a:gd name="connsiteX209" fmla="*/ 18773 w 752994"/>
                <a:gd name="connsiteY209" fmla="*/ 514272 h 1333436"/>
                <a:gd name="connsiteX210" fmla="*/ 23077 w 752994"/>
                <a:gd name="connsiteY210" fmla="*/ 506127 h 1333436"/>
                <a:gd name="connsiteX211" fmla="*/ 23884 w 752994"/>
                <a:gd name="connsiteY211" fmla="*/ 502261 h 1333436"/>
                <a:gd name="connsiteX212" fmla="*/ 23692 w 752994"/>
                <a:gd name="connsiteY212" fmla="*/ 496738 h 1333436"/>
                <a:gd name="connsiteX213" fmla="*/ 30013 w 752994"/>
                <a:gd name="connsiteY213" fmla="*/ 486556 h 1333436"/>
                <a:gd name="connsiteX214" fmla="*/ 36546 w 752994"/>
                <a:gd name="connsiteY214" fmla="*/ 470230 h 1333436"/>
                <a:gd name="connsiteX215" fmla="*/ 36546 w 752994"/>
                <a:gd name="connsiteY215" fmla="*/ 462671 h 1333436"/>
                <a:gd name="connsiteX216" fmla="*/ 36335 w 752994"/>
                <a:gd name="connsiteY216" fmla="*/ 461670 h 1333436"/>
                <a:gd name="connsiteX217" fmla="*/ 35931 w 752994"/>
                <a:gd name="connsiteY217" fmla="*/ 453110 h 1333436"/>
                <a:gd name="connsiteX218" fmla="*/ 38583 w 752994"/>
                <a:gd name="connsiteY218" fmla="*/ 442514 h 1333436"/>
                <a:gd name="connsiteX219" fmla="*/ 41043 w 752994"/>
                <a:gd name="connsiteY219" fmla="*/ 436991 h 1333436"/>
                <a:gd name="connsiteX220" fmla="*/ 41650 w 752994"/>
                <a:gd name="connsiteY220" fmla="*/ 437186 h 1333436"/>
                <a:gd name="connsiteX221" fmla="*/ 41239 w 752994"/>
                <a:gd name="connsiteY221" fmla="*/ 436549 h 1333436"/>
                <a:gd name="connsiteX222" fmla="*/ 37778 w 752994"/>
                <a:gd name="connsiteY222" fmla="*/ 433894 h 1333436"/>
                <a:gd name="connsiteX223" fmla="*/ 37169 w 752994"/>
                <a:gd name="connsiteY223" fmla="*/ 432261 h 1333436"/>
                <a:gd name="connsiteX224" fmla="*/ 37365 w 752994"/>
                <a:gd name="connsiteY224" fmla="*/ 429198 h 1333436"/>
                <a:gd name="connsiteX225" fmla="*/ 36756 w 752994"/>
                <a:gd name="connsiteY225" fmla="*/ 422272 h 1333436"/>
                <a:gd name="connsiteX226" fmla="*/ 36952 w 752994"/>
                <a:gd name="connsiteY226" fmla="*/ 418800 h 1333436"/>
                <a:gd name="connsiteX227" fmla="*/ 36756 w 752994"/>
                <a:gd name="connsiteY227" fmla="*/ 412487 h 1333436"/>
                <a:gd name="connsiteX228" fmla="*/ 40433 w 752994"/>
                <a:gd name="connsiteY228" fmla="*/ 406174 h 1333436"/>
                <a:gd name="connsiteX229" fmla="*/ 44720 w 752994"/>
                <a:gd name="connsiteY229" fmla="*/ 399435 h 1333436"/>
                <a:gd name="connsiteX230" fmla="*/ 44110 w 752994"/>
                <a:gd name="connsiteY230" fmla="*/ 389651 h 1333436"/>
                <a:gd name="connsiteX231" fmla="*/ 43894 w 752994"/>
                <a:gd name="connsiteY231" fmla="*/ 378437 h 1333436"/>
                <a:gd name="connsiteX232" fmla="*/ 47158 w 752994"/>
                <a:gd name="connsiteY232" fmla="*/ 371102 h 1333436"/>
                <a:gd name="connsiteX233" fmla="*/ 55731 w 752994"/>
                <a:gd name="connsiteY233" fmla="*/ 360909 h 1333436"/>
                <a:gd name="connsiteX234" fmla="*/ 57580 w 752994"/>
                <a:gd name="connsiteY234" fmla="*/ 355804 h 1333436"/>
                <a:gd name="connsiteX235" fmla="*/ 62673 w 752994"/>
                <a:gd name="connsiteY235" fmla="*/ 349695 h 1333436"/>
                <a:gd name="connsiteX236" fmla="*/ 65937 w 752994"/>
                <a:gd name="connsiteY236" fmla="*/ 348470 h 1333436"/>
                <a:gd name="connsiteX237" fmla="*/ 68395 w 752994"/>
                <a:gd name="connsiteY237" fmla="*/ 348674 h 1333436"/>
                <a:gd name="connsiteX238" fmla="*/ 70224 w 752994"/>
                <a:gd name="connsiteY238" fmla="*/ 347449 h 1333436"/>
                <a:gd name="connsiteX239" fmla="*/ 67785 w 752994"/>
                <a:gd name="connsiteY239" fmla="*/ 345203 h 1333436"/>
                <a:gd name="connsiteX240" fmla="*/ 65524 w 752994"/>
                <a:gd name="connsiteY240" fmla="*/ 343178 h 1333436"/>
                <a:gd name="connsiteX241" fmla="*/ 73095 w 752994"/>
                <a:gd name="connsiteY241" fmla="*/ 333376 h 1333436"/>
                <a:gd name="connsiteX242" fmla="*/ 73291 w 752994"/>
                <a:gd name="connsiteY242" fmla="*/ 333376 h 1333436"/>
                <a:gd name="connsiteX243" fmla="*/ 77991 w 752994"/>
                <a:gd name="connsiteY243" fmla="*/ 325838 h 1333436"/>
                <a:gd name="connsiteX244" fmla="*/ 82671 w 752994"/>
                <a:gd name="connsiteY244" fmla="*/ 313619 h 1333436"/>
                <a:gd name="connsiteX245" fmla="*/ 87980 w 752994"/>
                <a:gd name="connsiteY245" fmla="*/ 303018 h 1333436"/>
                <a:gd name="connsiteX246" fmla="*/ 92267 w 752994"/>
                <a:gd name="connsiteY246" fmla="*/ 291191 h 1333436"/>
                <a:gd name="connsiteX247" fmla="*/ 96553 w 752994"/>
                <a:gd name="connsiteY247" fmla="*/ 281202 h 1333436"/>
                <a:gd name="connsiteX248" fmla="*/ 99621 w 752994"/>
                <a:gd name="connsiteY248" fmla="*/ 274481 h 1333436"/>
                <a:gd name="connsiteX249" fmla="*/ 103082 w 752994"/>
                <a:gd name="connsiteY249" fmla="*/ 262450 h 1333436"/>
                <a:gd name="connsiteX250" fmla="*/ 107172 w 752994"/>
                <a:gd name="connsiteY250" fmla="*/ 254299 h 1333436"/>
                <a:gd name="connsiteX251" fmla="*/ 112481 w 752994"/>
                <a:gd name="connsiteY251" fmla="*/ 243697 h 1333436"/>
                <a:gd name="connsiteX252" fmla="*/ 117181 w 752994"/>
                <a:gd name="connsiteY252" fmla="*/ 232279 h 1333436"/>
                <a:gd name="connsiteX253" fmla="*/ 125951 w 752994"/>
                <a:gd name="connsiteY253" fmla="*/ 217389 h 1333436"/>
                <a:gd name="connsiteX254" fmla="*/ 136156 w 752994"/>
                <a:gd name="connsiteY254" fmla="*/ 202925 h 1333436"/>
                <a:gd name="connsiteX255" fmla="*/ 138811 w 752994"/>
                <a:gd name="connsiteY255" fmla="*/ 183339 h 1333436"/>
                <a:gd name="connsiteX256" fmla="*/ 148801 w 752994"/>
                <a:gd name="connsiteY256" fmla="*/ 167445 h 1333436"/>
                <a:gd name="connsiteX257" fmla="*/ 159616 w 752994"/>
                <a:gd name="connsiteY257" fmla="*/ 170712 h 1333436"/>
                <a:gd name="connsiteX258" fmla="*/ 173105 w 752994"/>
                <a:gd name="connsiteY258" fmla="*/ 175188 h 1333436"/>
                <a:gd name="connsiteX259" fmla="*/ 175347 w 752994"/>
                <a:gd name="connsiteY259" fmla="*/ 175188 h 1333436"/>
                <a:gd name="connsiteX260" fmla="*/ 175347 w 752994"/>
                <a:gd name="connsiteY260" fmla="*/ 173758 h 1333436"/>
                <a:gd name="connsiteX261" fmla="*/ 184975 w 752994"/>
                <a:gd name="connsiteY261" fmla="*/ 187393 h 1333436"/>
                <a:gd name="connsiteX262" fmla="*/ 184762 w 752994"/>
                <a:gd name="connsiteY262" fmla="*/ 184637 h 1333436"/>
                <a:gd name="connsiteX263" fmla="*/ 174971 w 752994"/>
                <a:gd name="connsiteY263" fmla="*/ 170774 h 1333436"/>
                <a:gd name="connsiteX264" fmla="*/ 174971 w 752994"/>
                <a:gd name="connsiteY264" fmla="*/ 169550 h 1333436"/>
                <a:gd name="connsiteX265" fmla="*/ 158851 w 752994"/>
                <a:gd name="connsiteY265" fmla="*/ 156924 h 1333436"/>
                <a:gd name="connsiteX266" fmla="*/ 147025 w 752994"/>
                <a:gd name="connsiteY266" fmla="*/ 145709 h 1333436"/>
                <a:gd name="connsiteX267" fmla="*/ 154364 w 752994"/>
                <a:gd name="connsiteY267" fmla="*/ 136335 h 1333436"/>
                <a:gd name="connsiteX268" fmla="*/ 161511 w 752994"/>
                <a:gd name="connsiteY268" fmla="*/ 131042 h 1333436"/>
                <a:gd name="connsiteX269" fmla="*/ 160902 w 752994"/>
                <a:gd name="connsiteY269" fmla="*/ 128384 h 1333436"/>
                <a:gd name="connsiteX270" fmla="*/ 160277 w 752994"/>
                <a:gd name="connsiteY270" fmla="*/ 127778 h 1333436"/>
                <a:gd name="connsiteX271" fmla="*/ 154973 w 752994"/>
                <a:gd name="connsiteY271" fmla="*/ 122077 h 1333436"/>
                <a:gd name="connsiteX272" fmla="*/ 160277 w 752994"/>
                <a:gd name="connsiteY272" fmla="*/ 115140 h 1333436"/>
                <a:gd name="connsiteX273" fmla="*/ 165181 w 752994"/>
                <a:gd name="connsiteY273" fmla="*/ 108215 h 1333436"/>
                <a:gd name="connsiteX274" fmla="*/ 161303 w 752994"/>
                <a:gd name="connsiteY274" fmla="*/ 104146 h 1333436"/>
                <a:gd name="connsiteX275" fmla="*/ 157842 w 752994"/>
                <a:gd name="connsiteY275" fmla="*/ 104542 h 1333436"/>
                <a:gd name="connsiteX276" fmla="*/ 157024 w 752994"/>
                <a:gd name="connsiteY276" fmla="*/ 102304 h 1333436"/>
                <a:gd name="connsiteX277" fmla="*/ 160694 w 752994"/>
                <a:gd name="connsiteY277" fmla="*/ 55437 h 1333436"/>
                <a:gd name="connsiteX278" fmla="*/ 160486 w 752994"/>
                <a:gd name="connsiteY278" fmla="*/ 31991 h 1333436"/>
                <a:gd name="connsiteX279" fmla="*/ 164972 w 752994"/>
                <a:gd name="connsiteY279" fmla="*/ 18141 h 1333436"/>
                <a:gd name="connsiteX280" fmla="*/ 171911 w 752994"/>
                <a:gd name="connsiteY280" fmla="*/ 11204 h 1333436"/>
                <a:gd name="connsiteX281" fmla="*/ 187406 w 752994"/>
                <a:gd name="connsiteY281" fmla="*/ 21801 h 1333436"/>
                <a:gd name="connsiteX282" fmla="*/ 210866 w 752994"/>
                <a:gd name="connsiteY282" fmla="*/ 37086 h 1333436"/>
                <a:gd name="connsiteX283" fmla="*/ 219230 w 752994"/>
                <a:gd name="connsiteY283" fmla="*/ 41166 h 1333436"/>
                <a:gd name="connsiteX284" fmla="*/ 226778 w 752994"/>
                <a:gd name="connsiteY284" fmla="*/ 47486 h 1333436"/>
                <a:gd name="connsiteX285" fmla="*/ 236152 w 752994"/>
                <a:gd name="connsiteY285" fmla="*/ 52370 h 1333436"/>
                <a:gd name="connsiteX286" fmla="*/ 239629 w 752994"/>
                <a:gd name="connsiteY286" fmla="*/ 58491 h 1333436"/>
                <a:gd name="connsiteX287" fmla="*/ 239629 w 752994"/>
                <a:gd name="connsiteY287" fmla="*/ 63376 h 1333436"/>
                <a:gd name="connsiteX288" fmla="*/ 236568 w 752994"/>
                <a:gd name="connsiteY288" fmla="*/ 67457 h 1333436"/>
                <a:gd name="connsiteX289" fmla="*/ 231264 w 752994"/>
                <a:gd name="connsiteY289" fmla="*/ 69905 h 1333436"/>
                <a:gd name="connsiteX290" fmla="*/ 216778 w 752994"/>
                <a:gd name="connsiteY290" fmla="*/ 82741 h 1333436"/>
                <a:gd name="connsiteX291" fmla="*/ 214134 w 752994"/>
                <a:gd name="connsiteY291" fmla="*/ 93536 h 1333436"/>
                <a:gd name="connsiteX292" fmla="*/ 214535 w 752994"/>
                <a:gd name="connsiteY292" fmla="*/ 96801 h 1333436"/>
                <a:gd name="connsiteX293" fmla="*/ 216378 w 752994"/>
                <a:gd name="connsiteY293" fmla="*/ 96801 h 1333436"/>
                <a:gd name="connsiteX294" fmla="*/ 230046 w 752994"/>
                <a:gd name="connsiteY294" fmla="*/ 85387 h 1333436"/>
                <a:gd name="connsiteX295" fmla="*/ 243298 w 752994"/>
                <a:gd name="connsiteY295" fmla="*/ 75198 h 1333436"/>
                <a:gd name="connsiteX296" fmla="*/ 246760 w 752994"/>
                <a:gd name="connsiteY296" fmla="*/ 77646 h 1333436"/>
                <a:gd name="connsiteX297" fmla="*/ 255541 w 752994"/>
                <a:gd name="connsiteY297" fmla="*/ 63376 h 1333436"/>
                <a:gd name="connsiteX298" fmla="*/ 259611 w 752994"/>
                <a:gd name="connsiteY298" fmla="*/ 43405 h 1333436"/>
                <a:gd name="connsiteX299" fmla="*/ 256967 w 752994"/>
                <a:gd name="connsiteY299" fmla="*/ 38520 h 1333436"/>
                <a:gd name="connsiteX300" fmla="*/ 253906 w 752994"/>
                <a:gd name="connsiteY300" fmla="*/ 34242 h 1333436"/>
                <a:gd name="connsiteX301" fmla="*/ 256967 w 752994"/>
                <a:gd name="connsiteY301" fmla="*/ 30161 h 1333436"/>
                <a:gd name="connsiteX302" fmla="*/ 262063 w 752994"/>
                <a:gd name="connsiteY302" fmla="*/ 27712 h 1333436"/>
                <a:gd name="connsiteX303" fmla="*/ 264915 w 752994"/>
                <a:gd name="connsiteY303" fmla="*/ 23026 h 1333436"/>
                <a:gd name="connsiteX304" fmla="*/ 267976 w 752994"/>
                <a:gd name="connsiteY304" fmla="*/ 22618 h 1333436"/>
                <a:gd name="connsiteX305" fmla="*/ 270427 w 752994"/>
                <a:gd name="connsiteY305" fmla="*/ 20787 h 1333436"/>
                <a:gd name="connsiteX306" fmla="*/ 263088 w 752994"/>
                <a:gd name="connsiteY306" fmla="*/ 13652 h 1333436"/>
                <a:gd name="connsiteX307" fmla="*/ 255541 w 752994"/>
                <a:gd name="connsiteY307" fmla="*/ 3055 h 1333436"/>
                <a:gd name="connsiteX308" fmla="*/ 256358 w 752994"/>
                <a:gd name="connsiteY308" fmla="*/ 1224 h 1333436"/>
                <a:gd name="connsiteX309" fmla="*/ 257159 w 752994"/>
                <a:gd name="connsiteY309"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8418 w 752994"/>
                <a:gd name="connsiteY9" fmla="*/ 244701 h 1333436"/>
                <a:gd name="connsiteX10" fmla="*/ 255359 w 752994"/>
                <a:gd name="connsiteY10" fmla="*/ 244906 h 1333436"/>
                <a:gd name="connsiteX11" fmla="*/ 263303 w 752994"/>
                <a:gd name="connsiteY11" fmla="*/ 246131 h 1333436"/>
                <a:gd name="connsiteX12" fmla="*/ 269438 w 752994"/>
                <a:gd name="connsiteY12" fmla="*/ 243697 h 1333436"/>
                <a:gd name="connsiteX13" fmla="*/ 195162 w 752994"/>
                <a:gd name="connsiteY13" fmla="*/ 228857 h 1333436"/>
                <a:gd name="connsiteX14" fmla="*/ 188223 w 752994"/>
                <a:gd name="connsiteY14" fmla="*/ 223973 h 1333436"/>
                <a:gd name="connsiteX15" fmla="*/ 185163 w 752994"/>
                <a:gd name="connsiteY15" fmla="*/ 219484 h 1333436"/>
                <a:gd name="connsiteX16" fmla="*/ 184180 w 752994"/>
                <a:gd name="connsiteY16" fmla="*/ 213866 h 1333436"/>
                <a:gd name="connsiteX17" fmla="*/ 257159 w 752994"/>
                <a:gd name="connsiteY17" fmla="*/ 0 h 1333436"/>
                <a:gd name="connsiteX18" fmla="*/ 493147 w 752994"/>
                <a:gd name="connsiteY18" fmla="*/ 73157 h 1333436"/>
                <a:gd name="connsiteX19" fmla="*/ 492970 w 752994"/>
                <a:gd name="connsiteY19" fmla="*/ 73792 h 1333436"/>
                <a:gd name="connsiteX20" fmla="*/ 525816 w 752994"/>
                <a:gd name="connsiteY20" fmla="*/ 82491 h 1333436"/>
                <a:gd name="connsiteX21" fmla="*/ 520098 w 752994"/>
                <a:gd name="connsiteY21" fmla="*/ 111245 h 1333436"/>
                <a:gd name="connsiteX22" fmla="*/ 512552 w 752994"/>
                <a:gd name="connsiteY22" fmla="*/ 143854 h 1333436"/>
                <a:gd name="connsiteX23" fmla="*/ 517849 w 752994"/>
                <a:gd name="connsiteY23" fmla="*/ 157740 h 1333436"/>
                <a:gd name="connsiteX24" fmla="*/ 523160 w 752994"/>
                <a:gd name="connsiteY24" fmla="*/ 172009 h 1333436"/>
                <a:gd name="connsiteX25" fmla="*/ 521535 w 752994"/>
                <a:gd name="connsiteY25" fmla="*/ 178928 h 1333436"/>
                <a:gd name="connsiteX26" fmla="*/ 520098 w 752994"/>
                <a:gd name="connsiteY26" fmla="*/ 186279 h 1333436"/>
                <a:gd name="connsiteX27" fmla="*/ 526019 w 752994"/>
                <a:gd name="connsiteY27" fmla="*/ 193629 h 1333436"/>
                <a:gd name="connsiteX28" fmla="*/ 537251 w 752994"/>
                <a:gd name="connsiteY28" fmla="*/ 206270 h 1333436"/>
                <a:gd name="connsiteX29" fmla="*/ 542765 w 752994"/>
                <a:gd name="connsiteY29" fmla="*/ 217475 h 1333436"/>
                <a:gd name="connsiteX30" fmla="*/ 546857 w 752994"/>
                <a:gd name="connsiteY30" fmla="*/ 230930 h 1333436"/>
                <a:gd name="connsiteX31" fmla="*/ 549499 w 752994"/>
                <a:gd name="connsiteY31" fmla="*/ 235622 h 1333436"/>
                <a:gd name="connsiteX32" fmla="*/ 553388 w 752994"/>
                <a:gd name="connsiteY32" fmla="*/ 240722 h 1333436"/>
                <a:gd name="connsiteX33" fmla="*/ 557465 w 752994"/>
                <a:gd name="connsiteY33" fmla="*/ 246037 h 1333436"/>
                <a:gd name="connsiteX34" fmla="*/ 561761 w 752994"/>
                <a:gd name="connsiteY34" fmla="*/ 248671 h 1333436"/>
                <a:gd name="connsiteX35" fmla="*/ 567478 w 752994"/>
                <a:gd name="connsiteY35" fmla="*/ 247665 h 1333436"/>
                <a:gd name="connsiteX36" fmla="*/ 569931 w 752994"/>
                <a:gd name="connsiteY36" fmla="*/ 249293 h 1333436"/>
                <a:gd name="connsiteX37" fmla="*/ 570540 w 752994"/>
                <a:gd name="connsiteY37" fmla="*/ 251951 h 1333436"/>
                <a:gd name="connsiteX38" fmla="*/ 561964 w 752994"/>
                <a:gd name="connsiteY38" fmla="*/ 267656 h 1333436"/>
                <a:gd name="connsiteX39" fmla="*/ 553591 w 752994"/>
                <a:gd name="connsiteY39" fmla="*/ 289659 h 1333436"/>
                <a:gd name="connsiteX40" fmla="*/ 554810 w 752994"/>
                <a:gd name="connsiteY40" fmla="*/ 292939 h 1333436"/>
                <a:gd name="connsiteX41" fmla="*/ 556246 w 752994"/>
                <a:gd name="connsiteY41" fmla="*/ 299260 h 1333436"/>
                <a:gd name="connsiteX42" fmla="*/ 552778 w 752994"/>
                <a:gd name="connsiteY42" fmla="*/ 301917 h 1333436"/>
                <a:gd name="connsiteX43" fmla="*/ 549295 w 752994"/>
                <a:gd name="connsiteY43" fmla="*/ 306993 h 1333436"/>
                <a:gd name="connsiteX44" fmla="*/ 547061 w 752994"/>
                <a:gd name="connsiteY44" fmla="*/ 313122 h 1333436"/>
                <a:gd name="connsiteX45" fmla="*/ 544811 w 752994"/>
                <a:gd name="connsiteY45" fmla="*/ 316593 h 1333436"/>
                <a:gd name="connsiteX46" fmla="*/ 549919 w 752994"/>
                <a:gd name="connsiteY46" fmla="*/ 322698 h 1333436"/>
                <a:gd name="connsiteX47" fmla="*/ 553184 w 752994"/>
                <a:gd name="connsiteY47" fmla="*/ 325955 h 1333436"/>
                <a:gd name="connsiteX48" fmla="*/ 555840 w 752994"/>
                <a:gd name="connsiteY48" fmla="*/ 328205 h 1333436"/>
                <a:gd name="connsiteX49" fmla="*/ 574212 w 752994"/>
                <a:gd name="connsiteY49" fmla="*/ 318820 h 1333436"/>
                <a:gd name="connsiteX50" fmla="*/ 579523 w 752994"/>
                <a:gd name="connsiteY50" fmla="*/ 326577 h 1333436"/>
                <a:gd name="connsiteX51" fmla="*/ 580539 w 752994"/>
                <a:gd name="connsiteY51" fmla="*/ 334933 h 1333436"/>
                <a:gd name="connsiteX52" fmla="*/ 579726 w 752994"/>
                <a:gd name="connsiteY52" fmla="*/ 343097 h 1333436"/>
                <a:gd name="connsiteX53" fmla="*/ 581366 w 752994"/>
                <a:gd name="connsiteY53" fmla="*/ 350231 h 1333436"/>
                <a:gd name="connsiteX54" fmla="*/ 586256 w 752994"/>
                <a:gd name="connsiteY54" fmla="*/ 355930 h 1333436"/>
                <a:gd name="connsiteX55" fmla="*/ 589536 w 752994"/>
                <a:gd name="connsiteY55" fmla="*/ 362059 h 1333436"/>
                <a:gd name="connsiteX56" fmla="*/ 588099 w 752994"/>
                <a:gd name="connsiteY56" fmla="*/ 369600 h 1333436"/>
                <a:gd name="connsiteX57" fmla="*/ 586459 w 752994"/>
                <a:gd name="connsiteY57" fmla="*/ 377357 h 1333436"/>
                <a:gd name="connsiteX58" fmla="*/ 588709 w 752994"/>
                <a:gd name="connsiteY58" fmla="*/ 381835 h 1333436"/>
                <a:gd name="connsiteX59" fmla="*/ 595036 w 752994"/>
                <a:gd name="connsiteY59" fmla="*/ 382457 h 1333436"/>
                <a:gd name="connsiteX60" fmla="*/ 599331 w 752994"/>
                <a:gd name="connsiteY60" fmla="*/ 385306 h 1333436"/>
                <a:gd name="connsiteX61" fmla="*/ 601987 w 752994"/>
                <a:gd name="connsiteY61" fmla="*/ 391004 h 1333436"/>
                <a:gd name="connsiteX62" fmla="*/ 602799 w 752994"/>
                <a:gd name="connsiteY62" fmla="*/ 404076 h 1333436"/>
                <a:gd name="connsiteX63" fmla="*/ 606892 w 752994"/>
                <a:gd name="connsiteY63" fmla="*/ 415688 h 1333436"/>
                <a:gd name="connsiteX64" fmla="*/ 610563 w 752994"/>
                <a:gd name="connsiteY64" fmla="*/ 412217 h 1333436"/>
                <a:gd name="connsiteX65" fmla="*/ 617920 w 752994"/>
                <a:gd name="connsiteY65" fmla="*/ 408769 h 1333436"/>
                <a:gd name="connsiteX66" fmla="*/ 624654 w 752994"/>
                <a:gd name="connsiteY66" fmla="*/ 411211 h 1333436"/>
                <a:gd name="connsiteX67" fmla="*/ 634652 w 752994"/>
                <a:gd name="connsiteY67" fmla="*/ 410182 h 1333436"/>
                <a:gd name="connsiteX68" fmla="*/ 640573 w 752994"/>
                <a:gd name="connsiteY68" fmla="*/ 407739 h 1333436"/>
                <a:gd name="connsiteX69" fmla="*/ 646711 w 752994"/>
                <a:gd name="connsiteY69" fmla="*/ 410589 h 1333436"/>
                <a:gd name="connsiteX70" fmla="*/ 650383 w 752994"/>
                <a:gd name="connsiteY70" fmla="*/ 410589 h 1333436"/>
                <a:gd name="connsiteX71" fmla="*/ 654257 w 752994"/>
                <a:gd name="connsiteY71" fmla="*/ 411618 h 1333436"/>
                <a:gd name="connsiteX72" fmla="*/ 656913 w 752994"/>
                <a:gd name="connsiteY72" fmla="*/ 413653 h 1333436"/>
                <a:gd name="connsiteX73" fmla="*/ 660802 w 752994"/>
                <a:gd name="connsiteY73" fmla="*/ 415090 h 1333436"/>
                <a:gd name="connsiteX74" fmla="*/ 669581 w 752994"/>
                <a:gd name="connsiteY74" fmla="*/ 415904 h 1333436"/>
                <a:gd name="connsiteX75" fmla="*/ 672237 w 752994"/>
                <a:gd name="connsiteY75" fmla="*/ 415688 h 1333436"/>
                <a:gd name="connsiteX76" fmla="*/ 675705 w 752994"/>
                <a:gd name="connsiteY76" fmla="*/ 409367 h 1333436"/>
                <a:gd name="connsiteX77" fmla="*/ 679986 w 752994"/>
                <a:gd name="connsiteY77" fmla="*/ 403238 h 1333436"/>
                <a:gd name="connsiteX78" fmla="*/ 693264 w 752994"/>
                <a:gd name="connsiteY78" fmla="*/ 419567 h 1333436"/>
                <a:gd name="connsiteX79" fmla="*/ 688563 w 752994"/>
                <a:gd name="connsiteY79" fmla="*/ 448321 h 1333436"/>
                <a:gd name="connsiteX80" fmla="*/ 663949 w 752994"/>
                <a:gd name="connsiteY80" fmla="*/ 590165 h 1333436"/>
                <a:gd name="connsiteX81" fmla="*/ 666304 w 752994"/>
                <a:gd name="connsiteY81" fmla="*/ 590504 h 1333436"/>
                <a:gd name="connsiteX82" fmla="*/ 655288 w 752994"/>
                <a:gd name="connsiteY82" fmla="*/ 656178 h 1333436"/>
                <a:gd name="connsiteX83" fmla="*/ 681808 w 752994"/>
                <a:gd name="connsiteY83" fmla="*/ 662301 h 1333436"/>
                <a:gd name="connsiteX84" fmla="*/ 752994 w 752994"/>
                <a:gd name="connsiteY84" fmla="*/ 675560 h 1333436"/>
                <a:gd name="connsiteX85" fmla="*/ 714651 w 752994"/>
                <a:gd name="connsiteY85" fmla="*/ 946985 h 1333436"/>
                <a:gd name="connsiteX86" fmla="*/ 654533 w 752994"/>
                <a:gd name="connsiteY86" fmla="*/ 1333436 h 1333436"/>
                <a:gd name="connsiteX87" fmla="*/ 546831 w 752994"/>
                <a:gd name="connsiteY87" fmla="*/ 1317126 h 1333436"/>
                <a:gd name="connsiteX88" fmla="*/ 351227 w 752994"/>
                <a:gd name="connsiteY88" fmla="*/ 1194172 h 1333436"/>
                <a:gd name="connsiteX89" fmla="*/ 361011 w 752994"/>
                <a:gd name="connsiteY89" fmla="*/ 1182755 h 1333436"/>
                <a:gd name="connsiteX90" fmla="*/ 368981 w 752994"/>
                <a:gd name="connsiteY90" fmla="*/ 1182130 h 1333436"/>
                <a:gd name="connsiteX91" fmla="*/ 369571 w 752994"/>
                <a:gd name="connsiteY91" fmla="*/ 1181558 h 1333436"/>
                <a:gd name="connsiteX92" fmla="*/ 362372 w 752994"/>
                <a:gd name="connsiteY92" fmla="*/ 1182120 h 1333436"/>
                <a:gd name="connsiteX93" fmla="*/ 229464 w 752994"/>
                <a:gd name="connsiteY93" fmla="*/ 1161721 h 1333436"/>
                <a:gd name="connsiteX94" fmla="*/ 227427 w 752994"/>
                <a:gd name="connsiteY94" fmla="*/ 1157269 h 1333436"/>
                <a:gd name="connsiteX95" fmla="*/ 224967 w 752994"/>
                <a:gd name="connsiteY95" fmla="*/ 1152575 h 1333436"/>
                <a:gd name="connsiteX96" fmla="*/ 225582 w 752994"/>
                <a:gd name="connsiteY96" fmla="*/ 1144808 h 1333436"/>
                <a:gd name="connsiteX97" fmla="*/ 227215 w 752994"/>
                <a:gd name="connsiteY97" fmla="*/ 1135834 h 1333436"/>
                <a:gd name="connsiteX98" fmla="*/ 227215 w 752994"/>
                <a:gd name="connsiteY98" fmla="*/ 1134212 h 1333436"/>
                <a:gd name="connsiteX99" fmla="*/ 225179 w 752994"/>
                <a:gd name="connsiteY99" fmla="*/ 1114020 h 1333436"/>
                <a:gd name="connsiteX100" fmla="*/ 217839 w 752994"/>
                <a:gd name="connsiteY100" fmla="*/ 1100352 h 1333436"/>
                <a:gd name="connsiteX101" fmla="*/ 199661 w 752994"/>
                <a:gd name="connsiteY101" fmla="*/ 1076502 h 1333436"/>
                <a:gd name="connsiteX102" fmla="*/ 196395 w 752994"/>
                <a:gd name="connsiteY102" fmla="*/ 1071807 h 1333436"/>
                <a:gd name="connsiteX103" fmla="*/ 190880 w 752994"/>
                <a:gd name="connsiteY103" fmla="*/ 1067527 h 1333436"/>
                <a:gd name="connsiteX104" fmla="*/ 187210 w 752994"/>
                <a:gd name="connsiteY104" fmla="*/ 1068735 h 1333436"/>
                <a:gd name="connsiteX105" fmla="*/ 180062 w 752994"/>
                <a:gd name="connsiteY105" fmla="*/ 1066699 h 1333436"/>
                <a:gd name="connsiteX106" fmla="*/ 180466 w 752994"/>
                <a:gd name="connsiteY106" fmla="*/ 1053031 h 1333436"/>
                <a:gd name="connsiteX107" fmla="*/ 180062 w 752994"/>
                <a:gd name="connsiteY107" fmla="*/ 1045299 h 1333436"/>
                <a:gd name="connsiteX108" fmla="*/ 174144 w 752994"/>
                <a:gd name="connsiteY108" fmla="*/ 1044057 h 1333436"/>
                <a:gd name="connsiteX109" fmla="*/ 158426 w 752994"/>
                <a:gd name="connsiteY109" fmla="*/ 1042641 h 1333436"/>
                <a:gd name="connsiteX110" fmla="*/ 149857 w 752994"/>
                <a:gd name="connsiteY110" fmla="*/ 1035497 h 1333436"/>
                <a:gd name="connsiteX111" fmla="*/ 142497 w 752994"/>
                <a:gd name="connsiteY111" fmla="*/ 1028766 h 1333436"/>
                <a:gd name="connsiteX112" fmla="*/ 140864 w 752994"/>
                <a:gd name="connsiteY112" fmla="*/ 1020620 h 1333436"/>
                <a:gd name="connsiteX113" fmla="*/ 138212 w 752994"/>
                <a:gd name="connsiteY113" fmla="*/ 1013061 h 1333436"/>
                <a:gd name="connsiteX114" fmla="*/ 131064 w 752994"/>
                <a:gd name="connsiteY114" fmla="*/ 1007159 h 1333436"/>
                <a:gd name="connsiteX115" fmla="*/ 121264 w 752994"/>
                <a:gd name="connsiteY115" fmla="*/ 1005330 h 1333436"/>
                <a:gd name="connsiteX116" fmla="*/ 112483 w 752994"/>
                <a:gd name="connsiteY116" fmla="*/ 1001671 h 1333436"/>
                <a:gd name="connsiteX117" fmla="*/ 105950 w 752994"/>
                <a:gd name="connsiteY117" fmla="*/ 995734 h 1333436"/>
                <a:gd name="connsiteX118" fmla="*/ 97380 w 752994"/>
                <a:gd name="connsiteY118" fmla="*/ 994526 h 1333436"/>
                <a:gd name="connsiteX119" fmla="*/ 87984 w 752994"/>
                <a:gd name="connsiteY119" fmla="*/ 991040 h 1333436"/>
                <a:gd name="connsiteX120" fmla="*/ 80029 w 752994"/>
                <a:gd name="connsiteY120" fmla="*/ 985138 h 1333436"/>
                <a:gd name="connsiteX121" fmla="*/ 77166 w 752994"/>
                <a:gd name="connsiteY121" fmla="*/ 976164 h 1333436"/>
                <a:gd name="connsiteX122" fmla="*/ 79203 w 752994"/>
                <a:gd name="connsiteY122" fmla="*/ 970676 h 1333436"/>
                <a:gd name="connsiteX123" fmla="*/ 82470 w 752994"/>
                <a:gd name="connsiteY123" fmla="*/ 963117 h 1333436"/>
                <a:gd name="connsiteX124" fmla="*/ 84314 w 752994"/>
                <a:gd name="connsiteY124" fmla="*/ 954557 h 1333436"/>
                <a:gd name="connsiteX125" fmla="*/ 86351 w 752994"/>
                <a:gd name="connsiteY125" fmla="*/ 948033 h 1333436"/>
                <a:gd name="connsiteX126" fmla="*/ 86159 w 752994"/>
                <a:gd name="connsiteY126" fmla="*/ 942925 h 1333436"/>
                <a:gd name="connsiteX127" fmla="*/ 83085 w 752994"/>
                <a:gd name="connsiteY127" fmla="*/ 939853 h 1333436"/>
                <a:gd name="connsiteX128" fmla="*/ 77570 w 752994"/>
                <a:gd name="connsiteY128" fmla="*/ 937437 h 1333436"/>
                <a:gd name="connsiteX129" fmla="*/ 76763 w 752994"/>
                <a:gd name="connsiteY129" fmla="*/ 931915 h 1333436"/>
                <a:gd name="connsiteX130" fmla="*/ 78800 w 752994"/>
                <a:gd name="connsiteY130" fmla="*/ 927013 h 1333436"/>
                <a:gd name="connsiteX131" fmla="*/ 79626 w 752994"/>
                <a:gd name="connsiteY131" fmla="*/ 922526 h 1333436"/>
                <a:gd name="connsiteX132" fmla="*/ 77781 w 752994"/>
                <a:gd name="connsiteY132" fmla="*/ 919903 h 1333436"/>
                <a:gd name="connsiteX133" fmla="*/ 74303 w 752994"/>
                <a:gd name="connsiteY133" fmla="*/ 917418 h 1333436"/>
                <a:gd name="connsiteX134" fmla="*/ 71863 w 752994"/>
                <a:gd name="connsiteY134" fmla="*/ 915174 h 1333436"/>
                <a:gd name="connsiteX135" fmla="*/ 71652 w 752994"/>
                <a:gd name="connsiteY135" fmla="*/ 910894 h 1333436"/>
                <a:gd name="connsiteX136" fmla="*/ 70633 w 752994"/>
                <a:gd name="connsiteY136" fmla="*/ 906614 h 1333436"/>
                <a:gd name="connsiteX137" fmla="*/ 68385 w 752994"/>
                <a:gd name="connsiteY137" fmla="*/ 902749 h 1333436"/>
                <a:gd name="connsiteX138" fmla="*/ 61045 w 752994"/>
                <a:gd name="connsiteY138" fmla="*/ 889494 h 1333436"/>
                <a:gd name="connsiteX139" fmla="*/ 57971 w 752994"/>
                <a:gd name="connsiteY139" fmla="*/ 875619 h 1333436"/>
                <a:gd name="connsiteX140" fmla="*/ 52264 w 752994"/>
                <a:gd name="connsiteY140" fmla="*/ 862572 h 1333436"/>
                <a:gd name="connsiteX141" fmla="*/ 44309 w 752994"/>
                <a:gd name="connsiteY141" fmla="*/ 850561 h 1333436"/>
                <a:gd name="connsiteX142" fmla="*/ 45520 w 752994"/>
                <a:gd name="connsiteY142" fmla="*/ 827090 h 1333436"/>
                <a:gd name="connsiteX143" fmla="*/ 53071 w 752994"/>
                <a:gd name="connsiteY143" fmla="*/ 822396 h 1333436"/>
                <a:gd name="connsiteX144" fmla="*/ 57375 w 752994"/>
                <a:gd name="connsiteY144" fmla="*/ 816493 h 1333436"/>
                <a:gd name="connsiteX145" fmla="*/ 55319 w 752994"/>
                <a:gd name="connsiteY145" fmla="*/ 801617 h 1333436"/>
                <a:gd name="connsiteX146" fmla="*/ 48383 w 752994"/>
                <a:gd name="connsiteY146" fmla="*/ 802204 h 1333436"/>
                <a:gd name="connsiteX147" fmla="*/ 40428 w 752994"/>
                <a:gd name="connsiteY147" fmla="*/ 797924 h 1333436"/>
                <a:gd name="connsiteX148" fmla="*/ 37565 w 752994"/>
                <a:gd name="connsiteY148" fmla="*/ 790606 h 1333436"/>
                <a:gd name="connsiteX149" fmla="*/ 37565 w 752994"/>
                <a:gd name="connsiteY149" fmla="*/ 790399 h 1333436"/>
                <a:gd name="connsiteX150" fmla="*/ 35931 w 752994"/>
                <a:gd name="connsiteY150" fmla="*/ 785912 h 1333436"/>
                <a:gd name="connsiteX151" fmla="*/ 34510 w 752994"/>
                <a:gd name="connsiteY151" fmla="*/ 780597 h 1333436"/>
                <a:gd name="connsiteX152" fmla="*/ 36335 w 752994"/>
                <a:gd name="connsiteY152" fmla="*/ 774280 h 1333436"/>
                <a:gd name="connsiteX153" fmla="*/ 38180 w 752994"/>
                <a:gd name="connsiteY153" fmla="*/ 766721 h 1333436"/>
                <a:gd name="connsiteX154" fmla="*/ 37161 w 752994"/>
                <a:gd name="connsiteY154" fmla="*/ 760405 h 1333436"/>
                <a:gd name="connsiteX155" fmla="*/ 35720 w 752994"/>
                <a:gd name="connsiteY155" fmla="*/ 754710 h 1333436"/>
                <a:gd name="connsiteX156" fmla="*/ 36546 w 752994"/>
                <a:gd name="connsiteY156" fmla="*/ 748773 h 1333436"/>
                <a:gd name="connsiteX157" fmla="*/ 38372 w 752994"/>
                <a:gd name="connsiteY157" fmla="*/ 744528 h 1333436"/>
                <a:gd name="connsiteX158" fmla="*/ 41638 w 752994"/>
                <a:gd name="connsiteY158" fmla="*/ 744321 h 1333436"/>
                <a:gd name="connsiteX159" fmla="*/ 44713 w 752994"/>
                <a:gd name="connsiteY159" fmla="*/ 746357 h 1333436"/>
                <a:gd name="connsiteX160" fmla="*/ 47364 w 752994"/>
                <a:gd name="connsiteY160" fmla="*/ 753260 h 1333436"/>
                <a:gd name="connsiteX161" fmla="*/ 55742 w 752994"/>
                <a:gd name="connsiteY161" fmla="*/ 764305 h 1333436"/>
                <a:gd name="connsiteX162" fmla="*/ 56338 w 752994"/>
                <a:gd name="connsiteY162" fmla="*/ 761233 h 1333436"/>
                <a:gd name="connsiteX163" fmla="*/ 56145 w 752994"/>
                <a:gd name="connsiteY163" fmla="*/ 757368 h 1333436"/>
                <a:gd name="connsiteX164" fmla="*/ 54916 w 752994"/>
                <a:gd name="connsiteY164" fmla="*/ 748601 h 1333436"/>
                <a:gd name="connsiteX165" fmla="*/ 52879 w 752994"/>
                <a:gd name="connsiteY165" fmla="*/ 747358 h 1333436"/>
                <a:gd name="connsiteX166" fmla="*/ 51649 w 752994"/>
                <a:gd name="connsiteY166" fmla="*/ 745322 h 1333436"/>
                <a:gd name="connsiteX167" fmla="*/ 51649 w 752994"/>
                <a:gd name="connsiteY167" fmla="*/ 739212 h 1333436"/>
                <a:gd name="connsiteX168" fmla="*/ 50227 w 752994"/>
                <a:gd name="connsiteY168" fmla="*/ 734725 h 1333436"/>
                <a:gd name="connsiteX169" fmla="*/ 48786 w 752994"/>
                <a:gd name="connsiteY169" fmla="*/ 731446 h 1333436"/>
                <a:gd name="connsiteX170" fmla="*/ 54512 w 752994"/>
                <a:gd name="connsiteY170" fmla="*/ 726372 h 1333436"/>
                <a:gd name="connsiteX171" fmla="*/ 59815 w 752994"/>
                <a:gd name="connsiteY171" fmla="*/ 725130 h 1333436"/>
                <a:gd name="connsiteX172" fmla="*/ 58182 w 752994"/>
                <a:gd name="connsiteY172" fmla="*/ 722886 h 1333436"/>
                <a:gd name="connsiteX173" fmla="*/ 51861 w 752994"/>
                <a:gd name="connsiteY173" fmla="*/ 717985 h 1333436"/>
                <a:gd name="connsiteX174" fmla="*/ 46749 w 752994"/>
                <a:gd name="connsiteY174" fmla="*/ 729617 h 1333436"/>
                <a:gd name="connsiteX175" fmla="*/ 40831 w 752994"/>
                <a:gd name="connsiteY175" fmla="*/ 739212 h 1333436"/>
                <a:gd name="connsiteX176" fmla="*/ 39601 w 752994"/>
                <a:gd name="connsiteY176" fmla="*/ 738798 h 1333436"/>
                <a:gd name="connsiteX177" fmla="*/ 39409 w 752994"/>
                <a:gd name="connsiteY177" fmla="*/ 738591 h 1333436"/>
                <a:gd name="connsiteX178" fmla="*/ 37161 w 752994"/>
                <a:gd name="connsiteY178" fmla="*/ 734725 h 1333436"/>
                <a:gd name="connsiteX179" fmla="*/ 32665 w 752994"/>
                <a:gd name="connsiteY179" fmla="*/ 727788 h 1333436"/>
                <a:gd name="connsiteX180" fmla="*/ 26747 w 752994"/>
                <a:gd name="connsiteY180" fmla="*/ 719435 h 1333436"/>
                <a:gd name="connsiteX181" fmla="*/ 23884 w 752994"/>
                <a:gd name="connsiteY181" fmla="*/ 717812 h 1333436"/>
                <a:gd name="connsiteX182" fmla="*/ 24710 w 752994"/>
                <a:gd name="connsiteY182" fmla="*/ 709632 h 1333436"/>
                <a:gd name="connsiteX183" fmla="*/ 27554 w 752994"/>
                <a:gd name="connsiteY183" fmla="*/ 701694 h 1333436"/>
                <a:gd name="connsiteX184" fmla="*/ 24902 w 752994"/>
                <a:gd name="connsiteY184" fmla="*/ 696171 h 1333436"/>
                <a:gd name="connsiteX185" fmla="*/ 24095 w 752994"/>
                <a:gd name="connsiteY185" fmla="*/ 687818 h 1333436"/>
                <a:gd name="connsiteX186" fmla="*/ 22462 w 752994"/>
                <a:gd name="connsiteY186" fmla="*/ 682330 h 1333436"/>
                <a:gd name="connsiteX187" fmla="*/ 17159 w 752994"/>
                <a:gd name="connsiteY187" fmla="*/ 677636 h 1333436"/>
                <a:gd name="connsiteX188" fmla="*/ 14296 w 752994"/>
                <a:gd name="connsiteY188" fmla="*/ 671492 h 1333436"/>
                <a:gd name="connsiteX189" fmla="*/ 12451 w 752994"/>
                <a:gd name="connsiteY189" fmla="*/ 665797 h 1333436"/>
                <a:gd name="connsiteX190" fmla="*/ 5111 w 752994"/>
                <a:gd name="connsiteY190" fmla="*/ 654994 h 1333436"/>
                <a:gd name="connsiteX191" fmla="*/ 2248 w 752994"/>
                <a:gd name="connsiteY191" fmla="*/ 645605 h 1333436"/>
                <a:gd name="connsiteX192" fmla="*/ 4496 w 752994"/>
                <a:gd name="connsiteY192" fmla="*/ 640497 h 1333436"/>
                <a:gd name="connsiteX193" fmla="*/ 6744 w 752994"/>
                <a:gd name="connsiteY193" fmla="*/ 632765 h 1333436"/>
                <a:gd name="connsiteX194" fmla="*/ 6744 w 752994"/>
                <a:gd name="connsiteY194" fmla="*/ 628485 h 1333436"/>
                <a:gd name="connsiteX195" fmla="*/ 6533 w 752994"/>
                <a:gd name="connsiteY195" fmla="*/ 620305 h 1333436"/>
                <a:gd name="connsiteX196" fmla="*/ 7359 w 752994"/>
                <a:gd name="connsiteY196" fmla="*/ 611745 h 1333436"/>
                <a:gd name="connsiteX197" fmla="*/ 11836 w 752994"/>
                <a:gd name="connsiteY197" fmla="*/ 602978 h 1333436"/>
                <a:gd name="connsiteX198" fmla="*/ 15103 w 752994"/>
                <a:gd name="connsiteY198" fmla="*/ 591760 h 1333436"/>
                <a:gd name="connsiteX199" fmla="*/ 14488 w 752994"/>
                <a:gd name="connsiteY199" fmla="*/ 584029 h 1333436"/>
                <a:gd name="connsiteX200" fmla="*/ 13873 w 752994"/>
                <a:gd name="connsiteY200" fmla="*/ 578299 h 1333436"/>
                <a:gd name="connsiteX201" fmla="*/ 10626 w 752994"/>
                <a:gd name="connsiteY201" fmla="*/ 568531 h 1333436"/>
                <a:gd name="connsiteX202" fmla="*/ 3670 w 752994"/>
                <a:gd name="connsiteY202" fmla="*/ 558107 h 1333436"/>
                <a:gd name="connsiteX203" fmla="*/ 0 w 752994"/>
                <a:gd name="connsiteY203" fmla="*/ 551377 h 1333436"/>
                <a:gd name="connsiteX204" fmla="*/ 0 w 752994"/>
                <a:gd name="connsiteY204" fmla="*/ 550997 h 1333436"/>
                <a:gd name="connsiteX205" fmla="*/ 4900 w 752994"/>
                <a:gd name="connsiteY205" fmla="*/ 531220 h 1333436"/>
                <a:gd name="connsiteX206" fmla="*/ 13873 w 752994"/>
                <a:gd name="connsiteY206" fmla="*/ 520589 h 1333436"/>
                <a:gd name="connsiteX207" fmla="*/ 18369 w 752994"/>
                <a:gd name="connsiteY207" fmla="*/ 516516 h 1333436"/>
                <a:gd name="connsiteX208" fmla="*/ 18773 w 752994"/>
                <a:gd name="connsiteY208" fmla="*/ 514272 h 1333436"/>
                <a:gd name="connsiteX209" fmla="*/ 23077 w 752994"/>
                <a:gd name="connsiteY209" fmla="*/ 506127 h 1333436"/>
                <a:gd name="connsiteX210" fmla="*/ 23884 w 752994"/>
                <a:gd name="connsiteY210" fmla="*/ 502261 h 1333436"/>
                <a:gd name="connsiteX211" fmla="*/ 23692 w 752994"/>
                <a:gd name="connsiteY211" fmla="*/ 496738 h 1333436"/>
                <a:gd name="connsiteX212" fmla="*/ 30013 w 752994"/>
                <a:gd name="connsiteY212" fmla="*/ 486556 h 1333436"/>
                <a:gd name="connsiteX213" fmla="*/ 36546 w 752994"/>
                <a:gd name="connsiteY213" fmla="*/ 470230 h 1333436"/>
                <a:gd name="connsiteX214" fmla="*/ 36546 w 752994"/>
                <a:gd name="connsiteY214" fmla="*/ 462671 h 1333436"/>
                <a:gd name="connsiteX215" fmla="*/ 36335 w 752994"/>
                <a:gd name="connsiteY215" fmla="*/ 461670 h 1333436"/>
                <a:gd name="connsiteX216" fmla="*/ 35931 w 752994"/>
                <a:gd name="connsiteY216" fmla="*/ 453110 h 1333436"/>
                <a:gd name="connsiteX217" fmla="*/ 38583 w 752994"/>
                <a:gd name="connsiteY217" fmla="*/ 442514 h 1333436"/>
                <a:gd name="connsiteX218" fmla="*/ 41043 w 752994"/>
                <a:gd name="connsiteY218" fmla="*/ 436991 h 1333436"/>
                <a:gd name="connsiteX219" fmla="*/ 41650 w 752994"/>
                <a:gd name="connsiteY219" fmla="*/ 437186 h 1333436"/>
                <a:gd name="connsiteX220" fmla="*/ 41239 w 752994"/>
                <a:gd name="connsiteY220" fmla="*/ 436549 h 1333436"/>
                <a:gd name="connsiteX221" fmla="*/ 37778 w 752994"/>
                <a:gd name="connsiteY221" fmla="*/ 433894 h 1333436"/>
                <a:gd name="connsiteX222" fmla="*/ 37169 w 752994"/>
                <a:gd name="connsiteY222" fmla="*/ 432261 h 1333436"/>
                <a:gd name="connsiteX223" fmla="*/ 37365 w 752994"/>
                <a:gd name="connsiteY223" fmla="*/ 429198 h 1333436"/>
                <a:gd name="connsiteX224" fmla="*/ 36756 w 752994"/>
                <a:gd name="connsiteY224" fmla="*/ 422272 h 1333436"/>
                <a:gd name="connsiteX225" fmla="*/ 36952 w 752994"/>
                <a:gd name="connsiteY225" fmla="*/ 418800 h 1333436"/>
                <a:gd name="connsiteX226" fmla="*/ 36756 w 752994"/>
                <a:gd name="connsiteY226" fmla="*/ 412487 h 1333436"/>
                <a:gd name="connsiteX227" fmla="*/ 40433 w 752994"/>
                <a:gd name="connsiteY227" fmla="*/ 406174 h 1333436"/>
                <a:gd name="connsiteX228" fmla="*/ 44720 w 752994"/>
                <a:gd name="connsiteY228" fmla="*/ 399435 h 1333436"/>
                <a:gd name="connsiteX229" fmla="*/ 44110 w 752994"/>
                <a:gd name="connsiteY229" fmla="*/ 389651 h 1333436"/>
                <a:gd name="connsiteX230" fmla="*/ 43894 w 752994"/>
                <a:gd name="connsiteY230" fmla="*/ 378437 h 1333436"/>
                <a:gd name="connsiteX231" fmla="*/ 47158 w 752994"/>
                <a:gd name="connsiteY231" fmla="*/ 371102 h 1333436"/>
                <a:gd name="connsiteX232" fmla="*/ 55731 w 752994"/>
                <a:gd name="connsiteY232" fmla="*/ 360909 h 1333436"/>
                <a:gd name="connsiteX233" fmla="*/ 57580 w 752994"/>
                <a:gd name="connsiteY233" fmla="*/ 355804 h 1333436"/>
                <a:gd name="connsiteX234" fmla="*/ 62673 w 752994"/>
                <a:gd name="connsiteY234" fmla="*/ 349695 h 1333436"/>
                <a:gd name="connsiteX235" fmla="*/ 65937 w 752994"/>
                <a:gd name="connsiteY235" fmla="*/ 348470 h 1333436"/>
                <a:gd name="connsiteX236" fmla="*/ 68395 w 752994"/>
                <a:gd name="connsiteY236" fmla="*/ 348674 h 1333436"/>
                <a:gd name="connsiteX237" fmla="*/ 70224 w 752994"/>
                <a:gd name="connsiteY237" fmla="*/ 347449 h 1333436"/>
                <a:gd name="connsiteX238" fmla="*/ 67785 w 752994"/>
                <a:gd name="connsiteY238" fmla="*/ 345203 h 1333436"/>
                <a:gd name="connsiteX239" fmla="*/ 65524 w 752994"/>
                <a:gd name="connsiteY239" fmla="*/ 343178 h 1333436"/>
                <a:gd name="connsiteX240" fmla="*/ 73095 w 752994"/>
                <a:gd name="connsiteY240" fmla="*/ 333376 h 1333436"/>
                <a:gd name="connsiteX241" fmla="*/ 73291 w 752994"/>
                <a:gd name="connsiteY241" fmla="*/ 333376 h 1333436"/>
                <a:gd name="connsiteX242" fmla="*/ 77991 w 752994"/>
                <a:gd name="connsiteY242" fmla="*/ 325838 h 1333436"/>
                <a:gd name="connsiteX243" fmla="*/ 82671 w 752994"/>
                <a:gd name="connsiteY243" fmla="*/ 313619 h 1333436"/>
                <a:gd name="connsiteX244" fmla="*/ 87980 w 752994"/>
                <a:gd name="connsiteY244" fmla="*/ 303018 h 1333436"/>
                <a:gd name="connsiteX245" fmla="*/ 92267 w 752994"/>
                <a:gd name="connsiteY245" fmla="*/ 291191 h 1333436"/>
                <a:gd name="connsiteX246" fmla="*/ 96553 w 752994"/>
                <a:gd name="connsiteY246" fmla="*/ 281202 h 1333436"/>
                <a:gd name="connsiteX247" fmla="*/ 99621 w 752994"/>
                <a:gd name="connsiteY247" fmla="*/ 274481 h 1333436"/>
                <a:gd name="connsiteX248" fmla="*/ 103082 w 752994"/>
                <a:gd name="connsiteY248" fmla="*/ 262450 h 1333436"/>
                <a:gd name="connsiteX249" fmla="*/ 107172 w 752994"/>
                <a:gd name="connsiteY249" fmla="*/ 254299 h 1333436"/>
                <a:gd name="connsiteX250" fmla="*/ 112481 w 752994"/>
                <a:gd name="connsiteY250" fmla="*/ 243697 h 1333436"/>
                <a:gd name="connsiteX251" fmla="*/ 117181 w 752994"/>
                <a:gd name="connsiteY251" fmla="*/ 232279 h 1333436"/>
                <a:gd name="connsiteX252" fmla="*/ 125951 w 752994"/>
                <a:gd name="connsiteY252" fmla="*/ 217389 h 1333436"/>
                <a:gd name="connsiteX253" fmla="*/ 136156 w 752994"/>
                <a:gd name="connsiteY253" fmla="*/ 202925 h 1333436"/>
                <a:gd name="connsiteX254" fmla="*/ 138811 w 752994"/>
                <a:gd name="connsiteY254" fmla="*/ 183339 h 1333436"/>
                <a:gd name="connsiteX255" fmla="*/ 148801 w 752994"/>
                <a:gd name="connsiteY255" fmla="*/ 167445 h 1333436"/>
                <a:gd name="connsiteX256" fmla="*/ 159616 w 752994"/>
                <a:gd name="connsiteY256" fmla="*/ 170712 h 1333436"/>
                <a:gd name="connsiteX257" fmla="*/ 173105 w 752994"/>
                <a:gd name="connsiteY257" fmla="*/ 175188 h 1333436"/>
                <a:gd name="connsiteX258" fmla="*/ 175347 w 752994"/>
                <a:gd name="connsiteY258" fmla="*/ 175188 h 1333436"/>
                <a:gd name="connsiteX259" fmla="*/ 175347 w 752994"/>
                <a:gd name="connsiteY259" fmla="*/ 173758 h 1333436"/>
                <a:gd name="connsiteX260" fmla="*/ 184975 w 752994"/>
                <a:gd name="connsiteY260" fmla="*/ 187393 h 1333436"/>
                <a:gd name="connsiteX261" fmla="*/ 184762 w 752994"/>
                <a:gd name="connsiteY261" fmla="*/ 184637 h 1333436"/>
                <a:gd name="connsiteX262" fmla="*/ 174971 w 752994"/>
                <a:gd name="connsiteY262" fmla="*/ 170774 h 1333436"/>
                <a:gd name="connsiteX263" fmla="*/ 174971 w 752994"/>
                <a:gd name="connsiteY263" fmla="*/ 169550 h 1333436"/>
                <a:gd name="connsiteX264" fmla="*/ 158851 w 752994"/>
                <a:gd name="connsiteY264" fmla="*/ 156924 h 1333436"/>
                <a:gd name="connsiteX265" fmla="*/ 147025 w 752994"/>
                <a:gd name="connsiteY265" fmla="*/ 145709 h 1333436"/>
                <a:gd name="connsiteX266" fmla="*/ 154364 w 752994"/>
                <a:gd name="connsiteY266" fmla="*/ 136335 h 1333436"/>
                <a:gd name="connsiteX267" fmla="*/ 161511 w 752994"/>
                <a:gd name="connsiteY267" fmla="*/ 131042 h 1333436"/>
                <a:gd name="connsiteX268" fmla="*/ 160902 w 752994"/>
                <a:gd name="connsiteY268" fmla="*/ 128384 h 1333436"/>
                <a:gd name="connsiteX269" fmla="*/ 160277 w 752994"/>
                <a:gd name="connsiteY269" fmla="*/ 127778 h 1333436"/>
                <a:gd name="connsiteX270" fmla="*/ 154973 w 752994"/>
                <a:gd name="connsiteY270" fmla="*/ 122077 h 1333436"/>
                <a:gd name="connsiteX271" fmla="*/ 160277 w 752994"/>
                <a:gd name="connsiteY271" fmla="*/ 115140 h 1333436"/>
                <a:gd name="connsiteX272" fmla="*/ 165181 w 752994"/>
                <a:gd name="connsiteY272" fmla="*/ 108215 h 1333436"/>
                <a:gd name="connsiteX273" fmla="*/ 161303 w 752994"/>
                <a:gd name="connsiteY273" fmla="*/ 104146 h 1333436"/>
                <a:gd name="connsiteX274" fmla="*/ 157842 w 752994"/>
                <a:gd name="connsiteY274" fmla="*/ 104542 h 1333436"/>
                <a:gd name="connsiteX275" fmla="*/ 157024 w 752994"/>
                <a:gd name="connsiteY275" fmla="*/ 102304 h 1333436"/>
                <a:gd name="connsiteX276" fmla="*/ 160694 w 752994"/>
                <a:gd name="connsiteY276" fmla="*/ 55437 h 1333436"/>
                <a:gd name="connsiteX277" fmla="*/ 160486 w 752994"/>
                <a:gd name="connsiteY277" fmla="*/ 31991 h 1333436"/>
                <a:gd name="connsiteX278" fmla="*/ 164972 w 752994"/>
                <a:gd name="connsiteY278" fmla="*/ 18141 h 1333436"/>
                <a:gd name="connsiteX279" fmla="*/ 171911 w 752994"/>
                <a:gd name="connsiteY279" fmla="*/ 11204 h 1333436"/>
                <a:gd name="connsiteX280" fmla="*/ 187406 w 752994"/>
                <a:gd name="connsiteY280" fmla="*/ 21801 h 1333436"/>
                <a:gd name="connsiteX281" fmla="*/ 210866 w 752994"/>
                <a:gd name="connsiteY281" fmla="*/ 37086 h 1333436"/>
                <a:gd name="connsiteX282" fmla="*/ 219230 w 752994"/>
                <a:gd name="connsiteY282" fmla="*/ 41166 h 1333436"/>
                <a:gd name="connsiteX283" fmla="*/ 226778 w 752994"/>
                <a:gd name="connsiteY283" fmla="*/ 47486 h 1333436"/>
                <a:gd name="connsiteX284" fmla="*/ 236152 w 752994"/>
                <a:gd name="connsiteY284" fmla="*/ 52370 h 1333436"/>
                <a:gd name="connsiteX285" fmla="*/ 239629 w 752994"/>
                <a:gd name="connsiteY285" fmla="*/ 58491 h 1333436"/>
                <a:gd name="connsiteX286" fmla="*/ 239629 w 752994"/>
                <a:gd name="connsiteY286" fmla="*/ 63376 h 1333436"/>
                <a:gd name="connsiteX287" fmla="*/ 236568 w 752994"/>
                <a:gd name="connsiteY287" fmla="*/ 67457 h 1333436"/>
                <a:gd name="connsiteX288" fmla="*/ 231264 w 752994"/>
                <a:gd name="connsiteY288" fmla="*/ 69905 h 1333436"/>
                <a:gd name="connsiteX289" fmla="*/ 216778 w 752994"/>
                <a:gd name="connsiteY289" fmla="*/ 82741 h 1333436"/>
                <a:gd name="connsiteX290" fmla="*/ 214134 w 752994"/>
                <a:gd name="connsiteY290" fmla="*/ 93536 h 1333436"/>
                <a:gd name="connsiteX291" fmla="*/ 214535 w 752994"/>
                <a:gd name="connsiteY291" fmla="*/ 96801 h 1333436"/>
                <a:gd name="connsiteX292" fmla="*/ 216378 w 752994"/>
                <a:gd name="connsiteY292" fmla="*/ 96801 h 1333436"/>
                <a:gd name="connsiteX293" fmla="*/ 230046 w 752994"/>
                <a:gd name="connsiteY293" fmla="*/ 85387 h 1333436"/>
                <a:gd name="connsiteX294" fmla="*/ 243298 w 752994"/>
                <a:gd name="connsiteY294" fmla="*/ 75198 h 1333436"/>
                <a:gd name="connsiteX295" fmla="*/ 246760 w 752994"/>
                <a:gd name="connsiteY295" fmla="*/ 77646 h 1333436"/>
                <a:gd name="connsiteX296" fmla="*/ 255541 w 752994"/>
                <a:gd name="connsiteY296" fmla="*/ 63376 h 1333436"/>
                <a:gd name="connsiteX297" fmla="*/ 259611 w 752994"/>
                <a:gd name="connsiteY297" fmla="*/ 43405 h 1333436"/>
                <a:gd name="connsiteX298" fmla="*/ 256967 w 752994"/>
                <a:gd name="connsiteY298" fmla="*/ 38520 h 1333436"/>
                <a:gd name="connsiteX299" fmla="*/ 253906 w 752994"/>
                <a:gd name="connsiteY299" fmla="*/ 34242 h 1333436"/>
                <a:gd name="connsiteX300" fmla="*/ 256967 w 752994"/>
                <a:gd name="connsiteY300" fmla="*/ 30161 h 1333436"/>
                <a:gd name="connsiteX301" fmla="*/ 262063 w 752994"/>
                <a:gd name="connsiteY301" fmla="*/ 27712 h 1333436"/>
                <a:gd name="connsiteX302" fmla="*/ 264915 w 752994"/>
                <a:gd name="connsiteY302" fmla="*/ 23026 h 1333436"/>
                <a:gd name="connsiteX303" fmla="*/ 267976 w 752994"/>
                <a:gd name="connsiteY303" fmla="*/ 22618 h 1333436"/>
                <a:gd name="connsiteX304" fmla="*/ 270427 w 752994"/>
                <a:gd name="connsiteY304" fmla="*/ 20787 h 1333436"/>
                <a:gd name="connsiteX305" fmla="*/ 263088 w 752994"/>
                <a:gd name="connsiteY305" fmla="*/ 13652 h 1333436"/>
                <a:gd name="connsiteX306" fmla="*/ 255541 w 752994"/>
                <a:gd name="connsiteY306" fmla="*/ 3055 h 1333436"/>
                <a:gd name="connsiteX307" fmla="*/ 256358 w 752994"/>
                <a:gd name="connsiteY307" fmla="*/ 1224 h 1333436"/>
                <a:gd name="connsiteX308" fmla="*/ 257159 w 752994"/>
                <a:gd name="connsiteY308"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8418 w 752994"/>
                <a:gd name="connsiteY9" fmla="*/ 244701 h 1333436"/>
                <a:gd name="connsiteX10" fmla="*/ 255359 w 752994"/>
                <a:gd name="connsiteY10" fmla="*/ 244906 h 1333436"/>
                <a:gd name="connsiteX11" fmla="*/ 263303 w 752994"/>
                <a:gd name="connsiteY11" fmla="*/ 246131 h 1333436"/>
                <a:gd name="connsiteX12" fmla="*/ 195162 w 752994"/>
                <a:gd name="connsiteY12" fmla="*/ 228857 h 1333436"/>
                <a:gd name="connsiteX13" fmla="*/ 188223 w 752994"/>
                <a:gd name="connsiteY13" fmla="*/ 223973 h 1333436"/>
                <a:gd name="connsiteX14" fmla="*/ 185163 w 752994"/>
                <a:gd name="connsiteY14" fmla="*/ 219484 h 1333436"/>
                <a:gd name="connsiteX15" fmla="*/ 184180 w 752994"/>
                <a:gd name="connsiteY15" fmla="*/ 213866 h 1333436"/>
                <a:gd name="connsiteX16" fmla="*/ 257159 w 752994"/>
                <a:gd name="connsiteY16" fmla="*/ 0 h 1333436"/>
                <a:gd name="connsiteX17" fmla="*/ 493147 w 752994"/>
                <a:gd name="connsiteY17" fmla="*/ 73157 h 1333436"/>
                <a:gd name="connsiteX18" fmla="*/ 492970 w 752994"/>
                <a:gd name="connsiteY18" fmla="*/ 73792 h 1333436"/>
                <a:gd name="connsiteX19" fmla="*/ 525816 w 752994"/>
                <a:gd name="connsiteY19" fmla="*/ 82491 h 1333436"/>
                <a:gd name="connsiteX20" fmla="*/ 520098 w 752994"/>
                <a:gd name="connsiteY20" fmla="*/ 111245 h 1333436"/>
                <a:gd name="connsiteX21" fmla="*/ 512552 w 752994"/>
                <a:gd name="connsiteY21" fmla="*/ 143854 h 1333436"/>
                <a:gd name="connsiteX22" fmla="*/ 517849 w 752994"/>
                <a:gd name="connsiteY22" fmla="*/ 157740 h 1333436"/>
                <a:gd name="connsiteX23" fmla="*/ 523160 w 752994"/>
                <a:gd name="connsiteY23" fmla="*/ 172009 h 1333436"/>
                <a:gd name="connsiteX24" fmla="*/ 521535 w 752994"/>
                <a:gd name="connsiteY24" fmla="*/ 178928 h 1333436"/>
                <a:gd name="connsiteX25" fmla="*/ 520098 w 752994"/>
                <a:gd name="connsiteY25" fmla="*/ 186279 h 1333436"/>
                <a:gd name="connsiteX26" fmla="*/ 526019 w 752994"/>
                <a:gd name="connsiteY26" fmla="*/ 193629 h 1333436"/>
                <a:gd name="connsiteX27" fmla="*/ 537251 w 752994"/>
                <a:gd name="connsiteY27" fmla="*/ 206270 h 1333436"/>
                <a:gd name="connsiteX28" fmla="*/ 542765 w 752994"/>
                <a:gd name="connsiteY28" fmla="*/ 217475 h 1333436"/>
                <a:gd name="connsiteX29" fmla="*/ 546857 w 752994"/>
                <a:gd name="connsiteY29" fmla="*/ 230930 h 1333436"/>
                <a:gd name="connsiteX30" fmla="*/ 549499 w 752994"/>
                <a:gd name="connsiteY30" fmla="*/ 235622 h 1333436"/>
                <a:gd name="connsiteX31" fmla="*/ 553388 w 752994"/>
                <a:gd name="connsiteY31" fmla="*/ 240722 h 1333436"/>
                <a:gd name="connsiteX32" fmla="*/ 557465 w 752994"/>
                <a:gd name="connsiteY32" fmla="*/ 246037 h 1333436"/>
                <a:gd name="connsiteX33" fmla="*/ 561761 w 752994"/>
                <a:gd name="connsiteY33" fmla="*/ 248671 h 1333436"/>
                <a:gd name="connsiteX34" fmla="*/ 567478 w 752994"/>
                <a:gd name="connsiteY34" fmla="*/ 247665 h 1333436"/>
                <a:gd name="connsiteX35" fmla="*/ 569931 w 752994"/>
                <a:gd name="connsiteY35" fmla="*/ 249293 h 1333436"/>
                <a:gd name="connsiteX36" fmla="*/ 570540 w 752994"/>
                <a:gd name="connsiteY36" fmla="*/ 251951 h 1333436"/>
                <a:gd name="connsiteX37" fmla="*/ 561964 w 752994"/>
                <a:gd name="connsiteY37" fmla="*/ 267656 h 1333436"/>
                <a:gd name="connsiteX38" fmla="*/ 553591 w 752994"/>
                <a:gd name="connsiteY38" fmla="*/ 289659 h 1333436"/>
                <a:gd name="connsiteX39" fmla="*/ 554810 w 752994"/>
                <a:gd name="connsiteY39" fmla="*/ 292939 h 1333436"/>
                <a:gd name="connsiteX40" fmla="*/ 556246 w 752994"/>
                <a:gd name="connsiteY40" fmla="*/ 299260 h 1333436"/>
                <a:gd name="connsiteX41" fmla="*/ 552778 w 752994"/>
                <a:gd name="connsiteY41" fmla="*/ 301917 h 1333436"/>
                <a:gd name="connsiteX42" fmla="*/ 549295 w 752994"/>
                <a:gd name="connsiteY42" fmla="*/ 306993 h 1333436"/>
                <a:gd name="connsiteX43" fmla="*/ 547061 w 752994"/>
                <a:gd name="connsiteY43" fmla="*/ 313122 h 1333436"/>
                <a:gd name="connsiteX44" fmla="*/ 544811 w 752994"/>
                <a:gd name="connsiteY44" fmla="*/ 316593 h 1333436"/>
                <a:gd name="connsiteX45" fmla="*/ 549919 w 752994"/>
                <a:gd name="connsiteY45" fmla="*/ 322698 h 1333436"/>
                <a:gd name="connsiteX46" fmla="*/ 553184 w 752994"/>
                <a:gd name="connsiteY46" fmla="*/ 325955 h 1333436"/>
                <a:gd name="connsiteX47" fmla="*/ 555840 w 752994"/>
                <a:gd name="connsiteY47" fmla="*/ 328205 h 1333436"/>
                <a:gd name="connsiteX48" fmla="*/ 574212 w 752994"/>
                <a:gd name="connsiteY48" fmla="*/ 318820 h 1333436"/>
                <a:gd name="connsiteX49" fmla="*/ 579523 w 752994"/>
                <a:gd name="connsiteY49" fmla="*/ 326577 h 1333436"/>
                <a:gd name="connsiteX50" fmla="*/ 580539 w 752994"/>
                <a:gd name="connsiteY50" fmla="*/ 334933 h 1333436"/>
                <a:gd name="connsiteX51" fmla="*/ 579726 w 752994"/>
                <a:gd name="connsiteY51" fmla="*/ 343097 h 1333436"/>
                <a:gd name="connsiteX52" fmla="*/ 581366 w 752994"/>
                <a:gd name="connsiteY52" fmla="*/ 350231 h 1333436"/>
                <a:gd name="connsiteX53" fmla="*/ 586256 w 752994"/>
                <a:gd name="connsiteY53" fmla="*/ 355930 h 1333436"/>
                <a:gd name="connsiteX54" fmla="*/ 589536 w 752994"/>
                <a:gd name="connsiteY54" fmla="*/ 362059 h 1333436"/>
                <a:gd name="connsiteX55" fmla="*/ 588099 w 752994"/>
                <a:gd name="connsiteY55" fmla="*/ 369600 h 1333436"/>
                <a:gd name="connsiteX56" fmla="*/ 586459 w 752994"/>
                <a:gd name="connsiteY56" fmla="*/ 377357 h 1333436"/>
                <a:gd name="connsiteX57" fmla="*/ 588709 w 752994"/>
                <a:gd name="connsiteY57" fmla="*/ 381835 h 1333436"/>
                <a:gd name="connsiteX58" fmla="*/ 595036 w 752994"/>
                <a:gd name="connsiteY58" fmla="*/ 382457 h 1333436"/>
                <a:gd name="connsiteX59" fmla="*/ 599331 w 752994"/>
                <a:gd name="connsiteY59" fmla="*/ 385306 h 1333436"/>
                <a:gd name="connsiteX60" fmla="*/ 601987 w 752994"/>
                <a:gd name="connsiteY60" fmla="*/ 391004 h 1333436"/>
                <a:gd name="connsiteX61" fmla="*/ 602799 w 752994"/>
                <a:gd name="connsiteY61" fmla="*/ 404076 h 1333436"/>
                <a:gd name="connsiteX62" fmla="*/ 606892 w 752994"/>
                <a:gd name="connsiteY62" fmla="*/ 415688 h 1333436"/>
                <a:gd name="connsiteX63" fmla="*/ 610563 w 752994"/>
                <a:gd name="connsiteY63" fmla="*/ 412217 h 1333436"/>
                <a:gd name="connsiteX64" fmla="*/ 617920 w 752994"/>
                <a:gd name="connsiteY64" fmla="*/ 408769 h 1333436"/>
                <a:gd name="connsiteX65" fmla="*/ 624654 w 752994"/>
                <a:gd name="connsiteY65" fmla="*/ 411211 h 1333436"/>
                <a:gd name="connsiteX66" fmla="*/ 634652 w 752994"/>
                <a:gd name="connsiteY66" fmla="*/ 410182 h 1333436"/>
                <a:gd name="connsiteX67" fmla="*/ 640573 w 752994"/>
                <a:gd name="connsiteY67" fmla="*/ 407739 h 1333436"/>
                <a:gd name="connsiteX68" fmla="*/ 646711 w 752994"/>
                <a:gd name="connsiteY68" fmla="*/ 410589 h 1333436"/>
                <a:gd name="connsiteX69" fmla="*/ 650383 w 752994"/>
                <a:gd name="connsiteY69" fmla="*/ 410589 h 1333436"/>
                <a:gd name="connsiteX70" fmla="*/ 654257 w 752994"/>
                <a:gd name="connsiteY70" fmla="*/ 411618 h 1333436"/>
                <a:gd name="connsiteX71" fmla="*/ 656913 w 752994"/>
                <a:gd name="connsiteY71" fmla="*/ 413653 h 1333436"/>
                <a:gd name="connsiteX72" fmla="*/ 660802 w 752994"/>
                <a:gd name="connsiteY72" fmla="*/ 415090 h 1333436"/>
                <a:gd name="connsiteX73" fmla="*/ 669581 w 752994"/>
                <a:gd name="connsiteY73" fmla="*/ 415904 h 1333436"/>
                <a:gd name="connsiteX74" fmla="*/ 672237 w 752994"/>
                <a:gd name="connsiteY74" fmla="*/ 415688 h 1333436"/>
                <a:gd name="connsiteX75" fmla="*/ 675705 w 752994"/>
                <a:gd name="connsiteY75" fmla="*/ 409367 h 1333436"/>
                <a:gd name="connsiteX76" fmla="*/ 679986 w 752994"/>
                <a:gd name="connsiteY76" fmla="*/ 403238 h 1333436"/>
                <a:gd name="connsiteX77" fmla="*/ 693264 w 752994"/>
                <a:gd name="connsiteY77" fmla="*/ 419567 h 1333436"/>
                <a:gd name="connsiteX78" fmla="*/ 688563 w 752994"/>
                <a:gd name="connsiteY78" fmla="*/ 448321 h 1333436"/>
                <a:gd name="connsiteX79" fmla="*/ 663949 w 752994"/>
                <a:gd name="connsiteY79" fmla="*/ 590165 h 1333436"/>
                <a:gd name="connsiteX80" fmla="*/ 666304 w 752994"/>
                <a:gd name="connsiteY80" fmla="*/ 590504 h 1333436"/>
                <a:gd name="connsiteX81" fmla="*/ 655288 w 752994"/>
                <a:gd name="connsiteY81" fmla="*/ 656178 h 1333436"/>
                <a:gd name="connsiteX82" fmla="*/ 681808 w 752994"/>
                <a:gd name="connsiteY82" fmla="*/ 662301 h 1333436"/>
                <a:gd name="connsiteX83" fmla="*/ 752994 w 752994"/>
                <a:gd name="connsiteY83" fmla="*/ 675560 h 1333436"/>
                <a:gd name="connsiteX84" fmla="*/ 714651 w 752994"/>
                <a:gd name="connsiteY84" fmla="*/ 946985 h 1333436"/>
                <a:gd name="connsiteX85" fmla="*/ 654533 w 752994"/>
                <a:gd name="connsiteY85" fmla="*/ 1333436 h 1333436"/>
                <a:gd name="connsiteX86" fmla="*/ 546831 w 752994"/>
                <a:gd name="connsiteY86" fmla="*/ 1317126 h 1333436"/>
                <a:gd name="connsiteX87" fmla="*/ 351227 w 752994"/>
                <a:gd name="connsiteY87" fmla="*/ 1194172 h 1333436"/>
                <a:gd name="connsiteX88" fmla="*/ 361011 w 752994"/>
                <a:gd name="connsiteY88" fmla="*/ 1182755 h 1333436"/>
                <a:gd name="connsiteX89" fmla="*/ 368981 w 752994"/>
                <a:gd name="connsiteY89" fmla="*/ 1182130 h 1333436"/>
                <a:gd name="connsiteX90" fmla="*/ 369571 w 752994"/>
                <a:gd name="connsiteY90" fmla="*/ 1181558 h 1333436"/>
                <a:gd name="connsiteX91" fmla="*/ 362372 w 752994"/>
                <a:gd name="connsiteY91" fmla="*/ 1182120 h 1333436"/>
                <a:gd name="connsiteX92" fmla="*/ 229464 w 752994"/>
                <a:gd name="connsiteY92" fmla="*/ 1161721 h 1333436"/>
                <a:gd name="connsiteX93" fmla="*/ 227427 w 752994"/>
                <a:gd name="connsiteY93" fmla="*/ 1157269 h 1333436"/>
                <a:gd name="connsiteX94" fmla="*/ 224967 w 752994"/>
                <a:gd name="connsiteY94" fmla="*/ 1152575 h 1333436"/>
                <a:gd name="connsiteX95" fmla="*/ 225582 w 752994"/>
                <a:gd name="connsiteY95" fmla="*/ 1144808 h 1333436"/>
                <a:gd name="connsiteX96" fmla="*/ 227215 w 752994"/>
                <a:gd name="connsiteY96" fmla="*/ 1135834 h 1333436"/>
                <a:gd name="connsiteX97" fmla="*/ 227215 w 752994"/>
                <a:gd name="connsiteY97" fmla="*/ 1134212 h 1333436"/>
                <a:gd name="connsiteX98" fmla="*/ 225179 w 752994"/>
                <a:gd name="connsiteY98" fmla="*/ 1114020 h 1333436"/>
                <a:gd name="connsiteX99" fmla="*/ 217839 w 752994"/>
                <a:gd name="connsiteY99" fmla="*/ 1100352 h 1333436"/>
                <a:gd name="connsiteX100" fmla="*/ 199661 w 752994"/>
                <a:gd name="connsiteY100" fmla="*/ 1076502 h 1333436"/>
                <a:gd name="connsiteX101" fmla="*/ 196395 w 752994"/>
                <a:gd name="connsiteY101" fmla="*/ 1071807 h 1333436"/>
                <a:gd name="connsiteX102" fmla="*/ 190880 w 752994"/>
                <a:gd name="connsiteY102" fmla="*/ 1067527 h 1333436"/>
                <a:gd name="connsiteX103" fmla="*/ 187210 w 752994"/>
                <a:gd name="connsiteY103" fmla="*/ 1068735 h 1333436"/>
                <a:gd name="connsiteX104" fmla="*/ 180062 w 752994"/>
                <a:gd name="connsiteY104" fmla="*/ 1066699 h 1333436"/>
                <a:gd name="connsiteX105" fmla="*/ 180466 w 752994"/>
                <a:gd name="connsiteY105" fmla="*/ 1053031 h 1333436"/>
                <a:gd name="connsiteX106" fmla="*/ 180062 w 752994"/>
                <a:gd name="connsiteY106" fmla="*/ 1045299 h 1333436"/>
                <a:gd name="connsiteX107" fmla="*/ 174144 w 752994"/>
                <a:gd name="connsiteY107" fmla="*/ 1044057 h 1333436"/>
                <a:gd name="connsiteX108" fmla="*/ 158426 w 752994"/>
                <a:gd name="connsiteY108" fmla="*/ 1042641 h 1333436"/>
                <a:gd name="connsiteX109" fmla="*/ 149857 w 752994"/>
                <a:gd name="connsiteY109" fmla="*/ 1035497 h 1333436"/>
                <a:gd name="connsiteX110" fmla="*/ 142497 w 752994"/>
                <a:gd name="connsiteY110" fmla="*/ 1028766 h 1333436"/>
                <a:gd name="connsiteX111" fmla="*/ 140864 w 752994"/>
                <a:gd name="connsiteY111" fmla="*/ 1020620 h 1333436"/>
                <a:gd name="connsiteX112" fmla="*/ 138212 w 752994"/>
                <a:gd name="connsiteY112" fmla="*/ 1013061 h 1333436"/>
                <a:gd name="connsiteX113" fmla="*/ 131064 w 752994"/>
                <a:gd name="connsiteY113" fmla="*/ 1007159 h 1333436"/>
                <a:gd name="connsiteX114" fmla="*/ 121264 w 752994"/>
                <a:gd name="connsiteY114" fmla="*/ 1005330 h 1333436"/>
                <a:gd name="connsiteX115" fmla="*/ 112483 w 752994"/>
                <a:gd name="connsiteY115" fmla="*/ 1001671 h 1333436"/>
                <a:gd name="connsiteX116" fmla="*/ 105950 w 752994"/>
                <a:gd name="connsiteY116" fmla="*/ 995734 h 1333436"/>
                <a:gd name="connsiteX117" fmla="*/ 97380 w 752994"/>
                <a:gd name="connsiteY117" fmla="*/ 994526 h 1333436"/>
                <a:gd name="connsiteX118" fmla="*/ 87984 w 752994"/>
                <a:gd name="connsiteY118" fmla="*/ 991040 h 1333436"/>
                <a:gd name="connsiteX119" fmla="*/ 80029 w 752994"/>
                <a:gd name="connsiteY119" fmla="*/ 985138 h 1333436"/>
                <a:gd name="connsiteX120" fmla="*/ 77166 w 752994"/>
                <a:gd name="connsiteY120" fmla="*/ 976164 h 1333436"/>
                <a:gd name="connsiteX121" fmla="*/ 79203 w 752994"/>
                <a:gd name="connsiteY121" fmla="*/ 970676 h 1333436"/>
                <a:gd name="connsiteX122" fmla="*/ 82470 w 752994"/>
                <a:gd name="connsiteY122" fmla="*/ 963117 h 1333436"/>
                <a:gd name="connsiteX123" fmla="*/ 84314 w 752994"/>
                <a:gd name="connsiteY123" fmla="*/ 954557 h 1333436"/>
                <a:gd name="connsiteX124" fmla="*/ 86351 w 752994"/>
                <a:gd name="connsiteY124" fmla="*/ 948033 h 1333436"/>
                <a:gd name="connsiteX125" fmla="*/ 86159 w 752994"/>
                <a:gd name="connsiteY125" fmla="*/ 942925 h 1333436"/>
                <a:gd name="connsiteX126" fmla="*/ 83085 w 752994"/>
                <a:gd name="connsiteY126" fmla="*/ 939853 h 1333436"/>
                <a:gd name="connsiteX127" fmla="*/ 77570 w 752994"/>
                <a:gd name="connsiteY127" fmla="*/ 937437 h 1333436"/>
                <a:gd name="connsiteX128" fmla="*/ 76763 w 752994"/>
                <a:gd name="connsiteY128" fmla="*/ 931915 h 1333436"/>
                <a:gd name="connsiteX129" fmla="*/ 78800 w 752994"/>
                <a:gd name="connsiteY129" fmla="*/ 927013 h 1333436"/>
                <a:gd name="connsiteX130" fmla="*/ 79626 w 752994"/>
                <a:gd name="connsiteY130" fmla="*/ 922526 h 1333436"/>
                <a:gd name="connsiteX131" fmla="*/ 77781 w 752994"/>
                <a:gd name="connsiteY131" fmla="*/ 919903 h 1333436"/>
                <a:gd name="connsiteX132" fmla="*/ 74303 w 752994"/>
                <a:gd name="connsiteY132" fmla="*/ 917418 h 1333436"/>
                <a:gd name="connsiteX133" fmla="*/ 71863 w 752994"/>
                <a:gd name="connsiteY133" fmla="*/ 915174 h 1333436"/>
                <a:gd name="connsiteX134" fmla="*/ 71652 w 752994"/>
                <a:gd name="connsiteY134" fmla="*/ 910894 h 1333436"/>
                <a:gd name="connsiteX135" fmla="*/ 70633 w 752994"/>
                <a:gd name="connsiteY135" fmla="*/ 906614 h 1333436"/>
                <a:gd name="connsiteX136" fmla="*/ 68385 w 752994"/>
                <a:gd name="connsiteY136" fmla="*/ 902749 h 1333436"/>
                <a:gd name="connsiteX137" fmla="*/ 61045 w 752994"/>
                <a:gd name="connsiteY137" fmla="*/ 889494 h 1333436"/>
                <a:gd name="connsiteX138" fmla="*/ 57971 w 752994"/>
                <a:gd name="connsiteY138" fmla="*/ 875619 h 1333436"/>
                <a:gd name="connsiteX139" fmla="*/ 52264 w 752994"/>
                <a:gd name="connsiteY139" fmla="*/ 862572 h 1333436"/>
                <a:gd name="connsiteX140" fmla="*/ 44309 w 752994"/>
                <a:gd name="connsiteY140" fmla="*/ 850561 h 1333436"/>
                <a:gd name="connsiteX141" fmla="*/ 45520 w 752994"/>
                <a:gd name="connsiteY141" fmla="*/ 827090 h 1333436"/>
                <a:gd name="connsiteX142" fmla="*/ 53071 w 752994"/>
                <a:gd name="connsiteY142" fmla="*/ 822396 h 1333436"/>
                <a:gd name="connsiteX143" fmla="*/ 57375 w 752994"/>
                <a:gd name="connsiteY143" fmla="*/ 816493 h 1333436"/>
                <a:gd name="connsiteX144" fmla="*/ 55319 w 752994"/>
                <a:gd name="connsiteY144" fmla="*/ 801617 h 1333436"/>
                <a:gd name="connsiteX145" fmla="*/ 48383 w 752994"/>
                <a:gd name="connsiteY145" fmla="*/ 802204 h 1333436"/>
                <a:gd name="connsiteX146" fmla="*/ 40428 w 752994"/>
                <a:gd name="connsiteY146" fmla="*/ 797924 h 1333436"/>
                <a:gd name="connsiteX147" fmla="*/ 37565 w 752994"/>
                <a:gd name="connsiteY147" fmla="*/ 790606 h 1333436"/>
                <a:gd name="connsiteX148" fmla="*/ 37565 w 752994"/>
                <a:gd name="connsiteY148" fmla="*/ 790399 h 1333436"/>
                <a:gd name="connsiteX149" fmla="*/ 35931 w 752994"/>
                <a:gd name="connsiteY149" fmla="*/ 785912 h 1333436"/>
                <a:gd name="connsiteX150" fmla="*/ 34510 w 752994"/>
                <a:gd name="connsiteY150" fmla="*/ 780597 h 1333436"/>
                <a:gd name="connsiteX151" fmla="*/ 36335 w 752994"/>
                <a:gd name="connsiteY151" fmla="*/ 774280 h 1333436"/>
                <a:gd name="connsiteX152" fmla="*/ 38180 w 752994"/>
                <a:gd name="connsiteY152" fmla="*/ 766721 h 1333436"/>
                <a:gd name="connsiteX153" fmla="*/ 37161 w 752994"/>
                <a:gd name="connsiteY153" fmla="*/ 760405 h 1333436"/>
                <a:gd name="connsiteX154" fmla="*/ 35720 w 752994"/>
                <a:gd name="connsiteY154" fmla="*/ 754710 h 1333436"/>
                <a:gd name="connsiteX155" fmla="*/ 36546 w 752994"/>
                <a:gd name="connsiteY155" fmla="*/ 748773 h 1333436"/>
                <a:gd name="connsiteX156" fmla="*/ 38372 w 752994"/>
                <a:gd name="connsiteY156" fmla="*/ 744528 h 1333436"/>
                <a:gd name="connsiteX157" fmla="*/ 41638 w 752994"/>
                <a:gd name="connsiteY157" fmla="*/ 744321 h 1333436"/>
                <a:gd name="connsiteX158" fmla="*/ 44713 w 752994"/>
                <a:gd name="connsiteY158" fmla="*/ 746357 h 1333436"/>
                <a:gd name="connsiteX159" fmla="*/ 47364 w 752994"/>
                <a:gd name="connsiteY159" fmla="*/ 753260 h 1333436"/>
                <a:gd name="connsiteX160" fmla="*/ 55742 w 752994"/>
                <a:gd name="connsiteY160" fmla="*/ 764305 h 1333436"/>
                <a:gd name="connsiteX161" fmla="*/ 56338 w 752994"/>
                <a:gd name="connsiteY161" fmla="*/ 761233 h 1333436"/>
                <a:gd name="connsiteX162" fmla="*/ 56145 w 752994"/>
                <a:gd name="connsiteY162" fmla="*/ 757368 h 1333436"/>
                <a:gd name="connsiteX163" fmla="*/ 54916 w 752994"/>
                <a:gd name="connsiteY163" fmla="*/ 748601 h 1333436"/>
                <a:gd name="connsiteX164" fmla="*/ 52879 w 752994"/>
                <a:gd name="connsiteY164" fmla="*/ 747358 h 1333436"/>
                <a:gd name="connsiteX165" fmla="*/ 51649 w 752994"/>
                <a:gd name="connsiteY165" fmla="*/ 745322 h 1333436"/>
                <a:gd name="connsiteX166" fmla="*/ 51649 w 752994"/>
                <a:gd name="connsiteY166" fmla="*/ 739212 h 1333436"/>
                <a:gd name="connsiteX167" fmla="*/ 50227 w 752994"/>
                <a:gd name="connsiteY167" fmla="*/ 734725 h 1333436"/>
                <a:gd name="connsiteX168" fmla="*/ 48786 w 752994"/>
                <a:gd name="connsiteY168" fmla="*/ 731446 h 1333436"/>
                <a:gd name="connsiteX169" fmla="*/ 54512 w 752994"/>
                <a:gd name="connsiteY169" fmla="*/ 726372 h 1333436"/>
                <a:gd name="connsiteX170" fmla="*/ 59815 w 752994"/>
                <a:gd name="connsiteY170" fmla="*/ 725130 h 1333436"/>
                <a:gd name="connsiteX171" fmla="*/ 58182 w 752994"/>
                <a:gd name="connsiteY171" fmla="*/ 722886 h 1333436"/>
                <a:gd name="connsiteX172" fmla="*/ 51861 w 752994"/>
                <a:gd name="connsiteY172" fmla="*/ 717985 h 1333436"/>
                <a:gd name="connsiteX173" fmla="*/ 46749 w 752994"/>
                <a:gd name="connsiteY173" fmla="*/ 729617 h 1333436"/>
                <a:gd name="connsiteX174" fmla="*/ 40831 w 752994"/>
                <a:gd name="connsiteY174" fmla="*/ 739212 h 1333436"/>
                <a:gd name="connsiteX175" fmla="*/ 39601 w 752994"/>
                <a:gd name="connsiteY175" fmla="*/ 738798 h 1333436"/>
                <a:gd name="connsiteX176" fmla="*/ 39409 w 752994"/>
                <a:gd name="connsiteY176" fmla="*/ 738591 h 1333436"/>
                <a:gd name="connsiteX177" fmla="*/ 37161 w 752994"/>
                <a:gd name="connsiteY177" fmla="*/ 734725 h 1333436"/>
                <a:gd name="connsiteX178" fmla="*/ 32665 w 752994"/>
                <a:gd name="connsiteY178" fmla="*/ 727788 h 1333436"/>
                <a:gd name="connsiteX179" fmla="*/ 26747 w 752994"/>
                <a:gd name="connsiteY179" fmla="*/ 719435 h 1333436"/>
                <a:gd name="connsiteX180" fmla="*/ 23884 w 752994"/>
                <a:gd name="connsiteY180" fmla="*/ 717812 h 1333436"/>
                <a:gd name="connsiteX181" fmla="*/ 24710 w 752994"/>
                <a:gd name="connsiteY181" fmla="*/ 709632 h 1333436"/>
                <a:gd name="connsiteX182" fmla="*/ 27554 w 752994"/>
                <a:gd name="connsiteY182" fmla="*/ 701694 h 1333436"/>
                <a:gd name="connsiteX183" fmla="*/ 24902 w 752994"/>
                <a:gd name="connsiteY183" fmla="*/ 696171 h 1333436"/>
                <a:gd name="connsiteX184" fmla="*/ 24095 w 752994"/>
                <a:gd name="connsiteY184" fmla="*/ 687818 h 1333436"/>
                <a:gd name="connsiteX185" fmla="*/ 22462 w 752994"/>
                <a:gd name="connsiteY185" fmla="*/ 682330 h 1333436"/>
                <a:gd name="connsiteX186" fmla="*/ 17159 w 752994"/>
                <a:gd name="connsiteY186" fmla="*/ 677636 h 1333436"/>
                <a:gd name="connsiteX187" fmla="*/ 14296 w 752994"/>
                <a:gd name="connsiteY187" fmla="*/ 671492 h 1333436"/>
                <a:gd name="connsiteX188" fmla="*/ 12451 w 752994"/>
                <a:gd name="connsiteY188" fmla="*/ 665797 h 1333436"/>
                <a:gd name="connsiteX189" fmla="*/ 5111 w 752994"/>
                <a:gd name="connsiteY189" fmla="*/ 654994 h 1333436"/>
                <a:gd name="connsiteX190" fmla="*/ 2248 w 752994"/>
                <a:gd name="connsiteY190" fmla="*/ 645605 h 1333436"/>
                <a:gd name="connsiteX191" fmla="*/ 4496 w 752994"/>
                <a:gd name="connsiteY191" fmla="*/ 640497 h 1333436"/>
                <a:gd name="connsiteX192" fmla="*/ 6744 w 752994"/>
                <a:gd name="connsiteY192" fmla="*/ 632765 h 1333436"/>
                <a:gd name="connsiteX193" fmla="*/ 6744 w 752994"/>
                <a:gd name="connsiteY193" fmla="*/ 628485 h 1333436"/>
                <a:gd name="connsiteX194" fmla="*/ 6533 w 752994"/>
                <a:gd name="connsiteY194" fmla="*/ 620305 h 1333436"/>
                <a:gd name="connsiteX195" fmla="*/ 7359 w 752994"/>
                <a:gd name="connsiteY195" fmla="*/ 611745 h 1333436"/>
                <a:gd name="connsiteX196" fmla="*/ 11836 w 752994"/>
                <a:gd name="connsiteY196" fmla="*/ 602978 h 1333436"/>
                <a:gd name="connsiteX197" fmla="*/ 15103 w 752994"/>
                <a:gd name="connsiteY197" fmla="*/ 591760 h 1333436"/>
                <a:gd name="connsiteX198" fmla="*/ 14488 w 752994"/>
                <a:gd name="connsiteY198" fmla="*/ 584029 h 1333436"/>
                <a:gd name="connsiteX199" fmla="*/ 13873 w 752994"/>
                <a:gd name="connsiteY199" fmla="*/ 578299 h 1333436"/>
                <a:gd name="connsiteX200" fmla="*/ 10626 w 752994"/>
                <a:gd name="connsiteY200" fmla="*/ 568531 h 1333436"/>
                <a:gd name="connsiteX201" fmla="*/ 3670 w 752994"/>
                <a:gd name="connsiteY201" fmla="*/ 558107 h 1333436"/>
                <a:gd name="connsiteX202" fmla="*/ 0 w 752994"/>
                <a:gd name="connsiteY202" fmla="*/ 551377 h 1333436"/>
                <a:gd name="connsiteX203" fmla="*/ 0 w 752994"/>
                <a:gd name="connsiteY203" fmla="*/ 550997 h 1333436"/>
                <a:gd name="connsiteX204" fmla="*/ 4900 w 752994"/>
                <a:gd name="connsiteY204" fmla="*/ 531220 h 1333436"/>
                <a:gd name="connsiteX205" fmla="*/ 13873 w 752994"/>
                <a:gd name="connsiteY205" fmla="*/ 520589 h 1333436"/>
                <a:gd name="connsiteX206" fmla="*/ 18369 w 752994"/>
                <a:gd name="connsiteY206" fmla="*/ 516516 h 1333436"/>
                <a:gd name="connsiteX207" fmla="*/ 18773 w 752994"/>
                <a:gd name="connsiteY207" fmla="*/ 514272 h 1333436"/>
                <a:gd name="connsiteX208" fmla="*/ 23077 w 752994"/>
                <a:gd name="connsiteY208" fmla="*/ 506127 h 1333436"/>
                <a:gd name="connsiteX209" fmla="*/ 23884 w 752994"/>
                <a:gd name="connsiteY209" fmla="*/ 502261 h 1333436"/>
                <a:gd name="connsiteX210" fmla="*/ 23692 w 752994"/>
                <a:gd name="connsiteY210" fmla="*/ 496738 h 1333436"/>
                <a:gd name="connsiteX211" fmla="*/ 30013 w 752994"/>
                <a:gd name="connsiteY211" fmla="*/ 486556 h 1333436"/>
                <a:gd name="connsiteX212" fmla="*/ 36546 w 752994"/>
                <a:gd name="connsiteY212" fmla="*/ 470230 h 1333436"/>
                <a:gd name="connsiteX213" fmla="*/ 36546 w 752994"/>
                <a:gd name="connsiteY213" fmla="*/ 462671 h 1333436"/>
                <a:gd name="connsiteX214" fmla="*/ 36335 w 752994"/>
                <a:gd name="connsiteY214" fmla="*/ 461670 h 1333436"/>
                <a:gd name="connsiteX215" fmla="*/ 35931 w 752994"/>
                <a:gd name="connsiteY215" fmla="*/ 453110 h 1333436"/>
                <a:gd name="connsiteX216" fmla="*/ 38583 w 752994"/>
                <a:gd name="connsiteY216" fmla="*/ 442514 h 1333436"/>
                <a:gd name="connsiteX217" fmla="*/ 41043 w 752994"/>
                <a:gd name="connsiteY217" fmla="*/ 436991 h 1333436"/>
                <a:gd name="connsiteX218" fmla="*/ 41650 w 752994"/>
                <a:gd name="connsiteY218" fmla="*/ 437186 h 1333436"/>
                <a:gd name="connsiteX219" fmla="*/ 41239 w 752994"/>
                <a:gd name="connsiteY219" fmla="*/ 436549 h 1333436"/>
                <a:gd name="connsiteX220" fmla="*/ 37778 w 752994"/>
                <a:gd name="connsiteY220" fmla="*/ 433894 h 1333436"/>
                <a:gd name="connsiteX221" fmla="*/ 37169 w 752994"/>
                <a:gd name="connsiteY221" fmla="*/ 432261 h 1333436"/>
                <a:gd name="connsiteX222" fmla="*/ 37365 w 752994"/>
                <a:gd name="connsiteY222" fmla="*/ 429198 h 1333436"/>
                <a:gd name="connsiteX223" fmla="*/ 36756 w 752994"/>
                <a:gd name="connsiteY223" fmla="*/ 422272 h 1333436"/>
                <a:gd name="connsiteX224" fmla="*/ 36952 w 752994"/>
                <a:gd name="connsiteY224" fmla="*/ 418800 h 1333436"/>
                <a:gd name="connsiteX225" fmla="*/ 36756 w 752994"/>
                <a:gd name="connsiteY225" fmla="*/ 412487 h 1333436"/>
                <a:gd name="connsiteX226" fmla="*/ 40433 w 752994"/>
                <a:gd name="connsiteY226" fmla="*/ 406174 h 1333436"/>
                <a:gd name="connsiteX227" fmla="*/ 44720 w 752994"/>
                <a:gd name="connsiteY227" fmla="*/ 399435 h 1333436"/>
                <a:gd name="connsiteX228" fmla="*/ 44110 w 752994"/>
                <a:gd name="connsiteY228" fmla="*/ 389651 h 1333436"/>
                <a:gd name="connsiteX229" fmla="*/ 43894 w 752994"/>
                <a:gd name="connsiteY229" fmla="*/ 378437 h 1333436"/>
                <a:gd name="connsiteX230" fmla="*/ 47158 w 752994"/>
                <a:gd name="connsiteY230" fmla="*/ 371102 h 1333436"/>
                <a:gd name="connsiteX231" fmla="*/ 55731 w 752994"/>
                <a:gd name="connsiteY231" fmla="*/ 360909 h 1333436"/>
                <a:gd name="connsiteX232" fmla="*/ 57580 w 752994"/>
                <a:gd name="connsiteY232" fmla="*/ 355804 h 1333436"/>
                <a:gd name="connsiteX233" fmla="*/ 62673 w 752994"/>
                <a:gd name="connsiteY233" fmla="*/ 349695 h 1333436"/>
                <a:gd name="connsiteX234" fmla="*/ 65937 w 752994"/>
                <a:gd name="connsiteY234" fmla="*/ 348470 h 1333436"/>
                <a:gd name="connsiteX235" fmla="*/ 68395 w 752994"/>
                <a:gd name="connsiteY235" fmla="*/ 348674 h 1333436"/>
                <a:gd name="connsiteX236" fmla="*/ 70224 w 752994"/>
                <a:gd name="connsiteY236" fmla="*/ 347449 h 1333436"/>
                <a:gd name="connsiteX237" fmla="*/ 67785 w 752994"/>
                <a:gd name="connsiteY237" fmla="*/ 345203 h 1333436"/>
                <a:gd name="connsiteX238" fmla="*/ 65524 w 752994"/>
                <a:gd name="connsiteY238" fmla="*/ 343178 h 1333436"/>
                <a:gd name="connsiteX239" fmla="*/ 73095 w 752994"/>
                <a:gd name="connsiteY239" fmla="*/ 333376 h 1333436"/>
                <a:gd name="connsiteX240" fmla="*/ 73291 w 752994"/>
                <a:gd name="connsiteY240" fmla="*/ 333376 h 1333436"/>
                <a:gd name="connsiteX241" fmla="*/ 77991 w 752994"/>
                <a:gd name="connsiteY241" fmla="*/ 325838 h 1333436"/>
                <a:gd name="connsiteX242" fmla="*/ 82671 w 752994"/>
                <a:gd name="connsiteY242" fmla="*/ 313619 h 1333436"/>
                <a:gd name="connsiteX243" fmla="*/ 87980 w 752994"/>
                <a:gd name="connsiteY243" fmla="*/ 303018 h 1333436"/>
                <a:gd name="connsiteX244" fmla="*/ 92267 w 752994"/>
                <a:gd name="connsiteY244" fmla="*/ 291191 h 1333436"/>
                <a:gd name="connsiteX245" fmla="*/ 96553 w 752994"/>
                <a:gd name="connsiteY245" fmla="*/ 281202 h 1333436"/>
                <a:gd name="connsiteX246" fmla="*/ 99621 w 752994"/>
                <a:gd name="connsiteY246" fmla="*/ 274481 h 1333436"/>
                <a:gd name="connsiteX247" fmla="*/ 103082 w 752994"/>
                <a:gd name="connsiteY247" fmla="*/ 262450 h 1333436"/>
                <a:gd name="connsiteX248" fmla="*/ 107172 w 752994"/>
                <a:gd name="connsiteY248" fmla="*/ 254299 h 1333436"/>
                <a:gd name="connsiteX249" fmla="*/ 112481 w 752994"/>
                <a:gd name="connsiteY249" fmla="*/ 243697 h 1333436"/>
                <a:gd name="connsiteX250" fmla="*/ 117181 w 752994"/>
                <a:gd name="connsiteY250" fmla="*/ 232279 h 1333436"/>
                <a:gd name="connsiteX251" fmla="*/ 125951 w 752994"/>
                <a:gd name="connsiteY251" fmla="*/ 217389 h 1333436"/>
                <a:gd name="connsiteX252" fmla="*/ 136156 w 752994"/>
                <a:gd name="connsiteY252" fmla="*/ 202925 h 1333436"/>
                <a:gd name="connsiteX253" fmla="*/ 138811 w 752994"/>
                <a:gd name="connsiteY253" fmla="*/ 183339 h 1333436"/>
                <a:gd name="connsiteX254" fmla="*/ 148801 w 752994"/>
                <a:gd name="connsiteY254" fmla="*/ 167445 h 1333436"/>
                <a:gd name="connsiteX255" fmla="*/ 159616 w 752994"/>
                <a:gd name="connsiteY255" fmla="*/ 170712 h 1333436"/>
                <a:gd name="connsiteX256" fmla="*/ 173105 w 752994"/>
                <a:gd name="connsiteY256" fmla="*/ 175188 h 1333436"/>
                <a:gd name="connsiteX257" fmla="*/ 175347 w 752994"/>
                <a:gd name="connsiteY257" fmla="*/ 175188 h 1333436"/>
                <a:gd name="connsiteX258" fmla="*/ 175347 w 752994"/>
                <a:gd name="connsiteY258" fmla="*/ 173758 h 1333436"/>
                <a:gd name="connsiteX259" fmla="*/ 184975 w 752994"/>
                <a:gd name="connsiteY259" fmla="*/ 187393 h 1333436"/>
                <a:gd name="connsiteX260" fmla="*/ 184762 w 752994"/>
                <a:gd name="connsiteY260" fmla="*/ 184637 h 1333436"/>
                <a:gd name="connsiteX261" fmla="*/ 174971 w 752994"/>
                <a:gd name="connsiteY261" fmla="*/ 170774 h 1333436"/>
                <a:gd name="connsiteX262" fmla="*/ 174971 w 752994"/>
                <a:gd name="connsiteY262" fmla="*/ 169550 h 1333436"/>
                <a:gd name="connsiteX263" fmla="*/ 158851 w 752994"/>
                <a:gd name="connsiteY263" fmla="*/ 156924 h 1333436"/>
                <a:gd name="connsiteX264" fmla="*/ 147025 w 752994"/>
                <a:gd name="connsiteY264" fmla="*/ 145709 h 1333436"/>
                <a:gd name="connsiteX265" fmla="*/ 154364 w 752994"/>
                <a:gd name="connsiteY265" fmla="*/ 136335 h 1333436"/>
                <a:gd name="connsiteX266" fmla="*/ 161511 w 752994"/>
                <a:gd name="connsiteY266" fmla="*/ 131042 h 1333436"/>
                <a:gd name="connsiteX267" fmla="*/ 160902 w 752994"/>
                <a:gd name="connsiteY267" fmla="*/ 128384 h 1333436"/>
                <a:gd name="connsiteX268" fmla="*/ 160277 w 752994"/>
                <a:gd name="connsiteY268" fmla="*/ 127778 h 1333436"/>
                <a:gd name="connsiteX269" fmla="*/ 154973 w 752994"/>
                <a:gd name="connsiteY269" fmla="*/ 122077 h 1333436"/>
                <a:gd name="connsiteX270" fmla="*/ 160277 w 752994"/>
                <a:gd name="connsiteY270" fmla="*/ 115140 h 1333436"/>
                <a:gd name="connsiteX271" fmla="*/ 165181 w 752994"/>
                <a:gd name="connsiteY271" fmla="*/ 108215 h 1333436"/>
                <a:gd name="connsiteX272" fmla="*/ 161303 w 752994"/>
                <a:gd name="connsiteY272" fmla="*/ 104146 h 1333436"/>
                <a:gd name="connsiteX273" fmla="*/ 157842 w 752994"/>
                <a:gd name="connsiteY273" fmla="*/ 104542 h 1333436"/>
                <a:gd name="connsiteX274" fmla="*/ 157024 w 752994"/>
                <a:gd name="connsiteY274" fmla="*/ 102304 h 1333436"/>
                <a:gd name="connsiteX275" fmla="*/ 160694 w 752994"/>
                <a:gd name="connsiteY275" fmla="*/ 55437 h 1333436"/>
                <a:gd name="connsiteX276" fmla="*/ 160486 w 752994"/>
                <a:gd name="connsiteY276" fmla="*/ 31991 h 1333436"/>
                <a:gd name="connsiteX277" fmla="*/ 164972 w 752994"/>
                <a:gd name="connsiteY277" fmla="*/ 18141 h 1333436"/>
                <a:gd name="connsiteX278" fmla="*/ 171911 w 752994"/>
                <a:gd name="connsiteY278" fmla="*/ 11204 h 1333436"/>
                <a:gd name="connsiteX279" fmla="*/ 187406 w 752994"/>
                <a:gd name="connsiteY279" fmla="*/ 21801 h 1333436"/>
                <a:gd name="connsiteX280" fmla="*/ 210866 w 752994"/>
                <a:gd name="connsiteY280" fmla="*/ 37086 h 1333436"/>
                <a:gd name="connsiteX281" fmla="*/ 219230 w 752994"/>
                <a:gd name="connsiteY281" fmla="*/ 41166 h 1333436"/>
                <a:gd name="connsiteX282" fmla="*/ 226778 w 752994"/>
                <a:gd name="connsiteY282" fmla="*/ 47486 h 1333436"/>
                <a:gd name="connsiteX283" fmla="*/ 236152 w 752994"/>
                <a:gd name="connsiteY283" fmla="*/ 52370 h 1333436"/>
                <a:gd name="connsiteX284" fmla="*/ 239629 w 752994"/>
                <a:gd name="connsiteY284" fmla="*/ 58491 h 1333436"/>
                <a:gd name="connsiteX285" fmla="*/ 239629 w 752994"/>
                <a:gd name="connsiteY285" fmla="*/ 63376 h 1333436"/>
                <a:gd name="connsiteX286" fmla="*/ 236568 w 752994"/>
                <a:gd name="connsiteY286" fmla="*/ 67457 h 1333436"/>
                <a:gd name="connsiteX287" fmla="*/ 231264 w 752994"/>
                <a:gd name="connsiteY287" fmla="*/ 69905 h 1333436"/>
                <a:gd name="connsiteX288" fmla="*/ 216778 w 752994"/>
                <a:gd name="connsiteY288" fmla="*/ 82741 h 1333436"/>
                <a:gd name="connsiteX289" fmla="*/ 214134 w 752994"/>
                <a:gd name="connsiteY289" fmla="*/ 93536 h 1333436"/>
                <a:gd name="connsiteX290" fmla="*/ 214535 w 752994"/>
                <a:gd name="connsiteY290" fmla="*/ 96801 h 1333436"/>
                <a:gd name="connsiteX291" fmla="*/ 216378 w 752994"/>
                <a:gd name="connsiteY291" fmla="*/ 96801 h 1333436"/>
                <a:gd name="connsiteX292" fmla="*/ 230046 w 752994"/>
                <a:gd name="connsiteY292" fmla="*/ 85387 h 1333436"/>
                <a:gd name="connsiteX293" fmla="*/ 243298 w 752994"/>
                <a:gd name="connsiteY293" fmla="*/ 75198 h 1333436"/>
                <a:gd name="connsiteX294" fmla="*/ 246760 w 752994"/>
                <a:gd name="connsiteY294" fmla="*/ 77646 h 1333436"/>
                <a:gd name="connsiteX295" fmla="*/ 255541 w 752994"/>
                <a:gd name="connsiteY295" fmla="*/ 63376 h 1333436"/>
                <a:gd name="connsiteX296" fmla="*/ 259611 w 752994"/>
                <a:gd name="connsiteY296" fmla="*/ 43405 h 1333436"/>
                <a:gd name="connsiteX297" fmla="*/ 256967 w 752994"/>
                <a:gd name="connsiteY297" fmla="*/ 38520 h 1333436"/>
                <a:gd name="connsiteX298" fmla="*/ 253906 w 752994"/>
                <a:gd name="connsiteY298" fmla="*/ 34242 h 1333436"/>
                <a:gd name="connsiteX299" fmla="*/ 256967 w 752994"/>
                <a:gd name="connsiteY299" fmla="*/ 30161 h 1333436"/>
                <a:gd name="connsiteX300" fmla="*/ 262063 w 752994"/>
                <a:gd name="connsiteY300" fmla="*/ 27712 h 1333436"/>
                <a:gd name="connsiteX301" fmla="*/ 264915 w 752994"/>
                <a:gd name="connsiteY301" fmla="*/ 23026 h 1333436"/>
                <a:gd name="connsiteX302" fmla="*/ 267976 w 752994"/>
                <a:gd name="connsiteY302" fmla="*/ 22618 h 1333436"/>
                <a:gd name="connsiteX303" fmla="*/ 270427 w 752994"/>
                <a:gd name="connsiteY303" fmla="*/ 20787 h 1333436"/>
                <a:gd name="connsiteX304" fmla="*/ 263088 w 752994"/>
                <a:gd name="connsiteY304" fmla="*/ 13652 h 1333436"/>
                <a:gd name="connsiteX305" fmla="*/ 255541 w 752994"/>
                <a:gd name="connsiteY305" fmla="*/ 3055 h 1333436"/>
                <a:gd name="connsiteX306" fmla="*/ 256358 w 752994"/>
                <a:gd name="connsiteY306" fmla="*/ 1224 h 1333436"/>
                <a:gd name="connsiteX307" fmla="*/ 257159 w 752994"/>
                <a:gd name="connsiteY307"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8418 w 752994"/>
                <a:gd name="connsiteY9" fmla="*/ 244701 h 1333436"/>
                <a:gd name="connsiteX10" fmla="*/ 255359 w 752994"/>
                <a:gd name="connsiteY10" fmla="*/ 244906 h 1333436"/>
                <a:gd name="connsiteX11" fmla="*/ 195162 w 752994"/>
                <a:gd name="connsiteY11" fmla="*/ 228857 h 1333436"/>
                <a:gd name="connsiteX12" fmla="*/ 188223 w 752994"/>
                <a:gd name="connsiteY12" fmla="*/ 223973 h 1333436"/>
                <a:gd name="connsiteX13" fmla="*/ 185163 w 752994"/>
                <a:gd name="connsiteY13" fmla="*/ 219484 h 1333436"/>
                <a:gd name="connsiteX14" fmla="*/ 184180 w 752994"/>
                <a:gd name="connsiteY14" fmla="*/ 213866 h 1333436"/>
                <a:gd name="connsiteX15" fmla="*/ 257159 w 752994"/>
                <a:gd name="connsiteY15" fmla="*/ 0 h 1333436"/>
                <a:gd name="connsiteX16" fmla="*/ 493147 w 752994"/>
                <a:gd name="connsiteY16" fmla="*/ 73157 h 1333436"/>
                <a:gd name="connsiteX17" fmla="*/ 492970 w 752994"/>
                <a:gd name="connsiteY17" fmla="*/ 73792 h 1333436"/>
                <a:gd name="connsiteX18" fmla="*/ 525816 w 752994"/>
                <a:gd name="connsiteY18" fmla="*/ 82491 h 1333436"/>
                <a:gd name="connsiteX19" fmla="*/ 520098 w 752994"/>
                <a:gd name="connsiteY19" fmla="*/ 111245 h 1333436"/>
                <a:gd name="connsiteX20" fmla="*/ 512552 w 752994"/>
                <a:gd name="connsiteY20" fmla="*/ 143854 h 1333436"/>
                <a:gd name="connsiteX21" fmla="*/ 517849 w 752994"/>
                <a:gd name="connsiteY21" fmla="*/ 157740 h 1333436"/>
                <a:gd name="connsiteX22" fmla="*/ 523160 w 752994"/>
                <a:gd name="connsiteY22" fmla="*/ 172009 h 1333436"/>
                <a:gd name="connsiteX23" fmla="*/ 521535 w 752994"/>
                <a:gd name="connsiteY23" fmla="*/ 178928 h 1333436"/>
                <a:gd name="connsiteX24" fmla="*/ 520098 w 752994"/>
                <a:gd name="connsiteY24" fmla="*/ 186279 h 1333436"/>
                <a:gd name="connsiteX25" fmla="*/ 526019 w 752994"/>
                <a:gd name="connsiteY25" fmla="*/ 193629 h 1333436"/>
                <a:gd name="connsiteX26" fmla="*/ 537251 w 752994"/>
                <a:gd name="connsiteY26" fmla="*/ 206270 h 1333436"/>
                <a:gd name="connsiteX27" fmla="*/ 542765 w 752994"/>
                <a:gd name="connsiteY27" fmla="*/ 217475 h 1333436"/>
                <a:gd name="connsiteX28" fmla="*/ 546857 w 752994"/>
                <a:gd name="connsiteY28" fmla="*/ 230930 h 1333436"/>
                <a:gd name="connsiteX29" fmla="*/ 549499 w 752994"/>
                <a:gd name="connsiteY29" fmla="*/ 235622 h 1333436"/>
                <a:gd name="connsiteX30" fmla="*/ 553388 w 752994"/>
                <a:gd name="connsiteY30" fmla="*/ 240722 h 1333436"/>
                <a:gd name="connsiteX31" fmla="*/ 557465 w 752994"/>
                <a:gd name="connsiteY31" fmla="*/ 246037 h 1333436"/>
                <a:gd name="connsiteX32" fmla="*/ 561761 w 752994"/>
                <a:gd name="connsiteY32" fmla="*/ 248671 h 1333436"/>
                <a:gd name="connsiteX33" fmla="*/ 567478 w 752994"/>
                <a:gd name="connsiteY33" fmla="*/ 247665 h 1333436"/>
                <a:gd name="connsiteX34" fmla="*/ 569931 w 752994"/>
                <a:gd name="connsiteY34" fmla="*/ 249293 h 1333436"/>
                <a:gd name="connsiteX35" fmla="*/ 570540 w 752994"/>
                <a:gd name="connsiteY35" fmla="*/ 251951 h 1333436"/>
                <a:gd name="connsiteX36" fmla="*/ 561964 w 752994"/>
                <a:gd name="connsiteY36" fmla="*/ 267656 h 1333436"/>
                <a:gd name="connsiteX37" fmla="*/ 553591 w 752994"/>
                <a:gd name="connsiteY37" fmla="*/ 289659 h 1333436"/>
                <a:gd name="connsiteX38" fmla="*/ 554810 w 752994"/>
                <a:gd name="connsiteY38" fmla="*/ 292939 h 1333436"/>
                <a:gd name="connsiteX39" fmla="*/ 556246 w 752994"/>
                <a:gd name="connsiteY39" fmla="*/ 299260 h 1333436"/>
                <a:gd name="connsiteX40" fmla="*/ 552778 w 752994"/>
                <a:gd name="connsiteY40" fmla="*/ 301917 h 1333436"/>
                <a:gd name="connsiteX41" fmla="*/ 549295 w 752994"/>
                <a:gd name="connsiteY41" fmla="*/ 306993 h 1333436"/>
                <a:gd name="connsiteX42" fmla="*/ 547061 w 752994"/>
                <a:gd name="connsiteY42" fmla="*/ 313122 h 1333436"/>
                <a:gd name="connsiteX43" fmla="*/ 544811 w 752994"/>
                <a:gd name="connsiteY43" fmla="*/ 316593 h 1333436"/>
                <a:gd name="connsiteX44" fmla="*/ 549919 w 752994"/>
                <a:gd name="connsiteY44" fmla="*/ 322698 h 1333436"/>
                <a:gd name="connsiteX45" fmla="*/ 553184 w 752994"/>
                <a:gd name="connsiteY45" fmla="*/ 325955 h 1333436"/>
                <a:gd name="connsiteX46" fmla="*/ 555840 w 752994"/>
                <a:gd name="connsiteY46" fmla="*/ 328205 h 1333436"/>
                <a:gd name="connsiteX47" fmla="*/ 574212 w 752994"/>
                <a:gd name="connsiteY47" fmla="*/ 318820 h 1333436"/>
                <a:gd name="connsiteX48" fmla="*/ 579523 w 752994"/>
                <a:gd name="connsiteY48" fmla="*/ 326577 h 1333436"/>
                <a:gd name="connsiteX49" fmla="*/ 580539 w 752994"/>
                <a:gd name="connsiteY49" fmla="*/ 334933 h 1333436"/>
                <a:gd name="connsiteX50" fmla="*/ 579726 w 752994"/>
                <a:gd name="connsiteY50" fmla="*/ 343097 h 1333436"/>
                <a:gd name="connsiteX51" fmla="*/ 581366 w 752994"/>
                <a:gd name="connsiteY51" fmla="*/ 350231 h 1333436"/>
                <a:gd name="connsiteX52" fmla="*/ 586256 w 752994"/>
                <a:gd name="connsiteY52" fmla="*/ 355930 h 1333436"/>
                <a:gd name="connsiteX53" fmla="*/ 589536 w 752994"/>
                <a:gd name="connsiteY53" fmla="*/ 362059 h 1333436"/>
                <a:gd name="connsiteX54" fmla="*/ 588099 w 752994"/>
                <a:gd name="connsiteY54" fmla="*/ 369600 h 1333436"/>
                <a:gd name="connsiteX55" fmla="*/ 586459 w 752994"/>
                <a:gd name="connsiteY55" fmla="*/ 377357 h 1333436"/>
                <a:gd name="connsiteX56" fmla="*/ 588709 w 752994"/>
                <a:gd name="connsiteY56" fmla="*/ 381835 h 1333436"/>
                <a:gd name="connsiteX57" fmla="*/ 595036 w 752994"/>
                <a:gd name="connsiteY57" fmla="*/ 382457 h 1333436"/>
                <a:gd name="connsiteX58" fmla="*/ 599331 w 752994"/>
                <a:gd name="connsiteY58" fmla="*/ 385306 h 1333436"/>
                <a:gd name="connsiteX59" fmla="*/ 601987 w 752994"/>
                <a:gd name="connsiteY59" fmla="*/ 391004 h 1333436"/>
                <a:gd name="connsiteX60" fmla="*/ 602799 w 752994"/>
                <a:gd name="connsiteY60" fmla="*/ 404076 h 1333436"/>
                <a:gd name="connsiteX61" fmla="*/ 606892 w 752994"/>
                <a:gd name="connsiteY61" fmla="*/ 415688 h 1333436"/>
                <a:gd name="connsiteX62" fmla="*/ 610563 w 752994"/>
                <a:gd name="connsiteY62" fmla="*/ 412217 h 1333436"/>
                <a:gd name="connsiteX63" fmla="*/ 617920 w 752994"/>
                <a:gd name="connsiteY63" fmla="*/ 408769 h 1333436"/>
                <a:gd name="connsiteX64" fmla="*/ 624654 w 752994"/>
                <a:gd name="connsiteY64" fmla="*/ 411211 h 1333436"/>
                <a:gd name="connsiteX65" fmla="*/ 634652 w 752994"/>
                <a:gd name="connsiteY65" fmla="*/ 410182 h 1333436"/>
                <a:gd name="connsiteX66" fmla="*/ 640573 w 752994"/>
                <a:gd name="connsiteY66" fmla="*/ 407739 h 1333436"/>
                <a:gd name="connsiteX67" fmla="*/ 646711 w 752994"/>
                <a:gd name="connsiteY67" fmla="*/ 410589 h 1333436"/>
                <a:gd name="connsiteX68" fmla="*/ 650383 w 752994"/>
                <a:gd name="connsiteY68" fmla="*/ 410589 h 1333436"/>
                <a:gd name="connsiteX69" fmla="*/ 654257 w 752994"/>
                <a:gd name="connsiteY69" fmla="*/ 411618 h 1333436"/>
                <a:gd name="connsiteX70" fmla="*/ 656913 w 752994"/>
                <a:gd name="connsiteY70" fmla="*/ 413653 h 1333436"/>
                <a:gd name="connsiteX71" fmla="*/ 660802 w 752994"/>
                <a:gd name="connsiteY71" fmla="*/ 415090 h 1333436"/>
                <a:gd name="connsiteX72" fmla="*/ 669581 w 752994"/>
                <a:gd name="connsiteY72" fmla="*/ 415904 h 1333436"/>
                <a:gd name="connsiteX73" fmla="*/ 672237 w 752994"/>
                <a:gd name="connsiteY73" fmla="*/ 415688 h 1333436"/>
                <a:gd name="connsiteX74" fmla="*/ 675705 w 752994"/>
                <a:gd name="connsiteY74" fmla="*/ 409367 h 1333436"/>
                <a:gd name="connsiteX75" fmla="*/ 679986 w 752994"/>
                <a:gd name="connsiteY75" fmla="*/ 403238 h 1333436"/>
                <a:gd name="connsiteX76" fmla="*/ 693264 w 752994"/>
                <a:gd name="connsiteY76" fmla="*/ 419567 h 1333436"/>
                <a:gd name="connsiteX77" fmla="*/ 688563 w 752994"/>
                <a:gd name="connsiteY77" fmla="*/ 448321 h 1333436"/>
                <a:gd name="connsiteX78" fmla="*/ 663949 w 752994"/>
                <a:gd name="connsiteY78" fmla="*/ 590165 h 1333436"/>
                <a:gd name="connsiteX79" fmla="*/ 666304 w 752994"/>
                <a:gd name="connsiteY79" fmla="*/ 590504 h 1333436"/>
                <a:gd name="connsiteX80" fmla="*/ 655288 w 752994"/>
                <a:gd name="connsiteY80" fmla="*/ 656178 h 1333436"/>
                <a:gd name="connsiteX81" fmla="*/ 681808 w 752994"/>
                <a:gd name="connsiteY81" fmla="*/ 662301 h 1333436"/>
                <a:gd name="connsiteX82" fmla="*/ 752994 w 752994"/>
                <a:gd name="connsiteY82" fmla="*/ 675560 h 1333436"/>
                <a:gd name="connsiteX83" fmla="*/ 714651 w 752994"/>
                <a:gd name="connsiteY83" fmla="*/ 946985 h 1333436"/>
                <a:gd name="connsiteX84" fmla="*/ 654533 w 752994"/>
                <a:gd name="connsiteY84" fmla="*/ 1333436 h 1333436"/>
                <a:gd name="connsiteX85" fmla="*/ 546831 w 752994"/>
                <a:gd name="connsiteY85" fmla="*/ 1317126 h 1333436"/>
                <a:gd name="connsiteX86" fmla="*/ 351227 w 752994"/>
                <a:gd name="connsiteY86" fmla="*/ 1194172 h 1333436"/>
                <a:gd name="connsiteX87" fmla="*/ 361011 w 752994"/>
                <a:gd name="connsiteY87" fmla="*/ 1182755 h 1333436"/>
                <a:gd name="connsiteX88" fmla="*/ 368981 w 752994"/>
                <a:gd name="connsiteY88" fmla="*/ 1182130 h 1333436"/>
                <a:gd name="connsiteX89" fmla="*/ 369571 w 752994"/>
                <a:gd name="connsiteY89" fmla="*/ 1181558 h 1333436"/>
                <a:gd name="connsiteX90" fmla="*/ 362372 w 752994"/>
                <a:gd name="connsiteY90" fmla="*/ 1182120 h 1333436"/>
                <a:gd name="connsiteX91" fmla="*/ 229464 w 752994"/>
                <a:gd name="connsiteY91" fmla="*/ 1161721 h 1333436"/>
                <a:gd name="connsiteX92" fmla="*/ 227427 w 752994"/>
                <a:gd name="connsiteY92" fmla="*/ 1157269 h 1333436"/>
                <a:gd name="connsiteX93" fmla="*/ 224967 w 752994"/>
                <a:gd name="connsiteY93" fmla="*/ 1152575 h 1333436"/>
                <a:gd name="connsiteX94" fmla="*/ 225582 w 752994"/>
                <a:gd name="connsiteY94" fmla="*/ 1144808 h 1333436"/>
                <a:gd name="connsiteX95" fmla="*/ 227215 w 752994"/>
                <a:gd name="connsiteY95" fmla="*/ 1135834 h 1333436"/>
                <a:gd name="connsiteX96" fmla="*/ 227215 w 752994"/>
                <a:gd name="connsiteY96" fmla="*/ 1134212 h 1333436"/>
                <a:gd name="connsiteX97" fmla="*/ 225179 w 752994"/>
                <a:gd name="connsiteY97" fmla="*/ 1114020 h 1333436"/>
                <a:gd name="connsiteX98" fmla="*/ 217839 w 752994"/>
                <a:gd name="connsiteY98" fmla="*/ 1100352 h 1333436"/>
                <a:gd name="connsiteX99" fmla="*/ 199661 w 752994"/>
                <a:gd name="connsiteY99" fmla="*/ 1076502 h 1333436"/>
                <a:gd name="connsiteX100" fmla="*/ 196395 w 752994"/>
                <a:gd name="connsiteY100" fmla="*/ 1071807 h 1333436"/>
                <a:gd name="connsiteX101" fmla="*/ 190880 w 752994"/>
                <a:gd name="connsiteY101" fmla="*/ 1067527 h 1333436"/>
                <a:gd name="connsiteX102" fmla="*/ 187210 w 752994"/>
                <a:gd name="connsiteY102" fmla="*/ 1068735 h 1333436"/>
                <a:gd name="connsiteX103" fmla="*/ 180062 w 752994"/>
                <a:gd name="connsiteY103" fmla="*/ 1066699 h 1333436"/>
                <a:gd name="connsiteX104" fmla="*/ 180466 w 752994"/>
                <a:gd name="connsiteY104" fmla="*/ 1053031 h 1333436"/>
                <a:gd name="connsiteX105" fmla="*/ 180062 w 752994"/>
                <a:gd name="connsiteY105" fmla="*/ 1045299 h 1333436"/>
                <a:gd name="connsiteX106" fmla="*/ 174144 w 752994"/>
                <a:gd name="connsiteY106" fmla="*/ 1044057 h 1333436"/>
                <a:gd name="connsiteX107" fmla="*/ 158426 w 752994"/>
                <a:gd name="connsiteY107" fmla="*/ 1042641 h 1333436"/>
                <a:gd name="connsiteX108" fmla="*/ 149857 w 752994"/>
                <a:gd name="connsiteY108" fmla="*/ 1035497 h 1333436"/>
                <a:gd name="connsiteX109" fmla="*/ 142497 w 752994"/>
                <a:gd name="connsiteY109" fmla="*/ 1028766 h 1333436"/>
                <a:gd name="connsiteX110" fmla="*/ 140864 w 752994"/>
                <a:gd name="connsiteY110" fmla="*/ 1020620 h 1333436"/>
                <a:gd name="connsiteX111" fmla="*/ 138212 w 752994"/>
                <a:gd name="connsiteY111" fmla="*/ 1013061 h 1333436"/>
                <a:gd name="connsiteX112" fmla="*/ 131064 w 752994"/>
                <a:gd name="connsiteY112" fmla="*/ 1007159 h 1333436"/>
                <a:gd name="connsiteX113" fmla="*/ 121264 w 752994"/>
                <a:gd name="connsiteY113" fmla="*/ 1005330 h 1333436"/>
                <a:gd name="connsiteX114" fmla="*/ 112483 w 752994"/>
                <a:gd name="connsiteY114" fmla="*/ 1001671 h 1333436"/>
                <a:gd name="connsiteX115" fmla="*/ 105950 w 752994"/>
                <a:gd name="connsiteY115" fmla="*/ 995734 h 1333436"/>
                <a:gd name="connsiteX116" fmla="*/ 97380 w 752994"/>
                <a:gd name="connsiteY116" fmla="*/ 994526 h 1333436"/>
                <a:gd name="connsiteX117" fmla="*/ 87984 w 752994"/>
                <a:gd name="connsiteY117" fmla="*/ 991040 h 1333436"/>
                <a:gd name="connsiteX118" fmla="*/ 80029 w 752994"/>
                <a:gd name="connsiteY118" fmla="*/ 985138 h 1333436"/>
                <a:gd name="connsiteX119" fmla="*/ 77166 w 752994"/>
                <a:gd name="connsiteY119" fmla="*/ 976164 h 1333436"/>
                <a:gd name="connsiteX120" fmla="*/ 79203 w 752994"/>
                <a:gd name="connsiteY120" fmla="*/ 970676 h 1333436"/>
                <a:gd name="connsiteX121" fmla="*/ 82470 w 752994"/>
                <a:gd name="connsiteY121" fmla="*/ 963117 h 1333436"/>
                <a:gd name="connsiteX122" fmla="*/ 84314 w 752994"/>
                <a:gd name="connsiteY122" fmla="*/ 954557 h 1333436"/>
                <a:gd name="connsiteX123" fmla="*/ 86351 w 752994"/>
                <a:gd name="connsiteY123" fmla="*/ 948033 h 1333436"/>
                <a:gd name="connsiteX124" fmla="*/ 86159 w 752994"/>
                <a:gd name="connsiteY124" fmla="*/ 942925 h 1333436"/>
                <a:gd name="connsiteX125" fmla="*/ 83085 w 752994"/>
                <a:gd name="connsiteY125" fmla="*/ 939853 h 1333436"/>
                <a:gd name="connsiteX126" fmla="*/ 77570 w 752994"/>
                <a:gd name="connsiteY126" fmla="*/ 937437 h 1333436"/>
                <a:gd name="connsiteX127" fmla="*/ 76763 w 752994"/>
                <a:gd name="connsiteY127" fmla="*/ 931915 h 1333436"/>
                <a:gd name="connsiteX128" fmla="*/ 78800 w 752994"/>
                <a:gd name="connsiteY128" fmla="*/ 927013 h 1333436"/>
                <a:gd name="connsiteX129" fmla="*/ 79626 w 752994"/>
                <a:gd name="connsiteY129" fmla="*/ 922526 h 1333436"/>
                <a:gd name="connsiteX130" fmla="*/ 77781 w 752994"/>
                <a:gd name="connsiteY130" fmla="*/ 919903 h 1333436"/>
                <a:gd name="connsiteX131" fmla="*/ 74303 w 752994"/>
                <a:gd name="connsiteY131" fmla="*/ 917418 h 1333436"/>
                <a:gd name="connsiteX132" fmla="*/ 71863 w 752994"/>
                <a:gd name="connsiteY132" fmla="*/ 915174 h 1333436"/>
                <a:gd name="connsiteX133" fmla="*/ 71652 w 752994"/>
                <a:gd name="connsiteY133" fmla="*/ 910894 h 1333436"/>
                <a:gd name="connsiteX134" fmla="*/ 70633 w 752994"/>
                <a:gd name="connsiteY134" fmla="*/ 906614 h 1333436"/>
                <a:gd name="connsiteX135" fmla="*/ 68385 w 752994"/>
                <a:gd name="connsiteY135" fmla="*/ 902749 h 1333436"/>
                <a:gd name="connsiteX136" fmla="*/ 61045 w 752994"/>
                <a:gd name="connsiteY136" fmla="*/ 889494 h 1333436"/>
                <a:gd name="connsiteX137" fmla="*/ 57971 w 752994"/>
                <a:gd name="connsiteY137" fmla="*/ 875619 h 1333436"/>
                <a:gd name="connsiteX138" fmla="*/ 52264 w 752994"/>
                <a:gd name="connsiteY138" fmla="*/ 862572 h 1333436"/>
                <a:gd name="connsiteX139" fmla="*/ 44309 w 752994"/>
                <a:gd name="connsiteY139" fmla="*/ 850561 h 1333436"/>
                <a:gd name="connsiteX140" fmla="*/ 45520 w 752994"/>
                <a:gd name="connsiteY140" fmla="*/ 827090 h 1333436"/>
                <a:gd name="connsiteX141" fmla="*/ 53071 w 752994"/>
                <a:gd name="connsiteY141" fmla="*/ 822396 h 1333436"/>
                <a:gd name="connsiteX142" fmla="*/ 57375 w 752994"/>
                <a:gd name="connsiteY142" fmla="*/ 816493 h 1333436"/>
                <a:gd name="connsiteX143" fmla="*/ 55319 w 752994"/>
                <a:gd name="connsiteY143" fmla="*/ 801617 h 1333436"/>
                <a:gd name="connsiteX144" fmla="*/ 48383 w 752994"/>
                <a:gd name="connsiteY144" fmla="*/ 802204 h 1333436"/>
                <a:gd name="connsiteX145" fmla="*/ 40428 w 752994"/>
                <a:gd name="connsiteY145" fmla="*/ 797924 h 1333436"/>
                <a:gd name="connsiteX146" fmla="*/ 37565 w 752994"/>
                <a:gd name="connsiteY146" fmla="*/ 790606 h 1333436"/>
                <a:gd name="connsiteX147" fmla="*/ 37565 w 752994"/>
                <a:gd name="connsiteY147" fmla="*/ 790399 h 1333436"/>
                <a:gd name="connsiteX148" fmla="*/ 35931 w 752994"/>
                <a:gd name="connsiteY148" fmla="*/ 785912 h 1333436"/>
                <a:gd name="connsiteX149" fmla="*/ 34510 w 752994"/>
                <a:gd name="connsiteY149" fmla="*/ 780597 h 1333436"/>
                <a:gd name="connsiteX150" fmla="*/ 36335 w 752994"/>
                <a:gd name="connsiteY150" fmla="*/ 774280 h 1333436"/>
                <a:gd name="connsiteX151" fmla="*/ 38180 w 752994"/>
                <a:gd name="connsiteY151" fmla="*/ 766721 h 1333436"/>
                <a:gd name="connsiteX152" fmla="*/ 37161 w 752994"/>
                <a:gd name="connsiteY152" fmla="*/ 760405 h 1333436"/>
                <a:gd name="connsiteX153" fmla="*/ 35720 w 752994"/>
                <a:gd name="connsiteY153" fmla="*/ 754710 h 1333436"/>
                <a:gd name="connsiteX154" fmla="*/ 36546 w 752994"/>
                <a:gd name="connsiteY154" fmla="*/ 748773 h 1333436"/>
                <a:gd name="connsiteX155" fmla="*/ 38372 w 752994"/>
                <a:gd name="connsiteY155" fmla="*/ 744528 h 1333436"/>
                <a:gd name="connsiteX156" fmla="*/ 41638 w 752994"/>
                <a:gd name="connsiteY156" fmla="*/ 744321 h 1333436"/>
                <a:gd name="connsiteX157" fmla="*/ 44713 w 752994"/>
                <a:gd name="connsiteY157" fmla="*/ 746357 h 1333436"/>
                <a:gd name="connsiteX158" fmla="*/ 47364 w 752994"/>
                <a:gd name="connsiteY158" fmla="*/ 753260 h 1333436"/>
                <a:gd name="connsiteX159" fmla="*/ 55742 w 752994"/>
                <a:gd name="connsiteY159" fmla="*/ 764305 h 1333436"/>
                <a:gd name="connsiteX160" fmla="*/ 56338 w 752994"/>
                <a:gd name="connsiteY160" fmla="*/ 761233 h 1333436"/>
                <a:gd name="connsiteX161" fmla="*/ 56145 w 752994"/>
                <a:gd name="connsiteY161" fmla="*/ 757368 h 1333436"/>
                <a:gd name="connsiteX162" fmla="*/ 54916 w 752994"/>
                <a:gd name="connsiteY162" fmla="*/ 748601 h 1333436"/>
                <a:gd name="connsiteX163" fmla="*/ 52879 w 752994"/>
                <a:gd name="connsiteY163" fmla="*/ 747358 h 1333436"/>
                <a:gd name="connsiteX164" fmla="*/ 51649 w 752994"/>
                <a:gd name="connsiteY164" fmla="*/ 745322 h 1333436"/>
                <a:gd name="connsiteX165" fmla="*/ 51649 w 752994"/>
                <a:gd name="connsiteY165" fmla="*/ 739212 h 1333436"/>
                <a:gd name="connsiteX166" fmla="*/ 50227 w 752994"/>
                <a:gd name="connsiteY166" fmla="*/ 734725 h 1333436"/>
                <a:gd name="connsiteX167" fmla="*/ 48786 w 752994"/>
                <a:gd name="connsiteY167" fmla="*/ 731446 h 1333436"/>
                <a:gd name="connsiteX168" fmla="*/ 54512 w 752994"/>
                <a:gd name="connsiteY168" fmla="*/ 726372 h 1333436"/>
                <a:gd name="connsiteX169" fmla="*/ 59815 w 752994"/>
                <a:gd name="connsiteY169" fmla="*/ 725130 h 1333436"/>
                <a:gd name="connsiteX170" fmla="*/ 58182 w 752994"/>
                <a:gd name="connsiteY170" fmla="*/ 722886 h 1333436"/>
                <a:gd name="connsiteX171" fmla="*/ 51861 w 752994"/>
                <a:gd name="connsiteY171" fmla="*/ 717985 h 1333436"/>
                <a:gd name="connsiteX172" fmla="*/ 46749 w 752994"/>
                <a:gd name="connsiteY172" fmla="*/ 729617 h 1333436"/>
                <a:gd name="connsiteX173" fmla="*/ 40831 w 752994"/>
                <a:gd name="connsiteY173" fmla="*/ 739212 h 1333436"/>
                <a:gd name="connsiteX174" fmla="*/ 39601 w 752994"/>
                <a:gd name="connsiteY174" fmla="*/ 738798 h 1333436"/>
                <a:gd name="connsiteX175" fmla="*/ 39409 w 752994"/>
                <a:gd name="connsiteY175" fmla="*/ 738591 h 1333436"/>
                <a:gd name="connsiteX176" fmla="*/ 37161 w 752994"/>
                <a:gd name="connsiteY176" fmla="*/ 734725 h 1333436"/>
                <a:gd name="connsiteX177" fmla="*/ 32665 w 752994"/>
                <a:gd name="connsiteY177" fmla="*/ 727788 h 1333436"/>
                <a:gd name="connsiteX178" fmla="*/ 26747 w 752994"/>
                <a:gd name="connsiteY178" fmla="*/ 719435 h 1333436"/>
                <a:gd name="connsiteX179" fmla="*/ 23884 w 752994"/>
                <a:gd name="connsiteY179" fmla="*/ 717812 h 1333436"/>
                <a:gd name="connsiteX180" fmla="*/ 24710 w 752994"/>
                <a:gd name="connsiteY180" fmla="*/ 709632 h 1333436"/>
                <a:gd name="connsiteX181" fmla="*/ 27554 w 752994"/>
                <a:gd name="connsiteY181" fmla="*/ 701694 h 1333436"/>
                <a:gd name="connsiteX182" fmla="*/ 24902 w 752994"/>
                <a:gd name="connsiteY182" fmla="*/ 696171 h 1333436"/>
                <a:gd name="connsiteX183" fmla="*/ 24095 w 752994"/>
                <a:gd name="connsiteY183" fmla="*/ 687818 h 1333436"/>
                <a:gd name="connsiteX184" fmla="*/ 22462 w 752994"/>
                <a:gd name="connsiteY184" fmla="*/ 682330 h 1333436"/>
                <a:gd name="connsiteX185" fmla="*/ 17159 w 752994"/>
                <a:gd name="connsiteY185" fmla="*/ 677636 h 1333436"/>
                <a:gd name="connsiteX186" fmla="*/ 14296 w 752994"/>
                <a:gd name="connsiteY186" fmla="*/ 671492 h 1333436"/>
                <a:gd name="connsiteX187" fmla="*/ 12451 w 752994"/>
                <a:gd name="connsiteY187" fmla="*/ 665797 h 1333436"/>
                <a:gd name="connsiteX188" fmla="*/ 5111 w 752994"/>
                <a:gd name="connsiteY188" fmla="*/ 654994 h 1333436"/>
                <a:gd name="connsiteX189" fmla="*/ 2248 w 752994"/>
                <a:gd name="connsiteY189" fmla="*/ 645605 h 1333436"/>
                <a:gd name="connsiteX190" fmla="*/ 4496 w 752994"/>
                <a:gd name="connsiteY190" fmla="*/ 640497 h 1333436"/>
                <a:gd name="connsiteX191" fmla="*/ 6744 w 752994"/>
                <a:gd name="connsiteY191" fmla="*/ 632765 h 1333436"/>
                <a:gd name="connsiteX192" fmla="*/ 6744 w 752994"/>
                <a:gd name="connsiteY192" fmla="*/ 628485 h 1333436"/>
                <a:gd name="connsiteX193" fmla="*/ 6533 w 752994"/>
                <a:gd name="connsiteY193" fmla="*/ 620305 h 1333436"/>
                <a:gd name="connsiteX194" fmla="*/ 7359 w 752994"/>
                <a:gd name="connsiteY194" fmla="*/ 611745 h 1333436"/>
                <a:gd name="connsiteX195" fmla="*/ 11836 w 752994"/>
                <a:gd name="connsiteY195" fmla="*/ 602978 h 1333436"/>
                <a:gd name="connsiteX196" fmla="*/ 15103 w 752994"/>
                <a:gd name="connsiteY196" fmla="*/ 591760 h 1333436"/>
                <a:gd name="connsiteX197" fmla="*/ 14488 w 752994"/>
                <a:gd name="connsiteY197" fmla="*/ 584029 h 1333436"/>
                <a:gd name="connsiteX198" fmla="*/ 13873 w 752994"/>
                <a:gd name="connsiteY198" fmla="*/ 578299 h 1333436"/>
                <a:gd name="connsiteX199" fmla="*/ 10626 w 752994"/>
                <a:gd name="connsiteY199" fmla="*/ 568531 h 1333436"/>
                <a:gd name="connsiteX200" fmla="*/ 3670 w 752994"/>
                <a:gd name="connsiteY200" fmla="*/ 558107 h 1333436"/>
                <a:gd name="connsiteX201" fmla="*/ 0 w 752994"/>
                <a:gd name="connsiteY201" fmla="*/ 551377 h 1333436"/>
                <a:gd name="connsiteX202" fmla="*/ 0 w 752994"/>
                <a:gd name="connsiteY202" fmla="*/ 550997 h 1333436"/>
                <a:gd name="connsiteX203" fmla="*/ 4900 w 752994"/>
                <a:gd name="connsiteY203" fmla="*/ 531220 h 1333436"/>
                <a:gd name="connsiteX204" fmla="*/ 13873 w 752994"/>
                <a:gd name="connsiteY204" fmla="*/ 520589 h 1333436"/>
                <a:gd name="connsiteX205" fmla="*/ 18369 w 752994"/>
                <a:gd name="connsiteY205" fmla="*/ 516516 h 1333436"/>
                <a:gd name="connsiteX206" fmla="*/ 18773 w 752994"/>
                <a:gd name="connsiteY206" fmla="*/ 514272 h 1333436"/>
                <a:gd name="connsiteX207" fmla="*/ 23077 w 752994"/>
                <a:gd name="connsiteY207" fmla="*/ 506127 h 1333436"/>
                <a:gd name="connsiteX208" fmla="*/ 23884 w 752994"/>
                <a:gd name="connsiteY208" fmla="*/ 502261 h 1333436"/>
                <a:gd name="connsiteX209" fmla="*/ 23692 w 752994"/>
                <a:gd name="connsiteY209" fmla="*/ 496738 h 1333436"/>
                <a:gd name="connsiteX210" fmla="*/ 30013 w 752994"/>
                <a:gd name="connsiteY210" fmla="*/ 486556 h 1333436"/>
                <a:gd name="connsiteX211" fmla="*/ 36546 w 752994"/>
                <a:gd name="connsiteY211" fmla="*/ 470230 h 1333436"/>
                <a:gd name="connsiteX212" fmla="*/ 36546 w 752994"/>
                <a:gd name="connsiteY212" fmla="*/ 462671 h 1333436"/>
                <a:gd name="connsiteX213" fmla="*/ 36335 w 752994"/>
                <a:gd name="connsiteY213" fmla="*/ 461670 h 1333436"/>
                <a:gd name="connsiteX214" fmla="*/ 35931 w 752994"/>
                <a:gd name="connsiteY214" fmla="*/ 453110 h 1333436"/>
                <a:gd name="connsiteX215" fmla="*/ 38583 w 752994"/>
                <a:gd name="connsiteY215" fmla="*/ 442514 h 1333436"/>
                <a:gd name="connsiteX216" fmla="*/ 41043 w 752994"/>
                <a:gd name="connsiteY216" fmla="*/ 436991 h 1333436"/>
                <a:gd name="connsiteX217" fmla="*/ 41650 w 752994"/>
                <a:gd name="connsiteY217" fmla="*/ 437186 h 1333436"/>
                <a:gd name="connsiteX218" fmla="*/ 41239 w 752994"/>
                <a:gd name="connsiteY218" fmla="*/ 436549 h 1333436"/>
                <a:gd name="connsiteX219" fmla="*/ 37778 w 752994"/>
                <a:gd name="connsiteY219" fmla="*/ 433894 h 1333436"/>
                <a:gd name="connsiteX220" fmla="*/ 37169 w 752994"/>
                <a:gd name="connsiteY220" fmla="*/ 432261 h 1333436"/>
                <a:gd name="connsiteX221" fmla="*/ 37365 w 752994"/>
                <a:gd name="connsiteY221" fmla="*/ 429198 h 1333436"/>
                <a:gd name="connsiteX222" fmla="*/ 36756 w 752994"/>
                <a:gd name="connsiteY222" fmla="*/ 422272 h 1333436"/>
                <a:gd name="connsiteX223" fmla="*/ 36952 w 752994"/>
                <a:gd name="connsiteY223" fmla="*/ 418800 h 1333436"/>
                <a:gd name="connsiteX224" fmla="*/ 36756 w 752994"/>
                <a:gd name="connsiteY224" fmla="*/ 412487 h 1333436"/>
                <a:gd name="connsiteX225" fmla="*/ 40433 w 752994"/>
                <a:gd name="connsiteY225" fmla="*/ 406174 h 1333436"/>
                <a:gd name="connsiteX226" fmla="*/ 44720 w 752994"/>
                <a:gd name="connsiteY226" fmla="*/ 399435 h 1333436"/>
                <a:gd name="connsiteX227" fmla="*/ 44110 w 752994"/>
                <a:gd name="connsiteY227" fmla="*/ 389651 h 1333436"/>
                <a:gd name="connsiteX228" fmla="*/ 43894 w 752994"/>
                <a:gd name="connsiteY228" fmla="*/ 378437 h 1333436"/>
                <a:gd name="connsiteX229" fmla="*/ 47158 w 752994"/>
                <a:gd name="connsiteY229" fmla="*/ 371102 h 1333436"/>
                <a:gd name="connsiteX230" fmla="*/ 55731 w 752994"/>
                <a:gd name="connsiteY230" fmla="*/ 360909 h 1333436"/>
                <a:gd name="connsiteX231" fmla="*/ 57580 w 752994"/>
                <a:gd name="connsiteY231" fmla="*/ 355804 h 1333436"/>
                <a:gd name="connsiteX232" fmla="*/ 62673 w 752994"/>
                <a:gd name="connsiteY232" fmla="*/ 349695 h 1333436"/>
                <a:gd name="connsiteX233" fmla="*/ 65937 w 752994"/>
                <a:gd name="connsiteY233" fmla="*/ 348470 h 1333436"/>
                <a:gd name="connsiteX234" fmla="*/ 68395 w 752994"/>
                <a:gd name="connsiteY234" fmla="*/ 348674 h 1333436"/>
                <a:gd name="connsiteX235" fmla="*/ 70224 w 752994"/>
                <a:gd name="connsiteY235" fmla="*/ 347449 h 1333436"/>
                <a:gd name="connsiteX236" fmla="*/ 67785 w 752994"/>
                <a:gd name="connsiteY236" fmla="*/ 345203 h 1333436"/>
                <a:gd name="connsiteX237" fmla="*/ 65524 w 752994"/>
                <a:gd name="connsiteY237" fmla="*/ 343178 h 1333436"/>
                <a:gd name="connsiteX238" fmla="*/ 73095 w 752994"/>
                <a:gd name="connsiteY238" fmla="*/ 333376 h 1333436"/>
                <a:gd name="connsiteX239" fmla="*/ 73291 w 752994"/>
                <a:gd name="connsiteY239" fmla="*/ 333376 h 1333436"/>
                <a:gd name="connsiteX240" fmla="*/ 77991 w 752994"/>
                <a:gd name="connsiteY240" fmla="*/ 325838 h 1333436"/>
                <a:gd name="connsiteX241" fmla="*/ 82671 w 752994"/>
                <a:gd name="connsiteY241" fmla="*/ 313619 h 1333436"/>
                <a:gd name="connsiteX242" fmla="*/ 87980 w 752994"/>
                <a:gd name="connsiteY242" fmla="*/ 303018 h 1333436"/>
                <a:gd name="connsiteX243" fmla="*/ 92267 w 752994"/>
                <a:gd name="connsiteY243" fmla="*/ 291191 h 1333436"/>
                <a:gd name="connsiteX244" fmla="*/ 96553 w 752994"/>
                <a:gd name="connsiteY244" fmla="*/ 281202 h 1333436"/>
                <a:gd name="connsiteX245" fmla="*/ 99621 w 752994"/>
                <a:gd name="connsiteY245" fmla="*/ 274481 h 1333436"/>
                <a:gd name="connsiteX246" fmla="*/ 103082 w 752994"/>
                <a:gd name="connsiteY246" fmla="*/ 262450 h 1333436"/>
                <a:gd name="connsiteX247" fmla="*/ 107172 w 752994"/>
                <a:gd name="connsiteY247" fmla="*/ 254299 h 1333436"/>
                <a:gd name="connsiteX248" fmla="*/ 112481 w 752994"/>
                <a:gd name="connsiteY248" fmla="*/ 243697 h 1333436"/>
                <a:gd name="connsiteX249" fmla="*/ 117181 w 752994"/>
                <a:gd name="connsiteY249" fmla="*/ 232279 h 1333436"/>
                <a:gd name="connsiteX250" fmla="*/ 125951 w 752994"/>
                <a:gd name="connsiteY250" fmla="*/ 217389 h 1333436"/>
                <a:gd name="connsiteX251" fmla="*/ 136156 w 752994"/>
                <a:gd name="connsiteY251" fmla="*/ 202925 h 1333436"/>
                <a:gd name="connsiteX252" fmla="*/ 138811 w 752994"/>
                <a:gd name="connsiteY252" fmla="*/ 183339 h 1333436"/>
                <a:gd name="connsiteX253" fmla="*/ 148801 w 752994"/>
                <a:gd name="connsiteY253" fmla="*/ 167445 h 1333436"/>
                <a:gd name="connsiteX254" fmla="*/ 159616 w 752994"/>
                <a:gd name="connsiteY254" fmla="*/ 170712 h 1333436"/>
                <a:gd name="connsiteX255" fmla="*/ 173105 w 752994"/>
                <a:gd name="connsiteY255" fmla="*/ 175188 h 1333436"/>
                <a:gd name="connsiteX256" fmla="*/ 175347 w 752994"/>
                <a:gd name="connsiteY256" fmla="*/ 175188 h 1333436"/>
                <a:gd name="connsiteX257" fmla="*/ 175347 w 752994"/>
                <a:gd name="connsiteY257" fmla="*/ 173758 h 1333436"/>
                <a:gd name="connsiteX258" fmla="*/ 184975 w 752994"/>
                <a:gd name="connsiteY258" fmla="*/ 187393 h 1333436"/>
                <a:gd name="connsiteX259" fmla="*/ 184762 w 752994"/>
                <a:gd name="connsiteY259" fmla="*/ 184637 h 1333436"/>
                <a:gd name="connsiteX260" fmla="*/ 174971 w 752994"/>
                <a:gd name="connsiteY260" fmla="*/ 170774 h 1333436"/>
                <a:gd name="connsiteX261" fmla="*/ 174971 w 752994"/>
                <a:gd name="connsiteY261" fmla="*/ 169550 h 1333436"/>
                <a:gd name="connsiteX262" fmla="*/ 158851 w 752994"/>
                <a:gd name="connsiteY262" fmla="*/ 156924 h 1333436"/>
                <a:gd name="connsiteX263" fmla="*/ 147025 w 752994"/>
                <a:gd name="connsiteY263" fmla="*/ 145709 h 1333436"/>
                <a:gd name="connsiteX264" fmla="*/ 154364 w 752994"/>
                <a:gd name="connsiteY264" fmla="*/ 136335 h 1333436"/>
                <a:gd name="connsiteX265" fmla="*/ 161511 w 752994"/>
                <a:gd name="connsiteY265" fmla="*/ 131042 h 1333436"/>
                <a:gd name="connsiteX266" fmla="*/ 160902 w 752994"/>
                <a:gd name="connsiteY266" fmla="*/ 128384 h 1333436"/>
                <a:gd name="connsiteX267" fmla="*/ 160277 w 752994"/>
                <a:gd name="connsiteY267" fmla="*/ 127778 h 1333436"/>
                <a:gd name="connsiteX268" fmla="*/ 154973 w 752994"/>
                <a:gd name="connsiteY268" fmla="*/ 122077 h 1333436"/>
                <a:gd name="connsiteX269" fmla="*/ 160277 w 752994"/>
                <a:gd name="connsiteY269" fmla="*/ 115140 h 1333436"/>
                <a:gd name="connsiteX270" fmla="*/ 165181 w 752994"/>
                <a:gd name="connsiteY270" fmla="*/ 108215 h 1333436"/>
                <a:gd name="connsiteX271" fmla="*/ 161303 w 752994"/>
                <a:gd name="connsiteY271" fmla="*/ 104146 h 1333436"/>
                <a:gd name="connsiteX272" fmla="*/ 157842 w 752994"/>
                <a:gd name="connsiteY272" fmla="*/ 104542 h 1333436"/>
                <a:gd name="connsiteX273" fmla="*/ 157024 w 752994"/>
                <a:gd name="connsiteY273" fmla="*/ 102304 h 1333436"/>
                <a:gd name="connsiteX274" fmla="*/ 160694 w 752994"/>
                <a:gd name="connsiteY274" fmla="*/ 55437 h 1333436"/>
                <a:gd name="connsiteX275" fmla="*/ 160486 w 752994"/>
                <a:gd name="connsiteY275" fmla="*/ 31991 h 1333436"/>
                <a:gd name="connsiteX276" fmla="*/ 164972 w 752994"/>
                <a:gd name="connsiteY276" fmla="*/ 18141 h 1333436"/>
                <a:gd name="connsiteX277" fmla="*/ 171911 w 752994"/>
                <a:gd name="connsiteY277" fmla="*/ 11204 h 1333436"/>
                <a:gd name="connsiteX278" fmla="*/ 187406 w 752994"/>
                <a:gd name="connsiteY278" fmla="*/ 21801 h 1333436"/>
                <a:gd name="connsiteX279" fmla="*/ 210866 w 752994"/>
                <a:gd name="connsiteY279" fmla="*/ 37086 h 1333436"/>
                <a:gd name="connsiteX280" fmla="*/ 219230 w 752994"/>
                <a:gd name="connsiteY280" fmla="*/ 41166 h 1333436"/>
                <a:gd name="connsiteX281" fmla="*/ 226778 w 752994"/>
                <a:gd name="connsiteY281" fmla="*/ 47486 h 1333436"/>
                <a:gd name="connsiteX282" fmla="*/ 236152 w 752994"/>
                <a:gd name="connsiteY282" fmla="*/ 52370 h 1333436"/>
                <a:gd name="connsiteX283" fmla="*/ 239629 w 752994"/>
                <a:gd name="connsiteY283" fmla="*/ 58491 h 1333436"/>
                <a:gd name="connsiteX284" fmla="*/ 239629 w 752994"/>
                <a:gd name="connsiteY284" fmla="*/ 63376 h 1333436"/>
                <a:gd name="connsiteX285" fmla="*/ 236568 w 752994"/>
                <a:gd name="connsiteY285" fmla="*/ 67457 h 1333436"/>
                <a:gd name="connsiteX286" fmla="*/ 231264 w 752994"/>
                <a:gd name="connsiteY286" fmla="*/ 69905 h 1333436"/>
                <a:gd name="connsiteX287" fmla="*/ 216778 w 752994"/>
                <a:gd name="connsiteY287" fmla="*/ 82741 h 1333436"/>
                <a:gd name="connsiteX288" fmla="*/ 214134 w 752994"/>
                <a:gd name="connsiteY288" fmla="*/ 93536 h 1333436"/>
                <a:gd name="connsiteX289" fmla="*/ 214535 w 752994"/>
                <a:gd name="connsiteY289" fmla="*/ 96801 h 1333436"/>
                <a:gd name="connsiteX290" fmla="*/ 216378 w 752994"/>
                <a:gd name="connsiteY290" fmla="*/ 96801 h 1333436"/>
                <a:gd name="connsiteX291" fmla="*/ 230046 w 752994"/>
                <a:gd name="connsiteY291" fmla="*/ 85387 h 1333436"/>
                <a:gd name="connsiteX292" fmla="*/ 243298 w 752994"/>
                <a:gd name="connsiteY292" fmla="*/ 75198 h 1333436"/>
                <a:gd name="connsiteX293" fmla="*/ 246760 w 752994"/>
                <a:gd name="connsiteY293" fmla="*/ 77646 h 1333436"/>
                <a:gd name="connsiteX294" fmla="*/ 255541 w 752994"/>
                <a:gd name="connsiteY294" fmla="*/ 63376 h 1333436"/>
                <a:gd name="connsiteX295" fmla="*/ 259611 w 752994"/>
                <a:gd name="connsiteY295" fmla="*/ 43405 h 1333436"/>
                <a:gd name="connsiteX296" fmla="*/ 256967 w 752994"/>
                <a:gd name="connsiteY296" fmla="*/ 38520 h 1333436"/>
                <a:gd name="connsiteX297" fmla="*/ 253906 w 752994"/>
                <a:gd name="connsiteY297" fmla="*/ 34242 h 1333436"/>
                <a:gd name="connsiteX298" fmla="*/ 256967 w 752994"/>
                <a:gd name="connsiteY298" fmla="*/ 30161 h 1333436"/>
                <a:gd name="connsiteX299" fmla="*/ 262063 w 752994"/>
                <a:gd name="connsiteY299" fmla="*/ 27712 h 1333436"/>
                <a:gd name="connsiteX300" fmla="*/ 264915 w 752994"/>
                <a:gd name="connsiteY300" fmla="*/ 23026 h 1333436"/>
                <a:gd name="connsiteX301" fmla="*/ 267976 w 752994"/>
                <a:gd name="connsiteY301" fmla="*/ 22618 h 1333436"/>
                <a:gd name="connsiteX302" fmla="*/ 270427 w 752994"/>
                <a:gd name="connsiteY302" fmla="*/ 20787 h 1333436"/>
                <a:gd name="connsiteX303" fmla="*/ 263088 w 752994"/>
                <a:gd name="connsiteY303" fmla="*/ 13652 h 1333436"/>
                <a:gd name="connsiteX304" fmla="*/ 255541 w 752994"/>
                <a:gd name="connsiteY304" fmla="*/ 3055 h 1333436"/>
                <a:gd name="connsiteX305" fmla="*/ 256358 w 752994"/>
                <a:gd name="connsiteY305" fmla="*/ 1224 h 1333436"/>
                <a:gd name="connsiteX306" fmla="*/ 257159 w 752994"/>
                <a:gd name="connsiteY306"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248418 w 752994"/>
                <a:gd name="connsiteY9" fmla="*/ 244701 h 1333436"/>
                <a:gd name="connsiteX10" fmla="*/ 195162 w 752994"/>
                <a:gd name="connsiteY10" fmla="*/ 228857 h 1333436"/>
                <a:gd name="connsiteX11" fmla="*/ 188223 w 752994"/>
                <a:gd name="connsiteY11" fmla="*/ 223973 h 1333436"/>
                <a:gd name="connsiteX12" fmla="*/ 185163 w 752994"/>
                <a:gd name="connsiteY12" fmla="*/ 219484 h 1333436"/>
                <a:gd name="connsiteX13" fmla="*/ 184180 w 752994"/>
                <a:gd name="connsiteY13" fmla="*/ 213866 h 1333436"/>
                <a:gd name="connsiteX14" fmla="*/ 257159 w 752994"/>
                <a:gd name="connsiteY14" fmla="*/ 0 h 1333436"/>
                <a:gd name="connsiteX15" fmla="*/ 493147 w 752994"/>
                <a:gd name="connsiteY15" fmla="*/ 73157 h 1333436"/>
                <a:gd name="connsiteX16" fmla="*/ 492970 w 752994"/>
                <a:gd name="connsiteY16" fmla="*/ 73792 h 1333436"/>
                <a:gd name="connsiteX17" fmla="*/ 525816 w 752994"/>
                <a:gd name="connsiteY17" fmla="*/ 82491 h 1333436"/>
                <a:gd name="connsiteX18" fmla="*/ 520098 w 752994"/>
                <a:gd name="connsiteY18" fmla="*/ 111245 h 1333436"/>
                <a:gd name="connsiteX19" fmla="*/ 512552 w 752994"/>
                <a:gd name="connsiteY19" fmla="*/ 143854 h 1333436"/>
                <a:gd name="connsiteX20" fmla="*/ 517849 w 752994"/>
                <a:gd name="connsiteY20" fmla="*/ 157740 h 1333436"/>
                <a:gd name="connsiteX21" fmla="*/ 523160 w 752994"/>
                <a:gd name="connsiteY21" fmla="*/ 172009 h 1333436"/>
                <a:gd name="connsiteX22" fmla="*/ 521535 w 752994"/>
                <a:gd name="connsiteY22" fmla="*/ 178928 h 1333436"/>
                <a:gd name="connsiteX23" fmla="*/ 520098 w 752994"/>
                <a:gd name="connsiteY23" fmla="*/ 186279 h 1333436"/>
                <a:gd name="connsiteX24" fmla="*/ 526019 w 752994"/>
                <a:gd name="connsiteY24" fmla="*/ 193629 h 1333436"/>
                <a:gd name="connsiteX25" fmla="*/ 537251 w 752994"/>
                <a:gd name="connsiteY25" fmla="*/ 206270 h 1333436"/>
                <a:gd name="connsiteX26" fmla="*/ 542765 w 752994"/>
                <a:gd name="connsiteY26" fmla="*/ 217475 h 1333436"/>
                <a:gd name="connsiteX27" fmla="*/ 546857 w 752994"/>
                <a:gd name="connsiteY27" fmla="*/ 230930 h 1333436"/>
                <a:gd name="connsiteX28" fmla="*/ 549499 w 752994"/>
                <a:gd name="connsiteY28" fmla="*/ 235622 h 1333436"/>
                <a:gd name="connsiteX29" fmla="*/ 553388 w 752994"/>
                <a:gd name="connsiteY29" fmla="*/ 240722 h 1333436"/>
                <a:gd name="connsiteX30" fmla="*/ 557465 w 752994"/>
                <a:gd name="connsiteY30" fmla="*/ 246037 h 1333436"/>
                <a:gd name="connsiteX31" fmla="*/ 561761 w 752994"/>
                <a:gd name="connsiteY31" fmla="*/ 248671 h 1333436"/>
                <a:gd name="connsiteX32" fmla="*/ 567478 w 752994"/>
                <a:gd name="connsiteY32" fmla="*/ 247665 h 1333436"/>
                <a:gd name="connsiteX33" fmla="*/ 569931 w 752994"/>
                <a:gd name="connsiteY33" fmla="*/ 249293 h 1333436"/>
                <a:gd name="connsiteX34" fmla="*/ 570540 w 752994"/>
                <a:gd name="connsiteY34" fmla="*/ 251951 h 1333436"/>
                <a:gd name="connsiteX35" fmla="*/ 561964 w 752994"/>
                <a:gd name="connsiteY35" fmla="*/ 267656 h 1333436"/>
                <a:gd name="connsiteX36" fmla="*/ 553591 w 752994"/>
                <a:gd name="connsiteY36" fmla="*/ 289659 h 1333436"/>
                <a:gd name="connsiteX37" fmla="*/ 554810 w 752994"/>
                <a:gd name="connsiteY37" fmla="*/ 292939 h 1333436"/>
                <a:gd name="connsiteX38" fmla="*/ 556246 w 752994"/>
                <a:gd name="connsiteY38" fmla="*/ 299260 h 1333436"/>
                <a:gd name="connsiteX39" fmla="*/ 552778 w 752994"/>
                <a:gd name="connsiteY39" fmla="*/ 301917 h 1333436"/>
                <a:gd name="connsiteX40" fmla="*/ 549295 w 752994"/>
                <a:gd name="connsiteY40" fmla="*/ 306993 h 1333436"/>
                <a:gd name="connsiteX41" fmla="*/ 547061 w 752994"/>
                <a:gd name="connsiteY41" fmla="*/ 313122 h 1333436"/>
                <a:gd name="connsiteX42" fmla="*/ 544811 w 752994"/>
                <a:gd name="connsiteY42" fmla="*/ 316593 h 1333436"/>
                <a:gd name="connsiteX43" fmla="*/ 549919 w 752994"/>
                <a:gd name="connsiteY43" fmla="*/ 322698 h 1333436"/>
                <a:gd name="connsiteX44" fmla="*/ 553184 w 752994"/>
                <a:gd name="connsiteY44" fmla="*/ 325955 h 1333436"/>
                <a:gd name="connsiteX45" fmla="*/ 555840 w 752994"/>
                <a:gd name="connsiteY45" fmla="*/ 328205 h 1333436"/>
                <a:gd name="connsiteX46" fmla="*/ 574212 w 752994"/>
                <a:gd name="connsiteY46" fmla="*/ 318820 h 1333436"/>
                <a:gd name="connsiteX47" fmla="*/ 579523 w 752994"/>
                <a:gd name="connsiteY47" fmla="*/ 326577 h 1333436"/>
                <a:gd name="connsiteX48" fmla="*/ 580539 w 752994"/>
                <a:gd name="connsiteY48" fmla="*/ 334933 h 1333436"/>
                <a:gd name="connsiteX49" fmla="*/ 579726 w 752994"/>
                <a:gd name="connsiteY49" fmla="*/ 343097 h 1333436"/>
                <a:gd name="connsiteX50" fmla="*/ 581366 w 752994"/>
                <a:gd name="connsiteY50" fmla="*/ 350231 h 1333436"/>
                <a:gd name="connsiteX51" fmla="*/ 586256 w 752994"/>
                <a:gd name="connsiteY51" fmla="*/ 355930 h 1333436"/>
                <a:gd name="connsiteX52" fmla="*/ 589536 w 752994"/>
                <a:gd name="connsiteY52" fmla="*/ 362059 h 1333436"/>
                <a:gd name="connsiteX53" fmla="*/ 588099 w 752994"/>
                <a:gd name="connsiteY53" fmla="*/ 369600 h 1333436"/>
                <a:gd name="connsiteX54" fmla="*/ 586459 w 752994"/>
                <a:gd name="connsiteY54" fmla="*/ 377357 h 1333436"/>
                <a:gd name="connsiteX55" fmla="*/ 588709 w 752994"/>
                <a:gd name="connsiteY55" fmla="*/ 381835 h 1333436"/>
                <a:gd name="connsiteX56" fmla="*/ 595036 w 752994"/>
                <a:gd name="connsiteY56" fmla="*/ 382457 h 1333436"/>
                <a:gd name="connsiteX57" fmla="*/ 599331 w 752994"/>
                <a:gd name="connsiteY57" fmla="*/ 385306 h 1333436"/>
                <a:gd name="connsiteX58" fmla="*/ 601987 w 752994"/>
                <a:gd name="connsiteY58" fmla="*/ 391004 h 1333436"/>
                <a:gd name="connsiteX59" fmla="*/ 602799 w 752994"/>
                <a:gd name="connsiteY59" fmla="*/ 404076 h 1333436"/>
                <a:gd name="connsiteX60" fmla="*/ 606892 w 752994"/>
                <a:gd name="connsiteY60" fmla="*/ 415688 h 1333436"/>
                <a:gd name="connsiteX61" fmla="*/ 610563 w 752994"/>
                <a:gd name="connsiteY61" fmla="*/ 412217 h 1333436"/>
                <a:gd name="connsiteX62" fmla="*/ 617920 w 752994"/>
                <a:gd name="connsiteY62" fmla="*/ 408769 h 1333436"/>
                <a:gd name="connsiteX63" fmla="*/ 624654 w 752994"/>
                <a:gd name="connsiteY63" fmla="*/ 411211 h 1333436"/>
                <a:gd name="connsiteX64" fmla="*/ 634652 w 752994"/>
                <a:gd name="connsiteY64" fmla="*/ 410182 h 1333436"/>
                <a:gd name="connsiteX65" fmla="*/ 640573 w 752994"/>
                <a:gd name="connsiteY65" fmla="*/ 407739 h 1333436"/>
                <a:gd name="connsiteX66" fmla="*/ 646711 w 752994"/>
                <a:gd name="connsiteY66" fmla="*/ 410589 h 1333436"/>
                <a:gd name="connsiteX67" fmla="*/ 650383 w 752994"/>
                <a:gd name="connsiteY67" fmla="*/ 410589 h 1333436"/>
                <a:gd name="connsiteX68" fmla="*/ 654257 w 752994"/>
                <a:gd name="connsiteY68" fmla="*/ 411618 h 1333436"/>
                <a:gd name="connsiteX69" fmla="*/ 656913 w 752994"/>
                <a:gd name="connsiteY69" fmla="*/ 413653 h 1333436"/>
                <a:gd name="connsiteX70" fmla="*/ 660802 w 752994"/>
                <a:gd name="connsiteY70" fmla="*/ 415090 h 1333436"/>
                <a:gd name="connsiteX71" fmla="*/ 669581 w 752994"/>
                <a:gd name="connsiteY71" fmla="*/ 415904 h 1333436"/>
                <a:gd name="connsiteX72" fmla="*/ 672237 w 752994"/>
                <a:gd name="connsiteY72" fmla="*/ 415688 h 1333436"/>
                <a:gd name="connsiteX73" fmla="*/ 675705 w 752994"/>
                <a:gd name="connsiteY73" fmla="*/ 409367 h 1333436"/>
                <a:gd name="connsiteX74" fmla="*/ 679986 w 752994"/>
                <a:gd name="connsiteY74" fmla="*/ 403238 h 1333436"/>
                <a:gd name="connsiteX75" fmla="*/ 693264 w 752994"/>
                <a:gd name="connsiteY75" fmla="*/ 419567 h 1333436"/>
                <a:gd name="connsiteX76" fmla="*/ 688563 w 752994"/>
                <a:gd name="connsiteY76" fmla="*/ 448321 h 1333436"/>
                <a:gd name="connsiteX77" fmla="*/ 663949 w 752994"/>
                <a:gd name="connsiteY77" fmla="*/ 590165 h 1333436"/>
                <a:gd name="connsiteX78" fmla="*/ 666304 w 752994"/>
                <a:gd name="connsiteY78" fmla="*/ 590504 h 1333436"/>
                <a:gd name="connsiteX79" fmla="*/ 655288 w 752994"/>
                <a:gd name="connsiteY79" fmla="*/ 656178 h 1333436"/>
                <a:gd name="connsiteX80" fmla="*/ 681808 w 752994"/>
                <a:gd name="connsiteY80" fmla="*/ 662301 h 1333436"/>
                <a:gd name="connsiteX81" fmla="*/ 752994 w 752994"/>
                <a:gd name="connsiteY81" fmla="*/ 675560 h 1333436"/>
                <a:gd name="connsiteX82" fmla="*/ 714651 w 752994"/>
                <a:gd name="connsiteY82" fmla="*/ 946985 h 1333436"/>
                <a:gd name="connsiteX83" fmla="*/ 654533 w 752994"/>
                <a:gd name="connsiteY83" fmla="*/ 1333436 h 1333436"/>
                <a:gd name="connsiteX84" fmla="*/ 546831 w 752994"/>
                <a:gd name="connsiteY84" fmla="*/ 1317126 h 1333436"/>
                <a:gd name="connsiteX85" fmla="*/ 351227 w 752994"/>
                <a:gd name="connsiteY85" fmla="*/ 1194172 h 1333436"/>
                <a:gd name="connsiteX86" fmla="*/ 361011 w 752994"/>
                <a:gd name="connsiteY86" fmla="*/ 1182755 h 1333436"/>
                <a:gd name="connsiteX87" fmla="*/ 368981 w 752994"/>
                <a:gd name="connsiteY87" fmla="*/ 1182130 h 1333436"/>
                <a:gd name="connsiteX88" fmla="*/ 369571 w 752994"/>
                <a:gd name="connsiteY88" fmla="*/ 1181558 h 1333436"/>
                <a:gd name="connsiteX89" fmla="*/ 362372 w 752994"/>
                <a:gd name="connsiteY89" fmla="*/ 1182120 h 1333436"/>
                <a:gd name="connsiteX90" fmla="*/ 229464 w 752994"/>
                <a:gd name="connsiteY90" fmla="*/ 1161721 h 1333436"/>
                <a:gd name="connsiteX91" fmla="*/ 227427 w 752994"/>
                <a:gd name="connsiteY91" fmla="*/ 1157269 h 1333436"/>
                <a:gd name="connsiteX92" fmla="*/ 224967 w 752994"/>
                <a:gd name="connsiteY92" fmla="*/ 1152575 h 1333436"/>
                <a:gd name="connsiteX93" fmla="*/ 225582 w 752994"/>
                <a:gd name="connsiteY93" fmla="*/ 1144808 h 1333436"/>
                <a:gd name="connsiteX94" fmla="*/ 227215 w 752994"/>
                <a:gd name="connsiteY94" fmla="*/ 1135834 h 1333436"/>
                <a:gd name="connsiteX95" fmla="*/ 227215 w 752994"/>
                <a:gd name="connsiteY95" fmla="*/ 1134212 h 1333436"/>
                <a:gd name="connsiteX96" fmla="*/ 225179 w 752994"/>
                <a:gd name="connsiteY96" fmla="*/ 1114020 h 1333436"/>
                <a:gd name="connsiteX97" fmla="*/ 217839 w 752994"/>
                <a:gd name="connsiteY97" fmla="*/ 1100352 h 1333436"/>
                <a:gd name="connsiteX98" fmla="*/ 199661 w 752994"/>
                <a:gd name="connsiteY98" fmla="*/ 1076502 h 1333436"/>
                <a:gd name="connsiteX99" fmla="*/ 196395 w 752994"/>
                <a:gd name="connsiteY99" fmla="*/ 1071807 h 1333436"/>
                <a:gd name="connsiteX100" fmla="*/ 190880 w 752994"/>
                <a:gd name="connsiteY100" fmla="*/ 1067527 h 1333436"/>
                <a:gd name="connsiteX101" fmla="*/ 187210 w 752994"/>
                <a:gd name="connsiteY101" fmla="*/ 1068735 h 1333436"/>
                <a:gd name="connsiteX102" fmla="*/ 180062 w 752994"/>
                <a:gd name="connsiteY102" fmla="*/ 1066699 h 1333436"/>
                <a:gd name="connsiteX103" fmla="*/ 180466 w 752994"/>
                <a:gd name="connsiteY103" fmla="*/ 1053031 h 1333436"/>
                <a:gd name="connsiteX104" fmla="*/ 180062 w 752994"/>
                <a:gd name="connsiteY104" fmla="*/ 1045299 h 1333436"/>
                <a:gd name="connsiteX105" fmla="*/ 174144 w 752994"/>
                <a:gd name="connsiteY105" fmla="*/ 1044057 h 1333436"/>
                <a:gd name="connsiteX106" fmla="*/ 158426 w 752994"/>
                <a:gd name="connsiteY106" fmla="*/ 1042641 h 1333436"/>
                <a:gd name="connsiteX107" fmla="*/ 149857 w 752994"/>
                <a:gd name="connsiteY107" fmla="*/ 1035497 h 1333436"/>
                <a:gd name="connsiteX108" fmla="*/ 142497 w 752994"/>
                <a:gd name="connsiteY108" fmla="*/ 1028766 h 1333436"/>
                <a:gd name="connsiteX109" fmla="*/ 140864 w 752994"/>
                <a:gd name="connsiteY109" fmla="*/ 1020620 h 1333436"/>
                <a:gd name="connsiteX110" fmla="*/ 138212 w 752994"/>
                <a:gd name="connsiteY110" fmla="*/ 1013061 h 1333436"/>
                <a:gd name="connsiteX111" fmla="*/ 131064 w 752994"/>
                <a:gd name="connsiteY111" fmla="*/ 1007159 h 1333436"/>
                <a:gd name="connsiteX112" fmla="*/ 121264 w 752994"/>
                <a:gd name="connsiteY112" fmla="*/ 1005330 h 1333436"/>
                <a:gd name="connsiteX113" fmla="*/ 112483 w 752994"/>
                <a:gd name="connsiteY113" fmla="*/ 1001671 h 1333436"/>
                <a:gd name="connsiteX114" fmla="*/ 105950 w 752994"/>
                <a:gd name="connsiteY114" fmla="*/ 995734 h 1333436"/>
                <a:gd name="connsiteX115" fmla="*/ 97380 w 752994"/>
                <a:gd name="connsiteY115" fmla="*/ 994526 h 1333436"/>
                <a:gd name="connsiteX116" fmla="*/ 87984 w 752994"/>
                <a:gd name="connsiteY116" fmla="*/ 991040 h 1333436"/>
                <a:gd name="connsiteX117" fmla="*/ 80029 w 752994"/>
                <a:gd name="connsiteY117" fmla="*/ 985138 h 1333436"/>
                <a:gd name="connsiteX118" fmla="*/ 77166 w 752994"/>
                <a:gd name="connsiteY118" fmla="*/ 976164 h 1333436"/>
                <a:gd name="connsiteX119" fmla="*/ 79203 w 752994"/>
                <a:gd name="connsiteY119" fmla="*/ 970676 h 1333436"/>
                <a:gd name="connsiteX120" fmla="*/ 82470 w 752994"/>
                <a:gd name="connsiteY120" fmla="*/ 963117 h 1333436"/>
                <a:gd name="connsiteX121" fmla="*/ 84314 w 752994"/>
                <a:gd name="connsiteY121" fmla="*/ 954557 h 1333436"/>
                <a:gd name="connsiteX122" fmla="*/ 86351 w 752994"/>
                <a:gd name="connsiteY122" fmla="*/ 948033 h 1333436"/>
                <a:gd name="connsiteX123" fmla="*/ 86159 w 752994"/>
                <a:gd name="connsiteY123" fmla="*/ 942925 h 1333436"/>
                <a:gd name="connsiteX124" fmla="*/ 83085 w 752994"/>
                <a:gd name="connsiteY124" fmla="*/ 939853 h 1333436"/>
                <a:gd name="connsiteX125" fmla="*/ 77570 w 752994"/>
                <a:gd name="connsiteY125" fmla="*/ 937437 h 1333436"/>
                <a:gd name="connsiteX126" fmla="*/ 76763 w 752994"/>
                <a:gd name="connsiteY126" fmla="*/ 931915 h 1333436"/>
                <a:gd name="connsiteX127" fmla="*/ 78800 w 752994"/>
                <a:gd name="connsiteY127" fmla="*/ 927013 h 1333436"/>
                <a:gd name="connsiteX128" fmla="*/ 79626 w 752994"/>
                <a:gd name="connsiteY128" fmla="*/ 922526 h 1333436"/>
                <a:gd name="connsiteX129" fmla="*/ 77781 w 752994"/>
                <a:gd name="connsiteY129" fmla="*/ 919903 h 1333436"/>
                <a:gd name="connsiteX130" fmla="*/ 74303 w 752994"/>
                <a:gd name="connsiteY130" fmla="*/ 917418 h 1333436"/>
                <a:gd name="connsiteX131" fmla="*/ 71863 w 752994"/>
                <a:gd name="connsiteY131" fmla="*/ 915174 h 1333436"/>
                <a:gd name="connsiteX132" fmla="*/ 71652 w 752994"/>
                <a:gd name="connsiteY132" fmla="*/ 910894 h 1333436"/>
                <a:gd name="connsiteX133" fmla="*/ 70633 w 752994"/>
                <a:gd name="connsiteY133" fmla="*/ 906614 h 1333436"/>
                <a:gd name="connsiteX134" fmla="*/ 68385 w 752994"/>
                <a:gd name="connsiteY134" fmla="*/ 902749 h 1333436"/>
                <a:gd name="connsiteX135" fmla="*/ 61045 w 752994"/>
                <a:gd name="connsiteY135" fmla="*/ 889494 h 1333436"/>
                <a:gd name="connsiteX136" fmla="*/ 57971 w 752994"/>
                <a:gd name="connsiteY136" fmla="*/ 875619 h 1333436"/>
                <a:gd name="connsiteX137" fmla="*/ 52264 w 752994"/>
                <a:gd name="connsiteY137" fmla="*/ 862572 h 1333436"/>
                <a:gd name="connsiteX138" fmla="*/ 44309 w 752994"/>
                <a:gd name="connsiteY138" fmla="*/ 850561 h 1333436"/>
                <a:gd name="connsiteX139" fmla="*/ 45520 w 752994"/>
                <a:gd name="connsiteY139" fmla="*/ 827090 h 1333436"/>
                <a:gd name="connsiteX140" fmla="*/ 53071 w 752994"/>
                <a:gd name="connsiteY140" fmla="*/ 822396 h 1333436"/>
                <a:gd name="connsiteX141" fmla="*/ 57375 w 752994"/>
                <a:gd name="connsiteY141" fmla="*/ 816493 h 1333436"/>
                <a:gd name="connsiteX142" fmla="*/ 55319 w 752994"/>
                <a:gd name="connsiteY142" fmla="*/ 801617 h 1333436"/>
                <a:gd name="connsiteX143" fmla="*/ 48383 w 752994"/>
                <a:gd name="connsiteY143" fmla="*/ 802204 h 1333436"/>
                <a:gd name="connsiteX144" fmla="*/ 40428 w 752994"/>
                <a:gd name="connsiteY144" fmla="*/ 797924 h 1333436"/>
                <a:gd name="connsiteX145" fmla="*/ 37565 w 752994"/>
                <a:gd name="connsiteY145" fmla="*/ 790606 h 1333436"/>
                <a:gd name="connsiteX146" fmla="*/ 37565 w 752994"/>
                <a:gd name="connsiteY146" fmla="*/ 790399 h 1333436"/>
                <a:gd name="connsiteX147" fmla="*/ 35931 w 752994"/>
                <a:gd name="connsiteY147" fmla="*/ 785912 h 1333436"/>
                <a:gd name="connsiteX148" fmla="*/ 34510 w 752994"/>
                <a:gd name="connsiteY148" fmla="*/ 780597 h 1333436"/>
                <a:gd name="connsiteX149" fmla="*/ 36335 w 752994"/>
                <a:gd name="connsiteY149" fmla="*/ 774280 h 1333436"/>
                <a:gd name="connsiteX150" fmla="*/ 38180 w 752994"/>
                <a:gd name="connsiteY150" fmla="*/ 766721 h 1333436"/>
                <a:gd name="connsiteX151" fmla="*/ 37161 w 752994"/>
                <a:gd name="connsiteY151" fmla="*/ 760405 h 1333436"/>
                <a:gd name="connsiteX152" fmla="*/ 35720 w 752994"/>
                <a:gd name="connsiteY152" fmla="*/ 754710 h 1333436"/>
                <a:gd name="connsiteX153" fmla="*/ 36546 w 752994"/>
                <a:gd name="connsiteY153" fmla="*/ 748773 h 1333436"/>
                <a:gd name="connsiteX154" fmla="*/ 38372 w 752994"/>
                <a:gd name="connsiteY154" fmla="*/ 744528 h 1333436"/>
                <a:gd name="connsiteX155" fmla="*/ 41638 w 752994"/>
                <a:gd name="connsiteY155" fmla="*/ 744321 h 1333436"/>
                <a:gd name="connsiteX156" fmla="*/ 44713 w 752994"/>
                <a:gd name="connsiteY156" fmla="*/ 746357 h 1333436"/>
                <a:gd name="connsiteX157" fmla="*/ 47364 w 752994"/>
                <a:gd name="connsiteY157" fmla="*/ 753260 h 1333436"/>
                <a:gd name="connsiteX158" fmla="*/ 55742 w 752994"/>
                <a:gd name="connsiteY158" fmla="*/ 764305 h 1333436"/>
                <a:gd name="connsiteX159" fmla="*/ 56338 w 752994"/>
                <a:gd name="connsiteY159" fmla="*/ 761233 h 1333436"/>
                <a:gd name="connsiteX160" fmla="*/ 56145 w 752994"/>
                <a:gd name="connsiteY160" fmla="*/ 757368 h 1333436"/>
                <a:gd name="connsiteX161" fmla="*/ 54916 w 752994"/>
                <a:gd name="connsiteY161" fmla="*/ 748601 h 1333436"/>
                <a:gd name="connsiteX162" fmla="*/ 52879 w 752994"/>
                <a:gd name="connsiteY162" fmla="*/ 747358 h 1333436"/>
                <a:gd name="connsiteX163" fmla="*/ 51649 w 752994"/>
                <a:gd name="connsiteY163" fmla="*/ 745322 h 1333436"/>
                <a:gd name="connsiteX164" fmla="*/ 51649 w 752994"/>
                <a:gd name="connsiteY164" fmla="*/ 739212 h 1333436"/>
                <a:gd name="connsiteX165" fmla="*/ 50227 w 752994"/>
                <a:gd name="connsiteY165" fmla="*/ 734725 h 1333436"/>
                <a:gd name="connsiteX166" fmla="*/ 48786 w 752994"/>
                <a:gd name="connsiteY166" fmla="*/ 731446 h 1333436"/>
                <a:gd name="connsiteX167" fmla="*/ 54512 w 752994"/>
                <a:gd name="connsiteY167" fmla="*/ 726372 h 1333436"/>
                <a:gd name="connsiteX168" fmla="*/ 59815 w 752994"/>
                <a:gd name="connsiteY168" fmla="*/ 725130 h 1333436"/>
                <a:gd name="connsiteX169" fmla="*/ 58182 w 752994"/>
                <a:gd name="connsiteY169" fmla="*/ 722886 h 1333436"/>
                <a:gd name="connsiteX170" fmla="*/ 51861 w 752994"/>
                <a:gd name="connsiteY170" fmla="*/ 717985 h 1333436"/>
                <a:gd name="connsiteX171" fmla="*/ 46749 w 752994"/>
                <a:gd name="connsiteY171" fmla="*/ 729617 h 1333436"/>
                <a:gd name="connsiteX172" fmla="*/ 40831 w 752994"/>
                <a:gd name="connsiteY172" fmla="*/ 739212 h 1333436"/>
                <a:gd name="connsiteX173" fmla="*/ 39601 w 752994"/>
                <a:gd name="connsiteY173" fmla="*/ 738798 h 1333436"/>
                <a:gd name="connsiteX174" fmla="*/ 39409 w 752994"/>
                <a:gd name="connsiteY174" fmla="*/ 738591 h 1333436"/>
                <a:gd name="connsiteX175" fmla="*/ 37161 w 752994"/>
                <a:gd name="connsiteY175" fmla="*/ 734725 h 1333436"/>
                <a:gd name="connsiteX176" fmla="*/ 32665 w 752994"/>
                <a:gd name="connsiteY176" fmla="*/ 727788 h 1333436"/>
                <a:gd name="connsiteX177" fmla="*/ 26747 w 752994"/>
                <a:gd name="connsiteY177" fmla="*/ 719435 h 1333436"/>
                <a:gd name="connsiteX178" fmla="*/ 23884 w 752994"/>
                <a:gd name="connsiteY178" fmla="*/ 717812 h 1333436"/>
                <a:gd name="connsiteX179" fmla="*/ 24710 w 752994"/>
                <a:gd name="connsiteY179" fmla="*/ 709632 h 1333436"/>
                <a:gd name="connsiteX180" fmla="*/ 27554 w 752994"/>
                <a:gd name="connsiteY180" fmla="*/ 701694 h 1333436"/>
                <a:gd name="connsiteX181" fmla="*/ 24902 w 752994"/>
                <a:gd name="connsiteY181" fmla="*/ 696171 h 1333436"/>
                <a:gd name="connsiteX182" fmla="*/ 24095 w 752994"/>
                <a:gd name="connsiteY182" fmla="*/ 687818 h 1333436"/>
                <a:gd name="connsiteX183" fmla="*/ 22462 w 752994"/>
                <a:gd name="connsiteY183" fmla="*/ 682330 h 1333436"/>
                <a:gd name="connsiteX184" fmla="*/ 17159 w 752994"/>
                <a:gd name="connsiteY184" fmla="*/ 677636 h 1333436"/>
                <a:gd name="connsiteX185" fmla="*/ 14296 w 752994"/>
                <a:gd name="connsiteY185" fmla="*/ 671492 h 1333436"/>
                <a:gd name="connsiteX186" fmla="*/ 12451 w 752994"/>
                <a:gd name="connsiteY186" fmla="*/ 665797 h 1333436"/>
                <a:gd name="connsiteX187" fmla="*/ 5111 w 752994"/>
                <a:gd name="connsiteY187" fmla="*/ 654994 h 1333436"/>
                <a:gd name="connsiteX188" fmla="*/ 2248 w 752994"/>
                <a:gd name="connsiteY188" fmla="*/ 645605 h 1333436"/>
                <a:gd name="connsiteX189" fmla="*/ 4496 w 752994"/>
                <a:gd name="connsiteY189" fmla="*/ 640497 h 1333436"/>
                <a:gd name="connsiteX190" fmla="*/ 6744 w 752994"/>
                <a:gd name="connsiteY190" fmla="*/ 632765 h 1333436"/>
                <a:gd name="connsiteX191" fmla="*/ 6744 w 752994"/>
                <a:gd name="connsiteY191" fmla="*/ 628485 h 1333436"/>
                <a:gd name="connsiteX192" fmla="*/ 6533 w 752994"/>
                <a:gd name="connsiteY192" fmla="*/ 620305 h 1333436"/>
                <a:gd name="connsiteX193" fmla="*/ 7359 w 752994"/>
                <a:gd name="connsiteY193" fmla="*/ 611745 h 1333436"/>
                <a:gd name="connsiteX194" fmla="*/ 11836 w 752994"/>
                <a:gd name="connsiteY194" fmla="*/ 602978 h 1333436"/>
                <a:gd name="connsiteX195" fmla="*/ 15103 w 752994"/>
                <a:gd name="connsiteY195" fmla="*/ 591760 h 1333436"/>
                <a:gd name="connsiteX196" fmla="*/ 14488 w 752994"/>
                <a:gd name="connsiteY196" fmla="*/ 584029 h 1333436"/>
                <a:gd name="connsiteX197" fmla="*/ 13873 w 752994"/>
                <a:gd name="connsiteY197" fmla="*/ 578299 h 1333436"/>
                <a:gd name="connsiteX198" fmla="*/ 10626 w 752994"/>
                <a:gd name="connsiteY198" fmla="*/ 568531 h 1333436"/>
                <a:gd name="connsiteX199" fmla="*/ 3670 w 752994"/>
                <a:gd name="connsiteY199" fmla="*/ 558107 h 1333436"/>
                <a:gd name="connsiteX200" fmla="*/ 0 w 752994"/>
                <a:gd name="connsiteY200" fmla="*/ 551377 h 1333436"/>
                <a:gd name="connsiteX201" fmla="*/ 0 w 752994"/>
                <a:gd name="connsiteY201" fmla="*/ 550997 h 1333436"/>
                <a:gd name="connsiteX202" fmla="*/ 4900 w 752994"/>
                <a:gd name="connsiteY202" fmla="*/ 531220 h 1333436"/>
                <a:gd name="connsiteX203" fmla="*/ 13873 w 752994"/>
                <a:gd name="connsiteY203" fmla="*/ 520589 h 1333436"/>
                <a:gd name="connsiteX204" fmla="*/ 18369 w 752994"/>
                <a:gd name="connsiteY204" fmla="*/ 516516 h 1333436"/>
                <a:gd name="connsiteX205" fmla="*/ 18773 w 752994"/>
                <a:gd name="connsiteY205" fmla="*/ 514272 h 1333436"/>
                <a:gd name="connsiteX206" fmla="*/ 23077 w 752994"/>
                <a:gd name="connsiteY206" fmla="*/ 506127 h 1333436"/>
                <a:gd name="connsiteX207" fmla="*/ 23884 w 752994"/>
                <a:gd name="connsiteY207" fmla="*/ 502261 h 1333436"/>
                <a:gd name="connsiteX208" fmla="*/ 23692 w 752994"/>
                <a:gd name="connsiteY208" fmla="*/ 496738 h 1333436"/>
                <a:gd name="connsiteX209" fmla="*/ 30013 w 752994"/>
                <a:gd name="connsiteY209" fmla="*/ 486556 h 1333436"/>
                <a:gd name="connsiteX210" fmla="*/ 36546 w 752994"/>
                <a:gd name="connsiteY210" fmla="*/ 470230 h 1333436"/>
                <a:gd name="connsiteX211" fmla="*/ 36546 w 752994"/>
                <a:gd name="connsiteY211" fmla="*/ 462671 h 1333436"/>
                <a:gd name="connsiteX212" fmla="*/ 36335 w 752994"/>
                <a:gd name="connsiteY212" fmla="*/ 461670 h 1333436"/>
                <a:gd name="connsiteX213" fmla="*/ 35931 w 752994"/>
                <a:gd name="connsiteY213" fmla="*/ 453110 h 1333436"/>
                <a:gd name="connsiteX214" fmla="*/ 38583 w 752994"/>
                <a:gd name="connsiteY214" fmla="*/ 442514 h 1333436"/>
                <a:gd name="connsiteX215" fmla="*/ 41043 w 752994"/>
                <a:gd name="connsiteY215" fmla="*/ 436991 h 1333436"/>
                <a:gd name="connsiteX216" fmla="*/ 41650 w 752994"/>
                <a:gd name="connsiteY216" fmla="*/ 437186 h 1333436"/>
                <a:gd name="connsiteX217" fmla="*/ 41239 w 752994"/>
                <a:gd name="connsiteY217" fmla="*/ 436549 h 1333436"/>
                <a:gd name="connsiteX218" fmla="*/ 37778 w 752994"/>
                <a:gd name="connsiteY218" fmla="*/ 433894 h 1333436"/>
                <a:gd name="connsiteX219" fmla="*/ 37169 w 752994"/>
                <a:gd name="connsiteY219" fmla="*/ 432261 h 1333436"/>
                <a:gd name="connsiteX220" fmla="*/ 37365 w 752994"/>
                <a:gd name="connsiteY220" fmla="*/ 429198 h 1333436"/>
                <a:gd name="connsiteX221" fmla="*/ 36756 w 752994"/>
                <a:gd name="connsiteY221" fmla="*/ 422272 h 1333436"/>
                <a:gd name="connsiteX222" fmla="*/ 36952 w 752994"/>
                <a:gd name="connsiteY222" fmla="*/ 418800 h 1333436"/>
                <a:gd name="connsiteX223" fmla="*/ 36756 w 752994"/>
                <a:gd name="connsiteY223" fmla="*/ 412487 h 1333436"/>
                <a:gd name="connsiteX224" fmla="*/ 40433 w 752994"/>
                <a:gd name="connsiteY224" fmla="*/ 406174 h 1333436"/>
                <a:gd name="connsiteX225" fmla="*/ 44720 w 752994"/>
                <a:gd name="connsiteY225" fmla="*/ 399435 h 1333436"/>
                <a:gd name="connsiteX226" fmla="*/ 44110 w 752994"/>
                <a:gd name="connsiteY226" fmla="*/ 389651 h 1333436"/>
                <a:gd name="connsiteX227" fmla="*/ 43894 w 752994"/>
                <a:gd name="connsiteY227" fmla="*/ 378437 h 1333436"/>
                <a:gd name="connsiteX228" fmla="*/ 47158 w 752994"/>
                <a:gd name="connsiteY228" fmla="*/ 371102 h 1333436"/>
                <a:gd name="connsiteX229" fmla="*/ 55731 w 752994"/>
                <a:gd name="connsiteY229" fmla="*/ 360909 h 1333436"/>
                <a:gd name="connsiteX230" fmla="*/ 57580 w 752994"/>
                <a:gd name="connsiteY230" fmla="*/ 355804 h 1333436"/>
                <a:gd name="connsiteX231" fmla="*/ 62673 w 752994"/>
                <a:gd name="connsiteY231" fmla="*/ 349695 h 1333436"/>
                <a:gd name="connsiteX232" fmla="*/ 65937 w 752994"/>
                <a:gd name="connsiteY232" fmla="*/ 348470 h 1333436"/>
                <a:gd name="connsiteX233" fmla="*/ 68395 w 752994"/>
                <a:gd name="connsiteY233" fmla="*/ 348674 h 1333436"/>
                <a:gd name="connsiteX234" fmla="*/ 70224 w 752994"/>
                <a:gd name="connsiteY234" fmla="*/ 347449 h 1333436"/>
                <a:gd name="connsiteX235" fmla="*/ 67785 w 752994"/>
                <a:gd name="connsiteY235" fmla="*/ 345203 h 1333436"/>
                <a:gd name="connsiteX236" fmla="*/ 65524 w 752994"/>
                <a:gd name="connsiteY236" fmla="*/ 343178 h 1333436"/>
                <a:gd name="connsiteX237" fmla="*/ 73095 w 752994"/>
                <a:gd name="connsiteY237" fmla="*/ 333376 h 1333436"/>
                <a:gd name="connsiteX238" fmla="*/ 73291 w 752994"/>
                <a:gd name="connsiteY238" fmla="*/ 333376 h 1333436"/>
                <a:gd name="connsiteX239" fmla="*/ 77991 w 752994"/>
                <a:gd name="connsiteY239" fmla="*/ 325838 h 1333436"/>
                <a:gd name="connsiteX240" fmla="*/ 82671 w 752994"/>
                <a:gd name="connsiteY240" fmla="*/ 313619 h 1333436"/>
                <a:gd name="connsiteX241" fmla="*/ 87980 w 752994"/>
                <a:gd name="connsiteY241" fmla="*/ 303018 h 1333436"/>
                <a:gd name="connsiteX242" fmla="*/ 92267 w 752994"/>
                <a:gd name="connsiteY242" fmla="*/ 291191 h 1333436"/>
                <a:gd name="connsiteX243" fmla="*/ 96553 w 752994"/>
                <a:gd name="connsiteY243" fmla="*/ 281202 h 1333436"/>
                <a:gd name="connsiteX244" fmla="*/ 99621 w 752994"/>
                <a:gd name="connsiteY244" fmla="*/ 274481 h 1333436"/>
                <a:gd name="connsiteX245" fmla="*/ 103082 w 752994"/>
                <a:gd name="connsiteY245" fmla="*/ 262450 h 1333436"/>
                <a:gd name="connsiteX246" fmla="*/ 107172 w 752994"/>
                <a:gd name="connsiteY246" fmla="*/ 254299 h 1333436"/>
                <a:gd name="connsiteX247" fmla="*/ 112481 w 752994"/>
                <a:gd name="connsiteY247" fmla="*/ 243697 h 1333436"/>
                <a:gd name="connsiteX248" fmla="*/ 117181 w 752994"/>
                <a:gd name="connsiteY248" fmla="*/ 232279 h 1333436"/>
                <a:gd name="connsiteX249" fmla="*/ 125951 w 752994"/>
                <a:gd name="connsiteY249" fmla="*/ 217389 h 1333436"/>
                <a:gd name="connsiteX250" fmla="*/ 136156 w 752994"/>
                <a:gd name="connsiteY250" fmla="*/ 202925 h 1333436"/>
                <a:gd name="connsiteX251" fmla="*/ 138811 w 752994"/>
                <a:gd name="connsiteY251" fmla="*/ 183339 h 1333436"/>
                <a:gd name="connsiteX252" fmla="*/ 148801 w 752994"/>
                <a:gd name="connsiteY252" fmla="*/ 167445 h 1333436"/>
                <a:gd name="connsiteX253" fmla="*/ 159616 w 752994"/>
                <a:gd name="connsiteY253" fmla="*/ 170712 h 1333436"/>
                <a:gd name="connsiteX254" fmla="*/ 173105 w 752994"/>
                <a:gd name="connsiteY254" fmla="*/ 175188 h 1333436"/>
                <a:gd name="connsiteX255" fmla="*/ 175347 w 752994"/>
                <a:gd name="connsiteY255" fmla="*/ 175188 h 1333436"/>
                <a:gd name="connsiteX256" fmla="*/ 175347 w 752994"/>
                <a:gd name="connsiteY256" fmla="*/ 173758 h 1333436"/>
                <a:gd name="connsiteX257" fmla="*/ 184975 w 752994"/>
                <a:gd name="connsiteY257" fmla="*/ 187393 h 1333436"/>
                <a:gd name="connsiteX258" fmla="*/ 184762 w 752994"/>
                <a:gd name="connsiteY258" fmla="*/ 184637 h 1333436"/>
                <a:gd name="connsiteX259" fmla="*/ 174971 w 752994"/>
                <a:gd name="connsiteY259" fmla="*/ 170774 h 1333436"/>
                <a:gd name="connsiteX260" fmla="*/ 174971 w 752994"/>
                <a:gd name="connsiteY260" fmla="*/ 169550 h 1333436"/>
                <a:gd name="connsiteX261" fmla="*/ 158851 w 752994"/>
                <a:gd name="connsiteY261" fmla="*/ 156924 h 1333436"/>
                <a:gd name="connsiteX262" fmla="*/ 147025 w 752994"/>
                <a:gd name="connsiteY262" fmla="*/ 145709 h 1333436"/>
                <a:gd name="connsiteX263" fmla="*/ 154364 w 752994"/>
                <a:gd name="connsiteY263" fmla="*/ 136335 h 1333436"/>
                <a:gd name="connsiteX264" fmla="*/ 161511 w 752994"/>
                <a:gd name="connsiteY264" fmla="*/ 131042 h 1333436"/>
                <a:gd name="connsiteX265" fmla="*/ 160902 w 752994"/>
                <a:gd name="connsiteY265" fmla="*/ 128384 h 1333436"/>
                <a:gd name="connsiteX266" fmla="*/ 160277 w 752994"/>
                <a:gd name="connsiteY266" fmla="*/ 127778 h 1333436"/>
                <a:gd name="connsiteX267" fmla="*/ 154973 w 752994"/>
                <a:gd name="connsiteY267" fmla="*/ 122077 h 1333436"/>
                <a:gd name="connsiteX268" fmla="*/ 160277 w 752994"/>
                <a:gd name="connsiteY268" fmla="*/ 115140 h 1333436"/>
                <a:gd name="connsiteX269" fmla="*/ 165181 w 752994"/>
                <a:gd name="connsiteY269" fmla="*/ 108215 h 1333436"/>
                <a:gd name="connsiteX270" fmla="*/ 161303 w 752994"/>
                <a:gd name="connsiteY270" fmla="*/ 104146 h 1333436"/>
                <a:gd name="connsiteX271" fmla="*/ 157842 w 752994"/>
                <a:gd name="connsiteY271" fmla="*/ 104542 h 1333436"/>
                <a:gd name="connsiteX272" fmla="*/ 157024 w 752994"/>
                <a:gd name="connsiteY272" fmla="*/ 102304 h 1333436"/>
                <a:gd name="connsiteX273" fmla="*/ 160694 w 752994"/>
                <a:gd name="connsiteY273" fmla="*/ 55437 h 1333436"/>
                <a:gd name="connsiteX274" fmla="*/ 160486 w 752994"/>
                <a:gd name="connsiteY274" fmla="*/ 31991 h 1333436"/>
                <a:gd name="connsiteX275" fmla="*/ 164972 w 752994"/>
                <a:gd name="connsiteY275" fmla="*/ 18141 h 1333436"/>
                <a:gd name="connsiteX276" fmla="*/ 171911 w 752994"/>
                <a:gd name="connsiteY276" fmla="*/ 11204 h 1333436"/>
                <a:gd name="connsiteX277" fmla="*/ 187406 w 752994"/>
                <a:gd name="connsiteY277" fmla="*/ 21801 h 1333436"/>
                <a:gd name="connsiteX278" fmla="*/ 210866 w 752994"/>
                <a:gd name="connsiteY278" fmla="*/ 37086 h 1333436"/>
                <a:gd name="connsiteX279" fmla="*/ 219230 w 752994"/>
                <a:gd name="connsiteY279" fmla="*/ 41166 h 1333436"/>
                <a:gd name="connsiteX280" fmla="*/ 226778 w 752994"/>
                <a:gd name="connsiteY280" fmla="*/ 47486 h 1333436"/>
                <a:gd name="connsiteX281" fmla="*/ 236152 w 752994"/>
                <a:gd name="connsiteY281" fmla="*/ 52370 h 1333436"/>
                <a:gd name="connsiteX282" fmla="*/ 239629 w 752994"/>
                <a:gd name="connsiteY282" fmla="*/ 58491 h 1333436"/>
                <a:gd name="connsiteX283" fmla="*/ 239629 w 752994"/>
                <a:gd name="connsiteY283" fmla="*/ 63376 h 1333436"/>
                <a:gd name="connsiteX284" fmla="*/ 236568 w 752994"/>
                <a:gd name="connsiteY284" fmla="*/ 67457 h 1333436"/>
                <a:gd name="connsiteX285" fmla="*/ 231264 w 752994"/>
                <a:gd name="connsiteY285" fmla="*/ 69905 h 1333436"/>
                <a:gd name="connsiteX286" fmla="*/ 216778 w 752994"/>
                <a:gd name="connsiteY286" fmla="*/ 82741 h 1333436"/>
                <a:gd name="connsiteX287" fmla="*/ 214134 w 752994"/>
                <a:gd name="connsiteY287" fmla="*/ 93536 h 1333436"/>
                <a:gd name="connsiteX288" fmla="*/ 214535 w 752994"/>
                <a:gd name="connsiteY288" fmla="*/ 96801 h 1333436"/>
                <a:gd name="connsiteX289" fmla="*/ 216378 w 752994"/>
                <a:gd name="connsiteY289" fmla="*/ 96801 h 1333436"/>
                <a:gd name="connsiteX290" fmla="*/ 230046 w 752994"/>
                <a:gd name="connsiteY290" fmla="*/ 85387 h 1333436"/>
                <a:gd name="connsiteX291" fmla="*/ 243298 w 752994"/>
                <a:gd name="connsiteY291" fmla="*/ 75198 h 1333436"/>
                <a:gd name="connsiteX292" fmla="*/ 246760 w 752994"/>
                <a:gd name="connsiteY292" fmla="*/ 77646 h 1333436"/>
                <a:gd name="connsiteX293" fmla="*/ 255541 w 752994"/>
                <a:gd name="connsiteY293" fmla="*/ 63376 h 1333436"/>
                <a:gd name="connsiteX294" fmla="*/ 259611 w 752994"/>
                <a:gd name="connsiteY294" fmla="*/ 43405 h 1333436"/>
                <a:gd name="connsiteX295" fmla="*/ 256967 w 752994"/>
                <a:gd name="connsiteY295" fmla="*/ 38520 h 1333436"/>
                <a:gd name="connsiteX296" fmla="*/ 253906 w 752994"/>
                <a:gd name="connsiteY296" fmla="*/ 34242 h 1333436"/>
                <a:gd name="connsiteX297" fmla="*/ 256967 w 752994"/>
                <a:gd name="connsiteY297" fmla="*/ 30161 h 1333436"/>
                <a:gd name="connsiteX298" fmla="*/ 262063 w 752994"/>
                <a:gd name="connsiteY298" fmla="*/ 27712 h 1333436"/>
                <a:gd name="connsiteX299" fmla="*/ 264915 w 752994"/>
                <a:gd name="connsiteY299" fmla="*/ 23026 h 1333436"/>
                <a:gd name="connsiteX300" fmla="*/ 267976 w 752994"/>
                <a:gd name="connsiteY300" fmla="*/ 22618 h 1333436"/>
                <a:gd name="connsiteX301" fmla="*/ 270427 w 752994"/>
                <a:gd name="connsiteY301" fmla="*/ 20787 h 1333436"/>
                <a:gd name="connsiteX302" fmla="*/ 263088 w 752994"/>
                <a:gd name="connsiteY302" fmla="*/ 13652 h 1333436"/>
                <a:gd name="connsiteX303" fmla="*/ 255541 w 752994"/>
                <a:gd name="connsiteY303" fmla="*/ 3055 h 1333436"/>
                <a:gd name="connsiteX304" fmla="*/ 256358 w 752994"/>
                <a:gd name="connsiteY304" fmla="*/ 1224 h 1333436"/>
                <a:gd name="connsiteX305" fmla="*/ 257159 w 752994"/>
                <a:gd name="connsiteY305"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235558 w 752994"/>
                <a:gd name="connsiteY8" fmla="*/ 232483 h 1333436"/>
                <a:gd name="connsiteX9" fmla="*/ 195162 w 752994"/>
                <a:gd name="connsiteY9" fmla="*/ 228857 h 1333436"/>
                <a:gd name="connsiteX10" fmla="*/ 188223 w 752994"/>
                <a:gd name="connsiteY10" fmla="*/ 223973 h 1333436"/>
                <a:gd name="connsiteX11" fmla="*/ 185163 w 752994"/>
                <a:gd name="connsiteY11" fmla="*/ 219484 h 1333436"/>
                <a:gd name="connsiteX12" fmla="*/ 184180 w 752994"/>
                <a:gd name="connsiteY12" fmla="*/ 213866 h 1333436"/>
                <a:gd name="connsiteX13" fmla="*/ 257159 w 752994"/>
                <a:gd name="connsiteY13" fmla="*/ 0 h 1333436"/>
                <a:gd name="connsiteX14" fmla="*/ 493147 w 752994"/>
                <a:gd name="connsiteY14" fmla="*/ 73157 h 1333436"/>
                <a:gd name="connsiteX15" fmla="*/ 492970 w 752994"/>
                <a:gd name="connsiteY15" fmla="*/ 73792 h 1333436"/>
                <a:gd name="connsiteX16" fmla="*/ 525816 w 752994"/>
                <a:gd name="connsiteY16" fmla="*/ 82491 h 1333436"/>
                <a:gd name="connsiteX17" fmla="*/ 520098 w 752994"/>
                <a:gd name="connsiteY17" fmla="*/ 111245 h 1333436"/>
                <a:gd name="connsiteX18" fmla="*/ 512552 w 752994"/>
                <a:gd name="connsiteY18" fmla="*/ 143854 h 1333436"/>
                <a:gd name="connsiteX19" fmla="*/ 517849 w 752994"/>
                <a:gd name="connsiteY19" fmla="*/ 157740 h 1333436"/>
                <a:gd name="connsiteX20" fmla="*/ 523160 w 752994"/>
                <a:gd name="connsiteY20" fmla="*/ 172009 h 1333436"/>
                <a:gd name="connsiteX21" fmla="*/ 521535 w 752994"/>
                <a:gd name="connsiteY21" fmla="*/ 178928 h 1333436"/>
                <a:gd name="connsiteX22" fmla="*/ 520098 w 752994"/>
                <a:gd name="connsiteY22" fmla="*/ 186279 h 1333436"/>
                <a:gd name="connsiteX23" fmla="*/ 526019 w 752994"/>
                <a:gd name="connsiteY23" fmla="*/ 193629 h 1333436"/>
                <a:gd name="connsiteX24" fmla="*/ 537251 w 752994"/>
                <a:gd name="connsiteY24" fmla="*/ 206270 h 1333436"/>
                <a:gd name="connsiteX25" fmla="*/ 542765 w 752994"/>
                <a:gd name="connsiteY25" fmla="*/ 217475 h 1333436"/>
                <a:gd name="connsiteX26" fmla="*/ 546857 w 752994"/>
                <a:gd name="connsiteY26" fmla="*/ 230930 h 1333436"/>
                <a:gd name="connsiteX27" fmla="*/ 549499 w 752994"/>
                <a:gd name="connsiteY27" fmla="*/ 235622 h 1333436"/>
                <a:gd name="connsiteX28" fmla="*/ 553388 w 752994"/>
                <a:gd name="connsiteY28" fmla="*/ 240722 h 1333436"/>
                <a:gd name="connsiteX29" fmla="*/ 557465 w 752994"/>
                <a:gd name="connsiteY29" fmla="*/ 246037 h 1333436"/>
                <a:gd name="connsiteX30" fmla="*/ 561761 w 752994"/>
                <a:gd name="connsiteY30" fmla="*/ 248671 h 1333436"/>
                <a:gd name="connsiteX31" fmla="*/ 567478 w 752994"/>
                <a:gd name="connsiteY31" fmla="*/ 247665 h 1333436"/>
                <a:gd name="connsiteX32" fmla="*/ 569931 w 752994"/>
                <a:gd name="connsiteY32" fmla="*/ 249293 h 1333436"/>
                <a:gd name="connsiteX33" fmla="*/ 570540 w 752994"/>
                <a:gd name="connsiteY33" fmla="*/ 251951 h 1333436"/>
                <a:gd name="connsiteX34" fmla="*/ 561964 w 752994"/>
                <a:gd name="connsiteY34" fmla="*/ 267656 h 1333436"/>
                <a:gd name="connsiteX35" fmla="*/ 553591 w 752994"/>
                <a:gd name="connsiteY35" fmla="*/ 289659 h 1333436"/>
                <a:gd name="connsiteX36" fmla="*/ 554810 w 752994"/>
                <a:gd name="connsiteY36" fmla="*/ 292939 h 1333436"/>
                <a:gd name="connsiteX37" fmla="*/ 556246 w 752994"/>
                <a:gd name="connsiteY37" fmla="*/ 299260 h 1333436"/>
                <a:gd name="connsiteX38" fmla="*/ 552778 w 752994"/>
                <a:gd name="connsiteY38" fmla="*/ 301917 h 1333436"/>
                <a:gd name="connsiteX39" fmla="*/ 549295 w 752994"/>
                <a:gd name="connsiteY39" fmla="*/ 306993 h 1333436"/>
                <a:gd name="connsiteX40" fmla="*/ 547061 w 752994"/>
                <a:gd name="connsiteY40" fmla="*/ 313122 h 1333436"/>
                <a:gd name="connsiteX41" fmla="*/ 544811 w 752994"/>
                <a:gd name="connsiteY41" fmla="*/ 316593 h 1333436"/>
                <a:gd name="connsiteX42" fmla="*/ 549919 w 752994"/>
                <a:gd name="connsiteY42" fmla="*/ 322698 h 1333436"/>
                <a:gd name="connsiteX43" fmla="*/ 553184 w 752994"/>
                <a:gd name="connsiteY43" fmla="*/ 325955 h 1333436"/>
                <a:gd name="connsiteX44" fmla="*/ 555840 w 752994"/>
                <a:gd name="connsiteY44" fmla="*/ 328205 h 1333436"/>
                <a:gd name="connsiteX45" fmla="*/ 574212 w 752994"/>
                <a:gd name="connsiteY45" fmla="*/ 318820 h 1333436"/>
                <a:gd name="connsiteX46" fmla="*/ 579523 w 752994"/>
                <a:gd name="connsiteY46" fmla="*/ 326577 h 1333436"/>
                <a:gd name="connsiteX47" fmla="*/ 580539 w 752994"/>
                <a:gd name="connsiteY47" fmla="*/ 334933 h 1333436"/>
                <a:gd name="connsiteX48" fmla="*/ 579726 w 752994"/>
                <a:gd name="connsiteY48" fmla="*/ 343097 h 1333436"/>
                <a:gd name="connsiteX49" fmla="*/ 581366 w 752994"/>
                <a:gd name="connsiteY49" fmla="*/ 350231 h 1333436"/>
                <a:gd name="connsiteX50" fmla="*/ 586256 w 752994"/>
                <a:gd name="connsiteY50" fmla="*/ 355930 h 1333436"/>
                <a:gd name="connsiteX51" fmla="*/ 589536 w 752994"/>
                <a:gd name="connsiteY51" fmla="*/ 362059 h 1333436"/>
                <a:gd name="connsiteX52" fmla="*/ 588099 w 752994"/>
                <a:gd name="connsiteY52" fmla="*/ 369600 h 1333436"/>
                <a:gd name="connsiteX53" fmla="*/ 586459 w 752994"/>
                <a:gd name="connsiteY53" fmla="*/ 377357 h 1333436"/>
                <a:gd name="connsiteX54" fmla="*/ 588709 w 752994"/>
                <a:gd name="connsiteY54" fmla="*/ 381835 h 1333436"/>
                <a:gd name="connsiteX55" fmla="*/ 595036 w 752994"/>
                <a:gd name="connsiteY55" fmla="*/ 382457 h 1333436"/>
                <a:gd name="connsiteX56" fmla="*/ 599331 w 752994"/>
                <a:gd name="connsiteY56" fmla="*/ 385306 h 1333436"/>
                <a:gd name="connsiteX57" fmla="*/ 601987 w 752994"/>
                <a:gd name="connsiteY57" fmla="*/ 391004 h 1333436"/>
                <a:gd name="connsiteX58" fmla="*/ 602799 w 752994"/>
                <a:gd name="connsiteY58" fmla="*/ 404076 h 1333436"/>
                <a:gd name="connsiteX59" fmla="*/ 606892 w 752994"/>
                <a:gd name="connsiteY59" fmla="*/ 415688 h 1333436"/>
                <a:gd name="connsiteX60" fmla="*/ 610563 w 752994"/>
                <a:gd name="connsiteY60" fmla="*/ 412217 h 1333436"/>
                <a:gd name="connsiteX61" fmla="*/ 617920 w 752994"/>
                <a:gd name="connsiteY61" fmla="*/ 408769 h 1333436"/>
                <a:gd name="connsiteX62" fmla="*/ 624654 w 752994"/>
                <a:gd name="connsiteY62" fmla="*/ 411211 h 1333436"/>
                <a:gd name="connsiteX63" fmla="*/ 634652 w 752994"/>
                <a:gd name="connsiteY63" fmla="*/ 410182 h 1333436"/>
                <a:gd name="connsiteX64" fmla="*/ 640573 w 752994"/>
                <a:gd name="connsiteY64" fmla="*/ 407739 h 1333436"/>
                <a:gd name="connsiteX65" fmla="*/ 646711 w 752994"/>
                <a:gd name="connsiteY65" fmla="*/ 410589 h 1333436"/>
                <a:gd name="connsiteX66" fmla="*/ 650383 w 752994"/>
                <a:gd name="connsiteY66" fmla="*/ 410589 h 1333436"/>
                <a:gd name="connsiteX67" fmla="*/ 654257 w 752994"/>
                <a:gd name="connsiteY67" fmla="*/ 411618 h 1333436"/>
                <a:gd name="connsiteX68" fmla="*/ 656913 w 752994"/>
                <a:gd name="connsiteY68" fmla="*/ 413653 h 1333436"/>
                <a:gd name="connsiteX69" fmla="*/ 660802 w 752994"/>
                <a:gd name="connsiteY69" fmla="*/ 415090 h 1333436"/>
                <a:gd name="connsiteX70" fmla="*/ 669581 w 752994"/>
                <a:gd name="connsiteY70" fmla="*/ 415904 h 1333436"/>
                <a:gd name="connsiteX71" fmla="*/ 672237 w 752994"/>
                <a:gd name="connsiteY71" fmla="*/ 415688 h 1333436"/>
                <a:gd name="connsiteX72" fmla="*/ 675705 w 752994"/>
                <a:gd name="connsiteY72" fmla="*/ 409367 h 1333436"/>
                <a:gd name="connsiteX73" fmla="*/ 679986 w 752994"/>
                <a:gd name="connsiteY73" fmla="*/ 403238 h 1333436"/>
                <a:gd name="connsiteX74" fmla="*/ 693264 w 752994"/>
                <a:gd name="connsiteY74" fmla="*/ 419567 h 1333436"/>
                <a:gd name="connsiteX75" fmla="*/ 688563 w 752994"/>
                <a:gd name="connsiteY75" fmla="*/ 448321 h 1333436"/>
                <a:gd name="connsiteX76" fmla="*/ 663949 w 752994"/>
                <a:gd name="connsiteY76" fmla="*/ 590165 h 1333436"/>
                <a:gd name="connsiteX77" fmla="*/ 666304 w 752994"/>
                <a:gd name="connsiteY77" fmla="*/ 590504 h 1333436"/>
                <a:gd name="connsiteX78" fmla="*/ 655288 w 752994"/>
                <a:gd name="connsiteY78" fmla="*/ 656178 h 1333436"/>
                <a:gd name="connsiteX79" fmla="*/ 681808 w 752994"/>
                <a:gd name="connsiteY79" fmla="*/ 662301 h 1333436"/>
                <a:gd name="connsiteX80" fmla="*/ 752994 w 752994"/>
                <a:gd name="connsiteY80" fmla="*/ 675560 h 1333436"/>
                <a:gd name="connsiteX81" fmla="*/ 714651 w 752994"/>
                <a:gd name="connsiteY81" fmla="*/ 946985 h 1333436"/>
                <a:gd name="connsiteX82" fmla="*/ 654533 w 752994"/>
                <a:gd name="connsiteY82" fmla="*/ 1333436 h 1333436"/>
                <a:gd name="connsiteX83" fmla="*/ 546831 w 752994"/>
                <a:gd name="connsiteY83" fmla="*/ 1317126 h 1333436"/>
                <a:gd name="connsiteX84" fmla="*/ 351227 w 752994"/>
                <a:gd name="connsiteY84" fmla="*/ 1194172 h 1333436"/>
                <a:gd name="connsiteX85" fmla="*/ 361011 w 752994"/>
                <a:gd name="connsiteY85" fmla="*/ 1182755 h 1333436"/>
                <a:gd name="connsiteX86" fmla="*/ 368981 w 752994"/>
                <a:gd name="connsiteY86" fmla="*/ 1182130 h 1333436"/>
                <a:gd name="connsiteX87" fmla="*/ 369571 w 752994"/>
                <a:gd name="connsiteY87" fmla="*/ 1181558 h 1333436"/>
                <a:gd name="connsiteX88" fmla="*/ 362372 w 752994"/>
                <a:gd name="connsiteY88" fmla="*/ 1182120 h 1333436"/>
                <a:gd name="connsiteX89" fmla="*/ 229464 w 752994"/>
                <a:gd name="connsiteY89" fmla="*/ 1161721 h 1333436"/>
                <a:gd name="connsiteX90" fmla="*/ 227427 w 752994"/>
                <a:gd name="connsiteY90" fmla="*/ 1157269 h 1333436"/>
                <a:gd name="connsiteX91" fmla="*/ 224967 w 752994"/>
                <a:gd name="connsiteY91" fmla="*/ 1152575 h 1333436"/>
                <a:gd name="connsiteX92" fmla="*/ 225582 w 752994"/>
                <a:gd name="connsiteY92" fmla="*/ 1144808 h 1333436"/>
                <a:gd name="connsiteX93" fmla="*/ 227215 w 752994"/>
                <a:gd name="connsiteY93" fmla="*/ 1135834 h 1333436"/>
                <a:gd name="connsiteX94" fmla="*/ 227215 w 752994"/>
                <a:gd name="connsiteY94" fmla="*/ 1134212 h 1333436"/>
                <a:gd name="connsiteX95" fmla="*/ 225179 w 752994"/>
                <a:gd name="connsiteY95" fmla="*/ 1114020 h 1333436"/>
                <a:gd name="connsiteX96" fmla="*/ 217839 w 752994"/>
                <a:gd name="connsiteY96" fmla="*/ 1100352 h 1333436"/>
                <a:gd name="connsiteX97" fmla="*/ 199661 w 752994"/>
                <a:gd name="connsiteY97" fmla="*/ 1076502 h 1333436"/>
                <a:gd name="connsiteX98" fmla="*/ 196395 w 752994"/>
                <a:gd name="connsiteY98" fmla="*/ 1071807 h 1333436"/>
                <a:gd name="connsiteX99" fmla="*/ 190880 w 752994"/>
                <a:gd name="connsiteY99" fmla="*/ 1067527 h 1333436"/>
                <a:gd name="connsiteX100" fmla="*/ 187210 w 752994"/>
                <a:gd name="connsiteY100" fmla="*/ 1068735 h 1333436"/>
                <a:gd name="connsiteX101" fmla="*/ 180062 w 752994"/>
                <a:gd name="connsiteY101" fmla="*/ 1066699 h 1333436"/>
                <a:gd name="connsiteX102" fmla="*/ 180466 w 752994"/>
                <a:gd name="connsiteY102" fmla="*/ 1053031 h 1333436"/>
                <a:gd name="connsiteX103" fmla="*/ 180062 w 752994"/>
                <a:gd name="connsiteY103" fmla="*/ 1045299 h 1333436"/>
                <a:gd name="connsiteX104" fmla="*/ 174144 w 752994"/>
                <a:gd name="connsiteY104" fmla="*/ 1044057 h 1333436"/>
                <a:gd name="connsiteX105" fmla="*/ 158426 w 752994"/>
                <a:gd name="connsiteY105" fmla="*/ 1042641 h 1333436"/>
                <a:gd name="connsiteX106" fmla="*/ 149857 w 752994"/>
                <a:gd name="connsiteY106" fmla="*/ 1035497 h 1333436"/>
                <a:gd name="connsiteX107" fmla="*/ 142497 w 752994"/>
                <a:gd name="connsiteY107" fmla="*/ 1028766 h 1333436"/>
                <a:gd name="connsiteX108" fmla="*/ 140864 w 752994"/>
                <a:gd name="connsiteY108" fmla="*/ 1020620 h 1333436"/>
                <a:gd name="connsiteX109" fmla="*/ 138212 w 752994"/>
                <a:gd name="connsiteY109" fmla="*/ 1013061 h 1333436"/>
                <a:gd name="connsiteX110" fmla="*/ 131064 w 752994"/>
                <a:gd name="connsiteY110" fmla="*/ 1007159 h 1333436"/>
                <a:gd name="connsiteX111" fmla="*/ 121264 w 752994"/>
                <a:gd name="connsiteY111" fmla="*/ 1005330 h 1333436"/>
                <a:gd name="connsiteX112" fmla="*/ 112483 w 752994"/>
                <a:gd name="connsiteY112" fmla="*/ 1001671 h 1333436"/>
                <a:gd name="connsiteX113" fmla="*/ 105950 w 752994"/>
                <a:gd name="connsiteY113" fmla="*/ 995734 h 1333436"/>
                <a:gd name="connsiteX114" fmla="*/ 97380 w 752994"/>
                <a:gd name="connsiteY114" fmla="*/ 994526 h 1333436"/>
                <a:gd name="connsiteX115" fmla="*/ 87984 w 752994"/>
                <a:gd name="connsiteY115" fmla="*/ 991040 h 1333436"/>
                <a:gd name="connsiteX116" fmla="*/ 80029 w 752994"/>
                <a:gd name="connsiteY116" fmla="*/ 985138 h 1333436"/>
                <a:gd name="connsiteX117" fmla="*/ 77166 w 752994"/>
                <a:gd name="connsiteY117" fmla="*/ 976164 h 1333436"/>
                <a:gd name="connsiteX118" fmla="*/ 79203 w 752994"/>
                <a:gd name="connsiteY118" fmla="*/ 970676 h 1333436"/>
                <a:gd name="connsiteX119" fmla="*/ 82470 w 752994"/>
                <a:gd name="connsiteY119" fmla="*/ 963117 h 1333436"/>
                <a:gd name="connsiteX120" fmla="*/ 84314 w 752994"/>
                <a:gd name="connsiteY120" fmla="*/ 954557 h 1333436"/>
                <a:gd name="connsiteX121" fmla="*/ 86351 w 752994"/>
                <a:gd name="connsiteY121" fmla="*/ 948033 h 1333436"/>
                <a:gd name="connsiteX122" fmla="*/ 86159 w 752994"/>
                <a:gd name="connsiteY122" fmla="*/ 942925 h 1333436"/>
                <a:gd name="connsiteX123" fmla="*/ 83085 w 752994"/>
                <a:gd name="connsiteY123" fmla="*/ 939853 h 1333436"/>
                <a:gd name="connsiteX124" fmla="*/ 77570 w 752994"/>
                <a:gd name="connsiteY124" fmla="*/ 937437 h 1333436"/>
                <a:gd name="connsiteX125" fmla="*/ 76763 w 752994"/>
                <a:gd name="connsiteY125" fmla="*/ 931915 h 1333436"/>
                <a:gd name="connsiteX126" fmla="*/ 78800 w 752994"/>
                <a:gd name="connsiteY126" fmla="*/ 927013 h 1333436"/>
                <a:gd name="connsiteX127" fmla="*/ 79626 w 752994"/>
                <a:gd name="connsiteY127" fmla="*/ 922526 h 1333436"/>
                <a:gd name="connsiteX128" fmla="*/ 77781 w 752994"/>
                <a:gd name="connsiteY128" fmla="*/ 919903 h 1333436"/>
                <a:gd name="connsiteX129" fmla="*/ 74303 w 752994"/>
                <a:gd name="connsiteY129" fmla="*/ 917418 h 1333436"/>
                <a:gd name="connsiteX130" fmla="*/ 71863 w 752994"/>
                <a:gd name="connsiteY130" fmla="*/ 915174 h 1333436"/>
                <a:gd name="connsiteX131" fmla="*/ 71652 w 752994"/>
                <a:gd name="connsiteY131" fmla="*/ 910894 h 1333436"/>
                <a:gd name="connsiteX132" fmla="*/ 70633 w 752994"/>
                <a:gd name="connsiteY132" fmla="*/ 906614 h 1333436"/>
                <a:gd name="connsiteX133" fmla="*/ 68385 w 752994"/>
                <a:gd name="connsiteY133" fmla="*/ 902749 h 1333436"/>
                <a:gd name="connsiteX134" fmla="*/ 61045 w 752994"/>
                <a:gd name="connsiteY134" fmla="*/ 889494 h 1333436"/>
                <a:gd name="connsiteX135" fmla="*/ 57971 w 752994"/>
                <a:gd name="connsiteY135" fmla="*/ 875619 h 1333436"/>
                <a:gd name="connsiteX136" fmla="*/ 52264 w 752994"/>
                <a:gd name="connsiteY136" fmla="*/ 862572 h 1333436"/>
                <a:gd name="connsiteX137" fmla="*/ 44309 w 752994"/>
                <a:gd name="connsiteY137" fmla="*/ 850561 h 1333436"/>
                <a:gd name="connsiteX138" fmla="*/ 45520 w 752994"/>
                <a:gd name="connsiteY138" fmla="*/ 827090 h 1333436"/>
                <a:gd name="connsiteX139" fmla="*/ 53071 w 752994"/>
                <a:gd name="connsiteY139" fmla="*/ 822396 h 1333436"/>
                <a:gd name="connsiteX140" fmla="*/ 57375 w 752994"/>
                <a:gd name="connsiteY140" fmla="*/ 816493 h 1333436"/>
                <a:gd name="connsiteX141" fmla="*/ 55319 w 752994"/>
                <a:gd name="connsiteY141" fmla="*/ 801617 h 1333436"/>
                <a:gd name="connsiteX142" fmla="*/ 48383 w 752994"/>
                <a:gd name="connsiteY142" fmla="*/ 802204 h 1333436"/>
                <a:gd name="connsiteX143" fmla="*/ 40428 w 752994"/>
                <a:gd name="connsiteY143" fmla="*/ 797924 h 1333436"/>
                <a:gd name="connsiteX144" fmla="*/ 37565 w 752994"/>
                <a:gd name="connsiteY144" fmla="*/ 790606 h 1333436"/>
                <a:gd name="connsiteX145" fmla="*/ 37565 w 752994"/>
                <a:gd name="connsiteY145" fmla="*/ 790399 h 1333436"/>
                <a:gd name="connsiteX146" fmla="*/ 35931 w 752994"/>
                <a:gd name="connsiteY146" fmla="*/ 785912 h 1333436"/>
                <a:gd name="connsiteX147" fmla="*/ 34510 w 752994"/>
                <a:gd name="connsiteY147" fmla="*/ 780597 h 1333436"/>
                <a:gd name="connsiteX148" fmla="*/ 36335 w 752994"/>
                <a:gd name="connsiteY148" fmla="*/ 774280 h 1333436"/>
                <a:gd name="connsiteX149" fmla="*/ 38180 w 752994"/>
                <a:gd name="connsiteY149" fmla="*/ 766721 h 1333436"/>
                <a:gd name="connsiteX150" fmla="*/ 37161 w 752994"/>
                <a:gd name="connsiteY150" fmla="*/ 760405 h 1333436"/>
                <a:gd name="connsiteX151" fmla="*/ 35720 w 752994"/>
                <a:gd name="connsiteY151" fmla="*/ 754710 h 1333436"/>
                <a:gd name="connsiteX152" fmla="*/ 36546 w 752994"/>
                <a:gd name="connsiteY152" fmla="*/ 748773 h 1333436"/>
                <a:gd name="connsiteX153" fmla="*/ 38372 w 752994"/>
                <a:gd name="connsiteY153" fmla="*/ 744528 h 1333436"/>
                <a:gd name="connsiteX154" fmla="*/ 41638 w 752994"/>
                <a:gd name="connsiteY154" fmla="*/ 744321 h 1333436"/>
                <a:gd name="connsiteX155" fmla="*/ 44713 w 752994"/>
                <a:gd name="connsiteY155" fmla="*/ 746357 h 1333436"/>
                <a:gd name="connsiteX156" fmla="*/ 47364 w 752994"/>
                <a:gd name="connsiteY156" fmla="*/ 753260 h 1333436"/>
                <a:gd name="connsiteX157" fmla="*/ 55742 w 752994"/>
                <a:gd name="connsiteY157" fmla="*/ 764305 h 1333436"/>
                <a:gd name="connsiteX158" fmla="*/ 56338 w 752994"/>
                <a:gd name="connsiteY158" fmla="*/ 761233 h 1333436"/>
                <a:gd name="connsiteX159" fmla="*/ 56145 w 752994"/>
                <a:gd name="connsiteY159" fmla="*/ 757368 h 1333436"/>
                <a:gd name="connsiteX160" fmla="*/ 54916 w 752994"/>
                <a:gd name="connsiteY160" fmla="*/ 748601 h 1333436"/>
                <a:gd name="connsiteX161" fmla="*/ 52879 w 752994"/>
                <a:gd name="connsiteY161" fmla="*/ 747358 h 1333436"/>
                <a:gd name="connsiteX162" fmla="*/ 51649 w 752994"/>
                <a:gd name="connsiteY162" fmla="*/ 745322 h 1333436"/>
                <a:gd name="connsiteX163" fmla="*/ 51649 w 752994"/>
                <a:gd name="connsiteY163" fmla="*/ 739212 h 1333436"/>
                <a:gd name="connsiteX164" fmla="*/ 50227 w 752994"/>
                <a:gd name="connsiteY164" fmla="*/ 734725 h 1333436"/>
                <a:gd name="connsiteX165" fmla="*/ 48786 w 752994"/>
                <a:gd name="connsiteY165" fmla="*/ 731446 h 1333436"/>
                <a:gd name="connsiteX166" fmla="*/ 54512 w 752994"/>
                <a:gd name="connsiteY166" fmla="*/ 726372 h 1333436"/>
                <a:gd name="connsiteX167" fmla="*/ 59815 w 752994"/>
                <a:gd name="connsiteY167" fmla="*/ 725130 h 1333436"/>
                <a:gd name="connsiteX168" fmla="*/ 58182 w 752994"/>
                <a:gd name="connsiteY168" fmla="*/ 722886 h 1333436"/>
                <a:gd name="connsiteX169" fmla="*/ 51861 w 752994"/>
                <a:gd name="connsiteY169" fmla="*/ 717985 h 1333436"/>
                <a:gd name="connsiteX170" fmla="*/ 46749 w 752994"/>
                <a:gd name="connsiteY170" fmla="*/ 729617 h 1333436"/>
                <a:gd name="connsiteX171" fmla="*/ 40831 w 752994"/>
                <a:gd name="connsiteY171" fmla="*/ 739212 h 1333436"/>
                <a:gd name="connsiteX172" fmla="*/ 39601 w 752994"/>
                <a:gd name="connsiteY172" fmla="*/ 738798 h 1333436"/>
                <a:gd name="connsiteX173" fmla="*/ 39409 w 752994"/>
                <a:gd name="connsiteY173" fmla="*/ 738591 h 1333436"/>
                <a:gd name="connsiteX174" fmla="*/ 37161 w 752994"/>
                <a:gd name="connsiteY174" fmla="*/ 734725 h 1333436"/>
                <a:gd name="connsiteX175" fmla="*/ 32665 w 752994"/>
                <a:gd name="connsiteY175" fmla="*/ 727788 h 1333436"/>
                <a:gd name="connsiteX176" fmla="*/ 26747 w 752994"/>
                <a:gd name="connsiteY176" fmla="*/ 719435 h 1333436"/>
                <a:gd name="connsiteX177" fmla="*/ 23884 w 752994"/>
                <a:gd name="connsiteY177" fmla="*/ 717812 h 1333436"/>
                <a:gd name="connsiteX178" fmla="*/ 24710 w 752994"/>
                <a:gd name="connsiteY178" fmla="*/ 709632 h 1333436"/>
                <a:gd name="connsiteX179" fmla="*/ 27554 w 752994"/>
                <a:gd name="connsiteY179" fmla="*/ 701694 h 1333436"/>
                <a:gd name="connsiteX180" fmla="*/ 24902 w 752994"/>
                <a:gd name="connsiteY180" fmla="*/ 696171 h 1333436"/>
                <a:gd name="connsiteX181" fmla="*/ 24095 w 752994"/>
                <a:gd name="connsiteY181" fmla="*/ 687818 h 1333436"/>
                <a:gd name="connsiteX182" fmla="*/ 22462 w 752994"/>
                <a:gd name="connsiteY182" fmla="*/ 682330 h 1333436"/>
                <a:gd name="connsiteX183" fmla="*/ 17159 w 752994"/>
                <a:gd name="connsiteY183" fmla="*/ 677636 h 1333436"/>
                <a:gd name="connsiteX184" fmla="*/ 14296 w 752994"/>
                <a:gd name="connsiteY184" fmla="*/ 671492 h 1333436"/>
                <a:gd name="connsiteX185" fmla="*/ 12451 w 752994"/>
                <a:gd name="connsiteY185" fmla="*/ 665797 h 1333436"/>
                <a:gd name="connsiteX186" fmla="*/ 5111 w 752994"/>
                <a:gd name="connsiteY186" fmla="*/ 654994 h 1333436"/>
                <a:gd name="connsiteX187" fmla="*/ 2248 w 752994"/>
                <a:gd name="connsiteY187" fmla="*/ 645605 h 1333436"/>
                <a:gd name="connsiteX188" fmla="*/ 4496 w 752994"/>
                <a:gd name="connsiteY188" fmla="*/ 640497 h 1333436"/>
                <a:gd name="connsiteX189" fmla="*/ 6744 w 752994"/>
                <a:gd name="connsiteY189" fmla="*/ 632765 h 1333436"/>
                <a:gd name="connsiteX190" fmla="*/ 6744 w 752994"/>
                <a:gd name="connsiteY190" fmla="*/ 628485 h 1333436"/>
                <a:gd name="connsiteX191" fmla="*/ 6533 w 752994"/>
                <a:gd name="connsiteY191" fmla="*/ 620305 h 1333436"/>
                <a:gd name="connsiteX192" fmla="*/ 7359 w 752994"/>
                <a:gd name="connsiteY192" fmla="*/ 611745 h 1333436"/>
                <a:gd name="connsiteX193" fmla="*/ 11836 w 752994"/>
                <a:gd name="connsiteY193" fmla="*/ 602978 h 1333436"/>
                <a:gd name="connsiteX194" fmla="*/ 15103 w 752994"/>
                <a:gd name="connsiteY194" fmla="*/ 591760 h 1333436"/>
                <a:gd name="connsiteX195" fmla="*/ 14488 w 752994"/>
                <a:gd name="connsiteY195" fmla="*/ 584029 h 1333436"/>
                <a:gd name="connsiteX196" fmla="*/ 13873 w 752994"/>
                <a:gd name="connsiteY196" fmla="*/ 578299 h 1333436"/>
                <a:gd name="connsiteX197" fmla="*/ 10626 w 752994"/>
                <a:gd name="connsiteY197" fmla="*/ 568531 h 1333436"/>
                <a:gd name="connsiteX198" fmla="*/ 3670 w 752994"/>
                <a:gd name="connsiteY198" fmla="*/ 558107 h 1333436"/>
                <a:gd name="connsiteX199" fmla="*/ 0 w 752994"/>
                <a:gd name="connsiteY199" fmla="*/ 551377 h 1333436"/>
                <a:gd name="connsiteX200" fmla="*/ 0 w 752994"/>
                <a:gd name="connsiteY200" fmla="*/ 550997 h 1333436"/>
                <a:gd name="connsiteX201" fmla="*/ 4900 w 752994"/>
                <a:gd name="connsiteY201" fmla="*/ 531220 h 1333436"/>
                <a:gd name="connsiteX202" fmla="*/ 13873 w 752994"/>
                <a:gd name="connsiteY202" fmla="*/ 520589 h 1333436"/>
                <a:gd name="connsiteX203" fmla="*/ 18369 w 752994"/>
                <a:gd name="connsiteY203" fmla="*/ 516516 h 1333436"/>
                <a:gd name="connsiteX204" fmla="*/ 18773 w 752994"/>
                <a:gd name="connsiteY204" fmla="*/ 514272 h 1333436"/>
                <a:gd name="connsiteX205" fmla="*/ 23077 w 752994"/>
                <a:gd name="connsiteY205" fmla="*/ 506127 h 1333436"/>
                <a:gd name="connsiteX206" fmla="*/ 23884 w 752994"/>
                <a:gd name="connsiteY206" fmla="*/ 502261 h 1333436"/>
                <a:gd name="connsiteX207" fmla="*/ 23692 w 752994"/>
                <a:gd name="connsiteY207" fmla="*/ 496738 h 1333436"/>
                <a:gd name="connsiteX208" fmla="*/ 30013 w 752994"/>
                <a:gd name="connsiteY208" fmla="*/ 486556 h 1333436"/>
                <a:gd name="connsiteX209" fmla="*/ 36546 w 752994"/>
                <a:gd name="connsiteY209" fmla="*/ 470230 h 1333436"/>
                <a:gd name="connsiteX210" fmla="*/ 36546 w 752994"/>
                <a:gd name="connsiteY210" fmla="*/ 462671 h 1333436"/>
                <a:gd name="connsiteX211" fmla="*/ 36335 w 752994"/>
                <a:gd name="connsiteY211" fmla="*/ 461670 h 1333436"/>
                <a:gd name="connsiteX212" fmla="*/ 35931 w 752994"/>
                <a:gd name="connsiteY212" fmla="*/ 453110 h 1333436"/>
                <a:gd name="connsiteX213" fmla="*/ 38583 w 752994"/>
                <a:gd name="connsiteY213" fmla="*/ 442514 h 1333436"/>
                <a:gd name="connsiteX214" fmla="*/ 41043 w 752994"/>
                <a:gd name="connsiteY214" fmla="*/ 436991 h 1333436"/>
                <a:gd name="connsiteX215" fmla="*/ 41650 w 752994"/>
                <a:gd name="connsiteY215" fmla="*/ 437186 h 1333436"/>
                <a:gd name="connsiteX216" fmla="*/ 41239 w 752994"/>
                <a:gd name="connsiteY216" fmla="*/ 436549 h 1333436"/>
                <a:gd name="connsiteX217" fmla="*/ 37778 w 752994"/>
                <a:gd name="connsiteY217" fmla="*/ 433894 h 1333436"/>
                <a:gd name="connsiteX218" fmla="*/ 37169 w 752994"/>
                <a:gd name="connsiteY218" fmla="*/ 432261 h 1333436"/>
                <a:gd name="connsiteX219" fmla="*/ 37365 w 752994"/>
                <a:gd name="connsiteY219" fmla="*/ 429198 h 1333436"/>
                <a:gd name="connsiteX220" fmla="*/ 36756 w 752994"/>
                <a:gd name="connsiteY220" fmla="*/ 422272 h 1333436"/>
                <a:gd name="connsiteX221" fmla="*/ 36952 w 752994"/>
                <a:gd name="connsiteY221" fmla="*/ 418800 h 1333436"/>
                <a:gd name="connsiteX222" fmla="*/ 36756 w 752994"/>
                <a:gd name="connsiteY222" fmla="*/ 412487 h 1333436"/>
                <a:gd name="connsiteX223" fmla="*/ 40433 w 752994"/>
                <a:gd name="connsiteY223" fmla="*/ 406174 h 1333436"/>
                <a:gd name="connsiteX224" fmla="*/ 44720 w 752994"/>
                <a:gd name="connsiteY224" fmla="*/ 399435 h 1333436"/>
                <a:gd name="connsiteX225" fmla="*/ 44110 w 752994"/>
                <a:gd name="connsiteY225" fmla="*/ 389651 h 1333436"/>
                <a:gd name="connsiteX226" fmla="*/ 43894 w 752994"/>
                <a:gd name="connsiteY226" fmla="*/ 378437 h 1333436"/>
                <a:gd name="connsiteX227" fmla="*/ 47158 w 752994"/>
                <a:gd name="connsiteY227" fmla="*/ 371102 h 1333436"/>
                <a:gd name="connsiteX228" fmla="*/ 55731 w 752994"/>
                <a:gd name="connsiteY228" fmla="*/ 360909 h 1333436"/>
                <a:gd name="connsiteX229" fmla="*/ 57580 w 752994"/>
                <a:gd name="connsiteY229" fmla="*/ 355804 h 1333436"/>
                <a:gd name="connsiteX230" fmla="*/ 62673 w 752994"/>
                <a:gd name="connsiteY230" fmla="*/ 349695 h 1333436"/>
                <a:gd name="connsiteX231" fmla="*/ 65937 w 752994"/>
                <a:gd name="connsiteY231" fmla="*/ 348470 h 1333436"/>
                <a:gd name="connsiteX232" fmla="*/ 68395 w 752994"/>
                <a:gd name="connsiteY232" fmla="*/ 348674 h 1333436"/>
                <a:gd name="connsiteX233" fmla="*/ 70224 w 752994"/>
                <a:gd name="connsiteY233" fmla="*/ 347449 h 1333436"/>
                <a:gd name="connsiteX234" fmla="*/ 67785 w 752994"/>
                <a:gd name="connsiteY234" fmla="*/ 345203 h 1333436"/>
                <a:gd name="connsiteX235" fmla="*/ 65524 w 752994"/>
                <a:gd name="connsiteY235" fmla="*/ 343178 h 1333436"/>
                <a:gd name="connsiteX236" fmla="*/ 73095 w 752994"/>
                <a:gd name="connsiteY236" fmla="*/ 333376 h 1333436"/>
                <a:gd name="connsiteX237" fmla="*/ 73291 w 752994"/>
                <a:gd name="connsiteY237" fmla="*/ 333376 h 1333436"/>
                <a:gd name="connsiteX238" fmla="*/ 77991 w 752994"/>
                <a:gd name="connsiteY238" fmla="*/ 325838 h 1333436"/>
                <a:gd name="connsiteX239" fmla="*/ 82671 w 752994"/>
                <a:gd name="connsiteY239" fmla="*/ 313619 h 1333436"/>
                <a:gd name="connsiteX240" fmla="*/ 87980 w 752994"/>
                <a:gd name="connsiteY240" fmla="*/ 303018 h 1333436"/>
                <a:gd name="connsiteX241" fmla="*/ 92267 w 752994"/>
                <a:gd name="connsiteY241" fmla="*/ 291191 h 1333436"/>
                <a:gd name="connsiteX242" fmla="*/ 96553 w 752994"/>
                <a:gd name="connsiteY242" fmla="*/ 281202 h 1333436"/>
                <a:gd name="connsiteX243" fmla="*/ 99621 w 752994"/>
                <a:gd name="connsiteY243" fmla="*/ 274481 h 1333436"/>
                <a:gd name="connsiteX244" fmla="*/ 103082 w 752994"/>
                <a:gd name="connsiteY244" fmla="*/ 262450 h 1333436"/>
                <a:gd name="connsiteX245" fmla="*/ 107172 w 752994"/>
                <a:gd name="connsiteY245" fmla="*/ 254299 h 1333436"/>
                <a:gd name="connsiteX246" fmla="*/ 112481 w 752994"/>
                <a:gd name="connsiteY246" fmla="*/ 243697 h 1333436"/>
                <a:gd name="connsiteX247" fmla="*/ 117181 w 752994"/>
                <a:gd name="connsiteY247" fmla="*/ 232279 h 1333436"/>
                <a:gd name="connsiteX248" fmla="*/ 125951 w 752994"/>
                <a:gd name="connsiteY248" fmla="*/ 217389 h 1333436"/>
                <a:gd name="connsiteX249" fmla="*/ 136156 w 752994"/>
                <a:gd name="connsiteY249" fmla="*/ 202925 h 1333436"/>
                <a:gd name="connsiteX250" fmla="*/ 138811 w 752994"/>
                <a:gd name="connsiteY250" fmla="*/ 183339 h 1333436"/>
                <a:gd name="connsiteX251" fmla="*/ 148801 w 752994"/>
                <a:gd name="connsiteY251" fmla="*/ 167445 h 1333436"/>
                <a:gd name="connsiteX252" fmla="*/ 159616 w 752994"/>
                <a:gd name="connsiteY252" fmla="*/ 170712 h 1333436"/>
                <a:gd name="connsiteX253" fmla="*/ 173105 w 752994"/>
                <a:gd name="connsiteY253" fmla="*/ 175188 h 1333436"/>
                <a:gd name="connsiteX254" fmla="*/ 175347 w 752994"/>
                <a:gd name="connsiteY254" fmla="*/ 175188 h 1333436"/>
                <a:gd name="connsiteX255" fmla="*/ 175347 w 752994"/>
                <a:gd name="connsiteY255" fmla="*/ 173758 h 1333436"/>
                <a:gd name="connsiteX256" fmla="*/ 184975 w 752994"/>
                <a:gd name="connsiteY256" fmla="*/ 187393 h 1333436"/>
                <a:gd name="connsiteX257" fmla="*/ 184762 w 752994"/>
                <a:gd name="connsiteY257" fmla="*/ 184637 h 1333436"/>
                <a:gd name="connsiteX258" fmla="*/ 174971 w 752994"/>
                <a:gd name="connsiteY258" fmla="*/ 170774 h 1333436"/>
                <a:gd name="connsiteX259" fmla="*/ 174971 w 752994"/>
                <a:gd name="connsiteY259" fmla="*/ 169550 h 1333436"/>
                <a:gd name="connsiteX260" fmla="*/ 158851 w 752994"/>
                <a:gd name="connsiteY260" fmla="*/ 156924 h 1333436"/>
                <a:gd name="connsiteX261" fmla="*/ 147025 w 752994"/>
                <a:gd name="connsiteY261" fmla="*/ 145709 h 1333436"/>
                <a:gd name="connsiteX262" fmla="*/ 154364 w 752994"/>
                <a:gd name="connsiteY262" fmla="*/ 136335 h 1333436"/>
                <a:gd name="connsiteX263" fmla="*/ 161511 w 752994"/>
                <a:gd name="connsiteY263" fmla="*/ 131042 h 1333436"/>
                <a:gd name="connsiteX264" fmla="*/ 160902 w 752994"/>
                <a:gd name="connsiteY264" fmla="*/ 128384 h 1333436"/>
                <a:gd name="connsiteX265" fmla="*/ 160277 w 752994"/>
                <a:gd name="connsiteY265" fmla="*/ 127778 h 1333436"/>
                <a:gd name="connsiteX266" fmla="*/ 154973 w 752994"/>
                <a:gd name="connsiteY266" fmla="*/ 122077 h 1333436"/>
                <a:gd name="connsiteX267" fmla="*/ 160277 w 752994"/>
                <a:gd name="connsiteY267" fmla="*/ 115140 h 1333436"/>
                <a:gd name="connsiteX268" fmla="*/ 165181 w 752994"/>
                <a:gd name="connsiteY268" fmla="*/ 108215 h 1333436"/>
                <a:gd name="connsiteX269" fmla="*/ 161303 w 752994"/>
                <a:gd name="connsiteY269" fmla="*/ 104146 h 1333436"/>
                <a:gd name="connsiteX270" fmla="*/ 157842 w 752994"/>
                <a:gd name="connsiteY270" fmla="*/ 104542 h 1333436"/>
                <a:gd name="connsiteX271" fmla="*/ 157024 w 752994"/>
                <a:gd name="connsiteY271" fmla="*/ 102304 h 1333436"/>
                <a:gd name="connsiteX272" fmla="*/ 160694 w 752994"/>
                <a:gd name="connsiteY272" fmla="*/ 55437 h 1333436"/>
                <a:gd name="connsiteX273" fmla="*/ 160486 w 752994"/>
                <a:gd name="connsiteY273" fmla="*/ 31991 h 1333436"/>
                <a:gd name="connsiteX274" fmla="*/ 164972 w 752994"/>
                <a:gd name="connsiteY274" fmla="*/ 18141 h 1333436"/>
                <a:gd name="connsiteX275" fmla="*/ 171911 w 752994"/>
                <a:gd name="connsiteY275" fmla="*/ 11204 h 1333436"/>
                <a:gd name="connsiteX276" fmla="*/ 187406 w 752994"/>
                <a:gd name="connsiteY276" fmla="*/ 21801 h 1333436"/>
                <a:gd name="connsiteX277" fmla="*/ 210866 w 752994"/>
                <a:gd name="connsiteY277" fmla="*/ 37086 h 1333436"/>
                <a:gd name="connsiteX278" fmla="*/ 219230 w 752994"/>
                <a:gd name="connsiteY278" fmla="*/ 41166 h 1333436"/>
                <a:gd name="connsiteX279" fmla="*/ 226778 w 752994"/>
                <a:gd name="connsiteY279" fmla="*/ 47486 h 1333436"/>
                <a:gd name="connsiteX280" fmla="*/ 236152 w 752994"/>
                <a:gd name="connsiteY280" fmla="*/ 52370 h 1333436"/>
                <a:gd name="connsiteX281" fmla="*/ 239629 w 752994"/>
                <a:gd name="connsiteY281" fmla="*/ 58491 h 1333436"/>
                <a:gd name="connsiteX282" fmla="*/ 239629 w 752994"/>
                <a:gd name="connsiteY282" fmla="*/ 63376 h 1333436"/>
                <a:gd name="connsiteX283" fmla="*/ 236568 w 752994"/>
                <a:gd name="connsiteY283" fmla="*/ 67457 h 1333436"/>
                <a:gd name="connsiteX284" fmla="*/ 231264 w 752994"/>
                <a:gd name="connsiteY284" fmla="*/ 69905 h 1333436"/>
                <a:gd name="connsiteX285" fmla="*/ 216778 w 752994"/>
                <a:gd name="connsiteY285" fmla="*/ 82741 h 1333436"/>
                <a:gd name="connsiteX286" fmla="*/ 214134 w 752994"/>
                <a:gd name="connsiteY286" fmla="*/ 93536 h 1333436"/>
                <a:gd name="connsiteX287" fmla="*/ 214535 w 752994"/>
                <a:gd name="connsiteY287" fmla="*/ 96801 h 1333436"/>
                <a:gd name="connsiteX288" fmla="*/ 216378 w 752994"/>
                <a:gd name="connsiteY288" fmla="*/ 96801 h 1333436"/>
                <a:gd name="connsiteX289" fmla="*/ 230046 w 752994"/>
                <a:gd name="connsiteY289" fmla="*/ 85387 h 1333436"/>
                <a:gd name="connsiteX290" fmla="*/ 243298 w 752994"/>
                <a:gd name="connsiteY290" fmla="*/ 75198 h 1333436"/>
                <a:gd name="connsiteX291" fmla="*/ 246760 w 752994"/>
                <a:gd name="connsiteY291" fmla="*/ 77646 h 1333436"/>
                <a:gd name="connsiteX292" fmla="*/ 255541 w 752994"/>
                <a:gd name="connsiteY292" fmla="*/ 63376 h 1333436"/>
                <a:gd name="connsiteX293" fmla="*/ 259611 w 752994"/>
                <a:gd name="connsiteY293" fmla="*/ 43405 h 1333436"/>
                <a:gd name="connsiteX294" fmla="*/ 256967 w 752994"/>
                <a:gd name="connsiteY294" fmla="*/ 38520 h 1333436"/>
                <a:gd name="connsiteX295" fmla="*/ 253906 w 752994"/>
                <a:gd name="connsiteY295" fmla="*/ 34242 h 1333436"/>
                <a:gd name="connsiteX296" fmla="*/ 256967 w 752994"/>
                <a:gd name="connsiteY296" fmla="*/ 30161 h 1333436"/>
                <a:gd name="connsiteX297" fmla="*/ 262063 w 752994"/>
                <a:gd name="connsiteY297" fmla="*/ 27712 h 1333436"/>
                <a:gd name="connsiteX298" fmla="*/ 264915 w 752994"/>
                <a:gd name="connsiteY298" fmla="*/ 23026 h 1333436"/>
                <a:gd name="connsiteX299" fmla="*/ 267976 w 752994"/>
                <a:gd name="connsiteY299" fmla="*/ 22618 h 1333436"/>
                <a:gd name="connsiteX300" fmla="*/ 270427 w 752994"/>
                <a:gd name="connsiteY300" fmla="*/ 20787 h 1333436"/>
                <a:gd name="connsiteX301" fmla="*/ 263088 w 752994"/>
                <a:gd name="connsiteY301" fmla="*/ 13652 h 1333436"/>
                <a:gd name="connsiteX302" fmla="*/ 255541 w 752994"/>
                <a:gd name="connsiteY302" fmla="*/ 3055 h 1333436"/>
                <a:gd name="connsiteX303" fmla="*/ 256358 w 752994"/>
                <a:gd name="connsiteY303" fmla="*/ 1224 h 1333436"/>
                <a:gd name="connsiteX304" fmla="*/ 257159 w 752994"/>
                <a:gd name="connsiteY304"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225136 w 752994"/>
                <a:gd name="connsiteY7" fmla="*/ 229829 h 1333436"/>
                <a:gd name="connsiteX8" fmla="*/ 195162 w 752994"/>
                <a:gd name="connsiteY8" fmla="*/ 228857 h 1333436"/>
                <a:gd name="connsiteX9" fmla="*/ 188223 w 752994"/>
                <a:gd name="connsiteY9" fmla="*/ 223973 h 1333436"/>
                <a:gd name="connsiteX10" fmla="*/ 185163 w 752994"/>
                <a:gd name="connsiteY10" fmla="*/ 219484 h 1333436"/>
                <a:gd name="connsiteX11" fmla="*/ 184180 w 752994"/>
                <a:gd name="connsiteY11" fmla="*/ 213866 h 1333436"/>
                <a:gd name="connsiteX12" fmla="*/ 257159 w 752994"/>
                <a:gd name="connsiteY12" fmla="*/ 0 h 1333436"/>
                <a:gd name="connsiteX13" fmla="*/ 493147 w 752994"/>
                <a:gd name="connsiteY13" fmla="*/ 73157 h 1333436"/>
                <a:gd name="connsiteX14" fmla="*/ 492970 w 752994"/>
                <a:gd name="connsiteY14" fmla="*/ 73792 h 1333436"/>
                <a:gd name="connsiteX15" fmla="*/ 525816 w 752994"/>
                <a:gd name="connsiteY15" fmla="*/ 82491 h 1333436"/>
                <a:gd name="connsiteX16" fmla="*/ 520098 w 752994"/>
                <a:gd name="connsiteY16" fmla="*/ 111245 h 1333436"/>
                <a:gd name="connsiteX17" fmla="*/ 512552 w 752994"/>
                <a:gd name="connsiteY17" fmla="*/ 143854 h 1333436"/>
                <a:gd name="connsiteX18" fmla="*/ 517849 w 752994"/>
                <a:gd name="connsiteY18" fmla="*/ 157740 h 1333436"/>
                <a:gd name="connsiteX19" fmla="*/ 523160 w 752994"/>
                <a:gd name="connsiteY19" fmla="*/ 172009 h 1333436"/>
                <a:gd name="connsiteX20" fmla="*/ 521535 w 752994"/>
                <a:gd name="connsiteY20" fmla="*/ 178928 h 1333436"/>
                <a:gd name="connsiteX21" fmla="*/ 520098 w 752994"/>
                <a:gd name="connsiteY21" fmla="*/ 186279 h 1333436"/>
                <a:gd name="connsiteX22" fmla="*/ 526019 w 752994"/>
                <a:gd name="connsiteY22" fmla="*/ 193629 h 1333436"/>
                <a:gd name="connsiteX23" fmla="*/ 537251 w 752994"/>
                <a:gd name="connsiteY23" fmla="*/ 206270 h 1333436"/>
                <a:gd name="connsiteX24" fmla="*/ 542765 w 752994"/>
                <a:gd name="connsiteY24" fmla="*/ 217475 h 1333436"/>
                <a:gd name="connsiteX25" fmla="*/ 546857 w 752994"/>
                <a:gd name="connsiteY25" fmla="*/ 230930 h 1333436"/>
                <a:gd name="connsiteX26" fmla="*/ 549499 w 752994"/>
                <a:gd name="connsiteY26" fmla="*/ 235622 h 1333436"/>
                <a:gd name="connsiteX27" fmla="*/ 553388 w 752994"/>
                <a:gd name="connsiteY27" fmla="*/ 240722 h 1333436"/>
                <a:gd name="connsiteX28" fmla="*/ 557465 w 752994"/>
                <a:gd name="connsiteY28" fmla="*/ 246037 h 1333436"/>
                <a:gd name="connsiteX29" fmla="*/ 561761 w 752994"/>
                <a:gd name="connsiteY29" fmla="*/ 248671 h 1333436"/>
                <a:gd name="connsiteX30" fmla="*/ 567478 w 752994"/>
                <a:gd name="connsiteY30" fmla="*/ 247665 h 1333436"/>
                <a:gd name="connsiteX31" fmla="*/ 569931 w 752994"/>
                <a:gd name="connsiteY31" fmla="*/ 249293 h 1333436"/>
                <a:gd name="connsiteX32" fmla="*/ 570540 w 752994"/>
                <a:gd name="connsiteY32" fmla="*/ 251951 h 1333436"/>
                <a:gd name="connsiteX33" fmla="*/ 561964 w 752994"/>
                <a:gd name="connsiteY33" fmla="*/ 267656 h 1333436"/>
                <a:gd name="connsiteX34" fmla="*/ 553591 w 752994"/>
                <a:gd name="connsiteY34" fmla="*/ 289659 h 1333436"/>
                <a:gd name="connsiteX35" fmla="*/ 554810 w 752994"/>
                <a:gd name="connsiteY35" fmla="*/ 292939 h 1333436"/>
                <a:gd name="connsiteX36" fmla="*/ 556246 w 752994"/>
                <a:gd name="connsiteY36" fmla="*/ 299260 h 1333436"/>
                <a:gd name="connsiteX37" fmla="*/ 552778 w 752994"/>
                <a:gd name="connsiteY37" fmla="*/ 301917 h 1333436"/>
                <a:gd name="connsiteX38" fmla="*/ 549295 w 752994"/>
                <a:gd name="connsiteY38" fmla="*/ 306993 h 1333436"/>
                <a:gd name="connsiteX39" fmla="*/ 547061 w 752994"/>
                <a:gd name="connsiteY39" fmla="*/ 313122 h 1333436"/>
                <a:gd name="connsiteX40" fmla="*/ 544811 w 752994"/>
                <a:gd name="connsiteY40" fmla="*/ 316593 h 1333436"/>
                <a:gd name="connsiteX41" fmla="*/ 549919 w 752994"/>
                <a:gd name="connsiteY41" fmla="*/ 322698 h 1333436"/>
                <a:gd name="connsiteX42" fmla="*/ 553184 w 752994"/>
                <a:gd name="connsiteY42" fmla="*/ 325955 h 1333436"/>
                <a:gd name="connsiteX43" fmla="*/ 555840 w 752994"/>
                <a:gd name="connsiteY43" fmla="*/ 328205 h 1333436"/>
                <a:gd name="connsiteX44" fmla="*/ 574212 w 752994"/>
                <a:gd name="connsiteY44" fmla="*/ 318820 h 1333436"/>
                <a:gd name="connsiteX45" fmla="*/ 579523 w 752994"/>
                <a:gd name="connsiteY45" fmla="*/ 326577 h 1333436"/>
                <a:gd name="connsiteX46" fmla="*/ 580539 w 752994"/>
                <a:gd name="connsiteY46" fmla="*/ 334933 h 1333436"/>
                <a:gd name="connsiteX47" fmla="*/ 579726 w 752994"/>
                <a:gd name="connsiteY47" fmla="*/ 343097 h 1333436"/>
                <a:gd name="connsiteX48" fmla="*/ 581366 w 752994"/>
                <a:gd name="connsiteY48" fmla="*/ 350231 h 1333436"/>
                <a:gd name="connsiteX49" fmla="*/ 586256 w 752994"/>
                <a:gd name="connsiteY49" fmla="*/ 355930 h 1333436"/>
                <a:gd name="connsiteX50" fmla="*/ 589536 w 752994"/>
                <a:gd name="connsiteY50" fmla="*/ 362059 h 1333436"/>
                <a:gd name="connsiteX51" fmla="*/ 588099 w 752994"/>
                <a:gd name="connsiteY51" fmla="*/ 369600 h 1333436"/>
                <a:gd name="connsiteX52" fmla="*/ 586459 w 752994"/>
                <a:gd name="connsiteY52" fmla="*/ 377357 h 1333436"/>
                <a:gd name="connsiteX53" fmla="*/ 588709 w 752994"/>
                <a:gd name="connsiteY53" fmla="*/ 381835 h 1333436"/>
                <a:gd name="connsiteX54" fmla="*/ 595036 w 752994"/>
                <a:gd name="connsiteY54" fmla="*/ 382457 h 1333436"/>
                <a:gd name="connsiteX55" fmla="*/ 599331 w 752994"/>
                <a:gd name="connsiteY55" fmla="*/ 385306 h 1333436"/>
                <a:gd name="connsiteX56" fmla="*/ 601987 w 752994"/>
                <a:gd name="connsiteY56" fmla="*/ 391004 h 1333436"/>
                <a:gd name="connsiteX57" fmla="*/ 602799 w 752994"/>
                <a:gd name="connsiteY57" fmla="*/ 404076 h 1333436"/>
                <a:gd name="connsiteX58" fmla="*/ 606892 w 752994"/>
                <a:gd name="connsiteY58" fmla="*/ 415688 h 1333436"/>
                <a:gd name="connsiteX59" fmla="*/ 610563 w 752994"/>
                <a:gd name="connsiteY59" fmla="*/ 412217 h 1333436"/>
                <a:gd name="connsiteX60" fmla="*/ 617920 w 752994"/>
                <a:gd name="connsiteY60" fmla="*/ 408769 h 1333436"/>
                <a:gd name="connsiteX61" fmla="*/ 624654 w 752994"/>
                <a:gd name="connsiteY61" fmla="*/ 411211 h 1333436"/>
                <a:gd name="connsiteX62" fmla="*/ 634652 w 752994"/>
                <a:gd name="connsiteY62" fmla="*/ 410182 h 1333436"/>
                <a:gd name="connsiteX63" fmla="*/ 640573 w 752994"/>
                <a:gd name="connsiteY63" fmla="*/ 407739 h 1333436"/>
                <a:gd name="connsiteX64" fmla="*/ 646711 w 752994"/>
                <a:gd name="connsiteY64" fmla="*/ 410589 h 1333436"/>
                <a:gd name="connsiteX65" fmla="*/ 650383 w 752994"/>
                <a:gd name="connsiteY65" fmla="*/ 410589 h 1333436"/>
                <a:gd name="connsiteX66" fmla="*/ 654257 w 752994"/>
                <a:gd name="connsiteY66" fmla="*/ 411618 h 1333436"/>
                <a:gd name="connsiteX67" fmla="*/ 656913 w 752994"/>
                <a:gd name="connsiteY67" fmla="*/ 413653 h 1333436"/>
                <a:gd name="connsiteX68" fmla="*/ 660802 w 752994"/>
                <a:gd name="connsiteY68" fmla="*/ 415090 h 1333436"/>
                <a:gd name="connsiteX69" fmla="*/ 669581 w 752994"/>
                <a:gd name="connsiteY69" fmla="*/ 415904 h 1333436"/>
                <a:gd name="connsiteX70" fmla="*/ 672237 w 752994"/>
                <a:gd name="connsiteY70" fmla="*/ 415688 h 1333436"/>
                <a:gd name="connsiteX71" fmla="*/ 675705 w 752994"/>
                <a:gd name="connsiteY71" fmla="*/ 409367 h 1333436"/>
                <a:gd name="connsiteX72" fmla="*/ 679986 w 752994"/>
                <a:gd name="connsiteY72" fmla="*/ 403238 h 1333436"/>
                <a:gd name="connsiteX73" fmla="*/ 693264 w 752994"/>
                <a:gd name="connsiteY73" fmla="*/ 419567 h 1333436"/>
                <a:gd name="connsiteX74" fmla="*/ 688563 w 752994"/>
                <a:gd name="connsiteY74" fmla="*/ 448321 h 1333436"/>
                <a:gd name="connsiteX75" fmla="*/ 663949 w 752994"/>
                <a:gd name="connsiteY75" fmla="*/ 590165 h 1333436"/>
                <a:gd name="connsiteX76" fmla="*/ 666304 w 752994"/>
                <a:gd name="connsiteY76" fmla="*/ 590504 h 1333436"/>
                <a:gd name="connsiteX77" fmla="*/ 655288 w 752994"/>
                <a:gd name="connsiteY77" fmla="*/ 656178 h 1333436"/>
                <a:gd name="connsiteX78" fmla="*/ 681808 w 752994"/>
                <a:gd name="connsiteY78" fmla="*/ 662301 h 1333436"/>
                <a:gd name="connsiteX79" fmla="*/ 752994 w 752994"/>
                <a:gd name="connsiteY79" fmla="*/ 675560 h 1333436"/>
                <a:gd name="connsiteX80" fmla="*/ 714651 w 752994"/>
                <a:gd name="connsiteY80" fmla="*/ 946985 h 1333436"/>
                <a:gd name="connsiteX81" fmla="*/ 654533 w 752994"/>
                <a:gd name="connsiteY81" fmla="*/ 1333436 h 1333436"/>
                <a:gd name="connsiteX82" fmla="*/ 546831 w 752994"/>
                <a:gd name="connsiteY82" fmla="*/ 1317126 h 1333436"/>
                <a:gd name="connsiteX83" fmla="*/ 351227 w 752994"/>
                <a:gd name="connsiteY83" fmla="*/ 1194172 h 1333436"/>
                <a:gd name="connsiteX84" fmla="*/ 361011 w 752994"/>
                <a:gd name="connsiteY84" fmla="*/ 1182755 h 1333436"/>
                <a:gd name="connsiteX85" fmla="*/ 368981 w 752994"/>
                <a:gd name="connsiteY85" fmla="*/ 1182130 h 1333436"/>
                <a:gd name="connsiteX86" fmla="*/ 369571 w 752994"/>
                <a:gd name="connsiteY86" fmla="*/ 1181558 h 1333436"/>
                <a:gd name="connsiteX87" fmla="*/ 362372 w 752994"/>
                <a:gd name="connsiteY87" fmla="*/ 1182120 h 1333436"/>
                <a:gd name="connsiteX88" fmla="*/ 229464 w 752994"/>
                <a:gd name="connsiteY88" fmla="*/ 1161721 h 1333436"/>
                <a:gd name="connsiteX89" fmla="*/ 227427 w 752994"/>
                <a:gd name="connsiteY89" fmla="*/ 1157269 h 1333436"/>
                <a:gd name="connsiteX90" fmla="*/ 224967 w 752994"/>
                <a:gd name="connsiteY90" fmla="*/ 1152575 h 1333436"/>
                <a:gd name="connsiteX91" fmla="*/ 225582 w 752994"/>
                <a:gd name="connsiteY91" fmla="*/ 1144808 h 1333436"/>
                <a:gd name="connsiteX92" fmla="*/ 227215 w 752994"/>
                <a:gd name="connsiteY92" fmla="*/ 1135834 h 1333436"/>
                <a:gd name="connsiteX93" fmla="*/ 227215 w 752994"/>
                <a:gd name="connsiteY93" fmla="*/ 1134212 h 1333436"/>
                <a:gd name="connsiteX94" fmla="*/ 225179 w 752994"/>
                <a:gd name="connsiteY94" fmla="*/ 1114020 h 1333436"/>
                <a:gd name="connsiteX95" fmla="*/ 217839 w 752994"/>
                <a:gd name="connsiteY95" fmla="*/ 1100352 h 1333436"/>
                <a:gd name="connsiteX96" fmla="*/ 199661 w 752994"/>
                <a:gd name="connsiteY96" fmla="*/ 1076502 h 1333436"/>
                <a:gd name="connsiteX97" fmla="*/ 196395 w 752994"/>
                <a:gd name="connsiteY97" fmla="*/ 1071807 h 1333436"/>
                <a:gd name="connsiteX98" fmla="*/ 190880 w 752994"/>
                <a:gd name="connsiteY98" fmla="*/ 1067527 h 1333436"/>
                <a:gd name="connsiteX99" fmla="*/ 187210 w 752994"/>
                <a:gd name="connsiteY99" fmla="*/ 1068735 h 1333436"/>
                <a:gd name="connsiteX100" fmla="*/ 180062 w 752994"/>
                <a:gd name="connsiteY100" fmla="*/ 1066699 h 1333436"/>
                <a:gd name="connsiteX101" fmla="*/ 180466 w 752994"/>
                <a:gd name="connsiteY101" fmla="*/ 1053031 h 1333436"/>
                <a:gd name="connsiteX102" fmla="*/ 180062 w 752994"/>
                <a:gd name="connsiteY102" fmla="*/ 1045299 h 1333436"/>
                <a:gd name="connsiteX103" fmla="*/ 174144 w 752994"/>
                <a:gd name="connsiteY103" fmla="*/ 1044057 h 1333436"/>
                <a:gd name="connsiteX104" fmla="*/ 158426 w 752994"/>
                <a:gd name="connsiteY104" fmla="*/ 1042641 h 1333436"/>
                <a:gd name="connsiteX105" fmla="*/ 149857 w 752994"/>
                <a:gd name="connsiteY105" fmla="*/ 1035497 h 1333436"/>
                <a:gd name="connsiteX106" fmla="*/ 142497 w 752994"/>
                <a:gd name="connsiteY106" fmla="*/ 1028766 h 1333436"/>
                <a:gd name="connsiteX107" fmla="*/ 140864 w 752994"/>
                <a:gd name="connsiteY107" fmla="*/ 1020620 h 1333436"/>
                <a:gd name="connsiteX108" fmla="*/ 138212 w 752994"/>
                <a:gd name="connsiteY108" fmla="*/ 1013061 h 1333436"/>
                <a:gd name="connsiteX109" fmla="*/ 131064 w 752994"/>
                <a:gd name="connsiteY109" fmla="*/ 1007159 h 1333436"/>
                <a:gd name="connsiteX110" fmla="*/ 121264 w 752994"/>
                <a:gd name="connsiteY110" fmla="*/ 1005330 h 1333436"/>
                <a:gd name="connsiteX111" fmla="*/ 112483 w 752994"/>
                <a:gd name="connsiteY111" fmla="*/ 1001671 h 1333436"/>
                <a:gd name="connsiteX112" fmla="*/ 105950 w 752994"/>
                <a:gd name="connsiteY112" fmla="*/ 995734 h 1333436"/>
                <a:gd name="connsiteX113" fmla="*/ 97380 w 752994"/>
                <a:gd name="connsiteY113" fmla="*/ 994526 h 1333436"/>
                <a:gd name="connsiteX114" fmla="*/ 87984 w 752994"/>
                <a:gd name="connsiteY114" fmla="*/ 991040 h 1333436"/>
                <a:gd name="connsiteX115" fmla="*/ 80029 w 752994"/>
                <a:gd name="connsiteY115" fmla="*/ 985138 h 1333436"/>
                <a:gd name="connsiteX116" fmla="*/ 77166 w 752994"/>
                <a:gd name="connsiteY116" fmla="*/ 976164 h 1333436"/>
                <a:gd name="connsiteX117" fmla="*/ 79203 w 752994"/>
                <a:gd name="connsiteY117" fmla="*/ 970676 h 1333436"/>
                <a:gd name="connsiteX118" fmla="*/ 82470 w 752994"/>
                <a:gd name="connsiteY118" fmla="*/ 963117 h 1333436"/>
                <a:gd name="connsiteX119" fmla="*/ 84314 w 752994"/>
                <a:gd name="connsiteY119" fmla="*/ 954557 h 1333436"/>
                <a:gd name="connsiteX120" fmla="*/ 86351 w 752994"/>
                <a:gd name="connsiteY120" fmla="*/ 948033 h 1333436"/>
                <a:gd name="connsiteX121" fmla="*/ 86159 w 752994"/>
                <a:gd name="connsiteY121" fmla="*/ 942925 h 1333436"/>
                <a:gd name="connsiteX122" fmla="*/ 83085 w 752994"/>
                <a:gd name="connsiteY122" fmla="*/ 939853 h 1333436"/>
                <a:gd name="connsiteX123" fmla="*/ 77570 w 752994"/>
                <a:gd name="connsiteY123" fmla="*/ 937437 h 1333436"/>
                <a:gd name="connsiteX124" fmla="*/ 76763 w 752994"/>
                <a:gd name="connsiteY124" fmla="*/ 931915 h 1333436"/>
                <a:gd name="connsiteX125" fmla="*/ 78800 w 752994"/>
                <a:gd name="connsiteY125" fmla="*/ 927013 h 1333436"/>
                <a:gd name="connsiteX126" fmla="*/ 79626 w 752994"/>
                <a:gd name="connsiteY126" fmla="*/ 922526 h 1333436"/>
                <a:gd name="connsiteX127" fmla="*/ 77781 w 752994"/>
                <a:gd name="connsiteY127" fmla="*/ 919903 h 1333436"/>
                <a:gd name="connsiteX128" fmla="*/ 74303 w 752994"/>
                <a:gd name="connsiteY128" fmla="*/ 917418 h 1333436"/>
                <a:gd name="connsiteX129" fmla="*/ 71863 w 752994"/>
                <a:gd name="connsiteY129" fmla="*/ 915174 h 1333436"/>
                <a:gd name="connsiteX130" fmla="*/ 71652 w 752994"/>
                <a:gd name="connsiteY130" fmla="*/ 910894 h 1333436"/>
                <a:gd name="connsiteX131" fmla="*/ 70633 w 752994"/>
                <a:gd name="connsiteY131" fmla="*/ 906614 h 1333436"/>
                <a:gd name="connsiteX132" fmla="*/ 68385 w 752994"/>
                <a:gd name="connsiteY132" fmla="*/ 902749 h 1333436"/>
                <a:gd name="connsiteX133" fmla="*/ 61045 w 752994"/>
                <a:gd name="connsiteY133" fmla="*/ 889494 h 1333436"/>
                <a:gd name="connsiteX134" fmla="*/ 57971 w 752994"/>
                <a:gd name="connsiteY134" fmla="*/ 875619 h 1333436"/>
                <a:gd name="connsiteX135" fmla="*/ 52264 w 752994"/>
                <a:gd name="connsiteY135" fmla="*/ 862572 h 1333436"/>
                <a:gd name="connsiteX136" fmla="*/ 44309 w 752994"/>
                <a:gd name="connsiteY136" fmla="*/ 850561 h 1333436"/>
                <a:gd name="connsiteX137" fmla="*/ 45520 w 752994"/>
                <a:gd name="connsiteY137" fmla="*/ 827090 h 1333436"/>
                <a:gd name="connsiteX138" fmla="*/ 53071 w 752994"/>
                <a:gd name="connsiteY138" fmla="*/ 822396 h 1333436"/>
                <a:gd name="connsiteX139" fmla="*/ 57375 w 752994"/>
                <a:gd name="connsiteY139" fmla="*/ 816493 h 1333436"/>
                <a:gd name="connsiteX140" fmla="*/ 55319 w 752994"/>
                <a:gd name="connsiteY140" fmla="*/ 801617 h 1333436"/>
                <a:gd name="connsiteX141" fmla="*/ 48383 w 752994"/>
                <a:gd name="connsiteY141" fmla="*/ 802204 h 1333436"/>
                <a:gd name="connsiteX142" fmla="*/ 40428 w 752994"/>
                <a:gd name="connsiteY142" fmla="*/ 797924 h 1333436"/>
                <a:gd name="connsiteX143" fmla="*/ 37565 w 752994"/>
                <a:gd name="connsiteY143" fmla="*/ 790606 h 1333436"/>
                <a:gd name="connsiteX144" fmla="*/ 37565 w 752994"/>
                <a:gd name="connsiteY144" fmla="*/ 790399 h 1333436"/>
                <a:gd name="connsiteX145" fmla="*/ 35931 w 752994"/>
                <a:gd name="connsiteY145" fmla="*/ 785912 h 1333436"/>
                <a:gd name="connsiteX146" fmla="*/ 34510 w 752994"/>
                <a:gd name="connsiteY146" fmla="*/ 780597 h 1333436"/>
                <a:gd name="connsiteX147" fmla="*/ 36335 w 752994"/>
                <a:gd name="connsiteY147" fmla="*/ 774280 h 1333436"/>
                <a:gd name="connsiteX148" fmla="*/ 38180 w 752994"/>
                <a:gd name="connsiteY148" fmla="*/ 766721 h 1333436"/>
                <a:gd name="connsiteX149" fmla="*/ 37161 w 752994"/>
                <a:gd name="connsiteY149" fmla="*/ 760405 h 1333436"/>
                <a:gd name="connsiteX150" fmla="*/ 35720 w 752994"/>
                <a:gd name="connsiteY150" fmla="*/ 754710 h 1333436"/>
                <a:gd name="connsiteX151" fmla="*/ 36546 w 752994"/>
                <a:gd name="connsiteY151" fmla="*/ 748773 h 1333436"/>
                <a:gd name="connsiteX152" fmla="*/ 38372 w 752994"/>
                <a:gd name="connsiteY152" fmla="*/ 744528 h 1333436"/>
                <a:gd name="connsiteX153" fmla="*/ 41638 w 752994"/>
                <a:gd name="connsiteY153" fmla="*/ 744321 h 1333436"/>
                <a:gd name="connsiteX154" fmla="*/ 44713 w 752994"/>
                <a:gd name="connsiteY154" fmla="*/ 746357 h 1333436"/>
                <a:gd name="connsiteX155" fmla="*/ 47364 w 752994"/>
                <a:gd name="connsiteY155" fmla="*/ 753260 h 1333436"/>
                <a:gd name="connsiteX156" fmla="*/ 55742 w 752994"/>
                <a:gd name="connsiteY156" fmla="*/ 764305 h 1333436"/>
                <a:gd name="connsiteX157" fmla="*/ 56338 w 752994"/>
                <a:gd name="connsiteY157" fmla="*/ 761233 h 1333436"/>
                <a:gd name="connsiteX158" fmla="*/ 56145 w 752994"/>
                <a:gd name="connsiteY158" fmla="*/ 757368 h 1333436"/>
                <a:gd name="connsiteX159" fmla="*/ 54916 w 752994"/>
                <a:gd name="connsiteY159" fmla="*/ 748601 h 1333436"/>
                <a:gd name="connsiteX160" fmla="*/ 52879 w 752994"/>
                <a:gd name="connsiteY160" fmla="*/ 747358 h 1333436"/>
                <a:gd name="connsiteX161" fmla="*/ 51649 w 752994"/>
                <a:gd name="connsiteY161" fmla="*/ 745322 h 1333436"/>
                <a:gd name="connsiteX162" fmla="*/ 51649 w 752994"/>
                <a:gd name="connsiteY162" fmla="*/ 739212 h 1333436"/>
                <a:gd name="connsiteX163" fmla="*/ 50227 w 752994"/>
                <a:gd name="connsiteY163" fmla="*/ 734725 h 1333436"/>
                <a:gd name="connsiteX164" fmla="*/ 48786 w 752994"/>
                <a:gd name="connsiteY164" fmla="*/ 731446 h 1333436"/>
                <a:gd name="connsiteX165" fmla="*/ 54512 w 752994"/>
                <a:gd name="connsiteY165" fmla="*/ 726372 h 1333436"/>
                <a:gd name="connsiteX166" fmla="*/ 59815 w 752994"/>
                <a:gd name="connsiteY166" fmla="*/ 725130 h 1333436"/>
                <a:gd name="connsiteX167" fmla="*/ 58182 w 752994"/>
                <a:gd name="connsiteY167" fmla="*/ 722886 h 1333436"/>
                <a:gd name="connsiteX168" fmla="*/ 51861 w 752994"/>
                <a:gd name="connsiteY168" fmla="*/ 717985 h 1333436"/>
                <a:gd name="connsiteX169" fmla="*/ 46749 w 752994"/>
                <a:gd name="connsiteY169" fmla="*/ 729617 h 1333436"/>
                <a:gd name="connsiteX170" fmla="*/ 40831 w 752994"/>
                <a:gd name="connsiteY170" fmla="*/ 739212 h 1333436"/>
                <a:gd name="connsiteX171" fmla="*/ 39601 w 752994"/>
                <a:gd name="connsiteY171" fmla="*/ 738798 h 1333436"/>
                <a:gd name="connsiteX172" fmla="*/ 39409 w 752994"/>
                <a:gd name="connsiteY172" fmla="*/ 738591 h 1333436"/>
                <a:gd name="connsiteX173" fmla="*/ 37161 w 752994"/>
                <a:gd name="connsiteY173" fmla="*/ 734725 h 1333436"/>
                <a:gd name="connsiteX174" fmla="*/ 32665 w 752994"/>
                <a:gd name="connsiteY174" fmla="*/ 727788 h 1333436"/>
                <a:gd name="connsiteX175" fmla="*/ 26747 w 752994"/>
                <a:gd name="connsiteY175" fmla="*/ 719435 h 1333436"/>
                <a:gd name="connsiteX176" fmla="*/ 23884 w 752994"/>
                <a:gd name="connsiteY176" fmla="*/ 717812 h 1333436"/>
                <a:gd name="connsiteX177" fmla="*/ 24710 w 752994"/>
                <a:gd name="connsiteY177" fmla="*/ 709632 h 1333436"/>
                <a:gd name="connsiteX178" fmla="*/ 27554 w 752994"/>
                <a:gd name="connsiteY178" fmla="*/ 701694 h 1333436"/>
                <a:gd name="connsiteX179" fmla="*/ 24902 w 752994"/>
                <a:gd name="connsiteY179" fmla="*/ 696171 h 1333436"/>
                <a:gd name="connsiteX180" fmla="*/ 24095 w 752994"/>
                <a:gd name="connsiteY180" fmla="*/ 687818 h 1333436"/>
                <a:gd name="connsiteX181" fmla="*/ 22462 w 752994"/>
                <a:gd name="connsiteY181" fmla="*/ 682330 h 1333436"/>
                <a:gd name="connsiteX182" fmla="*/ 17159 w 752994"/>
                <a:gd name="connsiteY182" fmla="*/ 677636 h 1333436"/>
                <a:gd name="connsiteX183" fmla="*/ 14296 w 752994"/>
                <a:gd name="connsiteY183" fmla="*/ 671492 h 1333436"/>
                <a:gd name="connsiteX184" fmla="*/ 12451 w 752994"/>
                <a:gd name="connsiteY184" fmla="*/ 665797 h 1333436"/>
                <a:gd name="connsiteX185" fmla="*/ 5111 w 752994"/>
                <a:gd name="connsiteY185" fmla="*/ 654994 h 1333436"/>
                <a:gd name="connsiteX186" fmla="*/ 2248 w 752994"/>
                <a:gd name="connsiteY186" fmla="*/ 645605 h 1333436"/>
                <a:gd name="connsiteX187" fmla="*/ 4496 w 752994"/>
                <a:gd name="connsiteY187" fmla="*/ 640497 h 1333436"/>
                <a:gd name="connsiteX188" fmla="*/ 6744 w 752994"/>
                <a:gd name="connsiteY188" fmla="*/ 632765 h 1333436"/>
                <a:gd name="connsiteX189" fmla="*/ 6744 w 752994"/>
                <a:gd name="connsiteY189" fmla="*/ 628485 h 1333436"/>
                <a:gd name="connsiteX190" fmla="*/ 6533 w 752994"/>
                <a:gd name="connsiteY190" fmla="*/ 620305 h 1333436"/>
                <a:gd name="connsiteX191" fmla="*/ 7359 w 752994"/>
                <a:gd name="connsiteY191" fmla="*/ 611745 h 1333436"/>
                <a:gd name="connsiteX192" fmla="*/ 11836 w 752994"/>
                <a:gd name="connsiteY192" fmla="*/ 602978 h 1333436"/>
                <a:gd name="connsiteX193" fmla="*/ 15103 w 752994"/>
                <a:gd name="connsiteY193" fmla="*/ 591760 h 1333436"/>
                <a:gd name="connsiteX194" fmla="*/ 14488 w 752994"/>
                <a:gd name="connsiteY194" fmla="*/ 584029 h 1333436"/>
                <a:gd name="connsiteX195" fmla="*/ 13873 w 752994"/>
                <a:gd name="connsiteY195" fmla="*/ 578299 h 1333436"/>
                <a:gd name="connsiteX196" fmla="*/ 10626 w 752994"/>
                <a:gd name="connsiteY196" fmla="*/ 568531 h 1333436"/>
                <a:gd name="connsiteX197" fmla="*/ 3670 w 752994"/>
                <a:gd name="connsiteY197" fmla="*/ 558107 h 1333436"/>
                <a:gd name="connsiteX198" fmla="*/ 0 w 752994"/>
                <a:gd name="connsiteY198" fmla="*/ 551377 h 1333436"/>
                <a:gd name="connsiteX199" fmla="*/ 0 w 752994"/>
                <a:gd name="connsiteY199" fmla="*/ 550997 h 1333436"/>
                <a:gd name="connsiteX200" fmla="*/ 4900 w 752994"/>
                <a:gd name="connsiteY200" fmla="*/ 531220 h 1333436"/>
                <a:gd name="connsiteX201" fmla="*/ 13873 w 752994"/>
                <a:gd name="connsiteY201" fmla="*/ 520589 h 1333436"/>
                <a:gd name="connsiteX202" fmla="*/ 18369 w 752994"/>
                <a:gd name="connsiteY202" fmla="*/ 516516 h 1333436"/>
                <a:gd name="connsiteX203" fmla="*/ 18773 w 752994"/>
                <a:gd name="connsiteY203" fmla="*/ 514272 h 1333436"/>
                <a:gd name="connsiteX204" fmla="*/ 23077 w 752994"/>
                <a:gd name="connsiteY204" fmla="*/ 506127 h 1333436"/>
                <a:gd name="connsiteX205" fmla="*/ 23884 w 752994"/>
                <a:gd name="connsiteY205" fmla="*/ 502261 h 1333436"/>
                <a:gd name="connsiteX206" fmla="*/ 23692 w 752994"/>
                <a:gd name="connsiteY206" fmla="*/ 496738 h 1333436"/>
                <a:gd name="connsiteX207" fmla="*/ 30013 w 752994"/>
                <a:gd name="connsiteY207" fmla="*/ 486556 h 1333436"/>
                <a:gd name="connsiteX208" fmla="*/ 36546 w 752994"/>
                <a:gd name="connsiteY208" fmla="*/ 470230 h 1333436"/>
                <a:gd name="connsiteX209" fmla="*/ 36546 w 752994"/>
                <a:gd name="connsiteY209" fmla="*/ 462671 h 1333436"/>
                <a:gd name="connsiteX210" fmla="*/ 36335 w 752994"/>
                <a:gd name="connsiteY210" fmla="*/ 461670 h 1333436"/>
                <a:gd name="connsiteX211" fmla="*/ 35931 w 752994"/>
                <a:gd name="connsiteY211" fmla="*/ 453110 h 1333436"/>
                <a:gd name="connsiteX212" fmla="*/ 38583 w 752994"/>
                <a:gd name="connsiteY212" fmla="*/ 442514 h 1333436"/>
                <a:gd name="connsiteX213" fmla="*/ 41043 w 752994"/>
                <a:gd name="connsiteY213" fmla="*/ 436991 h 1333436"/>
                <a:gd name="connsiteX214" fmla="*/ 41650 w 752994"/>
                <a:gd name="connsiteY214" fmla="*/ 437186 h 1333436"/>
                <a:gd name="connsiteX215" fmla="*/ 41239 w 752994"/>
                <a:gd name="connsiteY215" fmla="*/ 436549 h 1333436"/>
                <a:gd name="connsiteX216" fmla="*/ 37778 w 752994"/>
                <a:gd name="connsiteY216" fmla="*/ 433894 h 1333436"/>
                <a:gd name="connsiteX217" fmla="*/ 37169 w 752994"/>
                <a:gd name="connsiteY217" fmla="*/ 432261 h 1333436"/>
                <a:gd name="connsiteX218" fmla="*/ 37365 w 752994"/>
                <a:gd name="connsiteY218" fmla="*/ 429198 h 1333436"/>
                <a:gd name="connsiteX219" fmla="*/ 36756 w 752994"/>
                <a:gd name="connsiteY219" fmla="*/ 422272 h 1333436"/>
                <a:gd name="connsiteX220" fmla="*/ 36952 w 752994"/>
                <a:gd name="connsiteY220" fmla="*/ 418800 h 1333436"/>
                <a:gd name="connsiteX221" fmla="*/ 36756 w 752994"/>
                <a:gd name="connsiteY221" fmla="*/ 412487 h 1333436"/>
                <a:gd name="connsiteX222" fmla="*/ 40433 w 752994"/>
                <a:gd name="connsiteY222" fmla="*/ 406174 h 1333436"/>
                <a:gd name="connsiteX223" fmla="*/ 44720 w 752994"/>
                <a:gd name="connsiteY223" fmla="*/ 399435 h 1333436"/>
                <a:gd name="connsiteX224" fmla="*/ 44110 w 752994"/>
                <a:gd name="connsiteY224" fmla="*/ 389651 h 1333436"/>
                <a:gd name="connsiteX225" fmla="*/ 43894 w 752994"/>
                <a:gd name="connsiteY225" fmla="*/ 378437 h 1333436"/>
                <a:gd name="connsiteX226" fmla="*/ 47158 w 752994"/>
                <a:gd name="connsiteY226" fmla="*/ 371102 h 1333436"/>
                <a:gd name="connsiteX227" fmla="*/ 55731 w 752994"/>
                <a:gd name="connsiteY227" fmla="*/ 360909 h 1333436"/>
                <a:gd name="connsiteX228" fmla="*/ 57580 w 752994"/>
                <a:gd name="connsiteY228" fmla="*/ 355804 h 1333436"/>
                <a:gd name="connsiteX229" fmla="*/ 62673 w 752994"/>
                <a:gd name="connsiteY229" fmla="*/ 349695 h 1333436"/>
                <a:gd name="connsiteX230" fmla="*/ 65937 w 752994"/>
                <a:gd name="connsiteY230" fmla="*/ 348470 h 1333436"/>
                <a:gd name="connsiteX231" fmla="*/ 68395 w 752994"/>
                <a:gd name="connsiteY231" fmla="*/ 348674 h 1333436"/>
                <a:gd name="connsiteX232" fmla="*/ 70224 w 752994"/>
                <a:gd name="connsiteY232" fmla="*/ 347449 h 1333436"/>
                <a:gd name="connsiteX233" fmla="*/ 67785 w 752994"/>
                <a:gd name="connsiteY233" fmla="*/ 345203 h 1333436"/>
                <a:gd name="connsiteX234" fmla="*/ 65524 w 752994"/>
                <a:gd name="connsiteY234" fmla="*/ 343178 h 1333436"/>
                <a:gd name="connsiteX235" fmla="*/ 73095 w 752994"/>
                <a:gd name="connsiteY235" fmla="*/ 333376 h 1333436"/>
                <a:gd name="connsiteX236" fmla="*/ 73291 w 752994"/>
                <a:gd name="connsiteY236" fmla="*/ 333376 h 1333436"/>
                <a:gd name="connsiteX237" fmla="*/ 77991 w 752994"/>
                <a:gd name="connsiteY237" fmla="*/ 325838 h 1333436"/>
                <a:gd name="connsiteX238" fmla="*/ 82671 w 752994"/>
                <a:gd name="connsiteY238" fmla="*/ 313619 h 1333436"/>
                <a:gd name="connsiteX239" fmla="*/ 87980 w 752994"/>
                <a:gd name="connsiteY239" fmla="*/ 303018 h 1333436"/>
                <a:gd name="connsiteX240" fmla="*/ 92267 w 752994"/>
                <a:gd name="connsiteY240" fmla="*/ 291191 h 1333436"/>
                <a:gd name="connsiteX241" fmla="*/ 96553 w 752994"/>
                <a:gd name="connsiteY241" fmla="*/ 281202 h 1333436"/>
                <a:gd name="connsiteX242" fmla="*/ 99621 w 752994"/>
                <a:gd name="connsiteY242" fmla="*/ 274481 h 1333436"/>
                <a:gd name="connsiteX243" fmla="*/ 103082 w 752994"/>
                <a:gd name="connsiteY243" fmla="*/ 262450 h 1333436"/>
                <a:gd name="connsiteX244" fmla="*/ 107172 w 752994"/>
                <a:gd name="connsiteY244" fmla="*/ 254299 h 1333436"/>
                <a:gd name="connsiteX245" fmla="*/ 112481 w 752994"/>
                <a:gd name="connsiteY245" fmla="*/ 243697 h 1333436"/>
                <a:gd name="connsiteX246" fmla="*/ 117181 w 752994"/>
                <a:gd name="connsiteY246" fmla="*/ 232279 h 1333436"/>
                <a:gd name="connsiteX247" fmla="*/ 125951 w 752994"/>
                <a:gd name="connsiteY247" fmla="*/ 217389 h 1333436"/>
                <a:gd name="connsiteX248" fmla="*/ 136156 w 752994"/>
                <a:gd name="connsiteY248" fmla="*/ 202925 h 1333436"/>
                <a:gd name="connsiteX249" fmla="*/ 138811 w 752994"/>
                <a:gd name="connsiteY249" fmla="*/ 183339 h 1333436"/>
                <a:gd name="connsiteX250" fmla="*/ 148801 w 752994"/>
                <a:gd name="connsiteY250" fmla="*/ 167445 h 1333436"/>
                <a:gd name="connsiteX251" fmla="*/ 159616 w 752994"/>
                <a:gd name="connsiteY251" fmla="*/ 170712 h 1333436"/>
                <a:gd name="connsiteX252" fmla="*/ 173105 w 752994"/>
                <a:gd name="connsiteY252" fmla="*/ 175188 h 1333436"/>
                <a:gd name="connsiteX253" fmla="*/ 175347 w 752994"/>
                <a:gd name="connsiteY253" fmla="*/ 175188 h 1333436"/>
                <a:gd name="connsiteX254" fmla="*/ 175347 w 752994"/>
                <a:gd name="connsiteY254" fmla="*/ 173758 h 1333436"/>
                <a:gd name="connsiteX255" fmla="*/ 184975 w 752994"/>
                <a:gd name="connsiteY255" fmla="*/ 187393 h 1333436"/>
                <a:gd name="connsiteX256" fmla="*/ 184762 w 752994"/>
                <a:gd name="connsiteY256" fmla="*/ 184637 h 1333436"/>
                <a:gd name="connsiteX257" fmla="*/ 174971 w 752994"/>
                <a:gd name="connsiteY257" fmla="*/ 170774 h 1333436"/>
                <a:gd name="connsiteX258" fmla="*/ 174971 w 752994"/>
                <a:gd name="connsiteY258" fmla="*/ 169550 h 1333436"/>
                <a:gd name="connsiteX259" fmla="*/ 158851 w 752994"/>
                <a:gd name="connsiteY259" fmla="*/ 156924 h 1333436"/>
                <a:gd name="connsiteX260" fmla="*/ 147025 w 752994"/>
                <a:gd name="connsiteY260" fmla="*/ 145709 h 1333436"/>
                <a:gd name="connsiteX261" fmla="*/ 154364 w 752994"/>
                <a:gd name="connsiteY261" fmla="*/ 136335 h 1333436"/>
                <a:gd name="connsiteX262" fmla="*/ 161511 w 752994"/>
                <a:gd name="connsiteY262" fmla="*/ 131042 h 1333436"/>
                <a:gd name="connsiteX263" fmla="*/ 160902 w 752994"/>
                <a:gd name="connsiteY263" fmla="*/ 128384 h 1333436"/>
                <a:gd name="connsiteX264" fmla="*/ 160277 w 752994"/>
                <a:gd name="connsiteY264" fmla="*/ 127778 h 1333436"/>
                <a:gd name="connsiteX265" fmla="*/ 154973 w 752994"/>
                <a:gd name="connsiteY265" fmla="*/ 122077 h 1333436"/>
                <a:gd name="connsiteX266" fmla="*/ 160277 w 752994"/>
                <a:gd name="connsiteY266" fmla="*/ 115140 h 1333436"/>
                <a:gd name="connsiteX267" fmla="*/ 165181 w 752994"/>
                <a:gd name="connsiteY267" fmla="*/ 108215 h 1333436"/>
                <a:gd name="connsiteX268" fmla="*/ 161303 w 752994"/>
                <a:gd name="connsiteY268" fmla="*/ 104146 h 1333436"/>
                <a:gd name="connsiteX269" fmla="*/ 157842 w 752994"/>
                <a:gd name="connsiteY269" fmla="*/ 104542 h 1333436"/>
                <a:gd name="connsiteX270" fmla="*/ 157024 w 752994"/>
                <a:gd name="connsiteY270" fmla="*/ 102304 h 1333436"/>
                <a:gd name="connsiteX271" fmla="*/ 160694 w 752994"/>
                <a:gd name="connsiteY271" fmla="*/ 55437 h 1333436"/>
                <a:gd name="connsiteX272" fmla="*/ 160486 w 752994"/>
                <a:gd name="connsiteY272" fmla="*/ 31991 h 1333436"/>
                <a:gd name="connsiteX273" fmla="*/ 164972 w 752994"/>
                <a:gd name="connsiteY273" fmla="*/ 18141 h 1333436"/>
                <a:gd name="connsiteX274" fmla="*/ 171911 w 752994"/>
                <a:gd name="connsiteY274" fmla="*/ 11204 h 1333436"/>
                <a:gd name="connsiteX275" fmla="*/ 187406 w 752994"/>
                <a:gd name="connsiteY275" fmla="*/ 21801 h 1333436"/>
                <a:gd name="connsiteX276" fmla="*/ 210866 w 752994"/>
                <a:gd name="connsiteY276" fmla="*/ 37086 h 1333436"/>
                <a:gd name="connsiteX277" fmla="*/ 219230 w 752994"/>
                <a:gd name="connsiteY277" fmla="*/ 41166 h 1333436"/>
                <a:gd name="connsiteX278" fmla="*/ 226778 w 752994"/>
                <a:gd name="connsiteY278" fmla="*/ 47486 h 1333436"/>
                <a:gd name="connsiteX279" fmla="*/ 236152 w 752994"/>
                <a:gd name="connsiteY279" fmla="*/ 52370 h 1333436"/>
                <a:gd name="connsiteX280" fmla="*/ 239629 w 752994"/>
                <a:gd name="connsiteY280" fmla="*/ 58491 h 1333436"/>
                <a:gd name="connsiteX281" fmla="*/ 239629 w 752994"/>
                <a:gd name="connsiteY281" fmla="*/ 63376 h 1333436"/>
                <a:gd name="connsiteX282" fmla="*/ 236568 w 752994"/>
                <a:gd name="connsiteY282" fmla="*/ 67457 h 1333436"/>
                <a:gd name="connsiteX283" fmla="*/ 231264 w 752994"/>
                <a:gd name="connsiteY283" fmla="*/ 69905 h 1333436"/>
                <a:gd name="connsiteX284" fmla="*/ 216778 w 752994"/>
                <a:gd name="connsiteY284" fmla="*/ 82741 h 1333436"/>
                <a:gd name="connsiteX285" fmla="*/ 214134 w 752994"/>
                <a:gd name="connsiteY285" fmla="*/ 93536 h 1333436"/>
                <a:gd name="connsiteX286" fmla="*/ 214535 w 752994"/>
                <a:gd name="connsiteY286" fmla="*/ 96801 h 1333436"/>
                <a:gd name="connsiteX287" fmla="*/ 216378 w 752994"/>
                <a:gd name="connsiteY287" fmla="*/ 96801 h 1333436"/>
                <a:gd name="connsiteX288" fmla="*/ 230046 w 752994"/>
                <a:gd name="connsiteY288" fmla="*/ 85387 h 1333436"/>
                <a:gd name="connsiteX289" fmla="*/ 243298 w 752994"/>
                <a:gd name="connsiteY289" fmla="*/ 75198 h 1333436"/>
                <a:gd name="connsiteX290" fmla="*/ 246760 w 752994"/>
                <a:gd name="connsiteY290" fmla="*/ 77646 h 1333436"/>
                <a:gd name="connsiteX291" fmla="*/ 255541 w 752994"/>
                <a:gd name="connsiteY291" fmla="*/ 63376 h 1333436"/>
                <a:gd name="connsiteX292" fmla="*/ 259611 w 752994"/>
                <a:gd name="connsiteY292" fmla="*/ 43405 h 1333436"/>
                <a:gd name="connsiteX293" fmla="*/ 256967 w 752994"/>
                <a:gd name="connsiteY293" fmla="*/ 38520 h 1333436"/>
                <a:gd name="connsiteX294" fmla="*/ 253906 w 752994"/>
                <a:gd name="connsiteY294" fmla="*/ 34242 h 1333436"/>
                <a:gd name="connsiteX295" fmla="*/ 256967 w 752994"/>
                <a:gd name="connsiteY295" fmla="*/ 30161 h 1333436"/>
                <a:gd name="connsiteX296" fmla="*/ 262063 w 752994"/>
                <a:gd name="connsiteY296" fmla="*/ 27712 h 1333436"/>
                <a:gd name="connsiteX297" fmla="*/ 264915 w 752994"/>
                <a:gd name="connsiteY297" fmla="*/ 23026 h 1333436"/>
                <a:gd name="connsiteX298" fmla="*/ 267976 w 752994"/>
                <a:gd name="connsiteY298" fmla="*/ 22618 h 1333436"/>
                <a:gd name="connsiteX299" fmla="*/ 270427 w 752994"/>
                <a:gd name="connsiteY299" fmla="*/ 20787 h 1333436"/>
                <a:gd name="connsiteX300" fmla="*/ 263088 w 752994"/>
                <a:gd name="connsiteY300" fmla="*/ 13652 h 1333436"/>
                <a:gd name="connsiteX301" fmla="*/ 255541 w 752994"/>
                <a:gd name="connsiteY301" fmla="*/ 3055 h 1333436"/>
                <a:gd name="connsiteX302" fmla="*/ 256358 w 752994"/>
                <a:gd name="connsiteY302" fmla="*/ 1224 h 1333436"/>
                <a:gd name="connsiteX303" fmla="*/ 257159 w 752994"/>
                <a:gd name="connsiteY303"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195162 w 752994"/>
                <a:gd name="connsiteY7" fmla="*/ 228857 h 1333436"/>
                <a:gd name="connsiteX8" fmla="*/ 188223 w 752994"/>
                <a:gd name="connsiteY8" fmla="*/ 223973 h 1333436"/>
                <a:gd name="connsiteX9" fmla="*/ 185163 w 752994"/>
                <a:gd name="connsiteY9" fmla="*/ 219484 h 1333436"/>
                <a:gd name="connsiteX10" fmla="*/ 184180 w 752994"/>
                <a:gd name="connsiteY10" fmla="*/ 213866 h 1333436"/>
                <a:gd name="connsiteX11" fmla="*/ 257159 w 752994"/>
                <a:gd name="connsiteY11" fmla="*/ 0 h 1333436"/>
                <a:gd name="connsiteX12" fmla="*/ 493147 w 752994"/>
                <a:gd name="connsiteY12" fmla="*/ 73157 h 1333436"/>
                <a:gd name="connsiteX13" fmla="*/ 492970 w 752994"/>
                <a:gd name="connsiteY13" fmla="*/ 73792 h 1333436"/>
                <a:gd name="connsiteX14" fmla="*/ 525816 w 752994"/>
                <a:gd name="connsiteY14" fmla="*/ 82491 h 1333436"/>
                <a:gd name="connsiteX15" fmla="*/ 520098 w 752994"/>
                <a:gd name="connsiteY15" fmla="*/ 111245 h 1333436"/>
                <a:gd name="connsiteX16" fmla="*/ 512552 w 752994"/>
                <a:gd name="connsiteY16" fmla="*/ 143854 h 1333436"/>
                <a:gd name="connsiteX17" fmla="*/ 517849 w 752994"/>
                <a:gd name="connsiteY17" fmla="*/ 157740 h 1333436"/>
                <a:gd name="connsiteX18" fmla="*/ 523160 w 752994"/>
                <a:gd name="connsiteY18" fmla="*/ 172009 h 1333436"/>
                <a:gd name="connsiteX19" fmla="*/ 521535 w 752994"/>
                <a:gd name="connsiteY19" fmla="*/ 178928 h 1333436"/>
                <a:gd name="connsiteX20" fmla="*/ 520098 w 752994"/>
                <a:gd name="connsiteY20" fmla="*/ 186279 h 1333436"/>
                <a:gd name="connsiteX21" fmla="*/ 526019 w 752994"/>
                <a:gd name="connsiteY21" fmla="*/ 193629 h 1333436"/>
                <a:gd name="connsiteX22" fmla="*/ 537251 w 752994"/>
                <a:gd name="connsiteY22" fmla="*/ 206270 h 1333436"/>
                <a:gd name="connsiteX23" fmla="*/ 542765 w 752994"/>
                <a:gd name="connsiteY23" fmla="*/ 217475 h 1333436"/>
                <a:gd name="connsiteX24" fmla="*/ 546857 w 752994"/>
                <a:gd name="connsiteY24" fmla="*/ 230930 h 1333436"/>
                <a:gd name="connsiteX25" fmla="*/ 549499 w 752994"/>
                <a:gd name="connsiteY25" fmla="*/ 235622 h 1333436"/>
                <a:gd name="connsiteX26" fmla="*/ 553388 w 752994"/>
                <a:gd name="connsiteY26" fmla="*/ 240722 h 1333436"/>
                <a:gd name="connsiteX27" fmla="*/ 557465 w 752994"/>
                <a:gd name="connsiteY27" fmla="*/ 246037 h 1333436"/>
                <a:gd name="connsiteX28" fmla="*/ 561761 w 752994"/>
                <a:gd name="connsiteY28" fmla="*/ 248671 h 1333436"/>
                <a:gd name="connsiteX29" fmla="*/ 567478 w 752994"/>
                <a:gd name="connsiteY29" fmla="*/ 247665 h 1333436"/>
                <a:gd name="connsiteX30" fmla="*/ 569931 w 752994"/>
                <a:gd name="connsiteY30" fmla="*/ 249293 h 1333436"/>
                <a:gd name="connsiteX31" fmla="*/ 570540 w 752994"/>
                <a:gd name="connsiteY31" fmla="*/ 251951 h 1333436"/>
                <a:gd name="connsiteX32" fmla="*/ 561964 w 752994"/>
                <a:gd name="connsiteY32" fmla="*/ 267656 h 1333436"/>
                <a:gd name="connsiteX33" fmla="*/ 553591 w 752994"/>
                <a:gd name="connsiteY33" fmla="*/ 289659 h 1333436"/>
                <a:gd name="connsiteX34" fmla="*/ 554810 w 752994"/>
                <a:gd name="connsiteY34" fmla="*/ 292939 h 1333436"/>
                <a:gd name="connsiteX35" fmla="*/ 556246 w 752994"/>
                <a:gd name="connsiteY35" fmla="*/ 299260 h 1333436"/>
                <a:gd name="connsiteX36" fmla="*/ 552778 w 752994"/>
                <a:gd name="connsiteY36" fmla="*/ 301917 h 1333436"/>
                <a:gd name="connsiteX37" fmla="*/ 549295 w 752994"/>
                <a:gd name="connsiteY37" fmla="*/ 306993 h 1333436"/>
                <a:gd name="connsiteX38" fmla="*/ 547061 w 752994"/>
                <a:gd name="connsiteY38" fmla="*/ 313122 h 1333436"/>
                <a:gd name="connsiteX39" fmla="*/ 544811 w 752994"/>
                <a:gd name="connsiteY39" fmla="*/ 316593 h 1333436"/>
                <a:gd name="connsiteX40" fmla="*/ 549919 w 752994"/>
                <a:gd name="connsiteY40" fmla="*/ 322698 h 1333436"/>
                <a:gd name="connsiteX41" fmla="*/ 553184 w 752994"/>
                <a:gd name="connsiteY41" fmla="*/ 325955 h 1333436"/>
                <a:gd name="connsiteX42" fmla="*/ 555840 w 752994"/>
                <a:gd name="connsiteY42" fmla="*/ 328205 h 1333436"/>
                <a:gd name="connsiteX43" fmla="*/ 574212 w 752994"/>
                <a:gd name="connsiteY43" fmla="*/ 318820 h 1333436"/>
                <a:gd name="connsiteX44" fmla="*/ 579523 w 752994"/>
                <a:gd name="connsiteY44" fmla="*/ 326577 h 1333436"/>
                <a:gd name="connsiteX45" fmla="*/ 580539 w 752994"/>
                <a:gd name="connsiteY45" fmla="*/ 334933 h 1333436"/>
                <a:gd name="connsiteX46" fmla="*/ 579726 w 752994"/>
                <a:gd name="connsiteY46" fmla="*/ 343097 h 1333436"/>
                <a:gd name="connsiteX47" fmla="*/ 581366 w 752994"/>
                <a:gd name="connsiteY47" fmla="*/ 350231 h 1333436"/>
                <a:gd name="connsiteX48" fmla="*/ 586256 w 752994"/>
                <a:gd name="connsiteY48" fmla="*/ 355930 h 1333436"/>
                <a:gd name="connsiteX49" fmla="*/ 589536 w 752994"/>
                <a:gd name="connsiteY49" fmla="*/ 362059 h 1333436"/>
                <a:gd name="connsiteX50" fmla="*/ 588099 w 752994"/>
                <a:gd name="connsiteY50" fmla="*/ 369600 h 1333436"/>
                <a:gd name="connsiteX51" fmla="*/ 586459 w 752994"/>
                <a:gd name="connsiteY51" fmla="*/ 377357 h 1333436"/>
                <a:gd name="connsiteX52" fmla="*/ 588709 w 752994"/>
                <a:gd name="connsiteY52" fmla="*/ 381835 h 1333436"/>
                <a:gd name="connsiteX53" fmla="*/ 595036 w 752994"/>
                <a:gd name="connsiteY53" fmla="*/ 382457 h 1333436"/>
                <a:gd name="connsiteX54" fmla="*/ 599331 w 752994"/>
                <a:gd name="connsiteY54" fmla="*/ 385306 h 1333436"/>
                <a:gd name="connsiteX55" fmla="*/ 601987 w 752994"/>
                <a:gd name="connsiteY55" fmla="*/ 391004 h 1333436"/>
                <a:gd name="connsiteX56" fmla="*/ 602799 w 752994"/>
                <a:gd name="connsiteY56" fmla="*/ 404076 h 1333436"/>
                <a:gd name="connsiteX57" fmla="*/ 606892 w 752994"/>
                <a:gd name="connsiteY57" fmla="*/ 415688 h 1333436"/>
                <a:gd name="connsiteX58" fmla="*/ 610563 w 752994"/>
                <a:gd name="connsiteY58" fmla="*/ 412217 h 1333436"/>
                <a:gd name="connsiteX59" fmla="*/ 617920 w 752994"/>
                <a:gd name="connsiteY59" fmla="*/ 408769 h 1333436"/>
                <a:gd name="connsiteX60" fmla="*/ 624654 w 752994"/>
                <a:gd name="connsiteY60" fmla="*/ 411211 h 1333436"/>
                <a:gd name="connsiteX61" fmla="*/ 634652 w 752994"/>
                <a:gd name="connsiteY61" fmla="*/ 410182 h 1333436"/>
                <a:gd name="connsiteX62" fmla="*/ 640573 w 752994"/>
                <a:gd name="connsiteY62" fmla="*/ 407739 h 1333436"/>
                <a:gd name="connsiteX63" fmla="*/ 646711 w 752994"/>
                <a:gd name="connsiteY63" fmla="*/ 410589 h 1333436"/>
                <a:gd name="connsiteX64" fmla="*/ 650383 w 752994"/>
                <a:gd name="connsiteY64" fmla="*/ 410589 h 1333436"/>
                <a:gd name="connsiteX65" fmla="*/ 654257 w 752994"/>
                <a:gd name="connsiteY65" fmla="*/ 411618 h 1333436"/>
                <a:gd name="connsiteX66" fmla="*/ 656913 w 752994"/>
                <a:gd name="connsiteY66" fmla="*/ 413653 h 1333436"/>
                <a:gd name="connsiteX67" fmla="*/ 660802 w 752994"/>
                <a:gd name="connsiteY67" fmla="*/ 415090 h 1333436"/>
                <a:gd name="connsiteX68" fmla="*/ 669581 w 752994"/>
                <a:gd name="connsiteY68" fmla="*/ 415904 h 1333436"/>
                <a:gd name="connsiteX69" fmla="*/ 672237 w 752994"/>
                <a:gd name="connsiteY69" fmla="*/ 415688 h 1333436"/>
                <a:gd name="connsiteX70" fmla="*/ 675705 w 752994"/>
                <a:gd name="connsiteY70" fmla="*/ 409367 h 1333436"/>
                <a:gd name="connsiteX71" fmla="*/ 679986 w 752994"/>
                <a:gd name="connsiteY71" fmla="*/ 403238 h 1333436"/>
                <a:gd name="connsiteX72" fmla="*/ 693264 w 752994"/>
                <a:gd name="connsiteY72" fmla="*/ 419567 h 1333436"/>
                <a:gd name="connsiteX73" fmla="*/ 688563 w 752994"/>
                <a:gd name="connsiteY73" fmla="*/ 448321 h 1333436"/>
                <a:gd name="connsiteX74" fmla="*/ 663949 w 752994"/>
                <a:gd name="connsiteY74" fmla="*/ 590165 h 1333436"/>
                <a:gd name="connsiteX75" fmla="*/ 666304 w 752994"/>
                <a:gd name="connsiteY75" fmla="*/ 590504 h 1333436"/>
                <a:gd name="connsiteX76" fmla="*/ 655288 w 752994"/>
                <a:gd name="connsiteY76" fmla="*/ 656178 h 1333436"/>
                <a:gd name="connsiteX77" fmla="*/ 681808 w 752994"/>
                <a:gd name="connsiteY77" fmla="*/ 662301 h 1333436"/>
                <a:gd name="connsiteX78" fmla="*/ 752994 w 752994"/>
                <a:gd name="connsiteY78" fmla="*/ 675560 h 1333436"/>
                <a:gd name="connsiteX79" fmla="*/ 714651 w 752994"/>
                <a:gd name="connsiteY79" fmla="*/ 946985 h 1333436"/>
                <a:gd name="connsiteX80" fmla="*/ 654533 w 752994"/>
                <a:gd name="connsiteY80" fmla="*/ 1333436 h 1333436"/>
                <a:gd name="connsiteX81" fmla="*/ 546831 w 752994"/>
                <a:gd name="connsiteY81" fmla="*/ 1317126 h 1333436"/>
                <a:gd name="connsiteX82" fmla="*/ 351227 w 752994"/>
                <a:gd name="connsiteY82" fmla="*/ 1194172 h 1333436"/>
                <a:gd name="connsiteX83" fmla="*/ 361011 w 752994"/>
                <a:gd name="connsiteY83" fmla="*/ 1182755 h 1333436"/>
                <a:gd name="connsiteX84" fmla="*/ 368981 w 752994"/>
                <a:gd name="connsiteY84" fmla="*/ 1182130 h 1333436"/>
                <a:gd name="connsiteX85" fmla="*/ 369571 w 752994"/>
                <a:gd name="connsiteY85" fmla="*/ 1181558 h 1333436"/>
                <a:gd name="connsiteX86" fmla="*/ 362372 w 752994"/>
                <a:gd name="connsiteY86" fmla="*/ 1182120 h 1333436"/>
                <a:gd name="connsiteX87" fmla="*/ 229464 w 752994"/>
                <a:gd name="connsiteY87" fmla="*/ 1161721 h 1333436"/>
                <a:gd name="connsiteX88" fmla="*/ 227427 w 752994"/>
                <a:gd name="connsiteY88" fmla="*/ 1157269 h 1333436"/>
                <a:gd name="connsiteX89" fmla="*/ 224967 w 752994"/>
                <a:gd name="connsiteY89" fmla="*/ 1152575 h 1333436"/>
                <a:gd name="connsiteX90" fmla="*/ 225582 w 752994"/>
                <a:gd name="connsiteY90" fmla="*/ 1144808 h 1333436"/>
                <a:gd name="connsiteX91" fmla="*/ 227215 w 752994"/>
                <a:gd name="connsiteY91" fmla="*/ 1135834 h 1333436"/>
                <a:gd name="connsiteX92" fmla="*/ 227215 w 752994"/>
                <a:gd name="connsiteY92" fmla="*/ 1134212 h 1333436"/>
                <a:gd name="connsiteX93" fmla="*/ 225179 w 752994"/>
                <a:gd name="connsiteY93" fmla="*/ 1114020 h 1333436"/>
                <a:gd name="connsiteX94" fmla="*/ 217839 w 752994"/>
                <a:gd name="connsiteY94" fmla="*/ 1100352 h 1333436"/>
                <a:gd name="connsiteX95" fmla="*/ 199661 w 752994"/>
                <a:gd name="connsiteY95" fmla="*/ 1076502 h 1333436"/>
                <a:gd name="connsiteX96" fmla="*/ 196395 w 752994"/>
                <a:gd name="connsiteY96" fmla="*/ 1071807 h 1333436"/>
                <a:gd name="connsiteX97" fmla="*/ 190880 w 752994"/>
                <a:gd name="connsiteY97" fmla="*/ 1067527 h 1333436"/>
                <a:gd name="connsiteX98" fmla="*/ 187210 w 752994"/>
                <a:gd name="connsiteY98" fmla="*/ 1068735 h 1333436"/>
                <a:gd name="connsiteX99" fmla="*/ 180062 w 752994"/>
                <a:gd name="connsiteY99" fmla="*/ 1066699 h 1333436"/>
                <a:gd name="connsiteX100" fmla="*/ 180466 w 752994"/>
                <a:gd name="connsiteY100" fmla="*/ 1053031 h 1333436"/>
                <a:gd name="connsiteX101" fmla="*/ 180062 w 752994"/>
                <a:gd name="connsiteY101" fmla="*/ 1045299 h 1333436"/>
                <a:gd name="connsiteX102" fmla="*/ 174144 w 752994"/>
                <a:gd name="connsiteY102" fmla="*/ 1044057 h 1333436"/>
                <a:gd name="connsiteX103" fmla="*/ 158426 w 752994"/>
                <a:gd name="connsiteY103" fmla="*/ 1042641 h 1333436"/>
                <a:gd name="connsiteX104" fmla="*/ 149857 w 752994"/>
                <a:gd name="connsiteY104" fmla="*/ 1035497 h 1333436"/>
                <a:gd name="connsiteX105" fmla="*/ 142497 w 752994"/>
                <a:gd name="connsiteY105" fmla="*/ 1028766 h 1333436"/>
                <a:gd name="connsiteX106" fmla="*/ 140864 w 752994"/>
                <a:gd name="connsiteY106" fmla="*/ 1020620 h 1333436"/>
                <a:gd name="connsiteX107" fmla="*/ 138212 w 752994"/>
                <a:gd name="connsiteY107" fmla="*/ 1013061 h 1333436"/>
                <a:gd name="connsiteX108" fmla="*/ 131064 w 752994"/>
                <a:gd name="connsiteY108" fmla="*/ 1007159 h 1333436"/>
                <a:gd name="connsiteX109" fmla="*/ 121264 w 752994"/>
                <a:gd name="connsiteY109" fmla="*/ 1005330 h 1333436"/>
                <a:gd name="connsiteX110" fmla="*/ 112483 w 752994"/>
                <a:gd name="connsiteY110" fmla="*/ 1001671 h 1333436"/>
                <a:gd name="connsiteX111" fmla="*/ 105950 w 752994"/>
                <a:gd name="connsiteY111" fmla="*/ 995734 h 1333436"/>
                <a:gd name="connsiteX112" fmla="*/ 97380 w 752994"/>
                <a:gd name="connsiteY112" fmla="*/ 994526 h 1333436"/>
                <a:gd name="connsiteX113" fmla="*/ 87984 w 752994"/>
                <a:gd name="connsiteY113" fmla="*/ 991040 h 1333436"/>
                <a:gd name="connsiteX114" fmla="*/ 80029 w 752994"/>
                <a:gd name="connsiteY114" fmla="*/ 985138 h 1333436"/>
                <a:gd name="connsiteX115" fmla="*/ 77166 w 752994"/>
                <a:gd name="connsiteY115" fmla="*/ 976164 h 1333436"/>
                <a:gd name="connsiteX116" fmla="*/ 79203 w 752994"/>
                <a:gd name="connsiteY116" fmla="*/ 970676 h 1333436"/>
                <a:gd name="connsiteX117" fmla="*/ 82470 w 752994"/>
                <a:gd name="connsiteY117" fmla="*/ 963117 h 1333436"/>
                <a:gd name="connsiteX118" fmla="*/ 84314 w 752994"/>
                <a:gd name="connsiteY118" fmla="*/ 954557 h 1333436"/>
                <a:gd name="connsiteX119" fmla="*/ 86351 w 752994"/>
                <a:gd name="connsiteY119" fmla="*/ 948033 h 1333436"/>
                <a:gd name="connsiteX120" fmla="*/ 86159 w 752994"/>
                <a:gd name="connsiteY120" fmla="*/ 942925 h 1333436"/>
                <a:gd name="connsiteX121" fmla="*/ 83085 w 752994"/>
                <a:gd name="connsiteY121" fmla="*/ 939853 h 1333436"/>
                <a:gd name="connsiteX122" fmla="*/ 77570 w 752994"/>
                <a:gd name="connsiteY122" fmla="*/ 937437 h 1333436"/>
                <a:gd name="connsiteX123" fmla="*/ 76763 w 752994"/>
                <a:gd name="connsiteY123" fmla="*/ 931915 h 1333436"/>
                <a:gd name="connsiteX124" fmla="*/ 78800 w 752994"/>
                <a:gd name="connsiteY124" fmla="*/ 927013 h 1333436"/>
                <a:gd name="connsiteX125" fmla="*/ 79626 w 752994"/>
                <a:gd name="connsiteY125" fmla="*/ 922526 h 1333436"/>
                <a:gd name="connsiteX126" fmla="*/ 77781 w 752994"/>
                <a:gd name="connsiteY126" fmla="*/ 919903 h 1333436"/>
                <a:gd name="connsiteX127" fmla="*/ 74303 w 752994"/>
                <a:gd name="connsiteY127" fmla="*/ 917418 h 1333436"/>
                <a:gd name="connsiteX128" fmla="*/ 71863 w 752994"/>
                <a:gd name="connsiteY128" fmla="*/ 915174 h 1333436"/>
                <a:gd name="connsiteX129" fmla="*/ 71652 w 752994"/>
                <a:gd name="connsiteY129" fmla="*/ 910894 h 1333436"/>
                <a:gd name="connsiteX130" fmla="*/ 70633 w 752994"/>
                <a:gd name="connsiteY130" fmla="*/ 906614 h 1333436"/>
                <a:gd name="connsiteX131" fmla="*/ 68385 w 752994"/>
                <a:gd name="connsiteY131" fmla="*/ 902749 h 1333436"/>
                <a:gd name="connsiteX132" fmla="*/ 61045 w 752994"/>
                <a:gd name="connsiteY132" fmla="*/ 889494 h 1333436"/>
                <a:gd name="connsiteX133" fmla="*/ 57971 w 752994"/>
                <a:gd name="connsiteY133" fmla="*/ 875619 h 1333436"/>
                <a:gd name="connsiteX134" fmla="*/ 52264 w 752994"/>
                <a:gd name="connsiteY134" fmla="*/ 862572 h 1333436"/>
                <a:gd name="connsiteX135" fmla="*/ 44309 w 752994"/>
                <a:gd name="connsiteY135" fmla="*/ 850561 h 1333436"/>
                <a:gd name="connsiteX136" fmla="*/ 45520 w 752994"/>
                <a:gd name="connsiteY136" fmla="*/ 827090 h 1333436"/>
                <a:gd name="connsiteX137" fmla="*/ 53071 w 752994"/>
                <a:gd name="connsiteY137" fmla="*/ 822396 h 1333436"/>
                <a:gd name="connsiteX138" fmla="*/ 57375 w 752994"/>
                <a:gd name="connsiteY138" fmla="*/ 816493 h 1333436"/>
                <a:gd name="connsiteX139" fmla="*/ 55319 w 752994"/>
                <a:gd name="connsiteY139" fmla="*/ 801617 h 1333436"/>
                <a:gd name="connsiteX140" fmla="*/ 48383 w 752994"/>
                <a:gd name="connsiteY140" fmla="*/ 802204 h 1333436"/>
                <a:gd name="connsiteX141" fmla="*/ 40428 w 752994"/>
                <a:gd name="connsiteY141" fmla="*/ 797924 h 1333436"/>
                <a:gd name="connsiteX142" fmla="*/ 37565 w 752994"/>
                <a:gd name="connsiteY142" fmla="*/ 790606 h 1333436"/>
                <a:gd name="connsiteX143" fmla="*/ 37565 w 752994"/>
                <a:gd name="connsiteY143" fmla="*/ 790399 h 1333436"/>
                <a:gd name="connsiteX144" fmla="*/ 35931 w 752994"/>
                <a:gd name="connsiteY144" fmla="*/ 785912 h 1333436"/>
                <a:gd name="connsiteX145" fmla="*/ 34510 w 752994"/>
                <a:gd name="connsiteY145" fmla="*/ 780597 h 1333436"/>
                <a:gd name="connsiteX146" fmla="*/ 36335 w 752994"/>
                <a:gd name="connsiteY146" fmla="*/ 774280 h 1333436"/>
                <a:gd name="connsiteX147" fmla="*/ 38180 w 752994"/>
                <a:gd name="connsiteY147" fmla="*/ 766721 h 1333436"/>
                <a:gd name="connsiteX148" fmla="*/ 37161 w 752994"/>
                <a:gd name="connsiteY148" fmla="*/ 760405 h 1333436"/>
                <a:gd name="connsiteX149" fmla="*/ 35720 w 752994"/>
                <a:gd name="connsiteY149" fmla="*/ 754710 h 1333436"/>
                <a:gd name="connsiteX150" fmla="*/ 36546 w 752994"/>
                <a:gd name="connsiteY150" fmla="*/ 748773 h 1333436"/>
                <a:gd name="connsiteX151" fmla="*/ 38372 w 752994"/>
                <a:gd name="connsiteY151" fmla="*/ 744528 h 1333436"/>
                <a:gd name="connsiteX152" fmla="*/ 41638 w 752994"/>
                <a:gd name="connsiteY152" fmla="*/ 744321 h 1333436"/>
                <a:gd name="connsiteX153" fmla="*/ 44713 w 752994"/>
                <a:gd name="connsiteY153" fmla="*/ 746357 h 1333436"/>
                <a:gd name="connsiteX154" fmla="*/ 47364 w 752994"/>
                <a:gd name="connsiteY154" fmla="*/ 753260 h 1333436"/>
                <a:gd name="connsiteX155" fmla="*/ 55742 w 752994"/>
                <a:gd name="connsiteY155" fmla="*/ 764305 h 1333436"/>
                <a:gd name="connsiteX156" fmla="*/ 56338 w 752994"/>
                <a:gd name="connsiteY156" fmla="*/ 761233 h 1333436"/>
                <a:gd name="connsiteX157" fmla="*/ 56145 w 752994"/>
                <a:gd name="connsiteY157" fmla="*/ 757368 h 1333436"/>
                <a:gd name="connsiteX158" fmla="*/ 54916 w 752994"/>
                <a:gd name="connsiteY158" fmla="*/ 748601 h 1333436"/>
                <a:gd name="connsiteX159" fmla="*/ 52879 w 752994"/>
                <a:gd name="connsiteY159" fmla="*/ 747358 h 1333436"/>
                <a:gd name="connsiteX160" fmla="*/ 51649 w 752994"/>
                <a:gd name="connsiteY160" fmla="*/ 745322 h 1333436"/>
                <a:gd name="connsiteX161" fmla="*/ 51649 w 752994"/>
                <a:gd name="connsiteY161" fmla="*/ 739212 h 1333436"/>
                <a:gd name="connsiteX162" fmla="*/ 50227 w 752994"/>
                <a:gd name="connsiteY162" fmla="*/ 734725 h 1333436"/>
                <a:gd name="connsiteX163" fmla="*/ 48786 w 752994"/>
                <a:gd name="connsiteY163" fmla="*/ 731446 h 1333436"/>
                <a:gd name="connsiteX164" fmla="*/ 54512 w 752994"/>
                <a:gd name="connsiteY164" fmla="*/ 726372 h 1333436"/>
                <a:gd name="connsiteX165" fmla="*/ 59815 w 752994"/>
                <a:gd name="connsiteY165" fmla="*/ 725130 h 1333436"/>
                <a:gd name="connsiteX166" fmla="*/ 58182 w 752994"/>
                <a:gd name="connsiteY166" fmla="*/ 722886 h 1333436"/>
                <a:gd name="connsiteX167" fmla="*/ 51861 w 752994"/>
                <a:gd name="connsiteY167" fmla="*/ 717985 h 1333436"/>
                <a:gd name="connsiteX168" fmla="*/ 46749 w 752994"/>
                <a:gd name="connsiteY168" fmla="*/ 729617 h 1333436"/>
                <a:gd name="connsiteX169" fmla="*/ 40831 w 752994"/>
                <a:gd name="connsiteY169" fmla="*/ 739212 h 1333436"/>
                <a:gd name="connsiteX170" fmla="*/ 39601 w 752994"/>
                <a:gd name="connsiteY170" fmla="*/ 738798 h 1333436"/>
                <a:gd name="connsiteX171" fmla="*/ 39409 w 752994"/>
                <a:gd name="connsiteY171" fmla="*/ 738591 h 1333436"/>
                <a:gd name="connsiteX172" fmla="*/ 37161 w 752994"/>
                <a:gd name="connsiteY172" fmla="*/ 734725 h 1333436"/>
                <a:gd name="connsiteX173" fmla="*/ 32665 w 752994"/>
                <a:gd name="connsiteY173" fmla="*/ 727788 h 1333436"/>
                <a:gd name="connsiteX174" fmla="*/ 26747 w 752994"/>
                <a:gd name="connsiteY174" fmla="*/ 719435 h 1333436"/>
                <a:gd name="connsiteX175" fmla="*/ 23884 w 752994"/>
                <a:gd name="connsiteY175" fmla="*/ 717812 h 1333436"/>
                <a:gd name="connsiteX176" fmla="*/ 24710 w 752994"/>
                <a:gd name="connsiteY176" fmla="*/ 709632 h 1333436"/>
                <a:gd name="connsiteX177" fmla="*/ 27554 w 752994"/>
                <a:gd name="connsiteY177" fmla="*/ 701694 h 1333436"/>
                <a:gd name="connsiteX178" fmla="*/ 24902 w 752994"/>
                <a:gd name="connsiteY178" fmla="*/ 696171 h 1333436"/>
                <a:gd name="connsiteX179" fmla="*/ 24095 w 752994"/>
                <a:gd name="connsiteY179" fmla="*/ 687818 h 1333436"/>
                <a:gd name="connsiteX180" fmla="*/ 22462 w 752994"/>
                <a:gd name="connsiteY180" fmla="*/ 682330 h 1333436"/>
                <a:gd name="connsiteX181" fmla="*/ 17159 w 752994"/>
                <a:gd name="connsiteY181" fmla="*/ 677636 h 1333436"/>
                <a:gd name="connsiteX182" fmla="*/ 14296 w 752994"/>
                <a:gd name="connsiteY182" fmla="*/ 671492 h 1333436"/>
                <a:gd name="connsiteX183" fmla="*/ 12451 w 752994"/>
                <a:gd name="connsiteY183" fmla="*/ 665797 h 1333436"/>
                <a:gd name="connsiteX184" fmla="*/ 5111 w 752994"/>
                <a:gd name="connsiteY184" fmla="*/ 654994 h 1333436"/>
                <a:gd name="connsiteX185" fmla="*/ 2248 w 752994"/>
                <a:gd name="connsiteY185" fmla="*/ 645605 h 1333436"/>
                <a:gd name="connsiteX186" fmla="*/ 4496 w 752994"/>
                <a:gd name="connsiteY186" fmla="*/ 640497 h 1333436"/>
                <a:gd name="connsiteX187" fmla="*/ 6744 w 752994"/>
                <a:gd name="connsiteY187" fmla="*/ 632765 h 1333436"/>
                <a:gd name="connsiteX188" fmla="*/ 6744 w 752994"/>
                <a:gd name="connsiteY188" fmla="*/ 628485 h 1333436"/>
                <a:gd name="connsiteX189" fmla="*/ 6533 w 752994"/>
                <a:gd name="connsiteY189" fmla="*/ 620305 h 1333436"/>
                <a:gd name="connsiteX190" fmla="*/ 7359 w 752994"/>
                <a:gd name="connsiteY190" fmla="*/ 611745 h 1333436"/>
                <a:gd name="connsiteX191" fmla="*/ 11836 w 752994"/>
                <a:gd name="connsiteY191" fmla="*/ 602978 h 1333436"/>
                <a:gd name="connsiteX192" fmla="*/ 15103 w 752994"/>
                <a:gd name="connsiteY192" fmla="*/ 591760 h 1333436"/>
                <a:gd name="connsiteX193" fmla="*/ 14488 w 752994"/>
                <a:gd name="connsiteY193" fmla="*/ 584029 h 1333436"/>
                <a:gd name="connsiteX194" fmla="*/ 13873 w 752994"/>
                <a:gd name="connsiteY194" fmla="*/ 578299 h 1333436"/>
                <a:gd name="connsiteX195" fmla="*/ 10626 w 752994"/>
                <a:gd name="connsiteY195" fmla="*/ 568531 h 1333436"/>
                <a:gd name="connsiteX196" fmla="*/ 3670 w 752994"/>
                <a:gd name="connsiteY196" fmla="*/ 558107 h 1333436"/>
                <a:gd name="connsiteX197" fmla="*/ 0 w 752994"/>
                <a:gd name="connsiteY197" fmla="*/ 551377 h 1333436"/>
                <a:gd name="connsiteX198" fmla="*/ 0 w 752994"/>
                <a:gd name="connsiteY198" fmla="*/ 550997 h 1333436"/>
                <a:gd name="connsiteX199" fmla="*/ 4900 w 752994"/>
                <a:gd name="connsiteY199" fmla="*/ 531220 h 1333436"/>
                <a:gd name="connsiteX200" fmla="*/ 13873 w 752994"/>
                <a:gd name="connsiteY200" fmla="*/ 520589 h 1333436"/>
                <a:gd name="connsiteX201" fmla="*/ 18369 w 752994"/>
                <a:gd name="connsiteY201" fmla="*/ 516516 h 1333436"/>
                <a:gd name="connsiteX202" fmla="*/ 18773 w 752994"/>
                <a:gd name="connsiteY202" fmla="*/ 514272 h 1333436"/>
                <a:gd name="connsiteX203" fmla="*/ 23077 w 752994"/>
                <a:gd name="connsiteY203" fmla="*/ 506127 h 1333436"/>
                <a:gd name="connsiteX204" fmla="*/ 23884 w 752994"/>
                <a:gd name="connsiteY204" fmla="*/ 502261 h 1333436"/>
                <a:gd name="connsiteX205" fmla="*/ 23692 w 752994"/>
                <a:gd name="connsiteY205" fmla="*/ 496738 h 1333436"/>
                <a:gd name="connsiteX206" fmla="*/ 30013 w 752994"/>
                <a:gd name="connsiteY206" fmla="*/ 486556 h 1333436"/>
                <a:gd name="connsiteX207" fmla="*/ 36546 w 752994"/>
                <a:gd name="connsiteY207" fmla="*/ 470230 h 1333436"/>
                <a:gd name="connsiteX208" fmla="*/ 36546 w 752994"/>
                <a:gd name="connsiteY208" fmla="*/ 462671 h 1333436"/>
                <a:gd name="connsiteX209" fmla="*/ 36335 w 752994"/>
                <a:gd name="connsiteY209" fmla="*/ 461670 h 1333436"/>
                <a:gd name="connsiteX210" fmla="*/ 35931 w 752994"/>
                <a:gd name="connsiteY210" fmla="*/ 453110 h 1333436"/>
                <a:gd name="connsiteX211" fmla="*/ 38583 w 752994"/>
                <a:gd name="connsiteY211" fmla="*/ 442514 h 1333436"/>
                <a:gd name="connsiteX212" fmla="*/ 41043 w 752994"/>
                <a:gd name="connsiteY212" fmla="*/ 436991 h 1333436"/>
                <a:gd name="connsiteX213" fmla="*/ 41650 w 752994"/>
                <a:gd name="connsiteY213" fmla="*/ 437186 h 1333436"/>
                <a:gd name="connsiteX214" fmla="*/ 41239 w 752994"/>
                <a:gd name="connsiteY214" fmla="*/ 436549 h 1333436"/>
                <a:gd name="connsiteX215" fmla="*/ 37778 w 752994"/>
                <a:gd name="connsiteY215" fmla="*/ 433894 h 1333436"/>
                <a:gd name="connsiteX216" fmla="*/ 37169 w 752994"/>
                <a:gd name="connsiteY216" fmla="*/ 432261 h 1333436"/>
                <a:gd name="connsiteX217" fmla="*/ 37365 w 752994"/>
                <a:gd name="connsiteY217" fmla="*/ 429198 h 1333436"/>
                <a:gd name="connsiteX218" fmla="*/ 36756 w 752994"/>
                <a:gd name="connsiteY218" fmla="*/ 422272 h 1333436"/>
                <a:gd name="connsiteX219" fmla="*/ 36952 w 752994"/>
                <a:gd name="connsiteY219" fmla="*/ 418800 h 1333436"/>
                <a:gd name="connsiteX220" fmla="*/ 36756 w 752994"/>
                <a:gd name="connsiteY220" fmla="*/ 412487 h 1333436"/>
                <a:gd name="connsiteX221" fmla="*/ 40433 w 752994"/>
                <a:gd name="connsiteY221" fmla="*/ 406174 h 1333436"/>
                <a:gd name="connsiteX222" fmla="*/ 44720 w 752994"/>
                <a:gd name="connsiteY222" fmla="*/ 399435 h 1333436"/>
                <a:gd name="connsiteX223" fmla="*/ 44110 w 752994"/>
                <a:gd name="connsiteY223" fmla="*/ 389651 h 1333436"/>
                <a:gd name="connsiteX224" fmla="*/ 43894 w 752994"/>
                <a:gd name="connsiteY224" fmla="*/ 378437 h 1333436"/>
                <a:gd name="connsiteX225" fmla="*/ 47158 w 752994"/>
                <a:gd name="connsiteY225" fmla="*/ 371102 h 1333436"/>
                <a:gd name="connsiteX226" fmla="*/ 55731 w 752994"/>
                <a:gd name="connsiteY226" fmla="*/ 360909 h 1333436"/>
                <a:gd name="connsiteX227" fmla="*/ 57580 w 752994"/>
                <a:gd name="connsiteY227" fmla="*/ 355804 h 1333436"/>
                <a:gd name="connsiteX228" fmla="*/ 62673 w 752994"/>
                <a:gd name="connsiteY228" fmla="*/ 349695 h 1333436"/>
                <a:gd name="connsiteX229" fmla="*/ 65937 w 752994"/>
                <a:gd name="connsiteY229" fmla="*/ 348470 h 1333436"/>
                <a:gd name="connsiteX230" fmla="*/ 68395 w 752994"/>
                <a:gd name="connsiteY230" fmla="*/ 348674 h 1333436"/>
                <a:gd name="connsiteX231" fmla="*/ 70224 w 752994"/>
                <a:gd name="connsiteY231" fmla="*/ 347449 h 1333436"/>
                <a:gd name="connsiteX232" fmla="*/ 67785 w 752994"/>
                <a:gd name="connsiteY232" fmla="*/ 345203 h 1333436"/>
                <a:gd name="connsiteX233" fmla="*/ 65524 w 752994"/>
                <a:gd name="connsiteY233" fmla="*/ 343178 h 1333436"/>
                <a:gd name="connsiteX234" fmla="*/ 73095 w 752994"/>
                <a:gd name="connsiteY234" fmla="*/ 333376 h 1333436"/>
                <a:gd name="connsiteX235" fmla="*/ 73291 w 752994"/>
                <a:gd name="connsiteY235" fmla="*/ 333376 h 1333436"/>
                <a:gd name="connsiteX236" fmla="*/ 77991 w 752994"/>
                <a:gd name="connsiteY236" fmla="*/ 325838 h 1333436"/>
                <a:gd name="connsiteX237" fmla="*/ 82671 w 752994"/>
                <a:gd name="connsiteY237" fmla="*/ 313619 h 1333436"/>
                <a:gd name="connsiteX238" fmla="*/ 87980 w 752994"/>
                <a:gd name="connsiteY238" fmla="*/ 303018 h 1333436"/>
                <a:gd name="connsiteX239" fmla="*/ 92267 w 752994"/>
                <a:gd name="connsiteY239" fmla="*/ 291191 h 1333436"/>
                <a:gd name="connsiteX240" fmla="*/ 96553 w 752994"/>
                <a:gd name="connsiteY240" fmla="*/ 281202 h 1333436"/>
                <a:gd name="connsiteX241" fmla="*/ 99621 w 752994"/>
                <a:gd name="connsiteY241" fmla="*/ 274481 h 1333436"/>
                <a:gd name="connsiteX242" fmla="*/ 103082 w 752994"/>
                <a:gd name="connsiteY242" fmla="*/ 262450 h 1333436"/>
                <a:gd name="connsiteX243" fmla="*/ 107172 w 752994"/>
                <a:gd name="connsiteY243" fmla="*/ 254299 h 1333436"/>
                <a:gd name="connsiteX244" fmla="*/ 112481 w 752994"/>
                <a:gd name="connsiteY244" fmla="*/ 243697 h 1333436"/>
                <a:gd name="connsiteX245" fmla="*/ 117181 w 752994"/>
                <a:gd name="connsiteY245" fmla="*/ 232279 h 1333436"/>
                <a:gd name="connsiteX246" fmla="*/ 125951 w 752994"/>
                <a:gd name="connsiteY246" fmla="*/ 217389 h 1333436"/>
                <a:gd name="connsiteX247" fmla="*/ 136156 w 752994"/>
                <a:gd name="connsiteY247" fmla="*/ 202925 h 1333436"/>
                <a:gd name="connsiteX248" fmla="*/ 138811 w 752994"/>
                <a:gd name="connsiteY248" fmla="*/ 183339 h 1333436"/>
                <a:gd name="connsiteX249" fmla="*/ 148801 w 752994"/>
                <a:gd name="connsiteY249" fmla="*/ 167445 h 1333436"/>
                <a:gd name="connsiteX250" fmla="*/ 159616 w 752994"/>
                <a:gd name="connsiteY250" fmla="*/ 170712 h 1333436"/>
                <a:gd name="connsiteX251" fmla="*/ 173105 w 752994"/>
                <a:gd name="connsiteY251" fmla="*/ 175188 h 1333436"/>
                <a:gd name="connsiteX252" fmla="*/ 175347 w 752994"/>
                <a:gd name="connsiteY252" fmla="*/ 175188 h 1333436"/>
                <a:gd name="connsiteX253" fmla="*/ 175347 w 752994"/>
                <a:gd name="connsiteY253" fmla="*/ 173758 h 1333436"/>
                <a:gd name="connsiteX254" fmla="*/ 184975 w 752994"/>
                <a:gd name="connsiteY254" fmla="*/ 187393 h 1333436"/>
                <a:gd name="connsiteX255" fmla="*/ 184762 w 752994"/>
                <a:gd name="connsiteY255" fmla="*/ 184637 h 1333436"/>
                <a:gd name="connsiteX256" fmla="*/ 174971 w 752994"/>
                <a:gd name="connsiteY256" fmla="*/ 170774 h 1333436"/>
                <a:gd name="connsiteX257" fmla="*/ 174971 w 752994"/>
                <a:gd name="connsiteY257" fmla="*/ 169550 h 1333436"/>
                <a:gd name="connsiteX258" fmla="*/ 158851 w 752994"/>
                <a:gd name="connsiteY258" fmla="*/ 156924 h 1333436"/>
                <a:gd name="connsiteX259" fmla="*/ 147025 w 752994"/>
                <a:gd name="connsiteY259" fmla="*/ 145709 h 1333436"/>
                <a:gd name="connsiteX260" fmla="*/ 154364 w 752994"/>
                <a:gd name="connsiteY260" fmla="*/ 136335 h 1333436"/>
                <a:gd name="connsiteX261" fmla="*/ 161511 w 752994"/>
                <a:gd name="connsiteY261" fmla="*/ 131042 h 1333436"/>
                <a:gd name="connsiteX262" fmla="*/ 160902 w 752994"/>
                <a:gd name="connsiteY262" fmla="*/ 128384 h 1333436"/>
                <a:gd name="connsiteX263" fmla="*/ 160277 w 752994"/>
                <a:gd name="connsiteY263" fmla="*/ 127778 h 1333436"/>
                <a:gd name="connsiteX264" fmla="*/ 154973 w 752994"/>
                <a:gd name="connsiteY264" fmla="*/ 122077 h 1333436"/>
                <a:gd name="connsiteX265" fmla="*/ 160277 w 752994"/>
                <a:gd name="connsiteY265" fmla="*/ 115140 h 1333436"/>
                <a:gd name="connsiteX266" fmla="*/ 165181 w 752994"/>
                <a:gd name="connsiteY266" fmla="*/ 108215 h 1333436"/>
                <a:gd name="connsiteX267" fmla="*/ 161303 w 752994"/>
                <a:gd name="connsiteY267" fmla="*/ 104146 h 1333436"/>
                <a:gd name="connsiteX268" fmla="*/ 157842 w 752994"/>
                <a:gd name="connsiteY268" fmla="*/ 104542 h 1333436"/>
                <a:gd name="connsiteX269" fmla="*/ 157024 w 752994"/>
                <a:gd name="connsiteY269" fmla="*/ 102304 h 1333436"/>
                <a:gd name="connsiteX270" fmla="*/ 160694 w 752994"/>
                <a:gd name="connsiteY270" fmla="*/ 55437 h 1333436"/>
                <a:gd name="connsiteX271" fmla="*/ 160486 w 752994"/>
                <a:gd name="connsiteY271" fmla="*/ 31991 h 1333436"/>
                <a:gd name="connsiteX272" fmla="*/ 164972 w 752994"/>
                <a:gd name="connsiteY272" fmla="*/ 18141 h 1333436"/>
                <a:gd name="connsiteX273" fmla="*/ 171911 w 752994"/>
                <a:gd name="connsiteY273" fmla="*/ 11204 h 1333436"/>
                <a:gd name="connsiteX274" fmla="*/ 187406 w 752994"/>
                <a:gd name="connsiteY274" fmla="*/ 21801 h 1333436"/>
                <a:gd name="connsiteX275" fmla="*/ 210866 w 752994"/>
                <a:gd name="connsiteY275" fmla="*/ 37086 h 1333436"/>
                <a:gd name="connsiteX276" fmla="*/ 219230 w 752994"/>
                <a:gd name="connsiteY276" fmla="*/ 41166 h 1333436"/>
                <a:gd name="connsiteX277" fmla="*/ 226778 w 752994"/>
                <a:gd name="connsiteY277" fmla="*/ 47486 h 1333436"/>
                <a:gd name="connsiteX278" fmla="*/ 236152 w 752994"/>
                <a:gd name="connsiteY278" fmla="*/ 52370 h 1333436"/>
                <a:gd name="connsiteX279" fmla="*/ 239629 w 752994"/>
                <a:gd name="connsiteY279" fmla="*/ 58491 h 1333436"/>
                <a:gd name="connsiteX280" fmla="*/ 239629 w 752994"/>
                <a:gd name="connsiteY280" fmla="*/ 63376 h 1333436"/>
                <a:gd name="connsiteX281" fmla="*/ 236568 w 752994"/>
                <a:gd name="connsiteY281" fmla="*/ 67457 h 1333436"/>
                <a:gd name="connsiteX282" fmla="*/ 231264 w 752994"/>
                <a:gd name="connsiteY282" fmla="*/ 69905 h 1333436"/>
                <a:gd name="connsiteX283" fmla="*/ 216778 w 752994"/>
                <a:gd name="connsiteY283" fmla="*/ 82741 h 1333436"/>
                <a:gd name="connsiteX284" fmla="*/ 214134 w 752994"/>
                <a:gd name="connsiteY284" fmla="*/ 93536 h 1333436"/>
                <a:gd name="connsiteX285" fmla="*/ 214535 w 752994"/>
                <a:gd name="connsiteY285" fmla="*/ 96801 h 1333436"/>
                <a:gd name="connsiteX286" fmla="*/ 216378 w 752994"/>
                <a:gd name="connsiteY286" fmla="*/ 96801 h 1333436"/>
                <a:gd name="connsiteX287" fmla="*/ 230046 w 752994"/>
                <a:gd name="connsiteY287" fmla="*/ 85387 h 1333436"/>
                <a:gd name="connsiteX288" fmla="*/ 243298 w 752994"/>
                <a:gd name="connsiteY288" fmla="*/ 75198 h 1333436"/>
                <a:gd name="connsiteX289" fmla="*/ 246760 w 752994"/>
                <a:gd name="connsiteY289" fmla="*/ 77646 h 1333436"/>
                <a:gd name="connsiteX290" fmla="*/ 255541 w 752994"/>
                <a:gd name="connsiteY290" fmla="*/ 63376 h 1333436"/>
                <a:gd name="connsiteX291" fmla="*/ 259611 w 752994"/>
                <a:gd name="connsiteY291" fmla="*/ 43405 h 1333436"/>
                <a:gd name="connsiteX292" fmla="*/ 256967 w 752994"/>
                <a:gd name="connsiteY292" fmla="*/ 38520 h 1333436"/>
                <a:gd name="connsiteX293" fmla="*/ 253906 w 752994"/>
                <a:gd name="connsiteY293" fmla="*/ 34242 h 1333436"/>
                <a:gd name="connsiteX294" fmla="*/ 256967 w 752994"/>
                <a:gd name="connsiteY294" fmla="*/ 30161 h 1333436"/>
                <a:gd name="connsiteX295" fmla="*/ 262063 w 752994"/>
                <a:gd name="connsiteY295" fmla="*/ 27712 h 1333436"/>
                <a:gd name="connsiteX296" fmla="*/ 264915 w 752994"/>
                <a:gd name="connsiteY296" fmla="*/ 23026 h 1333436"/>
                <a:gd name="connsiteX297" fmla="*/ 267976 w 752994"/>
                <a:gd name="connsiteY297" fmla="*/ 22618 h 1333436"/>
                <a:gd name="connsiteX298" fmla="*/ 270427 w 752994"/>
                <a:gd name="connsiteY298" fmla="*/ 20787 h 1333436"/>
                <a:gd name="connsiteX299" fmla="*/ 263088 w 752994"/>
                <a:gd name="connsiteY299" fmla="*/ 13652 h 1333436"/>
                <a:gd name="connsiteX300" fmla="*/ 255541 w 752994"/>
                <a:gd name="connsiteY300" fmla="*/ 3055 h 1333436"/>
                <a:gd name="connsiteX301" fmla="*/ 256358 w 752994"/>
                <a:gd name="connsiteY301" fmla="*/ 1224 h 1333436"/>
                <a:gd name="connsiteX302" fmla="*/ 257159 w 752994"/>
                <a:gd name="connsiteY302"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17192 w 752994"/>
                <a:gd name="connsiteY6" fmla="*/ 232075 h 1333436"/>
                <a:gd name="connsiteX7" fmla="*/ 188223 w 752994"/>
                <a:gd name="connsiteY7" fmla="*/ 223973 h 1333436"/>
                <a:gd name="connsiteX8" fmla="*/ 185163 w 752994"/>
                <a:gd name="connsiteY8" fmla="*/ 219484 h 1333436"/>
                <a:gd name="connsiteX9" fmla="*/ 184180 w 752994"/>
                <a:gd name="connsiteY9" fmla="*/ 213866 h 1333436"/>
                <a:gd name="connsiteX10" fmla="*/ 257159 w 752994"/>
                <a:gd name="connsiteY10" fmla="*/ 0 h 1333436"/>
                <a:gd name="connsiteX11" fmla="*/ 493147 w 752994"/>
                <a:gd name="connsiteY11" fmla="*/ 73157 h 1333436"/>
                <a:gd name="connsiteX12" fmla="*/ 492970 w 752994"/>
                <a:gd name="connsiteY12" fmla="*/ 73792 h 1333436"/>
                <a:gd name="connsiteX13" fmla="*/ 525816 w 752994"/>
                <a:gd name="connsiteY13" fmla="*/ 82491 h 1333436"/>
                <a:gd name="connsiteX14" fmla="*/ 520098 w 752994"/>
                <a:gd name="connsiteY14" fmla="*/ 111245 h 1333436"/>
                <a:gd name="connsiteX15" fmla="*/ 512552 w 752994"/>
                <a:gd name="connsiteY15" fmla="*/ 143854 h 1333436"/>
                <a:gd name="connsiteX16" fmla="*/ 517849 w 752994"/>
                <a:gd name="connsiteY16" fmla="*/ 157740 h 1333436"/>
                <a:gd name="connsiteX17" fmla="*/ 523160 w 752994"/>
                <a:gd name="connsiteY17" fmla="*/ 172009 h 1333436"/>
                <a:gd name="connsiteX18" fmla="*/ 521535 w 752994"/>
                <a:gd name="connsiteY18" fmla="*/ 178928 h 1333436"/>
                <a:gd name="connsiteX19" fmla="*/ 520098 w 752994"/>
                <a:gd name="connsiteY19" fmla="*/ 186279 h 1333436"/>
                <a:gd name="connsiteX20" fmla="*/ 526019 w 752994"/>
                <a:gd name="connsiteY20" fmla="*/ 193629 h 1333436"/>
                <a:gd name="connsiteX21" fmla="*/ 537251 w 752994"/>
                <a:gd name="connsiteY21" fmla="*/ 206270 h 1333436"/>
                <a:gd name="connsiteX22" fmla="*/ 542765 w 752994"/>
                <a:gd name="connsiteY22" fmla="*/ 217475 h 1333436"/>
                <a:gd name="connsiteX23" fmla="*/ 546857 w 752994"/>
                <a:gd name="connsiteY23" fmla="*/ 230930 h 1333436"/>
                <a:gd name="connsiteX24" fmla="*/ 549499 w 752994"/>
                <a:gd name="connsiteY24" fmla="*/ 235622 h 1333436"/>
                <a:gd name="connsiteX25" fmla="*/ 553388 w 752994"/>
                <a:gd name="connsiteY25" fmla="*/ 240722 h 1333436"/>
                <a:gd name="connsiteX26" fmla="*/ 557465 w 752994"/>
                <a:gd name="connsiteY26" fmla="*/ 246037 h 1333436"/>
                <a:gd name="connsiteX27" fmla="*/ 561761 w 752994"/>
                <a:gd name="connsiteY27" fmla="*/ 248671 h 1333436"/>
                <a:gd name="connsiteX28" fmla="*/ 567478 w 752994"/>
                <a:gd name="connsiteY28" fmla="*/ 247665 h 1333436"/>
                <a:gd name="connsiteX29" fmla="*/ 569931 w 752994"/>
                <a:gd name="connsiteY29" fmla="*/ 249293 h 1333436"/>
                <a:gd name="connsiteX30" fmla="*/ 570540 w 752994"/>
                <a:gd name="connsiteY30" fmla="*/ 251951 h 1333436"/>
                <a:gd name="connsiteX31" fmla="*/ 561964 w 752994"/>
                <a:gd name="connsiteY31" fmla="*/ 267656 h 1333436"/>
                <a:gd name="connsiteX32" fmla="*/ 553591 w 752994"/>
                <a:gd name="connsiteY32" fmla="*/ 289659 h 1333436"/>
                <a:gd name="connsiteX33" fmla="*/ 554810 w 752994"/>
                <a:gd name="connsiteY33" fmla="*/ 292939 h 1333436"/>
                <a:gd name="connsiteX34" fmla="*/ 556246 w 752994"/>
                <a:gd name="connsiteY34" fmla="*/ 299260 h 1333436"/>
                <a:gd name="connsiteX35" fmla="*/ 552778 w 752994"/>
                <a:gd name="connsiteY35" fmla="*/ 301917 h 1333436"/>
                <a:gd name="connsiteX36" fmla="*/ 549295 w 752994"/>
                <a:gd name="connsiteY36" fmla="*/ 306993 h 1333436"/>
                <a:gd name="connsiteX37" fmla="*/ 547061 w 752994"/>
                <a:gd name="connsiteY37" fmla="*/ 313122 h 1333436"/>
                <a:gd name="connsiteX38" fmla="*/ 544811 w 752994"/>
                <a:gd name="connsiteY38" fmla="*/ 316593 h 1333436"/>
                <a:gd name="connsiteX39" fmla="*/ 549919 w 752994"/>
                <a:gd name="connsiteY39" fmla="*/ 322698 h 1333436"/>
                <a:gd name="connsiteX40" fmla="*/ 553184 w 752994"/>
                <a:gd name="connsiteY40" fmla="*/ 325955 h 1333436"/>
                <a:gd name="connsiteX41" fmla="*/ 555840 w 752994"/>
                <a:gd name="connsiteY41" fmla="*/ 328205 h 1333436"/>
                <a:gd name="connsiteX42" fmla="*/ 574212 w 752994"/>
                <a:gd name="connsiteY42" fmla="*/ 318820 h 1333436"/>
                <a:gd name="connsiteX43" fmla="*/ 579523 w 752994"/>
                <a:gd name="connsiteY43" fmla="*/ 326577 h 1333436"/>
                <a:gd name="connsiteX44" fmla="*/ 580539 w 752994"/>
                <a:gd name="connsiteY44" fmla="*/ 334933 h 1333436"/>
                <a:gd name="connsiteX45" fmla="*/ 579726 w 752994"/>
                <a:gd name="connsiteY45" fmla="*/ 343097 h 1333436"/>
                <a:gd name="connsiteX46" fmla="*/ 581366 w 752994"/>
                <a:gd name="connsiteY46" fmla="*/ 350231 h 1333436"/>
                <a:gd name="connsiteX47" fmla="*/ 586256 w 752994"/>
                <a:gd name="connsiteY47" fmla="*/ 355930 h 1333436"/>
                <a:gd name="connsiteX48" fmla="*/ 589536 w 752994"/>
                <a:gd name="connsiteY48" fmla="*/ 362059 h 1333436"/>
                <a:gd name="connsiteX49" fmla="*/ 588099 w 752994"/>
                <a:gd name="connsiteY49" fmla="*/ 369600 h 1333436"/>
                <a:gd name="connsiteX50" fmla="*/ 586459 w 752994"/>
                <a:gd name="connsiteY50" fmla="*/ 377357 h 1333436"/>
                <a:gd name="connsiteX51" fmla="*/ 588709 w 752994"/>
                <a:gd name="connsiteY51" fmla="*/ 381835 h 1333436"/>
                <a:gd name="connsiteX52" fmla="*/ 595036 w 752994"/>
                <a:gd name="connsiteY52" fmla="*/ 382457 h 1333436"/>
                <a:gd name="connsiteX53" fmla="*/ 599331 w 752994"/>
                <a:gd name="connsiteY53" fmla="*/ 385306 h 1333436"/>
                <a:gd name="connsiteX54" fmla="*/ 601987 w 752994"/>
                <a:gd name="connsiteY54" fmla="*/ 391004 h 1333436"/>
                <a:gd name="connsiteX55" fmla="*/ 602799 w 752994"/>
                <a:gd name="connsiteY55" fmla="*/ 404076 h 1333436"/>
                <a:gd name="connsiteX56" fmla="*/ 606892 w 752994"/>
                <a:gd name="connsiteY56" fmla="*/ 415688 h 1333436"/>
                <a:gd name="connsiteX57" fmla="*/ 610563 w 752994"/>
                <a:gd name="connsiteY57" fmla="*/ 412217 h 1333436"/>
                <a:gd name="connsiteX58" fmla="*/ 617920 w 752994"/>
                <a:gd name="connsiteY58" fmla="*/ 408769 h 1333436"/>
                <a:gd name="connsiteX59" fmla="*/ 624654 w 752994"/>
                <a:gd name="connsiteY59" fmla="*/ 411211 h 1333436"/>
                <a:gd name="connsiteX60" fmla="*/ 634652 w 752994"/>
                <a:gd name="connsiteY60" fmla="*/ 410182 h 1333436"/>
                <a:gd name="connsiteX61" fmla="*/ 640573 w 752994"/>
                <a:gd name="connsiteY61" fmla="*/ 407739 h 1333436"/>
                <a:gd name="connsiteX62" fmla="*/ 646711 w 752994"/>
                <a:gd name="connsiteY62" fmla="*/ 410589 h 1333436"/>
                <a:gd name="connsiteX63" fmla="*/ 650383 w 752994"/>
                <a:gd name="connsiteY63" fmla="*/ 410589 h 1333436"/>
                <a:gd name="connsiteX64" fmla="*/ 654257 w 752994"/>
                <a:gd name="connsiteY64" fmla="*/ 411618 h 1333436"/>
                <a:gd name="connsiteX65" fmla="*/ 656913 w 752994"/>
                <a:gd name="connsiteY65" fmla="*/ 413653 h 1333436"/>
                <a:gd name="connsiteX66" fmla="*/ 660802 w 752994"/>
                <a:gd name="connsiteY66" fmla="*/ 415090 h 1333436"/>
                <a:gd name="connsiteX67" fmla="*/ 669581 w 752994"/>
                <a:gd name="connsiteY67" fmla="*/ 415904 h 1333436"/>
                <a:gd name="connsiteX68" fmla="*/ 672237 w 752994"/>
                <a:gd name="connsiteY68" fmla="*/ 415688 h 1333436"/>
                <a:gd name="connsiteX69" fmla="*/ 675705 w 752994"/>
                <a:gd name="connsiteY69" fmla="*/ 409367 h 1333436"/>
                <a:gd name="connsiteX70" fmla="*/ 679986 w 752994"/>
                <a:gd name="connsiteY70" fmla="*/ 403238 h 1333436"/>
                <a:gd name="connsiteX71" fmla="*/ 693264 w 752994"/>
                <a:gd name="connsiteY71" fmla="*/ 419567 h 1333436"/>
                <a:gd name="connsiteX72" fmla="*/ 688563 w 752994"/>
                <a:gd name="connsiteY72" fmla="*/ 448321 h 1333436"/>
                <a:gd name="connsiteX73" fmla="*/ 663949 w 752994"/>
                <a:gd name="connsiteY73" fmla="*/ 590165 h 1333436"/>
                <a:gd name="connsiteX74" fmla="*/ 666304 w 752994"/>
                <a:gd name="connsiteY74" fmla="*/ 590504 h 1333436"/>
                <a:gd name="connsiteX75" fmla="*/ 655288 w 752994"/>
                <a:gd name="connsiteY75" fmla="*/ 656178 h 1333436"/>
                <a:gd name="connsiteX76" fmla="*/ 681808 w 752994"/>
                <a:gd name="connsiteY76" fmla="*/ 662301 h 1333436"/>
                <a:gd name="connsiteX77" fmla="*/ 752994 w 752994"/>
                <a:gd name="connsiteY77" fmla="*/ 675560 h 1333436"/>
                <a:gd name="connsiteX78" fmla="*/ 714651 w 752994"/>
                <a:gd name="connsiteY78" fmla="*/ 946985 h 1333436"/>
                <a:gd name="connsiteX79" fmla="*/ 654533 w 752994"/>
                <a:gd name="connsiteY79" fmla="*/ 1333436 h 1333436"/>
                <a:gd name="connsiteX80" fmla="*/ 546831 w 752994"/>
                <a:gd name="connsiteY80" fmla="*/ 1317126 h 1333436"/>
                <a:gd name="connsiteX81" fmla="*/ 351227 w 752994"/>
                <a:gd name="connsiteY81" fmla="*/ 1194172 h 1333436"/>
                <a:gd name="connsiteX82" fmla="*/ 361011 w 752994"/>
                <a:gd name="connsiteY82" fmla="*/ 1182755 h 1333436"/>
                <a:gd name="connsiteX83" fmla="*/ 368981 w 752994"/>
                <a:gd name="connsiteY83" fmla="*/ 1182130 h 1333436"/>
                <a:gd name="connsiteX84" fmla="*/ 369571 w 752994"/>
                <a:gd name="connsiteY84" fmla="*/ 1181558 h 1333436"/>
                <a:gd name="connsiteX85" fmla="*/ 362372 w 752994"/>
                <a:gd name="connsiteY85" fmla="*/ 1182120 h 1333436"/>
                <a:gd name="connsiteX86" fmla="*/ 229464 w 752994"/>
                <a:gd name="connsiteY86" fmla="*/ 1161721 h 1333436"/>
                <a:gd name="connsiteX87" fmla="*/ 227427 w 752994"/>
                <a:gd name="connsiteY87" fmla="*/ 1157269 h 1333436"/>
                <a:gd name="connsiteX88" fmla="*/ 224967 w 752994"/>
                <a:gd name="connsiteY88" fmla="*/ 1152575 h 1333436"/>
                <a:gd name="connsiteX89" fmla="*/ 225582 w 752994"/>
                <a:gd name="connsiteY89" fmla="*/ 1144808 h 1333436"/>
                <a:gd name="connsiteX90" fmla="*/ 227215 w 752994"/>
                <a:gd name="connsiteY90" fmla="*/ 1135834 h 1333436"/>
                <a:gd name="connsiteX91" fmla="*/ 227215 w 752994"/>
                <a:gd name="connsiteY91" fmla="*/ 1134212 h 1333436"/>
                <a:gd name="connsiteX92" fmla="*/ 225179 w 752994"/>
                <a:gd name="connsiteY92" fmla="*/ 1114020 h 1333436"/>
                <a:gd name="connsiteX93" fmla="*/ 217839 w 752994"/>
                <a:gd name="connsiteY93" fmla="*/ 1100352 h 1333436"/>
                <a:gd name="connsiteX94" fmla="*/ 199661 w 752994"/>
                <a:gd name="connsiteY94" fmla="*/ 1076502 h 1333436"/>
                <a:gd name="connsiteX95" fmla="*/ 196395 w 752994"/>
                <a:gd name="connsiteY95" fmla="*/ 1071807 h 1333436"/>
                <a:gd name="connsiteX96" fmla="*/ 190880 w 752994"/>
                <a:gd name="connsiteY96" fmla="*/ 1067527 h 1333436"/>
                <a:gd name="connsiteX97" fmla="*/ 187210 w 752994"/>
                <a:gd name="connsiteY97" fmla="*/ 1068735 h 1333436"/>
                <a:gd name="connsiteX98" fmla="*/ 180062 w 752994"/>
                <a:gd name="connsiteY98" fmla="*/ 1066699 h 1333436"/>
                <a:gd name="connsiteX99" fmla="*/ 180466 w 752994"/>
                <a:gd name="connsiteY99" fmla="*/ 1053031 h 1333436"/>
                <a:gd name="connsiteX100" fmla="*/ 180062 w 752994"/>
                <a:gd name="connsiteY100" fmla="*/ 1045299 h 1333436"/>
                <a:gd name="connsiteX101" fmla="*/ 174144 w 752994"/>
                <a:gd name="connsiteY101" fmla="*/ 1044057 h 1333436"/>
                <a:gd name="connsiteX102" fmla="*/ 158426 w 752994"/>
                <a:gd name="connsiteY102" fmla="*/ 1042641 h 1333436"/>
                <a:gd name="connsiteX103" fmla="*/ 149857 w 752994"/>
                <a:gd name="connsiteY103" fmla="*/ 1035497 h 1333436"/>
                <a:gd name="connsiteX104" fmla="*/ 142497 w 752994"/>
                <a:gd name="connsiteY104" fmla="*/ 1028766 h 1333436"/>
                <a:gd name="connsiteX105" fmla="*/ 140864 w 752994"/>
                <a:gd name="connsiteY105" fmla="*/ 1020620 h 1333436"/>
                <a:gd name="connsiteX106" fmla="*/ 138212 w 752994"/>
                <a:gd name="connsiteY106" fmla="*/ 1013061 h 1333436"/>
                <a:gd name="connsiteX107" fmla="*/ 131064 w 752994"/>
                <a:gd name="connsiteY107" fmla="*/ 1007159 h 1333436"/>
                <a:gd name="connsiteX108" fmla="*/ 121264 w 752994"/>
                <a:gd name="connsiteY108" fmla="*/ 1005330 h 1333436"/>
                <a:gd name="connsiteX109" fmla="*/ 112483 w 752994"/>
                <a:gd name="connsiteY109" fmla="*/ 1001671 h 1333436"/>
                <a:gd name="connsiteX110" fmla="*/ 105950 w 752994"/>
                <a:gd name="connsiteY110" fmla="*/ 995734 h 1333436"/>
                <a:gd name="connsiteX111" fmla="*/ 97380 w 752994"/>
                <a:gd name="connsiteY111" fmla="*/ 994526 h 1333436"/>
                <a:gd name="connsiteX112" fmla="*/ 87984 w 752994"/>
                <a:gd name="connsiteY112" fmla="*/ 991040 h 1333436"/>
                <a:gd name="connsiteX113" fmla="*/ 80029 w 752994"/>
                <a:gd name="connsiteY113" fmla="*/ 985138 h 1333436"/>
                <a:gd name="connsiteX114" fmla="*/ 77166 w 752994"/>
                <a:gd name="connsiteY114" fmla="*/ 976164 h 1333436"/>
                <a:gd name="connsiteX115" fmla="*/ 79203 w 752994"/>
                <a:gd name="connsiteY115" fmla="*/ 970676 h 1333436"/>
                <a:gd name="connsiteX116" fmla="*/ 82470 w 752994"/>
                <a:gd name="connsiteY116" fmla="*/ 963117 h 1333436"/>
                <a:gd name="connsiteX117" fmla="*/ 84314 w 752994"/>
                <a:gd name="connsiteY117" fmla="*/ 954557 h 1333436"/>
                <a:gd name="connsiteX118" fmla="*/ 86351 w 752994"/>
                <a:gd name="connsiteY118" fmla="*/ 948033 h 1333436"/>
                <a:gd name="connsiteX119" fmla="*/ 86159 w 752994"/>
                <a:gd name="connsiteY119" fmla="*/ 942925 h 1333436"/>
                <a:gd name="connsiteX120" fmla="*/ 83085 w 752994"/>
                <a:gd name="connsiteY120" fmla="*/ 939853 h 1333436"/>
                <a:gd name="connsiteX121" fmla="*/ 77570 w 752994"/>
                <a:gd name="connsiteY121" fmla="*/ 937437 h 1333436"/>
                <a:gd name="connsiteX122" fmla="*/ 76763 w 752994"/>
                <a:gd name="connsiteY122" fmla="*/ 931915 h 1333436"/>
                <a:gd name="connsiteX123" fmla="*/ 78800 w 752994"/>
                <a:gd name="connsiteY123" fmla="*/ 927013 h 1333436"/>
                <a:gd name="connsiteX124" fmla="*/ 79626 w 752994"/>
                <a:gd name="connsiteY124" fmla="*/ 922526 h 1333436"/>
                <a:gd name="connsiteX125" fmla="*/ 77781 w 752994"/>
                <a:gd name="connsiteY125" fmla="*/ 919903 h 1333436"/>
                <a:gd name="connsiteX126" fmla="*/ 74303 w 752994"/>
                <a:gd name="connsiteY126" fmla="*/ 917418 h 1333436"/>
                <a:gd name="connsiteX127" fmla="*/ 71863 w 752994"/>
                <a:gd name="connsiteY127" fmla="*/ 915174 h 1333436"/>
                <a:gd name="connsiteX128" fmla="*/ 71652 w 752994"/>
                <a:gd name="connsiteY128" fmla="*/ 910894 h 1333436"/>
                <a:gd name="connsiteX129" fmla="*/ 70633 w 752994"/>
                <a:gd name="connsiteY129" fmla="*/ 906614 h 1333436"/>
                <a:gd name="connsiteX130" fmla="*/ 68385 w 752994"/>
                <a:gd name="connsiteY130" fmla="*/ 902749 h 1333436"/>
                <a:gd name="connsiteX131" fmla="*/ 61045 w 752994"/>
                <a:gd name="connsiteY131" fmla="*/ 889494 h 1333436"/>
                <a:gd name="connsiteX132" fmla="*/ 57971 w 752994"/>
                <a:gd name="connsiteY132" fmla="*/ 875619 h 1333436"/>
                <a:gd name="connsiteX133" fmla="*/ 52264 w 752994"/>
                <a:gd name="connsiteY133" fmla="*/ 862572 h 1333436"/>
                <a:gd name="connsiteX134" fmla="*/ 44309 w 752994"/>
                <a:gd name="connsiteY134" fmla="*/ 850561 h 1333436"/>
                <a:gd name="connsiteX135" fmla="*/ 45520 w 752994"/>
                <a:gd name="connsiteY135" fmla="*/ 827090 h 1333436"/>
                <a:gd name="connsiteX136" fmla="*/ 53071 w 752994"/>
                <a:gd name="connsiteY136" fmla="*/ 822396 h 1333436"/>
                <a:gd name="connsiteX137" fmla="*/ 57375 w 752994"/>
                <a:gd name="connsiteY137" fmla="*/ 816493 h 1333436"/>
                <a:gd name="connsiteX138" fmla="*/ 55319 w 752994"/>
                <a:gd name="connsiteY138" fmla="*/ 801617 h 1333436"/>
                <a:gd name="connsiteX139" fmla="*/ 48383 w 752994"/>
                <a:gd name="connsiteY139" fmla="*/ 802204 h 1333436"/>
                <a:gd name="connsiteX140" fmla="*/ 40428 w 752994"/>
                <a:gd name="connsiteY140" fmla="*/ 797924 h 1333436"/>
                <a:gd name="connsiteX141" fmla="*/ 37565 w 752994"/>
                <a:gd name="connsiteY141" fmla="*/ 790606 h 1333436"/>
                <a:gd name="connsiteX142" fmla="*/ 37565 w 752994"/>
                <a:gd name="connsiteY142" fmla="*/ 790399 h 1333436"/>
                <a:gd name="connsiteX143" fmla="*/ 35931 w 752994"/>
                <a:gd name="connsiteY143" fmla="*/ 785912 h 1333436"/>
                <a:gd name="connsiteX144" fmla="*/ 34510 w 752994"/>
                <a:gd name="connsiteY144" fmla="*/ 780597 h 1333436"/>
                <a:gd name="connsiteX145" fmla="*/ 36335 w 752994"/>
                <a:gd name="connsiteY145" fmla="*/ 774280 h 1333436"/>
                <a:gd name="connsiteX146" fmla="*/ 38180 w 752994"/>
                <a:gd name="connsiteY146" fmla="*/ 766721 h 1333436"/>
                <a:gd name="connsiteX147" fmla="*/ 37161 w 752994"/>
                <a:gd name="connsiteY147" fmla="*/ 760405 h 1333436"/>
                <a:gd name="connsiteX148" fmla="*/ 35720 w 752994"/>
                <a:gd name="connsiteY148" fmla="*/ 754710 h 1333436"/>
                <a:gd name="connsiteX149" fmla="*/ 36546 w 752994"/>
                <a:gd name="connsiteY149" fmla="*/ 748773 h 1333436"/>
                <a:gd name="connsiteX150" fmla="*/ 38372 w 752994"/>
                <a:gd name="connsiteY150" fmla="*/ 744528 h 1333436"/>
                <a:gd name="connsiteX151" fmla="*/ 41638 w 752994"/>
                <a:gd name="connsiteY151" fmla="*/ 744321 h 1333436"/>
                <a:gd name="connsiteX152" fmla="*/ 44713 w 752994"/>
                <a:gd name="connsiteY152" fmla="*/ 746357 h 1333436"/>
                <a:gd name="connsiteX153" fmla="*/ 47364 w 752994"/>
                <a:gd name="connsiteY153" fmla="*/ 753260 h 1333436"/>
                <a:gd name="connsiteX154" fmla="*/ 55742 w 752994"/>
                <a:gd name="connsiteY154" fmla="*/ 764305 h 1333436"/>
                <a:gd name="connsiteX155" fmla="*/ 56338 w 752994"/>
                <a:gd name="connsiteY155" fmla="*/ 761233 h 1333436"/>
                <a:gd name="connsiteX156" fmla="*/ 56145 w 752994"/>
                <a:gd name="connsiteY156" fmla="*/ 757368 h 1333436"/>
                <a:gd name="connsiteX157" fmla="*/ 54916 w 752994"/>
                <a:gd name="connsiteY157" fmla="*/ 748601 h 1333436"/>
                <a:gd name="connsiteX158" fmla="*/ 52879 w 752994"/>
                <a:gd name="connsiteY158" fmla="*/ 747358 h 1333436"/>
                <a:gd name="connsiteX159" fmla="*/ 51649 w 752994"/>
                <a:gd name="connsiteY159" fmla="*/ 745322 h 1333436"/>
                <a:gd name="connsiteX160" fmla="*/ 51649 w 752994"/>
                <a:gd name="connsiteY160" fmla="*/ 739212 h 1333436"/>
                <a:gd name="connsiteX161" fmla="*/ 50227 w 752994"/>
                <a:gd name="connsiteY161" fmla="*/ 734725 h 1333436"/>
                <a:gd name="connsiteX162" fmla="*/ 48786 w 752994"/>
                <a:gd name="connsiteY162" fmla="*/ 731446 h 1333436"/>
                <a:gd name="connsiteX163" fmla="*/ 54512 w 752994"/>
                <a:gd name="connsiteY163" fmla="*/ 726372 h 1333436"/>
                <a:gd name="connsiteX164" fmla="*/ 59815 w 752994"/>
                <a:gd name="connsiteY164" fmla="*/ 725130 h 1333436"/>
                <a:gd name="connsiteX165" fmla="*/ 58182 w 752994"/>
                <a:gd name="connsiteY165" fmla="*/ 722886 h 1333436"/>
                <a:gd name="connsiteX166" fmla="*/ 51861 w 752994"/>
                <a:gd name="connsiteY166" fmla="*/ 717985 h 1333436"/>
                <a:gd name="connsiteX167" fmla="*/ 46749 w 752994"/>
                <a:gd name="connsiteY167" fmla="*/ 729617 h 1333436"/>
                <a:gd name="connsiteX168" fmla="*/ 40831 w 752994"/>
                <a:gd name="connsiteY168" fmla="*/ 739212 h 1333436"/>
                <a:gd name="connsiteX169" fmla="*/ 39601 w 752994"/>
                <a:gd name="connsiteY169" fmla="*/ 738798 h 1333436"/>
                <a:gd name="connsiteX170" fmla="*/ 39409 w 752994"/>
                <a:gd name="connsiteY170" fmla="*/ 738591 h 1333436"/>
                <a:gd name="connsiteX171" fmla="*/ 37161 w 752994"/>
                <a:gd name="connsiteY171" fmla="*/ 734725 h 1333436"/>
                <a:gd name="connsiteX172" fmla="*/ 32665 w 752994"/>
                <a:gd name="connsiteY172" fmla="*/ 727788 h 1333436"/>
                <a:gd name="connsiteX173" fmla="*/ 26747 w 752994"/>
                <a:gd name="connsiteY173" fmla="*/ 719435 h 1333436"/>
                <a:gd name="connsiteX174" fmla="*/ 23884 w 752994"/>
                <a:gd name="connsiteY174" fmla="*/ 717812 h 1333436"/>
                <a:gd name="connsiteX175" fmla="*/ 24710 w 752994"/>
                <a:gd name="connsiteY175" fmla="*/ 709632 h 1333436"/>
                <a:gd name="connsiteX176" fmla="*/ 27554 w 752994"/>
                <a:gd name="connsiteY176" fmla="*/ 701694 h 1333436"/>
                <a:gd name="connsiteX177" fmla="*/ 24902 w 752994"/>
                <a:gd name="connsiteY177" fmla="*/ 696171 h 1333436"/>
                <a:gd name="connsiteX178" fmla="*/ 24095 w 752994"/>
                <a:gd name="connsiteY178" fmla="*/ 687818 h 1333436"/>
                <a:gd name="connsiteX179" fmla="*/ 22462 w 752994"/>
                <a:gd name="connsiteY179" fmla="*/ 682330 h 1333436"/>
                <a:gd name="connsiteX180" fmla="*/ 17159 w 752994"/>
                <a:gd name="connsiteY180" fmla="*/ 677636 h 1333436"/>
                <a:gd name="connsiteX181" fmla="*/ 14296 w 752994"/>
                <a:gd name="connsiteY181" fmla="*/ 671492 h 1333436"/>
                <a:gd name="connsiteX182" fmla="*/ 12451 w 752994"/>
                <a:gd name="connsiteY182" fmla="*/ 665797 h 1333436"/>
                <a:gd name="connsiteX183" fmla="*/ 5111 w 752994"/>
                <a:gd name="connsiteY183" fmla="*/ 654994 h 1333436"/>
                <a:gd name="connsiteX184" fmla="*/ 2248 w 752994"/>
                <a:gd name="connsiteY184" fmla="*/ 645605 h 1333436"/>
                <a:gd name="connsiteX185" fmla="*/ 4496 w 752994"/>
                <a:gd name="connsiteY185" fmla="*/ 640497 h 1333436"/>
                <a:gd name="connsiteX186" fmla="*/ 6744 w 752994"/>
                <a:gd name="connsiteY186" fmla="*/ 632765 h 1333436"/>
                <a:gd name="connsiteX187" fmla="*/ 6744 w 752994"/>
                <a:gd name="connsiteY187" fmla="*/ 628485 h 1333436"/>
                <a:gd name="connsiteX188" fmla="*/ 6533 w 752994"/>
                <a:gd name="connsiteY188" fmla="*/ 620305 h 1333436"/>
                <a:gd name="connsiteX189" fmla="*/ 7359 w 752994"/>
                <a:gd name="connsiteY189" fmla="*/ 611745 h 1333436"/>
                <a:gd name="connsiteX190" fmla="*/ 11836 w 752994"/>
                <a:gd name="connsiteY190" fmla="*/ 602978 h 1333436"/>
                <a:gd name="connsiteX191" fmla="*/ 15103 w 752994"/>
                <a:gd name="connsiteY191" fmla="*/ 591760 h 1333436"/>
                <a:gd name="connsiteX192" fmla="*/ 14488 w 752994"/>
                <a:gd name="connsiteY192" fmla="*/ 584029 h 1333436"/>
                <a:gd name="connsiteX193" fmla="*/ 13873 w 752994"/>
                <a:gd name="connsiteY193" fmla="*/ 578299 h 1333436"/>
                <a:gd name="connsiteX194" fmla="*/ 10626 w 752994"/>
                <a:gd name="connsiteY194" fmla="*/ 568531 h 1333436"/>
                <a:gd name="connsiteX195" fmla="*/ 3670 w 752994"/>
                <a:gd name="connsiteY195" fmla="*/ 558107 h 1333436"/>
                <a:gd name="connsiteX196" fmla="*/ 0 w 752994"/>
                <a:gd name="connsiteY196" fmla="*/ 551377 h 1333436"/>
                <a:gd name="connsiteX197" fmla="*/ 0 w 752994"/>
                <a:gd name="connsiteY197" fmla="*/ 550997 h 1333436"/>
                <a:gd name="connsiteX198" fmla="*/ 4900 w 752994"/>
                <a:gd name="connsiteY198" fmla="*/ 531220 h 1333436"/>
                <a:gd name="connsiteX199" fmla="*/ 13873 w 752994"/>
                <a:gd name="connsiteY199" fmla="*/ 520589 h 1333436"/>
                <a:gd name="connsiteX200" fmla="*/ 18369 w 752994"/>
                <a:gd name="connsiteY200" fmla="*/ 516516 h 1333436"/>
                <a:gd name="connsiteX201" fmla="*/ 18773 w 752994"/>
                <a:gd name="connsiteY201" fmla="*/ 514272 h 1333436"/>
                <a:gd name="connsiteX202" fmla="*/ 23077 w 752994"/>
                <a:gd name="connsiteY202" fmla="*/ 506127 h 1333436"/>
                <a:gd name="connsiteX203" fmla="*/ 23884 w 752994"/>
                <a:gd name="connsiteY203" fmla="*/ 502261 h 1333436"/>
                <a:gd name="connsiteX204" fmla="*/ 23692 w 752994"/>
                <a:gd name="connsiteY204" fmla="*/ 496738 h 1333436"/>
                <a:gd name="connsiteX205" fmla="*/ 30013 w 752994"/>
                <a:gd name="connsiteY205" fmla="*/ 486556 h 1333436"/>
                <a:gd name="connsiteX206" fmla="*/ 36546 w 752994"/>
                <a:gd name="connsiteY206" fmla="*/ 470230 h 1333436"/>
                <a:gd name="connsiteX207" fmla="*/ 36546 w 752994"/>
                <a:gd name="connsiteY207" fmla="*/ 462671 h 1333436"/>
                <a:gd name="connsiteX208" fmla="*/ 36335 w 752994"/>
                <a:gd name="connsiteY208" fmla="*/ 461670 h 1333436"/>
                <a:gd name="connsiteX209" fmla="*/ 35931 w 752994"/>
                <a:gd name="connsiteY209" fmla="*/ 453110 h 1333436"/>
                <a:gd name="connsiteX210" fmla="*/ 38583 w 752994"/>
                <a:gd name="connsiteY210" fmla="*/ 442514 h 1333436"/>
                <a:gd name="connsiteX211" fmla="*/ 41043 w 752994"/>
                <a:gd name="connsiteY211" fmla="*/ 436991 h 1333436"/>
                <a:gd name="connsiteX212" fmla="*/ 41650 w 752994"/>
                <a:gd name="connsiteY212" fmla="*/ 437186 h 1333436"/>
                <a:gd name="connsiteX213" fmla="*/ 41239 w 752994"/>
                <a:gd name="connsiteY213" fmla="*/ 436549 h 1333436"/>
                <a:gd name="connsiteX214" fmla="*/ 37778 w 752994"/>
                <a:gd name="connsiteY214" fmla="*/ 433894 h 1333436"/>
                <a:gd name="connsiteX215" fmla="*/ 37169 w 752994"/>
                <a:gd name="connsiteY215" fmla="*/ 432261 h 1333436"/>
                <a:gd name="connsiteX216" fmla="*/ 37365 w 752994"/>
                <a:gd name="connsiteY216" fmla="*/ 429198 h 1333436"/>
                <a:gd name="connsiteX217" fmla="*/ 36756 w 752994"/>
                <a:gd name="connsiteY217" fmla="*/ 422272 h 1333436"/>
                <a:gd name="connsiteX218" fmla="*/ 36952 w 752994"/>
                <a:gd name="connsiteY218" fmla="*/ 418800 h 1333436"/>
                <a:gd name="connsiteX219" fmla="*/ 36756 w 752994"/>
                <a:gd name="connsiteY219" fmla="*/ 412487 h 1333436"/>
                <a:gd name="connsiteX220" fmla="*/ 40433 w 752994"/>
                <a:gd name="connsiteY220" fmla="*/ 406174 h 1333436"/>
                <a:gd name="connsiteX221" fmla="*/ 44720 w 752994"/>
                <a:gd name="connsiteY221" fmla="*/ 399435 h 1333436"/>
                <a:gd name="connsiteX222" fmla="*/ 44110 w 752994"/>
                <a:gd name="connsiteY222" fmla="*/ 389651 h 1333436"/>
                <a:gd name="connsiteX223" fmla="*/ 43894 w 752994"/>
                <a:gd name="connsiteY223" fmla="*/ 378437 h 1333436"/>
                <a:gd name="connsiteX224" fmla="*/ 47158 w 752994"/>
                <a:gd name="connsiteY224" fmla="*/ 371102 h 1333436"/>
                <a:gd name="connsiteX225" fmla="*/ 55731 w 752994"/>
                <a:gd name="connsiteY225" fmla="*/ 360909 h 1333436"/>
                <a:gd name="connsiteX226" fmla="*/ 57580 w 752994"/>
                <a:gd name="connsiteY226" fmla="*/ 355804 h 1333436"/>
                <a:gd name="connsiteX227" fmla="*/ 62673 w 752994"/>
                <a:gd name="connsiteY227" fmla="*/ 349695 h 1333436"/>
                <a:gd name="connsiteX228" fmla="*/ 65937 w 752994"/>
                <a:gd name="connsiteY228" fmla="*/ 348470 h 1333436"/>
                <a:gd name="connsiteX229" fmla="*/ 68395 w 752994"/>
                <a:gd name="connsiteY229" fmla="*/ 348674 h 1333436"/>
                <a:gd name="connsiteX230" fmla="*/ 70224 w 752994"/>
                <a:gd name="connsiteY230" fmla="*/ 347449 h 1333436"/>
                <a:gd name="connsiteX231" fmla="*/ 67785 w 752994"/>
                <a:gd name="connsiteY231" fmla="*/ 345203 h 1333436"/>
                <a:gd name="connsiteX232" fmla="*/ 65524 w 752994"/>
                <a:gd name="connsiteY232" fmla="*/ 343178 h 1333436"/>
                <a:gd name="connsiteX233" fmla="*/ 73095 w 752994"/>
                <a:gd name="connsiteY233" fmla="*/ 333376 h 1333436"/>
                <a:gd name="connsiteX234" fmla="*/ 73291 w 752994"/>
                <a:gd name="connsiteY234" fmla="*/ 333376 h 1333436"/>
                <a:gd name="connsiteX235" fmla="*/ 77991 w 752994"/>
                <a:gd name="connsiteY235" fmla="*/ 325838 h 1333436"/>
                <a:gd name="connsiteX236" fmla="*/ 82671 w 752994"/>
                <a:gd name="connsiteY236" fmla="*/ 313619 h 1333436"/>
                <a:gd name="connsiteX237" fmla="*/ 87980 w 752994"/>
                <a:gd name="connsiteY237" fmla="*/ 303018 h 1333436"/>
                <a:gd name="connsiteX238" fmla="*/ 92267 w 752994"/>
                <a:gd name="connsiteY238" fmla="*/ 291191 h 1333436"/>
                <a:gd name="connsiteX239" fmla="*/ 96553 w 752994"/>
                <a:gd name="connsiteY239" fmla="*/ 281202 h 1333436"/>
                <a:gd name="connsiteX240" fmla="*/ 99621 w 752994"/>
                <a:gd name="connsiteY240" fmla="*/ 274481 h 1333436"/>
                <a:gd name="connsiteX241" fmla="*/ 103082 w 752994"/>
                <a:gd name="connsiteY241" fmla="*/ 262450 h 1333436"/>
                <a:gd name="connsiteX242" fmla="*/ 107172 w 752994"/>
                <a:gd name="connsiteY242" fmla="*/ 254299 h 1333436"/>
                <a:gd name="connsiteX243" fmla="*/ 112481 w 752994"/>
                <a:gd name="connsiteY243" fmla="*/ 243697 h 1333436"/>
                <a:gd name="connsiteX244" fmla="*/ 117181 w 752994"/>
                <a:gd name="connsiteY244" fmla="*/ 232279 h 1333436"/>
                <a:gd name="connsiteX245" fmla="*/ 125951 w 752994"/>
                <a:gd name="connsiteY245" fmla="*/ 217389 h 1333436"/>
                <a:gd name="connsiteX246" fmla="*/ 136156 w 752994"/>
                <a:gd name="connsiteY246" fmla="*/ 202925 h 1333436"/>
                <a:gd name="connsiteX247" fmla="*/ 138811 w 752994"/>
                <a:gd name="connsiteY247" fmla="*/ 183339 h 1333436"/>
                <a:gd name="connsiteX248" fmla="*/ 148801 w 752994"/>
                <a:gd name="connsiteY248" fmla="*/ 167445 h 1333436"/>
                <a:gd name="connsiteX249" fmla="*/ 159616 w 752994"/>
                <a:gd name="connsiteY249" fmla="*/ 170712 h 1333436"/>
                <a:gd name="connsiteX250" fmla="*/ 173105 w 752994"/>
                <a:gd name="connsiteY250" fmla="*/ 175188 h 1333436"/>
                <a:gd name="connsiteX251" fmla="*/ 175347 w 752994"/>
                <a:gd name="connsiteY251" fmla="*/ 175188 h 1333436"/>
                <a:gd name="connsiteX252" fmla="*/ 175347 w 752994"/>
                <a:gd name="connsiteY252" fmla="*/ 173758 h 1333436"/>
                <a:gd name="connsiteX253" fmla="*/ 184975 w 752994"/>
                <a:gd name="connsiteY253" fmla="*/ 187393 h 1333436"/>
                <a:gd name="connsiteX254" fmla="*/ 184762 w 752994"/>
                <a:gd name="connsiteY254" fmla="*/ 184637 h 1333436"/>
                <a:gd name="connsiteX255" fmla="*/ 174971 w 752994"/>
                <a:gd name="connsiteY255" fmla="*/ 170774 h 1333436"/>
                <a:gd name="connsiteX256" fmla="*/ 174971 w 752994"/>
                <a:gd name="connsiteY256" fmla="*/ 169550 h 1333436"/>
                <a:gd name="connsiteX257" fmla="*/ 158851 w 752994"/>
                <a:gd name="connsiteY257" fmla="*/ 156924 h 1333436"/>
                <a:gd name="connsiteX258" fmla="*/ 147025 w 752994"/>
                <a:gd name="connsiteY258" fmla="*/ 145709 h 1333436"/>
                <a:gd name="connsiteX259" fmla="*/ 154364 w 752994"/>
                <a:gd name="connsiteY259" fmla="*/ 136335 h 1333436"/>
                <a:gd name="connsiteX260" fmla="*/ 161511 w 752994"/>
                <a:gd name="connsiteY260" fmla="*/ 131042 h 1333436"/>
                <a:gd name="connsiteX261" fmla="*/ 160902 w 752994"/>
                <a:gd name="connsiteY261" fmla="*/ 128384 h 1333436"/>
                <a:gd name="connsiteX262" fmla="*/ 160277 w 752994"/>
                <a:gd name="connsiteY262" fmla="*/ 127778 h 1333436"/>
                <a:gd name="connsiteX263" fmla="*/ 154973 w 752994"/>
                <a:gd name="connsiteY263" fmla="*/ 122077 h 1333436"/>
                <a:gd name="connsiteX264" fmla="*/ 160277 w 752994"/>
                <a:gd name="connsiteY264" fmla="*/ 115140 h 1333436"/>
                <a:gd name="connsiteX265" fmla="*/ 165181 w 752994"/>
                <a:gd name="connsiteY265" fmla="*/ 108215 h 1333436"/>
                <a:gd name="connsiteX266" fmla="*/ 161303 w 752994"/>
                <a:gd name="connsiteY266" fmla="*/ 104146 h 1333436"/>
                <a:gd name="connsiteX267" fmla="*/ 157842 w 752994"/>
                <a:gd name="connsiteY267" fmla="*/ 104542 h 1333436"/>
                <a:gd name="connsiteX268" fmla="*/ 157024 w 752994"/>
                <a:gd name="connsiteY268" fmla="*/ 102304 h 1333436"/>
                <a:gd name="connsiteX269" fmla="*/ 160694 w 752994"/>
                <a:gd name="connsiteY269" fmla="*/ 55437 h 1333436"/>
                <a:gd name="connsiteX270" fmla="*/ 160486 w 752994"/>
                <a:gd name="connsiteY270" fmla="*/ 31991 h 1333436"/>
                <a:gd name="connsiteX271" fmla="*/ 164972 w 752994"/>
                <a:gd name="connsiteY271" fmla="*/ 18141 h 1333436"/>
                <a:gd name="connsiteX272" fmla="*/ 171911 w 752994"/>
                <a:gd name="connsiteY272" fmla="*/ 11204 h 1333436"/>
                <a:gd name="connsiteX273" fmla="*/ 187406 w 752994"/>
                <a:gd name="connsiteY273" fmla="*/ 21801 h 1333436"/>
                <a:gd name="connsiteX274" fmla="*/ 210866 w 752994"/>
                <a:gd name="connsiteY274" fmla="*/ 37086 h 1333436"/>
                <a:gd name="connsiteX275" fmla="*/ 219230 w 752994"/>
                <a:gd name="connsiteY275" fmla="*/ 41166 h 1333436"/>
                <a:gd name="connsiteX276" fmla="*/ 226778 w 752994"/>
                <a:gd name="connsiteY276" fmla="*/ 47486 h 1333436"/>
                <a:gd name="connsiteX277" fmla="*/ 236152 w 752994"/>
                <a:gd name="connsiteY277" fmla="*/ 52370 h 1333436"/>
                <a:gd name="connsiteX278" fmla="*/ 239629 w 752994"/>
                <a:gd name="connsiteY278" fmla="*/ 58491 h 1333436"/>
                <a:gd name="connsiteX279" fmla="*/ 239629 w 752994"/>
                <a:gd name="connsiteY279" fmla="*/ 63376 h 1333436"/>
                <a:gd name="connsiteX280" fmla="*/ 236568 w 752994"/>
                <a:gd name="connsiteY280" fmla="*/ 67457 h 1333436"/>
                <a:gd name="connsiteX281" fmla="*/ 231264 w 752994"/>
                <a:gd name="connsiteY281" fmla="*/ 69905 h 1333436"/>
                <a:gd name="connsiteX282" fmla="*/ 216778 w 752994"/>
                <a:gd name="connsiteY282" fmla="*/ 82741 h 1333436"/>
                <a:gd name="connsiteX283" fmla="*/ 214134 w 752994"/>
                <a:gd name="connsiteY283" fmla="*/ 93536 h 1333436"/>
                <a:gd name="connsiteX284" fmla="*/ 214535 w 752994"/>
                <a:gd name="connsiteY284" fmla="*/ 96801 h 1333436"/>
                <a:gd name="connsiteX285" fmla="*/ 216378 w 752994"/>
                <a:gd name="connsiteY285" fmla="*/ 96801 h 1333436"/>
                <a:gd name="connsiteX286" fmla="*/ 230046 w 752994"/>
                <a:gd name="connsiteY286" fmla="*/ 85387 h 1333436"/>
                <a:gd name="connsiteX287" fmla="*/ 243298 w 752994"/>
                <a:gd name="connsiteY287" fmla="*/ 75198 h 1333436"/>
                <a:gd name="connsiteX288" fmla="*/ 246760 w 752994"/>
                <a:gd name="connsiteY288" fmla="*/ 77646 h 1333436"/>
                <a:gd name="connsiteX289" fmla="*/ 255541 w 752994"/>
                <a:gd name="connsiteY289" fmla="*/ 63376 h 1333436"/>
                <a:gd name="connsiteX290" fmla="*/ 259611 w 752994"/>
                <a:gd name="connsiteY290" fmla="*/ 43405 h 1333436"/>
                <a:gd name="connsiteX291" fmla="*/ 256967 w 752994"/>
                <a:gd name="connsiteY291" fmla="*/ 38520 h 1333436"/>
                <a:gd name="connsiteX292" fmla="*/ 253906 w 752994"/>
                <a:gd name="connsiteY292" fmla="*/ 34242 h 1333436"/>
                <a:gd name="connsiteX293" fmla="*/ 256967 w 752994"/>
                <a:gd name="connsiteY293" fmla="*/ 30161 h 1333436"/>
                <a:gd name="connsiteX294" fmla="*/ 262063 w 752994"/>
                <a:gd name="connsiteY294" fmla="*/ 27712 h 1333436"/>
                <a:gd name="connsiteX295" fmla="*/ 264915 w 752994"/>
                <a:gd name="connsiteY295" fmla="*/ 23026 h 1333436"/>
                <a:gd name="connsiteX296" fmla="*/ 267976 w 752994"/>
                <a:gd name="connsiteY296" fmla="*/ 22618 h 1333436"/>
                <a:gd name="connsiteX297" fmla="*/ 270427 w 752994"/>
                <a:gd name="connsiteY297" fmla="*/ 20787 h 1333436"/>
                <a:gd name="connsiteX298" fmla="*/ 263088 w 752994"/>
                <a:gd name="connsiteY298" fmla="*/ 13652 h 1333436"/>
                <a:gd name="connsiteX299" fmla="*/ 255541 w 752994"/>
                <a:gd name="connsiteY299" fmla="*/ 3055 h 1333436"/>
                <a:gd name="connsiteX300" fmla="*/ 256358 w 752994"/>
                <a:gd name="connsiteY300" fmla="*/ 1224 h 1333436"/>
                <a:gd name="connsiteX301" fmla="*/ 257159 w 752994"/>
                <a:gd name="connsiteY301" fmla="*/ 0 h 1333436"/>
                <a:gd name="connsiteX0" fmla="*/ 184180 w 752994"/>
                <a:gd name="connsiteY0" fmla="*/ 21386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188223 w 752994"/>
                <a:gd name="connsiteY6" fmla="*/ 223973 h 1333436"/>
                <a:gd name="connsiteX7" fmla="*/ 185163 w 752994"/>
                <a:gd name="connsiteY7" fmla="*/ 219484 h 1333436"/>
                <a:gd name="connsiteX8" fmla="*/ 184180 w 752994"/>
                <a:gd name="connsiteY8" fmla="*/ 213866 h 1333436"/>
                <a:gd name="connsiteX9" fmla="*/ 257159 w 752994"/>
                <a:gd name="connsiteY9" fmla="*/ 0 h 1333436"/>
                <a:gd name="connsiteX10" fmla="*/ 493147 w 752994"/>
                <a:gd name="connsiteY10" fmla="*/ 73157 h 1333436"/>
                <a:gd name="connsiteX11" fmla="*/ 492970 w 752994"/>
                <a:gd name="connsiteY11" fmla="*/ 73792 h 1333436"/>
                <a:gd name="connsiteX12" fmla="*/ 525816 w 752994"/>
                <a:gd name="connsiteY12" fmla="*/ 82491 h 1333436"/>
                <a:gd name="connsiteX13" fmla="*/ 520098 w 752994"/>
                <a:gd name="connsiteY13" fmla="*/ 111245 h 1333436"/>
                <a:gd name="connsiteX14" fmla="*/ 512552 w 752994"/>
                <a:gd name="connsiteY14" fmla="*/ 143854 h 1333436"/>
                <a:gd name="connsiteX15" fmla="*/ 517849 w 752994"/>
                <a:gd name="connsiteY15" fmla="*/ 157740 h 1333436"/>
                <a:gd name="connsiteX16" fmla="*/ 523160 w 752994"/>
                <a:gd name="connsiteY16" fmla="*/ 172009 h 1333436"/>
                <a:gd name="connsiteX17" fmla="*/ 521535 w 752994"/>
                <a:gd name="connsiteY17" fmla="*/ 178928 h 1333436"/>
                <a:gd name="connsiteX18" fmla="*/ 520098 w 752994"/>
                <a:gd name="connsiteY18" fmla="*/ 186279 h 1333436"/>
                <a:gd name="connsiteX19" fmla="*/ 526019 w 752994"/>
                <a:gd name="connsiteY19" fmla="*/ 193629 h 1333436"/>
                <a:gd name="connsiteX20" fmla="*/ 537251 w 752994"/>
                <a:gd name="connsiteY20" fmla="*/ 206270 h 1333436"/>
                <a:gd name="connsiteX21" fmla="*/ 542765 w 752994"/>
                <a:gd name="connsiteY21" fmla="*/ 217475 h 1333436"/>
                <a:gd name="connsiteX22" fmla="*/ 546857 w 752994"/>
                <a:gd name="connsiteY22" fmla="*/ 230930 h 1333436"/>
                <a:gd name="connsiteX23" fmla="*/ 549499 w 752994"/>
                <a:gd name="connsiteY23" fmla="*/ 235622 h 1333436"/>
                <a:gd name="connsiteX24" fmla="*/ 553388 w 752994"/>
                <a:gd name="connsiteY24" fmla="*/ 240722 h 1333436"/>
                <a:gd name="connsiteX25" fmla="*/ 557465 w 752994"/>
                <a:gd name="connsiteY25" fmla="*/ 246037 h 1333436"/>
                <a:gd name="connsiteX26" fmla="*/ 561761 w 752994"/>
                <a:gd name="connsiteY26" fmla="*/ 248671 h 1333436"/>
                <a:gd name="connsiteX27" fmla="*/ 567478 w 752994"/>
                <a:gd name="connsiteY27" fmla="*/ 247665 h 1333436"/>
                <a:gd name="connsiteX28" fmla="*/ 569931 w 752994"/>
                <a:gd name="connsiteY28" fmla="*/ 249293 h 1333436"/>
                <a:gd name="connsiteX29" fmla="*/ 570540 w 752994"/>
                <a:gd name="connsiteY29" fmla="*/ 251951 h 1333436"/>
                <a:gd name="connsiteX30" fmla="*/ 561964 w 752994"/>
                <a:gd name="connsiteY30" fmla="*/ 267656 h 1333436"/>
                <a:gd name="connsiteX31" fmla="*/ 553591 w 752994"/>
                <a:gd name="connsiteY31" fmla="*/ 289659 h 1333436"/>
                <a:gd name="connsiteX32" fmla="*/ 554810 w 752994"/>
                <a:gd name="connsiteY32" fmla="*/ 292939 h 1333436"/>
                <a:gd name="connsiteX33" fmla="*/ 556246 w 752994"/>
                <a:gd name="connsiteY33" fmla="*/ 299260 h 1333436"/>
                <a:gd name="connsiteX34" fmla="*/ 552778 w 752994"/>
                <a:gd name="connsiteY34" fmla="*/ 301917 h 1333436"/>
                <a:gd name="connsiteX35" fmla="*/ 549295 w 752994"/>
                <a:gd name="connsiteY35" fmla="*/ 306993 h 1333436"/>
                <a:gd name="connsiteX36" fmla="*/ 547061 w 752994"/>
                <a:gd name="connsiteY36" fmla="*/ 313122 h 1333436"/>
                <a:gd name="connsiteX37" fmla="*/ 544811 w 752994"/>
                <a:gd name="connsiteY37" fmla="*/ 316593 h 1333436"/>
                <a:gd name="connsiteX38" fmla="*/ 549919 w 752994"/>
                <a:gd name="connsiteY38" fmla="*/ 322698 h 1333436"/>
                <a:gd name="connsiteX39" fmla="*/ 553184 w 752994"/>
                <a:gd name="connsiteY39" fmla="*/ 325955 h 1333436"/>
                <a:gd name="connsiteX40" fmla="*/ 555840 w 752994"/>
                <a:gd name="connsiteY40" fmla="*/ 328205 h 1333436"/>
                <a:gd name="connsiteX41" fmla="*/ 574212 w 752994"/>
                <a:gd name="connsiteY41" fmla="*/ 318820 h 1333436"/>
                <a:gd name="connsiteX42" fmla="*/ 579523 w 752994"/>
                <a:gd name="connsiteY42" fmla="*/ 326577 h 1333436"/>
                <a:gd name="connsiteX43" fmla="*/ 580539 w 752994"/>
                <a:gd name="connsiteY43" fmla="*/ 334933 h 1333436"/>
                <a:gd name="connsiteX44" fmla="*/ 579726 w 752994"/>
                <a:gd name="connsiteY44" fmla="*/ 343097 h 1333436"/>
                <a:gd name="connsiteX45" fmla="*/ 581366 w 752994"/>
                <a:gd name="connsiteY45" fmla="*/ 350231 h 1333436"/>
                <a:gd name="connsiteX46" fmla="*/ 586256 w 752994"/>
                <a:gd name="connsiteY46" fmla="*/ 355930 h 1333436"/>
                <a:gd name="connsiteX47" fmla="*/ 589536 w 752994"/>
                <a:gd name="connsiteY47" fmla="*/ 362059 h 1333436"/>
                <a:gd name="connsiteX48" fmla="*/ 588099 w 752994"/>
                <a:gd name="connsiteY48" fmla="*/ 369600 h 1333436"/>
                <a:gd name="connsiteX49" fmla="*/ 586459 w 752994"/>
                <a:gd name="connsiteY49" fmla="*/ 377357 h 1333436"/>
                <a:gd name="connsiteX50" fmla="*/ 588709 w 752994"/>
                <a:gd name="connsiteY50" fmla="*/ 381835 h 1333436"/>
                <a:gd name="connsiteX51" fmla="*/ 595036 w 752994"/>
                <a:gd name="connsiteY51" fmla="*/ 382457 h 1333436"/>
                <a:gd name="connsiteX52" fmla="*/ 599331 w 752994"/>
                <a:gd name="connsiteY52" fmla="*/ 385306 h 1333436"/>
                <a:gd name="connsiteX53" fmla="*/ 601987 w 752994"/>
                <a:gd name="connsiteY53" fmla="*/ 391004 h 1333436"/>
                <a:gd name="connsiteX54" fmla="*/ 602799 w 752994"/>
                <a:gd name="connsiteY54" fmla="*/ 404076 h 1333436"/>
                <a:gd name="connsiteX55" fmla="*/ 606892 w 752994"/>
                <a:gd name="connsiteY55" fmla="*/ 415688 h 1333436"/>
                <a:gd name="connsiteX56" fmla="*/ 610563 w 752994"/>
                <a:gd name="connsiteY56" fmla="*/ 412217 h 1333436"/>
                <a:gd name="connsiteX57" fmla="*/ 617920 w 752994"/>
                <a:gd name="connsiteY57" fmla="*/ 408769 h 1333436"/>
                <a:gd name="connsiteX58" fmla="*/ 624654 w 752994"/>
                <a:gd name="connsiteY58" fmla="*/ 411211 h 1333436"/>
                <a:gd name="connsiteX59" fmla="*/ 634652 w 752994"/>
                <a:gd name="connsiteY59" fmla="*/ 410182 h 1333436"/>
                <a:gd name="connsiteX60" fmla="*/ 640573 w 752994"/>
                <a:gd name="connsiteY60" fmla="*/ 407739 h 1333436"/>
                <a:gd name="connsiteX61" fmla="*/ 646711 w 752994"/>
                <a:gd name="connsiteY61" fmla="*/ 410589 h 1333436"/>
                <a:gd name="connsiteX62" fmla="*/ 650383 w 752994"/>
                <a:gd name="connsiteY62" fmla="*/ 410589 h 1333436"/>
                <a:gd name="connsiteX63" fmla="*/ 654257 w 752994"/>
                <a:gd name="connsiteY63" fmla="*/ 411618 h 1333436"/>
                <a:gd name="connsiteX64" fmla="*/ 656913 w 752994"/>
                <a:gd name="connsiteY64" fmla="*/ 413653 h 1333436"/>
                <a:gd name="connsiteX65" fmla="*/ 660802 w 752994"/>
                <a:gd name="connsiteY65" fmla="*/ 415090 h 1333436"/>
                <a:gd name="connsiteX66" fmla="*/ 669581 w 752994"/>
                <a:gd name="connsiteY66" fmla="*/ 415904 h 1333436"/>
                <a:gd name="connsiteX67" fmla="*/ 672237 w 752994"/>
                <a:gd name="connsiteY67" fmla="*/ 415688 h 1333436"/>
                <a:gd name="connsiteX68" fmla="*/ 675705 w 752994"/>
                <a:gd name="connsiteY68" fmla="*/ 409367 h 1333436"/>
                <a:gd name="connsiteX69" fmla="*/ 679986 w 752994"/>
                <a:gd name="connsiteY69" fmla="*/ 403238 h 1333436"/>
                <a:gd name="connsiteX70" fmla="*/ 693264 w 752994"/>
                <a:gd name="connsiteY70" fmla="*/ 419567 h 1333436"/>
                <a:gd name="connsiteX71" fmla="*/ 688563 w 752994"/>
                <a:gd name="connsiteY71" fmla="*/ 448321 h 1333436"/>
                <a:gd name="connsiteX72" fmla="*/ 663949 w 752994"/>
                <a:gd name="connsiteY72" fmla="*/ 590165 h 1333436"/>
                <a:gd name="connsiteX73" fmla="*/ 666304 w 752994"/>
                <a:gd name="connsiteY73" fmla="*/ 590504 h 1333436"/>
                <a:gd name="connsiteX74" fmla="*/ 655288 w 752994"/>
                <a:gd name="connsiteY74" fmla="*/ 656178 h 1333436"/>
                <a:gd name="connsiteX75" fmla="*/ 681808 w 752994"/>
                <a:gd name="connsiteY75" fmla="*/ 662301 h 1333436"/>
                <a:gd name="connsiteX76" fmla="*/ 752994 w 752994"/>
                <a:gd name="connsiteY76" fmla="*/ 675560 h 1333436"/>
                <a:gd name="connsiteX77" fmla="*/ 714651 w 752994"/>
                <a:gd name="connsiteY77" fmla="*/ 946985 h 1333436"/>
                <a:gd name="connsiteX78" fmla="*/ 654533 w 752994"/>
                <a:gd name="connsiteY78" fmla="*/ 1333436 h 1333436"/>
                <a:gd name="connsiteX79" fmla="*/ 546831 w 752994"/>
                <a:gd name="connsiteY79" fmla="*/ 1317126 h 1333436"/>
                <a:gd name="connsiteX80" fmla="*/ 351227 w 752994"/>
                <a:gd name="connsiteY80" fmla="*/ 1194172 h 1333436"/>
                <a:gd name="connsiteX81" fmla="*/ 361011 w 752994"/>
                <a:gd name="connsiteY81" fmla="*/ 1182755 h 1333436"/>
                <a:gd name="connsiteX82" fmla="*/ 368981 w 752994"/>
                <a:gd name="connsiteY82" fmla="*/ 1182130 h 1333436"/>
                <a:gd name="connsiteX83" fmla="*/ 369571 w 752994"/>
                <a:gd name="connsiteY83" fmla="*/ 1181558 h 1333436"/>
                <a:gd name="connsiteX84" fmla="*/ 362372 w 752994"/>
                <a:gd name="connsiteY84" fmla="*/ 1182120 h 1333436"/>
                <a:gd name="connsiteX85" fmla="*/ 229464 w 752994"/>
                <a:gd name="connsiteY85" fmla="*/ 1161721 h 1333436"/>
                <a:gd name="connsiteX86" fmla="*/ 227427 w 752994"/>
                <a:gd name="connsiteY86" fmla="*/ 1157269 h 1333436"/>
                <a:gd name="connsiteX87" fmla="*/ 224967 w 752994"/>
                <a:gd name="connsiteY87" fmla="*/ 1152575 h 1333436"/>
                <a:gd name="connsiteX88" fmla="*/ 225582 w 752994"/>
                <a:gd name="connsiteY88" fmla="*/ 1144808 h 1333436"/>
                <a:gd name="connsiteX89" fmla="*/ 227215 w 752994"/>
                <a:gd name="connsiteY89" fmla="*/ 1135834 h 1333436"/>
                <a:gd name="connsiteX90" fmla="*/ 227215 w 752994"/>
                <a:gd name="connsiteY90" fmla="*/ 1134212 h 1333436"/>
                <a:gd name="connsiteX91" fmla="*/ 225179 w 752994"/>
                <a:gd name="connsiteY91" fmla="*/ 1114020 h 1333436"/>
                <a:gd name="connsiteX92" fmla="*/ 217839 w 752994"/>
                <a:gd name="connsiteY92" fmla="*/ 1100352 h 1333436"/>
                <a:gd name="connsiteX93" fmla="*/ 199661 w 752994"/>
                <a:gd name="connsiteY93" fmla="*/ 1076502 h 1333436"/>
                <a:gd name="connsiteX94" fmla="*/ 196395 w 752994"/>
                <a:gd name="connsiteY94" fmla="*/ 1071807 h 1333436"/>
                <a:gd name="connsiteX95" fmla="*/ 190880 w 752994"/>
                <a:gd name="connsiteY95" fmla="*/ 1067527 h 1333436"/>
                <a:gd name="connsiteX96" fmla="*/ 187210 w 752994"/>
                <a:gd name="connsiteY96" fmla="*/ 1068735 h 1333436"/>
                <a:gd name="connsiteX97" fmla="*/ 180062 w 752994"/>
                <a:gd name="connsiteY97" fmla="*/ 1066699 h 1333436"/>
                <a:gd name="connsiteX98" fmla="*/ 180466 w 752994"/>
                <a:gd name="connsiteY98" fmla="*/ 1053031 h 1333436"/>
                <a:gd name="connsiteX99" fmla="*/ 180062 w 752994"/>
                <a:gd name="connsiteY99" fmla="*/ 1045299 h 1333436"/>
                <a:gd name="connsiteX100" fmla="*/ 174144 w 752994"/>
                <a:gd name="connsiteY100" fmla="*/ 1044057 h 1333436"/>
                <a:gd name="connsiteX101" fmla="*/ 158426 w 752994"/>
                <a:gd name="connsiteY101" fmla="*/ 1042641 h 1333436"/>
                <a:gd name="connsiteX102" fmla="*/ 149857 w 752994"/>
                <a:gd name="connsiteY102" fmla="*/ 1035497 h 1333436"/>
                <a:gd name="connsiteX103" fmla="*/ 142497 w 752994"/>
                <a:gd name="connsiteY103" fmla="*/ 1028766 h 1333436"/>
                <a:gd name="connsiteX104" fmla="*/ 140864 w 752994"/>
                <a:gd name="connsiteY104" fmla="*/ 1020620 h 1333436"/>
                <a:gd name="connsiteX105" fmla="*/ 138212 w 752994"/>
                <a:gd name="connsiteY105" fmla="*/ 1013061 h 1333436"/>
                <a:gd name="connsiteX106" fmla="*/ 131064 w 752994"/>
                <a:gd name="connsiteY106" fmla="*/ 1007159 h 1333436"/>
                <a:gd name="connsiteX107" fmla="*/ 121264 w 752994"/>
                <a:gd name="connsiteY107" fmla="*/ 1005330 h 1333436"/>
                <a:gd name="connsiteX108" fmla="*/ 112483 w 752994"/>
                <a:gd name="connsiteY108" fmla="*/ 1001671 h 1333436"/>
                <a:gd name="connsiteX109" fmla="*/ 105950 w 752994"/>
                <a:gd name="connsiteY109" fmla="*/ 995734 h 1333436"/>
                <a:gd name="connsiteX110" fmla="*/ 97380 w 752994"/>
                <a:gd name="connsiteY110" fmla="*/ 994526 h 1333436"/>
                <a:gd name="connsiteX111" fmla="*/ 87984 w 752994"/>
                <a:gd name="connsiteY111" fmla="*/ 991040 h 1333436"/>
                <a:gd name="connsiteX112" fmla="*/ 80029 w 752994"/>
                <a:gd name="connsiteY112" fmla="*/ 985138 h 1333436"/>
                <a:gd name="connsiteX113" fmla="*/ 77166 w 752994"/>
                <a:gd name="connsiteY113" fmla="*/ 976164 h 1333436"/>
                <a:gd name="connsiteX114" fmla="*/ 79203 w 752994"/>
                <a:gd name="connsiteY114" fmla="*/ 970676 h 1333436"/>
                <a:gd name="connsiteX115" fmla="*/ 82470 w 752994"/>
                <a:gd name="connsiteY115" fmla="*/ 963117 h 1333436"/>
                <a:gd name="connsiteX116" fmla="*/ 84314 w 752994"/>
                <a:gd name="connsiteY116" fmla="*/ 954557 h 1333436"/>
                <a:gd name="connsiteX117" fmla="*/ 86351 w 752994"/>
                <a:gd name="connsiteY117" fmla="*/ 948033 h 1333436"/>
                <a:gd name="connsiteX118" fmla="*/ 86159 w 752994"/>
                <a:gd name="connsiteY118" fmla="*/ 942925 h 1333436"/>
                <a:gd name="connsiteX119" fmla="*/ 83085 w 752994"/>
                <a:gd name="connsiteY119" fmla="*/ 939853 h 1333436"/>
                <a:gd name="connsiteX120" fmla="*/ 77570 w 752994"/>
                <a:gd name="connsiteY120" fmla="*/ 937437 h 1333436"/>
                <a:gd name="connsiteX121" fmla="*/ 76763 w 752994"/>
                <a:gd name="connsiteY121" fmla="*/ 931915 h 1333436"/>
                <a:gd name="connsiteX122" fmla="*/ 78800 w 752994"/>
                <a:gd name="connsiteY122" fmla="*/ 927013 h 1333436"/>
                <a:gd name="connsiteX123" fmla="*/ 79626 w 752994"/>
                <a:gd name="connsiteY123" fmla="*/ 922526 h 1333436"/>
                <a:gd name="connsiteX124" fmla="*/ 77781 w 752994"/>
                <a:gd name="connsiteY124" fmla="*/ 919903 h 1333436"/>
                <a:gd name="connsiteX125" fmla="*/ 74303 w 752994"/>
                <a:gd name="connsiteY125" fmla="*/ 917418 h 1333436"/>
                <a:gd name="connsiteX126" fmla="*/ 71863 w 752994"/>
                <a:gd name="connsiteY126" fmla="*/ 915174 h 1333436"/>
                <a:gd name="connsiteX127" fmla="*/ 71652 w 752994"/>
                <a:gd name="connsiteY127" fmla="*/ 910894 h 1333436"/>
                <a:gd name="connsiteX128" fmla="*/ 70633 w 752994"/>
                <a:gd name="connsiteY128" fmla="*/ 906614 h 1333436"/>
                <a:gd name="connsiteX129" fmla="*/ 68385 w 752994"/>
                <a:gd name="connsiteY129" fmla="*/ 902749 h 1333436"/>
                <a:gd name="connsiteX130" fmla="*/ 61045 w 752994"/>
                <a:gd name="connsiteY130" fmla="*/ 889494 h 1333436"/>
                <a:gd name="connsiteX131" fmla="*/ 57971 w 752994"/>
                <a:gd name="connsiteY131" fmla="*/ 875619 h 1333436"/>
                <a:gd name="connsiteX132" fmla="*/ 52264 w 752994"/>
                <a:gd name="connsiteY132" fmla="*/ 862572 h 1333436"/>
                <a:gd name="connsiteX133" fmla="*/ 44309 w 752994"/>
                <a:gd name="connsiteY133" fmla="*/ 850561 h 1333436"/>
                <a:gd name="connsiteX134" fmla="*/ 45520 w 752994"/>
                <a:gd name="connsiteY134" fmla="*/ 827090 h 1333436"/>
                <a:gd name="connsiteX135" fmla="*/ 53071 w 752994"/>
                <a:gd name="connsiteY135" fmla="*/ 822396 h 1333436"/>
                <a:gd name="connsiteX136" fmla="*/ 57375 w 752994"/>
                <a:gd name="connsiteY136" fmla="*/ 816493 h 1333436"/>
                <a:gd name="connsiteX137" fmla="*/ 55319 w 752994"/>
                <a:gd name="connsiteY137" fmla="*/ 801617 h 1333436"/>
                <a:gd name="connsiteX138" fmla="*/ 48383 w 752994"/>
                <a:gd name="connsiteY138" fmla="*/ 802204 h 1333436"/>
                <a:gd name="connsiteX139" fmla="*/ 40428 w 752994"/>
                <a:gd name="connsiteY139" fmla="*/ 797924 h 1333436"/>
                <a:gd name="connsiteX140" fmla="*/ 37565 w 752994"/>
                <a:gd name="connsiteY140" fmla="*/ 790606 h 1333436"/>
                <a:gd name="connsiteX141" fmla="*/ 37565 w 752994"/>
                <a:gd name="connsiteY141" fmla="*/ 790399 h 1333436"/>
                <a:gd name="connsiteX142" fmla="*/ 35931 w 752994"/>
                <a:gd name="connsiteY142" fmla="*/ 785912 h 1333436"/>
                <a:gd name="connsiteX143" fmla="*/ 34510 w 752994"/>
                <a:gd name="connsiteY143" fmla="*/ 780597 h 1333436"/>
                <a:gd name="connsiteX144" fmla="*/ 36335 w 752994"/>
                <a:gd name="connsiteY144" fmla="*/ 774280 h 1333436"/>
                <a:gd name="connsiteX145" fmla="*/ 38180 w 752994"/>
                <a:gd name="connsiteY145" fmla="*/ 766721 h 1333436"/>
                <a:gd name="connsiteX146" fmla="*/ 37161 w 752994"/>
                <a:gd name="connsiteY146" fmla="*/ 760405 h 1333436"/>
                <a:gd name="connsiteX147" fmla="*/ 35720 w 752994"/>
                <a:gd name="connsiteY147" fmla="*/ 754710 h 1333436"/>
                <a:gd name="connsiteX148" fmla="*/ 36546 w 752994"/>
                <a:gd name="connsiteY148" fmla="*/ 748773 h 1333436"/>
                <a:gd name="connsiteX149" fmla="*/ 38372 w 752994"/>
                <a:gd name="connsiteY149" fmla="*/ 744528 h 1333436"/>
                <a:gd name="connsiteX150" fmla="*/ 41638 w 752994"/>
                <a:gd name="connsiteY150" fmla="*/ 744321 h 1333436"/>
                <a:gd name="connsiteX151" fmla="*/ 44713 w 752994"/>
                <a:gd name="connsiteY151" fmla="*/ 746357 h 1333436"/>
                <a:gd name="connsiteX152" fmla="*/ 47364 w 752994"/>
                <a:gd name="connsiteY152" fmla="*/ 753260 h 1333436"/>
                <a:gd name="connsiteX153" fmla="*/ 55742 w 752994"/>
                <a:gd name="connsiteY153" fmla="*/ 764305 h 1333436"/>
                <a:gd name="connsiteX154" fmla="*/ 56338 w 752994"/>
                <a:gd name="connsiteY154" fmla="*/ 761233 h 1333436"/>
                <a:gd name="connsiteX155" fmla="*/ 56145 w 752994"/>
                <a:gd name="connsiteY155" fmla="*/ 757368 h 1333436"/>
                <a:gd name="connsiteX156" fmla="*/ 54916 w 752994"/>
                <a:gd name="connsiteY156" fmla="*/ 748601 h 1333436"/>
                <a:gd name="connsiteX157" fmla="*/ 52879 w 752994"/>
                <a:gd name="connsiteY157" fmla="*/ 747358 h 1333436"/>
                <a:gd name="connsiteX158" fmla="*/ 51649 w 752994"/>
                <a:gd name="connsiteY158" fmla="*/ 745322 h 1333436"/>
                <a:gd name="connsiteX159" fmla="*/ 51649 w 752994"/>
                <a:gd name="connsiteY159" fmla="*/ 739212 h 1333436"/>
                <a:gd name="connsiteX160" fmla="*/ 50227 w 752994"/>
                <a:gd name="connsiteY160" fmla="*/ 734725 h 1333436"/>
                <a:gd name="connsiteX161" fmla="*/ 48786 w 752994"/>
                <a:gd name="connsiteY161" fmla="*/ 731446 h 1333436"/>
                <a:gd name="connsiteX162" fmla="*/ 54512 w 752994"/>
                <a:gd name="connsiteY162" fmla="*/ 726372 h 1333436"/>
                <a:gd name="connsiteX163" fmla="*/ 59815 w 752994"/>
                <a:gd name="connsiteY163" fmla="*/ 725130 h 1333436"/>
                <a:gd name="connsiteX164" fmla="*/ 58182 w 752994"/>
                <a:gd name="connsiteY164" fmla="*/ 722886 h 1333436"/>
                <a:gd name="connsiteX165" fmla="*/ 51861 w 752994"/>
                <a:gd name="connsiteY165" fmla="*/ 717985 h 1333436"/>
                <a:gd name="connsiteX166" fmla="*/ 46749 w 752994"/>
                <a:gd name="connsiteY166" fmla="*/ 729617 h 1333436"/>
                <a:gd name="connsiteX167" fmla="*/ 40831 w 752994"/>
                <a:gd name="connsiteY167" fmla="*/ 739212 h 1333436"/>
                <a:gd name="connsiteX168" fmla="*/ 39601 w 752994"/>
                <a:gd name="connsiteY168" fmla="*/ 738798 h 1333436"/>
                <a:gd name="connsiteX169" fmla="*/ 39409 w 752994"/>
                <a:gd name="connsiteY169" fmla="*/ 738591 h 1333436"/>
                <a:gd name="connsiteX170" fmla="*/ 37161 w 752994"/>
                <a:gd name="connsiteY170" fmla="*/ 734725 h 1333436"/>
                <a:gd name="connsiteX171" fmla="*/ 32665 w 752994"/>
                <a:gd name="connsiteY171" fmla="*/ 727788 h 1333436"/>
                <a:gd name="connsiteX172" fmla="*/ 26747 w 752994"/>
                <a:gd name="connsiteY172" fmla="*/ 719435 h 1333436"/>
                <a:gd name="connsiteX173" fmla="*/ 23884 w 752994"/>
                <a:gd name="connsiteY173" fmla="*/ 717812 h 1333436"/>
                <a:gd name="connsiteX174" fmla="*/ 24710 w 752994"/>
                <a:gd name="connsiteY174" fmla="*/ 709632 h 1333436"/>
                <a:gd name="connsiteX175" fmla="*/ 27554 w 752994"/>
                <a:gd name="connsiteY175" fmla="*/ 701694 h 1333436"/>
                <a:gd name="connsiteX176" fmla="*/ 24902 w 752994"/>
                <a:gd name="connsiteY176" fmla="*/ 696171 h 1333436"/>
                <a:gd name="connsiteX177" fmla="*/ 24095 w 752994"/>
                <a:gd name="connsiteY177" fmla="*/ 687818 h 1333436"/>
                <a:gd name="connsiteX178" fmla="*/ 22462 w 752994"/>
                <a:gd name="connsiteY178" fmla="*/ 682330 h 1333436"/>
                <a:gd name="connsiteX179" fmla="*/ 17159 w 752994"/>
                <a:gd name="connsiteY179" fmla="*/ 677636 h 1333436"/>
                <a:gd name="connsiteX180" fmla="*/ 14296 w 752994"/>
                <a:gd name="connsiteY180" fmla="*/ 671492 h 1333436"/>
                <a:gd name="connsiteX181" fmla="*/ 12451 w 752994"/>
                <a:gd name="connsiteY181" fmla="*/ 665797 h 1333436"/>
                <a:gd name="connsiteX182" fmla="*/ 5111 w 752994"/>
                <a:gd name="connsiteY182" fmla="*/ 654994 h 1333436"/>
                <a:gd name="connsiteX183" fmla="*/ 2248 w 752994"/>
                <a:gd name="connsiteY183" fmla="*/ 645605 h 1333436"/>
                <a:gd name="connsiteX184" fmla="*/ 4496 w 752994"/>
                <a:gd name="connsiteY184" fmla="*/ 640497 h 1333436"/>
                <a:gd name="connsiteX185" fmla="*/ 6744 w 752994"/>
                <a:gd name="connsiteY185" fmla="*/ 632765 h 1333436"/>
                <a:gd name="connsiteX186" fmla="*/ 6744 w 752994"/>
                <a:gd name="connsiteY186" fmla="*/ 628485 h 1333436"/>
                <a:gd name="connsiteX187" fmla="*/ 6533 w 752994"/>
                <a:gd name="connsiteY187" fmla="*/ 620305 h 1333436"/>
                <a:gd name="connsiteX188" fmla="*/ 7359 w 752994"/>
                <a:gd name="connsiteY188" fmla="*/ 611745 h 1333436"/>
                <a:gd name="connsiteX189" fmla="*/ 11836 w 752994"/>
                <a:gd name="connsiteY189" fmla="*/ 602978 h 1333436"/>
                <a:gd name="connsiteX190" fmla="*/ 15103 w 752994"/>
                <a:gd name="connsiteY190" fmla="*/ 591760 h 1333436"/>
                <a:gd name="connsiteX191" fmla="*/ 14488 w 752994"/>
                <a:gd name="connsiteY191" fmla="*/ 584029 h 1333436"/>
                <a:gd name="connsiteX192" fmla="*/ 13873 w 752994"/>
                <a:gd name="connsiteY192" fmla="*/ 578299 h 1333436"/>
                <a:gd name="connsiteX193" fmla="*/ 10626 w 752994"/>
                <a:gd name="connsiteY193" fmla="*/ 568531 h 1333436"/>
                <a:gd name="connsiteX194" fmla="*/ 3670 w 752994"/>
                <a:gd name="connsiteY194" fmla="*/ 558107 h 1333436"/>
                <a:gd name="connsiteX195" fmla="*/ 0 w 752994"/>
                <a:gd name="connsiteY195" fmla="*/ 551377 h 1333436"/>
                <a:gd name="connsiteX196" fmla="*/ 0 w 752994"/>
                <a:gd name="connsiteY196" fmla="*/ 550997 h 1333436"/>
                <a:gd name="connsiteX197" fmla="*/ 4900 w 752994"/>
                <a:gd name="connsiteY197" fmla="*/ 531220 h 1333436"/>
                <a:gd name="connsiteX198" fmla="*/ 13873 w 752994"/>
                <a:gd name="connsiteY198" fmla="*/ 520589 h 1333436"/>
                <a:gd name="connsiteX199" fmla="*/ 18369 w 752994"/>
                <a:gd name="connsiteY199" fmla="*/ 516516 h 1333436"/>
                <a:gd name="connsiteX200" fmla="*/ 18773 w 752994"/>
                <a:gd name="connsiteY200" fmla="*/ 514272 h 1333436"/>
                <a:gd name="connsiteX201" fmla="*/ 23077 w 752994"/>
                <a:gd name="connsiteY201" fmla="*/ 506127 h 1333436"/>
                <a:gd name="connsiteX202" fmla="*/ 23884 w 752994"/>
                <a:gd name="connsiteY202" fmla="*/ 502261 h 1333436"/>
                <a:gd name="connsiteX203" fmla="*/ 23692 w 752994"/>
                <a:gd name="connsiteY203" fmla="*/ 496738 h 1333436"/>
                <a:gd name="connsiteX204" fmla="*/ 30013 w 752994"/>
                <a:gd name="connsiteY204" fmla="*/ 486556 h 1333436"/>
                <a:gd name="connsiteX205" fmla="*/ 36546 w 752994"/>
                <a:gd name="connsiteY205" fmla="*/ 470230 h 1333436"/>
                <a:gd name="connsiteX206" fmla="*/ 36546 w 752994"/>
                <a:gd name="connsiteY206" fmla="*/ 462671 h 1333436"/>
                <a:gd name="connsiteX207" fmla="*/ 36335 w 752994"/>
                <a:gd name="connsiteY207" fmla="*/ 461670 h 1333436"/>
                <a:gd name="connsiteX208" fmla="*/ 35931 w 752994"/>
                <a:gd name="connsiteY208" fmla="*/ 453110 h 1333436"/>
                <a:gd name="connsiteX209" fmla="*/ 38583 w 752994"/>
                <a:gd name="connsiteY209" fmla="*/ 442514 h 1333436"/>
                <a:gd name="connsiteX210" fmla="*/ 41043 w 752994"/>
                <a:gd name="connsiteY210" fmla="*/ 436991 h 1333436"/>
                <a:gd name="connsiteX211" fmla="*/ 41650 w 752994"/>
                <a:gd name="connsiteY211" fmla="*/ 437186 h 1333436"/>
                <a:gd name="connsiteX212" fmla="*/ 41239 w 752994"/>
                <a:gd name="connsiteY212" fmla="*/ 436549 h 1333436"/>
                <a:gd name="connsiteX213" fmla="*/ 37778 w 752994"/>
                <a:gd name="connsiteY213" fmla="*/ 433894 h 1333436"/>
                <a:gd name="connsiteX214" fmla="*/ 37169 w 752994"/>
                <a:gd name="connsiteY214" fmla="*/ 432261 h 1333436"/>
                <a:gd name="connsiteX215" fmla="*/ 37365 w 752994"/>
                <a:gd name="connsiteY215" fmla="*/ 429198 h 1333436"/>
                <a:gd name="connsiteX216" fmla="*/ 36756 w 752994"/>
                <a:gd name="connsiteY216" fmla="*/ 422272 h 1333436"/>
                <a:gd name="connsiteX217" fmla="*/ 36952 w 752994"/>
                <a:gd name="connsiteY217" fmla="*/ 418800 h 1333436"/>
                <a:gd name="connsiteX218" fmla="*/ 36756 w 752994"/>
                <a:gd name="connsiteY218" fmla="*/ 412487 h 1333436"/>
                <a:gd name="connsiteX219" fmla="*/ 40433 w 752994"/>
                <a:gd name="connsiteY219" fmla="*/ 406174 h 1333436"/>
                <a:gd name="connsiteX220" fmla="*/ 44720 w 752994"/>
                <a:gd name="connsiteY220" fmla="*/ 399435 h 1333436"/>
                <a:gd name="connsiteX221" fmla="*/ 44110 w 752994"/>
                <a:gd name="connsiteY221" fmla="*/ 389651 h 1333436"/>
                <a:gd name="connsiteX222" fmla="*/ 43894 w 752994"/>
                <a:gd name="connsiteY222" fmla="*/ 378437 h 1333436"/>
                <a:gd name="connsiteX223" fmla="*/ 47158 w 752994"/>
                <a:gd name="connsiteY223" fmla="*/ 371102 h 1333436"/>
                <a:gd name="connsiteX224" fmla="*/ 55731 w 752994"/>
                <a:gd name="connsiteY224" fmla="*/ 360909 h 1333436"/>
                <a:gd name="connsiteX225" fmla="*/ 57580 w 752994"/>
                <a:gd name="connsiteY225" fmla="*/ 355804 h 1333436"/>
                <a:gd name="connsiteX226" fmla="*/ 62673 w 752994"/>
                <a:gd name="connsiteY226" fmla="*/ 349695 h 1333436"/>
                <a:gd name="connsiteX227" fmla="*/ 65937 w 752994"/>
                <a:gd name="connsiteY227" fmla="*/ 348470 h 1333436"/>
                <a:gd name="connsiteX228" fmla="*/ 68395 w 752994"/>
                <a:gd name="connsiteY228" fmla="*/ 348674 h 1333436"/>
                <a:gd name="connsiteX229" fmla="*/ 70224 w 752994"/>
                <a:gd name="connsiteY229" fmla="*/ 347449 h 1333436"/>
                <a:gd name="connsiteX230" fmla="*/ 67785 w 752994"/>
                <a:gd name="connsiteY230" fmla="*/ 345203 h 1333436"/>
                <a:gd name="connsiteX231" fmla="*/ 65524 w 752994"/>
                <a:gd name="connsiteY231" fmla="*/ 343178 h 1333436"/>
                <a:gd name="connsiteX232" fmla="*/ 73095 w 752994"/>
                <a:gd name="connsiteY232" fmla="*/ 333376 h 1333436"/>
                <a:gd name="connsiteX233" fmla="*/ 73291 w 752994"/>
                <a:gd name="connsiteY233" fmla="*/ 333376 h 1333436"/>
                <a:gd name="connsiteX234" fmla="*/ 77991 w 752994"/>
                <a:gd name="connsiteY234" fmla="*/ 325838 h 1333436"/>
                <a:gd name="connsiteX235" fmla="*/ 82671 w 752994"/>
                <a:gd name="connsiteY235" fmla="*/ 313619 h 1333436"/>
                <a:gd name="connsiteX236" fmla="*/ 87980 w 752994"/>
                <a:gd name="connsiteY236" fmla="*/ 303018 h 1333436"/>
                <a:gd name="connsiteX237" fmla="*/ 92267 w 752994"/>
                <a:gd name="connsiteY237" fmla="*/ 291191 h 1333436"/>
                <a:gd name="connsiteX238" fmla="*/ 96553 w 752994"/>
                <a:gd name="connsiteY238" fmla="*/ 281202 h 1333436"/>
                <a:gd name="connsiteX239" fmla="*/ 99621 w 752994"/>
                <a:gd name="connsiteY239" fmla="*/ 274481 h 1333436"/>
                <a:gd name="connsiteX240" fmla="*/ 103082 w 752994"/>
                <a:gd name="connsiteY240" fmla="*/ 262450 h 1333436"/>
                <a:gd name="connsiteX241" fmla="*/ 107172 w 752994"/>
                <a:gd name="connsiteY241" fmla="*/ 254299 h 1333436"/>
                <a:gd name="connsiteX242" fmla="*/ 112481 w 752994"/>
                <a:gd name="connsiteY242" fmla="*/ 243697 h 1333436"/>
                <a:gd name="connsiteX243" fmla="*/ 117181 w 752994"/>
                <a:gd name="connsiteY243" fmla="*/ 232279 h 1333436"/>
                <a:gd name="connsiteX244" fmla="*/ 125951 w 752994"/>
                <a:gd name="connsiteY244" fmla="*/ 217389 h 1333436"/>
                <a:gd name="connsiteX245" fmla="*/ 136156 w 752994"/>
                <a:gd name="connsiteY245" fmla="*/ 202925 h 1333436"/>
                <a:gd name="connsiteX246" fmla="*/ 138811 w 752994"/>
                <a:gd name="connsiteY246" fmla="*/ 183339 h 1333436"/>
                <a:gd name="connsiteX247" fmla="*/ 148801 w 752994"/>
                <a:gd name="connsiteY247" fmla="*/ 167445 h 1333436"/>
                <a:gd name="connsiteX248" fmla="*/ 159616 w 752994"/>
                <a:gd name="connsiteY248" fmla="*/ 170712 h 1333436"/>
                <a:gd name="connsiteX249" fmla="*/ 173105 w 752994"/>
                <a:gd name="connsiteY249" fmla="*/ 175188 h 1333436"/>
                <a:gd name="connsiteX250" fmla="*/ 175347 w 752994"/>
                <a:gd name="connsiteY250" fmla="*/ 175188 h 1333436"/>
                <a:gd name="connsiteX251" fmla="*/ 175347 w 752994"/>
                <a:gd name="connsiteY251" fmla="*/ 173758 h 1333436"/>
                <a:gd name="connsiteX252" fmla="*/ 184975 w 752994"/>
                <a:gd name="connsiteY252" fmla="*/ 187393 h 1333436"/>
                <a:gd name="connsiteX253" fmla="*/ 184762 w 752994"/>
                <a:gd name="connsiteY253" fmla="*/ 184637 h 1333436"/>
                <a:gd name="connsiteX254" fmla="*/ 174971 w 752994"/>
                <a:gd name="connsiteY254" fmla="*/ 170774 h 1333436"/>
                <a:gd name="connsiteX255" fmla="*/ 174971 w 752994"/>
                <a:gd name="connsiteY255" fmla="*/ 169550 h 1333436"/>
                <a:gd name="connsiteX256" fmla="*/ 158851 w 752994"/>
                <a:gd name="connsiteY256" fmla="*/ 156924 h 1333436"/>
                <a:gd name="connsiteX257" fmla="*/ 147025 w 752994"/>
                <a:gd name="connsiteY257" fmla="*/ 145709 h 1333436"/>
                <a:gd name="connsiteX258" fmla="*/ 154364 w 752994"/>
                <a:gd name="connsiteY258" fmla="*/ 136335 h 1333436"/>
                <a:gd name="connsiteX259" fmla="*/ 161511 w 752994"/>
                <a:gd name="connsiteY259" fmla="*/ 131042 h 1333436"/>
                <a:gd name="connsiteX260" fmla="*/ 160902 w 752994"/>
                <a:gd name="connsiteY260" fmla="*/ 128384 h 1333436"/>
                <a:gd name="connsiteX261" fmla="*/ 160277 w 752994"/>
                <a:gd name="connsiteY261" fmla="*/ 127778 h 1333436"/>
                <a:gd name="connsiteX262" fmla="*/ 154973 w 752994"/>
                <a:gd name="connsiteY262" fmla="*/ 122077 h 1333436"/>
                <a:gd name="connsiteX263" fmla="*/ 160277 w 752994"/>
                <a:gd name="connsiteY263" fmla="*/ 115140 h 1333436"/>
                <a:gd name="connsiteX264" fmla="*/ 165181 w 752994"/>
                <a:gd name="connsiteY264" fmla="*/ 108215 h 1333436"/>
                <a:gd name="connsiteX265" fmla="*/ 161303 w 752994"/>
                <a:gd name="connsiteY265" fmla="*/ 104146 h 1333436"/>
                <a:gd name="connsiteX266" fmla="*/ 157842 w 752994"/>
                <a:gd name="connsiteY266" fmla="*/ 104542 h 1333436"/>
                <a:gd name="connsiteX267" fmla="*/ 157024 w 752994"/>
                <a:gd name="connsiteY267" fmla="*/ 102304 h 1333436"/>
                <a:gd name="connsiteX268" fmla="*/ 160694 w 752994"/>
                <a:gd name="connsiteY268" fmla="*/ 55437 h 1333436"/>
                <a:gd name="connsiteX269" fmla="*/ 160486 w 752994"/>
                <a:gd name="connsiteY269" fmla="*/ 31991 h 1333436"/>
                <a:gd name="connsiteX270" fmla="*/ 164972 w 752994"/>
                <a:gd name="connsiteY270" fmla="*/ 18141 h 1333436"/>
                <a:gd name="connsiteX271" fmla="*/ 171911 w 752994"/>
                <a:gd name="connsiteY271" fmla="*/ 11204 h 1333436"/>
                <a:gd name="connsiteX272" fmla="*/ 187406 w 752994"/>
                <a:gd name="connsiteY272" fmla="*/ 21801 h 1333436"/>
                <a:gd name="connsiteX273" fmla="*/ 210866 w 752994"/>
                <a:gd name="connsiteY273" fmla="*/ 37086 h 1333436"/>
                <a:gd name="connsiteX274" fmla="*/ 219230 w 752994"/>
                <a:gd name="connsiteY274" fmla="*/ 41166 h 1333436"/>
                <a:gd name="connsiteX275" fmla="*/ 226778 w 752994"/>
                <a:gd name="connsiteY275" fmla="*/ 47486 h 1333436"/>
                <a:gd name="connsiteX276" fmla="*/ 236152 w 752994"/>
                <a:gd name="connsiteY276" fmla="*/ 52370 h 1333436"/>
                <a:gd name="connsiteX277" fmla="*/ 239629 w 752994"/>
                <a:gd name="connsiteY277" fmla="*/ 58491 h 1333436"/>
                <a:gd name="connsiteX278" fmla="*/ 239629 w 752994"/>
                <a:gd name="connsiteY278" fmla="*/ 63376 h 1333436"/>
                <a:gd name="connsiteX279" fmla="*/ 236568 w 752994"/>
                <a:gd name="connsiteY279" fmla="*/ 67457 h 1333436"/>
                <a:gd name="connsiteX280" fmla="*/ 231264 w 752994"/>
                <a:gd name="connsiteY280" fmla="*/ 69905 h 1333436"/>
                <a:gd name="connsiteX281" fmla="*/ 216778 w 752994"/>
                <a:gd name="connsiteY281" fmla="*/ 82741 h 1333436"/>
                <a:gd name="connsiteX282" fmla="*/ 214134 w 752994"/>
                <a:gd name="connsiteY282" fmla="*/ 93536 h 1333436"/>
                <a:gd name="connsiteX283" fmla="*/ 214535 w 752994"/>
                <a:gd name="connsiteY283" fmla="*/ 96801 h 1333436"/>
                <a:gd name="connsiteX284" fmla="*/ 216378 w 752994"/>
                <a:gd name="connsiteY284" fmla="*/ 96801 h 1333436"/>
                <a:gd name="connsiteX285" fmla="*/ 230046 w 752994"/>
                <a:gd name="connsiteY285" fmla="*/ 85387 h 1333436"/>
                <a:gd name="connsiteX286" fmla="*/ 243298 w 752994"/>
                <a:gd name="connsiteY286" fmla="*/ 75198 h 1333436"/>
                <a:gd name="connsiteX287" fmla="*/ 246760 w 752994"/>
                <a:gd name="connsiteY287" fmla="*/ 77646 h 1333436"/>
                <a:gd name="connsiteX288" fmla="*/ 255541 w 752994"/>
                <a:gd name="connsiteY288" fmla="*/ 63376 h 1333436"/>
                <a:gd name="connsiteX289" fmla="*/ 259611 w 752994"/>
                <a:gd name="connsiteY289" fmla="*/ 43405 h 1333436"/>
                <a:gd name="connsiteX290" fmla="*/ 256967 w 752994"/>
                <a:gd name="connsiteY290" fmla="*/ 38520 h 1333436"/>
                <a:gd name="connsiteX291" fmla="*/ 253906 w 752994"/>
                <a:gd name="connsiteY291" fmla="*/ 34242 h 1333436"/>
                <a:gd name="connsiteX292" fmla="*/ 256967 w 752994"/>
                <a:gd name="connsiteY292" fmla="*/ 30161 h 1333436"/>
                <a:gd name="connsiteX293" fmla="*/ 262063 w 752994"/>
                <a:gd name="connsiteY293" fmla="*/ 27712 h 1333436"/>
                <a:gd name="connsiteX294" fmla="*/ 264915 w 752994"/>
                <a:gd name="connsiteY294" fmla="*/ 23026 h 1333436"/>
                <a:gd name="connsiteX295" fmla="*/ 267976 w 752994"/>
                <a:gd name="connsiteY295" fmla="*/ 22618 h 1333436"/>
                <a:gd name="connsiteX296" fmla="*/ 270427 w 752994"/>
                <a:gd name="connsiteY296" fmla="*/ 20787 h 1333436"/>
                <a:gd name="connsiteX297" fmla="*/ 263088 w 752994"/>
                <a:gd name="connsiteY297" fmla="*/ 13652 h 1333436"/>
                <a:gd name="connsiteX298" fmla="*/ 255541 w 752994"/>
                <a:gd name="connsiteY298" fmla="*/ 3055 h 1333436"/>
                <a:gd name="connsiteX299" fmla="*/ 256358 w 752994"/>
                <a:gd name="connsiteY299" fmla="*/ 1224 h 1333436"/>
                <a:gd name="connsiteX300" fmla="*/ 257159 w 752994"/>
                <a:gd name="connsiteY300" fmla="*/ 0 h 1333436"/>
                <a:gd name="connsiteX0" fmla="*/ 185163 w 752994"/>
                <a:gd name="connsiteY0" fmla="*/ 219484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188223 w 752994"/>
                <a:gd name="connsiteY6" fmla="*/ 223973 h 1333436"/>
                <a:gd name="connsiteX7" fmla="*/ 185163 w 752994"/>
                <a:gd name="connsiteY7" fmla="*/ 219484 h 1333436"/>
                <a:gd name="connsiteX8" fmla="*/ 257159 w 752994"/>
                <a:gd name="connsiteY8" fmla="*/ 0 h 1333436"/>
                <a:gd name="connsiteX9" fmla="*/ 493147 w 752994"/>
                <a:gd name="connsiteY9" fmla="*/ 73157 h 1333436"/>
                <a:gd name="connsiteX10" fmla="*/ 492970 w 752994"/>
                <a:gd name="connsiteY10" fmla="*/ 73792 h 1333436"/>
                <a:gd name="connsiteX11" fmla="*/ 525816 w 752994"/>
                <a:gd name="connsiteY11" fmla="*/ 82491 h 1333436"/>
                <a:gd name="connsiteX12" fmla="*/ 520098 w 752994"/>
                <a:gd name="connsiteY12" fmla="*/ 111245 h 1333436"/>
                <a:gd name="connsiteX13" fmla="*/ 512552 w 752994"/>
                <a:gd name="connsiteY13" fmla="*/ 143854 h 1333436"/>
                <a:gd name="connsiteX14" fmla="*/ 517849 w 752994"/>
                <a:gd name="connsiteY14" fmla="*/ 157740 h 1333436"/>
                <a:gd name="connsiteX15" fmla="*/ 523160 w 752994"/>
                <a:gd name="connsiteY15" fmla="*/ 172009 h 1333436"/>
                <a:gd name="connsiteX16" fmla="*/ 521535 w 752994"/>
                <a:gd name="connsiteY16" fmla="*/ 178928 h 1333436"/>
                <a:gd name="connsiteX17" fmla="*/ 520098 w 752994"/>
                <a:gd name="connsiteY17" fmla="*/ 186279 h 1333436"/>
                <a:gd name="connsiteX18" fmla="*/ 526019 w 752994"/>
                <a:gd name="connsiteY18" fmla="*/ 193629 h 1333436"/>
                <a:gd name="connsiteX19" fmla="*/ 537251 w 752994"/>
                <a:gd name="connsiteY19" fmla="*/ 206270 h 1333436"/>
                <a:gd name="connsiteX20" fmla="*/ 542765 w 752994"/>
                <a:gd name="connsiteY20" fmla="*/ 217475 h 1333436"/>
                <a:gd name="connsiteX21" fmla="*/ 546857 w 752994"/>
                <a:gd name="connsiteY21" fmla="*/ 230930 h 1333436"/>
                <a:gd name="connsiteX22" fmla="*/ 549499 w 752994"/>
                <a:gd name="connsiteY22" fmla="*/ 235622 h 1333436"/>
                <a:gd name="connsiteX23" fmla="*/ 553388 w 752994"/>
                <a:gd name="connsiteY23" fmla="*/ 240722 h 1333436"/>
                <a:gd name="connsiteX24" fmla="*/ 557465 w 752994"/>
                <a:gd name="connsiteY24" fmla="*/ 246037 h 1333436"/>
                <a:gd name="connsiteX25" fmla="*/ 561761 w 752994"/>
                <a:gd name="connsiteY25" fmla="*/ 248671 h 1333436"/>
                <a:gd name="connsiteX26" fmla="*/ 567478 w 752994"/>
                <a:gd name="connsiteY26" fmla="*/ 247665 h 1333436"/>
                <a:gd name="connsiteX27" fmla="*/ 569931 w 752994"/>
                <a:gd name="connsiteY27" fmla="*/ 249293 h 1333436"/>
                <a:gd name="connsiteX28" fmla="*/ 570540 w 752994"/>
                <a:gd name="connsiteY28" fmla="*/ 251951 h 1333436"/>
                <a:gd name="connsiteX29" fmla="*/ 561964 w 752994"/>
                <a:gd name="connsiteY29" fmla="*/ 267656 h 1333436"/>
                <a:gd name="connsiteX30" fmla="*/ 553591 w 752994"/>
                <a:gd name="connsiteY30" fmla="*/ 289659 h 1333436"/>
                <a:gd name="connsiteX31" fmla="*/ 554810 w 752994"/>
                <a:gd name="connsiteY31" fmla="*/ 292939 h 1333436"/>
                <a:gd name="connsiteX32" fmla="*/ 556246 w 752994"/>
                <a:gd name="connsiteY32" fmla="*/ 299260 h 1333436"/>
                <a:gd name="connsiteX33" fmla="*/ 552778 w 752994"/>
                <a:gd name="connsiteY33" fmla="*/ 301917 h 1333436"/>
                <a:gd name="connsiteX34" fmla="*/ 549295 w 752994"/>
                <a:gd name="connsiteY34" fmla="*/ 306993 h 1333436"/>
                <a:gd name="connsiteX35" fmla="*/ 547061 w 752994"/>
                <a:gd name="connsiteY35" fmla="*/ 313122 h 1333436"/>
                <a:gd name="connsiteX36" fmla="*/ 544811 w 752994"/>
                <a:gd name="connsiteY36" fmla="*/ 316593 h 1333436"/>
                <a:gd name="connsiteX37" fmla="*/ 549919 w 752994"/>
                <a:gd name="connsiteY37" fmla="*/ 322698 h 1333436"/>
                <a:gd name="connsiteX38" fmla="*/ 553184 w 752994"/>
                <a:gd name="connsiteY38" fmla="*/ 325955 h 1333436"/>
                <a:gd name="connsiteX39" fmla="*/ 555840 w 752994"/>
                <a:gd name="connsiteY39" fmla="*/ 328205 h 1333436"/>
                <a:gd name="connsiteX40" fmla="*/ 574212 w 752994"/>
                <a:gd name="connsiteY40" fmla="*/ 318820 h 1333436"/>
                <a:gd name="connsiteX41" fmla="*/ 579523 w 752994"/>
                <a:gd name="connsiteY41" fmla="*/ 326577 h 1333436"/>
                <a:gd name="connsiteX42" fmla="*/ 580539 w 752994"/>
                <a:gd name="connsiteY42" fmla="*/ 334933 h 1333436"/>
                <a:gd name="connsiteX43" fmla="*/ 579726 w 752994"/>
                <a:gd name="connsiteY43" fmla="*/ 343097 h 1333436"/>
                <a:gd name="connsiteX44" fmla="*/ 581366 w 752994"/>
                <a:gd name="connsiteY44" fmla="*/ 350231 h 1333436"/>
                <a:gd name="connsiteX45" fmla="*/ 586256 w 752994"/>
                <a:gd name="connsiteY45" fmla="*/ 355930 h 1333436"/>
                <a:gd name="connsiteX46" fmla="*/ 589536 w 752994"/>
                <a:gd name="connsiteY46" fmla="*/ 362059 h 1333436"/>
                <a:gd name="connsiteX47" fmla="*/ 588099 w 752994"/>
                <a:gd name="connsiteY47" fmla="*/ 369600 h 1333436"/>
                <a:gd name="connsiteX48" fmla="*/ 586459 w 752994"/>
                <a:gd name="connsiteY48" fmla="*/ 377357 h 1333436"/>
                <a:gd name="connsiteX49" fmla="*/ 588709 w 752994"/>
                <a:gd name="connsiteY49" fmla="*/ 381835 h 1333436"/>
                <a:gd name="connsiteX50" fmla="*/ 595036 w 752994"/>
                <a:gd name="connsiteY50" fmla="*/ 382457 h 1333436"/>
                <a:gd name="connsiteX51" fmla="*/ 599331 w 752994"/>
                <a:gd name="connsiteY51" fmla="*/ 385306 h 1333436"/>
                <a:gd name="connsiteX52" fmla="*/ 601987 w 752994"/>
                <a:gd name="connsiteY52" fmla="*/ 391004 h 1333436"/>
                <a:gd name="connsiteX53" fmla="*/ 602799 w 752994"/>
                <a:gd name="connsiteY53" fmla="*/ 404076 h 1333436"/>
                <a:gd name="connsiteX54" fmla="*/ 606892 w 752994"/>
                <a:gd name="connsiteY54" fmla="*/ 415688 h 1333436"/>
                <a:gd name="connsiteX55" fmla="*/ 610563 w 752994"/>
                <a:gd name="connsiteY55" fmla="*/ 412217 h 1333436"/>
                <a:gd name="connsiteX56" fmla="*/ 617920 w 752994"/>
                <a:gd name="connsiteY56" fmla="*/ 408769 h 1333436"/>
                <a:gd name="connsiteX57" fmla="*/ 624654 w 752994"/>
                <a:gd name="connsiteY57" fmla="*/ 411211 h 1333436"/>
                <a:gd name="connsiteX58" fmla="*/ 634652 w 752994"/>
                <a:gd name="connsiteY58" fmla="*/ 410182 h 1333436"/>
                <a:gd name="connsiteX59" fmla="*/ 640573 w 752994"/>
                <a:gd name="connsiteY59" fmla="*/ 407739 h 1333436"/>
                <a:gd name="connsiteX60" fmla="*/ 646711 w 752994"/>
                <a:gd name="connsiteY60" fmla="*/ 410589 h 1333436"/>
                <a:gd name="connsiteX61" fmla="*/ 650383 w 752994"/>
                <a:gd name="connsiteY61" fmla="*/ 410589 h 1333436"/>
                <a:gd name="connsiteX62" fmla="*/ 654257 w 752994"/>
                <a:gd name="connsiteY62" fmla="*/ 411618 h 1333436"/>
                <a:gd name="connsiteX63" fmla="*/ 656913 w 752994"/>
                <a:gd name="connsiteY63" fmla="*/ 413653 h 1333436"/>
                <a:gd name="connsiteX64" fmla="*/ 660802 w 752994"/>
                <a:gd name="connsiteY64" fmla="*/ 415090 h 1333436"/>
                <a:gd name="connsiteX65" fmla="*/ 669581 w 752994"/>
                <a:gd name="connsiteY65" fmla="*/ 415904 h 1333436"/>
                <a:gd name="connsiteX66" fmla="*/ 672237 w 752994"/>
                <a:gd name="connsiteY66" fmla="*/ 415688 h 1333436"/>
                <a:gd name="connsiteX67" fmla="*/ 675705 w 752994"/>
                <a:gd name="connsiteY67" fmla="*/ 409367 h 1333436"/>
                <a:gd name="connsiteX68" fmla="*/ 679986 w 752994"/>
                <a:gd name="connsiteY68" fmla="*/ 403238 h 1333436"/>
                <a:gd name="connsiteX69" fmla="*/ 693264 w 752994"/>
                <a:gd name="connsiteY69" fmla="*/ 419567 h 1333436"/>
                <a:gd name="connsiteX70" fmla="*/ 688563 w 752994"/>
                <a:gd name="connsiteY70" fmla="*/ 448321 h 1333436"/>
                <a:gd name="connsiteX71" fmla="*/ 663949 w 752994"/>
                <a:gd name="connsiteY71" fmla="*/ 590165 h 1333436"/>
                <a:gd name="connsiteX72" fmla="*/ 666304 w 752994"/>
                <a:gd name="connsiteY72" fmla="*/ 590504 h 1333436"/>
                <a:gd name="connsiteX73" fmla="*/ 655288 w 752994"/>
                <a:gd name="connsiteY73" fmla="*/ 656178 h 1333436"/>
                <a:gd name="connsiteX74" fmla="*/ 681808 w 752994"/>
                <a:gd name="connsiteY74" fmla="*/ 662301 h 1333436"/>
                <a:gd name="connsiteX75" fmla="*/ 752994 w 752994"/>
                <a:gd name="connsiteY75" fmla="*/ 675560 h 1333436"/>
                <a:gd name="connsiteX76" fmla="*/ 714651 w 752994"/>
                <a:gd name="connsiteY76" fmla="*/ 946985 h 1333436"/>
                <a:gd name="connsiteX77" fmla="*/ 654533 w 752994"/>
                <a:gd name="connsiteY77" fmla="*/ 1333436 h 1333436"/>
                <a:gd name="connsiteX78" fmla="*/ 546831 w 752994"/>
                <a:gd name="connsiteY78" fmla="*/ 1317126 h 1333436"/>
                <a:gd name="connsiteX79" fmla="*/ 351227 w 752994"/>
                <a:gd name="connsiteY79" fmla="*/ 1194172 h 1333436"/>
                <a:gd name="connsiteX80" fmla="*/ 361011 w 752994"/>
                <a:gd name="connsiteY80" fmla="*/ 1182755 h 1333436"/>
                <a:gd name="connsiteX81" fmla="*/ 368981 w 752994"/>
                <a:gd name="connsiteY81" fmla="*/ 1182130 h 1333436"/>
                <a:gd name="connsiteX82" fmla="*/ 369571 w 752994"/>
                <a:gd name="connsiteY82" fmla="*/ 1181558 h 1333436"/>
                <a:gd name="connsiteX83" fmla="*/ 362372 w 752994"/>
                <a:gd name="connsiteY83" fmla="*/ 1182120 h 1333436"/>
                <a:gd name="connsiteX84" fmla="*/ 229464 w 752994"/>
                <a:gd name="connsiteY84" fmla="*/ 1161721 h 1333436"/>
                <a:gd name="connsiteX85" fmla="*/ 227427 w 752994"/>
                <a:gd name="connsiteY85" fmla="*/ 1157269 h 1333436"/>
                <a:gd name="connsiteX86" fmla="*/ 224967 w 752994"/>
                <a:gd name="connsiteY86" fmla="*/ 1152575 h 1333436"/>
                <a:gd name="connsiteX87" fmla="*/ 225582 w 752994"/>
                <a:gd name="connsiteY87" fmla="*/ 1144808 h 1333436"/>
                <a:gd name="connsiteX88" fmla="*/ 227215 w 752994"/>
                <a:gd name="connsiteY88" fmla="*/ 1135834 h 1333436"/>
                <a:gd name="connsiteX89" fmla="*/ 227215 w 752994"/>
                <a:gd name="connsiteY89" fmla="*/ 1134212 h 1333436"/>
                <a:gd name="connsiteX90" fmla="*/ 225179 w 752994"/>
                <a:gd name="connsiteY90" fmla="*/ 1114020 h 1333436"/>
                <a:gd name="connsiteX91" fmla="*/ 217839 w 752994"/>
                <a:gd name="connsiteY91" fmla="*/ 1100352 h 1333436"/>
                <a:gd name="connsiteX92" fmla="*/ 199661 w 752994"/>
                <a:gd name="connsiteY92" fmla="*/ 1076502 h 1333436"/>
                <a:gd name="connsiteX93" fmla="*/ 196395 w 752994"/>
                <a:gd name="connsiteY93" fmla="*/ 1071807 h 1333436"/>
                <a:gd name="connsiteX94" fmla="*/ 190880 w 752994"/>
                <a:gd name="connsiteY94" fmla="*/ 1067527 h 1333436"/>
                <a:gd name="connsiteX95" fmla="*/ 187210 w 752994"/>
                <a:gd name="connsiteY95" fmla="*/ 1068735 h 1333436"/>
                <a:gd name="connsiteX96" fmla="*/ 180062 w 752994"/>
                <a:gd name="connsiteY96" fmla="*/ 1066699 h 1333436"/>
                <a:gd name="connsiteX97" fmla="*/ 180466 w 752994"/>
                <a:gd name="connsiteY97" fmla="*/ 1053031 h 1333436"/>
                <a:gd name="connsiteX98" fmla="*/ 180062 w 752994"/>
                <a:gd name="connsiteY98" fmla="*/ 1045299 h 1333436"/>
                <a:gd name="connsiteX99" fmla="*/ 174144 w 752994"/>
                <a:gd name="connsiteY99" fmla="*/ 1044057 h 1333436"/>
                <a:gd name="connsiteX100" fmla="*/ 158426 w 752994"/>
                <a:gd name="connsiteY100" fmla="*/ 1042641 h 1333436"/>
                <a:gd name="connsiteX101" fmla="*/ 149857 w 752994"/>
                <a:gd name="connsiteY101" fmla="*/ 1035497 h 1333436"/>
                <a:gd name="connsiteX102" fmla="*/ 142497 w 752994"/>
                <a:gd name="connsiteY102" fmla="*/ 1028766 h 1333436"/>
                <a:gd name="connsiteX103" fmla="*/ 140864 w 752994"/>
                <a:gd name="connsiteY103" fmla="*/ 1020620 h 1333436"/>
                <a:gd name="connsiteX104" fmla="*/ 138212 w 752994"/>
                <a:gd name="connsiteY104" fmla="*/ 1013061 h 1333436"/>
                <a:gd name="connsiteX105" fmla="*/ 131064 w 752994"/>
                <a:gd name="connsiteY105" fmla="*/ 1007159 h 1333436"/>
                <a:gd name="connsiteX106" fmla="*/ 121264 w 752994"/>
                <a:gd name="connsiteY106" fmla="*/ 1005330 h 1333436"/>
                <a:gd name="connsiteX107" fmla="*/ 112483 w 752994"/>
                <a:gd name="connsiteY107" fmla="*/ 1001671 h 1333436"/>
                <a:gd name="connsiteX108" fmla="*/ 105950 w 752994"/>
                <a:gd name="connsiteY108" fmla="*/ 995734 h 1333436"/>
                <a:gd name="connsiteX109" fmla="*/ 97380 w 752994"/>
                <a:gd name="connsiteY109" fmla="*/ 994526 h 1333436"/>
                <a:gd name="connsiteX110" fmla="*/ 87984 w 752994"/>
                <a:gd name="connsiteY110" fmla="*/ 991040 h 1333436"/>
                <a:gd name="connsiteX111" fmla="*/ 80029 w 752994"/>
                <a:gd name="connsiteY111" fmla="*/ 985138 h 1333436"/>
                <a:gd name="connsiteX112" fmla="*/ 77166 w 752994"/>
                <a:gd name="connsiteY112" fmla="*/ 976164 h 1333436"/>
                <a:gd name="connsiteX113" fmla="*/ 79203 w 752994"/>
                <a:gd name="connsiteY113" fmla="*/ 970676 h 1333436"/>
                <a:gd name="connsiteX114" fmla="*/ 82470 w 752994"/>
                <a:gd name="connsiteY114" fmla="*/ 963117 h 1333436"/>
                <a:gd name="connsiteX115" fmla="*/ 84314 w 752994"/>
                <a:gd name="connsiteY115" fmla="*/ 954557 h 1333436"/>
                <a:gd name="connsiteX116" fmla="*/ 86351 w 752994"/>
                <a:gd name="connsiteY116" fmla="*/ 948033 h 1333436"/>
                <a:gd name="connsiteX117" fmla="*/ 86159 w 752994"/>
                <a:gd name="connsiteY117" fmla="*/ 942925 h 1333436"/>
                <a:gd name="connsiteX118" fmla="*/ 83085 w 752994"/>
                <a:gd name="connsiteY118" fmla="*/ 939853 h 1333436"/>
                <a:gd name="connsiteX119" fmla="*/ 77570 w 752994"/>
                <a:gd name="connsiteY119" fmla="*/ 937437 h 1333436"/>
                <a:gd name="connsiteX120" fmla="*/ 76763 w 752994"/>
                <a:gd name="connsiteY120" fmla="*/ 931915 h 1333436"/>
                <a:gd name="connsiteX121" fmla="*/ 78800 w 752994"/>
                <a:gd name="connsiteY121" fmla="*/ 927013 h 1333436"/>
                <a:gd name="connsiteX122" fmla="*/ 79626 w 752994"/>
                <a:gd name="connsiteY122" fmla="*/ 922526 h 1333436"/>
                <a:gd name="connsiteX123" fmla="*/ 77781 w 752994"/>
                <a:gd name="connsiteY123" fmla="*/ 919903 h 1333436"/>
                <a:gd name="connsiteX124" fmla="*/ 74303 w 752994"/>
                <a:gd name="connsiteY124" fmla="*/ 917418 h 1333436"/>
                <a:gd name="connsiteX125" fmla="*/ 71863 w 752994"/>
                <a:gd name="connsiteY125" fmla="*/ 915174 h 1333436"/>
                <a:gd name="connsiteX126" fmla="*/ 71652 w 752994"/>
                <a:gd name="connsiteY126" fmla="*/ 910894 h 1333436"/>
                <a:gd name="connsiteX127" fmla="*/ 70633 w 752994"/>
                <a:gd name="connsiteY127" fmla="*/ 906614 h 1333436"/>
                <a:gd name="connsiteX128" fmla="*/ 68385 w 752994"/>
                <a:gd name="connsiteY128" fmla="*/ 902749 h 1333436"/>
                <a:gd name="connsiteX129" fmla="*/ 61045 w 752994"/>
                <a:gd name="connsiteY129" fmla="*/ 889494 h 1333436"/>
                <a:gd name="connsiteX130" fmla="*/ 57971 w 752994"/>
                <a:gd name="connsiteY130" fmla="*/ 875619 h 1333436"/>
                <a:gd name="connsiteX131" fmla="*/ 52264 w 752994"/>
                <a:gd name="connsiteY131" fmla="*/ 862572 h 1333436"/>
                <a:gd name="connsiteX132" fmla="*/ 44309 w 752994"/>
                <a:gd name="connsiteY132" fmla="*/ 850561 h 1333436"/>
                <a:gd name="connsiteX133" fmla="*/ 45520 w 752994"/>
                <a:gd name="connsiteY133" fmla="*/ 827090 h 1333436"/>
                <a:gd name="connsiteX134" fmla="*/ 53071 w 752994"/>
                <a:gd name="connsiteY134" fmla="*/ 822396 h 1333436"/>
                <a:gd name="connsiteX135" fmla="*/ 57375 w 752994"/>
                <a:gd name="connsiteY135" fmla="*/ 816493 h 1333436"/>
                <a:gd name="connsiteX136" fmla="*/ 55319 w 752994"/>
                <a:gd name="connsiteY136" fmla="*/ 801617 h 1333436"/>
                <a:gd name="connsiteX137" fmla="*/ 48383 w 752994"/>
                <a:gd name="connsiteY137" fmla="*/ 802204 h 1333436"/>
                <a:gd name="connsiteX138" fmla="*/ 40428 w 752994"/>
                <a:gd name="connsiteY138" fmla="*/ 797924 h 1333436"/>
                <a:gd name="connsiteX139" fmla="*/ 37565 w 752994"/>
                <a:gd name="connsiteY139" fmla="*/ 790606 h 1333436"/>
                <a:gd name="connsiteX140" fmla="*/ 37565 w 752994"/>
                <a:gd name="connsiteY140" fmla="*/ 790399 h 1333436"/>
                <a:gd name="connsiteX141" fmla="*/ 35931 w 752994"/>
                <a:gd name="connsiteY141" fmla="*/ 785912 h 1333436"/>
                <a:gd name="connsiteX142" fmla="*/ 34510 w 752994"/>
                <a:gd name="connsiteY142" fmla="*/ 780597 h 1333436"/>
                <a:gd name="connsiteX143" fmla="*/ 36335 w 752994"/>
                <a:gd name="connsiteY143" fmla="*/ 774280 h 1333436"/>
                <a:gd name="connsiteX144" fmla="*/ 38180 w 752994"/>
                <a:gd name="connsiteY144" fmla="*/ 766721 h 1333436"/>
                <a:gd name="connsiteX145" fmla="*/ 37161 w 752994"/>
                <a:gd name="connsiteY145" fmla="*/ 760405 h 1333436"/>
                <a:gd name="connsiteX146" fmla="*/ 35720 w 752994"/>
                <a:gd name="connsiteY146" fmla="*/ 754710 h 1333436"/>
                <a:gd name="connsiteX147" fmla="*/ 36546 w 752994"/>
                <a:gd name="connsiteY147" fmla="*/ 748773 h 1333436"/>
                <a:gd name="connsiteX148" fmla="*/ 38372 w 752994"/>
                <a:gd name="connsiteY148" fmla="*/ 744528 h 1333436"/>
                <a:gd name="connsiteX149" fmla="*/ 41638 w 752994"/>
                <a:gd name="connsiteY149" fmla="*/ 744321 h 1333436"/>
                <a:gd name="connsiteX150" fmla="*/ 44713 w 752994"/>
                <a:gd name="connsiteY150" fmla="*/ 746357 h 1333436"/>
                <a:gd name="connsiteX151" fmla="*/ 47364 w 752994"/>
                <a:gd name="connsiteY151" fmla="*/ 753260 h 1333436"/>
                <a:gd name="connsiteX152" fmla="*/ 55742 w 752994"/>
                <a:gd name="connsiteY152" fmla="*/ 764305 h 1333436"/>
                <a:gd name="connsiteX153" fmla="*/ 56338 w 752994"/>
                <a:gd name="connsiteY153" fmla="*/ 761233 h 1333436"/>
                <a:gd name="connsiteX154" fmla="*/ 56145 w 752994"/>
                <a:gd name="connsiteY154" fmla="*/ 757368 h 1333436"/>
                <a:gd name="connsiteX155" fmla="*/ 54916 w 752994"/>
                <a:gd name="connsiteY155" fmla="*/ 748601 h 1333436"/>
                <a:gd name="connsiteX156" fmla="*/ 52879 w 752994"/>
                <a:gd name="connsiteY156" fmla="*/ 747358 h 1333436"/>
                <a:gd name="connsiteX157" fmla="*/ 51649 w 752994"/>
                <a:gd name="connsiteY157" fmla="*/ 745322 h 1333436"/>
                <a:gd name="connsiteX158" fmla="*/ 51649 w 752994"/>
                <a:gd name="connsiteY158" fmla="*/ 739212 h 1333436"/>
                <a:gd name="connsiteX159" fmla="*/ 50227 w 752994"/>
                <a:gd name="connsiteY159" fmla="*/ 734725 h 1333436"/>
                <a:gd name="connsiteX160" fmla="*/ 48786 w 752994"/>
                <a:gd name="connsiteY160" fmla="*/ 731446 h 1333436"/>
                <a:gd name="connsiteX161" fmla="*/ 54512 w 752994"/>
                <a:gd name="connsiteY161" fmla="*/ 726372 h 1333436"/>
                <a:gd name="connsiteX162" fmla="*/ 59815 w 752994"/>
                <a:gd name="connsiteY162" fmla="*/ 725130 h 1333436"/>
                <a:gd name="connsiteX163" fmla="*/ 58182 w 752994"/>
                <a:gd name="connsiteY163" fmla="*/ 722886 h 1333436"/>
                <a:gd name="connsiteX164" fmla="*/ 51861 w 752994"/>
                <a:gd name="connsiteY164" fmla="*/ 717985 h 1333436"/>
                <a:gd name="connsiteX165" fmla="*/ 46749 w 752994"/>
                <a:gd name="connsiteY165" fmla="*/ 729617 h 1333436"/>
                <a:gd name="connsiteX166" fmla="*/ 40831 w 752994"/>
                <a:gd name="connsiteY166" fmla="*/ 739212 h 1333436"/>
                <a:gd name="connsiteX167" fmla="*/ 39601 w 752994"/>
                <a:gd name="connsiteY167" fmla="*/ 738798 h 1333436"/>
                <a:gd name="connsiteX168" fmla="*/ 39409 w 752994"/>
                <a:gd name="connsiteY168" fmla="*/ 738591 h 1333436"/>
                <a:gd name="connsiteX169" fmla="*/ 37161 w 752994"/>
                <a:gd name="connsiteY169" fmla="*/ 734725 h 1333436"/>
                <a:gd name="connsiteX170" fmla="*/ 32665 w 752994"/>
                <a:gd name="connsiteY170" fmla="*/ 727788 h 1333436"/>
                <a:gd name="connsiteX171" fmla="*/ 26747 w 752994"/>
                <a:gd name="connsiteY171" fmla="*/ 719435 h 1333436"/>
                <a:gd name="connsiteX172" fmla="*/ 23884 w 752994"/>
                <a:gd name="connsiteY172" fmla="*/ 717812 h 1333436"/>
                <a:gd name="connsiteX173" fmla="*/ 24710 w 752994"/>
                <a:gd name="connsiteY173" fmla="*/ 709632 h 1333436"/>
                <a:gd name="connsiteX174" fmla="*/ 27554 w 752994"/>
                <a:gd name="connsiteY174" fmla="*/ 701694 h 1333436"/>
                <a:gd name="connsiteX175" fmla="*/ 24902 w 752994"/>
                <a:gd name="connsiteY175" fmla="*/ 696171 h 1333436"/>
                <a:gd name="connsiteX176" fmla="*/ 24095 w 752994"/>
                <a:gd name="connsiteY176" fmla="*/ 687818 h 1333436"/>
                <a:gd name="connsiteX177" fmla="*/ 22462 w 752994"/>
                <a:gd name="connsiteY177" fmla="*/ 682330 h 1333436"/>
                <a:gd name="connsiteX178" fmla="*/ 17159 w 752994"/>
                <a:gd name="connsiteY178" fmla="*/ 677636 h 1333436"/>
                <a:gd name="connsiteX179" fmla="*/ 14296 w 752994"/>
                <a:gd name="connsiteY179" fmla="*/ 671492 h 1333436"/>
                <a:gd name="connsiteX180" fmla="*/ 12451 w 752994"/>
                <a:gd name="connsiteY180" fmla="*/ 665797 h 1333436"/>
                <a:gd name="connsiteX181" fmla="*/ 5111 w 752994"/>
                <a:gd name="connsiteY181" fmla="*/ 654994 h 1333436"/>
                <a:gd name="connsiteX182" fmla="*/ 2248 w 752994"/>
                <a:gd name="connsiteY182" fmla="*/ 645605 h 1333436"/>
                <a:gd name="connsiteX183" fmla="*/ 4496 w 752994"/>
                <a:gd name="connsiteY183" fmla="*/ 640497 h 1333436"/>
                <a:gd name="connsiteX184" fmla="*/ 6744 w 752994"/>
                <a:gd name="connsiteY184" fmla="*/ 632765 h 1333436"/>
                <a:gd name="connsiteX185" fmla="*/ 6744 w 752994"/>
                <a:gd name="connsiteY185" fmla="*/ 628485 h 1333436"/>
                <a:gd name="connsiteX186" fmla="*/ 6533 w 752994"/>
                <a:gd name="connsiteY186" fmla="*/ 620305 h 1333436"/>
                <a:gd name="connsiteX187" fmla="*/ 7359 w 752994"/>
                <a:gd name="connsiteY187" fmla="*/ 611745 h 1333436"/>
                <a:gd name="connsiteX188" fmla="*/ 11836 w 752994"/>
                <a:gd name="connsiteY188" fmla="*/ 602978 h 1333436"/>
                <a:gd name="connsiteX189" fmla="*/ 15103 w 752994"/>
                <a:gd name="connsiteY189" fmla="*/ 591760 h 1333436"/>
                <a:gd name="connsiteX190" fmla="*/ 14488 w 752994"/>
                <a:gd name="connsiteY190" fmla="*/ 584029 h 1333436"/>
                <a:gd name="connsiteX191" fmla="*/ 13873 w 752994"/>
                <a:gd name="connsiteY191" fmla="*/ 578299 h 1333436"/>
                <a:gd name="connsiteX192" fmla="*/ 10626 w 752994"/>
                <a:gd name="connsiteY192" fmla="*/ 568531 h 1333436"/>
                <a:gd name="connsiteX193" fmla="*/ 3670 w 752994"/>
                <a:gd name="connsiteY193" fmla="*/ 558107 h 1333436"/>
                <a:gd name="connsiteX194" fmla="*/ 0 w 752994"/>
                <a:gd name="connsiteY194" fmla="*/ 551377 h 1333436"/>
                <a:gd name="connsiteX195" fmla="*/ 0 w 752994"/>
                <a:gd name="connsiteY195" fmla="*/ 550997 h 1333436"/>
                <a:gd name="connsiteX196" fmla="*/ 4900 w 752994"/>
                <a:gd name="connsiteY196" fmla="*/ 531220 h 1333436"/>
                <a:gd name="connsiteX197" fmla="*/ 13873 w 752994"/>
                <a:gd name="connsiteY197" fmla="*/ 520589 h 1333436"/>
                <a:gd name="connsiteX198" fmla="*/ 18369 w 752994"/>
                <a:gd name="connsiteY198" fmla="*/ 516516 h 1333436"/>
                <a:gd name="connsiteX199" fmla="*/ 18773 w 752994"/>
                <a:gd name="connsiteY199" fmla="*/ 514272 h 1333436"/>
                <a:gd name="connsiteX200" fmla="*/ 23077 w 752994"/>
                <a:gd name="connsiteY200" fmla="*/ 506127 h 1333436"/>
                <a:gd name="connsiteX201" fmla="*/ 23884 w 752994"/>
                <a:gd name="connsiteY201" fmla="*/ 502261 h 1333436"/>
                <a:gd name="connsiteX202" fmla="*/ 23692 w 752994"/>
                <a:gd name="connsiteY202" fmla="*/ 496738 h 1333436"/>
                <a:gd name="connsiteX203" fmla="*/ 30013 w 752994"/>
                <a:gd name="connsiteY203" fmla="*/ 486556 h 1333436"/>
                <a:gd name="connsiteX204" fmla="*/ 36546 w 752994"/>
                <a:gd name="connsiteY204" fmla="*/ 470230 h 1333436"/>
                <a:gd name="connsiteX205" fmla="*/ 36546 w 752994"/>
                <a:gd name="connsiteY205" fmla="*/ 462671 h 1333436"/>
                <a:gd name="connsiteX206" fmla="*/ 36335 w 752994"/>
                <a:gd name="connsiteY206" fmla="*/ 461670 h 1333436"/>
                <a:gd name="connsiteX207" fmla="*/ 35931 w 752994"/>
                <a:gd name="connsiteY207" fmla="*/ 453110 h 1333436"/>
                <a:gd name="connsiteX208" fmla="*/ 38583 w 752994"/>
                <a:gd name="connsiteY208" fmla="*/ 442514 h 1333436"/>
                <a:gd name="connsiteX209" fmla="*/ 41043 w 752994"/>
                <a:gd name="connsiteY209" fmla="*/ 436991 h 1333436"/>
                <a:gd name="connsiteX210" fmla="*/ 41650 w 752994"/>
                <a:gd name="connsiteY210" fmla="*/ 437186 h 1333436"/>
                <a:gd name="connsiteX211" fmla="*/ 41239 w 752994"/>
                <a:gd name="connsiteY211" fmla="*/ 436549 h 1333436"/>
                <a:gd name="connsiteX212" fmla="*/ 37778 w 752994"/>
                <a:gd name="connsiteY212" fmla="*/ 433894 h 1333436"/>
                <a:gd name="connsiteX213" fmla="*/ 37169 w 752994"/>
                <a:gd name="connsiteY213" fmla="*/ 432261 h 1333436"/>
                <a:gd name="connsiteX214" fmla="*/ 37365 w 752994"/>
                <a:gd name="connsiteY214" fmla="*/ 429198 h 1333436"/>
                <a:gd name="connsiteX215" fmla="*/ 36756 w 752994"/>
                <a:gd name="connsiteY215" fmla="*/ 422272 h 1333436"/>
                <a:gd name="connsiteX216" fmla="*/ 36952 w 752994"/>
                <a:gd name="connsiteY216" fmla="*/ 418800 h 1333436"/>
                <a:gd name="connsiteX217" fmla="*/ 36756 w 752994"/>
                <a:gd name="connsiteY217" fmla="*/ 412487 h 1333436"/>
                <a:gd name="connsiteX218" fmla="*/ 40433 w 752994"/>
                <a:gd name="connsiteY218" fmla="*/ 406174 h 1333436"/>
                <a:gd name="connsiteX219" fmla="*/ 44720 w 752994"/>
                <a:gd name="connsiteY219" fmla="*/ 399435 h 1333436"/>
                <a:gd name="connsiteX220" fmla="*/ 44110 w 752994"/>
                <a:gd name="connsiteY220" fmla="*/ 389651 h 1333436"/>
                <a:gd name="connsiteX221" fmla="*/ 43894 w 752994"/>
                <a:gd name="connsiteY221" fmla="*/ 378437 h 1333436"/>
                <a:gd name="connsiteX222" fmla="*/ 47158 w 752994"/>
                <a:gd name="connsiteY222" fmla="*/ 371102 h 1333436"/>
                <a:gd name="connsiteX223" fmla="*/ 55731 w 752994"/>
                <a:gd name="connsiteY223" fmla="*/ 360909 h 1333436"/>
                <a:gd name="connsiteX224" fmla="*/ 57580 w 752994"/>
                <a:gd name="connsiteY224" fmla="*/ 355804 h 1333436"/>
                <a:gd name="connsiteX225" fmla="*/ 62673 w 752994"/>
                <a:gd name="connsiteY225" fmla="*/ 349695 h 1333436"/>
                <a:gd name="connsiteX226" fmla="*/ 65937 w 752994"/>
                <a:gd name="connsiteY226" fmla="*/ 348470 h 1333436"/>
                <a:gd name="connsiteX227" fmla="*/ 68395 w 752994"/>
                <a:gd name="connsiteY227" fmla="*/ 348674 h 1333436"/>
                <a:gd name="connsiteX228" fmla="*/ 70224 w 752994"/>
                <a:gd name="connsiteY228" fmla="*/ 347449 h 1333436"/>
                <a:gd name="connsiteX229" fmla="*/ 67785 w 752994"/>
                <a:gd name="connsiteY229" fmla="*/ 345203 h 1333436"/>
                <a:gd name="connsiteX230" fmla="*/ 65524 w 752994"/>
                <a:gd name="connsiteY230" fmla="*/ 343178 h 1333436"/>
                <a:gd name="connsiteX231" fmla="*/ 73095 w 752994"/>
                <a:gd name="connsiteY231" fmla="*/ 333376 h 1333436"/>
                <a:gd name="connsiteX232" fmla="*/ 73291 w 752994"/>
                <a:gd name="connsiteY232" fmla="*/ 333376 h 1333436"/>
                <a:gd name="connsiteX233" fmla="*/ 77991 w 752994"/>
                <a:gd name="connsiteY233" fmla="*/ 325838 h 1333436"/>
                <a:gd name="connsiteX234" fmla="*/ 82671 w 752994"/>
                <a:gd name="connsiteY234" fmla="*/ 313619 h 1333436"/>
                <a:gd name="connsiteX235" fmla="*/ 87980 w 752994"/>
                <a:gd name="connsiteY235" fmla="*/ 303018 h 1333436"/>
                <a:gd name="connsiteX236" fmla="*/ 92267 w 752994"/>
                <a:gd name="connsiteY236" fmla="*/ 291191 h 1333436"/>
                <a:gd name="connsiteX237" fmla="*/ 96553 w 752994"/>
                <a:gd name="connsiteY237" fmla="*/ 281202 h 1333436"/>
                <a:gd name="connsiteX238" fmla="*/ 99621 w 752994"/>
                <a:gd name="connsiteY238" fmla="*/ 274481 h 1333436"/>
                <a:gd name="connsiteX239" fmla="*/ 103082 w 752994"/>
                <a:gd name="connsiteY239" fmla="*/ 262450 h 1333436"/>
                <a:gd name="connsiteX240" fmla="*/ 107172 w 752994"/>
                <a:gd name="connsiteY240" fmla="*/ 254299 h 1333436"/>
                <a:gd name="connsiteX241" fmla="*/ 112481 w 752994"/>
                <a:gd name="connsiteY241" fmla="*/ 243697 h 1333436"/>
                <a:gd name="connsiteX242" fmla="*/ 117181 w 752994"/>
                <a:gd name="connsiteY242" fmla="*/ 232279 h 1333436"/>
                <a:gd name="connsiteX243" fmla="*/ 125951 w 752994"/>
                <a:gd name="connsiteY243" fmla="*/ 217389 h 1333436"/>
                <a:gd name="connsiteX244" fmla="*/ 136156 w 752994"/>
                <a:gd name="connsiteY244" fmla="*/ 202925 h 1333436"/>
                <a:gd name="connsiteX245" fmla="*/ 138811 w 752994"/>
                <a:gd name="connsiteY245" fmla="*/ 183339 h 1333436"/>
                <a:gd name="connsiteX246" fmla="*/ 148801 w 752994"/>
                <a:gd name="connsiteY246" fmla="*/ 167445 h 1333436"/>
                <a:gd name="connsiteX247" fmla="*/ 159616 w 752994"/>
                <a:gd name="connsiteY247" fmla="*/ 170712 h 1333436"/>
                <a:gd name="connsiteX248" fmla="*/ 173105 w 752994"/>
                <a:gd name="connsiteY248" fmla="*/ 175188 h 1333436"/>
                <a:gd name="connsiteX249" fmla="*/ 175347 w 752994"/>
                <a:gd name="connsiteY249" fmla="*/ 175188 h 1333436"/>
                <a:gd name="connsiteX250" fmla="*/ 175347 w 752994"/>
                <a:gd name="connsiteY250" fmla="*/ 173758 h 1333436"/>
                <a:gd name="connsiteX251" fmla="*/ 184975 w 752994"/>
                <a:gd name="connsiteY251" fmla="*/ 187393 h 1333436"/>
                <a:gd name="connsiteX252" fmla="*/ 184762 w 752994"/>
                <a:gd name="connsiteY252" fmla="*/ 184637 h 1333436"/>
                <a:gd name="connsiteX253" fmla="*/ 174971 w 752994"/>
                <a:gd name="connsiteY253" fmla="*/ 170774 h 1333436"/>
                <a:gd name="connsiteX254" fmla="*/ 174971 w 752994"/>
                <a:gd name="connsiteY254" fmla="*/ 169550 h 1333436"/>
                <a:gd name="connsiteX255" fmla="*/ 158851 w 752994"/>
                <a:gd name="connsiteY255" fmla="*/ 156924 h 1333436"/>
                <a:gd name="connsiteX256" fmla="*/ 147025 w 752994"/>
                <a:gd name="connsiteY256" fmla="*/ 145709 h 1333436"/>
                <a:gd name="connsiteX257" fmla="*/ 154364 w 752994"/>
                <a:gd name="connsiteY257" fmla="*/ 136335 h 1333436"/>
                <a:gd name="connsiteX258" fmla="*/ 161511 w 752994"/>
                <a:gd name="connsiteY258" fmla="*/ 131042 h 1333436"/>
                <a:gd name="connsiteX259" fmla="*/ 160902 w 752994"/>
                <a:gd name="connsiteY259" fmla="*/ 128384 h 1333436"/>
                <a:gd name="connsiteX260" fmla="*/ 160277 w 752994"/>
                <a:gd name="connsiteY260" fmla="*/ 127778 h 1333436"/>
                <a:gd name="connsiteX261" fmla="*/ 154973 w 752994"/>
                <a:gd name="connsiteY261" fmla="*/ 122077 h 1333436"/>
                <a:gd name="connsiteX262" fmla="*/ 160277 w 752994"/>
                <a:gd name="connsiteY262" fmla="*/ 115140 h 1333436"/>
                <a:gd name="connsiteX263" fmla="*/ 165181 w 752994"/>
                <a:gd name="connsiteY263" fmla="*/ 108215 h 1333436"/>
                <a:gd name="connsiteX264" fmla="*/ 161303 w 752994"/>
                <a:gd name="connsiteY264" fmla="*/ 104146 h 1333436"/>
                <a:gd name="connsiteX265" fmla="*/ 157842 w 752994"/>
                <a:gd name="connsiteY265" fmla="*/ 104542 h 1333436"/>
                <a:gd name="connsiteX266" fmla="*/ 157024 w 752994"/>
                <a:gd name="connsiteY266" fmla="*/ 102304 h 1333436"/>
                <a:gd name="connsiteX267" fmla="*/ 160694 w 752994"/>
                <a:gd name="connsiteY267" fmla="*/ 55437 h 1333436"/>
                <a:gd name="connsiteX268" fmla="*/ 160486 w 752994"/>
                <a:gd name="connsiteY268" fmla="*/ 31991 h 1333436"/>
                <a:gd name="connsiteX269" fmla="*/ 164972 w 752994"/>
                <a:gd name="connsiteY269" fmla="*/ 18141 h 1333436"/>
                <a:gd name="connsiteX270" fmla="*/ 171911 w 752994"/>
                <a:gd name="connsiteY270" fmla="*/ 11204 h 1333436"/>
                <a:gd name="connsiteX271" fmla="*/ 187406 w 752994"/>
                <a:gd name="connsiteY271" fmla="*/ 21801 h 1333436"/>
                <a:gd name="connsiteX272" fmla="*/ 210866 w 752994"/>
                <a:gd name="connsiteY272" fmla="*/ 37086 h 1333436"/>
                <a:gd name="connsiteX273" fmla="*/ 219230 w 752994"/>
                <a:gd name="connsiteY273" fmla="*/ 41166 h 1333436"/>
                <a:gd name="connsiteX274" fmla="*/ 226778 w 752994"/>
                <a:gd name="connsiteY274" fmla="*/ 47486 h 1333436"/>
                <a:gd name="connsiteX275" fmla="*/ 236152 w 752994"/>
                <a:gd name="connsiteY275" fmla="*/ 52370 h 1333436"/>
                <a:gd name="connsiteX276" fmla="*/ 239629 w 752994"/>
                <a:gd name="connsiteY276" fmla="*/ 58491 h 1333436"/>
                <a:gd name="connsiteX277" fmla="*/ 239629 w 752994"/>
                <a:gd name="connsiteY277" fmla="*/ 63376 h 1333436"/>
                <a:gd name="connsiteX278" fmla="*/ 236568 w 752994"/>
                <a:gd name="connsiteY278" fmla="*/ 67457 h 1333436"/>
                <a:gd name="connsiteX279" fmla="*/ 231264 w 752994"/>
                <a:gd name="connsiteY279" fmla="*/ 69905 h 1333436"/>
                <a:gd name="connsiteX280" fmla="*/ 216778 w 752994"/>
                <a:gd name="connsiteY280" fmla="*/ 82741 h 1333436"/>
                <a:gd name="connsiteX281" fmla="*/ 214134 w 752994"/>
                <a:gd name="connsiteY281" fmla="*/ 93536 h 1333436"/>
                <a:gd name="connsiteX282" fmla="*/ 214535 w 752994"/>
                <a:gd name="connsiteY282" fmla="*/ 96801 h 1333436"/>
                <a:gd name="connsiteX283" fmla="*/ 216378 w 752994"/>
                <a:gd name="connsiteY283" fmla="*/ 96801 h 1333436"/>
                <a:gd name="connsiteX284" fmla="*/ 230046 w 752994"/>
                <a:gd name="connsiteY284" fmla="*/ 85387 h 1333436"/>
                <a:gd name="connsiteX285" fmla="*/ 243298 w 752994"/>
                <a:gd name="connsiteY285" fmla="*/ 75198 h 1333436"/>
                <a:gd name="connsiteX286" fmla="*/ 246760 w 752994"/>
                <a:gd name="connsiteY286" fmla="*/ 77646 h 1333436"/>
                <a:gd name="connsiteX287" fmla="*/ 255541 w 752994"/>
                <a:gd name="connsiteY287" fmla="*/ 63376 h 1333436"/>
                <a:gd name="connsiteX288" fmla="*/ 259611 w 752994"/>
                <a:gd name="connsiteY288" fmla="*/ 43405 h 1333436"/>
                <a:gd name="connsiteX289" fmla="*/ 256967 w 752994"/>
                <a:gd name="connsiteY289" fmla="*/ 38520 h 1333436"/>
                <a:gd name="connsiteX290" fmla="*/ 253906 w 752994"/>
                <a:gd name="connsiteY290" fmla="*/ 34242 h 1333436"/>
                <a:gd name="connsiteX291" fmla="*/ 256967 w 752994"/>
                <a:gd name="connsiteY291" fmla="*/ 30161 h 1333436"/>
                <a:gd name="connsiteX292" fmla="*/ 262063 w 752994"/>
                <a:gd name="connsiteY292" fmla="*/ 27712 h 1333436"/>
                <a:gd name="connsiteX293" fmla="*/ 264915 w 752994"/>
                <a:gd name="connsiteY293" fmla="*/ 23026 h 1333436"/>
                <a:gd name="connsiteX294" fmla="*/ 267976 w 752994"/>
                <a:gd name="connsiteY294" fmla="*/ 22618 h 1333436"/>
                <a:gd name="connsiteX295" fmla="*/ 270427 w 752994"/>
                <a:gd name="connsiteY295" fmla="*/ 20787 h 1333436"/>
                <a:gd name="connsiteX296" fmla="*/ 263088 w 752994"/>
                <a:gd name="connsiteY296" fmla="*/ 13652 h 1333436"/>
                <a:gd name="connsiteX297" fmla="*/ 255541 w 752994"/>
                <a:gd name="connsiteY297" fmla="*/ 3055 h 1333436"/>
                <a:gd name="connsiteX298" fmla="*/ 256358 w 752994"/>
                <a:gd name="connsiteY298" fmla="*/ 1224 h 1333436"/>
                <a:gd name="connsiteX299" fmla="*/ 257159 w 752994"/>
                <a:gd name="connsiteY299" fmla="*/ 0 h 1333436"/>
                <a:gd name="connsiteX0" fmla="*/ 188223 w 752994"/>
                <a:gd name="connsiteY0" fmla="*/ 223973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188223 w 752994"/>
                <a:gd name="connsiteY6" fmla="*/ 223973 h 1333436"/>
                <a:gd name="connsiteX7" fmla="*/ 257159 w 752994"/>
                <a:gd name="connsiteY7" fmla="*/ 0 h 1333436"/>
                <a:gd name="connsiteX8" fmla="*/ 493147 w 752994"/>
                <a:gd name="connsiteY8" fmla="*/ 73157 h 1333436"/>
                <a:gd name="connsiteX9" fmla="*/ 492970 w 752994"/>
                <a:gd name="connsiteY9" fmla="*/ 73792 h 1333436"/>
                <a:gd name="connsiteX10" fmla="*/ 525816 w 752994"/>
                <a:gd name="connsiteY10" fmla="*/ 82491 h 1333436"/>
                <a:gd name="connsiteX11" fmla="*/ 520098 w 752994"/>
                <a:gd name="connsiteY11" fmla="*/ 111245 h 1333436"/>
                <a:gd name="connsiteX12" fmla="*/ 512552 w 752994"/>
                <a:gd name="connsiteY12" fmla="*/ 143854 h 1333436"/>
                <a:gd name="connsiteX13" fmla="*/ 517849 w 752994"/>
                <a:gd name="connsiteY13" fmla="*/ 157740 h 1333436"/>
                <a:gd name="connsiteX14" fmla="*/ 523160 w 752994"/>
                <a:gd name="connsiteY14" fmla="*/ 172009 h 1333436"/>
                <a:gd name="connsiteX15" fmla="*/ 521535 w 752994"/>
                <a:gd name="connsiteY15" fmla="*/ 178928 h 1333436"/>
                <a:gd name="connsiteX16" fmla="*/ 520098 w 752994"/>
                <a:gd name="connsiteY16" fmla="*/ 186279 h 1333436"/>
                <a:gd name="connsiteX17" fmla="*/ 526019 w 752994"/>
                <a:gd name="connsiteY17" fmla="*/ 193629 h 1333436"/>
                <a:gd name="connsiteX18" fmla="*/ 537251 w 752994"/>
                <a:gd name="connsiteY18" fmla="*/ 206270 h 1333436"/>
                <a:gd name="connsiteX19" fmla="*/ 542765 w 752994"/>
                <a:gd name="connsiteY19" fmla="*/ 217475 h 1333436"/>
                <a:gd name="connsiteX20" fmla="*/ 546857 w 752994"/>
                <a:gd name="connsiteY20" fmla="*/ 230930 h 1333436"/>
                <a:gd name="connsiteX21" fmla="*/ 549499 w 752994"/>
                <a:gd name="connsiteY21" fmla="*/ 235622 h 1333436"/>
                <a:gd name="connsiteX22" fmla="*/ 553388 w 752994"/>
                <a:gd name="connsiteY22" fmla="*/ 240722 h 1333436"/>
                <a:gd name="connsiteX23" fmla="*/ 557465 w 752994"/>
                <a:gd name="connsiteY23" fmla="*/ 246037 h 1333436"/>
                <a:gd name="connsiteX24" fmla="*/ 561761 w 752994"/>
                <a:gd name="connsiteY24" fmla="*/ 248671 h 1333436"/>
                <a:gd name="connsiteX25" fmla="*/ 567478 w 752994"/>
                <a:gd name="connsiteY25" fmla="*/ 247665 h 1333436"/>
                <a:gd name="connsiteX26" fmla="*/ 569931 w 752994"/>
                <a:gd name="connsiteY26" fmla="*/ 249293 h 1333436"/>
                <a:gd name="connsiteX27" fmla="*/ 570540 w 752994"/>
                <a:gd name="connsiteY27" fmla="*/ 251951 h 1333436"/>
                <a:gd name="connsiteX28" fmla="*/ 561964 w 752994"/>
                <a:gd name="connsiteY28" fmla="*/ 267656 h 1333436"/>
                <a:gd name="connsiteX29" fmla="*/ 553591 w 752994"/>
                <a:gd name="connsiteY29" fmla="*/ 289659 h 1333436"/>
                <a:gd name="connsiteX30" fmla="*/ 554810 w 752994"/>
                <a:gd name="connsiteY30" fmla="*/ 292939 h 1333436"/>
                <a:gd name="connsiteX31" fmla="*/ 556246 w 752994"/>
                <a:gd name="connsiteY31" fmla="*/ 299260 h 1333436"/>
                <a:gd name="connsiteX32" fmla="*/ 552778 w 752994"/>
                <a:gd name="connsiteY32" fmla="*/ 301917 h 1333436"/>
                <a:gd name="connsiteX33" fmla="*/ 549295 w 752994"/>
                <a:gd name="connsiteY33" fmla="*/ 306993 h 1333436"/>
                <a:gd name="connsiteX34" fmla="*/ 547061 w 752994"/>
                <a:gd name="connsiteY34" fmla="*/ 313122 h 1333436"/>
                <a:gd name="connsiteX35" fmla="*/ 544811 w 752994"/>
                <a:gd name="connsiteY35" fmla="*/ 316593 h 1333436"/>
                <a:gd name="connsiteX36" fmla="*/ 549919 w 752994"/>
                <a:gd name="connsiteY36" fmla="*/ 322698 h 1333436"/>
                <a:gd name="connsiteX37" fmla="*/ 553184 w 752994"/>
                <a:gd name="connsiteY37" fmla="*/ 325955 h 1333436"/>
                <a:gd name="connsiteX38" fmla="*/ 555840 w 752994"/>
                <a:gd name="connsiteY38" fmla="*/ 328205 h 1333436"/>
                <a:gd name="connsiteX39" fmla="*/ 574212 w 752994"/>
                <a:gd name="connsiteY39" fmla="*/ 318820 h 1333436"/>
                <a:gd name="connsiteX40" fmla="*/ 579523 w 752994"/>
                <a:gd name="connsiteY40" fmla="*/ 326577 h 1333436"/>
                <a:gd name="connsiteX41" fmla="*/ 580539 w 752994"/>
                <a:gd name="connsiteY41" fmla="*/ 334933 h 1333436"/>
                <a:gd name="connsiteX42" fmla="*/ 579726 w 752994"/>
                <a:gd name="connsiteY42" fmla="*/ 343097 h 1333436"/>
                <a:gd name="connsiteX43" fmla="*/ 581366 w 752994"/>
                <a:gd name="connsiteY43" fmla="*/ 350231 h 1333436"/>
                <a:gd name="connsiteX44" fmla="*/ 586256 w 752994"/>
                <a:gd name="connsiteY44" fmla="*/ 355930 h 1333436"/>
                <a:gd name="connsiteX45" fmla="*/ 589536 w 752994"/>
                <a:gd name="connsiteY45" fmla="*/ 362059 h 1333436"/>
                <a:gd name="connsiteX46" fmla="*/ 588099 w 752994"/>
                <a:gd name="connsiteY46" fmla="*/ 369600 h 1333436"/>
                <a:gd name="connsiteX47" fmla="*/ 586459 w 752994"/>
                <a:gd name="connsiteY47" fmla="*/ 377357 h 1333436"/>
                <a:gd name="connsiteX48" fmla="*/ 588709 w 752994"/>
                <a:gd name="connsiteY48" fmla="*/ 381835 h 1333436"/>
                <a:gd name="connsiteX49" fmla="*/ 595036 w 752994"/>
                <a:gd name="connsiteY49" fmla="*/ 382457 h 1333436"/>
                <a:gd name="connsiteX50" fmla="*/ 599331 w 752994"/>
                <a:gd name="connsiteY50" fmla="*/ 385306 h 1333436"/>
                <a:gd name="connsiteX51" fmla="*/ 601987 w 752994"/>
                <a:gd name="connsiteY51" fmla="*/ 391004 h 1333436"/>
                <a:gd name="connsiteX52" fmla="*/ 602799 w 752994"/>
                <a:gd name="connsiteY52" fmla="*/ 404076 h 1333436"/>
                <a:gd name="connsiteX53" fmla="*/ 606892 w 752994"/>
                <a:gd name="connsiteY53" fmla="*/ 415688 h 1333436"/>
                <a:gd name="connsiteX54" fmla="*/ 610563 w 752994"/>
                <a:gd name="connsiteY54" fmla="*/ 412217 h 1333436"/>
                <a:gd name="connsiteX55" fmla="*/ 617920 w 752994"/>
                <a:gd name="connsiteY55" fmla="*/ 408769 h 1333436"/>
                <a:gd name="connsiteX56" fmla="*/ 624654 w 752994"/>
                <a:gd name="connsiteY56" fmla="*/ 411211 h 1333436"/>
                <a:gd name="connsiteX57" fmla="*/ 634652 w 752994"/>
                <a:gd name="connsiteY57" fmla="*/ 410182 h 1333436"/>
                <a:gd name="connsiteX58" fmla="*/ 640573 w 752994"/>
                <a:gd name="connsiteY58" fmla="*/ 407739 h 1333436"/>
                <a:gd name="connsiteX59" fmla="*/ 646711 w 752994"/>
                <a:gd name="connsiteY59" fmla="*/ 410589 h 1333436"/>
                <a:gd name="connsiteX60" fmla="*/ 650383 w 752994"/>
                <a:gd name="connsiteY60" fmla="*/ 410589 h 1333436"/>
                <a:gd name="connsiteX61" fmla="*/ 654257 w 752994"/>
                <a:gd name="connsiteY61" fmla="*/ 411618 h 1333436"/>
                <a:gd name="connsiteX62" fmla="*/ 656913 w 752994"/>
                <a:gd name="connsiteY62" fmla="*/ 413653 h 1333436"/>
                <a:gd name="connsiteX63" fmla="*/ 660802 w 752994"/>
                <a:gd name="connsiteY63" fmla="*/ 415090 h 1333436"/>
                <a:gd name="connsiteX64" fmla="*/ 669581 w 752994"/>
                <a:gd name="connsiteY64" fmla="*/ 415904 h 1333436"/>
                <a:gd name="connsiteX65" fmla="*/ 672237 w 752994"/>
                <a:gd name="connsiteY65" fmla="*/ 415688 h 1333436"/>
                <a:gd name="connsiteX66" fmla="*/ 675705 w 752994"/>
                <a:gd name="connsiteY66" fmla="*/ 409367 h 1333436"/>
                <a:gd name="connsiteX67" fmla="*/ 679986 w 752994"/>
                <a:gd name="connsiteY67" fmla="*/ 403238 h 1333436"/>
                <a:gd name="connsiteX68" fmla="*/ 693264 w 752994"/>
                <a:gd name="connsiteY68" fmla="*/ 419567 h 1333436"/>
                <a:gd name="connsiteX69" fmla="*/ 688563 w 752994"/>
                <a:gd name="connsiteY69" fmla="*/ 448321 h 1333436"/>
                <a:gd name="connsiteX70" fmla="*/ 663949 w 752994"/>
                <a:gd name="connsiteY70" fmla="*/ 590165 h 1333436"/>
                <a:gd name="connsiteX71" fmla="*/ 666304 w 752994"/>
                <a:gd name="connsiteY71" fmla="*/ 590504 h 1333436"/>
                <a:gd name="connsiteX72" fmla="*/ 655288 w 752994"/>
                <a:gd name="connsiteY72" fmla="*/ 656178 h 1333436"/>
                <a:gd name="connsiteX73" fmla="*/ 681808 w 752994"/>
                <a:gd name="connsiteY73" fmla="*/ 662301 h 1333436"/>
                <a:gd name="connsiteX74" fmla="*/ 752994 w 752994"/>
                <a:gd name="connsiteY74" fmla="*/ 675560 h 1333436"/>
                <a:gd name="connsiteX75" fmla="*/ 714651 w 752994"/>
                <a:gd name="connsiteY75" fmla="*/ 946985 h 1333436"/>
                <a:gd name="connsiteX76" fmla="*/ 654533 w 752994"/>
                <a:gd name="connsiteY76" fmla="*/ 1333436 h 1333436"/>
                <a:gd name="connsiteX77" fmla="*/ 546831 w 752994"/>
                <a:gd name="connsiteY77" fmla="*/ 1317126 h 1333436"/>
                <a:gd name="connsiteX78" fmla="*/ 351227 w 752994"/>
                <a:gd name="connsiteY78" fmla="*/ 1194172 h 1333436"/>
                <a:gd name="connsiteX79" fmla="*/ 361011 w 752994"/>
                <a:gd name="connsiteY79" fmla="*/ 1182755 h 1333436"/>
                <a:gd name="connsiteX80" fmla="*/ 368981 w 752994"/>
                <a:gd name="connsiteY80" fmla="*/ 1182130 h 1333436"/>
                <a:gd name="connsiteX81" fmla="*/ 369571 w 752994"/>
                <a:gd name="connsiteY81" fmla="*/ 1181558 h 1333436"/>
                <a:gd name="connsiteX82" fmla="*/ 362372 w 752994"/>
                <a:gd name="connsiteY82" fmla="*/ 1182120 h 1333436"/>
                <a:gd name="connsiteX83" fmla="*/ 229464 w 752994"/>
                <a:gd name="connsiteY83" fmla="*/ 1161721 h 1333436"/>
                <a:gd name="connsiteX84" fmla="*/ 227427 w 752994"/>
                <a:gd name="connsiteY84" fmla="*/ 1157269 h 1333436"/>
                <a:gd name="connsiteX85" fmla="*/ 224967 w 752994"/>
                <a:gd name="connsiteY85" fmla="*/ 1152575 h 1333436"/>
                <a:gd name="connsiteX86" fmla="*/ 225582 w 752994"/>
                <a:gd name="connsiteY86" fmla="*/ 1144808 h 1333436"/>
                <a:gd name="connsiteX87" fmla="*/ 227215 w 752994"/>
                <a:gd name="connsiteY87" fmla="*/ 1135834 h 1333436"/>
                <a:gd name="connsiteX88" fmla="*/ 227215 w 752994"/>
                <a:gd name="connsiteY88" fmla="*/ 1134212 h 1333436"/>
                <a:gd name="connsiteX89" fmla="*/ 225179 w 752994"/>
                <a:gd name="connsiteY89" fmla="*/ 1114020 h 1333436"/>
                <a:gd name="connsiteX90" fmla="*/ 217839 w 752994"/>
                <a:gd name="connsiteY90" fmla="*/ 1100352 h 1333436"/>
                <a:gd name="connsiteX91" fmla="*/ 199661 w 752994"/>
                <a:gd name="connsiteY91" fmla="*/ 1076502 h 1333436"/>
                <a:gd name="connsiteX92" fmla="*/ 196395 w 752994"/>
                <a:gd name="connsiteY92" fmla="*/ 1071807 h 1333436"/>
                <a:gd name="connsiteX93" fmla="*/ 190880 w 752994"/>
                <a:gd name="connsiteY93" fmla="*/ 1067527 h 1333436"/>
                <a:gd name="connsiteX94" fmla="*/ 187210 w 752994"/>
                <a:gd name="connsiteY94" fmla="*/ 1068735 h 1333436"/>
                <a:gd name="connsiteX95" fmla="*/ 180062 w 752994"/>
                <a:gd name="connsiteY95" fmla="*/ 1066699 h 1333436"/>
                <a:gd name="connsiteX96" fmla="*/ 180466 w 752994"/>
                <a:gd name="connsiteY96" fmla="*/ 1053031 h 1333436"/>
                <a:gd name="connsiteX97" fmla="*/ 180062 w 752994"/>
                <a:gd name="connsiteY97" fmla="*/ 1045299 h 1333436"/>
                <a:gd name="connsiteX98" fmla="*/ 174144 w 752994"/>
                <a:gd name="connsiteY98" fmla="*/ 1044057 h 1333436"/>
                <a:gd name="connsiteX99" fmla="*/ 158426 w 752994"/>
                <a:gd name="connsiteY99" fmla="*/ 1042641 h 1333436"/>
                <a:gd name="connsiteX100" fmla="*/ 149857 w 752994"/>
                <a:gd name="connsiteY100" fmla="*/ 1035497 h 1333436"/>
                <a:gd name="connsiteX101" fmla="*/ 142497 w 752994"/>
                <a:gd name="connsiteY101" fmla="*/ 1028766 h 1333436"/>
                <a:gd name="connsiteX102" fmla="*/ 140864 w 752994"/>
                <a:gd name="connsiteY102" fmla="*/ 1020620 h 1333436"/>
                <a:gd name="connsiteX103" fmla="*/ 138212 w 752994"/>
                <a:gd name="connsiteY103" fmla="*/ 1013061 h 1333436"/>
                <a:gd name="connsiteX104" fmla="*/ 131064 w 752994"/>
                <a:gd name="connsiteY104" fmla="*/ 1007159 h 1333436"/>
                <a:gd name="connsiteX105" fmla="*/ 121264 w 752994"/>
                <a:gd name="connsiteY105" fmla="*/ 1005330 h 1333436"/>
                <a:gd name="connsiteX106" fmla="*/ 112483 w 752994"/>
                <a:gd name="connsiteY106" fmla="*/ 1001671 h 1333436"/>
                <a:gd name="connsiteX107" fmla="*/ 105950 w 752994"/>
                <a:gd name="connsiteY107" fmla="*/ 995734 h 1333436"/>
                <a:gd name="connsiteX108" fmla="*/ 97380 w 752994"/>
                <a:gd name="connsiteY108" fmla="*/ 994526 h 1333436"/>
                <a:gd name="connsiteX109" fmla="*/ 87984 w 752994"/>
                <a:gd name="connsiteY109" fmla="*/ 991040 h 1333436"/>
                <a:gd name="connsiteX110" fmla="*/ 80029 w 752994"/>
                <a:gd name="connsiteY110" fmla="*/ 985138 h 1333436"/>
                <a:gd name="connsiteX111" fmla="*/ 77166 w 752994"/>
                <a:gd name="connsiteY111" fmla="*/ 976164 h 1333436"/>
                <a:gd name="connsiteX112" fmla="*/ 79203 w 752994"/>
                <a:gd name="connsiteY112" fmla="*/ 970676 h 1333436"/>
                <a:gd name="connsiteX113" fmla="*/ 82470 w 752994"/>
                <a:gd name="connsiteY113" fmla="*/ 963117 h 1333436"/>
                <a:gd name="connsiteX114" fmla="*/ 84314 w 752994"/>
                <a:gd name="connsiteY114" fmla="*/ 954557 h 1333436"/>
                <a:gd name="connsiteX115" fmla="*/ 86351 w 752994"/>
                <a:gd name="connsiteY115" fmla="*/ 948033 h 1333436"/>
                <a:gd name="connsiteX116" fmla="*/ 86159 w 752994"/>
                <a:gd name="connsiteY116" fmla="*/ 942925 h 1333436"/>
                <a:gd name="connsiteX117" fmla="*/ 83085 w 752994"/>
                <a:gd name="connsiteY117" fmla="*/ 939853 h 1333436"/>
                <a:gd name="connsiteX118" fmla="*/ 77570 w 752994"/>
                <a:gd name="connsiteY118" fmla="*/ 937437 h 1333436"/>
                <a:gd name="connsiteX119" fmla="*/ 76763 w 752994"/>
                <a:gd name="connsiteY119" fmla="*/ 931915 h 1333436"/>
                <a:gd name="connsiteX120" fmla="*/ 78800 w 752994"/>
                <a:gd name="connsiteY120" fmla="*/ 927013 h 1333436"/>
                <a:gd name="connsiteX121" fmla="*/ 79626 w 752994"/>
                <a:gd name="connsiteY121" fmla="*/ 922526 h 1333436"/>
                <a:gd name="connsiteX122" fmla="*/ 77781 w 752994"/>
                <a:gd name="connsiteY122" fmla="*/ 919903 h 1333436"/>
                <a:gd name="connsiteX123" fmla="*/ 74303 w 752994"/>
                <a:gd name="connsiteY123" fmla="*/ 917418 h 1333436"/>
                <a:gd name="connsiteX124" fmla="*/ 71863 w 752994"/>
                <a:gd name="connsiteY124" fmla="*/ 915174 h 1333436"/>
                <a:gd name="connsiteX125" fmla="*/ 71652 w 752994"/>
                <a:gd name="connsiteY125" fmla="*/ 910894 h 1333436"/>
                <a:gd name="connsiteX126" fmla="*/ 70633 w 752994"/>
                <a:gd name="connsiteY126" fmla="*/ 906614 h 1333436"/>
                <a:gd name="connsiteX127" fmla="*/ 68385 w 752994"/>
                <a:gd name="connsiteY127" fmla="*/ 902749 h 1333436"/>
                <a:gd name="connsiteX128" fmla="*/ 61045 w 752994"/>
                <a:gd name="connsiteY128" fmla="*/ 889494 h 1333436"/>
                <a:gd name="connsiteX129" fmla="*/ 57971 w 752994"/>
                <a:gd name="connsiteY129" fmla="*/ 875619 h 1333436"/>
                <a:gd name="connsiteX130" fmla="*/ 52264 w 752994"/>
                <a:gd name="connsiteY130" fmla="*/ 862572 h 1333436"/>
                <a:gd name="connsiteX131" fmla="*/ 44309 w 752994"/>
                <a:gd name="connsiteY131" fmla="*/ 850561 h 1333436"/>
                <a:gd name="connsiteX132" fmla="*/ 45520 w 752994"/>
                <a:gd name="connsiteY132" fmla="*/ 827090 h 1333436"/>
                <a:gd name="connsiteX133" fmla="*/ 53071 w 752994"/>
                <a:gd name="connsiteY133" fmla="*/ 822396 h 1333436"/>
                <a:gd name="connsiteX134" fmla="*/ 57375 w 752994"/>
                <a:gd name="connsiteY134" fmla="*/ 816493 h 1333436"/>
                <a:gd name="connsiteX135" fmla="*/ 55319 w 752994"/>
                <a:gd name="connsiteY135" fmla="*/ 801617 h 1333436"/>
                <a:gd name="connsiteX136" fmla="*/ 48383 w 752994"/>
                <a:gd name="connsiteY136" fmla="*/ 802204 h 1333436"/>
                <a:gd name="connsiteX137" fmla="*/ 40428 w 752994"/>
                <a:gd name="connsiteY137" fmla="*/ 797924 h 1333436"/>
                <a:gd name="connsiteX138" fmla="*/ 37565 w 752994"/>
                <a:gd name="connsiteY138" fmla="*/ 790606 h 1333436"/>
                <a:gd name="connsiteX139" fmla="*/ 37565 w 752994"/>
                <a:gd name="connsiteY139" fmla="*/ 790399 h 1333436"/>
                <a:gd name="connsiteX140" fmla="*/ 35931 w 752994"/>
                <a:gd name="connsiteY140" fmla="*/ 785912 h 1333436"/>
                <a:gd name="connsiteX141" fmla="*/ 34510 w 752994"/>
                <a:gd name="connsiteY141" fmla="*/ 780597 h 1333436"/>
                <a:gd name="connsiteX142" fmla="*/ 36335 w 752994"/>
                <a:gd name="connsiteY142" fmla="*/ 774280 h 1333436"/>
                <a:gd name="connsiteX143" fmla="*/ 38180 w 752994"/>
                <a:gd name="connsiteY143" fmla="*/ 766721 h 1333436"/>
                <a:gd name="connsiteX144" fmla="*/ 37161 w 752994"/>
                <a:gd name="connsiteY144" fmla="*/ 760405 h 1333436"/>
                <a:gd name="connsiteX145" fmla="*/ 35720 w 752994"/>
                <a:gd name="connsiteY145" fmla="*/ 754710 h 1333436"/>
                <a:gd name="connsiteX146" fmla="*/ 36546 w 752994"/>
                <a:gd name="connsiteY146" fmla="*/ 748773 h 1333436"/>
                <a:gd name="connsiteX147" fmla="*/ 38372 w 752994"/>
                <a:gd name="connsiteY147" fmla="*/ 744528 h 1333436"/>
                <a:gd name="connsiteX148" fmla="*/ 41638 w 752994"/>
                <a:gd name="connsiteY148" fmla="*/ 744321 h 1333436"/>
                <a:gd name="connsiteX149" fmla="*/ 44713 w 752994"/>
                <a:gd name="connsiteY149" fmla="*/ 746357 h 1333436"/>
                <a:gd name="connsiteX150" fmla="*/ 47364 w 752994"/>
                <a:gd name="connsiteY150" fmla="*/ 753260 h 1333436"/>
                <a:gd name="connsiteX151" fmla="*/ 55742 w 752994"/>
                <a:gd name="connsiteY151" fmla="*/ 764305 h 1333436"/>
                <a:gd name="connsiteX152" fmla="*/ 56338 w 752994"/>
                <a:gd name="connsiteY152" fmla="*/ 761233 h 1333436"/>
                <a:gd name="connsiteX153" fmla="*/ 56145 w 752994"/>
                <a:gd name="connsiteY153" fmla="*/ 757368 h 1333436"/>
                <a:gd name="connsiteX154" fmla="*/ 54916 w 752994"/>
                <a:gd name="connsiteY154" fmla="*/ 748601 h 1333436"/>
                <a:gd name="connsiteX155" fmla="*/ 52879 w 752994"/>
                <a:gd name="connsiteY155" fmla="*/ 747358 h 1333436"/>
                <a:gd name="connsiteX156" fmla="*/ 51649 w 752994"/>
                <a:gd name="connsiteY156" fmla="*/ 745322 h 1333436"/>
                <a:gd name="connsiteX157" fmla="*/ 51649 w 752994"/>
                <a:gd name="connsiteY157" fmla="*/ 739212 h 1333436"/>
                <a:gd name="connsiteX158" fmla="*/ 50227 w 752994"/>
                <a:gd name="connsiteY158" fmla="*/ 734725 h 1333436"/>
                <a:gd name="connsiteX159" fmla="*/ 48786 w 752994"/>
                <a:gd name="connsiteY159" fmla="*/ 731446 h 1333436"/>
                <a:gd name="connsiteX160" fmla="*/ 54512 w 752994"/>
                <a:gd name="connsiteY160" fmla="*/ 726372 h 1333436"/>
                <a:gd name="connsiteX161" fmla="*/ 59815 w 752994"/>
                <a:gd name="connsiteY161" fmla="*/ 725130 h 1333436"/>
                <a:gd name="connsiteX162" fmla="*/ 58182 w 752994"/>
                <a:gd name="connsiteY162" fmla="*/ 722886 h 1333436"/>
                <a:gd name="connsiteX163" fmla="*/ 51861 w 752994"/>
                <a:gd name="connsiteY163" fmla="*/ 717985 h 1333436"/>
                <a:gd name="connsiteX164" fmla="*/ 46749 w 752994"/>
                <a:gd name="connsiteY164" fmla="*/ 729617 h 1333436"/>
                <a:gd name="connsiteX165" fmla="*/ 40831 w 752994"/>
                <a:gd name="connsiteY165" fmla="*/ 739212 h 1333436"/>
                <a:gd name="connsiteX166" fmla="*/ 39601 w 752994"/>
                <a:gd name="connsiteY166" fmla="*/ 738798 h 1333436"/>
                <a:gd name="connsiteX167" fmla="*/ 39409 w 752994"/>
                <a:gd name="connsiteY167" fmla="*/ 738591 h 1333436"/>
                <a:gd name="connsiteX168" fmla="*/ 37161 w 752994"/>
                <a:gd name="connsiteY168" fmla="*/ 734725 h 1333436"/>
                <a:gd name="connsiteX169" fmla="*/ 32665 w 752994"/>
                <a:gd name="connsiteY169" fmla="*/ 727788 h 1333436"/>
                <a:gd name="connsiteX170" fmla="*/ 26747 w 752994"/>
                <a:gd name="connsiteY170" fmla="*/ 719435 h 1333436"/>
                <a:gd name="connsiteX171" fmla="*/ 23884 w 752994"/>
                <a:gd name="connsiteY171" fmla="*/ 717812 h 1333436"/>
                <a:gd name="connsiteX172" fmla="*/ 24710 w 752994"/>
                <a:gd name="connsiteY172" fmla="*/ 709632 h 1333436"/>
                <a:gd name="connsiteX173" fmla="*/ 27554 w 752994"/>
                <a:gd name="connsiteY173" fmla="*/ 701694 h 1333436"/>
                <a:gd name="connsiteX174" fmla="*/ 24902 w 752994"/>
                <a:gd name="connsiteY174" fmla="*/ 696171 h 1333436"/>
                <a:gd name="connsiteX175" fmla="*/ 24095 w 752994"/>
                <a:gd name="connsiteY175" fmla="*/ 687818 h 1333436"/>
                <a:gd name="connsiteX176" fmla="*/ 22462 w 752994"/>
                <a:gd name="connsiteY176" fmla="*/ 682330 h 1333436"/>
                <a:gd name="connsiteX177" fmla="*/ 17159 w 752994"/>
                <a:gd name="connsiteY177" fmla="*/ 677636 h 1333436"/>
                <a:gd name="connsiteX178" fmla="*/ 14296 w 752994"/>
                <a:gd name="connsiteY178" fmla="*/ 671492 h 1333436"/>
                <a:gd name="connsiteX179" fmla="*/ 12451 w 752994"/>
                <a:gd name="connsiteY179" fmla="*/ 665797 h 1333436"/>
                <a:gd name="connsiteX180" fmla="*/ 5111 w 752994"/>
                <a:gd name="connsiteY180" fmla="*/ 654994 h 1333436"/>
                <a:gd name="connsiteX181" fmla="*/ 2248 w 752994"/>
                <a:gd name="connsiteY181" fmla="*/ 645605 h 1333436"/>
                <a:gd name="connsiteX182" fmla="*/ 4496 w 752994"/>
                <a:gd name="connsiteY182" fmla="*/ 640497 h 1333436"/>
                <a:gd name="connsiteX183" fmla="*/ 6744 w 752994"/>
                <a:gd name="connsiteY183" fmla="*/ 632765 h 1333436"/>
                <a:gd name="connsiteX184" fmla="*/ 6744 w 752994"/>
                <a:gd name="connsiteY184" fmla="*/ 628485 h 1333436"/>
                <a:gd name="connsiteX185" fmla="*/ 6533 w 752994"/>
                <a:gd name="connsiteY185" fmla="*/ 620305 h 1333436"/>
                <a:gd name="connsiteX186" fmla="*/ 7359 w 752994"/>
                <a:gd name="connsiteY186" fmla="*/ 611745 h 1333436"/>
                <a:gd name="connsiteX187" fmla="*/ 11836 w 752994"/>
                <a:gd name="connsiteY187" fmla="*/ 602978 h 1333436"/>
                <a:gd name="connsiteX188" fmla="*/ 15103 w 752994"/>
                <a:gd name="connsiteY188" fmla="*/ 591760 h 1333436"/>
                <a:gd name="connsiteX189" fmla="*/ 14488 w 752994"/>
                <a:gd name="connsiteY189" fmla="*/ 584029 h 1333436"/>
                <a:gd name="connsiteX190" fmla="*/ 13873 w 752994"/>
                <a:gd name="connsiteY190" fmla="*/ 578299 h 1333436"/>
                <a:gd name="connsiteX191" fmla="*/ 10626 w 752994"/>
                <a:gd name="connsiteY191" fmla="*/ 568531 h 1333436"/>
                <a:gd name="connsiteX192" fmla="*/ 3670 w 752994"/>
                <a:gd name="connsiteY192" fmla="*/ 558107 h 1333436"/>
                <a:gd name="connsiteX193" fmla="*/ 0 w 752994"/>
                <a:gd name="connsiteY193" fmla="*/ 551377 h 1333436"/>
                <a:gd name="connsiteX194" fmla="*/ 0 w 752994"/>
                <a:gd name="connsiteY194" fmla="*/ 550997 h 1333436"/>
                <a:gd name="connsiteX195" fmla="*/ 4900 w 752994"/>
                <a:gd name="connsiteY195" fmla="*/ 531220 h 1333436"/>
                <a:gd name="connsiteX196" fmla="*/ 13873 w 752994"/>
                <a:gd name="connsiteY196" fmla="*/ 520589 h 1333436"/>
                <a:gd name="connsiteX197" fmla="*/ 18369 w 752994"/>
                <a:gd name="connsiteY197" fmla="*/ 516516 h 1333436"/>
                <a:gd name="connsiteX198" fmla="*/ 18773 w 752994"/>
                <a:gd name="connsiteY198" fmla="*/ 514272 h 1333436"/>
                <a:gd name="connsiteX199" fmla="*/ 23077 w 752994"/>
                <a:gd name="connsiteY199" fmla="*/ 506127 h 1333436"/>
                <a:gd name="connsiteX200" fmla="*/ 23884 w 752994"/>
                <a:gd name="connsiteY200" fmla="*/ 502261 h 1333436"/>
                <a:gd name="connsiteX201" fmla="*/ 23692 w 752994"/>
                <a:gd name="connsiteY201" fmla="*/ 496738 h 1333436"/>
                <a:gd name="connsiteX202" fmla="*/ 30013 w 752994"/>
                <a:gd name="connsiteY202" fmla="*/ 486556 h 1333436"/>
                <a:gd name="connsiteX203" fmla="*/ 36546 w 752994"/>
                <a:gd name="connsiteY203" fmla="*/ 470230 h 1333436"/>
                <a:gd name="connsiteX204" fmla="*/ 36546 w 752994"/>
                <a:gd name="connsiteY204" fmla="*/ 462671 h 1333436"/>
                <a:gd name="connsiteX205" fmla="*/ 36335 w 752994"/>
                <a:gd name="connsiteY205" fmla="*/ 461670 h 1333436"/>
                <a:gd name="connsiteX206" fmla="*/ 35931 w 752994"/>
                <a:gd name="connsiteY206" fmla="*/ 453110 h 1333436"/>
                <a:gd name="connsiteX207" fmla="*/ 38583 w 752994"/>
                <a:gd name="connsiteY207" fmla="*/ 442514 h 1333436"/>
                <a:gd name="connsiteX208" fmla="*/ 41043 w 752994"/>
                <a:gd name="connsiteY208" fmla="*/ 436991 h 1333436"/>
                <a:gd name="connsiteX209" fmla="*/ 41650 w 752994"/>
                <a:gd name="connsiteY209" fmla="*/ 437186 h 1333436"/>
                <a:gd name="connsiteX210" fmla="*/ 41239 w 752994"/>
                <a:gd name="connsiteY210" fmla="*/ 436549 h 1333436"/>
                <a:gd name="connsiteX211" fmla="*/ 37778 w 752994"/>
                <a:gd name="connsiteY211" fmla="*/ 433894 h 1333436"/>
                <a:gd name="connsiteX212" fmla="*/ 37169 w 752994"/>
                <a:gd name="connsiteY212" fmla="*/ 432261 h 1333436"/>
                <a:gd name="connsiteX213" fmla="*/ 37365 w 752994"/>
                <a:gd name="connsiteY213" fmla="*/ 429198 h 1333436"/>
                <a:gd name="connsiteX214" fmla="*/ 36756 w 752994"/>
                <a:gd name="connsiteY214" fmla="*/ 422272 h 1333436"/>
                <a:gd name="connsiteX215" fmla="*/ 36952 w 752994"/>
                <a:gd name="connsiteY215" fmla="*/ 418800 h 1333436"/>
                <a:gd name="connsiteX216" fmla="*/ 36756 w 752994"/>
                <a:gd name="connsiteY216" fmla="*/ 412487 h 1333436"/>
                <a:gd name="connsiteX217" fmla="*/ 40433 w 752994"/>
                <a:gd name="connsiteY217" fmla="*/ 406174 h 1333436"/>
                <a:gd name="connsiteX218" fmla="*/ 44720 w 752994"/>
                <a:gd name="connsiteY218" fmla="*/ 399435 h 1333436"/>
                <a:gd name="connsiteX219" fmla="*/ 44110 w 752994"/>
                <a:gd name="connsiteY219" fmla="*/ 389651 h 1333436"/>
                <a:gd name="connsiteX220" fmla="*/ 43894 w 752994"/>
                <a:gd name="connsiteY220" fmla="*/ 378437 h 1333436"/>
                <a:gd name="connsiteX221" fmla="*/ 47158 w 752994"/>
                <a:gd name="connsiteY221" fmla="*/ 371102 h 1333436"/>
                <a:gd name="connsiteX222" fmla="*/ 55731 w 752994"/>
                <a:gd name="connsiteY222" fmla="*/ 360909 h 1333436"/>
                <a:gd name="connsiteX223" fmla="*/ 57580 w 752994"/>
                <a:gd name="connsiteY223" fmla="*/ 355804 h 1333436"/>
                <a:gd name="connsiteX224" fmla="*/ 62673 w 752994"/>
                <a:gd name="connsiteY224" fmla="*/ 349695 h 1333436"/>
                <a:gd name="connsiteX225" fmla="*/ 65937 w 752994"/>
                <a:gd name="connsiteY225" fmla="*/ 348470 h 1333436"/>
                <a:gd name="connsiteX226" fmla="*/ 68395 w 752994"/>
                <a:gd name="connsiteY226" fmla="*/ 348674 h 1333436"/>
                <a:gd name="connsiteX227" fmla="*/ 70224 w 752994"/>
                <a:gd name="connsiteY227" fmla="*/ 347449 h 1333436"/>
                <a:gd name="connsiteX228" fmla="*/ 67785 w 752994"/>
                <a:gd name="connsiteY228" fmla="*/ 345203 h 1333436"/>
                <a:gd name="connsiteX229" fmla="*/ 65524 w 752994"/>
                <a:gd name="connsiteY229" fmla="*/ 343178 h 1333436"/>
                <a:gd name="connsiteX230" fmla="*/ 73095 w 752994"/>
                <a:gd name="connsiteY230" fmla="*/ 333376 h 1333436"/>
                <a:gd name="connsiteX231" fmla="*/ 73291 w 752994"/>
                <a:gd name="connsiteY231" fmla="*/ 333376 h 1333436"/>
                <a:gd name="connsiteX232" fmla="*/ 77991 w 752994"/>
                <a:gd name="connsiteY232" fmla="*/ 325838 h 1333436"/>
                <a:gd name="connsiteX233" fmla="*/ 82671 w 752994"/>
                <a:gd name="connsiteY233" fmla="*/ 313619 h 1333436"/>
                <a:gd name="connsiteX234" fmla="*/ 87980 w 752994"/>
                <a:gd name="connsiteY234" fmla="*/ 303018 h 1333436"/>
                <a:gd name="connsiteX235" fmla="*/ 92267 w 752994"/>
                <a:gd name="connsiteY235" fmla="*/ 291191 h 1333436"/>
                <a:gd name="connsiteX236" fmla="*/ 96553 w 752994"/>
                <a:gd name="connsiteY236" fmla="*/ 281202 h 1333436"/>
                <a:gd name="connsiteX237" fmla="*/ 99621 w 752994"/>
                <a:gd name="connsiteY237" fmla="*/ 274481 h 1333436"/>
                <a:gd name="connsiteX238" fmla="*/ 103082 w 752994"/>
                <a:gd name="connsiteY238" fmla="*/ 262450 h 1333436"/>
                <a:gd name="connsiteX239" fmla="*/ 107172 w 752994"/>
                <a:gd name="connsiteY239" fmla="*/ 254299 h 1333436"/>
                <a:gd name="connsiteX240" fmla="*/ 112481 w 752994"/>
                <a:gd name="connsiteY240" fmla="*/ 243697 h 1333436"/>
                <a:gd name="connsiteX241" fmla="*/ 117181 w 752994"/>
                <a:gd name="connsiteY241" fmla="*/ 232279 h 1333436"/>
                <a:gd name="connsiteX242" fmla="*/ 125951 w 752994"/>
                <a:gd name="connsiteY242" fmla="*/ 217389 h 1333436"/>
                <a:gd name="connsiteX243" fmla="*/ 136156 w 752994"/>
                <a:gd name="connsiteY243" fmla="*/ 202925 h 1333436"/>
                <a:gd name="connsiteX244" fmla="*/ 138811 w 752994"/>
                <a:gd name="connsiteY244" fmla="*/ 183339 h 1333436"/>
                <a:gd name="connsiteX245" fmla="*/ 148801 w 752994"/>
                <a:gd name="connsiteY245" fmla="*/ 167445 h 1333436"/>
                <a:gd name="connsiteX246" fmla="*/ 159616 w 752994"/>
                <a:gd name="connsiteY246" fmla="*/ 170712 h 1333436"/>
                <a:gd name="connsiteX247" fmla="*/ 173105 w 752994"/>
                <a:gd name="connsiteY247" fmla="*/ 175188 h 1333436"/>
                <a:gd name="connsiteX248" fmla="*/ 175347 w 752994"/>
                <a:gd name="connsiteY248" fmla="*/ 175188 h 1333436"/>
                <a:gd name="connsiteX249" fmla="*/ 175347 w 752994"/>
                <a:gd name="connsiteY249" fmla="*/ 173758 h 1333436"/>
                <a:gd name="connsiteX250" fmla="*/ 184975 w 752994"/>
                <a:gd name="connsiteY250" fmla="*/ 187393 h 1333436"/>
                <a:gd name="connsiteX251" fmla="*/ 184762 w 752994"/>
                <a:gd name="connsiteY251" fmla="*/ 184637 h 1333436"/>
                <a:gd name="connsiteX252" fmla="*/ 174971 w 752994"/>
                <a:gd name="connsiteY252" fmla="*/ 170774 h 1333436"/>
                <a:gd name="connsiteX253" fmla="*/ 174971 w 752994"/>
                <a:gd name="connsiteY253" fmla="*/ 169550 h 1333436"/>
                <a:gd name="connsiteX254" fmla="*/ 158851 w 752994"/>
                <a:gd name="connsiteY254" fmla="*/ 156924 h 1333436"/>
                <a:gd name="connsiteX255" fmla="*/ 147025 w 752994"/>
                <a:gd name="connsiteY255" fmla="*/ 145709 h 1333436"/>
                <a:gd name="connsiteX256" fmla="*/ 154364 w 752994"/>
                <a:gd name="connsiteY256" fmla="*/ 136335 h 1333436"/>
                <a:gd name="connsiteX257" fmla="*/ 161511 w 752994"/>
                <a:gd name="connsiteY257" fmla="*/ 131042 h 1333436"/>
                <a:gd name="connsiteX258" fmla="*/ 160902 w 752994"/>
                <a:gd name="connsiteY258" fmla="*/ 128384 h 1333436"/>
                <a:gd name="connsiteX259" fmla="*/ 160277 w 752994"/>
                <a:gd name="connsiteY259" fmla="*/ 127778 h 1333436"/>
                <a:gd name="connsiteX260" fmla="*/ 154973 w 752994"/>
                <a:gd name="connsiteY260" fmla="*/ 122077 h 1333436"/>
                <a:gd name="connsiteX261" fmla="*/ 160277 w 752994"/>
                <a:gd name="connsiteY261" fmla="*/ 115140 h 1333436"/>
                <a:gd name="connsiteX262" fmla="*/ 165181 w 752994"/>
                <a:gd name="connsiteY262" fmla="*/ 108215 h 1333436"/>
                <a:gd name="connsiteX263" fmla="*/ 161303 w 752994"/>
                <a:gd name="connsiteY263" fmla="*/ 104146 h 1333436"/>
                <a:gd name="connsiteX264" fmla="*/ 157842 w 752994"/>
                <a:gd name="connsiteY264" fmla="*/ 104542 h 1333436"/>
                <a:gd name="connsiteX265" fmla="*/ 157024 w 752994"/>
                <a:gd name="connsiteY265" fmla="*/ 102304 h 1333436"/>
                <a:gd name="connsiteX266" fmla="*/ 160694 w 752994"/>
                <a:gd name="connsiteY266" fmla="*/ 55437 h 1333436"/>
                <a:gd name="connsiteX267" fmla="*/ 160486 w 752994"/>
                <a:gd name="connsiteY267" fmla="*/ 31991 h 1333436"/>
                <a:gd name="connsiteX268" fmla="*/ 164972 w 752994"/>
                <a:gd name="connsiteY268" fmla="*/ 18141 h 1333436"/>
                <a:gd name="connsiteX269" fmla="*/ 171911 w 752994"/>
                <a:gd name="connsiteY269" fmla="*/ 11204 h 1333436"/>
                <a:gd name="connsiteX270" fmla="*/ 187406 w 752994"/>
                <a:gd name="connsiteY270" fmla="*/ 21801 h 1333436"/>
                <a:gd name="connsiteX271" fmla="*/ 210866 w 752994"/>
                <a:gd name="connsiteY271" fmla="*/ 37086 h 1333436"/>
                <a:gd name="connsiteX272" fmla="*/ 219230 w 752994"/>
                <a:gd name="connsiteY272" fmla="*/ 41166 h 1333436"/>
                <a:gd name="connsiteX273" fmla="*/ 226778 w 752994"/>
                <a:gd name="connsiteY273" fmla="*/ 47486 h 1333436"/>
                <a:gd name="connsiteX274" fmla="*/ 236152 w 752994"/>
                <a:gd name="connsiteY274" fmla="*/ 52370 h 1333436"/>
                <a:gd name="connsiteX275" fmla="*/ 239629 w 752994"/>
                <a:gd name="connsiteY275" fmla="*/ 58491 h 1333436"/>
                <a:gd name="connsiteX276" fmla="*/ 239629 w 752994"/>
                <a:gd name="connsiteY276" fmla="*/ 63376 h 1333436"/>
                <a:gd name="connsiteX277" fmla="*/ 236568 w 752994"/>
                <a:gd name="connsiteY277" fmla="*/ 67457 h 1333436"/>
                <a:gd name="connsiteX278" fmla="*/ 231264 w 752994"/>
                <a:gd name="connsiteY278" fmla="*/ 69905 h 1333436"/>
                <a:gd name="connsiteX279" fmla="*/ 216778 w 752994"/>
                <a:gd name="connsiteY279" fmla="*/ 82741 h 1333436"/>
                <a:gd name="connsiteX280" fmla="*/ 214134 w 752994"/>
                <a:gd name="connsiteY280" fmla="*/ 93536 h 1333436"/>
                <a:gd name="connsiteX281" fmla="*/ 214535 w 752994"/>
                <a:gd name="connsiteY281" fmla="*/ 96801 h 1333436"/>
                <a:gd name="connsiteX282" fmla="*/ 216378 w 752994"/>
                <a:gd name="connsiteY282" fmla="*/ 96801 h 1333436"/>
                <a:gd name="connsiteX283" fmla="*/ 230046 w 752994"/>
                <a:gd name="connsiteY283" fmla="*/ 85387 h 1333436"/>
                <a:gd name="connsiteX284" fmla="*/ 243298 w 752994"/>
                <a:gd name="connsiteY284" fmla="*/ 75198 h 1333436"/>
                <a:gd name="connsiteX285" fmla="*/ 246760 w 752994"/>
                <a:gd name="connsiteY285" fmla="*/ 77646 h 1333436"/>
                <a:gd name="connsiteX286" fmla="*/ 255541 w 752994"/>
                <a:gd name="connsiteY286" fmla="*/ 63376 h 1333436"/>
                <a:gd name="connsiteX287" fmla="*/ 259611 w 752994"/>
                <a:gd name="connsiteY287" fmla="*/ 43405 h 1333436"/>
                <a:gd name="connsiteX288" fmla="*/ 256967 w 752994"/>
                <a:gd name="connsiteY288" fmla="*/ 38520 h 1333436"/>
                <a:gd name="connsiteX289" fmla="*/ 253906 w 752994"/>
                <a:gd name="connsiteY289" fmla="*/ 34242 h 1333436"/>
                <a:gd name="connsiteX290" fmla="*/ 256967 w 752994"/>
                <a:gd name="connsiteY290" fmla="*/ 30161 h 1333436"/>
                <a:gd name="connsiteX291" fmla="*/ 262063 w 752994"/>
                <a:gd name="connsiteY291" fmla="*/ 27712 h 1333436"/>
                <a:gd name="connsiteX292" fmla="*/ 264915 w 752994"/>
                <a:gd name="connsiteY292" fmla="*/ 23026 h 1333436"/>
                <a:gd name="connsiteX293" fmla="*/ 267976 w 752994"/>
                <a:gd name="connsiteY293" fmla="*/ 22618 h 1333436"/>
                <a:gd name="connsiteX294" fmla="*/ 270427 w 752994"/>
                <a:gd name="connsiteY294" fmla="*/ 20787 h 1333436"/>
                <a:gd name="connsiteX295" fmla="*/ 263088 w 752994"/>
                <a:gd name="connsiteY295" fmla="*/ 13652 h 1333436"/>
                <a:gd name="connsiteX296" fmla="*/ 255541 w 752994"/>
                <a:gd name="connsiteY296" fmla="*/ 3055 h 1333436"/>
                <a:gd name="connsiteX297" fmla="*/ 256358 w 752994"/>
                <a:gd name="connsiteY297" fmla="*/ 1224 h 1333436"/>
                <a:gd name="connsiteX298" fmla="*/ 257159 w 752994"/>
                <a:gd name="connsiteY298" fmla="*/ 0 h 1333436"/>
                <a:gd name="connsiteX0" fmla="*/ 203093 w 752994"/>
                <a:gd name="connsiteY0" fmla="*/ 233896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03093 w 752994"/>
                <a:gd name="connsiteY5" fmla="*/ 233896 h 1333436"/>
                <a:gd name="connsiteX6" fmla="*/ 257159 w 752994"/>
                <a:gd name="connsiteY6" fmla="*/ 0 h 1333436"/>
                <a:gd name="connsiteX7" fmla="*/ 493147 w 752994"/>
                <a:gd name="connsiteY7" fmla="*/ 73157 h 1333436"/>
                <a:gd name="connsiteX8" fmla="*/ 492970 w 752994"/>
                <a:gd name="connsiteY8" fmla="*/ 73792 h 1333436"/>
                <a:gd name="connsiteX9" fmla="*/ 525816 w 752994"/>
                <a:gd name="connsiteY9" fmla="*/ 82491 h 1333436"/>
                <a:gd name="connsiteX10" fmla="*/ 520098 w 752994"/>
                <a:gd name="connsiteY10" fmla="*/ 111245 h 1333436"/>
                <a:gd name="connsiteX11" fmla="*/ 512552 w 752994"/>
                <a:gd name="connsiteY11" fmla="*/ 143854 h 1333436"/>
                <a:gd name="connsiteX12" fmla="*/ 517849 w 752994"/>
                <a:gd name="connsiteY12" fmla="*/ 157740 h 1333436"/>
                <a:gd name="connsiteX13" fmla="*/ 523160 w 752994"/>
                <a:gd name="connsiteY13" fmla="*/ 172009 h 1333436"/>
                <a:gd name="connsiteX14" fmla="*/ 521535 w 752994"/>
                <a:gd name="connsiteY14" fmla="*/ 178928 h 1333436"/>
                <a:gd name="connsiteX15" fmla="*/ 520098 w 752994"/>
                <a:gd name="connsiteY15" fmla="*/ 186279 h 1333436"/>
                <a:gd name="connsiteX16" fmla="*/ 526019 w 752994"/>
                <a:gd name="connsiteY16" fmla="*/ 193629 h 1333436"/>
                <a:gd name="connsiteX17" fmla="*/ 537251 w 752994"/>
                <a:gd name="connsiteY17" fmla="*/ 206270 h 1333436"/>
                <a:gd name="connsiteX18" fmla="*/ 542765 w 752994"/>
                <a:gd name="connsiteY18" fmla="*/ 217475 h 1333436"/>
                <a:gd name="connsiteX19" fmla="*/ 546857 w 752994"/>
                <a:gd name="connsiteY19" fmla="*/ 230930 h 1333436"/>
                <a:gd name="connsiteX20" fmla="*/ 549499 w 752994"/>
                <a:gd name="connsiteY20" fmla="*/ 235622 h 1333436"/>
                <a:gd name="connsiteX21" fmla="*/ 553388 w 752994"/>
                <a:gd name="connsiteY21" fmla="*/ 240722 h 1333436"/>
                <a:gd name="connsiteX22" fmla="*/ 557465 w 752994"/>
                <a:gd name="connsiteY22" fmla="*/ 246037 h 1333436"/>
                <a:gd name="connsiteX23" fmla="*/ 561761 w 752994"/>
                <a:gd name="connsiteY23" fmla="*/ 248671 h 1333436"/>
                <a:gd name="connsiteX24" fmla="*/ 567478 w 752994"/>
                <a:gd name="connsiteY24" fmla="*/ 247665 h 1333436"/>
                <a:gd name="connsiteX25" fmla="*/ 569931 w 752994"/>
                <a:gd name="connsiteY25" fmla="*/ 249293 h 1333436"/>
                <a:gd name="connsiteX26" fmla="*/ 570540 w 752994"/>
                <a:gd name="connsiteY26" fmla="*/ 251951 h 1333436"/>
                <a:gd name="connsiteX27" fmla="*/ 561964 w 752994"/>
                <a:gd name="connsiteY27" fmla="*/ 267656 h 1333436"/>
                <a:gd name="connsiteX28" fmla="*/ 553591 w 752994"/>
                <a:gd name="connsiteY28" fmla="*/ 289659 h 1333436"/>
                <a:gd name="connsiteX29" fmla="*/ 554810 w 752994"/>
                <a:gd name="connsiteY29" fmla="*/ 292939 h 1333436"/>
                <a:gd name="connsiteX30" fmla="*/ 556246 w 752994"/>
                <a:gd name="connsiteY30" fmla="*/ 299260 h 1333436"/>
                <a:gd name="connsiteX31" fmla="*/ 552778 w 752994"/>
                <a:gd name="connsiteY31" fmla="*/ 301917 h 1333436"/>
                <a:gd name="connsiteX32" fmla="*/ 549295 w 752994"/>
                <a:gd name="connsiteY32" fmla="*/ 306993 h 1333436"/>
                <a:gd name="connsiteX33" fmla="*/ 547061 w 752994"/>
                <a:gd name="connsiteY33" fmla="*/ 313122 h 1333436"/>
                <a:gd name="connsiteX34" fmla="*/ 544811 w 752994"/>
                <a:gd name="connsiteY34" fmla="*/ 316593 h 1333436"/>
                <a:gd name="connsiteX35" fmla="*/ 549919 w 752994"/>
                <a:gd name="connsiteY35" fmla="*/ 322698 h 1333436"/>
                <a:gd name="connsiteX36" fmla="*/ 553184 w 752994"/>
                <a:gd name="connsiteY36" fmla="*/ 325955 h 1333436"/>
                <a:gd name="connsiteX37" fmla="*/ 555840 w 752994"/>
                <a:gd name="connsiteY37" fmla="*/ 328205 h 1333436"/>
                <a:gd name="connsiteX38" fmla="*/ 574212 w 752994"/>
                <a:gd name="connsiteY38" fmla="*/ 318820 h 1333436"/>
                <a:gd name="connsiteX39" fmla="*/ 579523 w 752994"/>
                <a:gd name="connsiteY39" fmla="*/ 326577 h 1333436"/>
                <a:gd name="connsiteX40" fmla="*/ 580539 w 752994"/>
                <a:gd name="connsiteY40" fmla="*/ 334933 h 1333436"/>
                <a:gd name="connsiteX41" fmla="*/ 579726 w 752994"/>
                <a:gd name="connsiteY41" fmla="*/ 343097 h 1333436"/>
                <a:gd name="connsiteX42" fmla="*/ 581366 w 752994"/>
                <a:gd name="connsiteY42" fmla="*/ 350231 h 1333436"/>
                <a:gd name="connsiteX43" fmla="*/ 586256 w 752994"/>
                <a:gd name="connsiteY43" fmla="*/ 355930 h 1333436"/>
                <a:gd name="connsiteX44" fmla="*/ 589536 w 752994"/>
                <a:gd name="connsiteY44" fmla="*/ 362059 h 1333436"/>
                <a:gd name="connsiteX45" fmla="*/ 588099 w 752994"/>
                <a:gd name="connsiteY45" fmla="*/ 369600 h 1333436"/>
                <a:gd name="connsiteX46" fmla="*/ 586459 w 752994"/>
                <a:gd name="connsiteY46" fmla="*/ 377357 h 1333436"/>
                <a:gd name="connsiteX47" fmla="*/ 588709 w 752994"/>
                <a:gd name="connsiteY47" fmla="*/ 381835 h 1333436"/>
                <a:gd name="connsiteX48" fmla="*/ 595036 w 752994"/>
                <a:gd name="connsiteY48" fmla="*/ 382457 h 1333436"/>
                <a:gd name="connsiteX49" fmla="*/ 599331 w 752994"/>
                <a:gd name="connsiteY49" fmla="*/ 385306 h 1333436"/>
                <a:gd name="connsiteX50" fmla="*/ 601987 w 752994"/>
                <a:gd name="connsiteY50" fmla="*/ 391004 h 1333436"/>
                <a:gd name="connsiteX51" fmla="*/ 602799 w 752994"/>
                <a:gd name="connsiteY51" fmla="*/ 404076 h 1333436"/>
                <a:gd name="connsiteX52" fmla="*/ 606892 w 752994"/>
                <a:gd name="connsiteY52" fmla="*/ 415688 h 1333436"/>
                <a:gd name="connsiteX53" fmla="*/ 610563 w 752994"/>
                <a:gd name="connsiteY53" fmla="*/ 412217 h 1333436"/>
                <a:gd name="connsiteX54" fmla="*/ 617920 w 752994"/>
                <a:gd name="connsiteY54" fmla="*/ 408769 h 1333436"/>
                <a:gd name="connsiteX55" fmla="*/ 624654 w 752994"/>
                <a:gd name="connsiteY55" fmla="*/ 411211 h 1333436"/>
                <a:gd name="connsiteX56" fmla="*/ 634652 w 752994"/>
                <a:gd name="connsiteY56" fmla="*/ 410182 h 1333436"/>
                <a:gd name="connsiteX57" fmla="*/ 640573 w 752994"/>
                <a:gd name="connsiteY57" fmla="*/ 407739 h 1333436"/>
                <a:gd name="connsiteX58" fmla="*/ 646711 w 752994"/>
                <a:gd name="connsiteY58" fmla="*/ 410589 h 1333436"/>
                <a:gd name="connsiteX59" fmla="*/ 650383 w 752994"/>
                <a:gd name="connsiteY59" fmla="*/ 410589 h 1333436"/>
                <a:gd name="connsiteX60" fmla="*/ 654257 w 752994"/>
                <a:gd name="connsiteY60" fmla="*/ 411618 h 1333436"/>
                <a:gd name="connsiteX61" fmla="*/ 656913 w 752994"/>
                <a:gd name="connsiteY61" fmla="*/ 413653 h 1333436"/>
                <a:gd name="connsiteX62" fmla="*/ 660802 w 752994"/>
                <a:gd name="connsiteY62" fmla="*/ 415090 h 1333436"/>
                <a:gd name="connsiteX63" fmla="*/ 669581 w 752994"/>
                <a:gd name="connsiteY63" fmla="*/ 415904 h 1333436"/>
                <a:gd name="connsiteX64" fmla="*/ 672237 w 752994"/>
                <a:gd name="connsiteY64" fmla="*/ 415688 h 1333436"/>
                <a:gd name="connsiteX65" fmla="*/ 675705 w 752994"/>
                <a:gd name="connsiteY65" fmla="*/ 409367 h 1333436"/>
                <a:gd name="connsiteX66" fmla="*/ 679986 w 752994"/>
                <a:gd name="connsiteY66" fmla="*/ 403238 h 1333436"/>
                <a:gd name="connsiteX67" fmla="*/ 693264 w 752994"/>
                <a:gd name="connsiteY67" fmla="*/ 419567 h 1333436"/>
                <a:gd name="connsiteX68" fmla="*/ 688563 w 752994"/>
                <a:gd name="connsiteY68" fmla="*/ 448321 h 1333436"/>
                <a:gd name="connsiteX69" fmla="*/ 663949 w 752994"/>
                <a:gd name="connsiteY69" fmla="*/ 590165 h 1333436"/>
                <a:gd name="connsiteX70" fmla="*/ 666304 w 752994"/>
                <a:gd name="connsiteY70" fmla="*/ 590504 h 1333436"/>
                <a:gd name="connsiteX71" fmla="*/ 655288 w 752994"/>
                <a:gd name="connsiteY71" fmla="*/ 656178 h 1333436"/>
                <a:gd name="connsiteX72" fmla="*/ 681808 w 752994"/>
                <a:gd name="connsiteY72" fmla="*/ 662301 h 1333436"/>
                <a:gd name="connsiteX73" fmla="*/ 752994 w 752994"/>
                <a:gd name="connsiteY73" fmla="*/ 675560 h 1333436"/>
                <a:gd name="connsiteX74" fmla="*/ 714651 w 752994"/>
                <a:gd name="connsiteY74" fmla="*/ 946985 h 1333436"/>
                <a:gd name="connsiteX75" fmla="*/ 654533 w 752994"/>
                <a:gd name="connsiteY75" fmla="*/ 1333436 h 1333436"/>
                <a:gd name="connsiteX76" fmla="*/ 546831 w 752994"/>
                <a:gd name="connsiteY76" fmla="*/ 1317126 h 1333436"/>
                <a:gd name="connsiteX77" fmla="*/ 351227 w 752994"/>
                <a:gd name="connsiteY77" fmla="*/ 1194172 h 1333436"/>
                <a:gd name="connsiteX78" fmla="*/ 361011 w 752994"/>
                <a:gd name="connsiteY78" fmla="*/ 1182755 h 1333436"/>
                <a:gd name="connsiteX79" fmla="*/ 368981 w 752994"/>
                <a:gd name="connsiteY79" fmla="*/ 1182130 h 1333436"/>
                <a:gd name="connsiteX80" fmla="*/ 369571 w 752994"/>
                <a:gd name="connsiteY80" fmla="*/ 1181558 h 1333436"/>
                <a:gd name="connsiteX81" fmla="*/ 362372 w 752994"/>
                <a:gd name="connsiteY81" fmla="*/ 1182120 h 1333436"/>
                <a:gd name="connsiteX82" fmla="*/ 229464 w 752994"/>
                <a:gd name="connsiteY82" fmla="*/ 1161721 h 1333436"/>
                <a:gd name="connsiteX83" fmla="*/ 227427 w 752994"/>
                <a:gd name="connsiteY83" fmla="*/ 1157269 h 1333436"/>
                <a:gd name="connsiteX84" fmla="*/ 224967 w 752994"/>
                <a:gd name="connsiteY84" fmla="*/ 1152575 h 1333436"/>
                <a:gd name="connsiteX85" fmla="*/ 225582 w 752994"/>
                <a:gd name="connsiteY85" fmla="*/ 1144808 h 1333436"/>
                <a:gd name="connsiteX86" fmla="*/ 227215 w 752994"/>
                <a:gd name="connsiteY86" fmla="*/ 1135834 h 1333436"/>
                <a:gd name="connsiteX87" fmla="*/ 227215 w 752994"/>
                <a:gd name="connsiteY87" fmla="*/ 1134212 h 1333436"/>
                <a:gd name="connsiteX88" fmla="*/ 225179 w 752994"/>
                <a:gd name="connsiteY88" fmla="*/ 1114020 h 1333436"/>
                <a:gd name="connsiteX89" fmla="*/ 217839 w 752994"/>
                <a:gd name="connsiteY89" fmla="*/ 1100352 h 1333436"/>
                <a:gd name="connsiteX90" fmla="*/ 199661 w 752994"/>
                <a:gd name="connsiteY90" fmla="*/ 1076502 h 1333436"/>
                <a:gd name="connsiteX91" fmla="*/ 196395 w 752994"/>
                <a:gd name="connsiteY91" fmla="*/ 1071807 h 1333436"/>
                <a:gd name="connsiteX92" fmla="*/ 190880 w 752994"/>
                <a:gd name="connsiteY92" fmla="*/ 1067527 h 1333436"/>
                <a:gd name="connsiteX93" fmla="*/ 187210 w 752994"/>
                <a:gd name="connsiteY93" fmla="*/ 1068735 h 1333436"/>
                <a:gd name="connsiteX94" fmla="*/ 180062 w 752994"/>
                <a:gd name="connsiteY94" fmla="*/ 1066699 h 1333436"/>
                <a:gd name="connsiteX95" fmla="*/ 180466 w 752994"/>
                <a:gd name="connsiteY95" fmla="*/ 1053031 h 1333436"/>
                <a:gd name="connsiteX96" fmla="*/ 180062 w 752994"/>
                <a:gd name="connsiteY96" fmla="*/ 1045299 h 1333436"/>
                <a:gd name="connsiteX97" fmla="*/ 174144 w 752994"/>
                <a:gd name="connsiteY97" fmla="*/ 1044057 h 1333436"/>
                <a:gd name="connsiteX98" fmla="*/ 158426 w 752994"/>
                <a:gd name="connsiteY98" fmla="*/ 1042641 h 1333436"/>
                <a:gd name="connsiteX99" fmla="*/ 149857 w 752994"/>
                <a:gd name="connsiteY99" fmla="*/ 1035497 h 1333436"/>
                <a:gd name="connsiteX100" fmla="*/ 142497 w 752994"/>
                <a:gd name="connsiteY100" fmla="*/ 1028766 h 1333436"/>
                <a:gd name="connsiteX101" fmla="*/ 140864 w 752994"/>
                <a:gd name="connsiteY101" fmla="*/ 1020620 h 1333436"/>
                <a:gd name="connsiteX102" fmla="*/ 138212 w 752994"/>
                <a:gd name="connsiteY102" fmla="*/ 1013061 h 1333436"/>
                <a:gd name="connsiteX103" fmla="*/ 131064 w 752994"/>
                <a:gd name="connsiteY103" fmla="*/ 1007159 h 1333436"/>
                <a:gd name="connsiteX104" fmla="*/ 121264 w 752994"/>
                <a:gd name="connsiteY104" fmla="*/ 1005330 h 1333436"/>
                <a:gd name="connsiteX105" fmla="*/ 112483 w 752994"/>
                <a:gd name="connsiteY105" fmla="*/ 1001671 h 1333436"/>
                <a:gd name="connsiteX106" fmla="*/ 105950 w 752994"/>
                <a:gd name="connsiteY106" fmla="*/ 995734 h 1333436"/>
                <a:gd name="connsiteX107" fmla="*/ 97380 w 752994"/>
                <a:gd name="connsiteY107" fmla="*/ 994526 h 1333436"/>
                <a:gd name="connsiteX108" fmla="*/ 87984 w 752994"/>
                <a:gd name="connsiteY108" fmla="*/ 991040 h 1333436"/>
                <a:gd name="connsiteX109" fmla="*/ 80029 w 752994"/>
                <a:gd name="connsiteY109" fmla="*/ 985138 h 1333436"/>
                <a:gd name="connsiteX110" fmla="*/ 77166 w 752994"/>
                <a:gd name="connsiteY110" fmla="*/ 976164 h 1333436"/>
                <a:gd name="connsiteX111" fmla="*/ 79203 w 752994"/>
                <a:gd name="connsiteY111" fmla="*/ 970676 h 1333436"/>
                <a:gd name="connsiteX112" fmla="*/ 82470 w 752994"/>
                <a:gd name="connsiteY112" fmla="*/ 963117 h 1333436"/>
                <a:gd name="connsiteX113" fmla="*/ 84314 w 752994"/>
                <a:gd name="connsiteY113" fmla="*/ 954557 h 1333436"/>
                <a:gd name="connsiteX114" fmla="*/ 86351 w 752994"/>
                <a:gd name="connsiteY114" fmla="*/ 948033 h 1333436"/>
                <a:gd name="connsiteX115" fmla="*/ 86159 w 752994"/>
                <a:gd name="connsiteY115" fmla="*/ 942925 h 1333436"/>
                <a:gd name="connsiteX116" fmla="*/ 83085 w 752994"/>
                <a:gd name="connsiteY116" fmla="*/ 939853 h 1333436"/>
                <a:gd name="connsiteX117" fmla="*/ 77570 w 752994"/>
                <a:gd name="connsiteY117" fmla="*/ 937437 h 1333436"/>
                <a:gd name="connsiteX118" fmla="*/ 76763 w 752994"/>
                <a:gd name="connsiteY118" fmla="*/ 931915 h 1333436"/>
                <a:gd name="connsiteX119" fmla="*/ 78800 w 752994"/>
                <a:gd name="connsiteY119" fmla="*/ 927013 h 1333436"/>
                <a:gd name="connsiteX120" fmla="*/ 79626 w 752994"/>
                <a:gd name="connsiteY120" fmla="*/ 922526 h 1333436"/>
                <a:gd name="connsiteX121" fmla="*/ 77781 w 752994"/>
                <a:gd name="connsiteY121" fmla="*/ 919903 h 1333436"/>
                <a:gd name="connsiteX122" fmla="*/ 74303 w 752994"/>
                <a:gd name="connsiteY122" fmla="*/ 917418 h 1333436"/>
                <a:gd name="connsiteX123" fmla="*/ 71863 w 752994"/>
                <a:gd name="connsiteY123" fmla="*/ 915174 h 1333436"/>
                <a:gd name="connsiteX124" fmla="*/ 71652 w 752994"/>
                <a:gd name="connsiteY124" fmla="*/ 910894 h 1333436"/>
                <a:gd name="connsiteX125" fmla="*/ 70633 w 752994"/>
                <a:gd name="connsiteY125" fmla="*/ 906614 h 1333436"/>
                <a:gd name="connsiteX126" fmla="*/ 68385 w 752994"/>
                <a:gd name="connsiteY126" fmla="*/ 902749 h 1333436"/>
                <a:gd name="connsiteX127" fmla="*/ 61045 w 752994"/>
                <a:gd name="connsiteY127" fmla="*/ 889494 h 1333436"/>
                <a:gd name="connsiteX128" fmla="*/ 57971 w 752994"/>
                <a:gd name="connsiteY128" fmla="*/ 875619 h 1333436"/>
                <a:gd name="connsiteX129" fmla="*/ 52264 w 752994"/>
                <a:gd name="connsiteY129" fmla="*/ 862572 h 1333436"/>
                <a:gd name="connsiteX130" fmla="*/ 44309 w 752994"/>
                <a:gd name="connsiteY130" fmla="*/ 850561 h 1333436"/>
                <a:gd name="connsiteX131" fmla="*/ 45520 w 752994"/>
                <a:gd name="connsiteY131" fmla="*/ 827090 h 1333436"/>
                <a:gd name="connsiteX132" fmla="*/ 53071 w 752994"/>
                <a:gd name="connsiteY132" fmla="*/ 822396 h 1333436"/>
                <a:gd name="connsiteX133" fmla="*/ 57375 w 752994"/>
                <a:gd name="connsiteY133" fmla="*/ 816493 h 1333436"/>
                <a:gd name="connsiteX134" fmla="*/ 55319 w 752994"/>
                <a:gd name="connsiteY134" fmla="*/ 801617 h 1333436"/>
                <a:gd name="connsiteX135" fmla="*/ 48383 w 752994"/>
                <a:gd name="connsiteY135" fmla="*/ 802204 h 1333436"/>
                <a:gd name="connsiteX136" fmla="*/ 40428 w 752994"/>
                <a:gd name="connsiteY136" fmla="*/ 797924 h 1333436"/>
                <a:gd name="connsiteX137" fmla="*/ 37565 w 752994"/>
                <a:gd name="connsiteY137" fmla="*/ 790606 h 1333436"/>
                <a:gd name="connsiteX138" fmla="*/ 37565 w 752994"/>
                <a:gd name="connsiteY138" fmla="*/ 790399 h 1333436"/>
                <a:gd name="connsiteX139" fmla="*/ 35931 w 752994"/>
                <a:gd name="connsiteY139" fmla="*/ 785912 h 1333436"/>
                <a:gd name="connsiteX140" fmla="*/ 34510 w 752994"/>
                <a:gd name="connsiteY140" fmla="*/ 780597 h 1333436"/>
                <a:gd name="connsiteX141" fmla="*/ 36335 w 752994"/>
                <a:gd name="connsiteY141" fmla="*/ 774280 h 1333436"/>
                <a:gd name="connsiteX142" fmla="*/ 38180 w 752994"/>
                <a:gd name="connsiteY142" fmla="*/ 766721 h 1333436"/>
                <a:gd name="connsiteX143" fmla="*/ 37161 w 752994"/>
                <a:gd name="connsiteY143" fmla="*/ 760405 h 1333436"/>
                <a:gd name="connsiteX144" fmla="*/ 35720 w 752994"/>
                <a:gd name="connsiteY144" fmla="*/ 754710 h 1333436"/>
                <a:gd name="connsiteX145" fmla="*/ 36546 w 752994"/>
                <a:gd name="connsiteY145" fmla="*/ 748773 h 1333436"/>
                <a:gd name="connsiteX146" fmla="*/ 38372 w 752994"/>
                <a:gd name="connsiteY146" fmla="*/ 744528 h 1333436"/>
                <a:gd name="connsiteX147" fmla="*/ 41638 w 752994"/>
                <a:gd name="connsiteY147" fmla="*/ 744321 h 1333436"/>
                <a:gd name="connsiteX148" fmla="*/ 44713 w 752994"/>
                <a:gd name="connsiteY148" fmla="*/ 746357 h 1333436"/>
                <a:gd name="connsiteX149" fmla="*/ 47364 w 752994"/>
                <a:gd name="connsiteY149" fmla="*/ 753260 h 1333436"/>
                <a:gd name="connsiteX150" fmla="*/ 55742 w 752994"/>
                <a:gd name="connsiteY150" fmla="*/ 764305 h 1333436"/>
                <a:gd name="connsiteX151" fmla="*/ 56338 w 752994"/>
                <a:gd name="connsiteY151" fmla="*/ 761233 h 1333436"/>
                <a:gd name="connsiteX152" fmla="*/ 56145 w 752994"/>
                <a:gd name="connsiteY152" fmla="*/ 757368 h 1333436"/>
                <a:gd name="connsiteX153" fmla="*/ 54916 w 752994"/>
                <a:gd name="connsiteY153" fmla="*/ 748601 h 1333436"/>
                <a:gd name="connsiteX154" fmla="*/ 52879 w 752994"/>
                <a:gd name="connsiteY154" fmla="*/ 747358 h 1333436"/>
                <a:gd name="connsiteX155" fmla="*/ 51649 w 752994"/>
                <a:gd name="connsiteY155" fmla="*/ 745322 h 1333436"/>
                <a:gd name="connsiteX156" fmla="*/ 51649 w 752994"/>
                <a:gd name="connsiteY156" fmla="*/ 739212 h 1333436"/>
                <a:gd name="connsiteX157" fmla="*/ 50227 w 752994"/>
                <a:gd name="connsiteY157" fmla="*/ 734725 h 1333436"/>
                <a:gd name="connsiteX158" fmla="*/ 48786 w 752994"/>
                <a:gd name="connsiteY158" fmla="*/ 731446 h 1333436"/>
                <a:gd name="connsiteX159" fmla="*/ 54512 w 752994"/>
                <a:gd name="connsiteY159" fmla="*/ 726372 h 1333436"/>
                <a:gd name="connsiteX160" fmla="*/ 59815 w 752994"/>
                <a:gd name="connsiteY160" fmla="*/ 725130 h 1333436"/>
                <a:gd name="connsiteX161" fmla="*/ 58182 w 752994"/>
                <a:gd name="connsiteY161" fmla="*/ 722886 h 1333436"/>
                <a:gd name="connsiteX162" fmla="*/ 51861 w 752994"/>
                <a:gd name="connsiteY162" fmla="*/ 717985 h 1333436"/>
                <a:gd name="connsiteX163" fmla="*/ 46749 w 752994"/>
                <a:gd name="connsiteY163" fmla="*/ 729617 h 1333436"/>
                <a:gd name="connsiteX164" fmla="*/ 40831 w 752994"/>
                <a:gd name="connsiteY164" fmla="*/ 739212 h 1333436"/>
                <a:gd name="connsiteX165" fmla="*/ 39601 w 752994"/>
                <a:gd name="connsiteY165" fmla="*/ 738798 h 1333436"/>
                <a:gd name="connsiteX166" fmla="*/ 39409 w 752994"/>
                <a:gd name="connsiteY166" fmla="*/ 738591 h 1333436"/>
                <a:gd name="connsiteX167" fmla="*/ 37161 w 752994"/>
                <a:gd name="connsiteY167" fmla="*/ 734725 h 1333436"/>
                <a:gd name="connsiteX168" fmla="*/ 32665 w 752994"/>
                <a:gd name="connsiteY168" fmla="*/ 727788 h 1333436"/>
                <a:gd name="connsiteX169" fmla="*/ 26747 w 752994"/>
                <a:gd name="connsiteY169" fmla="*/ 719435 h 1333436"/>
                <a:gd name="connsiteX170" fmla="*/ 23884 w 752994"/>
                <a:gd name="connsiteY170" fmla="*/ 717812 h 1333436"/>
                <a:gd name="connsiteX171" fmla="*/ 24710 w 752994"/>
                <a:gd name="connsiteY171" fmla="*/ 709632 h 1333436"/>
                <a:gd name="connsiteX172" fmla="*/ 27554 w 752994"/>
                <a:gd name="connsiteY172" fmla="*/ 701694 h 1333436"/>
                <a:gd name="connsiteX173" fmla="*/ 24902 w 752994"/>
                <a:gd name="connsiteY173" fmla="*/ 696171 h 1333436"/>
                <a:gd name="connsiteX174" fmla="*/ 24095 w 752994"/>
                <a:gd name="connsiteY174" fmla="*/ 687818 h 1333436"/>
                <a:gd name="connsiteX175" fmla="*/ 22462 w 752994"/>
                <a:gd name="connsiteY175" fmla="*/ 682330 h 1333436"/>
                <a:gd name="connsiteX176" fmla="*/ 17159 w 752994"/>
                <a:gd name="connsiteY176" fmla="*/ 677636 h 1333436"/>
                <a:gd name="connsiteX177" fmla="*/ 14296 w 752994"/>
                <a:gd name="connsiteY177" fmla="*/ 671492 h 1333436"/>
                <a:gd name="connsiteX178" fmla="*/ 12451 w 752994"/>
                <a:gd name="connsiteY178" fmla="*/ 665797 h 1333436"/>
                <a:gd name="connsiteX179" fmla="*/ 5111 w 752994"/>
                <a:gd name="connsiteY179" fmla="*/ 654994 h 1333436"/>
                <a:gd name="connsiteX180" fmla="*/ 2248 w 752994"/>
                <a:gd name="connsiteY180" fmla="*/ 645605 h 1333436"/>
                <a:gd name="connsiteX181" fmla="*/ 4496 w 752994"/>
                <a:gd name="connsiteY181" fmla="*/ 640497 h 1333436"/>
                <a:gd name="connsiteX182" fmla="*/ 6744 w 752994"/>
                <a:gd name="connsiteY182" fmla="*/ 632765 h 1333436"/>
                <a:gd name="connsiteX183" fmla="*/ 6744 w 752994"/>
                <a:gd name="connsiteY183" fmla="*/ 628485 h 1333436"/>
                <a:gd name="connsiteX184" fmla="*/ 6533 w 752994"/>
                <a:gd name="connsiteY184" fmla="*/ 620305 h 1333436"/>
                <a:gd name="connsiteX185" fmla="*/ 7359 w 752994"/>
                <a:gd name="connsiteY185" fmla="*/ 611745 h 1333436"/>
                <a:gd name="connsiteX186" fmla="*/ 11836 w 752994"/>
                <a:gd name="connsiteY186" fmla="*/ 602978 h 1333436"/>
                <a:gd name="connsiteX187" fmla="*/ 15103 w 752994"/>
                <a:gd name="connsiteY187" fmla="*/ 591760 h 1333436"/>
                <a:gd name="connsiteX188" fmla="*/ 14488 w 752994"/>
                <a:gd name="connsiteY188" fmla="*/ 584029 h 1333436"/>
                <a:gd name="connsiteX189" fmla="*/ 13873 w 752994"/>
                <a:gd name="connsiteY189" fmla="*/ 578299 h 1333436"/>
                <a:gd name="connsiteX190" fmla="*/ 10626 w 752994"/>
                <a:gd name="connsiteY190" fmla="*/ 568531 h 1333436"/>
                <a:gd name="connsiteX191" fmla="*/ 3670 w 752994"/>
                <a:gd name="connsiteY191" fmla="*/ 558107 h 1333436"/>
                <a:gd name="connsiteX192" fmla="*/ 0 w 752994"/>
                <a:gd name="connsiteY192" fmla="*/ 551377 h 1333436"/>
                <a:gd name="connsiteX193" fmla="*/ 0 w 752994"/>
                <a:gd name="connsiteY193" fmla="*/ 550997 h 1333436"/>
                <a:gd name="connsiteX194" fmla="*/ 4900 w 752994"/>
                <a:gd name="connsiteY194" fmla="*/ 531220 h 1333436"/>
                <a:gd name="connsiteX195" fmla="*/ 13873 w 752994"/>
                <a:gd name="connsiteY195" fmla="*/ 520589 h 1333436"/>
                <a:gd name="connsiteX196" fmla="*/ 18369 w 752994"/>
                <a:gd name="connsiteY196" fmla="*/ 516516 h 1333436"/>
                <a:gd name="connsiteX197" fmla="*/ 18773 w 752994"/>
                <a:gd name="connsiteY197" fmla="*/ 514272 h 1333436"/>
                <a:gd name="connsiteX198" fmla="*/ 23077 w 752994"/>
                <a:gd name="connsiteY198" fmla="*/ 506127 h 1333436"/>
                <a:gd name="connsiteX199" fmla="*/ 23884 w 752994"/>
                <a:gd name="connsiteY199" fmla="*/ 502261 h 1333436"/>
                <a:gd name="connsiteX200" fmla="*/ 23692 w 752994"/>
                <a:gd name="connsiteY200" fmla="*/ 496738 h 1333436"/>
                <a:gd name="connsiteX201" fmla="*/ 30013 w 752994"/>
                <a:gd name="connsiteY201" fmla="*/ 486556 h 1333436"/>
                <a:gd name="connsiteX202" fmla="*/ 36546 w 752994"/>
                <a:gd name="connsiteY202" fmla="*/ 470230 h 1333436"/>
                <a:gd name="connsiteX203" fmla="*/ 36546 w 752994"/>
                <a:gd name="connsiteY203" fmla="*/ 462671 h 1333436"/>
                <a:gd name="connsiteX204" fmla="*/ 36335 w 752994"/>
                <a:gd name="connsiteY204" fmla="*/ 461670 h 1333436"/>
                <a:gd name="connsiteX205" fmla="*/ 35931 w 752994"/>
                <a:gd name="connsiteY205" fmla="*/ 453110 h 1333436"/>
                <a:gd name="connsiteX206" fmla="*/ 38583 w 752994"/>
                <a:gd name="connsiteY206" fmla="*/ 442514 h 1333436"/>
                <a:gd name="connsiteX207" fmla="*/ 41043 w 752994"/>
                <a:gd name="connsiteY207" fmla="*/ 436991 h 1333436"/>
                <a:gd name="connsiteX208" fmla="*/ 41650 w 752994"/>
                <a:gd name="connsiteY208" fmla="*/ 437186 h 1333436"/>
                <a:gd name="connsiteX209" fmla="*/ 41239 w 752994"/>
                <a:gd name="connsiteY209" fmla="*/ 436549 h 1333436"/>
                <a:gd name="connsiteX210" fmla="*/ 37778 w 752994"/>
                <a:gd name="connsiteY210" fmla="*/ 433894 h 1333436"/>
                <a:gd name="connsiteX211" fmla="*/ 37169 w 752994"/>
                <a:gd name="connsiteY211" fmla="*/ 432261 h 1333436"/>
                <a:gd name="connsiteX212" fmla="*/ 37365 w 752994"/>
                <a:gd name="connsiteY212" fmla="*/ 429198 h 1333436"/>
                <a:gd name="connsiteX213" fmla="*/ 36756 w 752994"/>
                <a:gd name="connsiteY213" fmla="*/ 422272 h 1333436"/>
                <a:gd name="connsiteX214" fmla="*/ 36952 w 752994"/>
                <a:gd name="connsiteY214" fmla="*/ 418800 h 1333436"/>
                <a:gd name="connsiteX215" fmla="*/ 36756 w 752994"/>
                <a:gd name="connsiteY215" fmla="*/ 412487 h 1333436"/>
                <a:gd name="connsiteX216" fmla="*/ 40433 w 752994"/>
                <a:gd name="connsiteY216" fmla="*/ 406174 h 1333436"/>
                <a:gd name="connsiteX217" fmla="*/ 44720 w 752994"/>
                <a:gd name="connsiteY217" fmla="*/ 399435 h 1333436"/>
                <a:gd name="connsiteX218" fmla="*/ 44110 w 752994"/>
                <a:gd name="connsiteY218" fmla="*/ 389651 h 1333436"/>
                <a:gd name="connsiteX219" fmla="*/ 43894 w 752994"/>
                <a:gd name="connsiteY219" fmla="*/ 378437 h 1333436"/>
                <a:gd name="connsiteX220" fmla="*/ 47158 w 752994"/>
                <a:gd name="connsiteY220" fmla="*/ 371102 h 1333436"/>
                <a:gd name="connsiteX221" fmla="*/ 55731 w 752994"/>
                <a:gd name="connsiteY221" fmla="*/ 360909 h 1333436"/>
                <a:gd name="connsiteX222" fmla="*/ 57580 w 752994"/>
                <a:gd name="connsiteY222" fmla="*/ 355804 h 1333436"/>
                <a:gd name="connsiteX223" fmla="*/ 62673 w 752994"/>
                <a:gd name="connsiteY223" fmla="*/ 349695 h 1333436"/>
                <a:gd name="connsiteX224" fmla="*/ 65937 w 752994"/>
                <a:gd name="connsiteY224" fmla="*/ 348470 h 1333436"/>
                <a:gd name="connsiteX225" fmla="*/ 68395 w 752994"/>
                <a:gd name="connsiteY225" fmla="*/ 348674 h 1333436"/>
                <a:gd name="connsiteX226" fmla="*/ 70224 w 752994"/>
                <a:gd name="connsiteY226" fmla="*/ 347449 h 1333436"/>
                <a:gd name="connsiteX227" fmla="*/ 67785 w 752994"/>
                <a:gd name="connsiteY227" fmla="*/ 345203 h 1333436"/>
                <a:gd name="connsiteX228" fmla="*/ 65524 w 752994"/>
                <a:gd name="connsiteY228" fmla="*/ 343178 h 1333436"/>
                <a:gd name="connsiteX229" fmla="*/ 73095 w 752994"/>
                <a:gd name="connsiteY229" fmla="*/ 333376 h 1333436"/>
                <a:gd name="connsiteX230" fmla="*/ 73291 w 752994"/>
                <a:gd name="connsiteY230" fmla="*/ 333376 h 1333436"/>
                <a:gd name="connsiteX231" fmla="*/ 77991 w 752994"/>
                <a:gd name="connsiteY231" fmla="*/ 325838 h 1333436"/>
                <a:gd name="connsiteX232" fmla="*/ 82671 w 752994"/>
                <a:gd name="connsiteY232" fmla="*/ 313619 h 1333436"/>
                <a:gd name="connsiteX233" fmla="*/ 87980 w 752994"/>
                <a:gd name="connsiteY233" fmla="*/ 303018 h 1333436"/>
                <a:gd name="connsiteX234" fmla="*/ 92267 w 752994"/>
                <a:gd name="connsiteY234" fmla="*/ 291191 h 1333436"/>
                <a:gd name="connsiteX235" fmla="*/ 96553 w 752994"/>
                <a:gd name="connsiteY235" fmla="*/ 281202 h 1333436"/>
                <a:gd name="connsiteX236" fmla="*/ 99621 w 752994"/>
                <a:gd name="connsiteY236" fmla="*/ 274481 h 1333436"/>
                <a:gd name="connsiteX237" fmla="*/ 103082 w 752994"/>
                <a:gd name="connsiteY237" fmla="*/ 262450 h 1333436"/>
                <a:gd name="connsiteX238" fmla="*/ 107172 w 752994"/>
                <a:gd name="connsiteY238" fmla="*/ 254299 h 1333436"/>
                <a:gd name="connsiteX239" fmla="*/ 112481 w 752994"/>
                <a:gd name="connsiteY239" fmla="*/ 243697 h 1333436"/>
                <a:gd name="connsiteX240" fmla="*/ 117181 w 752994"/>
                <a:gd name="connsiteY240" fmla="*/ 232279 h 1333436"/>
                <a:gd name="connsiteX241" fmla="*/ 125951 w 752994"/>
                <a:gd name="connsiteY241" fmla="*/ 217389 h 1333436"/>
                <a:gd name="connsiteX242" fmla="*/ 136156 w 752994"/>
                <a:gd name="connsiteY242" fmla="*/ 202925 h 1333436"/>
                <a:gd name="connsiteX243" fmla="*/ 138811 w 752994"/>
                <a:gd name="connsiteY243" fmla="*/ 183339 h 1333436"/>
                <a:gd name="connsiteX244" fmla="*/ 148801 w 752994"/>
                <a:gd name="connsiteY244" fmla="*/ 167445 h 1333436"/>
                <a:gd name="connsiteX245" fmla="*/ 159616 w 752994"/>
                <a:gd name="connsiteY245" fmla="*/ 170712 h 1333436"/>
                <a:gd name="connsiteX246" fmla="*/ 173105 w 752994"/>
                <a:gd name="connsiteY246" fmla="*/ 175188 h 1333436"/>
                <a:gd name="connsiteX247" fmla="*/ 175347 w 752994"/>
                <a:gd name="connsiteY247" fmla="*/ 175188 h 1333436"/>
                <a:gd name="connsiteX248" fmla="*/ 175347 w 752994"/>
                <a:gd name="connsiteY248" fmla="*/ 173758 h 1333436"/>
                <a:gd name="connsiteX249" fmla="*/ 184975 w 752994"/>
                <a:gd name="connsiteY249" fmla="*/ 187393 h 1333436"/>
                <a:gd name="connsiteX250" fmla="*/ 184762 w 752994"/>
                <a:gd name="connsiteY250" fmla="*/ 184637 h 1333436"/>
                <a:gd name="connsiteX251" fmla="*/ 174971 w 752994"/>
                <a:gd name="connsiteY251" fmla="*/ 170774 h 1333436"/>
                <a:gd name="connsiteX252" fmla="*/ 174971 w 752994"/>
                <a:gd name="connsiteY252" fmla="*/ 169550 h 1333436"/>
                <a:gd name="connsiteX253" fmla="*/ 158851 w 752994"/>
                <a:gd name="connsiteY253" fmla="*/ 156924 h 1333436"/>
                <a:gd name="connsiteX254" fmla="*/ 147025 w 752994"/>
                <a:gd name="connsiteY254" fmla="*/ 145709 h 1333436"/>
                <a:gd name="connsiteX255" fmla="*/ 154364 w 752994"/>
                <a:gd name="connsiteY255" fmla="*/ 136335 h 1333436"/>
                <a:gd name="connsiteX256" fmla="*/ 161511 w 752994"/>
                <a:gd name="connsiteY256" fmla="*/ 131042 h 1333436"/>
                <a:gd name="connsiteX257" fmla="*/ 160902 w 752994"/>
                <a:gd name="connsiteY257" fmla="*/ 128384 h 1333436"/>
                <a:gd name="connsiteX258" fmla="*/ 160277 w 752994"/>
                <a:gd name="connsiteY258" fmla="*/ 127778 h 1333436"/>
                <a:gd name="connsiteX259" fmla="*/ 154973 w 752994"/>
                <a:gd name="connsiteY259" fmla="*/ 122077 h 1333436"/>
                <a:gd name="connsiteX260" fmla="*/ 160277 w 752994"/>
                <a:gd name="connsiteY260" fmla="*/ 115140 h 1333436"/>
                <a:gd name="connsiteX261" fmla="*/ 165181 w 752994"/>
                <a:gd name="connsiteY261" fmla="*/ 108215 h 1333436"/>
                <a:gd name="connsiteX262" fmla="*/ 161303 w 752994"/>
                <a:gd name="connsiteY262" fmla="*/ 104146 h 1333436"/>
                <a:gd name="connsiteX263" fmla="*/ 157842 w 752994"/>
                <a:gd name="connsiteY263" fmla="*/ 104542 h 1333436"/>
                <a:gd name="connsiteX264" fmla="*/ 157024 w 752994"/>
                <a:gd name="connsiteY264" fmla="*/ 102304 h 1333436"/>
                <a:gd name="connsiteX265" fmla="*/ 160694 w 752994"/>
                <a:gd name="connsiteY265" fmla="*/ 55437 h 1333436"/>
                <a:gd name="connsiteX266" fmla="*/ 160486 w 752994"/>
                <a:gd name="connsiteY266" fmla="*/ 31991 h 1333436"/>
                <a:gd name="connsiteX267" fmla="*/ 164972 w 752994"/>
                <a:gd name="connsiteY267" fmla="*/ 18141 h 1333436"/>
                <a:gd name="connsiteX268" fmla="*/ 171911 w 752994"/>
                <a:gd name="connsiteY268" fmla="*/ 11204 h 1333436"/>
                <a:gd name="connsiteX269" fmla="*/ 187406 w 752994"/>
                <a:gd name="connsiteY269" fmla="*/ 21801 h 1333436"/>
                <a:gd name="connsiteX270" fmla="*/ 210866 w 752994"/>
                <a:gd name="connsiteY270" fmla="*/ 37086 h 1333436"/>
                <a:gd name="connsiteX271" fmla="*/ 219230 w 752994"/>
                <a:gd name="connsiteY271" fmla="*/ 41166 h 1333436"/>
                <a:gd name="connsiteX272" fmla="*/ 226778 w 752994"/>
                <a:gd name="connsiteY272" fmla="*/ 47486 h 1333436"/>
                <a:gd name="connsiteX273" fmla="*/ 236152 w 752994"/>
                <a:gd name="connsiteY273" fmla="*/ 52370 h 1333436"/>
                <a:gd name="connsiteX274" fmla="*/ 239629 w 752994"/>
                <a:gd name="connsiteY274" fmla="*/ 58491 h 1333436"/>
                <a:gd name="connsiteX275" fmla="*/ 239629 w 752994"/>
                <a:gd name="connsiteY275" fmla="*/ 63376 h 1333436"/>
                <a:gd name="connsiteX276" fmla="*/ 236568 w 752994"/>
                <a:gd name="connsiteY276" fmla="*/ 67457 h 1333436"/>
                <a:gd name="connsiteX277" fmla="*/ 231264 w 752994"/>
                <a:gd name="connsiteY277" fmla="*/ 69905 h 1333436"/>
                <a:gd name="connsiteX278" fmla="*/ 216778 w 752994"/>
                <a:gd name="connsiteY278" fmla="*/ 82741 h 1333436"/>
                <a:gd name="connsiteX279" fmla="*/ 214134 w 752994"/>
                <a:gd name="connsiteY279" fmla="*/ 93536 h 1333436"/>
                <a:gd name="connsiteX280" fmla="*/ 214535 w 752994"/>
                <a:gd name="connsiteY280" fmla="*/ 96801 h 1333436"/>
                <a:gd name="connsiteX281" fmla="*/ 216378 w 752994"/>
                <a:gd name="connsiteY281" fmla="*/ 96801 h 1333436"/>
                <a:gd name="connsiteX282" fmla="*/ 230046 w 752994"/>
                <a:gd name="connsiteY282" fmla="*/ 85387 h 1333436"/>
                <a:gd name="connsiteX283" fmla="*/ 243298 w 752994"/>
                <a:gd name="connsiteY283" fmla="*/ 75198 h 1333436"/>
                <a:gd name="connsiteX284" fmla="*/ 246760 w 752994"/>
                <a:gd name="connsiteY284" fmla="*/ 77646 h 1333436"/>
                <a:gd name="connsiteX285" fmla="*/ 255541 w 752994"/>
                <a:gd name="connsiteY285" fmla="*/ 63376 h 1333436"/>
                <a:gd name="connsiteX286" fmla="*/ 259611 w 752994"/>
                <a:gd name="connsiteY286" fmla="*/ 43405 h 1333436"/>
                <a:gd name="connsiteX287" fmla="*/ 256967 w 752994"/>
                <a:gd name="connsiteY287" fmla="*/ 38520 h 1333436"/>
                <a:gd name="connsiteX288" fmla="*/ 253906 w 752994"/>
                <a:gd name="connsiteY288" fmla="*/ 34242 h 1333436"/>
                <a:gd name="connsiteX289" fmla="*/ 256967 w 752994"/>
                <a:gd name="connsiteY289" fmla="*/ 30161 h 1333436"/>
                <a:gd name="connsiteX290" fmla="*/ 262063 w 752994"/>
                <a:gd name="connsiteY290" fmla="*/ 27712 h 1333436"/>
                <a:gd name="connsiteX291" fmla="*/ 264915 w 752994"/>
                <a:gd name="connsiteY291" fmla="*/ 23026 h 1333436"/>
                <a:gd name="connsiteX292" fmla="*/ 267976 w 752994"/>
                <a:gd name="connsiteY292" fmla="*/ 22618 h 1333436"/>
                <a:gd name="connsiteX293" fmla="*/ 270427 w 752994"/>
                <a:gd name="connsiteY293" fmla="*/ 20787 h 1333436"/>
                <a:gd name="connsiteX294" fmla="*/ 263088 w 752994"/>
                <a:gd name="connsiteY294" fmla="*/ 13652 h 1333436"/>
                <a:gd name="connsiteX295" fmla="*/ 255541 w 752994"/>
                <a:gd name="connsiteY295" fmla="*/ 3055 h 1333436"/>
                <a:gd name="connsiteX296" fmla="*/ 256358 w 752994"/>
                <a:gd name="connsiteY296" fmla="*/ 1224 h 1333436"/>
                <a:gd name="connsiteX297" fmla="*/ 257159 w 752994"/>
                <a:gd name="connsiteY297" fmla="*/ 0 h 1333436"/>
                <a:gd name="connsiteX0" fmla="*/ 195542 w 752994"/>
                <a:gd name="connsiteY0" fmla="*/ 231871 h 1333436"/>
                <a:gd name="connsiteX1" fmla="*/ 184117 w 752994"/>
                <a:gd name="connsiteY1" fmla="*/ 214326 h 1333436"/>
                <a:gd name="connsiteX2" fmla="*/ 185553 w 752994"/>
                <a:gd name="connsiteY2" fmla="*/ 222494 h 1333436"/>
                <a:gd name="connsiteX3" fmla="*/ 188600 w 752994"/>
                <a:gd name="connsiteY3" fmla="*/ 226970 h 1333436"/>
                <a:gd name="connsiteX4" fmla="*/ 195542 w 752994"/>
                <a:gd name="connsiteY4" fmla="*/ 231871 h 1333436"/>
                <a:gd name="connsiteX5" fmla="*/ 257159 w 752994"/>
                <a:gd name="connsiteY5" fmla="*/ 0 h 1333436"/>
                <a:gd name="connsiteX6" fmla="*/ 493147 w 752994"/>
                <a:gd name="connsiteY6" fmla="*/ 73157 h 1333436"/>
                <a:gd name="connsiteX7" fmla="*/ 492970 w 752994"/>
                <a:gd name="connsiteY7" fmla="*/ 73792 h 1333436"/>
                <a:gd name="connsiteX8" fmla="*/ 525816 w 752994"/>
                <a:gd name="connsiteY8" fmla="*/ 82491 h 1333436"/>
                <a:gd name="connsiteX9" fmla="*/ 520098 w 752994"/>
                <a:gd name="connsiteY9" fmla="*/ 111245 h 1333436"/>
                <a:gd name="connsiteX10" fmla="*/ 512552 w 752994"/>
                <a:gd name="connsiteY10" fmla="*/ 143854 h 1333436"/>
                <a:gd name="connsiteX11" fmla="*/ 517849 w 752994"/>
                <a:gd name="connsiteY11" fmla="*/ 157740 h 1333436"/>
                <a:gd name="connsiteX12" fmla="*/ 523160 w 752994"/>
                <a:gd name="connsiteY12" fmla="*/ 172009 h 1333436"/>
                <a:gd name="connsiteX13" fmla="*/ 521535 w 752994"/>
                <a:gd name="connsiteY13" fmla="*/ 178928 h 1333436"/>
                <a:gd name="connsiteX14" fmla="*/ 520098 w 752994"/>
                <a:gd name="connsiteY14" fmla="*/ 186279 h 1333436"/>
                <a:gd name="connsiteX15" fmla="*/ 526019 w 752994"/>
                <a:gd name="connsiteY15" fmla="*/ 193629 h 1333436"/>
                <a:gd name="connsiteX16" fmla="*/ 537251 w 752994"/>
                <a:gd name="connsiteY16" fmla="*/ 206270 h 1333436"/>
                <a:gd name="connsiteX17" fmla="*/ 542765 w 752994"/>
                <a:gd name="connsiteY17" fmla="*/ 217475 h 1333436"/>
                <a:gd name="connsiteX18" fmla="*/ 546857 w 752994"/>
                <a:gd name="connsiteY18" fmla="*/ 230930 h 1333436"/>
                <a:gd name="connsiteX19" fmla="*/ 549499 w 752994"/>
                <a:gd name="connsiteY19" fmla="*/ 235622 h 1333436"/>
                <a:gd name="connsiteX20" fmla="*/ 553388 w 752994"/>
                <a:gd name="connsiteY20" fmla="*/ 240722 h 1333436"/>
                <a:gd name="connsiteX21" fmla="*/ 557465 w 752994"/>
                <a:gd name="connsiteY21" fmla="*/ 246037 h 1333436"/>
                <a:gd name="connsiteX22" fmla="*/ 561761 w 752994"/>
                <a:gd name="connsiteY22" fmla="*/ 248671 h 1333436"/>
                <a:gd name="connsiteX23" fmla="*/ 567478 w 752994"/>
                <a:gd name="connsiteY23" fmla="*/ 247665 h 1333436"/>
                <a:gd name="connsiteX24" fmla="*/ 569931 w 752994"/>
                <a:gd name="connsiteY24" fmla="*/ 249293 h 1333436"/>
                <a:gd name="connsiteX25" fmla="*/ 570540 w 752994"/>
                <a:gd name="connsiteY25" fmla="*/ 251951 h 1333436"/>
                <a:gd name="connsiteX26" fmla="*/ 561964 w 752994"/>
                <a:gd name="connsiteY26" fmla="*/ 267656 h 1333436"/>
                <a:gd name="connsiteX27" fmla="*/ 553591 w 752994"/>
                <a:gd name="connsiteY27" fmla="*/ 289659 h 1333436"/>
                <a:gd name="connsiteX28" fmla="*/ 554810 w 752994"/>
                <a:gd name="connsiteY28" fmla="*/ 292939 h 1333436"/>
                <a:gd name="connsiteX29" fmla="*/ 556246 w 752994"/>
                <a:gd name="connsiteY29" fmla="*/ 299260 h 1333436"/>
                <a:gd name="connsiteX30" fmla="*/ 552778 w 752994"/>
                <a:gd name="connsiteY30" fmla="*/ 301917 h 1333436"/>
                <a:gd name="connsiteX31" fmla="*/ 549295 w 752994"/>
                <a:gd name="connsiteY31" fmla="*/ 306993 h 1333436"/>
                <a:gd name="connsiteX32" fmla="*/ 547061 w 752994"/>
                <a:gd name="connsiteY32" fmla="*/ 313122 h 1333436"/>
                <a:gd name="connsiteX33" fmla="*/ 544811 w 752994"/>
                <a:gd name="connsiteY33" fmla="*/ 316593 h 1333436"/>
                <a:gd name="connsiteX34" fmla="*/ 549919 w 752994"/>
                <a:gd name="connsiteY34" fmla="*/ 322698 h 1333436"/>
                <a:gd name="connsiteX35" fmla="*/ 553184 w 752994"/>
                <a:gd name="connsiteY35" fmla="*/ 325955 h 1333436"/>
                <a:gd name="connsiteX36" fmla="*/ 555840 w 752994"/>
                <a:gd name="connsiteY36" fmla="*/ 328205 h 1333436"/>
                <a:gd name="connsiteX37" fmla="*/ 574212 w 752994"/>
                <a:gd name="connsiteY37" fmla="*/ 318820 h 1333436"/>
                <a:gd name="connsiteX38" fmla="*/ 579523 w 752994"/>
                <a:gd name="connsiteY38" fmla="*/ 326577 h 1333436"/>
                <a:gd name="connsiteX39" fmla="*/ 580539 w 752994"/>
                <a:gd name="connsiteY39" fmla="*/ 334933 h 1333436"/>
                <a:gd name="connsiteX40" fmla="*/ 579726 w 752994"/>
                <a:gd name="connsiteY40" fmla="*/ 343097 h 1333436"/>
                <a:gd name="connsiteX41" fmla="*/ 581366 w 752994"/>
                <a:gd name="connsiteY41" fmla="*/ 350231 h 1333436"/>
                <a:gd name="connsiteX42" fmla="*/ 586256 w 752994"/>
                <a:gd name="connsiteY42" fmla="*/ 355930 h 1333436"/>
                <a:gd name="connsiteX43" fmla="*/ 589536 w 752994"/>
                <a:gd name="connsiteY43" fmla="*/ 362059 h 1333436"/>
                <a:gd name="connsiteX44" fmla="*/ 588099 w 752994"/>
                <a:gd name="connsiteY44" fmla="*/ 369600 h 1333436"/>
                <a:gd name="connsiteX45" fmla="*/ 586459 w 752994"/>
                <a:gd name="connsiteY45" fmla="*/ 377357 h 1333436"/>
                <a:gd name="connsiteX46" fmla="*/ 588709 w 752994"/>
                <a:gd name="connsiteY46" fmla="*/ 381835 h 1333436"/>
                <a:gd name="connsiteX47" fmla="*/ 595036 w 752994"/>
                <a:gd name="connsiteY47" fmla="*/ 382457 h 1333436"/>
                <a:gd name="connsiteX48" fmla="*/ 599331 w 752994"/>
                <a:gd name="connsiteY48" fmla="*/ 385306 h 1333436"/>
                <a:gd name="connsiteX49" fmla="*/ 601987 w 752994"/>
                <a:gd name="connsiteY49" fmla="*/ 391004 h 1333436"/>
                <a:gd name="connsiteX50" fmla="*/ 602799 w 752994"/>
                <a:gd name="connsiteY50" fmla="*/ 404076 h 1333436"/>
                <a:gd name="connsiteX51" fmla="*/ 606892 w 752994"/>
                <a:gd name="connsiteY51" fmla="*/ 415688 h 1333436"/>
                <a:gd name="connsiteX52" fmla="*/ 610563 w 752994"/>
                <a:gd name="connsiteY52" fmla="*/ 412217 h 1333436"/>
                <a:gd name="connsiteX53" fmla="*/ 617920 w 752994"/>
                <a:gd name="connsiteY53" fmla="*/ 408769 h 1333436"/>
                <a:gd name="connsiteX54" fmla="*/ 624654 w 752994"/>
                <a:gd name="connsiteY54" fmla="*/ 411211 h 1333436"/>
                <a:gd name="connsiteX55" fmla="*/ 634652 w 752994"/>
                <a:gd name="connsiteY55" fmla="*/ 410182 h 1333436"/>
                <a:gd name="connsiteX56" fmla="*/ 640573 w 752994"/>
                <a:gd name="connsiteY56" fmla="*/ 407739 h 1333436"/>
                <a:gd name="connsiteX57" fmla="*/ 646711 w 752994"/>
                <a:gd name="connsiteY57" fmla="*/ 410589 h 1333436"/>
                <a:gd name="connsiteX58" fmla="*/ 650383 w 752994"/>
                <a:gd name="connsiteY58" fmla="*/ 410589 h 1333436"/>
                <a:gd name="connsiteX59" fmla="*/ 654257 w 752994"/>
                <a:gd name="connsiteY59" fmla="*/ 411618 h 1333436"/>
                <a:gd name="connsiteX60" fmla="*/ 656913 w 752994"/>
                <a:gd name="connsiteY60" fmla="*/ 413653 h 1333436"/>
                <a:gd name="connsiteX61" fmla="*/ 660802 w 752994"/>
                <a:gd name="connsiteY61" fmla="*/ 415090 h 1333436"/>
                <a:gd name="connsiteX62" fmla="*/ 669581 w 752994"/>
                <a:gd name="connsiteY62" fmla="*/ 415904 h 1333436"/>
                <a:gd name="connsiteX63" fmla="*/ 672237 w 752994"/>
                <a:gd name="connsiteY63" fmla="*/ 415688 h 1333436"/>
                <a:gd name="connsiteX64" fmla="*/ 675705 w 752994"/>
                <a:gd name="connsiteY64" fmla="*/ 409367 h 1333436"/>
                <a:gd name="connsiteX65" fmla="*/ 679986 w 752994"/>
                <a:gd name="connsiteY65" fmla="*/ 403238 h 1333436"/>
                <a:gd name="connsiteX66" fmla="*/ 693264 w 752994"/>
                <a:gd name="connsiteY66" fmla="*/ 419567 h 1333436"/>
                <a:gd name="connsiteX67" fmla="*/ 688563 w 752994"/>
                <a:gd name="connsiteY67" fmla="*/ 448321 h 1333436"/>
                <a:gd name="connsiteX68" fmla="*/ 663949 w 752994"/>
                <a:gd name="connsiteY68" fmla="*/ 590165 h 1333436"/>
                <a:gd name="connsiteX69" fmla="*/ 666304 w 752994"/>
                <a:gd name="connsiteY69" fmla="*/ 590504 h 1333436"/>
                <a:gd name="connsiteX70" fmla="*/ 655288 w 752994"/>
                <a:gd name="connsiteY70" fmla="*/ 656178 h 1333436"/>
                <a:gd name="connsiteX71" fmla="*/ 681808 w 752994"/>
                <a:gd name="connsiteY71" fmla="*/ 662301 h 1333436"/>
                <a:gd name="connsiteX72" fmla="*/ 752994 w 752994"/>
                <a:gd name="connsiteY72" fmla="*/ 675560 h 1333436"/>
                <a:gd name="connsiteX73" fmla="*/ 714651 w 752994"/>
                <a:gd name="connsiteY73" fmla="*/ 946985 h 1333436"/>
                <a:gd name="connsiteX74" fmla="*/ 654533 w 752994"/>
                <a:gd name="connsiteY74" fmla="*/ 1333436 h 1333436"/>
                <a:gd name="connsiteX75" fmla="*/ 546831 w 752994"/>
                <a:gd name="connsiteY75" fmla="*/ 1317126 h 1333436"/>
                <a:gd name="connsiteX76" fmla="*/ 351227 w 752994"/>
                <a:gd name="connsiteY76" fmla="*/ 1194172 h 1333436"/>
                <a:gd name="connsiteX77" fmla="*/ 361011 w 752994"/>
                <a:gd name="connsiteY77" fmla="*/ 1182755 h 1333436"/>
                <a:gd name="connsiteX78" fmla="*/ 368981 w 752994"/>
                <a:gd name="connsiteY78" fmla="*/ 1182130 h 1333436"/>
                <a:gd name="connsiteX79" fmla="*/ 369571 w 752994"/>
                <a:gd name="connsiteY79" fmla="*/ 1181558 h 1333436"/>
                <a:gd name="connsiteX80" fmla="*/ 362372 w 752994"/>
                <a:gd name="connsiteY80" fmla="*/ 1182120 h 1333436"/>
                <a:gd name="connsiteX81" fmla="*/ 229464 w 752994"/>
                <a:gd name="connsiteY81" fmla="*/ 1161721 h 1333436"/>
                <a:gd name="connsiteX82" fmla="*/ 227427 w 752994"/>
                <a:gd name="connsiteY82" fmla="*/ 1157269 h 1333436"/>
                <a:gd name="connsiteX83" fmla="*/ 224967 w 752994"/>
                <a:gd name="connsiteY83" fmla="*/ 1152575 h 1333436"/>
                <a:gd name="connsiteX84" fmla="*/ 225582 w 752994"/>
                <a:gd name="connsiteY84" fmla="*/ 1144808 h 1333436"/>
                <a:gd name="connsiteX85" fmla="*/ 227215 w 752994"/>
                <a:gd name="connsiteY85" fmla="*/ 1135834 h 1333436"/>
                <a:gd name="connsiteX86" fmla="*/ 227215 w 752994"/>
                <a:gd name="connsiteY86" fmla="*/ 1134212 h 1333436"/>
                <a:gd name="connsiteX87" fmla="*/ 225179 w 752994"/>
                <a:gd name="connsiteY87" fmla="*/ 1114020 h 1333436"/>
                <a:gd name="connsiteX88" fmla="*/ 217839 w 752994"/>
                <a:gd name="connsiteY88" fmla="*/ 1100352 h 1333436"/>
                <a:gd name="connsiteX89" fmla="*/ 199661 w 752994"/>
                <a:gd name="connsiteY89" fmla="*/ 1076502 h 1333436"/>
                <a:gd name="connsiteX90" fmla="*/ 196395 w 752994"/>
                <a:gd name="connsiteY90" fmla="*/ 1071807 h 1333436"/>
                <a:gd name="connsiteX91" fmla="*/ 190880 w 752994"/>
                <a:gd name="connsiteY91" fmla="*/ 1067527 h 1333436"/>
                <a:gd name="connsiteX92" fmla="*/ 187210 w 752994"/>
                <a:gd name="connsiteY92" fmla="*/ 1068735 h 1333436"/>
                <a:gd name="connsiteX93" fmla="*/ 180062 w 752994"/>
                <a:gd name="connsiteY93" fmla="*/ 1066699 h 1333436"/>
                <a:gd name="connsiteX94" fmla="*/ 180466 w 752994"/>
                <a:gd name="connsiteY94" fmla="*/ 1053031 h 1333436"/>
                <a:gd name="connsiteX95" fmla="*/ 180062 w 752994"/>
                <a:gd name="connsiteY95" fmla="*/ 1045299 h 1333436"/>
                <a:gd name="connsiteX96" fmla="*/ 174144 w 752994"/>
                <a:gd name="connsiteY96" fmla="*/ 1044057 h 1333436"/>
                <a:gd name="connsiteX97" fmla="*/ 158426 w 752994"/>
                <a:gd name="connsiteY97" fmla="*/ 1042641 h 1333436"/>
                <a:gd name="connsiteX98" fmla="*/ 149857 w 752994"/>
                <a:gd name="connsiteY98" fmla="*/ 1035497 h 1333436"/>
                <a:gd name="connsiteX99" fmla="*/ 142497 w 752994"/>
                <a:gd name="connsiteY99" fmla="*/ 1028766 h 1333436"/>
                <a:gd name="connsiteX100" fmla="*/ 140864 w 752994"/>
                <a:gd name="connsiteY100" fmla="*/ 1020620 h 1333436"/>
                <a:gd name="connsiteX101" fmla="*/ 138212 w 752994"/>
                <a:gd name="connsiteY101" fmla="*/ 1013061 h 1333436"/>
                <a:gd name="connsiteX102" fmla="*/ 131064 w 752994"/>
                <a:gd name="connsiteY102" fmla="*/ 1007159 h 1333436"/>
                <a:gd name="connsiteX103" fmla="*/ 121264 w 752994"/>
                <a:gd name="connsiteY103" fmla="*/ 1005330 h 1333436"/>
                <a:gd name="connsiteX104" fmla="*/ 112483 w 752994"/>
                <a:gd name="connsiteY104" fmla="*/ 1001671 h 1333436"/>
                <a:gd name="connsiteX105" fmla="*/ 105950 w 752994"/>
                <a:gd name="connsiteY105" fmla="*/ 995734 h 1333436"/>
                <a:gd name="connsiteX106" fmla="*/ 97380 w 752994"/>
                <a:gd name="connsiteY106" fmla="*/ 994526 h 1333436"/>
                <a:gd name="connsiteX107" fmla="*/ 87984 w 752994"/>
                <a:gd name="connsiteY107" fmla="*/ 991040 h 1333436"/>
                <a:gd name="connsiteX108" fmla="*/ 80029 w 752994"/>
                <a:gd name="connsiteY108" fmla="*/ 985138 h 1333436"/>
                <a:gd name="connsiteX109" fmla="*/ 77166 w 752994"/>
                <a:gd name="connsiteY109" fmla="*/ 976164 h 1333436"/>
                <a:gd name="connsiteX110" fmla="*/ 79203 w 752994"/>
                <a:gd name="connsiteY110" fmla="*/ 970676 h 1333436"/>
                <a:gd name="connsiteX111" fmla="*/ 82470 w 752994"/>
                <a:gd name="connsiteY111" fmla="*/ 963117 h 1333436"/>
                <a:gd name="connsiteX112" fmla="*/ 84314 w 752994"/>
                <a:gd name="connsiteY112" fmla="*/ 954557 h 1333436"/>
                <a:gd name="connsiteX113" fmla="*/ 86351 w 752994"/>
                <a:gd name="connsiteY113" fmla="*/ 948033 h 1333436"/>
                <a:gd name="connsiteX114" fmla="*/ 86159 w 752994"/>
                <a:gd name="connsiteY114" fmla="*/ 942925 h 1333436"/>
                <a:gd name="connsiteX115" fmla="*/ 83085 w 752994"/>
                <a:gd name="connsiteY115" fmla="*/ 939853 h 1333436"/>
                <a:gd name="connsiteX116" fmla="*/ 77570 w 752994"/>
                <a:gd name="connsiteY116" fmla="*/ 937437 h 1333436"/>
                <a:gd name="connsiteX117" fmla="*/ 76763 w 752994"/>
                <a:gd name="connsiteY117" fmla="*/ 931915 h 1333436"/>
                <a:gd name="connsiteX118" fmla="*/ 78800 w 752994"/>
                <a:gd name="connsiteY118" fmla="*/ 927013 h 1333436"/>
                <a:gd name="connsiteX119" fmla="*/ 79626 w 752994"/>
                <a:gd name="connsiteY119" fmla="*/ 922526 h 1333436"/>
                <a:gd name="connsiteX120" fmla="*/ 77781 w 752994"/>
                <a:gd name="connsiteY120" fmla="*/ 919903 h 1333436"/>
                <a:gd name="connsiteX121" fmla="*/ 74303 w 752994"/>
                <a:gd name="connsiteY121" fmla="*/ 917418 h 1333436"/>
                <a:gd name="connsiteX122" fmla="*/ 71863 w 752994"/>
                <a:gd name="connsiteY122" fmla="*/ 915174 h 1333436"/>
                <a:gd name="connsiteX123" fmla="*/ 71652 w 752994"/>
                <a:gd name="connsiteY123" fmla="*/ 910894 h 1333436"/>
                <a:gd name="connsiteX124" fmla="*/ 70633 w 752994"/>
                <a:gd name="connsiteY124" fmla="*/ 906614 h 1333436"/>
                <a:gd name="connsiteX125" fmla="*/ 68385 w 752994"/>
                <a:gd name="connsiteY125" fmla="*/ 902749 h 1333436"/>
                <a:gd name="connsiteX126" fmla="*/ 61045 w 752994"/>
                <a:gd name="connsiteY126" fmla="*/ 889494 h 1333436"/>
                <a:gd name="connsiteX127" fmla="*/ 57971 w 752994"/>
                <a:gd name="connsiteY127" fmla="*/ 875619 h 1333436"/>
                <a:gd name="connsiteX128" fmla="*/ 52264 w 752994"/>
                <a:gd name="connsiteY128" fmla="*/ 862572 h 1333436"/>
                <a:gd name="connsiteX129" fmla="*/ 44309 w 752994"/>
                <a:gd name="connsiteY129" fmla="*/ 850561 h 1333436"/>
                <a:gd name="connsiteX130" fmla="*/ 45520 w 752994"/>
                <a:gd name="connsiteY130" fmla="*/ 827090 h 1333436"/>
                <a:gd name="connsiteX131" fmla="*/ 53071 w 752994"/>
                <a:gd name="connsiteY131" fmla="*/ 822396 h 1333436"/>
                <a:gd name="connsiteX132" fmla="*/ 57375 w 752994"/>
                <a:gd name="connsiteY132" fmla="*/ 816493 h 1333436"/>
                <a:gd name="connsiteX133" fmla="*/ 55319 w 752994"/>
                <a:gd name="connsiteY133" fmla="*/ 801617 h 1333436"/>
                <a:gd name="connsiteX134" fmla="*/ 48383 w 752994"/>
                <a:gd name="connsiteY134" fmla="*/ 802204 h 1333436"/>
                <a:gd name="connsiteX135" fmla="*/ 40428 w 752994"/>
                <a:gd name="connsiteY135" fmla="*/ 797924 h 1333436"/>
                <a:gd name="connsiteX136" fmla="*/ 37565 w 752994"/>
                <a:gd name="connsiteY136" fmla="*/ 790606 h 1333436"/>
                <a:gd name="connsiteX137" fmla="*/ 37565 w 752994"/>
                <a:gd name="connsiteY137" fmla="*/ 790399 h 1333436"/>
                <a:gd name="connsiteX138" fmla="*/ 35931 w 752994"/>
                <a:gd name="connsiteY138" fmla="*/ 785912 h 1333436"/>
                <a:gd name="connsiteX139" fmla="*/ 34510 w 752994"/>
                <a:gd name="connsiteY139" fmla="*/ 780597 h 1333436"/>
                <a:gd name="connsiteX140" fmla="*/ 36335 w 752994"/>
                <a:gd name="connsiteY140" fmla="*/ 774280 h 1333436"/>
                <a:gd name="connsiteX141" fmla="*/ 38180 w 752994"/>
                <a:gd name="connsiteY141" fmla="*/ 766721 h 1333436"/>
                <a:gd name="connsiteX142" fmla="*/ 37161 w 752994"/>
                <a:gd name="connsiteY142" fmla="*/ 760405 h 1333436"/>
                <a:gd name="connsiteX143" fmla="*/ 35720 w 752994"/>
                <a:gd name="connsiteY143" fmla="*/ 754710 h 1333436"/>
                <a:gd name="connsiteX144" fmla="*/ 36546 w 752994"/>
                <a:gd name="connsiteY144" fmla="*/ 748773 h 1333436"/>
                <a:gd name="connsiteX145" fmla="*/ 38372 w 752994"/>
                <a:gd name="connsiteY145" fmla="*/ 744528 h 1333436"/>
                <a:gd name="connsiteX146" fmla="*/ 41638 w 752994"/>
                <a:gd name="connsiteY146" fmla="*/ 744321 h 1333436"/>
                <a:gd name="connsiteX147" fmla="*/ 44713 w 752994"/>
                <a:gd name="connsiteY147" fmla="*/ 746357 h 1333436"/>
                <a:gd name="connsiteX148" fmla="*/ 47364 w 752994"/>
                <a:gd name="connsiteY148" fmla="*/ 753260 h 1333436"/>
                <a:gd name="connsiteX149" fmla="*/ 55742 w 752994"/>
                <a:gd name="connsiteY149" fmla="*/ 764305 h 1333436"/>
                <a:gd name="connsiteX150" fmla="*/ 56338 w 752994"/>
                <a:gd name="connsiteY150" fmla="*/ 761233 h 1333436"/>
                <a:gd name="connsiteX151" fmla="*/ 56145 w 752994"/>
                <a:gd name="connsiteY151" fmla="*/ 757368 h 1333436"/>
                <a:gd name="connsiteX152" fmla="*/ 54916 w 752994"/>
                <a:gd name="connsiteY152" fmla="*/ 748601 h 1333436"/>
                <a:gd name="connsiteX153" fmla="*/ 52879 w 752994"/>
                <a:gd name="connsiteY153" fmla="*/ 747358 h 1333436"/>
                <a:gd name="connsiteX154" fmla="*/ 51649 w 752994"/>
                <a:gd name="connsiteY154" fmla="*/ 745322 h 1333436"/>
                <a:gd name="connsiteX155" fmla="*/ 51649 w 752994"/>
                <a:gd name="connsiteY155" fmla="*/ 739212 h 1333436"/>
                <a:gd name="connsiteX156" fmla="*/ 50227 w 752994"/>
                <a:gd name="connsiteY156" fmla="*/ 734725 h 1333436"/>
                <a:gd name="connsiteX157" fmla="*/ 48786 w 752994"/>
                <a:gd name="connsiteY157" fmla="*/ 731446 h 1333436"/>
                <a:gd name="connsiteX158" fmla="*/ 54512 w 752994"/>
                <a:gd name="connsiteY158" fmla="*/ 726372 h 1333436"/>
                <a:gd name="connsiteX159" fmla="*/ 59815 w 752994"/>
                <a:gd name="connsiteY159" fmla="*/ 725130 h 1333436"/>
                <a:gd name="connsiteX160" fmla="*/ 58182 w 752994"/>
                <a:gd name="connsiteY160" fmla="*/ 722886 h 1333436"/>
                <a:gd name="connsiteX161" fmla="*/ 51861 w 752994"/>
                <a:gd name="connsiteY161" fmla="*/ 717985 h 1333436"/>
                <a:gd name="connsiteX162" fmla="*/ 46749 w 752994"/>
                <a:gd name="connsiteY162" fmla="*/ 729617 h 1333436"/>
                <a:gd name="connsiteX163" fmla="*/ 40831 w 752994"/>
                <a:gd name="connsiteY163" fmla="*/ 739212 h 1333436"/>
                <a:gd name="connsiteX164" fmla="*/ 39601 w 752994"/>
                <a:gd name="connsiteY164" fmla="*/ 738798 h 1333436"/>
                <a:gd name="connsiteX165" fmla="*/ 39409 w 752994"/>
                <a:gd name="connsiteY165" fmla="*/ 738591 h 1333436"/>
                <a:gd name="connsiteX166" fmla="*/ 37161 w 752994"/>
                <a:gd name="connsiteY166" fmla="*/ 734725 h 1333436"/>
                <a:gd name="connsiteX167" fmla="*/ 32665 w 752994"/>
                <a:gd name="connsiteY167" fmla="*/ 727788 h 1333436"/>
                <a:gd name="connsiteX168" fmla="*/ 26747 w 752994"/>
                <a:gd name="connsiteY168" fmla="*/ 719435 h 1333436"/>
                <a:gd name="connsiteX169" fmla="*/ 23884 w 752994"/>
                <a:gd name="connsiteY169" fmla="*/ 717812 h 1333436"/>
                <a:gd name="connsiteX170" fmla="*/ 24710 w 752994"/>
                <a:gd name="connsiteY170" fmla="*/ 709632 h 1333436"/>
                <a:gd name="connsiteX171" fmla="*/ 27554 w 752994"/>
                <a:gd name="connsiteY171" fmla="*/ 701694 h 1333436"/>
                <a:gd name="connsiteX172" fmla="*/ 24902 w 752994"/>
                <a:gd name="connsiteY172" fmla="*/ 696171 h 1333436"/>
                <a:gd name="connsiteX173" fmla="*/ 24095 w 752994"/>
                <a:gd name="connsiteY173" fmla="*/ 687818 h 1333436"/>
                <a:gd name="connsiteX174" fmla="*/ 22462 w 752994"/>
                <a:gd name="connsiteY174" fmla="*/ 682330 h 1333436"/>
                <a:gd name="connsiteX175" fmla="*/ 17159 w 752994"/>
                <a:gd name="connsiteY175" fmla="*/ 677636 h 1333436"/>
                <a:gd name="connsiteX176" fmla="*/ 14296 w 752994"/>
                <a:gd name="connsiteY176" fmla="*/ 671492 h 1333436"/>
                <a:gd name="connsiteX177" fmla="*/ 12451 w 752994"/>
                <a:gd name="connsiteY177" fmla="*/ 665797 h 1333436"/>
                <a:gd name="connsiteX178" fmla="*/ 5111 w 752994"/>
                <a:gd name="connsiteY178" fmla="*/ 654994 h 1333436"/>
                <a:gd name="connsiteX179" fmla="*/ 2248 w 752994"/>
                <a:gd name="connsiteY179" fmla="*/ 645605 h 1333436"/>
                <a:gd name="connsiteX180" fmla="*/ 4496 w 752994"/>
                <a:gd name="connsiteY180" fmla="*/ 640497 h 1333436"/>
                <a:gd name="connsiteX181" fmla="*/ 6744 w 752994"/>
                <a:gd name="connsiteY181" fmla="*/ 632765 h 1333436"/>
                <a:gd name="connsiteX182" fmla="*/ 6744 w 752994"/>
                <a:gd name="connsiteY182" fmla="*/ 628485 h 1333436"/>
                <a:gd name="connsiteX183" fmla="*/ 6533 w 752994"/>
                <a:gd name="connsiteY183" fmla="*/ 620305 h 1333436"/>
                <a:gd name="connsiteX184" fmla="*/ 7359 w 752994"/>
                <a:gd name="connsiteY184" fmla="*/ 611745 h 1333436"/>
                <a:gd name="connsiteX185" fmla="*/ 11836 w 752994"/>
                <a:gd name="connsiteY185" fmla="*/ 602978 h 1333436"/>
                <a:gd name="connsiteX186" fmla="*/ 15103 w 752994"/>
                <a:gd name="connsiteY186" fmla="*/ 591760 h 1333436"/>
                <a:gd name="connsiteX187" fmla="*/ 14488 w 752994"/>
                <a:gd name="connsiteY187" fmla="*/ 584029 h 1333436"/>
                <a:gd name="connsiteX188" fmla="*/ 13873 w 752994"/>
                <a:gd name="connsiteY188" fmla="*/ 578299 h 1333436"/>
                <a:gd name="connsiteX189" fmla="*/ 10626 w 752994"/>
                <a:gd name="connsiteY189" fmla="*/ 568531 h 1333436"/>
                <a:gd name="connsiteX190" fmla="*/ 3670 w 752994"/>
                <a:gd name="connsiteY190" fmla="*/ 558107 h 1333436"/>
                <a:gd name="connsiteX191" fmla="*/ 0 w 752994"/>
                <a:gd name="connsiteY191" fmla="*/ 551377 h 1333436"/>
                <a:gd name="connsiteX192" fmla="*/ 0 w 752994"/>
                <a:gd name="connsiteY192" fmla="*/ 550997 h 1333436"/>
                <a:gd name="connsiteX193" fmla="*/ 4900 w 752994"/>
                <a:gd name="connsiteY193" fmla="*/ 531220 h 1333436"/>
                <a:gd name="connsiteX194" fmla="*/ 13873 w 752994"/>
                <a:gd name="connsiteY194" fmla="*/ 520589 h 1333436"/>
                <a:gd name="connsiteX195" fmla="*/ 18369 w 752994"/>
                <a:gd name="connsiteY195" fmla="*/ 516516 h 1333436"/>
                <a:gd name="connsiteX196" fmla="*/ 18773 w 752994"/>
                <a:gd name="connsiteY196" fmla="*/ 514272 h 1333436"/>
                <a:gd name="connsiteX197" fmla="*/ 23077 w 752994"/>
                <a:gd name="connsiteY197" fmla="*/ 506127 h 1333436"/>
                <a:gd name="connsiteX198" fmla="*/ 23884 w 752994"/>
                <a:gd name="connsiteY198" fmla="*/ 502261 h 1333436"/>
                <a:gd name="connsiteX199" fmla="*/ 23692 w 752994"/>
                <a:gd name="connsiteY199" fmla="*/ 496738 h 1333436"/>
                <a:gd name="connsiteX200" fmla="*/ 30013 w 752994"/>
                <a:gd name="connsiteY200" fmla="*/ 486556 h 1333436"/>
                <a:gd name="connsiteX201" fmla="*/ 36546 w 752994"/>
                <a:gd name="connsiteY201" fmla="*/ 470230 h 1333436"/>
                <a:gd name="connsiteX202" fmla="*/ 36546 w 752994"/>
                <a:gd name="connsiteY202" fmla="*/ 462671 h 1333436"/>
                <a:gd name="connsiteX203" fmla="*/ 36335 w 752994"/>
                <a:gd name="connsiteY203" fmla="*/ 461670 h 1333436"/>
                <a:gd name="connsiteX204" fmla="*/ 35931 w 752994"/>
                <a:gd name="connsiteY204" fmla="*/ 453110 h 1333436"/>
                <a:gd name="connsiteX205" fmla="*/ 38583 w 752994"/>
                <a:gd name="connsiteY205" fmla="*/ 442514 h 1333436"/>
                <a:gd name="connsiteX206" fmla="*/ 41043 w 752994"/>
                <a:gd name="connsiteY206" fmla="*/ 436991 h 1333436"/>
                <a:gd name="connsiteX207" fmla="*/ 41650 w 752994"/>
                <a:gd name="connsiteY207" fmla="*/ 437186 h 1333436"/>
                <a:gd name="connsiteX208" fmla="*/ 41239 w 752994"/>
                <a:gd name="connsiteY208" fmla="*/ 436549 h 1333436"/>
                <a:gd name="connsiteX209" fmla="*/ 37778 w 752994"/>
                <a:gd name="connsiteY209" fmla="*/ 433894 h 1333436"/>
                <a:gd name="connsiteX210" fmla="*/ 37169 w 752994"/>
                <a:gd name="connsiteY210" fmla="*/ 432261 h 1333436"/>
                <a:gd name="connsiteX211" fmla="*/ 37365 w 752994"/>
                <a:gd name="connsiteY211" fmla="*/ 429198 h 1333436"/>
                <a:gd name="connsiteX212" fmla="*/ 36756 w 752994"/>
                <a:gd name="connsiteY212" fmla="*/ 422272 h 1333436"/>
                <a:gd name="connsiteX213" fmla="*/ 36952 w 752994"/>
                <a:gd name="connsiteY213" fmla="*/ 418800 h 1333436"/>
                <a:gd name="connsiteX214" fmla="*/ 36756 w 752994"/>
                <a:gd name="connsiteY214" fmla="*/ 412487 h 1333436"/>
                <a:gd name="connsiteX215" fmla="*/ 40433 w 752994"/>
                <a:gd name="connsiteY215" fmla="*/ 406174 h 1333436"/>
                <a:gd name="connsiteX216" fmla="*/ 44720 w 752994"/>
                <a:gd name="connsiteY216" fmla="*/ 399435 h 1333436"/>
                <a:gd name="connsiteX217" fmla="*/ 44110 w 752994"/>
                <a:gd name="connsiteY217" fmla="*/ 389651 h 1333436"/>
                <a:gd name="connsiteX218" fmla="*/ 43894 w 752994"/>
                <a:gd name="connsiteY218" fmla="*/ 378437 h 1333436"/>
                <a:gd name="connsiteX219" fmla="*/ 47158 w 752994"/>
                <a:gd name="connsiteY219" fmla="*/ 371102 h 1333436"/>
                <a:gd name="connsiteX220" fmla="*/ 55731 w 752994"/>
                <a:gd name="connsiteY220" fmla="*/ 360909 h 1333436"/>
                <a:gd name="connsiteX221" fmla="*/ 57580 w 752994"/>
                <a:gd name="connsiteY221" fmla="*/ 355804 h 1333436"/>
                <a:gd name="connsiteX222" fmla="*/ 62673 w 752994"/>
                <a:gd name="connsiteY222" fmla="*/ 349695 h 1333436"/>
                <a:gd name="connsiteX223" fmla="*/ 65937 w 752994"/>
                <a:gd name="connsiteY223" fmla="*/ 348470 h 1333436"/>
                <a:gd name="connsiteX224" fmla="*/ 68395 w 752994"/>
                <a:gd name="connsiteY224" fmla="*/ 348674 h 1333436"/>
                <a:gd name="connsiteX225" fmla="*/ 70224 w 752994"/>
                <a:gd name="connsiteY225" fmla="*/ 347449 h 1333436"/>
                <a:gd name="connsiteX226" fmla="*/ 67785 w 752994"/>
                <a:gd name="connsiteY226" fmla="*/ 345203 h 1333436"/>
                <a:gd name="connsiteX227" fmla="*/ 65524 w 752994"/>
                <a:gd name="connsiteY227" fmla="*/ 343178 h 1333436"/>
                <a:gd name="connsiteX228" fmla="*/ 73095 w 752994"/>
                <a:gd name="connsiteY228" fmla="*/ 333376 h 1333436"/>
                <a:gd name="connsiteX229" fmla="*/ 73291 w 752994"/>
                <a:gd name="connsiteY229" fmla="*/ 333376 h 1333436"/>
                <a:gd name="connsiteX230" fmla="*/ 77991 w 752994"/>
                <a:gd name="connsiteY230" fmla="*/ 325838 h 1333436"/>
                <a:gd name="connsiteX231" fmla="*/ 82671 w 752994"/>
                <a:gd name="connsiteY231" fmla="*/ 313619 h 1333436"/>
                <a:gd name="connsiteX232" fmla="*/ 87980 w 752994"/>
                <a:gd name="connsiteY232" fmla="*/ 303018 h 1333436"/>
                <a:gd name="connsiteX233" fmla="*/ 92267 w 752994"/>
                <a:gd name="connsiteY233" fmla="*/ 291191 h 1333436"/>
                <a:gd name="connsiteX234" fmla="*/ 96553 w 752994"/>
                <a:gd name="connsiteY234" fmla="*/ 281202 h 1333436"/>
                <a:gd name="connsiteX235" fmla="*/ 99621 w 752994"/>
                <a:gd name="connsiteY235" fmla="*/ 274481 h 1333436"/>
                <a:gd name="connsiteX236" fmla="*/ 103082 w 752994"/>
                <a:gd name="connsiteY236" fmla="*/ 262450 h 1333436"/>
                <a:gd name="connsiteX237" fmla="*/ 107172 w 752994"/>
                <a:gd name="connsiteY237" fmla="*/ 254299 h 1333436"/>
                <a:gd name="connsiteX238" fmla="*/ 112481 w 752994"/>
                <a:gd name="connsiteY238" fmla="*/ 243697 h 1333436"/>
                <a:gd name="connsiteX239" fmla="*/ 117181 w 752994"/>
                <a:gd name="connsiteY239" fmla="*/ 232279 h 1333436"/>
                <a:gd name="connsiteX240" fmla="*/ 125951 w 752994"/>
                <a:gd name="connsiteY240" fmla="*/ 217389 h 1333436"/>
                <a:gd name="connsiteX241" fmla="*/ 136156 w 752994"/>
                <a:gd name="connsiteY241" fmla="*/ 202925 h 1333436"/>
                <a:gd name="connsiteX242" fmla="*/ 138811 w 752994"/>
                <a:gd name="connsiteY242" fmla="*/ 183339 h 1333436"/>
                <a:gd name="connsiteX243" fmla="*/ 148801 w 752994"/>
                <a:gd name="connsiteY243" fmla="*/ 167445 h 1333436"/>
                <a:gd name="connsiteX244" fmla="*/ 159616 w 752994"/>
                <a:gd name="connsiteY244" fmla="*/ 170712 h 1333436"/>
                <a:gd name="connsiteX245" fmla="*/ 173105 w 752994"/>
                <a:gd name="connsiteY245" fmla="*/ 175188 h 1333436"/>
                <a:gd name="connsiteX246" fmla="*/ 175347 w 752994"/>
                <a:gd name="connsiteY246" fmla="*/ 175188 h 1333436"/>
                <a:gd name="connsiteX247" fmla="*/ 175347 w 752994"/>
                <a:gd name="connsiteY247" fmla="*/ 173758 h 1333436"/>
                <a:gd name="connsiteX248" fmla="*/ 184975 w 752994"/>
                <a:gd name="connsiteY248" fmla="*/ 187393 h 1333436"/>
                <a:gd name="connsiteX249" fmla="*/ 184762 w 752994"/>
                <a:gd name="connsiteY249" fmla="*/ 184637 h 1333436"/>
                <a:gd name="connsiteX250" fmla="*/ 174971 w 752994"/>
                <a:gd name="connsiteY250" fmla="*/ 170774 h 1333436"/>
                <a:gd name="connsiteX251" fmla="*/ 174971 w 752994"/>
                <a:gd name="connsiteY251" fmla="*/ 169550 h 1333436"/>
                <a:gd name="connsiteX252" fmla="*/ 158851 w 752994"/>
                <a:gd name="connsiteY252" fmla="*/ 156924 h 1333436"/>
                <a:gd name="connsiteX253" fmla="*/ 147025 w 752994"/>
                <a:gd name="connsiteY253" fmla="*/ 145709 h 1333436"/>
                <a:gd name="connsiteX254" fmla="*/ 154364 w 752994"/>
                <a:gd name="connsiteY254" fmla="*/ 136335 h 1333436"/>
                <a:gd name="connsiteX255" fmla="*/ 161511 w 752994"/>
                <a:gd name="connsiteY255" fmla="*/ 131042 h 1333436"/>
                <a:gd name="connsiteX256" fmla="*/ 160902 w 752994"/>
                <a:gd name="connsiteY256" fmla="*/ 128384 h 1333436"/>
                <a:gd name="connsiteX257" fmla="*/ 160277 w 752994"/>
                <a:gd name="connsiteY257" fmla="*/ 127778 h 1333436"/>
                <a:gd name="connsiteX258" fmla="*/ 154973 w 752994"/>
                <a:gd name="connsiteY258" fmla="*/ 122077 h 1333436"/>
                <a:gd name="connsiteX259" fmla="*/ 160277 w 752994"/>
                <a:gd name="connsiteY259" fmla="*/ 115140 h 1333436"/>
                <a:gd name="connsiteX260" fmla="*/ 165181 w 752994"/>
                <a:gd name="connsiteY260" fmla="*/ 108215 h 1333436"/>
                <a:gd name="connsiteX261" fmla="*/ 161303 w 752994"/>
                <a:gd name="connsiteY261" fmla="*/ 104146 h 1333436"/>
                <a:gd name="connsiteX262" fmla="*/ 157842 w 752994"/>
                <a:gd name="connsiteY262" fmla="*/ 104542 h 1333436"/>
                <a:gd name="connsiteX263" fmla="*/ 157024 w 752994"/>
                <a:gd name="connsiteY263" fmla="*/ 102304 h 1333436"/>
                <a:gd name="connsiteX264" fmla="*/ 160694 w 752994"/>
                <a:gd name="connsiteY264" fmla="*/ 55437 h 1333436"/>
                <a:gd name="connsiteX265" fmla="*/ 160486 w 752994"/>
                <a:gd name="connsiteY265" fmla="*/ 31991 h 1333436"/>
                <a:gd name="connsiteX266" fmla="*/ 164972 w 752994"/>
                <a:gd name="connsiteY266" fmla="*/ 18141 h 1333436"/>
                <a:gd name="connsiteX267" fmla="*/ 171911 w 752994"/>
                <a:gd name="connsiteY267" fmla="*/ 11204 h 1333436"/>
                <a:gd name="connsiteX268" fmla="*/ 187406 w 752994"/>
                <a:gd name="connsiteY268" fmla="*/ 21801 h 1333436"/>
                <a:gd name="connsiteX269" fmla="*/ 210866 w 752994"/>
                <a:gd name="connsiteY269" fmla="*/ 37086 h 1333436"/>
                <a:gd name="connsiteX270" fmla="*/ 219230 w 752994"/>
                <a:gd name="connsiteY270" fmla="*/ 41166 h 1333436"/>
                <a:gd name="connsiteX271" fmla="*/ 226778 w 752994"/>
                <a:gd name="connsiteY271" fmla="*/ 47486 h 1333436"/>
                <a:gd name="connsiteX272" fmla="*/ 236152 w 752994"/>
                <a:gd name="connsiteY272" fmla="*/ 52370 h 1333436"/>
                <a:gd name="connsiteX273" fmla="*/ 239629 w 752994"/>
                <a:gd name="connsiteY273" fmla="*/ 58491 h 1333436"/>
                <a:gd name="connsiteX274" fmla="*/ 239629 w 752994"/>
                <a:gd name="connsiteY274" fmla="*/ 63376 h 1333436"/>
                <a:gd name="connsiteX275" fmla="*/ 236568 w 752994"/>
                <a:gd name="connsiteY275" fmla="*/ 67457 h 1333436"/>
                <a:gd name="connsiteX276" fmla="*/ 231264 w 752994"/>
                <a:gd name="connsiteY276" fmla="*/ 69905 h 1333436"/>
                <a:gd name="connsiteX277" fmla="*/ 216778 w 752994"/>
                <a:gd name="connsiteY277" fmla="*/ 82741 h 1333436"/>
                <a:gd name="connsiteX278" fmla="*/ 214134 w 752994"/>
                <a:gd name="connsiteY278" fmla="*/ 93536 h 1333436"/>
                <a:gd name="connsiteX279" fmla="*/ 214535 w 752994"/>
                <a:gd name="connsiteY279" fmla="*/ 96801 h 1333436"/>
                <a:gd name="connsiteX280" fmla="*/ 216378 w 752994"/>
                <a:gd name="connsiteY280" fmla="*/ 96801 h 1333436"/>
                <a:gd name="connsiteX281" fmla="*/ 230046 w 752994"/>
                <a:gd name="connsiteY281" fmla="*/ 85387 h 1333436"/>
                <a:gd name="connsiteX282" fmla="*/ 243298 w 752994"/>
                <a:gd name="connsiteY282" fmla="*/ 75198 h 1333436"/>
                <a:gd name="connsiteX283" fmla="*/ 246760 w 752994"/>
                <a:gd name="connsiteY283" fmla="*/ 77646 h 1333436"/>
                <a:gd name="connsiteX284" fmla="*/ 255541 w 752994"/>
                <a:gd name="connsiteY284" fmla="*/ 63376 h 1333436"/>
                <a:gd name="connsiteX285" fmla="*/ 259611 w 752994"/>
                <a:gd name="connsiteY285" fmla="*/ 43405 h 1333436"/>
                <a:gd name="connsiteX286" fmla="*/ 256967 w 752994"/>
                <a:gd name="connsiteY286" fmla="*/ 38520 h 1333436"/>
                <a:gd name="connsiteX287" fmla="*/ 253906 w 752994"/>
                <a:gd name="connsiteY287" fmla="*/ 34242 h 1333436"/>
                <a:gd name="connsiteX288" fmla="*/ 256967 w 752994"/>
                <a:gd name="connsiteY288" fmla="*/ 30161 h 1333436"/>
                <a:gd name="connsiteX289" fmla="*/ 262063 w 752994"/>
                <a:gd name="connsiteY289" fmla="*/ 27712 h 1333436"/>
                <a:gd name="connsiteX290" fmla="*/ 264915 w 752994"/>
                <a:gd name="connsiteY290" fmla="*/ 23026 h 1333436"/>
                <a:gd name="connsiteX291" fmla="*/ 267976 w 752994"/>
                <a:gd name="connsiteY291" fmla="*/ 22618 h 1333436"/>
                <a:gd name="connsiteX292" fmla="*/ 270427 w 752994"/>
                <a:gd name="connsiteY292" fmla="*/ 20787 h 1333436"/>
                <a:gd name="connsiteX293" fmla="*/ 263088 w 752994"/>
                <a:gd name="connsiteY293" fmla="*/ 13652 h 1333436"/>
                <a:gd name="connsiteX294" fmla="*/ 255541 w 752994"/>
                <a:gd name="connsiteY294" fmla="*/ 3055 h 1333436"/>
                <a:gd name="connsiteX295" fmla="*/ 256358 w 752994"/>
                <a:gd name="connsiteY295" fmla="*/ 1224 h 1333436"/>
                <a:gd name="connsiteX296" fmla="*/ 257159 w 752994"/>
                <a:gd name="connsiteY296" fmla="*/ 0 h 1333436"/>
                <a:gd name="connsiteX0" fmla="*/ 188600 w 752994"/>
                <a:gd name="connsiteY0" fmla="*/ 226970 h 1333436"/>
                <a:gd name="connsiteX1" fmla="*/ 184117 w 752994"/>
                <a:gd name="connsiteY1" fmla="*/ 214326 h 1333436"/>
                <a:gd name="connsiteX2" fmla="*/ 185553 w 752994"/>
                <a:gd name="connsiteY2" fmla="*/ 222494 h 1333436"/>
                <a:gd name="connsiteX3" fmla="*/ 188600 w 752994"/>
                <a:gd name="connsiteY3" fmla="*/ 226970 h 1333436"/>
                <a:gd name="connsiteX4" fmla="*/ 257159 w 752994"/>
                <a:gd name="connsiteY4" fmla="*/ 0 h 1333436"/>
                <a:gd name="connsiteX5" fmla="*/ 493147 w 752994"/>
                <a:gd name="connsiteY5" fmla="*/ 73157 h 1333436"/>
                <a:gd name="connsiteX6" fmla="*/ 492970 w 752994"/>
                <a:gd name="connsiteY6" fmla="*/ 73792 h 1333436"/>
                <a:gd name="connsiteX7" fmla="*/ 525816 w 752994"/>
                <a:gd name="connsiteY7" fmla="*/ 82491 h 1333436"/>
                <a:gd name="connsiteX8" fmla="*/ 520098 w 752994"/>
                <a:gd name="connsiteY8" fmla="*/ 111245 h 1333436"/>
                <a:gd name="connsiteX9" fmla="*/ 512552 w 752994"/>
                <a:gd name="connsiteY9" fmla="*/ 143854 h 1333436"/>
                <a:gd name="connsiteX10" fmla="*/ 517849 w 752994"/>
                <a:gd name="connsiteY10" fmla="*/ 157740 h 1333436"/>
                <a:gd name="connsiteX11" fmla="*/ 523160 w 752994"/>
                <a:gd name="connsiteY11" fmla="*/ 172009 h 1333436"/>
                <a:gd name="connsiteX12" fmla="*/ 521535 w 752994"/>
                <a:gd name="connsiteY12" fmla="*/ 178928 h 1333436"/>
                <a:gd name="connsiteX13" fmla="*/ 520098 w 752994"/>
                <a:gd name="connsiteY13" fmla="*/ 186279 h 1333436"/>
                <a:gd name="connsiteX14" fmla="*/ 526019 w 752994"/>
                <a:gd name="connsiteY14" fmla="*/ 193629 h 1333436"/>
                <a:gd name="connsiteX15" fmla="*/ 537251 w 752994"/>
                <a:gd name="connsiteY15" fmla="*/ 206270 h 1333436"/>
                <a:gd name="connsiteX16" fmla="*/ 542765 w 752994"/>
                <a:gd name="connsiteY16" fmla="*/ 217475 h 1333436"/>
                <a:gd name="connsiteX17" fmla="*/ 546857 w 752994"/>
                <a:gd name="connsiteY17" fmla="*/ 230930 h 1333436"/>
                <a:gd name="connsiteX18" fmla="*/ 549499 w 752994"/>
                <a:gd name="connsiteY18" fmla="*/ 235622 h 1333436"/>
                <a:gd name="connsiteX19" fmla="*/ 553388 w 752994"/>
                <a:gd name="connsiteY19" fmla="*/ 240722 h 1333436"/>
                <a:gd name="connsiteX20" fmla="*/ 557465 w 752994"/>
                <a:gd name="connsiteY20" fmla="*/ 246037 h 1333436"/>
                <a:gd name="connsiteX21" fmla="*/ 561761 w 752994"/>
                <a:gd name="connsiteY21" fmla="*/ 248671 h 1333436"/>
                <a:gd name="connsiteX22" fmla="*/ 567478 w 752994"/>
                <a:gd name="connsiteY22" fmla="*/ 247665 h 1333436"/>
                <a:gd name="connsiteX23" fmla="*/ 569931 w 752994"/>
                <a:gd name="connsiteY23" fmla="*/ 249293 h 1333436"/>
                <a:gd name="connsiteX24" fmla="*/ 570540 w 752994"/>
                <a:gd name="connsiteY24" fmla="*/ 251951 h 1333436"/>
                <a:gd name="connsiteX25" fmla="*/ 561964 w 752994"/>
                <a:gd name="connsiteY25" fmla="*/ 267656 h 1333436"/>
                <a:gd name="connsiteX26" fmla="*/ 553591 w 752994"/>
                <a:gd name="connsiteY26" fmla="*/ 289659 h 1333436"/>
                <a:gd name="connsiteX27" fmla="*/ 554810 w 752994"/>
                <a:gd name="connsiteY27" fmla="*/ 292939 h 1333436"/>
                <a:gd name="connsiteX28" fmla="*/ 556246 w 752994"/>
                <a:gd name="connsiteY28" fmla="*/ 299260 h 1333436"/>
                <a:gd name="connsiteX29" fmla="*/ 552778 w 752994"/>
                <a:gd name="connsiteY29" fmla="*/ 301917 h 1333436"/>
                <a:gd name="connsiteX30" fmla="*/ 549295 w 752994"/>
                <a:gd name="connsiteY30" fmla="*/ 306993 h 1333436"/>
                <a:gd name="connsiteX31" fmla="*/ 547061 w 752994"/>
                <a:gd name="connsiteY31" fmla="*/ 313122 h 1333436"/>
                <a:gd name="connsiteX32" fmla="*/ 544811 w 752994"/>
                <a:gd name="connsiteY32" fmla="*/ 316593 h 1333436"/>
                <a:gd name="connsiteX33" fmla="*/ 549919 w 752994"/>
                <a:gd name="connsiteY33" fmla="*/ 322698 h 1333436"/>
                <a:gd name="connsiteX34" fmla="*/ 553184 w 752994"/>
                <a:gd name="connsiteY34" fmla="*/ 325955 h 1333436"/>
                <a:gd name="connsiteX35" fmla="*/ 555840 w 752994"/>
                <a:gd name="connsiteY35" fmla="*/ 328205 h 1333436"/>
                <a:gd name="connsiteX36" fmla="*/ 574212 w 752994"/>
                <a:gd name="connsiteY36" fmla="*/ 318820 h 1333436"/>
                <a:gd name="connsiteX37" fmla="*/ 579523 w 752994"/>
                <a:gd name="connsiteY37" fmla="*/ 326577 h 1333436"/>
                <a:gd name="connsiteX38" fmla="*/ 580539 w 752994"/>
                <a:gd name="connsiteY38" fmla="*/ 334933 h 1333436"/>
                <a:gd name="connsiteX39" fmla="*/ 579726 w 752994"/>
                <a:gd name="connsiteY39" fmla="*/ 343097 h 1333436"/>
                <a:gd name="connsiteX40" fmla="*/ 581366 w 752994"/>
                <a:gd name="connsiteY40" fmla="*/ 350231 h 1333436"/>
                <a:gd name="connsiteX41" fmla="*/ 586256 w 752994"/>
                <a:gd name="connsiteY41" fmla="*/ 355930 h 1333436"/>
                <a:gd name="connsiteX42" fmla="*/ 589536 w 752994"/>
                <a:gd name="connsiteY42" fmla="*/ 362059 h 1333436"/>
                <a:gd name="connsiteX43" fmla="*/ 588099 w 752994"/>
                <a:gd name="connsiteY43" fmla="*/ 369600 h 1333436"/>
                <a:gd name="connsiteX44" fmla="*/ 586459 w 752994"/>
                <a:gd name="connsiteY44" fmla="*/ 377357 h 1333436"/>
                <a:gd name="connsiteX45" fmla="*/ 588709 w 752994"/>
                <a:gd name="connsiteY45" fmla="*/ 381835 h 1333436"/>
                <a:gd name="connsiteX46" fmla="*/ 595036 w 752994"/>
                <a:gd name="connsiteY46" fmla="*/ 382457 h 1333436"/>
                <a:gd name="connsiteX47" fmla="*/ 599331 w 752994"/>
                <a:gd name="connsiteY47" fmla="*/ 385306 h 1333436"/>
                <a:gd name="connsiteX48" fmla="*/ 601987 w 752994"/>
                <a:gd name="connsiteY48" fmla="*/ 391004 h 1333436"/>
                <a:gd name="connsiteX49" fmla="*/ 602799 w 752994"/>
                <a:gd name="connsiteY49" fmla="*/ 404076 h 1333436"/>
                <a:gd name="connsiteX50" fmla="*/ 606892 w 752994"/>
                <a:gd name="connsiteY50" fmla="*/ 415688 h 1333436"/>
                <a:gd name="connsiteX51" fmla="*/ 610563 w 752994"/>
                <a:gd name="connsiteY51" fmla="*/ 412217 h 1333436"/>
                <a:gd name="connsiteX52" fmla="*/ 617920 w 752994"/>
                <a:gd name="connsiteY52" fmla="*/ 408769 h 1333436"/>
                <a:gd name="connsiteX53" fmla="*/ 624654 w 752994"/>
                <a:gd name="connsiteY53" fmla="*/ 411211 h 1333436"/>
                <a:gd name="connsiteX54" fmla="*/ 634652 w 752994"/>
                <a:gd name="connsiteY54" fmla="*/ 410182 h 1333436"/>
                <a:gd name="connsiteX55" fmla="*/ 640573 w 752994"/>
                <a:gd name="connsiteY55" fmla="*/ 407739 h 1333436"/>
                <a:gd name="connsiteX56" fmla="*/ 646711 w 752994"/>
                <a:gd name="connsiteY56" fmla="*/ 410589 h 1333436"/>
                <a:gd name="connsiteX57" fmla="*/ 650383 w 752994"/>
                <a:gd name="connsiteY57" fmla="*/ 410589 h 1333436"/>
                <a:gd name="connsiteX58" fmla="*/ 654257 w 752994"/>
                <a:gd name="connsiteY58" fmla="*/ 411618 h 1333436"/>
                <a:gd name="connsiteX59" fmla="*/ 656913 w 752994"/>
                <a:gd name="connsiteY59" fmla="*/ 413653 h 1333436"/>
                <a:gd name="connsiteX60" fmla="*/ 660802 w 752994"/>
                <a:gd name="connsiteY60" fmla="*/ 415090 h 1333436"/>
                <a:gd name="connsiteX61" fmla="*/ 669581 w 752994"/>
                <a:gd name="connsiteY61" fmla="*/ 415904 h 1333436"/>
                <a:gd name="connsiteX62" fmla="*/ 672237 w 752994"/>
                <a:gd name="connsiteY62" fmla="*/ 415688 h 1333436"/>
                <a:gd name="connsiteX63" fmla="*/ 675705 w 752994"/>
                <a:gd name="connsiteY63" fmla="*/ 409367 h 1333436"/>
                <a:gd name="connsiteX64" fmla="*/ 679986 w 752994"/>
                <a:gd name="connsiteY64" fmla="*/ 403238 h 1333436"/>
                <a:gd name="connsiteX65" fmla="*/ 693264 w 752994"/>
                <a:gd name="connsiteY65" fmla="*/ 419567 h 1333436"/>
                <a:gd name="connsiteX66" fmla="*/ 688563 w 752994"/>
                <a:gd name="connsiteY66" fmla="*/ 448321 h 1333436"/>
                <a:gd name="connsiteX67" fmla="*/ 663949 w 752994"/>
                <a:gd name="connsiteY67" fmla="*/ 590165 h 1333436"/>
                <a:gd name="connsiteX68" fmla="*/ 666304 w 752994"/>
                <a:gd name="connsiteY68" fmla="*/ 590504 h 1333436"/>
                <a:gd name="connsiteX69" fmla="*/ 655288 w 752994"/>
                <a:gd name="connsiteY69" fmla="*/ 656178 h 1333436"/>
                <a:gd name="connsiteX70" fmla="*/ 681808 w 752994"/>
                <a:gd name="connsiteY70" fmla="*/ 662301 h 1333436"/>
                <a:gd name="connsiteX71" fmla="*/ 752994 w 752994"/>
                <a:gd name="connsiteY71" fmla="*/ 675560 h 1333436"/>
                <a:gd name="connsiteX72" fmla="*/ 714651 w 752994"/>
                <a:gd name="connsiteY72" fmla="*/ 946985 h 1333436"/>
                <a:gd name="connsiteX73" fmla="*/ 654533 w 752994"/>
                <a:gd name="connsiteY73" fmla="*/ 1333436 h 1333436"/>
                <a:gd name="connsiteX74" fmla="*/ 546831 w 752994"/>
                <a:gd name="connsiteY74" fmla="*/ 1317126 h 1333436"/>
                <a:gd name="connsiteX75" fmla="*/ 351227 w 752994"/>
                <a:gd name="connsiteY75" fmla="*/ 1194172 h 1333436"/>
                <a:gd name="connsiteX76" fmla="*/ 361011 w 752994"/>
                <a:gd name="connsiteY76" fmla="*/ 1182755 h 1333436"/>
                <a:gd name="connsiteX77" fmla="*/ 368981 w 752994"/>
                <a:gd name="connsiteY77" fmla="*/ 1182130 h 1333436"/>
                <a:gd name="connsiteX78" fmla="*/ 369571 w 752994"/>
                <a:gd name="connsiteY78" fmla="*/ 1181558 h 1333436"/>
                <a:gd name="connsiteX79" fmla="*/ 362372 w 752994"/>
                <a:gd name="connsiteY79" fmla="*/ 1182120 h 1333436"/>
                <a:gd name="connsiteX80" fmla="*/ 229464 w 752994"/>
                <a:gd name="connsiteY80" fmla="*/ 1161721 h 1333436"/>
                <a:gd name="connsiteX81" fmla="*/ 227427 w 752994"/>
                <a:gd name="connsiteY81" fmla="*/ 1157269 h 1333436"/>
                <a:gd name="connsiteX82" fmla="*/ 224967 w 752994"/>
                <a:gd name="connsiteY82" fmla="*/ 1152575 h 1333436"/>
                <a:gd name="connsiteX83" fmla="*/ 225582 w 752994"/>
                <a:gd name="connsiteY83" fmla="*/ 1144808 h 1333436"/>
                <a:gd name="connsiteX84" fmla="*/ 227215 w 752994"/>
                <a:gd name="connsiteY84" fmla="*/ 1135834 h 1333436"/>
                <a:gd name="connsiteX85" fmla="*/ 227215 w 752994"/>
                <a:gd name="connsiteY85" fmla="*/ 1134212 h 1333436"/>
                <a:gd name="connsiteX86" fmla="*/ 225179 w 752994"/>
                <a:gd name="connsiteY86" fmla="*/ 1114020 h 1333436"/>
                <a:gd name="connsiteX87" fmla="*/ 217839 w 752994"/>
                <a:gd name="connsiteY87" fmla="*/ 1100352 h 1333436"/>
                <a:gd name="connsiteX88" fmla="*/ 199661 w 752994"/>
                <a:gd name="connsiteY88" fmla="*/ 1076502 h 1333436"/>
                <a:gd name="connsiteX89" fmla="*/ 196395 w 752994"/>
                <a:gd name="connsiteY89" fmla="*/ 1071807 h 1333436"/>
                <a:gd name="connsiteX90" fmla="*/ 190880 w 752994"/>
                <a:gd name="connsiteY90" fmla="*/ 1067527 h 1333436"/>
                <a:gd name="connsiteX91" fmla="*/ 187210 w 752994"/>
                <a:gd name="connsiteY91" fmla="*/ 1068735 h 1333436"/>
                <a:gd name="connsiteX92" fmla="*/ 180062 w 752994"/>
                <a:gd name="connsiteY92" fmla="*/ 1066699 h 1333436"/>
                <a:gd name="connsiteX93" fmla="*/ 180466 w 752994"/>
                <a:gd name="connsiteY93" fmla="*/ 1053031 h 1333436"/>
                <a:gd name="connsiteX94" fmla="*/ 180062 w 752994"/>
                <a:gd name="connsiteY94" fmla="*/ 1045299 h 1333436"/>
                <a:gd name="connsiteX95" fmla="*/ 174144 w 752994"/>
                <a:gd name="connsiteY95" fmla="*/ 1044057 h 1333436"/>
                <a:gd name="connsiteX96" fmla="*/ 158426 w 752994"/>
                <a:gd name="connsiteY96" fmla="*/ 1042641 h 1333436"/>
                <a:gd name="connsiteX97" fmla="*/ 149857 w 752994"/>
                <a:gd name="connsiteY97" fmla="*/ 1035497 h 1333436"/>
                <a:gd name="connsiteX98" fmla="*/ 142497 w 752994"/>
                <a:gd name="connsiteY98" fmla="*/ 1028766 h 1333436"/>
                <a:gd name="connsiteX99" fmla="*/ 140864 w 752994"/>
                <a:gd name="connsiteY99" fmla="*/ 1020620 h 1333436"/>
                <a:gd name="connsiteX100" fmla="*/ 138212 w 752994"/>
                <a:gd name="connsiteY100" fmla="*/ 1013061 h 1333436"/>
                <a:gd name="connsiteX101" fmla="*/ 131064 w 752994"/>
                <a:gd name="connsiteY101" fmla="*/ 1007159 h 1333436"/>
                <a:gd name="connsiteX102" fmla="*/ 121264 w 752994"/>
                <a:gd name="connsiteY102" fmla="*/ 1005330 h 1333436"/>
                <a:gd name="connsiteX103" fmla="*/ 112483 w 752994"/>
                <a:gd name="connsiteY103" fmla="*/ 1001671 h 1333436"/>
                <a:gd name="connsiteX104" fmla="*/ 105950 w 752994"/>
                <a:gd name="connsiteY104" fmla="*/ 995734 h 1333436"/>
                <a:gd name="connsiteX105" fmla="*/ 97380 w 752994"/>
                <a:gd name="connsiteY105" fmla="*/ 994526 h 1333436"/>
                <a:gd name="connsiteX106" fmla="*/ 87984 w 752994"/>
                <a:gd name="connsiteY106" fmla="*/ 991040 h 1333436"/>
                <a:gd name="connsiteX107" fmla="*/ 80029 w 752994"/>
                <a:gd name="connsiteY107" fmla="*/ 985138 h 1333436"/>
                <a:gd name="connsiteX108" fmla="*/ 77166 w 752994"/>
                <a:gd name="connsiteY108" fmla="*/ 976164 h 1333436"/>
                <a:gd name="connsiteX109" fmla="*/ 79203 w 752994"/>
                <a:gd name="connsiteY109" fmla="*/ 970676 h 1333436"/>
                <a:gd name="connsiteX110" fmla="*/ 82470 w 752994"/>
                <a:gd name="connsiteY110" fmla="*/ 963117 h 1333436"/>
                <a:gd name="connsiteX111" fmla="*/ 84314 w 752994"/>
                <a:gd name="connsiteY111" fmla="*/ 954557 h 1333436"/>
                <a:gd name="connsiteX112" fmla="*/ 86351 w 752994"/>
                <a:gd name="connsiteY112" fmla="*/ 948033 h 1333436"/>
                <a:gd name="connsiteX113" fmla="*/ 86159 w 752994"/>
                <a:gd name="connsiteY113" fmla="*/ 942925 h 1333436"/>
                <a:gd name="connsiteX114" fmla="*/ 83085 w 752994"/>
                <a:gd name="connsiteY114" fmla="*/ 939853 h 1333436"/>
                <a:gd name="connsiteX115" fmla="*/ 77570 w 752994"/>
                <a:gd name="connsiteY115" fmla="*/ 937437 h 1333436"/>
                <a:gd name="connsiteX116" fmla="*/ 76763 w 752994"/>
                <a:gd name="connsiteY116" fmla="*/ 931915 h 1333436"/>
                <a:gd name="connsiteX117" fmla="*/ 78800 w 752994"/>
                <a:gd name="connsiteY117" fmla="*/ 927013 h 1333436"/>
                <a:gd name="connsiteX118" fmla="*/ 79626 w 752994"/>
                <a:gd name="connsiteY118" fmla="*/ 922526 h 1333436"/>
                <a:gd name="connsiteX119" fmla="*/ 77781 w 752994"/>
                <a:gd name="connsiteY119" fmla="*/ 919903 h 1333436"/>
                <a:gd name="connsiteX120" fmla="*/ 74303 w 752994"/>
                <a:gd name="connsiteY120" fmla="*/ 917418 h 1333436"/>
                <a:gd name="connsiteX121" fmla="*/ 71863 w 752994"/>
                <a:gd name="connsiteY121" fmla="*/ 915174 h 1333436"/>
                <a:gd name="connsiteX122" fmla="*/ 71652 w 752994"/>
                <a:gd name="connsiteY122" fmla="*/ 910894 h 1333436"/>
                <a:gd name="connsiteX123" fmla="*/ 70633 w 752994"/>
                <a:gd name="connsiteY123" fmla="*/ 906614 h 1333436"/>
                <a:gd name="connsiteX124" fmla="*/ 68385 w 752994"/>
                <a:gd name="connsiteY124" fmla="*/ 902749 h 1333436"/>
                <a:gd name="connsiteX125" fmla="*/ 61045 w 752994"/>
                <a:gd name="connsiteY125" fmla="*/ 889494 h 1333436"/>
                <a:gd name="connsiteX126" fmla="*/ 57971 w 752994"/>
                <a:gd name="connsiteY126" fmla="*/ 875619 h 1333436"/>
                <a:gd name="connsiteX127" fmla="*/ 52264 w 752994"/>
                <a:gd name="connsiteY127" fmla="*/ 862572 h 1333436"/>
                <a:gd name="connsiteX128" fmla="*/ 44309 w 752994"/>
                <a:gd name="connsiteY128" fmla="*/ 850561 h 1333436"/>
                <a:gd name="connsiteX129" fmla="*/ 45520 w 752994"/>
                <a:gd name="connsiteY129" fmla="*/ 827090 h 1333436"/>
                <a:gd name="connsiteX130" fmla="*/ 53071 w 752994"/>
                <a:gd name="connsiteY130" fmla="*/ 822396 h 1333436"/>
                <a:gd name="connsiteX131" fmla="*/ 57375 w 752994"/>
                <a:gd name="connsiteY131" fmla="*/ 816493 h 1333436"/>
                <a:gd name="connsiteX132" fmla="*/ 55319 w 752994"/>
                <a:gd name="connsiteY132" fmla="*/ 801617 h 1333436"/>
                <a:gd name="connsiteX133" fmla="*/ 48383 w 752994"/>
                <a:gd name="connsiteY133" fmla="*/ 802204 h 1333436"/>
                <a:gd name="connsiteX134" fmla="*/ 40428 w 752994"/>
                <a:gd name="connsiteY134" fmla="*/ 797924 h 1333436"/>
                <a:gd name="connsiteX135" fmla="*/ 37565 w 752994"/>
                <a:gd name="connsiteY135" fmla="*/ 790606 h 1333436"/>
                <a:gd name="connsiteX136" fmla="*/ 37565 w 752994"/>
                <a:gd name="connsiteY136" fmla="*/ 790399 h 1333436"/>
                <a:gd name="connsiteX137" fmla="*/ 35931 w 752994"/>
                <a:gd name="connsiteY137" fmla="*/ 785912 h 1333436"/>
                <a:gd name="connsiteX138" fmla="*/ 34510 w 752994"/>
                <a:gd name="connsiteY138" fmla="*/ 780597 h 1333436"/>
                <a:gd name="connsiteX139" fmla="*/ 36335 w 752994"/>
                <a:gd name="connsiteY139" fmla="*/ 774280 h 1333436"/>
                <a:gd name="connsiteX140" fmla="*/ 38180 w 752994"/>
                <a:gd name="connsiteY140" fmla="*/ 766721 h 1333436"/>
                <a:gd name="connsiteX141" fmla="*/ 37161 w 752994"/>
                <a:gd name="connsiteY141" fmla="*/ 760405 h 1333436"/>
                <a:gd name="connsiteX142" fmla="*/ 35720 w 752994"/>
                <a:gd name="connsiteY142" fmla="*/ 754710 h 1333436"/>
                <a:gd name="connsiteX143" fmla="*/ 36546 w 752994"/>
                <a:gd name="connsiteY143" fmla="*/ 748773 h 1333436"/>
                <a:gd name="connsiteX144" fmla="*/ 38372 w 752994"/>
                <a:gd name="connsiteY144" fmla="*/ 744528 h 1333436"/>
                <a:gd name="connsiteX145" fmla="*/ 41638 w 752994"/>
                <a:gd name="connsiteY145" fmla="*/ 744321 h 1333436"/>
                <a:gd name="connsiteX146" fmla="*/ 44713 w 752994"/>
                <a:gd name="connsiteY146" fmla="*/ 746357 h 1333436"/>
                <a:gd name="connsiteX147" fmla="*/ 47364 w 752994"/>
                <a:gd name="connsiteY147" fmla="*/ 753260 h 1333436"/>
                <a:gd name="connsiteX148" fmla="*/ 55742 w 752994"/>
                <a:gd name="connsiteY148" fmla="*/ 764305 h 1333436"/>
                <a:gd name="connsiteX149" fmla="*/ 56338 w 752994"/>
                <a:gd name="connsiteY149" fmla="*/ 761233 h 1333436"/>
                <a:gd name="connsiteX150" fmla="*/ 56145 w 752994"/>
                <a:gd name="connsiteY150" fmla="*/ 757368 h 1333436"/>
                <a:gd name="connsiteX151" fmla="*/ 54916 w 752994"/>
                <a:gd name="connsiteY151" fmla="*/ 748601 h 1333436"/>
                <a:gd name="connsiteX152" fmla="*/ 52879 w 752994"/>
                <a:gd name="connsiteY152" fmla="*/ 747358 h 1333436"/>
                <a:gd name="connsiteX153" fmla="*/ 51649 w 752994"/>
                <a:gd name="connsiteY153" fmla="*/ 745322 h 1333436"/>
                <a:gd name="connsiteX154" fmla="*/ 51649 w 752994"/>
                <a:gd name="connsiteY154" fmla="*/ 739212 h 1333436"/>
                <a:gd name="connsiteX155" fmla="*/ 50227 w 752994"/>
                <a:gd name="connsiteY155" fmla="*/ 734725 h 1333436"/>
                <a:gd name="connsiteX156" fmla="*/ 48786 w 752994"/>
                <a:gd name="connsiteY156" fmla="*/ 731446 h 1333436"/>
                <a:gd name="connsiteX157" fmla="*/ 54512 w 752994"/>
                <a:gd name="connsiteY157" fmla="*/ 726372 h 1333436"/>
                <a:gd name="connsiteX158" fmla="*/ 59815 w 752994"/>
                <a:gd name="connsiteY158" fmla="*/ 725130 h 1333436"/>
                <a:gd name="connsiteX159" fmla="*/ 58182 w 752994"/>
                <a:gd name="connsiteY159" fmla="*/ 722886 h 1333436"/>
                <a:gd name="connsiteX160" fmla="*/ 51861 w 752994"/>
                <a:gd name="connsiteY160" fmla="*/ 717985 h 1333436"/>
                <a:gd name="connsiteX161" fmla="*/ 46749 w 752994"/>
                <a:gd name="connsiteY161" fmla="*/ 729617 h 1333436"/>
                <a:gd name="connsiteX162" fmla="*/ 40831 w 752994"/>
                <a:gd name="connsiteY162" fmla="*/ 739212 h 1333436"/>
                <a:gd name="connsiteX163" fmla="*/ 39601 w 752994"/>
                <a:gd name="connsiteY163" fmla="*/ 738798 h 1333436"/>
                <a:gd name="connsiteX164" fmla="*/ 39409 w 752994"/>
                <a:gd name="connsiteY164" fmla="*/ 738591 h 1333436"/>
                <a:gd name="connsiteX165" fmla="*/ 37161 w 752994"/>
                <a:gd name="connsiteY165" fmla="*/ 734725 h 1333436"/>
                <a:gd name="connsiteX166" fmla="*/ 32665 w 752994"/>
                <a:gd name="connsiteY166" fmla="*/ 727788 h 1333436"/>
                <a:gd name="connsiteX167" fmla="*/ 26747 w 752994"/>
                <a:gd name="connsiteY167" fmla="*/ 719435 h 1333436"/>
                <a:gd name="connsiteX168" fmla="*/ 23884 w 752994"/>
                <a:gd name="connsiteY168" fmla="*/ 717812 h 1333436"/>
                <a:gd name="connsiteX169" fmla="*/ 24710 w 752994"/>
                <a:gd name="connsiteY169" fmla="*/ 709632 h 1333436"/>
                <a:gd name="connsiteX170" fmla="*/ 27554 w 752994"/>
                <a:gd name="connsiteY170" fmla="*/ 701694 h 1333436"/>
                <a:gd name="connsiteX171" fmla="*/ 24902 w 752994"/>
                <a:gd name="connsiteY171" fmla="*/ 696171 h 1333436"/>
                <a:gd name="connsiteX172" fmla="*/ 24095 w 752994"/>
                <a:gd name="connsiteY172" fmla="*/ 687818 h 1333436"/>
                <a:gd name="connsiteX173" fmla="*/ 22462 w 752994"/>
                <a:gd name="connsiteY173" fmla="*/ 682330 h 1333436"/>
                <a:gd name="connsiteX174" fmla="*/ 17159 w 752994"/>
                <a:gd name="connsiteY174" fmla="*/ 677636 h 1333436"/>
                <a:gd name="connsiteX175" fmla="*/ 14296 w 752994"/>
                <a:gd name="connsiteY175" fmla="*/ 671492 h 1333436"/>
                <a:gd name="connsiteX176" fmla="*/ 12451 w 752994"/>
                <a:gd name="connsiteY176" fmla="*/ 665797 h 1333436"/>
                <a:gd name="connsiteX177" fmla="*/ 5111 w 752994"/>
                <a:gd name="connsiteY177" fmla="*/ 654994 h 1333436"/>
                <a:gd name="connsiteX178" fmla="*/ 2248 w 752994"/>
                <a:gd name="connsiteY178" fmla="*/ 645605 h 1333436"/>
                <a:gd name="connsiteX179" fmla="*/ 4496 w 752994"/>
                <a:gd name="connsiteY179" fmla="*/ 640497 h 1333436"/>
                <a:gd name="connsiteX180" fmla="*/ 6744 w 752994"/>
                <a:gd name="connsiteY180" fmla="*/ 632765 h 1333436"/>
                <a:gd name="connsiteX181" fmla="*/ 6744 w 752994"/>
                <a:gd name="connsiteY181" fmla="*/ 628485 h 1333436"/>
                <a:gd name="connsiteX182" fmla="*/ 6533 w 752994"/>
                <a:gd name="connsiteY182" fmla="*/ 620305 h 1333436"/>
                <a:gd name="connsiteX183" fmla="*/ 7359 w 752994"/>
                <a:gd name="connsiteY183" fmla="*/ 611745 h 1333436"/>
                <a:gd name="connsiteX184" fmla="*/ 11836 w 752994"/>
                <a:gd name="connsiteY184" fmla="*/ 602978 h 1333436"/>
                <a:gd name="connsiteX185" fmla="*/ 15103 w 752994"/>
                <a:gd name="connsiteY185" fmla="*/ 591760 h 1333436"/>
                <a:gd name="connsiteX186" fmla="*/ 14488 w 752994"/>
                <a:gd name="connsiteY186" fmla="*/ 584029 h 1333436"/>
                <a:gd name="connsiteX187" fmla="*/ 13873 w 752994"/>
                <a:gd name="connsiteY187" fmla="*/ 578299 h 1333436"/>
                <a:gd name="connsiteX188" fmla="*/ 10626 w 752994"/>
                <a:gd name="connsiteY188" fmla="*/ 568531 h 1333436"/>
                <a:gd name="connsiteX189" fmla="*/ 3670 w 752994"/>
                <a:gd name="connsiteY189" fmla="*/ 558107 h 1333436"/>
                <a:gd name="connsiteX190" fmla="*/ 0 w 752994"/>
                <a:gd name="connsiteY190" fmla="*/ 551377 h 1333436"/>
                <a:gd name="connsiteX191" fmla="*/ 0 w 752994"/>
                <a:gd name="connsiteY191" fmla="*/ 550997 h 1333436"/>
                <a:gd name="connsiteX192" fmla="*/ 4900 w 752994"/>
                <a:gd name="connsiteY192" fmla="*/ 531220 h 1333436"/>
                <a:gd name="connsiteX193" fmla="*/ 13873 w 752994"/>
                <a:gd name="connsiteY193" fmla="*/ 520589 h 1333436"/>
                <a:gd name="connsiteX194" fmla="*/ 18369 w 752994"/>
                <a:gd name="connsiteY194" fmla="*/ 516516 h 1333436"/>
                <a:gd name="connsiteX195" fmla="*/ 18773 w 752994"/>
                <a:gd name="connsiteY195" fmla="*/ 514272 h 1333436"/>
                <a:gd name="connsiteX196" fmla="*/ 23077 w 752994"/>
                <a:gd name="connsiteY196" fmla="*/ 506127 h 1333436"/>
                <a:gd name="connsiteX197" fmla="*/ 23884 w 752994"/>
                <a:gd name="connsiteY197" fmla="*/ 502261 h 1333436"/>
                <a:gd name="connsiteX198" fmla="*/ 23692 w 752994"/>
                <a:gd name="connsiteY198" fmla="*/ 496738 h 1333436"/>
                <a:gd name="connsiteX199" fmla="*/ 30013 w 752994"/>
                <a:gd name="connsiteY199" fmla="*/ 486556 h 1333436"/>
                <a:gd name="connsiteX200" fmla="*/ 36546 w 752994"/>
                <a:gd name="connsiteY200" fmla="*/ 470230 h 1333436"/>
                <a:gd name="connsiteX201" fmla="*/ 36546 w 752994"/>
                <a:gd name="connsiteY201" fmla="*/ 462671 h 1333436"/>
                <a:gd name="connsiteX202" fmla="*/ 36335 w 752994"/>
                <a:gd name="connsiteY202" fmla="*/ 461670 h 1333436"/>
                <a:gd name="connsiteX203" fmla="*/ 35931 w 752994"/>
                <a:gd name="connsiteY203" fmla="*/ 453110 h 1333436"/>
                <a:gd name="connsiteX204" fmla="*/ 38583 w 752994"/>
                <a:gd name="connsiteY204" fmla="*/ 442514 h 1333436"/>
                <a:gd name="connsiteX205" fmla="*/ 41043 w 752994"/>
                <a:gd name="connsiteY205" fmla="*/ 436991 h 1333436"/>
                <a:gd name="connsiteX206" fmla="*/ 41650 w 752994"/>
                <a:gd name="connsiteY206" fmla="*/ 437186 h 1333436"/>
                <a:gd name="connsiteX207" fmla="*/ 41239 w 752994"/>
                <a:gd name="connsiteY207" fmla="*/ 436549 h 1333436"/>
                <a:gd name="connsiteX208" fmla="*/ 37778 w 752994"/>
                <a:gd name="connsiteY208" fmla="*/ 433894 h 1333436"/>
                <a:gd name="connsiteX209" fmla="*/ 37169 w 752994"/>
                <a:gd name="connsiteY209" fmla="*/ 432261 h 1333436"/>
                <a:gd name="connsiteX210" fmla="*/ 37365 w 752994"/>
                <a:gd name="connsiteY210" fmla="*/ 429198 h 1333436"/>
                <a:gd name="connsiteX211" fmla="*/ 36756 w 752994"/>
                <a:gd name="connsiteY211" fmla="*/ 422272 h 1333436"/>
                <a:gd name="connsiteX212" fmla="*/ 36952 w 752994"/>
                <a:gd name="connsiteY212" fmla="*/ 418800 h 1333436"/>
                <a:gd name="connsiteX213" fmla="*/ 36756 w 752994"/>
                <a:gd name="connsiteY213" fmla="*/ 412487 h 1333436"/>
                <a:gd name="connsiteX214" fmla="*/ 40433 w 752994"/>
                <a:gd name="connsiteY214" fmla="*/ 406174 h 1333436"/>
                <a:gd name="connsiteX215" fmla="*/ 44720 w 752994"/>
                <a:gd name="connsiteY215" fmla="*/ 399435 h 1333436"/>
                <a:gd name="connsiteX216" fmla="*/ 44110 w 752994"/>
                <a:gd name="connsiteY216" fmla="*/ 389651 h 1333436"/>
                <a:gd name="connsiteX217" fmla="*/ 43894 w 752994"/>
                <a:gd name="connsiteY217" fmla="*/ 378437 h 1333436"/>
                <a:gd name="connsiteX218" fmla="*/ 47158 w 752994"/>
                <a:gd name="connsiteY218" fmla="*/ 371102 h 1333436"/>
                <a:gd name="connsiteX219" fmla="*/ 55731 w 752994"/>
                <a:gd name="connsiteY219" fmla="*/ 360909 h 1333436"/>
                <a:gd name="connsiteX220" fmla="*/ 57580 w 752994"/>
                <a:gd name="connsiteY220" fmla="*/ 355804 h 1333436"/>
                <a:gd name="connsiteX221" fmla="*/ 62673 w 752994"/>
                <a:gd name="connsiteY221" fmla="*/ 349695 h 1333436"/>
                <a:gd name="connsiteX222" fmla="*/ 65937 w 752994"/>
                <a:gd name="connsiteY222" fmla="*/ 348470 h 1333436"/>
                <a:gd name="connsiteX223" fmla="*/ 68395 w 752994"/>
                <a:gd name="connsiteY223" fmla="*/ 348674 h 1333436"/>
                <a:gd name="connsiteX224" fmla="*/ 70224 w 752994"/>
                <a:gd name="connsiteY224" fmla="*/ 347449 h 1333436"/>
                <a:gd name="connsiteX225" fmla="*/ 67785 w 752994"/>
                <a:gd name="connsiteY225" fmla="*/ 345203 h 1333436"/>
                <a:gd name="connsiteX226" fmla="*/ 65524 w 752994"/>
                <a:gd name="connsiteY226" fmla="*/ 343178 h 1333436"/>
                <a:gd name="connsiteX227" fmla="*/ 73095 w 752994"/>
                <a:gd name="connsiteY227" fmla="*/ 333376 h 1333436"/>
                <a:gd name="connsiteX228" fmla="*/ 73291 w 752994"/>
                <a:gd name="connsiteY228" fmla="*/ 333376 h 1333436"/>
                <a:gd name="connsiteX229" fmla="*/ 77991 w 752994"/>
                <a:gd name="connsiteY229" fmla="*/ 325838 h 1333436"/>
                <a:gd name="connsiteX230" fmla="*/ 82671 w 752994"/>
                <a:gd name="connsiteY230" fmla="*/ 313619 h 1333436"/>
                <a:gd name="connsiteX231" fmla="*/ 87980 w 752994"/>
                <a:gd name="connsiteY231" fmla="*/ 303018 h 1333436"/>
                <a:gd name="connsiteX232" fmla="*/ 92267 w 752994"/>
                <a:gd name="connsiteY232" fmla="*/ 291191 h 1333436"/>
                <a:gd name="connsiteX233" fmla="*/ 96553 w 752994"/>
                <a:gd name="connsiteY233" fmla="*/ 281202 h 1333436"/>
                <a:gd name="connsiteX234" fmla="*/ 99621 w 752994"/>
                <a:gd name="connsiteY234" fmla="*/ 274481 h 1333436"/>
                <a:gd name="connsiteX235" fmla="*/ 103082 w 752994"/>
                <a:gd name="connsiteY235" fmla="*/ 262450 h 1333436"/>
                <a:gd name="connsiteX236" fmla="*/ 107172 w 752994"/>
                <a:gd name="connsiteY236" fmla="*/ 254299 h 1333436"/>
                <a:gd name="connsiteX237" fmla="*/ 112481 w 752994"/>
                <a:gd name="connsiteY237" fmla="*/ 243697 h 1333436"/>
                <a:gd name="connsiteX238" fmla="*/ 117181 w 752994"/>
                <a:gd name="connsiteY238" fmla="*/ 232279 h 1333436"/>
                <a:gd name="connsiteX239" fmla="*/ 125951 w 752994"/>
                <a:gd name="connsiteY239" fmla="*/ 217389 h 1333436"/>
                <a:gd name="connsiteX240" fmla="*/ 136156 w 752994"/>
                <a:gd name="connsiteY240" fmla="*/ 202925 h 1333436"/>
                <a:gd name="connsiteX241" fmla="*/ 138811 w 752994"/>
                <a:gd name="connsiteY241" fmla="*/ 183339 h 1333436"/>
                <a:gd name="connsiteX242" fmla="*/ 148801 w 752994"/>
                <a:gd name="connsiteY242" fmla="*/ 167445 h 1333436"/>
                <a:gd name="connsiteX243" fmla="*/ 159616 w 752994"/>
                <a:gd name="connsiteY243" fmla="*/ 170712 h 1333436"/>
                <a:gd name="connsiteX244" fmla="*/ 173105 w 752994"/>
                <a:gd name="connsiteY244" fmla="*/ 175188 h 1333436"/>
                <a:gd name="connsiteX245" fmla="*/ 175347 w 752994"/>
                <a:gd name="connsiteY245" fmla="*/ 175188 h 1333436"/>
                <a:gd name="connsiteX246" fmla="*/ 175347 w 752994"/>
                <a:gd name="connsiteY246" fmla="*/ 173758 h 1333436"/>
                <a:gd name="connsiteX247" fmla="*/ 184975 w 752994"/>
                <a:gd name="connsiteY247" fmla="*/ 187393 h 1333436"/>
                <a:gd name="connsiteX248" fmla="*/ 184762 w 752994"/>
                <a:gd name="connsiteY248" fmla="*/ 184637 h 1333436"/>
                <a:gd name="connsiteX249" fmla="*/ 174971 w 752994"/>
                <a:gd name="connsiteY249" fmla="*/ 170774 h 1333436"/>
                <a:gd name="connsiteX250" fmla="*/ 174971 w 752994"/>
                <a:gd name="connsiteY250" fmla="*/ 169550 h 1333436"/>
                <a:gd name="connsiteX251" fmla="*/ 158851 w 752994"/>
                <a:gd name="connsiteY251" fmla="*/ 156924 h 1333436"/>
                <a:gd name="connsiteX252" fmla="*/ 147025 w 752994"/>
                <a:gd name="connsiteY252" fmla="*/ 145709 h 1333436"/>
                <a:gd name="connsiteX253" fmla="*/ 154364 w 752994"/>
                <a:gd name="connsiteY253" fmla="*/ 136335 h 1333436"/>
                <a:gd name="connsiteX254" fmla="*/ 161511 w 752994"/>
                <a:gd name="connsiteY254" fmla="*/ 131042 h 1333436"/>
                <a:gd name="connsiteX255" fmla="*/ 160902 w 752994"/>
                <a:gd name="connsiteY255" fmla="*/ 128384 h 1333436"/>
                <a:gd name="connsiteX256" fmla="*/ 160277 w 752994"/>
                <a:gd name="connsiteY256" fmla="*/ 127778 h 1333436"/>
                <a:gd name="connsiteX257" fmla="*/ 154973 w 752994"/>
                <a:gd name="connsiteY257" fmla="*/ 122077 h 1333436"/>
                <a:gd name="connsiteX258" fmla="*/ 160277 w 752994"/>
                <a:gd name="connsiteY258" fmla="*/ 115140 h 1333436"/>
                <a:gd name="connsiteX259" fmla="*/ 165181 w 752994"/>
                <a:gd name="connsiteY259" fmla="*/ 108215 h 1333436"/>
                <a:gd name="connsiteX260" fmla="*/ 161303 w 752994"/>
                <a:gd name="connsiteY260" fmla="*/ 104146 h 1333436"/>
                <a:gd name="connsiteX261" fmla="*/ 157842 w 752994"/>
                <a:gd name="connsiteY261" fmla="*/ 104542 h 1333436"/>
                <a:gd name="connsiteX262" fmla="*/ 157024 w 752994"/>
                <a:gd name="connsiteY262" fmla="*/ 102304 h 1333436"/>
                <a:gd name="connsiteX263" fmla="*/ 160694 w 752994"/>
                <a:gd name="connsiteY263" fmla="*/ 55437 h 1333436"/>
                <a:gd name="connsiteX264" fmla="*/ 160486 w 752994"/>
                <a:gd name="connsiteY264" fmla="*/ 31991 h 1333436"/>
                <a:gd name="connsiteX265" fmla="*/ 164972 w 752994"/>
                <a:gd name="connsiteY265" fmla="*/ 18141 h 1333436"/>
                <a:gd name="connsiteX266" fmla="*/ 171911 w 752994"/>
                <a:gd name="connsiteY266" fmla="*/ 11204 h 1333436"/>
                <a:gd name="connsiteX267" fmla="*/ 187406 w 752994"/>
                <a:gd name="connsiteY267" fmla="*/ 21801 h 1333436"/>
                <a:gd name="connsiteX268" fmla="*/ 210866 w 752994"/>
                <a:gd name="connsiteY268" fmla="*/ 37086 h 1333436"/>
                <a:gd name="connsiteX269" fmla="*/ 219230 w 752994"/>
                <a:gd name="connsiteY269" fmla="*/ 41166 h 1333436"/>
                <a:gd name="connsiteX270" fmla="*/ 226778 w 752994"/>
                <a:gd name="connsiteY270" fmla="*/ 47486 h 1333436"/>
                <a:gd name="connsiteX271" fmla="*/ 236152 w 752994"/>
                <a:gd name="connsiteY271" fmla="*/ 52370 h 1333436"/>
                <a:gd name="connsiteX272" fmla="*/ 239629 w 752994"/>
                <a:gd name="connsiteY272" fmla="*/ 58491 h 1333436"/>
                <a:gd name="connsiteX273" fmla="*/ 239629 w 752994"/>
                <a:gd name="connsiteY273" fmla="*/ 63376 h 1333436"/>
                <a:gd name="connsiteX274" fmla="*/ 236568 w 752994"/>
                <a:gd name="connsiteY274" fmla="*/ 67457 h 1333436"/>
                <a:gd name="connsiteX275" fmla="*/ 231264 w 752994"/>
                <a:gd name="connsiteY275" fmla="*/ 69905 h 1333436"/>
                <a:gd name="connsiteX276" fmla="*/ 216778 w 752994"/>
                <a:gd name="connsiteY276" fmla="*/ 82741 h 1333436"/>
                <a:gd name="connsiteX277" fmla="*/ 214134 w 752994"/>
                <a:gd name="connsiteY277" fmla="*/ 93536 h 1333436"/>
                <a:gd name="connsiteX278" fmla="*/ 214535 w 752994"/>
                <a:gd name="connsiteY278" fmla="*/ 96801 h 1333436"/>
                <a:gd name="connsiteX279" fmla="*/ 216378 w 752994"/>
                <a:gd name="connsiteY279" fmla="*/ 96801 h 1333436"/>
                <a:gd name="connsiteX280" fmla="*/ 230046 w 752994"/>
                <a:gd name="connsiteY280" fmla="*/ 85387 h 1333436"/>
                <a:gd name="connsiteX281" fmla="*/ 243298 w 752994"/>
                <a:gd name="connsiteY281" fmla="*/ 75198 h 1333436"/>
                <a:gd name="connsiteX282" fmla="*/ 246760 w 752994"/>
                <a:gd name="connsiteY282" fmla="*/ 77646 h 1333436"/>
                <a:gd name="connsiteX283" fmla="*/ 255541 w 752994"/>
                <a:gd name="connsiteY283" fmla="*/ 63376 h 1333436"/>
                <a:gd name="connsiteX284" fmla="*/ 259611 w 752994"/>
                <a:gd name="connsiteY284" fmla="*/ 43405 h 1333436"/>
                <a:gd name="connsiteX285" fmla="*/ 256967 w 752994"/>
                <a:gd name="connsiteY285" fmla="*/ 38520 h 1333436"/>
                <a:gd name="connsiteX286" fmla="*/ 253906 w 752994"/>
                <a:gd name="connsiteY286" fmla="*/ 34242 h 1333436"/>
                <a:gd name="connsiteX287" fmla="*/ 256967 w 752994"/>
                <a:gd name="connsiteY287" fmla="*/ 30161 h 1333436"/>
                <a:gd name="connsiteX288" fmla="*/ 262063 w 752994"/>
                <a:gd name="connsiteY288" fmla="*/ 27712 h 1333436"/>
                <a:gd name="connsiteX289" fmla="*/ 264915 w 752994"/>
                <a:gd name="connsiteY289" fmla="*/ 23026 h 1333436"/>
                <a:gd name="connsiteX290" fmla="*/ 267976 w 752994"/>
                <a:gd name="connsiteY290" fmla="*/ 22618 h 1333436"/>
                <a:gd name="connsiteX291" fmla="*/ 270427 w 752994"/>
                <a:gd name="connsiteY291" fmla="*/ 20787 h 1333436"/>
                <a:gd name="connsiteX292" fmla="*/ 263088 w 752994"/>
                <a:gd name="connsiteY292" fmla="*/ 13652 h 1333436"/>
                <a:gd name="connsiteX293" fmla="*/ 255541 w 752994"/>
                <a:gd name="connsiteY293" fmla="*/ 3055 h 1333436"/>
                <a:gd name="connsiteX294" fmla="*/ 256358 w 752994"/>
                <a:gd name="connsiteY294" fmla="*/ 1224 h 1333436"/>
                <a:gd name="connsiteX295" fmla="*/ 257159 w 752994"/>
                <a:gd name="connsiteY295" fmla="*/ 0 h 1333436"/>
                <a:gd name="connsiteX0" fmla="*/ 185553 w 752994"/>
                <a:gd name="connsiteY0" fmla="*/ 222494 h 1333436"/>
                <a:gd name="connsiteX1" fmla="*/ 184117 w 752994"/>
                <a:gd name="connsiteY1" fmla="*/ 214326 h 1333436"/>
                <a:gd name="connsiteX2" fmla="*/ 185553 w 752994"/>
                <a:gd name="connsiteY2" fmla="*/ 222494 h 1333436"/>
                <a:gd name="connsiteX3" fmla="*/ 257159 w 752994"/>
                <a:gd name="connsiteY3" fmla="*/ 0 h 1333436"/>
                <a:gd name="connsiteX4" fmla="*/ 493147 w 752994"/>
                <a:gd name="connsiteY4" fmla="*/ 73157 h 1333436"/>
                <a:gd name="connsiteX5" fmla="*/ 492970 w 752994"/>
                <a:gd name="connsiteY5" fmla="*/ 73792 h 1333436"/>
                <a:gd name="connsiteX6" fmla="*/ 525816 w 752994"/>
                <a:gd name="connsiteY6" fmla="*/ 82491 h 1333436"/>
                <a:gd name="connsiteX7" fmla="*/ 520098 w 752994"/>
                <a:gd name="connsiteY7" fmla="*/ 111245 h 1333436"/>
                <a:gd name="connsiteX8" fmla="*/ 512552 w 752994"/>
                <a:gd name="connsiteY8" fmla="*/ 143854 h 1333436"/>
                <a:gd name="connsiteX9" fmla="*/ 517849 w 752994"/>
                <a:gd name="connsiteY9" fmla="*/ 157740 h 1333436"/>
                <a:gd name="connsiteX10" fmla="*/ 523160 w 752994"/>
                <a:gd name="connsiteY10" fmla="*/ 172009 h 1333436"/>
                <a:gd name="connsiteX11" fmla="*/ 521535 w 752994"/>
                <a:gd name="connsiteY11" fmla="*/ 178928 h 1333436"/>
                <a:gd name="connsiteX12" fmla="*/ 520098 w 752994"/>
                <a:gd name="connsiteY12" fmla="*/ 186279 h 1333436"/>
                <a:gd name="connsiteX13" fmla="*/ 526019 w 752994"/>
                <a:gd name="connsiteY13" fmla="*/ 193629 h 1333436"/>
                <a:gd name="connsiteX14" fmla="*/ 537251 w 752994"/>
                <a:gd name="connsiteY14" fmla="*/ 206270 h 1333436"/>
                <a:gd name="connsiteX15" fmla="*/ 542765 w 752994"/>
                <a:gd name="connsiteY15" fmla="*/ 217475 h 1333436"/>
                <a:gd name="connsiteX16" fmla="*/ 546857 w 752994"/>
                <a:gd name="connsiteY16" fmla="*/ 230930 h 1333436"/>
                <a:gd name="connsiteX17" fmla="*/ 549499 w 752994"/>
                <a:gd name="connsiteY17" fmla="*/ 235622 h 1333436"/>
                <a:gd name="connsiteX18" fmla="*/ 553388 w 752994"/>
                <a:gd name="connsiteY18" fmla="*/ 240722 h 1333436"/>
                <a:gd name="connsiteX19" fmla="*/ 557465 w 752994"/>
                <a:gd name="connsiteY19" fmla="*/ 246037 h 1333436"/>
                <a:gd name="connsiteX20" fmla="*/ 561761 w 752994"/>
                <a:gd name="connsiteY20" fmla="*/ 248671 h 1333436"/>
                <a:gd name="connsiteX21" fmla="*/ 567478 w 752994"/>
                <a:gd name="connsiteY21" fmla="*/ 247665 h 1333436"/>
                <a:gd name="connsiteX22" fmla="*/ 569931 w 752994"/>
                <a:gd name="connsiteY22" fmla="*/ 249293 h 1333436"/>
                <a:gd name="connsiteX23" fmla="*/ 570540 w 752994"/>
                <a:gd name="connsiteY23" fmla="*/ 251951 h 1333436"/>
                <a:gd name="connsiteX24" fmla="*/ 561964 w 752994"/>
                <a:gd name="connsiteY24" fmla="*/ 267656 h 1333436"/>
                <a:gd name="connsiteX25" fmla="*/ 553591 w 752994"/>
                <a:gd name="connsiteY25" fmla="*/ 289659 h 1333436"/>
                <a:gd name="connsiteX26" fmla="*/ 554810 w 752994"/>
                <a:gd name="connsiteY26" fmla="*/ 292939 h 1333436"/>
                <a:gd name="connsiteX27" fmla="*/ 556246 w 752994"/>
                <a:gd name="connsiteY27" fmla="*/ 299260 h 1333436"/>
                <a:gd name="connsiteX28" fmla="*/ 552778 w 752994"/>
                <a:gd name="connsiteY28" fmla="*/ 301917 h 1333436"/>
                <a:gd name="connsiteX29" fmla="*/ 549295 w 752994"/>
                <a:gd name="connsiteY29" fmla="*/ 306993 h 1333436"/>
                <a:gd name="connsiteX30" fmla="*/ 547061 w 752994"/>
                <a:gd name="connsiteY30" fmla="*/ 313122 h 1333436"/>
                <a:gd name="connsiteX31" fmla="*/ 544811 w 752994"/>
                <a:gd name="connsiteY31" fmla="*/ 316593 h 1333436"/>
                <a:gd name="connsiteX32" fmla="*/ 549919 w 752994"/>
                <a:gd name="connsiteY32" fmla="*/ 322698 h 1333436"/>
                <a:gd name="connsiteX33" fmla="*/ 553184 w 752994"/>
                <a:gd name="connsiteY33" fmla="*/ 325955 h 1333436"/>
                <a:gd name="connsiteX34" fmla="*/ 555840 w 752994"/>
                <a:gd name="connsiteY34" fmla="*/ 328205 h 1333436"/>
                <a:gd name="connsiteX35" fmla="*/ 574212 w 752994"/>
                <a:gd name="connsiteY35" fmla="*/ 318820 h 1333436"/>
                <a:gd name="connsiteX36" fmla="*/ 579523 w 752994"/>
                <a:gd name="connsiteY36" fmla="*/ 326577 h 1333436"/>
                <a:gd name="connsiteX37" fmla="*/ 580539 w 752994"/>
                <a:gd name="connsiteY37" fmla="*/ 334933 h 1333436"/>
                <a:gd name="connsiteX38" fmla="*/ 579726 w 752994"/>
                <a:gd name="connsiteY38" fmla="*/ 343097 h 1333436"/>
                <a:gd name="connsiteX39" fmla="*/ 581366 w 752994"/>
                <a:gd name="connsiteY39" fmla="*/ 350231 h 1333436"/>
                <a:gd name="connsiteX40" fmla="*/ 586256 w 752994"/>
                <a:gd name="connsiteY40" fmla="*/ 355930 h 1333436"/>
                <a:gd name="connsiteX41" fmla="*/ 589536 w 752994"/>
                <a:gd name="connsiteY41" fmla="*/ 362059 h 1333436"/>
                <a:gd name="connsiteX42" fmla="*/ 588099 w 752994"/>
                <a:gd name="connsiteY42" fmla="*/ 369600 h 1333436"/>
                <a:gd name="connsiteX43" fmla="*/ 586459 w 752994"/>
                <a:gd name="connsiteY43" fmla="*/ 377357 h 1333436"/>
                <a:gd name="connsiteX44" fmla="*/ 588709 w 752994"/>
                <a:gd name="connsiteY44" fmla="*/ 381835 h 1333436"/>
                <a:gd name="connsiteX45" fmla="*/ 595036 w 752994"/>
                <a:gd name="connsiteY45" fmla="*/ 382457 h 1333436"/>
                <a:gd name="connsiteX46" fmla="*/ 599331 w 752994"/>
                <a:gd name="connsiteY46" fmla="*/ 385306 h 1333436"/>
                <a:gd name="connsiteX47" fmla="*/ 601987 w 752994"/>
                <a:gd name="connsiteY47" fmla="*/ 391004 h 1333436"/>
                <a:gd name="connsiteX48" fmla="*/ 602799 w 752994"/>
                <a:gd name="connsiteY48" fmla="*/ 404076 h 1333436"/>
                <a:gd name="connsiteX49" fmla="*/ 606892 w 752994"/>
                <a:gd name="connsiteY49" fmla="*/ 415688 h 1333436"/>
                <a:gd name="connsiteX50" fmla="*/ 610563 w 752994"/>
                <a:gd name="connsiteY50" fmla="*/ 412217 h 1333436"/>
                <a:gd name="connsiteX51" fmla="*/ 617920 w 752994"/>
                <a:gd name="connsiteY51" fmla="*/ 408769 h 1333436"/>
                <a:gd name="connsiteX52" fmla="*/ 624654 w 752994"/>
                <a:gd name="connsiteY52" fmla="*/ 411211 h 1333436"/>
                <a:gd name="connsiteX53" fmla="*/ 634652 w 752994"/>
                <a:gd name="connsiteY53" fmla="*/ 410182 h 1333436"/>
                <a:gd name="connsiteX54" fmla="*/ 640573 w 752994"/>
                <a:gd name="connsiteY54" fmla="*/ 407739 h 1333436"/>
                <a:gd name="connsiteX55" fmla="*/ 646711 w 752994"/>
                <a:gd name="connsiteY55" fmla="*/ 410589 h 1333436"/>
                <a:gd name="connsiteX56" fmla="*/ 650383 w 752994"/>
                <a:gd name="connsiteY56" fmla="*/ 410589 h 1333436"/>
                <a:gd name="connsiteX57" fmla="*/ 654257 w 752994"/>
                <a:gd name="connsiteY57" fmla="*/ 411618 h 1333436"/>
                <a:gd name="connsiteX58" fmla="*/ 656913 w 752994"/>
                <a:gd name="connsiteY58" fmla="*/ 413653 h 1333436"/>
                <a:gd name="connsiteX59" fmla="*/ 660802 w 752994"/>
                <a:gd name="connsiteY59" fmla="*/ 415090 h 1333436"/>
                <a:gd name="connsiteX60" fmla="*/ 669581 w 752994"/>
                <a:gd name="connsiteY60" fmla="*/ 415904 h 1333436"/>
                <a:gd name="connsiteX61" fmla="*/ 672237 w 752994"/>
                <a:gd name="connsiteY61" fmla="*/ 415688 h 1333436"/>
                <a:gd name="connsiteX62" fmla="*/ 675705 w 752994"/>
                <a:gd name="connsiteY62" fmla="*/ 409367 h 1333436"/>
                <a:gd name="connsiteX63" fmla="*/ 679986 w 752994"/>
                <a:gd name="connsiteY63" fmla="*/ 403238 h 1333436"/>
                <a:gd name="connsiteX64" fmla="*/ 693264 w 752994"/>
                <a:gd name="connsiteY64" fmla="*/ 419567 h 1333436"/>
                <a:gd name="connsiteX65" fmla="*/ 688563 w 752994"/>
                <a:gd name="connsiteY65" fmla="*/ 448321 h 1333436"/>
                <a:gd name="connsiteX66" fmla="*/ 663949 w 752994"/>
                <a:gd name="connsiteY66" fmla="*/ 590165 h 1333436"/>
                <a:gd name="connsiteX67" fmla="*/ 666304 w 752994"/>
                <a:gd name="connsiteY67" fmla="*/ 590504 h 1333436"/>
                <a:gd name="connsiteX68" fmla="*/ 655288 w 752994"/>
                <a:gd name="connsiteY68" fmla="*/ 656178 h 1333436"/>
                <a:gd name="connsiteX69" fmla="*/ 681808 w 752994"/>
                <a:gd name="connsiteY69" fmla="*/ 662301 h 1333436"/>
                <a:gd name="connsiteX70" fmla="*/ 752994 w 752994"/>
                <a:gd name="connsiteY70" fmla="*/ 675560 h 1333436"/>
                <a:gd name="connsiteX71" fmla="*/ 714651 w 752994"/>
                <a:gd name="connsiteY71" fmla="*/ 946985 h 1333436"/>
                <a:gd name="connsiteX72" fmla="*/ 654533 w 752994"/>
                <a:gd name="connsiteY72" fmla="*/ 1333436 h 1333436"/>
                <a:gd name="connsiteX73" fmla="*/ 546831 w 752994"/>
                <a:gd name="connsiteY73" fmla="*/ 1317126 h 1333436"/>
                <a:gd name="connsiteX74" fmla="*/ 351227 w 752994"/>
                <a:gd name="connsiteY74" fmla="*/ 1194172 h 1333436"/>
                <a:gd name="connsiteX75" fmla="*/ 361011 w 752994"/>
                <a:gd name="connsiteY75" fmla="*/ 1182755 h 1333436"/>
                <a:gd name="connsiteX76" fmla="*/ 368981 w 752994"/>
                <a:gd name="connsiteY76" fmla="*/ 1182130 h 1333436"/>
                <a:gd name="connsiteX77" fmla="*/ 369571 w 752994"/>
                <a:gd name="connsiteY77" fmla="*/ 1181558 h 1333436"/>
                <a:gd name="connsiteX78" fmla="*/ 362372 w 752994"/>
                <a:gd name="connsiteY78" fmla="*/ 1182120 h 1333436"/>
                <a:gd name="connsiteX79" fmla="*/ 229464 w 752994"/>
                <a:gd name="connsiteY79" fmla="*/ 1161721 h 1333436"/>
                <a:gd name="connsiteX80" fmla="*/ 227427 w 752994"/>
                <a:gd name="connsiteY80" fmla="*/ 1157269 h 1333436"/>
                <a:gd name="connsiteX81" fmla="*/ 224967 w 752994"/>
                <a:gd name="connsiteY81" fmla="*/ 1152575 h 1333436"/>
                <a:gd name="connsiteX82" fmla="*/ 225582 w 752994"/>
                <a:gd name="connsiteY82" fmla="*/ 1144808 h 1333436"/>
                <a:gd name="connsiteX83" fmla="*/ 227215 w 752994"/>
                <a:gd name="connsiteY83" fmla="*/ 1135834 h 1333436"/>
                <a:gd name="connsiteX84" fmla="*/ 227215 w 752994"/>
                <a:gd name="connsiteY84" fmla="*/ 1134212 h 1333436"/>
                <a:gd name="connsiteX85" fmla="*/ 225179 w 752994"/>
                <a:gd name="connsiteY85" fmla="*/ 1114020 h 1333436"/>
                <a:gd name="connsiteX86" fmla="*/ 217839 w 752994"/>
                <a:gd name="connsiteY86" fmla="*/ 1100352 h 1333436"/>
                <a:gd name="connsiteX87" fmla="*/ 199661 w 752994"/>
                <a:gd name="connsiteY87" fmla="*/ 1076502 h 1333436"/>
                <a:gd name="connsiteX88" fmla="*/ 196395 w 752994"/>
                <a:gd name="connsiteY88" fmla="*/ 1071807 h 1333436"/>
                <a:gd name="connsiteX89" fmla="*/ 190880 w 752994"/>
                <a:gd name="connsiteY89" fmla="*/ 1067527 h 1333436"/>
                <a:gd name="connsiteX90" fmla="*/ 187210 w 752994"/>
                <a:gd name="connsiteY90" fmla="*/ 1068735 h 1333436"/>
                <a:gd name="connsiteX91" fmla="*/ 180062 w 752994"/>
                <a:gd name="connsiteY91" fmla="*/ 1066699 h 1333436"/>
                <a:gd name="connsiteX92" fmla="*/ 180466 w 752994"/>
                <a:gd name="connsiteY92" fmla="*/ 1053031 h 1333436"/>
                <a:gd name="connsiteX93" fmla="*/ 180062 w 752994"/>
                <a:gd name="connsiteY93" fmla="*/ 1045299 h 1333436"/>
                <a:gd name="connsiteX94" fmla="*/ 174144 w 752994"/>
                <a:gd name="connsiteY94" fmla="*/ 1044057 h 1333436"/>
                <a:gd name="connsiteX95" fmla="*/ 158426 w 752994"/>
                <a:gd name="connsiteY95" fmla="*/ 1042641 h 1333436"/>
                <a:gd name="connsiteX96" fmla="*/ 149857 w 752994"/>
                <a:gd name="connsiteY96" fmla="*/ 1035497 h 1333436"/>
                <a:gd name="connsiteX97" fmla="*/ 142497 w 752994"/>
                <a:gd name="connsiteY97" fmla="*/ 1028766 h 1333436"/>
                <a:gd name="connsiteX98" fmla="*/ 140864 w 752994"/>
                <a:gd name="connsiteY98" fmla="*/ 1020620 h 1333436"/>
                <a:gd name="connsiteX99" fmla="*/ 138212 w 752994"/>
                <a:gd name="connsiteY99" fmla="*/ 1013061 h 1333436"/>
                <a:gd name="connsiteX100" fmla="*/ 131064 w 752994"/>
                <a:gd name="connsiteY100" fmla="*/ 1007159 h 1333436"/>
                <a:gd name="connsiteX101" fmla="*/ 121264 w 752994"/>
                <a:gd name="connsiteY101" fmla="*/ 1005330 h 1333436"/>
                <a:gd name="connsiteX102" fmla="*/ 112483 w 752994"/>
                <a:gd name="connsiteY102" fmla="*/ 1001671 h 1333436"/>
                <a:gd name="connsiteX103" fmla="*/ 105950 w 752994"/>
                <a:gd name="connsiteY103" fmla="*/ 995734 h 1333436"/>
                <a:gd name="connsiteX104" fmla="*/ 97380 w 752994"/>
                <a:gd name="connsiteY104" fmla="*/ 994526 h 1333436"/>
                <a:gd name="connsiteX105" fmla="*/ 87984 w 752994"/>
                <a:gd name="connsiteY105" fmla="*/ 991040 h 1333436"/>
                <a:gd name="connsiteX106" fmla="*/ 80029 w 752994"/>
                <a:gd name="connsiteY106" fmla="*/ 985138 h 1333436"/>
                <a:gd name="connsiteX107" fmla="*/ 77166 w 752994"/>
                <a:gd name="connsiteY107" fmla="*/ 976164 h 1333436"/>
                <a:gd name="connsiteX108" fmla="*/ 79203 w 752994"/>
                <a:gd name="connsiteY108" fmla="*/ 970676 h 1333436"/>
                <a:gd name="connsiteX109" fmla="*/ 82470 w 752994"/>
                <a:gd name="connsiteY109" fmla="*/ 963117 h 1333436"/>
                <a:gd name="connsiteX110" fmla="*/ 84314 w 752994"/>
                <a:gd name="connsiteY110" fmla="*/ 954557 h 1333436"/>
                <a:gd name="connsiteX111" fmla="*/ 86351 w 752994"/>
                <a:gd name="connsiteY111" fmla="*/ 948033 h 1333436"/>
                <a:gd name="connsiteX112" fmla="*/ 86159 w 752994"/>
                <a:gd name="connsiteY112" fmla="*/ 942925 h 1333436"/>
                <a:gd name="connsiteX113" fmla="*/ 83085 w 752994"/>
                <a:gd name="connsiteY113" fmla="*/ 939853 h 1333436"/>
                <a:gd name="connsiteX114" fmla="*/ 77570 w 752994"/>
                <a:gd name="connsiteY114" fmla="*/ 937437 h 1333436"/>
                <a:gd name="connsiteX115" fmla="*/ 76763 w 752994"/>
                <a:gd name="connsiteY115" fmla="*/ 931915 h 1333436"/>
                <a:gd name="connsiteX116" fmla="*/ 78800 w 752994"/>
                <a:gd name="connsiteY116" fmla="*/ 927013 h 1333436"/>
                <a:gd name="connsiteX117" fmla="*/ 79626 w 752994"/>
                <a:gd name="connsiteY117" fmla="*/ 922526 h 1333436"/>
                <a:gd name="connsiteX118" fmla="*/ 77781 w 752994"/>
                <a:gd name="connsiteY118" fmla="*/ 919903 h 1333436"/>
                <a:gd name="connsiteX119" fmla="*/ 74303 w 752994"/>
                <a:gd name="connsiteY119" fmla="*/ 917418 h 1333436"/>
                <a:gd name="connsiteX120" fmla="*/ 71863 w 752994"/>
                <a:gd name="connsiteY120" fmla="*/ 915174 h 1333436"/>
                <a:gd name="connsiteX121" fmla="*/ 71652 w 752994"/>
                <a:gd name="connsiteY121" fmla="*/ 910894 h 1333436"/>
                <a:gd name="connsiteX122" fmla="*/ 70633 w 752994"/>
                <a:gd name="connsiteY122" fmla="*/ 906614 h 1333436"/>
                <a:gd name="connsiteX123" fmla="*/ 68385 w 752994"/>
                <a:gd name="connsiteY123" fmla="*/ 902749 h 1333436"/>
                <a:gd name="connsiteX124" fmla="*/ 61045 w 752994"/>
                <a:gd name="connsiteY124" fmla="*/ 889494 h 1333436"/>
                <a:gd name="connsiteX125" fmla="*/ 57971 w 752994"/>
                <a:gd name="connsiteY125" fmla="*/ 875619 h 1333436"/>
                <a:gd name="connsiteX126" fmla="*/ 52264 w 752994"/>
                <a:gd name="connsiteY126" fmla="*/ 862572 h 1333436"/>
                <a:gd name="connsiteX127" fmla="*/ 44309 w 752994"/>
                <a:gd name="connsiteY127" fmla="*/ 850561 h 1333436"/>
                <a:gd name="connsiteX128" fmla="*/ 45520 w 752994"/>
                <a:gd name="connsiteY128" fmla="*/ 827090 h 1333436"/>
                <a:gd name="connsiteX129" fmla="*/ 53071 w 752994"/>
                <a:gd name="connsiteY129" fmla="*/ 822396 h 1333436"/>
                <a:gd name="connsiteX130" fmla="*/ 57375 w 752994"/>
                <a:gd name="connsiteY130" fmla="*/ 816493 h 1333436"/>
                <a:gd name="connsiteX131" fmla="*/ 55319 w 752994"/>
                <a:gd name="connsiteY131" fmla="*/ 801617 h 1333436"/>
                <a:gd name="connsiteX132" fmla="*/ 48383 w 752994"/>
                <a:gd name="connsiteY132" fmla="*/ 802204 h 1333436"/>
                <a:gd name="connsiteX133" fmla="*/ 40428 w 752994"/>
                <a:gd name="connsiteY133" fmla="*/ 797924 h 1333436"/>
                <a:gd name="connsiteX134" fmla="*/ 37565 w 752994"/>
                <a:gd name="connsiteY134" fmla="*/ 790606 h 1333436"/>
                <a:gd name="connsiteX135" fmla="*/ 37565 w 752994"/>
                <a:gd name="connsiteY135" fmla="*/ 790399 h 1333436"/>
                <a:gd name="connsiteX136" fmla="*/ 35931 w 752994"/>
                <a:gd name="connsiteY136" fmla="*/ 785912 h 1333436"/>
                <a:gd name="connsiteX137" fmla="*/ 34510 w 752994"/>
                <a:gd name="connsiteY137" fmla="*/ 780597 h 1333436"/>
                <a:gd name="connsiteX138" fmla="*/ 36335 w 752994"/>
                <a:gd name="connsiteY138" fmla="*/ 774280 h 1333436"/>
                <a:gd name="connsiteX139" fmla="*/ 38180 w 752994"/>
                <a:gd name="connsiteY139" fmla="*/ 766721 h 1333436"/>
                <a:gd name="connsiteX140" fmla="*/ 37161 w 752994"/>
                <a:gd name="connsiteY140" fmla="*/ 760405 h 1333436"/>
                <a:gd name="connsiteX141" fmla="*/ 35720 w 752994"/>
                <a:gd name="connsiteY141" fmla="*/ 754710 h 1333436"/>
                <a:gd name="connsiteX142" fmla="*/ 36546 w 752994"/>
                <a:gd name="connsiteY142" fmla="*/ 748773 h 1333436"/>
                <a:gd name="connsiteX143" fmla="*/ 38372 w 752994"/>
                <a:gd name="connsiteY143" fmla="*/ 744528 h 1333436"/>
                <a:gd name="connsiteX144" fmla="*/ 41638 w 752994"/>
                <a:gd name="connsiteY144" fmla="*/ 744321 h 1333436"/>
                <a:gd name="connsiteX145" fmla="*/ 44713 w 752994"/>
                <a:gd name="connsiteY145" fmla="*/ 746357 h 1333436"/>
                <a:gd name="connsiteX146" fmla="*/ 47364 w 752994"/>
                <a:gd name="connsiteY146" fmla="*/ 753260 h 1333436"/>
                <a:gd name="connsiteX147" fmla="*/ 55742 w 752994"/>
                <a:gd name="connsiteY147" fmla="*/ 764305 h 1333436"/>
                <a:gd name="connsiteX148" fmla="*/ 56338 w 752994"/>
                <a:gd name="connsiteY148" fmla="*/ 761233 h 1333436"/>
                <a:gd name="connsiteX149" fmla="*/ 56145 w 752994"/>
                <a:gd name="connsiteY149" fmla="*/ 757368 h 1333436"/>
                <a:gd name="connsiteX150" fmla="*/ 54916 w 752994"/>
                <a:gd name="connsiteY150" fmla="*/ 748601 h 1333436"/>
                <a:gd name="connsiteX151" fmla="*/ 52879 w 752994"/>
                <a:gd name="connsiteY151" fmla="*/ 747358 h 1333436"/>
                <a:gd name="connsiteX152" fmla="*/ 51649 w 752994"/>
                <a:gd name="connsiteY152" fmla="*/ 745322 h 1333436"/>
                <a:gd name="connsiteX153" fmla="*/ 51649 w 752994"/>
                <a:gd name="connsiteY153" fmla="*/ 739212 h 1333436"/>
                <a:gd name="connsiteX154" fmla="*/ 50227 w 752994"/>
                <a:gd name="connsiteY154" fmla="*/ 734725 h 1333436"/>
                <a:gd name="connsiteX155" fmla="*/ 48786 w 752994"/>
                <a:gd name="connsiteY155" fmla="*/ 731446 h 1333436"/>
                <a:gd name="connsiteX156" fmla="*/ 54512 w 752994"/>
                <a:gd name="connsiteY156" fmla="*/ 726372 h 1333436"/>
                <a:gd name="connsiteX157" fmla="*/ 59815 w 752994"/>
                <a:gd name="connsiteY157" fmla="*/ 725130 h 1333436"/>
                <a:gd name="connsiteX158" fmla="*/ 58182 w 752994"/>
                <a:gd name="connsiteY158" fmla="*/ 722886 h 1333436"/>
                <a:gd name="connsiteX159" fmla="*/ 51861 w 752994"/>
                <a:gd name="connsiteY159" fmla="*/ 717985 h 1333436"/>
                <a:gd name="connsiteX160" fmla="*/ 46749 w 752994"/>
                <a:gd name="connsiteY160" fmla="*/ 729617 h 1333436"/>
                <a:gd name="connsiteX161" fmla="*/ 40831 w 752994"/>
                <a:gd name="connsiteY161" fmla="*/ 739212 h 1333436"/>
                <a:gd name="connsiteX162" fmla="*/ 39601 w 752994"/>
                <a:gd name="connsiteY162" fmla="*/ 738798 h 1333436"/>
                <a:gd name="connsiteX163" fmla="*/ 39409 w 752994"/>
                <a:gd name="connsiteY163" fmla="*/ 738591 h 1333436"/>
                <a:gd name="connsiteX164" fmla="*/ 37161 w 752994"/>
                <a:gd name="connsiteY164" fmla="*/ 734725 h 1333436"/>
                <a:gd name="connsiteX165" fmla="*/ 32665 w 752994"/>
                <a:gd name="connsiteY165" fmla="*/ 727788 h 1333436"/>
                <a:gd name="connsiteX166" fmla="*/ 26747 w 752994"/>
                <a:gd name="connsiteY166" fmla="*/ 719435 h 1333436"/>
                <a:gd name="connsiteX167" fmla="*/ 23884 w 752994"/>
                <a:gd name="connsiteY167" fmla="*/ 717812 h 1333436"/>
                <a:gd name="connsiteX168" fmla="*/ 24710 w 752994"/>
                <a:gd name="connsiteY168" fmla="*/ 709632 h 1333436"/>
                <a:gd name="connsiteX169" fmla="*/ 27554 w 752994"/>
                <a:gd name="connsiteY169" fmla="*/ 701694 h 1333436"/>
                <a:gd name="connsiteX170" fmla="*/ 24902 w 752994"/>
                <a:gd name="connsiteY170" fmla="*/ 696171 h 1333436"/>
                <a:gd name="connsiteX171" fmla="*/ 24095 w 752994"/>
                <a:gd name="connsiteY171" fmla="*/ 687818 h 1333436"/>
                <a:gd name="connsiteX172" fmla="*/ 22462 w 752994"/>
                <a:gd name="connsiteY172" fmla="*/ 682330 h 1333436"/>
                <a:gd name="connsiteX173" fmla="*/ 17159 w 752994"/>
                <a:gd name="connsiteY173" fmla="*/ 677636 h 1333436"/>
                <a:gd name="connsiteX174" fmla="*/ 14296 w 752994"/>
                <a:gd name="connsiteY174" fmla="*/ 671492 h 1333436"/>
                <a:gd name="connsiteX175" fmla="*/ 12451 w 752994"/>
                <a:gd name="connsiteY175" fmla="*/ 665797 h 1333436"/>
                <a:gd name="connsiteX176" fmla="*/ 5111 w 752994"/>
                <a:gd name="connsiteY176" fmla="*/ 654994 h 1333436"/>
                <a:gd name="connsiteX177" fmla="*/ 2248 w 752994"/>
                <a:gd name="connsiteY177" fmla="*/ 645605 h 1333436"/>
                <a:gd name="connsiteX178" fmla="*/ 4496 w 752994"/>
                <a:gd name="connsiteY178" fmla="*/ 640497 h 1333436"/>
                <a:gd name="connsiteX179" fmla="*/ 6744 w 752994"/>
                <a:gd name="connsiteY179" fmla="*/ 632765 h 1333436"/>
                <a:gd name="connsiteX180" fmla="*/ 6744 w 752994"/>
                <a:gd name="connsiteY180" fmla="*/ 628485 h 1333436"/>
                <a:gd name="connsiteX181" fmla="*/ 6533 w 752994"/>
                <a:gd name="connsiteY181" fmla="*/ 620305 h 1333436"/>
                <a:gd name="connsiteX182" fmla="*/ 7359 w 752994"/>
                <a:gd name="connsiteY182" fmla="*/ 611745 h 1333436"/>
                <a:gd name="connsiteX183" fmla="*/ 11836 w 752994"/>
                <a:gd name="connsiteY183" fmla="*/ 602978 h 1333436"/>
                <a:gd name="connsiteX184" fmla="*/ 15103 w 752994"/>
                <a:gd name="connsiteY184" fmla="*/ 591760 h 1333436"/>
                <a:gd name="connsiteX185" fmla="*/ 14488 w 752994"/>
                <a:gd name="connsiteY185" fmla="*/ 584029 h 1333436"/>
                <a:gd name="connsiteX186" fmla="*/ 13873 w 752994"/>
                <a:gd name="connsiteY186" fmla="*/ 578299 h 1333436"/>
                <a:gd name="connsiteX187" fmla="*/ 10626 w 752994"/>
                <a:gd name="connsiteY187" fmla="*/ 568531 h 1333436"/>
                <a:gd name="connsiteX188" fmla="*/ 3670 w 752994"/>
                <a:gd name="connsiteY188" fmla="*/ 558107 h 1333436"/>
                <a:gd name="connsiteX189" fmla="*/ 0 w 752994"/>
                <a:gd name="connsiteY189" fmla="*/ 551377 h 1333436"/>
                <a:gd name="connsiteX190" fmla="*/ 0 w 752994"/>
                <a:gd name="connsiteY190" fmla="*/ 550997 h 1333436"/>
                <a:gd name="connsiteX191" fmla="*/ 4900 w 752994"/>
                <a:gd name="connsiteY191" fmla="*/ 531220 h 1333436"/>
                <a:gd name="connsiteX192" fmla="*/ 13873 w 752994"/>
                <a:gd name="connsiteY192" fmla="*/ 520589 h 1333436"/>
                <a:gd name="connsiteX193" fmla="*/ 18369 w 752994"/>
                <a:gd name="connsiteY193" fmla="*/ 516516 h 1333436"/>
                <a:gd name="connsiteX194" fmla="*/ 18773 w 752994"/>
                <a:gd name="connsiteY194" fmla="*/ 514272 h 1333436"/>
                <a:gd name="connsiteX195" fmla="*/ 23077 w 752994"/>
                <a:gd name="connsiteY195" fmla="*/ 506127 h 1333436"/>
                <a:gd name="connsiteX196" fmla="*/ 23884 w 752994"/>
                <a:gd name="connsiteY196" fmla="*/ 502261 h 1333436"/>
                <a:gd name="connsiteX197" fmla="*/ 23692 w 752994"/>
                <a:gd name="connsiteY197" fmla="*/ 496738 h 1333436"/>
                <a:gd name="connsiteX198" fmla="*/ 30013 w 752994"/>
                <a:gd name="connsiteY198" fmla="*/ 486556 h 1333436"/>
                <a:gd name="connsiteX199" fmla="*/ 36546 w 752994"/>
                <a:gd name="connsiteY199" fmla="*/ 470230 h 1333436"/>
                <a:gd name="connsiteX200" fmla="*/ 36546 w 752994"/>
                <a:gd name="connsiteY200" fmla="*/ 462671 h 1333436"/>
                <a:gd name="connsiteX201" fmla="*/ 36335 w 752994"/>
                <a:gd name="connsiteY201" fmla="*/ 461670 h 1333436"/>
                <a:gd name="connsiteX202" fmla="*/ 35931 w 752994"/>
                <a:gd name="connsiteY202" fmla="*/ 453110 h 1333436"/>
                <a:gd name="connsiteX203" fmla="*/ 38583 w 752994"/>
                <a:gd name="connsiteY203" fmla="*/ 442514 h 1333436"/>
                <a:gd name="connsiteX204" fmla="*/ 41043 w 752994"/>
                <a:gd name="connsiteY204" fmla="*/ 436991 h 1333436"/>
                <a:gd name="connsiteX205" fmla="*/ 41650 w 752994"/>
                <a:gd name="connsiteY205" fmla="*/ 437186 h 1333436"/>
                <a:gd name="connsiteX206" fmla="*/ 41239 w 752994"/>
                <a:gd name="connsiteY206" fmla="*/ 436549 h 1333436"/>
                <a:gd name="connsiteX207" fmla="*/ 37778 w 752994"/>
                <a:gd name="connsiteY207" fmla="*/ 433894 h 1333436"/>
                <a:gd name="connsiteX208" fmla="*/ 37169 w 752994"/>
                <a:gd name="connsiteY208" fmla="*/ 432261 h 1333436"/>
                <a:gd name="connsiteX209" fmla="*/ 37365 w 752994"/>
                <a:gd name="connsiteY209" fmla="*/ 429198 h 1333436"/>
                <a:gd name="connsiteX210" fmla="*/ 36756 w 752994"/>
                <a:gd name="connsiteY210" fmla="*/ 422272 h 1333436"/>
                <a:gd name="connsiteX211" fmla="*/ 36952 w 752994"/>
                <a:gd name="connsiteY211" fmla="*/ 418800 h 1333436"/>
                <a:gd name="connsiteX212" fmla="*/ 36756 w 752994"/>
                <a:gd name="connsiteY212" fmla="*/ 412487 h 1333436"/>
                <a:gd name="connsiteX213" fmla="*/ 40433 w 752994"/>
                <a:gd name="connsiteY213" fmla="*/ 406174 h 1333436"/>
                <a:gd name="connsiteX214" fmla="*/ 44720 w 752994"/>
                <a:gd name="connsiteY214" fmla="*/ 399435 h 1333436"/>
                <a:gd name="connsiteX215" fmla="*/ 44110 w 752994"/>
                <a:gd name="connsiteY215" fmla="*/ 389651 h 1333436"/>
                <a:gd name="connsiteX216" fmla="*/ 43894 w 752994"/>
                <a:gd name="connsiteY216" fmla="*/ 378437 h 1333436"/>
                <a:gd name="connsiteX217" fmla="*/ 47158 w 752994"/>
                <a:gd name="connsiteY217" fmla="*/ 371102 h 1333436"/>
                <a:gd name="connsiteX218" fmla="*/ 55731 w 752994"/>
                <a:gd name="connsiteY218" fmla="*/ 360909 h 1333436"/>
                <a:gd name="connsiteX219" fmla="*/ 57580 w 752994"/>
                <a:gd name="connsiteY219" fmla="*/ 355804 h 1333436"/>
                <a:gd name="connsiteX220" fmla="*/ 62673 w 752994"/>
                <a:gd name="connsiteY220" fmla="*/ 349695 h 1333436"/>
                <a:gd name="connsiteX221" fmla="*/ 65937 w 752994"/>
                <a:gd name="connsiteY221" fmla="*/ 348470 h 1333436"/>
                <a:gd name="connsiteX222" fmla="*/ 68395 w 752994"/>
                <a:gd name="connsiteY222" fmla="*/ 348674 h 1333436"/>
                <a:gd name="connsiteX223" fmla="*/ 70224 w 752994"/>
                <a:gd name="connsiteY223" fmla="*/ 347449 h 1333436"/>
                <a:gd name="connsiteX224" fmla="*/ 67785 w 752994"/>
                <a:gd name="connsiteY224" fmla="*/ 345203 h 1333436"/>
                <a:gd name="connsiteX225" fmla="*/ 65524 w 752994"/>
                <a:gd name="connsiteY225" fmla="*/ 343178 h 1333436"/>
                <a:gd name="connsiteX226" fmla="*/ 73095 w 752994"/>
                <a:gd name="connsiteY226" fmla="*/ 333376 h 1333436"/>
                <a:gd name="connsiteX227" fmla="*/ 73291 w 752994"/>
                <a:gd name="connsiteY227" fmla="*/ 333376 h 1333436"/>
                <a:gd name="connsiteX228" fmla="*/ 77991 w 752994"/>
                <a:gd name="connsiteY228" fmla="*/ 325838 h 1333436"/>
                <a:gd name="connsiteX229" fmla="*/ 82671 w 752994"/>
                <a:gd name="connsiteY229" fmla="*/ 313619 h 1333436"/>
                <a:gd name="connsiteX230" fmla="*/ 87980 w 752994"/>
                <a:gd name="connsiteY230" fmla="*/ 303018 h 1333436"/>
                <a:gd name="connsiteX231" fmla="*/ 92267 w 752994"/>
                <a:gd name="connsiteY231" fmla="*/ 291191 h 1333436"/>
                <a:gd name="connsiteX232" fmla="*/ 96553 w 752994"/>
                <a:gd name="connsiteY232" fmla="*/ 281202 h 1333436"/>
                <a:gd name="connsiteX233" fmla="*/ 99621 w 752994"/>
                <a:gd name="connsiteY233" fmla="*/ 274481 h 1333436"/>
                <a:gd name="connsiteX234" fmla="*/ 103082 w 752994"/>
                <a:gd name="connsiteY234" fmla="*/ 262450 h 1333436"/>
                <a:gd name="connsiteX235" fmla="*/ 107172 w 752994"/>
                <a:gd name="connsiteY235" fmla="*/ 254299 h 1333436"/>
                <a:gd name="connsiteX236" fmla="*/ 112481 w 752994"/>
                <a:gd name="connsiteY236" fmla="*/ 243697 h 1333436"/>
                <a:gd name="connsiteX237" fmla="*/ 117181 w 752994"/>
                <a:gd name="connsiteY237" fmla="*/ 232279 h 1333436"/>
                <a:gd name="connsiteX238" fmla="*/ 125951 w 752994"/>
                <a:gd name="connsiteY238" fmla="*/ 217389 h 1333436"/>
                <a:gd name="connsiteX239" fmla="*/ 136156 w 752994"/>
                <a:gd name="connsiteY239" fmla="*/ 202925 h 1333436"/>
                <a:gd name="connsiteX240" fmla="*/ 138811 w 752994"/>
                <a:gd name="connsiteY240" fmla="*/ 183339 h 1333436"/>
                <a:gd name="connsiteX241" fmla="*/ 148801 w 752994"/>
                <a:gd name="connsiteY241" fmla="*/ 167445 h 1333436"/>
                <a:gd name="connsiteX242" fmla="*/ 159616 w 752994"/>
                <a:gd name="connsiteY242" fmla="*/ 170712 h 1333436"/>
                <a:gd name="connsiteX243" fmla="*/ 173105 w 752994"/>
                <a:gd name="connsiteY243" fmla="*/ 175188 h 1333436"/>
                <a:gd name="connsiteX244" fmla="*/ 175347 w 752994"/>
                <a:gd name="connsiteY244" fmla="*/ 175188 h 1333436"/>
                <a:gd name="connsiteX245" fmla="*/ 175347 w 752994"/>
                <a:gd name="connsiteY245" fmla="*/ 173758 h 1333436"/>
                <a:gd name="connsiteX246" fmla="*/ 184975 w 752994"/>
                <a:gd name="connsiteY246" fmla="*/ 187393 h 1333436"/>
                <a:gd name="connsiteX247" fmla="*/ 184762 w 752994"/>
                <a:gd name="connsiteY247" fmla="*/ 184637 h 1333436"/>
                <a:gd name="connsiteX248" fmla="*/ 174971 w 752994"/>
                <a:gd name="connsiteY248" fmla="*/ 170774 h 1333436"/>
                <a:gd name="connsiteX249" fmla="*/ 174971 w 752994"/>
                <a:gd name="connsiteY249" fmla="*/ 169550 h 1333436"/>
                <a:gd name="connsiteX250" fmla="*/ 158851 w 752994"/>
                <a:gd name="connsiteY250" fmla="*/ 156924 h 1333436"/>
                <a:gd name="connsiteX251" fmla="*/ 147025 w 752994"/>
                <a:gd name="connsiteY251" fmla="*/ 145709 h 1333436"/>
                <a:gd name="connsiteX252" fmla="*/ 154364 w 752994"/>
                <a:gd name="connsiteY252" fmla="*/ 136335 h 1333436"/>
                <a:gd name="connsiteX253" fmla="*/ 161511 w 752994"/>
                <a:gd name="connsiteY253" fmla="*/ 131042 h 1333436"/>
                <a:gd name="connsiteX254" fmla="*/ 160902 w 752994"/>
                <a:gd name="connsiteY254" fmla="*/ 128384 h 1333436"/>
                <a:gd name="connsiteX255" fmla="*/ 160277 w 752994"/>
                <a:gd name="connsiteY255" fmla="*/ 127778 h 1333436"/>
                <a:gd name="connsiteX256" fmla="*/ 154973 w 752994"/>
                <a:gd name="connsiteY256" fmla="*/ 122077 h 1333436"/>
                <a:gd name="connsiteX257" fmla="*/ 160277 w 752994"/>
                <a:gd name="connsiteY257" fmla="*/ 115140 h 1333436"/>
                <a:gd name="connsiteX258" fmla="*/ 165181 w 752994"/>
                <a:gd name="connsiteY258" fmla="*/ 108215 h 1333436"/>
                <a:gd name="connsiteX259" fmla="*/ 161303 w 752994"/>
                <a:gd name="connsiteY259" fmla="*/ 104146 h 1333436"/>
                <a:gd name="connsiteX260" fmla="*/ 157842 w 752994"/>
                <a:gd name="connsiteY260" fmla="*/ 104542 h 1333436"/>
                <a:gd name="connsiteX261" fmla="*/ 157024 w 752994"/>
                <a:gd name="connsiteY261" fmla="*/ 102304 h 1333436"/>
                <a:gd name="connsiteX262" fmla="*/ 160694 w 752994"/>
                <a:gd name="connsiteY262" fmla="*/ 55437 h 1333436"/>
                <a:gd name="connsiteX263" fmla="*/ 160486 w 752994"/>
                <a:gd name="connsiteY263" fmla="*/ 31991 h 1333436"/>
                <a:gd name="connsiteX264" fmla="*/ 164972 w 752994"/>
                <a:gd name="connsiteY264" fmla="*/ 18141 h 1333436"/>
                <a:gd name="connsiteX265" fmla="*/ 171911 w 752994"/>
                <a:gd name="connsiteY265" fmla="*/ 11204 h 1333436"/>
                <a:gd name="connsiteX266" fmla="*/ 187406 w 752994"/>
                <a:gd name="connsiteY266" fmla="*/ 21801 h 1333436"/>
                <a:gd name="connsiteX267" fmla="*/ 210866 w 752994"/>
                <a:gd name="connsiteY267" fmla="*/ 37086 h 1333436"/>
                <a:gd name="connsiteX268" fmla="*/ 219230 w 752994"/>
                <a:gd name="connsiteY268" fmla="*/ 41166 h 1333436"/>
                <a:gd name="connsiteX269" fmla="*/ 226778 w 752994"/>
                <a:gd name="connsiteY269" fmla="*/ 47486 h 1333436"/>
                <a:gd name="connsiteX270" fmla="*/ 236152 w 752994"/>
                <a:gd name="connsiteY270" fmla="*/ 52370 h 1333436"/>
                <a:gd name="connsiteX271" fmla="*/ 239629 w 752994"/>
                <a:gd name="connsiteY271" fmla="*/ 58491 h 1333436"/>
                <a:gd name="connsiteX272" fmla="*/ 239629 w 752994"/>
                <a:gd name="connsiteY272" fmla="*/ 63376 h 1333436"/>
                <a:gd name="connsiteX273" fmla="*/ 236568 w 752994"/>
                <a:gd name="connsiteY273" fmla="*/ 67457 h 1333436"/>
                <a:gd name="connsiteX274" fmla="*/ 231264 w 752994"/>
                <a:gd name="connsiteY274" fmla="*/ 69905 h 1333436"/>
                <a:gd name="connsiteX275" fmla="*/ 216778 w 752994"/>
                <a:gd name="connsiteY275" fmla="*/ 82741 h 1333436"/>
                <a:gd name="connsiteX276" fmla="*/ 214134 w 752994"/>
                <a:gd name="connsiteY276" fmla="*/ 93536 h 1333436"/>
                <a:gd name="connsiteX277" fmla="*/ 214535 w 752994"/>
                <a:gd name="connsiteY277" fmla="*/ 96801 h 1333436"/>
                <a:gd name="connsiteX278" fmla="*/ 216378 w 752994"/>
                <a:gd name="connsiteY278" fmla="*/ 96801 h 1333436"/>
                <a:gd name="connsiteX279" fmla="*/ 230046 w 752994"/>
                <a:gd name="connsiteY279" fmla="*/ 85387 h 1333436"/>
                <a:gd name="connsiteX280" fmla="*/ 243298 w 752994"/>
                <a:gd name="connsiteY280" fmla="*/ 75198 h 1333436"/>
                <a:gd name="connsiteX281" fmla="*/ 246760 w 752994"/>
                <a:gd name="connsiteY281" fmla="*/ 77646 h 1333436"/>
                <a:gd name="connsiteX282" fmla="*/ 255541 w 752994"/>
                <a:gd name="connsiteY282" fmla="*/ 63376 h 1333436"/>
                <a:gd name="connsiteX283" fmla="*/ 259611 w 752994"/>
                <a:gd name="connsiteY283" fmla="*/ 43405 h 1333436"/>
                <a:gd name="connsiteX284" fmla="*/ 256967 w 752994"/>
                <a:gd name="connsiteY284" fmla="*/ 38520 h 1333436"/>
                <a:gd name="connsiteX285" fmla="*/ 253906 w 752994"/>
                <a:gd name="connsiteY285" fmla="*/ 34242 h 1333436"/>
                <a:gd name="connsiteX286" fmla="*/ 256967 w 752994"/>
                <a:gd name="connsiteY286" fmla="*/ 30161 h 1333436"/>
                <a:gd name="connsiteX287" fmla="*/ 262063 w 752994"/>
                <a:gd name="connsiteY287" fmla="*/ 27712 h 1333436"/>
                <a:gd name="connsiteX288" fmla="*/ 264915 w 752994"/>
                <a:gd name="connsiteY288" fmla="*/ 23026 h 1333436"/>
                <a:gd name="connsiteX289" fmla="*/ 267976 w 752994"/>
                <a:gd name="connsiteY289" fmla="*/ 22618 h 1333436"/>
                <a:gd name="connsiteX290" fmla="*/ 270427 w 752994"/>
                <a:gd name="connsiteY290" fmla="*/ 20787 h 1333436"/>
                <a:gd name="connsiteX291" fmla="*/ 263088 w 752994"/>
                <a:gd name="connsiteY291" fmla="*/ 13652 h 1333436"/>
                <a:gd name="connsiteX292" fmla="*/ 255541 w 752994"/>
                <a:gd name="connsiteY292" fmla="*/ 3055 h 1333436"/>
                <a:gd name="connsiteX293" fmla="*/ 256358 w 752994"/>
                <a:gd name="connsiteY293" fmla="*/ 1224 h 1333436"/>
                <a:gd name="connsiteX294" fmla="*/ 257159 w 752994"/>
                <a:gd name="connsiteY294" fmla="*/ 0 h 1333436"/>
                <a:gd name="connsiteX0" fmla="*/ 257159 w 752994"/>
                <a:gd name="connsiteY0" fmla="*/ 0 h 1333436"/>
                <a:gd name="connsiteX1" fmla="*/ 493147 w 752994"/>
                <a:gd name="connsiteY1" fmla="*/ 73157 h 1333436"/>
                <a:gd name="connsiteX2" fmla="*/ 492970 w 752994"/>
                <a:gd name="connsiteY2" fmla="*/ 73792 h 1333436"/>
                <a:gd name="connsiteX3" fmla="*/ 525816 w 752994"/>
                <a:gd name="connsiteY3" fmla="*/ 82491 h 1333436"/>
                <a:gd name="connsiteX4" fmla="*/ 520098 w 752994"/>
                <a:gd name="connsiteY4" fmla="*/ 111245 h 1333436"/>
                <a:gd name="connsiteX5" fmla="*/ 512552 w 752994"/>
                <a:gd name="connsiteY5" fmla="*/ 143854 h 1333436"/>
                <a:gd name="connsiteX6" fmla="*/ 517849 w 752994"/>
                <a:gd name="connsiteY6" fmla="*/ 157740 h 1333436"/>
                <a:gd name="connsiteX7" fmla="*/ 523160 w 752994"/>
                <a:gd name="connsiteY7" fmla="*/ 172009 h 1333436"/>
                <a:gd name="connsiteX8" fmla="*/ 521535 w 752994"/>
                <a:gd name="connsiteY8" fmla="*/ 178928 h 1333436"/>
                <a:gd name="connsiteX9" fmla="*/ 520098 w 752994"/>
                <a:gd name="connsiteY9" fmla="*/ 186279 h 1333436"/>
                <a:gd name="connsiteX10" fmla="*/ 526019 w 752994"/>
                <a:gd name="connsiteY10" fmla="*/ 193629 h 1333436"/>
                <a:gd name="connsiteX11" fmla="*/ 537251 w 752994"/>
                <a:gd name="connsiteY11" fmla="*/ 206270 h 1333436"/>
                <a:gd name="connsiteX12" fmla="*/ 542765 w 752994"/>
                <a:gd name="connsiteY12" fmla="*/ 217475 h 1333436"/>
                <a:gd name="connsiteX13" fmla="*/ 546857 w 752994"/>
                <a:gd name="connsiteY13" fmla="*/ 230930 h 1333436"/>
                <a:gd name="connsiteX14" fmla="*/ 549499 w 752994"/>
                <a:gd name="connsiteY14" fmla="*/ 235622 h 1333436"/>
                <a:gd name="connsiteX15" fmla="*/ 553388 w 752994"/>
                <a:gd name="connsiteY15" fmla="*/ 240722 h 1333436"/>
                <a:gd name="connsiteX16" fmla="*/ 557465 w 752994"/>
                <a:gd name="connsiteY16" fmla="*/ 246037 h 1333436"/>
                <a:gd name="connsiteX17" fmla="*/ 561761 w 752994"/>
                <a:gd name="connsiteY17" fmla="*/ 248671 h 1333436"/>
                <a:gd name="connsiteX18" fmla="*/ 567478 w 752994"/>
                <a:gd name="connsiteY18" fmla="*/ 247665 h 1333436"/>
                <a:gd name="connsiteX19" fmla="*/ 569931 w 752994"/>
                <a:gd name="connsiteY19" fmla="*/ 249293 h 1333436"/>
                <a:gd name="connsiteX20" fmla="*/ 570540 w 752994"/>
                <a:gd name="connsiteY20" fmla="*/ 251951 h 1333436"/>
                <a:gd name="connsiteX21" fmla="*/ 561964 w 752994"/>
                <a:gd name="connsiteY21" fmla="*/ 267656 h 1333436"/>
                <a:gd name="connsiteX22" fmla="*/ 553591 w 752994"/>
                <a:gd name="connsiteY22" fmla="*/ 289659 h 1333436"/>
                <a:gd name="connsiteX23" fmla="*/ 554810 w 752994"/>
                <a:gd name="connsiteY23" fmla="*/ 292939 h 1333436"/>
                <a:gd name="connsiteX24" fmla="*/ 556246 w 752994"/>
                <a:gd name="connsiteY24" fmla="*/ 299260 h 1333436"/>
                <a:gd name="connsiteX25" fmla="*/ 552778 w 752994"/>
                <a:gd name="connsiteY25" fmla="*/ 301917 h 1333436"/>
                <a:gd name="connsiteX26" fmla="*/ 549295 w 752994"/>
                <a:gd name="connsiteY26" fmla="*/ 306993 h 1333436"/>
                <a:gd name="connsiteX27" fmla="*/ 547061 w 752994"/>
                <a:gd name="connsiteY27" fmla="*/ 313122 h 1333436"/>
                <a:gd name="connsiteX28" fmla="*/ 544811 w 752994"/>
                <a:gd name="connsiteY28" fmla="*/ 316593 h 1333436"/>
                <a:gd name="connsiteX29" fmla="*/ 549919 w 752994"/>
                <a:gd name="connsiteY29" fmla="*/ 322698 h 1333436"/>
                <a:gd name="connsiteX30" fmla="*/ 553184 w 752994"/>
                <a:gd name="connsiteY30" fmla="*/ 325955 h 1333436"/>
                <a:gd name="connsiteX31" fmla="*/ 555840 w 752994"/>
                <a:gd name="connsiteY31" fmla="*/ 328205 h 1333436"/>
                <a:gd name="connsiteX32" fmla="*/ 574212 w 752994"/>
                <a:gd name="connsiteY32" fmla="*/ 318820 h 1333436"/>
                <a:gd name="connsiteX33" fmla="*/ 579523 w 752994"/>
                <a:gd name="connsiteY33" fmla="*/ 326577 h 1333436"/>
                <a:gd name="connsiteX34" fmla="*/ 580539 w 752994"/>
                <a:gd name="connsiteY34" fmla="*/ 334933 h 1333436"/>
                <a:gd name="connsiteX35" fmla="*/ 579726 w 752994"/>
                <a:gd name="connsiteY35" fmla="*/ 343097 h 1333436"/>
                <a:gd name="connsiteX36" fmla="*/ 581366 w 752994"/>
                <a:gd name="connsiteY36" fmla="*/ 350231 h 1333436"/>
                <a:gd name="connsiteX37" fmla="*/ 586256 w 752994"/>
                <a:gd name="connsiteY37" fmla="*/ 355930 h 1333436"/>
                <a:gd name="connsiteX38" fmla="*/ 589536 w 752994"/>
                <a:gd name="connsiteY38" fmla="*/ 362059 h 1333436"/>
                <a:gd name="connsiteX39" fmla="*/ 588099 w 752994"/>
                <a:gd name="connsiteY39" fmla="*/ 369600 h 1333436"/>
                <a:gd name="connsiteX40" fmla="*/ 586459 w 752994"/>
                <a:gd name="connsiteY40" fmla="*/ 377357 h 1333436"/>
                <a:gd name="connsiteX41" fmla="*/ 588709 w 752994"/>
                <a:gd name="connsiteY41" fmla="*/ 381835 h 1333436"/>
                <a:gd name="connsiteX42" fmla="*/ 595036 w 752994"/>
                <a:gd name="connsiteY42" fmla="*/ 382457 h 1333436"/>
                <a:gd name="connsiteX43" fmla="*/ 599331 w 752994"/>
                <a:gd name="connsiteY43" fmla="*/ 385306 h 1333436"/>
                <a:gd name="connsiteX44" fmla="*/ 601987 w 752994"/>
                <a:gd name="connsiteY44" fmla="*/ 391004 h 1333436"/>
                <a:gd name="connsiteX45" fmla="*/ 602799 w 752994"/>
                <a:gd name="connsiteY45" fmla="*/ 404076 h 1333436"/>
                <a:gd name="connsiteX46" fmla="*/ 606892 w 752994"/>
                <a:gd name="connsiteY46" fmla="*/ 415688 h 1333436"/>
                <a:gd name="connsiteX47" fmla="*/ 610563 w 752994"/>
                <a:gd name="connsiteY47" fmla="*/ 412217 h 1333436"/>
                <a:gd name="connsiteX48" fmla="*/ 617920 w 752994"/>
                <a:gd name="connsiteY48" fmla="*/ 408769 h 1333436"/>
                <a:gd name="connsiteX49" fmla="*/ 624654 w 752994"/>
                <a:gd name="connsiteY49" fmla="*/ 411211 h 1333436"/>
                <a:gd name="connsiteX50" fmla="*/ 634652 w 752994"/>
                <a:gd name="connsiteY50" fmla="*/ 410182 h 1333436"/>
                <a:gd name="connsiteX51" fmla="*/ 640573 w 752994"/>
                <a:gd name="connsiteY51" fmla="*/ 407739 h 1333436"/>
                <a:gd name="connsiteX52" fmla="*/ 646711 w 752994"/>
                <a:gd name="connsiteY52" fmla="*/ 410589 h 1333436"/>
                <a:gd name="connsiteX53" fmla="*/ 650383 w 752994"/>
                <a:gd name="connsiteY53" fmla="*/ 410589 h 1333436"/>
                <a:gd name="connsiteX54" fmla="*/ 654257 w 752994"/>
                <a:gd name="connsiteY54" fmla="*/ 411618 h 1333436"/>
                <a:gd name="connsiteX55" fmla="*/ 656913 w 752994"/>
                <a:gd name="connsiteY55" fmla="*/ 413653 h 1333436"/>
                <a:gd name="connsiteX56" fmla="*/ 660802 w 752994"/>
                <a:gd name="connsiteY56" fmla="*/ 415090 h 1333436"/>
                <a:gd name="connsiteX57" fmla="*/ 669581 w 752994"/>
                <a:gd name="connsiteY57" fmla="*/ 415904 h 1333436"/>
                <a:gd name="connsiteX58" fmla="*/ 672237 w 752994"/>
                <a:gd name="connsiteY58" fmla="*/ 415688 h 1333436"/>
                <a:gd name="connsiteX59" fmla="*/ 675705 w 752994"/>
                <a:gd name="connsiteY59" fmla="*/ 409367 h 1333436"/>
                <a:gd name="connsiteX60" fmla="*/ 679986 w 752994"/>
                <a:gd name="connsiteY60" fmla="*/ 403238 h 1333436"/>
                <a:gd name="connsiteX61" fmla="*/ 693264 w 752994"/>
                <a:gd name="connsiteY61" fmla="*/ 419567 h 1333436"/>
                <a:gd name="connsiteX62" fmla="*/ 688563 w 752994"/>
                <a:gd name="connsiteY62" fmla="*/ 448321 h 1333436"/>
                <a:gd name="connsiteX63" fmla="*/ 663949 w 752994"/>
                <a:gd name="connsiteY63" fmla="*/ 590165 h 1333436"/>
                <a:gd name="connsiteX64" fmla="*/ 666304 w 752994"/>
                <a:gd name="connsiteY64" fmla="*/ 590504 h 1333436"/>
                <a:gd name="connsiteX65" fmla="*/ 655288 w 752994"/>
                <a:gd name="connsiteY65" fmla="*/ 656178 h 1333436"/>
                <a:gd name="connsiteX66" fmla="*/ 681808 w 752994"/>
                <a:gd name="connsiteY66" fmla="*/ 662301 h 1333436"/>
                <a:gd name="connsiteX67" fmla="*/ 752994 w 752994"/>
                <a:gd name="connsiteY67" fmla="*/ 675560 h 1333436"/>
                <a:gd name="connsiteX68" fmla="*/ 714651 w 752994"/>
                <a:gd name="connsiteY68" fmla="*/ 946985 h 1333436"/>
                <a:gd name="connsiteX69" fmla="*/ 654533 w 752994"/>
                <a:gd name="connsiteY69" fmla="*/ 1333436 h 1333436"/>
                <a:gd name="connsiteX70" fmla="*/ 546831 w 752994"/>
                <a:gd name="connsiteY70" fmla="*/ 1317126 h 1333436"/>
                <a:gd name="connsiteX71" fmla="*/ 351227 w 752994"/>
                <a:gd name="connsiteY71" fmla="*/ 1194172 h 1333436"/>
                <a:gd name="connsiteX72" fmla="*/ 361011 w 752994"/>
                <a:gd name="connsiteY72" fmla="*/ 1182755 h 1333436"/>
                <a:gd name="connsiteX73" fmla="*/ 368981 w 752994"/>
                <a:gd name="connsiteY73" fmla="*/ 1182130 h 1333436"/>
                <a:gd name="connsiteX74" fmla="*/ 369571 w 752994"/>
                <a:gd name="connsiteY74" fmla="*/ 1181558 h 1333436"/>
                <a:gd name="connsiteX75" fmla="*/ 362372 w 752994"/>
                <a:gd name="connsiteY75" fmla="*/ 1182120 h 1333436"/>
                <a:gd name="connsiteX76" fmla="*/ 229464 w 752994"/>
                <a:gd name="connsiteY76" fmla="*/ 1161721 h 1333436"/>
                <a:gd name="connsiteX77" fmla="*/ 227427 w 752994"/>
                <a:gd name="connsiteY77" fmla="*/ 1157269 h 1333436"/>
                <a:gd name="connsiteX78" fmla="*/ 224967 w 752994"/>
                <a:gd name="connsiteY78" fmla="*/ 1152575 h 1333436"/>
                <a:gd name="connsiteX79" fmla="*/ 225582 w 752994"/>
                <a:gd name="connsiteY79" fmla="*/ 1144808 h 1333436"/>
                <a:gd name="connsiteX80" fmla="*/ 227215 w 752994"/>
                <a:gd name="connsiteY80" fmla="*/ 1135834 h 1333436"/>
                <a:gd name="connsiteX81" fmla="*/ 227215 w 752994"/>
                <a:gd name="connsiteY81" fmla="*/ 1134212 h 1333436"/>
                <a:gd name="connsiteX82" fmla="*/ 225179 w 752994"/>
                <a:gd name="connsiteY82" fmla="*/ 1114020 h 1333436"/>
                <a:gd name="connsiteX83" fmla="*/ 217839 w 752994"/>
                <a:gd name="connsiteY83" fmla="*/ 1100352 h 1333436"/>
                <a:gd name="connsiteX84" fmla="*/ 199661 w 752994"/>
                <a:gd name="connsiteY84" fmla="*/ 1076502 h 1333436"/>
                <a:gd name="connsiteX85" fmla="*/ 196395 w 752994"/>
                <a:gd name="connsiteY85" fmla="*/ 1071807 h 1333436"/>
                <a:gd name="connsiteX86" fmla="*/ 190880 w 752994"/>
                <a:gd name="connsiteY86" fmla="*/ 1067527 h 1333436"/>
                <a:gd name="connsiteX87" fmla="*/ 187210 w 752994"/>
                <a:gd name="connsiteY87" fmla="*/ 1068735 h 1333436"/>
                <a:gd name="connsiteX88" fmla="*/ 180062 w 752994"/>
                <a:gd name="connsiteY88" fmla="*/ 1066699 h 1333436"/>
                <a:gd name="connsiteX89" fmla="*/ 180466 w 752994"/>
                <a:gd name="connsiteY89" fmla="*/ 1053031 h 1333436"/>
                <a:gd name="connsiteX90" fmla="*/ 180062 w 752994"/>
                <a:gd name="connsiteY90" fmla="*/ 1045299 h 1333436"/>
                <a:gd name="connsiteX91" fmla="*/ 174144 w 752994"/>
                <a:gd name="connsiteY91" fmla="*/ 1044057 h 1333436"/>
                <a:gd name="connsiteX92" fmla="*/ 158426 w 752994"/>
                <a:gd name="connsiteY92" fmla="*/ 1042641 h 1333436"/>
                <a:gd name="connsiteX93" fmla="*/ 149857 w 752994"/>
                <a:gd name="connsiteY93" fmla="*/ 1035497 h 1333436"/>
                <a:gd name="connsiteX94" fmla="*/ 142497 w 752994"/>
                <a:gd name="connsiteY94" fmla="*/ 1028766 h 1333436"/>
                <a:gd name="connsiteX95" fmla="*/ 140864 w 752994"/>
                <a:gd name="connsiteY95" fmla="*/ 1020620 h 1333436"/>
                <a:gd name="connsiteX96" fmla="*/ 138212 w 752994"/>
                <a:gd name="connsiteY96" fmla="*/ 1013061 h 1333436"/>
                <a:gd name="connsiteX97" fmla="*/ 131064 w 752994"/>
                <a:gd name="connsiteY97" fmla="*/ 1007159 h 1333436"/>
                <a:gd name="connsiteX98" fmla="*/ 121264 w 752994"/>
                <a:gd name="connsiteY98" fmla="*/ 1005330 h 1333436"/>
                <a:gd name="connsiteX99" fmla="*/ 112483 w 752994"/>
                <a:gd name="connsiteY99" fmla="*/ 1001671 h 1333436"/>
                <a:gd name="connsiteX100" fmla="*/ 105950 w 752994"/>
                <a:gd name="connsiteY100" fmla="*/ 995734 h 1333436"/>
                <a:gd name="connsiteX101" fmla="*/ 97380 w 752994"/>
                <a:gd name="connsiteY101" fmla="*/ 994526 h 1333436"/>
                <a:gd name="connsiteX102" fmla="*/ 87984 w 752994"/>
                <a:gd name="connsiteY102" fmla="*/ 991040 h 1333436"/>
                <a:gd name="connsiteX103" fmla="*/ 80029 w 752994"/>
                <a:gd name="connsiteY103" fmla="*/ 985138 h 1333436"/>
                <a:gd name="connsiteX104" fmla="*/ 77166 w 752994"/>
                <a:gd name="connsiteY104" fmla="*/ 976164 h 1333436"/>
                <a:gd name="connsiteX105" fmla="*/ 79203 w 752994"/>
                <a:gd name="connsiteY105" fmla="*/ 970676 h 1333436"/>
                <a:gd name="connsiteX106" fmla="*/ 82470 w 752994"/>
                <a:gd name="connsiteY106" fmla="*/ 963117 h 1333436"/>
                <a:gd name="connsiteX107" fmla="*/ 84314 w 752994"/>
                <a:gd name="connsiteY107" fmla="*/ 954557 h 1333436"/>
                <a:gd name="connsiteX108" fmla="*/ 86351 w 752994"/>
                <a:gd name="connsiteY108" fmla="*/ 948033 h 1333436"/>
                <a:gd name="connsiteX109" fmla="*/ 86159 w 752994"/>
                <a:gd name="connsiteY109" fmla="*/ 942925 h 1333436"/>
                <a:gd name="connsiteX110" fmla="*/ 83085 w 752994"/>
                <a:gd name="connsiteY110" fmla="*/ 939853 h 1333436"/>
                <a:gd name="connsiteX111" fmla="*/ 77570 w 752994"/>
                <a:gd name="connsiteY111" fmla="*/ 937437 h 1333436"/>
                <a:gd name="connsiteX112" fmla="*/ 76763 w 752994"/>
                <a:gd name="connsiteY112" fmla="*/ 931915 h 1333436"/>
                <a:gd name="connsiteX113" fmla="*/ 78800 w 752994"/>
                <a:gd name="connsiteY113" fmla="*/ 927013 h 1333436"/>
                <a:gd name="connsiteX114" fmla="*/ 79626 w 752994"/>
                <a:gd name="connsiteY114" fmla="*/ 922526 h 1333436"/>
                <a:gd name="connsiteX115" fmla="*/ 77781 w 752994"/>
                <a:gd name="connsiteY115" fmla="*/ 919903 h 1333436"/>
                <a:gd name="connsiteX116" fmla="*/ 74303 w 752994"/>
                <a:gd name="connsiteY116" fmla="*/ 917418 h 1333436"/>
                <a:gd name="connsiteX117" fmla="*/ 71863 w 752994"/>
                <a:gd name="connsiteY117" fmla="*/ 915174 h 1333436"/>
                <a:gd name="connsiteX118" fmla="*/ 71652 w 752994"/>
                <a:gd name="connsiteY118" fmla="*/ 910894 h 1333436"/>
                <a:gd name="connsiteX119" fmla="*/ 70633 w 752994"/>
                <a:gd name="connsiteY119" fmla="*/ 906614 h 1333436"/>
                <a:gd name="connsiteX120" fmla="*/ 68385 w 752994"/>
                <a:gd name="connsiteY120" fmla="*/ 902749 h 1333436"/>
                <a:gd name="connsiteX121" fmla="*/ 61045 w 752994"/>
                <a:gd name="connsiteY121" fmla="*/ 889494 h 1333436"/>
                <a:gd name="connsiteX122" fmla="*/ 57971 w 752994"/>
                <a:gd name="connsiteY122" fmla="*/ 875619 h 1333436"/>
                <a:gd name="connsiteX123" fmla="*/ 52264 w 752994"/>
                <a:gd name="connsiteY123" fmla="*/ 862572 h 1333436"/>
                <a:gd name="connsiteX124" fmla="*/ 44309 w 752994"/>
                <a:gd name="connsiteY124" fmla="*/ 850561 h 1333436"/>
                <a:gd name="connsiteX125" fmla="*/ 45520 w 752994"/>
                <a:gd name="connsiteY125" fmla="*/ 827090 h 1333436"/>
                <a:gd name="connsiteX126" fmla="*/ 53071 w 752994"/>
                <a:gd name="connsiteY126" fmla="*/ 822396 h 1333436"/>
                <a:gd name="connsiteX127" fmla="*/ 57375 w 752994"/>
                <a:gd name="connsiteY127" fmla="*/ 816493 h 1333436"/>
                <a:gd name="connsiteX128" fmla="*/ 55319 w 752994"/>
                <a:gd name="connsiteY128" fmla="*/ 801617 h 1333436"/>
                <a:gd name="connsiteX129" fmla="*/ 48383 w 752994"/>
                <a:gd name="connsiteY129" fmla="*/ 802204 h 1333436"/>
                <a:gd name="connsiteX130" fmla="*/ 40428 w 752994"/>
                <a:gd name="connsiteY130" fmla="*/ 797924 h 1333436"/>
                <a:gd name="connsiteX131" fmla="*/ 37565 w 752994"/>
                <a:gd name="connsiteY131" fmla="*/ 790606 h 1333436"/>
                <a:gd name="connsiteX132" fmla="*/ 37565 w 752994"/>
                <a:gd name="connsiteY132" fmla="*/ 790399 h 1333436"/>
                <a:gd name="connsiteX133" fmla="*/ 35931 w 752994"/>
                <a:gd name="connsiteY133" fmla="*/ 785912 h 1333436"/>
                <a:gd name="connsiteX134" fmla="*/ 34510 w 752994"/>
                <a:gd name="connsiteY134" fmla="*/ 780597 h 1333436"/>
                <a:gd name="connsiteX135" fmla="*/ 36335 w 752994"/>
                <a:gd name="connsiteY135" fmla="*/ 774280 h 1333436"/>
                <a:gd name="connsiteX136" fmla="*/ 38180 w 752994"/>
                <a:gd name="connsiteY136" fmla="*/ 766721 h 1333436"/>
                <a:gd name="connsiteX137" fmla="*/ 37161 w 752994"/>
                <a:gd name="connsiteY137" fmla="*/ 760405 h 1333436"/>
                <a:gd name="connsiteX138" fmla="*/ 35720 w 752994"/>
                <a:gd name="connsiteY138" fmla="*/ 754710 h 1333436"/>
                <a:gd name="connsiteX139" fmla="*/ 36546 w 752994"/>
                <a:gd name="connsiteY139" fmla="*/ 748773 h 1333436"/>
                <a:gd name="connsiteX140" fmla="*/ 38372 w 752994"/>
                <a:gd name="connsiteY140" fmla="*/ 744528 h 1333436"/>
                <a:gd name="connsiteX141" fmla="*/ 41638 w 752994"/>
                <a:gd name="connsiteY141" fmla="*/ 744321 h 1333436"/>
                <a:gd name="connsiteX142" fmla="*/ 44713 w 752994"/>
                <a:gd name="connsiteY142" fmla="*/ 746357 h 1333436"/>
                <a:gd name="connsiteX143" fmla="*/ 47364 w 752994"/>
                <a:gd name="connsiteY143" fmla="*/ 753260 h 1333436"/>
                <a:gd name="connsiteX144" fmla="*/ 55742 w 752994"/>
                <a:gd name="connsiteY144" fmla="*/ 764305 h 1333436"/>
                <a:gd name="connsiteX145" fmla="*/ 56338 w 752994"/>
                <a:gd name="connsiteY145" fmla="*/ 761233 h 1333436"/>
                <a:gd name="connsiteX146" fmla="*/ 56145 w 752994"/>
                <a:gd name="connsiteY146" fmla="*/ 757368 h 1333436"/>
                <a:gd name="connsiteX147" fmla="*/ 54916 w 752994"/>
                <a:gd name="connsiteY147" fmla="*/ 748601 h 1333436"/>
                <a:gd name="connsiteX148" fmla="*/ 52879 w 752994"/>
                <a:gd name="connsiteY148" fmla="*/ 747358 h 1333436"/>
                <a:gd name="connsiteX149" fmla="*/ 51649 w 752994"/>
                <a:gd name="connsiteY149" fmla="*/ 745322 h 1333436"/>
                <a:gd name="connsiteX150" fmla="*/ 51649 w 752994"/>
                <a:gd name="connsiteY150" fmla="*/ 739212 h 1333436"/>
                <a:gd name="connsiteX151" fmla="*/ 50227 w 752994"/>
                <a:gd name="connsiteY151" fmla="*/ 734725 h 1333436"/>
                <a:gd name="connsiteX152" fmla="*/ 48786 w 752994"/>
                <a:gd name="connsiteY152" fmla="*/ 731446 h 1333436"/>
                <a:gd name="connsiteX153" fmla="*/ 54512 w 752994"/>
                <a:gd name="connsiteY153" fmla="*/ 726372 h 1333436"/>
                <a:gd name="connsiteX154" fmla="*/ 59815 w 752994"/>
                <a:gd name="connsiteY154" fmla="*/ 725130 h 1333436"/>
                <a:gd name="connsiteX155" fmla="*/ 58182 w 752994"/>
                <a:gd name="connsiteY155" fmla="*/ 722886 h 1333436"/>
                <a:gd name="connsiteX156" fmla="*/ 51861 w 752994"/>
                <a:gd name="connsiteY156" fmla="*/ 717985 h 1333436"/>
                <a:gd name="connsiteX157" fmla="*/ 46749 w 752994"/>
                <a:gd name="connsiteY157" fmla="*/ 729617 h 1333436"/>
                <a:gd name="connsiteX158" fmla="*/ 40831 w 752994"/>
                <a:gd name="connsiteY158" fmla="*/ 739212 h 1333436"/>
                <a:gd name="connsiteX159" fmla="*/ 39601 w 752994"/>
                <a:gd name="connsiteY159" fmla="*/ 738798 h 1333436"/>
                <a:gd name="connsiteX160" fmla="*/ 39409 w 752994"/>
                <a:gd name="connsiteY160" fmla="*/ 738591 h 1333436"/>
                <a:gd name="connsiteX161" fmla="*/ 37161 w 752994"/>
                <a:gd name="connsiteY161" fmla="*/ 734725 h 1333436"/>
                <a:gd name="connsiteX162" fmla="*/ 32665 w 752994"/>
                <a:gd name="connsiteY162" fmla="*/ 727788 h 1333436"/>
                <a:gd name="connsiteX163" fmla="*/ 26747 w 752994"/>
                <a:gd name="connsiteY163" fmla="*/ 719435 h 1333436"/>
                <a:gd name="connsiteX164" fmla="*/ 23884 w 752994"/>
                <a:gd name="connsiteY164" fmla="*/ 717812 h 1333436"/>
                <a:gd name="connsiteX165" fmla="*/ 24710 w 752994"/>
                <a:gd name="connsiteY165" fmla="*/ 709632 h 1333436"/>
                <a:gd name="connsiteX166" fmla="*/ 27554 w 752994"/>
                <a:gd name="connsiteY166" fmla="*/ 701694 h 1333436"/>
                <a:gd name="connsiteX167" fmla="*/ 24902 w 752994"/>
                <a:gd name="connsiteY167" fmla="*/ 696171 h 1333436"/>
                <a:gd name="connsiteX168" fmla="*/ 24095 w 752994"/>
                <a:gd name="connsiteY168" fmla="*/ 687818 h 1333436"/>
                <a:gd name="connsiteX169" fmla="*/ 22462 w 752994"/>
                <a:gd name="connsiteY169" fmla="*/ 682330 h 1333436"/>
                <a:gd name="connsiteX170" fmla="*/ 17159 w 752994"/>
                <a:gd name="connsiteY170" fmla="*/ 677636 h 1333436"/>
                <a:gd name="connsiteX171" fmla="*/ 14296 w 752994"/>
                <a:gd name="connsiteY171" fmla="*/ 671492 h 1333436"/>
                <a:gd name="connsiteX172" fmla="*/ 12451 w 752994"/>
                <a:gd name="connsiteY172" fmla="*/ 665797 h 1333436"/>
                <a:gd name="connsiteX173" fmla="*/ 5111 w 752994"/>
                <a:gd name="connsiteY173" fmla="*/ 654994 h 1333436"/>
                <a:gd name="connsiteX174" fmla="*/ 2248 w 752994"/>
                <a:gd name="connsiteY174" fmla="*/ 645605 h 1333436"/>
                <a:gd name="connsiteX175" fmla="*/ 4496 w 752994"/>
                <a:gd name="connsiteY175" fmla="*/ 640497 h 1333436"/>
                <a:gd name="connsiteX176" fmla="*/ 6744 w 752994"/>
                <a:gd name="connsiteY176" fmla="*/ 632765 h 1333436"/>
                <a:gd name="connsiteX177" fmla="*/ 6744 w 752994"/>
                <a:gd name="connsiteY177" fmla="*/ 628485 h 1333436"/>
                <a:gd name="connsiteX178" fmla="*/ 6533 w 752994"/>
                <a:gd name="connsiteY178" fmla="*/ 620305 h 1333436"/>
                <a:gd name="connsiteX179" fmla="*/ 7359 w 752994"/>
                <a:gd name="connsiteY179" fmla="*/ 611745 h 1333436"/>
                <a:gd name="connsiteX180" fmla="*/ 11836 w 752994"/>
                <a:gd name="connsiteY180" fmla="*/ 602978 h 1333436"/>
                <a:gd name="connsiteX181" fmla="*/ 15103 w 752994"/>
                <a:gd name="connsiteY181" fmla="*/ 591760 h 1333436"/>
                <a:gd name="connsiteX182" fmla="*/ 14488 w 752994"/>
                <a:gd name="connsiteY182" fmla="*/ 584029 h 1333436"/>
                <a:gd name="connsiteX183" fmla="*/ 13873 w 752994"/>
                <a:gd name="connsiteY183" fmla="*/ 578299 h 1333436"/>
                <a:gd name="connsiteX184" fmla="*/ 10626 w 752994"/>
                <a:gd name="connsiteY184" fmla="*/ 568531 h 1333436"/>
                <a:gd name="connsiteX185" fmla="*/ 3670 w 752994"/>
                <a:gd name="connsiteY185" fmla="*/ 558107 h 1333436"/>
                <a:gd name="connsiteX186" fmla="*/ 0 w 752994"/>
                <a:gd name="connsiteY186" fmla="*/ 551377 h 1333436"/>
                <a:gd name="connsiteX187" fmla="*/ 0 w 752994"/>
                <a:gd name="connsiteY187" fmla="*/ 550997 h 1333436"/>
                <a:gd name="connsiteX188" fmla="*/ 4900 w 752994"/>
                <a:gd name="connsiteY188" fmla="*/ 531220 h 1333436"/>
                <a:gd name="connsiteX189" fmla="*/ 13873 w 752994"/>
                <a:gd name="connsiteY189" fmla="*/ 520589 h 1333436"/>
                <a:gd name="connsiteX190" fmla="*/ 18369 w 752994"/>
                <a:gd name="connsiteY190" fmla="*/ 516516 h 1333436"/>
                <a:gd name="connsiteX191" fmla="*/ 18773 w 752994"/>
                <a:gd name="connsiteY191" fmla="*/ 514272 h 1333436"/>
                <a:gd name="connsiteX192" fmla="*/ 23077 w 752994"/>
                <a:gd name="connsiteY192" fmla="*/ 506127 h 1333436"/>
                <a:gd name="connsiteX193" fmla="*/ 23884 w 752994"/>
                <a:gd name="connsiteY193" fmla="*/ 502261 h 1333436"/>
                <a:gd name="connsiteX194" fmla="*/ 23692 w 752994"/>
                <a:gd name="connsiteY194" fmla="*/ 496738 h 1333436"/>
                <a:gd name="connsiteX195" fmla="*/ 30013 w 752994"/>
                <a:gd name="connsiteY195" fmla="*/ 486556 h 1333436"/>
                <a:gd name="connsiteX196" fmla="*/ 36546 w 752994"/>
                <a:gd name="connsiteY196" fmla="*/ 470230 h 1333436"/>
                <a:gd name="connsiteX197" fmla="*/ 36546 w 752994"/>
                <a:gd name="connsiteY197" fmla="*/ 462671 h 1333436"/>
                <a:gd name="connsiteX198" fmla="*/ 36335 w 752994"/>
                <a:gd name="connsiteY198" fmla="*/ 461670 h 1333436"/>
                <a:gd name="connsiteX199" fmla="*/ 35931 w 752994"/>
                <a:gd name="connsiteY199" fmla="*/ 453110 h 1333436"/>
                <a:gd name="connsiteX200" fmla="*/ 38583 w 752994"/>
                <a:gd name="connsiteY200" fmla="*/ 442514 h 1333436"/>
                <a:gd name="connsiteX201" fmla="*/ 41043 w 752994"/>
                <a:gd name="connsiteY201" fmla="*/ 436991 h 1333436"/>
                <a:gd name="connsiteX202" fmla="*/ 41650 w 752994"/>
                <a:gd name="connsiteY202" fmla="*/ 437186 h 1333436"/>
                <a:gd name="connsiteX203" fmla="*/ 41239 w 752994"/>
                <a:gd name="connsiteY203" fmla="*/ 436549 h 1333436"/>
                <a:gd name="connsiteX204" fmla="*/ 37778 w 752994"/>
                <a:gd name="connsiteY204" fmla="*/ 433894 h 1333436"/>
                <a:gd name="connsiteX205" fmla="*/ 37169 w 752994"/>
                <a:gd name="connsiteY205" fmla="*/ 432261 h 1333436"/>
                <a:gd name="connsiteX206" fmla="*/ 37365 w 752994"/>
                <a:gd name="connsiteY206" fmla="*/ 429198 h 1333436"/>
                <a:gd name="connsiteX207" fmla="*/ 36756 w 752994"/>
                <a:gd name="connsiteY207" fmla="*/ 422272 h 1333436"/>
                <a:gd name="connsiteX208" fmla="*/ 36952 w 752994"/>
                <a:gd name="connsiteY208" fmla="*/ 418800 h 1333436"/>
                <a:gd name="connsiteX209" fmla="*/ 36756 w 752994"/>
                <a:gd name="connsiteY209" fmla="*/ 412487 h 1333436"/>
                <a:gd name="connsiteX210" fmla="*/ 40433 w 752994"/>
                <a:gd name="connsiteY210" fmla="*/ 406174 h 1333436"/>
                <a:gd name="connsiteX211" fmla="*/ 44720 w 752994"/>
                <a:gd name="connsiteY211" fmla="*/ 399435 h 1333436"/>
                <a:gd name="connsiteX212" fmla="*/ 44110 w 752994"/>
                <a:gd name="connsiteY212" fmla="*/ 389651 h 1333436"/>
                <a:gd name="connsiteX213" fmla="*/ 43894 w 752994"/>
                <a:gd name="connsiteY213" fmla="*/ 378437 h 1333436"/>
                <a:gd name="connsiteX214" fmla="*/ 47158 w 752994"/>
                <a:gd name="connsiteY214" fmla="*/ 371102 h 1333436"/>
                <a:gd name="connsiteX215" fmla="*/ 55731 w 752994"/>
                <a:gd name="connsiteY215" fmla="*/ 360909 h 1333436"/>
                <a:gd name="connsiteX216" fmla="*/ 57580 w 752994"/>
                <a:gd name="connsiteY216" fmla="*/ 355804 h 1333436"/>
                <a:gd name="connsiteX217" fmla="*/ 62673 w 752994"/>
                <a:gd name="connsiteY217" fmla="*/ 349695 h 1333436"/>
                <a:gd name="connsiteX218" fmla="*/ 65937 w 752994"/>
                <a:gd name="connsiteY218" fmla="*/ 348470 h 1333436"/>
                <a:gd name="connsiteX219" fmla="*/ 68395 w 752994"/>
                <a:gd name="connsiteY219" fmla="*/ 348674 h 1333436"/>
                <a:gd name="connsiteX220" fmla="*/ 70224 w 752994"/>
                <a:gd name="connsiteY220" fmla="*/ 347449 h 1333436"/>
                <a:gd name="connsiteX221" fmla="*/ 67785 w 752994"/>
                <a:gd name="connsiteY221" fmla="*/ 345203 h 1333436"/>
                <a:gd name="connsiteX222" fmla="*/ 65524 w 752994"/>
                <a:gd name="connsiteY222" fmla="*/ 343178 h 1333436"/>
                <a:gd name="connsiteX223" fmla="*/ 73095 w 752994"/>
                <a:gd name="connsiteY223" fmla="*/ 333376 h 1333436"/>
                <a:gd name="connsiteX224" fmla="*/ 73291 w 752994"/>
                <a:gd name="connsiteY224" fmla="*/ 333376 h 1333436"/>
                <a:gd name="connsiteX225" fmla="*/ 77991 w 752994"/>
                <a:gd name="connsiteY225" fmla="*/ 325838 h 1333436"/>
                <a:gd name="connsiteX226" fmla="*/ 82671 w 752994"/>
                <a:gd name="connsiteY226" fmla="*/ 313619 h 1333436"/>
                <a:gd name="connsiteX227" fmla="*/ 87980 w 752994"/>
                <a:gd name="connsiteY227" fmla="*/ 303018 h 1333436"/>
                <a:gd name="connsiteX228" fmla="*/ 92267 w 752994"/>
                <a:gd name="connsiteY228" fmla="*/ 291191 h 1333436"/>
                <a:gd name="connsiteX229" fmla="*/ 96553 w 752994"/>
                <a:gd name="connsiteY229" fmla="*/ 281202 h 1333436"/>
                <a:gd name="connsiteX230" fmla="*/ 99621 w 752994"/>
                <a:gd name="connsiteY230" fmla="*/ 274481 h 1333436"/>
                <a:gd name="connsiteX231" fmla="*/ 103082 w 752994"/>
                <a:gd name="connsiteY231" fmla="*/ 262450 h 1333436"/>
                <a:gd name="connsiteX232" fmla="*/ 107172 w 752994"/>
                <a:gd name="connsiteY232" fmla="*/ 254299 h 1333436"/>
                <a:gd name="connsiteX233" fmla="*/ 112481 w 752994"/>
                <a:gd name="connsiteY233" fmla="*/ 243697 h 1333436"/>
                <a:gd name="connsiteX234" fmla="*/ 117181 w 752994"/>
                <a:gd name="connsiteY234" fmla="*/ 232279 h 1333436"/>
                <a:gd name="connsiteX235" fmla="*/ 125951 w 752994"/>
                <a:gd name="connsiteY235" fmla="*/ 217389 h 1333436"/>
                <a:gd name="connsiteX236" fmla="*/ 136156 w 752994"/>
                <a:gd name="connsiteY236" fmla="*/ 202925 h 1333436"/>
                <a:gd name="connsiteX237" fmla="*/ 138811 w 752994"/>
                <a:gd name="connsiteY237" fmla="*/ 183339 h 1333436"/>
                <a:gd name="connsiteX238" fmla="*/ 148801 w 752994"/>
                <a:gd name="connsiteY238" fmla="*/ 167445 h 1333436"/>
                <a:gd name="connsiteX239" fmla="*/ 159616 w 752994"/>
                <a:gd name="connsiteY239" fmla="*/ 170712 h 1333436"/>
                <a:gd name="connsiteX240" fmla="*/ 173105 w 752994"/>
                <a:gd name="connsiteY240" fmla="*/ 175188 h 1333436"/>
                <a:gd name="connsiteX241" fmla="*/ 175347 w 752994"/>
                <a:gd name="connsiteY241" fmla="*/ 175188 h 1333436"/>
                <a:gd name="connsiteX242" fmla="*/ 175347 w 752994"/>
                <a:gd name="connsiteY242" fmla="*/ 173758 h 1333436"/>
                <a:gd name="connsiteX243" fmla="*/ 184975 w 752994"/>
                <a:gd name="connsiteY243" fmla="*/ 187393 h 1333436"/>
                <a:gd name="connsiteX244" fmla="*/ 184762 w 752994"/>
                <a:gd name="connsiteY244" fmla="*/ 184637 h 1333436"/>
                <a:gd name="connsiteX245" fmla="*/ 174971 w 752994"/>
                <a:gd name="connsiteY245" fmla="*/ 170774 h 1333436"/>
                <a:gd name="connsiteX246" fmla="*/ 174971 w 752994"/>
                <a:gd name="connsiteY246" fmla="*/ 169550 h 1333436"/>
                <a:gd name="connsiteX247" fmla="*/ 158851 w 752994"/>
                <a:gd name="connsiteY247" fmla="*/ 156924 h 1333436"/>
                <a:gd name="connsiteX248" fmla="*/ 147025 w 752994"/>
                <a:gd name="connsiteY248" fmla="*/ 145709 h 1333436"/>
                <a:gd name="connsiteX249" fmla="*/ 154364 w 752994"/>
                <a:gd name="connsiteY249" fmla="*/ 136335 h 1333436"/>
                <a:gd name="connsiteX250" fmla="*/ 161511 w 752994"/>
                <a:gd name="connsiteY250" fmla="*/ 131042 h 1333436"/>
                <a:gd name="connsiteX251" fmla="*/ 160902 w 752994"/>
                <a:gd name="connsiteY251" fmla="*/ 128384 h 1333436"/>
                <a:gd name="connsiteX252" fmla="*/ 160277 w 752994"/>
                <a:gd name="connsiteY252" fmla="*/ 127778 h 1333436"/>
                <a:gd name="connsiteX253" fmla="*/ 154973 w 752994"/>
                <a:gd name="connsiteY253" fmla="*/ 122077 h 1333436"/>
                <a:gd name="connsiteX254" fmla="*/ 160277 w 752994"/>
                <a:gd name="connsiteY254" fmla="*/ 115140 h 1333436"/>
                <a:gd name="connsiteX255" fmla="*/ 165181 w 752994"/>
                <a:gd name="connsiteY255" fmla="*/ 108215 h 1333436"/>
                <a:gd name="connsiteX256" fmla="*/ 161303 w 752994"/>
                <a:gd name="connsiteY256" fmla="*/ 104146 h 1333436"/>
                <a:gd name="connsiteX257" fmla="*/ 157842 w 752994"/>
                <a:gd name="connsiteY257" fmla="*/ 104542 h 1333436"/>
                <a:gd name="connsiteX258" fmla="*/ 157024 w 752994"/>
                <a:gd name="connsiteY258" fmla="*/ 102304 h 1333436"/>
                <a:gd name="connsiteX259" fmla="*/ 160694 w 752994"/>
                <a:gd name="connsiteY259" fmla="*/ 55437 h 1333436"/>
                <a:gd name="connsiteX260" fmla="*/ 160486 w 752994"/>
                <a:gd name="connsiteY260" fmla="*/ 31991 h 1333436"/>
                <a:gd name="connsiteX261" fmla="*/ 164972 w 752994"/>
                <a:gd name="connsiteY261" fmla="*/ 18141 h 1333436"/>
                <a:gd name="connsiteX262" fmla="*/ 171911 w 752994"/>
                <a:gd name="connsiteY262" fmla="*/ 11204 h 1333436"/>
                <a:gd name="connsiteX263" fmla="*/ 187406 w 752994"/>
                <a:gd name="connsiteY263" fmla="*/ 21801 h 1333436"/>
                <a:gd name="connsiteX264" fmla="*/ 210866 w 752994"/>
                <a:gd name="connsiteY264" fmla="*/ 37086 h 1333436"/>
                <a:gd name="connsiteX265" fmla="*/ 219230 w 752994"/>
                <a:gd name="connsiteY265" fmla="*/ 41166 h 1333436"/>
                <a:gd name="connsiteX266" fmla="*/ 226778 w 752994"/>
                <a:gd name="connsiteY266" fmla="*/ 47486 h 1333436"/>
                <a:gd name="connsiteX267" fmla="*/ 236152 w 752994"/>
                <a:gd name="connsiteY267" fmla="*/ 52370 h 1333436"/>
                <a:gd name="connsiteX268" fmla="*/ 239629 w 752994"/>
                <a:gd name="connsiteY268" fmla="*/ 58491 h 1333436"/>
                <a:gd name="connsiteX269" fmla="*/ 239629 w 752994"/>
                <a:gd name="connsiteY269" fmla="*/ 63376 h 1333436"/>
                <a:gd name="connsiteX270" fmla="*/ 236568 w 752994"/>
                <a:gd name="connsiteY270" fmla="*/ 67457 h 1333436"/>
                <a:gd name="connsiteX271" fmla="*/ 231264 w 752994"/>
                <a:gd name="connsiteY271" fmla="*/ 69905 h 1333436"/>
                <a:gd name="connsiteX272" fmla="*/ 216778 w 752994"/>
                <a:gd name="connsiteY272" fmla="*/ 82741 h 1333436"/>
                <a:gd name="connsiteX273" fmla="*/ 214134 w 752994"/>
                <a:gd name="connsiteY273" fmla="*/ 93536 h 1333436"/>
                <a:gd name="connsiteX274" fmla="*/ 214535 w 752994"/>
                <a:gd name="connsiteY274" fmla="*/ 96801 h 1333436"/>
                <a:gd name="connsiteX275" fmla="*/ 216378 w 752994"/>
                <a:gd name="connsiteY275" fmla="*/ 96801 h 1333436"/>
                <a:gd name="connsiteX276" fmla="*/ 230046 w 752994"/>
                <a:gd name="connsiteY276" fmla="*/ 85387 h 1333436"/>
                <a:gd name="connsiteX277" fmla="*/ 243298 w 752994"/>
                <a:gd name="connsiteY277" fmla="*/ 75198 h 1333436"/>
                <a:gd name="connsiteX278" fmla="*/ 246760 w 752994"/>
                <a:gd name="connsiteY278" fmla="*/ 77646 h 1333436"/>
                <a:gd name="connsiteX279" fmla="*/ 255541 w 752994"/>
                <a:gd name="connsiteY279" fmla="*/ 63376 h 1333436"/>
                <a:gd name="connsiteX280" fmla="*/ 259611 w 752994"/>
                <a:gd name="connsiteY280" fmla="*/ 43405 h 1333436"/>
                <a:gd name="connsiteX281" fmla="*/ 256967 w 752994"/>
                <a:gd name="connsiteY281" fmla="*/ 38520 h 1333436"/>
                <a:gd name="connsiteX282" fmla="*/ 253906 w 752994"/>
                <a:gd name="connsiteY282" fmla="*/ 34242 h 1333436"/>
                <a:gd name="connsiteX283" fmla="*/ 256967 w 752994"/>
                <a:gd name="connsiteY283" fmla="*/ 30161 h 1333436"/>
                <a:gd name="connsiteX284" fmla="*/ 262063 w 752994"/>
                <a:gd name="connsiteY284" fmla="*/ 27712 h 1333436"/>
                <a:gd name="connsiteX285" fmla="*/ 264915 w 752994"/>
                <a:gd name="connsiteY285" fmla="*/ 23026 h 1333436"/>
                <a:gd name="connsiteX286" fmla="*/ 267976 w 752994"/>
                <a:gd name="connsiteY286" fmla="*/ 22618 h 1333436"/>
                <a:gd name="connsiteX287" fmla="*/ 270427 w 752994"/>
                <a:gd name="connsiteY287" fmla="*/ 20787 h 1333436"/>
                <a:gd name="connsiteX288" fmla="*/ 263088 w 752994"/>
                <a:gd name="connsiteY288" fmla="*/ 13652 h 1333436"/>
                <a:gd name="connsiteX289" fmla="*/ 255541 w 752994"/>
                <a:gd name="connsiteY289" fmla="*/ 3055 h 1333436"/>
                <a:gd name="connsiteX290" fmla="*/ 256358 w 752994"/>
                <a:gd name="connsiteY290" fmla="*/ 1224 h 1333436"/>
                <a:gd name="connsiteX291" fmla="*/ 257159 w 752994"/>
                <a:gd name="connsiteY291" fmla="*/ 0 h 1333436"/>
                <a:gd name="connsiteX0" fmla="*/ 257159 w 752994"/>
                <a:gd name="connsiteY0" fmla="*/ 0 h 1333436"/>
                <a:gd name="connsiteX1" fmla="*/ 493147 w 752994"/>
                <a:gd name="connsiteY1" fmla="*/ 73157 h 1333436"/>
                <a:gd name="connsiteX2" fmla="*/ 492970 w 752994"/>
                <a:gd name="connsiteY2" fmla="*/ 73792 h 1333436"/>
                <a:gd name="connsiteX3" fmla="*/ 525816 w 752994"/>
                <a:gd name="connsiteY3" fmla="*/ 82491 h 1333436"/>
                <a:gd name="connsiteX4" fmla="*/ 520098 w 752994"/>
                <a:gd name="connsiteY4" fmla="*/ 111245 h 1333436"/>
                <a:gd name="connsiteX5" fmla="*/ 512552 w 752994"/>
                <a:gd name="connsiteY5" fmla="*/ 143854 h 1333436"/>
                <a:gd name="connsiteX6" fmla="*/ 517849 w 752994"/>
                <a:gd name="connsiteY6" fmla="*/ 157740 h 1333436"/>
                <a:gd name="connsiteX7" fmla="*/ 523160 w 752994"/>
                <a:gd name="connsiteY7" fmla="*/ 172009 h 1333436"/>
                <a:gd name="connsiteX8" fmla="*/ 521535 w 752994"/>
                <a:gd name="connsiteY8" fmla="*/ 178928 h 1333436"/>
                <a:gd name="connsiteX9" fmla="*/ 520098 w 752994"/>
                <a:gd name="connsiteY9" fmla="*/ 186279 h 1333436"/>
                <a:gd name="connsiteX10" fmla="*/ 526019 w 752994"/>
                <a:gd name="connsiteY10" fmla="*/ 193629 h 1333436"/>
                <a:gd name="connsiteX11" fmla="*/ 537251 w 752994"/>
                <a:gd name="connsiteY11" fmla="*/ 206270 h 1333436"/>
                <a:gd name="connsiteX12" fmla="*/ 542765 w 752994"/>
                <a:gd name="connsiteY12" fmla="*/ 217475 h 1333436"/>
                <a:gd name="connsiteX13" fmla="*/ 546857 w 752994"/>
                <a:gd name="connsiteY13" fmla="*/ 230930 h 1333436"/>
                <a:gd name="connsiteX14" fmla="*/ 549499 w 752994"/>
                <a:gd name="connsiteY14" fmla="*/ 235622 h 1333436"/>
                <a:gd name="connsiteX15" fmla="*/ 553388 w 752994"/>
                <a:gd name="connsiteY15" fmla="*/ 240722 h 1333436"/>
                <a:gd name="connsiteX16" fmla="*/ 557465 w 752994"/>
                <a:gd name="connsiteY16" fmla="*/ 246037 h 1333436"/>
                <a:gd name="connsiteX17" fmla="*/ 561761 w 752994"/>
                <a:gd name="connsiteY17" fmla="*/ 248671 h 1333436"/>
                <a:gd name="connsiteX18" fmla="*/ 567478 w 752994"/>
                <a:gd name="connsiteY18" fmla="*/ 247665 h 1333436"/>
                <a:gd name="connsiteX19" fmla="*/ 569931 w 752994"/>
                <a:gd name="connsiteY19" fmla="*/ 249293 h 1333436"/>
                <a:gd name="connsiteX20" fmla="*/ 570540 w 752994"/>
                <a:gd name="connsiteY20" fmla="*/ 251951 h 1333436"/>
                <a:gd name="connsiteX21" fmla="*/ 561964 w 752994"/>
                <a:gd name="connsiteY21" fmla="*/ 267656 h 1333436"/>
                <a:gd name="connsiteX22" fmla="*/ 553591 w 752994"/>
                <a:gd name="connsiteY22" fmla="*/ 289659 h 1333436"/>
                <a:gd name="connsiteX23" fmla="*/ 554810 w 752994"/>
                <a:gd name="connsiteY23" fmla="*/ 292939 h 1333436"/>
                <a:gd name="connsiteX24" fmla="*/ 556246 w 752994"/>
                <a:gd name="connsiteY24" fmla="*/ 299260 h 1333436"/>
                <a:gd name="connsiteX25" fmla="*/ 552778 w 752994"/>
                <a:gd name="connsiteY25" fmla="*/ 301917 h 1333436"/>
                <a:gd name="connsiteX26" fmla="*/ 549295 w 752994"/>
                <a:gd name="connsiteY26" fmla="*/ 306993 h 1333436"/>
                <a:gd name="connsiteX27" fmla="*/ 547061 w 752994"/>
                <a:gd name="connsiteY27" fmla="*/ 313122 h 1333436"/>
                <a:gd name="connsiteX28" fmla="*/ 544811 w 752994"/>
                <a:gd name="connsiteY28" fmla="*/ 316593 h 1333436"/>
                <a:gd name="connsiteX29" fmla="*/ 549919 w 752994"/>
                <a:gd name="connsiteY29" fmla="*/ 322698 h 1333436"/>
                <a:gd name="connsiteX30" fmla="*/ 553184 w 752994"/>
                <a:gd name="connsiteY30" fmla="*/ 325955 h 1333436"/>
                <a:gd name="connsiteX31" fmla="*/ 555840 w 752994"/>
                <a:gd name="connsiteY31" fmla="*/ 328205 h 1333436"/>
                <a:gd name="connsiteX32" fmla="*/ 574212 w 752994"/>
                <a:gd name="connsiteY32" fmla="*/ 318820 h 1333436"/>
                <a:gd name="connsiteX33" fmla="*/ 579523 w 752994"/>
                <a:gd name="connsiteY33" fmla="*/ 326577 h 1333436"/>
                <a:gd name="connsiteX34" fmla="*/ 580539 w 752994"/>
                <a:gd name="connsiteY34" fmla="*/ 334933 h 1333436"/>
                <a:gd name="connsiteX35" fmla="*/ 579726 w 752994"/>
                <a:gd name="connsiteY35" fmla="*/ 343097 h 1333436"/>
                <a:gd name="connsiteX36" fmla="*/ 581366 w 752994"/>
                <a:gd name="connsiteY36" fmla="*/ 350231 h 1333436"/>
                <a:gd name="connsiteX37" fmla="*/ 586256 w 752994"/>
                <a:gd name="connsiteY37" fmla="*/ 355930 h 1333436"/>
                <a:gd name="connsiteX38" fmla="*/ 589536 w 752994"/>
                <a:gd name="connsiteY38" fmla="*/ 362059 h 1333436"/>
                <a:gd name="connsiteX39" fmla="*/ 588099 w 752994"/>
                <a:gd name="connsiteY39" fmla="*/ 369600 h 1333436"/>
                <a:gd name="connsiteX40" fmla="*/ 586459 w 752994"/>
                <a:gd name="connsiteY40" fmla="*/ 377357 h 1333436"/>
                <a:gd name="connsiteX41" fmla="*/ 588709 w 752994"/>
                <a:gd name="connsiteY41" fmla="*/ 381835 h 1333436"/>
                <a:gd name="connsiteX42" fmla="*/ 595036 w 752994"/>
                <a:gd name="connsiteY42" fmla="*/ 382457 h 1333436"/>
                <a:gd name="connsiteX43" fmla="*/ 599331 w 752994"/>
                <a:gd name="connsiteY43" fmla="*/ 385306 h 1333436"/>
                <a:gd name="connsiteX44" fmla="*/ 601987 w 752994"/>
                <a:gd name="connsiteY44" fmla="*/ 391004 h 1333436"/>
                <a:gd name="connsiteX45" fmla="*/ 602799 w 752994"/>
                <a:gd name="connsiteY45" fmla="*/ 404076 h 1333436"/>
                <a:gd name="connsiteX46" fmla="*/ 606892 w 752994"/>
                <a:gd name="connsiteY46" fmla="*/ 415688 h 1333436"/>
                <a:gd name="connsiteX47" fmla="*/ 610563 w 752994"/>
                <a:gd name="connsiteY47" fmla="*/ 412217 h 1333436"/>
                <a:gd name="connsiteX48" fmla="*/ 617920 w 752994"/>
                <a:gd name="connsiteY48" fmla="*/ 408769 h 1333436"/>
                <a:gd name="connsiteX49" fmla="*/ 624654 w 752994"/>
                <a:gd name="connsiteY49" fmla="*/ 411211 h 1333436"/>
                <a:gd name="connsiteX50" fmla="*/ 634652 w 752994"/>
                <a:gd name="connsiteY50" fmla="*/ 410182 h 1333436"/>
                <a:gd name="connsiteX51" fmla="*/ 640573 w 752994"/>
                <a:gd name="connsiteY51" fmla="*/ 407739 h 1333436"/>
                <a:gd name="connsiteX52" fmla="*/ 646711 w 752994"/>
                <a:gd name="connsiteY52" fmla="*/ 410589 h 1333436"/>
                <a:gd name="connsiteX53" fmla="*/ 650383 w 752994"/>
                <a:gd name="connsiteY53" fmla="*/ 410589 h 1333436"/>
                <a:gd name="connsiteX54" fmla="*/ 654257 w 752994"/>
                <a:gd name="connsiteY54" fmla="*/ 411618 h 1333436"/>
                <a:gd name="connsiteX55" fmla="*/ 656913 w 752994"/>
                <a:gd name="connsiteY55" fmla="*/ 413653 h 1333436"/>
                <a:gd name="connsiteX56" fmla="*/ 660802 w 752994"/>
                <a:gd name="connsiteY56" fmla="*/ 415090 h 1333436"/>
                <a:gd name="connsiteX57" fmla="*/ 669581 w 752994"/>
                <a:gd name="connsiteY57" fmla="*/ 415904 h 1333436"/>
                <a:gd name="connsiteX58" fmla="*/ 672237 w 752994"/>
                <a:gd name="connsiteY58" fmla="*/ 415688 h 1333436"/>
                <a:gd name="connsiteX59" fmla="*/ 675705 w 752994"/>
                <a:gd name="connsiteY59" fmla="*/ 409367 h 1333436"/>
                <a:gd name="connsiteX60" fmla="*/ 679986 w 752994"/>
                <a:gd name="connsiteY60" fmla="*/ 403238 h 1333436"/>
                <a:gd name="connsiteX61" fmla="*/ 693264 w 752994"/>
                <a:gd name="connsiteY61" fmla="*/ 419567 h 1333436"/>
                <a:gd name="connsiteX62" fmla="*/ 688563 w 752994"/>
                <a:gd name="connsiteY62" fmla="*/ 448321 h 1333436"/>
                <a:gd name="connsiteX63" fmla="*/ 663949 w 752994"/>
                <a:gd name="connsiteY63" fmla="*/ 590165 h 1333436"/>
                <a:gd name="connsiteX64" fmla="*/ 666304 w 752994"/>
                <a:gd name="connsiteY64" fmla="*/ 590504 h 1333436"/>
                <a:gd name="connsiteX65" fmla="*/ 655288 w 752994"/>
                <a:gd name="connsiteY65" fmla="*/ 656178 h 1333436"/>
                <a:gd name="connsiteX66" fmla="*/ 681808 w 752994"/>
                <a:gd name="connsiteY66" fmla="*/ 662301 h 1333436"/>
                <a:gd name="connsiteX67" fmla="*/ 752994 w 752994"/>
                <a:gd name="connsiteY67" fmla="*/ 675560 h 1333436"/>
                <a:gd name="connsiteX68" fmla="*/ 714651 w 752994"/>
                <a:gd name="connsiteY68" fmla="*/ 946985 h 1333436"/>
                <a:gd name="connsiteX69" fmla="*/ 654533 w 752994"/>
                <a:gd name="connsiteY69" fmla="*/ 1333436 h 1333436"/>
                <a:gd name="connsiteX70" fmla="*/ 546831 w 752994"/>
                <a:gd name="connsiteY70" fmla="*/ 1317126 h 1333436"/>
                <a:gd name="connsiteX71" fmla="*/ 351227 w 752994"/>
                <a:gd name="connsiteY71" fmla="*/ 1194172 h 1333436"/>
                <a:gd name="connsiteX72" fmla="*/ 361011 w 752994"/>
                <a:gd name="connsiteY72" fmla="*/ 1182755 h 1333436"/>
                <a:gd name="connsiteX73" fmla="*/ 368981 w 752994"/>
                <a:gd name="connsiteY73" fmla="*/ 1182130 h 1333436"/>
                <a:gd name="connsiteX74" fmla="*/ 369571 w 752994"/>
                <a:gd name="connsiteY74" fmla="*/ 1181558 h 1333436"/>
                <a:gd name="connsiteX75" fmla="*/ 362372 w 752994"/>
                <a:gd name="connsiteY75" fmla="*/ 1182120 h 1333436"/>
                <a:gd name="connsiteX76" fmla="*/ 229464 w 752994"/>
                <a:gd name="connsiteY76" fmla="*/ 1161721 h 1333436"/>
                <a:gd name="connsiteX77" fmla="*/ 227427 w 752994"/>
                <a:gd name="connsiteY77" fmla="*/ 1157269 h 1333436"/>
                <a:gd name="connsiteX78" fmla="*/ 224967 w 752994"/>
                <a:gd name="connsiteY78" fmla="*/ 1152575 h 1333436"/>
                <a:gd name="connsiteX79" fmla="*/ 225582 w 752994"/>
                <a:gd name="connsiteY79" fmla="*/ 1144808 h 1333436"/>
                <a:gd name="connsiteX80" fmla="*/ 227215 w 752994"/>
                <a:gd name="connsiteY80" fmla="*/ 1135834 h 1333436"/>
                <a:gd name="connsiteX81" fmla="*/ 227215 w 752994"/>
                <a:gd name="connsiteY81" fmla="*/ 1134212 h 1333436"/>
                <a:gd name="connsiteX82" fmla="*/ 225179 w 752994"/>
                <a:gd name="connsiteY82" fmla="*/ 1114020 h 1333436"/>
                <a:gd name="connsiteX83" fmla="*/ 217839 w 752994"/>
                <a:gd name="connsiteY83" fmla="*/ 1100352 h 1333436"/>
                <a:gd name="connsiteX84" fmla="*/ 199661 w 752994"/>
                <a:gd name="connsiteY84" fmla="*/ 1076502 h 1333436"/>
                <a:gd name="connsiteX85" fmla="*/ 196395 w 752994"/>
                <a:gd name="connsiteY85" fmla="*/ 1071807 h 1333436"/>
                <a:gd name="connsiteX86" fmla="*/ 190880 w 752994"/>
                <a:gd name="connsiteY86" fmla="*/ 1067527 h 1333436"/>
                <a:gd name="connsiteX87" fmla="*/ 187210 w 752994"/>
                <a:gd name="connsiteY87" fmla="*/ 1068735 h 1333436"/>
                <a:gd name="connsiteX88" fmla="*/ 180062 w 752994"/>
                <a:gd name="connsiteY88" fmla="*/ 1066699 h 1333436"/>
                <a:gd name="connsiteX89" fmla="*/ 180466 w 752994"/>
                <a:gd name="connsiteY89" fmla="*/ 1053031 h 1333436"/>
                <a:gd name="connsiteX90" fmla="*/ 180062 w 752994"/>
                <a:gd name="connsiteY90" fmla="*/ 1045299 h 1333436"/>
                <a:gd name="connsiteX91" fmla="*/ 174144 w 752994"/>
                <a:gd name="connsiteY91" fmla="*/ 1044057 h 1333436"/>
                <a:gd name="connsiteX92" fmla="*/ 158426 w 752994"/>
                <a:gd name="connsiteY92" fmla="*/ 1042641 h 1333436"/>
                <a:gd name="connsiteX93" fmla="*/ 149857 w 752994"/>
                <a:gd name="connsiteY93" fmla="*/ 1035497 h 1333436"/>
                <a:gd name="connsiteX94" fmla="*/ 142497 w 752994"/>
                <a:gd name="connsiteY94" fmla="*/ 1028766 h 1333436"/>
                <a:gd name="connsiteX95" fmla="*/ 140864 w 752994"/>
                <a:gd name="connsiteY95" fmla="*/ 1020620 h 1333436"/>
                <a:gd name="connsiteX96" fmla="*/ 138212 w 752994"/>
                <a:gd name="connsiteY96" fmla="*/ 1013061 h 1333436"/>
                <a:gd name="connsiteX97" fmla="*/ 131064 w 752994"/>
                <a:gd name="connsiteY97" fmla="*/ 1007159 h 1333436"/>
                <a:gd name="connsiteX98" fmla="*/ 121264 w 752994"/>
                <a:gd name="connsiteY98" fmla="*/ 1005330 h 1333436"/>
                <a:gd name="connsiteX99" fmla="*/ 112483 w 752994"/>
                <a:gd name="connsiteY99" fmla="*/ 1001671 h 1333436"/>
                <a:gd name="connsiteX100" fmla="*/ 105950 w 752994"/>
                <a:gd name="connsiteY100" fmla="*/ 995734 h 1333436"/>
                <a:gd name="connsiteX101" fmla="*/ 97380 w 752994"/>
                <a:gd name="connsiteY101" fmla="*/ 994526 h 1333436"/>
                <a:gd name="connsiteX102" fmla="*/ 87984 w 752994"/>
                <a:gd name="connsiteY102" fmla="*/ 991040 h 1333436"/>
                <a:gd name="connsiteX103" fmla="*/ 80029 w 752994"/>
                <a:gd name="connsiteY103" fmla="*/ 985138 h 1333436"/>
                <a:gd name="connsiteX104" fmla="*/ 77166 w 752994"/>
                <a:gd name="connsiteY104" fmla="*/ 976164 h 1333436"/>
                <a:gd name="connsiteX105" fmla="*/ 79203 w 752994"/>
                <a:gd name="connsiteY105" fmla="*/ 970676 h 1333436"/>
                <a:gd name="connsiteX106" fmla="*/ 82470 w 752994"/>
                <a:gd name="connsiteY106" fmla="*/ 963117 h 1333436"/>
                <a:gd name="connsiteX107" fmla="*/ 84314 w 752994"/>
                <a:gd name="connsiteY107" fmla="*/ 954557 h 1333436"/>
                <a:gd name="connsiteX108" fmla="*/ 86351 w 752994"/>
                <a:gd name="connsiteY108" fmla="*/ 948033 h 1333436"/>
                <a:gd name="connsiteX109" fmla="*/ 86159 w 752994"/>
                <a:gd name="connsiteY109" fmla="*/ 942925 h 1333436"/>
                <a:gd name="connsiteX110" fmla="*/ 83085 w 752994"/>
                <a:gd name="connsiteY110" fmla="*/ 939853 h 1333436"/>
                <a:gd name="connsiteX111" fmla="*/ 77570 w 752994"/>
                <a:gd name="connsiteY111" fmla="*/ 937437 h 1333436"/>
                <a:gd name="connsiteX112" fmla="*/ 76763 w 752994"/>
                <a:gd name="connsiteY112" fmla="*/ 931915 h 1333436"/>
                <a:gd name="connsiteX113" fmla="*/ 78800 w 752994"/>
                <a:gd name="connsiteY113" fmla="*/ 927013 h 1333436"/>
                <a:gd name="connsiteX114" fmla="*/ 79626 w 752994"/>
                <a:gd name="connsiteY114" fmla="*/ 922526 h 1333436"/>
                <a:gd name="connsiteX115" fmla="*/ 77781 w 752994"/>
                <a:gd name="connsiteY115" fmla="*/ 919903 h 1333436"/>
                <a:gd name="connsiteX116" fmla="*/ 74303 w 752994"/>
                <a:gd name="connsiteY116" fmla="*/ 917418 h 1333436"/>
                <a:gd name="connsiteX117" fmla="*/ 71863 w 752994"/>
                <a:gd name="connsiteY117" fmla="*/ 915174 h 1333436"/>
                <a:gd name="connsiteX118" fmla="*/ 71652 w 752994"/>
                <a:gd name="connsiteY118" fmla="*/ 910894 h 1333436"/>
                <a:gd name="connsiteX119" fmla="*/ 70633 w 752994"/>
                <a:gd name="connsiteY119" fmla="*/ 906614 h 1333436"/>
                <a:gd name="connsiteX120" fmla="*/ 68385 w 752994"/>
                <a:gd name="connsiteY120" fmla="*/ 902749 h 1333436"/>
                <a:gd name="connsiteX121" fmla="*/ 61045 w 752994"/>
                <a:gd name="connsiteY121" fmla="*/ 889494 h 1333436"/>
                <a:gd name="connsiteX122" fmla="*/ 57971 w 752994"/>
                <a:gd name="connsiteY122" fmla="*/ 875619 h 1333436"/>
                <a:gd name="connsiteX123" fmla="*/ 52264 w 752994"/>
                <a:gd name="connsiteY123" fmla="*/ 862572 h 1333436"/>
                <a:gd name="connsiteX124" fmla="*/ 44309 w 752994"/>
                <a:gd name="connsiteY124" fmla="*/ 850561 h 1333436"/>
                <a:gd name="connsiteX125" fmla="*/ 45520 w 752994"/>
                <a:gd name="connsiteY125" fmla="*/ 827090 h 1333436"/>
                <a:gd name="connsiteX126" fmla="*/ 53071 w 752994"/>
                <a:gd name="connsiteY126" fmla="*/ 822396 h 1333436"/>
                <a:gd name="connsiteX127" fmla="*/ 57375 w 752994"/>
                <a:gd name="connsiteY127" fmla="*/ 816493 h 1333436"/>
                <a:gd name="connsiteX128" fmla="*/ 55319 w 752994"/>
                <a:gd name="connsiteY128" fmla="*/ 801617 h 1333436"/>
                <a:gd name="connsiteX129" fmla="*/ 48383 w 752994"/>
                <a:gd name="connsiteY129" fmla="*/ 802204 h 1333436"/>
                <a:gd name="connsiteX130" fmla="*/ 40428 w 752994"/>
                <a:gd name="connsiteY130" fmla="*/ 797924 h 1333436"/>
                <a:gd name="connsiteX131" fmla="*/ 37565 w 752994"/>
                <a:gd name="connsiteY131" fmla="*/ 790606 h 1333436"/>
                <a:gd name="connsiteX132" fmla="*/ 37565 w 752994"/>
                <a:gd name="connsiteY132" fmla="*/ 790399 h 1333436"/>
                <a:gd name="connsiteX133" fmla="*/ 35931 w 752994"/>
                <a:gd name="connsiteY133" fmla="*/ 785912 h 1333436"/>
                <a:gd name="connsiteX134" fmla="*/ 34510 w 752994"/>
                <a:gd name="connsiteY134" fmla="*/ 780597 h 1333436"/>
                <a:gd name="connsiteX135" fmla="*/ 36335 w 752994"/>
                <a:gd name="connsiteY135" fmla="*/ 774280 h 1333436"/>
                <a:gd name="connsiteX136" fmla="*/ 38180 w 752994"/>
                <a:gd name="connsiteY136" fmla="*/ 766721 h 1333436"/>
                <a:gd name="connsiteX137" fmla="*/ 37161 w 752994"/>
                <a:gd name="connsiteY137" fmla="*/ 760405 h 1333436"/>
                <a:gd name="connsiteX138" fmla="*/ 35720 w 752994"/>
                <a:gd name="connsiteY138" fmla="*/ 754710 h 1333436"/>
                <a:gd name="connsiteX139" fmla="*/ 36546 w 752994"/>
                <a:gd name="connsiteY139" fmla="*/ 748773 h 1333436"/>
                <a:gd name="connsiteX140" fmla="*/ 38372 w 752994"/>
                <a:gd name="connsiteY140" fmla="*/ 744528 h 1333436"/>
                <a:gd name="connsiteX141" fmla="*/ 41638 w 752994"/>
                <a:gd name="connsiteY141" fmla="*/ 744321 h 1333436"/>
                <a:gd name="connsiteX142" fmla="*/ 44713 w 752994"/>
                <a:gd name="connsiteY142" fmla="*/ 746357 h 1333436"/>
                <a:gd name="connsiteX143" fmla="*/ 47364 w 752994"/>
                <a:gd name="connsiteY143" fmla="*/ 753260 h 1333436"/>
                <a:gd name="connsiteX144" fmla="*/ 55742 w 752994"/>
                <a:gd name="connsiteY144" fmla="*/ 764305 h 1333436"/>
                <a:gd name="connsiteX145" fmla="*/ 56338 w 752994"/>
                <a:gd name="connsiteY145" fmla="*/ 761233 h 1333436"/>
                <a:gd name="connsiteX146" fmla="*/ 56145 w 752994"/>
                <a:gd name="connsiteY146" fmla="*/ 757368 h 1333436"/>
                <a:gd name="connsiteX147" fmla="*/ 54916 w 752994"/>
                <a:gd name="connsiteY147" fmla="*/ 748601 h 1333436"/>
                <a:gd name="connsiteX148" fmla="*/ 52879 w 752994"/>
                <a:gd name="connsiteY148" fmla="*/ 747358 h 1333436"/>
                <a:gd name="connsiteX149" fmla="*/ 51649 w 752994"/>
                <a:gd name="connsiteY149" fmla="*/ 745322 h 1333436"/>
                <a:gd name="connsiteX150" fmla="*/ 51649 w 752994"/>
                <a:gd name="connsiteY150" fmla="*/ 739212 h 1333436"/>
                <a:gd name="connsiteX151" fmla="*/ 50227 w 752994"/>
                <a:gd name="connsiteY151" fmla="*/ 734725 h 1333436"/>
                <a:gd name="connsiteX152" fmla="*/ 48786 w 752994"/>
                <a:gd name="connsiteY152" fmla="*/ 731446 h 1333436"/>
                <a:gd name="connsiteX153" fmla="*/ 54512 w 752994"/>
                <a:gd name="connsiteY153" fmla="*/ 726372 h 1333436"/>
                <a:gd name="connsiteX154" fmla="*/ 59815 w 752994"/>
                <a:gd name="connsiteY154" fmla="*/ 725130 h 1333436"/>
                <a:gd name="connsiteX155" fmla="*/ 58182 w 752994"/>
                <a:gd name="connsiteY155" fmla="*/ 722886 h 1333436"/>
                <a:gd name="connsiteX156" fmla="*/ 51861 w 752994"/>
                <a:gd name="connsiteY156" fmla="*/ 717985 h 1333436"/>
                <a:gd name="connsiteX157" fmla="*/ 46749 w 752994"/>
                <a:gd name="connsiteY157" fmla="*/ 729617 h 1333436"/>
                <a:gd name="connsiteX158" fmla="*/ 40831 w 752994"/>
                <a:gd name="connsiteY158" fmla="*/ 739212 h 1333436"/>
                <a:gd name="connsiteX159" fmla="*/ 39601 w 752994"/>
                <a:gd name="connsiteY159" fmla="*/ 738798 h 1333436"/>
                <a:gd name="connsiteX160" fmla="*/ 39409 w 752994"/>
                <a:gd name="connsiteY160" fmla="*/ 738591 h 1333436"/>
                <a:gd name="connsiteX161" fmla="*/ 37161 w 752994"/>
                <a:gd name="connsiteY161" fmla="*/ 734725 h 1333436"/>
                <a:gd name="connsiteX162" fmla="*/ 32665 w 752994"/>
                <a:gd name="connsiteY162" fmla="*/ 727788 h 1333436"/>
                <a:gd name="connsiteX163" fmla="*/ 26747 w 752994"/>
                <a:gd name="connsiteY163" fmla="*/ 719435 h 1333436"/>
                <a:gd name="connsiteX164" fmla="*/ 23884 w 752994"/>
                <a:gd name="connsiteY164" fmla="*/ 717812 h 1333436"/>
                <a:gd name="connsiteX165" fmla="*/ 24710 w 752994"/>
                <a:gd name="connsiteY165" fmla="*/ 709632 h 1333436"/>
                <a:gd name="connsiteX166" fmla="*/ 27554 w 752994"/>
                <a:gd name="connsiteY166" fmla="*/ 701694 h 1333436"/>
                <a:gd name="connsiteX167" fmla="*/ 24902 w 752994"/>
                <a:gd name="connsiteY167" fmla="*/ 696171 h 1333436"/>
                <a:gd name="connsiteX168" fmla="*/ 24095 w 752994"/>
                <a:gd name="connsiteY168" fmla="*/ 687818 h 1333436"/>
                <a:gd name="connsiteX169" fmla="*/ 22462 w 752994"/>
                <a:gd name="connsiteY169" fmla="*/ 682330 h 1333436"/>
                <a:gd name="connsiteX170" fmla="*/ 17159 w 752994"/>
                <a:gd name="connsiteY170" fmla="*/ 677636 h 1333436"/>
                <a:gd name="connsiteX171" fmla="*/ 14296 w 752994"/>
                <a:gd name="connsiteY171" fmla="*/ 671492 h 1333436"/>
                <a:gd name="connsiteX172" fmla="*/ 12451 w 752994"/>
                <a:gd name="connsiteY172" fmla="*/ 665797 h 1333436"/>
                <a:gd name="connsiteX173" fmla="*/ 5111 w 752994"/>
                <a:gd name="connsiteY173" fmla="*/ 654994 h 1333436"/>
                <a:gd name="connsiteX174" fmla="*/ 2248 w 752994"/>
                <a:gd name="connsiteY174" fmla="*/ 645605 h 1333436"/>
                <a:gd name="connsiteX175" fmla="*/ 4496 w 752994"/>
                <a:gd name="connsiteY175" fmla="*/ 640497 h 1333436"/>
                <a:gd name="connsiteX176" fmla="*/ 6744 w 752994"/>
                <a:gd name="connsiteY176" fmla="*/ 632765 h 1333436"/>
                <a:gd name="connsiteX177" fmla="*/ 6744 w 752994"/>
                <a:gd name="connsiteY177" fmla="*/ 628485 h 1333436"/>
                <a:gd name="connsiteX178" fmla="*/ 6533 w 752994"/>
                <a:gd name="connsiteY178" fmla="*/ 620305 h 1333436"/>
                <a:gd name="connsiteX179" fmla="*/ 7359 w 752994"/>
                <a:gd name="connsiteY179" fmla="*/ 611745 h 1333436"/>
                <a:gd name="connsiteX180" fmla="*/ 11836 w 752994"/>
                <a:gd name="connsiteY180" fmla="*/ 602978 h 1333436"/>
                <a:gd name="connsiteX181" fmla="*/ 15103 w 752994"/>
                <a:gd name="connsiteY181" fmla="*/ 591760 h 1333436"/>
                <a:gd name="connsiteX182" fmla="*/ 14488 w 752994"/>
                <a:gd name="connsiteY182" fmla="*/ 584029 h 1333436"/>
                <a:gd name="connsiteX183" fmla="*/ 13873 w 752994"/>
                <a:gd name="connsiteY183" fmla="*/ 578299 h 1333436"/>
                <a:gd name="connsiteX184" fmla="*/ 10626 w 752994"/>
                <a:gd name="connsiteY184" fmla="*/ 568531 h 1333436"/>
                <a:gd name="connsiteX185" fmla="*/ 3670 w 752994"/>
                <a:gd name="connsiteY185" fmla="*/ 558107 h 1333436"/>
                <a:gd name="connsiteX186" fmla="*/ 0 w 752994"/>
                <a:gd name="connsiteY186" fmla="*/ 551377 h 1333436"/>
                <a:gd name="connsiteX187" fmla="*/ 0 w 752994"/>
                <a:gd name="connsiteY187" fmla="*/ 550997 h 1333436"/>
                <a:gd name="connsiteX188" fmla="*/ 4900 w 752994"/>
                <a:gd name="connsiteY188" fmla="*/ 531220 h 1333436"/>
                <a:gd name="connsiteX189" fmla="*/ 13873 w 752994"/>
                <a:gd name="connsiteY189" fmla="*/ 520589 h 1333436"/>
                <a:gd name="connsiteX190" fmla="*/ 18369 w 752994"/>
                <a:gd name="connsiteY190" fmla="*/ 516516 h 1333436"/>
                <a:gd name="connsiteX191" fmla="*/ 18773 w 752994"/>
                <a:gd name="connsiteY191" fmla="*/ 514272 h 1333436"/>
                <a:gd name="connsiteX192" fmla="*/ 23077 w 752994"/>
                <a:gd name="connsiteY192" fmla="*/ 506127 h 1333436"/>
                <a:gd name="connsiteX193" fmla="*/ 23884 w 752994"/>
                <a:gd name="connsiteY193" fmla="*/ 502261 h 1333436"/>
                <a:gd name="connsiteX194" fmla="*/ 23692 w 752994"/>
                <a:gd name="connsiteY194" fmla="*/ 496738 h 1333436"/>
                <a:gd name="connsiteX195" fmla="*/ 30013 w 752994"/>
                <a:gd name="connsiteY195" fmla="*/ 486556 h 1333436"/>
                <a:gd name="connsiteX196" fmla="*/ 36546 w 752994"/>
                <a:gd name="connsiteY196" fmla="*/ 470230 h 1333436"/>
                <a:gd name="connsiteX197" fmla="*/ 36546 w 752994"/>
                <a:gd name="connsiteY197" fmla="*/ 462671 h 1333436"/>
                <a:gd name="connsiteX198" fmla="*/ 36335 w 752994"/>
                <a:gd name="connsiteY198" fmla="*/ 461670 h 1333436"/>
                <a:gd name="connsiteX199" fmla="*/ 35931 w 752994"/>
                <a:gd name="connsiteY199" fmla="*/ 453110 h 1333436"/>
                <a:gd name="connsiteX200" fmla="*/ 38583 w 752994"/>
                <a:gd name="connsiteY200" fmla="*/ 442514 h 1333436"/>
                <a:gd name="connsiteX201" fmla="*/ 41043 w 752994"/>
                <a:gd name="connsiteY201" fmla="*/ 436991 h 1333436"/>
                <a:gd name="connsiteX202" fmla="*/ 41650 w 752994"/>
                <a:gd name="connsiteY202" fmla="*/ 437186 h 1333436"/>
                <a:gd name="connsiteX203" fmla="*/ 41239 w 752994"/>
                <a:gd name="connsiteY203" fmla="*/ 436549 h 1333436"/>
                <a:gd name="connsiteX204" fmla="*/ 37778 w 752994"/>
                <a:gd name="connsiteY204" fmla="*/ 433894 h 1333436"/>
                <a:gd name="connsiteX205" fmla="*/ 37169 w 752994"/>
                <a:gd name="connsiteY205" fmla="*/ 432261 h 1333436"/>
                <a:gd name="connsiteX206" fmla="*/ 37365 w 752994"/>
                <a:gd name="connsiteY206" fmla="*/ 429198 h 1333436"/>
                <a:gd name="connsiteX207" fmla="*/ 36756 w 752994"/>
                <a:gd name="connsiteY207" fmla="*/ 422272 h 1333436"/>
                <a:gd name="connsiteX208" fmla="*/ 36952 w 752994"/>
                <a:gd name="connsiteY208" fmla="*/ 418800 h 1333436"/>
                <a:gd name="connsiteX209" fmla="*/ 36756 w 752994"/>
                <a:gd name="connsiteY209" fmla="*/ 412487 h 1333436"/>
                <a:gd name="connsiteX210" fmla="*/ 40433 w 752994"/>
                <a:gd name="connsiteY210" fmla="*/ 406174 h 1333436"/>
                <a:gd name="connsiteX211" fmla="*/ 44720 w 752994"/>
                <a:gd name="connsiteY211" fmla="*/ 399435 h 1333436"/>
                <a:gd name="connsiteX212" fmla="*/ 44110 w 752994"/>
                <a:gd name="connsiteY212" fmla="*/ 389651 h 1333436"/>
                <a:gd name="connsiteX213" fmla="*/ 43894 w 752994"/>
                <a:gd name="connsiteY213" fmla="*/ 378437 h 1333436"/>
                <a:gd name="connsiteX214" fmla="*/ 47158 w 752994"/>
                <a:gd name="connsiteY214" fmla="*/ 371102 h 1333436"/>
                <a:gd name="connsiteX215" fmla="*/ 55731 w 752994"/>
                <a:gd name="connsiteY215" fmla="*/ 360909 h 1333436"/>
                <a:gd name="connsiteX216" fmla="*/ 57580 w 752994"/>
                <a:gd name="connsiteY216" fmla="*/ 355804 h 1333436"/>
                <a:gd name="connsiteX217" fmla="*/ 62673 w 752994"/>
                <a:gd name="connsiteY217" fmla="*/ 349695 h 1333436"/>
                <a:gd name="connsiteX218" fmla="*/ 65937 w 752994"/>
                <a:gd name="connsiteY218" fmla="*/ 348470 h 1333436"/>
                <a:gd name="connsiteX219" fmla="*/ 68395 w 752994"/>
                <a:gd name="connsiteY219" fmla="*/ 348674 h 1333436"/>
                <a:gd name="connsiteX220" fmla="*/ 70224 w 752994"/>
                <a:gd name="connsiteY220" fmla="*/ 347449 h 1333436"/>
                <a:gd name="connsiteX221" fmla="*/ 67785 w 752994"/>
                <a:gd name="connsiteY221" fmla="*/ 345203 h 1333436"/>
                <a:gd name="connsiteX222" fmla="*/ 65524 w 752994"/>
                <a:gd name="connsiteY222" fmla="*/ 343178 h 1333436"/>
                <a:gd name="connsiteX223" fmla="*/ 73095 w 752994"/>
                <a:gd name="connsiteY223" fmla="*/ 333376 h 1333436"/>
                <a:gd name="connsiteX224" fmla="*/ 73291 w 752994"/>
                <a:gd name="connsiteY224" fmla="*/ 333376 h 1333436"/>
                <a:gd name="connsiteX225" fmla="*/ 77991 w 752994"/>
                <a:gd name="connsiteY225" fmla="*/ 325838 h 1333436"/>
                <a:gd name="connsiteX226" fmla="*/ 82671 w 752994"/>
                <a:gd name="connsiteY226" fmla="*/ 313619 h 1333436"/>
                <a:gd name="connsiteX227" fmla="*/ 87980 w 752994"/>
                <a:gd name="connsiteY227" fmla="*/ 303018 h 1333436"/>
                <a:gd name="connsiteX228" fmla="*/ 92267 w 752994"/>
                <a:gd name="connsiteY228" fmla="*/ 291191 h 1333436"/>
                <a:gd name="connsiteX229" fmla="*/ 96553 w 752994"/>
                <a:gd name="connsiteY229" fmla="*/ 281202 h 1333436"/>
                <a:gd name="connsiteX230" fmla="*/ 99621 w 752994"/>
                <a:gd name="connsiteY230" fmla="*/ 274481 h 1333436"/>
                <a:gd name="connsiteX231" fmla="*/ 103082 w 752994"/>
                <a:gd name="connsiteY231" fmla="*/ 262450 h 1333436"/>
                <a:gd name="connsiteX232" fmla="*/ 107172 w 752994"/>
                <a:gd name="connsiteY232" fmla="*/ 254299 h 1333436"/>
                <a:gd name="connsiteX233" fmla="*/ 112481 w 752994"/>
                <a:gd name="connsiteY233" fmla="*/ 243697 h 1333436"/>
                <a:gd name="connsiteX234" fmla="*/ 117181 w 752994"/>
                <a:gd name="connsiteY234" fmla="*/ 232279 h 1333436"/>
                <a:gd name="connsiteX235" fmla="*/ 125951 w 752994"/>
                <a:gd name="connsiteY235" fmla="*/ 217389 h 1333436"/>
                <a:gd name="connsiteX236" fmla="*/ 136156 w 752994"/>
                <a:gd name="connsiteY236" fmla="*/ 202925 h 1333436"/>
                <a:gd name="connsiteX237" fmla="*/ 138811 w 752994"/>
                <a:gd name="connsiteY237" fmla="*/ 183339 h 1333436"/>
                <a:gd name="connsiteX238" fmla="*/ 148801 w 752994"/>
                <a:gd name="connsiteY238" fmla="*/ 167445 h 1333436"/>
                <a:gd name="connsiteX239" fmla="*/ 159616 w 752994"/>
                <a:gd name="connsiteY239" fmla="*/ 170712 h 1333436"/>
                <a:gd name="connsiteX240" fmla="*/ 173105 w 752994"/>
                <a:gd name="connsiteY240" fmla="*/ 175188 h 1333436"/>
                <a:gd name="connsiteX241" fmla="*/ 175347 w 752994"/>
                <a:gd name="connsiteY241" fmla="*/ 175188 h 1333436"/>
                <a:gd name="connsiteX242" fmla="*/ 175347 w 752994"/>
                <a:gd name="connsiteY242" fmla="*/ 173758 h 1333436"/>
                <a:gd name="connsiteX243" fmla="*/ 184975 w 752994"/>
                <a:gd name="connsiteY243" fmla="*/ 187393 h 1333436"/>
                <a:gd name="connsiteX244" fmla="*/ 184762 w 752994"/>
                <a:gd name="connsiteY244" fmla="*/ 184637 h 1333436"/>
                <a:gd name="connsiteX245" fmla="*/ 174971 w 752994"/>
                <a:gd name="connsiteY245" fmla="*/ 169550 h 1333436"/>
                <a:gd name="connsiteX246" fmla="*/ 158851 w 752994"/>
                <a:gd name="connsiteY246" fmla="*/ 156924 h 1333436"/>
                <a:gd name="connsiteX247" fmla="*/ 147025 w 752994"/>
                <a:gd name="connsiteY247" fmla="*/ 145709 h 1333436"/>
                <a:gd name="connsiteX248" fmla="*/ 154364 w 752994"/>
                <a:gd name="connsiteY248" fmla="*/ 136335 h 1333436"/>
                <a:gd name="connsiteX249" fmla="*/ 161511 w 752994"/>
                <a:gd name="connsiteY249" fmla="*/ 131042 h 1333436"/>
                <a:gd name="connsiteX250" fmla="*/ 160902 w 752994"/>
                <a:gd name="connsiteY250" fmla="*/ 128384 h 1333436"/>
                <a:gd name="connsiteX251" fmla="*/ 160277 w 752994"/>
                <a:gd name="connsiteY251" fmla="*/ 127778 h 1333436"/>
                <a:gd name="connsiteX252" fmla="*/ 154973 w 752994"/>
                <a:gd name="connsiteY252" fmla="*/ 122077 h 1333436"/>
                <a:gd name="connsiteX253" fmla="*/ 160277 w 752994"/>
                <a:gd name="connsiteY253" fmla="*/ 115140 h 1333436"/>
                <a:gd name="connsiteX254" fmla="*/ 165181 w 752994"/>
                <a:gd name="connsiteY254" fmla="*/ 108215 h 1333436"/>
                <a:gd name="connsiteX255" fmla="*/ 161303 w 752994"/>
                <a:gd name="connsiteY255" fmla="*/ 104146 h 1333436"/>
                <a:gd name="connsiteX256" fmla="*/ 157842 w 752994"/>
                <a:gd name="connsiteY256" fmla="*/ 104542 h 1333436"/>
                <a:gd name="connsiteX257" fmla="*/ 157024 w 752994"/>
                <a:gd name="connsiteY257" fmla="*/ 102304 h 1333436"/>
                <a:gd name="connsiteX258" fmla="*/ 160694 w 752994"/>
                <a:gd name="connsiteY258" fmla="*/ 55437 h 1333436"/>
                <a:gd name="connsiteX259" fmla="*/ 160486 w 752994"/>
                <a:gd name="connsiteY259" fmla="*/ 31991 h 1333436"/>
                <a:gd name="connsiteX260" fmla="*/ 164972 w 752994"/>
                <a:gd name="connsiteY260" fmla="*/ 18141 h 1333436"/>
                <a:gd name="connsiteX261" fmla="*/ 171911 w 752994"/>
                <a:gd name="connsiteY261" fmla="*/ 11204 h 1333436"/>
                <a:gd name="connsiteX262" fmla="*/ 187406 w 752994"/>
                <a:gd name="connsiteY262" fmla="*/ 21801 h 1333436"/>
                <a:gd name="connsiteX263" fmla="*/ 210866 w 752994"/>
                <a:gd name="connsiteY263" fmla="*/ 37086 h 1333436"/>
                <a:gd name="connsiteX264" fmla="*/ 219230 w 752994"/>
                <a:gd name="connsiteY264" fmla="*/ 41166 h 1333436"/>
                <a:gd name="connsiteX265" fmla="*/ 226778 w 752994"/>
                <a:gd name="connsiteY265" fmla="*/ 47486 h 1333436"/>
                <a:gd name="connsiteX266" fmla="*/ 236152 w 752994"/>
                <a:gd name="connsiteY266" fmla="*/ 52370 h 1333436"/>
                <a:gd name="connsiteX267" fmla="*/ 239629 w 752994"/>
                <a:gd name="connsiteY267" fmla="*/ 58491 h 1333436"/>
                <a:gd name="connsiteX268" fmla="*/ 239629 w 752994"/>
                <a:gd name="connsiteY268" fmla="*/ 63376 h 1333436"/>
                <a:gd name="connsiteX269" fmla="*/ 236568 w 752994"/>
                <a:gd name="connsiteY269" fmla="*/ 67457 h 1333436"/>
                <a:gd name="connsiteX270" fmla="*/ 231264 w 752994"/>
                <a:gd name="connsiteY270" fmla="*/ 69905 h 1333436"/>
                <a:gd name="connsiteX271" fmla="*/ 216778 w 752994"/>
                <a:gd name="connsiteY271" fmla="*/ 82741 h 1333436"/>
                <a:gd name="connsiteX272" fmla="*/ 214134 w 752994"/>
                <a:gd name="connsiteY272" fmla="*/ 93536 h 1333436"/>
                <a:gd name="connsiteX273" fmla="*/ 214535 w 752994"/>
                <a:gd name="connsiteY273" fmla="*/ 96801 h 1333436"/>
                <a:gd name="connsiteX274" fmla="*/ 216378 w 752994"/>
                <a:gd name="connsiteY274" fmla="*/ 96801 h 1333436"/>
                <a:gd name="connsiteX275" fmla="*/ 230046 w 752994"/>
                <a:gd name="connsiteY275" fmla="*/ 85387 h 1333436"/>
                <a:gd name="connsiteX276" fmla="*/ 243298 w 752994"/>
                <a:gd name="connsiteY276" fmla="*/ 75198 h 1333436"/>
                <a:gd name="connsiteX277" fmla="*/ 246760 w 752994"/>
                <a:gd name="connsiteY277" fmla="*/ 77646 h 1333436"/>
                <a:gd name="connsiteX278" fmla="*/ 255541 w 752994"/>
                <a:gd name="connsiteY278" fmla="*/ 63376 h 1333436"/>
                <a:gd name="connsiteX279" fmla="*/ 259611 w 752994"/>
                <a:gd name="connsiteY279" fmla="*/ 43405 h 1333436"/>
                <a:gd name="connsiteX280" fmla="*/ 256967 w 752994"/>
                <a:gd name="connsiteY280" fmla="*/ 38520 h 1333436"/>
                <a:gd name="connsiteX281" fmla="*/ 253906 w 752994"/>
                <a:gd name="connsiteY281" fmla="*/ 34242 h 1333436"/>
                <a:gd name="connsiteX282" fmla="*/ 256967 w 752994"/>
                <a:gd name="connsiteY282" fmla="*/ 30161 h 1333436"/>
                <a:gd name="connsiteX283" fmla="*/ 262063 w 752994"/>
                <a:gd name="connsiteY283" fmla="*/ 27712 h 1333436"/>
                <a:gd name="connsiteX284" fmla="*/ 264915 w 752994"/>
                <a:gd name="connsiteY284" fmla="*/ 23026 h 1333436"/>
                <a:gd name="connsiteX285" fmla="*/ 267976 w 752994"/>
                <a:gd name="connsiteY285" fmla="*/ 22618 h 1333436"/>
                <a:gd name="connsiteX286" fmla="*/ 270427 w 752994"/>
                <a:gd name="connsiteY286" fmla="*/ 20787 h 1333436"/>
                <a:gd name="connsiteX287" fmla="*/ 263088 w 752994"/>
                <a:gd name="connsiteY287" fmla="*/ 13652 h 1333436"/>
                <a:gd name="connsiteX288" fmla="*/ 255541 w 752994"/>
                <a:gd name="connsiteY288" fmla="*/ 3055 h 1333436"/>
                <a:gd name="connsiteX289" fmla="*/ 256358 w 752994"/>
                <a:gd name="connsiteY289" fmla="*/ 1224 h 1333436"/>
                <a:gd name="connsiteX290" fmla="*/ 257159 w 752994"/>
                <a:gd name="connsiteY290" fmla="*/ 0 h 1333436"/>
                <a:gd name="connsiteX0" fmla="*/ 257159 w 752994"/>
                <a:gd name="connsiteY0" fmla="*/ 0 h 1333436"/>
                <a:gd name="connsiteX1" fmla="*/ 493147 w 752994"/>
                <a:gd name="connsiteY1" fmla="*/ 73157 h 1333436"/>
                <a:gd name="connsiteX2" fmla="*/ 492970 w 752994"/>
                <a:gd name="connsiteY2" fmla="*/ 73792 h 1333436"/>
                <a:gd name="connsiteX3" fmla="*/ 525816 w 752994"/>
                <a:gd name="connsiteY3" fmla="*/ 82491 h 1333436"/>
                <a:gd name="connsiteX4" fmla="*/ 520098 w 752994"/>
                <a:gd name="connsiteY4" fmla="*/ 111245 h 1333436"/>
                <a:gd name="connsiteX5" fmla="*/ 512552 w 752994"/>
                <a:gd name="connsiteY5" fmla="*/ 143854 h 1333436"/>
                <a:gd name="connsiteX6" fmla="*/ 517849 w 752994"/>
                <a:gd name="connsiteY6" fmla="*/ 157740 h 1333436"/>
                <a:gd name="connsiteX7" fmla="*/ 523160 w 752994"/>
                <a:gd name="connsiteY7" fmla="*/ 172009 h 1333436"/>
                <a:gd name="connsiteX8" fmla="*/ 521535 w 752994"/>
                <a:gd name="connsiteY8" fmla="*/ 178928 h 1333436"/>
                <a:gd name="connsiteX9" fmla="*/ 520098 w 752994"/>
                <a:gd name="connsiteY9" fmla="*/ 186279 h 1333436"/>
                <a:gd name="connsiteX10" fmla="*/ 526019 w 752994"/>
                <a:gd name="connsiteY10" fmla="*/ 193629 h 1333436"/>
                <a:gd name="connsiteX11" fmla="*/ 537251 w 752994"/>
                <a:gd name="connsiteY11" fmla="*/ 206270 h 1333436"/>
                <a:gd name="connsiteX12" fmla="*/ 542765 w 752994"/>
                <a:gd name="connsiteY12" fmla="*/ 217475 h 1333436"/>
                <a:gd name="connsiteX13" fmla="*/ 546857 w 752994"/>
                <a:gd name="connsiteY13" fmla="*/ 230930 h 1333436"/>
                <a:gd name="connsiteX14" fmla="*/ 549499 w 752994"/>
                <a:gd name="connsiteY14" fmla="*/ 235622 h 1333436"/>
                <a:gd name="connsiteX15" fmla="*/ 553388 w 752994"/>
                <a:gd name="connsiteY15" fmla="*/ 240722 h 1333436"/>
                <a:gd name="connsiteX16" fmla="*/ 557465 w 752994"/>
                <a:gd name="connsiteY16" fmla="*/ 246037 h 1333436"/>
                <a:gd name="connsiteX17" fmla="*/ 561761 w 752994"/>
                <a:gd name="connsiteY17" fmla="*/ 248671 h 1333436"/>
                <a:gd name="connsiteX18" fmla="*/ 567478 w 752994"/>
                <a:gd name="connsiteY18" fmla="*/ 247665 h 1333436"/>
                <a:gd name="connsiteX19" fmla="*/ 569931 w 752994"/>
                <a:gd name="connsiteY19" fmla="*/ 249293 h 1333436"/>
                <a:gd name="connsiteX20" fmla="*/ 570540 w 752994"/>
                <a:gd name="connsiteY20" fmla="*/ 251951 h 1333436"/>
                <a:gd name="connsiteX21" fmla="*/ 561964 w 752994"/>
                <a:gd name="connsiteY21" fmla="*/ 267656 h 1333436"/>
                <a:gd name="connsiteX22" fmla="*/ 553591 w 752994"/>
                <a:gd name="connsiteY22" fmla="*/ 289659 h 1333436"/>
                <a:gd name="connsiteX23" fmla="*/ 554810 w 752994"/>
                <a:gd name="connsiteY23" fmla="*/ 292939 h 1333436"/>
                <a:gd name="connsiteX24" fmla="*/ 556246 w 752994"/>
                <a:gd name="connsiteY24" fmla="*/ 299260 h 1333436"/>
                <a:gd name="connsiteX25" fmla="*/ 552778 w 752994"/>
                <a:gd name="connsiteY25" fmla="*/ 301917 h 1333436"/>
                <a:gd name="connsiteX26" fmla="*/ 549295 w 752994"/>
                <a:gd name="connsiteY26" fmla="*/ 306993 h 1333436"/>
                <a:gd name="connsiteX27" fmla="*/ 547061 w 752994"/>
                <a:gd name="connsiteY27" fmla="*/ 313122 h 1333436"/>
                <a:gd name="connsiteX28" fmla="*/ 544811 w 752994"/>
                <a:gd name="connsiteY28" fmla="*/ 316593 h 1333436"/>
                <a:gd name="connsiteX29" fmla="*/ 549919 w 752994"/>
                <a:gd name="connsiteY29" fmla="*/ 322698 h 1333436"/>
                <a:gd name="connsiteX30" fmla="*/ 553184 w 752994"/>
                <a:gd name="connsiteY30" fmla="*/ 325955 h 1333436"/>
                <a:gd name="connsiteX31" fmla="*/ 555840 w 752994"/>
                <a:gd name="connsiteY31" fmla="*/ 328205 h 1333436"/>
                <a:gd name="connsiteX32" fmla="*/ 574212 w 752994"/>
                <a:gd name="connsiteY32" fmla="*/ 318820 h 1333436"/>
                <a:gd name="connsiteX33" fmla="*/ 579523 w 752994"/>
                <a:gd name="connsiteY33" fmla="*/ 326577 h 1333436"/>
                <a:gd name="connsiteX34" fmla="*/ 580539 w 752994"/>
                <a:gd name="connsiteY34" fmla="*/ 334933 h 1333436"/>
                <a:gd name="connsiteX35" fmla="*/ 579726 w 752994"/>
                <a:gd name="connsiteY35" fmla="*/ 343097 h 1333436"/>
                <a:gd name="connsiteX36" fmla="*/ 581366 w 752994"/>
                <a:gd name="connsiteY36" fmla="*/ 350231 h 1333436"/>
                <a:gd name="connsiteX37" fmla="*/ 586256 w 752994"/>
                <a:gd name="connsiteY37" fmla="*/ 355930 h 1333436"/>
                <a:gd name="connsiteX38" fmla="*/ 589536 w 752994"/>
                <a:gd name="connsiteY38" fmla="*/ 362059 h 1333436"/>
                <a:gd name="connsiteX39" fmla="*/ 588099 w 752994"/>
                <a:gd name="connsiteY39" fmla="*/ 369600 h 1333436"/>
                <a:gd name="connsiteX40" fmla="*/ 586459 w 752994"/>
                <a:gd name="connsiteY40" fmla="*/ 377357 h 1333436"/>
                <a:gd name="connsiteX41" fmla="*/ 588709 w 752994"/>
                <a:gd name="connsiteY41" fmla="*/ 381835 h 1333436"/>
                <a:gd name="connsiteX42" fmla="*/ 595036 w 752994"/>
                <a:gd name="connsiteY42" fmla="*/ 382457 h 1333436"/>
                <a:gd name="connsiteX43" fmla="*/ 599331 w 752994"/>
                <a:gd name="connsiteY43" fmla="*/ 385306 h 1333436"/>
                <a:gd name="connsiteX44" fmla="*/ 601987 w 752994"/>
                <a:gd name="connsiteY44" fmla="*/ 391004 h 1333436"/>
                <a:gd name="connsiteX45" fmla="*/ 602799 w 752994"/>
                <a:gd name="connsiteY45" fmla="*/ 404076 h 1333436"/>
                <a:gd name="connsiteX46" fmla="*/ 606892 w 752994"/>
                <a:gd name="connsiteY46" fmla="*/ 415688 h 1333436"/>
                <a:gd name="connsiteX47" fmla="*/ 610563 w 752994"/>
                <a:gd name="connsiteY47" fmla="*/ 412217 h 1333436"/>
                <a:gd name="connsiteX48" fmla="*/ 617920 w 752994"/>
                <a:gd name="connsiteY48" fmla="*/ 408769 h 1333436"/>
                <a:gd name="connsiteX49" fmla="*/ 624654 w 752994"/>
                <a:gd name="connsiteY49" fmla="*/ 411211 h 1333436"/>
                <a:gd name="connsiteX50" fmla="*/ 634652 w 752994"/>
                <a:gd name="connsiteY50" fmla="*/ 410182 h 1333436"/>
                <a:gd name="connsiteX51" fmla="*/ 640573 w 752994"/>
                <a:gd name="connsiteY51" fmla="*/ 407739 h 1333436"/>
                <a:gd name="connsiteX52" fmla="*/ 646711 w 752994"/>
                <a:gd name="connsiteY52" fmla="*/ 410589 h 1333436"/>
                <a:gd name="connsiteX53" fmla="*/ 650383 w 752994"/>
                <a:gd name="connsiteY53" fmla="*/ 410589 h 1333436"/>
                <a:gd name="connsiteX54" fmla="*/ 654257 w 752994"/>
                <a:gd name="connsiteY54" fmla="*/ 411618 h 1333436"/>
                <a:gd name="connsiteX55" fmla="*/ 656913 w 752994"/>
                <a:gd name="connsiteY55" fmla="*/ 413653 h 1333436"/>
                <a:gd name="connsiteX56" fmla="*/ 660802 w 752994"/>
                <a:gd name="connsiteY56" fmla="*/ 415090 h 1333436"/>
                <a:gd name="connsiteX57" fmla="*/ 669581 w 752994"/>
                <a:gd name="connsiteY57" fmla="*/ 415904 h 1333436"/>
                <a:gd name="connsiteX58" fmla="*/ 672237 w 752994"/>
                <a:gd name="connsiteY58" fmla="*/ 415688 h 1333436"/>
                <a:gd name="connsiteX59" fmla="*/ 675705 w 752994"/>
                <a:gd name="connsiteY59" fmla="*/ 409367 h 1333436"/>
                <a:gd name="connsiteX60" fmla="*/ 679986 w 752994"/>
                <a:gd name="connsiteY60" fmla="*/ 403238 h 1333436"/>
                <a:gd name="connsiteX61" fmla="*/ 693264 w 752994"/>
                <a:gd name="connsiteY61" fmla="*/ 419567 h 1333436"/>
                <a:gd name="connsiteX62" fmla="*/ 688563 w 752994"/>
                <a:gd name="connsiteY62" fmla="*/ 448321 h 1333436"/>
                <a:gd name="connsiteX63" fmla="*/ 663949 w 752994"/>
                <a:gd name="connsiteY63" fmla="*/ 590165 h 1333436"/>
                <a:gd name="connsiteX64" fmla="*/ 666304 w 752994"/>
                <a:gd name="connsiteY64" fmla="*/ 590504 h 1333436"/>
                <a:gd name="connsiteX65" fmla="*/ 655288 w 752994"/>
                <a:gd name="connsiteY65" fmla="*/ 656178 h 1333436"/>
                <a:gd name="connsiteX66" fmla="*/ 681808 w 752994"/>
                <a:gd name="connsiteY66" fmla="*/ 662301 h 1333436"/>
                <a:gd name="connsiteX67" fmla="*/ 752994 w 752994"/>
                <a:gd name="connsiteY67" fmla="*/ 675560 h 1333436"/>
                <a:gd name="connsiteX68" fmla="*/ 714651 w 752994"/>
                <a:gd name="connsiteY68" fmla="*/ 946985 h 1333436"/>
                <a:gd name="connsiteX69" fmla="*/ 654533 w 752994"/>
                <a:gd name="connsiteY69" fmla="*/ 1333436 h 1333436"/>
                <a:gd name="connsiteX70" fmla="*/ 546831 w 752994"/>
                <a:gd name="connsiteY70" fmla="*/ 1317126 h 1333436"/>
                <a:gd name="connsiteX71" fmla="*/ 351227 w 752994"/>
                <a:gd name="connsiteY71" fmla="*/ 1194172 h 1333436"/>
                <a:gd name="connsiteX72" fmla="*/ 361011 w 752994"/>
                <a:gd name="connsiteY72" fmla="*/ 1182755 h 1333436"/>
                <a:gd name="connsiteX73" fmla="*/ 368981 w 752994"/>
                <a:gd name="connsiteY73" fmla="*/ 1182130 h 1333436"/>
                <a:gd name="connsiteX74" fmla="*/ 369571 w 752994"/>
                <a:gd name="connsiteY74" fmla="*/ 1181558 h 1333436"/>
                <a:gd name="connsiteX75" fmla="*/ 362372 w 752994"/>
                <a:gd name="connsiteY75" fmla="*/ 1182120 h 1333436"/>
                <a:gd name="connsiteX76" fmla="*/ 229464 w 752994"/>
                <a:gd name="connsiteY76" fmla="*/ 1161721 h 1333436"/>
                <a:gd name="connsiteX77" fmla="*/ 227427 w 752994"/>
                <a:gd name="connsiteY77" fmla="*/ 1157269 h 1333436"/>
                <a:gd name="connsiteX78" fmla="*/ 224967 w 752994"/>
                <a:gd name="connsiteY78" fmla="*/ 1152575 h 1333436"/>
                <a:gd name="connsiteX79" fmla="*/ 225582 w 752994"/>
                <a:gd name="connsiteY79" fmla="*/ 1144808 h 1333436"/>
                <a:gd name="connsiteX80" fmla="*/ 227215 w 752994"/>
                <a:gd name="connsiteY80" fmla="*/ 1135834 h 1333436"/>
                <a:gd name="connsiteX81" fmla="*/ 227215 w 752994"/>
                <a:gd name="connsiteY81" fmla="*/ 1134212 h 1333436"/>
                <a:gd name="connsiteX82" fmla="*/ 225179 w 752994"/>
                <a:gd name="connsiteY82" fmla="*/ 1114020 h 1333436"/>
                <a:gd name="connsiteX83" fmla="*/ 217839 w 752994"/>
                <a:gd name="connsiteY83" fmla="*/ 1100352 h 1333436"/>
                <a:gd name="connsiteX84" fmla="*/ 199661 w 752994"/>
                <a:gd name="connsiteY84" fmla="*/ 1076502 h 1333436"/>
                <a:gd name="connsiteX85" fmla="*/ 196395 w 752994"/>
                <a:gd name="connsiteY85" fmla="*/ 1071807 h 1333436"/>
                <a:gd name="connsiteX86" fmla="*/ 190880 w 752994"/>
                <a:gd name="connsiteY86" fmla="*/ 1067527 h 1333436"/>
                <a:gd name="connsiteX87" fmla="*/ 187210 w 752994"/>
                <a:gd name="connsiteY87" fmla="*/ 1068735 h 1333436"/>
                <a:gd name="connsiteX88" fmla="*/ 180062 w 752994"/>
                <a:gd name="connsiteY88" fmla="*/ 1066699 h 1333436"/>
                <a:gd name="connsiteX89" fmla="*/ 180466 w 752994"/>
                <a:gd name="connsiteY89" fmla="*/ 1053031 h 1333436"/>
                <a:gd name="connsiteX90" fmla="*/ 180062 w 752994"/>
                <a:gd name="connsiteY90" fmla="*/ 1045299 h 1333436"/>
                <a:gd name="connsiteX91" fmla="*/ 174144 w 752994"/>
                <a:gd name="connsiteY91" fmla="*/ 1044057 h 1333436"/>
                <a:gd name="connsiteX92" fmla="*/ 158426 w 752994"/>
                <a:gd name="connsiteY92" fmla="*/ 1042641 h 1333436"/>
                <a:gd name="connsiteX93" fmla="*/ 149857 w 752994"/>
                <a:gd name="connsiteY93" fmla="*/ 1035497 h 1333436"/>
                <a:gd name="connsiteX94" fmla="*/ 142497 w 752994"/>
                <a:gd name="connsiteY94" fmla="*/ 1028766 h 1333436"/>
                <a:gd name="connsiteX95" fmla="*/ 140864 w 752994"/>
                <a:gd name="connsiteY95" fmla="*/ 1020620 h 1333436"/>
                <a:gd name="connsiteX96" fmla="*/ 138212 w 752994"/>
                <a:gd name="connsiteY96" fmla="*/ 1013061 h 1333436"/>
                <a:gd name="connsiteX97" fmla="*/ 131064 w 752994"/>
                <a:gd name="connsiteY97" fmla="*/ 1007159 h 1333436"/>
                <a:gd name="connsiteX98" fmla="*/ 121264 w 752994"/>
                <a:gd name="connsiteY98" fmla="*/ 1005330 h 1333436"/>
                <a:gd name="connsiteX99" fmla="*/ 112483 w 752994"/>
                <a:gd name="connsiteY99" fmla="*/ 1001671 h 1333436"/>
                <a:gd name="connsiteX100" fmla="*/ 105950 w 752994"/>
                <a:gd name="connsiteY100" fmla="*/ 995734 h 1333436"/>
                <a:gd name="connsiteX101" fmla="*/ 97380 w 752994"/>
                <a:gd name="connsiteY101" fmla="*/ 994526 h 1333436"/>
                <a:gd name="connsiteX102" fmla="*/ 87984 w 752994"/>
                <a:gd name="connsiteY102" fmla="*/ 991040 h 1333436"/>
                <a:gd name="connsiteX103" fmla="*/ 80029 w 752994"/>
                <a:gd name="connsiteY103" fmla="*/ 985138 h 1333436"/>
                <a:gd name="connsiteX104" fmla="*/ 77166 w 752994"/>
                <a:gd name="connsiteY104" fmla="*/ 976164 h 1333436"/>
                <a:gd name="connsiteX105" fmla="*/ 79203 w 752994"/>
                <a:gd name="connsiteY105" fmla="*/ 970676 h 1333436"/>
                <a:gd name="connsiteX106" fmla="*/ 82470 w 752994"/>
                <a:gd name="connsiteY106" fmla="*/ 963117 h 1333436"/>
                <a:gd name="connsiteX107" fmla="*/ 84314 w 752994"/>
                <a:gd name="connsiteY107" fmla="*/ 954557 h 1333436"/>
                <a:gd name="connsiteX108" fmla="*/ 86351 w 752994"/>
                <a:gd name="connsiteY108" fmla="*/ 948033 h 1333436"/>
                <a:gd name="connsiteX109" fmla="*/ 86159 w 752994"/>
                <a:gd name="connsiteY109" fmla="*/ 942925 h 1333436"/>
                <a:gd name="connsiteX110" fmla="*/ 83085 w 752994"/>
                <a:gd name="connsiteY110" fmla="*/ 939853 h 1333436"/>
                <a:gd name="connsiteX111" fmla="*/ 77570 w 752994"/>
                <a:gd name="connsiteY111" fmla="*/ 937437 h 1333436"/>
                <a:gd name="connsiteX112" fmla="*/ 76763 w 752994"/>
                <a:gd name="connsiteY112" fmla="*/ 931915 h 1333436"/>
                <a:gd name="connsiteX113" fmla="*/ 78800 w 752994"/>
                <a:gd name="connsiteY113" fmla="*/ 927013 h 1333436"/>
                <a:gd name="connsiteX114" fmla="*/ 79626 w 752994"/>
                <a:gd name="connsiteY114" fmla="*/ 922526 h 1333436"/>
                <a:gd name="connsiteX115" fmla="*/ 77781 w 752994"/>
                <a:gd name="connsiteY115" fmla="*/ 919903 h 1333436"/>
                <a:gd name="connsiteX116" fmla="*/ 74303 w 752994"/>
                <a:gd name="connsiteY116" fmla="*/ 917418 h 1333436"/>
                <a:gd name="connsiteX117" fmla="*/ 71863 w 752994"/>
                <a:gd name="connsiteY117" fmla="*/ 915174 h 1333436"/>
                <a:gd name="connsiteX118" fmla="*/ 71652 w 752994"/>
                <a:gd name="connsiteY118" fmla="*/ 910894 h 1333436"/>
                <a:gd name="connsiteX119" fmla="*/ 70633 w 752994"/>
                <a:gd name="connsiteY119" fmla="*/ 906614 h 1333436"/>
                <a:gd name="connsiteX120" fmla="*/ 68385 w 752994"/>
                <a:gd name="connsiteY120" fmla="*/ 902749 h 1333436"/>
                <a:gd name="connsiteX121" fmla="*/ 61045 w 752994"/>
                <a:gd name="connsiteY121" fmla="*/ 889494 h 1333436"/>
                <a:gd name="connsiteX122" fmla="*/ 57971 w 752994"/>
                <a:gd name="connsiteY122" fmla="*/ 875619 h 1333436"/>
                <a:gd name="connsiteX123" fmla="*/ 52264 w 752994"/>
                <a:gd name="connsiteY123" fmla="*/ 862572 h 1333436"/>
                <a:gd name="connsiteX124" fmla="*/ 44309 w 752994"/>
                <a:gd name="connsiteY124" fmla="*/ 850561 h 1333436"/>
                <a:gd name="connsiteX125" fmla="*/ 45520 w 752994"/>
                <a:gd name="connsiteY125" fmla="*/ 827090 h 1333436"/>
                <a:gd name="connsiteX126" fmla="*/ 53071 w 752994"/>
                <a:gd name="connsiteY126" fmla="*/ 822396 h 1333436"/>
                <a:gd name="connsiteX127" fmla="*/ 57375 w 752994"/>
                <a:gd name="connsiteY127" fmla="*/ 816493 h 1333436"/>
                <a:gd name="connsiteX128" fmla="*/ 55319 w 752994"/>
                <a:gd name="connsiteY128" fmla="*/ 801617 h 1333436"/>
                <a:gd name="connsiteX129" fmla="*/ 48383 w 752994"/>
                <a:gd name="connsiteY129" fmla="*/ 802204 h 1333436"/>
                <a:gd name="connsiteX130" fmla="*/ 40428 w 752994"/>
                <a:gd name="connsiteY130" fmla="*/ 797924 h 1333436"/>
                <a:gd name="connsiteX131" fmla="*/ 37565 w 752994"/>
                <a:gd name="connsiteY131" fmla="*/ 790606 h 1333436"/>
                <a:gd name="connsiteX132" fmla="*/ 37565 w 752994"/>
                <a:gd name="connsiteY132" fmla="*/ 790399 h 1333436"/>
                <a:gd name="connsiteX133" fmla="*/ 35931 w 752994"/>
                <a:gd name="connsiteY133" fmla="*/ 785912 h 1333436"/>
                <a:gd name="connsiteX134" fmla="*/ 34510 w 752994"/>
                <a:gd name="connsiteY134" fmla="*/ 780597 h 1333436"/>
                <a:gd name="connsiteX135" fmla="*/ 36335 w 752994"/>
                <a:gd name="connsiteY135" fmla="*/ 774280 h 1333436"/>
                <a:gd name="connsiteX136" fmla="*/ 38180 w 752994"/>
                <a:gd name="connsiteY136" fmla="*/ 766721 h 1333436"/>
                <a:gd name="connsiteX137" fmla="*/ 37161 w 752994"/>
                <a:gd name="connsiteY137" fmla="*/ 760405 h 1333436"/>
                <a:gd name="connsiteX138" fmla="*/ 35720 w 752994"/>
                <a:gd name="connsiteY138" fmla="*/ 754710 h 1333436"/>
                <a:gd name="connsiteX139" fmla="*/ 36546 w 752994"/>
                <a:gd name="connsiteY139" fmla="*/ 748773 h 1333436"/>
                <a:gd name="connsiteX140" fmla="*/ 38372 w 752994"/>
                <a:gd name="connsiteY140" fmla="*/ 744528 h 1333436"/>
                <a:gd name="connsiteX141" fmla="*/ 41638 w 752994"/>
                <a:gd name="connsiteY141" fmla="*/ 744321 h 1333436"/>
                <a:gd name="connsiteX142" fmla="*/ 44713 w 752994"/>
                <a:gd name="connsiteY142" fmla="*/ 746357 h 1333436"/>
                <a:gd name="connsiteX143" fmla="*/ 47364 w 752994"/>
                <a:gd name="connsiteY143" fmla="*/ 753260 h 1333436"/>
                <a:gd name="connsiteX144" fmla="*/ 55742 w 752994"/>
                <a:gd name="connsiteY144" fmla="*/ 764305 h 1333436"/>
                <a:gd name="connsiteX145" fmla="*/ 56338 w 752994"/>
                <a:gd name="connsiteY145" fmla="*/ 761233 h 1333436"/>
                <a:gd name="connsiteX146" fmla="*/ 56145 w 752994"/>
                <a:gd name="connsiteY146" fmla="*/ 757368 h 1333436"/>
                <a:gd name="connsiteX147" fmla="*/ 54916 w 752994"/>
                <a:gd name="connsiteY147" fmla="*/ 748601 h 1333436"/>
                <a:gd name="connsiteX148" fmla="*/ 52879 w 752994"/>
                <a:gd name="connsiteY148" fmla="*/ 747358 h 1333436"/>
                <a:gd name="connsiteX149" fmla="*/ 51649 w 752994"/>
                <a:gd name="connsiteY149" fmla="*/ 745322 h 1333436"/>
                <a:gd name="connsiteX150" fmla="*/ 51649 w 752994"/>
                <a:gd name="connsiteY150" fmla="*/ 739212 h 1333436"/>
                <a:gd name="connsiteX151" fmla="*/ 50227 w 752994"/>
                <a:gd name="connsiteY151" fmla="*/ 734725 h 1333436"/>
                <a:gd name="connsiteX152" fmla="*/ 48786 w 752994"/>
                <a:gd name="connsiteY152" fmla="*/ 731446 h 1333436"/>
                <a:gd name="connsiteX153" fmla="*/ 54512 w 752994"/>
                <a:gd name="connsiteY153" fmla="*/ 726372 h 1333436"/>
                <a:gd name="connsiteX154" fmla="*/ 59815 w 752994"/>
                <a:gd name="connsiteY154" fmla="*/ 725130 h 1333436"/>
                <a:gd name="connsiteX155" fmla="*/ 58182 w 752994"/>
                <a:gd name="connsiteY155" fmla="*/ 722886 h 1333436"/>
                <a:gd name="connsiteX156" fmla="*/ 51861 w 752994"/>
                <a:gd name="connsiteY156" fmla="*/ 717985 h 1333436"/>
                <a:gd name="connsiteX157" fmla="*/ 46749 w 752994"/>
                <a:gd name="connsiteY157" fmla="*/ 729617 h 1333436"/>
                <a:gd name="connsiteX158" fmla="*/ 40831 w 752994"/>
                <a:gd name="connsiteY158" fmla="*/ 739212 h 1333436"/>
                <a:gd name="connsiteX159" fmla="*/ 39601 w 752994"/>
                <a:gd name="connsiteY159" fmla="*/ 738798 h 1333436"/>
                <a:gd name="connsiteX160" fmla="*/ 39409 w 752994"/>
                <a:gd name="connsiteY160" fmla="*/ 738591 h 1333436"/>
                <a:gd name="connsiteX161" fmla="*/ 37161 w 752994"/>
                <a:gd name="connsiteY161" fmla="*/ 734725 h 1333436"/>
                <a:gd name="connsiteX162" fmla="*/ 32665 w 752994"/>
                <a:gd name="connsiteY162" fmla="*/ 727788 h 1333436"/>
                <a:gd name="connsiteX163" fmla="*/ 26747 w 752994"/>
                <a:gd name="connsiteY163" fmla="*/ 719435 h 1333436"/>
                <a:gd name="connsiteX164" fmla="*/ 23884 w 752994"/>
                <a:gd name="connsiteY164" fmla="*/ 717812 h 1333436"/>
                <a:gd name="connsiteX165" fmla="*/ 24710 w 752994"/>
                <a:gd name="connsiteY165" fmla="*/ 709632 h 1333436"/>
                <a:gd name="connsiteX166" fmla="*/ 27554 w 752994"/>
                <a:gd name="connsiteY166" fmla="*/ 701694 h 1333436"/>
                <a:gd name="connsiteX167" fmla="*/ 24902 w 752994"/>
                <a:gd name="connsiteY167" fmla="*/ 696171 h 1333436"/>
                <a:gd name="connsiteX168" fmla="*/ 24095 w 752994"/>
                <a:gd name="connsiteY168" fmla="*/ 687818 h 1333436"/>
                <a:gd name="connsiteX169" fmla="*/ 22462 w 752994"/>
                <a:gd name="connsiteY169" fmla="*/ 682330 h 1333436"/>
                <a:gd name="connsiteX170" fmla="*/ 17159 w 752994"/>
                <a:gd name="connsiteY170" fmla="*/ 677636 h 1333436"/>
                <a:gd name="connsiteX171" fmla="*/ 14296 w 752994"/>
                <a:gd name="connsiteY171" fmla="*/ 671492 h 1333436"/>
                <a:gd name="connsiteX172" fmla="*/ 12451 w 752994"/>
                <a:gd name="connsiteY172" fmla="*/ 665797 h 1333436"/>
                <a:gd name="connsiteX173" fmla="*/ 5111 w 752994"/>
                <a:gd name="connsiteY173" fmla="*/ 654994 h 1333436"/>
                <a:gd name="connsiteX174" fmla="*/ 2248 w 752994"/>
                <a:gd name="connsiteY174" fmla="*/ 645605 h 1333436"/>
                <a:gd name="connsiteX175" fmla="*/ 4496 w 752994"/>
                <a:gd name="connsiteY175" fmla="*/ 640497 h 1333436"/>
                <a:gd name="connsiteX176" fmla="*/ 6744 w 752994"/>
                <a:gd name="connsiteY176" fmla="*/ 632765 h 1333436"/>
                <a:gd name="connsiteX177" fmla="*/ 6744 w 752994"/>
                <a:gd name="connsiteY177" fmla="*/ 628485 h 1333436"/>
                <a:gd name="connsiteX178" fmla="*/ 6533 w 752994"/>
                <a:gd name="connsiteY178" fmla="*/ 620305 h 1333436"/>
                <a:gd name="connsiteX179" fmla="*/ 7359 w 752994"/>
                <a:gd name="connsiteY179" fmla="*/ 611745 h 1333436"/>
                <a:gd name="connsiteX180" fmla="*/ 11836 w 752994"/>
                <a:gd name="connsiteY180" fmla="*/ 602978 h 1333436"/>
                <a:gd name="connsiteX181" fmla="*/ 15103 w 752994"/>
                <a:gd name="connsiteY181" fmla="*/ 591760 h 1333436"/>
                <a:gd name="connsiteX182" fmla="*/ 14488 w 752994"/>
                <a:gd name="connsiteY182" fmla="*/ 584029 h 1333436"/>
                <a:gd name="connsiteX183" fmla="*/ 13873 w 752994"/>
                <a:gd name="connsiteY183" fmla="*/ 578299 h 1333436"/>
                <a:gd name="connsiteX184" fmla="*/ 10626 w 752994"/>
                <a:gd name="connsiteY184" fmla="*/ 568531 h 1333436"/>
                <a:gd name="connsiteX185" fmla="*/ 3670 w 752994"/>
                <a:gd name="connsiteY185" fmla="*/ 558107 h 1333436"/>
                <a:gd name="connsiteX186" fmla="*/ 0 w 752994"/>
                <a:gd name="connsiteY186" fmla="*/ 551377 h 1333436"/>
                <a:gd name="connsiteX187" fmla="*/ 0 w 752994"/>
                <a:gd name="connsiteY187" fmla="*/ 550997 h 1333436"/>
                <a:gd name="connsiteX188" fmla="*/ 4900 w 752994"/>
                <a:gd name="connsiteY188" fmla="*/ 531220 h 1333436"/>
                <a:gd name="connsiteX189" fmla="*/ 13873 w 752994"/>
                <a:gd name="connsiteY189" fmla="*/ 520589 h 1333436"/>
                <a:gd name="connsiteX190" fmla="*/ 18369 w 752994"/>
                <a:gd name="connsiteY190" fmla="*/ 516516 h 1333436"/>
                <a:gd name="connsiteX191" fmla="*/ 18773 w 752994"/>
                <a:gd name="connsiteY191" fmla="*/ 514272 h 1333436"/>
                <a:gd name="connsiteX192" fmla="*/ 23077 w 752994"/>
                <a:gd name="connsiteY192" fmla="*/ 506127 h 1333436"/>
                <a:gd name="connsiteX193" fmla="*/ 23884 w 752994"/>
                <a:gd name="connsiteY193" fmla="*/ 502261 h 1333436"/>
                <a:gd name="connsiteX194" fmla="*/ 23692 w 752994"/>
                <a:gd name="connsiteY194" fmla="*/ 496738 h 1333436"/>
                <a:gd name="connsiteX195" fmla="*/ 30013 w 752994"/>
                <a:gd name="connsiteY195" fmla="*/ 486556 h 1333436"/>
                <a:gd name="connsiteX196" fmla="*/ 36546 w 752994"/>
                <a:gd name="connsiteY196" fmla="*/ 470230 h 1333436"/>
                <a:gd name="connsiteX197" fmla="*/ 36546 w 752994"/>
                <a:gd name="connsiteY197" fmla="*/ 462671 h 1333436"/>
                <a:gd name="connsiteX198" fmla="*/ 36335 w 752994"/>
                <a:gd name="connsiteY198" fmla="*/ 461670 h 1333436"/>
                <a:gd name="connsiteX199" fmla="*/ 35931 w 752994"/>
                <a:gd name="connsiteY199" fmla="*/ 453110 h 1333436"/>
                <a:gd name="connsiteX200" fmla="*/ 38583 w 752994"/>
                <a:gd name="connsiteY200" fmla="*/ 442514 h 1333436"/>
                <a:gd name="connsiteX201" fmla="*/ 41043 w 752994"/>
                <a:gd name="connsiteY201" fmla="*/ 436991 h 1333436"/>
                <a:gd name="connsiteX202" fmla="*/ 41650 w 752994"/>
                <a:gd name="connsiteY202" fmla="*/ 437186 h 1333436"/>
                <a:gd name="connsiteX203" fmla="*/ 41239 w 752994"/>
                <a:gd name="connsiteY203" fmla="*/ 436549 h 1333436"/>
                <a:gd name="connsiteX204" fmla="*/ 37778 w 752994"/>
                <a:gd name="connsiteY204" fmla="*/ 433894 h 1333436"/>
                <a:gd name="connsiteX205" fmla="*/ 37169 w 752994"/>
                <a:gd name="connsiteY205" fmla="*/ 432261 h 1333436"/>
                <a:gd name="connsiteX206" fmla="*/ 37365 w 752994"/>
                <a:gd name="connsiteY206" fmla="*/ 429198 h 1333436"/>
                <a:gd name="connsiteX207" fmla="*/ 36756 w 752994"/>
                <a:gd name="connsiteY207" fmla="*/ 422272 h 1333436"/>
                <a:gd name="connsiteX208" fmla="*/ 36952 w 752994"/>
                <a:gd name="connsiteY208" fmla="*/ 418800 h 1333436"/>
                <a:gd name="connsiteX209" fmla="*/ 36756 w 752994"/>
                <a:gd name="connsiteY209" fmla="*/ 412487 h 1333436"/>
                <a:gd name="connsiteX210" fmla="*/ 40433 w 752994"/>
                <a:gd name="connsiteY210" fmla="*/ 406174 h 1333436"/>
                <a:gd name="connsiteX211" fmla="*/ 44720 w 752994"/>
                <a:gd name="connsiteY211" fmla="*/ 399435 h 1333436"/>
                <a:gd name="connsiteX212" fmla="*/ 44110 w 752994"/>
                <a:gd name="connsiteY212" fmla="*/ 389651 h 1333436"/>
                <a:gd name="connsiteX213" fmla="*/ 43894 w 752994"/>
                <a:gd name="connsiteY213" fmla="*/ 378437 h 1333436"/>
                <a:gd name="connsiteX214" fmla="*/ 47158 w 752994"/>
                <a:gd name="connsiteY214" fmla="*/ 371102 h 1333436"/>
                <a:gd name="connsiteX215" fmla="*/ 55731 w 752994"/>
                <a:gd name="connsiteY215" fmla="*/ 360909 h 1333436"/>
                <a:gd name="connsiteX216" fmla="*/ 57580 w 752994"/>
                <a:gd name="connsiteY216" fmla="*/ 355804 h 1333436"/>
                <a:gd name="connsiteX217" fmla="*/ 62673 w 752994"/>
                <a:gd name="connsiteY217" fmla="*/ 349695 h 1333436"/>
                <a:gd name="connsiteX218" fmla="*/ 65937 w 752994"/>
                <a:gd name="connsiteY218" fmla="*/ 348470 h 1333436"/>
                <a:gd name="connsiteX219" fmla="*/ 68395 w 752994"/>
                <a:gd name="connsiteY219" fmla="*/ 348674 h 1333436"/>
                <a:gd name="connsiteX220" fmla="*/ 70224 w 752994"/>
                <a:gd name="connsiteY220" fmla="*/ 347449 h 1333436"/>
                <a:gd name="connsiteX221" fmla="*/ 67785 w 752994"/>
                <a:gd name="connsiteY221" fmla="*/ 345203 h 1333436"/>
                <a:gd name="connsiteX222" fmla="*/ 65524 w 752994"/>
                <a:gd name="connsiteY222" fmla="*/ 343178 h 1333436"/>
                <a:gd name="connsiteX223" fmla="*/ 73095 w 752994"/>
                <a:gd name="connsiteY223" fmla="*/ 333376 h 1333436"/>
                <a:gd name="connsiteX224" fmla="*/ 73291 w 752994"/>
                <a:gd name="connsiteY224" fmla="*/ 333376 h 1333436"/>
                <a:gd name="connsiteX225" fmla="*/ 77991 w 752994"/>
                <a:gd name="connsiteY225" fmla="*/ 325838 h 1333436"/>
                <a:gd name="connsiteX226" fmla="*/ 82671 w 752994"/>
                <a:gd name="connsiteY226" fmla="*/ 313619 h 1333436"/>
                <a:gd name="connsiteX227" fmla="*/ 87980 w 752994"/>
                <a:gd name="connsiteY227" fmla="*/ 303018 h 1333436"/>
                <a:gd name="connsiteX228" fmla="*/ 92267 w 752994"/>
                <a:gd name="connsiteY228" fmla="*/ 291191 h 1333436"/>
                <a:gd name="connsiteX229" fmla="*/ 96553 w 752994"/>
                <a:gd name="connsiteY229" fmla="*/ 281202 h 1333436"/>
                <a:gd name="connsiteX230" fmla="*/ 99621 w 752994"/>
                <a:gd name="connsiteY230" fmla="*/ 274481 h 1333436"/>
                <a:gd name="connsiteX231" fmla="*/ 103082 w 752994"/>
                <a:gd name="connsiteY231" fmla="*/ 262450 h 1333436"/>
                <a:gd name="connsiteX232" fmla="*/ 107172 w 752994"/>
                <a:gd name="connsiteY232" fmla="*/ 254299 h 1333436"/>
                <a:gd name="connsiteX233" fmla="*/ 112481 w 752994"/>
                <a:gd name="connsiteY233" fmla="*/ 243697 h 1333436"/>
                <a:gd name="connsiteX234" fmla="*/ 117181 w 752994"/>
                <a:gd name="connsiteY234" fmla="*/ 232279 h 1333436"/>
                <a:gd name="connsiteX235" fmla="*/ 125951 w 752994"/>
                <a:gd name="connsiteY235" fmla="*/ 217389 h 1333436"/>
                <a:gd name="connsiteX236" fmla="*/ 136156 w 752994"/>
                <a:gd name="connsiteY236" fmla="*/ 202925 h 1333436"/>
                <a:gd name="connsiteX237" fmla="*/ 138811 w 752994"/>
                <a:gd name="connsiteY237" fmla="*/ 183339 h 1333436"/>
                <a:gd name="connsiteX238" fmla="*/ 148801 w 752994"/>
                <a:gd name="connsiteY238" fmla="*/ 167445 h 1333436"/>
                <a:gd name="connsiteX239" fmla="*/ 159616 w 752994"/>
                <a:gd name="connsiteY239" fmla="*/ 170712 h 1333436"/>
                <a:gd name="connsiteX240" fmla="*/ 173105 w 752994"/>
                <a:gd name="connsiteY240" fmla="*/ 175188 h 1333436"/>
                <a:gd name="connsiteX241" fmla="*/ 175347 w 752994"/>
                <a:gd name="connsiteY241" fmla="*/ 175188 h 1333436"/>
                <a:gd name="connsiteX242" fmla="*/ 175347 w 752994"/>
                <a:gd name="connsiteY242" fmla="*/ 173758 h 1333436"/>
                <a:gd name="connsiteX243" fmla="*/ 184975 w 752994"/>
                <a:gd name="connsiteY243" fmla="*/ 187393 h 1333436"/>
                <a:gd name="connsiteX244" fmla="*/ 174971 w 752994"/>
                <a:gd name="connsiteY244" fmla="*/ 169550 h 1333436"/>
                <a:gd name="connsiteX245" fmla="*/ 158851 w 752994"/>
                <a:gd name="connsiteY245" fmla="*/ 156924 h 1333436"/>
                <a:gd name="connsiteX246" fmla="*/ 147025 w 752994"/>
                <a:gd name="connsiteY246" fmla="*/ 145709 h 1333436"/>
                <a:gd name="connsiteX247" fmla="*/ 154364 w 752994"/>
                <a:gd name="connsiteY247" fmla="*/ 136335 h 1333436"/>
                <a:gd name="connsiteX248" fmla="*/ 161511 w 752994"/>
                <a:gd name="connsiteY248" fmla="*/ 131042 h 1333436"/>
                <a:gd name="connsiteX249" fmla="*/ 160902 w 752994"/>
                <a:gd name="connsiteY249" fmla="*/ 128384 h 1333436"/>
                <a:gd name="connsiteX250" fmla="*/ 160277 w 752994"/>
                <a:gd name="connsiteY250" fmla="*/ 127778 h 1333436"/>
                <a:gd name="connsiteX251" fmla="*/ 154973 w 752994"/>
                <a:gd name="connsiteY251" fmla="*/ 122077 h 1333436"/>
                <a:gd name="connsiteX252" fmla="*/ 160277 w 752994"/>
                <a:gd name="connsiteY252" fmla="*/ 115140 h 1333436"/>
                <a:gd name="connsiteX253" fmla="*/ 165181 w 752994"/>
                <a:gd name="connsiteY253" fmla="*/ 108215 h 1333436"/>
                <a:gd name="connsiteX254" fmla="*/ 161303 w 752994"/>
                <a:gd name="connsiteY254" fmla="*/ 104146 h 1333436"/>
                <a:gd name="connsiteX255" fmla="*/ 157842 w 752994"/>
                <a:gd name="connsiteY255" fmla="*/ 104542 h 1333436"/>
                <a:gd name="connsiteX256" fmla="*/ 157024 w 752994"/>
                <a:gd name="connsiteY256" fmla="*/ 102304 h 1333436"/>
                <a:gd name="connsiteX257" fmla="*/ 160694 w 752994"/>
                <a:gd name="connsiteY257" fmla="*/ 55437 h 1333436"/>
                <a:gd name="connsiteX258" fmla="*/ 160486 w 752994"/>
                <a:gd name="connsiteY258" fmla="*/ 31991 h 1333436"/>
                <a:gd name="connsiteX259" fmla="*/ 164972 w 752994"/>
                <a:gd name="connsiteY259" fmla="*/ 18141 h 1333436"/>
                <a:gd name="connsiteX260" fmla="*/ 171911 w 752994"/>
                <a:gd name="connsiteY260" fmla="*/ 11204 h 1333436"/>
                <a:gd name="connsiteX261" fmla="*/ 187406 w 752994"/>
                <a:gd name="connsiteY261" fmla="*/ 21801 h 1333436"/>
                <a:gd name="connsiteX262" fmla="*/ 210866 w 752994"/>
                <a:gd name="connsiteY262" fmla="*/ 37086 h 1333436"/>
                <a:gd name="connsiteX263" fmla="*/ 219230 w 752994"/>
                <a:gd name="connsiteY263" fmla="*/ 41166 h 1333436"/>
                <a:gd name="connsiteX264" fmla="*/ 226778 w 752994"/>
                <a:gd name="connsiteY264" fmla="*/ 47486 h 1333436"/>
                <a:gd name="connsiteX265" fmla="*/ 236152 w 752994"/>
                <a:gd name="connsiteY265" fmla="*/ 52370 h 1333436"/>
                <a:gd name="connsiteX266" fmla="*/ 239629 w 752994"/>
                <a:gd name="connsiteY266" fmla="*/ 58491 h 1333436"/>
                <a:gd name="connsiteX267" fmla="*/ 239629 w 752994"/>
                <a:gd name="connsiteY267" fmla="*/ 63376 h 1333436"/>
                <a:gd name="connsiteX268" fmla="*/ 236568 w 752994"/>
                <a:gd name="connsiteY268" fmla="*/ 67457 h 1333436"/>
                <a:gd name="connsiteX269" fmla="*/ 231264 w 752994"/>
                <a:gd name="connsiteY269" fmla="*/ 69905 h 1333436"/>
                <a:gd name="connsiteX270" fmla="*/ 216778 w 752994"/>
                <a:gd name="connsiteY270" fmla="*/ 82741 h 1333436"/>
                <a:gd name="connsiteX271" fmla="*/ 214134 w 752994"/>
                <a:gd name="connsiteY271" fmla="*/ 93536 h 1333436"/>
                <a:gd name="connsiteX272" fmla="*/ 214535 w 752994"/>
                <a:gd name="connsiteY272" fmla="*/ 96801 h 1333436"/>
                <a:gd name="connsiteX273" fmla="*/ 216378 w 752994"/>
                <a:gd name="connsiteY273" fmla="*/ 96801 h 1333436"/>
                <a:gd name="connsiteX274" fmla="*/ 230046 w 752994"/>
                <a:gd name="connsiteY274" fmla="*/ 85387 h 1333436"/>
                <a:gd name="connsiteX275" fmla="*/ 243298 w 752994"/>
                <a:gd name="connsiteY275" fmla="*/ 75198 h 1333436"/>
                <a:gd name="connsiteX276" fmla="*/ 246760 w 752994"/>
                <a:gd name="connsiteY276" fmla="*/ 77646 h 1333436"/>
                <a:gd name="connsiteX277" fmla="*/ 255541 w 752994"/>
                <a:gd name="connsiteY277" fmla="*/ 63376 h 1333436"/>
                <a:gd name="connsiteX278" fmla="*/ 259611 w 752994"/>
                <a:gd name="connsiteY278" fmla="*/ 43405 h 1333436"/>
                <a:gd name="connsiteX279" fmla="*/ 256967 w 752994"/>
                <a:gd name="connsiteY279" fmla="*/ 38520 h 1333436"/>
                <a:gd name="connsiteX280" fmla="*/ 253906 w 752994"/>
                <a:gd name="connsiteY280" fmla="*/ 34242 h 1333436"/>
                <a:gd name="connsiteX281" fmla="*/ 256967 w 752994"/>
                <a:gd name="connsiteY281" fmla="*/ 30161 h 1333436"/>
                <a:gd name="connsiteX282" fmla="*/ 262063 w 752994"/>
                <a:gd name="connsiteY282" fmla="*/ 27712 h 1333436"/>
                <a:gd name="connsiteX283" fmla="*/ 264915 w 752994"/>
                <a:gd name="connsiteY283" fmla="*/ 23026 h 1333436"/>
                <a:gd name="connsiteX284" fmla="*/ 267976 w 752994"/>
                <a:gd name="connsiteY284" fmla="*/ 22618 h 1333436"/>
                <a:gd name="connsiteX285" fmla="*/ 270427 w 752994"/>
                <a:gd name="connsiteY285" fmla="*/ 20787 h 1333436"/>
                <a:gd name="connsiteX286" fmla="*/ 263088 w 752994"/>
                <a:gd name="connsiteY286" fmla="*/ 13652 h 1333436"/>
                <a:gd name="connsiteX287" fmla="*/ 255541 w 752994"/>
                <a:gd name="connsiteY287" fmla="*/ 3055 h 1333436"/>
                <a:gd name="connsiteX288" fmla="*/ 256358 w 752994"/>
                <a:gd name="connsiteY288" fmla="*/ 1224 h 1333436"/>
                <a:gd name="connsiteX289" fmla="*/ 257159 w 752994"/>
                <a:gd name="connsiteY289" fmla="*/ 0 h 1333436"/>
                <a:gd name="connsiteX0" fmla="*/ 257159 w 752994"/>
                <a:gd name="connsiteY0" fmla="*/ 0 h 1333436"/>
                <a:gd name="connsiteX1" fmla="*/ 493147 w 752994"/>
                <a:gd name="connsiteY1" fmla="*/ 73157 h 1333436"/>
                <a:gd name="connsiteX2" fmla="*/ 492970 w 752994"/>
                <a:gd name="connsiteY2" fmla="*/ 73792 h 1333436"/>
                <a:gd name="connsiteX3" fmla="*/ 525816 w 752994"/>
                <a:gd name="connsiteY3" fmla="*/ 82491 h 1333436"/>
                <a:gd name="connsiteX4" fmla="*/ 520098 w 752994"/>
                <a:gd name="connsiteY4" fmla="*/ 111245 h 1333436"/>
                <a:gd name="connsiteX5" fmla="*/ 512552 w 752994"/>
                <a:gd name="connsiteY5" fmla="*/ 143854 h 1333436"/>
                <a:gd name="connsiteX6" fmla="*/ 517849 w 752994"/>
                <a:gd name="connsiteY6" fmla="*/ 157740 h 1333436"/>
                <a:gd name="connsiteX7" fmla="*/ 523160 w 752994"/>
                <a:gd name="connsiteY7" fmla="*/ 172009 h 1333436"/>
                <a:gd name="connsiteX8" fmla="*/ 521535 w 752994"/>
                <a:gd name="connsiteY8" fmla="*/ 178928 h 1333436"/>
                <a:gd name="connsiteX9" fmla="*/ 520098 w 752994"/>
                <a:gd name="connsiteY9" fmla="*/ 186279 h 1333436"/>
                <a:gd name="connsiteX10" fmla="*/ 526019 w 752994"/>
                <a:gd name="connsiteY10" fmla="*/ 193629 h 1333436"/>
                <a:gd name="connsiteX11" fmla="*/ 537251 w 752994"/>
                <a:gd name="connsiteY11" fmla="*/ 206270 h 1333436"/>
                <a:gd name="connsiteX12" fmla="*/ 542765 w 752994"/>
                <a:gd name="connsiteY12" fmla="*/ 217475 h 1333436"/>
                <a:gd name="connsiteX13" fmla="*/ 546857 w 752994"/>
                <a:gd name="connsiteY13" fmla="*/ 230930 h 1333436"/>
                <a:gd name="connsiteX14" fmla="*/ 549499 w 752994"/>
                <a:gd name="connsiteY14" fmla="*/ 235622 h 1333436"/>
                <a:gd name="connsiteX15" fmla="*/ 553388 w 752994"/>
                <a:gd name="connsiteY15" fmla="*/ 240722 h 1333436"/>
                <a:gd name="connsiteX16" fmla="*/ 557465 w 752994"/>
                <a:gd name="connsiteY16" fmla="*/ 246037 h 1333436"/>
                <a:gd name="connsiteX17" fmla="*/ 561761 w 752994"/>
                <a:gd name="connsiteY17" fmla="*/ 248671 h 1333436"/>
                <a:gd name="connsiteX18" fmla="*/ 567478 w 752994"/>
                <a:gd name="connsiteY18" fmla="*/ 247665 h 1333436"/>
                <a:gd name="connsiteX19" fmla="*/ 569931 w 752994"/>
                <a:gd name="connsiteY19" fmla="*/ 249293 h 1333436"/>
                <a:gd name="connsiteX20" fmla="*/ 570540 w 752994"/>
                <a:gd name="connsiteY20" fmla="*/ 251951 h 1333436"/>
                <a:gd name="connsiteX21" fmla="*/ 561964 w 752994"/>
                <a:gd name="connsiteY21" fmla="*/ 267656 h 1333436"/>
                <a:gd name="connsiteX22" fmla="*/ 553591 w 752994"/>
                <a:gd name="connsiteY22" fmla="*/ 289659 h 1333436"/>
                <a:gd name="connsiteX23" fmla="*/ 554810 w 752994"/>
                <a:gd name="connsiteY23" fmla="*/ 292939 h 1333436"/>
                <a:gd name="connsiteX24" fmla="*/ 556246 w 752994"/>
                <a:gd name="connsiteY24" fmla="*/ 299260 h 1333436"/>
                <a:gd name="connsiteX25" fmla="*/ 552778 w 752994"/>
                <a:gd name="connsiteY25" fmla="*/ 301917 h 1333436"/>
                <a:gd name="connsiteX26" fmla="*/ 549295 w 752994"/>
                <a:gd name="connsiteY26" fmla="*/ 306993 h 1333436"/>
                <a:gd name="connsiteX27" fmla="*/ 547061 w 752994"/>
                <a:gd name="connsiteY27" fmla="*/ 313122 h 1333436"/>
                <a:gd name="connsiteX28" fmla="*/ 544811 w 752994"/>
                <a:gd name="connsiteY28" fmla="*/ 316593 h 1333436"/>
                <a:gd name="connsiteX29" fmla="*/ 549919 w 752994"/>
                <a:gd name="connsiteY29" fmla="*/ 322698 h 1333436"/>
                <a:gd name="connsiteX30" fmla="*/ 553184 w 752994"/>
                <a:gd name="connsiteY30" fmla="*/ 325955 h 1333436"/>
                <a:gd name="connsiteX31" fmla="*/ 555840 w 752994"/>
                <a:gd name="connsiteY31" fmla="*/ 328205 h 1333436"/>
                <a:gd name="connsiteX32" fmla="*/ 574212 w 752994"/>
                <a:gd name="connsiteY32" fmla="*/ 318820 h 1333436"/>
                <a:gd name="connsiteX33" fmla="*/ 579523 w 752994"/>
                <a:gd name="connsiteY33" fmla="*/ 326577 h 1333436"/>
                <a:gd name="connsiteX34" fmla="*/ 580539 w 752994"/>
                <a:gd name="connsiteY34" fmla="*/ 334933 h 1333436"/>
                <a:gd name="connsiteX35" fmla="*/ 579726 w 752994"/>
                <a:gd name="connsiteY35" fmla="*/ 343097 h 1333436"/>
                <a:gd name="connsiteX36" fmla="*/ 581366 w 752994"/>
                <a:gd name="connsiteY36" fmla="*/ 350231 h 1333436"/>
                <a:gd name="connsiteX37" fmla="*/ 586256 w 752994"/>
                <a:gd name="connsiteY37" fmla="*/ 355930 h 1333436"/>
                <a:gd name="connsiteX38" fmla="*/ 589536 w 752994"/>
                <a:gd name="connsiteY38" fmla="*/ 362059 h 1333436"/>
                <a:gd name="connsiteX39" fmla="*/ 588099 w 752994"/>
                <a:gd name="connsiteY39" fmla="*/ 369600 h 1333436"/>
                <a:gd name="connsiteX40" fmla="*/ 586459 w 752994"/>
                <a:gd name="connsiteY40" fmla="*/ 377357 h 1333436"/>
                <a:gd name="connsiteX41" fmla="*/ 588709 w 752994"/>
                <a:gd name="connsiteY41" fmla="*/ 381835 h 1333436"/>
                <a:gd name="connsiteX42" fmla="*/ 595036 w 752994"/>
                <a:gd name="connsiteY42" fmla="*/ 382457 h 1333436"/>
                <a:gd name="connsiteX43" fmla="*/ 599331 w 752994"/>
                <a:gd name="connsiteY43" fmla="*/ 385306 h 1333436"/>
                <a:gd name="connsiteX44" fmla="*/ 601987 w 752994"/>
                <a:gd name="connsiteY44" fmla="*/ 391004 h 1333436"/>
                <a:gd name="connsiteX45" fmla="*/ 602799 w 752994"/>
                <a:gd name="connsiteY45" fmla="*/ 404076 h 1333436"/>
                <a:gd name="connsiteX46" fmla="*/ 606892 w 752994"/>
                <a:gd name="connsiteY46" fmla="*/ 415688 h 1333436"/>
                <a:gd name="connsiteX47" fmla="*/ 610563 w 752994"/>
                <a:gd name="connsiteY47" fmla="*/ 412217 h 1333436"/>
                <a:gd name="connsiteX48" fmla="*/ 617920 w 752994"/>
                <a:gd name="connsiteY48" fmla="*/ 408769 h 1333436"/>
                <a:gd name="connsiteX49" fmla="*/ 624654 w 752994"/>
                <a:gd name="connsiteY49" fmla="*/ 411211 h 1333436"/>
                <a:gd name="connsiteX50" fmla="*/ 634652 w 752994"/>
                <a:gd name="connsiteY50" fmla="*/ 410182 h 1333436"/>
                <a:gd name="connsiteX51" fmla="*/ 640573 w 752994"/>
                <a:gd name="connsiteY51" fmla="*/ 407739 h 1333436"/>
                <a:gd name="connsiteX52" fmla="*/ 646711 w 752994"/>
                <a:gd name="connsiteY52" fmla="*/ 410589 h 1333436"/>
                <a:gd name="connsiteX53" fmla="*/ 650383 w 752994"/>
                <a:gd name="connsiteY53" fmla="*/ 410589 h 1333436"/>
                <a:gd name="connsiteX54" fmla="*/ 654257 w 752994"/>
                <a:gd name="connsiteY54" fmla="*/ 411618 h 1333436"/>
                <a:gd name="connsiteX55" fmla="*/ 656913 w 752994"/>
                <a:gd name="connsiteY55" fmla="*/ 413653 h 1333436"/>
                <a:gd name="connsiteX56" fmla="*/ 660802 w 752994"/>
                <a:gd name="connsiteY56" fmla="*/ 415090 h 1333436"/>
                <a:gd name="connsiteX57" fmla="*/ 669581 w 752994"/>
                <a:gd name="connsiteY57" fmla="*/ 415904 h 1333436"/>
                <a:gd name="connsiteX58" fmla="*/ 672237 w 752994"/>
                <a:gd name="connsiteY58" fmla="*/ 415688 h 1333436"/>
                <a:gd name="connsiteX59" fmla="*/ 675705 w 752994"/>
                <a:gd name="connsiteY59" fmla="*/ 409367 h 1333436"/>
                <a:gd name="connsiteX60" fmla="*/ 679986 w 752994"/>
                <a:gd name="connsiteY60" fmla="*/ 403238 h 1333436"/>
                <a:gd name="connsiteX61" fmla="*/ 693264 w 752994"/>
                <a:gd name="connsiteY61" fmla="*/ 419567 h 1333436"/>
                <a:gd name="connsiteX62" fmla="*/ 688563 w 752994"/>
                <a:gd name="connsiteY62" fmla="*/ 448321 h 1333436"/>
                <a:gd name="connsiteX63" fmla="*/ 663949 w 752994"/>
                <a:gd name="connsiteY63" fmla="*/ 590165 h 1333436"/>
                <a:gd name="connsiteX64" fmla="*/ 666304 w 752994"/>
                <a:gd name="connsiteY64" fmla="*/ 590504 h 1333436"/>
                <a:gd name="connsiteX65" fmla="*/ 655288 w 752994"/>
                <a:gd name="connsiteY65" fmla="*/ 656178 h 1333436"/>
                <a:gd name="connsiteX66" fmla="*/ 681808 w 752994"/>
                <a:gd name="connsiteY66" fmla="*/ 662301 h 1333436"/>
                <a:gd name="connsiteX67" fmla="*/ 752994 w 752994"/>
                <a:gd name="connsiteY67" fmla="*/ 675560 h 1333436"/>
                <a:gd name="connsiteX68" fmla="*/ 714651 w 752994"/>
                <a:gd name="connsiteY68" fmla="*/ 946985 h 1333436"/>
                <a:gd name="connsiteX69" fmla="*/ 654533 w 752994"/>
                <a:gd name="connsiteY69" fmla="*/ 1333436 h 1333436"/>
                <a:gd name="connsiteX70" fmla="*/ 546831 w 752994"/>
                <a:gd name="connsiteY70" fmla="*/ 1317126 h 1333436"/>
                <a:gd name="connsiteX71" fmla="*/ 351227 w 752994"/>
                <a:gd name="connsiteY71" fmla="*/ 1194172 h 1333436"/>
                <a:gd name="connsiteX72" fmla="*/ 361011 w 752994"/>
                <a:gd name="connsiteY72" fmla="*/ 1182755 h 1333436"/>
                <a:gd name="connsiteX73" fmla="*/ 368981 w 752994"/>
                <a:gd name="connsiteY73" fmla="*/ 1182130 h 1333436"/>
                <a:gd name="connsiteX74" fmla="*/ 369571 w 752994"/>
                <a:gd name="connsiteY74" fmla="*/ 1181558 h 1333436"/>
                <a:gd name="connsiteX75" fmla="*/ 362372 w 752994"/>
                <a:gd name="connsiteY75" fmla="*/ 1182120 h 1333436"/>
                <a:gd name="connsiteX76" fmla="*/ 229464 w 752994"/>
                <a:gd name="connsiteY76" fmla="*/ 1161721 h 1333436"/>
                <a:gd name="connsiteX77" fmla="*/ 227427 w 752994"/>
                <a:gd name="connsiteY77" fmla="*/ 1157269 h 1333436"/>
                <a:gd name="connsiteX78" fmla="*/ 224967 w 752994"/>
                <a:gd name="connsiteY78" fmla="*/ 1152575 h 1333436"/>
                <a:gd name="connsiteX79" fmla="*/ 225582 w 752994"/>
                <a:gd name="connsiteY79" fmla="*/ 1144808 h 1333436"/>
                <a:gd name="connsiteX80" fmla="*/ 227215 w 752994"/>
                <a:gd name="connsiteY80" fmla="*/ 1135834 h 1333436"/>
                <a:gd name="connsiteX81" fmla="*/ 227215 w 752994"/>
                <a:gd name="connsiteY81" fmla="*/ 1134212 h 1333436"/>
                <a:gd name="connsiteX82" fmla="*/ 225179 w 752994"/>
                <a:gd name="connsiteY82" fmla="*/ 1114020 h 1333436"/>
                <a:gd name="connsiteX83" fmla="*/ 217839 w 752994"/>
                <a:gd name="connsiteY83" fmla="*/ 1100352 h 1333436"/>
                <a:gd name="connsiteX84" fmla="*/ 199661 w 752994"/>
                <a:gd name="connsiteY84" fmla="*/ 1076502 h 1333436"/>
                <a:gd name="connsiteX85" fmla="*/ 196395 w 752994"/>
                <a:gd name="connsiteY85" fmla="*/ 1071807 h 1333436"/>
                <a:gd name="connsiteX86" fmla="*/ 190880 w 752994"/>
                <a:gd name="connsiteY86" fmla="*/ 1067527 h 1333436"/>
                <a:gd name="connsiteX87" fmla="*/ 187210 w 752994"/>
                <a:gd name="connsiteY87" fmla="*/ 1068735 h 1333436"/>
                <a:gd name="connsiteX88" fmla="*/ 180062 w 752994"/>
                <a:gd name="connsiteY88" fmla="*/ 1066699 h 1333436"/>
                <a:gd name="connsiteX89" fmla="*/ 180466 w 752994"/>
                <a:gd name="connsiteY89" fmla="*/ 1053031 h 1333436"/>
                <a:gd name="connsiteX90" fmla="*/ 180062 w 752994"/>
                <a:gd name="connsiteY90" fmla="*/ 1045299 h 1333436"/>
                <a:gd name="connsiteX91" fmla="*/ 174144 w 752994"/>
                <a:gd name="connsiteY91" fmla="*/ 1044057 h 1333436"/>
                <a:gd name="connsiteX92" fmla="*/ 158426 w 752994"/>
                <a:gd name="connsiteY92" fmla="*/ 1042641 h 1333436"/>
                <a:gd name="connsiteX93" fmla="*/ 149857 w 752994"/>
                <a:gd name="connsiteY93" fmla="*/ 1035497 h 1333436"/>
                <a:gd name="connsiteX94" fmla="*/ 142497 w 752994"/>
                <a:gd name="connsiteY94" fmla="*/ 1028766 h 1333436"/>
                <a:gd name="connsiteX95" fmla="*/ 140864 w 752994"/>
                <a:gd name="connsiteY95" fmla="*/ 1020620 h 1333436"/>
                <a:gd name="connsiteX96" fmla="*/ 138212 w 752994"/>
                <a:gd name="connsiteY96" fmla="*/ 1013061 h 1333436"/>
                <a:gd name="connsiteX97" fmla="*/ 131064 w 752994"/>
                <a:gd name="connsiteY97" fmla="*/ 1007159 h 1333436"/>
                <a:gd name="connsiteX98" fmla="*/ 121264 w 752994"/>
                <a:gd name="connsiteY98" fmla="*/ 1005330 h 1333436"/>
                <a:gd name="connsiteX99" fmla="*/ 112483 w 752994"/>
                <a:gd name="connsiteY99" fmla="*/ 1001671 h 1333436"/>
                <a:gd name="connsiteX100" fmla="*/ 105950 w 752994"/>
                <a:gd name="connsiteY100" fmla="*/ 995734 h 1333436"/>
                <a:gd name="connsiteX101" fmla="*/ 97380 w 752994"/>
                <a:gd name="connsiteY101" fmla="*/ 994526 h 1333436"/>
                <a:gd name="connsiteX102" fmla="*/ 87984 w 752994"/>
                <a:gd name="connsiteY102" fmla="*/ 991040 h 1333436"/>
                <a:gd name="connsiteX103" fmla="*/ 80029 w 752994"/>
                <a:gd name="connsiteY103" fmla="*/ 985138 h 1333436"/>
                <a:gd name="connsiteX104" fmla="*/ 77166 w 752994"/>
                <a:gd name="connsiteY104" fmla="*/ 976164 h 1333436"/>
                <a:gd name="connsiteX105" fmla="*/ 79203 w 752994"/>
                <a:gd name="connsiteY105" fmla="*/ 970676 h 1333436"/>
                <a:gd name="connsiteX106" fmla="*/ 82470 w 752994"/>
                <a:gd name="connsiteY106" fmla="*/ 963117 h 1333436"/>
                <a:gd name="connsiteX107" fmla="*/ 84314 w 752994"/>
                <a:gd name="connsiteY107" fmla="*/ 954557 h 1333436"/>
                <a:gd name="connsiteX108" fmla="*/ 86351 w 752994"/>
                <a:gd name="connsiteY108" fmla="*/ 948033 h 1333436"/>
                <a:gd name="connsiteX109" fmla="*/ 86159 w 752994"/>
                <a:gd name="connsiteY109" fmla="*/ 942925 h 1333436"/>
                <a:gd name="connsiteX110" fmla="*/ 83085 w 752994"/>
                <a:gd name="connsiteY110" fmla="*/ 939853 h 1333436"/>
                <a:gd name="connsiteX111" fmla="*/ 77570 w 752994"/>
                <a:gd name="connsiteY111" fmla="*/ 937437 h 1333436"/>
                <a:gd name="connsiteX112" fmla="*/ 76763 w 752994"/>
                <a:gd name="connsiteY112" fmla="*/ 931915 h 1333436"/>
                <a:gd name="connsiteX113" fmla="*/ 78800 w 752994"/>
                <a:gd name="connsiteY113" fmla="*/ 927013 h 1333436"/>
                <a:gd name="connsiteX114" fmla="*/ 79626 w 752994"/>
                <a:gd name="connsiteY114" fmla="*/ 922526 h 1333436"/>
                <a:gd name="connsiteX115" fmla="*/ 77781 w 752994"/>
                <a:gd name="connsiteY115" fmla="*/ 919903 h 1333436"/>
                <a:gd name="connsiteX116" fmla="*/ 74303 w 752994"/>
                <a:gd name="connsiteY116" fmla="*/ 917418 h 1333436"/>
                <a:gd name="connsiteX117" fmla="*/ 71863 w 752994"/>
                <a:gd name="connsiteY117" fmla="*/ 915174 h 1333436"/>
                <a:gd name="connsiteX118" fmla="*/ 71652 w 752994"/>
                <a:gd name="connsiteY118" fmla="*/ 910894 h 1333436"/>
                <a:gd name="connsiteX119" fmla="*/ 70633 w 752994"/>
                <a:gd name="connsiteY119" fmla="*/ 906614 h 1333436"/>
                <a:gd name="connsiteX120" fmla="*/ 68385 w 752994"/>
                <a:gd name="connsiteY120" fmla="*/ 902749 h 1333436"/>
                <a:gd name="connsiteX121" fmla="*/ 61045 w 752994"/>
                <a:gd name="connsiteY121" fmla="*/ 889494 h 1333436"/>
                <a:gd name="connsiteX122" fmla="*/ 57971 w 752994"/>
                <a:gd name="connsiteY122" fmla="*/ 875619 h 1333436"/>
                <a:gd name="connsiteX123" fmla="*/ 52264 w 752994"/>
                <a:gd name="connsiteY123" fmla="*/ 862572 h 1333436"/>
                <a:gd name="connsiteX124" fmla="*/ 44309 w 752994"/>
                <a:gd name="connsiteY124" fmla="*/ 850561 h 1333436"/>
                <a:gd name="connsiteX125" fmla="*/ 45520 w 752994"/>
                <a:gd name="connsiteY125" fmla="*/ 827090 h 1333436"/>
                <a:gd name="connsiteX126" fmla="*/ 53071 w 752994"/>
                <a:gd name="connsiteY126" fmla="*/ 822396 h 1333436"/>
                <a:gd name="connsiteX127" fmla="*/ 57375 w 752994"/>
                <a:gd name="connsiteY127" fmla="*/ 816493 h 1333436"/>
                <a:gd name="connsiteX128" fmla="*/ 55319 w 752994"/>
                <a:gd name="connsiteY128" fmla="*/ 801617 h 1333436"/>
                <a:gd name="connsiteX129" fmla="*/ 48383 w 752994"/>
                <a:gd name="connsiteY129" fmla="*/ 802204 h 1333436"/>
                <a:gd name="connsiteX130" fmla="*/ 40428 w 752994"/>
                <a:gd name="connsiteY130" fmla="*/ 797924 h 1333436"/>
                <a:gd name="connsiteX131" fmla="*/ 37565 w 752994"/>
                <a:gd name="connsiteY131" fmla="*/ 790606 h 1333436"/>
                <a:gd name="connsiteX132" fmla="*/ 37565 w 752994"/>
                <a:gd name="connsiteY132" fmla="*/ 790399 h 1333436"/>
                <a:gd name="connsiteX133" fmla="*/ 35931 w 752994"/>
                <a:gd name="connsiteY133" fmla="*/ 785912 h 1333436"/>
                <a:gd name="connsiteX134" fmla="*/ 34510 w 752994"/>
                <a:gd name="connsiteY134" fmla="*/ 780597 h 1333436"/>
                <a:gd name="connsiteX135" fmla="*/ 36335 w 752994"/>
                <a:gd name="connsiteY135" fmla="*/ 774280 h 1333436"/>
                <a:gd name="connsiteX136" fmla="*/ 38180 w 752994"/>
                <a:gd name="connsiteY136" fmla="*/ 766721 h 1333436"/>
                <a:gd name="connsiteX137" fmla="*/ 37161 w 752994"/>
                <a:gd name="connsiteY137" fmla="*/ 760405 h 1333436"/>
                <a:gd name="connsiteX138" fmla="*/ 35720 w 752994"/>
                <a:gd name="connsiteY138" fmla="*/ 754710 h 1333436"/>
                <a:gd name="connsiteX139" fmla="*/ 36546 w 752994"/>
                <a:gd name="connsiteY139" fmla="*/ 748773 h 1333436"/>
                <a:gd name="connsiteX140" fmla="*/ 38372 w 752994"/>
                <a:gd name="connsiteY140" fmla="*/ 744528 h 1333436"/>
                <a:gd name="connsiteX141" fmla="*/ 41638 w 752994"/>
                <a:gd name="connsiteY141" fmla="*/ 744321 h 1333436"/>
                <a:gd name="connsiteX142" fmla="*/ 44713 w 752994"/>
                <a:gd name="connsiteY142" fmla="*/ 746357 h 1333436"/>
                <a:gd name="connsiteX143" fmla="*/ 47364 w 752994"/>
                <a:gd name="connsiteY143" fmla="*/ 753260 h 1333436"/>
                <a:gd name="connsiteX144" fmla="*/ 55742 w 752994"/>
                <a:gd name="connsiteY144" fmla="*/ 764305 h 1333436"/>
                <a:gd name="connsiteX145" fmla="*/ 56338 w 752994"/>
                <a:gd name="connsiteY145" fmla="*/ 761233 h 1333436"/>
                <a:gd name="connsiteX146" fmla="*/ 56145 w 752994"/>
                <a:gd name="connsiteY146" fmla="*/ 757368 h 1333436"/>
                <a:gd name="connsiteX147" fmla="*/ 54916 w 752994"/>
                <a:gd name="connsiteY147" fmla="*/ 748601 h 1333436"/>
                <a:gd name="connsiteX148" fmla="*/ 52879 w 752994"/>
                <a:gd name="connsiteY148" fmla="*/ 747358 h 1333436"/>
                <a:gd name="connsiteX149" fmla="*/ 51649 w 752994"/>
                <a:gd name="connsiteY149" fmla="*/ 745322 h 1333436"/>
                <a:gd name="connsiteX150" fmla="*/ 51649 w 752994"/>
                <a:gd name="connsiteY150" fmla="*/ 739212 h 1333436"/>
                <a:gd name="connsiteX151" fmla="*/ 50227 w 752994"/>
                <a:gd name="connsiteY151" fmla="*/ 734725 h 1333436"/>
                <a:gd name="connsiteX152" fmla="*/ 48786 w 752994"/>
                <a:gd name="connsiteY152" fmla="*/ 731446 h 1333436"/>
                <a:gd name="connsiteX153" fmla="*/ 54512 w 752994"/>
                <a:gd name="connsiteY153" fmla="*/ 726372 h 1333436"/>
                <a:gd name="connsiteX154" fmla="*/ 59815 w 752994"/>
                <a:gd name="connsiteY154" fmla="*/ 725130 h 1333436"/>
                <a:gd name="connsiteX155" fmla="*/ 58182 w 752994"/>
                <a:gd name="connsiteY155" fmla="*/ 722886 h 1333436"/>
                <a:gd name="connsiteX156" fmla="*/ 51861 w 752994"/>
                <a:gd name="connsiteY156" fmla="*/ 717985 h 1333436"/>
                <a:gd name="connsiteX157" fmla="*/ 46749 w 752994"/>
                <a:gd name="connsiteY157" fmla="*/ 729617 h 1333436"/>
                <a:gd name="connsiteX158" fmla="*/ 40831 w 752994"/>
                <a:gd name="connsiteY158" fmla="*/ 739212 h 1333436"/>
                <a:gd name="connsiteX159" fmla="*/ 39601 w 752994"/>
                <a:gd name="connsiteY159" fmla="*/ 738798 h 1333436"/>
                <a:gd name="connsiteX160" fmla="*/ 39409 w 752994"/>
                <a:gd name="connsiteY160" fmla="*/ 738591 h 1333436"/>
                <a:gd name="connsiteX161" fmla="*/ 37161 w 752994"/>
                <a:gd name="connsiteY161" fmla="*/ 734725 h 1333436"/>
                <a:gd name="connsiteX162" fmla="*/ 32665 w 752994"/>
                <a:gd name="connsiteY162" fmla="*/ 727788 h 1333436"/>
                <a:gd name="connsiteX163" fmla="*/ 26747 w 752994"/>
                <a:gd name="connsiteY163" fmla="*/ 719435 h 1333436"/>
                <a:gd name="connsiteX164" fmla="*/ 23884 w 752994"/>
                <a:gd name="connsiteY164" fmla="*/ 717812 h 1333436"/>
                <a:gd name="connsiteX165" fmla="*/ 24710 w 752994"/>
                <a:gd name="connsiteY165" fmla="*/ 709632 h 1333436"/>
                <a:gd name="connsiteX166" fmla="*/ 27554 w 752994"/>
                <a:gd name="connsiteY166" fmla="*/ 701694 h 1333436"/>
                <a:gd name="connsiteX167" fmla="*/ 24902 w 752994"/>
                <a:gd name="connsiteY167" fmla="*/ 696171 h 1333436"/>
                <a:gd name="connsiteX168" fmla="*/ 24095 w 752994"/>
                <a:gd name="connsiteY168" fmla="*/ 687818 h 1333436"/>
                <a:gd name="connsiteX169" fmla="*/ 22462 w 752994"/>
                <a:gd name="connsiteY169" fmla="*/ 682330 h 1333436"/>
                <a:gd name="connsiteX170" fmla="*/ 17159 w 752994"/>
                <a:gd name="connsiteY170" fmla="*/ 677636 h 1333436"/>
                <a:gd name="connsiteX171" fmla="*/ 14296 w 752994"/>
                <a:gd name="connsiteY171" fmla="*/ 671492 h 1333436"/>
                <a:gd name="connsiteX172" fmla="*/ 12451 w 752994"/>
                <a:gd name="connsiteY172" fmla="*/ 665797 h 1333436"/>
                <a:gd name="connsiteX173" fmla="*/ 5111 w 752994"/>
                <a:gd name="connsiteY173" fmla="*/ 654994 h 1333436"/>
                <a:gd name="connsiteX174" fmla="*/ 2248 w 752994"/>
                <a:gd name="connsiteY174" fmla="*/ 645605 h 1333436"/>
                <a:gd name="connsiteX175" fmla="*/ 4496 w 752994"/>
                <a:gd name="connsiteY175" fmla="*/ 640497 h 1333436"/>
                <a:gd name="connsiteX176" fmla="*/ 6744 w 752994"/>
                <a:gd name="connsiteY176" fmla="*/ 632765 h 1333436"/>
                <a:gd name="connsiteX177" fmla="*/ 6744 w 752994"/>
                <a:gd name="connsiteY177" fmla="*/ 628485 h 1333436"/>
                <a:gd name="connsiteX178" fmla="*/ 6533 w 752994"/>
                <a:gd name="connsiteY178" fmla="*/ 620305 h 1333436"/>
                <a:gd name="connsiteX179" fmla="*/ 7359 w 752994"/>
                <a:gd name="connsiteY179" fmla="*/ 611745 h 1333436"/>
                <a:gd name="connsiteX180" fmla="*/ 11836 w 752994"/>
                <a:gd name="connsiteY180" fmla="*/ 602978 h 1333436"/>
                <a:gd name="connsiteX181" fmla="*/ 15103 w 752994"/>
                <a:gd name="connsiteY181" fmla="*/ 591760 h 1333436"/>
                <a:gd name="connsiteX182" fmla="*/ 14488 w 752994"/>
                <a:gd name="connsiteY182" fmla="*/ 584029 h 1333436"/>
                <a:gd name="connsiteX183" fmla="*/ 13873 w 752994"/>
                <a:gd name="connsiteY183" fmla="*/ 578299 h 1333436"/>
                <a:gd name="connsiteX184" fmla="*/ 10626 w 752994"/>
                <a:gd name="connsiteY184" fmla="*/ 568531 h 1333436"/>
                <a:gd name="connsiteX185" fmla="*/ 3670 w 752994"/>
                <a:gd name="connsiteY185" fmla="*/ 558107 h 1333436"/>
                <a:gd name="connsiteX186" fmla="*/ 0 w 752994"/>
                <a:gd name="connsiteY186" fmla="*/ 551377 h 1333436"/>
                <a:gd name="connsiteX187" fmla="*/ 0 w 752994"/>
                <a:gd name="connsiteY187" fmla="*/ 550997 h 1333436"/>
                <a:gd name="connsiteX188" fmla="*/ 4900 w 752994"/>
                <a:gd name="connsiteY188" fmla="*/ 531220 h 1333436"/>
                <a:gd name="connsiteX189" fmla="*/ 13873 w 752994"/>
                <a:gd name="connsiteY189" fmla="*/ 520589 h 1333436"/>
                <a:gd name="connsiteX190" fmla="*/ 18369 w 752994"/>
                <a:gd name="connsiteY190" fmla="*/ 516516 h 1333436"/>
                <a:gd name="connsiteX191" fmla="*/ 18773 w 752994"/>
                <a:gd name="connsiteY191" fmla="*/ 514272 h 1333436"/>
                <a:gd name="connsiteX192" fmla="*/ 23077 w 752994"/>
                <a:gd name="connsiteY192" fmla="*/ 506127 h 1333436"/>
                <a:gd name="connsiteX193" fmla="*/ 23884 w 752994"/>
                <a:gd name="connsiteY193" fmla="*/ 502261 h 1333436"/>
                <a:gd name="connsiteX194" fmla="*/ 23692 w 752994"/>
                <a:gd name="connsiteY194" fmla="*/ 496738 h 1333436"/>
                <a:gd name="connsiteX195" fmla="*/ 30013 w 752994"/>
                <a:gd name="connsiteY195" fmla="*/ 486556 h 1333436"/>
                <a:gd name="connsiteX196" fmla="*/ 36546 w 752994"/>
                <a:gd name="connsiteY196" fmla="*/ 470230 h 1333436"/>
                <a:gd name="connsiteX197" fmla="*/ 36546 w 752994"/>
                <a:gd name="connsiteY197" fmla="*/ 462671 h 1333436"/>
                <a:gd name="connsiteX198" fmla="*/ 36335 w 752994"/>
                <a:gd name="connsiteY198" fmla="*/ 461670 h 1333436"/>
                <a:gd name="connsiteX199" fmla="*/ 35931 w 752994"/>
                <a:gd name="connsiteY199" fmla="*/ 453110 h 1333436"/>
                <a:gd name="connsiteX200" fmla="*/ 38583 w 752994"/>
                <a:gd name="connsiteY200" fmla="*/ 442514 h 1333436"/>
                <a:gd name="connsiteX201" fmla="*/ 41043 w 752994"/>
                <a:gd name="connsiteY201" fmla="*/ 436991 h 1333436"/>
                <a:gd name="connsiteX202" fmla="*/ 41650 w 752994"/>
                <a:gd name="connsiteY202" fmla="*/ 437186 h 1333436"/>
                <a:gd name="connsiteX203" fmla="*/ 41239 w 752994"/>
                <a:gd name="connsiteY203" fmla="*/ 436549 h 1333436"/>
                <a:gd name="connsiteX204" fmla="*/ 37778 w 752994"/>
                <a:gd name="connsiteY204" fmla="*/ 433894 h 1333436"/>
                <a:gd name="connsiteX205" fmla="*/ 37169 w 752994"/>
                <a:gd name="connsiteY205" fmla="*/ 432261 h 1333436"/>
                <a:gd name="connsiteX206" fmla="*/ 37365 w 752994"/>
                <a:gd name="connsiteY206" fmla="*/ 429198 h 1333436"/>
                <a:gd name="connsiteX207" fmla="*/ 36756 w 752994"/>
                <a:gd name="connsiteY207" fmla="*/ 422272 h 1333436"/>
                <a:gd name="connsiteX208" fmla="*/ 36952 w 752994"/>
                <a:gd name="connsiteY208" fmla="*/ 418800 h 1333436"/>
                <a:gd name="connsiteX209" fmla="*/ 36756 w 752994"/>
                <a:gd name="connsiteY209" fmla="*/ 412487 h 1333436"/>
                <a:gd name="connsiteX210" fmla="*/ 40433 w 752994"/>
                <a:gd name="connsiteY210" fmla="*/ 406174 h 1333436"/>
                <a:gd name="connsiteX211" fmla="*/ 44720 w 752994"/>
                <a:gd name="connsiteY211" fmla="*/ 399435 h 1333436"/>
                <a:gd name="connsiteX212" fmla="*/ 44110 w 752994"/>
                <a:gd name="connsiteY212" fmla="*/ 389651 h 1333436"/>
                <a:gd name="connsiteX213" fmla="*/ 43894 w 752994"/>
                <a:gd name="connsiteY213" fmla="*/ 378437 h 1333436"/>
                <a:gd name="connsiteX214" fmla="*/ 47158 w 752994"/>
                <a:gd name="connsiteY214" fmla="*/ 371102 h 1333436"/>
                <a:gd name="connsiteX215" fmla="*/ 55731 w 752994"/>
                <a:gd name="connsiteY215" fmla="*/ 360909 h 1333436"/>
                <a:gd name="connsiteX216" fmla="*/ 57580 w 752994"/>
                <a:gd name="connsiteY216" fmla="*/ 355804 h 1333436"/>
                <a:gd name="connsiteX217" fmla="*/ 62673 w 752994"/>
                <a:gd name="connsiteY217" fmla="*/ 349695 h 1333436"/>
                <a:gd name="connsiteX218" fmla="*/ 65937 w 752994"/>
                <a:gd name="connsiteY218" fmla="*/ 348470 h 1333436"/>
                <a:gd name="connsiteX219" fmla="*/ 68395 w 752994"/>
                <a:gd name="connsiteY219" fmla="*/ 348674 h 1333436"/>
                <a:gd name="connsiteX220" fmla="*/ 70224 w 752994"/>
                <a:gd name="connsiteY220" fmla="*/ 347449 h 1333436"/>
                <a:gd name="connsiteX221" fmla="*/ 67785 w 752994"/>
                <a:gd name="connsiteY221" fmla="*/ 345203 h 1333436"/>
                <a:gd name="connsiteX222" fmla="*/ 65524 w 752994"/>
                <a:gd name="connsiteY222" fmla="*/ 343178 h 1333436"/>
                <a:gd name="connsiteX223" fmla="*/ 73095 w 752994"/>
                <a:gd name="connsiteY223" fmla="*/ 333376 h 1333436"/>
                <a:gd name="connsiteX224" fmla="*/ 73291 w 752994"/>
                <a:gd name="connsiteY224" fmla="*/ 333376 h 1333436"/>
                <a:gd name="connsiteX225" fmla="*/ 77991 w 752994"/>
                <a:gd name="connsiteY225" fmla="*/ 325838 h 1333436"/>
                <a:gd name="connsiteX226" fmla="*/ 82671 w 752994"/>
                <a:gd name="connsiteY226" fmla="*/ 313619 h 1333436"/>
                <a:gd name="connsiteX227" fmla="*/ 87980 w 752994"/>
                <a:gd name="connsiteY227" fmla="*/ 303018 h 1333436"/>
                <a:gd name="connsiteX228" fmla="*/ 92267 w 752994"/>
                <a:gd name="connsiteY228" fmla="*/ 291191 h 1333436"/>
                <a:gd name="connsiteX229" fmla="*/ 96553 w 752994"/>
                <a:gd name="connsiteY229" fmla="*/ 281202 h 1333436"/>
                <a:gd name="connsiteX230" fmla="*/ 99621 w 752994"/>
                <a:gd name="connsiteY230" fmla="*/ 274481 h 1333436"/>
                <a:gd name="connsiteX231" fmla="*/ 103082 w 752994"/>
                <a:gd name="connsiteY231" fmla="*/ 262450 h 1333436"/>
                <a:gd name="connsiteX232" fmla="*/ 107172 w 752994"/>
                <a:gd name="connsiteY232" fmla="*/ 254299 h 1333436"/>
                <a:gd name="connsiteX233" fmla="*/ 112481 w 752994"/>
                <a:gd name="connsiteY233" fmla="*/ 243697 h 1333436"/>
                <a:gd name="connsiteX234" fmla="*/ 117181 w 752994"/>
                <a:gd name="connsiteY234" fmla="*/ 232279 h 1333436"/>
                <a:gd name="connsiteX235" fmla="*/ 125951 w 752994"/>
                <a:gd name="connsiteY235" fmla="*/ 217389 h 1333436"/>
                <a:gd name="connsiteX236" fmla="*/ 136156 w 752994"/>
                <a:gd name="connsiteY236" fmla="*/ 202925 h 1333436"/>
                <a:gd name="connsiteX237" fmla="*/ 138811 w 752994"/>
                <a:gd name="connsiteY237" fmla="*/ 183339 h 1333436"/>
                <a:gd name="connsiteX238" fmla="*/ 148801 w 752994"/>
                <a:gd name="connsiteY238" fmla="*/ 167445 h 1333436"/>
                <a:gd name="connsiteX239" fmla="*/ 159616 w 752994"/>
                <a:gd name="connsiteY239" fmla="*/ 170712 h 1333436"/>
                <a:gd name="connsiteX240" fmla="*/ 173105 w 752994"/>
                <a:gd name="connsiteY240" fmla="*/ 175188 h 1333436"/>
                <a:gd name="connsiteX241" fmla="*/ 175347 w 752994"/>
                <a:gd name="connsiteY241" fmla="*/ 175188 h 1333436"/>
                <a:gd name="connsiteX242" fmla="*/ 175347 w 752994"/>
                <a:gd name="connsiteY242" fmla="*/ 173758 h 1333436"/>
                <a:gd name="connsiteX243" fmla="*/ 174971 w 752994"/>
                <a:gd name="connsiteY243" fmla="*/ 169550 h 1333436"/>
                <a:gd name="connsiteX244" fmla="*/ 158851 w 752994"/>
                <a:gd name="connsiteY244" fmla="*/ 156924 h 1333436"/>
                <a:gd name="connsiteX245" fmla="*/ 147025 w 752994"/>
                <a:gd name="connsiteY245" fmla="*/ 145709 h 1333436"/>
                <a:gd name="connsiteX246" fmla="*/ 154364 w 752994"/>
                <a:gd name="connsiteY246" fmla="*/ 136335 h 1333436"/>
                <a:gd name="connsiteX247" fmla="*/ 161511 w 752994"/>
                <a:gd name="connsiteY247" fmla="*/ 131042 h 1333436"/>
                <a:gd name="connsiteX248" fmla="*/ 160902 w 752994"/>
                <a:gd name="connsiteY248" fmla="*/ 128384 h 1333436"/>
                <a:gd name="connsiteX249" fmla="*/ 160277 w 752994"/>
                <a:gd name="connsiteY249" fmla="*/ 127778 h 1333436"/>
                <a:gd name="connsiteX250" fmla="*/ 154973 w 752994"/>
                <a:gd name="connsiteY250" fmla="*/ 122077 h 1333436"/>
                <a:gd name="connsiteX251" fmla="*/ 160277 w 752994"/>
                <a:gd name="connsiteY251" fmla="*/ 115140 h 1333436"/>
                <a:gd name="connsiteX252" fmla="*/ 165181 w 752994"/>
                <a:gd name="connsiteY252" fmla="*/ 108215 h 1333436"/>
                <a:gd name="connsiteX253" fmla="*/ 161303 w 752994"/>
                <a:gd name="connsiteY253" fmla="*/ 104146 h 1333436"/>
                <a:gd name="connsiteX254" fmla="*/ 157842 w 752994"/>
                <a:gd name="connsiteY254" fmla="*/ 104542 h 1333436"/>
                <a:gd name="connsiteX255" fmla="*/ 157024 w 752994"/>
                <a:gd name="connsiteY255" fmla="*/ 102304 h 1333436"/>
                <a:gd name="connsiteX256" fmla="*/ 160694 w 752994"/>
                <a:gd name="connsiteY256" fmla="*/ 55437 h 1333436"/>
                <a:gd name="connsiteX257" fmla="*/ 160486 w 752994"/>
                <a:gd name="connsiteY257" fmla="*/ 31991 h 1333436"/>
                <a:gd name="connsiteX258" fmla="*/ 164972 w 752994"/>
                <a:gd name="connsiteY258" fmla="*/ 18141 h 1333436"/>
                <a:gd name="connsiteX259" fmla="*/ 171911 w 752994"/>
                <a:gd name="connsiteY259" fmla="*/ 11204 h 1333436"/>
                <a:gd name="connsiteX260" fmla="*/ 187406 w 752994"/>
                <a:gd name="connsiteY260" fmla="*/ 21801 h 1333436"/>
                <a:gd name="connsiteX261" fmla="*/ 210866 w 752994"/>
                <a:gd name="connsiteY261" fmla="*/ 37086 h 1333436"/>
                <a:gd name="connsiteX262" fmla="*/ 219230 w 752994"/>
                <a:gd name="connsiteY262" fmla="*/ 41166 h 1333436"/>
                <a:gd name="connsiteX263" fmla="*/ 226778 w 752994"/>
                <a:gd name="connsiteY263" fmla="*/ 47486 h 1333436"/>
                <a:gd name="connsiteX264" fmla="*/ 236152 w 752994"/>
                <a:gd name="connsiteY264" fmla="*/ 52370 h 1333436"/>
                <a:gd name="connsiteX265" fmla="*/ 239629 w 752994"/>
                <a:gd name="connsiteY265" fmla="*/ 58491 h 1333436"/>
                <a:gd name="connsiteX266" fmla="*/ 239629 w 752994"/>
                <a:gd name="connsiteY266" fmla="*/ 63376 h 1333436"/>
                <a:gd name="connsiteX267" fmla="*/ 236568 w 752994"/>
                <a:gd name="connsiteY267" fmla="*/ 67457 h 1333436"/>
                <a:gd name="connsiteX268" fmla="*/ 231264 w 752994"/>
                <a:gd name="connsiteY268" fmla="*/ 69905 h 1333436"/>
                <a:gd name="connsiteX269" fmla="*/ 216778 w 752994"/>
                <a:gd name="connsiteY269" fmla="*/ 82741 h 1333436"/>
                <a:gd name="connsiteX270" fmla="*/ 214134 w 752994"/>
                <a:gd name="connsiteY270" fmla="*/ 93536 h 1333436"/>
                <a:gd name="connsiteX271" fmla="*/ 214535 w 752994"/>
                <a:gd name="connsiteY271" fmla="*/ 96801 h 1333436"/>
                <a:gd name="connsiteX272" fmla="*/ 216378 w 752994"/>
                <a:gd name="connsiteY272" fmla="*/ 96801 h 1333436"/>
                <a:gd name="connsiteX273" fmla="*/ 230046 w 752994"/>
                <a:gd name="connsiteY273" fmla="*/ 85387 h 1333436"/>
                <a:gd name="connsiteX274" fmla="*/ 243298 w 752994"/>
                <a:gd name="connsiteY274" fmla="*/ 75198 h 1333436"/>
                <a:gd name="connsiteX275" fmla="*/ 246760 w 752994"/>
                <a:gd name="connsiteY275" fmla="*/ 77646 h 1333436"/>
                <a:gd name="connsiteX276" fmla="*/ 255541 w 752994"/>
                <a:gd name="connsiteY276" fmla="*/ 63376 h 1333436"/>
                <a:gd name="connsiteX277" fmla="*/ 259611 w 752994"/>
                <a:gd name="connsiteY277" fmla="*/ 43405 h 1333436"/>
                <a:gd name="connsiteX278" fmla="*/ 256967 w 752994"/>
                <a:gd name="connsiteY278" fmla="*/ 38520 h 1333436"/>
                <a:gd name="connsiteX279" fmla="*/ 253906 w 752994"/>
                <a:gd name="connsiteY279" fmla="*/ 34242 h 1333436"/>
                <a:gd name="connsiteX280" fmla="*/ 256967 w 752994"/>
                <a:gd name="connsiteY280" fmla="*/ 30161 h 1333436"/>
                <a:gd name="connsiteX281" fmla="*/ 262063 w 752994"/>
                <a:gd name="connsiteY281" fmla="*/ 27712 h 1333436"/>
                <a:gd name="connsiteX282" fmla="*/ 264915 w 752994"/>
                <a:gd name="connsiteY282" fmla="*/ 23026 h 1333436"/>
                <a:gd name="connsiteX283" fmla="*/ 267976 w 752994"/>
                <a:gd name="connsiteY283" fmla="*/ 22618 h 1333436"/>
                <a:gd name="connsiteX284" fmla="*/ 270427 w 752994"/>
                <a:gd name="connsiteY284" fmla="*/ 20787 h 1333436"/>
                <a:gd name="connsiteX285" fmla="*/ 263088 w 752994"/>
                <a:gd name="connsiteY285" fmla="*/ 13652 h 1333436"/>
                <a:gd name="connsiteX286" fmla="*/ 255541 w 752994"/>
                <a:gd name="connsiteY286" fmla="*/ 3055 h 1333436"/>
                <a:gd name="connsiteX287" fmla="*/ 256358 w 752994"/>
                <a:gd name="connsiteY287" fmla="*/ 1224 h 1333436"/>
                <a:gd name="connsiteX288" fmla="*/ 257159 w 752994"/>
                <a:gd name="connsiteY288" fmla="*/ 0 h 1333436"/>
                <a:gd name="connsiteX0" fmla="*/ 257159 w 752994"/>
                <a:gd name="connsiteY0" fmla="*/ 0 h 1333436"/>
                <a:gd name="connsiteX1" fmla="*/ 493147 w 752994"/>
                <a:gd name="connsiteY1" fmla="*/ 73157 h 1333436"/>
                <a:gd name="connsiteX2" fmla="*/ 492970 w 752994"/>
                <a:gd name="connsiteY2" fmla="*/ 73792 h 1333436"/>
                <a:gd name="connsiteX3" fmla="*/ 525816 w 752994"/>
                <a:gd name="connsiteY3" fmla="*/ 82491 h 1333436"/>
                <a:gd name="connsiteX4" fmla="*/ 520098 w 752994"/>
                <a:gd name="connsiteY4" fmla="*/ 111245 h 1333436"/>
                <a:gd name="connsiteX5" fmla="*/ 512552 w 752994"/>
                <a:gd name="connsiteY5" fmla="*/ 143854 h 1333436"/>
                <a:gd name="connsiteX6" fmla="*/ 517849 w 752994"/>
                <a:gd name="connsiteY6" fmla="*/ 157740 h 1333436"/>
                <a:gd name="connsiteX7" fmla="*/ 523160 w 752994"/>
                <a:gd name="connsiteY7" fmla="*/ 172009 h 1333436"/>
                <a:gd name="connsiteX8" fmla="*/ 521535 w 752994"/>
                <a:gd name="connsiteY8" fmla="*/ 178928 h 1333436"/>
                <a:gd name="connsiteX9" fmla="*/ 520098 w 752994"/>
                <a:gd name="connsiteY9" fmla="*/ 186279 h 1333436"/>
                <a:gd name="connsiteX10" fmla="*/ 526019 w 752994"/>
                <a:gd name="connsiteY10" fmla="*/ 193629 h 1333436"/>
                <a:gd name="connsiteX11" fmla="*/ 537251 w 752994"/>
                <a:gd name="connsiteY11" fmla="*/ 206270 h 1333436"/>
                <a:gd name="connsiteX12" fmla="*/ 542765 w 752994"/>
                <a:gd name="connsiteY12" fmla="*/ 217475 h 1333436"/>
                <a:gd name="connsiteX13" fmla="*/ 546857 w 752994"/>
                <a:gd name="connsiteY13" fmla="*/ 230930 h 1333436"/>
                <a:gd name="connsiteX14" fmla="*/ 549499 w 752994"/>
                <a:gd name="connsiteY14" fmla="*/ 235622 h 1333436"/>
                <a:gd name="connsiteX15" fmla="*/ 553388 w 752994"/>
                <a:gd name="connsiteY15" fmla="*/ 240722 h 1333436"/>
                <a:gd name="connsiteX16" fmla="*/ 557465 w 752994"/>
                <a:gd name="connsiteY16" fmla="*/ 246037 h 1333436"/>
                <a:gd name="connsiteX17" fmla="*/ 561761 w 752994"/>
                <a:gd name="connsiteY17" fmla="*/ 248671 h 1333436"/>
                <a:gd name="connsiteX18" fmla="*/ 567478 w 752994"/>
                <a:gd name="connsiteY18" fmla="*/ 247665 h 1333436"/>
                <a:gd name="connsiteX19" fmla="*/ 569931 w 752994"/>
                <a:gd name="connsiteY19" fmla="*/ 249293 h 1333436"/>
                <a:gd name="connsiteX20" fmla="*/ 570540 w 752994"/>
                <a:gd name="connsiteY20" fmla="*/ 251951 h 1333436"/>
                <a:gd name="connsiteX21" fmla="*/ 561964 w 752994"/>
                <a:gd name="connsiteY21" fmla="*/ 267656 h 1333436"/>
                <a:gd name="connsiteX22" fmla="*/ 553591 w 752994"/>
                <a:gd name="connsiteY22" fmla="*/ 289659 h 1333436"/>
                <a:gd name="connsiteX23" fmla="*/ 554810 w 752994"/>
                <a:gd name="connsiteY23" fmla="*/ 292939 h 1333436"/>
                <a:gd name="connsiteX24" fmla="*/ 556246 w 752994"/>
                <a:gd name="connsiteY24" fmla="*/ 299260 h 1333436"/>
                <a:gd name="connsiteX25" fmla="*/ 552778 w 752994"/>
                <a:gd name="connsiteY25" fmla="*/ 301917 h 1333436"/>
                <a:gd name="connsiteX26" fmla="*/ 549295 w 752994"/>
                <a:gd name="connsiteY26" fmla="*/ 306993 h 1333436"/>
                <a:gd name="connsiteX27" fmla="*/ 547061 w 752994"/>
                <a:gd name="connsiteY27" fmla="*/ 313122 h 1333436"/>
                <a:gd name="connsiteX28" fmla="*/ 544811 w 752994"/>
                <a:gd name="connsiteY28" fmla="*/ 316593 h 1333436"/>
                <a:gd name="connsiteX29" fmla="*/ 549919 w 752994"/>
                <a:gd name="connsiteY29" fmla="*/ 322698 h 1333436"/>
                <a:gd name="connsiteX30" fmla="*/ 553184 w 752994"/>
                <a:gd name="connsiteY30" fmla="*/ 325955 h 1333436"/>
                <a:gd name="connsiteX31" fmla="*/ 555840 w 752994"/>
                <a:gd name="connsiteY31" fmla="*/ 328205 h 1333436"/>
                <a:gd name="connsiteX32" fmla="*/ 574212 w 752994"/>
                <a:gd name="connsiteY32" fmla="*/ 318820 h 1333436"/>
                <a:gd name="connsiteX33" fmla="*/ 579523 w 752994"/>
                <a:gd name="connsiteY33" fmla="*/ 326577 h 1333436"/>
                <a:gd name="connsiteX34" fmla="*/ 580539 w 752994"/>
                <a:gd name="connsiteY34" fmla="*/ 334933 h 1333436"/>
                <a:gd name="connsiteX35" fmla="*/ 579726 w 752994"/>
                <a:gd name="connsiteY35" fmla="*/ 343097 h 1333436"/>
                <a:gd name="connsiteX36" fmla="*/ 581366 w 752994"/>
                <a:gd name="connsiteY36" fmla="*/ 350231 h 1333436"/>
                <a:gd name="connsiteX37" fmla="*/ 586256 w 752994"/>
                <a:gd name="connsiteY37" fmla="*/ 355930 h 1333436"/>
                <a:gd name="connsiteX38" fmla="*/ 589536 w 752994"/>
                <a:gd name="connsiteY38" fmla="*/ 362059 h 1333436"/>
                <a:gd name="connsiteX39" fmla="*/ 588099 w 752994"/>
                <a:gd name="connsiteY39" fmla="*/ 369600 h 1333436"/>
                <a:gd name="connsiteX40" fmla="*/ 586459 w 752994"/>
                <a:gd name="connsiteY40" fmla="*/ 377357 h 1333436"/>
                <a:gd name="connsiteX41" fmla="*/ 588709 w 752994"/>
                <a:gd name="connsiteY41" fmla="*/ 381835 h 1333436"/>
                <a:gd name="connsiteX42" fmla="*/ 595036 w 752994"/>
                <a:gd name="connsiteY42" fmla="*/ 382457 h 1333436"/>
                <a:gd name="connsiteX43" fmla="*/ 599331 w 752994"/>
                <a:gd name="connsiteY43" fmla="*/ 385306 h 1333436"/>
                <a:gd name="connsiteX44" fmla="*/ 601987 w 752994"/>
                <a:gd name="connsiteY44" fmla="*/ 391004 h 1333436"/>
                <a:gd name="connsiteX45" fmla="*/ 602799 w 752994"/>
                <a:gd name="connsiteY45" fmla="*/ 404076 h 1333436"/>
                <a:gd name="connsiteX46" fmla="*/ 606892 w 752994"/>
                <a:gd name="connsiteY46" fmla="*/ 415688 h 1333436"/>
                <a:gd name="connsiteX47" fmla="*/ 610563 w 752994"/>
                <a:gd name="connsiteY47" fmla="*/ 412217 h 1333436"/>
                <a:gd name="connsiteX48" fmla="*/ 617920 w 752994"/>
                <a:gd name="connsiteY48" fmla="*/ 408769 h 1333436"/>
                <a:gd name="connsiteX49" fmla="*/ 624654 w 752994"/>
                <a:gd name="connsiteY49" fmla="*/ 411211 h 1333436"/>
                <a:gd name="connsiteX50" fmla="*/ 634652 w 752994"/>
                <a:gd name="connsiteY50" fmla="*/ 410182 h 1333436"/>
                <a:gd name="connsiteX51" fmla="*/ 640573 w 752994"/>
                <a:gd name="connsiteY51" fmla="*/ 407739 h 1333436"/>
                <a:gd name="connsiteX52" fmla="*/ 646711 w 752994"/>
                <a:gd name="connsiteY52" fmla="*/ 410589 h 1333436"/>
                <a:gd name="connsiteX53" fmla="*/ 650383 w 752994"/>
                <a:gd name="connsiteY53" fmla="*/ 410589 h 1333436"/>
                <a:gd name="connsiteX54" fmla="*/ 654257 w 752994"/>
                <a:gd name="connsiteY54" fmla="*/ 411618 h 1333436"/>
                <a:gd name="connsiteX55" fmla="*/ 656913 w 752994"/>
                <a:gd name="connsiteY55" fmla="*/ 413653 h 1333436"/>
                <a:gd name="connsiteX56" fmla="*/ 660802 w 752994"/>
                <a:gd name="connsiteY56" fmla="*/ 415090 h 1333436"/>
                <a:gd name="connsiteX57" fmla="*/ 669581 w 752994"/>
                <a:gd name="connsiteY57" fmla="*/ 415904 h 1333436"/>
                <a:gd name="connsiteX58" fmla="*/ 672237 w 752994"/>
                <a:gd name="connsiteY58" fmla="*/ 415688 h 1333436"/>
                <a:gd name="connsiteX59" fmla="*/ 675705 w 752994"/>
                <a:gd name="connsiteY59" fmla="*/ 409367 h 1333436"/>
                <a:gd name="connsiteX60" fmla="*/ 679986 w 752994"/>
                <a:gd name="connsiteY60" fmla="*/ 403238 h 1333436"/>
                <a:gd name="connsiteX61" fmla="*/ 693264 w 752994"/>
                <a:gd name="connsiteY61" fmla="*/ 419567 h 1333436"/>
                <a:gd name="connsiteX62" fmla="*/ 688563 w 752994"/>
                <a:gd name="connsiteY62" fmla="*/ 448321 h 1333436"/>
                <a:gd name="connsiteX63" fmla="*/ 663949 w 752994"/>
                <a:gd name="connsiteY63" fmla="*/ 590165 h 1333436"/>
                <a:gd name="connsiteX64" fmla="*/ 666304 w 752994"/>
                <a:gd name="connsiteY64" fmla="*/ 590504 h 1333436"/>
                <a:gd name="connsiteX65" fmla="*/ 655288 w 752994"/>
                <a:gd name="connsiteY65" fmla="*/ 656178 h 1333436"/>
                <a:gd name="connsiteX66" fmla="*/ 681808 w 752994"/>
                <a:gd name="connsiteY66" fmla="*/ 662301 h 1333436"/>
                <a:gd name="connsiteX67" fmla="*/ 752994 w 752994"/>
                <a:gd name="connsiteY67" fmla="*/ 675560 h 1333436"/>
                <a:gd name="connsiteX68" fmla="*/ 714651 w 752994"/>
                <a:gd name="connsiteY68" fmla="*/ 946985 h 1333436"/>
                <a:gd name="connsiteX69" fmla="*/ 654533 w 752994"/>
                <a:gd name="connsiteY69" fmla="*/ 1333436 h 1333436"/>
                <a:gd name="connsiteX70" fmla="*/ 546831 w 752994"/>
                <a:gd name="connsiteY70" fmla="*/ 1317126 h 1333436"/>
                <a:gd name="connsiteX71" fmla="*/ 351227 w 752994"/>
                <a:gd name="connsiteY71" fmla="*/ 1194172 h 1333436"/>
                <a:gd name="connsiteX72" fmla="*/ 361011 w 752994"/>
                <a:gd name="connsiteY72" fmla="*/ 1182755 h 1333436"/>
                <a:gd name="connsiteX73" fmla="*/ 368981 w 752994"/>
                <a:gd name="connsiteY73" fmla="*/ 1182130 h 1333436"/>
                <a:gd name="connsiteX74" fmla="*/ 369571 w 752994"/>
                <a:gd name="connsiteY74" fmla="*/ 1181558 h 1333436"/>
                <a:gd name="connsiteX75" fmla="*/ 362372 w 752994"/>
                <a:gd name="connsiteY75" fmla="*/ 1182120 h 1333436"/>
                <a:gd name="connsiteX76" fmla="*/ 229464 w 752994"/>
                <a:gd name="connsiteY76" fmla="*/ 1161721 h 1333436"/>
                <a:gd name="connsiteX77" fmla="*/ 227427 w 752994"/>
                <a:gd name="connsiteY77" fmla="*/ 1157269 h 1333436"/>
                <a:gd name="connsiteX78" fmla="*/ 224967 w 752994"/>
                <a:gd name="connsiteY78" fmla="*/ 1152575 h 1333436"/>
                <a:gd name="connsiteX79" fmla="*/ 225582 w 752994"/>
                <a:gd name="connsiteY79" fmla="*/ 1144808 h 1333436"/>
                <a:gd name="connsiteX80" fmla="*/ 227215 w 752994"/>
                <a:gd name="connsiteY80" fmla="*/ 1135834 h 1333436"/>
                <a:gd name="connsiteX81" fmla="*/ 227215 w 752994"/>
                <a:gd name="connsiteY81" fmla="*/ 1134212 h 1333436"/>
                <a:gd name="connsiteX82" fmla="*/ 225179 w 752994"/>
                <a:gd name="connsiteY82" fmla="*/ 1114020 h 1333436"/>
                <a:gd name="connsiteX83" fmla="*/ 217839 w 752994"/>
                <a:gd name="connsiteY83" fmla="*/ 1100352 h 1333436"/>
                <a:gd name="connsiteX84" fmla="*/ 199661 w 752994"/>
                <a:gd name="connsiteY84" fmla="*/ 1076502 h 1333436"/>
                <a:gd name="connsiteX85" fmla="*/ 196395 w 752994"/>
                <a:gd name="connsiteY85" fmla="*/ 1071807 h 1333436"/>
                <a:gd name="connsiteX86" fmla="*/ 190880 w 752994"/>
                <a:gd name="connsiteY86" fmla="*/ 1067527 h 1333436"/>
                <a:gd name="connsiteX87" fmla="*/ 187210 w 752994"/>
                <a:gd name="connsiteY87" fmla="*/ 1068735 h 1333436"/>
                <a:gd name="connsiteX88" fmla="*/ 180062 w 752994"/>
                <a:gd name="connsiteY88" fmla="*/ 1066699 h 1333436"/>
                <a:gd name="connsiteX89" fmla="*/ 180466 w 752994"/>
                <a:gd name="connsiteY89" fmla="*/ 1053031 h 1333436"/>
                <a:gd name="connsiteX90" fmla="*/ 180062 w 752994"/>
                <a:gd name="connsiteY90" fmla="*/ 1045299 h 1333436"/>
                <a:gd name="connsiteX91" fmla="*/ 174144 w 752994"/>
                <a:gd name="connsiteY91" fmla="*/ 1044057 h 1333436"/>
                <a:gd name="connsiteX92" fmla="*/ 158426 w 752994"/>
                <a:gd name="connsiteY92" fmla="*/ 1042641 h 1333436"/>
                <a:gd name="connsiteX93" fmla="*/ 149857 w 752994"/>
                <a:gd name="connsiteY93" fmla="*/ 1035497 h 1333436"/>
                <a:gd name="connsiteX94" fmla="*/ 142497 w 752994"/>
                <a:gd name="connsiteY94" fmla="*/ 1028766 h 1333436"/>
                <a:gd name="connsiteX95" fmla="*/ 140864 w 752994"/>
                <a:gd name="connsiteY95" fmla="*/ 1020620 h 1333436"/>
                <a:gd name="connsiteX96" fmla="*/ 138212 w 752994"/>
                <a:gd name="connsiteY96" fmla="*/ 1013061 h 1333436"/>
                <a:gd name="connsiteX97" fmla="*/ 131064 w 752994"/>
                <a:gd name="connsiteY97" fmla="*/ 1007159 h 1333436"/>
                <a:gd name="connsiteX98" fmla="*/ 121264 w 752994"/>
                <a:gd name="connsiteY98" fmla="*/ 1005330 h 1333436"/>
                <a:gd name="connsiteX99" fmla="*/ 112483 w 752994"/>
                <a:gd name="connsiteY99" fmla="*/ 1001671 h 1333436"/>
                <a:gd name="connsiteX100" fmla="*/ 105950 w 752994"/>
                <a:gd name="connsiteY100" fmla="*/ 995734 h 1333436"/>
                <a:gd name="connsiteX101" fmla="*/ 97380 w 752994"/>
                <a:gd name="connsiteY101" fmla="*/ 994526 h 1333436"/>
                <a:gd name="connsiteX102" fmla="*/ 87984 w 752994"/>
                <a:gd name="connsiteY102" fmla="*/ 991040 h 1333436"/>
                <a:gd name="connsiteX103" fmla="*/ 80029 w 752994"/>
                <a:gd name="connsiteY103" fmla="*/ 985138 h 1333436"/>
                <a:gd name="connsiteX104" fmla="*/ 77166 w 752994"/>
                <a:gd name="connsiteY104" fmla="*/ 976164 h 1333436"/>
                <a:gd name="connsiteX105" fmla="*/ 79203 w 752994"/>
                <a:gd name="connsiteY105" fmla="*/ 970676 h 1333436"/>
                <a:gd name="connsiteX106" fmla="*/ 82470 w 752994"/>
                <a:gd name="connsiteY106" fmla="*/ 963117 h 1333436"/>
                <a:gd name="connsiteX107" fmla="*/ 84314 w 752994"/>
                <a:gd name="connsiteY107" fmla="*/ 954557 h 1333436"/>
                <a:gd name="connsiteX108" fmla="*/ 86351 w 752994"/>
                <a:gd name="connsiteY108" fmla="*/ 948033 h 1333436"/>
                <a:gd name="connsiteX109" fmla="*/ 86159 w 752994"/>
                <a:gd name="connsiteY109" fmla="*/ 942925 h 1333436"/>
                <a:gd name="connsiteX110" fmla="*/ 83085 w 752994"/>
                <a:gd name="connsiteY110" fmla="*/ 939853 h 1333436"/>
                <a:gd name="connsiteX111" fmla="*/ 77570 w 752994"/>
                <a:gd name="connsiteY111" fmla="*/ 937437 h 1333436"/>
                <a:gd name="connsiteX112" fmla="*/ 76763 w 752994"/>
                <a:gd name="connsiteY112" fmla="*/ 931915 h 1333436"/>
                <a:gd name="connsiteX113" fmla="*/ 78800 w 752994"/>
                <a:gd name="connsiteY113" fmla="*/ 927013 h 1333436"/>
                <a:gd name="connsiteX114" fmla="*/ 79626 w 752994"/>
                <a:gd name="connsiteY114" fmla="*/ 922526 h 1333436"/>
                <a:gd name="connsiteX115" fmla="*/ 77781 w 752994"/>
                <a:gd name="connsiteY115" fmla="*/ 919903 h 1333436"/>
                <a:gd name="connsiteX116" fmla="*/ 74303 w 752994"/>
                <a:gd name="connsiteY116" fmla="*/ 917418 h 1333436"/>
                <a:gd name="connsiteX117" fmla="*/ 71863 w 752994"/>
                <a:gd name="connsiteY117" fmla="*/ 915174 h 1333436"/>
                <a:gd name="connsiteX118" fmla="*/ 71652 w 752994"/>
                <a:gd name="connsiteY118" fmla="*/ 910894 h 1333436"/>
                <a:gd name="connsiteX119" fmla="*/ 70633 w 752994"/>
                <a:gd name="connsiteY119" fmla="*/ 906614 h 1333436"/>
                <a:gd name="connsiteX120" fmla="*/ 68385 w 752994"/>
                <a:gd name="connsiteY120" fmla="*/ 902749 h 1333436"/>
                <a:gd name="connsiteX121" fmla="*/ 61045 w 752994"/>
                <a:gd name="connsiteY121" fmla="*/ 889494 h 1333436"/>
                <a:gd name="connsiteX122" fmla="*/ 57971 w 752994"/>
                <a:gd name="connsiteY122" fmla="*/ 875619 h 1333436"/>
                <a:gd name="connsiteX123" fmla="*/ 52264 w 752994"/>
                <a:gd name="connsiteY123" fmla="*/ 862572 h 1333436"/>
                <a:gd name="connsiteX124" fmla="*/ 44309 w 752994"/>
                <a:gd name="connsiteY124" fmla="*/ 850561 h 1333436"/>
                <a:gd name="connsiteX125" fmla="*/ 45520 w 752994"/>
                <a:gd name="connsiteY125" fmla="*/ 827090 h 1333436"/>
                <a:gd name="connsiteX126" fmla="*/ 53071 w 752994"/>
                <a:gd name="connsiteY126" fmla="*/ 822396 h 1333436"/>
                <a:gd name="connsiteX127" fmla="*/ 57375 w 752994"/>
                <a:gd name="connsiteY127" fmla="*/ 816493 h 1333436"/>
                <a:gd name="connsiteX128" fmla="*/ 55319 w 752994"/>
                <a:gd name="connsiteY128" fmla="*/ 801617 h 1333436"/>
                <a:gd name="connsiteX129" fmla="*/ 48383 w 752994"/>
                <a:gd name="connsiteY129" fmla="*/ 802204 h 1333436"/>
                <a:gd name="connsiteX130" fmla="*/ 40428 w 752994"/>
                <a:gd name="connsiteY130" fmla="*/ 797924 h 1333436"/>
                <a:gd name="connsiteX131" fmla="*/ 37565 w 752994"/>
                <a:gd name="connsiteY131" fmla="*/ 790606 h 1333436"/>
                <a:gd name="connsiteX132" fmla="*/ 37565 w 752994"/>
                <a:gd name="connsiteY132" fmla="*/ 790399 h 1333436"/>
                <a:gd name="connsiteX133" fmla="*/ 35931 w 752994"/>
                <a:gd name="connsiteY133" fmla="*/ 785912 h 1333436"/>
                <a:gd name="connsiteX134" fmla="*/ 34510 w 752994"/>
                <a:gd name="connsiteY134" fmla="*/ 780597 h 1333436"/>
                <a:gd name="connsiteX135" fmla="*/ 36335 w 752994"/>
                <a:gd name="connsiteY135" fmla="*/ 774280 h 1333436"/>
                <a:gd name="connsiteX136" fmla="*/ 38180 w 752994"/>
                <a:gd name="connsiteY136" fmla="*/ 766721 h 1333436"/>
                <a:gd name="connsiteX137" fmla="*/ 37161 w 752994"/>
                <a:gd name="connsiteY137" fmla="*/ 760405 h 1333436"/>
                <a:gd name="connsiteX138" fmla="*/ 35720 w 752994"/>
                <a:gd name="connsiteY138" fmla="*/ 754710 h 1333436"/>
                <a:gd name="connsiteX139" fmla="*/ 36546 w 752994"/>
                <a:gd name="connsiteY139" fmla="*/ 748773 h 1333436"/>
                <a:gd name="connsiteX140" fmla="*/ 38372 w 752994"/>
                <a:gd name="connsiteY140" fmla="*/ 744528 h 1333436"/>
                <a:gd name="connsiteX141" fmla="*/ 41638 w 752994"/>
                <a:gd name="connsiteY141" fmla="*/ 744321 h 1333436"/>
                <a:gd name="connsiteX142" fmla="*/ 44713 w 752994"/>
                <a:gd name="connsiteY142" fmla="*/ 746357 h 1333436"/>
                <a:gd name="connsiteX143" fmla="*/ 47364 w 752994"/>
                <a:gd name="connsiteY143" fmla="*/ 753260 h 1333436"/>
                <a:gd name="connsiteX144" fmla="*/ 55742 w 752994"/>
                <a:gd name="connsiteY144" fmla="*/ 764305 h 1333436"/>
                <a:gd name="connsiteX145" fmla="*/ 56338 w 752994"/>
                <a:gd name="connsiteY145" fmla="*/ 761233 h 1333436"/>
                <a:gd name="connsiteX146" fmla="*/ 56145 w 752994"/>
                <a:gd name="connsiteY146" fmla="*/ 757368 h 1333436"/>
                <a:gd name="connsiteX147" fmla="*/ 54916 w 752994"/>
                <a:gd name="connsiteY147" fmla="*/ 748601 h 1333436"/>
                <a:gd name="connsiteX148" fmla="*/ 52879 w 752994"/>
                <a:gd name="connsiteY148" fmla="*/ 747358 h 1333436"/>
                <a:gd name="connsiteX149" fmla="*/ 51649 w 752994"/>
                <a:gd name="connsiteY149" fmla="*/ 745322 h 1333436"/>
                <a:gd name="connsiteX150" fmla="*/ 51649 w 752994"/>
                <a:gd name="connsiteY150" fmla="*/ 739212 h 1333436"/>
                <a:gd name="connsiteX151" fmla="*/ 50227 w 752994"/>
                <a:gd name="connsiteY151" fmla="*/ 734725 h 1333436"/>
                <a:gd name="connsiteX152" fmla="*/ 48786 w 752994"/>
                <a:gd name="connsiteY152" fmla="*/ 731446 h 1333436"/>
                <a:gd name="connsiteX153" fmla="*/ 54512 w 752994"/>
                <a:gd name="connsiteY153" fmla="*/ 726372 h 1333436"/>
                <a:gd name="connsiteX154" fmla="*/ 59815 w 752994"/>
                <a:gd name="connsiteY154" fmla="*/ 725130 h 1333436"/>
                <a:gd name="connsiteX155" fmla="*/ 58182 w 752994"/>
                <a:gd name="connsiteY155" fmla="*/ 722886 h 1333436"/>
                <a:gd name="connsiteX156" fmla="*/ 51861 w 752994"/>
                <a:gd name="connsiteY156" fmla="*/ 717985 h 1333436"/>
                <a:gd name="connsiteX157" fmla="*/ 46749 w 752994"/>
                <a:gd name="connsiteY157" fmla="*/ 729617 h 1333436"/>
                <a:gd name="connsiteX158" fmla="*/ 40831 w 752994"/>
                <a:gd name="connsiteY158" fmla="*/ 739212 h 1333436"/>
                <a:gd name="connsiteX159" fmla="*/ 39601 w 752994"/>
                <a:gd name="connsiteY159" fmla="*/ 738798 h 1333436"/>
                <a:gd name="connsiteX160" fmla="*/ 39409 w 752994"/>
                <a:gd name="connsiteY160" fmla="*/ 738591 h 1333436"/>
                <a:gd name="connsiteX161" fmla="*/ 37161 w 752994"/>
                <a:gd name="connsiteY161" fmla="*/ 734725 h 1333436"/>
                <a:gd name="connsiteX162" fmla="*/ 32665 w 752994"/>
                <a:gd name="connsiteY162" fmla="*/ 727788 h 1333436"/>
                <a:gd name="connsiteX163" fmla="*/ 26747 w 752994"/>
                <a:gd name="connsiteY163" fmla="*/ 719435 h 1333436"/>
                <a:gd name="connsiteX164" fmla="*/ 23884 w 752994"/>
                <a:gd name="connsiteY164" fmla="*/ 717812 h 1333436"/>
                <a:gd name="connsiteX165" fmla="*/ 24710 w 752994"/>
                <a:gd name="connsiteY165" fmla="*/ 709632 h 1333436"/>
                <a:gd name="connsiteX166" fmla="*/ 27554 w 752994"/>
                <a:gd name="connsiteY166" fmla="*/ 701694 h 1333436"/>
                <a:gd name="connsiteX167" fmla="*/ 24902 w 752994"/>
                <a:gd name="connsiteY167" fmla="*/ 696171 h 1333436"/>
                <a:gd name="connsiteX168" fmla="*/ 24095 w 752994"/>
                <a:gd name="connsiteY168" fmla="*/ 687818 h 1333436"/>
                <a:gd name="connsiteX169" fmla="*/ 22462 w 752994"/>
                <a:gd name="connsiteY169" fmla="*/ 682330 h 1333436"/>
                <a:gd name="connsiteX170" fmla="*/ 17159 w 752994"/>
                <a:gd name="connsiteY170" fmla="*/ 677636 h 1333436"/>
                <a:gd name="connsiteX171" fmla="*/ 14296 w 752994"/>
                <a:gd name="connsiteY171" fmla="*/ 671492 h 1333436"/>
                <a:gd name="connsiteX172" fmla="*/ 12451 w 752994"/>
                <a:gd name="connsiteY172" fmla="*/ 665797 h 1333436"/>
                <a:gd name="connsiteX173" fmla="*/ 5111 w 752994"/>
                <a:gd name="connsiteY173" fmla="*/ 654994 h 1333436"/>
                <a:gd name="connsiteX174" fmla="*/ 2248 w 752994"/>
                <a:gd name="connsiteY174" fmla="*/ 645605 h 1333436"/>
                <a:gd name="connsiteX175" fmla="*/ 4496 w 752994"/>
                <a:gd name="connsiteY175" fmla="*/ 640497 h 1333436"/>
                <a:gd name="connsiteX176" fmla="*/ 6744 w 752994"/>
                <a:gd name="connsiteY176" fmla="*/ 632765 h 1333436"/>
                <a:gd name="connsiteX177" fmla="*/ 6744 w 752994"/>
                <a:gd name="connsiteY177" fmla="*/ 628485 h 1333436"/>
                <a:gd name="connsiteX178" fmla="*/ 6533 w 752994"/>
                <a:gd name="connsiteY178" fmla="*/ 620305 h 1333436"/>
                <a:gd name="connsiteX179" fmla="*/ 7359 w 752994"/>
                <a:gd name="connsiteY179" fmla="*/ 611745 h 1333436"/>
                <a:gd name="connsiteX180" fmla="*/ 11836 w 752994"/>
                <a:gd name="connsiteY180" fmla="*/ 602978 h 1333436"/>
                <a:gd name="connsiteX181" fmla="*/ 15103 w 752994"/>
                <a:gd name="connsiteY181" fmla="*/ 591760 h 1333436"/>
                <a:gd name="connsiteX182" fmla="*/ 14488 w 752994"/>
                <a:gd name="connsiteY182" fmla="*/ 584029 h 1333436"/>
                <a:gd name="connsiteX183" fmla="*/ 13873 w 752994"/>
                <a:gd name="connsiteY183" fmla="*/ 578299 h 1333436"/>
                <a:gd name="connsiteX184" fmla="*/ 10626 w 752994"/>
                <a:gd name="connsiteY184" fmla="*/ 568531 h 1333436"/>
                <a:gd name="connsiteX185" fmla="*/ 3670 w 752994"/>
                <a:gd name="connsiteY185" fmla="*/ 558107 h 1333436"/>
                <a:gd name="connsiteX186" fmla="*/ 0 w 752994"/>
                <a:gd name="connsiteY186" fmla="*/ 551377 h 1333436"/>
                <a:gd name="connsiteX187" fmla="*/ 0 w 752994"/>
                <a:gd name="connsiteY187" fmla="*/ 550997 h 1333436"/>
                <a:gd name="connsiteX188" fmla="*/ 4900 w 752994"/>
                <a:gd name="connsiteY188" fmla="*/ 531220 h 1333436"/>
                <a:gd name="connsiteX189" fmla="*/ 13873 w 752994"/>
                <a:gd name="connsiteY189" fmla="*/ 520589 h 1333436"/>
                <a:gd name="connsiteX190" fmla="*/ 18369 w 752994"/>
                <a:gd name="connsiteY190" fmla="*/ 516516 h 1333436"/>
                <a:gd name="connsiteX191" fmla="*/ 18773 w 752994"/>
                <a:gd name="connsiteY191" fmla="*/ 514272 h 1333436"/>
                <a:gd name="connsiteX192" fmla="*/ 23077 w 752994"/>
                <a:gd name="connsiteY192" fmla="*/ 506127 h 1333436"/>
                <a:gd name="connsiteX193" fmla="*/ 23884 w 752994"/>
                <a:gd name="connsiteY193" fmla="*/ 502261 h 1333436"/>
                <a:gd name="connsiteX194" fmla="*/ 23692 w 752994"/>
                <a:gd name="connsiteY194" fmla="*/ 496738 h 1333436"/>
                <a:gd name="connsiteX195" fmla="*/ 30013 w 752994"/>
                <a:gd name="connsiteY195" fmla="*/ 486556 h 1333436"/>
                <a:gd name="connsiteX196" fmla="*/ 36546 w 752994"/>
                <a:gd name="connsiteY196" fmla="*/ 470230 h 1333436"/>
                <a:gd name="connsiteX197" fmla="*/ 36546 w 752994"/>
                <a:gd name="connsiteY197" fmla="*/ 462671 h 1333436"/>
                <a:gd name="connsiteX198" fmla="*/ 36335 w 752994"/>
                <a:gd name="connsiteY198" fmla="*/ 461670 h 1333436"/>
                <a:gd name="connsiteX199" fmla="*/ 35931 w 752994"/>
                <a:gd name="connsiteY199" fmla="*/ 453110 h 1333436"/>
                <a:gd name="connsiteX200" fmla="*/ 38583 w 752994"/>
                <a:gd name="connsiteY200" fmla="*/ 442514 h 1333436"/>
                <a:gd name="connsiteX201" fmla="*/ 41043 w 752994"/>
                <a:gd name="connsiteY201" fmla="*/ 436991 h 1333436"/>
                <a:gd name="connsiteX202" fmla="*/ 41650 w 752994"/>
                <a:gd name="connsiteY202" fmla="*/ 437186 h 1333436"/>
                <a:gd name="connsiteX203" fmla="*/ 41239 w 752994"/>
                <a:gd name="connsiteY203" fmla="*/ 436549 h 1333436"/>
                <a:gd name="connsiteX204" fmla="*/ 37778 w 752994"/>
                <a:gd name="connsiteY204" fmla="*/ 433894 h 1333436"/>
                <a:gd name="connsiteX205" fmla="*/ 37169 w 752994"/>
                <a:gd name="connsiteY205" fmla="*/ 432261 h 1333436"/>
                <a:gd name="connsiteX206" fmla="*/ 37365 w 752994"/>
                <a:gd name="connsiteY206" fmla="*/ 429198 h 1333436"/>
                <a:gd name="connsiteX207" fmla="*/ 36756 w 752994"/>
                <a:gd name="connsiteY207" fmla="*/ 422272 h 1333436"/>
                <a:gd name="connsiteX208" fmla="*/ 36952 w 752994"/>
                <a:gd name="connsiteY208" fmla="*/ 418800 h 1333436"/>
                <a:gd name="connsiteX209" fmla="*/ 36756 w 752994"/>
                <a:gd name="connsiteY209" fmla="*/ 412487 h 1333436"/>
                <a:gd name="connsiteX210" fmla="*/ 40433 w 752994"/>
                <a:gd name="connsiteY210" fmla="*/ 406174 h 1333436"/>
                <a:gd name="connsiteX211" fmla="*/ 44720 w 752994"/>
                <a:gd name="connsiteY211" fmla="*/ 399435 h 1333436"/>
                <a:gd name="connsiteX212" fmla="*/ 44110 w 752994"/>
                <a:gd name="connsiteY212" fmla="*/ 389651 h 1333436"/>
                <a:gd name="connsiteX213" fmla="*/ 43894 w 752994"/>
                <a:gd name="connsiteY213" fmla="*/ 378437 h 1333436"/>
                <a:gd name="connsiteX214" fmla="*/ 47158 w 752994"/>
                <a:gd name="connsiteY214" fmla="*/ 371102 h 1333436"/>
                <a:gd name="connsiteX215" fmla="*/ 55731 w 752994"/>
                <a:gd name="connsiteY215" fmla="*/ 360909 h 1333436"/>
                <a:gd name="connsiteX216" fmla="*/ 57580 w 752994"/>
                <a:gd name="connsiteY216" fmla="*/ 355804 h 1333436"/>
                <a:gd name="connsiteX217" fmla="*/ 62673 w 752994"/>
                <a:gd name="connsiteY217" fmla="*/ 349695 h 1333436"/>
                <a:gd name="connsiteX218" fmla="*/ 65937 w 752994"/>
                <a:gd name="connsiteY218" fmla="*/ 348470 h 1333436"/>
                <a:gd name="connsiteX219" fmla="*/ 68395 w 752994"/>
                <a:gd name="connsiteY219" fmla="*/ 348674 h 1333436"/>
                <a:gd name="connsiteX220" fmla="*/ 70224 w 752994"/>
                <a:gd name="connsiteY220" fmla="*/ 347449 h 1333436"/>
                <a:gd name="connsiteX221" fmla="*/ 67785 w 752994"/>
                <a:gd name="connsiteY221" fmla="*/ 345203 h 1333436"/>
                <a:gd name="connsiteX222" fmla="*/ 65524 w 752994"/>
                <a:gd name="connsiteY222" fmla="*/ 343178 h 1333436"/>
                <a:gd name="connsiteX223" fmla="*/ 73095 w 752994"/>
                <a:gd name="connsiteY223" fmla="*/ 333376 h 1333436"/>
                <a:gd name="connsiteX224" fmla="*/ 73291 w 752994"/>
                <a:gd name="connsiteY224" fmla="*/ 333376 h 1333436"/>
                <a:gd name="connsiteX225" fmla="*/ 77991 w 752994"/>
                <a:gd name="connsiteY225" fmla="*/ 325838 h 1333436"/>
                <a:gd name="connsiteX226" fmla="*/ 82671 w 752994"/>
                <a:gd name="connsiteY226" fmla="*/ 313619 h 1333436"/>
                <a:gd name="connsiteX227" fmla="*/ 87980 w 752994"/>
                <a:gd name="connsiteY227" fmla="*/ 303018 h 1333436"/>
                <a:gd name="connsiteX228" fmla="*/ 92267 w 752994"/>
                <a:gd name="connsiteY228" fmla="*/ 291191 h 1333436"/>
                <a:gd name="connsiteX229" fmla="*/ 96553 w 752994"/>
                <a:gd name="connsiteY229" fmla="*/ 281202 h 1333436"/>
                <a:gd name="connsiteX230" fmla="*/ 99621 w 752994"/>
                <a:gd name="connsiteY230" fmla="*/ 274481 h 1333436"/>
                <a:gd name="connsiteX231" fmla="*/ 103082 w 752994"/>
                <a:gd name="connsiteY231" fmla="*/ 262450 h 1333436"/>
                <a:gd name="connsiteX232" fmla="*/ 107172 w 752994"/>
                <a:gd name="connsiteY232" fmla="*/ 254299 h 1333436"/>
                <a:gd name="connsiteX233" fmla="*/ 112481 w 752994"/>
                <a:gd name="connsiteY233" fmla="*/ 243697 h 1333436"/>
                <a:gd name="connsiteX234" fmla="*/ 117181 w 752994"/>
                <a:gd name="connsiteY234" fmla="*/ 232279 h 1333436"/>
                <a:gd name="connsiteX235" fmla="*/ 125951 w 752994"/>
                <a:gd name="connsiteY235" fmla="*/ 217389 h 1333436"/>
                <a:gd name="connsiteX236" fmla="*/ 136156 w 752994"/>
                <a:gd name="connsiteY236" fmla="*/ 202925 h 1333436"/>
                <a:gd name="connsiteX237" fmla="*/ 138811 w 752994"/>
                <a:gd name="connsiteY237" fmla="*/ 183339 h 1333436"/>
                <a:gd name="connsiteX238" fmla="*/ 148801 w 752994"/>
                <a:gd name="connsiteY238" fmla="*/ 167445 h 1333436"/>
                <a:gd name="connsiteX239" fmla="*/ 159616 w 752994"/>
                <a:gd name="connsiteY239" fmla="*/ 170712 h 1333436"/>
                <a:gd name="connsiteX240" fmla="*/ 173105 w 752994"/>
                <a:gd name="connsiteY240" fmla="*/ 175188 h 1333436"/>
                <a:gd name="connsiteX241" fmla="*/ 175347 w 752994"/>
                <a:gd name="connsiteY241" fmla="*/ 175188 h 1333436"/>
                <a:gd name="connsiteX242" fmla="*/ 175347 w 752994"/>
                <a:gd name="connsiteY242" fmla="*/ 173758 h 1333436"/>
                <a:gd name="connsiteX243" fmla="*/ 158851 w 752994"/>
                <a:gd name="connsiteY243" fmla="*/ 156924 h 1333436"/>
                <a:gd name="connsiteX244" fmla="*/ 147025 w 752994"/>
                <a:gd name="connsiteY244" fmla="*/ 145709 h 1333436"/>
                <a:gd name="connsiteX245" fmla="*/ 154364 w 752994"/>
                <a:gd name="connsiteY245" fmla="*/ 136335 h 1333436"/>
                <a:gd name="connsiteX246" fmla="*/ 161511 w 752994"/>
                <a:gd name="connsiteY246" fmla="*/ 131042 h 1333436"/>
                <a:gd name="connsiteX247" fmla="*/ 160902 w 752994"/>
                <a:gd name="connsiteY247" fmla="*/ 128384 h 1333436"/>
                <a:gd name="connsiteX248" fmla="*/ 160277 w 752994"/>
                <a:gd name="connsiteY248" fmla="*/ 127778 h 1333436"/>
                <a:gd name="connsiteX249" fmla="*/ 154973 w 752994"/>
                <a:gd name="connsiteY249" fmla="*/ 122077 h 1333436"/>
                <a:gd name="connsiteX250" fmla="*/ 160277 w 752994"/>
                <a:gd name="connsiteY250" fmla="*/ 115140 h 1333436"/>
                <a:gd name="connsiteX251" fmla="*/ 165181 w 752994"/>
                <a:gd name="connsiteY251" fmla="*/ 108215 h 1333436"/>
                <a:gd name="connsiteX252" fmla="*/ 161303 w 752994"/>
                <a:gd name="connsiteY252" fmla="*/ 104146 h 1333436"/>
                <a:gd name="connsiteX253" fmla="*/ 157842 w 752994"/>
                <a:gd name="connsiteY253" fmla="*/ 104542 h 1333436"/>
                <a:gd name="connsiteX254" fmla="*/ 157024 w 752994"/>
                <a:gd name="connsiteY254" fmla="*/ 102304 h 1333436"/>
                <a:gd name="connsiteX255" fmla="*/ 160694 w 752994"/>
                <a:gd name="connsiteY255" fmla="*/ 55437 h 1333436"/>
                <a:gd name="connsiteX256" fmla="*/ 160486 w 752994"/>
                <a:gd name="connsiteY256" fmla="*/ 31991 h 1333436"/>
                <a:gd name="connsiteX257" fmla="*/ 164972 w 752994"/>
                <a:gd name="connsiteY257" fmla="*/ 18141 h 1333436"/>
                <a:gd name="connsiteX258" fmla="*/ 171911 w 752994"/>
                <a:gd name="connsiteY258" fmla="*/ 11204 h 1333436"/>
                <a:gd name="connsiteX259" fmla="*/ 187406 w 752994"/>
                <a:gd name="connsiteY259" fmla="*/ 21801 h 1333436"/>
                <a:gd name="connsiteX260" fmla="*/ 210866 w 752994"/>
                <a:gd name="connsiteY260" fmla="*/ 37086 h 1333436"/>
                <a:gd name="connsiteX261" fmla="*/ 219230 w 752994"/>
                <a:gd name="connsiteY261" fmla="*/ 41166 h 1333436"/>
                <a:gd name="connsiteX262" fmla="*/ 226778 w 752994"/>
                <a:gd name="connsiteY262" fmla="*/ 47486 h 1333436"/>
                <a:gd name="connsiteX263" fmla="*/ 236152 w 752994"/>
                <a:gd name="connsiteY263" fmla="*/ 52370 h 1333436"/>
                <a:gd name="connsiteX264" fmla="*/ 239629 w 752994"/>
                <a:gd name="connsiteY264" fmla="*/ 58491 h 1333436"/>
                <a:gd name="connsiteX265" fmla="*/ 239629 w 752994"/>
                <a:gd name="connsiteY265" fmla="*/ 63376 h 1333436"/>
                <a:gd name="connsiteX266" fmla="*/ 236568 w 752994"/>
                <a:gd name="connsiteY266" fmla="*/ 67457 h 1333436"/>
                <a:gd name="connsiteX267" fmla="*/ 231264 w 752994"/>
                <a:gd name="connsiteY267" fmla="*/ 69905 h 1333436"/>
                <a:gd name="connsiteX268" fmla="*/ 216778 w 752994"/>
                <a:gd name="connsiteY268" fmla="*/ 82741 h 1333436"/>
                <a:gd name="connsiteX269" fmla="*/ 214134 w 752994"/>
                <a:gd name="connsiteY269" fmla="*/ 93536 h 1333436"/>
                <a:gd name="connsiteX270" fmla="*/ 214535 w 752994"/>
                <a:gd name="connsiteY270" fmla="*/ 96801 h 1333436"/>
                <a:gd name="connsiteX271" fmla="*/ 216378 w 752994"/>
                <a:gd name="connsiteY271" fmla="*/ 96801 h 1333436"/>
                <a:gd name="connsiteX272" fmla="*/ 230046 w 752994"/>
                <a:gd name="connsiteY272" fmla="*/ 85387 h 1333436"/>
                <a:gd name="connsiteX273" fmla="*/ 243298 w 752994"/>
                <a:gd name="connsiteY273" fmla="*/ 75198 h 1333436"/>
                <a:gd name="connsiteX274" fmla="*/ 246760 w 752994"/>
                <a:gd name="connsiteY274" fmla="*/ 77646 h 1333436"/>
                <a:gd name="connsiteX275" fmla="*/ 255541 w 752994"/>
                <a:gd name="connsiteY275" fmla="*/ 63376 h 1333436"/>
                <a:gd name="connsiteX276" fmla="*/ 259611 w 752994"/>
                <a:gd name="connsiteY276" fmla="*/ 43405 h 1333436"/>
                <a:gd name="connsiteX277" fmla="*/ 256967 w 752994"/>
                <a:gd name="connsiteY277" fmla="*/ 38520 h 1333436"/>
                <a:gd name="connsiteX278" fmla="*/ 253906 w 752994"/>
                <a:gd name="connsiteY278" fmla="*/ 34242 h 1333436"/>
                <a:gd name="connsiteX279" fmla="*/ 256967 w 752994"/>
                <a:gd name="connsiteY279" fmla="*/ 30161 h 1333436"/>
                <a:gd name="connsiteX280" fmla="*/ 262063 w 752994"/>
                <a:gd name="connsiteY280" fmla="*/ 27712 h 1333436"/>
                <a:gd name="connsiteX281" fmla="*/ 264915 w 752994"/>
                <a:gd name="connsiteY281" fmla="*/ 23026 h 1333436"/>
                <a:gd name="connsiteX282" fmla="*/ 267976 w 752994"/>
                <a:gd name="connsiteY282" fmla="*/ 22618 h 1333436"/>
                <a:gd name="connsiteX283" fmla="*/ 270427 w 752994"/>
                <a:gd name="connsiteY283" fmla="*/ 20787 h 1333436"/>
                <a:gd name="connsiteX284" fmla="*/ 263088 w 752994"/>
                <a:gd name="connsiteY284" fmla="*/ 13652 h 1333436"/>
                <a:gd name="connsiteX285" fmla="*/ 255541 w 752994"/>
                <a:gd name="connsiteY285" fmla="*/ 3055 h 1333436"/>
                <a:gd name="connsiteX286" fmla="*/ 256358 w 752994"/>
                <a:gd name="connsiteY286" fmla="*/ 1224 h 1333436"/>
                <a:gd name="connsiteX287" fmla="*/ 257159 w 752994"/>
                <a:gd name="connsiteY287" fmla="*/ 0 h 1333436"/>
                <a:gd name="connsiteX0" fmla="*/ 257159 w 752994"/>
                <a:gd name="connsiteY0" fmla="*/ 0 h 1333436"/>
                <a:gd name="connsiteX1" fmla="*/ 493147 w 752994"/>
                <a:gd name="connsiteY1" fmla="*/ 73157 h 1333436"/>
                <a:gd name="connsiteX2" fmla="*/ 492970 w 752994"/>
                <a:gd name="connsiteY2" fmla="*/ 73792 h 1333436"/>
                <a:gd name="connsiteX3" fmla="*/ 525816 w 752994"/>
                <a:gd name="connsiteY3" fmla="*/ 82491 h 1333436"/>
                <a:gd name="connsiteX4" fmla="*/ 520098 w 752994"/>
                <a:gd name="connsiteY4" fmla="*/ 111245 h 1333436"/>
                <a:gd name="connsiteX5" fmla="*/ 512552 w 752994"/>
                <a:gd name="connsiteY5" fmla="*/ 143854 h 1333436"/>
                <a:gd name="connsiteX6" fmla="*/ 517849 w 752994"/>
                <a:gd name="connsiteY6" fmla="*/ 157740 h 1333436"/>
                <a:gd name="connsiteX7" fmla="*/ 523160 w 752994"/>
                <a:gd name="connsiteY7" fmla="*/ 172009 h 1333436"/>
                <a:gd name="connsiteX8" fmla="*/ 521535 w 752994"/>
                <a:gd name="connsiteY8" fmla="*/ 178928 h 1333436"/>
                <a:gd name="connsiteX9" fmla="*/ 520098 w 752994"/>
                <a:gd name="connsiteY9" fmla="*/ 186279 h 1333436"/>
                <a:gd name="connsiteX10" fmla="*/ 526019 w 752994"/>
                <a:gd name="connsiteY10" fmla="*/ 193629 h 1333436"/>
                <a:gd name="connsiteX11" fmla="*/ 537251 w 752994"/>
                <a:gd name="connsiteY11" fmla="*/ 206270 h 1333436"/>
                <a:gd name="connsiteX12" fmla="*/ 542765 w 752994"/>
                <a:gd name="connsiteY12" fmla="*/ 217475 h 1333436"/>
                <a:gd name="connsiteX13" fmla="*/ 546857 w 752994"/>
                <a:gd name="connsiteY13" fmla="*/ 230930 h 1333436"/>
                <a:gd name="connsiteX14" fmla="*/ 549499 w 752994"/>
                <a:gd name="connsiteY14" fmla="*/ 235622 h 1333436"/>
                <a:gd name="connsiteX15" fmla="*/ 553388 w 752994"/>
                <a:gd name="connsiteY15" fmla="*/ 240722 h 1333436"/>
                <a:gd name="connsiteX16" fmla="*/ 557465 w 752994"/>
                <a:gd name="connsiteY16" fmla="*/ 246037 h 1333436"/>
                <a:gd name="connsiteX17" fmla="*/ 561761 w 752994"/>
                <a:gd name="connsiteY17" fmla="*/ 248671 h 1333436"/>
                <a:gd name="connsiteX18" fmla="*/ 567478 w 752994"/>
                <a:gd name="connsiteY18" fmla="*/ 247665 h 1333436"/>
                <a:gd name="connsiteX19" fmla="*/ 569931 w 752994"/>
                <a:gd name="connsiteY19" fmla="*/ 249293 h 1333436"/>
                <a:gd name="connsiteX20" fmla="*/ 570540 w 752994"/>
                <a:gd name="connsiteY20" fmla="*/ 251951 h 1333436"/>
                <a:gd name="connsiteX21" fmla="*/ 561964 w 752994"/>
                <a:gd name="connsiteY21" fmla="*/ 267656 h 1333436"/>
                <a:gd name="connsiteX22" fmla="*/ 553591 w 752994"/>
                <a:gd name="connsiteY22" fmla="*/ 289659 h 1333436"/>
                <a:gd name="connsiteX23" fmla="*/ 554810 w 752994"/>
                <a:gd name="connsiteY23" fmla="*/ 292939 h 1333436"/>
                <a:gd name="connsiteX24" fmla="*/ 556246 w 752994"/>
                <a:gd name="connsiteY24" fmla="*/ 299260 h 1333436"/>
                <a:gd name="connsiteX25" fmla="*/ 552778 w 752994"/>
                <a:gd name="connsiteY25" fmla="*/ 301917 h 1333436"/>
                <a:gd name="connsiteX26" fmla="*/ 549295 w 752994"/>
                <a:gd name="connsiteY26" fmla="*/ 306993 h 1333436"/>
                <a:gd name="connsiteX27" fmla="*/ 547061 w 752994"/>
                <a:gd name="connsiteY27" fmla="*/ 313122 h 1333436"/>
                <a:gd name="connsiteX28" fmla="*/ 544811 w 752994"/>
                <a:gd name="connsiteY28" fmla="*/ 316593 h 1333436"/>
                <a:gd name="connsiteX29" fmla="*/ 549919 w 752994"/>
                <a:gd name="connsiteY29" fmla="*/ 322698 h 1333436"/>
                <a:gd name="connsiteX30" fmla="*/ 553184 w 752994"/>
                <a:gd name="connsiteY30" fmla="*/ 325955 h 1333436"/>
                <a:gd name="connsiteX31" fmla="*/ 555840 w 752994"/>
                <a:gd name="connsiteY31" fmla="*/ 328205 h 1333436"/>
                <a:gd name="connsiteX32" fmla="*/ 574212 w 752994"/>
                <a:gd name="connsiteY32" fmla="*/ 318820 h 1333436"/>
                <a:gd name="connsiteX33" fmla="*/ 579523 w 752994"/>
                <a:gd name="connsiteY33" fmla="*/ 326577 h 1333436"/>
                <a:gd name="connsiteX34" fmla="*/ 580539 w 752994"/>
                <a:gd name="connsiteY34" fmla="*/ 334933 h 1333436"/>
                <a:gd name="connsiteX35" fmla="*/ 579726 w 752994"/>
                <a:gd name="connsiteY35" fmla="*/ 343097 h 1333436"/>
                <a:gd name="connsiteX36" fmla="*/ 581366 w 752994"/>
                <a:gd name="connsiteY36" fmla="*/ 350231 h 1333436"/>
                <a:gd name="connsiteX37" fmla="*/ 586256 w 752994"/>
                <a:gd name="connsiteY37" fmla="*/ 355930 h 1333436"/>
                <a:gd name="connsiteX38" fmla="*/ 589536 w 752994"/>
                <a:gd name="connsiteY38" fmla="*/ 362059 h 1333436"/>
                <a:gd name="connsiteX39" fmla="*/ 588099 w 752994"/>
                <a:gd name="connsiteY39" fmla="*/ 369600 h 1333436"/>
                <a:gd name="connsiteX40" fmla="*/ 586459 w 752994"/>
                <a:gd name="connsiteY40" fmla="*/ 377357 h 1333436"/>
                <a:gd name="connsiteX41" fmla="*/ 588709 w 752994"/>
                <a:gd name="connsiteY41" fmla="*/ 381835 h 1333436"/>
                <a:gd name="connsiteX42" fmla="*/ 595036 w 752994"/>
                <a:gd name="connsiteY42" fmla="*/ 382457 h 1333436"/>
                <a:gd name="connsiteX43" fmla="*/ 599331 w 752994"/>
                <a:gd name="connsiteY43" fmla="*/ 385306 h 1333436"/>
                <a:gd name="connsiteX44" fmla="*/ 601987 w 752994"/>
                <a:gd name="connsiteY44" fmla="*/ 391004 h 1333436"/>
                <a:gd name="connsiteX45" fmla="*/ 602799 w 752994"/>
                <a:gd name="connsiteY45" fmla="*/ 404076 h 1333436"/>
                <a:gd name="connsiteX46" fmla="*/ 606892 w 752994"/>
                <a:gd name="connsiteY46" fmla="*/ 415688 h 1333436"/>
                <a:gd name="connsiteX47" fmla="*/ 610563 w 752994"/>
                <a:gd name="connsiteY47" fmla="*/ 412217 h 1333436"/>
                <a:gd name="connsiteX48" fmla="*/ 617920 w 752994"/>
                <a:gd name="connsiteY48" fmla="*/ 408769 h 1333436"/>
                <a:gd name="connsiteX49" fmla="*/ 624654 w 752994"/>
                <a:gd name="connsiteY49" fmla="*/ 411211 h 1333436"/>
                <a:gd name="connsiteX50" fmla="*/ 634652 w 752994"/>
                <a:gd name="connsiteY50" fmla="*/ 410182 h 1333436"/>
                <a:gd name="connsiteX51" fmla="*/ 640573 w 752994"/>
                <a:gd name="connsiteY51" fmla="*/ 407739 h 1333436"/>
                <a:gd name="connsiteX52" fmla="*/ 646711 w 752994"/>
                <a:gd name="connsiteY52" fmla="*/ 410589 h 1333436"/>
                <a:gd name="connsiteX53" fmla="*/ 650383 w 752994"/>
                <a:gd name="connsiteY53" fmla="*/ 410589 h 1333436"/>
                <a:gd name="connsiteX54" fmla="*/ 654257 w 752994"/>
                <a:gd name="connsiteY54" fmla="*/ 411618 h 1333436"/>
                <a:gd name="connsiteX55" fmla="*/ 656913 w 752994"/>
                <a:gd name="connsiteY55" fmla="*/ 413653 h 1333436"/>
                <a:gd name="connsiteX56" fmla="*/ 660802 w 752994"/>
                <a:gd name="connsiteY56" fmla="*/ 415090 h 1333436"/>
                <a:gd name="connsiteX57" fmla="*/ 669581 w 752994"/>
                <a:gd name="connsiteY57" fmla="*/ 415904 h 1333436"/>
                <a:gd name="connsiteX58" fmla="*/ 672237 w 752994"/>
                <a:gd name="connsiteY58" fmla="*/ 415688 h 1333436"/>
                <a:gd name="connsiteX59" fmla="*/ 675705 w 752994"/>
                <a:gd name="connsiteY59" fmla="*/ 409367 h 1333436"/>
                <a:gd name="connsiteX60" fmla="*/ 679986 w 752994"/>
                <a:gd name="connsiteY60" fmla="*/ 403238 h 1333436"/>
                <a:gd name="connsiteX61" fmla="*/ 693264 w 752994"/>
                <a:gd name="connsiteY61" fmla="*/ 419567 h 1333436"/>
                <a:gd name="connsiteX62" fmla="*/ 688563 w 752994"/>
                <a:gd name="connsiteY62" fmla="*/ 448321 h 1333436"/>
                <a:gd name="connsiteX63" fmla="*/ 663949 w 752994"/>
                <a:gd name="connsiteY63" fmla="*/ 590165 h 1333436"/>
                <a:gd name="connsiteX64" fmla="*/ 666304 w 752994"/>
                <a:gd name="connsiteY64" fmla="*/ 590504 h 1333436"/>
                <a:gd name="connsiteX65" fmla="*/ 655288 w 752994"/>
                <a:gd name="connsiteY65" fmla="*/ 656178 h 1333436"/>
                <a:gd name="connsiteX66" fmla="*/ 681808 w 752994"/>
                <a:gd name="connsiteY66" fmla="*/ 662301 h 1333436"/>
                <a:gd name="connsiteX67" fmla="*/ 752994 w 752994"/>
                <a:gd name="connsiteY67" fmla="*/ 675560 h 1333436"/>
                <a:gd name="connsiteX68" fmla="*/ 714651 w 752994"/>
                <a:gd name="connsiteY68" fmla="*/ 946985 h 1333436"/>
                <a:gd name="connsiteX69" fmla="*/ 654533 w 752994"/>
                <a:gd name="connsiteY69" fmla="*/ 1333436 h 1333436"/>
                <a:gd name="connsiteX70" fmla="*/ 546831 w 752994"/>
                <a:gd name="connsiteY70" fmla="*/ 1317126 h 1333436"/>
                <a:gd name="connsiteX71" fmla="*/ 351227 w 752994"/>
                <a:gd name="connsiteY71" fmla="*/ 1194172 h 1333436"/>
                <a:gd name="connsiteX72" fmla="*/ 361011 w 752994"/>
                <a:gd name="connsiteY72" fmla="*/ 1182755 h 1333436"/>
                <a:gd name="connsiteX73" fmla="*/ 368981 w 752994"/>
                <a:gd name="connsiteY73" fmla="*/ 1182130 h 1333436"/>
                <a:gd name="connsiteX74" fmla="*/ 369571 w 752994"/>
                <a:gd name="connsiteY74" fmla="*/ 1181558 h 1333436"/>
                <a:gd name="connsiteX75" fmla="*/ 362372 w 752994"/>
                <a:gd name="connsiteY75" fmla="*/ 1182120 h 1333436"/>
                <a:gd name="connsiteX76" fmla="*/ 229464 w 752994"/>
                <a:gd name="connsiteY76" fmla="*/ 1161721 h 1333436"/>
                <a:gd name="connsiteX77" fmla="*/ 227427 w 752994"/>
                <a:gd name="connsiteY77" fmla="*/ 1157269 h 1333436"/>
                <a:gd name="connsiteX78" fmla="*/ 224967 w 752994"/>
                <a:gd name="connsiteY78" fmla="*/ 1152575 h 1333436"/>
                <a:gd name="connsiteX79" fmla="*/ 225582 w 752994"/>
                <a:gd name="connsiteY79" fmla="*/ 1144808 h 1333436"/>
                <a:gd name="connsiteX80" fmla="*/ 227215 w 752994"/>
                <a:gd name="connsiteY80" fmla="*/ 1135834 h 1333436"/>
                <a:gd name="connsiteX81" fmla="*/ 227215 w 752994"/>
                <a:gd name="connsiteY81" fmla="*/ 1134212 h 1333436"/>
                <a:gd name="connsiteX82" fmla="*/ 225179 w 752994"/>
                <a:gd name="connsiteY82" fmla="*/ 1114020 h 1333436"/>
                <a:gd name="connsiteX83" fmla="*/ 217839 w 752994"/>
                <a:gd name="connsiteY83" fmla="*/ 1100352 h 1333436"/>
                <a:gd name="connsiteX84" fmla="*/ 199661 w 752994"/>
                <a:gd name="connsiteY84" fmla="*/ 1076502 h 1333436"/>
                <a:gd name="connsiteX85" fmla="*/ 196395 w 752994"/>
                <a:gd name="connsiteY85" fmla="*/ 1071807 h 1333436"/>
                <a:gd name="connsiteX86" fmla="*/ 190880 w 752994"/>
                <a:gd name="connsiteY86" fmla="*/ 1067527 h 1333436"/>
                <a:gd name="connsiteX87" fmla="*/ 187210 w 752994"/>
                <a:gd name="connsiteY87" fmla="*/ 1068735 h 1333436"/>
                <a:gd name="connsiteX88" fmla="*/ 180062 w 752994"/>
                <a:gd name="connsiteY88" fmla="*/ 1066699 h 1333436"/>
                <a:gd name="connsiteX89" fmla="*/ 180466 w 752994"/>
                <a:gd name="connsiteY89" fmla="*/ 1053031 h 1333436"/>
                <a:gd name="connsiteX90" fmla="*/ 180062 w 752994"/>
                <a:gd name="connsiteY90" fmla="*/ 1045299 h 1333436"/>
                <a:gd name="connsiteX91" fmla="*/ 174144 w 752994"/>
                <a:gd name="connsiteY91" fmla="*/ 1044057 h 1333436"/>
                <a:gd name="connsiteX92" fmla="*/ 158426 w 752994"/>
                <a:gd name="connsiteY92" fmla="*/ 1042641 h 1333436"/>
                <a:gd name="connsiteX93" fmla="*/ 149857 w 752994"/>
                <a:gd name="connsiteY93" fmla="*/ 1035497 h 1333436"/>
                <a:gd name="connsiteX94" fmla="*/ 142497 w 752994"/>
                <a:gd name="connsiteY94" fmla="*/ 1028766 h 1333436"/>
                <a:gd name="connsiteX95" fmla="*/ 140864 w 752994"/>
                <a:gd name="connsiteY95" fmla="*/ 1020620 h 1333436"/>
                <a:gd name="connsiteX96" fmla="*/ 138212 w 752994"/>
                <a:gd name="connsiteY96" fmla="*/ 1013061 h 1333436"/>
                <a:gd name="connsiteX97" fmla="*/ 131064 w 752994"/>
                <a:gd name="connsiteY97" fmla="*/ 1007159 h 1333436"/>
                <a:gd name="connsiteX98" fmla="*/ 121264 w 752994"/>
                <a:gd name="connsiteY98" fmla="*/ 1005330 h 1333436"/>
                <a:gd name="connsiteX99" fmla="*/ 112483 w 752994"/>
                <a:gd name="connsiteY99" fmla="*/ 1001671 h 1333436"/>
                <a:gd name="connsiteX100" fmla="*/ 105950 w 752994"/>
                <a:gd name="connsiteY100" fmla="*/ 995734 h 1333436"/>
                <a:gd name="connsiteX101" fmla="*/ 97380 w 752994"/>
                <a:gd name="connsiteY101" fmla="*/ 994526 h 1333436"/>
                <a:gd name="connsiteX102" fmla="*/ 87984 w 752994"/>
                <a:gd name="connsiteY102" fmla="*/ 991040 h 1333436"/>
                <a:gd name="connsiteX103" fmla="*/ 80029 w 752994"/>
                <a:gd name="connsiteY103" fmla="*/ 985138 h 1333436"/>
                <a:gd name="connsiteX104" fmla="*/ 77166 w 752994"/>
                <a:gd name="connsiteY104" fmla="*/ 976164 h 1333436"/>
                <a:gd name="connsiteX105" fmla="*/ 79203 w 752994"/>
                <a:gd name="connsiteY105" fmla="*/ 970676 h 1333436"/>
                <a:gd name="connsiteX106" fmla="*/ 82470 w 752994"/>
                <a:gd name="connsiteY106" fmla="*/ 963117 h 1333436"/>
                <a:gd name="connsiteX107" fmla="*/ 84314 w 752994"/>
                <a:gd name="connsiteY107" fmla="*/ 954557 h 1333436"/>
                <a:gd name="connsiteX108" fmla="*/ 86351 w 752994"/>
                <a:gd name="connsiteY108" fmla="*/ 948033 h 1333436"/>
                <a:gd name="connsiteX109" fmla="*/ 86159 w 752994"/>
                <a:gd name="connsiteY109" fmla="*/ 942925 h 1333436"/>
                <a:gd name="connsiteX110" fmla="*/ 83085 w 752994"/>
                <a:gd name="connsiteY110" fmla="*/ 939853 h 1333436"/>
                <a:gd name="connsiteX111" fmla="*/ 77570 w 752994"/>
                <a:gd name="connsiteY111" fmla="*/ 937437 h 1333436"/>
                <a:gd name="connsiteX112" fmla="*/ 76763 w 752994"/>
                <a:gd name="connsiteY112" fmla="*/ 931915 h 1333436"/>
                <a:gd name="connsiteX113" fmla="*/ 78800 w 752994"/>
                <a:gd name="connsiteY113" fmla="*/ 927013 h 1333436"/>
                <a:gd name="connsiteX114" fmla="*/ 79626 w 752994"/>
                <a:gd name="connsiteY114" fmla="*/ 922526 h 1333436"/>
                <a:gd name="connsiteX115" fmla="*/ 77781 w 752994"/>
                <a:gd name="connsiteY115" fmla="*/ 919903 h 1333436"/>
                <a:gd name="connsiteX116" fmla="*/ 74303 w 752994"/>
                <a:gd name="connsiteY116" fmla="*/ 917418 h 1333436"/>
                <a:gd name="connsiteX117" fmla="*/ 71863 w 752994"/>
                <a:gd name="connsiteY117" fmla="*/ 915174 h 1333436"/>
                <a:gd name="connsiteX118" fmla="*/ 71652 w 752994"/>
                <a:gd name="connsiteY118" fmla="*/ 910894 h 1333436"/>
                <a:gd name="connsiteX119" fmla="*/ 70633 w 752994"/>
                <a:gd name="connsiteY119" fmla="*/ 906614 h 1333436"/>
                <a:gd name="connsiteX120" fmla="*/ 68385 w 752994"/>
                <a:gd name="connsiteY120" fmla="*/ 902749 h 1333436"/>
                <a:gd name="connsiteX121" fmla="*/ 61045 w 752994"/>
                <a:gd name="connsiteY121" fmla="*/ 889494 h 1333436"/>
                <a:gd name="connsiteX122" fmla="*/ 57971 w 752994"/>
                <a:gd name="connsiteY122" fmla="*/ 875619 h 1333436"/>
                <a:gd name="connsiteX123" fmla="*/ 52264 w 752994"/>
                <a:gd name="connsiteY123" fmla="*/ 862572 h 1333436"/>
                <a:gd name="connsiteX124" fmla="*/ 44309 w 752994"/>
                <a:gd name="connsiteY124" fmla="*/ 850561 h 1333436"/>
                <a:gd name="connsiteX125" fmla="*/ 45520 w 752994"/>
                <a:gd name="connsiteY125" fmla="*/ 827090 h 1333436"/>
                <a:gd name="connsiteX126" fmla="*/ 53071 w 752994"/>
                <a:gd name="connsiteY126" fmla="*/ 822396 h 1333436"/>
                <a:gd name="connsiteX127" fmla="*/ 57375 w 752994"/>
                <a:gd name="connsiteY127" fmla="*/ 816493 h 1333436"/>
                <a:gd name="connsiteX128" fmla="*/ 55319 w 752994"/>
                <a:gd name="connsiteY128" fmla="*/ 801617 h 1333436"/>
                <a:gd name="connsiteX129" fmla="*/ 48383 w 752994"/>
                <a:gd name="connsiteY129" fmla="*/ 802204 h 1333436"/>
                <a:gd name="connsiteX130" fmla="*/ 40428 w 752994"/>
                <a:gd name="connsiteY130" fmla="*/ 797924 h 1333436"/>
                <a:gd name="connsiteX131" fmla="*/ 37565 w 752994"/>
                <a:gd name="connsiteY131" fmla="*/ 790606 h 1333436"/>
                <a:gd name="connsiteX132" fmla="*/ 37565 w 752994"/>
                <a:gd name="connsiteY132" fmla="*/ 790399 h 1333436"/>
                <a:gd name="connsiteX133" fmla="*/ 35931 w 752994"/>
                <a:gd name="connsiteY133" fmla="*/ 785912 h 1333436"/>
                <a:gd name="connsiteX134" fmla="*/ 34510 w 752994"/>
                <a:gd name="connsiteY134" fmla="*/ 780597 h 1333436"/>
                <a:gd name="connsiteX135" fmla="*/ 36335 w 752994"/>
                <a:gd name="connsiteY135" fmla="*/ 774280 h 1333436"/>
                <a:gd name="connsiteX136" fmla="*/ 38180 w 752994"/>
                <a:gd name="connsiteY136" fmla="*/ 766721 h 1333436"/>
                <a:gd name="connsiteX137" fmla="*/ 37161 w 752994"/>
                <a:gd name="connsiteY137" fmla="*/ 760405 h 1333436"/>
                <a:gd name="connsiteX138" fmla="*/ 35720 w 752994"/>
                <a:gd name="connsiteY138" fmla="*/ 754710 h 1333436"/>
                <a:gd name="connsiteX139" fmla="*/ 36546 w 752994"/>
                <a:gd name="connsiteY139" fmla="*/ 748773 h 1333436"/>
                <a:gd name="connsiteX140" fmla="*/ 38372 w 752994"/>
                <a:gd name="connsiteY140" fmla="*/ 744528 h 1333436"/>
                <a:gd name="connsiteX141" fmla="*/ 41638 w 752994"/>
                <a:gd name="connsiteY141" fmla="*/ 744321 h 1333436"/>
                <a:gd name="connsiteX142" fmla="*/ 44713 w 752994"/>
                <a:gd name="connsiteY142" fmla="*/ 746357 h 1333436"/>
                <a:gd name="connsiteX143" fmla="*/ 47364 w 752994"/>
                <a:gd name="connsiteY143" fmla="*/ 753260 h 1333436"/>
                <a:gd name="connsiteX144" fmla="*/ 55742 w 752994"/>
                <a:gd name="connsiteY144" fmla="*/ 764305 h 1333436"/>
                <a:gd name="connsiteX145" fmla="*/ 56338 w 752994"/>
                <a:gd name="connsiteY145" fmla="*/ 761233 h 1333436"/>
                <a:gd name="connsiteX146" fmla="*/ 56145 w 752994"/>
                <a:gd name="connsiteY146" fmla="*/ 757368 h 1333436"/>
                <a:gd name="connsiteX147" fmla="*/ 54916 w 752994"/>
                <a:gd name="connsiteY147" fmla="*/ 748601 h 1333436"/>
                <a:gd name="connsiteX148" fmla="*/ 52879 w 752994"/>
                <a:gd name="connsiteY148" fmla="*/ 747358 h 1333436"/>
                <a:gd name="connsiteX149" fmla="*/ 51649 w 752994"/>
                <a:gd name="connsiteY149" fmla="*/ 745322 h 1333436"/>
                <a:gd name="connsiteX150" fmla="*/ 51649 w 752994"/>
                <a:gd name="connsiteY150" fmla="*/ 739212 h 1333436"/>
                <a:gd name="connsiteX151" fmla="*/ 50227 w 752994"/>
                <a:gd name="connsiteY151" fmla="*/ 734725 h 1333436"/>
                <a:gd name="connsiteX152" fmla="*/ 48786 w 752994"/>
                <a:gd name="connsiteY152" fmla="*/ 731446 h 1333436"/>
                <a:gd name="connsiteX153" fmla="*/ 54512 w 752994"/>
                <a:gd name="connsiteY153" fmla="*/ 726372 h 1333436"/>
                <a:gd name="connsiteX154" fmla="*/ 59815 w 752994"/>
                <a:gd name="connsiteY154" fmla="*/ 725130 h 1333436"/>
                <a:gd name="connsiteX155" fmla="*/ 58182 w 752994"/>
                <a:gd name="connsiteY155" fmla="*/ 722886 h 1333436"/>
                <a:gd name="connsiteX156" fmla="*/ 51861 w 752994"/>
                <a:gd name="connsiteY156" fmla="*/ 717985 h 1333436"/>
                <a:gd name="connsiteX157" fmla="*/ 46749 w 752994"/>
                <a:gd name="connsiteY157" fmla="*/ 729617 h 1333436"/>
                <a:gd name="connsiteX158" fmla="*/ 40831 w 752994"/>
                <a:gd name="connsiteY158" fmla="*/ 739212 h 1333436"/>
                <a:gd name="connsiteX159" fmla="*/ 39601 w 752994"/>
                <a:gd name="connsiteY159" fmla="*/ 738798 h 1333436"/>
                <a:gd name="connsiteX160" fmla="*/ 39409 w 752994"/>
                <a:gd name="connsiteY160" fmla="*/ 738591 h 1333436"/>
                <a:gd name="connsiteX161" fmla="*/ 37161 w 752994"/>
                <a:gd name="connsiteY161" fmla="*/ 734725 h 1333436"/>
                <a:gd name="connsiteX162" fmla="*/ 32665 w 752994"/>
                <a:gd name="connsiteY162" fmla="*/ 727788 h 1333436"/>
                <a:gd name="connsiteX163" fmla="*/ 26747 w 752994"/>
                <a:gd name="connsiteY163" fmla="*/ 719435 h 1333436"/>
                <a:gd name="connsiteX164" fmla="*/ 23884 w 752994"/>
                <a:gd name="connsiteY164" fmla="*/ 717812 h 1333436"/>
                <a:gd name="connsiteX165" fmla="*/ 24710 w 752994"/>
                <a:gd name="connsiteY165" fmla="*/ 709632 h 1333436"/>
                <a:gd name="connsiteX166" fmla="*/ 27554 w 752994"/>
                <a:gd name="connsiteY166" fmla="*/ 701694 h 1333436"/>
                <a:gd name="connsiteX167" fmla="*/ 24902 w 752994"/>
                <a:gd name="connsiteY167" fmla="*/ 696171 h 1333436"/>
                <a:gd name="connsiteX168" fmla="*/ 24095 w 752994"/>
                <a:gd name="connsiteY168" fmla="*/ 687818 h 1333436"/>
                <a:gd name="connsiteX169" fmla="*/ 22462 w 752994"/>
                <a:gd name="connsiteY169" fmla="*/ 682330 h 1333436"/>
                <a:gd name="connsiteX170" fmla="*/ 17159 w 752994"/>
                <a:gd name="connsiteY170" fmla="*/ 677636 h 1333436"/>
                <a:gd name="connsiteX171" fmla="*/ 14296 w 752994"/>
                <a:gd name="connsiteY171" fmla="*/ 671492 h 1333436"/>
                <a:gd name="connsiteX172" fmla="*/ 12451 w 752994"/>
                <a:gd name="connsiteY172" fmla="*/ 665797 h 1333436"/>
                <a:gd name="connsiteX173" fmla="*/ 5111 w 752994"/>
                <a:gd name="connsiteY173" fmla="*/ 654994 h 1333436"/>
                <a:gd name="connsiteX174" fmla="*/ 2248 w 752994"/>
                <a:gd name="connsiteY174" fmla="*/ 645605 h 1333436"/>
                <a:gd name="connsiteX175" fmla="*/ 4496 w 752994"/>
                <a:gd name="connsiteY175" fmla="*/ 640497 h 1333436"/>
                <a:gd name="connsiteX176" fmla="*/ 6744 w 752994"/>
                <a:gd name="connsiteY176" fmla="*/ 632765 h 1333436"/>
                <a:gd name="connsiteX177" fmla="*/ 6744 w 752994"/>
                <a:gd name="connsiteY177" fmla="*/ 628485 h 1333436"/>
                <a:gd name="connsiteX178" fmla="*/ 6533 w 752994"/>
                <a:gd name="connsiteY178" fmla="*/ 620305 h 1333436"/>
                <a:gd name="connsiteX179" fmla="*/ 7359 w 752994"/>
                <a:gd name="connsiteY179" fmla="*/ 611745 h 1333436"/>
                <a:gd name="connsiteX180" fmla="*/ 11836 w 752994"/>
                <a:gd name="connsiteY180" fmla="*/ 602978 h 1333436"/>
                <a:gd name="connsiteX181" fmla="*/ 15103 w 752994"/>
                <a:gd name="connsiteY181" fmla="*/ 591760 h 1333436"/>
                <a:gd name="connsiteX182" fmla="*/ 14488 w 752994"/>
                <a:gd name="connsiteY182" fmla="*/ 584029 h 1333436"/>
                <a:gd name="connsiteX183" fmla="*/ 13873 w 752994"/>
                <a:gd name="connsiteY183" fmla="*/ 578299 h 1333436"/>
                <a:gd name="connsiteX184" fmla="*/ 10626 w 752994"/>
                <a:gd name="connsiteY184" fmla="*/ 568531 h 1333436"/>
                <a:gd name="connsiteX185" fmla="*/ 3670 w 752994"/>
                <a:gd name="connsiteY185" fmla="*/ 558107 h 1333436"/>
                <a:gd name="connsiteX186" fmla="*/ 0 w 752994"/>
                <a:gd name="connsiteY186" fmla="*/ 551377 h 1333436"/>
                <a:gd name="connsiteX187" fmla="*/ 0 w 752994"/>
                <a:gd name="connsiteY187" fmla="*/ 550997 h 1333436"/>
                <a:gd name="connsiteX188" fmla="*/ 4900 w 752994"/>
                <a:gd name="connsiteY188" fmla="*/ 531220 h 1333436"/>
                <a:gd name="connsiteX189" fmla="*/ 13873 w 752994"/>
                <a:gd name="connsiteY189" fmla="*/ 520589 h 1333436"/>
                <a:gd name="connsiteX190" fmla="*/ 18369 w 752994"/>
                <a:gd name="connsiteY190" fmla="*/ 516516 h 1333436"/>
                <a:gd name="connsiteX191" fmla="*/ 18773 w 752994"/>
                <a:gd name="connsiteY191" fmla="*/ 514272 h 1333436"/>
                <a:gd name="connsiteX192" fmla="*/ 23077 w 752994"/>
                <a:gd name="connsiteY192" fmla="*/ 506127 h 1333436"/>
                <a:gd name="connsiteX193" fmla="*/ 23884 w 752994"/>
                <a:gd name="connsiteY193" fmla="*/ 502261 h 1333436"/>
                <a:gd name="connsiteX194" fmla="*/ 23692 w 752994"/>
                <a:gd name="connsiteY194" fmla="*/ 496738 h 1333436"/>
                <a:gd name="connsiteX195" fmla="*/ 30013 w 752994"/>
                <a:gd name="connsiteY195" fmla="*/ 486556 h 1333436"/>
                <a:gd name="connsiteX196" fmla="*/ 36546 w 752994"/>
                <a:gd name="connsiteY196" fmla="*/ 470230 h 1333436"/>
                <a:gd name="connsiteX197" fmla="*/ 36546 w 752994"/>
                <a:gd name="connsiteY197" fmla="*/ 462671 h 1333436"/>
                <a:gd name="connsiteX198" fmla="*/ 36335 w 752994"/>
                <a:gd name="connsiteY198" fmla="*/ 461670 h 1333436"/>
                <a:gd name="connsiteX199" fmla="*/ 35931 w 752994"/>
                <a:gd name="connsiteY199" fmla="*/ 453110 h 1333436"/>
                <a:gd name="connsiteX200" fmla="*/ 38583 w 752994"/>
                <a:gd name="connsiteY200" fmla="*/ 442514 h 1333436"/>
                <a:gd name="connsiteX201" fmla="*/ 41043 w 752994"/>
                <a:gd name="connsiteY201" fmla="*/ 436991 h 1333436"/>
                <a:gd name="connsiteX202" fmla="*/ 41650 w 752994"/>
                <a:gd name="connsiteY202" fmla="*/ 437186 h 1333436"/>
                <a:gd name="connsiteX203" fmla="*/ 41239 w 752994"/>
                <a:gd name="connsiteY203" fmla="*/ 436549 h 1333436"/>
                <a:gd name="connsiteX204" fmla="*/ 37778 w 752994"/>
                <a:gd name="connsiteY204" fmla="*/ 433894 h 1333436"/>
                <a:gd name="connsiteX205" fmla="*/ 37169 w 752994"/>
                <a:gd name="connsiteY205" fmla="*/ 432261 h 1333436"/>
                <a:gd name="connsiteX206" fmla="*/ 37365 w 752994"/>
                <a:gd name="connsiteY206" fmla="*/ 429198 h 1333436"/>
                <a:gd name="connsiteX207" fmla="*/ 36756 w 752994"/>
                <a:gd name="connsiteY207" fmla="*/ 422272 h 1333436"/>
                <a:gd name="connsiteX208" fmla="*/ 36952 w 752994"/>
                <a:gd name="connsiteY208" fmla="*/ 418800 h 1333436"/>
                <a:gd name="connsiteX209" fmla="*/ 36756 w 752994"/>
                <a:gd name="connsiteY209" fmla="*/ 412487 h 1333436"/>
                <a:gd name="connsiteX210" fmla="*/ 40433 w 752994"/>
                <a:gd name="connsiteY210" fmla="*/ 406174 h 1333436"/>
                <a:gd name="connsiteX211" fmla="*/ 44720 w 752994"/>
                <a:gd name="connsiteY211" fmla="*/ 399435 h 1333436"/>
                <a:gd name="connsiteX212" fmla="*/ 44110 w 752994"/>
                <a:gd name="connsiteY212" fmla="*/ 389651 h 1333436"/>
                <a:gd name="connsiteX213" fmla="*/ 43894 w 752994"/>
                <a:gd name="connsiteY213" fmla="*/ 378437 h 1333436"/>
                <a:gd name="connsiteX214" fmla="*/ 47158 w 752994"/>
                <a:gd name="connsiteY214" fmla="*/ 371102 h 1333436"/>
                <a:gd name="connsiteX215" fmla="*/ 55731 w 752994"/>
                <a:gd name="connsiteY215" fmla="*/ 360909 h 1333436"/>
                <a:gd name="connsiteX216" fmla="*/ 57580 w 752994"/>
                <a:gd name="connsiteY216" fmla="*/ 355804 h 1333436"/>
                <a:gd name="connsiteX217" fmla="*/ 62673 w 752994"/>
                <a:gd name="connsiteY217" fmla="*/ 349695 h 1333436"/>
                <a:gd name="connsiteX218" fmla="*/ 65937 w 752994"/>
                <a:gd name="connsiteY218" fmla="*/ 348470 h 1333436"/>
                <a:gd name="connsiteX219" fmla="*/ 68395 w 752994"/>
                <a:gd name="connsiteY219" fmla="*/ 348674 h 1333436"/>
                <a:gd name="connsiteX220" fmla="*/ 70224 w 752994"/>
                <a:gd name="connsiteY220" fmla="*/ 347449 h 1333436"/>
                <a:gd name="connsiteX221" fmla="*/ 67785 w 752994"/>
                <a:gd name="connsiteY221" fmla="*/ 345203 h 1333436"/>
                <a:gd name="connsiteX222" fmla="*/ 65524 w 752994"/>
                <a:gd name="connsiteY222" fmla="*/ 343178 h 1333436"/>
                <a:gd name="connsiteX223" fmla="*/ 73095 w 752994"/>
                <a:gd name="connsiteY223" fmla="*/ 333376 h 1333436"/>
                <a:gd name="connsiteX224" fmla="*/ 73291 w 752994"/>
                <a:gd name="connsiteY224" fmla="*/ 333376 h 1333436"/>
                <a:gd name="connsiteX225" fmla="*/ 77991 w 752994"/>
                <a:gd name="connsiteY225" fmla="*/ 325838 h 1333436"/>
                <a:gd name="connsiteX226" fmla="*/ 82671 w 752994"/>
                <a:gd name="connsiteY226" fmla="*/ 313619 h 1333436"/>
                <a:gd name="connsiteX227" fmla="*/ 87980 w 752994"/>
                <a:gd name="connsiteY227" fmla="*/ 303018 h 1333436"/>
                <a:gd name="connsiteX228" fmla="*/ 92267 w 752994"/>
                <a:gd name="connsiteY228" fmla="*/ 291191 h 1333436"/>
                <a:gd name="connsiteX229" fmla="*/ 96553 w 752994"/>
                <a:gd name="connsiteY229" fmla="*/ 281202 h 1333436"/>
                <a:gd name="connsiteX230" fmla="*/ 99621 w 752994"/>
                <a:gd name="connsiteY230" fmla="*/ 274481 h 1333436"/>
                <a:gd name="connsiteX231" fmla="*/ 103082 w 752994"/>
                <a:gd name="connsiteY231" fmla="*/ 262450 h 1333436"/>
                <a:gd name="connsiteX232" fmla="*/ 107172 w 752994"/>
                <a:gd name="connsiteY232" fmla="*/ 254299 h 1333436"/>
                <a:gd name="connsiteX233" fmla="*/ 112481 w 752994"/>
                <a:gd name="connsiteY233" fmla="*/ 243697 h 1333436"/>
                <a:gd name="connsiteX234" fmla="*/ 117181 w 752994"/>
                <a:gd name="connsiteY234" fmla="*/ 232279 h 1333436"/>
                <a:gd name="connsiteX235" fmla="*/ 125951 w 752994"/>
                <a:gd name="connsiteY235" fmla="*/ 217389 h 1333436"/>
                <a:gd name="connsiteX236" fmla="*/ 136156 w 752994"/>
                <a:gd name="connsiteY236" fmla="*/ 202925 h 1333436"/>
                <a:gd name="connsiteX237" fmla="*/ 138811 w 752994"/>
                <a:gd name="connsiteY237" fmla="*/ 183339 h 1333436"/>
                <a:gd name="connsiteX238" fmla="*/ 148801 w 752994"/>
                <a:gd name="connsiteY238" fmla="*/ 167445 h 1333436"/>
                <a:gd name="connsiteX239" fmla="*/ 159616 w 752994"/>
                <a:gd name="connsiteY239" fmla="*/ 170712 h 1333436"/>
                <a:gd name="connsiteX240" fmla="*/ 173105 w 752994"/>
                <a:gd name="connsiteY240" fmla="*/ 175188 h 1333436"/>
                <a:gd name="connsiteX241" fmla="*/ 175347 w 752994"/>
                <a:gd name="connsiteY241" fmla="*/ 175188 h 1333436"/>
                <a:gd name="connsiteX242" fmla="*/ 158851 w 752994"/>
                <a:gd name="connsiteY242" fmla="*/ 156924 h 1333436"/>
                <a:gd name="connsiteX243" fmla="*/ 147025 w 752994"/>
                <a:gd name="connsiteY243" fmla="*/ 145709 h 1333436"/>
                <a:gd name="connsiteX244" fmla="*/ 154364 w 752994"/>
                <a:gd name="connsiteY244" fmla="*/ 136335 h 1333436"/>
                <a:gd name="connsiteX245" fmla="*/ 161511 w 752994"/>
                <a:gd name="connsiteY245" fmla="*/ 131042 h 1333436"/>
                <a:gd name="connsiteX246" fmla="*/ 160902 w 752994"/>
                <a:gd name="connsiteY246" fmla="*/ 128384 h 1333436"/>
                <a:gd name="connsiteX247" fmla="*/ 160277 w 752994"/>
                <a:gd name="connsiteY247" fmla="*/ 127778 h 1333436"/>
                <a:gd name="connsiteX248" fmla="*/ 154973 w 752994"/>
                <a:gd name="connsiteY248" fmla="*/ 122077 h 1333436"/>
                <a:gd name="connsiteX249" fmla="*/ 160277 w 752994"/>
                <a:gd name="connsiteY249" fmla="*/ 115140 h 1333436"/>
                <a:gd name="connsiteX250" fmla="*/ 165181 w 752994"/>
                <a:gd name="connsiteY250" fmla="*/ 108215 h 1333436"/>
                <a:gd name="connsiteX251" fmla="*/ 161303 w 752994"/>
                <a:gd name="connsiteY251" fmla="*/ 104146 h 1333436"/>
                <a:gd name="connsiteX252" fmla="*/ 157842 w 752994"/>
                <a:gd name="connsiteY252" fmla="*/ 104542 h 1333436"/>
                <a:gd name="connsiteX253" fmla="*/ 157024 w 752994"/>
                <a:gd name="connsiteY253" fmla="*/ 102304 h 1333436"/>
                <a:gd name="connsiteX254" fmla="*/ 160694 w 752994"/>
                <a:gd name="connsiteY254" fmla="*/ 55437 h 1333436"/>
                <a:gd name="connsiteX255" fmla="*/ 160486 w 752994"/>
                <a:gd name="connsiteY255" fmla="*/ 31991 h 1333436"/>
                <a:gd name="connsiteX256" fmla="*/ 164972 w 752994"/>
                <a:gd name="connsiteY256" fmla="*/ 18141 h 1333436"/>
                <a:gd name="connsiteX257" fmla="*/ 171911 w 752994"/>
                <a:gd name="connsiteY257" fmla="*/ 11204 h 1333436"/>
                <a:gd name="connsiteX258" fmla="*/ 187406 w 752994"/>
                <a:gd name="connsiteY258" fmla="*/ 21801 h 1333436"/>
                <a:gd name="connsiteX259" fmla="*/ 210866 w 752994"/>
                <a:gd name="connsiteY259" fmla="*/ 37086 h 1333436"/>
                <a:gd name="connsiteX260" fmla="*/ 219230 w 752994"/>
                <a:gd name="connsiteY260" fmla="*/ 41166 h 1333436"/>
                <a:gd name="connsiteX261" fmla="*/ 226778 w 752994"/>
                <a:gd name="connsiteY261" fmla="*/ 47486 h 1333436"/>
                <a:gd name="connsiteX262" fmla="*/ 236152 w 752994"/>
                <a:gd name="connsiteY262" fmla="*/ 52370 h 1333436"/>
                <a:gd name="connsiteX263" fmla="*/ 239629 w 752994"/>
                <a:gd name="connsiteY263" fmla="*/ 58491 h 1333436"/>
                <a:gd name="connsiteX264" fmla="*/ 239629 w 752994"/>
                <a:gd name="connsiteY264" fmla="*/ 63376 h 1333436"/>
                <a:gd name="connsiteX265" fmla="*/ 236568 w 752994"/>
                <a:gd name="connsiteY265" fmla="*/ 67457 h 1333436"/>
                <a:gd name="connsiteX266" fmla="*/ 231264 w 752994"/>
                <a:gd name="connsiteY266" fmla="*/ 69905 h 1333436"/>
                <a:gd name="connsiteX267" fmla="*/ 216778 w 752994"/>
                <a:gd name="connsiteY267" fmla="*/ 82741 h 1333436"/>
                <a:gd name="connsiteX268" fmla="*/ 214134 w 752994"/>
                <a:gd name="connsiteY268" fmla="*/ 93536 h 1333436"/>
                <a:gd name="connsiteX269" fmla="*/ 214535 w 752994"/>
                <a:gd name="connsiteY269" fmla="*/ 96801 h 1333436"/>
                <a:gd name="connsiteX270" fmla="*/ 216378 w 752994"/>
                <a:gd name="connsiteY270" fmla="*/ 96801 h 1333436"/>
                <a:gd name="connsiteX271" fmla="*/ 230046 w 752994"/>
                <a:gd name="connsiteY271" fmla="*/ 85387 h 1333436"/>
                <a:gd name="connsiteX272" fmla="*/ 243298 w 752994"/>
                <a:gd name="connsiteY272" fmla="*/ 75198 h 1333436"/>
                <a:gd name="connsiteX273" fmla="*/ 246760 w 752994"/>
                <a:gd name="connsiteY273" fmla="*/ 77646 h 1333436"/>
                <a:gd name="connsiteX274" fmla="*/ 255541 w 752994"/>
                <a:gd name="connsiteY274" fmla="*/ 63376 h 1333436"/>
                <a:gd name="connsiteX275" fmla="*/ 259611 w 752994"/>
                <a:gd name="connsiteY275" fmla="*/ 43405 h 1333436"/>
                <a:gd name="connsiteX276" fmla="*/ 256967 w 752994"/>
                <a:gd name="connsiteY276" fmla="*/ 38520 h 1333436"/>
                <a:gd name="connsiteX277" fmla="*/ 253906 w 752994"/>
                <a:gd name="connsiteY277" fmla="*/ 34242 h 1333436"/>
                <a:gd name="connsiteX278" fmla="*/ 256967 w 752994"/>
                <a:gd name="connsiteY278" fmla="*/ 30161 h 1333436"/>
                <a:gd name="connsiteX279" fmla="*/ 262063 w 752994"/>
                <a:gd name="connsiteY279" fmla="*/ 27712 h 1333436"/>
                <a:gd name="connsiteX280" fmla="*/ 264915 w 752994"/>
                <a:gd name="connsiteY280" fmla="*/ 23026 h 1333436"/>
                <a:gd name="connsiteX281" fmla="*/ 267976 w 752994"/>
                <a:gd name="connsiteY281" fmla="*/ 22618 h 1333436"/>
                <a:gd name="connsiteX282" fmla="*/ 270427 w 752994"/>
                <a:gd name="connsiteY282" fmla="*/ 20787 h 1333436"/>
                <a:gd name="connsiteX283" fmla="*/ 263088 w 752994"/>
                <a:gd name="connsiteY283" fmla="*/ 13652 h 1333436"/>
                <a:gd name="connsiteX284" fmla="*/ 255541 w 752994"/>
                <a:gd name="connsiteY284" fmla="*/ 3055 h 1333436"/>
                <a:gd name="connsiteX285" fmla="*/ 256358 w 752994"/>
                <a:gd name="connsiteY285" fmla="*/ 1224 h 1333436"/>
                <a:gd name="connsiteX286" fmla="*/ 257159 w 752994"/>
                <a:gd name="connsiteY286" fmla="*/ 0 h 1333436"/>
                <a:gd name="connsiteX0" fmla="*/ 257159 w 752994"/>
                <a:gd name="connsiteY0" fmla="*/ 0 h 1333436"/>
                <a:gd name="connsiteX1" fmla="*/ 493147 w 752994"/>
                <a:gd name="connsiteY1" fmla="*/ 73157 h 1333436"/>
                <a:gd name="connsiteX2" fmla="*/ 492970 w 752994"/>
                <a:gd name="connsiteY2" fmla="*/ 73792 h 1333436"/>
                <a:gd name="connsiteX3" fmla="*/ 525816 w 752994"/>
                <a:gd name="connsiteY3" fmla="*/ 82491 h 1333436"/>
                <a:gd name="connsiteX4" fmla="*/ 520098 w 752994"/>
                <a:gd name="connsiteY4" fmla="*/ 111245 h 1333436"/>
                <a:gd name="connsiteX5" fmla="*/ 512552 w 752994"/>
                <a:gd name="connsiteY5" fmla="*/ 143854 h 1333436"/>
                <a:gd name="connsiteX6" fmla="*/ 517849 w 752994"/>
                <a:gd name="connsiteY6" fmla="*/ 157740 h 1333436"/>
                <a:gd name="connsiteX7" fmla="*/ 523160 w 752994"/>
                <a:gd name="connsiteY7" fmla="*/ 172009 h 1333436"/>
                <a:gd name="connsiteX8" fmla="*/ 521535 w 752994"/>
                <a:gd name="connsiteY8" fmla="*/ 178928 h 1333436"/>
                <a:gd name="connsiteX9" fmla="*/ 520098 w 752994"/>
                <a:gd name="connsiteY9" fmla="*/ 186279 h 1333436"/>
                <a:gd name="connsiteX10" fmla="*/ 526019 w 752994"/>
                <a:gd name="connsiteY10" fmla="*/ 193629 h 1333436"/>
                <a:gd name="connsiteX11" fmla="*/ 537251 w 752994"/>
                <a:gd name="connsiteY11" fmla="*/ 206270 h 1333436"/>
                <a:gd name="connsiteX12" fmla="*/ 542765 w 752994"/>
                <a:gd name="connsiteY12" fmla="*/ 217475 h 1333436"/>
                <a:gd name="connsiteX13" fmla="*/ 546857 w 752994"/>
                <a:gd name="connsiteY13" fmla="*/ 230930 h 1333436"/>
                <a:gd name="connsiteX14" fmla="*/ 549499 w 752994"/>
                <a:gd name="connsiteY14" fmla="*/ 235622 h 1333436"/>
                <a:gd name="connsiteX15" fmla="*/ 553388 w 752994"/>
                <a:gd name="connsiteY15" fmla="*/ 240722 h 1333436"/>
                <a:gd name="connsiteX16" fmla="*/ 557465 w 752994"/>
                <a:gd name="connsiteY16" fmla="*/ 246037 h 1333436"/>
                <a:gd name="connsiteX17" fmla="*/ 561761 w 752994"/>
                <a:gd name="connsiteY17" fmla="*/ 248671 h 1333436"/>
                <a:gd name="connsiteX18" fmla="*/ 567478 w 752994"/>
                <a:gd name="connsiteY18" fmla="*/ 247665 h 1333436"/>
                <a:gd name="connsiteX19" fmla="*/ 569931 w 752994"/>
                <a:gd name="connsiteY19" fmla="*/ 249293 h 1333436"/>
                <a:gd name="connsiteX20" fmla="*/ 570540 w 752994"/>
                <a:gd name="connsiteY20" fmla="*/ 251951 h 1333436"/>
                <a:gd name="connsiteX21" fmla="*/ 561964 w 752994"/>
                <a:gd name="connsiteY21" fmla="*/ 267656 h 1333436"/>
                <a:gd name="connsiteX22" fmla="*/ 553591 w 752994"/>
                <a:gd name="connsiteY22" fmla="*/ 289659 h 1333436"/>
                <a:gd name="connsiteX23" fmla="*/ 554810 w 752994"/>
                <a:gd name="connsiteY23" fmla="*/ 292939 h 1333436"/>
                <a:gd name="connsiteX24" fmla="*/ 556246 w 752994"/>
                <a:gd name="connsiteY24" fmla="*/ 299260 h 1333436"/>
                <a:gd name="connsiteX25" fmla="*/ 552778 w 752994"/>
                <a:gd name="connsiteY25" fmla="*/ 301917 h 1333436"/>
                <a:gd name="connsiteX26" fmla="*/ 549295 w 752994"/>
                <a:gd name="connsiteY26" fmla="*/ 306993 h 1333436"/>
                <a:gd name="connsiteX27" fmla="*/ 547061 w 752994"/>
                <a:gd name="connsiteY27" fmla="*/ 313122 h 1333436"/>
                <a:gd name="connsiteX28" fmla="*/ 544811 w 752994"/>
                <a:gd name="connsiteY28" fmla="*/ 316593 h 1333436"/>
                <a:gd name="connsiteX29" fmla="*/ 549919 w 752994"/>
                <a:gd name="connsiteY29" fmla="*/ 322698 h 1333436"/>
                <a:gd name="connsiteX30" fmla="*/ 553184 w 752994"/>
                <a:gd name="connsiteY30" fmla="*/ 325955 h 1333436"/>
                <a:gd name="connsiteX31" fmla="*/ 555840 w 752994"/>
                <a:gd name="connsiteY31" fmla="*/ 328205 h 1333436"/>
                <a:gd name="connsiteX32" fmla="*/ 574212 w 752994"/>
                <a:gd name="connsiteY32" fmla="*/ 318820 h 1333436"/>
                <a:gd name="connsiteX33" fmla="*/ 579523 w 752994"/>
                <a:gd name="connsiteY33" fmla="*/ 326577 h 1333436"/>
                <a:gd name="connsiteX34" fmla="*/ 580539 w 752994"/>
                <a:gd name="connsiteY34" fmla="*/ 334933 h 1333436"/>
                <a:gd name="connsiteX35" fmla="*/ 579726 w 752994"/>
                <a:gd name="connsiteY35" fmla="*/ 343097 h 1333436"/>
                <a:gd name="connsiteX36" fmla="*/ 581366 w 752994"/>
                <a:gd name="connsiteY36" fmla="*/ 350231 h 1333436"/>
                <a:gd name="connsiteX37" fmla="*/ 586256 w 752994"/>
                <a:gd name="connsiteY37" fmla="*/ 355930 h 1333436"/>
                <a:gd name="connsiteX38" fmla="*/ 589536 w 752994"/>
                <a:gd name="connsiteY38" fmla="*/ 362059 h 1333436"/>
                <a:gd name="connsiteX39" fmla="*/ 588099 w 752994"/>
                <a:gd name="connsiteY39" fmla="*/ 369600 h 1333436"/>
                <a:gd name="connsiteX40" fmla="*/ 586459 w 752994"/>
                <a:gd name="connsiteY40" fmla="*/ 377357 h 1333436"/>
                <a:gd name="connsiteX41" fmla="*/ 588709 w 752994"/>
                <a:gd name="connsiteY41" fmla="*/ 381835 h 1333436"/>
                <a:gd name="connsiteX42" fmla="*/ 595036 w 752994"/>
                <a:gd name="connsiteY42" fmla="*/ 382457 h 1333436"/>
                <a:gd name="connsiteX43" fmla="*/ 599331 w 752994"/>
                <a:gd name="connsiteY43" fmla="*/ 385306 h 1333436"/>
                <a:gd name="connsiteX44" fmla="*/ 601987 w 752994"/>
                <a:gd name="connsiteY44" fmla="*/ 391004 h 1333436"/>
                <a:gd name="connsiteX45" fmla="*/ 602799 w 752994"/>
                <a:gd name="connsiteY45" fmla="*/ 404076 h 1333436"/>
                <a:gd name="connsiteX46" fmla="*/ 606892 w 752994"/>
                <a:gd name="connsiteY46" fmla="*/ 415688 h 1333436"/>
                <a:gd name="connsiteX47" fmla="*/ 610563 w 752994"/>
                <a:gd name="connsiteY47" fmla="*/ 412217 h 1333436"/>
                <a:gd name="connsiteX48" fmla="*/ 617920 w 752994"/>
                <a:gd name="connsiteY48" fmla="*/ 408769 h 1333436"/>
                <a:gd name="connsiteX49" fmla="*/ 624654 w 752994"/>
                <a:gd name="connsiteY49" fmla="*/ 411211 h 1333436"/>
                <a:gd name="connsiteX50" fmla="*/ 634652 w 752994"/>
                <a:gd name="connsiteY50" fmla="*/ 410182 h 1333436"/>
                <a:gd name="connsiteX51" fmla="*/ 640573 w 752994"/>
                <a:gd name="connsiteY51" fmla="*/ 407739 h 1333436"/>
                <a:gd name="connsiteX52" fmla="*/ 646711 w 752994"/>
                <a:gd name="connsiteY52" fmla="*/ 410589 h 1333436"/>
                <a:gd name="connsiteX53" fmla="*/ 650383 w 752994"/>
                <a:gd name="connsiteY53" fmla="*/ 410589 h 1333436"/>
                <a:gd name="connsiteX54" fmla="*/ 654257 w 752994"/>
                <a:gd name="connsiteY54" fmla="*/ 411618 h 1333436"/>
                <a:gd name="connsiteX55" fmla="*/ 656913 w 752994"/>
                <a:gd name="connsiteY55" fmla="*/ 413653 h 1333436"/>
                <a:gd name="connsiteX56" fmla="*/ 660802 w 752994"/>
                <a:gd name="connsiteY56" fmla="*/ 415090 h 1333436"/>
                <a:gd name="connsiteX57" fmla="*/ 669581 w 752994"/>
                <a:gd name="connsiteY57" fmla="*/ 415904 h 1333436"/>
                <a:gd name="connsiteX58" fmla="*/ 672237 w 752994"/>
                <a:gd name="connsiteY58" fmla="*/ 415688 h 1333436"/>
                <a:gd name="connsiteX59" fmla="*/ 675705 w 752994"/>
                <a:gd name="connsiteY59" fmla="*/ 409367 h 1333436"/>
                <a:gd name="connsiteX60" fmla="*/ 679986 w 752994"/>
                <a:gd name="connsiteY60" fmla="*/ 403238 h 1333436"/>
                <a:gd name="connsiteX61" fmla="*/ 693264 w 752994"/>
                <a:gd name="connsiteY61" fmla="*/ 419567 h 1333436"/>
                <a:gd name="connsiteX62" fmla="*/ 688563 w 752994"/>
                <a:gd name="connsiteY62" fmla="*/ 448321 h 1333436"/>
                <a:gd name="connsiteX63" fmla="*/ 663949 w 752994"/>
                <a:gd name="connsiteY63" fmla="*/ 590165 h 1333436"/>
                <a:gd name="connsiteX64" fmla="*/ 666304 w 752994"/>
                <a:gd name="connsiteY64" fmla="*/ 590504 h 1333436"/>
                <a:gd name="connsiteX65" fmla="*/ 655288 w 752994"/>
                <a:gd name="connsiteY65" fmla="*/ 656178 h 1333436"/>
                <a:gd name="connsiteX66" fmla="*/ 681808 w 752994"/>
                <a:gd name="connsiteY66" fmla="*/ 662301 h 1333436"/>
                <a:gd name="connsiteX67" fmla="*/ 752994 w 752994"/>
                <a:gd name="connsiteY67" fmla="*/ 675560 h 1333436"/>
                <a:gd name="connsiteX68" fmla="*/ 714651 w 752994"/>
                <a:gd name="connsiteY68" fmla="*/ 946985 h 1333436"/>
                <a:gd name="connsiteX69" fmla="*/ 654533 w 752994"/>
                <a:gd name="connsiteY69" fmla="*/ 1333436 h 1333436"/>
                <a:gd name="connsiteX70" fmla="*/ 546831 w 752994"/>
                <a:gd name="connsiteY70" fmla="*/ 1317126 h 1333436"/>
                <a:gd name="connsiteX71" fmla="*/ 351227 w 752994"/>
                <a:gd name="connsiteY71" fmla="*/ 1194172 h 1333436"/>
                <a:gd name="connsiteX72" fmla="*/ 361011 w 752994"/>
                <a:gd name="connsiteY72" fmla="*/ 1182755 h 1333436"/>
                <a:gd name="connsiteX73" fmla="*/ 368981 w 752994"/>
                <a:gd name="connsiteY73" fmla="*/ 1182130 h 1333436"/>
                <a:gd name="connsiteX74" fmla="*/ 369571 w 752994"/>
                <a:gd name="connsiteY74" fmla="*/ 1181558 h 1333436"/>
                <a:gd name="connsiteX75" fmla="*/ 362372 w 752994"/>
                <a:gd name="connsiteY75" fmla="*/ 1182120 h 1333436"/>
                <a:gd name="connsiteX76" fmla="*/ 229464 w 752994"/>
                <a:gd name="connsiteY76" fmla="*/ 1161721 h 1333436"/>
                <a:gd name="connsiteX77" fmla="*/ 227427 w 752994"/>
                <a:gd name="connsiteY77" fmla="*/ 1157269 h 1333436"/>
                <a:gd name="connsiteX78" fmla="*/ 224967 w 752994"/>
                <a:gd name="connsiteY78" fmla="*/ 1152575 h 1333436"/>
                <a:gd name="connsiteX79" fmla="*/ 225582 w 752994"/>
                <a:gd name="connsiteY79" fmla="*/ 1144808 h 1333436"/>
                <a:gd name="connsiteX80" fmla="*/ 227215 w 752994"/>
                <a:gd name="connsiteY80" fmla="*/ 1135834 h 1333436"/>
                <a:gd name="connsiteX81" fmla="*/ 227215 w 752994"/>
                <a:gd name="connsiteY81" fmla="*/ 1134212 h 1333436"/>
                <a:gd name="connsiteX82" fmla="*/ 225179 w 752994"/>
                <a:gd name="connsiteY82" fmla="*/ 1114020 h 1333436"/>
                <a:gd name="connsiteX83" fmla="*/ 217839 w 752994"/>
                <a:gd name="connsiteY83" fmla="*/ 1100352 h 1333436"/>
                <a:gd name="connsiteX84" fmla="*/ 199661 w 752994"/>
                <a:gd name="connsiteY84" fmla="*/ 1076502 h 1333436"/>
                <a:gd name="connsiteX85" fmla="*/ 196395 w 752994"/>
                <a:gd name="connsiteY85" fmla="*/ 1071807 h 1333436"/>
                <a:gd name="connsiteX86" fmla="*/ 190880 w 752994"/>
                <a:gd name="connsiteY86" fmla="*/ 1067527 h 1333436"/>
                <a:gd name="connsiteX87" fmla="*/ 187210 w 752994"/>
                <a:gd name="connsiteY87" fmla="*/ 1068735 h 1333436"/>
                <a:gd name="connsiteX88" fmla="*/ 180062 w 752994"/>
                <a:gd name="connsiteY88" fmla="*/ 1066699 h 1333436"/>
                <a:gd name="connsiteX89" fmla="*/ 180466 w 752994"/>
                <a:gd name="connsiteY89" fmla="*/ 1053031 h 1333436"/>
                <a:gd name="connsiteX90" fmla="*/ 180062 w 752994"/>
                <a:gd name="connsiteY90" fmla="*/ 1045299 h 1333436"/>
                <a:gd name="connsiteX91" fmla="*/ 174144 w 752994"/>
                <a:gd name="connsiteY91" fmla="*/ 1044057 h 1333436"/>
                <a:gd name="connsiteX92" fmla="*/ 158426 w 752994"/>
                <a:gd name="connsiteY92" fmla="*/ 1042641 h 1333436"/>
                <a:gd name="connsiteX93" fmla="*/ 149857 w 752994"/>
                <a:gd name="connsiteY93" fmla="*/ 1035497 h 1333436"/>
                <a:gd name="connsiteX94" fmla="*/ 142497 w 752994"/>
                <a:gd name="connsiteY94" fmla="*/ 1028766 h 1333436"/>
                <a:gd name="connsiteX95" fmla="*/ 140864 w 752994"/>
                <a:gd name="connsiteY95" fmla="*/ 1020620 h 1333436"/>
                <a:gd name="connsiteX96" fmla="*/ 138212 w 752994"/>
                <a:gd name="connsiteY96" fmla="*/ 1013061 h 1333436"/>
                <a:gd name="connsiteX97" fmla="*/ 131064 w 752994"/>
                <a:gd name="connsiteY97" fmla="*/ 1007159 h 1333436"/>
                <a:gd name="connsiteX98" fmla="*/ 121264 w 752994"/>
                <a:gd name="connsiteY98" fmla="*/ 1005330 h 1333436"/>
                <a:gd name="connsiteX99" fmla="*/ 112483 w 752994"/>
                <a:gd name="connsiteY99" fmla="*/ 1001671 h 1333436"/>
                <a:gd name="connsiteX100" fmla="*/ 105950 w 752994"/>
                <a:gd name="connsiteY100" fmla="*/ 995734 h 1333436"/>
                <a:gd name="connsiteX101" fmla="*/ 97380 w 752994"/>
                <a:gd name="connsiteY101" fmla="*/ 994526 h 1333436"/>
                <a:gd name="connsiteX102" fmla="*/ 87984 w 752994"/>
                <a:gd name="connsiteY102" fmla="*/ 991040 h 1333436"/>
                <a:gd name="connsiteX103" fmla="*/ 80029 w 752994"/>
                <a:gd name="connsiteY103" fmla="*/ 985138 h 1333436"/>
                <a:gd name="connsiteX104" fmla="*/ 77166 w 752994"/>
                <a:gd name="connsiteY104" fmla="*/ 976164 h 1333436"/>
                <a:gd name="connsiteX105" fmla="*/ 79203 w 752994"/>
                <a:gd name="connsiteY105" fmla="*/ 970676 h 1333436"/>
                <a:gd name="connsiteX106" fmla="*/ 82470 w 752994"/>
                <a:gd name="connsiteY106" fmla="*/ 963117 h 1333436"/>
                <a:gd name="connsiteX107" fmla="*/ 84314 w 752994"/>
                <a:gd name="connsiteY107" fmla="*/ 954557 h 1333436"/>
                <a:gd name="connsiteX108" fmla="*/ 86351 w 752994"/>
                <a:gd name="connsiteY108" fmla="*/ 948033 h 1333436"/>
                <a:gd name="connsiteX109" fmla="*/ 86159 w 752994"/>
                <a:gd name="connsiteY109" fmla="*/ 942925 h 1333436"/>
                <a:gd name="connsiteX110" fmla="*/ 83085 w 752994"/>
                <a:gd name="connsiteY110" fmla="*/ 939853 h 1333436"/>
                <a:gd name="connsiteX111" fmla="*/ 77570 w 752994"/>
                <a:gd name="connsiteY111" fmla="*/ 937437 h 1333436"/>
                <a:gd name="connsiteX112" fmla="*/ 76763 w 752994"/>
                <a:gd name="connsiteY112" fmla="*/ 931915 h 1333436"/>
                <a:gd name="connsiteX113" fmla="*/ 78800 w 752994"/>
                <a:gd name="connsiteY113" fmla="*/ 927013 h 1333436"/>
                <a:gd name="connsiteX114" fmla="*/ 79626 w 752994"/>
                <a:gd name="connsiteY114" fmla="*/ 922526 h 1333436"/>
                <a:gd name="connsiteX115" fmla="*/ 77781 w 752994"/>
                <a:gd name="connsiteY115" fmla="*/ 919903 h 1333436"/>
                <a:gd name="connsiteX116" fmla="*/ 74303 w 752994"/>
                <a:gd name="connsiteY116" fmla="*/ 917418 h 1333436"/>
                <a:gd name="connsiteX117" fmla="*/ 71863 w 752994"/>
                <a:gd name="connsiteY117" fmla="*/ 915174 h 1333436"/>
                <a:gd name="connsiteX118" fmla="*/ 71652 w 752994"/>
                <a:gd name="connsiteY118" fmla="*/ 910894 h 1333436"/>
                <a:gd name="connsiteX119" fmla="*/ 70633 w 752994"/>
                <a:gd name="connsiteY119" fmla="*/ 906614 h 1333436"/>
                <a:gd name="connsiteX120" fmla="*/ 68385 w 752994"/>
                <a:gd name="connsiteY120" fmla="*/ 902749 h 1333436"/>
                <a:gd name="connsiteX121" fmla="*/ 61045 w 752994"/>
                <a:gd name="connsiteY121" fmla="*/ 889494 h 1333436"/>
                <a:gd name="connsiteX122" fmla="*/ 57971 w 752994"/>
                <a:gd name="connsiteY122" fmla="*/ 875619 h 1333436"/>
                <a:gd name="connsiteX123" fmla="*/ 52264 w 752994"/>
                <a:gd name="connsiteY123" fmla="*/ 862572 h 1333436"/>
                <a:gd name="connsiteX124" fmla="*/ 44309 w 752994"/>
                <a:gd name="connsiteY124" fmla="*/ 850561 h 1333436"/>
                <a:gd name="connsiteX125" fmla="*/ 45520 w 752994"/>
                <a:gd name="connsiteY125" fmla="*/ 827090 h 1333436"/>
                <a:gd name="connsiteX126" fmla="*/ 53071 w 752994"/>
                <a:gd name="connsiteY126" fmla="*/ 822396 h 1333436"/>
                <a:gd name="connsiteX127" fmla="*/ 57375 w 752994"/>
                <a:gd name="connsiteY127" fmla="*/ 816493 h 1333436"/>
                <a:gd name="connsiteX128" fmla="*/ 55319 w 752994"/>
                <a:gd name="connsiteY128" fmla="*/ 801617 h 1333436"/>
                <a:gd name="connsiteX129" fmla="*/ 48383 w 752994"/>
                <a:gd name="connsiteY129" fmla="*/ 802204 h 1333436"/>
                <a:gd name="connsiteX130" fmla="*/ 40428 w 752994"/>
                <a:gd name="connsiteY130" fmla="*/ 797924 h 1333436"/>
                <a:gd name="connsiteX131" fmla="*/ 37565 w 752994"/>
                <a:gd name="connsiteY131" fmla="*/ 790606 h 1333436"/>
                <a:gd name="connsiteX132" fmla="*/ 37565 w 752994"/>
                <a:gd name="connsiteY132" fmla="*/ 790399 h 1333436"/>
                <a:gd name="connsiteX133" fmla="*/ 35931 w 752994"/>
                <a:gd name="connsiteY133" fmla="*/ 785912 h 1333436"/>
                <a:gd name="connsiteX134" fmla="*/ 34510 w 752994"/>
                <a:gd name="connsiteY134" fmla="*/ 780597 h 1333436"/>
                <a:gd name="connsiteX135" fmla="*/ 36335 w 752994"/>
                <a:gd name="connsiteY135" fmla="*/ 774280 h 1333436"/>
                <a:gd name="connsiteX136" fmla="*/ 38180 w 752994"/>
                <a:gd name="connsiteY136" fmla="*/ 766721 h 1333436"/>
                <a:gd name="connsiteX137" fmla="*/ 37161 w 752994"/>
                <a:gd name="connsiteY137" fmla="*/ 760405 h 1333436"/>
                <a:gd name="connsiteX138" fmla="*/ 35720 w 752994"/>
                <a:gd name="connsiteY138" fmla="*/ 754710 h 1333436"/>
                <a:gd name="connsiteX139" fmla="*/ 36546 w 752994"/>
                <a:gd name="connsiteY139" fmla="*/ 748773 h 1333436"/>
                <a:gd name="connsiteX140" fmla="*/ 38372 w 752994"/>
                <a:gd name="connsiteY140" fmla="*/ 744528 h 1333436"/>
                <a:gd name="connsiteX141" fmla="*/ 41638 w 752994"/>
                <a:gd name="connsiteY141" fmla="*/ 744321 h 1333436"/>
                <a:gd name="connsiteX142" fmla="*/ 44713 w 752994"/>
                <a:gd name="connsiteY142" fmla="*/ 746357 h 1333436"/>
                <a:gd name="connsiteX143" fmla="*/ 47364 w 752994"/>
                <a:gd name="connsiteY143" fmla="*/ 753260 h 1333436"/>
                <a:gd name="connsiteX144" fmla="*/ 55742 w 752994"/>
                <a:gd name="connsiteY144" fmla="*/ 764305 h 1333436"/>
                <a:gd name="connsiteX145" fmla="*/ 56338 w 752994"/>
                <a:gd name="connsiteY145" fmla="*/ 761233 h 1333436"/>
                <a:gd name="connsiteX146" fmla="*/ 56145 w 752994"/>
                <a:gd name="connsiteY146" fmla="*/ 757368 h 1333436"/>
                <a:gd name="connsiteX147" fmla="*/ 54916 w 752994"/>
                <a:gd name="connsiteY147" fmla="*/ 748601 h 1333436"/>
                <a:gd name="connsiteX148" fmla="*/ 52879 w 752994"/>
                <a:gd name="connsiteY148" fmla="*/ 747358 h 1333436"/>
                <a:gd name="connsiteX149" fmla="*/ 51649 w 752994"/>
                <a:gd name="connsiteY149" fmla="*/ 745322 h 1333436"/>
                <a:gd name="connsiteX150" fmla="*/ 51649 w 752994"/>
                <a:gd name="connsiteY150" fmla="*/ 739212 h 1333436"/>
                <a:gd name="connsiteX151" fmla="*/ 50227 w 752994"/>
                <a:gd name="connsiteY151" fmla="*/ 734725 h 1333436"/>
                <a:gd name="connsiteX152" fmla="*/ 48786 w 752994"/>
                <a:gd name="connsiteY152" fmla="*/ 731446 h 1333436"/>
                <a:gd name="connsiteX153" fmla="*/ 54512 w 752994"/>
                <a:gd name="connsiteY153" fmla="*/ 726372 h 1333436"/>
                <a:gd name="connsiteX154" fmla="*/ 59815 w 752994"/>
                <a:gd name="connsiteY154" fmla="*/ 725130 h 1333436"/>
                <a:gd name="connsiteX155" fmla="*/ 58182 w 752994"/>
                <a:gd name="connsiteY155" fmla="*/ 722886 h 1333436"/>
                <a:gd name="connsiteX156" fmla="*/ 51861 w 752994"/>
                <a:gd name="connsiteY156" fmla="*/ 717985 h 1333436"/>
                <a:gd name="connsiteX157" fmla="*/ 46749 w 752994"/>
                <a:gd name="connsiteY157" fmla="*/ 729617 h 1333436"/>
                <a:gd name="connsiteX158" fmla="*/ 40831 w 752994"/>
                <a:gd name="connsiteY158" fmla="*/ 739212 h 1333436"/>
                <a:gd name="connsiteX159" fmla="*/ 39601 w 752994"/>
                <a:gd name="connsiteY159" fmla="*/ 738798 h 1333436"/>
                <a:gd name="connsiteX160" fmla="*/ 39409 w 752994"/>
                <a:gd name="connsiteY160" fmla="*/ 738591 h 1333436"/>
                <a:gd name="connsiteX161" fmla="*/ 37161 w 752994"/>
                <a:gd name="connsiteY161" fmla="*/ 734725 h 1333436"/>
                <a:gd name="connsiteX162" fmla="*/ 32665 w 752994"/>
                <a:gd name="connsiteY162" fmla="*/ 727788 h 1333436"/>
                <a:gd name="connsiteX163" fmla="*/ 26747 w 752994"/>
                <a:gd name="connsiteY163" fmla="*/ 719435 h 1333436"/>
                <a:gd name="connsiteX164" fmla="*/ 23884 w 752994"/>
                <a:gd name="connsiteY164" fmla="*/ 717812 h 1333436"/>
                <a:gd name="connsiteX165" fmla="*/ 24710 w 752994"/>
                <a:gd name="connsiteY165" fmla="*/ 709632 h 1333436"/>
                <a:gd name="connsiteX166" fmla="*/ 27554 w 752994"/>
                <a:gd name="connsiteY166" fmla="*/ 701694 h 1333436"/>
                <a:gd name="connsiteX167" fmla="*/ 24902 w 752994"/>
                <a:gd name="connsiteY167" fmla="*/ 696171 h 1333436"/>
                <a:gd name="connsiteX168" fmla="*/ 24095 w 752994"/>
                <a:gd name="connsiteY168" fmla="*/ 687818 h 1333436"/>
                <a:gd name="connsiteX169" fmla="*/ 22462 w 752994"/>
                <a:gd name="connsiteY169" fmla="*/ 682330 h 1333436"/>
                <a:gd name="connsiteX170" fmla="*/ 17159 w 752994"/>
                <a:gd name="connsiteY170" fmla="*/ 677636 h 1333436"/>
                <a:gd name="connsiteX171" fmla="*/ 14296 w 752994"/>
                <a:gd name="connsiteY171" fmla="*/ 671492 h 1333436"/>
                <a:gd name="connsiteX172" fmla="*/ 12451 w 752994"/>
                <a:gd name="connsiteY172" fmla="*/ 665797 h 1333436"/>
                <a:gd name="connsiteX173" fmla="*/ 5111 w 752994"/>
                <a:gd name="connsiteY173" fmla="*/ 654994 h 1333436"/>
                <a:gd name="connsiteX174" fmla="*/ 2248 w 752994"/>
                <a:gd name="connsiteY174" fmla="*/ 645605 h 1333436"/>
                <a:gd name="connsiteX175" fmla="*/ 4496 w 752994"/>
                <a:gd name="connsiteY175" fmla="*/ 640497 h 1333436"/>
                <a:gd name="connsiteX176" fmla="*/ 6744 w 752994"/>
                <a:gd name="connsiteY176" fmla="*/ 632765 h 1333436"/>
                <a:gd name="connsiteX177" fmla="*/ 6744 w 752994"/>
                <a:gd name="connsiteY177" fmla="*/ 628485 h 1333436"/>
                <a:gd name="connsiteX178" fmla="*/ 6533 w 752994"/>
                <a:gd name="connsiteY178" fmla="*/ 620305 h 1333436"/>
                <a:gd name="connsiteX179" fmla="*/ 7359 w 752994"/>
                <a:gd name="connsiteY179" fmla="*/ 611745 h 1333436"/>
                <a:gd name="connsiteX180" fmla="*/ 11836 w 752994"/>
                <a:gd name="connsiteY180" fmla="*/ 602978 h 1333436"/>
                <a:gd name="connsiteX181" fmla="*/ 15103 w 752994"/>
                <a:gd name="connsiteY181" fmla="*/ 591760 h 1333436"/>
                <a:gd name="connsiteX182" fmla="*/ 14488 w 752994"/>
                <a:gd name="connsiteY182" fmla="*/ 584029 h 1333436"/>
                <a:gd name="connsiteX183" fmla="*/ 13873 w 752994"/>
                <a:gd name="connsiteY183" fmla="*/ 578299 h 1333436"/>
                <a:gd name="connsiteX184" fmla="*/ 10626 w 752994"/>
                <a:gd name="connsiteY184" fmla="*/ 568531 h 1333436"/>
                <a:gd name="connsiteX185" fmla="*/ 3670 w 752994"/>
                <a:gd name="connsiteY185" fmla="*/ 558107 h 1333436"/>
                <a:gd name="connsiteX186" fmla="*/ 0 w 752994"/>
                <a:gd name="connsiteY186" fmla="*/ 551377 h 1333436"/>
                <a:gd name="connsiteX187" fmla="*/ 0 w 752994"/>
                <a:gd name="connsiteY187" fmla="*/ 550997 h 1333436"/>
                <a:gd name="connsiteX188" fmla="*/ 4900 w 752994"/>
                <a:gd name="connsiteY188" fmla="*/ 531220 h 1333436"/>
                <a:gd name="connsiteX189" fmla="*/ 13873 w 752994"/>
                <a:gd name="connsiteY189" fmla="*/ 520589 h 1333436"/>
                <a:gd name="connsiteX190" fmla="*/ 18369 w 752994"/>
                <a:gd name="connsiteY190" fmla="*/ 516516 h 1333436"/>
                <a:gd name="connsiteX191" fmla="*/ 18773 w 752994"/>
                <a:gd name="connsiteY191" fmla="*/ 514272 h 1333436"/>
                <a:gd name="connsiteX192" fmla="*/ 23077 w 752994"/>
                <a:gd name="connsiteY192" fmla="*/ 506127 h 1333436"/>
                <a:gd name="connsiteX193" fmla="*/ 23884 w 752994"/>
                <a:gd name="connsiteY193" fmla="*/ 502261 h 1333436"/>
                <a:gd name="connsiteX194" fmla="*/ 23692 w 752994"/>
                <a:gd name="connsiteY194" fmla="*/ 496738 h 1333436"/>
                <a:gd name="connsiteX195" fmla="*/ 30013 w 752994"/>
                <a:gd name="connsiteY195" fmla="*/ 486556 h 1333436"/>
                <a:gd name="connsiteX196" fmla="*/ 36546 w 752994"/>
                <a:gd name="connsiteY196" fmla="*/ 470230 h 1333436"/>
                <a:gd name="connsiteX197" fmla="*/ 36546 w 752994"/>
                <a:gd name="connsiteY197" fmla="*/ 462671 h 1333436"/>
                <a:gd name="connsiteX198" fmla="*/ 36335 w 752994"/>
                <a:gd name="connsiteY198" fmla="*/ 461670 h 1333436"/>
                <a:gd name="connsiteX199" fmla="*/ 35931 w 752994"/>
                <a:gd name="connsiteY199" fmla="*/ 453110 h 1333436"/>
                <a:gd name="connsiteX200" fmla="*/ 38583 w 752994"/>
                <a:gd name="connsiteY200" fmla="*/ 442514 h 1333436"/>
                <a:gd name="connsiteX201" fmla="*/ 41043 w 752994"/>
                <a:gd name="connsiteY201" fmla="*/ 436991 h 1333436"/>
                <a:gd name="connsiteX202" fmla="*/ 41650 w 752994"/>
                <a:gd name="connsiteY202" fmla="*/ 437186 h 1333436"/>
                <a:gd name="connsiteX203" fmla="*/ 41239 w 752994"/>
                <a:gd name="connsiteY203" fmla="*/ 436549 h 1333436"/>
                <a:gd name="connsiteX204" fmla="*/ 37778 w 752994"/>
                <a:gd name="connsiteY204" fmla="*/ 433894 h 1333436"/>
                <a:gd name="connsiteX205" fmla="*/ 37169 w 752994"/>
                <a:gd name="connsiteY205" fmla="*/ 432261 h 1333436"/>
                <a:gd name="connsiteX206" fmla="*/ 37365 w 752994"/>
                <a:gd name="connsiteY206" fmla="*/ 429198 h 1333436"/>
                <a:gd name="connsiteX207" fmla="*/ 36756 w 752994"/>
                <a:gd name="connsiteY207" fmla="*/ 422272 h 1333436"/>
                <a:gd name="connsiteX208" fmla="*/ 36952 w 752994"/>
                <a:gd name="connsiteY208" fmla="*/ 418800 h 1333436"/>
                <a:gd name="connsiteX209" fmla="*/ 36756 w 752994"/>
                <a:gd name="connsiteY209" fmla="*/ 412487 h 1333436"/>
                <a:gd name="connsiteX210" fmla="*/ 40433 w 752994"/>
                <a:gd name="connsiteY210" fmla="*/ 406174 h 1333436"/>
                <a:gd name="connsiteX211" fmla="*/ 44720 w 752994"/>
                <a:gd name="connsiteY211" fmla="*/ 399435 h 1333436"/>
                <a:gd name="connsiteX212" fmla="*/ 44110 w 752994"/>
                <a:gd name="connsiteY212" fmla="*/ 389651 h 1333436"/>
                <a:gd name="connsiteX213" fmla="*/ 43894 w 752994"/>
                <a:gd name="connsiteY213" fmla="*/ 378437 h 1333436"/>
                <a:gd name="connsiteX214" fmla="*/ 47158 w 752994"/>
                <a:gd name="connsiteY214" fmla="*/ 371102 h 1333436"/>
                <a:gd name="connsiteX215" fmla="*/ 55731 w 752994"/>
                <a:gd name="connsiteY215" fmla="*/ 360909 h 1333436"/>
                <a:gd name="connsiteX216" fmla="*/ 57580 w 752994"/>
                <a:gd name="connsiteY216" fmla="*/ 355804 h 1333436"/>
                <a:gd name="connsiteX217" fmla="*/ 62673 w 752994"/>
                <a:gd name="connsiteY217" fmla="*/ 349695 h 1333436"/>
                <a:gd name="connsiteX218" fmla="*/ 65937 w 752994"/>
                <a:gd name="connsiteY218" fmla="*/ 348470 h 1333436"/>
                <a:gd name="connsiteX219" fmla="*/ 68395 w 752994"/>
                <a:gd name="connsiteY219" fmla="*/ 348674 h 1333436"/>
                <a:gd name="connsiteX220" fmla="*/ 70224 w 752994"/>
                <a:gd name="connsiteY220" fmla="*/ 347449 h 1333436"/>
                <a:gd name="connsiteX221" fmla="*/ 67785 w 752994"/>
                <a:gd name="connsiteY221" fmla="*/ 345203 h 1333436"/>
                <a:gd name="connsiteX222" fmla="*/ 65524 w 752994"/>
                <a:gd name="connsiteY222" fmla="*/ 343178 h 1333436"/>
                <a:gd name="connsiteX223" fmla="*/ 73095 w 752994"/>
                <a:gd name="connsiteY223" fmla="*/ 333376 h 1333436"/>
                <a:gd name="connsiteX224" fmla="*/ 73291 w 752994"/>
                <a:gd name="connsiteY224" fmla="*/ 333376 h 1333436"/>
                <a:gd name="connsiteX225" fmla="*/ 77991 w 752994"/>
                <a:gd name="connsiteY225" fmla="*/ 325838 h 1333436"/>
                <a:gd name="connsiteX226" fmla="*/ 82671 w 752994"/>
                <a:gd name="connsiteY226" fmla="*/ 313619 h 1333436"/>
                <a:gd name="connsiteX227" fmla="*/ 87980 w 752994"/>
                <a:gd name="connsiteY227" fmla="*/ 303018 h 1333436"/>
                <a:gd name="connsiteX228" fmla="*/ 92267 w 752994"/>
                <a:gd name="connsiteY228" fmla="*/ 291191 h 1333436"/>
                <a:gd name="connsiteX229" fmla="*/ 96553 w 752994"/>
                <a:gd name="connsiteY229" fmla="*/ 281202 h 1333436"/>
                <a:gd name="connsiteX230" fmla="*/ 99621 w 752994"/>
                <a:gd name="connsiteY230" fmla="*/ 274481 h 1333436"/>
                <a:gd name="connsiteX231" fmla="*/ 103082 w 752994"/>
                <a:gd name="connsiteY231" fmla="*/ 262450 h 1333436"/>
                <a:gd name="connsiteX232" fmla="*/ 107172 w 752994"/>
                <a:gd name="connsiteY232" fmla="*/ 254299 h 1333436"/>
                <a:gd name="connsiteX233" fmla="*/ 112481 w 752994"/>
                <a:gd name="connsiteY233" fmla="*/ 243697 h 1333436"/>
                <a:gd name="connsiteX234" fmla="*/ 117181 w 752994"/>
                <a:gd name="connsiteY234" fmla="*/ 232279 h 1333436"/>
                <a:gd name="connsiteX235" fmla="*/ 125951 w 752994"/>
                <a:gd name="connsiteY235" fmla="*/ 217389 h 1333436"/>
                <a:gd name="connsiteX236" fmla="*/ 136156 w 752994"/>
                <a:gd name="connsiteY236" fmla="*/ 202925 h 1333436"/>
                <a:gd name="connsiteX237" fmla="*/ 138811 w 752994"/>
                <a:gd name="connsiteY237" fmla="*/ 183339 h 1333436"/>
                <a:gd name="connsiteX238" fmla="*/ 148801 w 752994"/>
                <a:gd name="connsiteY238" fmla="*/ 167445 h 1333436"/>
                <a:gd name="connsiteX239" fmla="*/ 159616 w 752994"/>
                <a:gd name="connsiteY239" fmla="*/ 170712 h 1333436"/>
                <a:gd name="connsiteX240" fmla="*/ 173105 w 752994"/>
                <a:gd name="connsiteY240" fmla="*/ 175188 h 1333436"/>
                <a:gd name="connsiteX241" fmla="*/ 158851 w 752994"/>
                <a:gd name="connsiteY241" fmla="*/ 156924 h 1333436"/>
                <a:gd name="connsiteX242" fmla="*/ 147025 w 752994"/>
                <a:gd name="connsiteY242" fmla="*/ 145709 h 1333436"/>
                <a:gd name="connsiteX243" fmla="*/ 154364 w 752994"/>
                <a:gd name="connsiteY243" fmla="*/ 136335 h 1333436"/>
                <a:gd name="connsiteX244" fmla="*/ 161511 w 752994"/>
                <a:gd name="connsiteY244" fmla="*/ 131042 h 1333436"/>
                <a:gd name="connsiteX245" fmla="*/ 160902 w 752994"/>
                <a:gd name="connsiteY245" fmla="*/ 128384 h 1333436"/>
                <a:gd name="connsiteX246" fmla="*/ 160277 w 752994"/>
                <a:gd name="connsiteY246" fmla="*/ 127778 h 1333436"/>
                <a:gd name="connsiteX247" fmla="*/ 154973 w 752994"/>
                <a:gd name="connsiteY247" fmla="*/ 122077 h 1333436"/>
                <a:gd name="connsiteX248" fmla="*/ 160277 w 752994"/>
                <a:gd name="connsiteY248" fmla="*/ 115140 h 1333436"/>
                <a:gd name="connsiteX249" fmla="*/ 165181 w 752994"/>
                <a:gd name="connsiteY249" fmla="*/ 108215 h 1333436"/>
                <a:gd name="connsiteX250" fmla="*/ 161303 w 752994"/>
                <a:gd name="connsiteY250" fmla="*/ 104146 h 1333436"/>
                <a:gd name="connsiteX251" fmla="*/ 157842 w 752994"/>
                <a:gd name="connsiteY251" fmla="*/ 104542 h 1333436"/>
                <a:gd name="connsiteX252" fmla="*/ 157024 w 752994"/>
                <a:gd name="connsiteY252" fmla="*/ 102304 h 1333436"/>
                <a:gd name="connsiteX253" fmla="*/ 160694 w 752994"/>
                <a:gd name="connsiteY253" fmla="*/ 55437 h 1333436"/>
                <a:gd name="connsiteX254" fmla="*/ 160486 w 752994"/>
                <a:gd name="connsiteY254" fmla="*/ 31991 h 1333436"/>
                <a:gd name="connsiteX255" fmla="*/ 164972 w 752994"/>
                <a:gd name="connsiteY255" fmla="*/ 18141 h 1333436"/>
                <a:gd name="connsiteX256" fmla="*/ 171911 w 752994"/>
                <a:gd name="connsiteY256" fmla="*/ 11204 h 1333436"/>
                <a:gd name="connsiteX257" fmla="*/ 187406 w 752994"/>
                <a:gd name="connsiteY257" fmla="*/ 21801 h 1333436"/>
                <a:gd name="connsiteX258" fmla="*/ 210866 w 752994"/>
                <a:gd name="connsiteY258" fmla="*/ 37086 h 1333436"/>
                <a:gd name="connsiteX259" fmla="*/ 219230 w 752994"/>
                <a:gd name="connsiteY259" fmla="*/ 41166 h 1333436"/>
                <a:gd name="connsiteX260" fmla="*/ 226778 w 752994"/>
                <a:gd name="connsiteY260" fmla="*/ 47486 h 1333436"/>
                <a:gd name="connsiteX261" fmla="*/ 236152 w 752994"/>
                <a:gd name="connsiteY261" fmla="*/ 52370 h 1333436"/>
                <a:gd name="connsiteX262" fmla="*/ 239629 w 752994"/>
                <a:gd name="connsiteY262" fmla="*/ 58491 h 1333436"/>
                <a:gd name="connsiteX263" fmla="*/ 239629 w 752994"/>
                <a:gd name="connsiteY263" fmla="*/ 63376 h 1333436"/>
                <a:gd name="connsiteX264" fmla="*/ 236568 w 752994"/>
                <a:gd name="connsiteY264" fmla="*/ 67457 h 1333436"/>
                <a:gd name="connsiteX265" fmla="*/ 231264 w 752994"/>
                <a:gd name="connsiteY265" fmla="*/ 69905 h 1333436"/>
                <a:gd name="connsiteX266" fmla="*/ 216778 w 752994"/>
                <a:gd name="connsiteY266" fmla="*/ 82741 h 1333436"/>
                <a:gd name="connsiteX267" fmla="*/ 214134 w 752994"/>
                <a:gd name="connsiteY267" fmla="*/ 93536 h 1333436"/>
                <a:gd name="connsiteX268" fmla="*/ 214535 w 752994"/>
                <a:gd name="connsiteY268" fmla="*/ 96801 h 1333436"/>
                <a:gd name="connsiteX269" fmla="*/ 216378 w 752994"/>
                <a:gd name="connsiteY269" fmla="*/ 96801 h 1333436"/>
                <a:gd name="connsiteX270" fmla="*/ 230046 w 752994"/>
                <a:gd name="connsiteY270" fmla="*/ 85387 h 1333436"/>
                <a:gd name="connsiteX271" fmla="*/ 243298 w 752994"/>
                <a:gd name="connsiteY271" fmla="*/ 75198 h 1333436"/>
                <a:gd name="connsiteX272" fmla="*/ 246760 w 752994"/>
                <a:gd name="connsiteY272" fmla="*/ 77646 h 1333436"/>
                <a:gd name="connsiteX273" fmla="*/ 255541 w 752994"/>
                <a:gd name="connsiteY273" fmla="*/ 63376 h 1333436"/>
                <a:gd name="connsiteX274" fmla="*/ 259611 w 752994"/>
                <a:gd name="connsiteY274" fmla="*/ 43405 h 1333436"/>
                <a:gd name="connsiteX275" fmla="*/ 256967 w 752994"/>
                <a:gd name="connsiteY275" fmla="*/ 38520 h 1333436"/>
                <a:gd name="connsiteX276" fmla="*/ 253906 w 752994"/>
                <a:gd name="connsiteY276" fmla="*/ 34242 h 1333436"/>
                <a:gd name="connsiteX277" fmla="*/ 256967 w 752994"/>
                <a:gd name="connsiteY277" fmla="*/ 30161 h 1333436"/>
                <a:gd name="connsiteX278" fmla="*/ 262063 w 752994"/>
                <a:gd name="connsiteY278" fmla="*/ 27712 h 1333436"/>
                <a:gd name="connsiteX279" fmla="*/ 264915 w 752994"/>
                <a:gd name="connsiteY279" fmla="*/ 23026 h 1333436"/>
                <a:gd name="connsiteX280" fmla="*/ 267976 w 752994"/>
                <a:gd name="connsiteY280" fmla="*/ 22618 h 1333436"/>
                <a:gd name="connsiteX281" fmla="*/ 270427 w 752994"/>
                <a:gd name="connsiteY281" fmla="*/ 20787 h 1333436"/>
                <a:gd name="connsiteX282" fmla="*/ 263088 w 752994"/>
                <a:gd name="connsiteY282" fmla="*/ 13652 h 1333436"/>
                <a:gd name="connsiteX283" fmla="*/ 255541 w 752994"/>
                <a:gd name="connsiteY283" fmla="*/ 3055 h 1333436"/>
                <a:gd name="connsiteX284" fmla="*/ 256358 w 752994"/>
                <a:gd name="connsiteY284" fmla="*/ 1224 h 1333436"/>
                <a:gd name="connsiteX285" fmla="*/ 257159 w 752994"/>
                <a:gd name="connsiteY285" fmla="*/ 0 h 1333436"/>
                <a:gd name="connsiteX0" fmla="*/ 257159 w 752994"/>
                <a:gd name="connsiteY0" fmla="*/ 0 h 1333436"/>
                <a:gd name="connsiteX1" fmla="*/ 493147 w 752994"/>
                <a:gd name="connsiteY1" fmla="*/ 73157 h 1333436"/>
                <a:gd name="connsiteX2" fmla="*/ 492970 w 752994"/>
                <a:gd name="connsiteY2" fmla="*/ 73792 h 1333436"/>
                <a:gd name="connsiteX3" fmla="*/ 525816 w 752994"/>
                <a:gd name="connsiteY3" fmla="*/ 82491 h 1333436"/>
                <a:gd name="connsiteX4" fmla="*/ 520098 w 752994"/>
                <a:gd name="connsiteY4" fmla="*/ 111245 h 1333436"/>
                <a:gd name="connsiteX5" fmla="*/ 512552 w 752994"/>
                <a:gd name="connsiteY5" fmla="*/ 143854 h 1333436"/>
                <a:gd name="connsiteX6" fmla="*/ 517849 w 752994"/>
                <a:gd name="connsiteY6" fmla="*/ 157740 h 1333436"/>
                <a:gd name="connsiteX7" fmla="*/ 523160 w 752994"/>
                <a:gd name="connsiteY7" fmla="*/ 172009 h 1333436"/>
                <a:gd name="connsiteX8" fmla="*/ 521535 w 752994"/>
                <a:gd name="connsiteY8" fmla="*/ 178928 h 1333436"/>
                <a:gd name="connsiteX9" fmla="*/ 520098 w 752994"/>
                <a:gd name="connsiteY9" fmla="*/ 186279 h 1333436"/>
                <a:gd name="connsiteX10" fmla="*/ 526019 w 752994"/>
                <a:gd name="connsiteY10" fmla="*/ 193629 h 1333436"/>
                <a:gd name="connsiteX11" fmla="*/ 537251 w 752994"/>
                <a:gd name="connsiteY11" fmla="*/ 206270 h 1333436"/>
                <a:gd name="connsiteX12" fmla="*/ 542765 w 752994"/>
                <a:gd name="connsiteY12" fmla="*/ 217475 h 1333436"/>
                <a:gd name="connsiteX13" fmla="*/ 546857 w 752994"/>
                <a:gd name="connsiteY13" fmla="*/ 230930 h 1333436"/>
                <a:gd name="connsiteX14" fmla="*/ 549499 w 752994"/>
                <a:gd name="connsiteY14" fmla="*/ 235622 h 1333436"/>
                <a:gd name="connsiteX15" fmla="*/ 553388 w 752994"/>
                <a:gd name="connsiteY15" fmla="*/ 240722 h 1333436"/>
                <a:gd name="connsiteX16" fmla="*/ 557465 w 752994"/>
                <a:gd name="connsiteY16" fmla="*/ 246037 h 1333436"/>
                <a:gd name="connsiteX17" fmla="*/ 561761 w 752994"/>
                <a:gd name="connsiteY17" fmla="*/ 248671 h 1333436"/>
                <a:gd name="connsiteX18" fmla="*/ 567478 w 752994"/>
                <a:gd name="connsiteY18" fmla="*/ 247665 h 1333436"/>
                <a:gd name="connsiteX19" fmla="*/ 569931 w 752994"/>
                <a:gd name="connsiteY19" fmla="*/ 249293 h 1333436"/>
                <a:gd name="connsiteX20" fmla="*/ 570540 w 752994"/>
                <a:gd name="connsiteY20" fmla="*/ 251951 h 1333436"/>
                <a:gd name="connsiteX21" fmla="*/ 561964 w 752994"/>
                <a:gd name="connsiteY21" fmla="*/ 267656 h 1333436"/>
                <a:gd name="connsiteX22" fmla="*/ 553591 w 752994"/>
                <a:gd name="connsiteY22" fmla="*/ 289659 h 1333436"/>
                <a:gd name="connsiteX23" fmla="*/ 554810 w 752994"/>
                <a:gd name="connsiteY23" fmla="*/ 292939 h 1333436"/>
                <a:gd name="connsiteX24" fmla="*/ 556246 w 752994"/>
                <a:gd name="connsiteY24" fmla="*/ 299260 h 1333436"/>
                <a:gd name="connsiteX25" fmla="*/ 552778 w 752994"/>
                <a:gd name="connsiteY25" fmla="*/ 301917 h 1333436"/>
                <a:gd name="connsiteX26" fmla="*/ 549295 w 752994"/>
                <a:gd name="connsiteY26" fmla="*/ 306993 h 1333436"/>
                <a:gd name="connsiteX27" fmla="*/ 547061 w 752994"/>
                <a:gd name="connsiteY27" fmla="*/ 313122 h 1333436"/>
                <a:gd name="connsiteX28" fmla="*/ 544811 w 752994"/>
                <a:gd name="connsiteY28" fmla="*/ 316593 h 1333436"/>
                <a:gd name="connsiteX29" fmla="*/ 549919 w 752994"/>
                <a:gd name="connsiteY29" fmla="*/ 322698 h 1333436"/>
                <a:gd name="connsiteX30" fmla="*/ 553184 w 752994"/>
                <a:gd name="connsiteY30" fmla="*/ 325955 h 1333436"/>
                <a:gd name="connsiteX31" fmla="*/ 555840 w 752994"/>
                <a:gd name="connsiteY31" fmla="*/ 328205 h 1333436"/>
                <a:gd name="connsiteX32" fmla="*/ 574212 w 752994"/>
                <a:gd name="connsiteY32" fmla="*/ 318820 h 1333436"/>
                <a:gd name="connsiteX33" fmla="*/ 579523 w 752994"/>
                <a:gd name="connsiteY33" fmla="*/ 326577 h 1333436"/>
                <a:gd name="connsiteX34" fmla="*/ 580539 w 752994"/>
                <a:gd name="connsiteY34" fmla="*/ 334933 h 1333436"/>
                <a:gd name="connsiteX35" fmla="*/ 579726 w 752994"/>
                <a:gd name="connsiteY35" fmla="*/ 343097 h 1333436"/>
                <a:gd name="connsiteX36" fmla="*/ 581366 w 752994"/>
                <a:gd name="connsiteY36" fmla="*/ 350231 h 1333436"/>
                <a:gd name="connsiteX37" fmla="*/ 586256 w 752994"/>
                <a:gd name="connsiteY37" fmla="*/ 355930 h 1333436"/>
                <a:gd name="connsiteX38" fmla="*/ 589536 w 752994"/>
                <a:gd name="connsiteY38" fmla="*/ 362059 h 1333436"/>
                <a:gd name="connsiteX39" fmla="*/ 588099 w 752994"/>
                <a:gd name="connsiteY39" fmla="*/ 369600 h 1333436"/>
                <a:gd name="connsiteX40" fmla="*/ 586459 w 752994"/>
                <a:gd name="connsiteY40" fmla="*/ 377357 h 1333436"/>
                <a:gd name="connsiteX41" fmla="*/ 588709 w 752994"/>
                <a:gd name="connsiteY41" fmla="*/ 381835 h 1333436"/>
                <a:gd name="connsiteX42" fmla="*/ 595036 w 752994"/>
                <a:gd name="connsiteY42" fmla="*/ 382457 h 1333436"/>
                <a:gd name="connsiteX43" fmla="*/ 599331 w 752994"/>
                <a:gd name="connsiteY43" fmla="*/ 385306 h 1333436"/>
                <a:gd name="connsiteX44" fmla="*/ 601987 w 752994"/>
                <a:gd name="connsiteY44" fmla="*/ 391004 h 1333436"/>
                <a:gd name="connsiteX45" fmla="*/ 602799 w 752994"/>
                <a:gd name="connsiteY45" fmla="*/ 404076 h 1333436"/>
                <a:gd name="connsiteX46" fmla="*/ 606892 w 752994"/>
                <a:gd name="connsiteY46" fmla="*/ 415688 h 1333436"/>
                <a:gd name="connsiteX47" fmla="*/ 610563 w 752994"/>
                <a:gd name="connsiteY47" fmla="*/ 412217 h 1333436"/>
                <a:gd name="connsiteX48" fmla="*/ 617920 w 752994"/>
                <a:gd name="connsiteY48" fmla="*/ 408769 h 1333436"/>
                <a:gd name="connsiteX49" fmla="*/ 624654 w 752994"/>
                <a:gd name="connsiteY49" fmla="*/ 411211 h 1333436"/>
                <a:gd name="connsiteX50" fmla="*/ 634652 w 752994"/>
                <a:gd name="connsiteY50" fmla="*/ 410182 h 1333436"/>
                <a:gd name="connsiteX51" fmla="*/ 640573 w 752994"/>
                <a:gd name="connsiteY51" fmla="*/ 407739 h 1333436"/>
                <a:gd name="connsiteX52" fmla="*/ 646711 w 752994"/>
                <a:gd name="connsiteY52" fmla="*/ 410589 h 1333436"/>
                <a:gd name="connsiteX53" fmla="*/ 650383 w 752994"/>
                <a:gd name="connsiteY53" fmla="*/ 410589 h 1333436"/>
                <a:gd name="connsiteX54" fmla="*/ 654257 w 752994"/>
                <a:gd name="connsiteY54" fmla="*/ 411618 h 1333436"/>
                <a:gd name="connsiteX55" fmla="*/ 656913 w 752994"/>
                <a:gd name="connsiteY55" fmla="*/ 413653 h 1333436"/>
                <a:gd name="connsiteX56" fmla="*/ 660802 w 752994"/>
                <a:gd name="connsiteY56" fmla="*/ 415090 h 1333436"/>
                <a:gd name="connsiteX57" fmla="*/ 669581 w 752994"/>
                <a:gd name="connsiteY57" fmla="*/ 415904 h 1333436"/>
                <a:gd name="connsiteX58" fmla="*/ 672237 w 752994"/>
                <a:gd name="connsiteY58" fmla="*/ 415688 h 1333436"/>
                <a:gd name="connsiteX59" fmla="*/ 675705 w 752994"/>
                <a:gd name="connsiteY59" fmla="*/ 409367 h 1333436"/>
                <a:gd name="connsiteX60" fmla="*/ 679986 w 752994"/>
                <a:gd name="connsiteY60" fmla="*/ 403238 h 1333436"/>
                <a:gd name="connsiteX61" fmla="*/ 693264 w 752994"/>
                <a:gd name="connsiteY61" fmla="*/ 419567 h 1333436"/>
                <a:gd name="connsiteX62" fmla="*/ 688563 w 752994"/>
                <a:gd name="connsiteY62" fmla="*/ 448321 h 1333436"/>
                <a:gd name="connsiteX63" fmla="*/ 663949 w 752994"/>
                <a:gd name="connsiteY63" fmla="*/ 590165 h 1333436"/>
                <a:gd name="connsiteX64" fmla="*/ 666304 w 752994"/>
                <a:gd name="connsiteY64" fmla="*/ 590504 h 1333436"/>
                <a:gd name="connsiteX65" fmla="*/ 655288 w 752994"/>
                <a:gd name="connsiteY65" fmla="*/ 656178 h 1333436"/>
                <a:gd name="connsiteX66" fmla="*/ 681808 w 752994"/>
                <a:gd name="connsiteY66" fmla="*/ 662301 h 1333436"/>
                <a:gd name="connsiteX67" fmla="*/ 752994 w 752994"/>
                <a:gd name="connsiteY67" fmla="*/ 675560 h 1333436"/>
                <a:gd name="connsiteX68" fmla="*/ 714651 w 752994"/>
                <a:gd name="connsiteY68" fmla="*/ 946985 h 1333436"/>
                <a:gd name="connsiteX69" fmla="*/ 654533 w 752994"/>
                <a:gd name="connsiteY69" fmla="*/ 1333436 h 1333436"/>
                <a:gd name="connsiteX70" fmla="*/ 546831 w 752994"/>
                <a:gd name="connsiteY70" fmla="*/ 1317126 h 1333436"/>
                <a:gd name="connsiteX71" fmla="*/ 351227 w 752994"/>
                <a:gd name="connsiteY71" fmla="*/ 1194172 h 1333436"/>
                <a:gd name="connsiteX72" fmla="*/ 361011 w 752994"/>
                <a:gd name="connsiteY72" fmla="*/ 1182755 h 1333436"/>
                <a:gd name="connsiteX73" fmla="*/ 368981 w 752994"/>
                <a:gd name="connsiteY73" fmla="*/ 1182130 h 1333436"/>
                <a:gd name="connsiteX74" fmla="*/ 369571 w 752994"/>
                <a:gd name="connsiteY74" fmla="*/ 1181558 h 1333436"/>
                <a:gd name="connsiteX75" fmla="*/ 362372 w 752994"/>
                <a:gd name="connsiteY75" fmla="*/ 1182120 h 1333436"/>
                <a:gd name="connsiteX76" fmla="*/ 229464 w 752994"/>
                <a:gd name="connsiteY76" fmla="*/ 1161721 h 1333436"/>
                <a:gd name="connsiteX77" fmla="*/ 227427 w 752994"/>
                <a:gd name="connsiteY77" fmla="*/ 1157269 h 1333436"/>
                <a:gd name="connsiteX78" fmla="*/ 224967 w 752994"/>
                <a:gd name="connsiteY78" fmla="*/ 1152575 h 1333436"/>
                <a:gd name="connsiteX79" fmla="*/ 225582 w 752994"/>
                <a:gd name="connsiteY79" fmla="*/ 1144808 h 1333436"/>
                <a:gd name="connsiteX80" fmla="*/ 227215 w 752994"/>
                <a:gd name="connsiteY80" fmla="*/ 1135834 h 1333436"/>
                <a:gd name="connsiteX81" fmla="*/ 227215 w 752994"/>
                <a:gd name="connsiteY81" fmla="*/ 1134212 h 1333436"/>
                <a:gd name="connsiteX82" fmla="*/ 225179 w 752994"/>
                <a:gd name="connsiteY82" fmla="*/ 1114020 h 1333436"/>
                <a:gd name="connsiteX83" fmla="*/ 217839 w 752994"/>
                <a:gd name="connsiteY83" fmla="*/ 1100352 h 1333436"/>
                <a:gd name="connsiteX84" fmla="*/ 199661 w 752994"/>
                <a:gd name="connsiteY84" fmla="*/ 1076502 h 1333436"/>
                <a:gd name="connsiteX85" fmla="*/ 196395 w 752994"/>
                <a:gd name="connsiteY85" fmla="*/ 1071807 h 1333436"/>
                <a:gd name="connsiteX86" fmla="*/ 190880 w 752994"/>
                <a:gd name="connsiteY86" fmla="*/ 1067527 h 1333436"/>
                <a:gd name="connsiteX87" fmla="*/ 187210 w 752994"/>
                <a:gd name="connsiteY87" fmla="*/ 1068735 h 1333436"/>
                <a:gd name="connsiteX88" fmla="*/ 180062 w 752994"/>
                <a:gd name="connsiteY88" fmla="*/ 1066699 h 1333436"/>
                <a:gd name="connsiteX89" fmla="*/ 180466 w 752994"/>
                <a:gd name="connsiteY89" fmla="*/ 1053031 h 1333436"/>
                <a:gd name="connsiteX90" fmla="*/ 180062 w 752994"/>
                <a:gd name="connsiteY90" fmla="*/ 1045299 h 1333436"/>
                <a:gd name="connsiteX91" fmla="*/ 174144 w 752994"/>
                <a:gd name="connsiteY91" fmla="*/ 1044057 h 1333436"/>
                <a:gd name="connsiteX92" fmla="*/ 158426 w 752994"/>
                <a:gd name="connsiteY92" fmla="*/ 1042641 h 1333436"/>
                <a:gd name="connsiteX93" fmla="*/ 149857 w 752994"/>
                <a:gd name="connsiteY93" fmla="*/ 1035497 h 1333436"/>
                <a:gd name="connsiteX94" fmla="*/ 142497 w 752994"/>
                <a:gd name="connsiteY94" fmla="*/ 1028766 h 1333436"/>
                <a:gd name="connsiteX95" fmla="*/ 140864 w 752994"/>
                <a:gd name="connsiteY95" fmla="*/ 1020620 h 1333436"/>
                <a:gd name="connsiteX96" fmla="*/ 138212 w 752994"/>
                <a:gd name="connsiteY96" fmla="*/ 1013061 h 1333436"/>
                <a:gd name="connsiteX97" fmla="*/ 131064 w 752994"/>
                <a:gd name="connsiteY97" fmla="*/ 1007159 h 1333436"/>
                <a:gd name="connsiteX98" fmla="*/ 121264 w 752994"/>
                <a:gd name="connsiteY98" fmla="*/ 1005330 h 1333436"/>
                <a:gd name="connsiteX99" fmla="*/ 112483 w 752994"/>
                <a:gd name="connsiteY99" fmla="*/ 1001671 h 1333436"/>
                <a:gd name="connsiteX100" fmla="*/ 105950 w 752994"/>
                <a:gd name="connsiteY100" fmla="*/ 995734 h 1333436"/>
                <a:gd name="connsiteX101" fmla="*/ 97380 w 752994"/>
                <a:gd name="connsiteY101" fmla="*/ 994526 h 1333436"/>
                <a:gd name="connsiteX102" fmla="*/ 87984 w 752994"/>
                <a:gd name="connsiteY102" fmla="*/ 991040 h 1333436"/>
                <a:gd name="connsiteX103" fmla="*/ 80029 w 752994"/>
                <a:gd name="connsiteY103" fmla="*/ 985138 h 1333436"/>
                <a:gd name="connsiteX104" fmla="*/ 77166 w 752994"/>
                <a:gd name="connsiteY104" fmla="*/ 976164 h 1333436"/>
                <a:gd name="connsiteX105" fmla="*/ 79203 w 752994"/>
                <a:gd name="connsiteY105" fmla="*/ 970676 h 1333436"/>
                <a:gd name="connsiteX106" fmla="*/ 82470 w 752994"/>
                <a:gd name="connsiteY106" fmla="*/ 963117 h 1333436"/>
                <a:gd name="connsiteX107" fmla="*/ 84314 w 752994"/>
                <a:gd name="connsiteY107" fmla="*/ 954557 h 1333436"/>
                <a:gd name="connsiteX108" fmla="*/ 86351 w 752994"/>
                <a:gd name="connsiteY108" fmla="*/ 948033 h 1333436"/>
                <a:gd name="connsiteX109" fmla="*/ 86159 w 752994"/>
                <a:gd name="connsiteY109" fmla="*/ 942925 h 1333436"/>
                <a:gd name="connsiteX110" fmla="*/ 83085 w 752994"/>
                <a:gd name="connsiteY110" fmla="*/ 939853 h 1333436"/>
                <a:gd name="connsiteX111" fmla="*/ 77570 w 752994"/>
                <a:gd name="connsiteY111" fmla="*/ 937437 h 1333436"/>
                <a:gd name="connsiteX112" fmla="*/ 76763 w 752994"/>
                <a:gd name="connsiteY112" fmla="*/ 931915 h 1333436"/>
                <a:gd name="connsiteX113" fmla="*/ 78800 w 752994"/>
                <a:gd name="connsiteY113" fmla="*/ 927013 h 1333436"/>
                <a:gd name="connsiteX114" fmla="*/ 79626 w 752994"/>
                <a:gd name="connsiteY114" fmla="*/ 922526 h 1333436"/>
                <a:gd name="connsiteX115" fmla="*/ 77781 w 752994"/>
                <a:gd name="connsiteY115" fmla="*/ 919903 h 1333436"/>
                <a:gd name="connsiteX116" fmla="*/ 74303 w 752994"/>
                <a:gd name="connsiteY116" fmla="*/ 917418 h 1333436"/>
                <a:gd name="connsiteX117" fmla="*/ 71863 w 752994"/>
                <a:gd name="connsiteY117" fmla="*/ 915174 h 1333436"/>
                <a:gd name="connsiteX118" fmla="*/ 71652 w 752994"/>
                <a:gd name="connsiteY118" fmla="*/ 910894 h 1333436"/>
                <a:gd name="connsiteX119" fmla="*/ 70633 w 752994"/>
                <a:gd name="connsiteY119" fmla="*/ 906614 h 1333436"/>
                <a:gd name="connsiteX120" fmla="*/ 68385 w 752994"/>
                <a:gd name="connsiteY120" fmla="*/ 902749 h 1333436"/>
                <a:gd name="connsiteX121" fmla="*/ 61045 w 752994"/>
                <a:gd name="connsiteY121" fmla="*/ 889494 h 1333436"/>
                <a:gd name="connsiteX122" fmla="*/ 57971 w 752994"/>
                <a:gd name="connsiteY122" fmla="*/ 875619 h 1333436"/>
                <a:gd name="connsiteX123" fmla="*/ 52264 w 752994"/>
                <a:gd name="connsiteY123" fmla="*/ 862572 h 1333436"/>
                <a:gd name="connsiteX124" fmla="*/ 44309 w 752994"/>
                <a:gd name="connsiteY124" fmla="*/ 850561 h 1333436"/>
                <a:gd name="connsiteX125" fmla="*/ 45520 w 752994"/>
                <a:gd name="connsiteY125" fmla="*/ 827090 h 1333436"/>
                <a:gd name="connsiteX126" fmla="*/ 53071 w 752994"/>
                <a:gd name="connsiteY126" fmla="*/ 822396 h 1333436"/>
                <a:gd name="connsiteX127" fmla="*/ 57375 w 752994"/>
                <a:gd name="connsiteY127" fmla="*/ 816493 h 1333436"/>
                <a:gd name="connsiteX128" fmla="*/ 55319 w 752994"/>
                <a:gd name="connsiteY128" fmla="*/ 801617 h 1333436"/>
                <a:gd name="connsiteX129" fmla="*/ 48383 w 752994"/>
                <a:gd name="connsiteY129" fmla="*/ 802204 h 1333436"/>
                <a:gd name="connsiteX130" fmla="*/ 40428 w 752994"/>
                <a:gd name="connsiteY130" fmla="*/ 797924 h 1333436"/>
                <a:gd name="connsiteX131" fmla="*/ 37565 w 752994"/>
                <a:gd name="connsiteY131" fmla="*/ 790606 h 1333436"/>
                <a:gd name="connsiteX132" fmla="*/ 37565 w 752994"/>
                <a:gd name="connsiteY132" fmla="*/ 790399 h 1333436"/>
                <a:gd name="connsiteX133" fmla="*/ 35931 w 752994"/>
                <a:gd name="connsiteY133" fmla="*/ 785912 h 1333436"/>
                <a:gd name="connsiteX134" fmla="*/ 34510 w 752994"/>
                <a:gd name="connsiteY134" fmla="*/ 780597 h 1333436"/>
                <a:gd name="connsiteX135" fmla="*/ 36335 w 752994"/>
                <a:gd name="connsiteY135" fmla="*/ 774280 h 1333436"/>
                <a:gd name="connsiteX136" fmla="*/ 38180 w 752994"/>
                <a:gd name="connsiteY136" fmla="*/ 766721 h 1333436"/>
                <a:gd name="connsiteX137" fmla="*/ 37161 w 752994"/>
                <a:gd name="connsiteY137" fmla="*/ 760405 h 1333436"/>
                <a:gd name="connsiteX138" fmla="*/ 35720 w 752994"/>
                <a:gd name="connsiteY138" fmla="*/ 754710 h 1333436"/>
                <a:gd name="connsiteX139" fmla="*/ 36546 w 752994"/>
                <a:gd name="connsiteY139" fmla="*/ 748773 h 1333436"/>
                <a:gd name="connsiteX140" fmla="*/ 38372 w 752994"/>
                <a:gd name="connsiteY140" fmla="*/ 744528 h 1333436"/>
                <a:gd name="connsiteX141" fmla="*/ 41638 w 752994"/>
                <a:gd name="connsiteY141" fmla="*/ 744321 h 1333436"/>
                <a:gd name="connsiteX142" fmla="*/ 44713 w 752994"/>
                <a:gd name="connsiteY142" fmla="*/ 746357 h 1333436"/>
                <a:gd name="connsiteX143" fmla="*/ 47364 w 752994"/>
                <a:gd name="connsiteY143" fmla="*/ 753260 h 1333436"/>
                <a:gd name="connsiteX144" fmla="*/ 55742 w 752994"/>
                <a:gd name="connsiteY144" fmla="*/ 764305 h 1333436"/>
                <a:gd name="connsiteX145" fmla="*/ 56338 w 752994"/>
                <a:gd name="connsiteY145" fmla="*/ 761233 h 1333436"/>
                <a:gd name="connsiteX146" fmla="*/ 56145 w 752994"/>
                <a:gd name="connsiteY146" fmla="*/ 757368 h 1333436"/>
                <a:gd name="connsiteX147" fmla="*/ 54916 w 752994"/>
                <a:gd name="connsiteY147" fmla="*/ 748601 h 1333436"/>
                <a:gd name="connsiteX148" fmla="*/ 52879 w 752994"/>
                <a:gd name="connsiteY148" fmla="*/ 747358 h 1333436"/>
                <a:gd name="connsiteX149" fmla="*/ 51649 w 752994"/>
                <a:gd name="connsiteY149" fmla="*/ 745322 h 1333436"/>
                <a:gd name="connsiteX150" fmla="*/ 51649 w 752994"/>
                <a:gd name="connsiteY150" fmla="*/ 739212 h 1333436"/>
                <a:gd name="connsiteX151" fmla="*/ 50227 w 752994"/>
                <a:gd name="connsiteY151" fmla="*/ 734725 h 1333436"/>
                <a:gd name="connsiteX152" fmla="*/ 48786 w 752994"/>
                <a:gd name="connsiteY152" fmla="*/ 731446 h 1333436"/>
                <a:gd name="connsiteX153" fmla="*/ 54512 w 752994"/>
                <a:gd name="connsiteY153" fmla="*/ 726372 h 1333436"/>
                <a:gd name="connsiteX154" fmla="*/ 59815 w 752994"/>
                <a:gd name="connsiteY154" fmla="*/ 725130 h 1333436"/>
                <a:gd name="connsiteX155" fmla="*/ 58182 w 752994"/>
                <a:gd name="connsiteY155" fmla="*/ 722886 h 1333436"/>
                <a:gd name="connsiteX156" fmla="*/ 51861 w 752994"/>
                <a:gd name="connsiteY156" fmla="*/ 717985 h 1333436"/>
                <a:gd name="connsiteX157" fmla="*/ 46749 w 752994"/>
                <a:gd name="connsiteY157" fmla="*/ 729617 h 1333436"/>
                <a:gd name="connsiteX158" fmla="*/ 40831 w 752994"/>
                <a:gd name="connsiteY158" fmla="*/ 739212 h 1333436"/>
                <a:gd name="connsiteX159" fmla="*/ 39601 w 752994"/>
                <a:gd name="connsiteY159" fmla="*/ 738798 h 1333436"/>
                <a:gd name="connsiteX160" fmla="*/ 39409 w 752994"/>
                <a:gd name="connsiteY160" fmla="*/ 738591 h 1333436"/>
                <a:gd name="connsiteX161" fmla="*/ 37161 w 752994"/>
                <a:gd name="connsiteY161" fmla="*/ 734725 h 1333436"/>
                <a:gd name="connsiteX162" fmla="*/ 32665 w 752994"/>
                <a:gd name="connsiteY162" fmla="*/ 727788 h 1333436"/>
                <a:gd name="connsiteX163" fmla="*/ 26747 w 752994"/>
                <a:gd name="connsiteY163" fmla="*/ 719435 h 1333436"/>
                <a:gd name="connsiteX164" fmla="*/ 23884 w 752994"/>
                <a:gd name="connsiteY164" fmla="*/ 717812 h 1333436"/>
                <a:gd name="connsiteX165" fmla="*/ 24710 w 752994"/>
                <a:gd name="connsiteY165" fmla="*/ 709632 h 1333436"/>
                <a:gd name="connsiteX166" fmla="*/ 27554 w 752994"/>
                <a:gd name="connsiteY166" fmla="*/ 701694 h 1333436"/>
                <a:gd name="connsiteX167" fmla="*/ 24902 w 752994"/>
                <a:gd name="connsiteY167" fmla="*/ 696171 h 1333436"/>
                <a:gd name="connsiteX168" fmla="*/ 24095 w 752994"/>
                <a:gd name="connsiteY168" fmla="*/ 687818 h 1333436"/>
                <a:gd name="connsiteX169" fmla="*/ 22462 w 752994"/>
                <a:gd name="connsiteY169" fmla="*/ 682330 h 1333436"/>
                <a:gd name="connsiteX170" fmla="*/ 17159 w 752994"/>
                <a:gd name="connsiteY170" fmla="*/ 677636 h 1333436"/>
                <a:gd name="connsiteX171" fmla="*/ 14296 w 752994"/>
                <a:gd name="connsiteY171" fmla="*/ 671492 h 1333436"/>
                <a:gd name="connsiteX172" fmla="*/ 12451 w 752994"/>
                <a:gd name="connsiteY172" fmla="*/ 665797 h 1333436"/>
                <a:gd name="connsiteX173" fmla="*/ 5111 w 752994"/>
                <a:gd name="connsiteY173" fmla="*/ 654994 h 1333436"/>
                <a:gd name="connsiteX174" fmla="*/ 2248 w 752994"/>
                <a:gd name="connsiteY174" fmla="*/ 645605 h 1333436"/>
                <a:gd name="connsiteX175" fmla="*/ 4496 w 752994"/>
                <a:gd name="connsiteY175" fmla="*/ 640497 h 1333436"/>
                <a:gd name="connsiteX176" fmla="*/ 6744 w 752994"/>
                <a:gd name="connsiteY176" fmla="*/ 632765 h 1333436"/>
                <a:gd name="connsiteX177" fmla="*/ 6744 w 752994"/>
                <a:gd name="connsiteY177" fmla="*/ 628485 h 1333436"/>
                <a:gd name="connsiteX178" fmla="*/ 6533 w 752994"/>
                <a:gd name="connsiteY178" fmla="*/ 620305 h 1333436"/>
                <a:gd name="connsiteX179" fmla="*/ 7359 w 752994"/>
                <a:gd name="connsiteY179" fmla="*/ 611745 h 1333436"/>
                <a:gd name="connsiteX180" fmla="*/ 11836 w 752994"/>
                <a:gd name="connsiteY180" fmla="*/ 602978 h 1333436"/>
                <a:gd name="connsiteX181" fmla="*/ 15103 w 752994"/>
                <a:gd name="connsiteY181" fmla="*/ 591760 h 1333436"/>
                <a:gd name="connsiteX182" fmla="*/ 14488 w 752994"/>
                <a:gd name="connsiteY182" fmla="*/ 584029 h 1333436"/>
                <a:gd name="connsiteX183" fmla="*/ 13873 w 752994"/>
                <a:gd name="connsiteY183" fmla="*/ 578299 h 1333436"/>
                <a:gd name="connsiteX184" fmla="*/ 10626 w 752994"/>
                <a:gd name="connsiteY184" fmla="*/ 568531 h 1333436"/>
                <a:gd name="connsiteX185" fmla="*/ 3670 w 752994"/>
                <a:gd name="connsiteY185" fmla="*/ 558107 h 1333436"/>
                <a:gd name="connsiteX186" fmla="*/ 0 w 752994"/>
                <a:gd name="connsiteY186" fmla="*/ 551377 h 1333436"/>
                <a:gd name="connsiteX187" fmla="*/ 0 w 752994"/>
                <a:gd name="connsiteY187" fmla="*/ 550997 h 1333436"/>
                <a:gd name="connsiteX188" fmla="*/ 4900 w 752994"/>
                <a:gd name="connsiteY188" fmla="*/ 531220 h 1333436"/>
                <a:gd name="connsiteX189" fmla="*/ 13873 w 752994"/>
                <a:gd name="connsiteY189" fmla="*/ 520589 h 1333436"/>
                <a:gd name="connsiteX190" fmla="*/ 18369 w 752994"/>
                <a:gd name="connsiteY190" fmla="*/ 516516 h 1333436"/>
                <a:gd name="connsiteX191" fmla="*/ 18773 w 752994"/>
                <a:gd name="connsiteY191" fmla="*/ 514272 h 1333436"/>
                <a:gd name="connsiteX192" fmla="*/ 23077 w 752994"/>
                <a:gd name="connsiteY192" fmla="*/ 506127 h 1333436"/>
                <a:gd name="connsiteX193" fmla="*/ 23884 w 752994"/>
                <a:gd name="connsiteY193" fmla="*/ 502261 h 1333436"/>
                <a:gd name="connsiteX194" fmla="*/ 23692 w 752994"/>
                <a:gd name="connsiteY194" fmla="*/ 496738 h 1333436"/>
                <a:gd name="connsiteX195" fmla="*/ 30013 w 752994"/>
                <a:gd name="connsiteY195" fmla="*/ 486556 h 1333436"/>
                <a:gd name="connsiteX196" fmla="*/ 36546 w 752994"/>
                <a:gd name="connsiteY196" fmla="*/ 470230 h 1333436"/>
                <a:gd name="connsiteX197" fmla="*/ 36546 w 752994"/>
                <a:gd name="connsiteY197" fmla="*/ 462671 h 1333436"/>
                <a:gd name="connsiteX198" fmla="*/ 36335 w 752994"/>
                <a:gd name="connsiteY198" fmla="*/ 461670 h 1333436"/>
                <a:gd name="connsiteX199" fmla="*/ 35931 w 752994"/>
                <a:gd name="connsiteY199" fmla="*/ 453110 h 1333436"/>
                <a:gd name="connsiteX200" fmla="*/ 38583 w 752994"/>
                <a:gd name="connsiteY200" fmla="*/ 442514 h 1333436"/>
                <a:gd name="connsiteX201" fmla="*/ 41043 w 752994"/>
                <a:gd name="connsiteY201" fmla="*/ 436991 h 1333436"/>
                <a:gd name="connsiteX202" fmla="*/ 41650 w 752994"/>
                <a:gd name="connsiteY202" fmla="*/ 437186 h 1333436"/>
                <a:gd name="connsiteX203" fmla="*/ 41239 w 752994"/>
                <a:gd name="connsiteY203" fmla="*/ 436549 h 1333436"/>
                <a:gd name="connsiteX204" fmla="*/ 37778 w 752994"/>
                <a:gd name="connsiteY204" fmla="*/ 433894 h 1333436"/>
                <a:gd name="connsiteX205" fmla="*/ 37169 w 752994"/>
                <a:gd name="connsiteY205" fmla="*/ 432261 h 1333436"/>
                <a:gd name="connsiteX206" fmla="*/ 37365 w 752994"/>
                <a:gd name="connsiteY206" fmla="*/ 429198 h 1333436"/>
                <a:gd name="connsiteX207" fmla="*/ 36756 w 752994"/>
                <a:gd name="connsiteY207" fmla="*/ 422272 h 1333436"/>
                <a:gd name="connsiteX208" fmla="*/ 36952 w 752994"/>
                <a:gd name="connsiteY208" fmla="*/ 418800 h 1333436"/>
                <a:gd name="connsiteX209" fmla="*/ 36756 w 752994"/>
                <a:gd name="connsiteY209" fmla="*/ 412487 h 1333436"/>
                <a:gd name="connsiteX210" fmla="*/ 40433 w 752994"/>
                <a:gd name="connsiteY210" fmla="*/ 406174 h 1333436"/>
                <a:gd name="connsiteX211" fmla="*/ 44720 w 752994"/>
                <a:gd name="connsiteY211" fmla="*/ 399435 h 1333436"/>
                <a:gd name="connsiteX212" fmla="*/ 44110 w 752994"/>
                <a:gd name="connsiteY212" fmla="*/ 389651 h 1333436"/>
                <a:gd name="connsiteX213" fmla="*/ 43894 w 752994"/>
                <a:gd name="connsiteY213" fmla="*/ 378437 h 1333436"/>
                <a:gd name="connsiteX214" fmla="*/ 47158 w 752994"/>
                <a:gd name="connsiteY214" fmla="*/ 371102 h 1333436"/>
                <a:gd name="connsiteX215" fmla="*/ 55731 w 752994"/>
                <a:gd name="connsiteY215" fmla="*/ 360909 h 1333436"/>
                <a:gd name="connsiteX216" fmla="*/ 57580 w 752994"/>
                <a:gd name="connsiteY216" fmla="*/ 355804 h 1333436"/>
                <a:gd name="connsiteX217" fmla="*/ 62673 w 752994"/>
                <a:gd name="connsiteY217" fmla="*/ 349695 h 1333436"/>
                <a:gd name="connsiteX218" fmla="*/ 65937 w 752994"/>
                <a:gd name="connsiteY218" fmla="*/ 348470 h 1333436"/>
                <a:gd name="connsiteX219" fmla="*/ 68395 w 752994"/>
                <a:gd name="connsiteY219" fmla="*/ 348674 h 1333436"/>
                <a:gd name="connsiteX220" fmla="*/ 70224 w 752994"/>
                <a:gd name="connsiteY220" fmla="*/ 347449 h 1333436"/>
                <a:gd name="connsiteX221" fmla="*/ 67785 w 752994"/>
                <a:gd name="connsiteY221" fmla="*/ 345203 h 1333436"/>
                <a:gd name="connsiteX222" fmla="*/ 65524 w 752994"/>
                <a:gd name="connsiteY222" fmla="*/ 343178 h 1333436"/>
                <a:gd name="connsiteX223" fmla="*/ 73095 w 752994"/>
                <a:gd name="connsiteY223" fmla="*/ 333376 h 1333436"/>
                <a:gd name="connsiteX224" fmla="*/ 73291 w 752994"/>
                <a:gd name="connsiteY224" fmla="*/ 333376 h 1333436"/>
                <a:gd name="connsiteX225" fmla="*/ 77991 w 752994"/>
                <a:gd name="connsiteY225" fmla="*/ 325838 h 1333436"/>
                <a:gd name="connsiteX226" fmla="*/ 82671 w 752994"/>
                <a:gd name="connsiteY226" fmla="*/ 313619 h 1333436"/>
                <a:gd name="connsiteX227" fmla="*/ 87980 w 752994"/>
                <a:gd name="connsiteY227" fmla="*/ 303018 h 1333436"/>
                <a:gd name="connsiteX228" fmla="*/ 92267 w 752994"/>
                <a:gd name="connsiteY228" fmla="*/ 291191 h 1333436"/>
                <a:gd name="connsiteX229" fmla="*/ 96553 w 752994"/>
                <a:gd name="connsiteY229" fmla="*/ 281202 h 1333436"/>
                <a:gd name="connsiteX230" fmla="*/ 99621 w 752994"/>
                <a:gd name="connsiteY230" fmla="*/ 274481 h 1333436"/>
                <a:gd name="connsiteX231" fmla="*/ 103082 w 752994"/>
                <a:gd name="connsiteY231" fmla="*/ 262450 h 1333436"/>
                <a:gd name="connsiteX232" fmla="*/ 107172 w 752994"/>
                <a:gd name="connsiteY232" fmla="*/ 254299 h 1333436"/>
                <a:gd name="connsiteX233" fmla="*/ 112481 w 752994"/>
                <a:gd name="connsiteY233" fmla="*/ 243697 h 1333436"/>
                <a:gd name="connsiteX234" fmla="*/ 117181 w 752994"/>
                <a:gd name="connsiteY234" fmla="*/ 232279 h 1333436"/>
                <a:gd name="connsiteX235" fmla="*/ 125951 w 752994"/>
                <a:gd name="connsiteY235" fmla="*/ 217389 h 1333436"/>
                <a:gd name="connsiteX236" fmla="*/ 136156 w 752994"/>
                <a:gd name="connsiteY236" fmla="*/ 202925 h 1333436"/>
                <a:gd name="connsiteX237" fmla="*/ 138811 w 752994"/>
                <a:gd name="connsiteY237" fmla="*/ 183339 h 1333436"/>
                <a:gd name="connsiteX238" fmla="*/ 148801 w 752994"/>
                <a:gd name="connsiteY238" fmla="*/ 167445 h 1333436"/>
                <a:gd name="connsiteX239" fmla="*/ 159616 w 752994"/>
                <a:gd name="connsiteY239" fmla="*/ 170712 h 1333436"/>
                <a:gd name="connsiteX240" fmla="*/ 158851 w 752994"/>
                <a:gd name="connsiteY240" fmla="*/ 156924 h 1333436"/>
                <a:gd name="connsiteX241" fmla="*/ 147025 w 752994"/>
                <a:gd name="connsiteY241" fmla="*/ 145709 h 1333436"/>
                <a:gd name="connsiteX242" fmla="*/ 154364 w 752994"/>
                <a:gd name="connsiteY242" fmla="*/ 136335 h 1333436"/>
                <a:gd name="connsiteX243" fmla="*/ 161511 w 752994"/>
                <a:gd name="connsiteY243" fmla="*/ 131042 h 1333436"/>
                <a:gd name="connsiteX244" fmla="*/ 160902 w 752994"/>
                <a:gd name="connsiteY244" fmla="*/ 128384 h 1333436"/>
                <a:gd name="connsiteX245" fmla="*/ 160277 w 752994"/>
                <a:gd name="connsiteY245" fmla="*/ 127778 h 1333436"/>
                <a:gd name="connsiteX246" fmla="*/ 154973 w 752994"/>
                <a:gd name="connsiteY246" fmla="*/ 122077 h 1333436"/>
                <a:gd name="connsiteX247" fmla="*/ 160277 w 752994"/>
                <a:gd name="connsiteY247" fmla="*/ 115140 h 1333436"/>
                <a:gd name="connsiteX248" fmla="*/ 165181 w 752994"/>
                <a:gd name="connsiteY248" fmla="*/ 108215 h 1333436"/>
                <a:gd name="connsiteX249" fmla="*/ 161303 w 752994"/>
                <a:gd name="connsiteY249" fmla="*/ 104146 h 1333436"/>
                <a:gd name="connsiteX250" fmla="*/ 157842 w 752994"/>
                <a:gd name="connsiteY250" fmla="*/ 104542 h 1333436"/>
                <a:gd name="connsiteX251" fmla="*/ 157024 w 752994"/>
                <a:gd name="connsiteY251" fmla="*/ 102304 h 1333436"/>
                <a:gd name="connsiteX252" fmla="*/ 160694 w 752994"/>
                <a:gd name="connsiteY252" fmla="*/ 55437 h 1333436"/>
                <a:gd name="connsiteX253" fmla="*/ 160486 w 752994"/>
                <a:gd name="connsiteY253" fmla="*/ 31991 h 1333436"/>
                <a:gd name="connsiteX254" fmla="*/ 164972 w 752994"/>
                <a:gd name="connsiteY254" fmla="*/ 18141 h 1333436"/>
                <a:gd name="connsiteX255" fmla="*/ 171911 w 752994"/>
                <a:gd name="connsiteY255" fmla="*/ 11204 h 1333436"/>
                <a:gd name="connsiteX256" fmla="*/ 187406 w 752994"/>
                <a:gd name="connsiteY256" fmla="*/ 21801 h 1333436"/>
                <a:gd name="connsiteX257" fmla="*/ 210866 w 752994"/>
                <a:gd name="connsiteY257" fmla="*/ 37086 h 1333436"/>
                <a:gd name="connsiteX258" fmla="*/ 219230 w 752994"/>
                <a:gd name="connsiteY258" fmla="*/ 41166 h 1333436"/>
                <a:gd name="connsiteX259" fmla="*/ 226778 w 752994"/>
                <a:gd name="connsiteY259" fmla="*/ 47486 h 1333436"/>
                <a:gd name="connsiteX260" fmla="*/ 236152 w 752994"/>
                <a:gd name="connsiteY260" fmla="*/ 52370 h 1333436"/>
                <a:gd name="connsiteX261" fmla="*/ 239629 w 752994"/>
                <a:gd name="connsiteY261" fmla="*/ 58491 h 1333436"/>
                <a:gd name="connsiteX262" fmla="*/ 239629 w 752994"/>
                <a:gd name="connsiteY262" fmla="*/ 63376 h 1333436"/>
                <a:gd name="connsiteX263" fmla="*/ 236568 w 752994"/>
                <a:gd name="connsiteY263" fmla="*/ 67457 h 1333436"/>
                <a:gd name="connsiteX264" fmla="*/ 231264 w 752994"/>
                <a:gd name="connsiteY264" fmla="*/ 69905 h 1333436"/>
                <a:gd name="connsiteX265" fmla="*/ 216778 w 752994"/>
                <a:gd name="connsiteY265" fmla="*/ 82741 h 1333436"/>
                <a:gd name="connsiteX266" fmla="*/ 214134 w 752994"/>
                <a:gd name="connsiteY266" fmla="*/ 93536 h 1333436"/>
                <a:gd name="connsiteX267" fmla="*/ 214535 w 752994"/>
                <a:gd name="connsiteY267" fmla="*/ 96801 h 1333436"/>
                <a:gd name="connsiteX268" fmla="*/ 216378 w 752994"/>
                <a:gd name="connsiteY268" fmla="*/ 96801 h 1333436"/>
                <a:gd name="connsiteX269" fmla="*/ 230046 w 752994"/>
                <a:gd name="connsiteY269" fmla="*/ 85387 h 1333436"/>
                <a:gd name="connsiteX270" fmla="*/ 243298 w 752994"/>
                <a:gd name="connsiteY270" fmla="*/ 75198 h 1333436"/>
                <a:gd name="connsiteX271" fmla="*/ 246760 w 752994"/>
                <a:gd name="connsiteY271" fmla="*/ 77646 h 1333436"/>
                <a:gd name="connsiteX272" fmla="*/ 255541 w 752994"/>
                <a:gd name="connsiteY272" fmla="*/ 63376 h 1333436"/>
                <a:gd name="connsiteX273" fmla="*/ 259611 w 752994"/>
                <a:gd name="connsiteY273" fmla="*/ 43405 h 1333436"/>
                <a:gd name="connsiteX274" fmla="*/ 256967 w 752994"/>
                <a:gd name="connsiteY274" fmla="*/ 38520 h 1333436"/>
                <a:gd name="connsiteX275" fmla="*/ 253906 w 752994"/>
                <a:gd name="connsiteY275" fmla="*/ 34242 h 1333436"/>
                <a:gd name="connsiteX276" fmla="*/ 256967 w 752994"/>
                <a:gd name="connsiteY276" fmla="*/ 30161 h 1333436"/>
                <a:gd name="connsiteX277" fmla="*/ 262063 w 752994"/>
                <a:gd name="connsiteY277" fmla="*/ 27712 h 1333436"/>
                <a:gd name="connsiteX278" fmla="*/ 264915 w 752994"/>
                <a:gd name="connsiteY278" fmla="*/ 23026 h 1333436"/>
                <a:gd name="connsiteX279" fmla="*/ 267976 w 752994"/>
                <a:gd name="connsiteY279" fmla="*/ 22618 h 1333436"/>
                <a:gd name="connsiteX280" fmla="*/ 270427 w 752994"/>
                <a:gd name="connsiteY280" fmla="*/ 20787 h 1333436"/>
                <a:gd name="connsiteX281" fmla="*/ 263088 w 752994"/>
                <a:gd name="connsiteY281" fmla="*/ 13652 h 1333436"/>
                <a:gd name="connsiteX282" fmla="*/ 255541 w 752994"/>
                <a:gd name="connsiteY282" fmla="*/ 3055 h 1333436"/>
                <a:gd name="connsiteX283" fmla="*/ 256358 w 752994"/>
                <a:gd name="connsiteY283" fmla="*/ 1224 h 1333436"/>
                <a:gd name="connsiteX284" fmla="*/ 257159 w 752994"/>
                <a:gd name="connsiteY284" fmla="*/ 0 h 1333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Lst>
              <a:rect l="l" t="t" r="r" b="b"/>
              <a:pathLst>
                <a:path w="752994" h="1333436">
                  <a:moveTo>
                    <a:pt x="257159" y="0"/>
                  </a:moveTo>
                  <a:cubicBezTo>
                    <a:pt x="334668" y="26216"/>
                    <a:pt x="413331" y="50614"/>
                    <a:pt x="493147" y="73157"/>
                  </a:cubicBezTo>
                  <a:lnTo>
                    <a:pt x="492970" y="73792"/>
                  </a:lnTo>
                  <a:lnTo>
                    <a:pt x="525816" y="82491"/>
                  </a:lnTo>
                  <a:cubicBezTo>
                    <a:pt x="524176" y="92140"/>
                    <a:pt x="522275" y="101716"/>
                    <a:pt x="520098" y="111245"/>
                  </a:cubicBezTo>
                  <a:lnTo>
                    <a:pt x="512552" y="143854"/>
                  </a:lnTo>
                  <a:cubicBezTo>
                    <a:pt x="512552" y="145913"/>
                    <a:pt x="514308" y="150534"/>
                    <a:pt x="517849" y="157740"/>
                  </a:cubicBezTo>
                  <a:lnTo>
                    <a:pt x="523160" y="172009"/>
                  </a:lnTo>
                  <a:cubicBezTo>
                    <a:pt x="523030" y="173230"/>
                    <a:pt x="522478" y="175529"/>
                    <a:pt x="521535" y="178928"/>
                  </a:cubicBezTo>
                  <a:lnTo>
                    <a:pt x="520098" y="186279"/>
                  </a:lnTo>
                  <a:cubicBezTo>
                    <a:pt x="520374" y="187763"/>
                    <a:pt x="522347" y="190229"/>
                    <a:pt x="526019" y="193629"/>
                  </a:cubicBezTo>
                  <a:cubicBezTo>
                    <a:pt x="529966" y="197028"/>
                    <a:pt x="533710" y="201242"/>
                    <a:pt x="537251" y="206270"/>
                  </a:cubicBezTo>
                  <a:cubicBezTo>
                    <a:pt x="537381" y="207635"/>
                    <a:pt x="539224" y="211370"/>
                    <a:pt x="542765" y="217475"/>
                  </a:cubicBezTo>
                  <a:cubicBezTo>
                    <a:pt x="545624" y="222646"/>
                    <a:pt x="546988" y="227123"/>
                    <a:pt x="546857" y="230930"/>
                  </a:cubicBezTo>
                  <a:cubicBezTo>
                    <a:pt x="546857" y="232438"/>
                    <a:pt x="547743" y="233994"/>
                    <a:pt x="549499" y="235622"/>
                  </a:cubicBezTo>
                  <a:lnTo>
                    <a:pt x="553388" y="240722"/>
                  </a:lnTo>
                  <a:cubicBezTo>
                    <a:pt x="553794" y="242350"/>
                    <a:pt x="555158" y="244122"/>
                    <a:pt x="557465" y="246037"/>
                  </a:cubicBezTo>
                  <a:lnTo>
                    <a:pt x="561761" y="248671"/>
                  </a:lnTo>
                  <a:cubicBezTo>
                    <a:pt x="562849" y="248671"/>
                    <a:pt x="564750" y="248336"/>
                    <a:pt x="567478" y="247665"/>
                  </a:cubicBezTo>
                  <a:cubicBezTo>
                    <a:pt x="568422" y="247665"/>
                    <a:pt x="569249" y="248192"/>
                    <a:pt x="569931" y="249293"/>
                  </a:cubicBezTo>
                  <a:cubicBezTo>
                    <a:pt x="570468" y="249964"/>
                    <a:pt x="570671" y="250849"/>
                    <a:pt x="570540" y="251951"/>
                  </a:cubicBezTo>
                  <a:cubicBezTo>
                    <a:pt x="570540" y="252071"/>
                    <a:pt x="567681" y="257314"/>
                    <a:pt x="561964" y="267656"/>
                  </a:cubicBezTo>
                  <a:lnTo>
                    <a:pt x="553591" y="289659"/>
                  </a:lnTo>
                  <a:cubicBezTo>
                    <a:pt x="553591" y="289803"/>
                    <a:pt x="553997" y="290880"/>
                    <a:pt x="554810" y="292939"/>
                  </a:cubicBezTo>
                  <a:cubicBezTo>
                    <a:pt x="555768" y="294974"/>
                    <a:pt x="556246" y="297081"/>
                    <a:pt x="556246" y="299260"/>
                  </a:cubicBezTo>
                  <a:cubicBezTo>
                    <a:pt x="556246" y="299523"/>
                    <a:pt x="555085" y="300409"/>
                    <a:pt x="552778" y="301917"/>
                  </a:cubicBezTo>
                  <a:cubicBezTo>
                    <a:pt x="550587" y="303258"/>
                    <a:pt x="549440" y="304958"/>
                    <a:pt x="549295" y="306993"/>
                  </a:cubicBezTo>
                  <a:cubicBezTo>
                    <a:pt x="549165" y="309866"/>
                    <a:pt x="548410" y="311901"/>
                    <a:pt x="547061" y="313122"/>
                  </a:cubicBezTo>
                  <a:cubicBezTo>
                    <a:pt x="545551" y="314056"/>
                    <a:pt x="544811" y="315229"/>
                    <a:pt x="544811" y="316593"/>
                  </a:cubicBezTo>
                  <a:cubicBezTo>
                    <a:pt x="544811" y="318892"/>
                    <a:pt x="546509" y="320927"/>
                    <a:pt x="549919" y="322698"/>
                  </a:cubicBezTo>
                  <a:cubicBezTo>
                    <a:pt x="550732" y="322986"/>
                    <a:pt x="551820" y="324063"/>
                    <a:pt x="553184" y="325955"/>
                  </a:cubicBezTo>
                  <a:cubicBezTo>
                    <a:pt x="554128" y="327463"/>
                    <a:pt x="555013" y="328205"/>
                    <a:pt x="555840" y="328205"/>
                  </a:cubicBezTo>
                  <a:cubicBezTo>
                    <a:pt x="557059" y="328205"/>
                    <a:pt x="563183" y="325093"/>
                    <a:pt x="574212" y="318820"/>
                  </a:cubicBezTo>
                  <a:cubicBezTo>
                    <a:pt x="576664" y="318964"/>
                    <a:pt x="578435" y="321549"/>
                    <a:pt x="579523" y="326577"/>
                  </a:cubicBezTo>
                  <a:cubicBezTo>
                    <a:pt x="579929" y="329163"/>
                    <a:pt x="580277" y="331940"/>
                    <a:pt x="580539" y="334933"/>
                  </a:cubicBezTo>
                  <a:cubicBezTo>
                    <a:pt x="580277" y="335627"/>
                    <a:pt x="580002" y="338332"/>
                    <a:pt x="579726" y="343097"/>
                  </a:cubicBezTo>
                  <a:cubicBezTo>
                    <a:pt x="579450" y="346497"/>
                    <a:pt x="580002" y="348867"/>
                    <a:pt x="581366" y="350231"/>
                  </a:cubicBezTo>
                  <a:cubicBezTo>
                    <a:pt x="582179" y="351309"/>
                    <a:pt x="583804" y="353224"/>
                    <a:pt x="586256" y="355930"/>
                  </a:cubicBezTo>
                  <a:cubicBezTo>
                    <a:pt x="588578" y="358396"/>
                    <a:pt x="589666" y="360431"/>
                    <a:pt x="589536" y="362059"/>
                  </a:cubicBezTo>
                  <a:cubicBezTo>
                    <a:pt x="589536" y="363280"/>
                    <a:pt x="589057" y="365794"/>
                    <a:pt x="588099" y="369600"/>
                  </a:cubicBezTo>
                  <a:lnTo>
                    <a:pt x="586459" y="377357"/>
                  </a:lnTo>
                  <a:cubicBezTo>
                    <a:pt x="586329" y="379656"/>
                    <a:pt x="587083" y="381164"/>
                    <a:pt x="588709" y="381835"/>
                  </a:cubicBezTo>
                  <a:cubicBezTo>
                    <a:pt x="589942" y="382385"/>
                    <a:pt x="592046" y="382577"/>
                    <a:pt x="595036" y="382457"/>
                  </a:cubicBezTo>
                  <a:cubicBezTo>
                    <a:pt x="596269" y="382170"/>
                    <a:pt x="597691" y="383127"/>
                    <a:pt x="599331" y="385306"/>
                  </a:cubicBezTo>
                  <a:cubicBezTo>
                    <a:pt x="600695" y="386934"/>
                    <a:pt x="601580" y="388849"/>
                    <a:pt x="601987" y="391004"/>
                  </a:cubicBezTo>
                  <a:cubicBezTo>
                    <a:pt x="602262" y="391962"/>
                    <a:pt x="602524" y="396319"/>
                    <a:pt x="602799" y="404076"/>
                  </a:cubicBezTo>
                  <a:lnTo>
                    <a:pt x="606892" y="415688"/>
                  </a:lnTo>
                  <a:cubicBezTo>
                    <a:pt x="608662" y="415688"/>
                    <a:pt x="609881" y="414539"/>
                    <a:pt x="610563" y="412217"/>
                  </a:cubicBezTo>
                  <a:cubicBezTo>
                    <a:pt x="611376" y="409775"/>
                    <a:pt x="613828" y="408625"/>
                    <a:pt x="617920" y="408769"/>
                  </a:cubicBezTo>
                  <a:cubicBezTo>
                    <a:pt x="620779" y="408889"/>
                    <a:pt x="623014" y="409703"/>
                    <a:pt x="624654" y="411211"/>
                  </a:cubicBezTo>
                  <a:cubicBezTo>
                    <a:pt x="628804" y="413390"/>
                    <a:pt x="631256" y="412360"/>
                    <a:pt x="634652" y="410182"/>
                  </a:cubicBezTo>
                  <a:lnTo>
                    <a:pt x="640573" y="407739"/>
                  </a:lnTo>
                  <a:cubicBezTo>
                    <a:pt x="640849" y="407739"/>
                    <a:pt x="642895" y="408697"/>
                    <a:pt x="646711" y="410589"/>
                  </a:cubicBezTo>
                  <a:lnTo>
                    <a:pt x="650383" y="410589"/>
                  </a:lnTo>
                  <a:cubicBezTo>
                    <a:pt x="652153" y="410589"/>
                    <a:pt x="653445" y="410924"/>
                    <a:pt x="654257" y="411618"/>
                  </a:cubicBezTo>
                  <a:cubicBezTo>
                    <a:pt x="654533" y="411762"/>
                    <a:pt x="655418" y="412432"/>
                    <a:pt x="656913" y="413653"/>
                  </a:cubicBezTo>
                  <a:cubicBezTo>
                    <a:pt x="658146" y="414874"/>
                    <a:pt x="659438" y="415353"/>
                    <a:pt x="660802" y="415090"/>
                  </a:cubicBezTo>
                  <a:cubicBezTo>
                    <a:pt x="661745" y="415090"/>
                    <a:pt x="664677" y="415353"/>
                    <a:pt x="669581" y="415904"/>
                  </a:cubicBezTo>
                  <a:lnTo>
                    <a:pt x="672237" y="415688"/>
                  </a:lnTo>
                  <a:cubicBezTo>
                    <a:pt x="672368" y="414874"/>
                    <a:pt x="673529" y="412767"/>
                    <a:pt x="675705" y="409367"/>
                  </a:cubicBezTo>
                  <a:lnTo>
                    <a:pt x="679986" y="403238"/>
                  </a:lnTo>
                  <a:cubicBezTo>
                    <a:pt x="683251" y="407069"/>
                    <a:pt x="687677" y="412504"/>
                    <a:pt x="693264" y="419567"/>
                  </a:cubicBezTo>
                  <a:cubicBezTo>
                    <a:pt x="692031" y="426629"/>
                    <a:pt x="690478" y="436230"/>
                    <a:pt x="688563" y="448321"/>
                  </a:cubicBezTo>
                  <a:lnTo>
                    <a:pt x="663949" y="590165"/>
                  </a:lnTo>
                  <a:lnTo>
                    <a:pt x="666304" y="590504"/>
                  </a:lnTo>
                  <a:lnTo>
                    <a:pt x="655288" y="656178"/>
                  </a:lnTo>
                  <a:lnTo>
                    <a:pt x="681808" y="662301"/>
                  </a:lnTo>
                  <a:cubicBezTo>
                    <a:pt x="704511" y="667182"/>
                    <a:pt x="728239" y="671602"/>
                    <a:pt x="752994" y="675560"/>
                  </a:cubicBezTo>
                  <a:cubicBezTo>
                    <a:pt x="738448" y="778063"/>
                    <a:pt x="725653" y="868532"/>
                    <a:pt x="714651" y="946985"/>
                  </a:cubicBezTo>
                  <a:lnTo>
                    <a:pt x="654533" y="1333436"/>
                  </a:lnTo>
                  <a:lnTo>
                    <a:pt x="546831" y="1317126"/>
                  </a:lnTo>
                  <a:lnTo>
                    <a:pt x="351227" y="1194172"/>
                  </a:lnTo>
                  <a:lnTo>
                    <a:pt x="361011" y="1182755"/>
                  </a:lnTo>
                  <a:cubicBezTo>
                    <a:pt x="362508" y="1183157"/>
                    <a:pt x="365170" y="1182956"/>
                    <a:pt x="368981" y="1182130"/>
                  </a:cubicBezTo>
                  <a:lnTo>
                    <a:pt x="369571" y="1181558"/>
                  </a:lnTo>
                  <a:lnTo>
                    <a:pt x="362372" y="1182120"/>
                  </a:lnTo>
                  <a:lnTo>
                    <a:pt x="229464" y="1161721"/>
                  </a:lnTo>
                  <a:cubicBezTo>
                    <a:pt x="229060" y="1160099"/>
                    <a:pt x="228388" y="1158615"/>
                    <a:pt x="227427" y="1157269"/>
                  </a:cubicBezTo>
                  <a:lnTo>
                    <a:pt x="224967" y="1152575"/>
                  </a:lnTo>
                  <a:cubicBezTo>
                    <a:pt x="224967" y="1149157"/>
                    <a:pt x="225179" y="1146569"/>
                    <a:pt x="225582" y="1144808"/>
                  </a:cubicBezTo>
                  <a:cubicBezTo>
                    <a:pt x="226005" y="1142358"/>
                    <a:pt x="226543" y="1139355"/>
                    <a:pt x="227215" y="1135834"/>
                  </a:cubicBezTo>
                  <a:lnTo>
                    <a:pt x="227215" y="1134212"/>
                  </a:lnTo>
                  <a:cubicBezTo>
                    <a:pt x="227638" y="1126860"/>
                    <a:pt x="226946" y="1120130"/>
                    <a:pt x="225179" y="1114020"/>
                  </a:cubicBezTo>
                  <a:cubicBezTo>
                    <a:pt x="223545" y="1108049"/>
                    <a:pt x="221086" y="1103493"/>
                    <a:pt x="217839" y="1100352"/>
                  </a:cubicBezTo>
                  <a:lnTo>
                    <a:pt x="199661" y="1076502"/>
                  </a:lnTo>
                  <a:cubicBezTo>
                    <a:pt x="198432" y="1074741"/>
                    <a:pt x="197356" y="1073153"/>
                    <a:pt x="196395" y="1071807"/>
                  </a:cubicBezTo>
                  <a:cubicBezTo>
                    <a:pt x="194762" y="1068804"/>
                    <a:pt x="192917" y="1067389"/>
                    <a:pt x="190880" y="1067527"/>
                  </a:cubicBezTo>
                  <a:cubicBezTo>
                    <a:pt x="189516" y="1067527"/>
                    <a:pt x="188286" y="1067942"/>
                    <a:pt x="187210" y="1068735"/>
                  </a:cubicBezTo>
                  <a:cubicBezTo>
                    <a:pt x="181619" y="1069978"/>
                    <a:pt x="179928" y="1068874"/>
                    <a:pt x="180062" y="1066699"/>
                  </a:cubicBezTo>
                  <a:cubicBezTo>
                    <a:pt x="180331" y="1061004"/>
                    <a:pt x="180466" y="1056448"/>
                    <a:pt x="180466" y="1053031"/>
                  </a:cubicBezTo>
                  <a:cubicBezTo>
                    <a:pt x="180331" y="1050454"/>
                    <a:pt x="180197" y="1047876"/>
                    <a:pt x="180062" y="1045299"/>
                  </a:cubicBezTo>
                  <a:cubicBezTo>
                    <a:pt x="179524" y="1044471"/>
                    <a:pt x="177545" y="1044057"/>
                    <a:pt x="174144" y="1044057"/>
                  </a:cubicBezTo>
                  <a:lnTo>
                    <a:pt x="158426" y="1042641"/>
                  </a:lnTo>
                  <a:cubicBezTo>
                    <a:pt x="154891" y="1039639"/>
                    <a:pt x="152028" y="1037257"/>
                    <a:pt x="149857" y="1035497"/>
                  </a:cubicBezTo>
                  <a:lnTo>
                    <a:pt x="142497" y="1028766"/>
                  </a:lnTo>
                  <a:cubicBezTo>
                    <a:pt x="142093" y="1027696"/>
                    <a:pt x="141536" y="1024969"/>
                    <a:pt x="140864" y="1020620"/>
                  </a:cubicBezTo>
                  <a:cubicBezTo>
                    <a:pt x="140595" y="1017341"/>
                    <a:pt x="139711" y="1014856"/>
                    <a:pt x="138212" y="1013061"/>
                  </a:cubicBezTo>
                  <a:cubicBezTo>
                    <a:pt x="135752" y="1010231"/>
                    <a:pt x="133389" y="1008264"/>
                    <a:pt x="131064" y="1007159"/>
                  </a:cubicBezTo>
                  <a:cubicBezTo>
                    <a:pt x="128470" y="1006055"/>
                    <a:pt x="125223" y="1005468"/>
                    <a:pt x="121264" y="1005330"/>
                  </a:cubicBezTo>
                  <a:cubicBezTo>
                    <a:pt x="118401" y="1005468"/>
                    <a:pt x="115481" y="1004225"/>
                    <a:pt x="112483" y="1001671"/>
                  </a:cubicBezTo>
                  <a:lnTo>
                    <a:pt x="105950" y="995734"/>
                  </a:lnTo>
                  <a:lnTo>
                    <a:pt x="97380" y="994526"/>
                  </a:lnTo>
                  <a:cubicBezTo>
                    <a:pt x="93153" y="993560"/>
                    <a:pt x="90040" y="992421"/>
                    <a:pt x="87984" y="991040"/>
                  </a:cubicBezTo>
                  <a:lnTo>
                    <a:pt x="80029" y="985138"/>
                  </a:lnTo>
                  <a:cubicBezTo>
                    <a:pt x="77993" y="982963"/>
                    <a:pt x="77032" y="979961"/>
                    <a:pt x="77166" y="976164"/>
                  </a:cubicBezTo>
                  <a:cubicBezTo>
                    <a:pt x="77166" y="975094"/>
                    <a:pt x="77858" y="973230"/>
                    <a:pt x="79203" y="970676"/>
                  </a:cubicBezTo>
                  <a:cubicBezTo>
                    <a:pt x="80836" y="967949"/>
                    <a:pt x="81932" y="965429"/>
                    <a:pt x="82470" y="963117"/>
                  </a:cubicBezTo>
                  <a:cubicBezTo>
                    <a:pt x="82758" y="960666"/>
                    <a:pt x="83354" y="957801"/>
                    <a:pt x="84314" y="954557"/>
                  </a:cubicBezTo>
                  <a:lnTo>
                    <a:pt x="86351" y="948033"/>
                  </a:lnTo>
                  <a:cubicBezTo>
                    <a:pt x="86351" y="945721"/>
                    <a:pt x="86293" y="943995"/>
                    <a:pt x="86159" y="942925"/>
                  </a:cubicBezTo>
                  <a:cubicBezTo>
                    <a:pt x="86024" y="941165"/>
                    <a:pt x="84987" y="940129"/>
                    <a:pt x="83085" y="939853"/>
                  </a:cubicBezTo>
                  <a:cubicBezTo>
                    <a:pt x="80087" y="939473"/>
                    <a:pt x="78262" y="938645"/>
                    <a:pt x="77570" y="937437"/>
                  </a:cubicBezTo>
                  <a:cubicBezTo>
                    <a:pt x="77032" y="936747"/>
                    <a:pt x="76763" y="934917"/>
                    <a:pt x="76763" y="931915"/>
                  </a:cubicBezTo>
                  <a:cubicBezTo>
                    <a:pt x="76897" y="929740"/>
                    <a:pt x="77570" y="928118"/>
                    <a:pt x="78800" y="927013"/>
                  </a:cubicBezTo>
                  <a:cubicBezTo>
                    <a:pt x="80644" y="924286"/>
                    <a:pt x="80298" y="923493"/>
                    <a:pt x="79626" y="922526"/>
                  </a:cubicBezTo>
                  <a:cubicBezTo>
                    <a:pt x="78934" y="921456"/>
                    <a:pt x="78319" y="920559"/>
                    <a:pt x="77781" y="919903"/>
                  </a:cubicBezTo>
                  <a:cubicBezTo>
                    <a:pt x="77378" y="919627"/>
                    <a:pt x="76225" y="918798"/>
                    <a:pt x="74303" y="917418"/>
                  </a:cubicBezTo>
                  <a:cubicBezTo>
                    <a:pt x="72958" y="916624"/>
                    <a:pt x="72132" y="915865"/>
                    <a:pt x="71863" y="915174"/>
                  </a:cubicBezTo>
                  <a:cubicBezTo>
                    <a:pt x="71863" y="914518"/>
                    <a:pt x="71786" y="913103"/>
                    <a:pt x="71652" y="910894"/>
                  </a:cubicBezTo>
                  <a:cubicBezTo>
                    <a:pt x="71248" y="908996"/>
                    <a:pt x="70902" y="907581"/>
                    <a:pt x="70633" y="906614"/>
                  </a:cubicBezTo>
                  <a:cubicBezTo>
                    <a:pt x="70230" y="905682"/>
                    <a:pt x="69481" y="904371"/>
                    <a:pt x="68385" y="902749"/>
                  </a:cubicBezTo>
                  <a:cubicBezTo>
                    <a:pt x="64100" y="897053"/>
                    <a:pt x="62409" y="893429"/>
                    <a:pt x="61045" y="889494"/>
                  </a:cubicBezTo>
                  <a:cubicBezTo>
                    <a:pt x="60084" y="886526"/>
                    <a:pt x="59066" y="881901"/>
                    <a:pt x="57971" y="875619"/>
                  </a:cubicBezTo>
                  <a:cubicBezTo>
                    <a:pt x="57164" y="871684"/>
                    <a:pt x="55262" y="867335"/>
                    <a:pt x="52264" y="862572"/>
                  </a:cubicBezTo>
                  <a:cubicBezTo>
                    <a:pt x="48460" y="857291"/>
                    <a:pt x="45789" y="853253"/>
                    <a:pt x="44309" y="850561"/>
                  </a:cubicBezTo>
                  <a:cubicBezTo>
                    <a:pt x="44713" y="842737"/>
                    <a:pt x="45116" y="834914"/>
                    <a:pt x="45520" y="827090"/>
                  </a:cubicBezTo>
                  <a:cubicBezTo>
                    <a:pt x="48921" y="824915"/>
                    <a:pt x="51438" y="823362"/>
                    <a:pt x="53071" y="822396"/>
                  </a:cubicBezTo>
                  <a:cubicBezTo>
                    <a:pt x="55934" y="820773"/>
                    <a:pt x="57375" y="818806"/>
                    <a:pt x="57375" y="816493"/>
                  </a:cubicBezTo>
                  <a:lnTo>
                    <a:pt x="55319" y="801617"/>
                  </a:lnTo>
                  <a:lnTo>
                    <a:pt x="48383" y="802204"/>
                  </a:lnTo>
                  <a:cubicBezTo>
                    <a:pt x="44309" y="802342"/>
                    <a:pt x="41638" y="800927"/>
                    <a:pt x="40428" y="797924"/>
                  </a:cubicBezTo>
                  <a:lnTo>
                    <a:pt x="37565" y="790606"/>
                  </a:lnTo>
                  <a:lnTo>
                    <a:pt x="37565" y="790399"/>
                  </a:lnTo>
                  <a:cubicBezTo>
                    <a:pt x="36873" y="788639"/>
                    <a:pt x="36335" y="787120"/>
                    <a:pt x="35931" y="785912"/>
                  </a:cubicBezTo>
                  <a:lnTo>
                    <a:pt x="34510" y="780597"/>
                  </a:lnTo>
                  <a:cubicBezTo>
                    <a:pt x="34779" y="778975"/>
                    <a:pt x="35393" y="776869"/>
                    <a:pt x="36335" y="774280"/>
                  </a:cubicBezTo>
                  <a:cubicBezTo>
                    <a:pt x="37430" y="771692"/>
                    <a:pt x="38045" y="769172"/>
                    <a:pt x="38180" y="766721"/>
                  </a:cubicBezTo>
                  <a:cubicBezTo>
                    <a:pt x="38180" y="765375"/>
                    <a:pt x="37834" y="763270"/>
                    <a:pt x="37161" y="760405"/>
                  </a:cubicBezTo>
                  <a:lnTo>
                    <a:pt x="35720" y="754710"/>
                  </a:lnTo>
                  <a:cubicBezTo>
                    <a:pt x="35855" y="753364"/>
                    <a:pt x="36143" y="751362"/>
                    <a:pt x="36546" y="748773"/>
                  </a:cubicBezTo>
                  <a:cubicBezTo>
                    <a:pt x="37219" y="744700"/>
                    <a:pt x="37699" y="744528"/>
                    <a:pt x="38372" y="744528"/>
                  </a:cubicBezTo>
                  <a:cubicBezTo>
                    <a:pt x="39736" y="744321"/>
                    <a:pt x="40428" y="744321"/>
                    <a:pt x="41638" y="744321"/>
                  </a:cubicBezTo>
                  <a:cubicBezTo>
                    <a:pt x="43137" y="744700"/>
                    <a:pt x="44175" y="745391"/>
                    <a:pt x="44713" y="746357"/>
                  </a:cubicBezTo>
                  <a:cubicBezTo>
                    <a:pt x="45789" y="747841"/>
                    <a:pt x="46692" y="750154"/>
                    <a:pt x="47364" y="753260"/>
                  </a:cubicBezTo>
                  <a:cubicBezTo>
                    <a:pt x="49132" y="760750"/>
                    <a:pt x="51918" y="764409"/>
                    <a:pt x="55742" y="764305"/>
                  </a:cubicBezTo>
                  <a:cubicBezTo>
                    <a:pt x="56011" y="763339"/>
                    <a:pt x="56203" y="762303"/>
                    <a:pt x="56338" y="761233"/>
                  </a:cubicBezTo>
                  <a:cubicBezTo>
                    <a:pt x="56203" y="759749"/>
                    <a:pt x="56145" y="758438"/>
                    <a:pt x="56145" y="757368"/>
                  </a:cubicBezTo>
                  <a:lnTo>
                    <a:pt x="54916" y="748601"/>
                  </a:lnTo>
                  <a:cubicBezTo>
                    <a:pt x="54647" y="748186"/>
                    <a:pt x="53955" y="747772"/>
                    <a:pt x="52879" y="747358"/>
                  </a:cubicBezTo>
                  <a:cubicBezTo>
                    <a:pt x="52053" y="746944"/>
                    <a:pt x="51649" y="746288"/>
                    <a:pt x="51649" y="745322"/>
                  </a:cubicBezTo>
                  <a:lnTo>
                    <a:pt x="51649" y="739212"/>
                  </a:lnTo>
                  <a:cubicBezTo>
                    <a:pt x="51515" y="738246"/>
                    <a:pt x="51034" y="736762"/>
                    <a:pt x="50227" y="734725"/>
                  </a:cubicBezTo>
                  <a:cubicBezTo>
                    <a:pt x="49267" y="733379"/>
                    <a:pt x="48786" y="732275"/>
                    <a:pt x="48786" y="731446"/>
                  </a:cubicBezTo>
                  <a:cubicBezTo>
                    <a:pt x="48921" y="728616"/>
                    <a:pt x="50842" y="726890"/>
                    <a:pt x="54512" y="726372"/>
                  </a:cubicBezTo>
                  <a:lnTo>
                    <a:pt x="59815" y="725130"/>
                  </a:lnTo>
                  <a:cubicBezTo>
                    <a:pt x="59815" y="724992"/>
                    <a:pt x="59277" y="724267"/>
                    <a:pt x="58182" y="722886"/>
                  </a:cubicBezTo>
                  <a:cubicBezTo>
                    <a:pt x="55050" y="719987"/>
                    <a:pt x="53763" y="719090"/>
                    <a:pt x="51861" y="717985"/>
                  </a:cubicBezTo>
                  <a:cubicBezTo>
                    <a:pt x="48786" y="718123"/>
                    <a:pt x="47979" y="722403"/>
                    <a:pt x="46749" y="729617"/>
                  </a:cubicBezTo>
                  <a:lnTo>
                    <a:pt x="40831" y="739212"/>
                  </a:lnTo>
                  <a:lnTo>
                    <a:pt x="39601" y="738798"/>
                  </a:lnTo>
                  <a:lnTo>
                    <a:pt x="39409" y="738591"/>
                  </a:lnTo>
                  <a:cubicBezTo>
                    <a:pt x="39256" y="737763"/>
                    <a:pt x="38525" y="736486"/>
                    <a:pt x="37161" y="734725"/>
                  </a:cubicBezTo>
                  <a:cubicBezTo>
                    <a:pt x="35259" y="732275"/>
                    <a:pt x="33760" y="729962"/>
                    <a:pt x="32665" y="727788"/>
                  </a:cubicBezTo>
                  <a:lnTo>
                    <a:pt x="26747" y="719435"/>
                  </a:lnTo>
                  <a:lnTo>
                    <a:pt x="23884" y="717812"/>
                  </a:lnTo>
                  <a:cubicBezTo>
                    <a:pt x="21578" y="713705"/>
                    <a:pt x="22654" y="711669"/>
                    <a:pt x="24710" y="709632"/>
                  </a:cubicBezTo>
                  <a:cubicBezTo>
                    <a:pt x="26478" y="707596"/>
                    <a:pt x="27419" y="704938"/>
                    <a:pt x="27554" y="701694"/>
                  </a:cubicBezTo>
                  <a:cubicBezTo>
                    <a:pt x="27554" y="699933"/>
                    <a:pt x="26670" y="698069"/>
                    <a:pt x="24902" y="696171"/>
                  </a:cubicBezTo>
                  <a:cubicBezTo>
                    <a:pt x="22462" y="691891"/>
                    <a:pt x="23000" y="690407"/>
                    <a:pt x="24095" y="687818"/>
                  </a:cubicBezTo>
                  <a:cubicBezTo>
                    <a:pt x="24633" y="685368"/>
                    <a:pt x="24095" y="683538"/>
                    <a:pt x="22462" y="682330"/>
                  </a:cubicBezTo>
                  <a:lnTo>
                    <a:pt x="17159" y="677636"/>
                  </a:lnTo>
                  <a:cubicBezTo>
                    <a:pt x="16063" y="675979"/>
                    <a:pt x="15103" y="673943"/>
                    <a:pt x="14296" y="671492"/>
                  </a:cubicBezTo>
                  <a:lnTo>
                    <a:pt x="12451" y="665797"/>
                  </a:lnTo>
                  <a:cubicBezTo>
                    <a:pt x="10818" y="662380"/>
                    <a:pt x="8377" y="658790"/>
                    <a:pt x="5111" y="654994"/>
                  </a:cubicBezTo>
                  <a:cubicBezTo>
                    <a:pt x="3055" y="652267"/>
                    <a:pt x="2113" y="649126"/>
                    <a:pt x="2248" y="645605"/>
                  </a:cubicBezTo>
                  <a:cubicBezTo>
                    <a:pt x="2382" y="643155"/>
                    <a:pt x="3132" y="641463"/>
                    <a:pt x="4496" y="640497"/>
                  </a:cubicBezTo>
                  <a:cubicBezTo>
                    <a:pt x="5995" y="639703"/>
                    <a:pt x="6744" y="637114"/>
                    <a:pt x="6744" y="632765"/>
                  </a:cubicBezTo>
                  <a:lnTo>
                    <a:pt x="6744" y="628485"/>
                  </a:lnTo>
                  <a:cubicBezTo>
                    <a:pt x="6610" y="625897"/>
                    <a:pt x="6533" y="623170"/>
                    <a:pt x="6533" y="620305"/>
                  </a:cubicBezTo>
                  <a:cubicBezTo>
                    <a:pt x="6808" y="617452"/>
                    <a:pt x="7084" y="614598"/>
                    <a:pt x="7359" y="611745"/>
                  </a:cubicBezTo>
                  <a:cubicBezTo>
                    <a:pt x="9261" y="608086"/>
                    <a:pt x="10760" y="605153"/>
                    <a:pt x="11836" y="602978"/>
                  </a:cubicBezTo>
                  <a:cubicBezTo>
                    <a:pt x="14027" y="599319"/>
                    <a:pt x="15103" y="595592"/>
                    <a:pt x="15103" y="591760"/>
                  </a:cubicBezTo>
                  <a:cubicBezTo>
                    <a:pt x="15103" y="590138"/>
                    <a:pt x="14910" y="587550"/>
                    <a:pt x="14488" y="584029"/>
                  </a:cubicBezTo>
                  <a:lnTo>
                    <a:pt x="13873" y="578299"/>
                  </a:lnTo>
                  <a:cubicBezTo>
                    <a:pt x="14430" y="575469"/>
                    <a:pt x="13335" y="572190"/>
                    <a:pt x="10626" y="568531"/>
                  </a:cubicBezTo>
                  <a:cubicBezTo>
                    <a:pt x="8166" y="564976"/>
                    <a:pt x="5860" y="561525"/>
                    <a:pt x="3670" y="558107"/>
                  </a:cubicBezTo>
                  <a:lnTo>
                    <a:pt x="0" y="551377"/>
                  </a:lnTo>
                  <a:lnTo>
                    <a:pt x="0" y="550997"/>
                  </a:lnTo>
                  <a:cubicBezTo>
                    <a:pt x="672" y="542403"/>
                    <a:pt x="2306" y="535810"/>
                    <a:pt x="4900" y="531220"/>
                  </a:cubicBezTo>
                  <a:cubicBezTo>
                    <a:pt x="7205" y="526974"/>
                    <a:pt x="10203" y="523454"/>
                    <a:pt x="13873" y="520589"/>
                  </a:cubicBezTo>
                  <a:cubicBezTo>
                    <a:pt x="15794" y="519105"/>
                    <a:pt x="17293" y="517758"/>
                    <a:pt x="18369" y="516516"/>
                  </a:cubicBezTo>
                  <a:cubicBezTo>
                    <a:pt x="18369" y="516102"/>
                    <a:pt x="18504" y="515377"/>
                    <a:pt x="18773" y="514272"/>
                  </a:cubicBezTo>
                  <a:cubicBezTo>
                    <a:pt x="20137" y="510061"/>
                    <a:pt x="21443" y="508163"/>
                    <a:pt x="23077" y="506127"/>
                  </a:cubicBezTo>
                  <a:cubicBezTo>
                    <a:pt x="23615" y="504884"/>
                    <a:pt x="23884" y="503607"/>
                    <a:pt x="23884" y="502261"/>
                  </a:cubicBezTo>
                  <a:lnTo>
                    <a:pt x="23692" y="496738"/>
                  </a:lnTo>
                  <a:cubicBezTo>
                    <a:pt x="23692" y="494702"/>
                    <a:pt x="25786" y="491319"/>
                    <a:pt x="30013" y="486556"/>
                  </a:cubicBezTo>
                  <a:cubicBezTo>
                    <a:pt x="34375" y="481931"/>
                    <a:pt x="36546" y="476477"/>
                    <a:pt x="36546" y="470230"/>
                  </a:cubicBezTo>
                  <a:lnTo>
                    <a:pt x="36546" y="462671"/>
                  </a:lnTo>
                  <a:cubicBezTo>
                    <a:pt x="36412" y="462291"/>
                    <a:pt x="36335" y="461946"/>
                    <a:pt x="36335" y="461670"/>
                  </a:cubicBezTo>
                  <a:cubicBezTo>
                    <a:pt x="36066" y="458391"/>
                    <a:pt x="35931" y="455561"/>
                    <a:pt x="35931" y="453110"/>
                  </a:cubicBezTo>
                  <a:cubicBezTo>
                    <a:pt x="36066" y="448761"/>
                    <a:pt x="36950" y="445206"/>
                    <a:pt x="38583" y="442514"/>
                  </a:cubicBezTo>
                  <a:lnTo>
                    <a:pt x="41043" y="436991"/>
                  </a:lnTo>
                  <a:lnTo>
                    <a:pt x="41650" y="437186"/>
                  </a:lnTo>
                  <a:cubicBezTo>
                    <a:pt x="41646" y="436857"/>
                    <a:pt x="41455" y="436701"/>
                    <a:pt x="41239" y="436549"/>
                  </a:cubicBezTo>
                  <a:cubicBezTo>
                    <a:pt x="40020" y="435596"/>
                    <a:pt x="38860" y="434711"/>
                    <a:pt x="37778" y="433894"/>
                  </a:cubicBezTo>
                  <a:cubicBezTo>
                    <a:pt x="37365" y="433486"/>
                    <a:pt x="37169" y="432941"/>
                    <a:pt x="37169" y="432261"/>
                  </a:cubicBezTo>
                  <a:cubicBezTo>
                    <a:pt x="37234" y="431240"/>
                    <a:pt x="37300" y="430219"/>
                    <a:pt x="37365" y="429198"/>
                  </a:cubicBezTo>
                  <a:lnTo>
                    <a:pt x="36756" y="422272"/>
                  </a:lnTo>
                  <a:cubicBezTo>
                    <a:pt x="36821" y="421115"/>
                    <a:pt x="36887" y="419957"/>
                    <a:pt x="36952" y="418800"/>
                  </a:cubicBezTo>
                  <a:cubicBezTo>
                    <a:pt x="36887" y="416696"/>
                    <a:pt x="36821" y="414591"/>
                    <a:pt x="36756" y="412487"/>
                  </a:cubicBezTo>
                  <a:cubicBezTo>
                    <a:pt x="36893" y="410173"/>
                    <a:pt x="38113" y="408063"/>
                    <a:pt x="40433" y="406174"/>
                  </a:cubicBezTo>
                  <a:cubicBezTo>
                    <a:pt x="42734" y="404132"/>
                    <a:pt x="44169" y="401886"/>
                    <a:pt x="44720" y="399435"/>
                  </a:cubicBezTo>
                  <a:cubicBezTo>
                    <a:pt x="44582" y="397938"/>
                    <a:pt x="44385" y="394688"/>
                    <a:pt x="44110" y="389651"/>
                  </a:cubicBezTo>
                  <a:cubicBezTo>
                    <a:pt x="43972" y="385039"/>
                    <a:pt x="43894" y="381295"/>
                    <a:pt x="43894" y="378437"/>
                  </a:cubicBezTo>
                  <a:cubicBezTo>
                    <a:pt x="44169" y="375459"/>
                    <a:pt x="45251" y="373008"/>
                    <a:pt x="47158" y="371102"/>
                  </a:cubicBezTo>
                  <a:cubicBezTo>
                    <a:pt x="50835" y="367699"/>
                    <a:pt x="53686" y="364313"/>
                    <a:pt x="55731" y="360909"/>
                  </a:cubicBezTo>
                  <a:cubicBezTo>
                    <a:pt x="56282" y="359956"/>
                    <a:pt x="56892" y="358255"/>
                    <a:pt x="57580" y="355804"/>
                  </a:cubicBezTo>
                  <a:cubicBezTo>
                    <a:pt x="60372" y="351125"/>
                    <a:pt x="61454" y="350376"/>
                    <a:pt x="62673" y="349695"/>
                  </a:cubicBezTo>
                  <a:cubicBezTo>
                    <a:pt x="64030" y="348878"/>
                    <a:pt x="65131" y="348470"/>
                    <a:pt x="65937" y="348470"/>
                  </a:cubicBezTo>
                  <a:cubicBezTo>
                    <a:pt x="66900" y="348742"/>
                    <a:pt x="67707" y="348810"/>
                    <a:pt x="68395" y="348674"/>
                  </a:cubicBezTo>
                  <a:cubicBezTo>
                    <a:pt x="69614" y="348674"/>
                    <a:pt x="70224" y="348266"/>
                    <a:pt x="70224" y="347449"/>
                  </a:cubicBezTo>
                  <a:cubicBezTo>
                    <a:pt x="70224" y="346632"/>
                    <a:pt x="69417" y="345883"/>
                    <a:pt x="67785" y="345203"/>
                  </a:cubicBezTo>
                  <a:cubicBezTo>
                    <a:pt x="66153" y="344811"/>
                    <a:pt x="65406" y="344131"/>
                    <a:pt x="65524" y="343178"/>
                  </a:cubicBezTo>
                  <a:lnTo>
                    <a:pt x="73095" y="333376"/>
                  </a:lnTo>
                  <a:lnTo>
                    <a:pt x="73291" y="333376"/>
                  </a:lnTo>
                  <a:cubicBezTo>
                    <a:pt x="74648" y="332440"/>
                    <a:pt x="76221" y="329922"/>
                    <a:pt x="77991" y="325838"/>
                  </a:cubicBezTo>
                  <a:cubicBezTo>
                    <a:pt x="80154" y="320273"/>
                    <a:pt x="81727" y="316206"/>
                    <a:pt x="82671" y="313619"/>
                  </a:cubicBezTo>
                  <a:lnTo>
                    <a:pt x="87980" y="303018"/>
                  </a:lnTo>
                  <a:cubicBezTo>
                    <a:pt x="90025" y="298253"/>
                    <a:pt x="91461" y="294322"/>
                    <a:pt x="92267" y="291191"/>
                  </a:cubicBezTo>
                  <a:cubicBezTo>
                    <a:pt x="92955" y="288741"/>
                    <a:pt x="94390" y="285406"/>
                    <a:pt x="96553" y="281202"/>
                  </a:cubicBezTo>
                  <a:lnTo>
                    <a:pt x="99621" y="274481"/>
                  </a:lnTo>
                  <a:cubicBezTo>
                    <a:pt x="100703" y="269035"/>
                    <a:pt x="101863" y="265019"/>
                    <a:pt x="103082" y="262450"/>
                  </a:cubicBezTo>
                  <a:cubicBezTo>
                    <a:pt x="103495" y="261089"/>
                    <a:pt x="104852" y="258366"/>
                    <a:pt x="107172" y="254299"/>
                  </a:cubicBezTo>
                  <a:lnTo>
                    <a:pt x="112481" y="243697"/>
                  </a:lnTo>
                  <a:cubicBezTo>
                    <a:pt x="113563" y="241792"/>
                    <a:pt x="115136" y="237980"/>
                    <a:pt x="117181" y="232279"/>
                  </a:cubicBezTo>
                  <a:cubicBezTo>
                    <a:pt x="119069" y="227787"/>
                    <a:pt x="121999" y="222835"/>
                    <a:pt x="125951" y="217389"/>
                  </a:cubicBezTo>
                  <a:lnTo>
                    <a:pt x="136156" y="202925"/>
                  </a:lnTo>
                  <a:cubicBezTo>
                    <a:pt x="135606" y="198841"/>
                    <a:pt x="136491" y="192324"/>
                    <a:pt x="138811" y="183339"/>
                  </a:cubicBezTo>
                  <a:cubicBezTo>
                    <a:pt x="141662" y="172754"/>
                    <a:pt x="145005" y="167445"/>
                    <a:pt x="148801" y="167445"/>
                  </a:cubicBezTo>
                  <a:cubicBezTo>
                    <a:pt x="150040" y="167445"/>
                    <a:pt x="153638" y="168534"/>
                    <a:pt x="159616" y="170712"/>
                  </a:cubicBezTo>
                  <a:lnTo>
                    <a:pt x="158851" y="156924"/>
                  </a:lnTo>
                  <a:cubicBezTo>
                    <a:pt x="154131" y="152249"/>
                    <a:pt x="147025" y="150469"/>
                    <a:pt x="147025" y="145709"/>
                  </a:cubicBezTo>
                  <a:cubicBezTo>
                    <a:pt x="147025" y="141096"/>
                    <a:pt x="149477" y="137967"/>
                    <a:pt x="154364" y="136335"/>
                  </a:cubicBezTo>
                  <a:lnTo>
                    <a:pt x="161511" y="131042"/>
                  </a:lnTo>
                  <a:cubicBezTo>
                    <a:pt x="161094" y="129954"/>
                    <a:pt x="160902" y="129064"/>
                    <a:pt x="160902" y="128384"/>
                  </a:cubicBezTo>
                  <a:cubicBezTo>
                    <a:pt x="160630" y="128112"/>
                    <a:pt x="160421" y="127914"/>
                    <a:pt x="160277" y="127778"/>
                  </a:cubicBezTo>
                  <a:cubicBezTo>
                    <a:pt x="158931" y="126146"/>
                    <a:pt x="157153" y="124241"/>
                    <a:pt x="154973" y="122077"/>
                  </a:cubicBezTo>
                  <a:cubicBezTo>
                    <a:pt x="155246" y="120445"/>
                    <a:pt x="157024" y="118132"/>
                    <a:pt x="160277" y="115140"/>
                  </a:cubicBezTo>
                  <a:cubicBezTo>
                    <a:pt x="163546" y="112432"/>
                    <a:pt x="165181" y="110119"/>
                    <a:pt x="165181" y="108215"/>
                  </a:cubicBezTo>
                  <a:lnTo>
                    <a:pt x="161303" y="104146"/>
                  </a:lnTo>
                  <a:cubicBezTo>
                    <a:pt x="158851" y="105358"/>
                    <a:pt x="158386" y="105086"/>
                    <a:pt x="157842" y="104542"/>
                  </a:cubicBezTo>
                  <a:cubicBezTo>
                    <a:pt x="157297" y="103862"/>
                    <a:pt x="157024" y="103120"/>
                    <a:pt x="157024" y="102304"/>
                  </a:cubicBezTo>
                  <a:lnTo>
                    <a:pt x="160694" y="55437"/>
                  </a:lnTo>
                  <a:cubicBezTo>
                    <a:pt x="160625" y="47622"/>
                    <a:pt x="160555" y="39806"/>
                    <a:pt x="160486" y="31991"/>
                  </a:cubicBezTo>
                  <a:cubicBezTo>
                    <a:pt x="160486" y="27786"/>
                    <a:pt x="161976" y="23162"/>
                    <a:pt x="164972" y="18141"/>
                  </a:cubicBezTo>
                  <a:lnTo>
                    <a:pt x="171911" y="11204"/>
                  </a:lnTo>
                  <a:cubicBezTo>
                    <a:pt x="175180" y="11204"/>
                    <a:pt x="180339" y="14740"/>
                    <a:pt x="187406" y="21801"/>
                  </a:cubicBezTo>
                  <a:cubicBezTo>
                    <a:pt x="195562" y="29691"/>
                    <a:pt x="203382" y="34786"/>
                    <a:pt x="210866" y="37086"/>
                  </a:cubicBezTo>
                  <a:cubicBezTo>
                    <a:pt x="213718" y="37902"/>
                    <a:pt x="216506" y="39262"/>
                    <a:pt x="219230" y="41166"/>
                  </a:cubicBezTo>
                  <a:lnTo>
                    <a:pt x="226778" y="47486"/>
                  </a:lnTo>
                  <a:cubicBezTo>
                    <a:pt x="228412" y="48846"/>
                    <a:pt x="231537" y="50478"/>
                    <a:pt x="236152" y="52370"/>
                  </a:cubicBezTo>
                  <a:cubicBezTo>
                    <a:pt x="238475" y="53458"/>
                    <a:pt x="239629" y="55499"/>
                    <a:pt x="239629" y="58491"/>
                  </a:cubicBezTo>
                  <a:lnTo>
                    <a:pt x="239629" y="63376"/>
                  </a:lnTo>
                  <a:cubicBezTo>
                    <a:pt x="239356" y="64736"/>
                    <a:pt x="238331" y="66096"/>
                    <a:pt x="236568" y="67457"/>
                  </a:cubicBezTo>
                  <a:cubicBezTo>
                    <a:pt x="235479" y="68273"/>
                    <a:pt x="233716" y="69089"/>
                    <a:pt x="231264" y="69905"/>
                  </a:cubicBezTo>
                  <a:lnTo>
                    <a:pt x="216778" y="82741"/>
                  </a:lnTo>
                  <a:cubicBezTo>
                    <a:pt x="215016" y="85597"/>
                    <a:pt x="214134" y="89196"/>
                    <a:pt x="214134" y="93536"/>
                  </a:cubicBezTo>
                  <a:cubicBezTo>
                    <a:pt x="214268" y="94624"/>
                    <a:pt x="214401" y="95713"/>
                    <a:pt x="214535" y="96801"/>
                  </a:cubicBezTo>
                  <a:lnTo>
                    <a:pt x="216378" y="96801"/>
                  </a:lnTo>
                  <a:cubicBezTo>
                    <a:pt x="216778" y="96529"/>
                    <a:pt x="221329" y="92720"/>
                    <a:pt x="230046" y="85387"/>
                  </a:cubicBezTo>
                  <a:lnTo>
                    <a:pt x="243298" y="75198"/>
                  </a:lnTo>
                  <a:cubicBezTo>
                    <a:pt x="244116" y="75198"/>
                    <a:pt x="245269" y="76014"/>
                    <a:pt x="246760" y="77646"/>
                  </a:cubicBezTo>
                  <a:cubicBezTo>
                    <a:pt x="252336" y="73640"/>
                    <a:pt x="254179" y="68001"/>
                    <a:pt x="255541" y="63376"/>
                  </a:cubicBezTo>
                  <a:cubicBezTo>
                    <a:pt x="258249" y="54683"/>
                    <a:pt x="259611" y="48030"/>
                    <a:pt x="259611" y="43405"/>
                  </a:cubicBezTo>
                  <a:cubicBezTo>
                    <a:pt x="259611" y="41500"/>
                    <a:pt x="258730" y="39880"/>
                    <a:pt x="256967" y="38520"/>
                  </a:cubicBezTo>
                  <a:cubicBezTo>
                    <a:pt x="254916" y="37296"/>
                    <a:pt x="253906" y="35861"/>
                    <a:pt x="253906" y="34242"/>
                  </a:cubicBezTo>
                  <a:cubicBezTo>
                    <a:pt x="253906" y="32201"/>
                    <a:pt x="254916" y="30841"/>
                    <a:pt x="256967" y="30161"/>
                  </a:cubicBezTo>
                  <a:lnTo>
                    <a:pt x="262063" y="27712"/>
                  </a:lnTo>
                  <a:lnTo>
                    <a:pt x="264915" y="23026"/>
                  </a:lnTo>
                  <a:cubicBezTo>
                    <a:pt x="265332" y="22890"/>
                    <a:pt x="266341" y="22754"/>
                    <a:pt x="267976" y="22618"/>
                  </a:cubicBezTo>
                  <a:cubicBezTo>
                    <a:pt x="269610" y="22345"/>
                    <a:pt x="270427" y="21740"/>
                    <a:pt x="270427" y="20787"/>
                  </a:cubicBezTo>
                  <a:cubicBezTo>
                    <a:pt x="270427" y="20243"/>
                    <a:pt x="267976" y="17869"/>
                    <a:pt x="263088" y="13652"/>
                  </a:cubicBezTo>
                  <a:lnTo>
                    <a:pt x="255541" y="3055"/>
                  </a:lnTo>
                  <a:cubicBezTo>
                    <a:pt x="255541" y="2782"/>
                    <a:pt x="255813" y="2177"/>
                    <a:pt x="256358" y="1224"/>
                  </a:cubicBezTo>
                  <a:cubicBezTo>
                    <a:pt x="256615" y="680"/>
                    <a:pt x="256887" y="272"/>
                    <a:pt x="257159" y="0"/>
                  </a:cubicBezTo>
                  <a:close/>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23" name="AutoShape 1"/>
            <p:cNvSpPr>
              <a:spLocks/>
            </p:cNvSpPr>
            <p:nvPr/>
          </p:nvSpPr>
          <p:spPr bwMode="auto">
            <a:xfrm>
              <a:off x="9141733" y="3865573"/>
              <a:ext cx="608010" cy="775958"/>
            </a:xfrm>
            <a:custGeom>
              <a:avLst/>
              <a:gdLst/>
              <a:ahLst/>
              <a:cxnLst/>
              <a:rect l="l" t="t" r="r" b="b"/>
              <a:pathLst>
                <a:path w="608010" h="775958">
                  <a:moveTo>
                    <a:pt x="257587" y="599124"/>
                  </a:moveTo>
                  <a:lnTo>
                    <a:pt x="249488" y="602237"/>
                  </a:lnTo>
                  <a:cubicBezTo>
                    <a:pt x="252073" y="601730"/>
                    <a:pt x="254736" y="601201"/>
                    <a:pt x="257478" y="600656"/>
                  </a:cubicBezTo>
                  <a:lnTo>
                    <a:pt x="257293" y="599911"/>
                  </a:lnTo>
                  <a:close/>
                  <a:moveTo>
                    <a:pt x="344208" y="480377"/>
                  </a:moveTo>
                  <a:cubicBezTo>
                    <a:pt x="343767" y="480431"/>
                    <a:pt x="343660" y="480672"/>
                    <a:pt x="343599" y="480916"/>
                  </a:cubicBezTo>
                  <a:lnTo>
                    <a:pt x="343704" y="481524"/>
                  </a:lnTo>
                  <a:close/>
                  <a:moveTo>
                    <a:pt x="348584" y="476838"/>
                  </a:moveTo>
                  <a:cubicBezTo>
                    <a:pt x="348208" y="477297"/>
                    <a:pt x="347665" y="477570"/>
                    <a:pt x="347061" y="477853"/>
                  </a:cubicBezTo>
                  <a:lnTo>
                    <a:pt x="344720" y="479924"/>
                  </a:lnTo>
                  <a:lnTo>
                    <a:pt x="348555" y="477371"/>
                  </a:lnTo>
                  <a:close/>
                  <a:moveTo>
                    <a:pt x="448527" y="330897"/>
                  </a:moveTo>
                  <a:cubicBezTo>
                    <a:pt x="446349" y="331025"/>
                    <a:pt x="444445" y="332115"/>
                    <a:pt x="442809" y="334151"/>
                  </a:cubicBezTo>
                  <a:lnTo>
                    <a:pt x="441991" y="335194"/>
                  </a:lnTo>
                  <a:lnTo>
                    <a:pt x="441991" y="337729"/>
                  </a:lnTo>
                  <a:cubicBezTo>
                    <a:pt x="442820" y="336625"/>
                    <a:pt x="443756" y="335453"/>
                    <a:pt x="444771" y="334188"/>
                  </a:cubicBezTo>
                  <a:lnTo>
                    <a:pt x="450121" y="331143"/>
                  </a:lnTo>
                  <a:cubicBezTo>
                    <a:pt x="449665" y="330717"/>
                    <a:pt x="449110" y="330731"/>
                    <a:pt x="448527" y="330897"/>
                  </a:cubicBezTo>
                  <a:close/>
                  <a:moveTo>
                    <a:pt x="138975" y="314470"/>
                  </a:moveTo>
                  <a:cubicBezTo>
                    <a:pt x="140604" y="314470"/>
                    <a:pt x="142438" y="315884"/>
                    <a:pt x="144472" y="318715"/>
                  </a:cubicBezTo>
                  <a:lnTo>
                    <a:pt x="147523" y="324371"/>
                  </a:lnTo>
                  <a:cubicBezTo>
                    <a:pt x="147387" y="330702"/>
                    <a:pt x="144941" y="333869"/>
                    <a:pt x="140198" y="333869"/>
                  </a:cubicBezTo>
                  <a:cubicBezTo>
                    <a:pt x="139119" y="333869"/>
                    <a:pt x="138507" y="333060"/>
                    <a:pt x="138372" y="331441"/>
                  </a:cubicBezTo>
                  <a:cubicBezTo>
                    <a:pt x="138236" y="330097"/>
                    <a:pt x="136608" y="329355"/>
                    <a:pt x="133485" y="329221"/>
                  </a:cubicBezTo>
                  <a:cubicBezTo>
                    <a:pt x="131722" y="329221"/>
                    <a:pt x="130372" y="329560"/>
                    <a:pt x="129418" y="330232"/>
                  </a:cubicBezTo>
                  <a:cubicBezTo>
                    <a:pt x="128473" y="330773"/>
                    <a:pt x="127250" y="331038"/>
                    <a:pt x="125752" y="331038"/>
                  </a:cubicBezTo>
                  <a:cubicBezTo>
                    <a:pt x="124131" y="331038"/>
                    <a:pt x="122502" y="330433"/>
                    <a:pt x="120875" y="329221"/>
                  </a:cubicBezTo>
                  <a:cubicBezTo>
                    <a:pt x="118436" y="326188"/>
                    <a:pt x="118706" y="325718"/>
                    <a:pt x="119246" y="325181"/>
                  </a:cubicBezTo>
                  <a:cubicBezTo>
                    <a:pt x="121550" y="323834"/>
                    <a:pt x="122845" y="323025"/>
                    <a:pt x="124330" y="321544"/>
                  </a:cubicBezTo>
                  <a:cubicBezTo>
                    <a:pt x="125553" y="320058"/>
                    <a:pt x="126979" y="319320"/>
                    <a:pt x="128608" y="319320"/>
                  </a:cubicBezTo>
                  <a:cubicBezTo>
                    <a:pt x="131047" y="319458"/>
                    <a:pt x="133152" y="318648"/>
                    <a:pt x="134908" y="316895"/>
                  </a:cubicBezTo>
                  <a:close/>
                  <a:moveTo>
                    <a:pt x="544728" y="196033"/>
                  </a:moveTo>
                  <a:lnTo>
                    <a:pt x="549732" y="201293"/>
                  </a:lnTo>
                  <a:cubicBezTo>
                    <a:pt x="550264" y="204935"/>
                    <a:pt x="548199" y="206754"/>
                    <a:pt x="543523" y="206754"/>
                  </a:cubicBezTo>
                  <a:cubicBezTo>
                    <a:pt x="539324" y="206149"/>
                    <a:pt x="538988" y="205002"/>
                    <a:pt x="539121" y="203112"/>
                  </a:cubicBezTo>
                  <a:cubicBezTo>
                    <a:pt x="539121" y="201360"/>
                    <a:pt x="539457" y="199810"/>
                    <a:pt x="540122" y="198457"/>
                  </a:cubicBezTo>
                  <a:cubicBezTo>
                    <a:pt x="541326" y="196840"/>
                    <a:pt x="542859" y="196033"/>
                    <a:pt x="544728" y="196033"/>
                  </a:cubicBezTo>
                  <a:close/>
                  <a:moveTo>
                    <a:pt x="603687" y="151109"/>
                  </a:moveTo>
                  <a:cubicBezTo>
                    <a:pt x="604346" y="151109"/>
                    <a:pt x="605258" y="152107"/>
                    <a:pt x="606439" y="154099"/>
                  </a:cubicBezTo>
                  <a:cubicBezTo>
                    <a:pt x="607090" y="155433"/>
                    <a:pt x="607612" y="156563"/>
                    <a:pt x="608010" y="157495"/>
                  </a:cubicBezTo>
                  <a:cubicBezTo>
                    <a:pt x="608010" y="157756"/>
                    <a:pt x="607941" y="158087"/>
                    <a:pt x="607811" y="158489"/>
                  </a:cubicBezTo>
                  <a:cubicBezTo>
                    <a:pt x="607811" y="159420"/>
                    <a:pt x="607481" y="160348"/>
                    <a:pt x="606830" y="161280"/>
                  </a:cubicBezTo>
                  <a:cubicBezTo>
                    <a:pt x="605649" y="163011"/>
                    <a:pt x="604476" y="163872"/>
                    <a:pt x="603296" y="163872"/>
                  </a:cubicBezTo>
                  <a:cubicBezTo>
                    <a:pt x="601464" y="163872"/>
                    <a:pt x="600483" y="161549"/>
                    <a:pt x="600352" y="156894"/>
                  </a:cubicBezTo>
                  <a:cubicBezTo>
                    <a:pt x="601203" y="151709"/>
                    <a:pt x="602123" y="151109"/>
                    <a:pt x="603687" y="151109"/>
                  </a:cubicBezTo>
                  <a:close/>
                  <a:moveTo>
                    <a:pt x="472480" y="0"/>
                  </a:moveTo>
                  <a:lnTo>
                    <a:pt x="503709" y="17949"/>
                  </a:lnTo>
                  <a:lnTo>
                    <a:pt x="531875" y="103158"/>
                  </a:lnTo>
                  <a:lnTo>
                    <a:pt x="545337" y="106221"/>
                  </a:lnTo>
                  <a:lnTo>
                    <a:pt x="555342" y="123139"/>
                  </a:lnTo>
                  <a:cubicBezTo>
                    <a:pt x="556026" y="124508"/>
                    <a:pt x="558061" y="126202"/>
                    <a:pt x="561465" y="128234"/>
                  </a:cubicBezTo>
                  <a:cubicBezTo>
                    <a:pt x="564869" y="130133"/>
                    <a:pt x="567381" y="130339"/>
                    <a:pt x="569020" y="128852"/>
                  </a:cubicBezTo>
                  <a:cubicBezTo>
                    <a:pt x="570109" y="127895"/>
                    <a:pt x="571199" y="127218"/>
                    <a:pt x="572288" y="126820"/>
                  </a:cubicBezTo>
                  <a:cubicBezTo>
                    <a:pt x="572829" y="126540"/>
                    <a:pt x="573441" y="126408"/>
                    <a:pt x="574116" y="126408"/>
                  </a:cubicBezTo>
                  <a:lnTo>
                    <a:pt x="588002" y="142914"/>
                  </a:lnTo>
                  <a:cubicBezTo>
                    <a:pt x="588002" y="143061"/>
                    <a:pt x="587389" y="143665"/>
                    <a:pt x="586156" y="144754"/>
                  </a:cubicBezTo>
                  <a:cubicBezTo>
                    <a:pt x="584121" y="148215"/>
                    <a:pt x="584598" y="148907"/>
                    <a:pt x="585552" y="149437"/>
                  </a:cubicBezTo>
                  <a:cubicBezTo>
                    <a:pt x="586228" y="150129"/>
                    <a:pt x="586984" y="150467"/>
                    <a:pt x="587795" y="150467"/>
                  </a:cubicBezTo>
                  <a:cubicBezTo>
                    <a:pt x="588479" y="150467"/>
                    <a:pt x="589019" y="150320"/>
                    <a:pt x="589424" y="150055"/>
                  </a:cubicBezTo>
                  <a:cubicBezTo>
                    <a:pt x="589974" y="149923"/>
                    <a:pt x="590523" y="149849"/>
                    <a:pt x="591063" y="149849"/>
                  </a:cubicBezTo>
                  <a:cubicBezTo>
                    <a:pt x="593513" y="149981"/>
                    <a:pt x="594737" y="151336"/>
                    <a:pt x="594737" y="153928"/>
                  </a:cubicBezTo>
                  <a:cubicBezTo>
                    <a:pt x="594602" y="154472"/>
                    <a:pt x="590928" y="159228"/>
                    <a:pt x="583715" y="168195"/>
                  </a:cubicBezTo>
                  <a:lnTo>
                    <a:pt x="580861" y="167592"/>
                  </a:lnTo>
                  <a:cubicBezTo>
                    <a:pt x="579357" y="167592"/>
                    <a:pt x="577934" y="168534"/>
                    <a:pt x="576566" y="170433"/>
                  </a:cubicBezTo>
                  <a:lnTo>
                    <a:pt x="572892" y="176765"/>
                  </a:lnTo>
                  <a:lnTo>
                    <a:pt x="565751" y="183906"/>
                  </a:lnTo>
                  <a:cubicBezTo>
                    <a:pt x="564941" y="183906"/>
                    <a:pt x="563851" y="183155"/>
                    <a:pt x="562491" y="181653"/>
                  </a:cubicBezTo>
                  <a:cubicBezTo>
                    <a:pt x="559223" y="186409"/>
                    <a:pt x="559430" y="187705"/>
                    <a:pt x="559430" y="188795"/>
                  </a:cubicBezTo>
                  <a:cubicBezTo>
                    <a:pt x="559430" y="189604"/>
                    <a:pt x="559223" y="190076"/>
                    <a:pt x="558817" y="190208"/>
                  </a:cubicBezTo>
                  <a:lnTo>
                    <a:pt x="557584" y="190208"/>
                  </a:lnTo>
                  <a:cubicBezTo>
                    <a:pt x="556098" y="190076"/>
                    <a:pt x="555621" y="189678"/>
                    <a:pt x="554936" y="188986"/>
                  </a:cubicBezTo>
                  <a:lnTo>
                    <a:pt x="552694" y="188986"/>
                  </a:lnTo>
                  <a:lnTo>
                    <a:pt x="552694" y="190827"/>
                  </a:lnTo>
                  <a:cubicBezTo>
                    <a:pt x="553099" y="191504"/>
                    <a:pt x="553784" y="193609"/>
                    <a:pt x="554729" y="197143"/>
                  </a:cubicBezTo>
                  <a:lnTo>
                    <a:pt x="554936" y="198571"/>
                  </a:lnTo>
                  <a:cubicBezTo>
                    <a:pt x="554522" y="198851"/>
                    <a:pt x="553784" y="198984"/>
                    <a:pt x="552694" y="198984"/>
                  </a:cubicBezTo>
                  <a:cubicBezTo>
                    <a:pt x="550650" y="198851"/>
                    <a:pt x="549155" y="197349"/>
                    <a:pt x="548201" y="194493"/>
                  </a:cubicBezTo>
                  <a:cubicBezTo>
                    <a:pt x="547246" y="191784"/>
                    <a:pt x="545752" y="190341"/>
                    <a:pt x="543716" y="190208"/>
                  </a:cubicBezTo>
                  <a:cubicBezTo>
                    <a:pt x="542483" y="190208"/>
                    <a:pt x="541465" y="190885"/>
                    <a:pt x="540655" y="192255"/>
                  </a:cubicBezTo>
                  <a:cubicBezTo>
                    <a:pt x="537044" y="196127"/>
                    <a:pt x="535612" y="196598"/>
                    <a:pt x="533298" y="197143"/>
                  </a:cubicBezTo>
                  <a:cubicBezTo>
                    <a:pt x="531803" y="197423"/>
                    <a:pt x="531128" y="198233"/>
                    <a:pt x="531263" y="199587"/>
                  </a:cubicBezTo>
                  <a:cubicBezTo>
                    <a:pt x="531128" y="202444"/>
                    <a:pt x="532217" y="204417"/>
                    <a:pt x="534532" y="205507"/>
                  </a:cubicBezTo>
                  <a:cubicBezTo>
                    <a:pt x="536567" y="206729"/>
                    <a:pt x="537593" y="207951"/>
                    <a:pt x="537593" y="209173"/>
                  </a:cubicBezTo>
                  <a:cubicBezTo>
                    <a:pt x="537593" y="210263"/>
                    <a:pt x="535954" y="211013"/>
                    <a:pt x="532686" y="211426"/>
                  </a:cubicBezTo>
                  <a:cubicBezTo>
                    <a:pt x="531335" y="211426"/>
                    <a:pt x="529156" y="210807"/>
                    <a:pt x="526157" y="209585"/>
                  </a:cubicBezTo>
                  <a:lnTo>
                    <a:pt x="521466" y="206935"/>
                  </a:lnTo>
                  <a:cubicBezTo>
                    <a:pt x="521466" y="206243"/>
                    <a:pt x="521808" y="205507"/>
                    <a:pt x="522483" y="204682"/>
                  </a:cubicBezTo>
                  <a:cubicBezTo>
                    <a:pt x="523708" y="201634"/>
                    <a:pt x="523033" y="200677"/>
                    <a:pt x="521673" y="200000"/>
                  </a:cubicBezTo>
                  <a:cubicBezTo>
                    <a:pt x="516090" y="198984"/>
                    <a:pt x="514181" y="200338"/>
                    <a:pt x="513506" y="203062"/>
                  </a:cubicBezTo>
                  <a:cubicBezTo>
                    <a:pt x="513371" y="203607"/>
                    <a:pt x="513236" y="207067"/>
                    <a:pt x="513100" y="213458"/>
                  </a:cubicBezTo>
                  <a:lnTo>
                    <a:pt x="512893" y="229154"/>
                  </a:lnTo>
                  <a:cubicBezTo>
                    <a:pt x="512218" y="231598"/>
                    <a:pt x="511254" y="233512"/>
                    <a:pt x="510039" y="234867"/>
                  </a:cubicBezTo>
                  <a:cubicBezTo>
                    <a:pt x="508679" y="236501"/>
                    <a:pt x="506365" y="238121"/>
                    <a:pt x="503096" y="239755"/>
                  </a:cubicBezTo>
                  <a:cubicBezTo>
                    <a:pt x="502826" y="239490"/>
                    <a:pt x="502484" y="239078"/>
                    <a:pt x="502079" y="238533"/>
                  </a:cubicBezTo>
                  <a:cubicBezTo>
                    <a:pt x="501664" y="237856"/>
                    <a:pt x="501052" y="237517"/>
                    <a:pt x="500242" y="237517"/>
                  </a:cubicBezTo>
                  <a:cubicBezTo>
                    <a:pt x="498603" y="237517"/>
                    <a:pt x="497720" y="239152"/>
                    <a:pt x="497585" y="242406"/>
                  </a:cubicBezTo>
                  <a:lnTo>
                    <a:pt x="496568" y="249547"/>
                  </a:lnTo>
                  <a:cubicBezTo>
                    <a:pt x="495748" y="249267"/>
                    <a:pt x="495271" y="248722"/>
                    <a:pt x="495136" y="247912"/>
                  </a:cubicBezTo>
                  <a:cubicBezTo>
                    <a:pt x="493983" y="245866"/>
                    <a:pt x="493164" y="246617"/>
                    <a:pt x="492480" y="248516"/>
                  </a:cubicBezTo>
                  <a:cubicBezTo>
                    <a:pt x="490985" y="245321"/>
                    <a:pt x="491534" y="244511"/>
                    <a:pt x="491669" y="243834"/>
                  </a:cubicBezTo>
                  <a:cubicBezTo>
                    <a:pt x="491669" y="242744"/>
                    <a:pt x="490445" y="242199"/>
                    <a:pt x="487995" y="242199"/>
                  </a:cubicBezTo>
                  <a:cubicBezTo>
                    <a:pt x="486906" y="242067"/>
                    <a:pt x="486086" y="242950"/>
                    <a:pt x="485546" y="244850"/>
                  </a:cubicBezTo>
                  <a:cubicBezTo>
                    <a:pt x="485276" y="245527"/>
                    <a:pt x="485132" y="246955"/>
                    <a:pt x="485132" y="249135"/>
                  </a:cubicBezTo>
                  <a:cubicBezTo>
                    <a:pt x="485132" y="250622"/>
                    <a:pt x="485609" y="251652"/>
                    <a:pt x="486573" y="252197"/>
                  </a:cubicBezTo>
                  <a:cubicBezTo>
                    <a:pt x="487248" y="252875"/>
                    <a:pt x="487590" y="253684"/>
                    <a:pt x="487590" y="254641"/>
                  </a:cubicBezTo>
                  <a:cubicBezTo>
                    <a:pt x="487590" y="254907"/>
                    <a:pt x="487320" y="255392"/>
                    <a:pt x="486771" y="256070"/>
                  </a:cubicBezTo>
                  <a:cubicBezTo>
                    <a:pt x="486086" y="256880"/>
                    <a:pt x="485816" y="257969"/>
                    <a:pt x="485951" y="259324"/>
                  </a:cubicBezTo>
                  <a:cubicBezTo>
                    <a:pt x="485951" y="261503"/>
                    <a:pt x="485204" y="263064"/>
                    <a:pt x="483709" y="264021"/>
                  </a:cubicBezTo>
                  <a:cubicBezTo>
                    <a:pt x="483439" y="263741"/>
                    <a:pt x="482890" y="262107"/>
                    <a:pt x="482070" y="259118"/>
                  </a:cubicBezTo>
                  <a:cubicBezTo>
                    <a:pt x="478198" y="258779"/>
                    <a:pt x="477523" y="259530"/>
                    <a:pt x="476559" y="259530"/>
                  </a:cubicBezTo>
                  <a:cubicBezTo>
                    <a:pt x="475749" y="259530"/>
                    <a:pt x="475073" y="259059"/>
                    <a:pt x="474524" y="258102"/>
                  </a:cubicBezTo>
                  <a:cubicBezTo>
                    <a:pt x="473984" y="257159"/>
                    <a:pt x="473228" y="256673"/>
                    <a:pt x="472282" y="256673"/>
                  </a:cubicBezTo>
                  <a:cubicBezTo>
                    <a:pt x="471057" y="256541"/>
                    <a:pt x="469626" y="257896"/>
                    <a:pt x="467996" y="260752"/>
                  </a:cubicBezTo>
                  <a:lnTo>
                    <a:pt x="465547" y="267275"/>
                  </a:lnTo>
                  <a:cubicBezTo>
                    <a:pt x="465411" y="268909"/>
                    <a:pt x="465952" y="269925"/>
                    <a:pt x="467176" y="270338"/>
                  </a:cubicBezTo>
                  <a:cubicBezTo>
                    <a:pt x="468266" y="270750"/>
                    <a:pt x="468806" y="271354"/>
                    <a:pt x="468806" y="272178"/>
                  </a:cubicBezTo>
                  <a:cubicBezTo>
                    <a:pt x="468806" y="273798"/>
                    <a:pt x="467789" y="275565"/>
                    <a:pt x="465745" y="277479"/>
                  </a:cubicBezTo>
                  <a:lnTo>
                    <a:pt x="462485" y="281749"/>
                  </a:lnTo>
                  <a:cubicBezTo>
                    <a:pt x="462485" y="282706"/>
                    <a:pt x="463232" y="283324"/>
                    <a:pt x="464727" y="283589"/>
                  </a:cubicBezTo>
                  <a:cubicBezTo>
                    <a:pt x="466087" y="283589"/>
                    <a:pt x="466699" y="284473"/>
                    <a:pt x="466564" y="286240"/>
                  </a:cubicBezTo>
                  <a:cubicBezTo>
                    <a:pt x="466564" y="288684"/>
                    <a:pt x="465006" y="291202"/>
                    <a:pt x="461873" y="293779"/>
                  </a:cubicBezTo>
                  <a:lnTo>
                    <a:pt x="455956" y="299079"/>
                  </a:lnTo>
                  <a:lnTo>
                    <a:pt x="455956" y="300110"/>
                  </a:lnTo>
                  <a:cubicBezTo>
                    <a:pt x="458541" y="302613"/>
                    <a:pt x="458541" y="303290"/>
                    <a:pt x="458406" y="304380"/>
                  </a:cubicBezTo>
                  <a:cubicBezTo>
                    <a:pt x="458406" y="307649"/>
                    <a:pt x="457379" y="310844"/>
                    <a:pt x="455344" y="313966"/>
                  </a:cubicBezTo>
                  <a:cubicBezTo>
                    <a:pt x="454381" y="315467"/>
                    <a:pt x="453570" y="316822"/>
                    <a:pt x="452895" y="318044"/>
                  </a:cubicBezTo>
                  <a:cubicBezTo>
                    <a:pt x="451796" y="316955"/>
                    <a:pt x="450716" y="315261"/>
                    <a:pt x="449626" y="312950"/>
                  </a:cubicBezTo>
                  <a:lnTo>
                    <a:pt x="449216" y="311766"/>
                  </a:lnTo>
                  <a:lnTo>
                    <a:pt x="448894" y="313550"/>
                  </a:lnTo>
                  <a:cubicBezTo>
                    <a:pt x="449815" y="315588"/>
                    <a:pt x="450801" y="317087"/>
                    <a:pt x="451795" y="318071"/>
                  </a:cubicBezTo>
                  <a:cubicBezTo>
                    <a:pt x="451795" y="318344"/>
                    <a:pt x="451929" y="319357"/>
                    <a:pt x="452202" y="321129"/>
                  </a:cubicBezTo>
                  <a:cubicBezTo>
                    <a:pt x="452816" y="325736"/>
                    <a:pt x="452472" y="326954"/>
                    <a:pt x="451795" y="328453"/>
                  </a:cubicBezTo>
                  <a:lnTo>
                    <a:pt x="451235" y="331056"/>
                  </a:lnTo>
                  <a:cubicBezTo>
                    <a:pt x="451894" y="330771"/>
                    <a:pt x="452529" y="330950"/>
                    <a:pt x="453129" y="331349"/>
                  </a:cubicBezTo>
                  <a:cubicBezTo>
                    <a:pt x="453129" y="331617"/>
                    <a:pt x="453129" y="331890"/>
                    <a:pt x="453129" y="332159"/>
                  </a:cubicBezTo>
                  <a:cubicBezTo>
                    <a:pt x="453129" y="332973"/>
                    <a:pt x="453610" y="333788"/>
                    <a:pt x="454556" y="334598"/>
                  </a:cubicBezTo>
                  <a:cubicBezTo>
                    <a:pt x="457075" y="337442"/>
                    <a:pt x="457548" y="338591"/>
                    <a:pt x="458225" y="340484"/>
                  </a:cubicBezTo>
                  <a:cubicBezTo>
                    <a:pt x="461486" y="343327"/>
                    <a:pt x="461959" y="343125"/>
                    <a:pt x="462506" y="342720"/>
                  </a:cubicBezTo>
                  <a:cubicBezTo>
                    <a:pt x="463191" y="342451"/>
                    <a:pt x="463802" y="342311"/>
                    <a:pt x="464340" y="342311"/>
                  </a:cubicBezTo>
                  <a:cubicBezTo>
                    <a:pt x="467806" y="343464"/>
                    <a:pt x="467944" y="344617"/>
                    <a:pt x="467806" y="346370"/>
                  </a:cubicBezTo>
                  <a:cubicBezTo>
                    <a:pt x="467806" y="346642"/>
                    <a:pt x="467268" y="347320"/>
                    <a:pt x="466175" y="348403"/>
                  </a:cubicBezTo>
                  <a:lnTo>
                    <a:pt x="461283" y="351040"/>
                  </a:lnTo>
                  <a:cubicBezTo>
                    <a:pt x="459790" y="351040"/>
                    <a:pt x="458363" y="353686"/>
                    <a:pt x="457002" y="358965"/>
                  </a:cubicBezTo>
                  <a:lnTo>
                    <a:pt x="454963" y="367897"/>
                  </a:lnTo>
                  <a:cubicBezTo>
                    <a:pt x="454963" y="368843"/>
                    <a:pt x="455371" y="369860"/>
                    <a:pt x="456186" y="370943"/>
                  </a:cubicBezTo>
                  <a:cubicBezTo>
                    <a:pt x="457271" y="371753"/>
                    <a:pt x="458363" y="372163"/>
                    <a:pt x="459448" y="372163"/>
                  </a:cubicBezTo>
                  <a:cubicBezTo>
                    <a:pt x="459994" y="372163"/>
                    <a:pt x="460940" y="371960"/>
                    <a:pt x="462302" y="371551"/>
                  </a:cubicBezTo>
                  <a:cubicBezTo>
                    <a:pt x="466036" y="370943"/>
                    <a:pt x="468344" y="372431"/>
                    <a:pt x="472290" y="375407"/>
                  </a:cubicBezTo>
                  <a:lnTo>
                    <a:pt x="477794" y="381095"/>
                  </a:lnTo>
                  <a:cubicBezTo>
                    <a:pt x="477794" y="381500"/>
                    <a:pt x="477052" y="381905"/>
                    <a:pt x="475552" y="382315"/>
                  </a:cubicBezTo>
                  <a:cubicBezTo>
                    <a:pt x="474190" y="382852"/>
                    <a:pt x="473513" y="383600"/>
                    <a:pt x="473513" y="384542"/>
                  </a:cubicBezTo>
                  <a:cubicBezTo>
                    <a:pt x="473513" y="384815"/>
                    <a:pt x="475014" y="385493"/>
                    <a:pt x="477998" y="386576"/>
                  </a:cubicBezTo>
                  <a:cubicBezTo>
                    <a:pt x="481398" y="387659"/>
                    <a:pt x="483706" y="389689"/>
                    <a:pt x="484929" y="392669"/>
                  </a:cubicBezTo>
                  <a:cubicBezTo>
                    <a:pt x="485206" y="393210"/>
                    <a:pt x="485133" y="394227"/>
                    <a:pt x="484725" y="395711"/>
                  </a:cubicBezTo>
                  <a:cubicBezTo>
                    <a:pt x="485133" y="397340"/>
                    <a:pt x="486364" y="398150"/>
                    <a:pt x="488402" y="398150"/>
                  </a:cubicBezTo>
                  <a:cubicBezTo>
                    <a:pt x="489348" y="398150"/>
                    <a:pt x="490710" y="398423"/>
                    <a:pt x="492479" y="398960"/>
                  </a:cubicBezTo>
                  <a:cubicBezTo>
                    <a:pt x="498040" y="399972"/>
                    <a:pt x="500633" y="398423"/>
                    <a:pt x="503887" y="395306"/>
                  </a:cubicBezTo>
                  <a:lnTo>
                    <a:pt x="508575" y="388205"/>
                  </a:lnTo>
                  <a:cubicBezTo>
                    <a:pt x="508714" y="387659"/>
                    <a:pt x="507768" y="386440"/>
                    <a:pt x="505729" y="384542"/>
                  </a:cubicBezTo>
                  <a:lnTo>
                    <a:pt x="502256" y="380483"/>
                  </a:lnTo>
                  <a:cubicBezTo>
                    <a:pt x="501987" y="379264"/>
                    <a:pt x="500690" y="378317"/>
                    <a:pt x="498383" y="377644"/>
                  </a:cubicBezTo>
                  <a:cubicBezTo>
                    <a:pt x="502729" y="375341"/>
                    <a:pt x="504572" y="376222"/>
                    <a:pt x="505110" y="377846"/>
                  </a:cubicBezTo>
                  <a:cubicBezTo>
                    <a:pt x="506333" y="380686"/>
                    <a:pt x="508167" y="383195"/>
                    <a:pt x="510614" y="385357"/>
                  </a:cubicBezTo>
                  <a:cubicBezTo>
                    <a:pt x="511845" y="386308"/>
                    <a:pt x="512864" y="388407"/>
                    <a:pt x="513671" y="391652"/>
                  </a:cubicBezTo>
                  <a:lnTo>
                    <a:pt x="515098" y="397542"/>
                  </a:lnTo>
                  <a:cubicBezTo>
                    <a:pt x="515098" y="398625"/>
                    <a:pt x="512448" y="400584"/>
                    <a:pt x="507148" y="403428"/>
                  </a:cubicBezTo>
                  <a:cubicBezTo>
                    <a:pt x="506749" y="403428"/>
                    <a:pt x="506129" y="403362"/>
                    <a:pt x="505314" y="403221"/>
                  </a:cubicBezTo>
                  <a:cubicBezTo>
                    <a:pt x="504637" y="402680"/>
                    <a:pt x="504025" y="402411"/>
                    <a:pt x="503479" y="402411"/>
                  </a:cubicBezTo>
                  <a:cubicBezTo>
                    <a:pt x="501171" y="402275"/>
                    <a:pt x="499402" y="403023"/>
                    <a:pt x="498179" y="404648"/>
                  </a:cubicBezTo>
                  <a:cubicBezTo>
                    <a:pt x="496825" y="406404"/>
                    <a:pt x="495121" y="407492"/>
                    <a:pt x="493083" y="407897"/>
                  </a:cubicBezTo>
                  <a:cubicBezTo>
                    <a:pt x="491860" y="408165"/>
                    <a:pt x="490498" y="409719"/>
                    <a:pt x="489006" y="412563"/>
                  </a:cubicBezTo>
                  <a:cubicBezTo>
                    <a:pt x="487783" y="415403"/>
                    <a:pt x="486421" y="416758"/>
                    <a:pt x="484929" y="416626"/>
                  </a:cubicBezTo>
                  <a:cubicBezTo>
                    <a:pt x="483575" y="416626"/>
                    <a:pt x="482287" y="414729"/>
                    <a:pt x="481056" y="410943"/>
                  </a:cubicBezTo>
                  <a:cubicBezTo>
                    <a:pt x="479425" y="407285"/>
                    <a:pt x="477590" y="405458"/>
                    <a:pt x="475552" y="405458"/>
                  </a:cubicBezTo>
                  <a:cubicBezTo>
                    <a:pt x="473652" y="405458"/>
                    <a:pt x="472494" y="406941"/>
                    <a:pt x="472086" y="409926"/>
                  </a:cubicBezTo>
                  <a:cubicBezTo>
                    <a:pt x="471956" y="411410"/>
                    <a:pt x="471817" y="413175"/>
                    <a:pt x="471679" y="415200"/>
                  </a:cubicBezTo>
                  <a:cubicBezTo>
                    <a:pt x="471410" y="415609"/>
                    <a:pt x="470325" y="416758"/>
                    <a:pt x="468417" y="418651"/>
                  </a:cubicBezTo>
                  <a:cubicBezTo>
                    <a:pt x="466925" y="420144"/>
                    <a:pt x="466110" y="421359"/>
                    <a:pt x="465971" y="422310"/>
                  </a:cubicBezTo>
                  <a:lnTo>
                    <a:pt x="461894" y="422107"/>
                  </a:lnTo>
                  <a:lnTo>
                    <a:pt x="460467" y="424537"/>
                  </a:lnTo>
                  <a:cubicBezTo>
                    <a:pt x="459921" y="425352"/>
                    <a:pt x="459040" y="425761"/>
                    <a:pt x="457817" y="425761"/>
                  </a:cubicBezTo>
                  <a:cubicBezTo>
                    <a:pt x="456186" y="425761"/>
                    <a:pt x="455371" y="424405"/>
                    <a:pt x="455371" y="421702"/>
                  </a:cubicBezTo>
                  <a:cubicBezTo>
                    <a:pt x="455371" y="421024"/>
                    <a:pt x="455917" y="420276"/>
                    <a:pt x="457002" y="419462"/>
                  </a:cubicBezTo>
                  <a:cubicBezTo>
                    <a:pt x="457956" y="418788"/>
                    <a:pt x="458429" y="417974"/>
                    <a:pt x="458429" y="417031"/>
                  </a:cubicBezTo>
                  <a:cubicBezTo>
                    <a:pt x="458429" y="416217"/>
                    <a:pt x="457002" y="414593"/>
                    <a:pt x="454148" y="412158"/>
                  </a:cubicBezTo>
                  <a:lnTo>
                    <a:pt x="449867" y="408504"/>
                  </a:lnTo>
                  <a:cubicBezTo>
                    <a:pt x="449459" y="408504"/>
                    <a:pt x="449052" y="408777"/>
                    <a:pt x="448644" y="409314"/>
                  </a:cubicBezTo>
                  <a:lnTo>
                    <a:pt x="441991" y="397136"/>
                  </a:lnTo>
                  <a:lnTo>
                    <a:pt x="441991" y="400907"/>
                  </a:lnTo>
                  <a:cubicBezTo>
                    <a:pt x="443725" y="403006"/>
                    <a:pt x="445317" y="406278"/>
                    <a:pt x="447201" y="410483"/>
                  </a:cubicBezTo>
                  <a:cubicBezTo>
                    <a:pt x="446520" y="411293"/>
                    <a:pt x="445642" y="412576"/>
                    <a:pt x="444565" y="414337"/>
                  </a:cubicBezTo>
                  <a:lnTo>
                    <a:pt x="442333" y="419202"/>
                  </a:lnTo>
                  <a:cubicBezTo>
                    <a:pt x="442199" y="420555"/>
                    <a:pt x="442674" y="422044"/>
                    <a:pt x="443750" y="423661"/>
                  </a:cubicBezTo>
                  <a:cubicBezTo>
                    <a:pt x="444969" y="425422"/>
                    <a:pt x="445579" y="427250"/>
                    <a:pt x="445579" y="429142"/>
                  </a:cubicBezTo>
                  <a:lnTo>
                    <a:pt x="444360" y="435833"/>
                  </a:lnTo>
                  <a:lnTo>
                    <a:pt x="441991" y="437629"/>
                  </a:lnTo>
                  <a:lnTo>
                    <a:pt x="441991" y="443586"/>
                  </a:lnTo>
                  <a:lnTo>
                    <a:pt x="433384" y="443586"/>
                  </a:lnTo>
                  <a:cubicBezTo>
                    <a:pt x="432245" y="444135"/>
                    <a:pt x="431263" y="444763"/>
                    <a:pt x="430383" y="445373"/>
                  </a:cubicBezTo>
                  <a:cubicBezTo>
                    <a:pt x="429568" y="445642"/>
                    <a:pt x="428894" y="445911"/>
                    <a:pt x="428356" y="446180"/>
                  </a:cubicBezTo>
                  <a:lnTo>
                    <a:pt x="428482" y="443586"/>
                  </a:lnTo>
                  <a:lnTo>
                    <a:pt x="427045" y="443586"/>
                  </a:lnTo>
                  <a:cubicBezTo>
                    <a:pt x="427171" y="444967"/>
                    <a:pt x="427037" y="446389"/>
                    <a:pt x="426837" y="447859"/>
                  </a:cubicBezTo>
                  <a:lnTo>
                    <a:pt x="420514" y="449894"/>
                  </a:lnTo>
                  <a:cubicBezTo>
                    <a:pt x="419838" y="449894"/>
                    <a:pt x="418815" y="449212"/>
                    <a:pt x="417456" y="447859"/>
                  </a:cubicBezTo>
                  <a:cubicBezTo>
                    <a:pt x="412631" y="446027"/>
                    <a:pt x="411141" y="447317"/>
                    <a:pt x="410323" y="449894"/>
                  </a:cubicBezTo>
                  <a:lnTo>
                    <a:pt x="407875" y="454983"/>
                  </a:lnTo>
                  <a:cubicBezTo>
                    <a:pt x="407065" y="455254"/>
                    <a:pt x="404892" y="455931"/>
                    <a:pt x="401356" y="457018"/>
                  </a:cubicBezTo>
                  <a:cubicBezTo>
                    <a:pt x="399317" y="457695"/>
                    <a:pt x="397819" y="458647"/>
                    <a:pt x="396869" y="459861"/>
                  </a:cubicBezTo>
                  <a:cubicBezTo>
                    <a:pt x="395916" y="461088"/>
                    <a:pt x="394082" y="461629"/>
                    <a:pt x="391361" y="461494"/>
                  </a:cubicBezTo>
                  <a:lnTo>
                    <a:pt x="385246" y="461697"/>
                  </a:lnTo>
                  <a:cubicBezTo>
                    <a:pt x="383756" y="461968"/>
                    <a:pt x="381853" y="462852"/>
                    <a:pt x="379545" y="464341"/>
                  </a:cubicBezTo>
                  <a:cubicBezTo>
                    <a:pt x="377507" y="465699"/>
                    <a:pt x="375739" y="466448"/>
                    <a:pt x="374241" y="466583"/>
                  </a:cubicBezTo>
                  <a:cubicBezTo>
                    <a:pt x="373156" y="466854"/>
                    <a:pt x="371662" y="468005"/>
                    <a:pt x="369759" y="470039"/>
                  </a:cubicBezTo>
                  <a:lnTo>
                    <a:pt x="365069" y="475941"/>
                  </a:lnTo>
                  <a:cubicBezTo>
                    <a:pt x="364525" y="476487"/>
                    <a:pt x="362965" y="477506"/>
                    <a:pt x="360379" y="478995"/>
                  </a:cubicBezTo>
                  <a:cubicBezTo>
                    <a:pt x="358205" y="480358"/>
                    <a:pt x="356642" y="481712"/>
                    <a:pt x="355688" y="483065"/>
                  </a:cubicBezTo>
                  <a:lnTo>
                    <a:pt x="348462" y="489252"/>
                  </a:lnTo>
                  <a:cubicBezTo>
                    <a:pt x="348466" y="489265"/>
                    <a:pt x="348474" y="489270"/>
                    <a:pt x="348483" y="489275"/>
                  </a:cubicBezTo>
                  <a:cubicBezTo>
                    <a:pt x="345075" y="492268"/>
                    <a:pt x="342979" y="495260"/>
                    <a:pt x="342159" y="498253"/>
                  </a:cubicBezTo>
                  <a:cubicBezTo>
                    <a:pt x="342706" y="498520"/>
                    <a:pt x="343599" y="498787"/>
                    <a:pt x="344820" y="499068"/>
                  </a:cubicBezTo>
                  <a:cubicBezTo>
                    <a:pt x="345221" y="499068"/>
                    <a:pt x="347407" y="498042"/>
                    <a:pt x="351343" y="496005"/>
                  </a:cubicBezTo>
                  <a:cubicBezTo>
                    <a:pt x="355699" y="493827"/>
                    <a:pt x="359033" y="492479"/>
                    <a:pt x="361347" y="491931"/>
                  </a:cubicBezTo>
                  <a:cubicBezTo>
                    <a:pt x="362860" y="491650"/>
                    <a:pt x="365083" y="490020"/>
                    <a:pt x="368090" y="487027"/>
                  </a:cubicBezTo>
                  <a:cubicBezTo>
                    <a:pt x="370805" y="484175"/>
                    <a:pt x="373738" y="482756"/>
                    <a:pt x="376854" y="482756"/>
                  </a:cubicBezTo>
                  <a:cubicBezTo>
                    <a:pt x="384490" y="482756"/>
                    <a:pt x="391013" y="480775"/>
                    <a:pt x="396462" y="476841"/>
                  </a:cubicBezTo>
                  <a:cubicBezTo>
                    <a:pt x="399049" y="474804"/>
                    <a:pt x="403405" y="469844"/>
                    <a:pt x="409527" y="461948"/>
                  </a:cubicBezTo>
                  <a:cubicBezTo>
                    <a:pt x="409527" y="464266"/>
                    <a:pt x="408179" y="467456"/>
                    <a:pt x="405446" y="471530"/>
                  </a:cubicBezTo>
                  <a:lnTo>
                    <a:pt x="399122" y="481126"/>
                  </a:lnTo>
                  <a:lnTo>
                    <a:pt x="400762" y="481126"/>
                  </a:lnTo>
                  <a:cubicBezTo>
                    <a:pt x="402111" y="480845"/>
                    <a:pt x="404352" y="479019"/>
                    <a:pt x="407486" y="475619"/>
                  </a:cubicBezTo>
                  <a:lnTo>
                    <a:pt x="414629" y="469493"/>
                  </a:lnTo>
                  <a:cubicBezTo>
                    <a:pt x="420078" y="467329"/>
                    <a:pt x="425308" y="465685"/>
                    <a:pt x="430355" y="464604"/>
                  </a:cubicBezTo>
                  <a:lnTo>
                    <a:pt x="430355" y="465418"/>
                  </a:lnTo>
                  <a:lnTo>
                    <a:pt x="409327" y="482349"/>
                  </a:lnTo>
                  <a:cubicBezTo>
                    <a:pt x="406885" y="483023"/>
                    <a:pt x="405300" y="484105"/>
                    <a:pt x="404626" y="485608"/>
                  </a:cubicBezTo>
                  <a:cubicBezTo>
                    <a:pt x="403678" y="487238"/>
                    <a:pt x="402184" y="488531"/>
                    <a:pt x="400142" y="489486"/>
                  </a:cubicBezTo>
                  <a:cubicBezTo>
                    <a:pt x="399742" y="489879"/>
                    <a:pt x="397828" y="490975"/>
                    <a:pt x="394421" y="492746"/>
                  </a:cubicBezTo>
                  <a:cubicBezTo>
                    <a:pt x="391706" y="494235"/>
                    <a:pt x="389519" y="494979"/>
                    <a:pt x="387897" y="494979"/>
                  </a:cubicBezTo>
                  <a:cubicBezTo>
                    <a:pt x="384216" y="495387"/>
                    <a:pt x="380335" y="497087"/>
                    <a:pt x="376253" y="500080"/>
                  </a:cubicBezTo>
                  <a:cubicBezTo>
                    <a:pt x="371351" y="503887"/>
                    <a:pt x="367470" y="506809"/>
                    <a:pt x="364609" y="508847"/>
                  </a:cubicBezTo>
                  <a:cubicBezTo>
                    <a:pt x="361766" y="510617"/>
                    <a:pt x="357466" y="512724"/>
                    <a:pt x="351763" y="515169"/>
                  </a:cubicBezTo>
                  <a:lnTo>
                    <a:pt x="337476" y="519651"/>
                  </a:lnTo>
                  <a:lnTo>
                    <a:pt x="331517" y="518306"/>
                  </a:lnTo>
                  <a:cubicBezTo>
                    <a:pt x="330520" y="517772"/>
                    <a:pt x="330315" y="517143"/>
                    <a:pt x="330315" y="516392"/>
                  </a:cubicBezTo>
                  <a:cubicBezTo>
                    <a:pt x="330315" y="515169"/>
                    <a:pt x="330588" y="514284"/>
                    <a:pt x="331135" y="513750"/>
                  </a:cubicBezTo>
                  <a:cubicBezTo>
                    <a:pt x="333449" y="511839"/>
                    <a:pt x="335290" y="508172"/>
                    <a:pt x="336638" y="502735"/>
                  </a:cubicBezTo>
                  <a:lnTo>
                    <a:pt x="336892" y="500397"/>
                  </a:lnTo>
                  <a:lnTo>
                    <a:pt x="332884" y="503629"/>
                  </a:lnTo>
                  <a:cubicBezTo>
                    <a:pt x="332927" y="504131"/>
                    <a:pt x="332829" y="504626"/>
                    <a:pt x="332723" y="505138"/>
                  </a:cubicBezTo>
                  <a:cubicBezTo>
                    <a:pt x="331371" y="510573"/>
                    <a:pt x="329535" y="514240"/>
                    <a:pt x="327234" y="516150"/>
                  </a:cubicBezTo>
                  <a:lnTo>
                    <a:pt x="327234" y="514924"/>
                  </a:lnTo>
                  <a:cubicBezTo>
                    <a:pt x="327097" y="514782"/>
                    <a:pt x="326826" y="514715"/>
                    <a:pt x="326423" y="514715"/>
                  </a:cubicBezTo>
                  <a:cubicBezTo>
                    <a:pt x="324526" y="514858"/>
                    <a:pt x="323033" y="517167"/>
                    <a:pt x="321943" y="521651"/>
                  </a:cubicBezTo>
                  <a:lnTo>
                    <a:pt x="321311" y="525998"/>
                  </a:lnTo>
                  <a:lnTo>
                    <a:pt x="324561" y="534455"/>
                  </a:lnTo>
                  <a:cubicBezTo>
                    <a:pt x="325302" y="534381"/>
                    <a:pt x="326168" y="533922"/>
                    <a:pt x="327234" y="533261"/>
                  </a:cubicBezTo>
                  <a:cubicBezTo>
                    <a:pt x="328998" y="532454"/>
                    <a:pt x="330689" y="532045"/>
                    <a:pt x="332315" y="532045"/>
                  </a:cubicBezTo>
                  <a:cubicBezTo>
                    <a:pt x="333127" y="532045"/>
                    <a:pt x="334216" y="532311"/>
                    <a:pt x="335572" y="532862"/>
                  </a:cubicBezTo>
                  <a:cubicBezTo>
                    <a:pt x="336787" y="533537"/>
                    <a:pt x="337400" y="534221"/>
                    <a:pt x="337400" y="534896"/>
                  </a:cubicBezTo>
                  <a:cubicBezTo>
                    <a:pt x="337400" y="535029"/>
                    <a:pt x="336787" y="535779"/>
                    <a:pt x="335572" y="537138"/>
                  </a:cubicBezTo>
                  <a:cubicBezTo>
                    <a:pt x="334079" y="538497"/>
                    <a:pt x="333332" y="539855"/>
                    <a:pt x="333332" y="541214"/>
                  </a:cubicBezTo>
                  <a:cubicBezTo>
                    <a:pt x="333332" y="542706"/>
                    <a:pt x="334006" y="544207"/>
                    <a:pt x="335366" y="545698"/>
                  </a:cubicBezTo>
                  <a:cubicBezTo>
                    <a:pt x="336859" y="547599"/>
                    <a:pt x="338074" y="550116"/>
                    <a:pt x="339027" y="553233"/>
                  </a:cubicBezTo>
                  <a:cubicBezTo>
                    <a:pt x="339434" y="554325"/>
                    <a:pt x="339568" y="556368"/>
                    <a:pt x="339434" y="559351"/>
                  </a:cubicBezTo>
                  <a:lnTo>
                    <a:pt x="338821" y="566287"/>
                  </a:lnTo>
                  <a:cubicBezTo>
                    <a:pt x="338688" y="566553"/>
                    <a:pt x="338074" y="569746"/>
                    <a:pt x="336993" y="575855"/>
                  </a:cubicBezTo>
                  <a:lnTo>
                    <a:pt x="337195" y="584425"/>
                  </a:lnTo>
                  <a:cubicBezTo>
                    <a:pt x="337057" y="587408"/>
                    <a:pt x="336040" y="589926"/>
                    <a:pt x="334144" y="591959"/>
                  </a:cubicBezTo>
                  <a:cubicBezTo>
                    <a:pt x="331839" y="594543"/>
                    <a:pt x="330220" y="597669"/>
                    <a:pt x="329268" y="601337"/>
                  </a:cubicBezTo>
                  <a:cubicBezTo>
                    <a:pt x="329131" y="602021"/>
                    <a:pt x="329058" y="603303"/>
                    <a:pt x="329058" y="605213"/>
                  </a:cubicBezTo>
                  <a:cubicBezTo>
                    <a:pt x="328925" y="606838"/>
                    <a:pt x="328655" y="608263"/>
                    <a:pt x="328251" y="609489"/>
                  </a:cubicBezTo>
                  <a:lnTo>
                    <a:pt x="323372" y="616624"/>
                  </a:lnTo>
                  <a:cubicBezTo>
                    <a:pt x="322286" y="618657"/>
                    <a:pt x="321539" y="621241"/>
                    <a:pt x="321132" y="624367"/>
                  </a:cubicBezTo>
                  <a:lnTo>
                    <a:pt x="319711" y="632101"/>
                  </a:lnTo>
                  <a:lnTo>
                    <a:pt x="317677" y="635160"/>
                  </a:lnTo>
                  <a:cubicBezTo>
                    <a:pt x="315510" y="639645"/>
                    <a:pt x="315239" y="640937"/>
                    <a:pt x="314828" y="643113"/>
                  </a:cubicBezTo>
                  <a:cubicBezTo>
                    <a:pt x="314287" y="645156"/>
                    <a:pt x="313476" y="646172"/>
                    <a:pt x="312390" y="646172"/>
                  </a:cubicBezTo>
                  <a:cubicBezTo>
                    <a:pt x="310356" y="646030"/>
                    <a:pt x="309141" y="645022"/>
                    <a:pt x="308726" y="643113"/>
                  </a:cubicBezTo>
                  <a:cubicBezTo>
                    <a:pt x="308593" y="642980"/>
                    <a:pt x="308395" y="640880"/>
                    <a:pt x="308124" y="636795"/>
                  </a:cubicBezTo>
                  <a:cubicBezTo>
                    <a:pt x="307854" y="630818"/>
                    <a:pt x="304464" y="627759"/>
                    <a:pt x="297958" y="627626"/>
                  </a:cubicBezTo>
                  <a:lnTo>
                    <a:pt x="284329" y="623351"/>
                  </a:lnTo>
                  <a:cubicBezTo>
                    <a:pt x="283655" y="621849"/>
                    <a:pt x="281754" y="620358"/>
                    <a:pt x="278642" y="618866"/>
                  </a:cubicBezTo>
                  <a:lnTo>
                    <a:pt x="273352" y="614581"/>
                  </a:lnTo>
                  <a:lnTo>
                    <a:pt x="272129" y="614581"/>
                  </a:lnTo>
                  <a:lnTo>
                    <a:pt x="272129" y="616624"/>
                  </a:lnTo>
                  <a:cubicBezTo>
                    <a:pt x="272677" y="617574"/>
                    <a:pt x="274574" y="619541"/>
                    <a:pt x="277823" y="622533"/>
                  </a:cubicBezTo>
                  <a:cubicBezTo>
                    <a:pt x="280810" y="625118"/>
                    <a:pt x="282440" y="627360"/>
                    <a:pt x="282707" y="629260"/>
                  </a:cubicBezTo>
                  <a:cubicBezTo>
                    <a:pt x="283385" y="633061"/>
                    <a:pt x="286093" y="637545"/>
                    <a:pt x="290843" y="642704"/>
                  </a:cubicBezTo>
                  <a:cubicBezTo>
                    <a:pt x="290976" y="642980"/>
                    <a:pt x="292058" y="645079"/>
                    <a:pt x="294088" y="649022"/>
                  </a:cubicBezTo>
                  <a:cubicBezTo>
                    <a:pt x="295177" y="651065"/>
                    <a:pt x="296941" y="652148"/>
                    <a:pt x="299379" y="652281"/>
                  </a:cubicBezTo>
                  <a:cubicBezTo>
                    <a:pt x="301953" y="652557"/>
                    <a:pt x="303508" y="653773"/>
                    <a:pt x="304056" y="655949"/>
                  </a:cubicBezTo>
                  <a:cubicBezTo>
                    <a:pt x="304327" y="657174"/>
                    <a:pt x="304597" y="659616"/>
                    <a:pt x="304867" y="663293"/>
                  </a:cubicBezTo>
                  <a:cubicBezTo>
                    <a:pt x="304464" y="664234"/>
                    <a:pt x="304254" y="665526"/>
                    <a:pt x="304254" y="667160"/>
                  </a:cubicBezTo>
                  <a:cubicBezTo>
                    <a:pt x="304254" y="668386"/>
                    <a:pt x="304867" y="669469"/>
                    <a:pt x="306090" y="670419"/>
                  </a:cubicBezTo>
                  <a:cubicBezTo>
                    <a:pt x="307305" y="671369"/>
                    <a:pt x="307854" y="672595"/>
                    <a:pt x="307709" y="674096"/>
                  </a:cubicBezTo>
                  <a:lnTo>
                    <a:pt x="307511" y="676538"/>
                  </a:lnTo>
                  <a:lnTo>
                    <a:pt x="305003" y="677074"/>
                  </a:lnTo>
                  <a:lnTo>
                    <a:pt x="305308" y="677810"/>
                  </a:lnTo>
                  <a:lnTo>
                    <a:pt x="309349" y="676948"/>
                  </a:lnTo>
                  <a:cubicBezTo>
                    <a:pt x="309219" y="677355"/>
                    <a:pt x="309078" y="677697"/>
                    <a:pt x="308948" y="677973"/>
                  </a:cubicBezTo>
                  <a:cubicBezTo>
                    <a:pt x="308125" y="682310"/>
                    <a:pt x="308678" y="683880"/>
                    <a:pt x="309761" y="685914"/>
                  </a:cubicBezTo>
                  <a:cubicBezTo>
                    <a:pt x="310984" y="687948"/>
                    <a:pt x="311526" y="690397"/>
                    <a:pt x="311396" y="693245"/>
                  </a:cubicBezTo>
                  <a:cubicBezTo>
                    <a:pt x="311396" y="695694"/>
                    <a:pt x="309761" y="698338"/>
                    <a:pt x="306490" y="701194"/>
                  </a:cubicBezTo>
                  <a:cubicBezTo>
                    <a:pt x="303371" y="704180"/>
                    <a:pt x="301735" y="706832"/>
                    <a:pt x="301606" y="709143"/>
                  </a:cubicBezTo>
                  <a:cubicBezTo>
                    <a:pt x="301606" y="710225"/>
                    <a:pt x="302418" y="710974"/>
                    <a:pt x="304053" y="711381"/>
                  </a:cubicBezTo>
                  <a:cubicBezTo>
                    <a:pt x="305818" y="711787"/>
                    <a:pt x="306696" y="712471"/>
                    <a:pt x="306696" y="713423"/>
                  </a:cubicBezTo>
                  <a:cubicBezTo>
                    <a:pt x="306696" y="714236"/>
                    <a:pt x="305136" y="716677"/>
                    <a:pt x="302006" y="720754"/>
                  </a:cubicBezTo>
                  <a:cubicBezTo>
                    <a:pt x="298887" y="724692"/>
                    <a:pt x="297263" y="728353"/>
                    <a:pt x="297122" y="731754"/>
                  </a:cubicBezTo>
                  <a:cubicBezTo>
                    <a:pt x="297122" y="733243"/>
                    <a:pt x="297263" y="736033"/>
                    <a:pt x="297533" y="740110"/>
                  </a:cubicBezTo>
                  <a:cubicBezTo>
                    <a:pt x="297533" y="742827"/>
                    <a:pt x="297046" y="744861"/>
                    <a:pt x="296104" y="746220"/>
                  </a:cubicBezTo>
                  <a:cubicBezTo>
                    <a:pt x="295963" y="746489"/>
                    <a:pt x="294674" y="747310"/>
                    <a:pt x="292227" y="748661"/>
                  </a:cubicBezTo>
                  <a:cubicBezTo>
                    <a:pt x="288837" y="751517"/>
                    <a:pt x="287072" y="757294"/>
                    <a:pt x="286931" y="765975"/>
                  </a:cubicBezTo>
                  <a:cubicBezTo>
                    <a:pt x="286931" y="766927"/>
                    <a:pt x="286725" y="768766"/>
                    <a:pt x="286313" y="771483"/>
                  </a:cubicBezTo>
                  <a:lnTo>
                    <a:pt x="283877" y="775958"/>
                  </a:lnTo>
                  <a:cubicBezTo>
                    <a:pt x="281299" y="775958"/>
                    <a:pt x="279458" y="773997"/>
                    <a:pt x="278375" y="770051"/>
                  </a:cubicBezTo>
                  <a:cubicBezTo>
                    <a:pt x="277411" y="767203"/>
                    <a:pt x="277010" y="764152"/>
                    <a:pt x="277140" y="760882"/>
                  </a:cubicBezTo>
                  <a:cubicBezTo>
                    <a:pt x="277140" y="760483"/>
                    <a:pt x="277411" y="759124"/>
                    <a:pt x="277953" y="756813"/>
                  </a:cubicBezTo>
                  <a:cubicBezTo>
                    <a:pt x="278776" y="754364"/>
                    <a:pt x="279187" y="751924"/>
                    <a:pt x="279187" y="749475"/>
                  </a:cubicBezTo>
                  <a:cubicBezTo>
                    <a:pt x="279187" y="747172"/>
                    <a:pt x="279523" y="745065"/>
                    <a:pt x="280205" y="743161"/>
                  </a:cubicBezTo>
                  <a:cubicBezTo>
                    <a:pt x="280335" y="742347"/>
                    <a:pt x="280953" y="740858"/>
                    <a:pt x="282036" y="738686"/>
                  </a:cubicBezTo>
                  <a:cubicBezTo>
                    <a:pt x="282718" y="737319"/>
                    <a:pt x="283400" y="735562"/>
                    <a:pt x="284072" y="733381"/>
                  </a:cubicBezTo>
                  <a:cubicBezTo>
                    <a:pt x="284624" y="731347"/>
                    <a:pt x="285295" y="729581"/>
                    <a:pt x="286108" y="728084"/>
                  </a:cubicBezTo>
                  <a:cubicBezTo>
                    <a:pt x="286259" y="727678"/>
                    <a:pt x="287342" y="725977"/>
                    <a:pt x="289378" y="722991"/>
                  </a:cubicBezTo>
                  <a:lnTo>
                    <a:pt x="292032" y="717491"/>
                  </a:lnTo>
                  <a:cubicBezTo>
                    <a:pt x="292032" y="716409"/>
                    <a:pt x="291414" y="715864"/>
                    <a:pt x="290191" y="715864"/>
                  </a:cubicBezTo>
                  <a:cubicBezTo>
                    <a:pt x="289649" y="715994"/>
                    <a:pt x="289108" y="716271"/>
                    <a:pt x="288566" y="716677"/>
                  </a:cubicBezTo>
                  <a:cubicBezTo>
                    <a:pt x="288014" y="716946"/>
                    <a:pt x="287548" y="717084"/>
                    <a:pt x="287126" y="717084"/>
                  </a:cubicBezTo>
                  <a:lnTo>
                    <a:pt x="284895" y="716474"/>
                  </a:lnTo>
                  <a:cubicBezTo>
                    <a:pt x="284072" y="716474"/>
                    <a:pt x="283400" y="716816"/>
                    <a:pt x="282859" y="717491"/>
                  </a:cubicBezTo>
                  <a:cubicBezTo>
                    <a:pt x="282176" y="718174"/>
                    <a:pt x="281082" y="718516"/>
                    <a:pt x="279588" y="718516"/>
                  </a:cubicBezTo>
                  <a:cubicBezTo>
                    <a:pt x="277823" y="718239"/>
                    <a:pt x="276599" y="717768"/>
                    <a:pt x="275917" y="717084"/>
                  </a:cubicBezTo>
                  <a:cubicBezTo>
                    <a:pt x="274834" y="716132"/>
                    <a:pt x="274227" y="714236"/>
                    <a:pt x="274086" y="711381"/>
                  </a:cubicBezTo>
                  <a:cubicBezTo>
                    <a:pt x="273956" y="710299"/>
                    <a:pt x="273209" y="708932"/>
                    <a:pt x="271844" y="707304"/>
                  </a:cubicBezTo>
                  <a:cubicBezTo>
                    <a:pt x="268520" y="700722"/>
                    <a:pt x="266072" y="699428"/>
                    <a:pt x="262260" y="699567"/>
                  </a:cubicBezTo>
                  <a:cubicBezTo>
                    <a:pt x="259011" y="699567"/>
                    <a:pt x="257375" y="698070"/>
                    <a:pt x="257375" y="695084"/>
                  </a:cubicBezTo>
                  <a:cubicBezTo>
                    <a:pt x="257245" y="691553"/>
                    <a:pt x="256422" y="688697"/>
                    <a:pt x="254928" y="686524"/>
                  </a:cubicBezTo>
                  <a:cubicBezTo>
                    <a:pt x="253033" y="684083"/>
                    <a:pt x="251874" y="682180"/>
                    <a:pt x="251462" y="680821"/>
                  </a:cubicBezTo>
                  <a:cubicBezTo>
                    <a:pt x="251603" y="679194"/>
                    <a:pt x="251603" y="677973"/>
                    <a:pt x="251462" y="677151"/>
                  </a:cubicBezTo>
                  <a:cubicBezTo>
                    <a:pt x="251462" y="675248"/>
                    <a:pt x="250921" y="674230"/>
                    <a:pt x="249838" y="674100"/>
                  </a:cubicBezTo>
                  <a:cubicBezTo>
                    <a:pt x="246437" y="673279"/>
                    <a:pt x="244802" y="671790"/>
                    <a:pt x="244942" y="669617"/>
                  </a:cubicBezTo>
                  <a:cubicBezTo>
                    <a:pt x="244942" y="668120"/>
                    <a:pt x="245895" y="667168"/>
                    <a:pt x="247802" y="666761"/>
                  </a:cubicBezTo>
                  <a:cubicBezTo>
                    <a:pt x="249567" y="666216"/>
                    <a:pt x="250444" y="665061"/>
                    <a:pt x="250444" y="663303"/>
                  </a:cubicBezTo>
                  <a:cubicBezTo>
                    <a:pt x="250585" y="661538"/>
                    <a:pt x="250379" y="660041"/>
                    <a:pt x="249838" y="658820"/>
                  </a:cubicBezTo>
                  <a:cubicBezTo>
                    <a:pt x="249155" y="657600"/>
                    <a:pt x="248397" y="656917"/>
                    <a:pt x="247585" y="656778"/>
                  </a:cubicBezTo>
                  <a:cubicBezTo>
                    <a:pt x="246784" y="656778"/>
                    <a:pt x="246025" y="657120"/>
                    <a:pt x="245343" y="657803"/>
                  </a:cubicBezTo>
                  <a:cubicBezTo>
                    <a:pt x="242224" y="657120"/>
                    <a:pt x="242083" y="656445"/>
                    <a:pt x="242083" y="655354"/>
                  </a:cubicBezTo>
                  <a:cubicBezTo>
                    <a:pt x="242224" y="653996"/>
                    <a:pt x="243112" y="652710"/>
                    <a:pt x="244737" y="651481"/>
                  </a:cubicBezTo>
                  <a:cubicBezTo>
                    <a:pt x="246708" y="647747"/>
                    <a:pt x="246025" y="646941"/>
                    <a:pt x="245343" y="645990"/>
                  </a:cubicBezTo>
                  <a:cubicBezTo>
                    <a:pt x="243859" y="643947"/>
                    <a:pt x="243036" y="641303"/>
                    <a:pt x="242896" y="638040"/>
                  </a:cubicBezTo>
                  <a:cubicBezTo>
                    <a:pt x="243036" y="635054"/>
                    <a:pt x="244877" y="631792"/>
                    <a:pt x="248397" y="628261"/>
                  </a:cubicBezTo>
                  <a:cubicBezTo>
                    <a:pt x="251798" y="624868"/>
                    <a:pt x="253574" y="621947"/>
                    <a:pt x="253704" y="619506"/>
                  </a:cubicBezTo>
                  <a:cubicBezTo>
                    <a:pt x="253704" y="617602"/>
                    <a:pt x="253357" y="616105"/>
                    <a:pt x="252686" y="615015"/>
                  </a:cubicBezTo>
                  <a:cubicBezTo>
                    <a:pt x="251874" y="613802"/>
                    <a:pt x="250856" y="613184"/>
                    <a:pt x="249632" y="613184"/>
                  </a:cubicBezTo>
                  <a:cubicBezTo>
                    <a:pt x="248679" y="613054"/>
                    <a:pt x="247932" y="613257"/>
                    <a:pt x="247379" y="613802"/>
                  </a:cubicBezTo>
                  <a:cubicBezTo>
                    <a:pt x="246437" y="614478"/>
                    <a:pt x="245960" y="615153"/>
                    <a:pt x="245960" y="615837"/>
                  </a:cubicBezTo>
                  <a:cubicBezTo>
                    <a:pt x="245960" y="616788"/>
                    <a:pt x="246296" y="617806"/>
                    <a:pt x="246979" y="618896"/>
                  </a:cubicBezTo>
                  <a:cubicBezTo>
                    <a:pt x="247531" y="620108"/>
                    <a:pt x="247726" y="621133"/>
                    <a:pt x="247585" y="621947"/>
                  </a:cubicBezTo>
                  <a:cubicBezTo>
                    <a:pt x="247585" y="623851"/>
                    <a:pt x="245549" y="625405"/>
                    <a:pt x="241477" y="626633"/>
                  </a:cubicBezTo>
                  <a:lnTo>
                    <a:pt x="234957" y="629693"/>
                  </a:lnTo>
                  <a:cubicBezTo>
                    <a:pt x="234957" y="630238"/>
                    <a:pt x="235228" y="631247"/>
                    <a:pt x="235769" y="632744"/>
                  </a:cubicBezTo>
                  <a:cubicBezTo>
                    <a:pt x="236040" y="634102"/>
                    <a:pt x="236170" y="635185"/>
                    <a:pt x="236170" y="636006"/>
                  </a:cubicBezTo>
                  <a:cubicBezTo>
                    <a:pt x="236170" y="638309"/>
                    <a:pt x="235629" y="639464"/>
                    <a:pt x="234546" y="639464"/>
                  </a:cubicBezTo>
                  <a:cubicBezTo>
                    <a:pt x="234004" y="639464"/>
                    <a:pt x="232975" y="639057"/>
                    <a:pt x="231491" y="638244"/>
                  </a:cubicBezTo>
                  <a:cubicBezTo>
                    <a:pt x="227203" y="640554"/>
                    <a:pt x="228979" y="642255"/>
                    <a:pt x="232509" y="644558"/>
                  </a:cubicBezTo>
                  <a:cubicBezTo>
                    <a:pt x="236040" y="646868"/>
                    <a:pt x="237740" y="649651"/>
                    <a:pt x="237610" y="652913"/>
                  </a:cubicBezTo>
                  <a:cubicBezTo>
                    <a:pt x="237610" y="653589"/>
                    <a:pt x="236787" y="654476"/>
                    <a:pt x="235152" y="655558"/>
                  </a:cubicBezTo>
                  <a:cubicBezTo>
                    <a:pt x="233939" y="656648"/>
                    <a:pt x="233322" y="658820"/>
                    <a:pt x="233322" y="662075"/>
                  </a:cubicBezTo>
                  <a:cubicBezTo>
                    <a:pt x="233051" y="670227"/>
                    <a:pt x="234957" y="677697"/>
                    <a:pt x="239029" y="684490"/>
                  </a:cubicBezTo>
                  <a:lnTo>
                    <a:pt x="246784" y="700991"/>
                  </a:lnTo>
                  <a:lnTo>
                    <a:pt x="247379" y="704855"/>
                  </a:lnTo>
                  <a:cubicBezTo>
                    <a:pt x="247249" y="705807"/>
                    <a:pt x="246567" y="706361"/>
                    <a:pt x="245343" y="706491"/>
                  </a:cubicBezTo>
                  <a:cubicBezTo>
                    <a:pt x="243307" y="706898"/>
                    <a:pt x="241683" y="707443"/>
                    <a:pt x="240459" y="708126"/>
                  </a:cubicBezTo>
                  <a:cubicBezTo>
                    <a:pt x="238964" y="709070"/>
                    <a:pt x="237805" y="709818"/>
                    <a:pt x="236993" y="710364"/>
                  </a:cubicBezTo>
                  <a:cubicBezTo>
                    <a:pt x="235499" y="711316"/>
                    <a:pt x="234134" y="711787"/>
                    <a:pt x="232921" y="711787"/>
                  </a:cubicBezTo>
                  <a:cubicBezTo>
                    <a:pt x="232380" y="711787"/>
                    <a:pt x="231080" y="711316"/>
                    <a:pt x="229044" y="710364"/>
                  </a:cubicBezTo>
                  <a:cubicBezTo>
                    <a:pt x="225513" y="708997"/>
                    <a:pt x="223672" y="707711"/>
                    <a:pt x="221495" y="706491"/>
                  </a:cubicBezTo>
                  <a:lnTo>
                    <a:pt x="216611" y="704457"/>
                  </a:lnTo>
                  <a:cubicBezTo>
                    <a:pt x="216340" y="704587"/>
                    <a:pt x="213958" y="705612"/>
                    <a:pt x="209474" y="707508"/>
                  </a:cubicBezTo>
                  <a:lnTo>
                    <a:pt x="201730" y="710364"/>
                  </a:lnTo>
                  <a:cubicBezTo>
                    <a:pt x="200507" y="710364"/>
                    <a:pt x="199759" y="709347"/>
                    <a:pt x="199489" y="707304"/>
                  </a:cubicBezTo>
                  <a:cubicBezTo>
                    <a:pt x="199218" y="706084"/>
                    <a:pt x="199153" y="704050"/>
                    <a:pt x="199283" y="701194"/>
                  </a:cubicBezTo>
                  <a:cubicBezTo>
                    <a:pt x="199424" y="696711"/>
                    <a:pt x="200442" y="693115"/>
                    <a:pt x="202337" y="690397"/>
                  </a:cubicBezTo>
                  <a:cubicBezTo>
                    <a:pt x="204514" y="687403"/>
                    <a:pt x="206214" y="684897"/>
                    <a:pt x="207438" y="682863"/>
                  </a:cubicBezTo>
                  <a:lnTo>
                    <a:pt x="210492" y="678372"/>
                  </a:lnTo>
                  <a:cubicBezTo>
                    <a:pt x="207633" y="676745"/>
                    <a:pt x="205402" y="675321"/>
                    <a:pt x="203766" y="674100"/>
                  </a:cubicBezTo>
                  <a:lnTo>
                    <a:pt x="198460" y="668397"/>
                  </a:lnTo>
                  <a:cubicBezTo>
                    <a:pt x="197918" y="664727"/>
                    <a:pt x="196294" y="662555"/>
                    <a:pt x="193575" y="661871"/>
                  </a:cubicBezTo>
                  <a:cubicBezTo>
                    <a:pt x="192763" y="661871"/>
                    <a:pt x="192016" y="661806"/>
                    <a:pt x="191333" y="661668"/>
                  </a:cubicBezTo>
                  <a:cubicBezTo>
                    <a:pt x="188886" y="661538"/>
                    <a:pt x="186785" y="661058"/>
                    <a:pt x="185020" y="660244"/>
                  </a:cubicBezTo>
                  <a:cubicBezTo>
                    <a:pt x="183926" y="659699"/>
                    <a:pt x="182973" y="657600"/>
                    <a:pt x="182160" y="653922"/>
                  </a:cubicBezTo>
                  <a:lnTo>
                    <a:pt x="179312" y="648634"/>
                  </a:lnTo>
                  <a:cubicBezTo>
                    <a:pt x="175229" y="647682"/>
                    <a:pt x="170810" y="646795"/>
                    <a:pt x="166056" y="645990"/>
                  </a:cubicBezTo>
                  <a:cubicBezTo>
                    <a:pt x="166262" y="641775"/>
                    <a:pt x="165450" y="641230"/>
                    <a:pt x="163814" y="640693"/>
                  </a:cubicBezTo>
                  <a:cubicBezTo>
                    <a:pt x="162460" y="640416"/>
                    <a:pt x="161778" y="639196"/>
                    <a:pt x="161778" y="637015"/>
                  </a:cubicBezTo>
                  <a:cubicBezTo>
                    <a:pt x="161031" y="631523"/>
                    <a:pt x="160013" y="630710"/>
                    <a:pt x="158518" y="630710"/>
                  </a:cubicBezTo>
                  <a:cubicBezTo>
                    <a:pt x="154717" y="630571"/>
                    <a:pt x="151045" y="629351"/>
                    <a:pt x="147504" y="627040"/>
                  </a:cubicBezTo>
                  <a:lnTo>
                    <a:pt x="142414" y="623371"/>
                  </a:lnTo>
                  <a:cubicBezTo>
                    <a:pt x="141872" y="623371"/>
                    <a:pt x="139836" y="624941"/>
                    <a:pt x="136295" y="628057"/>
                  </a:cubicBezTo>
                  <a:lnTo>
                    <a:pt x="130392" y="633354"/>
                  </a:lnTo>
                  <a:cubicBezTo>
                    <a:pt x="126992" y="633761"/>
                    <a:pt x="124945" y="635185"/>
                    <a:pt x="124273" y="637634"/>
                  </a:cubicBezTo>
                  <a:cubicBezTo>
                    <a:pt x="123591" y="639668"/>
                    <a:pt x="121685" y="640620"/>
                    <a:pt x="118566" y="640481"/>
                  </a:cubicBezTo>
                  <a:cubicBezTo>
                    <a:pt x="117483" y="640481"/>
                    <a:pt x="116519" y="639537"/>
                    <a:pt x="115707" y="637634"/>
                  </a:cubicBezTo>
                  <a:lnTo>
                    <a:pt x="109999" y="636617"/>
                  </a:lnTo>
                  <a:cubicBezTo>
                    <a:pt x="109599" y="637015"/>
                    <a:pt x="108981" y="638716"/>
                    <a:pt x="108169" y="641710"/>
                  </a:cubicBezTo>
                  <a:cubicBezTo>
                    <a:pt x="107617" y="642792"/>
                    <a:pt x="106328" y="644086"/>
                    <a:pt x="104292" y="645583"/>
                  </a:cubicBezTo>
                  <a:lnTo>
                    <a:pt x="98173" y="650668"/>
                  </a:lnTo>
                  <a:cubicBezTo>
                    <a:pt x="92336" y="655826"/>
                    <a:pt x="86217" y="662417"/>
                    <a:pt x="79838" y="670431"/>
                  </a:cubicBezTo>
                  <a:lnTo>
                    <a:pt x="79838" y="669414"/>
                  </a:lnTo>
                  <a:cubicBezTo>
                    <a:pt x="78614" y="660586"/>
                    <a:pt x="77867" y="648495"/>
                    <a:pt x="77596" y="633151"/>
                  </a:cubicBezTo>
                  <a:lnTo>
                    <a:pt x="146118" y="621447"/>
                  </a:lnTo>
                  <a:cubicBezTo>
                    <a:pt x="144574" y="621637"/>
                    <a:pt x="143726" y="620900"/>
                    <a:pt x="142951" y="620090"/>
                  </a:cubicBezTo>
                  <a:lnTo>
                    <a:pt x="75483" y="631610"/>
                  </a:lnTo>
                  <a:lnTo>
                    <a:pt x="20812" y="640171"/>
                  </a:lnTo>
                  <a:cubicBezTo>
                    <a:pt x="18493" y="616807"/>
                    <a:pt x="16384" y="600849"/>
                    <a:pt x="14485" y="592288"/>
                  </a:cubicBezTo>
                  <a:cubicBezTo>
                    <a:pt x="13940" y="590386"/>
                    <a:pt x="13395" y="586378"/>
                    <a:pt x="12850" y="580264"/>
                  </a:cubicBezTo>
                  <a:cubicBezTo>
                    <a:pt x="11356" y="570484"/>
                    <a:pt x="9247" y="555607"/>
                    <a:pt x="6523" y="535641"/>
                  </a:cubicBezTo>
                  <a:lnTo>
                    <a:pt x="0" y="488367"/>
                  </a:lnTo>
                  <a:cubicBezTo>
                    <a:pt x="1899" y="487287"/>
                    <a:pt x="5852" y="484978"/>
                    <a:pt x="11831" y="481441"/>
                  </a:cubicBezTo>
                  <a:cubicBezTo>
                    <a:pt x="12375" y="481035"/>
                    <a:pt x="13465" y="479945"/>
                    <a:pt x="15085" y="478181"/>
                  </a:cubicBezTo>
                  <a:cubicBezTo>
                    <a:pt x="16454" y="476556"/>
                    <a:pt x="17949" y="475189"/>
                    <a:pt x="19583" y="474109"/>
                  </a:cubicBezTo>
                  <a:cubicBezTo>
                    <a:pt x="21077" y="473019"/>
                    <a:pt x="23661" y="471052"/>
                    <a:pt x="27335" y="468207"/>
                  </a:cubicBezTo>
                  <a:cubicBezTo>
                    <a:pt x="28564" y="467118"/>
                    <a:pt x="30464" y="465215"/>
                    <a:pt x="33048" y="462500"/>
                  </a:cubicBezTo>
                  <a:lnTo>
                    <a:pt x="34125" y="467564"/>
                  </a:lnTo>
                  <a:cubicBezTo>
                    <a:pt x="34967" y="466305"/>
                    <a:pt x="36212" y="465544"/>
                    <a:pt x="37544" y="464842"/>
                  </a:cubicBezTo>
                  <a:lnTo>
                    <a:pt x="36756" y="461133"/>
                  </a:lnTo>
                  <a:cubicBezTo>
                    <a:pt x="37302" y="460318"/>
                    <a:pt x="37904" y="459574"/>
                    <a:pt x="38596" y="458899"/>
                  </a:cubicBezTo>
                  <a:cubicBezTo>
                    <a:pt x="41858" y="455359"/>
                    <a:pt x="44373" y="452844"/>
                    <a:pt x="46140" y="451340"/>
                  </a:cubicBezTo>
                  <a:cubicBezTo>
                    <a:pt x="49147" y="448502"/>
                    <a:pt x="53976" y="443262"/>
                    <a:pt x="60645" y="435647"/>
                  </a:cubicBezTo>
                  <a:lnTo>
                    <a:pt x="72672" y="419335"/>
                  </a:lnTo>
                  <a:cubicBezTo>
                    <a:pt x="72672" y="416342"/>
                    <a:pt x="71469" y="414853"/>
                    <a:pt x="69009" y="414853"/>
                  </a:cubicBezTo>
                  <a:lnTo>
                    <a:pt x="68809" y="414853"/>
                  </a:lnTo>
                  <a:cubicBezTo>
                    <a:pt x="69082" y="414305"/>
                    <a:pt x="69355" y="413897"/>
                    <a:pt x="69610" y="413631"/>
                  </a:cubicBezTo>
                  <a:cubicBezTo>
                    <a:pt x="71524" y="411326"/>
                    <a:pt x="70922" y="409205"/>
                    <a:pt x="67788" y="407308"/>
                  </a:cubicBezTo>
                  <a:lnTo>
                    <a:pt x="60645" y="400578"/>
                  </a:lnTo>
                  <a:cubicBezTo>
                    <a:pt x="59953" y="398541"/>
                    <a:pt x="59752" y="395548"/>
                    <a:pt x="60025" y="391614"/>
                  </a:cubicBezTo>
                  <a:cubicBezTo>
                    <a:pt x="60153" y="389704"/>
                    <a:pt x="60153" y="388214"/>
                    <a:pt x="60025" y="387118"/>
                  </a:cubicBezTo>
                  <a:lnTo>
                    <a:pt x="60226" y="386922"/>
                  </a:lnTo>
                  <a:cubicBezTo>
                    <a:pt x="61866" y="386641"/>
                    <a:pt x="63087" y="386107"/>
                    <a:pt x="63907" y="385292"/>
                  </a:cubicBezTo>
                  <a:cubicBezTo>
                    <a:pt x="66349" y="382707"/>
                    <a:pt x="72745" y="379911"/>
                    <a:pt x="83095" y="376932"/>
                  </a:cubicBezTo>
                  <a:cubicBezTo>
                    <a:pt x="83095" y="376792"/>
                    <a:pt x="83168" y="376721"/>
                    <a:pt x="83295" y="376721"/>
                  </a:cubicBezTo>
                  <a:lnTo>
                    <a:pt x="102483" y="372647"/>
                  </a:lnTo>
                  <a:lnTo>
                    <a:pt x="103923" y="372844"/>
                  </a:lnTo>
                  <a:cubicBezTo>
                    <a:pt x="107057" y="372717"/>
                    <a:pt x="110920" y="372717"/>
                    <a:pt x="115548" y="372844"/>
                  </a:cubicBezTo>
                  <a:lnTo>
                    <a:pt x="115767" y="372844"/>
                  </a:lnTo>
                  <a:cubicBezTo>
                    <a:pt x="118063" y="372844"/>
                    <a:pt x="120651" y="373532"/>
                    <a:pt x="123512" y="374881"/>
                  </a:cubicBezTo>
                  <a:lnTo>
                    <a:pt x="128832" y="377129"/>
                  </a:lnTo>
                  <a:cubicBezTo>
                    <a:pt x="131420" y="377269"/>
                    <a:pt x="134263" y="376117"/>
                    <a:pt x="137397" y="373659"/>
                  </a:cubicBezTo>
                  <a:cubicBezTo>
                    <a:pt x="140659" y="371087"/>
                    <a:pt x="144139" y="369795"/>
                    <a:pt x="147820" y="369795"/>
                  </a:cubicBezTo>
                  <a:cubicBezTo>
                    <a:pt x="152303" y="369935"/>
                    <a:pt x="156330" y="370132"/>
                    <a:pt x="159865" y="370399"/>
                  </a:cubicBezTo>
                  <a:cubicBezTo>
                    <a:pt x="160539" y="370273"/>
                    <a:pt x="162379" y="368362"/>
                    <a:pt x="165368" y="364695"/>
                  </a:cubicBezTo>
                  <a:cubicBezTo>
                    <a:pt x="165787" y="364020"/>
                    <a:pt x="166261" y="363332"/>
                    <a:pt x="166807" y="362658"/>
                  </a:cubicBezTo>
                  <a:cubicBezTo>
                    <a:pt x="167063" y="362250"/>
                    <a:pt x="167555" y="361702"/>
                    <a:pt x="168229" y="361028"/>
                  </a:cubicBezTo>
                  <a:cubicBezTo>
                    <a:pt x="169049" y="360213"/>
                    <a:pt x="170124" y="359257"/>
                    <a:pt x="171491" y="358162"/>
                  </a:cubicBezTo>
                  <a:cubicBezTo>
                    <a:pt x="171910" y="357768"/>
                    <a:pt x="172311" y="357347"/>
                    <a:pt x="172711" y="356939"/>
                  </a:cubicBezTo>
                  <a:lnTo>
                    <a:pt x="179053" y="351024"/>
                  </a:lnTo>
                  <a:cubicBezTo>
                    <a:pt x="179326" y="350631"/>
                    <a:pt x="179654" y="350223"/>
                    <a:pt x="180073" y="349816"/>
                  </a:cubicBezTo>
                  <a:cubicBezTo>
                    <a:pt x="182041" y="347765"/>
                    <a:pt x="183481" y="347357"/>
                    <a:pt x="186196" y="346542"/>
                  </a:cubicBezTo>
                  <a:cubicBezTo>
                    <a:pt x="187836" y="345868"/>
                    <a:pt x="188984" y="345123"/>
                    <a:pt x="189658" y="344308"/>
                  </a:cubicBezTo>
                  <a:cubicBezTo>
                    <a:pt x="190350" y="343353"/>
                    <a:pt x="190678" y="341850"/>
                    <a:pt x="190678" y="339812"/>
                  </a:cubicBezTo>
                  <a:cubicBezTo>
                    <a:pt x="190824" y="338056"/>
                    <a:pt x="190551" y="336075"/>
                    <a:pt x="189877" y="333911"/>
                  </a:cubicBezTo>
                  <a:cubicBezTo>
                    <a:pt x="189057" y="331593"/>
                    <a:pt x="188091" y="330034"/>
                    <a:pt x="186998" y="329219"/>
                  </a:cubicBezTo>
                  <a:lnTo>
                    <a:pt x="185977" y="329219"/>
                  </a:lnTo>
                  <a:lnTo>
                    <a:pt x="185795" y="324119"/>
                  </a:lnTo>
                  <a:cubicBezTo>
                    <a:pt x="185922" y="322081"/>
                    <a:pt x="186943" y="319904"/>
                    <a:pt x="188856" y="317585"/>
                  </a:cubicBezTo>
                  <a:lnTo>
                    <a:pt x="191498" y="312696"/>
                  </a:lnTo>
                  <a:cubicBezTo>
                    <a:pt x="191025" y="311544"/>
                    <a:pt x="190551" y="311474"/>
                    <a:pt x="189877" y="311474"/>
                  </a:cubicBezTo>
                  <a:cubicBezTo>
                    <a:pt x="189458" y="311474"/>
                    <a:pt x="188583" y="311670"/>
                    <a:pt x="187216" y="312078"/>
                  </a:cubicBezTo>
                  <a:lnTo>
                    <a:pt x="185376" y="312696"/>
                  </a:lnTo>
                  <a:cubicBezTo>
                    <a:pt x="184829" y="312696"/>
                    <a:pt x="184155" y="312148"/>
                    <a:pt x="183335" y="311066"/>
                  </a:cubicBezTo>
                  <a:cubicBezTo>
                    <a:pt x="182661" y="309984"/>
                    <a:pt x="181695" y="309507"/>
                    <a:pt x="180474" y="309633"/>
                  </a:cubicBezTo>
                  <a:lnTo>
                    <a:pt x="177814" y="309633"/>
                  </a:lnTo>
                  <a:lnTo>
                    <a:pt x="176192" y="309226"/>
                  </a:lnTo>
                  <a:cubicBezTo>
                    <a:pt x="176192" y="308818"/>
                    <a:pt x="176338" y="308411"/>
                    <a:pt x="176593" y="308003"/>
                  </a:cubicBezTo>
                  <a:cubicBezTo>
                    <a:pt x="177012" y="307188"/>
                    <a:pt x="177814" y="306177"/>
                    <a:pt x="179053" y="304954"/>
                  </a:cubicBezTo>
                  <a:cubicBezTo>
                    <a:pt x="179454" y="304407"/>
                    <a:pt x="179855" y="303451"/>
                    <a:pt x="180274" y="302088"/>
                  </a:cubicBezTo>
                  <a:cubicBezTo>
                    <a:pt x="180547" y="300866"/>
                    <a:pt x="181021" y="299784"/>
                    <a:pt x="181695" y="298829"/>
                  </a:cubicBezTo>
                  <a:lnTo>
                    <a:pt x="181895" y="298829"/>
                  </a:lnTo>
                  <a:lnTo>
                    <a:pt x="197421" y="279861"/>
                  </a:lnTo>
                  <a:cubicBezTo>
                    <a:pt x="198095" y="278372"/>
                    <a:pt x="199662" y="274705"/>
                    <a:pt x="202122" y="268860"/>
                  </a:cubicBezTo>
                  <a:cubicBezTo>
                    <a:pt x="205238" y="263142"/>
                    <a:pt x="209119" y="257845"/>
                    <a:pt x="213748" y="252956"/>
                  </a:cubicBezTo>
                  <a:cubicBezTo>
                    <a:pt x="217429" y="248881"/>
                    <a:pt x="221984" y="243851"/>
                    <a:pt x="227433" y="237866"/>
                  </a:cubicBezTo>
                  <a:cubicBezTo>
                    <a:pt x="230694" y="234733"/>
                    <a:pt x="234776" y="232626"/>
                    <a:pt x="239678" y="231544"/>
                  </a:cubicBezTo>
                  <a:cubicBezTo>
                    <a:pt x="239805" y="231544"/>
                    <a:pt x="239951" y="231544"/>
                    <a:pt x="240079" y="231544"/>
                  </a:cubicBezTo>
                  <a:cubicBezTo>
                    <a:pt x="241318" y="231277"/>
                    <a:pt x="242612" y="231066"/>
                    <a:pt x="243960" y="230926"/>
                  </a:cubicBezTo>
                  <a:cubicBezTo>
                    <a:pt x="250356" y="230392"/>
                    <a:pt x="261927" y="227877"/>
                    <a:pt x="278673" y="223381"/>
                  </a:cubicBezTo>
                  <a:lnTo>
                    <a:pt x="302218" y="217140"/>
                  </a:lnTo>
                  <a:lnTo>
                    <a:pt x="302218" y="216826"/>
                  </a:lnTo>
                  <a:lnTo>
                    <a:pt x="308716" y="215189"/>
                  </a:lnTo>
                  <a:cubicBezTo>
                    <a:pt x="319276" y="212883"/>
                    <a:pt x="333152" y="209554"/>
                    <a:pt x="350348" y="205210"/>
                  </a:cubicBezTo>
                  <a:cubicBezTo>
                    <a:pt x="371335" y="200047"/>
                    <a:pt x="382505" y="196985"/>
                    <a:pt x="383860" y="196033"/>
                  </a:cubicBezTo>
                  <a:lnTo>
                    <a:pt x="385281" y="199095"/>
                  </a:lnTo>
                  <a:cubicBezTo>
                    <a:pt x="385553" y="200448"/>
                    <a:pt x="385687" y="202353"/>
                    <a:pt x="385687" y="204801"/>
                  </a:cubicBezTo>
                  <a:lnTo>
                    <a:pt x="384204" y="210558"/>
                  </a:lnTo>
                  <a:lnTo>
                    <a:pt x="385146" y="210558"/>
                  </a:lnTo>
                  <a:cubicBezTo>
                    <a:pt x="385938" y="208910"/>
                    <a:pt x="386420" y="206941"/>
                    <a:pt x="386669" y="204680"/>
                  </a:cubicBezTo>
                  <a:cubicBezTo>
                    <a:pt x="386669" y="202236"/>
                    <a:pt x="386535" y="200337"/>
                    <a:pt x="386262" y="198983"/>
                  </a:cubicBezTo>
                  <a:lnTo>
                    <a:pt x="384836" y="195925"/>
                  </a:lnTo>
                  <a:lnTo>
                    <a:pt x="384836" y="195721"/>
                  </a:lnTo>
                  <a:cubicBezTo>
                    <a:pt x="385244" y="195321"/>
                    <a:pt x="385584" y="191854"/>
                    <a:pt x="385858" y="185339"/>
                  </a:cubicBezTo>
                  <a:cubicBezTo>
                    <a:pt x="385992" y="179642"/>
                    <a:pt x="387418" y="176524"/>
                    <a:pt x="390139" y="175979"/>
                  </a:cubicBezTo>
                  <a:cubicBezTo>
                    <a:pt x="392594" y="175434"/>
                    <a:pt x="394970" y="175502"/>
                    <a:pt x="397283" y="176184"/>
                  </a:cubicBezTo>
                  <a:cubicBezTo>
                    <a:pt x="398106" y="176320"/>
                    <a:pt x="398720" y="176243"/>
                    <a:pt x="399124" y="175979"/>
                  </a:cubicBezTo>
                  <a:lnTo>
                    <a:pt x="399608" y="177482"/>
                  </a:lnTo>
                  <a:lnTo>
                    <a:pt x="400552" y="176720"/>
                  </a:lnTo>
                  <a:lnTo>
                    <a:pt x="400235" y="175734"/>
                  </a:lnTo>
                  <a:cubicBezTo>
                    <a:pt x="400640" y="175189"/>
                    <a:pt x="401046" y="174586"/>
                    <a:pt x="401451" y="173908"/>
                  </a:cubicBezTo>
                  <a:lnTo>
                    <a:pt x="406151" y="167592"/>
                  </a:lnTo>
                  <a:cubicBezTo>
                    <a:pt x="407781" y="168136"/>
                    <a:pt x="409555" y="169152"/>
                    <a:pt x="411464" y="170640"/>
                  </a:cubicBezTo>
                  <a:lnTo>
                    <a:pt x="412680" y="164735"/>
                  </a:lnTo>
                  <a:lnTo>
                    <a:pt x="415543" y="139454"/>
                  </a:lnTo>
                  <a:cubicBezTo>
                    <a:pt x="415543" y="137819"/>
                    <a:pt x="414724" y="131429"/>
                    <a:pt x="413094" y="120283"/>
                  </a:cubicBezTo>
                  <a:lnTo>
                    <a:pt x="410438" y="97048"/>
                  </a:lnTo>
                  <a:lnTo>
                    <a:pt x="411662" y="88081"/>
                  </a:lnTo>
                  <a:cubicBezTo>
                    <a:pt x="411662" y="85769"/>
                    <a:pt x="411329" y="80468"/>
                    <a:pt x="410636" y="72178"/>
                  </a:cubicBezTo>
                  <a:lnTo>
                    <a:pt x="409618" y="56468"/>
                  </a:lnTo>
                  <a:cubicBezTo>
                    <a:pt x="409618" y="47501"/>
                    <a:pt x="411050" y="38121"/>
                    <a:pt x="413904" y="28344"/>
                  </a:cubicBezTo>
                  <a:cubicBezTo>
                    <a:pt x="417308" y="16521"/>
                    <a:pt x="421531" y="10602"/>
                    <a:pt x="426556" y="10602"/>
                  </a:cubicBezTo>
                  <a:cubicBezTo>
                    <a:pt x="429149" y="10602"/>
                    <a:pt x="432544" y="12781"/>
                    <a:pt x="436767" y="17124"/>
                  </a:cubicBezTo>
                  <a:cubicBezTo>
                    <a:pt x="437317" y="17669"/>
                    <a:pt x="437857" y="18140"/>
                    <a:pt x="438397" y="18553"/>
                  </a:cubicBezTo>
                  <a:cubicBezTo>
                    <a:pt x="442071" y="21821"/>
                    <a:pt x="445538" y="23441"/>
                    <a:pt x="448807" y="23441"/>
                  </a:cubicBezTo>
                  <a:cubicBezTo>
                    <a:pt x="452481" y="23441"/>
                    <a:pt x="456497" y="21615"/>
                    <a:pt x="460846" y="17949"/>
                  </a:cubicBezTo>
                  <a:cubicBezTo>
                    <a:pt x="463295" y="15902"/>
                    <a:pt x="465276" y="14062"/>
                    <a:pt x="466762" y="12442"/>
                  </a:cubicBezTo>
                  <a:cubicBezTo>
                    <a:pt x="467311" y="11618"/>
                    <a:pt x="467789" y="10940"/>
                    <a:pt x="468203" y="10395"/>
                  </a:cubicBezTo>
                  <a:close/>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3" name="AutoShape 21"/>
            <p:cNvSpPr>
              <a:spLocks/>
            </p:cNvSpPr>
            <p:nvPr/>
          </p:nvSpPr>
          <p:spPr bwMode="auto">
            <a:xfrm>
              <a:off x="8537301" y="4020764"/>
              <a:ext cx="617194" cy="720322"/>
            </a:xfrm>
            <a:custGeom>
              <a:avLst/>
              <a:gdLst/>
              <a:ahLst/>
              <a:cxnLst/>
              <a:rect l="l" t="t" r="r" b="b"/>
              <a:pathLst>
                <a:path w="617194" h="720322">
                  <a:moveTo>
                    <a:pt x="233138" y="144183"/>
                  </a:moveTo>
                  <a:lnTo>
                    <a:pt x="233235" y="144810"/>
                  </a:lnTo>
                  <a:lnTo>
                    <a:pt x="236554" y="144810"/>
                  </a:lnTo>
                  <a:lnTo>
                    <a:pt x="236385" y="144183"/>
                  </a:lnTo>
                  <a:close/>
                  <a:moveTo>
                    <a:pt x="499095" y="73514"/>
                  </a:moveTo>
                  <a:cubicBezTo>
                    <a:pt x="501264" y="73850"/>
                    <a:pt x="501808" y="74184"/>
                    <a:pt x="502354" y="74724"/>
                  </a:cubicBezTo>
                  <a:cubicBezTo>
                    <a:pt x="502354" y="75126"/>
                    <a:pt x="502283" y="75800"/>
                    <a:pt x="502149" y="76738"/>
                  </a:cubicBezTo>
                  <a:cubicBezTo>
                    <a:pt x="502149" y="77680"/>
                    <a:pt x="502283" y="78487"/>
                    <a:pt x="502553" y="79157"/>
                  </a:cubicBezTo>
                  <a:cubicBezTo>
                    <a:pt x="502823" y="79290"/>
                    <a:pt x="503572" y="79563"/>
                    <a:pt x="504797" y="79964"/>
                  </a:cubicBezTo>
                  <a:cubicBezTo>
                    <a:pt x="506157" y="80367"/>
                    <a:pt x="506967" y="80974"/>
                    <a:pt x="507240" y="81777"/>
                  </a:cubicBezTo>
                  <a:cubicBezTo>
                    <a:pt x="507375" y="82180"/>
                    <a:pt x="507510" y="82719"/>
                    <a:pt x="507645" y="83389"/>
                  </a:cubicBezTo>
                  <a:cubicBezTo>
                    <a:pt x="507914" y="83795"/>
                    <a:pt x="508326" y="83996"/>
                    <a:pt x="508870" y="83996"/>
                  </a:cubicBezTo>
                  <a:cubicBezTo>
                    <a:pt x="509679" y="83996"/>
                    <a:pt x="509949" y="83256"/>
                    <a:pt x="509679" y="81777"/>
                  </a:cubicBezTo>
                  <a:cubicBezTo>
                    <a:pt x="509679" y="80300"/>
                    <a:pt x="510499" y="79630"/>
                    <a:pt x="512122" y="79764"/>
                  </a:cubicBezTo>
                  <a:cubicBezTo>
                    <a:pt x="512534" y="79764"/>
                    <a:pt x="513002" y="80300"/>
                    <a:pt x="513553" y="81371"/>
                  </a:cubicBezTo>
                  <a:cubicBezTo>
                    <a:pt x="513957" y="82313"/>
                    <a:pt x="514156" y="83055"/>
                    <a:pt x="514156" y="83594"/>
                  </a:cubicBezTo>
                  <a:lnTo>
                    <a:pt x="514156" y="84604"/>
                  </a:lnTo>
                  <a:cubicBezTo>
                    <a:pt x="514156" y="84737"/>
                    <a:pt x="514227" y="84804"/>
                    <a:pt x="514366" y="84804"/>
                  </a:cubicBezTo>
                  <a:cubicBezTo>
                    <a:pt x="514501" y="85339"/>
                    <a:pt x="515040" y="85813"/>
                    <a:pt x="515995" y="86214"/>
                  </a:cubicBezTo>
                  <a:cubicBezTo>
                    <a:pt x="517625" y="89237"/>
                    <a:pt x="516741" y="90853"/>
                    <a:pt x="514976" y="92461"/>
                  </a:cubicBezTo>
                  <a:lnTo>
                    <a:pt x="511103" y="96701"/>
                  </a:lnTo>
                  <a:lnTo>
                    <a:pt x="509068" y="102142"/>
                  </a:lnTo>
                  <a:lnTo>
                    <a:pt x="504996" y="105165"/>
                  </a:lnTo>
                  <a:cubicBezTo>
                    <a:pt x="503239" y="105165"/>
                    <a:pt x="502418" y="104290"/>
                    <a:pt x="502553" y="102545"/>
                  </a:cubicBezTo>
                  <a:cubicBezTo>
                    <a:pt x="502553" y="101335"/>
                    <a:pt x="503033" y="100460"/>
                    <a:pt x="503977" y="99924"/>
                  </a:cubicBezTo>
                  <a:cubicBezTo>
                    <a:pt x="505607" y="99116"/>
                    <a:pt x="506895" y="97973"/>
                    <a:pt x="507851" y="96496"/>
                  </a:cubicBezTo>
                  <a:lnTo>
                    <a:pt x="507851" y="95692"/>
                  </a:lnTo>
                  <a:lnTo>
                    <a:pt x="507030" y="95692"/>
                  </a:lnTo>
                  <a:cubicBezTo>
                    <a:pt x="506761" y="95825"/>
                    <a:pt x="505337" y="97236"/>
                    <a:pt x="502759" y="99924"/>
                  </a:cubicBezTo>
                  <a:cubicBezTo>
                    <a:pt x="501808" y="100866"/>
                    <a:pt x="500789" y="101536"/>
                    <a:pt x="499706" y="101941"/>
                  </a:cubicBezTo>
                  <a:cubicBezTo>
                    <a:pt x="499166" y="102076"/>
                    <a:pt x="498552" y="102142"/>
                    <a:pt x="497870" y="102142"/>
                  </a:cubicBezTo>
                  <a:cubicBezTo>
                    <a:pt x="496383" y="102142"/>
                    <a:pt x="494682" y="101603"/>
                    <a:pt x="492779" y="100527"/>
                  </a:cubicBezTo>
                  <a:lnTo>
                    <a:pt x="488103" y="98715"/>
                  </a:lnTo>
                  <a:cubicBezTo>
                    <a:pt x="486069" y="98174"/>
                    <a:pt x="484709" y="97437"/>
                    <a:pt x="484031" y="96496"/>
                  </a:cubicBezTo>
                  <a:cubicBezTo>
                    <a:pt x="483349" y="95692"/>
                    <a:pt x="482060" y="95286"/>
                    <a:pt x="480157" y="95286"/>
                  </a:cubicBezTo>
                  <a:lnTo>
                    <a:pt x="477924" y="95487"/>
                  </a:lnTo>
                  <a:cubicBezTo>
                    <a:pt x="477104" y="95487"/>
                    <a:pt x="476358" y="95153"/>
                    <a:pt x="475680" y="94479"/>
                  </a:cubicBezTo>
                  <a:cubicBezTo>
                    <a:pt x="475140" y="93809"/>
                    <a:pt x="474665" y="93336"/>
                    <a:pt x="474256" y="93067"/>
                  </a:cubicBezTo>
                  <a:cubicBezTo>
                    <a:pt x="473717" y="92666"/>
                    <a:pt x="473106" y="92393"/>
                    <a:pt x="472421" y="92263"/>
                  </a:cubicBezTo>
                  <a:cubicBezTo>
                    <a:pt x="472151" y="92130"/>
                    <a:pt x="471402" y="92059"/>
                    <a:pt x="470187" y="92059"/>
                  </a:cubicBezTo>
                  <a:cubicBezTo>
                    <a:pt x="469097" y="92059"/>
                    <a:pt x="468149" y="91593"/>
                    <a:pt x="467329" y="90653"/>
                  </a:cubicBezTo>
                  <a:cubicBezTo>
                    <a:pt x="466250" y="89844"/>
                    <a:pt x="465295" y="89438"/>
                    <a:pt x="464482" y="89438"/>
                  </a:cubicBezTo>
                  <a:cubicBezTo>
                    <a:pt x="464077" y="89438"/>
                    <a:pt x="463403" y="89643"/>
                    <a:pt x="462447" y="90044"/>
                  </a:cubicBezTo>
                  <a:cubicBezTo>
                    <a:pt x="461500" y="90585"/>
                    <a:pt x="460413" y="90853"/>
                    <a:pt x="459188" y="90853"/>
                  </a:cubicBezTo>
                  <a:cubicBezTo>
                    <a:pt x="457431" y="90853"/>
                    <a:pt x="455797" y="90447"/>
                    <a:pt x="454303" y="89643"/>
                  </a:cubicBezTo>
                  <a:cubicBezTo>
                    <a:pt x="453078" y="88969"/>
                    <a:pt x="452133" y="88635"/>
                    <a:pt x="451455" y="88635"/>
                  </a:cubicBezTo>
                  <a:lnTo>
                    <a:pt x="445753" y="88635"/>
                  </a:lnTo>
                  <a:cubicBezTo>
                    <a:pt x="445618" y="88635"/>
                    <a:pt x="445483" y="88567"/>
                    <a:pt x="445349" y="88430"/>
                  </a:cubicBezTo>
                  <a:lnTo>
                    <a:pt x="445143" y="88229"/>
                  </a:lnTo>
                  <a:cubicBezTo>
                    <a:pt x="444603" y="88094"/>
                    <a:pt x="443989" y="87893"/>
                    <a:pt x="443314" y="87625"/>
                  </a:cubicBezTo>
                  <a:cubicBezTo>
                    <a:pt x="441070" y="86148"/>
                    <a:pt x="441205" y="85544"/>
                    <a:pt x="441475" y="84604"/>
                  </a:cubicBezTo>
                  <a:lnTo>
                    <a:pt x="443105" y="83188"/>
                  </a:lnTo>
                  <a:cubicBezTo>
                    <a:pt x="444603" y="83456"/>
                    <a:pt x="445888" y="83594"/>
                    <a:pt x="446971" y="83594"/>
                  </a:cubicBezTo>
                  <a:cubicBezTo>
                    <a:pt x="450369" y="83594"/>
                    <a:pt x="452943" y="82519"/>
                    <a:pt x="454711" y="80367"/>
                  </a:cubicBezTo>
                  <a:lnTo>
                    <a:pt x="458989" y="77545"/>
                  </a:lnTo>
                  <a:cubicBezTo>
                    <a:pt x="459394" y="77545"/>
                    <a:pt x="459735" y="77813"/>
                    <a:pt x="460005" y="78350"/>
                  </a:cubicBezTo>
                  <a:cubicBezTo>
                    <a:pt x="460278" y="78889"/>
                    <a:pt x="460413" y="79358"/>
                    <a:pt x="460413" y="79764"/>
                  </a:cubicBezTo>
                  <a:cubicBezTo>
                    <a:pt x="460413" y="79899"/>
                    <a:pt x="460069" y="80974"/>
                    <a:pt x="459394" y="82987"/>
                  </a:cubicBezTo>
                  <a:cubicBezTo>
                    <a:pt x="459394" y="83661"/>
                    <a:pt x="460005" y="84399"/>
                    <a:pt x="461223" y="85206"/>
                  </a:cubicBezTo>
                  <a:cubicBezTo>
                    <a:pt x="461500" y="85339"/>
                    <a:pt x="461773" y="85544"/>
                    <a:pt x="462043" y="85813"/>
                  </a:cubicBezTo>
                  <a:cubicBezTo>
                    <a:pt x="462717" y="86081"/>
                    <a:pt x="463466" y="86281"/>
                    <a:pt x="464276" y="86416"/>
                  </a:cubicBezTo>
                  <a:lnTo>
                    <a:pt x="470798" y="85612"/>
                  </a:lnTo>
                  <a:cubicBezTo>
                    <a:pt x="471338" y="85745"/>
                    <a:pt x="472222" y="84130"/>
                    <a:pt x="473440" y="80773"/>
                  </a:cubicBezTo>
                  <a:cubicBezTo>
                    <a:pt x="475069" y="77680"/>
                    <a:pt x="477924" y="76197"/>
                    <a:pt x="481996" y="76332"/>
                  </a:cubicBezTo>
                  <a:cubicBezTo>
                    <a:pt x="484979" y="76197"/>
                    <a:pt x="487013" y="77006"/>
                    <a:pt x="488103" y="78756"/>
                  </a:cubicBezTo>
                  <a:lnTo>
                    <a:pt x="494409" y="77139"/>
                  </a:lnTo>
                  <a:close/>
                  <a:moveTo>
                    <a:pt x="215973" y="0"/>
                  </a:moveTo>
                  <a:cubicBezTo>
                    <a:pt x="221630" y="406"/>
                    <a:pt x="223593" y="885"/>
                    <a:pt x="225366" y="1431"/>
                  </a:cubicBezTo>
                  <a:cubicBezTo>
                    <a:pt x="227945" y="2109"/>
                    <a:pt x="229235" y="3127"/>
                    <a:pt x="229235" y="4483"/>
                  </a:cubicBezTo>
                  <a:cubicBezTo>
                    <a:pt x="229235" y="5708"/>
                    <a:pt x="227681" y="6659"/>
                    <a:pt x="224546" y="7345"/>
                  </a:cubicBezTo>
                  <a:lnTo>
                    <a:pt x="219446" y="8362"/>
                  </a:lnTo>
                  <a:cubicBezTo>
                    <a:pt x="219168" y="8362"/>
                    <a:pt x="218142" y="9513"/>
                    <a:pt x="216384" y="11828"/>
                  </a:cubicBezTo>
                  <a:lnTo>
                    <a:pt x="211489" y="16923"/>
                  </a:lnTo>
                  <a:cubicBezTo>
                    <a:pt x="210801" y="17602"/>
                    <a:pt x="208632" y="20596"/>
                    <a:pt x="204954" y="25897"/>
                  </a:cubicBezTo>
                  <a:cubicBezTo>
                    <a:pt x="204822" y="26163"/>
                    <a:pt x="204690" y="26369"/>
                    <a:pt x="204544" y="26509"/>
                  </a:cubicBezTo>
                  <a:cubicBezTo>
                    <a:pt x="204280" y="27048"/>
                    <a:pt x="204002" y="27527"/>
                    <a:pt x="203723" y="27933"/>
                  </a:cubicBezTo>
                  <a:lnTo>
                    <a:pt x="199034" y="33647"/>
                  </a:lnTo>
                  <a:cubicBezTo>
                    <a:pt x="197671" y="33647"/>
                    <a:pt x="197071" y="32630"/>
                    <a:pt x="197202" y="30587"/>
                  </a:cubicBezTo>
                  <a:cubicBezTo>
                    <a:pt x="197466" y="29371"/>
                    <a:pt x="197202" y="28486"/>
                    <a:pt x="196382" y="27933"/>
                  </a:cubicBezTo>
                  <a:cubicBezTo>
                    <a:pt x="195708" y="27527"/>
                    <a:pt x="194814" y="27328"/>
                    <a:pt x="193730" y="27328"/>
                  </a:cubicBezTo>
                  <a:cubicBezTo>
                    <a:pt x="191957" y="28205"/>
                    <a:pt x="191898" y="28486"/>
                    <a:pt x="191898" y="28758"/>
                  </a:cubicBezTo>
                  <a:cubicBezTo>
                    <a:pt x="191898" y="29031"/>
                    <a:pt x="192777" y="29916"/>
                    <a:pt x="194550" y="31406"/>
                  </a:cubicBezTo>
                  <a:cubicBezTo>
                    <a:pt x="196587" y="33714"/>
                    <a:pt x="197540" y="36228"/>
                    <a:pt x="197408" y="38949"/>
                  </a:cubicBezTo>
                  <a:cubicBezTo>
                    <a:pt x="197408" y="39222"/>
                    <a:pt x="197276" y="39967"/>
                    <a:pt x="196997" y="41191"/>
                  </a:cubicBezTo>
                  <a:cubicBezTo>
                    <a:pt x="196719" y="42415"/>
                    <a:pt x="196587" y="43433"/>
                    <a:pt x="196587" y="44251"/>
                  </a:cubicBezTo>
                  <a:cubicBezTo>
                    <a:pt x="202302" y="42415"/>
                    <a:pt x="204134" y="41125"/>
                    <a:pt x="206170" y="40586"/>
                  </a:cubicBezTo>
                  <a:lnTo>
                    <a:pt x="221278" y="38337"/>
                  </a:lnTo>
                  <a:cubicBezTo>
                    <a:pt x="221967" y="38337"/>
                    <a:pt x="224340" y="39288"/>
                    <a:pt x="228429" y="41191"/>
                  </a:cubicBezTo>
                  <a:lnTo>
                    <a:pt x="235565" y="45070"/>
                  </a:lnTo>
                  <a:cubicBezTo>
                    <a:pt x="236107" y="46021"/>
                    <a:pt x="237338" y="48056"/>
                    <a:pt x="239243" y="51190"/>
                  </a:cubicBezTo>
                  <a:cubicBezTo>
                    <a:pt x="241148" y="54309"/>
                    <a:pt x="243390" y="56897"/>
                    <a:pt x="245969" y="58933"/>
                  </a:cubicBezTo>
                  <a:cubicBezTo>
                    <a:pt x="247463" y="60024"/>
                    <a:pt x="248284" y="61455"/>
                    <a:pt x="248431" y="63224"/>
                  </a:cubicBezTo>
                  <a:cubicBezTo>
                    <a:pt x="248431" y="64161"/>
                    <a:pt x="250160" y="64706"/>
                    <a:pt x="253618" y="64847"/>
                  </a:cubicBezTo>
                  <a:cubicBezTo>
                    <a:pt x="253427" y="64824"/>
                    <a:pt x="253325" y="64758"/>
                    <a:pt x="253325" y="64647"/>
                  </a:cubicBezTo>
                  <a:lnTo>
                    <a:pt x="256592" y="65053"/>
                  </a:lnTo>
                  <a:cubicBezTo>
                    <a:pt x="258893" y="65326"/>
                    <a:pt x="260666" y="65119"/>
                    <a:pt x="261882" y="64448"/>
                  </a:cubicBezTo>
                  <a:cubicBezTo>
                    <a:pt x="262029" y="64175"/>
                    <a:pt x="262571" y="63490"/>
                    <a:pt x="263523" y="62406"/>
                  </a:cubicBezTo>
                  <a:lnTo>
                    <a:pt x="263729" y="62199"/>
                  </a:lnTo>
                  <a:cubicBezTo>
                    <a:pt x="264549" y="61381"/>
                    <a:pt x="265223" y="60975"/>
                    <a:pt x="265765" y="60975"/>
                  </a:cubicBezTo>
                  <a:cubicBezTo>
                    <a:pt x="267538" y="60975"/>
                    <a:pt x="268623" y="61794"/>
                    <a:pt x="269033" y="63423"/>
                  </a:cubicBezTo>
                  <a:cubicBezTo>
                    <a:pt x="269443" y="64913"/>
                    <a:pt x="271202" y="65731"/>
                    <a:pt x="274338" y="65871"/>
                  </a:cubicBezTo>
                  <a:cubicBezTo>
                    <a:pt x="274880" y="65871"/>
                    <a:pt x="275363" y="65871"/>
                    <a:pt x="275759" y="65871"/>
                  </a:cubicBezTo>
                  <a:lnTo>
                    <a:pt x="283525" y="64847"/>
                  </a:lnTo>
                  <a:cubicBezTo>
                    <a:pt x="284478" y="64308"/>
                    <a:pt x="286515" y="62538"/>
                    <a:pt x="289650" y="59545"/>
                  </a:cubicBezTo>
                  <a:cubicBezTo>
                    <a:pt x="294266" y="55880"/>
                    <a:pt x="299981" y="52075"/>
                    <a:pt x="306780" y="48122"/>
                  </a:cubicBezTo>
                  <a:cubicBezTo>
                    <a:pt x="307601" y="47717"/>
                    <a:pt x="308963" y="47311"/>
                    <a:pt x="310868" y="46906"/>
                  </a:cubicBezTo>
                  <a:cubicBezTo>
                    <a:pt x="313169" y="46773"/>
                    <a:pt x="315352" y="46699"/>
                    <a:pt x="317389" y="46699"/>
                  </a:cubicBezTo>
                  <a:lnTo>
                    <a:pt x="322093" y="46906"/>
                  </a:lnTo>
                  <a:cubicBezTo>
                    <a:pt x="323309" y="46906"/>
                    <a:pt x="324467" y="46972"/>
                    <a:pt x="325551" y="47112"/>
                  </a:cubicBezTo>
                  <a:lnTo>
                    <a:pt x="331676" y="46699"/>
                  </a:lnTo>
                  <a:cubicBezTo>
                    <a:pt x="332775" y="46294"/>
                    <a:pt x="335427" y="44590"/>
                    <a:pt x="339648" y="41604"/>
                  </a:cubicBezTo>
                  <a:cubicBezTo>
                    <a:pt x="340453" y="41331"/>
                    <a:pt x="343047" y="39900"/>
                    <a:pt x="347399" y="37312"/>
                  </a:cubicBezTo>
                  <a:cubicBezTo>
                    <a:pt x="349172" y="35963"/>
                    <a:pt x="351062" y="35277"/>
                    <a:pt x="353099" y="35277"/>
                  </a:cubicBezTo>
                  <a:cubicBezTo>
                    <a:pt x="354946" y="36029"/>
                    <a:pt x="355151" y="36435"/>
                    <a:pt x="355151" y="37113"/>
                  </a:cubicBezTo>
                  <a:lnTo>
                    <a:pt x="354125" y="46906"/>
                  </a:lnTo>
                  <a:cubicBezTo>
                    <a:pt x="354125" y="47311"/>
                    <a:pt x="354198" y="48462"/>
                    <a:pt x="354330" y="50371"/>
                  </a:cubicBezTo>
                  <a:cubicBezTo>
                    <a:pt x="354740" y="52414"/>
                    <a:pt x="355151" y="54044"/>
                    <a:pt x="355561" y="55268"/>
                  </a:cubicBezTo>
                  <a:lnTo>
                    <a:pt x="374332" y="56492"/>
                  </a:lnTo>
                  <a:cubicBezTo>
                    <a:pt x="375973" y="56352"/>
                    <a:pt x="378347" y="55401"/>
                    <a:pt x="381468" y="53631"/>
                  </a:cubicBezTo>
                  <a:cubicBezTo>
                    <a:pt x="381878" y="53358"/>
                    <a:pt x="382230" y="53159"/>
                    <a:pt x="382494" y="53019"/>
                  </a:cubicBezTo>
                  <a:cubicBezTo>
                    <a:pt x="385073" y="51529"/>
                    <a:pt x="387051" y="50777"/>
                    <a:pt x="388414" y="50777"/>
                  </a:cubicBezTo>
                  <a:cubicBezTo>
                    <a:pt x="389366" y="50777"/>
                    <a:pt x="390187" y="51389"/>
                    <a:pt x="390861" y="52613"/>
                  </a:cubicBezTo>
                  <a:lnTo>
                    <a:pt x="391271" y="53225"/>
                  </a:lnTo>
                  <a:cubicBezTo>
                    <a:pt x="392092" y="54449"/>
                    <a:pt x="392634" y="56492"/>
                    <a:pt x="392898" y="59346"/>
                  </a:cubicBezTo>
                  <a:cubicBezTo>
                    <a:pt x="393455" y="62339"/>
                    <a:pt x="393850" y="65599"/>
                    <a:pt x="394129" y="69138"/>
                  </a:cubicBezTo>
                  <a:cubicBezTo>
                    <a:pt x="394671" y="69676"/>
                    <a:pt x="396165" y="70760"/>
                    <a:pt x="398613" y="72397"/>
                  </a:cubicBezTo>
                  <a:cubicBezTo>
                    <a:pt x="398744" y="72530"/>
                    <a:pt x="398950" y="72670"/>
                    <a:pt x="399228" y="72803"/>
                  </a:cubicBezTo>
                  <a:cubicBezTo>
                    <a:pt x="400459" y="73754"/>
                    <a:pt x="401397" y="74639"/>
                    <a:pt x="402085" y="75458"/>
                  </a:cubicBezTo>
                  <a:cubicBezTo>
                    <a:pt x="402759" y="76269"/>
                    <a:pt x="403243" y="77021"/>
                    <a:pt x="403521" y="77699"/>
                  </a:cubicBezTo>
                  <a:cubicBezTo>
                    <a:pt x="404870" y="81231"/>
                    <a:pt x="406980" y="83068"/>
                    <a:pt x="409837" y="83208"/>
                  </a:cubicBezTo>
                  <a:cubicBezTo>
                    <a:pt x="412020" y="83208"/>
                    <a:pt x="414189" y="81984"/>
                    <a:pt x="416372" y="79535"/>
                  </a:cubicBezTo>
                  <a:cubicBezTo>
                    <a:pt x="418409" y="77493"/>
                    <a:pt x="420241" y="76409"/>
                    <a:pt x="421882" y="76269"/>
                  </a:cubicBezTo>
                  <a:cubicBezTo>
                    <a:pt x="422014" y="76269"/>
                    <a:pt x="422146" y="76269"/>
                    <a:pt x="422292" y="76269"/>
                  </a:cubicBezTo>
                  <a:cubicBezTo>
                    <a:pt x="424329" y="76409"/>
                    <a:pt x="425545" y="77087"/>
                    <a:pt x="425970" y="78311"/>
                  </a:cubicBezTo>
                  <a:cubicBezTo>
                    <a:pt x="426512" y="79263"/>
                    <a:pt x="426776" y="81231"/>
                    <a:pt x="426776" y="84225"/>
                  </a:cubicBezTo>
                  <a:cubicBezTo>
                    <a:pt x="426776" y="85862"/>
                    <a:pt x="426512" y="86946"/>
                    <a:pt x="425970" y="87492"/>
                  </a:cubicBezTo>
                  <a:cubicBezTo>
                    <a:pt x="425413" y="87897"/>
                    <a:pt x="424051" y="88030"/>
                    <a:pt x="421882" y="87897"/>
                  </a:cubicBezTo>
                  <a:cubicBezTo>
                    <a:pt x="421604" y="87897"/>
                    <a:pt x="421325" y="87897"/>
                    <a:pt x="421061" y="87897"/>
                  </a:cubicBezTo>
                  <a:cubicBezTo>
                    <a:pt x="417383" y="87757"/>
                    <a:pt x="414321" y="87418"/>
                    <a:pt x="411874" y="86872"/>
                  </a:cubicBezTo>
                  <a:cubicBezTo>
                    <a:pt x="406437" y="85449"/>
                    <a:pt x="405353" y="85589"/>
                    <a:pt x="404122" y="85862"/>
                  </a:cubicBezTo>
                  <a:cubicBezTo>
                    <a:pt x="403712" y="85862"/>
                    <a:pt x="403243" y="85929"/>
                    <a:pt x="402701" y="86061"/>
                  </a:cubicBezTo>
                  <a:cubicBezTo>
                    <a:pt x="402554" y="86061"/>
                    <a:pt x="402364" y="86061"/>
                    <a:pt x="402085" y="86061"/>
                  </a:cubicBezTo>
                  <a:cubicBezTo>
                    <a:pt x="401675" y="86061"/>
                    <a:pt x="401265" y="86061"/>
                    <a:pt x="400854" y="86061"/>
                  </a:cubicBezTo>
                  <a:lnTo>
                    <a:pt x="397191" y="85656"/>
                  </a:lnTo>
                  <a:lnTo>
                    <a:pt x="386773" y="86061"/>
                  </a:lnTo>
                  <a:lnTo>
                    <a:pt x="375153" y="84837"/>
                  </a:lnTo>
                  <a:cubicBezTo>
                    <a:pt x="373790" y="84837"/>
                    <a:pt x="373174" y="86673"/>
                    <a:pt x="373306" y="90346"/>
                  </a:cubicBezTo>
                  <a:cubicBezTo>
                    <a:pt x="373174" y="94151"/>
                    <a:pt x="372163" y="96053"/>
                    <a:pt x="370258" y="96053"/>
                  </a:cubicBezTo>
                  <a:cubicBezTo>
                    <a:pt x="369027" y="95920"/>
                    <a:pt x="366097" y="94018"/>
                    <a:pt x="361481" y="90346"/>
                  </a:cubicBezTo>
                  <a:cubicBezTo>
                    <a:pt x="356440" y="86533"/>
                    <a:pt x="350652" y="84498"/>
                    <a:pt x="344131" y="84225"/>
                  </a:cubicBezTo>
                  <a:lnTo>
                    <a:pt x="335354" y="85044"/>
                  </a:lnTo>
                  <a:cubicBezTo>
                    <a:pt x="334534" y="85044"/>
                    <a:pt x="333713" y="86201"/>
                    <a:pt x="332907" y="88509"/>
                  </a:cubicBezTo>
                  <a:lnTo>
                    <a:pt x="330255" y="93199"/>
                  </a:lnTo>
                  <a:cubicBezTo>
                    <a:pt x="327940" y="93878"/>
                    <a:pt x="324818" y="94490"/>
                    <a:pt x="320862" y="95035"/>
                  </a:cubicBezTo>
                  <a:cubicBezTo>
                    <a:pt x="319778" y="95168"/>
                    <a:pt x="318620" y="95308"/>
                    <a:pt x="317389" y="95441"/>
                  </a:cubicBezTo>
                  <a:lnTo>
                    <a:pt x="307190" y="96259"/>
                  </a:lnTo>
                  <a:cubicBezTo>
                    <a:pt x="306516" y="96392"/>
                    <a:pt x="305828" y="96599"/>
                    <a:pt x="305154" y="96872"/>
                  </a:cubicBezTo>
                  <a:cubicBezTo>
                    <a:pt x="301754" y="98096"/>
                    <a:pt x="299175" y="101628"/>
                    <a:pt x="297402" y="107475"/>
                  </a:cubicBezTo>
                  <a:cubicBezTo>
                    <a:pt x="296581" y="109651"/>
                    <a:pt x="294750" y="112504"/>
                    <a:pt x="291878" y="116044"/>
                  </a:cubicBezTo>
                  <a:lnTo>
                    <a:pt x="285357" y="121139"/>
                  </a:lnTo>
                  <a:cubicBezTo>
                    <a:pt x="284683" y="121139"/>
                    <a:pt x="284067" y="120866"/>
                    <a:pt x="283525" y="120321"/>
                  </a:cubicBezTo>
                  <a:cubicBezTo>
                    <a:pt x="283115" y="119915"/>
                    <a:pt x="282910" y="119310"/>
                    <a:pt x="282910" y="118492"/>
                  </a:cubicBezTo>
                  <a:cubicBezTo>
                    <a:pt x="282910" y="117673"/>
                    <a:pt x="283936" y="116110"/>
                    <a:pt x="285972" y="113802"/>
                  </a:cubicBezTo>
                  <a:lnTo>
                    <a:pt x="289240" y="108500"/>
                  </a:lnTo>
                  <a:cubicBezTo>
                    <a:pt x="289372" y="107409"/>
                    <a:pt x="289167" y="106391"/>
                    <a:pt x="288625" y="105433"/>
                  </a:cubicBezTo>
                  <a:cubicBezTo>
                    <a:pt x="287804" y="104622"/>
                    <a:pt x="286925" y="104209"/>
                    <a:pt x="285972" y="104209"/>
                  </a:cubicBezTo>
                  <a:cubicBezTo>
                    <a:pt x="282705" y="104076"/>
                    <a:pt x="280126" y="106118"/>
                    <a:pt x="278221" y="110329"/>
                  </a:cubicBezTo>
                  <a:cubicBezTo>
                    <a:pt x="276448" y="114274"/>
                    <a:pt x="274543" y="116176"/>
                    <a:pt x="272491" y="116044"/>
                  </a:cubicBezTo>
                  <a:cubicBezTo>
                    <a:pt x="270601" y="116044"/>
                    <a:pt x="269502" y="115159"/>
                    <a:pt x="269238" y="113389"/>
                  </a:cubicBezTo>
                  <a:cubicBezTo>
                    <a:pt x="268960" y="111759"/>
                    <a:pt x="268139" y="110941"/>
                    <a:pt x="266791" y="110941"/>
                  </a:cubicBezTo>
                  <a:cubicBezTo>
                    <a:pt x="265428" y="110941"/>
                    <a:pt x="264754" y="111420"/>
                    <a:pt x="264754" y="112372"/>
                  </a:cubicBezTo>
                  <a:cubicBezTo>
                    <a:pt x="264754" y="112917"/>
                    <a:pt x="264945" y="114208"/>
                    <a:pt x="265355" y="116243"/>
                  </a:cubicBezTo>
                  <a:cubicBezTo>
                    <a:pt x="265223" y="120800"/>
                    <a:pt x="264198" y="121685"/>
                    <a:pt x="262703" y="123182"/>
                  </a:cubicBezTo>
                  <a:cubicBezTo>
                    <a:pt x="261750" y="123993"/>
                    <a:pt x="260944" y="124878"/>
                    <a:pt x="260256" y="125829"/>
                  </a:cubicBezTo>
                  <a:cubicBezTo>
                    <a:pt x="259845" y="126242"/>
                    <a:pt x="259435" y="126714"/>
                    <a:pt x="259040" y="127260"/>
                  </a:cubicBezTo>
                  <a:cubicBezTo>
                    <a:pt x="257193" y="131064"/>
                    <a:pt x="257193" y="132495"/>
                    <a:pt x="257193" y="134803"/>
                  </a:cubicBezTo>
                  <a:cubicBezTo>
                    <a:pt x="257061" y="137930"/>
                    <a:pt x="255977" y="141395"/>
                    <a:pt x="253926" y="145208"/>
                  </a:cubicBezTo>
                  <a:cubicBezTo>
                    <a:pt x="253383" y="146292"/>
                    <a:pt x="252709" y="147383"/>
                    <a:pt x="251889" y="148467"/>
                  </a:cubicBezTo>
                  <a:cubicBezTo>
                    <a:pt x="250804" y="149831"/>
                    <a:pt x="249852" y="151055"/>
                    <a:pt x="249031" y="152139"/>
                  </a:cubicBezTo>
                  <a:lnTo>
                    <a:pt x="244943" y="157647"/>
                  </a:lnTo>
                  <a:cubicBezTo>
                    <a:pt x="244811" y="157788"/>
                    <a:pt x="244811" y="158326"/>
                    <a:pt x="244943" y="159277"/>
                  </a:cubicBezTo>
                  <a:lnTo>
                    <a:pt x="242329" y="158935"/>
                  </a:lnTo>
                  <a:cubicBezTo>
                    <a:pt x="242419" y="159049"/>
                    <a:pt x="242421" y="159164"/>
                    <a:pt x="242422" y="159281"/>
                  </a:cubicBezTo>
                  <a:lnTo>
                    <a:pt x="247098" y="159895"/>
                  </a:lnTo>
                  <a:cubicBezTo>
                    <a:pt x="247251" y="160440"/>
                    <a:pt x="247315" y="161194"/>
                    <a:pt x="247315" y="162144"/>
                  </a:cubicBezTo>
                  <a:lnTo>
                    <a:pt x="246079" y="171112"/>
                  </a:lnTo>
                  <a:cubicBezTo>
                    <a:pt x="243505" y="172341"/>
                    <a:pt x="240371" y="173975"/>
                    <a:pt x="236701" y="176001"/>
                  </a:cubicBezTo>
                  <a:cubicBezTo>
                    <a:pt x="236166" y="176545"/>
                    <a:pt x="235605" y="177844"/>
                    <a:pt x="235070" y="179884"/>
                  </a:cubicBezTo>
                  <a:lnTo>
                    <a:pt x="233235" y="185178"/>
                  </a:lnTo>
                  <a:cubicBezTo>
                    <a:pt x="232280" y="187077"/>
                    <a:pt x="231604" y="189117"/>
                    <a:pt x="231196" y="191296"/>
                  </a:cubicBezTo>
                  <a:cubicBezTo>
                    <a:pt x="231056" y="192120"/>
                    <a:pt x="230993" y="193810"/>
                    <a:pt x="230993" y="196394"/>
                  </a:cubicBezTo>
                  <a:cubicBezTo>
                    <a:pt x="233783" y="200612"/>
                    <a:pt x="236166" y="198433"/>
                    <a:pt x="239147" y="193949"/>
                  </a:cubicBezTo>
                  <a:cubicBezTo>
                    <a:pt x="240778" y="191505"/>
                    <a:pt x="242422" y="188781"/>
                    <a:pt x="244040" y="185792"/>
                  </a:cubicBezTo>
                  <a:cubicBezTo>
                    <a:pt x="246359" y="183068"/>
                    <a:pt x="248462" y="180694"/>
                    <a:pt x="250373" y="178655"/>
                  </a:cubicBezTo>
                  <a:cubicBezTo>
                    <a:pt x="250641" y="178389"/>
                    <a:pt x="250908" y="178110"/>
                    <a:pt x="251188" y="177844"/>
                  </a:cubicBezTo>
                  <a:cubicBezTo>
                    <a:pt x="252272" y="176895"/>
                    <a:pt x="253635" y="175596"/>
                    <a:pt x="255266" y="173975"/>
                  </a:cubicBezTo>
                  <a:cubicBezTo>
                    <a:pt x="256629" y="172201"/>
                    <a:pt x="259687" y="166963"/>
                    <a:pt x="264440" y="158275"/>
                  </a:cubicBezTo>
                  <a:cubicBezTo>
                    <a:pt x="265803" y="155831"/>
                    <a:pt x="267103" y="153791"/>
                    <a:pt x="268326" y="152157"/>
                  </a:cubicBezTo>
                  <a:lnTo>
                    <a:pt x="273015" y="147464"/>
                  </a:lnTo>
                  <a:cubicBezTo>
                    <a:pt x="273423" y="147464"/>
                    <a:pt x="273767" y="147743"/>
                    <a:pt x="274035" y="148288"/>
                  </a:cubicBezTo>
                  <a:cubicBezTo>
                    <a:pt x="274442" y="148819"/>
                    <a:pt x="274646" y="149364"/>
                    <a:pt x="274646" y="149908"/>
                  </a:cubicBezTo>
                  <a:cubicBezTo>
                    <a:pt x="274506" y="150593"/>
                    <a:pt x="274175" y="151347"/>
                    <a:pt x="273627" y="152157"/>
                  </a:cubicBezTo>
                  <a:cubicBezTo>
                    <a:pt x="273219" y="152562"/>
                    <a:pt x="272811" y="152967"/>
                    <a:pt x="272404" y="153386"/>
                  </a:cubicBezTo>
                  <a:cubicBezTo>
                    <a:pt x="271040" y="154741"/>
                    <a:pt x="270289" y="156236"/>
                    <a:pt x="270161" y="157870"/>
                  </a:cubicBezTo>
                  <a:lnTo>
                    <a:pt x="269142" y="163779"/>
                  </a:lnTo>
                  <a:cubicBezTo>
                    <a:pt x="268874" y="166223"/>
                    <a:pt x="268594" y="168262"/>
                    <a:pt x="268326" y="169896"/>
                  </a:cubicBezTo>
                  <a:cubicBezTo>
                    <a:pt x="266428" y="175190"/>
                    <a:pt x="264440" y="178585"/>
                    <a:pt x="262401" y="180093"/>
                  </a:cubicBezTo>
                  <a:cubicBezTo>
                    <a:pt x="261051" y="180903"/>
                    <a:pt x="260299" y="182398"/>
                    <a:pt x="260171" y="184563"/>
                  </a:cubicBezTo>
                  <a:lnTo>
                    <a:pt x="260363" y="187622"/>
                  </a:lnTo>
                  <a:cubicBezTo>
                    <a:pt x="260363" y="188167"/>
                    <a:pt x="260031" y="189731"/>
                    <a:pt x="259343" y="192315"/>
                  </a:cubicBezTo>
                  <a:lnTo>
                    <a:pt x="257305" y="198028"/>
                  </a:lnTo>
                  <a:cubicBezTo>
                    <a:pt x="256757" y="198978"/>
                    <a:pt x="256081" y="200738"/>
                    <a:pt x="255266" y="203322"/>
                  </a:cubicBezTo>
                  <a:cubicBezTo>
                    <a:pt x="254591" y="205906"/>
                    <a:pt x="254183" y="207806"/>
                    <a:pt x="254043" y="209035"/>
                  </a:cubicBezTo>
                  <a:lnTo>
                    <a:pt x="254043" y="213519"/>
                  </a:lnTo>
                  <a:cubicBezTo>
                    <a:pt x="254310" y="214468"/>
                    <a:pt x="254858" y="215963"/>
                    <a:pt x="255674" y="218002"/>
                  </a:cubicBezTo>
                  <a:cubicBezTo>
                    <a:pt x="256629" y="220181"/>
                    <a:pt x="257101" y="222011"/>
                    <a:pt x="257101" y="223506"/>
                  </a:cubicBezTo>
                  <a:cubicBezTo>
                    <a:pt x="257101" y="224050"/>
                    <a:pt x="256973" y="224595"/>
                    <a:pt x="256693" y="225140"/>
                  </a:cubicBezTo>
                  <a:cubicBezTo>
                    <a:pt x="256018" y="226634"/>
                    <a:pt x="254450" y="228394"/>
                    <a:pt x="252004" y="230434"/>
                  </a:cubicBezTo>
                  <a:cubicBezTo>
                    <a:pt x="251736" y="230713"/>
                    <a:pt x="251469" y="230979"/>
                    <a:pt x="251188" y="231258"/>
                  </a:cubicBezTo>
                  <a:cubicBezTo>
                    <a:pt x="248602" y="233702"/>
                    <a:pt x="247315" y="236482"/>
                    <a:pt x="247315" y="239611"/>
                  </a:cubicBezTo>
                  <a:lnTo>
                    <a:pt x="248742" y="255911"/>
                  </a:lnTo>
                  <a:cubicBezTo>
                    <a:pt x="248742" y="257001"/>
                    <a:pt x="248678" y="259320"/>
                    <a:pt x="248538" y="262853"/>
                  </a:cubicBezTo>
                  <a:cubicBezTo>
                    <a:pt x="248538" y="263119"/>
                    <a:pt x="248462" y="263398"/>
                    <a:pt x="248334" y="263664"/>
                  </a:cubicBezTo>
                  <a:cubicBezTo>
                    <a:pt x="247786" y="264613"/>
                    <a:pt x="247175" y="265773"/>
                    <a:pt x="246499" y="267128"/>
                  </a:cubicBezTo>
                  <a:cubicBezTo>
                    <a:pt x="245811" y="268902"/>
                    <a:pt x="245480" y="270997"/>
                    <a:pt x="245480" y="273441"/>
                  </a:cubicBezTo>
                  <a:lnTo>
                    <a:pt x="245671" y="279769"/>
                  </a:lnTo>
                  <a:cubicBezTo>
                    <a:pt x="245671" y="280174"/>
                    <a:pt x="245060" y="281403"/>
                    <a:pt x="243849" y="283442"/>
                  </a:cubicBezTo>
                  <a:cubicBezTo>
                    <a:pt x="242486" y="285202"/>
                    <a:pt x="241734" y="288191"/>
                    <a:pt x="241594" y="292410"/>
                  </a:cubicBezTo>
                  <a:cubicBezTo>
                    <a:pt x="241594" y="293625"/>
                    <a:pt x="242002" y="294644"/>
                    <a:pt x="242830" y="295469"/>
                  </a:cubicBezTo>
                  <a:cubicBezTo>
                    <a:pt x="243773" y="296139"/>
                    <a:pt x="244461" y="297229"/>
                    <a:pt x="244868" y="298723"/>
                  </a:cubicBezTo>
                  <a:cubicBezTo>
                    <a:pt x="245404" y="301587"/>
                    <a:pt x="245671" y="304157"/>
                    <a:pt x="245671" y="306475"/>
                  </a:cubicBezTo>
                  <a:lnTo>
                    <a:pt x="245480" y="307285"/>
                  </a:lnTo>
                  <a:cubicBezTo>
                    <a:pt x="245888" y="308375"/>
                    <a:pt x="246691" y="310205"/>
                    <a:pt x="247927" y="312789"/>
                  </a:cubicBezTo>
                  <a:lnTo>
                    <a:pt x="250577" y="318502"/>
                  </a:lnTo>
                  <a:lnTo>
                    <a:pt x="251392" y="327064"/>
                  </a:lnTo>
                  <a:lnTo>
                    <a:pt x="250373" y="330933"/>
                  </a:lnTo>
                  <a:lnTo>
                    <a:pt x="248946" y="337261"/>
                  </a:lnTo>
                  <a:cubicBezTo>
                    <a:pt x="248946" y="337805"/>
                    <a:pt x="249137" y="338406"/>
                    <a:pt x="249558" y="339091"/>
                  </a:cubicBezTo>
                  <a:cubicBezTo>
                    <a:pt x="249965" y="339775"/>
                    <a:pt x="250309" y="340320"/>
                    <a:pt x="250577" y="340725"/>
                  </a:cubicBezTo>
                  <a:lnTo>
                    <a:pt x="247036" y="340876"/>
                  </a:lnTo>
                  <a:cubicBezTo>
                    <a:pt x="247279" y="341690"/>
                    <a:pt x="247320" y="342826"/>
                    <a:pt x="247320" y="344272"/>
                  </a:cubicBezTo>
                  <a:cubicBezTo>
                    <a:pt x="247586" y="345366"/>
                    <a:pt x="247662" y="347467"/>
                    <a:pt x="247519" y="350592"/>
                  </a:cubicBezTo>
                  <a:cubicBezTo>
                    <a:pt x="248469" y="356577"/>
                    <a:pt x="249353" y="358272"/>
                    <a:pt x="250579" y="360179"/>
                  </a:cubicBezTo>
                  <a:cubicBezTo>
                    <a:pt x="251804" y="361680"/>
                    <a:pt x="252555" y="362898"/>
                    <a:pt x="252821" y="363833"/>
                  </a:cubicBezTo>
                  <a:cubicBezTo>
                    <a:pt x="253096" y="364663"/>
                    <a:pt x="253505" y="365334"/>
                    <a:pt x="254046" y="365881"/>
                  </a:cubicBezTo>
                  <a:cubicBezTo>
                    <a:pt x="254322" y="366429"/>
                    <a:pt x="255206" y="367241"/>
                    <a:pt x="256697" y="368335"/>
                  </a:cubicBezTo>
                  <a:cubicBezTo>
                    <a:pt x="257248" y="368865"/>
                    <a:pt x="257657" y="371037"/>
                    <a:pt x="257923" y="374850"/>
                  </a:cubicBezTo>
                  <a:lnTo>
                    <a:pt x="262208" y="387685"/>
                  </a:lnTo>
                  <a:cubicBezTo>
                    <a:pt x="262892" y="388233"/>
                    <a:pt x="263633" y="388903"/>
                    <a:pt x="264450" y="389733"/>
                  </a:cubicBezTo>
                  <a:lnTo>
                    <a:pt x="265881" y="411722"/>
                  </a:lnTo>
                  <a:lnTo>
                    <a:pt x="266891" y="411722"/>
                  </a:lnTo>
                  <a:cubicBezTo>
                    <a:pt x="266434" y="404720"/>
                    <a:pt x="265951" y="397280"/>
                    <a:pt x="265441" y="389400"/>
                  </a:cubicBezTo>
                  <a:cubicBezTo>
                    <a:pt x="268842" y="392522"/>
                    <a:pt x="272513" y="394157"/>
                    <a:pt x="276454" y="394291"/>
                  </a:cubicBezTo>
                  <a:cubicBezTo>
                    <a:pt x="282156" y="394425"/>
                    <a:pt x="287048" y="392871"/>
                    <a:pt x="291124" y="389601"/>
                  </a:cubicBezTo>
                  <a:cubicBezTo>
                    <a:pt x="292487" y="388382"/>
                    <a:pt x="294585" y="386479"/>
                    <a:pt x="297440" y="383892"/>
                  </a:cubicBezTo>
                  <a:lnTo>
                    <a:pt x="300976" y="383601"/>
                  </a:lnTo>
                  <a:cubicBezTo>
                    <a:pt x="302505" y="382190"/>
                    <a:pt x="304121" y="380539"/>
                    <a:pt x="305873" y="378697"/>
                  </a:cubicBezTo>
                  <a:cubicBezTo>
                    <a:pt x="308461" y="376656"/>
                    <a:pt x="310428" y="373667"/>
                    <a:pt x="311793" y="369730"/>
                  </a:cubicBezTo>
                  <a:lnTo>
                    <a:pt x="314237" y="360749"/>
                  </a:lnTo>
                  <a:cubicBezTo>
                    <a:pt x="314772" y="358853"/>
                    <a:pt x="315927" y="355996"/>
                    <a:pt x="317694" y="352191"/>
                  </a:cubicBezTo>
                  <a:cubicBezTo>
                    <a:pt x="319059" y="348793"/>
                    <a:pt x="320081" y="346278"/>
                    <a:pt x="320749" y="344646"/>
                  </a:cubicBezTo>
                  <a:lnTo>
                    <a:pt x="321981" y="338931"/>
                  </a:lnTo>
                  <a:cubicBezTo>
                    <a:pt x="322115" y="337443"/>
                    <a:pt x="322248" y="335191"/>
                    <a:pt x="322382" y="332202"/>
                  </a:cubicBezTo>
                  <a:cubicBezTo>
                    <a:pt x="322525" y="330714"/>
                    <a:pt x="322525" y="328529"/>
                    <a:pt x="322382" y="325684"/>
                  </a:cubicBezTo>
                  <a:cubicBezTo>
                    <a:pt x="322115" y="322959"/>
                    <a:pt x="321847" y="319693"/>
                    <a:pt x="321561" y="315888"/>
                  </a:cubicBezTo>
                  <a:cubicBezTo>
                    <a:pt x="321294" y="308962"/>
                    <a:pt x="321026" y="303721"/>
                    <a:pt x="320749" y="300179"/>
                  </a:cubicBezTo>
                  <a:lnTo>
                    <a:pt x="320749" y="299982"/>
                  </a:lnTo>
                  <a:lnTo>
                    <a:pt x="320549" y="299982"/>
                  </a:lnTo>
                  <a:cubicBezTo>
                    <a:pt x="320549" y="299165"/>
                    <a:pt x="320348" y="298151"/>
                    <a:pt x="319938" y="296927"/>
                  </a:cubicBezTo>
                  <a:cubicBezTo>
                    <a:pt x="319670" y="294886"/>
                    <a:pt x="319393" y="293385"/>
                    <a:pt x="319126" y="292437"/>
                  </a:cubicBezTo>
                  <a:cubicBezTo>
                    <a:pt x="318582" y="289988"/>
                    <a:pt x="318038" y="288012"/>
                    <a:pt x="317493" y="286524"/>
                  </a:cubicBezTo>
                  <a:cubicBezTo>
                    <a:pt x="316682" y="284615"/>
                    <a:pt x="315183" y="282311"/>
                    <a:pt x="313006" y="279585"/>
                  </a:cubicBezTo>
                  <a:cubicBezTo>
                    <a:pt x="309072" y="274015"/>
                    <a:pt x="306350" y="269459"/>
                    <a:pt x="304851" y="265931"/>
                  </a:cubicBezTo>
                  <a:cubicBezTo>
                    <a:pt x="303639" y="263337"/>
                    <a:pt x="303028" y="261309"/>
                    <a:pt x="303028" y="259808"/>
                  </a:cubicBezTo>
                  <a:lnTo>
                    <a:pt x="303429" y="252460"/>
                  </a:lnTo>
                  <a:lnTo>
                    <a:pt x="303429" y="252052"/>
                  </a:lnTo>
                  <a:cubicBezTo>
                    <a:pt x="303705" y="251657"/>
                    <a:pt x="304107" y="251170"/>
                    <a:pt x="304660" y="250630"/>
                  </a:cubicBezTo>
                  <a:cubicBezTo>
                    <a:pt x="304928" y="250222"/>
                    <a:pt x="305338" y="249814"/>
                    <a:pt x="305873" y="249405"/>
                  </a:cubicBezTo>
                  <a:cubicBezTo>
                    <a:pt x="306560" y="248721"/>
                    <a:pt x="306895" y="247299"/>
                    <a:pt x="306895" y="245126"/>
                  </a:cubicBezTo>
                  <a:cubicBezTo>
                    <a:pt x="306895" y="241729"/>
                    <a:pt x="305873" y="238463"/>
                    <a:pt x="303839" y="235343"/>
                  </a:cubicBezTo>
                  <a:cubicBezTo>
                    <a:pt x="302617" y="233433"/>
                    <a:pt x="301796" y="231801"/>
                    <a:pt x="301395" y="230444"/>
                  </a:cubicBezTo>
                  <a:cubicBezTo>
                    <a:pt x="301261" y="229628"/>
                    <a:pt x="301185" y="228943"/>
                    <a:pt x="301185" y="228403"/>
                  </a:cubicBezTo>
                  <a:cubicBezTo>
                    <a:pt x="301328" y="226231"/>
                    <a:pt x="302951" y="223031"/>
                    <a:pt x="306083" y="218817"/>
                  </a:cubicBezTo>
                  <a:lnTo>
                    <a:pt x="311373" y="210667"/>
                  </a:lnTo>
                  <a:cubicBezTo>
                    <a:pt x="311650" y="209574"/>
                    <a:pt x="311850" y="208284"/>
                    <a:pt x="311993" y="206796"/>
                  </a:cubicBezTo>
                  <a:cubicBezTo>
                    <a:pt x="312127" y="205150"/>
                    <a:pt x="312194" y="203188"/>
                    <a:pt x="312194" y="200870"/>
                  </a:cubicBezTo>
                  <a:lnTo>
                    <a:pt x="312394" y="194958"/>
                  </a:lnTo>
                  <a:lnTo>
                    <a:pt x="312394" y="189243"/>
                  </a:lnTo>
                  <a:cubicBezTo>
                    <a:pt x="311717" y="189243"/>
                    <a:pt x="310972" y="188914"/>
                    <a:pt x="310160" y="188230"/>
                  </a:cubicBezTo>
                  <a:cubicBezTo>
                    <a:pt x="309482" y="187821"/>
                    <a:pt x="309138" y="187347"/>
                    <a:pt x="309138" y="186807"/>
                  </a:cubicBezTo>
                  <a:cubicBezTo>
                    <a:pt x="309272" y="183950"/>
                    <a:pt x="310838" y="181567"/>
                    <a:pt x="313827" y="179671"/>
                  </a:cubicBezTo>
                  <a:cubicBezTo>
                    <a:pt x="317083" y="177077"/>
                    <a:pt x="318305" y="172863"/>
                    <a:pt x="317493" y="167017"/>
                  </a:cubicBezTo>
                  <a:cubicBezTo>
                    <a:pt x="318582" y="166753"/>
                    <a:pt x="320138" y="166411"/>
                    <a:pt x="322182" y="166003"/>
                  </a:cubicBezTo>
                  <a:cubicBezTo>
                    <a:pt x="322859" y="165858"/>
                    <a:pt x="323537" y="165726"/>
                    <a:pt x="324215" y="165595"/>
                  </a:cubicBezTo>
                  <a:cubicBezTo>
                    <a:pt x="326803" y="164778"/>
                    <a:pt x="328980" y="163145"/>
                    <a:pt x="330737" y="160696"/>
                  </a:cubicBezTo>
                  <a:lnTo>
                    <a:pt x="330947" y="160091"/>
                  </a:lnTo>
                  <a:cubicBezTo>
                    <a:pt x="331081" y="159946"/>
                    <a:pt x="331147" y="159748"/>
                    <a:pt x="331147" y="159472"/>
                  </a:cubicBezTo>
                  <a:cubicBezTo>
                    <a:pt x="331825" y="157984"/>
                    <a:pt x="333057" y="155126"/>
                    <a:pt x="334814" y="150913"/>
                  </a:cubicBezTo>
                  <a:lnTo>
                    <a:pt x="339502" y="143974"/>
                  </a:lnTo>
                  <a:cubicBezTo>
                    <a:pt x="340323" y="143842"/>
                    <a:pt x="340724" y="144039"/>
                    <a:pt x="340724" y="144592"/>
                  </a:cubicBezTo>
                  <a:cubicBezTo>
                    <a:pt x="340724" y="145409"/>
                    <a:pt x="340323" y="147239"/>
                    <a:pt x="339502" y="150096"/>
                  </a:cubicBezTo>
                  <a:cubicBezTo>
                    <a:pt x="338414" y="152822"/>
                    <a:pt x="337869" y="155324"/>
                    <a:pt x="337869" y="157641"/>
                  </a:cubicBezTo>
                  <a:cubicBezTo>
                    <a:pt x="337869" y="158458"/>
                    <a:pt x="337869" y="159274"/>
                    <a:pt x="337869" y="160091"/>
                  </a:cubicBezTo>
                  <a:cubicBezTo>
                    <a:pt x="337736" y="161578"/>
                    <a:pt x="337736" y="163211"/>
                    <a:pt x="337869" y="164989"/>
                  </a:cubicBezTo>
                  <a:lnTo>
                    <a:pt x="339903" y="170085"/>
                  </a:lnTo>
                  <a:cubicBezTo>
                    <a:pt x="340858" y="169940"/>
                    <a:pt x="341269" y="168307"/>
                    <a:pt x="341135" y="165186"/>
                  </a:cubicBezTo>
                  <a:cubicBezTo>
                    <a:pt x="344534" y="166069"/>
                    <a:pt x="344534" y="167767"/>
                    <a:pt x="344400" y="169676"/>
                  </a:cubicBezTo>
                  <a:lnTo>
                    <a:pt x="344591" y="169676"/>
                  </a:lnTo>
                  <a:cubicBezTo>
                    <a:pt x="345689" y="168860"/>
                    <a:pt x="346635" y="167570"/>
                    <a:pt x="347456" y="165792"/>
                  </a:cubicBezTo>
                  <a:cubicBezTo>
                    <a:pt x="348268" y="164028"/>
                    <a:pt x="348745" y="162540"/>
                    <a:pt x="348879" y="161315"/>
                  </a:cubicBezTo>
                  <a:cubicBezTo>
                    <a:pt x="348879" y="160907"/>
                    <a:pt x="348879" y="160499"/>
                    <a:pt x="348879" y="160091"/>
                  </a:cubicBezTo>
                  <a:cubicBezTo>
                    <a:pt x="348879" y="157918"/>
                    <a:pt x="348468" y="156009"/>
                    <a:pt x="347656" y="154376"/>
                  </a:cubicBezTo>
                  <a:cubicBezTo>
                    <a:pt x="346979" y="152335"/>
                    <a:pt x="346635" y="150294"/>
                    <a:pt x="346635" y="148266"/>
                  </a:cubicBezTo>
                  <a:lnTo>
                    <a:pt x="347036" y="145001"/>
                  </a:lnTo>
                  <a:lnTo>
                    <a:pt x="346845" y="141933"/>
                  </a:lnTo>
                  <a:cubicBezTo>
                    <a:pt x="346845" y="141669"/>
                    <a:pt x="346902" y="141327"/>
                    <a:pt x="347036" y="140919"/>
                  </a:cubicBezTo>
                  <a:cubicBezTo>
                    <a:pt x="347179" y="139971"/>
                    <a:pt x="347723" y="138944"/>
                    <a:pt x="348669" y="137851"/>
                  </a:cubicBezTo>
                  <a:cubicBezTo>
                    <a:pt x="349356" y="137048"/>
                    <a:pt x="350846" y="135678"/>
                    <a:pt x="353156" y="133782"/>
                  </a:cubicBezTo>
                  <a:cubicBezTo>
                    <a:pt x="354111" y="132821"/>
                    <a:pt x="355935" y="132149"/>
                    <a:pt x="358666" y="131741"/>
                  </a:cubicBezTo>
                  <a:cubicBezTo>
                    <a:pt x="359477" y="131609"/>
                    <a:pt x="361511" y="131478"/>
                    <a:pt x="364777" y="131333"/>
                  </a:cubicBezTo>
                  <a:lnTo>
                    <a:pt x="364777" y="128884"/>
                  </a:lnTo>
                  <a:cubicBezTo>
                    <a:pt x="364777" y="128752"/>
                    <a:pt x="363755" y="127936"/>
                    <a:pt x="361721" y="126448"/>
                  </a:cubicBezTo>
                  <a:cubicBezTo>
                    <a:pt x="359410" y="124670"/>
                    <a:pt x="358322" y="121339"/>
                    <a:pt x="358456" y="116440"/>
                  </a:cubicBezTo>
                  <a:cubicBezTo>
                    <a:pt x="358456" y="115229"/>
                    <a:pt x="359134" y="114136"/>
                    <a:pt x="360489" y="113188"/>
                  </a:cubicBezTo>
                  <a:cubicBezTo>
                    <a:pt x="362666" y="111411"/>
                    <a:pt x="364366" y="109857"/>
                    <a:pt x="365588" y="108487"/>
                  </a:cubicBezTo>
                  <a:cubicBezTo>
                    <a:pt x="366266" y="107539"/>
                    <a:pt x="367087" y="106723"/>
                    <a:pt x="368033" y="106051"/>
                  </a:cubicBezTo>
                  <a:cubicBezTo>
                    <a:pt x="372587" y="102101"/>
                    <a:pt x="373399" y="102035"/>
                    <a:pt x="374755" y="102167"/>
                  </a:cubicBezTo>
                  <a:cubicBezTo>
                    <a:pt x="376120" y="102443"/>
                    <a:pt x="377886" y="103734"/>
                    <a:pt x="380063" y="106051"/>
                  </a:cubicBezTo>
                  <a:cubicBezTo>
                    <a:pt x="382231" y="108487"/>
                    <a:pt x="384274" y="109712"/>
                    <a:pt x="386174" y="109712"/>
                  </a:cubicBezTo>
                  <a:cubicBezTo>
                    <a:pt x="388075" y="109449"/>
                    <a:pt x="389640" y="109172"/>
                    <a:pt x="390853" y="108909"/>
                  </a:cubicBezTo>
                  <a:cubicBezTo>
                    <a:pt x="391541" y="108764"/>
                    <a:pt x="392285" y="108698"/>
                    <a:pt x="393097" y="108698"/>
                  </a:cubicBezTo>
                  <a:cubicBezTo>
                    <a:pt x="393909" y="108698"/>
                    <a:pt x="394797" y="108698"/>
                    <a:pt x="395751" y="108698"/>
                  </a:cubicBezTo>
                  <a:cubicBezTo>
                    <a:pt x="397928" y="108698"/>
                    <a:pt x="399752" y="110397"/>
                    <a:pt x="401251" y="113794"/>
                  </a:cubicBezTo>
                  <a:cubicBezTo>
                    <a:pt x="401662" y="114479"/>
                    <a:pt x="402139" y="115150"/>
                    <a:pt x="402674" y="115835"/>
                  </a:cubicBezTo>
                  <a:cubicBezTo>
                    <a:pt x="404173" y="117468"/>
                    <a:pt x="406073" y="118416"/>
                    <a:pt x="408384" y="118692"/>
                  </a:cubicBezTo>
                  <a:cubicBezTo>
                    <a:pt x="411372" y="118692"/>
                    <a:pt x="414017" y="119034"/>
                    <a:pt x="416328" y="119706"/>
                  </a:cubicBezTo>
                  <a:lnTo>
                    <a:pt x="416328" y="119917"/>
                  </a:lnTo>
                  <a:cubicBezTo>
                    <a:pt x="416471" y="120325"/>
                    <a:pt x="417216" y="121339"/>
                    <a:pt x="418572" y="122972"/>
                  </a:cubicBezTo>
                  <a:cubicBezTo>
                    <a:pt x="419804" y="124328"/>
                    <a:pt x="422783" y="125078"/>
                    <a:pt x="427538" y="125223"/>
                  </a:cubicBezTo>
                  <a:lnTo>
                    <a:pt x="436103" y="126645"/>
                  </a:lnTo>
                  <a:cubicBezTo>
                    <a:pt x="436781" y="127317"/>
                    <a:pt x="437258" y="128278"/>
                    <a:pt x="437525" y="129503"/>
                  </a:cubicBezTo>
                  <a:cubicBezTo>
                    <a:pt x="437936" y="130451"/>
                    <a:pt x="438337" y="131122"/>
                    <a:pt x="438748" y="131544"/>
                  </a:cubicBezTo>
                  <a:lnTo>
                    <a:pt x="440781" y="133374"/>
                  </a:lnTo>
                  <a:cubicBezTo>
                    <a:pt x="442414" y="135138"/>
                    <a:pt x="442414" y="135757"/>
                    <a:pt x="442414" y="136837"/>
                  </a:cubicBezTo>
                  <a:cubicBezTo>
                    <a:pt x="442147" y="137522"/>
                    <a:pt x="442414" y="137996"/>
                    <a:pt x="443235" y="138259"/>
                  </a:cubicBezTo>
                  <a:cubicBezTo>
                    <a:pt x="446090" y="141327"/>
                    <a:pt x="445002" y="142407"/>
                    <a:pt x="442825" y="143776"/>
                  </a:cubicBezTo>
                  <a:cubicBezTo>
                    <a:pt x="440648" y="144856"/>
                    <a:pt x="439492" y="146897"/>
                    <a:pt x="439359" y="149886"/>
                  </a:cubicBezTo>
                  <a:cubicBezTo>
                    <a:pt x="439359" y="151387"/>
                    <a:pt x="440858" y="153151"/>
                    <a:pt x="443837" y="155192"/>
                  </a:cubicBezTo>
                  <a:lnTo>
                    <a:pt x="445680" y="157233"/>
                  </a:lnTo>
                  <a:cubicBezTo>
                    <a:pt x="446491" y="158050"/>
                    <a:pt x="447045" y="158998"/>
                    <a:pt x="447312" y="160091"/>
                  </a:cubicBezTo>
                  <a:cubicBezTo>
                    <a:pt x="447446" y="161039"/>
                    <a:pt x="447780" y="164712"/>
                    <a:pt x="448334" y="171099"/>
                  </a:cubicBezTo>
                  <a:cubicBezTo>
                    <a:pt x="448468" y="172191"/>
                    <a:pt x="448601" y="174233"/>
                    <a:pt x="448735" y="177222"/>
                  </a:cubicBezTo>
                  <a:cubicBezTo>
                    <a:pt x="448735" y="179394"/>
                    <a:pt x="448869" y="180961"/>
                    <a:pt x="449146" y="181909"/>
                  </a:cubicBezTo>
                  <a:cubicBezTo>
                    <a:pt x="449279" y="182726"/>
                    <a:pt x="449623" y="184148"/>
                    <a:pt x="450158" y="186189"/>
                  </a:cubicBezTo>
                  <a:cubicBezTo>
                    <a:pt x="450568" y="191087"/>
                    <a:pt x="448936" y="192851"/>
                    <a:pt x="445680" y="195169"/>
                  </a:cubicBezTo>
                  <a:lnTo>
                    <a:pt x="440380" y="201489"/>
                  </a:lnTo>
                  <a:lnTo>
                    <a:pt x="440781" y="213313"/>
                  </a:lnTo>
                  <a:cubicBezTo>
                    <a:pt x="439836" y="216039"/>
                    <a:pt x="436847" y="218409"/>
                    <a:pt x="431815" y="220450"/>
                  </a:cubicBezTo>
                  <a:cubicBezTo>
                    <a:pt x="427337" y="222215"/>
                    <a:pt x="424960" y="225480"/>
                    <a:pt x="424683" y="230247"/>
                  </a:cubicBezTo>
                  <a:cubicBezTo>
                    <a:pt x="424683" y="232011"/>
                    <a:pt x="424893" y="234052"/>
                    <a:pt x="425303" y="236357"/>
                  </a:cubicBezTo>
                  <a:cubicBezTo>
                    <a:pt x="425160" y="237449"/>
                    <a:pt x="425303" y="238332"/>
                    <a:pt x="425705" y="239003"/>
                  </a:cubicBezTo>
                  <a:cubicBezTo>
                    <a:pt x="426115" y="239556"/>
                    <a:pt x="426936" y="240096"/>
                    <a:pt x="428149" y="240636"/>
                  </a:cubicBezTo>
                  <a:lnTo>
                    <a:pt x="438948" y="245745"/>
                  </a:lnTo>
                  <a:cubicBezTo>
                    <a:pt x="439359" y="245745"/>
                    <a:pt x="439970" y="245126"/>
                    <a:pt x="440781" y="243901"/>
                  </a:cubicBezTo>
                  <a:cubicBezTo>
                    <a:pt x="441736" y="242822"/>
                    <a:pt x="442280" y="241940"/>
                    <a:pt x="442414" y="241255"/>
                  </a:cubicBezTo>
                  <a:cubicBezTo>
                    <a:pt x="443235" y="238806"/>
                    <a:pt x="444314" y="237107"/>
                    <a:pt x="445680" y="236159"/>
                  </a:cubicBezTo>
                  <a:cubicBezTo>
                    <a:pt x="446358" y="235474"/>
                    <a:pt x="447312" y="234526"/>
                    <a:pt x="448525" y="233302"/>
                  </a:cubicBezTo>
                  <a:cubicBezTo>
                    <a:pt x="449489" y="232354"/>
                    <a:pt x="450101" y="231261"/>
                    <a:pt x="450368" y="230036"/>
                  </a:cubicBezTo>
                  <a:lnTo>
                    <a:pt x="451991" y="223716"/>
                  </a:lnTo>
                  <a:cubicBezTo>
                    <a:pt x="452134" y="222899"/>
                    <a:pt x="453490" y="221398"/>
                    <a:pt x="456068" y="219226"/>
                  </a:cubicBezTo>
                  <a:cubicBezTo>
                    <a:pt x="458522" y="217053"/>
                    <a:pt x="460890" y="215289"/>
                    <a:pt x="463201" y="213932"/>
                  </a:cubicBezTo>
                  <a:cubicBezTo>
                    <a:pt x="463755" y="213656"/>
                    <a:pt x="464222" y="213379"/>
                    <a:pt x="464633" y="213116"/>
                  </a:cubicBezTo>
                  <a:cubicBezTo>
                    <a:pt x="468443" y="211075"/>
                    <a:pt x="470410" y="210930"/>
                    <a:pt x="473389" y="211075"/>
                  </a:cubicBezTo>
                  <a:cubicBezTo>
                    <a:pt x="473943" y="211075"/>
                    <a:pt x="474411" y="211141"/>
                    <a:pt x="474821" y="211273"/>
                  </a:cubicBezTo>
                  <a:cubicBezTo>
                    <a:pt x="476864" y="211681"/>
                    <a:pt x="478555" y="212774"/>
                    <a:pt x="479920" y="214538"/>
                  </a:cubicBezTo>
                  <a:lnTo>
                    <a:pt x="484198" y="222899"/>
                  </a:lnTo>
                  <a:cubicBezTo>
                    <a:pt x="485821" y="225888"/>
                    <a:pt x="487931" y="231735"/>
                    <a:pt x="490509" y="240438"/>
                  </a:cubicBezTo>
                  <a:cubicBezTo>
                    <a:pt x="490920" y="241255"/>
                    <a:pt x="491664" y="242677"/>
                    <a:pt x="492753" y="244718"/>
                  </a:cubicBezTo>
                  <a:cubicBezTo>
                    <a:pt x="493975" y="246495"/>
                    <a:pt x="494787" y="248115"/>
                    <a:pt x="495207" y="249616"/>
                  </a:cubicBezTo>
                  <a:cubicBezTo>
                    <a:pt x="495608" y="250564"/>
                    <a:pt x="496018" y="251999"/>
                    <a:pt x="496419" y="253896"/>
                  </a:cubicBezTo>
                  <a:cubicBezTo>
                    <a:pt x="496973" y="256608"/>
                    <a:pt x="497651" y="260282"/>
                    <a:pt x="498463" y="264904"/>
                  </a:cubicBezTo>
                  <a:cubicBezTo>
                    <a:pt x="499141" y="267484"/>
                    <a:pt x="500229" y="270750"/>
                    <a:pt x="501719" y="274700"/>
                  </a:cubicBezTo>
                  <a:lnTo>
                    <a:pt x="504373" y="279796"/>
                  </a:lnTo>
                  <a:cubicBezTo>
                    <a:pt x="503963" y="281837"/>
                    <a:pt x="503762" y="283944"/>
                    <a:pt x="503762" y="286116"/>
                  </a:cubicBezTo>
                  <a:lnTo>
                    <a:pt x="502941" y="305077"/>
                  </a:lnTo>
                  <a:cubicBezTo>
                    <a:pt x="501996" y="306025"/>
                    <a:pt x="500974" y="307053"/>
                    <a:pt x="499886" y="308145"/>
                  </a:cubicBezTo>
                  <a:cubicBezTo>
                    <a:pt x="499886" y="308001"/>
                    <a:pt x="499819" y="307869"/>
                    <a:pt x="499685" y="307737"/>
                  </a:cubicBezTo>
                  <a:cubicBezTo>
                    <a:pt x="497651" y="304129"/>
                    <a:pt x="496630" y="303379"/>
                    <a:pt x="494997" y="302431"/>
                  </a:cubicBezTo>
                  <a:cubicBezTo>
                    <a:pt x="490509" y="301075"/>
                    <a:pt x="489497" y="302154"/>
                    <a:pt x="489086" y="304472"/>
                  </a:cubicBezTo>
                  <a:cubicBezTo>
                    <a:pt x="488819" y="305696"/>
                    <a:pt x="488542" y="307329"/>
                    <a:pt x="488265" y="309370"/>
                  </a:cubicBezTo>
                  <a:cubicBezTo>
                    <a:pt x="487998" y="310450"/>
                    <a:pt x="487454" y="312214"/>
                    <a:pt x="486632" y="314663"/>
                  </a:cubicBezTo>
                  <a:cubicBezTo>
                    <a:pt x="485821" y="316164"/>
                    <a:pt x="485420" y="317521"/>
                    <a:pt x="485420" y="318745"/>
                  </a:cubicBezTo>
                  <a:cubicBezTo>
                    <a:pt x="485420" y="319562"/>
                    <a:pt x="485553" y="320786"/>
                    <a:pt x="485821" y="322419"/>
                  </a:cubicBezTo>
                  <a:lnTo>
                    <a:pt x="481543" y="326488"/>
                  </a:lnTo>
                  <a:cubicBezTo>
                    <a:pt x="479643" y="328397"/>
                    <a:pt x="478287" y="332676"/>
                    <a:pt x="477466" y="339339"/>
                  </a:cubicBezTo>
                  <a:cubicBezTo>
                    <a:pt x="477199" y="342196"/>
                    <a:pt x="477132" y="344711"/>
                    <a:pt x="477266" y="346884"/>
                  </a:cubicBezTo>
                  <a:lnTo>
                    <a:pt x="470744" y="353823"/>
                  </a:lnTo>
                  <a:lnTo>
                    <a:pt x="466676" y="360960"/>
                  </a:lnTo>
                  <a:cubicBezTo>
                    <a:pt x="465712" y="361908"/>
                    <a:pt x="464900" y="362725"/>
                    <a:pt x="464222" y="363409"/>
                  </a:cubicBezTo>
                  <a:cubicBezTo>
                    <a:pt x="462599" y="368228"/>
                    <a:pt x="463134" y="369321"/>
                    <a:pt x="464222" y="370138"/>
                  </a:cubicBezTo>
                  <a:lnTo>
                    <a:pt x="463543" y="370263"/>
                  </a:lnTo>
                  <a:cubicBezTo>
                    <a:pt x="463981" y="370855"/>
                    <a:pt x="464676" y="371268"/>
                    <a:pt x="465541" y="371591"/>
                  </a:cubicBezTo>
                  <a:cubicBezTo>
                    <a:pt x="466626" y="371996"/>
                    <a:pt x="467925" y="372341"/>
                    <a:pt x="469420" y="372603"/>
                  </a:cubicBezTo>
                  <a:cubicBezTo>
                    <a:pt x="470095" y="372603"/>
                    <a:pt x="470842" y="372675"/>
                    <a:pt x="471671" y="372818"/>
                  </a:cubicBezTo>
                  <a:lnTo>
                    <a:pt x="479223" y="377297"/>
                  </a:lnTo>
                  <a:cubicBezTo>
                    <a:pt x="483163" y="379608"/>
                    <a:pt x="486223" y="380763"/>
                    <a:pt x="488403" y="380763"/>
                  </a:cubicBezTo>
                  <a:cubicBezTo>
                    <a:pt x="489621" y="380763"/>
                    <a:pt x="490716" y="380489"/>
                    <a:pt x="491668" y="379953"/>
                  </a:cubicBezTo>
                  <a:cubicBezTo>
                    <a:pt x="492619" y="379537"/>
                    <a:pt x="493438" y="379334"/>
                    <a:pt x="494124" y="379334"/>
                  </a:cubicBezTo>
                  <a:cubicBezTo>
                    <a:pt x="494666" y="379334"/>
                    <a:pt x="495208" y="379679"/>
                    <a:pt x="495751" y="380358"/>
                  </a:cubicBezTo>
                  <a:cubicBezTo>
                    <a:pt x="496293" y="381037"/>
                    <a:pt x="496570" y="381585"/>
                    <a:pt x="496570" y="381990"/>
                  </a:cubicBezTo>
                  <a:cubicBezTo>
                    <a:pt x="496437" y="382526"/>
                    <a:pt x="495137" y="383479"/>
                    <a:pt x="492681" y="384837"/>
                  </a:cubicBezTo>
                  <a:cubicBezTo>
                    <a:pt x="497112" y="386207"/>
                    <a:pt x="499906" y="385659"/>
                    <a:pt x="503713" y="385659"/>
                  </a:cubicBezTo>
                  <a:cubicBezTo>
                    <a:pt x="504388" y="385790"/>
                    <a:pt x="505278" y="386267"/>
                    <a:pt x="506363" y="387089"/>
                  </a:cubicBezTo>
                  <a:cubicBezTo>
                    <a:pt x="509761" y="388101"/>
                    <a:pt x="511337" y="387553"/>
                    <a:pt x="513506" y="386481"/>
                  </a:cubicBezTo>
                  <a:cubicBezTo>
                    <a:pt x="513916" y="386207"/>
                    <a:pt x="514530" y="386064"/>
                    <a:pt x="515348" y="386064"/>
                  </a:cubicBezTo>
                  <a:cubicBezTo>
                    <a:pt x="516433" y="385790"/>
                    <a:pt x="517518" y="385528"/>
                    <a:pt x="518613" y="385254"/>
                  </a:cubicBezTo>
                  <a:cubicBezTo>
                    <a:pt x="519432" y="385111"/>
                    <a:pt x="520987" y="384301"/>
                    <a:pt x="523300" y="382800"/>
                  </a:cubicBezTo>
                  <a:cubicBezTo>
                    <a:pt x="525623" y="381180"/>
                    <a:pt x="527660" y="380084"/>
                    <a:pt x="529430" y="379537"/>
                  </a:cubicBezTo>
                  <a:cubicBezTo>
                    <a:pt x="531057" y="378727"/>
                    <a:pt x="534465" y="378048"/>
                    <a:pt x="539633" y="377500"/>
                  </a:cubicBezTo>
                  <a:cubicBezTo>
                    <a:pt x="544668" y="377095"/>
                    <a:pt x="548547" y="376285"/>
                    <a:pt x="551269" y="375057"/>
                  </a:cubicBezTo>
                  <a:cubicBezTo>
                    <a:pt x="552220" y="374104"/>
                    <a:pt x="553653" y="372603"/>
                    <a:pt x="555557" y="370566"/>
                  </a:cubicBezTo>
                  <a:cubicBezTo>
                    <a:pt x="556375" y="369614"/>
                    <a:pt x="557255" y="368601"/>
                    <a:pt x="558207" y="367505"/>
                  </a:cubicBezTo>
                  <a:cubicBezTo>
                    <a:pt x="559978" y="365337"/>
                    <a:pt x="562024" y="362895"/>
                    <a:pt x="564337" y="360168"/>
                  </a:cubicBezTo>
                  <a:cubicBezTo>
                    <a:pt x="569096" y="355415"/>
                    <a:pt x="573517" y="351615"/>
                    <a:pt x="577600" y="348756"/>
                  </a:cubicBezTo>
                  <a:cubicBezTo>
                    <a:pt x="578695" y="347946"/>
                    <a:pt x="579780" y="347267"/>
                    <a:pt x="580865" y="346719"/>
                  </a:cubicBezTo>
                  <a:cubicBezTo>
                    <a:pt x="581949" y="346040"/>
                    <a:pt x="582973" y="345492"/>
                    <a:pt x="583935" y="345087"/>
                  </a:cubicBezTo>
                  <a:cubicBezTo>
                    <a:pt x="588417" y="343324"/>
                    <a:pt x="592777" y="341287"/>
                    <a:pt x="596993" y="338965"/>
                  </a:cubicBezTo>
                  <a:cubicBezTo>
                    <a:pt x="599029" y="337881"/>
                    <a:pt x="601076" y="336725"/>
                    <a:pt x="603113" y="335510"/>
                  </a:cubicBezTo>
                  <a:lnTo>
                    <a:pt x="604341" y="334891"/>
                  </a:lnTo>
                  <a:lnTo>
                    <a:pt x="610870" y="382193"/>
                  </a:lnTo>
                  <a:cubicBezTo>
                    <a:pt x="613592" y="402169"/>
                    <a:pt x="615700" y="417059"/>
                    <a:pt x="617194" y="426838"/>
                  </a:cubicBezTo>
                  <a:cubicBezTo>
                    <a:pt x="615014" y="427791"/>
                    <a:pt x="613316" y="428673"/>
                    <a:pt x="612088" y="429494"/>
                  </a:cubicBezTo>
                  <a:cubicBezTo>
                    <a:pt x="609775" y="430852"/>
                    <a:pt x="608618" y="432210"/>
                    <a:pt x="608618" y="433568"/>
                  </a:cubicBezTo>
                  <a:cubicBezTo>
                    <a:pt x="608485" y="435605"/>
                    <a:pt x="609447" y="437988"/>
                    <a:pt x="611484" y="440703"/>
                  </a:cubicBezTo>
                  <a:cubicBezTo>
                    <a:pt x="613531" y="443419"/>
                    <a:pt x="614544" y="446350"/>
                    <a:pt x="614544" y="449470"/>
                  </a:cubicBezTo>
                  <a:cubicBezTo>
                    <a:pt x="614544" y="450423"/>
                    <a:pt x="614206" y="451650"/>
                    <a:pt x="613531" y="453139"/>
                  </a:cubicBezTo>
                  <a:cubicBezTo>
                    <a:pt x="612845" y="454366"/>
                    <a:pt x="612507" y="455319"/>
                    <a:pt x="612507" y="455998"/>
                  </a:cubicBezTo>
                  <a:cubicBezTo>
                    <a:pt x="612507" y="456677"/>
                    <a:pt x="612569" y="457285"/>
                    <a:pt x="612702" y="457833"/>
                  </a:cubicBezTo>
                  <a:cubicBezTo>
                    <a:pt x="612978" y="458785"/>
                    <a:pt x="613111" y="459738"/>
                    <a:pt x="613111" y="460679"/>
                  </a:cubicBezTo>
                  <a:cubicBezTo>
                    <a:pt x="612978" y="462728"/>
                    <a:pt x="611955" y="469244"/>
                    <a:pt x="610051" y="480250"/>
                  </a:cubicBezTo>
                  <a:cubicBezTo>
                    <a:pt x="610051" y="482299"/>
                    <a:pt x="610051" y="485492"/>
                    <a:pt x="610051" y="489839"/>
                  </a:cubicBezTo>
                  <a:cubicBezTo>
                    <a:pt x="609642" y="492829"/>
                    <a:pt x="608966" y="495140"/>
                    <a:pt x="608004" y="496772"/>
                  </a:cubicBezTo>
                  <a:cubicBezTo>
                    <a:pt x="603788" y="502132"/>
                    <a:pt x="600186" y="506623"/>
                    <a:pt x="596379" y="510840"/>
                  </a:cubicBezTo>
                  <a:lnTo>
                    <a:pt x="585357" y="517570"/>
                  </a:lnTo>
                  <a:cubicBezTo>
                    <a:pt x="584948" y="517570"/>
                    <a:pt x="584201" y="517356"/>
                    <a:pt x="583106" y="516951"/>
                  </a:cubicBezTo>
                  <a:cubicBezTo>
                    <a:pt x="579913" y="515998"/>
                    <a:pt x="578623" y="517832"/>
                    <a:pt x="576986" y="521644"/>
                  </a:cubicBezTo>
                  <a:lnTo>
                    <a:pt x="573107" y="529184"/>
                  </a:lnTo>
                  <a:cubicBezTo>
                    <a:pt x="572023" y="529863"/>
                    <a:pt x="570529" y="532174"/>
                    <a:pt x="568625" y="536117"/>
                  </a:cubicBezTo>
                  <a:lnTo>
                    <a:pt x="566578" y="542239"/>
                  </a:lnTo>
                  <a:cubicBezTo>
                    <a:pt x="566578" y="542906"/>
                    <a:pt x="566988" y="543657"/>
                    <a:pt x="567796" y="544479"/>
                  </a:cubicBezTo>
                  <a:lnTo>
                    <a:pt x="564736" y="553448"/>
                  </a:lnTo>
                  <a:cubicBezTo>
                    <a:pt x="563385" y="553317"/>
                    <a:pt x="562157" y="552424"/>
                    <a:pt x="561062" y="550792"/>
                  </a:cubicBezTo>
                  <a:cubicBezTo>
                    <a:pt x="559978" y="549303"/>
                    <a:pt x="558617" y="548552"/>
                    <a:pt x="556979" y="548552"/>
                  </a:cubicBezTo>
                  <a:cubicBezTo>
                    <a:pt x="555761" y="548421"/>
                    <a:pt x="554339" y="550184"/>
                    <a:pt x="552701" y="553853"/>
                  </a:cubicBezTo>
                  <a:cubicBezTo>
                    <a:pt x="551340" y="557260"/>
                    <a:pt x="550583" y="559761"/>
                    <a:pt x="550450" y="561393"/>
                  </a:cubicBezTo>
                  <a:cubicBezTo>
                    <a:pt x="550450" y="562620"/>
                    <a:pt x="550798" y="564788"/>
                    <a:pt x="551473" y="567921"/>
                  </a:cubicBezTo>
                  <a:lnTo>
                    <a:pt x="552292" y="573424"/>
                  </a:lnTo>
                  <a:cubicBezTo>
                    <a:pt x="552292" y="573972"/>
                    <a:pt x="551739" y="575604"/>
                    <a:pt x="550655" y="578320"/>
                  </a:cubicBezTo>
                  <a:lnTo>
                    <a:pt x="547390" y="585050"/>
                  </a:lnTo>
                  <a:cubicBezTo>
                    <a:pt x="544402" y="588314"/>
                    <a:pt x="540186" y="590684"/>
                    <a:pt x="534731" y="592185"/>
                  </a:cubicBezTo>
                  <a:cubicBezTo>
                    <a:pt x="534731" y="591101"/>
                    <a:pt x="534670" y="590279"/>
                    <a:pt x="534526" y="589731"/>
                  </a:cubicBezTo>
                  <a:cubicBezTo>
                    <a:pt x="534393" y="589326"/>
                    <a:pt x="533503" y="588576"/>
                    <a:pt x="531886" y="587492"/>
                  </a:cubicBezTo>
                  <a:cubicBezTo>
                    <a:pt x="527864" y="584097"/>
                    <a:pt x="526298" y="583418"/>
                    <a:pt x="524119" y="583013"/>
                  </a:cubicBezTo>
                  <a:lnTo>
                    <a:pt x="518818" y="581381"/>
                  </a:lnTo>
                  <a:cubicBezTo>
                    <a:pt x="517457" y="580833"/>
                    <a:pt x="516362" y="579130"/>
                    <a:pt x="515553" y="576283"/>
                  </a:cubicBezTo>
                  <a:cubicBezTo>
                    <a:pt x="514867" y="573424"/>
                    <a:pt x="513844" y="571995"/>
                    <a:pt x="512493" y="571995"/>
                  </a:cubicBezTo>
                  <a:cubicBezTo>
                    <a:pt x="510856" y="571995"/>
                    <a:pt x="508881" y="573901"/>
                    <a:pt x="506568" y="577712"/>
                  </a:cubicBezTo>
                  <a:cubicBezTo>
                    <a:pt x="504255" y="581643"/>
                    <a:pt x="500653" y="583549"/>
                    <a:pt x="495751" y="583418"/>
                  </a:cubicBezTo>
                  <a:cubicBezTo>
                    <a:pt x="494124" y="583418"/>
                    <a:pt x="492681" y="582525"/>
                    <a:pt x="491463" y="580774"/>
                  </a:cubicBezTo>
                  <a:cubicBezTo>
                    <a:pt x="490235" y="578999"/>
                    <a:pt x="488945" y="578117"/>
                    <a:pt x="487584" y="578117"/>
                  </a:cubicBezTo>
                  <a:cubicBezTo>
                    <a:pt x="484862" y="578117"/>
                    <a:pt x="482478" y="579332"/>
                    <a:pt x="480441" y="581786"/>
                  </a:cubicBezTo>
                  <a:lnTo>
                    <a:pt x="474731" y="585253"/>
                  </a:lnTo>
                  <a:cubicBezTo>
                    <a:pt x="472275" y="585253"/>
                    <a:pt x="470300" y="583823"/>
                    <a:pt x="468806" y="580976"/>
                  </a:cubicBezTo>
                  <a:cubicBezTo>
                    <a:pt x="466902" y="577975"/>
                    <a:pt x="465070" y="576486"/>
                    <a:pt x="463300" y="576486"/>
                  </a:cubicBezTo>
                  <a:lnTo>
                    <a:pt x="453905" y="577093"/>
                  </a:lnTo>
                  <a:cubicBezTo>
                    <a:pt x="451859" y="576962"/>
                    <a:pt x="450375" y="576688"/>
                    <a:pt x="449413" y="576283"/>
                  </a:cubicBezTo>
                  <a:cubicBezTo>
                    <a:pt x="448195" y="575461"/>
                    <a:pt x="447100" y="573901"/>
                    <a:pt x="446158" y="571590"/>
                  </a:cubicBezTo>
                  <a:lnTo>
                    <a:pt x="439414" y="560381"/>
                  </a:lnTo>
                  <a:cubicBezTo>
                    <a:pt x="434656" y="560381"/>
                    <a:pt x="430849" y="560381"/>
                    <a:pt x="427983" y="560381"/>
                  </a:cubicBezTo>
                  <a:cubicBezTo>
                    <a:pt x="422815" y="560381"/>
                    <a:pt x="419622" y="559023"/>
                    <a:pt x="418394" y="556307"/>
                  </a:cubicBezTo>
                  <a:cubicBezTo>
                    <a:pt x="415601" y="555616"/>
                    <a:pt x="415734" y="555080"/>
                    <a:pt x="415734" y="554663"/>
                  </a:cubicBezTo>
                  <a:lnTo>
                    <a:pt x="415676" y="554293"/>
                  </a:lnTo>
                  <a:cubicBezTo>
                    <a:pt x="415440" y="554914"/>
                    <a:pt x="415006" y="555554"/>
                    <a:pt x="414429" y="556253"/>
                  </a:cubicBezTo>
                  <a:cubicBezTo>
                    <a:pt x="413200" y="558022"/>
                    <a:pt x="412594" y="559656"/>
                    <a:pt x="412594" y="561157"/>
                  </a:cubicBezTo>
                  <a:cubicBezTo>
                    <a:pt x="412736" y="562109"/>
                    <a:pt x="413343" y="562846"/>
                    <a:pt x="414429" y="563395"/>
                  </a:cubicBezTo>
                  <a:cubicBezTo>
                    <a:pt x="415381" y="564079"/>
                    <a:pt x="415853" y="565097"/>
                    <a:pt x="415853" y="566451"/>
                  </a:cubicBezTo>
                  <a:lnTo>
                    <a:pt x="415246" y="569519"/>
                  </a:lnTo>
                  <a:cubicBezTo>
                    <a:pt x="415246" y="569921"/>
                    <a:pt x="415928" y="570806"/>
                    <a:pt x="417284" y="572173"/>
                  </a:cubicBezTo>
                  <a:cubicBezTo>
                    <a:pt x="418505" y="573258"/>
                    <a:pt x="419119" y="574210"/>
                    <a:pt x="419119" y="575027"/>
                  </a:cubicBezTo>
                  <a:cubicBezTo>
                    <a:pt x="419119" y="576930"/>
                    <a:pt x="418160" y="577948"/>
                    <a:pt x="416265" y="578082"/>
                  </a:cubicBezTo>
                  <a:cubicBezTo>
                    <a:pt x="410623" y="577881"/>
                    <a:pt x="408660" y="579235"/>
                    <a:pt x="406480" y="581955"/>
                  </a:cubicBezTo>
                  <a:cubicBezTo>
                    <a:pt x="404442" y="584542"/>
                    <a:pt x="402682" y="585828"/>
                    <a:pt x="401183" y="585828"/>
                  </a:cubicBezTo>
                  <a:cubicBezTo>
                    <a:pt x="400509" y="585828"/>
                    <a:pt x="399954" y="585426"/>
                    <a:pt x="399550" y="584609"/>
                  </a:cubicBezTo>
                  <a:lnTo>
                    <a:pt x="392208" y="582974"/>
                  </a:lnTo>
                  <a:cubicBezTo>
                    <a:pt x="388821" y="583255"/>
                    <a:pt x="387113" y="584341"/>
                    <a:pt x="387113" y="586243"/>
                  </a:cubicBezTo>
                  <a:cubicBezTo>
                    <a:pt x="387113" y="587195"/>
                    <a:pt x="387255" y="588830"/>
                    <a:pt x="387532" y="591135"/>
                  </a:cubicBezTo>
                  <a:cubicBezTo>
                    <a:pt x="388207" y="597942"/>
                    <a:pt x="387255" y="599912"/>
                    <a:pt x="385487" y="601547"/>
                  </a:cubicBezTo>
                  <a:lnTo>
                    <a:pt x="381209" y="606036"/>
                  </a:lnTo>
                  <a:cubicBezTo>
                    <a:pt x="380670" y="607256"/>
                    <a:pt x="379846" y="609494"/>
                    <a:pt x="378767" y="612764"/>
                  </a:cubicBezTo>
                  <a:cubicBezTo>
                    <a:pt x="377268" y="615752"/>
                    <a:pt x="375710" y="617521"/>
                    <a:pt x="374077" y="618070"/>
                  </a:cubicBezTo>
                  <a:cubicBezTo>
                    <a:pt x="369724" y="619290"/>
                    <a:pt x="367618" y="623230"/>
                    <a:pt x="367753" y="629890"/>
                  </a:cubicBezTo>
                  <a:cubicBezTo>
                    <a:pt x="367618" y="636014"/>
                    <a:pt x="365858" y="639002"/>
                    <a:pt x="362456" y="638868"/>
                  </a:cubicBezTo>
                  <a:cubicBezTo>
                    <a:pt x="358650" y="638868"/>
                    <a:pt x="354170" y="636831"/>
                    <a:pt x="349000" y="632757"/>
                  </a:cubicBezTo>
                  <a:lnTo>
                    <a:pt x="342692" y="627236"/>
                  </a:lnTo>
                  <a:cubicBezTo>
                    <a:pt x="341194" y="627236"/>
                    <a:pt x="340384" y="627652"/>
                    <a:pt x="340242" y="628469"/>
                  </a:cubicBezTo>
                  <a:cubicBezTo>
                    <a:pt x="340100" y="629153"/>
                    <a:pt x="339830" y="630506"/>
                    <a:pt x="339425" y="632543"/>
                  </a:cubicBezTo>
                  <a:cubicBezTo>
                    <a:pt x="339156" y="633642"/>
                    <a:pt x="338481" y="634794"/>
                    <a:pt x="337388" y="636014"/>
                  </a:cubicBezTo>
                  <a:cubicBezTo>
                    <a:pt x="334735" y="639552"/>
                    <a:pt x="334121" y="641937"/>
                    <a:pt x="333312" y="646011"/>
                  </a:cubicBezTo>
                  <a:lnTo>
                    <a:pt x="330869" y="650915"/>
                  </a:lnTo>
                  <a:cubicBezTo>
                    <a:pt x="327603" y="650915"/>
                    <a:pt x="324891" y="649549"/>
                    <a:pt x="322718" y="646828"/>
                  </a:cubicBezTo>
                  <a:cubicBezTo>
                    <a:pt x="316942" y="642821"/>
                    <a:pt x="314289" y="645193"/>
                    <a:pt x="311705" y="650098"/>
                  </a:cubicBezTo>
                  <a:lnTo>
                    <a:pt x="307224" y="657428"/>
                  </a:lnTo>
                  <a:cubicBezTo>
                    <a:pt x="307089" y="657428"/>
                    <a:pt x="301792" y="653971"/>
                    <a:pt x="291326" y="647029"/>
                  </a:cubicBezTo>
                  <a:cubicBezTo>
                    <a:pt x="290644" y="647029"/>
                    <a:pt x="288202" y="648798"/>
                    <a:pt x="283991" y="652336"/>
                  </a:cubicBezTo>
                  <a:lnTo>
                    <a:pt x="277668" y="657629"/>
                  </a:lnTo>
                  <a:cubicBezTo>
                    <a:pt x="276724" y="657629"/>
                    <a:pt x="275975" y="656959"/>
                    <a:pt x="275435" y="655592"/>
                  </a:cubicBezTo>
                  <a:cubicBezTo>
                    <a:pt x="274881" y="654239"/>
                    <a:pt x="274147" y="653555"/>
                    <a:pt x="273188" y="653555"/>
                  </a:cubicBezTo>
                  <a:cubicBezTo>
                    <a:pt x="272513" y="653555"/>
                    <a:pt x="270745" y="653823"/>
                    <a:pt x="267883" y="654373"/>
                  </a:cubicBezTo>
                  <a:cubicBezTo>
                    <a:pt x="263208" y="656624"/>
                    <a:pt x="263403" y="657710"/>
                    <a:pt x="263807" y="659063"/>
                  </a:cubicBezTo>
                  <a:cubicBezTo>
                    <a:pt x="263807" y="659479"/>
                    <a:pt x="262047" y="661046"/>
                    <a:pt x="258518" y="663753"/>
                  </a:cubicBezTo>
                  <a:cubicBezTo>
                    <a:pt x="258106" y="664303"/>
                    <a:pt x="257694" y="664772"/>
                    <a:pt x="257289" y="665187"/>
                  </a:cubicBezTo>
                  <a:lnTo>
                    <a:pt x="257694" y="656410"/>
                  </a:lnTo>
                  <a:cubicBezTo>
                    <a:pt x="257836" y="654105"/>
                    <a:pt x="257769" y="651786"/>
                    <a:pt x="257499" y="649482"/>
                  </a:cubicBezTo>
                  <a:cubicBezTo>
                    <a:pt x="257364" y="647029"/>
                    <a:pt x="257364" y="644724"/>
                    <a:pt x="257499" y="642540"/>
                  </a:cubicBezTo>
                  <a:lnTo>
                    <a:pt x="259210" y="635578"/>
                  </a:lnTo>
                  <a:lnTo>
                    <a:pt x="258240" y="635578"/>
                  </a:lnTo>
                  <a:cubicBezTo>
                    <a:pt x="256783" y="638106"/>
                    <a:pt x="256414" y="640532"/>
                    <a:pt x="256498" y="642658"/>
                  </a:cubicBezTo>
                  <a:cubicBezTo>
                    <a:pt x="256365" y="644847"/>
                    <a:pt x="256365" y="647160"/>
                    <a:pt x="256498" y="649596"/>
                  </a:cubicBezTo>
                  <a:cubicBezTo>
                    <a:pt x="256764" y="651909"/>
                    <a:pt x="256840" y="654222"/>
                    <a:pt x="256697" y="656535"/>
                  </a:cubicBezTo>
                  <a:lnTo>
                    <a:pt x="256289" y="665292"/>
                  </a:lnTo>
                  <a:cubicBezTo>
                    <a:pt x="253704" y="667746"/>
                    <a:pt x="252346" y="669988"/>
                    <a:pt x="252213" y="672018"/>
                  </a:cubicBezTo>
                  <a:cubicBezTo>
                    <a:pt x="252213" y="673113"/>
                    <a:pt x="252479" y="674049"/>
                    <a:pt x="253030" y="674878"/>
                  </a:cubicBezTo>
                  <a:cubicBezTo>
                    <a:pt x="253571" y="675690"/>
                    <a:pt x="253980" y="676361"/>
                    <a:pt x="254246" y="676909"/>
                  </a:cubicBezTo>
                  <a:cubicBezTo>
                    <a:pt x="254522" y="677050"/>
                    <a:pt x="254731" y="677174"/>
                    <a:pt x="254864" y="677315"/>
                  </a:cubicBezTo>
                  <a:cubicBezTo>
                    <a:pt x="255956" y="682346"/>
                    <a:pt x="253030" y="686019"/>
                    <a:pt x="246094" y="688331"/>
                  </a:cubicBezTo>
                  <a:lnTo>
                    <a:pt x="235272" y="694846"/>
                  </a:lnTo>
                  <a:cubicBezTo>
                    <a:pt x="235139" y="696206"/>
                    <a:pt x="235757" y="698042"/>
                    <a:pt x="237116" y="700354"/>
                  </a:cubicBezTo>
                  <a:cubicBezTo>
                    <a:pt x="238617" y="702932"/>
                    <a:pt x="239358" y="705174"/>
                    <a:pt x="239358" y="707081"/>
                  </a:cubicBezTo>
                  <a:cubicBezTo>
                    <a:pt x="239358" y="708299"/>
                    <a:pt x="238949" y="709729"/>
                    <a:pt x="238132" y="711354"/>
                  </a:cubicBezTo>
                  <a:cubicBezTo>
                    <a:pt x="237049" y="713260"/>
                    <a:pt x="235890" y="714214"/>
                    <a:pt x="234674" y="714214"/>
                  </a:cubicBezTo>
                  <a:cubicBezTo>
                    <a:pt x="233040" y="714072"/>
                    <a:pt x="229439" y="712519"/>
                    <a:pt x="223852" y="709517"/>
                  </a:cubicBezTo>
                  <a:lnTo>
                    <a:pt x="213448" y="704821"/>
                  </a:lnTo>
                  <a:cubicBezTo>
                    <a:pt x="210598" y="704698"/>
                    <a:pt x="207738" y="707275"/>
                    <a:pt x="204878" y="712572"/>
                  </a:cubicBezTo>
                  <a:cubicBezTo>
                    <a:pt x="203653" y="714884"/>
                    <a:pt x="202437" y="716650"/>
                    <a:pt x="201211" y="717886"/>
                  </a:cubicBezTo>
                  <a:cubicBezTo>
                    <a:pt x="199168" y="719510"/>
                    <a:pt x="197069" y="720322"/>
                    <a:pt x="194893" y="720322"/>
                  </a:cubicBezTo>
                  <a:cubicBezTo>
                    <a:pt x="193800" y="720181"/>
                    <a:pt x="191491" y="717939"/>
                    <a:pt x="187948" y="713596"/>
                  </a:cubicBezTo>
                  <a:lnTo>
                    <a:pt x="182446" y="703815"/>
                  </a:lnTo>
                  <a:cubicBezTo>
                    <a:pt x="182712" y="701096"/>
                    <a:pt x="183672" y="698995"/>
                    <a:pt x="185297" y="697494"/>
                  </a:cubicBezTo>
                  <a:cubicBezTo>
                    <a:pt x="186788" y="696135"/>
                    <a:pt x="187615" y="694705"/>
                    <a:pt x="187748" y="693222"/>
                  </a:cubicBezTo>
                  <a:cubicBezTo>
                    <a:pt x="187748" y="690221"/>
                    <a:pt x="186931" y="688331"/>
                    <a:pt x="185297" y="687502"/>
                  </a:cubicBezTo>
                  <a:cubicBezTo>
                    <a:pt x="183530" y="686690"/>
                    <a:pt x="182446" y="683918"/>
                    <a:pt x="182038" y="679151"/>
                  </a:cubicBezTo>
                  <a:cubicBezTo>
                    <a:pt x="182038" y="675479"/>
                    <a:pt x="180945" y="672760"/>
                    <a:pt x="178770" y="670994"/>
                  </a:cubicBezTo>
                  <a:cubicBezTo>
                    <a:pt x="176052" y="669635"/>
                    <a:pt x="173943" y="668134"/>
                    <a:pt x="172451" y="666510"/>
                  </a:cubicBezTo>
                  <a:cubicBezTo>
                    <a:pt x="171226" y="664744"/>
                    <a:pt x="170276" y="663526"/>
                    <a:pt x="169592" y="662838"/>
                  </a:cubicBezTo>
                  <a:cubicBezTo>
                    <a:pt x="168508" y="661620"/>
                    <a:pt x="167007" y="660666"/>
                    <a:pt x="165098" y="659995"/>
                  </a:cubicBezTo>
                  <a:cubicBezTo>
                    <a:pt x="164556" y="659713"/>
                    <a:pt x="163330" y="659519"/>
                    <a:pt x="161430" y="659377"/>
                  </a:cubicBezTo>
                  <a:cubicBezTo>
                    <a:pt x="159938" y="659377"/>
                    <a:pt x="158770" y="659183"/>
                    <a:pt x="157962" y="658777"/>
                  </a:cubicBezTo>
                  <a:cubicBezTo>
                    <a:pt x="156604" y="658089"/>
                    <a:pt x="154285" y="656464"/>
                    <a:pt x="151026" y="653869"/>
                  </a:cubicBezTo>
                  <a:lnTo>
                    <a:pt x="145516" y="649596"/>
                  </a:lnTo>
                  <a:cubicBezTo>
                    <a:pt x="145383" y="649455"/>
                    <a:pt x="145240" y="649402"/>
                    <a:pt x="145107" y="649402"/>
                  </a:cubicBezTo>
                  <a:cubicBezTo>
                    <a:pt x="143616" y="648308"/>
                    <a:pt x="142314" y="647160"/>
                    <a:pt x="141231" y="645924"/>
                  </a:cubicBezTo>
                  <a:cubicBezTo>
                    <a:pt x="139872" y="643894"/>
                    <a:pt x="138713" y="642199"/>
                    <a:pt x="137772" y="640840"/>
                  </a:cubicBezTo>
                  <a:cubicBezTo>
                    <a:pt x="135179" y="637715"/>
                    <a:pt x="134020" y="634307"/>
                    <a:pt x="134295" y="630635"/>
                  </a:cubicBezTo>
                  <a:cubicBezTo>
                    <a:pt x="134295" y="629011"/>
                    <a:pt x="135929" y="624315"/>
                    <a:pt x="139198" y="616582"/>
                  </a:cubicBezTo>
                  <a:lnTo>
                    <a:pt x="143891" y="600074"/>
                  </a:lnTo>
                  <a:cubicBezTo>
                    <a:pt x="143891" y="597620"/>
                    <a:pt x="142599" y="594972"/>
                    <a:pt x="140005" y="592112"/>
                  </a:cubicBezTo>
                  <a:cubicBezTo>
                    <a:pt x="137430" y="589128"/>
                    <a:pt x="134571" y="587575"/>
                    <a:pt x="131445" y="587433"/>
                  </a:cubicBezTo>
                  <a:cubicBezTo>
                    <a:pt x="130495" y="587433"/>
                    <a:pt x="129269" y="588316"/>
                    <a:pt x="127768" y="590082"/>
                  </a:cubicBezTo>
                  <a:lnTo>
                    <a:pt x="119098" y="590792"/>
                  </a:lnTo>
                  <a:cubicBezTo>
                    <a:pt x="117433" y="590148"/>
                    <a:pt x="116822" y="588722"/>
                    <a:pt x="116756" y="586815"/>
                  </a:cubicBezTo>
                  <a:lnTo>
                    <a:pt x="117165" y="577035"/>
                  </a:lnTo>
                  <a:cubicBezTo>
                    <a:pt x="116756" y="574457"/>
                    <a:pt x="114913" y="571261"/>
                    <a:pt x="111654" y="567466"/>
                  </a:cubicBezTo>
                  <a:cubicBezTo>
                    <a:pt x="110694" y="565824"/>
                    <a:pt x="107844" y="562699"/>
                    <a:pt x="103084" y="558073"/>
                  </a:cubicBezTo>
                  <a:cubicBezTo>
                    <a:pt x="90847" y="545309"/>
                    <a:pt x="83977" y="538035"/>
                    <a:pt x="82476" y="536269"/>
                  </a:cubicBezTo>
                  <a:cubicBezTo>
                    <a:pt x="76500" y="529207"/>
                    <a:pt x="73507" y="523575"/>
                    <a:pt x="73507" y="519356"/>
                  </a:cubicBezTo>
                  <a:cubicBezTo>
                    <a:pt x="73783" y="516778"/>
                    <a:pt x="73973" y="514183"/>
                    <a:pt x="74115" y="511605"/>
                  </a:cubicBezTo>
                  <a:lnTo>
                    <a:pt x="73916" y="500200"/>
                  </a:lnTo>
                  <a:cubicBezTo>
                    <a:pt x="74182" y="498152"/>
                    <a:pt x="74666" y="496263"/>
                    <a:pt x="75341" y="494498"/>
                  </a:cubicBezTo>
                  <a:cubicBezTo>
                    <a:pt x="75750" y="493403"/>
                    <a:pt x="76301" y="492450"/>
                    <a:pt x="76975" y="491638"/>
                  </a:cubicBezTo>
                  <a:cubicBezTo>
                    <a:pt x="79626" y="486341"/>
                    <a:pt x="79075" y="485052"/>
                    <a:pt x="77992" y="483693"/>
                  </a:cubicBezTo>
                  <a:lnTo>
                    <a:pt x="76149" y="481645"/>
                  </a:lnTo>
                  <a:cubicBezTo>
                    <a:pt x="76301" y="478661"/>
                    <a:pt x="78191" y="476543"/>
                    <a:pt x="81868" y="475324"/>
                  </a:cubicBezTo>
                  <a:cubicBezTo>
                    <a:pt x="86495" y="474371"/>
                    <a:pt x="89555" y="472888"/>
                    <a:pt x="91046" y="470858"/>
                  </a:cubicBezTo>
                  <a:cubicBezTo>
                    <a:pt x="91730" y="469904"/>
                    <a:pt x="92006" y="467927"/>
                    <a:pt x="91863" y="464943"/>
                  </a:cubicBezTo>
                  <a:lnTo>
                    <a:pt x="92889" y="459435"/>
                  </a:lnTo>
                  <a:cubicBezTo>
                    <a:pt x="93564" y="458764"/>
                    <a:pt x="95265" y="457193"/>
                    <a:pt x="97991" y="454756"/>
                  </a:cubicBezTo>
                  <a:cubicBezTo>
                    <a:pt x="98932" y="454068"/>
                    <a:pt x="99417" y="452708"/>
                    <a:pt x="99417" y="450678"/>
                  </a:cubicBezTo>
                  <a:cubicBezTo>
                    <a:pt x="99550" y="446459"/>
                    <a:pt x="98049" y="442786"/>
                    <a:pt x="94932" y="439661"/>
                  </a:cubicBezTo>
                  <a:cubicBezTo>
                    <a:pt x="92063" y="436801"/>
                    <a:pt x="90780" y="433747"/>
                    <a:pt x="91046" y="430499"/>
                  </a:cubicBezTo>
                  <a:lnTo>
                    <a:pt x="93497" y="420718"/>
                  </a:lnTo>
                  <a:cubicBezTo>
                    <a:pt x="94989" y="419888"/>
                    <a:pt x="100091" y="418882"/>
                    <a:pt x="108794" y="417663"/>
                  </a:cubicBezTo>
                  <a:cubicBezTo>
                    <a:pt x="109611" y="417381"/>
                    <a:pt x="111388" y="416639"/>
                    <a:pt x="114105" y="415404"/>
                  </a:cubicBezTo>
                  <a:lnTo>
                    <a:pt x="119606" y="413373"/>
                  </a:lnTo>
                  <a:lnTo>
                    <a:pt x="125117" y="410919"/>
                  </a:lnTo>
                  <a:cubicBezTo>
                    <a:pt x="126476" y="409842"/>
                    <a:pt x="126818" y="408342"/>
                    <a:pt x="126134" y="406452"/>
                  </a:cubicBezTo>
                  <a:lnTo>
                    <a:pt x="126552" y="402357"/>
                  </a:lnTo>
                  <a:cubicBezTo>
                    <a:pt x="126409" y="399514"/>
                    <a:pt x="127901" y="396725"/>
                    <a:pt x="131036" y="394006"/>
                  </a:cubicBezTo>
                  <a:cubicBezTo>
                    <a:pt x="133887" y="391163"/>
                    <a:pt x="135388" y="388162"/>
                    <a:pt x="135521" y="385037"/>
                  </a:cubicBezTo>
                  <a:cubicBezTo>
                    <a:pt x="135521" y="383819"/>
                    <a:pt x="135179" y="381647"/>
                    <a:pt x="134504" y="378522"/>
                  </a:cubicBezTo>
                  <a:lnTo>
                    <a:pt x="132670" y="371990"/>
                  </a:lnTo>
                  <a:cubicBezTo>
                    <a:pt x="131711" y="371178"/>
                    <a:pt x="130077" y="369607"/>
                    <a:pt x="127768" y="367311"/>
                  </a:cubicBezTo>
                  <a:cubicBezTo>
                    <a:pt x="125725" y="365405"/>
                    <a:pt x="124034" y="363427"/>
                    <a:pt x="122666" y="361397"/>
                  </a:cubicBezTo>
                  <a:cubicBezTo>
                    <a:pt x="118590" y="357460"/>
                    <a:pt x="115597" y="354406"/>
                    <a:pt x="113697" y="352216"/>
                  </a:cubicBezTo>
                  <a:cubicBezTo>
                    <a:pt x="111245" y="349780"/>
                    <a:pt x="109678" y="347326"/>
                    <a:pt x="109003" y="344890"/>
                  </a:cubicBezTo>
                  <a:lnTo>
                    <a:pt x="112306" y="344748"/>
                  </a:lnTo>
                  <a:cubicBezTo>
                    <a:pt x="112090" y="344276"/>
                    <a:pt x="112047" y="343808"/>
                    <a:pt x="112047" y="343365"/>
                  </a:cubicBezTo>
                  <a:cubicBezTo>
                    <a:pt x="111907" y="339300"/>
                    <a:pt x="108976" y="337261"/>
                    <a:pt x="103268" y="337261"/>
                  </a:cubicBezTo>
                  <a:cubicBezTo>
                    <a:pt x="97012" y="337386"/>
                    <a:pt x="93546" y="335626"/>
                    <a:pt x="92871" y="331953"/>
                  </a:cubicBezTo>
                  <a:cubicBezTo>
                    <a:pt x="91507" y="328419"/>
                    <a:pt x="90144" y="324829"/>
                    <a:pt x="88781" y="321142"/>
                  </a:cubicBezTo>
                  <a:lnTo>
                    <a:pt x="84907" y="307900"/>
                  </a:lnTo>
                  <a:cubicBezTo>
                    <a:pt x="84907" y="306671"/>
                    <a:pt x="85723" y="304506"/>
                    <a:pt x="87354" y="301377"/>
                  </a:cubicBezTo>
                  <a:lnTo>
                    <a:pt x="90208" y="295664"/>
                  </a:lnTo>
                  <a:cubicBezTo>
                    <a:pt x="90208" y="294309"/>
                    <a:pt x="88653" y="292005"/>
                    <a:pt x="85519" y="288736"/>
                  </a:cubicBezTo>
                  <a:cubicBezTo>
                    <a:pt x="82257" y="285887"/>
                    <a:pt x="80358" y="283163"/>
                    <a:pt x="79798" y="280579"/>
                  </a:cubicBezTo>
                  <a:cubicBezTo>
                    <a:pt x="80078" y="280453"/>
                    <a:pt x="80282" y="280383"/>
                    <a:pt x="80422" y="280383"/>
                  </a:cubicBezTo>
                  <a:lnTo>
                    <a:pt x="78995" y="265703"/>
                  </a:lnTo>
                  <a:cubicBezTo>
                    <a:pt x="77759" y="259040"/>
                    <a:pt x="75453" y="254012"/>
                    <a:pt x="72063" y="250617"/>
                  </a:cubicBezTo>
                  <a:cubicBezTo>
                    <a:pt x="71643" y="250338"/>
                    <a:pt x="67234" y="247698"/>
                    <a:pt x="58799" y="242670"/>
                  </a:cubicBezTo>
                  <a:cubicBezTo>
                    <a:pt x="53218" y="239275"/>
                    <a:pt x="49548" y="235127"/>
                    <a:pt x="47777" y="230238"/>
                  </a:cubicBezTo>
                  <a:cubicBezTo>
                    <a:pt x="46822" y="226704"/>
                    <a:pt x="43764" y="223645"/>
                    <a:pt x="38590" y="221061"/>
                  </a:cubicBezTo>
                  <a:cubicBezTo>
                    <a:pt x="33290" y="218072"/>
                    <a:pt x="29760" y="215279"/>
                    <a:pt x="27989" y="212708"/>
                  </a:cubicBezTo>
                  <a:cubicBezTo>
                    <a:pt x="27033" y="210529"/>
                    <a:pt x="25059" y="209510"/>
                    <a:pt x="22077" y="209649"/>
                  </a:cubicBezTo>
                  <a:cubicBezTo>
                    <a:pt x="18942" y="209649"/>
                    <a:pt x="16840" y="209161"/>
                    <a:pt x="15744" y="208211"/>
                  </a:cubicBezTo>
                  <a:cubicBezTo>
                    <a:pt x="14929" y="207401"/>
                    <a:pt x="12622" y="205501"/>
                    <a:pt x="8813" y="202512"/>
                  </a:cubicBezTo>
                  <a:lnTo>
                    <a:pt x="3907" y="198433"/>
                  </a:lnTo>
                  <a:lnTo>
                    <a:pt x="6162" y="187831"/>
                  </a:lnTo>
                  <a:cubicBezTo>
                    <a:pt x="6290" y="186197"/>
                    <a:pt x="5882" y="184563"/>
                    <a:pt x="4926" y="182943"/>
                  </a:cubicBezTo>
                  <a:cubicBezTo>
                    <a:pt x="3499" y="179129"/>
                    <a:pt x="3843" y="178040"/>
                    <a:pt x="4519" y="176420"/>
                  </a:cubicBezTo>
                  <a:lnTo>
                    <a:pt x="5130" y="168262"/>
                  </a:lnTo>
                  <a:cubicBezTo>
                    <a:pt x="5130" y="167173"/>
                    <a:pt x="5614" y="165944"/>
                    <a:pt x="6557" y="164589"/>
                  </a:cubicBezTo>
                  <a:cubicBezTo>
                    <a:pt x="7793" y="163094"/>
                    <a:pt x="8469" y="161669"/>
                    <a:pt x="8609" y="160301"/>
                  </a:cubicBezTo>
                  <a:cubicBezTo>
                    <a:pt x="8265" y="157661"/>
                    <a:pt x="8328" y="156850"/>
                    <a:pt x="8609" y="156026"/>
                  </a:cubicBezTo>
                  <a:cubicBezTo>
                    <a:pt x="9348" y="151948"/>
                    <a:pt x="7653" y="149168"/>
                    <a:pt x="4111" y="145634"/>
                  </a:cubicBezTo>
                  <a:cubicBezTo>
                    <a:pt x="709" y="142100"/>
                    <a:pt x="-579" y="138497"/>
                    <a:pt x="237" y="134823"/>
                  </a:cubicBezTo>
                  <a:cubicBezTo>
                    <a:pt x="785" y="131024"/>
                    <a:pt x="5130" y="125185"/>
                    <a:pt x="13298" y="117293"/>
                  </a:cubicBezTo>
                  <a:lnTo>
                    <a:pt x="25543" y="104862"/>
                  </a:lnTo>
                  <a:cubicBezTo>
                    <a:pt x="25543" y="103912"/>
                    <a:pt x="25543" y="98674"/>
                    <a:pt x="25543" y="89162"/>
                  </a:cubicBezTo>
                  <a:cubicBezTo>
                    <a:pt x="25135" y="84273"/>
                    <a:pt x="24995" y="78420"/>
                    <a:pt x="25135" y="71632"/>
                  </a:cubicBezTo>
                  <a:cubicBezTo>
                    <a:pt x="25262" y="68922"/>
                    <a:pt x="26422" y="67218"/>
                    <a:pt x="28601" y="66534"/>
                  </a:cubicBezTo>
                  <a:cubicBezTo>
                    <a:pt x="30639" y="65989"/>
                    <a:pt x="31659" y="65179"/>
                    <a:pt x="31659" y="64089"/>
                  </a:cubicBezTo>
                  <a:cubicBezTo>
                    <a:pt x="31659" y="63544"/>
                    <a:pt x="31519" y="63139"/>
                    <a:pt x="31251" y="62874"/>
                  </a:cubicBezTo>
                  <a:cubicBezTo>
                    <a:pt x="30843" y="61435"/>
                    <a:pt x="31047" y="60960"/>
                    <a:pt x="31455" y="60416"/>
                  </a:cubicBezTo>
                  <a:lnTo>
                    <a:pt x="32678" y="60625"/>
                  </a:lnTo>
                  <a:cubicBezTo>
                    <a:pt x="34589" y="60625"/>
                    <a:pt x="36144" y="61365"/>
                    <a:pt x="37367" y="62874"/>
                  </a:cubicBezTo>
                  <a:cubicBezTo>
                    <a:pt x="38590" y="64355"/>
                    <a:pt x="39890" y="65109"/>
                    <a:pt x="41241" y="65109"/>
                  </a:cubicBezTo>
                  <a:cubicBezTo>
                    <a:pt x="43560" y="65109"/>
                    <a:pt x="52403" y="61980"/>
                    <a:pt x="67769" y="55736"/>
                  </a:cubicBezTo>
                  <a:cubicBezTo>
                    <a:pt x="68992" y="55317"/>
                    <a:pt x="72866" y="53418"/>
                    <a:pt x="79403" y="50023"/>
                  </a:cubicBezTo>
                  <a:cubicBezTo>
                    <a:pt x="82932" y="47984"/>
                    <a:pt x="85595" y="46559"/>
                    <a:pt x="87354" y="45735"/>
                  </a:cubicBezTo>
                  <a:cubicBezTo>
                    <a:pt x="88169" y="45330"/>
                    <a:pt x="88781" y="45065"/>
                    <a:pt x="89188" y="44925"/>
                  </a:cubicBezTo>
                  <a:cubicBezTo>
                    <a:pt x="89596" y="44925"/>
                    <a:pt x="90424" y="45065"/>
                    <a:pt x="91635" y="45330"/>
                  </a:cubicBezTo>
                  <a:cubicBezTo>
                    <a:pt x="95101" y="48669"/>
                    <a:pt x="93954" y="51113"/>
                    <a:pt x="91635" y="54912"/>
                  </a:cubicBezTo>
                  <a:cubicBezTo>
                    <a:pt x="90424" y="57091"/>
                    <a:pt x="89532" y="59396"/>
                    <a:pt x="88984" y="61840"/>
                  </a:cubicBezTo>
                  <a:cubicBezTo>
                    <a:pt x="88449" y="63754"/>
                    <a:pt x="88169" y="65793"/>
                    <a:pt x="88169" y="67958"/>
                  </a:cubicBezTo>
                  <a:cubicBezTo>
                    <a:pt x="88169" y="68643"/>
                    <a:pt x="88386" y="68978"/>
                    <a:pt x="88781" y="68978"/>
                  </a:cubicBezTo>
                  <a:cubicBezTo>
                    <a:pt x="88921" y="68978"/>
                    <a:pt x="89800" y="68238"/>
                    <a:pt x="91444" y="66743"/>
                  </a:cubicBezTo>
                  <a:cubicBezTo>
                    <a:pt x="93062" y="65514"/>
                    <a:pt x="94565" y="64899"/>
                    <a:pt x="95929" y="64899"/>
                  </a:cubicBezTo>
                  <a:cubicBezTo>
                    <a:pt x="98108" y="64899"/>
                    <a:pt x="100885" y="65723"/>
                    <a:pt x="104287" y="67344"/>
                  </a:cubicBezTo>
                  <a:lnTo>
                    <a:pt x="110411" y="69337"/>
                  </a:lnTo>
                  <a:cubicBezTo>
                    <a:pt x="110502" y="69337"/>
                    <a:pt x="110588" y="69337"/>
                    <a:pt x="110675" y="69337"/>
                  </a:cubicBezTo>
                  <a:cubicBezTo>
                    <a:pt x="113532" y="69337"/>
                    <a:pt x="117474" y="67162"/>
                    <a:pt x="122514" y="62811"/>
                  </a:cubicBezTo>
                  <a:lnTo>
                    <a:pt x="137212" y="51802"/>
                  </a:lnTo>
                  <a:lnTo>
                    <a:pt x="137402" y="51596"/>
                  </a:lnTo>
                  <a:cubicBezTo>
                    <a:pt x="137549" y="51596"/>
                    <a:pt x="139307" y="51256"/>
                    <a:pt x="142721" y="50571"/>
                  </a:cubicBezTo>
                  <a:lnTo>
                    <a:pt x="147821" y="48941"/>
                  </a:lnTo>
                  <a:lnTo>
                    <a:pt x="148011" y="48941"/>
                  </a:lnTo>
                  <a:lnTo>
                    <a:pt x="165771" y="38949"/>
                  </a:lnTo>
                  <a:cubicBezTo>
                    <a:pt x="168218" y="37592"/>
                    <a:pt x="172306" y="34532"/>
                    <a:pt x="178021" y="29776"/>
                  </a:cubicBezTo>
                  <a:cubicBezTo>
                    <a:pt x="179106" y="28817"/>
                    <a:pt x="180527" y="27254"/>
                    <a:pt x="182300" y="25079"/>
                  </a:cubicBezTo>
                  <a:lnTo>
                    <a:pt x="187399" y="22845"/>
                  </a:lnTo>
                  <a:cubicBezTo>
                    <a:pt x="188220" y="22977"/>
                    <a:pt x="189304" y="22019"/>
                    <a:pt x="190667" y="19983"/>
                  </a:cubicBezTo>
                  <a:cubicBezTo>
                    <a:pt x="191356" y="19032"/>
                    <a:pt x="192176" y="17675"/>
                    <a:pt x="193114" y="15906"/>
                  </a:cubicBezTo>
                  <a:cubicBezTo>
                    <a:pt x="194081" y="14143"/>
                    <a:pt x="196660" y="11150"/>
                    <a:pt x="200880" y="6939"/>
                  </a:cubicBezTo>
                  <a:cubicBezTo>
                    <a:pt x="201423" y="6253"/>
                    <a:pt x="202302" y="5575"/>
                    <a:pt x="203533" y="4896"/>
                  </a:cubicBezTo>
                  <a:cubicBezTo>
                    <a:pt x="203665" y="4756"/>
                    <a:pt x="203870" y="4624"/>
                    <a:pt x="204134" y="4483"/>
                  </a:cubicBezTo>
                  <a:cubicBezTo>
                    <a:pt x="204412" y="4351"/>
                    <a:pt x="204749" y="4144"/>
                    <a:pt x="205159" y="3871"/>
                  </a:cubicBezTo>
                  <a:cubicBezTo>
                    <a:pt x="206522" y="3200"/>
                    <a:pt x="208149" y="2382"/>
                    <a:pt x="210053" y="1431"/>
                  </a:cubicBezTo>
                  <a:cubicBezTo>
                    <a:pt x="211138" y="885"/>
                    <a:pt x="213116" y="406"/>
                    <a:pt x="215973" y="0"/>
                  </a:cubicBezTo>
                  <a:close/>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196" name="AutoShape 174"/>
            <p:cNvSpPr>
              <a:spLocks/>
            </p:cNvSpPr>
            <p:nvPr/>
          </p:nvSpPr>
          <p:spPr bwMode="auto">
            <a:xfrm>
              <a:off x="7148725" y="3877826"/>
              <a:ext cx="1532" cy="2553"/>
            </a:xfrm>
            <a:custGeom>
              <a:avLst/>
              <a:gdLst/>
              <a:ahLst/>
              <a:cxnLst/>
              <a:rect l="0" t="0" r="r" b="b"/>
              <a:pathLst>
                <a:path w="21600" h="21600">
                  <a:moveTo>
                    <a:pt x="0" y="0"/>
                  </a:moveTo>
                  <a:cubicBezTo>
                    <a:pt x="7997" y="7757"/>
                    <a:pt x="15197" y="14963"/>
                    <a:pt x="21600" y="21600"/>
                  </a:cubicBezTo>
                  <a:cubicBezTo>
                    <a:pt x="15197" y="14963"/>
                    <a:pt x="7997" y="7757"/>
                    <a:pt x="0" y="0"/>
                  </a:cubicBezTo>
                  <a:close/>
                  <a:moveTo>
                    <a:pt x="0"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grpSp>
          <p:nvGrpSpPr>
            <p:cNvPr id="10" name="Group 9"/>
            <p:cNvGrpSpPr>
              <a:grpSpLocks noChangeAspect="1"/>
            </p:cNvGrpSpPr>
            <p:nvPr/>
          </p:nvGrpSpPr>
          <p:grpSpPr>
            <a:xfrm>
              <a:off x="5894149" y="1586806"/>
              <a:ext cx="4370832" cy="2786944"/>
              <a:chOff x="3856482" y="127980"/>
              <a:chExt cx="4388650" cy="2798306"/>
            </a:xfrm>
            <a:grpFill/>
          </p:grpSpPr>
          <p:grpSp>
            <p:nvGrpSpPr>
              <p:cNvPr id="7" name="Group 6"/>
              <p:cNvGrpSpPr/>
              <p:nvPr/>
            </p:nvGrpSpPr>
            <p:grpSpPr>
              <a:xfrm>
                <a:off x="3856482" y="317626"/>
                <a:ext cx="1512012" cy="1473362"/>
                <a:chOff x="3856482" y="317626"/>
                <a:chExt cx="1512012" cy="1473362"/>
              </a:xfrm>
              <a:grpFill/>
            </p:grpSpPr>
            <p:sp>
              <p:nvSpPr>
                <p:cNvPr id="433" name="AutoShape 6"/>
                <p:cNvSpPr>
                  <a:spLocks/>
                </p:cNvSpPr>
                <p:nvPr/>
              </p:nvSpPr>
              <p:spPr bwMode="auto">
                <a:xfrm>
                  <a:off x="4112091" y="317626"/>
                  <a:ext cx="1256403" cy="1473362"/>
                </a:xfrm>
                <a:custGeom>
                  <a:avLst/>
                  <a:gdLst/>
                  <a:ahLst/>
                  <a:cxnLst/>
                  <a:rect l="0" t="0" r="r" b="b"/>
                  <a:pathLst>
                    <a:path w="21600" h="21600">
                      <a:moveTo>
                        <a:pt x="15042" y="14745"/>
                      </a:moveTo>
                      <a:cubicBezTo>
                        <a:pt x="15028" y="14781"/>
                        <a:pt x="15021" y="14822"/>
                        <a:pt x="15021" y="14866"/>
                      </a:cubicBezTo>
                      <a:lnTo>
                        <a:pt x="15028" y="15180"/>
                      </a:lnTo>
                      <a:cubicBezTo>
                        <a:pt x="15028" y="15259"/>
                        <a:pt x="15031" y="15311"/>
                        <a:pt x="15035" y="15337"/>
                      </a:cubicBezTo>
                      <a:cubicBezTo>
                        <a:pt x="15045" y="15400"/>
                        <a:pt x="15070" y="15431"/>
                        <a:pt x="15110" y="15431"/>
                      </a:cubicBezTo>
                      <a:cubicBezTo>
                        <a:pt x="15138" y="15431"/>
                        <a:pt x="15161" y="15420"/>
                        <a:pt x="15177" y="15398"/>
                      </a:cubicBezTo>
                      <a:cubicBezTo>
                        <a:pt x="15196" y="15373"/>
                        <a:pt x="15211" y="15361"/>
                        <a:pt x="15223" y="15361"/>
                      </a:cubicBezTo>
                      <a:cubicBezTo>
                        <a:pt x="15254" y="15361"/>
                        <a:pt x="15285" y="15419"/>
                        <a:pt x="15315" y="15533"/>
                      </a:cubicBezTo>
                      <a:cubicBezTo>
                        <a:pt x="15315" y="15547"/>
                        <a:pt x="15274" y="15560"/>
                        <a:pt x="15191" y="15570"/>
                      </a:cubicBezTo>
                      <a:cubicBezTo>
                        <a:pt x="15106" y="15582"/>
                        <a:pt x="15064" y="15606"/>
                        <a:pt x="15064" y="15642"/>
                      </a:cubicBezTo>
                      <a:cubicBezTo>
                        <a:pt x="15064" y="15662"/>
                        <a:pt x="15074" y="15686"/>
                        <a:pt x="15096" y="15715"/>
                      </a:cubicBezTo>
                      <a:cubicBezTo>
                        <a:pt x="15117" y="15743"/>
                        <a:pt x="15127" y="15766"/>
                        <a:pt x="15127" y="15784"/>
                      </a:cubicBezTo>
                      <a:cubicBezTo>
                        <a:pt x="15127" y="15822"/>
                        <a:pt x="15110" y="15869"/>
                        <a:pt x="15074" y="15923"/>
                      </a:cubicBezTo>
                      <a:cubicBezTo>
                        <a:pt x="15039" y="15977"/>
                        <a:pt x="15021" y="16039"/>
                        <a:pt x="15021" y="16107"/>
                      </a:cubicBezTo>
                      <a:cubicBezTo>
                        <a:pt x="15021" y="16129"/>
                        <a:pt x="15028" y="16142"/>
                        <a:pt x="15042" y="16146"/>
                      </a:cubicBezTo>
                      <a:lnTo>
                        <a:pt x="15092" y="16146"/>
                      </a:lnTo>
                      <a:cubicBezTo>
                        <a:pt x="15156" y="16146"/>
                        <a:pt x="15253" y="16146"/>
                        <a:pt x="15383" y="16146"/>
                      </a:cubicBezTo>
                      <a:cubicBezTo>
                        <a:pt x="15496" y="16144"/>
                        <a:pt x="15593" y="16134"/>
                        <a:pt x="15673" y="16116"/>
                      </a:cubicBezTo>
                      <a:cubicBezTo>
                        <a:pt x="15725" y="16104"/>
                        <a:pt x="15792" y="16069"/>
                        <a:pt x="15875" y="16011"/>
                      </a:cubicBezTo>
                      <a:cubicBezTo>
                        <a:pt x="15887" y="16004"/>
                        <a:pt x="15919" y="15970"/>
                        <a:pt x="15971" y="15908"/>
                      </a:cubicBezTo>
                      <a:cubicBezTo>
                        <a:pt x="16011" y="15860"/>
                        <a:pt x="16058" y="15835"/>
                        <a:pt x="16112" y="15835"/>
                      </a:cubicBezTo>
                      <a:cubicBezTo>
                        <a:pt x="16117" y="15835"/>
                        <a:pt x="16147" y="15847"/>
                        <a:pt x="16201" y="15872"/>
                      </a:cubicBezTo>
                      <a:cubicBezTo>
                        <a:pt x="16253" y="15896"/>
                        <a:pt x="16289" y="15908"/>
                        <a:pt x="16311" y="15908"/>
                      </a:cubicBezTo>
                      <a:lnTo>
                        <a:pt x="16495" y="15884"/>
                      </a:lnTo>
                      <a:cubicBezTo>
                        <a:pt x="16585" y="15884"/>
                        <a:pt x="16641" y="15906"/>
                        <a:pt x="16665" y="15950"/>
                      </a:cubicBezTo>
                      <a:cubicBezTo>
                        <a:pt x="16679" y="15976"/>
                        <a:pt x="16686" y="16034"/>
                        <a:pt x="16686" y="16122"/>
                      </a:cubicBezTo>
                      <a:lnTo>
                        <a:pt x="16665" y="16180"/>
                      </a:lnTo>
                      <a:cubicBezTo>
                        <a:pt x="16665" y="16200"/>
                        <a:pt x="16672" y="16221"/>
                        <a:pt x="16686" y="16243"/>
                      </a:cubicBezTo>
                      <a:cubicBezTo>
                        <a:pt x="16710" y="16275"/>
                        <a:pt x="16699" y="16375"/>
                        <a:pt x="16654" y="16542"/>
                      </a:cubicBezTo>
                      <a:cubicBezTo>
                        <a:pt x="16654" y="16544"/>
                        <a:pt x="16654" y="16549"/>
                        <a:pt x="16654" y="16557"/>
                      </a:cubicBezTo>
                      <a:cubicBezTo>
                        <a:pt x="16652" y="16579"/>
                        <a:pt x="16651" y="16621"/>
                        <a:pt x="16651" y="16681"/>
                      </a:cubicBezTo>
                      <a:cubicBezTo>
                        <a:pt x="16651" y="16707"/>
                        <a:pt x="16663" y="16812"/>
                        <a:pt x="16686" y="16995"/>
                      </a:cubicBezTo>
                      <a:cubicBezTo>
                        <a:pt x="16686" y="17029"/>
                        <a:pt x="16693" y="17095"/>
                        <a:pt x="16708" y="17191"/>
                      </a:cubicBezTo>
                      <a:cubicBezTo>
                        <a:pt x="16722" y="17286"/>
                        <a:pt x="16729" y="17342"/>
                        <a:pt x="16729" y="17360"/>
                      </a:cubicBezTo>
                      <a:lnTo>
                        <a:pt x="16686" y="17919"/>
                      </a:lnTo>
                      <a:lnTo>
                        <a:pt x="16700" y="18073"/>
                      </a:lnTo>
                      <a:lnTo>
                        <a:pt x="16686" y="18348"/>
                      </a:lnTo>
                      <a:lnTo>
                        <a:pt x="16700" y="18496"/>
                      </a:lnTo>
                      <a:cubicBezTo>
                        <a:pt x="16700" y="18558"/>
                        <a:pt x="16693" y="18616"/>
                        <a:pt x="16679" y="18668"/>
                      </a:cubicBezTo>
                      <a:lnTo>
                        <a:pt x="16693" y="18777"/>
                      </a:lnTo>
                      <a:cubicBezTo>
                        <a:pt x="16693" y="18811"/>
                        <a:pt x="16684" y="18857"/>
                        <a:pt x="16665" y="18916"/>
                      </a:cubicBezTo>
                      <a:lnTo>
                        <a:pt x="16693" y="18982"/>
                      </a:lnTo>
                      <a:cubicBezTo>
                        <a:pt x="16693" y="19006"/>
                        <a:pt x="16677" y="19031"/>
                        <a:pt x="16644" y="19057"/>
                      </a:cubicBezTo>
                      <a:cubicBezTo>
                        <a:pt x="16608" y="19084"/>
                        <a:pt x="16591" y="19126"/>
                        <a:pt x="16591" y="19184"/>
                      </a:cubicBezTo>
                      <a:cubicBezTo>
                        <a:pt x="16591" y="19214"/>
                        <a:pt x="16598" y="19250"/>
                        <a:pt x="16612" y="19290"/>
                      </a:cubicBezTo>
                      <a:cubicBezTo>
                        <a:pt x="16624" y="19332"/>
                        <a:pt x="16630" y="19358"/>
                        <a:pt x="16630" y="19368"/>
                      </a:cubicBezTo>
                      <a:cubicBezTo>
                        <a:pt x="16630" y="19393"/>
                        <a:pt x="16617" y="19426"/>
                        <a:pt x="16591" y="19468"/>
                      </a:cubicBezTo>
                      <a:cubicBezTo>
                        <a:pt x="16562" y="19512"/>
                        <a:pt x="16548" y="19558"/>
                        <a:pt x="16548" y="19604"/>
                      </a:cubicBezTo>
                      <a:cubicBezTo>
                        <a:pt x="16548" y="19614"/>
                        <a:pt x="16556" y="19619"/>
                        <a:pt x="16573" y="19619"/>
                      </a:cubicBezTo>
                      <a:cubicBezTo>
                        <a:pt x="16578" y="19649"/>
                        <a:pt x="16580" y="19694"/>
                        <a:pt x="16580" y="19752"/>
                      </a:cubicBezTo>
                      <a:cubicBezTo>
                        <a:pt x="16587" y="19814"/>
                        <a:pt x="16615" y="19865"/>
                        <a:pt x="16665" y="19903"/>
                      </a:cubicBezTo>
                      <a:cubicBezTo>
                        <a:pt x="16672" y="19909"/>
                        <a:pt x="16730" y="19938"/>
                        <a:pt x="16839" y="19990"/>
                      </a:cubicBezTo>
                      <a:cubicBezTo>
                        <a:pt x="16909" y="20027"/>
                        <a:pt x="16954" y="20068"/>
                        <a:pt x="16973" y="20114"/>
                      </a:cubicBezTo>
                      <a:cubicBezTo>
                        <a:pt x="16976" y="20122"/>
                        <a:pt x="16993" y="20175"/>
                        <a:pt x="17026" y="20271"/>
                      </a:cubicBezTo>
                      <a:cubicBezTo>
                        <a:pt x="17048" y="20340"/>
                        <a:pt x="17075" y="20402"/>
                        <a:pt x="17108" y="20459"/>
                      </a:cubicBezTo>
                      <a:cubicBezTo>
                        <a:pt x="17120" y="20477"/>
                        <a:pt x="17161" y="20517"/>
                        <a:pt x="17232" y="20579"/>
                      </a:cubicBezTo>
                      <a:cubicBezTo>
                        <a:pt x="17293" y="20632"/>
                        <a:pt x="17324" y="20674"/>
                        <a:pt x="17324" y="20706"/>
                      </a:cubicBezTo>
                      <a:cubicBezTo>
                        <a:pt x="17324" y="20718"/>
                        <a:pt x="17279" y="20795"/>
                        <a:pt x="17189" y="20936"/>
                      </a:cubicBezTo>
                      <a:cubicBezTo>
                        <a:pt x="17088" y="21091"/>
                        <a:pt x="17032" y="21178"/>
                        <a:pt x="17023" y="21198"/>
                      </a:cubicBezTo>
                      <a:cubicBezTo>
                        <a:pt x="16985" y="21273"/>
                        <a:pt x="16959" y="21342"/>
                        <a:pt x="16945" y="21407"/>
                      </a:cubicBezTo>
                      <a:cubicBezTo>
                        <a:pt x="16940" y="21429"/>
                        <a:pt x="16908" y="21454"/>
                        <a:pt x="16849" y="21482"/>
                      </a:cubicBezTo>
                      <a:cubicBezTo>
                        <a:pt x="16790" y="21508"/>
                        <a:pt x="16758" y="21531"/>
                        <a:pt x="16754" y="21549"/>
                      </a:cubicBezTo>
                      <a:cubicBezTo>
                        <a:pt x="16751" y="21539"/>
                        <a:pt x="16748" y="21529"/>
                        <a:pt x="16743" y="21518"/>
                      </a:cubicBezTo>
                      <a:cubicBezTo>
                        <a:pt x="16729" y="21494"/>
                        <a:pt x="16709" y="21482"/>
                        <a:pt x="16683" y="21482"/>
                      </a:cubicBezTo>
                      <a:cubicBezTo>
                        <a:pt x="16645" y="21482"/>
                        <a:pt x="16585" y="21502"/>
                        <a:pt x="16502" y="21543"/>
                      </a:cubicBezTo>
                      <a:cubicBezTo>
                        <a:pt x="16422" y="21581"/>
                        <a:pt x="16372" y="21600"/>
                        <a:pt x="16353" y="21600"/>
                      </a:cubicBezTo>
                      <a:cubicBezTo>
                        <a:pt x="16334" y="21600"/>
                        <a:pt x="16275" y="21562"/>
                        <a:pt x="16176" y="21485"/>
                      </a:cubicBezTo>
                      <a:cubicBezTo>
                        <a:pt x="16176" y="21417"/>
                        <a:pt x="16209" y="21383"/>
                        <a:pt x="16275" y="21383"/>
                      </a:cubicBezTo>
                      <a:cubicBezTo>
                        <a:pt x="16285" y="21383"/>
                        <a:pt x="16301" y="21386"/>
                        <a:pt x="16325" y="21392"/>
                      </a:cubicBezTo>
                      <a:cubicBezTo>
                        <a:pt x="16353" y="21400"/>
                        <a:pt x="16372" y="21409"/>
                        <a:pt x="16382" y="21419"/>
                      </a:cubicBezTo>
                      <a:cubicBezTo>
                        <a:pt x="16467" y="21387"/>
                        <a:pt x="16521" y="21360"/>
                        <a:pt x="16545" y="21340"/>
                      </a:cubicBezTo>
                      <a:cubicBezTo>
                        <a:pt x="16578" y="21312"/>
                        <a:pt x="16594" y="21267"/>
                        <a:pt x="16594" y="21204"/>
                      </a:cubicBezTo>
                      <a:cubicBezTo>
                        <a:pt x="16594" y="21184"/>
                        <a:pt x="16574" y="21164"/>
                        <a:pt x="16534" y="21144"/>
                      </a:cubicBezTo>
                      <a:cubicBezTo>
                        <a:pt x="16491" y="21122"/>
                        <a:pt x="16470" y="21098"/>
                        <a:pt x="16470" y="21072"/>
                      </a:cubicBezTo>
                      <a:cubicBezTo>
                        <a:pt x="16470" y="21057"/>
                        <a:pt x="16500" y="20997"/>
                        <a:pt x="16559" y="20890"/>
                      </a:cubicBezTo>
                      <a:cubicBezTo>
                        <a:pt x="16618" y="20782"/>
                        <a:pt x="16647" y="20694"/>
                        <a:pt x="16647" y="20628"/>
                      </a:cubicBezTo>
                      <a:lnTo>
                        <a:pt x="16630" y="20486"/>
                      </a:lnTo>
                      <a:cubicBezTo>
                        <a:pt x="16630" y="20468"/>
                        <a:pt x="16650" y="20436"/>
                        <a:pt x="16690" y="20392"/>
                      </a:cubicBezTo>
                      <a:cubicBezTo>
                        <a:pt x="16728" y="20346"/>
                        <a:pt x="16746" y="20319"/>
                        <a:pt x="16746" y="20311"/>
                      </a:cubicBezTo>
                      <a:cubicBezTo>
                        <a:pt x="16746" y="20284"/>
                        <a:pt x="16732" y="20271"/>
                        <a:pt x="16704" y="20271"/>
                      </a:cubicBezTo>
                      <a:cubicBezTo>
                        <a:pt x="16694" y="20271"/>
                        <a:pt x="16644" y="20285"/>
                        <a:pt x="16552" y="20314"/>
                      </a:cubicBezTo>
                      <a:cubicBezTo>
                        <a:pt x="16455" y="20342"/>
                        <a:pt x="16389" y="20359"/>
                        <a:pt x="16353" y="20365"/>
                      </a:cubicBezTo>
                      <a:cubicBezTo>
                        <a:pt x="16263" y="20377"/>
                        <a:pt x="16176" y="20413"/>
                        <a:pt x="16091" y="20474"/>
                      </a:cubicBezTo>
                      <a:cubicBezTo>
                        <a:pt x="16013" y="20530"/>
                        <a:pt x="15965" y="20558"/>
                        <a:pt x="15946" y="20558"/>
                      </a:cubicBezTo>
                      <a:cubicBezTo>
                        <a:pt x="15903" y="20558"/>
                        <a:pt x="15877" y="20551"/>
                        <a:pt x="15868" y="20537"/>
                      </a:cubicBezTo>
                      <a:cubicBezTo>
                        <a:pt x="15863" y="20531"/>
                        <a:pt x="15861" y="20512"/>
                        <a:pt x="15861" y="20480"/>
                      </a:cubicBezTo>
                      <a:cubicBezTo>
                        <a:pt x="15861" y="20437"/>
                        <a:pt x="15868" y="20399"/>
                        <a:pt x="15882" y="20365"/>
                      </a:cubicBezTo>
                      <a:cubicBezTo>
                        <a:pt x="15903" y="20315"/>
                        <a:pt x="15936" y="20289"/>
                        <a:pt x="15981" y="20289"/>
                      </a:cubicBezTo>
                      <a:cubicBezTo>
                        <a:pt x="16021" y="20289"/>
                        <a:pt x="16096" y="20254"/>
                        <a:pt x="16204" y="20184"/>
                      </a:cubicBezTo>
                      <a:cubicBezTo>
                        <a:pt x="16313" y="20113"/>
                        <a:pt x="16371" y="20078"/>
                        <a:pt x="16378" y="20078"/>
                      </a:cubicBezTo>
                      <a:cubicBezTo>
                        <a:pt x="16392" y="20078"/>
                        <a:pt x="16412" y="20087"/>
                        <a:pt x="16438" y="20105"/>
                      </a:cubicBezTo>
                      <a:cubicBezTo>
                        <a:pt x="16467" y="20121"/>
                        <a:pt x="16490" y="20129"/>
                        <a:pt x="16509" y="20129"/>
                      </a:cubicBezTo>
                      <a:cubicBezTo>
                        <a:pt x="16552" y="20129"/>
                        <a:pt x="16573" y="20117"/>
                        <a:pt x="16573" y="20093"/>
                      </a:cubicBezTo>
                      <a:cubicBezTo>
                        <a:pt x="16573" y="20069"/>
                        <a:pt x="16529" y="20008"/>
                        <a:pt x="16442" y="19909"/>
                      </a:cubicBezTo>
                      <a:cubicBezTo>
                        <a:pt x="16439" y="19907"/>
                        <a:pt x="16437" y="19905"/>
                        <a:pt x="16435" y="19903"/>
                      </a:cubicBezTo>
                      <a:cubicBezTo>
                        <a:pt x="16371" y="19830"/>
                        <a:pt x="16332" y="19778"/>
                        <a:pt x="16318" y="19746"/>
                      </a:cubicBezTo>
                      <a:cubicBezTo>
                        <a:pt x="16313" y="19736"/>
                        <a:pt x="16311" y="19729"/>
                        <a:pt x="16311" y="19725"/>
                      </a:cubicBezTo>
                      <a:cubicBezTo>
                        <a:pt x="16311" y="19715"/>
                        <a:pt x="16313" y="19704"/>
                        <a:pt x="16318" y="19692"/>
                      </a:cubicBezTo>
                      <a:cubicBezTo>
                        <a:pt x="16323" y="19675"/>
                        <a:pt x="16332" y="19657"/>
                        <a:pt x="16346" y="19637"/>
                      </a:cubicBezTo>
                      <a:cubicBezTo>
                        <a:pt x="16367" y="19603"/>
                        <a:pt x="16378" y="19577"/>
                        <a:pt x="16378" y="19559"/>
                      </a:cubicBezTo>
                      <a:cubicBezTo>
                        <a:pt x="16378" y="19539"/>
                        <a:pt x="16370" y="19521"/>
                        <a:pt x="16353" y="19507"/>
                      </a:cubicBezTo>
                      <a:cubicBezTo>
                        <a:pt x="16334" y="19491"/>
                        <a:pt x="16325" y="19476"/>
                        <a:pt x="16325" y="19462"/>
                      </a:cubicBezTo>
                      <a:cubicBezTo>
                        <a:pt x="16325" y="19450"/>
                        <a:pt x="16327" y="19439"/>
                        <a:pt x="16332" y="19429"/>
                      </a:cubicBezTo>
                      <a:cubicBezTo>
                        <a:pt x="16334" y="19417"/>
                        <a:pt x="16340" y="19406"/>
                        <a:pt x="16350" y="19396"/>
                      </a:cubicBezTo>
                      <a:cubicBezTo>
                        <a:pt x="16364" y="19375"/>
                        <a:pt x="16371" y="19360"/>
                        <a:pt x="16371" y="19350"/>
                      </a:cubicBezTo>
                      <a:cubicBezTo>
                        <a:pt x="16371" y="19332"/>
                        <a:pt x="16354" y="19312"/>
                        <a:pt x="16321" y="19290"/>
                      </a:cubicBezTo>
                      <a:cubicBezTo>
                        <a:pt x="16286" y="19266"/>
                        <a:pt x="16268" y="19245"/>
                        <a:pt x="16268" y="19227"/>
                      </a:cubicBezTo>
                      <a:cubicBezTo>
                        <a:pt x="16268" y="19198"/>
                        <a:pt x="16289" y="19155"/>
                        <a:pt x="16332" y="19097"/>
                      </a:cubicBezTo>
                      <a:cubicBezTo>
                        <a:pt x="16372" y="19036"/>
                        <a:pt x="16392" y="19004"/>
                        <a:pt x="16392" y="19000"/>
                      </a:cubicBezTo>
                      <a:cubicBezTo>
                        <a:pt x="16392" y="18974"/>
                        <a:pt x="16376" y="18961"/>
                        <a:pt x="16343" y="18961"/>
                      </a:cubicBezTo>
                      <a:cubicBezTo>
                        <a:pt x="16293" y="18973"/>
                        <a:pt x="16261" y="18979"/>
                        <a:pt x="16247" y="18979"/>
                      </a:cubicBezTo>
                      <a:cubicBezTo>
                        <a:pt x="16219" y="18979"/>
                        <a:pt x="16201" y="18965"/>
                        <a:pt x="16194" y="18937"/>
                      </a:cubicBezTo>
                      <a:cubicBezTo>
                        <a:pt x="16184" y="18904"/>
                        <a:pt x="16168" y="18883"/>
                        <a:pt x="16144" y="18873"/>
                      </a:cubicBezTo>
                      <a:cubicBezTo>
                        <a:pt x="16085" y="18849"/>
                        <a:pt x="16052" y="18835"/>
                        <a:pt x="16045" y="18831"/>
                      </a:cubicBezTo>
                      <a:cubicBezTo>
                        <a:pt x="16033" y="18823"/>
                        <a:pt x="16027" y="18804"/>
                        <a:pt x="16027" y="18774"/>
                      </a:cubicBezTo>
                      <a:cubicBezTo>
                        <a:pt x="16027" y="18755"/>
                        <a:pt x="16032" y="18737"/>
                        <a:pt x="16041" y="18719"/>
                      </a:cubicBezTo>
                      <a:cubicBezTo>
                        <a:pt x="16053" y="18695"/>
                        <a:pt x="16071" y="18683"/>
                        <a:pt x="16095" y="18683"/>
                      </a:cubicBezTo>
                      <a:cubicBezTo>
                        <a:pt x="16114" y="18683"/>
                        <a:pt x="16163" y="18699"/>
                        <a:pt x="16243" y="18731"/>
                      </a:cubicBezTo>
                      <a:cubicBezTo>
                        <a:pt x="16255" y="18731"/>
                        <a:pt x="16272" y="18727"/>
                        <a:pt x="16293" y="18719"/>
                      </a:cubicBezTo>
                      <a:cubicBezTo>
                        <a:pt x="16317" y="18709"/>
                        <a:pt x="16330" y="18699"/>
                        <a:pt x="16332" y="18689"/>
                      </a:cubicBezTo>
                      <a:cubicBezTo>
                        <a:pt x="16285" y="18663"/>
                        <a:pt x="16254" y="18645"/>
                        <a:pt x="16240" y="18635"/>
                      </a:cubicBezTo>
                      <a:cubicBezTo>
                        <a:pt x="16219" y="18617"/>
                        <a:pt x="16208" y="18583"/>
                        <a:pt x="16208" y="18535"/>
                      </a:cubicBezTo>
                      <a:cubicBezTo>
                        <a:pt x="16208" y="18493"/>
                        <a:pt x="16230" y="18459"/>
                        <a:pt x="16275" y="18432"/>
                      </a:cubicBezTo>
                      <a:cubicBezTo>
                        <a:pt x="16311" y="18412"/>
                        <a:pt x="16344" y="18402"/>
                        <a:pt x="16374" y="18402"/>
                      </a:cubicBezTo>
                      <a:cubicBezTo>
                        <a:pt x="16417" y="18402"/>
                        <a:pt x="16437" y="18415"/>
                        <a:pt x="16435" y="18441"/>
                      </a:cubicBezTo>
                      <a:cubicBezTo>
                        <a:pt x="16430" y="18484"/>
                        <a:pt x="16449" y="18520"/>
                        <a:pt x="16491" y="18550"/>
                      </a:cubicBezTo>
                      <a:cubicBezTo>
                        <a:pt x="16508" y="18526"/>
                        <a:pt x="16516" y="18511"/>
                        <a:pt x="16516" y="18505"/>
                      </a:cubicBezTo>
                      <a:cubicBezTo>
                        <a:pt x="16519" y="18501"/>
                        <a:pt x="16520" y="18483"/>
                        <a:pt x="16520" y="18450"/>
                      </a:cubicBezTo>
                      <a:cubicBezTo>
                        <a:pt x="16520" y="18396"/>
                        <a:pt x="16503" y="18361"/>
                        <a:pt x="16470" y="18345"/>
                      </a:cubicBezTo>
                      <a:cubicBezTo>
                        <a:pt x="16437" y="18327"/>
                        <a:pt x="16421" y="18288"/>
                        <a:pt x="16421" y="18230"/>
                      </a:cubicBezTo>
                      <a:cubicBezTo>
                        <a:pt x="16421" y="18178"/>
                        <a:pt x="16437" y="18147"/>
                        <a:pt x="16470" y="18139"/>
                      </a:cubicBezTo>
                      <a:cubicBezTo>
                        <a:pt x="16491" y="18135"/>
                        <a:pt x="16545" y="18130"/>
                        <a:pt x="16630" y="18124"/>
                      </a:cubicBezTo>
                      <a:lnTo>
                        <a:pt x="16630" y="18112"/>
                      </a:lnTo>
                      <a:cubicBezTo>
                        <a:pt x="16618" y="18104"/>
                        <a:pt x="16594" y="18093"/>
                        <a:pt x="16559" y="18079"/>
                      </a:cubicBezTo>
                      <a:cubicBezTo>
                        <a:pt x="16516" y="18063"/>
                        <a:pt x="16485" y="18055"/>
                        <a:pt x="16467" y="18055"/>
                      </a:cubicBezTo>
                      <a:cubicBezTo>
                        <a:pt x="16400" y="18055"/>
                        <a:pt x="16367" y="18059"/>
                        <a:pt x="16367" y="18067"/>
                      </a:cubicBezTo>
                      <a:cubicBezTo>
                        <a:pt x="16330" y="18067"/>
                        <a:pt x="16311" y="18055"/>
                        <a:pt x="16311" y="18031"/>
                      </a:cubicBezTo>
                      <a:cubicBezTo>
                        <a:pt x="16311" y="18003"/>
                        <a:pt x="16352" y="17976"/>
                        <a:pt x="16435" y="17952"/>
                      </a:cubicBezTo>
                      <a:cubicBezTo>
                        <a:pt x="16517" y="17926"/>
                        <a:pt x="16559" y="17896"/>
                        <a:pt x="16559" y="17862"/>
                      </a:cubicBezTo>
                      <a:lnTo>
                        <a:pt x="16559" y="17825"/>
                      </a:lnTo>
                      <a:cubicBezTo>
                        <a:pt x="16556" y="17809"/>
                        <a:pt x="16546" y="17801"/>
                        <a:pt x="16527" y="17801"/>
                      </a:cubicBezTo>
                      <a:cubicBezTo>
                        <a:pt x="16508" y="17801"/>
                        <a:pt x="16480" y="17810"/>
                        <a:pt x="16442" y="17828"/>
                      </a:cubicBezTo>
                      <a:cubicBezTo>
                        <a:pt x="16404" y="17845"/>
                        <a:pt x="16374" y="17853"/>
                        <a:pt x="16353" y="17853"/>
                      </a:cubicBezTo>
                      <a:cubicBezTo>
                        <a:pt x="16344" y="17853"/>
                        <a:pt x="16334" y="17847"/>
                        <a:pt x="16325" y="17837"/>
                      </a:cubicBezTo>
                      <a:cubicBezTo>
                        <a:pt x="16315" y="17827"/>
                        <a:pt x="16311" y="17818"/>
                        <a:pt x="16311" y="17810"/>
                      </a:cubicBezTo>
                      <a:cubicBezTo>
                        <a:pt x="16311" y="17794"/>
                        <a:pt x="16323" y="17769"/>
                        <a:pt x="16346" y="17735"/>
                      </a:cubicBezTo>
                      <a:cubicBezTo>
                        <a:pt x="16370" y="17701"/>
                        <a:pt x="16382" y="17674"/>
                        <a:pt x="16382" y="17656"/>
                      </a:cubicBezTo>
                      <a:cubicBezTo>
                        <a:pt x="16382" y="17630"/>
                        <a:pt x="16358" y="17606"/>
                        <a:pt x="16311" y="17584"/>
                      </a:cubicBezTo>
                      <a:cubicBezTo>
                        <a:pt x="16261" y="17560"/>
                        <a:pt x="16236" y="17533"/>
                        <a:pt x="16236" y="17505"/>
                      </a:cubicBezTo>
                      <a:cubicBezTo>
                        <a:pt x="16236" y="17441"/>
                        <a:pt x="16209" y="17398"/>
                        <a:pt x="16155" y="17375"/>
                      </a:cubicBezTo>
                      <a:cubicBezTo>
                        <a:pt x="16098" y="17355"/>
                        <a:pt x="16070" y="17291"/>
                        <a:pt x="16070" y="17182"/>
                      </a:cubicBezTo>
                      <a:cubicBezTo>
                        <a:pt x="16070" y="17130"/>
                        <a:pt x="16089" y="17085"/>
                        <a:pt x="16126" y="17046"/>
                      </a:cubicBezTo>
                      <a:cubicBezTo>
                        <a:pt x="16183" y="16990"/>
                        <a:pt x="16217" y="16949"/>
                        <a:pt x="16229" y="16922"/>
                      </a:cubicBezTo>
                      <a:cubicBezTo>
                        <a:pt x="16215" y="16922"/>
                        <a:pt x="16197" y="16918"/>
                        <a:pt x="16176" y="16910"/>
                      </a:cubicBezTo>
                      <a:cubicBezTo>
                        <a:pt x="16155" y="16900"/>
                        <a:pt x="16142" y="16895"/>
                        <a:pt x="16137" y="16895"/>
                      </a:cubicBezTo>
                      <a:lnTo>
                        <a:pt x="16137" y="16859"/>
                      </a:lnTo>
                      <a:cubicBezTo>
                        <a:pt x="16137" y="16855"/>
                        <a:pt x="16175" y="16792"/>
                        <a:pt x="16250" y="16669"/>
                      </a:cubicBezTo>
                      <a:cubicBezTo>
                        <a:pt x="16324" y="16548"/>
                        <a:pt x="16360" y="16457"/>
                        <a:pt x="16360" y="16397"/>
                      </a:cubicBezTo>
                      <a:cubicBezTo>
                        <a:pt x="16360" y="16363"/>
                        <a:pt x="16348" y="16331"/>
                        <a:pt x="16325" y="16300"/>
                      </a:cubicBezTo>
                      <a:cubicBezTo>
                        <a:pt x="16289" y="16325"/>
                        <a:pt x="16249" y="16387"/>
                        <a:pt x="16204" y="16488"/>
                      </a:cubicBezTo>
                      <a:cubicBezTo>
                        <a:pt x="16181" y="16546"/>
                        <a:pt x="16143" y="16644"/>
                        <a:pt x="16091" y="16781"/>
                      </a:cubicBezTo>
                      <a:cubicBezTo>
                        <a:pt x="16082" y="16805"/>
                        <a:pt x="16058" y="16853"/>
                        <a:pt x="16020" y="16926"/>
                      </a:cubicBezTo>
                      <a:cubicBezTo>
                        <a:pt x="15990" y="16986"/>
                        <a:pt x="15969" y="17030"/>
                        <a:pt x="15960" y="17058"/>
                      </a:cubicBezTo>
                      <a:cubicBezTo>
                        <a:pt x="15875" y="17236"/>
                        <a:pt x="15806" y="17324"/>
                        <a:pt x="15754" y="17324"/>
                      </a:cubicBezTo>
                      <a:cubicBezTo>
                        <a:pt x="15707" y="17324"/>
                        <a:pt x="15684" y="17294"/>
                        <a:pt x="15684" y="17234"/>
                      </a:cubicBezTo>
                      <a:cubicBezTo>
                        <a:pt x="15684" y="17211"/>
                        <a:pt x="15695" y="17179"/>
                        <a:pt x="15719" y="17137"/>
                      </a:cubicBezTo>
                      <a:cubicBezTo>
                        <a:pt x="15740" y="17095"/>
                        <a:pt x="15751" y="17066"/>
                        <a:pt x="15751" y="17052"/>
                      </a:cubicBezTo>
                      <a:cubicBezTo>
                        <a:pt x="15751" y="17048"/>
                        <a:pt x="15746" y="17040"/>
                        <a:pt x="15737" y="17028"/>
                      </a:cubicBezTo>
                      <a:cubicBezTo>
                        <a:pt x="15725" y="17014"/>
                        <a:pt x="15714" y="17007"/>
                        <a:pt x="15705" y="17007"/>
                      </a:cubicBezTo>
                      <a:cubicBezTo>
                        <a:pt x="15653" y="17025"/>
                        <a:pt x="15616" y="17034"/>
                        <a:pt x="15595" y="17034"/>
                      </a:cubicBezTo>
                      <a:cubicBezTo>
                        <a:pt x="15579" y="17034"/>
                        <a:pt x="15562" y="17027"/>
                        <a:pt x="15545" y="17013"/>
                      </a:cubicBezTo>
                      <a:cubicBezTo>
                        <a:pt x="15531" y="17001"/>
                        <a:pt x="15524" y="16991"/>
                        <a:pt x="15524" y="16983"/>
                      </a:cubicBezTo>
                      <a:cubicBezTo>
                        <a:pt x="15524" y="16969"/>
                        <a:pt x="15537" y="16939"/>
                        <a:pt x="15563" y="16892"/>
                      </a:cubicBezTo>
                      <a:cubicBezTo>
                        <a:pt x="15592" y="16844"/>
                        <a:pt x="15608" y="16798"/>
                        <a:pt x="15613" y="16753"/>
                      </a:cubicBezTo>
                      <a:cubicBezTo>
                        <a:pt x="15618" y="16699"/>
                        <a:pt x="15642" y="16657"/>
                        <a:pt x="15687" y="16627"/>
                      </a:cubicBezTo>
                      <a:cubicBezTo>
                        <a:pt x="15730" y="16598"/>
                        <a:pt x="15751" y="16565"/>
                        <a:pt x="15751" y="16527"/>
                      </a:cubicBezTo>
                      <a:cubicBezTo>
                        <a:pt x="15734" y="16493"/>
                        <a:pt x="15721" y="16476"/>
                        <a:pt x="15712" y="16476"/>
                      </a:cubicBezTo>
                      <a:cubicBezTo>
                        <a:pt x="15698" y="16476"/>
                        <a:pt x="15681" y="16491"/>
                        <a:pt x="15662" y="16521"/>
                      </a:cubicBezTo>
                      <a:cubicBezTo>
                        <a:pt x="15643" y="16549"/>
                        <a:pt x="15626" y="16563"/>
                        <a:pt x="15609" y="16563"/>
                      </a:cubicBezTo>
                      <a:cubicBezTo>
                        <a:pt x="15586" y="16563"/>
                        <a:pt x="15567" y="16515"/>
                        <a:pt x="15553" y="16418"/>
                      </a:cubicBezTo>
                      <a:cubicBezTo>
                        <a:pt x="15538" y="16320"/>
                        <a:pt x="15502" y="16270"/>
                        <a:pt x="15443" y="16270"/>
                      </a:cubicBezTo>
                      <a:cubicBezTo>
                        <a:pt x="15410" y="16286"/>
                        <a:pt x="15388" y="16294"/>
                        <a:pt x="15379" y="16294"/>
                      </a:cubicBezTo>
                      <a:cubicBezTo>
                        <a:pt x="15320" y="16258"/>
                        <a:pt x="15287" y="16240"/>
                        <a:pt x="15280" y="16240"/>
                      </a:cubicBezTo>
                      <a:cubicBezTo>
                        <a:pt x="15275" y="16240"/>
                        <a:pt x="15264" y="16248"/>
                        <a:pt x="15248" y="16264"/>
                      </a:cubicBezTo>
                      <a:cubicBezTo>
                        <a:pt x="15229" y="16282"/>
                        <a:pt x="15220" y="16298"/>
                        <a:pt x="15220" y="16312"/>
                      </a:cubicBezTo>
                      <a:cubicBezTo>
                        <a:pt x="15220" y="16325"/>
                        <a:pt x="15248" y="16352"/>
                        <a:pt x="15305" y="16394"/>
                      </a:cubicBezTo>
                      <a:cubicBezTo>
                        <a:pt x="15359" y="16436"/>
                        <a:pt x="15386" y="16473"/>
                        <a:pt x="15386" y="16503"/>
                      </a:cubicBezTo>
                      <a:cubicBezTo>
                        <a:pt x="15386" y="16509"/>
                        <a:pt x="15365" y="16545"/>
                        <a:pt x="15322" y="16611"/>
                      </a:cubicBezTo>
                      <a:cubicBezTo>
                        <a:pt x="15322" y="16634"/>
                        <a:pt x="15341" y="16657"/>
                        <a:pt x="15379" y="16681"/>
                      </a:cubicBezTo>
                      <a:cubicBezTo>
                        <a:pt x="15414" y="16703"/>
                        <a:pt x="15432" y="16728"/>
                        <a:pt x="15432" y="16756"/>
                      </a:cubicBezTo>
                      <a:cubicBezTo>
                        <a:pt x="15432" y="16779"/>
                        <a:pt x="15412" y="16815"/>
                        <a:pt x="15372" y="16865"/>
                      </a:cubicBezTo>
                      <a:cubicBezTo>
                        <a:pt x="15329" y="16919"/>
                        <a:pt x="15294" y="16947"/>
                        <a:pt x="15266" y="16947"/>
                      </a:cubicBezTo>
                      <a:cubicBezTo>
                        <a:pt x="15254" y="16947"/>
                        <a:pt x="15234" y="16931"/>
                        <a:pt x="15205" y="16898"/>
                      </a:cubicBezTo>
                      <a:cubicBezTo>
                        <a:pt x="15177" y="16864"/>
                        <a:pt x="15156" y="16847"/>
                        <a:pt x="15142" y="16847"/>
                      </a:cubicBezTo>
                      <a:cubicBezTo>
                        <a:pt x="15135" y="16847"/>
                        <a:pt x="15122" y="16857"/>
                        <a:pt x="15103" y="16877"/>
                      </a:cubicBezTo>
                      <a:cubicBezTo>
                        <a:pt x="15084" y="16895"/>
                        <a:pt x="15068" y="16904"/>
                        <a:pt x="15057" y="16904"/>
                      </a:cubicBezTo>
                      <a:cubicBezTo>
                        <a:pt x="15038" y="16904"/>
                        <a:pt x="15018" y="16886"/>
                        <a:pt x="14996" y="16850"/>
                      </a:cubicBezTo>
                      <a:cubicBezTo>
                        <a:pt x="14977" y="16806"/>
                        <a:pt x="14964" y="16778"/>
                        <a:pt x="14957" y="16765"/>
                      </a:cubicBezTo>
                      <a:lnTo>
                        <a:pt x="14954" y="16765"/>
                      </a:lnTo>
                      <a:cubicBezTo>
                        <a:pt x="14930" y="16719"/>
                        <a:pt x="14888" y="16645"/>
                        <a:pt x="14826" y="16542"/>
                      </a:cubicBezTo>
                      <a:cubicBezTo>
                        <a:pt x="14779" y="16461"/>
                        <a:pt x="14755" y="16408"/>
                        <a:pt x="14755" y="16382"/>
                      </a:cubicBezTo>
                      <a:cubicBezTo>
                        <a:pt x="14755" y="16368"/>
                        <a:pt x="14768" y="16353"/>
                        <a:pt x="14794" y="16337"/>
                      </a:cubicBezTo>
                      <a:cubicBezTo>
                        <a:pt x="14820" y="16325"/>
                        <a:pt x="14833" y="16318"/>
                        <a:pt x="14833" y="16316"/>
                      </a:cubicBezTo>
                      <a:cubicBezTo>
                        <a:pt x="14833" y="16299"/>
                        <a:pt x="14811" y="16285"/>
                        <a:pt x="14766" y="16273"/>
                      </a:cubicBezTo>
                      <a:cubicBezTo>
                        <a:pt x="14719" y="16261"/>
                        <a:pt x="14695" y="16201"/>
                        <a:pt x="14695" y="16092"/>
                      </a:cubicBezTo>
                      <a:cubicBezTo>
                        <a:pt x="14707" y="15981"/>
                        <a:pt x="14712" y="15905"/>
                        <a:pt x="14709" y="15863"/>
                      </a:cubicBezTo>
                      <a:cubicBezTo>
                        <a:pt x="14707" y="15824"/>
                        <a:pt x="14718" y="15790"/>
                        <a:pt x="14741" y="15760"/>
                      </a:cubicBezTo>
                      <a:cubicBezTo>
                        <a:pt x="14774" y="15730"/>
                        <a:pt x="14796" y="15709"/>
                        <a:pt x="14805" y="15696"/>
                      </a:cubicBezTo>
                      <a:cubicBezTo>
                        <a:pt x="14810" y="15690"/>
                        <a:pt x="14864" y="15655"/>
                        <a:pt x="14968" y="15591"/>
                      </a:cubicBezTo>
                      <a:cubicBezTo>
                        <a:pt x="15067" y="15530"/>
                        <a:pt x="15117" y="15498"/>
                        <a:pt x="15117" y="15494"/>
                      </a:cubicBezTo>
                      <a:cubicBezTo>
                        <a:pt x="15117" y="15468"/>
                        <a:pt x="15075" y="15455"/>
                        <a:pt x="14993" y="15455"/>
                      </a:cubicBezTo>
                      <a:cubicBezTo>
                        <a:pt x="14922" y="15455"/>
                        <a:pt x="14871" y="15482"/>
                        <a:pt x="14840" y="15536"/>
                      </a:cubicBezTo>
                      <a:cubicBezTo>
                        <a:pt x="14810" y="15589"/>
                        <a:pt x="14786" y="15615"/>
                        <a:pt x="14770" y="15615"/>
                      </a:cubicBezTo>
                      <a:cubicBezTo>
                        <a:pt x="14748" y="15615"/>
                        <a:pt x="14727" y="15603"/>
                        <a:pt x="14706" y="15579"/>
                      </a:cubicBezTo>
                      <a:cubicBezTo>
                        <a:pt x="14682" y="15555"/>
                        <a:pt x="14665" y="15542"/>
                        <a:pt x="14653" y="15542"/>
                      </a:cubicBezTo>
                      <a:cubicBezTo>
                        <a:pt x="14636" y="15542"/>
                        <a:pt x="14623" y="15548"/>
                        <a:pt x="14614" y="15561"/>
                      </a:cubicBezTo>
                      <a:cubicBezTo>
                        <a:pt x="14607" y="15573"/>
                        <a:pt x="14597" y="15579"/>
                        <a:pt x="14585" y="15579"/>
                      </a:cubicBezTo>
                      <a:cubicBezTo>
                        <a:pt x="14557" y="15579"/>
                        <a:pt x="14533" y="15541"/>
                        <a:pt x="14515" y="15467"/>
                      </a:cubicBezTo>
                      <a:cubicBezTo>
                        <a:pt x="14498" y="15380"/>
                        <a:pt x="14486" y="15327"/>
                        <a:pt x="14479" y="15307"/>
                      </a:cubicBezTo>
                      <a:cubicBezTo>
                        <a:pt x="14465" y="15267"/>
                        <a:pt x="14419" y="15204"/>
                        <a:pt x="14341" y="15120"/>
                      </a:cubicBezTo>
                      <a:cubicBezTo>
                        <a:pt x="14268" y="15043"/>
                        <a:pt x="14231" y="15004"/>
                        <a:pt x="14231" y="15002"/>
                      </a:cubicBezTo>
                      <a:cubicBezTo>
                        <a:pt x="14231" y="14956"/>
                        <a:pt x="14261" y="14924"/>
                        <a:pt x="14320" y="14908"/>
                      </a:cubicBezTo>
                      <a:cubicBezTo>
                        <a:pt x="14353" y="14900"/>
                        <a:pt x="14404" y="14890"/>
                        <a:pt x="14472" y="14878"/>
                      </a:cubicBezTo>
                      <a:cubicBezTo>
                        <a:pt x="14481" y="14874"/>
                        <a:pt x="14515" y="14841"/>
                        <a:pt x="14571" y="14778"/>
                      </a:cubicBezTo>
                      <a:cubicBezTo>
                        <a:pt x="14621" y="14722"/>
                        <a:pt x="14665" y="14694"/>
                        <a:pt x="14702" y="14694"/>
                      </a:cubicBezTo>
                      <a:cubicBezTo>
                        <a:pt x="14721" y="14694"/>
                        <a:pt x="14731" y="14707"/>
                        <a:pt x="14731" y="14733"/>
                      </a:cubicBezTo>
                      <a:cubicBezTo>
                        <a:pt x="14731" y="14767"/>
                        <a:pt x="14711" y="14811"/>
                        <a:pt x="14670" y="14863"/>
                      </a:cubicBezTo>
                      <a:cubicBezTo>
                        <a:pt x="14630" y="14915"/>
                        <a:pt x="14610" y="14952"/>
                        <a:pt x="14610" y="14972"/>
                      </a:cubicBezTo>
                      <a:lnTo>
                        <a:pt x="14617" y="15053"/>
                      </a:lnTo>
                      <a:cubicBezTo>
                        <a:pt x="14629" y="14987"/>
                        <a:pt x="14676" y="14929"/>
                        <a:pt x="14759" y="14881"/>
                      </a:cubicBezTo>
                      <a:cubicBezTo>
                        <a:pt x="14839" y="14845"/>
                        <a:pt x="14879" y="14826"/>
                        <a:pt x="14879" y="14824"/>
                      </a:cubicBezTo>
                      <a:cubicBezTo>
                        <a:pt x="14879" y="14814"/>
                        <a:pt x="14865" y="14789"/>
                        <a:pt x="14837" y="14748"/>
                      </a:cubicBezTo>
                      <a:cubicBezTo>
                        <a:pt x="14806" y="14706"/>
                        <a:pt x="14791" y="14682"/>
                        <a:pt x="14791" y="14676"/>
                      </a:cubicBezTo>
                      <a:cubicBezTo>
                        <a:pt x="14815" y="14617"/>
                        <a:pt x="14826" y="14581"/>
                        <a:pt x="14826" y="14567"/>
                      </a:cubicBezTo>
                      <a:cubicBezTo>
                        <a:pt x="14826" y="14539"/>
                        <a:pt x="14809" y="14525"/>
                        <a:pt x="14773" y="14525"/>
                      </a:cubicBezTo>
                      <a:cubicBezTo>
                        <a:pt x="14761" y="14525"/>
                        <a:pt x="14734" y="14533"/>
                        <a:pt x="14692" y="14549"/>
                      </a:cubicBezTo>
                      <a:cubicBezTo>
                        <a:pt x="14654" y="14565"/>
                        <a:pt x="14629" y="14575"/>
                        <a:pt x="14617" y="14579"/>
                      </a:cubicBezTo>
                      <a:cubicBezTo>
                        <a:pt x="14518" y="14605"/>
                        <a:pt x="14434" y="14618"/>
                        <a:pt x="14366" y="14618"/>
                      </a:cubicBezTo>
                      <a:cubicBezTo>
                        <a:pt x="14288" y="14618"/>
                        <a:pt x="14203" y="14587"/>
                        <a:pt x="14111" y="14525"/>
                      </a:cubicBezTo>
                      <a:cubicBezTo>
                        <a:pt x="14033" y="14472"/>
                        <a:pt x="13977" y="14419"/>
                        <a:pt x="13944" y="14365"/>
                      </a:cubicBezTo>
                      <a:cubicBezTo>
                        <a:pt x="13939" y="14357"/>
                        <a:pt x="13936" y="14350"/>
                        <a:pt x="13934" y="14344"/>
                      </a:cubicBezTo>
                      <a:cubicBezTo>
                        <a:pt x="13912" y="14295"/>
                        <a:pt x="13889" y="14251"/>
                        <a:pt x="13863" y="14211"/>
                      </a:cubicBezTo>
                      <a:cubicBezTo>
                        <a:pt x="13841" y="14177"/>
                        <a:pt x="13831" y="14153"/>
                        <a:pt x="13831" y="14141"/>
                      </a:cubicBezTo>
                      <a:cubicBezTo>
                        <a:pt x="13831" y="14125"/>
                        <a:pt x="13846" y="14113"/>
                        <a:pt x="13877" y="14105"/>
                      </a:cubicBezTo>
                      <a:cubicBezTo>
                        <a:pt x="13905" y="14097"/>
                        <a:pt x="13919" y="14084"/>
                        <a:pt x="13919" y="14066"/>
                      </a:cubicBezTo>
                      <a:cubicBezTo>
                        <a:pt x="13919" y="14034"/>
                        <a:pt x="13909" y="14012"/>
                        <a:pt x="13887" y="14002"/>
                      </a:cubicBezTo>
                      <a:cubicBezTo>
                        <a:pt x="13878" y="13998"/>
                        <a:pt x="13850" y="13993"/>
                        <a:pt x="13802" y="13987"/>
                      </a:cubicBezTo>
                      <a:cubicBezTo>
                        <a:pt x="13776" y="13983"/>
                        <a:pt x="13746" y="13972"/>
                        <a:pt x="13710" y="13954"/>
                      </a:cubicBezTo>
                      <a:cubicBezTo>
                        <a:pt x="13673" y="13932"/>
                        <a:pt x="13645" y="13916"/>
                        <a:pt x="13629" y="13906"/>
                      </a:cubicBezTo>
                      <a:cubicBezTo>
                        <a:pt x="13598" y="13890"/>
                        <a:pt x="13549" y="13834"/>
                        <a:pt x="13480" y="13740"/>
                      </a:cubicBezTo>
                      <a:cubicBezTo>
                        <a:pt x="13412" y="13647"/>
                        <a:pt x="13367" y="13595"/>
                        <a:pt x="13345" y="13583"/>
                      </a:cubicBezTo>
                      <a:cubicBezTo>
                        <a:pt x="13322" y="13569"/>
                        <a:pt x="13271" y="13548"/>
                        <a:pt x="13193" y="13522"/>
                      </a:cubicBezTo>
                      <a:cubicBezTo>
                        <a:pt x="13108" y="13496"/>
                        <a:pt x="13047" y="13473"/>
                        <a:pt x="13009" y="13453"/>
                      </a:cubicBezTo>
                      <a:cubicBezTo>
                        <a:pt x="12773" y="13334"/>
                        <a:pt x="12655" y="13248"/>
                        <a:pt x="12655" y="13196"/>
                      </a:cubicBezTo>
                      <a:cubicBezTo>
                        <a:pt x="12655" y="13190"/>
                        <a:pt x="12669" y="13167"/>
                        <a:pt x="12697" y="13127"/>
                      </a:cubicBezTo>
                      <a:cubicBezTo>
                        <a:pt x="12725" y="13088"/>
                        <a:pt x="12740" y="13068"/>
                        <a:pt x="12740" y="13066"/>
                      </a:cubicBezTo>
                      <a:cubicBezTo>
                        <a:pt x="12740" y="13060"/>
                        <a:pt x="12727" y="13041"/>
                        <a:pt x="12701" y="13009"/>
                      </a:cubicBezTo>
                      <a:cubicBezTo>
                        <a:pt x="12670" y="12971"/>
                        <a:pt x="12652" y="12948"/>
                        <a:pt x="12648" y="12939"/>
                      </a:cubicBezTo>
                      <a:cubicBezTo>
                        <a:pt x="12619" y="12895"/>
                        <a:pt x="12600" y="12866"/>
                        <a:pt x="12591" y="12852"/>
                      </a:cubicBezTo>
                      <a:cubicBezTo>
                        <a:pt x="12579" y="12832"/>
                        <a:pt x="12573" y="12805"/>
                        <a:pt x="12573" y="12770"/>
                      </a:cubicBezTo>
                      <a:cubicBezTo>
                        <a:pt x="12573" y="12728"/>
                        <a:pt x="12587" y="12695"/>
                        <a:pt x="12616" y="12671"/>
                      </a:cubicBezTo>
                      <a:cubicBezTo>
                        <a:pt x="12642" y="12647"/>
                        <a:pt x="12655" y="12621"/>
                        <a:pt x="12655" y="12595"/>
                      </a:cubicBezTo>
                      <a:cubicBezTo>
                        <a:pt x="12626" y="12543"/>
                        <a:pt x="12591" y="12517"/>
                        <a:pt x="12548" y="12517"/>
                      </a:cubicBezTo>
                      <a:cubicBezTo>
                        <a:pt x="12539" y="12517"/>
                        <a:pt x="12527" y="12523"/>
                        <a:pt x="12513" y="12535"/>
                      </a:cubicBezTo>
                      <a:cubicBezTo>
                        <a:pt x="12499" y="12545"/>
                        <a:pt x="12480" y="12550"/>
                        <a:pt x="12456" y="12550"/>
                      </a:cubicBezTo>
                      <a:cubicBezTo>
                        <a:pt x="12421" y="12550"/>
                        <a:pt x="12390" y="12535"/>
                        <a:pt x="12364" y="12505"/>
                      </a:cubicBezTo>
                      <a:cubicBezTo>
                        <a:pt x="12338" y="12472"/>
                        <a:pt x="12325" y="12432"/>
                        <a:pt x="12325" y="12384"/>
                      </a:cubicBezTo>
                      <a:lnTo>
                        <a:pt x="12343" y="12191"/>
                      </a:lnTo>
                      <a:cubicBezTo>
                        <a:pt x="12343" y="12116"/>
                        <a:pt x="12322" y="12064"/>
                        <a:pt x="12279" y="12034"/>
                      </a:cubicBezTo>
                      <a:cubicBezTo>
                        <a:pt x="12234" y="12003"/>
                        <a:pt x="12212" y="11979"/>
                        <a:pt x="12212" y="11961"/>
                      </a:cubicBezTo>
                      <a:cubicBezTo>
                        <a:pt x="12212" y="11929"/>
                        <a:pt x="12244" y="11904"/>
                        <a:pt x="12307" y="11886"/>
                      </a:cubicBezTo>
                      <a:cubicBezTo>
                        <a:pt x="12378" y="11867"/>
                        <a:pt x="12418" y="11848"/>
                        <a:pt x="12428" y="11828"/>
                      </a:cubicBezTo>
                      <a:cubicBezTo>
                        <a:pt x="12392" y="11822"/>
                        <a:pt x="12359" y="11816"/>
                        <a:pt x="12329" y="11810"/>
                      </a:cubicBezTo>
                      <a:cubicBezTo>
                        <a:pt x="12270" y="11798"/>
                        <a:pt x="12240" y="11781"/>
                        <a:pt x="12240" y="11759"/>
                      </a:cubicBezTo>
                      <a:cubicBezTo>
                        <a:pt x="12240" y="11737"/>
                        <a:pt x="12261" y="11706"/>
                        <a:pt x="12304" y="11668"/>
                      </a:cubicBezTo>
                      <a:cubicBezTo>
                        <a:pt x="12349" y="11628"/>
                        <a:pt x="12388" y="11608"/>
                        <a:pt x="12421" y="11608"/>
                      </a:cubicBezTo>
                      <a:cubicBezTo>
                        <a:pt x="12433" y="11608"/>
                        <a:pt x="12454" y="11612"/>
                        <a:pt x="12485" y="11620"/>
                      </a:cubicBezTo>
                      <a:lnTo>
                        <a:pt x="12552" y="11614"/>
                      </a:lnTo>
                      <a:lnTo>
                        <a:pt x="12545" y="11614"/>
                      </a:lnTo>
                      <a:cubicBezTo>
                        <a:pt x="12528" y="11590"/>
                        <a:pt x="12500" y="11570"/>
                        <a:pt x="12460" y="11553"/>
                      </a:cubicBezTo>
                      <a:cubicBezTo>
                        <a:pt x="12417" y="11535"/>
                        <a:pt x="12378" y="11526"/>
                        <a:pt x="12343" y="11526"/>
                      </a:cubicBezTo>
                      <a:cubicBezTo>
                        <a:pt x="12329" y="11526"/>
                        <a:pt x="12305" y="11530"/>
                        <a:pt x="12272" y="11538"/>
                      </a:cubicBezTo>
                      <a:cubicBezTo>
                        <a:pt x="12239" y="11546"/>
                        <a:pt x="12212" y="11550"/>
                        <a:pt x="12191" y="11550"/>
                      </a:cubicBezTo>
                      <a:cubicBezTo>
                        <a:pt x="12167" y="11550"/>
                        <a:pt x="12150" y="11546"/>
                        <a:pt x="12141" y="11538"/>
                      </a:cubicBezTo>
                      <a:cubicBezTo>
                        <a:pt x="12131" y="11524"/>
                        <a:pt x="12123" y="11512"/>
                        <a:pt x="12116" y="11502"/>
                      </a:cubicBezTo>
                      <a:cubicBezTo>
                        <a:pt x="12104" y="11472"/>
                        <a:pt x="12075" y="11442"/>
                        <a:pt x="12028" y="11412"/>
                      </a:cubicBezTo>
                      <a:cubicBezTo>
                        <a:pt x="11976" y="11377"/>
                        <a:pt x="11927" y="11360"/>
                        <a:pt x="11882" y="11360"/>
                      </a:cubicBezTo>
                      <a:cubicBezTo>
                        <a:pt x="11778" y="11366"/>
                        <a:pt x="11726" y="11358"/>
                        <a:pt x="11726" y="11336"/>
                      </a:cubicBezTo>
                      <a:cubicBezTo>
                        <a:pt x="11726" y="11274"/>
                        <a:pt x="11777" y="11232"/>
                        <a:pt x="11879" y="11212"/>
                      </a:cubicBezTo>
                      <a:cubicBezTo>
                        <a:pt x="11985" y="11190"/>
                        <a:pt x="12043" y="11157"/>
                        <a:pt x="12052" y="11113"/>
                      </a:cubicBezTo>
                      <a:lnTo>
                        <a:pt x="12052" y="11046"/>
                      </a:lnTo>
                      <a:lnTo>
                        <a:pt x="12010" y="11046"/>
                      </a:lnTo>
                      <a:cubicBezTo>
                        <a:pt x="11965" y="11066"/>
                        <a:pt x="11934" y="11076"/>
                        <a:pt x="11918" y="11076"/>
                      </a:cubicBezTo>
                      <a:cubicBezTo>
                        <a:pt x="11913" y="11076"/>
                        <a:pt x="11891" y="11066"/>
                        <a:pt x="11850" y="11046"/>
                      </a:cubicBezTo>
                      <a:cubicBezTo>
                        <a:pt x="11808" y="11024"/>
                        <a:pt x="11775" y="11013"/>
                        <a:pt x="11751" y="11013"/>
                      </a:cubicBezTo>
                      <a:cubicBezTo>
                        <a:pt x="11695" y="11013"/>
                        <a:pt x="11658" y="11034"/>
                        <a:pt x="11641" y="11076"/>
                      </a:cubicBezTo>
                      <a:cubicBezTo>
                        <a:pt x="11625" y="11117"/>
                        <a:pt x="11605" y="11137"/>
                        <a:pt x="11581" y="11137"/>
                      </a:cubicBezTo>
                      <a:cubicBezTo>
                        <a:pt x="11572" y="11137"/>
                        <a:pt x="11555" y="11130"/>
                        <a:pt x="11532" y="11116"/>
                      </a:cubicBezTo>
                      <a:cubicBezTo>
                        <a:pt x="11508" y="11101"/>
                        <a:pt x="11489" y="11094"/>
                        <a:pt x="11475" y="11094"/>
                      </a:cubicBezTo>
                      <a:cubicBezTo>
                        <a:pt x="11439" y="11094"/>
                        <a:pt x="11416" y="11096"/>
                        <a:pt x="11404" y="11100"/>
                      </a:cubicBezTo>
                      <a:cubicBezTo>
                        <a:pt x="11380" y="11106"/>
                        <a:pt x="11369" y="11122"/>
                        <a:pt x="11369" y="11146"/>
                      </a:cubicBezTo>
                      <a:cubicBezTo>
                        <a:pt x="11369" y="11164"/>
                        <a:pt x="11377" y="11182"/>
                        <a:pt x="11393" y="11200"/>
                      </a:cubicBezTo>
                      <a:cubicBezTo>
                        <a:pt x="11410" y="11218"/>
                        <a:pt x="11418" y="11246"/>
                        <a:pt x="11418" y="11285"/>
                      </a:cubicBezTo>
                      <a:cubicBezTo>
                        <a:pt x="11418" y="11291"/>
                        <a:pt x="11418" y="11304"/>
                        <a:pt x="11418" y="11324"/>
                      </a:cubicBezTo>
                      <a:cubicBezTo>
                        <a:pt x="11416" y="11340"/>
                        <a:pt x="11403" y="11348"/>
                        <a:pt x="11379" y="11348"/>
                      </a:cubicBezTo>
                      <a:lnTo>
                        <a:pt x="11195" y="11294"/>
                      </a:lnTo>
                      <a:cubicBezTo>
                        <a:pt x="11181" y="11294"/>
                        <a:pt x="11165" y="11300"/>
                        <a:pt x="11149" y="11312"/>
                      </a:cubicBezTo>
                      <a:cubicBezTo>
                        <a:pt x="11130" y="11324"/>
                        <a:pt x="11121" y="11337"/>
                        <a:pt x="11121" y="11351"/>
                      </a:cubicBezTo>
                      <a:cubicBezTo>
                        <a:pt x="11121" y="11377"/>
                        <a:pt x="11158" y="11396"/>
                        <a:pt x="11234" y="11408"/>
                      </a:cubicBezTo>
                      <a:cubicBezTo>
                        <a:pt x="11310" y="11419"/>
                        <a:pt x="11347" y="11438"/>
                        <a:pt x="11347" y="11466"/>
                      </a:cubicBezTo>
                      <a:cubicBezTo>
                        <a:pt x="11347" y="11506"/>
                        <a:pt x="11307" y="11540"/>
                        <a:pt x="11227" y="11568"/>
                      </a:cubicBezTo>
                      <a:lnTo>
                        <a:pt x="11036" y="11638"/>
                      </a:lnTo>
                      <a:cubicBezTo>
                        <a:pt x="11043" y="11670"/>
                        <a:pt x="11043" y="11703"/>
                        <a:pt x="11036" y="11738"/>
                      </a:cubicBezTo>
                      <a:lnTo>
                        <a:pt x="10954" y="11738"/>
                      </a:lnTo>
                      <a:cubicBezTo>
                        <a:pt x="10949" y="11728"/>
                        <a:pt x="10936" y="11718"/>
                        <a:pt x="10915" y="11710"/>
                      </a:cubicBezTo>
                      <a:cubicBezTo>
                        <a:pt x="10894" y="11702"/>
                        <a:pt x="10875" y="11698"/>
                        <a:pt x="10858" y="11698"/>
                      </a:cubicBezTo>
                      <a:cubicBezTo>
                        <a:pt x="10849" y="11698"/>
                        <a:pt x="10830" y="11703"/>
                        <a:pt x="10802" y="11713"/>
                      </a:cubicBezTo>
                      <a:cubicBezTo>
                        <a:pt x="10771" y="11724"/>
                        <a:pt x="10752" y="11729"/>
                        <a:pt x="10745" y="11729"/>
                      </a:cubicBezTo>
                      <a:cubicBezTo>
                        <a:pt x="10729" y="11729"/>
                        <a:pt x="10710" y="11724"/>
                        <a:pt x="10688" y="11713"/>
                      </a:cubicBezTo>
                      <a:cubicBezTo>
                        <a:pt x="10667" y="11701"/>
                        <a:pt x="10654" y="11694"/>
                        <a:pt x="10649" y="11692"/>
                      </a:cubicBezTo>
                      <a:cubicBezTo>
                        <a:pt x="10619" y="11684"/>
                        <a:pt x="10596" y="11677"/>
                        <a:pt x="10582" y="11671"/>
                      </a:cubicBezTo>
                      <a:cubicBezTo>
                        <a:pt x="10561" y="11661"/>
                        <a:pt x="10544" y="11648"/>
                        <a:pt x="10532" y="11632"/>
                      </a:cubicBezTo>
                      <a:cubicBezTo>
                        <a:pt x="10518" y="11586"/>
                        <a:pt x="10507" y="11551"/>
                        <a:pt x="10497" y="11529"/>
                      </a:cubicBezTo>
                      <a:cubicBezTo>
                        <a:pt x="10483" y="11491"/>
                        <a:pt x="10455" y="11472"/>
                        <a:pt x="10412" y="11472"/>
                      </a:cubicBezTo>
                      <a:cubicBezTo>
                        <a:pt x="10393" y="11472"/>
                        <a:pt x="10366" y="11489"/>
                        <a:pt x="10331" y="11523"/>
                      </a:cubicBezTo>
                      <a:cubicBezTo>
                        <a:pt x="10290" y="11565"/>
                        <a:pt x="10244" y="11596"/>
                        <a:pt x="10192" y="11614"/>
                      </a:cubicBezTo>
                      <a:cubicBezTo>
                        <a:pt x="10188" y="11608"/>
                        <a:pt x="10185" y="11599"/>
                        <a:pt x="10185" y="11587"/>
                      </a:cubicBezTo>
                      <a:cubicBezTo>
                        <a:pt x="10185" y="11577"/>
                        <a:pt x="10189" y="11570"/>
                        <a:pt x="10196" y="11565"/>
                      </a:cubicBezTo>
                      <a:cubicBezTo>
                        <a:pt x="10203" y="11561"/>
                        <a:pt x="10207" y="11553"/>
                        <a:pt x="10207" y="11541"/>
                      </a:cubicBezTo>
                      <a:cubicBezTo>
                        <a:pt x="10207" y="11499"/>
                        <a:pt x="10195" y="11478"/>
                        <a:pt x="10171" y="11478"/>
                      </a:cubicBezTo>
                      <a:cubicBezTo>
                        <a:pt x="10164" y="11478"/>
                        <a:pt x="10133" y="11499"/>
                        <a:pt x="10079" y="11541"/>
                      </a:cubicBezTo>
                      <a:cubicBezTo>
                        <a:pt x="10022" y="11584"/>
                        <a:pt x="9987" y="11605"/>
                        <a:pt x="9973" y="11605"/>
                      </a:cubicBezTo>
                      <a:cubicBezTo>
                        <a:pt x="9933" y="11605"/>
                        <a:pt x="9892" y="11593"/>
                        <a:pt x="9852" y="11568"/>
                      </a:cubicBezTo>
                      <a:cubicBezTo>
                        <a:pt x="9810" y="11544"/>
                        <a:pt x="9774" y="11532"/>
                        <a:pt x="9746" y="11532"/>
                      </a:cubicBezTo>
                      <a:cubicBezTo>
                        <a:pt x="9732" y="11532"/>
                        <a:pt x="9685" y="11555"/>
                        <a:pt x="9604" y="11602"/>
                      </a:cubicBezTo>
                      <a:cubicBezTo>
                        <a:pt x="9526" y="11646"/>
                        <a:pt x="9465" y="11668"/>
                        <a:pt x="9420" y="11668"/>
                      </a:cubicBezTo>
                      <a:cubicBezTo>
                        <a:pt x="9401" y="11668"/>
                        <a:pt x="9387" y="11660"/>
                        <a:pt x="9378" y="11644"/>
                      </a:cubicBezTo>
                      <a:cubicBezTo>
                        <a:pt x="9420" y="11630"/>
                        <a:pt x="9456" y="11618"/>
                        <a:pt x="9484" y="11608"/>
                      </a:cubicBezTo>
                      <a:cubicBezTo>
                        <a:pt x="9533" y="11586"/>
                        <a:pt x="9558" y="11561"/>
                        <a:pt x="9558" y="11535"/>
                      </a:cubicBezTo>
                      <a:cubicBezTo>
                        <a:pt x="9558" y="11489"/>
                        <a:pt x="9505" y="11466"/>
                        <a:pt x="9399" y="11466"/>
                      </a:cubicBezTo>
                      <a:cubicBezTo>
                        <a:pt x="9366" y="11466"/>
                        <a:pt x="9317" y="11477"/>
                        <a:pt x="9254" y="11499"/>
                      </a:cubicBezTo>
                      <a:cubicBezTo>
                        <a:pt x="9192" y="11521"/>
                        <a:pt x="9158" y="11532"/>
                        <a:pt x="9151" y="11532"/>
                      </a:cubicBezTo>
                      <a:cubicBezTo>
                        <a:pt x="9108" y="11532"/>
                        <a:pt x="9086" y="11510"/>
                        <a:pt x="9084" y="11466"/>
                      </a:cubicBezTo>
                      <a:cubicBezTo>
                        <a:pt x="9084" y="11420"/>
                        <a:pt x="9053" y="11397"/>
                        <a:pt x="8991" y="11399"/>
                      </a:cubicBezTo>
                      <a:cubicBezTo>
                        <a:pt x="8991" y="11405"/>
                        <a:pt x="8987" y="11420"/>
                        <a:pt x="8977" y="11442"/>
                      </a:cubicBezTo>
                      <a:cubicBezTo>
                        <a:pt x="8965" y="11470"/>
                        <a:pt x="8954" y="11488"/>
                        <a:pt x="8942" y="11496"/>
                      </a:cubicBezTo>
                      <a:cubicBezTo>
                        <a:pt x="8871" y="11470"/>
                        <a:pt x="8808" y="11433"/>
                        <a:pt x="8754" y="11384"/>
                      </a:cubicBezTo>
                      <a:cubicBezTo>
                        <a:pt x="8695" y="11330"/>
                        <a:pt x="8666" y="11280"/>
                        <a:pt x="8666" y="11233"/>
                      </a:cubicBezTo>
                      <a:cubicBezTo>
                        <a:pt x="8666" y="11213"/>
                        <a:pt x="8687" y="11184"/>
                        <a:pt x="8729" y="11146"/>
                      </a:cubicBezTo>
                      <a:cubicBezTo>
                        <a:pt x="8774" y="11103"/>
                        <a:pt x="8815" y="11082"/>
                        <a:pt x="8853" y="11082"/>
                      </a:cubicBezTo>
                      <a:cubicBezTo>
                        <a:pt x="8891" y="11082"/>
                        <a:pt x="8928" y="11097"/>
                        <a:pt x="8963" y="11128"/>
                      </a:cubicBezTo>
                      <a:cubicBezTo>
                        <a:pt x="9001" y="11162"/>
                        <a:pt x="9038" y="11180"/>
                        <a:pt x="9073" y="11182"/>
                      </a:cubicBezTo>
                      <a:cubicBezTo>
                        <a:pt x="9066" y="11210"/>
                        <a:pt x="9068" y="11227"/>
                        <a:pt x="9080" y="11233"/>
                      </a:cubicBezTo>
                      <a:cubicBezTo>
                        <a:pt x="9085" y="11235"/>
                        <a:pt x="9101" y="11236"/>
                        <a:pt x="9130" y="11236"/>
                      </a:cubicBezTo>
                      <a:cubicBezTo>
                        <a:pt x="9172" y="11236"/>
                        <a:pt x="9226" y="11229"/>
                        <a:pt x="9293" y="11215"/>
                      </a:cubicBezTo>
                      <a:cubicBezTo>
                        <a:pt x="9373" y="11197"/>
                        <a:pt x="9427" y="11176"/>
                        <a:pt x="9456" y="11152"/>
                      </a:cubicBezTo>
                      <a:lnTo>
                        <a:pt x="9456" y="11106"/>
                      </a:lnTo>
                      <a:cubicBezTo>
                        <a:pt x="9366" y="11092"/>
                        <a:pt x="9290" y="11079"/>
                        <a:pt x="9229" y="11067"/>
                      </a:cubicBezTo>
                      <a:cubicBezTo>
                        <a:pt x="9113" y="11041"/>
                        <a:pt x="9055" y="10995"/>
                        <a:pt x="9055" y="10928"/>
                      </a:cubicBezTo>
                      <a:cubicBezTo>
                        <a:pt x="9055" y="10882"/>
                        <a:pt x="9144" y="10817"/>
                        <a:pt x="9321" y="10732"/>
                      </a:cubicBezTo>
                      <a:cubicBezTo>
                        <a:pt x="9482" y="10656"/>
                        <a:pt x="9585" y="10615"/>
                        <a:pt x="9633" y="10611"/>
                      </a:cubicBezTo>
                      <a:cubicBezTo>
                        <a:pt x="9730" y="10599"/>
                        <a:pt x="9839" y="10535"/>
                        <a:pt x="9962" y="10418"/>
                      </a:cubicBezTo>
                      <a:cubicBezTo>
                        <a:pt x="10080" y="10307"/>
                        <a:pt x="10179" y="10252"/>
                        <a:pt x="10260" y="10252"/>
                      </a:cubicBezTo>
                      <a:cubicBezTo>
                        <a:pt x="10300" y="10252"/>
                        <a:pt x="10329" y="10261"/>
                        <a:pt x="10348" y="10279"/>
                      </a:cubicBezTo>
                      <a:cubicBezTo>
                        <a:pt x="10379" y="10305"/>
                        <a:pt x="10424" y="10327"/>
                        <a:pt x="10483" y="10346"/>
                      </a:cubicBezTo>
                      <a:cubicBezTo>
                        <a:pt x="10499" y="10350"/>
                        <a:pt x="10560" y="10361"/>
                        <a:pt x="10664" y="10379"/>
                      </a:cubicBezTo>
                      <a:cubicBezTo>
                        <a:pt x="10718" y="10387"/>
                        <a:pt x="10745" y="10404"/>
                        <a:pt x="10745" y="10430"/>
                      </a:cubicBezTo>
                      <a:cubicBezTo>
                        <a:pt x="10745" y="10440"/>
                        <a:pt x="10739" y="10462"/>
                        <a:pt x="10727" y="10496"/>
                      </a:cubicBezTo>
                      <a:cubicBezTo>
                        <a:pt x="10727" y="10523"/>
                        <a:pt x="10779" y="10543"/>
                        <a:pt x="10883" y="10557"/>
                      </a:cubicBezTo>
                      <a:cubicBezTo>
                        <a:pt x="10904" y="10559"/>
                        <a:pt x="10934" y="10575"/>
                        <a:pt x="10972" y="10605"/>
                      </a:cubicBezTo>
                      <a:cubicBezTo>
                        <a:pt x="11000" y="10627"/>
                        <a:pt x="11021" y="10649"/>
                        <a:pt x="11036" y="10669"/>
                      </a:cubicBezTo>
                      <a:cubicBezTo>
                        <a:pt x="11045" y="10681"/>
                        <a:pt x="11071" y="10727"/>
                        <a:pt x="11114" y="10808"/>
                      </a:cubicBezTo>
                      <a:cubicBezTo>
                        <a:pt x="11163" y="10884"/>
                        <a:pt x="11216" y="10922"/>
                        <a:pt x="11273" y="10922"/>
                      </a:cubicBezTo>
                      <a:cubicBezTo>
                        <a:pt x="11294" y="10922"/>
                        <a:pt x="11307" y="10920"/>
                        <a:pt x="11312" y="10916"/>
                      </a:cubicBezTo>
                      <a:lnTo>
                        <a:pt x="11312" y="10877"/>
                      </a:lnTo>
                      <a:cubicBezTo>
                        <a:pt x="11255" y="10758"/>
                        <a:pt x="11212" y="10678"/>
                        <a:pt x="11181" y="10635"/>
                      </a:cubicBezTo>
                      <a:cubicBezTo>
                        <a:pt x="11160" y="10607"/>
                        <a:pt x="11124" y="10570"/>
                        <a:pt x="11075" y="10524"/>
                      </a:cubicBezTo>
                      <a:cubicBezTo>
                        <a:pt x="11058" y="10510"/>
                        <a:pt x="11050" y="10477"/>
                        <a:pt x="11050" y="10427"/>
                      </a:cubicBezTo>
                      <a:cubicBezTo>
                        <a:pt x="11050" y="10399"/>
                        <a:pt x="11064" y="10376"/>
                        <a:pt x="11092" y="10358"/>
                      </a:cubicBezTo>
                      <a:cubicBezTo>
                        <a:pt x="11121" y="10337"/>
                        <a:pt x="11155" y="10327"/>
                        <a:pt x="11195" y="10327"/>
                      </a:cubicBezTo>
                      <a:cubicBezTo>
                        <a:pt x="11230" y="10327"/>
                        <a:pt x="11288" y="10334"/>
                        <a:pt x="11369" y="10349"/>
                      </a:cubicBezTo>
                      <a:cubicBezTo>
                        <a:pt x="11449" y="10363"/>
                        <a:pt x="11515" y="10370"/>
                        <a:pt x="11567" y="10370"/>
                      </a:cubicBezTo>
                      <a:lnTo>
                        <a:pt x="11652" y="10370"/>
                      </a:lnTo>
                      <a:cubicBezTo>
                        <a:pt x="11685" y="10368"/>
                        <a:pt x="11702" y="10359"/>
                        <a:pt x="11702" y="10343"/>
                      </a:cubicBezTo>
                      <a:cubicBezTo>
                        <a:pt x="11702" y="10318"/>
                        <a:pt x="11652" y="10295"/>
                        <a:pt x="11553" y="10273"/>
                      </a:cubicBezTo>
                      <a:cubicBezTo>
                        <a:pt x="11451" y="10257"/>
                        <a:pt x="11397" y="10248"/>
                        <a:pt x="11390" y="10246"/>
                      </a:cubicBezTo>
                      <a:cubicBezTo>
                        <a:pt x="11371" y="10238"/>
                        <a:pt x="11293" y="10229"/>
                        <a:pt x="11156" y="10219"/>
                      </a:cubicBezTo>
                      <a:cubicBezTo>
                        <a:pt x="11059" y="10211"/>
                        <a:pt x="11011" y="10180"/>
                        <a:pt x="11011" y="10128"/>
                      </a:cubicBezTo>
                      <a:cubicBezTo>
                        <a:pt x="11011" y="10102"/>
                        <a:pt x="11173" y="10016"/>
                        <a:pt x="11496" y="9871"/>
                      </a:cubicBezTo>
                      <a:cubicBezTo>
                        <a:pt x="11817" y="9724"/>
                        <a:pt x="11978" y="9604"/>
                        <a:pt x="11978" y="9509"/>
                      </a:cubicBezTo>
                      <a:lnTo>
                        <a:pt x="11978" y="9491"/>
                      </a:lnTo>
                      <a:cubicBezTo>
                        <a:pt x="11921" y="9513"/>
                        <a:pt x="11835" y="9564"/>
                        <a:pt x="11719" y="9645"/>
                      </a:cubicBezTo>
                      <a:cubicBezTo>
                        <a:pt x="11691" y="9659"/>
                        <a:pt x="11626" y="9684"/>
                        <a:pt x="11524" y="9720"/>
                      </a:cubicBezTo>
                      <a:cubicBezTo>
                        <a:pt x="11428" y="9753"/>
                        <a:pt x="11364" y="9779"/>
                        <a:pt x="11333" y="9799"/>
                      </a:cubicBezTo>
                      <a:cubicBezTo>
                        <a:pt x="11168" y="9898"/>
                        <a:pt x="11032" y="9981"/>
                        <a:pt x="10926" y="10050"/>
                      </a:cubicBezTo>
                      <a:cubicBezTo>
                        <a:pt x="10883" y="10070"/>
                        <a:pt x="10785" y="10080"/>
                        <a:pt x="10632" y="10080"/>
                      </a:cubicBezTo>
                      <a:cubicBezTo>
                        <a:pt x="10542" y="10080"/>
                        <a:pt x="10457" y="10068"/>
                        <a:pt x="10377" y="10044"/>
                      </a:cubicBezTo>
                      <a:cubicBezTo>
                        <a:pt x="10294" y="10017"/>
                        <a:pt x="10243" y="10004"/>
                        <a:pt x="10224" y="10004"/>
                      </a:cubicBezTo>
                      <a:cubicBezTo>
                        <a:pt x="10198" y="10004"/>
                        <a:pt x="10165" y="10016"/>
                        <a:pt x="10125" y="10041"/>
                      </a:cubicBezTo>
                      <a:cubicBezTo>
                        <a:pt x="10083" y="10063"/>
                        <a:pt x="10032" y="10074"/>
                        <a:pt x="9973" y="10074"/>
                      </a:cubicBezTo>
                      <a:cubicBezTo>
                        <a:pt x="9829" y="10074"/>
                        <a:pt x="9726" y="10094"/>
                        <a:pt x="9665" y="10134"/>
                      </a:cubicBezTo>
                      <a:cubicBezTo>
                        <a:pt x="9606" y="10172"/>
                        <a:pt x="9505" y="10192"/>
                        <a:pt x="9363" y="10192"/>
                      </a:cubicBezTo>
                      <a:cubicBezTo>
                        <a:pt x="9267" y="10192"/>
                        <a:pt x="9212" y="10156"/>
                        <a:pt x="9200" y="10086"/>
                      </a:cubicBezTo>
                      <a:cubicBezTo>
                        <a:pt x="9189" y="10015"/>
                        <a:pt x="9167" y="9980"/>
                        <a:pt x="9137" y="9980"/>
                      </a:cubicBezTo>
                      <a:cubicBezTo>
                        <a:pt x="9132" y="9980"/>
                        <a:pt x="9121" y="9986"/>
                        <a:pt x="9105" y="9998"/>
                      </a:cubicBezTo>
                      <a:cubicBezTo>
                        <a:pt x="9084" y="10012"/>
                        <a:pt x="9073" y="10023"/>
                        <a:pt x="9073" y="10031"/>
                      </a:cubicBezTo>
                      <a:cubicBezTo>
                        <a:pt x="9073" y="10052"/>
                        <a:pt x="9086" y="10078"/>
                        <a:pt x="9112" y="10110"/>
                      </a:cubicBezTo>
                      <a:cubicBezTo>
                        <a:pt x="9138" y="10140"/>
                        <a:pt x="9151" y="10168"/>
                        <a:pt x="9151" y="10195"/>
                      </a:cubicBezTo>
                      <a:cubicBezTo>
                        <a:pt x="9151" y="10215"/>
                        <a:pt x="9130" y="10248"/>
                        <a:pt x="9087" y="10294"/>
                      </a:cubicBezTo>
                      <a:cubicBezTo>
                        <a:pt x="9040" y="10345"/>
                        <a:pt x="8996" y="10370"/>
                        <a:pt x="8956" y="10370"/>
                      </a:cubicBezTo>
                      <a:cubicBezTo>
                        <a:pt x="8914" y="10370"/>
                        <a:pt x="8865" y="10353"/>
                        <a:pt x="8811" y="10318"/>
                      </a:cubicBezTo>
                      <a:cubicBezTo>
                        <a:pt x="8756" y="10282"/>
                        <a:pt x="8720" y="10264"/>
                        <a:pt x="8701" y="10264"/>
                      </a:cubicBezTo>
                      <a:cubicBezTo>
                        <a:pt x="8687" y="10268"/>
                        <a:pt x="8677" y="10270"/>
                        <a:pt x="8673" y="10270"/>
                      </a:cubicBezTo>
                      <a:cubicBezTo>
                        <a:pt x="8675" y="10300"/>
                        <a:pt x="8664" y="10327"/>
                        <a:pt x="8641" y="10352"/>
                      </a:cubicBezTo>
                      <a:cubicBezTo>
                        <a:pt x="8617" y="10372"/>
                        <a:pt x="8592" y="10382"/>
                        <a:pt x="8566" y="10382"/>
                      </a:cubicBezTo>
                      <a:cubicBezTo>
                        <a:pt x="8524" y="10382"/>
                        <a:pt x="8503" y="10369"/>
                        <a:pt x="8503" y="10343"/>
                      </a:cubicBezTo>
                      <a:cubicBezTo>
                        <a:pt x="8514" y="10322"/>
                        <a:pt x="8520" y="10307"/>
                        <a:pt x="8520" y="10297"/>
                      </a:cubicBezTo>
                      <a:cubicBezTo>
                        <a:pt x="8520" y="10247"/>
                        <a:pt x="8473" y="10222"/>
                        <a:pt x="8379" y="10222"/>
                      </a:cubicBezTo>
                      <a:cubicBezTo>
                        <a:pt x="8320" y="10222"/>
                        <a:pt x="8262" y="10248"/>
                        <a:pt x="8205" y="10300"/>
                      </a:cubicBezTo>
                      <a:cubicBezTo>
                        <a:pt x="8148" y="10351"/>
                        <a:pt x="8099" y="10376"/>
                        <a:pt x="8056" y="10376"/>
                      </a:cubicBezTo>
                      <a:cubicBezTo>
                        <a:pt x="8042" y="10376"/>
                        <a:pt x="8018" y="10366"/>
                        <a:pt x="7985" y="10346"/>
                      </a:cubicBezTo>
                      <a:cubicBezTo>
                        <a:pt x="7952" y="10325"/>
                        <a:pt x="7925" y="10315"/>
                        <a:pt x="7904" y="10315"/>
                      </a:cubicBezTo>
                      <a:cubicBezTo>
                        <a:pt x="7878" y="10315"/>
                        <a:pt x="7841" y="10325"/>
                        <a:pt x="7794" y="10346"/>
                      </a:cubicBezTo>
                      <a:cubicBezTo>
                        <a:pt x="7759" y="10364"/>
                        <a:pt x="7729" y="10380"/>
                        <a:pt x="7705" y="10394"/>
                      </a:cubicBezTo>
                      <a:cubicBezTo>
                        <a:pt x="7694" y="10402"/>
                        <a:pt x="7656" y="10421"/>
                        <a:pt x="7592" y="10451"/>
                      </a:cubicBezTo>
                      <a:cubicBezTo>
                        <a:pt x="7535" y="10483"/>
                        <a:pt x="7507" y="10511"/>
                        <a:pt x="7507" y="10533"/>
                      </a:cubicBezTo>
                      <a:cubicBezTo>
                        <a:pt x="7507" y="10541"/>
                        <a:pt x="7539" y="10563"/>
                        <a:pt x="7603" y="10599"/>
                      </a:cubicBezTo>
                      <a:cubicBezTo>
                        <a:pt x="7666" y="10635"/>
                        <a:pt x="7698" y="10670"/>
                        <a:pt x="7698" y="10702"/>
                      </a:cubicBezTo>
                      <a:lnTo>
                        <a:pt x="7677" y="10771"/>
                      </a:lnTo>
                      <a:cubicBezTo>
                        <a:pt x="7677" y="10785"/>
                        <a:pt x="7685" y="10801"/>
                        <a:pt x="7702" y="10817"/>
                      </a:cubicBezTo>
                      <a:cubicBezTo>
                        <a:pt x="7718" y="10833"/>
                        <a:pt x="7727" y="10847"/>
                        <a:pt x="7727" y="10859"/>
                      </a:cubicBezTo>
                      <a:cubicBezTo>
                        <a:pt x="7727" y="10867"/>
                        <a:pt x="7722" y="10875"/>
                        <a:pt x="7713" y="10883"/>
                      </a:cubicBezTo>
                      <a:cubicBezTo>
                        <a:pt x="7703" y="10889"/>
                        <a:pt x="7698" y="10897"/>
                        <a:pt x="7698" y="10907"/>
                      </a:cubicBezTo>
                      <a:cubicBezTo>
                        <a:pt x="7635" y="10992"/>
                        <a:pt x="7568" y="11034"/>
                        <a:pt x="7500" y="11034"/>
                      </a:cubicBezTo>
                      <a:cubicBezTo>
                        <a:pt x="7472" y="11034"/>
                        <a:pt x="7440" y="11025"/>
                        <a:pt x="7404" y="11007"/>
                      </a:cubicBezTo>
                      <a:cubicBezTo>
                        <a:pt x="7371" y="10989"/>
                        <a:pt x="7341" y="10981"/>
                        <a:pt x="7312" y="10983"/>
                      </a:cubicBezTo>
                      <a:cubicBezTo>
                        <a:pt x="7263" y="10985"/>
                        <a:pt x="7225" y="10980"/>
                        <a:pt x="7199" y="10968"/>
                      </a:cubicBezTo>
                      <a:cubicBezTo>
                        <a:pt x="7170" y="10953"/>
                        <a:pt x="7145" y="10946"/>
                        <a:pt x="7121" y="10946"/>
                      </a:cubicBezTo>
                      <a:cubicBezTo>
                        <a:pt x="7107" y="10946"/>
                        <a:pt x="7088" y="10953"/>
                        <a:pt x="7064" y="10968"/>
                      </a:cubicBezTo>
                      <a:cubicBezTo>
                        <a:pt x="7031" y="10988"/>
                        <a:pt x="6995" y="11006"/>
                        <a:pt x="6954" y="11022"/>
                      </a:cubicBezTo>
                      <a:cubicBezTo>
                        <a:pt x="6919" y="11066"/>
                        <a:pt x="6884" y="11096"/>
                        <a:pt x="6848" y="11113"/>
                      </a:cubicBezTo>
                      <a:cubicBezTo>
                        <a:pt x="6822" y="11125"/>
                        <a:pt x="6788" y="11131"/>
                        <a:pt x="6745" y="11131"/>
                      </a:cubicBezTo>
                      <a:cubicBezTo>
                        <a:pt x="6670" y="11111"/>
                        <a:pt x="6630" y="11100"/>
                        <a:pt x="6625" y="11100"/>
                      </a:cubicBezTo>
                      <a:cubicBezTo>
                        <a:pt x="6585" y="11100"/>
                        <a:pt x="6507" y="11077"/>
                        <a:pt x="6391" y="11031"/>
                      </a:cubicBezTo>
                      <a:cubicBezTo>
                        <a:pt x="6273" y="10983"/>
                        <a:pt x="6181" y="10959"/>
                        <a:pt x="6115" y="10959"/>
                      </a:cubicBezTo>
                      <a:cubicBezTo>
                        <a:pt x="5931" y="10993"/>
                        <a:pt x="5828" y="11011"/>
                        <a:pt x="5807" y="11013"/>
                      </a:cubicBezTo>
                      <a:lnTo>
                        <a:pt x="5743" y="11013"/>
                      </a:lnTo>
                      <a:cubicBezTo>
                        <a:pt x="5743" y="10930"/>
                        <a:pt x="5727" y="10889"/>
                        <a:pt x="5697" y="10889"/>
                      </a:cubicBezTo>
                      <a:cubicBezTo>
                        <a:pt x="5680" y="10889"/>
                        <a:pt x="5662" y="10895"/>
                        <a:pt x="5644" y="10907"/>
                      </a:cubicBezTo>
                      <a:cubicBezTo>
                        <a:pt x="5627" y="10917"/>
                        <a:pt x="5613" y="10922"/>
                        <a:pt x="5601" y="10922"/>
                      </a:cubicBezTo>
                      <a:cubicBezTo>
                        <a:pt x="5582" y="10922"/>
                        <a:pt x="5561" y="10912"/>
                        <a:pt x="5537" y="10892"/>
                      </a:cubicBezTo>
                      <a:cubicBezTo>
                        <a:pt x="5514" y="10870"/>
                        <a:pt x="5498" y="10859"/>
                        <a:pt x="5491" y="10859"/>
                      </a:cubicBezTo>
                      <a:cubicBezTo>
                        <a:pt x="5472" y="10859"/>
                        <a:pt x="5450" y="10865"/>
                        <a:pt x="5424" y="10877"/>
                      </a:cubicBezTo>
                      <a:cubicBezTo>
                        <a:pt x="5398" y="10889"/>
                        <a:pt x="5378" y="10895"/>
                        <a:pt x="5364" y="10895"/>
                      </a:cubicBezTo>
                      <a:cubicBezTo>
                        <a:pt x="5347" y="10895"/>
                        <a:pt x="5333" y="10880"/>
                        <a:pt x="5321" y="10850"/>
                      </a:cubicBezTo>
                      <a:cubicBezTo>
                        <a:pt x="5309" y="10820"/>
                        <a:pt x="5274" y="10805"/>
                        <a:pt x="5215" y="10805"/>
                      </a:cubicBezTo>
                      <a:lnTo>
                        <a:pt x="5006" y="10817"/>
                      </a:lnTo>
                      <a:cubicBezTo>
                        <a:pt x="4992" y="10833"/>
                        <a:pt x="4981" y="10872"/>
                        <a:pt x="4974" y="10934"/>
                      </a:cubicBezTo>
                      <a:cubicBezTo>
                        <a:pt x="4953" y="10991"/>
                        <a:pt x="4902" y="11019"/>
                        <a:pt x="4822" y="11019"/>
                      </a:cubicBezTo>
                      <a:cubicBezTo>
                        <a:pt x="4777" y="11019"/>
                        <a:pt x="4721" y="11004"/>
                        <a:pt x="4655" y="10974"/>
                      </a:cubicBezTo>
                      <a:cubicBezTo>
                        <a:pt x="4596" y="10943"/>
                        <a:pt x="4565" y="10928"/>
                        <a:pt x="4563" y="10928"/>
                      </a:cubicBezTo>
                      <a:cubicBezTo>
                        <a:pt x="4542" y="10928"/>
                        <a:pt x="4509" y="10931"/>
                        <a:pt x="4464" y="10937"/>
                      </a:cubicBezTo>
                      <a:cubicBezTo>
                        <a:pt x="4421" y="10943"/>
                        <a:pt x="4388" y="10946"/>
                        <a:pt x="4365" y="10946"/>
                      </a:cubicBezTo>
                      <a:cubicBezTo>
                        <a:pt x="4329" y="10946"/>
                        <a:pt x="4299" y="10924"/>
                        <a:pt x="4273" y="10880"/>
                      </a:cubicBezTo>
                      <a:cubicBezTo>
                        <a:pt x="4247" y="10834"/>
                        <a:pt x="4204" y="10811"/>
                        <a:pt x="4145" y="10811"/>
                      </a:cubicBezTo>
                      <a:cubicBezTo>
                        <a:pt x="4121" y="10811"/>
                        <a:pt x="4097" y="10829"/>
                        <a:pt x="4071" y="10865"/>
                      </a:cubicBezTo>
                      <a:cubicBezTo>
                        <a:pt x="4042" y="10899"/>
                        <a:pt x="4021" y="10916"/>
                        <a:pt x="4007" y="10916"/>
                      </a:cubicBezTo>
                      <a:cubicBezTo>
                        <a:pt x="3981" y="10916"/>
                        <a:pt x="3956" y="10907"/>
                        <a:pt x="3932" y="10889"/>
                      </a:cubicBezTo>
                      <a:cubicBezTo>
                        <a:pt x="3906" y="10871"/>
                        <a:pt x="3893" y="10853"/>
                        <a:pt x="3893" y="10835"/>
                      </a:cubicBezTo>
                      <a:cubicBezTo>
                        <a:pt x="3893" y="10831"/>
                        <a:pt x="3897" y="10826"/>
                        <a:pt x="3904" y="10820"/>
                      </a:cubicBezTo>
                      <a:cubicBezTo>
                        <a:pt x="3909" y="10814"/>
                        <a:pt x="3911" y="10808"/>
                        <a:pt x="3911" y="10802"/>
                      </a:cubicBezTo>
                      <a:cubicBezTo>
                        <a:pt x="3911" y="10779"/>
                        <a:pt x="3889" y="10761"/>
                        <a:pt x="3844" y="10747"/>
                      </a:cubicBezTo>
                      <a:cubicBezTo>
                        <a:pt x="3804" y="10735"/>
                        <a:pt x="3761" y="10729"/>
                        <a:pt x="3716" y="10729"/>
                      </a:cubicBezTo>
                      <a:cubicBezTo>
                        <a:pt x="3700" y="10729"/>
                        <a:pt x="3692" y="10741"/>
                        <a:pt x="3692" y="10765"/>
                      </a:cubicBezTo>
                      <a:cubicBezTo>
                        <a:pt x="3692" y="10781"/>
                        <a:pt x="3692" y="10790"/>
                        <a:pt x="3692" y="10792"/>
                      </a:cubicBezTo>
                      <a:cubicBezTo>
                        <a:pt x="3694" y="10798"/>
                        <a:pt x="3703" y="10805"/>
                        <a:pt x="3720" y="10811"/>
                      </a:cubicBezTo>
                      <a:lnTo>
                        <a:pt x="3720" y="10853"/>
                      </a:lnTo>
                      <a:cubicBezTo>
                        <a:pt x="3682" y="10851"/>
                        <a:pt x="3634" y="10831"/>
                        <a:pt x="3575" y="10792"/>
                      </a:cubicBezTo>
                      <a:cubicBezTo>
                        <a:pt x="3506" y="10750"/>
                        <a:pt x="3458" y="10725"/>
                        <a:pt x="3429" y="10717"/>
                      </a:cubicBezTo>
                      <a:cubicBezTo>
                        <a:pt x="3425" y="10717"/>
                        <a:pt x="3363" y="10713"/>
                        <a:pt x="3245" y="10705"/>
                      </a:cubicBezTo>
                      <a:cubicBezTo>
                        <a:pt x="3179" y="10701"/>
                        <a:pt x="3146" y="10675"/>
                        <a:pt x="3146" y="10626"/>
                      </a:cubicBezTo>
                      <a:cubicBezTo>
                        <a:pt x="3146" y="10614"/>
                        <a:pt x="3158" y="10582"/>
                        <a:pt x="3181" y="10530"/>
                      </a:cubicBezTo>
                      <a:cubicBezTo>
                        <a:pt x="3203" y="10479"/>
                        <a:pt x="3213" y="10447"/>
                        <a:pt x="3213" y="10433"/>
                      </a:cubicBezTo>
                      <a:cubicBezTo>
                        <a:pt x="3209" y="10419"/>
                        <a:pt x="3206" y="10410"/>
                        <a:pt x="3206" y="10406"/>
                      </a:cubicBezTo>
                      <a:cubicBezTo>
                        <a:pt x="3187" y="10412"/>
                        <a:pt x="3158" y="10433"/>
                        <a:pt x="3118" y="10469"/>
                      </a:cubicBezTo>
                      <a:cubicBezTo>
                        <a:pt x="3073" y="10508"/>
                        <a:pt x="3050" y="10537"/>
                        <a:pt x="3050" y="10557"/>
                      </a:cubicBezTo>
                      <a:cubicBezTo>
                        <a:pt x="3050" y="10571"/>
                        <a:pt x="3063" y="10626"/>
                        <a:pt x="3089" y="10723"/>
                      </a:cubicBezTo>
                      <a:cubicBezTo>
                        <a:pt x="3089" y="10749"/>
                        <a:pt x="3055" y="10776"/>
                        <a:pt x="2986" y="10805"/>
                      </a:cubicBezTo>
                      <a:cubicBezTo>
                        <a:pt x="2925" y="10829"/>
                        <a:pt x="2877" y="10841"/>
                        <a:pt x="2841" y="10841"/>
                      </a:cubicBezTo>
                      <a:cubicBezTo>
                        <a:pt x="2803" y="10841"/>
                        <a:pt x="2726" y="10813"/>
                        <a:pt x="2607" y="10756"/>
                      </a:cubicBezTo>
                      <a:cubicBezTo>
                        <a:pt x="2492" y="10698"/>
                        <a:pt x="2413" y="10669"/>
                        <a:pt x="2370" y="10669"/>
                      </a:cubicBezTo>
                      <a:cubicBezTo>
                        <a:pt x="2332" y="10669"/>
                        <a:pt x="2282" y="10684"/>
                        <a:pt x="2218" y="10714"/>
                      </a:cubicBezTo>
                      <a:cubicBezTo>
                        <a:pt x="2154" y="10744"/>
                        <a:pt x="2108" y="10759"/>
                        <a:pt x="2080" y="10759"/>
                      </a:cubicBezTo>
                      <a:cubicBezTo>
                        <a:pt x="2061" y="10759"/>
                        <a:pt x="2050" y="10759"/>
                        <a:pt x="2048" y="10759"/>
                      </a:cubicBezTo>
                      <a:cubicBezTo>
                        <a:pt x="2038" y="10757"/>
                        <a:pt x="2034" y="10749"/>
                        <a:pt x="2034" y="10735"/>
                      </a:cubicBezTo>
                      <a:cubicBezTo>
                        <a:pt x="2034" y="10711"/>
                        <a:pt x="2077" y="10672"/>
                        <a:pt x="2165" y="10617"/>
                      </a:cubicBezTo>
                      <a:cubicBezTo>
                        <a:pt x="2252" y="10565"/>
                        <a:pt x="2296" y="10535"/>
                        <a:pt x="2296" y="10527"/>
                      </a:cubicBezTo>
                      <a:cubicBezTo>
                        <a:pt x="2296" y="10494"/>
                        <a:pt x="2271" y="10477"/>
                        <a:pt x="2221" y="10475"/>
                      </a:cubicBezTo>
                      <a:cubicBezTo>
                        <a:pt x="2143" y="10473"/>
                        <a:pt x="2090" y="10465"/>
                        <a:pt x="2062" y="10451"/>
                      </a:cubicBezTo>
                      <a:cubicBezTo>
                        <a:pt x="2019" y="10431"/>
                        <a:pt x="1971" y="10415"/>
                        <a:pt x="1917" y="10403"/>
                      </a:cubicBezTo>
                      <a:cubicBezTo>
                        <a:pt x="1855" y="10393"/>
                        <a:pt x="1807" y="10384"/>
                        <a:pt x="1771" y="10376"/>
                      </a:cubicBezTo>
                      <a:cubicBezTo>
                        <a:pt x="1752" y="10372"/>
                        <a:pt x="1731" y="10361"/>
                        <a:pt x="1708" y="10343"/>
                      </a:cubicBezTo>
                      <a:cubicBezTo>
                        <a:pt x="1684" y="10326"/>
                        <a:pt x="1669" y="10317"/>
                        <a:pt x="1662" y="10315"/>
                      </a:cubicBezTo>
                      <a:cubicBezTo>
                        <a:pt x="1640" y="10309"/>
                        <a:pt x="1613" y="10306"/>
                        <a:pt x="1580" y="10306"/>
                      </a:cubicBezTo>
                      <a:cubicBezTo>
                        <a:pt x="1545" y="10304"/>
                        <a:pt x="1521" y="10302"/>
                        <a:pt x="1509" y="10300"/>
                      </a:cubicBezTo>
                      <a:cubicBezTo>
                        <a:pt x="1448" y="10296"/>
                        <a:pt x="1404" y="10289"/>
                        <a:pt x="1378" y="10279"/>
                      </a:cubicBezTo>
                      <a:cubicBezTo>
                        <a:pt x="1340" y="10263"/>
                        <a:pt x="1278" y="10205"/>
                        <a:pt x="1190" y="10104"/>
                      </a:cubicBezTo>
                      <a:cubicBezTo>
                        <a:pt x="1195" y="10054"/>
                        <a:pt x="1207" y="10026"/>
                        <a:pt x="1226" y="10022"/>
                      </a:cubicBezTo>
                      <a:cubicBezTo>
                        <a:pt x="1256" y="10022"/>
                        <a:pt x="1284" y="10016"/>
                        <a:pt x="1307" y="10004"/>
                      </a:cubicBezTo>
                      <a:cubicBezTo>
                        <a:pt x="1350" y="9980"/>
                        <a:pt x="1372" y="9967"/>
                        <a:pt x="1375" y="9965"/>
                      </a:cubicBezTo>
                      <a:cubicBezTo>
                        <a:pt x="1389" y="9955"/>
                        <a:pt x="1396" y="9941"/>
                        <a:pt x="1396" y="9923"/>
                      </a:cubicBezTo>
                      <a:cubicBezTo>
                        <a:pt x="1396" y="9878"/>
                        <a:pt x="1360" y="9856"/>
                        <a:pt x="1290" y="9856"/>
                      </a:cubicBezTo>
                      <a:cubicBezTo>
                        <a:pt x="1261" y="9856"/>
                        <a:pt x="1190" y="9878"/>
                        <a:pt x="1077" y="9923"/>
                      </a:cubicBezTo>
                      <a:cubicBezTo>
                        <a:pt x="964" y="9965"/>
                        <a:pt x="838" y="9986"/>
                        <a:pt x="701" y="9986"/>
                      </a:cubicBezTo>
                      <a:cubicBezTo>
                        <a:pt x="673" y="9986"/>
                        <a:pt x="626" y="9961"/>
                        <a:pt x="560" y="9911"/>
                      </a:cubicBezTo>
                      <a:cubicBezTo>
                        <a:pt x="496" y="9862"/>
                        <a:pt x="464" y="9830"/>
                        <a:pt x="464" y="9814"/>
                      </a:cubicBezTo>
                      <a:cubicBezTo>
                        <a:pt x="464" y="9788"/>
                        <a:pt x="485" y="9758"/>
                        <a:pt x="528" y="9723"/>
                      </a:cubicBezTo>
                      <a:cubicBezTo>
                        <a:pt x="568" y="9689"/>
                        <a:pt x="588" y="9667"/>
                        <a:pt x="588" y="9657"/>
                      </a:cubicBezTo>
                      <a:cubicBezTo>
                        <a:pt x="588" y="9641"/>
                        <a:pt x="574" y="9633"/>
                        <a:pt x="546" y="9633"/>
                      </a:cubicBezTo>
                      <a:cubicBezTo>
                        <a:pt x="515" y="9633"/>
                        <a:pt x="484" y="9656"/>
                        <a:pt x="453" y="9702"/>
                      </a:cubicBezTo>
                      <a:cubicBezTo>
                        <a:pt x="423" y="9747"/>
                        <a:pt x="385" y="9769"/>
                        <a:pt x="340" y="9769"/>
                      </a:cubicBezTo>
                      <a:cubicBezTo>
                        <a:pt x="309" y="9769"/>
                        <a:pt x="280" y="9761"/>
                        <a:pt x="252" y="9745"/>
                      </a:cubicBezTo>
                      <a:cubicBezTo>
                        <a:pt x="218" y="9724"/>
                        <a:pt x="202" y="9699"/>
                        <a:pt x="202" y="9669"/>
                      </a:cubicBezTo>
                      <a:cubicBezTo>
                        <a:pt x="202" y="9643"/>
                        <a:pt x="216" y="9618"/>
                        <a:pt x="244" y="9594"/>
                      </a:cubicBezTo>
                      <a:cubicBezTo>
                        <a:pt x="270" y="9567"/>
                        <a:pt x="283" y="9551"/>
                        <a:pt x="283" y="9545"/>
                      </a:cubicBezTo>
                      <a:cubicBezTo>
                        <a:pt x="283" y="9535"/>
                        <a:pt x="273" y="9525"/>
                        <a:pt x="252" y="9515"/>
                      </a:cubicBezTo>
                      <a:cubicBezTo>
                        <a:pt x="233" y="9507"/>
                        <a:pt x="217" y="9503"/>
                        <a:pt x="205" y="9503"/>
                      </a:cubicBezTo>
                      <a:cubicBezTo>
                        <a:pt x="111" y="9555"/>
                        <a:pt x="55" y="9582"/>
                        <a:pt x="39" y="9582"/>
                      </a:cubicBezTo>
                      <a:cubicBezTo>
                        <a:pt x="13" y="9582"/>
                        <a:pt x="0" y="9563"/>
                        <a:pt x="0" y="9527"/>
                      </a:cubicBezTo>
                      <a:cubicBezTo>
                        <a:pt x="0" y="9507"/>
                        <a:pt x="21" y="9476"/>
                        <a:pt x="64" y="9434"/>
                      </a:cubicBezTo>
                      <a:cubicBezTo>
                        <a:pt x="104" y="9393"/>
                        <a:pt x="132" y="9373"/>
                        <a:pt x="149" y="9373"/>
                      </a:cubicBezTo>
                      <a:cubicBezTo>
                        <a:pt x="165" y="9373"/>
                        <a:pt x="192" y="9383"/>
                        <a:pt x="230" y="9403"/>
                      </a:cubicBezTo>
                      <a:cubicBezTo>
                        <a:pt x="270" y="9423"/>
                        <a:pt x="312" y="9436"/>
                        <a:pt x="354" y="9440"/>
                      </a:cubicBezTo>
                      <a:cubicBezTo>
                        <a:pt x="390" y="9442"/>
                        <a:pt x="438" y="9475"/>
                        <a:pt x="500" y="9539"/>
                      </a:cubicBezTo>
                      <a:lnTo>
                        <a:pt x="595" y="9515"/>
                      </a:lnTo>
                      <a:cubicBezTo>
                        <a:pt x="609" y="9515"/>
                        <a:pt x="631" y="9520"/>
                        <a:pt x="659" y="9530"/>
                      </a:cubicBezTo>
                      <a:cubicBezTo>
                        <a:pt x="687" y="9540"/>
                        <a:pt x="707" y="9545"/>
                        <a:pt x="719" y="9545"/>
                      </a:cubicBezTo>
                      <a:cubicBezTo>
                        <a:pt x="736" y="9545"/>
                        <a:pt x="769" y="9530"/>
                        <a:pt x="818" y="9500"/>
                      </a:cubicBezTo>
                      <a:cubicBezTo>
                        <a:pt x="868" y="9468"/>
                        <a:pt x="909" y="9452"/>
                        <a:pt x="942" y="9452"/>
                      </a:cubicBezTo>
                      <a:cubicBezTo>
                        <a:pt x="968" y="9452"/>
                        <a:pt x="1075" y="9482"/>
                        <a:pt x="1261" y="9542"/>
                      </a:cubicBezTo>
                      <a:cubicBezTo>
                        <a:pt x="1445" y="9601"/>
                        <a:pt x="1553" y="9639"/>
                        <a:pt x="1584" y="9657"/>
                      </a:cubicBezTo>
                      <a:cubicBezTo>
                        <a:pt x="1619" y="9675"/>
                        <a:pt x="1698" y="9703"/>
                        <a:pt x="1821" y="9742"/>
                      </a:cubicBezTo>
                      <a:cubicBezTo>
                        <a:pt x="1930" y="9784"/>
                        <a:pt x="1984" y="9831"/>
                        <a:pt x="1984" y="9884"/>
                      </a:cubicBezTo>
                      <a:cubicBezTo>
                        <a:pt x="1984" y="9918"/>
                        <a:pt x="1958" y="9951"/>
                        <a:pt x="1906" y="9983"/>
                      </a:cubicBezTo>
                      <a:cubicBezTo>
                        <a:pt x="1852" y="10015"/>
                        <a:pt x="1824" y="10035"/>
                        <a:pt x="1824" y="10044"/>
                      </a:cubicBezTo>
                      <a:cubicBezTo>
                        <a:pt x="1824" y="10090"/>
                        <a:pt x="1848" y="10110"/>
                        <a:pt x="1895" y="10104"/>
                      </a:cubicBezTo>
                      <a:cubicBezTo>
                        <a:pt x="1954" y="10096"/>
                        <a:pt x="1991" y="10100"/>
                        <a:pt x="2005" y="10116"/>
                      </a:cubicBezTo>
                      <a:cubicBezTo>
                        <a:pt x="2012" y="10126"/>
                        <a:pt x="2022" y="10159"/>
                        <a:pt x="2034" y="10216"/>
                      </a:cubicBezTo>
                      <a:cubicBezTo>
                        <a:pt x="2041" y="10256"/>
                        <a:pt x="2056" y="10276"/>
                        <a:pt x="2080" y="10276"/>
                      </a:cubicBezTo>
                      <a:cubicBezTo>
                        <a:pt x="2103" y="10276"/>
                        <a:pt x="2115" y="10248"/>
                        <a:pt x="2115" y="10192"/>
                      </a:cubicBezTo>
                      <a:cubicBezTo>
                        <a:pt x="2115" y="10177"/>
                        <a:pt x="2111" y="10164"/>
                        <a:pt x="2104" y="10152"/>
                      </a:cubicBezTo>
                      <a:cubicBezTo>
                        <a:pt x="2097" y="10142"/>
                        <a:pt x="2094" y="10135"/>
                        <a:pt x="2094" y="10131"/>
                      </a:cubicBezTo>
                      <a:cubicBezTo>
                        <a:pt x="2094" y="10083"/>
                        <a:pt x="2163" y="10045"/>
                        <a:pt x="2303" y="10016"/>
                      </a:cubicBezTo>
                      <a:cubicBezTo>
                        <a:pt x="2400" y="9996"/>
                        <a:pt x="2489" y="9986"/>
                        <a:pt x="2572" y="9986"/>
                      </a:cubicBezTo>
                      <a:cubicBezTo>
                        <a:pt x="2676" y="9986"/>
                        <a:pt x="2855" y="10013"/>
                        <a:pt x="3110" y="10068"/>
                      </a:cubicBezTo>
                      <a:cubicBezTo>
                        <a:pt x="3328" y="10114"/>
                        <a:pt x="3468" y="10151"/>
                        <a:pt x="3532" y="10179"/>
                      </a:cubicBezTo>
                      <a:cubicBezTo>
                        <a:pt x="3558" y="10198"/>
                        <a:pt x="3578" y="10224"/>
                        <a:pt x="3592" y="10258"/>
                      </a:cubicBezTo>
                      <a:cubicBezTo>
                        <a:pt x="3602" y="10280"/>
                        <a:pt x="3619" y="10291"/>
                        <a:pt x="3645" y="10291"/>
                      </a:cubicBezTo>
                      <a:cubicBezTo>
                        <a:pt x="3648" y="10291"/>
                        <a:pt x="3740" y="10262"/>
                        <a:pt x="3922" y="10204"/>
                      </a:cubicBezTo>
                      <a:cubicBezTo>
                        <a:pt x="4115" y="10145"/>
                        <a:pt x="4242" y="10116"/>
                        <a:pt x="4301" y="10116"/>
                      </a:cubicBezTo>
                      <a:cubicBezTo>
                        <a:pt x="4343" y="10116"/>
                        <a:pt x="4368" y="10134"/>
                        <a:pt x="4375" y="10170"/>
                      </a:cubicBezTo>
                      <a:cubicBezTo>
                        <a:pt x="4382" y="10205"/>
                        <a:pt x="4402" y="10222"/>
                        <a:pt x="4435" y="10222"/>
                      </a:cubicBezTo>
                      <a:cubicBezTo>
                        <a:pt x="4461" y="10222"/>
                        <a:pt x="4496" y="10210"/>
                        <a:pt x="4538" y="10185"/>
                      </a:cubicBezTo>
                      <a:cubicBezTo>
                        <a:pt x="4578" y="10161"/>
                        <a:pt x="4619" y="10148"/>
                        <a:pt x="4659" y="10146"/>
                      </a:cubicBezTo>
                      <a:cubicBezTo>
                        <a:pt x="4725" y="10140"/>
                        <a:pt x="4794" y="10118"/>
                        <a:pt x="4868" y="10080"/>
                      </a:cubicBezTo>
                      <a:cubicBezTo>
                        <a:pt x="4991" y="10007"/>
                        <a:pt x="5087" y="9952"/>
                        <a:pt x="5158" y="9914"/>
                      </a:cubicBezTo>
                      <a:cubicBezTo>
                        <a:pt x="5283" y="9845"/>
                        <a:pt x="5365" y="9811"/>
                        <a:pt x="5403" y="9811"/>
                      </a:cubicBezTo>
                      <a:cubicBezTo>
                        <a:pt x="5414" y="9811"/>
                        <a:pt x="5478" y="9814"/>
                        <a:pt x="5594" y="9820"/>
                      </a:cubicBezTo>
                      <a:lnTo>
                        <a:pt x="5594" y="9793"/>
                      </a:lnTo>
                      <a:cubicBezTo>
                        <a:pt x="5570" y="9773"/>
                        <a:pt x="5557" y="9760"/>
                        <a:pt x="5555" y="9754"/>
                      </a:cubicBezTo>
                      <a:cubicBezTo>
                        <a:pt x="5553" y="9750"/>
                        <a:pt x="5551" y="9740"/>
                        <a:pt x="5551" y="9723"/>
                      </a:cubicBezTo>
                      <a:cubicBezTo>
                        <a:pt x="5551" y="9715"/>
                        <a:pt x="5583" y="9686"/>
                        <a:pt x="5647" y="9636"/>
                      </a:cubicBezTo>
                      <a:cubicBezTo>
                        <a:pt x="5718" y="9580"/>
                        <a:pt x="5772" y="9551"/>
                        <a:pt x="5810" y="9551"/>
                      </a:cubicBezTo>
                      <a:cubicBezTo>
                        <a:pt x="5829" y="9551"/>
                        <a:pt x="5859" y="9565"/>
                        <a:pt x="5899" y="9594"/>
                      </a:cubicBezTo>
                      <a:cubicBezTo>
                        <a:pt x="5936" y="9620"/>
                        <a:pt x="5974" y="9633"/>
                        <a:pt x="6012" y="9633"/>
                      </a:cubicBezTo>
                      <a:cubicBezTo>
                        <a:pt x="6043" y="9633"/>
                        <a:pt x="6088" y="9615"/>
                        <a:pt x="6147" y="9579"/>
                      </a:cubicBezTo>
                      <a:cubicBezTo>
                        <a:pt x="6208" y="9540"/>
                        <a:pt x="6253" y="9521"/>
                        <a:pt x="6281" y="9521"/>
                      </a:cubicBezTo>
                      <a:lnTo>
                        <a:pt x="6462" y="9521"/>
                      </a:lnTo>
                      <a:cubicBezTo>
                        <a:pt x="6554" y="9515"/>
                        <a:pt x="6600" y="9497"/>
                        <a:pt x="6600" y="9467"/>
                      </a:cubicBezTo>
                      <a:cubicBezTo>
                        <a:pt x="6600" y="9435"/>
                        <a:pt x="6483" y="9409"/>
                        <a:pt x="6249" y="9391"/>
                      </a:cubicBezTo>
                      <a:cubicBezTo>
                        <a:pt x="5975" y="9371"/>
                        <a:pt x="5802" y="9349"/>
                        <a:pt x="5729" y="9325"/>
                      </a:cubicBezTo>
                      <a:cubicBezTo>
                        <a:pt x="5691" y="9309"/>
                        <a:pt x="5661" y="9279"/>
                        <a:pt x="5640" y="9234"/>
                      </a:cubicBezTo>
                      <a:cubicBezTo>
                        <a:pt x="5623" y="9200"/>
                        <a:pt x="5615" y="9166"/>
                        <a:pt x="5615" y="9132"/>
                      </a:cubicBezTo>
                      <a:cubicBezTo>
                        <a:pt x="5615" y="9071"/>
                        <a:pt x="5651" y="9022"/>
                        <a:pt x="5722" y="8984"/>
                      </a:cubicBezTo>
                      <a:cubicBezTo>
                        <a:pt x="5816" y="8933"/>
                        <a:pt x="5879" y="8883"/>
                        <a:pt x="5909" y="8833"/>
                      </a:cubicBezTo>
                      <a:lnTo>
                        <a:pt x="5729" y="8827"/>
                      </a:lnTo>
                      <a:cubicBezTo>
                        <a:pt x="5684" y="8827"/>
                        <a:pt x="5635" y="8835"/>
                        <a:pt x="5583" y="8851"/>
                      </a:cubicBezTo>
                      <a:cubicBezTo>
                        <a:pt x="5522" y="8869"/>
                        <a:pt x="5482" y="8892"/>
                        <a:pt x="5463" y="8920"/>
                      </a:cubicBezTo>
                      <a:cubicBezTo>
                        <a:pt x="5427" y="8973"/>
                        <a:pt x="5373" y="9018"/>
                        <a:pt x="5300" y="9056"/>
                      </a:cubicBezTo>
                      <a:cubicBezTo>
                        <a:pt x="5229" y="9094"/>
                        <a:pt x="5194" y="9100"/>
                        <a:pt x="5194" y="9074"/>
                      </a:cubicBezTo>
                      <a:cubicBezTo>
                        <a:pt x="5156" y="9074"/>
                        <a:pt x="5130" y="9070"/>
                        <a:pt x="5116" y="9062"/>
                      </a:cubicBezTo>
                      <a:cubicBezTo>
                        <a:pt x="5097" y="9050"/>
                        <a:pt x="5087" y="9029"/>
                        <a:pt x="5087" y="8999"/>
                      </a:cubicBezTo>
                      <a:cubicBezTo>
                        <a:pt x="5087" y="8962"/>
                        <a:pt x="5130" y="8870"/>
                        <a:pt x="5215" y="8721"/>
                      </a:cubicBezTo>
                      <a:cubicBezTo>
                        <a:pt x="5298" y="8572"/>
                        <a:pt x="5339" y="8494"/>
                        <a:pt x="5339" y="8488"/>
                      </a:cubicBezTo>
                      <a:cubicBezTo>
                        <a:pt x="5339" y="8468"/>
                        <a:pt x="5332" y="8451"/>
                        <a:pt x="5318" y="8437"/>
                      </a:cubicBezTo>
                      <a:cubicBezTo>
                        <a:pt x="5301" y="8421"/>
                        <a:pt x="5280" y="8413"/>
                        <a:pt x="5254" y="8413"/>
                      </a:cubicBezTo>
                      <a:lnTo>
                        <a:pt x="5148" y="8425"/>
                      </a:lnTo>
                      <a:lnTo>
                        <a:pt x="5116" y="8425"/>
                      </a:lnTo>
                      <a:cubicBezTo>
                        <a:pt x="5102" y="8421"/>
                        <a:pt x="5094" y="8411"/>
                        <a:pt x="5094" y="8395"/>
                      </a:cubicBezTo>
                      <a:cubicBezTo>
                        <a:pt x="5094" y="8389"/>
                        <a:pt x="5099" y="8378"/>
                        <a:pt x="5109" y="8362"/>
                      </a:cubicBezTo>
                      <a:cubicBezTo>
                        <a:pt x="5118" y="8345"/>
                        <a:pt x="5123" y="8330"/>
                        <a:pt x="5123" y="8316"/>
                      </a:cubicBezTo>
                      <a:cubicBezTo>
                        <a:pt x="5123" y="8300"/>
                        <a:pt x="5117" y="8280"/>
                        <a:pt x="5105" y="8256"/>
                      </a:cubicBezTo>
                      <a:cubicBezTo>
                        <a:pt x="5093" y="8232"/>
                        <a:pt x="5087" y="8214"/>
                        <a:pt x="5087" y="8202"/>
                      </a:cubicBezTo>
                      <a:cubicBezTo>
                        <a:pt x="5087" y="8151"/>
                        <a:pt x="5152" y="8100"/>
                        <a:pt x="5282" y="8048"/>
                      </a:cubicBezTo>
                      <a:cubicBezTo>
                        <a:pt x="5412" y="7993"/>
                        <a:pt x="5477" y="7953"/>
                        <a:pt x="5477" y="7927"/>
                      </a:cubicBezTo>
                      <a:cubicBezTo>
                        <a:pt x="5472" y="7923"/>
                        <a:pt x="5470" y="7919"/>
                        <a:pt x="5470" y="7915"/>
                      </a:cubicBezTo>
                      <a:lnTo>
                        <a:pt x="5420" y="7915"/>
                      </a:lnTo>
                      <a:cubicBezTo>
                        <a:pt x="5413" y="7917"/>
                        <a:pt x="5355" y="7933"/>
                        <a:pt x="5247" y="7963"/>
                      </a:cubicBezTo>
                      <a:cubicBezTo>
                        <a:pt x="5150" y="7989"/>
                        <a:pt x="5080" y="8002"/>
                        <a:pt x="5038" y="8002"/>
                      </a:cubicBezTo>
                      <a:cubicBezTo>
                        <a:pt x="4991" y="8002"/>
                        <a:pt x="4946" y="7988"/>
                        <a:pt x="4903" y="7960"/>
                      </a:cubicBezTo>
                      <a:cubicBezTo>
                        <a:pt x="4896" y="7954"/>
                        <a:pt x="4881" y="7937"/>
                        <a:pt x="4857" y="7909"/>
                      </a:cubicBezTo>
                      <a:cubicBezTo>
                        <a:pt x="4838" y="7884"/>
                        <a:pt x="4823" y="7872"/>
                        <a:pt x="4811" y="7872"/>
                      </a:cubicBezTo>
                      <a:cubicBezTo>
                        <a:pt x="4731" y="7868"/>
                        <a:pt x="4673" y="7853"/>
                        <a:pt x="4637" y="7827"/>
                      </a:cubicBezTo>
                      <a:cubicBezTo>
                        <a:pt x="4602" y="7803"/>
                        <a:pt x="4583" y="7791"/>
                        <a:pt x="4581" y="7791"/>
                      </a:cubicBezTo>
                      <a:cubicBezTo>
                        <a:pt x="4496" y="7809"/>
                        <a:pt x="4446" y="7818"/>
                        <a:pt x="4432" y="7818"/>
                      </a:cubicBezTo>
                      <a:cubicBezTo>
                        <a:pt x="4394" y="7818"/>
                        <a:pt x="4343" y="7799"/>
                        <a:pt x="4280" y="7761"/>
                      </a:cubicBezTo>
                      <a:cubicBezTo>
                        <a:pt x="4211" y="7718"/>
                        <a:pt x="4177" y="7680"/>
                        <a:pt x="4177" y="7646"/>
                      </a:cubicBezTo>
                      <a:cubicBezTo>
                        <a:pt x="4177" y="7620"/>
                        <a:pt x="4195" y="7607"/>
                        <a:pt x="4230" y="7607"/>
                      </a:cubicBezTo>
                      <a:cubicBezTo>
                        <a:pt x="4254" y="7607"/>
                        <a:pt x="4280" y="7625"/>
                        <a:pt x="4308" y="7661"/>
                      </a:cubicBezTo>
                      <a:cubicBezTo>
                        <a:pt x="4336" y="7695"/>
                        <a:pt x="4354" y="7712"/>
                        <a:pt x="4361" y="7712"/>
                      </a:cubicBezTo>
                      <a:lnTo>
                        <a:pt x="4446" y="7700"/>
                      </a:lnTo>
                      <a:cubicBezTo>
                        <a:pt x="4458" y="7700"/>
                        <a:pt x="4471" y="7703"/>
                        <a:pt x="4485" y="7709"/>
                      </a:cubicBezTo>
                      <a:cubicBezTo>
                        <a:pt x="4497" y="7715"/>
                        <a:pt x="4510" y="7718"/>
                        <a:pt x="4524" y="7718"/>
                      </a:cubicBezTo>
                      <a:cubicBezTo>
                        <a:pt x="4533" y="7718"/>
                        <a:pt x="4556" y="7682"/>
                        <a:pt x="4591" y="7610"/>
                      </a:cubicBezTo>
                      <a:cubicBezTo>
                        <a:pt x="4627" y="7537"/>
                        <a:pt x="4682" y="7501"/>
                        <a:pt x="4758" y="7501"/>
                      </a:cubicBezTo>
                      <a:cubicBezTo>
                        <a:pt x="4791" y="7501"/>
                        <a:pt x="4817" y="7508"/>
                        <a:pt x="4836" y="7522"/>
                      </a:cubicBezTo>
                      <a:cubicBezTo>
                        <a:pt x="4829" y="7472"/>
                        <a:pt x="4816" y="7444"/>
                        <a:pt x="4797" y="7438"/>
                      </a:cubicBezTo>
                      <a:cubicBezTo>
                        <a:pt x="4773" y="7434"/>
                        <a:pt x="4755" y="7430"/>
                        <a:pt x="4744" y="7428"/>
                      </a:cubicBezTo>
                      <a:cubicBezTo>
                        <a:pt x="4725" y="7426"/>
                        <a:pt x="4715" y="7417"/>
                        <a:pt x="4715" y="7401"/>
                      </a:cubicBezTo>
                      <a:cubicBezTo>
                        <a:pt x="4715" y="7383"/>
                        <a:pt x="4733" y="7351"/>
                        <a:pt x="4769" y="7305"/>
                      </a:cubicBezTo>
                      <a:cubicBezTo>
                        <a:pt x="4806" y="7258"/>
                        <a:pt x="4839" y="7232"/>
                        <a:pt x="4868" y="7226"/>
                      </a:cubicBezTo>
                      <a:cubicBezTo>
                        <a:pt x="4913" y="7214"/>
                        <a:pt x="4998" y="7212"/>
                        <a:pt x="5123" y="7220"/>
                      </a:cubicBezTo>
                      <a:cubicBezTo>
                        <a:pt x="5208" y="7220"/>
                        <a:pt x="5274" y="7180"/>
                        <a:pt x="5321" y="7099"/>
                      </a:cubicBezTo>
                      <a:cubicBezTo>
                        <a:pt x="5425" y="6918"/>
                        <a:pt x="5495" y="6805"/>
                        <a:pt x="5530" y="6761"/>
                      </a:cubicBezTo>
                      <a:cubicBezTo>
                        <a:pt x="5651" y="6610"/>
                        <a:pt x="5720" y="6525"/>
                        <a:pt x="5739" y="6504"/>
                      </a:cubicBezTo>
                      <a:cubicBezTo>
                        <a:pt x="5796" y="6452"/>
                        <a:pt x="5860" y="6425"/>
                        <a:pt x="5931" y="6423"/>
                      </a:cubicBezTo>
                      <a:lnTo>
                        <a:pt x="5931" y="6426"/>
                      </a:lnTo>
                      <a:lnTo>
                        <a:pt x="5934" y="6426"/>
                      </a:lnTo>
                      <a:cubicBezTo>
                        <a:pt x="5941" y="6430"/>
                        <a:pt x="6032" y="6435"/>
                        <a:pt x="6207" y="6441"/>
                      </a:cubicBezTo>
                      <a:cubicBezTo>
                        <a:pt x="6299" y="6443"/>
                        <a:pt x="6391" y="6445"/>
                        <a:pt x="6483" y="6447"/>
                      </a:cubicBezTo>
                      <a:cubicBezTo>
                        <a:pt x="6516" y="6447"/>
                        <a:pt x="6546" y="6443"/>
                        <a:pt x="6572" y="6435"/>
                      </a:cubicBezTo>
                      <a:cubicBezTo>
                        <a:pt x="6600" y="6425"/>
                        <a:pt x="6614" y="6414"/>
                        <a:pt x="6614" y="6402"/>
                      </a:cubicBezTo>
                      <a:cubicBezTo>
                        <a:pt x="6614" y="6366"/>
                        <a:pt x="6561" y="6328"/>
                        <a:pt x="6455" y="6290"/>
                      </a:cubicBezTo>
                      <a:cubicBezTo>
                        <a:pt x="6363" y="6258"/>
                        <a:pt x="6293" y="6242"/>
                        <a:pt x="6246" y="6242"/>
                      </a:cubicBezTo>
                      <a:cubicBezTo>
                        <a:pt x="6062" y="6242"/>
                        <a:pt x="5907" y="6286"/>
                        <a:pt x="5782" y="6375"/>
                      </a:cubicBezTo>
                      <a:cubicBezTo>
                        <a:pt x="5720" y="6419"/>
                        <a:pt x="5662" y="6463"/>
                        <a:pt x="5608" y="6507"/>
                      </a:cubicBezTo>
                      <a:cubicBezTo>
                        <a:pt x="5599" y="6507"/>
                        <a:pt x="5586" y="6503"/>
                        <a:pt x="5569" y="6495"/>
                      </a:cubicBezTo>
                      <a:cubicBezTo>
                        <a:pt x="5553" y="6487"/>
                        <a:pt x="5540" y="6483"/>
                        <a:pt x="5530" y="6483"/>
                      </a:cubicBezTo>
                      <a:cubicBezTo>
                        <a:pt x="5528" y="6483"/>
                        <a:pt x="5502" y="6493"/>
                        <a:pt x="5452" y="6514"/>
                      </a:cubicBezTo>
                      <a:cubicBezTo>
                        <a:pt x="5403" y="6532"/>
                        <a:pt x="5354" y="6541"/>
                        <a:pt x="5307" y="6541"/>
                      </a:cubicBezTo>
                      <a:cubicBezTo>
                        <a:pt x="5043" y="6541"/>
                        <a:pt x="4896" y="6520"/>
                        <a:pt x="4868" y="6477"/>
                      </a:cubicBezTo>
                      <a:cubicBezTo>
                        <a:pt x="4861" y="6467"/>
                        <a:pt x="4851" y="6437"/>
                        <a:pt x="4839" y="6387"/>
                      </a:cubicBezTo>
                      <a:cubicBezTo>
                        <a:pt x="4825" y="6326"/>
                        <a:pt x="4816" y="6290"/>
                        <a:pt x="4811" y="6278"/>
                      </a:cubicBezTo>
                      <a:cubicBezTo>
                        <a:pt x="4802" y="6252"/>
                        <a:pt x="4783" y="6216"/>
                        <a:pt x="4754" y="6169"/>
                      </a:cubicBezTo>
                      <a:cubicBezTo>
                        <a:pt x="4738" y="6143"/>
                        <a:pt x="4730" y="6113"/>
                        <a:pt x="4730" y="6079"/>
                      </a:cubicBezTo>
                      <a:cubicBezTo>
                        <a:pt x="4730" y="6044"/>
                        <a:pt x="4743" y="6018"/>
                        <a:pt x="4769" y="6000"/>
                      </a:cubicBezTo>
                      <a:cubicBezTo>
                        <a:pt x="4785" y="5988"/>
                        <a:pt x="4802" y="5982"/>
                        <a:pt x="4818" y="5982"/>
                      </a:cubicBezTo>
                      <a:cubicBezTo>
                        <a:pt x="4856" y="5982"/>
                        <a:pt x="4884" y="5991"/>
                        <a:pt x="4903" y="6009"/>
                      </a:cubicBezTo>
                      <a:cubicBezTo>
                        <a:pt x="4929" y="6035"/>
                        <a:pt x="4961" y="6056"/>
                        <a:pt x="4999" y="6070"/>
                      </a:cubicBezTo>
                      <a:cubicBezTo>
                        <a:pt x="5008" y="6049"/>
                        <a:pt x="5013" y="6036"/>
                        <a:pt x="5013" y="6030"/>
                      </a:cubicBezTo>
                      <a:cubicBezTo>
                        <a:pt x="5013" y="6022"/>
                        <a:pt x="5007" y="6010"/>
                        <a:pt x="4995" y="5994"/>
                      </a:cubicBezTo>
                      <a:cubicBezTo>
                        <a:pt x="4983" y="5978"/>
                        <a:pt x="4978" y="5967"/>
                        <a:pt x="4978" y="5961"/>
                      </a:cubicBezTo>
                      <a:cubicBezTo>
                        <a:pt x="5037" y="5931"/>
                        <a:pt x="5066" y="5914"/>
                        <a:pt x="5066" y="5910"/>
                      </a:cubicBezTo>
                      <a:cubicBezTo>
                        <a:pt x="5066" y="5869"/>
                        <a:pt x="5033" y="5841"/>
                        <a:pt x="4967" y="5825"/>
                      </a:cubicBezTo>
                      <a:cubicBezTo>
                        <a:pt x="4901" y="5809"/>
                        <a:pt x="4868" y="5787"/>
                        <a:pt x="4868" y="5759"/>
                      </a:cubicBezTo>
                      <a:cubicBezTo>
                        <a:pt x="4868" y="5730"/>
                        <a:pt x="4921" y="5687"/>
                        <a:pt x="5027" y="5629"/>
                      </a:cubicBezTo>
                      <a:cubicBezTo>
                        <a:pt x="5124" y="5574"/>
                        <a:pt x="5183" y="5547"/>
                        <a:pt x="5204" y="5547"/>
                      </a:cubicBezTo>
                      <a:cubicBezTo>
                        <a:pt x="5254" y="5545"/>
                        <a:pt x="5314" y="5537"/>
                        <a:pt x="5385" y="5523"/>
                      </a:cubicBezTo>
                      <a:cubicBezTo>
                        <a:pt x="5451" y="5511"/>
                        <a:pt x="5500" y="5505"/>
                        <a:pt x="5530" y="5505"/>
                      </a:cubicBezTo>
                      <a:cubicBezTo>
                        <a:pt x="5611" y="5505"/>
                        <a:pt x="5670" y="5524"/>
                        <a:pt x="5707" y="5562"/>
                      </a:cubicBezTo>
                      <a:cubicBezTo>
                        <a:pt x="5743" y="5599"/>
                        <a:pt x="5789" y="5617"/>
                        <a:pt x="5846" y="5617"/>
                      </a:cubicBezTo>
                      <a:cubicBezTo>
                        <a:pt x="5881" y="5617"/>
                        <a:pt x="5914" y="5606"/>
                        <a:pt x="5945" y="5583"/>
                      </a:cubicBezTo>
                      <a:cubicBezTo>
                        <a:pt x="5973" y="5561"/>
                        <a:pt x="5987" y="5538"/>
                        <a:pt x="5987" y="5514"/>
                      </a:cubicBezTo>
                      <a:cubicBezTo>
                        <a:pt x="5987" y="5480"/>
                        <a:pt x="5949" y="5443"/>
                        <a:pt x="5874" y="5405"/>
                      </a:cubicBezTo>
                      <a:cubicBezTo>
                        <a:pt x="5796" y="5367"/>
                        <a:pt x="5757" y="5326"/>
                        <a:pt x="5757" y="5281"/>
                      </a:cubicBezTo>
                      <a:cubicBezTo>
                        <a:pt x="5757" y="5275"/>
                        <a:pt x="5762" y="5266"/>
                        <a:pt x="5771" y="5254"/>
                      </a:cubicBezTo>
                      <a:cubicBezTo>
                        <a:pt x="5781" y="5240"/>
                        <a:pt x="5785" y="5231"/>
                        <a:pt x="5785" y="5227"/>
                      </a:cubicBezTo>
                      <a:cubicBezTo>
                        <a:pt x="5785" y="5223"/>
                        <a:pt x="5772" y="5207"/>
                        <a:pt x="5746" y="5179"/>
                      </a:cubicBezTo>
                      <a:cubicBezTo>
                        <a:pt x="5718" y="5149"/>
                        <a:pt x="5704" y="5129"/>
                        <a:pt x="5704" y="5121"/>
                      </a:cubicBezTo>
                      <a:cubicBezTo>
                        <a:pt x="5704" y="5095"/>
                        <a:pt x="5722" y="5082"/>
                        <a:pt x="5757" y="5082"/>
                      </a:cubicBezTo>
                      <a:lnTo>
                        <a:pt x="5853" y="5094"/>
                      </a:lnTo>
                      <a:cubicBezTo>
                        <a:pt x="5895" y="5094"/>
                        <a:pt x="5916" y="5082"/>
                        <a:pt x="5916" y="5058"/>
                      </a:cubicBezTo>
                      <a:cubicBezTo>
                        <a:pt x="5916" y="5040"/>
                        <a:pt x="5899" y="5023"/>
                        <a:pt x="5863" y="5007"/>
                      </a:cubicBezTo>
                      <a:cubicBezTo>
                        <a:pt x="5825" y="4993"/>
                        <a:pt x="5807" y="4978"/>
                        <a:pt x="5807" y="4964"/>
                      </a:cubicBezTo>
                      <a:cubicBezTo>
                        <a:pt x="5807" y="4950"/>
                        <a:pt x="5820" y="4937"/>
                        <a:pt x="5846" y="4925"/>
                      </a:cubicBezTo>
                      <a:cubicBezTo>
                        <a:pt x="5869" y="4913"/>
                        <a:pt x="5881" y="4899"/>
                        <a:pt x="5881" y="4883"/>
                      </a:cubicBezTo>
                      <a:cubicBezTo>
                        <a:pt x="5881" y="4867"/>
                        <a:pt x="5842" y="4858"/>
                        <a:pt x="5764" y="4856"/>
                      </a:cubicBezTo>
                      <a:cubicBezTo>
                        <a:pt x="5686" y="4854"/>
                        <a:pt x="5647" y="4840"/>
                        <a:pt x="5647" y="4813"/>
                      </a:cubicBezTo>
                      <a:cubicBezTo>
                        <a:pt x="5647" y="4785"/>
                        <a:pt x="5711" y="4731"/>
                        <a:pt x="5838" y="4650"/>
                      </a:cubicBezTo>
                      <a:cubicBezTo>
                        <a:pt x="5964" y="4570"/>
                        <a:pt x="6026" y="4527"/>
                        <a:pt x="6026" y="4521"/>
                      </a:cubicBezTo>
                      <a:cubicBezTo>
                        <a:pt x="6026" y="4504"/>
                        <a:pt x="6001" y="4483"/>
                        <a:pt x="5952" y="4457"/>
                      </a:cubicBezTo>
                      <a:cubicBezTo>
                        <a:pt x="5900" y="4429"/>
                        <a:pt x="5874" y="4390"/>
                        <a:pt x="5874" y="4339"/>
                      </a:cubicBezTo>
                      <a:cubicBezTo>
                        <a:pt x="5874" y="4325"/>
                        <a:pt x="5886" y="4309"/>
                        <a:pt x="5909" y="4291"/>
                      </a:cubicBezTo>
                      <a:cubicBezTo>
                        <a:pt x="5931" y="4273"/>
                        <a:pt x="5948" y="4264"/>
                        <a:pt x="5962" y="4264"/>
                      </a:cubicBezTo>
                      <a:cubicBezTo>
                        <a:pt x="5981" y="4264"/>
                        <a:pt x="6027" y="4294"/>
                        <a:pt x="6101" y="4354"/>
                      </a:cubicBezTo>
                      <a:cubicBezTo>
                        <a:pt x="6174" y="4415"/>
                        <a:pt x="6236" y="4445"/>
                        <a:pt x="6288" y="4445"/>
                      </a:cubicBezTo>
                      <a:cubicBezTo>
                        <a:pt x="6331" y="4445"/>
                        <a:pt x="6352" y="4420"/>
                        <a:pt x="6352" y="4370"/>
                      </a:cubicBezTo>
                      <a:cubicBezTo>
                        <a:pt x="6352" y="4319"/>
                        <a:pt x="6290" y="4268"/>
                        <a:pt x="6164" y="4215"/>
                      </a:cubicBezTo>
                      <a:cubicBezTo>
                        <a:pt x="6037" y="4165"/>
                        <a:pt x="5973" y="4125"/>
                        <a:pt x="5973" y="4095"/>
                      </a:cubicBezTo>
                      <a:cubicBezTo>
                        <a:pt x="5973" y="4083"/>
                        <a:pt x="5978" y="4072"/>
                        <a:pt x="5987" y="4061"/>
                      </a:cubicBezTo>
                      <a:cubicBezTo>
                        <a:pt x="5997" y="4049"/>
                        <a:pt x="6008" y="4043"/>
                        <a:pt x="6023" y="4043"/>
                      </a:cubicBezTo>
                      <a:cubicBezTo>
                        <a:pt x="6046" y="4043"/>
                        <a:pt x="6075" y="4052"/>
                        <a:pt x="6108" y="4071"/>
                      </a:cubicBezTo>
                      <a:cubicBezTo>
                        <a:pt x="6141" y="4089"/>
                        <a:pt x="6161" y="4098"/>
                        <a:pt x="6168" y="4098"/>
                      </a:cubicBezTo>
                      <a:cubicBezTo>
                        <a:pt x="6199" y="4098"/>
                        <a:pt x="6215" y="4075"/>
                        <a:pt x="6217" y="4028"/>
                      </a:cubicBezTo>
                      <a:cubicBezTo>
                        <a:pt x="6217" y="3980"/>
                        <a:pt x="6234" y="3956"/>
                        <a:pt x="6267" y="3956"/>
                      </a:cubicBezTo>
                      <a:cubicBezTo>
                        <a:pt x="6310" y="3956"/>
                        <a:pt x="6346" y="3974"/>
                        <a:pt x="6377" y="4010"/>
                      </a:cubicBezTo>
                      <a:cubicBezTo>
                        <a:pt x="6408" y="4044"/>
                        <a:pt x="6443" y="4061"/>
                        <a:pt x="6483" y="4061"/>
                      </a:cubicBezTo>
                      <a:cubicBezTo>
                        <a:pt x="6488" y="4061"/>
                        <a:pt x="6491" y="4061"/>
                        <a:pt x="6494" y="4061"/>
                      </a:cubicBezTo>
                      <a:cubicBezTo>
                        <a:pt x="6501" y="4053"/>
                        <a:pt x="6509" y="4047"/>
                        <a:pt x="6519" y="4043"/>
                      </a:cubicBezTo>
                      <a:cubicBezTo>
                        <a:pt x="6573" y="4005"/>
                        <a:pt x="6670" y="3970"/>
                        <a:pt x="6809" y="3938"/>
                      </a:cubicBezTo>
                      <a:cubicBezTo>
                        <a:pt x="6948" y="3905"/>
                        <a:pt x="7075" y="3889"/>
                        <a:pt x="7188" y="3889"/>
                      </a:cubicBezTo>
                      <a:cubicBezTo>
                        <a:pt x="7228" y="3889"/>
                        <a:pt x="7269" y="3894"/>
                        <a:pt x="7309" y="3904"/>
                      </a:cubicBezTo>
                      <a:cubicBezTo>
                        <a:pt x="7363" y="3917"/>
                        <a:pt x="7401" y="3936"/>
                        <a:pt x="7422" y="3962"/>
                      </a:cubicBezTo>
                      <a:cubicBezTo>
                        <a:pt x="7446" y="3988"/>
                        <a:pt x="7466" y="4005"/>
                        <a:pt x="7482" y="4013"/>
                      </a:cubicBezTo>
                      <a:cubicBezTo>
                        <a:pt x="7501" y="4021"/>
                        <a:pt x="7532" y="4025"/>
                        <a:pt x="7574" y="4025"/>
                      </a:cubicBezTo>
                      <a:cubicBezTo>
                        <a:pt x="7652" y="4023"/>
                        <a:pt x="7714" y="4044"/>
                        <a:pt x="7759" y="4089"/>
                      </a:cubicBezTo>
                      <a:cubicBezTo>
                        <a:pt x="7785" y="4115"/>
                        <a:pt x="7820" y="4172"/>
                        <a:pt x="7865" y="4261"/>
                      </a:cubicBezTo>
                      <a:cubicBezTo>
                        <a:pt x="7903" y="4225"/>
                        <a:pt x="7931" y="4197"/>
                        <a:pt x="7950" y="4179"/>
                      </a:cubicBezTo>
                      <a:cubicBezTo>
                        <a:pt x="7988" y="4147"/>
                        <a:pt x="8018" y="4131"/>
                        <a:pt x="8042" y="4131"/>
                      </a:cubicBezTo>
                      <a:cubicBezTo>
                        <a:pt x="8063" y="4131"/>
                        <a:pt x="8118" y="4159"/>
                        <a:pt x="8205" y="4215"/>
                      </a:cubicBezTo>
                      <a:cubicBezTo>
                        <a:pt x="8212" y="4218"/>
                        <a:pt x="8243" y="4223"/>
                        <a:pt x="8297" y="4231"/>
                      </a:cubicBezTo>
                      <a:cubicBezTo>
                        <a:pt x="8332" y="4237"/>
                        <a:pt x="8357" y="4245"/>
                        <a:pt x="8371" y="4255"/>
                      </a:cubicBezTo>
                      <a:cubicBezTo>
                        <a:pt x="8386" y="4263"/>
                        <a:pt x="8393" y="4284"/>
                        <a:pt x="8393" y="4318"/>
                      </a:cubicBezTo>
                      <a:cubicBezTo>
                        <a:pt x="8393" y="4356"/>
                        <a:pt x="8399" y="4385"/>
                        <a:pt x="8410" y="4403"/>
                      </a:cubicBezTo>
                      <a:cubicBezTo>
                        <a:pt x="8444" y="4453"/>
                        <a:pt x="8464" y="4481"/>
                        <a:pt x="8471" y="4487"/>
                      </a:cubicBezTo>
                      <a:cubicBezTo>
                        <a:pt x="8485" y="4497"/>
                        <a:pt x="8516" y="4502"/>
                        <a:pt x="8563" y="4502"/>
                      </a:cubicBezTo>
                      <a:cubicBezTo>
                        <a:pt x="8565" y="4502"/>
                        <a:pt x="8699" y="4491"/>
                        <a:pt x="8963" y="4469"/>
                      </a:cubicBezTo>
                      <a:cubicBezTo>
                        <a:pt x="9020" y="4469"/>
                        <a:pt x="9073" y="4478"/>
                        <a:pt x="9123" y="4496"/>
                      </a:cubicBezTo>
                      <a:cubicBezTo>
                        <a:pt x="9170" y="4514"/>
                        <a:pt x="9193" y="4533"/>
                        <a:pt x="9193" y="4551"/>
                      </a:cubicBezTo>
                      <a:cubicBezTo>
                        <a:pt x="9193" y="4569"/>
                        <a:pt x="9183" y="4583"/>
                        <a:pt x="9161" y="4593"/>
                      </a:cubicBezTo>
                      <a:cubicBezTo>
                        <a:pt x="9145" y="4599"/>
                        <a:pt x="9130" y="4602"/>
                        <a:pt x="9115" y="4602"/>
                      </a:cubicBezTo>
                      <a:cubicBezTo>
                        <a:pt x="9257" y="4731"/>
                        <a:pt x="9354" y="4809"/>
                        <a:pt x="9406" y="4838"/>
                      </a:cubicBezTo>
                      <a:cubicBezTo>
                        <a:pt x="9479" y="4878"/>
                        <a:pt x="9578" y="4898"/>
                        <a:pt x="9704" y="4898"/>
                      </a:cubicBezTo>
                      <a:cubicBezTo>
                        <a:pt x="9848" y="4898"/>
                        <a:pt x="10002" y="4832"/>
                        <a:pt x="10168" y="4699"/>
                      </a:cubicBezTo>
                      <a:cubicBezTo>
                        <a:pt x="10333" y="4566"/>
                        <a:pt x="10416" y="4442"/>
                        <a:pt x="10416" y="4327"/>
                      </a:cubicBezTo>
                      <a:cubicBezTo>
                        <a:pt x="10416" y="4315"/>
                        <a:pt x="10411" y="4297"/>
                        <a:pt x="10401" y="4273"/>
                      </a:cubicBezTo>
                      <a:cubicBezTo>
                        <a:pt x="10392" y="4249"/>
                        <a:pt x="10387" y="4230"/>
                        <a:pt x="10387" y="4215"/>
                      </a:cubicBezTo>
                      <a:cubicBezTo>
                        <a:pt x="10387" y="4195"/>
                        <a:pt x="10397" y="4177"/>
                        <a:pt x="10416" y="4161"/>
                      </a:cubicBezTo>
                      <a:cubicBezTo>
                        <a:pt x="10434" y="4145"/>
                        <a:pt x="10455" y="4137"/>
                        <a:pt x="10476" y="4137"/>
                      </a:cubicBezTo>
                      <a:cubicBezTo>
                        <a:pt x="10511" y="4137"/>
                        <a:pt x="10534" y="4170"/>
                        <a:pt x="10543" y="4237"/>
                      </a:cubicBezTo>
                      <a:cubicBezTo>
                        <a:pt x="10550" y="4301"/>
                        <a:pt x="10615" y="4333"/>
                        <a:pt x="10738" y="4333"/>
                      </a:cubicBezTo>
                      <a:cubicBezTo>
                        <a:pt x="10809" y="4333"/>
                        <a:pt x="10876" y="4307"/>
                        <a:pt x="10940" y="4255"/>
                      </a:cubicBezTo>
                      <a:cubicBezTo>
                        <a:pt x="10997" y="4208"/>
                        <a:pt x="11025" y="4170"/>
                        <a:pt x="11025" y="4140"/>
                      </a:cubicBezTo>
                      <a:cubicBezTo>
                        <a:pt x="11025" y="4057"/>
                        <a:pt x="10977" y="4015"/>
                        <a:pt x="10880" y="4013"/>
                      </a:cubicBezTo>
                      <a:cubicBezTo>
                        <a:pt x="10785" y="4011"/>
                        <a:pt x="10739" y="3970"/>
                        <a:pt x="10742" y="3889"/>
                      </a:cubicBezTo>
                      <a:cubicBezTo>
                        <a:pt x="10742" y="3859"/>
                        <a:pt x="10720" y="3844"/>
                        <a:pt x="10678" y="3844"/>
                      </a:cubicBezTo>
                      <a:cubicBezTo>
                        <a:pt x="10616" y="3842"/>
                        <a:pt x="10580" y="3838"/>
                        <a:pt x="10568" y="3832"/>
                      </a:cubicBezTo>
                      <a:cubicBezTo>
                        <a:pt x="10544" y="3818"/>
                        <a:pt x="10510" y="3803"/>
                        <a:pt x="10465" y="3787"/>
                      </a:cubicBezTo>
                      <a:cubicBezTo>
                        <a:pt x="10406" y="3763"/>
                        <a:pt x="10365" y="3750"/>
                        <a:pt x="10341" y="3750"/>
                      </a:cubicBezTo>
                      <a:cubicBezTo>
                        <a:pt x="10310" y="3750"/>
                        <a:pt x="10240" y="3764"/>
                        <a:pt x="10129" y="3790"/>
                      </a:cubicBezTo>
                      <a:cubicBezTo>
                        <a:pt x="10020" y="3814"/>
                        <a:pt x="9953" y="3826"/>
                        <a:pt x="9927" y="3826"/>
                      </a:cubicBezTo>
                      <a:cubicBezTo>
                        <a:pt x="9894" y="3826"/>
                        <a:pt x="9877" y="3819"/>
                        <a:pt x="9877" y="3805"/>
                      </a:cubicBezTo>
                      <a:cubicBezTo>
                        <a:pt x="9889" y="3795"/>
                        <a:pt x="9898" y="3781"/>
                        <a:pt x="9905" y="3763"/>
                      </a:cubicBezTo>
                      <a:cubicBezTo>
                        <a:pt x="9908" y="3759"/>
                        <a:pt x="9911" y="3755"/>
                        <a:pt x="9916" y="3753"/>
                      </a:cubicBezTo>
                      <a:cubicBezTo>
                        <a:pt x="9963" y="3709"/>
                        <a:pt x="10006" y="3667"/>
                        <a:pt x="10044" y="3627"/>
                      </a:cubicBezTo>
                      <a:cubicBezTo>
                        <a:pt x="10126" y="3544"/>
                        <a:pt x="10168" y="3480"/>
                        <a:pt x="10168" y="3433"/>
                      </a:cubicBezTo>
                      <a:cubicBezTo>
                        <a:pt x="10168" y="3423"/>
                        <a:pt x="10161" y="3410"/>
                        <a:pt x="10146" y="3394"/>
                      </a:cubicBezTo>
                      <a:cubicBezTo>
                        <a:pt x="10130" y="3376"/>
                        <a:pt x="10117" y="3367"/>
                        <a:pt x="10107" y="3367"/>
                      </a:cubicBezTo>
                      <a:cubicBezTo>
                        <a:pt x="10070" y="3367"/>
                        <a:pt x="10055" y="3404"/>
                        <a:pt x="10065" y="3479"/>
                      </a:cubicBezTo>
                      <a:cubicBezTo>
                        <a:pt x="10074" y="3553"/>
                        <a:pt x="10041" y="3590"/>
                        <a:pt x="9966" y="3590"/>
                      </a:cubicBezTo>
                      <a:cubicBezTo>
                        <a:pt x="9954" y="3590"/>
                        <a:pt x="9943" y="3584"/>
                        <a:pt x="9934" y="3572"/>
                      </a:cubicBezTo>
                      <a:cubicBezTo>
                        <a:pt x="9924" y="3560"/>
                        <a:pt x="9920" y="3550"/>
                        <a:pt x="9920" y="3542"/>
                      </a:cubicBezTo>
                      <a:cubicBezTo>
                        <a:pt x="9920" y="3524"/>
                        <a:pt x="9931" y="3495"/>
                        <a:pt x="9955" y="3455"/>
                      </a:cubicBezTo>
                      <a:cubicBezTo>
                        <a:pt x="9976" y="3414"/>
                        <a:pt x="9987" y="3384"/>
                        <a:pt x="9987" y="3364"/>
                      </a:cubicBezTo>
                      <a:cubicBezTo>
                        <a:pt x="9987" y="3318"/>
                        <a:pt x="9960" y="3258"/>
                        <a:pt x="9905" y="3186"/>
                      </a:cubicBezTo>
                      <a:cubicBezTo>
                        <a:pt x="9861" y="3125"/>
                        <a:pt x="9824" y="3086"/>
                        <a:pt x="9796" y="3068"/>
                      </a:cubicBezTo>
                      <a:cubicBezTo>
                        <a:pt x="9777" y="3058"/>
                        <a:pt x="9730" y="3040"/>
                        <a:pt x="9654" y="3014"/>
                      </a:cubicBezTo>
                      <a:cubicBezTo>
                        <a:pt x="9593" y="2994"/>
                        <a:pt x="9552" y="2970"/>
                        <a:pt x="9533" y="2944"/>
                      </a:cubicBezTo>
                      <a:cubicBezTo>
                        <a:pt x="9515" y="2920"/>
                        <a:pt x="9497" y="2872"/>
                        <a:pt x="9480" y="2799"/>
                      </a:cubicBezTo>
                      <a:cubicBezTo>
                        <a:pt x="9466" y="2733"/>
                        <a:pt x="9446" y="2688"/>
                        <a:pt x="9420" y="2663"/>
                      </a:cubicBezTo>
                      <a:cubicBezTo>
                        <a:pt x="9392" y="2635"/>
                        <a:pt x="9367" y="2587"/>
                        <a:pt x="9346" y="2518"/>
                      </a:cubicBezTo>
                      <a:cubicBezTo>
                        <a:pt x="9327" y="2456"/>
                        <a:pt x="9317" y="2402"/>
                        <a:pt x="9317" y="2355"/>
                      </a:cubicBezTo>
                      <a:cubicBezTo>
                        <a:pt x="9317" y="2279"/>
                        <a:pt x="9340" y="2217"/>
                        <a:pt x="9385" y="2171"/>
                      </a:cubicBezTo>
                      <a:cubicBezTo>
                        <a:pt x="9415" y="2139"/>
                        <a:pt x="9476" y="2099"/>
                        <a:pt x="9565" y="2050"/>
                      </a:cubicBezTo>
                      <a:cubicBezTo>
                        <a:pt x="9580" y="2042"/>
                        <a:pt x="9634" y="1986"/>
                        <a:pt x="9728" y="1881"/>
                      </a:cubicBezTo>
                      <a:cubicBezTo>
                        <a:pt x="9820" y="1781"/>
                        <a:pt x="9870" y="1730"/>
                        <a:pt x="9877" y="1730"/>
                      </a:cubicBezTo>
                      <a:cubicBezTo>
                        <a:pt x="9884" y="1730"/>
                        <a:pt x="9891" y="1736"/>
                        <a:pt x="9898" y="1748"/>
                      </a:cubicBezTo>
                      <a:cubicBezTo>
                        <a:pt x="9903" y="1758"/>
                        <a:pt x="9905" y="1767"/>
                        <a:pt x="9905" y="1773"/>
                      </a:cubicBezTo>
                      <a:lnTo>
                        <a:pt x="9891" y="1836"/>
                      </a:lnTo>
                      <a:lnTo>
                        <a:pt x="10129" y="1984"/>
                      </a:lnTo>
                      <a:cubicBezTo>
                        <a:pt x="10143" y="1984"/>
                        <a:pt x="10153" y="1962"/>
                        <a:pt x="10161" y="1917"/>
                      </a:cubicBezTo>
                      <a:cubicBezTo>
                        <a:pt x="10161" y="1811"/>
                        <a:pt x="10125" y="1748"/>
                        <a:pt x="10054" y="1730"/>
                      </a:cubicBezTo>
                      <a:cubicBezTo>
                        <a:pt x="9983" y="1712"/>
                        <a:pt x="9948" y="1643"/>
                        <a:pt x="9948" y="1522"/>
                      </a:cubicBezTo>
                      <a:cubicBezTo>
                        <a:pt x="9948" y="1449"/>
                        <a:pt x="9961" y="1364"/>
                        <a:pt x="9987" y="1265"/>
                      </a:cubicBezTo>
                      <a:cubicBezTo>
                        <a:pt x="10018" y="1144"/>
                        <a:pt x="10054" y="1084"/>
                        <a:pt x="10097" y="1084"/>
                      </a:cubicBezTo>
                      <a:cubicBezTo>
                        <a:pt x="10137" y="1084"/>
                        <a:pt x="10184" y="1111"/>
                        <a:pt x="10238" y="1166"/>
                      </a:cubicBezTo>
                      <a:cubicBezTo>
                        <a:pt x="10293" y="1220"/>
                        <a:pt x="10329" y="1247"/>
                        <a:pt x="10348" y="1247"/>
                      </a:cubicBezTo>
                      <a:cubicBezTo>
                        <a:pt x="10365" y="1247"/>
                        <a:pt x="10407" y="1228"/>
                        <a:pt x="10476" y="1190"/>
                      </a:cubicBezTo>
                      <a:cubicBezTo>
                        <a:pt x="10502" y="1190"/>
                        <a:pt x="10529" y="1210"/>
                        <a:pt x="10557" y="1250"/>
                      </a:cubicBezTo>
                      <a:cubicBezTo>
                        <a:pt x="10588" y="1298"/>
                        <a:pt x="10610" y="1326"/>
                        <a:pt x="10625" y="1332"/>
                      </a:cubicBezTo>
                      <a:cubicBezTo>
                        <a:pt x="10655" y="1346"/>
                        <a:pt x="10706" y="1362"/>
                        <a:pt x="10777" y="1380"/>
                      </a:cubicBezTo>
                      <a:cubicBezTo>
                        <a:pt x="10845" y="1396"/>
                        <a:pt x="10904" y="1407"/>
                        <a:pt x="10954" y="1413"/>
                      </a:cubicBezTo>
                      <a:cubicBezTo>
                        <a:pt x="11030" y="1421"/>
                        <a:pt x="11079" y="1479"/>
                        <a:pt x="11103" y="1585"/>
                      </a:cubicBezTo>
                      <a:cubicBezTo>
                        <a:pt x="11124" y="1686"/>
                        <a:pt x="11161" y="1736"/>
                        <a:pt x="11213" y="1736"/>
                      </a:cubicBezTo>
                      <a:cubicBezTo>
                        <a:pt x="11225" y="1736"/>
                        <a:pt x="11236" y="1709"/>
                        <a:pt x="11248" y="1655"/>
                      </a:cubicBezTo>
                      <a:cubicBezTo>
                        <a:pt x="11258" y="1600"/>
                        <a:pt x="11306" y="1573"/>
                        <a:pt x="11393" y="1573"/>
                      </a:cubicBezTo>
                      <a:cubicBezTo>
                        <a:pt x="11455" y="1573"/>
                        <a:pt x="11527" y="1603"/>
                        <a:pt x="11610" y="1664"/>
                      </a:cubicBezTo>
                      <a:cubicBezTo>
                        <a:pt x="11699" y="1728"/>
                        <a:pt x="11774" y="1765"/>
                        <a:pt x="11833" y="1773"/>
                      </a:cubicBezTo>
                      <a:cubicBezTo>
                        <a:pt x="11913" y="1783"/>
                        <a:pt x="11979" y="1815"/>
                        <a:pt x="12031" y="1869"/>
                      </a:cubicBezTo>
                      <a:cubicBezTo>
                        <a:pt x="12059" y="1899"/>
                        <a:pt x="12100" y="1964"/>
                        <a:pt x="12152" y="2062"/>
                      </a:cubicBezTo>
                      <a:cubicBezTo>
                        <a:pt x="12097" y="2054"/>
                        <a:pt x="12044" y="2077"/>
                        <a:pt x="11992" y="2129"/>
                      </a:cubicBezTo>
                      <a:cubicBezTo>
                        <a:pt x="11935" y="2185"/>
                        <a:pt x="11873" y="2213"/>
                        <a:pt x="11804" y="2213"/>
                      </a:cubicBezTo>
                      <a:cubicBezTo>
                        <a:pt x="11790" y="2213"/>
                        <a:pt x="11764" y="2208"/>
                        <a:pt x="11726" y="2198"/>
                      </a:cubicBezTo>
                      <a:cubicBezTo>
                        <a:pt x="11693" y="2188"/>
                        <a:pt x="11673" y="2180"/>
                        <a:pt x="11666" y="2174"/>
                      </a:cubicBezTo>
                      <a:cubicBezTo>
                        <a:pt x="11659" y="2172"/>
                        <a:pt x="11654" y="2172"/>
                        <a:pt x="11652" y="2174"/>
                      </a:cubicBezTo>
                      <a:lnTo>
                        <a:pt x="11652" y="2195"/>
                      </a:lnTo>
                      <a:cubicBezTo>
                        <a:pt x="11652" y="2213"/>
                        <a:pt x="11659" y="2242"/>
                        <a:pt x="11673" y="2280"/>
                      </a:cubicBezTo>
                      <a:cubicBezTo>
                        <a:pt x="11673" y="2304"/>
                        <a:pt x="11660" y="2326"/>
                        <a:pt x="11634" y="2346"/>
                      </a:cubicBezTo>
                      <a:cubicBezTo>
                        <a:pt x="11606" y="2364"/>
                        <a:pt x="11592" y="2384"/>
                        <a:pt x="11592" y="2404"/>
                      </a:cubicBezTo>
                      <a:cubicBezTo>
                        <a:pt x="11592" y="2480"/>
                        <a:pt x="11619" y="2545"/>
                        <a:pt x="11673" y="2597"/>
                      </a:cubicBezTo>
                      <a:cubicBezTo>
                        <a:pt x="11780" y="2702"/>
                        <a:pt x="11835" y="2757"/>
                        <a:pt x="11840" y="2763"/>
                      </a:cubicBezTo>
                      <a:cubicBezTo>
                        <a:pt x="11866" y="2799"/>
                        <a:pt x="11886" y="2857"/>
                        <a:pt x="11900" y="2935"/>
                      </a:cubicBezTo>
                      <a:cubicBezTo>
                        <a:pt x="11907" y="2977"/>
                        <a:pt x="11917" y="3034"/>
                        <a:pt x="11928" y="3104"/>
                      </a:cubicBezTo>
                      <a:lnTo>
                        <a:pt x="11978" y="3104"/>
                      </a:lnTo>
                      <a:cubicBezTo>
                        <a:pt x="12091" y="3056"/>
                        <a:pt x="12188" y="3032"/>
                        <a:pt x="12268" y="3032"/>
                      </a:cubicBezTo>
                      <a:cubicBezTo>
                        <a:pt x="12356" y="3032"/>
                        <a:pt x="12400" y="3052"/>
                        <a:pt x="12400" y="3092"/>
                      </a:cubicBezTo>
                      <a:cubicBezTo>
                        <a:pt x="12400" y="3122"/>
                        <a:pt x="12377" y="3174"/>
                        <a:pt x="12332" y="3246"/>
                      </a:cubicBezTo>
                      <a:cubicBezTo>
                        <a:pt x="12332" y="3256"/>
                        <a:pt x="12338" y="3266"/>
                        <a:pt x="12350" y="3276"/>
                      </a:cubicBezTo>
                      <a:cubicBezTo>
                        <a:pt x="12359" y="3284"/>
                        <a:pt x="12370" y="3288"/>
                        <a:pt x="12382" y="3288"/>
                      </a:cubicBezTo>
                      <a:cubicBezTo>
                        <a:pt x="12413" y="3288"/>
                        <a:pt x="12448" y="3274"/>
                        <a:pt x="12488" y="3246"/>
                      </a:cubicBezTo>
                      <a:cubicBezTo>
                        <a:pt x="12526" y="3218"/>
                        <a:pt x="12545" y="3194"/>
                        <a:pt x="12545" y="3174"/>
                      </a:cubicBezTo>
                      <a:cubicBezTo>
                        <a:pt x="12545" y="3101"/>
                        <a:pt x="12513" y="3033"/>
                        <a:pt x="12449" y="2968"/>
                      </a:cubicBezTo>
                      <a:cubicBezTo>
                        <a:pt x="12430" y="2950"/>
                        <a:pt x="12389" y="2940"/>
                        <a:pt x="12325" y="2938"/>
                      </a:cubicBezTo>
                      <a:cubicBezTo>
                        <a:pt x="12273" y="2936"/>
                        <a:pt x="12247" y="2921"/>
                        <a:pt x="12247" y="2893"/>
                      </a:cubicBezTo>
                      <a:cubicBezTo>
                        <a:pt x="12247" y="2885"/>
                        <a:pt x="12292" y="2852"/>
                        <a:pt x="12382" y="2793"/>
                      </a:cubicBezTo>
                      <a:cubicBezTo>
                        <a:pt x="12479" y="2731"/>
                        <a:pt x="12550" y="2697"/>
                        <a:pt x="12594" y="2691"/>
                      </a:cubicBezTo>
                      <a:cubicBezTo>
                        <a:pt x="12594" y="2693"/>
                        <a:pt x="12583" y="2719"/>
                        <a:pt x="12559" y="2769"/>
                      </a:cubicBezTo>
                      <a:cubicBezTo>
                        <a:pt x="12535" y="2819"/>
                        <a:pt x="12524" y="2853"/>
                        <a:pt x="12524" y="2869"/>
                      </a:cubicBezTo>
                      <a:cubicBezTo>
                        <a:pt x="12524" y="2889"/>
                        <a:pt x="12539" y="2907"/>
                        <a:pt x="12570" y="2923"/>
                      </a:cubicBezTo>
                      <a:cubicBezTo>
                        <a:pt x="12607" y="2943"/>
                        <a:pt x="12636" y="2985"/>
                        <a:pt x="12655" y="3050"/>
                      </a:cubicBezTo>
                      <a:cubicBezTo>
                        <a:pt x="12662" y="3072"/>
                        <a:pt x="12666" y="3109"/>
                        <a:pt x="12669" y="3162"/>
                      </a:cubicBezTo>
                      <a:cubicBezTo>
                        <a:pt x="12678" y="3212"/>
                        <a:pt x="12700" y="3250"/>
                        <a:pt x="12733" y="3276"/>
                      </a:cubicBezTo>
                      <a:cubicBezTo>
                        <a:pt x="12744" y="3286"/>
                        <a:pt x="12773" y="3305"/>
                        <a:pt x="12818" y="3331"/>
                      </a:cubicBezTo>
                      <a:cubicBezTo>
                        <a:pt x="12853" y="3351"/>
                        <a:pt x="12886" y="3378"/>
                        <a:pt x="12917" y="3412"/>
                      </a:cubicBezTo>
                      <a:cubicBezTo>
                        <a:pt x="12924" y="3420"/>
                        <a:pt x="12949" y="3452"/>
                        <a:pt x="12991" y="3506"/>
                      </a:cubicBezTo>
                      <a:cubicBezTo>
                        <a:pt x="13034" y="3554"/>
                        <a:pt x="13069" y="3578"/>
                        <a:pt x="13097" y="3578"/>
                      </a:cubicBezTo>
                      <a:cubicBezTo>
                        <a:pt x="13126" y="3578"/>
                        <a:pt x="13140" y="3552"/>
                        <a:pt x="13140" y="3500"/>
                      </a:cubicBezTo>
                      <a:cubicBezTo>
                        <a:pt x="13140" y="3456"/>
                        <a:pt x="13110" y="3424"/>
                        <a:pt x="13051" y="3406"/>
                      </a:cubicBezTo>
                      <a:cubicBezTo>
                        <a:pt x="12990" y="3388"/>
                        <a:pt x="12959" y="3369"/>
                        <a:pt x="12959" y="3349"/>
                      </a:cubicBezTo>
                      <a:cubicBezTo>
                        <a:pt x="12964" y="3341"/>
                        <a:pt x="12966" y="3335"/>
                        <a:pt x="12966" y="3331"/>
                      </a:cubicBezTo>
                      <a:lnTo>
                        <a:pt x="13016" y="3331"/>
                      </a:lnTo>
                      <a:cubicBezTo>
                        <a:pt x="13028" y="3335"/>
                        <a:pt x="13059" y="3352"/>
                        <a:pt x="13108" y="3382"/>
                      </a:cubicBezTo>
                      <a:cubicBezTo>
                        <a:pt x="13144" y="3402"/>
                        <a:pt x="13175" y="3412"/>
                        <a:pt x="13204" y="3412"/>
                      </a:cubicBezTo>
                      <a:cubicBezTo>
                        <a:pt x="13239" y="3412"/>
                        <a:pt x="13257" y="3395"/>
                        <a:pt x="13257" y="3361"/>
                      </a:cubicBezTo>
                      <a:cubicBezTo>
                        <a:pt x="13257" y="3325"/>
                        <a:pt x="13217" y="3285"/>
                        <a:pt x="13136" y="3243"/>
                      </a:cubicBezTo>
                      <a:cubicBezTo>
                        <a:pt x="13073" y="3209"/>
                        <a:pt x="13028" y="3190"/>
                        <a:pt x="13002" y="3186"/>
                      </a:cubicBezTo>
                      <a:cubicBezTo>
                        <a:pt x="12922" y="3168"/>
                        <a:pt x="12878" y="3142"/>
                        <a:pt x="12871" y="3110"/>
                      </a:cubicBezTo>
                      <a:cubicBezTo>
                        <a:pt x="12875" y="3062"/>
                        <a:pt x="12878" y="3019"/>
                        <a:pt x="12878" y="2980"/>
                      </a:cubicBezTo>
                      <a:cubicBezTo>
                        <a:pt x="12878" y="2958"/>
                        <a:pt x="12851" y="2936"/>
                        <a:pt x="12796" y="2914"/>
                      </a:cubicBezTo>
                      <a:lnTo>
                        <a:pt x="12711" y="2887"/>
                      </a:lnTo>
                      <a:cubicBezTo>
                        <a:pt x="12711" y="2883"/>
                        <a:pt x="12709" y="2879"/>
                        <a:pt x="12704" y="2875"/>
                      </a:cubicBezTo>
                      <a:cubicBezTo>
                        <a:pt x="12700" y="2873"/>
                        <a:pt x="12697" y="2869"/>
                        <a:pt x="12697" y="2863"/>
                      </a:cubicBezTo>
                      <a:cubicBezTo>
                        <a:pt x="12697" y="2790"/>
                        <a:pt x="12724" y="2727"/>
                        <a:pt x="12779" y="2672"/>
                      </a:cubicBezTo>
                      <a:cubicBezTo>
                        <a:pt x="12826" y="2622"/>
                        <a:pt x="12875" y="2597"/>
                        <a:pt x="12927" y="2597"/>
                      </a:cubicBezTo>
                      <a:cubicBezTo>
                        <a:pt x="12932" y="2597"/>
                        <a:pt x="12949" y="2602"/>
                        <a:pt x="12977" y="2612"/>
                      </a:cubicBezTo>
                      <a:cubicBezTo>
                        <a:pt x="13005" y="2622"/>
                        <a:pt x="13028" y="2627"/>
                        <a:pt x="13044" y="2627"/>
                      </a:cubicBezTo>
                      <a:cubicBezTo>
                        <a:pt x="13073" y="2627"/>
                        <a:pt x="13090" y="2623"/>
                        <a:pt x="13097" y="2615"/>
                      </a:cubicBezTo>
                      <a:cubicBezTo>
                        <a:pt x="13102" y="2609"/>
                        <a:pt x="13105" y="2598"/>
                        <a:pt x="13105" y="2582"/>
                      </a:cubicBezTo>
                      <a:cubicBezTo>
                        <a:pt x="13105" y="2531"/>
                        <a:pt x="13061" y="2471"/>
                        <a:pt x="12973" y="2401"/>
                      </a:cubicBezTo>
                      <a:cubicBezTo>
                        <a:pt x="12886" y="2330"/>
                        <a:pt x="12842" y="2284"/>
                        <a:pt x="12842" y="2262"/>
                      </a:cubicBezTo>
                      <a:cubicBezTo>
                        <a:pt x="12842" y="2238"/>
                        <a:pt x="12861" y="2219"/>
                        <a:pt x="12899" y="2207"/>
                      </a:cubicBezTo>
                      <a:cubicBezTo>
                        <a:pt x="12935" y="2197"/>
                        <a:pt x="12964" y="2197"/>
                        <a:pt x="12988" y="2207"/>
                      </a:cubicBezTo>
                      <a:lnTo>
                        <a:pt x="13048" y="2207"/>
                      </a:lnTo>
                      <a:cubicBezTo>
                        <a:pt x="13053" y="2203"/>
                        <a:pt x="13055" y="2196"/>
                        <a:pt x="13055" y="2186"/>
                      </a:cubicBezTo>
                      <a:cubicBezTo>
                        <a:pt x="13055" y="2142"/>
                        <a:pt x="13036" y="2116"/>
                        <a:pt x="12998" y="2108"/>
                      </a:cubicBezTo>
                      <a:cubicBezTo>
                        <a:pt x="12944" y="2108"/>
                        <a:pt x="12903" y="2108"/>
                        <a:pt x="12874" y="2108"/>
                      </a:cubicBezTo>
                      <a:cubicBezTo>
                        <a:pt x="12751" y="2104"/>
                        <a:pt x="12690" y="2015"/>
                        <a:pt x="12690" y="1842"/>
                      </a:cubicBezTo>
                      <a:lnTo>
                        <a:pt x="12835" y="1718"/>
                      </a:lnTo>
                      <a:cubicBezTo>
                        <a:pt x="12939" y="1628"/>
                        <a:pt x="13010" y="1559"/>
                        <a:pt x="13048" y="1513"/>
                      </a:cubicBezTo>
                      <a:cubicBezTo>
                        <a:pt x="13131" y="1408"/>
                        <a:pt x="13207" y="1225"/>
                        <a:pt x="13278" y="963"/>
                      </a:cubicBezTo>
                      <a:cubicBezTo>
                        <a:pt x="13278" y="959"/>
                        <a:pt x="13278" y="956"/>
                        <a:pt x="13278" y="954"/>
                      </a:cubicBezTo>
                      <a:cubicBezTo>
                        <a:pt x="13292" y="884"/>
                        <a:pt x="13301" y="828"/>
                        <a:pt x="13303" y="788"/>
                      </a:cubicBezTo>
                      <a:cubicBezTo>
                        <a:pt x="13305" y="764"/>
                        <a:pt x="13307" y="712"/>
                        <a:pt x="13307" y="631"/>
                      </a:cubicBezTo>
                      <a:cubicBezTo>
                        <a:pt x="13307" y="563"/>
                        <a:pt x="13327" y="498"/>
                        <a:pt x="13367" y="438"/>
                      </a:cubicBezTo>
                      <a:cubicBezTo>
                        <a:pt x="13405" y="379"/>
                        <a:pt x="13423" y="339"/>
                        <a:pt x="13423" y="317"/>
                      </a:cubicBezTo>
                      <a:lnTo>
                        <a:pt x="13409" y="184"/>
                      </a:lnTo>
                      <a:cubicBezTo>
                        <a:pt x="13409" y="154"/>
                        <a:pt x="13414" y="129"/>
                        <a:pt x="13423" y="109"/>
                      </a:cubicBezTo>
                      <a:cubicBezTo>
                        <a:pt x="13438" y="89"/>
                        <a:pt x="13447" y="73"/>
                        <a:pt x="13452" y="63"/>
                      </a:cubicBezTo>
                      <a:cubicBezTo>
                        <a:pt x="13459" y="67"/>
                        <a:pt x="13494" y="105"/>
                        <a:pt x="13558" y="175"/>
                      </a:cubicBezTo>
                      <a:cubicBezTo>
                        <a:pt x="13619" y="240"/>
                        <a:pt x="13662" y="272"/>
                        <a:pt x="13686" y="272"/>
                      </a:cubicBezTo>
                      <a:lnTo>
                        <a:pt x="13866" y="136"/>
                      </a:lnTo>
                      <a:cubicBezTo>
                        <a:pt x="14001" y="45"/>
                        <a:pt x="14100" y="0"/>
                        <a:pt x="14164" y="0"/>
                      </a:cubicBezTo>
                      <a:cubicBezTo>
                        <a:pt x="14195" y="0"/>
                        <a:pt x="14210" y="25"/>
                        <a:pt x="14210" y="75"/>
                      </a:cubicBezTo>
                      <a:cubicBezTo>
                        <a:pt x="14210" y="102"/>
                        <a:pt x="14208" y="132"/>
                        <a:pt x="14203" y="166"/>
                      </a:cubicBezTo>
                      <a:cubicBezTo>
                        <a:pt x="14203" y="228"/>
                        <a:pt x="14239" y="292"/>
                        <a:pt x="14313" y="356"/>
                      </a:cubicBezTo>
                      <a:cubicBezTo>
                        <a:pt x="14327" y="368"/>
                        <a:pt x="14408" y="428"/>
                        <a:pt x="14557" y="534"/>
                      </a:cubicBezTo>
                      <a:cubicBezTo>
                        <a:pt x="14659" y="609"/>
                        <a:pt x="14726" y="654"/>
                        <a:pt x="14759" y="670"/>
                      </a:cubicBezTo>
                      <a:cubicBezTo>
                        <a:pt x="14830" y="707"/>
                        <a:pt x="14911" y="725"/>
                        <a:pt x="15003" y="725"/>
                      </a:cubicBezTo>
                      <a:cubicBezTo>
                        <a:pt x="15008" y="725"/>
                        <a:pt x="15057" y="714"/>
                        <a:pt x="15149" y="692"/>
                      </a:cubicBezTo>
                      <a:cubicBezTo>
                        <a:pt x="15241" y="669"/>
                        <a:pt x="15333" y="658"/>
                        <a:pt x="15425" y="658"/>
                      </a:cubicBezTo>
                      <a:cubicBezTo>
                        <a:pt x="15477" y="658"/>
                        <a:pt x="15525" y="647"/>
                        <a:pt x="15570" y="625"/>
                      </a:cubicBezTo>
                      <a:cubicBezTo>
                        <a:pt x="15582" y="625"/>
                        <a:pt x="15594" y="647"/>
                        <a:pt x="15606" y="692"/>
                      </a:cubicBezTo>
                      <a:cubicBezTo>
                        <a:pt x="15620" y="736"/>
                        <a:pt x="15635" y="758"/>
                        <a:pt x="15652" y="758"/>
                      </a:cubicBezTo>
                      <a:cubicBezTo>
                        <a:pt x="15685" y="758"/>
                        <a:pt x="15706" y="733"/>
                        <a:pt x="15716" y="682"/>
                      </a:cubicBezTo>
                      <a:cubicBezTo>
                        <a:pt x="15723" y="628"/>
                        <a:pt x="15727" y="597"/>
                        <a:pt x="15730" y="589"/>
                      </a:cubicBezTo>
                      <a:lnTo>
                        <a:pt x="15765" y="589"/>
                      </a:lnTo>
                      <a:cubicBezTo>
                        <a:pt x="15845" y="692"/>
                        <a:pt x="15901" y="748"/>
                        <a:pt x="15932" y="758"/>
                      </a:cubicBezTo>
                      <a:lnTo>
                        <a:pt x="15946" y="758"/>
                      </a:lnTo>
                      <a:lnTo>
                        <a:pt x="15953" y="664"/>
                      </a:lnTo>
                      <a:cubicBezTo>
                        <a:pt x="15953" y="648"/>
                        <a:pt x="15945" y="629"/>
                        <a:pt x="15928" y="607"/>
                      </a:cubicBezTo>
                      <a:cubicBezTo>
                        <a:pt x="15907" y="583"/>
                        <a:pt x="15894" y="567"/>
                        <a:pt x="15889" y="559"/>
                      </a:cubicBezTo>
                      <a:lnTo>
                        <a:pt x="15935" y="553"/>
                      </a:lnTo>
                      <a:cubicBezTo>
                        <a:pt x="15987" y="553"/>
                        <a:pt x="16050" y="559"/>
                        <a:pt x="16123" y="571"/>
                      </a:cubicBezTo>
                      <a:cubicBezTo>
                        <a:pt x="16206" y="585"/>
                        <a:pt x="16247" y="600"/>
                        <a:pt x="16247" y="616"/>
                      </a:cubicBezTo>
                      <a:cubicBezTo>
                        <a:pt x="16223" y="721"/>
                        <a:pt x="16199" y="790"/>
                        <a:pt x="16173" y="824"/>
                      </a:cubicBezTo>
                      <a:lnTo>
                        <a:pt x="16173" y="855"/>
                      </a:lnTo>
                      <a:cubicBezTo>
                        <a:pt x="16191" y="840"/>
                        <a:pt x="16224" y="783"/>
                        <a:pt x="16272" y="682"/>
                      </a:cubicBezTo>
                      <a:cubicBezTo>
                        <a:pt x="16314" y="588"/>
                        <a:pt x="16343" y="540"/>
                        <a:pt x="16357" y="540"/>
                      </a:cubicBezTo>
                      <a:cubicBezTo>
                        <a:pt x="16399" y="540"/>
                        <a:pt x="16472" y="573"/>
                        <a:pt x="16576" y="637"/>
                      </a:cubicBezTo>
                      <a:cubicBezTo>
                        <a:pt x="16687" y="704"/>
                        <a:pt x="16751" y="739"/>
                        <a:pt x="16768" y="743"/>
                      </a:cubicBezTo>
                      <a:cubicBezTo>
                        <a:pt x="16917" y="769"/>
                        <a:pt x="17004" y="782"/>
                        <a:pt x="17030" y="782"/>
                      </a:cubicBezTo>
                      <a:cubicBezTo>
                        <a:pt x="17056" y="780"/>
                        <a:pt x="17097" y="786"/>
                        <a:pt x="17154" y="800"/>
                      </a:cubicBezTo>
                      <a:cubicBezTo>
                        <a:pt x="17213" y="814"/>
                        <a:pt x="17242" y="827"/>
                        <a:pt x="17242" y="839"/>
                      </a:cubicBezTo>
                      <a:cubicBezTo>
                        <a:pt x="17242" y="854"/>
                        <a:pt x="17200" y="881"/>
                        <a:pt x="17115" y="921"/>
                      </a:cubicBezTo>
                      <a:cubicBezTo>
                        <a:pt x="17025" y="961"/>
                        <a:pt x="16971" y="1006"/>
                        <a:pt x="16952" y="1054"/>
                      </a:cubicBezTo>
                      <a:lnTo>
                        <a:pt x="16952" y="1123"/>
                      </a:lnTo>
                      <a:lnTo>
                        <a:pt x="16987" y="1123"/>
                      </a:lnTo>
                      <a:cubicBezTo>
                        <a:pt x="17105" y="1041"/>
                        <a:pt x="17167" y="999"/>
                        <a:pt x="17172" y="999"/>
                      </a:cubicBezTo>
                      <a:cubicBezTo>
                        <a:pt x="17188" y="999"/>
                        <a:pt x="17214" y="1013"/>
                        <a:pt x="17250" y="1039"/>
                      </a:cubicBezTo>
                      <a:cubicBezTo>
                        <a:pt x="17290" y="1067"/>
                        <a:pt x="17320" y="1084"/>
                        <a:pt x="17342" y="1090"/>
                      </a:cubicBezTo>
                      <a:cubicBezTo>
                        <a:pt x="17349" y="1028"/>
                        <a:pt x="17355" y="979"/>
                        <a:pt x="17359" y="945"/>
                      </a:cubicBezTo>
                      <a:cubicBezTo>
                        <a:pt x="17374" y="885"/>
                        <a:pt x="17422" y="855"/>
                        <a:pt x="17505" y="855"/>
                      </a:cubicBezTo>
                      <a:cubicBezTo>
                        <a:pt x="17561" y="855"/>
                        <a:pt x="17668" y="896"/>
                        <a:pt x="17823" y="978"/>
                      </a:cubicBezTo>
                      <a:lnTo>
                        <a:pt x="17823" y="999"/>
                      </a:lnTo>
                      <a:cubicBezTo>
                        <a:pt x="17807" y="1016"/>
                        <a:pt x="17779" y="1023"/>
                        <a:pt x="17738" y="1021"/>
                      </a:cubicBezTo>
                      <a:cubicBezTo>
                        <a:pt x="17694" y="1015"/>
                        <a:pt x="17663" y="1012"/>
                        <a:pt x="17646" y="1012"/>
                      </a:cubicBezTo>
                      <a:cubicBezTo>
                        <a:pt x="17599" y="1012"/>
                        <a:pt x="17575" y="1035"/>
                        <a:pt x="17575" y="1081"/>
                      </a:cubicBezTo>
                      <a:cubicBezTo>
                        <a:pt x="17575" y="1091"/>
                        <a:pt x="17588" y="1101"/>
                        <a:pt x="17614" y="1111"/>
                      </a:cubicBezTo>
                      <a:cubicBezTo>
                        <a:pt x="17626" y="1111"/>
                        <a:pt x="17649" y="1106"/>
                        <a:pt x="17682" y="1096"/>
                      </a:cubicBezTo>
                      <a:cubicBezTo>
                        <a:pt x="17703" y="1096"/>
                        <a:pt x="17730" y="1111"/>
                        <a:pt x="17763" y="1141"/>
                      </a:cubicBezTo>
                      <a:cubicBezTo>
                        <a:pt x="17780" y="1160"/>
                        <a:pt x="17802" y="1184"/>
                        <a:pt x="17831" y="1214"/>
                      </a:cubicBezTo>
                      <a:cubicBezTo>
                        <a:pt x="17897" y="1274"/>
                        <a:pt x="17955" y="1308"/>
                        <a:pt x="18004" y="1314"/>
                      </a:cubicBezTo>
                      <a:cubicBezTo>
                        <a:pt x="18144" y="1330"/>
                        <a:pt x="18310" y="1338"/>
                        <a:pt x="18504" y="1338"/>
                      </a:cubicBezTo>
                      <a:cubicBezTo>
                        <a:pt x="18575" y="1338"/>
                        <a:pt x="18645" y="1349"/>
                        <a:pt x="18716" y="1371"/>
                      </a:cubicBezTo>
                      <a:cubicBezTo>
                        <a:pt x="18804" y="1399"/>
                        <a:pt x="18847" y="1434"/>
                        <a:pt x="18847" y="1477"/>
                      </a:cubicBezTo>
                      <a:cubicBezTo>
                        <a:pt x="18847" y="1487"/>
                        <a:pt x="18831" y="1511"/>
                        <a:pt x="18798" y="1549"/>
                      </a:cubicBezTo>
                      <a:cubicBezTo>
                        <a:pt x="18798" y="1565"/>
                        <a:pt x="18805" y="1591"/>
                        <a:pt x="18819" y="1628"/>
                      </a:cubicBezTo>
                      <a:cubicBezTo>
                        <a:pt x="18833" y="1664"/>
                        <a:pt x="18840" y="1689"/>
                        <a:pt x="18840" y="1703"/>
                      </a:cubicBezTo>
                      <a:cubicBezTo>
                        <a:pt x="18840" y="1727"/>
                        <a:pt x="18819" y="1748"/>
                        <a:pt x="18776" y="1767"/>
                      </a:cubicBezTo>
                      <a:cubicBezTo>
                        <a:pt x="18739" y="1783"/>
                        <a:pt x="18700" y="1791"/>
                        <a:pt x="18660" y="1791"/>
                      </a:cubicBezTo>
                      <a:cubicBezTo>
                        <a:pt x="18629" y="1791"/>
                        <a:pt x="18595" y="1779"/>
                        <a:pt x="18557" y="1754"/>
                      </a:cubicBezTo>
                      <a:cubicBezTo>
                        <a:pt x="18519" y="1730"/>
                        <a:pt x="18486" y="1718"/>
                        <a:pt x="18458" y="1718"/>
                      </a:cubicBezTo>
                      <a:cubicBezTo>
                        <a:pt x="18429" y="1718"/>
                        <a:pt x="18412" y="1724"/>
                        <a:pt x="18404" y="1736"/>
                      </a:cubicBezTo>
                      <a:cubicBezTo>
                        <a:pt x="18400" y="1742"/>
                        <a:pt x="18397" y="1755"/>
                        <a:pt x="18397" y="1776"/>
                      </a:cubicBezTo>
                      <a:cubicBezTo>
                        <a:pt x="18397" y="1800"/>
                        <a:pt x="18415" y="1831"/>
                        <a:pt x="18451" y="1869"/>
                      </a:cubicBezTo>
                      <a:cubicBezTo>
                        <a:pt x="18486" y="1905"/>
                        <a:pt x="18507" y="1953"/>
                        <a:pt x="18514" y="2011"/>
                      </a:cubicBezTo>
                      <a:lnTo>
                        <a:pt x="18521" y="2068"/>
                      </a:lnTo>
                      <a:lnTo>
                        <a:pt x="18528" y="2075"/>
                      </a:lnTo>
                      <a:cubicBezTo>
                        <a:pt x="18566" y="2050"/>
                        <a:pt x="18598" y="2011"/>
                        <a:pt x="18624" y="1957"/>
                      </a:cubicBezTo>
                      <a:cubicBezTo>
                        <a:pt x="18643" y="1918"/>
                        <a:pt x="18682" y="1899"/>
                        <a:pt x="18741" y="1899"/>
                      </a:cubicBezTo>
                      <a:cubicBezTo>
                        <a:pt x="18802" y="1899"/>
                        <a:pt x="18858" y="1905"/>
                        <a:pt x="18908" y="1917"/>
                      </a:cubicBezTo>
                      <a:cubicBezTo>
                        <a:pt x="18974" y="1934"/>
                        <a:pt x="19007" y="1958"/>
                        <a:pt x="19007" y="1990"/>
                      </a:cubicBezTo>
                      <a:cubicBezTo>
                        <a:pt x="19007" y="2018"/>
                        <a:pt x="18978" y="2052"/>
                        <a:pt x="18922" y="2093"/>
                      </a:cubicBezTo>
                      <a:cubicBezTo>
                        <a:pt x="18863" y="2131"/>
                        <a:pt x="18833" y="2166"/>
                        <a:pt x="18833" y="2198"/>
                      </a:cubicBezTo>
                      <a:cubicBezTo>
                        <a:pt x="18833" y="2253"/>
                        <a:pt x="18850" y="2291"/>
                        <a:pt x="18883" y="2313"/>
                      </a:cubicBezTo>
                      <a:cubicBezTo>
                        <a:pt x="18904" y="2325"/>
                        <a:pt x="18965" y="2346"/>
                        <a:pt x="19067" y="2376"/>
                      </a:cubicBezTo>
                      <a:cubicBezTo>
                        <a:pt x="19088" y="2383"/>
                        <a:pt x="19127" y="2406"/>
                        <a:pt x="19184" y="2446"/>
                      </a:cubicBezTo>
                      <a:cubicBezTo>
                        <a:pt x="19245" y="2488"/>
                        <a:pt x="19276" y="2516"/>
                        <a:pt x="19276" y="2530"/>
                      </a:cubicBezTo>
                      <a:cubicBezTo>
                        <a:pt x="19276" y="2567"/>
                        <a:pt x="19261" y="2596"/>
                        <a:pt x="19230" y="2618"/>
                      </a:cubicBezTo>
                      <a:cubicBezTo>
                        <a:pt x="19190" y="2640"/>
                        <a:pt x="19161" y="2657"/>
                        <a:pt x="19145" y="2669"/>
                      </a:cubicBezTo>
                      <a:cubicBezTo>
                        <a:pt x="19159" y="2677"/>
                        <a:pt x="19170" y="2681"/>
                        <a:pt x="19177" y="2681"/>
                      </a:cubicBezTo>
                      <a:cubicBezTo>
                        <a:pt x="19203" y="2681"/>
                        <a:pt x="19228" y="2676"/>
                        <a:pt x="19251" y="2666"/>
                      </a:cubicBezTo>
                      <a:cubicBezTo>
                        <a:pt x="19275" y="2656"/>
                        <a:pt x="19295" y="2651"/>
                        <a:pt x="19311" y="2651"/>
                      </a:cubicBezTo>
                      <a:cubicBezTo>
                        <a:pt x="19335" y="2651"/>
                        <a:pt x="19357" y="2665"/>
                        <a:pt x="19379" y="2694"/>
                      </a:cubicBezTo>
                      <a:cubicBezTo>
                        <a:pt x="19398" y="2720"/>
                        <a:pt x="19407" y="2745"/>
                        <a:pt x="19407" y="2769"/>
                      </a:cubicBezTo>
                      <a:cubicBezTo>
                        <a:pt x="19407" y="2827"/>
                        <a:pt x="19350" y="2875"/>
                        <a:pt x="19237" y="2911"/>
                      </a:cubicBezTo>
                      <a:cubicBezTo>
                        <a:pt x="19124" y="2945"/>
                        <a:pt x="19067" y="2971"/>
                        <a:pt x="19067" y="2990"/>
                      </a:cubicBezTo>
                      <a:cubicBezTo>
                        <a:pt x="19067" y="3006"/>
                        <a:pt x="19091" y="3033"/>
                        <a:pt x="19138" y="3071"/>
                      </a:cubicBezTo>
                      <a:cubicBezTo>
                        <a:pt x="19185" y="3107"/>
                        <a:pt x="19210" y="3136"/>
                        <a:pt x="19212" y="3159"/>
                      </a:cubicBezTo>
                      <a:cubicBezTo>
                        <a:pt x="19207" y="3159"/>
                        <a:pt x="19178" y="3169"/>
                        <a:pt x="19124" y="3189"/>
                      </a:cubicBezTo>
                      <a:cubicBezTo>
                        <a:pt x="19128" y="3193"/>
                        <a:pt x="19165" y="3230"/>
                        <a:pt x="19233" y="3301"/>
                      </a:cubicBezTo>
                      <a:cubicBezTo>
                        <a:pt x="19293" y="3363"/>
                        <a:pt x="19336" y="3403"/>
                        <a:pt x="19365" y="3421"/>
                      </a:cubicBezTo>
                      <a:cubicBezTo>
                        <a:pt x="19369" y="3425"/>
                        <a:pt x="19407" y="3441"/>
                        <a:pt x="19478" y="3470"/>
                      </a:cubicBezTo>
                      <a:cubicBezTo>
                        <a:pt x="19537" y="3492"/>
                        <a:pt x="19566" y="3508"/>
                        <a:pt x="19566" y="3518"/>
                      </a:cubicBezTo>
                      <a:lnTo>
                        <a:pt x="19517" y="3596"/>
                      </a:lnTo>
                      <a:cubicBezTo>
                        <a:pt x="19517" y="3625"/>
                        <a:pt x="19564" y="3655"/>
                        <a:pt x="19659" y="3687"/>
                      </a:cubicBezTo>
                      <a:cubicBezTo>
                        <a:pt x="19760" y="3719"/>
                        <a:pt x="19822" y="3770"/>
                        <a:pt x="19843" y="3838"/>
                      </a:cubicBezTo>
                      <a:cubicBezTo>
                        <a:pt x="19855" y="3876"/>
                        <a:pt x="19871" y="3938"/>
                        <a:pt x="19892" y="4022"/>
                      </a:cubicBezTo>
                      <a:cubicBezTo>
                        <a:pt x="19914" y="4101"/>
                        <a:pt x="19936" y="4169"/>
                        <a:pt x="19960" y="4228"/>
                      </a:cubicBezTo>
                      <a:cubicBezTo>
                        <a:pt x="19976" y="4270"/>
                        <a:pt x="20002" y="4343"/>
                        <a:pt x="20038" y="4448"/>
                      </a:cubicBezTo>
                      <a:cubicBezTo>
                        <a:pt x="20071" y="4535"/>
                        <a:pt x="20096" y="4585"/>
                        <a:pt x="20112" y="4599"/>
                      </a:cubicBezTo>
                      <a:cubicBezTo>
                        <a:pt x="20138" y="4619"/>
                        <a:pt x="20203" y="4655"/>
                        <a:pt x="20307" y="4708"/>
                      </a:cubicBezTo>
                      <a:cubicBezTo>
                        <a:pt x="20387" y="4746"/>
                        <a:pt x="20432" y="4782"/>
                        <a:pt x="20442" y="4816"/>
                      </a:cubicBezTo>
                      <a:lnTo>
                        <a:pt x="20434" y="4816"/>
                      </a:lnTo>
                      <a:cubicBezTo>
                        <a:pt x="20434" y="4820"/>
                        <a:pt x="20432" y="4822"/>
                        <a:pt x="20427" y="4822"/>
                      </a:cubicBezTo>
                      <a:cubicBezTo>
                        <a:pt x="20446" y="4839"/>
                        <a:pt x="20462" y="4866"/>
                        <a:pt x="20473" y="4904"/>
                      </a:cubicBezTo>
                      <a:cubicBezTo>
                        <a:pt x="20495" y="4970"/>
                        <a:pt x="20508" y="5010"/>
                        <a:pt x="20512" y="5022"/>
                      </a:cubicBezTo>
                      <a:cubicBezTo>
                        <a:pt x="20538" y="5034"/>
                        <a:pt x="20571" y="5060"/>
                        <a:pt x="20612" y="5100"/>
                      </a:cubicBezTo>
                      <a:cubicBezTo>
                        <a:pt x="20659" y="5145"/>
                        <a:pt x="20690" y="5172"/>
                        <a:pt x="20704" y="5182"/>
                      </a:cubicBezTo>
                      <a:cubicBezTo>
                        <a:pt x="20732" y="5198"/>
                        <a:pt x="20775" y="5214"/>
                        <a:pt x="20831" y="5230"/>
                      </a:cubicBezTo>
                      <a:cubicBezTo>
                        <a:pt x="20897" y="5248"/>
                        <a:pt x="20936" y="5259"/>
                        <a:pt x="20948" y="5263"/>
                      </a:cubicBezTo>
                      <a:cubicBezTo>
                        <a:pt x="20984" y="5277"/>
                        <a:pt x="21011" y="5301"/>
                        <a:pt x="21030" y="5333"/>
                      </a:cubicBezTo>
                      <a:cubicBezTo>
                        <a:pt x="21051" y="5367"/>
                        <a:pt x="21066" y="5389"/>
                        <a:pt x="21076" y="5399"/>
                      </a:cubicBezTo>
                      <a:cubicBezTo>
                        <a:pt x="21080" y="5379"/>
                        <a:pt x="21093" y="5369"/>
                        <a:pt x="21115" y="5369"/>
                      </a:cubicBezTo>
                      <a:cubicBezTo>
                        <a:pt x="21171" y="5369"/>
                        <a:pt x="21230" y="5420"/>
                        <a:pt x="21292" y="5523"/>
                      </a:cubicBezTo>
                      <a:cubicBezTo>
                        <a:pt x="21344" y="5612"/>
                        <a:pt x="21370" y="5678"/>
                        <a:pt x="21370" y="5722"/>
                      </a:cubicBezTo>
                      <a:cubicBezTo>
                        <a:pt x="21370" y="5748"/>
                        <a:pt x="21366" y="5777"/>
                        <a:pt x="21359" y="5807"/>
                      </a:cubicBezTo>
                      <a:cubicBezTo>
                        <a:pt x="21352" y="5835"/>
                        <a:pt x="21348" y="5857"/>
                        <a:pt x="21348" y="5873"/>
                      </a:cubicBezTo>
                      <a:cubicBezTo>
                        <a:pt x="21348" y="5893"/>
                        <a:pt x="21367" y="5928"/>
                        <a:pt x="21405" y="5976"/>
                      </a:cubicBezTo>
                      <a:cubicBezTo>
                        <a:pt x="21441" y="6024"/>
                        <a:pt x="21458" y="6058"/>
                        <a:pt x="21458" y="6076"/>
                      </a:cubicBezTo>
                      <a:lnTo>
                        <a:pt x="21451" y="6115"/>
                      </a:lnTo>
                      <a:cubicBezTo>
                        <a:pt x="21451" y="6129"/>
                        <a:pt x="21446" y="6147"/>
                        <a:pt x="21437" y="6169"/>
                      </a:cubicBezTo>
                      <a:cubicBezTo>
                        <a:pt x="21428" y="6189"/>
                        <a:pt x="21423" y="6208"/>
                        <a:pt x="21423" y="6224"/>
                      </a:cubicBezTo>
                      <a:cubicBezTo>
                        <a:pt x="21428" y="6224"/>
                        <a:pt x="21437" y="6226"/>
                        <a:pt x="21451" y="6230"/>
                      </a:cubicBezTo>
                      <a:cubicBezTo>
                        <a:pt x="21461" y="6230"/>
                        <a:pt x="21478" y="6224"/>
                        <a:pt x="21504" y="6212"/>
                      </a:cubicBezTo>
                      <a:cubicBezTo>
                        <a:pt x="21533" y="6199"/>
                        <a:pt x="21550" y="6193"/>
                        <a:pt x="21557" y="6193"/>
                      </a:cubicBezTo>
                      <a:cubicBezTo>
                        <a:pt x="21579" y="6193"/>
                        <a:pt x="21593" y="6208"/>
                        <a:pt x="21600" y="6236"/>
                      </a:cubicBezTo>
                      <a:lnTo>
                        <a:pt x="14320" y="13942"/>
                      </a:lnTo>
                      <a:cubicBezTo>
                        <a:pt x="14317" y="13946"/>
                        <a:pt x="14316" y="13955"/>
                        <a:pt x="14316" y="13969"/>
                      </a:cubicBezTo>
                      <a:cubicBezTo>
                        <a:pt x="14316" y="13999"/>
                        <a:pt x="14333" y="14040"/>
                        <a:pt x="14366" y="14090"/>
                      </a:cubicBezTo>
                      <a:cubicBezTo>
                        <a:pt x="14396" y="14138"/>
                        <a:pt x="14421" y="14162"/>
                        <a:pt x="14440" y="14162"/>
                      </a:cubicBezTo>
                      <a:cubicBezTo>
                        <a:pt x="14454" y="14162"/>
                        <a:pt x="14471" y="14159"/>
                        <a:pt x="14490" y="14153"/>
                      </a:cubicBezTo>
                      <a:cubicBezTo>
                        <a:pt x="14509" y="14147"/>
                        <a:pt x="14524" y="14144"/>
                        <a:pt x="14536" y="14144"/>
                      </a:cubicBezTo>
                      <a:cubicBezTo>
                        <a:pt x="14611" y="14144"/>
                        <a:pt x="14654" y="14182"/>
                        <a:pt x="14663" y="14256"/>
                      </a:cubicBezTo>
                      <a:cubicBezTo>
                        <a:pt x="14673" y="14329"/>
                        <a:pt x="14696" y="14365"/>
                        <a:pt x="14734" y="14365"/>
                      </a:cubicBezTo>
                      <a:cubicBezTo>
                        <a:pt x="14739" y="14365"/>
                        <a:pt x="14790" y="14339"/>
                        <a:pt x="14887" y="14286"/>
                      </a:cubicBezTo>
                      <a:cubicBezTo>
                        <a:pt x="14946" y="14286"/>
                        <a:pt x="15055" y="14362"/>
                        <a:pt x="15216" y="14513"/>
                      </a:cubicBezTo>
                      <a:cubicBezTo>
                        <a:pt x="15216" y="14533"/>
                        <a:pt x="15184" y="14571"/>
                        <a:pt x="15120" y="14628"/>
                      </a:cubicBezTo>
                      <a:cubicBezTo>
                        <a:pt x="15083" y="14660"/>
                        <a:pt x="15057" y="14699"/>
                        <a:pt x="15042" y="14745"/>
                      </a:cubicBezTo>
                      <a:close/>
                      <a:moveTo>
                        <a:pt x="15042" y="1474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34" name="AutoShape 7"/>
                <p:cNvSpPr>
                  <a:spLocks/>
                </p:cNvSpPr>
                <p:nvPr/>
              </p:nvSpPr>
              <p:spPr bwMode="auto">
                <a:xfrm>
                  <a:off x="5340666" y="688672"/>
                  <a:ext cx="0" cy="0"/>
                </a:xfrm>
                <a:custGeom>
                  <a:avLst/>
                  <a:gdLst/>
                  <a:ahLst/>
                  <a:cxnLst/>
                  <a:rect l="0" t="0" r="r" b="b"/>
                  <a:pathLst>
                    <a:path w="21600" h="21600">
                      <a:moveTo>
                        <a:pt x="10853" y="0"/>
                      </a:moveTo>
                      <a:cubicBezTo>
                        <a:pt x="3688" y="7165"/>
                        <a:pt x="0" y="14435"/>
                        <a:pt x="0" y="21600"/>
                      </a:cubicBezTo>
                      <a:lnTo>
                        <a:pt x="21600" y="21600"/>
                      </a:lnTo>
                      <a:cubicBezTo>
                        <a:pt x="14435" y="14435"/>
                        <a:pt x="10853" y="7165"/>
                        <a:pt x="10853" y="0"/>
                      </a:cubicBezTo>
                      <a:close/>
                      <a:moveTo>
                        <a:pt x="10853"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35" name="AutoShape 8"/>
                <p:cNvSpPr>
                  <a:spLocks/>
                </p:cNvSpPr>
                <p:nvPr/>
              </p:nvSpPr>
              <p:spPr bwMode="auto">
                <a:xfrm>
                  <a:off x="4503751" y="358853"/>
                  <a:ext cx="39166" cy="104099"/>
                </a:xfrm>
                <a:custGeom>
                  <a:avLst/>
                  <a:gdLst/>
                  <a:ahLst/>
                  <a:cxnLst/>
                  <a:rect l="0" t="0" r="r" b="b"/>
                  <a:pathLst>
                    <a:path w="21600" h="21600">
                      <a:moveTo>
                        <a:pt x="14362" y="0"/>
                      </a:moveTo>
                      <a:lnTo>
                        <a:pt x="15493" y="0"/>
                      </a:lnTo>
                      <a:cubicBezTo>
                        <a:pt x="15040" y="653"/>
                        <a:pt x="14588" y="1207"/>
                        <a:pt x="14136" y="1661"/>
                      </a:cubicBezTo>
                      <a:cubicBezTo>
                        <a:pt x="13834" y="1974"/>
                        <a:pt x="13684" y="2514"/>
                        <a:pt x="13684" y="3280"/>
                      </a:cubicBezTo>
                      <a:cubicBezTo>
                        <a:pt x="13684" y="5411"/>
                        <a:pt x="15003" y="6632"/>
                        <a:pt x="17642" y="6944"/>
                      </a:cubicBezTo>
                      <a:cubicBezTo>
                        <a:pt x="20280" y="7285"/>
                        <a:pt x="21600" y="8080"/>
                        <a:pt x="21600" y="9330"/>
                      </a:cubicBezTo>
                      <a:cubicBezTo>
                        <a:pt x="21600" y="9756"/>
                        <a:pt x="21035" y="10282"/>
                        <a:pt x="19904" y="10907"/>
                      </a:cubicBezTo>
                      <a:cubicBezTo>
                        <a:pt x="18697" y="11532"/>
                        <a:pt x="18094" y="12426"/>
                        <a:pt x="18094" y="13590"/>
                      </a:cubicBezTo>
                      <a:cubicBezTo>
                        <a:pt x="18094" y="14017"/>
                        <a:pt x="17528" y="14457"/>
                        <a:pt x="16397" y="14912"/>
                      </a:cubicBezTo>
                      <a:cubicBezTo>
                        <a:pt x="15191" y="15366"/>
                        <a:pt x="14588" y="15877"/>
                        <a:pt x="14588" y="16445"/>
                      </a:cubicBezTo>
                      <a:cubicBezTo>
                        <a:pt x="14588" y="16900"/>
                        <a:pt x="14776" y="17226"/>
                        <a:pt x="15154" y="17425"/>
                      </a:cubicBezTo>
                      <a:cubicBezTo>
                        <a:pt x="15304" y="17510"/>
                        <a:pt x="15493" y="17624"/>
                        <a:pt x="15719" y="17766"/>
                      </a:cubicBezTo>
                      <a:cubicBezTo>
                        <a:pt x="15946" y="17879"/>
                        <a:pt x="16247" y="18022"/>
                        <a:pt x="16624" y="18192"/>
                      </a:cubicBezTo>
                      <a:cubicBezTo>
                        <a:pt x="17077" y="18362"/>
                        <a:pt x="17642" y="18547"/>
                        <a:pt x="18320" y="18746"/>
                      </a:cubicBezTo>
                      <a:cubicBezTo>
                        <a:pt x="19225" y="19143"/>
                        <a:pt x="19677" y="19598"/>
                        <a:pt x="19677" y="20109"/>
                      </a:cubicBezTo>
                      <a:cubicBezTo>
                        <a:pt x="19677" y="21103"/>
                        <a:pt x="18358" y="21600"/>
                        <a:pt x="15719" y="21600"/>
                      </a:cubicBezTo>
                      <a:cubicBezTo>
                        <a:pt x="13306" y="21600"/>
                        <a:pt x="11799" y="21202"/>
                        <a:pt x="11196" y="20407"/>
                      </a:cubicBezTo>
                      <a:cubicBezTo>
                        <a:pt x="10291" y="19328"/>
                        <a:pt x="9650" y="18732"/>
                        <a:pt x="9273" y="18618"/>
                      </a:cubicBezTo>
                      <a:cubicBezTo>
                        <a:pt x="8519" y="18390"/>
                        <a:pt x="6748" y="18192"/>
                        <a:pt x="3958" y="18022"/>
                      </a:cubicBezTo>
                      <a:cubicBezTo>
                        <a:pt x="1923" y="17908"/>
                        <a:pt x="904" y="17568"/>
                        <a:pt x="904" y="16999"/>
                      </a:cubicBezTo>
                      <a:cubicBezTo>
                        <a:pt x="904" y="16857"/>
                        <a:pt x="1168" y="16601"/>
                        <a:pt x="1696" y="16232"/>
                      </a:cubicBezTo>
                      <a:cubicBezTo>
                        <a:pt x="2299" y="15835"/>
                        <a:pt x="2639" y="15380"/>
                        <a:pt x="2714" y="14869"/>
                      </a:cubicBezTo>
                      <a:cubicBezTo>
                        <a:pt x="2714" y="13875"/>
                        <a:pt x="2790" y="13136"/>
                        <a:pt x="2941" y="12653"/>
                      </a:cubicBezTo>
                      <a:cubicBezTo>
                        <a:pt x="2941" y="12511"/>
                        <a:pt x="3581" y="11745"/>
                        <a:pt x="4862" y="10353"/>
                      </a:cubicBezTo>
                      <a:cubicBezTo>
                        <a:pt x="6070" y="8961"/>
                        <a:pt x="6672" y="8095"/>
                        <a:pt x="6672" y="7754"/>
                      </a:cubicBezTo>
                      <a:cubicBezTo>
                        <a:pt x="6672" y="7214"/>
                        <a:pt x="5579" y="6561"/>
                        <a:pt x="3393" y="5794"/>
                      </a:cubicBezTo>
                      <a:cubicBezTo>
                        <a:pt x="1131" y="5027"/>
                        <a:pt x="0" y="4431"/>
                        <a:pt x="0" y="4005"/>
                      </a:cubicBezTo>
                      <a:cubicBezTo>
                        <a:pt x="0" y="2897"/>
                        <a:pt x="2074" y="1960"/>
                        <a:pt x="6220" y="1193"/>
                      </a:cubicBezTo>
                      <a:cubicBezTo>
                        <a:pt x="8406" y="795"/>
                        <a:pt x="11121" y="397"/>
                        <a:pt x="14362" y="0"/>
                      </a:cubicBezTo>
                      <a:close/>
                      <a:moveTo>
                        <a:pt x="14362"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36" name="AutoShape 9"/>
                <p:cNvSpPr>
                  <a:spLocks/>
                </p:cNvSpPr>
                <p:nvPr/>
              </p:nvSpPr>
              <p:spPr bwMode="auto">
                <a:xfrm>
                  <a:off x="4845938" y="474290"/>
                  <a:ext cx="12884" cy="15976"/>
                </a:xfrm>
                <a:custGeom>
                  <a:avLst/>
                  <a:gdLst/>
                  <a:ahLst/>
                  <a:cxnLst/>
                  <a:rect l="0" t="0" r="r" b="b"/>
                  <a:pathLst>
                    <a:path w="21600" h="21600">
                      <a:moveTo>
                        <a:pt x="3429" y="6922"/>
                      </a:moveTo>
                      <a:cubicBezTo>
                        <a:pt x="6171" y="2308"/>
                        <a:pt x="9144" y="0"/>
                        <a:pt x="12342" y="0"/>
                      </a:cubicBezTo>
                      <a:cubicBezTo>
                        <a:pt x="13715" y="0"/>
                        <a:pt x="15429" y="736"/>
                        <a:pt x="17485" y="2216"/>
                      </a:cubicBezTo>
                      <a:cubicBezTo>
                        <a:pt x="20231" y="4062"/>
                        <a:pt x="21600" y="6183"/>
                        <a:pt x="21600" y="8584"/>
                      </a:cubicBezTo>
                      <a:cubicBezTo>
                        <a:pt x="18171" y="17259"/>
                        <a:pt x="14056" y="21600"/>
                        <a:pt x="9258" y="21600"/>
                      </a:cubicBezTo>
                      <a:cubicBezTo>
                        <a:pt x="6971" y="21600"/>
                        <a:pt x="4801" y="20675"/>
                        <a:pt x="2742" y="18832"/>
                      </a:cubicBezTo>
                      <a:cubicBezTo>
                        <a:pt x="914" y="16983"/>
                        <a:pt x="0" y="15325"/>
                        <a:pt x="0" y="13844"/>
                      </a:cubicBezTo>
                      <a:cubicBezTo>
                        <a:pt x="0" y="13844"/>
                        <a:pt x="3429" y="6922"/>
                        <a:pt x="3429" y="6922"/>
                      </a:cubicBezTo>
                      <a:close/>
                      <a:moveTo>
                        <a:pt x="3429" y="692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37" name="AutoShape 10"/>
                <p:cNvSpPr>
                  <a:spLocks/>
                </p:cNvSpPr>
                <p:nvPr/>
              </p:nvSpPr>
              <p:spPr bwMode="auto">
                <a:xfrm>
                  <a:off x="4347087" y="610340"/>
                  <a:ext cx="45350" cy="65964"/>
                </a:xfrm>
                <a:custGeom>
                  <a:avLst/>
                  <a:gdLst/>
                  <a:ahLst/>
                  <a:cxnLst/>
                  <a:rect l="0" t="0" r="r" b="b"/>
                  <a:pathLst>
                    <a:path w="21600" h="21600">
                      <a:moveTo>
                        <a:pt x="6227" y="0"/>
                      </a:moveTo>
                      <a:cubicBezTo>
                        <a:pt x="7460" y="2549"/>
                        <a:pt x="8757" y="4427"/>
                        <a:pt x="10119" y="5635"/>
                      </a:cubicBezTo>
                      <a:cubicBezTo>
                        <a:pt x="11740" y="7066"/>
                        <a:pt x="13913" y="8027"/>
                        <a:pt x="16638" y="8519"/>
                      </a:cubicBezTo>
                      <a:cubicBezTo>
                        <a:pt x="17481" y="8653"/>
                        <a:pt x="17968" y="9256"/>
                        <a:pt x="18098" y="10330"/>
                      </a:cubicBezTo>
                      <a:cubicBezTo>
                        <a:pt x="18162" y="10912"/>
                        <a:pt x="18259" y="11739"/>
                        <a:pt x="18389" y="12812"/>
                      </a:cubicBezTo>
                      <a:cubicBezTo>
                        <a:pt x="18584" y="13394"/>
                        <a:pt x="19200" y="14087"/>
                        <a:pt x="20237" y="14892"/>
                      </a:cubicBezTo>
                      <a:cubicBezTo>
                        <a:pt x="21146" y="15518"/>
                        <a:pt x="21600" y="16278"/>
                        <a:pt x="21600" y="17172"/>
                      </a:cubicBezTo>
                      <a:cubicBezTo>
                        <a:pt x="21600" y="17798"/>
                        <a:pt x="20271" y="18491"/>
                        <a:pt x="17611" y="19252"/>
                      </a:cubicBezTo>
                      <a:cubicBezTo>
                        <a:pt x="17091" y="19520"/>
                        <a:pt x="16508" y="20035"/>
                        <a:pt x="15859" y="20795"/>
                      </a:cubicBezTo>
                      <a:cubicBezTo>
                        <a:pt x="15471" y="21331"/>
                        <a:pt x="14854" y="21600"/>
                        <a:pt x="14011" y="21600"/>
                      </a:cubicBezTo>
                      <a:cubicBezTo>
                        <a:pt x="13103" y="21600"/>
                        <a:pt x="12227" y="21175"/>
                        <a:pt x="11384" y="20325"/>
                      </a:cubicBezTo>
                      <a:cubicBezTo>
                        <a:pt x="10606" y="19431"/>
                        <a:pt x="9828" y="18984"/>
                        <a:pt x="9048" y="18984"/>
                      </a:cubicBezTo>
                      <a:lnTo>
                        <a:pt x="2822" y="18849"/>
                      </a:lnTo>
                      <a:cubicBezTo>
                        <a:pt x="2432" y="17821"/>
                        <a:pt x="2173" y="16748"/>
                        <a:pt x="2044" y="15629"/>
                      </a:cubicBezTo>
                      <a:cubicBezTo>
                        <a:pt x="2044" y="14378"/>
                        <a:pt x="1978" y="13371"/>
                        <a:pt x="1849" y="12611"/>
                      </a:cubicBezTo>
                      <a:cubicBezTo>
                        <a:pt x="1719" y="11538"/>
                        <a:pt x="1363" y="10598"/>
                        <a:pt x="778" y="9793"/>
                      </a:cubicBezTo>
                      <a:cubicBezTo>
                        <a:pt x="259" y="9078"/>
                        <a:pt x="0" y="8541"/>
                        <a:pt x="0" y="8184"/>
                      </a:cubicBezTo>
                      <a:cubicBezTo>
                        <a:pt x="0" y="7289"/>
                        <a:pt x="844" y="5746"/>
                        <a:pt x="2530" y="3555"/>
                      </a:cubicBezTo>
                      <a:cubicBezTo>
                        <a:pt x="4087" y="1498"/>
                        <a:pt x="5190" y="313"/>
                        <a:pt x="5838" y="0"/>
                      </a:cubicBezTo>
                      <a:cubicBezTo>
                        <a:pt x="5838" y="0"/>
                        <a:pt x="6227" y="0"/>
                        <a:pt x="6227" y="0"/>
                      </a:cubicBezTo>
                      <a:close/>
                      <a:moveTo>
                        <a:pt x="6227"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38" name="AutoShape 11"/>
                <p:cNvSpPr>
                  <a:spLocks/>
                </p:cNvSpPr>
                <p:nvPr/>
              </p:nvSpPr>
              <p:spPr bwMode="auto">
                <a:xfrm>
                  <a:off x="4417174" y="655690"/>
                  <a:ext cx="26798" cy="33497"/>
                </a:xfrm>
                <a:custGeom>
                  <a:avLst/>
                  <a:gdLst/>
                  <a:ahLst/>
                  <a:cxnLst/>
                  <a:rect l="0" t="0" r="r" b="b"/>
                  <a:pathLst>
                    <a:path w="21600" h="21600">
                      <a:moveTo>
                        <a:pt x="3792" y="0"/>
                      </a:moveTo>
                      <a:cubicBezTo>
                        <a:pt x="5001" y="0"/>
                        <a:pt x="7364" y="702"/>
                        <a:pt x="10882" y="2107"/>
                      </a:cubicBezTo>
                      <a:cubicBezTo>
                        <a:pt x="12531" y="2721"/>
                        <a:pt x="14784" y="3336"/>
                        <a:pt x="17642" y="3950"/>
                      </a:cubicBezTo>
                      <a:cubicBezTo>
                        <a:pt x="18082" y="4127"/>
                        <a:pt x="18851" y="5662"/>
                        <a:pt x="19951" y="8561"/>
                      </a:cubicBezTo>
                      <a:cubicBezTo>
                        <a:pt x="21051" y="11458"/>
                        <a:pt x="21600" y="13390"/>
                        <a:pt x="21600" y="14357"/>
                      </a:cubicBezTo>
                      <a:cubicBezTo>
                        <a:pt x="21600" y="16374"/>
                        <a:pt x="20611" y="18130"/>
                        <a:pt x="18632" y="19624"/>
                      </a:cubicBezTo>
                      <a:cubicBezTo>
                        <a:pt x="16874" y="20941"/>
                        <a:pt x="15004" y="21600"/>
                        <a:pt x="13025" y="21600"/>
                      </a:cubicBezTo>
                      <a:cubicBezTo>
                        <a:pt x="6100" y="21600"/>
                        <a:pt x="1758" y="20941"/>
                        <a:pt x="0" y="19624"/>
                      </a:cubicBezTo>
                      <a:cubicBezTo>
                        <a:pt x="3626" y="14971"/>
                        <a:pt x="5441" y="12556"/>
                        <a:pt x="5441" y="12381"/>
                      </a:cubicBezTo>
                      <a:cubicBezTo>
                        <a:pt x="5441" y="11766"/>
                        <a:pt x="5056" y="10493"/>
                        <a:pt x="4287" y="8561"/>
                      </a:cubicBezTo>
                      <a:cubicBezTo>
                        <a:pt x="3517" y="6718"/>
                        <a:pt x="3132" y="5445"/>
                        <a:pt x="3132" y="4742"/>
                      </a:cubicBezTo>
                      <a:cubicBezTo>
                        <a:pt x="3132" y="4742"/>
                        <a:pt x="3792" y="0"/>
                        <a:pt x="3792" y="0"/>
                      </a:cubicBezTo>
                      <a:close/>
                      <a:moveTo>
                        <a:pt x="3792"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39" name="AutoShape 12"/>
                <p:cNvSpPr>
                  <a:spLocks/>
                </p:cNvSpPr>
                <p:nvPr/>
              </p:nvSpPr>
              <p:spPr bwMode="auto">
                <a:xfrm>
                  <a:off x="4371824" y="861827"/>
                  <a:ext cx="21644" cy="10307"/>
                </a:xfrm>
                <a:custGeom>
                  <a:avLst/>
                  <a:gdLst/>
                  <a:ahLst/>
                  <a:cxnLst/>
                  <a:rect l="0" t="0" r="r" b="b"/>
                  <a:pathLst>
                    <a:path w="21600" h="21600">
                      <a:moveTo>
                        <a:pt x="7066" y="0"/>
                      </a:moveTo>
                      <a:cubicBezTo>
                        <a:pt x="9219" y="0"/>
                        <a:pt x="14063" y="2256"/>
                        <a:pt x="21600" y="6772"/>
                      </a:cubicBezTo>
                      <a:lnTo>
                        <a:pt x="21198" y="12286"/>
                      </a:lnTo>
                      <a:cubicBezTo>
                        <a:pt x="18371" y="13975"/>
                        <a:pt x="15409" y="16376"/>
                        <a:pt x="12314" y="19481"/>
                      </a:cubicBezTo>
                      <a:cubicBezTo>
                        <a:pt x="10968" y="20896"/>
                        <a:pt x="8882" y="21600"/>
                        <a:pt x="6057" y="21600"/>
                      </a:cubicBezTo>
                      <a:cubicBezTo>
                        <a:pt x="2019" y="21600"/>
                        <a:pt x="0" y="17510"/>
                        <a:pt x="0" y="9318"/>
                      </a:cubicBezTo>
                      <a:cubicBezTo>
                        <a:pt x="0" y="6772"/>
                        <a:pt x="1009" y="4516"/>
                        <a:pt x="3028" y="2538"/>
                      </a:cubicBezTo>
                      <a:cubicBezTo>
                        <a:pt x="4643" y="844"/>
                        <a:pt x="5988" y="0"/>
                        <a:pt x="7066" y="0"/>
                      </a:cubicBezTo>
                      <a:close/>
                      <a:moveTo>
                        <a:pt x="7066"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0" name="AutoShape 13"/>
                <p:cNvSpPr>
                  <a:spLocks/>
                </p:cNvSpPr>
                <p:nvPr/>
              </p:nvSpPr>
              <p:spPr bwMode="auto">
                <a:xfrm>
                  <a:off x="3856482" y="857704"/>
                  <a:ext cx="70086" cy="25252"/>
                </a:xfrm>
                <a:custGeom>
                  <a:avLst/>
                  <a:gdLst/>
                  <a:ahLst/>
                  <a:cxnLst/>
                  <a:rect l="0" t="0" r="r" b="b"/>
                  <a:pathLst>
                    <a:path w="21600" h="21600">
                      <a:moveTo>
                        <a:pt x="13723" y="3863"/>
                      </a:moveTo>
                      <a:cubicBezTo>
                        <a:pt x="14485" y="6321"/>
                        <a:pt x="15036" y="7551"/>
                        <a:pt x="15374" y="7551"/>
                      </a:cubicBezTo>
                      <a:cubicBezTo>
                        <a:pt x="15798" y="7551"/>
                        <a:pt x="16116" y="7141"/>
                        <a:pt x="16327" y="6321"/>
                      </a:cubicBezTo>
                      <a:cubicBezTo>
                        <a:pt x="16582" y="5385"/>
                        <a:pt x="16835" y="4917"/>
                        <a:pt x="17090" y="4917"/>
                      </a:cubicBezTo>
                      <a:cubicBezTo>
                        <a:pt x="17640" y="4917"/>
                        <a:pt x="18551" y="6614"/>
                        <a:pt x="19821" y="10011"/>
                      </a:cubicBezTo>
                      <a:cubicBezTo>
                        <a:pt x="21008" y="13172"/>
                        <a:pt x="21600" y="15102"/>
                        <a:pt x="21600" y="15804"/>
                      </a:cubicBezTo>
                      <a:cubicBezTo>
                        <a:pt x="21600" y="17445"/>
                        <a:pt x="21092" y="18907"/>
                        <a:pt x="20076" y="20196"/>
                      </a:cubicBezTo>
                      <a:cubicBezTo>
                        <a:pt x="19271" y="21131"/>
                        <a:pt x="18636" y="21600"/>
                        <a:pt x="18170" y="21600"/>
                      </a:cubicBezTo>
                      <a:cubicBezTo>
                        <a:pt x="17662" y="21600"/>
                        <a:pt x="16941" y="20780"/>
                        <a:pt x="16010" y="19141"/>
                      </a:cubicBezTo>
                      <a:cubicBezTo>
                        <a:pt x="15798" y="18672"/>
                        <a:pt x="15608" y="18322"/>
                        <a:pt x="15438" y="18087"/>
                      </a:cubicBezTo>
                      <a:cubicBezTo>
                        <a:pt x="15142" y="17503"/>
                        <a:pt x="14929" y="17093"/>
                        <a:pt x="14803" y="16858"/>
                      </a:cubicBezTo>
                      <a:cubicBezTo>
                        <a:pt x="14718" y="16858"/>
                        <a:pt x="14655" y="16800"/>
                        <a:pt x="14612" y="16683"/>
                      </a:cubicBezTo>
                      <a:cubicBezTo>
                        <a:pt x="13384" y="15979"/>
                        <a:pt x="10948" y="15044"/>
                        <a:pt x="7306" y="13872"/>
                      </a:cubicBezTo>
                      <a:cubicBezTo>
                        <a:pt x="2436" y="12235"/>
                        <a:pt x="0" y="10302"/>
                        <a:pt x="0" y="8078"/>
                      </a:cubicBezTo>
                      <a:cubicBezTo>
                        <a:pt x="0" y="5854"/>
                        <a:pt x="975" y="4565"/>
                        <a:pt x="2923" y="4213"/>
                      </a:cubicBezTo>
                      <a:cubicBezTo>
                        <a:pt x="4320" y="3980"/>
                        <a:pt x="5337" y="4097"/>
                        <a:pt x="5972" y="4565"/>
                      </a:cubicBezTo>
                      <a:cubicBezTo>
                        <a:pt x="7370" y="4917"/>
                        <a:pt x="8555" y="4273"/>
                        <a:pt x="9529" y="2634"/>
                      </a:cubicBezTo>
                      <a:cubicBezTo>
                        <a:pt x="10588" y="879"/>
                        <a:pt x="11393" y="0"/>
                        <a:pt x="11944" y="0"/>
                      </a:cubicBezTo>
                      <a:cubicBezTo>
                        <a:pt x="12367" y="0"/>
                        <a:pt x="12960" y="1289"/>
                        <a:pt x="13723" y="3863"/>
                      </a:cubicBezTo>
                      <a:close/>
                      <a:moveTo>
                        <a:pt x="13723" y="386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1" name="AutoShape 14"/>
                <p:cNvSpPr>
                  <a:spLocks/>
                </p:cNvSpPr>
                <p:nvPr/>
              </p:nvSpPr>
              <p:spPr bwMode="auto">
                <a:xfrm>
                  <a:off x="4000778" y="911300"/>
                  <a:ext cx="12368" cy="15976"/>
                </a:xfrm>
                <a:custGeom>
                  <a:avLst/>
                  <a:gdLst/>
                  <a:ahLst/>
                  <a:cxnLst/>
                  <a:rect l="0" t="0" r="r" b="b"/>
                  <a:pathLst>
                    <a:path w="21600" h="21600">
                      <a:moveTo>
                        <a:pt x="11149" y="0"/>
                      </a:moveTo>
                      <a:cubicBezTo>
                        <a:pt x="13238" y="0"/>
                        <a:pt x="15330" y="736"/>
                        <a:pt x="17419" y="2214"/>
                      </a:cubicBezTo>
                      <a:cubicBezTo>
                        <a:pt x="19742" y="3876"/>
                        <a:pt x="20903" y="5722"/>
                        <a:pt x="20903" y="7752"/>
                      </a:cubicBezTo>
                      <a:lnTo>
                        <a:pt x="21600" y="15786"/>
                      </a:lnTo>
                      <a:cubicBezTo>
                        <a:pt x="19045" y="19662"/>
                        <a:pt x="15214" y="21600"/>
                        <a:pt x="10104" y="21600"/>
                      </a:cubicBezTo>
                      <a:cubicBezTo>
                        <a:pt x="7549" y="21600"/>
                        <a:pt x="5226" y="20677"/>
                        <a:pt x="3137" y="18831"/>
                      </a:cubicBezTo>
                      <a:cubicBezTo>
                        <a:pt x="1044" y="16982"/>
                        <a:pt x="0" y="15231"/>
                        <a:pt x="0" y="13566"/>
                      </a:cubicBezTo>
                      <a:cubicBezTo>
                        <a:pt x="0" y="4520"/>
                        <a:pt x="3715" y="0"/>
                        <a:pt x="11149" y="0"/>
                      </a:cubicBezTo>
                      <a:close/>
                      <a:moveTo>
                        <a:pt x="11149"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2" name="AutoShape 15"/>
                <p:cNvSpPr>
                  <a:spLocks/>
                </p:cNvSpPr>
                <p:nvPr/>
              </p:nvSpPr>
              <p:spPr bwMode="auto">
                <a:xfrm>
                  <a:off x="3918323" y="886563"/>
                  <a:ext cx="68541" cy="34528"/>
                </a:xfrm>
                <a:custGeom>
                  <a:avLst/>
                  <a:gdLst/>
                  <a:ahLst/>
                  <a:cxnLst/>
                  <a:rect l="0" t="0" r="r" b="b"/>
                  <a:pathLst>
                    <a:path w="21600" h="21600">
                      <a:moveTo>
                        <a:pt x="0" y="3986"/>
                      </a:moveTo>
                      <a:cubicBezTo>
                        <a:pt x="0" y="2700"/>
                        <a:pt x="259" y="2058"/>
                        <a:pt x="778" y="2058"/>
                      </a:cubicBezTo>
                      <a:cubicBezTo>
                        <a:pt x="1427" y="2058"/>
                        <a:pt x="2508" y="3472"/>
                        <a:pt x="4021" y="6300"/>
                      </a:cubicBezTo>
                      <a:cubicBezTo>
                        <a:pt x="4108" y="6472"/>
                        <a:pt x="4259" y="6686"/>
                        <a:pt x="4475" y="6944"/>
                      </a:cubicBezTo>
                      <a:cubicBezTo>
                        <a:pt x="4648" y="7029"/>
                        <a:pt x="4865" y="7201"/>
                        <a:pt x="5124" y="7458"/>
                      </a:cubicBezTo>
                      <a:cubicBezTo>
                        <a:pt x="5859" y="8057"/>
                        <a:pt x="6443" y="8357"/>
                        <a:pt x="6875" y="8357"/>
                      </a:cubicBezTo>
                      <a:cubicBezTo>
                        <a:pt x="7264" y="8357"/>
                        <a:pt x="7827" y="8014"/>
                        <a:pt x="8562" y="7329"/>
                      </a:cubicBezTo>
                      <a:cubicBezTo>
                        <a:pt x="9340" y="6643"/>
                        <a:pt x="10032" y="6300"/>
                        <a:pt x="10638" y="6300"/>
                      </a:cubicBezTo>
                      <a:cubicBezTo>
                        <a:pt x="11632" y="6300"/>
                        <a:pt x="12086" y="7072"/>
                        <a:pt x="12000" y="8615"/>
                      </a:cubicBezTo>
                      <a:cubicBezTo>
                        <a:pt x="11956" y="10072"/>
                        <a:pt x="12281" y="10801"/>
                        <a:pt x="12973" y="10801"/>
                      </a:cubicBezTo>
                      <a:cubicBezTo>
                        <a:pt x="13838" y="10801"/>
                        <a:pt x="14270" y="10030"/>
                        <a:pt x="14270" y="8487"/>
                      </a:cubicBezTo>
                      <a:cubicBezTo>
                        <a:pt x="14270" y="7886"/>
                        <a:pt x="14205" y="7372"/>
                        <a:pt x="14075" y="6944"/>
                      </a:cubicBezTo>
                      <a:cubicBezTo>
                        <a:pt x="13946" y="6428"/>
                        <a:pt x="13881" y="5785"/>
                        <a:pt x="13881" y="5015"/>
                      </a:cubicBezTo>
                      <a:cubicBezTo>
                        <a:pt x="13881" y="3902"/>
                        <a:pt x="14011" y="2914"/>
                        <a:pt x="14270" y="2058"/>
                      </a:cubicBezTo>
                      <a:cubicBezTo>
                        <a:pt x="14659" y="686"/>
                        <a:pt x="15286" y="0"/>
                        <a:pt x="16151" y="0"/>
                      </a:cubicBezTo>
                      <a:cubicBezTo>
                        <a:pt x="16843" y="0"/>
                        <a:pt x="17341" y="599"/>
                        <a:pt x="17643" y="1801"/>
                      </a:cubicBezTo>
                      <a:cubicBezTo>
                        <a:pt x="17816" y="2571"/>
                        <a:pt x="18119" y="3986"/>
                        <a:pt x="18551" y="6043"/>
                      </a:cubicBezTo>
                      <a:cubicBezTo>
                        <a:pt x="18984" y="7500"/>
                        <a:pt x="19654" y="8315"/>
                        <a:pt x="20562" y="8487"/>
                      </a:cubicBezTo>
                      <a:cubicBezTo>
                        <a:pt x="21254" y="8658"/>
                        <a:pt x="21600" y="9643"/>
                        <a:pt x="21600" y="11443"/>
                      </a:cubicBezTo>
                      <a:cubicBezTo>
                        <a:pt x="21600" y="12387"/>
                        <a:pt x="21146" y="13415"/>
                        <a:pt x="20237" y="14529"/>
                      </a:cubicBezTo>
                      <a:cubicBezTo>
                        <a:pt x="19460" y="15472"/>
                        <a:pt x="18616" y="16158"/>
                        <a:pt x="17708" y="16585"/>
                      </a:cubicBezTo>
                      <a:cubicBezTo>
                        <a:pt x="16800" y="16929"/>
                        <a:pt x="16086" y="17915"/>
                        <a:pt x="15568" y="19543"/>
                      </a:cubicBezTo>
                      <a:cubicBezTo>
                        <a:pt x="15048" y="20914"/>
                        <a:pt x="14529" y="21600"/>
                        <a:pt x="14011" y="21600"/>
                      </a:cubicBezTo>
                      <a:cubicBezTo>
                        <a:pt x="13751" y="21600"/>
                        <a:pt x="13470" y="21344"/>
                        <a:pt x="13168" y="20828"/>
                      </a:cubicBezTo>
                      <a:cubicBezTo>
                        <a:pt x="12692" y="19972"/>
                        <a:pt x="12432" y="19500"/>
                        <a:pt x="12389" y="19415"/>
                      </a:cubicBezTo>
                      <a:cubicBezTo>
                        <a:pt x="12173" y="19072"/>
                        <a:pt x="11892" y="18942"/>
                        <a:pt x="11546" y="19029"/>
                      </a:cubicBezTo>
                      <a:cubicBezTo>
                        <a:pt x="11070" y="19115"/>
                        <a:pt x="10638" y="19157"/>
                        <a:pt x="10249" y="19157"/>
                      </a:cubicBezTo>
                      <a:cubicBezTo>
                        <a:pt x="9643" y="19072"/>
                        <a:pt x="9059" y="18514"/>
                        <a:pt x="8497" y="17487"/>
                      </a:cubicBezTo>
                      <a:cubicBezTo>
                        <a:pt x="7676" y="15944"/>
                        <a:pt x="7200" y="15085"/>
                        <a:pt x="7070" y="14914"/>
                      </a:cubicBezTo>
                      <a:cubicBezTo>
                        <a:pt x="5600" y="13886"/>
                        <a:pt x="4324" y="12772"/>
                        <a:pt x="3243" y="11572"/>
                      </a:cubicBezTo>
                      <a:cubicBezTo>
                        <a:pt x="1081" y="9342"/>
                        <a:pt x="0" y="6815"/>
                        <a:pt x="0" y="3986"/>
                      </a:cubicBezTo>
                      <a:close/>
                      <a:moveTo>
                        <a:pt x="0" y="398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3" name="AutoShape 16"/>
                <p:cNvSpPr>
                  <a:spLocks/>
                </p:cNvSpPr>
                <p:nvPr/>
              </p:nvSpPr>
              <p:spPr bwMode="auto">
                <a:xfrm>
                  <a:off x="4050250" y="931913"/>
                  <a:ext cx="61841" cy="52565"/>
                </a:xfrm>
                <a:custGeom>
                  <a:avLst/>
                  <a:gdLst/>
                  <a:ahLst/>
                  <a:cxnLst/>
                  <a:rect l="0" t="0" r="r" b="b"/>
                  <a:pathLst>
                    <a:path w="21600" h="21600">
                      <a:moveTo>
                        <a:pt x="17223" y="5147"/>
                      </a:moveTo>
                      <a:cubicBezTo>
                        <a:pt x="17270" y="5204"/>
                        <a:pt x="18012" y="5850"/>
                        <a:pt x="19447" y="7088"/>
                      </a:cubicBezTo>
                      <a:cubicBezTo>
                        <a:pt x="20882" y="8438"/>
                        <a:pt x="21600" y="9365"/>
                        <a:pt x="21600" y="9872"/>
                      </a:cubicBezTo>
                      <a:cubicBezTo>
                        <a:pt x="21600" y="10547"/>
                        <a:pt x="21050" y="11531"/>
                        <a:pt x="19950" y="12825"/>
                      </a:cubicBezTo>
                      <a:cubicBezTo>
                        <a:pt x="18802" y="14119"/>
                        <a:pt x="18228" y="15215"/>
                        <a:pt x="18228" y="16115"/>
                      </a:cubicBezTo>
                      <a:cubicBezTo>
                        <a:pt x="18228" y="16678"/>
                        <a:pt x="18443" y="17297"/>
                        <a:pt x="18873" y="17972"/>
                      </a:cubicBezTo>
                      <a:cubicBezTo>
                        <a:pt x="19256" y="18590"/>
                        <a:pt x="19447" y="19210"/>
                        <a:pt x="19447" y="19828"/>
                      </a:cubicBezTo>
                      <a:cubicBezTo>
                        <a:pt x="19447" y="20334"/>
                        <a:pt x="19280" y="20756"/>
                        <a:pt x="18945" y="21094"/>
                      </a:cubicBezTo>
                      <a:cubicBezTo>
                        <a:pt x="18610" y="21432"/>
                        <a:pt x="18228" y="21600"/>
                        <a:pt x="17797" y="21600"/>
                      </a:cubicBezTo>
                      <a:cubicBezTo>
                        <a:pt x="17558" y="21600"/>
                        <a:pt x="17366" y="21347"/>
                        <a:pt x="17223" y="20841"/>
                      </a:cubicBezTo>
                      <a:cubicBezTo>
                        <a:pt x="17031" y="20109"/>
                        <a:pt x="16673" y="19462"/>
                        <a:pt x="16146" y="18900"/>
                      </a:cubicBezTo>
                      <a:cubicBezTo>
                        <a:pt x="15907" y="18675"/>
                        <a:pt x="15476" y="18449"/>
                        <a:pt x="14855" y="18225"/>
                      </a:cubicBezTo>
                      <a:cubicBezTo>
                        <a:pt x="14185" y="18000"/>
                        <a:pt x="13731" y="17747"/>
                        <a:pt x="13491" y="17466"/>
                      </a:cubicBezTo>
                      <a:cubicBezTo>
                        <a:pt x="13156" y="17072"/>
                        <a:pt x="12438" y="16425"/>
                        <a:pt x="11338" y="15526"/>
                      </a:cubicBezTo>
                      <a:cubicBezTo>
                        <a:pt x="10573" y="14906"/>
                        <a:pt x="10070" y="14288"/>
                        <a:pt x="9831" y="13669"/>
                      </a:cubicBezTo>
                      <a:cubicBezTo>
                        <a:pt x="8588" y="10800"/>
                        <a:pt x="7129" y="9422"/>
                        <a:pt x="5454" y="9534"/>
                      </a:cubicBezTo>
                      <a:cubicBezTo>
                        <a:pt x="3923" y="9590"/>
                        <a:pt x="2774" y="9590"/>
                        <a:pt x="2009" y="9534"/>
                      </a:cubicBezTo>
                      <a:cubicBezTo>
                        <a:pt x="670" y="9478"/>
                        <a:pt x="0" y="8973"/>
                        <a:pt x="0" y="8015"/>
                      </a:cubicBezTo>
                      <a:cubicBezTo>
                        <a:pt x="0" y="7566"/>
                        <a:pt x="215" y="6695"/>
                        <a:pt x="646" y="5401"/>
                      </a:cubicBezTo>
                      <a:cubicBezTo>
                        <a:pt x="1076" y="4106"/>
                        <a:pt x="1292" y="3263"/>
                        <a:pt x="1292" y="2869"/>
                      </a:cubicBezTo>
                      <a:cubicBezTo>
                        <a:pt x="1292" y="1969"/>
                        <a:pt x="1627" y="1238"/>
                        <a:pt x="2297" y="675"/>
                      </a:cubicBezTo>
                      <a:cubicBezTo>
                        <a:pt x="2870" y="225"/>
                        <a:pt x="3492" y="0"/>
                        <a:pt x="4162" y="0"/>
                      </a:cubicBezTo>
                      <a:cubicBezTo>
                        <a:pt x="4688" y="0"/>
                        <a:pt x="5478" y="253"/>
                        <a:pt x="6530" y="760"/>
                      </a:cubicBezTo>
                      <a:cubicBezTo>
                        <a:pt x="7583" y="1266"/>
                        <a:pt x="8324" y="1519"/>
                        <a:pt x="8755" y="1519"/>
                      </a:cubicBezTo>
                      <a:cubicBezTo>
                        <a:pt x="8803" y="1519"/>
                        <a:pt x="9162" y="1266"/>
                        <a:pt x="9831" y="760"/>
                      </a:cubicBezTo>
                      <a:cubicBezTo>
                        <a:pt x="10501" y="253"/>
                        <a:pt x="11099" y="0"/>
                        <a:pt x="11626" y="0"/>
                      </a:cubicBezTo>
                      <a:cubicBezTo>
                        <a:pt x="12487" y="0"/>
                        <a:pt x="13324" y="816"/>
                        <a:pt x="14137" y="2447"/>
                      </a:cubicBezTo>
                      <a:cubicBezTo>
                        <a:pt x="14281" y="2785"/>
                        <a:pt x="14759" y="3235"/>
                        <a:pt x="15572" y="3797"/>
                      </a:cubicBezTo>
                      <a:cubicBezTo>
                        <a:pt x="16481" y="4472"/>
                        <a:pt x="17031" y="4922"/>
                        <a:pt x="17223" y="5147"/>
                      </a:cubicBezTo>
                      <a:close/>
                      <a:moveTo>
                        <a:pt x="17223" y="514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4" name="AutoShape 17"/>
                <p:cNvSpPr>
                  <a:spLocks/>
                </p:cNvSpPr>
                <p:nvPr/>
              </p:nvSpPr>
              <p:spPr bwMode="auto">
                <a:xfrm>
                  <a:off x="4433665" y="1100945"/>
                  <a:ext cx="98430" cy="63902"/>
                </a:xfrm>
                <a:custGeom>
                  <a:avLst/>
                  <a:gdLst/>
                  <a:ahLst/>
                  <a:cxnLst/>
                  <a:rect l="0" t="0" r="r" b="b"/>
                  <a:pathLst>
                    <a:path w="21600" h="21600">
                      <a:moveTo>
                        <a:pt x="2485" y="2014"/>
                      </a:moveTo>
                      <a:cubicBezTo>
                        <a:pt x="2485" y="1134"/>
                        <a:pt x="2711" y="695"/>
                        <a:pt x="3163" y="695"/>
                      </a:cubicBezTo>
                      <a:cubicBezTo>
                        <a:pt x="3314" y="695"/>
                        <a:pt x="3525" y="787"/>
                        <a:pt x="3796" y="972"/>
                      </a:cubicBezTo>
                      <a:cubicBezTo>
                        <a:pt x="3886" y="972"/>
                        <a:pt x="4383" y="810"/>
                        <a:pt x="5287" y="486"/>
                      </a:cubicBezTo>
                      <a:cubicBezTo>
                        <a:pt x="6221" y="162"/>
                        <a:pt x="6839" y="0"/>
                        <a:pt x="7140" y="0"/>
                      </a:cubicBezTo>
                      <a:cubicBezTo>
                        <a:pt x="7652" y="0"/>
                        <a:pt x="8149" y="185"/>
                        <a:pt x="8631" y="556"/>
                      </a:cubicBezTo>
                      <a:cubicBezTo>
                        <a:pt x="9173" y="972"/>
                        <a:pt x="9444" y="1482"/>
                        <a:pt x="9444" y="2084"/>
                      </a:cubicBezTo>
                      <a:cubicBezTo>
                        <a:pt x="9444" y="2269"/>
                        <a:pt x="9248" y="2940"/>
                        <a:pt x="8857" y="4098"/>
                      </a:cubicBezTo>
                      <a:cubicBezTo>
                        <a:pt x="8465" y="5209"/>
                        <a:pt x="8270" y="6019"/>
                        <a:pt x="8270" y="6529"/>
                      </a:cubicBezTo>
                      <a:lnTo>
                        <a:pt x="8360" y="6599"/>
                      </a:lnTo>
                      <a:cubicBezTo>
                        <a:pt x="8571" y="6599"/>
                        <a:pt x="8947" y="7131"/>
                        <a:pt x="9489" y="8196"/>
                      </a:cubicBezTo>
                      <a:cubicBezTo>
                        <a:pt x="9520" y="8196"/>
                        <a:pt x="9550" y="8196"/>
                        <a:pt x="9580" y="8196"/>
                      </a:cubicBezTo>
                      <a:cubicBezTo>
                        <a:pt x="10152" y="7872"/>
                        <a:pt x="10680" y="6575"/>
                        <a:pt x="11161" y="4306"/>
                      </a:cubicBezTo>
                      <a:cubicBezTo>
                        <a:pt x="11674" y="1991"/>
                        <a:pt x="12367" y="834"/>
                        <a:pt x="13240" y="834"/>
                      </a:cubicBezTo>
                      <a:cubicBezTo>
                        <a:pt x="14174" y="834"/>
                        <a:pt x="14641" y="1436"/>
                        <a:pt x="14641" y="2640"/>
                      </a:cubicBezTo>
                      <a:cubicBezTo>
                        <a:pt x="14641" y="3195"/>
                        <a:pt x="14475" y="3774"/>
                        <a:pt x="14144" y="4376"/>
                      </a:cubicBezTo>
                      <a:cubicBezTo>
                        <a:pt x="13963" y="4700"/>
                        <a:pt x="13662" y="5209"/>
                        <a:pt x="13240" y="5904"/>
                      </a:cubicBezTo>
                      <a:lnTo>
                        <a:pt x="13240" y="7362"/>
                      </a:lnTo>
                      <a:lnTo>
                        <a:pt x="13647" y="7362"/>
                      </a:lnTo>
                      <a:cubicBezTo>
                        <a:pt x="14370" y="6622"/>
                        <a:pt x="14897" y="6251"/>
                        <a:pt x="15228" y="6251"/>
                      </a:cubicBezTo>
                      <a:cubicBezTo>
                        <a:pt x="15469" y="6251"/>
                        <a:pt x="15771" y="6460"/>
                        <a:pt x="16132" y="6876"/>
                      </a:cubicBezTo>
                      <a:cubicBezTo>
                        <a:pt x="16493" y="7293"/>
                        <a:pt x="16704" y="7502"/>
                        <a:pt x="16765" y="7502"/>
                      </a:cubicBezTo>
                      <a:cubicBezTo>
                        <a:pt x="16855" y="7502"/>
                        <a:pt x="17126" y="7246"/>
                        <a:pt x="17578" y="6737"/>
                      </a:cubicBezTo>
                      <a:cubicBezTo>
                        <a:pt x="18000" y="6181"/>
                        <a:pt x="18316" y="5904"/>
                        <a:pt x="18527" y="5904"/>
                      </a:cubicBezTo>
                      <a:cubicBezTo>
                        <a:pt x="19160" y="5904"/>
                        <a:pt x="19476" y="6367"/>
                        <a:pt x="19476" y="7293"/>
                      </a:cubicBezTo>
                      <a:cubicBezTo>
                        <a:pt x="19476" y="8219"/>
                        <a:pt x="19145" y="8983"/>
                        <a:pt x="18482" y="9585"/>
                      </a:cubicBezTo>
                      <a:cubicBezTo>
                        <a:pt x="17789" y="10234"/>
                        <a:pt x="17443" y="10766"/>
                        <a:pt x="17443" y="11182"/>
                      </a:cubicBezTo>
                      <a:cubicBezTo>
                        <a:pt x="17443" y="11784"/>
                        <a:pt x="17639" y="12085"/>
                        <a:pt x="18030" y="12085"/>
                      </a:cubicBezTo>
                      <a:cubicBezTo>
                        <a:pt x="18180" y="12085"/>
                        <a:pt x="18542" y="11877"/>
                        <a:pt x="19115" y="11460"/>
                      </a:cubicBezTo>
                      <a:cubicBezTo>
                        <a:pt x="19687" y="10997"/>
                        <a:pt x="20063" y="10766"/>
                        <a:pt x="20244" y="10766"/>
                      </a:cubicBezTo>
                      <a:cubicBezTo>
                        <a:pt x="20425" y="10766"/>
                        <a:pt x="20666" y="10858"/>
                        <a:pt x="20967" y="11043"/>
                      </a:cubicBezTo>
                      <a:cubicBezTo>
                        <a:pt x="21389" y="11322"/>
                        <a:pt x="21600" y="11692"/>
                        <a:pt x="21600" y="12155"/>
                      </a:cubicBezTo>
                      <a:cubicBezTo>
                        <a:pt x="21600" y="12988"/>
                        <a:pt x="21118" y="13821"/>
                        <a:pt x="20154" y="14654"/>
                      </a:cubicBezTo>
                      <a:cubicBezTo>
                        <a:pt x="19190" y="15534"/>
                        <a:pt x="18708" y="16414"/>
                        <a:pt x="18708" y="17293"/>
                      </a:cubicBezTo>
                      <a:cubicBezTo>
                        <a:pt x="18708" y="17572"/>
                        <a:pt x="18843" y="17942"/>
                        <a:pt x="19115" y="18405"/>
                      </a:cubicBezTo>
                      <a:cubicBezTo>
                        <a:pt x="19356" y="18868"/>
                        <a:pt x="19476" y="19215"/>
                        <a:pt x="19476" y="19447"/>
                      </a:cubicBezTo>
                      <a:cubicBezTo>
                        <a:pt x="19476" y="19864"/>
                        <a:pt x="19325" y="20304"/>
                        <a:pt x="19024" y="20766"/>
                      </a:cubicBezTo>
                      <a:cubicBezTo>
                        <a:pt x="18663" y="21322"/>
                        <a:pt x="18241" y="21600"/>
                        <a:pt x="17759" y="21600"/>
                      </a:cubicBezTo>
                      <a:cubicBezTo>
                        <a:pt x="17428" y="21600"/>
                        <a:pt x="17156" y="21322"/>
                        <a:pt x="16945" y="20766"/>
                      </a:cubicBezTo>
                      <a:cubicBezTo>
                        <a:pt x="16765" y="20304"/>
                        <a:pt x="16674" y="19795"/>
                        <a:pt x="16674" y="19238"/>
                      </a:cubicBezTo>
                      <a:lnTo>
                        <a:pt x="16855" y="17641"/>
                      </a:lnTo>
                      <a:cubicBezTo>
                        <a:pt x="16855" y="17131"/>
                        <a:pt x="16674" y="16645"/>
                        <a:pt x="16313" y="16182"/>
                      </a:cubicBezTo>
                      <a:cubicBezTo>
                        <a:pt x="15952" y="15720"/>
                        <a:pt x="15620" y="15488"/>
                        <a:pt x="15319" y="15488"/>
                      </a:cubicBezTo>
                      <a:cubicBezTo>
                        <a:pt x="14897" y="15488"/>
                        <a:pt x="14686" y="15789"/>
                        <a:pt x="14686" y="16391"/>
                      </a:cubicBezTo>
                      <a:cubicBezTo>
                        <a:pt x="14626" y="17316"/>
                        <a:pt x="14490" y="18011"/>
                        <a:pt x="14280" y="18474"/>
                      </a:cubicBezTo>
                      <a:cubicBezTo>
                        <a:pt x="14099" y="18104"/>
                        <a:pt x="13948" y="17826"/>
                        <a:pt x="13828" y="17641"/>
                      </a:cubicBezTo>
                      <a:cubicBezTo>
                        <a:pt x="13617" y="17270"/>
                        <a:pt x="13406" y="17085"/>
                        <a:pt x="13195" y="17085"/>
                      </a:cubicBezTo>
                      <a:cubicBezTo>
                        <a:pt x="13044" y="17085"/>
                        <a:pt x="12788" y="17293"/>
                        <a:pt x="12427" y="17711"/>
                      </a:cubicBezTo>
                      <a:cubicBezTo>
                        <a:pt x="12065" y="18127"/>
                        <a:pt x="11764" y="18335"/>
                        <a:pt x="11523" y="18335"/>
                      </a:cubicBezTo>
                      <a:cubicBezTo>
                        <a:pt x="11312" y="18335"/>
                        <a:pt x="10965" y="18011"/>
                        <a:pt x="10484" y="17363"/>
                      </a:cubicBezTo>
                      <a:cubicBezTo>
                        <a:pt x="10002" y="16669"/>
                        <a:pt x="9580" y="16321"/>
                        <a:pt x="9218" y="16321"/>
                      </a:cubicBezTo>
                      <a:cubicBezTo>
                        <a:pt x="8857" y="16321"/>
                        <a:pt x="8556" y="16599"/>
                        <a:pt x="8315" y="17154"/>
                      </a:cubicBezTo>
                      <a:cubicBezTo>
                        <a:pt x="8104" y="17664"/>
                        <a:pt x="7893" y="17919"/>
                        <a:pt x="7682" y="17919"/>
                      </a:cubicBezTo>
                      <a:cubicBezTo>
                        <a:pt x="7531" y="17919"/>
                        <a:pt x="7305" y="17780"/>
                        <a:pt x="7004" y="17502"/>
                      </a:cubicBezTo>
                      <a:cubicBezTo>
                        <a:pt x="6703" y="17224"/>
                        <a:pt x="6462" y="17085"/>
                        <a:pt x="6281" y="17085"/>
                      </a:cubicBezTo>
                      <a:cubicBezTo>
                        <a:pt x="6070" y="17085"/>
                        <a:pt x="5694" y="17549"/>
                        <a:pt x="5152" y="18474"/>
                      </a:cubicBezTo>
                      <a:cubicBezTo>
                        <a:pt x="4639" y="19354"/>
                        <a:pt x="4082" y="19795"/>
                        <a:pt x="3480" y="19795"/>
                      </a:cubicBezTo>
                      <a:cubicBezTo>
                        <a:pt x="3088" y="19795"/>
                        <a:pt x="2636" y="19678"/>
                        <a:pt x="2124" y="19447"/>
                      </a:cubicBezTo>
                      <a:cubicBezTo>
                        <a:pt x="1522" y="19169"/>
                        <a:pt x="1220" y="18868"/>
                        <a:pt x="1220" y="18544"/>
                      </a:cubicBezTo>
                      <a:cubicBezTo>
                        <a:pt x="1220" y="18081"/>
                        <a:pt x="1627" y="17780"/>
                        <a:pt x="2440" y="17641"/>
                      </a:cubicBezTo>
                      <a:cubicBezTo>
                        <a:pt x="3224" y="17502"/>
                        <a:pt x="3615" y="17108"/>
                        <a:pt x="3615" y="16460"/>
                      </a:cubicBezTo>
                      <a:cubicBezTo>
                        <a:pt x="3615" y="16090"/>
                        <a:pt x="3570" y="15789"/>
                        <a:pt x="3480" y="15557"/>
                      </a:cubicBezTo>
                      <a:cubicBezTo>
                        <a:pt x="3389" y="15280"/>
                        <a:pt x="3344" y="15025"/>
                        <a:pt x="3344" y="14794"/>
                      </a:cubicBezTo>
                      <a:cubicBezTo>
                        <a:pt x="3344" y="14516"/>
                        <a:pt x="3570" y="14053"/>
                        <a:pt x="4022" y="13405"/>
                      </a:cubicBezTo>
                      <a:cubicBezTo>
                        <a:pt x="4444" y="12757"/>
                        <a:pt x="4655" y="12271"/>
                        <a:pt x="4655" y="11946"/>
                      </a:cubicBezTo>
                      <a:lnTo>
                        <a:pt x="3705" y="9099"/>
                      </a:lnTo>
                      <a:cubicBezTo>
                        <a:pt x="3103" y="9562"/>
                        <a:pt x="2561" y="10604"/>
                        <a:pt x="2079" y="12224"/>
                      </a:cubicBezTo>
                      <a:cubicBezTo>
                        <a:pt x="1627" y="13567"/>
                        <a:pt x="1160" y="14238"/>
                        <a:pt x="678" y="14238"/>
                      </a:cubicBezTo>
                      <a:cubicBezTo>
                        <a:pt x="226" y="14238"/>
                        <a:pt x="0" y="13682"/>
                        <a:pt x="0" y="12571"/>
                      </a:cubicBezTo>
                      <a:cubicBezTo>
                        <a:pt x="0" y="11322"/>
                        <a:pt x="467" y="9677"/>
                        <a:pt x="1401" y="7640"/>
                      </a:cubicBezTo>
                      <a:cubicBezTo>
                        <a:pt x="2335" y="5649"/>
                        <a:pt x="2802" y="4422"/>
                        <a:pt x="2802" y="3958"/>
                      </a:cubicBezTo>
                      <a:cubicBezTo>
                        <a:pt x="2591" y="2940"/>
                        <a:pt x="2485" y="2292"/>
                        <a:pt x="2485" y="2014"/>
                      </a:cubicBezTo>
                      <a:close/>
                      <a:moveTo>
                        <a:pt x="2485" y="201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5" name="AutoShape 18"/>
                <p:cNvSpPr>
                  <a:spLocks/>
                </p:cNvSpPr>
                <p:nvPr/>
              </p:nvSpPr>
              <p:spPr bwMode="auto">
                <a:xfrm>
                  <a:off x="4091478" y="1006122"/>
                  <a:ext cx="8245" cy="10822"/>
                </a:xfrm>
                <a:custGeom>
                  <a:avLst/>
                  <a:gdLst/>
                  <a:ahLst/>
                  <a:cxnLst/>
                  <a:rect l="0" t="0" r="r" b="b"/>
                  <a:pathLst>
                    <a:path w="21600" h="21600">
                      <a:moveTo>
                        <a:pt x="20545" y="6926"/>
                      </a:moveTo>
                      <a:cubicBezTo>
                        <a:pt x="21250" y="7472"/>
                        <a:pt x="21600" y="9101"/>
                        <a:pt x="21600" y="11818"/>
                      </a:cubicBezTo>
                      <a:cubicBezTo>
                        <a:pt x="21600" y="18342"/>
                        <a:pt x="19141" y="21600"/>
                        <a:pt x="14227" y="21600"/>
                      </a:cubicBezTo>
                      <a:cubicBezTo>
                        <a:pt x="12822" y="21600"/>
                        <a:pt x="10188" y="20238"/>
                        <a:pt x="6324" y="17525"/>
                      </a:cubicBezTo>
                      <a:cubicBezTo>
                        <a:pt x="2104" y="14534"/>
                        <a:pt x="0" y="11818"/>
                        <a:pt x="0" y="9372"/>
                      </a:cubicBezTo>
                      <a:cubicBezTo>
                        <a:pt x="0" y="8556"/>
                        <a:pt x="700" y="6926"/>
                        <a:pt x="2104" y="4481"/>
                      </a:cubicBezTo>
                      <a:cubicBezTo>
                        <a:pt x="3509" y="2039"/>
                        <a:pt x="4564" y="542"/>
                        <a:pt x="5269" y="0"/>
                      </a:cubicBezTo>
                      <a:cubicBezTo>
                        <a:pt x="11592" y="2987"/>
                        <a:pt x="16681" y="5297"/>
                        <a:pt x="20545" y="6926"/>
                      </a:cubicBezTo>
                      <a:close/>
                      <a:moveTo>
                        <a:pt x="20545" y="692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6" name="AutoShape 19"/>
                <p:cNvSpPr>
                  <a:spLocks/>
                </p:cNvSpPr>
                <p:nvPr/>
              </p:nvSpPr>
              <p:spPr bwMode="auto">
                <a:xfrm>
                  <a:off x="4186301" y="1026736"/>
                  <a:ext cx="15460" cy="18037"/>
                </a:xfrm>
                <a:custGeom>
                  <a:avLst/>
                  <a:gdLst/>
                  <a:ahLst/>
                  <a:cxnLst/>
                  <a:rect l="0" t="0" r="r" b="b"/>
                  <a:pathLst>
                    <a:path w="21600" h="21600">
                      <a:moveTo>
                        <a:pt x="21600" y="7921"/>
                      </a:moveTo>
                      <a:lnTo>
                        <a:pt x="20462" y="11280"/>
                      </a:lnTo>
                      <a:cubicBezTo>
                        <a:pt x="20082" y="11601"/>
                        <a:pt x="19799" y="11840"/>
                        <a:pt x="19610" y="12000"/>
                      </a:cubicBezTo>
                      <a:cubicBezTo>
                        <a:pt x="16199" y="15680"/>
                        <a:pt x="13738" y="18082"/>
                        <a:pt x="12220" y="19198"/>
                      </a:cubicBezTo>
                      <a:cubicBezTo>
                        <a:pt x="10327" y="20800"/>
                        <a:pt x="8714" y="21600"/>
                        <a:pt x="7391" y="21600"/>
                      </a:cubicBezTo>
                      <a:cubicBezTo>
                        <a:pt x="6064" y="21600"/>
                        <a:pt x="4452" y="20800"/>
                        <a:pt x="2559" y="19198"/>
                      </a:cubicBezTo>
                      <a:cubicBezTo>
                        <a:pt x="852" y="17760"/>
                        <a:pt x="0" y="16639"/>
                        <a:pt x="0" y="15839"/>
                      </a:cubicBezTo>
                      <a:cubicBezTo>
                        <a:pt x="0" y="12638"/>
                        <a:pt x="1232" y="9359"/>
                        <a:pt x="3694" y="6000"/>
                      </a:cubicBezTo>
                      <a:cubicBezTo>
                        <a:pt x="6536" y="2003"/>
                        <a:pt x="9947" y="0"/>
                        <a:pt x="13926" y="0"/>
                      </a:cubicBezTo>
                      <a:cubicBezTo>
                        <a:pt x="16388" y="0"/>
                        <a:pt x="18378" y="962"/>
                        <a:pt x="19893" y="2880"/>
                      </a:cubicBezTo>
                      <a:cubicBezTo>
                        <a:pt x="21031" y="4480"/>
                        <a:pt x="21600" y="6159"/>
                        <a:pt x="21600" y="7921"/>
                      </a:cubicBezTo>
                      <a:close/>
                      <a:moveTo>
                        <a:pt x="21600" y="792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7" name="AutoShape 20"/>
                <p:cNvSpPr>
                  <a:spLocks/>
                </p:cNvSpPr>
                <p:nvPr/>
              </p:nvSpPr>
              <p:spPr bwMode="auto">
                <a:xfrm>
                  <a:off x="4417175" y="1158664"/>
                  <a:ext cx="9792" cy="8761"/>
                </a:xfrm>
                <a:custGeom>
                  <a:avLst/>
                  <a:gdLst/>
                  <a:ahLst/>
                  <a:cxnLst/>
                  <a:rect l="0" t="0" r="r" b="b"/>
                  <a:pathLst>
                    <a:path w="21600" h="21600">
                      <a:moveTo>
                        <a:pt x="9449" y="0"/>
                      </a:moveTo>
                      <a:lnTo>
                        <a:pt x="15751" y="1006"/>
                      </a:lnTo>
                      <a:cubicBezTo>
                        <a:pt x="16950" y="1674"/>
                        <a:pt x="18150" y="2847"/>
                        <a:pt x="19350" y="4521"/>
                      </a:cubicBezTo>
                      <a:cubicBezTo>
                        <a:pt x="20853" y="6200"/>
                        <a:pt x="21600" y="7702"/>
                        <a:pt x="21600" y="9043"/>
                      </a:cubicBezTo>
                      <a:cubicBezTo>
                        <a:pt x="21600" y="12057"/>
                        <a:pt x="20853" y="14737"/>
                        <a:pt x="19350" y="17079"/>
                      </a:cubicBezTo>
                      <a:cubicBezTo>
                        <a:pt x="17249" y="20093"/>
                        <a:pt x="14401" y="21600"/>
                        <a:pt x="10802" y="21600"/>
                      </a:cubicBezTo>
                      <a:cubicBezTo>
                        <a:pt x="8099" y="21600"/>
                        <a:pt x="5700" y="20594"/>
                        <a:pt x="3599" y="18591"/>
                      </a:cubicBezTo>
                      <a:cubicBezTo>
                        <a:pt x="1200" y="16244"/>
                        <a:pt x="0" y="13397"/>
                        <a:pt x="0" y="10049"/>
                      </a:cubicBezTo>
                      <a:cubicBezTo>
                        <a:pt x="0" y="8036"/>
                        <a:pt x="751" y="6033"/>
                        <a:pt x="2250" y="4021"/>
                      </a:cubicBezTo>
                      <a:cubicBezTo>
                        <a:pt x="4052" y="1340"/>
                        <a:pt x="6451" y="0"/>
                        <a:pt x="9449" y="0"/>
                      </a:cubicBezTo>
                      <a:close/>
                      <a:moveTo>
                        <a:pt x="9449"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8" name="AutoShape 21"/>
                <p:cNvSpPr>
                  <a:spLocks/>
                </p:cNvSpPr>
                <p:nvPr/>
              </p:nvSpPr>
              <p:spPr bwMode="auto">
                <a:xfrm>
                  <a:off x="4396561" y="1150418"/>
                  <a:ext cx="14430" cy="11853"/>
                </a:xfrm>
                <a:custGeom>
                  <a:avLst/>
                  <a:gdLst/>
                  <a:ahLst/>
                  <a:cxnLst/>
                  <a:rect l="0" t="0" r="r" b="b"/>
                  <a:pathLst>
                    <a:path w="21600" h="21600">
                      <a:moveTo>
                        <a:pt x="0" y="13913"/>
                      </a:moveTo>
                      <a:cubicBezTo>
                        <a:pt x="0" y="11469"/>
                        <a:pt x="1500" y="8664"/>
                        <a:pt x="4499" y="5493"/>
                      </a:cubicBezTo>
                      <a:cubicBezTo>
                        <a:pt x="7903" y="1829"/>
                        <a:pt x="11600" y="0"/>
                        <a:pt x="15601" y="0"/>
                      </a:cubicBezTo>
                      <a:lnTo>
                        <a:pt x="20100" y="2562"/>
                      </a:lnTo>
                      <a:cubicBezTo>
                        <a:pt x="20499" y="4516"/>
                        <a:pt x="20997" y="6588"/>
                        <a:pt x="21600" y="8785"/>
                      </a:cubicBezTo>
                      <a:cubicBezTo>
                        <a:pt x="21600" y="11716"/>
                        <a:pt x="20598" y="14404"/>
                        <a:pt x="18600" y="16841"/>
                      </a:cubicBezTo>
                      <a:cubicBezTo>
                        <a:pt x="15800" y="20018"/>
                        <a:pt x="11699" y="21600"/>
                        <a:pt x="6301" y="21600"/>
                      </a:cubicBezTo>
                      <a:cubicBezTo>
                        <a:pt x="4499" y="21600"/>
                        <a:pt x="3000" y="20874"/>
                        <a:pt x="1801" y="19406"/>
                      </a:cubicBezTo>
                      <a:cubicBezTo>
                        <a:pt x="600" y="17939"/>
                        <a:pt x="0" y="16107"/>
                        <a:pt x="0" y="13913"/>
                      </a:cubicBezTo>
                      <a:close/>
                      <a:moveTo>
                        <a:pt x="0" y="1391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49" name="AutoShape 22"/>
                <p:cNvSpPr>
                  <a:spLocks/>
                </p:cNvSpPr>
                <p:nvPr/>
              </p:nvSpPr>
              <p:spPr bwMode="auto">
                <a:xfrm>
                  <a:off x="4495506" y="1158664"/>
                  <a:ext cx="8761" cy="10307"/>
                </a:xfrm>
                <a:custGeom>
                  <a:avLst/>
                  <a:gdLst/>
                  <a:ahLst/>
                  <a:cxnLst/>
                  <a:rect l="0" t="0" r="r" b="b"/>
                  <a:pathLst>
                    <a:path w="21600" h="19960">
                      <a:moveTo>
                        <a:pt x="4522" y="18018"/>
                      </a:moveTo>
                      <a:cubicBezTo>
                        <a:pt x="1511" y="16467"/>
                        <a:pt x="0" y="14139"/>
                        <a:pt x="0" y="11037"/>
                      </a:cubicBezTo>
                      <a:cubicBezTo>
                        <a:pt x="0" y="6896"/>
                        <a:pt x="3683" y="3532"/>
                        <a:pt x="11050" y="946"/>
                      </a:cubicBezTo>
                      <a:cubicBezTo>
                        <a:pt x="18083" y="-1640"/>
                        <a:pt x="21600" y="1075"/>
                        <a:pt x="21600" y="9096"/>
                      </a:cubicBezTo>
                      <a:cubicBezTo>
                        <a:pt x="21600" y="12459"/>
                        <a:pt x="21428" y="14659"/>
                        <a:pt x="21095" y="15694"/>
                      </a:cubicBezTo>
                      <a:cubicBezTo>
                        <a:pt x="19756" y="18538"/>
                        <a:pt x="16911" y="19960"/>
                        <a:pt x="12556" y="19960"/>
                      </a:cubicBezTo>
                      <a:cubicBezTo>
                        <a:pt x="9544" y="19960"/>
                        <a:pt x="6866" y="19315"/>
                        <a:pt x="4522" y="18018"/>
                      </a:cubicBezTo>
                      <a:close/>
                      <a:moveTo>
                        <a:pt x="4522" y="1801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0" name="AutoShape 23"/>
                <p:cNvSpPr>
                  <a:spLocks/>
                </p:cNvSpPr>
                <p:nvPr/>
              </p:nvSpPr>
              <p:spPr bwMode="auto">
                <a:xfrm>
                  <a:off x="4466647" y="1158664"/>
                  <a:ext cx="19583" cy="11338"/>
                </a:xfrm>
                <a:custGeom>
                  <a:avLst/>
                  <a:gdLst/>
                  <a:ahLst/>
                  <a:cxnLst/>
                  <a:rect l="0" t="0" r="r" b="b"/>
                  <a:pathLst>
                    <a:path w="21600" h="21600">
                      <a:moveTo>
                        <a:pt x="8461" y="16674"/>
                      </a:moveTo>
                      <a:cubicBezTo>
                        <a:pt x="6087" y="15915"/>
                        <a:pt x="4306" y="15159"/>
                        <a:pt x="3118" y="14400"/>
                      </a:cubicBezTo>
                      <a:cubicBezTo>
                        <a:pt x="1039" y="13389"/>
                        <a:pt x="0" y="11367"/>
                        <a:pt x="0" y="8337"/>
                      </a:cubicBezTo>
                      <a:cubicBezTo>
                        <a:pt x="0" y="2778"/>
                        <a:pt x="2153" y="0"/>
                        <a:pt x="6458" y="0"/>
                      </a:cubicBezTo>
                      <a:cubicBezTo>
                        <a:pt x="13732" y="0"/>
                        <a:pt x="18630" y="4422"/>
                        <a:pt x="21154" y="13263"/>
                      </a:cubicBezTo>
                      <a:cubicBezTo>
                        <a:pt x="21154" y="14526"/>
                        <a:pt x="21302" y="16041"/>
                        <a:pt x="21600" y="17811"/>
                      </a:cubicBezTo>
                      <a:cubicBezTo>
                        <a:pt x="21600" y="20337"/>
                        <a:pt x="20263" y="21600"/>
                        <a:pt x="17592" y="21600"/>
                      </a:cubicBezTo>
                      <a:cubicBezTo>
                        <a:pt x="16553" y="21600"/>
                        <a:pt x="14994" y="20967"/>
                        <a:pt x="12915" y="19707"/>
                      </a:cubicBezTo>
                      <a:cubicBezTo>
                        <a:pt x="10688" y="18189"/>
                        <a:pt x="9205" y="17178"/>
                        <a:pt x="8461" y="16674"/>
                      </a:cubicBezTo>
                      <a:close/>
                      <a:moveTo>
                        <a:pt x="8461" y="1667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1" name="AutoShape 24"/>
                <p:cNvSpPr>
                  <a:spLocks/>
                </p:cNvSpPr>
                <p:nvPr/>
              </p:nvSpPr>
              <p:spPr bwMode="auto">
                <a:xfrm>
                  <a:off x="4285246" y="1055595"/>
                  <a:ext cx="19583" cy="13914"/>
                </a:xfrm>
                <a:custGeom>
                  <a:avLst/>
                  <a:gdLst/>
                  <a:ahLst/>
                  <a:cxnLst/>
                  <a:rect l="0" t="0" r="r" b="b"/>
                  <a:pathLst>
                    <a:path w="21062" h="19587">
                      <a:moveTo>
                        <a:pt x="13175" y="14472"/>
                      </a:moveTo>
                      <a:cubicBezTo>
                        <a:pt x="7920" y="17879"/>
                        <a:pt x="4345" y="19587"/>
                        <a:pt x="2447" y="19587"/>
                      </a:cubicBezTo>
                      <a:cubicBezTo>
                        <a:pt x="1425" y="19587"/>
                        <a:pt x="623" y="19398"/>
                        <a:pt x="39" y="19018"/>
                      </a:cubicBezTo>
                      <a:cubicBezTo>
                        <a:pt x="-399" y="15607"/>
                        <a:pt x="2812" y="10681"/>
                        <a:pt x="9671" y="4241"/>
                      </a:cubicBezTo>
                      <a:cubicBezTo>
                        <a:pt x="16386" y="-2013"/>
                        <a:pt x="20181" y="-1349"/>
                        <a:pt x="21056" y="6229"/>
                      </a:cubicBezTo>
                      <a:cubicBezTo>
                        <a:pt x="21201" y="8126"/>
                        <a:pt x="18576" y="10873"/>
                        <a:pt x="13175" y="14472"/>
                      </a:cubicBezTo>
                      <a:close/>
                      <a:moveTo>
                        <a:pt x="13175" y="1447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2" name="AutoShape 25"/>
                <p:cNvSpPr>
                  <a:spLocks/>
                </p:cNvSpPr>
                <p:nvPr/>
              </p:nvSpPr>
              <p:spPr bwMode="auto">
                <a:xfrm>
                  <a:off x="4557347" y="581481"/>
                  <a:ext cx="28859" cy="16491"/>
                </a:xfrm>
                <a:custGeom>
                  <a:avLst/>
                  <a:gdLst/>
                  <a:ahLst/>
                  <a:cxnLst/>
                  <a:rect l="0" t="0" r="r" b="b"/>
                  <a:pathLst>
                    <a:path w="21600" h="21600">
                      <a:moveTo>
                        <a:pt x="9411" y="20545"/>
                      </a:moveTo>
                      <a:cubicBezTo>
                        <a:pt x="9308" y="20194"/>
                        <a:pt x="9206" y="19929"/>
                        <a:pt x="9102" y="19754"/>
                      </a:cubicBezTo>
                      <a:cubicBezTo>
                        <a:pt x="8486" y="17999"/>
                        <a:pt x="8074" y="16768"/>
                        <a:pt x="7868" y="16065"/>
                      </a:cubicBezTo>
                      <a:cubicBezTo>
                        <a:pt x="7354" y="14838"/>
                        <a:pt x="6532" y="13432"/>
                        <a:pt x="5400" y="11852"/>
                      </a:cubicBezTo>
                      <a:cubicBezTo>
                        <a:pt x="4680" y="10799"/>
                        <a:pt x="3395" y="10008"/>
                        <a:pt x="1543" y="9481"/>
                      </a:cubicBezTo>
                      <a:cubicBezTo>
                        <a:pt x="514" y="9131"/>
                        <a:pt x="0" y="7725"/>
                        <a:pt x="0" y="5267"/>
                      </a:cubicBezTo>
                      <a:cubicBezTo>
                        <a:pt x="0" y="2808"/>
                        <a:pt x="1080" y="1228"/>
                        <a:pt x="3239" y="525"/>
                      </a:cubicBezTo>
                      <a:cubicBezTo>
                        <a:pt x="4371" y="175"/>
                        <a:pt x="5451" y="0"/>
                        <a:pt x="6480" y="0"/>
                      </a:cubicBezTo>
                      <a:cubicBezTo>
                        <a:pt x="11314" y="0"/>
                        <a:pt x="14862" y="525"/>
                        <a:pt x="17125" y="1578"/>
                      </a:cubicBezTo>
                      <a:cubicBezTo>
                        <a:pt x="20108" y="2986"/>
                        <a:pt x="21600" y="5529"/>
                        <a:pt x="21600" y="9218"/>
                      </a:cubicBezTo>
                      <a:cubicBezTo>
                        <a:pt x="21600" y="13257"/>
                        <a:pt x="20211" y="16506"/>
                        <a:pt x="17434" y="18964"/>
                      </a:cubicBezTo>
                      <a:cubicBezTo>
                        <a:pt x="15377" y="20720"/>
                        <a:pt x="13474" y="21600"/>
                        <a:pt x="11725" y="21600"/>
                      </a:cubicBezTo>
                      <a:cubicBezTo>
                        <a:pt x="11005" y="21600"/>
                        <a:pt x="10337" y="21335"/>
                        <a:pt x="9720" y="20810"/>
                      </a:cubicBezTo>
                      <a:cubicBezTo>
                        <a:pt x="9617" y="20632"/>
                        <a:pt x="9513" y="20545"/>
                        <a:pt x="9411" y="20545"/>
                      </a:cubicBezTo>
                      <a:close/>
                      <a:moveTo>
                        <a:pt x="9411" y="2054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3" name="AutoShape 26"/>
                <p:cNvSpPr>
                  <a:spLocks/>
                </p:cNvSpPr>
                <p:nvPr/>
              </p:nvSpPr>
              <p:spPr bwMode="auto">
                <a:xfrm>
                  <a:off x="4516119" y="1105068"/>
                  <a:ext cx="10822" cy="10307"/>
                </a:xfrm>
                <a:custGeom>
                  <a:avLst/>
                  <a:gdLst/>
                  <a:ahLst/>
                  <a:cxnLst/>
                  <a:rect l="0" t="0" r="r" b="b"/>
                  <a:pathLst>
                    <a:path w="21600" h="21600">
                      <a:moveTo>
                        <a:pt x="11601" y="426"/>
                      </a:moveTo>
                      <a:cubicBezTo>
                        <a:pt x="12132" y="426"/>
                        <a:pt x="12667" y="708"/>
                        <a:pt x="13198" y="1275"/>
                      </a:cubicBezTo>
                      <a:cubicBezTo>
                        <a:pt x="14265" y="1556"/>
                        <a:pt x="15335" y="2545"/>
                        <a:pt x="16401" y="4234"/>
                      </a:cubicBezTo>
                      <a:cubicBezTo>
                        <a:pt x="17999" y="6498"/>
                        <a:pt x="19733" y="10024"/>
                        <a:pt x="21600" y="14821"/>
                      </a:cubicBezTo>
                      <a:cubicBezTo>
                        <a:pt x="21600" y="15951"/>
                        <a:pt x="20932" y="17366"/>
                        <a:pt x="19600" y="19059"/>
                      </a:cubicBezTo>
                      <a:cubicBezTo>
                        <a:pt x="18264" y="20752"/>
                        <a:pt x="16800" y="21600"/>
                        <a:pt x="15198" y="21600"/>
                      </a:cubicBezTo>
                      <a:cubicBezTo>
                        <a:pt x="12534" y="21600"/>
                        <a:pt x="9468" y="20189"/>
                        <a:pt x="6000" y="17366"/>
                      </a:cubicBezTo>
                      <a:cubicBezTo>
                        <a:pt x="2000" y="14262"/>
                        <a:pt x="0" y="11013"/>
                        <a:pt x="0" y="7628"/>
                      </a:cubicBezTo>
                      <a:cubicBezTo>
                        <a:pt x="0" y="2545"/>
                        <a:pt x="2133" y="0"/>
                        <a:pt x="6402" y="0"/>
                      </a:cubicBezTo>
                      <a:cubicBezTo>
                        <a:pt x="9335" y="0"/>
                        <a:pt x="11066" y="145"/>
                        <a:pt x="11601" y="426"/>
                      </a:cubicBezTo>
                      <a:close/>
                      <a:moveTo>
                        <a:pt x="11601" y="42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4" name="AutoShape 27"/>
                <p:cNvSpPr>
                  <a:spLocks/>
                </p:cNvSpPr>
                <p:nvPr/>
              </p:nvSpPr>
              <p:spPr bwMode="auto">
                <a:xfrm>
                  <a:off x="4528488" y="1105068"/>
                  <a:ext cx="32467" cy="26283"/>
                </a:xfrm>
                <a:custGeom>
                  <a:avLst/>
                  <a:gdLst/>
                  <a:ahLst/>
                  <a:cxnLst/>
                  <a:rect l="0" t="0" r="r" b="b"/>
                  <a:pathLst>
                    <a:path w="21600" h="21600">
                      <a:moveTo>
                        <a:pt x="1093" y="4186"/>
                      </a:moveTo>
                      <a:cubicBezTo>
                        <a:pt x="1913" y="2736"/>
                        <a:pt x="2961" y="2009"/>
                        <a:pt x="4237" y="2009"/>
                      </a:cubicBezTo>
                      <a:cubicBezTo>
                        <a:pt x="5149" y="2009"/>
                        <a:pt x="6334" y="2957"/>
                        <a:pt x="7791" y="4857"/>
                      </a:cubicBezTo>
                      <a:cubicBezTo>
                        <a:pt x="9615" y="7089"/>
                        <a:pt x="10663" y="8316"/>
                        <a:pt x="10937" y="8539"/>
                      </a:cubicBezTo>
                      <a:cubicBezTo>
                        <a:pt x="11757" y="7534"/>
                        <a:pt x="12212" y="5636"/>
                        <a:pt x="12304" y="2846"/>
                      </a:cubicBezTo>
                      <a:cubicBezTo>
                        <a:pt x="12395" y="947"/>
                        <a:pt x="13488" y="0"/>
                        <a:pt x="15584" y="0"/>
                      </a:cubicBezTo>
                      <a:cubicBezTo>
                        <a:pt x="16405" y="0"/>
                        <a:pt x="17635" y="1060"/>
                        <a:pt x="19276" y="3181"/>
                      </a:cubicBezTo>
                      <a:cubicBezTo>
                        <a:pt x="20826" y="5189"/>
                        <a:pt x="21600" y="6473"/>
                        <a:pt x="21600" y="7033"/>
                      </a:cubicBezTo>
                      <a:cubicBezTo>
                        <a:pt x="21600" y="7478"/>
                        <a:pt x="21053" y="8205"/>
                        <a:pt x="19959" y="9209"/>
                      </a:cubicBezTo>
                      <a:cubicBezTo>
                        <a:pt x="18775" y="10325"/>
                        <a:pt x="18182" y="11050"/>
                        <a:pt x="18182" y="11386"/>
                      </a:cubicBezTo>
                      <a:cubicBezTo>
                        <a:pt x="18182" y="12166"/>
                        <a:pt x="18728" y="12837"/>
                        <a:pt x="19823" y="13395"/>
                      </a:cubicBezTo>
                      <a:cubicBezTo>
                        <a:pt x="20826" y="14066"/>
                        <a:pt x="21326" y="15069"/>
                        <a:pt x="21326" y="16409"/>
                      </a:cubicBezTo>
                      <a:cubicBezTo>
                        <a:pt x="20142" y="19869"/>
                        <a:pt x="19002" y="21600"/>
                        <a:pt x="17909" y="21600"/>
                      </a:cubicBezTo>
                      <a:cubicBezTo>
                        <a:pt x="17453" y="21600"/>
                        <a:pt x="16770" y="21265"/>
                        <a:pt x="15858" y="20595"/>
                      </a:cubicBezTo>
                      <a:cubicBezTo>
                        <a:pt x="14946" y="19926"/>
                        <a:pt x="14217" y="19591"/>
                        <a:pt x="13671" y="19591"/>
                      </a:cubicBezTo>
                      <a:cubicBezTo>
                        <a:pt x="12486" y="20037"/>
                        <a:pt x="11666" y="20260"/>
                        <a:pt x="11209" y="20260"/>
                      </a:cubicBezTo>
                      <a:cubicBezTo>
                        <a:pt x="9570" y="20260"/>
                        <a:pt x="8567" y="19757"/>
                        <a:pt x="8203" y="18753"/>
                      </a:cubicBezTo>
                      <a:cubicBezTo>
                        <a:pt x="7655" y="17190"/>
                        <a:pt x="6698" y="15963"/>
                        <a:pt x="5331" y="15069"/>
                      </a:cubicBezTo>
                      <a:cubicBezTo>
                        <a:pt x="3599" y="14287"/>
                        <a:pt x="2415" y="13675"/>
                        <a:pt x="1777" y="13228"/>
                      </a:cubicBezTo>
                      <a:cubicBezTo>
                        <a:pt x="591" y="12333"/>
                        <a:pt x="0" y="10883"/>
                        <a:pt x="0" y="8874"/>
                      </a:cubicBezTo>
                      <a:cubicBezTo>
                        <a:pt x="0" y="6977"/>
                        <a:pt x="364" y="5413"/>
                        <a:pt x="1093" y="4186"/>
                      </a:cubicBezTo>
                      <a:close/>
                      <a:moveTo>
                        <a:pt x="1093" y="418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5" name="AutoShape 28"/>
                <p:cNvSpPr>
                  <a:spLocks/>
                </p:cNvSpPr>
                <p:nvPr/>
              </p:nvSpPr>
              <p:spPr bwMode="auto">
                <a:xfrm>
                  <a:off x="4796465" y="1138050"/>
                  <a:ext cx="18037" cy="20614"/>
                </a:xfrm>
                <a:custGeom>
                  <a:avLst/>
                  <a:gdLst/>
                  <a:ahLst/>
                  <a:cxnLst/>
                  <a:rect l="0" t="0" r="r" b="b"/>
                  <a:pathLst>
                    <a:path w="21600" h="21600">
                      <a:moveTo>
                        <a:pt x="12136" y="2780"/>
                      </a:moveTo>
                      <a:cubicBezTo>
                        <a:pt x="13916" y="4203"/>
                        <a:pt x="15210" y="5917"/>
                        <a:pt x="16018" y="7911"/>
                      </a:cubicBezTo>
                      <a:cubicBezTo>
                        <a:pt x="16179" y="8338"/>
                        <a:pt x="16343" y="8768"/>
                        <a:pt x="16504" y="9195"/>
                      </a:cubicBezTo>
                      <a:cubicBezTo>
                        <a:pt x="16504" y="9337"/>
                        <a:pt x="16585" y="9479"/>
                        <a:pt x="16746" y="9625"/>
                      </a:cubicBezTo>
                      <a:cubicBezTo>
                        <a:pt x="17393" y="10478"/>
                        <a:pt x="18365" y="11617"/>
                        <a:pt x="19659" y="13045"/>
                      </a:cubicBezTo>
                      <a:cubicBezTo>
                        <a:pt x="20953" y="14613"/>
                        <a:pt x="21600" y="16111"/>
                        <a:pt x="21600" y="17535"/>
                      </a:cubicBezTo>
                      <a:cubicBezTo>
                        <a:pt x="21600" y="20243"/>
                        <a:pt x="19173" y="21600"/>
                        <a:pt x="14319" y="21600"/>
                      </a:cubicBezTo>
                      <a:cubicBezTo>
                        <a:pt x="11244" y="21600"/>
                        <a:pt x="8170" y="20243"/>
                        <a:pt x="5096" y="17535"/>
                      </a:cubicBezTo>
                      <a:cubicBezTo>
                        <a:pt x="1697" y="14399"/>
                        <a:pt x="0" y="10767"/>
                        <a:pt x="0" y="6628"/>
                      </a:cubicBezTo>
                      <a:cubicBezTo>
                        <a:pt x="0" y="5487"/>
                        <a:pt x="566" y="4132"/>
                        <a:pt x="1697" y="2565"/>
                      </a:cubicBezTo>
                      <a:cubicBezTo>
                        <a:pt x="2830" y="855"/>
                        <a:pt x="3963" y="0"/>
                        <a:pt x="5096" y="0"/>
                      </a:cubicBezTo>
                      <a:cubicBezTo>
                        <a:pt x="7523" y="0"/>
                        <a:pt x="9870" y="926"/>
                        <a:pt x="12136" y="2780"/>
                      </a:cubicBezTo>
                      <a:close/>
                      <a:moveTo>
                        <a:pt x="12136" y="278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6" name="AutoShape 29"/>
                <p:cNvSpPr>
                  <a:spLocks/>
                </p:cNvSpPr>
                <p:nvPr/>
              </p:nvSpPr>
              <p:spPr bwMode="auto">
                <a:xfrm>
                  <a:off x="4561469" y="1100945"/>
                  <a:ext cx="9792" cy="8245"/>
                </a:xfrm>
                <a:custGeom>
                  <a:avLst/>
                  <a:gdLst/>
                  <a:ahLst/>
                  <a:cxnLst/>
                  <a:rect l="0" t="0" r="r" b="b"/>
                  <a:pathLst>
                    <a:path w="21600" h="21600">
                      <a:moveTo>
                        <a:pt x="18074" y="3091"/>
                      </a:moveTo>
                      <a:cubicBezTo>
                        <a:pt x="20425" y="5141"/>
                        <a:pt x="21600" y="7543"/>
                        <a:pt x="21600" y="10287"/>
                      </a:cubicBezTo>
                      <a:cubicBezTo>
                        <a:pt x="21600" y="12685"/>
                        <a:pt x="21014" y="14916"/>
                        <a:pt x="19839" y="16976"/>
                      </a:cubicBezTo>
                      <a:cubicBezTo>
                        <a:pt x="18074" y="20057"/>
                        <a:pt x="15430" y="21600"/>
                        <a:pt x="11900" y="21600"/>
                      </a:cubicBezTo>
                      <a:cubicBezTo>
                        <a:pt x="10725" y="21600"/>
                        <a:pt x="8520" y="20057"/>
                        <a:pt x="5287" y="16976"/>
                      </a:cubicBezTo>
                      <a:cubicBezTo>
                        <a:pt x="1761" y="13544"/>
                        <a:pt x="0" y="10634"/>
                        <a:pt x="0" y="8232"/>
                      </a:cubicBezTo>
                      <a:cubicBezTo>
                        <a:pt x="0" y="2749"/>
                        <a:pt x="2936" y="0"/>
                        <a:pt x="8817" y="0"/>
                      </a:cubicBezTo>
                      <a:cubicBezTo>
                        <a:pt x="12636" y="0"/>
                        <a:pt x="15723" y="1030"/>
                        <a:pt x="18074" y="3091"/>
                      </a:cubicBezTo>
                      <a:close/>
                      <a:moveTo>
                        <a:pt x="18074" y="309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7" name="AutoShape 30"/>
                <p:cNvSpPr>
                  <a:spLocks/>
                </p:cNvSpPr>
                <p:nvPr/>
              </p:nvSpPr>
              <p:spPr bwMode="auto">
                <a:xfrm>
                  <a:off x="4746992" y="1133927"/>
                  <a:ext cx="44835" cy="21644"/>
                </a:xfrm>
                <a:custGeom>
                  <a:avLst/>
                  <a:gdLst/>
                  <a:ahLst/>
                  <a:cxnLst/>
                  <a:rect l="0" t="0" r="r" b="b"/>
                  <a:pathLst>
                    <a:path w="21600" h="21600">
                      <a:moveTo>
                        <a:pt x="21600" y="3028"/>
                      </a:moveTo>
                      <a:cubicBezTo>
                        <a:pt x="21468" y="3567"/>
                        <a:pt x="21205" y="4846"/>
                        <a:pt x="20811" y="6864"/>
                      </a:cubicBezTo>
                      <a:cubicBezTo>
                        <a:pt x="20679" y="7403"/>
                        <a:pt x="20581" y="7941"/>
                        <a:pt x="20516" y="8480"/>
                      </a:cubicBezTo>
                      <a:cubicBezTo>
                        <a:pt x="19660" y="10899"/>
                        <a:pt x="16931" y="12651"/>
                        <a:pt x="12328" y="13728"/>
                      </a:cubicBezTo>
                      <a:cubicBezTo>
                        <a:pt x="10948" y="14671"/>
                        <a:pt x="9501" y="16417"/>
                        <a:pt x="7989" y="18974"/>
                      </a:cubicBezTo>
                      <a:cubicBezTo>
                        <a:pt x="6937" y="20726"/>
                        <a:pt x="5655" y="21600"/>
                        <a:pt x="4142" y="21600"/>
                      </a:cubicBezTo>
                      <a:cubicBezTo>
                        <a:pt x="3091" y="21600"/>
                        <a:pt x="2104" y="20793"/>
                        <a:pt x="1184" y="19177"/>
                      </a:cubicBezTo>
                      <a:cubicBezTo>
                        <a:pt x="395" y="17697"/>
                        <a:pt x="0" y="16553"/>
                        <a:pt x="0" y="15748"/>
                      </a:cubicBezTo>
                      <a:cubicBezTo>
                        <a:pt x="0" y="12114"/>
                        <a:pt x="1381" y="10094"/>
                        <a:pt x="4142" y="9691"/>
                      </a:cubicBezTo>
                      <a:cubicBezTo>
                        <a:pt x="5655" y="9557"/>
                        <a:pt x="7792" y="9419"/>
                        <a:pt x="10553" y="9285"/>
                      </a:cubicBezTo>
                      <a:cubicBezTo>
                        <a:pt x="12788" y="8075"/>
                        <a:pt x="16143" y="4980"/>
                        <a:pt x="20614" y="0"/>
                      </a:cubicBezTo>
                      <a:lnTo>
                        <a:pt x="21600" y="0"/>
                      </a:lnTo>
                      <a:cubicBezTo>
                        <a:pt x="21600" y="0"/>
                        <a:pt x="21600" y="3028"/>
                        <a:pt x="21600" y="3028"/>
                      </a:cubicBezTo>
                      <a:close/>
                      <a:moveTo>
                        <a:pt x="21600" y="302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8" name="AutoShape 31"/>
                <p:cNvSpPr>
                  <a:spLocks/>
                </p:cNvSpPr>
                <p:nvPr/>
              </p:nvSpPr>
              <p:spPr bwMode="auto">
                <a:xfrm>
                  <a:off x="4977866" y="1484360"/>
                  <a:ext cx="49988" cy="63902"/>
                </a:xfrm>
                <a:custGeom>
                  <a:avLst/>
                  <a:gdLst/>
                  <a:ahLst/>
                  <a:cxnLst/>
                  <a:rect l="0" t="0" r="r" b="b"/>
                  <a:pathLst>
                    <a:path w="21600" h="21600">
                      <a:moveTo>
                        <a:pt x="15934" y="3324"/>
                      </a:moveTo>
                      <a:cubicBezTo>
                        <a:pt x="15757" y="3738"/>
                        <a:pt x="15669" y="4107"/>
                        <a:pt x="15669" y="4431"/>
                      </a:cubicBezTo>
                      <a:cubicBezTo>
                        <a:pt x="15669" y="5815"/>
                        <a:pt x="16672" y="6831"/>
                        <a:pt x="18678" y="7477"/>
                      </a:cubicBezTo>
                      <a:cubicBezTo>
                        <a:pt x="20626" y="8123"/>
                        <a:pt x="21600" y="9323"/>
                        <a:pt x="21600" y="11077"/>
                      </a:cubicBezTo>
                      <a:cubicBezTo>
                        <a:pt x="21600" y="11492"/>
                        <a:pt x="21540" y="11769"/>
                        <a:pt x="21423" y="11908"/>
                      </a:cubicBezTo>
                      <a:cubicBezTo>
                        <a:pt x="21304" y="12000"/>
                        <a:pt x="21010" y="12046"/>
                        <a:pt x="20538" y="12046"/>
                      </a:cubicBezTo>
                      <a:cubicBezTo>
                        <a:pt x="19770" y="11862"/>
                        <a:pt x="19239" y="11769"/>
                        <a:pt x="18944" y="11769"/>
                      </a:cubicBezTo>
                      <a:cubicBezTo>
                        <a:pt x="18413" y="11769"/>
                        <a:pt x="18147" y="11977"/>
                        <a:pt x="18147" y="12392"/>
                      </a:cubicBezTo>
                      <a:cubicBezTo>
                        <a:pt x="18147" y="12531"/>
                        <a:pt x="18324" y="12992"/>
                        <a:pt x="18678" y="13777"/>
                      </a:cubicBezTo>
                      <a:cubicBezTo>
                        <a:pt x="18678" y="14054"/>
                        <a:pt x="18502" y="14376"/>
                        <a:pt x="18147" y="14746"/>
                      </a:cubicBezTo>
                      <a:cubicBezTo>
                        <a:pt x="17793" y="15161"/>
                        <a:pt x="17439" y="15369"/>
                        <a:pt x="17085" y="15369"/>
                      </a:cubicBezTo>
                      <a:cubicBezTo>
                        <a:pt x="16672" y="15369"/>
                        <a:pt x="15934" y="14631"/>
                        <a:pt x="14872" y="13154"/>
                      </a:cubicBezTo>
                      <a:cubicBezTo>
                        <a:pt x="13869" y="11677"/>
                        <a:pt x="13220" y="10939"/>
                        <a:pt x="12924" y="10939"/>
                      </a:cubicBezTo>
                      <a:cubicBezTo>
                        <a:pt x="11921" y="10939"/>
                        <a:pt x="11420" y="11353"/>
                        <a:pt x="11420" y="12185"/>
                      </a:cubicBezTo>
                      <a:cubicBezTo>
                        <a:pt x="11420" y="13154"/>
                        <a:pt x="12275" y="14284"/>
                        <a:pt x="13986" y="15577"/>
                      </a:cubicBezTo>
                      <a:cubicBezTo>
                        <a:pt x="15698" y="16915"/>
                        <a:pt x="16554" y="18092"/>
                        <a:pt x="16554" y="19108"/>
                      </a:cubicBezTo>
                      <a:cubicBezTo>
                        <a:pt x="16554" y="19569"/>
                        <a:pt x="16318" y="20076"/>
                        <a:pt x="15846" y="20631"/>
                      </a:cubicBezTo>
                      <a:cubicBezTo>
                        <a:pt x="15256" y="21277"/>
                        <a:pt x="14577" y="21600"/>
                        <a:pt x="13809" y="21600"/>
                      </a:cubicBezTo>
                      <a:cubicBezTo>
                        <a:pt x="12748" y="21600"/>
                        <a:pt x="11508" y="20192"/>
                        <a:pt x="10092" y="17377"/>
                      </a:cubicBezTo>
                      <a:cubicBezTo>
                        <a:pt x="8675" y="14515"/>
                        <a:pt x="7938" y="13085"/>
                        <a:pt x="7879" y="13085"/>
                      </a:cubicBezTo>
                      <a:cubicBezTo>
                        <a:pt x="7170" y="13085"/>
                        <a:pt x="6551" y="14054"/>
                        <a:pt x="6019" y="15992"/>
                      </a:cubicBezTo>
                      <a:cubicBezTo>
                        <a:pt x="5489" y="17931"/>
                        <a:pt x="4278" y="18900"/>
                        <a:pt x="2390" y="18900"/>
                      </a:cubicBezTo>
                      <a:cubicBezTo>
                        <a:pt x="1741" y="18900"/>
                        <a:pt x="1180" y="18669"/>
                        <a:pt x="708" y="18208"/>
                      </a:cubicBezTo>
                      <a:cubicBezTo>
                        <a:pt x="236" y="17746"/>
                        <a:pt x="0" y="17215"/>
                        <a:pt x="0" y="16615"/>
                      </a:cubicBezTo>
                      <a:cubicBezTo>
                        <a:pt x="0" y="16384"/>
                        <a:pt x="354" y="15854"/>
                        <a:pt x="1062" y="15023"/>
                      </a:cubicBezTo>
                      <a:cubicBezTo>
                        <a:pt x="1712" y="14238"/>
                        <a:pt x="2036" y="13754"/>
                        <a:pt x="2036" y="13569"/>
                      </a:cubicBezTo>
                      <a:cubicBezTo>
                        <a:pt x="1387" y="11723"/>
                        <a:pt x="1062" y="10615"/>
                        <a:pt x="1062" y="10247"/>
                      </a:cubicBezTo>
                      <a:lnTo>
                        <a:pt x="1416" y="8862"/>
                      </a:lnTo>
                      <a:cubicBezTo>
                        <a:pt x="826" y="7753"/>
                        <a:pt x="531" y="7107"/>
                        <a:pt x="531" y="6923"/>
                      </a:cubicBezTo>
                      <a:cubicBezTo>
                        <a:pt x="531" y="6000"/>
                        <a:pt x="944" y="5538"/>
                        <a:pt x="1770" y="5538"/>
                      </a:cubicBezTo>
                      <a:cubicBezTo>
                        <a:pt x="2065" y="5538"/>
                        <a:pt x="2449" y="5608"/>
                        <a:pt x="2921" y="5746"/>
                      </a:cubicBezTo>
                      <a:cubicBezTo>
                        <a:pt x="3393" y="5884"/>
                        <a:pt x="3748" y="5954"/>
                        <a:pt x="3984" y="5954"/>
                      </a:cubicBezTo>
                      <a:cubicBezTo>
                        <a:pt x="4514" y="5954"/>
                        <a:pt x="4810" y="5077"/>
                        <a:pt x="4869" y="3324"/>
                      </a:cubicBezTo>
                      <a:cubicBezTo>
                        <a:pt x="4928" y="1570"/>
                        <a:pt x="5695" y="693"/>
                        <a:pt x="7170" y="693"/>
                      </a:cubicBezTo>
                      <a:lnTo>
                        <a:pt x="10003" y="970"/>
                      </a:lnTo>
                      <a:cubicBezTo>
                        <a:pt x="10357" y="970"/>
                        <a:pt x="10771" y="808"/>
                        <a:pt x="11243" y="485"/>
                      </a:cubicBezTo>
                      <a:cubicBezTo>
                        <a:pt x="11715" y="162"/>
                        <a:pt x="12187" y="0"/>
                        <a:pt x="12659" y="0"/>
                      </a:cubicBezTo>
                      <a:cubicBezTo>
                        <a:pt x="13426" y="0"/>
                        <a:pt x="14222" y="277"/>
                        <a:pt x="15049" y="831"/>
                      </a:cubicBezTo>
                      <a:cubicBezTo>
                        <a:pt x="15816" y="1339"/>
                        <a:pt x="16200" y="1801"/>
                        <a:pt x="16200" y="2216"/>
                      </a:cubicBezTo>
                      <a:cubicBezTo>
                        <a:pt x="16200" y="2493"/>
                        <a:pt x="16111" y="2861"/>
                        <a:pt x="15934" y="3324"/>
                      </a:cubicBezTo>
                      <a:close/>
                      <a:moveTo>
                        <a:pt x="15934" y="332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59" name="AutoShape 32"/>
                <p:cNvSpPr>
                  <a:spLocks/>
                </p:cNvSpPr>
                <p:nvPr/>
              </p:nvSpPr>
              <p:spPr bwMode="auto">
                <a:xfrm>
                  <a:off x="4977866" y="1542078"/>
                  <a:ext cx="25767" cy="56688"/>
                </a:xfrm>
                <a:custGeom>
                  <a:avLst/>
                  <a:gdLst/>
                  <a:ahLst/>
                  <a:cxnLst/>
                  <a:rect l="0" t="0" r="r" b="b"/>
                  <a:pathLst>
                    <a:path w="21600" h="21600">
                      <a:moveTo>
                        <a:pt x="7086" y="2183"/>
                      </a:moveTo>
                      <a:cubicBezTo>
                        <a:pt x="8122" y="727"/>
                        <a:pt x="9504" y="0"/>
                        <a:pt x="11232" y="0"/>
                      </a:cubicBezTo>
                      <a:cubicBezTo>
                        <a:pt x="13767" y="0"/>
                        <a:pt x="16762" y="1663"/>
                        <a:pt x="20218" y="4990"/>
                      </a:cubicBezTo>
                      <a:cubicBezTo>
                        <a:pt x="18605" y="5510"/>
                        <a:pt x="17798" y="6186"/>
                        <a:pt x="17798" y="7018"/>
                      </a:cubicBezTo>
                      <a:cubicBezTo>
                        <a:pt x="17798" y="7538"/>
                        <a:pt x="18433" y="8058"/>
                        <a:pt x="19700" y="8578"/>
                      </a:cubicBezTo>
                      <a:cubicBezTo>
                        <a:pt x="20967" y="9097"/>
                        <a:pt x="21600" y="9487"/>
                        <a:pt x="21600" y="9747"/>
                      </a:cubicBezTo>
                      <a:cubicBezTo>
                        <a:pt x="21600" y="10475"/>
                        <a:pt x="20390" y="11723"/>
                        <a:pt x="17972" y="13491"/>
                      </a:cubicBezTo>
                      <a:cubicBezTo>
                        <a:pt x="15437" y="15206"/>
                        <a:pt x="14170" y="16169"/>
                        <a:pt x="14170" y="16376"/>
                      </a:cubicBezTo>
                      <a:cubicBezTo>
                        <a:pt x="14170" y="16636"/>
                        <a:pt x="14573" y="17026"/>
                        <a:pt x="15380" y="17546"/>
                      </a:cubicBezTo>
                      <a:cubicBezTo>
                        <a:pt x="16187" y="18065"/>
                        <a:pt x="16590" y="18559"/>
                        <a:pt x="16590" y="19027"/>
                      </a:cubicBezTo>
                      <a:cubicBezTo>
                        <a:pt x="16590" y="19288"/>
                        <a:pt x="16129" y="19677"/>
                        <a:pt x="15206" y="20197"/>
                      </a:cubicBezTo>
                      <a:cubicBezTo>
                        <a:pt x="14285" y="20717"/>
                        <a:pt x="13595" y="20977"/>
                        <a:pt x="13134" y="20977"/>
                      </a:cubicBezTo>
                      <a:cubicBezTo>
                        <a:pt x="12442" y="20977"/>
                        <a:pt x="11867" y="20820"/>
                        <a:pt x="11406" y="20509"/>
                      </a:cubicBezTo>
                      <a:cubicBezTo>
                        <a:pt x="10945" y="20197"/>
                        <a:pt x="10253" y="20041"/>
                        <a:pt x="9332" y="20041"/>
                      </a:cubicBezTo>
                      <a:cubicBezTo>
                        <a:pt x="7950" y="20041"/>
                        <a:pt x="6855" y="20301"/>
                        <a:pt x="6048" y="20820"/>
                      </a:cubicBezTo>
                      <a:cubicBezTo>
                        <a:pt x="5127" y="21341"/>
                        <a:pt x="3974" y="21600"/>
                        <a:pt x="2592" y="21600"/>
                      </a:cubicBezTo>
                      <a:cubicBezTo>
                        <a:pt x="979" y="21600"/>
                        <a:pt x="461" y="20977"/>
                        <a:pt x="1038" y="19729"/>
                      </a:cubicBezTo>
                      <a:cubicBezTo>
                        <a:pt x="1153" y="19365"/>
                        <a:pt x="1038" y="18845"/>
                        <a:pt x="692" y="18170"/>
                      </a:cubicBezTo>
                      <a:cubicBezTo>
                        <a:pt x="231" y="17389"/>
                        <a:pt x="0" y="16844"/>
                        <a:pt x="0" y="16531"/>
                      </a:cubicBezTo>
                      <a:cubicBezTo>
                        <a:pt x="0" y="15752"/>
                        <a:pt x="1613" y="14686"/>
                        <a:pt x="4838" y="13334"/>
                      </a:cubicBezTo>
                      <a:cubicBezTo>
                        <a:pt x="7950" y="11982"/>
                        <a:pt x="9504" y="10423"/>
                        <a:pt x="9504" y="8656"/>
                      </a:cubicBezTo>
                      <a:cubicBezTo>
                        <a:pt x="9504" y="8084"/>
                        <a:pt x="8929" y="7408"/>
                        <a:pt x="7776" y="6628"/>
                      </a:cubicBezTo>
                      <a:cubicBezTo>
                        <a:pt x="6625" y="5900"/>
                        <a:pt x="6048" y="5146"/>
                        <a:pt x="6048" y="4367"/>
                      </a:cubicBezTo>
                      <a:cubicBezTo>
                        <a:pt x="6279" y="3638"/>
                        <a:pt x="6625" y="2911"/>
                        <a:pt x="7086" y="2183"/>
                      </a:cubicBezTo>
                      <a:close/>
                      <a:moveTo>
                        <a:pt x="7086" y="218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0" name="AutoShape 33"/>
                <p:cNvSpPr>
                  <a:spLocks/>
                </p:cNvSpPr>
                <p:nvPr/>
              </p:nvSpPr>
              <p:spPr bwMode="auto">
                <a:xfrm>
                  <a:off x="5010847" y="1513219"/>
                  <a:ext cx="43289" cy="70602"/>
                </a:xfrm>
                <a:custGeom>
                  <a:avLst/>
                  <a:gdLst/>
                  <a:ahLst/>
                  <a:cxnLst/>
                  <a:rect l="0" t="0" r="r" b="b"/>
                  <a:pathLst>
                    <a:path w="21600" h="21600">
                      <a:moveTo>
                        <a:pt x="14606" y="0"/>
                      </a:moveTo>
                      <a:cubicBezTo>
                        <a:pt x="15498" y="0"/>
                        <a:pt x="16835" y="336"/>
                        <a:pt x="18618" y="1005"/>
                      </a:cubicBezTo>
                      <a:cubicBezTo>
                        <a:pt x="20607" y="1759"/>
                        <a:pt x="21600" y="2491"/>
                        <a:pt x="21600" y="3202"/>
                      </a:cubicBezTo>
                      <a:cubicBezTo>
                        <a:pt x="21600" y="3244"/>
                        <a:pt x="20469" y="4333"/>
                        <a:pt x="18206" y="6468"/>
                      </a:cubicBezTo>
                      <a:cubicBezTo>
                        <a:pt x="15943" y="8644"/>
                        <a:pt x="14812" y="10549"/>
                        <a:pt x="14812" y="12182"/>
                      </a:cubicBezTo>
                      <a:cubicBezTo>
                        <a:pt x="14812" y="13103"/>
                        <a:pt x="15018" y="13730"/>
                        <a:pt x="15429" y="14065"/>
                      </a:cubicBezTo>
                      <a:cubicBezTo>
                        <a:pt x="15840" y="14358"/>
                        <a:pt x="16046" y="14651"/>
                        <a:pt x="16046" y="14945"/>
                      </a:cubicBezTo>
                      <a:cubicBezTo>
                        <a:pt x="16046" y="15447"/>
                        <a:pt x="15669" y="15803"/>
                        <a:pt x="14914" y="16011"/>
                      </a:cubicBezTo>
                      <a:cubicBezTo>
                        <a:pt x="14160" y="16221"/>
                        <a:pt x="13783" y="16619"/>
                        <a:pt x="13783" y="17205"/>
                      </a:cubicBezTo>
                      <a:cubicBezTo>
                        <a:pt x="13783" y="17414"/>
                        <a:pt x="13921" y="17727"/>
                        <a:pt x="14195" y="18147"/>
                      </a:cubicBezTo>
                      <a:cubicBezTo>
                        <a:pt x="14195" y="18314"/>
                        <a:pt x="14057" y="18482"/>
                        <a:pt x="13783" y="18648"/>
                      </a:cubicBezTo>
                      <a:cubicBezTo>
                        <a:pt x="13509" y="18816"/>
                        <a:pt x="13167" y="18900"/>
                        <a:pt x="12755" y="18900"/>
                      </a:cubicBezTo>
                      <a:cubicBezTo>
                        <a:pt x="12412" y="18900"/>
                        <a:pt x="12000" y="18733"/>
                        <a:pt x="11520" y="18398"/>
                      </a:cubicBezTo>
                      <a:cubicBezTo>
                        <a:pt x="11040" y="18105"/>
                        <a:pt x="10595" y="17937"/>
                        <a:pt x="10183" y="17895"/>
                      </a:cubicBezTo>
                      <a:cubicBezTo>
                        <a:pt x="10183" y="18231"/>
                        <a:pt x="9977" y="18733"/>
                        <a:pt x="9567" y="19402"/>
                      </a:cubicBezTo>
                      <a:cubicBezTo>
                        <a:pt x="9155" y="20197"/>
                        <a:pt x="8743" y="20596"/>
                        <a:pt x="8332" y="20596"/>
                      </a:cubicBezTo>
                      <a:cubicBezTo>
                        <a:pt x="7989" y="20596"/>
                        <a:pt x="7544" y="20302"/>
                        <a:pt x="6995" y="19716"/>
                      </a:cubicBezTo>
                      <a:cubicBezTo>
                        <a:pt x="6652" y="20010"/>
                        <a:pt x="5897" y="20386"/>
                        <a:pt x="4732" y="20846"/>
                      </a:cubicBezTo>
                      <a:cubicBezTo>
                        <a:pt x="3566" y="21348"/>
                        <a:pt x="2709" y="21600"/>
                        <a:pt x="2161" y="21600"/>
                      </a:cubicBezTo>
                      <a:cubicBezTo>
                        <a:pt x="720" y="21600"/>
                        <a:pt x="0" y="21160"/>
                        <a:pt x="0" y="20281"/>
                      </a:cubicBezTo>
                      <a:cubicBezTo>
                        <a:pt x="0" y="19026"/>
                        <a:pt x="549" y="18062"/>
                        <a:pt x="1646" y="17393"/>
                      </a:cubicBezTo>
                      <a:cubicBezTo>
                        <a:pt x="2607" y="16849"/>
                        <a:pt x="3840" y="16577"/>
                        <a:pt x="5349" y="16577"/>
                      </a:cubicBezTo>
                      <a:cubicBezTo>
                        <a:pt x="6241" y="16577"/>
                        <a:pt x="6755" y="16368"/>
                        <a:pt x="6892" y="15949"/>
                      </a:cubicBezTo>
                      <a:cubicBezTo>
                        <a:pt x="6960" y="15363"/>
                        <a:pt x="7063" y="14945"/>
                        <a:pt x="7200" y="14693"/>
                      </a:cubicBezTo>
                      <a:cubicBezTo>
                        <a:pt x="7338" y="14400"/>
                        <a:pt x="7784" y="14086"/>
                        <a:pt x="8538" y="13751"/>
                      </a:cubicBezTo>
                      <a:cubicBezTo>
                        <a:pt x="9223" y="13416"/>
                        <a:pt x="9567" y="13165"/>
                        <a:pt x="9567" y="12998"/>
                      </a:cubicBezTo>
                      <a:cubicBezTo>
                        <a:pt x="8812" y="13165"/>
                        <a:pt x="8126" y="13082"/>
                        <a:pt x="7509" y="12747"/>
                      </a:cubicBezTo>
                      <a:cubicBezTo>
                        <a:pt x="6892" y="12412"/>
                        <a:pt x="6583" y="11972"/>
                        <a:pt x="6583" y="11428"/>
                      </a:cubicBezTo>
                      <a:cubicBezTo>
                        <a:pt x="8298" y="8833"/>
                        <a:pt x="9429" y="7033"/>
                        <a:pt x="9977" y="6028"/>
                      </a:cubicBezTo>
                      <a:cubicBezTo>
                        <a:pt x="11006" y="3642"/>
                        <a:pt x="11692" y="2115"/>
                        <a:pt x="12034" y="1444"/>
                      </a:cubicBezTo>
                      <a:cubicBezTo>
                        <a:pt x="12583" y="482"/>
                        <a:pt x="13441" y="0"/>
                        <a:pt x="14606" y="0"/>
                      </a:cubicBezTo>
                      <a:close/>
                      <a:moveTo>
                        <a:pt x="14606"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1" name="AutoShape 34"/>
                <p:cNvSpPr>
                  <a:spLocks/>
                </p:cNvSpPr>
                <p:nvPr/>
              </p:nvSpPr>
              <p:spPr bwMode="auto">
                <a:xfrm>
                  <a:off x="5002602" y="1599796"/>
                  <a:ext cx="15976" cy="26283"/>
                </a:xfrm>
                <a:custGeom>
                  <a:avLst/>
                  <a:gdLst/>
                  <a:ahLst/>
                  <a:cxnLst/>
                  <a:rect l="0" t="0" r="r" b="b"/>
                  <a:pathLst>
                    <a:path w="21600" h="21600">
                      <a:moveTo>
                        <a:pt x="10524" y="4019"/>
                      </a:moveTo>
                      <a:cubicBezTo>
                        <a:pt x="11814" y="6029"/>
                        <a:pt x="12460" y="7868"/>
                        <a:pt x="12460" y="9544"/>
                      </a:cubicBezTo>
                      <a:cubicBezTo>
                        <a:pt x="12460" y="10660"/>
                        <a:pt x="14031" y="11776"/>
                        <a:pt x="17168" y="12892"/>
                      </a:cubicBezTo>
                      <a:cubicBezTo>
                        <a:pt x="20121" y="13897"/>
                        <a:pt x="21600" y="15013"/>
                        <a:pt x="21600" y="16242"/>
                      </a:cubicBezTo>
                      <a:cubicBezTo>
                        <a:pt x="21600" y="17581"/>
                        <a:pt x="18093" y="18810"/>
                        <a:pt x="11076" y="19926"/>
                      </a:cubicBezTo>
                      <a:cubicBezTo>
                        <a:pt x="10338" y="20037"/>
                        <a:pt x="9599" y="20148"/>
                        <a:pt x="8861" y="20261"/>
                      </a:cubicBezTo>
                      <a:cubicBezTo>
                        <a:pt x="6463" y="20931"/>
                        <a:pt x="4800" y="21377"/>
                        <a:pt x="3878" y="21600"/>
                      </a:cubicBezTo>
                      <a:cubicBezTo>
                        <a:pt x="1663" y="19815"/>
                        <a:pt x="554" y="18252"/>
                        <a:pt x="554" y="16911"/>
                      </a:cubicBezTo>
                      <a:cubicBezTo>
                        <a:pt x="554" y="16131"/>
                        <a:pt x="1017" y="15180"/>
                        <a:pt x="1939" y="14066"/>
                      </a:cubicBezTo>
                      <a:cubicBezTo>
                        <a:pt x="2864" y="13059"/>
                        <a:pt x="3323" y="12445"/>
                        <a:pt x="3323" y="12223"/>
                      </a:cubicBezTo>
                      <a:cubicBezTo>
                        <a:pt x="3323" y="11665"/>
                        <a:pt x="2769" y="10156"/>
                        <a:pt x="1663" y="7705"/>
                      </a:cubicBezTo>
                      <a:cubicBezTo>
                        <a:pt x="554" y="5247"/>
                        <a:pt x="0" y="3181"/>
                        <a:pt x="0" y="1507"/>
                      </a:cubicBezTo>
                      <a:cubicBezTo>
                        <a:pt x="0" y="1060"/>
                        <a:pt x="646" y="671"/>
                        <a:pt x="1939" y="335"/>
                      </a:cubicBezTo>
                      <a:cubicBezTo>
                        <a:pt x="2864" y="111"/>
                        <a:pt x="3602" y="0"/>
                        <a:pt x="4153" y="0"/>
                      </a:cubicBezTo>
                      <a:cubicBezTo>
                        <a:pt x="6739" y="0"/>
                        <a:pt x="8861" y="1339"/>
                        <a:pt x="10524" y="4019"/>
                      </a:cubicBezTo>
                      <a:close/>
                      <a:moveTo>
                        <a:pt x="10524" y="401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2" name="AutoShape 35"/>
                <p:cNvSpPr>
                  <a:spLocks/>
                </p:cNvSpPr>
                <p:nvPr/>
              </p:nvSpPr>
              <p:spPr bwMode="auto">
                <a:xfrm>
                  <a:off x="4994356" y="1645146"/>
                  <a:ext cx="37105" cy="126259"/>
                </a:xfrm>
                <a:custGeom>
                  <a:avLst/>
                  <a:gdLst/>
                  <a:ahLst/>
                  <a:cxnLst/>
                  <a:rect l="0" t="0" r="r" b="b"/>
                  <a:pathLst>
                    <a:path w="21600" h="21600">
                      <a:moveTo>
                        <a:pt x="8189" y="1794"/>
                      </a:moveTo>
                      <a:cubicBezTo>
                        <a:pt x="8268" y="1278"/>
                        <a:pt x="8348" y="903"/>
                        <a:pt x="8427" y="668"/>
                      </a:cubicBezTo>
                      <a:cubicBezTo>
                        <a:pt x="8665" y="223"/>
                        <a:pt x="9574" y="0"/>
                        <a:pt x="11156" y="0"/>
                      </a:cubicBezTo>
                      <a:cubicBezTo>
                        <a:pt x="12976" y="0"/>
                        <a:pt x="14202" y="329"/>
                        <a:pt x="14835" y="985"/>
                      </a:cubicBezTo>
                      <a:cubicBezTo>
                        <a:pt x="15073" y="1267"/>
                        <a:pt x="15904" y="1478"/>
                        <a:pt x="17328" y="1618"/>
                      </a:cubicBezTo>
                      <a:cubicBezTo>
                        <a:pt x="18594" y="1759"/>
                        <a:pt x="19226" y="1970"/>
                        <a:pt x="19226" y="2252"/>
                      </a:cubicBezTo>
                      <a:cubicBezTo>
                        <a:pt x="19226" y="2557"/>
                        <a:pt x="18633" y="2873"/>
                        <a:pt x="17446" y="3201"/>
                      </a:cubicBezTo>
                      <a:cubicBezTo>
                        <a:pt x="16181" y="3483"/>
                        <a:pt x="15548" y="3776"/>
                        <a:pt x="15548" y="4081"/>
                      </a:cubicBezTo>
                      <a:cubicBezTo>
                        <a:pt x="15548" y="4245"/>
                        <a:pt x="16102" y="4386"/>
                        <a:pt x="17209" y="4503"/>
                      </a:cubicBezTo>
                      <a:cubicBezTo>
                        <a:pt x="18238" y="4644"/>
                        <a:pt x="18752" y="4878"/>
                        <a:pt x="18752" y="5207"/>
                      </a:cubicBezTo>
                      <a:lnTo>
                        <a:pt x="18277" y="6016"/>
                      </a:lnTo>
                      <a:cubicBezTo>
                        <a:pt x="18277" y="6250"/>
                        <a:pt x="18752" y="6544"/>
                        <a:pt x="19702" y="6895"/>
                      </a:cubicBezTo>
                      <a:cubicBezTo>
                        <a:pt x="20651" y="7247"/>
                        <a:pt x="21126" y="7564"/>
                        <a:pt x="21126" y="7845"/>
                      </a:cubicBezTo>
                      <a:cubicBezTo>
                        <a:pt x="21126" y="7986"/>
                        <a:pt x="20928" y="8314"/>
                        <a:pt x="20533" y="8830"/>
                      </a:cubicBezTo>
                      <a:cubicBezTo>
                        <a:pt x="20136" y="9370"/>
                        <a:pt x="19939" y="9768"/>
                        <a:pt x="19939" y="10026"/>
                      </a:cubicBezTo>
                      <a:cubicBezTo>
                        <a:pt x="19939" y="10144"/>
                        <a:pt x="20492" y="10753"/>
                        <a:pt x="21600" y="11856"/>
                      </a:cubicBezTo>
                      <a:cubicBezTo>
                        <a:pt x="21600" y="12043"/>
                        <a:pt x="21284" y="12137"/>
                        <a:pt x="20651" y="12137"/>
                      </a:cubicBezTo>
                      <a:cubicBezTo>
                        <a:pt x="20334" y="12137"/>
                        <a:pt x="19662" y="12078"/>
                        <a:pt x="18633" y="11961"/>
                      </a:cubicBezTo>
                      <a:cubicBezTo>
                        <a:pt x="17684" y="11844"/>
                        <a:pt x="17130" y="11786"/>
                        <a:pt x="16972" y="11786"/>
                      </a:cubicBezTo>
                      <a:cubicBezTo>
                        <a:pt x="16576" y="11786"/>
                        <a:pt x="16181" y="11985"/>
                        <a:pt x="15785" y="12384"/>
                      </a:cubicBezTo>
                      <a:cubicBezTo>
                        <a:pt x="15469" y="12712"/>
                        <a:pt x="15310" y="12946"/>
                        <a:pt x="15310" y="13087"/>
                      </a:cubicBezTo>
                      <a:cubicBezTo>
                        <a:pt x="15310" y="13533"/>
                        <a:pt x="16022" y="13872"/>
                        <a:pt x="17446" y="14107"/>
                      </a:cubicBezTo>
                      <a:cubicBezTo>
                        <a:pt x="18792" y="14318"/>
                        <a:pt x="19464" y="14517"/>
                        <a:pt x="19464" y="14705"/>
                      </a:cubicBezTo>
                      <a:cubicBezTo>
                        <a:pt x="19464" y="14963"/>
                        <a:pt x="19029" y="15256"/>
                        <a:pt x="18159" y="15585"/>
                      </a:cubicBezTo>
                      <a:cubicBezTo>
                        <a:pt x="17209" y="15889"/>
                        <a:pt x="16735" y="16183"/>
                        <a:pt x="16735" y="16464"/>
                      </a:cubicBezTo>
                      <a:cubicBezTo>
                        <a:pt x="16735" y="16558"/>
                        <a:pt x="17249" y="16792"/>
                        <a:pt x="18277" y="17168"/>
                      </a:cubicBezTo>
                      <a:cubicBezTo>
                        <a:pt x="18277" y="17378"/>
                        <a:pt x="17249" y="17742"/>
                        <a:pt x="15192" y="18258"/>
                      </a:cubicBezTo>
                      <a:cubicBezTo>
                        <a:pt x="13135" y="18798"/>
                        <a:pt x="12106" y="19079"/>
                        <a:pt x="12106" y="19102"/>
                      </a:cubicBezTo>
                      <a:cubicBezTo>
                        <a:pt x="12106" y="19243"/>
                        <a:pt x="12541" y="19360"/>
                        <a:pt x="13412" y="19454"/>
                      </a:cubicBezTo>
                      <a:cubicBezTo>
                        <a:pt x="14202" y="19525"/>
                        <a:pt x="14599" y="19653"/>
                        <a:pt x="14599" y="19841"/>
                      </a:cubicBezTo>
                      <a:cubicBezTo>
                        <a:pt x="14599" y="20005"/>
                        <a:pt x="14202" y="20334"/>
                        <a:pt x="13412" y="20826"/>
                      </a:cubicBezTo>
                      <a:cubicBezTo>
                        <a:pt x="12541" y="21342"/>
                        <a:pt x="11868" y="21600"/>
                        <a:pt x="11394" y="21600"/>
                      </a:cubicBezTo>
                      <a:cubicBezTo>
                        <a:pt x="11235" y="21600"/>
                        <a:pt x="10840" y="21542"/>
                        <a:pt x="10207" y="21424"/>
                      </a:cubicBezTo>
                      <a:cubicBezTo>
                        <a:pt x="9494" y="21307"/>
                        <a:pt x="8743" y="21248"/>
                        <a:pt x="7952" y="21248"/>
                      </a:cubicBezTo>
                      <a:cubicBezTo>
                        <a:pt x="7557" y="21225"/>
                        <a:pt x="7161" y="21096"/>
                        <a:pt x="6765" y="20862"/>
                      </a:cubicBezTo>
                      <a:cubicBezTo>
                        <a:pt x="6449" y="20650"/>
                        <a:pt x="6291" y="20463"/>
                        <a:pt x="6291" y="20299"/>
                      </a:cubicBezTo>
                      <a:cubicBezTo>
                        <a:pt x="6291" y="20064"/>
                        <a:pt x="6568" y="19700"/>
                        <a:pt x="7121" y="19208"/>
                      </a:cubicBezTo>
                      <a:cubicBezTo>
                        <a:pt x="7675" y="18716"/>
                        <a:pt x="7952" y="18411"/>
                        <a:pt x="7952" y="18293"/>
                      </a:cubicBezTo>
                      <a:cubicBezTo>
                        <a:pt x="7952" y="18153"/>
                        <a:pt x="7517" y="18035"/>
                        <a:pt x="6647" y="17942"/>
                      </a:cubicBezTo>
                      <a:cubicBezTo>
                        <a:pt x="5776" y="17848"/>
                        <a:pt x="5341" y="17672"/>
                        <a:pt x="5341" y="17414"/>
                      </a:cubicBezTo>
                      <a:cubicBezTo>
                        <a:pt x="5341" y="17273"/>
                        <a:pt x="5657" y="16874"/>
                        <a:pt x="6291" y="16218"/>
                      </a:cubicBezTo>
                      <a:cubicBezTo>
                        <a:pt x="6924" y="15585"/>
                        <a:pt x="7240" y="15139"/>
                        <a:pt x="7240" y="14881"/>
                      </a:cubicBezTo>
                      <a:cubicBezTo>
                        <a:pt x="7240" y="14388"/>
                        <a:pt x="6053" y="13861"/>
                        <a:pt x="3680" y="13298"/>
                      </a:cubicBezTo>
                      <a:cubicBezTo>
                        <a:pt x="1227" y="12735"/>
                        <a:pt x="0" y="12254"/>
                        <a:pt x="0" y="11856"/>
                      </a:cubicBezTo>
                      <a:cubicBezTo>
                        <a:pt x="0" y="11715"/>
                        <a:pt x="238" y="11598"/>
                        <a:pt x="713" y="11504"/>
                      </a:cubicBezTo>
                      <a:cubicBezTo>
                        <a:pt x="1108" y="11410"/>
                        <a:pt x="1544" y="11363"/>
                        <a:pt x="2018" y="11363"/>
                      </a:cubicBezTo>
                      <a:cubicBezTo>
                        <a:pt x="2414" y="11363"/>
                        <a:pt x="3047" y="11410"/>
                        <a:pt x="3917" y="11504"/>
                      </a:cubicBezTo>
                      <a:cubicBezTo>
                        <a:pt x="4550" y="11504"/>
                        <a:pt x="4945" y="11422"/>
                        <a:pt x="5104" y="11258"/>
                      </a:cubicBezTo>
                      <a:cubicBezTo>
                        <a:pt x="5341" y="11000"/>
                        <a:pt x="5816" y="10765"/>
                        <a:pt x="6527" y="10554"/>
                      </a:cubicBezTo>
                      <a:cubicBezTo>
                        <a:pt x="6844" y="10437"/>
                        <a:pt x="7517" y="10367"/>
                        <a:pt x="8545" y="10343"/>
                      </a:cubicBezTo>
                      <a:cubicBezTo>
                        <a:pt x="9178" y="10296"/>
                        <a:pt x="9494" y="10144"/>
                        <a:pt x="9494" y="9886"/>
                      </a:cubicBezTo>
                      <a:cubicBezTo>
                        <a:pt x="9494" y="9463"/>
                        <a:pt x="8308" y="9147"/>
                        <a:pt x="5934" y="8936"/>
                      </a:cubicBezTo>
                      <a:cubicBezTo>
                        <a:pt x="3560" y="8725"/>
                        <a:pt x="2374" y="8432"/>
                        <a:pt x="2374" y="8056"/>
                      </a:cubicBezTo>
                      <a:cubicBezTo>
                        <a:pt x="2374" y="7916"/>
                        <a:pt x="4313" y="7224"/>
                        <a:pt x="8189" y="5981"/>
                      </a:cubicBezTo>
                      <a:cubicBezTo>
                        <a:pt x="11987" y="4714"/>
                        <a:pt x="13886" y="4010"/>
                        <a:pt x="13886" y="3870"/>
                      </a:cubicBezTo>
                      <a:cubicBezTo>
                        <a:pt x="13886" y="3729"/>
                        <a:pt x="13609" y="3600"/>
                        <a:pt x="13055" y="3483"/>
                      </a:cubicBezTo>
                      <a:cubicBezTo>
                        <a:pt x="12422" y="3342"/>
                        <a:pt x="11750" y="3272"/>
                        <a:pt x="11038" y="3272"/>
                      </a:cubicBezTo>
                      <a:cubicBezTo>
                        <a:pt x="7714" y="3553"/>
                        <a:pt x="5460" y="3694"/>
                        <a:pt x="4273" y="3694"/>
                      </a:cubicBezTo>
                      <a:cubicBezTo>
                        <a:pt x="1900" y="3694"/>
                        <a:pt x="713" y="3541"/>
                        <a:pt x="713" y="3237"/>
                      </a:cubicBezTo>
                      <a:cubicBezTo>
                        <a:pt x="713" y="2932"/>
                        <a:pt x="1780" y="2662"/>
                        <a:pt x="3917" y="2427"/>
                      </a:cubicBezTo>
                      <a:cubicBezTo>
                        <a:pt x="5816" y="2193"/>
                        <a:pt x="7201" y="1993"/>
                        <a:pt x="8071" y="1830"/>
                      </a:cubicBezTo>
                      <a:cubicBezTo>
                        <a:pt x="8071" y="1830"/>
                        <a:pt x="8189" y="1794"/>
                        <a:pt x="8189" y="1794"/>
                      </a:cubicBezTo>
                      <a:close/>
                      <a:moveTo>
                        <a:pt x="8189" y="179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3" name="AutoShape 36"/>
                <p:cNvSpPr>
                  <a:spLocks/>
                </p:cNvSpPr>
                <p:nvPr/>
              </p:nvSpPr>
              <p:spPr bwMode="auto">
                <a:xfrm>
                  <a:off x="4990234" y="1628655"/>
                  <a:ext cx="16491" cy="26283"/>
                </a:xfrm>
                <a:custGeom>
                  <a:avLst/>
                  <a:gdLst/>
                  <a:ahLst/>
                  <a:cxnLst/>
                  <a:rect l="0" t="0" r="r" b="b"/>
                  <a:pathLst>
                    <a:path w="21600" h="21600">
                      <a:moveTo>
                        <a:pt x="18362" y="333"/>
                      </a:moveTo>
                      <a:cubicBezTo>
                        <a:pt x="20522" y="775"/>
                        <a:pt x="21600" y="1551"/>
                        <a:pt x="21600" y="2658"/>
                      </a:cubicBezTo>
                      <a:cubicBezTo>
                        <a:pt x="21600" y="3212"/>
                        <a:pt x="20160" y="4875"/>
                        <a:pt x="17281" y="7642"/>
                      </a:cubicBezTo>
                      <a:cubicBezTo>
                        <a:pt x="15480" y="9417"/>
                        <a:pt x="14312" y="10745"/>
                        <a:pt x="13772" y="11631"/>
                      </a:cubicBezTo>
                      <a:cubicBezTo>
                        <a:pt x="13410" y="11963"/>
                        <a:pt x="13231" y="12239"/>
                        <a:pt x="13231" y="12461"/>
                      </a:cubicBezTo>
                      <a:cubicBezTo>
                        <a:pt x="12332" y="13348"/>
                        <a:pt x="11072" y="15009"/>
                        <a:pt x="9450" y="17446"/>
                      </a:cubicBezTo>
                      <a:cubicBezTo>
                        <a:pt x="7652" y="20217"/>
                        <a:pt x="6212" y="21600"/>
                        <a:pt x="5131" y="21600"/>
                      </a:cubicBezTo>
                      <a:cubicBezTo>
                        <a:pt x="3330" y="21600"/>
                        <a:pt x="1980" y="20217"/>
                        <a:pt x="1081" y="17446"/>
                      </a:cubicBezTo>
                      <a:cubicBezTo>
                        <a:pt x="361" y="15452"/>
                        <a:pt x="0" y="13403"/>
                        <a:pt x="0" y="11299"/>
                      </a:cubicBezTo>
                      <a:cubicBezTo>
                        <a:pt x="0" y="9084"/>
                        <a:pt x="1171" y="6812"/>
                        <a:pt x="3512" y="4487"/>
                      </a:cubicBezTo>
                      <a:cubicBezTo>
                        <a:pt x="6391" y="1496"/>
                        <a:pt x="10170" y="0"/>
                        <a:pt x="14850" y="0"/>
                      </a:cubicBezTo>
                      <a:cubicBezTo>
                        <a:pt x="15032" y="0"/>
                        <a:pt x="16200" y="110"/>
                        <a:pt x="18362" y="333"/>
                      </a:cubicBezTo>
                      <a:close/>
                      <a:moveTo>
                        <a:pt x="18362" y="33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4" name="AutoShape 37"/>
                <p:cNvSpPr>
                  <a:spLocks/>
                </p:cNvSpPr>
                <p:nvPr/>
              </p:nvSpPr>
              <p:spPr bwMode="auto">
                <a:xfrm>
                  <a:off x="4969620" y="1599796"/>
                  <a:ext cx="19068" cy="30921"/>
                </a:xfrm>
                <a:custGeom>
                  <a:avLst/>
                  <a:gdLst/>
                  <a:ahLst/>
                  <a:cxnLst/>
                  <a:rect l="0" t="0" r="r" b="b"/>
                  <a:pathLst>
                    <a:path w="21600" h="21600">
                      <a:moveTo>
                        <a:pt x="18844" y="0"/>
                      </a:moveTo>
                      <a:lnTo>
                        <a:pt x="21600" y="0"/>
                      </a:lnTo>
                      <a:lnTo>
                        <a:pt x="21600" y="2843"/>
                      </a:lnTo>
                      <a:cubicBezTo>
                        <a:pt x="19609" y="6822"/>
                        <a:pt x="16775" y="10801"/>
                        <a:pt x="13099" y="14780"/>
                      </a:cubicBezTo>
                      <a:cubicBezTo>
                        <a:pt x="8808" y="19327"/>
                        <a:pt x="5285" y="21600"/>
                        <a:pt x="2527" y="21600"/>
                      </a:cubicBezTo>
                      <a:cubicBezTo>
                        <a:pt x="842" y="21600"/>
                        <a:pt x="0" y="21268"/>
                        <a:pt x="0" y="20606"/>
                      </a:cubicBezTo>
                      <a:lnTo>
                        <a:pt x="6205" y="8669"/>
                      </a:lnTo>
                      <a:cubicBezTo>
                        <a:pt x="8808" y="4028"/>
                        <a:pt x="13021" y="1139"/>
                        <a:pt x="18844" y="0"/>
                      </a:cubicBezTo>
                      <a:close/>
                      <a:moveTo>
                        <a:pt x="18844"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5" name="AutoShape 38"/>
                <p:cNvSpPr>
                  <a:spLocks/>
                </p:cNvSpPr>
                <p:nvPr/>
              </p:nvSpPr>
              <p:spPr bwMode="auto">
                <a:xfrm>
                  <a:off x="4981988" y="1727601"/>
                  <a:ext cx="8245" cy="32982"/>
                </a:xfrm>
                <a:custGeom>
                  <a:avLst/>
                  <a:gdLst/>
                  <a:ahLst/>
                  <a:cxnLst/>
                  <a:rect l="0" t="0" r="r" b="b"/>
                  <a:pathLst>
                    <a:path w="21600" h="21600">
                      <a:moveTo>
                        <a:pt x="21600" y="3200"/>
                      </a:moveTo>
                      <a:cubicBezTo>
                        <a:pt x="21600" y="3556"/>
                        <a:pt x="21070" y="4400"/>
                        <a:pt x="20021" y="5735"/>
                      </a:cubicBezTo>
                      <a:cubicBezTo>
                        <a:pt x="18966" y="7068"/>
                        <a:pt x="18436" y="8222"/>
                        <a:pt x="18436" y="9201"/>
                      </a:cubicBezTo>
                      <a:lnTo>
                        <a:pt x="20545" y="15068"/>
                      </a:lnTo>
                      <a:cubicBezTo>
                        <a:pt x="20545" y="15422"/>
                        <a:pt x="20021" y="16000"/>
                        <a:pt x="18966" y="16801"/>
                      </a:cubicBezTo>
                      <a:cubicBezTo>
                        <a:pt x="18616" y="17067"/>
                        <a:pt x="18261" y="17378"/>
                        <a:pt x="17912" y="17734"/>
                      </a:cubicBezTo>
                      <a:cubicBezTo>
                        <a:pt x="17562" y="18178"/>
                        <a:pt x="17387" y="18623"/>
                        <a:pt x="17387" y="19067"/>
                      </a:cubicBezTo>
                      <a:cubicBezTo>
                        <a:pt x="17032" y="19511"/>
                        <a:pt x="16857" y="20000"/>
                        <a:pt x="16857" y="20533"/>
                      </a:cubicBezTo>
                      <a:cubicBezTo>
                        <a:pt x="16507" y="21244"/>
                        <a:pt x="14573" y="21600"/>
                        <a:pt x="11065" y="21600"/>
                      </a:cubicBezTo>
                      <a:cubicBezTo>
                        <a:pt x="7202" y="21600"/>
                        <a:pt x="4218" y="20134"/>
                        <a:pt x="2109" y="17200"/>
                      </a:cubicBezTo>
                      <a:cubicBezTo>
                        <a:pt x="705" y="15244"/>
                        <a:pt x="0" y="13332"/>
                        <a:pt x="0" y="11466"/>
                      </a:cubicBezTo>
                      <a:cubicBezTo>
                        <a:pt x="0" y="3823"/>
                        <a:pt x="5448" y="0"/>
                        <a:pt x="16332" y="0"/>
                      </a:cubicBezTo>
                      <a:cubicBezTo>
                        <a:pt x="19841" y="0"/>
                        <a:pt x="21600" y="1068"/>
                        <a:pt x="21600" y="3200"/>
                      </a:cubicBezTo>
                      <a:close/>
                      <a:moveTo>
                        <a:pt x="21600" y="32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6" name="AutoShape 39"/>
                <p:cNvSpPr>
                  <a:spLocks/>
                </p:cNvSpPr>
                <p:nvPr/>
              </p:nvSpPr>
              <p:spPr bwMode="auto">
                <a:xfrm>
                  <a:off x="5056198" y="1562692"/>
                  <a:ext cx="8761" cy="7730"/>
                </a:xfrm>
                <a:custGeom>
                  <a:avLst/>
                  <a:gdLst/>
                  <a:ahLst/>
                  <a:cxnLst/>
                  <a:rect l="0" t="0" r="r" b="b"/>
                  <a:pathLst>
                    <a:path w="21600" h="21600">
                      <a:moveTo>
                        <a:pt x="0" y="10521"/>
                      </a:moveTo>
                      <a:cubicBezTo>
                        <a:pt x="0" y="3507"/>
                        <a:pt x="2845" y="0"/>
                        <a:pt x="8541" y="0"/>
                      </a:cubicBezTo>
                      <a:cubicBezTo>
                        <a:pt x="9208" y="0"/>
                        <a:pt x="12892" y="1288"/>
                        <a:pt x="19594" y="3875"/>
                      </a:cubicBezTo>
                      <a:cubicBezTo>
                        <a:pt x="19927" y="5726"/>
                        <a:pt x="20594" y="7934"/>
                        <a:pt x="21600" y="10521"/>
                      </a:cubicBezTo>
                      <a:cubicBezTo>
                        <a:pt x="21600" y="13476"/>
                        <a:pt x="20261" y="16058"/>
                        <a:pt x="17582" y="18277"/>
                      </a:cubicBezTo>
                      <a:cubicBezTo>
                        <a:pt x="14570" y="20491"/>
                        <a:pt x="11386" y="21600"/>
                        <a:pt x="8036" y="21600"/>
                      </a:cubicBezTo>
                      <a:cubicBezTo>
                        <a:pt x="2679" y="21600"/>
                        <a:pt x="0" y="17903"/>
                        <a:pt x="0" y="10521"/>
                      </a:cubicBezTo>
                      <a:close/>
                      <a:moveTo>
                        <a:pt x="0" y="1052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7" name="AutoShape 40"/>
                <p:cNvSpPr>
                  <a:spLocks/>
                </p:cNvSpPr>
                <p:nvPr/>
              </p:nvSpPr>
              <p:spPr bwMode="auto">
                <a:xfrm>
                  <a:off x="5019093" y="1595673"/>
                  <a:ext cx="30921" cy="46896"/>
                </a:xfrm>
                <a:custGeom>
                  <a:avLst/>
                  <a:gdLst/>
                  <a:ahLst/>
                  <a:cxnLst/>
                  <a:rect l="0" t="0" r="r" b="b"/>
                  <a:pathLst>
                    <a:path w="21600" h="21600">
                      <a:moveTo>
                        <a:pt x="5542" y="0"/>
                      </a:moveTo>
                      <a:cubicBezTo>
                        <a:pt x="6299" y="0"/>
                        <a:pt x="9189" y="1610"/>
                        <a:pt x="14211" y="4831"/>
                      </a:cubicBezTo>
                      <a:cubicBezTo>
                        <a:pt x="19137" y="7989"/>
                        <a:pt x="21600" y="9663"/>
                        <a:pt x="21600" y="9852"/>
                      </a:cubicBezTo>
                      <a:cubicBezTo>
                        <a:pt x="21600" y="10484"/>
                        <a:pt x="20701" y="11810"/>
                        <a:pt x="18901" y="13832"/>
                      </a:cubicBezTo>
                      <a:cubicBezTo>
                        <a:pt x="17101" y="15726"/>
                        <a:pt x="16011" y="16673"/>
                        <a:pt x="15632" y="16673"/>
                      </a:cubicBezTo>
                      <a:cubicBezTo>
                        <a:pt x="14306" y="16673"/>
                        <a:pt x="13642" y="16106"/>
                        <a:pt x="13642" y="14969"/>
                      </a:cubicBezTo>
                      <a:lnTo>
                        <a:pt x="14779" y="13832"/>
                      </a:lnTo>
                      <a:cubicBezTo>
                        <a:pt x="14494" y="13579"/>
                        <a:pt x="14258" y="13168"/>
                        <a:pt x="14068" y="12600"/>
                      </a:cubicBezTo>
                      <a:cubicBezTo>
                        <a:pt x="13880" y="12348"/>
                        <a:pt x="13501" y="12221"/>
                        <a:pt x="12932" y="12221"/>
                      </a:cubicBezTo>
                      <a:cubicBezTo>
                        <a:pt x="11511" y="12221"/>
                        <a:pt x="10610" y="13800"/>
                        <a:pt x="10231" y="16958"/>
                      </a:cubicBezTo>
                      <a:cubicBezTo>
                        <a:pt x="9852" y="20053"/>
                        <a:pt x="8763" y="21600"/>
                        <a:pt x="6963" y="21600"/>
                      </a:cubicBezTo>
                      <a:cubicBezTo>
                        <a:pt x="6395" y="21600"/>
                        <a:pt x="5732" y="21317"/>
                        <a:pt x="4974" y="20747"/>
                      </a:cubicBezTo>
                      <a:cubicBezTo>
                        <a:pt x="4120" y="20117"/>
                        <a:pt x="3410" y="19800"/>
                        <a:pt x="2842" y="19800"/>
                      </a:cubicBezTo>
                      <a:cubicBezTo>
                        <a:pt x="1610" y="19737"/>
                        <a:pt x="805" y="19453"/>
                        <a:pt x="426" y="18948"/>
                      </a:cubicBezTo>
                      <a:cubicBezTo>
                        <a:pt x="142" y="18695"/>
                        <a:pt x="0" y="18221"/>
                        <a:pt x="0" y="17527"/>
                      </a:cubicBezTo>
                      <a:cubicBezTo>
                        <a:pt x="0" y="16452"/>
                        <a:pt x="899" y="15158"/>
                        <a:pt x="2699" y="13642"/>
                      </a:cubicBezTo>
                      <a:cubicBezTo>
                        <a:pt x="4405" y="12063"/>
                        <a:pt x="5257" y="10484"/>
                        <a:pt x="5257" y="8904"/>
                      </a:cubicBezTo>
                      <a:cubicBezTo>
                        <a:pt x="5257" y="8274"/>
                        <a:pt x="5068" y="7074"/>
                        <a:pt x="4689" y="5305"/>
                      </a:cubicBezTo>
                      <a:cubicBezTo>
                        <a:pt x="4215" y="3600"/>
                        <a:pt x="3979" y="2400"/>
                        <a:pt x="3979" y="1705"/>
                      </a:cubicBezTo>
                      <a:cubicBezTo>
                        <a:pt x="3979" y="568"/>
                        <a:pt x="4499" y="0"/>
                        <a:pt x="5542" y="0"/>
                      </a:cubicBezTo>
                      <a:close/>
                      <a:moveTo>
                        <a:pt x="5542"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8" name="AutoShape 41"/>
                <p:cNvSpPr>
                  <a:spLocks/>
                </p:cNvSpPr>
                <p:nvPr/>
              </p:nvSpPr>
              <p:spPr bwMode="auto">
                <a:xfrm>
                  <a:off x="5043829" y="1711110"/>
                  <a:ext cx="34013" cy="53596"/>
                </a:xfrm>
                <a:custGeom>
                  <a:avLst/>
                  <a:gdLst/>
                  <a:ahLst/>
                  <a:cxnLst/>
                  <a:rect l="0" t="0" r="r" b="b"/>
                  <a:pathLst>
                    <a:path w="21600" h="21600">
                      <a:moveTo>
                        <a:pt x="2342" y="8442"/>
                      </a:moveTo>
                      <a:cubicBezTo>
                        <a:pt x="4163" y="7337"/>
                        <a:pt x="5335" y="6566"/>
                        <a:pt x="5856" y="6124"/>
                      </a:cubicBezTo>
                      <a:cubicBezTo>
                        <a:pt x="10973" y="2041"/>
                        <a:pt x="14833" y="0"/>
                        <a:pt x="17436" y="0"/>
                      </a:cubicBezTo>
                      <a:cubicBezTo>
                        <a:pt x="18304" y="0"/>
                        <a:pt x="19127" y="332"/>
                        <a:pt x="19909" y="993"/>
                      </a:cubicBezTo>
                      <a:cubicBezTo>
                        <a:pt x="20256" y="1324"/>
                        <a:pt x="20820" y="1958"/>
                        <a:pt x="21600" y="2896"/>
                      </a:cubicBezTo>
                      <a:cubicBezTo>
                        <a:pt x="21600" y="4165"/>
                        <a:pt x="21210" y="5434"/>
                        <a:pt x="20428" y="6703"/>
                      </a:cubicBezTo>
                      <a:cubicBezTo>
                        <a:pt x="18954" y="9186"/>
                        <a:pt x="17914" y="11034"/>
                        <a:pt x="17306" y="12248"/>
                      </a:cubicBezTo>
                      <a:cubicBezTo>
                        <a:pt x="14617" y="18483"/>
                        <a:pt x="11970" y="21600"/>
                        <a:pt x="9368" y="21600"/>
                      </a:cubicBezTo>
                      <a:cubicBezTo>
                        <a:pt x="7547" y="21600"/>
                        <a:pt x="6636" y="20028"/>
                        <a:pt x="6636" y="16883"/>
                      </a:cubicBezTo>
                      <a:cubicBezTo>
                        <a:pt x="6636" y="16551"/>
                        <a:pt x="7504" y="15337"/>
                        <a:pt x="9238" y="13241"/>
                      </a:cubicBezTo>
                      <a:lnTo>
                        <a:pt x="11711" y="10179"/>
                      </a:lnTo>
                      <a:lnTo>
                        <a:pt x="11711" y="9186"/>
                      </a:lnTo>
                      <a:cubicBezTo>
                        <a:pt x="11537" y="9076"/>
                        <a:pt x="11233" y="9021"/>
                        <a:pt x="10800" y="9021"/>
                      </a:cubicBezTo>
                      <a:cubicBezTo>
                        <a:pt x="10279" y="9021"/>
                        <a:pt x="9064" y="9656"/>
                        <a:pt x="7157" y="10924"/>
                      </a:cubicBezTo>
                      <a:cubicBezTo>
                        <a:pt x="5335" y="12138"/>
                        <a:pt x="3859" y="12745"/>
                        <a:pt x="2732" y="12745"/>
                      </a:cubicBezTo>
                      <a:cubicBezTo>
                        <a:pt x="2211" y="12745"/>
                        <a:pt x="1648" y="12579"/>
                        <a:pt x="1041" y="12248"/>
                      </a:cubicBezTo>
                      <a:cubicBezTo>
                        <a:pt x="347" y="11917"/>
                        <a:pt x="0" y="11586"/>
                        <a:pt x="0" y="11255"/>
                      </a:cubicBezTo>
                      <a:cubicBezTo>
                        <a:pt x="0" y="10427"/>
                        <a:pt x="780" y="9490"/>
                        <a:pt x="2342" y="8442"/>
                      </a:cubicBezTo>
                      <a:close/>
                      <a:moveTo>
                        <a:pt x="2342" y="844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69" name="AutoShape 42"/>
                <p:cNvSpPr>
                  <a:spLocks/>
                </p:cNvSpPr>
                <p:nvPr/>
              </p:nvSpPr>
              <p:spPr bwMode="auto">
                <a:xfrm>
                  <a:off x="5031461" y="1649269"/>
                  <a:ext cx="13399" cy="13399"/>
                </a:xfrm>
                <a:custGeom>
                  <a:avLst/>
                  <a:gdLst/>
                  <a:ahLst/>
                  <a:cxnLst/>
                  <a:rect l="0" t="0" r="r" b="b"/>
                  <a:pathLst>
                    <a:path w="21600" h="21600">
                      <a:moveTo>
                        <a:pt x="10472" y="0"/>
                      </a:moveTo>
                      <a:cubicBezTo>
                        <a:pt x="12217" y="0"/>
                        <a:pt x="13307" y="110"/>
                        <a:pt x="13745" y="325"/>
                      </a:cubicBezTo>
                      <a:cubicBezTo>
                        <a:pt x="14400" y="539"/>
                        <a:pt x="15272" y="1934"/>
                        <a:pt x="16362" y="4515"/>
                      </a:cubicBezTo>
                      <a:cubicBezTo>
                        <a:pt x="17017" y="4943"/>
                        <a:pt x="17672" y="5479"/>
                        <a:pt x="18328" y="6125"/>
                      </a:cubicBezTo>
                      <a:cubicBezTo>
                        <a:pt x="20507" y="7845"/>
                        <a:pt x="21600" y="9669"/>
                        <a:pt x="21600" y="11607"/>
                      </a:cubicBezTo>
                      <a:cubicBezTo>
                        <a:pt x="21600" y="13752"/>
                        <a:pt x="20945" y="15797"/>
                        <a:pt x="19635" y="17731"/>
                      </a:cubicBezTo>
                      <a:cubicBezTo>
                        <a:pt x="17672" y="20311"/>
                        <a:pt x="14943" y="21600"/>
                        <a:pt x="11454" y="21600"/>
                      </a:cubicBezTo>
                      <a:cubicBezTo>
                        <a:pt x="8836" y="21600"/>
                        <a:pt x="6328" y="20526"/>
                        <a:pt x="3928" y="18374"/>
                      </a:cubicBezTo>
                      <a:cubicBezTo>
                        <a:pt x="1310" y="16011"/>
                        <a:pt x="0" y="13112"/>
                        <a:pt x="0" y="9669"/>
                      </a:cubicBezTo>
                      <a:cubicBezTo>
                        <a:pt x="0" y="3223"/>
                        <a:pt x="3490" y="0"/>
                        <a:pt x="10472" y="0"/>
                      </a:cubicBezTo>
                      <a:close/>
                      <a:moveTo>
                        <a:pt x="10472"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0" name="AutoShape 43"/>
                <p:cNvSpPr>
                  <a:spLocks/>
                </p:cNvSpPr>
                <p:nvPr/>
              </p:nvSpPr>
              <p:spPr bwMode="auto">
                <a:xfrm>
                  <a:off x="5052075" y="1669883"/>
                  <a:ext cx="9792" cy="17522"/>
                </a:xfrm>
                <a:custGeom>
                  <a:avLst/>
                  <a:gdLst/>
                  <a:ahLst/>
                  <a:cxnLst/>
                  <a:rect l="0" t="0" r="r" b="b"/>
                  <a:pathLst>
                    <a:path w="21600" h="21600">
                      <a:moveTo>
                        <a:pt x="17191" y="7201"/>
                      </a:moveTo>
                      <a:cubicBezTo>
                        <a:pt x="17488" y="7863"/>
                        <a:pt x="17928" y="8608"/>
                        <a:pt x="18517" y="9438"/>
                      </a:cubicBezTo>
                      <a:cubicBezTo>
                        <a:pt x="20571" y="13572"/>
                        <a:pt x="21600" y="16634"/>
                        <a:pt x="21600" y="18621"/>
                      </a:cubicBezTo>
                      <a:cubicBezTo>
                        <a:pt x="21600" y="19948"/>
                        <a:pt x="21307" y="20773"/>
                        <a:pt x="20722" y="21103"/>
                      </a:cubicBezTo>
                      <a:cubicBezTo>
                        <a:pt x="20132" y="21435"/>
                        <a:pt x="18664" y="21600"/>
                        <a:pt x="16313" y="21600"/>
                      </a:cubicBezTo>
                      <a:cubicBezTo>
                        <a:pt x="12490" y="21600"/>
                        <a:pt x="8817" y="19860"/>
                        <a:pt x="5291" y="16389"/>
                      </a:cubicBezTo>
                      <a:cubicBezTo>
                        <a:pt x="1761" y="13077"/>
                        <a:pt x="0" y="9768"/>
                        <a:pt x="0" y="6458"/>
                      </a:cubicBezTo>
                      <a:cubicBezTo>
                        <a:pt x="0" y="2154"/>
                        <a:pt x="2204" y="0"/>
                        <a:pt x="6613" y="0"/>
                      </a:cubicBezTo>
                      <a:cubicBezTo>
                        <a:pt x="8964" y="0"/>
                        <a:pt x="11314" y="1160"/>
                        <a:pt x="13665" y="3477"/>
                      </a:cubicBezTo>
                      <a:cubicBezTo>
                        <a:pt x="14841" y="4471"/>
                        <a:pt x="16016" y="5714"/>
                        <a:pt x="17191" y="7201"/>
                      </a:cubicBezTo>
                      <a:close/>
                      <a:moveTo>
                        <a:pt x="17191" y="720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1" name="AutoShape 44"/>
                <p:cNvSpPr>
                  <a:spLocks/>
                </p:cNvSpPr>
                <p:nvPr/>
              </p:nvSpPr>
              <p:spPr bwMode="auto">
                <a:xfrm>
                  <a:off x="5043829" y="1632778"/>
                  <a:ext cx="11853" cy="16491"/>
                </a:xfrm>
                <a:custGeom>
                  <a:avLst/>
                  <a:gdLst/>
                  <a:ahLst/>
                  <a:cxnLst/>
                  <a:rect l="0" t="0" r="r" b="b"/>
                  <a:pathLst>
                    <a:path w="21317" h="21600">
                      <a:moveTo>
                        <a:pt x="19253" y="3161"/>
                      </a:moveTo>
                      <a:cubicBezTo>
                        <a:pt x="20240" y="4919"/>
                        <a:pt x="20736" y="6850"/>
                        <a:pt x="20736" y="8958"/>
                      </a:cubicBezTo>
                      <a:cubicBezTo>
                        <a:pt x="20736" y="9308"/>
                        <a:pt x="20859" y="9746"/>
                        <a:pt x="21105" y="10274"/>
                      </a:cubicBezTo>
                      <a:cubicBezTo>
                        <a:pt x="21600" y="12207"/>
                        <a:pt x="21231" y="14400"/>
                        <a:pt x="19994" y="16858"/>
                      </a:cubicBezTo>
                      <a:cubicBezTo>
                        <a:pt x="18266" y="20022"/>
                        <a:pt x="15799" y="21600"/>
                        <a:pt x="12588" y="21600"/>
                      </a:cubicBezTo>
                      <a:cubicBezTo>
                        <a:pt x="9381" y="21600"/>
                        <a:pt x="6419" y="20110"/>
                        <a:pt x="3703" y="17121"/>
                      </a:cubicBezTo>
                      <a:cubicBezTo>
                        <a:pt x="1233" y="14663"/>
                        <a:pt x="0" y="12644"/>
                        <a:pt x="0" y="11064"/>
                      </a:cubicBezTo>
                      <a:cubicBezTo>
                        <a:pt x="0" y="8783"/>
                        <a:pt x="1233" y="6497"/>
                        <a:pt x="3703" y="4217"/>
                      </a:cubicBezTo>
                      <a:cubicBezTo>
                        <a:pt x="6665" y="1406"/>
                        <a:pt x="10122" y="0"/>
                        <a:pt x="14071" y="0"/>
                      </a:cubicBezTo>
                      <a:cubicBezTo>
                        <a:pt x="16291" y="0"/>
                        <a:pt x="18020" y="1055"/>
                        <a:pt x="19253" y="3161"/>
                      </a:cubicBezTo>
                      <a:close/>
                      <a:moveTo>
                        <a:pt x="19253" y="316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2" name="AutoShape 45"/>
                <p:cNvSpPr>
                  <a:spLocks/>
                </p:cNvSpPr>
                <p:nvPr/>
              </p:nvSpPr>
              <p:spPr bwMode="auto">
                <a:xfrm>
                  <a:off x="5039707" y="1748215"/>
                  <a:ext cx="8245" cy="18552"/>
                </a:xfrm>
                <a:custGeom>
                  <a:avLst/>
                  <a:gdLst/>
                  <a:ahLst/>
                  <a:cxnLst/>
                  <a:rect l="0" t="0" r="r" b="b"/>
                  <a:pathLst>
                    <a:path w="21088" h="21600">
                      <a:moveTo>
                        <a:pt x="19546" y="9971"/>
                      </a:moveTo>
                      <a:cubicBezTo>
                        <a:pt x="21600" y="12026"/>
                        <a:pt x="21600" y="14480"/>
                        <a:pt x="19546" y="17329"/>
                      </a:cubicBezTo>
                      <a:cubicBezTo>
                        <a:pt x="16799" y="20178"/>
                        <a:pt x="13545" y="21600"/>
                        <a:pt x="9773" y="21600"/>
                      </a:cubicBezTo>
                      <a:cubicBezTo>
                        <a:pt x="5318" y="21600"/>
                        <a:pt x="2401" y="20732"/>
                        <a:pt x="1030" y="18990"/>
                      </a:cubicBezTo>
                      <a:cubicBezTo>
                        <a:pt x="347" y="18039"/>
                        <a:pt x="0" y="16378"/>
                        <a:pt x="0" y="14005"/>
                      </a:cubicBezTo>
                      <a:cubicBezTo>
                        <a:pt x="0" y="11629"/>
                        <a:pt x="1718" y="8783"/>
                        <a:pt x="5143" y="5459"/>
                      </a:cubicBezTo>
                      <a:cubicBezTo>
                        <a:pt x="8914" y="1821"/>
                        <a:pt x="12515" y="0"/>
                        <a:pt x="15945" y="0"/>
                      </a:cubicBezTo>
                      <a:cubicBezTo>
                        <a:pt x="19370" y="0"/>
                        <a:pt x="21088" y="1977"/>
                        <a:pt x="21088" y="5934"/>
                      </a:cubicBezTo>
                      <a:cubicBezTo>
                        <a:pt x="21088" y="6725"/>
                        <a:pt x="20570" y="8071"/>
                        <a:pt x="19546" y="9971"/>
                      </a:cubicBezTo>
                      <a:close/>
                      <a:moveTo>
                        <a:pt x="19546" y="9971"/>
                      </a:moveTo>
                    </a:path>
                  </a:pathLst>
                </a:custGeom>
                <a:grpFill/>
                <a:ln w="3175" cap="flat">
                  <a:solidFill>
                    <a:schemeClr val="bg1"/>
                  </a:solidFill>
                  <a:miter lim="800000"/>
                  <a:headEnd type="none" w="med" len="med"/>
                  <a:tailEnd type="none" w="med" len="med"/>
                </a:ln>
              </p:spPr>
              <p:txBody>
                <a:bodyPr lIns="0" tIns="0" rIns="0" bIns="0"/>
                <a:lstStyle/>
                <a:p>
                  <a:endParaRPr lang="en-US"/>
                </a:p>
              </p:txBody>
            </p:sp>
          </p:grpSp>
          <p:grpSp>
            <p:nvGrpSpPr>
              <p:cNvPr id="8" name="Group 7"/>
              <p:cNvGrpSpPr/>
              <p:nvPr/>
            </p:nvGrpSpPr>
            <p:grpSpPr>
              <a:xfrm>
                <a:off x="4940761" y="243417"/>
                <a:ext cx="1673315" cy="2262866"/>
                <a:chOff x="4940761" y="243417"/>
                <a:chExt cx="1673315" cy="2262866"/>
              </a:xfrm>
              <a:grpFill/>
            </p:grpSpPr>
            <p:sp>
              <p:nvSpPr>
                <p:cNvPr id="432" name="AutoShape 3"/>
                <p:cNvSpPr>
                  <a:spLocks/>
                </p:cNvSpPr>
                <p:nvPr/>
              </p:nvSpPr>
              <p:spPr bwMode="auto">
                <a:xfrm>
                  <a:off x="6078635" y="832968"/>
                  <a:ext cx="11338" cy="19068"/>
                </a:xfrm>
                <a:custGeom>
                  <a:avLst/>
                  <a:gdLst/>
                  <a:ahLst/>
                  <a:cxnLst/>
                  <a:rect l="0" t="0" r="r" b="b"/>
                  <a:pathLst>
                    <a:path w="21600" h="21600">
                      <a:moveTo>
                        <a:pt x="21600" y="3947"/>
                      </a:moveTo>
                      <a:lnTo>
                        <a:pt x="13887" y="21600"/>
                      </a:lnTo>
                      <a:cubicBezTo>
                        <a:pt x="13114" y="19743"/>
                        <a:pt x="10926" y="17265"/>
                        <a:pt x="7329" y="14168"/>
                      </a:cubicBezTo>
                      <a:cubicBezTo>
                        <a:pt x="2444" y="9987"/>
                        <a:pt x="0" y="7200"/>
                        <a:pt x="0" y="5806"/>
                      </a:cubicBezTo>
                      <a:cubicBezTo>
                        <a:pt x="0" y="1936"/>
                        <a:pt x="2188" y="0"/>
                        <a:pt x="6557" y="0"/>
                      </a:cubicBezTo>
                      <a:cubicBezTo>
                        <a:pt x="10926" y="0"/>
                        <a:pt x="15943" y="1317"/>
                        <a:pt x="21600" y="3947"/>
                      </a:cubicBezTo>
                      <a:close/>
                      <a:moveTo>
                        <a:pt x="21600" y="394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3" name="AutoShape 46"/>
                <p:cNvSpPr>
                  <a:spLocks/>
                </p:cNvSpPr>
                <p:nvPr/>
              </p:nvSpPr>
              <p:spPr bwMode="auto">
                <a:xfrm>
                  <a:off x="5934340" y="503149"/>
                  <a:ext cx="144296" cy="87093"/>
                </a:xfrm>
                <a:custGeom>
                  <a:avLst/>
                  <a:gdLst/>
                  <a:ahLst/>
                  <a:cxnLst/>
                  <a:rect l="0" t="0" r="r" b="b"/>
                  <a:pathLst>
                    <a:path w="21600" h="21600">
                      <a:moveTo>
                        <a:pt x="1142" y="14093"/>
                      </a:moveTo>
                      <a:cubicBezTo>
                        <a:pt x="1142" y="14400"/>
                        <a:pt x="1018" y="14723"/>
                        <a:pt x="771" y="15064"/>
                      </a:cubicBezTo>
                      <a:cubicBezTo>
                        <a:pt x="504" y="15403"/>
                        <a:pt x="370" y="15710"/>
                        <a:pt x="370" y="15983"/>
                      </a:cubicBezTo>
                      <a:cubicBezTo>
                        <a:pt x="370" y="16255"/>
                        <a:pt x="463" y="16391"/>
                        <a:pt x="648" y="16391"/>
                      </a:cubicBezTo>
                      <a:cubicBezTo>
                        <a:pt x="833" y="16391"/>
                        <a:pt x="1173" y="16017"/>
                        <a:pt x="1666" y="15268"/>
                      </a:cubicBezTo>
                      <a:cubicBezTo>
                        <a:pt x="2180" y="14520"/>
                        <a:pt x="2510" y="14127"/>
                        <a:pt x="2654" y="14093"/>
                      </a:cubicBezTo>
                      <a:cubicBezTo>
                        <a:pt x="2736" y="14230"/>
                        <a:pt x="2777" y="14451"/>
                        <a:pt x="2777" y="14757"/>
                      </a:cubicBezTo>
                      <a:cubicBezTo>
                        <a:pt x="2777" y="14995"/>
                        <a:pt x="2715" y="15694"/>
                        <a:pt x="2592" y="16851"/>
                      </a:cubicBezTo>
                      <a:cubicBezTo>
                        <a:pt x="2592" y="17872"/>
                        <a:pt x="2787" y="18383"/>
                        <a:pt x="3178" y="18383"/>
                      </a:cubicBezTo>
                      <a:cubicBezTo>
                        <a:pt x="3322" y="18383"/>
                        <a:pt x="3621" y="17974"/>
                        <a:pt x="4073" y="17157"/>
                      </a:cubicBezTo>
                      <a:cubicBezTo>
                        <a:pt x="4320" y="16749"/>
                        <a:pt x="4608" y="16204"/>
                        <a:pt x="4937" y="15523"/>
                      </a:cubicBezTo>
                      <a:cubicBezTo>
                        <a:pt x="4999" y="15591"/>
                        <a:pt x="5071" y="15796"/>
                        <a:pt x="5153" y="16136"/>
                      </a:cubicBezTo>
                      <a:cubicBezTo>
                        <a:pt x="5215" y="16408"/>
                        <a:pt x="5246" y="16596"/>
                        <a:pt x="5246" y="16698"/>
                      </a:cubicBezTo>
                      <a:cubicBezTo>
                        <a:pt x="5246" y="17140"/>
                        <a:pt x="5184" y="17889"/>
                        <a:pt x="5060" y="18944"/>
                      </a:cubicBezTo>
                      <a:cubicBezTo>
                        <a:pt x="5060" y="19625"/>
                        <a:pt x="5163" y="20238"/>
                        <a:pt x="5369" y="20783"/>
                      </a:cubicBezTo>
                      <a:cubicBezTo>
                        <a:pt x="5575" y="21328"/>
                        <a:pt x="5822" y="21600"/>
                        <a:pt x="6110" y="21600"/>
                      </a:cubicBezTo>
                      <a:cubicBezTo>
                        <a:pt x="6809" y="21600"/>
                        <a:pt x="7159" y="20783"/>
                        <a:pt x="7159" y="19149"/>
                      </a:cubicBezTo>
                      <a:cubicBezTo>
                        <a:pt x="7159" y="18978"/>
                        <a:pt x="7292" y="18604"/>
                        <a:pt x="7560" y="18025"/>
                      </a:cubicBezTo>
                      <a:cubicBezTo>
                        <a:pt x="7869" y="17413"/>
                        <a:pt x="8054" y="16970"/>
                        <a:pt x="8115" y="16698"/>
                      </a:cubicBezTo>
                      <a:lnTo>
                        <a:pt x="8362" y="15369"/>
                      </a:lnTo>
                      <a:cubicBezTo>
                        <a:pt x="8506" y="14859"/>
                        <a:pt x="8681" y="14604"/>
                        <a:pt x="8887" y="14604"/>
                      </a:cubicBezTo>
                      <a:cubicBezTo>
                        <a:pt x="9072" y="14604"/>
                        <a:pt x="9165" y="14876"/>
                        <a:pt x="9165" y="15421"/>
                      </a:cubicBezTo>
                      <a:cubicBezTo>
                        <a:pt x="9165" y="15966"/>
                        <a:pt x="9062" y="16851"/>
                        <a:pt x="8856" y="18076"/>
                      </a:cubicBezTo>
                      <a:cubicBezTo>
                        <a:pt x="8856" y="18485"/>
                        <a:pt x="8990" y="18689"/>
                        <a:pt x="9257" y="18689"/>
                      </a:cubicBezTo>
                      <a:cubicBezTo>
                        <a:pt x="9874" y="18689"/>
                        <a:pt x="10604" y="17345"/>
                        <a:pt x="11448" y="14656"/>
                      </a:cubicBezTo>
                      <a:cubicBezTo>
                        <a:pt x="11448" y="14417"/>
                        <a:pt x="11335" y="14196"/>
                        <a:pt x="11109" y="13992"/>
                      </a:cubicBezTo>
                      <a:cubicBezTo>
                        <a:pt x="10882" y="13821"/>
                        <a:pt x="10769" y="13651"/>
                        <a:pt x="10769" y="13481"/>
                      </a:cubicBezTo>
                      <a:cubicBezTo>
                        <a:pt x="10769" y="13277"/>
                        <a:pt x="10872" y="13124"/>
                        <a:pt x="11078" y="13021"/>
                      </a:cubicBezTo>
                      <a:cubicBezTo>
                        <a:pt x="11181" y="12953"/>
                        <a:pt x="11283" y="12919"/>
                        <a:pt x="11386" y="12919"/>
                      </a:cubicBezTo>
                      <a:cubicBezTo>
                        <a:pt x="11469" y="12919"/>
                        <a:pt x="11551" y="12988"/>
                        <a:pt x="11633" y="13124"/>
                      </a:cubicBezTo>
                      <a:cubicBezTo>
                        <a:pt x="11715" y="13260"/>
                        <a:pt x="11828" y="13361"/>
                        <a:pt x="11973" y="13430"/>
                      </a:cubicBezTo>
                      <a:cubicBezTo>
                        <a:pt x="12137" y="13192"/>
                        <a:pt x="12250" y="12562"/>
                        <a:pt x="12312" y="11540"/>
                      </a:cubicBezTo>
                      <a:cubicBezTo>
                        <a:pt x="12353" y="10757"/>
                        <a:pt x="12641" y="10281"/>
                        <a:pt x="13176" y="10111"/>
                      </a:cubicBezTo>
                      <a:lnTo>
                        <a:pt x="14996" y="10111"/>
                      </a:lnTo>
                      <a:lnTo>
                        <a:pt x="14996" y="10928"/>
                      </a:lnTo>
                      <a:cubicBezTo>
                        <a:pt x="14297" y="11915"/>
                        <a:pt x="13834" y="12698"/>
                        <a:pt x="13608" y="13277"/>
                      </a:cubicBezTo>
                      <a:cubicBezTo>
                        <a:pt x="13382" y="13855"/>
                        <a:pt x="13227" y="14571"/>
                        <a:pt x="13145" y="15421"/>
                      </a:cubicBezTo>
                      <a:cubicBezTo>
                        <a:pt x="13125" y="15455"/>
                        <a:pt x="13114" y="15506"/>
                        <a:pt x="13114" y="15574"/>
                      </a:cubicBezTo>
                      <a:cubicBezTo>
                        <a:pt x="13114" y="15813"/>
                        <a:pt x="13125" y="16051"/>
                        <a:pt x="13145" y="16289"/>
                      </a:cubicBezTo>
                      <a:cubicBezTo>
                        <a:pt x="13166" y="16698"/>
                        <a:pt x="13207" y="17089"/>
                        <a:pt x="13269" y="17463"/>
                      </a:cubicBezTo>
                      <a:cubicBezTo>
                        <a:pt x="13413" y="18417"/>
                        <a:pt x="13639" y="18893"/>
                        <a:pt x="13947" y="18893"/>
                      </a:cubicBezTo>
                      <a:cubicBezTo>
                        <a:pt x="14173" y="18893"/>
                        <a:pt x="14523" y="18297"/>
                        <a:pt x="14996" y="17106"/>
                      </a:cubicBezTo>
                      <a:cubicBezTo>
                        <a:pt x="15490" y="15847"/>
                        <a:pt x="15932" y="15183"/>
                        <a:pt x="16323" y="15115"/>
                      </a:cubicBezTo>
                      <a:cubicBezTo>
                        <a:pt x="16488" y="15081"/>
                        <a:pt x="16776" y="15047"/>
                        <a:pt x="17187" y="15012"/>
                      </a:cubicBezTo>
                      <a:cubicBezTo>
                        <a:pt x="17517" y="14944"/>
                        <a:pt x="17712" y="14876"/>
                        <a:pt x="17774" y="14809"/>
                      </a:cubicBezTo>
                      <a:cubicBezTo>
                        <a:pt x="18247" y="13890"/>
                        <a:pt x="18483" y="13055"/>
                        <a:pt x="18483" y="12306"/>
                      </a:cubicBezTo>
                      <a:cubicBezTo>
                        <a:pt x="18483" y="12136"/>
                        <a:pt x="18442" y="11932"/>
                        <a:pt x="18360" y="11694"/>
                      </a:cubicBezTo>
                      <a:cubicBezTo>
                        <a:pt x="18278" y="11455"/>
                        <a:pt x="18236" y="11285"/>
                        <a:pt x="18236" y="11183"/>
                      </a:cubicBezTo>
                      <a:cubicBezTo>
                        <a:pt x="18236" y="10808"/>
                        <a:pt x="18412" y="10604"/>
                        <a:pt x="18761" y="10570"/>
                      </a:cubicBezTo>
                      <a:cubicBezTo>
                        <a:pt x="19090" y="10536"/>
                        <a:pt x="19255" y="10179"/>
                        <a:pt x="19255" y="9498"/>
                      </a:cubicBezTo>
                      <a:cubicBezTo>
                        <a:pt x="19255" y="9056"/>
                        <a:pt x="19193" y="8629"/>
                        <a:pt x="19070" y="8221"/>
                      </a:cubicBezTo>
                      <a:cubicBezTo>
                        <a:pt x="18926" y="7812"/>
                        <a:pt x="18854" y="7541"/>
                        <a:pt x="18854" y="7404"/>
                      </a:cubicBezTo>
                      <a:cubicBezTo>
                        <a:pt x="18854" y="6758"/>
                        <a:pt x="19070" y="6383"/>
                        <a:pt x="19502" y="6281"/>
                      </a:cubicBezTo>
                      <a:cubicBezTo>
                        <a:pt x="19749" y="6213"/>
                        <a:pt x="20109" y="6213"/>
                        <a:pt x="20582" y="6281"/>
                      </a:cubicBezTo>
                      <a:cubicBezTo>
                        <a:pt x="21260" y="6281"/>
                        <a:pt x="21600" y="5753"/>
                        <a:pt x="21600" y="4698"/>
                      </a:cubicBezTo>
                      <a:cubicBezTo>
                        <a:pt x="21600" y="4017"/>
                        <a:pt x="21302" y="3047"/>
                        <a:pt x="20705" y="1787"/>
                      </a:cubicBezTo>
                      <a:cubicBezTo>
                        <a:pt x="20150" y="595"/>
                        <a:pt x="19810" y="0"/>
                        <a:pt x="19687" y="0"/>
                      </a:cubicBezTo>
                      <a:cubicBezTo>
                        <a:pt x="19440" y="0"/>
                        <a:pt x="19234" y="511"/>
                        <a:pt x="19070" y="1532"/>
                      </a:cubicBezTo>
                      <a:cubicBezTo>
                        <a:pt x="18905" y="2519"/>
                        <a:pt x="18597" y="3012"/>
                        <a:pt x="18144" y="3012"/>
                      </a:cubicBezTo>
                      <a:lnTo>
                        <a:pt x="17558" y="2706"/>
                      </a:lnTo>
                      <a:cubicBezTo>
                        <a:pt x="17413" y="2706"/>
                        <a:pt x="17218" y="2826"/>
                        <a:pt x="16971" y="3064"/>
                      </a:cubicBezTo>
                      <a:cubicBezTo>
                        <a:pt x="16725" y="3336"/>
                        <a:pt x="16550" y="3455"/>
                        <a:pt x="16447" y="3421"/>
                      </a:cubicBezTo>
                      <a:cubicBezTo>
                        <a:pt x="16426" y="2910"/>
                        <a:pt x="16333" y="2451"/>
                        <a:pt x="16169" y="2043"/>
                      </a:cubicBezTo>
                      <a:cubicBezTo>
                        <a:pt x="16004" y="1599"/>
                        <a:pt x="15789" y="1327"/>
                        <a:pt x="15521" y="1225"/>
                      </a:cubicBezTo>
                      <a:cubicBezTo>
                        <a:pt x="15295" y="1123"/>
                        <a:pt x="14945" y="953"/>
                        <a:pt x="14472" y="715"/>
                      </a:cubicBezTo>
                      <a:cubicBezTo>
                        <a:pt x="14328" y="647"/>
                        <a:pt x="14102" y="613"/>
                        <a:pt x="13793" y="613"/>
                      </a:cubicBezTo>
                      <a:cubicBezTo>
                        <a:pt x="13608" y="613"/>
                        <a:pt x="12754" y="1413"/>
                        <a:pt x="11232" y="3012"/>
                      </a:cubicBezTo>
                      <a:cubicBezTo>
                        <a:pt x="9895" y="4442"/>
                        <a:pt x="8856" y="5600"/>
                        <a:pt x="8115" y="6485"/>
                      </a:cubicBezTo>
                      <a:cubicBezTo>
                        <a:pt x="7951" y="6689"/>
                        <a:pt x="7560" y="6945"/>
                        <a:pt x="6943" y="7251"/>
                      </a:cubicBezTo>
                      <a:cubicBezTo>
                        <a:pt x="6428" y="7524"/>
                        <a:pt x="6099" y="7829"/>
                        <a:pt x="5955" y="8170"/>
                      </a:cubicBezTo>
                      <a:cubicBezTo>
                        <a:pt x="5482" y="9191"/>
                        <a:pt x="5246" y="9719"/>
                        <a:pt x="5246" y="9753"/>
                      </a:cubicBezTo>
                      <a:cubicBezTo>
                        <a:pt x="5040" y="10060"/>
                        <a:pt x="4711" y="10213"/>
                        <a:pt x="4258" y="10213"/>
                      </a:cubicBezTo>
                      <a:cubicBezTo>
                        <a:pt x="3312" y="9770"/>
                        <a:pt x="2818" y="9549"/>
                        <a:pt x="2777" y="9549"/>
                      </a:cubicBezTo>
                      <a:cubicBezTo>
                        <a:pt x="2510" y="9549"/>
                        <a:pt x="2067" y="9906"/>
                        <a:pt x="1450" y="10621"/>
                      </a:cubicBezTo>
                      <a:cubicBezTo>
                        <a:pt x="771" y="11404"/>
                        <a:pt x="288" y="12204"/>
                        <a:pt x="0" y="13021"/>
                      </a:cubicBezTo>
                      <a:cubicBezTo>
                        <a:pt x="144" y="13260"/>
                        <a:pt x="401" y="13413"/>
                        <a:pt x="771" y="13481"/>
                      </a:cubicBezTo>
                      <a:cubicBezTo>
                        <a:pt x="1018" y="13515"/>
                        <a:pt x="1142" y="13719"/>
                        <a:pt x="1142" y="14093"/>
                      </a:cubicBezTo>
                      <a:close/>
                      <a:moveTo>
                        <a:pt x="1142" y="1409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4" name="AutoShape 47"/>
                <p:cNvSpPr>
                  <a:spLocks/>
                </p:cNvSpPr>
                <p:nvPr/>
              </p:nvSpPr>
              <p:spPr bwMode="auto">
                <a:xfrm>
                  <a:off x="6132231" y="449553"/>
                  <a:ext cx="58749" cy="32467"/>
                </a:xfrm>
                <a:custGeom>
                  <a:avLst/>
                  <a:gdLst/>
                  <a:ahLst/>
                  <a:cxnLst/>
                  <a:rect l="0" t="0" r="r" b="b"/>
                  <a:pathLst>
                    <a:path w="21600" h="21600">
                      <a:moveTo>
                        <a:pt x="979" y="14081"/>
                      </a:moveTo>
                      <a:cubicBezTo>
                        <a:pt x="1332" y="14081"/>
                        <a:pt x="1958" y="13807"/>
                        <a:pt x="2860" y="13261"/>
                      </a:cubicBezTo>
                      <a:cubicBezTo>
                        <a:pt x="3763" y="12622"/>
                        <a:pt x="4342" y="12303"/>
                        <a:pt x="4592" y="12303"/>
                      </a:cubicBezTo>
                      <a:cubicBezTo>
                        <a:pt x="5244" y="12303"/>
                        <a:pt x="5970" y="13306"/>
                        <a:pt x="6773" y="15312"/>
                      </a:cubicBezTo>
                      <a:cubicBezTo>
                        <a:pt x="7525" y="17226"/>
                        <a:pt x="8254" y="18183"/>
                        <a:pt x="8957" y="18183"/>
                      </a:cubicBezTo>
                      <a:cubicBezTo>
                        <a:pt x="9759" y="18183"/>
                        <a:pt x="10286" y="17726"/>
                        <a:pt x="10535" y="16816"/>
                      </a:cubicBezTo>
                      <a:cubicBezTo>
                        <a:pt x="10738" y="15357"/>
                        <a:pt x="10938" y="14034"/>
                        <a:pt x="11138" y="12851"/>
                      </a:cubicBezTo>
                      <a:lnTo>
                        <a:pt x="11591" y="12851"/>
                      </a:lnTo>
                      <a:cubicBezTo>
                        <a:pt x="11991" y="13670"/>
                        <a:pt x="12493" y="15357"/>
                        <a:pt x="13096" y="17909"/>
                      </a:cubicBezTo>
                      <a:cubicBezTo>
                        <a:pt x="13748" y="20005"/>
                        <a:pt x="14674" y="21052"/>
                        <a:pt x="15880" y="21052"/>
                      </a:cubicBezTo>
                      <a:cubicBezTo>
                        <a:pt x="16179" y="21052"/>
                        <a:pt x="16582" y="20917"/>
                        <a:pt x="17085" y="20643"/>
                      </a:cubicBezTo>
                      <a:cubicBezTo>
                        <a:pt x="17185" y="20553"/>
                        <a:pt x="17308" y="20460"/>
                        <a:pt x="17461" y="20370"/>
                      </a:cubicBezTo>
                      <a:cubicBezTo>
                        <a:pt x="17461" y="20917"/>
                        <a:pt x="17561" y="21281"/>
                        <a:pt x="17761" y="21462"/>
                      </a:cubicBezTo>
                      <a:cubicBezTo>
                        <a:pt x="17861" y="21553"/>
                        <a:pt x="18164" y="21600"/>
                        <a:pt x="18663" y="21600"/>
                      </a:cubicBezTo>
                      <a:cubicBezTo>
                        <a:pt x="20621" y="21600"/>
                        <a:pt x="21600" y="19185"/>
                        <a:pt x="21600" y="14354"/>
                      </a:cubicBezTo>
                      <a:cubicBezTo>
                        <a:pt x="21600" y="13170"/>
                        <a:pt x="21574" y="12486"/>
                        <a:pt x="21524" y="12303"/>
                      </a:cubicBezTo>
                      <a:cubicBezTo>
                        <a:pt x="21474" y="11938"/>
                        <a:pt x="21247" y="11210"/>
                        <a:pt x="20847" y="10116"/>
                      </a:cubicBezTo>
                      <a:cubicBezTo>
                        <a:pt x="20295" y="10572"/>
                        <a:pt x="19892" y="10983"/>
                        <a:pt x="19642" y="11348"/>
                      </a:cubicBezTo>
                      <a:cubicBezTo>
                        <a:pt x="20145" y="8886"/>
                        <a:pt x="20395" y="7383"/>
                        <a:pt x="20395" y="6835"/>
                      </a:cubicBezTo>
                      <a:cubicBezTo>
                        <a:pt x="20395" y="5196"/>
                        <a:pt x="20045" y="3646"/>
                        <a:pt x="19342" y="2188"/>
                      </a:cubicBezTo>
                      <a:cubicBezTo>
                        <a:pt x="18590" y="729"/>
                        <a:pt x="17761" y="0"/>
                        <a:pt x="16858" y="0"/>
                      </a:cubicBezTo>
                      <a:cubicBezTo>
                        <a:pt x="16709" y="0"/>
                        <a:pt x="15077" y="1276"/>
                        <a:pt x="11967" y="3829"/>
                      </a:cubicBezTo>
                      <a:cubicBezTo>
                        <a:pt x="8907" y="6288"/>
                        <a:pt x="6899" y="7519"/>
                        <a:pt x="5947" y="7519"/>
                      </a:cubicBezTo>
                      <a:lnTo>
                        <a:pt x="3236" y="6972"/>
                      </a:lnTo>
                      <a:cubicBezTo>
                        <a:pt x="2534" y="6972"/>
                        <a:pt x="1858" y="7383"/>
                        <a:pt x="1205" y="8202"/>
                      </a:cubicBezTo>
                      <a:cubicBezTo>
                        <a:pt x="403" y="9114"/>
                        <a:pt x="0" y="10252"/>
                        <a:pt x="0" y="11620"/>
                      </a:cubicBezTo>
                      <a:cubicBezTo>
                        <a:pt x="0" y="13261"/>
                        <a:pt x="326" y="14081"/>
                        <a:pt x="979" y="14081"/>
                      </a:cubicBezTo>
                      <a:close/>
                      <a:moveTo>
                        <a:pt x="979" y="1408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5" name="AutoShape 48"/>
                <p:cNvSpPr>
                  <a:spLocks/>
                </p:cNvSpPr>
                <p:nvPr/>
              </p:nvSpPr>
              <p:spPr bwMode="auto">
                <a:xfrm>
                  <a:off x="6115740" y="490781"/>
                  <a:ext cx="62872" cy="44835"/>
                </a:xfrm>
                <a:custGeom>
                  <a:avLst/>
                  <a:gdLst/>
                  <a:ahLst/>
                  <a:cxnLst/>
                  <a:rect l="0" t="0" r="r" b="b"/>
                  <a:pathLst>
                    <a:path w="21600" h="21600">
                      <a:moveTo>
                        <a:pt x="0" y="14041"/>
                      </a:moveTo>
                      <a:cubicBezTo>
                        <a:pt x="0" y="14303"/>
                        <a:pt x="517" y="14727"/>
                        <a:pt x="1550" y="15317"/>
                      </a:cubicBezTo>
                      <a:cubicBezTo>
                        <a:pt x="2627" y="15972"/>
                        <a:pt x="3262" y="16790"/>
                        <a:pt x="3449" y="17772"/>
                      </a:cubicBezTo>
                      <a:cubicBezTo>
                        <a:pt x="3919" y="20324"/>
                        <a:pt x="4856" y="21600"/>
                        <a:pt x="6263" y="21600"/>
                      </a:cubicBezTo>
                      <a:cubicBezTo>
                        <a:pt x="6873" y="21600"/>
                        <a:pt x="7692" y="21437"/>
                        <a:pt x="8725" y="21110"/>
                      </a:cubicBezTo>
                      <a:cubicBezTo>
                        <a:pt x="9709" y="20717"/>
                        <a:pt x="10531" y="20521"/>
                        <a:pt x="11187" y="20521"/>
                      </a:cubicBezTo>
                      <a:lnTo>
                        <a:pt x="13650" y="21012"/>
                      </a:lnTo>
                      <a:cubicBezTo>
                        <a:pt x="14727" y="21012"/>
                        <a:pt x="15854" y="20127"/>
                        <a:pt x="17027" y="18361"/>
                      </a:cubicBezTo>
                      <a:cubicBezTo>
                        <a:pt x="18058" y="16790"/>
                        <a:pt x="18574" y="15547"/>
                        <a:pt x="18574" y="14630"/>
                      </a:cubicBezTo>
                      <a:cubicBezTo>
                        <a:pt x="18574" y="12798"/>
                        <a:pt x="17846" y="11881"/>
                        <a:pt x="16392" y="11881"/>
                      </a:cubicBezTo>
                      <a:lnTo>
                        <a:pt x="13650" y="12273"/>
                      </a:lnTo>
                      <a:cubicBezTo>
                        <a:pt x="13227" y="12273"/>
                        <a:pt x="12993" y="12240"/>
                        <a:pt x="12946" y="12175"/>
                      </a:cubicBezTo>
                      <a:cubicBezTo>
                        <a:pt x="12806" y="11978"/>
                        <a:pt x="12570" y="11685"/>
                        <a:pt x="12243" y="11291"/>
                      </a:cubicBezTo>
                      <a:cubicBezTo>
                        <a:pt x="12570" y="10637"/>
                        <a:pt x="13111" y="10147"/>
                        <a:pt x="13861" y="9818"/>
                      </a:cubicBezTo>
                      <a:cubicBezTo>
                        <a:pt x="13908" y="9753"/>
                        <a:pt x="14917" y="9361"/>
                        <a:pt x="16884" y="8641"/>
                      </a:cubicBezTo>
                      <a:cubicBezTo>
                        <a:pt x="17494" y="8379"/>
                        <a:pt x="18503" y="8150"/>
                        <a:pt x="19910" y="7954"/>
                      </a:cubicBezTo>
                      <a:cubicBezTo>
                        <a:pt x="21037" y="7561"/>
                        <a:pt x="21600" y="6742"/>
                        <a:pt x="21600" y="5499"/>
                      </a:cubicBezTo>
                      <a:cubicBezTo>
                        <a:pt x="21600" y="4452"/>
                        <a:pt x="21364" y="3503"/>
                        <a:pt x="20896" y="2651"/>
                      </a:cubicBezTo>
                      <a:cubicBezTo>
                        <a:pt x="20427" y="1866"/>
                        <a:pt x="19957" y="1473"/>
                        <a:pt x="19489" y="1473"/>
                      </a:cubicBezTo>
                      <a:cubicBezTo>
                        <a:pt x="17659" y="1998"/>
                        <a:pt x="16675" y="2260"/>
                        <a:pt x="16533" y="2260"/>
                      </a:cubicBezTo>
                      <a:cubicBezTo>
                        <a:pt x="16299" y="2260"/>
                        <a:pt x="15947" y="1899"/>
                        <a:pt x="15477" y="1179"/>
                      </a:cubicBezTo>
                      <a:cubicBezTo>
                        <a:pt x="15010" y="393"/>
                        <a:pt x="14587" y="0"/>
                        <a:pt x="14213" y="0"/>
                      </a:cubicBezTo>
                      <a:cubicBezTo>
                        <a:pt x="13603" y="0"/>
                        <a:pt x="11960" y="459"/>
                        <a:pt x="9289" y="1375"/>
                      </a:cubicBezTo>
                      <a:cubicBezTo>
                        <a:pt x="6895" y="2161"/>
                        <a:pt x="5114" y="2946"/>
                        <a:pt x="3941" y="3732"/>
                      </a:cubicBezTo>
                      <a:cubicBezTo>
                        <a:pt x="3801" y="3798"/>
                        <a:pt x="3660" y="3896"/>
                        <a:pt x="3518" y="4026"/>
                      </a:cubicBezTo>
                      <a:cubicBezTo>
                        <a:pt x="2207" y="5400"/>
                        <a:pt x="1550" y="6939"/>
                        <a:pt x="1550" y="8641"/>
                      </a:cubicBezTo>
                      <a:cubicBezTo>
                        <a:pt x="1550" y="9623"/>
                        <a:pt x="1292" y="10539"/>
                        <a:pt x="775" y="11390"/>
                      </a:cubicBezTo>
                      <a:cubicBezTo>
                        <a:pt x="258" y="12240"/>
                        <a:pt x="0" y="13125"/>
                        <a:pt x="0" y="14041"/>
                      </a:cubicBezTo>
                      <a:close/>
                      <a:moveTo>
                        <a:pt x="0" y="1404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6" name="AutoShape 49"/>
                <p:cNvSpPr>
                  <a:spLocks/>
                </p:cNvSpPr>
                <p:nvPr/>
              </p:nvSpPr>
              <p:spPr bwMode="auto">
                <a:xfrm>
                  <a:off x="6099249" y="482535"/>
                  <a:ext cx="17522" cy="22160"/>
                </a:xfrm>
                <a:custGeom>
                  <a:avLst/>
                  <a:gdLst/>
                  <a:ahLst/>
                  <a:cxnLst/>
                  <a:rect l="0" t="0" r="r" b="b"/>
                  <a:pathLst>
                    <a:path w="21600" h="21600">
                      <a:moveTo>
                        <a:pt x="11304" y="21600"/>
                      </a:moveTo>
                      <a:cubicBezTo>
                        <a:pt x="18166" y="21600"/>
                        <a:pt x="21600" y="20016"/>
                        <a:pt x="21600" y="16845"/>
                      </a:cubicBezTo>
                      <a:cubicBezTo>
                        <a:pt x="21600" y="15920"/>
                        <a:pt x="20432" y="14136"/>
                        <a:pt x="18087" y="11494"/>
                      </a:cubicBezTo>
                      <a:cubicBezTo>
                        <a:pt x="15575" y="8984"/>
                        <a:pt x="14319" y="7400"/>
                        <a:pt x="14319" y="6738"/>
                      </a:cubicBezTo>
                      <a:cubicBezTo>
                        <a:pt x="15153" y="5417"/>
                        <a:pt x="15575" y="4427"/>
                        <a:pt x="15575" y="3765"/>
                      </a:cubicBezTo>
                      <a:cubicBezTo>
                        <a:pt x="15575" y="1255"/>
                        <a:pt x="13985" y="0"/>
                        <a:pt x="10801" y="0"/>
                      </a:cubicBezTo>
                      <a:cubicBezTo>
                        <a:pt x="7453" y="0"/>
                        <a:pt x="4688" y="1123"/>
                        <a:pt x="2512" y="3370"/>
                      </a:cubicBezTo>
                      <a:cubicBezTo>
                        <a:pt x="837" y="5086"/>
                        <a:pt x="0" y="6606"/>
                        <a:pt x="0" y="7927"/>
                      </a:cubicBezTo>
                      <a:cubicBezTo>
                        <a:pt x="0" y="12023"/>
                        <a:pt x="1003" y="15327"/>
                        <a:pt x="3012" y="17837"/>
                      </a:cubicBezTo>
                      <a:cubicBezTo>
                        <a:pt x="5024" y="20347"/>
                        <a:pt x="7786" y="21600"/>
                        <a:pt x="11304" y="21600"/>
                      </a:cubicBezTo>
                      <a:close/>
                      <a:moveTo>
                        <a:pt x="11304"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7" name="AutoShape 50"/>
                <p:cNvSpPr>
                  <a:spLocks/>
                </p:cNvSpPr>
                <p:nvPr/>
              </p:nvSpPr>
              <p:spPr bwMode="auto">
                <a:xfrm>
                  <a:off x="5748817" y="651052"/>
                  <a:ext cx="246333" cy="221081"/>
                </a:xfrm>
                <a:custGeom>
                  <a:avLst/>
                  <a:gdLst/>
                  <a:ahLst/>
                  <a:cxnLst/>
                  <a:rect l="0" t="0" r="r" b="b"/>
                  <a:pathLst>
                    <a:path w="21600" h="21600">
                      <a:moveTo>
                        <a:pt x="397" y="14252"/>
                      </a:moveTo>
                      <a:cubicBezTo>
                        <a:pt x="530" y="14319"/>
                        <a:pt x="716" y="14413"/>
                        <a:pt x="957" y="14534"/>
                      </a:cubicBezTo>
                      <a:cubicBezTo>
                        <a:pt x="1054" y="14601"/>
                        <a:pt x="1132" y="14769"/>
                        <a:pt x="1192" y="15037"/>
                      </a:cubicBezTo>
                      <a:cubicBezTo>
                        <a:pt x="1240" y="15319"/>
                        <a:pt x="1312" y="15494"/>
                        <a:pt x="1409" y="15561"/>
                      </a:cubicBezTo>
                      <a:cubicBezTo>
                        <a:pt x="1613" y="15722"/>
                        <a:pt x="1848" y="16017"/>
                        <a:pt x="2113" y="16447"/>
                      </a:cubicBezTo>
                      <a:cubicBezTo>
                        <a:pt x="2426" y="16970"/>
                        <a:pt x="2583" y="17400"/>
                        <a:pt x="2583" y="17735"/>
                      </a:cubicBezTo>
                      <a:cubicBezTo>
                        <a:pt x="2583" y="17923"/>
                        <a:pt x="2540" y="18218"/>
                        <a:pt x="2456" y="18621"/>
                      </a:cubicBezTo>
                      <a:cubicBezTo>
                        <a:pt x="2372" y="19023"/>
                        <a:pt x="2330" y="19386"/>
                        <a:pt x="2330" y="19708"/>
                      </a:cubicBezTo>
                      <a:lnTo>
                        <a:pt x="2221" y="20754"/>
                      </a:lnTo>
                      <a:cubicBezTo>
                        <a:pt x="2221" y="20862"/>
                        <a:pt x="2240" y="20969"/>
                        <a:pt x="2276" y="21077"/>
                      </a:cubicBezTo>
                      <a:cubicBezTo>
                        <a:pt x="2372" y="21332"/>
                        <a:pt x="2426" y="21479"/>
                        <a:pt x="2438" y="21520"/>
                      </a:cubicBezTo>
                      <a:lnTo>
                        <a:pt x="2402" y="21540"/>
                      </a:lnTo>
                      <a:cubicBezTo>
                        <a:pt x="2426" y="21540"/>
                        <a:pt x="2456" y="21546"/>
                        <a:pt x="2492" y="21560"/>
                      </a:cubicBezTo>
                      <a:cubicBezTo>
                        <a:pt x="2601" y="21587"/>
                        <a:pt x="2679" y="21600"/>
                        <a:pt x="2727" y="21600"/>
                      </a:cubicBezTo>
                      <a:cubicBezTo>
                        <a:pt x="2823" y="21600"/>
                        <a:pt x="3215" y="21419"/>
                        <a:pt x="3901" y="21056"/>
                      </a:cubicBezTo>
                      <a:cubicBezTo>
                        <a:pt x="4262" y="20855"/>
                        <a:pt x="4774" y="20567"/>
                        <a:pt x="5436" y="20191"/>
                      </a:cubicBezTo>
                      <a:lnTo>
                        <a:pt x="5815" y="20191"/>
                      </a:lnTo>
                      <a:cubicBezTo>
                        <a:pt x="5827" y="20218"/>
                        <a:pt x="5840" y="20386"/>
                        <a:pt x="5851" y="20694"/>
                      </a:cubicBezTo>
                      <a:cubicBezTo>
                        <a:pt x="5924" y="20990"/>
                        <a:pt x="6098" y="21137"/>
                        <a:pt x="6375" y="21137"/>
                      </a:cubicBezTo>
                      <a:cubicBezTo>
                        <a:pt x="6484" y="21137"/>
                        <a:pt x="6592" y="21056"/>
                        <a:pt x="6700" y="20896"/>
                      </a:cubicBezTo>
                      <a:cubicBezTo>
                        <a:pt x="6821" y="20734"/>
                        <a:pt x="6929" y="20654"/>
                        <a:pt x="7025" y="20654"/>
                      </a:cubicBezTo>
                      <a:cubicBezTo>
                        <a:pt x="7086" y="20654"/>
                        <a:pt x="7218" y="20708"/>
                        <a:pt x="7423" y="20815"/>
                      </a:cubicBezTo>
                      <a:cubicBezTo>
                        <a:pt x="8157" y="20815"/>
                        <a:pt x="8819" y="20117"/>
                        <a:pt x="9409" y="18721"/>
                      </a:cubicBezTo>
                      <a:cubicBezTo>
                        <a:pt x="10011" y="17312"/>
                        <a:pt x="10469" y="16608"/>
                        <a:pt x="10782" y="16608"/>
                      </a:cubicBezTo>
                      <a:cubicBezTo>
                        <a:pt x="10866" y="16608"/>
                        <a:pt x="10944" y="16655"/>
                        <a:pt x="11017" y="16749"/>
                      </a:cubicBezTo>
                      <a:cubicBezTo>
                        <a:pt x="11077" y="16842"/>
                        <a:pt x="11167" y="16889"/>
                        <a:pt x="11287" y="16889"/>
                      </a:cubicBezTo>
                      <a:cubicBezTo>
                        <a:pt x="11890" y="16889"/>
                        <a:pt x="12317" y="16762"/>
                        <a:pt x="12570" y="16507"/>
                      </a:cubicBezTo>
                      <a:cubicBezTo>
                        <a:pt x="12738" y="16332"/>
                        <a:pt x="13045" y="15936"/>
                        <a:pt x="13491" y="15319"/>
                      </a:cubicBezTo>
                      <a:cubicBezTo>
                        <a:pt x="13659" y="15131"/>
                        <a:pt x="14135" y="14883"/>
                        <a:pt x="14918" y="14574"/>
                      </a:cubicBezTo>
                      <a:cubicBezTo>
                        <a:pt x="15327" y="14400"/>
                        <a:pt x="15827" y="14205"/>
                        <a:pt x="16417" y="13991"/>
                      </a:cubicBezTo>
                      <a:cubicBezTo>
                        <a:pt x="16886" y="13790"/>
                        <a:pt x="17386" y="13628"/>
                        <a:pt x="17916" y="13508"/>
                      </a:cubicBezTo>
                      <a:cubicBezTo>
                        <a:pt x="18746" y="13306"/>
                        <a:pt x="19210" y="13192"/>
                        <a:pt x="19306" y="13165"/>
                      </a:cubicBezTo>
                      <a:cubicBezTo>
                        <a:pt x="19788" y="13018"/>
                        <a:pt x="20246" y="12837"/>
                        <a:pt x="20679" y="12622"/>
                      </a:cubicBezTo>
                      <a:cubicBezTo>
                        <a:pt x="21293" y="12313"/>
                        <a:pt x="21600" y="12038"/>
                        <a:pt x="21600" y="11796"/>
                      </a:cubicBezTo>
                      <a:cubicBezTo>
                        <a:pt x="21600" y="11152"/>
                        <a:pt x="21395" y="10381"/>
                        <a:pt x="20986" y="9482"/>
                      </a:cubicBezTo>
                      <a:cubicBezTo>
                        <a:pt x="20504" y="8542"/>
                        <a:pt x="20191" y="7871"/>
                        <a:pt x="20047" y="7468"/>
                      </a:cubicBezTo>
                      <a:cubicBezTo>
                        <a:pt x="19926" y="7106"/>
                        <a:pt x="19836" y="6831"/>
                        <a:pt x="19776" y="6643"/>
                      </a:cubicBezTo>
                      <a:cubicBezTo>
                        <a:pt x="19643" y="6294"/>
                        <a:pt x="19511" y="6019"/>
                        <a:pt x="19378" y="5818"/>
                      </a:cubicBezTo>
                      <a:cubicBezTo>
                        <a:pt x="19282" y="5670"/>
                        <a:pt x="19053" y="5543"/>
                        <a:pt x="18692" y="5435"/>
                      </a:cubicBezTo>
                      <a:cubicBezTo>
                        <a:pt x="18391" y="5328"/>
                        <a:pt x="18150" y="5274"/>
                        <a:pt x="17970" y="5274"/>
                      </a:cubicBezTo>
                      <a:cubicBezTo>
                        <a:pt x="17705" y="5274"/>
                        <a:pt x="17440" y="5475"/>
                        <a:pt x="17175" y="5878"/>
                      </a:cubicBezTo>
                      <a:cubicBezTo>
                        <a:pt x="16910" y="6294"/>
                        <a:pt x="16706" y="6509"/>
                        <a:pt x="16561" y="6522"/>
                      </a:cubicBezTo>
                      <a:cubicBezTo>
                        <a:pt x="16537" y="6468"/>
                        <a:pt x="16525" y="6381"/>
                        <a:pt x="16525" y="6260"/>
                      </a:cubicBezTo>
                      <a:cubicBezTo>
                        <a:pt x="16525" y="6126"/>
                        <a:pt x="16567" y="5999"/>
                        <a:pt x="16652" y="5878"/>
                      </a:cubicBezTo>
                      <a:cubicBezTo>
                        <a:pt x="16736" y="5744"/>
                        <a:pt x="16778" y="5583"/>
                        <a:pt x="16778" y="5395"/>
                      </a:cubicBezTo>
                      <a:cubicBezTo>
                        <a:pt x="16778" y="5207"/>
                        <a:pt x="16688" y="5113"/>
                        <a:pt x="16507" y="5113"/>
                      </a:cubicBezTo>
                      <a:cubicBezTo>
                        <a:pt x="16375" y="5113"/>
                        <a:pt x="16212" y="5180"/>
                        <a:pt x="16019" y="5314"/>
                      </a:cubicBezTo>
                      <a:cubicBezTo>
                        <a:pt x="15803" y="5489"/>
                        <a:pt x="15688" y="5576"/>
                        <a:pt x="15676" y="5576"/>
                      </a:cubicBezTo>
                      <a:cubicBezTo>
                        <a:pt x="15652" y="5522"/>
                        <a:pt x="15640" y="5442"/>
                        <a:pt x="15640" y="5335"/>
                      </a:cubicBezTo>
                      <a:cubicBezTo>
                        <a:pt x="15640" y="5281"/>
                        <a:pt x="15682" y="5160"/>
                        <a:pt x="15766" y="4972"/>
                      </a:cubicBezTo>
                      <a:lnTo>
                        <a:pt x="15893" y="4670"/>
                      </a:lnTo>
                      <a:cubicBezTo>
                        <a:pt x="15893" y="4509"/>
                        <a:pt x="15809" y="4294"/>
                        <a:pt x="15640" y="4026"/>
                      </a:cubicBezTo>
                      <a:cubicBezTo>
                        <a:pt x="15423" y="3717"/>
                        <a:pt x="15261" y="3476"/>
                        <a:pt x="15153" y="3301"/>
                      </a:cubicBezTo>
                      <a:cubicBezTo>
                        <a:pt x="15068" y="3154"/>
                        <a:pt x="15008" y="2932"/>
                        <a:pt x="14972" y="2637"/>
                      </a:cubicBezTo>
                      <a:cubicBezTo>
                        <a:pt x="14936" y="2302"/>
                        <a:pt x="14870" y="2027"/>
                        <a:pt x="14773" y="1812"/>
                      </a:cubicBezTo>
                      <a:cubicBezTo>
                        <a:pt x="14641" y="1530"/>
                        <a:pt x="14159" y="1282"/>
                        <a:pt x="13328" y="1067"/>
                      </a:cubicBezTo>
                      <a:cubicBezTo>
                        <a:pt x="12522" y="906"/>
                        <a:pt x="12106" y="825"/>
                        <a:pt x="12082" y="825"/>
                      </a:cubicBezTo>
                      <a:cubicBezTo>
                        <a:pt x="11877" y="825"/>
                        <a:pt x="11739" y="859"/>
                        <a:pt x="11667" y="926"/>
                      </a:cubicBezTo>
                      <a:cubicBezTo>
                        <a:pt x="11583" y="993"/>
                        <a:pt x="11534" y="1134"/>
                        <a:pt x="11522" y="1349"/>
                      </a:cubicBezTo>
                      <a:cubicBezTo>
                        <a:pt x="11306" y="1295"/>
                        <a:pt x="11161" y="1154"/>
                        <a:pt x="11089" y="926"/>
                      </a:cubicBezTo>
                      <a:cubicBezTo>
                        <a:pt x="11005" y="671"/>
                        <a:pt x="10914" y="510"/>
                        <a:pt x="10818" y="443"/>
                      </a:cubicBezTo>
                      <a:cubicBezTo>
                        <a:pt x="10529" y="242"/>
                        <a:pt x="10348" y="127"/>
                        <a:pt x="10276" y="101"/>
                      </a:cubicBezTo>
                      <a:cubicBezTo>
                        <a:pt x="10132" y="33"/>
                        <a:pt x="9903" y="0"/>
                        <a:pt x="9590" y="0"/>
                      </a:cubicBezTo>
                      <a:cubicBezTo>
                        <a:pt x="9361" y="0"/>
                        <a:pt x="9211" y="40"/>
                        <a:pt x="9138" y="121"/>
                      </a:cubicBezTo>
                      <a:cubicBezTo>
                        <a:pt x="9042" y="201"/>
                        <a:pt x="8994" y="382"/>
                        <a:pt x="8994" y="664"/>
                      </a:cubicBezTo>
                      <a:cubicBezTo>
                        <a:pt x="8994" y="785"/>
                        <a:pt x="9054" y="913"/>
                        <a:pt x="9174" y="1047"/>
                      </a:cubicBezTo>
                      <a:cubicBezTo>
                        <a:pt x="9283" y="1181"/>
                        <a:pt x="9337" y="1275"/>
                        <a:pt x="9337" y="1329"/>
                      </a:cubicBezTo>
                      <a:cubicBezTo>
                        <a:pt x="9337" y="1396"/>
                        <a:pt x="9325" y="1443"/>
                        <a:pt x="9301" y="1470"/>
                      </a:cubicBezTo>
                      <a:cubicBezTo>
                        <a:pt x="9193" y="1523"/>
                        <a:pt x="9090" y="1590"/>
                        <a:pt x="8994" y="1671"/>
                      </a:cubicBezTo>
                      <a:cubicBezTo>
                        <a:pt x="8777" y="1818"/>
                        <a:pt x="8669" y="2006"/>
                        <a:pt x="8669" y="2234"/>
                      </a:cubicBezTo>
                      <a:lnTo>
                        <a:pt x="8741" y="3200"/>
                      </a:lnTo>
                      <a:cubicBezTo>
                        <a:pt x="8741" y="3778"/>
                        <a:pt x="8663" y="4153"/>
                        <a:pt x="8506" y="4328"/>
                      </a:cubicBezTo>
                      <a:cubicBezTo>
                        <a:pt x="8073" y="4731"/>
                        <a:pt x="7567" y="5241"/>
                        <a:pt x="6989" y="5858"/>
                      </a:cubicBezTo>
                      <a:cubicBezTo>
                        <a:pt x="6965" y="5885"/>
                        <a:pt x="6562" y="6234"/>
                        <a:pt x="5779" y="6905"/>
                      </a:cubicBezTo>
                      <a:cubicBezTo>
                        <a:pt x="5177" y="7442"/>
                        <a:pt x="4876" y="7770"/>
                        <a:pt x="4876" y="7891"/>
                      </a:cubicBezTo>
                      <a:cubicBezTo>
                        <a:pt x="4876" y="7958"/>
                        <a:pt x="4912" y="8059"/>
                        <a:pt x="4985" y="8193"/>
                      </a:cubicBezTo>
                      <a:cubicBezTo>
                        <a:pt x="5045" y="8327"/>
                        <a:pt x="5075" y="8421"/>
                        <a:pt x="5075" y="8475"/>
                      </a:cubicBezTo>
                      <a:cubicBezTo>
                        <a:pt x="5075" y="8582"/>
                        <a:pt x="5027" y="8703"/>
                        <a:pt x="4930" y="8837"/>
                      </a:cubicBezTo>
                      <a:cubicBezTo>
                        <a:pt x="4822" y="8971"/>
                        <a:pt x="4708" y="9038"/>
                        <a:pt x="4587" y="9038"/>
                      </a:cubicBezTo>
                      <a:cubicBezTo>
                        <a:pt x="4202" y="8904"/>
                        <a:pt x="3997" y="8837"/>
                        <a:pt x="3973" y="8837"/>
                      </a:cubicBezTo>
                      <a:cubicBezTo>
                        <a:pt x="3865" y="8837"/>
                        <a:pt x="3756" y="9025"/>
                        <a:pt x="3648" y="9401"/>
                      </a:cubicBezTo>
                      <a:cubicBezTo>
                        <a:pt x="3516" y="9897"/>
                        <a:pt x="3383" y="10246"/>
                        <a:pt x="3251" y="10448"/>
                      </a:cubicBezTo>
                      <a:cubicBezTo>
                        <a:pt x="3131" y="10609"/>
                        <a:pt x="2926" y="10797"/>
                        <a:pt x="2637" y="11011"/>
                      </a:cubicBezTo>
                      <a:cubicBezTo>
                        <a:pt x="2312" y="11253"/>
                        <a:pt x="2107" y="11421"/>
                        <a:pt x="2023" y="11515"/>
                      </a:cubicBezTo>
                      <a:cubicBezTo>
                        <a:pt x="1963" y="11582"/>
                        <a:pt x="1686" y="11998"/>
                        <a:pt x="1192" y="12763"/>
                      </a:cubicBezTo>
                      <a:cubicBezTo>
                        <a:pt x="855" y="13286"/>
                        <a:pt x="457" y="13642"/>
                        <a:pt x="0" y="13830"/>
                      </a:cubicBezTo>
                      <a:cubicBezTo>
                        <a:pt x="24" y="13977"/>
                        <a:pt x="157" y="14118"/>
                        <a:pt x="397" y="14252"/>
                      </a:cubicBezTo>
                      <a:close/>
                      <a:moveTo>
                        <a:pt x="397" y="1425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8" name="AutoShape 51"/>
                <p:cNvSpPr>
                  <a:spLocks/>
                </p:cNvSpPr>
                <p:nvPr/>
              </p:nvSpPr>
              <p:spPr bwMode="auto">
                <a:xfrm>
                  <a:off x="5996181" y="577358"/>
                  <a:ext cx="221597" cy="150995"/>
                </a:xfrm>
                <a:custGeom>
                  <a:avLst/>
                  <a:gdLst/>
                  <a:ahLst/>
                  <a:cxnLst/>
                  <a:rect l="0" t="0" r="r" b="b"/>
                  <a:pathLst>
                    <a:path w="21600" h="21600">
                      <a:moveTo>
                        <a:pt x="9535" y="3497"/>
                      </a:moveTo>
                      <a:cubicBezTo>
                        <a:pt x="9214" y="3497"/>
                        <a:pt x="8947" y="3497"/>
                        <a:pt x="8732" y="3497"/>
                      </a:cubicBezTo>
                      <a:cubicBezTo>
                        <a:pt x="8505" y="3497"/>
                        <a:pt x="8297" y="3341"/>
                        <a:pt x="8110" y="3027"/>
                      </a:cubicBezTo>
                      <a:cubicBezTo>
                        <a:pt x="7949" y="2753"/>
                        <a:pt x="7869" y="2508"/>
                        <a:pt x="7869" y="2293"/>
                      </a:cubicBezTo>
                      <a:cubicBezTo>
                        <a:pt x="7869" y="2175"/>
                        <a:pt x="7916" y="2028"/>
                        <a:pt x="8010" y="1852"/>
                      </a:cubicBezTo>
                      <a:cubicBezTo>
                        <a:pt x="8103" y="1656"/>
                        <a:pt x="8150" y="1509"/>
                        <a:pt x="8150" y="1411"/>
                      </a:cubicBezTo>
                      <a:cubicBezTo>
                        <a:pt x="8150" y="999"/>
                        <a:pt x="8016" y="657"/>
                        <a:pt x="7749" y="382"/>
                      </a:cubicBezTo>
                      <a:cubicBezTo>
                        <a:pt x="7508" y="128"/>
                        <a:pt x="7267" y="0"/>
                        <a:pt x="7026" y="0"/>
                      </a:cubicBezTo>
                      <a:cubicBezTo>
                        <a:pt x="5755" y="0"/>
                        <a:pt x="5119" y="431"/>
                        <a:pt x="5119" y="1293"/>
                      </a:cubicBezTo>
                      <a:cubicBezTo>
                        <a:pt x="5119" y="1548"/>
                        <a:pt x="5353" y="1900"/>
                        <a:pt x="5822" y="2351"/>
                      </a:cubicBezTo>
                      <a:cubicBezTo>
                        <a:pt x="6277" y="2802"/>
                        <a:pt x="6504" y="3086"/>
                        <a:pt x="6504" y="3203"/>
                      </a:cubicBezTo>
                      <a:cubicBezTo>
                        <a:pt x="6504" y="3262"/>
                        <a:pt x="6477" y="3321"/>
                        <a:pt x="6424" y="3380"/>
                      </a:cubicBezTo>
                      <a:cubicBezTo>
                        <a:pt x="6384" y="3419"/>
                        <a:pt x="6350" y="3439"/>
                        <a:pt x="6324" y="3439"/>
                      </a:cubicBezTo>
                      <a:cubicBezTo>
                        <a:pt x="6176" y="3439"/>
                        <a:pt x="5902" y="3253"/>
                        <a:pt x="5500" y="2880"/>
                      </a:cubicBezTo>
                      <a:cubicBezTo>
                        <a:pt x="5099" y="2488"/>
                        <a:pt x="4791" y="2293"/>
                        <a:pt x="4577" y="2293"/>
                      </a:cubicBezTo>
                      <a:cubicBezTo>
                        <a:pt x="4363" y="2293"/>
                        <a:pt x="4048" y="2616"/>
                        <a:pt x="3633" y="3262"/>
                      </a:cubicBezTo>
                      <a:cubicBezTo>
                        <a:pt x="3219" y="3889"/>
                        <a:pt x="3011" y="4330"/>
                        <a:pt x="3011" y="4585"/>
                      </a:cubicBezTo>
                      <a:cubicBezTo>
                        <a:pt x="3011" y="4898"/>
                        <a:pt x="3306" y="5075"/>
                        <a:pt x="3894" y="5114"/>
                      </a:cubicBezTo>
                      <a:cubicBezTo>
                        <a:pt x="4189" y="5133"/>
                        <a:pt x="4510" y="5123"/>
                        <a:pt x="4858" y="5085"/>
                      </a:cubicBezTo>
                      <a:cubicBezTo>
                        <a:pt x="5527" y="5143"/>
                        <a:pt x="5915" y="5300"/>
                        <a:pt x="6022" y="5554"/>
                      </a:cubicBezTo>
                      <a:lnTo>
                        <a:pt x="5400" y="5672"/>
                      </a:lnTo>
                      <a:cubicBezTo>
                        <a:pt x="5186" y="5672"/>
                        <a:pt x="4845" y="5623"/>
                        <a:pt x="4376" y="5525"/>
                      </a:cubicBezTo>
                      <a:cubicBezTo>
                        <a:pt x="3908" y="5427"/>
                        <a:pt x="3600" y="5378"/>
                        <a:pt x="3453" y="5378"/>
                      </a:cubicBezTo>
                      <a:cubicBezTo>
                        <a:pt x="3011" y="5378"/>
                        <a:pt x="2590" y="5457"/>
                        <a:pt x="2188" y="5613"/>
                      </a:cubicBezTo>
                      <a:cubicBezTo>
                        <a:pt x="1613" y="5829"/>
                        <a:pt x="1325" y="6162"/>
                        <a:pt x="1325" y="6612"/>
                      </a:cubicBezTo>
                      <a:cubicBezTo>
                        <a:pt x="1325" y="7083"/>
                        <a:pt x="1472" y="7396"/>
                        <a:pt x="1767" y="7553"/>
                      </a:cubicBezTo>
                      <a:cubicBezTo>
                        <a:pt x="1927" y="7631"/>
                        <a:pt x="2215" y="7671"/>
                        <a:pt x="2630" y="7671"/>
                      </a:cubicBezTo>
                      <a:cubicBezTo>
                        <a:pt x="2804" y="7671"/>
                        <a:pt x="3185" y="7592"/>
                        <a:pt x="3774" y="7436"/>
                      </a:cubicBezTo>
                      <a:cubicBezTo>
                        <a:pt x="4363" y="7279"/>
                        <a:pt x="4691" y="7200"/>
                        <a:pt x="4758" y="7200"/>
                      </a:cubicBezTo>
                      <a:cubicBezTo>
                        <a:pt x="4825" y="7200"/>
                        <a:pt x="4912" y="7239"/>
                        <a:pt x="5019" y="7318"/>
                      </a:cubicBezTo>
                      <a:cubicBezTo>
                        <a:pt x="4938" y="7808"/>
                        <a:pt x="4303" y="8288"/>
                        <a:pt x="3112" y="8758"/>
                      </a:cubicBezTo>
                      <a:cubicBezTo>
                        <a:pt x="2964" y="8758"/>
                        <a:pt x="2717" y="8640"/>
                        <a:pt x="2369" y="8405"/>
                      </a:cubicBezTo>
                      <a:cubicBezTo>
                        <a:pt x="2021" y="8150"/>
                        <a:pt x="1760" y="8023"/>
                        <a:pt x="1586" y="8023"/>
                      </a:cubicBezTo>
                      <a:cubicBezTo>
                        <a:pt x="1332" y="8023"/>
                        <a:pt x="1010" y="8190"/>
                        <a:pt x="622" y="8523"/>
                      </a:cubicBezTo>
                      <a:cubicBezTo>
                        <a:pt x="207" y="8875"/>
                        <a:pt x="0" y="9208"/>
                        <a:pt x="0" y="9522"/>
                      </a:cubicBezTo>
                      <a:cubicBezTo>
                        <a:pt x="0" y="9777"/>
                        <a:pt x="181" y="10149"/>
                        <a:pt x="542" y="10639"/>
                      </a:cubicBezTo>
                      <a:cubicBezTo>
                        <a:pt x="903" y="11109"/>
                        <a:pt x="1164" y="11344"/>
                        <a:pt x="1325" y="11344"/>
                      </a:cubicBezTo>
                      <a:cubicBezTo>
                        <a:pt x="1445" y="11344"/>
                        <a:pt x="1552" y="11285"/>
                        <a:pt x="1646" y="11167"/>
                      </a:cubicBezTo>
                      <a:cubicBezTo>
                        <a:pt x="1753" y="11050"/>
                        <a:pt x="1840" y="10991"/>
                        <a:pt x="1907" y="10991"/>
                      </a:cubicBezTo>
                      <a:cubicBezTo>
                        <a:pt x="2175" y="10991"/>
                        <a:pt x="2282" y="11413"/>
                        <a:pt x="2228" y="12255"/>
                      </a:cubicBezTo>
                      <a:cubicBezTo>
                        <a:pt x="2188" y="13098"/>
                        <a:pt x="2315" y="13518"/>
                        <a:pt x="2610" y="13518"/>
                      </a:cubicBezTo>
                      <a:cubicBezTo>
                        <a:pt x="2784" y="13518"/>
                        <a:pt x="2937" y="13323"/>
                        <a:pt x="3071" y="12931"/>
                      </a:cubicBezTo>
                      <a:cubicBezTo>
                        <a:pt x="3232" y="12539"/>
                        <a:pt x="3446" y="12314"/>
                        <a:pt x="3714" y="12255"/>
                      </a:cubicBezTo>
                      <a:lnTo>
                        <a:pt x="4035" y="12255"/>
                      </a:lnTo>
                      <a:lnTo>
                        <a:pt x="4035" y="12725"/>
                      </a:lnTo>
                      <a:cubicBezTo>
                        <a:pt x="3901" y="13117"/>
                        <a:pt x="3834" y="13411"/>
                        <a:pt x="3834" y="13607"/>
                      </a:cubicBezTo>
                      <a:cubicBezTo>
                        <a:pt x="3834" y="13881"/>
                        <a:pt x="3981" y="14018"/>
                        <a:pt x="4276" y="14018"/>
                      </a:cubicBezTo>
                      <a:cubicBezTo>
                        <a:pt x="4744" y="14018"/>
                        <a:pt x="5039" y="13715"/>
                        <a:pt x="5159" y="13108"/>
                      </a:cubicBezTo>
                      <a:cubicBezTo>
                        <a:pt x="5186" y="12970"/>
                        <a:pt x="5199" y="12578"/>
                        <a:pt x="5199" y="11932"/>
                      </a:cubicBezTo>
                      <a:cubicBezTo>
                        <a:pt x="5199" y="11736"/>
                        <a:pt x="5259" y="11638"/>
                        <a:pt x="5380" y="11638"/>
                      </a:cubicBezTo>
                      <a:cubicBezTo>
                        <a:pt x="5460" y="11638"/>
                        <a:pt x="5541" y="11716"/>
                        <a:pt x="5621" y="11873"/>
                      </a:cubicBezTo>
                      <a:cubicBezTo>
                        <a:pt x="5688" y="12010"/>
                        <a:pt x="5761" y="12079"/>
                        <a:pt x="5842" y="12079"/>
                      </a:cubicBezTo>
                      <a:cubicBezTo>
                        <a:pt x="5908" y="12079"/>
                        <a:pt x="6042" y="11834"/>
                        <a:pt x="6243" y="11344"/>
                      </a:cubicBezTo>
                      <a:cubicBezTo>
                        <a:pt x="6431" y="10835"/>
                        <a:pt x="6544" y="10580"/>
                        <a:pt x="6584" y="10580"/>
                      </a:cubicBezTo>
                      <a:cubicBezTo>
                        <a:pt x="6665" y="10580"/>
                        <a:pt x="6839" y="10658"/>
                        <a:pt x="7106" y="10815"/>
                      </a:cubicBezTo>
                      <a:cubicBezTo>
                        <a:pt x="7374" y="10972"/>
                        <a:pt x="7575" y="11050"/>
                        <a:pt x="7709" y="11050"/>
                      </a:cubicBezTo>
                      <a:cubicBezTo>
                        <a:pt x="7374" y="11423"/>
                        <a:pt x="7126" y="11687"/>
                        <a:pt x="6966" y="11844"/>
                      </a:cubicBezTo>
                      <a:cubicBezTo>
                        <a:pt x="6711" y="12118"/>
                        <a:pt x="6598" y="12392"/>
                        <a:pt x="6625" y="12667"/>
                      </a:cubicBezTo>
                      <a:cubicBezTo>
                        <a:pt x="6651" y="12960"/>
                        <a:pt x="6544" y="13225"/>
                        <a:pt x="6303" y="13460"/>
                      </a:cubicBezTo>
                      <a:cubicBezTo>
                        <a:pt x="6036" y="13695"/>
                        <a:pt x="5902" y="13862"/>
                        <a:pt x="5902" y="13959"/>
                      </a:cubicBezTo>
                      <a:cubicBezTo>
                        <a:pt x="5902" y="14234"/>
                        <a:pt x="6036" y="14371"/>
                        <a:pt x="6303" y="14371"/>
                      </a:cubicBezTo>
                      <a:cubicBezTo>
                        <a:pt x="6424" y="14371"/>
                        <a:pt x="6551" y="14312"/>
                        <a:pt x="6685" y="14195"/>
                      </a:cubicBezTo>
                      <a:cubicBezTo>
                        <a:pt x="6832" y="14077"/>
                        <a:pt x="6979" y="14018"/>
                        <a:pt x="7126" y="14018"/>
                      </a:cubicBezTo>
                      <a:cubicBezTo>
                        <a:pt x="7220" y="14018"/>
                        <a:pt x="7327" y="14058"/>
                        <a:pt x="7448" y="14136"/>
                      </a:cubicBezTo>
                      <a:cubicBezTo>
                        <a:pt x="7568" y="14214"/>
                        <a:pt x="7682" y="14253"/>
                        <a:pt x="7789" y="14253"/>
                      </a:cubicBezTo>
                      <a:cubicBezTo>
                        <a:pt x="7856" y="14253"/>
                        <a:pt x="7956" y="14106"/>
                        <a:pt x="8090" y="13813"/>
                      </a:cubicBezTo>
                      <a:cubicBezTo>
                        <a:pt x="8210" y="13499"/>
                        <a:pt x="8351" y="13342"/>
                        <a:pt x="8512" y="13342"/>
                      </a:cubicBezTo>
                      <a:cubicBezTo>
                        <a:pt x="8686" y="13342"/>
                        <a:pt x="8846" y="13529"/>
                        <a:pt x="8993" y="13901"/>
                      </a:cubicBezTo>
                      <a:cubicBezTo>
                        <a:pt x="9141" y="14253"/>
                        <a:pt x="9468" y="14430"/>
                        <a:pt x="9977" y="14430"/>
                      </a:cubicBezTo>
                      <a:cubicBezTo>
                        <a:pt x="10258" y="14430"/>
                        <a:pt x="10425" y="14420"/>
                        <a:pt x="10479" y="14400"/>
                      </a:cubicBezTo>
                      <a:cubicBezTo>
                        <a:pt x="10572" y="14361"/>
                        <a:pt x="10753" y="14205"/>
                        <a:pt x="11021" y="13930"/>
                      </a:cubicBezTo>
                      <a:lnTo>
                        <a:pt x="11262" y="13930"/>
                      </a:lnTo>
                      <a:lnTo>
                        <a:pt x="11262" y="14489"/>
                      </a:lnTo>
                      <a:cubicBezTo>
                        <a:pt x="10218" y="15860"/>
                        <a:pt x="9642" y="16546"/>
                        <a:pt x="9535" y="16546"/>
                      </a:cubicBezTo>
                      <a:cubicBezTo>
                        <a:pt x="9321" y="16349"/>
                        <a:pt x="9181" y="16222"/>
                        <a:pt x="9114" y="16163"/>
                      </a:cubicBezTo>
                      <a:cubicBezTo>
                        <a:pt x="8886" y="16065"/>
                        <a:pt x="8719" y="16026"/>
                        <a:pt x="8612" y="16046"/>
                      </a:cubicBezTo>
                      <a:cubicBezTo>
                        <a:pt x="8344" y="16065"/>
                        <a:pt x="8150" y="16006"/>
                        <a:pt x="8030" y="15870"/>
                      </a:cubicBezTo>
                      <a:cubicBezTo>
                        <a:pt x="7909" y="15752"/>
                        <a:pt x="7762" y="15693"/>
                        <a:pt x="7588" y="15693"/>
                      </a:cubicBezTo>
                      <a:cubicBezTo>
                        <a:pt x="7240" y="15693"/>
                        <a:pt x="6959" y="15889"/>
                        <a:pt x="6745" y="16281"/>
                      </a:cubicBezTo>
                      <a:cubicBezTo>
                        <a:pt x="6531" y="16653"/>
                        <a:pt x="6324" y="16839"/>
                        <a:pt x="6123" y="16839"/>
                      </a:cubicBezTo>
                      <a:cubicBezTo>
                        <a:pt x="5654" y="16644"/>
                        <a:pt x="5360" y="16546"/>
                        <a:pt x="5239" y="16546"/>
                      </a:cubicBezTo>
                      <a:cubicBezTo>
                        <a:pt x="4945" y="16546"/>
                        <a:pt x="4711" y="16722"/>
                        <a:pt x="4537" y="17075"/>
                      </a:cubicBezTo>
                      <a:cubicBezTo>
                        <a:pt x="4403" y="17329"/>
                        <a:pt x="4336" y="17603"/>
                        <a:pt x="4336" y="17897"/>
                      </a:cubicBezTo>
                      <a:cubicBezTo>
                        <a:pt x="4336" y="18132"/>
                        <a:pt x="4517" y="18613"/>
                        <a:pt x="4878" y="19337"/>
                      </a:cubicBezTo>
                      <a:cubicBezTo>
                        <a:pt x="5186" y="19964"/>
                        <a:pt x="5400" y="20356"/>
                        <a:pt x="5521" y="20513"/>
                      </a:cubicBezTo>
                      <a:cubicBezTo>
                        <a:pt x="6069" y="21238"/>
                        <a:pt x="6865" y="21600"/>
                        <a:pt x="7909" y="21600"/>
                      </a:cubicBezTo>
                      <a:cubicBezTo>
                        <a:pt x="8297" y="21600"/>
                        <a:pt x="8980" y="21130"/>
                        <a:pt x="9957" y="20190"/>
                      </a:cubicBezTo>
                      <a:cubicBezTo>
                        <a:pt x="10934" y="19249"/>
                        <a:pt x="11496" y="18779"/>
                        <a:pt x="11643" y="18779"/>
                      </a:cubicBezTo>
                      <a:cubicBezTo>
                        <a:pt x="11898" y="18798"/>
                        <a:pt x="12145" y="18779"/>
                        <a:pt x="12386" y="18720"/>
                      </a:cubicBezTo>
                      <a:cubicBezTo>
                        <a:pt x="12841" y="18603"/>
                        <a:pt x="13229" y="18338"/>
                        <a:pt x="13551" y="17926"/>
                      </a:cubicBezTo>
                      <a:cubicBezTo>
                        <a:pt x="14019" y="17319"/>
                        <a:pt x="14427" y="17016"/>
                        <a:pt x="14775" y="17016"/>
                      </a:cubicBezTo>
                      <a:cubicBezTo>
                        <a:pt x="14935" y="17016"/>
                        <a:pt x="15015" y="17241"/>
                        <a:pt x="15015" y="17691"/>
                      </a:cubicBezTo>
                      <a:cubicBezTo>
                        <a:pt x="15029" y="18123"/>
                        <a:pt x="15189" y="18338"/>
                        <a:pt x="15498" y="18338"/>
                      </a:cubicBezTo>
                      <a:cubicBezTo>
                        <a:pt x="15591" y="18338"/>
                        <a:pt x="15919" y="18123"/>
                        <a:pt x="16481" y="17691"/>
                      </a:cubicBezTo>
                      <a:cubicBezTo>
                        <a:pt x="16602" y="17691"/>
                        <a:pt x="16789" y="17985"/>
                        <a:pt x="17043" y="18573"/>
                      </a:cubicBezTo>
                      <a:cubicBezTo>
                        <a:pt x="17284" y="19141"/>
                        <a:pt x="17525" y="19426"/>
                        <a:pt x="17766" y="19426"/>
                      </a:cubicBezTo>
                      <a:cubicBezTo>
                        <a:pt x="17980" y="19426"/>
                        <a:pt x="18382" y="19269"/>
                        <a:pt x="18971" y="18955"/>
                      </a:cubicBezTo>
                      <a:cubicBezTo>
                        <a:pt x="19225" y="18838"/>
                        <a:pt x="19426" y="18632"/>
                        <a:pt x="19573" y="18338"/>
                      </a:cubicBezTo>
                      <a:cubicBezTo>
                        <a:pt x="19666" y="18162"/>
                        <a:pt x="19820" y="17839"/>
                        <a:pt x="20034" y="17368"/>
                      </a:cubicBezTo>
                      <a:cubicBezTo>
                        <a:pt x="20583" y="16349"/>
                        <a:pt x="20918" y="15546"/>
                        <a:pt x="21038" y="14959"/>
                      </a:cubicBezTo>
                      <a:cubicBezTo>
                        <a:pt x="21413" y="13685"/>
                        <a:pt x="21600" y="12892"/>
                        <a:pt x="21600" y="12578"/>
                      </a:cubicBezTo>
                      <a:cubicBezTo>
                        <a:pt x="21600" y="11736"/>
                        <a:pt x="21493" y="10982"/>
                        <a:pt x="21279" y="10315"/>
                      </a:cubicBezTo>
                      <a:cubicBezTo>
                        <a:pt x="21011" y="9512"/>
                        <a:pt x="20657" y="9110"/>
                        <a:pt x="20215" y="9110"/>
                      </a:cubicBezTo>
                      <a:cubicBezTo>
                        <a:pt x="19760" y="9110"/>
                        <a:pt x="19492" y="9669"/>
                        <a:pt x="19412" y="10785"/>
                      </a:cubicBezTo>
                      <a:cubicBezTo>
                        <a:pt x="19331" y="11883"/>
                        <a:pt x="19198" y="12431"/>
                        <a:pt x="19011" y="12431"/>
                      </a:cubicBezTo>
                      <a:cubicBezTo>
                        <a:pt x="18917" y="12431"/>
                        <a:pt x="18850" y="12353"/>
                        <a:pt x="18810" y="12196"/>
                      </a:cubicBezTo>
                      <a:cubicBezTo>
                        <a:pt x="18783" y="12098"/>
                        <a:pt x="18770" y="12010"/>
                        <a:pt x="18770" y="11932"/>
                      </a:cubicBezTo>
                      <a:cubicBezTo>
                        <a:pt x="18770" y="11854"/>
                        <a:pt x="18810" y="11657"/>
                        <a:pt x="18890" y="11344"/>
                      </a:cubicBezTo>
                      <a:cubicBezTo>
                        <a:pt x="18971" y="11011"/>
                        <a:pt x="19011" y="10815"/>
                        <a:pt x="19011" y="10756"/>
                      </a:cubicBezTo>
                      <a:cubicBezTo>
                        <a:pt x="19011" y="10600"/>
                        <a:pt x="18930" y="10472"/>
                        <a:pt x="18770" y="10374"/>
                      </a:cubicBezTo>
                      <a:cubicBezTo>
                        <a:pt x="18636" y="10296"/>
                        <a:pt x="18502" y="10257"/>
                        <a:pt x="18368" y="10257"/>
                      </a:cubicBezTo>
                      <a:cubicBezTo>
                        <a:pt x="18314" y="10257"/>
                        <a:pt x="18194" y="10325"/>
                        <a:pt x="18007" y="10462"/>
                      </a:cubicBezTo>
                      <a:cubicBezTo>
                        <a:pt x="17820" y="10580"/>
                        <a:pt x="17693" y="10639"/>
                        <a:pt x="17625" y="10639"/>
                      </a:cubicBezTo>
                      <a:cubicBezTo>
                        <a:pt x="17545" y="10639"/>
                        <a:pt x="17471" y="10590"/>
                        <a:pt x="17405" y="10492"/>
                      </a:cubicBezTo>
                      <a:lnTo>
                        <a:pt x="17324" y="10345"/>
                      </a:lnTo>
                      <a:cubicBezTo>
                        <a:pt x="17324" y="10012"/>
                        <a:pt x="17458" y="9747"/>
                        <a:pt x="17725" y="9551"/>
                      </a:cubicBezTo>
                      <a:cubicBezTo>
                        <a:pt x="18034" y="9297"/>
                        <a:pt x="18227" y="9032"/>
                        <a:pt x="18308" y="8758"/>
                      </a:cubicBezTo>
                      <a:cubicBezTo>
                        <a:pt x="18027" y="8464"/>
                        <a:pt x="17766" y="8258"/>
                        <a:pt x="17525" y="8141"/>
                      </a:cubicBezTo>
                      <a:cubicBezTo>
                        <a:pt x="17177" y="7984"/>
                        <a:pt x="17003" y="7857"/>
                        <a:pt x="17003" y="7759"/>
                      </a:cubicBezTo>
                      <a:cubicBezTo>
                        <a:pt x="17003" y="7563"/>
                        <a:pt x="17144" y="7239"/>
                        <a:pt x="17424" y="6789"/>
                      </a:cubicBezTo>
                      <a:cubicBezTo>
                        <a:pt x="17693" y="6338"/>
                        <a:pt x="17826" y="6035"/>
                        <a:pt x="17826" y="5878"/>
                      </a:cubicBezTo>
                      <a:cubicBezTo>
                        <a:pt x="17826" y="5701"/>
                        <a:pt x="17706" y="5408"/>
                        <a:pt x="17465" y="4996"/>
                      </a:cubicBezTo>
                      <a:cubicBezTo>
                        <a:pt x="17210" y="4585"/>
                        <a:pt x="17083" y="4330"/>
                        <a:pt x="17083" y="4232"/>
                      </a:cubicBezTo>
                      <a:lnTo>
                        <a:pt x="17605" y="1734"/>
                      </a:lnTo>
                      <a:cubicBezTo>
                        <a:pt x="17471" y="1381"/>
                        <a:pt x="17405" y="1186"/>
                        <a:pt x="17405" y="1146"/>
                      </a:cubicBezTo>
                      <a:cubicBezTo>
                        <a:pt x="17405" y="1029"/>
                        <a:pt x="17351" y="931"/>
                        <a:pt x="17244" y="852"/>
                      </a:cubicBezTo>
                      <a:cubicBezTo>
                        <a:pt x="17151" y="774"/>
                        <a:pt x="17057" y="735"/>
                        <a:pt x="16963" y="735"/>
                      </a:cubicBezTo>
                      <a:cubicBezTo>
                        <a:pt x="16615" y="735"/>
                        <a:pt x="16280" y="1215"/>
                        <a:pt x="15960" y="2175"/>
                      </a:cubicBezTo>
                      <a:cubicBezTo>
                        <a:pt x="15638" y="3115"/>
                        <a:pt x="15350" y="3585"/>
                        <a:pt x="15096" y="3585"/>
                      </a:cubicBezTo>
                      <a:cubicBezTo>
                        <a:pt x="15069" y="3585"/>
                        <a:pt x="15022" y="3566"/>
                        <a:pt x="14956" y="3527"/>
                      </a:cubicBezTo>
                      <a:cubicBezTo>
                        <a:pt x="14915" y="3507"/>
                        <a:pt x="14875" y="3478"/>
                        <a:pt x="14835" y="3439"/>
                      </a:cubicBezTo>
                      <a:cubicBezTo>
                        <a:pt x="14701" y="3321"/>
                        <a:pt x="14601" y="3262"/>
                        <a:pt x="14534" y="3262"/>
                      </a:cubicBezTo>
                      <a:cubicBezTo>
                        <a:pt x="14227" y="3262"/>
                        <a:pt x="14072" y="3448"/>
                        <a:pt x="14072" y="3821"/>
                      </a:cubicBezTo>
                      <a:cubicBezTo>
                        <a:pt x="14072" y="4114"/>
                        <a:pt x="14299" y="4604"/>
                        <a:pt x="14755" y="5290"/>
                      </a:cubicBezTo>
                      <a:cubicBezTo>
                        <a:pt x="14768" y="5310"/>
                        <a:pt x="14788" y="5339"/>
                        <a:pt x="14815" y="5378"/>
                      </a:cubicBezTo>
                      <a:cubicBezTo>
                        <a:pt x="15310" y="6083"/>
                        <a:pt x="15558" y="6691"/>
                        <a:pt x="15558" y="7200"/>
                      </a:cubicBezTo>
                      <a:cubicBezTo>
                        <a:pt x="15558" y="7494"/>
                        <a:pt x="15364" y="7808"/>
                        <a:pt x="14975" y="8141"/>
                      </a:cubicBezTo>
                      <a:cubicBezTo>
                        <a:pt x="14521" y="8474"/>
                        <a:pt x="14233" y="8680"/>
                        <a:pt x="14112" y="8758"/>
                      </a:cubicBezTo>
                      <a:cubicBezTo>
                        <a:pt x="14179" y="8895"/>
                        <a:pt x="14494" y="9267"/>
                        <a:pt x="15056" y="9875"/>
                      </a:cubicBezTo>
                      <a:cubicBezTo>
                        <a:pt x="15444" y="10286"/>
                        <a:pt x="15638" y="10746"/>
                        <a:pt x="15638" y="11256"/>
                      </a:cubicBezTo>
                      <a:cubicBezTo>
                        <a:pt x="15638" y="11707"/>
                        <a:pt x="15585" y="12079"/>
                        <a:pt x="15477" y="12373"/>
                      </a:cubicBezTo>
                      <a:cubicBezTo>
                        <a:pt x="15357" y="12705"/>
                        <a:pt x="15197" y="12872"/>
                        <a:pt x="14996" y="12872"/>
                      </a:cubicBezTo>
                      <a:cubicBezTo>
                        <a:pt x="14862" y="12872"/>
                        <a:pt x="14541" y="12764"/>
                        <a:pt x="14032" y="12549"/>
                      </a:cubicBezTo>
                      <a:cubicBezTo>
                        <a:pt x="13791" y="12431"/>
                        <a:pt x="13597" y="12333"/>
                        <a:pt x="13450" y="12255"/>
                      </a:cubicBezTo>
                      <a:cubicBezTo>
                        <a:pt x="13343" y="12196"/>
                        <a:pt x="13269" y="12147"/>
                        <a:pt x="13229" y="12108"/>
                      </a:cubicBezTo>
                      <a:cubicBezTo>
                        <a:pt x="13108" y="12049"/>
                        <a:pt x="13002" y="11961"/>
                        <a:pt x="12908" y="11844"/>
                      </a:cubicBezTo>
                      <a:cubicBezTo>
                        <a:pt x="12627" y="11510"/>
                        <a:pt x="12446" y="11344"/>
                        <a:pt x="12366" y="11344"/>
                      </a:cubicBezTo>
                      <a:lnTo>
                        <a:pt x="11763" y="11462"/>
                      </a:lnTo>
                      <a:cubicBezTo>
                        <a:pt x="11576" y="11462"/>
                        <a:pt x="11409" y="11383"/>
                        <a:pt x="11262" y="11226"/>
                      </a:cubicBezTo>
                      <a:cubicBezTo>
                        <a:pt x="11074" y="11031"/>
                        <a:pt x="10981" y="10737"/>
                        <a:pt x="10981" y="10345"/>
                      </a:cubicBezTo>
                      <a:cubicBezTo>
                        <a:pt x="10981" y="10247"/>
                        <a:pt x="11101" y="10041"/>
                        <a:pt x="11342" y="9728"/>
                      </a:cubicBezTo>
                      <a:cubicBezTo>
                        <a:pt x="11570" y="9414"/>
                        <a:pt x="11683" y="9169"/>
                        <a:pt x="11683" y="8993"/>
                      </a:cubicBezTo>
                      <a:cubicBezTo>
                        <a:pt x="11683" y="8719"/>
                        <a:pt x="11469" y="8533"/>
                        <a:pt x="11041" y="8434"/>
                      </a:cubicBezTo>
                      <a:cubicBezTo>
                        <a:pt x="10613" y="8337"/>
                        <a:pt x="10412" y="8102"/>
                        <a:pt x="10439" y="7729"/>
                      </a:cubicBezTo>
                      <a:cubicBezTo>
                        <a:pt x="10452" y="7729"/>
                        <a:pt x="10579" y="7671"/>
                        <a:pt x="10820" y="7553"/>
                      </a:cubicBezTo>
                      <a:cubicBezTo>
                        <a:pt x="10981" y="7494"/>
                        <a:pt x="11061" y="7377"/>
                        <a:pt x="11061" y="7200"/>
                      </a:cubicBezTo>
                      <a:cubicBezTo>
                        <a:pt x="11061" y="6985"/>
                        <a:pt x="10974" y="6779"/>
                        <a:pt x="10800" y="6583"/>
                      </a:cubicBezTo>
                      <a:cubicBezTo>
                        <a:pt x="10572" y="6289"/>
                        <a:pt x="10425" y="6074"/>
                        <a:pt x="10358" y="5936"/>
                      </a:cubicBezTo>
                      <a:cubicBezTo>
                        <a:pt x="10251" y="5701"/>
                        <a:pt x="10191" y="5467"/>
                        <a:pt x="10178" y="5231"/>
                      </a:cubicBezTo>
                      <a:cubicBezTo>
                        <a:pt x="10151" y="4879"/>
                        <a:pt x="10117" y="4624"/>
                        <a:pt x="10077" y="4467"/>
                      </a:cubicBezTo>
                      <a:cubicBezTo>
                        <a:pt x="9944" y="3899"/>
                        <a:pt x="9763" y="3576"/>
                        <a:pt x="9535" y="3497"/>
                      </a:cubicBezTo>
                      <a:close/>
                      <a:moveTo>
                        <a:pt x="9535" y="349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79" name="AutoShape 52"/>
                <p:cNvSpPr>
                  <a:spLocks/>
                </p:cNvSpPr>
                <p:nvPr/>
              </p:nvSpPr>
              <p:spPr bwMode="auto">
                <a:xfrm>
                  <a:off x="6078635" y="556744"/>
                  <a:ext cx="19583" cy="13399"/>
                </a:xfrm>
                <a:custGeom>
                  <a:avLst/>
                  <a:gdLst/>
                  <a:ahLst/>
                  <a:cxnLst/>
                  <a:rect l="0" t="0" r="r" b="b"/>
                  <a:pathLst>
                    <a:path w="21600" h="21600">
                      <a:moveTo>
                        <a:pt x="5789" y="15707"/>
                      </a:moveTo>
                      <a:cubicBezTo>
                        <a:pt x="9649" y="19636"/>
                        <a:pt x="12693" y="21600"/>
                        <a:pt x="14920" y="21600"/>
                      </a:cubicBezTo>
                      <a:cubicBezTo>
                        <a:pt x="17442" y="21600"/>
                        <a:pt x="19149" y="20618"/>
                        <a:pt x="20041" y="18654"/>
                      </a:cubicBezTo>
                      <a:cubicBezTo>
                        <a:pt x="20487" y="17563"/>
                        <a:pt x="21006" y="15599"/>
                        <a:pt x="21600" y="12764"/>
                      </a:cubicBezTo>
                      <a:cubicBezTo>
                        <a:pt x="21600" y="12329"/>
                        <a:pt x="21526" y="11888"/>
                        <a:pt x="21376" y="11453"/>
                      </a:cubicBezTo>
                      <a:cubicBezTo>
                        <a:pt x="20487" y="9274"/>
                        <a:pt x="18482" y="6872"/>
                        <a:pt x="15366" y="4255"/>
                      </a:cubicBezTo>
                      <a:cubicBezTo>
                        <a:pt x="11951" y="1414"/>
                        <a:pt x="9575" y="0"/>
                        <a:pt x="8239" y="0"/>
                      </a:cubicBezTo>
                      <a:cubicBezTo>
                        <a:pt x="6754" y="0"/>
                        <a:pt x="5345" y="218"/>
                        <a:pt x="4008" y="653"/>
                      </a:cubicBezTo>
                      <a:cubicBezTo>
                        <a:pt x="1335" y="1523"/>
                        <a:pt x="0" y="3273"/>
                        <a:pt x="0" y="5889"/>
                      </a:cubicBezTo>
                      <a:cubicBezTo>
                        <a:pt x="0" y="8509"/>
                        <a:pt x="1931" y="11779"/>
                        <a:pt x="5789" y="15707"/>
                      </a:cubicBezTo>
                      <a:close/>
                      <a:moveTo>
                        <a:pt x="5789" y="1570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0" name="AutoShape 53"/>
                <p:cNvSpPr>
                  <a:spLocks/>
                </p:cNvSpPr>
                <p:nvPr/>
              </p:nvSpPr>
              <p:spPr bwMode="auto">
                <a:xfrm>
                  <a:off x="5979690" y="589726"/>
                  <a:ext cx="39681" cy="30921"/>
                </a:xfrm>
                <a:custGeom>
                  <a:avLst/>
                  <a:gdLst/>
                  <a:ahLst/>
                  <a:cxnLst/>
                  <a:rect l="0" t="0" r="r" b="b"/>
                  <a:pathLst>
                    <a:path w="21600" h="21600">
                      <a:moveTo>
                        <a:pt x="13318" y="15205"/>
                      </a:moveTo>
                      <a:cubicBezTo>
                        <a:pt x="13915" y="14447"/>
                        <a:pt x="14586" y="13643"/>
                        <a:pt x="15332" y="12789"/>
                      </a:cubicBezTo>
                      <a:cubicBezTo>
                        <a:pt x="16377" y="11274"/>
                        <a:pt x="17533" y="9521"/>
                        <a:pt x="18802" y="7531"/>
                      </a:cubicBezTo>
                      <a:cubicBezTo>
                        <a:pt x="20667" y="4688"/>
                        <a:pt x="21600" y="2605"/>
                        <a:pt x="21600" y="1279"/>
                      </a:cubicBezTo>
                      <a:cubicBezTo>
                        <a:pt x="21600" y="425"/>
                        <a:pt x="21226" y="0"/>
                        <a:pt x="20481" y="0"/>
                      </a:cubicBezTo>
                      <a:cubicBezTo>
                        <a:pt x="19585" y="0"/>
                        <a:pt x="16675" y="1564"/>
                        <a:pt x="11751" y="4688"/>
                      </a:cubicBezTo>
                      <a:cubicBezTo>
                        <a:pt x="8393" y="6394"/>
                        <a:pt x="5895" y="7721"/>
                        <a:pt x="4254" y="8668"/>
                      </a:cubicBezTo>
                      <a:cubicBezTo>
                        <a:pt x="1419" y="10372"/>
                        <a:pt x="0" y="12078"/>
                        <a:pt x="0" y="13784"/>
                      </a:cubicBezTo>
                      <a:cubicBezTo>
                        <a:pt x="0" y="15111"/>
                        <a:pt x="784" y="16767"/>
                        <a:pt x="2351" y="18757"/>
                      </a:cubicBezTo>
                      <a:cubicBezTo>
                        <a:pt x="3843" y="20652"/>
                        <a:pt x="4925" y="21600"/>
                        <a:pt x="5596" y="21600"/>
                      </a:cubicBezTo>
                      <a:cubicBezTo>
                        <a:pt x="7311" y="21600"/>
                        <a:pt x="8804" y="20936"/>
                        <a:pt x="10072" y="19610"/>
                      </a:cubicBezTo>
                      <a:cubicBezTo>
                        <a:pt x="10819" y="18757"/>
                        <a:pt x="11901" y="17289"/>
                        <a:pt x="13318" y="15205"/>
                      </a:cubicBezTo>
                      <a:close/>
                      <a:moveTo>
                        <a:pt x="13318" y="1520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1" name="AutoShape 54"/>
                <p:cNvSpPr>
                  <a:spLocks/>
                </p:cNvSpPr>
                <p:nvPr/>
              </p:nvSpPr>
              <p:spPr bwMode="auto">
                <a:xfrm>
                  <a:off x="4944884" y="745875"/>
                  <a:ext cx="1669192" cy="1760408"/>
                </a:xfrm>
                <a:custGeom>
                  <a:avLst/>
                  <a:gdLst/>
                  <a:ahLst/>
                  <a:cxnLst/>
                  <a:rect l="0" t="0" r="r" b="b"/>
                  <a:pathLst>
                    <a:path w="21600" h="21599">
                      <a:moveTo>
                        <a:pt x="5518" y="8892"/>
                      </a:moveTo>
                      <a:lnTo>
                        <a:pt x="5518" y="8890"/>
                      </a:lnTo>
                      <a:lnTo>
                        <a:pt x="5521" y="8890"/>
                      </a:lnTo>
                      <a:cubicBezTo>
                        <a:pt x="5521" y="8890"/>
                        <a:pt x="5518" y="8892"/>
                        <a:pt x="5518" y="8892"/>
                      </a:cubicBezTo>
                      <a:close/>
                      <a:moveTo>
                        <a:pt x="21323" y="14898"/>
                      </a:moveTo>
                      <a:cubicBezTo>
                        <a:pt x="21188" y="14830"/>
                        <a:pt x="21089" y="14784"/>
                        <a:pt x="21027" y="14759"/>
                      </a:cubicBezTo>
                      <a:cubicBezTo>
                        <a:pt x="20961" y="14732"/>
                        <a:pt x="20917" y="14695"/>
                        <a:pt x="20896" y="14650"/>
                      </a:cubicBezTo>
                      <a:cubicBezTo>
                        <a:pt x="20882" y="14621"/>
                        <a:pt x="20836" y="14607"/>
                        <a:pt x="20760" y="14607"/>
                      </a:cubicBezTo>
                      <a:cubicBezTo>
                        <a:pt x="20596" y="14607"/>
                        <a:pt x="20448" y="14663"/>
                        <a:pt x="20315" y="14774"/>
                      </a:cubicBezTo>
                      <a:cubicBezTo>
                        <a:pt x="20181" y="14883"/>
                        <a:pt x="20111" y="14938"/>
                        <a:pt x="20104" y="14938"/>
                      </a:cubicBezTo>
                      <a:cubicBezTo>
                        <a:pt x="20056" y="14921"/>
                        <a:pt x="20027" y="14913"/>
                        <a:pt x="20018" y="14913"/>
                      </a:cubicBezTo>
                      <a:cubicBezTo>
                        <a:pt x="19986" y="14913"/>
                        <a:pt x="19964" y="14922"/>
                        <a:pt x="19952" y="14941"/>
                      </a:cubicBezTo>
                      <a:cubicBezTo>
                        <a:pt x="19939" y="14957"/>
                        <a:pt x="19922" y="14966"/>
                        <a:pt x="19898" y="14966"/>
                      </a:cubicBezTo>
                      <a:cubicBezTo>
                        <a:pt x="19881" y="14966"/>
                        <a:pt x="19872" y="14959"/>
                        <a:pt x="19872" y="14946"/>
                      </a:cubicBezTo>
                      <a:cubicBezTo>
                        <a:pt x="19872" y="14924"/>
                        <a:pt x="19890" y="14895"/>
                        <a:pt x="19925" y="14860"/>
                      </a:cubicBezTo>
                      <a:cubicBezTo>
                        <a:pt x="19959" y="14824"/>
                        <a:pt x="19976" y="14794"/>
                        <a:pt x="19976" y="14769"/>
                      </a:cubicBezTo>
                      <a:cubicBezTo>
                        <a:pt x="19976" y="14759"/>
                        <a:pt x="19971" y="14738"/>
                        <a:pt x="19963" y="14708"/>
                      </a:cubicBezTo>
                      <a:cubicBezTo>
                        <a:pt x="19954" y="14678"/>
                        <a:pt x="19949" y="14653"/>
                        <a:pt x="19949" y="14635"/>
                      </a:cubicBezTo>
                      <a:cubicBezTo>
                        <a:pt x="19949" y="14601"/>
                        <a:pt x="19954" y="14571"/>
                        <a:pt x="19965" y="14544"/>
                      </a:cubicBezTo>
                      <a:cubicBezTo>
                        <a:pt x="19976" y="14515"/>
                        <a:pt x="19981" y="14490"/>
                        <a:pt x="19981" y="14468"/>
                      </a:cubicBezTo>
                      <a:cubicBezTo>
                        <a:pt x="19981" y="14451"/>
                        <a:pt x="19966" y="14425"/>
                        <a:pt x="19936" y="14390"/>
                      </a:cubicBezTo>
                      <a:cubicBezTo>
                        <a:pt x="19904" y="14353"/>
                        <a:pt x="19888" y="14312"/>
                        <a:pt x="19888" y="14268"/>
                      </a:cubicBezTo>
                      <a:cubicBezTo>
                        <a:pt x="19888" y="14248"/>
                        <a:pt x="19890" y="14230"/>
                        <a:pt x="19896" y="14213"/>
                      </a:cubicBezTo>
                      <a:cubicBezTo>
                        <a:pt x="19901" y="14198"/>
                        <a:pt x="19904" y="14187"/>
                        <a:pt x="19904" y="14180"/>
                      </a:cubicBezTo>
                      <a:cubicBezTo>
                        <a:pt x="19904" y="14166"/>
                        <a:pt x="19900" y="14152"/>
                        <a:pt x="19893" y="14137"/>
                      </a:cubicBezTo>
                      <a:cubicBezTo>
                        <a:pt x="19888" y="14127"/>
                        <a:pt x="19884" y="14118"/>
                        <a:pt x="19883" y="14112"/>
                      </a:cubicBezTo>
                      <a:cubicBezTo>
                        <a:pt x="19737" y="13887"/>
                        <a:pt x="19664" y="13731"/>
                        <a:pt x="19664" y="13641"/>
                      </a:cubicBezTo>
                      <a:cubicBezTo>
                        <a:pt x="19664" y="13498"/>
                        <a:pt x="19651" y="13416"/>
                        <a:pt x="19626" y="13394"/>
                      </a:cubicBezTo>
                      <a:cubicBezTo>
                        <a:pt x="19609" y="13377"/>
                        <a:pt x="19535" y="13368"/>
                        <a:pt x="19405" y="13368"/>
                      </a:cubicBezTo>
                      <a:cubicBezTo>
                        <a:pt x="19366" y="13368"/>
                        <a:pt x="19325" y="13375"/>
                        <a:pt x="19282" y="13389"/>
                      </a:cubicBezTo>
                      <a:cubicBezTo>
                        <a:pt x="19240" y="13402"/>
                        <a:pt x="19194" y="13409"/>
                        <a:pt x="19146" y="13409"/>
                      </a:cubicBezTo>
                      <a:cubicBezTo>
                        <a:pt x="19095" y="13409"/>
                        <a:pt x="19065" y="13407"/>
                        <a:pt x="19058" y="13404"/>
                      </a:cubicBezTo>
                      <a:cubicBezTo>
                        <a:pt x="19051" y="13401"/>
                        <a:pt x="19025" y="13374"/>
                        <a:pt x="18981" y="13326"/>
                      </a:cubicBezTo>
                      <a:cubicBezTo>
                        <a:pt x="18968" y="13310"/>
                        <a:pt x="18933" y="13291"/>
                        <a:pt x="18874" y="13267"/>
                      </a:cubicBezTo>
                      <a:cubicBezTo>
                        <a:pt x="18828" y="13249"/>
                        <a:pt x="18805" y="13229"/>
                        <a:pt x="18805" y="13209"/>
                      </a:cubicBezTo>
                      <a:cubicBezTo>
                        <a:pt x="18881" y="13106"/>
                        <a:pt x="18921" y="13025"/>
                        <a:pt x="18925" y="12964"/>
                      </a:cubicBezTo>
                      <a:cubicBezTo>
                        <a:pt x="18946" y="12770"/>
                        <a:pt x="18957" y="12638"/>
                        <a:pt x="18957" y="12567"/>
                      </a:cubicBezTo>
                      <a:cubicBezTo>
                        <a:pt x="18957" y="12505"/>
                        <a:pt x="18952" y="12439"/>
                        <a:pt x="18941" y="12370"/>
                      </a:cubicBezTo>
                      <a:cubicBezTo>
                        <a:pt x="18939" y="12362"/>
                        <a:pt x="18937" y="12353"/>
                        <a:pt x="18936" y="12345"/>
                      </a:cubicBezTo>
                      <a:lnTo>
                        <a:pt x="18914" y="12201"/>
                      </a:lnTo>
                      <a:lnTo>
                        <a:pt x="18914" y="12130"/>
                      </a:lnTo>
                      <a:cubicBezTo>
                        <a:pt x="18914" y="12015"/>
                        <a:pt x="18936" y="11954"/>
                        <a:pt x="18978" y="11945"/>
                      </a:cubicBezTo>
                      <a:cubicBezTo>
                        <a:pt x="19019" y="11935"/>
                        <a:pt x="19040" y="11912"/>
                        <a:pt x="19040" y="11875"/>
                      </a:cubicBezTo>
                      <a:cubicBezTo>
                        <a:pt x="19040" y="11861"/>
                        <a:pt x="19034" y="11829"/>
                        <a:pt x="19024" y="11779"/>
                      </a:cubicBezTo>
                      <a:cubicBezTo>
                        <a:pt x="19013" y="11730"/>
                        <a:pt x="19004" y="11701"/>
                        <a:pt x="18997" y="11693"/>
                      </a:cubicBezTo>
                      <a:cubicBezTo>
                        <a:pt x="18997" y="11676"/>
                        <a:pt x="19014" y="11654"/>
                        <a:pt x="19048" y="11627"/>
                      </a:cubicBezTo>
                      <a:cubicBezTo>
                        <a:pt x="19080" y="11602"/>
                        <a:pt x="19096" y="11587"/>
                        <a:pt x="19096" y="11584"/>
                      </a:cubicBezTo>
                      <a:cubicBezTo>
                        <a:pt x="19080" y="11527"/>
                        <a:pt x="19072" y="11497"/>
                        <a:pt x="19072" y="11496"/>
                      </a:cubicBezTo>
                      <a:cubicBezTo>
                        <a:pt x="19095" y="11448"/>
                        <a:pt x="19106" y="11419"/>
                        <a:pt x="19106" y="11407"/>
                      </a:cubicBezTo>
                      <a:cubicBezTo>
                        <a:pt x="19106" y="11365"/>
                        <a:pt x="19084" y="11331"/>
                        <a:pt x="19040" y="11306"/>
                      </a:cubicBezTo>
                      <a:cubicBezTo>
                        <a:pt x="18995" y="11281"/>
                        <a:pt x="18973" y="11259"/>
                        <a:pt x="18973" y="11240"/>
                      </a:cubicBezTo>
                      <a:cubicBezTo>
                        <a:pt x="18973" y="11203"/>
                        <a:pt x="19009" y="11185"/>
                        <a:pt x="19082" y="11187"/>
                      </a:cubicBezTo>
                      <a:cubicBezTo>
                        <a:pt x="19173" y="11189"/>
                        <a:pt x="19228" y="11182"/>
                        <a:pt x="19248" y="11167"/>
                      </a:cubicBezTo>
                      <a:cubicBezTo>
                        <a:pt x="19278" y="11142"/>
                        <a:pt x="19320" y="11097"/>
                        <a:pt x="19373" y="11033"/>
                      </a:cubicBezTo>
                      <a:cubicBezTo>
                        <a:pt x="19435" y="10959"/>
                        <a:pt x="19466" y="10909"/>
                        <a:pt x="19466" y="10884"/>
                      </a:cubicBezTo>
                      <a:cubicBezTo>
                        <a:pt x="19466" y="10874"/>
                        <a:pt x="19458" y="10859"/>
                        <a:pt x="19440" y="10838"/>
                      </a:cubicBezTo>
                      <a:cubicBezTo>
                        <a:pt x="19422" y="10818"/>
                        <a:pt x="19413" y="10805"/>
                        <a:pt x="19413" y="10798"/>
                      </a:cubicBezTo>
                      <a:cubicBezTo>
                        <a:pt x="19413" y="10778"/>
                        <a:pt x="19431" y="10768"/>
                        <a:pt x="19466" y="10768"/>
                      </a:cubicBezTo>
                      <a:cubicBezTo>
                        <a:pt x="19477" y="10768"/>
                        <a:pt x="19490" y="10771"/>
                        <a:pt x="19504" y="10778"/>
                      </a:cubicBezTo>
                      <a:cubicBezTo>
                        <a:pt x="19522" y="10720"/>
                        <a:pt x="19540" y="10669"/>
                        <a:pt x="19560" y="10623"/>
                      </a:cubicBezTo>
                      <a:cubicBezTo>
                        <a:pt x="19595" y="10536"/>
                        <a:pt x="19630" y="10492"/>
                        <a:pt x="19664" y="10492"/>
                      </a:cubicBezTo>
                      <a:cubicBezTo>
                        <a:pt x="19680" y="10492"/>
                        <a:pt x="19701" y="10513"/>
                        <a:pt x="19728" y="10555"/>
                      </a:cubicBezTo>
                      <a:cubicBezTo>
                        <a:pt x="19754" y="10596"/>
                        <a:pt x="19771" y="10616"/>
                        <a:pt x="19778" y="10616"/>
                      </a:cubicBezTo>
                      <a:cubicBezTo>
                        <a:pt x="19793" y="10616"/>
                        <a:pt x="19802" y="10609"/>
                        <a:pt x="19805" y="10596"/>
                      </a:cubicBezTo>
                      <a:cubicBezTo>
                        <a:pt x="19805" y="10594"/>
                        <a:pt x="19805" y="10582"/>
                        <a:pt x="19805" y="10560"/>
                      </a:cubicBezTo>
                      <a:cubicBezTo>
                        <a:pt x="19805" y="10549"/>
                        <a:pt x="19799" y="10512"/>
                        <a:pt x="19786" y="10452"/>
                      </a:cubicBezTo>
                      <a:cubicBezTo>
                        <a:pt x="19774" y="10391"/>
                        <a:pt x="19768" y="10353"/>
                        <a:pt x="19768" y="10338"/>
                      </a:cubicBezTo>
                      <a:cubicBezTo>
                        <a:pt x="19768" y="10257"/>
                        <a:pt x="19793" y="10217"/>
                        <a:pt x="19843" y="10217"/>
                      </a:cubicBezTo>
                      <a:cubicBezTo>
                        <a:pt x="19853" y="10217"/>
                        <a:pt x="19871" y="10221"/>
                        <a:pt x="19896" y="10229"/>
                      </a:cubicBezTo>
                      <a:cubicBezTo>
                        <a:pt x="19919" y="10238"/>
                        <a:pt x="19937" y="10242"/>
                        <a:pt x="19949" y="10242"/>
                      </a:cubicBezTo>
                      <a:cubicBezTo>
                        <a:pt x="19965" y="10242"/>
                        <a:pt x="19979" y="10235"/>
                        <a:pt x="19992" y="10222"/>
                      </a:cubicBezTo>
                      <a:cubicBezTo>
                        <a:pt x="20003" y="10208"/>
                        <a:pt x="20008" y="10195"/>
                        <a:pt x="20008" y="10181"/>
                      </a:cubicBezTo>
                      <a:cubicBezTo>
                        <a:pt x="20008" y="10158"/>
                        <a:pt x="19979" y="10143"/>
                        <a:pt x="19923" y="10138"/>
                      </a:cubicBezTo>
                      <a:cubicBezTo>
                        <a:pt x="19864" y="10133"/>
                        <a:pt x="19834" y="10110"/>
                        <a:pt x="19834" y="10067"/>
                      </a:cubicBezTo>
                      <a:cubicBezTo>
                        <a:pt x="19834" y="10042"/>
                        <a:pt x="19843" y="10019"/>
                        <a:pt x="19861" y="9999"/>
                      </a:cubicBezTo>
                      <a:cubicBezTo>
                        <a:pt x="19877" y="9979"/>
                        <a:pt x="19894" y="9969"/>
                        <a:pt x="19912" y="9969"/>
                      </a:cubicBezTo>
                      <a:cubicBezTo>
                        <a:pt x="19914" y="9969"/>
                        <a:pt x="19943" y="9976"/>
                        <a:pt x="20000" y="9992"/>
                      </a:cubicBezTo>
                      <a:cubicBezTo>
                        <a:pt x="20055" y="10007"/>
                        <a:pt x="20096" y="10014"/>
                        <a:pt x="20123" y="10014"/>
                      </a:cubicBezTo>
                      <a:cubicBezTo>
                        <a:pt x="20163" y="10014"/>
                        <a:pt x="20213" y="9996"/>
                        <a:pt x="20272" y="9959"/>
                      </a:cubicBezTo>
                      <a:cubicBezTo>
                        <a:pt x="20329" y="9923"/>
                        <a:pt x="20367" y="9907"/>
                        <a:pt x="20387" y="9911"/>
                      </a:cubicBezTo>
                      <a:cubicBezTo>
                        <a:pt x="20431" y="9917"/>
                        <a:pt x="20468" y="9908"/>
                        <a:pt x="20499" y="9883"/>
                      </a:cubicBezTo>
                      <a:cubicBezTo>
                        <a:pt x="20529" y="9858"/>
                        <a:pt x="20544" y="9823"/>
                        <a:pt x="20544" y="9779"/>
                      </a:cubicBezTo>
                      <a:cubicBezTo>
                        <a:pt x="20544" y="9720"/>
                        <a:pt x="20531" y="9659"/>
                        <a:pt x="20507" y="9595"/>
                      </a:cubicBezTo>
                      <a:cubicBezTo>
                        <a:pt x="20482" y="9529"/>
                        <a:pt x="20452" y="9484"/>
                        <a:pt x="20419" y="9458"/>
                      </a:cubicBezTo>
                      <a:cubicBezTo>
                        <a:pt x="20388" y="9436"/>
                        <a:pt x="20326" y="9399"/>
                        <a:pt x="20232" y="9347"/>
                      </a:cubicBezTo>
                      <a:lnTo>
                        <a:pt x="20101" y="9274"/>
                      </a:lnTo>
                      <a:cubicBezTo>
                        <a:pt x="20076" y="9274"/>
                        <a:pt x="20043" y="9290"/>
                        <a:pt x="20003" y="9322"/>
                      </a:cubicBezTo>
                      <a:cubicBezTo>
                        <a:pt x="19967" y="9352"/>
                        <a:pt x="19947" y="9367"/>
                        <a:pt x="19944" y="9367"/>
                      </a:cubicBezTo>
                      <a:cubicBezTo>
                        <a:pt x="19924" y="9367"/>
                        <a:pt x="19914" y="9353"/>
                        <a:pt x="19914" y="9324"/>
                      </a:cubicBezTo>
                      <a:cubicBezTo>
                        <a:pt x="19914" y="9313"/>
                        <a:pt x="19923" y="9302"/>
                        <a:pt x="19938" y="9291"/>
                      </a:cubicBezTo>
                      <a:cubicBezTo>
                        <a:pt x="19953" y="9281"/>
                        <a:pt x="19960" y="9272"/>
                        <a:pt x="19960" y="9264"/>
                      </a:cubicBezTo>
                      <a:cubicBezTo>
                        <a:pt x="19960" y="9247"/>
                        <a:pt x="19948" y="9234"/>
                        <a:pt x="19925" y="9226"/>
                      </a:cubicBezTo>
                      <a:cubicBezTo>
                        <a:pt x="19909" y="9219"/>
                        <a:pt x="19895" y="9216"/>
                        <a:pt x="19883" y="9216"/>
                      </a:cubicBezTo>
                      <a:cubicBezTo>
                        <a:pt x="19854" y="9216"/>
                        <a:pt x="19822" y="9222"/>
                        <a:pt x="19786" y="9236"/>
                      </a:cubicBezTo>
                      <a:cubicBezTo>
                        <a:pt x="19756" y="9249"/>
                        <a:pt x="19739" y="9256"/>
                        <a:pt x="19736" y="9256"/>
                      </a:cubicBezTo>
                      <a:lnTo>
                        <a:pt x="19696" y="9208"/>
                      </a:lnTo>
                      <a:cubicBezTo>
                        <a:pt x="19669" y="9176"/>
                        <a:pt x="19642" y="9157"/>
                        <a:pt x="19613" y="9152"/>
                      </a:cubicBezTo>
                      <a:cubicBezTo>
                        <a:pt x="19583" y="9147"/>
                        <a:pt x="19557" y="9132"/>
                        <a:pt x="19536" y="9107"/>
                      </a:cubicBezTo>
                      <a:cubicBezTo>
                        <a:pt x="19516" y="9083"/>
                        <a:pt x="19498" y="9072"/>
                        <a:pt x="19482" y="9072"/>
                      </a:cubicBezTo>
                      <a:cubicBezTo>
                        <a:pt x="19466" y="9072"/>
                        <a:pt x="19457" y="9086"/>
                        <a:pt x="19453" y="9115"/>
                      </a:cubicBezTo>
                      <a:cubicBezTo>
                        <a:pt x="19450" y="9128"/>
                        <a:pt x="19447" y="9147"/>
                        <a:pt x="19445" y="9170"/>
                      </a:cubicBezTo>
                      <a:cubicBezTo>
                        <a:pt x="19415" y="9167"/>
                        <a:pt x="19386" y="9152"/>
                        <a:pt x="19360" y="9127"/>
                      </a:cubicBezTo>
                      <a:cubicBezTo>
                        <a:pt x="19329" y="9100"/>
                        <a:pt x="19314" y="9073"/>
                        <a:pt x="19314" y="9046"/>
                      </a:cubicBezTo>
                      <a:cubicBezTo>
                        <a:pt x="19314" y="9034"/>
                        <a:pt x="19332" y="9012"/>
                        <a:pt x="19368" y="8978"/>
                      </a:cubicBezTo>
                      <a:cubicBezTo>
                        <a:pt x="19373" y="8971"/>
                        <a:pt x="19382" y="8958"/>
                        <a:pt x="19394" y="8938"/>
                      </a:cubicBezTo>
                      <a:cubicBezTo>
                        <a:pt x="19398" y="8933"/>
                        <a:pt x="19409" y="8930"/>
                        <a:pt x="19426" y="8930"/>
                      </a:cubicBezTo>
                      <a:cubicBezTo>
                        <a:pt x="19458" y="8930"/>
                        <a:pt x="19504" y="8958"/>
                        <a:pt x="19562" y="9013"/>
                      </a:cubicBezTo>
                      <a:cubicBezTo>
                        <a:pt x="19628" y="9076"/>
                        <a:pt x="19674" y="9112"/>
                        <a:pt x="19701" y="9122"/>
                      </a:cubicBezTo>
                      <a:cubicBezTo>
                        <a:pt x="19730" y="9132"/>
                        <a:pt x="19764" y="9141"/>
                        <a:pt x="19805" y="9147"/>
                      </a:cubicBezTo>
                      <a:cubicBezTo>
                        <a:pt x="19846" y="9154"/>
                        <a:pt x="19870" y="9159"/>
                        <a:pt x="19877" y="9163"/>
                      </a:cubicBezTo>
                      <a:cubicBezTo>
                        <a:pt x="19879" y="9164"/>
                        <a:pt x="19895" y="9174"/>
                        <a:pt x="19925" y="9193"/>
                      </a:cubicBezTo>
                      <a:cubicBezTo>
                        <a:pt x="19955" y="9211"/>
                        <a:pt x="19976" y="9221"/>
                        <a:pt x="19986" y="9221"/>
                      </a:cubicBezTo>
                      <a:cubicBezTo>
                        <a:pt x="20001" y="9221"/>
                        <a:pt x="20011" y="9213"/>
                        <a:pt x="20018" y="9198"/>
                      </a:cubicBezTo>
                      <a:cubicBezTo>
                        <a:pt x="20024" y="9183"/>
                        <a:pt x="20030" y="9175"/>
                        <a:pt x="20037" y="9175"/>
                      </a:cubicBezTo>
                      <a:cubicBezTo>
                        <a:pt x="20048" y="9175"/>
                        <a:pt x="20074" y="9189"/>
                        <a:pt x="20115" y="9216"/>
                      </a:cubicBezTo>
                      <a:cubicBezTo>
                        <a:pt x="20132" y="9216"/>
                        <a:pt x="20146" y="9201"/>
                        <a:pt x="20155" y="9173"/>
                      </a:cubicBezTo>
                      <a:cubicBezTo>
                        <a:pt x="20165" y="9142"/>
                        <a:pt x="20178" y="9127"/>
                        <a:pt x="20195" y="9127"/>
                      </a:cubicBezTo>
                      <a:lnTo>
                        <a:pt x="20549" y="9377"/>
                      </a:lnTo>
                      <a:cubicBezTo>
                        <a:pt x="20550" y="9377"/>
                        <a:pt x="20552" y="9377"/>
                        <a:pt x="20553" y="9377"/>
                      </a:cubicBezTo>
                      <a:lnTo>
                        <a:pt x="20333" y="5350"/>
                      </a:lnTo>
                      <a:cubicBezTo>
                        <a:pt x="20300" y="5315"/>
                        <a:pt x="20278" y="5271"/>
                        <a:pt x="20267" y="5214"/>
                      </a:cubicBezTo>
                      <a:cubicBezTo>
                        <a:pt x="20261" y="5194"/>
                        <a:pt x="20258" y="5139"/>
                        <a:pt x="20256" y="5050"/>
                      </a:cubicBezTo>
                      <a:cubicBezTo>
                        <a:pt x="20254" y="5003"/>
                        <a:pt x="20242" y="4953"/>
                        <a:pt x="20218" y="4901"/>
                      </a:cubicBezTo>
                      <a:cubicBezTo>
                        <a:pt x="20188" y="4845"/>
                        <a:pt x="20166" y="4805"/>
                        <a:pt x="20152" y="4780"/>
                      </a:cubicBezTo>
                      <a:cubicBezTo>
                        <a:pt x="20122" y="4729"/>
                        <a:pt x="20083" y="4682"/>
                        <a:pt x="20037" y="4638"/>
                      </a:cubicBezTo>
                      <a:cubicBezTo>
                        <a:pt x="19984" y="4589"/>
                        <a:pt x="19953" y="4559"/>
                        <a:pt x="19944" y="4547"/>
                      </a:cubicBezTo>
                      <a:cubicBezTo>
                        <a:pt x="19963" y="4525"/>
                        <a:pt x="19978" y="4514"/>
                        <a:pt x="19989" y="4514"/>
                      </a:cubicBezTo>
                      <a:cubicBezTo>
                        <a:pt x="20019" y="4514"/>
                        <a:pt x="20057" y="4516"/>
                        <a:pt x="20101" y="4519"/>
                      </a:cubicBezTo>
                      <a:cubicBezTo>
                        <a:pt x="20131" y="4513"/>
                        <a:pt x="20146" y="4482"/>
                        <a:pt x="20146" y="4428"/>
                      </a:cubicBezTo>
                      <a:cubicBezTo>
                        <a:pt x="20146" y="4403"/>
                        <a:pt x="20137" y="4387"/>
                        <a:pt x="20117" y="4380"/>
                      </a:cubicBezTo>
                      <a:cubicBezTo>
                        <a:pt x="20112" y="4377"/>
                        <a:pt x="20090" y="4374"/>
                        <a:pt x="20053" y="4373"/>
                      </a:cubicBezTo>
                      <a:cubicBezTo>
                        <a:pt x="20034" y="4371"/>
                        <a:pt x="20013" y="4359"/>
                        <a:pt x="19992" y="4337"/>
                      </a:cubicBezTo>
                      <a:cubicBezTo>
                        <a:pt x="19970" y="4315"/>
                        <a:pt x="19950" y="4304"/>
                        <a:pt x="19930" y="4304"/>
                      </a:cubicBezTo>
                      <a:cubicBezTo>
                        <a:pt x="19909" y="4304"/>
                        <a:pt x="19883" y="4321"/>
                        <a:pt x="19853" y="4355"/>
                      </a:cubicBezTo>
                      <a:cubicBezTo>
                        <a:pt x="19823" y="4384"/>
                        <a:pt x="19791" y="4399"/>
                        <a:pt x="19757" y="4401"/>
                      </a:cubicBezTo>
                      <a:lnTo>
                        <a:pt x="19754" y="4401"/>
                      </a:lnTo>
                      <a:cubicBezTo>
                        <a:pt x="19726" y="4401"/>
                        <a:pt x="19702" y="4389"/>
                        <a:pt x="19682" y="4365"/>
                      </a:cubicBezTo>
                      <a:cubicBezTo>
                        <a:pt x="19658" y="4330"/>
                        <a:pt x="19637" y="4308"/>
                        <a:pt x="19621" y="4299"/>
                      </a:cubicBezTo>
                      <a:cubicBezTo>
                        <a:pt x="19616" y="4296"/>
                        <a:pt x="19588" y="4286"/>
                        <a:pt x="19538" y="4269"/>
                      </a:cubicBezTo>
                      <a:cubicBezTo>
                        <a:pt x="19515" y="4261"/>
                        <a:pt x="19504" y="4243"/>
                        <a:pt x="19504" y="4216"/>
                      </a:cubicBezTo>
                      <a:cubicBezTo>
                        <a:pt x="19504" y="4167"/>
                        <a:pt x="19543" y="4127"/>
                        <a:pt x="19621" y="4095"/>
                      </a:cubicBezTo>
                      <a:cubicBezTo>
                        <a:pt x="19641" y="4086"/>
                        <a:pt x="19658" y="4079"/>
                        <a:pt x="19674" y="4072"/>
                      </a:cubicBezTo>
                      <a:cubicBezTo>
                        <a:pt x="19715" y="4048"/>
                        <a:pt x="19736" y="4027"/>
                        <a:pt x="19736" y="4009"/>
                      </a:cubicBezTo>
                      <a:cubicBezTo>
                        <a:pt x="19736" y="3973"/>
                        <a:pt x="19709" y="3951"/>
                        <a:pt x="19656" y="3943"/>
                      </a:cubicBezTo>
                      <a:cubicBezTo>
                        <a:pt x="19602" y="3936"/>
                        <a:pt x="19576" y="3917"/>
                        <a:pt x="19576" y="3885"/>
                      </a:cubicBezTo>
                      <a:cubicBezTo>
                        <a:pt x="19576" y="3876"/>
                        <a:pt x="19583" y="3868"/>
                        <a:pt x="19597" y="3860"/>
                      </a:cubicBezTo>
                      <a:cubicBezTo>
                        <a:pt x="19611" y="3850"/>
                        <a:pt x="19627" y="3844"/>
                        <a:pt x="19645" y="3844"/>
                      </a:cubicBezTo>
                      <a:cubicBezTo>
                        <a:pt x="19659" y="3844"/>
                        <a:pt x="19678" y="3850"/>
                        <a:pt x="19701" y="3862"/>
                      </a:cubicBezTo>
                      <a:cubicBezTo>
                        <a:pt x="19724" y="3874"/>
                        <a:pt x="19745" y="3880"/>
                        <a:pt x="19762" y="3880"/>
                      </a:cubicBezTo>
                      <a:cubicBezTo>
                        <a:pt x="19780" y="3880"/>
                        <a:pt x="19800" y="3871"/>
                        <a:pt x="19821" y="3855"/>
                      </a:cubicBezTo>
                      <a:cubicBezTo>
                        <a:pt x="19844" y="3836"/>
                        <a:pt x="19856" y="3816"/>
                        <a:pt x="19856" y="3794"/>
                      </a:cubicBezTo>
                      <a:cubicBezTo>
                        <a:pt x="19856" y="3769"/>
                        <a:pt x="19824" y="3739"/>
                        <a:pt x="19760" y="3705"/>
                      </a:cubicBezTo>
                      <a:cubicBezTo>
                        <a:pt x="19696" y="3672"/>
                        <a:pt x="19664" y="3634"/>
                        <a:pt x="19664" y="3592"/>
                      </a:cubicBezTo>
                      <a:cubicBezTo>
                        <a:pt x="19664" y="3546"/>
                        <a:pt x="19655" y="3516"/>
                        <a:pt x="19637" y="3501"/>
                      </a:cubicBezTo>
                      <a:cubicBezTo>
                        <a:pt x="19619" y="3486"/>
                        <a:pt x="19583" y="3475"/>
                        <a:pt x="19528" y="3470"/>
                      </a:cubicBezTo>
                      <a:cubicBezTo>
                        <a:pt x="19512" y="3469"/>
                        <a:pt x="19500" y="3462"/>
                        <a:pt x="19493" y="3450"/>
                      </a:cubicBezTo>
                      <a:cubicBezTo>
                        <a:pt x="19486" y="3433"/>
                        <a:pt x="19479" y="3421"/>
                        <a:pt x="19472" y="3412"/>
                      </a:cubicBezTo>
                      <a:cubicBezTo>
                        <a:pt x="19465" y="3402"/>
                        <a:pt x="19450" y="3394"/>
                        <a:pt x="19429" y="3387"/>
                      </a:cubicBezTo>
                      <a:cubicBezTo>
                        <a:pt x="19415" y="3382"/>
                        <a:pt x="19408" y="3372"/>
                        <a:pt x="19408" y="3357"/>
                      </a:cubicBezTo>
                      <a:cubicBezTo>
                        <a:pt x="19422" y="3286"/>
                        <a:pt x="19429" y="3229"/>
                        <a:pt x="19429" y="3185"/>
                      </a:cubicBezTo>
                      <a:cubicBezTo>
                        <a:pt x="19429" y="3090"/>
                        <a:pt x="19410" y="3010"/>
                        <a:pt x="19373" y="2945"/>
                      </a:cubicBezTo>
                      <a:cubicBezTo>
                        <a:pt x="19330" y="2882"/>
                        <a:pt x="19301" y="2834"/>
                        <a:pt x="19285" y="2801"/>
                      </a:cubicBezTo>
                      <a:cubicBezTo>
                        <a:pt x="19278" y="2785"/>
                        <a:pt x="19260" y="2758"/>
                        <a:pt x="19232" y="2720"/>
                      </a:cubicBezTo>
                      <a:cubicBezTo>
                        <a:pt x="19203" y="2683"/>
                        <a:pt x="19186" y="2658"/>
                        <a:pt x="19181" y="2646"/>
                      </a:cubicBezTo>
                      <a:cubicBezTo>
                        <a:pt x="19172" y="2619"/>
                        <a:pt x="19163" y="2600"/>
                        <a:pt x="19154" y="2588"/>
                      </a:cubicBezTo>
                      <a:cubicBezTo>
                        <a:pt x="19138" y="2568"/>
                        <a:pt x="19113" y="2558"/>
                        <a:pt x="19077" y="2558"/>
                      </a:cubicBezTo>
                      <a:cubicBezTo>
                        <a:pt x="19031" y="2592"/>
                        <a:pt x="19003" y="2608"/>
                        <a:pt x="18994" y="2608"/>
                      </a:cubicBezTo>
                      <a:cubicBezTo>
                        <a:pt x="18980" y="2608"/>
                        <a:pt x="18964" y="2571"/>
                        <a:pt x="18946" y="2495"/>
                      </a:cubicBezTo>
                      <a:cubicBezTo>
                        <a:pt x="18927" y="2419"/>
                        <a:pt x="18881" y="2381"/>
                        <a:pt x="18808" y="2381"/>
                      </a:cubicBezTo>
                      <a:cubicBezTo>
                        <a:pt x="18774" y="2381"/>
                        <a:pt x="18745" y="2401"/>
                        <a:pt x="18720" y="2442"/>
                      </a:cubicBezTo>
                      <a:cubicBezTo>
                        <a:pt x="18696" y="2491"/>
                        <a:pt x="18680" y="2523"/>
                        <a:pt x="18669" y="2538"/>
                      </a:cubicBezTo>
                      <a:cubicBezTo>
                        <a:pt x="18637" y="2578"/>
                        <a:pt x="18613" y="2610"/>
                        <a:pt x="18597" y="2634"/>
                      </a:cubicBezTo>
                      <a:cubicBezTo>
                        <a:pt x="18567" y="2676"/>
                        <a:pt x="18552" y="2711"/>
                        <a:pt x="18552" y="2740"/>
                      </a:cubicBezTo>
                      <a:cubicBezTo>
                        <a:pt x="18552" y="2748"/>
                        <a:pt x="18569" y="2776"/>
                        <a:pt x="18605" y="2823"/>
                      </a:cubicBezTo>
                      <a:cubicBezTo>
                        <a:pt x="18639" y="2870"/>
                        <a:pt x="18656" y="2899"/>
                        <a:pt x="18656" y="2909"/>
                      </a:cubicBezTo>
                      <a:cubicBezTo>
                        <a:pt x="18656" y="2945"/>
                        <a:pt x="18647" y="2962"/>
                        <a:pt x="18629" y="2962"/>
                      </a:cubicBezTo>
                      <a:cubicBezTo>
                        <a:pt x="18609" y="2944"/>
                        <a:pt x="18589" y="2926"/>
                        <a:pt x="18568" y="2909"/>
                      </a:cubicBezTo>
                      <a:cubicBezTo>
                        <a:pt x="18525" y="2872"/>
                        <a:pt x="18495" y="2854"/>
                        <a:pt x="18477" y="2854"/>
                      </a:cubicBezTo>
                      <a:cubicBezTo>
                        <a:pt x="18440" y="2854"/>
                        <a:pt x="18411" y="2892"/>
                        <a:pt x="18392" y="2970"/>
                      </a:cubicBezTo>
                      <a:cubicBezTo>
                        <a:pt x="18390" y="2970"/>
                        <a:pt x="18389" y="2971"/>
                        <a:pt x="18389" y="2972"/>
                      </a:cubicBezTo>
                      <a:cubicBezTo>
                        <a:pt x="18371" y="3035"/>
                        <a:pt x="18362" y="3103"/>
                        <a:pt x="18362" y="3177"/>
                      </a:cubicBezTo>
                      <a:cubicBezTo>
                        <a:pt x="18362" y="3214"/>
                        <a:pt x="18376" y="3260"/>
                        <a:pt x="18402" y="3314"/>
                      </a:cubicBezTo>
                      <a:cubicBezTo>
                        <a:pt x="18408" y="3324"/>
                        <a:pt x="18412" y="3334"/>
                        <a:pt x="18416" y="3344"/>
                      </a:cubicBezTo>
                      <a:cubicBezTo>
                        <a:pt x="18433" y="3388"/>
                        <a:pt x="18442" y="3432"/>
                        <a:pt x="18442" y="3478"/>
                      </a:cubicBezTo>
                      <a:cubicBezTo>
                        <a:pt x="18442" y="3513"/>
                        <a:pt x="18417" y="3561"/>
                        <a:pt x="18368" y="3620"/>
                      </a:cubicBezTo>
                      <a:cubicBezTo>
                        <a:pt x="18316" y="3680"/>
                        <a:pt x="18290" y="3757"/>
                        <a:pt x="18290" y="3850"/>
                      </a:cubicBezTo>
                      <a:cubicBezTo>
                        <a:pt x="18290" y="3898"/>
                        <a:pt x="18305" y="3944"/>
                        <a:pt x="18336" y="3986"/>
                      </a:cubicBezTo>
                      <a:cubicBezTo>
                        <a:pt x="18355" y="4013"/>
                        <a:pt x="18376" y="4033"/>
                        <a:pt x="18400" y="4047"/>
                      </a:cubicBezTo>
                      <a:cubicBezTo>
                        <a:pt x="18414" y="4055"/>
                        <a:pt x="18434" y="4090"/>
                        <a:pt x="18461" y="4153"/>
                      </a:cubicBezTo>
                      <a:cubicBezTo>
                        <a:pt x="18484" y="4207"/>
                        <a:pt x="18512" y="4234"/>
                        <a:pt x="18544" y="4234"/>
                      </a:cubicBezTo>
                      <a:cubicBezTo>
                        <a:pt x="18554" y="4234"/>
                        <a:pt x="18574" y="4230"/>
                        <a:pt x="18602" y="4221"/>
                      </a:cubicBezTo>
                      <a:cubicBezTo>
                        <a:pt x="18631" y="4211"/>
                        <a:pt x="18648" y="4206"/>
                        <a:pt x="18656" y="4206"/>
                      </a:cubicBezTo>
                      <a:cubicBezTo>
                        <a:pt x="18686" y="4206"/>
                        <a:pt x="18715" y="4231"/>
                        <a:pt x="18744" y="4282"/>
                      </a:cubicBezTo>
                      <a:cubicBezTo>
                        <a:pt x="18770" y="4332"/>
                        <a:pt x="18800" y="4358"/>
                        <a:pt x="18832" y="4358"/>
                      </a:cubicBezTo>
                      <a:cubicBezTo>
                        <a:pt x="18842" y="4358"/>
                        <a:pt x="18851" y="4353"/>
                        <a:pt x="18858" y="4342"/>
                      </a:cubicBezTo>
                      <a:cubicBezTo>
                        <a:pt x="18864" y="4332"/>
                        <a:pt x="18871" y="4327"/>
                        <a:pt x="18880" y="4327"/>
                      </a:cubicBezTo>
                      <a:cubicBezTo>
                        <a:pt x="18892" y="4327"/>
                        <a:pt x="18911" y="4350"/>
                        <a:pt x="18936" y="4395"/>
                      </a:cubicBezTo>
                      <a:cubicBezTo>
                        <a:pt x="18959" y="4441"/>
                        <a:pt x="18989" y="4464"/>
                        <a:pt x="19026" y="4464"/>
                      </a:cubicBezTo>
                      <a:cubicBezTo>
                        <a:pt x="19039" y="4464"/>
                        <a:pt x="19059" y="4456"/>
                        <a:pt x="19088" y="4441"/>
                      </a:cubicBezTo>
                      <a:cubicBezTo>
                        <a:pt x="19114" y="4424"/>
                        <a:pt x="19132" y="4416"/>
                        <a:pt x="19141" y="4416"/>
                      </a:cubicBezTo>
                      <a:cubicBezTo>
                        <a:pt x="19146" y="4416"/>
                        <a:pt x="19158" y="4420"/>
                        <a:pt x="19176" y="4428"/>
                      </a:cubicBezTo>
                      <a:cubicBezTo>
                        <a:pt x="19195" y="4438"/>
                        <a:pt x="19205" y="4447"/>
                        <a:pt x="19205" y="4454"/>
                      </a:cubicBezTo>
                      <a:cubicBezTo>
                        <a:pt x="19205" y="4469"/>
                        <a:pt x="19193" y="4489"/>
                        <a:pt x="19170" y="4514"/>
                      </a:cubicBezTo>
                      <a:cubicBezTo>
                        <a:pt x="19169" y="4516"/>
                        <a:pt x="19167" y="4518"/>
                        <a:pt x="19165" y="4519"/>
                      </a:cubicBezTo>
                      <a:cubicBezTo>
                        <a:pt x="19213" y="4529"/>
                        <a:pt x="19237" y="4555"/>
                        <a:pt x="19237" y="4595"/>
                      </a:cubicBezTo>
                      <a:cubicBezTo>
                        <a:pt x="19237" y="4634"/>
                        <a:pt x="19211" y="4669"/>
                        <a:pt x="19160" y="4701"/>
                      </a:cubicBezTo>
                      <a:cubicBezTo>
                        <a:pt x="19129" y="4615"/>
                        <a:pt x="19103" y="4572"/>
                        <a:pt x="19080" y="4572"/>
                      </a:cubicBezTo>
                      <a:cubicBezTo>
                        <a:pt x="19048" y="4572"/>
                        <a:pt x="19022" y="4600"/>
                        <a:pt x="19002" y="4656"/>
                      </a:cubicBezTo>
                      <a:cubicBezTo>
                        <a:pt x="18985" y="4701"/>
                        <a:pt x="18976" y="4748"/>
                        <a:pt x="18976" y="4795"/>
                      </a:cubicBezTo>
                      <a:cubicBezTo>
                        <a:pt x="18976" y="4822"/>
                        <a:pt x="18955" y="4850"/>
                        <a:pt x="18914" y="4881"/>
                      </a:cubicBezTo>
                      <a:cubicBezTo>
                        <a:pt x="18873" y="4909"/>
                        <a:pt x="18853" y="4937"/>
                        <a:pt x="18853" y="4964"/>
                      </a:cubicBezTo>
                      <a:cubicBezTo>
                        <a:pt x="18853" y="4981"/>
                        <a:pt x="18868" y="5005"/>
                        <a:pt x="18898" y="5037"/>
                      </a:cubicBezTo>
                      <a:cubicBezTo>
                        <a:pt x="18930" y="5070"/>
                        <a:pt x="18956" y="5086"/>
                        <a:pt x="18976" y="5086"/>
                      </a:cubicBezTo>
                      <a:cubicBezTo>
                        <a:pt x="19038" y="5086"/>
                        <a:pt x="19076" y="5056"/>
                        <a:pt x="19090" y="4997"/>
                      </a:cubicBezTo>
                      <a:cubicBezTo>
                        <a:pt x="19113" y="4904"/>
                        <a:pt x="19128" y="4854"/>
                        <a:pt x="19133" y="4845"/>
                      </a:cubicBezTo>
                      <a:cubicBezTo>
                        <a:pt x="19142" y="4884"/>
                        <a:pt x="19150" y="4949"/>
                        <a:pt x="19157" y="5040"/>
                      </a:cubicBezTo>
                      <a:cubicBezTo>
                        <a:pt x="19169" y="5121"/>
                        <a:pt x="19194" y="5182"/>
                        <a:pt x="19232" y="5225"/>
                      </a:cubicBezTo>
                      <a:cubicBezTo>
                        <a:pt x="19187" y="5253"/>
                        <a:pt x="19141" y="5294"/>
                        <a:pt x="19093" y="5346"/>
                      </a:cubicBezTo>
                      <a:cubicBezTo>
                        <a:pt x="19043" y="5403"/>
                        <a:pt x="19008" y="5443"/>
                        <a:pt x="18986" y="5465"/>
                      </a:cubicBezTo>
                      <a:cubicBezTo>
                        <a:pt x="18974" y="5476"/>
                        <a:pt x="18956" y="5503"/>
                        <a:pt x="18933" y="5543"/>
                      </a:cubicBezTo>
                      <a:cubicBezTo>
                        <a:pt x="18910" y="5583"/>
                        <a:pt x="18897" y="5605"/>
                        <a:pt x="18893" y="5609"/>
                      </a:cubicBezTo>
                      <a:cubicBezTo>
                        <a:pt x="18886" y="5614"/>
                        <a:pt x="18856" y="5620"/>
                        <a:pt x="18802" y="5626"/>
                      </a:cubicBezTo>
                      <a:cubicBezTo>
                        <a:pt x="18772" y="5630"/>
                        <a:pt x="18750" y="5632"/>
                        <a:pt x="18736" y="5634"/>
                      </a:cubicBezTo>
                      <a:cubicBezTo>
                        <a:pt x="18727" y="5634"/>
                        <a:pt x="18721" y="5634"/>
                        <a:pt x="18717" y="5634"/>
                      </a:cubicBezTo>
                      <a:lnTo>
                        <a:pt x="18714" y="5634"/>
                      </a:lnTo>
                      <a:cubicBezTo>
                        <a:pt x="18705" y="5634"/>
                        <a:pt x="18694" y="5628"/>
                        <a:pt x="18680" y="5616"/>
                      </a:cubicBezTo>
                      <a:cubicBezTo>
                        <a:pt x="18667" y="5605"/>
                        <a:pt x="18650" y="5599"/>
                        <a:pt x="18629" y="5599"/>
                      </a:cubicBezTo>
                      <a:cubicBezTo>
                        <a:pt x="18604" y="5599"/>
                        <a:pt x="18592" y="5611"/>
                        <a:pt x="18592" y="5637"/>
                      </a:cubicBezTo>
                      <a:cubicBezTo>
                        <a:pt x="18592" y="5640"/>
                        <a:pt x="18599" y="5660"/>
                        <a:pt x="18613" y="5697"/>
                      </a:cubicBezTo>
                      <a:cubicBezTo>
                        <a:pt x="18613" y="5719"/>
                        <a:pt x="18604" y="5750"/>
                        <a:pt x="18586" y="5791"/>
                      </a:cubicBezTo>
                      <a:cubicBezTo>
                        <a:pt x="18568" y="5833"/>
                        <a:pt x="18560" y="5856"/>
                        <a:pt x="18560" y="5862"/>
                      </a:cubicBezTo>
                      <a:cubicBezTo>
                        <a:pt x="18560" y="5873"/>
                        <a:pt x="18586" y="5904"/>
                        <a:pt x="18640" y="5952"/>
                      </a:cubicBezTo>
                      <a:cubicBezTo>
                        <a:pt x="18691" y="6020"/>
                        <a:pt x="18717" y="6106"/>
                        <a:pt x="18717" y="6210"/>
                      </a:cubicBezTo>
                      <a:cubicBezTo>
                        <a:pt x="18717" y="6279"/>
                        <a:pt x="18690" y="6314"/>
                        <a:pt x="18637" y="6314"/>
                      </a:cubicBezTo>
                      <a:cubicBezTo>
                        <a:pt x="18626" y="6314"/>
                        <a:pt x="18612" y="6298"/>
                        <a:pt x="18594" y="6266"/>
                      </a:cubicBezTo>
                      <a:cubicBezTo>
                        <a:pt x="18576" y="6229"/>
                        <a:pt x="18565" y="6205"/>
                        <a:pt x="18560" y="6195"/>
                      </a:cubicBezTo>
                      <a:lnTo>
                        <a:pt x="18482" y="6236"/>
                      </a:lnTo>
                      <a:cubicBezTo>
                        <a:pt x="18479" y="6236"/>
                        <a:pt x="18473" y="6232"/>
                        <a:pt x="18466" y="6225"/>
                      </a:cubicBezTo>
                      <a:cubicBezTo>
                        <a:pt x="18481" y="6210"/>
                        <a:pt x="18488" y="6188"/>
                        <a:pt x="18488" y="6160"/>
                      </a:cubicBezTo>
                      <a:cubicBezTo>
                        <a:pt x="18488" y="6123"/>
                        <a:pt x="18461" y="6103"/>
                        <a:pt x="18408" y="6102"/>
                      </a:cubicBezTo>
                      <a:cubicBezTo>
                        <a:pt x="18354" y="6102"/>
                        <a:pt x="18328" y="6089"/>
                        <a:pt x="18328" y="6064"/>
                      </a:cubicBezTo>
                      <a:cubicBezTo>
                        <a:pt x="18328" y="6054"/>
                        <a:pt x="18345" y="6036"/>
                        <a:pt x="18381" y="6011"/>
                      </a:cubicBezTo>
                      <a:cubicBezTo>
                        <a:pt x="18413" y="5989"/>
                        <a:pt x="18432" y="5976"/>
                        <a:pt x="18440" y="5973"/>
                      </a:cubicBezTo>
                      <a:cubicBezTo>
                        <a:pt x="18406" y="5890"/>
                        <a:pt x="18389" y="5840"/>
                        <a:pt x="18389" y="5821"/>
                      </a:cubicBezTo>
                      <a:cubicBezTo>
                        <a:pt x="18389" y="5808"/>
                        <a:pt x="18397" y="5792"/>
                        <a:pt x="18413" y="5776"/>
                      </a:cubicBezTo>
                      <a:cubicBezTo>
                        <a:pt x="18429" y="5755"/>
                        <a:pt x="18438" y="5734"/>
                        <a:pt x="18440" y="5712"/>
                      </a:cubicBezTo>
                      <a:cubicBezTo>
                        <a:pt x="18440" y="5699"/>
                        <a:pt x="18446" y="5674"/>
                        <a:pt x="18458" y="5637"/>
                      </a:cubicBezTo>
                      <a:cubicBezTo>
                        <a:pt x="18471" y="5599"/>
                        <a:pt x="18477" y="5577"/>
                        <a:pt x="18477" y="5568"/>
                      </a:cubicBezTo>
                      <a:lnTo>
                        <a:pt x="18466" y="5495"/>
                      </a:lnTo>
                      <a:lnTo>
                        <a:pt x="18456" y="5495"/>
                      </a:lnTo>
                      <a:cubicBezTo>
                        <a:pt x="18448" y="5503"/>
                        <a:pt x="18431" y="5513"/>
                        <a:pt x="18402" y="5523"/>
                      </a:cubicBezTo>
                      <a:cubicBezTo>
                        <a:pt x="18368" y="5533"/>
                        <a:pt x="18350" y="5539"/>
                        <a:pt x="18346" y="5540"/>
                      </a:cubicBezTo>
                      <a:cubicBezTo>
                        <a:pt x="18336" y="5544"/>
                        <a:pt x="18326" y="5557"/>
                        <a:pt x="18317" y="5581"/>
                      </a:cubicBezTo>
                      <a:cubicBezTo>
                        <a:pt x="18313" y="5588"/>
                        <a:pt x="18311" y="5595"/>
                        <a:pt x="18309" y="5604"/>
                      </a:cubicBezTo>
                      <a:cubicBezTo>
                        <a:pt x="18298" y="5639"/>
                        <a:pt x="18290" y="5657"/>
                        <a:pt x="18285" y="5657"/>
                      </a:cubicBezTo>
                      <a:cubicBezTo>
                        <a:pt x="18271" y="5657"/>
                        <a:pt x="18258" y="5653"/>
                        <a:pt x="18248" y="5647"/>
                      </a:cubicBezTo>
                      <a:cubicBezTo>
                        <a:pt x="18232" y="5638"/>
                        <a:pt x="18224" y="5625"/>
                        <a:pt x="18224" y="5606"/>
                      </a:cubicBezTo>
                      <a:cubicBezTo>
                        <a:pt x="18224" y="5603"/>
                        <a:pt x="18224" y="5599"/>
                        <a:pt x="18226" y="5596"/>
                      </a:cubicBezTo>
                      <a:cubicBezTo>
                        <a:pt x="18228" y="5578"/>
                        <a:pt x="18240" y="5558"/>
                        <a:pt x="18261" y="5538"/>
                      </a:cubicBezTo>
                      <a:cubicBezTo>
                        <a:pt x="18284" y="5514"/>
                        <a:pt x="18296" y="5494"/>
                        <a:pt x="18296" y="5477"/>
                      </a:cubicBezTo>
                      <a:cubicBezTo>
                        <a:pt x="18296" y="5454"/>
                        <a:pt x="18280" y="5441"/>
                        <a:pt x="18250" y="5439"/>
                      </a:cubicBezTo>
                      <a:cubicBezTo>
                        <a:pt x="18202" y="5436"/>
                        <a:pt x="18172" y="5432"/>
                        <a:pt x="18160" y="5427"/>
                      </a:cubicBezTo>
                      <a:cubicBezTo>
                        <a:pt x="18149" y="5422"/>
                        <a:pt x="18136" y="5397"/>
                        <a:pt x="18120" y="5353"/>
                      </a:cubicBezTo>
                      <a:cubicBezTo>
                        <a:pt x="18105" y="5313"/>
                        <a:pt x="18088" y="5293"/>
                        <a:pt x="18066" y="5293"/>
                      </a:cubicBezTo>
                      <a:lnTo>
                        <a:pt x="18056" y="5298"/>
                      </a:lnTo>
                      <a:cubicBezTo>
                        <a:pt x="18056" y="5311"/>
                        <a:pt x="18050" y="5326"/>
                        <a:pt x="18040" y="5343"/>
                      </a:cubicBezTo>
                      <a:cubicBezTo>
                        <a:pt x="18020" y="5342"/>
                        <a:pt x="17999" y="5322"/>
                        <a:pt x="17976" y="5285"/>
                      </a:cubicBezTo>
                      <a:cubicBezTo>
                        <a:pt x="17951" y="5246"/>
                        <a:pt x="17920" y="5221"/>
                        <a:pt x="17885" y="5209"/>
                      </a:cubicBezTo>
                      <a:lnTo>
                        <a:pt x="17848" y="5209"/>
                      </a:lnTo>
                      <a:cubicBezTo>
                        <a:pt x="17848" y="5219"/>
                        <a:pt x="17851" y="5232"/>
                        <a:pt x="17858" y="5247"/>
                      </a:cubicBezTo>
                      <a:cubicBezTo>
                        <a:pt x="17858" y="5261"/>
                        <a:pt x="17842" y="5279"/>
                        <a:pt x="17810" y="5303"/>
                      </a:cubicBezTo>
                      <a:cubicBezTo>
                        <a:pt x="17778" y="5326"/>
                        <a:pt x="17751" y="5338"/>
                        <a:pt x="17730" y="5338"/>
                      </a:cubicBezTo>
                      <a:cubicBezTo>
                        <a:pt x="17711" y="5338"/>
                        <a:pt x="17695" y="5332"/>
                        <a:pt x="17682" y="5318"/>
                      </a:cubicBezTo>
                      <a:cubicBezTo>
                        <a:pt x="17670" y="5305"/>
                        <a:pt x="17648" y="5298"/>
                        <a:pt x="17616" y="5298"/>
                      </a:cubicBezTo>
                      <a:cubicBezTo>
                        <a:pt x="17580" y="5298"/>
                        <a:pt x="17562" y="5308"/>
                        <a:pt x="17562" y="5328"/>
                      </a:cubicBezTo>
                      <a:cubicBezTo>
                        <a:pt x="17562" y="5340"/>
                        <a:pt x="17580" y="5363"/>
                        <a:pt x="17616" y="5396"/>
                      </a:cubicBezTo>
                      <a:cubicBezTo>
                        <a:pt x="17649" y="5430"/>
                        <a:pt x="17666" y="5454"/>
                        <a:pt x="17666" y="5467"/>
                      </a:cubicBezTo>
                      <a:lnTo>
                        <a:pt x="17656" y="5528"/>
                      </a:lnTo>
                      <a:cubicBezTo>
                        <a:pt x="17656" y="5541"/>
                        <a:pt x="17671" y="5558"/>
                        <a:pt x="17703" y="5578"/>
                      </a:cubicBezTo>
                      <a:cubicBezTo>
                        <a:pt x="17737" y="5600"/>
                        <a:pt x="17791" y="5626"/>
                        <a:pt x="17863" y="5657"/>
                      </a:cubicBezTo>
                      <a:cubicBezTo>
                        <a:pt x="17947" y="5680"/>
                        <a:pt x="18003" y="5706"/>
                        <a:pt x="18032" y="5735"/>
                      </a:cubicBezTo>
                      <a:cubicBezTo>
                        <a:pt x="18058" y="5762"/>
                        <a:pt x="18072" y="5805"/>
                        <a:pt x="18072" y="5864"/>
                      </a:cubicBezTo>
                      <a:cubicBezTo>
                        <a:pt x="18072" y="5884"/>
                        <a:pt x="18057" y="5910"/>
                        <a:pt x="18029" y="5940"/>
                      </a:cubicBezTo>
                      <a:cubicBezTo>
                        <a:pt x="17997" y="5972"/>
                        <a:pt x="17965" y="5988"/>
                        <a:pt x="17933" y="5988"/>
                      </a:cubicBezTo>
                      <a:cubicBezTo>
                        <a:pt x="17908" y="5988"/>
                        <a:pt x="17890" y="5983"/>
                        <a:pt x="17880" y="5973"/>
                      </a:cubicBezTo>
                      <a:cubicBezTo>
                        <a:pt x="17855" y="5949"/>
                        <a:pt x="17835" y="5933"/>
                        <a:pt x="17821" y="5925"/>
                      </a:cubicBezTo>
                      <a:cubicBezTo>
                        <a:pt x="17776" y="5901"/>
                        <a:pt x="17750" y="5886"/>
                        <a:pt x="17741" y="5879"/>
                      </a:cubicBezTo>
                      <a:cubicBezTo>
                        <a:pt x="17728" y="5869"/>
                        <a:pt x="17722" y="5851"/>
                        <a:pt x="17722" y="5826"/>
                      </a:cubicBezTo>
                      <a:lnTo>
                        <a:pt x="17733" y="5748"/>
                      </a:lnTo>
                      <a:cubicBezTo>
                        <a:pt x="17733" y="5717"/>
                        <a:pt x="17716" y="5684"/>
                        <a:pt x="17682" y="5647"/>
                      </a:cubicBezTo>
                      <a:cubicBezTo>
                        <a:pt x="17650" y="5611"/>
                        <a:pt x="17623" y="5594"/>
                        <a:pt x="17602" y="5594"/>
                      </a:cubicBezTo>
                      <a:cubicBezTo>
                        <a:pt x="17586" y="5594"/>
                        <a:pt x="17573" y="5599"/>
                        <a:pt x="17562" y="5609"/>
                      </a:cubicBezTo>
                      <a:cubicBezTo>
                        <a:pt x="17551" y="5617"/>
                        <a:pt x="17546" y="5627"/>
                        <a:pt x="17546" y="5639"/>
                      </a:cubicBezTo>
                      <a:cubicBezTo>
                        <a:pt x="17546" y="5646"/>
                        <a:pt x="17557" y="5667"/>
                        <a:pt x="17578" y="5702"/>
                      </a:cubicBezTo>
                      <a:cubicBezTo>
                        <a:pt x="17598" y="5736"/>
                        <a:pt x="17607" y="5762"/>
                        <a:pt x="17607" y="5781"/>
                      </a:cubicBezTo>
                      <a:cubicBezTo>
                        <a:pt x="17607" y="5840"/>
                        <a:pt x="17554" y="5869"/>
                        <a:pt x="17447" y="5869"/>
                      </a:cubicBezTo>
                      <a:cubicBezTo>
                        <a:pt x="17424" y="5869"/>
                        <a:pt x="17359" y="5851"/>
                        <a:pt x="17250" y="5813"/>
                      </a:cubicBezTo>
                      <a:cubicBezTo>
                        <a:pt x="17142" y="5775"/>
                        <a:pt x="17064" y="5755"/>
                        <a:pt x="17018" y="5755"/>
                      </a:cubicBezTo>
                      <a:cubicBezTo>
                        <a:pt x="16979" y="5755"/>
                        <a:pt x="16948" y="5768"/>
                        <a:pt x="16925" y="5793"/>
                      </a:cubicBezTo>
                      <a:cubicBezTo>
                        <a:pt x="16902" y="5819"/>
                        <a:pt x="16870" y="5831"/>
                        <a:pt x="16829" y="5831"/>
                      </a:cubicBezTo>
                      <a:cubicBezTo>
                        <a:pt x="16793" y="5831"/>
                        <a:pt x="16763" y="5825"/>
                        <a:pt x="16738" y="5813"/>
                      </a:cubicBezTo>
                      <a:cubicBezTo>
                        <a:pt x="16711" y="5802"/>
                        <a:pt x="16686" y="5796"/>
                        <a:pt x="16663" y="5796"/>
                      </a:cubicBezTo>
                      <a:cubicBezTo>
                        <a:pt x="16642" y="5796"/>
                        <a:pt x="16626" y="5801"/>
                        <a:pt x="16615" y="5811"/>
                      </a:cubicBezTo>
                      <a:cubicBezTo>
                        <a:pt x="16606" y="5821"/>
                        <a:pt x="16591" y="5826"/>
                        <a:pt x="16567" y="5826"/>
                      </a:cubicBezTo>
                      <a:cubicBezTo>
                        <a:pt x="16544" y="5826"/>
                        <a:pt x="16513" y="5816"/>
                        <a:pt x="16474" y="5796"/>
                      </a:cubicBezTo>
                      <a:cubicBezTo>
                        <a:pt x="16435" y="5776"/>
                        <a:pt x="16408" y="5765"/>
                        <a:pt x="16394" y="5765"/>
                      </a:cubicBezTo>
                      <a:cubicBezTo>
                        <a:pt x="16387" y="5765"/>
                        <a:pt x="16371" y="5772"/>
                        <a:pt x="16346" y="5786"/>
                      </a:cubicBezTo>
                      <a:cubicBezTo>
                        <a:pt x="16323" y="5799"/>
                        <a:pt x="16307" y="5806"/>
                        <a:pt x="16298" y="5806"/>
                      </a:cubicBezTo>
                      <a:cubicBezTo>
                        <a:pt x="16277" y="5806"/>
                        <a:pt x="16248" y="5783"/>
                        <a:pt x="16213" y="5738"/>
                      </a:cubicBezTo>
                      <a:cubicBezTo>
                        <a:pt x="16181" y="5692"/>
                        <a:pt x="16164" y="5669"/>
                        <a:pt x="16162" y="5667"/>
                      </a:cubicBezTo>
                      <a:cubicBezTo>
                        <a:pt x="16134" y="5643"/>
                        <a:pt x="16108" y="5621"/>
                        <a:pt x="16085" y="5601"/>
                      </a:cubicBezTo>
                      <a:cubicBezTo>
                        <a:pt x="16040" y="5561"/>
                        <a:pt x="16018" y="5529"/>
                        <a:pt x="16018" y="5505"/>
                      </a:cubicBezTo>
                      <a:cubicBezTo>
                        <a:pt x="16038" y="5466"/>
                        <a:pt x="16047" y="5446"/>
                        <a:pt x="16047" y="5444"/>
                      </a:cubicBezTo>
                      <a:cubicBezTo>
                        <a:pt x="16047" y="5429"/>
                        <a:pt x="16026" y="5412"/>
                        <a:pt x="15983" y="5391"/>
                      </a:cubicBezTo>
                      <a:cubicBezTo>
                        <a:pt x="15948" y="5375"/>
                        <a:pt x="15926" y="5366"/>
                        <a:pt x="15917" y="5366"/>
                      </a:cubicBezTo>
                      <a:cubicBezTo>
                        <a:pt x="15858" y="5403"/>
                        <a:pt x="15798" y="5422"/>
                        <a:pt x="15738" y="5422"/>
                      </a:cubicBezTo>
                      <a:cubicBezTo>
                        <a:pt x="15601" y="5422"/>
                        <a:pt x="15533" y="5391"/>
                        <a:pt x="15533" y="5331"/>
                      </a:cubicBezTo>
                      <a:lnTo>
                        <a:pt x="15543" y="5268"/>
                      </a:lnTo>
                      <a:cubicBezTo>
                        <a:pt x="15543" y="5242"/>
                        <a:pt x="15502" y="5202"/>
                        <a:pt x="15421" y="5146"/>
                      </a:cubicBezTo>
                      <a:cubicBezTo>
                        <a:pt x="15339" y="5091"/>
                        <a:pt x="15298" y="5054"/>
                        <a:pt x="15298" y="5035"/>
                      </a:cubicBezTo>
                      <a:cubicBezTo>
                        <a:pt x="15298" y="5033"/>
                        <a:pt x="15312" y="5012"/>
                        <a:pt x="15341" y="4972"/>
                      </a:cubicBezTo>
                      <a:cubicBezTo>
                        <a:pt x="15369" y="4933"/>
                        <a:pt x="15383" y="4909"/>
                        <a:pt x="15383" y="4898"/>
                      </a:cubicBezTo>
                      <a:cubicBezTo>
                        <a:pt x="15383" y="4887"/>
                        <a:pt x="15378" y="4872"/>
                        <a:pt x="15367" y="4853"/>
                      </a:cubicBezTo>
                      <a:cubicBezTo>
                        <a:pt x="15357" y="4836"/>
                        <a:pt x="15351" y="4824"/>
                        <a:pt x="15351" y="4815"/>
                      </a:cubicBezTo>
                      <a:cubicBezTo>
                        <a:pt x="15351" y="4765"/>
                        <a:pt x="15344" y="4732"/>
                        <a:pt x="15330" y="4716"/>
                      </a:cubicBezTo>
                      <a:cubicBezTo>
                        <a:pt x="15291" y="4676"/>
                        <a:pt x="15263" y="4652"/>
                        <a:pt x="15247" y="4643"/>
                      </a:cubicBezTo>
                      <a:cubicBezTo>
                        <a:pt x="15224" y="4630"/>
                        <a:pt x="15189" y="4623"/>
                        <a:pt x="15143" y="4623"/>
                      </a:cubicBezTo>
                      <a:cubicBezTo>
                        <a:pt x="15120" y="4623"/>
                        <a:pt x="15049" y="4647"/>
                        <a:pt x="14930" y="4694"/>
                      </a:cubicBezTo>
                      <a:cubicBezTo>
                        <a:pt x="14812" y="4741"/>
                        <a:pt x="14737" y="4765"/>
                        <a:pt x="14703" y="4765"/>
                      </a:cubicBezTo>
                      <a:cubicBezTo>
                        <a:pt x="14600" y="4754"/>
                        <a:pt x="14523" y="4749"/>
                        <a:pt x="14471" y="4749"/>
                      </a:cubicBezTo>
                      <a:cubicBezTo>
                        <a:pt x="14441" y="4749"/>
                        <a:pt x="14420" y="4754"/>
                        <a:pt x="14407" y="4762"/>
                      </a:cubicBezTo>
                      <a:cubicBezTo>
                        <a:pt x="14395" y="4770"/>
                        <a:pt x="14379" y="4791"/>
                        <a:pt x="14359" y="4825"/>
                      </a:cubicBezTo>
                      <a:cubicBezTo>
                        <a:pt x="14354" y="4832"/>
                        <a:pt x="14332" y="4858"/>
                        <a:pt x="14292" y="4904"/>
                      </a:cubicBezTo>
                      <a:cubicBezTo>
                        <a:pt x="14248" y="4956"/>
                        <a:pt x="14226" y="4985"/>
                        <a:pt x="14226" y="4992"/>
                      </a:cubicBezTo>
                      <a:cubicBezTo>
                        <a:pt x="14226" y="5005"/>
                        <a:pt x="14268" y="5038"/>
                        <a:pt x="14354" y="5091"/>
                      </a:cubicBezTo>
                      <a:cubicBezTo>
                        <a:pt x="14441" y="5143"/>
                        <a:pt x="14497" y="5169"/>
                        <a:pt x="14522" y="5169"/>
                      </a:cubicBezTo>
                      <a:cubicBezTo>
                        <a:pt x="14540" y="5169"/>
                        <a:pt x="14548" y="5162"/>
                        <a:pt x="14548" y="5149"/>
                      </a:cubicBezTo>
                      <a:cubicBezTo>
                        <a:pt x="14548" y="5145"/>
                        <a:pt x="14541" y="5132"/>
                        <a:pt x="14527" y="5108"/>
                      </a:cubicBezTo>
                      <a:cubicBezTo>
                        <a:pt x="14513" y="5085"/>
                        <a:pt x="14506" y="5068"/>
                        <a:pt x="14506" y="5058"/>
                      </a:cubicBezTo>
                      <a:cubicBezTo>
                        <a:pt x="14506" y="5034"/>
                        <a:pt x="14524" y="5022"/>
                        <a:pt x="14562" y="5022"/>
                      </a:cubicBezTo>
                      <a:cubicBezTo>
                        <a:pt x="14585" y="5022"/>
                        <a:pt x="14613" y="5033"/>
                        <a:pt x="14647" y="5055"/>
                      </a:cubicBezTo>
                      <a:cubicBezTo>
                        <a:pt x="14681" y="5075"/>
                        <a:pt x="14706" y="5086"/>
                        <a:pt x="14722" y="5086"/>
                      </a:cubicBezTo>
                      <a:cubicBezTo>
                        <a:pt x="14736" y="5086"/>
                        <a:pt x="14753" y="5075"/>
                        <a:pt x="14772" y="5055"/>
                      </a:cubicBezTo>
                      <a:cubicBezTo>
                        <a:pt x="14792" y="5033"/>
                        <a:pt x="14804" y="5022"/>
                        <a:pt x="14810" y="5022"/>
                      </a:cubicBezTo>
                      <a:cubicBezTo>
                        <a:pt x="14824" y="5022"/>
                        <a:pt x="14844" y="5024"/>
                        <a:pt x="14869" y="5027"/>
                      </a:cubicBezTo>
                      <a:cubicBezTo>
                        <a:pt x="14892" y="5026"/>
                        <a:pt x="14907" y="5011"/>
                        <a:pt x="14914" y="4982"/>
                      </a:cubicBezTo>
                      <a:cubicBezTo>
                        <a:pt x="14917" y="4967"/>
                        <a:pt x="14938" y="4940"/>
                        <a:pt x="14975" y="4901"/>
                      </a:cubicBezTo>
                      <a:cubicBezTo>
                        <a:pt x="15011" y="4864"/>
                        <a:pt x="15032" y="4845"/>
                        <a:pt x="15039" y="4845"/>
                      </a:cubicBezTo>
                      <a:cubicBezTo>
                        <a:pt x="15123" y="4845"/>
                        <a:pt x="15165" y="4861"/>
                        <a:pt x="15165" y="4891"/>
                      </a:cubicBezTo>
                      <a:cubicBezTo>
                        <a:pt x="15165" y="4920"/>
                        <a:pt x="15150" y="4948"/>
                        <a:pt x="15122" y="4977"/>
                      </a:cubicBezTo>
                      <a:cubicBezTo>
                        <a:pt x="15083" y="5016"/>
                        <a:pt x="15055" y="5052"/>
                        <a:pt x="15039" y="5086"/>
                      </a:cubicBezTo>
                      <a:cubicBezTo>
                        <a:pt x="15034" y="5096"/>
                        <a:pt x="15023" y="5105"/>
                        <a:pt x="15007" y="5113"/>
                      </a:cubicBezTo>
                      <a:cubicBezTo>
                        <a:pt x="14982" y="5125"/>
                        <a:pt x="14965" y="5134"/>
                        <a:pt x="14957" y="5141"/>
                      </a:cubicBezTo>
                      <a:cubicBezTo>
                        <a:pt x="14948" y="5148"/>
                        <a:pt x="14940" y="5164"/>
                        <a:pt x="14932" y="5189"/>
                      </a:cubicBezTo>
                      <a:cubicBezTo>
                        <a:pt x="14925" y="5209"/>
                        <a:pt x="14912" y="5219"/>
                        <a:pt x="14892" y="5219"/>
                      </a:cubicBezTo>
                      <a:cubicBezTo>
                        <a:pt x="14852" y="5209"/>
                        <a:pt x="14818" y="5208"/>
                        <a:pt x="14791" y="5214"/>
                      </a:cubicBezTo>
                      <a:cubicBezTo>
                        <a:pt x="14777" y="5218"/>
                        <a:pt x="14764" y="5226"/>
                        <a:pt x="14754" y="5240"/>
                      </a:cubicBezTo>
                      <a:cubicBezTo>
                        <a:pt x="14745" y="5251"/>
                        <a:pt x="14733" y="5257"/>
                        <a:pt x="14719" y="5257"/>
                      </a:cubicBezTo>
                      <a:lnTo>
                        <a:pt x="14658" y="5247"/>
                      </a:lnTo>
                      <a:cubicBezTo>
                        <a:pt x="14613" y="5247"/>
                        <a:pt x="14587" y="5256"/>
                        <a:pt x="14578" y="5273"/>
                      </a:cubicBezTo>
                      <a:cubicBezTo>
                        <a:pt x="14569" y="5303"/>
                        <a:pt x="14557" y="5331"/>
                        <a:pt x="14543" y="5356"/>
                      </a:cubicBezTo>
                      <a:cubicBezTo>
                        <a:pt x="14529" y="5381"/>
                        <a:pt x="14494" y="5403"/>
                        <a:pt x="14439" y="5422"/>
                      </a:cubicBezTo>
                      <a:cubicBezTo>
                        <a:pt x="14393" y="5437"/>
                        <a:pt x="14370" y="5462"/>
                        <a:pt x="14370" y="5498"/>
                      </a:cubicBezTo>
                      <a:cubicBezTo>
                        <a:pt x="14370" y="5504"/>
                        <a:pt x="14382" y="5533"/>
                        <a:pt x="14407" y="5583"/>
                      </a:cubicBezTo>
                      <a:cubicBezTo>
                        <a:pt x="14432" y="5636"/>
                        <a:pt x="14444" y="5674"/>
                        <a:pt x="14444" y="5700"/>
                      </a:cubicBezTo>
                      <a:cubicBezTo>
                        <a:pt x="14444" y="5710"/>
                        <a:pt x="14436" y="5729"/>
                        <a:pt x="14420" y="5758"/>
                      </a:cubicBezTo>
                      <a:cubicBezTo>
                        <a:pt x="14404" y="5787"/>
                        <a:pt x="14396" y="5808"/>
                        <a:pt x="14396" y="5821"/>
                      </a:cubicBezTo>
                      <a:cubicBezTo>
                        <a:pt x="14396" y="5877"/>
                        <a:pt x="14416" y="5923"/>
                        <a:pt x="14455" y="5960"/>
                      </a:cubicBezTo>
                      <a:cubicBezTo>
                        <a:pt x="14492" y="5997"/>
                        <a:pt x="14511" y="6028"/>
                        <a:pt x="14511" y="6054"/>
                      </a:cubicBezTo>
                      <a:cubicBezTo>
                        <a:pt x="14511" y="6065"/>
                        <a:pt x="14507" y="6075"/>
                        <a:pt x="14498" y="6081"/>
                      </a:cubicBezTo>
                      <a:cubicBezTo>
                        <a:pt x="14489" y="6088"/>
                        <a:pt x="14484" y="6097"/>
                        <a:pt x="14484" y="6107"/>
                      </a:cubicBezTo>
                      <a:cubicBezTo>
                        <a:pt x="14484" y="6112"/>
                        <a:pt x="14491" y="6125"/>
                        <a:pt x="14503" y="6147"/>
                      </a:cubicBezTo>
                      <a:cubicBezTo>
                        <a:pt x="14516" y="6169"/>
                        <a:pt x="14522" y="6183"/>
                        <a:pt x="14522" y="6190"/>
                      </a:cubicBezTo>
                      <a:cubicBezTo>
                        <a:pt x="14522" y="6204"/>
                        <a:pt x="14506" y="6210"/>
                        <a:pt x="14474" y="6210"/>
                      </a:cubicBezTo>
                      <a:cubicBezTo>
                        <a:pt x="14465" y="6212"/>
                        <a:pt x="14459" y="6220"/>
                        <a:pt x="14455" y="6233"/>
                      </a:cubicBezTo>
                      <a:cubicBezTo>
                        <a:pt x="14452" y="6247"/>
                        <a:pt x="14444" y="6253"/>
                        <a:pt x="14431" y="6253"/>
                      </a:cubicBezTo>
                      <a:cubicBezTo>
                        <a:pt x="14428" y="6253"/>
                        <a:pt x="14417" y="6249"/>
                        <a:pt x="14399" y="6241"/>
                      </a:cubicBezTo>
                      <a:cubicBezTo>
                        <a:pt x="14381" y="6231"/>
                        <a:pt x="14367" y="6225"/>
                        <a:pt x="14356" y="6225"/>
                      </a:cubicBezTo>
                      <a:cubicBezTo>
                        <a:pt x="14332" y="6225"/>
                        <a:pt x="14314" y="6243"/>
                        <a:pt x="14303" y="6279"/>
                      </a:cubicBezTo>
                      <a:cubicBezTo>
                        <a:pt x="14294" y="6312"/>
                        <a:pt x="14284" y="6329"/>
                        <a:pt x="14274" y="6329"/>
                      </a:cubicBezTo>
                      <a:cubicBezTo>
                        <a:pt x="14249" y="6329"/>
                        <a:pt x="14234" y="6306"/>
                        <a:pt x="14228" y="6261"/>
                      </a:cubicBezTo>
                      <a:cubicBezTo>
                        <a:pt x="14225" y="6215"/>
                        <a:pt x="14222" y="6190"/>
                        <a:pt x="14220" y="6185"/>
                      </a:cubicBezTo>
                      <a:cubicBezTo>
                        <a:pt x="14210" y="6165"/>
                        <a:pt x="14191" y="6142"/>
                        <a:pt x="14164" y="6117"/>
                      </a:cubicBezTo>
                      <a:cubicBezTo>
                        <a:pt x="14143" y="6100"/>
                        <a:pt x="14132" y="6079"/>
                        <a:pt x="14132" y="6054"/>
                      </a:cubicBezTo>
                      <a:cubicBezTo>
                        <a:pt x="14132" y="6023"/>
                        <a:pt x="14166" y="6006"/>
                        <a:pt x="14234" y="6003"/>
                      </a:cubicBezTo>
                      <a:cubicBezTo>
                        <a:pt x="14301" y="6000"/>
                        <a:pt x="14335" y="5974"/>
                        <a:pt x="14335" y="5925"/>
                      </a:cubicBezTo>
                      <a:cubicBezTo>
                        <a:pt x="14335" y="5883"/>
                        <a:pt x="14300" y="5834"/>
                        <a:pt x="14231" y="5778"/>
                      </a:cubicBezTo>
                      <a:cubicBezTo>
                        <a:pt x="14162" y="5722"/>
                        <a:pt x="14127" y="5688"/>
                        <a:pt x="14127" y="5674"/>
                      </a:cubicBezTo>
                      <a:cubicBezTo>
                        <a:pt x="14127" y="5671"/>
                        <a:pt x="14136" y="5658"/>
                        <a:pt x="14154" y="5634"/>
                      </a:cubicBezTo>
                      <a:cubicBezTo>
                        <a:pt x="14170" y="5612"/>
                        <a:pt x="14178" y="5599"/>
                        <a:pt x="14178" y="5594"/>
                      </a:cubicBezTo>
                      <a:cubicBezTo>
                        <a:pt x="14178" y="5578"/>
                        <a:pt x="14167" y="5567"/>
                        <a:pt x="14146" y="5561"/>
                      </a:cubicBezTo>
                      <a:cubicBezTo>
                        <a:pt x="14130" y="5556"/>
                        <a:pt x="14115" y="5555"/>
                        <a:pt x="14100" y="5558"/>
                      </a:cubicBezTo>
                      <a:cubicBezTo>
                        <a:pt x="14093" y="5504"/>
                        <a:pt x="14085" y="5468"/>
                        <a:pt x="14076" y="5449"/>
                      </a:cubicBezTo>
                      <a:cubicBezTo>
                        <a:pt x="14071" y="5439"/>
                        <a:pt x="14055" y="5423"/>
                        <a:pt x="14028" y="5401"/>
                      </a:cubicBezTo>
                      <a:cubicBezTo>
                        <a:pt x="14018" y="5393"/>
                        <a:pt x="13990" y="5388"/>
                        <a:pt x="13946" y="5386"/>
                      </a:cubicBezTo>
                      <a:cubicBezTo>
                        <a:pt x="13903" y="5386"/>
                        <a:pt x="13875" y="5381"/>
                        <a:pt x="13860" y="5371"/>
                      </a:cubicBezTo>
                      <a:cubicBezTo>
                        <a:pt x="13837" y="5354"/>
                        <a:pt x="13820" y="5308"/>
                        <a:pt x="13810" y="5232"/>
                      </a:cubicBezTo>
                      <a:cubicBezTo>
                        <a:pt x="13801" y="5173"/>
                        <a:pt x="13771" y="5144"/>
                        <a:pt x="13722" y="5144"/>
                      </a:cubicBezTo>
                      <a:cubicBezTo>
                        <a:pt x="13672" y="5144"/>
                        <a:pt x="13615" y="5169"/>
                        <a:pt x="13551" y="5219"/>
                      </a:cubicBezTo>
                      <a:cubicBezTo>
                        <a:pt x="13487" y="5268"/>
                        <a:pt x="13435" y="5293"/>
                        <a:pt x="13394" y="5293"/>
                      </a:cubicBezTo>
                      <a:lnTo>
                        <a:pt x="13362" y="5288"/>
                      </a:lnTo>
                      <a:lnTo>
                        <a:pt x="13378" y="5237"/>
                      </a:lnTo>
                      <a:cubicBezTo>
                        <a:pt x="13378" y="5209"/>
                        <a:pt x="13365" y="5194"/>
                        <a:pt x="13340" y="5194"/>
                      </a:cubicBezTo>
                      <a:cubicBezTo>
                        <a:pt x="13331" y="5194"/>
                        <a:pt x="13317" y="5210"/>
                        <a:pt x="13298" y="5242"/>
                      </a:cubicBezTo>
                      <a:cubicBezTo>
                        <a:pt x="13278" y="5273"/>
                        <a:pt x="13264" y="5288"/>
                        <a:pt x="13255" y="5288"/>
                      </a:cubicBezTo>
                      <a:lnTo>
                        <a:pt x="13138" y="5278"/>
                      </a:lnTo>
                      <a:cubicBezTo>
                        <a:pt x="13088" y="5237"/>
                        <a:pt x="13051" y="5217"/>
                        <a:pt x="13026" y="5217"/>
                      </a:cubicBezTo>
                      <a:cubicBezTo>
                        <a:pt x="13010" y="5217"/>
                        <a:pt x="12997" y="5220"/>
                        <a:pt x="12988" y="5227"/>
                      </a:cubicBezTo>
                      <a:cubicBezTo>
                        <a:pt x="12981" y="5234"/>
                        <a:pt x="12971" y="5237"/>
                        <a:pt x="12959" y="5237"/>
                      </a:cubicBezTo>
                      <a:cubicBezTo>
                        <a:pt x="12954" y="5237"/>
                        <a:pt x="12890" y="5223"/>
                        <a:pt x="12770" y="5194"/>
                      </a:cubicBezTo>
                      <a:cubicBezTo>
                        <a:pt x="12647" y="5164"/>
                        <a:pt x="12570" y="5144"/>
                        <a:pt x="12540" y="5134"/>
                      </a:cubicBezTo>
                      <a:cubicBezTo>
                        <a:pt x="12496" y="5115"/>
                        <a:pt x="12464" y="5102"/>
                        <a:pt x="12444" y="5093"/>
                      </a:cubicBezTo>
                      <a:cubicBezTo>
                        <a:pt x="12412" y="5081"/>
                        <a:pt x="12382" y="5077"/>
                        <a:pt x="12353" y="5080"/>
                      </a:cubicBezTo>
                      <a:cubicBezTo>
                        <a:pt x="12339" y="5082"/>
                        <a:pt x="12313" y="5070"/>
                        <a:pt x="12276" y="5043"/>
                      </a:cubicBezTo>
                      <a:lnTo>
                        <a:pt x="12217" y="5002"/>
                      </a:lnTo>
                      <a:cubicBezTo>
                        <a:pt x="12198" y="5011"/>
                        <a:pt x="12184" y="5015"/>
                        <a:pt x="12175" y="5015"/>
                      </a:cubicBezTo>
                      <a:cubicBezTo>
                        <a:pt x="12166" y="5015"/>
                        <a:pt x="12093" y="4935"/>
                        <a:pt x="11956" y="4775"/>
                      </a:cubicBezTo>
                      <a:cubicBezTo>
                        <a:pt x="11956" y="4761"/>
                        <a:pt x="11977" y="4738"/>
                        <a:pt x="12017" y="4706"/>
                      </a:cubicBezTo>
                      <a:cubicBezTo>
                        <a:pt x="12060" y="4674"/>
                        <a:pt x="12083" y="4642"/>
                        <a:pt x="12087" y="4610"/>
                      </a:cubicBezTo>
                      <a:cubicBezTo>
                        <a:pt x="12101" y="4612"/>
                        <a:pt x="12115" y="4617"/>
                        <a:pt x="12129" y="4625"/>
                      </a:cubicBezTo>
                      <a:cubicBezTo>
                        <a:pt x="12142" y="4632"/>
                        <a:pt x="12154" y="4636"/>
                        <a:pt x="12167" y="4636"/>
                      </a:cubicBezTo>
                      <a:cubicBezTo>
                        <a:pt x="12193" y="4636"/>
                        <a:pt x="12209" y="4631"/>
                        <a:pt x="12215" y="4623"/>
                      </a:cubicBezTo>
                      <a:cubicBezTo>
                        <a:pt x="12217" y="4606"/>
                        <a:pt x="12219" y="4589"/>
                        <a:pt x="12223" y="4572"/>
                      </a:cubicBezTo>
                      <a:lnTo>
                        <a:pt x="12273" y="4572"/>
                      </a:lnTo>
                      <a:cubicBezTo>
                        <a:pt x="12332" y="4618"/>
                        <a:pt x="12386" y="4641"/>
                        <a:pt x="12436" y="4641"/>
                      </a:cubicBezTo>
                      <a:cubicBezTo>
                        <a:pt x="12466" y="4641"/>
                        <a:pt x="12492" y="4623"/>
                        <a:pt x="12514" y="4588"/>
                      </a:cubicBezTo>
                      <a:cubicBezTo>
                        <a:pt x="12531" y="4556"/>
                        <a:pt x="12540" y="4521"/>
                        <a:pt x="12540" y="4484"/>
                      </a:cubicBezTo>
                      <a:cubicBezTo>
                        <a:pt x="12540" y="4437"/>
                        <a:pt x="12522" y="4386"/>
                        <a:pt x="12487" y="4332"/>
                      </a:cubicBezTo>
                      <a:cubicBezTo>
                        <a:pt x="12441" y="4267"/>
                        <a:pt x="12406" y="4211"/>
                        <a:pt x="12383" y="4165"/>
                      </a:cubicBezTo>
                      <a:cubicBezTo>
                        <a:pt x="12360" y="4113"/>
                        <a:pt x="12343" y="4079"/>
                        <a:pt x="12332" y="4062"/>
                      </a:cubicBezTo>
                      <a:cubicBezTo>
                        <a:pt x="12316" y="4035"/>
                        <a:pt x="12293" y="4012"/>
                        <a:pt x="12263" y="3994"/>
                      </a:cubicBezTo>
                      <a:cubicBezTo>
                        <a:pt x="12238" y="3978"/>
                        <a:pt x="12206" y="3963"/>
                        <a:pt x="12167" y="3948"/>
                      </a:cubicBezTo>
                      <a:cubicBezTo>
                        <a:pt x="12122" y="3931"/>
                        <a:pt x="12089" y="3923"/>
                        <a:pt x="12068" y="3923"/>
                      </a:cubicBezTo>
                      <a:cubicBezTo>
                        <a:pt x="12034" y="3923"/>
                        <a:pt x="12017" y="3934"/>
                        <a:pt x="12015" y="3956"/>
                      </a:cubicBezTo>
                      <a:cubicBezTo>
                        <a:pt x="12013" y="3967"/>
                        <a:pt x="12011" y="3988"/>
                        <a:pt x="12009" y="4016"/>
                      </a:cubicBezTo>
                      <a:lnTo>
                        <a:pt x="11972" y="4016"/>
                      </a:lnTo>
                      <a:cubicBezTo>
                        <a:pt x="11905" y="3993"/>
                        <a:pt x="11848" y="3971"/>
                        <a:pt x="11801" y="3951"/>
                      </a:cubicBezTo>
                      <a:cubicBezTo>
                        <a:pt x="11716" y="3912"/>
                        <a:pt x="11652" y="3871"/>
                        <a:pt x="11609" y="3829"/>
                      </a:cubicBezTo>
                      <a:cubicBezTo>
                        <a:pt x="11537" y="3755"/>
                        <a:pt x="11453" y="3657"/>
                        <a:pt x="11359" y="3534"/>
                      </a:cubicBezTo>
                      <a:cubicBezTo>
                        <a:pt x="11339" y="3510"/>
                        <a:pt x="11298" y="3474"/>
                        <a:pt x="11236" y="3425"/>
                      </a:cubicBezTo>
                      <a:cubicBezTo>
                        <a:pt x="11176" y="3378"/>
                        <a:pt x="11116" y="3336"/>
                        <a:pt x="11057" y="3299"/>
                      </a:cubicBezTo>
                      <a:cubicBezTo>
                        <a:pt x="10983" y="3250"/>
                        <a:pt x="10939" y="3219"/>
                        <a:pt x="10927" y="3208"/>
                      </a:cubicBezTo>
                      <a:cubicBezTo>
                        <a:pt x="10893" y="3179"/>
                        <a:pt x="10869" y="3138"/>
                        <a:pt x="10855" y="3086"/>
                      </a:cubicBezTo>
                      <a:cubicBezTo>
                        <a:pt x="10853" y="3081"/>
                        <a:pt x="10851" y="3077"/>
                        <a:pt x="10849" y="3074"/>
                      </a:cubicBezTo>
                      <a:cubicBezTo>
                        <a:pt x="10805" y="2940"/>
                        <a:pt x="10755" y="2846"/>
                        <a:pt x="10700" y="2790"/>
                      </a:cubicBezTo>
                      <a:cubicBezTo>
                        <a:pt x="10485" y="2656"/>
                        <a:pt x="10359" y="2588"/>
                        <a:pt x="10324" y="2588"/>
                      </a:cubicBezTo>
                      <a:cubicBezTo>
                        <a:pt x="10265" y="2588"/>
                        <a:pt x="10199" y="2631"/>
                        <a:pt x="10127" y="2717"/>
                      </a:cubicBezTo>
                      <a:cubicBezTo>
                        <a:pt x="10063" y="2801"/>
                        <a:pt x="10026" y="2844"/>
                        <a:pt x="10017" y="2844"/>
                      </a:cubicBezTo>
                      <a:cubicBezTo>
                        <a:pt x="9971" y="2844"/>
                        <a:pt x="9912" y="2828"/>
                        <a:pt x="9841" y="2796"/>
                      </a:cubicBezTo>
                      <a:cubicBezTo>
                        <a:pt x="9768" y="2764"/>
                        <a:pt x="9732" y="2735"/>
                        <a:pt x="9732" y="2710"/>
                      </a:cubicBezTo>
                      <a:cubicBezTo>
                        <a:pt x="9732" y="2683"/>
                        <a:pt x="9760" y="2653"/>
                        <a:pt x="9817" y="2621"/>
                      </a:cubicBezTo>
                      <a:cubicBezTo>
                        <a:pt x="9883" y="2584"/>
                        <a:pt x="9924" y="2549"/>
                        <a:pt x="9940" y="2515"/>
                      </a:cubicBezTo>
                      <a:cubicBezTo>
                        <a:pt x="9919" y="2512"/>
                        <a:pt x="9901" y="2507"/>
                        <a:pt x="9887" y="2502"/>
                      </a:cubicBezTo>
                      <a:cubicBezTo>
                        <a:pt x="9860" y="2496"/>
                        <a:pt x="9847" y="2485"/>
                        <a:pt x="9847" y="2472"/>
                      </a:cubicBezTo>
                      <a:cubicBezTo>
                        <a:pt x="9847" y="2469"/>
                        <a:pt x="9878" y="2432"/>
                        <a:pt x="9940" y="2363"/>
                      </a:cubicBezTo>
                      <a:cubicBezTo>
                        <a:pt x="10002" y="2293"/>
                        <a:pt x="10033" y="2236"/>
                        <a:pt x="10033" y="2194"/>
                      </a:cubicBezTo>
                      <a:cubicBezTo>
                        <a:pt x="10033" y="2167"/>
                        <a:pt x="10015" y="2153"/>
                        <a:pt x="9980" y="2153"/>
                      </a:cubicBezTo>
                      <a:cubicBezTo>
                        <a:pt x="9964" y="2153"/>
                        <a:pt x="9947" y="2156"/>
                        <a:pt x="9929" y="2161"/>
                      </a:cubicBezTo>
                      <a:cubicBezTo>
                        <a:pt x="9911" y="2166"/>
                        <a:pt x="9899" y="2169"/>
                        <a:pt x="9892" y="2169"/>
                      </a:cubicBezTo>
                      <a:cubicBezTo>
                        <a:pt x="9847" y="2159"/>
                        <a:pt x="9815" y="2153"/>
                        <a:pt x="9793" y="2153"/>
                      </a:cubicBezTo>
                      <a:cubicBezTo>
                        <a:pt x="9775" y="2153"/>
                        <a:pt x="9761" y="2169"/>
                        <a:pt x="9751" y="2199"/>
                      </a:cubicBezTo>
                      <a:cubicBezTo>
                        <a:pt x="9736" y="2238"/>
                        <a:pt x="9716" y="2266"/>
                        <a:pt x="9689" y="2282"/>
                      </a:cubicBezTo>
                      <a:cubicBezTo>
                        <a:pt x="9668" y="2296"/>
                        <a:pt x="9647" y="2319"/>
                        <a:pt x="9625" y="2353"/>
                      </a:cubicBezTo>
                      <a:cubicBezTo>
                        <a:pt x="9604" y="2389"/>
                        <a:pt x="9587" y="2410"/>
                        <a:pt x="9575" y="2416"/>
                      </a:cubicBezTo>
                      <a:cubicBezTo>
                        <a:pt x="9541" y="2428"/>
                        <a:pt x="9516" y="2437"/>
                        <a:pt x="9500" y="2444"/>
                      </a:cubicBezTo>
                      <a:cubicBezTo>
                        <a:pt x="9473" y="2454"/>
                        <a:pt x="9454" y="2473"/>
                        <a:pt x="9441" y="2500"/>
                      </a:cubicBezTo>
                      <a:cubicBezTo>
                        <a:pt x="9432" y="2520"/>
                        <a:pt x="9427" y="2552"/>
                        <a:pt x="9425" y="2596"/>
                      </a:cubicBezTo>
                      <a:cubicBezTo>
                        <a:pt x="9425" y="2614"/>
                        <a:pt x="9405" y="2624"/>
                        <a:pt x="9364" y="2624"/>
                      </a:cubicBezTo>
                      <a:cubicBezTo>
                        <a:pt x="9241" y="2624"/>
                        <a:pt x="9180" y="2496"/>
                        <a:pt x="9180" y="2239"/>
                      </a:cubicBezTo>
                      <a:cubicBezTo>
                        <a:pt x="9180" y="2138"/>
                        <a:pt x="9202" y="2031"/>
                        <a:pt x="9246" y="1916"/>
                      </a:cubicBezTo>
                      <a:cubicBezTo>
                        <a:pt x="9289" y="1801"/>
                        <a:pt x="9310" y="1718"/>
                        <a:pt x="9310" y="1666"/>
                      </a:cubicBezTo>
                      <a:cubicBezTo>
                        <a:pt x="9310" y="1588"/>
                        <a:pt x="9309" y="1541"/>
                        <a:pt x="9305" y="1524"/>
                      </a:cubicBezTo>
                      <a:cubicBezTo>
                        <a:pt x="9291" y="1455"/>
                        <a:pt x="9252" y="1421"/>
                        <a:pt x="9188" y="1421"/>
                      </a:cubicBezTo>
                      <a:cubicBezTo>
                        <a:pt x="9127" y="1421"/>
                        <a:pt x="9097" y="1452"/>
                        <a:pt x="9097" y="1514"/>
                      </a:cubicBezTo>
                      <a:cubicBezTo>
                        <a:pt x="9097" y="1529"/>
                        <a:pt x="9100" y="1547"/>
                        <a:pt x="9105" y="1567"/>
                      </a:cubicBezTo>
                      <a:cubicBezTo>
                        <a:pt x="9110" y="1586"/>
                        <a:pt x="9113" y="1603"/>
                        <a:pt x="9113" y="1620"/>
                      </a:cubicBezTo>
                      <a:cubicBezTo>
                        <a:pt x="9113" y="1644"/>
                        <a:pt x="9104" y="1664"/>
                        <a:pt x="9086" y="1681"/>
                      </a:cubicBezTo>
                      <a:cubicBezTo>
                        <a:pt x="9069" y="1698"/>
                        <a:pt x="9047" y="1706"/>
                        <a:pt x="9022" y="1706"/>
                      </a:cubicBezTo>
                      <a:lnTo>
                        <a:pt x="8972" y="1696"/>
                      </a:lnTo>
                      <a:cubicBezTo>
                        <a:pt x="8913" y="1696"/>
                        <a:pt x="8875" y="1714"/>
                        <a:pt x="8857" y="1749"/>
                      </a:cubicBezTo>
                      <a:cubicBezTo>
                        <a:pt x="8834" y="1796"/>
                        <a:pt x="8768" y="1836"/>
                        <a:pt x="8660" y="1868"/>
                      </a:cubicBezTo>
                      <a:lnTo>
                        <a:pt x="8534" y="1868"/>
                      </a:lnTo>
                      <a:cubicBezTo>
                        <a:pt x="8540" y="1849"/>
                        <a:pt x="8554" y="1827"/>
                        <a:pt x="8577" y="1800"/>
                      </a:cubicBezTo>
                      <a:cubicBezTo>
                        <a:pt x="8591" y="1784"/>
                        <a:pt x="8615" y="1760"/>
                        <a:pt x="8649" y="1726"/>
                      </a:cubicBezTo>
                      <a:lnTo>
                        <a:pt x="8380" y="1721"/>
                      </a:lnTo>
                      <a:cubicBezTo>
                        <a:pt x="8246" y="1721"/>
                        <a:pt x="8115" y="1765"/>
                        <a:pt x="7985" y="1853"/>
                      </a:cubicBezTo>
                      <a:cubicBezTo>
                        <a:pt x="7855" y="1939"/>
                        <a:pt x="7788" y="1982"/>
                        <a:pt x="7782" y="1982"/>
                      </a:cubicBezTo>
                      <a:cubicBezTo>
                        <a:pt x="7772" y="1978"/>
                        <a:pt x="7765" y="1977"/>
                        <a:pt x="7761" y="1977"/>
                      </a:cubicBezTo>
                      <a:cubicBezTo>
                        <a:pt x="7834" y="1896"/>
                        <a:pt x="7870" y="1844"/>
                        <a:pt x="7870" y="1822"/>
                      </a:cubicBezTo>
                      <a:lnTo>
                        <a:pt x="7865" y="1784"/>
                      </a:lnTo>
                      <a:lnTo>
                        <a:pt x="7838" y="1784"/>
                      </a:lnTo>
                      <a:cubicBezTo>
                        <a:pt x="7828" y="1793"/>
                        <a:pt x="7809" y="1801"/>
                        <a:pt x="7782" y="1810"/>
                      </a:cubicBezTo>
                      <a:cubicBezTo>
                        <a:pt x="7761" y="1816"/>
                        <a:pt x="7745" y="1820"/>
                        <a:pt x="7734" y="1820"/>
                      </a:cubicBezTo>
                      <a:cubicBezTo>
                        <a:pt x="7731" y="1769"/>
                        <a:pt x="7712" y="1744"/>
                        <a:pt x="7678" y="1744"/>
                      </a:cubicBezTo>
                      <a:cubicBezTo>
                        <a:pt x="7653" y="1744"/>
                        <a:pt x="7620" y="1756"/>
                        <a:pt x="7577" y="1779"/>
                      </a:cubicBezTo>
                      <a:cubicBezTo>
                        <a:pt x="7532" y="1803"/>
                        <a:pt x="7491" y="1815"/>
                        <a:pt x="7452" y="1815"/>
                      </a:cubicBezTo>
                      <a:cubicBezTo>
                        <a:pt x="7398" y="1805"/>
                        <a:pt x="7361" y="1800"/>
                        <a:pt x="7340" y="1800"/>
                      </a:cubicBezTo>
                      <a:cubicBezTo>
                        <a:pt x="7309" y="1801"/>
                        <a:pt x="7284" y="1802"/>
                        <a:pt x="7265" y="1802"/>
                      </a:cubicBezTo>
                      <a:cubicBezTo>
                        <a:pt x="7224" y="1799"/>
                        <a:pt x="7204" y="1790"/>
                        <a:pt x="7204" y="1774"/>
                      </a:cubicBezTo>
                      <a:cubicBezTo>
                        <a:pt x="7204" y="1741"/>
                        <a:pt x="7236" y="1720"/>
                        <a:pt x="7300" y="1711"/>
                      </a:cubicBezTo>
                      <a:cubicBezTo>
                        <a:pt x="7333" y="1706"/>
                        <a:pt x="7378" y="1703"/>
                        <a:pt x="7433" y="1701"/>
                      </a:cubicBezTo>
                      <a:cubicBezTo>
                        <a:pt x="7440" y="1699"/>
                        <a:pt x="7481" y="1685"/>
                        <a:pt x="7556" y="1658"/>
                      </a:cubicBezTo>
                      <a:cubicBezTo>
                        <a:pt x="7636" y="1631"/>
                        <a:pt x="7697" y="1618"/>
                        <a:pt x="7740" y="1618"/>
                      </a:cubicBezTo>
                      <a:cubicBezTo>
                        <a:pt x="7765" y="1618"/>
                        <a:pt x="7799" y="1630"/>
                        <a:pt x="7844" y="1656"/>
                      </a:cubicBezTo>
                      <a:cubicBezTo>
                        <a:pt x="7888" y="1679"/>
                        <a:pt x="7934" y="1691"/>
                        <a:pt x="7982" y="1691"/>
                      </a:cubicBezTo>
                      <a:cubicBezTo>
                        <a:pt x="8029" y="1691"/>
                        <a:pt x="8080" y="1684"/>
                        <a:pt x="8137" y="1671"/>
                      </a:cubicBezTo>
                      <a:lnTo>
                        <a:pt x="8281" y="1635"/>
                      </a:lnTo>
                      <a:cubicBezTo>
                        <a:pt x="8308" y="1630"/>
                        <a:pt x="8379" y="1621"/>
                        <a:pt x="8494" y="1608"/>
                      </a:cubicBezTo>
                      <a:cubicBezTo>
                        <a:pt x="8598" y="1589"/>
                        <a:pt x="8649" y="1559"/>
                        <a:pt x="8649" y="1517"/>
                      </a:cubicBezTo>
                      <a:cubicBezTo>
                        <a:pt x="8649" y="1498"/>
                        <a:pt x="8644" y="1480"/>
                        <a:pt x="8633" y="1463"/>
                      </a:cubicBezTo>
                      <a:cubicBezTo>
                        <a:pt x="8619" y="1442"/>
                        <a:pt x="8601" y="1431"/>
                        <a:pt x="8580" y="1431"/>
                      </a:cubicBezTo>
                      <a:cubicBezTo>
                        <a:pt x="8512" y="1449"/>
                        <a:pt x="8474" y="1458"/>
                        <a:pt x="8465" y="1458"/>
                      </a:cubicBezTo>
                      <a:cubicBezTo>
                        <a:pt x="8440" y="1458"/>
                        <a:pt x="8416" y="1439"/>
                        <a:pt x="8393" y="1400"/>
                      </a:cubicBezTo>
                      <a:cubicBezTo>
                        <a:pt x="8370" y="1360"/>
                        <a:pt x="8337" y="1340"/>
                        <a:pt x="8294" y="1340"/>
                      </a:cubicBezTo>
                      <a:cubicBezTo>
                        <a:pt x="8239" y="1340"/>
                        <a:pt x="8189" y="1354"/>
                        <a:pt x="8142" y="1383"/>
                      </a:cubicBezTo>
                      <a:lnTo>
                        <a:pt x="8073" y="1426"/>
                      </a:lnTo>
                      <a:cubicBezTo>
                        <a:pt x="8066" y="1426"/>
                        <a:pt x="8055" y="1417"/>
                        <a:pt x="8041" y="1400"/>
                      </a:cubicBezTo>
                      <a:cubicBezTo>
                        <a:pt x="8027" y="1383"/>
                        <a:pt x="8013" y="1375"/>
                        <a:pt x="8001" y="1375"/>
                      </a:cubicBezTo>
                      <a:cubicBezTo>
                        <a:pt x="7999" y="1375"/>
                        <a:pt x="7973" y="1387"/>
                        <a:pt x="7921" y="1410"/>
                      </a:cubicBezTo>
                      <a:cubicBezTo>
                        <a:pt x="7868" y="1432"/>
                        <a:pt x="7829" y="1443"/>
                        <a:pt x="7804" y="1443"/>
                      </a:cubicBezTo>
                      <a:cubicBezTo>
                        <a:pt x="7788" y="1443"/>
                        <a:pt x="7760" y="1432"/>
                        <a:pt x="7721" y="1410"/>
                      </a:cubicBezTo>
                      <a:cubicBezTo>
                        <a:pt x="7682" y="1387"/>
                        <a:pt x="7652" y="1375"/>
                        <a:pt x="7630" y="1375"/>
                      </a:cubicBezTo>
                      <a:cubicBezTo>
                        <a:pt x="7611" y="1375"/>
                        <a:pt x="7585" y="1396"/>
                        <a:pt x="7553" y="1438"/>
                      </a:cubicBezTo>
                      <a:cubicBezTo>
                        <a:pt x="7523" y="1416"/>
                        <a:pt x="7502" y="1405"/>
                        <a:pt x="7492" y="1405"/>
                      </a:cubicBezTo>
                      <a:cubicBezTo>
                        <a:pt x="7463" y="1405"/>
                        <a:pt x="7427" y="1426"/>
                        <a:pt x="7382" y="1466"/>
                      </a:cubicBezTo>
                      <a:cubicBezTo>
                        <a:pt x="7338" y="1505"/>
                        <a:pt x="7306" y="1524"/>
                        <a:pt x="7286" y="1524"/>
                      </a:cubicBezTo>
                      <a:cubicBezTo>
                        <a:pt x="7123" y="1494"/>
                        <a:pt x="7030" y="1479"/>
                        <a:pt x="7009" y="1479"/>
                      </a:cubicBezTo>
                      <a:cubicBezTo>
                        <a:pt x="6993" y="1479"/>
                        <a:pt x="6968" y="1484"/>
                        <a:pt x="6934" y="1494"/>
                      </a:cubicBezTo>
                      <a:cubicBezTo>
                        <a:pt x="6900" y="1504"/>
                        <a:pt x="6871" y="1509"/>
                        <a:pt x="6846" y="1509"/>
                      </a:cubicBezTo>
                      <a:cubicBezTo>
                        <a:pt x="6834" y="1509"/>
                        <a:pt x="6821" y="1506"/>
                        <a:pt x="6809" y="1499"/>
                      </a:cubicBezTo>
                      <a:cubicBezTo>
                        <a:pt x="6795" y="1492"/>
                        <a:pt x="6782" y="1489"/>
                        <a:pt x="6771" y="1489"/>
                      </a:cubicBezTo>
                      <a:cubicBezTo>
                        <a:pt x="6722" y="1489"/>
                        <a:pt x="6692" y="1557"/>
                        <a:pt x="6683" y="1694"/>
                      </a:cubicBezTo>
                      <a:cubicBezTo>
                        <a:pt x="6675" y="1830"/>
                        <a:pt x="6657" y="1898"/>
                        <a:pt x="6630" y="1898"/>
                      </a:cubicBezTo>
                      <a:cubicBezTo>
                        <a:pt x="6582" y="1898"/>
                        <a:pt x="6558" y="1847"/>
                        <a:pt x="6558" y="1744"/>
                      </a:cubicBezTo>
                      <a:cubicBezTo>
                        <a:pt x="6558" y="1732"/>
                        <a:pt x="6561" y="1716"/>
                        <a:pt x="6566" y="1696"/>
                      </a:cubicBezTo>
                      <a:cubicBezTo>
                        <a:pt x="6571" y="1676"/>
                        <a:pt x="6574" y="1661"/>
                        <a:pt x="6574" y="1653"/>
                      </a:cubicBezTo>
                      <a:cubicBezTo>
                        <a:pt x="6574" y="1640"/>
                        <a:pt x="6548" y="1614"/>
                        <a:pt x="6497" y="1577"/>
                      </a:cubicBezTo>
                      <a:cubicBezTo>
                        <a:pt x="6443" y="1538"/>
                        <a:pt x="6404" y="1519"/>
                        <a:pt x="6379" y="1519"/>
                      </a:cubicBezTo>
                      <a:cubicBezTo>
                        <a:pt x="6376" y="1519"/>
                        <a:pt x="6370" y="1522"/>
                        <a:pt x="6361" y="1529"/>
                      </a:cubicBezTo>
                      <a:cubicBezTo>
                        <a:pt x="6350" y="1538"/>
                        <a:pt x="6345" y="1547"/>
                        <a:pt x="6345" y="1557"/>
                      </a:cubicBezTo>
                      <a:cubicBezTo>
                        <a:pt x="6345" y="1560"/>
                        <a:pt x="6347" y="1572"/>
                        <a:pt x="6353" y="1592"/>
                      </a:cubicBezTo>
                      <a:cubicBezTo>
                        <a:pt x="6358" y="1616"/>
                        <a:pt x="6361" y="1639"/>
                        <a:pt x="6361" y="1661"/>
                      </a:cubicBezTo>
                      <a:cubicBezTo>
                        <a:pt x="6348" y="1681"/>
                        <a:pt x="6339" y="1691"/>
                        <a:pt x="6331" y="1691"/>
                      </a:cubicBezTo>
                      <a:cubicBezTo>
                        <a:pt x="6312" y="1691"/>
                        <a:pt x="6296" y="1673"/>
                        <a:pt x="6283" y="1638"/>
                      </a:cubicBezTo>
                      <a:cubicBezTo>
                        <a:pt x="6275" y="1594"/>
                        <a:pt x="6267" y="1564"/>
                        <a:pt x="6262" y="1547"/>
                      </a:cubicBezTo>
                      <a:cubicBezTo>
                        <a:pt x="6250" y="1500"/>
                        <a:pt x="6241" y="1470"/>
                        <a:pt x="6235" y="1458"/>
                      </a:cubicBezTo>
                      <a:cubicBezTo>
                        <a:pt x="6225" y="1431"/>
                        <a:pt x="6210" y="1409"/>
                        <a:pt x="6190" y="1390"/>
                      </a:cubicBezTo>
                      <a:cubicBezTo>
                        <a:pt x="6185" y="1385"/>
                        <a:pt x="6172" y="1375"/>
                        <a:pt x="6153" y="1360"/>
                      </a:cubicBezTo>
                      <a:cubicBezTo>
                        <a:pt x="6130" y="1343"/>
                        <a:pt x="6098" y="1319"/>
                        <a:pt x="6057" y="1289"/>
                      </a:cubicBezTo>
                      <a:cubicBezTo>
                        <a:pt x="6002" y="1249"/>
                        <a:pt x="5966" y="1212"/>
                        <a:pt x="5950" y="1180"/>
                      </a:cubicBezTo>
                      <a:cubicBezTo>
                        <a:pt x="5850" y="978"/>
                        <a:pt x="5807" y="812"/>
                        <a:pt x="5819" y="682"/>
                      </a:cubicBezTo>
                      <a:cubicBezTo>
                        <a:pt x="5830" y="551"/>
                        <a:pt x="5828" y="471"/>
                        <a:pt x="5814" y="442"/>
                      </a:cubicBezTo>
                      <a:cubicBezTo>
                        <a:pt x="5802" y="419"/>
                        <a:pt x="5756" y="370"/>
                        <a:pt x="5678" y="296"/>
                      </a:cubicBezTo>
                      <a:cubicBezTo>
                        <a:pt x="5641" y="260"/>
                        <a:pt x="5611" y="227"/>
                        <a:pt x="5590" y="197"/>
                      </a:cubicBezTo>
                      <a:cubicBezTo>
                        <a:pt x="5588" y="194"/>
                        <a:pt x="5572" y="168"/>
                        <a:pt x="5542" y="119"/>
                      </a:cubicBezTo>
                      <a:cubicBezTo>
                        <a:pt x="5505" y="85"/>
                        <a:pt x="5486" y="58"/>
                        <a:pt x="5486" y="38"/>
                      </a:cubicBezTo>
                      <a:cubicBezTo>
                        <a:pt x="5486" y="23"/>
                        <a:pt x="5485" y="10"/>
                        <a:pt x="5483" y="0"/>
                      </a:cubicBezTo>
                      <a:lnTo>
                        <a:pt x="3" y="6450"/>
                      </a:lnTo>
                      <a:cubicBezTo>
                        <a:pt x="1" y="6454"/>
                        <a:pt x="0" y="6461"/>
                        <a:pt x="0" y="6473"/>
                      </a:cubicBezTo>
                      <a:cubicBezTo>
                        <a:pt x="0" y="6498"/>
                        <a:pt x="12" y="6532"/>
                        <a:pt x="37" y="6574"/>
                      </a:cubicBezTo>
                      <a:cubicBezTo>
                        <a:pt x="60" y="6615"/>
                        <a:pt x="79" y="6635"/>
                        <a:pt x="93" y="6635"/>
                      </a:cubicBezTo>
                      <a:cubicBezTo>
                        <a:pt x="104" y="6635"/>
                        <a:pt x="116" y="6632"/>
                        <a:pt x="131" y="6627"/>
                      </a:cubicBezTo>
                      <a:cubicBezTo>
                        <a:pt x="145" y="6622"/>
                        <a:pt x="156" y="6620"/>
                        <a:pt x="165" y="6620"/>
                      </a:cubicBezTo>
                      <a:cubicBezTo>
                        <a:pt x="222" y="6620"/>
                        <a:pt x="254" y="6651"/>
                        <a:pt x="261" y="6713"/>
                      </a:cubicBezTo>
                      <a:cubicBezTo>
                        <a:pt x="268" y="6774"/>
                        <a:pt x="286" y="6804"/>
                        <a:pt x="315" y="6804"/>
                      </a:cubicBezTo>
                      <a:cubicBezTo>
                        <a:pt x="318" y="6804"/>
                        <a:pt x="356" y="6782"/>
                        <a:pt x="429" y="6739"/>
                      </a:cubicBezTo>
                      <a:cubicBezTo>
                        <a:pt x="474" y="6739"/>
                        <a:pt x="556" y="6802"/>
                        <a:pt x="677" y="6928"/>
                      </a:cubicBezTo>
                      <a:cubicBezTo>
                        <a:pt x="677" y="6945"/>
                        <a:pt x="653" y="6977"/>
                        <a:pt x="605" y="7024"/>
                      </a:cubicBezTo>
                      <a:cubicBezTo>
                        <a:pt x="577" y="7051"/>
                        <a:pt x="557" y="7084"/>
                        <a:pt x="547" y="7123"/>
                      </a:cubicBezTo>
                      <a:cubicBezTo>
                        <a:pt x="536" y="7153"/>
                        <a:pt x="531" y="7187"/>
                        <a:pt x="531" y="7224"/>
                      </a:cubicBezTo>
                      <a:lnTo>
                        <a:pt x="536" y="7487"/>
                      </a:lnTo>
                      <a:cubicBezTo>
                        <a:pt x="536" y="7552"/>
                        <a:pt x="538" y="7596"/>
                        <a:pt x="541" y="7618"/>
                      </a:cubicBezTo>
                      <a:cubicBezTo>
                        <a:pt x="549" y="7670"/>
                        <a:pt x="567" y="7697"/>
                        <a:pt x="597" y="7697"/>
                      </a:cubicBezTo>
                      <a:cubicBezTo>
                        <a:pt x="619" y="7697"/>
                        <a:pt x="636" y="7687"/>
                        <a:pt x="648" y="7669"/>
                      </a:cubicBezTo>
                      <a:cubicBezTo>
                        <a:pt x="662" y="7649"/>
                        <a:pt x="674" y="7638"/>
                        <a:pt x="683" y="7638"/>
                      </a:cubicBezTo>
                      <a:cubicBezTo>
                        <a:pt x="706" y="7638"/>
                        <a:pt x="729" y="7686"/>
                        <a:pt x="752" y="7782"/>
                      </a:cubicBezTo>
                      <a:cubicBezTo>
                        <a:pt x="752" y="7794"/>
                        <a:pt x="721" y="7804"/>
                        <a:pt x="659" y="7813"/>
                      </a:cubicBezTo>
                      <a:cubicBezTo>
                        <a:pt x="595" y="7823"/>
                        <a:pt x="563" y="7843"/>
                        <a:pt x="563" y="7873"/>
                      </a:cubicBezTo>
                      <a:cubicBezTo>
                        <a:pt x="563" y="7890"/>
                        <a:pt x="571" y="7911"/>
                        <a:pt x="587" y="7934"/>
                      </a:cubicBezTo>
                      <a:cubicBezTo>
                        <a:pt x="603" y="7958"/>
                        <a:pt x="611" y="7977"/>
                        <a:pt x="611" y="7992"/>
                      </a:cubicBezTo>
                      <a:cubicBezTo>
                        <a:pt x="611" y="8024"/>
                        <a:pt x="597" y="8063"/>
                        <a:pt x="571" y="8109"/>
                      </a:cubicBezTo>
                      <a:cubicBezTo>
                        <a:pt x="544" y="8154"/>
                        <a:pt x="531" y="8205"/>
                        <a:pt x="531" y="8263"/>
                      </a:cubicBezTo>
                      <a:cubicBezTo>
                        <a:pt x="531" y="8281"/>
                        <a:pt x="536" y="8292"/>
                        <a:pt x="547" y="8296"/>
                      </a:cubicBezTo>
                      <a:lnTo>
                        <a:pt x="584" y="8296"/>
                      </a:lnTo>
                      <a:cubicBezTo>
                        <a:pt x="632" y="8296"/>
                        <a:pt x="705" y="8296"/>
                        <a:pt x="803" y="8296"/>
                      </a:cubicBezTo>
                      <a:cubicBezTo>
                        <a:pt x="888" y="8294"/>
                        <a:pt x="961" y="8285"/>
                        <a:pt x="1021" y="8270"/>
                      </a:cubicBezTo>
                      <a:cubicBezTo>
                        <a:pt x="1061" y="8260"/>
                        <a:pt x="1111" y="8231"/>
                        <a:pt x="1173" y="8182"/>
                      </a:cubicBezTo>
                      <a:cubicBezTo>
                        <a:pt x="1182" y="8177"/>
                        <a:pt x="1206" y="8148"/>
                        <a:pt x="1245" y="8096"/>
                      </a:cubicBezTo>
                      <a:cubicBezTo>
                        <a:pt x="1276" y="8055"/>
                        <a:pt x="1311" y="8035"/>
                        <a:pt x="1352" y="8035"/>
                      </a:cubicBezTo>
                      <a:cubicBezTo>
                        <a:pt x="1356" y="8035"/>
                        <a:pt x="1378" y="8045"/>
                        <a:pt x="1419" y="8066"/>
                      </a:cubicBezTo>
                      <a:cubicBezTo>
                        <a:pt x="1458" y="8086"/>
                        <a:pt x="1485" y="8096"/>
                        <a:pt x="1502" y="8096"/>
                      </a:cubicBezTo>
                      <a:lnTo>
                        <a:pt x="1640" y="8076"/>
                      </a:lnTo>
                      <a:cubicBezTo>
                        <a:pt x="1708" y="8076"/>
                        <a:pt x="1750" y="8094"/>
                        <a:pt x="1768" y="8131"/>
                      </a:cubicBezTo>
                      <a:cubicBezTo>
                        <a:pt x="1779" y="8153"/>
                        <a:pt x="1784" y="8201"/>
                        <a:pt x="1784" y="8275"/>
                      </a:cubicBezTo>
                      <a:lnTo>
                        <a:pt x="1768" y="8323"/>
                      </a:lnTo>
                      <a:cubicBezTo>
                        <a:pt x="1768" y="8340"/>
                        <a:pt x="1774" y="8358"/>
                        <a:pt x="1784" y="8376"/>
                      </a:cubicBezTo>
                      <a:cubicBezTo>
                        <a:pt x="1802" y="8403"/>
                        <a:pt x="1794" y="8487"/>
                        <a:pt x="1760" y="8627"/>
                      </a:cubicBezTo>
                      <a:cubicBezTo>
                        <a:pt x="1760" y="8628"/>
                        <a:pt x="1760" y="8633"/>
                        <a:pt x="1760" y="8639"/>
                      </a:cubicBezTo>
                      <a:cubicBezTo>
                        <a:pt x="1758" y="8658"/>
                        <a:pt x="1758" y="8692"/>
                        <a:pt x="1758" y="8743"/>
                      </a:cubicBezTo>
                      <a:cubicBezTo>
                        <a:pt x="1758" y="8765"/>
                        <a:pt x="1766" y="8853"/>
                        <a:pt x="1784" y="9006"/>
                      </a:cubicBezTo>
                      <a:cubicBezTo>
                        <a:pt x="1784" y="9034"/>
                        <a:pt x="1790" y="9089"/>
                        <a:pt x="1800" y="9170"/>
                      </a:cubicBezTo>
                      <a:cubicBezTo>
                        <a:pt x="1811" y="9249"/>
                        <a:pt x="1816" y="9296"/>
                        <a:pt x="1816" y="9312"/>
                      </a:cubicBezTo>
                      <a:lnTo>
                        <a:pt x="1784" y="9779"/>
                      </a:lnTo>
                      <a:lnTo>
                        <a:pt x="1795" y="9908"/>
                      </a:lnTo>
                      <a:lnTo>
                        <a:pt x="1784" y="10138"/>
                      </a:lnTo>
                      <a:lnTo>
                        <a:pt x="1795" y="10262"/>
                      </a:lnTo>
                      <a:cubicBezTo>
                        <a:pt x="1795" y="10314"/>
                        <a:pt x="1790" y="10362"/>
                        <a:pt x="1779" y="10406"/>
                      </a:cubicBezTo>
                      <a:lnTo>
                        <a:pt x="1790" y="10497"/>
                      </a:lnTo>
                      <a:cubicBezTo>
                        <a:pt x="1790" y="10526"/>
                        <a:pt x="1782" y="10565"/>
                        <a:pt x="1768" y="10613"/>
                      </a:cubicBezTo>
                      <a:lnTo>
                        <a:pt x="1790" y="10669"/>
                      </a:lnTo>
                      <a:cubicBezTo>
                        <a:pt x="1790" y="10689"/>
                        <a:pt x="1777" y="10710"/>
                        <a:pt x="1752" y="10732"/>
                      </a:cubicBezTo>
                      <a:cubicBezTo>
                        <a:pt x="1726" y="10754"/>
                        <a:pt x="1712" y="10789"/>
                        <a:pt x="1712" y="10838"/>
                      </a:cubicBezTo>
                      <a:cubicBezTo>
                        <a:pt x="1712" y="10864"/>
                        <a:pt x="1718" y="10893"/>
                        <a:pt x="1728" y="10927"/>
                      </a:cubicBezTo>
                      <a:cubicBezTo>
                        <a:pt x="1737" y="10962"/>
                        <a:pt x="1742" y="10984"/>
                        <a:pt x="1742" y="10993"/>
                      </a:cubicBezTo>
                      <a:cubicBezTo>
                        <a:pt x="1742" y="11013"/>
                        <a:pt x="1732" y="11041"/>
                        <a:pt x="1712" y="11076"/>
                      </a:cubicBezTo>
                      <a:cubicBezTo>
                        <a:pt x="1691" y="11113"/>
                        <a:pt x="1680" y="11151"/>
                        <a:pt x="1680" y="11190"/>
                      </a:cubicBezTo>
                      <a:cubicBezTo>
                        <a:pt x="1680" y="11198"/>
                        <a:pt x="1686" y="11202"/>
                        <a:pt x="1699" y="11202"/>
                      </a:cubicBezTo>
                      <a:cubicBezTo>
                        <a:pt x="1702" y="11228"/>
                        <a:pt x="1704" y="11265"/>
                        <a:pt x="1704" y="11314"/>
                      </a:cubicBezTo>
                      <a:cubicBezTo>
                        <a:pt x="1710" y="11366"/>
                        <a:pt x="1731" y="11408"/>
                        <a:pt x="1768" y="11440"/>
                      </a:cubicBezTo>
                      <a:cubicBezTo>
                        <a:pt x="1774" y="11445"/>
                        <a:pt x="1817" y="11469"/>
                        <a:pt x="1899" y="11513"/>
                      </a:cubicBezTo>
                      <a:cubicBezTo>
                        <a:pt x="1952" y="11544"/>
                        <a:pt x="1986" y="11578"/>
                        <a:pt x="2000" y="11617"/>
                      </a:cubicBezTo>
                      <a:cubicBezTo>
                        <a:pt x="2002" y="11624"/>
                        <a:pt x="2015" y="11667"/>
                        <a:pt x="2040" y="11748"/>
                      </a:cubicBezTo>
                      <a:cubicBezTo>
                        <a:pt x="2056" y="11806"/>
                        <a:pt x="2077" y="11858"/>
                        <a:pt x="2102" y="11905"/>
                      </a:cubicBezTo>
                      <a:cubicBezTo>
                        <a:pt x="2110" y="11920"/>
                        <a:pt x="2142" y="11954"/>
                        <a:pt x="2195" y="12006"/>
                      </a:cubicBezTo>
                      <a:cubicBezTo>
                        <a:pt x="2241" y="12050"/>
                        <a:pt x="2264" y="12085"/>
                        <a:pt x="2264" y="12112"/>
                      </a:cubicBezTo>
                      <a:cubicBezTo>
                        <a:pt x="2264" y="12122"/>
                        <a:pt x="2230" y="12186"/>
                        <a:pt x="2163" y="12304"/>
                      </a:cubicBezTo>
                      <a:cubicBezTo>
                        <a:pt x="2086" y="12434"/>
                        <a:pt x="2045" y="12507"/>
                        <a:pt x="2038" y="12524"/>
                      </a:cubicBezTo>
                      <a:cubicBezTo>
                        <a:pt x="2009" y="12587"/>
                        <a:pt x="1990" y="12645"/>
                        <a:pt x="1979" y="12699"/>
                      </a:cubicBezTo>
                      <a:cubicBezTo>
                        <a:pt x="1975" y="12717"/>
                        <a:pt x="1951" y="12738"/>
                        <a:pt x="1907" y="12762"/>
                      </a:cubicBezTo>
                      <a:cubicBezTo>
                        <a:pt x="1862" y="12784"/>
                        <a:pt x="1838" y="12802"/>
                        <a:pt x="1835" y="12817"/>
                      </a:cubicBezTo>
                      <a:cubicBezTo>
                        <a:pt x="1837" y="12824"/>
                        <a:pt x="1838" y="12831"/>
                        <a:pt x="1838" y="12838"/>
                      </a:cubicBezTo>
                      <a:cubicBezTo>
                        <a:pt x="1838" y="12849"/>
                        <a:pt x="1820" y="12869"/>
                        <a:pt x="1784" y="12896"/>
                      </a:cubicBezTo>
                      <a:cubicBezTo>
                        <a:pt x="1742" y="12928"/>
                        <a:pt x="1718" y="12947"/>
                        <a:pt x="1712" y="12954"/>
                      </a:cubicBezTo>
                      <a:cubicBezTo>
                        <a:pt x="1702" y="12964"/>
                        <a:pt x="1692" y="12994"/>
                        <a:pt x="1683" y="13045"/>
                      </a:cubicBezTo>
                      <a:cubicBezTo>
                        <a:pt x="1674" y="13090"/>
                        <a:pt x="1664" y="13113"/>
                        <a:pt x="1654" y="13113"/>
                      </a:cubicBezTo>
                      <a:cubicBezTo>
                        <a:pt x="1645" y="13113"/>
                        <a:pt x="1633" y="13104"/>
                        <a:pt x="1619" y="13085"/>
                      </a:cubicBezTo>
                      <a:cubicBezTo>
                        <a:pt x="1605" y="13067"/>
                        <a:pt x="1594" y="13058"/>
                        <a:pt x="1587" y="13058"/>
                      </a:cubicBezTo>
                      <a:cubicBezTo>
                        <a:pt x="1571" y="13058"/>
                        <a:pt x="1537" y="13078"/>
                        <a:pt x="1485" y="13118"/>
                      </a:cubicBezTo>
                      <a:cubicBezTo>
                        <a:pt x="1432" y="13160"/>
                        <a:pt x="1405" y="13190"/>
                        <a:pt x="1405" y="13207"/>
                      </a:cubicBezTo>
                      <a:cubicBezTo>
                        <a:pt x="1405" y="13213"/>
                        <a:pt x="1411" y="13226"/>
                        <a:pt x="1421" y="13245"/>
                      </a:cubicBezTo>
                      <a:cubicBezTo>
                        <a:pt x="1432" y="13263"/>
                        <a:pt x="1437" y="13277"/>
                        <a:pt x="1437" y="13288"/>
                      </a:cubicBezTo>
                      <a:cubicBezTo>
                        <a:pt x="1437" y="13296"/>
                        <a:pt x="1431" y="13306"/>
                        <a:pt x="1419" y="13318"/>
                      </a:cubicBezTo>
                      <a:cubicBezTo>
                        <a:pt x="1406" y="13331"/>
                        <a:pt x="1400" y="13348"/>
                        <a:pt x="1400" y="13368"/>
                      </a:cubicBezTo>
                      <a:cubicBezTo>
                        <a:pt x="1400" y="13412"/>
                        <a:pt x="1433" y="13447"/>
                        <a:pt x="1499" y="13472"/>
                      </a:cubicBezTo>
                      <a:cubicBezTo>
                        <a:pt x="1563" y="13499"/>
                        <a:pt x="1595" y="13523"/>
                        <a:pt x="1595" y="13545"/>
                      </a:cubicBezTo>
                      <a:cubicBezTo>
                        <a:pt x="1595" y="13562"/>
                        <a:pt x="1582" y="13571"/>
                        <a:pt x="1555" y="13571"/>
                      </a:cubicBezTo>
                      <a:cubicBezTo>
                        <a:pt x="1525" y="13564"/>
                        <a:pt x="1505" y="13561"/>
                        <a:pt x="1496" y="13561"/>
                      </a:cubicBezTo>
                      <a:cubicBezTo>
                        <a:pt x="1477" y="13561"/>
                        <a:pt x="1461" y="13569"/>
                        <a:pt x="1448" y="13586"/>
                      </a:cubicBezTo>
                      <a:cubicBezTo>
                        <a:pt x="1437" y="13601"/>
                        <a:pt x="1432" y="13619"/>
                        <a:pt x="1432" y="13639"/>
                      </a:cubicBezTo>
                      <a:cubicBezTo>
                        <a:pt x="1432" y="13646"/>
                        <a:pt x="1443" y="13684"/>
                        <a:pt x="1464" y="13753"/>
                      </a:cubicBezTo>
                      <a:cubicBezTo>
                        <a:pt x="1484" y="13828"/>
                        <a:pt x="1494" y="13889"/>
                        <a:pt x="1494" y="13935"/>
                      </a:cubicBezTo>
                      <a:cubicBezTo>
                        <a:pt x="1494" y="13962"/>
                        <a:pt x="1500" y="13997"/>
                        <a:pt x="1512" y="14041"/>
                      </a:cubicBezTo>
                      <a:cubicBezTo>
                        <a:pt x="1519" y="14064"/>
                        <a:pt x="1529" y="14100"/>
                        <a:pt x="1542" y="14147"/>
                      </a:cubicBezTo>
                      <a:cubicBezTo>
                        <a:pt x="1550" y="14187"/>
                        <a:pt x="1568" y="14216"/>
                        <a:pt x="1595" y="14233"/>
                      </a:cubicBezTo>
                      <a:cubicBezTo>
                        <a:pt x="1623" y="14250"/>
                        <a:pt x="1644" y="14264"/>
                        <a:pt x="1656" y="14276"/>
                      </a:cubicBezTo>
                      <a:cubicBezTo>
                        <a:pt x="1658" y="14278"/>
                        <a:pt x="1660" y="14279"/>
                        <a:pt x="1662" y="14281"/>
                      </a:cubicBezTo>
                      <a:cubicBezTo>
                        <a:pt x="1663" y="14283"/>
                        <a:pt x="1665" y="14284"/>
                        <a:pt x="1667" y="14286"/>
                      </a:cubicBezTo>
                      <a:cubicBezTo>
                        <a:pt x="1681" y="14303"/>
                        <a:pt x="1688" y="14319"/>
                        <a:pt x="1688" y="14334"/>
                      </a:cubicBezTo>
                      <a:cubicBezTo>
                        <a:pt x="1688" y="14344"/>
                        <a:pt x="1677" y="14359"/>
                        <a:pt x="1654" y="14380"/>
                      </a:cubicBezTo>
                      <a:cubicBezTo>
                        <a:pt x="1629" y="14401"/>
                        <a:pt x="1616" y="14413"/>
                        <a:pt x="1616" y="14415"/>
                      </a:cubicBezTo>
                      <a:cubicBezTo>
                        <a:pt x="1614" y="14420"/>
                        <a:pt x="1608" y="14439"/>
                        <a:pt x="1598" y="14473"/>
                      </a:cubicBezTo>
                      <a:cubicBezTo>
                        <a:pt x="1589" y="14498"/>
                        <a:pt x="1579" y="14515"/>
                        <a:pt x="1568" y="14524"/>
                      </a:cubicBezTo>
                      <a:cubicBezTo>
                        <a:pt x="1517" y="14562"/>
                        <a:pt x="1486" y="14588"/>
                        <a:pt x="1477" y="14599"/>
                      </a:cubicBezTo>
                      <a:cubicBezTo>
                        <a:pt x="1454" y="14625"/>
                        <a:pt x="1443" y="14659"/>
                        <a:pt x="1443" y="14703"/>
                      </a:cubicBezTo>
                      <a:cubicBezTo>
                        <a:pt x="1443" y="14754"/>
                        <a:pt x="1461" y="14826"/>
                        <a:pt x="1496" y="14920"/>
                      </a:cubicBezTo>
                      <a:cubicBezTo>
                        <a:pt x="1496" y="14929"/>
                        <a:pt x="1490" y="14942"/>
                        <a:pt x="1477" y="14961"/>
                      </a:cubicBezTo>
                      <a:cubicBezTo>
                        <a:pt x="1465" y="14979"/>
                        <a:pt x="1459" y="14992"/>
                        <a:pt x="1459" y="14999"/>
                      </a:cubicBezTo>
                      <a:cubicBezTo>
                        <a:pt x="1459" y="15031"/>
                        <a:pt x="1502" y="15054"/>
                        <a:pt x="1587" y="15067"/>
                      </a:cubicBezTo>
                      <a:cubicBezTo>
                        <a:pt x="1672" y="15080"/>
                        <a:pt x="1715" y="15102"/>
                        <a:pt x="1715" y="15133"/>
                      </a:cubicBezTo>
                      <a:cubicBezTo>
                        <a:pt x="1715" y="15145"/>
                        <a:pt x="1703" y="15166"/>
                        <a:pt x="1680" y="15196"/>
                      </a:cubicBezTo>
                      <a:cubicBezTo>
                        <a:pt x="1657" y="15225"/>
                        <a:pt x="1646" y="15246"/>
                        <a:pt x="1646" y="15259"/>
                      </a:cubicBezTo>
                      <a:cubicBezTo>
                        <a:pt x="1646" y="15296"/>
                        <a:pt x="1697" y="15307"/>
                        <a:pt x="1800" y="15292"/>
                      </a:cubicBezTo>
                      <a:cubicBezTo>
                        <a:pt x="1839" y="15292"/>
                        <a:pt x="1859" y="15306"/>
                        <a:pt x="1859" y="15335"/>
                      </a:cubicBezTo>
                      <a:cubicBezTo>
                        <a:pt x="1859" y="15352"/>
                        <a:pt x="1846" y="15375"/>
                        <a:pt x="1822" y="15406"/>
                      </a:cubicBezTo>
                      <a:cubicBezTo>
                        <a:pt x="1797" y="15436"/>
                        <a:pt x="1787" y="15462"/>
                        <a:pt x="1792" y="15484"/>
                      </a:cubicBezTo>
                      <a:cubicBezTo>
                        <a:pt x="1796" y="15506"/>
                        <a:pt x="1791" y="15530"/>
                        <a:pt x="1779" y="15557"/>
                      </a:cubicBezTo>
                      <a:cubicBezTo>
                        <a:pt x="1770" y="15573"/>
                        <a:pt x="1755" y="15598"/>
                        <a:pt x="1734" y="15633"/>
                      </a:cubicBezTo>
                      <a:cubicBezTo>
                        <a:pt x="1716" y="15662"/>
                        <a:pt x="1690" y="15719"/>
                        <a:pt x="1656" y="15805"/>
                      </a:cubicBezTo>
                      <a:cubicBezTo>
                        <a:pt x="1626" y="15888"/>
                        <a:pt x="1611" y="15937"/>
                        <a:pt x="1611" y="15952"/>
                      </a:cubicBezTo>
                      <a:cubicBezTo>
                        <a:pt x="1611" y="15970"/>
                        <a:pt x="1619" y="15984"/>
                        <a:pt x="1635" y="15992"/>
                      </a:cubicBezTo>
                      <a:cubicBezTo>
                        <a:pt x="1646" y="15999"/>
                        <a:pt x="1658" y="16002"/>
                        <a:pt x="1672" y="16002"/>
                      </a:cubicBezTo>
                      <a:cubicBezTo>
                        <a:pt x="1695" y="16002"/>
                        <a:pt x="1720" y="15990"/>
                        <a:pt x="1747" y="15967"/>
                      </a:cubicBezTo>
                      <a:cubicBezTo>
                        <a:pt x="1772" y="15942"/>
                        <a:pt x="1793" y="15929"/>
                        <a:pt x="1811" y="15929"/>
                      </a:cubicBezTo>
                      <a:cubicBezTo>
                        <a:pt x="1823" y="15929"/>
                        <a:pt x="1834" y="15936"/>
                        <a:pt x="1843" y="15949"/>
                      </a:cubicBezTo>
                      <a:cubicBezTo>
                        <a:pt x="1850" y="15961"/>
                        <a:pt x="1854" y="15970"/>
                        <a:pt x="1854" y="15977"/>
                      </a:cubicBezTo>
                      <a:cubicBezTo>
                        <a:pt x="1854" y="15987"/>
                        <a:pt x="1837" y="16001"/>
                        <a:pt x="1803" y="16020"/>
                      </a:cubicBezTo>
                      <a:cubicBezTo>
                        <a:pt x="1767" y="16040"/>
                        <a:pt x="1750" y="16060"/>
                        <a:pt x="1750" y="16078"/>
                      </a:cubicBezTo>
                      <a:cubicBezTo>
                        <a:pt x="1750" y="16098"/>
                        <a:pt x="1756" y="16113"/>
                        <a:pt x="1768" y="16124"/>
                      </a:cubicBezTo>
                      <a:cubicBezTo>
                        <a:pt x="1781" y="16132"/>
                        <a:pt x="1787" y="16145"/>
                        <a:pt x="1787" y="16164"/>
                      </a:cubicBezTo>
                      <a:cubicBezTo>
                        <a:pt x="1787" y="16181"/>
                        <a:pt x="1781" y="16189"/>
                        <a:pt x="1768" y="16189"/>
                      </a:cubicBezTo>
                      <a:cubicBezTo>
                        <a:pt x="1742" y="16189"/>
                        <a:pt x="1714" y="16182"/>
                        <a:pt x="1686" y="16167"/>
                      </a:cubicBezTo>
                      <a:cubicBezTo>
                        <a:pt x="1657" y="16150"/>
                        <a:pt x="1638" y="16141"/>
                        <a:pt x="1627" y="16141"/>
                      </a:cubicBezTo>
                      <a:cubicBezTo>
                        <a:pt x="1609" y="16141"/>
                        <a:pt x="1589" y="16148"/>
                        <a:pt x="1565" y="16161"/>
                      </a:cubicBezTo>
                      <a:cubicBezTo>
                        <a:pt x="1553" y="16168"/>
                        <a:pt x="1540" y="16176"/>
                        <a:pt x="1525" y="16184"/>
                      </a:cubicBezTo>
                      <a:cubicBezTo>
                        <a:pt x="1533" y="16198"/>
                        <a:pt x="1555" y="16211"/>
                        <a:pt x="1592" y="16225"/>
                      </a:cubicBezTo>
                      <a:cubicBezTo>
                        <a:pt x="1630" y="16236"/>
                        <a:pt x="1651" y="16248"/>
                        <a:pt x="1656" y="16260"/>
                      </a:cubicBezTo>
                      <a:lnTo>
                        <a:pt x="1656" y="16283"/>
                      </a:lnTo>
                      <a:cubicBezTo>
                        <a:pt x="1649" y="16286"/>
                        <a:pt x="1635" y="16288"/>
                        <a:pt x="1614" y="16288"/>
                      </a:cubicBezTo>
                      <a:cubicBezTo>
                        <a:pt x="1599" y="16288"/>
                        <a:pt x="1586" y="16285"/>
                        <a:pt x="1574" y="16280"/>
                      </a:cubicBezTo>
                      <a:cubicBezTo>
                        <a:pt x="1559" y="16275"/>
                        <a:pt x="1547" y="16273"/>
                        <a:pt x="1536" y="16273"/>
                      </a:cubicBezTo>
                      <a:cubicBezTo>
                        <a:pt x="1499" y="16273"/>
                        <a:pt x="1480" y="16291"/>
                        <a:pt x="1480" y="16328"/>
                      </a:cubicBezTo>
                      <a:cubicBezTo>
                        <a:pt x="1480" y="16379"/>
                        <a:pt x="1499" y="16431"/>
                        <a:pt x="1536" y="16485"/>
                      </a:cubicBezTo>
                      <a:cubicBezTo>
                        <a:pt x="1558" y="16515"/>
                        <a:pt x="1597" y="16565"/>
                        <a:pt x="1654" y="16634"/>
                      </a:cubicBezTo>
                      <a:cubicBezTo>
                        <a:pt x="1657" y="16637"/>
                        <a:pt x="1661" y="16642"/>
                        <a:pt x="1664" y="16647"/>
                      </a:cubicBezTo>
                      <a:cubicBezTo>
                        <a:pt x="1684" y="16670"/>
                        <a:pt x="1697" y="16682"/>
                        <a:pt x="1704" y="16682"/>
                      </a:cubicBezTo>
                      <a:cubicBezTo>
                        <a:pt x="1711" y="16682"/>
                        <a:pt x="1720" y="16675"/>
                        <a:pt x="1731" y="16662"/>
                      </a:cubicBezTo>
                      <a:cubicBezTo>
                        <a:pt x="1742" y="16647"/>
                        <a:pt x="1750" y="16639"/>
                        <a:pt x="1755" y="16639"/>
                      </a:cubicBezTo>
                      <a:cubicBezTo>
                        <a:pt x="1766" y="16639"/>
                        <a:pt x="1791" y="16653"/>
                        <a:pt x="1832" y="16680"/>
                      </a:cubicBezTo>
                      <a:cubicBezTo>
                        <a:pt x="1873" y="16705"/>
                        <a:pt x="1905" y="16718"/>
                        <a:pt x="1928" y="16718"/>
                      </a:cubicBezTo>
                      <a:cubicBezTo>
                        <a:pt x="1948" y="16718"/>
                        <a:pt x="1974" y="16712"/>
                        <a:pt x="2008" y="16702"/>
                      </a:cubicBezTo>
                      <a:cubicBezTo>
                        <a:pt x="2042" y="16702"/>
                        <a:pt x="2070" y="16710"/>
                        <a:pt x="2094" y="16725"/>
                      </a:cubicBezTo>
                      <a:cubicBezTo>
                        <a:pt x="2147" y="16762"/>
                        <a:pt x="2174" y="16781"/>
                        <a:pt x="2176" y="16781"/>
                      </a:cubicBezTo>
                      <a:cubicBezTo>
                        <a:pt x="2153" y="16806"/>
                        <a:pt x="2122" y="16818"/>
                        <a:pt x="2083" y="16816"/>
                      </a:cubicBezTo>
                      <a:cubicBezTo>
                        <a:pt x="2083" y="16819"/>
                        <a:pt x="2081" y="16824"/>
                        <a:pt x="2078" y="16829"/>
                      </a:cubicBezTo>
                      <a:cubicBezTo>
                        <a:pt x="2078" y="16844"/>
                        <a:pt x="2091" y="16858"/>
                        <a:pt x="2118" y="16872"/>
                      </a:cubicBezTo>
                      <a:cubicBezTo>
                        <a:pt x="2142" y="16887"/>
                        <a:pt x="2155" y="16904"/>
                        <a:pt x="2155" y="16922"/>
                      </a:cubicBezTo>
                      <a:cubicBezTo>
                        <a:pt x="2155" y="16927"/>
                        <a:pt x="2151" y="16937"/>
                        <a:pt x="2144" y="16950"/>
                      </a:cubicBezTo>
                      <a:cubicBezTo>
                        <a:pt x="2135" y="16962"/>
                        <a:pt x="2131" y="16971"/>
                        <a:pt x="2131" y="16978"/>
                      </a:cubicBezTo>
                      <a:cubicBezTo>
                        <a:pt x="2131" y="16988"/>
                        <a:pt x="2140" y="17000"/>
                        <a:pt x="2158" y="17013"/>
                      </a:cubicBezTo>
                      <a:cubicBezTo>
                        <a:pt x="2174" y="17027"/>
                        <a:pt x="2182" y="17038"/>
                        <a:pt x="2182" y="17046"/>
                      </a:cubicBezTo>
                      <a:cubicBezTo>
                        <a:pt x="2182" y="17061"/>
                        <a:pt x="2166" y="17069"/>
                        <a:pt x="2134" y="17069"/>
                      </a:cubicBezTo>
                      <a:lnTo>
                        <a:pt x="2014" y="17059"/>
                      </a:lnTo>
                      <a:cubicBezTo>
                        <a:pt x="1983" y="17059"/>
                        <a:pt x="1968" y="17066"/>
                        <a:pt x="1968" y="17081"/>
                      </a:cubicBezTo>
                      <a:cubicBezTo>
                        <a:pt x="1968" y="17108"/>
                        <a:pt x="1993" y="17130"/>
                        <a:pt x="2043" y="17145"/>
                      </a:cubicBezTo>
                      <a:cubicBezTo>
                        <a:pt x="2070" y="17153"/>
                        <a:pt x="2103" y="17162"/>
                        <a:pt x="2144" y="17173"/>
                      </a:cubicBezTo>
                      <a:cubicBezTo>
                        <a:pt x="2158" y="17181"/>
                        <a:pt x="2181" y="17195"/>
                        <a:pt x="2211" y="17215"/>
                      </a:cubicBezTo>
                      <a:cubicBezTo>
                        <a:pt x="2239" y="17232"/>
                        <a:pt x="2263" y="17241"/>
                        <a:pt x="2283" y="17241"/>
                      </a:cubicBezTo>
                      <a:lnTo>
                        <a:pt x="2344" y="17231"/>
                      </a:lnTo>
                      <a:cubicBezTo>
                        <a:pt x="2346" y="17231"/>
                        <a:pt x="2364" y="17248"/>
                        <a:pt x="2398" y="17281"/>
                      </a:cubicBezTo>
                      <a:cubicBezTo>
                        <a:pt x="2435" y="17317"/>
                        <a:pt x="2467" y="17336"/>
                        <a:pt x="2494" y="17339"/>
                      </a:cubicBezTo>
                      <a:cubicBezTo>
                        <a:pt x="2547" y="17348"/>
                        <a:pt x="2579" y="17354"/>
                        <a:pt x="2590" y="17360"/>
                      </a:cubicBezTo>
                      <a:cubicBezTo>
                        <a:pt x="2620" y="17371"/>
                        <a:pt x="2635" y="17397"/>
                        <a:pt x="2635" y="17438"/>
                      </a:cubicBezTo>
                      <a:cubicBezTo>
                        <a:pt x="2635" y="17446"/>
                        <a:pt x="2631" y="17461"/>
                        <a:pt x="2624" y="17481"/>
                      </a:cubicBezTo>
                      <a:cubicBezTo>
                        <a:pt x="2624" y="17494"/>
                        <a:pt x="2637" y="17503"/>
                        <a:pt x="2662" y="17506"/>
                      </a:cubicBezTo>
                      <a:cubicBezTo>
                        <a:pt x="2663" y="17506"/>
                        <a:pt x="2681" y="17506"/>
                        <a:pt x="2715" y="17506"/>
                      </a:cubicBezTo>
                      <a:cubicBezTo>
                        <a:pt x="2726" y="17506"/>
                        <a:pt x="2735" y="17513"/>
                        <a:pt x="2744" y="17526"/>
                      </a:cubicBezTo>
                      <a:cubicBezTo>
                        <a:pt x="2751" y="17536"/>
                        <a:pt x="2755" y="17547"/>
                        <a:pt x="2755" y="17557"/>
                      </a:cubicBezTo>
                      <a:cubicBezTo>
                        <a:pt x="2755" y="17570"/>
                        <a:pt x="2750" y="17582"/>
                        <a:pt x="2739" y="17592"/>
                      </a:cubicBezTo>
                      <a:cubicBezTo>
                        <a:pt x="2727" y="17607"/>
                        <a:pt x="2718" y="17623"/>
                        <a:pt x="2712" y="17640"/>
                      </a:cubicBezTo>
                      <a:cubicBezTo>
                        <a:pt x="2711" y="17645"/>
                        <a:pt x="2710" y="17659"/>
                        <a:pt x="2710" y="17681"/>
                      </a:cubicBezTo>
                      <a:cubicBezTo>
                        <a:pt x="2710" y="17699"/>
                        <a:pt x="2707" y="17713"/>
                        <a:pt x="2702" y="17724"/>
                      </a:cubicBezTo>
                      <a:cubicBezTo>
                        <a:pt x="2691" y="17740"/>
                        <a:pt x="2670" y="17757"/>
                        <a:pt x="2638" y="17774"/>
                      </a:cubicBezTo>
                      <a:cubicBezTo>
                        <a:pt x="2615" y="17788"/>
                        <a:pt x="2603" y="17806"/>
                        <a:pt x="2603" y="17830"/>
                      </a:cubicBezTo>
                      <a:cubicBezTo>
                        <a:pt x="2603" y="17865"/>
                        <a:pt x="2623" y="17916"/>
                        <a:pt x="2662" y="17984"/>
                      </a:cubicBezTo>
                      <a:cubicBezTo>
                        <a:pt x="2706" y="18060"/>
                        <a:pt x="2747" y="18098"/>
                        <a:pt x="2784" y="18098"/>
                      </a:cubicBezTo>
                      <a:cubicBezTo>
                        <a:pt x="2822" y="18098"/>
                        <a:pt x="2856" y="18078"/>
                        <a:pt x="2888" y="18039"/>
                      </a:cubicBezTo>
                      <a:cubicBezTo>
                        <a:pt x="2922" y="17999"/>
                        <a:pt x="2957" y="17979"/>
                        <a:pt x="2992" y="17979"/>
                      </a:cubicBezTo>
                      <a:cubicBezTo>
                        <a:pt x="3007" y="17979"/>
                        <a:pt x="3012" y="17992"/>
                        <a:pt x="3008" y="18019"/>
                      </a:cubicBezTo>
                      <a:cubicBezTo>
                        <a:pt x="3008" y="18033"/>
                        <a:pt x="2999" y="18065"/>
                        <a:pt x="2979" y="18115"/>
                      </a:cubicBezTo>
                      <a:cubicBezTo>
                        <a:pt x="2979" y="18124"/>
                        <a:pt x="2989" y="18144"/>
                        <a:pt x="3008" y="18176"/>
                      </a:cubicBezTo>
                      <a:cubicBezTo>
                        <a:pt x="3026" y="18206"/>
                        <a:pt x="3035" y="18232"/>
                        <a:pt x="3035" y="18254"/>
                      </a:cubicBezTo>
                      <a:cubicBezTo>
                        <a:pt x="3035" y="18295"/>
                        <a:pt x="3028" y="18328"/>
                        <a:pt x="3014" y="18355"/>
                      </a:cubicBezTo>
                      <a:cubicBezTo>
                        <a:pt x="2999" y="18384"/>
                        <a:pt x="2992" y="18407"/>
                        <a:pt x="2992" y="18424"/>
                      </a:cubicBezTo>
                      <a:cubicBezTo>
                        <a:pt x="2992" y="18467"/>
                        <a:pt x="3011" y="18489"/>
                        <a:pt x="3048" y="18489"/>
                      </a:cubicBezTo>
                      <a:cubicBezTo>
                        <a:pt x="3063" y="18489"/>
                        <a:pt x="3097" y="18471"/>
                        <a:pt x="3152" y="18434"/>
                      </a:cubicBezTo>
                      <a:cubicBezTo>
                        <a:pt x="3208" y="18395"/>
                        <a:pt x="3246" y="18376"/>
                        <a:pt x="3267" y="18376"/>
                      </a:cubicBezTo>
                      <a:cubicBezTo>
                        <a:pt x="3299" y="18376"/>
                        <a:pt x="3315" y="18391"/>
                        <a:pt x="3315" y="18421"/>
                      </a:cubicBezTo>
                      <a:cubicBezTo>
                        <a:pt x="3315" y="18443"/>
                        <a:pt x="3296" y="18481"/>
                        <a:pt x="3256" y="18535"/>
                      </a:cubicBezTo>
                      <a:cubicBezTo>
                        <a:pt x="3216" y="18587"/>
                        <a:pt x="3195" y="18623"/>
                        <a:pt x="3195" y="18641"/>
                      </a:cubicBezTo>
                      <a:cubicBezTo>
                        <a:pt x="3195" y="18702"/>
                        <a:pt x="3239" y="18741"/>
                        <a:pt x="3328" y="18760"/>
                      </a:cubicBezTo>
                      <a:cubicBezTo>
                        <a:pt x="3417" y="18780"/>
                        <a:pt x="3462" y="18806"/>
                        <a:pt x="3462" y="18838"/>
                      </a:cubicBezTo>
                      <a:cubicBezTo>
                        <a:pt x="3462" y="18869"/>
                        <a:pt x="3440" y="18884"/>
                        <a:pt x="3398" y="18884"/>
                      </a:cubicBezTo>
                      <a:cubicBezTo>
                        <a:pt x="3385" y="18884"/>
                        <a:pt x="3365" y="18875"/>
                        <a:pt x="3336" y="18858"/>
                      </a:cubicBezTo>
                      <a:cubicBezTo>
                        <a:pt x="3308" y="18840"/>
                        <a:pt x="3283" y="18831"/>
                        <a:pt x="3262" y="18831"/>
                      </a:cubicBezTo>
                      <a:cubicBezTo>
                        <a:pt x="3232" y="18831"/>
                        <a:pt x="3216" y="18845"/>
                        <a:pt x="3216" y="18874"/>
                      </a:cubicBezTo>
                      <a:cubicBezTo>
                        <a:pt x="3216" y="18906"/>
                        <a:pt x="3226" y="18934"/>
                        <a:pt x="3246" y="18960"/>
                      </a:cubicBezTo>
                      <a:cubicBezTo>
                        <a:pt x="3256" y="18975"/>
                        <a:pt x="3283" y="19008"/>
                        <a:pt x="3326" y="19061"/>
                      </a:cubicBezTo>
                      <a:cubicBezTo>
                        <a:pt x="4339" y="19386"/>
                        <a:pt x="5368" y="19688"/>
                        <a:pt x="6411" y="19968"/>
                      </a:cubicBezTo>
                      <a:lnTo>
                        <a:pt x="6854" y="20079"/>
                      </a:lnTo>
                      <a:lnTo>
                        <a:pt x="7444" y="20226"/>
                      </a:lnTo>
                      <a:cubicBezTo>
                        <a:pt x="7675" y="20281"/>
                        <a:pt x="7892" y="20334"/>
                        <a:pt x="8094" y="20383"/>
                      </a:cubicBezTo>
                      <a:cubicBezTo>
                        <a:pt x="8571" y="20492"/>
                        <a:pt x="8968" y="20577"/>
                        <a:pt x="9286" y="20638"/>
                      </a:cubicBezTo>
                      <a:lnTo>
                        <a:pt x="10305" y="20795"/>
                      </a:lnTo>
                      <a:lnTo>
                        <a:pt x="11791" y="21025"/>
                      </a:lnTo>
                      <a:cubicBezTo>
                        <a:pt x="12500" y="21129"/>
                        <a:pt x="13128" y="21217"/>
                        <a:pt x="13674" y="21287"/>
                      </a:cubicBezTo>
                      <a:cubicBezTo>
                        <a:pt x="14275" y="21365"/>
                        <a:pt x="14774" y="21423"/>
                        <a:pt x="15173" y="21462"/>
                      </a:cubicBezTo>
                      <a:cubicBezTo>
                        <a:pt x="15334" y="21477"/>
                        <a:pt x="15480" y="21489"/>
                        <a:pt x="15610" y="21497"/>
                      </a:cubicBezTo>
                      <a:lnTo>
                        <a:pt x="16941" y="21550"/>
                      </a:lnTo>
                      <a:cubicBezTo>
                        <a:pt x="17209" y="21560"/>
                        <a:pt x="17449" y="21569"/>
                        <a:pt x="17661" y="21576"/>
                      </a:cubicBezTo>
                      <a:cubicBezTo>
                        <a:pt x="18191" y="21592"/>
                        <a:pt x="18547" y="21600"/>
                        <a:pt x="18730" y="21598"/>
                      </a:cubicBezTo>
                      <a:lnTo>
                        <a:pt x="18728" y="21186"/>
                      </a:lnTo>
                      <a:lnTo>
                        <a:pt x="18712" y="18386"/>
                      </a:lnTo>
                      <a:lnTo>
                        <a:pt x="21600" y="14963"/>
                      </a:lnTo>
                      <a:cubicBezTo>
                        <a:pt x="21458" y="14940"/>
                        <a:pt x="21365" y="14918"/>
                        <a:pt x="21323" y="14898"/>
                      </a:cubicBezTo>
                      <a:close/>
                      <a:moveTo>
                        <a:pt x="21323" y="1489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2" name="AutoShape 55"/>
                <p:cNvSpPr>
                  <a:spLocks/>
                </p:cNvSpPr>
                <p:nvPr/>
              </p:nvSpPr>
              <p:spPr bwMode="auto">
                <a:xfrm>
                  <a:off x="5023216" y="2086279"/>
                  <a:ext cx="143265" cy="240149"/>
                </a:xfrm>
                <a:custGeom>
                  <a:avLst/>
                  <a:gdLst/>
                  <a:ahLst/>
                  <a:cxnLst/>
                  <a:rect l="0" t="0" r="r" b="b"/>
                  <a:pathLst>
                    <a:path w="21600" h="21600">
                      <a:moveTo>
                        <a:pt x="19862" y="14690"/>
                      </a:moveTo>
                      <a:cubicBezTo>
                        <a:pt x="18517" y="13838"/>
                        <a:pt x="17627" y="13214"/>
                        <a:pt x="17193" y="12819"/>
                      </a:cubicBezTo>
                      <a:cubicBezTo>
                        <a:pt x="16800" y="12486"/>
                        <a:pt x="16634" y="12128"/>
                        <a:pt x="16696" y="11745"/>
                      </a:cubicBezTo>
                      <a:cubicBezTo>
                        <a:pt x="16717" y="11448"/>
                        <a:pt x="16603" y="11028"/>
                        <a:pt x="16355" y="10485"/>
                      </a:cubicBezTo>
                      <a:cubicBezTo>
                        <a:pt x="16024" y="9917"/>
                        <a:pt x="15817" y="9553"/>
                        <a:pt x="15734" y="9392"/>
                      </a:cubicBezTo>
                      <a:cubicBezTo>
                        <a:pt x="15610" y="9170"/>
                        <a:pt x="15548" y="8836"/>
                        <a:pt x="15548" y="8392"/>
                      </a:cubicBezTo>
                      <a:cubicBezTo>
                        <a:pt x="15548" y="7280"/>
                        <a:pt x="14865" y="6447"/>
                        <a:pt x="13500" y="5891"/>
                      </a:cubicBezTo>
                      <a:cubicBezTo>
                        <a:pt x="10955" y="4854"/>
                        <a:pt x="9445" y="4180"/>
                        <a:pt x="8969" y="3872"/>
                      </a:cubicBezTo>
                      <a:cubicBezTo>
                        <a:pt x="8079" y="3365"/>
                        <a:pt x="7376" y="2964"/>
                        <a:pt x="6859" y="2668"/>
                      </a:cubicBezTo>
                      <a:cubicBezTo>
                        <a:pt x="5886" y="2112"/>
                        <a:pt x="5255" y="1661"/>
                        <a:pt x="4965" y="1315"/>
                      </a:cubicBezTo>
                      <a:cubicBezTo>
                        <a:pt x="4821" y="1142"/>
                        <a:pt x="4541" y="957"/>
                        <a:pt x="4128" y="759"/>
                      </a:cubicBezTo>
                      <a:lnTo>
                        <a:pt x="3259" y="370"/>
                      </a:lnTo>
                      <a:cubicBezTo>
                        <a:pt x="2845" y="123"/>
                        <a:pt x="2204" y="0"/>
                        <a:pt x="1335" y="0"/>
                      </a:cubicBezTo>
                      <a:cubicBezTo>
                        <a:pt x="900" y="0"/>
                        <a:pt x="559" y="173"/>
                        <a:pt x="310" y="519"/>
                      </a:cubicBezTo>
                      <a:cubicBezTo>
                        <a:pt x="104" y="790"/>
                        <a:pt x="0" y="1068"/>
                        <a:pt x="0" y="1352"/>
                      </a:cubicBezTo>
                      <a:cubicBezTo>
                        <a:pt x="0" y="1525"/>
                        <a:pt x="124" y="1680"/>
                        <a:pt x="372" y="1815"/>
                      </a:cubicBezTo>
                      <a:cubicBezTo>
                        <a:pt x="600" y="1939"/>
                        <a:pt x="848" y="2001"/>
                        <a:pt x="1117" y="2001"/>
                      </a:cubicBezTo>
                      <a:cubicBezTo>
                        <a:pt x="1241" y="2001"/>
                        <a:pt x="1490" y="1933"/>
                        <a:pt x="1862" y="1797"/>
                      </a:cubicBezTo>
                      <a:cubicBezTo>
                        <a:pt x="2214" y="1661"/>
                        <a:pt x="2431" y="1593"/>
                        <a:pt x="2514" y="1593"/>
                      </a:cubicBezTo>
                      <a:lnTo>
                        <a:pt x="3010" y="1927"/>
                      </a:lnTo>
                      <a:cubicBezTo>
                        <a:pt x="3362" y="2161"/>
                        <a:pt x="3590" y="2291"/>
                        <a:pt x="3693" y="2316"/>
                      </a:cubicBezTo>
                      <a:cubicBezTo>
                        <a:pt x="4293" y="2464"/>
                        <a:pt x="4593" y="2711"/>
                        <a:pt x="4593" y="3057"/>
                      </a:cubicBezTo>
                      <a:cubicBezTo>
                        <a:pt x="4593" y="3168"/>
                        <a:pt x="4552" y="3297"/>
                        <a:pt x="4469" y="3446"/>
                      </a:cubicBezTo>
                      <a:cubicBezTo>
                        <a:pt x="4366" y="3606"/>
                        <a:pt x="4262" y="3687"/>
                        <a:pt x="4159" y="3687"/>
                      </a:cubicBezTo>
                      <a:cubicBezTo>
                        <a:pt x="3766" y="3687"/>
                        <a:pt x="3466" y="3557"/>
                        <a:pt x="3259" y="3297"/>
                      </a:cubicBezTo>
                      <a:cubicBezTo>
                        <a:pt x="3052" y="3026"/>
                        <a:pt x="2742" y="2890"/>
                        <a:pt x="2328" y="2890"/>
                      </a:cubicBezTo>
                      <a:cubicBezTo>
                        <a:pt x="2121" y="2890"/>
                        <a:pt x="1934" y="2939"/>
                        <a:pt x="1769" y="3038"/>
                      </a:cubicBezTo>
                      <a:cubicBezTo>
                        <a:pt x="1604" y="3125"/>
                        <a:pt x="1521" y="3223"/>
                        <a:pt x="1521" y="3334"/>
                      </a:cubicBezTo>
                      <a:cubicBezTo>
                        <a:pt x="1521" y="3470"/>
                        <a:pt x="1604" y="3612"/>
                        <a:pt x="1769" y="3761"/>
                      </a:cubicBezTo>
                      <a:cubicBezTo>
                        <a:pt x="1914" y="3909"/>
                        <a:pt x="1986" y="4020"/>
                        <a:pt x="1986" y="4094"/>
                      </a:cubicBezTo>
                      <a:cubicBezTo>
                        <a:pt x="1986" y="4205"/>
                        <a:pt x="1831" y="4310"/>
                        <a:pt x="1521" y="4409"/>
                      </a:cubicBezTo>
                      <a:cubicBezTo>
                        <a:pt x="1190" y="4495"/>
                        <a:pt x="1024" y="4607"/>
                        <a:pt x="1024" y="4742"/>
                      </a:cubicBezTo>
                      <a:cubicBezTo>
                        <a:pt x="1024" y="4841"/>
                        <a:pt x="1128" y="4928"/>
                        <a:pt x="1335" y="5002"/>
                      </a:cubicBezTo>
                      <a:cubicBezTo>
                        <a:pt x="1500" y="5064"/>
                        <a:pt x="1645" y="5094"/>
                        <a:pt x="1769" y="5094"/>
                      </a:cubicBezTo>
                      <a:cubicBezTo>
                        <a:pt x="1955" y="5094"/>
                        <a:pt x="2131" y="5057"/>
                        <a:pt x="2297" y="4983"/>
                      </a:cubicBezTo>
                      <a:cubicBezTo>
                        <a:pt x="2462" y="4897"/>
                        <a:pt x="2597" y="4854"/>
                        <a:pt x="2700" y="4854"/>
                      </a:cubicBezTo>
                      <a:cubicBezTo>
                        <a:pt x="3217" y="4854"/>
                        <a:pt x="3352" y="5125"/>
                        <a:pt x="3103" y="5669"/>
                      </a:cubicBezTo>
                      <a:cubicBezTo>
                        <a:pt x="3103" y="5755"/>
                        <a:pt x="3176" y="5829"/>
                        <a:pt x="3321" y="5891"/>
                      </a:cubicBezTo>
                      <a:cubicBezTo>
                        <a:pt x="3445" y="5940"/>
                        <a:pt x="3548" y="5965"/>
                        <a:pt x="3631" y="5965"/>
                      </a:cubicBezTo>
                      <a:lnTo>
                        <a:pt x="4252" y="5613"/>
                      </a:lnTo>
                      <a:cubicBezTo>
                        <a:pt x="4541" y="5613"/>
                        <a:pt x="4779" y="5693"/>
                        <a:pt x="4965" y="5854"/>
                      </a:cubicBezTo>
                      <a:cubicBezTo>
                        <a:pt x="5090" y="5965"/>
                        <a:pt x="5152" y="6058"/>
                        <a:pt x="5152" y="6132"/>
                      </a:cubicBezTo>
                      <a:cubicBezTo>
                        <a:pt x="5152" y="6206"/>
                        <a:pt x="5028" y="6348"/>
                        <a:pt x="4779" y="6558"/>
                      </a:cubicBezTo>
                      <a:cubicBezTo>
                        <a:pt x="4531" y="6756"/>
                        <a:pt x="4407" y="6965"/>
                        <a:pt x="4407" y="7188"/>
                      </a:cubicBezTo>
                      <a:cubicBezTo>
                        <a:pt x="4407" y="7324"/>
                        <a:pt x="4490" y="7435"/>
                        <a:pt x="4655" y="7521"/>
                      </a:cubicBezTo>
                      <a:cubicBezTo>
                        <a:pt x="4800" y="7595"/>
                        <a:pt x="4976" y="7632"/>
                        <a:pt x="5183" y="7632"/>
                      </a:cubicBezTo>
                      <a:lnTo>
                        <a:pt x="6021" y="7521"/>
                      </a:lnTo>
                      <a:cubicBezTo>
                        <a:pt x="6434" y="7521"/>
                        <a:pt x="6869" y="8102"/>
                        <a:pt x="7324" y="9263"/>
                      </a:cubicBezTo>
                      <a:cubicBezTo>
                        <a:pt x="7386" y="9584"/>
                        <a:pt x="7810" y="9769"/>
                        <a:pt x="8596" y="9818"/>
                      </a:cubicBezTo>
                      <a:cubicBezTo>
                        <a:pt x="9362" y="9868"/>
                        <a:pt x="9745" y="10003"/>
                        <a:pt x="9745" y="10226"/>
                      </a:cubicBezTo>
                      <a:cubicBezTo>
                        <a:pt x="9745" y="10349"/>
                        <a:pt x="9683" y="10423"/>
                        <a:pt x="9559" y="10448"/>
                      </a:cubicBezTo>
                      <a:lnTo>
                        <a:pt x="9031" y="10448"/>
                      </a:lnTo>
                      <a:cubicBezTo>
                        <a:pt x="8596" y="10448"/>
                        <a:pt x="8162" y="10386"/>
                        <a:pt x="7728" y="10263"/>
                      </a:cubicBezTo>
                      <a:cubicBezTo>
                        <a:pt x="7293" y="10127"/>
                        <a:pt x="7065" y="10059"/>
                        <a:pt x="7045" y="10059"/>
                      </a:cubicBezTo>
                      <a:cubicBezTo>
                        <a:pt x="6859" y="10059"/>
                        <a:pt x="6672" y="10115"/>
                        <a:pt x="6486" y="10226"/>
                      </a:cubicBezTo>
                      <a:cubicBezTo>
                        <a:pt x="6321" y="10325"/>
                        <a:pt x="6238" y="10405"/>
                        <a:pt x="6238" y="10467"/>
                      </a:cubicBezTo>
                      <a:cubicBezTo>
                        <a:pt x="6238" y="10788"/>
                        <a:pt x="6610" y="11078"/>
                        <a:pt x="7355" y="11337"/>
                      </a:cubicBezTo>
                      <a:cubicBezTo>
                        <a:pt x="8224" y="11646"/>
                        <a:pt x="8721" y="11881"/>
                        <a:pt x="8845" y="12041"/>
                      </a:cubicBezTo>
                      <a:cubicBezTo>
                        <a:pt x="8907" y="12115"/>
                        <a:pt x="9269" y="12412"/>
                        <a:pt x="9931" y="12930"/>
                      </a:cubicBezTo>
                      <a:cubicBezTo>
                        <a:pt x="10572" y="13461"/>
                        <a:pt x="10893" y="13820"/>
                        <a:pt x="10893" y="14005"/>
                      </a:cubicBezTo>
                      <a:cubicBezTo>
                        <a:pt x="10893" y="14042"/>
                        <a:pt x="10872" y="14091"/>
                        <a:pt x="10831" y="14153"/>
                      </a:cubicBezTo>
                      <a:cubicBezTo>
                        <a:pt x="10769" y="14227"/>
                        <a:pt x="10707" y="14264"/>
                        <a:pt x="10645" y="14264"/>
                      </a:cubicBezTo>
                      <a:lnTo>
                        <a:pt x="10241" y="14153"/>
                      </a:lnTo>
                      <a:lnTo>
                        <a:pt x="9683" y="14153"/>
                      </a:lnTo>
                      <a:lnTo>
                        <a:pt x="9620" y="14412"/>
                      </a:lnTo>
                      <a:cubicBezTo>
                        <a:pt x="9620" y="14672"/>
                        <a:pt x="10603" y="15005"/>
                        <a:pt x="12569" y="15413"/>
                      </a:cubicBezTo>
                      <a:cubicBezTo>
                        <a:pt x="12672" y="15413"/>
                        <a:pt x="12921" y="15376"/>
                        <a:pt x="13314" y="15302"/>
                      </a:cubicBezTo>
                      <a:cubicBezTo>
                        <a:pt x="13458" y="15302"/>
                        <a:pt x="13686" y="15388"/>
                        <a:pt x="13996" y="15561"/>
                      </a:cubicBezTo>
                      <a:cubicBezTo>
                        <a:pt x="14307" y="15734"/>
                        <a:pt x="14462" y="15864"/>
                        <a:pt x="14462" y="15950"/>
                      </a:cubicBezTo>
                      <a:cubicBezTo>
                        <a:pt x="14462" y="16049"/>
                        <a:pt x="14038" y="16148"/>
                        <a:pt x="13189" y="16246"/>
                      </a:cubicBezTo>
                      <a:cubicBezTo>
                        <a:pt x="13045" y="16296"/>
                        <a:pt x="12962" y="16401"/>
                        <a:pt x="12941" y="16561"/>
                      </a:cubicBezTo>
                      <a:cubicBezTo>
                        <a:pt x="12921" y="16635"/>
                        <a:pt x="12900" y="16771"/>
                        <a:pt x="12879" y="16969"/>
                      </a:cubicBezTo>
                      <a:cubicBezTo>
                        <a:pt x="12879" y="16994"/>
                        <a:pt x="12879" y="17018"/>
                        <a:pt x="12879" y="17043"/>
                      </a:cubicBezTo>
                      <a:cubicBezTo>
                        <a:pt x="12879" y="17055"/>
                        <a:pt x="12890" y="17080"/>
                        <a:pt x="12910" y="17117"/>
                      </a:cubicBezTo>
                      <a:cubicBezTo>
                        <a:pt x="13014" y="17290"/>
                        <a:pt x="13293" y="17525"/>
                        <a:pt x="13748" y="17821"/>
                      </a:cubicBezTo>
                      <a:cubicBezTo>
                        <a:pt x="14079" y="18019"/>
                        <a:pt x="14441" y="18241"/>
                        <a:pt x="14834" y="18488"/>
                      </a:cubicBezTo>
                      <a:cubicBezTo>
                        <a:pt x="15020" y="18698"/>
                        <a:pt x="15331" y="18920"/>
                        <a:pt x="15765" y="19155"/>
                      </a:cubicBezTo>
                      <a:cubicBezTo>
                        <a:pt x="16303" y="19439"/>
                        <a:pt x="16614" y="19612"/>
                        <a:pt x="16696" y="19674"/>
                      </a:cubicBezTo>
                      <a:cubicBezTo>
                        <a:pt x="16841" y="19772"/>
                        <a:pt x="17410" y="20223"/>
                        <a:pt x="18403" y="21026"/>
                      </a:cubicBezTo>
                      <a:cubicBezTo>
                        <a:pt x="19045" y="21409"/>
                        <a:pt x="19728" y="21600"/>
                        <a:pt x="20451" y="21600"/>
                      </a:cubicBezTo>
                      <a:cubicBezTo>
                        <a:pt x="21217" y="21600"/>
                        <a:pt x="21600" y="20847"/>
                        <a:pt x="21600" y="19340"/>
                      </a:cubicBezTo>
                      <a:lnTo>
                        <a:pt x="21538" y="17228"/>
                      </a:lnTo>
                      <a:cubicBezTo>
                        <a:pt x="21538" y="16389"/>
                        <a:pt x="20979" y="15543"/>
                        <a:pt x="19862" y="14690"/>
                      </a:cubicBezTo>
                      <a:close/>
                      <a:moveTo>
                        <a:pt x="19862" y="1469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3" name="AutoShape 56"/>
                <p:cNvSpPr>
                  <a:spLocks/>
                </p:cNvSpPr>
                <p:nvPr/>
              </p:nvSpPr>
              <p:spPr bwMode="auto">
                <a:xfrm>
                  <a:off x="5035584" y="1843038"/>
                  <a:ext cx="15460" cy="27313"/>
                </a:xfrm>
                <a:custGeom>
                  <a:avLst/>
                  <a:gdLst/>
                  <a:ahLst/>
                  <a:cxnLst/>
                  <a:rect l="0" t="0" r="r" b="b"/>
                  <a:pathLst>
                    <a:path w="21600" h="21600">
                      <a:moveTo>
                        <a:pt x="15346" y="3199"/>
                      </a:moveTo>
                      <a:cubicBezTo>
                        <a:pt x="14589" y="1066"/>
                        <a:pt x="12127" y="0"/>
                        <a:pt x="7958" y="0"/>
                      </a:cubicBezTo>
                      <a:cubicBezTo>
                        <a:pt x="5493" y="0"/>
                        <a:pt x="3506" y="641"/>
                        <a:pt x="1987" y="1920"/>
                      </a:cubicBezTo>
                      <a:cubicBezTo>
                        <a:pt x="663" y="2987"/>
                        <a:pt x="0" y="4106"/>
                        <a:pt x="0" y="5279"/>
                      </a:cubicBezTo>
                      <a:cubicBezTo>
                        <a:pt x="0" y="6133"/>
                        <a:pt x="3314" y="9067"/>
                        <a:pt x="9948" y="14080"/>
                      </a:cubicBezTo>
                      <a:cubicBezTo>
                        <a:pt x="10514" y="14507"/>
                        <a:pt x="11177" y="16107"/>
                        <a:pt x="11935" y="18881"/>
                      </a:cubicBezTo>
                      <a:cubicBezTo>
                        <a:pt x="12315" y="20695"/>
                        <a:pt x="14211" y="21600"/>
                        <a:pt x="17620" y="21600"/>
                      </a:cubicBezTo>
                      <a:cubicBezTo>
                        <a:pt x="20273" y="21600"/>
                        <a:pt x="21600" y="20588"/>
                        <a:pt x="21600" y="18560"/>
                      </a:cubicBezTo>
                      <a:cubicBezTo>
                        <a:pt x="21600" y="17387"/>
                        <a:pt x="20559" y="15894"/>
                        <a:pt x="18475" y="14080"/>
                      </a:cubicBezTo>
                      <a:cubicBezTo>
                        <a:pt x="16579" y="12160"/>
                        <a:pt x="15535" y="10400"/>
                        <a:pt x="15346" y="8799"/>
                      </a:cubicBezTo>
                      <a:cubicBezTo>
                        <a:pt x="15727" y="6347"/>
                        <a:pt x="15727" y="4479"/>
                        <a:pt x="15346" y="3199"/>
                      </a:cubicBezTo>
                      <a:close/>
                      <a:moveTo>
                        <a:pt x="15346" y="319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4" name="AutoShape 57"/>
                <p:cNvSpPr>
                  <a:spLocks/>
                </p:cNvSpPr>
                <p:nvPr/>
              </p:nvSpPr>
              <p:spPr bwMode="auto">
                <a:xfrm>
                  <a:off x="4940761" y="1867774"/>
                  <a:ext cx="30921" cy="81940"/>
                </a:xfrm>
                <a:custGeom>
                  <a:avLst/>
                  <a:gdLst/>
                  <a:ahLst/>
                  <a:cxnLst/>
                  <a:rect l="0" t="0" r="r" b="b"/>
                  <a:pathLst>
                    <a:path w="21600" h="21600">
                      <a:moveTo>
                        <a:pt x="15347" y="0"/>
                      </a:moveTo>
                      <a:cubicBezTo>
                        <a:pt x="14400" y="0"/>
                        <a:pt x="12552" y="72"/>
                        <a:pt x="9806" y="216"/>
                      </a:cubicBezTo>
                      <a:cubicBezTo>
                        <a:pt x="7152" y="360"/>
                        <a:pt x="5543" y="468"/>
                        <a:pt x="4974" y="540"/>
                      </a:cubicBezTo>
                      <a:cubicBezTo>
                        <a:pt x="4216" y="612"/>
                        <a:pt x="3221" y="1080"/>
                        <a:pt x="1990" y="1945"/>
                      </a:cubicBezTo>
                      <a:cubicBezTo>
                        <a:pt x="852" y="2736"/>
                        <a:pt x="284" y="3186"/>
                        <a:pt x="284" y="3295"/>
                      </a:cubicBezTo>
                      <a:cubicBezTo>
                        <a:pt x="284" y="3654"/>
                        <a:pt x="995" y="3942"/>
                        <a:pt x="2416" y="4158"/>
                      </a:cubicBezTo>
                      <a:cubicBezTo>
                        <a:pt x="3743" y="4338"/>
                        <a:pt x="4405" y="4608"/>
                        <a:pt x="4405" y="4968"/>
                      </a:cubicBezTo>
                      <a:cubicBezTo>
                        <a:pt x="4405" y="5112"/>
                        <a:pt x="3694" y="5382"/>
                        <a:pt x="2273" y="5778"/>
                      </a:cubicBezTo>
                      <a:cubicBezTo>
                        <a:pt x="758" y="6174"/>
                        <a:pt x="0" y="6516"/>
                        <a:pt x="0" y="6804"/>
                      </a:cubicBezTo>
                      <a:cubicBezTo>
                        <a:pt x="0" y="6912"/>
                        <a:pt x="379" y="7326"/>
                        <a:pt x="1137" y="8046"/>
                      </a:cubicBezTo>
                      <a:cubicBezTo>
                        <a:pt x="1894" y="8802"/>
                        <a:pt x="2273" y="9540"/>
                        <a:pt x="2273" y="10260"/>
                      </a:cubicBezTo>
                      <a:cubicBezTo>
                        <a:pt x="2273" y="10512"/>
                        <a:pt x="2984" y="11196"/>
                        <a:pt x="4405" y="12312"/>
                      </a:cubicBezTo>
                      <a:cubicBezTo>
                        <a:pt x="5731" y="13392"/>
                        <a:pt x="6395" y="14058"/>
                        <a:pt x="6395" y="14310"/>
                      </a:cubicBezTo>
                      <a:cubicBezTo>
                        <a:pt x="6395" y="14454"/>
                        <a:pt x="6205" y="14868"/>
                        <a:pt x="5826" y="15552"/>
                      </a:cubicBezTo>
                      <a:cubicBezTo>
                        <a:pt x="5447" y="16200"/>
                        <a:pt x="5258" y="16668"/>
                        <a:pt x="5258" y="16956"/>
                      </a:cubicBezTo>
                      <a:cubicBezTo>
                        <a:pt x="5258" y="17424"/>
                        <a:pt x="5637" y="18270"/>
                        <a:pt x="6395" y="19494"/>
                      </a:cubicBezTo>
                      <a:cubicBezTo>
                        <a:pt x="7247" y="20898"/>
                        <a:pt x="8053" y="21600"/>
                        <a:pt x="8811" y="21600"/>
                      </a:cubicBezTo>
                      <a:cubicBezTo>
                        <a:pt x="9663" y="21600"/>
                        <a:pt x="10232" y="21240"/>
                        <a:pt x="10516" y="20520"/>
                      </a:cubicBezTo>
                      <a:cubicBezTo>
                        <a:pt x="10516" y="20448"/>
                        <a:pt x="10563" y="20394"/>
                        <a:pt x="10658" y="20358"/>
                      </a:cubicBezTo>
                      <a:cubicBezTo>
                        <a:pt x="10848" y="19674"/>
                        <a:pt x="11227" y="19260"/>
                        <a:pt x="11794" y="19116"/>
                      </a:cubicBezTo>
                      <a:lnTo>
                        <a:pt x="11937" y="18684"/>
                      </a:lnTo>
                      <a:lnTo>
                        <a:pt x="11368" y="17064"/>
                      </a:lnTo>
                      <a:cubicBezTo>
                        <a:pt x="11368" y="15660"/>
                        <a:pt x="10279" y="14347"/>
                        <a:pt x="8100" y="13122"/>
                      </a:cubicBezTo>
                      <a:cubicBezTo>
                        <a:pt x="5826" y="11898"/>
                        <a:pt x="4689" y="10872"/>
                        <a:pt x="4689" y="10044"/>
                      </a:cubicBezTo>
                      <a:cubicBezTo>
                        <a:pt x="4689" y="9576"/>
                        <a:pt x="5164" y="9000"/>
                        <a:pt x="6110" y="8316"/>
                      </a:cubicBezTo>
                      <a:cubicBezTo>
                        <a:pt x="7247" y="7488"/>
                        <a:pt x="8479" y="7074"/>
                        <a:pt x="9806" y="7074"/>
                      </a:cubicBezTo>
                      <a:cubicBezTo>
                        <a:pt x="9994" y="7074"/>
                        <a:pt x="10563" y="7128"/>
                        <a:pt x="11510" y="7236"/>
                      </a:cubicBezTo>
                      <a:cubicBezTo>
                        <a:pt x="12458" y="7344"/>
                        <a:pt x="13263" y="7398"/>
                        <a:pt x="13926" y="7398"/>
                      </a:cubicBezTo>
                      <a:cubicBezTo>
                        <a:pt x="15916" y="7398"/>
                        <a:pt x="16911" y="7038"/>
                        <a:pt x="16911" y="6318"/>
                      </a:cubicBezTo>
                      <a:cubicBezTo>
                        <a:pt x="16911" y="5994"/>
                        <a:pt x="16152" y="5599"/>
                        <a:pt x="14636" y="5130"/>
                      </a:cubicBezTo>
                      <a:cubicBezTo>
                        <a:pt x="13027" y="4626"/>
                        <a:pt x="12220" y="4230"/>
                        <a:pt x="12220" y="3942"/>
                      </a:cubicBezTo>
                      <a:cubicBezTo>
                        <a:pt x="12220" y="3582"/>
                        <a:pt x="12648" y="3402"/>
                        <a:pt x="13500" y="3402"/>
                      </a:cubicBezTo>
                      <a:cubicBezTo>
                        <a:pt x="13879" y="3402"/>
                        <a:pt x="14636" y="3564"/>
                        <a:pt x="15773" y="3888"/>
                      </a:cubicBezTo>
                      <a:cubicBezTo>
                        <a:pt x="16911" y="4176"/>
                        <a:pt x="17904" y="4320"/>
                        <a:pt x="18758" y="4320"/>
                      </a:cubicBezTo>
                      <a:cubicBezTo>
                        <a:pt x="19421" y="4320"/>
                        <a:pt x="20085" y="4158"/>
                        <a:pt x="20747" y="3834"/>
                      </a:cubicBezTo>
                      <a:cubicBezTo>
                        <a:pt x="21316" y="3510"/>
                        <a:pt x="21600" y="3168"/>
                        <a:pt x="21600" y="2808"/>
                      </a:cubicBezTo>
                      <a:cubicBezTo>
                        <a:pt x="21600" y="2088"/>
                        <a:pt x="20937" y="1440"/>
                        <a:pt x="19610" y="864"/>
                      </a:cubicBezTo>
                      <a:cubicBezTo>
                        <a:pt x="18283" y="288"/>
                        <a:pt x="16862" y="0"/>
                        <a:pt x="15347" y="0"/>
                      </a:cubicBezTo>
                      <a:close/>
                      <a:moveTo>
                        <a:pt x="15347"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5" name="AutoShape 58"/>
                <p:cNvSpPr>
                  <a:spLocks/>
                </p:cNvSpPr>
                <p:nvPr/>
              </p:nvSpPr>
              <p:spPr bwMode="auto">
                <a:xfrm>
                  <a:off x="4944884" y="1793565"/>
                  <a:ext cx="55657" cy="70602"/>
                </a:xfrm>
                <a:custGeom>
                  <a:avLst/>
                  <a:gdLst/>
                  <a:ahLst/>
                  <a:cxnLst/>
                  <a:rect l="0" t="0" r="r" b="b"/>
                  <a:pathLst>
                    <a:path w="21600" h="21600">
                      <a:moveTo>
                        <a:pt x="20883" y="7746"/>
                      </a:moveTo>
                      <a:cubicBezTo>
                        <a:pt x="19289" y="7746"/>
                        <a:pt x="16712" y="8796"/>
                        <a:pt x="13151" y="10895"/>
                      </a:cubicBezTo>
                      <a:cubicBezTo>
                        <a:pt x="9591" y="12952"/>
                        <a:pt x="7599" y="13981"/>
                        <a:pt x="7174" y="13981"/>
                      </a:cubicBezTo>
                      <a:cubicBezTo>
                        <a:pt x="6961" y="13896"/>
                        <a:pt x="6801" y="13854"/>
                        <a:pt x="6695" y="13854"/>
                      </a:cubicBezTo>
                      <a:cubicBezTo>
                        <a:pt x="6907" y="13309"/>
                        <a:pt x="7014" y="12931"/>
                        <a:pt x="7014" y="12721"/>
                      </a:cubicBezTo>
                      <a:cubicBezTo>
                        <a:pt x="7014" y="12217"/>
                        <a:pt x="6695" y="11965"/>
                        <a:pt x="6057" y="11965"/>
                      </a:cubicBezTo>
                      <a:cubicBezTo>
                        <a:pt x="5154" y="12007"/>
                        <a:pt x="4543" y="11944"/>
                        <a:pt x="4224" y="11776"/>
                      </a:cubicBezTo>
                      <a:cubicBezTo>
                        <a:pt x="4277" y="11021"/>
                        <a:pt x="4915" y="10622"/>
                        <a:pt x="6138" y="10580"/>
                      </a:cubicBezTo>
                      <a:cubicBezTo>
                        <a:pt x="6881" y="10538"/>
                        <a:pt x="8210" y="10496"/>
                        <a:pt x="10123" y="10454"/>
                      </a:cubicBezTo>
                      <a:cubicBezTo>
                        <a:pt x="10760" y="10370"/>
                        <a:pt x="11504" y="9824"/>
                        <a:pt x="12354" y="8817"/>
                      </a:cubicBezTo>
                      <a:cubicBezTo>
                        <a:pt x="13151" y="7809"/>
                        <a:pt x="13550" y="6969"/>
                        <a:pt x="13550" y="6298"/>
                      </a:cubicBezTo>
                      <a:cubicBezTo>
                        <a:pt x="13550" y="6004"/>
                        <a:pt x="13443" y="5710"/>
                        <a:pt x="13231" y="5416"/>
                      </a:cubicBezTo>
                      <a:cubicBezTo>
                        <a:pt x="13018" y="5080"/>
                        <a:pt x="12753" y="4912"/>
                        <a:pt x="12434" y="4912"/>
                      </a:cubicBezTo>
                      <a:cubicBezTo>
                        <a:pt x="11903" y="4912"/>
                        <a:pt x="11026" y="5164"/>
                        <a:pt x="9804" y="5668"/>
                      </a:cubicBezTo>
                      <a:cubicBezTo>
                        <a:pt x="8635" y="6130"/>
                        <a:pt x="7997" y="6361"/>
                        <a:pt x="7890" y="6361"/>
                      </a:cubicBezTo>
                      <a:cubicBezTo>
                        <a:pt x="7678" y="6361"/>
                        <a:pt x="7439" y="6255"/>
                        <a:pt x="7174" y="6045"/>
                      </a:cubicBezTo>
                      <a:cubicBezTo>
                        <a:pt x="7174" y="5794"/>
                        <a:pt x="7599" y="5416"/>
                        <a:pt x="8449" y="4912"/>
                      </a:cubicBezTo>
                      <a:cubicBezTo>
                        <a:pt x="9246" y="4408"/>
                        <a:pt x="9644" y="3947"/>
                        <a:pt x="9644" y="3526"/>
                      </a:cubicBezTo>
                      <a:cubicBezTo>
                        <a:pt x="9644" y="2855"/>
                        <a:pt x="9033" y="2099"/>
                        <a:pt x="7811" y="1260"/>
                      </a:cubicBezTo>
                      <a:cubicBezTo>
                        <a:pt x="6642" y="420"/>
                        <a:pt x="5712" y="0"/>
                        <a:pt x="5021" y="0"/>
                      </a:cubicBezTo>
                      <a:cubicBezTo>
                        <a:pt x="4065" y="0"/>
                        <a:pt x="3135" y="420"/>
                        <a:pt x="2232" y="1260"/>
                      </a:cubicBezTo>
                      <a:cubicBezTo>
                        <a:pt x="1382" y="2057"/>
                        <a:pt x="957" y="2792"/>
                        <a:pt x="957" y="3464"/>
                      </a:cubicBezTo>
                      <a:lnTo>
                        <a:pt x="1275" y="5731"/>
                      </a:lnTo>
                      <a:cubicBezTo>
                        <a:pt x="1275" y="6234"/>
                        <a:pt x="1062" y="7074"/>
                        <a:pt x="637" y="8250"/>
                      </a:cubicBezTo>
                      <a:cubicBezTo>
                        <a:pt x="212" y="9383"/>
                        <a:pt x="0" y="10033"/>
                        <a:pt x="0" y="10202"/>
                      </a:cubicBezTo>
                      <a:cubicBezTo>
                        <a:pt x="0" y="11293"/>
                        <a:pt x="611" y="12490"/>
                        <a:pt x="1833" y="13791"/>
                      </a:cubicBezTo>
                      <a:cubicBezTo>
                        <a:pt x="3002" y="15051"/>
                        <a:pt x="3587" y="16017"/>
                        <a:pt x="3587" y="16689"/>
                      </a:cubicBezTo>
                      <a:cubicBezTo>
                        <a:pt x="3587" y="17360"/>
                        <a:pt x="3427" y="17696"/>
                        <a:pt x="3108" y="17696"/>
                      </a:cubicBezTo>
                      <a:cubicBezTo>
                        <a:pt x="2152" y="17360"/>
                        <a:pt x="1568" y="17192"/>
                        <a:pt x="1355" y="17192"/>
                      </a:cubicBezTo>
                      <a:cubicBezTo>
                        <a:pt x="664" y="17192"/>
                        <a:pt x="318" y="18010"/>
                        <a:pt x="318" y="19648"/>
                      </a:cubicBezTo>
                      <a:cubicBezTo>
                        <a:pt x="318" y="20194"/>
                        <a:pt x="478" y="20655"/>
                        <a:pt x="797" y="21033"/>
                      </a:cubicBezTo>
                      <a:cubicBezTo>
                        <a:pt x="1115" y="21411"/>
                        <a:pt x="1487" y="21600"/>
                        <a:pt x="1912" y="21600"/>
                      </a:cubicBezTo>
                      <a:cubicBezTo>
                        <a:pt x="2072" y="21600"/>
                        <a:pt x="2418" y="21495"/>
                        <a:pt x="2949" y="21286"/>
                      </a:cubicBezTo>
                      <a:cubicBezTo>
                        <a:pt x="3480" y="21033"/>
                        <a:pt x="3959" y="20908"/>
                        <a:pt x="4384" y="20908"/>
                      </a:cubicBezTo>
                      <a:cubicBezTo>
                        <a:pt x="5074" y="20908"/>
                        <a:pt x="5792" y="21054"/>
                        <a:pt x="6536" y="21348"/>
                      </a:cubicBezTo>
                      <a:cubicBezTo>
                        <a:pt x="6961" y="21348"/>
                        <a:pt x="7864" y="20865"/>
                        <a:pt x="9246" y="19900"/>
                      </a:cubicBezTo>
                      <a:cubicBezTo>
                        <a:pt x="10574" y="18934"/>
                        <a:pt x="11849" y="18178"/>
                        <a:pt x="13071" y="17633"/>
                      </a:cubicBezTo>
                      <a:cubicBezTo>
                        <a:pt x="14240" y="16710"/>
                        <a:pt x="15330" y="15806"/>
                        <a:pt x="16340" y="14925"/>
                      </a:cubicBezTo>
                      <a:cubicBezTo>
                        <a:pt x="19846" y="11944"/>
                        <a:pt x="21600" y="9761"/>
                        <a:pt x="21600" y="8375"/>
                      </a:cubicBezTo>
                      <a:cubicBezTo>
                        <a:pt x="21600" y="7956"/>
                        <a:pt x="21361" y="7746"/>
                        <a:pt x="20883" y="7746"/>
                      </a:cubicBezTo>
                      <a:close/>
                      <a:moveTo>
                        <a:pt x="20883" y="774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6" name="AutoShape 60"/>
                <p:cNvSpPr>
                  <a:spLocks/>
                </p:cNvSpPr>
                <p:nvPr/>
              </p:nvSpPr>
              <p:spPr bwMode="auto">
                <a:xfrm>
                  <a:off x="5027338" y="1871897"/>
                  <a:ext cx="17522" cy="42774"/>
                </a:xfrm>
                <a:custGeom>
                  <a:avLst/>
                  <a:gdLst/>
                  <a:ahLst/>
                  <a:cxnLst/>
                  <a:rect l="0" t="0" r="r" b="b"/>
                  <a:pathLst>
                    <a:path w="21600" h="21600">
                      <a:moveTo>
                        <a:pt x="0" y="2181"/>
                      </a:moveTo>
                      <a:cubicBezTo>
                        <a:pt x="1003" y="4257"/>
                        <a:pt x="3851" y="7027"/>
                        <a:pt x="8538" y="10488"/>
                      </a:cubicBezTo>
                      <a:cubicBezTo>
                        <a:pt x="9208" y="10973"/>
                        <a:pt x="9711" y="12634"/>
                        <a:pt x="10047" y="15472"/>
                      </a:cubicBezTo>
                      <a:cubicBezTo>
                        <a:pt x="10550" y="17758"/>
                        <a:pt x="12392" y="19349"/>
                        <a:pt x="15573" y="20250"/>
                      </a:cubicBezTo>
                      <a:cubicBezTo>
                        <a:pt x="15573" y="20319"/>
                        <a:pt x="15573" y="20388"/>
                        <a:pt x="15573" y="20457"/>
                      </a:cubicBezTo>
                      <a:cubicBezTo>
                        <a:pt x="16243" y="21080"/>
                        <a:pt x="17163" y="21461"/>
                        <a:pt x="18335" y="21600"/>
                      </a:cubicBezTo>
                      <a:cubicBezTo>
                        <a:pt x="20511" y="16961"/>
                        <a:pt x="21600" y="13915"/>
                        <a:pt x="21600" y="12461"/>
                      </a:cubicBezTo>
                      <a:cubicBezTo>
                        <a:pt x="21600" y="11492"/>
                        <a:pt x="18419" y="9312"/>
                        <a:pt x="12056" y="5919"/>
                      </a:cubicBezTo>
                      <a:cubicBezTo>
                        <a:pt x="7032" y="3219"/>
                        <a:pt x="3015" y="1245"/>
                        <a:pt x="0" y="0"/>
                      </a:cubicBezTo>
                      <a:cubicBezTo>
                        <a:pt x="0" y="0"/>
                        <a:pt x="0" y="2181"/>
                        <a:pt x="0" y="2181"/>
                      </a:cubicBezTo>
                      <a:close/>
                      <a:moveTo>
                        <a:pt x="0" y="218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7" name="AutoShape 61"/>
                <p:cNvSpPr>
                  <a:spLocks/>
                </p:cNvSpPr>
                <p:nvPr/>
              </p:nvSpPr>
              <p:spPr bwMode="auto">
                <a:xfrm>
                  <a:off x="5047952" y="1876019"/>
                  <a:ext cx="10822" cy="32467"/>
                </a:xfrm>
                <a:custGeom>
                  <a:avLst/>
                  <a:gdLst/>
                  <a:ahLst/>
                  <a:cxnLst/>
                  <a:rect l="0" t="0" r="r" b="b"/>
                  <a:pathLst>
                    <a:path w="21600" h="21600">
                      <a:moveTo>
                        <a:pt x="17198" y="16677"/>
                      </a:moveTo>
                      <a:cubicBezTo>
                        <a:pt x="19065" y="15584"/>
                        <a:pt x="20131" y="14855"/>
                        <a:pt x="20401" y="14492"/>
                      </a:cubicBezTo>
                      <a:cubicBezTo>
                        <a:pt x="21198" y="13853"/>
                        <a:pt x="21600" y="13124"/>
                        <a:pt x="21600" y="12304"/>
                      </a:cubicBezTo>
                      <a:cubicBezTo>
                        <a:pt x="21600" y="11302"/>
                        <a:pt x="19600" y="9251"/>
                        <a:pt x="15600" y="6152"/>
                      </a:cubicBezTo>
                      <a:cubicBezTo>
                        <a:pt x="12132" y="3691"/>
                        <a:pt x="8933" y="1640"/>
                        <a:pt x="6000" y="0"/>
                      </a:cubicBezTo>
                      <a:lnTo>
                        <a:pt x="1601" y="0"/>
                      </a:lnTo>
                      <a:cubicBezTo>
                        <a:pt x="535" y="1459"/>
                        <a:pt x="0" y="3054"/>
                        <a:pt x="0" y="4785"/>
                      </a:cubicBezTo>
                      <a:cubicBezTo>
                        <a:pt x="0" y="5422"/>
                        <a:pt x="402" y="6518"/>
                        <a:pt x="1199" y="8066"/>
                      </a:cubicBezTo>
                      <a:cubicBezTo>
                        <a:pt x="2000" y="9614"/>
                        <a:pt x="2402" y="10845"/>
                        <a:pt x="2402" y="11757"/>
                      </a:cubicBezTo>
                      <a:lnTo>
                        <a:pt x="801" y="15721"/>
                      </a:lnTo>
                      <a:lnTo>
                        <a:pt x="801" y="21326"/>
                      </a:lnTo>
                      <a:cubicBezTo>
                        <a:pt x="1336" y="21326"/>
                        <a:pt x="2402" y="21417"/>
                        <a:pt x="4000" y="21600"/>
                      </a:cubicBezTo>
                      <a:cubicBezTo>
                        <a:pt x="6933" y="21600"/>
                        <a:pt x="9734" y="20824"/>
                        <a:pt x="12401" y="19276"/>
                      </a:cubicBezTo>
                      <a:cubicBezTo>
                        <a:pt x="14265" y="18272"/>
                        <a:pt x="15866" y="17407"/>
                        <a:pt x="17198" y="16677"/>
                      </a:cubicBezTo>
                      <a:close/>
                      <a:moveTo>
                        <a:pt x="17198" y="1667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8" name="AutoShape 62"/>
                <p:cNvSpPr>
                  <a:spLocks/>
                </p:cNvSpPr>
                <p:nvPr/>
              </p:nvSpPr>
              <p:spPr bwMode="auto">
                <a:xfrm>
                  <a:off x="5047952" y="1941983"/>
                  <a:ext cx="7215" cy="26798"/>
                </a:xfrm>
                <a:custGeom>
                  <a:avLst/>
                  <a:gdLst/>
                  <a:ahLst/>
                  <a:cxnLst/>
                  <a:rect l="0" t="0" r="r" b="b"/>
                  <a:pathLst>
                    <a:path w="21600" h="21600">
                      <a:moveTo>
                        <a:pt x="11088" y="0"/>
                      </a:moveTo>
                      <a:cubicBezTo>
                        <a:pt x="3694" y="0"/>
                        <a:pt x="0" y="2638"/>
                        <a:pt x="0" y="7914"/>
                      </a:cubicBezTo>
                      <a:cubicBezTo>
                        <a:pt x="0" y="10663"/>
                        <a:pt x="1750" y="13628"/>
                        <a:pt x="5250" y="16819"/>
                      </a:cubicBezTo>
                      <a:cubicBezTo>
                        <a:pt x="7975" y="19126"/>
                        <a:pt x="10313" y="20720"/>
                        <a:pt x="12257" y="21600"/>
                      </a:cubicBezTo>
                      <a:cubicBezTo>
                        <a:pt x="15762" y="21379"/>
                        <a:pt x="17706" y="20225"/>
                        <a:pt x="18094" y="18137"/>
                      </a:cubicBezTo>
                      <a:cubicBezTo>
                        <a:pt x="18482" y="16600"/>
                        <a:pt x="18875" y="15388"/>
                        <a:pt x="19263" y="14508"/>
                      </a:cubicBezTo>
                      <a:cubicBezTo>
                        <a:pt x="19650" y="13850"/>
                        <a:pt x="20238" y="13412"/>
                        <a:pt x="21013" y="13190"/>
                      </a:cubicBezTo>
                      <a:lnTo>
                        <a:pt x="21600" y="7089"/>
                      </a:lnTo>
                      <a:cubicBezTo>
                        <a:pt x="21600" y="2362"/>
                        <a:pt x="18094" y="0"/>
                        <a:pt x="11088" y="0"/>
                      </a:cubicBezTo>
                      <a:close/>
                      <a:moveTo>
                        <a:pt x="11088"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89" name="AutoShape 63"/>
                <p:cNvSpPr>
                  <a:spLocks/>
                </p:cNvSpPr>
                <p:nvPr/>
              </p:nvSpPr>
              <p:spPr bwMode="auto">
                <a:xfrm>
                  <a:off x="6433191" y="243417"/>
                  <a:ext cx="38135" cy="52565"/>
                </a:xfrm>
                <a:custGeom>
                  <a:avLst/>
                  <a:gdLst/>
                  <a:ahLst/>
                  <a:cxnLst/>
                  <a:rect l="0" t="0" r="r" b="b"/>
                  <a:pathLst>
                    <a:path w="21600" h="21600">
                      <a:moveTo>
                        <a:pt x="2893" y="15885"/>
                      </a:moveTo>
                      <a:cubicBezTo>
                        <a:pt x="3589" y="15885"/>
                        <a:pt x="4438" y="15464"/>
                        <a:pt x="5437" y="14624"/>
                      </a:cubicBezTo>
                      <a:cubicBezTo>
                        <a:pt x="6441" y="13728"/>
                        <a:pt x="7254" y="13280"/>
                        <a:pt x="7869" y="13280"/>
                      </a:cubicBezTo>
                      <a:cubicBezTo>
                        <a:pt x="7946" y="13280"/>
                        <a:pt x="8992" y="13700"/>
                        <a:pt x="10994" y="14540"/>
                      </a:cubicBezTo>
                      <a:cubicBezTo>
                        <a:pt x="10918" y="14652"/>
                        <a:pt x="10339" y="15548"/>
                        <a:pt x="9259" y="17230"/>
                      </a:cubicBezTo>
                      <a:cubicBezTo>
                        <a:pt x="8332" y="18575"/>
                        <a:pt x="7869" y="19499"/>
                        <a:pt x="7869" y="20003"/>
                      </a:cubicBezTo>
                      <a:cubicBezTo>
                        <a:pt x="7869" y="21069"/>
                        <a:pt x="8721" y="21600"/>
                        <a:pt x="10416" y="21600"/>
                      </a:cubicBezTo>
                      <a:cubicBezTo>
                        <a:pt x="11496" y="21600"/>
                        <a:pt x="13426" y="20452"/>
                        <a:pt x="16201" y="18154"/>
                      </a:cubicBezTo>
                      <a:cubicBezTo>
                        <a:pt x="17128" y="17370"/>
                        <a:pt x="18556" y="16418"/>
                        <a:pt x="20481" y="15297"/>
                      </a:cubicBezTo>
                      <a:cubicBezTo>
                        <a:pt x="20908" y="15068"/>
                        <a:pt x="21261" y="14891"/>
                        <a:pt x="21600" y="14725"/>
                      </a:cubicBezTo>
                      <a:lnTo>
                        <a:pt x="20558" y="48"/>
                      </a:lnTo>
                      <a:cubicBezTo>
                        <a:pt x="20341" y="29"/>
                        <a:pt x="20129" y="0"/>
                        <a:pt x="19903" y="0"/>
                      </a:cubicBezTo>
                      <a:cubicBezTo>
                        <a:pt x="18362" y="0"/>
                        <a:pt x="16820" y="365"/>
                        <a:pt x="15275" y="1093"/>
                      </a:cubicBezTo>
                      <a:cubicBezTo>
                        <a:pt x="13349" y="1933"/>
                        <a:pt x="12382" y="2998"/>
                        <a:pt x="12382" y="4287"/>
                      </a:cubicBezTo>
                      <a:cubicBezTo>
                        <a:pt x="12382" y="4847"/>
                        <a:pt x="12771" y="5603"/>
                        <a:pt x="13539" y="6556"/>
                      </a:cubicBezTo>
                      <a:cubicBezTo>
                        <a:pt x="13539" y="7005"/>
                        <a:pt x="13308" y="7424"/>
                        <a:pt x="12847" y="7817"/>
                      </a:cubicBezTo>
                      <a:cubicBezTo>
                        <a:pt x="12463" y="8153"/>
                        <a:pt x="12115" y="8321"/>
                        <a:pt x="11803" y="8321"/>
                      </a:cubicBezTo>
                      <a:cubicBezTo>
                        <a:pt x="11112" y="8321"/>
                        <a:pt x="10262" y="7929"/>
                        <a:pt x="9259" y="7144"/>
                      </a:cubicBezTo>
                      <a:cubicBezTo>
                        <a:pt x="8332" y="6303"/>
                        <a:pt x="7485" y="5883"/>
                        <a:pt x="6712" y="5883"/>
                      </a:cubicBezTo>
                      <a:cubicBezTo>
                        <a:pt x="5555" y="5883"/>
                        <a:pt x="4203" y="6527"/>
                        <a:pt x="2662" y="7817"/>
                      </a:cubicBezTo>
                      <a:cubicBezTo>
                        <a:pt x="890" y="9274"/>
                        <a:pt x="0" y="10898"/>
                        <a:pt x="0" y="12692"/>
                      </a:cubicBezTo>
                      <a:cubicBezTo>
                        <a:pt x="0" y="13588"/>
                        <a:pt x="425" y="14372"/>
                        <a:pt x="1275" y="15045"/>
                      </a:cubicBezTo>
                      <a:cubicBezTo>
                        <a:pt x="1966" y="15605"/>
                        <a:pt x="2508" y="15885"/>
                        <a:pt x="2893" y="15885"/>
                      </a:cubicBezTo>
                      <a:close/>
                      <a:moveTo>
                        <a:pt x="2893" y="1588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0" name="AutoShape 64"/>
                <p:cNvSpPr>
                  <a:spLocks/>
                </p:cNvSpPr>
                <p:nvPr/>
              </p:nvSpPr>
              <p:spPr bwMode="auto">
                <a:xfrm>
                  <a:off x="6383718" y="297012"/>
                  <a:ext cx="98946" cy="222112"/>
                </a:xfrm>
                <a:custGeom>
                  <a:avLst/>
                  <a:gdLst/>
                  <a:ahLst/>
                  <a:cxnLst/>
                  <a:rect l="0" t="0" r="r" b="b"/>
                  <a:pathLst>
                    <a:path w="21600" h="21514">
                      <a:moveTo>
                        <a:pt x="2825" y="8476"/>
                      </a:moveTo>
                      <a:cubicBezTo>
                        <a:pt x="2108" y="8171"/>
                        <a:pt x="1480" y="8018"/>
                        <a:pt x="942" y="8018"/>
                      </a:cubicBezTo>
                      <a:cubicBezTo>
                        <a:pt x="315" y="8018"/>
                        <a:pt x="0" y="8144"/>
                        <a:pt x="0" y="8397"/>
                      </a:cubicBezTo>
                      <a:cubicBezTo>
                        <a:pt x="0" y="8569"/>
                        <a:pt x="256" y="8782"/>
                        <a:pt x="764" y="9035"/>
                      </a:cubicBezTo>
                      <a:cubicBezTo>
                        <a:pt x="1002" y="9168"/>
                        <a:pt x="1242" y="9294"/>
                        <a:pt x="1480" y="9414"/>
                      </a:cubicBezTo>
                      <a:cubicBezTo>
                        <a:pt x="1480" y="9467"/>
                        <a:pt x="1420" y="9547"/>
                        <a:pt x="1301" y="9653"/>
                      </a:cubicBezTo>
                      <a:cubicBezTo>
                        <a:pt x="1152" y="9760"/>
                        <a:pt x="1077" y="9853"/>
                        <a:pt x="1077" y="9932"/>
                      </a:cubicBezTo>
                      <a:cubicBezTo>
                        <a:pt x="1077" y="10650"/>
                        <a:pt x="1988" y="11082"/>
                        <a:pt x="3811" y="11229"/>
                      </a:cubicBezTo>
                      <a:cubicBezTo>
                        <a:pt x="5604" y="11362"/>
                        <a:pt x="6500" y="11435"/>
                        <a:pt x="6500" y="11448"/>
                      </a:cubicBezTo>
                      <a:cubicBezTo>
                        <a:pt x="6500" y="11767"/>
                        <a:pt x="5828" y="12007"/>
                        <a:pt x="4483" y="12166"/>
                      </a:cubicBezTo>
                      <a:cubicBezTo>
                        <a:pt x="3138" y="12339"/>
                        <a:pt x="2466" y="12439"/>
                        <a:pt x="2466" y="12465"/>
                      </a:cubicBezTo>
                      <a:cubicBezTo>
                        <a:pt x="2466" y="12545"/>
                        <a:pt x="2751" y="12725"/>
                        <a:pt x="3318" y="13004"/>
                      </a:cubicBezTo>
                      <a:cubicBezTo>
                        <a:pt x="3886" y="13283"/>
                        <a:pt x="4275" y="13423"/>
                        <a:pt x="4483" y="13423"/>
                      </a:cubicBezTo>
                      <a:lnTo>
                        <a:pt x="5066" y="13223"/>
                      </a:lnTo>
                      <a:cubicBezTo>
                        <a:pt x="5455" y="13077"/>
                        <a:pt x="5695" y="13004"/>
                        <a:pt x="5784" y="13004"/>
                      </a:cubicBezTo>
                      <a:cubicBezTo>
                        <a:pt x="5963" y="13004"/>
                        <a:pt x="6262" y="13104"/>
                        <a:pt x="6681" y="13303"/>
                      </a:cubicBezTo>
                      <a:cubicBezTo>
                        <a:pt x="7129" y="13489"/>
                        <a:pt x="7637" y="13582"/>
                        <a:pt x="8204" y="13582"/>
                      </a:cubicBezTo>
                      <a:cubicBezTo>
                        <a:pt x="8534" y="13582"/>
                        <a:pt x="8847" y="13436"/>
                        <a:pt x="9146" y="13143"/>
                      </a:cubicBezTo>
                      <a:cubicBezTo>
                        <a:pt x="9446" y="12838"/>
                        <a:pt x="9654" y="12685"/>
                        <a:pt x="9773" y="12685"/>
                      </a:cubicBezTo>
                      <a:cubicBezTo>
                        <a:pt x="9803" y="12685"/>
                        <a:pt x="9924" y="12731"/>
                        <a:pt x="10132" y="12824"/>
                      </a:cubicBezTo>
                      <a:cubicBezTo>
                        <a:pt x="10343" y="12918"/>
                        <a:pt x="10535" y="12964"/>
                        <a:pt x="10716" y="12964"/>
                      </a:cubicBezTo>
                      <a:cubicBezTo>
                        <a:pt x="10745" y="12964"/>
                        <a:pt x="11059" y="12897"/>
                        <a:pt x="11656" y="12765"/>
                      </a:cubicBezTo>
                      <a:cubicBezTo>
                        <a:pt x="11777" y="12844"/>
                        <a:pt x="12136" y="12937"/>
                        <a:pt x="12733" y="13044"/>
                      </a:cubicBezTo>
                      <a:cubicBezTo>
                        <a:pt x="13241" y="13137"/>
                        <a:pt x="13524" y="13236"/>
                        <a:pt x="13584" y="13343"/>
                      </a:cubicBezTo>
                      <a:cubicBezTo>
                        <a:pt x="13225" y="13436"/>
                        <a:pt x="12927" y="13516"/>
                        <a:pt x="12687" y="13582"/>
                      </a:cubicBezTo>
                      <a:cubicBezTo>
                        <a:pt x="12239" y="13715"/>
                        <a:pt x="12060" y="13841"/>
                        <a:pt x="12150" y="13961"/>
                      </a:cubicBezTo>
                      <a:cubicBezTo>
                        <a:pt x="12390" y="14014"/>
                        <a:pt x="12553" y="14041"/>
                        <a:pt x="12644" y="14041"/>
                      </a:cubicBezTo>
                      <a:cubicBezTo>
                        <a:pt x="13300" y="14041"/>
                        <a:pt x="14003" y="13941"/>
                        <a:pt x="14751" y="13742"/>
                      </a:cubicBezTo>
                      <a:cubicBezTo>
                        <a:pt x="15529" y="13529"/>
                        <a:pt x="16050" y="13423"/>
                        <a:pt x="16320" y="13423"/>
                      </a:cubicBezTo>
                      <a:cubicBezTo>
                        <a:pt x="16409" y="13423"/>
                        <a:pt x="16604" y="13449"/>
                        <a:pt x="16903" y="13502"/>
                      </a:cubicBezTo>
                      <a:cubicBezTo>
                        <a:pt x="17231" y="13569"/>
                        <a:pt x="17395" y="13629"/>
                        <a:pt x="17395" y="13682"/>
                      </a:cubicBezTo>
                      <a:cubicBezTo>
                        <a:pt x="17395" y="13881"/>
                        <a:pt x="16933" y="14068"/>
                        <a:pt x="16007" y="14240"/>
                      </a:cubicBezTo>
                      <a:cubicBezTo>
                        <a:pt x="15170" y="14400"/>
                        <a:pt x="14422" y="14480"/>
                        <a:pt x="13764" y="14480"/>
                      </a:cubicBezTo>
                      <a:cubicBezTo>
                        <a:pt x="9849" y="14480"/>
                        <a:pt x="7891" y="14991"/>
                        <a:pt x="7891" y="16015"/>
                      </a:cubicBezTo>
                      <a:cubicBezTo>
                        <a:pt x="7891" y="16401"/>
                        <a:pt x="8280" y="16654"/>
                        <a:pt x="9057" y="16773"/>
                      </a:cubicBezTo>
                      <a:cubicBezTo>
                        <a:pt x="9803" y="16893"/>
                        <a:pt x="10178" y="17006"/>
                        <a:pt x="10178" y="17112"/>
                      </a:cubicBezTo>
                      <a:cubicBezTo>
                        <a:pt x="10178" y="17219"/>
                        <a:pt x="9954" y="17325"/>
                        <a:pt x="9505" y="17431"/>
                      </a:cubicBezTo>
                      <a:cubicBezTo>
                        <a:pt x="9057" y="17525"/>
                        <a:pt x="8833" y="17631"/>
                        <a:pt x="8833" y="17751"/>
                      </a:cubicBezTo>
                      <a:cubicBezTo>
                        <a:pt x="8833" y="18003"/>
                        <a:pt x="9476" y="18216"/>
                        <a:pt x="10759" y="18389"/>
                      </a:cubicBezTo>
                      <a:cubicBezTo>
                        <a:pt x="11448" y="18482"/>
                        <a:pt x="12269" y="18588"/>
                        <a:pt x="13225" y="18708"/>
                      </a:cubicBezTo>
                      <a:cubicBezTo>
                        <a:pt x="12868" y="18867"/>
                        <a:pt x="12165" y="19034"/>
                        <a:pt x="11118" y="19206"/>
                      </a:cubicBezTo>
                      <a:cubicBezTo>
                        <a:pt x="10311" y="19340"/>
                        <a:pt x="9908" y="19492"/>
                        <a:pt x="9908" y="19665"/>
                      </a:cubicBezTo>
                      <a:cubicBezTo>
                        <a:pt x="9908" y="19851"/>
                        <a:pt x="10281" y="20071"/>
                        <a:pt x="11029" y="20323"/>
                      </a:cubicBezTo>
                      <a:cubicBezTo>
                        <a:pt x="11448" y="20470"/>
                        <a:pt x="12060" y="20656"/>
                        <a:pt x="12868" y="20882"/>
                      </a:cubicBezTo>
                      <a:cubicBezTo>
                        <a:pt x="14422" y="21400"/>
                        <a:pt x="16066" y="21600"/>
                        <a:pt x="17800" y="21480"/>
                      </a:cubicBezTo>
                      <a:lnTo>
                        <a:pt x="17844" y="21480"/>
                      </a:lnTo>
                      <a:cubicBezTo>
                        <a:pt x="18262" y="21480"/>
                        <a:pt x="18502" y="21480"/>
                        <a:pt x="18562" y="21480"/>
                      </a:cubicBezTo>
                      <a:cubicBezTo>
                        <a:pt x="18740" y="21467"/>
                        <a:pt x="18830" y="21414"/>
                        <a:pt x="18830" y="21321"/>
                      </a:cubicBezTo>
                      <a:cubicBezTo>
                        <a:pt x="18830" y="21267"/>
                        <a:pt x="18711" y="21161"/>
                        <a:pt x="18472" y="21002"/>
                      </a:cubicBezTo>
                      <a:cubicBezTo>
                        <a:pt x="18203" y="20829"/>
                        <a:pt x="18054" y="20716"/>
                        <a:pt x="18024" y="20662"/>
                      </a:cubicBezTo>
                      <a:cubicBezTo>
                        <a:pt x="18173" y="20609"/>
                        <a:pt x="18367" y="20583"/>
                        <a:pt x="18605" y="20583"/>
                      </a:cubicBezTo>
                      <a:cubicBezTo>
                        <a:pt x="19054" y="20583"/>
                        <a:pt x="19383" y="20629"/>
                        <a:pt x="19593" y="20722"/>
                      </a:cubicBezTo>
                      <a:cubicBezTo>
                        <a:pt x="20250" y="21068"/>
                        <a:pt x="20714" y="21294"/>
                        <a:pt x="20982" y="21400"/>
                      </a:cubicBezTo>
                      <a:lnTo>
                        <a:pt x="21519" y="21400"/>
                      </a:lnTo>
                      <a:cubicBezTo>
                        <a:pt x="21341" y="20935"/>
                        <a:pt x="20773" y="20437"/>
                        <a:pt x="19817" y="19905"/>
                      </a:cubicBezTo>
                      <a:cubicBezTo>
                        <a:pt x="18921" y="19413"/>
                        <a:pt x="18472" y="19080"/>
                        <a:pt x="18472" y="18907"/>
                      </a:cubicBezTo>
                      <a:lnTo>
                        <a:pt x="18562" y="18788"/>
                      </a:lnTo>
                      <a:cubicBezTo>
                        <a:pt x="18651" y="18708"/>
                        <a:pt x="18786" y="18668"/>
                        <a:pt x="18964" y="18668"/>
                      </a:cubicBezTo>
                      <a:cubicBezTo>
                        <a:pt x="19294" y="18668"/>
                        <a:pt x="19891" y="18980"/>
                        <a:pt x="20758" y="19605"/>
                      </a:cubicBezTo>
                      <a:cubicBezTo>
                        <a:pt x="21056" y="19821"/>
                        <a:pt x="21336" y="19997"/>
                        <a:pt x="21600" y="20138"/>
                      </a:cubicBezTo>
                      <a:lnTo>
                        <a:pt x="20151" y="7661"/>
                      </a:lnTo>
                      <a:lnTo>
                        <a:pt x="19861" y="7200"/>
                      </a:lnTo>
                      <a:cubicBezTo>
                        <a:pt x="19294" y="6774"/>
                        <a:pt x="18980" y="6528"/>
                        <a:pt x="18921" y="6462"/>
                      </a:cubicBezTo>
                      <a:cubicBezTo>
                        <a:pt x="18861" y="6422"/>
                        <a:pt x="18830" y="6296"/>
                        <a:pt x="18830" y="6083"/>
                      </a:cubicBezTo>
                      <a:cubicBezTo>
                        <a:pt x="18830" y="5392"/>
                        <a:pt x="18308" y="5039"/>
                        <a:pt x="17261" y="5026"/>
                      </a:cubicBezTo>
                      <a:cubicBezTo>
                        <a:pt x="15826" y="4999"/>
                        <a:pt x="14706" y="4554"/>
                        <a:pt x="13898" y="3690"/>
                      </a:cubicBezTo>
                      <a:cubicBezTo>
                        <a:pt x="13600" y="3211"/>
                        <a:pt x="13360" y="2832"/>
                        <a:pt x="13181" y="2553"/>
                      </a:cubicBezTo>
                      <a:cubicBezTo>
                        <a:pt x="12882" y="2035"/>
                        <a:pt x="12404" y="1622"/>
                        <a:pt x="11747" y="1316"/>
                      </a:cubicBezTo>
                      <a:cubicBezTo>
                        <a:pt x="11148" y="970"/>
                        <a:pt x="10640" y="705"/>
                        <a:pt x="10222" y="518"/>
                      </a:cubicBezTo>
                      <a:cubicBezTo>
                        <a:pt x="9446" y="173"/>
                        <a:pt x="8742" y="0"/>
                        <a:pt x="8115" y="0"/>
                      </a:cubicBezTo>
                      <a:cubicBezTo>
                        <a:pt x="7877" y="0"/>
                        <a:pt x="7696" y="33"/>
                        <a:pt x="7577" y="100"/>
                      </a:cubicBezTo>
                      <a:cubicBezTo>
                        <a:pt x="7458" y="166"/>
                        <a:pt x="7383" y="199"/>
                        <a:pt x="7353" y="199"/>
                      </a:cubicBezTo>
                      <a:cubicBezTo>
                        <a:pt x="7113" y="199"/>
                        <a:pt x="6725" y="166"/>
                        <a:pt x="6187" y="100"/>
                      </a:cubicBezTo>
                      <a:cubicBezTo>
                        <a:pt x="5620" y="33"/>
                        <a:pt x="5261" y="0"/>
                        <a:pt x="5112" y="0"/>
                      </a:cubicBezTo>
                      <a:cubicBezTo>
                        <a:pt x="4902" y="0"/>
                        <a:pt x="4753" y="13"/>
                        <a:pt x="4663" y="40"/>
                      </a:cubicBezTo>
                      <a:cubicBezTo>
                        <a:pt x="4544" y="80"/>
                        <a:pt x="4483" y="159"/>
                        <a:pt x="4483" y="279"/>
                      </a:cubicBezTo>
                      <a:cubicBezTo>
                        <a:pt x="4483" y="439"/>
                        <a:pt x="4634" y="632"/>
                        <a:pt x="4931" y="858"/>
                      </a:cubicBezTo>
                      <a:cubicBezTo>
                        <a:pt x="5201" y="1070"/>
                        <a:pt x="5425" y="1177"/>
                        <a:pt x="5604" y="1177"/>
                      </a:cubicBezTo>
                      <a:cubicBezTo>
                        <a:pt x="5873" y="1177"/>
                        <a:pt x="6486" y="1137"/>
                        <a:pt x="7443" y="1057"/>
                      </a:cubicBezTo>
                      <a:cubicBezTo>
                        <a:pt x="7682" y="1057"/>
                        <a:pt x="7980" y="1097"/>
                        <a:pt x="8339" y="1177"/>
                      </a:cubicBezTo>
                      <a:cubicBezTo>
                        <a:pt x="8728" y="1270"/>
                        <a:pt x="8922" y="1356"/>
                        <a:pt x="8922" y="1436"/>
                      </a:cubicBezTo>
                      <a:cubicBezTo>
                        <a:pt x="8922" y="1622"/>
                        <a:pt x="8488" y="1728"/>
                        <a:pt x="7621" y="1755"/>
                      </a:cubicBezTo>
                      <a:cubicBezTo>
                        <a:pt x="7294" y="1755"/>
                        <a:pt x="7084" y="1848"/>
                        <a:pt x="6994" y="2035"/>
                      </a:cubicBezTo>
                      <a:cubicBezTo>
                        <a:pt x="6875" y="2207"/>
                        <a:pt x="6695" y="2294"/>
                        <a:pt x="6457" y="2294"/>
                      </a:cubicBezTo>
                      <a:cubicBezTo>
                        <a:pt x="6276" y="2294"/>
                        <a:pt x="5979" y="2260"/>
                        <a:pt x="5560" y="2194"/>
                      </a:cubicBezTo>
                      <a:cubicBezTo>
                        <a:pt x="5141" y="2127"/>
                        <a:pt x="4798" y="2094"/>
                        <a:pt x="4529" y="2094"/>
                      </a:cubicBezTo>
                      <a:cubicBezTo>
                        <a:pt x="3842" y="2094"/>
                        <a:pt x="3497" y="2147"/>
                        <a:pt x="3497" y="2254"/>
                      </a:cubicBezTo>
                      <a:cubicBezTo>
                        <a:pt x="3497" y="2400"/>
                        <a:pt x="3543" y="2606"/>
                        <a:pt x="3632" y="2872"/>
                      </a:cubicBezTo>
                      <a:cubicBezTo>
                        <a:pt x="3721" y="3244"/>
                        <a:pt x="3856" y="3490"/>
                        <a:pt x="4035" y="3610"/>
                      </a:cubicBezTo>
                      <a:cubicBezTo>
                        <a:pt x="4156" y="3690"/>
                        <a:pt x="4693" y="3783"/>
                        <a:pt x="5649" y="3889"/>
                      </a:cubicBezTo>
                      <a:cubicBezTo>
                        <a:pt x="6546" y="3995"/>
                        <a:pt x="6994" y="4128"/>
                        <a:pt x="6994" y="4288"/>
                      </a:cubicBezTo>
                      <a:cubicBezTo>
                        <a:pt x="6994" y="4354"/>
                        <a:pt x="6786" y="4441"/>
                        <a:pt x="6367" y="4547"/>
                      </a:cubicBezTo>
                      <a:cubicBezTo>
                        <a:pt x="5889" y="4667"/>
                        <a:pt x="5635" y="4733"/>
                        <a:pt x="5604" y="4747"/>
                      </a:cubicBezTo>
                      <a:lnTo>
                        <a:pt x="6411" y="5066"/>
                      </a:lnTo>
                      <a:lnTo>
                        <a:pt x="6411" y="5325"/>
                      </a:lnTo>
                      <a:cubicBezTo>
                        <a:pt x="4409" y="4913"/>
                        <a:pt x="3124" y="4707"/>
                        <a:pt x="2557" y="4707"/>
                      </a:cubicBezTo>
                      <a:cubicBezTo>
                        <a:pt x="2287" y="4707"/>
                        <a:pt x="1958" y="4760"/>
                        <a:pt x="1569" y="4866"/>
                      </a:cubicBezTo>
                      <a:cubicBezTo>
                        <a:pt x="1121" y="4986"/>
                        <a:pt x="897" y="5126"/>
                        <a:pt x="897" y="5285"/>
                      </a:cubicBezTo>
                      <a:cubicBezTo>
                        <a:pt x="897" y="5338"/>
                        <a:pt x="1031" y="5445"/>
                        <a:pt x="1301" y="5604"/>
                      </a:cubicBezTo>
                      <a:cubicBezTo>
                        <a:pt x="1539" y="5751"/>
                        <a:pt x="1660" y="5857"/>
                        <a:pt x="1660" y="5923"/>
                      </a:cubicBezTo>
                      <a:cubicBezTo>
                        <a:pt x="1660" y="6016"/>
                        <a:pt x="1406" y="6110"/>
                        <a:pt x="897" y="6203"/>
                      </a:cubicBezTo>
                      <a:cubicBezTo>
                        <a:pt x="359" y="6309"/>
                        <a:pt x="91" y="6442"/>
                        <a:pt x="91" y="6602"/>
                      </a:cubicBezTo>
                      <a:cubicBezTo>
                        <a:pt x="91" y="6721"/>
                        <a:pt x="270" y="6854"/>
                        <a:pt x="629" y="7000"/>
                      </a:cubicBezTo>
                      <a:cubicBezTo>
                        <a:pt x="988" y="7133"/>
                        <a:pt x="1301" y="7200"/>
                        <a:pt x="1569" y="7200"/>
                      </a:cubicBezTo>
                      <a:cubicBezTo>
                        <a:pt x="1690" y="7200"/>
                        <a:pt x="2182" y="7160"/>
                        <a:pt x="3049" y="7080"/>
                      </a:cubicBezTo>
                      <a:cubicBezTo>
                        <a:pt x="3886" y="7080"/>
                        <a:pt x="4618" y="7120"/>
                        <a:pt x="5247" y="7200"/>
                      </a:cubicBezTo>
                      <a:cubicBezTo>
                        <a:pt x="6203" y="7320"/>
                        <a:pt x="6681" y="7519"/>
                        <a:pt x="6681" y="7798"/>
                      </a:cubicBezTo>
                      <a:cubicBezTo>
                        <a:pt x="6681" y="7971"/>
                        <a:pt x="6262" y="8037"/>
                        <a:pt x="5425" y="7998"/>
                      </a:cubicBezTo>
                      <a:cubicBezTo>
                        <a:pt x="4529" y="7958"/>
                        <a:pt x="4005" y="7991"/>
                        <a:pt x="3856" y="8097"/>
                      </a:cubicBezTo>
                      <a:cubicBezTo>
                        <a:pt x="3945" y="8137"/>
                        <a:pt x="4215" y="8237"/>
                        <a:pt x="4663" y="8397"/>
                      </a:cubicBezTo>
                      <a:cubicBezTo>
                        <a:pt x="5112" y="8569"/>
                        <a:pt x="5366" y="8716"/>
                        <a:pt x="5425" y="8835"/>
                      </a:cubicBezTo>
                      <a:cubicBezTo>
                        <a:pt x="5187" y="8888"/>
                        <a:pt x="4947" y="8915"/>
                        <a:pt x="4707" y="8915"/>
                      </a:cubicBezTo>
                      <a:cubicBezTo>
                        <a:pt x="4199" y="8915"/>
                        <a:pt x="3572" y="8769"/>
                        <a:pt x="2825" y="8476"/>
                      </a:cubicBezTo>
                      <a:close/>
                      <a:moveTo>
                        <a:pt x="2825" y="847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1" name="AutoShape 65"/>
                <p:cNvSpPr>
                  <a:spLocks/>
                </p:cNvSpPr>
                <p:nvPr/>
              </p:nvSpPr>
              <p:spPr bwMode="auto">
                <a:xfrm>
                  <a:off x="6363104" y="585604"/>
                  <a:ext cx="131927" cy="175216"/>
                </a:xfrm>
                <a:custGeom>
                  <a:avLst/>
                  <a:gdLst/>
                  <a:ahLst/>
                  <a:cxnLst/>
                  <a:rect l="0" t="0" r="r" b="b"/>
                  <a:pathLst>
                    <a:path w="21600" h="21600">
                      <a:moveTo>
                        <a:pt x="18412" y="6516"/>
                      </a:moveTo>
                      <a:cubicBezTo>
                        <a:pt x="18142" y="6516"/>
                        <a:pt x="17896" y="6423"/>
                        <a:pt x="17670" y="6237"/>
                      </a:cubicBezTo>
                      <a:cubicBezTo>
                        <a:pt x="17355" y="6000"/>
                        <a:pt x="17164" y="5865"/>
                        <a:pt x="17097" y="5831"/>
                      </a:cubicBezTo>
                      <a:cubicBezTo>
                        <a:pt x="16647" y="5730"/>
                        <a:pt x="16287" y="5637"/>
                        <a:pt x="16017" y="5552"/>
                      </a:cubicBezTo>
                      <a:cubicBezTo>
                        <a:pt x="15546" y="5417"/>
                        <a:pt x="15355" y="5248"/>
                        <a:pt x="15444" y="5045"/>
                      </a:cubicBezTo>
                      <a:cubicBezTo>
                        <a:pt x="15714" y="4944"/>
                        <a:pt x="15940" y="4893"/>
                        <a:pt x="16119" y="4893"/>
                      </a:cubicBezTo>
                      <a:cubicBezTo>
                        <a:pt x="16254" y="4893"/>
                        <a:pt x="16478" y="4960"/>
                        <a:pt x="16793" y="5096"/>
                      </a:cubicBezTo>
                      <a:cubicBezTo>
                        <a:pt x="17108" y="5231"/>
                        <a:pt x="17344" y="5299"/>
                        <a:pt x="17502" y="5299"/>
                      </a:cubicBezTo>
                      <a:cubicBezTo>
                        <a:pt x="17884" y="5349"/>
                        <a:pt x="18075" y="5256"/>
                        <a:pt x="18075" y="5020"/>
                      </a:cubicBezTo>
                      <a:cubicBezTo>
                        <a:pt x="18075" y="4682"/>
                        <a:pt x="17614" y="4327"/>
                        <a:pt x="16692" y="3955"/>
                      </a:cubicBezTo>
                      <a:cubicBezTo>
                        <a:pt x="15838" y="3617"/>
                        <a:pt x="15152" y="3448"/>
                        <a:pt x="14636" y="3448"/>
                      </a:cubicBezTo>
                      <a:cubicBezTo>
                        <a:pt x="14321" y="3448"/>
                        <a:pt x="14006" y="3583"/>
                        <a:pt x="13691" y="3853"/>
                      </a:cubicBezTo>
                      <a:cubicBezTo>
                        <a:pt x="13309" y="4158"/>
                        <a:pt x="12780" y="4352"/>
                        <a:pt x="12106" y="4437"/>
                      </a:cubicBezTo>
                      <a:cubicBezTo>
                        <a:pt x="11454" y="4437"/>
                        <a:pt x="10993" y="4471"/>
                        <a:pt x="10723" y="4538"/>
                      </a:cubicBezTo>
                      <a:cubicBezTo>
                        <a:pt x="10656" y="4555"/>
                        <a:pt x="10499" y="4741"/>
                        <a:pt x="10251" y="5096"/>
                      </a:cubicBezTo>
                      <a:cubicBezTo>
                        <a:pt x="10004" y="5451"/>
                        <a:pt x="9802" y="5628"/>
                        <a:pt x="9644" y="5628"/>
                      </a:cubicBezTo>
                      <a:cubicBezTo>
                        <a:pt x="9577" y="5628"/>
                        <a:pt x="9498" y="5577"/>
                        <a:pt x="9408" y="5476"/>
                      </a:cubicBezTo>
                      <a:cubicBezTo>
                        <a:pt x="9273" y="5358"/>
                        <a:pt x="9206" y="5214"/>
                        <a:pt x="9206" y="5045"/>
                      </a:cubicBezTo>
                      <a:cubicBezTo>
                        <a:pt x="9206" y="4876"/>
                        <a:pt x="9386" y="4614"/>
                        <a:pt x="9746" y="4259"/>
                      </a:cubicBezTo>
                      <a:cubicBezTo>
                        <a:pt x="10083" y="3904"/>
                        <a:pt x="10251" y="3634"/>
                        <a:pt x="10251" y="3448"/>
                      </a:cubicBezTo>
                      <a:cubicBezTo>
                        <a:pt x="10251" y="3262"/>
                        <a:pt x="10038" y="2907"/>
                        <a:pt x="9610" y="2383"/>
                      </a:cubicBezTo>
                      <a:cubicBezTo>
                        <a:pt x="9138" y="1808"/>
                        <a:pt x="8756" y="1521"/>
                        <a:pt x="8464" y="1521"/>
                      </a:cubicBezTo>
                      <a:cubicBezTo>
                        <a:pt x="8015" y="1538"/>
                        <a:pt x="7655" y="1547"/>
                        <a:pt x="7385" y="1547"/>
                      </a:cubicBezTo>
                      <a:cubicBezTo>
                        <a:pt x="6912" y="1513"/>
                        <a:pt x="6553" y="1411"/>
                        <a:pt x="6307" y="1242"/>
                      </a:cubicBezTo>
                      <a:cubicBezTo>
                        <a:pt x="6104" y="1090"/>
                        <a:pt x="5710" y="862"/>
                        <a:pt x="5126" y="558"/>
                      </a:cubicBezTo>
                      <a:cubicBezTo>
                        <a:pt x="4430" y="186"/>
                        <a:pt x="3969" y="0"/>
                        <a:pt x="3743" y="0"/>
                      </a:cubicBezTo>
                      <a:cubicBezTo>
                        <a:pt x="3429" y="0"/>
                        <a:pt x="2923" y="177"/>
                        <a:pt x="2226" y="532"/>
                      </a:cubicBezTo>
                      <a:cubicBezTo>
                        <a:pt x="1440" y="938"/>
                        <a:pt x="1046" y="1301"/>
                        <a:pt x="1046" y="1623"/>
                      </a:cubicBezTo>
                      <a:cubicBezTo>
                        <a:pt x="1046" y="1758"/>
                        <a:pt x="1135" y="1935"/>
                        <a:pt x="1316" y="2155"/>
                      </a:cubicBezTo>
                      <a:cubicBezTo>
                        <a:pt x="1517" y="2408"/>
                        <a:pt x="1653" y="2611"/>
                        <a:pt x="1720" y="2764"/>
                      </a:cubicBezTo>
                      <a:cubicBezTo>
                        <a:pt x="1720" y="2797"/>
                        <a:pt x="1664" y="2814"/>
                        <a:pt x="1552" y="2814"/>
                      </a:cubicBezTo>
                      <a:lnTo>
                        <a:pt x="743" y="2713"/>
                      </a:lnTo>
                      <a:cubicBezTo>
                        <a:pt x="361" y="2713"/>
                        <a:pt x="113" y="2797"/>
                        <a:pt x="0" y="2966"/>
                      </a:cubicBezTo>
                      <a:cubicBezTo>
                        <a:pt x="91" y="3034"/>
                        <a:pt x="349" y="3169"/>
                        <a:pt x="776" y="3372"/>
                      </a:cubicBezTo>
                      <a:cubicBezTo>
                        <a:pt x="1204" y="3575"/>
                        <a:pt x="1495" y="3735"/>
                        <a:pt x="1653" y="3853"/>
                      </a:cubicBezTo>
                      <a:cubicBezTo>
                        <a:pt x="1855" y="3989"/>
                        <a:pt x="2114" y="4225"/>
                        <a:pt x="2429" y="4563"/>
                      </a:cubicBezTo>
                      <a:cubicBezTo>
                        <a:pt x="2721" y="4884"/>
                        <a:pt x="2945" y="5096"/>
                        <a:pt x="3103" y="5197"/>
                      </a:cubicBezTo>
                      <a:cubicBezTo>
                        <a:pt x="3327" y="5349"/>
                        <a:pt x="3699" y="5569"/>
                        <a:pt x="4215" y="5857"/>
                      </a:cubicBezTo>
                      <a:cubicBezTo>
                        <a:pt x="4576" y="6076"/>
                        <a:pt x="4834" y="6253"/>
                        <a:pt x="4991" y="6389"/>
                      </a:cubicBezTo>
                      <a:cubicBezTo>
                        <a:pt x="5687" y="7014"/>
                        <a:pt x="6205" y="7327"/>
                        <a:pt x="6542" y="7327"/>
                      </a:cubicBezTo>
                      <a:cubicBezTo>
                        <a:pt x="7217" y="7327"/>
                        <a:pt x="8385" y="7090"/>
                        <a:pt x="10049" y="6617"/>
                      </a:cubicBezTo>
                      <a:cubicBezTo>
                        <a:pt x="10184" y="6617"/>
                        <a:pt x="10296" y="6659"/>
                        <a:pt x="10386" y="6744"/>
                      </a:cubicBezTo>
                      <a:cubicBezTo>
                        <a:pt x="10499" y="6845"/>
                        <a:pt x="10589" y="6930"/>
                        <a:pt x="10656" y="6997"/>
                      </a:cubicBezTo>
                      <a:cubicBezTo>
                        <a:pt x="10678" y="7048"/>
                        <a:pt x="10701" y="7099"/>
                        <a:pt x="10723" y="7149"/>
                      </a:cubicBezTo>
                      <a:cubicBezTo>
                        <a:pt x="11015" y="7724"/>
                        <a:pt x="11432" y="8485"/>
                        <a:pt x="11970" y="9431"/>
                      </a:cubicBezTo>
                      <a:cubicBezTo>
                        <a:pt x="11994" y="9482"/>
                        <a:pt x="12285" y="9997"/>
                        <a:pt x="12848" y="10978"/>
                      </a:cubicBezTo>
                      <a:cubicBezTo>
                        <a:pt x="13410" y="11975"/>
                        <a:pt x="13691" y="12557"/>
                        <a:pt x="13691" y="12727"/>
                      </a:cubicBezTo>
                      <a:cubicBezTo>
                        <a:pt x="13691" y="13132"/>
                        <a:pt x="13443" y="13529"/>
                        <a:pt x="12949" y="13918"/>
                      </a:cubicBezTo>
                      <a:cubicBezTo>
                        <a:pt x="12431" y="14290"/>
                        <a:pt x="12173" y="14797"/>
                        <a:pt x="12173" y="15439"/>
                      </a:cubicBezTo>
                      <a:cubicBezTo>
                        <a:pt x="12173" y="15980"/>
                        <a:pt x="12443" y="16318"/>
                        <a:pt x="12982" y="16454"/>
                      </a:cubicBezTo>
                      <a:cubicBezTo>
                        <a:pt x="13522" y="16589"/>
                        <a:pt x="13793" y="16758"/>
                        <a:pt x="13793" y="16960"/>
                      </a:cubicBezTo>
                      <a:cubicBezTo>
                        <a:pt x="13793" y="17011"/>
                        <a:pt x="13691" y="17527"/>
                        <a:pt x="13488" y="18507"/>
                      </a:cubicBezTo>
                      <a:cubicBezTo>
                        <a:pt x="13488" y="18744"/>
                        <a:pt x="13860" y="19166"/>
                        <a:pt x="14601" y="19775"/>
                      </a:cubicBezTo>
                      <a:cubicBezTo>
                        <a:pt x="15389" y="20434"/>
                        <a:pt x="16051" y="20763"/>
                        <a:pt x="16592" y="20763"/>
                      </a:cubicBezTo>
                      <a:cubicBezTo>
                        <a:pt x="16703" y="20763"/>
                        <a:pt x="16805" y="20561"/>
                        <a:pt x="16894" y="20155"/>
                      </a:cubicBezTo>
                      <a:cubicBezTo>
                        <a:pt x="16962" y="19732"/>
                        <a:pt x="17097" y="19521"/>
                        <a:pt x="17299" y="19521"/>
                      </a:cubicBezTo>
                      <a:cubicBezTo>
                        <a:pt x="17502" y="19521"/>
                        <a:pt x="17884" y="19868"/>
                        <a:pt x="18446" y="20561"/>
                      </a:cubicBezTo>
                      <a:cubicBezTo>
                        <a:pt x="19007" y="21254"/>
                        <a:pt x="19671" y="21600"/>
                        <a:pt x="20435" y="21600"/>
                      </a:cubicBezTo>
                      <a:cubicBezTo>
                        <a:pt x="20900" y="21600"/>
                        <a:pt x="21283" y="21566"/>
                        <a:pt x="21600" y="21504"/>
                      </a:cubicBezTo>
                      <a:lnTo>
                        <a:pt x="21011" y="12934"/>
                      </a:lnTo>
                      <a:cubicBezTo>
                        <a:pt x="20942" y="12942"/>
                        <a:pt x="20867" y="12955"/>
                        <a:pt x="20806" y="12955"/>
                      </a:cubicBezTo>
                      <a:cubicBezTo>
                        <a:pt x="20693" y="12955"/>
                        <a:pt x="20593" y="12921"/>
                        <a:pt x="20502" y="12853"/>
                      </a:cubicBezTo>
                      <a:cubicBezTo>
                        <a:pt x="20390" y="12769"/>
                        <a:pt x="20334" y="12667"/>
                        <a:pt x="20334" y="12549"/>
                      </a:cubicBezTo>
                      <a:cubicBezTo>
                        <a:pt x="20334" y="12439"/>
                        <a:pt x="20546" y="12291"/>
                        <a:pt x="20955" y="12108"/>
                      </a:cubicBezTo>
                      <a:lnTo>
                        <a:pt x="20863" y="10776"/>
                      </a:lnTo>
                      <a:cubicBezTo>
                        <a:pt x="20842" y="10766"/>
                        <a:pt x="20828" y="10759"/>
                        <a:pt x="20806" y="10749"/>
                      </a:cubicBezTo>
                      <a:cubicBezTo>
                        <a:pt x="20177" y="10479"/>
                        <a:pt x="19704" y="10344"/>
                        <a:pt x="19389" y="10344"/>
                      </a:cubicBezTo>
                      <a:cubicBezTo>
                        <a:pt x="19277" y="10073"/>
                        <a:pt x="19176" y="9913"/>
                        <a:pt x="19086" y="9862"/>
                      </a:cubicBezTo>
                      <a:cubicBezTo>
                        <a:pt x="19041" y="9845"/>
                        <a:pt x="18861" y="9837"/>
                        <a:pt x="18546" y="9837"/>
                      </a:cubicBezTo>
                      <a:cubicBezTo>
                        <a:pt x="18142" y="9837"/>
                        <a:pt x="17816" y="9913"/>
                        <a:pt x="17569" y="10065"/>
                      </a:cubicBezTo>
                      <a:cubicBezTo>
                        <a:pt x="17053" y="10369"/>
                        <a:pt x="16659" y="10572"/>
                        <a:pt x="16389" y="10674"/>
                      </a:cubicBezTo>
                      <a:lnTo>
                        <a:pt x="16389" y="10192"/>
                      </a:lnTo>
                      <a:lnTo>
                        <a:pt x="17232" y="8949"/>
                      </a:lnTo>
                      <a:cubicBezTo>
                        <a:pt x="17232" y="8763"/>
                        <a:pt x="16827" y="8578"/>
                        <a:pt x="16017" y="8392"/>
                      </a:cubicBezTo>
                      <a:cubicBezTo>
                        <a:pt x="15209" y="8206"/>
                        <a:pt x="14804" y="8062"/>
                        <a:pt x="14804" y="7961"/>
                      </a:cubicBezTo>
                      <a:cubicBezTo>
                        <a:pt x="14804" y="7572"/>
                        <a:pt x="15152" y="7378"/>
                        <a:pt x="15849" y="7378"/>
                      </a:cubicBezTo>
                      <a:cubicBezTo>
                        <a:pt x="16007" y="7378"/>
                        <a:pt x="16433" y="7521"/>
                        <a:pt x="17130" y="7808"/>
                      </a:cubicBezTo>
                      <a:cubicBezTo>
                        <a:pt x="17805" y="8079"/>
                        <a:pt x="18243" y="8214"/>
                        <a:pt x="18446" y="8214"/>
                      </a:cubicBezTo>
                      <a:lnTo>
                        <a:pt x="19963" y="8113"/>
                      </a:lnTo>
                      <a:cubicBezTo>
                        <a:pt x="20239" y="8075"/>
                        <a:pt x="20472" y="8026"/>
                        <a:pt x="20670" y="7969"/>
                      </a:cubicBezTo>
                      <a:lnTo>
                        <a:pt x="20587" y="6763"/>
                      </a:lnTo>
                      <a:cubicBezTo>
                        <a:pt x="20503" y="6740"/>
                        <a:pt x="20430" y="6715"/>
                        <a:pt x="20334" y="6693"/>
                      </a:cubicBezTo>
                      <a:cubicBezTo>
                        <a:pt x="19682" y="6541"/>
                        <a:pt x="19041" y="6482"/>
                        <a:pt x="18412" y="6516"/>
                      </a:cubicBezTo>
                      <a:close/>
                      <a:moveTo>
                        <a:pt x="18412" y="651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2" name="AutoShape 66"/>
                <p:cNvSpPr>
                  <a:spLocks/>
                </p:cNvSpPr>
                <p:nvPr/>
              </p:nvSpPr>
              <p:spPr bwMode="auto">
                <a:xfrm>
                  <a:off x="6342490" y="383590"/>
                  <a:ext cx="16491" cy="30405"/>
                </a:xfrm>
                <a:custGeom>
                  <a:avLst/>
                  <a:gdLst/>
                  <a:ahLst/>
                  <a:cxnLst/>
                  <a:rect l="0" t="0" r="r" b="b"/>
                  <a:pathLst>
                    <a:path w="21600" h="21600">
                      <a:moveTo>
                        <a:pt x="15539" y="21600"/>
                      </a:moveTo>
                      <a:cubicBezTo>
                        <a:pt x="19583" y="16610"/>
                        <a:pt x="21600" y="12097"/>
                        <a:pt x="21600" y="8065"/>
                      </a:cubicBezTo>
                      <a:cubicBezTo>
                        <a:pt x="21600" y="6721"/>
                        <a:pt x="21250" y="5280"/>
                        <a:pt x="20550" y="3745"/>
                      </a:cubicBezTo>
                      <a:cubicBezTo>
                        <a:pt x="19315" y="1248"/>
                        <a:pt x="17566" y="0"/>
                        <a:pt x="15282" y="0"/>
                      </a:cubicBezTo>
                      <a:cubicBezTo>
                        <a:pt x="11587" y="0"/>
                        <a:pt x="8171" y="961"/>
                        <a:pt x="5001" y="2881"/>
                      </a:cubicBezTo>
                      <a:cubicBezTo>
                        <a:pt x="1667" y="4896"/>
                        <a:pt x="0" y="7297"/>
                        <a:pt x="0" y="10080"/>
                      </a:cubicBezTo>
                      <a:cubicBezTo>
                        <a:pt x="0" y="10657"/>
                        <a:pt x="2110" y="12577"/>
                        <a:pt x="6318" y="15840"/>
                      </a:cubicBezTo>
                      <a:cubicBezTo>
                        <a:pt x="10188" y="18912"/>
                        <a:pt x="13265" y="20832"/>
                        <a:pt x="15539" y="21600"/>
                      </a:cubicBezTo>
                      <a:close/>
                      <a:moveTo>
                        <a:pt x="15539"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3" name="AutoShape 67"/>
                <p:cNvSpPr>
                  <a:spLocks/>
                </p:cNvSpPr>
                <p:nvPr/>
              </p:nvSpPr>
              <p:spPr bwMode="auto">
                <a:xfrm>
                  <a:off x="6251790" y="428940"/>
                  <a:ext cx="86062" cy="107191"/>
                </a:xfrm>
                <a:custGeom>
                  <a:avLst/>
                  <a:gdLst/>
                  <a:ahLst/>
                  <a:cxnLst/>
                  <a:rect l="0" t="0" r="r" b="b"/>
                  <a:pathLst>
                    <a:path w="21600" h="21600">
                      <a:moveTo>
                        <a:pt x="1392" y="4022"/>
                      </a:moveTo>
                      <a:cubicBezTo>
                        <a:pt x="2286" y="4049"/>
                        <a:pt x="2733" y="4256"/>
                        <a:pt x="2733" y="4644"/>
                      </a:cubicBezTo>
                      <a:cubicBezTo>
                        <a:pt x="2733" y="4726"/>
                        <a:pt x="2596" y="5016"/>
                        <a:pt x="2320" y="5514"/>
                      </a:cubicBezTo>
                      <a:cubicBezTo>
                        <a:pt x="2046" y="6039"/>
                        <a:pt x="1907" y="6440"/>
                        <a:pt x="1907" y="6716"/>
                      </a:cubicBezTo>
                      <a:cubicBezTo>
                        <a:pt x="2183" y="6550"/>
                        <a:pt x="2664" y="6205"/>
                        <a:pt x="3351" y="5680"/>
                      </a:cubicBezTo>
                      <a:cubicBezTo>
                        <a:pt x="4003" y="5238"/>
                        <a:pt x="4571" y="5016"/>
                        <a:pt x="5053" y="5016"/>
                      </a:cubicBezTo>
                      <a:cubicBezTo>
                        <a:pt x="5326" y="5016"/>
                        <a:pt x="5584" y="5155"/>
                        <a:pt x="5826" y="5430"/>
                      </a:cubicBezTo>
                      <a:cubicBezTo>
                        <a:pt x="6031" y="5680"/>
                        <a:pt x="6134" y="5900"/>
                        <a:pt x="6134" y="6094"/>
                      </a:cubicBezTo>
                      <a:cubicBezTo>
                        <a:pt x="6134" y="6315"/>
                        <a:pt x="5929" y="6509"/>
                        <a:pt x="5516" y="6674"/>
                      </a:cubicBezTo>
                      <a:cubicBezTo>
                        <a:pt x="5139" y="6813"/>
                        <a:pt x="4984" y="7020"/>
                        <a:pt x="5053" y="7296"/>
                      </a:cubicBezTo>
                      <a:lnTo>
                        <a:pt x="7320" y="8084"/>
                      </a:lnTo>
                      <a:cubicBezTo>
                        <a:pt x="7286" y="8333"/>
                        <a:pt x="7115" y="8554"/>
                        <a:pt x="6805" y="8747"/>
                      </a:cubicBezTo>
                      <a:cubicBezTo>
                        <a:pt x="6428" y="8941"/>
                        <a:pt x="6170" y="9079"/>
                        <a:pt x="6031" y="9162"/>
                      </a:cubicBezTo>
                      <a:cubicBezTo>
                        <a:pt x="6720" y="9411"/>
                        <a:pt x="7062" y="9784"/>
                        <a:pt x="7062" y="10282"/>
                      </a:cubicBezTo>
                      <a:cubicBezTo>
                        <a:pt x="7062" y="10530"/>
                        <a:pt x="6891" y="10724"/>
                        <a:pt x="6547" y="10862"/>
                      </a:cubicBezTo>
                      <a:cubicBezTo>
                        <a:pt x="6273" y="10973"/>
                        <a:pt x="5997" y="11028"/>
                        <a:pt x="5723" y="11028"/>
                      </a:cubicBezTo>
                      <a:cubicBezTo>
                        <a:pt x="5208" y="11028"/>
                        <a:pt x="4726" y="10890"/>
                        <a:pt x="4279" y="10613"/>
                      </a:cubicBezTo>
                      <a:cubicBezTo>
                        <a:pt x="3798" y="10337"/>
                        <a:pt x="3351" y="10199"/>
                        <a:pt x="2938" y="10199"/>
                      </a:cubicBezTo>
                      <a:cubicBezTo>
                        <a:pt x="2320" y="10199"/>
                        <a:pt x="2010" y="10613"/>
                        <a:pt x="2010" y="11442"/>
                      </a:cubicBezTo>
                      <a:cubicBezTo>
                        <a:pt x="2010" y="12382"/>
                        <a:pt x="2217" y="13156"/>
                        <a:pt x="2630" y="13764"/>
                      </a:cubicBezTo>
                      <a:cubicBezTo>
                        <a:pt x="3146" y="14566"/>
                        <a:pt x="3935" y="14966"/>
                        <a:pt x="5000" y="14966"/>
                      </a:cubicBezTo>
                      <a:cubicBezTo>
                        <a:pt x="5618" y="14966"/>
                        <a:pt x="6289" y="14745"/>
                        <a:pt x="7012" y="14303"/>
                      </a:cubicBezTo>
                      <a:cubicBezTo>
                        <a:pt x="7733" y="13833"/>
                        <a:pt x="8196" y="13598"/>
                        <a:pt x="8404" y="13598"/>
                      </a:cubicBezTo>
                      <a:cubicBezTo>
                        <a:pt x="8782" y="13598"/>
                        <a:pt x="9040" y="13792"/>
                        <a:pt x="9177" y="14179"/>
                      </a:cubicBezTo>
                      <a:cubicBezTo>
                        <a:pt x="9314" y="14566"/>
                        <a:pt x="9640" y="14745"/>
                        <a:pt x="10156" y="14718"/>
                      </a:cubicBezTo>
                      <a:cubicBezTo>
                        <a:pt x="10879" y="14690"/>
                        <a:pt x="11789" y="14745"/>
                        <a:pt x="12888" y="14884"/>
                      </a:cubicBezTo>
                      <a:cubicBezTo>
                        <a:pt x="13404" y="14939"/>
                        <a:pt x="14109" y="15450"/>
                        <a:pt x="15003" y="16417"/>
                      </a:cubicBezTo>
                      <a:cubicBezTo>
                        <a:pt x="15242" y="16584"/>
                        <a:pt x="15484" y="16971"/>
                        <a:pt x="15724" y="17579"/>
                      </a:cubicBezTo>
                      <a:cubicBezTo>
                        <a:pt x="15895" y="18048"/>
                        <a:pt x="15982" y="18366"/>
                        <a:pt x="15982" y="18532"/>
                      </a:cubicBezTo>
                      <a:cubicBezTo>
                        <a:pt x="15982" y="18587"/>
                        <a:pt x="15913" y="18726"/>
                        <a:pt x="15776" y="18947"/>
                      </a:cubicBezTo>
                      <a:lnTo>
                        <a:pt x="15776" y="18988"/>
                      </a:lnTo>
                      <a:cubicBezTo>
                        <a:pt x="15776" y="19071"/>
                        <a:pt x="15776" y="19168"/>
                        <a:pt x="15776" y="19278"/>
                      </a:cubicBezTo>
                      <a:cubicBezTo>
                        <a:pt x="15776" y="19472"/>
                        <a:pt x="15792" y="19652"/>
                        <a:pt x="15826" y="19817"/>
                      </a:cubicBezTo>
                      <a:cubicBezTo>
                        <a:pt x="16000" y="21006"/>
                        <a:pt x="16841" y="21600"/>
                        <a:pt x="18354" y="21600"/>
                      </a:cubicBezTo>
                      <a:cubicBezTo>
                        <a:pt x="19143" y="21600"/>
                        <a:pt x="19900" y="21199"/>
                        <a:pt x="20621" y="20398"/>
                      </a:cubicBezTo>
                      <a:cubicBezTo>
                        <a:pt x="21274" y="19652"/>
                        <a:pt x="21600" y="19015"/>
                        <a:pt x="21600" y="18490"/>
                      </a:cubicBezTo>
                      <a:cubicBezTo>
                        <a:pt x="21600" y="18021"/>
                        <a:pt x="21292" y="17039"/>
                        <a:pt x="20674" y="15547"/>
                      </a:cubicBezTo>
                      <a:lnTo>
                        <a:pt x="19693" y="13474"/>
                      </a:lnTo>
                      <a:cubicBezTo>
                        <a:pt x="19693" y="12949"/>
                        <a:pt x="19882" y="12479"/>
                        <a:pt x="20261" y="12064"/>
                      </a:cubicBezTo>
                      <a:cubicBezTo>
                        <a:pt x="20639" y="11622"/>
                        <a:pt x="20827" y="11221"/>
                        <a:pt x="20827" y="10862"/>
                      </a:cubicBezTo>
                      <a:cubicBezTo>
                        <a:pt x="20827" y="10502"/>
                        <a:pt x="20535" y="10130"/>
                        <a:pt x="19951" y="9743"/>
                      </a:cubicBezTo>
                      <a:cubicBezTo>
                        <a:pt x="19367" y="9355"/>
                        <a:pt x="19059" y="8830"/>
                        <a:pt x="19022" y="8167"/>
                      </a:cubicBezTo>
                      <a:cubicBezTo>
                        <a:pt x="18988" y="7697"/>
                        <a:pt x="18730" y="7241"/>
                        <a:pt x="18249" y="6799"/>
                      </a:cubicBezTo>
                      <a:cubicBezTo>
                        <a:pt x="17699" y="6274"/>
                        <a:pt x="17115" y="6011"/>
                        <a:pt x="16497" y="6011"/>
                      </a:cubicBezTo>
                      <a:cubicBezTo>
                        <a:pt x="16153" y="6011"/>
                        <a:pt x="15895" y="6163"/>
                        <a:pt x="15724" y="6467"/>
                      </a:cubicBezTo>
                      <a:cubicBezTo>
                        <a:pt x="15518" y="6744"/>
                        <a:pt x="15242" y="6882"/>
                        <a:pt x="14898" y="6882"/>
                      </a:cubicBezTo>
                      <a:lnTo>
                        <a:pt x="14590" y="6799"/>
                      </a:lnTo>
                      <a:cubicBezTo>
                        <a:pt x="14624" y="6689"/>
                        <a:pt x="14590" y="6509"/>
                        <a:pt x="14487" y="6260"/>
                      </a:cubicBezTo>
                      <a:lnTo>
                        <a:pt x="14280" y="5845"/>
                      </a:lnTo>
                      <a:lnTo>
                        <a:pt x="14487" y="4975"/>
                      </a:lnTo>
                      <a:cubicBezTo>
                        <a:pt x="14487" y="4616"/>
                        <a:pt x="14332" y="4311"/>
                        <a:pt x="14022" y="4063"/>
                      </a:cubicBezTo>
                      <a:cubicBezTo>
                        <a:pt x="13575" y="3759"/>
                        <a:pt x="13198" y="3483"/>
                        <a:pt x="12888" y="3234"/>
                      </a:cubicBezTo>
                      <a:cubicBezTo>
                        <a:pt x="12649" y="2930"/>
                        <a:pt x="12459" y="2709"/>
                        <a:pt x="12320" y="2570"/>
                      </a:cubicBezTo>
                      <a:cubicBezTo>
                        <a:pt x="12081" y="2322"/>
                        <a:pt x="11823" y="2197"/>
                        <a:pt x="11547" y="2197"/>
                      </a:cubicBezTo>
                      <a:cubicBezTo>
                        <a:pt x="11136" y="2197"/>
                        <a:pt x="10723" y="2598"/>
                        <a:pt x="10311" y="3400"/>
                      </a:cubicBezTo>
                      <a:cubicBezTo>
                        <a:pt x="9864" y="4229"/>
                        <a:pt x="9451" y="4685"/>
                        <a:pt x="9074" y="4768"/>
                      </a:cubicBezTo>
                      <a:cubicBezTo>
                        <a:pt x="8867" y="4325"/>
                        <a:pt x="8764" y="4063"/>
                        <a:pt x="8764" y="3980"/>
                      </a:cubicBezTo>
                      <a:lnTo>
                        <a:pt x="8969" y="2363"/>
                      </a:lnTo>
                      <a:cubicBezTo>
                        <a:pt x="8969" y="1119"/>
                        <a:pt x="8128" y="359"/>
                        <a:pt x="6444" y="83"/>
                      </a:cubicBezTo>
                      <a:cubicBezTo>
                        <a:pt x="6134" y="28"/>
                        <a:pt x="4726" y="0"/>
                        <a:pt x="2217" y="0"/>
                      </a:cubicBezTo>
                      <a:cubicBezTo>
                        <a:pt x="1633" y="0"/>
                        <a:pt x="1100" y="387"/>
                        <a:pt x="618" y="1161"/>
                      </a:cubicBezTo>
                      <a:cubicBezTo>
                        <a:pt x="205" y="1852"/>
                        <a:pt x="0" y="2543"/>
                        <a:pt x="0" y="3234"/>
                      </a:cubicBezTo>
                      <a:cubicBezTo>
                        <a:pt x="0" y="3731"/>
                        <a:pt x="463" y="3994"/>
                        <a:pt x="1392" y="4022"/>
                      </a:cubicBezTo>
                      <a:close/>
                      <a:moveTo>
                        <a:pt x="1392" y="402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4" name="AutoShape 68"/>
                <p:cNvSpPr>
                  <a:spLocks/>
                </p:cNvSpPr>
                <p:nvPr/>
              </p:nvSpPr>
              <p:spPr bwMode="auto">
                <a:xfrm>
                  <a:off x="6350736" y="461921"/>
                  <a:ext cx="53596" cy="79363"/>
                </a:xfrm>
                <a:custGeom>
                  <a:avLst/>
                  <a:gdLst/>
                  <a:ahLst/>
                  <a:cxnLst/>
                  <a:rect l="0" t="0" r="r" b="b"/>
                  <a:pathLst>
                    <a:path w="21600" h="21600">
                      <a:moveTo>
                        <a:pt x="1813" y="782"/>
                      </a:moveTo>
                      <a:cubicBezTo>
                        <a:pt x="1153" y="1303"/>
                        <a:pt x="824" y="1973"/>
                        <a:pt x="824" y="2791"/>
                      </a:cubicBezTo>
                      <a:cubicBezTo>
                        <a:pt x="824" y="2977"/>
                        <a:pt x="1018" y="3275"/>
                        <a:pt x="1401" y="3684"/>
                      </a:cubicBezTo>
                      <a:cubicBezTo>
                        <a:pt x="1787" y="4094"/>
                        <a:pt x="1977" y="4447"/>
                        <a:pt x="1977" y="4744"/>
                      </a:cubicBezTo>
                      <a:cubicBezTo>
                        <a:pt x="1977" y="5043"/>
                        <a:pt x="1649" y="5302"/>
                        <a:pt x="989" y="5526"/>
                      </a:cubicBezTo>
                      <a:cubicBezTo>
                        <a:pt x="328" y="5712"/>
                        <a:pt x="0" y="5973"/>
                        <a:pt x="0" y="6307"/>
                      </a:cubicBezTo>
                      <a:cubicBezTo>
                        <a:pt x="0" y="6717"/>
                        <a:pt x="660" y="7554"/>
                        <a:pt x="1977" y="8819"/>
                      </a:cubicBezTo>
                      <a:cubicBezTo>
                        <a:pt x="2200" y="9154"/>
                        <a:pt x="2309" y="9619"/>
                        <a:pt x="2309" y="10214"/>
                      </a:cubicBezTo>
                      <a:cubicBezTo>
                        <a:pt x="2364" y="10847"/>
                        <a:pt x="2473" y="11330"/>
                        <a:pt x="2638" y="11665"/>
                      </a:cubicBezTo>
                      <a:cubicBezTo>
                        <a:pt x="2747" y="11889"/>
                        <a:pt x="3958" y="12168"/>
                        <a:pt x="6264" y="12503"/>
                      </a:cubicBezTo>
                      <a:cubicBezTo>
                        <a:pt x="8518" y="12837"/>
                        <a:pt x="9645" y="13284"/>
                        <a:pt x="9645" y="13842"/>
                      </a:cubicBezTo>
                      <a:cubicBezTo>
                        <a:pt x="9645" y="14214"/>
                        <a:pt x="9343" y="14511"/>
                        <a:pt x="8737" y="14735"/>
                      </a:cubicBezTo>
                      <a:cubicBezTo>
                        <a:pt x="8190" y="14921"/>
                        <a:pt x="7530" y="15014"/>
                        <a:pt x="6760" y="15014"/>
                      </a:cubicBezTo>
                      <a:lnTo>
                        <a:pt x="4699" y="14623"/>
                      </a:lnTo>
                      <a:cubicBezTo>
                        <a:pt x="4261" y="14623"/>
                        <a:pt x="3874" y="14754"/>
                        <a:pt x="3546" y="15014"/>
                      </a:cubicBezTo>
                      <a:cubicBezTo>
                        <a:pt x="3214" y="15237"/>
                        <a:pt x="3050" y="15498"/>
                        <a:pt x="3050" y="15796"/>
                      </a:cubicBezTo>
                      <a:lnTo>
                        <a:pt x="6183" y="18028"/>
                      </a:lnTo>
                      <a:cubicBezTo>
                        <a:pt x="6183" y="18103"/>
                        <a:pt x="6209" y="18214"/>
                        <a:pt x="6264" y="18363"/>
                      </a:cubicBezTo>
                      <a:cubicBezTo>
                        <a:pt x="6377" y="18735"/>
                        <a:pt x="6512" y="19349"/>
                        <a:pt x="6676" y="20205"/>
                      </a:cubicBezTo>
                      <a:cubicBezTo>
                        <a:pt x="7008" y="21135"/>
                        <a:pt x="7584" y="21600"/>
                        <a:pt x="8409" y="21600"/>
                      </a:cubicBezTo>
                      <a:cubicBezTo>
                        <a:pt x="9452" y="21600"/>
                        <a:pt x="10112" y="21154"/>
                        <a:pt x="10386" y="20261"/>
                      </a:cubicBezTo>
                      <a:cubicBezTo>
                        <a:pt x="10663" y="19330"/>
                        <a:pt x="11101" y="18866"/>
                        <a:pt x="11707" y="18866"/>
                      </a:cubicBezTo>
                      <a:cubicBezTo>
                        <a:pt x="11816" y="18866"/>
                        <a:pt x="12531" y="19219"/>
                        <a:pt x="13851" y="19925"/>
                      </a:cubicBezTo>
                      <a:cubicBezTo>
                        <a:pt x="15004" y="19925"/>
                        <a:pt x="15665" y="19665"/>
                        <a:pt x="15829" y="19144"/>
                      </a:cubicBezTo>
                      <a:cubicBezTo>
                        <a:pt x="16048" y="18512"/>
                        <a:pt x="16570" y="18121"/>
                        <a:pt x="17394" y="17972"/>
                      </a:cubicBezTo>
                      <a:cubicBezTo>
                        <a:pt x="18276" y="17823"/>
                        <a:pt x="19291" y="17693"/>
                        <a:pt x="20447" y="17581"/>
                      </a:cubicBezTo>
                      <a:cubicBezTo>
                        <a:pt x="21217" y="17470"/>
                        <a:pt x="21600" y="17116"/>
                        <a:pt x="21600" y="16521"/>
                      </a:cubicBezTo>
                      <a:cubicBezTo>
                        <a:pt x="21600" y="16298"/>
                        <a:pt x="21272" y="15944"/>
                        <a:pt x="20611" y="15461"/>
                      </a:cubicBezTo>
                      <a:cubicBezTo>
                        <a:pt x="19951" y="14940"/>
                        <a:pt x="19623" y="14196"/>
                        <a:pt x="19623" y="13228"/>
                      </a:cubicBezTo>
                      <a:cubicBezTo>
                        <a:pt x="19623" y="12409"/>
                        <a:pt x="19867" y="11721"/>
                        <a:pt x="20363" y="11163"/>
                      </a:cubicBezTo>
                      <a:cubicBezTo>
                        <a:pt x="20859" y="10567"/>
                        <a:pt x="21104" y="10177"/>
                        <a:pt x="21104" y="9991"/>
                      </a:cubicBezTo>
                      <a:cubicBezTo>
                        <a:pt x="19455" y="8465"/>
                        <a:pt x="18218" y="7647"/>
                        <a:pt x="17394" y="7535"/>
                      </a:cubicBezTo>
                      <a:cubicBezTo>
                        <a:pt x="16022" y="7275"/>
                        <a:pt x="15143" y="7070"/>
                        <a:pt x="14756" y="6921"/>
                      </a:cubicBezTo>
                      <a:cubicBezTo>
                        <a:pt x="14041" y="6624"/>
                        <a:pt x="13629" y="6177"/>
                        <a:pt x="13520" y="5581"/>
                      </a:cubicBezTo>
                      <a:cubicBezTo>
                        <a:pt x="13355" y="4875"/>
                        <a:pt x="12174" y="3796"/>
                        <a:pt x="9974" y="2344"/>
                      </a:cubicBezTo>
                      <a:cubicBezTo>
                        <a:pt x="7613" y="782"/>
                        <a:pt x="5578" y="0"/>
                        <a:pt x="3874" y="0"/>
                      </a:cubicBezTo>
                      <a:cubicBezTo>
                        <a:pt x="3105" y="0"/>
                        <a:pt x="2419" y="261"/>
                        <a:pt x="1813" y="782"/>
                      </a:cubicBezTo>
                      <a:close/>
                      <a:moveTo>
                        <a:pt x="1813" y="78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5" name="AutoShape 69"/>
                <p:cNvSpPr>
                  <a:spLocks/>
                </p:cNvSpPr>
                <p:nvPr/>
              </p:nvSpPr>
              <p:spPr bwMode="auto">
                <a:xfrm>
                  <a:off x="6383718" y="544376"/>
                  <a:ext cx="42774" cy="24221"/>
                </a:xfrm>
                <a:custGeom>
                  <a:avLst/>
                  <a:gdLst/>
                  <a:ahLst/>
                  <a:cxnLst/>
                  <a:rect l="0" t="0" r="r" b="b"/>
                  <a:pathLst>
                    <a:path w="21600" h="21600">
                      <a:moveTo>
                        <a:pt x="13747" y="19966"/>
                      </a:moveTo>
                      <a:cubicBezTo>
                        <a:pt x="15261" y="21055"/>
                        <a:pt x="16331" y="21600"/>
                        <a:pt x="16949" y="21600"/>
                      </a:cubicBezTo>
                      <a:cubicBezTo>
                        <a:pt x="18467" y="21600"/>
                        <a:pt x="19363" y="20754"/>
                        <a:pt x="19638" y="19058"/>
                      </a:cubicBezTo>
                      <a:cubicBezTo>
                        <a:pt x="19638" y="18937"/>
                        <a:pt x="19638" y="17064"/>
                        <a:pt x="19638" y="13433"/>
                      </a:cubicBezTo>
                      <a:cubicBezTo>
                        <a:pt x="19638" y="12829"/>
                        <a:pt x="19981" y="11921"/>
                        <a:pt x="20671" y="10710"/>
                      </a:cubicBezTo>
                      <a:cubicBezTo>
                        <a:pt x="21289" y="9500"/>
                        <a:pt x="21600" y="8350"/>
                        <a:pt x="21600" y="7261"/>
                      </a:cubicBezTo>
                      <a:cubicBezTo>
                        <a:pt x="21600" y="5446"/>
                        <a:pt x="19396" y="3692"/>
                        <a:pt x="14987" y="1998"/>
                      </a:cubicBezTo>
                      <a:cubicBezTo>
                        <a:pt x="11543" y="665"/>
                        <a:pt x="9165" y="62"/>
                        <a:pt x="7853" y="183"/>
                      </a:cubicBezTo>
                      <a:cubicBezTo>
                        <a:pt x="7647" y="183"/>
                        <a:pt x="7477" y="243"/>
                        <a:pt x="7336" y="364"/>
                      </a:cubicBezTo>
                      <a:cubicBezTo>
                        <a:pt x="5616" y="122"/>
                        <a:pt x="4582" y="0"/>
                        <a:pt x="4235" y="0"/>
                      </a:cubicBezTo>
                      <a:cubicBezTo>
                        <a:pt x="1413" y="0"/>
                        <a:pt x="0" y="2663"/>
                        <a:pt x="0" y="7986"/>
                      </a:cubicBezTo>
                      <a:cubicBezTo>
                        <a:pt x="0" y="11738"/>
                        <a:pt x="517" y="14461"/>
                        <a:pt x="1550" y="16156"/>
                      </a:cubicBezTo>
                      <a:cubicBezTo>
                        <a:pt x="2721" y="17970"/>
                        <a:pt x="4825" y="18817"/>
                        <a:pt x="7853" y="18696"/>
                      </a:cubicBezTo>
                      <a:cubicBezTo>
                        <a:pt x="10336" y="18455"/>
                        <a:pt x="12298" y="18877"/>
                        <a:pt x="13747" y="19966"/>
                      </a:cubicBezTo>
                      <a:close/>
                      <a:moveTo>
                        <a:pt x="13747" y="1996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6" name="AutoShape 70"/>
                <p:cNvSpPr>
                  <a:spLocks/>
                </p:cNvSpPr>
                <p:nvPr/>
              </p:nvSpPr>
              <p:spPr bwMode="auto">
                <a:xfrm>
                  <a:off x="6264158" y="618585"/>
                  <a:ext cx="91731" cy="110283"/>
                </a:xfrm>
                <a:custGeom>
                  <a:avLst/>
                  <a:gdLst/>
                  <a:ahLst/>
                  <a:cxnLst/>
                  <a:rect l="0" t="0" r="r" b="b"/>
                  <a:pathLst>
                    <a:path w="21600" h="21600">
                      <a:moveTo>
                        <a:pt x="16960" y="1730"/>
                      </a:moveTo>
                      <a:cubicBezTo>
                        <a:pt x="16800" y="1998"/>
                        <a:pt x="16413" y="2132"/>
                        <a:pt x="15801" y="2132"/>
                      </a:cubicBezTo>
                      <a:cubicBezTo>
                        <a:pt x="15222" y="2132"/>
                        <a:pt x="14576" y="1783"/>
                        <a:pt x="13868" y="1086"/>
                      </a:cubicBezTo>
                      <a:cubicBezTo>
                        <a:pt x="13126" y="362"/>
                        <a:pt x="12337" y="0"/>
                        <a:pt x="11499" y="0"/>
                      </a:cubicBezTo>
                      <a:cubicBezTo>
                        <a:pt x="10599" y="0"/>
                        <a:pt x="9842" y="161"/>
                        <a:pt x="9229" y="483"/>
                      </a:cubicBezTo>
                      <a:cubicBezTo>
                        <a:pt x="8617" y="805"/>
                        <a:pt x="8311" y="1207"/>
                        <a:pt x="8311" y="1689"/>
                      </a:cubicBezTo>
                      <a:cubicBezTo>
                        <a:pt x="8311" y="2011"/>
                        <a:pt x="8698" y="2320"/>
                        <a:pt x="9470" y="2615"/>
                      </a:cubicBezTo>
                      <a:cubicBezTo>
                        <a:pt x="10244" y="2936"/>
                        <a:pt x="10631" y="3245"/>
                        <a:pt x="10631" y="3540"/>
                      </a:cubicBezTo>
                      <a:cubicBezTo>
                        <a:pt x="10631" y="3647"/>
                        <a:pt x="10533" y="3741"/>
                        <a:pt x="10340" y="3821"/>
                      </a:cubicBezTo>
                      <a:cubicBezTo>
                        <a:pt x="10116" y="3929"/>
                        <a:pt x="10002" y="4103"/>
                        <a:pt x="10002" y="4344"/>
                      </a:cubicBezTo>
                      <a:cubicBezTo>
                        <a:pt x="10002" y="4720"/>
                        <a:pt x="10325" y="4948"/>
                        <a:pt x="10969" y="5028"/>
                      </a:cubicBezTo>
                      <a:cubicBezTo>
                        <a:pt x="11581" y="5135"/>
                        <a:pt x="11886" y="5269"/>
                        <a:pt x="11886" y="5431"/>
                      </a:cubicBezTo>
                      <a:cubicBezTo>
                        <a:pt x="11886" y="5618"/>
                        <a:pt x="11758" y="5792"/>
                        <a:pt x="11499" y="5953"/>
                      </a:cubicBezTo>
                      <a:cubicBezTo>
                        <a:pt x="11243" y="6087"/>
                        <a:pt x="11114" y="6302"/>
                        <a:pt x="11114" y="6597"/>
                      </a:cubicBezTo>
                      <a:cubicBezTo>
                        <a:pt x="11114" y="6838"/>
                        <a:pt x="11339" y="7040"/>
                        <a:pt x="11790" y="7200"/>
                      </a:cubicBezTo>
                      <a:cubicBezTo>
                        <a:pt x="12209" y="7334"/>
                        <a:pt x="12419" y="7616"/>
                        <a:pt x="12419" y="8045"/>
                      </a:cubicBezTo>
                      <a:cubicBezTo>
                        <a:pt x="12419" y="8152"/>
                        <a:pt x="12337" y="8273"/>
                        <a:pt x="12177" y="8407"/>
                      </a:cubicBezTo>
                      <a:cubicBezTo>
                        <a:pt x="12017" y="8514"/>
                        <a:pt x="11854" y="8568"/>
                        <a:pt x="11694" y="8568"/>
                      </a:cubicBezTo>
                      <a:cubicBezTo>
                        <a:pt x="10984" y="8568"/>
                        <a:pt x="10276" y="8179"/>
                        <a:pt x="9566" y="7401"/>
                      </a:cubicBezTo>
                      <a:cubicBezTo>
                        <a:pt x="8955" y="6731"/>
                        <a:pt x="8472" y="5967"/>
                        <a:pt x="8117" y="5108"/>
                      </a:cubicBezTo>
                      <a:cubicBezTo>
                        <a:pt x="7924" y="4304"/>
                        <a:pt x="7700" y="3620"/>
                        <a:pt x="7441" y="3057"/>
                      </a:cubicBezTo>
                      <a:cubicBezTo>
                        <a:pt x="6958" y="2011"/>
                        <a:pt x="6265" y="1488"/>
                        <a:pt x="5363" y="1488"/>
                      </a:cubicBezTo>
                      <a:cubicBezTo>
                        <a:pt x="4976" y="1488"/>
                        <a:pt x="4542" y="1756"/>
                        <a:pt x="4058" y="2293"/>
                      </a:cubicBezTo>
                      <a:cubicBezTo>
                        <a:pt x="3543" y="2829"/>
                        <a:pt x="3284" y="3325"/>
                        <a:pt x="3284" y="3781"/>
                      </a:cubicBezTo>
                      <a:cubicBezTo>
                        <a:pt x="3284" y="4183"/>
                        <a:pt x="3575" y="4626"/>
                        <a:pt x="4155" y="5108"/>
                      </a:cubicBezTo>
                      <a:cubicBezTo>
                        <a:pt x="4026" y="5216"/>
                        <a:pt x="3881" y="5444"/>
                        <a:pt x="3720" y="5792"/>
                      </a:cubicBezTo>
                      <a:cubicBezTo>
                        <a:pt x="3560" y="6141"/>
                        <a:pt x="3479" y="6396"/>
                        <a:pt x="3479" y="6556"/>
                      </a:cubicBezTo>
                      <a:cubicBezTo>
                        <a:pt x="3479" y="7093"/>
                        <a:pt x="3930" y="7348"/>
                        <a:pt x="4832" y="7321"/>
                      </a:cubicBezTo>
                      <a:cubicBezTo>
                        <a:pt x="5701" y="7294"/>
                        <a:pt x="6137" y="7442"/>
                        <a:pt x="6137" y="7763"/>
                      </a:cubicBezTo>
                      <a:cubicBezTo>
                        <a:pt x="6137" y="7844"/>
                        <a:pt x="5942" y="8059"/>
                        <a:pt x="5557" y="8407"/>
                      </a:cubicBezTo>
                      <a:cubicBezTo>
                        <a:pt x="5170" y="8729"/>
                        <a:pt x="4976" y="8916"/>
                        <a:pt x="4976" y="8970"/>
                      </a:cubicBezTo>
                      <a:cubicBezTo>
                        <a:pt x="4976" y="9051"/>
                        <a:pt x="5153" y="9211"/>
                        <a:pt x="5508" y="9453"/>
                      </a:cubicBezTo>
                      <a:cubicBezTo>
                        <a:pt x="5863" y="9694"/>
                        <a:pt x="6040" y="9882"/>
                        <a:pt x="6040" y="10016"/>
                      </a:cubicBezTo>
                      <a:cubicBezTo>
                        <a:pt x="5814" y="10365"/>
                        <a:pt x="5604" y="10539"/>
                        <a:pt x="5412" y="10539"/>
                      </a:cubicBezTo>
                      <a:cubicBezTo>
                        <a:pt x="4251" y="9654"/>
                        <a:pt x="3526" y="9211"/>
                        <a:pt x="3237" y="9211"/>
                      </a:cubicBezTo>
                      <a:cubicBezTo>
                        <a:pt x="2658" y="9211"/>
                        <a:pt x="2367" y="9506"/>
                        <a:pt x="2367" y="10096"/>
                      </a:cubicBezTo>
                      <a:cubicBezTo>
                        <a:pt x="2367" y="10123"/>
                        <a:pt x="2431" y="10230"/>
                        <a:pt x="2560" y="10418"/>
                      </a:cubicBezTo>
                      <a:cubicBezTo>
                        <a:pt x="2690" y="10633"/>
                        <a:pt x="2754" y="10820"/>
                        <a:pt x="2754" y="10981"/>
                      </a:cubicBezTo>
                      <a:lnTo>
                        <a:pt x="2754" y="11303"/>
                      </a:lnTo>
                      <a:cubicBezTo>
                        <a:pt x="2722" y="11357"/>
                        <a:pt x="2560" y="11384"/>
                        <a:pt x="2271" y="11384"/>
                      </a:cubicBezTo>
                      <a:cubicBezTo>
                        <a:pt x="1691" y="11223"/>
                        <a:pt x="1336" y="11142"/>
                        <a:pt x="1208" y="11142"/>
                      </a:cubicBezTo>
                      <a:cubicBezTo>
                        <a:pt x="982" y="11142"/>
                        <a:pt x="740" y="11249"/>
                        <a:pt x="483" y="11464"/>
                      </a:cubicBezTo>
                      <a:cubicBezTo>
                        <a:pt x="160" y="11705"/>
                        <a:pt x="0" y="11987"/>
                        <a:pt x="0" y="12309"/>
                      </a:cubicBezTo>
                      <a:cubicBezTo>
                        <a:pt x="0" y="12603"/>
                        <a:pt x="160" y="12845"/>
                        <a:pt x="483" y="13032"/>
                      </a:cubicBezTo>
                      <a:cubicBezTo>
                        <a:pt x="772" y="13193"/>
                        <a:pt x="1127" y="13274"/>
                        <a:pt x="1546" y="13274"/>
                      </a:cubicBezTo>
                      <a:lnTo>
                        <a:pt x="3479" y="12952"/>
                      </a:lnTo>
                      <a:lnTo>
                        <a:pt x="4155" y="12952"/>
                      </a:lnTo>
                      <a:cubicBezTo>
                        <a:pt x="4285" y="12925"/>
                        <a:pt x="4413" y="12899"/>
                        <a:pt x="4542" y="12872"/>
                      </a:cubicBezTo>
                      <a:cubicBezTo>
                        <a:pt x="5735" y="12630"/>
                        <a:pt x="7473" y="12255"/>
                        <a:pt x="9761" y="11745"/>
                      </a:cubicBezTo>
                      <a:cubicBezTo>
                        <a:pt x="11114" y="11451"/>
                        <a:pt x="12774" y="11303"/>
                        <a:pt x="14739" y="11303"/>
                      </a:cubicBezTo>
                      <a:cubicBezTo>
                        <a:pt x="14963" y="11303"/>
                        <a:pt x="15173" y="11384"/>
                        <a:pt x="15365" y="11544"/>
                      </a:cubicBezTo>
                      <a:lnTo>
                        <a:pt x="15269" y="11625"/>
                      </a:lnTo>
                      <a:cubicBezTo>
                        <a:pt x="13755" y="12081"/>
                        <a:pt x="12660" y="12469"/>
                        <a:pt x="11983" y="12791"/>
                      </a:cubicBezTo>
                      <a:cubicBezTo>
                        <a:pt x="10792" y="13354"/>
                        <a:pt x="10308" y="14119"/>
                        <a:pt x="10533" y="15084"/>
                      </a:cubicBezTo>
                      <a:lnTo>
                        <a:pt x="9808" y="15084"/>
                      </a:lnTo>
                      <a:cubicBezTo>
                        <a:pt x="9423" y="14923"/>
                        <a:pt x="9117" y="14842"/>
                        <a:pt x="8891" y="14842"/>
                      </a:cubicBezTo>
                      <a:cubicBezTo>
                        <a:pt x="8859" y="14842"/>
                        <a:pt x="8698" y="15057"/>
                        <a:pt x="8407" y="15486"/>
                      </a:cubicBezTo>
                      <a:cubicBezTo>
                        <a:pt x="8085" y="15942"/>
                        <a:pt x="7924" y="16250"/>
                        <a:pt x="7924" y="16411"/>
                      </a:cubicBezTo>
                      <a:cubicBezTo>
                        <a:pt x="7924" y="16626"/>
                        <a:pt x="8230" y="16880"/>
                        <a:pt x="8842" y="17175"/>
                      </a:cubicBezTo>
                      <a:cubicBezTo>
                        <a:pt x="9423" y="17470"/>
                        <a:pt x="9712" y="17779"/>
                        <a:pt x="9712" y="18101"/>
                      </a:cubicBezTo>
                      <a:cubicBezTo>
                        <a:pt x="9712" y="18261"/>
                        <a:pt x="9359" y="18423"/>
                        <a:pt x="8649" y="18583"/>
                      </a:cubicBezTo>
                      <a:cubicBezTo>
                        <a:pt x="7909" y="18717"/>
                        <a:pt x="7537" y="18945"/>
                        <a:pt x="7537" y="19267"/>
                      </a:cubicBezTo>
                      <a:cubicBezTo>
                        <a:pt x="7537" y="19776"/>
                        <a:pt x="7732" y="20259"/>
                        <a:pt x="8117" y="20716"/>
                      </a:cubicBezTo>
                      <a:cubicBezTo>
                        <a:pt x="8634" y="21305"/>
                        <a:pt x="9406" y="21600"/>
                        <a:pt x="10437" y="21600"/>
                      </a:cubicBezTo>
                      <a:cubicBezTo>
                        <a:pt x="10727" y="21600"/>
                        <a:pt x="11097" y="21453"/>
                        <a:pt x="11548" y="21158"/>
                      </a:cubicBezTo>
                      <a:cubicBezTo>
                        <a:pt x="12000" y="20863"/>
                        <a:pt x="12337" y="20716"/>
                        <a:pt x="12564" y="20716"/>
                      </a:cubicBezTo>
                      <a:cubicBezTo>
                        <a:pt x="12692" y="20716"/>
                        <a:pt x="13143" y="20822"/>
                        <a:pt x="13916" y="21037"/>
                      </a:cubicBezTo>
                      <a:cubicBezTo>
                        <a:pt x="14850" y="21252"/>
                        <a:pt x="15801" y="21359"/>
                        <a:pt x="16768" y="21359"/>
                      </a:cubicBezTo>
                      <a:cubicBezTo>
                        <a:pt x="17251" y="21359"/>
                        <a:pt x="17508" y="21212"/>
                        <a:pt x="17540" y="20916"/>
                      </a:cubicBezTo>
                      <a:cubicBezTo>
                        <a:pt x="17638" y="20380"/>
                        <a:pt x="17734" y="20058"/>
                        <a:pt x="17830" y="19951"/>
                      </a:cubicBezTo>
                      <a:cubicBezTo>
                        <a:pt x="17959" y="19763"/>
                        <a:pt x="18265" y="19603"/>
                        <a:pt x="18748" y="19468"/>
                      </a:cubicBezTo>
                      <a:cubicBezTo>
                        <a:pt x="19135" y="19361"/>
                        <a:pt x="19329" y="19146"/>
                        <a:pt x="19329" y="18825"/>
                      </a:cubicBezTo>
                      <a:cubicBezTo>
                        <a:pt x="19329" y="18557"/>
                        <a:pt x="19120" y="18208"/>
                        <a:pt x="18701" y="17779"/>
                      </a:cubicBezTo>
                      <a:cubicBezTo>
                        <a:pt x="18249" y="17350"/>
                        <a:pt x="18023" y="17108"/>
                        <a:pt x="18023" y="17055"/>
                      </a:cubicBezTo>
                      <a:cubicBezTo>
                        <a:pt x="18023" y="16706"/>
                        <a:pt x="18265" y="16130"/>
                        <a:pt x="18748" y="15325"/>
                      </a:cubicBezTo>
                      <a:cubicBezTo>
                        <a:pt x="19231" y="14494"/>
                        <a:pt x="19603" y="14078"/>
                        <a:pt x="19860" y="14078"/>
                      </a:cubicBezTo>
                      <a:cubicBezTo>
                        <a:pt x="20086" y="14078"/>
                        <a:pt x="20296" y="14333"/>
                        <a:pt x="20488" y="14842"/>
                      </a:cubicBezTo>
                      <a:cubicBezTo>
                        <a:pt x="20649" y="15325"/>
                        <a:pt x="20858" y="15566"/>
                        <a:pt x="21117" y="15566"/>
                      </a:cubicBezTo>
                      <a:cubicBezTo>
                        <a:pt x="21373" y="15566"/>
                        <a:pt x="21536" y="15459"/>
                        <a:pt x="21600" y="15245"/>
                      </a:cubicBezTo>
                      <a:cubicBezTo>
                        <a:pt x="21600" y="15218"/>
                        <a:pt x="21600" y="14990"/>
                        <a:pt x="21600" y="14561"/>
                      </a:cubicBezTo>
                      <a:cubicBezTo>
                        <a:pt x="21600" y="14319"/>
                        <a:pt x="21551" y="13957"/>
                        <a:pt x="21455" y="13475"/>
                      </a:cubicBezTo>
                      <a:cubicBezTo>
                        <a:pt x="21326" y="13019"/>
                        <a:pt x="21277" y="12590"/>
                        <a:pt x="21309" y="12188"/>
                      </a:cubicBezTo>
                      <a:cubicBezTo>
                        <a:pt x="21309" y="11786"/>
                        <a:pt x="21004" y="11544"/>
                        <a:pt x="20392" y="11464"/>
                      </a:cubicBezTo>
                      <a:cubicBezTo>
                        <a:pt x="19748" y="11410"/>
                        <a:pt x="19425" y="11276"/>
                        <a:pt x="19425" y="11062"/>
                      </a:cubicBezTo>
                      <a:cubicBezTo>
                        <a:pt x="20005" y="10230"/>
                        <a:pt x="20439" y="9533"/>
                        <a:pt x="20730" y="8970"/>
                      </a:cubicBezTo>
                      <a:cubicBezTo>
                        <a:pt x="21117" y="7522"/>
                        <a:pt x="21309" y="6704"/>
                        <a:pt x="21309" y="6516"/>
                      </a:cubicBezTo>
                      <a:cubicBezTo>
                        <a:pt x="21309" y="6329"/>
                        <a:pt x="21181" y="6074"/>
                        <a:pt x="20922" y="5752"/>
                      </a:cubicBezTo>
                      <a:cubicBezTo>
                        <a:pt x="20666" y="5431"/>
                        <a:pt x="20537" y="5189"/>
                        <a:pt x="20537" y="5028"/>
                      </a:cubicBezTo>
                      <a:cubicBezTo>
                        <a:pt x="20537" y="4921"/>
                        <a:pt x="20666" y="4572"/>
                        <a:pt x="20922" y="3982"/>
                      </a:cubicBezTo>
                      <a:cubicBezTo>
                        <a:pt x="21181" y="3365"/>
                        <a:pt x="21309" y="2990"/>
                        <a:pt x="21309" y="2856"/>
                      </a:cubicBezTo>
                      <a:cubicBezTo>
                        <a:pt x="21309" y="2668"/>
                        <a:pt x="21085" y="2440"/>
                        <a:pt x="20634" y="2172"/>
                      </a:cubicBezTo>
                      <a:cubicBezTo>
                        <a:pt x="20054" y="1824"/>
                        <a:pt x="19714" y="1596"/>
                        <a:pt x="19618" y="1488"/>
                      </a:cubicBezTo>
                      <a:cubicBezTo>
                        <a:pt x="19425" y="1274"/>
                        <a:pt x="19135" y="992"/>
                        <a:pt x="18748" y="644"/>
                      </a:cubicBezTo>
                      <a:cubicBezTo>
                        <a:pt x="18232" y="215"/>
                        <a:pt x="17895" y="0"/>
                        <a:pt x="17734" y="0"/>
                      </a:cubicBezTo>
                      <a:cubicBezTo>
                        <a:pt x="17638" y="0"/>
                        <a:pt x="17508" y="107"/>
                        <a:pt x="17347" y="322"/>
                      </a:cubicBezTo>
                      <a:cubicBezTo>
                        <a:pt x="17155" y="563"/>
                        <a:pt x="17057" y="791"/>
                        <a:pt x="17057" y="1006"/>
                      </a:cubicBezTo>
                      <a:cubicBezTo>
                        <a:pt x="17057" y="1381"/>
                        <a:pt x="17024" y="1622"/>
                        <a:pt x="16960" y="1730"/>
                      </a:cubicBezTo>
                      <a:close/>
                      <a:moveTo>
                        <a:pt x="16960" y="173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7" name="AutoShape 71"/>
                <p:cNvSpPr>
                  <a:spLocks/>
                </p:cNvSpPr>
                <p:nvPr/>
              </p:nvSpPr>
              <p:spPr bwMode="auto">
                <a:xfrm>
                  <a:off x="6284772" y="523763"/>
                  <a:ext cx="24221" cy="15460"/>
                </a:xfrm>
                <a:custGeom>
                  <a:avLst/>
                  <a:gdLst/>
                  <a:ahLst/>
                  <a:cxnLst/>
                  <a:rect l="0" t="0" r="r" b="b"/>
                  <a:pathLst>
                    <a:path w="21600" h="21600">
                      <a:moveTo>
                        <a:pt x="21600" y="17337"/>
                      </a:moveTo>
                      <a:cubicBezTo>
                        <a:pt x="21600" y="16959"/>
                        <a:pt x="21118" y="16106"/>
                        <a:pt x="20146" y="14779"/>
                      </a:cubicBezTo>
                      <a:cubicBezTo>
                        <a:pt x="19785" y="14398"/>
                        <a:pt x="19487" y="14023"/>
                        <a:pt x="19239" y="13643"/>
                      </a:cubicBezTo>
                      <a:cubicBezTo>
                        <a:pt x="18998" y="12884"/>
                        <a:pt x="18820" y="12315"/>
                        <a:pt x="18700" y="11937"/>
                      </a:cubicBezTo>
                      <a:cubicBezTo>
                        <a:pt x="17608" y="8716"/>
                        <a:pt x="15977" y="5969"/>
                        <a:pt x="13793" y="3694"/>
                      </a:cubicBezTo>
                      <a:cubicBezTo>
                        <a:pt x="11374" y="1233"/>
                        <a:pt x="9013" y="0"/>
                        <a:pt x="6715" y="0"/>
                      </a:cubicBezTo>
                      <a:cubicBezTo>
                        <a:pt x="5141" y="0"/>
                        <a:pt x="3631" y="1328"/>
                        <a:pt x="2177" y="3980"/>
                      </a:cubicBezTo>
                      <a:cubicBezTo>
                        <a:pt x="723" y="6441"/>
                        <a:pt x="0" y="8907"/>
                        <a:pt x="0" y="11368"/>
                      </a:cubicBezTo>
                      <a:cubicBezTo>
                        <a:pt x="0" y="14398"/>
                        <a:pt x="723" y="16864"/>
                        <a:pt x="2177" y="18756"/>
                      </a:cubicBezTo>
                      <a:cubicBezTo>
                        <a:pt x="3631" y="20653"/>
                        <a:pt x="5503" y="21600"/>
                        <a:pt x="7807" y="21600"/>
                      </a:cubicBezTo>
                      <a:cubicBezTo>
                        <a:pt x="8290" y="21600"/>
                        <a:pt x="10531" y="20558"/>
                        <a:pt x="14523" y="18473"/>
                      </a:cubicBezTo>
                      <a:cubicBezTo>
                        <a:pt x="17551" y="16770"/>
                        <a:pt x="19785" y="17053"/>
                        <a:pt x="21238" y="19325"/>
                      </a:cubicBezTo>
                      <a:cubicBezTo>
                        <a:pt x="21479" y="18948"/>
                        <a:pt x="21600" y="18284"/>
                        <a:pt x="21600" y="17337"/>
                      </a:cubicBezTo>
                      <a:close/>
                      <a:moveTo>
                        <a:pt x="21600" y="1733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8" name="AutoShape 72"/>
                <p:cNvSpPr>
                  <a:spLocks/>
                </p:cNvSpPr>
                <p:nvPr/>
              </p:nvSpPr>
              <p:spPr bwMode="auto">
                <a:xfrm>
                  <a:off x="6371350" y="684549"/>
                  <a:ext cx="53080" cy="72663"/>
                </a:xfrm>
                <a:custGeom>
                  <a:avLst/>
                  <a:gdLst/>
                  <a:ahLst/>
                  <a:cxnLst/>
                  <a:rect l="0" t="0" r="r" b="b"/>
                  <a:pathLst>
                    <a:path w="21600" h="21600">
                      <a:moveTo>
                        <a:pt x="1332" y="12605"/>
                      </a:moveTo>
                      <a:cubicBezTo>
                        <a:pt x="2333" y="12932"/>
                        <a:pt x="2974" y="13442"/>
                        <a:pt x="3251" y="14135"/>
                      </a:cubicBezTo>
                      <a:cubicBezTo>
                        <a:pt x="3307" y="14339"/>
                        <a:pt x="3362" y="14666"/>
                        <a:pt x="3418" y="15114"/>
                      </a:cubicBezTo>
                      <a:cubicBezTo>
                        <a:pt x="3473" y="15522"/>
                        <a:pt x="3613" y="15787"/>
                        <a:pt x="3835" y="15910"/>
                      </a:cubicBezTo>
                      <a:cubicBezTo>
                        <a:pt x="4170" y="16113"/>
                        <a:pt x="4669" y="16256"/>
                        <a:pt x="5336" y="16338"/>
                      </a:cubicBezTo>
                      <a:cubicBezTo>
                        <a:pt x="6115" y="16420"/>
                        <a:pt x="6561" y="16481"/>
                        <a:pt x="6672" y="16522"/>
                      </a:cubicBezTo>
                      <a:lnTo>
                        <a:pt x="10842" y="19213"/>
                      </a:lnTo>
                      <a:cubicBezTo>
                        <a:pt x="11621" y="20030"/>
                        <a:pt x="12149" y="20540"/>
                        <a:pt x="12426" y="20743"/>
                      </a:cubicBezTo>
                      <a:cubicBezTo>
                        <a:pt x="13204" y="21315"/>
                        <a:pt x="14068" y="21600"/>
                        <a:pt x="15012" y="21600"/>
                      </a:cubicBezTo>
                      <a:cubicBezTo>
                        <a:pt x="17681" y="21600"/>
                        <a:pt x="19544" y="20743"/>
                        <a:pt x="20600" y="19030"/>
                      </a:cubicBezTo>
                      <a:cubicBezTo>
                        <a:pt x="21268" y="17888"/>
                        <a:pt x="21600" y="16277"/>
                        <a:pt x="21600" y="14196"/>
                      </a:cubicBezTo>
                      <a:cubicBezTo>
                        <a:pt x="21600" y="11422"/>
                        <a:pt x="21489" y="9729"/>
                        <a:pt x="21268" y="9117"/>
                      </a:cubicBezTo>
                      <a:cubicBezTo>
                        <a:pt x="20932" y="8057"/>
                        <a:pt x="19792" y="6812"/>
                        <a:pt x="17847" y="5385"/>
                      </a:cubicBezTo>
                      <a:cubicBezTo>
                        <a:pt x="17736" y="5303"/>
                        <a:pt x="16400" y="4059"/>
                        <a:pt x="13843" y="1652"/>
                      </a:cubicBezTo>
                      <a:cubicBezTo>
                        <a:pt x="12677" y="551"/>
                        <a:pt x="11259" y="0"/>
                        <a:pt x="9591" y="0"/>
                      </a:cubicBezTo>
                      <a:cubicBezTo>
                        <a:pt x="6978" y="0"/>
                        <a:pt x="5669" y="999"/>
                        <a:pt x="5669" y="2998"/>
                      </a:cubicBezTo>
                      <a:cubicBezTo>
                        <a:pt x="5669" y="3447"/>
                        <a:pt x="5864" y="3835"/>
                        <a:pt x="6255" y="4161"/>
                      </a:cubicBezTo>
                      <a:cubicBezTo>
                        <a:pt x="6144" y="4079"/>
                        <a:pt x="5975" y="4018"/>
                        <a:pt x="5753" y="3978"/>
                      </a:cubicBezTo>
                      <a:cubicBezTo>
                        <a:pt x="5643" y="3978"/>
                        <a:pt x="5447" y="3978"/>
                        <a:pt x="5170" y="3978"/>
                      </a:cubicBezTo>
                      <a:cubicBezTo>
                        <a:pt x="3668" y="3978"/>
                        <a:pt x="2919" y="4181"/>
                        <a:pt x="2919" y="4590"/>
                      </a:cubicBezTo>
                      <a:cubicBezTo>
                        <a:pt x="2919" y="5119"/>
                        <a:pt x="3056" y="5568"/>
                        <a:pt x="3336" y="5936"/>
                      </a:cubicBezTo>
                      <a:cubicBezTo>
                        <a:pt x="3558" y="6343"/>
                        <a:pt x="3668" y="6669"/>
                        <a:pt x="3668" y="6915"/>
                      </a:cubicBezTo>
                      <a:cubicBezTo>
                        <a:pt x="3668" y="7200"/>
                        <a:pt x="3056" y="7669"/>
                        <a:pt x="1834" y="8322"/>
                      </a:cubicBezTo>
                      <a:cubicBezTo>
                        <a:pt x="609" y="8934"/>
                        <a:pt x="0" y="9791"/>
                        <a:pt x="0" y="10892"/>
                      </a:cubicBezTo>
                      <a:cubicBezTo>
                        <a:pt x="0" y="11749"/>
                        <a:pt x="443" y="12320"/>
                        <a:pt x="1332" y="12605"/>
                      </a:cubicBezTo>
                      <a:close/>
                      <a:moveTo>
                        <a:pt x="1332" y="1260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499" name="AutoShape 73"/>
                <p:cNvSpPr>
                  <a:spLocks/>
                </p:cNvSpPr>
                <p:nvPr/>
              </p:nvSpPr>
              <p:spPr bwMode="auto">
                <a:xfrm>
                  <a:off x="6358981" y="688672"/>
                  <a:ext cx="9792" cy="15976"/>
                </a:xfrm>
                <a:custGeom>
                  <a:avLst/>
                  <a:gdLst/>
                  <a:ahLst/>
                  <a:cxnLst/>
                  <a:rect l="0" t="0" r="r" b="b"/>
                  <a:pathLst>
                    <a:path w="21600" h="21600">
                      <a:moveTo>
                        <a:pt x="19843" y="2492"/>
                      </a:moveTo>
                      <a:cubicBezTo>
                        <a:pt x="18947" y="831"/>
                        <a:pt x="17345" y="0"/>
                        <a:pt x="14986" y="0"/>
                      </a:cubicBezTo>
                      <a:cubicBezTo>
                        <a:pt x="11162" y="0"/>
                        <a:pt x="7631" y="1478"/>
                        <a:pt x="4410" y="4430"/>
                      </a:cubicBezTo>
                      <a:cubicBezTo>
                        <a:pt x="1464" y="7017"/>
                        <a:pt x="0" y="9693"/>
                        <a:pt x="0" y="12462"/>
                      </a:cubicBezTo>
                      <a:cubicBezTo>
                        <a:pt x="0" y="14678"/>
                        <a:pt x="1464" y="16799"/>
                        <a:pt x="4410" y="18829"/>
                      </a:cubicBezTo>
                      <a:cubicBezTo>
                        <a:pt x="7045" y="20675"/>
                        <a:pt x="9250" y="21600"/>
                        <a:pt x="11024" y="21600"/>
                      </a:cubicBezTo>
                      <a:cubicBezTo>
                        <a:pt x="13952" y="21600"/>
                        <a:pt x="16157" y="20122"/>
                        <a:pt x="17638" y="17167"/>
                      </a:cubicBezTo>
                      <a:cubicBezTo>
                        <a:pt x="19102" y="14031"/>
                        <a:pt x="20429" y="11536"/>
                        <a:pt x="21600" y="9693"/>
                      </a:cubicBezTo>
                      <a:cubicBezTo>
                        <a:pt x="21014" y="5999"/>
                        <a:pt x="20429" y="3602"/>
                        <a:pt x="19843" y="2492"/>
                      </a:cubicBezTo>
                      <a:close/>
                      <a:moveTo>
                        <a:pt x="19843" y="249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0" name="AutoShape 74"/>
                <p:cNvSpPr>
                  <a:spLocks/>
                </p:cNvSpPr>
                <p:nvPr/>
              </p:nvSpPr>
              <p:spPr bwMode="auto">
                <a:xfrm>
                  <a:off x="6371350" y="684549"/>
                  <a:ext cx="9276" cy="9792"/>
                </a:xfrm>
                <a:custGeom>
                  <a:avLst/>
                  <a:gdLst/>
                  <a:ahLst/>
                  <a:cxnLst/>
                  <a:rect l="0" t="0" r="r" b="b"/>
                  <a:pathLst>
                    <a:path w="21600" h="21600">
                      <a:moveTo>
                        <a:pt x="11025" y="21600"/>
                      </a:moveTo>
                      <a:cubicBezTo>
                        <a:pt x="12956" y="21600"/>
                        <a:pt x="15188" y="20304"/>
                        <a:pt x="17756" y="17711"/>
                      </a:cubicBezTo>
                      <a:cubicBezTo>
                        <a:pt x="20306" y="15119"/>
                        <a:pt x="21600" y="13101"/>
                        <a:pt x="21600" y="11666"/>
                      </a:cubicBezTo>
                      <a:cubicBezTo>
                        <a:pt x="21600" y="8203"/>
                        <a:pt x="19838" y="5328"/>
                        <a:pt x="16312" y="3023"/>
                      </a:cubicBezTo>
                      <a:cubicBezTo>
                        <a:pt x="13106" y="1009"/>
                        <a:pt x="10069" y="0"/>
                        <a:pt x="7200" y="0"/>
                      </a:cubicBezTo>
                      <a:cubicBezTo>
                        <a:pt x="2400" y="0"/>
                        <a:pt x="0" y="3023"/>
                        <a:pt x="0" y="9069"/>
                      </a:cubicBezTo>
                      <a:cubicBezTo>
                        <a:pt x="0" y="11666"/>
                        <a:pt x="956" y="14254"/>
                        <a:pt x="2869" y="16846"/>
                      </a:cubicBezTo>
                      <a:cubicBezTo>
                        <a:pt x="5119" y="20013"/>
                        <a:pt x="7837" y="21600"/>
                        <a:pt x="11025" y="21600"/>
                      </a:cubicBezTo>
                      <a:close/>
                      <a:moveTo>
                        <a:pt x="11025"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1" name="AutoShape 75"/>
                <p:cNvSpPr>
                  <a:spLocks/>
                </p:cNvSpPr>
                <p:nvPr/>
              </p:nvSpPr>
              <p:spPr bwMode="auto">
                <a:xfrm>
                  <a:off x="6288895" y="602094"/>
                  <a:ext cx="17522" cy="12368"/>
                </a:xfrm>
                <a:custGeom>
                  <a:avLst/>
                  <a:gdLst/>
                  <a:ahLst/>
                  <a:cxnLst/>
                  <a:rect l="0" t="0" r="r" b="b"/>
                  <a:pathLst>
                    <a:path w="21600" h="21600">
                      <a:moveTo>
                        <a:pt x="7365" y="4956"/>
                      </a:moveTo>
                      <a:cubicBezTo>
                        <a:pt x="2452" y="8736"/>
                        <a:pt x="0" y="12394"/>
                        <a:pt x="0" y="15938"/>
                      </a:cubicBezTo>
                      <a:cubicBezTo>
                        <a:pt x="0" y="16879"/>
                        <a:pt x="596" y="18059"/>
                        <a:pt x="1777" y="19478"/>
                      </a:cubicBezTo>
                      <a:cubicBezTo>
                        <a:pt x="2968" y="20894"/>
                        <a:pt x="4239" y="21600"/>
                        <a:pt x="5589" y="21600"/>
                      </a:cubicBezTo>
                      <a:cubicBezTo>
                        <a:pt x="9142" y="21600"/>
                        <a:pt x="13550" y="19714"/>
                        <a:pt x="18801" y="15938"/>
                      </a:cubicBezTo>
                      <a:cubicBezTo>
                        <a:pt x="20498" y="9563"/>
                        <a:pt x="21431" y="6140"/>
                        <a:pt x="21600" y="5666"/>
                      </a:cubicBezTo>
                      <a:cubicBezTo>
                        <a:pt x="18384" y="1890"/>
                        <a:pt x="16428" y="0"/>
                        <a:pt x="15753" y="0"/>
                      </a:cubicBezTo>
                      <a:cubicBezTo>
                        <a:pt x="14225" y="0"/>
                        <a:pt x="11435" y="1654"/>
                        <a:pt x="7365" y="4956"/>
                      </a:cubicBezTo>
                      <a:close/>
                      <a:moveTo>
                        <a:pt x="7365" y="495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2" name="AutoShape 76"/>
                <p:cNvSpPr>
                  <a:spLocks/>
                </p:cNvSpPr>
                <p:nvPr/>
              </p:nvSpPr>
              <p:spPr bwMode="auto">
                <a:xfrm>
                  <a:off x="6231177" y="527885"/>
                  <a:ext cx="19583" cy="46381"/>
                </a:xfrm>
                <a:custGeom>
                  <a:avLst/>
                  <a:gdLst/>
                  <a:ahLst/>
                  <a:cxnLst/>
                  <a:rect l="0" t="0" r="r" b="b"/>
                  <a:pathLst>
                    <a:path w="21600" h="21600">
                      <a:moveTo>
                        <a:pt x="12470" y="21600"/>
                      </a:moveTo>
                      <a:cubicBezTo>
                        <a:pt x="14696" y="21600"/>
                        <a:pt x="16852" y="21029"/>
                        <a:pt x="18922" y="19887"/>
                      </a:cubicBezTo>
                      <a:cubicBezTo>
                        <a:pt x="20704" y="18809"/>
                        <a:pt x="21600" y="17794"/>
                        <a:pt x="21600" y="16842"/>
                      </a:cubicBezTo>
                      <a:cubicBezTo>
                        <a:pt x="21600" y="15448"/>
                        <a:pt x="20339" y="14052"/>
                        <a:pt x="17809" y="12656"/>
                      </a:cubicBezTo>
                      <a:cubicBezTo>
                        <a:pt x="14991" y="11070"/>
                        <a:pt x="13357" y="9705"/>
                        <a:pt x="12913" y="8564"/>
                      </a:cubicBezTo>
                      <a:cubicBezTo>
                        <a:pt x="10983" y="3108"/>
                        <a:pt x="7200" y="253"/>
                        <a:pt x="1565" y="0"/>
                      </a:cubicBezTo>
                      <a:cubicBezTo>
                        <a:pt x="670" y="316"/>
                        <a:pt x="157" y="919"/>
                        <a:pt x="0" y="1807"/>
                      </a:cubicBezTo>
                      <a:cubicBezTo>
                        <a:pt x="0" y="1934"/>
                        <a:pt x="0" y="3012"/>
                        <a:pt x="0" y="5043"/>
                      </a:cubicBezTo>
                      <a:cubicBezTo>
                        <a:pt x="0" y="9104"/>
                        <a:pt x="817" y="12625"/>
                        <a:pt x="2452" y="15606"/>
                      </a:cubicBezTo>
                      <a:cubicBezTo>
                        <a:pt x="4530" y="19602"/>
                        <a:pt x="7870" y="21600"/>
                        <a:pt x="12470" y="21600"/>
                      </a:cubicBezTo>
                      <a:close/>
                      <a:moveTo>
                        <a:pt x="12470"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3" name="AutoShape 77"/>
                <p:cNvSpPr>
                  <a:spLocks/>
                </p:cNvSpPr>
                <p:nvPr/>
              </p:nvSpPr>
              <p:spPr bwMode="auto">
                <a:xfrm>
                  <a:off x="6239422" y="606217"/>
                  <a:ext cx="24221" cy="24736"/>
                </a:xfrm>
                <a:custGeom>
                  <a:avLst/>
                  <a:gdLst/>
                  <a:ahLst/>
                  <a:cxnLst/>
                  <a:rect l="0" t="0" r="r" b="b"/>
                  <a:pathLst>
                    <a:path w="21600" h="21600">
                      <a:moveTo>
                        <a:pt x="9438" y="21600"/>
                      </a:moveTo>
                      <a:lnTo>
                        <a:pt x="13977" y="20531"/>
                      </a:lnTo>
                      <a:cubicBezTo>
                        <a:pt x="17246" y="19697"/>
                        <a:pt x="19664" y="18922"/>
                        <a:pt x="21238" y="18208"/>
                      </a:cubicBezTo>
                      <a:cubicBezTo>
                        <a:pt x="21479" y="17495"/>
                        <a:pt x="21600" y="16780"/>
                        <a:pt x="21600" y="16066"/>
                      </a:cubicBezTo>
                      <a:cubicBezTo>
                        <a:pt x="21600" y="13568"/>
                        <a:pt x="20153" y="10414"/>
                        <a:pt x="17246" y="6603"/>
                      </a:cubicBezTo>
                      <a:cubicBezTo>
                        <a:pt x="13977" y="2202"/>
                        <a:pt x="10531" y="0"/>
                        <a:pt x="6900" y="0"/>
                      </a:cubicBezTo>
                      <a:cubicBezTo>
                        <a:pt x="5928" y="0"/>
                        <a:pt x="4659" y="476"/>
                        <a:pt x="3085" y="1429"/>
                      </a:cubicBezTo>
                      <a:cubicBezTo>
                        <a:pt x="1028" y="2617"/>
                        <a:pt x="0" y="3927"/>
                        <a:pt x="0" y="5356"/>
                      </a:cubicBezTo>
                      <a:cubicBezTo>
                        <a:pt x="0" y="5951"/>
                        <a:pt x="546" y="7319"/>
                        <a:pt x="1631" y="9461"/>
                      </a:cubicBezTo>
                      <a:cubicBezTo>
                        <a:pt x="2602" y="11603"/>
                        <a:pt x="3085" y="13390"/>
                        <a:pt x="3085" y="14817"/>
                      </a:cubicBezTo>
                      <a:cubicBezTo>
                        <a:pt x="3085" y="15412"/>
                        <a:pt x="2844" y="16303"/>
                        <a:pt x="2361" y="17495"/>
                      </a:cubicBezTo>
                      <a:cubicBezTo>
                        <a:pt x="2361" y="20232"/>
                        <a:pt x="4723" y="21600"/>
                        <a:pt x="9438" y="21600"/>
                      </a:cubicBezTo>
                      <a:close/>
                      <a:moveTo>
                        <a:pt x="9438"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4" name="AutoShape 78"/>
                <p:cNvSpPr>
                  <a:spLocks/>
                </p:cNvSpPr>
                <p:nvPr/>
              </p:nvSpPr>
              <p:spPr bwMode="auto">
                <a:xfrm>
                  <a:off x="6239422" y="630954"/>
                  <a:ext cx="28859" cy="16491"/>
                </a:xfrm>
                <a:custGeom>
                  <a:avLst/>
                  <a:gdLst/>
                  <a:ahLst/>
                  <a:cxnLst/>
                  <a:rect l="0" t="0" r="r" b="b"/>
                  <a:pathLst>
                    <a:path w="21600" h="21600">
                      <a:moveTo>
                        <a:pt x="4165" y="19757"/>
                      </a:moveTo>
                      <a:cubicBezTo>
                        <a:pt x="5605" y="20985"/>
                        <a:pt x="7094" y="21600"/>
                        <a:pt x="8636" y="21600"/>
                      </a:cubicBezTo>
                      <a:cubicBezTo>
                        <a:pt x="11620" y="21600"/>
                        <a:pt x="14452" y="20372"/>
                        <a:pt x="17122" y="17911"/>
                      </a:cubicBezTo>
                      <a:cubicBezTo>
                        <a:pt x="20105" y="15103"/>
                        <a:pt x="21600" y="11767"/>
                        <a:pt x="21600" y="7903"/>
                      </a:cubicBezTo>
                      <a:cubicBezTo>
                        <a:pt x="21600" y="2636"/>
                        <a:pt x="19436" y="0"/>
                        <a:pt x="15121" y="0"/>
                      </a:cubicBezTo>
                      <a:cubicBezTo>
                        <a:pt x="13163" y="0"/>
                        <a:pt x="11620" y="353"/>
                        <a:pt x="10493" y="1055"/>
                      </a:cubicBezTo>
                      <a:cubicBezTo>
                        <a:pt x="9769" y="1581"/>
                        <a:pt x="8486" y="2986"/>
                        <a:pt x="6635" y="5269"/>
                      </a:cubicBezTo>
                      <a:cubicBezTo>
                        <a:pt x="6533" y="5269"/>
                        <a:pt x="6479" y="5357"/>
                        <a:pt x="6479" y="5532"/>
                      </a:cubicBezTo>
                      <a:cubicBezTo>
                        <a:pt x="4833" y="6760"/>
                        <a:pt x="3550" y="7903"/>
                        <a:pt x="2622" y="8958"/>
                      </a:cubicBezTo>
                      <a:cubicBezTo>
                        <a:pt x="874" y="10889"/>
                        <a:pt x="0" y="13085"/>
                        <a:pt x="0" y="15543"/>
                      </a:cubicBezTo>
                      <a:cubicBezTo>
                        <a:pt x="1133" y="16596"/>
                        <a:pt x="2519" y="17999"/>
                        <a:pt x="4165" y="19757"/>
                      </a:cubicBezTo>
                      <a:close/>
                      <a:moveTo>
                        <a:pt x="4165" y="1975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5" name="AutoShape 79"/>
                <p:cNvSpPr>
                  <a:spLocks/>
                </p:cNvSpPr>
                <p:nvPr/>
              </p:nvSpPr>
              <p:spPr bwMode="auto">
                <a:xfrm>
                  <a:off x="6247668" y="647445"/>
                  <a:ext cx="23191" cy="11338"/>
                </a:xfrm>
                <a:custGeom>
                  <a:avLst/>
                  <a:gdLst/>
                  <a:ahLst/>
                  <a:cxnLst/>
                  <a:rect l="0" t="0" r="r" b="b"/>
                  <a:pathLst>
                    <a:path w="21600" h="21600">
                      <a:moveTo>
                        <a:pt x="16864" y="0"/>
                      </a:moveTo>
                      <a:cubicBezTo>
                        <a:pt x="14718" y="0"/>
                        <a:pt x="11558" y="1763"/>
                        <a:pt x="7392" y="5304"/>
                      </a:cubicBezTo>
                      <a:cubicBezTo>
                        <a:pt x="2464" y="9344"/>
                        <a:pt x="0" y="13389"/>
                        <a:pt x="0" y="17430"/>
                      </a:cubicBezTo>
                      <a:cubicBezTo>
                        <a:pt x="0" y="20211"/>
                        <a:pt x="1769" y="21600"/>
                        <a:pt x="5306" y="21600"/>
                      </a:cubicBezTo>
                      <a:cubicBezTo>
                        <a:pt x="6823" y="21600"/>
                        <a:pt x="9790" y="20085"/>
                        <a:pt x="14208" y="17056"/>
                      </a:cubicBezTo>
                      <a:cubicBezTo>
                        <a:pt x="19136" y="13515"/>
                        <a:pt x="21600" y="10359"/>
                        <a:pt x="21600" y="7578"/>
                      </a:cubicBezTo>
                      <a:cubicBezTo>
                        <a:pt x="21600" y="6315"/>
                        <a:pt x="21097" y="4800"/>
                        <a:pt x="20083" y="3030"/>
                      </a:cubicBezTo>
                      <a:cubicBezTo>
                        <a:pt x="18943" y="1011"/>
                        <a:pt x="17871" y="0"/>
                        <a:pt x="16864" y="0"/>
                      </a:cubicBezTo>
                      <a:close/>
                      <a:moveTo>
                        <a:pt x="16864"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6" name="AutoShape 80"/>
                <p:cNvSpPr>
                  <a:spLocks/>
                </p:cNvSpPr>
                <p:nvPr/>
              </p:nvSpPr>
              <p:spPr bwMode="auto">
                <a:xfrm>
                  <a:off x="6255913" y="655690"/>
                  <a:ext cx="18037" cy="13399"/>
                </a:xfrm>
                <a:custGeom>
                  <a:avLst/>
                  <a:gdLst/>
                  <a:ahLst/>
                  <a:cxnLst/>
                  <a:rect l="0" t="0" r="r" b="b"/>
                  <a:pathLst>
                    <a:path w="21600" h="21600">
                      <a:moveTo>
                        <a:pt x="7282" y="4910"/>
                      </a:moveTo>
                      <a:cubicBezTo>
                        <a:pt x="2427" y="8182"/>
                        <a:pt x="0" y="12001"/>
                        <a:pt x="0" y="16364"/>
                      </a:cubicBezTo>
                      <a:cubicBezTo>
                        <a:pt x="0" y="19857"/>
                        <a:pt x="1858" y="21600"/>
                        <a:pt x="5585" y="21600"/>
                      </a:cubicBezTo>
                      <a:cubicBezTo>
                        <a:pt x="8496" y="21600"/>
                        <a:pt x="11976" y="19531"/>
                        <a:pt x="16015" y="15385"/>
                      </a:cubicBezTo>
                      <a:cubicBezTo>
                        <a:pt x="19742" y="11454"/>
                        <a:pt x="21600" y="8508"/>
                        <a:pt x="21600" y="6547"/>
                      </a:cubicBezTo>
                      <a:cubicBezTo>
                        <a:pt x="20633" y="4584"/>
                        <a:pt x="20149" y="2402"/>
                        <a:pt x="20149" y="0"/>
                      </a:cubicBezTo>
                      <a:lnTo>
                        <a:pt x="17959" y="0"/>
                      </a:lnTo>
                      <a:cubicBezTo>
                        <a:pt x="14403" y="873"/>
                        <a:pt x="10838" y="2508"/>
                        <a:pt x="7282" y="4910"/>
                      </a:cubicBezTo>
                      <a:close/>
                      <a:moveTo>
                        <a:pt x="7282" y="491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7" name="AutoShape 81"/>
                <p:cNvSpPr>
                  <a:spLocks/>
                </p:cNvSpPr>
                <p:nvPr/>
              </p:nvSpPr>
              <p:spPr bwMode="auto">
                <a:xfrm>
                  <a:off x="6218808" y="688672"/>
                  <a:ext cx="23706" cy="25767"/>
                </a:xfrm>
                <a:custGeom>
                  <a:avLst/>
                  <a:gdLst/>
                  <a:ahLst/>
                  <a:cxnLst/>
                  <a:rect l="0" t="0" r="r" b="b"/>
                  <a:pathLst>
                    <a:path w="21600" h="21600">
                      <a:moveTo>
                        <a:pt x="3940" y="18514"/>
                      </a:moveTo>
                      <a:cubicBezTo>
                        <a:pt x="4446" y="18742"/>
                        <a:pt x="5070" y="19029"/>
                        <a:pt x="5818" y="19370"/>
                      </a:cubicBezTo>
                      <a:cubicBezTo>
                        <a:pt x="9325" y="20856"/>
                        <a:pt x="11835" y="21600"/>
                        <a:pt x="13331" y="21600"/>
                      </a:cubicBezTo>
                      <a:cubicBezTo>
                        <a:pt x="18841" y="21600"/>
                        <a:pt x="21600" y="19714"/>
                        <a:pt x="21600" y="15943"/>
                      </a:cubicBezTo>
                      <a:lnTo>
                        <a:pt x="20844" y="11143"/>
                      </a:lnTo>
                      <a:cubicBezTo>
                        <a:pt x="20844" y="3716"/>
                        <a:pt x="18218" y="0"/>
                        <a:pt x="12957" y="0"/>
                      </a:cubicBezTo>
                      <a:cubicBezTo>
                        <a:pt x="10829" y="0"/>
                        <a:pt x="8078" y="2228"/>
                        <a:pt x="4696" y="6687"/>
                      </a:cubicBezTo>
                      <a:cubicBezTo>
                        <a:pt x="4321" y="7143"/>
                        <a:pt x="3940" y="7657"/>
                        <a:pt x="3566" y="8229"/>
                      </a:cubicBezTo>
                      <a:cubicBezTo>
                        <a:pt x="1189" y="11430"/>
                        <a:pt x="0" y="13601"/>
                        <a:pt x="0" y="14743"/>
                      </a:cubicBezTo>
                      <a:cubicBezTo>
                        <a:pt x="0" y="15886"/>
                        <a:pt x="1313" y="17142"/>
                        <a:pt x="3940" y="18514"/>
                      </a:cubicBezTo>
                      <a:close/>
                      <a:moveTo>
                        <a:pt x="3940" y="1851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8" name="AutoShape 82"/>
                <p:cNvSpPr>
                  <a:spLocks/>
                </p:cNvSpPr>
                <p:nvPr/>
              </p:nvSpPr>
              <p:spPr bwMode="auto">
                <a:xfrm>
                  <a:off x="6243545" y="804108"/>
                  <a:ext cx="126774" cy="181400"/>
                </a:xfrm>
                <a:custGeom>
                  <a:avLst/>
                  <a:gdLst/>
                  <a:ahLst/>
                  <a:cxnLst/>
                  <a:rect l="0" t="0" r="r" b="b"/>
                  <a:pathLst>
                    <a:path w="21600" h="21600">
                      <a:moveTo>
                        <a:pt x="21040" y="12941"/>
                      </a:moveTo>
                      <a:cubicBezTo>
                        <a:pt x="21414" y="12794"/>
                        <a:pt x="21600" y="12549"/>
                        <a:pt x="21600" y="12207"/>
                      </a:cubicBezTo>
                      <a:cubicBezTo>
                        <a:pt x="21600" y="11929"/>
                        <a:pt x="21519" y="11709"/>
                        <a:pt x="21355" y="11546"/>
                      </a:cubicBezTo>
                      <a:cubicBezTo>
                        <a:pt x="21192" y="11383"/>
                        <a:pt x="21110" y="11293"/>
                        <a:pt x="21110" y="11277"/>
                      </a:cubicBezTo>
                      <a:cubicBezTo>
                        <a:pt x="21249" y="11065"/>
                        <a:pt x="21321" y="10845"/>
                        <a:pt x="21321" y="10617"/>
                      </a:cubicBezTo>
                      <a:cubicBezTo>
                        <a:pt x="21321" y="10307"/>
                        <a:pt x="21133" y="10152"/>
                        <a:pt x="20759" y="10152"/>
                      </a:cubicBezTo>
                      <a:cubicBezTo>
                        <a:pt x="20548" y="10152"/>
                        <a:pt x="20256" y="10217"/>
                        <a:pt x="19882" y="10348"/>
                      </a:cubicBezTo>
                      <a:cubicBezTo>
                        <a:pt x="19508" y="10478"/>
                        <a:pt x="19274" y="10543"/>
                        <a:pt x="19181" y="10543"/>
                      </a:cubicBezTo>
                      <a:cubicBezTo>
                        <a:pt x="19065" y="10511"/>
                        <a:pt x="18982" y="10494"/>
                        <a:pt x="18936" y="10494"/>
                      </a:cubicBezTo>
                      <a:cubicBezTo>
                        <a:pt x="18912" y="10445"/>
                        <a:pt x="18982" y="10307"/>
                        <a:pt x="19145" y="10079"/>
                      </a:cubicBezTo>
                      <a:cubicBezTo>
                        <a:pt x="19333" y="9834"/>
                        <a:pt x="19426" y="9679"/>
                        <a:pt x="19426" y="9614"/>
                      </a:cubicBezTo>
                      <a:cubicBezTo>
                        <a:pt x="19426" y="9336"/>
                        <a:pt x="19251" y="9173"/>
                        <a:pt x="18900" y="9125"/>
                      </a:cubicBezTo>
                      <a:cubicBezTo>
                        <a:pt x="18503" y="9076"/>
                        <a:pt x="18258" y="8929"/>
                        <a:pt x="18165" y="8684"/>
                      </a:cubicBezTo>
                      <a:cubicBezTo>
                        <a:pt x="18000" y="8293"/>
                        <a:pt x="17814" y="8015"/>
                        <a:pt x="17603" y="7853"/>
                      </a:cubicBezTo>
                      <a:cubicBezTo>
                        <a:pt x="17392" y="7640"/>
                        <a:pt x="17100" y="7535"/>
                        <a:pt x="16726" y="7535"/>
                      </a:cubicBezTo>
                      <a:cubicBezTo>
                        <a:pt x="16422" y="7535"/>
                        <a:pt x="16061" y="7665"/>
                        <a:pt x="15639" y="7926"/>
                      </a:cubicBezTo>
                      <a:cubicBezTo>
                        <a:pt x="15032" y="8301"/>
                        <a:pt x="14599" y="8538"/>
                        <a:pt x="14342" y="8635"/>
                      </a:cubicBezTo>
                      <a:lnTo>
                        <a:pt x="14342" y="8195"/>
                      </a:lnTo>
                      <a:cubicBezTo>
                        <a:pt x="14506" y="7983"/>
                        <a:pt x="15300" y="7233"/>
                        <a:pt x="16726" y="5944"/>
                      </a:cubicBezTo>
                      <a:cubicBezTo>
                        <a:pt x="18106" y="4721"/>
                        <a:pt x="18795" y="4085"/>
                        <a:pt x="18795" y="4036"/>
                      </a:cubicBezTo>
                      <a:cubicBezTo>
                        <a:pt x="18795" y="3841"/>
                        <a:pt x="18644" y="3678"/>
                        <a:pt x="18340" y="3547"/>
                      </a:cubicBezTo>
                      <a:cubicBezTo>
                        <a:pt x="18013" y="3433"/>
                        <a:pt x="17848" y="3360"/>
                        <a:pt x="17848" y="3327"/>
                      </a:cubicBezTo>
                      <a:cubicBezTo>
                        <a:pt x="17848" y="3131"/>
                        <a:pt x="18211" y="2944"/>
                        <a:pt x="18936" y="2764"/>
                      </a:cubicBezTo>
                      <a:cubicBezTo>
                        <a:pt x="19660" y="2585"/>
                        <a:pt x="20022" y="2332"/>
                        <a:pt x="20022" y="2006"/>
                      </a:cubicBezTo>
                      <a:cubicBezTo>
                        <a:pt x="19929" y="1729"/>
                        <a:pt x="19766" y="1460"/>
                        <a:pt x="19532" y="1199"/>
                      </a:cubicBezTo>
                      <a:cubicBezTo>
                        <a:pt x="19065" y="677"/>
                        <a:pt x="18526" y="416"/>
                        <a:pt x="17918" y="416"/>
                      </a:cubicBezTo>
                      <a:cubicBezTo>
                        <a:pt x="17428" y="416"/>
                        <a:pt x="16715" y="620"/>
                        <a:pt x="15780" y="1027"/>
                      </a:cubicBezTo>
                      <a:cubicBezTo>
                        <a:pt x="14821" y="1419"/>
                        <a:pt x="13991" y="1615"/>
                        <a:pt x="13290" y="1615"/>
                      </a:cubicBezTo>
                      <a:cubicBezTo>
                        <a:pt x="12005" y="1615"/>
                        <a:pt x="11046" y="1345"/>
                        <a:pt x="10414" y="808"/>
                      </a:cubicBezTo>
                      <a:cubicBezTo>
                        <a:pt x="9806" y="269"/>
                        <a:pt x="9409" y="0"/>
                        <a:pt x="9223" y="0"/>
                      </a:cubicBezTo>
                      <a:cubicBezTo>
                        <a:pt x="9151" y="0"/>
                        <a:pt x="9082" y="33"/>
                        <a:pt x="9012" y="98"/>
                      </a:cubicBezTo>
                      <a:cubicBezTo>
                        <a:pt x="8919" y="163"/>
                        <a:pt x="8872" y="236"/>
                        <a:pt x="8872" y="318"/>
                      </a:cubicBezTo>
                      <a:lnTo>
                        <a:pt x="9223" y="1125"/>
                      </a:lnTo>
                      <a:cubicBezTo>
                        <a:pt x="9223" y="1207"/>
                        <a:pt x="9176" y="1272"/>
                        <a:pt x="9082" y="1321"/>
                      </a:cubicBezTo>
                      <a:cubicBezTo>
                        <a:pt x="8754" y="1175"/>
                        <a:pt x="8475" y="1052"/>
                        <a:pt x="8241" y="954"/>
                      </a:cubicBezTo>
                      <a:cubicBezTo>
                        <a:pt x="7820" y="791"/>
                        <a:pt x="7469" y="710"/>
                        <a:pt x="7189" y="710"/>
                      </a:cubicBezTo>
                      <a:cubicBezTo>
                        <a:pt x="7001" y="710"/>
                        <a:pt x="6697" y="881"/>
                        <a:pt x="6276" y="1223"/>
                      </a:cubicBezTo>
                      <a:cubicBezTo>
                        <a:pt x="5833" y="1566"/>
                        <a:pt x="5611" y="1819"/>
                        <a:pt x="5611" y="1982"/>
                      </a:cubicBezTo>
                      <a:cubicBezTo>
                        <a:pt x="5611" y="2145"/>
                        <a:pt x="5856" y="2365"/>
                        <a:pt x="6346" y="2642"/>
                      </a:cubicBezTo>
                      <a:cubicBezTo>
                        <a:pt x="6884" y="2968"/>
                        <a:pt x="7176" y="3164"/>
                        <a:pt x="7223" y="3229"/>
                      </a:cubicBezTo>
                      <a:lnTo>
                        <a:pt x="7223" y="3572"/>
                      </a:lnTo>
                      <a:cubicBezTo>
                        <a:pt x="7106" y="3604"/>
                        <a:pt x="6967" y="3621"/>
                        <a:pt x="6802" y="3621"/>
                      </a:cubicBezTo>
                      <a:cubicBezTo>
                        <a:pt x="6663" y="3621"/>
                        <a:pt x="6371" y="3539"/>
                        <a:pt x="5926" y="3376"/>
                      </a:cubicBezTo>
                      <a:cubicBezTo>
                        <a:pt x="5482" y="3213"/>
                        <a:pt x="5201" y="3131"/>
                        <a:pt x="5085" y="3131"/>
                      </a:cubicBezTo>
                      <a:cubicBezTo>
                        <a:pt x="4734" y="3131"/>
                        <a:pt x="4559" y="3221"/>
                        <a:pt x="4559" y="3400"/>
                      </a:cubicBezTo>
                      <a:cubicBezTo>
                        <a:pt x="4559" y="3629"/>
                        <a:pt x="4816" y="3988"/>
                        <a:pt x="5330" y="4477"/>
                      </a:cubicBezTo>
                      <a:cubicBezTo>
                        <a:pt x="5915" y="5048"/>
                        <a:pt x="6487" y="5333"/>
                        <a:pt x="7047" y="5333"/>
                      </a:cubicBezTo>
                      <a:cubicBezTo>
                        <a:pt x="7235" y="5333"/>
                        <a:pt x="7434" y="5284"/>
                        <a:pt x="7645" y="5186"/>
                      </a:cubicBezTo>
                      <a:cubicBezTo>
                        <a:pt x="7878" y="5088"/>
                        <a:pt x="8147" y="5039"/>
                        <a:pt x="8450" y="5039"/>
                      </a:cubicBezTo>
                      <a:cubicBezTo>
                        <a:pt x="8638" y="5039"/>
                        <a:pt x="8872" y="5186"/>
                        <a:pt x="9151" y="5480"/>
                      </a:cubicBezTo>
                      <a:cubicBezTo>
                        <a:pt x="9432" y="5773"/>
                        <a:pt x="9573" y="6018"/>
                        <a:pt x="9573" y="6214"/>
                      </a:cubicBezTo>
                      <a:cubicBezTo>
                        <a:pt x="9502" y="6360"/>
                        <a:pt x="9409" y="6434"/>
                        <a:pt x="9293" y="6434"/>
                      </a:cubicBezTo>
                      <a:cubicBezTo>
                        <a:pt x="8615" y="6075"/>
                        <a:pt x="8205" y="5871"/>
                        <a:pt x="8065" y="5822"/>
                      </a:cubicBezTo>
                      <a:cubicBezTo>
                        <a:pt x="7691" y="6165"/>
                        <a:pt x="7504" y="6369"/>
                        <a:pt x="7504" y="6434"/>
                      </a:cubicBezTo>
                      <a:cubicBezTo>
                        <a:pt x="7504" y="6678"/>
                        <a:pt x="7749" y="6964"/>
                        <a:pt x="8241" y="7290"/>
                      </a:cubicBezTo>
                      <a:cubicBezTo>
                        <a:pt x="8708" y="7616"/>
                        <a:pt x="8942" y="7893"/>
                        <a:pt x="8942" y="8122"/>
                      </a:cubicBezTo>
                      <a:cubicBezTo>
                        <a:pt x="8942" y="8366"/>
                        <a:pt x="8743" y="8497"/>
                        <a:pt x="8346" y="8513"/>
                      </a:cubicBezTo>
                      <a:cubicBezTo>
                        <a:pt x="7924" y="8529"/>
                        <a:pt x="7715" y="8603"/>
                        <a:pt x="7715" y="8733"/>
                      </a:cubicBezTo>
                      <a:cubicBezTo>
                        <a:pt x="7715" y="9940"/>
                        <a:pt x="6872" y="10543"/>
                        <a:pt x="5190" y="10543"/>
                      </a:cubicBezTo>
                      <a:cubicBezTo>
                        <a:pt x="4863" y="10543"/>
                        <a:pt x="4407" y="9972"/>
                        <a:pt x="3822" y="8831"/>
                      </a:cubicBezTo>
                      <a:cubicBezTo>
                        <a:pt x="3238" y="7673"/>
                        <a:pt x="2466" y="7094"/>
                        <a:pt x="1508" y="7094"/>
                      </a:cubicBezTo>
                      <a:cubicBezTo>
                        <a:pt x="1111" y="7094"/>
                        <a:pt x="760" y="7363"/>
                        <a:pt x="456" y="7902"/>
                      </a:cubicBezTo>
                      <a:cubicBezTo>
                        <a:pt x="152" y="8423"/>
                        <a:pt x="0" y="8961"/>
                        <a:pt x="0" y="9516"/>
                      </a:cubicBezTo>
                      <a:cubicBezTo>
                        <a:pt x="0" y="9826"/>
                        <a:pt x="222" y="10177"/>
                        <a:pt x="666" y="10568"/>
                      </a:cubicBezTo>
                      <a:cubicBezTo>
                        <a:pt x="900" y="10796"/>
                        <a:pt x="1286" y="11139"/>
                        <a:pt x="1823" y="11595"/>
                      </a:cubicBezTo>
                      <a:cubicBezTo>
                        <a:pt x="1916" y="11709"/>
                        <a:pt x="2220" y="12076"/>
                        <a:pt x="2735" y="12696"/>
                      </a:cubicBezTo>
                      <a:cubicBezTo>
                        <a:pt x="3272" y="13267"/>
                        <a:pt x="3693" y="13552"/>
                        <a:pt x="3997" y="13552"/>
                      </a:cubicBezTo>
                      <a:cubicBezTo>
                        <a:pt x="4115" y="13552"/>
                        <a:pt x="4360" y="13520"/>
                        <a:pt x="4734" y="13454"/>
                      </a:cubicBezTo>
                      <a:cubicBezTo>
                        <a:pt x="4874" y="13454"/>
                        <a:pt x="5061" y="13593"/>
                        <a:pt x="5294" y="13870"/>
                      </a:cubicBezTo>
                      <a:cubicBezTo>
                        <a:pt x="5505" y="14147"/>
                        <a:pt x="5763" y="14278"/>
                        <a:pt x="6067" y="14261"/>
                      </a:cubicBezTo>
                      <a:cubicBezTo>
                        <a:pt x="6346" y="14229"/>
                        <a:pt x="6616" y="14310"/>
                        <a:pt x="6872" y="14506"/>
                      </a:cubicBezTo>
                      <a:cubicBezTo>
                        <a:pt x="7037" y="14620"/>
                        <a:pt x="7165" y="14751"/>
                        <a:pt x="7258" y="14897"/>
                      </a:cubicBezTo>
                      <a:cubicBezTo>
                        <a:pt x="7305" y="14963"/>
                        <a:pt x="7352" y="15036"/>
                        <a:pt x="7398" y="15118"/>
                      </a:cubicBezTo>
                      <a:cubicBezTo>
                        <a:pt x="7423" y="15150"/>
                        <a:pt x="7446" y="15199"/>
                        <a:pt x="7469" y="15264"/>
                      </a:cubicBezTo>
                      <a:cubicBezTo>
                        <a:pt x="7702" y="15607"/>
                        <a:pt x="8065" y="15998"/>
                        <a:pt x="8556" y="16438"/>
                      </a:cubicBezTo>
                      <a:cubicBezTo>
                        <a:pt x="8906" y="16781"/>
                        <a:pt x="9421" y="17230"/>
                        <a:pt x="10099" y="17784"/>
                      </a:cubicBezTo>
                      <a:cubicBezTo>
                        <a:pt x="10262" y="17931"/>
                        <a:pt x="10414" y="18200"/>
                        <a:pt x="10554" y="18591"/>
                      </a:cubicBezTo>
                      <a:cubicBezTo>
                        <a:pt x="10649" y="18803"/>
                        <a:pt x="10754" y="19105"/>
                        <a:pt x="10871" y="19496"/>
                      </a:cubicBezTo>
                      <a:cubicBezTo>
                        <a:pt x="10917" y="19594"/>
                        <a:pt x="10905" y="19896"/>
                        <a:pt x="10835" y="20401"/>
                      </a:cubicBezTo>
                      <a:cubicBezTo>
                        <a:pt x="10835" y="20564"/>
                        <a:pt x="10871" y="20695"/>
                        <a:pt x="10940" y="20793"/>
                      </a:cubicBezTo>
                      <a:cubicBezTo>
                        <a:pt x="11080" y="20988"/>
                        <a:pt x="11314" y="21086"/>
                        <a:pt x="11642" y="21086"/>
                      </a:cubicBezTo>
                      <a:cubicBezTo>
                        <a:pt x="11735" y="21086"/>
                        <a:pt x="11923" y="21005"/>
                        <a:pt x="12203" y="20842"/>
                      </a:cubicBezTo>
                      <a:lnTo>
                        <a:pt x="12379" y="20842"/>
                      </a:lnTo>
                      <a:cubicBezTo>
                        <a:pt x="12332" y="20972"/>
                        <a:pt x="12402" y="21127"/>
                        <a:pt x="12588" y="21306"/>
                      </a:cubicBezTo>
                      <a:cubicBezTo>
                        <a:pt x="12776" y="21502"/>
                        <a:pt x="12998" y="21600"/>
                        <a:pt x="13255" y="21600"/>
                      </a:cubicBezTo>
                      <a:cubicBezTo>
                        <a:pt x="13535" y="21600"/>
                        <a:pt x="13746" y="21551"/>
                        <a:pt x="13885" y="21453"/>
                      </a:cubicBezTo>
                      <a:cubicBezTo>
                        <a:pt x="13957" y="21421"/>
                        <a:pt x="14132" y="21233"/>
                        <a:pt x="14411" y="20890"/>
                      </a:cubicBezTo>
                      <a:cubicBezTo>
                        <a:pt x="14459" y="20825"/>
                        <a:pt x="14739" y="20719"/>
                        <a:pt x="15254" y="20573"/>
                      </a:cubicBezTo>
                      <a:cubicBezTo>
                        <a:pt x="15324" y="20556"/>
                        <a:pt x="15394" y="20540"/>
                        <a:pt x="15463" y="20524"/>
                      </a:cubicBezTo>
                      <a:cubicBezTo>
                        <a:pt x="15767" y="20393"/>
                        <a:pt x="15920" y="20238"/>
                        <a:pt x="15920" y="20059"/>
                      </a:cubicBezTo>
                      <a:cubicBezTo>
                        <a:pt x="15920" y="19977"/>
                        <a:pt x="15698" y="19806"/>
                        <a:pt x="15254" y="19545"/>
                      </a:cubicBezTo>
                      <a:cubicBezTo>
                        <a:pt x="14787" y="19300"/>
                        <a:pt x="14553" y="19129"/>
                        <a:pt x="14553" y="19032"/>
                      </a:cubicBezTo>
                      <a:cubicBezTo>
                        <a:pt x="14553" y="18966"/>
                        <a:pt x="14692" y="18885"/>
                        <a:pt x="14973" y="18787"/>
                      </a:cubicBezTo>
                      <a:cubicBezTo>
                        <a:pt x="15254" y="18689"/>
                        <a:pt x="15499" y="18640"/>
                        <a:pt x="15710" y="18640"/>
                      </a:cubicBezTo>
                      <a:cubicBezTo>
                        <a:pt x="15943" y="18640"/>
                        <a:pt x="16329" y="18681"/>
                        <a:pt x="16866" y="18762"/>
                      </a:cubicBezTo>
                      <a:cubicBezTo>
                        <a:pt x="17404" y="18844"/>
                        <a:pt x="17802" y="18885"/>
                        <a:pt x="18059" y="18885"/>
                      </a:cubicBezTo>
                      <a:cubicBezTo>
                        <a:pt x="18480" y="18885"/>
                        <a:pt x="18819" y="18779"/>
                        <a:pt x="19076" y="18567"/>
                      </a:cubicBezTo>
                      <a:cubicBezTo>
                        <a:pt x="19286" y="18387"/>
                        <a:pt x="19485" y="18094"/>
                        <a:pt x="19671" y="17686"/>
                      </a:cubicBezTo>
                      <a:cubicBezTo>
                        <a:pt x="19743" y="17523"/>
                        <a:pt x="19859" y="17425"/>
                        <a:pt x="20022" y="17393"/>
                      </a:cubicBezTo>
                      <a:cubicBezTo>
                        <a:pt x="20117" y="17360"/>
                        <a:pt x="20280" y="17319"/>
                        <a:pt x="20514" y="17270"/>
                      </a:cubicBezTo>
                      <a:cubicBezTo>
                        <a:pt x="20864" y="17075"/>
                        <a:pt x="21040" y="16838"/>
                        <a:pt x="21040" y="16561"/>
                      </a:cubicBezTo>
                      <a:cubicBezTo>
                        <a:pt x="21040" y="16218"/>
                        <a:pt x="20888" y="16006"/>
                        <a:pt x="20584" y="15925"/>
                      </a:cubicBezTo>
                      <a:cubicBezTo>
                        <a:pt x="20256" y="15843"/>
                        <a:pt x="20093" y="15721"/>
                        <a:pt x="20093" y="15558"/>
                      </a:cubicBezTo>
                      <a:cubicBezTo>
                        <a:pt x="20093" y="15460"/>
                        <a:pt x="20245" y="15289"/>
                        <a:pt x="20548" y="15044"/>
                      </a:cubicBezTo>
                      <a:cubicBezTo>
                        <a:pt x="20829" y="14783"/>
                        <a:pt x="20970" y="14506"/>
                        <a:pt x="20970" y="14213"/>
                      </a:cubicBezTo>
                      <a:cubicBezTo>
                        <a:pt x="20970" y="14115"/>
                        <a:pt x="20888" y="13960"/>
                        <a:pt x="20723" y="13748"/>
                      </a:cubicBezTo>
                      <a:cubicBezTo>
                        <a:pt x="20537" y="13536"/>
                        <a:pt x="20444" y="13422"/>
                        <a:pt x="20444" y="13405"/>
                      </a:cubicBezTo>
                      <a:cubicBezTo>
                        <a:pt x="20444" y="13242"/>
                        <a:pt x="20643" y="13087"/>
                        <a:pt x="21040" y="12941"/>
                      </a:cubicBezTo>
                      <a:close/>
                      <a:moveTo>
                        <a:pt x="21040" y="1294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09" name="AutoShape 83"/>
                <p:cNvSpPr>
                  <a:spLocks/>
                </p:cNvSpPr>
                <p:nvPr/>
              </p:nvSpPr>
              <p:spPr bwMode="auto">
                <a:xfrm>
                  <a:off x="6313631" y="791740"/>
                  <a:ext cx="28859" cy="19583"/>
                </a:xfrm>
                <a:custGeom>
                  <a:avLst/>
                  <a:gdLst/>
                  <a:ahLst/>
                  <a:cxnLst/>
                  <a:rect l="0" t="0" r="r" b="b"/>
                  <a:pathLst>
                    <a:path w="21600" h="21600">
                      <a:moveTo>
                        <a:pt x="6845" y="21600"/>
                      </a:moveTo>
                      <a:cubicBezTo>
                        <a:pt x="9181" y="21600"/>
                        <a:pt x="11106" y="20927"/>
                        <a:pt x="12627" y="19575"/>
                      </a:cubicBezTo>
                      <a:cubicBezTo>
                        <a:pt x="13643" y="18526"/>
                        <a:pt x="14707" y="16951"/>
                        <a:pt x="15824" y="14851"/>
                      </a:cubicBezTo>
                      <a:cubicBezTo>
                        <a:pt x="16127" y="13949"/>
                        <a:pt x="16484" y="12975"/>
                        <a:pt x="16888" y="11924"/>
                      </a:cubicBezTo>
                      <a:cubicBezTo>
                        <a:pt x="17494" y="11027"/>
                        <a:pt x="18255" y="9901"/>
                        <a:pt x="19170" y="8550"/>
                      </a:cubicBezTo>
                      <a:cubicBezTo>
                        <a:pt x="20792" y="5999"/>
                        <a:pt x="21600" y="3901"/>
                        <a:pt x="21600" y="2252"/>
                      </a:cubicBezTo>
                      <a:lnTo>
                        <a:pt x="21297" y="0"/>
                      </a:lnTo>
                      <a:lnTo>
                        <a:pt x="18712" y="0"/>
                      </a:lnTo>
                      <a:cubicBezTo>
                        <a:pt x="15266" y="1801"/>
                        <a:pt x="11665" y="4051"/>
                        <a:pt x="7909" y="6751"/>
                      </a:cubicBezTo>
                      <a:cubicBezTo>
                        <a:pt x="2638" y="10499"/>
                        <a:pt x="0" y="13274"/>
                        <a:pt x="0" y="15073"/>
                      </a:cubicBezTo>
                      <a:cubicBezTo>
                        <a:pt x="0" y="15975"/>
                        <a:pt x="862" y="17250"/>
                        <a:pt x="2585" y="18899"/>
                      </a:cubicBezTo>
                      <a:cubicBezTo>
                        <a:pt x="4314" y="20701"/>
                        <a:pt x="5734" y="21600"/>
                        <a:pt x="6845" y="21600"/>
                      </a:cubicBezTo>
                      <a:close/>
                      <a:moveTo>
                        <a:pt x="6845"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10" name="AutoShape 84"/>
                <p:cNvSpPr>
                  <a:spLocks/>
                </p:cNvSpPr>
                <p:nvPr/>
              </p:nvSpPr>
              <p:spPr bwMode="auto">
                <a:xfrm>
                  <a:off x="6156967" y="799986"/>
                  <a:ext cx="51534" cy="57203"/>
                </a:xfrm>
                <a:custGeom>
                  <a:avLst/>
                  <a:gdLst/>
                  <a:ahLst/>
                  <a:cxnLst/>
                  <a:rect l="0" t="0" r="r" b="b"/>
                  <a:pathLst>
                    <a:path w="21600" h="21600">
                      <a:moveTo>
                        <a:pt x="7028" y="11649"/>
                      </a:moveTo>
                      <a:cubicBezTo>
                        <a:pt x="7540" y="12832"/>
                        <a:pt x="7942" y="14863"/>
                        <a:pt x="8227" y="17743"/>
                      </a:cubicBezTo>
                      <a:cubicBezTo>
                        <a:pt x="8629" y="19852"/>
                        <a:pt x="9543" y="21138"/>
                        <a:pt x="10969" y="21600"/>
                      </a:cubicBezTo>
                      <a:cubicBezTo>
                        <a:pt x="11086" y="21600"/>
                        <a:pt x="11227" y="21600"/>
                        <a:pt x="11398" y="21600"/>
                      </a:cubicBezTo>
                      <a:cubicBezTo>
                        <a:pt x="12198" y="21600"/>
                        <a:pt x="13112" y="21087"/>
                        <a:pt x="14143" y="20058"/>
                      </a:cubicBezTo>
                      <a:cubicBezTo>
                        <a:pt x="15114" y="19029"/>
                        <a:pt x="16028" y="17769"/>
                        <a:pt x="16886" y="16277"/>
                      </a:cubicBezTo>
                      <a:cubicBezTo>
                        <a:pt x="18255" y="14066"/>
                        <a:pt x="19256" y="12446"/>
                        <a:pt x="19886" y="11418"/>
                      </a:cubicBezTo>
                      <a:cubicBezTo>
                        <a:pt x="21027" y="9515"/>
                        <a:pt x="21600" y="7894"/>
                        <a:pt x="21600" y="6557"/>
                      </a:cubicBezTo>
                      <a:cubicBezTo>
                        <a:pt x="21600" y="5169"/>
                        <a:pt x="20572" y="3754"/>
                        <a:pt x="18513" y="2314"/>
                      </a:cubicBezTo>
                      <a:cubicBezTo>
                        <a:pt x="16343" y="771"/>
                        <a:pt x="14113" y="0"/>
                        <a:pt x="11826" y="0"/>
                      </a:cubicBezTo>
                      <a:cubicBezTo>
                        <a:pt x="9198" y="0"/>
                        <a:pt x="7028" y="360"/>
                        <a:pt x="5314" y="1080"/>
                      </a:cubicBezTo>
                      <a:cubicBezTo>
                        <a:pt x="3656" y="1748"/>
                        <a:pt x="1885" y="2958"/>
                        <a:pt x="0" y="4706"/>
                      </a:cubicBezTo>
                      <a:cubicBezTo>
                        <a:pt x="2284" y="6300"/>
                        <a:pt x="3743" y="7381"/>
                        <a:pt x="4370" y="7946"/>
                      </a:cubicBezTo>
                      <a:cubicBezTo>
                        <a:pt x="5515" y="9026"/>
                        <a:pt x="6399" y="10261"/>
                        <a:pt x="7028" y="11649"/>
                      </a:cubicBezTo>
                      <a:close/>
                      <a:moveTo>
                        <a:pt x="7028" y="1164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11" name="AutoShape 85"/>
                <p:cNvSpPr>
                  <a:spLocks/>
                </p:cNvSpPr>
                <p:nvPr/>
              </p:nvSpPr>
              <p:spPr bwMode="auto">
                <a:xfrm>
                  <a:off x="5872499" y="787618"/>
                  <a:ext cx="387537" cy="353009"/>
                </a:xfrm>
                <a:custGeom>
                  <a:avLst/>
                  <a:gdLst/>
                  <a:ahLst/>
                  <a:cxnLst/>
                  <a:rect l="0" t="0" r="r" b="b"/>
                  <a:pathLst>
                    <a:path w="21600" h="21600">
                      <a:moveTo>
                        <a:pt x="21600" y="16673"/>
                      </a:moveTo>
                      <a:cubicBezTo>
                        <a:pt x="21600" y="16504"/>
                        <a:pt x="21550" y="16404"/>
                        <a:pt x="21451" y="16370"/>
                      </a:cubicBezTo>
                      <a:cubicBezTo>
                        <a:pt x="21290" y="16345"/>
                        <a:pt x="21152" y="16315"/>
                        <a:pt x="21037" y="16282"/>
                      </a:cubicBezTo>
                      <a:cubicBezTo>
                        <a:pt x="20969" y="16265"/>
                        <a:pt x="20930" y="16206"/>
                        <a:pt x="20923" y="16105"/>
                      </a:cubicBezTo>
                      <a:cubicBezTo>
                        <a:pt x="20938" y="16005"/>
                        <a:pt x="20945" y="15937"/>
                        <a:pt x="20945" y="15904"/>
                      </a:cubicBezTo>
                      <a:cubicBezTo>
                        <a:pt x="20945" y="15786"/>
                        <a:pt x="20915" y="15719"/>
                        <a:pt x="20854" y="15702"/>
                      </a:cubicBezTo>
                      <a:cubicBezTo>
                        <a:pt x="20770" y="15710"/>
                        <a:pt x="20705" y="15706"/>
                        <a:pt x="20659" y="15690"/>
                      </a:cubicBezTo>
                      <a:cubicBezTo>
                        <a:pt x="20628" y="15673"/>
                        <a:pt x="20521" y="15559"/>
                        <a:pt x="20338" y="15349"/>
                      </a:cubicBezTo>
                      <a:cubicBezTo>
                        <a:pt x="20108" y="15080"/>
                        <a:pt x="19966" y="14921"/>
                        <a:pt x="19913" y="14870"/>
                      </a:cubicBezTo>
                      <a:cubicBezTo>
                        <a:pt x="19897" y="14854"/>
                        <a:pt x="19882" y="14837"/>
                        <a:pt x="19867" y="14820"/>
                      </a:cubicBezTo>
                      <a:cubicBezTo>
                        <a:pt x="19699" y="14644"/>
                        <a:pt x="19595" y="14501"/>
                        <a:pt x="19557" y="14392"/>
                      </a:cubicBezTo>
                      <a:cubicBezTo>
                        <a:pt x="19542" y="14350"/>
                        <a:pt x="19534" y="14224"/>
                        <a:pt x="19534" y="14013"/>
                      </a:cubicBezTo>
                      <a:cubicBezTo>
                        <a:pt x="19496" y="14013"/>
                        <a:pt x="19453" y="14001"/>
                        <a:pt x="19408" y="13976"/>
                      </a:cubicBezTo>
                      <a:cubicBezTo>
                        <a:pt x="19362" y="13951"/>
                        <a:pt x="19327" y="13938"/>
                        <a:pt x="19305" y="13938"/>
                      </a:cubicBezTo>
                      <a:cubicBezTo>
                        <a:pt x="19228" y="13938"/>
                        <a:pt x="19175" y="13976"/>
                        <a:pt x="19144" y="14051"/>
                      </a:cubicBezTo>
                      <a:cubicBezTo>
                        <a:pt x="19106" y="14144"/>
                        <a:pt x="19071" y="14207"/>
                        <a:pt x="19041" y="14240"/>
                      </a:cubicBezTo>
                      <a:cubicBezTo>
                        <a:pt x="18834" y="14140"/>
                        <a:pt x="18677" y="13963"/>
                        <a:pt x="18570" y="13711"/>
                      </a:cubicBezTo>
                      <a:cubicBezTo>
                        <a:pt x="18501" y="13484"/>
                        <a:pt x="18463" y="13371"/>
                        <a:pt x="18455" y="13371"/>
                      </a:cubicBezTo>
                      <a:cubicBezTo>
                        <a:pt x="18425" y="13371"/>
                        <a:pt x="18398" y="13392"/>
                        <a:pt x="18375" y="13434"/>
                      </a:cubicBezTo>
                      <a:cubicBezTo>
                        <a:pt x="18352" y="13468"/>
                        <a:pt x="18337" y="13493"/>
                        <a:pt x="18329" y="13509"/>
                      </a:cubicBezTo>
                      <a:cubicBezTo>
                        <a:pt x="18268" y="13400"/>
                        <a:pt x="18069" y="13119"/>
                        <a:pt x="17732" y="12665"/>
                      </a:cubicBezTo>
                      <a:cubicBezTo>
                        <a:pt x="17472" y="12312"/>
                        <a:pt x="17342" y="12022"/>
                        <a:pt x="17342" y="11796"/>
                      </a:cubicBezTo>
                      <a:cubicBezTo>
                        <a:pt x="17342" y="11728"/>
                        <a:pt x="17376" y="11602"/>
                        <a:pt x="17445" y="11417"/>
                      </a:cubicBezTo>
                      <a:cubicBezTo>
                        <a:pt x="17522" y="11224"/>
                        <a:pt x="17564" y="11056"/>
                        <a:pt x="17571" y="10913"/>
                      </a:cubicBezTo>
                      <a:cubicBezTo>
                        <a:pt x="17571" y="10838"/>
                        <a:pt x="17625" y="10703"/>
                        <a:pt x="17732" y="10510"/>
                      </a:cubicBezTo>
                      <a:cubicBezTo>
                        <a:pt x="17831" y="10334"/>
                        <a:pt x="17881" y="10161"/>
                        <a:pt x="17881" y="9994"/>
                      </a:cubicBezTo>
                      <a:cubicBezTo>
                        <a:pt x="17881" y="9624"/>
                        <a:pt x="17778" y="9325"/>
                        <a:pt x="17571" y="9099"/>
                      </a:cubicBezTo>
                      <a:cubicBezTo>
                        <a:pt x="17357" y="8863"/>
                        <a:pt x="17250" y="8616"/>
                        <a:pt x="17250" y="8355"/>
                      </a:cubicBezTo>
                      <a:lnTo>
                        <a:pt x="17296" y="8078"/>
                      </a:lnTo>
                      <a:lnTo>
                        <a:pt x="17250" y="7070"/>
                      </a:lnTo>
                      <a:cubicBezTo>
                        <a:pt x="17250" y="7011"/>
                        <a:pt x="17273" y="6881"/>
                        <a:pt x="17319" y="6679"/>
                      </a:cubicBezTo>
                      <a:cubicBezTo>
                        <a:pt x="17365" y="6486"/>
                        <a:pt x="17388" y="6368"/>
                        <a:pt x="17388" y="6326"/>
                      </a:cubicBezTo>
                      <a:cubicBezTo>
                        <a:pt x="17388" y="5721"/>
                        <a:pt x="17239" y="5016"/>
                        <a:pt x="16940" y="4209"/>
                      </a:cubicBezTo>
                      <a:cubicBezTo>
                        <a:pt x="16887" y="4066"/>
                        <a:pt x="16722" y="3802"/>
                        <a:pt x="16447" y="3415"/>
                      </a:cubicBezTo>
                      <a:cubicBezTo>
                        <a:pt x="16424" y="3382"/>
                        <a:pt x="16378" y="3222"/>
                        <a:pt x="16309" y="2936"/>
                      </a:cubicBezTo>
                      <a:cubicBezTo>
                        <a:pt x="16256" y="2701"/>
                        <a:pt x="16187" y="2583"/>
                        <a:pt x="16102" y="2583"/>
                      </a:cubicBezTo>
                      <a:cubicBezTo>
                        <a:pt x="16079" y="2583"/>
                        <a:pt x="16037" y="2621"/>
                        <a:pt x="15976" y="2697"/>
                      </a:cubicBezTo>
                      <a:cubicBezTo>
                        <a:pt x="15915" y="2764"/>
                        <a:pt x="15854" y="2798"/>
                        <a:pt x="15792" y="2798"/>
                      </a:cubicBezTo>
                      <a:cubicBezTo>
                        <a:pt x="15701" y="2798"/>
                        <a:pt x="15640" y="2739"/>
                        <a:pt x="15609" y="2621"/>
                      </a:cubicBezTo>
                      <a:cubicBezTo>
                        <a:pt x="15555" y="2445"/>
                        <a:pt x="15521" y="2348"/>
                        <a:pt x="15506" y="2331"/>
                      </a:cubicBezTo>
                      <a:cubicBezTo>
                        <a:pt x="15467" y="2281"/>
                        <a:pt x="15371" y="2210"/>
                        <a:pt x="15219" y="2117"/>
                      </a:cubicBezTo>
                      <a:cubicBezTo>
                        <a:pt x="15043" y="2025"/>
                        <a:pt x="14894" y="1966"/>
                        <a:pt x="14771" y="1941"/>
                      </a:cubicBezTo>
                      <a:lnTo>
                        <a:pt x="14542" y="1941"/>
                      </a:lnTo>
                      <a:cubicBezTo>
                        <a:pt x="14542" y="2218"/>
                        <a:pt x="14499" y="2436"/>
                        <a:pt x="14415" y="2596"/>
                      </a:cubicBezTo>
                      <a:cubicBezTo>
                        <a:pt x="14323" y="2747"/>
                        <a:pt x="14278" y="2827"/>
                        <a:pt x="14278" y="2835"/>
                      </a:cubicBezTo>
                      <a:cubicBezTo>
                        <a:pt x="14278" y="2861"/>
                        <a:pt x="14308" y="2915"/>
                        <a:pt x="14369" y="2999"/>
                      </a:cubicBezTo>
                      <a:cubicBezTo>
                        <a:pt x="14423" y="3083"/>
                        <a:pt x="14450" y="3180"/>
                        <a:pt x="14450" y="3289"/>
                      </a:cubicBezTo>
                      <a:cubicBezTo>
                        <a:pt x="14450" y="3365"/>
                        <a:pt x="14430" y="3524"/>
                        <a:pt x="14392" y="3768"/>
                      </a:cubicBezTo>
                      <a:lnTo>
                        <a:pt x="14450" y="4549"/>
                      </a:lnTo>
                      <a:cubicBezTo>
                        <a:pt x="14450" y="4583"/>
                        <a:pt x="14434" y="4680"/>
                        <a:pt x="14404" y="4839"/>
                      </a:cubicBezTo>
                      <a:cubicBezTo>
                        <a:pt x="14365" y="4999"/>
                        <a:pt x="14346" y="5121"/>
                        <a:pt x="14346" y="5205"/>
                      </a:cubicBezTo>
                      <a:cubicBezTo>
                        <a:pt x="14346" y="5263"/>
                        <a:pt x="14365" y="5377"/>
                        <a:pt x="14404" y="5545"/>
                      </a:cubicBezTo>
                      <a:cubicBezTo>
                        <a:pt x="14434" y="5721"/>
                        <a:pt x="14450" y="5847"/>
                        <a:pt x="14450" y="5923"/>
                      </a:cubicBezTo>
                      <a:cubicBezTo>
                        <a:pt x="14450" y="6066"/>
                        <a:pt x="14423" y="6259"/>
                        <a:pt x="14369" y="6503"/>
                      </a:cubicBezTo>
                      <a:cubicBezTo>
                        <a:pt x="14308" y="6738"/>
                        <a:pt x="14278" y="6877"/>
                        <a:pt x="14278" y="6919"/>
                      </a:cubicBezTo>
                      <a:lnTo>
                        <a:pt x="14255" y="7347"/>
                      </a:lnTo>
                      <a:cubicBezTo>
                        <a:pt x="14255" y="7465"/>
                        <a:pt x="14270" y="7578"/>
                        <a:pt x="14300" y="7687"/>
                      </a:cubicBezTo>
                      <a:cubicBezTo>
                        <a:pt x="14331" y="7796"/>
                        <a:pt x="14346" y="7864"/>
                        <a:pt x="14346" y="7889"/>
                      </a:cubicBezTo>
                      <a:cubicBezTo>
                        <a:pt x="14346" y="7973"/>
                        <a:pt x="14247" y="8128"/>
                        <a:pt x="14048" y="8355"/>
                      </a:cubicBezTo>
                      <a:cubicBezTo>
                        <a:pt x="13849" y="8574"/>
                        <a:pt x="13715" y="8683"/>
                        <a:pt x="13646" y="8683"/>
                      </a:cubicBezTo>
                      <a:cubicBezTo>
                        <a:pt x="13501" y="8683"/>
                        <a:pt x="13382" y="8624"/>
                        <a:pt x="13290" y="8506"/>
                      </a:cubicBezTo>
                      <a:cubicBezTo>
                        <a:pt x="13214" y="8406"/>
                        <a:pt x="13176" y="8301"/>
                        <a:pt x="13176" y="8191"/>
                      </a:cubicBezTo>
                      <a:cubicBezTo>
                        <a:pt x="13176" y="8099"/>
                        <a:pt x="13229" y="7956"/>
                        <a:pt x="13336" y="7763"/>
                      </a:cubicBezTo>
                      <a:cubicBezTo>
                        <a:pt x="13444" y="7570"/>
                        <a:pt x="13497" y="7444"/>
                        <a:pt x="13497" y="7385"/>
                      </a:cubicBezTo>
                      <a:cubicBezTo>
                        <a:pt x="13497" y="7326"/>
                        <a:pt x="13455" y="7263"/>
                        <a:pt x="13371" y="7196"/>
                      </a:cubicBezTo>
                      <a:cubicBezTo>
                        <a:pt x="13287" y="7120"/>
                        <a:pt x="13245" y="7024"/>
                        <a:pt x="13245" y="6906"/>
                      </a:cubicBezTo>
                      <a:cubicBezTo>
                        <a:pt x="13290" y="6763"/>
                        <a:pt x="13313" y="6683"/>
                        <a:pt x="13313" y="6667"/>
                      </a:cubicBezTo>
                      <a:cubicBezTo>
                        <a:pt x="13359" y="6532"/>
                        <a:pt x="13382" y="6444"/>
                        <a:pt x="13382" y="6402"/>
                      </a:cubicBezTo>
                      <a:cubicBezTo>
                        <a:pt x="13382" y="6343"/>
                        <a:pt x="13348" y="6276"/>
                        <a:pt x="13279" y="6200"/>
                      </a:cubicBezTo>
                      <a:cubicBezTo>
                        <a:pt x="13210" y="6125"/>
                        <a:pt x="13176" y="6074"/>
                        <a:pt x="13176" y="6049"/>
                      </a:cubicBezTo>
                      <a:cubicBezTo>
                        <a:pt x="13176" y="6015"/>
                        <a:pt x="13222" y="5868"/>
                        <a:pt x="13313" y="5608"/>
                      </a:cubicBezTo>
                      <a:cubicBezTo>
                        <a:pt x="13405" y="5339"/>
                        <a:pt x="13451" y="5158"/>
                        <a:pt x="13451" y="5066"/>
                      </a:cubicBezTo>
                      <a:cubicBezTo>
                        <a:pt x="13451" y="4688"/>
                        <a:pt x="13241" y="4197"/>
                        <a:pt x="12820" y="3592"/>
                      </a:cubicBezTo>
                      <a:cubicBezTo>
                        <a:pt x="12613" y="3281"/>
                        <a:pt x="12422" y="3050"/>
                        <a:pt x="12246" y="2898"/>
                      </a:cubicBezTo>
                      <a:lnTo>
                        <a:pt x="12017" y="3856"/>
                      </a:lnTo>
                      <a:cubicBezTo>
                        <a:pt x="12024" y="3890"/>
                        <a:pt x="12028" y="3919"/>
                        <a:pt x="12028" y="3944"/>
                      </a:cubicBezTo>
                      <a:cubicBezTo>
                        <a:pt x="12028" y="4012"/>
                        <a:pt x="11974" y="4154"/>
                        <a:pt x="11867" y="4373"/>
                      </a:cubicBezTo>
                      <a:cubicBezTo>
                        <a:pt x="11852" y="4432"/>
                        <a:pt x="11856" y="4520"/>
                        <a:pt x="11879" y="4638"/>
                      </a:cubicBezTo>
                      <a:cubicBezTo>
                        <a:pt x="11879" y="4680"/>
                        <a:pt x="11860" y="4713"/>
                        <a:pt x="11821" y="4738"/>
                      </a:cubicBezTo>
                      <a:cubicBezTo>
                        <a:pt x="11783" y="4755"/>
                        <a:pt x="11733" y="4764"/>
                        <a:pt x="11672" y="4764"/>
                      </a:cubicBezTo>
                      <a:cubicBezTo>
                        <a:pt x="11626" y="4764"/>
                        <a:pt x="11523" y="4713"/>
                        <a:pt x="11362" y="4612"/>
                      </a:cubicBezTo>
                      <a:cubicBezTo>
                        <a:pt x="11202" y="4503"/>
                        <a:pt x="11106" y="4449"/>
                        <a:pt x="11075" y="4449"/>
                      </a:cubicBezTo>
                      <a:cubicBezTo>
                        <a:pt x="10930" y="4449"/>
                        <a:pt x="10796" y="4566"/>
                        <a:pt x="10674" y="4801"/>
                      </a:cubicBezTo>
                      <a:cubicBezTo>
                        <a:pt x="10551" y="5028"/>
                        <a:pt x="10459" y="5142"/>
                        <a:pt x="10398" y="5142"/>
                      </a:cubicBezTo>
                      <a:cubicBezTo>
                        <a:pt x="10345" y="5142"/>
                        <a:pt x="10306" y="5091"/>
                        <a:pt x="10283" y="4990"/>
                      </a:cubicBezTo>
                      <a:cubicBezTo>
                        <a:pt x="10253" y="4890"/>
                        <a:pt x="10203" y="4839"/>
                        <a:pt x="10134" y="4839"/>
                      </a:cubicBezTo>
                      <a:cubicBezTo>
                        <a:pt x="10081" y="4839"/>
                        <a:pt x="10031" y="4860"/>
                        <a:pt x="9985" y="4902"/>
                      </a:cubicBezTo>
                      <a:cubicBezTo>
                        <a:pt x="9909" y="4978"/>
                        <a:pt x="9836" y="5032"/>
                        <a:pt x="9767" y="5066"/>
                      </a:cubicBezTo>
                      <a:cubicBezTo>
                        <a:pt x="9736" y="5032"/>
                        <a:pt x="9721" y="5003"/>
                        <a:pt x="9721" y="4978"/>
                      </a:cubicBezTo>
                      <a:cubicBezTo>
                        <a:pt x="9721" y="4877"/>
                        <a:pt x="9844" y="4730"/>
                        <a:pt x="10088" y="4537"/>
                      </a:cubicBezTo>
                      <a:cubicBezTo>
                        <a:pt x="10333" y="4335"/>
                        <a:pt x="10456" y="4121"/>
                        <a:pt x="10456" y="3894"/>
                      </a:cubicBezTo>
                      <a:lnTo>
                        <a:pt x="10479" y="3541"/>
                      </a:lnTo>
                      <a:cubicBezTo>
                        <a:pt x="10479" y="3365"/>
                        <a:pt x="10394" y="3188"/>
                        <a:pt x="10226" y="3012"/>
                      </a:cubicBezTo>
                      <a:cubicBezTo>
                        <a:pt x="10020" y="2827"/>
                        <a:pt x="9874" y="2693"/>
                        <a:pt x="9790" y="2609"/>
                      </a:cubicBezTo>
                      <a:cubicBezTo>
                        <a:pt x="9568" y="2373"/>
                        <a:pt x="9396" y="2197"/>
                        <a:pt x="9274" y="2079"/>
                      </a:cubicBezTo>
                      <a:cubicBezTo>
                        <a:pt x="9044" y="1869"/>
                        <a:pt x="8872" y="1764"/>
                        <a:pt x="8757" y="1764"/>
                      </a:cubicBezTo>
                      <a:cubicBezTo>
                        <a:pt x="8681" y="1764"/>
                        <a:pt x="8547" y="1857"/>
                        <a:pt x="8355" y="2041"/>
                      </a:cubicBezTo>
                      <a:cubicBezTo>
                        <a:pt x="8149" y="2235"/>
                        <a:pt x="8045" y="2390"/>
                        <a:pt x="8045" y="2508"/>
                      </a:cubicBezTo>
                      <a:lnTo>
                        <a:pt x="8091" y="2785"/>
                      </a:lnTo>
                      <a:cubicBezTo>
                        <a:pt x="8091" y="2869"/>
                        <a:pt x="8053" y="2941"/>
                        <a:pt x="7977" y="2999"/>
                      </a:cubicBezTo>
                      <a:cubicBezTo>
                        <a:pt x="7908" y="3050"/>
                        <a:pt x="7831" y="3075"/>
                        <a:pt x="7747" y="3075"/>
                      </a:cubicBezTo>
                      <a:cubicBezTo>
                        <a:pt x="7686" y="3075"/>
                        <a:pt x="7632" y="3033"/>
                        <a:pt x="7586" y="2949"/>
                      </a:cubicBezTo>
                      <a:cubicBezTo>
                        <a:pt x="7541" y="2848"/>
                        <a:pt x="7506" y="2777"/>
                        <a:pt x="7483" y="2735"/>
                      </a:cubicBezTo>
                      <a:cubicBezTo>
                        <a:pt x="7376" y="2751"/>
                        <a:pt x="7307" y="2764"/>
                        <a:pt x="7276" y="2772"/>
                      </a:cubicBezTo>
                      <a:cubicBezTo>
                        <a:pt x="7154" y="2873"/>
                        <a:pt x="7074" y="2924"/>
                        <a:pt x="7036" y="2924"/>
                      </a:cubicBezTo>
                      <a:cubicBezTo>
                        <a:pt x="6974" y="2924"/>
                        <a:pt x="6936" y="2911"/>
                        <a:pt x="6921" y="2886"/>
                      </a:cubicBezTo>
                      <a:cubicBezTo>
                        <a:pt x="6921" y="2852"/>
                        <a:pt x="6913" y="2831"/>
                        <a:pt x="6898" y="2823"/>
                      </a:cubicBezTo>
                      <a:cubicBezTo>
                        <a:pt x="6944" y="2730"/>
                        <a:pt x="7123" y="2520"/>
                        <a:pt x="7437" y="2193"/>
                      </a:cubicBezTo>
                      <a:cubicBezTo>
                        <a:pt x="7736" y="1831"/>
                        <a:pt x="7885" y="1508"/>
                        <a:pt x="7885" y="1222"/>
                      </a:cubicBezTo>
                      <a:cubicBezTo>
                        <a:pt x="7885" y="911"/>
                        <a:pt x="7862" y="643"/>
                        <a:pt x="7816" y="416"/>
                      </a:cubicBezTo>
                      <a:cubicBezTo>
                        <a:pt x="7762" y="139"/>
                        <a:pt x="7682" y="0"/>
                        <a:pt x="7575" y="0"/>
                      </a:cubicBezTo>
                      <a:cubicBezTo>
                        <a:pt x="6970" y="0"/>
                        <a:pt x="6332" y="92"/>
                        <a:pt x="5658" y="277"/>
                      </a:cubicBezTo>
                      <a:cubicBezTo>
                        <a:pt x="4985" y="454"/>
                        <a:pt x="4365" y="680"/>
                        <a:pt x="3799" y="958"/>
                      </a:cubicBezTo>
                      <a:cubicBezTo>
                        <a:pt x="3646" y="1008"/>
                        <a:pt x="3378" y="1155"/>
                        <a:pt x="2996" y="1399"/>
                      </a:cubicBezTo>
                      <a:cubicBezTo>
                        <a:pt x="2452" y="1735"/>
                        <a:pt x="2181" y="2012"/>
                        <a:pt x="2181" y="2231"/>
                      </a:cubicBezTo>
                      <a:cubicBezTo>
                        <a:pt x="2181" y="2281"/>
                        <a:pt x="2226" y="2365"/>
                        <a:pt x="2318" y="2482"/>
                      </a:cubicBezTo>
                      <a:cubicBezTo>
                        <a:pt x="2403" y="2592"/>
                        <a:pt x="2445" y="2688"/>
                        <a:pt x="2445" y="2772"/>
                      </a:cubicBezTo>
                      <a:cubicBezTo>
                        <a:pt x="2445" y="2932"/>
                        <a:pt x="2349" y="3037"/>
                        <a:pt x="2158" y="3087"/>
                      </a:cubicBezTo>
                      <a:cubicBezTo>
                        <a:pt x="1844" y="3163"/>
                        <a:pt x="1615" y="3251"/>
                        <a:pt x="1469" y="3352"/>
                      </a:cubicBezTo>
                      <a:cubicBezTo>
                        <a:pt x="1385" y="3402"/>
                        <a:pt x="1228" y="3583"/>
                        <a:pt x="999" y="3894"/>
                      </a:cubicBezTo>
                      <a:cubicBezTo>
                        <a:pt x="738" y="4247"/>
                        <a:pt x="608" y="4507"/>
                        <a:pt x="608" y="4675"/>
                      </a:cubicBezTo>
                      <a:cubicBezTo>
                        <a:pt x="608" y="4835"/>
                        <a:pt x="677" y="4944"/>
                        <a:pt x="815" y="5003"/>
                      </a:cubicBezTo>
                      <a:cubicBezTo>
                        <a:pt x="960" y="5070"/>
                        <a:pt x="1048" y="5175"/>
                        <a:pt x="1079" y="5318"/>
                      </a:cubicBezTo>
                      <a:cubicBezTo>
                        <a:pt x="1094" y="5402"/>
                        <a:pt x="1205" y="5465"/>
                        <a:pt x="1412" y="5507"/>
                      </a:cubicBezTo>
                      <a:cubicBezTo>
                        <a:pt x="1611" y="5549"/>
                        <a:pt x="1710" y="5637"/>
                        <a:pt x="1710" y="5772"/>
                      </a:cubicBezTo>
                      <a:cubicBezTo>
                        <a:pt x="1710" y="5940"/>
                        <a:pt x="1595" y="6041"/>
                        <a:pt x="1366" y="6074"/>
                      </a:cubicBezTo>
                      <a:cubicBezTo>
                        <a:pt x="1136" y="6108"/>
                        <a:pt x="1021" y="6179"/>
                        <a:pt x="1021" y="6288"/>
                      </a:cubicBezTo>
                      <a:cubicBezTo>
                        <a:pt x="1021" y="6398"/>
                        <a:pt x="1117" y="6452"/>
                        <a:pt x="1308" y="6452"/>
                      </a:cubicBezTo>
                      <a:cubicBezTo>
                        <a:pt x="1415" y="6452"/>
                        <a:pt x="1542" y="6444"/>
                        <a:pt x="1687" y="6427"/>
                      </a:cubicBezTo>
                      <a:cubicBezTo>
                        <a:pt x="1741" y="6427"/>
                        <a:pt x="1875" y="6461"/>
                        <a:pt x="2089" y="6528"/>
                      </a:cubicBezTo>
                      <a:cubicBezTo>
                        <a:pt x="2311" y="6587"/>
                        <a:pt x="2456" y="6616"/>
                        <a:pt x="2525" y="6616"/>
                      </a:cubicBezTo>
                      <a:lnTo>
                        <a:pt x="3294" y="6553"/>
                      </a:lnTo>
                      <a:cubicBezTo>
                        <a:pt x="3478" y="6553"/>
                        <a:pt x="3696" y="6574"/>
                        <a:pt x="3948" y="6616"/>
                      </a:cubicBezTo>
                      <a:cubicBezTo>
                        <a:pt x="4277" y="6667"/>
                        <a:pt x="4442" y="6734"/>
                        <a:pt x="4442" y="6818"/>
                      </a:cubicBezTo>
                      <a:cubicBezTo>
                        <a:pt x="4442" y="6843"/>
                        <a:pt x="4419" y="6885"/>
                        <a:pt x="4373" y="6944"/>
                      </a:cubicBezTo>
                      <a:cubicBezTo>
                        <a:pt x="4312" y="7011"/>
                        <a:pt x="4250" y="7045"/>
                        <a:pt x="4189" y="7045"/>
                      </a:cubicBezTo>
                      <a:lnTo>
                        <a:pt x="3960" y="6994"/>
                      </a:lnTo>
                      <a:lnTo>
                        <a:pt x="3891" y="6994"/>
                      </a:lnTo>
                      <a:cubicBezTo>
                        <a:pt x="3883" y="6994"/>
                        <a:pt x="3872" y="7011"/>
                        <a:pt x="3856" y="7045"/>
                      </a:cubicBezTo>
                      <a:cubicBezTo>
                        <a:pt x="3887" y="7045"/>
                        <a:pt x="3902" y="7057"/>
                        <a:pt x="3902" y="7082"/>
                      </a:cubicBezTo>
                      <a:cubicBezTo>
                        <a:pt x="3902" y="7099"/>
                        <a:pt x="3925" y="7162"/>
                        <a:pt x="3971" y="7271"/>
                      </a:cubicBezTo>
                      <a:cubicBezTo>
                        <a:pt x="3971" y="7305"/>
                        <a:pt x="3967" y="7339"/>
                        <a:pt x="3960" y="7372"/>
                      </a:cubicBezTo>
                      <a:lnTo>
                        <a:pt x="3948" y="7385"/>
                      </a:lnTo>
                      <a:lnTo>
                        <a:pt x="3937" y="7385"/>
                      </a:lnTo>
                      <a:cubicBezTo>
                        <a:pt x="3814" y="7293"/>
                        <a:pt x="3726" y="7225"/>
                        <a:pt x="3673" y="7183"/>
                      </a:cubicBezTo>
                      <a:cubicBezTo>
                        <a:pt x="3573" y="7116"/>
                        <a:pt x="3466" y="7082"/>
                        <a:pt x="3351" y="7082"/>
                      </a:cubicBezTo>
                      <a:cubicBezTo>
                        <a:pt x="2739" y="7082"/>
                        <a:pt x="2200" y="7133"/>
                        <a:pt x="1733" y="7234"/>
                      </a:cubicBezTo>
                      <a:cubicBezTo>
                        <a:pt x="845" y="7418"/>
                        <a:pt x="402" y="7750"/>
                        <a:pt x="402" y="8229"/>
                      </a:cubicBezTo>
                      <a:cubicBezTo>
                        <a:pt x="402" y="8515"/>
                        <a:pt x="539" y="8901"/>
                        <a:pt x="815" y="9388"/>
                      </a:cubicBezTo>
                      <a:cubicBezTo>
                        <a:pt x="853" y="9456"/>
                        <a:pt x="983" y="9586"/>
                        <a:pt x="1205" y="9779"/>
                      </a:cubicBezTo>
                      <a:cubicBezTo>
                        <a:pt x="1450" y="9989"/>
                        <a:pt x="1618" y="10090"/>
                        <a:pt x="1710" y="10082"/>
                      </a:cubicBezTo>
                      <a:cubicBezTo>
                        <a:pt x="1924" y="10048"/>
                        <a:pt x="2215" y="10153"/>
                        <a:pt x="2582" y="10397"/>
                      </a:cubicBezTo>
                      <a:cubicBezTo>
                        <a:pt x="2957" y="10649"/>
                        <a:pt x="3271" y="10766"/>
                        <a:pt x="3524" y="10750"/>
                      </a:cubicBezTo>
                      <a:cubicBezTo>
                        <a:pt x="4495" y="10666"/>
                        <a:pt x="5172" y="10754"/>
                        <a:pt x="5555" y="11014"/>
                      </a:cubicBezTo>
                      <a:cubicBezTo>
                        <a:pt x="6114" y="11392"/>
                        <a:pt x="6442" y="11623"/>
                        <a:pt x="6542" y="11707"/>
                      </a:cubicBezTo>
                      <a:cubicBezTo>
                        <a:pt x="6970" y="12060"/>
                        <a:pt x="7185" y="12350"/>
                        <a:pt x="7185" y="12577"/>
                      </a:cubicBezTo>
                      <a:cubicBezTo>
                        <a:pt x="7185" y="12686"/>
                        <a:pt x="7143" y="12745"/>
                        <a:pt x="7058" y="12753"/>
                      </a:cubicBezTo>
                      <a:cubicBezTo>
                        <a:pt x="6959" y="12753"/>
                        <a:pt x="6883" y="12758"/>
                        <a:pt x="6829" y="12766"/>
                      </a:cubicBezTo>
                      <a:cubicBezTo>
                        <a:pt x="6760" y="12783"/>
                        <a:pt x="6703" y="12833"/>
                        <a:pt x="6657" y="12917"/>
                      </a:cubicBezTo>
                      <a:cubicBezTo>
                        <a:pt x="6619" y="13026"/>
                        <a:pt x="6588" y="13106"/>
                        <a:pt x="6565" y="13157"/>
                      </a:cubicBezTo>
                      <a:cubicBezTo>
                        <a:pt x="6427" y="13106"/>
                        <a:pt x="6083" y="12934"/>
                        <a:pt x="5532" y="12640"/>
                      </a:cubicBezTo>
                      <a:cubicBezTo>
                        <a:pt x="5019" y="12363"/>
                        <a:pt x="4675" y="12182"/>
                        <a:pt x="4499" y="12098"/>
                      </a:cubicBezTo>
                      <a:cubicBezTo>
                        <a:pt x="4216" y="12148"/>
                        <a:pt x="3826" y="12157"/>
                        <a:pt x="3328" y="12123"/>
                      </a:cubicBezTo>
                      <a:cubicBezTo>
                        <a:pt x="2693" y="12081"/>
                        <a:pt x="2211" y="12073"/>
                        <a:pt x="1882" y="12098"/>
                      </a:cubicBezTo>
                      <a:cubicBezTo>
                        <a:pt x="1553" y="12123"/>
                        <a:pt x="1236" y="12136"/>
                        <a:pt x="930" y="12136"/>
                      </a:cubicBezTo>
                      <a:cubicBezTo>
                        <a:pt x="616" y="12127"/>
                        <a:pt x="406" y="12148"/>
                        <a:pt x="298" y="12199"/>
                      </a:cubicBezTo>
                      <a:cubicBezTo>
                        <a:pt x="191" y="12249"/>
                        <a:pt x="115" y="12321"/>
                        <a:pt x="69" y="12413"/>
                      </a:cubicBezTo>
                      <a:cubicBezTo>
                        <a:pt x="23" y="12505"/>
                        <a:pt x="0" y="12678"/>
                        <a:pt x="0" y="12930"/>
                      </a:cubicBezTo>
                      <a:cubicBezTo>
                        <a:pt x="0" y="13341"/>
                        <a:pt x="15" y="13606"/>
                        <a:pt x="46" y="13724"/>
                      </a:cubicBezTo>
                      <a:cubicBezTo>
                        <a:pt x="61" y="13783"/>
                        <a:pt x="111" y="13854"/>
                        <a:pt x="195" y="13938"/>
                      </a:cubicBezTo>
                      <a:cubicBezTo>
                        <a:pt x="264" y="14005"/>
                        <a:pt x="306" y="14106"/>
                        <a:pt x="321" y="14240"/>
                      </a:cubicBezTo>
                      <a:cubicBezTo>
                        <a:pt x="329" y="14324"/>
                        <a:pt x="337" y="14438"/>
                        <a:pt x="344" y="14581"/>
                      </a:cubicBezTo>
                      <a:cubicBezTo>
                        <a:pt x="367" y="14723"/>
                        <a:pt x="425" y="14887"/>
                        <a:pt x="516" y="15072"/>
                      </a:cubicBezTo>
                      <a:cubicBezTo>
                        <a:pt x="616" y="15265"/>
                        <a:pt x="857" y="15480"/>
                        <a:pt x="1239" y="15715"/>
                      </a:cubicBezTo>
                      <a:cubicBezTo>
                        <a:pt x="1423" y="15824"/>
                        <a:pt x="1951" y="15988"/>
                        <a:pt x="2823" y="16206"/>
                      </a:cubicBezTo>
                      <a:cubicBezTo>
                        <a:pt x="2923" y="16240"/>
                        <a:pt x="3126" y="16425"/>
                        <a:pt x="3432" y="16761"/>
                      </a:cubicBezTo>
                      <a:cubicBezTo>
                        <a:pt x="3745" y="17105"/>
                        <a:pt x="3902" y="17324"/>
                        <a:pt x="3902" y="17416"/>
                      </a:cubicBezTo>
                      <a:cubicBezTo>
                        <a:pt x="3902" y="17424"/>
                        <a:pt x="3856" y="17580"/>
                        <a:pt x="3765" y="17882"/>
                      </a:cubicBezTo>
                      <a:cubicBezTo>
                        <a:pt x="3673" y="18218"/>
                        <a:pt x="3627" y="18470"/>
                        <a:pt x="3627" y="18638"/>
                      </a:cubicBezTo>
                      <a:cubicBezTo>
                        <a:pt x="3627" y="18756"/>
                        <a:pt x="3703" y="18954"/>
                        <a:pt x="3856" y="19231"/>
                      </a:cubicBezTo>
                      <a:cubicBezTo>
                        <a:pt x="4002" y="19508"/>
                        <a:pt x="4074" y="19672"/>
                        <a:pt x="4074" y="19722"/>
                      </a:cubicBezTo>
                      <a:cubicBezTo>
                        <a:pt x="4074" y="19731"/>
                        <a:pt x="4002" y="19823"/>
                        <a:pt x="3856" y="19999"/>
                      </a:cubicBezTo>
                      <a:cubicBezTo>
                        <a:pt x="3856" y="20033"/>
                        <a:pt x="3860" y="20058"/>
                        <a:pt x="3868" y="20075"/>
                      </a:cubicBezTo>
                      <a:cubicBezTo>
                        <a:pt x="3906" y="20168"/>
                        <a:pt x="3941" y="20235"/>
                        <a:pt x="3971" y="20277"/>
                      </a:cubicBezTo>
                      <a:cubicBezTo>
                        <a:pt x="3986" y="20285"/>
                        <a:pt x="4055" y="20289"/>
                        <a:pt x="4178" y="20289"/>
                      </a:cubicBezTo>
                      <a:cubicBezTo>
                        <a:pt x="4247" y="20289"/>
                        <a:pt x="4327" y="20277"/>
                        <a:pt x="4419" y="20252"/>
                      </a:cubicBezTo>
                      <a:cubicBezTo>
                        <a:pt x="4511" y="20218"/>
                        <a:pt x="4587" y="20201"/>
                        <a:pt x="4648" y="20201"/>
                      </a:cubicBezTo>
                      <a:cubicBezTo>
                        <a:pt x="4656" y="20201"/>
                        <a:pt x="4767" y="20235"/>
                        <a:pt x="4981" y="20302"/>
                      </a:cubicBezTo>
                      <a:cubicBezTo>
                        <a:pt x="5195" y="20361"/>
                        <a:pt x="5337" y="20390"/>
                        <a:pt x="5406" y="20390"/>
                      </a:cubicBezTo>
                      <a:cubicBezTo>
                        <a:pt x="5452" y="20382"/>
                        <a:pt x="5494" y="20403"/>
                        <a:pt x="5532" y="20453"/>
                      </a:cubicBezTo>
                      <a:cubicBezTo>
                        <a:pt x="5586" y="20529"/>
                        <a:pt x="5624" y="20575"/>
                        <a:pt x="5647" y="20592"/>
                      </a:cubicBezTo>
                      <a:cubicBezTo>
                        <a:pt x="5731" y="20642"/>
                        <a:pt x="5857" y="20667"/>
                        <a:pt x="6026" y="20667"/>
                      </a:cubicBezTo>
                      <a:cubicBezTo>
                        <a:pt x="6232" y="20667"/>
                        <a:pt x="6416" y="20588"/>
                        <a:pt x="6576" y="20428"/>
                      </a:cubicBezTo>
                      <a:cubicBezTo>
                        <a:pt x="6737" y="20260"/>
                        <a:pt x="6913" y="20176"/>
                        <a:pt x="7104" y="20176"/>
                      </a:cubicBezTo>
                      <a:cubicBezTo>
                        <a:pt x="7326" y="20176"/>
                        <a:pt x="7590" y="20260"/>
                        <a:pt x="7896" y="20428"/>
                      </a:cubicBezTo>
                      <a:cubicBezTo>
                        <a:pt x="8202" y="20588"/>
                        <a:pt x="8474" y="20667"/>
                        <a:pt x="8711" y="20667"/>
                      </a:cubicBezTo>
                      <a:cubicBezTo>
                        <a:pt x="8994" y="20667"/>
                        <a:pt x="9369" y="20537"/>
                        <a:pt x="9836" y="20277"/>
                      </a:cubicBezTo>
                      <a:cubicBezTo>
                        <a:pt x="10341" y="19991"/>
                        <a:pt x="10601" y="19848"/>
                        <a:pt x="10616" y="19848"/>
                      </a:cubicBezTo>
                      <a:cubicBezTo>
                        <a:pt x="10815" y="19806"/>
                        <a:pt x="11133" y="19769"/>
                        <a:pt x="11569" y="19735"/>
                      </a:cubicBezTo>
                      <a:cubicBezTo>
                        <a:pt x="11775" y="19710"/>
                        <a:pt x="12032" y="19689"/>
                        <a:pt x="12338" y="19672"/>
                      </a:cubicBezTo>
                      <a:lnTo>
                        <a:pt x="12751" y="19382"/>
                      </a:lnTo>
                      <a:cubicBezTo>
                        <a:pt x="12851" y="19264"/>
                        <a:pt x="12919" y="19164"/>
                        <a:pt x="12958" y="19080"/>
                      </a:cubicBezTo>
                      <a:cubicBezTo>
                        <a:pt x="12988" y="19012"/>
                        <a:pt x="13019" y="18907"/>
                        <a:pt x="13050" y="18765"/>
                      </a:cubicBezTo>
                      <a:cubicBezTo>
                        <a:pt x="13088" y="18538"/>
                        <a:pt x="13149" y="18344"/>
                        <a:pt x="13233" y="18185"/>
                      </a:cubicBezTo>
                      <a:cubicBezTo>
                        <a:pt x="13355" y="17924"/>
                        <a:pt x="13509" y="17794"/>
                        <a:pt x="13692" y="17794"/>
                      </a:cubicBezTo>
                      <a:cubicBezTo>
                        <a:pt x="13723" y="17794"/>
                        <a:pt x="13761" y="17836"/>
                        <a:pt x="13807" y="17920"/>
                      </a:cubicBezTo>
                      <a:cubicBezTo>
                        <a:pt x="13853" y="18004"/>
                        <a:pt x="13876" y="18084"/>
                        <a:pt x="13876" y="18160"/>
                      </a:cubicBezTo>
                      <a:lnTo>
                        <a:pt x="13899" y="18601"/>
                      </a:lnTo>
                      <a:cubicBezTo>
                        <a:pt x="13899" y="18685"/>
                        <a:pt x="13872" y="18777"/>
                        <a:pt x="13818" y="18878"/>
                      </a:cubicBezTo>
                      <a:cubicBezTo>
                        <a:pt x="13765" y="18979"/>
                        <a:pt x="13738" y="19050"/>
                        <a:pt x="13738" y="19092"/>
                      </a:cubicBezTo>
                      <a:cubicBezTo>
                        <a:pt x="13738" y="19227"/>
                        <a:pt x="13838" y="19319"/>
                        <a:pt x="14036" y="19369"/>
                      </a:cubicBezTo>
                      <a:cubicBezTo>
                        <a:pt x="14304" y="19437"/>
                        <a:pt x="14465" y="19491"/>
                        <a:pt x="14518" y="19533"/>
                      </a:cubicBezTo>
                      <a:cubicBezTo>
                        <a:pt x="14564" y="19575"/>
                        <a:pt x="14729" y="19630"/>
                        <a:pt x="15012" y="19697"/>
                      </a:cubicBezTo>
                      <a:cubicBezTo>
                        <a:pt x="15226" y="19747"/>
                        <a:pt x="15333" y="19831"/>
                        <a:pt x="15333" y="19949"/>
                      </a:cubicBezTo>
                      <a:cubicBezTo>
                        <a:pt x="15333" y="20025"/>
                        <a:pt x="15311" y="20092"/>
                        <a:pt x="15264" y="20151"/>
                      </a:cubicBezTo>
                      <a:cubicBezTo>
                        <a:pt x="15188" y="20235"/>
                        <a:pt x="15134" y="20315"/>
                        <a:pt x="15104" y="20390"/>
                      </a:cubicBezTo>
                      <a:lnTo>
                        <a:pt x="15104" y="20541"/>
                      </a:lnTo>
                      <a:cubicBezTo>
                        <a:pt x="15142" y="20516"/>
                        <a:pt x="15272" y="20558"/>
                        <a:pt x="15494" y="20667"/>
                      </a:cubicBezTo>
                      <a:cubicBezTo>
                        <a:pt x="15731" y="20777"/>
                        <a:pt x="15865" y="20831"/>
                        <a:pt x="15896" y="20831"/>
                      </a:cubicBezTo>
                      <a:cubicBezTo>
                        <a:pt x="15926" y="20831"/>
                        <a:pt x="15980" y="20810"/>
                        <a:pt x="16057" y="20768"/>
                      </a:cubicBezTo>
                      <a:cubicBezTo>
                        <a:pt x="16133" y="20718"/>
                        <a:pt x="16194" y="20693"/>
                        <a:pt x="16240" y="20693"/>
                      </a:cubicBezTo>
                      <a:cubicBezTo>
                        <a:pt x="16355" y="20693"/>
                        <a:pt x="16691" y="20865"/>
                        <a:pt x="17250" y="21209"/>
                      </a:cubicBezTo>
                      <a:cubicBezTo>
                        <a:pt x="17296" y="21226"/>
                        <a:pt x="17453" y="21264"/>
                        <a:pt x="17721" y="21323"/>
                      </a:cubicBezTo>
                      <a:cubicBezTo>
                        <a:pt x="17751" y="21323"/>
                        <a:pt x="17820" y="21369"/>
                        <a:pt x="17927" y="21461"/>
                      </a:cubicBezTo>
                      <a:cubicBezTo>
                        <a:pt x="18035" y="21554"/>
                        <a:pt x="18122" y="21600"/>
                        <a:pt x="18191" y="21600"/>
                      </a:cubicBezTo>
                      <a:cubicBezTo>
                        <a:pt x="18260" y="21600"/>
                        <a:pt x="18451" y="21520"/>
                        <a:pt x="18765" y="21361"/>
                      </a:cubicBezTo>
                      <a:cubicBezTo>
                        <a:pt x="19102" y="21193"/>
                        <a:pt x="19316" y="21100"/>
                        <a:pt x="19408" y="21083"/>
                      </a:cubicBezTo>
                      <a:cubicBezTo>
                        <a:pt x="19584" y="21041"/>
                        <a:pt x="19794" y="20932"/>
                        <a:pt x="20039" y="20756"/>
                      </a:cubicBezTo>
                      <a:cubicBezTo>
                        <a:pt x="20299" y="20579"/>
                        <a:pt x="20429" y="20449"/>
                        <a:pt x="20429" y="20365"/>
                      </a:cubicBezTo>
                      <a:cubicBezTo>
                        <a:pt x="20429" y="20264"/>
                        <a:pt x="20380" y="20159"/>
                        <a:pt x="20280" y="20050"/>
                      </a:cubicBezTo>
                      <a:cubicBezTo>
                        <a:pt x="20173" y="19932"/>
                        <a:pt x="20058" y="19873"/>
                        <a:pt x="19936" y="19873"/>
                      </a:cubicBezTo>
                      <a:cubicBezTo>
                        <a:pt x="19852" y="19873"/>
                        <a:pt x="19771" y="19895"/>
                        <a:pt x="19695" y="19937"/>
                      </a:cubicBezTo>
                      <a:cubicBezTo>
                        <a:pt x="19626" y="19979"/>
                        <a:pt x="19580" y="19999"/>
                        <a:pt x="19557" y="19999"/>
                      </a:cubicBezTo>
                      <a:cubicBezTo>
                        <a:pt x="19519" y="19999"/>
                        <a:pt x="19496" y="19991"/>
                        <a:pt x="19488" y="19974"/>
                      </a:cubicBezTo>
                      <a:cubicBezTo>
                        <a:pt x="19473" y="19958"/>
                        <a:pt x="19465" y="19911"/>
                        <a:pt x="19465" y="19836"/>
                      </a:cubicBezTo>
                      <a:cubicBezTo>
                        <a:pt x="19465" y="19735"/>
                        <a:pt x="19549" y="19663"/>
                        <a:pt x="19718" y="19621"/>
                      </a:cubicBezTo>
                      <a:cubicBezTo>
                        <a:pt x="19878" y="19579"/>
                        <a:pt x="19959" y="19475"/>
                        <a:pt x="19959" y="19306"/>
                      </a:cubicBezTo>
                      <a:cubicBezTo>
                        <a:pt x="19959" y="19239"/>
                        <a:pt x="19894" y="19130"/>
                        <a:pt x="19764" y="18979"/>
                      </a:cubicBezTo>
                      <a:cubicBezTo>
                        <a:pt x="19603" y="18786"/>
                        <a:pt x="19450" y="18689"/>
                        <a:pt x="19305" y="18689"/>
                      </a:cubicBezTo>
                      <a:cubicBezTo>
                        <a:pt x="19167" y="18689"/>
                        <a:pt x="18987" y="18802"/>
                        <a:pt x="18765" y="19029"/>
                      </a:cubicBezTo>
                      <a:cubicBezTo>
                        <a:pt x="18543" y="19290"/>
                        <a:pt x="18398" y="19458"/>
                        <a:pt x="18329" y="19533"/>
                      </a:cubicBezTo>
                      <a:lnTo>
                        <a:pt x="18329" y="19054"/>
                      </a:lnTo>
                      <a:cubicBezTo>
                        <a:pt x="18337" y="18794"/>
                        <a:pt x="18340" y="18617"/>
                        <a:pt x="18340" y="18525"/>
                      </a:cubicBezTo>
                      <a:cubicBezTo>
                        <a:pt x="18348" y="18382"/>
                        <a:pt x="18444" y="18311"/>
                        <a:pt x="18627" y="18311"/>
                      </a:cubicBezTo>
                      <a:cubicBezTo>
                        <a:pt x="18681" y="18311"/>
                        <a:pt x="18769" y="18353"/>
                        <a:pt x="18891" y="18437"/>
                      </a:cubicBezTo>
                      <a:cubicBezTo>
                        <a:pt x="19014" y="18521"/>
                        <a:pt x="19102" y="18563"/>
                        <a:pt x="19155" y="18563"/>
                      </a:cubicBezTo>
                      <a:cubicBezTo>
                        <a:pt x="19255" y="18563"/>
                        <a:pt x="19297" y="18454"/>
                        <a:pt x="19281" y="18235"/>
                      </a:cubicBezTo>
                      <a:cubicBezTo>
                        <a:pt x="19274" y="17975"/>
                        <a:pt x="19278" y="17828"/>
                        <a:pt x="19293" y="17794"/>
                      </a:cubicBezTo>
                      <a:cubicBezTo>
                        <a:pt x="19347" y="17676"/>
                        <a:pt x="19412" y="17563"/>
                        <a:pt x="19488" y="17454"/>
                      </a:cubicBezTo>
                      <a:cubicBezTo>
                        <a:pt x="19496" y="17437"/>
                        <a:pt x="19503" y="17420"/>
                        <a:pt x="19511" y="17404"/>
                      </a:cubicBezTo>
                      <a:cubicBezTo>
                        <a:pt x="19657" y="17210"/>
                        <a:pt x="19794" y="17114"/>
                        <a:pt x="19924" y="17114"/>
                      </a:cubicBezTo>
                      <a:cubicBezTo>
                        <a:pt x="19970" y="17114"/>
                        <a:pt x="19997" y="17130"/>
                        <a:pt x="20004" y="17164"/>
                      </a:cubicBezTo>
                      <a:cubicBezTo>
                        <a:pt x="20004" y="17172"/>
                        <a:pt x="20004" y="17214"/>
                        <a:pt x="20004" y="17290"/>
                      </a:cubicBezTo>
                      <a:lnTo>
                        <a:pt x="19959" y="17706"/>
                      </a:lnTo>
                      <a:cubicBezTo>
                        <a:pt x="19959" y="17949"/>
                        <a:pt x="20093" y="18071"/>
                        <a:pt x="20360" y="18071"/>
                      </a:cubicBezTo>
                      <a:cubicBezTo>
                        <a:pt x="20559" y="18071"/>
                        <a:pt x="20670" y="18000"/>
                        <a:pt x="20693" y="17857"/>
                      </a:cubicBezTo>
                      <a:cubicBezTo>
                        <a:pt x="20724" y="17580"/>
                        <a:pt x="20770" y="17395"/>
                        <a:pt x="20831" y="17303"/>
                      </a:cubicBezTo>
                      <a:lnTo>
                        <a:pt x="20854" y="17567"/>
                      </a:lnTo>
                      <a:cubicBezTo>
                        <a:pt x="20854" y="17828"/>
                        <a:pt x="20862" y="17987"/>
                        <a:pt x="20877" y="18046"/>
                      </a:cubicBezTo>
                      <a:cubicBezTo>
                        <a:pt x="20923" y="18239"/>
                        <a:pt x="21053" y="18336"/>
                        <a:pt x="21267" y="18336"/>
                      </a:cubicBezTo>
                      <a:cubicBezTo>
                        <a:pt x="21336" y="18336"/>
                        <a:pt x="21393" y="18256"/>
                        <a:pt x="21439" y="18097"/>
                      </a:cubicBezTo>
                      <a:cubicBezTo>
                        <a:pt x="21470" y="17971"/>
                        <a:pt x="21485" y="17849"/>
                        <a:pt x="21485" y="17731"/>
                      </a:cubicBezTo>
                      <a:lnTo>
                        <a:pt x="21439" y="17315"/>
                      </a:lnTo>
                      <a:cubicBezTo>
                        <a:pt x="21439" y="17206"/>
                        <a:pt x="21466" y="17105"/>
                        <a:pt x="21519" y="17013"/>
                      </a:cubicBezTo>
                      <a:cubicBezTo>
                        <a:pt x="21573" y="16912"/>
                        <a:pt x="21600" y="16799"/>
                        <a:pt x="21600" y="16673"/>
                      </a:cubicBezTo>
                      <a:close/>
                      <a:moveTo>
                        <a:pt x="21600" y="1667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12" name="AutoShape 86"/>
                <p:cNvSpPr>
                  <a:spLocks/>
                </p:cNvSpPr>
                <p:nvPr/>
              </p:nvSpPr>
              <p:spPr bwMode="auto">
                <a:xfrm>
                  <a:off x="6383718" y="787618"/>
                  <a:ext cx="108737" cy="149965"/>
                </a:xfrm>
                <a:custGeom>
                  <a:avLst/>
                  <a:gdLst/>
                  <a:ahLst/>
                  <a:cxnLst/>
                  <a:rect l="0" t="0" r="r" b="b"/>
                  <a:pathLst>
                    <a:path w="21593" h="21600">
                      <a:moveTo>
                        <a:pt x="19260" y="6361"/>
                      </a:moveTo>
                      <a:cubicBezTo>
                        <a:pt x="19423" y="5987"/>
                        <a:pt x="19860" y="5257"/>
                        <a:pt x="20570" y="4172"/>
                      </a:cubicBezTo>
                      <a:lnTo>
                        <a:pt x="21593" y="2663"/>
                      </a:lnTo>
                      <a:cubicBezTo>
                        <a:pt x="21593" y="2505"/>
                        <a:pt x="20870" y="2239"/>
                        <a:pt x="19423" y="1864"/>
                      </a:cubicBezTo>
                      <a:cubicBezTo>
                        <a:pt x="18032" y="1509"/>
                        <a:pt x="17117" y="1331"/>
                        <a:pt x="16681" y="1331"/>
                      </a:cubicBezTo>
                      <a:cubicBezTo>
                        <a:pt x="16463" y="1331"/>
                        <a:pt x="15998" y="1450"/>
                        <a:pt x="15290" y="1686"/>
                      </a:cubicBezTo>
                      <a:cubicBezTo>
                        <a:pt x="14580" y="1923"/>
                        <a:pt x="14212" y="2042"/>
                        <a:pt x="14183" y="2042"/>
                      </a:cubicBezTo>
                      <a:cubicBezTo>
                        <a:pt x="14020" y="2002"/>
                        <a:pt x="13911" y="1983"/>
                        <a:pt x="13857" y="1983"/>
                      </a:cubicBezTo>
                      <a:cubicBezTo>
                        <a:pt x="13857" y="1647"/>
                        <a:pt x="13680" y="1292"/>
                        <a:pt x="13325" y="917"/>
                      </a:cubicBezTo>
                      <a:cubicBezTo>
                        <a:pt x="12723" y="306"/>
                        <a:pt x="11795" y="0"/>
                        <a:pt x="10540" y="0"/>
                      </a:cubicBezTo>
                      <a:cubicBezTo>
                        <a:pt x="9613" y="0"/>
                        <a:pt x="8807" y="168"/>
                        <a:pt x="8125" y="503"/>
                      </a:cubicBezTo>
                      <a:cubicBezTo>
                        <a:pt x="7579" y="838"/>
                        <a:pt x="7265" y="1006"/>
                        <a:pt x="7184" y="1006"/>
                      </a:cubicBezTo>
                      <a:cubicBezTo>
                        <a:pt x="7075" y="1006"/>
                        <a:pt x="6883" y="947"/>
                        <a:pt x="6610" y="828"/>
                      </a:cubicBezTo>
                      <a:cubicBezTo>
                        <a:pt x="6338" y="710"/>
                        <a:pt x="6064" y="651"/>
                        <a:pt x="5791" y="651"/>
                      </a:cubicBezTo>
                      <a:cubicBezTo>
                        <a:pt x="5465" y="651"/>
                        <a:pt x="4686" y="878"/>
                        <a:pt x="3458" y="1331"/>
                      </a:cubicBezTo>
                      <a:cubicBezTo>
                        <a:pt x="2067" y="1844"/>
                        <a:pt x="1371" y="2288"/>
                        <a:pt x="1371" y="2663"/>
                      </a:cubicBezTo>
                      <a:cubicBezTo>
                        <a:pt x="1371" y="2860"/>
                        <a:pt x="1576" y="3008"/>
                        <a:pt x="1985" y="3107"/>
                      </a:cubicBezTo>
                      <a:cubicBezTo>
                        <a:pt x="2395" y="3225"/>
                        <a:pt x="2599" y="3314"/>
                        <a:pt x="2599" y="3373"/>
                      </a:cubicBezTo>
                      <a:cubicBezTo>
                        <a:pt x="2599" y="3570"/>
                        <a:pt x="2516" y="3758"/>
                        <a:pt x="2353" y="3935"/>
                      </a:cubicBezTo>
                      <a:cubicBezTo>
                        <a:pt x="2353" y="4645"/>
                        <a:pt x="2708" y="5020"/>
                        <a:pt x="3418" y="5060"/>
                      </a:cubicBezTo>
                      <a:cubicBezTo>
                        <a:pt x="4126" y="5099"/>
                        <a:pt x="4481" y="5247"/>
                        <a:pt x="4481" y="5503"/>
                      </a:cubicBezTo>
                      <a:cubicBezTo>
                        <a:pt x="4481" y="5622"/>
                        <a:pt x="4331" y="5750"/>
                        <a:pt x="4032" y="5888"/>
                      </a:cubicBezTo>
                      <a:cubicBezTo>
                        <a:pt x="3759" y="5888"/>
                        <a:pt x="3186" y="5622"/>
                        <a:pt x="2312" y="5089"/>
                      </a:cubicBezTo>
                      <a:cubicBezTo>
                        <a:pt x="1466" y="4557"/>
                        <a:pt x="893" y="4290"/>
                        <a:pt x="593" y="4290"/>
                      </a:cubicBezTo>
                      <a:cubicBezTo>
                        <a:pt x="265" y="4290"/>
                        <a:pt x="75" y="4438"/>
                        <a:pt x="20" y="4734"/>
                      </a:cubicBezTo>
                      <a:cubicBezTo>
                        <a:pt x="-7" y="4892"/>
                        <a:pt x="-7" y="5060"/>
                        <a:pt x="20" y="5237"/>
                      </a:cubicBezTo>
                      <a:cubicBezTo>
                        <a:pt x="20" y="5355"/>
                        <a:pt x="75" y="5927"/>
                        <a:pt x="183" y="6953"/>
                      </a:cubicBezTo>
                      <a:cubicBezTo>
                        <a:pt x="294" y="7959"/>
                        <a:pt x="348" y="8778"/>
                        <a:pt x="348" y="9409"/>
                      </a:cubicBezTo>
                      <a:lnTo>
                        <a:pt x="183" y="12812"/>
                      </a:lnTo>
                      <a:cubicBezTo>
                        <a:pt x="183" y="13384"/>
                        <a:pt x="511" y="14114"/>
                        <a:pt x="1167" y="15002"/>
                      </a:cubicBezTo>
                      <a:cubicBezTo>
                        <a:pt x="1793" y="15890"/>
                        <a:pt x="2107" y="16501"/>
                        <a:pt x="2107" y="16836"/>
                      </a:cubicBezTo>
                      <a:cubicBezTo>
                        <a:pt x="2107" y="17053"/>
                        <a:pt x="2067" y="17280"/>
                        <a:pt x="1985" y="17517"/>
                      </a:cubicBezTo>
                      <a:cubicBezTo>
                        <a:pt x="1902" y="17753"/>
                        <a:pt x="1862" y="18059"/>
                        <a:pt x="1862" y="18434"/>
                      </a:cubicBezTo>
                      <a:cubicBezTo>
                        <a:pt x="1862" y="19124"/>
                        <a:pt x="2107" y="19548"/>
                        <a:pt x="2599" y="19706"/>
                      </a:cubicBezTo>
                      <a:cubicBezTo>
                        <a:pt x="3063" y="19864"/>
                        <a:pt x="3295" y="19982"/>
                        <a:pt x="3295" y="20061"/>
                      </a:cubicBezTo>
                      <a:cubicBezTo>
                        <a:pt x="3295" y="20259"/>
                        <a:pt x="3063" y="20456"/>
                        <a:pt x="2599" y="20653"/>
                      </a:cubicBezTo>
                      <a:cubicBezTo>
                        <a:pt x="2107" y="20831"/>
                        <a:pt x="1862" y="21038"/>
                        <a:pt x="1862" y="21274"/>
                      </a:cubicBezTo>
                      <a:cubicBezTo>
                        <a:pt x="1862" y="21432"/>
                        <a:pt x="1889" y="21521"/>
                        <a:pt x="1944" y="21541"/>
                      </a:cubicBezTo>
                      <a:cubicBezTo>
                        <a:pt x="1998" y="21580"/>
                        <a:pt x="2230" y="21600"/>
                        <a:pt x="2639" y="21600"/>
                      </a:cubicBezTo>
                      <a:cubicBezTo>
                        <a:pt x="2694" y="21600"/>
                        <a:pt x="2762" y="21600"/>
                        <a:pt x="2844" y="21600"/>
                      </a:cubicBezTo>
                      <a:cubicBezTo>
                        <a:pt x="3364" y="21580"/>
                        <a:pt x="3990" y="21521"/>
                        <a:pt x="4728" y="21422"/>
                      </a:cubicBezTo>
                      <a:cubicBezTo>
                        <a:pt x="5164" y="21363"/>
                        <a:pt x="5532" y="21304"/>
                        <a:pt x="5833" y="21245"/>
                      </a:cubicBezTo>
                      <a:cubicBezTo>
                        <a:pt x="6160" y="21146"/>
                        <a:pt x="6405" y="21058"/>
                        <a:pt x="6570" y="20979"/>
                      </a:cubicBezTo>
                      <a:cubicBezTo>
                        <a:pt x="6952" y="20781"/>
                        <a:pt x="7169" y="20515"/>
                        <a:pt x="7224" y="20180"/>
                      </a:cubicBezTo>
                      <a:cubicBezTo>
                        <a:pt x="7334" y="19627"/>
                        <a:pt x="7511" y="19252"/>
                        <a:pt x="7756" y="19055"/>
                      </a:cubicBezTo>
                      <a:cubicBezTo>
                        <a:pt x="9039" y="17813"/>
                        <a:pt x="9680" y="17103"/>
                        <a:pt x="9680" y="16925"/>
                      </a:cubicBezTo>
                      <a:cubicBezTo>
                        <a:pt x="9680" y="16806"/>
                        <a:pt x="9613" y="16688"/>
                        <a:pt x="9475" y="16570"/>
                      </a:cubicBezTo>
                      <a:cubicBezTo>
                        <a:pt x="9339" y="16432"/>
                        <a:pt x="9134" y="16284"/>
                        <a:pt x="8861" y="16126"/>
                      </a:cubicBezTo>
                      <a:cubicBezTo>
                        <a:pt x="8261" y="15771"/>
                        <a:pt x="7921" y="15534"/>
                        <a:pt x="7838" y="15416"/>
                      </a:cubicBezTo>
                      <a:cubicBezTo>
                        <a:pt x="7484" y="14883"/>
                        <a:pt x="7252" y="14597"/>
                        <a:pt x="7142" y="14558"/>
                      </a:cubicBezTo>
                      <a:cubicBezTo>
                        <a:pt x="7006" y="14499"/>
                        <a:pt x="6760" y="14469"/>
                        <a:pt x="6405" y="14469"/>
                      </a:cubicBezTo>
                      <a:cubicBezTo>
                        <a:pt x="6079" y="14489"/>
                        <a:pt x="5874" y="14459"/>
                        <a:pt x="5791" y="14380"/>
                      </a:cubicBezTo>
                      <a:cubicBezTo>
                        <a:pt x="5791" y="14341"/>
                        <a:pt x="5914" y="14242"/>
                        <a:pt x="6160" y="14084"/>
                      </a:cubicBezTo>
                      <a:cubicBezTo>
                        <a:pt x="6461" y="13907"/>
                        <a:pt x="6733" y="13818"/>
                        <a:pt x="6979" y="13818"/>
                      </a:cubicBezTo>
                      <a:lnTo>
                        <a:pt x="8207" y="13966"/>
                      </a:lnTo>
                      <a:cubicBezTo>
                        <a:pt x="8452" y="13966"/>
                        <a:pt x="8752" y="13858"/>
                        <a:pt x="9107" y="13640"/>
                      </a:cubicBezTo>
                      <a:cubicBezTo>
                        <a:pt x="9462" y="13404"/>
                        <a:pt x="9653" y="13286"/>
                        <a:pt x="9680" y="13286"/>
                      </a:cubicBezTo>
                      <a:cubicBezTo>
                        <a:pt x="9817" y="13286"/>
                        <a:pt x="10377" y="13453"/>
                        <a:pt x="11359" y="13788"/>
                      </a:cubicBezTo>
                      <a:cubicBezTo>
                        <a:pt x="12014" y="14005"/>
                        <a:pt x="12546" y="14153"/>
                        <a:pt x="12955" y="14232"/>
                      </a:cubicBezTo>
                      <a:cubicBezTo>
                        <a:pt x="13147" y="14252"/>
                        <a:pt x="13310" y="14262"/>
                        <a:pt x="13448" y="14262"/>
                      </a:cubicBezTo>
                      <a:cubicBezTo>
                        <a:pt x="14156" y="14262"/>
                        <a:pt x="14689" y="14114"/>
                        <a:pt x="15044" y="13818"/>
                      </a:cubicBezTo>
                      <a:cubicBezTo>
                        <a:pt x="15235" y="13660"/>
                        <a:pt x="15522" y="13275"/>
                        <a:pt x="15904" y="12664"/>
                      </a:cubicBezTo>
                      <a:cubicBezTo>
                        <a:pt x="15931" y="12605"/>
                        <a:pt x="15971" y="12546"/>
                        <a:pt x="16025" y="12487"/>
                      </a:cubicBezTo>
                      <a:cubicBezTo>
                        <a:pt x="16817" y="10988"/>
                        <a:pt x="17213" y="10129"/>
                        <a:pt x="17213" y="9912"/>
                      </a:cubicBezTo>
                      <a:cubicBezTo>
                        <a:pt x="17213" y="9755"/>
                        <a:pt x="17105" y="9656"/>
                        <a:pt x="16886" y="9616"/>
                      </a:cubicBezTo>
                      <a:cubicBezTo>
                        <a:pt x="16612" y="9597"/>
                        <a:pt x="16422" y="9439"/>
                        <a:pt x="16313" y="9143"/>
                      </a:cubicBezTo>
                      <a:cubicBezTo>
                        <a:pt x="16367" y="9143"/>
                        <a:pt x="16395" y="9123"/>
                        <a:pt x="16395" y="9084"/>
                      </a:cubicBezTo>
                      <a:cubicBezTo>
                        <a:pt x="17404" y="9143"/>
                        <a:pt x="18360" y="8236"/>
                        <a:pt x="19260" y="6361"/>
                      </a:cubicBezTo>
                      <a:close/>
                      <a:moveTo>
                        <a:pt x="19260" y="636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13" name="AutoShape 87"/>
                <p:cNvSpPr>
                  <a:spLocks/>
                </p:cNvSpPr>
                <p:nvPr/>
              </p:nvSpPr>
              <p:spPr bwMode="auto">
                <a:xfrm>
                  <a:off x="6354859" y="857704"/>
                  <a:ext cx="14430" cy="17522"/>
                </a:xfrm>
                <a:custGeom>
                  <a:avLst/>
                  <a:gdLst/>
                  <a:ahLst/>
                  <a:cxnLst/>
                  <a:rect l="0" t="0" r="r" b="b"/>
                  <a:pathLst>
                    <a:path w="21600" h="21600">
                      <a:moveTo>
                        <a:pt x="0" y="9794"/>
                      </a:moveTo>
                      <a:cubicBezTo>
                        <a:pt x="0" y="13311"/>
                        <a:pt x="1207" y="16239"/>
                        <a:pt x="3608" y="18583"/>
                      </a:cubicBezTo>
                      <a:cubicBezTo>
                        <a:pt x="5599" y="20594"/>
                        <a:pt x="8106" y="21600"/>
                        <a:pt x="11105" y="21600"/>
                      </a:cubicBezTo>
                      <a:cubicBezTo>
                        <a:pt x="14502" y="21600"/>
                        <a:pt x="17196" y="20260"/>
                        <a:pt x="19199" y="17582"/>
                      </a:cubicBezTo>
                      <a:cubicBezTo>
                        <a:pt x="20792" y="15402"/>
                        <a:pt x="21600" y="13228"/>
                        <a:pt x="21600" y="11050"/>
                      </a:cubicBezTo>
                      <a:cubicBezTo>
                        <a:pt x="21600" y="8036"/>
                        <a:pt x="20101" y="5356"/>
                        <a:pt x="17102" y="3012"/>
                      </a:cubicBezTo>
                      <a:cubicBezTo>
                        <a:pt x="14502" y="1004"/>
                        <a:pt x="11901" y="0"/>
                        <a:pt x="9301" y="0"/>
                      </a:cubicBezTo>
                      <a:cubicBezTo>
                        <a:pt x="6899" y="0"/>
                        <a:pt x="4803" y="837"/>
                        <a:pt x="2999" y="2511"/>
                      </a:cubicBezTo>
                      <a:cubicBezTo>
                        <a:pt x="1007" y="4354"/>
                        <a:pt x="0" y="6779"/>
                        <a:pt x="0" y="9794"/>
                      </a:cubicBezTo>
                      <a:close/>
                      <a:moveTo>
                        <a:pt x="0" y="979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14" name="AutoShape 88"/>
                <p:cNvSpPr>
                  <a:spLocks/>
                </p:cNvSpPr>
                <p:nvPr/>
              </p:nvSpPr>
              <p:spPr bwMode="auto">
                <a:xfrm>
                  <a:off x="6284772" y="1080332"/>
                  <a:ext cx="108737" cy="94823"/>
                </a:xfrm>
                <a:custGeom>
                  <a:avLst/>
                  <a:gdLst/>
                  <a:ahLst/>
                  <a:cxnLst/>
                  <a:rect l="0" t="0" r="r" b="b"/>
                  <a:pathLst>
                    <a:path w="21600" h="21600">
                      <a:moveTo>
                        <a:pt x="2945" y="11246"/>
                      </a:moveTo>
                      <a:cubicBezTo>
                        <a:pt x="981" y="12089"/>
                        <a:pt x="0" y="12791"/>
                        <a:pt x="0" y="13354"/>
                      </a:cubicBezTo>
                      <a:cubicBezTo>
                        <a:pt x="0" y="13979"/>
                        <a:pt x="177" y="14541"/>
                        <a:pt x="532" y="15040"/>
                      </a:cubicBezTo>
                      <a:cubicBezTo>
                        <a:pt x="695" y="15291"/>
                        <a:pt x="1159" y="15806"/>
                        <a:pt x="1922" y="16586"/>
                      </a:cubicBezTo>
                      <a:lnTo>
                        <a:pt x="2373" y="16586"/>
                      </a:lnTo>
                      <a:cubicBezTo>
                        <a:pt x="2373" y="16086"/>
                        <a:pt x="2442" y="15666"/>
                        <a:pt x="2578" y="15322"/>
                      </a:cubicBezTo>
                      <a:cubicBezTo>
                        <a:pt x="2713" y="14947"/>
                        <a:pt x="2891" y="14759"/>
                        <a:pt x="3110" y="14759"/>
                      </a:cubicBezTo>
                      <a:cubicBezTo>
                        <a:pt x="3627" y="14759"/>
                        <a:pt x="4064" y="15119"/>
                        <a:pt x="4418" y="15837"/>
                      </a:cubicBezTo>
                      <a:cubicBezTo>
                        <a:pt x="4773" y="16524"/>
                        <a:pt x="5114" y="16868"/>
                        <a:pt x="5441" y="16868"/>
                      </a:cubicBezTo>
                      <a:cubicBezTo>
                        <a:pt x="5604" y="16868"/>
                        <a:pt x="5769" y="16758"/>
                        <a:pt x="5932" y="16540"/>
                      </a:cubicBezTo>
                      <a:cubicBezTo>
                        <a:pt x="6095" y="16321"/>
                        <a:pt x="6232" y="16211"/>
                        <a:pt x="6341" y="16211"/>
                      </a:cubicBezTo>
                      <a:cubicBezTo>
                        <a:pt x="6395" y="16211"/>
                        <a:pt x="6449" y="16243"/>
                        <a:pt x="6504" y="16305"/>
                      </a:cubicBezTo>
                      <a:cubicBezTo>
                        <a:pt x="6533" y="16305"/>
                        <a:pt x="6560" y="16321"/>
                        <a:pt x="6587" y="16352"/>
                      </a:cubicBezTo>
                      <a:lnTo>
                        <a:pt x="6627" y="16399"/>
                      </a:lnTo>
                      <a:cubicBezTo>
                        <a:pt x="6681" y="16493"/>
                        <a:pt x="6723" y="16602"/>
                        <a:pt x="6750" y="16727"/>
                      </a:cubicBezTo>
                      <a:cubicBezTo>
                        <a:pt x="6942" y="17071"/>
                        <a:pt x="7228" y="17289"/>
                        <a:pt x="7610" y="17383"/>
                      </a:cubicBezTo>
                      <a:cubicBezTo>
                        <a:pt x="8401" y="17539"/>
                        <a:pt x="8918" y="17727"/>
                        <a:pt x="9163" y="17945"/>
                      </a:cubicBezTo>
                      <a:cubicBezTo>
                        <a:pt x="9545" y="18289"/>
                        <a:pt x="10023" y="18836"/>
                        <a:pt x="10595" y="19585"/>
                      </a:cubicBezTo>
                      <a:cubicBezTo>
                        <a:pt x="11114" y="20210"/>
                        <a:pt x="11686" y="20522"/>
                        <a:pt x="12314" y="20522"/>
                      </a:cubicBezTo>
                      <a:lnTo>
                        <a:pt x="13254" y="20335"/>
                      </a:lnTo>
                      <a:cubicBezTo>
                        <a:pt x="13581" y="20335"/>
                        <a:pt x="13990" y="20553"/>
                        <a:pt x="14481" y="20991"/>
                      </a:cubicBezTo>
                      <a:cubicBezTo>
                        <a:pt x="14946" y="21397"/>
                        <a:pt x="15422" y="21600"/>
                        <a:pt x="15913" y="21600"/>
                      </a:cubicBezTo>
                      <a:cubicBezTo>
                        <a:pt x="16405" y="21600"/>
                        <a:pt x="16677" y="21459"/>
                        <a:pt x="16731" y="21178"/>
                      </a:cubicBezTo>
                      <a:cubicBezTo>
                        <a:pt x="16868" y="20679"/>
                        <a:pt x="17223" y="20210"/>
                        <a:pt x="17795" y="19773"/>
                      </a:cubicBezTo>
                      <a:cubicBezTo>
                        <a:pt x="17877" y="19616"/>
                        <a:pt x="18150" y="19257"/>
                        <a:pt x="18613" y="18695"/>
                      </a:cubicBezTo>
                      <a:lnTo>
                        <a:pt x="18655" y="18648"/>
                      </a:lnTo>
                      <a:cubicBezTo>
                        <a:pt x="19227" y="17929"/>
                        <a:pt x="19623" y="17570"/>
                        <a:pt x="19841" y="17570"/>
                      </a:cubicBezTo>
                      <a:cubicBezTo>
                        <a:pt x="19922" y="17570"/>
                        <a:pt x="20018" y="17617"/>
                        <a:pt x="20127" y="17711"/>
                      </a:cubicBezTo>
                      <a:cubicBezTo>
                        <a:pt x="20237" y="17805"/>
                        <a:pt x="20427" y="17851"/>
                        <a:pt x="20700" y="17851"/>
                      </a:cubicBezTo>
                      <a:cubicBezTo>
                        <a:pt x="21300" y="17664"/>
                        <a:pt x="21600" y="17414"/>
                        <a:pt x="21600" y="17102"/>
                      </a:cubicBezTo>
                      <a:cubicBezTo>
                        <a:pt x="21546" y="16883"/>
                        <a:pt x="21519" y="16743"/>
                        <a:pt x="21519" y="16680"/>
                      </a:cubicBezTo>
                      <a:cubicBezTo>
                        <a:pt x="20972" y="16805"/>
                        <a:pt x="20454" y="16602"/>
                        <a:pt x="19964" y="16071"/>
                      </a:cubicBezTo>
                      <a:cubicBezTo>
                        <a:pt x="19446" y="15540"/>
                        <a:pt x="19118" y="14884"/>
                        <a:pt x="18981" y="14103"/>
                      </a:cubicBezTo>
                      <a:cubicBezTo>
                        <a:pt x="18655" y="12511"/>
                        <a:pt x="17958" y="11105"/>
                        <a:pt x="16896" y="9886"/>
                      </a:cubicBezTo>
                      <a:cubicBezTo>
                        <a:pt x="15942" y="8263"/>
                        <a:pt x="15013" y="6732"/>
                        <a:pt x="14113" y="5295"/>
                      </a:cubicBezTo>
                      <a:cubicBezTo>
                        <a:pt x="14032" y="5107"/>
                        <a:pt x="13936" y="4936"/>
                        <a:pt x="13827" y="4780"/>
                      </a:cubicBezTo>
                      <a:cubicBezTo>
                        <a:pt x="11918" y="1593"/>
                        <a:pt x="10786" y="0"/>
                        <a:pt x="10432" y="0"/>
                      </a:cubicBezTo>
                      <a:cubicBezTo>
                        <a:pt x="9914" y="0"/>
                        <a:pt x="9286" y="594"/>
                        <a:pt x="8549" y="1781"/>
                      </a:cubicBezTo>
                      <a:cubicBezTo>
                        <a:pt x="7896" y="2874"/>
                        <a:pt x="7514" y="3764"/>
                        <a:pt x="7405" y="4452"/>
                      </a:cubicBezTo>
                      <a:lnTo>
                        <a:pt x="6996" y="4452"/>
                      </a:lnTo>
                      <a:cubicBezTo>
                        <a:pt x="6859" y="4233"/>
                        <a:pt x="6627" y="4123"/>
                        <a:pt x="6299" y="4123"/>
                      </a:cubicBezTo>
                      <a:cubicBezTo>
                        <a:pt x="6163" y="4123"/>
                        <a:pt x="6028" y="4233"/>
                        <a:pt x="5890" y="4452"/>
                      </a:cubicBezTo>
                      <a:cubicBezTo>
                        <a:pt x="5727" y="4701"/>
                        <a:pt x="5646" y="4998"/>
                        <a:pt x="5646" y="5342"/>
                      </a:cubicBezTo>
                      <a:cubicBezTo>
                        <a:pt x="5646" y="5717"/>
                        <a:pt x="5727" y="6357"/>
                        <a:pt x="5890" y="7263"/>
                      </a:cubicBezTo>
                      <a:cubicBezTo>
                        <a:pt x="5890" y="9074"/>
                        <a:pt x="4909" y="10402"/>
                        <a:pt x="2945" y="11246"/>
                      </a:cubicBezTo>
                      <a:close/>
                      <a:moveTo>
                        <a:pt x="2945" y="1124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1" name="AutoShape 105"/>
                <p:cNvSpPr>
                  <a:spLocks/>
                </p:cNvSpPr>
                <p:nvPr/>
              </p:nvSpPr>
              <p:spPr bwMode="auto">
                <a:xfrm>
                  <a:off x="6486786" y="684549"/>
                  <a:ext cx="4123" cy="6700"/>
                </a:xfrm>
                <a:custGeom>
                  <a:avLst/>
                  <a:gdLst/>
                  <a:ahLst/>
                  <a:cxnLst/>
                  <a:rect l="0" t="0" r="r" b="b"/>
                  <a:pathLst>
                    <a:path w="21600" h="21600">
                      <a:moveTo>
                        <a:pt x="0" y="11246"/>
                      </a:moveTo>
                      <a:cubicBezTo>
                        <a:pt x="0" y="14267"/>
                        <a:pt x="1805" y="16859"/>
                        <a:pt x="5374" y="19008"/>
                      </a:cubicBezTo>
                      <a:cubicBezTo>
                        <a:pt x="8271" y="20734"/>
                        <a:pt x="11461" y="21600"/>
                        <a:pt x="15072" y="21600"/>
                      </a:cubicBezTo>
                      <a:cubicBezTo>
                        <a:pt x="17003" y="21600"/>
                        <a:pt x="19396" y="21265"/>
                        <a:pt x="21600" y="21075"/>
                      </a:cubicBezTo>
                      <a:lnTo>
                        <a:pt x="19795" y="0"/>
                      </a:lnTo>
                      <a:cubicBezTo>
                        <a:pt x="6780" y="4665"/>
                        <a:pt x="0" y="8445"/>
                        <a:pt x="0" y="11246"/>
                      </a:cubicBezTo>
                      <a:close/>
                      <a:moveTo>
                        <a:pt x="0" y="1124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2" name="AutoShape 106"/>
                <p:cNvSpPr>
                  <a:spLocks/>
                </p:cNvSpPr>
                <p:nvPr/>
              </p:nvSpPr>
              <p:spPr bwMode="auto">
                <a:xfrm>
                  <a:off x="6453804" y="647445"/>
                  <a:ext cx="36589" cy="27313"/>
                </a:xfrm>
                <a:custGeom>
                  <a:avLst/>
                  <a:gdLst/>
                  <a:ahLst/>
                  <a:cxnLst/>
                  <a:rect l="0" t="0" r="r" b="b"/>
                  <a:pathLst>
                    <a:path w="21600" h="21600">
                      <a:moveTo>
                        <a:pt x="18393" y="4673"/>
                      </a:moveTo>
                      <a:lnTo>
                        <a:pt x="12983" y="5318"/>
                      </a:lnTo>
                      <a:cubicBezTo>
                        <a:pt x="12260" y="5318"/>
                        <a:pt x="10697" y="4459"/>
                        <a:pt x="8293" y="2739"/>
                      </a:cubicBezTo>
                      <a:cubicBezTo>
                        <a:pt x="5809" y="913"/>
                        <a:pt x="4287" y="0"/>
                        <a:pt x="3724" y="0"/>
                      </a:cubicBezTo>
                      <a:cubicBezTo>
                        <a:pt x="1240" y="0"/>
                        <a:pt x="0" y="1236"/>
                        <a:pt x="0" y="3706"/>
                      </a:cubicBezTo>
                      <a:cubicBezTo>
                        <a:pt x="0" y="4350"/>
                        <a:pt x="1442" y="5265"/>
                        <a:pt x="4325" y="6446"/>
                      </a:cubicBezTo>
                      <a:cubicBezTo>
                        <a:pt x="7213" y="7629"/>
                        <a:pt x="8654" y="8809"/>
                        <a:pt x="8654" y="9991"/>
                      </a:cubicBezTo>
                      <a:lnTo>
                        <a:pt x="5649" y="17888"/>
                      </a:lnTo>
                      <a:lnTo>
                        <a:pt x="5649" y="20951"/>
                      </a:lnTo>
                      <a:cubicBezTo>
                        <a:pt x="6611" y="20305"/>
                        <a:pt x="8015" y="19017"/>
                        <a:pt x="9856" y="17082"/>
                      </a:cubicBezTo>
                      <a:cubicBezTo>
                        <a:pt x="10739" y="16116"/>
                        <a:pt x="11899" y="15631"/>
                        <a:pt x="13340" y="15631"/>
                      </a:cubicBezTo>
                      <a:cubicBezTo>
                        <a:pt x="14463" y="15631"/>
                        <a:pt x="15106" y="15686"/>
                        <a:pt x="15266" y="15793"/>
                      </a:cubicBezTo>
                      <a:cubicBezTo>
                        <a:pt x="15585" y="16116"/>
                        <a:pt x="15946" y="17135"/>
                        <a:pt x="16346" y="18855"/>
                      </a:cubicBezTo>
                      <a:cubicBezTo>
                        <a:pt x="17468" y="18855"/>
                        <a:pt x="19154" y="19715"/>
                        <a:pt x="21398" y="21433"/>
                      </a:cubicBezTo>
                      <a:cubicBezTo>
                        <a:pt x="21476" y="21491"/>
                        <a:pt x="21525" y="21542"/>
                        <a:pt x="21600" y="21600"/>
                      </a:cubicBezTo>
                      <a:lnTo>
                        <a:pt x="20912" y="3761"/>
                      </a:lnTo>
                      <a:cubicBezTo>
                        <a:pt x="20205" y="4125"/>
                        <a:pt x="19374" y="4433"/>
                        <a:pt x="18393" y="4673"/>
                      </a:cubicBezTo>
                      <a:close/>
                      <a:moveTo>
                        <a:pt x="18393" y="467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6" name="AutoShape 110"/>
                <p:cNvSpPr>
                  <a:spLocks/>
                </p:cNvSpPr>
                <p:nvPr/>
              </p:nvSpPr>
              <p:spPr bwMode="auto">
                <a:xfrm>
                  <a:off x="6490910" y="672181"/>
                  <a:ext cx="5153" cy="10822"/>
                </a:xfrm>
                <a:custGeom>
                  <a:avLst/>
                  <a:gdLst/>
                  <a:ahLst/>
                  <a:cxnLst/>
                  <a:rect l="0" t="0" r="r" b="b"/>
                  <a:pathLst>
                    <a:path w="21600" h="21600">
                      <a:moveTo>
                        <a:pt x="21600" y="9850"/>
                      </a:moveTo>
                      <a:cubicBezTo>
                        <a:pt x="21600" y="7465"/>
                        <a:pt x="14298" y="4172"/>
                        <a:pt x="0" y="0"/>
                      </a:cubicBezTo>
                      <a:lnTo>
                        <a:pt x="2231" y="21600"/>
                      </a:lnTo>
                      <a:cubicBezTo>
                        <a:pt x="2985" y="21375"/>
                        <a:pt x="3547" y="21174"/>
                        <a:pt x="4365" y="20941"/>
                      </a:cubicBezTo>
                      <a:cubicBezTo>
                        <a:pt x="15855" y="17653"/>
                        <a:pt x="21600" y="13958"/>
                        <a:pt x="21600" y="9850"/>
                      </a:cubicBezTo>
                      <a:close/>
                      <a:moveTo>
                        <a:pt x="21600" y="985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7" name="AutoShape 111"/>
                <p:cNvSpPr>
                  <a:spLocks/>
                </p:cNvSpPr>
                <p:nvPr/>
              </p:nvSpPr>
              <p:spPr bwMode="auto">
                <a:xfrm>
                  <a:off x="6490910" y="639199"/>
                  <a:ext cx="5153" cy="9792"/>
                </a:xfrm>
                <a:custGeom>
                  <a:avLst/>
                  <a:gdLst/>
                  <a:ahLst/>
                  <a:cxnLst/>
                  <a:rect l="0" t="0" r="r" b="b"/>
                  <a:pathLst>
                    <a:path w="21600" h="21600">
                      <a:moveTo>
                        <a:pt x="21600" y="10094"/>
                      </a:moveTo>
                      <a:cubicBezTo>
                        <a:pt x="21600" y="6145"/>
                        <a:pt x="14102" y="2804"/>
                        <a:pt x="0" y="0"/>
                      </a:cubicBezTo>
                      <a:lnTo>
                        <a:pt x="2086" y="21600"/>
                      </a:lnTo>
                      <a:cubicBezTo>
                        <a:pt x="15029" y="18942"/>
                        <a:pt x="21600" y="15117"/>
                        <a:pt x="21600" y="10094"/>
                      </a:cubicBezTo>
                      <a:close/>
                      <a:moveTo>
                        <a:pt x="21600" y="10094"/>
                      </a:moveTo>
                    </a:path>
                  </a:pathLst>
                </a:custGeom>
                <a:grpFill/>
                <a:ln w="3175" cap="flat">
                  <a:solidFill>
                    <a:schemeClr val="bg1"/>
                  </a:solidFill>
                  <a:miter lim="800000"/>
                  <a:headEnd type="none" w="med" len="med"/>
                  <a:tailEnd type="none" w="med" len="med"/>
                </a:ln>
              </p:spPr>
              <p:txBody>
                <a:bodyPr lIns="0" tIns="0" rIns="0" bIns="0"/>
                <a:lstStyle/>
                <a:p>
                  <a:endParaRPr lang="en-US"/>
                </a:p>
              </p:txBody>
            </p:sp>
          </p:grpSp>
          <p:grpSp>
            <p:nvGrpSpPr>
              <p:cNvPr id="9" name="Group 8"/>
              <p:cNvGrpSpPr/>
              <p:nvPr/>
            </p:nvGrpSpPr>
            <p:grpSpPr>
              <a:xfrm>
                <a:off x="6391963" y="127980"/>
                <a:ext cx="1853169" cy="2798306"/>
                <a:chOff x="6391963" y="127980"/>
                <a:chExt cx="1853169" cy="2798306"/>
              </a:xfrm>
              <a:grpFill/>
            </p:grpSpPr>
            <p:sp>
              <p:nvSpPr>
                <p:cNvPr id="515" name="AutoShape 89"/>
                <p:cNvSpPr>
                  <a:spLocks/>
                </p:cNvSpPr>
                <p:nvPr/>
              </p:nvSpPr>
              <p:spPr bwMode="auto">
                <a:xfrm>
                  <a:off x="6919673" y="2172856"/>
                  <a:ext cx="59264" cy="31951"/>
                </a:xfrm>
                <a:custGeom>
                  <a:avLst/>
                  <a:gdLst/>
                  <a:ahLst/>
                  <a:cxnLst/>
                  <a:rect l="0" t="0" r="r" b="b"/>
                  <a:pathLst>
                    <a:path w="21600" h="21600">
                      <a:moveTo>
                        <a:pt x="3661" y="3047"/>
                      </a:moveTo>
                      <a:cubicBezTo>
                        <a:pt x="1220" y="5077"/>
                        <a:pt x="0" y="7477"/>
                        <a:pt x="0" y="10247"/>
                      </a:cubicBezTo>
                      <a:cubicBezTo>
                        <a:pt x="0" y="11722"/>
                        <a:pt x="423" y="12461"/>
                        <a:pt x="1270" y="12461"/>
                      </a:cubicBezTo>
                      <a:cubicBezTo>
                        <a:pt x="3512" y="12461"/>
                        <a:pt x="4709" y="12461"/>
                        <a:pt x="4858" y="12461"/>
                      </a:cubicBezTo>
                      <a:cubicBezTo>
                        <a:pt x="5606" y="12645"/>
                        <a:pt x="6330" y="12921"/>
                        <a:pt x="7025" y="13292"/>
                      </a:cubicBezTo>
                      <a:cubicBezTo>
                        <a:pt x="8520" y="14215"/>
                        <a:pt x="9492" y="14769"/>
                        <a:pt x="9942" y="14953"/>
                      </a:cubicBezTo>
                      <a:cubicBezTo>
                        <a:pt x="10788" y="15324"/>
                        <a:pt x="12631" y="16569"/>
                        <a:pt x="15472" y="18691"/>
                      </a:cubicBezTo>
                      <a:cubicBezTo>
                        <a:pt x="18114" y="20630"/>
                        <a:pt x="19509" y="21600"/>
                        <a:pt x="19658" y="21600"/>
                      </a:cubicBezTo>
                      <a:cubicBezTo>
                        <a:pt x="20158" y="21600"/>
                        <a:pt x="20604" y="21415"/>
                        <a:pt x="21004" y="21045"/>
                      </a:cubicBezTo>
                      <a:cubicBezTo>
                        <a:pt x="21401" y="20676"/>
                        <a:pt x="21600" y="20214"/>
                        <a:pt x="21600" y="19661"/>
                      </a:cubicBezTo>
                      <a:cubicBezTo>
                        <a:pt x="21600" y="19384"/>
                        <a:pt x="21477" y="18876"/>
                        <a:pt x="21226" y="18139"/>
                      </a:cubicBezTo>
                      <a:cubicBezTo>
                        <a:pt x="21028" y="17584"/>
                        <a:pt x="20853" y="16891"/>
                        <a:pt x="20704" y="16060"/>
                      </a:cubicBezTo>
                      <a:cubicBezTo>
                        <a:pt x="20604" y="15600"/>
                        <a:pt x="20505" y="15183"/>
                        <a:pt x="20406" y="14815"/>
                      </a:cubicBezTo>
                      <a:cubicBezTo>
                        <a:pt x="19258" y="10661"/>
                        <a:pt x="18289" y="7615"/>
                        <a:pt x="17489" y="5678"/>
                      </a:cubicBezTo>
                      <a:cubicBezTo>
                        <a:pt x="15945" y="1893"/>
                        <a:pt x="14102" y="0"/>
                        <a:pt x="11959" y="0"/>
                      </a:cubicBezTo>
                      <a:cubicBezTo>
                        <a:pt x="8820" y="0"/>
                        <a:pt x="6055" y="1015"/>
                        <a:pt x="3661" y="3047"/>
                      </a:cubicBezTo>
                      <a:close/>
                      <a:moveTo>
                        <a:pt x="3661" y="304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16" name="AutoShape 90"/>
                <p:cNvSpPr>
                  <a:spLocks/>
                </p:cNvSpPr>
                <p:nvPr/>
              </p:nvSpPr>
              <p:spPr bwMode="auto">
                <a:xfrm>
                  <a:off x="6668186" y="2527411"/>
                  <a:ext cx="30921" cy="25252"/>
                </a:xfrm>
                <a:custGeom>
                  <a:avLst/>
                  <a:gdLst/>
                  <a:ahLst/>
                  <a:cxnLst/>
                  <a:rect l="0" t="0" r="r" b="b"/>
                  <a:pathLst>
                    <a:path w="21541" h="21499">
                      <a:moveTo>
                        <a:pt x="3859" y="12473"/>
                      </a:moveTo>
                      <a:cubicBezTo>
                        <a:pt x="3571" y="12592"/>
                        <a:pt x="3290" y="12707"/>
                        <a:pt x="3008" y="12822"/>
                      </a:cubicBezTo>
                      <a:cubicBezTo>
                        <a:pt x="1875" y="13167"/>
                        <a:pt x="1217" y="13516"/>
                        <a:pt x="1030" y="13862"/>
                      </a:cubicBezTo>
                      <a:cubicBezTo>
                        <a:pt x="366" y="14441"/>
                        <a:pt x="35" y="15653"/>
                        <a:pt x="35" y="17499"/>
                      </a:cubicBezTo>
                      <a:cubicBezTo>
                        <a:pt x="-59" y="19002"/>
                        <a:pt x="35" y="19927"/>
                        <a:pt x="322" y="20272"/>
                      </a:cubicBezTo>
                      <a:cubicBezTo>
                        <a:pt x="698" y="21078"/>
                        <a:pt x="1643" y="21485"/>
                        <a:pt x="3151" y="21485"/>
                      </a:cubicBezTo>
                      <a:cubicBezTo>
                        <a:pt x="3809" y="21600"/>
                        <a:pt x="4472" y="21021"/>
                        <a:pt x="5130" y="19754"/>
                      </a:cubicBezTo>
                      <a:cubicBezTo>
                        <a:pt x="5599" y="19060"/>
                        <a:pt x="6168" y="18078"/>
                        <a:pt x="6826" y="16805"/>
                      </a:cubicBezTo>
                      <a:cubicBezTo>
                        <a:pt x="7865" y="14844"/>
                        <a:pt x="10130" y="12995"/>
                        <a:pt x="13617" y="11261"/>
                      </a:cubicBezTo>
                      <a:cubicBezTo>
                        <a:pt x="15126" y="10451"/>
                        <a:pt x="16496" y="9066"/>
                        <a:pt x="17717" y="7102"/>
                      </a:cubicBezTo>
                      <a:cubicBezTo>
                        <a:pt x="17911" y="6756"/>
                        <a:pt x="18143" y="6353"/>
                        <a:pt x="18425" y="5889"/>
                      </a:cubicBezTo>
                      <a:cubicBezTo>
                        <a:pt x="19182" y="4735"/>
                        <a:pt x="20220" y="3119"/>
                        <a:pt x="21541" y="1038"/>
                      </a:cubicBezTo>
                      <a:lnTo>
                        <a:pt x="21541" y="0"/>
                      </a:lnTo>
                      <a:cubicBezTo>
                        <a:pt x="20408" y="230"/>
                        <a:pt x="17391" y="2195"/>
                        <a:pt x="12484" y="5889"/>
                      </a:cubicBezTo>
                      <a:cubicBezTo>
                        <a:pt x="8428" y="9239"/>
                        <a:pt x="5555" y="11433"/>
                        <a:pt x="3859" y="12473"/>
                      </a:cubicBezTo>
                      <a:close/>
                      <a:moveTo>
                        <a:pt x="3859" y="1247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17" name="AutoShape 91"/>
                <p:cNvSpPr>
                  <a:spLocks/>
                </p:cNvSpPr>
                <p:nvPr/>
              </p:nvSpPr>
              <p:spPr bwMode="auto">
                <a:xfrm>
                  <a:off x="6952655" y="2646971"/>
                  <a:ext cx="77301" cy="31951"/>
                </a:xfrm>
                <a:custGeom>
                  <a:avLst/>
                  <a:gdLst/>
                  <a:ahLst/>
                  <a:cxnLst/>
                  <a:rect l="0" t="0" r="r" b="b"/>
                  <a:pathLst>
                    <a:path w="21568" h="21600">
                      <a:moveTo>
                        <a:pt x="11009" y="14858"/>
                      </a:moveTo>
                      <a:cubicBezTo>
                        <a:pt x="11545" y="14858"/>
                        <a:pt x="11908" y="15135"/>
                        <a:pt x="12100" y="15684"/>
                      </a:cubicBezTo>
                      <a:lnTo>
                        <a:pt x="14564" y="18435"/>
                      </a:lnTo>
                      <a:cubicBezTo>
                        <a:pt x="15100" y="19169"/>
                        <a:pt x="15579" y="19537"/>
                        <a:pt x="15998" y="19537"/>
                      </a:cubicBezTo>
                      <a:cubicBezTo>
                        <a:pt x="16190" y="19537"/>
                        <a:pt x="16363" y="19492"/>
                        <a:pt x="16515" y="19400"/>
                      </a:cubicBezTo>
                      <a:cubicBezTo>
                        <a:pt x="16820" y="19123"/>
                        <a:pt x="17107" y="18666"/>
                        <a:pt x="17375" y="18023"/>
                      </a:cubicBezTo>
                      <a:cubicBezTo>
                        <a:pt x="18101" y="16189"/>
                        <a:pt x="18502" y="15226"/>
                        <a:pt x="18578" y="15135"/>
                      </a:cubicBezTo>
                      <a:lnTo>
                        <a:pt x="18809" y="15135"/>
                      </a:lnTo>
                      <a:lnTo>
                        <a:pt x="18809" y="15684"/>
                      </a:lnTo>
                      <a:cubicBezTo>
                        <a:pt x="18540" y="16692"/>
                        <a:pt x="18177" y="17472"/>
                        <a:pt x="17718" y="18023"/>
                      </a:cubicBezTo>
                      <a:cubicBezTo>
                        <a:pt x="17452" y="18389"/>
                        <a:pt x="17317" y="18986"/>
                        <a:pt x="17317" y="19812"/>
                      </a:cubicBezTo>
                      <a:cubicBezTo>
                        <a:pt x="17279" y="21003"/>
                        <a:pt x="17510" y="21600"/>
                        <a:pt x="18005" y="21600"/>
                      </a:cubicBezTo>
                      <a:cubicBezTo>
                        <a:pt x="18083" y="21600"/>
                        <a:pt x="18464" y="20912"/>
                        <a:pt x="19152" y="19537"/>
                      </a:cubicBezTo>
                      <a:cubicBezTo>
                        <a:pt x="19344" y="19169"/>
                        <a:pt x="19535" y="17932"/>
                        <a:pt x="19725" y="15824"/>
                      </a:cubicBezTo>
                      <a:cubicBezTo>
                        <a:pt x="19880" y="15272"/>
                        <a:pt x="20243" y="14307"/>
                        <a:pt x="20816" y="12930"/>
                      </a:cubicBezTo>
                      <a:cubicBezTo>
                        <a:pt x="21313" y="11833"/>
                        <a:pt x="21562" y="10730"/>
                        <a:pt x="21562" y="9630"/>
                      </a:cubicBezTo>
                      <a:cubicBezTo>
                        <a:pt x="21600" y="9262"/>
                        <a:pt x="21445" y="8944"/>
                        <a:pt x="21103" y="8667"/>
                      </a:cubicBezTo>
                      <a:cubicBezTo>
                        <a:pt x="20834" y="8393"/>
                        <a:pt x="20682" y="8070"/>
                        <a:pt x="20644" y="7705"/>
                      </a:cubicBezTo>
                      <a:cubicBezTo>
                        <a:pt x="20605" y="7705"/>
                        <a:pt x="20585" y="7659"/>
                        <a:pt x="20585" y="7568"/>
                      </a:cubicBezTo>
                      <a:lnTo>
                        <a:pt x="20585" y="6879"/>
                      </a:lnTo>
                      <a:cubicBezTo>
                        <a:pt x="20585" y="6511"/>
                        <a:pt x="20529" y="6005"/>
                        <a:pt x="20415" y="5362"/>
                      </a:cubicBezTo>
                      <a:cubicBezTo>
                        <a:pt x="20260" y="4631"/>
                        <a:pt x="20128" y="4265"/>
                        <a:pt x="20012" y="4265"/>
                      </a:cubicBezTo>
                      <a:cubicBezTo>
                        <a:pt x="19555" y="4174"/>
                        <a:pt x="19324" y="4631"/>
                        <a:pt x="19324" y="5639"/>
                      </a:cubicBezTo>
                      <a:cubicBezTo>
                        <a:pt x="19400" y="6648"/>
                        <a:pt x="19324" y="7153"/>
                        <a:pt x="19096" y="7153"/>
                      </a:cubicBezTo>
                      <a:cubicBezTo>
                        <a:pt x="18943" y="7153"/>
                        <a:pt x="18827" y="7016"/>
                        <a:pt x="18751" y="6739"/>
                      </a:cubicBezTo>
                      <a:cubicBezTo>
                        <a:pt x="18713" y="6282"/>
                        <a:pt x="18675" y="5914"/>
                        <a:pt x="18637" y="5639"/>
                      </a:cubicBezTo>
                      <a:cubicBezTo>
                        <a:pt x="18560" y="5091"/>
                        <a:pt x="18332" y="4677"/>
                        <a:pt x="17949" y="4402"/>
                      </a:cubicBezTo>
                      <a:cubicBezTo>
                        <a:pt x="17604" y="4128"/>
                        <a:pt x="17393" y="3942"/>
                        <a:pt x="17317" y="3851"/>
                      </a:cubicBezTo>
                      <a:cubicBezTo>
                        <a:pt x="17241" y="3394"/>
                        <a:pt x="17203" y="2843"/>
                        <a:pt x="17203" y="2200"/>
                      </a:cubicBezTo>
                      <a:cubicBezTo>
                        <a:pt x="17241" y="1560"/>
                        <a:pt x="17261" y="1100"/>
                        <a:pt x="17261" y="826"/>
                      </a:cubicBezTo>
                      <a:cubicBezTo>
                        <a:pt x="17107" y="457"/>
                        <a:pt x="16954" y="229"/>
                        <a:pt x="16802" y="137"/>
                      </a:cubicBezTo>
                      <a:cubicBezTo>
                        <a:pt x="16764" y="46"/>
                        <a:pt x="16612" y="0"/>
                        <a:pt x="16343" y="0"/>
                      </a:cubicBezTo>
                      <a:cubicBezTo>
                        <a:pt x="16076" y="0"/>
                        <a:pt x="15635" y="826"/>
                        <a:pt x="15023" y="2474"/>
                      </a:cubicBezTo>
                      <a:lnTo>
                        <a:pt x="14049" y="4954"/>
                      </a:lnTo>
                      <a:cubicBezTo>
                        <a:pt x="13935" y="4954"/>
                        <a:pt x="13666" y="4494"/>
                        <a:pt x="13247" y="3577"/>
                      </a:cubicBezTo>
                      <a:cubicBezTo>
                        <a:pt x="12940" y="2383"/>
                        <a:pt x="12367" y="1831"/>
                        <a:pt x="11527" y="1923"/>
                      </a:cubicBezTo>
                      <a:cubicBezTo>
                        <a:pt x="10380" y="1831"/>
                        <a:pt x="9576" y="2843"/>
                        <a:pt x="9117" y="4954"/>
                      </a:cubicBezTo>
                      <a:cubicBezTo>
                        <a:pt x="8774" y="7245"/>
                        <a:pt x="8525" y="8347"/>
                        <a:pt x="8373" y="8256"/>
                      </a:cubicBezTo>
                      <a:lnTo>
                        <a:pt x="6536" y="8805"/>
                      </a:lnTo>
                      <a:cubicBezTo>
                        <a:pt x="6308" y="8713"/>
                        <a:pt x="6097" y="8576"/>
                        <a:pt x="5907" y="8393"/>
                      </a:cubicBezTo>
                      <a:cubicBezTo>
                        <a:pt x="5831" y="8210"/>
                        <a:pt x="5754" y="8070"/>
                        <a:pt x="5676" y="7979"/>
                      </a:cubicBezTo>
                      <a:cubicBezTo>
                        <a:pt x="5333" y="7428"/>
                        <a:pt x="5161" y="6925"/>
                        <a:pt x="5161" y="6465"/>
                      </a:cubicBezTo>
                      <a:cubicBezTo>
                        <a:pt x="5351" y="5091"/>
                        <a:pt x="5448" y="4357"/>
                        <a:pt x="5448" y="4265"/>
                      </a:cubicBezTo>
                      <a:cubicBezTo>
                        <a:pt x="5448" y="3988"/>
                        <a:pt x="5410" y="3668"/>
                        <a:pt x="5333" y="3300"/>
                      </a:cubicBezTo>
                      <a:cubicBezTo>
                        <a:pt x="5257" y="2934"/>
                        <a:pt x="5161" y="2751"/>
                        <a:pt x="5047" y="2751"/>
                      </a:cubicBezTo>
                      <a:cubicBezTo>
                        <a:pt x="4816" y="2751"/>
                        <a:pt x="4415" y="3394"/>
                        <a:pt x="3842" y="4677"/>
                      </a:cubicBezTo>
                      <a:cubicBezTo>
                        <a:pt x="3344" y="6145"/>
                        <a:pt x="2619" y="6879"/>
                        <a:pt x="1662" y="6879"/>
                      </a:cubicBezTo>
                      <a:cubicBezTo>
                        <a:pt x="1357" y="6879"/>
                        <a:pt x="995" y="6785"/>
                        <a:pt x="573" y="6602"/>
                      </a:cubicBezTo>
                      <a:lnTo>
                        <a:pt x="172" y="6602"/>
                      </a:lnTo>
                      <a:cubicBezTo>
                        <a:pt x="211" y="6785"/>
                        <a:pt x="190" y="7108"/>
                        <a:pt x="114" y="7568"/>
                      </a:cubicBezTo>
                      <a:cubicBezTo>
                        <a:pt x="38" y="8210"/>
                        <a:pt x="0" y="8622"/>
                        <a:pt x="0" y="8805"/>
                      </a:cubicBezTo>
                      <a:cubicBezTo>
                        <a:pt x="0" y="9079"/>
                        <a:pt x="211" y="9353"/>
                        <a:pt x="632" y="9630"/>
                      </a:cubicBezTo>
                      <a:cubicBezTo>
                        <a:pt x="822" y="9813"/>
                        <a:pt x="995" y="9950"/>
                        <a:pt x="1147" y="10042"/>
                      </a:cubicBezTo>
                      <a:lnTo>
                        <a:pt x="1205" y="10179"/>
                      </a:lnTo>
                      <a:cubicBezTo>
                        <a:pt x="1243" y="10273"/>
                        <a:pt x="1281" y="10319"/>
                        <a:pt x="1319" y="10319"/>
                      </a:cubicBezTo>
                      <a:lnTo>
                        <a:pt x="2925" y="10319"/>
                      </a:lnTo>
                      <a:cubicBezTo>
                        <a:pt x="3116" y="10319"/>
                        <a:pt x="3382" y="10547"/>
                        <a:pt x="3727" y="11007"/>
                      </a:cubicBezTo>
                      <a:cubicBezTo>
                        <a:pt x="4148" y="11556"/>
                        <a:pt x="4608" y="11833"/>
                        <a:pt x="5103" y="11833"/>
                      </a:cubicBezTo>
                      <a:cubicBezTo>
                        <a:pt x="5448" y="11833"/>
                        <a:pt x="5754" y="11650"/>
                        <a:pt x="6021" y="11281"/>
                      </a:cubicBezTo>
                      <a:cubicBezTo>
                        <a:pt x="6290" y="11007"/>
                        <a:pt x="6480" y="10867"/>
                        <a:pt x="6594" y="10867"/>
                      </a:cubicBezTo>
                      <a:cubicBezTo>
                        <a:pt x="6823" y="10867"/>
                        <a:pt x="7092" y="11144"/>
                        <a:pt x="7396" y="11696"/>
                      </a:cubicBezTo>
                      <a:cubicBezTo>
                        <a:pt x="7627" y="12338"/>
                        <a:pt x="7894" y="12656"/>
                        <a:pt x="8201" y="12656"/>
                      </a:cubicBezTo>
                      <a:cubicBezTo>
                        <a:pt x="8543" y="12656"/>
                        <a:pt x="8754" y="12704"/>
                        <a:pt x="8830" y="12795"/>
                      </a:cubicBezTo>
                      <a:cubicBezTo>
                        <a:pt x="9023" y="12884"/>
                        <a:pt x="9195" y="13070"/>
                        <a:pt x="9347" y="13344"/>
                      </a:cubicBezTo>
                      <a:cubicBezTo>
                        <a:pt x="9462" y="13527"/>
                        <a:pt x="9596" y="13850"/>
                        <a:pt x="9748" y="14307"/>
                      </a:cubicBezTo>
                      <a:cubicBezTo>
                        <a:pt x="9939" y="14767"/>
                        <a:pt x="10149" y="14995"/>
                        <a:pt x="10380" y="14995"/>
                      </a:cubicBezTo>
                      <a:cubicBezTo>
                        <a:pt x="10380" y="14995"/>
                        <a:pt x="11009" y="14858"/>
                        <a:pt x="11009" y="14858"/>
                      </a:cubicBezTo>
                      <a:close/>
                      <a:moveTo>
                        <a:pt x="11009" y="1485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18" name="AutoShape 92"/>
                <p:cNvSpPr>
                  <a:spLocks/>
                </p:cNvSpPr>
                <p:nvPr/>
              </p:nvSpPr>
              <p:spPr bwMode="auto">
                <a:xfrm>
                  <a:off x="6940287" y="2655216"/>
                  <a:ext cx="9276" cy="10307"/>
                </a:xfrm>
                <a:custGeom>
                  <a:avLst/>
                  <a:gdLst/>
                  <a:ahLst/>
                  <a:cxnLst/>
                  <a:rect l="0" t="0" r="r" b="b"/>
                  <a:pathLst>
                    <a:path w="21600" h="21600">
                      <a:moveTo>
                        <a:pt x="16800" y="3313"/>
                      </a:moveTo>
                      <a:cubicBezTo>
                        <a:pt x="13613" y="1372"/>
                        <a:pt x="9938" y="276"/>
                        <a:pt x="5775" y="0"/>
                      </a:cubicBezTo>
                      <a:cubicBezTo>
                        <a:pt x="3844" y="0"/>
                        <a:pt x="1931" y="2899"/>
                        <a:pt x="0" y="8721"/>
                      </a:cubicBezTo>
                      <a:cubicBezTo>
                        <a:pt x="656" y="10102"/>
                        <a:pt x="2738" y="12042"/>
                        <a:pt x="6244" y="14535"/>
                      </a:cubicBezTo>
                      <a:cubicBezTo>
                        <a:pt x="6881" y="15088"/>
                        <a:pt x="7687" y="15640"/>
                        <a:pt x="8644" y="16192"/>
                      </a:cubicBezTo>
                      <a:cubicBezTo>
                        <a:pt x="10575" y="17580"/>
                        <a:pt x="13294" y="19383"/>
                        <a:pt x="16800" y="21600"/>
                      </a:cubicBezTo>
                      <a:cubicBezTo>
                        <a:pt x="18413" y="19107"/>
                        <a:pt x="19538" y="17304"/>
                        <a:pt x="20175" y="16192"/>
                      </a:cubicBezTo>
                      <a:cubicBezTo>
                        <a:pt x="20494" y="15916"/>
                        <a:pt x="20644" y="15640"/>
                        <a:pt x="20644" y="15364"/>
                      </a:cubicBezTo>
                      <a:cubicBezTo>
                        <a:pt x="21281" y="13423"/>
                        <a:pt x="21600" y="10800"/>
                        <a:pt x="21600" y="7471"/>
                      </a:cubicBezTo>
                      <a:cubicBezTo>
                        <a:pt x="21600" y="5806"/>
                        <a:pt x="20006" y="4426"/>
                        <a:pt x="16800" y="3313"/>
                      </a:cubicBezTo>
                      <a:close/>
                      <a:moveTo>
                        <a:pt x="16800" y="331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19" name="AutoShape 93"/>
                <p:cNvSpPr>
                  <a:spLocks/>
                </p:cNvSpPr>
                <p:nvPr/>
              </p:nvSpPr>
              <p:spPr bwMode="auto">
                <a:xfrm>
                  <a:off x="7777202" y="2366625"/>
                  <a:ext cx="113375" cy="45350"/>
                </a:xfrm>
                <a:custGeom>
                  <a:avLst/>
                  <a:gdLst/>
                  <a:ahLst/>
                  <a:cxnLst/>
                  <a:rect l="0" t="0" r="r" b="b"/>
                  <a:pathLst>
                    <a:path w="21600" h="21600">
                      <a:moveTo>
                        <a:pt x="21600" y="0"/>
                      </a:moveTo>
                      <a:cubicBezTo>
                        <a:pt x="20087" y="586"/>
                        <a:pt x="18483" y="2280"/>
                        <a:pt x="16787" y="5082"/>
                      </a:cubicBezTo>
                      <a:cubicBezTo>
                        <a:pt x="15457" y="7493"/>
                        <a:pt x="14478" y="9220"/>
                        <a:pt x="13852" y="10263"/>
                      </a:cubicBezTo>
                      <a:cubicBezTo>
                        <a:pt x="13722" y="10393"/>
                        <a:pt x="13566" y="10556"/>
                        <a:pt x="13382" y="10752"/>
                      </a:cubicBezTo>
                      <a:cubicBezTo>
                        <a:pt x="12913" y="11077"/>
                        <a:pt x="12261" y="11467"/>
                        <a:pt x="11426" y="11924"/>
                      </a:cubicBezTo>
                      <a:cubicBezTo>
                        <a:pt x="10408" y="12444"/>
                        <a:pt x="9653" y="12739"/>
                        <a:pt x="9156" y="12804"/>
                      </a:cubicBezTo>
                      <a:cubicBezTo>
                        <a:pt x="8243" y="12868"/>
                        <a:pt x="7435" y="13293"/>
                        <a:pt x="6730" y="14074"/>
                      </a:cubicBezTo>
                      <a:lnTo>
                        <a:pt x="5712" y="15150"/>
                      </a:lnTo>
                      <a:cubicBezTo>
                        <a:pt x="5348" y="15150"/>
                        <a:pt x="4708" y="14205"/>
                        <a:pt x="3795" y="12314"/>
                      </a:cubicBezTo>
                      <a:cubicBezTo>
                        <a:pt x="2961" y="10621"/>
                        <a:pt x="2504" y="9578"/>
                        <a:pt x="2426" y="9187"/>
                      </a:cubicBezTo>
                      <a:cubicBezTo>
                        <a:pt x="2426" y="7298"/>
                        <a:pt x="2426" y="5668"/>
                        <a:pt x="2426" y="4299"/>
                      </a:cubicBezTo>
                      <a:cubicBezTo>
                        <a:pt x="2400" y="1693"/>
                        <a:pt x="2100" y="390"/>
                        <a:pt x="1525" y="390"/>
                      </a:cubicBezTo>
                      <a:cubicBezTo>
                        <a:pt x="1108" y="390"/>
                        <a:pt x="861" y="1172"/>
                        <a:pt x="783" y="2736"/>
                      </a:cubicBezTo>
                      <a:cubicBezTo>
                        <a:pt x="731" y="3583"/>
                        <a:pt x="679" y="4723"/>
                        <a:pt x="625" y="6157"/>
                      </a:cubicBezTo>
                      <a:cubicBezTo>
                        <a:pt x="208" y="8959"/>
                        <a:pt x="0" y="10881"/>
                        <a:pt x="0" y="11924"/>
                      </a:cubicBezTo>
                      <a:cubicBezTo>
                        <a:pt x="0" y="12967"/>
                        <a:pt x="222" y="13878"/>
                        <a:pt x="665" y="14661"/>
                      </a:cubicBezTo>
                      <a:cubicBezTo>
                        <a:pt x="1160" y="15573"/>
                        <a:pt x="1799" y="16095"/>
                        <a:pt x="2582" y="16224"/>
                      </a:cubicBezTo>
                      <a:cubicBezTo>
                        <a:pt x="3104" y="16289"/>
                        <a:pt x="3522" y="16909"/>
                        <a:pt x="3835" y="18082"/>
                      </a:cubicBezTo>
                      <a:cubicBezTo>
                        <a:pt x="4147" y="19254"/>
                        <a:pt x="4566" y="19841"/>
                        <a:pt x="5087" y="19841"/>
                      </a:cubicBezTo>
                      <a:cubicBezTo>
                        <a:pt x="5269" y="19841"/>
                        <a:pt x="5491" y="19678"/>
                        <a:pt x="5752" y="19352"/>
                      </a:cubicBezTo>
                      <a:cubicBezTo>
                        <a:pt x="6013" y="18961"/>
                        <a:pt x="6169" y="18766"/>
                        <a:pt x="6221" y="18766"/>
                      </a:cubicBezTo>
                      <a:cubicBezTo>
                        <a:pt x="6247" y="18766"/>
                        <a:pt x="6626" y="19254"/>
                        <a:pt x="7357" y="20231"/>
                      </a:cubicBezTo>
                      <a:cubicBezTo>
                        <a:pt x="8192" y="21144"/>
                        <a:pt x="8804" y="21600"/>
                        <a:pt x="9196" y="21600"/>
                      </a:cubicBezTo>
                      <a:cubicBezTo>
                        <a:pt x="10004" y="21600"/>
                        <a:pt x="10513" y="20720"/>
                        <a:pt x="10721" y="18961"/>
                      </a:cubicBezTo>
                      <a:cubicBezTo>
                        <a:pt x="10957" y="17137"/>
                        <a:pt x="11374" y="16224"/>
                        <a:pt x="11973" y="16224"/>
                      </a:cubicBezTo>
                      <a:cubicBezTo>
                        <a:pt x="12001" y="16224"/>
                        <a:pt x="12274" y="16322"/>
                        <a:pt x="12796" y="16517"/>
                      </a:cubicBezTo>
                      <a:cubicBezTo>
                        <a:pt x="13291" y="16713"/>
                        <a:pt x="13656" y="16811"/>
                        <a:pt x="13892" y="16811"/>
                      </a:cubicBezTo>
                      <a:cubicBezTo>
                        <a:pt x="14073" y="16811"/>
                        <a:pt x="14375" y="17560"/>
                        <a:pt x="14792" y="19059"/>
                      </a:cubicBezTo>
                      <a:cubicBezTo>
                        <a:pt x="15209" y="20493"/>
                        <a:pt x="15770" y="21209"/>
                        <a:pt x="16473" y="21209"/>
                      </a:cubicBezTo>
                      <a:cubicBezTo>
                        <a:pt x="17335" y="21209"/>
                        <a:pt x="18026" y="20753"/>
                        <a:pt x="18547" y="19841"/>
                      </a:cubicBezTo>
                      <a:cubicBezTo>
                        <a:pt x="19044" y="18928"/>
                        <a:pt x="19292" y="17820"/>
                        <a:pt x="19292" y="16517"/>
                      </a:cubicBezTo>
                      <a:cubicBezTo>
                        <a:pt x="19292" y="15344"/>
                        <a:pt x="19082" y="14400"/>
                        <a:pt x="18665" y="13683"/>
                      </a:cubicBezTo>
                      <a:cubicBezTo>
                        <a:pt x="18222" y="12967"/>
                        <a:pt x="18000" y="12250"/>
                        <a:pt x="18000" y="11533"/>
                      </a:cubicBezTo>
                      <a:cubicBezTo>
                        <a:pt x="18000" y="10556"/>
                        <a:pt x="18547" y="8535"/>
                        <a:pt x="19643" y="5473"/>
                      </a:cubicBezTo>
                      <a:cubicBezTo>
                        <a:pt x="20218" y="3844"/>
                        <a:pt x="20869" y="2019"/>
                        <a:pt x="21600" y="0"/>
                      </a:cubicBezTo>
                      <a:close/>
                      <a:moveTo>
                        <a:pt x="21600"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0" name="AutoShape 94"/>
                <p:cNvSpPr>
                  <a:spLocks/>
                </p:cNvSpPr>
                <p:nvPr/>
              </p:nvSpPr>
              <p:spPr bwMode="auto">
                <a:xfrm>
                  <a:off x="7237124" y="2733548"/>
                  <a:ext cx="29375" cy="19583"/>
                </a:xfrm>
                <a:custGeom>
                  <a:avLst/>
                  <a:gdLst/>
                  <a:ahLst/>
                  <a:cxnLst/>
                  <a:rect l="0" t="0" r="r" b="b"/>
                  <a:pathLst>
                    <a:path w="21509" h="21600">
                      <a:moveTo>
                        <a:pt x="15182" y="0"/>
                      </a:moveTo>
                      <a:cubicBezTo>
                        <a:pt x="14483" y="0"/>
                        <a:pt x="13479" y="897"/>
                        <a:pt x="12176" y="2700"/>
                      </a:cubicBezTo>
                      <a:cubicBezTo>
                        <a:pt x="10878" y="4652"/>
                        <a:pt x="9322" y="5554"/>
                        <a:pt x="7519" y="5400"/>
                      </a:cubicBezTo>
                      <a:cubicBezTo>
                        <a:pt x="6315" y="5400"/>
                        <a:pt x="5261" y="6222"/>
                        <a:pt x="4357" y="7876"/>
                      </a:cubicBezTo>
                      <a:cubicBezTo>
                        <a:pt x="3259" y="9525"/>
                        <a:pt x="2302" y="10426"/>
                        <a:pt x="1503" y="10576"/>
                      </a:cubicBezTo>
                      <a:cubicBezTo>
                        <a:pt x="1204" y="10576"/>
                        <a:pt x="898" y="11024"/>
                        <a:pt x="599" y="11926"/>
                      </a:cubicBezTo>
                      <a:cubicBezTo>
                        <a:pt x="200" y="12524"/>
                        <a:pt x="0" y="13047"/>
                        <a:pt x="0" y="13500"/>
                      </a:cubicBezTo>
                      <a:cubicBezTo>
                        <a:pt x="0" y="14098"/>
                        <a:pt x="599" y="15074"/>
                        <a:pt x="1803" y="16424"/>
                      </a:cubicBezTo>
                      <a:cubicBezTo>
                        <a:pt x="3006" y="17774"/>
                        <a:pt x="4210" y="18447"/>
                        <a:pt x="5408" y="18447"/>
                      </a:cubicBezTo>
                      <a:cubicBezTo>
                        <a:pt x="6515" y="18447"/>
                        <a:pt x="7419" y="18152"/>
                        <a:pt x="8118" y="17550"/>
                      </a:cubicBezTo>
                      <a:cubicBezTo>
                        <a:pt x="8823" y="16802"/>
                        <a:pt x="9821" y="16424"/>
                        <a:pt x="11124" y="16424"/>
                      </a:cubicBezTo>
                      <a:cubicBezTo>
                        <a:pt x="13432" y="16574"/>
                        <a:pt x="14636" y="17400"/>
                        <a:pt x="14736" y="18896"/>
                      </a:cubicBezTo>
                      <a:cubicBezTo>
                        <a:pt x="14836" y="20699"/>
                        <a:pt x="15288" y="21600"/>
                        <a:pt x="16086" y="21600"/>
                      </a:cubicBezTo>
                      <a:cubicBezTo>
                        <a:pt x="19592" y="21600"/>
                        <a:pt x="21400" y="18073"/>
                        <a:pt x="21500" y="11024"/>
                      </a:cubicBezTo>
                      <a:cubicBezTo>
                        <a:pt x="21600" y="9674"/>
                        <a:pt x="20848" y="7572"/>
                        <a:pt x="19245" y="4727"/>
                      </a:cubicBezTo>
                      <a:cubicBezTo>
                        <a:pt x="17742" y="1574"/>
                        <a:pt x="16386" y="0"/>
                        <a:pt x="15182" y="0"/>
                      </a:cubicBezTo>
                      <a:close/>
                      <a:moveTo>
                        <a:pt x="15182"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1" name="AutoShape 95"/>
                <p:cNvSpPr>
                  <a:spLocks/>
                </p:cNvSpPr>
                <p:nvPr/>
              </p:nvSpPr>
              <p:spPr bwMode="auto">
                <a:xfrm>
                  <a:off x="7690624" y="2181102"/>
                  <a:ext cx="127805" cy="31951"/>
                </a:xfrm>
                <a:custGeom>
                  <a:avLst/>
                  <a:gdLst/>
                  <a:ahLst/>
                  <a:cxnLst/>
                  <a:rect l="0" t="0" r="r" b="b"/>
                  <a:pathLst>
                    <a:path w="21600" h="21600">
                      <a:moveTo>
                        <a:pt x="21600" y="8031"/>
                      </a:moveTo>
                      <a:cubicBezTo>
                        <a:pt x="21600" y="6924"/>
                        <a:pt x="21194" y="5585"/>
                        <a:pt x="20381" y="4015"/>
                      </a:cubicBezTo>
                      <a:cubicBezTo>
                        <a:pt x="19638" y="2539"/>
                        <a:pt x="19174" y="1800"/>
                        <a:pt x="18987" y="1800"/>
                      </a:cubicBezTo>
                      <a:cubicBezTo>
                        <a:pt x="18477" y="1800"/>
                        <a:pt x="17839" y="2077"/>
                        <a:pt x="17071" y="2632"/>
                      </a:cubicBezTo>
                      <a:cubicBezTo>
                        <a:pt x="16816" y="2816"/>
                        <a:pt x="16271" y="3138"/>
                        <a:pt x="15434" y="3598"/>
                      </a:cubicBezTo>
                      <a:cubicBezTo>
                        <a:pt x="15388" y="3325"/>
                        <a:pt x="15341" y="3138"/>
                        <a:pt x="15295" y="3046"/>
                      </a:cubicBezTo>
                      <a:cubicBezTo>
                        <a:pt x="14923" y="1846"/>
                        <a:pt x="14598" y="1062"/>
                        <a:pt x="14319" y="693"/>
                      </a:cubicBezTo>
                      <a:cubicBezTo>
                        <a:pt x="13971" y="231"/>
                        <a:pt x="13367" y="0"/>
                        <a:pt x="12508" y="0"/>
                      </a:cubicBezTo>
                      <a:cubicBezTo>
                        <a:pt x="12160" y="0"/>
                        <a:pt x="11242" y="415"/>
                        <a:pt x="9755" y="1248"/>
                      </a:cubicBezTo>
                      <a:cubicBezTo>
                        <a:pt x="8292" y="1985"/>
                        <a:pt x="7515" y="2355"/>
                        <a:pt x="7421" y="2355"/>
                      </a:cubicBezTo>
                      <a:cubicBezTo>
                        <a:pt x="6004" y="1616"/>
                        <a:pt x="4936" y="1248"/>
                        <a:pt x="4216" y="1248"/>
                      </a:cubicBezTo>
                      <a:cubicBezTo>
                        <a:pt x="2961" y="1248"/>
                        <a:pt x="1916" y="2169"/>
                        <a:pt x="1081" y="4015"/>
                      </a:cubicBezTo>
                      <a:cubicBezTo>
                        <a:pt x="361" y="5585"/>
                        <a:pt x="0" y="7154"/>
                        <a:pt x="0" y="8724"/>
                      </a:cubicBezTo>
                      <a:cubicBezTo>
                        <a:pt x="0" y="10846"/>
                        <a:pt x="895" y="12140"/>
                        <a:pt x="2684" y="12600"/>
                      </a:cubicBezTo>
                      <a:lnTo>
                        <a:pt x="5853" y="13431"/>
                      </a:lnTo>
                      <a:cubicBezTo>
                        <a:pt x="5899" y="13523"/>
                        <a:pt x="6632" y="15184"/>
                        <a:pt x="8048" y="18416"/>
                      </a:cubicBezTo>
                      <a:cubicBezTo>
                        <a:pt x="8955" y="20538"/>
                        <a:pt x="9790" y="21600"/>
                        <a:pt x="10556" y="21600"/>
                      </a:cubicBezTo>
                      <a:cubicBezTo>
                        <a:pt x="12160" y="21600"/>
                        <a:pt x="14284" y="20309"/>
                        <a:pt x="16932" y="17723"/>
                      </a:cubicBezTo>
                      <a:cubicBezTo>
                        <a:pt x="20045" y="14676"/>
                        <a:pt x="21600" y="11447"/>
                        <a:pt x="21600" y="8031"/>
                      </a:cubicBezTo>
                      <a:close/>
                      <a:moveTo>
                        <a:pt x="21600" y="8031"/>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2" name="AutoShape 96"/>
                <p:cNvSpPr>
                  <a:spLocks/>
                </p:cNvSpPr>
                <p:nvPr/>
              </p:nvSpPr>
              <p:spPr bwMode="auto">
                <a:xfrm>
                  <a:off x="7937988" y="1921369"/>
                  <a:ext cx="307144" cy="325181"/>
                </a:xfrm>
                <a:custGeom>
                  <a:avLst/>
                  <a:gdLst/>
                  <a:ahLst/>
                  <a:cxnLst/>
                  <a:rect l="0" t="0" r="r" b="b"/>
                  <a:pathLst>
                    <a:path w="21600" h="21600">
                      <a:moveTo>
                        <a:pt x="20658" y="14418"/>
                      </a:moveTo>
                      <a:cubicBezTo>
                        <a:pt x="20619" y="13917"/>
                        <a:pt x="20585" y="13543"/>
                        <a:pt x="20556" y="13296"/>
                      </a:cubicBezTo>
                      <a:cubicBezTo>
                        <a:pt x="20518" y="12868"/>
                        <a:pt x="20354" y="12590"/>
                        <a:pt x="20064" y="12462"/>
                      </a:cubicBezTo>
                      <a:cubicBezTo>
                        <a:pt x="19996" y="12508"/>
                        <a:pt x="19890" y="12631"/>
                        <a:pt x="19745" y="12831"/>
                      </a:cubicBezTo>
                      <a:cubicBezTo>
                        <a:pt x="19629" y="12996"/>
                        <a:pt x="19551" y="13078"/>
                        <a:pt x="19513" y="13078"/>
                      </a:cubicBezTo>
                      <a:cubicBezTo>
                        <a:pt x="19078" y="13078"/>
                        <a:pt x="18803" y="12699"/>
                        <a:pt x="18687" y="11942"/>
                      </a:cubicBezTo>
                      <a:cubicBezTo>
                        <a:pt x="18628" y="11149"/>
                        <a:pt x="18570" y="10702"/>
                        <a:pt x="18513" y="10602"/>
                      </a:cubicBezTo>
                      <a:cubicBezTo>
                        <a:pt x="18387" y="10647"/>
                        <a:pt x="18208" y="10866"/>
                        <a:pt x="17976" y="11258"/>
                      </a:cubicBezTo>
                      <a:cubicBezTo>
                        <a:pt x="17735" y="11641"/>
                        <a:pt x="17613" y="11901"/>
                        <a:pt x="17613" y="12038"/>
                      </a:cubicBezTo>
                      <a:cubicBezTo>
                        <a:pt x="17613" y="12138"/>
                        <a:pt x="17686" y="12334"/>
                        <a:pt x="17831" y="12626"/>
                      </a:cubicBezTo>
                      <a:cubicBezTo>
                        <a:pt x="17966" y="12918"/>
                        <a:pt x="18034" y="13105"/>
                        <a:pt x="18034" y="13187"/>
                      </a:cubicBezTo>
                      <a:cubicBezTo>
                        <a:pt x="18034" y="13351"/>
                        <a:pt x="18015" y="13447"/>
                        <a:pt x="17976" y="13474"/>
                      </a:cubicBezTo>
                      <a:cubicBezTo>
                        <a:pt x="17928" y="13511"/>
                        <a:pt x="17788" y="13529"/>
                        <a:pt x="17556" y="13529"/>
                      </a:cubicBezTo>
                      <a:cubicBezTo>
                        <a:pt x="17304" y="13529"/>
                        <a:pt x="17116" y="13379"/>
                        <a:pt x="16991" y="13078"/>
                      </a:cubicBezTo>
                      <a:cubicBezTo>
                        <a:pt x="16903" y="12740"/>
                        <a:pt x="16836" y="12535"/>
                        <a:pt x="16787" y="12462"/>
                      </a:cubicBezTo>
                      <a:cubicBezTo>
                        <a:pt x="16691" y="12307"/>
                        <a:pt x="16483" y="12157"/>
                        <a:pt x="16164" y="12011"/>
                      </a:cubicBezTo>
                      <a:cubicBezTo>
                        <a:pt x="15845" y="11865"/>
                        <a:pt x="15656" y="11751"/>
                        <a:pt x="15599" y="11669"/>
                      </a:cubicBezTo>
                      <a:cubicBezTo>
                        <a:pt x="15676" y="11596"/>
                        <a:pt x="15826" y="11454"/>
                        <a:pt x="16048" y="11245"/>
                      </a:cubicBezTo>
                      <a:cubicBezTo>
                        <a:pt x="16222" y="11053"/>
                        <a:pt x="16309" y="10884"/>
                        <a:pt x="16309" y="10739"/>
                      </a:cubicBezTo>
                      <a:cubicBezTo>
                        <a:pt x="16309" y="10693"/>
                        <a:pt x="16290" y="10624"/>
                        <a:pt x="16251" y="10533"/>
                      </a:cubicBezTo>
                      <a:cubicBezTo>
                        <a:pt x="16213" y="10442"/>
                        <a:pt x="16193" y="10374"/>
                        <a:pt x="16193" y="10328"/>
                      </a:cubicBezTo>
                      <a:cubicBezTo>
                        <a:pt x="16193" y="10209"/>
                        <a:pt x="16275" y="10077"/>
                        <a:pt x="16440" y="9931"/>
                      </a:cubicBezTo>
                      <a:cubicBezTo>
                        <a:pt x="16594" y="9795"/>
                        <a:pt x="16671" y="9644"/>
                        <a:pt x="16671" y="9480"/>
                      </a:cubicBezTo>
                      <a:cubicBezTo>
                        <a:pt x="16671" y="9425"/>
                        <a:pt x="16623" y="9343"/>
                        <a:pt x="16526" y="9234"/>
                      </a:cubicBezTo>
                      <a:cubicBezTo>
                        <a:pt x="16430" y="9106"/>
                        <a:pt x="16377" y="9038"/>
                        <a:pt x="16367" y="9029"/>
                      </a:cubicBezTo>
                      <a:cubicBezTo>
                        <a:pt x="16009" y="9430"/>
                        <a:pt x="15734" y="9726"/>
                        <a:pt x="15541" y="9918"/>
                      </a:cubicBezTo>
                      <a:cubicBezTo>
                        <a:pt x="15193" y="10264"/>
                        <a:pt x="14941" y="10437"/>
                        <a:pt x="14787" y="10437"/>
                      </a:cubicBezTo>
                      <a:cubicBezTo>
                        <a:pt x="14681" y="10437"/>
                        <a:pt x="14613" y="10419"/>
                        <a:pt x="14584" y="10383"/>
                      </a:cubicBezTo>
                      <a:cubicBezTo>
                        <a:pt x="14545" y="10337"/>
                        <a:pt x="14526" y="10232"/>
                        <a:pt x="14526" y="10068"/>
                      </a:cubicBezTo>
                      <a:cubicBezTo>
                        <a:pt x="14603" y="9786"/>
                        <a:pt x="14642" y="9599"/>
                        <a:pt x="14642" y="9507"/>
                      </a:cubicBezTo>
                      <a:cubicBezTo>
                        <a:pt x="14642" y="9371"/>
                        <a:pt x="14565" y="9229"/>
                        <a:pt x="14410" y="9083"/>
                      </a:cubicBezTo>
                      <a:cubicBezTo>
                        <a:pt x="14342" y="9165"/>
                        <a:pt x="14231" y="9206"/>
                        <a:pt x="14077" y="9206"/>
                      </a:cubicBezTo>
                      <a:cubicBezTo>
                        <a:pt x="13960" y="9206"/>
                        <a:pt x="13874" y="9147"/>
                        <a:pt x="13816" y="9029"/>
                      </a:cubicBezTo>
                      <a:cubicBezTo>
                        <a:pt x="13767" y="8928"/>
                        <a:pt x="13743" y="8814"/>
                        <a:pt x="13743" y="8687"/>
                      </a:cubicBezTo>
                      <a:cubicBezTo>
                        <a:pt x="13743" y="8504"/>
                        <a:pt x="13787" y="8226"/>
                        <a:pt x="13874" y="7852"/>
                      </a:cubicBezTo>
                      <a:cubicBezTo>
                        <a:pt x="13951" y="7478"/>
                        <a:pt x="13989" y="7195"/>
                        <a:pt x="13989" y="7004"/>
                      </a:cubicBezTo>
                      <a:lnTo>
                        <a:pt x="13989" y="6621"/>
                      </a:lnTo>
                      <a:cubicBezTo>
                        <a:pt x="13951" y="6511"/>
                        <a:pt x="13830" y="6457"/>
                        <a:pt x="13627" y="6457"/>
                      </a:cubicBezTo>
                      <a:cubicBezTo>
                        <a:pt x="13182" y="6457"/>
                        <a:pt x="12714" y="6635"/>
                        <a:pt x="12221" y="6990"/>
                      </a:cubicBezTo>
                      <a:cubicBezTo>
                        <a:pt x="11815" y="7346"/>
                        <a:pt x="11578" y="7524"/>
                        <a:pt x="11511" y="7524"/>
                      </a:cubicBezTo>
                      <a:cubicBezTo>
                        <a:pt x="11433" y="7524"/>
                        <a:pt x="11337" y="7478"/>
                        <a:pt x="11221" y="7387"/>
                      </a:cubicBezTo>
                      <a:cubicBezTo>
                        <a:pt x="11105" y="7287"/>
                        <a:pt x="11013" y="7236"/>
                        <a:pt x="10945" y="7236"/>
                      </a:cubicBezTo>
                      <a:cubicBezTo>
                        <a:pt x="10926" y="7236"/>
                        <a:pt x="10675" y="7592"/>
                        <a:pt x="10191" y="8304"/>
                      </a:cubicBezTo>
                      <a:cubicBezTo>
                        <a:pt x="9718" y="9015"/>
                        <a:pt x="9365" y="9371"/>
                        <a:pt x="9133" y="9371"/>
                      </a:cubicBezTo>
                      <a:cubicBezTo>
                        <a:pt x="8921" y="9371"/>
                        <a:pt x="8814" y="9220"/>
                        <a:pt x="8814" y="8919"/>
                      </a:cubicBezTo>
                      <a:cubicBezTo>
                        <a:pt x="8892" y="8655"/>
                        <a:pt x="8930" y="8477"/>
                        <a:pt x="8930" y="8386"/>
                      </a:cubicBezTo>
                      <a:cubicBezTo>
                        <a:pt x="8930" y="8267"/>
                        <a:pt x="8853" y="8089"/>
                        <a:pt x="8698" y="7852"/>
                      </a:cubicBezTo>
                      <a:cubicBezTo>
                        <a:pt x="8583" y="8080"/>
                        <a:pt x="8423" y="8308"/>
                        <a:pt x="8220" y="8536"/>
                      </a:cubicBezTo>
                      <a:cubicBezTo>
                        <a:pt x="7891" y="8901"/>
                        <a:pt x="7582" y="9083"/>
                        <a:pt x="7292" y="9083"/>
                      </a:cubicBezTo>
                      <a:cubicBezTo>
                        <a:pt x="7128" y="9083"/>
                        <a:pt x="7031" y="8983"/>
                        <a:pt x="7002" y="8782"/>
                      </a:cubicBezTo>
                      <a:cubicBezTo>
                        <a:pt x="6973" y="8572"/>
                        <a:pt x="6882" y="8468"/>
                        <a:pt x="6727" y="8468"/>
                      </a:cubicBezTo>
                      <a:cubicBezTo>
                        <a:pt x="6679" y="8468"/>
                        <a:pt x="6601" y="8486"/>
                        <a:pt x="6495" y="8522"/>
                      </a:cubicBezTo>
                      <a:cubicBezTo>
                        <a:pt x="6379" y="8559"/>
                        <a:pt x="6297" y="8577"/>
                        <a:pt x="6248" y="8577"/>
                      </a:cubicBezTo>
                      <a:cubicBezTo>
                        <a:pt x="6094" y="8577"/>
                        <a:pt x="5978" y="8559"/>
                        <a:pt x="5901" y="8522"/>
                      </a:cubicBezTo>
                      <a:cubicBezTo>
                        <a:pt x="6142" y="8167"/>
                        <a:pt x="6500" y="7702"/>
                        <a:pt x="6973" y="7127"/>
                      </a:cubicBezTo>
                      <a:lnTo>
                        <a:pt x="6973" y="6785"/>
                      </a:lnTo>
                      <a:lnTo>
                        <a:pt x="6669" y="6785"/>
                      </a:lnTo>
                      <a:cubicBezTo>
                        <a:pt x="6563" y="6831"/>
                        <a:pt x="6263" y="6990"/>
                        <a:pt x="5770" y="7264"/>
                      </a:cubicBezTo>
                      <a:cubicBezTo>
                        <a:pt x="5596" y="7355"/>
                        <a:pt x="5408" y="7401"/>
                        <a:pt x="5205" y="7401"/>
                      </a:cubicBezTo>
                      <a:cubicBezTo>
                        <a:pt x="5137" y="7401"/>
                        <a:pt x="5070" y="7355"/>
                        <a:pt x="5002" y="7264"/>
                      </a:cubicBezTo>
                      <a:cubicBezTo>
                        <a:pt x="4925" y="7173"/>
                        <a:pt x="4847" y="7127"/>
                        <a:pt x="4770" y="7127"/>
                      </a:cubicBezTo>
                      <a:cubicBezTo>
                        <a:pt x="4519" y="7127"/>
                        <a:pt x="4379" y="7277"/>
                        <a:pt x="4349" y="7578"/>
                      </a:cubicBezTo>
                      <a:cubicBezTo>
                        <a:pt x="4330" y="7743"/>
                        <a:pt x="4330" y="7984"/>
                        <a:pt x="4349" y="8304"/>
                      </a:cubicBezTo>
                      <a:cubicBezTo>
                        <a:pt x="4330" y="8577"/>
                        <a:pt x="4253" y="9065"/>
                        <a:pt x="4118" y="9767"/>
                      </a:cubicBezTo>
                      <a:lnTo>
                        <a:pt x="3871" y="9767"/>
                      </a:lnTo>
                      <a:cubicBezTo>
                        <a:pt x="3397" y="8627"/>
                        <a:pt x="3161" y="8053"/>
                        <a:pt x="3161" y="8044"/>
                      </a:cubicBezTo>
                      <a:cubicBezTo>
                        <a:pt x="3161" y="7934"/>
                        <a:pt x="3195" y="7715"/>
                        <a:pt x="3262" y="7387"/>
                      </a:cubicBezTo>
                      <a:cubicBezTo>
                        <a:pt x="3340" y="7022"/>
                        <a:pt x="3383" y="6785"/>
                        <a:pt x="3393" y="6676"/>
                      </a:cubicBezTo>
                      <a:cubicBezTo>
                        <a:pt x="3422" y="6402"/>
                        <a:pt x="3479" y="6128"/>
                        <a:pt x="3567" y="5855"/>
                      </a:cubicBezTo>
                      <a:cubicBezTo>
                        <a:pt x="3654" y="5618"/>
                        <a:pt x="3697" y="5394"/>
                        <a:pt x="3697" y="5184"/>
                      </a:cubicBezTo>
                      <a:cubicBezTo>
                        <a:pt x="3697" y="4938"/>
                        <a:pt x="3586" y="4706"/>
                        <a:pt x="3364" y="4487"/>
                      </a:cubicBezTo>
                      <a:cubicBezTo>
                        <a:pt x="3093" y="4222"/>
                        <a:pt x="2924" y="3981"/>
                        <a:pt x="2857" y="3762"/>
                      </a:cubicBezTo>
                      <a:cubicBezTo>
                        <a:pt x="3079" y="3807"/>
                        <a:pt x="3248" y="3785"/>
                        <a:pt x="3364" y="3693"/>
                      </a:cubicBezTo>
                      <a:cubicBezTo>
                        <a:pt x="3470" y="3602"/>
                        <a:pt x="3523" y="3461"/>
                        <a:pt x="3523" y="3269"/>
                      </a:cubicBezTo>
                      <a:cubicBezTo>
                        <a:pt x="3523" y="3196"/>
                        <a:pt x="3422" y="2873"/>
                        <a:pt x="3219" y="2298"/>
                      </a:cubicBezTo>
                      <a:cubicBezTo>
                        <a:pt x="3132" y="2134"/>
                        <a:pt x="3030" y="2011"/>
                        <a:pt x="2914" y="1929"/>
                      </a:cubicBezTo>
                      <a:cubicBezTo>
                        <a:pt x="2721" y="1801"/>
                        <a:pt x="2605" y="1719"/>
                        <a:pt x="2567" y="1683"/>
                      </a:cubicBezTo>
                      <a:cubicBezTo>
                        <a:pt x="2760" y="1500"/>
                        <a:pt x="2861" y="1395"/>
                        <a:pt x="2871" y="1368"/>
                      </a:cubicBezTo>
                      <a:cubicBezTo>
                        <a:pt x="2910" y="1322"/>
                        <a:pt x="2929" y="1245"/>
                        <a:pt x="2929" y="1135"/>
                      </a:cubicBezTo>
                      <a:lnTo>
                        <a:pt x="2987" y="328"/>
                      </a:lnTo>
                      <a:cubicBezTo>
                        <a:pt x="2987" y="255"/>
                        <a:pt x="2943" y="182"/>
                        <a:pt x="2857" y="109"/>
                      </a:cubicBezTo>
                      <a:cubicBezTo>
                        <a:pt x="2769" y="36"/>
                        <a:pt x="2692" y="0"/>
                        <a:pt x="2624" y="0"/>
                      </a:cubicBezTo>
                      <a:cubicBezTo>
                        <a:pt x="2605" y="0"/>
                        <a:pt x="2431" y="141"/>
                        <a:pt x="2102" y="424"/>
                      </a:cubicBezTo>
                      <a:cubicBezTo>
                        <a:pt x="1764" y="716"/>
                        <a:pt x="1503" y="948"/>
                        <a:pt x="1320" y="1122"/>
                      </a:cubicBezTo>
                      <a:cubicBezTo>
                        <a:pt x="1155" y="1268"/>
                        <a:pt x="996" y="1455"/>
                        <a:pt x="841" y="1683"/>
                      </a:cubicBezTo>
                      <a:cubicBezTo>
                        <a:pt x="638" y="1974"/>
                        <a:pt x="537" y="2216"/>
                        <a:pt x="537" y="2408"/>
                      </a:cubicBezTo>
                      <a:cubicBezTo>
                        <a:pt x="537" y="2471"/>
                        <a:pt x="570" y="2581"/>
                        <a:pt x="638" y="2736"/>
                      </a:cubicBezTo>
                      <a:cubicBezTo>
                        <a:pt x="696" y="2900"/>
                        <a:pt x="725" y="2996"/>
                        <a:pt x="725" y="3023"/>
                      </a:cubicBezTo>
                      <a:cubicBezTo>
                        <a:pt x="725" y="3123"/>
                        <a:pt x="677" y="3306"/>
                        <a:pt x="580" y="3570"/>
                      </a:cubicBezTo>
                      <a:cubicBezTo>
                        <a:pt x="474" y="3844"/>
                        <a:pt x="421" y="3999"/>
                        <a:pt x="421" y="4035"/>
                      </a:cubicBezTo>
                      <a:cubicBezTo>
                        <a:pt x="421" y="4163"/>
                        <a:pt x="464" y="4295"/>
                        <a:pt x="551" y="4432"/>
                      </a:cubicBezTo>
                      <a:cubicBezTo>
                        <a:pt x="629" y="4569"/>
                        <a:pt x="667" y="4724"/>
                        <a:pt x="667" y="4897"/>
                      </a:cubicBezTo>
                      <a:cubicBezTo>
                        <a:pt x="667" y="5144"/>
                        <a:pt x="580" y="5358"/>
                        <a:pt x="406" y="5540"/>
                      </a:cubicBezTo>
                      <a:cubicBezTo>
                        <a:pt x="223" y="5713"/>
                        <a:pt x="131" y="5859"/>
                        <a:pt x="131" y="5978"/>
                      </a:cubicBezTo>
                      <a:cubicBezTo>
                        <a:pt x="131" y="6014"/>
                        <a:pt x="251" y="6147"/>
                        <a:pt x="493" y="6375"/>
                      </a:cubicBezTo>
                      <a:cubicBezTo>
                        <a:pt x="725" y="6594"/>
                        <a:pt x="841" y="6840"/>
                        <a:pt x="841" y="7113"/>
                      </a:cubicBezTo>
                      <a:cubicBezTo>
                        <a:pt x="841" y="7205"/>
                        <a:pt x="803" y="7396"/>
                        <a:pt x="725" y="7688"/>
                      </a:cubicBezTo>
                      <a:cubicBezTo>
                        <a:pt x="725" y="7843"/>
                        <a:pt x="846" y="7957"/>
                        <a:pt x="1088" y="8030"/>
                      </a:cubicBezTo>
                      <a:cubicBezTo>
                        <a:pt x="1320" y="8103"/>
                        <a:pt x="1436" y="8212"/>
                        <a:pt x="1436" y="8358"/>
                      </a:cubicBezTo>
                      <a:cubicBezTo>
                        <a:pt x="1436" y="8431"/>
                        <a:pt x="1320" y="8572"/>
                        <a:pt x="1088" y="8782"/>
                      </a:cubicBezTo>
                      <a:cubicBezTo>
                        <a:pt x="846" y="9001"/>
                        <a:pt x="725" y="9261"/>
                        <a:pt x="725" y="9562"/>
                      </a:cubicBezTo>
                      <a:cubicBezTo>
                        <a:pt x="725" y="9753"/>
                        <a:pt x="856" y="10137"/>
                        <a:pt x="1117" y="10711"/>
                      </a:cubicBezTo>
                      <a:cubicBezTo>
                        <a:pt x="1368" y="11276"/>
                        <a:pt x="1494" y="11568"/>
                        <a:pt x="1494" y="11586"/>
                      </a:cubicBezTo>
                      <a:cubicBezTo>
                        <a:pt x="1494" y="11742"/>
                        <a:pt x="1377" y="11906"/>
                        <a:pt x="1146" y="12079"/>
                      </a:cubicBezTo>
                      <a:cubicBezTo>
                        <a:pt x="904" y="12252"/>
                        <a:pt x="783" y="12453"/>
                        <a:pt x="783" y="12681"/>
                      </a:cubicBezTo>
                      <a:cubicBezTo>
                        <a:pt x="783" y="13110"/>
                        <a:pt x="982" y="13328"/>
                        <a:pt x="1377" y="13338"/>
                      </a:cubicBezTo>
                      <a:cubicBezTo>
                        <a:pt x="1774" y="13356"/>
                        <a:pt x="1972" y="13474"/>
                        <a:pt x="1972" y="13693"/>
                      </a:cubicBezTo>
                      <a:cubicBezTo>
                        <a:pt x="1972" y="13903"/>
                        <a:pt x="1823" y="14076"/>
                        <a:pt x="1522" y="14213"/>
                      </a:cubicBezTo>
                      <a:cubicBezTo>
                        <a:pt x="1223" y="14350"/>
                        <a:pt x="1073" y="14491"/>
                        <a:pt x="1073" y="14637"/>
                      </a:cubicBezTo>
                      <a:cubicBezTo>
                        <a:pt x="1073" y="14847"/>
                        <a:pt x="1175" y="15394"/>
                        <a:pt x="1377" y="16279"/>
                      </a:cubicBezTo>
                      <a:cubicBezTo>
                        <a:pt x="1377" y="16580"/>
                        <a:pt x="1180" y="16771"/>
                        <a:pt x="783" y="16853"/>
                      </a:cubicBezTo>
                      <a:cubicBezTo>
                        <a:pt x="339" y="16954"/>
                        <a:pt x="78" y="17173"/>
                        <a:pt x="0" y="17510"/>
                      </a:cubicBezTo>
                      <a:lnTo>
                        <a:pt x="0" y="17797"/>
                      </a:lnTo>
                      <a:lnTo>
                        <a:pt x="421" y="17797"/>
                      </a:lnTo>
                      <a:cubicBezTo>
                        <a:pt x="469" y="17752"/>
                        <a:pt x="696" y="17606"/>
                        <a:pt x="1102" y="17359"/>
                      </a:cubicBezTo>
                      <a:cubicBezTo>
                        <a:pt x="1537" y="17086"/>
                        <a:pt x="1803" y="16949"/>
                        <a:pt x="1900" y="16949"/>
                      </a:cubicBezTo>
                      <a:cubicBezTo>
                        <a:pt x="2141" y="16949"/>
                        <a:pt x="2262" y="17058"/>
                        <a:pt x="2262" y="17277"/>
                      </a:cubicBezTo>
                      <a:cubicBezTo>
                        <a:pt x="2262" y="17770"/>
                        <a:pt x="2016" y="18331"/>
                        <a:pt x="1522" y="18960"/>
                      </a:cubicBezTo>
                      <a:cubicBezTo>
                        <a:pt x="1030" y="19589"/>
                        <a:pt x="783" y="20072"/>
                        <a:pt x="783" y="20410"/>
                      </a:cubicBezTo>
                      <a:cubicBezTo>
                        <a:pt x="783" y="20565"/>
                        <a:pt x="827" y="20697"/>
                        <a:pt x="914" y="20807"/>
                      </a:cubicBezTo>
                      <a:cubicBezTo>
                        <a:pt x="923" y="20816"/>
                        <a:pt x="933" y="20829"/>
                        <a:pt x="943" y="20848"/>
                      </a:cubicBezTo>
                      <a:cubicBezTo>
                        <a:pt x="1078" y="21021"/>
                        <a:pt x="1199" y="21162"/>
                        <a:pt x="1305" y="21272"/>
                      </a:cubicBezTo>
                      <a:cubicBezTo>
                        <a:pt x="1489" y="21491"/>
                        <a:pt x="1600" y="21600"/>
                        <a:pt x="1638" y="21600"/>
                      </a:cubicBezTo>
                      <a:cubicBezTo>
                        <a:pt x="1880" y="21600"/>
                        <a:pt x="2300" y="21468"/>
                        <a:pt x="2900" y="21203"/>
                      </a:cubicBezTo>
                      <a:cubicBezTo>
                        <a:pt x="3364" y="21003"/>
                        <a:pt x="3707" y="20834"/>
                        <a:pt x="3929" y="20697"/>
                      </a:cubicBezTo>
                      <a:cubicBezTo>
                        <a:pt x="4209" y="20524"/>
                        <a:pt x="4663" y="20173"/>
                        <a:pt x="5291" y="19644"/>
                      </a:cubicBezTo>
                      <a:cubicBezTo>
                        <a:pt x="5871" y="19179"/>
                        <a:pt x="6369" y="18919"/>
                        <a:pt x="6785" y="18864"/>
                      </a:cubicBezTo>
                      <a:cubicBezTo>
                        <a:pt x="7809" y="18718"/>
                        <a:pt x="8650" y="18440"/>
                        <a:pt x="9307" y="18030"/>
                      </a:cubicBezTo>
                      <a:cubicBezTo>
                        <a:pt x="10003" y="17583"/>
                        <a:pt x="10554" y="16940"/>
                        <a:pt x="10960" y="16101"/>
                      </a:cubicBezTo>
                      <a:cubicBezTo>
                        <a:pt x="11008" y="16147"/>
                        <a:pt x="11086" y="16210"/>
                        <a:pt x="11192" y="16292"/>
                      </a:cubicBezTo>
                      <a:cubicBezTo>
                        <a:pt x="11269" y="16384"/>
                        <a:pt x="11308" y="16516"/>
                        <a:pt x="11308" y="16689"/>
                      </a:cubicBezTo>
                      <a:cubicBezTo>
                        <a:pt x="11308" y="16762"/>
                        <a:pt x="11250" y="16899"/>
                        <a:pt x="11134" y="17100"/>
                      </a:cubicBezTo>
                      <a:cubicBezTo>
                        <a:pt x="11018" y="17291"/>
                        <a:pt x="10960" y="17410"/>
                        <a:pt x="10960" y="17455"/>
                      </a:cubicBezTo>
                      <a:cubicBezTo>
                        <a:pt x="10960" y="17556"/>
                        <a:pt x="11037" y="17629"/>
                        <a:pt x="11192" y="17674"/>
                      </a:cubicBezTo>
                      <a:cubicBezTo>
                        <a:pt x="11327" y="17674"/>
                        <a:pt x="11574" y="17619"/>
                        <a:pt x="11931" y="17510"/>
                      </a:cubicBezTo>
                      <a:cubicBezTo>
                        <a:pt x="12289" y="17400"/>
                        <a:pt x="12497" y="17346"/>
                        <a:pt x="12554" y="17346"/>
                      </a:cubicBezTo>
                      <a:cubicBezTo>
                        <a:pt x="12671" y="16716"/>
                        <a:pt x="12787" y="16297"/>
                        <a:pt x="12902" y="16087"/>
                      </a:cubicBezTo>
                      <a:cubicBezTo>
                        <a:pt x="13125" y="15686"/>
                        <a:pt x="13497" y="15485"/>
                        <a:pt x="14019" y="15485"/>
                      </a:cubicBezTo>
                      <a:cubicBezTo>
                        <a:pt x="14057" y="15485"/>
                        <a:pt x="14115" y="15504"/>
                        <a:pt x="14193" y="15540"/>
                      </a:cubicBezTo>
                      <a:cubicBezTo>
                        <a:pt x="14299" y="15595"/>
                        <a:pt x="14352" y="15663"/>
                        <a:pt x="14352" y="15745"/>
                      </a:cubicBezTo>
                      <a:cubicBezTo>
                        <a:pt x="14352" y="15891"/>
                        <a:pt x="14246" y="16138"/>
                        <a:pt x="14033" y="16484"/>
                      </a:cubicBezTo>
                      <a:cubicBezTo>
                        <a:pt x="13821" y="16821"/>
                        <a:pt x="13724" y="17200"/>
                        <a:pt x="13743" y="17619"/>
                      </a:cubicBezTo>
                      <a:cubicBezTo>
                        <a:pt x="13753" y="17875"/>
                        <a:pt x="13608" y="18207"/>
                        <a:pt x="13308" y="18618"/>
                      </a:cubicBezTo>
                      <a:cubicBezTo>
                        <a:pt x="13009" y="19037"/>
                        <a:pt x="12859" y="19334"/>
                        <a:pt x="12859" y="19507"/>
                      </a:cubicBezTo>
                      <a:cubicBezTo>
                        <a:pt x="12859" y="19598"/>
                        <a:pt x="12878" y="19740"/>
                        <a:pt x="12917" y="19931"/>
                      </a:cubicBezTo>
                      <a:cubicBezTo>
                        <a:pt x="13449" y="19986"/>
                        <a:pt x="13859" y="19863"/>
                        <a:pt x="14149" y="19562"/>
                      </a:cubicBezTo>
                      <a:cubicBezTo>
                        <a:pt x="14458" y="19243"/>
                        <a:pt x="14603" y="18727"/>
                        <a:pt x="14584" y="18016"/>
                      </a:cubicBezTo>
                      <a:cubicBezTo>
                        <a:pt x="14574" y="17752"/>
                        <a:pt x="14603" y="17464"/>
                        <a:pt x="14671" y="17154"/>
                      </a:cubicBezTo>
                      <a:cubicBezTo>
                        <a:pt x="14729" y="16853"/>
                        <a:pt x="14796" y="16634"/>
                        <a:pt x="14874" y="16498"/>
                      </a:cubicBezTo>
                      <a:cubicBezTo>
                        <a:pt x="14951" y="16343"/>
                        <a:pt x="15135" y="16156"/>
                        <a:pt x="15425" y="15937"/>
                      </a:cubicBezTo>
                      <a:cubicBezTo>
                        <a:pt x="15570" y="15836"/>
                        <a:pt x="15705" y="15745"/>
                        <a:pt x="15831" y="15663"/>
                      </a:cubicBezTo>
                      <a:cubicBezTo>
                        <a:pt x="15831" y="15499"/>
                        <a:pt x="15753" y="15248"/>
                        <a:pt x="15599" y="14911"/>
                      </a:cubicBezTo>
                      <a:cubicBezTo>
                        <a:pt x="15434" y="14582"/>
                        <a:pt x="15352" y="14277"/>
                        <a:pt x="15352" y="13994"/>
                      </a:cubicBezTo>
                      <a:cubicBezTo>
                        <a:pt x="15352" y="13721"/>
                        <a:pt x="15372" y="13547"/>
                        <a:pt x="15410" y="13474"/>
                      </a:cubicBezTo>
                      <a:cubicBezTo>
                        <a:pt x="15488" y="13547"/>
                        <a:pt x="15835" y="13766"/>
                        <a:pt x="16454" y="14131"/>
                      </a:cubicBezTo>
                      <a:cubicBezTo>
                        <a:pt x="16937" y="14414"/>
                        <a:pt x="17227" y="14715"/>
                        <a:pt x="17324" y="15034"/>
                      </a:cubicBezTo>
                      <a:cubicBezTo>
                        <a:pt x="17508" y="15709"/>
                        <a:pt x="17604" y="16124"/>
                        <a:pt x="17613" y="16279"/>
                      </a:cubicBezTo>
                      <a:cubicBezTo>
                        <a:pt x="17594" y="16616"/>
                        <a:pt x="17643" y="16912"/>
                        <a:pt x="17758" y="17168"/>
                      </a:cubicBezTo>
                      <a:cubicBezTo>
                        <a:pt x="17903" y="17469"/>
                        <a:pt x="18111" y="17619"/>
                        <a:pt x="18382" y="17619"/>
                      </a:cubicBezTo>
                      <a:cubicBezTo>
                        <a:pt x="18479" y="17619"/>
                        <a:pt x="18561" y="17601"/>
                        <a:pt x="18628" y="17565"/>
                      </a:cubicBezTo>
                      <a:lnTo>
                        <a:pt x="18628" y="16894"/>
                      </a:lnTo>
                      <a:cubicBezTo>
                        <a:pt x="18551" y="16675"/>
                        <a:pt x="18513" y="16489"/>
                        <a:pt x="18513" y="16333"/>
                      </a:cubicBezTo>
                      <a:cubicBezTo>
                        <a:pt x="18513" y="16151"/>
                        <a:pt x="18532" y="16019"/>
                        <a:pt x="18570" y="15937"/>
                      </a:cubicBezTo>
                      <a:cubicBezTo>
                        <a:pt x="18628" y="15791"/>
                        <a:pt x="18754" y="15718"/>
                        <a:pt x="18948" y="15718"/>
                      </a:cubicBezTo>
                      <a:cubicBezTo>
                        <a:pt x="19315" y="15718"/>
                        <a:pt x="19527" y="16046"/>
                        <a:pt x="19585" y="16703"/>
                      </a:cubicBezTo>
                      <a:cubicBezTo>
                        <a:pt x="19643" y="17350"/>
                        <a:pt x="19817" y="17674"/>
                        <a:pt x="20107" y="17674"/>
                      </a:cubicBezTo>
                      <a:cubicBezTo>
                        <a:pt x="20310" y="17674"/>
                        <a:pt x="20426" y="17596"/>
                        <a:pt x="20455" y="17442"/>
                      </a:cubicBezTo>
                      <a:cubicBezTo>
                        <a:pt x="20455" y="17250"/>
                        <a:pt x="20479" y="17104"/>
                        <a:pt x="20527" y="17004"/>
                      </a:cubicBezTo>
                      <a:cubicBezTo>
                        <a:pt x="20644" y="17068"/>
                        <a:pt x="20846" y="17045"/>
                        <a:pt x="21136" y="16935"/>
                      </a:cubicBezTo>
                      <a:cubicBezTo>
                        <a:pt x="21445" y="16835"/>
                        <a:pt x="21600" y="16716"/>
                        <a:pt x="21600" y="16580"/>
                      </a:cubicBezTo>
                      <a:cubicBezTo>
                        <a:pt x="21600" y="16470"/>
                        <a:pt x="21286" y="15750"/>
                        <a:pt x="20658" y="14418"/>
                      </a:cubicBezTo>
                      <a:close/>
                      <a:moveTo>
                        <a:pt x="20658" y="1441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3" name="AutoShape 97"/>
                <p:cNvSpPr>
                  <a:spLocks/>
                </p:cNvSpPr>
                <p:nvPr/>
              </p:nvSpPr>
              <p:spPr bwMode="auto">
                <a:xfrm>
                  <a:off x="8094652" y="2218206"/>
                  <a:ext cx="18552" cy="20614"/>
                </a:xfrm>
                <a:custGeom>
                  <a:avLst/>
                  <a:gdLst/>
                  <a:ahLst/>
                  <a:cxnLst/>
                  <a:rect l="0" t="0" r="r" b="b"/>
                  <a:pathLst>
                    <a:path w="21600" h="21600">
                      <a:moveTo>
                        <a:pt x="14480" y="3814"/>
                      </a:moveTo>
                      <a:cubicBezTo>
                        <a:pt x="9734" y="1273"/>
                        <a:pt x="6406" y="0"/>
                        <a:pt x="4505" y="0"/>
                      </a:cubicBezTo>
                      <a:cubicBezTo>
                        <a:pt x="3717" y="0"/>
                        <a:pt x="2929" y="143"/>
                        <a:pt x="2132" y="424"/>
                      </a:cubicBezTo>
                      <a:cubicBezTo>
                        <a:pt x="1344" y="708"/>
                        <a:pt x="630" y="849"/>
                        <a:pt x="0" y="849"/>
                      </a:cubicBezTo>
                      <a:lnTo>
                        <a:pt x="0" y="8684"/>
                      </a:lnTo>
                      <a:cubicBezTo>
                        <a:pt x="2373" y="9530"/>
                        <a:pt x="5145" y="11507"/>
                        <a:pt x="8306" y="14613"/>
                      </a:cubicBezTo>
                      <a:cubicBezTo>
                        <a:pt x="11783" y="18144"/>
                        <a:pt x="14555" y="20472"/>
                        <a:pt x="16613" y="21600"/>
                      </a:cubicBezTo>
                      <a:lnTo>
                        <a:pt x="20645" y="21600"/>
                      </a:lnTo>
                      <a:cubicBezTo>
                        <a:pt x="21276" y="20613"/>
                        <a:pt x="21600" y="19412"/>
                        <a:pt x="21600" y="18001"/>
                      </a:cubicBezTo>
                      <a:cubicBezTo>
                        <a:pt x="21600" y="17295"/>
                        <a:pt x="20571" y="15037"/>
                        <a:pt x="18513" y="11225"/>
                      </a:cubicBezTo>
                      <a:cubicBezTo>
                        <a:pt x="16455" y="7835"/>
                        <a:pt x="15111" y="5364"/>
                        <a:pt x="14480" y="3814"/>
                      </a:cubicBezTo>
                      <a:close/>
                      <a:moveTo>
                        <a:pt x="14480" y="381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4" name="AutoShape 98"/>
                <p:cNvSpPr>
                  <a:spLocks/>
                </p:cNvSpPr>
                <p:nvPr/>
              </p:nvSpPr>
              <p:spPr bwMode="auto">
                <a:xfrm>
                  <a:off x="7026864" y="1471991"/>
                  <a:ext cx="24736" cy="13914"/>
                </a:xfrm>
                <a:custGeom>
                  <a:avLst/>
                  <a:gdLst/>
                  <a:ahLst/>
                  <a:cxnLst/>
                  <a:rect l="0" t="0" r="r" b="b"/>
                  <a:pathLst>
                    <a:path w="21600" h="21600">
                      <a:moveTo>
                        <a:pt x="17136" y="0"/>
                      </a:moveTo>
                      <a:cubicBezTo>
                        <a:pt x="16425" y="0"/>
                        <a:pt x="13510" y="2367"/>
                        <a:pt x="8390" y="7098"/>
                      </a:cubicBezTo>
                      <a:cubicBezTo>
                        <a:pt x="2797" y="12240"/>
                        <a:pt x="0" y="15840"/>
                        <a:pt x="0" y="17897"/>
                      </a:cubicBezTo>
                      <a:cubicBezTo>
                        <a:pt x="0" y="18515"/>
                        <a:pt x="830" y="19338"/>
                        <a:pt x="2497" y="20364"/>
                      </a:cubicBezTo>
                      <a:cubicBezTo>
                        <a:pt x="3927" y="21187"/>
                        <a:pt x="4875" y="21600"/>
                        <a:pt x="5356" y="21600"/>
                      </a:cubicBezTo>
                      <a:cubicBezTo>
                        <a:pt x="7023" y="21600"/>
                        <a:pt x="9702" y="20572"/>
                        <a:pt x="13391" y="18515"/>
                      </a:cubicBezTo>
                      <a:cubicBezTo>
                        <a:pt x="15176" y="17487"/>
                        <a:pt x="16662" y="16558"/>
                        <a:pt x="17855" y="15735"/>
                      </a:cubicBezTo>
                      <a:cubicBezTo>
                        <a:pt x="18210" y="15328"/>
                        <a:pt x="18510" y="15017"/>
                        <a:pt x="18747" y="14812"/>
                      </a:cubicBezTo>
                      <a:cubicBezTo>
                        <a:pt x="18985" y="14402"/>
                        <a:pt x="19277" y="13989"/>
                        <a:pt x="19640" y="13579"/>
                      </a:cubicBezTo>
                      <a:cubicBezTo>
                        <a:pt x="19759" y="13166"/>
                        <a:pt x="19933" y="12756"/>
                        <a:pt x="20170" y="12342"/>
                      </a:cubicBezTo>
                      <a:cubicBezTo>
                        <a:pt x="21126" y="10286"/>
                        <a:pt x="21600" y="9053"/>
                        <a:pt x="21600" y="8639"/>
                      </a:cubicBezTo>
                      <a:cubicBezTo>
                        <a:pt x="21600" y="6378"/>
                        <a:pt x="21244" y="4424"/>
                        <a:pt x="20533" y="2780"/>
                      </a:cubicBezTo>
                      <a:cubicBezTo>
                        <a:pt x="19696" y="926"/>
                        <a:pt x="18566" y="0"/>
                        <a:pt x="17136" y="0"/>
                      </a:cubicBezTo>
                      <a:close/>
                      <a:moveTo>
                        <a:pt x="17136"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5" name="AutoShape 99"/>
                <p:cNvSpPr>
                  <a:spLocks/>
                </p:cNvSpPr>
                <p:nvPr/>
              </p:nvSpPr>
              <p:spPr bwMode="auto">
                <a:xfrm>
                  <a:off x="6952655" y="1929615"/>
                  <a:ext cx="23191" cy="27313"/>
                </a:xfrm>
                <a:custGeom>
                  <a:avLst/>
                  <a:gdLst/>
                  <a:ahLst/>
                  <a:cxnLst/>
                  <a:rect l="0" t="0" r="r" b="b"/>
                  <a:pathLst>
                    <a:path w="21600" h="21600">
                      <a:moveTo>
                        <a:pt x="21219" y="0"/>
                      </a:moveTo>
                      <a:lnTo>
                        <a:pt x="18733" y="0"/>
                      </a:lnTo>
                      <a:cubicBezTo>
                        <a:pt x="17202" y="323"/>
                        <a:pt x="15672" y="1397"/>
                        <a:pt x="14149" y="3223"/>
                      </a:cubicBezTo>
                      <a:cubicBezTo>
                        <a:pt x="12110" y="5695"/>
                        <a:pt x="10639" y="7308"/>
                        <a:pt x="9751" y="8060"/>
                      </a:cubicBezTo>
                      <a:cubicBezTo>
                        <a:pt x="7459" y="9350"/>
                        <a:pt x="5607" y="10531"/>
                        <a:pt x="4204" y="11607"/>
                      </a:cubicBezTo>
                      <a:cubicBezTo>
                        <a:pt x="1404" y="13433"/>
                        <a:pt x="0" y="15045"/>
                        <a:pt x="0" y="16442"/>
                      </a:cubicBezTo>
                      <a:cubicBezTo>
                        <a:pt x="0" y="17302"/>
                        <a:pt x="381" y="18323"/>
                        <a:pt x="1150" y="19505"/>
                      </a:cubicBezTo>
                      <a:cubicBezTo>
                        <a:pt x="1911" y="20901"/>
                        <a:pt x="2740" y="21600"/>
                        <a:pt x="3636" y="21600"/>
                      </a:cubicBezTo>
                      <a:cubicBezTo>
                        <a:pt x="5159" y="21600"/>
                        <a:pt x="7392" y="20044"/>
                        <a:pt x="10326" y="16924"/>
                      </a:cubicBezTo>
                      <a:cubicBezTo>
                        <a:pt x="12491" y="14670"/>
                        <a:pt x="14208" y="12950"/>
                        <a:pt x="15485" y="11768"/>
                      </a:cubicBezTo>
                      <a:cubicBezTo>
                        <a:pt x="15993" y="11338"/>
                        <a:pt x="16441" y="10961"/>
                        <a:pt x="16822" y="10640"/>
                      </a:cubicBezTo>
                      <a:cubicBezTo>
                        <a:pt x="17075" y="10424"/>
                        <a:pt x="17270" y="10208"/>
                        <a:pt x="17396" y="9994"/>
                      </a:cubicBezTo>
                      <a:cubicBezTo>
                        <a:pt x="20196" y="6341"/>
                        <a:pt x="21600" y="3546"/>
                        <a:pt x="21600" y="1612"/>
                      </a:cubicBezTo>
                      <a:cubicBezTo>
                        <a:pt x="21600" y="1612"/>
                        <a:pt x="21219" y="0"/>
                        <a:pt x="21219" y="0"/>
                      </a:cubicBezTo>
                      <a:close/>
                      <a:moveTo>
                        <a:pt x="21219"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6" name="AutoShape 100"/>
                <p:cNvSpPr>
                  <a:spLocks/>
                </p:cNvSpPr>
                <p:nvPr/>
              </p:nvSpPr>
              <p:spPr bwMode="auto">
                <a:xfrm>
                  <a:off x="6977391" y="1925492"/>
                  <a:ext cx="13399" cy="53080"/>
                </a:xfrm>
                <a:custGeom>
                  <a:avLst/>
                  <a:gdLst/>
                  <a:ahLst/>
                  <a:cxnLst/>
                  <a:rect l="0" t="0" r="r" b="b"/>
                  <a:pathLst>
                    <a:path w="21600" h="21600">
                      <a:moveTo>
                        <a:pt x="12436" y="18838"/>
                      </a:moveTo>
                      <a:cubicBezTo>
                        <a:pt x="12871" y="15992"/>
                        <a:pt x="13203" y="14511"/>
                        <a:pt x="13420" y="14400"/>
                      </a:cubicBezTo>
                      <a:cubicBezTo>
                        <a:pt x="14289" y="13675"/>
                        <a:pt x="16040" y="12362"/>
                        <a:pt x="18660" y="10466"/>
                      </a:cubicBezTo>
                      <a:cubicBezTo>
                        <a:pt x="20616" y="9126"/>
                        <a:pt x="21600" y="8122"/>
                        <a:pt x="21600" y="7452"/>
                      </a:cubicBezTo>
                      <a:cubicBezTo>
                        <a:pt x="21600" y="6558"/>
                        <a:pt x="20948" y="5805"/>
                        <a:pt x="19632" y="5192"/>
                      </a:cubicBezTo>
                      <a:cubicBezTo>
                        <a:pt x="19414" y="5024"/>
                        <a:pt x="17778" y="4437"/>
                        <a:pt x="14724" y="3433"/>
                      </a:cubicBezTo>
                      <a:lnTo>
                        <a:pt x="11784" y="1591"/>
                      </a:lnTo>
                      <a:cubicBezTo>
                        <a:pt x="10263" y="531"/>
                        <a:pt x="8844" y="0"/>
                        <a:pt x="7528" y="0"/>
                      </a:cubicBezTo>
                      <a:cubicBezTo>
                        <a:pt x="4256" y="0"/>
                        <a:pt x="2301" y="1340"/>
                        <a:pt x="1636" y="4019"/>
                      </a:cubicBezTo>
                      <a:cubicBezTo>
                        <a:pt x="1419" y="4745"/>
                        <a:pt x="1316" y="6893"/>
                        <a:pt x="1316" y="10466"/>
                      </a:cubicBezTo>
                      <a:cubicBezTo>
                        <a:pt x="1316" y="12531"/>
                        <a:pt x="882" y="15378"/>
                        <a:pt x="0" y="19005"/>
                      </a:cubicBezTo>
                      <a:cubicBezTo>
                        <a:pt x="0" y="20288"/>
                        <a:pt x="230" y="21043"/>
                        <a:pt x="665" y="21266"/>
                      </a:cubicBezTo>
                      <a:cubicBezTo>
                        <a:pt x="1099" y="21489"/>
                        <a:pt x="2952" y="21600"/>
                        <a:pt x="6224" y="21600"/>
                      </a:cubicBezTo>
                      <a:cubicBezTo>
                        <a:pt x="10148" y="21600"/>
                        <a:pt x="12219" y="20680"/>
                        <a:pt x="12436" y="18838"/>
                      </a:cubicBezTo>
                      <a:close/>
                      <a:moveTo>
                        <a:pt x="12436" y="18838"/>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7" name="AutoShape 101"/>
                <p:cNvSpPr>
                  <a:spLocks/>
                </p:cNvSpPr>
                <p:nvPr/>
              </p:nvSpPr>
              <p:spPr bwMode="auto">
                <a:xfrm>
                  <a:off x="6993882" y="1933738"/>
                  <a:ext cx="13914" cy="42774"/>
                </a:xfrm>
                <a:custGeom>
                  <a:avLst/>
                  <a:gdLst/>
                  <a:ahLst/>
                  <a:cxnLst/>
                  <a:rect l="0" t="0" r="r" b="b"/>
                  <a:pathLst>
                    <a:path w="21600" h="21600">
                      <a:moveTo>
                        <a:pt x="2543" y="19430"/>
                      </a:moveTo>
                      <a:cubicBezTo>
                        <a:pt x="4243" y="20671"/>
                        <a:pt x="5831" y="21394"/>
                        <a:pt x="7308" y="21600"/>
                      </a:cubicBezTo>
                      <a:cubicBezTo>
                        <a:pt x="7308" y="20636"/>
                        <a:pt x="7729" y="19189"/>
                        <a:pt x="8573" y="17260"/>
                      </a:cubicBezTo>
                      <a:cubicBezTo>
                        <a:pt x="9218" y="15881"/>
                        <a:pt x="9739" y="14814"/>
                        <a:pt x="10161" y="14057"/>
                      </a:cubicBezTo>
                      <a:cubicBezTo>
                        <a:pt x="10806" y="13780"/>
                        <a:pt x="11327" y="13574"/>
                        <a:pt x="11749" y="13436"/>
                      </a:cubicBezTo>
                      <a:cubicBezTo>
                        <a:pt x="14925" y="12127"/>
                        <a:pt x="16737" y="11368"/>
                        <a:pt x="17158" y="11162"/>
                      </a:cubicBezTo>
                      <a:cubicBezTo>
                        <a:pt x="20124" y="9509"/>
                        <a:pt x="21600" y="7510"/>
                        <a:pt x="21600" y="5168"/>
                      </a:cubicBezTo>
                      <a:cubicBezTo>
                        <a:pt x="21600" y="4134"/>
                        <a:pt x="20645" y="3030"/>
                        <a:pt x="18746" y="1860"/>
                      </a:cubicBezTo>
                      <a:cubicBezTo>
                        <a:pt x="16836" y="619"/>
                        <a:pt x="14925" y="0"/>
                        <a:pt x="13027" y="0"/>
                      </a:cubicBezTo>
                      <a:cubicBezTo>
                        <a:pt x="10062" y="0"/>
                        <a:pt x="7729" y="723"/>
                        <a:pt x="6042" y="2170"/>
                      </a:cubicBezTo>
                      <a:cubicBezTo>
                        <a:pt x="4553" y="3410"/>
                        <a:pt x="4032" y="4719"/>
                        <a:pt x="4454" y="6097"/>
                      </a:cubicBezTo>
                      <a:cubicBezTo>
                        <a:pt x="1489" y="11196"/>
                        <a:pt x="0" y="14677"/>
                        <a:pt x="0" y="16536"/>
                      </a:cubicBezTo>
                      <a:cubicBezTo>
                        <a:pt x="0" y="17294"/>
                        <a:pt x="856" y="18260"/>
                        <a:pt x="2543" y="19430"/>
                      </a:cubicBezTo>
                      <a:close/>
                      <a:moveTo>
                        <a:pt x="2543" y="1943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8" name="AutoShape 102"/>
                <p:cNvSpPr>
                  <a:spLocks/>
                </p:cNvSpPr>
                <p:nvPr/>
              </p:nvSpPr>
              <p:spPr bwMode="auto">
                <a:xfrm>
                  <a:off x="6960900" y="1958474"/>
                  <a:ext cx="12884" cy="29375"/>
                </a:xfrm>
                <a:custGeom>
                  <a:avLst/>
                  <a:gdLst/>
                  <a:ahLst/>
                  <a:cxnLst/>
                  <a:rect l="0" t="0" r="r" b="b"/>
                  <a:pathLst>
                    <a:path w="21600" h="21600">
                      <a:moveTo>
                        <a:pt x="6173" y="7746"/>
                      </a:moveTo>
                      <a:cubicBezTo>
                        <a:pt x="2062" y="11620"/>
                        <a:pt x="0" y="14103"/>
                        <a:pt x="0" y="15194"/>
                      </a:cubicBezTo>
                      <a:cubicBezTo>
                        <a:pt x="0" y="15890"/>
                        <a:pt x="2169" y="17081"/>
                        <a:pt x="6508" y="18770"/>
                      </a:cubicBezTo>
                      <a:lnTo>
                        <a:pt x="6856" y="18918"/>
                      </a:lnTo>
                      <a:cubicBezTo>
                        <a:pt x="11423" y="20706"/>
                        <a:pt x="14396" y="21600"/>
                        <a:pt x="15775" y="21600"/>
                      </a:cubicBezTo>
                      <a:cubicBezTo>
                        <a:pt x="19203" y="21600"/>
                        <a:pt x="21145" y="20904"/>
                        <a:pt x="21600" y="19515"/>
                      </a:cubicBezTo>
                      <a:cubicBezTo>
                        <a:pt x="21600" y="19217"/>
                        <a:pt x="21600" y="18968"/>
                        <a:pt x="21600" y="18770"/>
                      </a:cubicBezTo>
                      <a:cubicBezTo>
                        <a:pt x="21600" y="17281"/>
                        <a:pt x="21600" y="16139"/>
                        <a:pt x="21600" y="15344"/>
                      </a:cubicBezTo>
                      <a:lnTo>
                        <a:pt x="20917" y="3130"/>
                      </a:lnTo>
                      <a:lnTo>
                        <a:pt x="19886" y="0"/>
                      </a:lnTo>
                      <a:cubicBezTo>
                        <a:pt x="15547" y="597"/>
                        <a:pt x="10967" y="3180"/>
                        <a:pt x="6173" y="7746"/>
                      </a:cubicBezTo>
                      <a:close/>
                      <a:moveTo>
                        <a:pt x="6173" y="774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29" name="AutoShape 103"/>
                <p:cNvSpPr>
                  <a:spLocks/>
                </p:cNvSpPr>
                <p:nvPr/>
              </p:nvSpPr>
              <p:spPr bwMode="auto">
                <a:xfrm>
                  <a:off x="6391963" y="1492605"/>
                  <a:ext cx="1596529" cy="1433681"/>
                </a:xfrm>
                <a:custGeom>
                  <a:avLst/>
                  <a:gdLst/>
                  <a:ahLst/>
                  <a:cxnLst/>
                  <a:rect l="0" t="0" r="r" b="b"/>
                  <a:pathLst>
                    <a:path w="21600" h="21598">
                      <a:moveTo>
                        <a:pt x="21561" y="13034"/>
                      </a:moveTo>
                      <a:cubicBezTo>
                        <a:pt x="21522" y="13028"/>
                        <a:pt x="21497" y="13020"/>
                        <a:pt x="21486" y="13010"/>
                      </a:cubicBezTo>
                      <a:cubicBezTo>
                        <a:pt x="21465" y="12993"/>
                        <a:pt x="21448" y="12967"/>
                        <a:pt x="21433" y="12932"/>
                      </a:cubicBezTo>
                      <a:cubicBezTo>
                        <a:pt x="21423" y="12911"/>
                        <a:pt x="21407" y="12901"/>
                        <a:pt x="21382" y="12901"/>
                      </a:cubicBezTo>
                      <a:cubicBezTo>
                        <a:pt x="21345" y="12901"/>
                        <a:pt x="21326" y="12922"/>
                        <a:pt x="21324" y="12963"/>
                      </a:cubicBezTo>
                      <a:cubicBezTo>
                        <a:pt x="21322" y="13002"/>
                        <a:pt x="21310" y="13022"/>
                        <a:pt x="21288" y="13022"/>
                      </a:cubicBezTo>
                      <a:lnTo>
                        <a:pt x="21215" y="12991"/>
                      </a:lnTo>
                      <a:cubicBezTo>
                        <a:pt x="21191" y="12991"/>
                        <a:pt x="21175" y="13008"/>
                        <a:pt x="21168" y="13041"/>
                      </a:cubicBezTo>
                      <a:cubicBezTo>
                        <a:pt x="21157" y="13088"/>
                        <a:pt x="21140" y="13122"/>
                        <a:pt x="21118" y="13143"/>
                      </a:cubicBezTo>
                      <a:cubicBezTo>
                        <a:pt x="21095" y="13118"/>
                        <a:pt x="21084" y="13101"/>
                        <a:pt x="21084" y="13090"/>
                      </a:cubicBezTo>
                      <a:lnTo>
                        <a:pt x="21095" y="13025"/>
                      </a:lnTo>
                      <a:cubicBezTo>
                        <a:pt x="21095" y="12996"/>
                        <a:pt x="21086" y="12973"/>
                        <a:pt x="21067" y="12957"/>
                      </a:cubicBezTo>
                      <a:cubicBezTo>
                        <a:pt x="21041" y="12934"/>
                        <a:pt x="21024" y="12911"/>
                        <a:pt x="21014" y="12889"/>
                      </a:cubicBezTo>
                      <a:cubicBezTo>
                        <a:pt x="21007" y="12870"/>
                        <a:pt x="20999" y="12835"/>
                        <a:pt x="20992" y="12783"/>
                      </a:cubicBezTo>
                      <a:cubicBezTo>
                        <a:pt x="20986" y="12734"/>
                        <a:pt x="20985" y="12686"/>
                        <a:pt x="20986" y="12640"/>
                      </a:cubicBezTo>
                      <a:cubicBezTo>
                        <a:pt x="20986" y="12554"/>
                        <a:pt x="20973" y="12477"/>
                        <a:pt x="20947" y="12411"/>
                      </a:cubicBezTo>
                      <a:cubicBezTo>
                        <a:pt x="20914" y="12330"/>
                        <a:pt x="20869" y="12290"/>
                        <a:pt x="20814" y="12290"/>
                      </a:cubicBezTo>
                      <a:cubicBezTo>
                        <a:pt x="20747" y="12290"/>
                        <a:pt x="20713" y="12373"/>
                        <a:pt x="20713" y="12538"/>
                      </a:cubicBezTo>
                      <a:cubicBezTo>
                        <a:pt x="20713" y="12565"/>
                        <a:pt x="20719" y="12613"/>
                        <a:pt x="20730" y="12681"/>
                      </a:cubicBezTo>
                      <a:cubicBezTo>
                        <a:pt x="20730" y="12716"/>
                        <a:pt x="20724" y="12771"/>
                        <a:pt x="20713" y="12845"/>
                      </a:cubicBezTo>
                      <a:cubicBezTo>
                        <a:pt x="20713" y="12856"/>
                        <a:pt x="20711" y="12865"/>
                        <a:pt x="20708" y="12873"/>
                      </a:cubicBezTo>
                      <a:lnTo>
                        <a:pt x="20710" y="12889"/>
                      </a:lnTo>
                      <a:cubicBezTo>
                        <a:pt x="20710" y="12893"/>
                        <a:pt x="20710" y="12898"/>
                        <a:pt x="20710" y="12904"/>
                      </a:cubicBezTo>
                      <a:cubicBezTo>
                        <a:pt x="20707" y="12912"/>
                        <a:pt x="20703" y="12923"/>
                        <a:pt x="20699" y="12935"/>
                      </a:cubicBezTo>
                      <a:cubicBezTo>
                        <a:pt x="20695" y="12987"/>
                        <a:pt x="20687" y="13045"/>
                        <a:pt x="20674" y="13109"/>
                      </a:cubicBezTo>
                      <a:cubicBezTo>
                        <a:pt x="20663" y="13167"/>
                        <a:pt x="20660" y="13211"/>
                        <a:pt x="20666" y="13242"/>
                      </a:cubicBezTo>
                      <a:cubicBezTo>
                        <a:pt x="20669" y="13275"/>
                        <a:pt x="20669" y="13322"/>
                        <a:pt x="20663" y="13382"/>
                      </a:cubicBezTo>
                      <a:cubicBezTo>
                        <a:pt x="20654" y="13454"/>
                        <a:pt x="20649" y="13499"/>
                        <a:pt x="20649" y="13515"/>
                      </a:cubicBezTo>
                      <a:cubicBezTo>
                        <a:pt x="20649" y="13557"/>
                        <a:pt x="20668" y="13601"/>
                        <a:pt x="20705" y="13649"/>
                      </a:cubicBezTo>
                      <a:cubicBezTo>
                        <a:pt x="20740" y="13696"/>
                        <a:pt x="20758" y="13730"/>
                        <a:pt x="20758" y="13748"/>
                      </a:cubicBezTo>
                      <a:lnTo>
                        <a:pt x="20752" y="13823"/>
                      </a:lnTo>
                      <a:cubicBezTo>
                        <a:pt x="20752" y="13843"/>
                        <a:pt x="20735" y="13869"/>
                        <a:pt x="20699" y="13900"/>
                      </a:cubicBezTo>
                      <a:cubicBezTo>
                        <a:pt x="20669" y="13927"/>
                        <a:pt x="20648" y="13946"/>
                        <a:pt x="20635" y="13956"/>
                      </a:cubicBezTo>
                      <a:cubicBezTo>
                        <a:pt x="20611" y="13973"/>
                        <a:pt x="20589" y="13981"/>
                        <a:pt x="20568" y="13981"/>
                      </a:cubicBezTo>
                      <a:cubicBezTo>
                        <a:pt x="20555" y="13981"/>
                        <a:pt x="20536" y="13954"/>
                        <a:pt x="20510" y="13900"/>
                      </a:cubicBezTo>
                      <a:cubicBezTo>
                        <a:pt x="20482" y="13844"/>
                        <a:pt x="20451" y="13816"/>
                        <a:pt x="20418" y="13816"/>
                      </a:cubicBezTo>
                      <a:cubicBezTo>
                        <a:pt x="20410" y="13816"/>
                        <a:pt x="20361" y="13879"/>
                        <a:pt x="20270" y="14006"/>
                      </a:cubicBezTo>
                      <a:cubicBezTo>
                        <a:pt x="20179" y="14130"/>
                        <a:pt x="20098" y="14192"/>
                        <a:pt x="20027" y="14192"/>
                      </a:cubicBezTo>
                      <a:cubicBezTo>
                        <a:pt x="19977" y="14175"/>
                        <a:pt x="19951" y="14167"/>
                        <a:pt x="19949" y="14167"/>
                      </a:cubicBezTo>
                      <a:cubicBezTo>
                        <a:pt x="19873" y="14159"/>
                        <a:pt x="19835" y="14159"/>
                        <a:pt x="19835" y="14167"/>
                      </a:cubicBezTo>
                      <a:cubicBezTo>
                        <a:pt x="19835" y="14165"/>
                        <a:pt x="19835" y="14163"/>
                        <a:pt x="19835" y="14161"/>
                      </a:cubicBezTo>
                      <a:cubicBezTo>
                        <a:pt x="19799" y="14161"/>
                        <a:pt x="19676" y="14189"/>
                        <a:pt x="19464" y="14245"/>
                      </a:cubicBezTo>
                      <a:lnTo>
                        <a:pt x="19151" y="14325"/>
                      </a:lnTo>
                      <a:cubicBezTo>
                        <a:pt x="19142" y="14325"/>
                        <a:pt x="19134" y="14321"/>
                        <a:pt x="19126" y="14313"/>
                      </a:cubicBezTo>
                      <a:cubicBezTo>
                        <a:pt x="19135" y="14286"/>
                        <a:pt x="19163" y="14252"/>
                        <a:pt x="19207" y="14210"/>
                      </a:cubicBezTo>
                      <a:cubicBezTo>
                        <a:pt x="19244" y="14173"/>
                        <a:pt x="19263" y="14135"/>
                        <a:pt x="19263" y="14096"/>
                      </a:cubicBezTo>
                      <a:cubicBezTo>
                        <a:pt x="19263" y="14085"/>
                        <a:pt x="19255" y="14073"/>
                        <a:pt x="19241" y="14058"/>
                      </a:cubicBezTo>
                      <a:cubicBezTo>
                        <a:pt x="19228" y="14046"/>
                        <a:pt x="19217" y="14040"/>
                        <a:pt x="19210" y="14040"/>
                      </a:cubicBezTo>
                      <a:cubicBezTo>
                        <a:pt x="19186" y="14048"/>
                        <a:pt x="19169" y="14052"/>
                        <a:pt x="19160" y="14052"/>
                      </a:cubicBezTo>
                      <a:lnTo>
                        <a:pt x="18995" y="14058"/>
                      </a:lnTo>
                      <a:cubicBezTo>
                        <a:pt x="18967" y="14058"/>
                        <a:pt x="18923" y="14064"/>
                        <a:pt x="18861" y="14074"/>
                      </a:cubicBezTo>
                      <a:cubicBezTo>
                        <a:pt x="18798" y="14084"/>
                        <a:pt x="18761" y="14090"/>
                        <a:pt x="18750" y="14093"/>
                      </a:cubicBezTo>
                      <a:cubicBezTo>
                        <a:pt x="18491" y="13805"/>
                        <a:pt x="18362" y="13633"/>
                        <a:pt x="18362" y="13577"/>
                      </a:cubicBezTo>
                      <a:cubicBezTo>
                        <a:pt x="18362" y="13513"/>
                        <a:pt x="18360" y="13473"/>
                        <a:pt x="18356" y="13456"/>
                      </a:cubicBezTo>
                      <a:cubicBezTo>
                        <a:pt x="18345" y="13405"/>
                        <a:pt x="18316" y="13379"/>
                        <a:pt x="18267" y="13379"/>
                      </a:cubicBezTo>
                      <a:cubicBezTo>
                        <a:pt x="18243" y="13379"/>
                        <a:pt x="18211" y="13395"/>
                        <a:pt x="18170" y="13429"/>
                      </a:cubicBezTo>
                      <a:cubicBezTo>
                        <a:pt x="18129" y="13460"/>
                        <a:pt x="18097" y="13475"/>
                        <a:pt x="18075" y="13475"/>
                      </a:cubicBezTo>
                      <a:cubicBezTo>
                        <a:pt x="18064" y="13471"/>
                        <a:pt x="18056" y="13469"/>
                        <a:pt x="18053" y="13469"/>
                      </a:cubicBezTo>
                      <a:cubicBezTo>
                        <a:pt x="18054" y="13444"/>
                        <a:pt x="18073" y="13377"/>
                        <a:pt x="18108" y="13267"/>
                      </a:cubicBezTo>
                      <a:cubicBezTo>
                        <a:pt x="18140" y="13162"/>
                        <a:pt x="18156" y="13096"/>
                        <a:pt x="18156" y="13069"/>
                      </a:cubicBezTo>
                      <a:cubicBezTo>
                        <a:pt x="18156" y="13050"/>
                        <a:pt x="18149" y="13000"/>
                        <a:pt x="18136" y="12920"/>
                      </a:cubicBezTo>
                      <a:cubicBezTo>
                        <a:pt x="18123" y="12835"/>
                        <a:pt x="18114" y="12786"/>
                        <a:pt x="18108" y="12774"/>
                      </a:cubicBezTo>
                      <a:cubicBezTo>
                        <a:pt x="18099" y="12759"/>
                        <a:pt x="18068" y="12737"/>
                        <a:pt x="18016" y="12706"/>
                      </a:cubicBezTo>
                      <a:cubicBezTo>
                        <a:pt x="17966" y="12679"/>
                        <a:pt x="17935" y="12665"/>
                        <a:pt x="17924" y="12665"/>
                      </a:cubicBezTo>
                      <a:cubicBezTo>
                        <a:pt x="17878" y="12665"/>
                        <a:pt x="17824" y="12710"/>
                        <a:pt x="17763" y="12799"/>
                      </a:cubicBezTo>
                      <a:cubicBezTo>
                        <a:pt x="17701" y="12888"/>
                        <a:pt x="17665" y="12932"/>
                        <a:pt x="17654" y="12932"/>
                      </a:cubicBezTo>
                      <a:cubicBezTo>
                        <a:pt x="17643" y="12932"/>
                        <a:pt x="17617" y="12903"/>
                        <a:pt x="17578" y="12845"/>
                      </a:cubicBezTo>
                      <a:cubicBezTo>
                        <a:pt x="17539" y="12785"/>
                        <a:pt x="17498" y="12755"/>
                        <a:pt x="17456" y="12755"/>
                      </a:cubicBezTo>
                      <a:cubicBezTo>
                        <a:pt x="17329" y="12790"/>
                        <a:pt x="17233" y="12816"/>
                        <a:pt x="17166" y="12833"/>
                      </a:cubicBezTo>
                      <a:lnTo>
                        <a:pt x="17129" y="12833"/>
                      </a:lnTo>
                      <a:cubicBezTo>
                        <a:pt x="17137" y="12825"/>
                        <a:pt x="17143" y="12816"/>
                        <a:pt x="17149" y="12808"/>
                      </a:cubicBezTo>
                      <a:cubicBezTo>
                        <a:pt x="17169" y="12785"/>
                        <a:pt x="17203" y="12748"/>
                        <a:pt x="17249" y="12696"/>
                      </a:cubicBezTo>
                      <a:cubicBezTo>
                        <a:pt x="17309" y="12630"/>
                        <a:pt x="17370" y="12586"/>
                        <a:pt x="17433" y="12563"/>
                      </a:cubicBezTo>
                      <a:cubicBezTo>
                        <a:pt x="17441" y="12561"/>
                        <a:pt x="17506" y="12555"/>
                        <a:pt x="17629" y="12544"/>
                      </a:cubicBezTo>
                      <a:cubicBezTo>
                        <a:pt x="17720" y="12536"/>
                        <a:pt x="17779" y="12507"/>
                        <a:pt x="17807" y="12457"/>
                      </a:cubicBezTo>
                      <a:cubicBezTo>
                        <a:pt x="17818" y="12435"/>
                        <a:pt x="17875" y="12330"/>
                        <a:pt x="17977" y="12144"/>
                      </a:cubicBezTo>
                      <a:cubicBezTo>
                        <a:pt x="18072" y="11958"/>
                        <a:pt x="18119" y="11842"/>
                        <a:pt x="18119" y="11797"/>
                      </a:cubicBezTo>
                      <a:cubicBezTo>
                        <a:pt x="18119" y="11741"/>
                        <a:pt x="18099" y="11695"/>
                        <a:pt x="18058" y="11660"/>
                      </a:cubicBezTo>
                      <a:cubicBezTo>
                        <a:pt x="18015" y="11623"/>
                        <a:pt x="17994" y="11598"/>
                        <a:pt x="17994" y="11586"/>
                      </a:cubicBezTo>
                      <a:cubicBezTo>
                        <a:pt x="18013" y="11557"/>
                        <a:pt x="18022" y="11535"/>
                        <a:pt x="18022" y="11520"/>
                      </a:cubicBezTo>
                      <a:cubicBezTo>
                        <a:pt x="18022" y="11483"/>
                        <a:pt x="17976" y="11441"/>
                        <a:pt x="17885" y="11393"/>
                      </a:cubicBezTo>
                      <a:cubicBezTo>
                        <a:pt x="17802" y="11350"/>
                        <a:pt x="17740" y="11328"/>
                        <a:pt x="17701" y="11328"/>
                      </a:cubicBezTo>
                      <a:cubicBezTo>
                        <a:pt x="17640" y="11324"/>
                        <a:pt x="17593" y="11322"/>
                        <a:pt x="17562" y="11322"/>
                      </a:cubicBezTo>
                      <a:lnTo>
                        <a:pt x="17397" y="11316"/>
                      </a:lnTo>
                      <a:cubicBezTo>
                        <a:pt x="17237" y="11316"/>
                        <a:pt x="17065" y="11404"/>
                        <a:pt x="16881" y="11579"/>
                      </a:cubicBezTo>
                      <a:cubicBezTo>
                        <a:pt x="16690" y="11792"/>
                        <a:pt x="16551" y="11938"/>
                        <a:pt x="16466" y="12017"/>
                      </a:cubicBezTo>
                      <a:cubicBezTo>
                        <a:pt x="16442" y="12038"/>
                        <a:pt x="16381" y="12102"/>
                        <a:pt x="16284" y="12209"/>
                      </a:cubicBezTo>
                      <a:cubicBezTo>
                        <a:pt x="16193" y="12308"/>
                        <a:pt x="16119" y="12382"/>
                        <a:pt x="16061" y="12429"/>
                      </a:cubicBezTo>
                      <a:cubicBezTo>
                        <a:pt x="15961" y="12510"/>
                        <a:pt x="15878" y="12603"/>
                        <a:pt x="15813" y="12709"/>
                      </a:cubicBezTo>
                      <a:cubicBezTo>
                        <a:pt x="15778" y="12767"/>
                        <a:pt x="15741" y="12847"/>
                        <a:pt x="15701" y="12951"/>
                      </a:cubicBezTo>
                      <a:cubicBezTo>
                        <a:pt x="15605" y="13019"/>
                        <a:pt x="15544" y="13085"/>
                        <a:pt x="15517" y="13149"/>
                      </a:cubicBezTo>
                      <a:cubicBezTo>
                        <a:pt x="15499" y="13234"/>
                        <a:pt x="15474" y="13309"/>
                        <a:pt x="15442" y="13373"/>
                      </a:cubicBezTo>
                      <a:cubicBezTo>
                        <a:pt x="15414" y="13426"/>
                        <a:pt x="15386" y="13504"/>
                        <a:pt x="15358" y="13605"/>
                      </a:cubicBezTo>
                      <a:cubicBezTo>
                        <a:pt x="15344" y="13663"/>
                        <a:pt x="15321" y="13749"/>
                        <a:pt x="15292" y="13863"/>
                      </a:cubicBezTo>
                      <a:cubicBezTo>
                        <a:pt x="15275" y="13917"/>
                        <a:pt x="15239" y="14007"/>
                        <a:pt x="15186" y="14133"/>
                      </a:cubicBezTo>
                      <a:cubicBezTo>
                        <a:pt x="15128" y="14263"/>
                        <a:pt x="15089" y="14358"/>
                        <a:pt x="15068" y="14418"/>
                      </a:cubicBezTo>
                      <a:cubicBezTo>
                        <a:pt x="14964" y="14716"/>
                        <a:pt x="14866" y="14894"/>
                        <a:pt x="14773" y="14952"/>
                      </a:cubicBezTo>
                      <a:cubicBezTo>
                        <a:pt x="14763" y="14931"/>
                        <a:pt x="14759" y="14915"/>
                        <a:pt x="14759" y="14902"/>
                      </a:cubicBezTo>
                      <a:cubicBezTo>
                        <a:pt x="14932" y="14495"/>
                        <a:pt x="15020" y="14288"/>
                        <a:pt x="15024" y="14282"/>
                      </a:cubicBezTo>
                      <a:cubicBezTo>
                        <a:pt x="15063" y="14216"/>
                        <a:pt x="15092" y="14140"/>
                        <a:pt x="15110" y="14055"/>
                      </a:cubicBezTo>
                      <a:cubicBezTo>
                        <a:pt x="15129" y="13960"/>
                        <a:pt x="15146" y="13886"/>
                        <a:pt x="15160" y="13832"/>
                      </a:cubicBezTo>
                      <a:lnTo>
                        <a:pt x="15166" y="13677"/>
                      </a:lnTo>
                      <a:cubicBezTo>
                        <a:pt x="15166" y="13606"/>
                        <a:pt x="15159" y="13556"/>
                        <a:pt x="15144" y="13525"/>
                      </a:cubicBezTo>
                      <a:lnTo>
                        <a:pt x="15121" y="13475"/>
                      </a:lnTo>
                      <a:cubicBezTo>
                        <a:pt x="15121" y="13459"/>
                        <a:pt x="15141" y="13424"/>
                        <a:pt x="15180" y="13373"/>
                      </a:cubicBezTo>
                      <a:cubicBezTo>
                        <a:pt x="15199" y="13346"/>
                        <a:pt x="15223" y="13314"/>
                        <a:pt x="15253" y="13277"/>
                      </a:cubicBezTo>
                      <a:cubicBezTo>
                        <a:pt x="15262" y="13262"/>
                        <a:pt x="15283" y="13226"/>
                        <a:pt x="15317" y="13168"/>
                      </a:cubicBezTo>
                      <a:cubicBezTo>
                        <a:pt x="15348" y="13110"/>
                        <a:pt x="15367" y="13057"/>
                        <a:pt x="15372" y="13010"/>
                      </a:cubicBezTo>
                      <a:cubicBezTo>
                        <a:pt x="15380" y="12939"/>
                        <a:pt x="15405" y="12833"/>
                        <a:pt x="15448" y="12690"/>
                      </a:cubicBezTo>
                      <a:cubicBezTo>
                        <a:pt x="15492" y="12545"/>
                        <a:pt x="15519" y="12454"/>
                        <a:pt x="15529" y="12417"/>
                      </a:cubicBezTo>
                      <a:cubicBezTo>
                        <a:pt x="15551" y="12328"/>
                        <a:pt x="15584" y="12239"/>
                        <a:pt x="15629" y="12150"/>
                      </a:cubicBezTo>
                      <a:cubicBezTo>
                        <a:pt x="15679" y="12049"/>
                        <a:pt x="15728" y="11987"/>
                        <a:pt x="15774" y="11964"/>
                      </a:cubicBezTo>
                      <a:cubicBezTo>
                        <a:pt x="15821" y="11939"/>
                        <a:pt x="15909" y="11897"/>
                        <a:pt x="16039" y="11837"/>
                      </a:cubicBezTo>
                      <a:cubicBezTo>
                        <a:pt x="16145" y="11777"/>
                        <a:pt x="16198" y="11721"/>
                        <a:pt x="16198" y="11669"/>
                      </a:cubicBezTo>
                      <a:cubicBezTo>
                        <a:pt x="16198" y="11636"/>
                        <a:pt x="16194" y="11602"/>
                        <a:pt x="16187" y="11567"/>
                      </a:cubicBezTo>
                      <a:cubicBezTo>
                        <a:pt x="16177" y="11530"/>
                        <a:pt x="16173" y="11493"/>
                        <a:pt x="16173" y="11458"/>
                      </a:cubicBezTo>
                      <a:lnTo>
                        <a:pt x="16192" y="11232"/>
                      </a:lnTo>
                      <a:cubicBezTo>
                        <a:pt x="16192" y="11226"/>
                        <a:pt x="16193" y="11219"/>
                        <a:pt x="16195" y="11213"/>
                      </a:cubicBezTo>
                      <a:cubicBezTo>
                        <a:pt x="16204" y="11176"/>
                        <a:pt x="16215" y="11134"/>
                        <a:pt x="16226" y="11086"/>
                      </a:cubicBezTo>
                      <a:cubicBezTo>
                        <a:pt x="16244" y="10989"/>
                        <a:pt x="16257" y="10922"/>
                        <a:pt x="16265" y="10884"/>
                      </a:cubicBezTo>
                      <a:cubicBezTo>
                        <a:pt x="16267" y="10868"/>
                        <a:pt x="16282" y="10854"/>
                        <a:pt x="16309" y="10844"/>
                      </a:cubicBezTo>
                      <a:cubicBezTo>
                        <a:pt x="16348" y="10827"/>
                        <a:pt x="16372" y="10816"/>
                        <a:pt x="16379" y="10810"/>
                      </a:cubicBezTo>
                      <a:cubicBezTo>
                        <a:pt x="16405" y="10787"/>
                        <a:pt x="16418" y="10765"/>
                        <a:pt x="16418" y="10745"/>
                      </a:cubicBezTo>
                      <a:cubicBezTo>
                        <a:pt x="16413" y="10722"/>
                        <a:pt x="16410" y="10704"/>
                        <a:pt x="16410" y="10692"/>
                      </a:cubicBezTo>
                      <a:cubicBezTo>
                        <a:pt x="16410" y="10669"/>
                        <a:pt x="16443" y="10639"/>
                        <a:pt x="16510" y="10602"/>
                      </a:cubicBezTo>
                      <a:cubicBezTo>
                        <a:pt x="16548" y="10579"/>
                        <a:pt x="16607" y="10546"/>
                        <a:pt x="16689" y="10503"/>
                      </a:cubicBezTo>
                      <a:cubicBezTo>
                        <a:pt x="16799" y="10430"/>
                        <a:pt x="16920" y="10380"/>
                        <a:pt x="17054" y="10351"/>
                      </a:cubicBezTo>
                      <a:cubicBezTo>
                        <a:pt x="17279" y="10303"/>
                        <a:pt x="17501" y="10216"/>
                        <a:pt x="17721" y="10090"/>
                      </a:cubicBezTo>
                      <a:cubicBezTo>
                        <a:pt x="17767" y="10061"/>
                        <a:pt x="17855" y="10020"/>
                        <a:pt x="17986" y="9966"/>
                      </a:cubicBezTo>
                      <a:cubicBezTo>
                        <a:pt x="18110" y="9916"/>
                        <a:pt x="18207" y="9869"/>
                        <a:pt x="18276" y="9823"/>
                      </a:cubicBezTo>
                      <a:cubicBezTo>
                        <a:pt x="18322" y="9792"/>
                        <a:pt x="18422" y="9739"/>
                        <a:pt x="18577" y="9665"/>
                      </a:cubicBezTo>
                      <a:cubicBezTo>
                        <a:pt x="18742" y="9582"/>
                        <a:pt x="18839" y="9541"/>
                        <a:pt x="18867" y="9541"/>
                      </a:cubicBezTo>
                      <a:cubicBezTo>
                        <a:pt x="18897" y="9541"/>
                        <a:pt x="18918" y="9558"/>
                        <a:pt x="18931" y="9594"/>
                      </a:cubicBezTo>
                      <a:cubicBezTo>
                        <a:pt x="18942" y="9627"/>
                        <a:pt x="18953" y="9643"/>
                        <a:pt x="18964" y="9643"/>
                      </a:cubicBezTo>
                      <a:cubicBezTo>
                        <a:pt x="18987" y="9643"/>
                        <a:pt x="19070" y="9585"/>
                        <a:pt x="19213" y="9469"/>
                      </a:cubicBezTo>
                      <a:cubicBezTo>
                        <a:pt x="19308" y="9391"/>
                        <a:pt x="19391" y="9320"/>
                        <a:pt x="19464" y="9255"/>
                      </a:cubicBezTo>
                      <a:cubicBezTo>
                        <a:pt x="19531" y="9189"/>
                        <a:pt x="19573" y="9125"/>
                        <a:pt x="19592" y="9063"/>
                      </a:cubicBezTo>
                      <a:cubicBezTo>
                        <a:pt x="19596" y="9032"/>
                        <a:pt x="19601" y="9004"/>
                        <a:pt x="19609" y="8979"/>
                      </a:cubicBezTo>
                      <a:cubicBezTo>
                        <a:pt x="19622" y="8930"/>
                        <a:pt x="19640" y="8905"/>
                        <a:pt x="19665" y="8905"/>
                      </a:cubicBezTo>
                      <a:cubicBezTo>
                        <a:pt x="19692" y="8905"/>
                        <a:pt x="19707" y="8937"/>
                        <a:pt x="19709" y="9001"/>
                      </a:cubicBezTo>
                      <a:cubicBezTo>
                        <a:pt x="19709" y="9065"/>
                        <a:pt x="19724" y="9097"/>
                        <a:pt x="19754" y="9097"/>
                      </a:cubicBezTo>
                      <a:cubicBezTo>
                        <a:pt x="19817" y="9097"/>
                        <a:pt x="19867" y="9025"/>
                        <a:pt x="19904" y="8880"/>
                      </a:cubicBezTo>
                      <a:cubicBezTo>
                        <a:pt x="19923" y="8812"/>
                        <a:pt x="19937" y="8733"/>
                        <a:pt x="19946" y="8644"/>
                      </a:cubicBezTo>
                      <a:cubicBezTo>
                        <a:pt x="19950" y="8561"/>
                        <a:pt x="19957" y="8491"/>
                        <a:pt x="19968" y="8433"/>
                      </a:cubicBezTo>
                      <a:cubicBezTo>
                        <a:pt x="19976" y="8386"/>
                        <a:pt x="19980" y="8338"/>
                        <a:pt x="19980" y="8290"/>
                      </a:cubicBezTo>
                      <a:lnTo>
                        <a:pt x="19982" y="8222"/>
                      </a:lnTo>
                      <a:cubicBezTo>
                        <a:pt x="19992" y="8154"/>
                        <a:pt x="20000" y="8102"/>
                        <a:pt x="20008" y="8067"/>
                      </a:cubicBezTo>
                      <a:cubicBezTo>
                        <a:pt x="20019" y="8001"/>
                        <a:pt x="20030" y="7955"/>
                        <a:pt x="20041" y="7931"/>
                      </a:cubicBezTo>
                      <a:cubicBezTo>
                        <a:pt x="20076" y="7852"/>
                        <a:pt x="20111" y="7767"/>
                        <a:pt x="20144" y="7676"/>
                      </a:cubicBezTo>
                      <a:cubicBezTo>
                        <a:pt x="20163" y="7620"/>
                        <a:pt x="20219" y="7556"/>
                        <a:pt x="20312" y="7484"/>
                      </a:cubicBezTo>
                      <a:cubicBezTo>
                        <a:pt x="20421" y="7399"/>
                        <a:pt x="20485" y="7344"/>
                        <a:pt x="20504" y="7319"/>
                      </a:cubicBezTo>
                      <a:cubicBezTo>
                        <a:pt x="20563" y="7232"/>
                        <a:pt x="20615" y="7182"/>
                        <a:pt x="20660" y="7167"/>
                      </a:cubicBezTo>
                      <a:cubicBezTo>
                        <a:pt x="20675" y="7161"/>
                        <a:pt x="20707" y="7152"/>
                        <a:pt x="20755" y="7139"/>
                      </a:cubicBezTo>
                      <a:cubicBezTo>
                        <a:pt x="20761" y="7137"/>
                        <a:pt x="20766" y="7135"/>
                        <a:pt x="20772" y="7133"/>
                      </a:cubicBezTo>
                      <a:cubicBezTo>
                        <a:pt x="20822" y="7114"/>
                        <a:pt x="20852" y="7092"/>
                        <a:pt x="20861" y="7065"/>
                      </a:cubicBezTo>
                      <a:cubicBezTo>
                        <a:pt x="20868" y="7042"/>
                        <a:pt x="20898" y="6998"/>
                        <a:pt x="20950" y="6931"/>
                      </a:cubicBezTo>
                      <a:cubicBezTo>
                        <a:pt x="20993" y="6874"/>
                        <a:pt x="21014" y="6819"/>
                        <a:pt x="21014" y="6767"/>
                      </a:cubicBezTo>
                      <a:cubicBezTo>
                        <a:pt x="21003" y="6709"/>
                        <a:pt x="20998" y="6665"/>
                        <a:pt x="20998" y="6634"/>
                      </a:cubicBezTo>
                      <a:cubicBezTo>
                        <a:pt x="21107" y="6298"/>
                        <a:pt x="21162" y="6103"/>
                        <a:pt x="21162" y="6047"/>
                      </a:cubicBezTo>
                      <a:cubicBezTo>
                        <a:pt x="21162" y="5979"/>
                        <a:pt x="21123" y="5945"/>
                        <a:pt x="21045" y="5945"/>
                      </a:cubicBezTo>
                      <a:cubicBezTo>
                        <a:pt x="20967" y="5945"/>
                        <a:pt x="20928" y="5926"/>
                        <a:pt x="20928" y="5889"/>
                      </a:cubicBezTo>
                      <a:cubicBezTo>
                        <a:pt x="20928" y="5872"/>
                        <a:pt x="20946" y="5857"/>
                        <a:pt x="20984" y="5842"/>
                      </a:cubicBezTo>
                      <a:cubicBezTo>
                        <a:pt x="21034" y="5824"/>
                        <a:pt x="21069" y="5805"/>
                        <a:pt x="21090" y="5787"/>
                      </a:cubicBezTo>
                      <a:lnTo>
                        <a:pt x="21090" y="5756"/>
                      </a:lnTo>
                      <a:cubicBezTo>
                        <a:pt x="21082" y="5753"/>
                        <a:pt x="21073" y="5748"/>
                        <a:pt x="21062" y="5740"/>
                      </a:cubicBezTo>
                      <a:cubicBezTo>
                        <a:pt x="21052" y="5732"/>
                        <a:pt x="21042" y="5728"/>
                        <a:pt x="21031" y="5728"/>
                      </a:cubicBezTo>
                      <a:cubicBezTo>
                        <a:pt x="20983" y="5742"/>
                        <a:pt x="20941" y="5749"/>
                        <a:pt x="20906" y="5749"/>
                      </a:cubicBezTo>
                      <a:cubicBezTo>
                        <a:pt x="20872" y="5749"/>
                        <a:pt x="20850" y="5744"/>
                        <a:pt x="20839" y="5734"/>
                      </a:cubicBezTo>
                      <a:cubicBezTo>
                        <a:pt x="20829" y="5726"/>
                        <a:pt x="20823" y="5707"/>
                        <a:pt x="20819" y="5678"/>
                      </a:cubicBezTo>
                      <a:cubicBezTo>
                        <a:pt x="20836" y="5678"/>
                        <a:pt x="20855" y="5669"/>
                        <a:pt x="20878" y="5650"/>
                      </a:cubicBezTo>
                      <a:cubicBezTo>
                        <a:pt x="20900" y="5631"/>
                        <a:pt x="20911" y="5614"/>
                        <a:pt x="20911" y="5597"/>
                      </a:cubicBezTo>
                      <a:cubicBezTo>
                        <a:pt x="20911" y="5570"/>
                        <a:pt x="20877" y="5548"/>
                        <a:pt x="20808" y="5529"/>
                      </a:cubicBezTo>
                      <a:cubicBezTo>
                        <a:pt x="20739" y="5510"/>
                        <a:pt x="20705" y="5481"/>
                        <a:pt x="20705" y="5442"/>
                      </a:cubicBezTo>
                      <a:cubicBezTo>
                        <a:pt x="20705" y="5432"/>
                        <a:pt x="20712" y="5416"/>
                        <a:pt x="20727" y="5396"/>
                      </a:cubicBezTo>
                      <a:cubicBezTo>
                        <a:pt x="20740" y="5375"/>
                        <a:pt x="20747" y="5358"/>
                        <a:pt x="20747" y="5346"/>
                      </a:cubicBezTo>
                      <a:cubicBezTo>
                        <a:pt x="20747" y="5327"/>
                        <a:pt x="20733" y="5309"/>
                        <a:pt x="20705" y="5290"/>
                      </a:cubicBezTo>
                      <a:cubicBezTo>
                        <a:pt x="20675" y="5269"/>
                        <a:pt x="20643" y="5259"/>
                        <a:pt x="20610" y="5259"/>
                      </a:cubicBezTo>
                      <a:cubicBezTo>
                        <a:pt x="20586" y="5259"/>
                        <a:pt x="20564" y="5272"/>
                        <a:pt x="20546" y="5296"/>
                      </a:cubicBezTo>
                      <a:cubicBezTo>
                        <a:pt x="20529" y="5321"/>
                        <a:pt x="20515" y="5334"/>
                        <a:pt x="20504" y="5334"/>
                      </a:cubicBezTo>
                      <a:cubicBezTo>
                        <a:pt x="20413" y="5298"/>
                        <a:pt x="20367" y="5268"/>
                        <a:pt x="20367" y="5244"/>
                      </a:cubicBezTo>
                      <a:cubicBezTo>
                        <a:pt x="20367" y="5227"/>
                        <a:pt x="20413" y="5203"/>
                        <a:pt x="20504" y="5172"/>
                      </a:cubicBezTo>
                      <a:cubicBezTo>
                        <a:pt x="20593" y="5139"/>
                        <a:pt x="20638" y="5097"/>
                        <a:pt x="20638" y="5045"/>
                      </a:cubicBezTo>
                      <a:cubicBezTo>
                        <a:pt x="20638" y="5020"/>
                        <a:pt x="20617" y="4996"/>
                        <a:pt x="20576" y="4974"/>
                      </a:cubicBezTo>
                      <a:cubicBezTo>
                        <a:pt x="20528" y="4951"/>
                        <a:pt x="20495" y="4933"/>
                        <a:pt x="20476" y="4921"/>
                      </a:cubicBezTo>
                      <a:cubicBezTo>
                        <a:pt x="20463" y="4913"/>
                        <a:pt x="20444" y="4880"/>
                        <a:pt x="20420" y="4822"/>
                      </a:cubicBezTo>
                      <a:cubicBezTo>
                        <a:pt x="20400" y="4776"/>
                        <a:pt x="20372" y="4753"/>
                        <a:pt x="20337" y="4753"/>
                      </a:cubicBezTo>
                      <a:cubicBezTo>
                        <a:pt x="20333" y="4753"/>
                        <a:pt x="20319" y="4760"/>
                        <a:pt x="20295" y="4772"/>
                      </a:cubicBezTo>
                      <a:cubicBezTo>
                        <a:pt x="20269" y="4786"/>
                        <a:pt x="20253" y="4796"/>
                        <a:pt x="20247" y="4800"/>
                      </a:cubicBezTo>
                      <a:cubicBezTo>
                        <a:pt x="20229" y="4810"/>
                        <a:pt x="20195" y="4824"/>
                        <a:pt x="20147" y="4840"/>
                      </a:cubicBezTo>
                      <a:cubicBezTo>
                        <a:pt x="20095" y="4859"/>
                        <a:pt x="20069" y="4864"/>
                        <a:pt x="20069" y="4856"/>
                      </a:cubicBezTo>
                      <a:cubicBezTo>
                        <a:pt x="20041" y="4856"/>
                        <a:pt x="20019" y="4838"/>
                        <a:pt x="20002" y="4803"/>
                      </a:cubicBezTo>
                      <a:cubicBezTo>
                        <a:pt x="19985" y="4766"/>
                        <a:pt x="19969" y="4747"/>
                        <a:pt x="19955" y="4747"/>
                      </a:cubicBezTo>
                      <a:cubicBezTo>
                        <a:pt x="19917" y="4747"/>
                        <a:pt x="19883" y="4775"/>
                        <a:pt x="19851" y="4831"/>
                      </a:cubicBezTo>
                      <a:cubicBezTo>
                        <a:pt x="19822" y="4883"/>
                        <a:pt x="19807" y="4934"/>
                        <a:pt x="19807" y="4986"/>
                      </a:cubicBezTo>
                      <a:lnTo>
                        <a:pt x="19818" y="5188"/>
                      </a:lnTo>
                      <a:cubicBezTo>
                        <a:pt x="19818" y="5198"/>
                        <a:pt x="19814" y="5236"/>
                        <a:pt x="19807" y="5303"/>
                      </a:cubicBezTo>
                      <a:lnTo>
                        <a:pt x="19796" y="5303"/>
                      </a:lnTo>
                      <a:cubicBezTo>
                        <a:pt x="19701" y="5160"/>
                        <a:pt x="19653" y="5079"/>
                        <a:pt x="19653" y="5061"/>
                      </a:cubicBezTo>
                      <a:lnTo>
                        <a:pt x="19665" y="4964"/>
                      </a:lnTo>
                      <a:cubicBezTo>
                        <a:pt x="19665" y="4929"/>
                        <a:pt x="19652" y="4897"/>
                        <a:pt x="19628" y="4868"/>
                      </a:cubicBezTo>
                      <a:cubicBezTo>
                        <a:pt x="19587" y="4816"/>
                        <a:pt x="19565" y="4787"/>
                        <a:pt x="19561" y="4781"/>
                      </a:cubicBezTo>
                      <a:cubicBezTo>
                        <a:pt x="19504" y="4641"/>
                        <a:pt x="19465" y="4570"/>
                        <a:pt x="19444" y="4570"/>
                      </a:cubicBezTo>
                      <a:cubicBezTo>
                        <a:pt x="19433" y="4570"/>
                        <a:pt x="19405" y="4586"/>
                        <a:pt x="19360" y="4617"/>
                      </a:cubicBezTo>
                      <a:cubicBezTo>
                        <a:pt x="19314" y="4650"/>
                        <a:pt x="19280" y="4669"/>
                        <a:pt x="19257" y="4673"/>
                      </a:cubicBezTo>
                      <a:cubicBezTo>
                        <a:pt x="19254" y="4673"/>
                        <a:pt x="19215" y="4696"/>
                        <a:pt x="19140" y="4744"/>
                      </a:cubicBezTo>
                      <a:cubicBezTo>
                        <a:pt x="19064" y="4792"/>
                        <a:pt x="19023" y="4821"/>
                        <a:pt x="19018" y="4831"/>
                      </a:cubicBezTo>
                      <a:lnTo>
                        <a:pt x="19034" y="4831"/>
                      </a:lnTo>
                      <a:cubicBezTo>
                        <a:pt x="19053" y="4831"/>
                        <a:pt x="19080" y="4824"/>
                        <a:pt x="19115" y="4809"/>
                      </a:cubicBezTo>
                      <a:cubicBezTo>
                        <a:pt x="19150" y="4795"/>
                        <a:pt x="19176" y="4787"/>
                        <a:pt x="19193" y="4787"/>
                      </a:cubicBezTo>
                      <a:cubicBezTo>
                        <a:pt x="19221" y="4787"/>
                        <a:pt x="19235" y="4799"/>
                        <a:pt x="19235" y="4822"/>
                      </a:cubicBezTo>
                      <a:cubicBezTo>
                        <a:pt x="19235" y="4846"/>
                        <a:pt x="19185" y="4875"/>
                        <a:pt x="19084" y="4908"/>
                      </a:cubicBezTo>
                      <a:cubicBezTo>
                        <a:pt x="19006" y="4946"/>
                        <a:pt x="18951" y="4984"/>
                        <a:pt x="18920" y="5023"/>
                      </a:cubicBezTo>
                      <a:lnTo>
                        <a:pt x="18741" y="5467"/>
                      </a:lnTo>
                      <a:cubicBezTo>
                        <a:pt x="18622" y="5626"/>
                        <a:pt x="18555" y="5761"/>
                        <a:pt x="18541" y="5870"/>
                      </a:cubicBezTo>
                      <a:cubicBezTo>
                        <a:pt x="18529" y="5945"/>
                        <a:pt x="18515" y="6014"/>
                        <a:pt x="18496" y="6078"/>
                      </a:cubicBezTo>
                      <a:cubicBezTo>
                        <a:pt x="18464" y="6186"/>
                        <a:pt x="18429" y="6240"/>
                        <a:pt x="18390" y="6240"/>
                      </a:cubicBezTo>
                      <a:cubicBezTo>
                        <a:pt x="18379" y="6240"/>
                        <a:pt x="18355" y="6197"/>
                        <a:pt x="18317" y="6112"/>
                      </a:cubicBezTo>
                      <a:cubicBezTo>
                        <a:pt x="18278" y="6025"/>
                        <a:pt x="18229" y="5982"/>
                        <a:pt x="18170" y="5982"/>
                      </a:cubicBezTo>
                      <a:cubicBezTo>
                        <a:pt x="18144" y="5982"/>
                        <a:pt x="18100" y="5998"/>
                        <a:pt x="18039" y="6029"/>
                      </a:cubicBezTo>
                      <a:cubicBezTo>
                        <a:pt x="17977" y="6058"/>
                        <a:pt x="17927" y="6072"/>
                        <a:pt x="17888" y="6072"/>
                      </a:cubicBezTo>
                      <a:cubicBezTo>
                        <a:pt x="17832" y="6072"/>
                        <a:pt x="17804" y="6055"/>
                        <a:pt x="17804" y="6022"/>
                      </a:cubicBezTo>
                      <a:cubicBezTo>
                        <a:pt x="17804" y="5973"/>
                        <a:pt x="17839" y="5930"/>
                        <a:pt x="17908" y="5895"/>
                      </a:cubicBezTo>
                      <a:cubicBezTo>
                        <a:pt x="17967" y="5864"/>
                        <a:pt x="18024" y="5849"/>
                        <a:pt x="18078" y="5849"/>
                      </a:cubicBezTo>
                      <a:lnTo>
                        <a:pt x="18220" y="5870"/>
                      </a:lnTo>
                      <a:cubicBezTo>
                        <a:pt x="18270" y="5870"/>
                        <a:pt x="18302" y="5851"/>
                        <a:pt x="18315" y="5811"/>
                      </a:cubicBezTo>
                      <a:cubicBezTo>
                        <a:pt x="18320" y="5797"/>
                        <a:pt x="18326" y="5748"/>
                        <a:pt x="18331" y="5666"/>
                      </a:cubicBezTo>
                      <a:cubicBezTo>
                        <a:pt x="18335" y="5612"/>
                        <a:pt x="18351" y="5576"/>
                        <a:pt x="18379" y="5557"/>
                      </a:cubicBezTo>
                      <a:cubicBezTo>
                        <a:pt x="18396" y="5547"/>
                        <a:pt x="18423" y="5534"/>
                        <a:pt x="18462" y="5520"/>
                      </a:cubicBezTo>
                      <a:cubicBezTo>
                        <a:pt x="18535" y="5474"/>
                        <a:pt x="18595" y="5413"/>
                        <a:pt x="18644" y="5337"/>
                      </a:cubicBezTo>
                      <a:cubicBezTo>
                        <a:pt x="18673" y="5289"/>
                        <a:pt x="18724" y="5201"/>
                        <a:pt x="18794" y="5073"/>
                      </a:cubicBezTo>
                      <a:lnTo>
                        <a:pt x="18794" y="5030"/>
                      </a:lnTo>
                      <a:cubicBezTo>
                        <a:pt x="18750" y="5044"/>
                        <a:pt x="18696" y="5094"/>
                        <a:pt x="18633" y="5178"/>
                      </a:cubicBezTo>
                      <a:cubicBezTo>
                        <a:pt x="18573" y="5257"/>
                        <a:pt x="18530" y="5296"/>
                        <a:pt x="18504" y="5296"/>
                      </a:cubicBezTo>
                      <a:lnTo>
                        <a:pt x="18490" y="5296"/>
                      </a:lnTo>
                      <a:cubicBezTo>
                        <a:pt x="18487" y="5288"/>
                        <a:pt x="18485" y="5279"/>
                        <a:pt x="18485" y="5268"/>
                      </a:cubicBezTo>
                      <a:cubicBezTo>
                        <a:pt x="18485" y="5239"/>
                        <a:pt x="18530" y="5182"/>
                        <a:pt x="18621" y="5095"/>
                      </a:cubicBezTo>
                      <a:cubicBezTo>
                        <a:pt x="18694" y="5024"/>
                        <a:pt x="18748" y="4980"/>
                        <a:pt x="18783" y="4961"/>
                      </a:cubicBezTo>
                      <a:cubicBezTo>
                        <a:pt x="18789" y="4957"/>
                        <a:pt x="18794" y="4954"/>
                        <a:pt x="18800" y="4952"/>
                      </a:cubicBezTo>
                      <a:cubicBezTo>
                        <a:pt x="18867" y="4906"/>
                        <a:pt x="18910" y="4861"/>
                        <a:pt x="18928" y="4815"/>
                      </a:cubicBezTo>
                      <a:cubicBezTo>
                        <a:pt x="18939" y="4791"/>
                        <a:pt x="18951" y="4762"/>
                        <a:pt x="18962" y="4729"/>
                      </a:cubicBezTo>
                      <a:cubicBezTo>
                        <a:pt x="18964" y="4726"/>
                        <a:pt x="18980" y="4705"/>
                        <a:pt x="19012" y="4663"/>
                      </a:cubicBezTo>
                      <a:cubicBezTo>
                        <a:pt x="19034" y="4632"/>
                        <a:pt x="19056" y="4610"/>
                        <a:pt x="19076" y="4595"/>
                      </a:cubicBezTo>
                      <a:cubicBezTo>
                        <a:pt x="19137" y="4552"/>
                        <a:pt x="19194" y="4512"/>
                        <a:pt x="19246" y="4477"/>
                      </a:cubicBezTo>
                      <a:cubicBezTo>
                        <a:pt x="19270" y="4454"/>
                        <a:pt x="19282" y="4407"/>
                        <a:pt x="19282" y="4334"/>
                      </a:cubicBezTo>
                      <a:cubicBezTo>
                        <a:pt x="19282" y="4295"/>
                        <a:pt x="19281" y="4273"/>
                        <a:pt x="19277" y="4269"/>
                      </a:cubicBezTo>
                      <a:cubicBezTo>
                        <a:pt x="19260" y="4263"/>
                        <a:pt x="19239" y="4251"/>
                        <a:pt x="19213" y="4232"/>
                      </a:cubicBezTo>
                      <a:cubicBezTo>
                        <a:pt x="19138" y="4180"/>
                        <a:pt x="19093" y="4155"/>
                        <a:pt x="19076" y="4155"/>
                      </a:cubicBezTo>
                      <a:cubicBezTo>
                        <a:pt x="19000" y="4194"/>
                        <a:pt x="18947" y="4213"/>
                        <a:pt x="18917" y="4213"/>
                      </a:cubicBezTo>
                      <a:cubicBezTo>
                        <a:pt x="18895" y="4213"/>
                        <a:pt x="18875" y="4190"/>
                        <a:pt x="18858" y="4142"/>
                      </a:cubicBezTo>
                      <a:cubicBezTo>
                        <a:pt x="18842" y="4092"/>
                        <a:pt x="18813" y="4068"/>
                        <a:pt x="18772" y="4068"/>
                      </a:cubicBezTo>
                      <a:cubicBezTo>
                        <a:pt x="18759" y="4068"/>
                        <a:pt x="18744" y="4072"/>
                        <a:pt x="18727" y="4080"/>
                      </a:cubicBezTo>
                      <a:cubicBezTo>
                        <a:pt x="18711" y="4088"/>
                        <a:pt x="18702" y="4098"/>
                        <a:pt x="18702" y="4108"/>
                      </a:cubicBezTo>
                      <a:cubicBezTo>
                        <a:pt x="18702" y="4116"/>
                        <a:pt x="18713" y="4142"/>
                        <a:pt x="18733" y="4186"/>
                      </a:cubicBezTo>
                      <a:cubicBezTo>
                        <a:pt x="18752" y="4231"/>
                        <a:pt x="18761" y="4260"/>
                        <a:pt x="18761" y="4272"/>
                      </a:cubicBezTo>
                      <a:cubicBezTo>
                        <a:pt x="18761" y="4287"/>
                        <a:pt x="18725" y="4303"/>
                        <a:pt x="18652" y="4322"/>
                      </a:cubicBezTo>
                      <a:cubicBezTo>
                        <a:pt x="18582" y="4339"/>
                        <a:pt x="18520" y="4347"/>
                        <a:pt x="18468" y="4347"/>
                      </a:cubicBezTo>
                      <a:cubicBezTo>
                        <a:pt x="18420" y="4347"/>
                        <a:pt x="18383" y="4317"/>
                        <a:pt x="18359" y="4257"/>
                      </a:cubicBezTo>
                      <a:cubicBezTo>
                        <a:pt x="18335" y="4197"/>
                        <a:pt x="18311" y="4167"/>
                        <a:pt x="18287" y="4167"/>
                      </a:cubicBezTo>
                      <a:cubicBezTo>
                        <a:pt x="18276" y="4167"/>
                        <a:pt x="18264" y="4175"/>
                        <a:pt x="18251" y="4192"/>
                      </a:cubicBezTo>
                      <a:cubicBezTo>
                        <a:pt x="18234" y="4215"/>
                        <a:pt x="18219" y="4230"/>
                        <a:pt x="18206" y="4238"/>
                      </a:cubicBezTo>
                      <a:cubicBezTo>
                        <a:pt x="18204" y="4224"/>
                        <a:pt x="18193" y="4204"/>
                        <a:pt x="18172" y="4179"/>
                      </a:cubicBezTo>
                      <a:cubicBezTo>
                        <a:pt x="18154" y="4159"/>
                        <a:pt x="18143" y="4148"/>
                        <a:pt x="18139" y="4148"/>
                      </a:cubicBezTo>
                      <a:cubicBezTo>
                        <a:pt x="18133" y="4148"/>
                        <a:pt x="18125" y="4152"/>
                        <a:pt x="18114" y="4161"/>
                      </a:cubicBezTo>
                      <a:cubicBezTo>
                        <a:pt x="18099" y="4171"/>
                        <a:pt x="18092" y="4181"/>
                        <a:pt x="18092" y="4192"/>
                      </a:cubicBezTo>
                      <a:cubicBezTo>
                        <a:pt x="18092" y="4196"/>
                        <a:pt x="18096" y="4218"/>
                        <a:pt x="18105" y="4257"/>
                      </a:cubicBezTo>
                      <a:cubicBezTo>
                        <a:pt x="18115" y="4307"/>
                        <a:pt x="18119" y="4356"/>
                        <a:pt x="18119" y="4406"/>
                      </a:cubicBezTo>
                      <a:cubicBezTo>
                        <a:pt x="18119" y="4424"/>
                        <a:pt x="18117" y="4443"/>
                        <a:pt x="18111" y="4462"/>
                      </a:cubicBezTo>
                      <a:cubicBezTo>
                        <a:pt x="18105" y="4480"/>
                        <a:pt x="18103" y="4495"/>
                        <a:pt x="18103" y="4505"/>
                      </a:cubicBezTo>
                      <a:cubicBezTo>
                        <a:pt x="18038" y="4453"/>
                        <a:pt x="18000" y="4377"/>
                        <a:pt x="17988" y="4276"/>
                      </a:cubicBezTo>
                      <a:cubicBezTo>
                        <a:pt x="17979" y="4203"/>
                        <a:pt x="17939" y="4167"/>
                        <a:pt x="17868" y="4167"/>
                      </a:cubicBezTo>
                      <a:cubicBezTo>
                        <a:pt x="17829" y="4167"/>
                        <a:pt x="17810" y="4176"/>
                        <a:pt x="17810" y="4195"/>
                      </a:cubicBezTo>
                      <a:cubicBezTo>
                        <a:pt x="17810" y="4201"/>
                        <a:pt x="17812" y="4222"/>
                        <a:pt x="17815" y="4257"/>
                      </a:cubicBezTo>
                      <a:cubicBezTo>
                        <a:pt x="17814" y="4290"/>
                        <a:pt x="17800" y="4307"/>
                        <a:pt x="17774" y="4307"/>
                      </a:cubicBezTo>
                      <a:lnTo>
                        <a:pt x="17684" y="4282"/>
                      </a:lnTo>
                      <a:cubicBezTo>
                        <a:pt x="17664" y="4282"/>
                        <a:pt x="17640" y="4299"/>
                        <a:pt x="17612" y="4334"/>
                      </a:cubicBezTo>
                      <a:cubicBezTo>
                        <a:pt x="17584" y="4368"/>
                        <a:pt x="17563" y="4384"/>
                        <a:pt x="17548" y="4384"/>
                      </a:cubicBezTo>
                      <a:cubicBezTo>
                        <a:pt x="17538" y="4384"/>
                        <a:pt x="17529" y="4378"/>
                        <a:pt x="17520" y="4366"/>
                      </a:cubicBezTo>
                      <a:cubicBezTo>
                        <a:pt x="17511" y="4353"/>
                        <a:pt x="17506" y="4343"/>
                        <a:pt x="17506" y="4334"/>
                      </a:cubicBezTo>
                      <a:cubicBezTo>
                        <a:pt x="17506" y="4318"/>
                        <a:pt x="17514" y="4298"/>
                        <a:pt x="17531" y="4276"/>
                      </a:cubicBezTo>
                      <a:cubicBezTo>
                        <a:pt x="17546" y="4251"/>
                        <a:pt x="17553" y="4231"/>
                        <a:pt x="17553" y="4217"/>
                      </a:cubicBezTo>
                      <a:cubicBezTo>
                        <a:pt x="17553" y="4192"/>
                        <a:pt x="17540" y="4172"/>
                        <a:pt x="17514" y="4158"/>
                      </a:cubicBezTo>
                      <a:cubicBezTo>
                        <a:pt x="17462" y="4127"/>
                        <a:pt x="17433" y="4109"/>
                        <a:pt x="17428" y="4105"/>
                      </a:cubicBezTo>
                      <a:cubicBezTo>
                        <a:pt x="17422" y="4099"/>
                        <a:pt x="17415" y="4066"/>
                        <a:pt x="17406" y="4006"/>
                      </a:cubicBezTo>
                      <a:cubicBezTo>
                        <a:pt x="17396" y="3952"/>
                        <a:pt x="17379" y="3925"/>
                        <a:pt x="17352" y="3925"/>
                      </a:cubicBezTo>
                      <a:cubicBezTo>
                        <a:pt x="17334" y="3925"/>
                        <a:pt x="17320" y="3942"/>
                        <a:pt x="17311" y="3978"/>
                      </a:cubicBezTo>
                      <a:cubicBezTo>
                        <a:pt x="17300" y="4011"/>
                        <a:pt x="17285" y="4027"/>
                        <a:pt x="17266" y="4027"/>
                      </a:cubicBezTo>
                      <a:cubicBezTo>
                        <a:pt x="17247" y="4027"/>
                        <a:pt x="17216" y="4007"/>
                        <a:pt x="17171" y="3965"/>
                      </a:cubicBezTo>
                      <a:cubicBezTo>
                        <a:pt x="17128" y="3922"/>
                        <a:pt x="17097" y="3900"/>
                        <a:pt x="17076" y="3900"/>
                      </a:cubicBezTo>
                      <a:cubicBezTo>
                        <a:pt x="17047" y="3900"/>
                        <a:pt x="17015" y="3920"/>
                        <a:pt x="16982" y="3959"/>
                      </a:cubicBezTo>
                      <a:cubicBezTo>
                        <a:pt x="16946" y="3996"/>
                        <a:pt x="16923" y="4015"/>
                        <a:pt x="16912" y="4015"/>
                      </a:cubicBezTo>
                      <a:cubicBezTo>
                        <a:pt x="16904" y="4015"/>
                        <a:pt x="16885" y="3995"/>
                        <a:pt x="16853" y="3956"/>
                      </a:cubicBezTo>
                      <a:cubicBezTo>
                        <a:pt x="16816" y="3910"/>
                        <a:pt x="16796" y="3886"/>
                        <a:pt x="16792" y="3881"/>
                      </a:cubicBezTo>
                      <a:cubicBezTo>
                        <a:pt x="16771" y="3863"/>
                        <a:pt x="16752" y="3831"/>
                        <a:pt x="16733" y="3785"/>
                      </a:cubicBezTo>
                      <a:cubicBezTo>
                        <a:pt x="16720" y="3752"/>
                        <a:pt x="16702" y="3736"/>
                        <a:pt x="16678" y="3736"/>
                      </a:cubicBezTo>
                      <a:cubicBezTo>
                        <a:pt x="16642" y="3736"/>
                        <a:pt x="16613" y="3762"/>
                        <a:pt x="16588" y="3813"/>
                      </a:cubicBezTo>
                      <a:cubicBezTo>
                        <a:pt x="16564" y="3863"/>
                        <a:pt x="16534" y="3888"/>
                        <a:pt x="16499" y="3888"/>
                      </a:cubicBezTo>
                      <a:cubicBezTo>
                        <a:pt x="16473" y="3888"/>
                        <a:pt x="16460" y="3877"/>
                        <a:pt x="16460" y="3857"/>
                      </a:cubicBezTo>
                      <a:cubicBezTo>
                        <a:pt x="16486" y="3803"/>
                        <a:pt x="16499" y="3771"/>
                        <a:pt x="16499" y="3760"/>
                      </a:cubicBezTo>
                      <a:cubicBezTo>
                        <a:pt x="16499" y="3715"/>
                        <a:pt x="16469" y="3691"/>
                        <a:pt x="16410" y="3689"/>
                      </a:cubicBezTo>
                      <a:cubicBezTo>
                        <a:pt x="16348" y="3687"/>
                        <a:pt x="16318" y="3674"/>
                        <a:pt x="16318" y="3649"/>
                      </a:cubicBezTo>
                      <a:cubicBezTo>
                        <a:pt x="16355" y="3587"/>
                        <a:pt x="16374" y="3551"/>
                        <a:pt x="16374" y="3540"/>
                      </a:cubicBezTo>
                      <a:cubicBezTo>
                        <a:pt x="16374" y="3513"/>
                        <a:pt x="16361" y="3500"/>
                        <a:pt x="16335" y="3500"/>
                      </a:cubicBezTo>
                      <a:cubicBezTo>
                        <a:pt x="16325" y="3500"/>
                        <a:pt x="16260" y="3532"/>
                        <a:pt x="16139" y="3596"/>
                      </a:cubicBezTo>
                      <a:cubicBezTo>
                        <a:pt x="16017" y="3658"/>
                        <a:pt x="15933" y="3689"/>
                        <a:pt x="15888" y="3689"/>
                      </a:cubicBezTo>
                      <a:cubicBezTo>
                        <a:pt x="15864" y="3689"/>
                        <a:pt x="15848" y="3687"/>
                        <a:pt x="15841" y="3683"/>
                      </a:cubicBezTo>
                      <a:cubicBezTo>
                        <a:pt x="15834" y="3652"/>
                        <a:pt x="15867" y="3618"/>
                        <a:pt x="15941" y="3581"/>
                      </a:cubicBezTo>
                      <a:cubicBezTo>
                        <a:pt x="15980" y="3562"/>
                        <a:pt x="16023" y="3543"/>
                        <a:pt x="16070" y="3525"/>
                      </a:cubicBezTo>
                      <a:cubicBezTo>
                        <a:pt x="16060" y="3502"/>
                        <a:pt x="16036" y="3482"/>
                        <a:pt x="15997" y="3466"/>
                      </a:cubicBezTo>
                      <a:cubicBezTo>
                        <a:pt x="15966" y="3449"/>
                        <a:pt x="15950" y="3431"/>
                        <a:pt x="15950" y="3410"/>
                      </a:cubicBezTo>
                      <a:cubicBezTo>
                        <a:pt x="15950" y="3397"/>
                        <a:pt x="15953" y="3389"/>
                        <a:pt x="15961" y="3385"/>
                      </a:cubicBezTo>
                      <a:cubicBezTo>
                        <a:pt x="15968" y="3381"/>
                        <a:pt x="15985" y="3379"/>
                        <a:pt x="16011" y="3379"/>
                      </a:cubicBezTo>
                      <a:cubicBezTo>
                        <a:pt x="16018" y="3379"/>
                        <a:pt x="16048" y="3383"/>
                        <a:pt x="16100" y="3391"/>
                      </a:cubicBezTo>
                      <a:cubicBezTo>
                        <a:pt x="16151" y="3400"/>
                        <a:pt x="16187" y="3404"/>
                        <a:pt x="16209" y="3404"/>
                      </a:cubicBezTo>
                      <a:cubicBezTo>
                        <a:pt x="16235" y="3404"/>
                        <a:pt x="16263" y="3400"/>
                        <a:pt x="16293" y="3391"/>
                      </a:cubicBezTo>
                      <a:cubicBezTo>
                        <a:pt x="16328" y="3381"/>
                        <a:pt x="16346" y="3369"/>
                        <a:pt x="16346" y="3354"/>
                      </a:cubicBezTo>
                      <a:cubicBezTo>
                        <a:pt x="16346" y="3338"/>
                        <a:pt x="16334" y="3315"/>
                        <a:pt x="16309" y="3286"/>
                      </a:cubicBezTo>
                      <a:cubicBezTo>
                        <a:pt x="16283" y="3257"/>
                        <a:pt x="16270" y="3232"/>
                        <a:pt x="16270" y="3211"/>
                      </a:cubicBezTo>
                      <a:cubicBezTo>
                        <a:pt x="16270" y="3195"/>
                        <a:pt x="16280" y="3166"/>
                        <a:pt x="16298" y="3124"/>
                      </a:cubicBezTo>
                      <a:cubicBezTo>
                        <a:pt x="16315" y="3083"/>
                        <a:pt x="16323" y="3053"/>
                        <a:pt x="16323" y="3034"/>
                      </a:cubicBezTo>
                      <a:cubicBezTo>
                        <a:pt x="16323" y="2991"/>
                        <a:pt x="16302" y="2952"/>
                        <a:pt x="16259" y="2917"/>
                      </a:cubicBezTo>
                      <a:cubicBezTo>
                        <a:pt x="16217" y="2879"/>
                        <a:pt x="16175" y="2864"/>
                        <a:pt x="16134" y="2870"/>
                      </a:cubicBezTo>
                      <a:cubicBezTo>
                        <a:pt x="16087" y="2876"/>
                        <a:pt x="16050" y="2854"/>
                        <a:pt x="16022" y="2805"/>
                      </a:cubicBezTo>
                      <a:cubicBezTo>
                        <a:pt x="15994" y="2755"/>
                        <a:pt x="15967" y="2730"/>
                        <a:pt x="15941" y="2730"/>
                      </a:cubicBezTo>
                      <a:cubicBezTo>
                        <a:pt x="15895" y="2730"/>
                        <a:pt x="15852" y="2750"/>
                        <a:pt x="15813" y="2789"/>
                      </a:cubicBezTo>
                      <a:cubicBezTo>
                        <a:pt x="15772" y="2827"/>
                        <a:pt x="15747" y="2845"/>
                        <a:pt x="15738" y="2845"/>
                      </a:cubicBezTo>
                      <a:cubicBezTo>
                        <a:pt x="15719" y="2845"/>
                        <a:pt x="15710" y="2819"/>
                        <a:pt x="15710" y="2768"/>
                      </a:cubicBezTo>
                      <a:lnTo>
                        <a:pt x="15724" y="2721"/>
                      </a:lnTo>
                      <a:cubicBezTo>
                        <a:pt x="15754" y="2665"/>
                        <a:pt x="15785" y="2615"/>
                        <a:pt x="15819" y="2569"/>
                      </a:cubicBezTo>
                      <a:cubicBezTo>
                        <a:pt x="15837" y="2546"/>
                        <a:pt x="15846" y="2518"/>
                        <a:pt x="15846" y="2485"/>
                      </a:cubicBezTo>
                      <a:lnTo>
                        <a:pt x="15846" y="2457"/>
                      </a:lnTo>
                      <a:cubicBezTo>
                        <a:pt x="15780" y="2455"/>
                        <a:pt x="15738" y="2447"/>
                        <a:pt x="15721" y="2433"/>
                      </a:cubicBezTo>
                      <a:cubicBezTo>
                        <a:pt x="15710" y="2422"/>
                        <a:pt x="15690" y="2397"/>
                        <a:pt x="15662" y="2358"/>
                      </a:cubicBezTo>
                      <a:cubicBezTo>
                        <a:pt x="15644" y="2331"/>
                        <a:pt x="15626" y="2318"/>
                        <a:pt x="15609" y="2318"/>
                      </a:cubicBezTo>
                      <a:cubicBezTo>
                        <a:pt x="15569" y="2318"/>
                        <a:pt x="15541" y="2343"/>
                        <a:pt x="15526" y="2392"/>
                      </a:cubicBezTo>
                      <a:cubicBezTo>
                        <a:pt x="15509" y="2440"/>
                        <a:pt x="15492" y="2464"/>
                        <a:pt x="15476" y="2464"/>
                      </a:cubicBezTo>
                      <a:cubicBezTo>
                        <a:pt x="15442" y="2464"/>
                        <a:pt x="15425" y="2440"/>
                        <a:pt x="15425" y="2392"/>
                      </a:cubicBezTo>
                      <a:cubicBezTo>
                        <a:pt x="15440" y="2349"/>
                        <a:pt x="15448" y="2323"/>
                        <a:pt x="15448" y="2315"/>
                      </a:cubicBezTo>
                      <a:cubicBezTo>
                        <a:pt x="15448" y="2240"/>
                        <a:pt x="15419" y="2203"/>
                        <a:pt x="15361" y="2203"/>
                      </a:cubicBezTo>
                      <a:cubicBezTo>
                        <a:pt x="15333" y="2203"/>
                        <a:pt x="15298" y="2239"/>
                        <a:pt x="15255" y="2312"/>
                      </a:cubicBezTo>
                      <a:cubicBezTo>
                        <a:pt x="15211" y="2384"/>
                        <a:pt x="15163" y="2420"/>
                        <a:pt x="15113" y="2420"/>
                      </a:cubicBezTo>
                      <a:cubicBezTo>
                        <a:pt x="15102" y="2420"/>
                        <a:pt x="15089" y="2415"/>
                        <a:pt x="15074" y="2405"/>
                      </a:cubicBezTo>
                      <a:cubicBezTo>
                        <a:pt x="15059" y="2394"/>
                        <a:pt x="15052" y="2385"/>
                        <a:pt x="15052" y="2377"/>
                      </a:cubicBezTo>
                      <a:cubicBezTo>
                        <a:pt x="15193" y="2155"/>
                        <a:pt x="15264" y="2036"/>
                        <a:pt x="15264" y="2020"/>
                      </a:cubicBezTo>
                      <a:cubicBezTo>
                        <a:pt x="15264" y="1983"/>
                        <a:pt x="15256" y="1950"/>
                        <a:pt x="15241" y="1921"/>
                      </a:cubicBezTo>
                      <a:cubicBezTo>
                        <a:pt x="15223" y="1887"/>
                        <a:pt x="15199" y="1871"/>
                        <a:pt x="15172" y="1871"/>
                      </a:cubicBezTo>
                      <a:cubicBezTo>
                        <a:pt x="15153" y="1871"/>
                        <a:pt x="15105" y="1899"/>
                        <a:pt x="15027" y="1955"/>
                      </a:cubicBezTo>
                      <a:cubicBezTo>
                        <a:pt x="14948" y="2008"/>
                        <a:pt x="14899" y="2035"/>
                        <a:pt x="14879" y="2035"/>
                      </a:cubicBezTo>
                      <a:lnTo>
                        <a:pt x="14851" y="2035"/>
                      </a:lnTo>
                      <a:cubicBezTo>
                        <a:pt x="14843" y="2033"/>
                        <a:pt x="14840" y="2025"/>
                        <a:pt x="14840" y="2011"/>
                      </a:cubicBezTo>
                      <a:cubicBezTo>
                        <a:pt x="14840" y="1984"/>
                        <a:pt x="14878" y="1946"/>
                        <a:pt x="14954" y="1899"/>
                      </a:cubicBezTo>
                      <a:cubicBezTo>
                        <a:pt x="15030" y="1851"/>
                        <a:pt x="15068" y="1822"/>
                        <a:pt x="15068" y="1812"/>
                      </a:cubicBezTo>
                      <a:cubicBezTo>
                        <a:pt x="15065" y="1806"/>
                        <a:pt x="15063" y="1800"/>
                        <a:pt x="15063" y="1793"/>
                      </a:cubicBezTo>
                      <a:cubicBezTo>
                        <a:pt x="15007" y="1793"/>
                        <a:pt x="14975" y="1783"/>
                        <a:pt x="14965" y="1762"/>
                      </a:cubicBezTo>
                      <a:cubicBezTo>
                        <a:pt x="14960" y="1748"/>
                        <a:pt x="14949" y="1735"/>
                        <a:pt x="14935" y="1725"/>
                      </a:cubicBezTo>
                      <a:cubicBezTo>
                        <a:pt x="14922" y="1713"/>
                        <a:pt x="14908" y="1707"/>
                        <a:pt x="14896" y="1707"/>
                      </a:cubicBezTo>
                      <a:cubicBezTo>
                        <a:pt x="14853" y="1707"/>
                        <a:pt x="14831" y="1703"/>
                        <a:pt x="14831" y="1697"/>
                      </a:cubicBezTo>
                      <a:cubicBezTo>
                        <a:pt x="14826" y="1674"/>
                        <a:pt x="14796" y="1648"/>
                        <a:pt x="14742" y="1617"/>
                      </a:cubicBezTo>
                      <a:cubicBezTo>
                        <a:pt x="14714" y="1600"/>
                        <a:pt x="14698" y="1569"/>
                        <a:pt x="14695" y="1523"/>
                      </a:cubicBezTo>
                      <a:cubicBezTo>
                        <a:pt x="14693" y="1484"/>
                        <a:pt x="14677" y="1465"/>
                        <a:pt x="14647" y="1465"/>
                      </a:cubicBezTo>
                      <a:cubicBezTo>
                        <a:pt x="14640" y="1465"/>
                        <a:pt x="14612" y="1482"/>
                        <a:pt x="14564" y="1517"/>
                      </a:cubicBezTo>
                      <a:cubicBezTo>
                        <a:pt x="14536" y="1538"/>
                        <a:pt x="14513" y="1552"/>
                        <a:pt x="14494" y="1561"/>
                      </a:cubicBezTo>
                      <a:cubicBezTo>
                        <a:pt x="14481" y="1565"/>
                        <a:pt x="14471" y="1567"/>
                        <a:pt x="14463" y="1567"/>
                      </a:cubicBezTo>
                      <a:cubicBezTo>
                        <a:pt x="14446" y="1567"/>
                        <a:pt x="14434" y="1561"/>
                        <a:pt x="14424" y="1548"/>
                      </a:cubicBezTo>
                      <a:lnTo>
                        <a:pt x="14421" y="1545"/>
                      </a:lnTo>
                      <a:cubicBezTo>
                        <a:pt x="14425" y="1543"/>
                        <a:pt x="14429" y="1541"/>
                        <a:pt x="14433" y="1539"/>
                      </a:cubicBezTo>
                      <a:cubicBezTo>
                        <a:pt x="14522" y="1483"/>
                        <a:pt x="14579" y="1428"/>
                        <a:pt x="14605" y="1375"/>
                      </a:cubicBezTo>
                      <a:lnTo>
                        <a:pt x="14605" y="1331"/>
                      </a:lnTo>
                      <a:lnTo>
                        <a:pt x="14550" y="1331"/>
                      </a:lnTo>
                      <a:cubicBezTo>
                        <a:pt x="14522" y="1346"/>
                        <a:pt x="14503" y="1336"/>
                        <a:pt x="14494" y="1303"/>
                      </a:cubicBezTo>
                      <a:cubicBezTo>
                        <a:pt x="14483" y="1266"/>
                        <a:pt x="14470" y="1247"/>
                        <a:pt x="14455" y="1247"/>
                      </a:cubicBezTo>
                      <a:cubicBezTo>
                        <a:pt x="14434" y="1247"/>
                        <a:pt x="14421" y="1260"/>
                        <a:pt x="14416" y="1285"/>
                      </a:cubicBezTo>
                      <a:cubicBezTo>
                        <a:pt x="14408" y="1307"/>
                        <a:pt x="14396" y="1319"/>
                        <a:pt x="14380" y="1319"/>
                      </a:cubicBezTo>
                      <a:cubicBezTo>
                        <a:pt x="14355" y="1319"/>
                        <a:pt x="14331" y="1311"/>
                        <a:pt x="14307" y="1297"/>
                      </a:cubicBezTo>
                      <a:cubicBezTo>
                        <a:pt x="14281" y="1282"/>
                        <a:pt x="14268" y="1266"/>
                        <a:pt x="14268" y="1247"/>
                      </a:cubicBezTo>
                      <a:lnTo>
                        <a:pt x="14285" y="1167"/>
                      </a:lnTo>
                      <a:cubicBezTo>
                        <a:pt x="14285" y="1136"/>
                        <a:pt x="14273" y="1120"/>
                        <a:pt x="14249" y="1120"/>
                      </a:cubicBezTo>
                      <a:cubicBezTo>
                        <a:pt x="14235" y="1120"/>
                        <a:pt x="14220" y="1128"/>
                        <a:pt x="14201" y="1145"/>
                      </a:cubicBezTo>
                      <a:cubicBezTo>
                        <a:pt x="14173" y="1172"/>
                        <a:pt x="14157" y="1186"/>
                        <a:pt x="14154" y="1188"/>
                      </a:cubicBezTo>
                      <a:cubicBezTo>
                        <a:pt x="14139" y="1166"/>
                        <a:pt x="14114" y="1144"/>
                        <a:pt x="14078" y="1123"/>
                      </a:cubicBezTo>
                      <a:cubicBezTo>
                        <a:pt x="14049" y="1105"/>
                        <a:pt x="14028" y="1082"/>
                        <a:pt x="14017" y="1055"/>
                      </a:cubicBezTo>
                      <a:cubicBezTo>
                        <a:pt x="14000" y="1014"/>
                        <a:pt x="13985" y="980"/>
                        <a:pt x="13972" y="956"/>
                      </a:cubicBezTo>
                      <a:cubicBezTo>
                        <a:pt x="13950" y="908"/>
                        <a:pt x="13932" y="884"/>
                        <a:pt x="13917" y="884"/>
                      </a:cubicBezTo>
                      <a:cubicBezTo>
                        <a:pt x="13909" y="884"/>
                        <a:pt x="13899" y="893"/>
                        <a:pt x="13886" y="909"/>
                      </a:cubicBezTo>
                      <a:cubicBezTo>
                        <a:pt x="13873" y="926"/>
                        <a:pt x="13866" y="934"/>
                        <a:pt x="13864" y="934"/>
                      </a:cubicBezTo>
                      <a:cubicBezTo>
                        <a:pt x="13854" y="930"/>
                        <a:pt x="13848" y="928"/>
                        <a:pt x="13844" y="928"/>
                      </a:cubicBezTo>
                      <a:cubicBezTo>
                        <a:pt x="13846" y="901"/>
                        <a:pt x="13846" y="880"/>
                        <a:pt x="13844" y="866"/>
                      </a:cubicBezTo>
                      <a:cubicBezTo>
                        <a:pt x="13844" y="839"/>
                        <a:pt x="13838" y="817"/>
                        <a:pt x="13827" y="801"/>
                      </a:cubicBezTo>
                      <a:cubicBezTo>
                        <a:pt x="13790" y="769"/>
                        <a:pt x="13765" y="740"/>
                        <a:pt x="13752" y="714"/>
                      </a:cubicBezTo>
                      <a:cubicBezTo>
                        <a:pt x="13747" y="703"/>
                        <a:pt x="13742" y="685"/>
                        <a:pt x="13738" y="658"/>
                      </a:cubicBezTo>
                      <a:cubicBezTo>
                        <a:pt x="13734" y="635"/>
                        <a:pt x="13730" y="620"/>
                        <a:pt x="13724" y="611"/>
                      </a:cubicBezTo>
                      <a:cubicBezTo>
                        <a:pt x="13700" y="576"/>
                        <a:pt x="13686" y="558"/>
                        <a:pt x="13682" y="558"/>
                      </a:cubicBezTo>
                      <a:cubicBezTo>
                        <a:pt x="13679" y="554"/>
                        <a:pt x="13661" y="552"/>
                        <a:pt x="13629" y="552"/>
                      </a:cubicBezTo>
                      <a:cubicBezTo>
                        <a:pt x="13603" y="552"/>
                        <a:pt x="13570" y="564"/>
                        <a:pt x="13529" y="586"/>
                      </a:cubicBezTo>
                      <a:cubicBezTo>
                        <a:pt x="13518" y="593"/>
                        <a:pt x="13509" y="599"/>
                        <a:pt x="13501" y="605"/>
                      </a:cubicBezTo>
                      <a:cubicBezTo>
                        <a:pt x="13468" y="628"/>
                        <a:pt x="13451" y="653"/>
                        <a:pt x="13451" y="680"/>
                      </a:cubicBezTo>
                      <a:cubicBezTo>
                        <a:pt x="13451" y="694"/>
                        <a:pt x="13454" y="709"/>
                        <a:pt x="13459" y="726"/>
                      </a:cubicBezTo>
                      <a:cubicBezTo>
                        <a:pt x="13465" y="740"/>
                        <a:pt x="13468" y="756"/>
                        <a:pt x="13468" y="773"/>
                      </a:cubicBezTo>
                      <a:cubicBezTo>
                        <a:pt x="13468" y="802"/>
                        <a:pt x="13456" y="827"/>
                        <a:pt x="13434" y="850"/>
                      </a:cubicBezTo>
                      <a:cubicBezTo>
                        <a:pt x="13414" y="871"/>
                        <a:pt x="13405" y="916"/>
                        <a:pt x="13409" y="987"/>
                      </a:cubicBezTo>
                      <a:cubicBezTo>
                        <a:pt x="13387" y="1067"/>
                        <a:pt x="13376" y="1146"/>
                        <a:pt x="13376" y="1222"/>
                      </a:cubicBezTo>
                      <a:cubicBezTo>
                        <a:pt x="13376" y="1260"/>
                        <a:pt x="13412" y="1325"/>
                        <a:pt x="13484" y="1418"/>
                      </a:cubicBezTo>
                      <a:cubicBezTo>
                        <a:pt x="13490" y="1424"/>
                        <a:pt x="13517" y="1433"/>
                        <a:pt x="13565" y="1446"/>
                      </a:cubicBezTo>
                      <a:cubicBezTo>
                        <a:pt x="13606" y="1456"/>
                        <a:pt x="13627" y="1473"/>
                        <a:pt x="13627" y="1496"/>
                      </a:cubicBezTo>
                      <a:cubicBezTo>
                        <a:pt x="13627" y="1525"/>
                        <a:pt x="13622" y="1548"/>
                        <a:pt x="13613" y="1567"/>
                      </a:cubicBezTo>
                      <a:cubicBezTo>
                        <a:pt x="13600" y="1592"/>
                        <a:pt x="13591" y="1621"/>
                        <a:pt x="13587" y="1654"/>
                      </a:cubicBezTo>
                      <a:cubicBezTo>
                        <a:pt x="13584" y="1679"/>
                        <a:pt x="13569" y="1701"/>
                        <a:pt x="13543" y="1722"/>
                      </a:cubicBezTo>
                      <a:cubicBezTo>
                        <a:pt x="13519" y="1741"/>
                        <a:pt x="13507" y="1759"/>
                        <a:pt x="13507" y="1778"/>
                      </a:cubicBezTo>
                      <a:cubicBezTo>
                        <a:pt x="13507" y="1788"/>
                        <a:pt x="13526" y="1807"/>
                        <a:pt x="13565" y="1834"/>
                      </a:cubicBezTo>
                      <a:cubicBezTo>
                        <a:pt x="13602" y="1863"/>
                        <a:pt x="13621" y="1894"/>
                        <a:pt x="13621" y="1927"/>
                      </a:cubicBezTo>
                      <a:lnTo>
                        <a:pt x="13624" y="1986"/>
                      </a:lnTo>
                      <a:cubicBezTo>
                        <a:pt x="13615" y="2002"/>
                        <a:pt x="13593" y="2024"/>
                        <a:pt x="13560" y="2051"/>
                      </a:cubicBezTo>
                      <a:cubicBezTo>
                        <a:pt x="13565" y="2061"/>
                        <a:pt x="13576" y="2072"/>
                        <a:pt x="13590" y="2082"/>
                      </a:cubicBezTo>
                      <a:cubicBezTo>
                        <a:pt x="13600" y="2086"/>
                        <a:pt x="13604" y="2100"/>
                        <a:pt x="13604" y="2122"/>
                      </a:cubicBezTo>
                      <a:cubicBezTo>
                        <a:pt x="13604" y="2133"/>
                        <a:pt x="13602" y="2149"/>
                        <a:pt x="13599" y="2172"/>
                      </a:cubicBezTo>
                      <a:cubicBezTo>
                        <a:pt x="13576" y="2170"/>
                        <a:pt x="13556" y="2170"/>
                        <a:pt x="13537" y="2172"/>
                      </a:cubicBezTo>
                      <a:cubicBezTo>
                        <a:pt x="13502" y="2176"/>
                        <a:pt x="13484" y="2187"/>
                        <a:pt x="13484" y="2206"/>
                      </a:cubicBezTo>
                      <a:cubicBezTo>
                        <a:pt x="13484" y="2239"/>
                        <a:pt x="13496" y="2259"/>
                        <a:pt x="13518" y="2265"/>
                      </a:cubicBezTo>
                      <a:cubicBezTo>
                        <a:pt x="13531" y="2269"/>
                        <a:pt x="13554" y="2271"/>
                        <a:pt x="13587" y="2271"/>
                      </a:cubicBezTo>
                      <a:cubicBezTo>
                        <a:pt x="13656" y="2286"/>
                        <a:pt x="13691" y="2373"/>
                        <a:pt x="13691" y="2532"/>
                      </a:cubicBezTo>
                      <a:cubicBezTo>
                        <a:pt x="13691" y="2569"/>
                        <a:pt x="13682" y="2595"/>
                        <a:pt x="13666" y="2609"/>
                      </a:cubicBezTo>
                      <a:lnTo>
                        <a:pt x="13660" y="2597"/>
                      </a:lnTo>
                      <a:cubicBezTo>
                        <a:pt x="13645" y="2516"/>
                        <a:pt x="13612" y="2453"/>
                        <a:pt x="13560" y="2408"/>
                      </a:cubicBezTo>
                      <a:cubicBezTo>
                        <a:pt x="13522" y="2375"/>
                        <a:pt x="13470" y="2347"/>
                        <a:pt x="13403" y="2324"/>
                      </a:cubicBezTo>
                      <a:lnTo>
                        <a:pt x="13359" y="2324"/>
                      </a:lnTo>
                      <a:cubicBezTo>
                        <a:pt x="13359" y="2351"/>
                        <a:pt x="13355" y="2380"/>
                        <a:pt x="13348" y="2411"/>
                      </a:cubicBezTo>
                      <a:cubicBezTo>
                        <a:pt x="13338" y="2440"/>
                        <a:pt x="13334" y="2469"/>
                        <a:pt x="13334" y="2498"/>
                      </a:cubicBezTo>
                      <a:cubicBezTo>
                        <a:pt x="13334" y="2506"/>
                        <a:pt x="13346" y="2557"/>
                        <a:pt x="13370" y="2650"/>
                      </a:cubicBezTo>
                      <a:cubicBezTo>
                        <a:pt x="13370" y="2662"/>
                        <a:pt x="13324" y="2726"/>
                        <a:pt x="13231" y="2842"/>
                      </a:cubicBezTo>
                      <a:cubicBezTo>
                        <a:pt x="13136" y="2960"/>
                        <a:pt x="13088" y="3043"/>
                        <a:pt x="13088" y="3090"/>
                      </a:cubicBezTo>
                      <a:cubicBezTo>
                        <a:pt x="13088" y="3099"/>
                        <a:pt x="13092" y="3127"/>
                        <a:pt x="13099" y="3174"/>
                      </a:cubicBezTo>
                      <a:cubicBezTo>
                        <a:pt x="13099" y="3211"/>
                        <a:pt x="13099" y="3231"/>
                        <a:pt x="13099" y="3233"/>
                      </a:cubicBezTo>
                      <a:cubicBezTo>
                        <a:pt x="13096" y="3262"/>
                        <a:pt x="13084" y="3276"/>
                        <a:pt x="13063" y="3276"/>
                      </a:cubicBezTo>
                      <a:cubicBezTo>
                        <a:pt x="13035" y="3276"/>
                        <a:pt x="13012" y="3240"/>
                        <a:pt x="12994" y="3168"/>
                      </a:cubicBezTo>
                      <a:cubicBezTo>
                        <a:pt x="12973" y="3095"/>
                        <a:pt x="12958" y="3059"/>
                        <a:pt x="12949" y="3059"/>
                      </a:cubicBezTo>
                      <a:lnTo>
                        <a:pt x="12940" y="3059"/>
                      </a:lnTo>
                      <a:cubicBezTo>
                        <a:pt x="12939" y="3065"/>
                        <a:pt x="12936" y="3079"/>
                        <a:pt x="12932" y="3100"/>
                      </a:cubicBezTo>
                      <a:cubicBezTo>
                        <a:pt x="12925" y="3116"/>
                        <a:pt x="12913" y="3124"/>
                        <a:pt x="12896" y="3124"/>
                      </a:cubicBezTo>
                      <a:cubicBezTo>
                        <a:pt x="12890" y="3087"/>
                        <a:pt x="12884" y="3050"/>
                        <a:pt x="12876" y="3013"/>
                      </a:cubicBezTo>
                      <a:cubicBezTo>
                        <a:pt x="12862" y="2938"/>
                        <a:pt x="12823" y="2899"/>
                        <a:pt x="12762" y="2895"/>
                      </a:cubicBezTo>
                      <a:lnTo>
                        <a:pt x="12762" y="2957"/>
                      </a:lnTo>
                      <a:cubicBezTo>
                        <a:pt x="12768" y="3004"/>
                        <a:pt x="12780" y="3084"/>
                        <a:pt x="12798" y="3196"/>
                      </a:cubicBezTo>
                      <a:cubicBezTo>
                        <a:pt x="12798" y="3237"/>
                        <a:pt x="12787" y="3300"/>
                        <a:pt x="12765" y="3385"/>
                      </a:cubicBezTo>
                      <a:cubicBezTo>
                        <a:pt x="12743" y="3466"/>
                        <a:pt x="12725" y="3514"/>
                        <a:pt x="12712" y="3531"/>
                      </a:cubicBezTo>
                      <a:cubicBezTo>
                        <a:pt x="12665" y="3595"/>
                        <a:pt x="12624" y="3651"/>
                        <a:pt x="12589" y="3698"/>
                      </a:cubicBezTo>
                      <a:cubicBezTo>
                        <a:pt x="12522" y="3789"/>
                        <a:pt x="12466" y="3848"/>
                        <a:pt x="12419" y="3875"/>
                      </a:cubicBezTo>
                      <a:lnTo>
                        <a:pt x="12419" y="3863"/>
                      </a:lnTo>
                      <a:cubicBezTo>
                        <a:pt x="12434" y="3836"/>
                        <a:pt x="12492" y="3743"/>
                        <a:pt x="12592" y="3584"/>
                      </a:cubicBezTo>
                      <a:cubicBezTo>
                        <a:pt x="12687" y="3431"/>
                        <a:pt x="12734" y="3334"/>
                        <a:pt x="12734" y="3295"/>
                      </a:cubicBezTo>
                      <a:cubicBezTo>
                        <a:pt x="12729" y="3214"/>
                        <a:pt x="12727" y="3155"/>
                        <a:pt x="12729" y="3118"/>
                      </a:cubicBezTo>
                      <a:cubicBezTo>
                        <a:pt x="12729" y="3081"/>
                        <a:pt x="12723" y="3052"/>
                        <a:pt x="12712" y="3031"/>
                      </a:cubicBezTo>
                      <a:cubicBezTo>
                        <a:pt x="12703" y="3013"/>
                        <a:pt x="12683" y="2992"/>
                        <a:pt x="12653" y="2969"/>
                      </a:cubicBezTo>
                      <a:cubicBezTo>
                        <a:pt x="12605" y="2934"/>
                        <a:pt x="12559" y="2871"/>
                        <a:pt x="12517" y="2780"/>
                      </a:cubicBezTo>
                      <a:cubicBezTo>
                        <a:pt x="12487" y="2716"/>
                        <a:pt x="12444" y="2684"/>
                        <a:pt x="12388" y="2684"/>
                      </a:cubicBezTo>
                      <a:cubicBezTo>
                        <a:pt x="12355" y="2684"/>
                        <a:pt x="12314" y="2706"/>
                        <a:pt x="12266" y="2749"/>
                      </a:cubicBezTo>
                      <a:cubicBezTo>
                        <a:pt x="12214" y="2803"/>
                        <a:pt x="12177" y="2838"/>
                        <a:pt x="12157" y="2854"/>
                      </a:cubicBezTo>
                      <a:cubicBezTo>
                        <a:pt x="12133" y="2875"/>
                        <a:pt x="12102" y="2909"/>
                        <a:pt x="12065" y="2957"/>
                      </a:cubicBezTo>
                      <a:cubicBezTo>
                        <a:pt x="12033" y="2996"/>
                        <a:pt x="12016" y="3020"/>
                        <a:pt x="12012" y="3028"/>
                      </a:cubicBezTo>
                      <a:cubicBezTo>
                        <a:pt x="12006" y="3039"/>
                        <a:pt x="12000" y="3067"/>
                        <a:pt x="11992" y="3112"/>
                      </a:cubicBezTo>
                      <a:cubicBezTo>
                        <a:pt x="11989" y="3141"/>
                        <a:pt x="11975" y="3155"/>
                        <a:pt x="11950" y="3155"/>
                      </a:cubicBezTo>
                      <a:cubicBezTo>
                        <a:pt x="11936" y="3155"/>
                        <a:pt x="11920" y="3144"/>
                        <a:pt x="11903" y="3121"/>
                      </a:cubicBezTo>
                      <a:cubicBezTo>
                        <a:pt x="11886" y="3097"/>
                        <a:pt x="11871" y="3084"/>
                        <a:pt x="11858" y="3084"/>
                      </a:cubicBezTo>
                      <a:cubicBezTo>
                        <a:pt x="11851" y="3084"/>
                        <a:pt x="11840" y="3090"/>
                        <a:pt x="11825" y="3103"/>
                      </a:cubicBezTo>
                      <a:cubicBezTo>
                        <a:pt x="11810" y="3113"/>
                        <a:pt x="11795" y="3118"/>
                        <a:pt x="11780" y="3118"/>
                      </a:cubicBezTo>
                      <a:cubicBezTo>
                        <a:pt x="11760" y="3118"/>
                        <a:pt x="11742" y="3105"/>
                        <a:pt x="11727" y="3078"/>
                      </a:cubicBezTo>
                      <a:cubicBezTo>
                        <a:pt x="11731" y="3074"/>
                        <a:pt x="11743" y="3064"/>
                        <a:pt x="11764" y="3050"/>
                      </a:cubicBezTo>
                      <a:cubicBezTo>
                        <a:pt x="11775" y="3042"/>
                        <a:pt x="11783" y="3028"/>
                        <a:pt x="11789" y="3010"/>
                      </a:cubicBezTo>
                      <a:cubicBezTo>
                        <a:pt x="11787" y="2993"/>
                        <a:pt x="11779" y="2971"/>
                        <a:pt x="11766" y="2944"/>
                      </a:cubicBezTo>
                      <a:cubicBezTo>
                        <a:pt x="11752" y="2916"/>
                        <a:pt x="11744" y="2895"/>
                        <a:pt x="11744" y="2882"/>
                      </a:cubicBezTo>
                      <a:cubicBezTo>
                        <a:pt x="11744" y="2858"/>
                        <a:pt x="11753" y="2845"/>
                        <a:pt x="11772" y="2845"/>
                      </a:cubicBezTo>
                      <a:cubicBezTo>
                        <a:pt x="11792" y="2845"/>
                        <a:pt x="11818" y="2860"/>
                        <a:pt x="11847" y="2889"/>
                      </a:cubicBezTo>
                      <a:cubicBezTo>
                        <a:pt x="11877" y="2918"/>
                        <a:pt x="11897" y="2932"/>
                        <a:pt x="11906" y="2932"/>
                      </a:cubicBezTo>
                      <a:cubicBezTo>
                        <a:pt x="11930" y="2932"/>
                        <a:pt x="11945" y="2910"/>
                        <a:pt x="11950" y="2867"/>
                      </a:cubicBezTo>
                      <a:cubicBezTo>
                        <a:pt x="11958" y="2815"/>
                        <a:pt x="11965" y="2784"/>
                        <a:pt x="11973" y="2774"/>
                      </a:cubicBezTo>
                      <a:cubicBezTo>
                        <a:pt x="11982" y="2761"/>
                        <a:pt x="12003" y="2741"/>
                        <a:pt x="12034" y="2712"/>
                      </a:cubicBezTo>
                      <a:cubicBezTo>
                        <a:pt x="12062" y="2681"/>
                        <a:pt x="12076" y="2653"/>
                        <a:pt x="12076" y="2628"/>
                      </a:cubicBezTo>
                      <a:cubicBezTo>
                        <a:pt x="12076" y="2601"/>
                        <a:pt x="12061" y="2588"/>
                        <a:pt x="12031" y="2588"/>
                      </a:cubicBezTo>
                      <a:lnTo>
                        <a:pt x="11964" y="2600"/>
                      </a:lnTo>
                      <a:cubicBezTo>
                        <a:pt x="11942" y="2600"/>
                        <a:pt x="11930" y="2600"/>
                        <a:pt x="11928" y="2600"/>
                      </a:cubicBezTo>
                      <a:cubicBezTo>
                        <a:pt x="11915" y="2596"/>
                        <a:pt x="11909" y="2586"/>
                        <a:pt x="11909" y="2569"/>
                      </a:cubicBezTo>
                      <a:cubicBezTo>
                        <a:pt x="11909" y="2552"/>
                        <a:pt x="11922" y="2526"/>
                        <a:pt x="11948" y="2488"/>
                      </a:cubicBezTo>
                      <a:cubicBezTo>
                        <a:pt x="11972" y="2451"/>
                        <a:pt x="11984" y="2426"/>
                        <a:pt x="11984" y="2414"/>
                      </a:cubicBezTo>
                      <a:cubicBezTo>
                        <a:pt x="11984" y="2404"/>
                        <a:pt x="11975" y="2391"/>
                        <a:pt x="11956" y="2377"/>
                      </a:cubicBezTo>
                      <a:cubicBezTo>
                        <a:pt x="11937" y="2364"/>
                        <a:pt x="11924" y="2358"/>
                        <a:pt x="11914" y="2358"/>
                      </a:cubicBezTo>
                      <a:cubicBezTo>
                        <a:pt x="11897" y="2358"/>
                        <a:pt x="11880" y="2373"/>
                        <a:pt x="11861" y="2402"/>
                      </a:cubicBezTo>
                      <a:cubicBezTo>
                        <a:pt x="11843" y="2430"/>
                        <a:pt x="11824" y="2445"/>
                        <a:pt x="11805" y="2445"/>
                      </a:cubicBezTo>
                      <a:cubicBezTo>
                        <a:pt x="11768" y="2445"/>
                        <a:pt x="11750" y="2434"/>
                        <a:pt x="11750" y="2411"/>
                      </a:cubicBezTo>
                      <a:cubicBezTo>
                        <a:pt x="11750" y="2394"/>
                        <a:pt x="11755" y="2350"/>
                        <a:pt x="11766" y="2277"/>
                      </a:cubicBezTo>
                      <a:cubicBezTo>
                        <a:pt x="11778" y="2205"/>
                        <a:pt x="11783" y="2163"/>
                        <a:pt x="11783" y="2150"/>
                      </a:cubicBezTo>
                      <a:cubicBezTo>
                        <a:pt x="11783" y="2103"/>
                        <a:pt x="11763" y="2049"/>
                        <a:pt x="11722" y="1989"/>
                      </a:cubicBezTo>
                      <a:cubicBezTo>
                        <a:pt x="11681" y="1929"/>
                        <a:pt x="11644" y="1899"/>
                        <a:pt x="11610" y="1899"/>
                      </a:cubicBezTo>
                      <a:cubicBezTo>
                        <a:pt x="11582" y="1899"/>
                        <a:pt x="11515" y="1914"/>
                        <a:pt x="11409" y="1945"/>
                      </a:cubicBezTo>
                      <a:cubicBezTo>
                        <a:pt x="11303" y="1974"/>
                        <a:pt x="11233" y="1989"/>
                        <a:pt x="11197" y="1989"/>
                      </a:cubicBezTo>
                      <a:cubicBezTo>
                        <a:pt x="11168" y="1989"/>
                        <a:pt x="11144" y="1986"/>
                        <a:pt x="11128" y="1980"/>
                      </a:cubicBezTo>
                      <a:cubicBezTo>
                        <a:pt x="11109" y="1973"/>
                        <a:pt x="11089" y="1970"/>
                        <a:pt x="11066" y="1970"/>
                      </a:cubicBezTo>
                      <a:cubicBezTo>
                        <a:pt x="10960" y="2007"/>
                        <a:pt x="10900" y="2026"/>
                        <a:pt x="10885" y="2026"/>
                      </a:cubicBezTo>
                      <a:cubicBezTo>
                        <a:pt x="10855" y="2026"/>
                        <a:pt x="10840" y="2014"/>
                        <a:pt x="10840" y="1989"/>
                      </a:cubicBezTo>
                      <a:cubicBezTo>
                        <a:pt x="10840" y="1945"/>
                        <a:pt x="10895" y="1921"/>
                        <a:pt x="11005" y="1914"/>
                      </a:cubicBezTo>
                      <a:cubicBezTo>
                        <a:pt x="11172" y="1906"/>
                        <a:pt x="11259" y="1901"/>
                        <a:pt x="11264" y="1899"/>
                      </a:cubicBezTo>
                      <a:cubicBezTo>
                        <a:pt x="11342" y="1878"/>
                        <a:pt x="11415" y="1846"/>
                        <a:pt x="11482" y="1803"/>
                      </a:cubicBezTo>
                      <a:cubicBezTo>
                        <a:pt x="11571" y="1747"/>
                        <a:pt x="11639" y="1709"/>
                        <a:pt x="11685" y="1688"/>
                      </a:cubicBezTo>
                      <a:cubicBezTo>
                        <a:pt x="11446" y="1378"/>
                        <a:pt x="11326" y="1207"/>
                        <a:pt x="11326" y="1176"/>
                      </a:cubicBezTo>
                      <a:cubicBezTo>
                        <a:pt x="11326" y="1139"/>
                        <a:pt x="11342" y="1098"/>
                        <a:pt x="11376" y="1055"/>
                      </a:cubicBezTo>
                      <a:cubicBezTo>
                        <a:pt x="11408" y="1011"/>
                        <a:pt x="11423" y="967"/>
                        <a:pt x="11423" y="922"/>
                      </a:cubicBezTo>
                      <a:cubicBezTo>
                        <a:pt x="11423" y="882"/>
                        <a:pt x="11391" y="843"/>
                        <a:pt x="11326" y="804"/>
                      </a:cubicBezTo>
                      <a:cubicBezTo>
                        <a:pt x="11272" y="770"/>
                        <a:pt x="11236" y="754"/>
                        <a:pt x="11220" y="754"/>
                      </a:cubicBezTo>
                      <a:cubicBezTo>
                        <a:pt x="11207" y="754"/>
                        <a:pt x="11198" y="756"/>
                        <a:pt x="11195" y="760"/>
                      </a:cubicBezTo>
                      <a:cubicBezTo>
                        <a:pt x="11200" y="787"/>
                        <a:pt x="11186" y="830"/>
                        <a:pt x="11153" y="891"/>
                      </a:cubicBezTo>
                      <a:cubicBezTo>
                        <a:pt x="11119" y="953"/>
                        <a:pt x="11088" y="985"/>
                        <a:pt x="11058" y="987"/>
                      </a:cubicBezTo>
                      <a:cubicBezTo>
                        <a:pt x="10993" y="885"/>
                        <a:pt x="10956" y="835"/>
                        <a:pt x="10946" y="835"/>
                      </a:cubicBezTo>
                      <a:cubicBezTo>
                        <a:pt x="10945" y="835"/>
                        <a:pt x="10933" y="845"/>
                        <a:pt x="10913" y="866"/>
                      </a:cubicBezTo>
                      <a:cubicBezTo>
                        <a:pt x="10889" y="891"/>
                        <a:pt x="10861" y="908"/>
                        <a:pt x="10829" y="918"/>
                      </a:cubicBezTo>
                      <a:cubicBezTo>
                        <a:pt x="10809" y="925"/>
                        <a:pt x="10787" y="941"/>
                        <a:pt x="10762" y="968"/>
                      </a:cubicBezTo>
                      <a:cubicBezTo>
                        <a:pt x="10742" y="991"/>
                        <a:pt x="10725" y="1002"/>
                        <a:pt x="10712" y="1002"/>
                      </a:cubicBezTo>
                      <a:cubicBezTo>
                        <a:pt x="10697" y="1002"/>
                        <a:pt x="10671" y="978"/>
                        <a:pt x="10634" y="931"/>
                      </a:cubicBezTo>
                      <a:cubicBezTo>
                        <a:pt x="10597" y="883"/>
                        <a:pt x="10566" y="859"/>
                        <a:pt x="10542" y="859"/>
                      </a:cubicBezTo>
                      <a:cubicBezTo>
                        <a:pt x="10509" y="859"/>
                        <a:pt x="10481" y="880"/>
                        <a:pt x="10458" y="922"/>
                      </a:cubicBezTo>
                      <a:cubicBezTo>
                        <a:pt x="10438" y="961"/>
                        <a:pt x="10418" y="980"/>
                        <a:pt x="10400" y="980"/>
                      </a:cubicBezTo>
                      <a:cubicBezTo>
                        <a:pt x="10340" y="927"/>
                        <a:pt x="10300" y="898"/>
                        <a:pt x="10280" y="894"/>
                      </a:cubicBezTo>
                      <a:cubicBezTo>
                        <a:pt x="10245" y="885"/>
                        <a:pt x="10219" y="857"/>
                        <a:pt x="10202" y="810"/>
                      </a:cubicBezTo>
                      <a:cubicBezTo>
                        <a:pt x="10193" y="779"/>
                        <a:pt x="10188" y="747"/>
                        <a:pt x="10188" y="714"/>
                      </a:cubicBezTo>
                      <a:cubicBezTo>
                        <a:pt x="10188" y="701"/>
                        <a:pt x="10197" y="683"/>
                        <a:pt x="10216" y="658"/>
                      </a:cubicBezTo>
                      <a:cubicBezTo>
                        <a:pt x="10234" y="633"/>
                        <a:pt x="10244" y="610"/>
                        <a:pt x="10244" y="590"/>
                      </a:cubicBezTo>
                      <a:cubicBezTo>
                        <a:pt x="10244" y="546"/>
                        <a:pt x="10203" y="524"/>
                        <a:pt x="10121" y="524"/>
                      </a:cubicBezTo>
                      <a:cubicBezTo>
                        <a:pt x="10112" y="528"/>
                        <a:pt x="10105" y="531"/>
                        <a:pt x="10101" y="531"/>
                      </a:cubicBezTo>
                      <a:cubicBezTo>
                        <a:pt x="10114" y="607"/>
                        <a:pt x="10087" y="645"/>
                        <a:pt x="10018" y="645"/>
                      </a:cubicBezTo>
                      <a:cubicBezTo>
                        <a:pt x="10003" y="645"/>
                        <a:pt x="9993" y="643"/>
                        <a:pt x="9987" y="639"/>
                      </a:cubicBezTo>
                      <a:cubicBezTo>
                        <a:pt x="9980" y="633"/>
                        <a:pt x="9976" y="621"/>
                        <a:pt x="9976" y="602"/>
                      </a:cubicBezTo>
                      <a:cubicBezTo>
                        <a:pt x="9976" y="598"/>
                        <a:pt x="9981" y="590"/>
                        <a:pt x="9990" y="577"/>
                      </a:cubicBezTo>
                      <a:cubicBezTo>
                        <a:pt x="9999" y="565"/>
                        <a:pt x="10004" y="553"/>
                        <a:pt x="10004" y="543"/>
                      </a:cubicBezTo>
                      <a:cubicBezTo>
                        <a:pt x="10004" y="518"/>
                        <a:pt x="9993" y="496"/>
                        <a:pt x="9970" y="478"/>
                      </a:cubicBezTo>
                      <a:cubicBezTo>
                        <a:pt x="9941" y="459"/>
                        <a:pt x="9917" y="443"/>
                        <a:pt x="9901" y="428"/>
                      </a:cubicBezTo>
                      <a:cubicBezTo>
                        <a:pt x="9886" y="416"/>
                        <a:pt x="9870" y="392"/>
                        <a:pt x="9853" y="357"/>
                      </a:cubicBezTo>
                      <a:cubicBezTo>
                        <a:pt x="9840" y="332"/>
                        <a:pt x="9821" y="320"/>
                        <a:pt x="9795" y="320"/>
                      </a:cubicBezTo>
                      <a:cubicBezTo>
                        <a:pt x="9774" y="320"/>
                        <a:pt x="9764" y="330"/>
                        <a:pt x="9764" y="351"/>
                      </a:cubicBezTo>
                      <a:cubicBezTo>
                        <a:pt x="9764" y="361"/>
                        <a:pt x="9770" y="382"/>
                        <a:pt x="9781" y="413"/>
                      </a:cubicBezTo>
                      <a:cubicBezTo>
                        <a:pt x="9766" y="479"/>
                        <a:pt x="9742" y="512"/>
                        <a:pt x="9708" y="512"/>
                      </a:cubicBezTo>
                      <a:cubicBezTo>
                        <a:pt x="9701" y="512"/>
                        <a:pt x="9691" y="505"/>
                        <a:pt x="9677" y="490"/>
                      </a:cubicBezTo>
                      <a:cubicBezTo>
                        <a:pt x="9666" y="478"/>
                        <a:pt x="9661" y="470"/>
                        <a:pt x="9661" y="465"/>
                      </a:cubicBezTo>
                      <a:cubicBezTo>
                        <a:pt x="9661" y="418"/>
                        <a:pt x="9666" y="375"/>
                        <a:pt x="9677" y="338"/>
                      </a:cubicBezTo>
                      <a:cubicBezTo>
                        <a:pt x="9689" y="303"/>
                        <a:pt x="9694" y="273"/>
                        <a:pt x="9694" y="248"/>
                      </a:cubicBezTo>
                      <a:cubicBezTo>
                        <a:pt x="9694" y="190"/>
                        <a:pt x="9660" y="161"/>
                        <a:pt x="9591" y="161"/>
                      </a:cubicBezTo>
                      <a:cubicBezTo>
                        <a:pt x="9494" y="159"/>
                        <a:pt x="9440" y="155"/>
                        <a:pt x="9426" y="149"/>
                      </a:cubicBezTo>
                      <a:cubicBezTo>
                        <a:pt x="9367" y="103"/>
                        <a:pt x="9317" y="69"/>
                        <a:pt x="9276" y="47"/>
                      </a:cubicBezTo>
                      <a:cubicBezTo>
                        <a:pt x="9268" y="40"/>
                        <a:pt x="9242" y="31"/>
                        <a:pt x="9198" y="19"/>
                      </a:cubicBezTo>
                      <a:cubicBezTo>
                        <a:pt x="9153" y="6"/>
                        <a:pt x="9122" y="0"/>
                        <a:pt x="9103" y="0"/>
                      </a:cubicBezTo>
                      <a:cubicBezTo>
                        <a:pt x="9040" y="0"/>
                        <a:pt x="8991" y="26"/>
                        <a:pt x="8958" y="78"/>
                      </a:cubicBezTo>
                      <a:cubicBezTo>
                        <a:pt x="8908" y="152"/>
                        <a:pt x="8869" y="199"/>
                        <a:pt x="8841" y="217"/>
                      </a:cubicBezTo>
                      <a:cubicBezTo>
                        <a:pt x="8798" y="246"/>
                        <a:pt x="8763" y="288"/>
                        <a:pt x="8735" y="341"/>
                      </a:cubicBezTo>
                      <a:cubicBezTo>
                        <a:pt x="8713" y="389"/>
                        <a:pt x="8672" y="426"/>
                        <a:pt x="8612" y="453"/>
                      </a:cubicBezTo>
                      <a:lnTo>
                        <a:pt x="8607" y="447"/>
                      </a:lnTo>
                      <a:cubicBezTo>
                        <a:pt x="8608" y="407"/>
                        <a:pt x="8603" y="376"/>
                        <a:pt x="8590" y="354"/>
                      </a:cubicBezTo>
                      <a:cubicBezTo>
                        <a:pt x="8579" y="335"/>
                        <a:pt x="8565" y="326"/>
                        <a:pt x="8548" y="326"/>
                      </a:cubicBezTo>
                      <a:cubicBezTo>
                        <a:pt x="8513" y="326"/>
                        <a:pt x="8480" y="352"/>
                        <a:pt x="8450" y="403"/>
                      </a:cubicBezTo>
                      <a:cubicBezTo>
                        <a:pt x="8422" y="453"/>
                        <a:pt x="8400" y="478"/>
                        <a:pt x="8383" y="478"/>
                      </a:cubicBezTo>
                      <a:cubicBezTo>
                        <a:pt x="8380" y="478"/>
                        <a:pt x="8363" y="460"/>
                        <a:pt x="8333" y="425"/>
                      </a:cubicBezTo>
                      <a:cubicBezTo>
                        <a:pt x="8303" y="388"/>
                        <a:pt x="8275" y="369"/>
                        <a:pt x="8247" y="369"/>
                      </a:cubicBezTo>
                      <a:cubicBezTo>
                        <a:pt x="8230" y="369"/>
                        <a:pt x="8212" y="375"/>
                        <a:pt x="8194" y="388"/>
                      </a:cubicBezTo>
                      <a:lnTo>
                        <a:pt x="8191" y="391"/>
                      </a:lnTo>
                      <a:cubicBezTo>
                        <a:pt x="8176" y="397"/>
                        <a:pt x="8156" y="400"/>
                        <a:pt x="8130" y="400"/>
                      </a:cubicBezTo>
                      <a:cubicBezTo>
                        <a:pt x="8100" y="400"/>
                        <a:pt x="8069" y="388"/>
                        <a:pt x="8038" y="363"/>
                      </a:cubicBezTo>
                      <a:cubicBezTo>
                        <a:pt x="8004" y="338"/>
                        <a:pt x="7978" y="326"/>
                        <a:pt x="7960" y="326"/>
                      </a:cubicBezTo>
                      <a:cubicBezTo>
                        <a:pt x="7764" y="382"/>
                        <a:pt x="7667" y="398"/>
                        <a:pt x="7667" y="375"/>
                      </a:cubicBezTo>
                      <a:lnTo>
                        <a:pt x="7667" y="372"/>
                      </a:lnTo>
                      <a:cubicBezTo>
                        <a:pt x="7624" y="366"/>
                        <a:pt x="7585" y="363"/>
                        <a:pt x="7550" y="363"/>
                      </a:cubicBezTo>
                      <a:cubicBezTo>
                        <a:pt x="7511" y="363"/>
                        <a:pt x="7482" y="378"/>
                        <a:pt x="7463" y="406"/>
                      </a:cubicBezTo>
                      <a:cubicBezTo>
                        <a:pt x="7450" y="427"/>
                        <a:pt x="7429" y="481"/>
                        <a:pt x="7399" y="568"/>
                      </a:cubicBezTo>
                      <a:cubicBezTo>
                        <a:pt x="7397" y="572"/>
                        <a:pt x="7371" y="625"/>
                        <a:pt x="7321" y="726"/>
                      </a:cubicBezTo>
                      <a:cubicBezTo>
                        <a:pt x="7274" y="819"/>
                        <a:pt x="7251" y="872"/>
                        <a:pt x="7251" y="884"/>
                      </a:cubicBezTo>
                      <a:cubicBezTo>
                        <a:pt x="7251" y="969"/>
                        <a:pt x="7308" y="1056"/>
                        <a:pt x="7421" y="1145"/>
                      </a:cubicBezTo>
                      <a:cubicBezTo>
                        <a:pt x="7514" y="1217"/>
                        <a:pt x="7573" y="1254"/>
                        <a:pt x="7597" y="1254"/>
                      </a:cubicBezTo>
                      <a:cubicBezTo>
                        <a:pt x="7617" y="1254"/>
                        <a:pt x="7641" y="1241"/>
                        <a:pt x="7667" y="1216"/>
                      </a:cubicBezTo>
                      <a:lnTo>
                        <a:pt x="7725" y="1157"/>
                      </a:lnTo>
                      <a:cubicBezTo>
                        <a:pt x="7725" y="1172"/>
                        <a:pt x="7733" y="1200"/>
                        <a:pt x="7748" y="1241"/>
                      </a:cubicBezTo>
                      <a:cubicBezTo>
                        <a:pt x="7748" y="1256"/>
                        <a:pt x="7738" y="1318"/>
                        <a:pt x="7720" y="1427"/>
                      </a:cubicBezTo>
                      <a:cubicBezTo>
                        <a:pt x="7720" y="1469"/>
                        <a:pt x="7712" y="1519"/>
                        <a:pt x="7697" y="1579"/>
                      </a:cubicBezTo>
                      <a:cubicBezTo>
                        <a:pt x="7681" y="1637"/>
                        <a:pt x="7672" y="1682"/>
                        <a:pt x="7672" y="1713"/>
                      </a:cubicBezTo>
                      <a:lnTo>
                        <a:pt x="7686" y="1793"/>
                      </a:lnTo>
                      <a:cubicBezTo>
                        <a:pt x="7686" y="1831"/>
                        <a:pt x="7671" y="1885"/>
                        <a:pt x="7642" y="1958"/>
                      </a:cubicBezTo>
                      <a:cubicBezTo>
                        <a:pt x="7610" y="2032"/>
                        <a:pt x="7594" y="2075"/>
                        <a:pt x="7594" y="2085"/>
                      </a:cubicBezTo>
                      <a:cubicBezTo>
                        <a:pt x="7594" y="2118"/>
                        <a:pt x="7607" y="2147"/>
                        <a:pt x="7633" y="2172"/>
                      </a:cubicBezTo>
                      <a:cubicBezTo>
                        <a:pt x="7657" y="2197"/>
                        <a:pt x="7685" y="2209"/>
                        <a:pt x="7717" y="2209"/>
                      </a:cubicBezTo>
                      <a:cubicBezTo>
                        <a:pt x="7730" y="2209"/>
                        <a:pt x="7775" y="2187"/>
                        <a:pt x="7851" y="2144"/>
                      </a:cubicBezTo>
                      <a:lnTo>
                        <a:pt x="7943" y="2144"/>
                      </a:lnTo>
                      <a:cubicBezTo>
                        <a:pt x="7934" y="2183"/>
                        <a:pt x="7908" y="2208"/>
                        <a:pt x="7868" y="2218"/>
                      </a:cubicBezTo>
                      <a:cubicBezTo>
                        <a:pt x="7830" y="2229"/>
                        <a:pt x="7812" y="2252"/>
                        <a:pt x="7812" y="2287"/>
                      </a:cubicBezTo>
                      <a:cubicBezTo>
                        <a:pt x="7812" y="2320"/>
                        <a:pt x="7818" y="2343"/>
                        <a:pt x="7831" y="2355"/>
                      </a:cubicBezTo>
                      <a:cubicBezTo>
                        <a:pt x="7852" y="2376"/>
                        <a:pt x="7866" y="2395"/>
                        <a:pt x="7873" y="2414"/>
                      </a:cubicBezTo>
                      <a:cubicBezTo>
                        <a:pt x="7875" y="2416"/>
                        <a:pt x="7875" y="2438"/>
                        <a:pt x="7873" y="2479"/>
                      </a:cubicBezTo>
                      <a:cubicBezTo>
                        <a:pt x="7873" y="2518"/>
                        <a:pt x="7879" y="2543"/>
                        <a:pt x="7890" y="2554"/>
                      </a:cubicBezTo>
                      <a:cubicBezTo>
                        <a:pt x="7905" y="2570"/>
                        <a:pt x="7939" y="2599"/>
                        <a:pt x="7993" y="2640"/>
                      </a:cubicBezTo>
                      <a:cubicBezTo>
                        <a:pt x="8040" y="2684"/>
                        <a:pt x="8063" y="2724"/>
                        <a:pt x="8063" y="2761"/>
                      </a:cubicBezTo>
                      <a:cubicBezTo>
                        <a:pt x="8063" y="2778"/>
                        <a:pt x="8049" y="2805"/>
                        <a:pt x="8021" y="2842"/>
                      </a:cubicBezTo>
                      <a:cubicBezTo>
                        <a:pt x="7991" y="2881"/>
                        <a:pt x="7976" y="2915"/>
                        <a:pt x="7976" y="2941"/>
                      </a:cubicBezTo>
                      <a:cubicBezTo>
                        <a:pt x="7976" y="2958"/>
                        <a:pt x="7986" y="2973"/>
                        <a:pt x="8004" y="2988"/>
                      </a:cubicBezTo>
                      <a:cubicBezTo>
                        <a:pt x="8023" y="3002"/>
                        <a:pt x="8041" y="3010"/>
                        <a:pt x="8060" y="3010"/>
                      </a:cubicBezTo>
                      <a:cubicBezTo>
                        <a:pt x="8101" y="3010"/>
                        <a:pt x="8134" y="2990"/>
                        <a:pt x="8160" y="2951"/>
                      </a:cubicBezTo>
                      <a:cubicBezTo>
                        <a:pt x="8186" y="2909"/>
                        <a:pt x="8201" y="2889"/>
                        <a:pt x="8205" y="2889"/>
                      </a:cubicBezTo>
                      <a:cubicBezTo>
                        <a:pt x="8233" y="2889"/>
                        <a:pt x="8247" y="2909"/>
                        <a:pt x="8247" y="2951"/>
                      </a:cubicBezTo>
                      <a:cubicBezTo>
                        <a:pt x="8247" y="2967"/>
                        <a:pt x="8238" y="2994"/>
                        <a:pt x="8222" y="3031"/>
                      </a:cubicBezTo>
                      <a:cubicBezTo>
                        <a:pt x="8203" y="3069"/>
                        <a:pt x="8194" y="3097"/>
                        <a:pt x="8194" y="3115"/>
                      </a:cubicBezTo>
                      <a:lnTo>
                        <a:pt x="8199" y="3174"/>
                      </a:lnTo>
                      <a:cubicBezTo>
                        <a:pt x="8199" y="3189"/>
                        <a:pt x="8229" y="3199"/>
                        <a:pt x="8289" y="3205"/>
                      </a:cubicBezTo>
                      <a:cubicBezTo>
                        <a:pt x="8348" y="3213"/>
                        <a:pt x="8378" y="3224"/>
                        <a:pt x="8378" y="3236"/>
                      </a:cubicBezTo>
                      <a:cubicBezTo>
                        <a:pt x="8378" y="3292"/>
                        <a:pt x="8347" y="3324"/>
                        <a:pt x="8286" y="3332"/>
                      </a:cubicBezTo>
                      <a:cubicBezTo>
                        <a:pt x="8213" y="3328"/>
                        <a:pt x="8166" y="3326"/>
                        <a:pt x="8144" y="3326"/>
                      </a:cubicBezTo>
                      <a:cubicBezTo>
                        <a:pt x="8116" y="3326"/>
                        <a:pt x="8092" y="3335"/>
                        <a:pt x="8074" y="3354"/>
                      </a:cubicBezTo>
                      <a:cubicBezTo>
                        <a:pt x="8053" y="3375"/>
                        <a:pt x="8042" y="3406"/>
                        <a:pt x="8040" y="3447"/>
                      </a:cubicBezTo>
                      <a:cubicBezTo>
                        <a:pt x="8044" y="3451"/>
                        <a:pt x="8044" y="3459"/>
                        <a:pt x="8040" y="3469"/>
                      </a:cubicBezTo>
                      <a:cubicBezTo>
                        <a:pt x="8040" y="3494"/>
                        <a:pt x="8057" y="3523"/>
                        <a:pt x="8091" y="3556"/>
                      </a:cubicBezTo>
                      <a:cubicBezTo>
                        <a:pt x="8122" y="3589"/>
                        <a:pt x="8138" y="3616"/>
                        <a:pt x="8138" y="3636"/>
                      </a:cubicBezTo>
                      <a:cubicBezTo>
                        <a:pt x="8138" y="3649"/>
                        <a:pt x="8115" y="3682"/>
                        <a:pt x="8068" y="3736"/>
                      </a:cubicBezTo>
                      <a:cubicBezTo>
                        <a:pt x="8020" y="3789"/>
                        <a:pt x="7986" y="3820"/>
                        <a:pt x="7965" y="3829"/>
                      </a:cubicBezTo>
                      <a:cubicBezTo>
                        <a:pt x="7902" y="3851"/>
                        <a:pt x="7847" y="3881"/>
                        <a:pt x="7801" y="3919"/>
                      </a:cubicBezTo>
                      <a:cubicBezTo>
                        <a:pt x="7743" y="3962"/>
                        <a:pt x="7714" y="4007"/>
                        <a:pt x="7714" y="4052"/>
                      </a:cubicBezTo>
                      <a:cubicBezTo>
                        <a:pt x="7714" y="4087"/>
                        <a:pt x="7725" y="4117"/>
                        <a:pt x="7748" y="4142"/>
                      </a:cubicBezTo>
                      <a:cubicBezTo>
                        <a:pt x="7768" y="4169"/>
                        <a:pt x="7778" y="4215"/>
                        <a:pt x="7778" y="4279"/>
                      </a:cubicBezTo>
                      <a:lnTo>
                        <a:pt x="7784" y="4313"/>
                      </a:lnTo>
                      <a:cubicBezTo>
                        <a:pt x="7784" y="4342"/>
                        <a:pt x="7835" y="4389"/>
                        <a:pt x="7937" y="4455"/>
                      </a:cubicBezTo>
                      <a:cubicBezTo>
                        <a:pt x="8021" y="4509"/>
                        <a:pt x="8113" y="4560"/>
                        <a:pt x="8213" y="4608"/>
                      </a:cubicBezTo>
                      <a:cubicBezTo>
                        <a:pt x="8260" y="4628"/>
                        <a:pt x="8334" y="4653"/>
                        <a:pt x="8436" y="4682"/>
                      </a:cubicBezTo>
                      <a:cubicBezTo>
                        <a:pt x="8476" y="4699"/>
                        <a:pt x="8500" y="4711"/>
                        <a:pt x="8509" y="4719"/>
                      </a:cubicBezTo>
                      <a:cubicBezTo>
                        <a:pt x="8515" y="4723"/>
                        <a:pt x="8520" y="4730"/>
                        <a:pt x="8526" y="4738"/>
                      </a:cubicBezTo>
                      <a:cubicBezTo>
                        <a:pt x="8529" y="4742"/>
                        <a:pt x="8534" y="4748"/>
                        <a:pt x="8540" y="4756"/>
                      </a:cubicBezTo>
                      <a:cubicBezTo>
                        <a:pt x="8542" y="4767"/>
                        <a:pt x="8545" y="4779"/>
                        <a:pt x="8551" y="4794"/>
                      </a:cubicBezTo>
                      <a:cubicBezTo>
                        <a:pt x="8564" y="4835"/>
                        <a:pt x="8584" y="4889"/>
                        <a:pt x="8612" y="4955"/>
                      </a:cubicBezTo>
                      <a:cubicBezTo>
                        <a:pt x="8664" y="5077"/>
                        <a:pt x="8695" y="5155"/>
                        <a:pt x="8704" y="5188"/>
                      </a:cubicBezTo>
                      <a:cubicBezTo>
                        <a:pt x="8710" y="5206"/>
                        <a:pt x="8738" y="5246"/>
                        <a:pt x="8788" y="5306"/>
                      </a:cubicBezTo>
                      <a:cubicBezTo>
                        <a:pt x="8842" y="5368"/>
                        <a:pt x="8875" y="5415"/>
                        <a:pt x="8888" y="5448"/>
                      </a:cubicBezTo>
                      <a:cubicBezTo>
                        <a:pt x="8937" y="5572"/>
                        <a:pt x="8969" y="5645"/>
                        <a:pt x="8986" y="5666"/>
                      </a:cubicBezTo>
                      <a:cubicBezTo>
                        <a:pt x="9017" y="5707"/>
                        <a:pt x="9048" y="5773"/>
                        <a:pt x="9078" y="5864"/>
                      </a:cubicBezTo>
                      <a:cubicBezTo>
                        <a:pt x="9095" y="5918"/>
                        <a:pt x="9119" y="6005"/>
                        <a:pt x="9150" y="6125"/>
                      </a:cubicBezTo>
                      <a:cubicBezTo>
                        <a:pt x="9156" y="6141"/>
                        <a:pt x="9171" y="6180"/>
                        <a:pt x="9195" y="6240"/>
                      </a:cubicBezTo>
                      <a:cubicBezTo>
                        <a:pt x="9215" y="6285"/>
                        <a:pt x="9228" y="6325"/>
                        <a:pt x="9231" y="6361"/>
                      </a:cubicBezTo>
                      <a:cubicBezTo>
                        <a:pt x="9233" y="6394"/>
                        <a:pt x="9241" y="6434"/>
                        <a:pt x="9256" y="6482"/>
                      </a:cubicBezTo>
                      <a:cubicBezTo>
                        <a:pt x="9275" y="6539"/>
                        <a:pt x="9295" y="6568"/>
                        <a:pt x="9315" y="6568"/>
                      </a:cubicBezTo>
                      <a:cubicBezTo>
                        <a:pt x="9332" y="6568"/>
                        <a:pt x="9340" y="6514"/>
                        <a:pt x="9340" y="6404"/>
                      </a:cubicBezTo>
                      <a:cubicBezTo>
                        <a:pt x="9338" y="6294"/>
                        <a:pt x="9349" y="6240"/>
                        <a:pt x="9374" y="6240"/>
                      </a:cubicBezTo>
                      <a:cubicBezTo>
                        <a:pt x="9381" y="6240"/>
                        <a:pt x="9398" y="6264"/>
                        <a:pt x="9424" y="6314"/>
                      </a:cubicBezTo>
                      <a:cubicBezTo>
                        <a:pt x="9452" y="6370"/>
                        <a:pt x="9467" y="6400"/>
                        <a:pt x="9471" y="6404"/>
                      </a:cubicBezTo>
                      <a:cubicBezTo>
                        <a:pt x="9482" y="6416"/>
                        <a:pt x="9506" y="6438"/>
                        <a:pt x="9541" y="6469"/>
                      </a:cubicBezTo>
                      <a:cubicBezTo>
                        <a:pt x="9571" y="6498"/>
                        <a:pt x="9585" y="6523"/>
                        <a:pt x="9585" y="6544"/>
                      </a:cubicBezTo>
                      <a:cubicBezTo>
                        <a:pt x="9585" y="6556"/>
                        <a:pt x="9575" y="6576"/>
                        <a:pt x="9555" y="6603"/>
                      </a:cubicBezTo>
                      <a:cubicBezTo>
                        <a:pt x="9536" y="6625"/>
                        <a:pt x="9522" y="6644"/>
                        <a:pt x="9513" y="6658"/>
                      </a:cubicBezTo>
                      <a:lnTo>
                        <a:pt x="9368" y="6640"/>
                      </a:lnTo>
                      <a:cubicBezTo>
                        <a:pt x="9308" y="6640"/>
                        <a:pt x="9269" y="6671"/>
                        <a:pt x="9251" y="6733"/>
                      </a:cubicBezTo>
                      <a:cubicBezTo>
                        <a:pt x="9238" y="6770"/>
                        <a:pt x="9226" y="6840"/>
                        <a:pt x="9215" y="6944"/>
                      </a:cubicBezTo>
                      <a:cubicBezTo>
                        <a:pt x="9201" y="7014"/>
                        <a:pt x="9144" y="7169"/>
                        <a:pt x="9042" y="7409"/>
                      </a:cubicBezTo>
                      <a:lnTo>
                        <a:pt x="9047" y="7422"/>
                      </a:lnTo>
                      <a:cubicBezTo>
                        <a:pt x="9053" y="7430"/>
                        <a:pt x="9057" y="7434"/>
                        <a:pt x="9061" y="7434"/>
                      </a:cubicBezTo>
                      <a:lnTo>
                        <a:pt x="9117" y="7422"/>
                      </a:lnTo>
                      <a:cubicBezTo>
                        <a:pt x="9124" y="7430"/>
                        <a:pt x="9128" y="7441"/>
                        <a:pt x="9128" y="7456"/>
                      </a:cubicBezTo>
                      <a:cubicBezTo>
                        <a:pt x="9128" y="7472"/>
                        <a:pt x="9053" y="7555"/>
                        <a:pt x="8902" y="7704"/>
                      </a:cubicBezTo>
                      <a:cubicBezTo>
                        <a:pt x="8740" y="7865"/>
                        <a:pt x="8646" y="7975"/>
                        <a:pt x="8618" y="8033"/>
                      </a:cubicBezTo>
                      <a:cubicBezTo>
                        <a:pt x="8581" y="8109"/>
                        <a:pt x="8409" y="8321"/>
                        <a:pt x="8105" y="8669"/>
                      </a:cubicBezTo>
                      <a:cubicBezTo>
                        <a:pt x="8105" y="8696"/>
                        <a:pt x="8127" y="8718"/>
                        <a:pt x="8171" y="8734"/>
                      </a:cubicBezTo>
                      <a:cubicBezTo>
                        <a:pt x="8194" y="8744"/>
                        <a:pt x="8225" y="8757"/>
                        <a:pt x="8264" y="8771"/>
                      </a:cubicBezTo>
                      <a:cubicBezTo>
                        <a:pt x="8301" y="8796"/>
                        <a:pt x="8327" y="8821"/>
                        <a:pt x="8342" y="8846"/>
                      </a:cubicBezTo>
                      <a:cubicBezTo>
                        <a:pt x="8370" y="8891"/>
                        <a:pt x="8387" y="8918"/>
                        <a:pt x="8395" y="8926"/>
                      </a:cubicBezTo>
                      <a:cubicBezTo>
                        <a:pt x="8424" y="8964"/>
                        <a:pt x="8459" y="9029"/>
                        <a:pt x="8498" y="9122"/>
                      </a:cubicBezTo>
                      <a:cubicBezTo>
                        <a:pt x="8533" y="9209"/>
                        <a:pt x="8567" y="9263"/>
                        <a:pt x="8598" y="9283"/>
                      </a:cubicBezTo>
                      <a:cubicBezTo>
                        <a:pt x="8635" y="9349"/>
                        <a:pt x="8675" y="9450"/>
                        <a:pt x="8718" y="9584"/>
                      </a:cubicBezTo>
                      <a:cubicBezTo>
                        <a:pt x="8761" y="9727"/>
                        <a:pt x="8791" y="9814"/>
                        <a:pt x="8807" y="9845"/>
                      </a:cubicBezTo>
                      <a:cubicBezTo>
                        <a:pt x="8835" y="9899"/>
                        <a:pt x="8853" y="9941"/>
                        <a:pt x="8860" y="9972"/>
                      </a:cubicBezTo>
                      <a:cubicBezTo>
                        <a:pt x="8862" y="9982"/>
                        <a:pt x="8865" y="10007"/>
                        <a:pt x="8869" y="10047"/>
                      </a:cubicBezTo>
                      <a:cubicBezTo>
                        <a:pt x="8869" y="10078"/>
                        <a:pt x="8873" y="10102"/>
                        <a:pt x="8883" y="10121"/>
                      </a:cubicBezTo>
                      <a:cubicBezTo>
                        <a:pt x="8899" y="10158"/>
                        <a:pt x="8924" y="10200"/>
                        <a:pt x="8958" y="10245"/>
                      </a:cubicBezTo>
                      <a:cubicBezTo>
                        <a:pt x="8977" y="10270"/>
                        <a:pt x="8986" y="10296"/>
                        <a:pt x="8986" y="10323"/>
                      </a:cubicBezTo>
                      <a:cubicBezTo>
                        <a:pt x="8986" y="10325"/>
                        <a:pt x="8981" y="10339"/>
                        <a:pt x="8972" y="10366"/>
                      </a:cubicBezTo>
                      <a:cubicBezTo>
                        <a:pt x="8961" y="10393"/>
                        <a:pt x="8955" y="10412"/>
                        <a:pt x="8955" y="10422"/>
                      </a:cubicBezTo>
                      <a:cubicBezTo>
                        <a:pt x="8955" y="10492"/>
                        <a:pt x="9011" y="10562"/>
                        <a:pt x="9123" y="10630"/>
                      </a:cubicBezTo>
                      <a:cubicBezTo>
                        <a:pt x="9152" y="10649"/>
                        <a:pt x="9177" y="10690"/>
                        <a:pt x="9198" y="10754"/>
                      </a:cubicBezTo>
                      <a:cubicBezTo>
                        <a:pt x="9215" y="10806"/>
                        <a:pt x="9242" y="10832"/>
                        <a:pt x="9281" y="10832"/>
                      </a:cubicBezTo>
                      <a:cubicBezTo>
                        <a:pt x="9307" y="10832"/>
                        <a:pt x="9340" y="10812"/>
                        <a:pt x="9379" y="10773"/>
                      </a:cubicBezTo>
                      <a:cubicBezTo>
                        <a:pt x="9420" y="10731"/>
                        <a:pt x="9450" y="10711"/>
                        <a:pt x="9468" y="10711"/>
                      </a:cubicBezTo>
                      <a:cubicBezTo>
                        <a:pt x="9478" y="10711"/>
                        <a:pt x="9486" y="10714"/>
                        <a:pt x="9493" y="10720"/>
                      </a:cubicBezTo>
                      <a:cubicBezTo>
                        <a:pt x="9482" y="10794"/>
                        <a:pt x="9435" y="10844"/>
                        <a:pt x="9351" y="10869"/>
                      </a:cubicBezTo>
                      <a:cubicBezTo>
                        <a:pt x="9269" y="10894"/>
                        <a:pt x="9228" y="10933"/>
                        <a:pt x="9226" y="10987"/>
                      </a:cubicBezTo>
                      <a:cubicBezTo>
                        <a:pt x="9222" y="11059"/>
                        <a:pt x="9195" y="11137"/>
                        <a:pt x="9145" y="11219"/>
                      </a:cubicBezTo>
                      <a:cubicBezTo>
                        <a:pt x="9121" y="11232"/>
                        <a:pt x="9098" y="11247"/>
                        <a:pt x="9078" y="11266"/>
                      </a:cubicBezTo>
                      <a:cubicBezTo>
                        <a:pt x="9035" y="11299"/>
                        <a:pt x="9014" y="11332"/>
                        <a:pt x="9014" y="11365"/>
                      </a:cubicBezTo>
                      <a:cubicBezTo>
                        <a:pt x="9014" y="11390"/>
                        <a:pt x="9058" y="11441"/>
                        <a:pt x="9148" y="11517"/>
                      </a:cubicBezTo>
                      <a:cubicBezTo>
                        <a:pt x="9237" y="11594"/>
                        <a:pt x="9281" y="11646"/>
                        <a:pt x="9281" y="11672"/>
                      </a:cubicBezTo>
                      <a:cubicBezTo>
                        <a:pt x="9281" y="11743"/>
                        <a:pt x="9255" y="11806"/>
                        <a:pt x="9203" y="11862"/>
                      </a:cubicBezTo>
                      <a:lnTo>
                        <a:pt x="9156" y="11862"/>
                      </a:lnTo>
                      <a:cubicBezTo>
                        <a:pt x="9149" y="11818"/>
                        <a:pt x="9140" y="11782"/>
                        <a:pt x="9131" y="11753"/>
                      </a:cubicBezTo>
                      <a:cubicBezTo>
                        <a:pt x="9116" y="11699"/>
                        <a:pt x="9095" y="11667"/>
                        <a:pt x="9069" y="11657"/>
                      </a:cubicBezTo>
                      <a:cubicBezTo>
                        <a:pt x="9040" y="11644"/>
                        <a:pt x="8994" y="11620"/>
                        <a:pt x="8933" y="11582"/>
                      </a:cubicBezTo>
                      <a:cubicBezTo>
                        <a:pt x="8883" y="11551"/>
                        <a:pt x="8854" y="11536"/>
                        <a:pt x="8846" y="11536"/>
                      </a:cubicBezTo>
                      <a:cubicBezTo>
                        <a:pt x="8824" y="11536"/>
                        <a:pt x="8811" y="11549"/>
                        <a:pt x="8807" y="11576"/>
                      </a:cubicBezTo>
                      <a:cubicBezTo>
                        <a:pt x="8805" y="11591"/>
                        <a:pt x="8805" y="11614"/>
                        <a:pt x="8807" y="11648"/>
                      </a:cubicBezTo>
                      <a:cubicBezTo>
                        <a:pt x="8807" y="11670"/>
                        <a:pt x="8811" y="11700"/>
                        <a:pt x="8818" y="11738"/>
                      </a:cubicBezTo>
                      <a:cubicBezTo>
                        <a:pt x="8826" y="11775"/>
                        <a:pt x="8830" y="11800"/>
                        <a:pt x="8830" y="11812"/>
                      </a:cubicBezTo>
                      <a:cubicBezTo>
                        <a:pt x="8830" y="11814"/>
                        <a:pt x="8830" y="11816"/>
                        <a:pt x="8830" y="11818"/>
                      </a:cubicBezTo>
                      <a:cubicBezTo>
                        <a:pt x="8828" y="11847"/>
                        <a:pt x="8817" y="11866"/>
                        <a:pt x="8796" y="11874"/>
                      </a:cubicBezTo>
                      <a:cubicBezTo>
                        <a:pt x="8785" y="11849"/>
                        <a:pt x="8777" y="11832"/>
                        <a:pt x="8771" y="11821"/>
                      </a:cubicBezTo>
                      <a:cubicBezTo>
                        <a:pt x="8762" y="11805"/>
                        <a:pt x="8748" y="11797"/>
                        <a:pt x="8729" y="11797"/>
                      </a:cubicBezTo>
                      <a:cubicBezTo>
                        <a:pt x="8716" y="11797"/>
                        <a:pt x="8708" y="11801"/>
                        <a:pt x="8704" y="11809"/>
                      </a:cubicBezTo>
                      <a:cubicBezTo>
                        <a:pt x="8700" y="11815"/>
                        <a:pt x="8699" y="11829"/>
                        <a:pt x="8699" y="11849"/>
                      </a:cubicBezTo>
                      <a:cubicBezTo>
                        <a:pt x="8699" y="11913"/>
                        <a:pt x="8713" y="11970"/>
                        <a:pt x="8740" y="12020"/>
                      </a:cubicBezTo>
                      <a:cubicBezTo>
                        <a:pt x="8766" y="12067"/>
                        <a:pt x="8779" y="12095"/>
                        <a:pt x="8779" y="12104"/>
                      </a:cubicBezTo>
                      <a:cubicBezTo>
                        <a:pt x="8779" y="12118"/>
                        <a:pt x="8774" y="12141"/>
                        <a:pt x="8763" y="12172"/>
                      </a:cubicBezTo>
                      <a:cubicBezTo>
                        <a:pt x="8750" y="12207"/>
                        <a:pt x="8736" y="12225"/>
                        <a:pt x="8721" y="12225"/>
                      </a:cubicBezTo>
                      <a:cubicBezTo>
                        <a:pt x="8704" y="12225"/>
                        <a:pt x="8688" y="12215"/>
                        <a:pt x="8673" y="12197"/>
                      </a:cubicBezTo>
                      <a:cubicBezTo>
                        <a:pt x="8657" y="12176"/>
                        <a:pt x="8644" y="12164"/>
                        <a:pt x="8634" y="12160"/>
                      </a:cubicBezTo>
                      <a:cubicBezTo>
                        <a:pt x="8586" y="12145"/>
                        <a:pt x="8550" y="12133"/>
                        <a:pt x="8526" y="12122"/>
                      </a:cubicBezTo>
                      <a:cubicBezTo>
                        <a:pt x="8496" y="12108"/>
                        <a:pt x="8467" y="12084"/>
                        <a:pt x="8439" y="12051"/>
                      </a:cubicBezTo>
                      <a:cubicBezTo>
                        <a:pt x="8421" y="12026"/>
                        <a:pt x="8395" y="12014"/>
                        <a:pt x="8361" y="12014"/>
                      </a:cubicBezTo>
                      <a:cubicBezTo>
                        <a:pt x="8313" y="12014"/>
                        <a:pt x="8265" y="12038"/>
                        <a:pt x="8219" y="12085"/>
                      </a:cubicBezTo>
                      <a:cubicBezTo>
                        <a:pt x="8210" y="12093"/>
                        <a:pt x="8181" y="12131"/>
                        <a:pt x="8132" y="12197"/>
                      </a:cubicBezTo>
                      <a:cubicBezTo>
                        <a:pt x="8097" y="12242"/>
                        <a:pt x="8079" y="12263"/>
                        <a:pt x="8077" y="12259"/>
                      </a:cubicBezTo>
                      <a:cubicBezTo>
                        <a:pt x="8075" y="12259"/>
                        <a:pt x="8074" y="12258"/>
                        <a:pt x="8074" y="12256"/>
                      </a:cubicBezTo>
                      <a:lnTo>
                        <a:pt x="8068" y="12256"/>
                      </a:lnTo>
                      <a:cubicBezTo>
                        <a:pt x="8098" y="12167"/>
                        <a:pt x="8140" y="12080"/>
                        <a:pt x="8194" y="11995"/>
                      </a:cubicBezTo>
                      <a:cubicBezTo>
                        <a:pt x="8225" y="11941"/>
                        <a:pt x="8241" y="11881"/>
                        <a:pt x="8241" y="11815"/>
                      </a:cubicBezTo>
                      <a:cubicBezTo>
                        <a:pt x="8241" y="11813"/>
                        <a:pt x="8216" y="11756"/>
                        <a:pt x="8166" y="11644"/>
                      </a:cubicBezTo>
                      <a:lnTo>
                        <a:pt x="7985" y="11492"/>
                      </a:lnTo>
                      <a:cubicBezTo>
                        <a:pt x="7871" y="11387"/>
                        <a:pt x="7810" y="11331"/>
                        <a:pt x="7801" y="11325"/>
                      </a:cubicBezTo>
                      <a:cubicBezTo>
                        <a:pt x="7750" y="11288"/>
                        <a:pt x="7695" y="11269"/>
                        <a:pt x="7636" y="11269"/>
                      </a:cubicBezTo>
                      <a:cubicBezTo>
                        <a:pt x="7567" y="11269"/>
                        <a:pt x="7491" y="11305"/>
                        <a:pt x="7407" y="11378"/>
                      </a:cubicBezTo>
                      <a:cubicBezTo>
                        <a:pt x="7324" y="11450"/>
                        <a:pt x="7274" y="11486"/>
                        <a:pt x="7260" y="11486"/>
                      </a:cubicBezTo>
                      <a:cubicBezTo>
                        <a:pt x="7254" y="11486"/>
                        <a:pt x="7249" y="11484"/>
                        <a:pt x="7246" y="11480"/>
                      </a:cubicBezTo>
                      <a:cubicBezTo>
                        <a:pt x="7262" y="11416"/>
                        <a:pt x="7321" y="11335"/>
                        <a:pt x="7421" y="11238"/>
                      </a:cubicBezTo>
                      <a:cubicBezTo>
                        <a:pt x="7473" y="11188"/>
                        <a:pt x="7531" y="11136"/>
                        <a:pt x="7594" y="11080"/>
                      </a:cubicBezTo>
                      <a:cubicBezTo>
                        <a:pt x="7503" y="10954"/>
                        <a:pt x="7425" y="10861"/>
                        <a:pt x="7360" y="10801"/>
                      </a:cubicBezTo>
                      <a:cubicBezTo>
                        <a:pt x="7265" y="10730"/>
                        <a:pt x="7198" y="10680"/>
                        <a:pt x="7159" y="10649"/>
                      </a:cubicBezTo>
                      <a:cubicBezTo>
                        <a:pt x="7096" y="10597"/>
                        <a:pt x="7061" y="10540"/>
                        <a:pt x="7056" y="10478"/>
                      </a:cubicBezTo>
                      <a:lnTo>
                        <a:pt x="7034" y="10307"/>
                      </a:lnTo>
                      <a:cubicBezTo>
                        <a:pt x="7041" y="10282"/>
                        <a:pt x="7045" y="10265"/>
                        <a:pt x="7045" y="10254"/>
                      </a:cubicBezTo>
                      <a:lnTo>
                        <a:pt x="7050" y="10019"/>
                      </a:lnTo>
                      <a:cubicBezTo>
                        <a:pt x="7050" y="9905"/>
                        <a:pt x="7039" y="9805"/>
                        <a:pt x="7017" y="9718"/>
                      </a:cubicBezTo>
                      <a:cubicBezTo>
                        <a:pt x="6987" y="9627"/>
                        <a:pt x="6966" y="9555"/>
                        <a:pt x="6953" y="9504"/>
                      </a:cubicBezTo>
                      <a:cubicBezTo>
                        <a:pt x="6912" y="9346"/>
                        <a:pt x="6890" y="9193"/>
                        <a:pt x="6889" y="9044"/>
                      </a:cubicBezTo>
                      <a:cubicBezTo>
                        <a:pt x="6881" y="8809"/>
                        <a:pt x="6845" y="8627"/>
                        <a:pt x="6780" y="8498"/>
                      </a:cubicBezTo>
                      <a:cubicBezTo>
                        <a:pt x="6759" y="8459"/>
                        <a:pt x="6741" y="8433"/>
                        <a:pt x="6724" y="8421"/>
                      </a:cubicBezTo>
                      <a:cubicBezTo>
                        <a:pt x="6705" y="8410"/>
                        <a:pt x="6675" y="8404"/>
                        <a:pt x="6632" y="8402"/>
                      </a:cubicBezTo>
                      <a:cubicBezTo>
                        <a:pt x="6589" y="8400"/>
                        <a:pt x="6555" y="8392"/>
                        <a:pt x="6529" y="8377"/>
                      </a:cubicBezTo>
                      <a:cubicBezTo>
                        <a:pt x="6505" y="8365"/>
                        <a:pt x="6482" y="8359"/>
                        <a:pt x="6462" y="8359"/>
                      </a:cubicBezTo>
                      <a:cubicBezTo>
                        <a:pt x="6410" y="8371"/>
                        <a:pt x="6373" y="8377"/>
                        <a:pt x="6350" y="8377"/>
                      </a:cubicBezTo>
                      <a:cubicBezTo>
                        <a:pt x="6341" y="8377"/>
                        <a:pt x="6323" y="8361"/>
                        <a:pt x="6297" y="8328"/>
                      </a:cubicBezTo>
                      <a:cubicBezTo>
                        <a:pt x="6271" y="8293"/>
                        <a:pt x="6250" y="8275"/>
                        <a:pt x="6233" y="8275"/>
                      </a:cubicBezTo>
                      <a:cubicBezTo>
                        <a:pt x="6075" y="8358"/>
                        <a:pt x="5985" y="8402"/>
                        <a:pt x="5963" y="8408"/>
                      </a:cubicBezTo>
                      <a:cubicBezTo>
                        <a:pt x="5946" y="8412"/>
                        <a:pt x="5890" y="8426"/>
                        <a:pt x="5795" y="8449"/>
                      </a:cubicBezTo>
                      <a:cubicBezTo>
                        <a:pt x="5766" y="8455"/>
                        <a:pt x="5729" y="8458"/>
                        <a:pt x="5687" y="8458"/>
                      </a:cubicBezTo>
                      <a:cubicBezTo>
                        <a:pt x="5573" y="8441"/>
                        <a:pt x="5497" y="8433"/>
                        <a:pt x="5458" y="8433"/>
                      </a:cubicBezTo>
                      <a:cubicBezTo>
                        <a:pt x="5302" y="8433"/>
                        <a:pt x="5203" y="8467"/>
                        <a:pt x="5162" y="8536"/>
                      </a:cubicBezTo>
                      <a:cubicBezTo>
                        <a:pt x="5160" y="8538"/>
                        <a:pt x="5144" y="8600"/>
                        <a:pt x="5112" y="8722"/>
                      </a:cubicBezTo>
                      <a:cubicBezTo>
                        <a:pt x="5086" y="8829"/>
                        <a:pt x="5058" y="8888"/>
                        <a:pt x="5028" y="8899"/>
                      </a:cubicBezTo>
                      <a:lnTo>
                        <a:pt x="5023" y="8864"/>
                      </a:lnTo>
                      <a:cubicBezTo>
                        <a:pt x="5023" y="8842"/>
                        <a:pt x="5038" y="8767"/>
                        <a:pt x="5067" y="8641"/>
                      </a:cubicBezTo>
                      <a:cubicBezTo>
                        <a:pt x="5095" y="8513"/>
                        <a:pt x="5109" y="8440"/>
                        <a:pt x="5109" y="8424"/>
                      </a:cubicBezTo>
                      <a:cubicBezTo>
                        <a:pt x="5109" y="8393"/>
                        <a:pt x="5080" y="8358"/>
                        <a:pt x="5023" y="8318"/>
                      </a:cubicBezTo>
                      <a:cubicBezTo>
                        <a:pt x="4986" y="8294"/>
                        <a:pt x="4955" y="8277"/>
                        <a:pt x="4931" y="8269"/>
                      </a:cubicBezTo>
                      <a:cubicBezTo>
                        <a:pt x="4925" y="8267"/>
                        <a:pt x="4920" y="8266"/>
                        <a:pt x="4914" y="8266"/>
                      </a:cubicBezTo>
                      <a:cubicBezTo>
                        <a:pt x="4793" y="8164"/>
                        <a:pt x="4682" y="8099"/>
                        <a:pt x="4579" y="8070"/>
                      </a:cubicBezTo>
                      <a:cubicBezTo>
                        <a:pt x="4551" y="8062"/>
                        <a:pt x="4489" y="8030"/>
                        <a:pt x="4393" y="7974"/>
                      </a:cubicBezTo>
                      <a:cubicBezTo>
                        <a:pt x="4301" y="7920"/>
                        <a:pt x="4247" y="7893"/>
                        <a:pt x="4228" y="7893"/>
                      </a:cubicBezTo>
                      <a:cubicBezTo>
                        <a:pt x="4198" y="7893"/>
                        <a:pt x="4170" y="7902"/>
                        <a:pt x="4144" y="7918"/>
                      </a:cubicBezTo>
                      <a:cubicBezTo>
                        <a:pt x="4116" y="7935"/>
                        <a:pt x="4097" y="7943"/>
                        <a:pt x="4086" y="7943"/>
                      </a:cubicBezTo>
                      <a:cubicBezTo>
                        <a:pt x="4075" y="7943"/>
                        <a:pt x="4047" y="7928"/>
                        <a:pt x="4002" y="7900"/>
                      </a:cubicBezTo>
                      <a:cubicBezTo>
                        <a:pt x="3958" y="7871"/>
                        <a:pt x="3929" y="7856"/>
                        <a:pt x="3916" y="7856"/>
                      </a:cubicBezTo>
                      <a:cubicBezTo>
                        <a:pt x="3878" y="7854"/>
                        <a:pt x="3848" y="7837"/>
                        <a:pt x="3824" y="7806"/>
                      </a:cubicBezTo>
                      <a:cubicBezTo>
                        <a:pt x="3814" y="7796"/>
                        <a:pt x="3791" y="7757"/>
                        <a:pt x="3754" y="7689"/>
                      </a:cubicBezTo>
                      <a:cubicBezTo>
                        <a:pt x="3724" y="7633"/>
                        <a:pt x="3652" y="7562"/>
                        <a:pt x="3536" y="7478"/>
                      </a:cubicBezTo>
                      <a:cubicBezTo>
                        <a:pt x="3406" y="7382"/>
                        <a:pt x="3323" y="7311"/>
                        <a:pt x="3285" y="7263"/>
                      </a:cubicBezTo>
                      <a:cubicBezTo>
                        <a:pt x="3226" y="7189"/>
                        <a:pt x="3139" y="7141"/>
                        <a:pt x="3023" y="7121"/>
                      </a:cubicBezTo>
                      <a:lnTo>
                        <a:pt x="3020" y="7121"/>
                      </a:lnTo>
                      <a:lnTo>
                        <a:pt x="0" y="11322"/>
                      </a:lnTo>
                      <a:lnTo>
                        <a:pt x="17" y="14760"/>
                      </a:lnTo>
                      <a:cubicBezTo>
                        <a:pt x="119" y="14807"/>
                        <a:pt x="206" y="14920"/>
                        <a:pt x="279" y="15098"/>
                      </a:cubicBezTo>
                      <a:cubicBezTo>
                        <a:pt x="318" y="15191"/>
                        <a:pt x="360" y="15306"/>
                        <a:pt x="404" y="15442"/>
                      </a:cubicBezTo>
                      <a:cubicBezTo>
                        <a:pt x="410" y="15455"/>
                        <a:pt x="459" y="15468"/>
                        <a:pt x="552" y="15483"/>
                      </a:cubicBezTo>
                      <a:cubicBezTo>
                        <a:pt x="666" y="15499"/>
                        <a:pt x="732" y="15509"/>
                        <a:pt x="750" y="15514"/>
                      </a:cubicBezTo>
                      <a:cubicBezTo>
                        <a:pt x="776" y="15520"/>
                        <a:pt x="818" y="15544"/>
                        <a:pt x="876" y="15585"/>
                      </a:cubicBezTo>
                      <a:cubicBezTo>
                        <a:pt x="928" y="15620"/>
                        <a:pt x="969" y="15638"/>
                        <a:pt x="998" y="15638"/>
                      </a:cubicBezTo>
                      <a:cubicBezTo>
                        <a:pt x="1032" y="15638"/>
                        <a:pt x="1067" y="15623"/>
                        <a:pt x="1104" y="15594"/>
                      </a:cubicBezTo>
                      <a:cubicBezTo>
                        <a:pt x="1143" y="15563"/>
                        <a:pt x="1182" y="15548"/>
                        <a:pt x="1219" y="15548"/>
                      </a:cubicBezTo>
                      <a:cubicBezTo>
                        <a:pt x="1351" y="15548"/>
                        <a:pt x="1465" y="15581"/>
                        <a:pt x="1562" y="15647"/>
                      </a:cubicBezTo>
                      <a:cubicBezTo>
                        <a:pt x="1621" y="15688"/>
                        <a:pt x="1713" y="15765"/>
                        <a:pt x="1838" y="15877"/>
                      </a:cubicBezTo>
                      <a:cubicBezTo>
                        <a:pt x="1871" y="15903"/>
                        <a:pt x="1918" y="15925"/>
                        <a:pt x="1977" y="15942"/>
                      </a:cubicBezTo>
                      <a:cubicBezTo>
                        <a:pt x="2063" y="15967"/>
                        <a:pt x="2109" y="15980"/>
                        <a:pt x="2117" y="15982"/>
                      </a:cubicBezTo>
                      <a:cubicBezTo>
                        <a:pt x="2135" y="15990"/>
                        <a:pt x="2175" y="16013"/>
                        <a:pt x="2234" y="16050"/>
                      </a:cubicBezTo>
                      <a:cubicBezTo>
                        <a:pt x="2275" y="16077"/>
                        <a:pt x="2316" y="16091"/>
                        <a:pt x="2357" y="16091"/>
                      </a:cubicBezTo>
                      <a:cubicBezTo>
                        <a:pt x="2394" y="16091"/>
                        <a:pt x="2442" y="16072"/>
                        <a:pt x="2502" y="16035"/>
                      </a:cubicBezTo>
                      <a:cubicBezTo>
                        <a:pt x="2563" y="15996"/>
                        <a:pt x="2611" y="15976"/>
                        <a:pt x="2647" y="15976"/>
                      </a:cubicBezTo>
                      <a:lnTo>
                        <a:pt x="2789" y="16004"/>
                      </a:lnTo>
                      <a:cubicBezTo>
                        <a:pt x="2882" y="16022"/>
                        <a:pt x="2961" y="16032"/>
                        <a:pt x="3026" y="16032"/>
                      </a:cubicBezTo>
                      <a:cubicBezTo>
                        <a:pt x="3046" y="16032"/>
                        <a:pt x="3073" y="16038"/>
                        <a:pt x="3104" y="16050"/>
                      </a:cubicBezTo>
                      <a:cubicBezTo>
                        <a:pt x="3119" y="16057"/>
                        <a:pt x="3139" y="16064"/>
                        <a:pt x="3163" y="16072"/>
                      </a:cubicBezTo>
                      <a:cubicBezTo>
                        <a:pt x="3230" y="16033"/>
                        <a:pt x="3267" y="16012"/>
                        <a:pt x="3274" y="16010"/>
                      </a:cubicBezTo>
                      <a:cubicBezTo>
                        <a:pt x="3360" y="15958"/>
                        <a:pt x="3427" y="15910"/>
                        <a:pt x="3475" y="15864"/>
                      </a:cubicBezTo>
                      <a:cubicBezTo>
                        <a:pt x="3481" y="15860"/>
                        <a:pt x="3485" y="15856"/>
                        <a:pt x="3489" y="15852"/>
                      </a:cubicBezTo>
                      <a:cubicBezTo>
                        <a:pt x="3496" y="15843"/>
                        <a:pt x="3504" y="15835"/>
                        <a:pt x="3511" y="15827"/>
                      </a:cubicBezTo>
                      <a:lnTo>
                        <a:pt x="3645" y="15675"/>
                      </a:lnTo>
                      <a:cubicBezTo>
                        <a:pt x="3658" y="15660"/>
                        <a:pt x="3667" y="15639"/>
                        <a:pt x="3670" y="15610"/>
                      </a:cubicBezTo>
                      <a:cubicBezTo>
                        <a:pt x="3676" y="15568"/>
                        <a:pt x="3680" y="15534"/>
                        <a:pt x="3684" y="15507"/>
                      </a:cubicBezTo>
                      <a:cubicBezTo>
                        <a:pt x="3688" y="15458"/>
                        <a:pt x="3692" y="15423"/>
                        <a:pt x="3695" y="15402"/>
                      </a:cubicBezTo>
                      <a:cubicBezTo>
                        <a:pt x="3697" y="15360"/>
                        <a:pt x="3709" y="15337"/>
                        <a:pt x="3732" y="15330"/>
                      </a:cubicBezTo>
                      <a:cubicBezTo>
                        <a:pt x="3741" y="15326"/>
                        <a:pt x="3782" y="15304"/>
                        <a:pt x="3854" y="15262"/>
                      </a:cubicBezTo>
                      <a:cubicBezTo>
                        <a:pt x="3856" y="15260"/>
                        <a:pt x="3858" y="15259"/>
                        <a:pt x="3860" y="15259"/>
                      </a:cubicBezTo>
                      <a:cubicBezTo>
                        <a:pt x="3919" y="15224"/>
                        <a:pt x="3953" y="15206"/>
                        <a:pt x="3960" y="15206"/>
                      </a:cubicBezTo>
                      <a:lnTo>
                        <a:pt x="3969" y="15206"/>
                      </a:lnTo>
                      <a:lnTo>
                        <a:pt x="3969" y="15219"/>
                      </a:lnTo>
                      <a:cubicBezTo>
                        <a:pt x="3969" y="15256"/>
                        <a:pt x="3958" y="15292"/>
                        <a:pt x="3938" y="15327"/>
                      </a:cubicBezTo>
                      <a:cubicBezTo>
                        <a:pt x="3918" y="15367"/>
                        <a:pt x="3907" y="15387"/>
                        <a:pt x="3907" y="15389"/>
                      </a:cubicBezTo>
                      <a:cubicBezTo>
                        <a:pt x="3907" y="15425"/>
                        <a:pt x="3908" y="15449"/>
                        <a:pt x="3910" y="15464"/>
                      </a:cubicBezTo>
                      <a:cubicBezTo>
                        <a:pt x="3936" y="15456"/>
                        <a:pt x="3958" y="15441"/>
                        <a:pt x="3977" y="15420"/>
                      </a:cubicBezTo>
                      <a:cubicBezTo>
                        <a:pt x="3994" y="15400"/>
                        <a:pt x="4003" y="15379"/>
                        <a:pt x="4005" y="15358"/>
                      </a:cubicBezTo>
                      <a:cubicBezTo>
                        <a:pt x="4010" y="15329"/>
                        <a:pt x="4024" y="15291"/>
                        <a:pt x="4044" y="15244"/>
                      </a:cubicBezTo>
                      <a:cubicBezTo>
                        <a:pt x="4064" y="15188"/>
                        <a:pt x="4076" y="15152"/>
                        <a:pt x="4077" y="15135"/>
                      </a:cubicBezTo>
                      <a:cubicBezTo>
                        <a:pt x="4077" y="15127"/>
                        <a:pt x="4078" y="15120"/>
                        <a:pt x="4080" y="15113"/>
                      </a:cubicBezTo>
                      <a:cubicBezTo>
                        <a:pt x="4080" y="15074"/>
                        <a:pt x="4082" y="15040"/>
                        <a:pt x="4086" y="15011"/>
                      </a:cubicBezTo>
                      <a:cubicBezTo>
                        <a:pt x="4099" y="14939"/>
                        <a:pt x="4121" y="14903"/>
                        <a:pt x="4153" y="14905"/>
                      </a:cubicBezTo>
                      <a:cubicBezTo>
                        <a:pt x="4179" y="14903"/>
                        <a:pt x="4197" y="14915"/>
                        <a:pt x="4209" y="14940"/>
                      </a:cubicBezTo>
                      <a:cubicBezTo>
                        <a:pt x="4216" y="14958"/>
                        <a:pt x="4220" y="14984"/>
                        <a:pt x="4220" y="15017"/>
                      </a:cubicBezTo>
                      <a:cubicBezTo>
                        <a:pt x="4220" y="15025"/>
                        <a:pt x="4216" y="15040"/>
                        <a:pt x="4209" y="15061"/>
                      </a:cubicBezTo>
                      <a:cubicBezTo>
                        <a:pt x="4203" y="15075"/>
                        <a:pt x="4195" y="15093"/>
                        <a:pt x="4183" y="15113"/>
                      </a:cubicBezTo>
                      <a:cubicBezTo>
                        <a:pt x="4178" y="15126"/>
                        <a:pt x="4171" y="15138"/>
                        <a:pt x="4164" y="15151"/>
                      </a:cubicBezTo>
                      <a:cubicBezTo>
                        <a:pt x="4123" y="15215"/>
                        <a:pt x="4103" y="15251"/>
                        <a:pt x="4103" y="15259"/>
                      </a:cubicBezTo>
                      <a:cubicBezTo>
                        <a:pt x="4103" y="15274"/>
                        <a:pt x="4112" y="15281"/>
                        <a:pt x="4130" y="15281"/>
                      </a:cubicBezTo>
                      <a:cubicBezTo>
                        <a:pt x="4143" y="15283"/>
                        <a:pt x="4169" y="15264"/>
                        <a:pt x="4209" y="15225"/>
                      </a:cubicBezTo>
                      <a:cubicBezTo>
                        <a:pt x="4223" y="15211"/>
                        <a:pt x="4240" y="15193"/>
                        <a:pt x="4259" y="15172"/>
                      </a:cubicBezTo>
                      <a:cubicBezTo>
                        <a:pt x="4277" y="15152"/>
                        <a:pt x="4294" y="15132"/>
                        <a:pt x="4309" y="15113"/>
                      </a:cubicBezTo>
                      <a:cubicBezTo>
                        <a:pt x="4344" y="15066"/>
                        <a:pt x="4362" y="15032"/>
                        <a:pt x="4362" y="15011"/>
                      </a:cubicBezTo>
                      <a:cubicBezTo>
                        <a:pt x="4362" y="14999"/>
                        <a:pt x="4342" y="14970"/>
                        <a:pt x="4303" y="14924"/>
                      </a:cubicBezTo>
                      <a:cubicBezTo>
                        <a:pt x="4264" y="14876"/>
                        <a:pt x="4246" y="14835"/>
                        <a:pt x="4248" y="14800"/>
                      </a:cubicBezTo>
                      <a:cubicBezTo>
                        <a:pt x="4248" y="14794"/>
                        <a:pt x="4261" y="14778"/>
                        <a:pt x="4287" y="14753"/>
                      </a:cubicBezTo>
                      <a:cubicBezTo>
                        <a:pt x="4301" y="14739"/>
                        <a:pt x="4316" y="14728"/>
                        <a:pt x="4331" y="14719"/>
                      </a:cubicBezTo>
                      <a:cubicBezTo>
                        <a:pt x="4346" y="14713"/>
                        <a:pt x="4360" y="14710"/>
                        <a:pt x="4373" y="14710"/>
                      </a:cubicBezTo>
                      <a:lnTo>
                        <a:pt x="4393" y="14741"/>
                      </a:lnTo>
                      <a:cubicBezTo>
                        <a:pt x="4407" y="14762"/>
                        <a:pt x="4418" y="14774"/>
                        <a:pt x="4423" y="14778"/>
                      </a:cubicBezTo>
                      <a:lnTo>
                        <a:pt x="4462" y="14800"/>
                      </a:lnTo>
                      <a:cubicBezTo>
                        <a:pt x="4479" y="14810"/>
                        <a:pt x="4492" y="14818"/>
                        <a:pt x="4501" y="14822"/>
                      </a:cubicBezTo>
                      <a:cubicBezTo>
                        <a:pt x="4566" y="14846"/>
                        <a:pt x="4616" y="14856"/>
                        <a:pt x="4649" y="14850"/>
                      </a:cubicBezTo>
                      <a:lnTo>
                        <a:pt x="4660" y="14850"/>
                      </a:lnTo>
                      <a:cubicBezTo>
                        <a:pt x="4671" y="14856"/>
                        <a:pt x="4695" y="14870"/>
                        <a:pt x="4730" y="14893"/>
                      </a:cubicBezTo>
                      <a:cubicBezTo>
                        <a:pt x="4736" y="14897"/>
                        <a:pt x="4742" y="14901"/>
                        <a:pt x="4750" y="14905"/>
                      </a:cubicBezTo>
                      <a:cubicBezTo>
                        <a:pt x="4763" y="14914"/>
                        <a:pt x="4775" y="14922"/>
                        <a:pt x="4786" y="14930"/>
                      </a:cubicBezTo>
                      <a:cubicBezTo>
                        <a:pt x="4816" y="14947"/>
                        <a:pt x="4841" y="14955"/>
                        <a:pt x="4861" y="14955"/>
                      </a:cubicBezTo>
                      <a:cubicBezTo>
                        <a:pt x="4870" y="14955"/>
                        <a:pt x="4879" y="14955"/>
                        <a:pt x="4886" y="14955"/>
                      </a:cubicBezTo>
                      <a:cubicBezTo>
                        <a:pt x="4961" y="14955"/>
                        <a:pt x="5028" y="14944"/>
                        <a:pt x="5087" y="14921"/>
                      </a:cubicBezTo>
                      <a:cubicBezTo>
                        <a:pt x="5152" y="14896"/>
                        <a:pt x="5187" y="14884"/>
                        <a:pt x="5193" y="14884"/>
                      </a:cubicBezTo>
                      <a:cubicBezTo>
                        <a:pt x="5217" y="14884"/>
                        <a:pt x="5242" y="14899"/>
                        <a:pt x="5268" y="14930"/>
                      </a:cubicBezTo>
                      <a:cubicBezTo>
                        <a:pt x="5270" y="14930"/>
                        <a:pt x="5277" y="14923"/>
                        <a:pt x="5288" y="14909"/>
                      </a:cubicBezTo>
                      <a:cubicBezTo>
                        <a:pt x="5301" y="14894"/>
                        <a:pt x="5312" y="14887"/>
                        <a:pt x="5321" y="14887"/>
                      </a:cubicBezTo>
                      <a:cubicBezTo>
                        <a:pt x="5344" y="14889"/>
                        <a:pt x="5372" y="14918"/>
                        <a:pt x="5408" y="14974"/>
                      </a:cubicBezTo>
                      <a:cubicBezTo>
                        <a:pt x="5428" y="14999"/>
                        <a:pt x="5447" y="15027"/>
                        <a:pt x="5464" y="15061"/>
                      </a:cubicBezTo>
                      <a:cubicBezTo>
                        <a:pt x="5484" y="15087"/>
                        <a:pt x="5498" y="15120"/>
                        <a:pt x="5505" y="15157"/>
                      </a:cubicBezTo>
                      <a:cubicBezTo>
                        <a:pt x="5509" y="15188"/>
                        <a:pt x="5516" y="15210"/>
                        <a:pt x="5528" y="15222"/>
                      </a:cubicBezTo>
                      <a:cubicBezTo>
                        <a:pt x="5530" y="15226"/>
                        <a:pt x="5530" y="15229"/>
                        <a:pt x="5530" y="15231"/>
                      </a:cubicBezTo>
                      <a:cubicBezTo>
                        <a:pt x="5542" y="15246"/>
                        <a:pt x="5553" y="15264"/>
                        <a:pt x="5564" y="15287"/>
                      </a:cubicBezTo>
                      <a:cubicBezTo>
                        <a:pt x="5573" y="15297"/>
                        <a:pt x="5586" y="15318"/>
                        <a:pt x="5603" y="15349"/>
                      </a:cubicBezTo>
                      <a:cubicBezTo>
                        <a:pt x="5610" y="15370"/>
                        <a:pt x="5627" y="15395"/>
                        <a:pt x="5653" y="15424"/>
                      </a:cubicBezTo>
                      <a:cubicBezTo>
                        <a:pt x="5674" y="15455"/>
                        <a:pt x="5688" y="15480"/>
                        <a:pt x="5698" y="15501"/>
                      </a:cubicBezTo>
                      <a:cubicBezTo>
                        <a:pt x="5739" y="15594"/>
                        <a:pt x="5786" y="15655"/>
                        <a:pt x="5840" y="15684"/>
                      </a:cubicBezTo>
                      <a:cubicBezTo>
                        <a:pt x="5864" y="15697"/>
                        <a:pt x="5889" y="15703"/>
                        <a:pt x="5915" y="15703"/>
                      </a:cubicBezTo>
                      <a:cubicBezTo>
                        <a:pt x="5956" y="15705"/>
                        <a:pt x="6004" y="15692"/>
                        <a:pt x="6057" y="15666"/>
                      </a:cubicBezTo>
                      <a:cubicBezTo>
                        <a:pt x="6063" y="15664"/>
                        <a:pt x="6070" y="15660"/>
                        <a:pt x="6077" y="15656"/>
                      </a:cubicBezTo>
                      <a:cubicBezTo>
                        <a:pt x="6140" y="15625"/>
                        <a:pt x="6209" y="15610"/>
                        <a:pt x="6283" y="15610"/>
                      </a:cubicBezTo>
                      <a:cubicBezTo>
                        <a:pt x="6311" y="15612"/>
                        <a:pt x="6336" y="15622"/>
                        <a:pt x="6359" y="15641"/>
                      </a:cubicBezTo>
                      <a:lnTo>
                        <a:pt x="6350" y="15650"/>
                      </a:lnTo>
                      <a:cubicBezTo>
                        <a:pt x="6350" y="15652"/>
                        <a:pt x="6354" y="15671"/>
                        <a:pt x="6362" y="15706"/>
                      </a:cubicBezTo>
                      <a:cubicBezTo>
                        <a:pt x="6365" y="15745"/>
                        <a:pt x="6367" y="15776"/>
                        <a:pt x="6367" y="15799"/>
                      </a:cubicBezTo>
                      <a:cubicBezTo>
                        <a:pt x="6367" y="15826"/>
                        <a:pt x="6361" y="15856"/>
                        <a:pt x="6348" y="15889"/>
                      </a:cubicBezTo>
                      <a:cubicBezTo>
                        <a:pt x="6329" y="15922"/>
                        <a:pt x="6320" y="15945"/>
                        <a:pt x="6320" y="15957"/>
                      </a:cubicBezTo>
                      <a:cubicBezTo>
                        <a:pt x="6320" y="15990"/>
                        <a:pt x="6335" y="16013"/>
                        <a:pt x="6367" y="16026"/>
                      </a:cubicBezTo>
                      <a:cubicBezTo>
                        <a:pt x="6414" y="16042"/>
                        <a:pt x="6449" y="16066"/>
                        <a:pt x="6473" y="16097"/>
                      </a:cubicBezTo>
                      <a:cubicBezTo>
                        <a:pt x="6494" y="16120"/>
                        <a:pt x="6528" y="16156"/>
                        <a:pt x="6576" y="16206"/>
                      </a:cubicBezTo>
                      <a:cubicBezTo>
                        <a:pt x="6599" y="16226"/>
                        <a:pt x="6609" y="16254"/>
                        <a:pt x="6607" y="16289"/>
                      </a:cubicBezTo>
                      <a:cubicBezTo>
                        <a:pt x="6607" y="16304"/>
                        <a:pt x="6606" y="16315"/>
                        <a:pt x="6604" y="16323"/>
                      </a:cubicBezTo>
                      <a:cubicBezTo>
                        <a:pt x="6602" y="16328"/>
                        <a:pt x="6600" y="16332"/>
                        <a:pt x="6599" y="16336"/>
                      </a:cubicBezTo>
                      <a:cubicBezTo>
                        <a:pt x="6578" y="16371"/>
                        <a:pt x="6565" y="16394"/>
                        <a:pt x="6559" y="16404"/>
                      </a:cubicBezTo>
                      <a:cubicBezTo>
                        <a:pt x="6552" y="16410"/>
                        <a:pt x="6547" y="16425"/>
                        <a:pt x="6543" y="16447"/>
                      </a:cubicBezTo>
                      <a:cubicBezTo>
                        <a:pt x="6528" y="16485"/>
                        <a:pt x="6520" y="16519"/>
                        <a:pt x="6518" y="16550"/>
                      </a:cubicBezTo>
                      <a:cubicBezTo>
                        <a:pt x="6518" y="16571"/>
                        <a:pt x="6524" y="16584"/>
                        <a:pt x="6537" y="16590"/>
                      </a:cubicBezTo>
                      <a:cubicBezTo>
                        <a:pt x="6545" y="16594"/>
                        <a:pt x="6559" y="16601"/>
                        <a:pt x="6582" y="16609"/>
                      </a:cubicBezTo>
                      <a:cubicBezTo>
                        <a:pt x="6597" y="16617"/>
                        <a:pt x="6608" y="16631"/>
                        <a:pt x="6615" y="16649"/>
                      </a:cubicBezTo>
                      <a:cubicBezTo>
                        <a:pt x="6621" y="16659"/>
                        <a:pt x="6630" y="16665"/>
                        <a:pt x="6643" y="16665"/>
                      </a:cubicBezTo>
                      <a:cubicBezTo>
                        <a:pt x="6647" y="16665"/>
                        <a:pt x="6670" y="16650"/>
                        <a:pt x="6713" y="16621"/>
                      </a:cubicBezTo>
                      <a:cubicBezTo>
                        <a:pt x="6733" y="16625"/>
                        <a:pt x="6750" y="16633"/>
                        <a:pt x="6763" y="16643"/>
                      </a:cubicBezTo>
                      <a:cubicBezTo>
                        <a:pt x="6774" y="16651"/>
                        <a:pt x="6778" y="16661"/>
                        <a:pt x="6774" y="16671"/>
                      </a:cubicBezTo>
                      <a:cubicBezTo>
                        <a:pt x="6774" y="16687"/>
                        <a:pt x="6770" y="16704"/>
                        <a:pt x="6760" y="16720"/>
                      </a:cubicBezTo>
                      <a:cubicBezTo>
                        <a:pt x="6753" y="16733"/>
                        <a:pt x="6744" y="16744"/>
                        <a:pt x="6732" y="16755"/>
                      </a:cubicBezTo>
                      <a:cubicBezTo>
                        <a:pt x="6710" y="16775"/>
                        <a:pt x="6696" y="16791"/>
                        <a:pt x="6691" y="16801"/>
                      </a:cubicBezTo>
                      <a:cubicBezTo>
                        <a:pt x="6687" y="16805"/>
                        <a:pt x="6685" y="16808"/>
                        <a:pt x="6685" y="16810"/>
                      </a:cubicBezTo>
                      <a:cubicBezTo>
                        <a:pt x="6685" y="16817"/>
                        <a:pt x="6687" y="16822"/>
                        <a:pt x="6691" y="16826"/>
                      </a:cubicBezTo>
                      <a:cubicBezTo>
                        <a:pt x="6692" y="16834"/>
                        <a:pt x="6695" y="16837"/>
                        <a:pt x="6699" y="16835"/>
                      </a:cubicBezTo>
                      <a:lnTo>
                        <a:pt x="6738" y="16832"/>
                      </a:lnTo>
                      <a:cubicBezTo>
                        <a:pt x="6755" y="16832"/>
                        <a:pt x="6765" y="16834"/>
                        <a:pt x="6769" y="16838"/>
                      </a:cubicBezTo>
                      <a:cubicBezTo>
                        <a:pt x="6771" y="16843"/>
                        <a:pt x="6771" y="16851"/>
                        <a:pt x="6771" y="16863"/>
                      </a:cubicBezTo>
                      <a:cubicBezTo>
                        <a:pt x="6771" y="16872"/>
                        <a:pt x="6769" y="16882"/>
                        <a:pt x="6763" y="16894"/>
                      </a:cubicBezTo>
                      <a:cubicBezTo>
                        <a:pt x="6756" y="16907"/>
                        <a:pt x="6745" y="16921"/>
                        <a:pt x="6730" y="16938"/>
                      </a:cubicBezTo>
                      <a:cubicBezTo>
                        <a:pt x="6704" y="16969"/>
                        <a:pt x="6691" y="16991"/>
                        <a:pt x="6691" y="17006"/>
                      </a:cubicBezTo>
                      <a:cubicBezTo>
                        <a:pt x="6691" y="17031"/>
                        <a:pt x="6701" y="17049"/>
                        <a:pt x="6721" y="17062"/>
                      </a:cubicBezTo>
                      <a:lnTo>
                        <a:pt x="6780" y="17093"/>
                      </a:lnTo>
                      <a:cubicBezTo>
                        <a:pt x="6815" y="17070"/>
                        <a:pt x="6842" y="17059"/>
                        <a:pt x="6861" y="17059"/>
                      </a:cubicBezTo>
                      <a:cubicBezTo>
                        <a:pt x="6874" y="17059"/>
                        <a:pt x="6885" y="17068"/>
                        <a:pt x="6894" y="17087"/>
                      </a:cubicBezTo>
                      <a:cubicBezTo>
                        <a:pt x="6896" y="17089"/>
                        <a:pt x="6898" y="17092"/>
                        <a:pt x="6900" y="17096"/>
                      </a:cubicBezTo>
                      <a:cubicBezTo>
                        <a:pt x="6939" y="17125"/>
                        <a:pt x="6988" y="17162"/>
                        <a:pt x="7048" y="17208"/>
                      </a:cubicBezTo>
                      <a:cubicBezTo>
                        <a:pt x="7057" y="17214"/>
                        <a:pt x="7066" y="17220"/>
                        <a:pt x="7075" y="17226"/>
                      </a:cubicBezTo>
                      <a:cubicBezTo>
                        <a:pt x="7085" y="17235"/>
                        <a:pt x="7095" y="17243"/>
                        <a:pt x="7106" y="17251"/>
                      </a:cubicBezTo>
                      <a:cubicBezTo>
                        <a:pt x="7106" y="17261"/>
                        <a:pt x="7098" y="17275"/>
                        <a:pt x="7081" y="17291"/>
                      </a:cubicBezTo>
                      <a:cubicBezTo>
                        <a:pt x="7064" y="17306"/>
                        <a:pt x="7055" y="17326"/>
                        <a:pt x="7053" y="17350"/>
                      </a:cubicBezTo>
                      <a:cubicBezTo>
                        <a:pt x="7053" y="17367"/>
                        <a:pt x="7064" y="17384"/>
                        <a:pt x="7087" y="17403"/>
                      </a:cubicBezTo>
                      <a:cubicBezTo>
                        <a:pt x="7107" y="17413"/>
                        <a:pt x="7124" y="17419"/>
                        <a:pt x="7137" y="17419"/>
                      </a:cubicBezTo>
                      <a:cubicBezTo>
                        <a:pt x="7168" y="17421"/>
                        <a:pt x="7184" y="17407"/>
                        <a:pt x="7184" y="17378"/>
                      </a:cubicBezTo>
                      <a:cubicBezTo>
                        <a:pt x="7184" y="17374"/>
                        <a:pt x="7181" y="17360"/>
                        <a:pt x="7176" y="17335"/>
                      </a:cubicBezTo>
                      <a:cubicBezTo>
                        <a:pt x="7170" y="17310"/>
                        <a:pt x="7167" y="17294"/>
                        <a:pt x="7167" y="17288"/>
                      </a:cubicBezTo>
                      <a:cubicBezTo>
                        <a:pt x="7167" y="17270"/>
                        <a:pt x="7172" y="17256"/>
                        <a:pt x="7181" y="17248"/>
                      </a:cubicBezTo>
                      <a:cubicBezTo>
                        <a:pt x="7187" y="17244"/>
                        <a:pt x="7200" y="17238"/>
                        <a:pt x="7221" y="17229"/>
                      </a:cubicBezTo>
                      <a:cubicBezTo>
                        <a:pt x="7224" y="17227"/>
                        <a:pt x="7227" y="17226"/>
                        <a:pt x="7229" y="17226"/>
                      </a:cubicBezTo>
                      <a:cubicBezTo>
                        <a:pt x="7246" y="17220"/>
                        <a:pt x="7260" y="17218"/>
                        <a:pt x="7271" y="17220"/>
                      </a:cubicBezTo>
                      <a:cubicBezTo>
                        <a:pt x="7273" y="17220"/>
                        <a:pt x="7282" y="17222"/>
                        <a:pt x="7299" y="17226"/>
                      </a:cubicBezTo>
                      <a:cubicBezTo>
                        <a:pt x="7304" y="17228"/>
                        <a:pt x="7311" y="17230"/>
                        <a:pt x="7318" y="17232"/>
                      </a:cubicBezTo>
                      <a:cubicBezTo>
                        <a:pt x="7333" y="17235"/>
                        <a:pt x="7351" y="17239"/>
                        <a:pt x="7371" y="17245"/>
                      </a:cubicBezTo>
                      <a:cubicBezTo>
                        <a:pt x="7384" y="17247"/>
                        <a:pt x="7397" y="17250"/>
                        <a:pt x="7410" y="17254"/>
                      </a:cubicBezTo>
                      <a:cubicBezTo>
                        <a:pt x="7458" y="17262"/>
                        <a:pt x="7493" y="17267"/>
                        <a:pt x="7513" y="17267"/>
                      </a:cubicBezTo>
                      <a:cubicBezTo>
                        <a:pt x="7573" y="17269"/>
                        <a:pt x="7617" y="17271"/>
                        <a:pt x="7647" y="17273"/>
                      </a:cubicBezTo>
                      <a:cubicBezTo>
                        <a:pt x="7690" y="17273"/>
                        <a:pt x="7734" y="17266"/>
                        <a:pt x="7778" y="17251"/>
                      </a:cubicBezTo>
                      <a:cubicBezTo>
                        <a:pt x="7801" y="17247"/>
                        <a:pt x="7825" y="17239"/>
                        <a:pt x="7851" y="17226"/>
                      </a:cubicBezTo>
                      <a:cubicBezTo>
                        <a:pt x="7860" y="17222"/>
                        <a:pt x="7870" y="17219"/>
                        <a:pt x="7881" y="17217"/>
                      </a:cubicBezTo>
                      <a:cubicBezTo>
                        <a:pt x="7885" y="17217"/>
                        <a:pt x="7890" y="17217"/>
                        <a:pt x="7895" y="17217"/>
                      </a:cubicBezTo>
                      <a:cubicBezTo>
                        <a:pt x="7918" y="17219"/>
                        <a:pt x="7945" y="17222"/>
                        <a:pt x="7976" y="17226"/>
                      </a:cubicBezTo>
                      <a:cubicBezTo>
                        <a:pt x="7986" y="17226"/>
                        <a:pt x="8000" y="17223"/>
                        <a:pt x="8018" y="17217"/>
                      </a:cubicBezTo>
                      <a:cubicBezTo>
                        <a:pt x="8039" y="17211"/>
                        <a:pt x="8052" y="17208"/>
                        <a:pt x="8057" y="17208"/>
                      </a:cubicBezTo>
                      <a:cubicBezTo>
                        <a:pt x="8091" y="17208"/>
                        <a:pt x="8112" y="17216"/>
                        <a:pt x="8121" y="17232"/>
                      </a:cubicBezTo>
                      <a:cubicBezTo>
                        <a:pt x="8132" y="17245"/>
                        <a:pt x="8145" y="17251"/>
                        <a:pt x="8158" y="17251"/>
                      </a:cubicBezTo>
                      <a:cubicBezTo>
                        <a:pt x="8211" y="17239"/>
                        <a:pt x="8242" y="17232"/>
                        <a:pt x="8250" y="17232"/>
                      </a:cubicBezTo>
                      <a:lnTo>
                        <a:pt x="8255" y="17232"/>
                      </a:lnTo>
                      <a:cubicBezTo>
                        <a:pt x="8289" y="17232"/>
                        <a:pt x="8317" y="17238"/>
                        <a:pt x="8342" y="17248"/>
                      </a:cubicBezTo>
                      <a:cubicBezTo>
                        <a:pt x="8366" y="17256"/>
                        <a:pt x="8382" y="17260"/>
                        <a:pt x="8389" y="17260"/>
                      </a:cubicBezTo>
                      <a:cubicBezTo>
                        <a:pt x="8398" y="17260"/>
                        <a:pt x="8415" y="17254"/>
                        <a:pt x="8439" y="17242"/>
                      </a:cubicBezTo>
                      <a:cubicBezTo>
                        <a:pt x="8463" y="17229"/>
                        <a:pt x="8477" y="17223"/>
                        <a:pt x="8481" y="17223"/>
                      </a:cubicBezTo>
                      <a:cubicBezTo>
                        <a:pt x="8485" y="17223"/>
                        <a:pt x="8486" y="17226"/>
                        <a:pt x="8484" y="17232"/>
                      </a:cubicBezTo>
                      <a:lnTo>
                        <a:pt x="8481" y="17257"/>
                      </a:lnTo>
                      <a:cubicBezTo>
                        <a:pt x="8481" y="17278"/>
                        <a:pt x="8485" y="17288"/>
                        <a:pt x="8492" y="17288"/>
                      </a:cubicBezTo>
                      <a:lnTo>
                        <a:pt x="8581" y="17245"/>
                      </a:lnTo>
                      <a:lnTo>
                        <a:pt x="8609" y="17245"/>
                      </a:lnTo>
                      <a:lnTo>
                        <a:pt x="8609" y="17276"/>
                      </a:lnTo>
                      <a:lnTo>
                        <a:pt x="8604" y="17298"/>
                      </a:lnTo>
                      <a:cubicBezTo>
                        <a:pt x="8604" y="17312"/>
                        <a:pt x="8606" y="17322"/>
                        <a:pt x="8609" y="17329"/>
                      </a:cubicBezTo>
                      <a:cubicBezTo>
                        <a:pt x="8613" y="17333"/>
                        <a:pt x="8622" y="17335"/>
                        <a:pt x="8637" y="17335"/>
                      </a:cubicBezTo>
                      <a:lnTo>
                        <a:pt x="9000" y="17304"/>
                      </a:lnTo>
                      <a:cubicBezTo>
                        <a:pt x="9030" y="17304"/>
                        <a:pt x="9057" y="17310"/>
                        <a:pt x="9083" y="17322"/>
                      </a:cubicBezTo>
                      <a:cubicBezTo>
                        <a:pt x="9108" y="17335"/>
                        <a:pt x="9131" y="17351"/>
                        <a:pt x="9153" y="17372"/>
                      </a:cubicBezTo>
                      <a:cubicBezTo>
                        <a:pt x="9190" y="17409"/>
                        <a:pt x="9214" y="17443"/>
                        <a:pt x="9223" y="17474"/>
                      </a:cubicBezTo>
                      <a:cubicBezTo>
                        <a:pt x="9236" y="17497"/>
                        <a:pt x="9255" y="17530"/>
                        <a:pt x="9279" y="17574"/>
                      </a:cubicBezTo>
                      <a:cubicBezTo>
                        <a:pt x="9281" y="17580"/>
                        <a:pt x="9283" y="17586"/>
                        <a:pt x="9287" y="17592"/>
                      </a:cubicBezTo>
                      <a:cubicBezTo>
                        <a:pt x="9300" y="17615"/>
                        <a:pt x="9314" y="17630"/>
                        <a:pt x="9329" y="17636"/>
                      </a:cubicBezTo>
                      <a:cubicBezTo>
                        <a:pt x="9333" y="17640"/>
                        <a:pt x="9350" y="17642"/>
                        <a:pt x="9382" y="17642"/>
                      </a:cubicBezTo>
                      <a:cubicBezTo>
                        <a:pt x="9410" y="17646"/>
                        <a:pt x="9426" y="17652"/>
                        <a:pt x="9429" y="17661"/>
                      </a:cubicBezTo>
                      <a:cubicBezTo>
                        <a:pt x="9431" y="17667"/>
                        <a:pt x="9433" y="17687"/>
                        <a:pt x="9435" y="17723"/>
                      </a:cubicBezTo>
                      <a:cubicBezTo>
                        <a:pt x="9435" y="17735"/>
                        <a:pt x="9436" y="17750"/>
                        <a:pt x="9438" y="17766"/>
                      </a:cubicBezTo>
                      <a:cubicBezTo>
                        <a:pt x="9456" y="17828"/>
                        <a:pt x="9495" y="17860"/>
                        <a:pt x="9555" y="17862"/>
                      </a:cubicBezTo>
                      <a:cubicBezTo>
                        <a:pt x="9562" y="17862"/>
                        <a:pt x="9571" y="17849"/>
                        <a:pt x="9580" y="17822"/>
                      </a:cubicBezTo>
                      <a:cubicBezTo>
                        <a:pt x="9591" y="17791"/>
                        <a:pt x="9613" y="17776"/>
                        <a:pt x="9647" y="17778"/>
                      </a:cubicBezTo>
                      <a:cubicBezTo>
                        <a:pt x="9665" y="17778"/>
                        <a:pt x="9680" y="17783"/>
                        <a:pt x="9691" y="17791"/>
                      </a:cubicBezTo>
                      <a:cubicBezTo>
                        <a:pt x="9704" y="17803"/>
                        <a:pt x="9711" y="17819"/>
                        <a:pt x="9711" y="17838"/>
                      </a:cubicBezTo>
                      <a:cubicBezTo>
                        <a:pt x="9711" y="17868"/>
                        <a:pt x="9698" y="17894"/>
                        <a:pt x="9672" y="17915"/>
                      </a:cubicBezTo>
                      <a:cubicBezTo>
                        <a:pt x="9646" y="17934"/>
                        <a:pt x="9633" y="17953"/>
                        <a:pt x="9633" y="17974"/>
                      </a:cubicBezTo>
                      <a:cubicBezTo>
                        <a:pt x="9633" y="17982"/>
                        <a:pt x="9634" y="17992"/>
                        <a:pt x="9636" y="18002"/>
                      </a:cubicBezTo>
                      <a:cubicBezTo>
                        <a:pt x="9637" y="18018"/>
                        <a:pt x="9644" y="18027"/>
                        <a:pt x="9655" y="18027"/>
                      </a:cubicBezTo>
                      <a:cubicBezTo>
                        <a:pt x="9664" y="18027"/>
                        <a:pt x="9682" y="18022"/>
                        <a:pt x="9708" y="18011"/>
                      </a:cubicBezTo>
                      <a:lnTo>
                        <a:pt x="9719" y="18011"/>
                      </a:lnTo>
                      <a:cubicBezTo>
                        <a:pt x="9719" y="18015"/>
                        <a:pt x="9716" y="18023"/>
                        <a:pt x="9708" y="18033"/>
                      </a:cubicBezTo>
                      <a:cubicBezTo>
                        <a:pt x="9706" y="18039"/>
                        <a:pt x="9705" y="18045"/>
                        <a:pt x="9705" y="18052"/>
                      </a:cubicBezTo>
                      <a:lnTo>
                        <a:pt x="9705" y="18064"/>
                      </a:lnTo>
                      <a:cubicBezTo>
                        <a:pt x="9722" y="18074"/>
                        <a:pt x="9737" y="18090"/>
                        <a:pt x="9750" y="18111"/>
                      </a:cubicBezTo>
                      <a:cubicBezTo>
                        <a:pt x="9759" y="18125"/>
                        <a:pt x="9768" y="18139"/>
                        <a:pt x="9775" y="18154"/>
                      </a:cubicBezTo>
                      <a:cubicBezTo>
                        <a:pt x="9788" y="18171"/>
                        <a:pt x="9810" y="18195"/>
                        <a:pt x="9842" y="18228"/>
                      </a:cubicBezTo>
                      <a:cubicBezTo>
                        <a:pt x="9851" y="18241"/>
                        <a:pt x="9862" y="18260"/>
                        <a:pt x="9873" y="18287"/>
                      </a:cubicBezTo>
                      <a:cubicBezTo>
                        <a:pt x="9884" y="18306"/>
                        <a:pt x="9899" y="18315"/>
                        <a:pt x="9917" y="18315"/>
                      </a:cubicBezTo>
                      <a:cubicBezTo>
                        <a:pt x="9921" y="18315"/>
                        <a:pt x="9926" y="18309"/>
                        <a:pt x="9931" y="18297"/>
                      </a:cubicBezTo>
                      <a:cubicBezTo>
                        <a:pt x="9939" y="18280"/>
                        <a:pt x="9947" y="18273"/>
                        <a:pt x="9956" y="18275"/>
                      </a:cubicBezTo>
                      <a:cubicBezTo>
                        <a:pt x="9968" y="18275"/>
                        <a:pt x="9974" y="18285"/>
                        <a:pt x="9976" y="18306"/>
                      </a:cubicBezTo>
                      <a:cubicBezTo>
                        <a:pt x="9978" y="18320"/>
                        <a:pt x="9979" y="18344"/>
                        <a:pt x="9979" y="18377"/>
                      </a:cubicBezTo>
                      <a:cubicBezTo>
                        <a:pt x="9979" y="18394"/>
                        <a:pt x="9972" y="18409"/>
                        <a:pt x="9959" y="18424"/>
                      </a:cubicBezTo>
                      <a:cubicBezTo>
                        <a:pt x="9950" y="18436"/>
                        <a:pt x="9936" y="18442"/>
                        <a:pt x="9917" y="18439"/>
                      </a:cubicBezTo>
                      <a:cubicBezTo>
                        <a:pt x="9860" y="18437"/>
                        <a:pt x="9833" y="18425"/>
                        <a:pt x="9836" y="18402"/>
                      </a:cubicBezTo>
                      <a:cubicBezTo>
                        <a:pt x="9842" y="18377"/>
                        <a:pt x="9829" y="18364"/>
                        <a:pt x="9797" y="18362"/>
                      </a:cubicBezTo>
                      <a:cubicBezTo>
                        <a:pt x="9764" y="18362"/>
                        <a:pt x="9742" y="18366"/>
                        <a:pt x="9731" y="18374"/>
                      </a:cubicBezTo>
                      <a:cubicBezTo>
                        <a:pt x="9712" y="18383"/>
                        <a:pt x="9702" y="18402"/>
                        <a:pt x="9700" y="18433"/>
                      </a:cubicBezTo>
                      <a:cubicBezTo>
                        <a:pt x="9700" y="18437"/>
                        <a:pt x="9722" y="18459"/>
                        <a:pt x="9767" y="18498"/>
                      </a:cubicBezTo>
                      <a:cubicBezTo>
                        <a:pt x="9811" y="18542"/>
                        <a:pt x="9834" y="18574"/>
                        <a:pt x="9834" y="18595"/>
                      </a:cubicBezTo>
                      <a:cubicBezTo>
                        <a:pt x="9832" y="18648"/>
                        <a:pt x="9806" y="18687"/>
                        <a:pt x="9756" y="18709"/>
                      </a:cubicBezTo>
                      <a:cubicBezTo>
                        <a:pt x="9722" y="18730"/>
                        <a:pt x="9680" y="18740"/>
                        <a:pt x="9630" y="18740"/>
                      </a:cubicBezTo>
                      <a:cubicBezTo>
                        <a:pt x="9578" y="18738"/>
                        <a:pt x="9519" y="18710"/>
                        <a:pt x="9452" y="18657"/>
                      </a:cubicBezTo>
                      <a:cubicBezTo>
                        <a:pt x="9383" y="18605"/>
                        <a:pt x="9341" y="18579"/>
                        <a:pt x="9326" y="18579"/>
                      </a:cubicBezTo>
                      <a:cubicBezTo>
                        <a:pt x="9315" y="18583"/>
                        <a:pt x="9304" y="18587"/>
                        <a:pt x="9293" y="18591"/>
                      </a:cubicBezTo>
                      <a:cubicBezTo>
                        <a:pt x="9287" y="18594"/>
                        <a:pt x="9281" y="18596"/>
                        <a:pt x="9276" y="18598"/>
                      </a:cubicBezTo>
                      <a:cubicBezTo>
                        <a:pt x="9242" y="18612"/>
                        <a:pt x="9226" y="18627"/>
                        <a:pt x="9226" y="18641"/>
                      </a:cubicBezTo>
                      <a:cubicBezTo>
                        <a:pt x="9226" y="18645"/>
                        <a:pt x="9227" y="18653"/>
                        <a:pt x="9229" y="18666"/>
                      </a:cubicBezTo>
                      <a:cubicBezTo>
                        <a:pt x="9229" y="18689"/>
                        <a:pt x="9221" y="18701"/>
                        <a:pt x="9206" y="18703"/>
                      </a:cubicBezTo>
                      <a:cubicBezTo>
                        <a:pt x="9202" y="18703"/>
                        <a:pt x="9199" y="18701"/>
                        <a:pt x="9195" y="18697"/>
                      </a:cubicBezTo>
                      <a:cubicBezTo>
                        <a:pt x="9188" y="18689"/>
                        <a:pt x="9184" y="18678"/>
                        <a:pt x="9184" y="18666"/>
                      </a:cubicBezTo>
                      <a:cubicBezTo>
                        <a:pt x="9186" y="18645"/>
                        <a:pt x="9193" y="18627"/>
                        <a:pt x="9206" y="18610"/>
                      </a:cubicBezTo>
                      <a:cubicBezTo>
                        <a:pt x="9219" y="18596"/>
                        <a:pt x="9226" y="18587"/>
                        <a:pt x="9226" y="18585"/>
                      </a:cubicBezTo>
                      <a:cubicBezTo>
                        <a:pt x="9226" y="18556"/>
                        <a:pt x="9216" y="18536"/>
                        <a:pt x="9198" y="18523"/>
                      </a:cubicBezTo>
                      <a:cubicBezTo>
                        <a:pt x="9181" y="18511"/>
                        <a:pt x="9162" y="18505"/>
                        <a:pt x="9139" y="18505"/>
                      </a:cubicBezTo>
                      <a:cubicBezTo>
                        <a:pt x="9121" y="18505"/>
                        <a:pt x="9109" y="18514"/>
                        <a:pt x="9106" y="18532"/>
                      </a:cubicBezTo>
                      <a:cubicBezTo>
                        <a:pt x="9104" y="18549"/>
                        <a:pt x="9099" y="18557"/>
                        <a:pt x="9092" y="18557"/>
                      </a:cubicBezTo>
                      <a:cubicBezTo>
                        <a:pt x="9083" y="18557"/>
                        <a:pt x="9079" y="18545"/>
                        <a:pt x="9081" y="18520"/>
                      </a:cubicBezTo>
                      <a:cubicBezTo>
                        <a:pt x="9081" y="18495"/>
                        <a:pt x="9090" y="18475"/>
                        <a:pt x="9109" y="18458"/>
                      </a:cubicBezTo>
                      <a:cubicBezTo>
                        <a:pt x="9125" y="18442"/>
                        <a:pt x="9134" y="18426"/>
                        <a:pt x="9134" y="18412"/>
                      </a:cubicBezTo>
                      <a:cubicBezTo>
                        <a:pt x="9134" y="18401"/>
                        <a:pt x="9124" y="18394"/>
                        <a:pt x="9106" y="18390"/>
                      </a:cubicBezTo>
                      <a:cubicBezTo>
                        <a:pt x="9074" y="18379"/>
                        <a:pt x="9047" y="18371"/>
                        <a:pt x="9025" y="18365"/>
                      </a:cubicBezTo>
                      <a:cubicBezTo>
                        <a:pt x="8997" y="18357"/>
                        <a:pt x="8977" y="18345"/>
                        <a:pt x="8964" y="18331"/>
                      </a:cubicBezTo>
                      <a:cubicBezTo>
                        <a:pt x="8960" y="18325"/>
                        <a:pt x="8954" y="18312"/>
                        <a:pt x="8947" y="18294"/>
                      </a:cubicBezTo>
                      <a:lnTo>
                        <a:pt x="8913" y="18259"/>
                      </a:lnTo>
                      <a:cubicBezTo>
                        <a:pt x="8906" y="18249"/>
                        <a:pt x="8901" y="18236"/>
                        <a:pt x="8899" y="18219"/>
                      </a:cubicBezTo>
                      <a:cubicBezTo>
                        <a:pt x="8899" y="18217"/>
                        <a:pt x="8899" y="18215"/>
                        <a:pt x="8899" y="18213"/>
                      </a:cubicBezTo>
                      <a:cubicBezTo>
                        <a:pt x="8898" y="18167"/>
                        <a:pt x="8897" y="18144"/>
                        <a:pt x="8897" y="18142"/>
                      </a:cubicBezTo>
                      <a:cubicBezTo>
                        <a:pt x="8898" y="18133"/>
                        <a:pt x="8893" y="18129"/>
                        <a:pt x="8880" y="18129"/>
                      </a:cubicBezTo>
                      <a:cubicBezTo>
                        <a:pt x="8826" y="18123"/>
                        <a:pt x="8783" y="18120"/>
                        <a:pt x="8752" y="18120"/>
                      </a:cubicBezTo>
                      <a:cubicBezTo>
                        <a:pt x="8699" y="18122"/>
                        <a:pt x="8654" y="18124"/>
                        <a:pt x="8615" y="18126"/>
                      </a:cubicBezTo>
                      <a:cubicBezTo>
                        <a:pt x="8637" y="18136"/>
                        <a:pt x="8653" y="18148"/>
                        <a:pt x="8662" y="18160"/>
                      </a:cubicBezTo>
                      <a:cubicBezTo>
                        <a:pt x="8668" y="18168"/>
                        <a:pt x="8674" y="18180"/>
                        <a:pt x="8682" y="18194"/>
                      </a:cubicBezTo>
                      <a:cubicBezTo>
                        <a:pt x="8687" y="18203"/>
                        <a:pt x="8698" y="18209"/>
                        <a:pt x="8713" y="18213"/>
                      </a:cubicBezTo>
                      <a:cubicBezTo>
                        <a:pt x="8720" y="18215"/>
                        <a:pt x="8727" y="18217"/>
                        <a:pt x="8735" y="18219"/>
                      </a:cubicBezTo>
                      <a:cubicBezTo>
                        <a:pt x="8752" y="18227"/>
                        <a:pt x="8763" y="18244"/>
                        <a:pt x="8768" y="18269"/>
                      </a:cubicBezTo>
                      <a:cubicBezTo>
                        <a:pt x="8772" y="18275"/>
                        <a:pt x="8783" y="18284"/>
                        <a:pt x="8802" y="18297"/>
                      </a:cubicBezTo>
                      <a:cubicBezTo>
                        <a:pt x="8824" y="18311"/>
                        <a:pt x="8837" y="18320"/>
                        <a:pt x="8841" y="18325"/>
                      </a:cubicBezTo>
                      <a:cubicBezTo>
                        <a:pt x="8885" y="18391"/>
                        <a:pt x="8920" y="18448"/>
                        <a:pt x="8944" y="18495"/>
                      </a:cubicBezTo>
                      <a:cubicBezTo>
                        <a:pt x="8974" y="18561"/>
                        <a:pt x="8988" y="18625"/>
                        <a:pt x="8986" y="18685"/>
                      </a:cubicBezTo>
                      <a:lnTo>
                        <a:pt x="8978" y="18771"/>
                      </a:lnTo>
                      <a:cubicBezTo>
                        <a:pt x="8963" y="18800"/>
                        <a:pt x="8945" y="18836"/>
                        <a:pt x="8924" y="18877"/>
                      </a:cubicBezTo>
                      <a:cubicBezTo>
                        <a:pt x="8906" y="18910"/>
                        <a:pt x="8890" y="18940"/>
                        <a:pt x="8877" y="18967"/>
                      </a:cubicBezTo>
                      <a:cubicBezTo>
                        <a:pt x="8866" y="18990"/>
                        <a:pt x="8857" y="19009"/>
                        <a:pt x="8849" y="19026"/>
                      </a:cubicBezTo>
                      <a:lnTo>
                        <a:pt x="8849" y="19029"/>
                      </a:lnTo>
                      <a:cubicBezTo>
                        <a:pt x="8834" y="19052"/>
                        <a:pt x="8818" y="19095"/>
                        <a:pt x="8799" y="19159"/>
                      </a:cubicBezTo>
                      <a:cubicBezTo>
                        <a:pt x="8784" y="19223"/>
                        <a:pt x="8777" y="19261"/>
                        <a:pt x="8777" y="19271"/>
                      </a:cubicBezTo>
                      <a:lnTo>
                        <a:pt x="8777" y="19380"/>
                      </a:lnTo>
                      <a:cubicBezTo>
                        <a:pt x="8777" y="19413"/>
                        <a:pt x="8781" y="19433"/>
                        <a:pt x="8791" y="19442"/>
                      </a:cubicBezTo>
                      <a:cubicBezTo>
                        <a:pt x="8796" y="19444"/>
                        <a:pt x="8800" y="19449"/>
                        <a:pt x="8802" y="19457"/>
                      </a:cubicBezTo>
                      <a:cubicBezTo>
                        <a:pt x="8802" y="19461"/>
                        <a:pt x="8802" y="19465"/>
                        <a:pt x="8802" y="19470"/>
                      </a:cubicBezTo>
                      <a:lnTo>
                        <a:pt x="8796" y="19535"/>
                      </a:lnTo>
                      <a:cubicBezTo>
                        <a:pt x="8794" y="19580"/>
                        <a:pt x="8810" y="19718"/>
                        <a:pt x="8844" y="19947"/>
                      </a:cubicBezTo>
                      <a:cubicBezTo>
                        <a:pt x="8844" y="19974"/>
                        <a:pt x="8842" y="20000"/>
                        <a:pt x="8838" y="20025"/>
                      </a:cubicBezTo>
                      <a:cubicBezTo>
                        <a:pt x="8823" y="20143"/>
                        <a:pt x="8778" y="20230"/>
                        <a:pt x="8701" y="20286"/>
                      </a:cubicBezTo>
                      <a:cubicBezTo>
                        <a:pt x="8681" y="20300"/>
                        <a:pt x="8652" y="20328"/>
                        <a:pt x="8615" y="20369"/>
                      </a:cubicBezTo>
                      <a:cubicBezTo>
                        <a:pt x="8572" y="20413"/>
                        <a:pt x="8546" y="20439"/>
                        <a:pt x="8537" y="20447"/>
                      </a:cubicBezTo>
                      <a:cubicBezTo>
                        <a:pt x="8524" y="20455"/>
                        <a:pt x="8514" y="20461"/>
                        <a:pt x="8506" y="20465"/>
                      </a:cubicBezTo>
                      <a:cubicBezTo>
                        <a:pt x="8493" y="20474"/>
                        <a:pt x="8487" y="20479"/>
                        <a:pt x="8487" y="20481"/>
                      </a:cubicBezTo>
                      <a:cubicBezTo>
                        <a:pt x="8483" y="20493"/>
                        <a:pt x="8479" y="20504"/>
                        <a:pt x="8476" y="20512"/>
                      </a:cubicBezTo>
                      <a:cubicBezTo>
                        <a:pt x="8470" y="20524"/>
                        <a:pt x="8463" y="20531"/>
                        <a:pt x="8456" y="20531"/>
                      </a:cubicBezTo>
                      <a:cubicBezTo>
                        <a:pt x="8454" y="20531"/>
                        <a:pt x="8451" y="20530"/>
                        <a:pt x="8448" y="20528"/>
                      </a:cubicBezTo>
                      <a:cubicBezTo>
                        <a:pt x="8442" y="20559"/>
                        <a:pt x="8439" y="20591"/>
                        <a:pt x="8439" y="20624"/>
                      </a:cubicBezTo>
                      <a:cubicBezTo>
                        <a:pt x="8426" y="20769"/>
                        <a:pt x="8422" y="20865"/>
                        <a:pt x="8428" y="20912"/>
                      </a:cubicBezTo>
                      <a:cubicBezTo>
                        <a:pt x="8415" y="20927"/>
                        <a:pt x="8401" y="20942"/>
                        <a:pt x="8386" y="20959"/>
                      </a:cubicBezTo>
                      <a:cubicBezTo>
                        <a:pt x="8392" y="20967"/>
                        <a:pt x="8397" y="20974"/>
                        <a:pt x="8403" y="20981"/>
                      </a:cubicBezTo>
                      <a:cubicBezTo>
                        <a:pt x="8405" y="20981"/>
                        <a:pt x="8406" y="20981"/>
                        <a:pt x="8406" y="20984"/>
                      </a:cubicBezTo>
                      <a:cubicBezTo>
                        <a:pt x="8409" y="20988"/>
                        <a:pt x="8416" y="20995"/>
                        <a:pt x="8425" y="21005"/>
                      </a:cubicBezTo>
                      <a:cubicBezTo>
                        <a:pt x="8433" y="21016"/>
                        <a:pt x="8441" y="21027"/>
                        <a:pt x="8450" y="21039"/>
                      </a:cubicBezTo>
                      <a:cubicBezTo>
                        <a:pt x="8450" y="21044"/>
                        <a:pt x="8465" y="21051"/>
                        <a:pt x="8495" y="21061"/>
                      </a:cubicBezTo>
                      <a:cubicBezTo>
                        <a:pt x="8521" y="21067"/>
                        <a:pt x="8533" y="21084"/>
                        <a:pt x="8531" y="21111"/>
                      </a:cubicBezTo>
                      <a:cubicBezTo>
                        <a:pt x="8531" y="21144"/>
                        <a:pt x="8517" y="21175"/>
                        <a:pt x="8489" y="21204"/>
                      </a:cubicBezTo>
                      <a:cubicBezTo>
                        <a:pt x="8463" y="21229"/>
                        <a:pt x="8428" y="21241"/>
                        <a:pt x="8383" y="21241"/>
                      </a:cubicBezTo>
                      <a:lnTo>
                        <a:pt x="8297" y="21232"/>
                      </a:lnTo>
                      <a:cubicBezTo>
                        <a:pt x="8288" y="21232"/>
                        <a:pt x="8275" y="21233"/>
                        <a:pt x="8258" y="21235"/>
                      </a:cubicBezTo>
                      <a:cubicBezTo>
                        <a:pt x="8252" y="21237"/>
                        <a:pt x="8247" y="21238"/>
                        <a:pt x="8241" y="21238"/>
                      </a:cubicBezTo>
                      <a:cubicBezTo>
                        <a:pt x="8236" y="21242"/>
                        <a:pt x="8231" y="21245"/>
                        <a:pt x="8227" y="21247"/>
                      </a:cubicBezTo>
                      <a:cubicBezTo>
                        <a:pt x="8211" y="21256"/>
                        <a:pt x="8197" y="21260"/>
                        <a:pt x="8188" y="21260"/>
                      </a:cubicBezTo>
                      <a:cubicBezTo>
                        <a:pt x="8181" y="21260"/>
                        <a:pt x="8177" y="21259"/>
                        <a:pt x="8177" y="21257"/>
                      </a:cubicBezTo>
                      <a:cubicBezTo>
                        <a:pt x="8179" y="21242"/>
                        <a:pt x="8183" y="21229"/>
                        <a:pt x="8188" y="21216"/>
                      </a:cubicBezTo>
                      <a:cubicBezTo>
                        <a:pt x="8190" y="21206"/>
                        <a:pt x="8192" y="21195"/>
                        <a:pt x="8194" y="21182"/>
                      </a:cubicBezTo>
                      <a:cubicBezTo>
                        <a:pt x="8194" y="21180"/>
                        <a:pt x="8194" y="21178"/>
                        <a:pt x="8194" y="21176"/>
                      </a:cubicBezTo>
                      <a:cubicBezTo>
                        <a:pt x="8164" y="21211"/>
                        <a:pt x="8145" y="21232"/>
                        <a:pt x="8135" y="21238"/>
                      </a:cubicBezTo>
                      <a:cubicBezTo>
                        <a:pt x="8109" y="21267"/>
                        <a:pt x="8091" y="21332"/>
                        <a:pt x="8079" y="21434"/>
                      </a:cubicBezTo>
                      <a:cubicBezTo>
                        <a:pt x="8076" y="21477"/>
                        <a:pt x="8075" y="21515"/>
                        <a:pt x="8077" y="21548"/>
                      </a:cubicBezTo>
                      <a:cubicBezTo>
                        <a:pt x="8084" y="21532"/>
                        <a:pt x="8094" y="21523"/>
                        <a:pt x="8107" y="21523"/>
                      </a:cubicBezTo>
                      <a:cubicBezTo>
                        <a:pt x="8109" y="21523"/>
                        <a:pt x="8119" y="21531"/>
                        <a:pt x="8138" y="21545"/>
                      </a:cubicBezTo>
                      <a:cubicBezTo>
                        <a:pt x="8158" y="21564"/>
                        <a:pt x="8174" y="21573"/>
                        <a:pt x="8185" y="21573"/>
                      </a:cubicBezTo>
                      <a:cubicBezTo>
                        <a:pt x="8197" y="21573"/>
                        <a:pt x="8216" y="21581"/>
                        <a:pt x="8244" y="21598"/>
                      </a:cubicBezTo>
                      <a:cubicBezTo>
                        <a:pt x="8263" y="21600"/>
                        <a:pt x="8289" y="21587"/>
                        <a:pt x="8322" y="21558"/>
                      </a:cubicBezTo>
                      <a:cubicBezTo>
                        <a:pt x="8354" y="21529"/>
                        <a:pt x="8379" y="21514"/>
                        <a:pt x="8397" y="21514"/>
                      </a:cubicBezTo>
                      <a:cubicBezTo>
                        <a:pt x="8423" y="21514"/>
                        <a:pt x="8442" y="21528"/>
                        <a:pt x="8453" y="21555"/>
                      </a:cubicBezTo>
                      <a:cubicBezTo>
                        <a:pt x="8461" y="21577"/>
                        <a:pt x="8468" y="21590"/>
                        <a:pt x="8476" y="21592"/>
                      </a:cubicBezTo>
                      <a:cubicBezTo>
                        <a:pt x="8488" y="21592"/>
                        <a:pt x="8497" y="21586"/>
                        <a:pt x="8501" y="21573"/>
                      </a:cubicBezTo>
                      <a:cubicBezTo>
                        <a:pt x="8504" y="21550"/>
                        <a:pt x="8510" y="21533"/>
                        <a:pt x="8517" y="21520"/>
                      </a:cubicBezTo>
                      <a:cubicBezTo>
                        <a:pt x="8532" y="21467"/>
                        <a:pt x="8573" y="21412"/>
                        <a:pt x="8640" y="21356"/>
                      </a:cubicBezTo>
                      <a:cubicBezTo>
                        <a:pt x="8677" y="21327"/>
                        <a:pt x="8719" y="21293"/>
                        <a:pt x="8766" y="21254"/>
                      </a:cubicBezTo>
                      <a:cubicBezTo>
                        <a:pt x="8775" y="21243"/>
                        <a:pt x="8803" y="21218"/>
                        <a:pt x="8849" y="21179"/>
                      </a:cubicBezTo>
                      <a:cubicBezTo>
                        <a:pt x="8853" y="21175"/>
                        <a:pt x="8858" y="21171"/>
                        <a:pt x="8863" y="21167"/>
                      </a:cubicBezTo>
                      <a:cubicBezTo>
                        <a:pt x="8897" y="21138"/>
                        <a:pt x="8920" y="21108"/>
                        <a:pt x="8933" y="21077"/>
                      </a:cubicBezTo>
                      <a:lnTo>
                        <a:pt x="9069" y="20866"/>
                      </a:lnTo>
                      <a:cubicBezTo>
                        <a:pt x="9071" y="20853"/>
                        <a:pt x="9089" y="20833"/>
                        <a:pt x="9123" y="20804"/>
                      </a:cubicBezTo>
                      <a:cubicBezTo>
                        <a:pt x="9158" y="20773"/>
                        <a:pt x="9189" y="20753"/>
                        <a:pt x="9215" y="20745"/>
                      </a:cubicBezTo>
                      <a:cubicBezTo>
                        <a:pt x="9322" y="20710"/>
                        <a:pt x="9392" y="20692"/>
                        <a:pt x="9424" y="20692"/>
                      </a:cubicBezTo>
                      <a:cubicBezTo>
                        <a:pt x="9431" y="20692"/>
                        <a:pt x="9449" y="20695"/>
                        <a:pt x="9477" y="20701"/>
                      </a:cubicBezTo>
                      <a:lnTo>
                        <a:pt x="9530" y="20698"/>
                      </a:lnTo>
                      <a:cubicBezTo>
                        <a:pt x="9550" y="20698"/>
                        <a:pt x="9577" y="20705"/>
                        <a:pt x="9611" y="20720"/>
                      </a:cubicBezTo>
                      <a:cubicBezTo>
                        <a:pt x="9646" y="20730"/>
                        <a:pt x="9676" y="20737"/>
                        <a:pt x="9700" y="20742"/>
                      </a:cubicBezTo>
                      <a:cubicBezTo>
                        <a:pt x="9724" y="20740"/>
                        <a:pt x="9749" y="20735"/>
                        <a:pt x="9775" y="20729"/>
                      </a:cubicBezTo>
                      <a:cubicBezTo>
                        <a:pt x="9799" y="20729"/>
                        <a:pt x="9811" y="20727"/>
                        <a:pt x="9811" y="20723"/>
                      </a:cubicBezTo>
                      <a:cubicBezTo>
                        <a:pt x="9804" y="20711"/>
                        <a:pt x="9800" y="20700"/>
                        <a:pt x="9800" y="20692"/>
                      </a:cubicBezTo>
                      <a:lnTo>
                        <a:pt x="9800" y="20689"/>
                      </a:lnTo>
                      <a:cubicBezTo>
                        <a:pt x="9800" y="20685"/>
                        <a:pt x="9802" y="20681"/>
                        <a:pt x="9806" y="20676"/>
                      </a:cubicBezTo>
                      <a:cubicBezTo>
                        <a:pt x="9808" y="20672"/>
                        <a:pt x="9810" y="20667"/>
                        <a:pt x="9814" y="20661"/>
                      </a:cubicBezTo>
                      <a:cubicBezTo>
                        <a:pt x="9814" y="20659"/>
                        <a:pt x="9815" y="20657"/>
                        <a:pt x="9817" y="20655"/>
                      </a:cubicBezTo>
                      <a:cubicBezTo>
                        <a:pt x="9819" y="20651"/>
                        <a:pt x="9821" y="20646"/>
                        <a:pt x="9822" y="20642"/>
                      </a:cubicBezTo>
                      <a:cubicBezTo>
                        <a:pt x="9824" y="20636"/>
                        <a:pt x="9826" y="20631"/>
                        <a:pt x="9828" y="20627"/>
                      </a:cubicBezTo>
                      <a:cubicBezTo>
                        <a:pt x="9891" y="20501"/>
                        <a:pt x="10021" y="20413"/>
                        <a:pt x="10216" y="20363"/>
                      </a:cubicBezTo>
                      <a:cubicBezTo>
                        <a:pt x="10229" y="20359"/>
                        <a:pt x="10242" y="20356"/>
                        <a:pt x="10255" y="20354"/>
                      </a:cubicBezTo>
                      <a:cubicBezTo>
                        <a:pt x="10329" y="20339"/>
                        <a:pt x="10416" y="20320"/>
                        <a:pt x="10514" y="20295"/>
                      </a:cubicBezTo>
                      <a:cubicBezTo>
                        <a:pt x="10585" y="20276"/>
                        <a:pt x="10653" y="20268"/>
                        <a:pt x="10718" y="20270"/>
                      </a:cubicBezTo>
                      <a:cubicBezTo>
                        <a:pt x="10721" y="20262"/>
                        <a:pt x="10725" y="20256"/>
                        <a:pt x="10729" y="20251"/>
                      </a:cubicBezTo>
                      <a:cubicBezTo>
                        <a:pt x="10755" y="20216"/>
                        <a:pt x="10747" y="20184"/>
                        <a:pt x="10704" y="20155"/>
                      </a:cubicBezTo>
                      <a:cubicBezTo>
                        <a:pt x="10646" y="20108"/>
                        <a:pt x="10614" y="20074"/>
                        <a:pt x="10606" y="20053"/>
                      </a:cubicBezTo>
                      <a:cubicBezTo>
                        <a:pt x="10597" y="20022"/>
                        <a:pt x="10594" y="19976"/>
                        <a:pt x="10598" y="19916"/>
                      </a:cubicBezTo>
                      <a:cubicBezTo>
                        <a:pt x="10600" y="19887"/>
                        <a:pt x="10600" y="19865"/>
                        <a:pt x="10598" y="19848"/>
                      </a:cubicBezTo>
                      <a:cubicBezTo>
                        <a:pt x="10570" y="19856"/>
                        <a:pt x="10554" y="19859"/>
                        <a:pt x="10550" y="19857"/>
                      </a:cubicBezTo>
                      <a:cubicBezTo>
                        <a:pt x="10545" y="19859"/>
                        <a:pt x="10534" y="19871"/>
                        <a:pt x="10517" y="19891"/>
                      </a:cubicBezTo>
                      <a:cubicBezTo>
                        <a:pt x="10495" y="19914"/>
                        <a:pt x="10482" y="19929"/>
                        <a:pt x="10478" y="19935"/>
                      </a:cubicBezTo>
                      <a:cubicBezTo>
                        <a:pt x="10444" y="19954"/>
                        <a:pt x="10415" y="19966"/>
                        <a:pt x="10389" y="19972"/>
                      </a:cubicBezTo>
                      <a:cubicBezTo>
                        <a:pt x="10385" y="19972"/>
                        <a:pt x="10375" y="19972"/>
                        <a:pt x="10358" y="19972"/>
                      </a:cubicBezTo>
                      <a:cubicBezTo>
                        <a:pt x="10343" y="19970"/>
                        <a:pt x="10322" y="19969"/>
                        <a:pt x="10294" y="19969"/>
                      </a:cubicBezTo>
                      <a:lnTo>
                        <a:pt x="10174" y="19960"/>
                      </a:lnTo>
                      <a:cubicBezTo>
                        <a:pt x="10161" y="19962"/>
                        <a:pt x="10153" y="19963"/>
                        <a:pt x="10149" y="19963"/>
                      </a:cubicBezTo>
                      <a:cubicBezTo>
                        <a:pt x="10127" y="19961"/>
                        <a:pt x="10116" y="19949"/>
                        <a:pt x="10118" y="19929"/>
                      </a:cubicBezTo>
                      <a:cubicBezTo>
                        <a:pt x="10118" y="19925"/>
                        <a:pt x="10119" y="19918"/>
                        <a:pt x="10121" y="19910"/>
                      </a:cubicBezTo>
                      <a:cubicBezTo>
                        <a:pt x="10121" y="19904"/>
                        <a:pt x="10123" y="19897"/>
                        <a:pt x="10127" y="19888"/>
                      </a:cubicBezTo>
                      <a:cubicBezTo>
                        <a:pt x="10160" y="19750"/>
                        <a:pt x="10210" y="19632"/>
                        <a:pt x="10277" y="19535"/>
                      </a:cubicBezTo>
                      <a:cubicBezTo>
                        <a:pt x="10296" y="19506"/>
                        <a:pt x="10317" y="19478"/>
                        <a:pt x="10341" y="19451"/>
                      </a:cubicBezTo>
                      <a:cubicBezTo>
                        <a:pt x="10390" y="19391"/>
                        <a:pt x="10446" y="19340"/>
                        <a:pt x="10511" y="19299"/>
                      </a:cubicBezTo>
                      <a:cubicBezTo>
                        <a:pt x="10602" y="19235"/>
                        <a:pt x="10720" y="19174"/>
                        <a:pt x="10863" y="19116"/>
                      </a:cubicBezTo>
                      <a:cubicBezTo>
                        <a:pt x="10926" y="19091"/>
                        <a:pt x="11019" y="19055"/>
                        <a:pt x="11142" y="19007"/>
                      </a:cubicBezTo>
                      <a:cubicBezTo>
                        <a:pt x="11179" y="18993"/>
                        <a:pt x="11218" y="18977"/>
                        <a:pt x="11259" y="18961"/>
                      </a:cubicBezTo>
                      <a:cubicBezTo>
                        <a:pt x="11263" y="18959"/>
                        <a:pt x="11267" y="18957"/>
                        <a:pt x="11273" y="18954"/>
                      </a:cubicBezTo>
                      <a:cubicBezTo>
                        <a:pt x="11299" y="18942"/>
                        <a:pt x="11334" y="18924"/>
                        <a:pt x="11379" y="18902"/>
                      </a:cubicBezTo>
                      <a:cubicBezTo>
                        <a:pt x="11392" y="18896"/>
                        <a:pt x="11399" y="18882"/>
                        <a:pt x="11401" y="18861"/>
                      </a:cubicBezTo>
                      <a:cubicBezTo>
                        <a:pt x="11407" y="18834"/>
                        <a:pt x="11410" y="18818"/>
                        <a:pt x="11412" y="18812"/>
                      </a:cubicBezTo>
                      <a:cubicBezTo>
                        <a:pt x="11418" y="18793"/>
                        <a:pt x="11467" y="18760"/>
                        <a:pt x="11560" y="18712"/>
                      </a:cubicBezTo>
                      <a:cubicBezTo>
                        <a:pt x="11655" y="18665"/>
                        <a:pt x="11718" y="18640"/>
                        <a:pt x="11750" y="18638"/>
                      </a:cubicBezTo>
                      <a:cubicBezTo>
                        <a:pt x="11763" y="18638"/>
                        <a:pt x="11770" y="18658"/>
                        <a:pt x="11772" y="18697"/>
                      </a:cubicBezTo>
                      <a:cubicBezTo>
                        <a:pt x="11774" y="18736"/>
                        <a:pt x="11784" y="18756"/>
                        <a:pt x="11803" y="18756"/>
                      </a:cubicBezTo>
                      <a:lnTo>
                        <a:pt x="12009" y="18576"/>
                      </a:lnTo>
                      <a:cubicBezTo>
                        <a:pt x="12031" y="18553"/>
                        <a:pt x="12070" y="18526"/>
                        <a:pt x="12123" y="18495"/>
                      </a:cubicBezTo>
                      <a:cubicBezTo>
                        <a:pt x="12174" y="18464"/>
                        <a:pt x="12202" y="18445"/>
                        <a:pt x="12210" y="18436"/>
                      </a:cubicBezTo>
                      <a:cubicBezTo>
                        <a:pt x="12214" y="18428"/>
                        <a:pt x="12233" y="18409"/>
                        <a:pt x="12268" y="18380"/>
                      </a:cubicBezTo>
                      <a:cubicBezTo>
                        <a:pt x="12289" y="18358"/>
                        <a:pt x="12318" y="18341"/>
                        <a:pt x="12355" y="18331"/>
                      </a:cubicBezTo>
                      <a:lnTo>
                        <a:pt x="12366" y="18331"/>
                      </a:lnTo>
                      <a:lnTo>
                        <a:pt x="12363" y="18346"/>
                      </a:lnTo>
                      <a:cubicBezTo>
                        <a:pt x="12358" y="18371"/>
                        <a:pt x="12324" y="18424"/>
                        <a:pt x="12263" y="18505"/>
                      </a:cubicBezTo>
                      <a:cubicBezTo>
                        <a:pt x="12386" y="18352"/>
                        <a:pt x="12456" y="18255"/>
                        <a:pt x="12475" y="18216"/>
                      </a:cubicBezTo>
                      <a:cubicBezTo>
                        <a:pt x="12484" y="18193"/>
                        <a:pt x="12505" y="18137"/>
                        <a:pt x="12539" y="18048"/>
                      </a:cubicBezTo>
                      <a:cubicBezTo>
                        <a:pt x="12582" y="17962"/>
                        <a:pt x="12635" y="17881"/>
                        <a:pt x="12698" y="17806"/>
                      </a:cubicBezTo>
                      <a:cubicBezTo>
                        <a:pt x="12748" y="17744"/>
                        <a:pt x="12810" y="17668"/>
                        <a:pt x="12885" y="17577"/>
                      </a:cubicBezTo>
                      <a:cubicBezTo>
                        <a:pt x="12929" y="17529"/>
                        <a:pt x="12985" y="17497"/>
                        <a:pt x="13052" y="17481"/>
                      </a:cubicBezTo>
                      <a:cubicBezTo>
                        <a:pt x="13054" y="17481"/>
                        <a:pt x="13056" y="17481"/>
                        <a:pt x="13058" y="17481"/>
                      </a:cubicBezTo>
                      <a:cubicBezTo>
                        <a:pt x="13074" y="17477"/>
                        <a:pt x="13092" y="17473"/>
                        <a:pt x="13111" y="17471"/>
                      </a:cubicBezTo>
                      <a:cubicBezTo>
                        <a:pt x="13198" y="17463"/>
                        <a:pt x="13356" y="17425"/>
                        <a:pt x="13585" y="17357"/>
                      </a:cubicBezTo>
                      <a:cubicBezTo>
                        <a:pt x="13750" y="17307"/>
                        <a:pt x="13869" y="17272"/>
                        <a:pt x="13942" y="17251"/>
                      </a:cubicBezTo>
                      <a:cubicBezTo>
                        <a:pt x="13998" y="17235"/>
                        <a:pt x="14027" y="17226"/>
                        <a:pt x="14031" y="17226"/>
                      </a:cubicBezTo>
                      <a:cubicBezTo>
                        <a:pt x="14176" y="17191"/>
                        <a:pt x="14367" y="17140"/>
                        <a:pt x="14603" y="17074"/>
                      </a:cubicBezTo>
                      <a:cubicBezTo>
                        <a:pt x="14891" y="16996"/>
                        <a:pt x="15044" y="16949"/>
                        <a:pt x="15063" y="16935"/>
                      </a:cubicBezTo>
                      <a:lnTo>
                        <a:pt x="15063" y="16931"/>
                      </a:lnTo>
                      <a:cubicBezTo>
                        <a:pt x="15068" y="16925"/>
                        <a:pt x="15073" y="16873"/>
                        <a:pt x="15077" y="16773"/>
                      </a:cubicBezTo>
                      <a:cubicBezTo>
                        <a:pt x="15079" y="16686"/>
                        <a:pt x="15098" y="16639"/>
                        <a:pt x="15135" y="16631"/>
                      </a:cubicBezTo>
                      <a:cubicBezTo>
                        <a:pt x="15169" y="16622"/>
                        <a:pt x="15201" y="16623"/>
                        <a:pt x="15233" y="16634"/>
                      </a:cubicBezTo>
                      <a:cubicBezTo>
                        <a:pt x="15244" y="16636"/>
                        <a:pt x="15253" y="16635"/>
                        <a:pt x="15258" y="16631"/>
                      </a:cubicBezTo>
                      <a:cubicBezTo>
                        <a:pt x="15264" y="16622"/>
                        <a:pt x="15269" y="16613"/>
                        <a:pt x="15275" y="16603"/>
                      </a:cubicBezTo>
                      <a:cubicBezTo>
                        <a:pt x="15293" y="16526"/>
                        <a:pt x="15315" y="16494"/>
                        <a:pt x="15339" y="16506"/>
                      </a:cubicBezTo>
                      <a:cubicBezTo>
                        <a:pt x="15361" y="16515"/>
                        <a:pt x="15385" y="16530"/>
                        <a:pt x="15411" y="16553"/>
                      </a:cubicBezTo>
                      <a:lnTo>
                        <a:pt x="15428" y="16463"/>
                      </a:lnTo>
                      <a:cubicBezTo>
                        <a:pt x="15454" y="16285"/>
                        <a:pt x="15467" y="16157"/>
                        <a:pt x="15467" y="16078"/>
                      </a:cubicBezTo>
                      <a:cubicBezTo>
                        <a:pt x="15467" y="16053"/>
                        <a:pt x="15456" y="15956"/>
                        <a:pt x="15434" y="15787"/>
                      </a:cubicBezTo>
                      <a:cubicBezTo>
                        <a:pt x="15410" y="15617"/>
                        <a:pt x="15398" y="15499"/>
                        <a:pt x="15398" y="15433"/>
                      </a:cubicBezTo>
                      <a:cubicBezTo>
                        <a:pt x="15409" y="15369"/>
                        <a:pt x="15414" y="15323"/>
                        <a:pt x="15414" y="15296"/>
                      </a:cubicBezTo>
                      <a:cubicBezTo>
                        <a:pt x="15414" y="15261"/>
                        <a:pt x="15410" y="15181"/>
                        <a:pt x="15400" y="15054"/>
                      </a:cubicBezTo>
                      <a:cubicBezTo>
                        <a:pt x="15391" y="14928"/>
                        <a:pt x="15386" y="14849"/>
                        <a:pt x="15386" y="14815"/>
                      </a:cubicBezTo>
                      <a:cubicBezTo>
                        <a:pt x="15386" y="14679"/>
                        <a:pt x="15406" y="14536"/>
                        <a:pt x="15445" y="14387"/>
                      </a:cubicBezTo>
                      <a:cubicBezTo>
                        <a:pt x="15491" y="14207"/>
                        <a:pt x="15549" y="14117"/>
                        <a:pt x="15618" y="14117"/>
                      </a:cubicBezTo>
                      <a:cubicBezTo>
                        <a:pt x="15653" y="14117"/>
                        <a:pt x="15700" y="14150"/>
                        <a:pt x="15757" y="14217"/>
                      </a:cubicBezTo>
                      <a:cubicBezTo>
                        <a:pt x="15765" y="14225"/>
                        <a:pt x="15772" y="14232"/>
                        <a:pt x="15780" y="14238"/>
                      </a:cubicBezTo>
                      <a:cubicBezTo>
                        <a:pt x="15830" y="14288"/>
                        <a:pt x="15877" y="14313"/>
                        <a:pt x="15922" y="14313"/>
                      </a:cubicBezTo>
                      <a:cubicBezTo>
                        <a:pt x="15972" y="14313"/>
                        <a:pt x="16027" y="14285"/>
                        <a:pt x="16086" y="14229"/>
                      </a:cubicBezTo>
                      <a:cubicBezTo>
                        <a:pt x="16120" y="14198"/>
                        <a:pt x="16147" y="14170"/>
                        <a:pt x="16167" y="14145"/>
                      </a:cubicBezTo>
                      <a:cubicBezTo>
                        <a:pt x="16175" y="14133"/>
                        <a:pt x="16181" y="14122"/>
                        <a:pt x="16187" y="14114"/>
                      </a:cubicBezTo>
                      <a:lnTo>
                        <a:pt x="16245" y="13956"/>
                      </a:lnTo>
                      <a:lnTo>
                        <a:pt x="16672" y="14229"/>
                      </a:lnTo>
                      <a:lnTo>
                        <a:pt x="17057" y="15526"/>
                      </a:lnTo>
                      <a:lnTo>
                        <a:pt x="17241" y="15573"/>
                      </a:lnTo>
                      <a:lnTo>
                        <a:pt x="17378" y="15830"/>
                      </a:lnTo>
                      <a:cubicBezTo>
                        <a:pt x="17387" y="15851"/>
                        <a:pt x="17415" y="15877"/>
                        <a:pt x="17461" y="15908"/>
                      </a:cubicBezTo>
                      <a:cubicBezTo>
                        <a:pt x="17508" y="15937"/>
                        <a:pt x="17542" y="15940"/>
                        <a:pt x="17564" y="15917"/>
                      </a:cubicBezTo>
                      <a:cubicBezTo>
                        <a:pt x="17579" y="15902"/>
                        <a:pt x="17594" y="15892"/>
                        <a:pt x="17609" y="15886"/>
                      </a:cubicBezTo>
                      <a:cubicBezTo>
                        <a:pt x="17628" y="15867"/>
                        <a:pt x="17654" y="15840"/>
                        <a:pt x="17687" y="15805"/>
                      </a:cubicBezTo>
                      <a:cubicBezTo>
                        <a:pt x="17719" y="15778"/>
                        <a:pt x="17750" y="15765"/>
                        <a:pt x="17782" y="15765"/>
                      </a:cubicBezTo>
                      <a:cubicBezTo>
                        <a:pt x="17801" y="15765"/>
                        <a:pt x="17819" y="15769"/>
                        <a:pt x="17838" y="15777"/>
                      </a:cubicBezTo>
                      <a:cubicBezTo>
                        <a:pt x="17854" y="15783"/>
                        <a:pt x="17870" y="15787"/>
                        <a:pt x="17885" y="15787"/>
                      </a:cubicBezTo>
                      <a:cubicBezTo>
                        <a:pt x="18080" y="15702"/>
                        <a:pt x="18185" y="15633"/>
                        <a:pt x="18200" y="15579"/>
                      </a:cubicBezTo>
                      <a:cubicBezTo>
                        <a:pt x="18206" y="15552"/>
                        <a:pt x="18223" y="15522"/>
                        <a:pt x="18251" y="15489"/>
                      </a:cubicBezTo>
                      <a:cubicBezTo>
                        <a:pt x="18278" y="15454"/>
                        <a:pt x="18303" y="15436"/>
                        <a:pt x="18323" y="15436"/>
                      </a:cubicBezTo>
                      <a:cubicBezTo>
                        <a:pt x="18353" y="15434"/>
                        <a:pt x="18382" y="15420"/>
                        <a:pt x="18410" y="15396"/>
                      </a:cubicBezTo>
                      <a:cubicBezTo>
                        <a:pt x="18428" y="15379"/>
                        <a:pt x="18451" y="15349"/>
                        <a:pt x="18479" y="15306"/>
                      </a:cubicBezTo>
                      <a:cubicBezTo>
                        <a:pt x="18505" y="15266"/>
                        <a:pt x="18553" y="15196"/>
                        <a:pt x="18621" y="15095"/>
                      </a:cubicBezTo>
                      <a:cubicBezTo>
                        <a:pt x="18685" y="15004"/>
                        <a:pt x="18727" y="14933"/>
                        <a:pt x="18750" y="14884"/>
                      </a:cubicBezTo>
                      <a:cubicBezTo>
                        <a:pt x="18772" y="14834"/>
                        <a:pt x="18813" y="14771"/>
                        <a:pt x="18872" y="14694"/>
                      </a:cubicBezTo>
                      <a:cubicBezTo>
                        <a:pt x="18880" y="14684"/>
                        <a:pt x="18897" y="14650"/>
                        <a:pt x="18923" y="14592"/>
                      </a:cubicBezTo>
                      <a:cubicBezTo>
                        <a:pt x="18943" y="14540"/>
                        <a:pt x="18956" y="14514"/>
                        <a:pt x="18962" y="14514"/>
                      </a:cubicBezTo>
                      <a:cubicBezTo>
                        <a:pt x="18990" y="14514"/>
                        <a:pt x="19004" y="14535"/>
                        <a:pt x="19006" y="14577"/>
                      </a:cubicBezTo>
                      <a:cubicBezTo>
                        <a:pt x="19006" y="14605"/>
                        <a:pt x="18985" y="14664"/>
                        <a:pt x="18942" y="14753"/>
                      </a:cubicBezTo>
                      <a:cubicBezTo>
                        <a:pt x="18899" y="14840"/>
                        <a:pt x="18878" y="14900"/>
                        <a:pt x="18878" y="14933"/>
                      </a:cubicBezTo>
                      <a:cubicBezTo>
                        <a:pt x="18878" y="14960"/>
                        <a:pt x="18888" y="14985"/>
                        <a:pt x="18909" y="15008"/>
                      </a:cubicBezTo>
                      <a:cubicBezTo>
                        <a:pt x="18927" y="15029"/>
                        <a:pt x="18946" y="15039"/>
                        <a:pt x="18964" y="15039"/>
                      </a:cubicBezTo>
                      <a:cubicBezTo>
                        <a:pt x="18996" y="15039"/>
                        <a:pt x="19032" y="15020"/>
                        <a:pt x="19073" y="14983"/>
                      </a:cubicBezTo>
                      <a:cubicBezTo>
                        <a:pt x="19096" y="14964"/>
                        <a:pt x="19123" y="14940"/>
                        <a:pt x="19154" y="14909"/>
                      </a:cubicBezTo>
                      <a:cubicBezTo>
                        <a:pt x="19180" y="14890"/>
                        <a:pt x="19210" y="14874"/>
                        <a:pt x="19243" y="14862"/>
                      </a:cubicBezTo>
                      <a:cubicBezTo>
                        <a:pt x="19264" y="14854"/>
                        <a:pt x="19295" y="14843"/>
                        <a:pt x="19335" y="14831"/>
                      </a:cubicBezTo>
                      <a:cubicBezTo>
                        <a:pt x="19358" y="14823"/>
                        <a:pt x="19421" y="14795"/>
                        <a:pt x="19525" y="14747"/>
                      </a:cubicBezTo>
                      <a:cubicBezTo>
                        <a:pt x="19624" y="14704"/>
                        <a:pt x="19689" y="14682"/>
                        <a:pt x="19720" y="14682"/>
                      </a:cubicBezTo>
                      <a:cubicBezTo>
                        <a:pt x="19730" y="14682"/>
                        <a:pt x="19743" y="14682"/>
                        <a:pt x="19759" y="14682"/>
                      </a:cubicBezTo>
                      <a:cubicBezTo>
                        <a:pt x="19772" y="14684"/>
                        <a:pt x="19779" y="14692"/>
                        <a:pt x="19779" y="14707"/>
                      </a:cubicBezTo>
                      <a:cubicBezTo>
                        <a:pt x="19779" y="14725"/>
                        <a:pt x="19689" y="14799"/>
                        <a:pt x="19508" y="14927"/>
                      </a:cubicBezTo>
                      <a:cubicBezTo>
                        <a:pt x="19473" y="14966"/>
                        <a:pt x="19448" y="15010"/>
                        <a:pt x="19433" y="15057"/>
                      </a:cubicBezTo>
                      <a:cubicBezTo>
                        <a:pt x="19424" y="15082"/>
                        <a:pt x="19415" y="15103"/>
                        <a:pt x="19408" y="15120"/>
                      </a:cubicBezTo>
                      <a:cubicBezTo>
                        <a:pt x="19391" y="15153"/>
                        <a:pt x="19374" y="15169"/>
                        <a:pt x="19358" y="15169"/>
                      </a:cubicBezTo>
                      <a:cubicBezTo>
                        <a:pt x="19334" y="15169"/>
                        <a:pt x="19307" y="15150"/>
                        <a:pt x="19277" y="15110"/>
                      </a:cubicBezTo>
                      <a:cubicBezTo>
                        <a:pt x="19249" y="15071"/>
                        <a:pt x="19231" y="15051"/>
                        <a:pt x="19224" y="15051"/>
                      </a:cubicBezTo>
                      <a:cubicBezTo>
                        <a:pt x="19183" y="15051"/>
                        <a:pt x="19134" y="15100"/>
                        <a:pt x="19076" y="15197"/>
                      </a:cubicBezTo>
                      <a:cubicBezTo>
                        <a:pt x="18979" y="15350"/>
                        <a:pt x="18923" y="15436"/>
                        <a:pt x="18906" y="15455"/>
                      </a:cubicBezTo>
                      <a:cubicBezTo>
                        <a:pt x="18884" y="15479"/>
                        <a:pt x="18844" y="15533"/>
                        <a:pt x="18786" y="15616"/>
                      </a:cubicBezTo>
                      <a:cubicBezTo>
                        <a:pt x="18715" y="15717"/>
                        <a:pt x="18680" y="15779"/>
                        <a:pt x="18680" y="15802"/>
                      </a:cubicBezTo>
                      <a:cubicBezTo>
                        <a:pt x="18680" y="15812"/>
                        <a:pt x="18684" y="15829"/>
                        <a:pt x="18691" y="15852"/>
                      </a:cubicBezTo>
                      <a:cubicBezTo>
                        <a:pt x="18691" y="15868"/>
                        <a:pt x="18675" y="15890"/>
                        <a:pt x="18644" y="15917"/>
                      </a:cubicBezTo>
                      <a:cubicBezTo>
                        <a:pt x="18610" y="15944"/>
                        <a:pt x="18592" y="15958"/>
                        <a:pt x="18588" y="15960"/>
                      </a:cubicBezTo>
                      <a:cubicBezTo>
                        <a:pt x="18562" y="15981"/>
                        <a:pt x="18549" y="16003"/>
                        <a:pt x="18549" y="16026"/>
                      </a:cubicBezTo>
                      <a:cubicBezTo>
                        <a:pt x="18549" y="16040"/>
                        <a:pt x="18552" y="16069"/>
                        <a:pt x="18557" y="16112"/>
                      </a:cubicBezTo>
                      <a:cubicBezTo>
                        <a:pt x="18557" y="16117"/>
                        <a:pt x="18547" y="16157"/>
                        <a:pt x="18527" y="16233"/>
                      </a:cubicBezTo>
                      <a:cubicBezTo>
                        <a:pt x="18504" y="16308"/>
                        <a:pt x="18494" y="16366"/>
                        <a:pt x="18496" y="16407"/>
                      </a:cubicBezTo>
                      <a:cubicBezTo>
                        <a:pt x="18496" y="16442"/>
                        <a:pt x="18504" y="16490"/>
                        <a:pt x="18521" y="16550"/>
                      </a:cubicBezTo>
                      <a:cubicBezTo>
                        <a:pt x="18542" y="16620"/>
                        <a:pt x="18567" y="16684"/>
                        <a:pt x="18596" y="16742"/>
                      </a:cubicBezTo>
                      <a:lnTo>
                        <a:pt x="18596" y="16745"/>
                      </a:lnTo>
                      <a:cubicBezTo>
                        <a:pt x="18604" y="16756"/>
                        <a:pt x="18626" y="16787"/>
                        <a:pt x="18663" y="16838"/>
                      </a:cubicBezTo>
                      <a:cubicBezTo>
                        <a:pt x="18702" y="16894"/>
                        <a:pt x="18727" y="16922"/>
                        <a:pt x="18739" y="16922"/>
                      </a:cubicBezTo>
                      <a:cubicBezTo>
                        <a:pt x="18742" y="16922"/>
                        <a:pt x="18782" y="16909"/>
                        <a:pt x="18858" y="16882"/>
                      </a:cubicBezTo>
                      <a:cubicBezTo>
                        <a:pt x="18883" y="16882"/>
                        <a:pt x="18921" y="16917"/>
                        <a:pt x="18973" y="16987"/>
                      </a:cubicBezTo>
                      <a:cubicBezTo>
                        <a:pt x="19021" y="17056"/>
                        <a:pt x="19064" y="17090"/>
                        <a:pt x="19101" y="17090"/>
                      </a:cubicBezTo>
                      <a:cubicBezTo>
                        <a:pt x="19151" y="17090"/>
                        <a:pt x="19184" y="17063"/>
                        <a:pt x="19199" y="17009"/>
                      </a:cubicBezTo>
                      <a:cubicBezTo>
                        <a:pt x="19202" y="16999"/>
                        <a:pt x="19209" y="16937"/>
                        <a:pt x="19218" y="16823"/>
                      </a:cubicBezTo>
                      <a:cubicBezTo>
                        <a:pt x="19213" y="16798"/>
                        <a:pt x="19224" y="16775"/>
                        <a:pt x="19252" y="16755"/>
                      </a:cubicBezTo>
                      <a:cubicBezTo>
                        <a:pt x="19269" y="16744"/>
                        <a:pt x="19291" y="16733"/>
                        <a:pt x="19319" y="16720"/>
                      </a:cubicBezTo>
                      <a:cubicBezTo>
                        <a:pt x="19337" y="16708"/>
                        <a:pt x="19352" y="16682"/>
                        <a:pt x="19363" y="16643"/>
                      </a:cubicBezTo>
                      <a:cubicBezTo>
                        <a:pt x="19376" y="16597"/>
                        <a:pt x="19386" y="16569"/>
                        <a:pt x="19394" y="16559"/>
                      </a:cubicBezTo>
                      <a:cubicBezTo>
                        <a:pt x="19455" y="16466"/>
                        <a:pt x="19490" y="16413"/>
                        <a:pt x="19497" y="16401"/>
                      </a:cubicBezTo>
                      <a:cubicBezTo>
                        <a:pt x="19521" y="16347"/>
                        <a:pt x="19529" y="16287"/>
                        <a:pt x="19520" y="16221"/>
                      </a:cubicBezTo>
                      <a:cubicBezTo>
                        <a:pt x="19523" y="16169"/>
                        <a:pt x="19545" y="16111"/>
                        <a:pt x="19584" y="16047"/>
                      </a:cubicBezTo>
                      <a:cubicBezTo>
                        <a:pt x="19619" y="15985"/>
                        <a:pt x="19637" y="15933"/>
                        <a:pt x="19637" y="15892"/>
                      </a:cubicBezTo>
                      <a:cubicBezTo>
                        <a:pt x="19637" y="15876"/>
                        <a:pt x="19628" y="15847"/>
                        <a:pt x="19611" y="15805"/>
                      </a:cubicBezTo>
                      <a:cubicBezTo>
                        <a:pt x="19591" y="15766"/>
                        <a:pt x="19581" y="15740"/>
                        <a:pt x="19581" y="15728"/>
                      </a:cubicBezTo>
                      <a:cubicBezTo>
                        <a:pt x="19581" y="15711"/>
                        <a:pt x="19586" y="15697"/>
                        <a:pt x="19595" y="15684"/>
                      </a:cubicBezTo>
                      <a:cubicBezTo>
                        <a:pt x="19602" y="15678"/>
                        <a:pt x="19615" y="15667"/>
                        <a:pt x="19634" y="15650"/>
                      </a:cubicBezTo>
                      <a:cubicBezTo>
                        <a:pt x="19641" y="15652"/>
                        <a:pt x="19652" y="15664"/>
                        <a:pt x="19667" y="15684"/>
                      </a:cubicBezTo>
                      <a:cubicBezTo>
                        <a:pt x="19682" y="15705"/>
                        <a:pt x="19692" y="15715"/>
                        <a:pt x="19698" y="15715"/>
                      </a:cubicBezTo>
                      <a:cubicBezTo>
                        <a:pt x="19735" y="15715"/>
                        <a:pt x="19747" y="15656"/>
                        <a:pt x="19734" y="15538"/>
                      </a:cubicBezTo>
                      <a:cubicBezTo>
                        <a:pt x="19768" y="15547"/>
                        <a:pt x="19794" y="15563"/>
                        <a:pt x="19812" y="15588"/>
                      </a:cubicBezTo>
                      <a:cubicBezTo>
                        <a:pt x="19827" y="15609"/>
                        <a:pt x="19849" y="15619"/>
                        <a:pt x="19879" y="15619"/>
                      </a:cubicBezTo>
                      <a:cubicBezTo>
                        <a:pt x="19911" y="15619"/>
                        <a:pt x="19938" y="15606"/>
                        <a:pt x="19960" y="15579"/>
                      </a:cubicBezTo>
                      <a:cubicBezTo>
                        <a:pt x="19981" y="15552"/>
                        <a:pt x="19991" y="15521"/>
                        <a:pt x="19991" y="15486"/>
                      </a:cubicBezTo>
                      <a:cubicBezTo>
                        <a:pt x="19991" y="15463"/>
                        <a:pt x="19979" y="15443"/>
                        <a:pt x="19955" y="15427"/>
                      </a:cubicBezTo>
                      <a:cubicBezTo>
                        <a:pt x="19930" y="15410"/>
                        <a:pt x="19918" y="15398"/>
                        <a:pt x="19918" y="15389"/>
                      </a:cubicBezTo>
                      <a:cubicBezTo>
                        <a:pt x="19918" y="15375"/>
                        <a:pt x="19925" y="15367"/>
                        <a:pt x="19938" y="15365"/>
                      </a:cubicBezTo>
                      <a:cubicBezTo>
                        <a:pt x="19945" y="15363"/>
                        <a:pt x="19954" y="15363"/>
                        <a:pt x="19963" y="15365"/>
                      </a:cubicBezTo>
                      <a:lnTo>
                        <a:pt x="20041" y="15377"/>
                      </a:lnTo>
                      <a:cubicBezTo>
                        <a:pt x="20076" y="15377"/>
                        <a:pt x="20102" y="15349"/>
                        <a:pt x="20119" y="15293"/>
                      </a:cubicBezTo>
                      <a:cubicBezTo>
                        <a:pt x="20134" y="15237"/>
                        <a:pt x="20153" y="15210"/>
                        <a:pt x="20178" y="15210"/>
                      </a:cubicBezTo>
                      <a:cubicBezTo>
                        <a:pt x="20213" y="15207"/>
                        <a:pt x="20243" y="15191"/>
                        <a:pt x="20267" y="15160"/>
                      </a:cubicBezTo>
                      <a:cubicBezTo>
                        <a:pt x="20278" y="15143"/>
                        <a:pt x="20307" y="15095"/>
                        <a:pt x="20353" y="15014"/>
                      </a:cubicBezTo>
                      <a:cubicBezTo>
                        <a:pt x="20426" y="14931"/>
                        <a:pt x="20490" y="14857"/>
                        <a:pt x="20546" y="14791"/>
                      </a:cubicBezTo>
                      <a:cubicBezTo>
                        <a:pt x="20624" y="14693"/>
                        <a:pt x="20687" y="14618"/>
                        <a:pt x="20735" y="14564"/>
                      </a:cubicBezTo>
                      <a:cubicBezTo>
                        <a:pt x="20776" y="14517"/>
                        <a:pt x="20868" y="14424"/>
                        <a:pt x="21012" y="14288"/>
                      </a:cubicBezTo>
                      <a:cubicBezTo>
                        <a:pt x="21082" y="14222"/>
                        <a:pt x="21118" y="14161"/>
                        <a:pt x="21118" y="14105"/>
                      </a:cubicBezTo>
                      <a:cubicBezTo>
                        <a:pt x="21118" y="14097"/>
                        <a:pt x="21112" y="14088"/>
                        <a:pt x="21101" y="14080"/>
                      </a:cubicBezTo>
                      <a:cubicBezTo>
                        <a:pt x="21090" y="14072"/>
                        <a:pt x="21078" y="14068"/>
                        <a:pt x="21065" y="14068"/>
                      </a:cubicBezTo>
                      <a:cubicBezTo>
                        <a:pt x="21048" y="14068"/>
                        <a:pt x="21030" y="14074"/>
                        <a:pt x="21012" y="14086"/>
                      </a:cubicBezTo>
                      <a:cubicBezTo>
                        <a:pt x="20993" y="14099"/>
                        <a:pt x="20974" y="14105"/>
                        <a:pt x="20956" y="14105"/>
                      </a:cubicBezTo>
                      <a:cubicBezTo>
                        <a:pt x="20930" y="14101"/>
                        <a:pt x="20917" y="14090"/>
                        <a:pt x="20917" y="14074"/>
                      </a:cubicBezTo>
                      <a:cubicBezTo>
                        <a:pt x="20926" y="14037"/>
                        <a:pt x="20931" y="14013"/>
                        <a:pt x="20931" y="14003"/>
                      </a:cubicBezTo>
                      <a:cubicBezTo>
                        <a:pt x="20931" y="13978"/>
                        <a:pt x="20918" y="13960"/>
                        <a:pt x="20892" y="13950"/>
                      </a:cubicBezTo>
                      <a:cubicBezTo>
                        <a:pt x="20864" y="13937"/>
                        <a:pt x="20850" y="13925"/>
                        <a:pt x="20850" y="13913"/>
                      </a:cubicBezTo>
                      <a:cubicBezTo>
                        <a:pt x="20850" y="13884"/>
                        <a:pt x="20874" y="13861"/>
                        <a:pt x="20922" y="13844"/>
                      </a:cubicBezTo>
                      <a:cubicBezTo>
                        <a:pt x="20948" y="13834"/>
                        <a:pt x="20981" y="13824"/>
                        <a:pt x="21020" y="13813"/>
                      </a:cubicBezTo>
                      <a:cubicBezTo>
                        <a:pt x="21070" y="13778"/>
                        <a:pt x="21164" y="13702"/>
                        <a:pt x="21302" y="13584"/>
                      </a:cubicBezTo>
                      <a:cubicBezTo>
                        <a:pt x="21352" y="13544"/>
                        <a:pt x="21388" y="13508"/>
                        <a:pt x="21410" y="13475"/>
                      </a:cubicBezTo>
                      <a:cubicBezTo>
                        <a:pt x="21423" y="13456"/>
                        <a:pt x="21447" y="13412"/>
                        <a:pt x="21480" y="13342"/>
                      </a:cubicBezTo>
                      <a:cubicBezTo>
                        <a:pt x="21482" y="13335"/>
                        <a:pt x="21488" y="13312"/>
                        <a:pt x="21497" y="13270"/>
                      </a:cubicBezTo>
                      <a:cubicBezTo>
                        <a:pt x="21506" y="13231"/>
                        <a:pt x="21514" y="13206"/>
                        <a:pt x="21519" y="13196"/>
                      </a:cubicBezTo>
                      <a:cubicBezTo>
                        <a:pt x="21534" y="13169"/>
                        <a:pt x="21553" y="13146"/>
                        <a:pt x="21575" y="13128"/>
                      </a:cubicBezTo>
                      <a:cubicBezTo>
                        <a:pt x="21592" y="13115"/>
                        <a:pt x="21600" y="13102"/>
                        <a:pt x="21600" y="13087"/>
                      </a:cubicBezTo>
                      <a:cubicBezTo>
                        <a:pt x="21600" y="13058"/>
                        <a:pt x="21587" y="13041"/>
                        <a:pt x="21561" y="13034"/>
                      </a:cubicBezTo>
                      <a:close/>
                      <a:moveTo>
                        <a:pt x="21561" y="1303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0" name="AutoShape 104"/>
                <p:cNvSpPr>
                  <a:spLocks/>
                </p:cNvSpPr>
                <p:nvPr/>
              </p:nvSpPr>
              <p:spPr bwMode="auto">
                <a:xfrm>
                  <a:off x="7752465" y="2556271"/>
                  <a:ext cx="8245" cy="17522"/>
                </a:xfrm>
                <a:custGeom>
                  <a:avLst/>
                  <a:gdLst/>
                  <a:ahLst/>
                  <a:cxnLst/>
                  <a:rect l="0" t="0" r="r" b="b"/>
                  <a:pathLst>
                    <a:path w="21600" h="21600">
                      <a:moveTo>
                        <a:pt x="20575" y="0"/>
                      </a:moveTo>
                      <a:cubicBezTo>
                        <a:pt x="16115" y="167"/>
                        <a:pt x="11493" y="2008"/>
                        <a:pt x="6691" y="5524"/>
                      </a:cubicBezTo>
                      <a:cubicBezTo>
                        <a:pt x="2230" y="8706"/>
                        <a:pt x="0" y="11554"/>
                        <a:pt x="0" y="14068"/>
                      </a:cubicBezTo>
                      <a:cubicBezTo>
                        <a:pt x="0" y="14736"/>
                        <a:pt x="864" y="16159"/>
                        <a:pt x="2572" y="18340"/>
                      </a:cubicBezTo>
                      <a:cubicBezTo>
                        <a:pt x="4280" y="20515"/>
                        <a:pt x="5666" y="21600"/>
                        <a:pt x="6691" y="21600"/>
                      </a:cubicBezTo>
                      <a:cubicBezTo>
                        <a:pt x="9424" y="21600"/>
                        <a:pt x="12860" y="20937"/>
                        <a:pt x="16979" y="19597"/>
                      </a:cubicBezTo>
                      <a:cubicBezTo>
                        <a:pt x="20053" y="13233"/>
                        <a:pt x="21600" y="7950"/>
                        <a:pt x="21600" y="3766"/>
                      </a:cubicBezTo>
                      <a:cubicBezTo>
                        <a:pt x="21600" y="1925"/>
                        <a:pt x="21258" y="668"/>
                        <a:pt x="20575" y="0"/>
                      </a:cubicBezTo>
                      <a:close/>
                      <a:moveTo>
                        <a:pt x="20575" y="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3" name="AutoShape 107"/>
                <p:cNvSpPr>
                  <a:spLocks/>
                </p:cNvSpPr>
                <p:nvPr/>
              </p:nvSpPr>
              <p:spPr bwMode="auto">
                <a:xfrm>
                  <a:off x="6453804" y="127980"/>
                  <a:ext cx="261794" cy="506581"/>
                </a:xfrm>
                <a:custGeom>
                  <a:avLst/>
                  <a:gdLst/>
                  <a:ahLst/>
                  <a:cxnLst/>
                  <a:rect l="0" t="0" r="r" b="b"/>
                  <a:pathLst>
                    <a:path w="21600" h="21600">
                      <a:moveTo>
                        <a:pt x="357" y="7926"/>
                      </a:moveTo>
                      <a:cubicBezTo>
                        <a:pt x="549" y="7984"/>
                        <a:pt x="702" y="8013"/>
                        <a:pt x="815" y="8013"/>
                      </a:cubicBezTo>
                      <a:cubicBezTo>
                        <a:pt x="974" y="8013"/>
                        <a:pt x="1144" y="7984"/>
                        <a:pt x="1325" y="7926"/>
                      </a:cubicBezTo>
                      <a:cubicBezTo>
                        <a:pt x="1407" y="7895"/>
                        <a:pt x="1490" y="7871"/>
                        <a:pt x="1574" y="7855"/>
                      </a:cubicBezTo>
                      <a:lnTo>
                        <a:pt x="1609" y="8201"/>
                      </a:lnTo>
                      <a:cubicBezTo>
                        <a:pt x="1285" y="8238"/>
                        <a:pt x="1121" y="8307"/>
                        <a:pt x="1121" y="8408"/>
                      </a:cubicBezTo>
                      <a:cubicBezTo>
                        <a:pt x="1121" y="8456"/>
                        <a:pt x="1299" y="8541"/>
                        <a:pt x="1655" y="8663"/>
                      </a:cubicBezTo>
                      <a:lnTo>
                        <a:pt x="1842" y="10533"/>
                      </a:lnTo>
                      <a:lnTo>
                        <a:pt x="2391" y="16024"/>
                      </a:lnTo>
                      <a:lnTo>
                        <a:pt x="2812" y="20243"/>
                      </a:lnTo>
                      <a:cubicBezTo>
                        <a:pt x="2652" y="20371"/>
                        <a:pt x="2564" y="20493"/>
                        <a:pt x="2564" y="20608"/>
                      </a:cubicBezTo>
                      <a:cubicBezTo>
                        <a:pt x="2564" y="20778"/>
                        <a:pt x="2638" y="20933"/>
                        <a:pt x="2785" y="21073"/>
                      </a:cubicBezTo>
                      <a:cubicBezTo>
                        <a:pt x="2823" y="21112"/>
                        <a:pt x="2864" y="21144"/>
                        <a:pt x="2905" y="21173"/>
                      </a:cubicBezTo>
                      <a:cubicBezTo>
                        <a:pt x="3023" y="21252"/>
                        <a:pt x="3152" y="21293"/>
                        <a:pt x="3294" y="21293"/>
                      </a:cubicBezTo>
                      <a:cubicBezTo>
                        <a:pt x="3544" y="21293"/>
                        <a:pt x="3696" y="21220"/>
                        <a:pt x="3753" y="21073"/>
                      </a:cubicBezTo>
                      <a:cubicBezTo>
                        <a:pt x="3776" y="20880"/>
                        <a:pt x="3810" y="20737"/>
                        <a:pt x="3855" y="20643"/>
                      </a:cubicBezTo>
                      <a:cubicBezTo>
                        <a:pt x="3877" y="20643"/>
                        <a:pt x="3888" y="20637"/>
                        <a:pt x="3888" y="20626"/>
                      </a:cubicBezTo>
                      <a:cubicBezTo>
                        <a:pt x="4013" y="20690"/>
                        <a:pt x="4132" y="20886"/>
                        <a:pt x="4245" y="21214"/>
                      </a:cubicBezTo>
                      <a:cubicBezTo>
                        <a:pt x="4336" y="21471"/>
                        <a:pt x="4551" y="21600"/>
                        <a:pt x="4891" y="21600"/>
                      </a:cubicBezTo>
                      <a:cubicBezTo>
                        <a:pt x="5151" y="21600"/>
                        <a:pt x="5281" y="21439"/>
                        <a:pt x="5281" y="21117"/>
                      </a:cubicBezTo>
                      <a:cubicBezTo>
                        <a:pt x="5281" y="21035"/>
                        <a:pt x="5287" y="20989"/>
                        <a:pt x="5298" y="20977"/>
                      </a:cubicBezTo>
                      <a:cubicBezTo>
                        <a:pt x="5321" y="20924"/>
                        <a:pt x="5378" y="20892"/>
                        <a:pt x="5468" y="20880"/>
                      </a:cubicBezTo>
                      <a:cubicBezTo>
                        <a:pt x="5536" y="20915"/>
                        <a:pt x="5666" y="20977"/>
                        <a:pt x="5859" y="21065"/>
                      </a:cubicBezTo>
                      <a:cubicBezTo>
                        <a:pt x="6073" y="21158"/>
                        <a:pt x="6193" y="21205"/>
                        <a:pt x="6215" y="21205"/>
                      </a:cubicBezTo>
                      <a:cubicBezTo>
                        <a:pt x="6430" y="21205"/>
                        <a:pt x="6526" y="21117"/>
                        <a:pt x="6504" y="20942"/>
                      </a:cubicBezTo>
                      <a:cubicBezTo>
                        <a:pt x="6493" y="20766"/>
                        <a:pt x="6555" y="20678"/>
                        <a:pt x="6690" y="20678"/>
                      </a:cubicBezTo>
                      <a:cubicBezTo>
                        <a:pt x="6770" y="20678"/>
                        <a:pt x="7036" y="20822"/>
                        <a:pt x="7489" y="21108"/>
                      </a:cubicBezTo>
                      <a:cubicBezTo>
                        <a:pt x="8021" y="21389"/>
                        <a:pt x="8530" y="21530"/>
                        <a:pt x="9017" y="21530"/>
                      </a:cubicBezTo>
                      <a:cubicBezTo>
                        <a:pt x="9141" y="21530"/>
                        <a:pt x="9266" y="21518"/>
                        <a:pt x="9391" y="21495"/>
                      </a:cubicBezTo>
                      <a:cubicBezTo>
                        <a:pt x="9538" y="21465"/>
                        <a:pt x="9612" y="21427"/>
                        <a:pt x="9612" y="21381"/>
                      </a:cubicBezTo>
                      <a:cubicBezTo>
                        <a:pt x="9612" y="21293"/>
                        <a:pt x="9476" y="21193"/>
                        <a:pt x="9204" y="21082"/>
                      </a:cubicBezTo>
                      <a:cubicBezTo>
                        <a:pt x="8921" y="20977"/>
                        <a:pt x="8779" y="20886"/>
                        <a:pt x="8779" y="20810"/>
                      </a:cubicBezTo>
                      <a:cubicBezTo>
                        <a:pt x="8802" y="20781"/>
                        <a:pt x="8813" y="20760"/>
                        <a:pt x="8813" y="20749"/>
                      </a:cubicBezTo>
                      <a:cubicBezTo>
                        <a:pt x="8881" y="20737"/>
                        <a:pt x="8983" y="20752"/>
                        <a:pt x="9119" y="20793"/>
                      </a:cubicBezTo>
                      <a:cubicBezTo>
                        <a:pt x="9255" y="20839"/>
                        <a:pt x="9357" y="20863"/>
                        <a:pt x="9425" y="20863"/>
                      </a:cubicBezTo>
                      <a:cubicBezTo>
                        <a:pt x="9583" y="20863"/>
                        <a:pt x="9691" y="20825"/>
                        <a:pt x="9747" y="20749"/>
                      </a:cubicBezTo>
                      <a:cubicBezTo>
                        <a:pt x="9747" y="20737"/>
                        <a:pt x="9781" y="20637"/>
                        <a:pt x="9849" y="20450"/>
                      </a:cubicBezTo>
                      <a:cubicBezTo>
                        <a:pt x="9872" y="20450"/>
                        <a:pt x="9906" y="20441"/>
                        <a:pt x="9951" y="20424"/>
                      </a:cubicBezTo>
                      <a:cubicBezTo>
                        <a:pt x="9985" y="20424"/>
                        <a:pt x="10149" y="20497"/>
                        <a:pt x="10443" y="20643"/>
                      </a:cubicBezTo>
                      <a:cubicBezTo>
                        <a:pt x="10806" y="20790"/>
                        <a:pt x="11168" y="20863"/>
                        <a:pt x="11530" y="20863"/>
                      </a:cubicBezTo>
                      <a:cubicBezTo>
                        <a:pt x="11576" y="20863"/>
                        <a:pt x="11621" y="20851"/>
                        <a:pt x="11666" y="20828"/>
                      </a:cubicBezTo>
                      <a:cubicBezTo>
                        <a:pt x="11712" y="20804"/>
                        <a:pt x="11734" y="20784"/>
                        <a:pt x="11734" y="20766"/>
                      </a:cubicBezTo>
                      <a:cubicBezTo>
                        <a:pt x="11734" y="20719"/>
                        <a:pt x="11638" y="20608"/>
                        <a:pt x="11445" y="20433"/>
                      </a:cubicBezTo>
                      <a:cubicBezTo>
                        <a:pt x="11253" y="20263"/>
                        <a:pt x="11151" y="20172"/>
                        <a:pt x="11140" y="20161"/>
                      </a:cubicBezTo>
                      <a:lnTo>
                        <a:pt x="11310" y="20161"/>
                      </a:lnTo>
                      <a:cubicBezTo>
                        <a:pt x="11377" y="20190"/>
                        <a:pt x="11570" y="20307"/>
                        <a:pt x="11887" y="20512"/>
                      </a:cubicBezTo>
                      <a:cubicBezTo>
                        <a:pt x="12215" y="20699"/>
                        <a:pt x="12453" y="20793"/>
                        <a:pt x="12600" y="20793"/>
                      </a:cubicBezTo>
                      <a:cubicBezTo>
                        <a:pt x="12713" y="20793"/>
                        <a:pt x="12810" y="20766"/>
                        <a:pt x="12888" y="20714"/>
                      </a:cubicBezTo>
                      <a:cubicBezTo>
                        <a:pt x="12957" y="20667"/>
                        <a:pt x="12991" y="20623"/>
                        <a:pt x="12991" y="20582"/>
                      </a:cubicBezTo>
                      <a:cubicBezTo>
                        <a:pt x="12991" y="20477"/>
                        <a:pt x="12900" y="20383"/>
                        <a:pt x="12719" y="20301"/>
                      </a:cubicBezTo>
                      <a:cubicBezTo>
                        <a:pt x="12492" y="20202"/>
                        <a:pt x="12351" y="20105"/>
                        <a:pt x="12294" y="20011"/>
                      </a:cubicBezTo>
                      <a:cubicBezTo>
                        <a:pt x="12317" y="20011"/>
                        <a:pt x="12362" y="20006"/>
                        <a:pt x="12430" y="19994"/>
                      </a:cubicBezTo>
                      <a:cubicBezTo>
                        <a:pt x="12940" y="19994"/>
                        <a:pt x="13200" y="20085"/>
                        <a:pt x="13212" y="20266"/>
                      </a:cubicBezTo>
                      <a:cubicBezTo>
                        <a:pt x="13234" y="20447"/>
                        <a:pt x="13375" y="20538"/>
                        <a:pt x="13636" y="20538"/>
                      </a:cubicBezTo>
                      <a:cubicBezTo>
                        <a:pt x="13670" y="20538"/>
                        <a:pt x="13777" y="20523"/>
                        <a:pt x="13958" y="20494"/>
                      </a:cubicBezTo>
                      <a:cubicBezTo>
                        <a:pt x="14140" y="20465"/>
                        <a:pt x="14276" y="20450"/>
                        <a:pt x="14366" y="20450"/>
                      </a:cubicBezTo>
                      <a:cubicBezTo>
                        <a:pt x="14514" y="20450"/>
                        <a:pt x="14660" y="20576"/>
                        <a:pt x="14808" y="20828"/>
                      </a:cubicBezTo>
                      <a:cubicBezTo>
                        <a:pt x="14955" y="21079"/>
                        <a:pt x="15046" y="21205"/>
                        <a:pt x="15079" y="21205"/>
                      </a:cubicBezTo>
                      <a:cubicBezTo>
                        <a:pt x="15238" y="21205"/>
                        <a:pt x="15487" y="21111"/>
                        <a:pt x="15826" y="20924"/>
                      </a:cubicBezTo>
                      <a:cubicBezTo>
                        <a:pt x="16065" y="20790"/>
                        <a:pt x="16257" y="20667"/>
                        <a:pt x="16404" y="20556"/>
                      </a:cubicBezTo>
                      <a:cubicBezTo>
                        <a:pt x="16472" y="20503"/>
                        <a:pt x="16608" y="20380"/>
                        <a:pt x="16811" y="20187"/>
                      </a:cubicBezTo>
                      <a:cubicBezTo>
                        <a:pt x="16993" y="20023"/>
                        <a:pt x="17106" y="19941"/>
                        <a:pt x="17151" y="19941"/>
                      </a:cubicBezTo>
                      <a:cubicBezTo>
                        <a:pt x="17196" y="19941"/>
                        <a:pt x="17292" y="19959"/>
                        <a:pt x="17440" y="19994"/>
                      </a:cubicBezTo>
                      <a:cubicBezTo>
                        <a:pt x="17643" y="19994"/>
                        <a:pt x="17830" y="19918"/>
                        <a:pt x="18000" y="19766"/>
                      </a:cubicBezTo>
                      <a:cubicBezTo>
                        <a:pt x="18170" y="19608"/>
                        <a:pt x="18255" y="19429"/>
                        <a:pt x="18255" y="19230"/>
                      </a:cubicBezTo>
                      <a:cubicBezTo>
                        <a:pt x="18255" y="19166"/>
                        <a:pt x="18226" y="19096"/>
                        <a:pt x="18170" y="19020"/>
                      </a:cubicBezTo>
                      <a:cubicBezTo>
                        <a:pt x="18125" y="18943"/>
                        <a:pt x="18102" y="18873"/>
                        <a:pt x="18102" y="18809"/>
                      </a:cubicBezTo>
                      <a:cubicBezTo>
                        <a:pt x="18102" y="18674"/>
                        <a:pt x="17960" y="18607"/>
                        <a:pt x="17678" y="18607"/>
                      </a:cubicBezTo>
                      <a:cubicBezTo>
                        <a:pt x="17406" y="18607"/>
                        <a:pt x="17185" y="18683"/>
                        <a:pt x="17015" y="18835"/>
                      </a:cubicBezTo>
                      <a:cubicBezTo>
                        <a:pt x="16834" y="18987"/>
                        <a:pt x="16738" y="19063"/>
                        <a:pt x="16727" y="19063"/>
                      </a:cubicBezTo>
                      <a:cubicBezTo>
                        <a:pt x="16693" y="19063"/>
                        <a:pt x="16630" y="19031"/>
                        <a:pt x="16539" y="18967"/>
                      </a:cubicBezTo>
                      <a:cubicBezTo>
                        <a:pt x="16449" y="18897"/>
                        <a:pt x="16382" y="18862"/>
                        <a:pt x="16336" y="18862"/>
                      </a:cubicBezTo>
                      <a:cubicBezTo>
                        <a:pt x="16121" y="18862"/>
                        <a:pt x="15996" y="18859"/>
                        <a:pt x="15962" y="18853"/>
                      </a:cubicBezTo>
                      <a:cubicBezTo>
                        <a:pt x="15951" y="18853"/>
                        <a:pt x="15945" y="18815"/>
                        <a:pt x="15945" y="18739"/>
                      </a:cubicBezTo>
                      <a:cubicBezTo>
                        <a:pt x="15945" y="18680"/>
                        <a:pt x="15996" y="18604"/>
                        <a:pt x="16098" y="18510"/>
                      </a:cubicBezTo>
                      <a:cubicBezTo>
                        <a:pt x="16189" y="18423"/>
                        <a:pt x="16234" y="18355"/>
                        <a:pt x="16234" y="18309"/>
                      </a:cubicBezTo>
                      <a:cubicBezTo>
                        <a:pt x="16234" y="18233"/>
                        <a:pt x="16092" y="18195"/>
                        <a:pt x="15810" y="18195"/>
                      </a:cubicBezTo>
                      <a:cubicBezTo>
                        <a:pt x="15504" y="18195"/>
                        <a:pt x="15278" y="18244"/>
                        <a:pt x="15131" y="18344"/>
                      </a:cubicBezTo>
                      <a:cubicBezTo>
                        <a:pt x="14859" y="18525"/>
                        <a:pt x="14700" y="18625"/>
                        <a:pt x="14655" y="18642"/>
                      </a:cubicBezTo>
                      <a:cubicBezTo>
                        <a:pt x="14587" y="18554"/>
                        <a:pt x="14536" y="18487"/>
                        <a:pt x="14502" y="18440"/>
                      </a:cubicBezTo>
                      <a:cubicBezTo>
                        <a:pt x="14445" y="18358"/>
                        <a:pt x="14355" y="18317"/>
                        <a:pt x="14230" y="18317"/>
                      </a:cubicBezTo>
                      <a:cubicBezTo>
                        <a:pt x="14061" y="18317"/>
                        <a:pt x="13772" y="18394"/>
                        <a:pt x="13364" y="18546"/>
                      </a:cubicBezTo>
                      <a:cubicBezTo>
                        <a:pt x="12968" y="18698"/>
                        <a:pt x="12742" y="18774"/>
                        <a:pt x="12685" y="18774"/>
                      </a:cubicBezTo>
                      <a:cubicBezTo>
                        <a:pt x="12515" y="18774"/>
                        <a:pt x="12425" y="18712"/>
                        <a:pt x="12414" y="18590"/>
                      </a:cubicBezTo>
                      <a:cubicBezTo>
                        <a:pt x="12402" y="18461"/>
                        <a:pt x="12289" y="18396"/>
                        <a:pt x="12074" y="18396"/>
                      </a:cubicBezTo>
                      <a:cubicBezTo>
                        <a:pt x="12085" y="18338"/>
                        <a:pt x="12215" y="18279"/>
                        <a:pt x="12464" y="18221"/>
                      </a:cubicBezTo>
                      <a:cubicBezTo>
                        <a:pt x="12702" y="18162"/>
                        <a:pt x="12821" y="18101"/>
                        <a:pt x="12821" y="18037"/>
                      </a:cubicBezTo>
                      <a:cubicBezTo>
                        <a:pt x="12821" y="18001"/>
                        <a:pt x="12758" y="17955"/>
                        <a:pt x="12634" y="17896"/>
                      </a:cubicBezTo>
                      <a:cubicBezTo>
                        <a:pt x="12498" y="17838"/>
                        <a:pt x="12430" y="17797"/>
                        <a:pt x="12430" y="17773"/>
                      </a:cubicBezTo>
                      <a:cubicBezTo>
                        <a:pt x="12430" y="17732"/>
                        <a:pt x="12487" y="17700"/>
                        <a:pt x="12600" y="17677"/>
                      </a:cubicBezTo>
                      <a:cubicBezTo>
                        <a:pt x="12680" y="17659"/>
                        <a:pt x="12747" y="17650"/>
                        <a:pt x="12804" y="17650"/>
                      </a:cubicBezTo>
                      <a:cubicBezTo>
                        <a:pt x="12962" y="17650"/>
                        <a:pt x="13206" y="17703"/>
                        <a:pt x="13534" y="17808"/>
                      </a:cubicBezTo>
                      <a:cubicBezTo>
                        <a:pt x="13862" y="17908"/>
                        <a:pt x="14146" y="17958"/>
                        <a:pt x="14383" y="17958"/>
                      </a:cubicBezTo>
                      <a:cubicBezTo>
                        <a:pt x="14587" y="17958"/>
                        <a:pt x="15153" y="17849"/>
                        <a:pt x="16081" y="17633"/>
                      </a:cubicBezTo>
                      <a:cubicBezTo>
                        <a:pt x="16228" y="17580"/>
                        <a:pt x="16398" y="17484"/>
                        <a:pt x="16591" y="17343"/>
                      </a:cubicBezTo>
                      <a:cubicBezTo>
                        <a:pt x="16794" y="17185"/>
                        <a:pt x="16896" y="17065"/>
                        <a:pt x="16896" y="16983"/>
                      </a:cubicBezTo>
                      <a:cubicBezTo>
                        <a:pt x="16896" y="16808"/>
                        <a:pt x="16715" y="16641"/>
                        <a:pt x="16353" y="16483"/>
                      </a:cubicBezTo>
                      <a:cubicBezTo>
                        <a:pt x="15991" y="16319"/>
                        <a:pt x="15810" y="16196"/>
                        <a:pt x="15810" y="16114"/>
                      </a:cubicBezTo>
                      <a:cubicBezTo>
                        <a:pt x="15810" y="15962"/>
                        <a:pt x="15900" y="15872"/>
                        <a:pt x="16081" y="15842"/>
                      </a:cubicBezTo>
                      <a:cubicBezTo>
                        <a:pt x="16195" y="15819"/>
                        <a:pt x="16404" y="15807"/>
                        <a:pt x="16709" y="15807"/>
                      </a:cubicBezTo>
                      <a:cubicBezTo>
                        <a:pt x="16914" y="15790"/>
                        <a:pt x="17100" y="15763"/>
                        <a:pt x="17270" y="15728"/>
                      </a:cubicBezTo>
                      <a:cubicBezTo>
                        <a:pt x="17440" y="15693"/>
                        <a:pt x="17666" y="15635"/>
                        <a:pt x="17949" y="15553"/>
                      </a:cubicBezTo>
                      <a:cubicBezTo>
                        <a:pt x="17960" y="15523"/>
                        <a:pt x="18006" y="15497"/>
                        <a:pt x="18085" y="15474"/>
                      </a:cubicBezTo>
                      <a:cubicBezTo>
                        <a:pt x="18153" y="15444"/>
                        <a:pt x="18192" y="15430"/>
                        <a:pt x="18204" y="15430"/>
                      </a:cubicBezTo>
                      <a:cubicBezTo>
                        <a:pt x="18215" y="15430"/>
                        <a:pt x="18226" y="15430"/>
                        <a:pt x="18238" y="15430"/>
                      </a:cubicBezTo>
                      <a:cubicBezTo>
                        <a:pt x="18566" y="15289"/>
                        <a:pt x="18730" y="15184"/>
                        <a:pt x="18730" y="15114"/>
                      </a:cubicBezTo>
                      <a:cubicBezTo>
                        <a:pt x="18730" y="15079"/>
                        <a:pt x="18708" y="15041"/>
                        <a:pt x="18662" y="15000"/>
                      </a:cubicBezTo>
                      <a:cubicBezTo>
                        <a:pt x="18606" y="14953"/>
                        <a:pt x="18543" y="14930"/>
                        <a:pt x="18476" y="14930"/>
                      </a:cubicBezTo>
                      <a:cubicBezTo>
                        <a:pt x="17875" y="14988"/>
                        <a:pt x="17502" y="15017"/>
                        <a:pt x="17355" y="15017"/>
                      </a:cubicBezTo>
                      <a:cubicBezTo>
                        <a:pt x="17207" y="15017"/>
                        <a:pt x="17117" y="15014"/>
                        <a:pt x="17083" y="15008"/>
                      </a:cubicBezTo>
                      <a:cubicBezTo>
                        <a:pt x="17015" y="15003"/>
                        <a:pt x="16970" y="14982"/>
                        <a:pt x="16947" y="14947"/>
                      </a:cubicBezTo>
                      <a:cubicBezTo>
                        <a:pt x="17140" y="14812"/>
                        <a:pt x="17582" y="14710"/>
                        <a:pt x="18272" y="14640"/>
                      </a:cubicBezTo>
                      <a:cubicBezTo>
                        <a:pt x="18838" y="14581"/>
                        <a:pt x="19121" y="14461"/>
                        <a:pt x="19121" y="14280"/>
                      </a:cubicBezTo>
                      <a:cubicBezTo>
                        <a:pt x="19121" y="14093"/>
                        <a:pt x="18844" y="14005"/>
                        <a:pt x="18289" y="14017"/>
                      </a:cubicBezTo>
                      <a:cubicBezTo>
                        <a:pt x="17723" y="14028"/>
                        <a:pt x="17440" y="13999"/>
                        <a:pt x="17440" y="13929"/>
                      </a:cubicBezTo>
                      <a:cubicBezTo>
                        <a:pt x="17440" y="13853"/>
                        <a:pt x="17712" y="13780"/>
                        <a:pt x="18255" y="13709"/>
                      </a:cubicBezTo>
                      <a:cubicBezTo>
                        <a:pt x="18787" y="13633"/>
                        <a:pt x="19053" y="13464"/>
                        <a:pt x="19053" y="13201"/>
                      </a:cubicBezTo>
                      <a:cubicBezTo>
                        <a:pt x="19053" y="13072"/>
                        <a:pt x="18889" y="12958"/>
                        <a:pt x="18561" y="12858"/>
                      </a:cubicBezTo>
                      <a:cubicBezTo>
                        <a:pt x="18255" y="12770"/>
                        <a:pt x="17944" y="12727"/>
                        <a:pt x="17627" y="12727"/>
                      </a:cubicBezTo>
                      <a:cubicBezTo>
                        <a:pt x="17513" y="12727"/>
                        <a:pt x="17377" y="12735"/>
                        <a:pt x="17219" y="12753"/>
                      </a:cubicBezTo>
                      <a:cubicBezTo>
                        <a:pt x="17061" y="12770"/>
                        <a:pt x="16953" y="12779"/>
                        <a:pt x="16896" y="12779"/>
                      </a:cubicBezTo>
                      <a:lnTo>
                        <a:pt x="16744" y="12779"/>
                      </a:lnTo>
                      <a:cubicBezTo>
                        <a:pt x="16721" y="12773"/>
                        <a:pt x="16709" y="12750"/>
                        <a:pt x="16709" y="12709"/>
                      </a:cubicBezTo>
                      <a:cubicBezTo>
                        <a:pt x="16789" y="12528"/>
                        <a:pt x="16755" y="12437"/>
                        <a:pt x="16608" y="12437"/>
                      </a:cubicBezTo>
                      <a:cubicBezTo>
                        <a:pt x="16415" y="12437"/>
                        <a:pt x="16172" y="12507"/>
                        <a:pt x="15877" y="12648"/>
                      </a:cubicBezTo>
                      <a:cubicBezTo>
                        <a:pt x="15583" y="12788"/>
                        <a:pt x="15391" y="12858"/>
                        <a:pt x="15300" y="12858"/>
                      </a:cubicBezTo>
                      <a:cubicBezTo>
                        <a:pt x="15243" y="12841"/>
                        <a:pt x="15204" y="12832"/>
                        <a:pt x="15181" y="12832"/>
                      </a:cubicBezTo>
                      <a:cubicBezTo>
                        <a:pt x="15215" y="12797"/>
                        <a:pt x="15317" y="12730"/>
                        <a:pt x="15487" y="12630"/>
                      </a:cubicBezTo>
                      <a:cubicBezTo>
                        <a:pt x="15611" y="12554"/>
                        <a:pt x="15674" y="12484"/>
                        <a:pt x="15674" y="12419"/>
                      </a:cubicBezTo>
                      <a:cubicBezTo>
                        <a:pt x="15674" y="12314"/>
                        <a:pt x="15549" y="12261"/>
                        <a:pt x="15300" y="12261"/>
                      </a:cubicBezTo>
                      <a:cubicBezTo>
                        <a:pt x="15108" y="12261"/>
                        <a:pt x="14915" y="12285"/>
                        <a:pt x="14723" y="12332"/>
                      </a:cubicBezTo>
                      <a:lnTo>
                        <a:pt x="14553" y="12332"/>
                      </a:lnTo>
                      <a:cubicBezTo>
                        <a:pt x="14553" y="12267"/>
                        <a:pt x="14626" y="12191"/>
                        <a:pt x="14774" y="12103"/>
                      </a:cubicBezTo>
                      <a:cubicBezTo>
                        <a:pt x="14910" y="12016"/>
                        <a:pt x="14977" y="11954"/>
                        <a:pt x="14977" y="11919"/>
                      </a:cubicBezTo>
                      <a:cubicBezTo>
                        <a:pt x="14977" y="11855"/>
                        <a:pt x="14865" y="11828"/>
                        <a:pt x="14638" y="11840"/>
                      </a:cubicBezTo>
                      <a:cubicBezTo>
                        <a:pt x="14400" y="11858"/>
                        <a:pt x="14264" y="11866"/>
                        <a:pt x="14230" y="11866"/>
                      </a:cubicBezTo>
                      <a:cubicBezTo>
                        <a:pt x="14309" y="11808"/>
                        <a:pt x="14406" y="11662"/>
                        <a:pt x="14519" y="11428"/>
                      </a:cubicBezTo>
                      <a:cubicBezTo>
                        <a:pt x="14587" y="11264"/>
                        <a:pt x="14729" y="11182"/>
                        <a:pt x="14943" y="11182"/>
                      </a:cubicBezTo>
                      <a:cubicBezTo>
                        <a:pt x="15113" y="11182"/>
                        <a:pt x="15278" y="11234"/>
                        <a:pt x="15436" y="11340"/>
                      </a:cubicBezTo>
                      <a:cubicBezTo>
                        <a:pt x="15594" y="11439"/>
                        <a:pt x="15736" y="11489"/>
                        <a:pt x="15860" y="11489"/>
                      </a:cubicBezTo>
                      <a:cubicBezTo>
                        <a:pt x="15974" y="11489"/>
                        <a:pt x="16076" y="11460"/>
                        <a:pt x="16166" y="11401"/>
                      </a:cubicBezTo>
                      <a:cubicBezTo>
                        <a:pt x="16279" y="11319"/>
                        <a:pt x="16347" y="11275"/>
                        <a:pt x="16370" y="11270"/>
                      </a:cubicBezTo>
                      <a:cubicBezTo>
                        <a:pt x="16415" y="11258"/>
                        <a:pt x="16551" y="11223"/>
                        <a:pt x="16778" y="11164"/>
                      </a:cubicBezTo>
                      <a:cubicBezTo>
                        <a:pt x="16959" y="11123"/>
                        <a:pt x="17077" y="11085"/>
                        <a:pt x="17134" y="11050"/>
                      </a:cubicBezTo>
                      <a:cubicBezTo>
                        <a:pt x="17146" y="11038"/>
                        <a:pt x="17332" y="10948"/>
                        <a:pt x="17694" y="10778"/>
                      </a:cubicBezTo>
                      <a:cubicBezTo>
                        <a:pt x="17944" y="10661"/>
                        <a:pt x="18068" y="10550"/>
                        <a:pt x="18068" y="10445"/>
                      </a:cubicBezTo>
                      <a:cubicBezTo>
                        <a:pt x="18068" y="10392"/>
                        <a:pt x="17989" y="10313"/>
                        <a:pt x="17830" y="10208"/>
                      </a:cubicBezTo>
                      <a:cubicBezTo>
                        <a:pt x="17649" y="10085"/>
                        <a:pt x="17468" y="10023"/>
                        <a:pt x="17287" y="10023"/>
                      </a:cubicBezTo>
                      <a:lnTo>
                        <a:pt x="16778" y="10076"/>
                      </a:lnTo>
                      <a:cubicBezTo>
                        <a:pt x="16721" y="10076"/>
                        <a:pt x="16648" y="10064"/>
                        <a:pt x="16557" y="10041"/>
                      </a:cubicBezTo>
                      <a:cubicBezTo>
                        <a:pt x="16478" y="10017"/>
                        <a:pt x="16438" y="10000"/>
                        <a:pt x="16438" y="9988"/>
                      </a:cubicBezTo>
                      <a:cubicBezTo>
                        <a:pt x="16642" y="9894"/>
                        <a:pt x="16891" y="9848"/>
                        <a:pt x="17185" y="9848"/>
                      </a:cubicBezTo>
                      <a:cubicBezTo>
                        <a:pt x="17298" y="9848"/>
                        <a:pt x="17519" y="9883"/>
                        <a:pt x="17848" y="9953"/>
                      </a:cubicBezTo>
                      <a:cubicBezTo>
                        <a:pt x="18176" y="10023"/>
                        <a:pt x="18431" y="10058"/>
                        <a:pt x="18612" y="10058"/>
                      </a:cubicBezTo>
                      <a:cubicBezTo>
                        <a:pt x="18747" y="10058"/>
                        <a:pt x="18985" y="10000"/>
                        <a:pt x="19325" y="9883"/>
                      </a:cubicBezTo>
                      <a:cubicBezTo>
                        <a:pt x="19404" y="9854"/>
                        <a:pt x="19477" y="9827"/>
                        <a:pt x="19546" y="9804"/>
                      </a:cubicBezTo>
                      <a:cubicBezTo>
                        <a:pt x="19772" y="9710"/>
                        <a:pt x="19885" y="9628"/>
                        <a:pt x="19885" y="9558"/>
                      </a:cubicBezTo>
                      <a:cubicBezTo>
                        <a:pt x="19885" y="9488"/>
                        <a:pt x="19789" y="9426"/>
                        <a:pt x="19596" y="9374"/>
                      </a:cubicBezTo>
                      <a:cubicBezTo>
                        <a:pt x="19392" y="9321"/>
                        <a:pt x="19291" y="9271"/>
                        <a:pt x="19291" y="9225"/>
                      </a:cubicBezTo>
                      <a:cubicBezTo>
                        <a:pt x="19291" y="9189"/>
                        <a:pt x="19392" y="9107"/>
                        <a:pt x="19596" y="8979"/>
                      </a:cubicBezTo>
                      <a:cubicBezTo>
                        <a:pt x="19789" y="8856"/>
                        <a:pt x="19885" y="8771"/>
                        <a:pt x="19885" y="8724"/>
                      </a:cubicBezTo>
                      <a:cubicBezTo>
                        <a:pt x="19885" y="8677"/>
                        <a:pt x="19874" y="8648"/>
                        <a:pt x="19851" y="8637"/>
                      </a:cubicBezTo>
                      <a:cubicBezTo>
                        <a:pt x="19817" y="8625"/>
                        <a:pt x="19727" y="8619"/>
                        <a:pt x="19579" y="8619"/>
                      </a:cubicBezTo>
                      <a:cubicBezTo>
                        <a:pt x="19353" y="8619"/>
                        <a:pt x="19104" y="8674"/>
                        <a:pt x="18832" y="8786"/>
                      </a:cubicBezTo>
                      <a:cubicBezTo>
                        <a:pt x="18753" y="8815"/>
                        <a:pt x="18685" y="8838"/>
                        <a:pt x="18628" y="8856"/>
                      </a:cubicBezTo>
                      <a:cubicBezTo>
                        <a:pt x="18447" y="8914"/>
                        <a:pt x="18306" y="8944"/>
                        <a:pt x="18204" y="8944"/>
                      </a:cubicBezTo>
                      <a:cubicBezTo>
                        <a:pt x="18159" y="8944"/>
                        <a:pt x="18125" y="8938"/>
                        <a:pt x="18102" y="8926"/>
                      </a:cubicBezTo>
                      <a:cubicBezTo>
                        <a:pt x="18215" y="8862"/>
                        <a:pt x="18362" y="8794"/>
                        <a:pt x="18543" y="8724"/>
                      </a:cubicBezTo>
                      <a:cubicBezTo>
                        <a:pt x="18872" y="8590"/>
                        <a:pt x="19308" y="8438"/>
                        <a:pt x="19851" y="8268"/>
                      </a:cubicBezTo>
                      <a:cubicBezTo>
                        <a:pt x="19851" y="8215"/>
                        <a:pt x="19693" y="8125"/>
                        <a:pt x="19376" y="7996"/>
                      </a:cubicBezTo>
                      <a:cubicBezTo>
                        <a:pt x="19172" y="7926"/>
                        <a:pt x="19025" y="7873"/>
                        <a:pt x="18934" y="7838"/>
                      </a:cubicBezTo>
                      <a:cubicBezTo>
                        <a:pt x="19138" y="7908"/>
                        <a:pt x="19365" y="7943"/>
                        <a:pt x="19613" y="7943"/>
                      </a:cubicBezTo>
                      <a:cubicBezTo>
                        <a:pt x="19863" y="7943"/>
                        <a:pt x="20027" y="7882"/>
                        <a:pt x="20106" y="7759"/>
                      </a:cubicBezTo>
                      <a:cubicBezTo>
                        <a:pt x="20151" y="7683"/>
                        <a:pt x="20174" y="7525"/>
                        <a:pt x="20174" y="7285"/>
                      </a:cubicBezTo>
                      <a:cubicBezTo>
                        <a:pt x="20174" y="7022"/>
                        <a:pt x="20196" y="6843"/>
                        <a:pt x="20242" y="6749"/>
                      </a:cubicBezTo>
                      <a:cubicBezTo>
                        <a:pt x="20377" y="6562"/>
                        <a:pt x="20519" y="6334"/>
                        <a:pt x="20666" y="6065"/>
                      </a:cubicBezTo>
                      <a:lnTo>
                        <a:pt x="21124" y="4950"/>
                      </a:lnTo>
                      <a:lnTo>
                        <a:pt x="21091" y="4827"/>
                      </a:lnTo>
                      <a:cubicBezTo>
                        <a:pt x="21091" y="4839"/>
                        <a:pt x="21074" y="4845"/>
                        <a:pt x="21039" y="4845"/>
                      </a:cubicBezTo>
                      <a:cubicBezTo>
                        <a:pt x="21142" y="4710"/>
                        <a:pt x="21278" y="4573"/>
                        <a:pt x="21447" y="4432"/>
                      </a:cubicBezTo>
                      <a:cubicBezTo>
                        <a:pt x="21504" y="4385"/>
                        <a:pt x="21532" y="4257"/>
                        <a:pt x="21532" y="4046"/>
                      </a:cubicBezTo>
                      <a:cubicBezTo>
                        <a:pt x="21532" y="3912"/>
                        <a:pt x="21487" y="3792"/>
                        <a:pt x="21396" y="3686"/>
                      </a:cubicBezTo>
                      <a:cubicBezTo>
                        <a:pt x="21159" y="3733"/>
                        <a:pt x="20882" y="3868"/>
                        <a:pt x="20565" y="4090"/>
                      </a:cubicBezTo>
                      <a:cubicBezTo>
                        <a:pt x="20055" y="4447"/>
                        <a:pt x="19658" y="4704"/>
                        <a:pt x="19376" y="4862"/>
                      </a:cubicBezTo>
                      <a:cubicBezTo>
                        <a:pt x="18855" y="5196"/>
                        <a:pt x="18492" y="5427"/>
                        <a:pt x="18289" y="5556"/>
                      </a:cubicBezTo>
                      <a:cubicBezTo>
                        <a:pt x="17926" y="5778"/>
                        <a:pt x="17576" y="5889"/>
                        <a:pt x="17236" y="5889"/>
                      </a:cubicBezTo>
                      <a:cubicBezTo>
                        <a:pt x="17157" y="5889"/>
                        <a:pt x="17117" y="5866"/>
                        <a:pt x="17117" y="5819"/>
                      </a:cubicBezTo>
                      <a:cubicBezTo>
                        <a:pt x="17117" y="5796"/>
                        <a:pt x="17508" y="5538"/>
                        <a:pt x="18289" y="5047"/>
                      </a:cubicBezTo>
                      <a:cubicBezTo>
                        <a:pt x="19059" y="4561"/>
                        <a:pt x="19444" y="4233"/>
                        <a:pt x="19444" y="4064"/>
                      </a:cubicBezTo>
                      <a:cubicBezTo>
                        <a:pt x="19444" y="4052"/>
                        <a:pt x="19421" y="4037"/>
                        <a:pt x="19376" y="4020"/>
                      </a:cubicBezTo>
                      <a:cubicBezTo>
                        <a:pt x="19319" y="3991"/>
                        <a:pt x="19262" y="3976"/>
                        <a:pt x="19206" y="3976"/>
                      </a:cubicBezTo>
                      <a:cubicBezTo>
                        <a:pt x="19070" y="3976"/>
                        <a:pt x="18883" y="4023"/>
                        <a:pt x="18646" y="4116"/>
                      </a:cubicBezTo>
                      <a:cubicBezTo>
                        <a:pt x="18431" y="4198"/>
                        <a:pt x="18255" y="4283"/>
                        <a:pt x="18119" y="4371"/>
                      </a:cubicBezTo>
                      <a:lnTo>
                        <a:pt x="17881" y="4371"/>
                      </a:lnTo>
                      <a:cubicBezTo>
                        <a:pt x="17859" y="4295"/>
                        <a:pt x="17740" y="4222"/>
                        <a:pt x="17525" y="4152"/>
                      </a:cubicBezTo>
                      <a:cubicBezTo>
                        <a:pt x="17276" y="4075"/>
                        <a:pt x="17128" y="4005"/>
                        <a:pt x="17083" y="3941"/>
                      </a:cubicBezTo>
                      <a:lnTo>
                        <a:pt x="17355" y="3941"/>
                      </a:lnTo>
                      <a:lnTo>
                        <a:pt x="17694" y="3976"/>
                      </a:lnTo>
                      <a:cubicBezTo>
                        <a:pt x="18487" y="3976"/>
                        <a:pt x="19160" y="3803"/>
                        <a:pt x="19715" y="3458"/>
                      </a:cubicBezTo>
                      <a:cubicBezTo>
                        <a:pt x="20066" y="3248"/>
                        <a:pt x="20661" y="2820"/>
                        <a:pt x="21499" y="2177"/>
                      </a:cubicBezTo>
                      <a:lnTo>
                        <a:pt x="21499" y="2089"/>
                      </a:lnTo>
                      <a:cubicBezTo>
                        <a:pt x="21566" y="1966"/>
                        <a:pt x="21600" y="1832"/>
                        <a:pt x="21600" y="1685"/>
                      </a:cubicBezTo>
                      <a:cubicBezTo>
                        <a:pt x="21532" y="1428"/>
                        <a:pt x="21499" y="1255"/>
                        <a:pt x="21499" y="1167"/>
                      </a:cubicBezTo>
                      <a:cubicBezTo>
                        <a:pt x="21499" y="1044"/>
                        <a:pt x="21430" y="936"/>
                        <a:pt x="21294" y="843"/>
                      </a:cubicBezTo>
                      <a:cubicBezTo>
                        <a:pt x="21136" y="726"/>
                        <a:pt x="20904" y="667"/>
                        <a:pt x="20598" y="667"/>
                      </a:cubicBezTo>
                      <a:cubicBezTo>
                        <a:pt x="20530" y="667"/>
                        <a:pt x="20372" y="696"/>
                        <a:pt x="20123" y="755"/>
                      </a:cubicBezTo>
                      <a:cubicBezTo>
                        <a:pt x="19863" y="813"/>
                        <a:pt x="19715" y="843"/>
                        <a:pt x="19681" y="843"/>
                      </a:cubicBezTo>
                      <a:cubicBezTo>
                        <a:pt x="19568" y="843"/>
                        <a:pt x="19489" y="816"/>
                        <a:pt x="19444" y="764"/>
                      </a:cubicBezTo>
                      <a:cubicBezTo>
                        <a:pt x="19387" y="688"/>
                        <a:pt x="19341" y="641"/>
                        <a:pt x="19308" y="623"/>
                      </a:cubicBezTo>
                      <a:cubicBezTo>
                        <a:pt x="18945" y="535"/>
                        <a:pt x="18747" y="483"/>
                        <a:pt x="18713" y="465"/>
                      </a:cubicBezTo>
                      <a:cubicBezTo>
                        <a:pt x="18668" y="442"/>
                        <a:pt x="18572" y="348"/>
                        <a:pt x="18425" y="184"/>
                      </a:cubicBezTo>
                      <a:cubicBezTo>
                        <a:pt x="18311" y="61"/>
                        <a:pt x="18165" y="0"/>
                        <a:pt x="17983" y="0"/>
                      </a:cubicBezTo>
                      <a:cubicBezTo>
                        <a:pt x="17926" y="0"/>
                        <a:pt x="17836" y="35"/>
                        <a:pt x="17712" y="105"/>
                      </a:cubicBezTo>
                      <a:cubicBezTo>
                        <a:pt x="17598" y="176"/>
                        <a:pt x="17536" y="211"/>
                        <a:pt x="17525" y="211"/>
                      </a:cubicBezTo>
                      <a:cubicBezTo>
                        <a:pt x="17174" y="105"/>
                        <a:pt x="16953" y="53"/>
                        <a:pt x="16863" y="53"/>
                      </a:cubicBezTo>
                      <a:cubicBezTo>
                        <a:pt x="16840" y="64"/>
                        <a:pt x="16817" y="70"/>
                        <a:pt x="16794" y="70"/>
                      </a:cubicBezTo>
                      <a:cubicBezTo>
                        <a:pt x="16806" y="111"/>
                        <a:pt x="16823" y="184"/>
                        <a:pt x="16845" y="290"/>
                      </a:cubicBezTo>
                      <a:cubicBezTo>
                        <a:pt x="16845" y="389"/>
                        <a:pt x="16794" y="471"/>
                        <a:pt x="16693" y="535"/>
                      </a:cubicBezTo>
                      <a:cubicBezTo>
                        <a:pt x="16557" y="465"/>
                        <a:pt x="16466" y="430"/>
                        <a:pt x="16421" y="430"/>
                      </a:cubicBezTo>
                      <a:cubicBezTo>
                        <a:pt x="16376" y="430"/>
                        <a:pt x="16325" y="442"/>
                        <a:pt x="16268" y="465"/>
                      </a:cubicBezTo>
                      <a:cubicBezTo>
                        <a:pt x="16200" y="489"/>
                        <a:pt x="16166" y="512"/>
                        <a:pt x="16166" y="535"/>
                      </a:cubicBezTo>
                      <a:cubicBezTo>
                        <a:pt x="16166" y="565"/>
                        <a:pt x="16189" y="620"/>
                        <a:pt x="16234" y="702"/>
                      </a:cubicBezTo>
                      <a:cubicBezTo>
                        <a:pt x="15974" y="1170"/>
                        <a:pt x="15640" y="1404"/>
                        <a:pt x="15232" y="1404"/>
                      </a:cubicBezTo>
                      <a:cubicBezTo>
                        <a:pt x="15164" y="1393"/>
                        <a:pt x="15119" y="1387"/>
                        <a:pt x="15096" y="1387"/>
                      </a:cubicBezTo>
                      <a:cubicBezTo>
                        <a:pt x="15073" y="1369"/>
                        <a:pt x="15062" y="1346"/>
                        <a:pt x="15062" y="1317"/>
                      </a:cubicBezTo>
                      <a:cubicBezTo>
                        <a:pt x="15062" y="1188"/>
                        <a:pt x="15198" y="1024"/>
                        <a:pt x="15470" y="825"/>
                      </a:cubicBezTo>
                      <a:cubicBezTo>
                        <a:pt x="15730" y="626"/>
                        <a:pt x="15860" y="486"/>
                        <a:pt x="15860" y="404"/>
                      </a:cubicBezTo>
                      <a:cubicBezTo>
                        <a:pt x="15860" y="240"/>
                        <a:pt x="15770" y="158"/>
                        <a:pt x="15589" y="158"/>
                      </a:cubicBezTo>
                      <a:cubicBezTo>
                        <a:pt x="15487" y="158"/>
                        <a:pt x="15232" y="225"/>
                        <a:pt x="14825" y="360"/>
                      </a:cubicBezTo>
                      <a:cubicBezTo>
                        <a:pt x="14429" y="489"/>
                        <a:pt x="14151" y="553"/>
                        <a:pt x="13992" y="553"/>
                      </a:cubicBezTo>
                      <a:lnTo>
                        <a:pt x="13212" y="570"/>
                      </a:lnTo>
                      <a:cubicBezTo>
                        <a:pt x="13155" y="570"/>
                        <a:pt x="13030" y="556"/>
                        <a:pt x="12838" y="527"/>
                      </a:cubicBezTo>
                      <a:cubicBezTo>
                        <a:pt x="12657" y="497"/>
                        <a:pt x="12549" y="483"/>
                        <a:pt x="12515" y="483"/>
                      </a:cubicBezTo>
                      <a:cubicBezTo>
                        <a:pt x="12311" y="483"/>
                        <a:pt x="12209" y="544"/>
                        <a:pt x="12209" y="667"/>
                      </a:cubicBezTo>
                      <a:cubicBezTo>
                        <a:pt x="12198" y="784"/>
                        <a:pt x="12113" y="843"/>
                        <a:pt x="11955" y="843"/>
                      </a:cubicBezTo>
                      <a:cubicBezTo>
                        <a:pt x="11536" y="749"/>
                        <a:pt x="11315" y="702"/>
                        <a:pt x="11293" y="702"/>
                      </a:cubicBezTo>
                      <a:cubicBezTo>
                        <a:pt x="11009" y="702"/>
                        <a:pt x="10868" y="848"/>
                        <a:pt x="10868" y="1141"/>
                      </a:cubicBezTo>
                      <a:cubicBezTo>
                        <a:pt x="10868" y="1182"/>
                        <a:pt x="10942" y="1246"/>
                        <a:pt x="11089" y="1334"/>
                      </a:cubicBezTo>
                      <a:cubicBezTo>
                        <a:pt x="11225" y="1422"/>
                        <a:pt x="11293" y="1498"/>
                        <a:pt x="11293" y="1562"/>
                      </a:cubicBezTo>
                      <a:cubicBezTo>
                        <a:pt x="11293" y="1609"/>
                        <a:pt x="11281" y="1638"/>
                        <a:pt x="11259" y="1650"/>
                      </a:cubicBezTo>
                      <a:cubicBezTo>
                        <a:pt x="11202" y="1644"/>
                        <a:pt x="10959" y="1580"/>
                        <a:pt x="10528" y="1457"/>
                      </a:cubicBezTo>
                      <a:cubicBezTo>
                        <a:pt x="10155" y="1346"/>
                        <a:pt x="9827" y="1290"/>
                        <a:pt x="9543" y="1290"/>
                      </a:cubicBezTo>
                      <a:cubicBezTo>
                        <a:pt x="9385" y="1290"/>
                        <a:pt x="9119" y="1317"/>
                        <a:pt x="8745" y="1369"/>
                      </a:cubicBezTo>
                      <a:cubicBezTo>
                        <a:pt x="8236" y="1439"/>
                        <a:pt x="7981" y="1521"/>
                        <a:pt x="7981" y="1615"/>
                      </a:cubicBezTo>
                      <a:cubicBezTo>
                        <a:pt x="7981" y="1621"/>
                        <a:pt x="8122" y="1700"/>
                        <a:pt x="8406" y="1852"/>
                      </a:cubicBezTo>
                      <a:cubicBezTo>
                        <a:pt x="8712" y="2010"/>
                        <a:pt x="8893" y="2112"/>
                        <a:pt x="8949" y="2159"/>
                      </a:cubicBezTo>
                      <a:cubicBezTo>
                        <a:pt x="8995" y="2188"/>
                        <a:pt x="9232" y="2270"/>
                        <a:pt x="9662" y="2405"/>
                      </a:cubicBezTo>
                      <a:cubicBezTo>
                        <a:pt x="10025" y="2510"/>
                        <a:pt x="10206" y="2616"/>
                        <a:pt x="10206" y="2721"/>
                      </a:cubicBezTo>
                      <a:cubicBezTo>
                        <a:pt x="10138" y="2850"/>
                        <a:pt x="10053" y="2914"/>
                        <a:pt x="9951" y="2914"/>
                      </a:cubicBezTo>
                      <a:cubicBezTo>
                        <a:pt x="9838" y="2914"/>
                        <a:pt x="9679" y="2826"/>
                        <a:pt x="9476" y="2651"/>
                      </a:cubicBezTo>
                      <a:cubicBezTo>
                        <a:pt x="9238" y="2440"/>
                        <a:pt x="9113" y="2335"/>
                        <a:pt x="9102" y="2335"/>
                      </a:cubicBezTo>
                      <a:cubicBezTo>
                        <a:pt x="8808" y="2194"/>
                        <a:pt x="8576" y="2086"/>
                        <a:pt x="8406" y="2010"/>
                      </a:cubicBezTo>
                      <a:cubicBezTo>
                        <a:pt x="8100" y="1881"/>
                        <a:pt x="7845" y="1817"/>
                        <a:pt x="7642" y="1817"/>
                      </a:cubicBezTo>
                      <a:cubicBezTo>
                        <a:pt x="7528" y="1817"/>
                        <a:pt x="7454" y="1867"/>
                        <a:pt x="7421" y="1966"/>
                      </a:cubicBezTo>
                      <a:cubicBezTo>
                        <a:pt x="7376" y="2060"/>
                        <a:pt x="7319" y="2106"/>
                        <a:pt x="7251" y="2106"/>
                      </a:cubicBezTo>
                      <a:cubicBezTo>
                        <a:pt x="7161" y="2106"/>
                        <a:pt x="6985" y="2060"/>
                        <a:pt x="6725" y="1966"/>
                      </a:cubicBezTo>
                      <a:cubicBezTo>
                        <a:pt x="6475" y="1867"/>
                        <a:pt x="6317" y="1817"/>
                        <a:pt x="6249" y="1817"/>
                      </a:cubicBezTo>
                      <a:cubicBezTo>
                        <a:pt x="6204" y="1817"/>
                        <a:pt x="6119" y="1846"/>
                        <a:pt x="5995" y="1905"/>
                      </a:cubicBezTo>
                      <a:cubicBezTo>
                        <a:pt x="5859" y="1969"/>
                        <a:pt x="5791" y="2030"/>
                        <a:pt x="5791" y="2089"/>
                      </a:cubicBezTo>
                      <a:cubicBezTo>
                        <a:pt x="5791" y="2136"/>
                        <a:pt x="5887" y="2206"/>
                        <a:pt x="6079" y="2300"/>
                      </a:cubicBezTo>
                      <a:cubicBezTo>
                        <a:pt x="6261" y="2393"/>
                        <a:pt x="6351" y="2461"/>
                        <a:pt x="6351" y="2501"/>
                      </a:cubicBezTo>
                      <a:cubicBezTo>
                        <a:pt x="6351" y="2531"/>
                        <a:pt x="6334" y="2560"/>
                        <a:pt x="6300" y="2589"/>
                      </a:cubicBezTo>
                      <a:cubicBezTo>
                        <a:pt x="6209" y="2595"/>
                        <a:pt x="6091" y="2560"/>
                        <a:pt x="5943" y="2484"/>
                      </a:cubicBezTo>
                      <a:cubicBezTo>
                        <a:pt x="5785" y="2408"/>
                        <a:pt x="5644" y="2370"/>
                        <a:pt x="5519" y="2370"/>
                      </a:cubicBezTo>
                      <a:cubicBezTo>
                        <a:pt x="5474" y="2370"/>
                        <a:pt x="5423" y="2379"/>
                        <a:pt x="5366" y="2396"/>
                      </a:cubicBezTo>
                      <a:cubicBezTo>
                        <a:pt x="5275" y="2420"/>
                        <a:pt x="5230" y="2452"/>
                        <a:pt x="5230" y="2493"/>
                      </a:cubicBezTo>
                      <a:cubicBezTo>
                        <a:pt x="5230" y="2557"/>
                        <a:pt x="5378" y="2654"/>
                        <a:pt x="5671" y="2782"/>
                      </a:cubicBezTo>
                      <a:cubicBezTo>
                        <a:pt x="5898" y="2894"/>
                        <a:pt x="6034" y="3011"/>
                        <a:pt x="6079" y="3133"/>
                      </a:cubicBezTo>
                      <a:cubicBezTo>
                        <a:pt x="6091" y="3163"/>
                        <a:pt x="6096" y="3192"/>
                        <a:pt x="6096" y="3221"/>
                      </a:cubicBezTo>
                      <a:cubicBezTo>
                        <a:pt x="6096" y="3268"/>
                        <a:pt x="6085" y="3303"/>
                        <a:pt x="6062" y="3327"/>
                      </a:cubicBezTo>
                      <a:cubicBezTo>
                        <a:pt x="5995" y="3315"/>
                        <a:pt x="5819" y="3268"/>
                        <a:pt x="5536" y="3186"/>
                      </a:cubicBezTo>
                      <a:cubicBezTo>
                        <a:pt x="5400" y="3145"/>
                        <a:pt x="5287" y="3116"/>
                        <a:pt x="5197" y="3098"/>
                      </a:cubicBezTo>
                      <a:cubicBezTo>
                        <a:pt x="5117" y="3087"/>
                        <a:pt x="5055" y="3081"/>
                        <a:pt x="5009" y="3081"/>
                      </a:cubicBezTo>
                      <a:cubicBezTo>
                        <a:pt x="4896" y="3081"/>
                        <a:pt x="4834" y="3081"/>
                        <a:pt x="4822" y="3081"/>
                      </a:cubicBezTo>
                      <a:cubicBezTo>
                        <a:pt x="4811" y="3081"/>
                        <a:pt x="4795" y="3087"/>
                        <a:pt x="4772" y="3098"/>
                      </a:cubicBezTo>
                      <a:cubicBezTo>
                        <a:pt x="4738" y="3110"/>
                        <a:pt x="4704" y="3128"/>
                        <a:pt x="4670" y="3151"/>
                      </a:cubicBezTo>
                      <a:cubicBezTo>
                        <a:pt x="4896" y="3268"/>
                        <a:pt x="5038" y="3344"/>
                        <a:pt x="5094" y="3379"/>
                      </a:cubicBezTo>
                      <a:lnTo>
                        <a:pt x="5094" y="3458"/>
                      </a:lnTo>
                      <a:cubicBezTo>
                        <a:pt x="5015" y="3458"/>
                        <a:pt x="4931" y="3470"/>
                        <a:pt x="4840" y="3493"/>
                      </a:cubicBezTo>
                      <a:cubicBezTo>
                        <a:pt x="4704" y="3528"/>
                        <a:pt x="4636" y="3572"/>
                        <a:pt x="4636" y="3625"/>
                      </a:cubicBezTo>
                      <a:cubicBezTo>
                        <a:pt x="4636" y="3830"/>
                        <a:pt x="4987" y="4029"/>
                        <a:pt x="5689" y="4222"/>
                      </a:cubicBezTo>
                      <a:cubicBezTo>
                        <a:pt x="6379" y="4409"/>
                        <a:pt x="6725" y="4535"/>
                        <a:pt x="6725" y="4599"/>
                      </a:cubicBezTo>
                      <a:cubicBezTo>
                        <a:pt x="6725" y="4663"/>
                        <a:pt x="6657" y="4696"/>
                        <a:pt x="6521" y="4696"/>
                      </a:cubicBezTo>
                      <a:cubicBezTo>
                        <a:pt x="6294" y="4696"/>
                        <a:pt x="6000" y="4628"/>
                        <a:pt x="5638" y="4494"/>
                      </a:cubicBezTo>
                      <a:cubicBezTo>
                        <a:pt x="5287" y="4353"/>
                        <a:pt x="5077" y="4283"/>
                        <a:pt x="5009" y="4283"/>
                      </a:cubicBezTo>
                      <a:cubicBezTo>
                        <a:pt x="4964" y="4283"/>
                        <a:pt x="4919" y="4295"/>
                        <a:pt x="4873" y="4318"/>
                      </a:cubicBezTo>
                      <a:cubicBezTo>
                        <a:pt x="5043" y="4429"/>
                        <a:pt x="5128" y="4505"/>
                        <a:pt x="5128" y="4546"/>
                      </a:cubicBezTo>
                      <a:cubicBezTo>
                        <a:pt x="5106" y="4587"/>
                        <a:pt x="5049" y="4608"/>
                        <a:pt x="4958" y="4608"/>
                      </a:cubicBezTo>
                      <a:cubicBezTo>
                        <a:pt x="4800" y="4608"/>
                        <a:pt x="4681" y="4503"/>
                        <a:pt x="4602" y="4292"/>
                      </a:cubicBezTo>
                      <a:cubicBezTo>
                        <a:pt x="4523" y="4081"/>
                        <a:pt x="4393" y="3976"/>
                        <a:pt x="4211" y="3976"/>
                      </a:cubicBezTo>
                      <a:cubicBezTo>
                        <a:pt x="3951" y="3976"/>
                        <a:pt x="3707" y="3947"/>
                        <a:pt x="3481" y="3888"/>
                      </a:cubicBezTo>
                      <a:cubicBezTo>
                        <a:pt x="3459" y="3882"/>
                        <a:pt x="3351" y="3833"/>
                        <a:pt x="3159" y="3739"/>
                      </a:cubicBezTo>
                      <a:cubicBezTo>
                        <a:pt x="3000" y="3669"/>
                        <a:pt x="2887" y="3634"/>
                        <a:pt x="2819" y="3634"/>
                      </a:cubicBezTo>
                      <a:cubicBezTo>
                        <a:pt x="2740" y="3634"/>
                        <a:pt x="2649" y="3657"/>
                        <a:pt x="2547" y="3704"/>
                      </a:cubicBezTo>
                      <a:cubicBezTo>
                        <a:pt x="2434" y="3751"/>
                        <a:pt x="2377" y="3803"/>
                        <a:pt x="2377" y="3862"/>
                      </a:cubicBezTo>
                      <a:cubicBezTo>
                        <a:pt x="2377" y="3926"/>
                        <a:pt x="2434" y="3997"/>
                        <a:pt x="2547" y="4073"/>
                      </a:cubicBezTo>
                      <a:cubicBezTo>
                        <a:pt x="2661" y="4149"/>
                        <a:pt x="2717" y="4207"/>
                        <a:pt x="2717" y="4248"/>
                      </a:cubicBezTo>
                      <a:cubicBezTo>
                        <a:pt x="2717" y="4283"/>
                        <a:pt x="2587" y="4310"/>
                        <a:pt x="2326" y="4327"/>
                      </a:cubicBezTo>
                      <a:cubicBezTo>
                        <a:pt x="2055" y="4345"/>
                        <a:pt x="1919" y="4415"/>
                        <a:pt x="1919" y="4538"/>
                      </a:cubicBezTo>
                      <a:cubicBezTo>
                        <a:pt x="1919" y="4678"/>
                        <a:pt x="2179" y="4766"/>
                        <a:pt x="2700" y="4801"/>
                      </a:cubicBezTo>
                      <a:cubicBezTo>
                        <a:pt x="3221" y="4836"/>
                        <a:pt x="3481" y="4889"/>
                        <a:pt x="3481" y="4959"/>
                      </a:cubicBezTo>
                      <a:cubicBezTo>
                        <a:pt x="3481" y="5029"/>
                        <a:pt x="3425" y="5099"/>
                        <a:pt x="3311" y="5170"/>
                      </a:cubicBezTo>
                      <a:cubicBezTo>
                        <a:pt x="3198" y="5240"/>
                        <a:pt x="3085" y="5275"/>
                        <a:pt x="2972" y="5275"/>
                      </a:cubicBezTo>
                      <a:cubicBezTo>
                        <a:pt x="2904" y="5275"/>
                        <a:pt x="2813" y="5228"/>
                        <a:pt x="2700" y="5134"/>
                      </a:cubicBezTo>
                      <a:cubicBezTo>
                        <a:pt x="2598" y="5035"/>
                        <a:pt x="2474" y="4985"/>
                        <a:pt x="2326" y="4985"/>
                      </a:cubicBezTo>
                      <a:cubicBezTo>
                        <a:pt x="2202" y="4985"/>
                        <a:pt x="2145" y="5041"/>
                        <a:pt x="2156" y="5152"/>
                      </a:cubicBezTo>
                      <a:cubicBezTo>
                        <a:pt x="2168" y="5252"/>
                        <a:pt x="2100" y="5293"/>
                        <a:pt x="1953" y="5275"/>
                      </a:cubicBezTo>
                      <a:cubicBezTo>
                        <a:pt x="1964" y="5129"/>
                        <a:pt x="1885" y="5009"/>
                        <a:pt x="1715" y="4915"/>
                      </a:cubicBezTo>
                      <a:cubicBezTo>
                        <a:pt x="1591" y="4841"/>
                        <a:pt x="1441" y="4800"/>
                        <a:pt x="1268" y="4788"/>
                      </a:cubicBezTo>
                      <a:lnTo>
                        <a:pt x="1421" y="6321"/>
                      </a:lnTo>
                      <a:lnTo>
                        <a:pt x="1452" y="6635"/>
                      </a:lnTo>
                      <a:cubicBezTo>
                        <a:pt x="815" y="6698"/>
                        <a:pt x="492" y="6835"/>
                        <a:pt x="492" y="7048"/>
                      </a:cubicBezTo>
                      <a:cubicBezTo>
                        <a:pt x="492" y="7077"/>
                        <a:pt x="504" y="7092"/>
                        <a:pt x="527" y="7092"/>
                      </a:cubicBezTo>
                      <a:cubicBezTo>
                        <a:pt x="990" y="7109"/>
                        <a:pt x="1223" y="7174"/>
                        <a:pt x="1223" y="7285"/>
                      </a:cubicBezTo>
                      <a:cubicBezTo>
                        <a:pt x="1223" y="7338"/>
                        <a:pt x="1019" y="7384"/>
                        <a:pt x="612" y="7425"/>
                      </a:cubicBezTo>
                      <a:cubicBezTo>
                        <a:pt x="204" y="7466"/>
                        <a:pt x="0" y="7554"/>
                        <a:pt x="0" y="7689"/>
                      </a:cubicBezTo>
                      <a:cubicBezTo>
                        <a:pt x="0" y="7771"/>
                        <a:pt x="119" y="7850"/>
                        <a:pt x="357" y="7926"/>
                      </a:cubicBezTo>
                      <a:close/>
                      <a:moveTo>
                        <a:pt x="357" y="792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4" name="AutoShape 108"/>
                <p:cNvSpPr>
                  <a:spLocks/>
                </p:cNvSpPr>
                <p:nvPr/>
              </p:nvSpPr>
              <p:spPr bwMode="auto">
                <a:xfrm>
                  <a:off x="6651695" y="400080"/>
                  <a:ext cx="27313" cy="18037"/>
                </a:xfrm>
                <a:custGeom>
                  <a:avLst/>
                  <a:gdLst/>
                  <a:ahLst/>
                  <a:cxnLst/>
                  <a:rect l="0" t="0" r="r" b="b"/>
                  <a:pathLst>
                    <a:path w="21600" h="21600">
                      <a:moveTo>
                        <a:pt x="18377" y="6383"/>
                      </a:moveTo>
                      <a:cubicBezTo>
                        <a:pt x="18377" y="5730"/>
                        <a:pt x="18056" y="4910"/>
                        <a:pt x="17407" y="3929"/>
                      </a:cubicBezTo>
                      <a:cubicBezTo>
                        <a:pt x="17086" y="3437"/>
                        <a:pt x="16765" y="2946"/>
                        <a:pt x="16444" y="2456"/>
                      </a:cubicBezTo>
                      <a:cubicBezTo>
                        <a:pt x="15260" y="820"/>
                        <a:pt x="14291" y="0"/>
                        <a:pt x="13542" y="0"/>
                      </a:cubicBezTo>
                      <a:cubicBezTo>
                        <a:pt x="12786" y="0"/>
                        <a:pt x="10369" y="1147"/>
                        <a:pt x="6289" y="3437"/>
                      </a:cubicBezTo>
                      <a:cubicBezTo>
                        <a:pt x="2096" y="5730"/>
                        <a:pt x="0" y="7201"/>
                        <a:pt x="0" y="7856"/>
                      </a:cubicBezTo>
                      <a:cubicBezTo>
                        <a:pt x="0" y="9981"/>
                        <a:pt x="862" y="11782"/>
                        <a:pt x="2581" y="13255"/>
                      </a:cubicBezTo>
                      <a:cubicBezTo>
                        <a:pt x="3551" y="14073"/>
                        <a:pt x="4999" y="14975"/>
                        <a:pt x="6931" y="15954"/>
                      </a:cubicBezTo>
                      <a:cubicBezTo>
                        <a:pt x="7794" y="16608"/>
                        <a:pt x="8921" y="17836"/>
                        <a:pt x="10318" y="19635"/>
                      </a:cubicBezTo>
                      <a:cubicBezTo>
                        <a:pt x="11175" y="20945"/>
                        <a:pt x="12358" y="21600"/>
                        <a:pt x="13863" y="21600"/>
                      </a:cubicBezTo>
                      <a:cubicBezTo>
                        <a:pt x="15903" y="21600"/>
                        <a:pt x="17678" y="20945"/>
                        <a:pt x="19183" y="19635"/>
                      </a:cubicBezTo>
                      <a:cubicBezTo>
                        <a:pt x="20794" y="18165"/>
                        <a:pt x="21600" y="16364"/>
                        <a:pt x="21600" y="14236"/>
                      </a:cubicBezTo>
                      <a:cubicBezTo>
                        <a:pt x="21600" y="12926"/>
                        <a:pt x="21065" y="11209"/>
                        <a:pt x="19988" y="9084"/>
                      </a:cubicBezTo>
                      <a:cubicBezTo>
                        <a:pt x="19453" y="7937"/>
                        <a:pt x="18912" y="7038"/>
                        <a:pt x="18377" y="6383"/>
                      </a:cubicBezTo>
                      <a:close/>
                      <a:moveTo>
                        <a:pt x="18377" y="638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5" name="AutoShape 109"/>
                <p:cNvSpPr>
                  <a:spLocks/>
                </p:cNvSpPr>
                <p:nvPr/>
              </p:nvSpPr>
              <p:spPr bwMode="auto">
                <a:xfrm>
                  <a:off x="6503278" y="791740"/>
                  <a:ext cx="827639" cy="658092"/>
                </a:xfrm>
                <a:custGeom>
                  <a:avLst/>
                  <a:gdLst/>
                  <a:ahLst/>
                  <a:cxnLst/>
                  <a:rect l="0" t="0" r="r" b="b"/>
                  <a:pathLst>
                    <a:path w="21600" h="21600">
                      <a:moveTo>
                        <a:pt x="6961" y="1582"/>
                      </a:moveTo>
                      <a:cubicBezTo>
                        <a:pt x="6832" y="1582"/>
                        <a:pt x="6698" y="1636"/>
                        <a:pt x="6558" y="1744"/>
                      </a:cubicBezTo>
                      <a:cubicBezTo>
                        <a:pt x="6386" y="1875"/>
                        <a:pt x="6300" y="2039"/>
                        <a:pt x="6300" y="2238"/>
                      </a:cubicBezTo>
                      <a:cubicBezTo>
                        <a:pt x="6300" y="2301"/>
                        <a:pt x="6334" y="2344"/>
                        <a:pt x="6402" y="2366"/>
                      </a:cubicBezTo>
                      <a:cubicBezTo>
                        <a:pt x="6466" y="2393"/>
                        <a:pt x="6499" y="2429"/>
                        <a:pt x="6499" y="2474"/>
                      </a:cubicBezTo>
                      <a:cubicBezTo>
                        <a:pt x="6499" y="2533"/>
                        <a:pt x="6490" y="2569"/>
                        <a:pt x="6472" y="2583"/>
                      </a:cubicBezTo>
                      <a:cubicBezTo>
                        <a:pt x="6457" y="2587"/>
                        <a:pt x="6416" y="2596"/>
                        <a:pt x="6348" y="2610"/>
                      </a:cubicBezTo>
                      <a:cubicBezTo>
                        <a:pt x="6305" y="2614"/>
                        <a:pt x="6264" y="2641"/>
                        <a:pt x="6224" y="2691"/>
                      </a:cubicBezTo>
                      <a:cubicBezTo>
                        <a:pt x="6185" y="2736"/>
                        <a:pt x="6162" y="2758"/>
                        <a:pt x="6154" y="2758"/>
                      </a:cubicBezTo>
                      <a:cubicBezTo>
                        <a:pt x="6144" y="2758"/>
                        <a:pt x="6120" y="2743"/>
                        <a:pt x="6084" y="2711"/>
                      </a:cubicBezTo>
                      <a:cubicBezTo>
                        <a:pt x="6049" y="2679"/>
                        <a:pt x="6011" y="2664"/>
                        <a:pt x="5972" y="2664"/>
                      </a:cubicBezTo>
                      <a:cubicBezTo>
                        <a:pt x="5925" y="2664"/>
                        <a:pt x="5891" y="2693"/>
                        <a:pt x="5869" y="2752"/>
                      </a:cubicBezTo>
                      <a:cubicBezTo>
                        <a:pt x="5851" y="2810"/>
                        <a:pt x="5832" y="2839"/>
                        <a:pt x="5810" y="2839"/>
                      </a:cubicBezTo>
                      <a:cubicBezTo>
                        <a:pt x="5764" y="2839"/>
                        <a:pt x="5739" y="2779"/>
                        <a:pt x="5735" y="2657"/>
                      </a:cubicBezTo>
                      <a:cubicBezTo>
                        <a:pt x="5731" y="2531"/>
                        <a:pt x="5703" y="2468"/>
                        <a:pt x="5649" y="2468"/>
                      </a:cubicBezTo>
                      <a:cubicBezTo>
                        <a:pt x="5620" y="2468"/>
                        <a:pt x="5602" y="2486"/>
                        <a:pt x="5595" y="2522"/>
                      </a:cubicBezTo>
                      <a:cubicBezTo>
                        <a:pt x="5595" y="2526"/>
                        <a:pt x="5595" y="2569"/>
                        <a:pt x="5595" y="2650"/>
                      </a:cubicBezTo>
                      <a:cubicBezTo>
                        <a:pt x="5595" y="2695"/>
                        <a:pt x="5577" y="2745"/>
                        <a:pt x="5541" y="2799"/>
                      </a:cubicBezTo>
                      <a:cubicBezTo>
                        <a:pt x="5502" y="2853"/>
                        <a:pt x="5482" y="2891"/>
                        <a:pt x="5482" y="2914"/>
                      </a:cubicBezTo>
                      <a:cubicBezTo>
                        <a:pt x="5482" y="2936"/>
                        <a:pt x="5491" y="2988"/>
                        <a:pt x="5509" y="3069"/>
                      </a:cubicBezTo>
                      <a:cubicBezTo>
                        <a:pt x="5477" y="3547"/>
                        <a:pt x="5392" y="3786"/>
                        <a:pt x="5256" y="3786"/>
                      </a:cubicBezTo>
                      <a:cubicBezTo>
                        <a:pt x="5242" y="3786"/>
                        <a:pt x="5226" y="3772"/>
                        <a:pt x="5208" y="3745"/>
                      </a:cubicBezTo>
                      <a:cubicBezTo>
                        <a:pt x="5186" y="3714"/>
                        <a:pt x="5175" y="3680"/>
                        <a:pt x="5175" y="3644"/>
                      </a:cubicBezTo>
                      <a:cubicBezTo>
                        <a:pt x="5175" y="3590"/>
                        <a:pt x="5199" y="3543"/>
                        <a:pt x="5245" y="3502"/>
                      </a:cubicBezTo>
                      <a:cubicBezTo>
                        <a:pt x="5288" y="3457"/>
                        <a:pt x="5310" y="3412"/>
                        <a:pt x="5310" y="3367"/>
                      </a:cubicBezTo>
                      <a:cubicBezTo>
                        <a:pt x="5310" y="3326"/>
                        <a:pt x="5286" y="3290"/>
                        <a:pt x="5240" y="3259"/>
                      </a:cubicBezTo>
                      <a:cubicBezTo>
                        <a:pt x="5190" y="3227"/>
                        <a:pt x="5165" y="3162"/>
                        <a:pt x="5165" y="3063"/>
                      </a:cubicBezTo>
                      <a:lnTo>
                        <a:pt x="5154" y="2326"/>
                      </a:lnTo>
                      <a:lnTo>
                        <a:pt x="5186" y="2116"/>
                      </a:lnTo>
                      <a:cubicBezTo>
                        <a:pt x="5186" y="1990"/>
                        <a:pt x="5139" y="1886"/>
                        <a:pt x="5046" y="1805"/>
                      </a:cubicBezTo>
                      <a:cubicBezTo>
                        <a:pt x="4949" y="1724"/>
                        <a:pt x="4901" y="1652"/>
                        <a:pt x="4901" y="1589"/>
                      </a:cubicBezTo>
                      <a:cubicBezTo>
                        <a:pt x="4901" y="1544"/>
                        <a:pt x="4913" y="1501"/>
                        <a:pt x="4939" y="1460"/>
                      </a:cubicBezTo>
                      <a:cubicBezTo>
                        <a:pt x="4964" y="1415"/>
                        <a:pt x="4976" y="1375"/>
                        <a:pt x="4976" y="1339"/>
                      </a:cubicBezTo>
                      <a:cubicBezTo>
                        <a:pt x="4976" y="1266"/>
                        <a:pt x="4892" y="1201"/>
                        <a:pt x="4724" y="1143"/>
                      </a:cubicBezTo>
                      <a:cubicBezTo>
                        <a:pt x="4655" y="1115"/>
                        <a:pt x="4601" y="1091"/>
                        <a:pt x="4562" y="1068"/>
                      </a:cubicBezTo>
                      <a:cubicBezTo>
                        <a:pt x="4501" y="1032"/>
                        <a:pt x="4470" y="998"/>
                        <a:pt x="4470" y="967"/>
                      </a:cubicBezTo>
                      <a:cubicBezTo>
                        <a:pt x="4470" y="949"/>
                        <a:pt x="4481" y="913"/>
                        <a:pt x="4503" y="859"/>
                      </a:cubicBezTo>
                      <a:cubicBezTo>
                        <a:pt x="4524" y="800"/>
                        <a:pt x="4535" y="757"/>
                        <a:pt x="4535" y="730"/>
                      </a:cubicBezTo>
                      <a:cubicBezTo>
                        <a:pt x="4535" y="690"/>
                        <a:pt x="4510" y="617"/>
                        <a:pt x="4460" y="514"/>
                      </a:cubicBezTo>
                      <a:lnTo>
                        <a:pt x="4379" y="345"/>
                      </a:lnTo>
                      <a:cubicBezTo>
                        <a:pt x="4332" y="115"/>
                        <a:pt x="4271" y="0"/>
                        <a:pt x="4196" y="0"/>
                      </a:cubicBezTo>
                      <a:lnTo>
                        <a:pt x="3610" y="176"/>
                      </a:lnTo>
                      <a:cubicBezTo>
                        <a:pt x="3563" y="194"/>
                        <a:pt x="3474" y="266"/>
                        <a:pt x="3341" y="392"/>
                      </a:cubicBezTo>
                      <a:cubicBezTo>
                        <a:pt x="3187" y="536"/>
                        <a:pt x="3110" y="642"/>
                        <a:pt x="3110" y="710"/>
                      </a:cubicBezTo>
                      <a:cubicBezTo>
                        <a:pt x="3110" y="746"/>
                        <a:pt x="3147" y="827"/>
                        <a:pt x="3222" y="953"/>
                      </a:cubicBezTo>
                      <a:lnTo>
                        <a:pt x="3222" y="1028"/>
                      </a:lnTo>
                      <a:lnTo>
                        <a:pt x="3152" y="1028"/>
                      </a:lnTo>
                      <a:cubicBezTo>
                        <a:pt x="3145" y="1023"/>
                        <a:pt x="3118" y="980"/>
                        <a:pt x="3072" y="899"/>
                      </a:cubicBezTo>
                      <a:cubicBezTo>
                        <a:pt x="3040" y="845"/>
                        <a:pt x="3002" y="818"/>
                        <a:pt x="2959" y="818"/>
                      </a:cubicBezTo>
                      <a:cubicBezTo>
                        <a:pt x="2937" y="818"/>
                        <a:pt x="2910" y="836"/>
                        <a:pt x="2878" y="872"/>
                      </a:cubicBezTo>
                      <a:cubicBezTo>
                        <a:pt x="2842" y="913"/>
                        <a:pt x="2824" y="951"/>
                        <a:pt x="2824" y="987"/>
                      </a:cubicBezTo>
                      <a:cubicBezTo>
                        <a:pt x="2824" y="1046"/>
                        <a:pt x="2842" y="1161"/>
                        <a:pt x="2878" y="1332"/>
                      </a:cubicBezTo>
                      <a:cubicBezTo>
                        <a:pt x="2742" y="1210"/>
                        <a:pt x="2668" y="1149"/>
                        <a:pt x="2658" y="1149"/>
                      </a:cubicBezTo>
                      <a:cubicBezTo>
                        <a:pt x="2629" y="1149"/>
                        <a:pt x="2597" y="1172"/>
                        <a:pt x="2561" y="1217"/>
                      </a:cubicBezTo>
                      <a:cubicBezTo>
                        <a:pt x="2529" y="1258"/>
                        <a:pt x="2512" y="1294"/>
                        <a:pt x="2512" y="1325"/>
                      </a:cubicBezTo>
                      <a:cubicBezTo>
                        <a:pt x="2512" y="1388"/>
                        <a:pt x="2611" y="1476"/>
                        <a:pt x="2808" y="1589"/>
                      </a:cubicBezTo>
                      <a:cubicBezTo>
                        <a:pt x="3034" y="1719"/>
                        <a:pt x="3154" y="1792"/>
                        <a:pt x="3169" y="1805"/>
                      </a:cubicBezTo>
                      <a:cubicBezTo>
                        <a:pt x="3122" y="1841"/>
                        <a:pt x="3063" y="1859"/>
                        <a:pt x="2991" y="1859"/>
                      </a:cubicBezTo>
                      <a:cubicBezTo>
                        <a:pt x="2923" y="1859"/>
                        <a:pt x="2844" y="1834"/>
                        <a:pt x="2754" y="1785"/>
                      </a:cubicBezTo>
                      <a:cubicBezTo>
                        <a:pt x="2665" y="1731"/>
                        <a:pt x="2595" y="1704"/>
                        <a:pt x="2545" y="1704"/>
                      </a:cubicBezTo>
                      <a:cubicBezTo>
                        <a:pt x="2516" y="1704"/>
                        <a:pt x="2493" y="1713"/>
                        <a:pt x="2475" y="1731"/>
                      </a:cubicBezTo>
                      <a:cubicBezTo>
                        <a:pt x="2457" y="1749"/>
                        <a:pt x="2444" y="1758"/>
                        <a:pt x="2437" y="1758"/>
                      </a:cubicBezTo>
                      <a:cubicBezTo>
                        <a:pt x="2502" y="1834"/>
                        <a:pt x="2620" y="1943"/>
                        <a:pt x="2792" y="2082"/>
                      </a:cubicBezTo>
                      <a:cubicBezTo>
                        <a:pt x="2817" y="2105"/>
                        <a:pt x="2842" y="2125"/>
                        <a:pt x="2867" y="2143"/>
                      </a:cubicBezTo>
                      <a:cubicBezTo>
                        <a:pt x="3018" y="2260"/>
                        <a:pt x="3113" y="2341"/>
                        <a:pt x="3152" y="2386"/>
                      </a:cubicBezTo>
                      <a:lnTo>
                        <a:pt x="3152" y="2468"/>
                      </a:lnTo>
                      <a:lnTo>
                        <a:pt x="3088" y="2468"/>
                      </a:lnTo>
                      <a:cubicBezTo>
                        <a:pt x="3077" y="2463"/>
                        <a:pt x="2971" y="2384"/>
                        <a:pt x="2771" y="2231"/>
                      </a:cubicBezTo>
                      <a:cubicBezTo>
                        <a:pt x="2763" y="2226"/>
                        <a:pt x="2758" y="2222"/>
                        <a:pt x="2754" y="2217"/>
                      </a:cubicBezTo>
                      <a:cubicBezTo>
                        <a:pt x="2614" y="2118"/>
                        <a:pt x="2503" y="2069"/>
                        <a:pt x="2421" y="2069"/>
                      </a:cubicBezTo>
                      <a:cubicBezTo>
                        <a:pt x="2392" y="2069"/>
                        <a:pt x="2362" y="2082"/>
                        <a:pt x="2329" y="2109"/>
                      </a:cubicBezTo>
                      <a:cubicBezTo>
                        <a:pt x="2283" y="2141"/>
                        <a:pt x="2260" y="2184"/>
                        <a:pt x="2260" y="2238"/>
                      </a:cubicBezTo>
                      <a:cubicBezTo>
                        <a:pt x="2260" y="2269"/>
                        <a:pt x="2276" y="2366"/>
                        <a:pt x="2308" y="2528"/>
                      </a:cubicBezTo>
                      <a:cubicBezTo>
                        <a:pt x="2311" y="2533"/>
                        <a:pt x="2313" y="2540"/>
                        <a:pt x="2313" y="2549"/>
                      </a:cubicBezTo>
                      <a:cubicBezTo>
                        <a:pt x="2349" y="2747"/>
                        <a:pt x="2383" y="2891"/>
                        <a:pt x="2415" y="2981"/>
                      </a:cubicBezTo>
                      <a:cubicBezTo>
                        <a:pt x="2430" y="3027"/>
                        <a:pt x="2468" y="3083"/>
                        <a:pt x="2529" y="3150"/>
                      </a:cubicBezTo>
                      <a:cubicBezTo>
                        <a:pt x="2586" y="3213"/>
                        <a:pt x="2625" y="3250"/>
                        <a:pt x="2647" y="3259"/>
                      </a:cubicBezTo>
                      <a:cubicBezTo>
                        <a:pt x="2665" y="3268"/>
                        <a:pt x="2715" y="3263"/>
                        <a:pt x="2797" y="3245"/>
                      </a:cubicBezTo>
                      <a:cubicBezTo>
                        <a:pt x="2873" y="3236"/>
                        <a:pt x="2910" y="3265"/>
                        <a:pt x="2910" y="3333"/>
                      </a:cubicBezTo>
                      <a:cubicBezTo>
                        <a:pt x="2910" y="3473"/>
                        <a:pt x="2853" y="3570"/>
                        <a:pt x="2738" y="3624"/>
                      </a:cubicBezTo>
                      <a:cubicBezTo>
                        <a:pt x="2620" y="3678"/>
                        <a:pt x="2561" y="3739"/>
                        <a:pt x="2561" y="3806"/>
                      </a:cubicBezTo>
                      <a:lnTo>
                        <a:pt x="2582" y="3955"/>
                      </a:lnTo>
                      <a:cubicBezTo>
                        <a:pt x="2582" y="4004"/>
                        <a:pt x="2548" y="4061"/>
                        <a:pt x="2480" y="4124"/>
                      </a:cubicBezTo>
                      <a:cubicBezTo>
                        <a:pt x="2408" y="4183"/>
                        <a:pt x="2372" y="4243"/>
                        <a:pt x="2372" y="4306"/>
                      </a:cubicBezTo>
                      <a:cubicBezTo>
                        <a:pt x="2372" y="4374"/>
                        <a:pt x="2390" y="4426"/>
                        <a:pt x="2426" y="4462"/>
                      </a:cubicBezTo>
                      <a:cubicBezTo>
                        <a:pt x="2448" y="4485"/>
                        <a:pt x="2493" y="4518"/>
                        <a:pt x="2561" y="4563"/>
                      </a:cubicBezTo>
                      <a:cubicBezTo>
                        <a:pt x="2625" y="4608"/>
                        <a:pt x="2688" y="4687"/>
                        <a:pt x="2749" y="4800"/>
                      </a:cubicBezTo>
                      <a:cubicBezTo>
                        <a:pt x="2835" y="4908"/>
                        <a:pt x="2919" y="4962"/>
                        <a:pt x="3002" y="4962"/>
                      </a:cubicBezTo>
                      <a:cubicBezTo>
                        <a:pt x="3063" y="4958"/>
                        <a:pt x="3113" y="4969"/>
                        <a:pt x="3152" y="4996"/>
                      </a:cubicBezTo>
                      <a:cubicBezTo>
                        <a:pt x="3199" y="5019"/>
                        <a:pt x="3222" y="5055"/>
                        <a:pt x="3222" y="5104"/>
                      </a:cubicBezTo>
                      <a:cubicBezTo>
                        <a:pt x="3222" y="5118"/>
                        <a:pt x="3215" y="5158"/>
                        <a:pt x="3201" y="5226"/>
                      </a:cubicBezTo>
                      <a:cubicBezTo>
                        <a:pt x="3201" y="5456"/>
                        <a:pt x="3219" y="5636"/>
                        <a:pt x="3255" y="5767"/>
                      </a:cubicBezTo>
                      <a:cubicBezTo>
                        <a:pt x="3291" y="5897"/>
                        <a:pt x="3309" y="6046"/>
                        <a:pt x="3309" y="6213"/>
                      </a:cubicBezTo>
                      <a:cubicBezTo>
                        <a:pt x="3309" y="6366"/>
                        <a:pt x="3273" y="6441"/>
                        <a:pt x="3201" y="6436"/>
                      </a:cubicBezTo>
                      <a:cubicBezTo>
                        <a:pt x="3154" y="6166"/>
                        <a:pt x="3101" y="6030"/>
                        <a:pt x="3040" y="6030"/>
                      </a:cubicBezTo>
                      <a:cubicBezTo>
                        <a:pt x="2957" y="6030"/>
                        <a:pt x="2832" y="6109"/>
                        <a:pt x="2663" y="6267"/>
                      </a:cubicBezTo>
                      <a:cubicBezTo>
                        <a:pt x="2491" y="6425"/>
                        <a:pt x="2380" y="6504"/>
                        <a:pt x="2329" y="6504"/>
                      </a:cubicBezTo>
                      <a:cubicBezTo>
                        <a:pt x="2283" y="6504"/>
                        <a:pt x="2260" y="6486"/>
                        <a:pt x="2260" y="6450"/>
                      </a:cubicBezTo>
                      <a:cubicBezTo>
                        <a:pt x="2260" y="6287"/>
                        <a:pt x="2399" y="6123"/>
                        <a:pt x="2679" y="5956"/>
                      </a:cubicBezTo>
                      <a:cubicBezTo>
                        <a:pt x="2959" y="5789"/>
                        <a:pt x="3099" y="5683"/>
                        <a:pt x="3099" y="5638"/>
                      </a:cubicBezTo>
                      <a:cubicBezTo>
                        <a:pt x="3099" y="5602"/>
                        <a:pt x="3091" y="5562"/>
                        <a:pt x="3077" y="5517"/>
                      </a:cubicBezTo>
                      <a:cubicBezTo>
                        <a:pt x="3056" y="5458"/>
                        <a:pt x="3031" y="5431"/>
                        <a:pt x="3002" y="5435"/>
                      </a:cubicBezTo>
                      <a:lnTo>
                        <a:pt x="2867" y="5435"/>
                      </a:lnTo>
                      <a:cubicBezTo>
                        <a:pt x="2652" y="5219"/>
                        <a:pt x="2491" y="5041"/>
                        <a:pt x="2383" y="4901"/>
                      </a:cubicBezTo>
                      <a:cubicBezTo>
                        <a:pt x="2190" y="4649"/>
                        <a:pt x="2071" y="4363"/>
                        <a:pt x="2028" y="4043"/>
                      </a:cubicBezTo>
                      <a:cubicBezTo>
                        <a:pt x="2017" y="3953"/>
                        <a:pt x="2012" y="3822"/>
                        <a:pt x="2012" y="3651"/>
                      </a:cubicBezTo>
                      <a:cubicBezTo>
                        <a:pt x="2016" y="3484"/>
                        <a:pt x="2010" y="3365"/>
                        <a:pt x="1996" y="3292"/>
                      </a:cubicBezTo>
                      <a:cubicBezTo>
                        <a:pt x="1992" y="3270"/>
                        <a:pt x="1946" y="3155"/>
                        <a:pt x="1856" y="2948"/>
                      </a:cubicBezTo>
                      <a:cubicBezTo>
                        <a:pt x="1845" y="2921"/>
                        <a:pt x="1836" y="2898"/>
                        <a:pt x="1829" y="2880"/>
                      </a:cubicBezTo>
                      <a:cubicBezTo>
                        <a:pt x="1765" y="2722"/>
                        <a:pt x="1732" y="2605"/>
                        <a:pt x="1732" y="2528"/>
                      </a:cubicBezTo>
                      <a:cubicBezTo>
                        <a:pt x="1732" y="2447"/>
                        <a:pt x="1756" y="2357"/>
                        <a:pt x="1802" y="2258"/>
                      </a:cubicBezTo>
                      <a:cubicBezTo>
                        <a:pt x="1827" y="2199"/>
                        <a:pt x="1867" y="2114"/>
                        <a:pt x="1921" y="2001"/>
                      </a:cubicBezTo>
                      <a:cubicBezTo>
                        <a:pt x="1953" y="1907"/>
                        <a:pt x="1989" y="1726"/>
                        <a:pt x="2028" y="1460"/>
                      </a:cubicBezTo>
                      <a:cubicBezTo>
                        <a:pt x="2050" y="1289"/>
                        <a:pt x="2138" y="1075"/>
                        <a:pt x="2292" y="818"/>
                      </a:cubicBezTo>
                      <a:cubicBezTo>
                        <a:pt x="2435" y="579"/>
                        <a:pt x="2507" y="410"/>
                        <a:pt x="2507" y="311"/>
                      </a:cubicBezTo>
                      <a:cubicBezTo>
                        <a:pt x="2507" y="207"/>
                        <a:pt x="2441" y="156"/>
                        <a:pt x="2308" y="156"/>
                      </a:cubicBezTo>
                      <a:cubicBezTo>
                        <a:pt x="2258" y="156"/>
                        <a:pt x="2134" y="187"/>
                        <a:pt x="1937" y="250"/>
                      </a:cubicBezTo>
                      <a:cubicBezTo>
                        <a:pt x="1743" y="313"/>
                        <a:pt x="1637" y="347"/>
                        <a:pt x="1619" y="352"/>
                      </a:cubicBezTo>
                      <a:cubicBezTo>
                        <a:pt x="1530" y="365"/>
                        <a:pt x="1422" y="410"/>
                        <a:pt x="1296" y="487"/>
                      </a:cubicBezTo>
                      <a:cubicBezTo>
                        <a:pt x="1164" y="563"/>
                        <a:pt x="1067" y="642"/>
                        <a:pt x="1006" y="723"/>
                      </a:cubicBezTo>
                      <a:cubicBezTo>
                        <a:pt x="891" y="863"/>
                        <a:pt x="802" y="976"/>
                        <a:pt x="737" y="1061"/>
                      </a:cubicBezTo>
                      <a:cubicBezTo>
                        <a:pt x="619" y="1219"/>
                        <a:pt x="552" y="1348"/>
                        <a:pt x="538" y="1447"/>
                      </a:cubicBezTo>
                      <a:cubicBezTo>
                        <a:pt x="524" y="1528"/>
                        <a:pt x="481" y="1641"/>
                        <a:pt x="409" y="1785"/>
                      </a:cubicBezTo>
                      <a:cubicBezTo>
                        <a:pt x="341" y="1916"/>
                        <a:pt x="307" y="2010"/>
                        <a:pt x="307" y="2069"/>
                      </a:cubicBezTo>
                      <a:cubicBezTo>
                        <a:pt x="307" y="2096"/>
                        <a:pt x="319" y="2134"/>
                        <a:pt x="344" y="2184"/>
                      </a:cubicBezTo>
                      <a:cubicBezTo>
                        <a:pt x="366" y="2233"/>
                        <a:pt x="377" y="2269"/>
                        <a:pt x="377" y="2292"/>
                      </a:cubicBezTo>
                      <a:cubicBezTo>
                        <a:pt x="377" y="2323"/>
                        <a:pt x="362" y="2353"/>
                        <a:pt x="334" y="2380"/>
                      </a:cubicBezTo>
                      <a:cubicBezTo>
                        <a:pt x="301" y="2402"/>
                        <a:pt x="285" y="2441"/>
                        <a:pt x="285" y="2495"/>
                      </a:cubicBezTo>
                      <a:cubicBezTo>
                        <a:pt x="285" y="2531"/>
                        <a:pt x="314" y="2659"/>
                        <a:pt x="371" y="2880"/>
                      </a:cubicBezTo>
                      <a:lnTo>
                        <a:pt x="242" y="2907"/>
                      </a:lnTo>
                      <a:cubicBezTo>
                        <a:pt x="199" y="2916"/>
                        <a:pt x="169" y="2959"/>
                        <a:pt x="151" y="3036"/>
                      </a:cubicBezTo>
                      <a:cubicBezTo>
                        <a:pt x="93" y="3229"/>
                        <a:pt x="65" y="3362"/>
                        <a:pt x="65" y="3434"/>
                      </a:cubicBezTo>
                      <a:cubicBezTo>
                        <a:pt x="65" y="3457"/>
                        <a:pt x="72" y="3486"/>
                        <a:pt x="86" y="3522"/>
                      </a:cubicBezTo>
                      <a:cubicBezTo>
                        <a:pt x="100" y="3558"/>
                        <a:pt x="108" y="3592"/>
                        <a:pt x="108" y="3624"/>
                      </a:cubicBezTo>
                      <a:cubicBezTo>
                        <a:pt x="108" y="3646"/>
                        <a:pt x="100" y="3689"/>
                        <a:pt x="86" y="3752"/>
                      </a:cubicBezTo>
                      <a:cubicBezTo>
                        <a:pt x="72" y="3815"/>
                        <a:pt x="65" y="3860"/>
                        <a:pt x="65" y="3887"/>
                      </a:cubicBezTo>
                      <a:cubicBezTo>
                        <a:pt x="65" y="3959"/>
                        <a:pt x="100" y="4043"/>
                        <a:pt x="172" y="4137"/>
                      </a:cubicBezTo>
                      <a:cubicBezTo>
                        <a:pt x="240" y="4232"/>
                        <a:pt x="274" y="4282"/>
                        <a:pt x="274" y="4286"/>
                      </a:cubicBezTo>
                      <a:cubicBezTo>
                        <a:pt x="274" y="4340"/>
                        <a:pt x="229" y="4408"/>
                        <a:pt x="140" y="4489"/>
                      </a:cubicBezTo>
                      <a:cubicBezTo>
                        <a:pt x="103" y="4519"/>
                        <a:pt x="75" y="4548"/>
                        <a:pt x="53" y="4575"/>
                      </a:cubicBezTo>
                      <a:cubicBezTo>
                        <a:pt x="19" y="4617"/>
                        <a:pt x="0" y="4656"/>
                        <a:pt x="0" y="4692"/>
                      </a:cubicBezTo>
                      <a:cubicBezTo>
                        <a:pt x="0" y="4722"/>
                        <a:pt x="22" y="4783"/>
                        <a:pt x="65" y="4876"/>
                      </a:cubicBezTo>
                      <a:lnTo>
                        <a:pt x="85" y="5362"/>
                      </a:lnTo>
                      <a:cubicBezTo>
                        <a:pt x="43" y="5410"/>
                        <a:pt x="21" y="5471"/>
                        <a:pt x="21" y="5544"/>
                      </a:cubicBezTo>
                      <a:cubicBezTo>
                        <a:pt x="21" y="5640"/>
                        <a:pt x="49" y="5722"/>
                        <a:pt x="103" y="5789"/>
                      </a:cubicBezTo>
                      <a:cubicBezTo>
                        <a:pt x="152" y="5850"/>
                        <a:pt x="223" y="5899"/>
                        <a:pt x="317" y="5936"/>
                      </a:cubicBezTo>
                      <a:cubicBezTo>
                        <a:pt x="447" y="5985"/>
                        <a:pt x="606" y="6010"/>
                        <a:pt x="796" y="6010"/>
                      </a:cubicBezTo>
                      <a:cubicBezTo>
                        <a:pt x="1112" y="6010"/>
                        <a:pt x="1316" y="6046"/>
                        <a:pt x="1409" y="6118"/>
                      </a:cubicBezTo>
                      <a:cubicBezTo>
                        <a:pt x="1485" y="6177"/>
                        <a:pt x="1625" y="6344"/>
                        <a:pt x="1829" y="6619"/>
                      </a:cubicBezTo>
                      <a:cubicBezTo>
                        <a:pt x="1793" y="6641"/>
                        <a:pt x="1729" y="6668"/>
                        <a:pt x="1635" y="6700"/>
                      </a:cubicBezTo>
                      <a:cubicBezTo>
                        <a:pt x="1524" y="6731"/>
                        <a:pt x="1435" y="6747"/>
                        <a:pt x="1366" y="6747"/>
                      </a:cubicBezTo>
                      <a:cubicBezTo>
                        <a:pt x="1305" y="6747"/>
                        <a:pt x="1237" y="6711"/>
                        <a:pt x="1162" y="6639"/>
                      </a:cubicBezTo>
                      <a:cubicBezTo>
                        <a:pt x="1087" y="6562"/>
                        <a:pt x="995" y="6524"/>
                        <a:pt x="888" y="6524"/>
                      </a:cubicBezTo>
                      <a:cubicBezTo>
                        <a:pt x="812" y="6524"/>
                        <a:pt x="739" y="6537"/>
                        <a:pt x="667" y="6565"/>
                      </a:cubicBezTo>
                      <a:cubicBezTo>
                        <a:pt x="602" y="6587"/>
                        <a:pt x="570" y="6605"/>
                        <a:pt x="570" y="6619"/>
                      </a:cubicBezTo>
                      <a:cubicBezTo>
                        <a:pt x="628" y="6713"/>
                        <a:pt x="656" y="6765"/>
                        <a:pt x="656" y="6774"/>
                      </a:cubicBezTo>
                      <a:lnTo>
                        <a:pt x="646" y="6963"/>
                      </a:lnTo>
                      <a:cubicBezTo>
                        <a:pt x="646" y="7058"/>
                        <a:pt x="710" y="7193"/>
                        <a:pt x="839" y="7369"/>
                      </a:cubicBezTo>
                      <a:cubicBezTo>
                        <a:pt x="911" y="7459"/>
                        <a:pt x="1008" y="7579"/>
                        <a:pt x="1130" y="7727"/>
                      </a:cubicBezTo>
                      <a:lnTo>
                        <a:pt x="1135" y="7734"/>
                      </a:lnTo>
                      <a:cubicBezTo>
                        <a:pt x="1368" y="8045"/>
                        <a:pt x="1571" y="8200"/>
                        <a:pt x="1743" y="8200"/>
                      </a:cubicBezTo>
                      <a:cubicBezTo>
                        <a:pt x="2080" y="8200"/>
                        <a:pt x="2294" y="8041"/>
                        <a:pt x="2383" y="7720"/>
                      </a:cubicBezTo>
                      <a:cubicBezTo>
                        <a:pt x="2398" y="7757"/>
                        <a:pt x="2444" y="7919"/>
                        <a:pt x="2523" y="8207"/>
                      </a:cubicBezTo>
                      <a:cubicBezTo>
                        <a:pt x="2649" y="8482"/>
                        <a:pt x="2842" y="8620"/>
                        <a:pt x="3104" y="8620"/>
                      </a:cubicBezTo>
                      <a:cubicBezTo>
                        <a:pt x="3144" y="8620"/>
                        <a:pt x="3190" y="8597"/>
                        <a:pt x="3244" y="8552"/>
                      </a:cubicBezTo>
                      <a:cubicBezTo>
                        <a:pt x="3298" y="8502"/>
                        <a:pt x="3346" y="8478"/>
                        <a:pt x="3389" y="8478"/>
                      </a:cubicBezTo>
                      <a:cubicBezTo>
                        <a:pt x="3443" y="8478"/>
                        <a:pt x="3588" y="8507"/>
                        <a:pt x="3825" y="8566"/>
                      </a:cubicBezTo>
                      <a:cubicBezTo>
                        <a:pt x="4065" y="8620"/>
                        <a:pt x="4216" y="8647"/>
                        <a:pt x="4277" y="8647"/>
                      </a:cubicBezTo>
                      <a:cubicBezTo>
                        <a:pt x="4331" y="8647"/>
                        <a:pt x="4377" y="8597"/>
                        <a:pt x="4417" y="8498"/>
                      </a:cubicBezTo>
                      <a:cubicBezTo>
                        <a:pt x="4460" y="8394"/>
                        <a:pt x="4523" y="8343"/>
                        <a:pt x="4605" y="8343"/>
                      </a:cubicBezTo>
                      <a:cubicBezTo>
                        <a:pt x="4684" y="8343"/>
                        <a:pt x="4783" y="8388"/>
                        <a:pt x="4901" y="8478"/>
                      </a:cubicBezTo>
                      <a:cubicBezTo>
                        <a:pt x="5019" y="8563"/>
                        <a:pt x="5102" y="8606"/>
                        <a:pt x="5148" y="8606"/>
                      </a:cubicBezTo>
                      <a:cubicBezTo>
                        <a:pt x="5170" y="8606"/>
                        <a:pt x="5240" y="8577"/>
                        <a:pt x="5358" y="8518"/>
                      </a:cubicBezTo>
                      <a:cubicBezTo>
                        <a:pt x="5480" y="8455"/>
                        <a:pt x="5550" y="8424"/>
                        <a:pt x="5568" y="8424"/>
                      </a:cubicBezTo>
                      <a:cubicBezTo>
                        <a:pt x="5622" y="8424"/>
                        <a:pt x="5685" y="8460"/>
                        <a:pt x="5756" y="8532"/>
                      </a:cubicBezTo>
                      <a:cubicBezTo>
                        <a:pt x="5832" y="8599"/>
                        <a:pt x="5898" y="8633"/>
                        <a:pt x="5955" y="8633"/>
                      </a:cubicBezTo>
                      <a:cubicBezTo>
                        <a:pt x="6023" y="8633"/>
                        <a:pt x="6058" y="8595"/>
                        <a:pt x="6058" y="8518"/>
                      </a:cubicBezTo>
                      <a:cubicBezTo>
                        <a:pt x="6058" y="8415"/>
                        <a:pt x="5972" y="8309"/>
                        <a:pt x="5799" y="8200"/>
                      </a:cubicBezTo>
                      <a:cubicBezTo>
                        <a:pt x="5624" y="8088"/>
                        <a:pt x="5536" y="8002"/>
                        <a:pt x="5536" y="7944"/>
                      </a:cubicBezTo>
                      <a:cubicBezTo>
                        <a:pt x="5536" y="7917"/>
                        <a:pt x="5548" y="7901"/>
                        <a:pt x="5573" y="7896"/>
                      </a:cubicBezTo>
                      <a:cubicBezTo>
                        <a:pt x="5588" y="7892"/>
                        <a:pt x="5618" y="7892"/>
                        <a:pt x="5665" y="7896"/>
                      </a:cubicBezTo>
                      <a:cubicBezTo>
                        <a:pt x="5722" y="7896"/>
                        <a:pt x="5808" y="7919"/>
                        <a:pt x="5923" y="7964"/>
                      </a:cubicBezTo>
                      <a:cubicBezTo>
                        <a:pt x="6034" y="8004"/>
                        <a:pt x="6101" y="8025"/>
                        <a:pt x="6122" y="8025"/>
                      </a:cubicBezTo>
                      <a:cubicBezTo>
                        <a:pt x="6137" y="8025"/>
                        <a:pt x="6181" y="8013"/>
                        <a:pt x="6257" y="7991"/>
                      </a:cubicBezTo>
                      <a:cubicBezTo>
                        <a:pt x="6328" y="7964"/>
                        <a:pt x="6373" y="7950"/>
                        <a:pt x="6391" y="7950"/>
                      </a:cubicBezTo>
                      <a:cubicBezTo>
                        <a:pt x="6459" y="7950"/>
                        <a:pt x="6533" y="7977"/>
                        <a:pt x="6612" y="8031"/>
                      </a:cubicBezTo>
                      <a:cubicBezTo>
                        <a:pt x="6658" y="8059"/>
                        <a:pt x="6728" y="8110"/>
                        <a:pt x="6822" y="8187"/>
                      </a:cubicBezTo>
                      <a:cubicBezTo>
                        <a:pt x="6829" y="8318"/>
                        <a:pt x="6764" y="8397"/>
                        <a:pt x="6628" y="8424"/>
                      </a:cubicBezTo>
                      <a:cubicBezTo>
                        <a:pt x="6492" y="8455"/>
                        <a:pt x="6423" y="8521"/>
                        <a:pt x="6423" y="8620"/>
                      </a:cubicBezTo>
                      <a:cubicBezTo>
                        <a:pt x="6423" y="8683"/>
                        <a:pt x="6466" y="8766"/>
                        <a:pt x="6553" y="8870"/>
                      </a:cubicBezTo>
                      <a:cubicBezTo>
                        <a:pt x="6631" y="8969"/>
                        <a:pt x="6687" y="9019"/>
                        <a:pt x="6719" y="9019"/>
                      </a:cubicBezTo>
                      <a:cubicBezTo>
                        <a:pt x="6752" y="9019"/>
                        <a:pt x="6788" y="8983"/>
                        <a:pt x="6827" y="8910"/>
                      </a:cubicBezTo>
                      <a:cubicBezTo>
                        <a:pt x="6849" y="8874"/>
                        <a:pt x="6872" y="8829"/>
                        <a:pt x="6897" y="8775"/>
                      </a:cubicBezTo>
                      <a:cubicBezTo>
                        <a:pt x="6915" y="8748"/>
                        <a:pt x="6963" y="8701"/>
                        <a:pt x="7042" y="8633"/>
                      </a:cubicBezTo>
                      <a:cubicBezTo>
                        <a:pt x="7107" y="8579"/>
                        <a:pt x="7139" y="8532"/>
                        <a:pt x="7139" y="8491"/>
                      </a:cubicBezTo>
                      <a:cubicBezTo>
                        <a:pt x="7139" y="8455"/>
                        <a:pt x="7118" y="8399"/>
                        <a:pt x="7074" y="8322"/>
                      </a:cubicBezTo>
                      <a:cubicBezTo>
                        <a:pt x="7028" y="8250"/>
                        <a:pt x="7004" y="8207"/>
                        <a:pt x="7004" y="8194"/>
                      </a:cubicBezTo>
                      <a:cubicBezTo>
                        <a:pt x="7004" y="8180"/>
                        <a:pt x="7060" y="8140"/>
                        <a:pt x="7171" y="8072"/>
                      </a:cubicBezTo>
                      <a:cubicBezTo>
                        <a:pt x="7282" y="8000"/>
                        <a:pt x="7338" y="7926"/>
                        <a:pt x="7338" y="7849"/>
                      </a:cubicBezTo>
                      <a:cubicBezTo>
                        <a:pt x="7338" y="7804"/>
                        <a:pt x="7318" y="7752"/>
                        <a:pt x="7279" y="7694"/>
                      </a:cubicBezTo>
                      <a:cubicBezTo>
                        <a:pt x="7225" y="7612"/>
                        <a:pt x="7196" y="7570"/>
                        <a:pt x="7193" y="7565"/>
                      </a:cubicBezTo>
                      <a:cubicBezTo>
                        <a:pt x="7132" y="7421"/>
                        <a:pt x="7089" y="7329"/>
                        <a:pt x="7064" y="7288"/>
                      </a:cubicBezTo>
                      <a:cubicBezTo>
                        <a:pt x="7006" y="7202"/>
                        <a:pt x="6920" y="7141"/>
                        <a:pt x="6805" y="7105"/>
                      </a:cubicBezTo>
                      <a:cubicBezTo>
                        <a:pt x="6726" y="7083"/>
                        <a:pt x="6687" y="7017"/>
                        <a:pt x="6687" y="6909"/>
                      </a:cubicBezTo>
                      <a:cubicBezTo>
                        <a:pt x="6687" y="6864"/>
                        <a:pt x="6712" y="6824"/>
                        <a:pt x="6762" y="6788"/>
                      </a:cubicBezTo>
                      <a:cubicBezTo>
                        <a:pt x="6809" y="6752"/>
                        <a:pt x="6863" y="6734"/>
                        <a:pt x="6924" y="6734"/>
                      </a:cubicBezTo>
                      <a:cubicBezTo>
                        <a:pt x="7035" y="6734"/>
                        <a:pt x="7148" y="6806"/>
                        <a:pt x="7263" y="6950"/>
                      </a:cubicBezTo>
                      <a:cubicBezTo>
                        <a:pt x="7381" y="7090"/>
                        <a:pt x="7465" y="7159"/>
                        <a:pt x="7516" y="7159"/>
                      </a:cubicBezTo>
                      <a:cubicBezTo>
                        <a:pt x="7537" y="7159"/>
                        <a:pt x="7555" y="7141"/>
                        <a:pt x="7569" y="7105"/>
                      </a:cubicBezTo>
                      <a:cubicBezTo>
                        <a:pt x="7580" y="7069"/>
                        <a:pt x="7602" y="7051"/>
                        <a:pt x="7634" y="7051"/>
                      </a:cubicBezTo>
                      <a:cubicBezTo>
                        <a:pt x="7652" y="7051"/>
                        <a:pt x="7675" y="7067"/>
                        <a:pt x="7704" y="7099"/>
                      </a:cubicBezTo>
                      <a:cubicBezTo>
                        <a:pt x="7733" y="7130"/>
                        <a:pt x="7754" y="7146"/>
                        <a:pt x="7768" y="7146"/>
                      </a:cubicBezTo>
                      <a:cubicBezTo>
                        <a:pt x="7786" y="7146"/>
                        <a:pt x="7806" y="7137"/>
                        <a:pt x="7828" y="7119"/>
                      </a:cubicBezTo>
                      <a:cubicBezTo>
                        <a:pt x="7849" y="7101"/>
                        <a:pt x="7867" y="7092"/>
                        <a:pt x="7881" y="7092"/>
                      </a:cubicBezTo>
                      <a:cubicBezTo>
                        <a:pt x="7946" y="7092"/>
                        <a:pt x="8000" y="7220"/>
                        <a:pt x="8043" y="7477"/>
                      </a:cubicBezTo>
                      <a:cubicBezTo>
                        <a:pt x="8082" y="7730"/>
                        <a:pt x="8136" y="7856"/>
                        <a:pt x="8204" y="7856"/>
                      </a:cubicBezTo>
                      <a:cubicBezTo>
                        <a:pt x="8233" y="7856"/>
                        <a:pt x="8267" y="7840"/>
                        <a:pt x="8306" y="7809"/>
                      </a:cubicBezTo>
                      <a:cubicBezTo>
                        <a:pt x="8346" y="7777"/>
                        <a:pt x="8373" y="7761"/>
                        <a:pt x="8387" y="7761"/>
                      </a:cubicBezTo>
                      <a:cubicBezTo>
                        <a:pt x="8430" y="7761"/>
                        <a:pt x="8475" y="7775"/>
                        <a:pt x="8522" y="7802"/>
                      </a:cubicBezTo>
                      <a:cubicBezTo>
                        <a:pt x="8572" y="7829"/>
                        <a:pt x="8597" y="7860"/>
                        <a:pt x="8597" y="7896"/>
                      </a:cubicBezTo>
                      <a:cubicBezTo>
                        <a:pt x="8597" y="7982"/>
                        <a:pt x="8563" y="8047"/>
                        <a:pt x="8495" y="8092"/>
                      </a:cubicBezTo>
                      <a:cubicBezTo>
                        <a:pt x="8527" y="8192"/>
                        <a:pt x="8633" y="8259"/>
                        <a:pt x="8812" y="8295"/>
                      </a:cubicBezTo>
                      <a:cubicBezTo>
                        <a:pt x="9024" y="8336"/>
                        <a:pt x="9165" y="8392"/>
                        <a:pt x="9237" y="8464"/>
                      </a:cubicBezTo>
                      <a:cubicBezTo>
                        <a:pt x="9287" y="8514"/>
                        <a:pt x="9354" y="8599"/>
                        <a:pt x="9436" y="8721"/>
                      </a:cubicBezTo>
                      <a:cubicBezTo>
                        <a:pt x="9547" y="8879"/>
                        <a:pt x="9603" y="8992"/>
                        <a:pt x="9603" y="9059"/>
                      </a:cubicBezTo>
                      <a:cubicBezTo>
                        <a:pt x="9603" y="9158"/>
                        <a:pt x="9565" y="9219"/>
                        <a:pt x="9490" y="9242"/>
                      </a:cubicBezTo>
                      <a:cubicBezTo>
                        <a:pt x="9483" y="9242"/>
                        <a:pt x="9420" y="9242"/>
                        <a:pt x="9302" y="9242"/>
                      </a:cubicBezTo>
                      <a:cubicBezTo>
                        <a:pt x="9223" y="9251"/>
                        <a:pt x="9160" y="9255"/>
                        <a:pt x="9113" y="9255"/>
                      </a:cubicBezTo>
                      <a:lnTo>
                        <a:pt x="9113" y="9424"/>
                      </a:lnTo>
                      <a:cubicBezTo>
                        <a:pt x="9128" y="9469"/>
                        <a:pt x="9165" y="9614"/>
                        <a:pt x="9226" y="9857"/>
                      </a:cubicBezTo>
                      <a:cubicBezTo>
                        <a:pt x="9291" y="10073"/>
                        <a:pt x="9354" y="10181"/>
                        <a:pt x="9415" y="10181"/>
                      </a:cubicBezTo>
                      <a:cubicBezTo>
                        <a:pt x="9501" y="10181"/>
                        <a:pt x="9658" y="9963"/>
                        <a:pt x="9888" y="9526"/>
                      </a:cubicBezTo>
                      <a:cubicBezTo>
                        <a:pt x="10118" y="9079"/>
                        <a:pt x="10311" y="8856"/>
                        <a:pt x="10469" y="8856"/>
                      </a:cubicBezTo>
                      <a:cubicBezTo>
                        <a:pt x="10487" y="8856"/>
                        <a:pt x="10507" y="8870"/>
                        <a:pt x="10528" y="8897"/>
                      </a:cubicBezTo>
                      <a:cubicBezTo>
                        <a:pt x="10550" y="8924"/>
                        <a:pt x="10561" y="8946"/>
                        <a:pt x="10561" y="8965"/>
                      </a:cubicBezTo>
                      <a:cubicBezTo>
                        <a:pt x="10561" y="8983"/>
                        <a:pt x="10519" y="9034"/>
                        <a:pt x="10437" y="9120"/>
                      </a:cubicBezTo>
                      <a:cubicBezTo>
                        <a:pt x="10351" y="9210"/>
                        <a:pt x="10308" y="9309"/>
                        <a:pt x="10308" y="9417"/>
                      </a:cubicBezTo>
                      <a:cubicBezTo>
                        <a:pt x="10308" y="9553"/>
                        <a:pt x="10379" y="9663"/>
                        <a:pt x="10523" y="9749"/>
                      </a:cubicBezTo>
                      <a:cubicBezTo>
                        <a:pt x="10666" y="9839"/>
                        <a:pt x="10738" y="9888"/>
                        <a:pt x="10738" y="9897"/>
                      </a:cubicBezTo>
                      <a:lnTo>
                        <a:pt x="10813" y="9965"/>
                      </a:lnTo>
                      <a:lnTo>
                        <a:pt x="10835" y="9965"/>
                      </a:lnTo>
                      <a:cubicBezTo>
                        <a:pt x="10853" y="9884"/>
                        <a:pt x="10862" y="9832"/>
                        <a:pt x="10862" y="9810"/>
                      </a:cubicBezTo>
                      <a:cubicBezTo>
                        <a:pt x="10815" y="9715"/>
                        <a:pt x="10777" y="9661"/>
                        <a:pt x="10749" y="9647"/>
                      </a:cubicBezTo>
                      <a:cubicBezTo>
                        <a:pt x="10760" y="9589"/>
                        <a:pt x="10769" y="9553"/>
                        <a:pt x="10776" y="9539"/>
                      </a:cubicBezTo>
                      <a:cubicBezTo>
                        <a:pt x="10783" y="9517"/>
                        <a:pt x="10808" y="9505"/>
                        <a:pt x="10851" y="9505"/>
                      </a:cubicBezTo>
                      <a:cubicBezTo>
                        <a:pt x="10955" y="9505"/>
                        <a:pt x="11043" y="9656"/>
                        <a:pt x="11115" y="9958"/>
                      </a:cubicBezTo>
                      <a:cubicBezTo>
                        <a:pt x="11190" y="10256"/>
                        <a:pt x="11289" y="10405"/>
                        <a:pt x="11410" y="10405"/>
                      </a:cubicBezTo>
                      <a:cubicBezTo>
                        <a:pt x="11507" y="10405"/>
                        <a:pt x="11559" y="10362"/>
                        <a:pt x="11567" y="10276"/>
                      </a:cubicBezTo>
                      <a:lnTo>
                        <a:pt x="11631" y="10276"/>
                      </a:lnTo>
                      <a:cubicBezTo>
                        <a:pt x="11721" y="10308"/>
                        <a:pt x="11778" y="10339"/>
                        <a:pt x="11803" y="10371"/>
                      </a:cubicBezTo>
                      <a:cubicBezTo>
                        <a:pt x="11857" y="10452"/>
                        <a:pt x="11938" y="10569"/>
                        <a:pt x="12045" y="10722"/>
                      </a:cubicBezTo>
                      <a:cubicBezTo>
                        <a:pt x="12189" y="10943"/>
                        <a:pt x="12302" y="11159"/>
                        <a:pt x="12384" y="11371"/>
                      </a:cubicBezTo>
                      <a:cubicBezTo>
                        <a:pt x="12402" y="11421"/>
                        <a:pt x="12476" y="11590"/>
                        <a:pt x="12605" y="11878"/>
                      </a:cubicBezTo>
                      <a:cubicBezTo>
                        <a:pt x="12723" y="12167"/>
                        <a:pt x="12782" y="12370"/>
                        <a:pt x="12782" y="12487"/>
                      </a:cubicBezTo>
                      <a:cubicBezTo>
                        <a:pt x="12782" y="12536"/>
                        <a:pt x="12752" y="12635"/>
                        <a:pt x="12691" y="12784"/>
                      </a:cubicBezTo>
                      <a:cubicBezTo>
                        <a:pt x="12626" y="12937"/>
                        <a:pt x="12594" y="13037"/>
                        <a:pt x="12594" y="13082"/>
                      </a:cubicBezTo>
                      <a:cubicBezTo>
                        <a:pt x="12594" y="13140"/>
                        <a:pt x="12614" y="13217"/>
                        <a:pt x="12653" y="13312"/>
                      </a:cubicBezTo>
                      <a:cubicBezTo>
                        <a:pt x="12693" y="13411"/>
                        <a:pt x="12713" y="13474"/>
                        <a:pt x="12713" y="13501"/>
                      </a:cubicBezTo>
                      <a:cubicBezTo>
                        <a:pt x="12713" y="13568"/>
                        <a:pt x="12687" y="13647"/>
                        <a:pt x="12637" y="13737"/>
                      </a:cubicBezTo>
                      <a:cubicBezTo>
                        <a:pt x="12576" y="13841"/>
                        <a:pt x="12542" y="13904"/>
                        <a:pt x="12535" y="13927"/>
                      </a:cubicBezTo>
                      <a:cubicBezTo>
                        <a:pt x="12449" y="14206"/>
                        <a:pt x="12388" y="14389"/>
                        <a:pt x="12352" y="14474"/>
                      </a:cubicBezTo>
                      <a:lnTo>
                        <a:pt x="12352" y="14481"/>
                      </a:lnTo>
                      <a:cubicBezTo>
                        <a:pt x="12348" y="14486"/>
                        <a:pt x="12347" y="14490"/>
                        <a:pt x="12347" y="14495"/>
                      </a:cubicBezTo>
                      <a:cubicBezTo>
                        <a:pt x="12336" y="14508"/>
                        <a:pt x="12329" y="14517"/>
                        <a:pt x="12325" y="14522"/>
                      </a:cubicBezTo>
                      <a:cubicBezTo>
                        <a:pt x="12246" y="14661"/>
                        <a:pt x="12173" y="14817"/>
                        <a:pt x="12105" y="14988"/>
                      </a:cubicBezTo>
                      <a:cubicBezTo>
                        <a:pt x="12033" y="15169"/>
                        <a:pt x="11997" y="15297"/>
                        <a:pt x="11997" y="15373"/>
                      </a:cubicBezTo>
                      <a:cubicBezTo>
                        <a:pt x="11997" y="15441"/>
                        <a:pt x="12178" y="15556"/>
                        <a:pt x="12540" y="15718"/>
                      </a:cubicBezTo>
                      <a:cubicBezTo>
                        <a:pt x="12899" y="15881"/>
                        <a:pt x="13078" y="16074"/>
                        <a:pt x="13078" y="16300"/>
                      </a:cubicBezTo>
                      <a:cubicBezTo>
                        <a:pt x="13078" y="16363"/>
                        <a:pt x="13010" y="16408"/>
                        <a:pt x="12874" y="16435"/>
                      </a:cubicBezTo>
                      <a:lnTo>
                        <a:pt x="12616" y="16489"/>
                      </a:lnTo>
                      <a:cubicBezTo>
                        <a:pt x="12483" y="16566"/>
                        <a:pt x="12400" y="16654"/>
                        <a:pt x="12368" y="16753"/>
                      </a:cubicBezTo>
                      <a:cubicBezTo>
                        <a:pt x="12347" y="16820"/>
                        <a:pt x="12296" y="16854"/>
                        <a:pt x="12217" y="16854"/>
                      </a:cubicBezTo>
                      <a:cubicBezTo>
                        <a:pt x="12067" y="16854"/>
                        <a:pt x="11991" y="16915"/>
                        <a:pt x="11991" y="17037"/>
                      </a:cubicBezTo>
                      <a:cubicBezTo>
                        <a:pt x="11995" y="17154"/>
                        <a:pt x="11957" y="17212"/>
                        <a:pt x="11879" y="17212"/>
                      </a:cubicBezTo>
                      <a:cubicBezTo>
                        <a:pt x="11857" y="17212"/>
                        <a:pt x="11827" y="17203"/>
                        <a:pt x="11787" y="17185"/>
                      </a:cubicBezTo>
                      <a:cubicBezTo>
                        <a:pt x="11744" y="17167"/>
                        <a:pt x="11708" y="17158"/>
                        <a:pt x="11679" y="17158"/>
                      </a:cubicBezTo>
                      <a:cubicBezTo>
                        <a:pt x="11651" y="17158"/>
                        <a:pt x="11611" y="17185"/>
                        <a:pt x="11561" y="17239"/>
                      </a:cubicBezTo>
                      <a:cubicBezTo>
                        <a:pt x="11514" y="17289"/>
                        <a:pt x="11463" y="17314"/>
                        <a:pt x="11405" y="17314"/>
                      </a:cubicBezTo>
                      <a:cubicBezTo>
                        <a:pt x="11384" y="17314"/>
                        <a:pt x="11355" y="17307"/>
                        <a:pt x="11319" y="17293"/>
                      </a:cubicBezTo>
                      <a:cubicBezTo>
                        <a:pt x="11283" y="17275"/>
                        <a:pt x="11253" y="17266"/>
                        <a:pt x="11228" y="17266"/>
                      </a:cubicBezTo>
                      <a:cubicBezTo>
                        <a:pt x="11213" y="17266"/>
                        <a:pt x="11174" y="17282"/>
                        <a:pt x="11109" y="17314"/>
                      </a:cubicBezTo>
                      <a:cubicBezTo>
                        <a:pt x="11045" y="17341"/>
                        <a:pt x="11003" y="17354"/>
                        <a:pt x="10986" y="17354"/>
                      </a:cubicBezTo>
                      <a:cubicBezTo>
                        <a:pt x="10957" y="17354"/>
                        <a:pt x="10908" y="17336"/>
                        <a:pt x="10840" y="17300"/>
                      </a:cubicBezTo>
                      <a:cubicBezTo>
                        <a:pt x="10772" y="17260"/>
                        <a:pt x="10722" y="17239"/>
                        <a:pt x="10690" y="17239"/>
                      </a:cubicBezTo>
                      <a:cubicBezTo>
                        <a:pt x="10639" y="17239"/>
                        <a:pt x="10578" y="17264"/>
                        <a:pt x="10507" y="17314"/>
                      </a:cubicBezTo>
                      <a:cubicBezTo>
                        <a:pt x="10417" y="17372"/>
                        <a:pt x="10372" y="17447"/>
                        <a:pt x="10372" y="17537"/>
                      </a:cubicBezTo>
                      <a:cubicBezTo>
                        <a:pt x="10372" y="17573"/>
                        <a:pt x="10390" y="17636"/>
                        <a:pt x="10426" y="17726"/>
                      </a:cubicBezTo>
                      <a:cubicBezTo>
                        <a:pt x="10458" y="17816"/>
                        <a:pt x="10474" y="17877"/>
                        <a:pt x="10474" y="17909"/>
                      </a:cubicBezTo>
                      <a:lnTo>
                        <a:pt x="10265" y="18085"/>
                      </a:lnTo>
                      <a:cubicBezTo>
                        <a:pt x="10125" y="18202"/>
                        <a:pt x="10055" y="18373"/>
                        <a:pt x="10055" y="18598"/>
                      </a:cubicBezTo>
                      <a:cubicBezTo>
                        <a:pt x="10055" y="18806"/>
                        <a:pt x="10064" y="18968"/>
                        <a:pt x="10082" y="19085"/>
                      </a:cubicBezTo>
                      <a:cubicBezTo>
                        <a:pt x="10114" y="19283"/>
                        <a:pt x="10175" y="19423"/>
                        <a:pt x="10265" y="19504"/>
                      </a:cubicBezTo>
                      <a:cubicBezTo>
                        <a:pt x="10333" y="19563"/>
                        <a:pt x="10546" y="19669"/>
                        <a:pt x="10905" y="19822"/>
                      </a:cubicBezTo>
                      <a:cubicBezTo>
                        <a:pt x="10941" y="19822"/>
                        <a:pt x="11048" y="19808"/>
                        <a:pt x="11228" y="19781"/>
                      </a:cubicBezTo>
                      <a:cubicBezTo>
                        <a:pt x="11425" y="19754"/>
                        <a:pt x="11545" y="19732"/>
                        <a:pt x="11588" y="19714"/>
                      </a:cubicBezTo>
                      <a:cubicBezTo>
                        <a:pt x="11610" y="19705"/>
                        <a:pt x="11629" y="19662"/>
                        <a:pt x="11647" y="19585"/>
                      </a:cubicBezTo>
                      <a:cubicBezTo>
                        <a:pt x="11665" y="19509"/>
                        <a:pt x="11697" y="19464"/>
                        <a:pt x="11744" y="19450"/>
                      </a:cubicBezTo>
                      <a:cubicBezTo>
                        <a:pt x="11809" y="19428"/>
                        <a:pt x="11855" y="19398"/>
                        <a:pt x="11884" y="19362"/>
                      </a:cubicBezTo>
                      <a:cubicBezTo>
                        <a:pt x="11909" y="19326"/>
                        <a:pt x="11922" y="19268"/>
                        <a:pt x="11922" y="19186"/>
                      </a:cubicBezTo>
                      <a:cubicBezTo>
                        <a:pt x="11922" y="19168"/>
                        <a:pt x="11913" y="19137"/>
                        <a:pt x="11895" y="19092"/>
                      </a:cubicBezTo>
                      <a:cubicBezTo>
                        <a:pt x="11873" y="19047"/>
                        <a:pt x="11862" y="18999"/>
                        <a:pt x="11862" y="18950"/>
                      </a:cubicBezTo>
                      <a:cubicBezTo>
                        <a:pt x="11862" y="18909"/>
                        <a:pt x="11886" y="18866"/>
                        <a:pt x="11932" y="18821"/>
                      </a:cubicBezTo>
                      <a:cubicBezTo>
                        <a:pt x="11979" y="18776"/>
                        <a:pt x="12027" y="18754"/>
                        <a:pt x="12078" y="18754"/>
                      </a:cubicBezTo>
                      <a:cubicBezTo>
                        <a:pt x="12142" y="18754"/>
                        <a:pt x="12207" y="18810"/>
                        <a:pt x="12271" y="18923"/>
                      </a:cubicBezTo>
                      <a:cubicBezTo>
                        <a:pt x="12336" y="19031"/>
                        <a:pt x="12429" y="19085"/>
                        <a:pt x="12551" y="19085"/>
                      </a:cubicBezTo>
                      <a:cubicBezTo>
                        <a:pt x="12644" y="19085"/>
                        <a:pt x="12721" y="19063"/>
                        <a:pt x="12782" y="19017"/>
                      </a:cubicBezTo>
                      <a:cubicBezTo>
                        <a:pt x="12847" y="18968"/>
                        <a:pt x="12879" y="18898"/>
                        <a:pt x="12879" y="18808"/>
                      </a:cubicBezTo>
                      <a:cubicBezTo>
                        <a:pt x="12879" y="18704"/>
                        <a:pt x="12834" y="18594"/>
                        <a:pt x="12745" y="18477"/>
                      </a:cubicBezTo>
                      <a:cubicBezTo>
                        <a:pt x="12652" y="18359"/>
                        <a:pt x="12553" y="18290"/>
                        <a:pt x="12449" y="18267"/>
                      </a:cubicBezTo>
                      <a:cubicBezTo>
                        <a:pt x="12445" y="18226"/>
                        <a:pt x="12476" y="18161"/>
                        <a:pt x="12540" y="18071"/>
                      </a:cubicBezTo>
                      <a:cubicBezTo>
                        <a:pt x="12605" y="17981"/>
                        <a:pt x="12653" y="17936"/>
                        <a:pt x="12686" y="17936"/>
                      </a:cubicBezTo>
                      <a:cubicBezTo>
                        <a:pt x="12739" y="17936"/>
                        <a:pt x="12790" y="17997"/>
                        <a:pt x="12836" y="18118"/>
                      </a:cubicBezTo>
                      <a:cubicBezTo>
                        <a:pt x="12886" y="18235"/>
                        <a:pt x="12942" y="18294"/>
                        <a:pt x="13003" y="18294"/>
                      </a:cubicBezTo>
                      <a:cubicBezTo>
                        <a:pt x="13017" y="18294"/>
                        <a:pt x="13046" y="18278"/>
                        <a:pt x="13089" y="18247"/>
                      </a:cubicBezTo>
                      <a:cubicBezTo>
                        <a:pt x="13132" y="18215"/>
                        <a:pt x="13164" y="18199"/>
                        <a:pt x="13186" y="18199"/>
                      </a:cubicBezTo>
                      <a:cubicBezTo>
                        <a:pt x="13215" y="18199"/>
                        <a:pt x="13254" y="18229"/>
                        <a:pt x="13304" y="18287"/>
                      </a:cubicBezTo>
                      <a:cubicBezTo>
                        <a:pt x="13355" y="18341"/>
                        <a:pt x="13396" y="18368"/>
                        <a:pt x="13428" y="18368"/>
                      </a:cubicBezTo>
                      <a:cubicBezTo>
                        <a:pt x="13439" y="18368"/>
                        <a:pt x="13459" y="18337"/>
                        <a:pt x="13487" y="18274"/>
                      </a:cubicBezTo>
                      <a:cubicBezTo>
                        <a:pt x="13516" y="18206"/>
                        <a:pt x="13544" y="18172"/>
                        <a:pt x="13573" y="18172"/>
                      </a:cubicBezTo>
                      <a:cubicBezTo>
                        <a:pt x="13634" y="18172"/>
                        <a:pt x="13688" y="18242"/>
                        <a:pt x="13735" y="18382"/>
                      </a:cubicBezTo>
                      <a:cubicBezTo>
                        <a:pt x="13738" y="18396"/>
                        <a:pt x="13743" y="18409"/>
                        <a:pt x="13751" y="18423"/>
                      </a:cubicBezTo>
                      <a:cubicBezTo>
                        <a:pt x="13808" y="18607"/>
                        <a:pt x="13866" y="18718"/>
                        <a:pt x="13923" y="18754"/>
                      </a:cubicBezTo>
                      <a:cubicBezTo>
                        <a:pt x="13959" y="18776"/>
                        <a:pt x="14012" y="18803"/>
                        <a:pt x="14084" y="18835"/>
                      </a:cubicBezTo>
                      <a:cubicBezTo>
                        <a:pt x="14138" y="18894"/>
                        <a:pt x="14186" y="19024"/>
                        <a:pt x="14230" y="19227"/>
                      </a:cubicBezTo>
                      <a:cubicBezTo>
                        <a:pt x="14247" y="19281"/>
                        <a:pt x="14289" y="19317"/>
                        <a:pt x="14353" y="19335"/>
                      </a:cubicBezTo>
                      <a:cubicBezTo>
                        <a:pt x="14389" y="19349"/>
                        <a:pt x="14432" y="19362"/>
                        <a:pt x="14482" y="19376"/>
                      </a:cubicBezTo>
                      <a:cubicBezTo>
                        <a:pt x="14497" y="19385"/>
                        <a:pt x="14531" y="19421"/>
                        <a:pt x="14585" y="19484"/>
                      </a:cubicBezTo>
                      <a:cubicBezTo>
                        <a:pt x="14624" y="19533"/>
                        <a:pt x="14662" y="19558"/>
                        <a:pt x="14698" y="19558"/>
                      </a:cubicBezTo>
                      <a:cubicBezTo>
                        <a:pt x="14719" y="19558"/>
                        <a:pt x="14748" y="19547"/>
                        <a:pt x="14784" y="19524"/>
                      </a:cubicBezTo>
                      <a:cubicBezTo>
                        <a:pt x="14816" y="19502"/>
                        <a:pt x="14850" y="19491"/>
                        <a:pt x="14886" y="19491"/>
                      </a:cubicBezTo>
                      <a:cubicBezTo>
                        <a:pt x="14904" y="19491"/>
                        <a:pt x="14938" y="19540"/>
                        <a:pt x="14988" y="19639"/>
                      </a:cubicBezTo>
                      <a:cubicBezTo>
                        <a:pt x="15038" y="19734"/>
                        <a:pt x="15092" y="19781"/>
                        <a:pt x="15149" y="19781"/>
                      </a:cubicBezTo>
                      <a:cubicBezTo>
                        <a:pt x="15200" y="19781"/>
                        <a:pt x="15223" y="19743"/>
                        <a:pt x="15219" y="19666"/>
                      </a:cubicBezTo>
                      <a:cubicBezTo>
                        <a:pt x="15216" y="19509"/>
                        <a:pt x="15216" y="19423"/>
                        <a:pt x="15219" y="19410"/>
                      </a:cubicBezTo>
                      <a:lnTo>
                        <a:pt x="15241" y="19410"/>
                      </a:lnTo>
                      <a:cubicBezTo>
                        <a:pt x="15266" y="19432"/>
                        <a:pt x="15359" y="19500"/>
                        <a:pt x="15521" y="19612"/>
                      </a:cubicBezTo>
                      <a:lnTo>
                        <a:pt x="15682" y="19619"/>
                      </a:lnTo>
                      <a:cubicBezTo>
                        <a:pt x="15764" y="19624"/>
                        <a:pt x="15806" y="19655"/>
                        <a:pt x="15806" y="19714"/>
                      </a:cubicBezTo>
                      <a:cubicBezTo>
                        <a:pt x="15806" y="19822"/>
                        <a:pt x="15730" y="19910"/>
                        <a:pt x="15580" y="19977"/>
                      </a:cubicBezTo>
                      <a:cubicBezTo>
                        <a:pt x="15429" y="20041"/>
                        <a:pt x="15354" y="20074"/>
                        <a:pt x="15354" y="20079"/>
                      </a:cubicBezTo>
                      <a:cubicBezTo>
                        <a:pt x="15354" y="20146"/>
                        <a:pt x="15397" y="20212"/>
                        <a:pt x="15483" y="20275"/>
                      </a:cubicBezTo>
                      <a:cubicBezTo>
                        <a:pt x="15580" y="20351"/>
                        <a:pt x="15643" y="20437"/>
                        <a:pt x="15671" y="20532"/>
                      </a:cubicBezTo>
                      <a:cubicBezTo>
                        <a:pt x="15707" y="20653"/>
                        <a:pt x="15781" y="20739"/>
                        <a:pt x="15892" y="20789"/>
                      </a:cubicBezTo>
                      <a:cubicBezTo>
                        <a:pt x="15953" y="20820"/>
                        <a:pt x="16039" y="20850"/>
                        <a:pt x="16150" y="20877"/>
                      </a:cubicBezTo>
                      <a:cubicBezTo>
                        <a:pt x="16222" y="20899"/>
                        <a:pt x="16383" y="20917"/>
                        <a:pt x="16634" y="20931"/>
                      </a:cubicBezTo>
                      <a:cubicBezTo>
                        <a:pt x="16677" y="20935"/>
                        <a:pt x="16751" y="20962"/>
                        <a:pt x="16855" y="21012"/>
                      </a:cubicBezTo>
                      <a:cubicBezTo>
                        <a:pt x="16952" y="21061"/>
                        <a:pt x="17031" y="21086"/>
                        <a:pt x="17092" y="21086"/>
                      </a:cubicBezTo>
                      <a:cubicBezTo>
                        <a:pt x="17163" y="21086"/>
                        <a:pt x="17205" y="21057"/>
                        <a:pt x="17215" y="20998"/>
                      </a:cubicBezTo>
                      <a:cubicBezTo>
                        <a:pt x="17230" y="20877"/>
                        <a:pt x="17253" y="20786"/>
                        <a:pt x="17285" y="20728"/>
                      </a:cubicBezTo>
                      <a:cubicBezTo>
                        <a:pt x="17303" y="20755"/>
                        <a:pt x="17319" y="20816"/>
                        <a:pt x="17334" y="20910"/>
                      </a:cubicBezTo>
                      <a:cubicBezTo>
                        <a:pt x="17344" y="20973"/>
                        <a:pt x="17377" y="21005"/>
                        <a:pt x="17431" y="21005"/>
                      </a:cubicBezTo>
                      <a:cubicBezTo>
                        <a:pt x="17438" y="21005"/>
                        <a:pt x="17488" y="20960"/>
                        <a:pt x="17581" y="20870"/>
                      </a:cubicBezTo>
                      <a:cubicBezTo>
                        <a:pt x="17674" y="20775"/>
                        <a:pt x="17726" y="20728"/>
                        <a:pt x="17737" y="20728"/>
                      </a:cubicBezTo>
                      <a:cubicBezTo>
                        <a:pt x="17755" y="20728"/>
                        <a:pt x="17773" y="20784"/>
                        <a:pt x="17791" y="20897"/>
                      </a:cubicBezTo>
                      <a:cubicBezTo>
                        <a:pt x="17830" y="21019"/>
                        <a:pt x="17904" y="21095"/>
                        <a:pt x="18012" y="21127"/>
                      </a:cubicBezTo>
                      <a:cubicBezTo>
                        <a:pt x="18058" y="21136"/>
                        <a:pt x="18108" y="21190"/>
                        <a:pt x="18162" y="21289"/>
                      </a:cubicBezTo>
                      <a:cubicBezTo>
                        <a:pt x="18220" y="21388"/>
                        <a:pt x="18281" y="21449"/>
                        <a:pt x="18345" y="21472"/>
                      </a:cubicBezTo>
                      <a:lnTo>
                        <a:pt x="18501" y="21472"/>
                      </a:lnTo>
                      <a:cubicBezTo>
                        <a:pt x="18494" y="21444"/>
                        <a:pt x="18496" y="21404"/>
                        <a:pt x="18507" y="21350"/>
                      </a:cubicBezTo>
                      <a:cubicBezTo>
                        <a:pt x="18521" y="21296"/>
                        <a:pt x="18537" y="21269"/>
                        <a:pt x="18555" y="21269"/>
                      </a:cubicBezTo>
                      <a:cubicBezTo>
                        <a:pt x="18587" y="21269"/>
                        <a:pt x="18618" y="21316"/>
                        <a:pt x="18646" y="21411"/>
                      </a:cubicBezTo>
                      <a:cubicBezTo>
                        <a:pt x="18675" y="21501"/>
                        <a:pt x="18747" y="21546"/>
                        <a:pt x="18861" y="21546"/>
                      </a:cubicBezTo>
                      <a:cubicBezTo>
                        <a:pt x="18908" y="21546"/>
                        <a:pt x="18960" y="21521"/>
                        <a:pt x="19018" y="21472"/>
                      </a:cubicBezTo>
                      <a:cubicBezTo>
                        <a:pt x="19028" y="21472"/>
                        <a:pt x="19086" y="21492"/>
                        <a:pt x="19190" y="21532"/>
                      </a:cubicBezTo>
                      <a:cubicBezTo>
                        <a:pt x="19218" y="21532"/>
                        <a:pt x="19263" y="21503"/>
                        <a:pt x="19324" y="21444"/>
                      </a:cubicBezTo>
                      <a:cubicBezTo>
                        <a:pt x="19385" y="21381"/>
                        <a:pt x="19432" y="21350"/>
                        <a:pt x="19464" y="21350"/>
                      </a:cubicBezTo>
                      <a:cubicBezTo>
                        <a:pt x="19522" y="21350"/>
                        <a:pt x="19586" y="21393"/>
                        <a:pt x="19658" y="21478"/>
                      </a:cubicBezTo>
                      <a:cubicBezTo>
                        <a:pt x="19733" y="21559"/>
                        <a:pt x="19798" y="21600"/>
                        <a:pt x="19852" y="21600"/>
                      </a:cubicBezTo>
                      <a:cubicBezTo>
                        <a:pt x="19927" y="21600"/>
                        <a:pt x="20013" y="21548"/>
                        <a:pt x="20110" y="21444"/>
                      </a:cubicBezTo>
                      <a:cubicBezTo>
                        <a:pt x="20207" y="21336"/>
                        <a:pt x="20275" y="21282"/>
                        <a:pt x="20314" y="21282"/>
                      </a:cubicBezTo>
                      <a:cubicBezTo>
                        <a:pt x="20346" y="21282"/>
                        <a:pt x="20424" y="21334"/>
                        <a:pt x="20545" y="21438"/>
                      </a:cubicBezTo>
                      <a:cubicBezTo>
                        <a:pt x="20664" y="21537"/>
                        <a:pt x="20725" y="21586"/>
                        <a:pt x="20729" y="21586"/>
                      </a:cubicBezTo>
                      <a:cubicBezTo>
                        <a:pt x="20779" y="21586"/>
                        <a:pt x="20827" y="21557"/>
                        <a:pt x="20874" y="21499"/>
                      </a:cubicBezTo>
                      <a:cubicBezTo>
                        <a:pt x="20917" y="21444"/>
                        <a:pt x="20938" y="21399"/>
                        <a:pt x="20938" y="21363"/>
                      </a:cubicBezTo>
                      <a:cubicBezTo>
                        <a:pt x="20938" y="21327"/>
                        <a:pt x="20908" y="21269"/>
                        <a:pt x="20847" y="21188"/>
                      </a:cubicBezTo>
                      <a:cubicBezTo>
                        <a:pt x="20782" y="21111"/>
                        <a:pt x="20750" y="21039"/>
                        <a:pt x="20750" y="20971"/>
                      </a:cubicBezTo>
                      <a:cubicBezTo>
                        <a:pt x="20750" y="20908"/>
                        <a:pt x="20739" y="20836"/>
                        <a:pt x="20718" y="20755"/>
                      </a:cubicBezTo>
                      <a:cubicBezTo>
                        <a:pt x="20693" y="20665"/>
                        <a:pt x="20664" y="20595"/>
                        <a:pt x="20632" y="20545"/>
                      </a:cubicBezTo>
                      <a:cubicBezTo>
                        <a:pt x="20567" y="20451"/>
                        <a:pt x="20429" y="20349"/>
                        <a:pt x="20217" y="20241"/>
                      </a:cubicBezTo>
                      <a:cubicBezTo>
                        <a:pt x="19970" y="20128"/>
                        <a:pt x="19791" y="20041"/>
                        <a:pt x="19679" y="19977"/>
                      </a:cubicBezTo>
                      <a:cubicBezTo>
                        <a:pt x="19547" y="19901"/>
                        <a:pt x="19371" y="19804"/>
                        <a:pt x="19152" y="19687"/>
                      </a:cubicBezTo>
                      <a:cubicBezTo>
                        <a:pt x="18940" y="19579"/>
                        <a:pt x="18763" y="19482"/>
                        <a:pt x="18619" y="19396"/>
                      </a:cubicBezTo>
                      <a:cubicBezTo>
                        <a:pt x="18440" y="19288"/>
                        <a:pt x="18238" y="19148"/>
                        <a:pt x="18012" y="18977"/>
                      </a:cubicBezTo>
                      <a:cubicBezTo>
                        <a:pt x="17746" y="18779"/>
                        <a:pt x="17596" y="18643"/>
                        <a:pt x="17560" y="18571"/>
                      </a:cubicBezTo>
                      <a:lnTo>
                        <a:pt x="17560" y="18504"/>
                      </a:lnTo>
                      <a:cubicBezTo>
                        <a:pt x="17613" y="18495"/>
                        <a:pt x="17676" y="18490"/>
                        <a:pt x="17748" y="18490"/>
                      </a:cubicBezTo>
                      <a:cubicBezTo>
                        <a:pt x="17938" y="18490"/>
                        <a:pt x="18085" y="18551"/>
                        <a:pt x="18189" y="18673"/>
                      </a:cubicBezTo>
                      <a:cubicBezTo>
                        <a:pt x="18297" y="18790"/>
                        <a:pt x="18406" y="18848"/>
                        <a:pt x="18517" y="18848"/>
                      </a:cubicBezTo>
                      <a:cubicBezTo>
                        <a:pt x="18585" y="18848"/>
                        <a:pt x="18619" y="18824"/>
                        <a:pt x="18619" y="18774"/>
                      </a:cubicBezTo>
                      <a:cubicBezTo>
                        <a:pt x="18619" y="18761"/>
                        <a:pt x="18609" y="18736"/>
                        <a:pt x="18587" y="18700"/>
                      </a:cubicBezTo>
                      <a:cubicBezTo>
                        <a:pt x="18566" y="18664"/>
                        <a:pt x="18555" y="18628"/>
                        <a:pt x="18555" y="18592"/>
                      </a:cubicBezTo>
                      <a:cubicBezTo>
                        <a:pt x="18555" y="18551"/>
                        <a:pt x="18575" y="18531"/>
                        <a:pt x="18614" y="18531"/>
                      </a:cubicBezTo>
                      <a:cubicBezTo>
                        <a:pt x="18636" y="18531"/>
                        <a:pt x="18720" y="18605"/>
                        <a:pt x="18867" y="18754"/>
                      </a:cubicBezTo>
                      <a:cubicBezTo>
                        <a:pt x="19018" y="18903"/>
                        <a:pt x="19132" y="18977"/>
                        <a:pt x="19211" y="18977"/>
                      </a:cubicBezTo>
                      <a:cubicBezTo>
                        <a:pt x="19384" y="18977"/>
                        <a:pt x="19491" y="19027"/>
                        <a:pt x="19534" y="19126"/>
                      </a:cubicBezTo>
                      <a:cubicBezTo>
                        <a:pt x="19581" y="19220"/>
                        <a:pt x="19661" y="19268"/>
                        <a:pt x="19776" y="19268"/>
                      </a:cubicBezTo>
                      <a:cubicBezTo>
                        <a:pt x="19798" y="19268"/>
                        <a:pt x="19848" y="19238"/>
                        <a:pt x="19927" y="19180"/>
                      </a:cubicBezTo>
                      <a:cubicBezTo>
                        <a:pt x="20002" y="19117"/>
                        <a:pt x="20043" y="19085"/>
                        <a:pt x="20051" y="19085"/>
                      </a:cubicBezTo>
                      <a:cubicBezTo>
                        <a:pt x="20079" y="19085"/>
                        <a:pt x="20117" y="19117"/>
                        <a:pt x="20164" y="19180"/>
                      </a:cubicBezTo>
                      <a:cubicBezTo>
                        <a:pt x="20210" y="19238"/>
                        <a:pt x="20250" y="19268"/>
                        <a:pt x="20282" y="19268"/>
                      </a:cubicBezTo>
                      <a:cubicBezTo>
                        <a:pt x="20321" y="19268"/>
                        <a:pt x="20352" y="19243"/>
                        <a:pt x="20373" y="19193"/>
                      </a:cubicBezTo>
                      <a:cubicBezTo>
                        <a:pt x="20395" y="19139"/>
                        <a:pt x="20411" y="19112"/>
                        <a:pt x="20422" y="19112"/>
                      </a:cubicBezTo>
                      <a:cubicBezTo>
                        <a:pt x="20433" y="19112"/>
                        <a:pt x="20441" y="19119"/>
                        <a:pt x="20449" y="19132"/>
                      </a:cubicBezTo>
                      <a:cubicBezTo>
                        <a:pt x="20460" y="19141"/>
                        <a:pt x="20468" y="19146"/>
                        <a:pt x="20475" y="19146"/>
                      </a:cubicBezTo>
                      <a:cubicBezTo>
                        <a:pt x="20501" y="19146"/>
                        <a:pt x="20531" y="19141"/>
                        <a:pt x="20567" y="19132"/>
                      </a:cubicBezTo>
                      <a:cubicBezTo>
                        <a:pt x="20610" y="19119"/>
                        <a:pt x="20632" y="19103"/>
                        <a:pt x="20632" y="19085"/>
                      </a:cubicBezTo>
                      <a:cubicBezTo>
                        <a:pt x="20624" y="19045"/>
                        <a:pt x="20621" y="19013"/>
                        <a:pt x="20621" y="18990"/>
                      </a:cubicBezTo>
                      <a:cubicBezTo>
                        <a:pt x="20621" y="18945"/>
                        <a:pt x="20633" y="18923"/>
                        <a:pt x="20659" y="18923"/>
                      </a:cubicBezTo>
                      <a:cubicBezTo>
                        <a:pt x="20662" y="18923"/>
                        <a:pt x="20700" y="18966"/>
                        <a:pt x="20771" y="19051"/>
                      </a:cubicBezTo>
                      <a:cubicBezTo>
                        <a:pt x="20850" y="19132"/>
                        <a:pt x="20904" y="19173"/>
                        <a:pt x="20933" y="19173"/>
                      </a:cubicBezTo>
                      <a:cubicBezTo>
                        <a:pt x="20951" y="19173"/>
                        <a:pt x="20988" y="19164"/>
                        <a:pt x="21046" y="19146"/>
                      </a:cubicBezTo>
                      <a:cubicBezTo>
                        <a:pt x="21071" y="19146"/>
                        <a:pt x="21098" y="19227"/>
                        <a:pt x="21127" y="19389"/>
                      </a:cubicBezTo>
                      <a:cubicBezTo>
                        <a:pt x="21155" y="19547"/>
                        <a:pt x="21263" y="19626"/>
                        <a:pt x="21449" y="19626"/>
                      </a:cubicBezTo>
                      <a:cubicBezTo>
                        <a:pt x="21507" y="19626"/>
                        <a:pt x="21543" y="19621"/>
                        <a:pt x="21557" y="19612"/>
                      </a:cubicBezTo>
                      <a:cubicBezTo>
                        <a:pt x="21586" y="19594"/>
                        <a:pt x="21600" y="19556"/>
                        <a:pt x="21600" y="19497"/>
                      </a:cubicBezTo>
                      <a:cubicBezTo>
                        <a:pt x="21600" y="19448"/>
                        <a:pt x="21519" y="19337"/>
                        <a:pt x="21358" y="19166"/>
                      </a:cubicBezTo>
                      <a:cubicBezTo>
                        <a:pt x="21197" y="18995"/>
                        <a:pt x="21116" y="18887"/>
                        <a:pt x="21116" y="18842"/>
                      </a:cubicBezTo>
                      <a:cubicBezTo>
                        <a:pt x="21116" y="18774"/>
                        <a:pt x="21134" y="18740"/>
                        <a:pt x="21170" y="18740"/>
                      </a:cubicBezTo>
                      <a:cubicBezTo>
                        <a:pt x="21180" y="18740"/>
                        <a:pt x="21207" y="18752"/>
                        <a:pt x="21250" y="18774"/>
                      </a:cubicBezTo>
                      <a:cubicBezTo>
                        <a:pt x="21293" y="18797"/>
                        <a:pt x="21327" y="18808"/>
                        <a:pt x="21352" y="18808"/>
                      </a:cubicBezTo>
                      <a:cubicBezTo>
                        <a:pt x="21489" y="18808"/>
                        <a:pt x="21557" y="18763"/>
                        <a:pt x="21557" y="18673"/>
                      </a:cubicBezTo>
                      <a:cubicBezTo>
                        <a:pt x="21557" y="18614"/>
                        <a:pt x="21532" y="18562"/>
                        <a:pt x="21482" y="18517"/>
                      </a:cubicBezTo>
                      <a:cubicBezTo>
                        <a:pt x="21435" y="18472"/>
                        <a:pt x="21390" y="18450"/>
                        <a:pt x="21347" y="18450"/>
                      </a:cubicBezTo>
                      <a:cubicBezTo>
                        <a:pt x="21272" y="18477"/>
                        <a:pt x="21220" y="18490"/>
                        <a:pt x="21191" y="18490"/>
                      </a:cubicBezTo>
                      <a:cubicBezTo>
                        <a:pt x="21141" y="18490"/>
                        <a:pt x="21057" y="18429"/>
                        <a:pt x="20938" y="18308"/>
                      </a:cubicBezTo>
                      <a:cubicBezTo>
                        <a:pt x="20806" y="18172"/>
                        <a:pt x="20739" y="18051"/>
                        <a:pt x="20739" y="17943"/>
                      </a:cubicBezTo>
                      <a:cubicBezTo>
                        <a:pt x="20739" y="17848"/>
                        <a:pt x="20766" y="17801"/>
                        <a:pt x="20820" y="17801"/>
                      </a:cubicBezTo>
                      <a:cubicBezTo>
                        <a:pt x="20834" y="17801"/>
                        <a:pt x="20856" y="17807"/>
                        <a:pt x="20884" y="17821"/>
                      </a:cubicBezTo>
                      <a:cubicBezTo>
                        <a:pt x="20913" y="17834"/>
                        <a:pt x="20937" y="17841"/>
                        <a:pt x="20954" y="17841"/>
                      </a:cubicBezTo>
                      <a:cubicBezTo>
                        <a:pt x="21048" y="17841"/>
                        <a:pt x="21094" y="17812"/>
                        <a:pt x="21094" y="17753"/>
                      </a:cubicBezTo>
                      <a:cubicBezTo>
                        <a:pt x="21058" y="17659"/>
                        <a:pt x="21040" y="17600"/>
                        <a:pt x="21040" y="17577"/>
                      </a:cubicBezTo>
                      <a:cubicBezTo>
                        <a:pt x="21040" y="17546"/>
                        <a:pt x="21053" y="17512"/>
                        <a:pt x="21078" y="17476"/>
                      </a:cubicBezTo>
                      <a:cubicBezTo>
                        <a:pt x="21103" y="17440"/>
                        <a:pt x="21116" y="17415"/>
                        <a:pt x="21116" y="17402"/>
                      </a:cubicBezTo>
                      <a:cubicBezTo>
                        <a:pt x="21116" y="17343"/>
                        <a:pt x="21069" y="17246"/>
                        <a:pt x="20976" y="17111"/>
                      </a:cubicBezTo>
                      <a:cubicBezTo>
                        <a:pt x="20911" y="17012"/>
                        <a:pt x="20849" y="16926"/>
                        <a:pt x="20788" y="16854"/>
                      </a:cubicBezTo>
                      <a:cubicBezTo>
                        <a:pt x="20684" y="16714"/>
                        <a:pt x="20608" y="16615"/>
                        <a:pt x="20562" y="16557"/>
                      </a:cubicBezTo>
                      <a:cubicBezTo>
                        <a:pt x="20486" y="16457"/>
                        <a:pt x="20416" y="16408"/>
                        <a:pt x="20352" y="16408"/>
                      </a:cubicBezTo>
                      <a:cubicBezTo>
                        <a:pt x="20219" y="16408"/>
                        <a:pt x="20128" y="16403"/>
                        <a:pt x="20077" y="16394"/>
                      </a:cubicBezTo>
                      <a:cubicBezTo>
                        <a:pt x="19930" y="16367"/>
                        <a:pt x="19857" y="16304"/>
                        <a:pt x="19857" y="16205"/>
                      </a:cubicBezTo>
                      <a:cubicBezTo>
                        <a:pt x="19857" y="16160"/>
                        <a:pt x="19877" y="16122"/>
                        <a:pt x="19916" y="16090"/>
                      </a:cubicBezTo>
                      <a:cubicBezTo>
                        <a:pt x="19952" y="16036"/>
                        <a:pt x="19970" y="15953"/>
                        <a:pt x="19970" y="15840"/>
                      </a:cubicBezTo>
                      <a:cubicBezTo>
                        <a:pt x="19970" y="15745"/>
                        <a:pt x="19956" y="15662"/>
                        <a:pt x="19927" y="15590"/>
                      </a:cubicBezTo>
                      <a:cubicBezTo>
                        <a:pt x="19895" y="15509"/>
                        <a:pt x="19853" y="15468"/>
                        <a:pt x="19803" y="15468"/>
                      </a:cubicBezTo>
                      <a:cubicBezTo>
                        <a:pt x="19789" y="15468"/>
                        <a:pt x="19767" y="15475"/>
                        <a:pt x="19739" y="15488"/>
                      </a:cubicBezTo>
                      <a:cubicBezTo>
                        <a:pt x="19710" y="15502"/>
                        <a:pt x="19687" y="15509"/>
                        <a:pt x="19669" y="15509"/>
                      </a:cubicBezTo>
                      <a:cubicBezTo>
                        <a:pt x="19647" y="15509"/>
                        <a:pt x="19615" y="15470"/>
                        <a:pt x="19572" y="15394"/>
                      </a:cubicBezTo>
                      <a:cubicBezTo>
                        <a:pt x="19529" y="15313"/>
                        <a:pt x="19489" y="15272"/>
                        <a:pt x="19453" y="15272"/>
                      </a:cubicBezTo>
                      <a:cubicBezTo>
                        <a:pt x="19410" y="15272"/>
                        <a:pt x="19376" y="15308"/>
                        <a:pt x="19351" y="15380"/>
                      </a:cubicBezTo>
                      <a:cubicBezTo>
                        <a:pt x="19319" y="15457"/>
                        <a:pt x="19294" y="15500"/>
                        <a:pt x="19276" y="15509"/>
                      </a:cubicBezTo>
                      <a:cubicBezTo>
                        <a:pt x="19251" y="15419"/>
                        <a:pt x="19217" y="15338"/>
                        <a:pt x="19174" y="15265"/>
                      </a:cubicBezTo>
                      <a:cubicBezTo>
                        <a:pt x="19113" y="15166"/>
                        <a:pt x="19052" y="15117"/>
                        <a:pt x="18991" y="15117"/>
                      </a:cubicBezTo>
                      <a:cubicBezTo>
                        <a:pt x="18944" y="15117"/>
                        <a:pt x="18912" y="15171"/>
                        <a:pt x="18894" y="15279"/>
                      </a:cubicBezTo>
                      <a:cubicBezTo>
                        <a:pt x="18876" y="15382"/>
                        <a:pt x="18842" y="15434"/>
                        <a:pt x="18792" y="15434"/>
                      </a:cubicBezTo>
                      <a:cubicBezTo>
                        <a:pt x="18766" y="15434"/>
                        <a:pt x="18732" y="15389"/>
                        <a:pt x="18689" y="15299"/>
                      </a:cubicBezTo>
                      <a:cubicBezTo>
                        <a:pt x="18646" y="15205"/>
                        <a:pt x="18609" y="15157"/>
                        <a:pt x="18576" y="15157"/>
                      </a:cubicBezTo>
                      <a:cubicBezTo>
                        <a:pt x="18497" y="15157"/>
                        <a:pt x="18438" y="15225"/>
                        <a:pt x="18399" y="15360"/>
                      </a:cubicBezTo>
                      <a:cubicBezTo>
                        <a:pt x="18363" y="15495"/>
                        <a:pt x="18342" y="15563"/>
                        <a:pt x="18334" y="15563"/>
                      </a:cubicBezTo>
                      <a:cubicBezTo>
                        <a:pt x="18327" y="15563"/>
                        <a:pt x="18289" y="15497"/>
                        <a:pt x="18221" y="15367"/>
                      </a:cubicBezTo>
                      <a:cubicBezTo>
                        <a:pt x="18150" y="15232"/>
                        <a:pt x="18103" y="15139"/>
                        <a:pt x="18081" y="15090"/>
                      </a:cubicBezTo>
                      <a:cubicBezTo>
                        <a:pt x="18049" y="15013"/>
                        <a:pt x="17992" y="14957"/>
                        <a:pt x="17909" y="14921"/>
                      </a:cubicBezTo>
                      <a:cubicBezTo>
                        <a:pt x="17838" y="14889"/>
                        <a:pt x="17796" y="14848"/>
                        <a:pt x="17785" y="14799"/>
                      </a:cubicBezTo>
                      <a:cubicBezTo>
                        <a:pt x="17764" y="14673"/>
                        <a:pt x="17748" y="14598"/>
                        <a:pt x="17737" y="14576"/>
                      </a:cubicBezTo>
                      <a:cubicBezTo>
                        <a:pt x="17716" y="14540"/>
                        <a:pt x="17653" y="14499"/>
                        <a:pt x="17549" y="14454"/>
                      </a:cubicBezTo>
                      <a:cubicBezTo>
                        <a:pt x="17481" y="14414"/>
                        <a:pt x="17432" y="14350"/>
                        <a:pt x="17404" y="14265"/>
                      </a:cubicBezTo>
                      <a:cubicBezTo>
                        <a:pt x="17386" y="14206"/>
                        <a:pt x="17343" y="14177"/>
                        <a:pt x="17274" y="14177"/>
                      </a:cubicBezTo>
                      <a:cubicBezTo>
                        <a:pt x="17213" y="14177"/>
                        <a:pt x="17162" y="14222"/>
                        <a:pt x="17118" y="14312"/>
                      </a:cubicBezTo>
                      <a:cubicBezTo>
                        <a:pt x="17072" y="14398"/>
                        <a:pt x="17034" y="14441"/>
                        <a:pt x="17005" y="14441"/>
                      </a:cubicBezTo>
                      <a:cubicBezTo>
                        <a:pt x="16988" y="14441"/>
                        <a:pt x="16968" y="14423"/>
                        <a:pt x="16946" y="14386"/>
                      </a:cubicBezTo>
                      <a:cubicBezTo>
                        <a:pt x="16921" y="14346"/>
                        <a:pt x="16909" y="14305"/>
                        <a:pt x="16909" y="14265"/>
                      </a:cubicBezTo>
                      <a:lnTo>
                        <a:pt x="16930" y="14062"/>
                      </a:lnTo>
                      <a:cubicBezTo>
                        <a:pt x="16930" y="13994"/>
                        <a:pt x="16902" y="13934"/>
                        <a:pt x="16844" y="13879"/>
                      </a:cubicBezTo>
                      <a:cubicBezTo>
                        <a:pt x="16787" y="13830"/>
                        <a:pt x="16758" y="13796"/>
                        <a:pt x="16758" y="13778"/>
                      </a:cubicBezTo>
                      <a:cubicBezTo>
                        <a:pt x="16758" y="13755"/>
                        <a:pt x="16839" y="13683"/>
                        <a:pt x="17000" y="13562"/>
                      </a:cubicBezTo>
                      <a:cubicBezTo>
                        <a:pt x="17162" y="13445"/>
                        <a:pt x="17242" y="13332"/>
                        <a:pt x="17242" y="13224"/>
                      </a:cubicBezTo>
                      <a:cubicBezTo>
                        <a:pt x="17242" y="13188"/>
                        <a:pt x="17187" y="13140"/>
                        <a:pt x="17075" y="13082"/>
                      </a:cubicBezTo>
                      <a:cubicBezTo>
                        <a:pt x="16964" y="13023"/>
                        <a:pt x="16878" y="12994"/>
                        <a:pt x="16817" y="12994"/>
                      </a:cubicBezTo>
                      <a:lnTo>
                        <a:pt x="16548" y="13021"/>
                      </a:lnTo>
                      <a:cubicBezTo>
                        <a:pt x="16509" y="13021"/>
                        <a:pt x="16453" y="12998"/>
                        <a:pt x="16381" y="12953"/>
                      </a:cubicBezTo>
                      <a:cubicBezTo>
                        <a:pt x="16306" y="12904"/>
                        <a:pt x="16268" y="12863"/>
                        <a:pt x="16268" y="12832"/>
                      </a:cubicBezTo>
                      <a:cubicBezTo>
                        <a:pt x="16268" y="12768"/>
                        <a:pt x="16285" y="12735"/>
                        <a:pt x="16317" y="12730"/>
                      </a:cubicBezTo>
                      <a:cubicBezTo>
                        <a:pt x="16335" y="12730"/>
                        <a:pt x="16371" y="12730"/>
                        <a:pt x="16425" y="12730"/>
                      </a:cubicBezTo>
                      <a:cubicBezTo>
                        <a:pt x="16457" y="12717"/>
                        <a:pt x="16476" y="12678"/>
                        <a:pt x="16484" y="12615"/>
                      </a:cubicBezTo>
                      <a:cubicBezTo>
                        <a:pt x="16487" y="12557"/>
                        <a:pt x="16503" y="12527"/>
                        <a:pt x="16532" y="12527"/>
                      </a:cubicBezTo>
                      <a:cubicBezTo>
                        <a:pt x="16557" y="12527"/>
                        <a:pt x="16598" y="12545"/>
                        <a:pt x="16656" y="12581"/>
                      </a:cubicBezTo>
                      <a:cubicBezTo>
                        <a:pt x="16713" y="12617"/>
                        <a:pt x="16763" y="12635"/>
                        <a:pt x="16806" y="12635"/>
                      </a:cubicBezTo>
                      <a:lnTo>
                        <a:pt x="16909" y="12622"/>
                      </a:lnTo>
                      <a:lnTo>
                        <a:pt x="16909" y="12480"/>
                      </a:lnTo>
                      <a:cubicBezTo>
                        <a:pt x="16840" y="12412"/>
                        <a:pt x="16787" y="12358"/>
                        <a:pt x="16747" y="12318"/>
                      </a:cubicBezTo>
                      <a:cubicBezTo>
                        <a:pt x="16694" y="12273"/>
                        <a:pt x="16656" y="12239"/>
                        <a:pt x="16634" y="12216"/>
                      </a:cubicBezTo>
                      <a:cubicBezTo>
                        <a:pt x="16598" y="12185"/>
                        <a:pt x="16581" y="12149"/>
                        <a:pt x="16581" y="12108"/>
                      </a:cubicBezTo>
                      <a:cubicBezTo>
                        <a:pt x="16581" y="12054"/>
                        <a:pt x="16645" y="12027"/>
                        <a:pt x="16774" y="12027"/>
                      </a:cubicBezTo>
                      <a:cubicBezTo>
                        <a:pt x="16921" y="12027"/>
                        <a:pt x="17002" y="12108"/>
                        <a:pt x="17016" y="12270"/>
                      </a:cubicBezTo>
                      <a:cubicBezTo>
                        <a:pt x="17034" y="12428"/>
                        <a:pt x="17142" y="12507"/>
                        <a:pt x="17339" y="12507"/>
                      </a:cubicBezTo>
                      <a:cubicBezTo>
                        <a:pt x="17378" y="12507"/>
                        <a:pt x="17454" y="12500"/>
                        <a:pt x="17565" y="12487"/>
                      </a:cubicBezTo>
                      <a:cubicBezTo>
                        <a:pt x="17669" y="12482"/>
                        <a:pt x="17743" y="12505"/>
                        <a:pt x="17785" y="12554"/>
                      </a:cubicBezTo>
                      <a:cubicBezTo>
                        <a:pt x="17811" y="12581"/>
                        <a:pt x="17940" y="12665"/>
                        <a:pt x="18173" y="12804"/>
                      </a:cubicBezTo>
                      <a:cubicBezTo>
                        <a:pt x="18205" y="12804"/>
                        <a:pt x="18291" y="12753"/>
                        <a:pt x="18431" y="12649"/>
                      </a:cubicBezTo>
                      <a:cubicBezTo>
                        <a:pt x="18446" y="12649"/>
                        <a:pt x="18462" y="12663"/>
                        <a:pt x="18480" y="12690"/>
                      </a:cubicBezTo>
                      <a:cubicBezTo>
                        <a:pt x="18494" y="12717"/>
                        <a:pt x="18501" y="12741"/>
                        <a:pt x="18501" y="12764"/>
                      </a:cubicBezTo>
                      <a:cubicBezTo>
                        <a:pt x="18501" y="12850"/>
                        <a:pt x="18514" y="12913"/>
                        <a:pt x="18539" y="12953"/>
                      </a:cubicBezTo>
                      <a:cubicBezTo>
                        <a:pt x="18560" y="12989"/>
                        <a:pt x="18618" y="13064"/>
                        <a:pt x="18711" y="13176"/>
                      </a:cubicBezTo>
                      <a:cubicBezTo>
                        <a:pt x="18750" y="13230"/>
                        <a:pt x="18822" y="13296"/>
                        <a:pt x="18926" y="13372"/>
                      </a:cubicBezTo>
                      <a:cubicBezTo>
                        <a:pt x="19030" y="13453"/>
                        <a:pt x="19102" y="13494"/>
                        <a:pt x="19141" y="13494"/>
                      </a:cubicBezTo>
                      <a:cubicBezTo>
                        <a:pt x="19152" y="13494"/>
                        <a:pt x="19181" y="13474"/>
                        <a:pt x="19227" y="13433"/>
                      </a:cubicBezTo>
                      <a:cubicBezTo>
                        <a:pt x="19270" y="13393"/>
                        <a:pt x="19299" y="13372"/>
                        <a:pt x="19313" y="13372"/>
                      </a:cubicBezTo>
                      <a:cubicBezTo>
                        <a:pt x="19342" y="13372"/>
                        <a:pt x="19378" y="13469"/>
                        <a:pt x="19421" y="13663"/>
                      </a:cubicBezTo>
                      <a:cubicBezTo>
                        <a:pt x="19461" y="13857"/>
                        <a:pt x="19534" y="13954"/>
                        <a:pt x="19642" y="13954"/>
                      </a:cubicBezTo>
                      <a:cubicBezTo>
                        <a:pt x="19681" y="13954"/>
                        <a:pt x="19713" y="13927"/>
                        <a:pt x="19739" y="13873"/>
                      </a:cubicBezTo>
                      <a:cubicBezTo>
                        <a:pt x="19771" y="13810"/>
                        <a:pt x="19796" y="13771"/>
                        <a:pt x="19814" y="13758"/>
                      </a:cubicBezTo>
                      <a:cubicBezTo>
                        <a:pt x="19825" y="13767"/>
                        <a:pt x="19855" y="13816"/>
                        <a:pt x="19905" y="13906"/>
                      </a:cubicBezTo>
                      <a:cubicBezTo>
                        <a:pt x="19959" y="13992"/>
                        <a:pt x="20000" y="14035"/>
                        <a:pt x="20029" y="14035"/>
                      </a:cubicBezTo>
                      <a:cubicBezTo>
                        <a:pt x="20047" y="14035"/>
                        <a:pt x="20056" y="14030"/>
                        <a:pt x="20056" y="14021"/>
                      </a:cubicBezTo>
                      <a:cubicBezTo>
                        <a:pt x="20056" y="14003"/>
                        <a:pt x="20063" y="13981"/>
                        <a:pt x="20077" y="13954"/>
                      </a:cubicBezTo>
                      <a:cubicBezTo>
                        <a:pt x="20092" y="13927"/>
                        <a:pt x="20101" y="13913"/>
                        <a:pt x="20104" y="13913"/>
                      </a:cubicBezTo>
                      <a:cubicBezTo>
                        <a:pt x="20144" y="13913"/>
                        <a:pt x="20187" y="13974"/>
                        <a:pt x="20233" y="14096"/>
                      </a:cubicBezTo>
                      <a:cubicBezTo>
                        <a:pt x="20280" y="14213"/>
                        <a:pt x="20352" y="14272"/>
                        <a:pt x="20449" y="14272"/>
                      </a:cubicBezTo>
                      <a:cubicBezTo>
                        <a:pt x="20477" y="14272"/>
                        <a:pt x="20494" y="14272"/>
                        <a:pt x="20497" y="14272"/>
                      </a:cubicBezTo>
                      <a:cubicBezTo>
                        <a:pt x="20511" y="14267"/>
                        <a:pt x="20519" y="14251"/>
                        <a:pt x="20519" y="14224"/>
                      </a:cubicBezTo>
                      <a:cubicBezTo>
                        <a:pt x="20519" y="14044"/>
                        <a:pt x="20485" y="13848"/>
                        <a:pt x="20416" y="13636"/>
                      </a:cubicBezTo>
                      <a:lnTo>
                        <a:pt x="20309" y="13366"/>
                      </a:lnTo>
                      <a:cubicBezTo>
                        <a:pt x="20309" y="13361"/>
                        <a:pt x="20321" y="13343"/>
                        <a:pt x="20346" y="13312"/>
                      </a:cubicBezTo>
                      <a:cubicBezTo>
                        <a:pt x="20368" y="13280"/>
                        <a:pt x="20379" y="13246"/>
                        <a:pt x="20379" y="13210"/>
                      </a:cubicBezTo>
                      <a:cubicBezTo>
                        <a:pt x="20379" y="13161"/>
                        <a:pt x="20364" y="13113"/>
                        <a:pt x="20336" y="13068"/>
                      </a:cubicBezTo>
                      <a:cubicBezTo>
                        <a:pt x="20260" y="12956"/>
                        <a:pt x="20198" y="12847"/>
                        <a:pt x="20147" y="12744"/>
                      </a:cubicBezTo>
                      <a:cubicBezTo>
                        <a:pt x="20115" y="12681"/>
                        <a:pt x="20074" y="12622"/>
                        <a:pt x="20024" y="12568"/>
                      </a:cubicBezTo>
                      <a:cubicBezTo>
                        <a:pt x="19963" y="12509"/>
                        <a:pt x="19918" y="12457"/>
                        <a:pt x="19889" y="12412"/>
                      </a:cubicBezTo>
                      <a:lnTo>
                        <a:pt x="19889" y="12345"/>
                      </a:lnTo>
                      <a:lnTo>
                        <a:pt x="20056" y="12345"/>
                      </a:lnTo>
                      <a:cubicBezTo>
                        <a:pt x="20074" y="12358"/>
                        <a:pt x="20131" y="12397"/>
                        <a:pt x="20228" y="12460"/>
                      </a:cubicBezTo>
                      <a:cubicBezTo>
                        <a:pt x="20325" y="12523"/>
                        <a:pt x="20399" y="12554"/>
                        <a:pt x="20449" y="12554"/>
                      </a:cubicBezTo>
                      <a:cubicBezTo>
                        <a:pt x="20470" y="12554"/>
                        <a:pt x="20494" y="12539"/>
                        <a:pt x="20519" y="12507"/>
                      </a:cubicBezTo>
                      <a:cubicBezTo>
                        <a:pt x="20544" y="12475"/>
                        <a:pt x="20556" y="12446"/>
                        <a:pt x="20556" y="12419"/>
                      </a:cubicBezTo>
                      <a:cubicBezTo>
                        <a:pt x="20510" y="12261"/>
                        <a:pt x="20486" y="12173"/>
                        <a:pt x="20486" y="12155"/>
                      </a:cubicBezTo>
                      <a:cubicBezTo>
                        <a:pt x="20508" y="12097"/>
                        <a:pt x="20519" y="12061"/>
                        <a:pt x="20519" y="12047"/>
                      </a:cubicBezTo>
                      <a:cubicBezTo>
                        <a:pt x="20519" y="12034"/>
                        <a:pt x="20533" y="12018"/>
                        <a:pt x="20562" y="12000"/>
                      </a:cubicBezTo>
                      <a:cubicBezTo>
                        <a:pt x="20587" y="11982"/>
                        <a:pt x="20599" y="11955"/>
                        <a:pt x="20599" y="11919"/>
                      </a:cubicBezTo>
                      <a:cubicBezTo>
                        <a:pt x="20599" y="11883"/>
                        <a:pt x="20567" y="11822"/>
                        <a:pt x="20502" y="11736"/>
                      </a:cubicBezTo>
                      <a:cubicBezTo>
                        <a:pt x="20434" y="11651"/>
                        <a:pt x="20400" y="11588"/>
                        <a:pt x="20400" y="11547"/>
                      </a:cubicBezTo>
                      <a:cubicBezTo>
                        <a:pt x="20400" y="11525"/>
                        <a:pt x="20427" y="11495"/>
                        <a:pt x="20481" y="11459"/>
                      </a:cubicBezTo>
                      <a:cubicBezTo>
                        <a:pt x="20531" y="11419"/>
                        <a:pt x="20556" y="11376"/>
                        <a:pt x="20556" y="11331"/>
                      </a:cubicBezTo>
                      <a:cubicBezTo>
                        <a:pt x="20556" y="11317"/>
                        <a:pt x="20540" y="11295"/>
                        <a:pt x="20508" y="11263"/>
                      </a:cubicBezTo>
                      <a:cubicBezTo>
                        <a:pt x="20472" y="11227"/>
                        <a:pt x="20441" y="11209"/>
                        <a:pt x="20416" y="11209"/>
                      </a:cubicBezTo>
                      <a:cubicBezTo>
                        <a:pt x="20388" y="11209"/>
                        <a:pt x="20346" y="11234"/>
                        <a:pt x="20293" y="11283"/>
                      </a:cubicBezTo>
                      <a:cubicBezTo>
                        <a:pt x="20235" y="11333"/>
                        <a:pt x="20205" y="11358"/>
                        <a:pt x="20201" y="11358"/>
                      </a:cubicBezTo>
                      <a:cubicBezTo>
                        <a:pt x="20165" y="11358"/>
                        <a:pt x="20147" y="11315"/>
                        <a:pt x="20147" y="11229"/>
                      </a:cubicBezTo>
                      <a:cubicBezTo>
                        <a:pt x="20147" y="11189"/>
                        <a:pt x="20164" y="11141"/>
                        <a:pt x="20196" y="11087"/>
                      </a:cubicBezTo>
                      <a:cubicBezTo>
                        <a:pt x="20228" y="11038"/>
                        <a:pt x="20244" y="11004"/>
                        <a:pt x="20244" y="10986"/>
                      </a:cubicBezTo>
                      <a:cubicBezTo>
                        <a:pt x="20244" y="10936"/>
                        <a:pt x="20210" y="10914"/>
                        <a:pt x="20142" y="10918"/>
                      </a:cubicBezTo>
                      <a:cubicBezTo>
                        <a:pt x="20070" y="10923"/>
                        <a:pt x="20034" y="10905"/>
                        <a:pt x="20034" y="10864"/>
                      </a:cubicBezTo>
                      <a:cubicBezTo>
                        <a:pt x="20034" y="10788"/>
                        <a:pt x="20083" y="10749"/>
                        <a:pt x="20180" y="10749"/>
                      </a:cubicBezTo>
                      <a:cubicBezTo>
                        <a:pt x="20237" y="10749"/>
                        <a:pt x="20320" y="10763"/>
                        <a:pt x="20427" y="10790"/>
                      </a:cubicBezTo>
                      <a:cubicBezTo>
                        <a:pt x="20463" y="10790"/>
                        <a:pt x="20506" y="10781"/>
                        <a:pt x="20556" y="10763"/>
                      </a:cubicBezTo>
                      <a:cubicBezTo>
                        <a:pt x="20621" y="10740"/>
                        <a:pt x="20653" y="10711"/>
                        <a:pt x="20653" y="10675"/>
                      </a:cubicBezTo>
                      <a:cubicBezTo>
                        <a:pt x="20653" y="10652"/>
                        <a:pt x="20615" y="10592"/>
                        <a:pt x="20540" y="10492"/>
                      </a:cubicBezTo>
                      <a:cubicBezTo>
                        <a:pt x="20461" y="10393"/>
                        <a:pt x="20422" y="10323"/>
                        <a:pt x="20422" y="10283"/>
                      </a:cubicBezTo>
                      <a:cubicBezTo>
                        <a:pt x="20422" y="10247"/>
                        <a:pt x="20445" y="10197"/>
                        <a:pt x="20492" y="10134"/>
                      </a:cubicBezTo>
                      <a:cubicBezTo>
                        <a:pt x="20535" y="10066"/>
                        <a:pt x="20556" y="10024"/>
                        <a:pt x="20556" y="10006"/>
                      </a:cubicBezTo>
                      <a:cubicBezTo>
                        <a:pt x="20556" y="9938"/>
                        <a:pt x="20537" y="9882"/>
                        <a:pt x="20497" y="9837"/>
                      </a:cubicBezTo>
                      <a:cubicBezTo>
                        <a:pt x="20465" y="9805"/>
                        <a:pt x="20411" y="9769"/>
                        <a:pt x="20336" y="9728"/>
                      </a:cubicBezTo>
                      <a:cubicBezTo>
                        <a:pt x="20124" y="9589"/>
                        <a:pt x="19981" y="9519"/>
                        <a:pt x="19905" y="9519"/>
                      </a:cubicBezTo>
                      <a:cubicBezTo>
                        <a:pt x="19679" y="9519"/>
                        <a:pt x="19532" y="9535"/>
                        <a:pt x="19464" y="9566"/>
                      </a:cubicBezTo>
                      <a:cubicBezTo>
                        <a:pt x="19371" y="9611"/>
                        <a:pt x="19258" y="9733"/>
                        <a:pt x="19125" y="9931"/>
                      </a:cubicBezTo>
                      <a:cubicBezTo>
                        <a:pt x="19114" y="9936"/>
                        <a:pt x="19102" y="9938"/>
                        <a:pt x="19088" y="9938"/>
                      </a:cubicBezTo>
                      <a:cubicBezTo>
                        <a:pt x="19023" y="9938"/>
                        <a:pt x="18985" y="9796"/>
                        <a:pt x="18975" y="9512"/>
                      </a:cubicBezTo>
                      <a:cubicBezTo>
                        <a:pt x="18967" y="9228"/>
                        <a:pt x="18923" y="9086"/>
                        <a:pt x="18840" y="9086"/>
                      </a:cubicBezTo>
                      <a:cubicBezTo>
                        <a:pt x="18761" y="9086"/>
                        <a:pt x="18673" y="9183"/>
                        <a:pt x="18576" y="9377"/>
                      </a:cubicBezTo>
                      <a:cubicBezTo>
                        <a:pt x="18480" y="9566"/>
                        <a:pt x="18374" y="9661"/>
                        <a:pt x="18259" y="9661"/>
                      </a:cubicBezTo>
                      <a:cubicBezTo>
                        <a:pt x="18191" y="9661"/>
                        <a:pt x="18157" y="9636"/>
                        <a:pt x="18157" y="9586"/>
                      </a:cubicBezTo>
                      <a:cubicBezTo>
                        <a:pt x="18157" y="9555"/>
                        <a:pt x="18177" y="9517"/>
                        <a:pt x="18216" y="9472"/>
                      </a:cubicBezTo>
                      <a:cubicBezTo>
                        <a:pt x="18255" y="9426"/>
                        <a:pt x="18275" y="9388"/>
                        <a:pt x="18275" y="9357"/>
                      </a:cubicBezTo>
                      <a:cubicBezTo>
                        <a:pt x="18275" y="9284"/>
                        <a:pt x="18232" y="9226"/>
                        <a:pt x="18146" y="9181"/>
                      </a:cubicBezTo>
                      <a:cubicBezTo>
                        <a:pt x="17995" y="9100"/>
                        <a:pt x="17915" y="9055"/>
                        <a:pt x="17904" y="9046"/>
                      </a:cubicBezTo>
                      <a:lnTo>
                        <a:pt x="17726" y="8823"/>
                      </a:lnTo>
                      <a:cubicBezTo>
                        <a:pt x="17655" y="8732"/>
                        <a:pt x="17581" y="8687"/>
                        <a:pt x="17506" y="8687"/>
                      </a:cubicBezTo>
                      <a:cubicBezTo>
                        <a:pt x="17463" y="8687"/>
                        <a:pt x="17420" y="8717"/>
                        <a:pt x="17377" y="8775"/>
                      </a:cubicBezTo>
                      <a:cubicBezTo>
                        <a:pt x="17334" y="8829"/>
                        <a:pt x="17303" y="8856"/>
                        <a:pt x="17285" y="8856"/>
                      </a:cubicBezTo>
                      <a:cubicBezTo>
                        <a:pt x="17235" y="8856"/>
                        <a:pt x="17197" y="8771"/>
                        <a:pt x="17172" y="8599"/>
                      </a:cubicBezTo>
                      <a:cubicBezTo>
                        <a:pt x="17147" y="8428"/>
                        <a:pt x="17106" y="8343"/>
                        <a:pt x="17049" y="8343"/>
                      </a:cubicBezTo>
                      <a:cubicBezTo>
                        <a:pt x="16934" y="8343"/>
                        <a:pt x="16833" y="8444"/>
                        <a:pt x="16747" y="8647"/>
                      </a:cubicBezTo>
                      <a:cubicBezTo>
                        <a:pt x="16679" y="8850"/>
                        <a:pt x="16638" y="8951"/>
                        <a:pt x="16624" y="8951"/>
                      </a:cubicBezTo>
                      <a:cubicBezTo>
                        <a:pt x="16408" y="8856"/>
                        <a:pt x="16301" y="8784"/>
                        <a:pt x="16301" y="8735"/>
                      </a:cubicBezTo>
                      <a:cubicBezTo>
                        <a:pt x="16337" y="8663"/>
                        <a:pt x="16355" y="8620"/>
                        <a:pt x="16355" y="8606"/>
                      </a:cubicBezTo>
                      <a:cubicBezTo>
                        <a:pt x="16355" y="8457"/>
                        <a:pt x="16260" y="8383"/>
                        <a:pt x="16069" y="8383"/>
                      </a:cubicBezTo>
                      <a:cubicBezTo>
                        <a:pt x="15994" y="8383"/>
                        <a:pt x="15942" y="8403"/>
                        <a:pt x="15913" y="8444"/>
                      </a:cubicBezTo>
                      <a:cubicBezTo>
                        <a:pt x="15874" y="8507"/>
                        <a:pt x="15831" y="8561"/>
                        <a:pt x="15784" y="8606"/>
                      </a:cubicBezTo>
                      <a:cubicBezTo>
                        <a:pt x="15730" y="8358"/>
                        <a:pt x="15698" y="8214"/>
                        <a:pt x="15687" y="8174"/>
                      </a:cubicBezTo>
                      <a:cubicBezTo>
                        <a:pt x="15677" y="8137"/>
                        <a:pt x="15603" y="8119"/>
                        <a:pt x="15467" y="8119"/>
                      </a:cubicBezTo>
                      <a:cubicBezTo>
                        <a:pt x="15388" y="8119"/>
                        <a:pt x="15323" y="8126"/>
                        <a:pt x="15273" y="8140"/>
                      </a:cubicBezTo>
                      <a:cubicBezTo>
                        <a:pt x="15141" y="8176"/>
                        <a:pt x="15063" y="8196"/>
                        <a:pt x="15042" y="8200"/>
                      </a:cubicBezTo>
                      <a:cubicBezTo>
                        <a:pt x="15013" y="8214"/>
                        <a:pt x="14995" y="8223"/>
                        <a:pt x="14988" y="8228"/>
                      </a:cubicBezTo>
                      <a:cubicBezTo>
                        <a:pt x="14981" y="8228"/>
                        <a:pt x="14959" y="8228"/>
                        <a:pt x="14923" y="8228"/>
                      </a:cubicBezTo>
                      <a:cubicBezTo>
                        <a:pt x="14787" y="8223"/>
                        <a:pt x="14719" y="8189"/>
                        <a:pt x="14719" y="8126"/>
                      </a:cubicBezTo>
                      <a:cubicBezTo>
                        <a:pt x="14719" y="8077"/>
                        <a:pt x="14737" y="8034"/>
                        <a:pt x="14773" y="7998"/>
                      </a:cubicBezTo>
                      <a:cubicBezTo>
                        <a:pt x="14809" y="7957"/>
                        <a:pt x="14827" y="7912"/>
                        <a:pt x="14827" y="7863"/>
                      </a:cubicBezTo>
                      <a:cubicBezTo>
                        <a:pt x="14827" y="7781"/>
                        <a:pt x="14782" y="7709"/>
                        <a:pt x="14692" y="7646"/>
                      </a:cubicBezTo>
                      <a:cubicBezTo>
                        <a:pt x="14599" y="7588"/>
                        <a:pt x="14552" y="7543"/>
                        <a:pt x="14552" y="7511"/>
                      </a:cubicBezTo>
                      <a:cubicBezTo>
                        <a:pt x="14552" y="7484"/>
                        <a:pt x="14576" y="7448"/>
                        <a:pt x="14622" y="7403"/>
                      </a:cubicBezTo>
                      <a:cubicBezTo>
                        <a:pt x="14669" y="7358"/>
                        <a:pt x="14692" y="7324"/>
                        <a:pt x="14692" y="7301"/>
                      </a:cubicBezTo>
                      <a:cubicBezTo>
                        <a:pt x="14692" y="7256"/>
                        <a:pt x="14660" y="7214"/>
                        <a:pt x="14595" y="7173"/>
                      </a:cubicBezTo>
                      <a:cubicBezTo>
                        <a:pt x="14538" y="7137"/>
                        <a:pt x="14482" y="7119"/>
                        <a:pt x="14429" y="7119"/>
                      </a:cubicBezTo>
                      <a:cubicBezTo>
                        <a:pt x="14307" y="7146"/>
                        <a:pt x="14224" y="7159"/>
                        <a:pt x="14181" y="7159"/>
                      </a:cubicBezTo>
                      <a:lnTo>
                        <a:pt x="14122" y="7159"/>
                      </a:lnTo>
                      <a:cubicBezTo>
                        <a:pt x="14108" y="7155"/>
                        <a:pt x="14100" y="7135"/>
                        <a:pt x="14100" y="7099"/>
                      </a:cubicBezTo>
                      <a:cubicBezTo>
                        <a:pt x="14100" y="7040"/>
                        <a:pt x="14142" y="6999"/>
                        <a:pt x="14224" y="6977"/>
                      </a:cubicBezTo>
                      <a:cubicBezTo>
                        <a:pt x="14303" y="6954"/>
                        <a:pt x="14342" y="6909"/>
                        <a:pt x="14342" y="6842"/>
                      </a:cubicBezTo>
                      <a:cubicBezTo>
                        <a:pt x="14342" y="6824"/>
                        <a:pt x="14337" y="6806"/>
                        <a:pt x="14326" y="6788"/>
                      </a:cubicBezTo>
                      <a:cubicBezTo>
                        <a:pt x="14316" y="6770"/>
                        <a:pt x="14310" y="6749"/>
                        <a:pt x="14310" y="6727"/>
                      </a:cubicBezTo>
                      <a:lnTo>
                        <a:pt x="14310" y="6679"/>
                      </a:lnTo>
                      <a:cubicBezTo>
                        <a:pt x="14314" y="6666"/>
                        <a:pt x="14330" y="6659"/>
                        <a:pt x="14359" y="6659"/>
                      </a:cubicBezTo>
                      <a:cubicBezTo>
                        <a:pt x="14366" y="6659"/>
                        <a:pt x="14391" y="6679"/>
                        <a:pt x="14434" y="6720"/>
                      </a:cubicBezTo>
                      <a:cubicBezTo>
                        <a:pt x="14477" y="6756"/>
                        <a:pt x="14531" y="6774"/>
                        <a:pt x="14595" y="6774"/>
                      </a:cubicBezTo>
                      <a:cubicBezTo>
                        <a:pt x="14664" y="6774"/>
                        <a:pt x="14739" y="6758"/>
                        <a:pt x="14821" y="6727"/>
                      </a:cubicBezTo>
                      <a:cubicBezTo>
                        <a:pt x="14897" y="6700"/>
                        <a:pt x="14954" y="6668"/>
                        <a:pt x="14993" y="6632"/>
                      </a:cubicBezTo>
                      <a:cubicBezTo>
                        <a:pt x="15033" y="6596"/>
                        <a:pt x="15097" y="6569"/>
                        <a:pt x="15187" y="6551"/>
                      </a:cubicBezTo>
                      <a:cubicBezTo>
                        <a:pt x="15241" y="6537"/>
                        <a:pt x="15268" y="6495"/>
                        <a:pt x="15268" y="6423"/>
                      </a:cubicBezTo>
                      <a:cubicBezTo>
                        <a:pt x="15268" y="6386"/>
                        <a:pt x="15205" y="6328"/>
                        <a:pt x="15080" y="6247"/>
                      </a:cubicBezTo>
                      <a:cubicBezTo>
                        <a:pt x="14947" y="6161"/>
                        <a:pt x="14839" y="6118"/>
                        <a:pt x="14757" y="6118"/>
                      </a:cubicBezTo>
                      <a:cubicBezTo>
                        <a:pt x="14721" y="6118"/>
                        <a:pt x="14631" y="6145"/>
                        <a:pt x="14488" y="6199"/>
                      </a:cubicBezTo>
                      <a:lnTo>
                        <a:pt x="14278" y="6274"/>
                      </a:lnTo>
                      <a:cubicBezTo>
                        <a:pt x="14217" y="6256"/>
                        <a:pt x="14177" y="6247"/>
                        <a:pt x="14160" y="6247"/>
                      </a:cubicBezTo>
                      <a:cubicBezTo>
                        <a:pt x="14113" y="6247"/>
                        <a:pt x="14068" y="6278"/>
                        <a:pt x="14025" y="6341"/>
                      </a:cubicBezTo>
                      <a:cubicBezTo>
                        <a:pt x="13982" y="6400"/>
                        <a:pt x="13959" y="6429"/>
                        <a:pt x="13955" y="6429"/>
                      </a:cubicBezTo>
                      <a:cubicBezTo>
                        <a:pt x="13941" y="6429"/>
                        <a:pt x="13919" y="6409"/>
                        <a:pt x="13891" y="6368"/>
                      </a:cubicBezTo>
                      <a:cubicBezTo>
                        <a:pt x="13866" y="6323"/>
                        <a:pt x="13833" y="6301"/>
                        <a:pt x="13794" y="6301"/>
                      </a:cubicBezTo>
                      <a:cubicBezTo>
                        <a:pt x="13665" y="6341"/>
                        <a:pt x="13600" y="6312"/>
                        <a:pt x="13600" y="6213"/>
                      </a:cubicBezTo>
                      <a:cubicBezTo>
                        <a:pt x="13600" y="6105"/>
                        <a:pt x="13663" y="6024"/>
                        <a:pt x="13788" y="5970"/>
                      </a:cubicBezTo>
                      <a:cubicBezTo>
                        <a:pt x="13925" y="5915"/>
                        <a:pt x="13998" y="5868"/>
                        <a:pt x="14009" y="5828"/>
                      </a:cubicBezTo>
                      <a:cubicBezTo>
                        <a:pt x="14052" y="5670"/>
                        <a:pt x="14129" y="5580"/>
                        <a:pt x="14240" y="5557"/>
                      </a:cubicBezTo>
                      <a:cubicBezTo>
                        <a:pt x="14337" y="5535"/>
                        <a:pt x="14386" y="5499"/>
                        <a:pt x="14386" y="5449"/>
                      </a:cubicBezTo>
                      <a:cubicBezTo>
                        <a:pt x="14386" y="5363"/>
                        <a:pt x="14353" y="5289"/>
                        <a:pt x="14289" y="5226"/>
                      </a:cubicBezTo>
                      <a:cubicBezTo>
                        <a:pt x="14196" y="5154"/>
                        <a:pt x="14117" y="5091"/>
                        <a:pt x="14052" y="5037"/>
                      </a:cubicBezTo>
                      <a:cubicBezTo>
                        <a:pt x="13952" y="4946"/>
                        <a:pt x="13864" y="4872"/>
                        <a:pt x="13788" y="4813"/>
                      </a:cubicBezTo>
                      <a:cubicBezTo>
                        <a:pt x="13649" y="4705"/>
                        <a:pt x="13548" y="4651"/>
                        <a:pt x="13487" y="4651"/>
                      </a:cubicBezTo>
                      <a:cubicBezTo>
                        <a:pt x="13466" y="4651"/>
                        <a:pt x="13444" y="4660"/>
                        <a:pt x="13423" y="4678"/>
                      </a:cubicBezTo>
                      <a:cubicBezTo>
                        <a:pt x="13401" y="4696"/>
                        <a:pt x="13390" y="4719"/>
                        <a:pt x="13390" y="4746"/>
                      </a:cubicBezTo>
                      <a:cubicBezTo>
                        <a:pt x="13390" y="4786"/>
                        <a:pt x="13415" y="4843"/>
                        <a:pt x="13466" y="4915"/>
                      </a:cubicBezTo>
                      <a:cubicBezTo>
                        <a:pt x="13512" y="4987"/>
                        <a:pt x="13535" y="5039"/>
                        <a:pt x="13535" y="5070"/>
                      </a:cubicBezTo>
                      <a:cubicBezTo>
                        <a:pt x="13535" y="5097"/>
                        <a:pt x="13512" y="5138"/>
                        <a:pt x="13466" y="5192"/>
                      </a:cubicBezTo>
                      <a:cubicBezTo>
                        <a:pt x="13419" y="5246"/>
                        <a:pt x="13394" y="5282"/>
                        <a:pt x="13390" y="5300"/>
                      </a:cubicBezTo>
                      <a:cubicBezTo>
                        <a:pt x="13387" y="5314"/>
                        <a:pt x="13381" y="5368"/>
                        <a:pt x="13374" y="5463"/>
                      </a:cubicBezTo>
                      <a:cubicBezTo>
                        <a:pt x="13360" y="5548"/>
                        <a:pt x="13331" y="5591"/>
                        <a:pt x="13288" y="5591"/>
                      </a:cubicBezTo>
                      <a:cubicBezTo>
                        <a:pt x="13281" y="5591"/>
                        <a:pt x="13259" y="5582"/>
                        <a:pt x="13224" y="5564"/>
                      </a:cubicBezTo>
                      <a:cubicBezTo>
                        <a:pt x="13224" y="5532"/>
                        <a:pt x="13231" y="5481"/>
                        <a:pt x="13245" y="5408"/>
                      </a:cubicBezTo>
                      <a:cubicBezTo>
                        <a:pt x="13256" y="5341"/>
                        <a:pt x="13261" y="5289"/>
                        <a:pt x="13261" y="5253"/>
                      </a:cubicBezTo>
                      <a:cubicBezTo>
                        <a:pt x="13261" y="5064"/>
                        <a:pt x="13236" y="4969"/>
                        <a:pt x="13186" y="4969"/>
                      </a:cubicBezTo>
                      <a:cubicBezTo>
                        <a:pt x="13114" y="4969"/>
                        <a:pt x="13024" y="5034"/>
                        <a:pt x="12917" y="5165"/>
                      </a:cubicBezTo>
                      <a:cubicBezTo>
                        <a:pt x="12809" y="5296"/>
                        <a:pt x="12745" y="5361"/>
                        <a:pt x="12723" y="5361"/>
                      </a:cubicBezTo>
                      <a:cubicBezTo>
                        <a:pt x="12713" y="5352"/>
                        <a:pt x="12703" y="5348"/>
                        <a:pt x="12696" y="5348"/>
                      </a:cubicBezTo>
                      <a:lnTo>
                        <a:pt x="12686" y="5260"/>
                      </a:lnTo>
                      <a:cubicBezTo>
                        <a:pt x="12686" y="5192"/>
                        <a:pt x="12720" y="5124"/>
                        <a:pt x="12788" y="5057"/>
                      </a:cubicBezTo>
                      <a:cubicBezTo>
                        <a:pt x="12863" y="4980"/>
                        <a:pt x="12906" y="4910"/>
                        <a:pt x="12917" y="4847"/>
                      </a:cubicBezTo>
                      <a:cubicBezTo>
                        <a:pt x="12921" y="4825"/>
                        <a:pt x="12958" y="4750"/>
                        <a:pt x="13030" y="4624"/>
                      </a:cubicBezTo>
                      <a:cubicBezTo>
                        <a:pt x="13094" y="4511"/>
                        <a:pt x="13127" y="4408"/>
                        <a:pt x="13127" y="4313"/>
                      </a:cubicBezTo>
                      <a:cubicBezTo>
                        <a:pt x="13127" y="4246"/>
                        <a:pt x="13091" y="4203"/>
                        <a:pt x="13019" y="4185"/>
                      </a:cubicBezTo>
                      <a:cubicBezTo>
                        <a:pt x="12929" y="4176"/>
                        <a:pt x="12867" y="4169"/>
                        <a:pt x="12831" y="4164"/>
                      </a:cubicBezTo>
                      <a:cubicBezTo>
                        <a:pt x="12748" y="4151"/>
                        <a:pt x="12678" y="4128"/>
                        <a:pt x="12621" y="4097"/>
                      </a:cubicBezTo>
                      <a:cubicBezTo>
                        <a:pt x="12578" y="4079"/>
                        <a:pt x="12517" y="4070"/>
                        <a:pt x="12438" y="4070"/>
                      </a:cubicBezTo>
                      <a:cubicBezTo>
                        <a:pt x="12302" y="4070"/>
                        <a:pt x="12214" y="4131"/>
                        <a:pt x="12175" y="4252"/>
                      </a:cubicBezTo>
                      <a:cubicBezTo>
                        <a:pt x="12078" y="4532"/>
                        <a:pt x="12004" y="4717"/>
                        <a:pt x="11954" y="4807"/>
                      </a:cubicBezTo>
                      <a:lnTo>
                        <a:pt x="11943" y="4786"/>
                      </a:lnTo>
                      <a:cubicBezTo>
                        <a:pt x="11950" y="4732"/>
                        <a:pt x="11970" y="4638"/>
                        <a:pt x="12002" y="4503"/>
                      </a:cubicBezTo>
                      <a:cubicBezTo>
                        <a:pt x="12031" y="4390"/>
                        <a:pt x="12045" y="4297"/>
                        <a:pt x="12045" y="4225"/>
                      </a:cubicBezTo>
                      <a:cubicBezTo>
                        <a:pt x="12038" y="4095"/>
                        <a:pt x="12018" y="4029"/>
                        <a:pt x="11986" y="4029"/>
                      </a:cubicBezTo>
                      <a:cubicBezTo>
                        <a:pt x="11929" y="4029"/>
                        <a:pt x="11866" y="4106"/>
                        <a:pt x="11798" y="4259"/>
                      </a:cubicBezTo>
                      <a:cubicBezTo>
                        <a:pt x="11715" y="4439"/>
                        <a:pt x="11662" y="4539"/>
                        <a:pt x="11637" y="4557"/>
                      </a:cubicBezTo>
                      <a:cubicBezTo>
                        <a:pt x="11629" y="4539"/>
                        <a:pt x="11618" y="4503"/>
                        <a:pt x="11604" y="4448"/>
                      </a:cubicBezTo>
                      <a:cubicBezTo>
                        <a:pt x="11590" y="4385"/>
                        <a:pt x="11583" y="4347"/>
                        <a:pt x="11583" y="4334"/>
                      </a:cubicBezTo>
                      <a:cubicBezTo>
                        <a:pt x="11583" y="4284"/>
                        <a:pt x="11588" y="4223"/>
                        <a:pt x="11599" y="4151"/>
                      </a:cubicBezTo>
                      <a:cubicBezTo>
                        <a:pt x="11610" y="4079"/>
                        <a:pt x="11615" y="4020"/>
                        <a:pt x="11615" y="3975"/>
                      </a:cubicBezTo>
                      <a:cubicBezTo>
                        <a:pt x="11615" y="3813"/>
                        <a:pt x="11563" y="3732"/>
                        <a:pt x="11459" y="3732"/>
                      </a:cubicBezTo>
                      <a:cubicBezTo>
                        <a:pt x="11398" y="3732"/>
                        <a:pt x="11330" y="3802"/>
                        <a:pt x="11254" y="3941"/>
                      </a:cubicBezTo>
                      <a:cubicBezTo>
                        <a:pt x="11176" y="4081"/>
                        <a:pt x="11109" y="4151"/>
                        <a:pt x="11055" y="4151"/>
                      </a:cubicBezTo>
                      <a:cubicBezTo>
                        <a:pt x="11002" y="4124"/>
                        <a:pt x="10966" y="4110"/>
                        <a:pt x="10948" y="4110"/>
                      </a:cubicBezTo>
                      <a:cubicBezTo>
                        <a:pt x="10862" y="4119"/>
                        <a:pt x="10796" y="4122"/>
                        <a:pt x="10749" y="4117"/>
                      </a:cubicBezTo>
                      <a:cubicBezTo>
                        <a:pt x="10738" y="4117"/>
                        <a:pt x="10729" y="4117"/>
                        <a:pt x="10722" y="4117"/>
                      </a:cubicBezTo>
                      <a:cubicBezTo>
                        <a:pt x="10711" y="4117"/>
                        <a:pt x="10702" y="4117"/>
                        <a:pt x="10695" y="4117"/>
                      </a:cubicBezTo>
                      <a:lnTo>
                        <a:pt x="10684" y="4104"/>
                      </a:lnTo>
                      <a:lnTo>
                        <a:pt x="10695" y="4090"/>
                      </a:lnTo>
                      <a:cubicBezTo>
                        <a:pt x="10777" y="4027"/>
                        <a:pt x="10878" y="3955"/>
                        <a:pt x="10996" y="3874"/>
                      </a:cubicBezTo>
                      <a:cubicBezTo>
                        <a:pt x="11075" y="3793"/>
                        <a:pt x="11115" y="3664"/>
                        <a:pt x="11115" y="3488"/>
                      </a:cubicBezTo>
                      <a:cubicBezTo>
                        <a:pt x="11115" y="3403"/>
                        <a:pt x="11045" y="3308"/>
                        <a:pt x="10905" y="3205"/>
                      </a:cubicBezTo>
                      <a:cubicBezTo>
                        <a:pt x="10779" y="3110"/>
                        <a:pt x="10692" y="3063"/>
                        <a:pt x="10641" y="3063"/>
                      </a:cubicBezTo>
                      <a:cubicBezTo>
                        <a:pt x="10433" y="3049"/>
                        <a:pt x="10315" y="3036"/>
                        <a:pt x="10286" y="3022"/>
                      </a:cubicBezTo>
                      <a:lnTo>
                        <a:pt x="10001" y="2839"/>
                      </a:lnTo>
                      <a:cubicBezTo>
                        <a:pt x="9994" y="2880"/>
                        <a:pt x="9983" y="2934"/>
                        <a:pt x="9969" y="3002"/>
                      </a:cubicBezTo>
                      <a:cubicBezTo>
                        <a:pt x="9954" y="3065"/>
                        <a:pt x="9938" y="3119"/>
                        <a:pt x="9920" y="3164"/>
                      </a:cubicBezTo>
                      <a:cubicBezTo>
                        <a:pt x="9913" y="3177"/>
                        <a:pt x="9879" y="3193"/>
                        <a:pt x="9818" y="3211"/>
                      </a:cubicBezTo>
                      <a:cubicBezTo>
                        <a:pt x="9764" y="3229"/>
                        <a:pt x="9737" y="3261"/>
                        <a:pt x="9737" y="3306"/>
                      </a:cubicBezTo>
                      <a:cubicBezTo>
                        <a:pt x="9737" y="3369"/>
                        <a:pt x="9770" y="3430"/>
                        <a:pt x="9834" y="3488"/>
                      </a:cubicBezTo>
                      <a:cubicBezTo>
                        <a:pt x="9899" y="3552"/>
                        <a:pt x="9931" y="3592"/>
                        <a:pt x="9931" y="3610"/>
                      </a:cubicBezTo>
                      <a:cubicBezTo>
                        <a:pt x="9931" y="3637"/>
                        <a:pt x="9899" y="3673"/>
                        <a:pt x="9834" y="3718"/>
                      </a:cubicBezTo>
                      <a:cubicBezTo>
                        <a:pt x="9770" y="3763"/>
                        <a:pt x="9725" y="3786"/>
                        <a:pt x="9700" y="3786"/>
                      </a:cubicBezTo>
                      <a:cubicBezTo>
                        <a:pt x="9639" y="3786"/>
                        <a:pt x="9594" y="3725"/>
                        <a:pt x="9565" y="3603"/>
                      </a:cubicBezTo>
                      <a:cubicBezTo>
                        <a:pt x="9540" y="3477"/>
                        <a:pt x="9517" y="3414"/>
                        <a:pt x="9495" y="3414"/>
                      </a:cubicBezTo>
                      <a:cubicBezTo>
                        <a:pt x="9481" y="3414"/>
                        <a:pt x="9461" y="3441"/>
                        <a:pt x="9436" y="3495"/>
                      </a:cubicBezTo>
                      <a:cubicBezTo>
                        <a:pt x="9404" y="3549"/>
                        <a:pt x="9382" y="3581"/>
                        <a:pt x="9372" y="3590"/>
                      </a:cubicBezTo>
                      <a:cubicBezTo>
                        <a:pt x="9357" y="3567"/>
                        <a:pt x="9350" y="3509"/>
                        <a:pt x="9350" y="3414"/>
                      </a:cubicBezTo>
                      <a:cubicBezTo>
                        <a:pt x="9350" y="3405"/>
                        <a:pt x="9350" y="3394"/>
                        <a:pt x="9350" y="3380"/>
                      </a:cubicBezTo>
                      <a:lnTo>
                        <a:pt x="9372" y="3144"/>
                      </a:lnTo>
                      <a:cubicBezTo>
                        <a:pt x="9350" y="2950"/>
                        <a:pt x="9339" y="2848"/>
                        <a:pt x="9339" y="2839"/>
                      </a:cubicBezTo>
                      <a:cubicBezTo>
                        <a:pt x="9210" y="2866"/>
                        <a:pt x="9108" y="2954"/>
                        <a:pt x="9033" y="3103"/>
                      </a:cubicBezTo>
                      <a:cubicBezTo>
                        <a:pt x="8982" y="3243"/>
                        <a:pt x="8954" y="3313"/>
                        <a:pt x="8947" y="3313"/>
                      </a:cubicBezTo>
                      <a:cubicBezTo>
                        <a:pt x="8936" y="3313"/>
                        <a:pt x="8923" y="3306"/>
                        <a:pt x="8909" y="3292"/>
                      </a:cubicBezTo>
                      <a:cubicBezTo>
                        <a:pt x="8891" y="3279"/>
                        <a:pt x="8878" y="3272"/>
                        <a:pt x="8871" y="3272"/>
                      </a:cubicBezTo>
                      <a:cubicBezTo>
                        <a:pt x="8850" y="3281"/>
                        <a:pt x="8835" y="3286"/>
                        <a:pt x="8828" y="3286"/>
                      </a:cubicBezTo>
                      <a:cubicBezTo>
                        <a:pt x="8825" y="3313"/>
                        <a:pt x="8814" y="3340"/>
                        <a:pt x="8796" y="3367"/>
                      </a:cubicBezTo>
                      <a:cubicBezTo>
                        <a:pt x="8778" y="3389"/>
                        <a:pt x="8756" y="3401"/>
                        <a:pt x="8731" y="3401"/>
                      </a:cubicBezTo>
                      <a:cubicBezTo>
                        <a:pt x="8663" y="3369"/>
                        <a:pt x="8629" y="3324"/>
                        <a:pt x="8629" y="3265"/>
                      </a:cubicBezTo>
                      <a:cubicBezTo>
                        <a:pt x="8629" y="3243"/>
                        <a:pt x="8672" y="3182"/>
                        <a:pt x="8758" y="3083"/>
                      </a:cubicBezTo>
                      <a:cubicBezTo>
                        <a:pt x="8844" y="2979"/>
                        <a:pt x="8887" y="2864"/>
                        <a:pt x="8887" y="2738"/>
                      </a:cubicBezTo>
                      <a:cubicBezTo>
                        <a:pt x="8887" y="2720"/>
                        <a:pt x="8882" y="2695"/>
                        <a:pt x="8871" y="2664"/>
                      </a:cubicBezTo>
                      <a:cubicBezTo>
                        <a:pt x="8857" y="2628"/>
                        <a:pt x="8844" y="2610"/>
                        <a:pt x="8834" y="2610"/>
                      </a:cubicBezTo>
                      <a:lnTo>
                        <a:pt x="8699" y="2637"/>
                      </a:lnTo>
                      <a:cubicBezTo>
                        <a:pt x="8534" y="2637"/>
                        <a:pt x="8427" y="2607"/>
                        <a:pt x="8376" y="2549"/>
                      </a:cubicBezTo>
                      <a:cubicBezTo>
                        <a:pt x="8340" y="2508"/>
                        <a:pt x="8317" y="2438"/>
                        <a:pt x="8306" y="2339"/>
                      </a:cubicBezTo>
                      <a:cubicBezTo>
                        <a:pt x="8299" y="2231"/>
                        <a:pt x="8290" y="2168"/>
                        <a:pt x="8279" y="2150"/>
                      </a:cubicBezTo>
                      <a:cubicBezTo>
                        <a:pt x="8175" y="1952"/>
                        <a:pt x="8102" y="1828"/>
                        <a:pt x="8059" y="1778"/>
                      </a:cubicBezTo>
                      <a:cubicBezTo>
                        <a:pt x="7980" y="1683"/>
                        <a:pt x="7890" y="1636"/>
                        <a:pt x="7790" y="1636"/>
                      </a:cubicBezTo>
                      <a:lnTo>
                        <a:pt x="7510" y="1663"/>
                      </a:lnTo>
                      <a:cubicBezTo>
                        <a:pt x="7481" y="1663"/>
                        <a:pt x="7395" y="1650"/>
                        <a:pt x="7252" y="1623"/>
                      </a:cubicBezTo>
                      <a:cubicBezTo>
                        <a:pt x="7112" y="1596"/>
                        <a:pt x="7015" y="1582"/>
                        <a:pt x="6961" y="1582"/>
                      </a:cubicBezTo>
                      <a:close/>
                      <a:moveTo>
                        <a:pt x="6961" y="158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8" name="AutoShape 112"/>
                <p:cNvSpPr>
                  <a:spLocks/>
                </p:cNvSpPr>
                <p:nvPr/>
              </p:nvSpPr>
              <p:spPr bwMode="auto">
                <a:xfrm>
                  <a:off x="6490910" y="651567"/>
                  <a:ext cx="180885" cy="107707"/>
                </a:xfrm>
                <a:custGeom>
                  <a:avLst/>
                  <a:gdLst/>
                  <a:ahLst/>
                  <a:cxnLst/>
                  <a:rect l="0" t="0" r="r" b="b"/>
                  <a:pathLst>
                    <a:path w="21600" h="21583">
                      <a:moveTo>
                        <a:pt x="809" y="17662"/>
                      </a:moveTo>
                      <a:cubicBezTo>
                        <a:pt x="973" y="17662"/>
                        <a:pt x="1170" y="17799"/>
                        <a:pt x="1398" y="18073"/>
                      </a:cubicBezTo>
                      <a:cubicBezTo>
                        <a:pt x="1661" y="18402"/>
                        <a:pt x="1824" y="18581"/>
                        <a:pt x="1890" y="18608"/>
                      </a:cubicBezTo>
                      <a:lnTo>
                        <a:pt x="2063" y="17785"/>
                      </a:lnTo>
                      <a:cubicBezTo>
                        <a:pt x="2111" y="17538"/>
                        <a:pt x="2218" y="17414"/>
                        <a:pt x="2381" y="17414"/>
                      </a:cubicBezTo>
                      <a:cubicBezTo>
                        <a:pt x="2513" y="17414"/>
                        <a:pt x="2636" y="17497"/>
                        <a:pt x="2750" y="17662"/>
                      </a:cubicBezTo>
                      <a:cubicBezTo>
                        <a:pt x="2881" y="17853"/>
                        <a:pt x="2947" y="18087"/>
                        <a:pt x="2947" y="18362"/>
                      </a:cubicBezTo>
                      <a:cubicBezTo>
                        <a:pt x="2947" y="18498"/>
                        <a:pt x="2865" y="18855"/>
                        <a:pt x="2701" y="19432"/>
                      </a:cubicBezTo>
                      <a:cubicBezTo>
                        <a:pt x="2521" y="20036"/>
                        <a:pt x="2431" y="20420"/>
                        <a:pt x="2431" y="20585"/>
                      </a:cubicBezTo>
                      <a:cubicBezTo>
                        <a:pt x="2431" y="20969"/>
                        <a:pt x="2471" y="21298"/>
                        <a:pt x="2554" y="21573"/>
                      </a:cubicBezTo>
                      <a:cubicBezTo>
                        <a:pt x="2603" y="21600"/>
                        <a:pt x="2710" y="21573"/>
                        <a:pt x="2873" y="21490"/>
                      </a:cubicBezTo>
                      <a:cubicBezTo>
                        <a:pt x="3053" y="21380"/>
                        <a:pt x="3185" y="21325"/>
                        <a:pt x="3266" y="21325"/>
                      </a:cubicBezTo>
                      <a:cubicBezTo>
                        <a:pt x="3430" y="21325"/>
                        <a:pt x="3676" y="21408"/>
                        <a:pt x="4004" y="21573"/>
                      </a:cubicBezTo>
                      <a:cubicBezTo>
                        <a:pt x="4282" y="21573"/>
                        <a:pt x="4569" y="21367"/>
                        <a:pt x="4864" y="20955"/>
                      </a:cubicBezTo>
                      <a:cubicBezTo>
                        <a:pt x="5158" y="20516"/>
                        <a:pt x="5330" y="20296"/>
                        <a:pt x="5380" y="20296"/>
                      </a:cubicBezTo>
                      <a:cubicBezTo>
                        <a:pt x="5397" y="20296"/>
                        <a:pt x="5503" y="20461"/>
                        <a:pt x="5699" y="20790"/>
                      </a:cubicBezTo>
                      <a:cubicBezTo>
                        <a:pt x="5896" y="21092"/>
                        <a:pt x="6085" y="21243"/>
                        <a:pt x="6264" y="21243"/>
                      </a:cubicBezTo>
                      <a:cubicBezTo>
                        <a:pt x="6428" y="21243"/>
                        <a:pt x="6535" y="21215"/>
                        <a:pt x="6584" y="21161"/>
                      </a:cubicBezTo>
                      <a:cubicBezTo>
                        <a:pt x="6649" y="21079"/>
                        <a:pt x="6682" y="20914"/>
                        <a:pt x="6682" y="20667"/>
                      </a:cubicBezTo>
                      <a:lnTo>
                        <a:pt x="6633" y="19802"/>
                      </a:lnTo>
                      <a:cubicBezTo>
                        <a:pt x="6813" y="19884"/>
                        <a:pt x="6985" y="20104"/>
                        <a:pt x="7149" y="20461"/>
                      </a:cubicBezTo>
                      <a:cubicBezTo>
                        <a:pt x="7314" y="20790"/>
                        <a:pt x="7428" y="20955"/>
                        <a:pt x="7493" y="20955"/>
                      </a:cubicBezTo>
                      <a:cubicBezTo>
                        <a:pt x="7625" y="20955"/>
                        <a:pt x="7755" y="20722"/>
                        <a:pt x="7887" y="20255"/>
                      </a:cubicBezTo>
                      <a:cubicBezTo>
                        <a:pt x="8017" y="19788"/>
                        <a:pt x="8116" y="19555"/>
                        <a:pt x="8181" y="19555"/>
                      </a:cubicBezTo>
                      <a:cubicBezTo>
                        <a:pt x="8247" y="19555"/>
                        <a:pt x="8378" y="19706"/>
                        <a:pt x="8575" y="20008"/>
                      </a:cubicBezTo>
                      <a:cubicBezTo>
                        <a:pt x="8771" y="20310"/>
                        <a:pt x="8993" y="20461"/>
                        <a:pt x="9238" y="20461"/>
                      </a:cubicBezTo>
                      <a:cubicBezTo>
                        <a:pt x="9533" y="20461"/>
                        <a:pt x="9672" y="20131"/>
                        <a:pt x="9656" y="19473"/>
                      </a:cubicBezTo>
                      <a:cubicBezTo>
                        <a:pt x="9623" y="18622"/>
                        <a:pt x="9640" y="18114"/>
                        <a:pt x="9705" y="17950"/>
                      </a:cubicBezTo>
                      <a:cubicBezTo>
                        <a:pt x="9885" y="18663"/>
                        <a:pt x="10033" y="19102"/>
                        <a:pt x="10147" y="19267"/>
                      </a:cubicBezTo>
                      <a:lnTo>
                        <a:pt x="10664" y="19267"/>
                      </a:lnTo>
                      <a:cubicBezTo>
                        <a:pt x="10794" y="18197"/>
                        <a:pt x="10893" y="17634"/>
                        <a:pt x="10959" y="17579"/>
                      </a:cubicBezTo>
                      <a:cubicBezTo>
                        <a:pt x="11073" y="17716"/>
                        <a:pt x="11155" y="17908"/>
                        <a:pt x="11204" y="18156"/>
                      </a:cubicBezTo>
                      <a:cubicBezTo>
                        <a:pt x="11221" y="18293"/>
                        <a:pt x="11246" y="18498"/>
                        <a:pt x="11278" y="18773"/>
                      </a:cubicBezTo>
                      <a:cubicBezTo>
                        <a:pt x="11474" y="18938"/>
                        <a:pt x="11761" y="19020"/>
                        <a:pt x="12138" y="19020"/>
                      </a:cubicBezTo>
                      <a:cubicBezTo>
                        <a:pt x="13809" y="18279"/>
                        <a:pt x="14645" y="17400"/>
                        <a:pt x="14645" y="16385"/>
                      </a:cubicBezTo>
                      <a:cubicBezTo>
                        <a:pt x="14645" y="15973"/>
                        <a:pt x="14513" y="15493"/>
                        <a:pt x="14251" y="14944"/>
                      </a:cubicBezTo>
                      <a:cubicBezTo>
                        <a:pt x="13989" y="14423"/>
                        <a:pt x="13834" y="14093"/>
                        <a:pt x="13785" y="13956"/>
                      </a:cubicBezTo>
                      <a:lnTo>
                        <a:pt x="13834" y="13956"/>
                      </a:lnTo>
                      <a:cubicBezTo>
                        <a:pt x="13866" y="14039"/>
                        <a:pt x="14088" y="14286"/>
                        <a:pt x="14497" y="14697"/>
                      </a:cubicBezTo>
                      <a:cubicBezTo>
                        <a:pt x="14809" y="14999"/>
                        <a:pt x="15014" y="15397"/>
                        <a:pt x="15112" y="15891"/>
                      </a:cubicBezTo>
                      <a:cubicBezTo>
                        <a:pt x="15374" y="17318"/>
                        <a:pt x="15669" y="18032"/>
                        <a:pt x="15997" y="18032"/>
                      </a:cubicBezTo>
                      <a:cubicBezTo>
                        <a:pt x="16062" y="18032"/>
                        <a:pt x="16143" y="17977"/>
                        <a:pt x="16242" y="17867"/>
                      </a:cubicBezTo>
                      <a:cubicBezTo>
                        <a:pt x="16340" y="17730"/>
                        <a:pt x="16423" y="17662"/>
                        <a:pt x="16488" y="17662"/>
                      </a:cubicBezTo>
                      <a:cubicBezTo>
                        <a:pt x="16602" y="17662"/>
                        <a:pt x="16725" y="17744"/>
                        <a:pt x="16857" y="17908"/>
                      </a:cubicBezTo>
                      <a:cubicBezTo>
                        <a:pt x="16971" y="18046"/>
                        <a:pt x="17094" y="18114"/>
                        <a:pt x="17225" y="18114"/>
                      </a:cubicBezTo>
                      <a:cubicBezTo>
                        <a:pt x="17487" y="18114"/>
                        <a:pt x="17831" y="17881"/>
                        <a:pt x="18257" y="17414"/>
                      </a:cubicBezTo>
                      <a:cubicBezTo>
                        <a:pt x="18830" y="16783"/>
                        <a:pt x="19240" y="16385"/>
                        <a:pt x="19486" y="16220"/>
                      </a:cubicBezTo>
                      <a:cubicBezTo>
                        <a:pt x="19634" y="16111"/>
                        <a:pt x="20035" y="15960"/>
                        <a:pt x="20690" y="15767"/>
                      </a:cubicBezTo>
                      <a:cubicBezTo>
                        <a:pt x="21297" y="15521"/>
                        <a:pt x="21600" y="15150"/>
                        <a:pt x="21600" y="14656"/>
                      </a:cubicBezTo>
                      <a:cubicBezTo>
                        <a:pt x="21600" y="13833"/>
                        <a:pt x="21346" y="12885"/>
                        <a:pt x="20838" y="11815"/>
                      </a:cubicBezTo>
                      <a:cubicBezTo>
                        <a:pt x="20314" y="10745"/>
                        <a:pt x="20052" y="10045"/>
                        <a:pt x="20052" y="9716"/>
                      </a:cubicBezTo>
                      <a:cubicBezTo>
                        <a:pt x="20052" y="9468"/>
                        <a:pt x="20256" y="9002"/>
                        <a:pt x="20666" y="8316"/>
                      </a:cubicBezTo>
                      <a:cubicBezTo>
                        <a:pt x="21059" y="7630"/>
                        <a:pt x="21255" y="6944"/>
                        <a:pt x="21255" y="6257"/>
                      </a:cubicBezTo>
                      <a:cubicBezTo>
                        <a:pt x="21255" y="5188"/>
                        <a:pt x="21165" y="4337"/>
                        <a:pt x="20986" y="3705"/>
                      </a:cubicBezTo>
                      <a:cubicBezTo>
                        <a:pt x="20707" y="2827"/>
                        <a:pt x="20240" y="2251"/>
                        <a:pt x="19584" y="1976"/>
                      </a:cubicBezTo>
                      <a:cubicBezTo>
                        <a:pt x="18798" y="1510"/>
                        <a:pt x="18266" y="1277"/>
                        <a:pt x="17987" y="1277"/>
                      </a:cubicBezTo>
                      <a:cubicBezTo>
                        <a:pt x="17708" y="1277"/>
                        <a:pt x="17381" y="1057"/>
                        <a:pt x="17004" y="618"/>
                      </a:cubicBezTo>
                      <a:cubicBezTo>
                        <a:pt x="16644" y="206"/>
                        <a:pt x="16349" y="0"/>
                        <a:pt x="16119" y="0"/>
                      </a:cubicBezTo>
                      <a:cubicBezTo>
                        <a:pt x="15742" y="0"/>
                        <a:pt x="15357" y="96"/>
                        <a:pt x="14965" y="288"/>
                      </a:cubicBezTo>
                      <a:cubicBezTo>
                        <a:pt x="14374" y="563"/>
                        <a:pt x="14031" y="1002"/>
                        <a:pt x="13932" y="1606"/>
                      </a:cubicBezTo>
                      <a:lnTo>
                        <a:pt x="12802" y="1441"/>
                      </a:lnTo>
                      <a:cubicBezTo>
                        <a:pt x="12408" y="1441"/>
                        <a:pt x="12155" y="1455"/>
                        <a:pt x="12040" y="1483"/>
                      </a:cubicBezTo>
                      <a:cubicBezTo>
                        <a:pt x="11777" y="1510"/>
                        <a:pt x="11589" y="1619"/>
                        <a:pt x="11474" y="1812"/>
                      </a:cubicBezTo>
                      <a:cubicBezTo>
                        <a:pt x="11458" y="1839"/>
                        <a:pt x="11385" y="2086"/>
                        <a:pt x="11253" y="2553"/>
                      </a:cubicBezTo>
                      <a:cubicBezTo>
                        <a:pt x="11139" y="2964"/>
                        <a:pt x="10975" y="3253"/>
                        <a:pt x="10762" y="3417"/>
                      </a:cubicBezTo>
                      <a:cubicBezTo>
                        <a:pt x="10516" y="3499"/>
                        <a:pt x="10344" y="3568"/>
                        <a:pt x="10245" y="3623"/>
                      </a:cubicBezTo>
                      <a:cubicBezTo>
                        <a:pt x="10050" y="3733"/>
                        <a:pt x="9951" y="3911"/>
                        <a:pt x="9951" y="4159"/>
                      </a:cubicBezTo>
                      <a:cubicBezTo>
                        <a:pt x="9869" y="5119"/>
                        <a:pt x="9754" y="5736"/>
                        <a:pt x="9607" y="6011"/>
                      </a:cubicBezTo>
                      <a:cubicBezTo>
                        <a:pt x="9607" y="5763"/>
                        <a:pt x="9566" y="5613"/>
                        <a:pt x="9484" y="5557"/>
                      </a:cubicBezTo>
                      <a:cubicBezTo>
                        <a:pt x="9451" y="5530"/>
                        <a:pt x="9345" y="5516"/>
                        <a:pt x="9164" y="5516"/>
                      </a:cubicBezTo>
                      <a:cubicBezTo>
                        <a:pt x="8902" y="5516"/>
                        <a:pt x="8542" y="5709"/>
                        <a:pt x="8084" y="6093"/>
                      </a:cubicBezTo>
                      <a:cubicBezTo>
                        <a:pt x="7625" y="6477"/>
                        <a:pt x="7395" y="6752"/>
                        <a:pt x="7395" y="6916"/>
                      </a:cubicBezTo>
                      <a:cubicBezTo>
                        <a:pt x="7395" y="7300"/>
                        <a:pt x="7559" y="7534"/>
                        <a:pt x="7887" y="7616"/>
                      </a:cubicBezTo>
                      <a:cubicBezTo>
                        <a:pt x="8263" y="7699"/>
                        <a:pt x="8501" y="7987"/>
                        <a:pt x="8599" y="8481"/>
                      </a:cubicBezTo>
                      <a:cubicBezTo>
                        <a:pt x="8321" y="8426"/>
                        <a:pt x="8075" y="8398"/>
                        <a:pt x="7862" y="8398"/>
                      </a:cubicBezTo>
                      <a:cubicBezTo>
                        <a:pt x="7453" y="8371"/>
                        <a:pt x="7141" y="8453"/>
                        <a:pt x="6928" y="8645"/>
                      </a:cubicBezTo>
                      <a:lnTo>
                        <a:pt x="6682" y="8645"/>
                      </a:lnTo>
                      <a:cubicBezTo>
                        <a:pt x="6748" y="8426"/>
                        <a:pt x="6781" y="8247"/>
                        <a:pt x="6781" y="8110"/>
                      </a:cubicBezTo>
                      <a:cubicBezTo>
                        <a:pt x="6781" y="7808"/>
                        <a:pt x="6674" y="7589"/>
                        <a:pt x="6461" y="7452"/>
                      </a:cubicBezTo>
                      <a:cubicBezTo>
                        <a:pt x="6183" y="7342"/>
                        <a:pt x="5970" y="7232"/>
                        <a:pt x="5822" y="7122"/>
                      </a:cubicBezTo>
                      <a:cubicBezTo>
                        <a:pt x="5789" y="7095"/>
                        <a:pt x="5576" y="6861"/>
                        <a:pt x="5183" y="6422"/>
                      </a:cubicBezTo>
                      <a:cubicBezTo>
                        <a:pt x="4987" y="6202"/>
                        <a:pt x="4749" y="6093"/>
                        <a:pt x="4470" y="6093"/>
                      </a:cubicBezTo>
                      <a:cubicBezTo>
                        <a:pt x="4323" y="6093"/>
                        <a:pt x="4258" y="6216"/>
                        <a:pt x="4274" y="6463"/>
                      </a:cubicBezTo>
                      <a:cubicBezTo>
                        <a:pt x="4307" y="6848"/>
                        <a:pt x="4298" y="7150"/>
                        <a:pt x="4249" y="7369"/>
                      </a:cubicBezTo>
                      <a:cubicBezTo>
                        <a:pt x="4184" y="7369"/>
                        <a:pt x="4053" y="7259"/>
                        <a:pt x="3856" y="7040"/>
                      </a:cubicBezTo>
                      <a:cubicBezTo>
                        <a:pt x="3644" y="6820"/>
                        <a:pt x="3521" y="6710"/>
                        <a:pt x="3487" y="6710"/>
                      </a:cubicBezTo>
                      <a:cubicBezTo>
                        <a:pt x="3389" y="6710"/>
                        <a:pt x="3275" y="6875"/>
                        <a:pt x="3143" y="7204"/>
                      </a:cubicBezTo>
                      <a:cubicBezTo>
                        <a:pt x="3013" y="7534"/>
                        <a:pt x="2914" y="7699"/>
                        <a:pt x="2849" y="7699"/>
                      </a:cubicBezTo>
                      <a:cubicBezTo>
                        <a:pt x="2652" y="7699"/>
                        <a:pt x="2521" y="7410"/>
                        <a:pt x="2455" y="6834"/>
                      </a:cubicBezTo>
                      <a:cubicBezTo>
                        <a:pt x="2390" y="6230"/>
                        <a:pt x="2202" y="5928"/>
                        <a:pt x="1890" y="5928"/>
                      </a:cubicBezTo>
                      <a:cubicBezTo>
                        <a:pt x="1727" y="5928"/>
                        <a:pt x="1587" y="6065"/>
                        <a:pt x="1472" y="6340"/>
                      </a:cubicBezTo>
                      <a:cubicBezTo>
                        <a:pt x="1374" y="6587"/>
                        <a:pt x="1325" y="6848"/>
                        <a:pt x="1325" y="7122"/>
                      </a:cubicBezTo>
                      <a:cubicBezTo>
                        <a:pt x="1325" y="7259"/>
                        <a:pt x="1358" y="7506"/>
                        <a:pt x="1423" y="7863"/>
                      </a:cubicBezTo>
                      <a:cubicBezTo>
                        <a:pt x="1423" y="8138"/>
                        <a:pt x="1423" y="8289"/>
                        <a:pt x="1423" y="8316"/>
                      </a:cubicBezTo>
                      <a:cubicBezTo>
                        <a:pt x="1391" y="8481"/>
                        <a:pt x="1309" y="8563"/>
                        <a:pt x="1177" y="8563"/>
                      </a:cubicBezTo>
                      <a:cubicBezTo>
                        <a:pt x="981" y="8563"/>
                        <a:pt x="874" y="8343"/>
                        <a:pt x="858" y="7904"/>
                      </a:cubicBezTo>
                      <a:cubicBezTo>
                        <a:pt x="841" y="7438"/>
                        <a:pt x="711" y="7204"/>
                        <a:pt x="465" y="7204"/>
                      </a:cubicBezTo>
                      <a:cubicBezTo>
                        <a:pt x="286" y="7324"/>
                        <a:pt x="136" y="7386"/>
                        <a:pt x="0" y="7418"/>
                      </a:cubicBezTo>
                      <a:lnTo>
                        <a:pt x="429" y="21334"/>
                      </a:lnTo>
                      <a:cubicBezTo>
                        <a:pt x="924" y="21120"/>
                        <a:pt x="1177" y="20681"/>
                        <a:pt x="1177" y="20008"/>
                      </a:cubicBezTo>
                      <a:cubicBezTo>
                        <a:pt x="1177" y="19706"/>
                        <a:pt x="1071" y="19404"/>
                        <a:pt x="858" y="19102"/>
                      </a:cubicBezTo>
                      <a:cubicBezTo>
                        <a:pt x="645" y="18773"/>
                        <a:pt x="538" y="18485"/>
                        <a:pt x="538" y="18238"/>
                      </a:cubicBezTo>
                      <a:cubicBezTo>
                        <a:pt x="538" y="17853"/>
                        <a:pt x="628" y="17662"/>
                        <a:pt x="809" y="17662"/>
                      </a:cubicBezTo>
                      <a:close/>
                      <a:moveTo>
                        <a:pt x="809" y="1766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39" name="AutoShape 113"/>
                <p:cNvSpPr>
                  <a:spLocks/>
                </p:cNvSpPr>
                <p:nvPr/>
              </p:nvSpPr>
              <p:spPr bwMode="auto">
                <a:xfrm>
                  <a:off x="6668187" y="696917"/>
                  <a:ext cx="18037" cy="14430"/>
                </a:xfrm>
                <a:custGeom>
                  <a:avLst/>
                  <a:gdLst/>
                  <a:ahLst/>
                  <a:cxnLst/>
                  <a:rect l="0" t="0" r="r" b="b"/>
                  <a:pathLst>
                    <a:path w="21600" h="21600">
                      <a:moveTo>
                        <a:pt x="2454" y="4500"/>
                      </a:moveTo>
                      <a:cubicBezTo>
                        <a:pt x="815" y="6898"/>
                        <a:pt x="0" y="9402"/>
                        <a:pt x="0" y="11999"/>
                      </a:cubicBezTo>
                      <a:cubicBezTo>
                        <a:pt x="0" y="15599"/>
                        <a:pt x="815" y="18199"/>
                        <a:pt x="2454" y="19800"/>
                      </a:cubicBezTo>
                      <a:cubicBezTo>
                        <a:pt x="3768" y="20999"/>
                        <a:pt x="5973" y="21600"/>
                        <a:pt x="9079" y="21600"/>
                      </a:cubicBezTo>
                      <a:cubicBezTo>
                        <a:pt x="11207" y="21600"/>
                        <a:pt x="13748" y="20800"/>
                        <a:pt x="16691" y="19199"/>
                      </a:cubicBezTo>
                      <a:cubicBezTo>
                        <a:pt x="19961" y="17399"/>
                        <a:pt x="21600" y="15400"/>
                        <a:pt x="21600" y="13201"/>
                      </a:cubicBezTo>
                      <a:cubicBezTo>
                        <a:pt x="21600" y="10999"/>
                        <a:pt x="20124" y="8299"/>
                        <a:pt x="17180" y="5101"/>
                      </a:cubicBezTo>
                      <a:cubicBezTo>
                        <a:pt x="14237" y="1700"/>
                        <a:pt x="11696" y="0"/>
                        <a:pt x="9568" y="0"/>
                      </a:cubicBezTo>
                      <a:cubicBezTo>
                        <a:pt x="6625" y="0"/>
                        <a:pt x="4257" y="1501"/>
                        <a:pt x="2454" y="4500"/>
                      </a:cubicBezTo>
                      <a:close/>
                      <a:moveTo>
                        <a:pt x="2454" y="45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0" name="AutoShape 114"/>
                <p:cNvSpPr>
                  <a:spLocks/>
                </p:cNvSpPr>
                <p:nvPr/>
              </p:nvSpPr>
              <p:spPr bwMode="auto">
                <a:xfrm>
                  <a:off x="6659942" y="626831"/>
                  <a:ext cx="16491" cy="20614"/>
                </a:xfrm>
                <a:custGeom>
                  <a:avLst/>
                  <a:gdLst/>
                  <a:ahLst/>
                  <a:cxnLst/>
                  <a:rect l="0" t="0" r="r" b="b"/>
                  <a:pathLst>
                    <a:path w="21600" h="21600">
                      <a:moveTo>
                        <a:pt x="17286" y="10375"/>
                      </a:moveTo>
                      <a:cubicBezTo>
                        <a:pt x="16021" y="9810"/>
                        <a:pt x="14945" y="9388"/>
                        <a:pt x="14038" y="9104"/>
                      </a:cubicBezTo>
                      <a:cubicBezTo>
                        <a:pt x="14038" y="8117"/>
                        <a:pt x="13321" y="5998"/>
                        <a:pt x="11886" y="2753"/>
                      </a:cubicBezTo>
                      <a:cubicBezTo>
                        <a:pt x="10979" y="917"/>
                        <a:pt x="9271" y="0"/>
                        <a:pt x="6750" y="0"/>
                      </a:cubicBezTo>
                      <a:cubicBezTo>
                        <a:pt x="2257" y="0"/>
                        <a:pt x="0" y="5364"/>
                        <a:pt x="0" y="16093"/>
                      </a:cubicBezTo>
                      <a:cubicBezTo>
                        <a:pt x="0" y="17929"/>
                        <a:pt x="907" y="19340"/>
                        <a:pt x="2700" y="20329"/>
                      </a:cubicBezTo>
                      <a:cubicBezTo>
                        <a:pt x="4145" y="21176"/>
                        <a:pt x="5759" y="21600"/>
                        <a:pt x="7562" y="21600"/>
                      </a:cubicBezTo>
                      <a:cubicBezTo>
                        <a:pt x="10441" y="21600"/>
                        <a:pt x="13500" y="20751"/>
                        <a:pt x="16738" y="19059"/>
                      </a:cubicBezTo>
                      <a:cubicBezTo>
                        <a:pt x="19986" y="17366"/>
                        <a:pt x="21600" y="15811"/>
                        <a:pt x="21600" y="14400"/>
                      </a:cubicBezTo>
                      <a:cubicBezTo>
                        <a:pt x="21600" y="13129"/>
                        <a:pt x="20166" y="11786"/>
                        <a:pt x="17286" y="10375"/>
                      </a:cubicBezTo>
                      <a:close/>
                      <a:moveTo>
                        <a:pt x="17286" y="1037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1" name="AutoShape 115"/>
                <p:cNvSpPr>
                  <a:spLocks/>
                </p:cNvSpPr>
                <p:nvPr/>
              </p:nvSpPr>
              <p:spPr bwMode="auto">
                <a:xfrm>
                  <a:off x="6680556" y="787618"/>
                  <a:ext cx="106160" cy="61841"/>
                </a:xfrm>
                <a:custGeom>
                  <a:avLst/>
                  <a:gdLst/>
                  <a:ahLst/>
                  <a:cxnLst/>
                  <a:rect l="0" t="0" r="r" b="b"/>
                  <a:pathLst>
                    <a:path w="21600" h="21600">
                      <a:moveTo>
                        <a:pt x="2799" y="1002"/>
                      </a:moveTo>
                      <a:lnTo>
                        <a:pt x="1379" y="429"/>
                      </a:lnTo>
                      <a:cubicBezTo>
                        <a:pt x="1072" y="429"/>
                        <a:pt x="765" y="739"/>
                        <a:pt x="459" y="1360"/>
                      </a:cubicBezTo>
                      <a:cubicBezTo>
                        <a:pt x="153" y="1979"/>
                        <a:pt x="0" y="2599"/>
                        <a:pt x="0" y="3219"/>
                      </a:cubicBezTo>
                      <a:cubicBezTo>
                        <a:pt x="0" y="3599"/>
                        <a:pt x="83" y="4125"/>
                        <a:pt x="250" y="4792"/>
                      </a:cubicBezTo>
                      <a:cubicBezTo>
                        <a:pt x="390" y="5459"/>
                        <a:pt x="459" y="5936"/>
                        <a:pt x="459" y="6222"/>
                      </a:cubicBezTo>
                      <a:lnTo>
                        <a:pt x="250" y="8797"/>
                      </a:lnTo>
                      <a:cubicBezTo>
                        <a:pt x="250" y="9655"/>
                        <a:pt x="725" y="10442"/>
                        <a:pt x="1671" y="11158"/>
                      </a:cubicBezTo>
                      <a:cubicBezTo>
                        <a:pt x="1921" y="11348"/>
                        <a:pt x="2172" y="11539"/>
                        <a:pt x="2424" y="11730"/>
                      </a:cubicBezTo>
                      <a:cubicBezTo>
                        <a:pt x="2673" y="11873"/>
                        <a:pt x="2925" y="12016"/>
                        <a:pt x="3174" y="12158"/>
                      </a:cubicBezTo>
                      <a:cubicBezTo>
                        <a:pt x="3398" y="12492"/>
                        <a:pt x="3690" y="13541"/>
                        <a:pt x="4052" y="15306"/>
                      </a:cubicBezTo>
                      <a:cubicBezTo>
                        <a:pt x="4304" y="16546"/>
                        <a:pt x="4568" y="17380"/>
                        <a:pt x="4846" y="17809"/>
                      </a:cubicBezTo>
                      <a:cubicBezTo>
                        <a:pt x="4958" y="18000"/>
                        <a:pt x="5084" y="18119"/>
                        <a:pt x="5223" y="18167"/>
                      </a:cubicBezTo>
                      <a:cubicBezTo>
                        <a:pt x="5389" y="18548"/>
                        <a:pt x="5668" y="19072"/>
                        <a:pt x="6058" y="19741"/>
                      </a:cubicBezTo>
                      <a:cubicBezTo>
                        <a:pt x="6755" y="20980"/>
                        <a:pt x="7269" y="21600"/>
                        <a:pt x="7604" y="21600"/>
                      </a:cubicBezTo>
                      <a:cubicBezTo>
                        <a:pt x="9053" y="21600"/>
                        <a:pt x="10473" y="20598"/>
                        <a:pt x="11865" y="18596"/>
                      </a:cubicBezTo>
                      <a:cubicBezTo>
                        <a:pt x="13231" y="16593"/>
                        <a:pt x="15111" y="15592"/>
                        <a:pt x="17505" y="15592"/>
                      </a:cubicBezTo>
                      <a:cubicBezTo>
                        <a:pt x="20236" y="15592"/>
                        <a:pt x="21600" y="14948"/>
                        <a:pt x="21600" y="13661"/>
                      </a:cubicBezTo>
                      <a:cubicBezTo>
                        <a:pt x="21600" y="12278"/>
                        <a:pt x="21112" y="10895"/>
                        <a:pt x="20138" y="9512"/>
                      </a:cubicBezTo>
                      <a:cubicBezTo>
                        <a:pt x="18829" y="7939"/>
                        <a:pt x="17840" y="6627"/>
                        <a:pt x="17171" y="5578"/>
                      </a:cubicBezTo>
                      <a:cubicBezTo>
                        <a:pt x="16531" y="4578"/>
                        <a:pt x="15960" y="3743"/>
                        <a:pt x="15459" y="3075"/>
                      </a:cubicBezTo>
                      <a:cubicBezTo>
                        <a:pt x="15069" y="2599"/>
                        <a:pt x="14721" y="2218"/>
                        <a:pt x="14414" y="1931"/>
                      </a:cubicBezTo>
                      <a:cubicBezTo>
                        <a:pt x="13858" y="1360"/>
                        <a:pt x="13118" y="882"/>
                        <a:pt x="12199" y="500"/>
                      </a:cubicBezTo>
                      <a:cubicBezTo>
                        <a:pt x="11447" y="167"/>
                        <a:pt x="10863" y="0"/>
                        <a:pt x="10445" y="0"/>
                      </a:cubicBezTo>
                      <a:cubicBezTo>
                        <a:pt x="9889" y="0"/>
                        <a:pt x="9358" y="310"/>
                        <a:pt x="8857" y="930"/>
                      </a:cubicBezTo>
                      <a:cubicBezTo>
                        <a:pt x="8328" y="1502"/>
                        <a:pt x="7938" y="1788"/>
                        <a:pt x="7687" y="1788"/>
                      </a:cubicBezTo>
                      <a:cubicBezTo>
                        <a:pt x="6685" y="1597"/>
                        <a:pt x="5724" y="1502"/>
                        <a:pt x="4805" y="1502"/>
                      </a:cubicBezTo>
                      <a:cubicBezTo>
                        <a:pt x="4470" y="1502"/>
                        <a:pt x="3801" y="1336"/>
                        <a:pt x="2799" y="1002"/>
                      </a:cubicBezTo>
                      <a:close/>
                      <a:moveTo>
                        <a:pt x="2799" y="1002"/>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2" name="AutoShape 116"/>
                <p:cNvSpPr>
                  <a:spLocks/>
                </p:cNvSpPr>
                <p:nvPr/>
              </p:nvSpPr>
              <p:spPr bwMode="auto">
                <a:xfrm>
                  <a:off x="6519770" y="1063841"/>
                  <a:ext cx="246333" cy="443194"/>
                </a:xfrm>
                <a:custGeom>
                  <a:avLst/>
                  <a:gdLst/>
                  <a:ahLst/>
                  <a:cxnLst/>
                  <a:rect l="0" t="0" r="r" b="b"/>
                  <a:pathLst>
                    <a:path w="21600" h="21600">
                      <a:moveTo>
                        <a:pt x="1861" y="13763"/>
                      </a:moveTo>
                      <a:lnTo>
                        <a:pt x="2403" y="13873"/>
                      </a:lnTo>
                      <a:cubicBezTo>
                        <a:pt x="2439" y="13873"/>
                        <a:pt x="2583" y="13830"/>
                        <a:pt x="2836" y="13743"/>
                      </a:cubicBezTo>
                      <a:cubicBezTo>
                        <a:pt x="3089" y="13649"/>
                        <a:pt x="3282" y="13602"/>
                        <a:pt x="3414" y="13602"/>
                      </a:cubicBezTo>
                      <a:cubicBezTo>
                        <a:pt x="3570" y="13602"/>
                        <a:pt x="3919" y="13693"/>
                        <a:pt x="4461" y="13873"/>
                      </a:cubicBezTo>
                      <a:cubicBezTo>
                        <a:pt x="4907" y="14021"/>
                        <a:pt x="5232" y="14141"/>
                        <a:pt x="5437" y="14235"/>
                      </a:cubicBezTo>
                      <a:cubicBezTo>
                        <a:pt x="5545" y="14282"/>
                        <a:pt x="5870" y="14459"/>
                        <a:pt x="6412" y="14767"/>
                      </a:cubicBezTo>
                      <a:cubicBezTo>
                        <a:pt x="6954" y="15061"/>
                        <a:pt x="7333" y="15208"/>
                        <a:pt x="7550" y="15208"/>
                      </a:cubicBezTo>
                      <a:cubicBezTo>
                        <a:pt x="8669" y="15208"/>
                        <a:pt x="9572" y="14907"/>
                        <a:pt x="10259" y="14305"/>
                      </a:cubicBezTo>
                      <a:cubicBezTo>
                        <a:pt x="11150" y="13187"/>
                        <a:pt x="11595" y="12542"/>
                        <a:pt x="11595" y="12368"/>
                      </a:cubicBezTo>
                      <a:cubicBezTo>
                        <a:pt x="11595" y="12100"/>
                        <a:pt x="11282" y="11909"/>
                        <a:pt x="10656" y="11795"/>
                      </a:cubicBezTo>
                      <a:cubicBezTo>
                        <a:pt x="10018" y="11682"/>
                        <a:pt x="9698" y="11538"/>
                        <a:pt x="9698" y="11364"/>
                      </a:cubicBezTo>
                      <a:cubicBezTo>
                        <a:pt x="9698" y="11123"/>
                        <a:pt x="10000" y="11002"/>
                        <a:pt x="10601" y="11002"/>
                      </a:cubicBezTo>
                      <a:lnTo>
                        <a:pt x="11468" y="11063"/>
                      </a:lnTo>
                      <a:lnTo>
                        <a:pt x="12733" y="10721"/>
                      </a:lnTo>
                      <a:cubicBezTo>
                        <a:pt x="12998" y="10721"/>
                        <a:pt x="13160" y="10835"/>
                        <a:pt x="13220" y="11063"/>
                      </a:cubicBezTo>
                      <a:cubicBezTo>
                        <a:pt x="13256" y="11190"/>
                        <a:pt x="13293" y="11370"/>
                        <a:pt x="13329" y="11605"/>
                      </a:cubicBezTo>
                      <a:cubicBezTo>
                        <a:pt x="13425" y="11792"/>
                        <a:pt x="13894" y="11879"/>
                        <a:pt x="14737" y="11866"/>
                      </a:cubicBezTo>
                      <a:cubicBezTo>
                        <a:pt x="14978" y="11866"/>
                        <a:pt x="15116" y="11795"/>
                        <a:pt x="15152" y="11655"/>
                      </a:cubicBezTo>
                      <a:cubicBezTo>
                        <a:pt x="15213" y="11407"/>
                        <a:pt x="15285" y="11240"/>
                        <a:pt x="15370" y="11153"/>
                      </a:cubicBezTo>
                      <a:cubicBezTo>
                        <a:pt x="15465" y="11160"/>
                        <a:pt x="15682" y="11247"/>
                        <a:pt x="16019" y="11414"/>
                      </a:cubicBezTo>
                      <a:cubicBezTo>
                        <a:pt x="16332" y="11568"/>
                        <a:pt x="16591" y="11645"/>
                        <a:pt x="16796" y="11645"/>
                      </a:cubicBezTo>
                      <a:lnTo>
                        <a:pt x="17085" y="11625"/>
                      </a:lnTo>
                      <a:cubicBezTo>
                        <a:pt x="16989" y="11404"/>
                        <a:pt x="16718" y="11119"/>
                        <a:pt x="16272" y="10771"/>
                      </a:cubicBezTo>
                      <a:cubicBezTo>
                        <a:pt x="15851" y="10457"/>
                        <a:pt x="15640" y="10283"/>
                        <a:pt x="15640" y="10249"/>
                      </a:cubicBezTo>
                      <a:lnTo>
                        <a:pt x="15640" y="10159"/>
                      </a:lnTo>
                      <a:cubicBezTo>
                        <a:pt x="15652" y="10119"/>
                        <a:pt x="15707" y="10099"/>
                        <a:pt x="15803" y="10099"/>
                      </a:cubicBezTo>
                      <a:cubicBezTo>
                        <a:pt x="15839" y="10099"/>
                        <a:pt x="16158" y="10233"/>
                        <a:pt x="16760" y="10500"/>
                      </a:cubicBezTo>
                      <a:cubicBezTo>
                        <a:pt x="17362" y="10768"/>
                        <a:pt x="17801" y="10902"/>
                        <a:pt x="18078" y="10902"/>
                      </a:cubicBezTo>
                      <a:cubicBezTo>
                        <a:pt x="18319" y="10902"/>
                        <a:pt x="18493" y="10848"/>
                        <a:pt x="18602" y="10741"/>
                      </a:cubicBezTo>
                      <a:cubicBezTo>
                        <a:pt x="18770" y="10547"/>
                        <a:pt x="18861" y="10433"/>
                        <a:pt x="18873" y="10400"/>
                      </a:cubicBezTo>
                      <a:cubicBezTo>
                        <a:pt x="19367" y="10233"/>
                        <a:pt x="19818" y="9875"/>
                        <a:pt x="20227" y="9326"/>
                      </a:cubicBezTo>
                      <a:cubicBezTo>
                        <a:pt x="20227" y="8965"/>
                        <a:pt x="20456" y="8673"/>
                        <a:pt x="20914" y="8453"/>
                      </a:cubicBezTo>
                      <a:cubicBezTo>
                        <a:pt x="21371" y="8225"/>
                        <a:pt x="21600" y="8041"/>
                        <a:pt x="21600" y="7901"/>
                      </a:cubicBezTo>
                      <a:cubicBezTo>
                        <a:pt x="21600" y="7867"/>
                        <a:pt x="21539" y="7807"/>
                        <a:pt x="21419" y="7720"/>
                      </a:cubicBezTo>
                      <a:cubicBezTo>
                        <a:pt x="21287" y="7633"/>
                        <a:pt x="21220" y="7559"/>
                        <a:pt x="21220" y="7499"/>
                      </a:cubicBezTo>
                      <a:cubicBezTo>
                        <a:pt x="21329" y="7312"/>
                        <a:pt x="21383" y="7188"/>
                        <a:pt x="21383" y="7127"/>
                      </a:cubicBezTo>
                      <a:cubicBezTo>
                        <a:pt x="21383" y="6900"/>
                        <a:pt x="20980" y="6622"/>
                        <a:pt x="20173" y="6294"/>
                      </a:cubicBezTo>
                      <a:cubicBezTo>
                        <a:pt x="19367" y="5966"/>
                        <a:pt x="18963" y="5682"/>
                        <a:pt x="18963" y="5441"/>
                      </a:cubicBezTo>
                      <a:lnTo>
                        <a:pt x="18927" y="4788"/>
                      </a:lnTo>
                      <a:cubicBezTo>
                        <a:pt x="18891" y="4795"/>
                        <a:pt x="18813" y="4829"/>
                        <a:pt x="18692" y="4889"/>
                      </a:cubicBezTo>
                      <a:cubicBezTo>
                        <a:pt x="18572" y="4962"/>
                        <a:pt x="18476" y="5006"/>
                        <a:pt x="18403" y="5019"/>
                      </a:cubicBezTo>
                      <a:cubicBezTo>
                        <a:pt x="18006" y="4711"/>
                        <a:pt x="17675" y="4373"/>
                        <a:pt x="17410" y="4005"/>
                      </a:cubicBezTo>
                      <a:lnTo>
                        <a:pt x="17446" y="4005"/>
                      </a:lnTo>
                      <a:cubicBezTo>
                        <a:pt x="17590" y="4032"/>
                        <a:pt x="17717" y="4046"/>
                        <a:pt x="17825" y="4046"/>
                      </a:cubicBezTo>
                      <a:cubicBezTo>
                        <a:pt x="17898" y="4046"/>
                        <a:pt x="17982" y="4032"/>
                        <a:pt x="18078" y="4005"/>
                      </a:cubicBezTo>
                      <a:cubicBezTo>
                        <a:pt x="18174" y="3979"/>
                        <a:pt x="18253" y="3965"/>
                        <a:pt x="18313" y="3965"/>
                      </a:cubicBezTo>
                      <a:cubicBezTo>
                        <a:pt x="18397" y="3965"/>
                        <a:pt x="18488" y="4009"/>
                        <a:pt x="18584" y="4096"/>
                      </a:cubicBezTo>
                      <a:cubicBezTo>
                        <a:pt x="18704" y="4189"/>
                        <a:pt x="18806" y="4243"/>
                        <a:pt x="18891" y="4256"/>
                      </a:cubicBezTo>
                      <a:cubicBezTo>
                        <a:pt x="18951" y="4176"/>
                        <a:pt x="19162" y="4009"/>
                        <a:pt x="19523" y="3754"/>
                      </a:cubicBezTo>
                      <a:cubicBezTo>
                        <a:pt x="19788" y="3560"/>
                        <a:pt x="19920" y="3340"/>
                        <a:pt x="19920" y="3092"/>
                      </a:cubicBezTo>
                      <a:cubicBezTo>
                        <a:pt x="19920" y="3025"/>
                        <a:pt x="19848" y="2951"/>
                        <a:pt x="19704" y="2871"/>
                      </a:cubicBezTo>
                      <a:cubicBezTo>
                        <a:pt x="19583" y="2804"/>
                        <a:pt x="19499" y="2771"/>
                        <a:pt x="19451" y="2771"/>
                      </a:cubicBezTo>
                      <a:lnTo>
                        <a:pt x="18782" y="2811"/>
                      </a:lnTo>
                      <a:cubicBezTo>
                        <a:pt x="18481" y="2811"/>
                        <a:pt x="18331" y="2774"/>
                        <a:pt x="18331" y="2701"/>
                      </a:cubicBezTo>
                      <a:cubicBezTo>
                        <a:pt x="18331" y="2687"/>
                        <a:pt x="18464" y="2600"/>
                        <a:pt x="18728" y="2439"/>
                      </a:cubicBezTo>
                      <a:cubicBezTo>
                        <a:pt x="18981" y="2245"/>
                        <a:pt x="19108" y="2055"/>
                        <a:pt x="19108" y="1867"/>
                      </a:cubicBezTo>
                      <a:cubicBezTo>
                        <a:pt x="19108" y="1727"/>
                        <a:pt x="18951" y="1620"/>
                        <a:pt x="18638" y="1546"/>
                      </a:cubicBezTo>
                      <a:cubicBezTo>
                        <a:pt x="18421" y="1493"/>
                        <a:pt x="18174" y="1466"/>
                        <a:pt x="17898" y="1466"/>
                      </a:cubicBezTo>
                      <a:cubicBezTo>
                        <a:pt x="17669" y="1506"/>
                        <a:pt x="17470" y="1526"/>
                        <a:pt x="17302" y="1526"/>
                      </a:cubicBezTo>
                      <a:cubicBezTo>
                        <a:pt x="17097" y="1526"/>
                        <a:pt x="16971" y="1493"/>
                        <a:pt x="16922" y="1426"/>
                      </a:cubicBezTo>
                      <a:cubicBezTo>
                        <a:pt x="16850" y="1325"/>
                        <a:pt x="16802" y="1268"/>
                        <a:pt x="16778" y="1255"/>
                      </a:cubicBezTo>
                      <a:cubicBezTo>
                        <a:pt x="16718" y="1228"/>
                        <a:pt x="16543" y="1171"/>
                        <a:pt x="16254" y="1084"/>
                      </a:cubicBezTo>
                      <a:cubicBezTo>
                        <a:pt x="16110" y="1037"/>
                        <a:pt x="16038" y="974"/>
                        <a:pt x="16038" y="894"/>
                      </a:cubicBezTo>
                      <a:cubicBezTo>
                        <a:pt x="16206" y="679"/>
                        <a:pt x="16290" y="525"/>
                        <a:pt x="16290" y="432"/>
                      </a:cubicBezTo>
                      <a:cubicBezTo>
                        <a:pt x="16218" y="238"/>
                        <a:pt x="16134" y="141"/>
                        <a:pt x="16038" y="141"/>
                      </a:cubicBezTo>
                      <a:cubicBezTo>
                        <a:pt x="15905" y="141"/>
                        <a:pt x="15574" y="181"/>
                        <a:pt x="15044" y="261"/>
                      </a:cubicBezTo>
                      <a:cubicBezTo>
                        <a:pt x="14527" y="335"/>
                        <a:pt x="14196" y="372"/>
                        <a:pt x="14051" y="372"/>
                      </a:cubicBezTo>
                      <a:cubicBezTo>
                        <a:pt x="13533" y="372"/>
                        <a:pt x="13046" y="311"/>
                        <a:pt x="12588" y="191"/>
                      </a:cubicBezTo>
                      <a:cubicBezTo>
                        <a:pt x="12131" y="64"/>
                        <a:pt x="11763" y="0"/>
                        <a:pt x="11487" y="0"/>
                      </a:cubicBezTo>
                      <a:cubicBezTo>
                        <a:pt x="11390" y="0"/>
                        <a:pt x="11222" y="37"/>
                        <a:pt x="10981" y="111"/>
                      </a:cubicBezTo>
                      <a:cubicBezTo>
                        <a:pt x="10752" y="184"/>
                        <a:pt x="10620" y="224"/>
                        <a:pt x="10584" y="231"/>
                      </a:cubicBezTo>
                      <a:cubicBezTo>
                        <a:pt x="10295" y="244"/>
                        <a:pt x="10114" y="251"/>
                        <a:pt x="10042" y="251"/>
                      </a:cubicBezTo>
                      <a:cubicBezTo>
                        <a:pt x="9933" y="258"/>
                        <a:pt x="9879" y="311"/>
                        <a:pt x="9879" y="412"/>
                      </a:cubicBezTo>
                      <a:cubicBezTo>
                        <a:pt x="9879" y="445"/>
                        <a:pt x="9903" y="482"/>
                        <a:pt x="9952" y="522"/>
                      </a:cubicBezTo>
                      <a:cubicBezTo>
                        <a:pt x="9952" y="616"/>
                        <a:pt x="9976" y="713"/>
                        <a:pt x="10024" y="813"/>
                      </a:cubicBezTo>
                      <a:cubicBezTo>
                        <a:pt x="10060" y="920"/>
                        <a:pt x="10078" y="1037"/>
                        <a:pt x="10078" y="1165"/>
                      </a:cubicBezTo>
                      <a:cubicBezTo>
                        <a:pt x="10078" y="1352"/>
                        <a:pt x="10060" y="1556"/>
                        <a:pt x="10024" y="1777"/>
                      </a:cubicBezTo>
                      <a:cubicBezTo>
                        <a:pt x="10048" y="1924"/>
                        <a:pt x="10247" y="2092"/>
                        <a:pt x="10620" y="2279"/>
                      </a:cubicBezTo>
                      <a:cubicBezTo>
                        <a:pt x="10812" y="2373"/>
                        <a:pt x="11107" y="2443"/>
                        <a:pt x="11504" y="2490"/>
                      </a:cubicBezTo>
                      <a:cubicBezTo>
                        <a:pt x="11830" y="2530"/>
                        <a:pt x="12034" y="2597"/>
                        <a:pt x="12119" y="2690"/>
                      </a:cubicBezTo>
                      <a:cubicBezTo>
                        <a:pt x="11950" y="2731"/>
                        <a:pt x="11794" y="2787"/>
                        <a:pt x="11649" y="2861"/>
                      </a:cubicBezTo>
                      <a:cubicBezTo>
                        <a:pt x="11432" y="2968"/>
                        <a:pt x="11324" y="3075"/>
                        <a:pt x="11324" y="3182"/>
                      </a:cubicBezTo>
                      <a:cubicBezTo>
                        <a:pt x="11324" y="3309"/>
                        <a:pt x="11426" y="3390"/>
                        <a:pt x="11631" y="3423"/>
                      </a:cubicBezTo>
                      <a:cubicBezTo>
                        <a:pt x="12041" y="3477"/>
                        <a:pt x="12251" y="3507"/>
                        <a:pt x="12263" y="3514"/>
                      </a:cubicBezTo>
                      <a:cubicBezTo>
                        <a:pt x="12034" y="3634"/>
                        <a:pt x="11589" y="3758"/>
                        <a:pt x="10927" y="3885"/>
                      </a:cubicBezTo>
                      <a:cubicBezTo>
                        <a:pt x="10481" y="3965"/>
                        <a:pt x="10259" y="4106"/>
                        <a:pt x="10259" y="4307"/>
                      </a:cubicBezTo>
                      <a:cubicBezTo>
                        <a:pt x="10259" y="5110"/>
                        <a:pt x="10090" y="5725"/>
                        <a:pt x="9753" y="6154"/>
                      </a:cubicBezTo>
                      <a:cubicBezTo>
                        <a:pt x="9416" y="6582"/>
                        <a:pt x="9247" y="6860"/>
                        <a:pt x="9247" y="6987"/>
                      </a:cubicBezTo>
                      <a:cubicBezTo>
                        <a:pt x="9247" y="7041"/>
                        <a:pt x="9271" y="7097"/>
                        <a:pt x="9320" y="7158"/>
                      </a:cubicBezTo>
                      <a:cubicBezTo>
                        <a:pt x="9356" y="7225"/>
                        <a:pt x="9373" y="7308"/>
                        <a:pt x="9373" y="7409"/>
                      </a:cubicBezTo>
                      <a:cubicBezTo>
                        <a:pt x="9373" y="7462"/>
                        <a:pt x="9332" y="7596"/>
                        <a:pt x="9247" y="7810"/>
                      </a:cubicBezTo>
                      <a:cubicBezTo>
                        <a:pt x="9247" y="7844"/>
                        <a:pt x="9277" y="7991"/>
                        <a:pt x="9337" y="8252"/>
                      </a:cubicBezTo>
                      <a:cubicBezTo>
                        <a:pt x="8940" y="8151"/>
                        <a:pt x="8609" y="8195"/>
                        <a:pt x="8344" y="8382"/>
                      </a:cubicBezTo>
                      <a:cubicBezTo>
                        <a:pt x="8139" y="8523"/>
                        <a:pt x="8001" y="8720"/>
                        <a:pt x="7928" y="8975"/>
                      </a:cubicBezTo>
                      <a:cubicBezTo>
                        <a:pt x="7531" y="8667"/>
                        <a:pt x="6640" y="8115"/>
                        <a:pt x="5256" y="7318"/>
                      </a:cubicBezTo>
                      <a:cubicBezTo>
                        <a:pt x="4834" y="7077"/>
                        <a:pt x="4624" y="6582"/>
                        <a:pt x="4624" y="5833"/>
                      </a:cubicBezTo>
                      <a:cubicBezTo>
                        <a:pt x="4624" y="5759"/>
                        <a:pt x="4648" y="5685"/>
                        <a:pt x="4696" y="5612"/>
                      </a:cubicBezTo>
                      <a:cubicBezTo>
                        <a:pt x="4744" y="5525"/>
                        <a:pt x="4805" y="5478"/>
                        <a:pt x="4877" y="5471"/>
                      </a:cubicBezTo>
                      <a:cubicBezTo>
                        <a:pt x="4937" y="5638"/>
                        <a:pt x="5129" y="5722"/>
                        <a:pt x="5454" y="5722"/>
                      </a:cubicBezTo>
                      <a:cubicBezTo>
                        <a:pt x="5599" y="5722"/>
                        <a:pt x="5720" y="5685"/>
                        <a:pt x="5816" y="5612"/>
                      </a:cubicBezTo>
                      <a:cubicBezTo>
                        <a:pt x="5912" y="5538"/>
                        <a:pt x="5960" y="5451"/>
                        <a:pt x="5960" y="5351"/>
                      </a:cubicBezTo>
                      <a:cubicBezTo>
                        <a:pt x="5960" y="5230"/>
                        <a:pt x="5792" y="4936"/>
                        <a:pt x="5454" y="4467"/>
                      </a:cubicBezTo>
                      <a:cubicBezTo>
                        <a:pt x="5129" y="4005"/>
                        <a:pt x="4901" y="3728"/>
                        <a:pt x="4768" y="3634"/>
                      </a:cubicBezTo>
                      <a:cubicBezTo>
                        <a:pt x="4612" y="3527"/>
                        <a:pt x="4347" y="3397"/>
                        <a:pt x="3974" y="3243"/>
                      </a:cubicBezTo>
                      <a:cubicBezTo>
                        <a:pt x="3613" y="3095"/>
                        <a:pt x="3384" y="2985"/>
                        <a:pt x="3287" y="2911"/>
                      </a:cubicBezTo>
                      <a:cubicBezTo>
                        <a:pt x="3155" y="2757"/>
                        <a:pt x="3035" y="2634"/>
                        <a:pt x="2926" y="2540"/>
                      </a:cubicBezTo>
                      <a:cubicBezTo>
                        <a:pt x="2722" y="2366"/>
                        <a:pt x="2511" y="2279"/>
                        <a:pt x="2294" y="2279"/>
                      </a:cubicBezTo>
                      <a:cubicBezTo>
                        <a:pt x="1885" y="2279"/>
                        <a:pt x="1560" y="2463"/>
                        <a:pt x="1319" y="2831"/>
                      </a:cubicBezTo>
                      <a:cubicBezTo>
                        <a:pt x="1283" y="2884"/>
                        <a:pt x="1187" y="3112"/>
                        <a:pt x="1030" y="3514"/>
                      </a:cubicBezTo>
                      <a:cubicBezTo>
                        <a:pt x="1030" y="3781"/>
                        <a:pt x="994" y="3995"/>
                        <a:pt x="922" y="4156"/>
                      </a:cubicBezTo>
                      <a:cubicBezTo>
                        <a:pt x="885" y="4223"/>
                        <a:pt x="813" y="4333"/>
                        <a:pt x="705" y="4487"/>
                      </a:cubicBezTo>
                      <a:cubicBezTo>
                        <a:pt x="621" y="4635"/>
                        <a:pt x="578" y="4742"/>
                        <a:pt x="578" y="4809"/>
                      </a:cubicBezTo>
                      <a:cubicBezTo>
                        <a:pt x="578" y="5003"/>
                        <a:pt x="542" y="5130"/>
                        <a:pt x="471" y="5190"/>
                      </a:cubicBezTo>
                      <a:cubicBezTo>
                        <a:pt x="326" y="5324"/>
                        <a:pt x="200" y="5481"/>
                        <a:pt x="91" y="5662"/>
                      </a:cubicBezTo>
                      <a:cubicBezTo>
                        <a:pt x="58" y="5645"/>
                        <a:pt x="30" y="5625"/>
                        <a:pt x="0" y="5606"/>
                      </a:cubicBezTo>
                      <a:lnTo>
                        <a:pt x="1487" y="21600"/>
                      </a:lnTo>
                      <a:cubicBezTo>
                        <a:pt x="1608" y="21592"/>
                        <a:pt x="1798" y="21521"/>
                        <a:pt x="2059" y="21382"/>
                      </a:cubicBezTo>
                      <a:cubicBezTo>
                        <a:pt x="2264" y="21269"/>
                        <a:pt x="2396" y="21178"/>
                        <a:pt x="2457" y="21111"/>
                      </a:cubicBezTo>
                      <a:cubicBezTo>
                        <a:pt x="2469" y="21091"/>
                        <a:pt x="2481" y="21074"/>
                        <a:pt x="2493" y="21061"/>
                      </a:cubicBezTo>
                      <a:cubicBezTo>
                        <a:pt x="2577" y="20981"/>
                        <a:pt x="2667" y="20900"/>
                        <a:pt x="2764" y="20820"/>
                      </a:cubicBezTo>
                      <a:cubicBezTo>
                        <a:pt x="2776" y="20813"/>
                        <a:pt x="2788" y="20807"/>
                        <a:pt x="2800" y="20800"/>
                      </a:cubicBezTo>
                      <a:cubicBezTo>
                        <a:pt x="2836" y="20753"/>
                        <a:pt x="2854" y="20703"/>
                        <a:pt x="2854" y="20649"/>
                      </a:cubicBezTo>
                      <a:cubicBezTo>
                        <a:pt x="2854" y="20589"/>
                        <a:pt x="2806" y="20519"/>
                        <a:pt x="2710" y="20439"/>
                      </a:cubicBezTo>
                      <a:cubicBezTo>
                        <a:pt x="2601" y="20358"/>
                        <a:pt x="2547" y="20305"/>
                        <a:pt x="2547" y="20278"/>
                      </a:cubicBezTo>
                      <a:cubicBezTo>
                        <a:pt x="2547" y="20211"/>
                        <a:pt x="2619" y="20168"/>
                        <a:pt x="2764" y="20148"/>
                      </a:cubicBezTo>
                      <a:cubicBezTo>
                        <a:pt x="2933" y="20121"/>
                        <a:pt x="3035" y="20067"/>
                        <a:pt x="3071" y="19987"/>
                      </a:cubicBezTo>
                      <a:cubicBezTo>
                        <a:pt x="3083" y="19893"/>
                        <a:pt x="3101" y="19813"/>
                        <a:pt x="3125" y="19746"/>
                      </a:cubicBezTo>
                      <a:cubicBezTo>
                        <a:pt x="3185" y="19619"/>
                        <a:pt x="3282" y="19555"/>
                        <a:pt x="3414" y="19555"/>
                      </a:cubicBezTo>
                      <a:cubicBezTo>
                        <a:pt x="3558" y="19555"/>
                        <a:pt x="4022" y="19666"/>
                        <a:pt x="4805" y="19887"/>
                      </a:cubicBezTo>
                      <a:cubicBezTo>
                        <a:pt x="4925" y="19887"/>
                        <a:pt x="5039" y="19860"/>
                        <a:pt x="5148" y="19806"/>
                      </a:cubicBezTo>
                      <a:cubicBezTo>
                        <a:pt x="5196" y="19806"/>
                        <a:pt x="5292" y="19823"/>
                        <a:pt x="5437" y="19856"/>
                      </a:cubicBezTo>
                      <a:cubicBezTo>
                        <a:pt x="5569" y="19890"/>
                        <a:pt x="5701" y="19907"/>
                        <a:pt x="5834" y="19907"/>
                      </a:cubicBezTo>
                      <a:cubicBezTo>
                        <a:pt x="6412" y="19907"/>
                        <a:pt x="6972" y="19692"/>
                        <a:pt x="7514" y="19264"/>
                      </a:cubicBezTo>
                      <a:cubicBezTo>
                        <a:pt x="7959" y="18916"/>
                        <a:pt x="8218" y="18608"/>
                        <a:pt x="8290" y="18341"/>
                      </a:cubicBezTo>
                      <a:cubicBezTo>
                        <a:pt x="8350" y="18126"/>
                        <a:pt x="8573" y="17909"/>
                        <a:pt x="8958" y="17688"/>
                      </a:cubicBezTo>
                      <a:cubicBezTo>
                        <a:pt x="9308" y="17487"/>
                        <a:pt x="9482" y="17243"/>
                        <a:pt x="9482" y="16955"/>
                      </a:cubicBezTo>
                      <a:cubicBezTo>
                        <a:pt x="9482" y="16875"/>
                        <a:pt x="9591" y="16681"/>
                        <a:pt x="9807" y="16373"/>
                      </a:cubicBezTo>
                      <a:cubicBezTo>
                        <a:pt x="10012" y="16065"/>
                        <a:pt x="10114" y="15891"/>
                        <a:pt x="10114" y="15851"/>
                      </a:cubicBezTo>
                      <a:cubicBezTo>
                        <a:pt x="10114" y="15637"/>
                        <a:pt x="9915" y="15513"/>
                        <a:pt x="9518" y="15480"/>
                      </a:cubicBezTo>
                      <a:cubicBezTo>
                        <a:pt x="8976" y="15480"/>
                        <a:pt x="8549" y="15480"/>
                        <a:pt x="8236" y="15480"/>
                      </a:cubicBezTo>
                      <a:lnTo>
                        <a:pt x="5473" y="15540"/>
                      </a:lnTo>
                      <a:cubicBezTo>
                        <a:pt x="5064" y="15540"/>
                        <a:pt x="4786" y="15473"/>
                        <a:pt x="4642" y="15339"/>
                      </a:cubicBezTo>
                      <a:cubicBezTo>
                        <a:pt x="4317" y="15038"/>
                        <a:pt x="4052" y="14830"/>
                        <a:pt x="3847" y="14717"/>
                      </a:cubicBezTo>
                      <a:cubicBezTo>
                        <a:pt x="3751" y="14663"/>
                        <a:pt x="3318" y="14502"/>
                        <a:pt x="2547" y="14235"/>
                      </a:cubicBezTo>
                      <a:cubicBezTo>
                        <a:pt x="2535" y="14228"/>
                        <a:pt x="2343" y="14188"/>
                        <a:pt x="1969" y="14114"/>
                      </a:cubicBezTo>
                      <a:cubicBezTo>
                        <a:pt x="1764" y="14074"/>
                        <a:pt x="1662" y="14001"/>
                        <a:pt x="1662" y="13894"/>
                      </a:cubicBezTo>
                      <a:cubicBezTo>
                        <a:pt x="1662" y="13806"/>
                        <a:pt x="1728" y="13763"/>
                        <a:pt x="1861" y="13763"/>
                      </a:cubicBezTo>
                      <a:close/>
                      <a:moveTo>
                        <a:pt x="1861" y="13763"/>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3" name="AutoShape 117"/>
                <p:cNvSpPr>
                  <a:spLocks/>
                </p:cNvSpPr>
                <p:nvPr/>
              </p:nvSpPr>
              <p:spPr bwMode="auto">
                <a:xfrm>
                  <a:off x="6787748" y="1072086"/>
                  <a:ext cx="19583" cy="34528"/>
                </a:xfrm>
                <a:custGeom>
                  <a:avLst/>
                  <a:gdLst/>
                  <a:ahLst/>
                  <a:cxnLst/>
                  <a:rect l="0" t="0" r="r" b="b"/>
                  <a:pathLst>
                    <a:path w="21600" h="21600">
                      <a:moveTo>
                        <a:pt x="15080" y="15849"/>
                      </a:moveTo>
                      <a:cubicBezTo>
                        <a:pt x="16275" y="11759"/>
                        <a:pt x="17101" y="9287"/>
                        <a:pt x="17549" y="8436"/>
                      </a:cubicBezTo>
                      <a:cubicBezTo>
                        <a:pt x="17997" y="8095"/>
                        <a:pt x="18603" y="7668"/>
                        <a:pt x="19350" y="7158"/>
                      </a:cubicBezTo>
                      <a:cubicBezTo>
                        <a:pt x="20853" y="5879"/>
                        <a:pt x="21600" y="4430"/>
                        <a:pt x="21600" y="2812"/>
                      </a:cubicBezTo>
                      <a:cubicBezTo>
                        <a:pt x="21600" y="937"/>
                        <a:pt x="20027" y="0"/>
                        <a:pt x="16872" y="0"/>
                      </a:cubicBezTo>
                      <a:cubicBezTo>
                        <a:pt x="14174" y="0"/>
                        <a:pt x="12004" y="937"/>
                        <a:pt x="10352" y="2812"/>
                      </a:cubicBezTo>
                      <a:cubicBezTo>
                        <a:pt x="10202" y="2897"/>
                        <a:pt x="8928" y="4729"/>
                        <a:pt x="6529" y="8308"/>
                      </a:cubicBezTo>
                      <a:cubicBezTo>
                        <a:pt x="2179" y="14272"/>
                        <a:pt x="0" y="17682"/>
                        <a:pt x="0" y="18532"/>
                      </a:cubicBezTo>
                      <a:cubicBezTo>
                        <a:pt x="0" y="20578"/>
                        <a:pt x="3005" y="21600"/>
                        <a:pt x="8999" y="21600"/>
                      </a:cubicBezTo>
                      <a:cubicBezTo>
                        <a:pt x="11556" y="21600"/>
                        <a:pt x="13577" y="19683"/>
                        <a:pt x="15080" y="15849"/>
                      </a:cubicBezTo>
                      <a:close/>
                      <a:moveTo>
                        <a:pt x="15080" y="15849"/>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4" name="AutoShape 118"/>
                <p:cNvSpPr>
                  <a:spLocks/>
                </p:cNvSpPr>
                <p:nvPr/>
              </p:nvSpPr>
              <p:spPr bwMode="auto">
                <a:xfrm>
                  <a:off x="6606345" y="1175155"/>
                  <a:ext cx="17006" cy="39166"/>
                </a:xfrm>
                <a:custGeom>
                  <a:avLst/>
                  <a:gdLst/>
                  <a:ahLst/>
                  <a:cxnLst/>
                  <a:rect l="0" t="0" r="r" b="b"/>
                  <a:pathLst>
                    <a:path w="21600" h="21600">
                      <a:moveTo>
                        <a:pt x="15424" y="21600"/>
                      </a:moveTo>
                      <a:lnTo>
                        <a:pt x="16459" y="21600"/>
                      </a:lnTo>
                      <a:cubicBezTo>
                        <a:pt x="19712" y="20619"/>
                        <a:pt x="21429" y="18320"/>
                        <a:pt x="21600" y="14701"/>
                      </a:cubicBezTo>
                      <a:cubicBezTo>
                        <a:pt x="16288" y="4900"/>
                        <a:pt x="11056" y="0"/>
                        <a:pt x="5915" y="0"/>
                      </a:cubicBezTo>
                      <a:cubicBezTo>
                        <a:pt x="1978" y="0"/>
                        <a:pt x="0" y="2300"/>
                        <a:pt x="0" y="6898"/>
                      </a:cubicBezTo>
                      <a:cubicBezTo>
                        <a:pt x="0" y="9913"/>
                        <a:pt x="693" y="12591"/>
                        <a:pt x="2059" y="14927"/>
                      </a:cubicBezTo>
                      <a:cubicBezTo>
                        <a:pt x="4629" y="19375"/>
                        <a:pt x="9088" y="21600"/>
                        <a:pt x="15424" y="21600"/>
                      </a:cubicBezTo>
                      <a:close/>
                      <a:moveTo>
                        <a:pt x="15424"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5" name="AutoShape 119"/>
                <p:cNvSpPr>
                  <a:spLocks/>
                </p:cNvSpPr>
                <p:nvPr/>
              </p:nvSpPr>
              <p:spPr bwMode="auto">
                <a:xfrm>
                  <a:off x="6692923" y="1315328"/>
                  <a:ext cx="36074" cy="29890"/>
                </a:xfrm>
                <a:custGeom>
                  <a:avLst/>
                  <a:gdLst/>
                  <a:ahLst/>
                  <a:cxnLst/>
                  <a:rect l="0" t="0" r="r" b="b"/>
                  <a:pathLst>
                    <a:path w="21600" h="21600">
                      <a:moveTo>
                        <a:pt x="18792" y="15386"/>
                      </a:moveTo>
                      <a:cubicBezTo>
                        <a:pt x="16594" y="13513"/>
                        <a:pt x="15093" y="12131"/>
                        <a:pt x="14278" y="11245"/>
                      </a:cubicBezTo>
                      <a:cubicBezTo>
                        <a:pt x="12242" y="8976"/>
                        <a:pt x="10373" y="6954"/>
                        <a:pt x="8662" y="5178"/>
                      </a:cubicBezTo>
                      <a:cubicBezTo>
                        <a:pt x="5411" y="1726"/>
                        <a:pt x="3375" y="0"/>
                        <a:pt x="2560" y="0"/>
                      </a:cubicBezTo>
                      <a:cubicBezTo>
                        <a:pt x="853" y="0"/>
                        <a:pt x="0" y="544"/>
                        <a:pt x="0" y="1629"/>
                      </a:cubicBezTo>
                      <a:cubicBezTo>
                        <a:pt x="0" y="3698"/>
                        <a:pt x="1502" y="6412"/>
                        <a:pt x="4515" y="9764"/>
                      </a:cubicBezTo>
                      <a:cubicBezTo>
                        <a:pt x="6221" y="11541"/>
                        <a:pt x="8705" y="14202"/>
                        <a:pt x="11956" y="17753"/>
                      </a:cubicBezTo>
                      <a:cubicBezTo>
                        <a:pt x="12852" y="18837"/>
                        <a:pt x="13706" y="19872"/>
                        <a:pt x="14521" y="20860"/>
                      </a:cubicBezTo>
                      <a:cubicBezTo>
                        <a:pt x="15007" y="21353"/>
                        <a:pt x="16065" y="21600"/>
                        <a:pt x="17696" y="21600"/>
                      </a:cubicBezTo>
                      <a:cubicBezTo>
                        <a:pt x="20299" y="21402"/>
                        <a:pt x="21600" y="20811"/>
                        <a:pt x="21600" y="19823"/>
                      </a:cubicBezTo>
                      <a:cubicBezTo>
                        <a:pt x="21600" y="18641"/>
                        <a:pt x="20666" y="17162"/>
                        <a:pt x="18792" y="15386"/>
                      </a:cubicBezTo>
                      <a:close/>
                      <a:moveTo>
                        <a:pt x="18792" y="15386"/>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6" name="AutoShape 120"/>
                <p:cNvSpPr>
                  <a:spLocks/>
                </p:cNvSpPr>
                <p:nvPr/>
              </p:nvSpPr>
              <p:spPr bwMode="auto">
                <a:xfrm>
                  <a:off x="6919673" y="1121559"/>
                  <a:ext cx="37105" cy="24736"/>
                </a:xfrm>
                <a:custGeom>
                  <a:avLst/>
                  <a:gdLst/>
                  <a:ahLst/>
                  <a:cxnLst/>
                  <a:rect l="0" t="0" r="r" b="b"/>
                  <a:pathLst>
                    <a:path w="21600" h="21600">
                      <a:moveTo>
                        <a:pt x="7994" y="21600"/>
                      </a:moveTo>
                      <a:lnTo>
                        <a:pt x="11695" y="19636"/>
                      </a:lnTo>
                      <a:lnTo>
                        <a:pt x="18137" y="21600"/>
                      </a:lnTo>
                      <a:cubicBezTo>
                        <a:pt x="18934" y="21600"/>
                        <a:pt x="19689" y="21241"/>
                        <a:pt x="20407" y="20529"/>
                      </a:cubicBezTo>
                      <a:cubicBezTo>
                        <a:pt x="21199" y="19695"/>
                        <a:pt x="21600" y="18683"/>
                        <a:pt x="21600" y="17493"/>
                      </a:cubicBezTo>
                      <a:lnTo>
                        <a:pt x="21003" y="13210"/>
                      </a:lnTo>
                      <a:cubicBezTo>
                        <a:pt x="20924" y="12973"/>
                        <a:pt x="20845" y="12853"/>
                        <a:pt x="20761" y="12853"/>
                      </a:cubicBezTo>
                      <a:cubicBezTo>
                        <a:pt x="19969" y="10831"/>
                        <a:pt x="19134" y="9281"/>
                        <a:pt x="18258" y="8212"/>
                      </a:cubicBezTo>
                      <a:cubicBezTo>
                        <a:pt x="16985" y="6664"/>
                        <a:pt x="15391" y="5593"/>
                        <a:pt x="13485" y="4998"/>
                      </a:cubicBezTo>
                      <a:lnTo>
                        <a:pt x="8591" y="3571"/>
                      </a:lnTo>
                      <a:cubicBezTo>
                        <a:pt x="8036" y="3214"/>
                        <a:pt x="7519" y="2498"/>
                        <a:pt x="7038" y="1429"/>
                      </a:cubicBezTo>
                      <a:cubicBezTo>
                        <a:pt x="6563" y="476"/>
                        <a:pt x="6088" y="0"/>
                        <a:pt x="5607" y="0"/>
                      </a:cubicBezTo>
                      <a:cubicBezTo>
                        <a:pt x="5211" y="0"/>
                        <a:pt x="4176" y="1429"/>
                        <a:pt x="2508" y="4283"/>
                      </a:cubicBezTo>
                      <a:cubicBezTo>
                        <a:pt x="834" y="7141"/>
                        <a:pt x="0" y="8805"/>
                        <a:pt x="0" y="9281"/>
                      </a:cubicBezTo>
                      <a:cubicBezTo>
                        <a:pt x="0" y="11781"/>
                        <a:pt x="1072" y="14519"/>
                        <a:pt x="3221" y="17493"/>
                      </a:cubicBezTo>
                      <a:cubicBezTo>
                        <a:pt x="5211" y="20232"/>
                        <a:pt x="6801" y="21600"/>
                        <a:pt x="7994" y="21600"/>
                      </a:cubicBezTo>
                      <a:close/>
                      <a:moveTo>
                        <a:pt x="7994"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7" name="AutoShape 121"/>
                <p:cNvSpPr>
                  <a:spLocks/>
                </p:cNvSpPr>
                <p:nvPr/>
              </p:nvSpPr>
              <p:spPr bwMode="auto">
                <a:xfrm>
                  <a:off x="6857832" y="1121559"/>
                  <a:ext cx="59264" cy="76786"/>
                </a:xfrm>
                <a:custGeom>
                  <a:avLst/>
                  <a:gdLst/>
                  <a:ahLst/>
                  <a:cxnLst/>
                  <a:rect l="0" t="0" r="r" b="b"/>
                  <a:pathLst>
                    <a:path w="21600" h="21600">
                      <a:moveTo>
                        <a:pt x="18984" y="6624"/>
                      </a:moveTo>
                      <a:cubicBezTo>
                        <a:pt x="18835" y="5396"/>
                        <a:pt x="18610" y="4320"/>
                        <a:pt x="18312" y="3399"/>
                      </a:cubicBezTo>
                      <a:cubicBezTo>
                        <a:pt x="17764" y="1671"/>
                        <a:pt x="16841" y="807"/>
                        <a:pt x="15547" y="807"/>
                      </a:cubicBezTo>
                      <a:cubicBezTo>
                        <a:pt x="15048" y="807"/>
                        <a:pt x="14625" y="960"/>
                        <a:pt x="14274" y="1267"/>
                      </a:cubicBezTo>
                      <a:cubicBezTo>
                        <a:pt x="13877" y="1575"/>
                        <a:pt x="13477" y="1728"/>
                        <a:pt x="13080" y="1728"/>
                      </a:cubicBezTo>
                      <a:cubicBezTo>
                        <a:pt x="12780" y="1728"/>
                        <a:pt x="12382" y="1440"/>
                        <a:pt x="11883" y="864"/>
                      </a:cubicBezTo>
                      <a:cubicBezTo>
                        <a:pt x="11387" y="288"/>
                        <a:pt x="10888" y="0"/>
                        <a:pt x="10388" y="0"/>
                      </a:cubicBezTo>
                      <a:cubicBezTo>
                        <a:pt x="9740" y="0"/>
                        <a:pt x="9118" y="404"/>
                        <a:pt x="8520" y="1210"/>
                      </a:cubicBezTo>
                      <a:cubicBezTo>
                        <a:pt x="7921" y="1978"/>
                        <a:pt x="7600" y="2362"/>
                        <a:pt x="7547" y="2362"/>
                      </a:cubicBezTo>
                      <a:cubicBezTo>
                        <a:pt x="7399" y="2362"/>
                        <a:pt x="7124" y="2247"/>
                        <a:pt x="6727" y="2016"/>
                      </a:cubicBezTo>
                      <a:cubicBezTo>
                        <a:pt x="6327" y="1748"/>
                        <a:pt x="6079" y="1613"/>
                        <a:pt x="5980" y="1613"/>
                      </a:cubicBezTo>
                      <a:cubicBezTo>
                        <a:pt x="5431" y="1613"/>
                        <a:pt x="4435" y="2247"/>
                        <a:pt x="2990" y="3514"/>
                      </a:cubicBezTo>
                      <a:cubicBezTo>
                        <a:pt x="1644" y="4743"/>
                        <a:pt x="946" y="5530"/>
                        <a:pt x="896" y="5875"/>
                      </a:cubicBezTo>
                      <a:cubicBezTo>
                        <a:pt x="298" y="8601"/>
                        <a:pt x="0" y="10867"/>
                        <a:pt x="0" y="12672"/>
                      </a:cubicBezTo>
                      <a:cubicBezTo>
                        <a:pt x="0" y="14477"/>
                        <a:pt x="2117" y="17204"/>
                        <a:pt x="6353" y="20851"/>
                      </a:cubicBezTo>
                      <a:lnTo>
                        <a:pt x="6426" y="20851"/>
                      </a:lnTo>
                      <a:cubicBezTo>
                        <a:pt x="6826" y="20890"/>
                        <a:pt x="7299" y="21005"/>
                        <a:pt x="7848" y="21198"/>
                      </a:cubicBezTo>
                      <a:cubicBezTo>
                        <a:pt x="8546" y="21466"/>
                        <a:pt x="9095" y="21600"/>
                        <a:pt x="9492" y="21600"/>
                      </a:cubicBezTo>
                      <a:cubicBezTo>
                        <a:pt x="11685" y="21600"/>
                        <a:pt x="14152" y="20814"/>
                        <a:pt x="16891" y="19239"/>
                      </a:cubicBezTo>
                      <a:cubicBezTo>
                        <a:pt x="20032" y="17434"/>
                        <a:pt x="21600" y="15475"/>
                        <a:pt x="21600" y="13363"/>
                      </a:cubicBezTo>
                      <a:cubicBezTo>
                        <a:pt x="21600" y="13094"/>
                        <a:pt x="21203" y="11962"/>
                        <a:pt x="20406" y="9965"/>
                      </a:cubicBezTo>
                      <a:cubicBezTo>
                        <a:pt x="19907" y="8774"/>
                        <a:pt x="19434" y="7661"/>
                        <a:pt x="18984" y="6624"/>
                      </a:cubicBezTo>
                      <a:close/>
                      <a:moveTo>
                        <a:pt x="18984" y="6624"/>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8" name="AutoShape 122"/>
                <p:cNvSpPr>
                  <a:spLocks/>
                </p:cNvSpPr>
                <p:nvPr/>
              </p:nvSpPr>
              <p:spPr bwMode="auto">
                <a:xfrm>
                  <a:off x="7142301" y="1443132"/>
                  <a:ext cx="21644" cy="11338"/>
                </a:xfrm>
                <a:custGeom>
                  <a:avLst/>
                  <a:gdLst/>
                  <a:ahLst/>
                  <a:cxnLst/>
                  <a:rect l="0" t="0" r="r" b="b"/>
                  <a:pathLst>
                    <a:path w="21600" h="21600">
                      <a:moveTo>
                        <a:pt x="12343" y="1137"/>
                      </a:moveTo>
                      <a:cubicBezTo>
                        <a:pt x="11933" y="885"/>
                        <a:pt x="11588" y="759"/>
                        <a:pt x="11314" y="759"/>
                      </a:cubicBezTo>
                      <a:cubicBezTo>
                        <a:pt x="10350" y="252"/>
                        <a:pt x="9458" y="0"/>
                        <a:pt x="8638" y="0"/>
                      </a:cubicBezTo>
                      <a:cubicBezTo>
                        <a:pt x="7401" y="0"/>
                        <a:pt x="5625" y="1137"/>
                        <a:pt x="3287" y="3411"/>
                      </a:cubicBezTo>
                      <a:cubicBezTo>
                        <a:pt x="1093" y="5432"/>
                        <a:pt x="0" y="6695"/>
                        <a:pt x="0" y="7202"/>
                      </a:cubicBezTo>
                      <a:cubicBezTo>
                        <a:pt x="0" y="11243"/>
                        <a:pt x="1374" y="14779"/>
                        <a:pt x="4114" y="17808"/>
                      </a:cubicBezTo>
                      <a:cubicBezTo>
                        <a:pt x="5219" y="19004"/>
                        <a:pt x="6276" y="19897"/>
                        <a:pt x="7288" y="20530"/>
                      </a:cubicBezTo>
                      <a:cubicBezTo>
                        <a:pt x="8413" y="21226"/>
                        <a:pt x="9482" y="21600"/>
                        <a:pt x="10487" y="21600"/>
                      </a:cubicBezTo>
                      <a:cubicBezTo>
                        <a:pt x="17896" y="21600"/>
                        <a:pt x="21600" y="18567"/>
                        <a:pt x="21600" y="12502"/>
                      </a:cubicBezTo>
                      <a:cubicBezTo>
                        <a:pt x="21600" y="7702"/>
                        <a:pt x="20226" y="4547"/>
                        <a:pt x="17486" y="3029"/>
                      </a:cubicBezTo>
                      <a:cubicBezTo>
                        <a:pt x="15155" y="2525"/>
                        <a:pt x="13436" y="1892"/>
                        <a:pt x="12343" y="1137"/>
                      </a:cubicBezTo>
                      <a:close/>
                      <a:moveTo>
                        <a:pt x="12343" y="1137"/>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49" name="AutoShape 123"/>
                <p:cNvSpPr>
                  <a:spLocks/>
                </p:cNvSpPr>
                <p:nvPr/>
              </p:nvSpPr>
              <p:spPr bwMode="auto">
                <a:xfrm>
                  <a:off x="6927919" y="1439010"/>
                  <a:ext cx="29375" cy="15976"/>
                </a:xfrm>
                <a:custGeom>
                  <a:avLst/>
                  <a:gdLst/>
                  <a:ahLst/>
                  <a:cxnLst/>
                  <a:rect l="0" t="0" r="r" b="b"/>
                  <a:pathLst>
                    <a:path w="21600" h="21600">
                      <a:moveTo>
                        <a:pt x="17247" y="21600"/>
                      </a:moveTo>
                      <a:cubicBezTo>
                        <a:pt x="17950" y="21600"/>
                        <a:pt x="18700" y="21416"/>
                        <a:pt x="19497" y="21051"/>
                      </a:cubicBezTo>
                      <a:cubicBezTo>
                        <a:pt x="19596" y="21051"/>
                        <a:pt x="19749" y="21051"/>
                        <a:pt x="19948" y="21051"/>
                      </a:cubicBezTo>
                      <a:cubicBezTo>
                        <a:pt x="20048" y="20680"/>
                        <a:pt x="20200" y="20312"/>
                        <a:pt x="20399" y="19941"/>
                      </a:cubicBezTo>
                      <a:cubicBezTo>
                        <a:pt x="20698" y="19386"/>
                        <a:pt x="20997" y="18926"/>
                        <a:pt x="21295" y="18555"/>
                      </a:cubicBezTo>
                      <a:cubicBezTo>
                        <a:pt x="21500" y="18000"/>
                        <a:pt x="21600" y="16988"/>
                        <a:pt x="21600" y="15511"/>
                      </a:cubicBezTo>
                      <a:cubicBezTo>
                        <a:pt x="21600" y="5172"/>
                        <a:pt x="15296" y="0"/>
                        <a:pt x="2701" y="0"/>
                      </a:cubicBezTo>
                      <a:cubicBezTo>
                        <a:pt x="1400" y="0"/>
                        <a:pt x="504" y="555"/>
                        <a:pt x="0" y="1664"/>
                      </a:cubicBezTo>
                      <a:cubicBezTo>
                        <a:pt x="603" y="6092"/>
                        <a:pt x="2753" y="10431"/>
                        <a:pt x="6450" y="14677"/>
                      </a:cubicBezTo>
                      <a:cubicBezTo>
                        <a:pt x="10153" y="19294"/>
                        <a:pt x="13750" y="21600"/>
                        <a:pt x="17247" y="21600"/>
                      </a:cubicBezTo>
                      <a:close/>
                      <a:moveTo>
                        <a:pt x="17247" y="2160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50" name="AutoShape 124"/>
                <p:cNvSpPr>
                  <a:spLocks/>
                </p:cNvSpPr>
                <p:nvPr/>
              </p:nvSpPr>
              <p:spPr bwMode="auto">
                <a:xfrm>
                  <a:off x="6754764" y="1517342"/>
                  <a:ext cx="49988" cy="66479"/>
                </a:xfrm>
                <a:custGeom>
                  <a:avLst/>
                  <a:gdLst/>
                  <a:ahLst/>
                  <a:cxnLst/>
                  <a:rect l="0" t="0" r="r" b="b"/>
                  <a:pathLst>
                    <a:path w="21600" h="21600">
                      <a:moveTo>
                        <a:pt x="17969" y="8375"/>
                      </a:moveTo>
                      <a:cubicBezTo>
                        <a:pt x="20390" y="6602"/>
                        <a:pt x="21600" y="5117"/>
                        <a:pt x="21600" y="3921"/>
                      </a:cubicBezTo>
                      <a:cubicBezTo>
                        <a:pt x="21600" y="1307"/>
                        <a:pt x="20507" y="0"/>
                        <a:pt x="18326" y="0"/>
                      </a:cubicBezTo>
                      <a:cubicBezTo>
                        <a:pt x="13959" y="0"/>
                        <a:pt x="9650" y="2725"/>
                        <a:pt x="5401" y="8175"/>
                      </a:cubicBezTo>
                      <a:cubicBezTo>
                        <a:pt x="1801" y="12739"/>
                        <a:pt x="0" y="16150"/>
                        <a:pt x="0" y="18410"/>
                      </a:cubicBezTo>
                      <a:cubicBezTo>
                        <a:pt x="0" y="18986"/>
                        <a:pt x="180" y="19628"/>
                        <a:pt x="532" y="20337"/>
                      </a:cubicBezTo>
                      <a:cubicBezTo>
                        <a:pt x="947" y="21179"/>
                        <a:pt x="1476" y="21600"/>
                        <a:pt x="2126" y="21600"/>
                      </a:cubicBezTo>
                      <a:cubicBezTo>
                        <a:pt x="2894" y="21600"/>
                        <a:pt x="3662" y="21223"/>
                        <a:pt x="4426" y="20470"/>
                      </a:cubicBezTo>
                      <a:cubicBezTo>
                        <a:pt x="5252" y="19628"/>
                        <a:pt x="5961" y="19186"/>
                        <a:pt x="6552" y="19141"/>
                      </a:cubicBezTo>
                      <a:cubicBezTo>
                        <a:pt x="8852" y="18875"/>
                        <a:pt x="10242" y="18321"/>
                        <a:pt x="10712" y="17480"/>
                      </a:cubicBezTo>
                      <a:cubicBezTo>
                        <a:pt x="10947" y="17037"/>
                        <a:pt x="11981" y="16173"/>
                        <a:pt x="13810" y="14887"/>
                      </a:cubicBezTo>
                      <a:cubicBezTo>
                        <a:pt x="14045" y="14711"/>
                        <a:pt x="14135" y="14245"/>
                        <a:pt x="14076" y="13492"/>
                      </a:cubicBezTo>
                      <a:cubicBezTo>
                        <a:pt x="14017" y="12650"/>
                        <a:pt x="13986" y="12074"/>
                        <a:pt x="13986" y="11764"/>
                      </a:cubicBezTo>
                      <a:cubicBezTo>
                        <a:pt x="14460" y="11099"/>
                        <a:pt x="15788" y="9969"/>
                        <a:pt x="17969" y="8375"/>
                      </a:cubicBezTo>
                      <a:close/>
                      <a:moveTo>
                        <a:pt x="17969" y="8375"/>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51" name="AutoShape 125"/>
                <p:cNvSpPr>
                  <a:spLocks/>
                </p:cNvSpPr>
                <p:nvPr/>
              </p:nvSpPr>
              <p:spPr bwMode="auto">
                <a:xfrm>
                  <a:off x="6635205" y="1335943"/>
                  <a:ext cx="210259" cy="185008"/>
                </a:xfrm>
                <a:custGeom>
                  <a:avLst/>
                  <a:gdLst/>
                  <a:ahLst/>
                  <a:cxnLst/>
                  <a:rect l="0" t="0" r="r" b="b"/>
                  <a:pathLst>
                    <a:path w="21600" h="21600">
                      <a:moveTo>
                        <a:pt x="18381" y="16050"/>
                      </a:moveTo>
                      <a:cubicBezTo>
                        <a:pt x="18918" y="16274"/>
                        <a:pt x="19222" y="16386"/>
                        <a:pt x="19292" y="16386"/>
                      </a:cubicBezTo>
                      <a:cubicBezTo>
                        <a:pt x="19574" y="16386"/>
                        <a:pt x="19836" y="16202"/>
                        <a:pt x="20075" y="15834"/>
                      </a:cubicBezTo>
                      <a:cubicBezTo>
                        <a:pt x="20217" y="15626"/>
                        <a:pt x="20386" y="15313"/>
                        <a:pt x="20584" y="14897"/>
                      </a:cubicBezTo>
                      <a:cubicBezTo>
                        <a:pt x="20598" y="14849"/>
                        <a:pt x="20789" y="14617"/>
                        <a:pt x="21156" y="14200"/>
                      </a:cubicBezTo>
                      <a:cubicBezTo>
                        <a:pt x="21452" y="13832"/>
                        <a:pt x="21600" y="13559"/>
                        <a:pt x="21600" y="13383"/>
                      </a:cubicBezTo>
                      <a:cubicBezTo>
                        <a:pt x="21600" y="13303"/>
                        <a:pt x="21353" y="13223"/>
                        <a:pt x="20859" y="13143"/>
                      </a:cubicBezTo>
                      <a:cubicBezTo>
                        <a:pt x="20379" y="13079"/>
                        <a:pt x="20147" y="12854"/>
                        <a:pt x="20161" y="12470"/>
                      </a:cubicBezTo>
                      <a:cubicBezTo>
                        <a:pt x="20161" y="12358"/>
                        <a:pt x="20111" y="12206"/>
                        <a:pt x="20012" y="12013"/>
                      </a:cubicBezTo>
                      <a:cubicBezTo>
                        <a:pt x="19913" y="11805"/>
                        <a:pt x="19815" y="11669"/>
                        <a:pt x="19716" y="11605"/>
                      </a:cubicBezTo>
                      <a:cubicBezTo>
                        <a:pt x="19673" y="11573"/>
                        <a:pt x="19638" y="11541"/>
                        <a:pt x="19610" y="11509"/>
                      </a:cubicBezTo>
                      <a:cubicBezTo>
                        <a:pt x="19511" y="11413"/>
                        <a:pt x="19434" y="11349"/>
                        <a:pt x="19376" y="11317"/>
                      </a:cubicBezTo>
                      <a:cubicBezTo>
                        <a:pt x="19236" y="11205"/>
                        <a:pt x="19116" y="11148"/>
                        <a:pt x="19017" y="11148"/>
                      </a:cubicBezTo>
                      <a:cubicBezTo>
                        <a:pt x="18960" y="11148"/>
                        <a:pt x="18904" y="11172"/>
                        <a:pt x="18847" y="11221"/>
                      </a:cubicBezTo>
                      <a:cubicBezTo>
                        <a:pt x="18749" y="11269"/>
                        <a:pt x="18650" y="11365"/>
                        <a:pt x="18551" y="11509"/>
                      </a:cubicBezTo>
                      <a:cubicBezTo>
                        <a:pt x="18353" y="11765"/>
                        <a:pt x="18135" y="11925"/>
                        <a:pt x="17894" y="11990"/>
                      </a:cubicBezTo>
                      <a:cubicBezTo>
                        <a:pt x="17626" y="12054"/>
                        <a:pt x="17224" y="12086"/>
                        <a:pt x="16687" y="12086"/>
                      </a:cubicBezTo>
                      <a:cubicBezTo>
                        <a:pt x="16447" y="12086"/>
                        <a:pt x="16327" y="11661"/>
                        <a:pt x="16327" y="10812"/>
                      </a:cubicBezTo>
                      <a:cubicBezTo>
                        <a:pt x="16327" y="10732"/>
                        <a:pt x="16313" y="10644"/>
                        <a:pt x="16285" y="10548"/>
                      </a:cubicBezTo>
                      <a:cubicBezTo>
                        <a:pt x="16215" y="10275"/>
                        <a:pt x="16059" y="9915"/>
                        <a:pt x="15819" y="9467"/>
                      </a:cubicBezTo>
                      <a:cubicBezTo>
                        <a:pt x="15452" y="8826"/>
                        <a:pt x="15233" y="8450"/>
                        <a:pt x="15163" y="8337"/>
                      </a:cubicBezTo>
                      <a:cubicBezTo>
                        <a:pt x="14795" y="7729"/>
                        <a:pt x="14549" y="7400"/>
                        <a:pt x="14422" y="7352"/>
                      </a:cubicBezTo>
                      <a:cubicBezTo>
                        <a:pt x="14125" y="7352"/>
                        <a:pt x="13765" y="7352"/>
                        <a:pt x="13341" y="7352"/>
                      </a:cubicBezTo>
                      <a:cubicBezTo>
                        <a:pt x="12961" y="7352"/>
                        <a:pt x="12276" y="6992"/>
                        <a:pt x="11287" y="6271"/>
                      </a:cubicBezTo>
                      <a:cubicBezTo>
                        <a:pt x="10370" y="5534"/>
                        <a:pt x="9883" y="5158"/>
                        <a:pt x="9826" y="5142"/>
                      </a:cubicBezTo>
                      <a:cubicBezTo>
                        <a:pt x="9361" y="5078"/>
                        <a:pt x="8993" y="5022"/>
                        <a:pt x="8725" y="4973"/>
                      </a:cubicBezTo>
                      <a:cubicBezTo>
                        <a:pt x="8231" y="4910"/>
                        <a:pt x="7913" y="4733"/>
                        <a:pt x="7772" y="4445"/>
                      </a:cubicBezTo>
                      <a:cubicBezTo>
                        <a:pt x="7250" y="3452"/>
                        <a:pt x="6756" y="2956"/>
                        <a:pt x="6290" y="2956"/>
                      </a:cubicBezTo>
                      <a:cubicBezTo>
                        <a:pt x="6106" y="2956"/>
                        <a:pt x="5923" y="3140"/>
                        <a:pt x="5739" y="3508"/>
                      </a:cubicBezTo>
                      <a:cubicBezTo>
                        <a:pt x="5541" y="3876"/>
                        <a:pt x="5464" y="4237"/>
                        <a:pt x="5506" y="4589"/>
                      </a:cubicBezTo>
                      <a:lnTo>
                        <a:pt x="5125" y="4589"/>
                      </a:lnTo>
                      <a:cubicBezTo>
                        <a:pt x="4800" y="4541"/>
                        <a:pt x="4596" y="4157"/>
                        <a:pt x="4511" y="3436"/>
                      </a:cubicBezTo>
                      <a:cubicBezTo>
                        <a:pt x="4483" y="3212"/>
                        <a:pt x="4469" y="2683"/>
                        <a:pt x="4469" y="1850"/>
                      </a:cubicBezTo>
                      <a:cubicBezTo>
                        <a:pt x="4469" y="1594"/>
                        <a:pt x="4292" y="1226"/>
                        <a:pt x="3939" y="745"/>
                      </a:cubicBezTo>
                      <a:cubicBezTo>
                        <a:pt x="3558" y="249"/>
                        <a:pt x="3240" y="0"/>
                        <a:pt x="2986" y="0"/>
                      </a:cubicBezTo>
                      <a:cubicBezTo>
                        <a:pt x="2407" y="0"/>
                        <a:pt x="2118" y="1642"/>
                        <a:pt x="2118" y="4926"/>
                      </a:cubicBezTo>
                      <a:cubicBezTo>
                        <a:pt x="2118" y="5566"/>
                        <a:pt x="2195" y="6896"/>
                        <a:pt x="2351" y="8914"/>
                      </a:cubicBezTo>
                      <a:cubicBezTo>
                        <a:pt x="2351" y="9090"/>
                        <a:pt x="2287" y="9971"/>
                        <a:pt x="2161" y="11557"/>
                      </a:cubicBezTo>
                      <a:cubicBezTo>
                        <a:pt x="2161" y="11925"/>
                        <a:pt x="2224" y="12358"/>
                        <a:pt x="2351" y="12854"/>
                      </a:cubicBezTo>
                      <a:cubicBezTo>
                        <a:pt x="2464" y="13351"/>
                        <a:pt x="2520" y="13727"/>
                        <a:pt x="2520" y="13984"/>
                      </a:cubicBezTo>
                      <a:cubicBezTo>
                        <a:pt x="2520" y="14016"/>
                        <a:pt x="2520" y="14040"/>
                        <a:pt x="2520" y="14056"/>
                      </a:cubicBezTo>
                      <a:cubicBezTo>
                        <a:pt x="1857" y="14568"/>
                        <a:pt x="1306" y="15121"/>
                        <a:pt x="869" y="15714"/>
                      </a:cubicBezTo>
                      <a:cubicBezTo>
                        <a:pt x="290" y="16483"/>
                        <a:pt x="0" y="17155"/>
                        <a:pt x="0" y="17732"/>
                      </a:cubicBezTo>
                      <a:cubicBezTo>
                        <a:pt x="0" y="18244"/>
                        <a:pt x="219" y="18501"/>
                        <a:pt x="657" y="18501"/>
                      </a:cubicBezTo>
                      <a:cubicBezTo>
                        <a:pt x="855" y="18501"/>
                        <a:pt x="1144" y="18349"/>
                        <a:pt x="1525" y="18044"/>
                      </a:cubicBezTo>
                      <a:cubicBezTo>
                        <a:pt x="1921" y="17724"/>
                        <a:pt x="2167" y="17564"/>
                        <a:pt x="2267" y="17564"/>
                      </a:cubicBezTo>
                      <a:cubicBezTo>
                        <a:pt x="2435" y="17564"/>
                        <a:pt x="2655" y="17612"/>
                        <a:pt x="2923" y="17708"/>
                      </a:cubicBezTo>
                      <a:cubicBezTo>
                        <a:pt x="3290" y="17708"/>
                        <a:pt x="3565" y="17444"/>
                        <a:pt x="3749" y="16915"/>
                      </a:cubicBezTo>
                      <a:cubicBezTo>
                        <a:pt x="3975" y="16306"/>
                        <a:pt x="4201" y="15946"/>
                        <a:pt x="4426" y="15834"/>
                      </a:cubicBezTo>
                      <a:cubicBezTo>
                        <a:pt x="4455" y="15930"/>
                        <a:pt x="4490" y="16170"/>
                        <a:pt x="4532" y="16555"/>
                      </a:cubicBezTo>
                      <a:cubicBezTo>
                        <a:pt x="4574" y="16907"/>
                        <a:pt x="4624" y="17147"/>
                        <a:pt x="4680" y="17276"/>
                      </a:cubicBezTo>
                      <a:cubicBezTo>
                        <a:pt x="5062" y="18173"/>
                        <a:pt x="5266" y="18677"/>
                        <a:pt x="5294" y="18789"/>
                      </a:cubicBezTo>
                      <a:cubicBezTo>
                        <a:pt x="5379" y="19077"/>
                        <a:pt x="5471" y="19654"/>
                        <a:pt x="5570" y="20519"/>
                      </a:cubicBezTo>
                      <a:cubicBezTo>
                        <a:pt x="5584" y="20567"/>
                        <a:pt x="5598" y="20615"/>
                        <a:pt x="5612" y="20663"/>
                      </a:cubicBezTo>
                      <a:cubicBezTo>
                        <a:pt x="5753" y="21288"/>
                        <a:pt x="5993" y="21600"/>
                        <a:pt x="6332" y="21600"/>
                      </a:cubicBezTo>
                      <a:cubicBezTo>
                        <a:pt x="6770" y="21600"/>
                        <a:pt x="7673" y="20567"/>
                        <a:pt x="9043" y="18501"/>
                      </a:cubicBezTo>
                      <a:cubicBezTo>
                        <a:pt x="9170" y="18308"/>
                        <a:pt x="9361" y="17932"/>
                        <a:pt x="9615" y="17372"/>
                      </a:cubicBezTo>
                      <a:cubicBezTo>
                        <a:pt x="9812" y="16923"/>
                        <a:pt x="9996" y="16611"/>
                        <a:pt x="10165" y="16434"/>
                      </a:cubicBezTo>
                      <a:cubicBezTo>
                        <a:pt x="10334" y="16242"/>
                        <a:pt x="10560" y="16018"/>
                        <a:pt x="10843" y="15762"/>
                      </a:cubicBezTo>
                      <a:cubicBezTo>
                        <a:pt x="11027" y="15570"/>
                        <a:pt x="11118" y="15361"/>
                        <a:pt x="11118" y="15137"/>
                      </a:cubicBezTo>
                      <a:cubicBezTo>
                        <a:pt x="11118" y="15073"/>
                        <a:pt x="11041" y="14945"/>
                        <a:pt x="10885" y="14753"/>
                      </a:cubicBezTo>
                      <a:cubicBezTo>
                        <a:pt x="10716" y="14560"/>
                        <a:pt x="10631" y="14376"/>
                        <a:pt x="10631" y="14200"/>
                      </a:cubicBezTo>
                      <a:cubicBezTo>
                        <a:pt x="10631" y="13623"/>
                        <a:pt x="10864" y="13119"/>
                        <a:pt x="11329" y="12686"/>
                      </a:cubicBezTo>
                      <a:cubicBezTo>
                        <a:pt x="11753" y="12286"/>
                        <a:pt x="12198" y="12086"/>
                        <a:pt x="12664" y="12086"/>
                      </a:cubicBezTo>
                      <a:cubicBezTo>
                        <a:pt x="12749" y="12086"/>
                        <a:pt x="12827" y="12133"/>
                        <a:pt x="12897" y="12230"/>
                      </a:cubicBezTo>
                      <a:cubicBezTo>
                        <a:pt x="12953" y="12310"/>
                        <a:pt x="12981" y="12390"/>
                        <a:pt x="12981" y="12470"/>
                      </a:cubicBezTo>
                      <a:cubicBezTo>
                        <a:pt x="12981" y="12486"/>
                        <a:pt x="12883" y="12638"/>
                        <a:pt x="12685" y="12927"/>
                      </a:cubicBezTo>
                      <a:cubicBezTo>
                        <a:pt x="12488" y="13231"/>
                        <a:pt x="12388" y="13431"/>
                        <a:pt x="12388" y="13527"/>
                      </a:cubicBezTo>
                      <a:cubicBezTo>
                        <a:pt x="12388" y="13656"/>
                        <a:pt x="12523" y="13719"/>
                        <a:pt x="12791" y="13719"/>
                      </a:cubicBezTo>
                      <a:cubicBezTo>
                        <a:pt x="12947" y="13719"/>
                        <a:pt x="13151" y="13687"/>
                        <a:pt x="13405" y="13623"/>
                      </a:cubicBezTo>
                      <a:cubicBezTo>
                        <a:pt x="13659" y="13559"/>
                        <a:pt x="13836" y="13527"/>
                        <a:pt x="13934" y="13527"/>
                      </a:cubicBezTo>
                      <a:cubicBezTo>
                        <a:pt x="14330" y="13527"/>
                        <a:pt x="14535" y="13904"/>
                        <a:pt x="14549" y="14656"/>
                      </a:cubicBezTo>
                      <a:cubicBezTo>
                        <a:pt x="14563" y="15377"/>
                        <a:pt x="14909" y="15673"/>
                        <a:pt x="15586" y="15545"/>
                      </a:cubicBezTo>
                      <a:cubicBezTo>
                        <a:pt x="15854" y="15481"/>
                        <a:pt x="16193" y="15465"/>
                        <a:pt x="16603" y="15497"/>
                      </a:cubicBezTo>
                      <a:cubicBezTo>
                        <a:pt x="17026" y="15530"/>
                        <a:pt x="17358" y="15594"/>
                        <a:pt x="17598" y="15690"/>
                      </a:cubicBezTo>
                      <a:cubicBezTo>
                        <a:pt x="17598" y="15690"/>
                        <a:pt x="18381" y="16050"/>
                        <a:pt x="18381" y="16050"/>
                      </a:cubicBezTo>
                      <a:close/>
                      <a:moveTo>
                        <a:pt x="18381" y="16050"/>
                      </a:moveTo>
                    </a:path>
                  </a:pathLst>
                </a:custGeom>
                <a:grpFill/>
                <a:ln w="3175" cap="flat">
                  <a:solidFill>
                    <a:schemeClr val="bg1"/>
                  </a:solidFill>
                  <a:miter lim="800000"/>
                  <a:headEnd type="none" w="med" len="med"/>
                  <a:tailEnd type="none" w="med" len="med"/>
                </a:ln>
              </p:spPr>
              <p:txBody>
                <a:bodyPr lIns="0" tIns="0" rIns="0" bIns="0"/>
                <a:lstStyle/>
                <a:p>
                  <a:endParaRPr lang="en-US"/>
                </a:p>
              </p:txBody>
            </p:sp>
            <p:sp>
              <p:nvSpPr>
                <p:cNvPr id="552" name="AutoShape 126"/>
                <p:cNvSpPr>
                  <a:spLocks/>
                </p:cNvSpPr>
                <p:nvPr/>
              </p:nvSpPr>
              <p:spPr bwMode="auto">
                <a:xfrm>
                  <a:off x="6903185" y="1459621"/>
                  <a:ext cx="29375" cy="22675"/>
                </a:xfrm>
                <a:custGeom>
                  <a:avLst/>
                  <a:gdLst/>
                  <a:ahLst/>
                  <a:cxnLst/>
                  <a:rect l="0" t="0" r="r" b="b"/>
                  <a:pathLst>
                    <a:path w="21600" h="19444">
                      <a:moveTo>
                        <a:pt x="21600" y="12610"/>
                      </a:moveTo>
                      <a:cubicBezTo>
                        <a:pt x="21600" y="8990"/>
                        <a:pt x="20247" y="5956"/>
                        <a:pt x="17552" y="3503"/>
                      </a:cubicBezTo>
                      <a:cubicBezTo>
                        <a:pt x="14951" y="1169"/>
                        <a:pt x="11998" y="0"/>
                        <a:pt x="8700" y="0"/>
                      </a:cubicBezTo>
                      <a:cubicBezTo>
                        <a:pt x="7200" y="0"/>
                        <a:pt x="5454" y="351"/>
                        <a:pt x="3451" y="1053"/>
                      </a:cubicBezTo>
                      <a:cubicBezTo>
                        <a:pt x="1154" y="1867"/>
                        <a:pt x="0" y="2743"/>
                        <a:pt x="0" y="3680"/>
                      </a:cubicBezTo>
                      <a:lnTo>
                        <a:pt x="10803" y="15411"/>
                      </a:lnTo>
                      <a:cubicBezTo>
                        <a:pt x="17997" y="21600"/>
                        <a:pt x="21600" y="20664"/>
                        <a:pt x="21600" y="12610"/>
                      </a:cubicBezTo>
                      <a:close/>
                      <a:moveTo>
                        <a:pt x="21600" y="12610"/>
                      </a:moveTo>
                    </a:path>
                  </a:pathLst>
                </a:custGeom>
                <a:grpFill/>
                <a:ln w="3175" cap="flat">
                  <a:solidFill>
                    <a:schemeClr val="bg1"/>
                  </a:solidFill>
                  <a:miter lim="800000"/>
                  <a:headEnd type="none" w="med" len="med"/>
                  <a:tailEnd type="none" w="med" len="med"/>
                </a:ln>
              </p:spPr>
              <p:txBody>
                <a:bodyPr lIns="0" tIns="0" rIns="0" bIns="0"/>
                <a:lstStyle/>
                <a:p>
                  <a:endParaRPr lang="en-US"/>
                </a:p>
              </p:txBody>
            </p:sp>
          </p:grpSp>
        </p:grpSp>
        <p:sp>
          <p:nvSpPr>
            <p:cNvPr id="554" name="Rectangle 553"/>
            <p:cNvSpPr/>
            <p:nvPr/>
          </p:nvSpPr>
          <p:spPr bwMode="auto">
            <a:xfrm>
              <a:off x="7504036" y="3828816"/>
              <a:ext cx="1171096" cy="717258"/>
            </a:xfrm>
            <a:custGeom>
              <a:avLst/>
              <a:gdLst>
                <a:gd name="connsiteX0" fmla="*/ 13251 w 1171096"/>
                <a:gd name="connsiteY0" fmla="*/ 0 h 717258"/>
                <a:gd name="connsiteX1" fmla="*/ 58355 w 1171096"/>
                <a:gd name="connsiteY1" fmla="*/ 11818 h 717258"/>
                <a:gd name="connsiteX2" fmla="*/ 108141 w 1171096"/>
                <a:gd name="connsiteY2" fmla="*/ 24462 h 717258"/>
                <a:gd name="connsiteX3" fmla="*/ 199340 w 1171096"/>
                <a:gd name="connsiteY3" fmla="*/ 45039 h 717258"/>
                <a:gd name="connsiteX4" fmla="*/ 277288 w 1171096"/>
                <a:gd name="connsiteY4" fmla="*/ 57667 h 717258"/>
                <a:gd name="connsiteX5" fmla="*/ 390952 w 1171096"/>
                <a:gd name="connsiteY5" fmla="*/ 76220 h 717258"/>
                <a:gd name="connsiteX6" fmla="*/ 535008 w 1171096"/>
                <a:gd name="connsiteY6" fmla="*/ 97413 h 717258"/>
                <a:gd name="connsiteX7" fmla="*/ 534952 w 1171096"/>
                <a:gd name="connsiteY7" fmla="*/ 98063 h 717258"/>
                <a:gd name="connsiteX8" fmla="*/ 649289 w 1171096"/>
                <a:gd name="connsiteY8" fmla="*/ 112090 h 717258"/>
                <a:gd name="connsiteX9" fmla="*/ 682753 w 1171096"/>
                <a:gd name="connsiteY9" fmla="*/ 114956 h 717258"/>
                <a:gd name="connsiteX10" fmla="*/ 784591 w 1171096"/>
                <a:gd name="connsiteY10" fmla="*/ 119235 h 717258"/>
                <a:gd name="connsiteX11" fmla="*/ 839687 w 1171096"/>
                <a:gd name="connsiteY11" fmla="*/ 121277 h 717258"/>
                <a:gd name="connsiteX12" fmla="*/ 840099 w 1171096"/>
                <a:gd name="connsiteY12" fmla="*/ 126586 h 717258"/>
                <a:gd name="connsiteX13" fmla="*/ 838464 w 1171096"/>
                <a:gd name="connsiteY13" fmla="*/ 135557 h 717258"/>
                <a:gd name="connsiteX14" fmla="*/ 836828 w 1171096"/>
                <a:gd name="connsiteY14" fmla="*/ 145352 h 717258"/>
                <a:gd name="connsiteX15" fmla="*/ 842978 w 1171096"/>
                <a:gd name="connsiteY15" fmla="*/ 172040 h 717258"/>
                <a:gd name="connsiteX16" fmla="*/ 837232 w 1171096"/>
                <a:gd name="connsiteY16" fmla="*/ 145325 h 717258"/>
                <a:gd name="connsiteX17" fmla="*/ 838870 w 1171096"/>
                <a:gd name="connsiteY17" fmla="*/ 135516 h 717258"/>
                <a:gd name="connsiteX18" fmla="*/ 840507 w 1171096"/>
                <a:gd name="connsiteY18" fmla="*/ 126541 h 717258"/>
                <a:gd name="connsiteX19" fmla="*/ 840080 w 1171096"/>
                <a:gd name="connsiteY19" fmla="*/ 121260 h 717258"/>
                <a:gd name="connsiteX20" fmla="*/ 921960 w 1171096"/>
                <a:gd name="connsiteY20" fmla="*/ 123087 h 717258"/>
                <a:gd name="connsiteX21" fmla="*/ 921782 w 1171096"/>
                <a:gd name="connsiteY21" fmla="*/ 89848 h 717258"/>
                <a:gd name="connsiteX22" fmla="*/ 940971 w 1171096"/>
                <a:gd name="connsiteY22" fmla="*/ 112086 h 717258"/>
                <a:gd name="connsiteX23" fmla="*/ 950156 w 1171096"/>
                <a:gd name="connsiteY23" fmla="*/ 134722 h 717258"/>
                <a:gd name="connsiteX24" fmla="*/ 960978 w 1171096"/>
                <a:gd name="connsiteY24" fmla="*/ 137383 h 717258"/>
                <a:gd name="connsiteX25" fmla="*/ 975467 w 1171096"/>
                <a:gd name="connsiteY25" fmla="*/ 139408 h 717258"/>
                <a:gd name="connsiteX26" fmla="*/ 984688 w 1171096"/>
                <a:gd name="connsiteY26" fmla="*/ 144094 h 717258"/>
                <a:gd name="connsiteX27" fmla="*/ 993659 w 1171096"/>
                <a:gd name="connsiteY27" fmla="*/ 147588 h 717258"/>
                <a:gd name="connsiteX28" fmla="*/ 1001420 w 1171096"/>
                <a:gd name="connsiteY28" fmla="*/ 144729 h 717258"/>
                <a:gd name="connsiteX29" fmla="*/ 1009786 w 1171096"/>
                <a:gd name="connsiteY29" fmla="*/ 141671 h 717258"/>
                <a:gd name="connsiteX30" fmla="*/ 1034884 w 1171096"/>
                <a:gd name="connsiteY30" fmla="*/ 148184 h 717258"/>
                <a:gd name="connsiteX31" fmla="*/ 1055105 w 1171096"/>
                <a:gd name="connsiteY31" fmla="*/ 163274 h 717258"/>
                <a:gd name="connsiteX32" fmla="*/ 1065322 w 1171096"/>
                <a:gd name="connsiteY32" fmla="*/ 167563 h 717258"/>
                <a:gd name="connsiteX33" fmla="*/ 1075539 w 1171096"/>
                <a:gd name="connsiteY33" fmla="*/ 170224 h 717258"/>
                <a:gd name="connsiteX34" fmla="*/ 1084119 w 1171096"/>
                <a:gd name="connsiteY34" fmla="*/ 174711 h 717258"/>
                <a:gd name="connsiteX35" fmla="*/ 1093090 w 1171096"/>
                <a:gd name="connsiteY35" fmla="*/ 177332 h 717258"/>
                <a:gd name="connsiteX36" fmla="*/ 1103699 w 1171096"/>
                <a:gd name="connsiteY36" fmla="*/ 173679 h 717258"/>
                <a:gd name="connsiteX37" fmla="*/ 1114343 w 1171096"/>
                <a:gd name="connsiteY37" fmla="*/ 169787 h 717258"/>
                <a:gd name="connsiteX38" fmla="*/ 1124738 w 1171096"/>
                <a:gd name="connsiteY38" fmla="*/ 171654 h 717258"/>
                <a:gd name="connsiteX39" fmla="*/ 1142111 w 1171096"/>
                <a:gd name="connsiteY39" fmla="*/ 173480 h 717258"/>
                <a:gd name="connsiteX40" fmla="*/ 1147807 w 1171096"/>
                <a:gd name="connsiteY40" fmla="*/ 174711 h 717258"/>
                <a:gd name="connsiteX41" fmla="*/ 1152115 w 1171096"/>
                <a:gd name="connsiteY41" fmla="*/ 176141 h 717258"/>
                <a:gd name="connsiteX42" fmla="*/ 1139868 w 1171096"/>
                <a:gd name="connsiteY42" fmla="*/ 182058 h 717258"/>
                <a:gd name="connsiteX43" fmla="*/ 1123920 w 1171096"/>
                <a:gd name="connsiteY43" fmla="*/ 191628 h 717258"/>
                <a:gd name="connsiteX44" fmla="*/ 1115767 w 1171096"/>
                <a:gd name="connsiteY44" fmla="*/ 199571 h 717258"/>
                <a:gd name="connsiteX45" fmla="*/ 1115376 w 1171096"/>
                <a:gd name="connsiteY45" fmla="*/ 200206 h 717258"/>
                <a:gd name="connsiteX46" fmla="*/ 1100851 w 1171096"/>
                <a:gd name="connsiteY46" fmla="*/ 216091 h 717258"/>
                <a:gd name="connsiteX47" fmla="*/ 1087785 w 1171096"/>
                <a:gd name="connsiteY47" fmla="*/ 228322 h 717258"/>
                <a:gd name="connsiteX48" fmla="*/ 1063079 w 1171096"/>
                <a:gd name="connsiteY48" fmla="*/ 249964 h 717258"/>
                <a:gd name="connsiteX49" fmla="*/ 1063471 w 1171096"/>
                <a:gd name="connsiteY49" fmla="*/ 249964 h 717258"/>
                <a:gd name="connsiteX50" fmla="*/ 1062865 w 1171096"/>
                <a:gd name="connsiteY50" fmla="*/ 251394 h 717258"/>
                <a:gd name="connsiteX51" fmla="*/ 1063293 w 1171096"/>
                <a:gd name="connsiteY51" fmla="*/ 252387 h 717258"/>
                <a:gd name="connsiteX52" fmla="*/ 1063684 w 1171096"/>
                <a:gd name="connsiteY52" fmla="*/ 253618 h 717258"/>
                <a:gd name="connsiteX53" fmla="*/ 1060623 w 1171096"/>
                <a:gd name="connsiteY53" fmla="*/ 256080 h 717258"/>
                <a:gd name="connsiteX54" fmla="*/ 1057169 w 1171096"/>
                <a:gd name="connsiteY54" fmla="*/ 261163 h 717258"/>
                <a:gd name="connsiteX55" fmla="*/ 1057561 w 1171096"/>
                <a:gd name="connsiteY55" fmla="*/ 278715 h 717258"/>
                <a:gd name="connsiteX56" fmla="*/ 1057561 w 1171096"/>
                <a:gd name="connsiteY56" fmla="*/ 294401 h 717258"/>
                <a:gd name="connsiteX57" fmla="*/ 1045315 w 1171096"/>
                <a:gd name="connsiteY57" fmla="*/ 306871 h 717258"/>
                <a:gd name="connsiteX58" fmla="*/ 1032249 w 1171096"/>
                <a:gd name="connsiteY58" fmla="*/ 324383 h 717258"/>
                <a:gd name="connsiteX59" fmla="*/ 1036130 w 1171096"/>
                <a:gd name="connsiteY59" fmla="*/ 335225 h 717258"/>
                <a:gd name="connsiteX60" fmla="*/ 1041221 w 1171096"/>
                <a:gd name="connsiteY60" fmla="*/ 343564 h 717258"/>
                <a:gd name="connsiteX61" fmla="*/ 1040615 w 1171096"/>
                <a:gd name="connsiteY61" fmla="*/ 345589 h 717258"/>
                <a:gd name="connsiteX62" fmla="*/ 1040402 w 1171096"/>
                <a:gd name="connsiteY62" fmla="*/ 348051 h 717258"/>
                <a:gd name="connsiteX63" fmla="*/ 1040615 w 1171096"/>
                <a:gd name="connsiteY63" fmla="*/ 349878 h 717258"/>
                <a:gd name="connsiteX64" fmla="*/ 1038586 w 1171096"/>
                <a:gd name="connsiteY64" fmla="*/ 354167 h 717258"/>
                <a:gd name="connsiteX65" fmla="*/ 1037162 w 1171096"/>
                <a:gd name="connsiteY65" fmla="*/ 357860 h 717258"/>
                <a:gd name="connsiteX66" fmla="*/ 1037554 w 1171096"/>
                <a:gd name="connsiteY66" fmla="*/ 362546 h 717258"/>
                <a:gd name="connsiteX67" fmla="*/ 1036521 w 1171096"/>
                <a:gd name="connsiteY67" fmla="*/ 366001 h 717258"/>
                <a:gd name="connsiteX68" fmla="*/ 1036949 w 1171096"/>
                <a:gd name="connsiteY68" fmla="*/ 372514 h 717258"/>
                <a:gd name="connsiteX69" fmla="*/ 1038159 w 1171096"/>
                <a:gd name="connsiteY69" fmla="*/ 377438 h 717258"/>
                <a:gd name="connsiteX70" fmla="*/ 1035916 w 1171096"/>
                <a:gd name="connsiteY70" fmla="*/ 388041 h 717258"/>
                <a:gd name="connsiteX71" fmla="*/ 1040829 w 1171096"/>
                <a:gd name="connsiteY71" fmla="*/ 392131 h 717258"/>
                <a:gd name="connsiteX72" fmla="*/ 1047771 w 1171096"/>
                <a:gd name="connsiteY72" fmla="*/ 397810 h 717258"/>
                <a:gd name="connsiteX73" fmla="*/ 1054108 w 1171096"/>
                <a:gd name="connsiteY73" fmla="*/ 399239 h 717258"/>
                <a:gd name="connsiteX74" fmla="*/ 1060017 w 1171096"/>
                <a:gd name="connsiteY74" fmla="*/ 402297 h 717258"/>
                <a:gd name="connsiteX75" fmla="*/ 1070626 w 1171096"/>
                <a:gd name="connsiteY75" fmla="*/ 410676 h 717258"/>
                <a:gd name="connsiteX76" fmla="*/ 1079811 w 1171096"/>
                <a:gd name="connsiteY76" fmla="*/ 419850 h 717258"/>
                <a:gd name="connsiteX77" fmla="*/ 1090847 w 1171096"/>
                <a:gd name="connsiteY77" fmla="*/ 432279 h 717258"/>
                <a:gd name="connsiteX78" fmla="*/ 1104126 w 1171096"/>
                <a:gd name="connsiteY78" fmla="*/ 440221 h 717258"/>
                <a:gd name="connsiteX79" fmla="*/ 1111068 w 1171096"/>
                <a:gd name="connsiteY79" fmla="*/ 455351 h 717258"/>
                <a:gd name="connsiteX80" fmla="*/ 1112492 w 1171096"/>
                <a:gd name="connsiteY80" fmla="*/ 470005 h 717258"/>
                <a:gd name="connsiteX81" fmla="*/ 1111887 w 1171096"/>
                <a:gd name="connsiteY81" fmla="*/ 470204 h 717258"/>
                <a:gd name="connsiteX82" fmla="*/ 1105586 w 1171096"/>
                <a:gd name="connsiteY82" fmla="*/ 470817 h 717258"/>
                <a:gd name="connsiteX83" fmla="*/ 1105586 w 1171096"/>
                <a:gd name="connsiteY83" fmla="*/ 474343 h 717258"/>
                <a:gd name="connsiteX84" fmla="*/ 1111755 w 1171096"/>
                <a:gd name="connsiteY84" fmla="*/ 473747 h 717258"/>
                <a:gd name="connsiteX85" fmla="*/ 1117461 w 1171096"/>
                <a:gd name="connsiteY85" fmla="*/ 481886 h 717258"/>
                <a:gd name="connsiteX86" fmla="*/ 1122152 w 1171096"/>
                <a:gd name="connsiteY86" fmla="*/ 488818 h 717258"/>
                <a:gd name="connsiteX87" fmla="*/ 1119299 w 1171096"/>
                <a:gd name="connsiteY87" fmla="*/ 494523 h 717258"/>
                <a:gd name="connsiteX88" fmla="*/ 1116843 w 1171096"/>
                <a:gd name="connsiteY88" fmla="*/ 501035 h 717258"/>
                <a:gd name="connsiteX89" fmla="*/ 1120726 w 1171096"/>
                <a:gd name="connsiteY89" fmla="*/ 514271 h 717258"/>
                <a:gd name="connsiteX90" fmla="*/ 1124799 w 1171096"/>
                <a:gd name="connsiteY90" fmla="*/ 525062 h 717258"/>
                <a:gd name="connsiteX91" fmla="*/ 1135197 w 1171096"/>
                <a:gd name="connsiteY91" fmla="*/ 530358 h 717258"/>
                <a:gd name="connsiteX92" fmla="*/ 1143977 w 1171096"/>
                <a:gd name="connsiteY92" fmla="*/ 536462 h 717258"/>
                <a:gd name="connsiteX93" fmla="*/ 1144580 w 1171096"/>
                <a:gd name="connsiteY93" fmla="*/ 539724 h 717258"/>
                <a:gd name="connsiteX94" fmla="*/ 1149271 w 1171096"/>
                <a:gd name="connsiteY94" fmla="*/ 547054 h 717258"/>
                <a:gd name="connsiteX95" fmla="*/ 1158243 w 1171096"/>
                <a:gd name="connsiteY95" fmla="*/ 556210 h 717258"/>
                <a:gd name="connsiteX96" fmla="*/ 1163346 w 1171096"/>
                <a:gd name="connsiteY96" fmla="*/ 562125 h 717258"/>
                <a:gd name="connsiteX97" fmla="*/ 1168243 w 1171096"/>
                <a:gd name="connsiteY97" fmla="*/ 566802 h 717258"/>
                <a:gd name="connsiteX98" fmla="*/ 1170081 w 1171096"/>
                <a:gd name="connsiteY98" fmla="*/ 573325 h 717258"/>
                <a:gd name="connsiteX99" fmla="*/ 1171096 w 1171096"/>
                <a:gd name="connsiteY99" fmla="*/ 579838 h 717258"/>
                <a:gd name="connsiteX100" fmla="*/ 1166611 w 1171096"/>
                <a:gd name="connsiteY100" fmla="*/ 588794 h 717258"/>
                <a:gd name="connsiteX101" fmla="*/ 1162125 w 1171096"/>
                <a:gd name="connsiteY101" fmla="*/ 597142 h 717258"/>
                <a:gd name="connsiteX102" fmla="*/ 1161713 w 1171096"/>
                <a:gd name="connsiteY102" fmla="*/ 601222 h 717258"/>
                <a:gd name="connsiteX103" fmla="*/ 1160699 w 1171096"/>
                <a:gd name="connsiteY103" fmla="*/ 605700 h 717258"/>
                <a:gd name="connsiteX104" fmla="*/ 1155184 w 1171096"/>
                <a:gd name="connsiteY104" fmla="*/ 608134 h 717258"/>
                <a:gd name="connsiteX105" fmla="*/ 1149683 w 1171096"/>
                <a:gd name="connsiteY105" fmla="*/ 610178 h 717258"/>
                <a:gd name="connsiteX106" fmla="*/ 1144374 w 1171096"/>
                <a:gd name="connsiteY106" fmla="*/ 612422 h 717258"/>
                <a:gd name="connsiteX107" fmla="*/ 1129079 w 1171096"/>
                <a:gd name="connsiteY107" fmla="*/ 615474 h 717258"/>
                <a:gd name="connsiteX108" fmla="*/ 1126638 w 1171096"/>
                <a:gd name="connsiteY108" fmla="*/ 625239 h 717258"/>
                <a:gd name="connsiteX109" fmla="*/ 1130520 w 1171096"/>
                <a:gd name="connsiteY109" fmla="*/ 634404 h 717258"/>
                <a:gd name="connsiteX110" fmla="*/ 1135006 w 1171096"/>
                <a:gd name="connsiteY110" fmla="*/ 645405 h 717258"/>
                <a:gd name="connsiteX111" fmla="*/ 1133579 w 1171096"/>
                <a:gd name="connsiteY111" fmla="*/ 649475 h 717258"/>
                <a:gd name="connsiteX112" fmla="*/ 1128476 w 1171096"/>
                <a:gd name="connsiteY112" fmla="*/ 654162 h 717258"/>
                <a:gd name="connsiteX113" fmla="*/ 1127461 w 1171096"/>
                <a:gd name="connsiteY113" fmla="*/ 659658 h 717258"/>
                <a:gd name="connsiteX114" fmla="*/ 1126638 w 1171096"/>
                <a:gd name="connsiteY114" fmla="*/ 665562 h 717258"/>
                <a:gd name="connsiteX115" fmla="*/ 1117461 w 1171096"/>
                <a:gd name="connsiteY115" fmla="*/ 670041 h 717258"/>
                <a:gd name="connsiteX116" fmla="*/ 1111755 w 1171096"/>
                <a:gd name="connsiteY116" fmla="*/ 676354 h 717258"/>
                <a:gd name="connsiteX117" fmla="*/ 1113593 w 1171096"/>
                <a:gd name="connsiteY117" fmla="*/ 678389 h 717258"/>
                <a:gd name="connsiteX118" fmla="*/ 1115225 w 1171096"/>
                <a:gd name="connsiteY118" fmla="*/ 682258 h 717258"/>
                <a:gd name="connsiteX119" fmla="*/ 1112563 w 1171096"/>
                <a:gd name="connsiteY119" fmla="*/ 686328 h 717258"/>
                <a:gd name="connsiteX120" fmla="*/ 1110931 w 1171096"/>
                <a:gd name="connsiteY120" fmla="*/ 689180 h 717258"/>
                <a:gd name="connsiteX121" fmla="*/ 1106445 w 1171096"/>
                <a:gd name="connsiteY121" fmla="*/ 684293 h 717258"/>
                <a:gd name="connsiteX122" fmla="*/ 1101754 w 1171096"/>
                <a:gd name="connsiteY122" fmla="*/ 679406 h 717258"/>
                <a:gd name="connsiteX123" fmla="*/ 1096665 w 1171096"/>
                <a:gd name="connsiteY123" fmla="*/ 674718 h 717258"/>
                <a:gd name="connsiteX124" fmla="*/ 1095033 w 1171096"/>
                <a:gd name="connsiteY124" fmla="*/ 670649 h 717258"/>
                <a:gd name="connsiteX125" fmla="*/ 967570 w 1171096"/>
                <a:gd name="connsiteY125" fmla="*/ 677162 h 717258"/>
                <a:gd name="connsiteX126" fmla="*/ 895169 w 1171096"/>
                <a:gd name="connsiteY126" fmla="*/ 674928 h 717258"/>
                <a:gd name="connsiteX127" fmla="*/ 893377 w 1171096"/>
                <a:gd name="connsiteY127" fmla="*/ 673143 h 717258"/>
                <a:gd name="connsiteX128" fmla="*/ 892255 w 1171096"/>
                <a:gd name="connsiteY128" fmla="*/ 673143 h 717258"/>
                <a:gd name="connsiteX129" fmla="*/ 893402 w 1171096"/>
                <a:gd name="connsiteY129" fmla="*/ 674291 h 717258"/>
                <a:gd name="connsiteX130" fmla="*/ 893799 w 1171096"/>
                <a:gd name="connsiteY130" fmla="*/ 676132 h 717258"/>
                <a:gd name="connsiteX131" fmla="*/ 895248 w 1171096"/>
                <a:gd name="connsiteY131" fmla="*/ 681431 h 717258"/>
                <a:gd name="connsiteX132" fmla="*/ 898703 w 1171096"/>
                <a:gd name="connsiteY132" fmla="*/ 683674 h 717258"/>
                <a:gd name="connsiteX133" fmla="*/ 900350 w 1171096"/>
                <a:gd name="connsiteY133" fmla="*/ 688782 h 717258"/>
                <a:gd name="connsiteX134" fmla="*/ 902177 w 1171096"/>
                <a:gd name="connsiteY134" fmla="*/ 694695 h 717258"/>
                <a:gd name="connsiteX135" fmla="*/ 905453 w 1171096"/>
                <a:gd name="connsiteY135" fmla="*/ 698979 h 717258"/>
                <a:gd name="connsiteX136" fmla="*/ 908292 w 1171096"/>
                <a:gd name="connsiteY136" fmla="*/ 704279 h 717258"/>
                <a:gd name="connsiteX137" fmla="*/ 913394 w 1171096"/>
                <a:gd name="connsiteY137" fmla="*/ 713872 h 717258"/>
                <a:gd name="connsiteX138" fmla="*/ 914823 w 1171096"/>
                <a:gd name="connsiteY138" fmla="*/ 716517 h 717258"/>
                <a:gd name="connsiteX139" fmla="*/ 675119 w 1171096"/>
                <a:gd name="connsiteY139" fmla="*/ 709990 h 717258"/>
                <a:gd name="connsiteX140" fmla="*/ 604125 w 1171096"/>
                <a:gd name="connsiteY140" fmla="*/ 702851 h 717258"/>
                <a:gd name="connsiteX141" fmla="*/ 578217 w 1171096"/>
                <a:gd name="connsiteY141" fmla="*/ 699593 h 717258"/>
                <a:gd name="connsiteX142" fmla="*/ 582505 w 1171096"/>
                <a:gd name="connsiteY142" fmla="*/ 634107 h 717258"/>
                <a:gd name="connsiteX143" fmla="*/ 486000 w 1171096"/>
                <a:gd name="connsiteY143" fmla="*/ 626555 h 717258"/>
                <a:gd name="connsiteX144" fmla="*/ 486012 w 1171096"/>
                <a:gd name="connsiteY144" fmla="*/ 626387 h 717258"/>
                <a:gd name="connsiteX145" fmla="*/ 308972 w 1171096"/>
                <a:gd name="connsiteY145" fmla="*/ 606609 h 717258"/>
                <a:gd name="connsiteX146" fmla="*/ 236569 w 1171096"/>
                <a:gd name="connsiteY146" fmla="*/ 596192 h 717258"/>
                <a:gd name="connsiteX147" fmla="*/ 165371 w 1171096"/>
                <a:gd name="connsiteY147" fmla="*/ 582938 h 717258"/>
                <a:gd name="connsiteX148" fmla="*/ 138857 w 1171096"/>
                <a:gd name="connsiteY148" fmla="*/ 576823 h 717258"/>
                <a:gd name="connsiteX149" fmla="*/ 149869 w 1171096"/>
                <a:gd name="connsiteY149" fmla="*/ 511121 h 717258"/>
                <a:gd name="connsiteX150" fmla="*/ 174559 w 1171096"/>
                <a:gd name="connsiteY150" fmla="*/ 368730 h 717258"/>
                <a:gd name="connsiteX151" fmla="*/ 179239 w 1171096"/>
                <a:gd name="connsiteY151" fmla="*/ 339967 h 717258"/>
                <a:gd name="connsiteX152" fmla="*/ 179682 w 1171096"/>
                <a:gd name="connsiteY152" fmla="*/ 335742 h 717258"/>
                <a:gd name="connsiteX153" fmla="*/ 167314 w 1171096"/>
                <a:gd name="connsiteY153" fmla="*/ 320554 h 717258"/>
                <a:gd name="connsiteX154" fmla="*/ 163029 w 1171096"/>
                <a:gd name="connsiteY154" fmla="*/ 326657 h 717258"/>
                <a:gd name="connsiteX155" fmla="*/ 159561 w 1171096"/>
                <a:gd name="connsiteY155" fmla="*/ 332987 h 717258"/>
                <a:gd name="connsiteX156" fmla="*/ 156911 w 1171096"/>
                <a:gd name="connsiteY156" fmla="*/ 333182 h 717258"/>
                <a:gd name="connsiteX157" fmla="*/ 148142 w 1171096"/>
                <a:gd name="connsiteY157" fmla="*/ 332372 h 717258"/>
                <a:gd name="connsiteX158" fmla="*/ 144254 w 1171096"/>
                <a:gd name="connsiteY158" fmla="*/ 330948 h 717258"/>
                <a:gd name="connsiteX159" fmla="*/ 137740 w 1171096"/>
                <a:gd name="connsiteY159" fmla="*/ 327888 h 717258"/>
                <a:gd name="connsiteX160" fmla="*/ 127931 w 1171096"/>
                <a:gd name="connsiteY160" fmla="*/ 325038 h 717258"/>
                <a:gd name="connsiteX161" fmla="*/ 122011 w 1171096"/>
                <a:gd name="connsiteY161" fmla="*/ 327483 h 717258"/>
                <a:gd name="connsiteX162" fmla="*/ 114680 w 1171096"/>
                <a:gd name="connsiteY162" fmla="*/ 330543 h 717258"/>
                <a:gd name="connsiteX163" fmla="*/ 112029 w 1171096"/>
                <a:gd name="connsiteY163" fmla="*/ 328503 h 717258"/>
                <a:gd name="connsiteX164" fmla="*/ 105292 w 1171096"/>
                <a:gd name="connsiteY164" fmla="*/ 326058 h 717258"/>
                <a:gd name="connsiteX165" fmla="*/ 97936 w 1171096"/>
                <a:gd name="connsiteY165" fmla="*/ 329523 h 717258"/>
                <a:gd name="connsiteX166" fmla="*/ 94270 w 1171096"/>
                <a:gd name="connsiteY166" fmla="*/ 332987 h 717258"/>
                <a:gd name="connsiteX167" fmla="*/ 90183 w 1171096"/>
                <a:gd name="connsiteY167" fmla="*/ 321363 h 717258"/>
                <a:gd name="connsiteX168" fmla="*/ 89366 w 1171096"/>
                <a:gd name="connsiteY168" fmla="*/ 308331 h 717258"/>
                <a:gd name="connsiteX169" fmla="*/ 86716 w 1171096"/>
                <a:gd name="connsiteY169" fmla="*/ 302616 h 717258"/>
                <a:gd name="connsiteX170" fmla="*/ 82431 w 1171096"/>
                <a:gd name="connsiteY170" fmla="*/ 299766 h 717258"/>
                <a:gd name="connsiteX171" fmla="*/ 76115 w 1171096"/>
                <a:gd name="connsiteY171" fmla="*/ 299151 h 717258"/>
                <a:gd name="connsiteX172" fmla="*/ 73861 w 1171096"/>
                <a:gd name="connsiteY172" fmla="*/ 294667 h 717258"/>
                <a:gd name="connsiteX173" fmla="*/ 75495 w 1171096"/>
                <a:gd name="connsiteY173" fmla="*/ 286928 h 717258"/>
                <a:gd name="connsiteX174" fmla="*/ 76932 w 1171096"/>
                <a:gd name="connsiteY174" fmla="*/ 279384 h 717258"/>
                <a:gd name="connsiteX175" fmla="*/ 73662 w 1171096"/>
                <a:gd name="connsiteY175" fmla="*/ 273280 h 717258"/>
                <a:gd name="connsiteX176" fmla="*/ 68758 w 1171096"/>
                <a:gd name="connsiteY176" fmla="*/ 267565 h 717258"/>
                <a:gd name="connsiteX177" fmla="*/ 67123 w 1171096"/>
                <a:gd name="connsiteY177" fmla="*/ 260426 h 717258"/>
                <a:gd name="connsiteX178" fmla="*/ 67941 w 1171096"/>
                <a:gd name="connsiteY178" fmla="*/ 252282 h 717258"/>
                <a:gd name="connsiteX179" fmla="*/ 66925 w 1171096"/>
                <a:gd name="connsiteY179" fmla="*/ 243929 h 717258"/>
                <a:gd name="connsiteX180" fmla="*/ 61625 w 1171096"/>
                <a:gd name="connsiteY180" fmla="*/ 236190 h 717258"/>
                <a:gd name="connsiteX181" fmla="*/ 43246 w 1171096"/>
                <a:gd name="connsiteY181" fmla="*/ 245564 h 717258"/>
                <a:gd name="connsiteX182" fmla="*/ 40596 w 1171096"/>
                <a:gd name="connsiteY182" fmla="*/ 243313 h 717258"/>
                <a:gd name="connsiteX183" fmla="*/ 32249 w 1171096"/>
                <a:gd name="connsiteY183" fmla="*/ 233940 h 717258"/>
                <a:gd name="connsiteX184" fmla="*/ 34478 w 1171096"/>
                <a:gd name="connsiteY184" fmla="*/ 230475 h 717258"/>
                <a:gd name="connsiteX185" fmla="*/ 36732 w 1171096"/>
                <a:gd name="connsiteY185" fmla="*/ 224372 h 717258"/>
                <a:gd name="connsiteX186" fmla="*/ 40200 w 1171096"/>
                <a:gd name="connsiteY186" fmla="*/ 219272 h 717258"/>
                <a:gd name="connsiteX187" fmla="*/ 42231 w 1171096"/>
                <a:gd name="connsiteY187" fmla="*/ 210303 h 717258"/>
                <a:gd name="connsiteX188" fmla="*/ 49389 w 1171096"/>
                <a:gd name="connsiteY188" fmla="*/ 185031 h 717258"/>
                <a:gd name="connsiteX189" fmla="*/ 57959 w 1171096"/>
                <a:gd name="connsiteY189" fmla="*/ 169343 h 717258"/>
                <a:gd name="connsiteX190" fmla="*/ 57340 w 1171096"/>
                <a:gd name="connsiteY190" fmla="*/ 166688 h 717258"/>
                <a:gd name="connsiteX191" fmla="*/ 54888 w 1171096"/>
                <a:gd name="connsiteY191" fmla="*/ 165069 h 717258"/>
                <a:gd name="connsiteX192" fmla="*/ 49166 w 1171096"/>
                <a:gd name="connsiteY192" fmla="*/ 166089 h 717258"/>
                <a:gd name="connsiteX193" fmla="*/ 44881 w 1171096"/>
                <a:gd name="connsiteY193" fmla="*/ 163434 h 717258"/>
                <a:gd name="connsiteX194" fmla="*/ 40819 w 1171096"/>
                <a:gd name="connsiteY194" fmla="*/ 158140 h 717258"/>
                <a:gd name="connsiteX195" fmla="*/ 36930 w 1171096"/>
                <a:gd name="connsiteY195" fmla="*/ 153040 h 717258"/>
                <a:gd name="connsiteX196" fmla="*/ 34280 w 1171096"/>
                <a:gd name="connsiteY196" fmla="*/ 148361 h 717258"/>
                <a:gd name="connsiteX197" fmla="*/ 30193 w 1171096"/>
                <a:gd name="connsiteY197" fmla="*/ 134908 h 717258"/>
                <a:gd name="connsiteX198" fmla="*/ 24694 w 1171096"/>
                <a:gd name="connsiteY198" fmla="*/ 123704 h 717258"/>
                <a:gd name="connsiteX199" fmla="*/ 13474 w 1171096"/>
                <a:gd name="connsiteY199" fmla="*/ 111060 h 717258"/>
                <a:gd name="connsiteX200" fmla="*/ 7554 w 1171096"/>
                <a:gd name="connsiteY200" fmla="*/ 103727 h 717258"/>
                <a:gd name="connsiteX201" fmla="*/ 8966 w 1171096"/>
                <a:gd name="connsiteY201" fmla="*/ 96393 h 717258"/>
                <a:gd name="connsiteX202" fmla="*/ 10601 w 1171096"/>
                <a:gd name="connsiteY202" fmla="*/ 89464 h 717258"/>
                <a:gd name="connsiteX203" fmla="*/ 5300 w 1171096"/>
                <a:gd name="connsiteY203" fmla="*/ 75200 h 717258"/>
                <a:gd name="connsiteX204" fmla="*/ 0 w 1171096"/>
                <a:gd name="connsiteY204" fmla="*/ 61342 h 717258"/>
                <a:gd name="connsiteX205" fmla="*/ 7554 w 1171096"/>
                <a:gd name="connsiteY205" fmla="*/ 28736 h 717258"/>
                <a:gd name="connsiteX206" fmla="*/ 13251 w 1171096"/>
                <a:gd name="connsiteY206" fmla="*/ 0 h 717258"/>
                <a:gd name="connsiteX0" fmla="*/ 13251 w 1171096"/>
                <a:gd name="connsiteY0" fmla="*/ 0 h 717258"/>
                <a:gd name="connsiteX1" fmla="*/ 58355 w 1171096"/>
                <a:gd name="connsiteY1" fmla="*/ 11818 h 717258"/>
                <a:gd name="connsiteX2" fmla="*/ 108141 w 1171096"/>
                <a:gd name="connsiteY2" fmla="*/ 24462 h 717258"/>
                <a:gd name="connsiteX3" fmla="*/ 199340 w 1171096"/>
                <a:gd name="connsiteY3" fmla="*/ 45039 h 717258"/>
                <a:gd name="connsiteX4" fmla="*/ 277288 w 1171096"/>
                <a:gd name="connsiteY4" fmla="*/ 57667 h 717258"/>
                <a:gd name="connsiteX5" fmla="*/ 390952 w 1171096"/>
                <a:gd name="connsiteY5" fmla="*/ 76220 h 717258"/>
                <a:gd name="connsiteX6" fmla="*/ 535008 w 1171096"/>
                <a:gd name="connsiteY6" fmla="*/ 97413 h 717258"/>
                <a:gd name="connsiteX7" fmla="*/ 534952 w 1171096"/>
                <a:gd name="connsiteY7" fmla="*/ 98063 h 717258"/>
                <a:gd name="connsiteX8" fmla="*/ 649289 w 1171096"/>
                <a:gd name="connsiteY8" fmla="*/ 112090 h 717258"/>
                <a:gd name="connsiteX9" fmla="*/ 682753 w 1171096"/>
                <a:gd name="connsiteY9" fmla="*/ 114956 h 717258"/>
                <a:gd name="connsiteX10" fmla="*/ 784591 w 1171096"/>
                <a:gd name="connsiteY10" fmla="*/ 119235 h 717258"/>
                <a:gd name="connsiteX11" fmla="*/ 839687 w 1171096"/>
                <a:gd name="connsiteY11" fmla="*/ 121277 h 717258"/>
                <a:gd name="connsiteX12" fmla="*/ 840099 w 1171096"/>
                <a:gd name="connsiteY12" fmla="*/ 126586 h 717258"/>
                <a:gd name="connsiteX13" fmla="*/ 838464 w 1171096"/>
                <a:gd name="connsiteY13" fmla="*/ 135557 h 717258"/>
                <a:gd name="connsiteX14" fmla="*/ 836828 w 1171096"/>
                <a:gd name="connsiteY14" fmla="*/ 145352 h 717258"/>
                <a:gd name="connsiteX15" fmla="*/ 837232 w 1171096"/>
                <a:gd name="connsiteY15" fmla="*/ 145325 h 717258"/>
                <a:gd name="connsiteX16" fmla="*/ 838870 w 1171096"/>
                <a:gd name="connsiteY16" fmla="*/ 135516 h 717258"/>
                <a:gd name="connsiteX17" fmla="*/ 840507 w 1171096"/>
                <a:gd name="connsiteY17" fmla="*/ 126541 h 717258"/>
                <a:gd name="connsiteX18" fmla="*/ 840080 w 1171096"/>
                <a:gd name="connsiteY18" fmla="*/ 121260 h 717258"/>
                <a:gd name="connsiteX19" fmla="*/ 921960 w 1171096"/>
                <a:gd name="connsiteY19" fmla="*/ 123087 h 717258"/>
                <a:gd name="connsiteX20" fmla="*/ 921782 w 1171096"/>
                <a:gd name="connsiteY20" fmla="*/ 89848 h 717258"/>
                <a:gd name="connsiteX21" fmla="*/ 940971 w 1171096"/>
                <a:gd name="connsiteY21" fmla="*/ 112086 h 717258"/>
                <a:gd name="connsiteX22" fmla="*/ 950156 w 1171096"/>
                <a:gd name="connsiteY22" fmla="*/ 134722 h 717258"/>
                <a:gd name="connsiteX23" fmla="*/ 960978 w 1171096"/>
                <a:gd name="connsiteY23" fmla="*/ 137383 h 717258"/>
                <a:gd name="connsiteX24" fmla="*/ 975467 w 1171096"/>
                <a:gd name="connsiteY24" fmla="*/ 139408 h 717258"/>
                <a:gd name="connsiteX25" fmla="*/ 984688 w 1171096"/>
                <a:gd name="connsiteY25" fmla="*/ 144094 h 717258"/>
                <a:gd name="connsiteX26" fmla="*/ 993659 w 1171096"/>
                <a:gd name="connsiteY26" fmla="*/ 147588 h 717258"/>
                <a:gd name="connsiteX27" fmla="*/ 1001420 w 1171096"/>
                <a:gd name="connsiteY27" fmla="*/ 144729 h 717258"/>
                <a:gd name="connsiteX28" fmla="*/ 1009786 w 1171096"/>
                <a:gd name="connsiteY28" fmla="*/ 141671 h 717258"/>
                <a:gd name="connsiteX29" fmla="*/ 1034884 w 1171096"/>
                <a:gd name="connsiteY29" fmla="*/ 148184 h 717258"/>
                <a:gd name="connsiteX30" fmla="*/ 1055105 w 1171096"/>
                <a:gd name="connsiteY30" fmla="*/ 163274 h 717258"/>
                <a:gd name="connsiteX31" fmla="*/ 1065322 w 1171096"/>
                <a:gd name="connsiteY31" fmla="*/ 167563 h 717258"/>
                <a:gd name="connsiteX32" fmla="*/ 1075539 w 1171096"/>
                <a:gd name="connsiteY32" fmla="*/ 170224 h 717258"/>
                <a:gd name="connsiteX33" fmla="*/ 1084119 w 1171096"/>
                <a:gd name="connsiteY33" fmla="*/ 174711 h 717258"/>
                <a:gd name="connsiteX34" fmla="*/ 1093090 w 1171096"/>
                <a:gd name="connsiteY34" fmla="*/ 177332 h 717258"/>
                <a:gd name="connsiteX35" fmla="*/ 1103699 w 1171096"/>
                <a:gd name="connsiteY35" fmla="*/ 173679 h 717258"/>
                <a:gd name="connsiteX36" fmla="*/ 1114343 w 1171096"/>
                <a:gd name="connsiteY36" fmla="*/ 169787 h 717258"/>
                <a:gd name="connsiteX37" fmla="*/ 1124738 w 1171096"/>
                <a:gd name="connsiteY37" fmla="*/ 171654 h 717258"/>
                <a:gd name="connsiteX38" fmla="*/ 1142111 w 1171096"/>
                <a:gd name="connsiteY38" fmla="*/ 173480 h 717258"/>
                <a:gd name="connsiteX39" fmla="*/ 1147807 w 1171096"/>
                <a:gd name="connsiteY39" fmla="*/ 174711 h 717258"/>
                <a:gd name="connsiteX40" fmla="*/ 1152115 w 1171096"/>
                <a:gd name="connsiteY40" fmla="*/ 176141 h 717258"/>
                <a:gd name="connsiteX41" fmla="*/ 1139868 w 1171096"/>
                <a:gd name="connsiteY41" fmla="*/ 182058 h 717258"/>
                <a:gd name="connsiteX42" fmla="*/ 1123920 w 1171096"/>
                <a:gd name="connsiteY42" fmla="*/ 191628 h 717258"/>
                <a:gd name="connsiteX43" fmla="*/ 1115767 w 1171096"/>
                <a:gd name="connsiteY43" fmla="*/ 199571 h 717258"/>
                <a:gd name="connsiteX44" fmla="*/ 1115376 w 1171096"/>
                <a:gd name="connsiteY44" fmla="*/ 200206 h 717258"/>
                <a:gd name="connsiteX45" fmla="*/ 1100851 w 1171096"/>
                <a:gd name="connsiteY45" fmla="*/ 216091 h 717258"/>
                <a:gd name="connsiteX46" fmla="*/ 1087785 w 1171096"/>
                <a:gd name="connsiteY46" fmla="*/ 228322 h 717258"/>
                <a:gd name="connsiteX47" fmla="*/ 1063079 w 1171096"/>
                <a:gd name="connsiteY47" fmla="*/ 249964 h 717258"/>
                <a:gd name="connsiteX48" fmla="*/ 1063471 w 1171096"/>
                <a:gd name="connsiteY48" fmla="*/ 249964 h 717258"/>
                <a:gd name="connsiteX49" fmla="*/ 1062865 w 1171096"/>
                <a:gd name="connsiteY49" fmla="*/ 251394 h 717258"/>
                <a:gd name="connsiteX50" fmla="*/ 1063293 w 1171096"/>
                <a:gd name="connsiteY50" fmla="*/ 252387 h 717258"/>
                <a:gd name="connsiteX51" fmla="*/ 1063684 w 1171096"/>
                <a:gd name="connsiteY51" fmla="*/ 253618 h 717258"/>
                <a:gd name="connsiteX52" fmla="*/ 1060623 w 1171096"/>
                <a:gd name="connsiteY52" fmla="*/ 256080 h 717258"/>
                <a:gd name="connsiteX53" fmla="*/ 1057169 w 1171096"/>
                <a:gd name="connsiteY53" fmla="*/ 261163 h 717258"/>
                <a:gd name="connsiteX54" fmla="*/ 1057561 w 1171096"/>
                <a:gd name="connsiteY54" fmla="*/ 278715 h 717258"/>
                <a:gd name="connsiteX55" fmla="*/ 1057561 w 1171096"/>
                <a:gd name="connsiteY55" fmla="*/ 294401 h 717258"/>
                <a:gd name="connsiteX56" fmla="*/ 1045315 w 1171096"/>
                <a:gd name="connsiteY56" fmla="*/ 306871 h 717258"/>
                <a:gd name="connsiteX57" fmla="*/ 1032249 w 1171096"/>
                <a:gd name="connsiteY57" fmla="*/ 324383 h 717258"/>
                <a:gd name="connsiteX58" fmla="*/ 1036130 w 1171096"/>
                <a:gd name="connsiteY58" fmla="*/ 335225 h 717258"/>
                <a:gd name="connsiteX59" fmla="*/ 1041221 w 1171096"/>
                <a:gd name="connsiteY59" fmla="*/ 343564 h 717258"/>
                <a:gd name="connsiteX60" fmla="*/ 1040615 w 1171096"/>
                <a:gd name="connsiteY60" fmla="*/ 345589 h 717258"/>
                <a:gd name="connsiteX61" fmla="*/ 1040402 w 1171096"/>
                <a:gd name="connsiteY61" fmla="*/ 348051 h 717258"/>
                <a:gd name="connsiteX62" fmla="*/ 1040615 w 1171096"/>
                <a:gd name="connsiteY62" fmla="*/ 349878 h 717258"/>
                <a:gd name="connsiteX63" fmla="*/ 1038586 w 1171096"/>
                <a:gd name="connsiteY63" fmla="*/ 354167 h 717258"/>
                <a:gd name="connsiteX64" fmla="*/ 1037162 w 1171096"/>
                <a:gd name="connsiteY64" fmla="*/ 357860 h 717258"/>
                <a:gd name="connsiteX65" fmla="*/ 1037554 w 1171096"/>
                <a:gd name="connsiteY65" fmla="*/ 362546 h 717258"/>
                <a:gd name="connsiteX66" fmla="*/ 1036521 w 1171096"/>
                <a:gd name="connsiteY66" fmla="*/ 366001 h 717258"/>
                <a:gd name="connsiteX67" fmla="*/ 1036949 w 1171096"/>
                <a:gd name="connsiteY67" fmla="*/ 372514 h 717258"/>
                <a:gd name="connsiteX68" fmla="*/ 1038159 w 1171096"/>
                <a:gd name="connsiteY68" fmla="*/ 377438 h 717258"/>
                <a:gd name="connsiteX69" fmla="*/ 1035916 w 1171096"/>
                <a:gd name="connsiteY69" fmla="*/ 388041 h 717258"/>
                <a:gd name="connsiteX70" fmla="*/ 1040829 w 1171096"/>
                <a:gd name="connsiteY70" fmla="*/ 392131 h 717258"/>
                <a:gd name="connsiteX71" fmla="*/ 1047771 w 1171096"/>
                <a:gd name="connsiteY71" fmla="*/ 397810 h 717258"/>
                <a:gd name="connsiteX72" fmla="*/ 1054108 w 1171096"/>
                <a:gd name="connsiteY72" fmla="*/ 399239 h 717258"/>
                <a:gd name="connsiteX73" fmla="*/ 1060017 w 1171096"/>
                <a:gd name="connsiteY73" fmla="*/ 402297 h 717258"/>
                <a:gd name="connsiteX74" fmla="*/ 1070626 w 1171096"/>
                <a:gd name="connsiteY74" fmla="*/ 410676 h 717258"/>
                <a:gd name="connsiteX75" fmla="*/ 1079811 w 1171096"/>
                <a:gd name="connsiteY75" fmla="*/ 419850 h 717258"/>
                <a:gd name="connsiteX76" fmla="*/ 1090847 w 1171096"/>
                <a:gd name="connsiteY76" fmla="*/ 432279 h 717258"/>
                <a:gd name="connsiteX77" fmla="*/ 1104126 w 1171096"/>
                <a:gd name="connsiteY77" fmla="*/ 440221 h 717258"/>
                <a:gd name="connsiteX78" fmla="*/ 1111068 w 1171096"/>
                <a:gd name="connsiteY78" fmla="*/ 455351 h 717258"/>
                <a:gd name="connsiteX79" fmla="*/ 1112492 w 1171096"/>
                <a:gd name="connsiteY79" fmla="*/ 470005 h 717258"/>
                <a:gd name="connsiteX80" fmla="*/ 1111887 w 1171096"/>
                <a:gd name="connsiteY80" fmla="*/ 470204 h 717258"/>
                <a:gd name="connsiteX81" fmla="*/ 1105586 w 1171096"/>
                <a:gd name="connsiteY81" fmla="*/ 470817 h 717258"/>
                <a:gd name="connsiteX82" fmla="*/ 1105586 w 1171096"/>
                <a:gd name="connsiteY82" fmla="*/ 474343 h 717258"/>
                <a:gd name="connsiteX83" fmla="*/ 1111755 w 1171096"/>
                <a:gd name="connsiteY83" fmla="*/ 473747 h 717258"/>
                <a:gd name="connsiteX84" fmla="*/ 1117461 w 1171096"/>
                <a:gd name="connsiteY84" fmla="*/ 481886 h 717258"/>
                <a:gd name="connsiteX85" fmla="*/ 1122152 w 1171096"/>
                <a:gd name="connsiteY85" fmla="*/ 488818 h 717258"/>
                <a:gd name="connsiteX86" fmla="*/ 1119299 w 1171096"/>
                <a:gd name="connsiteY86" fmla="*/ 494523 h 717258"/>
                <a:gd name="connsiteX87" fmla="*/ 1116843 w 1171096"/>
                <a:gd name="connsiteY87" fmla="*/ 501035 h 717258"/>
                <a:gd name="connsiteX88" fmla="*/ 1120726 w 1171096"/>
                <a:gd name="connsiteY88" fmla="*/ 514271 h 717258"/>
                <a:gd name="connsiteX89" fmla="*/ 1124799 w 1171096"/>
                <a:gd name="connsiteY89" fmla="*/ 525062 h 717258"/>
                <a:gd name="connsiteX90" fmla="*/ 1135197 w 1171096"/>
                <a:gd name="connsiteY90" fmla="*/ 530358 h 717258"/>
                <a:gd name="connsiteX91" fmla="*/ 1143977 w 1171096"/>
                <a:gd name="connsiteY91" fmla="*/ 536462 h 717258"/>
                <a:gd name="connsiteX92" fmla="*/ 1144580 w 1171096"/>
                <a:gd name="connsiteY92" fmla="*/ 539724 h 717258"/>
                <a:gd name="connsiteX93" fmla="*/ 1149271 w 1171096"/>
                <a:gd name="connsiteY93" fmla="*/ 547054 h 717258"/>
                <a:gd name="connsiteX94" fmla="*/ 1158243 w 1171096"/>
                <a:gd name="connsiteY94" fmla="*/ 556210 h 717258"/>
                <a:gd name="connsiteX95" fmla="*/ 1163346 w 1171096"/>
                <a:gd name="connsiteY95" fmla="*/ 562125 h 717258"/>
                <a:gd name="connsiteX96" fmla="*/ 1168243 w 1171096"/>
                <a:gd name="connsiteY96" fmla="*/ 566802 h 717258"/>
                <a:gd name="connsiteX97" fmla="*/ 1170081 w 1171096"/>
                <a:gd name="connsiteY97" fmla="*/ 573325 h 717258"/>
                <a:gd name="connsiteX98" fmla="*/ 1171096 w 1171096"/>
                <a:gd name="connsiteY98" fmla="*/ 579838 h 717258"/>
                <a:gd name="connsiteX99" fmla="*/ 1166611 w 1171096"/>
                <a:gd name="connsiteY99" fmla="*/ 588794 h 717258"/>
                <a:gd name="connsiteX100" fmla="*/ 1162125 w 1171096"/>
                <a:gd name="connsiteY100" fmla="*/ 597142 h 717258"/>
                <a:gd name="connsiteX101" fmla="*/ 1161713 w 1171096"/>
                <a:gd name="connsiteY101" fmla="*/ 601222 h 717258"/>
                <a:gd name="connsiteX102" fmla="*/ 1160699 w 1171096"/>
                <a:gd name="connsiteY102" fmla="*/ 605700 h 717258"/>
                <a:gd name="connsiteX103" fmla="*/ 1155184 w 1171096"/>
                <a:gd name="connsiteY103" fmla="*/ 608134 h 717258"/>
                <a:gd name="connsiteX104" fmla="*/ 1149683 w 1171096"/>
                <a:gd name="connsiteY104" fmla="*/ 610178 h 717258"/>
                <a:gd name="connsiteX105" fmla="*/ 1144374 w 1171096"/>
                <a:gd name="connsiteY105" fmla="*/ 612422 h 717258"/>
                <a:gd name="connsiteX106" fmla="*/ 1129079 w 1171096"/>
                <a:gd name="connsiteY106" fmla="*/ 615474 h 717258"/>
                <a:gd name="connsiteX107" fmla="*/ 1126638 w 1171096"/>
                <a:gd name="connsiteY107" fmla="*/ 625239 h 717258"/>
                <a:gd name="connsiteX108" fmla="*/ 1130520 w 1171096"/>
                <a:gd name="connsiteY108" fmla="*/ 634404 h 717258"/>
                <a:gd name="connsiteX109" fmla="*/ 1135006 w 1171096"/>
                <a:gd name="connsiteY109" fmla="*/ 645405 h 717258"/>
                <a:gd name="connsiteX110" fmla="*/ 1133579 w 1171096"/>
                <a:gd name="connsiteY110" fmla="*/ 649475 h 717258"/>
                <a:gd name="connsiteX111" fmla="*/ 1128476 w 1171096"/>
                <a:gd name="connsiteY111" fmla="*/ 654162 h 717258"/>
                <a:gd name="connsiteX112" fmla="*/ 1127461 w 1171096"/>
                <a:gd name="connsiteY112" fmla="*/ 659658 h 717258"/>
                <a:gd name="connsiteX113" fmla="*/ 1126638 w 1171096"/>
                <a:gd name="connsiteY113" fmla="*/ 665562 h 717258"/>
                <a:gd name="connsiteX114" fmla="*/ 1117461 w 1171096"/>
                <a:gd name="connsiteY114" fmla="*/ 670041 h 717258"/>
                <a:gd name="connsiteX115" fmla="*/ 1111755 w 1171096"/>
                <a:gd name="connsiteY115" fmla="*/ 676354 h 717258"/>
                <a:gd name="connsiteX116" fmla="*/ 1113593 w 1171096"/>
                <a:gd name="connsiteY116" fmla="*/ 678389 h 717258"/>
                <a:gd name="connsiteX117" fmla="*/ 1115225 w 1171096"/>
                <a:gd name="connsiteY117" fmla="*/ 682258 h 717258"/>
                <a:gd name="connsiteX118" fmla="*/ 1112563 w 1171096"/>
                <a:gd name="connsiteY118" fmla="*/ 686328 h 717258"/>
                <a:gd name="connsiteX119" fmla="*/ 1110931 w 1171096"/>
                <a:gd name="connsiteY119" fmla="*/ 689180 h 717258"/>
                <a:gd name="connsiteX120" fmla="*/ 1106445 w 1171096"/>
                <a:gd name="connsiteY120" fmla="*/ 684293 h 717258"/>
                <a:gd name="connsiteX121" fmla="*/ 1101754 w 1171096"/>
                <a:gd name="connsiteY121" fmla="*/ 679406 h 717258"/>
                <a:gd name="connsiteX122" fmla="*/ 1096665 w 1171096"/>
                <a:gd name="connsiteY122" fmla="*/ 674718 h 717258"/>
                <a:gd name="connsiteX123" fmla="*/ 1095033 w 1171096"/>
                <a:gd name="connsiteY123" fmla="*/ 670649 h 717258"/>
                <a:gd name="connsiteX124" fmla="*/ 967570 w 1171096"/>
                <a:gd name="connsiteY124" fmla="*/ 677162 h 717258"/>
                <a:gd name="connsiteX125" fmla="*/ 895169 w 1171096"/>
                <a:gd name="connsiteY125" fmla="*/ 674928 h 717258"/>
                <a:gd name="connsiteX126" fmla="*/ 893377 w 1171096"/>
                <a:gd name="connsiteY126" fmla="*/ 673143 h 717258"/>
                <a:gd name="connsiteX127" fmla="*/ 892255 w 1171096"/>
                <a:gd name="connsiteY127" fmla="*/ 673143 h 717258"/>
                <a:gd name="connsiteX128" fmla="*/ 893402 w 1171096"/>
                <a:gd name="connsiteY128" fmla="*/ 674291 h 717258"/>
                <a:gd name="connsiteX129" fmla="*/ 893799 w 1171096"/>
                <a:gd name="connsiteY129" fmla="*/ 676132 h 717258"/>
                <a:gd name="connsiteX130" fmla="*/ 895248 w 1171096"/>
                <a:gd name="connsiteY130" fmla="*/ 681431 h 717258"/>
                <a:gd name="connsiteX131" fmla="*/ 898703 w 1171096"/>
                <a:gd name="connsiteY131" fmla="*/ 683674 h 717258"/>
                <a:gd name="connsiteX132" fmla="*/ 900350 w 1171096"/>
                <a:gd name="connsiteY132" fmla="*/ 688782 h 717258"/>
                <a:gd name="connsiteX133" fmla="*/ 902177 w 1171096"/>
                <a:gd name="connsiteY133" fmla="*/ 694695 h 717258"/>
                <a:gd name="connsiteX134" fmla="*/ 905453 w 1171096"/>
                <a:gd name="connsiteY134" fmla="*/ 698979 h 717258"/>
                <a:gd name="connsiteX135" fmla="*/ 908292 w 1171096"/>
                <a:gd name="connsiteY135" fmla="*/ 704279 h 717258"/>
                <a:gd name="connsiteX136" fmla="*/ 913394 w 1171096"/>
                <a:gd name="connsiteY136" fmla="*/ 713872 h 717258"/>
                <a:gd name="connsiteX137" fmla="*/ 914823 w 1171096"/>
                <a:gd name="connsiteY137" fmla="*/ 716517 h 717258"/>
                <a:gd name="connsiteX138" fmla="*/ 675119 w 1171096"/>
                <a:gd name="connsiteY138" fmla="*/ 709990 h 717258"/>
                <a:gd name="connsiteX139" fmla="*/ 604125 w 1171096"/>
                <a:gd name="connsiteY139" fmla="*/ 702851 h 717258"/>
                <a:gd name="connsiteX140" fmla="*/ 578217 w 1171096"/>
                <a:gd name="connsiteY140" fmla="*/ 699593 h 717258"/>
                <a:gd name="connsiteX141" fmla="*/ 582505 w 1171096"/>
                <a:gd name="connsiteY141" fmla="*/ 634107 h 717258"/>
                <a:gd name="connsiteX142" fmla="*/ 486000 w 1171096"/>
                <a:gd name="connsiteY142" fmla="*/ 626555 h 717258"/>
                <a:gd name="connsiteX143" fmla="*/ 486012 w 1171096"/>
                <a:gd name="connsiteY143" fmla="*/ 626387 h 717258"/>
                <a:gd name="connsiteX144" fmla="*/ 308972 w 1171096"/>
                <a:gd name="connsiteY144" fmla="*/ 606609 h 717258"/>
                <a:gd name="connsiteX145" fmla="*/ 236569 w 1171096"/>
                <a:gd name="connsiteY145" fmla="*/ 596192 h 717258"/>
                <a:gd name="connsiteX146" fmla="*/ 165371 w 1171096"/>
                <a:gd name="connsiteY146" fmla="*/ 582938 h 717258"/>
                <a:gd name="connsiteX147" fmla="*/ 138857 w 1171096"/>
                <a:gd name="connsiteY147" fmla="*/ 576823 h 717258"/>
                <a:gd name="connsiteX148" fmla="*/ 149869 w 1171096"/>
                <a:gd name="connsiteY148" fmla="*/ 511121 h 717258"/>
                <a:gd name="connsiteX149" fmla="*/ 174559 w 1171096"/>
                <a:gd name="connsiteY149" fmla="*/ 368730 h 717258"/>
                <a:gd name="connsiteX150" fmla="*/ 179239 w 1171096"/>
                <a:gd name="connsiteY150" fmla="*/ 339967 h 717258"/>
                <a:gd name="connsiteX151" fmla="*/ 179682 w 1171096"/>
                <a:gd name="connsiteY151" fmla="*/ 335742 h 717258"/>
                <a:gd name="connsiteX152" fmla="*/ 167314 w 1171096"/>
                <a:gd name="connsiteY152" fmla="*/ 320554 h 717258"/>
                <a:gd name="connsiteX153" fmla="*/ 163029 w 1171096"/>
                <a:gd name="connsiteY153" fmla="*/ 326657 h 717258"/>
                <a:gd name="connsiteX154" fmla="*/ 159561 w 1171096"/>
                <a:gd name="connsiteY154" fmla="*/ 332987 h 717258"/>
                <a:gd name="connsiteX155" fmla="*/ 156911 w 1171096"/>
                <a:gd name="connsiteY155" fmla="*/ 333182 h 717258"/>
                <a:gd name="connsiteX156" fmla="*/ 148142 w 1171096"/>
                <a:gd name="connsiteY156" fmla="*/ 332372 h 717258"/>
                <a:gd name="connsiteX157" fmla="*/ 144254 w 1171096"/>
                <a:gd name="connsiteY157" fmla="*/ 330948 h 717258"/>
                <a:gd name="connsiteX158" fmla="*/ 137740 w 1171096"/>
                <a:gd name="connsiteY158" fmla="*/ 327888 h 717258"/>
                <a:gd name="connsiteX159" fmla="*/ 127931 w 1171096"/>
                <a:gd name="connsiteY159" fmla="*/ 325038 h 717258"/>
                <a:gd name="connsiteX160" fmla="*/ 122011 w 1171096"/>
                <a:gd name="connsiteY160" fmla="*/ 327483 h 717258"/>
                <a:gd name="connsiteX161" fmla="*/ 114680 w 1171096"/>
                <a:gd name="connsiteY161" fmla="*/ 330543 h 717258"/>
                <a:gd name="connsiteX162" fmla="*/ 112029 w 1171096"/>
                <a:gd name="connsiteY162" fmla="*/ 328503 h 717258"/>
                <a:gd name="connsiteX163" fmla="*/ 105292 w 1171096"/>
                <a:gd name="connsiteY163" fmla="*/ 326058 h 717258"/>
                <a:gd name="connsiteX164" fmla="*/ 97936 w 1171096"/>
                <a:gd name="connsiteY164" fmla="*/ 329523 h 717258"/>
                <a:gd name="connsiteX165" fmla="*/ 94270 w 1171096"/>
                <a:gd name="connsiteY165" fmla="*/ 332987 h 717258"/>
                <a:gd name="connsiteX166" fmla="*/ 90183 w 1171096"/>
                <a:gd name="connsiteY166" fmla="*/ 321363 h 717258"/>
                <a:gd name="connsiteX167" fmla="*/ 89366 w 1171096"/>
                <a:gd name="connsiteY167" fmla="*/ 308331 h 717258"/>
                <a:gd name="connsiteX168" fmla="*/ 86716 w 1171096"/>
                <a:gd name="connsiteY168" fmla="*/ 302616 h 717258"/>
                <a:gd name="connsiteX169" fmla="*/ 82431 w 1171096"/>
                <a:gd name="connsiteY169" fmla="*/ 299766 h 717258"/>
                <a:gd name="connsiteX170" fmla="*/ 76115 w 1171096"/>
                <a:gd name="connsiteY170" fmla="*/ 299151 h 717258"/>
                <a:gd name="connsiteX171" fmla="*/ 73861 w 1171096"/>
                <a:gd name="connsiteY171" fmla="*/ 294667 h 717258"/>
                <a:gd name="connsiteX172" fmla="*/ 75495 w 1171096"/>
                <a:gd name="connsiteY172" fmla="*/ 286928 h 717258"/>
                <a:gd name="connsiteX173" fmla="*/ 76932 w 1171096"/>
                <a:gd name="connsiteY173" fmla="*/ 279384 h 717258"/>
                <a:gd name="connsiteX174" fmla="*/ 73662 w 1171096"/>
                <a:gd name="connsiteY174" fmla="*/ 273280 h 717258"/>
                <a:gd name="connsiteX175" fmla="*/ 68758 w 1171096"/>
                <a:gd name="connsiteY175" fmla="*/ 267565 h 717258"/>
                <a:gd name="connsiteX176" fmla="*/ 67123 w 1171096"/>
                <a:gd name="connsiteY176" fmla="*/ 260426 h 717258"/>
                <a:gd name="connsiteX177" fmla="*/ 67941 w 1171096"/>
                <a:gd name="connsiteY177" fmla="*/ 252282 h 717258"/>
                <a:gd name="connsiteX178" fmla="*/ 66925 w 1171096"/>
                <a:gd name="connsiteY178" fmla="*/ 243929 h 717258"/>
                <a:gd name="connsiteX179" fmla="*/ 61625 w 1171096"/>
                <a:gd name="connsiteY179" fmla="*/ 236190 h 717258"/>
                <a:gd name="connsiteX180" fmla="*/ 43246 w 1171096"/>
                <a:gd name="connsiteY180" fmla="*/ 245564 h 717258"/>
                <a:gd name="connsiteX181" fmla="*/ 40596 w 1171096"/>
                <a:gd name="connsiteY181" fmla="*/ 243313 h 717258"/>
                <a:gd name="connsiteX182" fmla="*/ 32249 w 1171096"/>
                <a:gd name="connsiteY182" fmla="*/ 233940 h 717258"/>
                <a:gd name="connsiteX183" fmla="*/ 34478 w 1171096"/>
                <a:gd name="connsiteY183" fmla="*/ 230475 h 717258"/>
                <a:gd name="connsiteX184" fmla="*/ 36732 w 1171096"/>
                <a:gd name="connsiteY184" fmla="*/ 224372 h 717258"/>
                <a:gd name="connsiteX185" fmla="*/ 40200 w 1171096"/>
                <a:gd name="connsiteY185" fmla="*/ 219272 h 717258"/>
                <a:gd name="connsiteX186" fmla="*/ 42231 w 1171096"/>
                <a:gd name="connsiteY186" fmla="*/ 210303 h 717258"/>
                <a:gd name="connsiteX187" fmla="*/ 49389 w 1171096"/>
                <a:gd name="connsiteY187" fmla="*/ 185031 h 717258"/>
                <a:gd name="connsiteX188" fmla="*/ 57959 w 1171096"/>
                <a:gd name="connsiteY188" fmla="*/ 169343 h 717258"/>
                <a:gd name="connsiteX189" fmla="*/ 57340 w 1171096"/>
                <a:gd name="connsiteY189" fmla="*/ 166688 h 717258"/>
                <a:gd name="connsiteX190" fmla="*/ 54888 w 1171096"/>
                <a:gd name="connsiteY190" fmla="*/ 165069 h 717258"/>
                <a:gd name="connsiteX191" fmla="*/ 49166 w 1171096"/>
                <a:gd name="connsiteY191" fmla="*/ 166089 h 717258"/>
                <a:gd name="connsiteX192" fmla="*/ 44881 w 1171096"/>
                <a:gd name="connsiteY192" fmla="*/ 163434 h 717258"/>
                <a:gd name="connsiteX193" fmla="*/ 40819 w 1171096"/>
                <a:gd name="connsiteY193" fmla="*/ 158140 h 717258"/>
                <a:gd name="connsiteX194" fmla="*/ 36930 w 1171096"/>
                <a:gd name="connsiteY194" fmla="*/ 153040 h 717258"/>
                <a:gd name="connsiteX195" fmla="*/ 34280 w 1171096"/>
                <a:gd name="connsiteY195" fmla="*/ 148361 h 717258"/>
                <a:gd name="connsiteX196" fmla="*/ 30193 w 1171096"/>
                <a:gd name="connsiteY196" fmla="*/ 134908 h 717258"/>
                <a:gd name="connsiteX197" fmla="*/ 24694 w 1171096"/>
                <a:gd name="connsiteY197" fmla="*/ 123704 h 717258"/>
                <a:gd name="connsiteX198" fmla="*/ 13474 w 1171096"/>
                <a:gd name="connsiteY198" fmla="*/ 111060 h 717258"/>
                <a:gd name="connsiteX199" fmla="*/ 7554 w 1171096"/>
                <a:gd name="connsiteY199" fmla="*/ 103727 h 717258"/>
                <a:gd name="connsiteX200" fmla="*/ 8966 w 1171096"/>
                <a:gd name="connsiteY200" fmla="*/ 96393 h 717258"/>
                <a:gd name="connsiteX201" fmla="*/ 10601 w 1171096"/>
                <a:gd name="connsiteY201" fmla="*/ 89464 h 717258"/>
                <a:gd name="connsiteX202" fmla="*/ 5300 w 1171096"/>
                <a:gd name="connsiteY202" fmla="*/ 75200 h 717258"/>
                <a:gd name="connsiteX203" fmla="*/ 0 w 1171096"/>
                <a:gd name="connsiteY203" fmla="*/ 61342 h 717258"/>
                <a:gd name="connsiteX204" fmla="*/ 7554 w 1171096"/>
                <a:gd name="connsiteY204" fmla="*/ 28736 h 717258"/>
                <a:gd name="connsiteX205" fmla="*/ 13251 w 1171096"/>
                <a:gd name="connsiteY205" fmla="*/ 0 h 717258"/>
                <a:gd name="connsiteX0" fmla="*/ 13251 w 1171096"/>
                <a:gd name="connsiteY0" fmla="*/ 0 h 717258"/>
                <a:gd name="connsiteX1" fmla="*/ 58355 w 1171096"/>
                <a:gd name="connsiteY1" fmla="*/ 11818 h 717258"/>
                <a:gd name="connsiteX2" fmla="*/ 108141 w 1171096"/>
                <a:gd name="connsiteY2" fmla="*/ 24462 h 717258"/>
                <a:gd name="connsiteX3" fmla="*/ 199340 w 1171096"/>
                <a:gd name="connsiteY3" fmla="*/ 45039 h 717258"/>
                <a:gd name="connsiteX4" fmla="*/ 277288 w 1171096"/>
                <a:gd name="connsiteY4" fmla="*/ 57667 h 717258"/>
                <a:gd name="connsiteX5" fmla="*/ 390952 w 1171096"/>
                <a:gd name="connsiteY5" fmla="*/ 76220 h 717258"/>
                <a:gd name="connsiteX6" fmla="*/ 535008 w 1171096"/>
                <a:gd name="connsiteY6" fmla="*/ 97413 h 717258"/>
                <a:gd name="connsiteX7" fmla="*/ 534952 w 1171096"/>
                <a:gd name="connsiteY7" fmla="*/ 98063 h 717258"/>
                <a:gd name="connsiteX8" fmla="*/ 649289 w 1171096"/>
                <a:gd name="connsiteY8" fmla="*/ 112090 h 717258"/>
                <a:gd name="connsiteX9" fmla="*/ 682753 w 1171096"/>
                <a:gd name="connsiteY9" fmla="*/ 114956 h 717258"/>
                <a:gd name="connsiteX10" fmla="*/ 784591 w 1171096"/>
                <a:gd name="connsiteY10" fmla="*/ 119235 h 717258"/>
                <a:gd name="connsiteX11" fmla="*/ 839687 w 1171096"/>
                <a:gd name="connsiteY11" fmla="*/ 121277 h 717258"/>
                <a:gd name="connsiteX12" fmla="*/ 840099 w 1171096"/>
                <a:gd name="connsiteY12" fmla="*/ 126586 h 717258"/>
                <a:gd name="connsiteX13" fmla="*/ 838464 w 1171096"/>
                <a:gd name="connsiteY13" fmla="*/ 135557 h 717258"/>
                <a:gd name="connsiteX14" fmla="*/ 836828 w 1171096"/>
                <a:gd name="connsiteY14" fmla="*/ 145352 h 717258"/>
                <a:gd name="connsiteX15" fmla="*/ 837232 w 1171096"/>
                <a:gd name="connsiteY15" fmla="*/ 145325 h 717258"/>
                <a:gd name="connsiteX16" fmla="*/ 840507 w 1171096"/>
                <a:gd name="connsiteY16" fmla="*/ 126541 h 717258"/>
                <a:gd name="connsiteX17" fmla="*/ 840080 w 1171096"/>
                <a:gd name="connsiteY17" fmla="*/ 121260 h 717258"/>
                <a:gd name="connsiteX18" fmla="*/ 921960 w 1171096"/>
                <a:gd name="connsiteY18" fmla="*/ 123087 h 717258"/>
                <a:gd name="connsiteX19" fmla="*/ 921782 w 1171096"/>
                <a:gd name="connsiteY19" fmla="*/ 89848 h 717258"/>
                <a:gd name="connsiteX20" fmla="*/ 940971 w 1171096"/>
                <a:gd name="connsiteY20" fmla="*/ 112086 h 717258"/>
                <a:gd name="connsiteX21" fmla="*/ 950156 w 1171096"/>
                <a:gd name="connsiteY21" fmla="*/ 134722 h 717258"/>
                <a:gd name="connsiteX22" fmla="*/ 960978 w 1171096"/>
                <a:gd name="connsiteY22" fmla="*/ 137383 h 717258"/>
                <a:gd name="connsiteX23" fmla="*/ 975467 w 1171096"/>
                <a:gd name="connsiteY23" fmla="*/ 139408 h 717258"/>
                <a:gd name="connsiteX24" fmla="*/ 984688 w 1171096"/>
                <a:gd name="connsiteY24" fmla="*/ 144094 h 717258"/>
                <a:gd name="connsiteX25" fmla="*/ 993659 w 1171096"/>
                <a:gd name="connsiteY25" fmla="*/ 147588 h 717258"/>
                <a:gd name="connsiteX26" fmla="*/ 1001420 w 1171096"/>
                <a:gd name="connsiteY26" fmla="*/ 144729 h 717258"/>
                <a:gd name="connsiteX27" fmla="*/ 1009786 w 1171096"/>
                <a:gd name="connsiteY27" fmla="*/ 141671 h 717258"/>
                <a:gd name="connsiteX28" fmla="*/ 1034884 w 1171096"/>
                <a:gd name="connsiteY28" fmla="*/ 148184 h 717258"/>
                <a:gd name="connsiteX29" fmla="*/ 1055105 w 1171096"/>
                <a:gd name="connsiteY29" fmla="*/ 163274 h 717258"/>
                <a:gd name="connsiteX30" fmla="*/ 1065322 w 1171096"/>
                <a:gd name="connsiteY30" fmla="*/ 167563 h 717258"/>
                <a:gd name="connsiteX31" fmla="*/ 1075539 w 1171096"/>
                <a:gd name="connsiteY31" fmla="*/ 170224 h 717258"/>
                <a:gd name="connsiteX32" fmla="*/ 1084119 w 1171096"/>
                <a:gd name="connsiteY32" fmla="*/ 174711 h 717258"/>
                <a:gd name="connsiteX33" fmla="*/ 1093090 w 1171096"/>
                <a:gd name="connsiteY33" fmla="*/ 177332 h 717258"/>
                <a:gd name="connsiteX34" fmla="*/ 1103699 w 1171096"/>
                <a:gd name="connsiteY34" fmla="*/ 173679 h 717258"/>
                <a:gd name="connsiteX35" fmla="*/ 1114343 w 1171096"/>
                <a:gd name="connsiteY35" fmla="*/ 169787 h 717258"/>
                <a:gd name="connsiteX36" fmla="*/ 1124738 w 1171096"/>
                <a:gd name="connsiteY36" fmla="*/ 171654 h 717258"/>
                <a:gd name="connsiteX37" fmla="*/ 1142111 w 1171096"/>
                <a:gd name="connsiteY37" fmla="*/ 173480 h 717258"/>
                <a:gd name="connsiteX38" fmla="*/ 1147807 w 1171096"/>
                <a:gd name="connsiteY38" fmla="*/ 174711 h 717258"/>
                <a:gd name="connsiteX39" fmla="*/ 1152115 w 1171096"/>
                <a:gd name="connsiteY39" fmla="*/ 176141 h 717258"/>
                <a:gd name="connsiteX40" fmla="*/ 1139868 w 1171096"/>
                <a:gd name="connsiteY40" fmla="*/ 182058 h 717258"/>
                <a:gd name="connsiteX41" fmla="*/ 1123920 w 1171096"/>
                <a:gd name="connsiteY41" fmla="*/ 191628 h 717258"/>
                <a:gd name="connsiteX42" fmla="*/ 1115767 w 1171096"/>
                <a:gd name="connsiteY42" fmla="*/ 199571 h 717258"/>
                <a:gd name="connsiteX43" fmla="*/ 1115376 w 1171096"/>
                <a:gd name="connsiteY43" fmla="*/ 200206 h 717258"/>
                <a:gd name="connsiteX44" fmla="*/ 1100851 w 1171096"/>
                <a:gd name="connsiteY44" fmla="*/ 216091 h 717258"/>
                <a:gd name="connsiteX45" fmla="*/ 1087785 w 1171096"/>
                <a:gd name="connsiteY45" fmla="*/ 228322 h 717258"/>
                <a:gd name="connsiteX46" fmla="*/ 1063079 w 1171096"/>
                <a:gd name="connsiteY46" fmla="*/ 249964 h 717258"/>
                <a:gd name="connsiteX47" fmla="*/ 1063471 w 1171096"/>
                <a:gd name="connsiteY47" fmla="*/ 249964 h 717258"/>
                <a:gd name="connsiteX48" fmla="*/ 1062865 w 1171096"/>
                <a:gd name="connsiteY48" fmla="*/ 251394 h 717258"/>
                <a:gd name="connsiteX49" fmla="*/ 1063293 w 1171096"/>
                <a:gd name="connsiteY49" fmla="*/ 252387 h 717258"/>
                <a:gd name="connsiteX50" fmla="*/ 1063684 w 1171096"/>
                <a:gd name="connsiteY50" fmla="*/ 253618 h 717258"/>
                <a:gd name="connsiteX51" fmla="*/ 1060623 w 1171096"/>
                <a:gd name="connsiteY51" fmla="*/ 256080 h 717258"/>
                <a:gd name="connsiteX52" fmla="*/ 1057169 w 1171096"/>
                <a:gd name="connsiteY52" fmla="*/ 261163 h 717258"/>
                <a:gd name="connsiteX53" fmla="*/ 1057561 w 1171096"/>
                <a:gd name="connsiteY53" fmla="*/ 278715 h 717258"/>
                <a:gd name="connsiteX54" fmla="*/ 1057561 w 1171096"/>
                <a:gd name="connsiteY54" fmla="*/ 294401 h 717258"/>
                <a:gd name="connsiteX55" fmla="*/ 1045315 w 1171096"/>
                <a:gd name="connsiteY55" fmla="*/ 306871 h 717258"/>
                <a:gd name="connsiteX56" fmla="*/ 1032249 w 1171096"/>
                <a:gd name="connsiteY56" fmla="*/ 324383 h 717258"/>
                <a:gd name="connsiteX57" fmla="*/ 1036130 w 1171096"/>
                <a:gd name="connsiteY57" fmla="*/ 335225 h 717258"/>
                <a:gd name="connsiteX58" fmla="*/ 1041221 w 1171096"/>
                <a:gd name="connsiteY58" fmla="*/ 343564 h 717258"/>
                <a:gd name="connsiteX59" fmla="*/ 1040615 w 1171096"/>
                <a:gd name="connsiteY59" fmla="*/ 345589 h 717258"/>
                <a:gd name="connsiteX60" fmla="*/ 1040402 w 1171096"/>
                <a:gd name="connsiteY60" fmla="*/ 348051 h 717258"/>
                <a:gd name="connsiteX61" fmla="*/ 1040615 w 1171096"/>
                <a:gd name="connsiteY61" fmla="*/ 349878 h 717258"/>
                <a:gd name="connsiteX62" fmla="*/ 1038586 w 1171096"/>
                <a:gd name="connsiteY62" fmla="*/ 354167 h 717258"/>
                <a:gd name="connsiteX63" fmla="*/ 1037162 w 1171096"/>
                <a:gd name="connsiteY63" fmla="*/ 357860 h 717258"/>
                <a:gd name="connsiteX64" fmla="*/ 1037554 w 1171096"/>
                <a:gd name="connsiteY64" fmla="*/ 362546 h 717258"/>
                <a:gd name="connsiteX65" fmla="*/ 1036521 w 1171096"/>
                <a:gd name="connsiteY65" fmla="*/ 366001 h 717258"/>
                <a:gd name="connsiteX66" fmla="*/ 1036949 w 1171096"/>
                <a:gd name="connsiteY66" fmla="*/ 372514 h 717258"/>
                <a:gd name="connsiteX67" fmla="*/ 1038159 w 1171096"/>
                <a:gd name="connsiteY67" fmla="*/ 377438 h 717258"/>
                <a:gd name="connsiteX68" fmla="*/ 1035916 w 1171096"/>
                <a:gd name="connsiteY68" fmla="*/ 388041 h 717258"/>
                <a:gd name="connsiteX69" fmla="*/ 1040829 w 1171096"/>
                <a:gd name="connsiteY69" fmla="*/ 392131 h 717258"/>
                <a:gd name="connsiteX70" fmla="*/ 1047771 w 1171096"/>
                <a:gd name="connsiteY70" fmla="*/ 397810 h 717258"/>
                <a:gd name="connsiteX71" fmla="*/ 1054108 w 1171096"/>
                <a:gd name="connsiteY71" fmla="*/ 399239 h 717258"/>
                <a:gd name="connsiteX72" fmla="*/ 1060017 w 1171096"/>
                <a:gd name="connsiteY72" fmla="*/ 402297 h 717258"/>
                <a:gd name="connsiteX73" fmla="*/ 1070626 w 1171096"/>
                <a:gd name="connsiteY73" fmla="*/ 410676 h 717258"/>
                <a:gd name="connsiteX74" fmla="*/ 1079811 w 1171096"/>
                <a:gd name="connsiteY74" fmla="*/ 419850 h 717258"/>
                <a:gd name="connsiteX75" fmla="*/ 1090847 w 1171096"/>
                <a:gd name="connsiteY75" fmla="*/ 432279 h 717258"/>
                <a:gd name="connsiteX76" fmla="*/ 1104126 w 1171096"/>
                <a:gd name="connsiteY76" fmla="*/ 440221 h 717258"/>
                <a:gd name="connsiteX77" fmla="*/ 1111068 w 1171096"/>
                <a:gd name="connsiteY77" fmla="*/ 455351 h 717258"/>
                <a:gd name="connsiteX78" fmla="*/ 1112492 w 1171096"/>
                <a:gd name="connsiteY78" fmla="*/ 470005 h 717258"/>
                <a:gd name="connsiteX79" fmla="*/ 1111887 w 1171096"/>
                <a:gd name="connsiteY79" fmla="*/ 470204 h 717258"/>
                <a:gd name="connsiteX80" fmla="*/ 1105586 w 1171096"/>
                <a:gd name="connsiteY80" fmla="*/ 470817 h 717258"/>
                <a:gd name="connsiteX81" fmla="*/ 1105586 w 1171096"/>
                <a:gd name="connsiteY81" fmla="*/ 474343 h 717258"/>
                <a:gd name="connsiteX82" fmla="*/ 1111755 w 1171096"/>
                <a:gd name="connsiteY82" fmla="*/ 473747 h 717258"/>
                <a:gd name="connsiteX83" fmla="*/ 1117461 w 1171096"/>
                <a:gd name="connsiteY83" fmla="*/ 481886 h 717258"/>
                <a:gd name="connsiteX84" fmla="*/ 1122152 w 1171096"/>
                <a:gd name="connsiteY84" fmla="*/ 488818 h 717258"/>
                <a:gd name="connsiteX85" fmla="*/ 1119299 w 1171096"/>
                <a:gd name="connsiteY85" fmla="*/ 494523 h 717258"/>
                <a:gd name="connsiteX86" fmla="*/ 1116843 w 1171096"/>
                <a:gd name="connsiteY86" fmla="*/ 501035 h 717258"/>
                <a:gd name="connsiteX87" fmla="*/ 1120726 w 1171096"/>
                <a:gd name="connsiteY87" fmla="*/ 514271 h 717258"/>
                <a:gd name="connsiteX88" fmla="*/ 1124799 w 1171096"/>
                <a:gd name="connsiteY88" fmla="*/ 525062 h 717258"/>
                <a:gd name="connsiteX89" fmla="*/ 1135197 w 1171096"/>
                <a:gd name="connsiteY89" fmla="*/ 530358 h 717258"/>
                <a:gd name="connsiteX90" fmla="*/ 1143977 w 1171096"/>
                <a:gd name="connsiteY90" fmla="*/ 536462 h 717258"/>
                <a:gd name="connsiteX91" fmla="*/ 1144580 w 1171096"/>
                <a:gd name="connsiteY91" fmla="*/ 539724 h 717258"/>
                <a:gd name="connsiteX92" fmla="*/ 1149271 w 1171096"/>
                <a:gd name="connsiteY92" fmla="*/ 547054 h 717258"/>
                <a:gd name="connsiteX93" fmla="*/ 1158243 w 1171096"/>
                <a:gd name="connsiteY93" fmla="*/ 556210 h 717258"/>
                <a:gd name="connsiteX94" fmla="*/ 1163346 w 1171096"/>
                <a:gd name="connsiteY94" fmla="*/ 562125 h 717258"/>
                <a:gd name="connsiteX95" fmla="*/ 1168243 w 1171096"/>
                <a:gd name="connsiteY95" fmla="*/ 566802 h 717258"/>
                <a:gd name="connsiteX96" fmla="*/ 1170081 w 1171096"/>
                <a:gd name="connsiteY96" fmla="*/ 573325 h 717258"/>
                <a:gd name="connsiteX97" fmla="*/ 1171096 w 1171096"/>
                <a:gd name="connsiteY97" fmla="*/ 579838 h 717258"/>
                <a:gd name="connsiteX98" fmla="*/ 1166611 w 1171096"/>
                <a:gd name="connsiteY98" fmla="*/ 588794 h 717258"/>
                <a:gd name="connsiteX99" fmla="*/ 1162125 w 1171096"/>
                <a:gd name="connsiteY99" fmla="*/ 597142 h 717258"/>
                <a:gd name="connsiteX100" fmla="*/ 1161713 w 1171096"/>
                <a:gd name="connsiteY100" fmla="*/ 601222 h 717258"/>
                <a:gd name="connsiteX101" fmla="*/ 1160699 w 1171096"/>
                <a:gd name="connsiteY101" fmla="*/ 605700 h 717258"/>
                <a:gd name="connsiteX102" fmla="*/ 1155184 w 1171096"/>
                <a:gd name="connsiteY102" fmla="*/ 608134 h 717258"/>
                <a:gd name="connsiteX103" fmla="*/ 1149683 w 1171096"/>
                <a:gd name="connsiteY103" fmla="*/ 610178 h 717258"/>
                <a:gd name="connsiteX104" fmla="*/ 1144374 w 1171096"/>
                <a:gd name="connsiteY104" fmla="*/ 612422 h 717258"/>
                <a:gd name="connsiteX105" fmla="*/ 1129079 w 1171096"/>
                <a:gd name="connsiteY105" fmla="*/ 615474 h 717258"/>
                <a:gd name="connsiteX106" fmla="*/ 1126638 w 1171096"/>
                <a:gd name="connsiteY106" fmla="*/ 625239 h 717258"/>
                <a:gd name="connsiteX107" fmla="*/ 1130520 w 1171096"/>
                <a:gd name="connsiteY107" fmla="*/ 634404 h 717258"/>
                <a:gd name="connsiteX108" fmla="*/ 1135006 w 1171096"/>
                <a:gd name="connsiteY108" fmla="*/ 645405 h 717258"/>
                <a:gd name="connsiteX109" fmla="*/ 1133579 w 1171096"/>
                <a:gd name="connsiteY109" fmla="*/ 649475 h 717258"/>
                <a:gd name="connsiteX110" fmla="*/ 1128476 w 1171096"/>
                <a:gd name="connsiteY110" fmla="*/ 654162 h 717258"/>
                <a:gd name="connsiteX111" fmla="*/ 1127461 w 1171096"/>
                <a:gd name="connsiteY111" fmla="*/ 659658 h 717258"/>
                <a:gd name="connsiteX112" fmla="*/ 1126638 w 1171096"/>
                <a:gd name="connsiteY112" fmla="*/ 665562 h 717258"/>
                <a:gd name="connsiteX113" fmla="*/ 1117461 w 1171096"/>
                <a:gd name="connsiteY113" fmla="*/ 670041 h 717258"/>
                <a:gd name="connsiteX114" fmla="*/ 1111755 w 1171096"/>
                <a:gd name="connsiteY114" fmla="*/ 676354 h 717258"/>
                <a:gd name="connsiteX115" fmla="*/ 1113593 w 1171096"/>
                <a:gd name="connsiteY115" fmla="*/ 678389 h 717258"/>
                <a:gd name="connsiteX116" fmla="*/ 1115225 w 1171096"/>
                <a:gd name="connsiteY116" fmla="*/ 682258 h 717258"/>
                <a:gd name="connsiteX117" fmla="*/ 1112563 w 1171096"/>
                <a:gd name="connsiteY117" fmla="*/ 686328 h 717258"/>
                <a:gd name="connsiteX118" fmla="*/ 1110931 w 1171096"/>
                <a:gd name="connsiteY118" fmla="*/ 689180 h 717258"/>
                <a:gd name="connsiteX119" fmla="*/ 1106445 w 1171096"/>
                <a:gd name="connsiteY119" fmla="*/ 684293 h 717258"/>
                <a:gd name="connsiteX120" fmla="*/ 1101754 w 1171096"/>
                <a:gd name="connsiteY120" fmla="*/ 679406 h 717258"/>
                <a:gd name="connsiteX121" fmla="*/ 1096665 w 1171096"/>
                <a:gd name="connsiteY121" fmla="*/ 674718 h 717258"/>
                <a:gd name="connsiteX122" fmla="*/ 1095033 w 1171096"/>
                <a:gd name="connsiteY122" fmla="*/ 670649 h 717258"/>
                <a:gd name="connsiteX123" fmla="*/ 967570 w 1171096"/>
                <a:gd name="connsiteY123" fmla="*/ 677162 h 717258"/>
                <a:gd name="connsiteX124" fmla="*/ 895169 w 1171096"/>
                <a:gd name="connsiteY124" fmla="*/ 674928 h 717258"/>
                <a:gd name="connsiteX125" fmla="*/ 893377 w 1171096"/>
                <a:gd name="connsiteY125" fmla="*/ 673143 h 717258"/>
                <a:gd name="connsiteX126" fmla="*/ 892255 w 1171096"/>
                <a:gd name="connsiteY126" fmla="*/ 673143 h 717258"/>
                <a:gd name="connsiteX127" fmla="*/ 893402 w 1171096"/>
                <a:gd name="connsiteY127" fmla="*/ 674291 h 717258"/>
                <a:gd name="connsiteX128" fmla="*/ 893799 w 1171096"/>
                <a:gd name="connsiteY128" fmla="*/ 676132 h 717258"/>
                <a:gd name="connsiteX129" fmla="*/ 895248 w 1171096"/>
                <a:gd name="connsiteY129" fmla="*/ 681431 h 717258"/>
                <a:gd name="connsiteX130" fmla="*/ 898703 w 1171096"/>
                <a:gd name="connsiteY130" fmla="*/ 683674 h 717258"/>
                <a:gd name="connsiteX131" fmla="*/ 900350 w 1171096"/>
                <a:gd name="connsiteY131" fmla="*/ 688782 h 717258"/>
                <a:gd name="connsiteX132" fmla="*/ 902177 w 1171096"/>
                <a:gd name="connsiteY132" fmla="*/ 694695 h 717258"/>
                <a:gd name="connsiteX133" fmla="*/ 905453 w 1171096"/>
                <a:gd name="connsiteY133" fmla="*/ 698979 h 717258"/>
                <a:gd name="connsiteX134" fmla="*/ 908292 w 1171096"/>
                <a:gd name="connsiteY134" fmla="*/ 704279 h 717258"/>
                <a:gd name="connsiteX135" fmla="*/ 913394 w 1171096"/>
                <a:gd name="connsiteY135" fmla="*/ 713872 h 717258"/>
                <a:gd name="connsiteX136" fmla="*/ 914823 w 1171096"/>
                <a:gd name="connsiteY136" fmla="*/ 716517 h 717258"/>
                <a:gd name="connsiteX137" fmla="*/ 675119 w 1171096"/>
                <a:gd name="connsiteY137" fmla="*/ 709990 h 717258"/>
                <a:gd name="connsiteX138" fmla="*/ 604125 w 1171096"/>
                <a:gd name="connsiteY138" fmla="*/ 702851 h 717258"/>
                <a:gd name="connsiteX139" fmla="*/ 578217 w 1171096"/>
                <a:gd name="connsiteY139" fmla="*/ 699593 h 717258"/>
                <a:gd name="connsiteX140" fmla="*/ 582505 w 1171096"/>
                <a:gd name="connsiteY140" fmla="*/ 634107 h 717258"/>
                <a:gd name="connsiteX141" fmla="*/ 486000 w 1171096"/>
                <a:gd name="connsiteY141" fmla="*/ 626555 h 717258"/>
                <a:gd name="connsiteX142" fmla="*/ 486012 w 1171096"/>
                <a:gd name="connsiteY142" fmla="*/ 626387 h 717258"/>
                <a:gd name="connsiteX143" fmla="*/ 308972 w 1171096"/>
                <a:gd name="connsiteY143" fmla="*/ 606609 h 717258"/>
                <a:gd name="connsiteX144" fmla="*/ 236569 w 1171096"/>
                <a:gd name="connsiteY144" fmla="*/ 596192 h 717258"/>
                <a:gd name="connsiteX145" fmla="*/ 165371 w 1171096"/>
                <a:gd name="connsiteY145" fmla="*/ 582938 h 717258"/>
                <a:gd name="connsiteX146" fmla="*/ 138857 w 1171096"/>
                <a:gd name="connsiteY146" fmla="*/ 576823 h 717258"/>
                <a:gd name="connsiteX147" fmla="*/ 149869 w 1171096"/>
                <a:gd name="connsiteY147" fmla="*/ 511121 h 717258"/>
                <a:gd name="connsiteX148" fmla="*/ 174559 w 1171096"/>
                <a:gd name="connsiteY148" fmla="*/ 368730 h 717258"/>
                <a:gd name="connsiteX149" fmla="*/ 179239 w 1171096"/>
                <a:gd name="connsiteY149" fmla="*/ 339967 h 717258"/>
                <a:gd name="connsiteX150" fmla="*/ 179682 w 1171096"/>
                <a:gd name="connsiteY150" fmla="*/ 335742 h 717258"/>
                <a:gd name="connsiteX151" fmla="*/ 167314 w 1171096"/>
                <a:gd name="connsiteY151" fmla="*/ 320554 h 717258"/>
                <a:gd name="connsiteX152" fmla="*/ 163029 w 1171096"/>
                <a:gd name="connsiteY152" fmla="*/ 326657 h 717258"/>
                <a:gd name="connsiteX153" fmla="*/ 159561 w 1171096"/>
                <a:gd name="connsiteY153" fmla="*/ 332987 h 717258"/>
                <a:gd name="connsiteX154" fmla="*/ 156911 w 1171096"/>
                <a:gd name="connsiteY154" fmla="*/ 333182 h 717258"/>
                <a:gd name="connsiteX155" fmla="*/ 148142 w 1171096"/>
                <a:gd name="connsiteY155" fmla="*/ 332372 h 717258"/>
                <a:gd name="connsiteX156" fmla="*/ 144254 w 1171096"/>
                <a:gd name="connsiteY156" fmla="*/ 330948 h 717258"/>
                <a:gd name="connsiteX157" fmla="*/ 137740 w 1171096"/>
                <a:gd name="connsiteY157" fmla="*/ 327888 h 717258"/>
                <a:gd name="connsiteX158" fmla="*/ 127931 w 1171096"/>
                <a:gd name="connsiteY158" fmla="*/ 325038 h 717258"/>
                <a:gd name="connsiteX159" fmla="*/ 122011 w 1171096"/>
                <a:gd name="connsiteY159" fmla="*/ 327483 h 717258"/>
                <a:gd name="connsiteX160" fmla="*/ 114680 w 1171096"/>
                <a:gd name="connsiteY160" fmla="*/ 330543 h 717258"/>
                <a:gd name="connsiteX161" fmla="*/ 112029 w 1171096"/>
                <a:gd name="connsiteY161" fmla="*/ 328503 h 717258"/>
                <a:gd name="connsiteX162" fmla="*/ 105292 w 1171096"/>
                <a:gd name="connsiteY162" fmla="*/ 326058 h 717258"/>
                <a:gd name="connsiteX163" fmla="*/ 97936 w 1171096"/>
                <a:gd name="connsiteY163" fmla="*/ 329523 h 717258"/>
                <a:gd name="connsiteX164" fmla="*/ 94270 w 1171096"/>
                <a:gd name="connsiteY164" fmla="*/ 332987 h 717258"/>
                <a:gd name="connsiteX165" fmla="*/ 90183 w 1171096"/>
                <a:gd name="connsiteY165" fmla="*/ 321363 h 717258"/>
                <a:gd name="connsiteX166" fmla="*/ 89366 w 1171096"/>
                <a:gd name="connsiteY166" fmla="*/ 308331 h 717258"/>
                <a:gd name="connsiteX167" fmla="*/ 86716 w 1171096"/>
                <a:gd name="connsiteY167" fmla="*/ 302616 h 717258"/>
                <a:gd name="connsiteX168" fmla="*/ 82431 w 1171096"/>
                <a:gd name="connsiteY168" fmla="*/ 299766 h 717258"/>
                <a:gd name="connsiteX169" fmla="*/ 76115 w 1171096"/>
                <a:gd name="connsiteY169" fmla="*/ 299151 h 717258"/>
                <a:gd name="connsiteX170" fmla="*/ 73861 w 1171096"/>
                <a:gd name="connsiteY170" fmla="*/ 294667 h 717258"/>
                <a:gd name="connsiteX171" fmla="*/ 75495 w 1171096"/>
                <a:gd name="connsiteY171" fmla="*/ 286928 h 717258"/>
                <a:gd name="connsiteX172" fmla="*/ 76932 w 1171096"/>
                <a:gd name="connsiteY172" fmla="*/ 279384 h 717258"/>
                <a:gd name="connsiteX173" fmla="*/ 73662 w 1171096"/>
                <a:gd name="connsiteY173" fmla="*/ 273280 h 717258"/>
                <a:gd name="connsiteX174" fmla="*/ 68758 w 1171096"/>
                <a:gd name="connsiteY174" fmla="*/ 267565 h 717258"/>
                <a:gd name="connsiteX175" fmla="*/ 67123 w 1171096"/>
                <a:gd name="connsiteY175" fmla="*/ 260426 h 717258"/>
                <a:gd name="connsiteX176" fmla="*/ 67941 w 1171096"/>
                <a:gd name="connsiteY176" fmla="*/ 252282 h 717258"/>
                <a:gd name="connsiteX177" fmla="*/ 66925 w 1171096"/>
                <a:gd name="connsiteY177" fmla="*/ 243929 h 717258"/>
                <a:gd name="connsiteX178" fmla="*/ 61625 w 1171096"/>
                <a:gd name="connsiteY178" fmla="*/ 236190 h 717258"/>
                <a:gd name="connsiteX179" fmla="*/ 43246 w 1171096"/>
                <a:gd name="connsiteY179" fmla="*/ 245564 h 717258"/>
                <a:gd name="connsiteX180" fmla="*/ 40596 w 1171096"/>
                <a:gd name="connsiteY180" fmla="*/ 243313 h 717258"/>
                <a:gd name="connsiteX181" fmla="*/ 32249 w 1171096"/>
                <a:gd name="connsiteY181" fmla="*/ 233940 h 717258"/>
                <a:gd name="connsiteX182" fmla="*/ 34478 w 1171096"/>
                <a:gd name="connsiteY182" fmla="*/ 230475 h 717258"/>
                <a:gd name="connsiteX183" fmla="*/ 36732 w 1171096"/>
                <a:gd name="connsiteY183" fmla="*/ 224372 h 717258"/>
                <a:gd name="connsiteX184" fmla="*/ 40200 w 1171096"/>
                <a:gd name="connsiteY184" fmla="*/ 219272 h 717258"/>
                <a:gd name="connsiteX185" fmla="*/ 42231 w 1171096"/>
                <a:gd name="connsiteY185" fmla="*/ 210303 h 717258"/>
                <a:gd name="connsiteX186" fmla="*/ 49389 w 1171096"/>
                <a:gd name="connsiteY186" fmla="*/ 185031 h 717258"/>
                <a:gd name="connsiteX187" fmla="*/ 57959 w 1171096"/>
                <a:gd name="connsiteY187" fmla="*/ 169343 h 717258"/>
                <a:gd name="connsiteX188" fmla="*/ 57340 w 1171096"/>
                <a:gd name="connsiteY188" fmla="*/ 166688 h 717258"/>
                <a:gd name="connsiteX189" fmla="*/ 54888 w 1171096"/>
                <a:gd name="connsiteY189" fmla="*/ 165069 h 717258"/>
                <a:gd name="connsiteX190" fmla="*/ 49166 w 1171096"/>
                <a:gd name="connsiteY190" fmla="*/ 166089 h 717258"/>
                <a:gd name="connsiteX191" fmla="*/ 44881 w 1171096"/>
                <a:gd name="connsiteY191" fmla="*/ 163434 h 717258"/>
                <a:gd name="connsiteX192" fmla="*/ 40819 w 1171096"/>
                <a:gd name="connsiteY192" fmla="*/ 158140 h 717258"/>
                <a:gd name="connsiteX193" fmla="*/ 36930 w 1171096"/>
                <a:gd name="connsiteY193" fmla="*/ 153040 h 717258"/>
                <a:gd name="connsiteX194" fmla="*/ 34280 w 1171096"/>
                <a:gd name="connsiteY194" fmla="*/ 148361 h 717258"/>
                <a:gd name="connsiteX195" fmla="*/ 30193 w 1171096"/>
                <a:gd name="connsiteY195" fmla="*/ 134908 h 717258"/>
                <a:gd name="connsiteX196" fmla="*/ 24694 w 1171096"/>
                <a:gd name="connsiteY196" fmla="*/ 123704 h 717258"/>
                <a:gd name="connsiteX197" fmla="*/ 13474 w 1171096"/>
                <a:gd name="connsiteY197" fmla="*/ 111060 h 717258"/>
                <a:gd name="connsiteX198" fmla="*/ 7554 w 1171096"/>
                <a:gd name="connsiteY198" fmla="*/ 103727 h 717258"/>
                <a:gd name="connsiteX199" fmla="*/ 8966 w 1171096"/>
                <a:gd name="connsiteY199" fmla="*/ 96393 h 717258"/>
                <a:gd name="connsiteX200" fmla="*/ 10601 w 1171096"/>
                <a:gd name="connsiteY200" fmla="*/ 89464 h 717258"/>
                <a:gd name="connsiteX201" fmla="*/ 5300 w 1171096"/>
                <a:gd name="connsiteY201" fmla="*/ 75200 h 717258"/>
                <a:gd name="connsiteX202" fmla="*/ 0 w 1171096"/>
                <a:gd name="connsiteY202" fmla="*/ 61342 h 717258"/>
                <a:gd name="connsiteX203" fmla="*/ 7554 w 1171096"/>
                <a:gd name="connsiteY203" fmla="*/ 28736 h 717258"/>
                <a:gd name="connsiteX204" fmla="*/ 13251 w 1171096"/>
                <a:gd name="connsiteY204" fmla="*/ 0 h 717258"/>
                <a:gd name="connsiteX0" fmla="*/ 13251 w 1171096"/>
                <a:gd name="connsiteY0" fmla="*/ 0 h 717258"/>
                <a:gd name="connsiteX1" fmla="*/ 58355 w 1171096"/>
                <a:gd name="connsiteY1" fmla="*/ 11818 h 717258"/>
                <a:gd name="connsiteX2" fmla="*/ 108141 w 1171096"/>
                <a:gd name="connsiteY2" fmla="*/ 24462 h 717258"/>
                <a:gd name="connsiteX3" fmla="*/ 199340 w 1171096"/>
                <a:gd name="connsiteY3" fmla="*/ 45039 h 717258"/>
                <a:gd name="connsiteX4" fmla="*/ 277288 w 1171096"/>
                <a:gd name="connsiteY4" fmla="*/ 57667 h 717258"/>
                <a:gd name="connsiteX5" fmla="*/ 390952 w 1171096"/>
                <a:gd name="connsiteY5" fmla="*/ 76220 h 717258"/>
                <a:gd name="connsiteX6" fmla="*/ 535008 w 1171096"/>
                <a:gd name="connsiteY6" fmla="*/ 97413 h 717258"/>
                <a:gd name="connsiteX7" fmla="*/ 534952 w 1171096"/>
                <a:gd name="connsiteY7" fmla="*/ 98063 h 717258"/>
                <a:gd name="connsiteX8" fmla="*/ 649289 w 1171096"/>
                <a:gd name="connsiteY8" fmla="*/ 112090 h 717258"/>
                <a:gd name="connsiteX9" fmla="*/ 682753 w 1171096"/>
                <a:gd name="connsiteY9" fmla="*/ 114956 h 717258"/>
                <a:gd name="connsiteX10" fmla="*/ 784591 w 1171096"/>
                <a:gd name="connsiteY10" fmla="*/ 119235 h 717258"/>
                <a:gd name="connsiteX11" fmla="*/ 839687 w 1171096"/>
                <a:gd name="connsiteY11" fmla="*/ 121277 h 717258"/>
                <a:gd name="connsiteX12" fmla="*/ 840099 w 1171096"/>
                <a:gd name="connsiteY12" fmla="*/ 126586 h 717258"/>
                <a:gd name="connsiteX13" fmla="*/ 838464 w 1171096"/>
                <a:gd name="connsiteY13" fmla="*/ 135557 h 717258"/>
                <a:gd name="connsiteX14" fmla="*/ 836828 w 1171096"/>
                <a:gd name="connsiteY14" fmla="*/ 145352 h 717258"/>
                <a:gd name="connsiteX15" fmla="*/ 840507 w 1171096"/>
                <a:gd name="connsiteY15" fmla="*/ 126541 h 717258"/>
                <a:gd name="connsiteX16" fmla="*/ 840080 w 1171096"/>
                <a:gd name="connsiteY16" fmla="*/ 121260 h 717258"/>
                <a:gd name="connsiteX17" fmla="*/ 921960 w 1171096"/>
                <a:gd name="connsiteY17" fmla="*/ 123087 h 717258"/>
                <a:gd name="connsiteX18" fmla="*/ 921782 w 1171096"/>
                <a:gd name="connsiteY18" fmla="*/ 89848 h 717258"/>
                <a:gd name="connsiteX19" fmla="*/ 940971 w 1171096"/>
                <a:gd name="connsiteY19" fmla="*/ 112086 h 717258"/>
                <a:gd name="connsiteX20" fmla="*/ 950156 w 1171096"/>
                <a:gd name="connsiteY20" fmla="*/ 134722 h 717258"/>
                <a:gd name="connsiteX21" fmla="*/ 960978 w 1171096"/>
                <a:gd name="connsiteY21" fmla="*/ 137383 h 717258"/>
                <a:gd name="connsiteX22" fmla="*/ 975467 w 1171096"/>
                <a:gd name="connsiteY22" fmla="*/ 139408 h 717258"/>
                <a:gd name="connsiteX23" fmla="*/ 984688 w 1171096"/>
                <a:gd name="connsiteY23" fmla="*/ 144094 h 717258"/>
                <a:gd name="connsiteX24" fmla="*/ 993659 w 1171096"/>
                <a:gd name="connsiteY24" fmla="*/ 147588 h 717258"/>
                <a:gd name="connsiteX25" fmla="*/ 1001420 w 1171096"/>
                <a:gd name="connsiteY25" fmla="*/ 144729 h 717258"/>
                <a:gd name="connsiteX26" fmla="*/ 1009786 w 1171096"/>
                <a:gd name="connsiteY26" fmla="*/ 141671 h 717258"/>
                <a:gd name="connsiteX27" fmla="*/ 1034884 w 1171096"/>
                <a:gd name="connsiteY27" fmla="*/ 148184 h 717258"/>
                <a:gd name="connsiteX28" fmla="*/ 1055105 w 1171096"/>
                <a:gd name="connsiteY28" fmla="*/ 163274 h 717258"/>
                <a:gd name="connsiteX29" fmla="*/ 1065322 w 1171096"/>
                <a:gd name="connsiteY29" fmla="*/ 167563 h 717258"/>
                <a:gd name="connsiteX30" fmla="*/ 1075539 w 1171096"/>
                <a:gd name="connsiteY30" fmla="*/ 170224 h 717258"/>
                <a:gd name="connsiteX31" fmla="*/ 1084119 w 1171096"/>
                <a:gd name="connsiteY31" fmla="*/ 174711 h 717258"/>
                <a:gd name="connsiteX32" fmla="*/ 1093090 w 1171096"/>
                <a:gd name="connsiteY32" fmla="*/ 177332 h 717258"/>
                <a:gd name="connsiteX33" fmla="*/ 1103699 w 1171096"/>
                <a:gd name="connsiteY33" fmla="*/ 173679 h 717258"/>
                <a:gd name="connsiteX34" fmla="*/ 1114343 w 1171096"/>
                <a:gd name="connsiteY34" fmla="*/ 169787 h 717258"/>
                <a:gd name="connsiteX35" fmla="*/ 1124738 w 1171096"/>
                <a:gd name="connsiteY35" fmla="*/ 171654 h 717258"/>
                <a:gd name="connsiteX36" fmla="*/ 1142111 w 1171096"/>
                <a:gd name="connsiteY36" fmla="*/ 173480 h 717258"/>
                <a:gd name="connsiteX37" fmla="*/ 1147807 w 1171096"/>
                <a:gd name="connsiteY37" fmla="*/ 174711 h 717258"/>
                <a:gd name="connsiteX38" fmla="*/ 1152115 w 1171096"/>
                <a:gd name="connsiteY38" fmla="*/ 176141 h 717258"/>
                <a:gd name="connsiteX39" fmla="*/ 1139868 w 1171096"/>
                <a:gd name="connsiteY39" fmla="*/ 182058 h 717258"/>
                <a:gd name="connsiteX40" fmla="*/ 1123920 w 1171096"/>
                <a:gd name="connsiteY40" fmla="*/ 191628 h 717258"/>
                <a:gd name="connsiteX41" fmla="*/ 1115767 w 1171096"/>
                <a:gd name="connsiteY41" fmla="*/ 199571 h 717258"/>
                <a:gd name="connsiteX42" fmla="*/ 1115376 w 1171096"/>
                <a:gd name="connsiteY42" fmla="*/ 200206 h 717258"/>
                <a:gd name="connsiteX43" fmla="*/ 1100851 w 1171096"/>
                <a:gd name="connsiteY43" fmla="*/ 216091 h 717258"/>
                <a:gd name="connsiteX44" fmla="*/ 1087785 w 1171096"/>
                <a:gd name="connsiteY44" fmla="*/ 228322 h 717258"/>
                <a:gd name="connsiteX45" fmla="*/ 1063079 w 1171096"/>
                <a:gd name="connsiteY45" fmla="*/ 249964 h 717258"/>
                <a:gd name="connsiteX46" fmla="*/ 1063471 w 1171096"/>
                <a:gd name="connsiteY46" fmla="*/ 249964 h 717258"/>
                <a:gd name="connsiteX47" fmla="*/ 1062865 w 1171096"/>
                <a:gd name="connsiteY47" fmla="*/ 251394 h 717258"/>
                <a:gd name="connsiteX48" fmla="*/ 1063293 w 1171096"/>
                <a:gd name="connsiteY48" fmla="*/ 252387 h 717258"/>
                <a:gd name="connsiteX49" fmla="*/ 1063684 w 1171096"/>
                <a:gd name="connsiteY49" fmla="*/ 253618 h 717258"/>
                <a:gd name="connsiteX50" fmla="*/ 1060623 w 1171096"/>
                <a:gd name="connsiteY50" fmla="*/ 256080 h 717258"/>
                <a:gd name="connsiteX51" fmla="*/ 1057169 w 1171096"/>
                <a:gd name="connsiteY51" fmla="*/ 261163 h 717258"/>
                <a:gd name="connsiteX52" fmla="*/ 1057561 w 1171096"/>
                <a:gd name="connsiteY52" fmla="*/ 278715 h 717258"/>
                <a:gd name="connsiteX53" fmla="*/ 1057561 w 1171096"/>
                <a:gd name="connsiteY53" fmla="*/ 294401 h 717258"/>
                <a:gd name="connsiteX54" fmla="*/ 1045315 w 1171096"/>
                <a:gd name="connsiteY54" fmla="*/ 306871 h 717258"/>
                <a:gd name="connsiteX55" fmla="*/ 1032249 w 1171096"/>
                <a:gd name="connsiteY55" fmla="*/ 324383 h 717258"/>
                <a:gd name="connsiteX56" fmla="*/ 1036130 w 1171096"/>
                <a:gd name="connsiteY56" fmla="*/ 335225 h 717258"/>
                <a:gd name="connsiteX57" fmla="*/ 1041221 w 1171096"/>
                <a:gd name="connsiteY57" fmla="*/ 343564 h 717258"/>
                <a:gd name="connsiteX58" fmla="*/ 1040615 w 1171096"/>
                <a:gd name="connsiteY58" fmla="*/ 345589 h 717258"/>
                <a:gd name="connsiteX59" fmla="*/ 1040402 w 1171096"/>
                <a:gd name="connsiteY59" fmla="*/ 348051 h 717258"/>
                <a:gd name="connsiteX60" fmla="*/ 1040615 w 1171096"/>
                <a:gd name="connsiteY60" fmla="*/ 349878 h 717258"/>
                <a:gd name="connsiteX61" fmla="*/ 1038586 w 1171096"/>
                <a:gd name="connsiteY61" fmla="*/ 354167 h 717258"/>
                <a:gd name="connsiteX62" fmla="*/ 1037162 w 1171096"/>
                <a:gd name="connsiteY62" fmla="*/ 357860 h 717258"/>
                <a:gd name="connsiteX63" fmla="*/ 1037554 w 1171096"/>
                <a:gd name="connsiteY63" fmla="*/ 362546 h 717258"/>
                <a:gd name="connsiteX64" fmla="*/ 1036521 w 1171096"/>
                <a:gd name="connsiteY64" fmla="*/ 366001 h 717258"/>
                <a:gd name="connsiteX65" fmla="*/ 1036949 w 1171096"/>
                <a:gd name="connsiteY65" fmla="*/ 372514 h 717258"/>
                <a:gd name="connsiteX66" fmla="*/ 1038159 w 1171096"/>
                <a:gd name="connsiteY66" fmla="*/ 377438 h 717258"/>
                <a:gd name="connsiteX67" fmla="*/ 1035916 w 1171096"/>
                <a:gd name="connsiteY67" fmla="*/ 388041 h 717258"/>
                <a:gd name="connsiteX68" fmla="*/ 1040829 w 1171096"/>
                <a:gd name="connsiteY68" fmla="*/ 392131 h 717258"/>
                <a:gd name="connsiteX69" fmla="*/ 1047771 w 1171096"/>
                <a:gd name="connsiteY69" fmla="*/ 397810 h 717258"/>
                <a:gd name="connsiteX70" fmla="*/ 1054108 w 1171096"/>
                <a:gd name="connsiteY70" fmla="*/ 399239 h 717258"/>
                <a:gd name="connsiteX71" fmla="*/ 1060017 w 1171096"/>
                <a:gd name="connsiteY71" fmla="*/ 402297 h 717258"/>
                <a:gd name="connsiteX72" fmla="*/ 1070626 w 1171096"/>
                <a:gd name="connsiteY72" fmla="*/ 410676 h 717258"/>
                <a:gd name="connsiteX73" fmla="*/ 1079811 w 1171096"/>
                <a:gd name="connsiteY73" fmla="*/ 419850 h 717258"/>
                <a:gd name="connsiteX74" fmla="*/ 1090847 w 1171096"/>
                <a:gd name="connsiteY74" fmla="*/ 432279 h 717258"/>
                <a:gd name="connsiteX75" fmla="*/ 1104126 w 1171096"/>
                <a:gd name="connsiteY75" fmla="*/ 440221 h 717258"/>
                <a:gd name="connsiteX76" fmla="*/ 1111068 w 1171096"/>
                <a:gd name="connsiteY76" fmla="*/ 455351 h 717258"/>
                <a:gd name="connsiteX77" fmla="*/ 1112492 w 1171096"/>
                <a:gd name="connsiteY77" fmla="*/ 470005 h 717258"/>
                <a:gd name="connsiteX78" fmla="*/ 1111887 w 1171096"/>
                <a:gd name="connsiteY78" fmla="*/ 470204 h 717258"/>
                <a:gd name="connsiteX79" fmla="*/ 1105586 w 1171096"/>
                <a:gd name="connsiteY79" fmla="*/ 470817 h 717258"/>
                <a:gd name="connsiteX80" fmla="*/ 1105586 w 1171096"/>
                <a:gd name="connsiteY80" fmla="*/ 474343 h 717258"/>
                <a:gd name="connsiteX81" fmla="*/ 1111755 w 1171096"/>
                <a:gd name="connsiteY81" fmla="*/ 473747 h 717258"/>
                <a:gd name="connsiteX82" fmla="*/ 1117461 w 1171096"/>
                <a:gd name="connsiteY82" fmla="*/ 481886 h 717258"/>
                <a:gd name="connsiteX83" fmla="*/ 1122152 w 1171096"/>
                <a:gd name="connsiteY83" fmla="*/ 488818 h 717258"/>
                <a:gd name="connsiteX84" fmla="*/ 1119299 w 1171096"/>
                <a:gd name="connsiteY84" fmla="*/ 494523 h 717258"/>
                <a:gd name="connsiteX85" fmla="*/ 1116843 w 1171096"/>
                <a:gd name="connsiteY85" fmla="*/ 501035 h 717258"/>
                <a:gd name="connsiteX86" fmla="*/ 1120726 w 1171096"/>
                <a:gd name="connsiteY86" fmla="*/ 514271 h 717258"/>
                <a:gd name="connsiteX87" fmla="*/ 1124799 w 1171096"/>
                <a:gd name="connsiteY87" fmla="*/ 525062 h 717258"/>
                <a:gd name="connsiteX88" fmla="*/ 1135197 w 1171096"/>
                <a:gd name="connsiteY88" fmla="*/ 530358 h 717258"/>
                <a:gd name="connsiteX89" fmla="*/ 1143977 w 1171096"/>
                <a:gd name="connsiteY89" fmla="*/ 536462 h 717258"/>
                <a:gd name="connsiteX90" fmla="*/ 1144580 w 1171096"/>
                <a:gd name="connsiteY90" fmla="*/ 539724 h 717258"/>
                <a:gd name="connsiteX91" fmla="*/ 1149271 w 1171096"/>
                <a:gd name="connsiteY91" fmla="*/ 547054 h 717258"/>
                <a:gd name="connsiteX92" fmla="*/ 1158243 w 1171096"/>
                <a:gd name="connsiteY92" fmla="*/ 556210 h 717258"/>
                <a:gd name="connsiteX93" fmla="*/ 1163346 w 1171096"/>
                <a:gd name="connsiteY93" fmla="*/ 562125 h 717258"/>
                <a:gd name="connsiteX94" fmla="*/ 1168243 w 1171096"/>
                <a:gd name="connsiteY94" fmla="*/ 566802 h 717258"/>
                <a:gd name="connsiteX95" fmla="*/ 1170081 w 1171096"/>
                <a:gd name="connsiteY95" fmla="*/ 573325 h 717258"/>
                <a:gd name="connsiteX96" fmla="*/ 1171096 w 1171096"/>
                <a:gd name="connsiteY96" fmla="*/ 579838 h 717258"/>
                <a:gd name="connsiteX97" fmla="*/ 1166611 w 1171096"/>
                <a:gd name="connsiteY97" fmla="*/ 588794 h 717258"/>
                <a:gd name="connsiteX98" fmla="*/ 1162125 w 1171096"/>
                <a:gd name="connsiteY98" fmla="*/ 597142 h 717258"/>
                <a:gd name="connsiteX99" fmla="*/ 1161713 w 1171096"/>
                <a:gd name="connsiteY99" fmla="*/ 601222 h 717258"/>
                <a:gd name="connsiteX100" fmla="*/ 1160699 w 1171096"/>
                <a:gd name="connsiteY100" fmla="*/ 605700 h 717258"/>
                <a:gd name="connsiteX101" fmla="*/ 1155184 w 1171096"/>
                <a:gd name="connsiteY101" fmla="*/ 608134 h 717258"/>
                <a:gd name="connsiteX102" fmla="*/ 1149683 w 1171096"/>
                <a:gd name="connsiteY102" fmla="*/ 610178 h 717258"/>
                <a:gd name="connsiteX103" fmla="*/ 1144374 w 1171096"/>
                <a:gd name="connsiteY103" fmla="*/ 612422 h 717258"/>
                <a:gd name="connsiteX104" fmla="*/ 1129079 w 1171096"/>
                <a:gd name="connsiteY104" fmla="*/ 615474 h 717258"/>
                <a:gd name="connsiteX105" fmla="*/ 1126638 w 1171096"/>
                <a:gd name="connsiteY105" fmla="*/ 625239 h 717258"/>
                <a:gd name="connsiteX106" fmla="*/ 1130520 w 1171096"/>
                <a:gd name="connsiteY106" fmla="*/ 634404 h 717258"/>
                <a:gd name="connsiteX107" fmla="*/ 1135006 w 1171096"/>
                <a:gd name="connsiteY107" fmla="*/ 645405 h 717258"/>
                <a:gd name="connsiteX108" fmla="*/ 1133579 w 1171096"/>
                <a:gd name="connsiteY108" fmla="*/ 649475 h 717258"/>
                <a:gd name="connsiteX109" fmla="*/ 1128476 w 1171096"/>
                <a:gd name="connsiteY109" fmla="*/ 654162 h 717258"/>
                <a:gd name="connsiteX110" fmla="*/ 1127461 w 1171096"/>
                <a:gd name="connsiteY110" fmla="*/ 659658 h 717258"/>
                <a:gd name="connsiteX111" fmla="*/ 1126638 w 1171096"/>
                <a:gd name="connsiteY111" fmla="*/ 665562 h 717258"/>
                <a:gd name="connsiteX112" fmla="*/ 1117461 w 1171096"/>
                <a:gd name="connsiteY112" fmla="*/ 670041 h 717258"/>
                <a:gd name="connsiteX113" fmla="*/ 1111755 w 1171096"/>
                <a:gd name="connsiteY113" fmla="*/ 676354 h 717258"/>
                <a:gd name="connsiteX114" fmla="*/ 1113593 w 1171096"/>
                <a:gd name="connsiteY114" fmla="*/ 678389 h 717258"/>
                <a:gd name="connsiteX115" fmla="*/ 1115225 w 1171096"/>
                <a:gd name="connsiteY115" fmla="*/ 682258 h 717258"/>
                <a:gd name="connsiteX116" fmla="*/ 1112563 w 1171096"/>
                <a:gd name="connsiteY116" fmla="*/ 686328 h 717258"/>
                <a:gd name="connsiteX117" fmla="*/ 1110931 w 1171096"/>
                <a:gd name="connsiteY117" fmla="*/ 689180 h 717258"/>
                <a:gd name="connsiteX118" fmla="*/ 1106445 w 1171096"/>
                <a:gd name="connsiteY118" fmla="*/ 684293 h 717258"/>
                <a:gd name="connsiteX119" fmla="*/ 1101754 w 1171096"/>
                <a:gd name="connsiteY119" fmla="*/ 679406 h 717258"/>
                <a:gd name="connsiteX120" fmla="*/ 1096665 w 1171096"/>
                <a:gd name="connsiteY120" fmla="*/ 674718 h 717258"/>
                <a:gd name="connsiteX121" fmla="*/ 1095033 w 1171096"/>
                <a:gd name="connsiteY121" fmla="*/ 670649 h 717258"/>
                <a:gd name="connsiteX122" fmla="*/ 967570 w 1171096"/>
                <a:gd name="connsiteY122" fmla="*/ 677162 h 717258"/>
                <a:gd name="connsiteX123" fmla="*/ 895169 w 1171096"/>
                <a:gd name="connsiteY123" fmla="*/ 674928 h 717258"/>
                <a:gd name="connsiteX124" fmla="*/ 893377 w 1171096"/>
                <a:gd name="connsiteY124" fmla="*/ 673143 h 717258"/>
                <a:gd name="connsiteX125" fmla="*/ 892255 w 1171096"/>
                <a:gd name="connsiteY125" fmla="*/ 673143 h 717258"/>
                <a:gd name="connsiteX126" fmla="*/ 893402 w 1171096"/>
                <a:gd name="connsiteY126" fmla="*/ 674291 h 717258"/>
                <a:gd name="connsiteX127" fmla="*/ 893799 w 1171096"/>
                <a:gd name="connsiteY127" fmla="*/ 676132 h 717258"/>
                <a:gd name="connsiteX128" fmla="*/ 895248 w 1171096"/>
                <a:gd name="connsiteY128" fmla="*/ 681431 h 717258"/>
                <a:gd name="connsiteX129" fmla="*/ 898703 w 1171096"/>
                <a:gd name="connsiteY129" fmla="*/ 683674 h 717258"/>
                <a:gd name="connsiteX130" fmla="*/ 900350 w 1171096"/>
                <a:gd name="connsiteY130" fmla="*/ 688782 h 717258"/>
                <a:gd name="connsiteX131" fmla="*/ 902177 w 1171096"/>
                <a:gd name="connsiteY131" fmla="*/ 694695 h 717258"/>
                <a:gd name="connsiteX132" fmla="*/ 905453 w 1171096"/>
                <a:gd name="connsiteY132" fmla="*/ 698979 h 717258"/>
                <a:gd name="connsiteX133" fmla="*/ 908292 w 1171096"/>
                <a:gd name="connsiteY133" fmla="*/ 704279 h 717258"/>
                <a:gd name="connsiteX134" fmla="*/ 913394 w 1171096"/>
                <a:gd name="connsiteY134" fmla="*/ 713872 h 717258"/>
                <a:gd name="connsiteX135" fmla="*/ 914823 w 1171096"/>
                <a:gd name="connsiteY135" fmla="*/ 716517 h 717258"/>
                <a:gd name="connsiteX136" fmla="*/ 675119 w 1171096"/>
                <a:gd name="connsiteY136" fmla="*/ 709990 h 717258"/>
                <a:gd name="connsiteX137" fmla="*/ 604125 w 1171096"/>
                <a:gd name="connsiteY137" fmla="*/ 702851 h 717258"/>
                <a:gd name="connsiteX138" fmla="*/ 578217 w 1171096"/>
                <a:gd name="connsiteY138" fmla="*/ 699593 h 717258"/>
                <a:gd name="connsiteX139" fmla="*/ 582505 w 1171096"/>
                <a:gd name="connsiteY139" fmla="*/ 634107 h 717258"/>
                <a:gd name="connsiteX140" fmla="*/ 486000 w 1171096"/>
                <a:gd name="connsiteY140" fmla="*/ 626555 h 717258"/>
                <a:gd name="connsiteX141" fmla="*/ 486012 w 1171096"/>
                <a:gd name="connsiteY141" fmla="*/ 626387 h 717258"/>
                <a:gd name="connsiteX142" fmla="*/ 308972 w 1171096"/>
                <a:gd name="connsiteY142" fmla="*/ 606609 h 717258"/>
                <a:gd name="connsiteX143" fmla="*/ 236569 w 1171096"/>
                <a:gd name="connsiteY143" fmla="*/ 596192 h 717258"/>
                <a:gd name="connsiteX144" fmla="*/ 165371 w 1171096"/>
                <a:gd name="connsiteY144" fmla="*/ 582938 h 717258"/>
                <a:gd name="connsiteX145" fmla="*/ 138857 w 1171096"/>
                <a:gd name="connsiteY145" fmla="*/ 576823 h 717258"/>
                <a:gd name="connsiteX146" fmla="*/ 149869 w 1171096"/>
                <a:gd name="connsiteY146" fmla="*/ 511121 h 717258"/>
                <a:gd name="connsiteX147" fmla="*/ 174559 w 1171096"/>
                <a:gd name="connsiteY147" fmla="*/ 368730 h 717258"/>
                <a:gd name="connsiteX148" fmla="*/ 179239 w 1171096"/>
                <a:gd name="connsiteY148" fmla="*/ 339967 h 717258"/>
                <a:gd name="connsiteX149" fmla="*/ 179682 w 1171096"/>
                <a:gd name="connsiteY149" fmla="*/ 335742 h 717258"/>
                <a:gd name="connsiteX150" fmla="*/ 167314 w 1171096"/>
                <a:gd name="connsiteY150" fmla="*/ 320554 h 717258"/>
                <a:gd name="connsiteX151" fmla="*/ 163029 w 1171096"/>
                <a:gd name="connsiteY151" fmla="*/ 326657 h 717258"/>
                <a:gd name="connsiteX152" fmla="*/ 159561 w 1171096"/>
                <a:gd name="connsiteY152" fmla="*/ 332987 h 717258"/>
                <a:gd name="connsiteX153" fmla="*/ 156911 w 1171096"/>
                <a:gd name="connsiteY153" fmla="*/ 333182 h 717258"/>
                <a:gd name="connsiteX154" fmla="*/ 148142 w 1171096"/>
                <a:gd name="connsiteY154" fmla="*/ 332372 h 717258"/>
                <a:gd name="connsiteX155" fmla="*/ 144254 w 1171096"/>
                <a:gd name="connsiteY155" fmla="*/ 330948 h 717258"/>
                <a:gd name="connsiteX156" fmla="*/ 137740 w 1171096"/>
                <a:gd name="connsiteY156" fmla="*/ 327888 h 717258"/>
                <a:gd name="connsiteX157" fmla="*/ 127931 w 1171096"/>
                <a:gd name="connsiteY157" fmla="*/ 325038 h 717258"/>
                <a:gd name="connsiteX158" fmla="*/ 122011 w 1171096"/>
                <a:gd name="connsiteY158" fmla="*/ 327483 h 717258"/>
                <a:gd name="connsiteX159" fmla="*/ 114680 w 1171096"/>
                <a:gd name="connsiteY159" fmla="*/ 330543 h 717258"/>
                <a:gd name="connsiteX160" fmla="*/ 112029 w 1171096"/>
                <a:gd name="connsiteY160" fmla="*/ 328503 h 717258"/>
                <a:gd name="connsiteX161" fmla="*/ 105292 w 1171096"/>
                <a:gd name="connsiteY161" fmla="*/ 326058 h 717258"/>
                <a:gd name="connsiteX162" fmla="*/ 97936 w 1171096"/>
                <a:gd name="connsiteY162" fmla="*/ 329523 h 717258"/>
                <a:gd name="connsiteX163" fmla="*/ 94270 w 1171096"/>
                <a:gd name="connsiteY163" fmla="*/ 332987 h 717258"/>
                <a:gd name="connsiteX164" fmla="*/ 90183 w 1171096"/>
                <a:gd name="connsiteY164" fmla="*/ 321363 h 717258"/>
                <a:gd name="connsiteX165" fmla="*/ 89366 w 1171096"/>
                <a:gd name="connsiteY165" fmla="*/ 308331 h 717258"/>
                <a:gd name="connsiteX166" fmla="*/ 86716 w 1171096"/>
                <a:gd name="connsiteY166" fmla="*/ 302616 h 717258"/>
                <a:gd name="connsiteX167" fmla="*/ 82431 w 1171096"/>
                <a:gd name="connsiteY167" fmla="*/ 299766 h 717258"/>
                <a:gd name="connsiteX168" fmla="*/ 76115 w 1171096"/>
                <a:gd name="connsiteY168" fmla="*/ 299151 h 717258"/>
                <a:gd name="connsiteX169" fmla="*/ 73861 w 1171096"/>
                <a:gd name="connsiteY169" fmla="*/ 294667 h 717258"/>
                <a:gd name="connsiteX170" fmla="*/ 75495 w 1171096"/>
                <a:gd name="connsiteY170" fmla="*/ 286928 h 717258"/>
                <a:gd name="connsiteX171" fmla="*/ 76932 w 1171096"/>
                <a:gd name="connsiteY171" fmla="*/ 279384 h 717258"/>
                <a:gd name="connsiteX172" fmla="*/ 73662 w 1171096"/>
                <a:gd name="connsiteY172" fmla="*/ 273280 h 717258"/>
                <a:gd name="connsiteX173" fmla="*/ 68758 w 1171096"/>
                <a:gd name="connsiteY173" fmla="*/ 267565 h 717258"/>
                <a:gd name="connsiteX174" fmla="*/ 67123 w 1171096"/>
                <a:gd name="connsiteY174" fmla="*/ 260426 h 717258"/>
                <a:gd name="connsiteX175" fmla="*/ 67941 w 1171096"/>
                <a:gd name="connsiteY175" fmla="*/ 252282 h 717258"/>
                <a:gd name="connsiteX176" fmla="*/ 66925 w 1171096"/>
                <a:gd name="connsiteY176" fmla="*/ 243929 h 717258"/>
                <a:gd name="connsiteX177" fmla="*/ 61625 w 1171096"/>
                <a:gd name="connsiteY177" fmla="*/ 236190 h 717258"/>
                <a:gd name="connsiteX178" fmla="*/ 43246 w 1171096"/>
                <a:gd name="connsiteY178" fmla="*/ 245564 h 717258"/>
                <a:gd name="connsiteX179" fmla="*/ 40596 w 1171096"/>
                <a:gd name="connsiteY179" fmla="*/ 243313 h 717258"/>
                <a:gd name="connsiteX180" fmla="*/ 32249 w 1171096"/>
                <a:gd name="connsiteY180" fmla="*/ 233940 h 717258"/>
                <a:gd name="connsiteX181" fmla="*/ 34478 w 1171096"/>
                <a:gd name="connsiteY181" fmla="*/ 230475 h 717258"/>
                <a:gd name="connsiteX182" fmla="*/ 36732 w 1171096"/>
                <a:gd name="connsiteY182" fmla="*/ 224372 h 717258"/>
                <a:gd name="connsiteX183" fmla="*/ 40200 w 1171096"/>
                <a:gd name="connsiteY183" fmla="*/ 219272 h 717258"/>
                <a:gd name="connsiteX184" fmla="*/ 42231 w 1171096"/>
                <a:gd name="connsiteY184" fmla="*/ 210303 h 717258"/>
                <a:gd name="connsiteX185" fmla="*/ 49389 w 1171096"/>
                <a:gd name="connsiteY185" fmla="*/ 185031 h 717258"/>
                <a:gd name="connsiteX186" fmla="*/ 57959 w 1171096"/>
                <a:gd name="connsiteY186" fmla="*/ 169343 h 717258"/>
                <a:gd name="connsiteX187" fmla="*/ 57340 w 1171096"/>
                <a:gd name="connsiteY187" fmla="*/ 166688 h 717258"/>
                <a:gd name="connsiteX188" fmla="*/ 54888 w 1171096"/>
                <a:gd name="connsiteY188" fmla="*/ 165069 h 717258"/>
                <a:gd name="connsiteX189" fmla="*/ 49166 w 1171096"/>
                <a:gd name="connsiteY189" fmla="*/ 166089 h 717258"/>
                <a:gd name="connsiteX190" fmla="*/ 44881 w 1171096"/>
                <a:gd name="connsiteY190" fmla="*/ 163434 h 717258"/>
                <a:gd name="connsiteX191" fmla="*/ 40819 w 1171096"/>
                <a:gd name="connsiteY191" fmla="*/ 158140 h 717258"/>
                <a:gd name="connsiteX192" fmla="*/ 36930 w 1171096"/>
                <a:gd name="connsiteY192" fmla="*/ 153040 h 717258"/>
                <a:gd name="connsiteX193" fmla="*/ 34280 w 1171096"/>
                <a:gd name="connsiteY193" fmla="*/ 148361 h 717258"/>
                <a:gd name="connsiteX194" fmla="*/ 30193 w 1171096"/>
                <a:gd name="connsiteY194" fmla="*/ 134908 h 717258"/>
                <a:gd name="connsiteX195" fmla="*/ 24694 w 1171096"/>
                <a:gd name="connsiteY195" fmla="*/ 123704 h 717258"/>
                <a:gd name="connsiteX196" fmla="*/ 13474 w 1171096"/>
                <a:gd name="connsiteY196" fmla="*/ 111060 h 717258"/>
                <a:gd name="connsiteX197" fmla="*/ 7554 w 1171096"/>
                <a:gd name="connsiteY197" fmla="*/ 103727 h 717258"/>
                <a:gd name="connsiteX198" fmla="*/ 8966 w 1171096"/>
                <a:gd name="connsiteY198" fmla="*/ 96393 h 717258"/>
                <a:gd name="connsiteX199" fmla="*/ 10601 w 1171096"/>
                <a:gd name="connsiteY199" fmla="*/ 89464 h 717258"/>
                <a:gd name="connsiteX200" fmla="*/ 5300 w 1171096"/>
                <a:gd name="connsiteY200" fmla="*/ 75200 h 717258"/>
                <a:gd name="connsiteX201" fmla="*/ 0 w 1171096"/>
                <a:gd name="connsiteY201" fmla="*/ 61342 h 717258"/>
                <a:gd name="connsiteX202" fmla="*/ 7554 w 1171096"/>
                <a:gd name="connsiteY202" fmla="*/ 28736 h 717258"/>
                <a:gd name="connsiteX203" fmla="*/ 13251 w 1171096"/>
                <a:gd name="connsiteY203" fmla="*/ 0 h 717258"/>
                <a:gd name="connsiteX0" fmla="*/ 13251 w 1171096"/>
                <a:gd name="connsiteY0" fmla="*/ 0 h 717258"/>
                <a:gd name="connsiteX1" fmla="*/ 58355 w 1171096"/>
                <a:gd name="connsiteY1" fmla="*/ 11818 h 717258"/>
                <a:gd name="connsiteX2" fmla="*/ 108141 w 1171096"/>
                <a:gd name="connsiteY2" fmla="*/ 24462 h 717258"/>
                <a:gd name="connsiteX3" fmla="*/ 199340 w 1171096"/>
                <a:gd name="connsiteY3" fmla="*/ 45039 h 717258"/>
                <a:gd name="connsiteX4" fmla="*/ 277288 w 1171096"/>
                <a:gd name="connsiteY4" fmla="*/ 57667 h 717258"/>
                <a:gd name="connsiteX5" fmla="*/ 390952 w 1171096"/>
                <a:gd name="connsiteY5" fmla="*/ 76220 h 717258"/>
                <a:gd name="connsiteX6" fmla="*/ 535008 w 1171096"/>
                <a:gd name="connsiteY6" fmla="*/ 97413 h 717258"/>
                <a:gd name="connsiteX7" fmla="*/ 534952 w 1171096"/>
                <a:gd name="connsiteY7" fmla="*/ 98063 h 717258"/>
                <a:gd name="connsiteX8" fmla="*/ 649289 w 1171096"/>
                <a:gd name="connsiteY8" fmla="*/ 112090 h 717258"/>
                <a:gd name="connsiteX9" fmla="*/ 682753 w 1171096"/>
                <a:gd name="connsiteY9" fmla="*/ 114956 h 717258"/>
                <a:gd name="connsiteX10" fmla="*/ 784591 w 1171096"/>
                <a:gd name="connsiteY10" fmla="*/ 119235 h 717258"/>
                <a:gd name="connsiteX11" fmla="*/ 839687 w 1171096"/>
                <a:gd name="connsiteY11" fmla="*/ 121277 h 717258"/>
                <a:gd name="connsiteX12" fmla="*/ 840099 w 1171096"/>
                <a:gd name="connsiteY12" fmla="*/ 126586 h 717258"/>
                <a:gd name="connsiteX13" fmla="*/ 838464 w 1171096"/>
                <a:gd name="connsiteY13" fmla="*/ 135557 h 717258"/>
                <a:gd name="connsiteX14" fmla="*/ 836828 w 1171096"/>
                <a:gd name="connsiteY14" fmla="*/ 145352 h 717258"/>
                <a:gd name="connsiteX15" fmla="*/ 840080 w 1171096"/>
                <a:gd name="connsiteY15" fmla="*/ 121260 h 717258"/>
                <a:gd name="connsiteX16" fmla="*/ 921960 w 1171096"/>
                <a:gd name="connsiteY16" fmla="*/ 123087 h 717258"/>
                <a:gd name="connsiteX17" fmla="*/ 921782 w 1171096"/>
                <a:gd name="connsiteY17" fmla="*/ 89848 h 717258"/>
                <a:gd name="connsiteX18" fmla="*/ 940971 w 1171096"/>
                <a:gd name="connsiteY18" fmla="*/ 112086 h 717258"/>
                <a:gd name="connsiteX19" fmla="*/ 950156 w 1171096"/>
                <a:gd name="connsiteY19" fmla="*/ 134722 h 717258"/>
                <a:gd name="connsiteX20" fmla="*/ 960978 w 1171096"/>
                <a:gd name="connsiteY20" fmla="*/ 137383 h 717258"/>
                <a:gd name="connsiteX21" fmla="*/ 975467 w 1171096"/>
                <a:gd name="connsiteY21" fmla="*/ 139408 h 717258"/>
                <a:gd name="connsiteX22" fmla="*/ 984688 w 1171096"/>
                <a:gd name="connsiteY22" fmla="*/ 144094 h 717258"/>
                <a:gd name="connsiteX23" fmla="*/ 993659 w 1171096"/>
                <a:gd name="connsiteY23" fmla="*/ 147588 h 717258"/>
                <a:gd name="connsiteX24" fmla="*/ 1001420 w 1171096"/>
                <a:gd name="connsiteY24" fmla="*/ 144729 h 717258"/>
                <a:gd name="connsiteX25" fmla="*/ 1009786 w 1171096"/>
                <a:gd name="connsiteY25" fmla="*/ 141671 h 717258"/>
                <a:gd name="connsiteX26" fmla="*/ 1034884 w 1171096"/>
                <a:gd name="connsiteY26" fmla="*/ 148184 h 717258"/>
                <a:gd name="connsiteX27" fmla="*/ 1055105 w 1171096"/>
                <a:gd name="connsiteY27" fmla="*/ 163274 h 717258"/>
                <a:gd name="connsiteX28" fmla="*/ 1065322 w 1171096"/>
                <a:gd name="connsiteY28" fmla="*/ 167563 h 717258"/>
                <a:gd name="connsiteX29" fmla="*/ 1075539 w 1171096"/>
                <a:gd name="connsiteY29" fmla="*/ 170224 h 717258"/>
                <a:gd name="connsiteX30" fmla="*/ 1084119 w 1171096"/>
                <a:gd name="connsiteY30" fmla="*/ 174711 h 717258"/>
                <a:gd name="connsiteX31" fmla="*/ 1093090 w 1171096"/>
                <a:gd name="connsiteY31" fmla="*/ 177332 h 717258"/>
                <a:gd name="connsiteX32" fmla="*/ 1103699 w 1171096"/>
                <a:gd name="connsiteY32" fmla="*/ 173679 h 717258"/>
                <a:gd name="connsiteX33" fmla="*/ 1114343 w 1171096"/>
                <a:gd name="connsiteY33" fmla="*/ 169787 h 717258"/>
                <a:gd name="connsiteX34" fmla="*/ 1124738 w 1171096"/>
                <a:gd name="connsiteY34" fmla="*/ 171654 h 717258"/>
                <a:gd name="connsiteX35" fmla="*/ 1142111 w 1171096"/>
                <a:gd name="connsiteY35" fmla="*/ 173480 h 717258"/>
                <a:gd name="connsiteX36" fmla="*/ 1147807 w 1171096"/>
                <a:gd name="connsiteY36" fmla="*/ 174711 h 717258"/>
                <a:gd name="connsiteX37" fmla="*/ 1152115 w 1171096"/>
                <a:gd name="connsiteY37" fmla="*/ 176141 h 717258"/>
                <a:gd name="connsiteX38" fmla="*/ 1139868 w 1171096"/>
                <a:gd name="connsiteY38" fmla="*/ 182058 h 717258"/>
                <a:gd name="connsiteX39" fmla="*/ 1123920 w 1171096"/>
                <a:gd name="connsiteY39" fmla="*/ 191628 h 717258"/>
                <a:gd name="connsiteX40" fmla="*/ 1115767 w 1171096"/>
                <a:gd name="connsiteY40" fmla="*/ 199571 h 717258"/>
                <a:gd name="connsiteX41" fmla="*/ 1115376 w 1171096"/>
                <a:gd name="connsiteY41" fmla="*/ 200206 h 717258"/>
                <a:gd name="connsiteX42" fmla="*/ 1100851 w 1171096"/>
                <a:gd name="connsiteY42" fmla="*/ 216091 h 717258"/>
                <a:gd name="connsiteX43" fmla="*/ 1087785 w 1171096"/>
                <a:gd name="connsiteY43" fmla="*/ 228322 h 717258"/>
                <a:gd name="connsiteX44" fmla="*/ 1063079 w 1171096"/>
                <a:gd name="connsiteY44" fmla="*/ 249964 h 717258"/>
                <a:gd name="connsiteX45" fmla="*/ 1063471 w 1171096"/>
                <a:gd name="connsiteY45" fmla="*/ 249964 h 717258"/>
                <a:gd name="connsiteX46" fmla="*/ 1062865 w 1171096"/>
                <a:gd name="connsiteY46" fmla="*/ 251394 h 717258"/>
                <a:gd name="connsiteX47" fmla="*/ 1063293 w 1171096"/>
                <a:gd name="connsiteY47" fmla="*/ 252387 h 717258"/>
                <a:gd name="connsiteX48" fmla="*/ 1063684 w 1171096"/>
                <a:gd name="connsiteY48" fmla="*/ 253618 h 717258"/>
                <a:gd name="connsiteX49" fmla="*/ 1060623 w 1171096"/>
                <a:gd name="connsiteY49" fmla="*/ 256080 h 717258"/>
                <a:gd name="connsiteX50" fmla="*/ 1057169 w 1171096"/>
                <a:gd name="connsiteY50" fmla="*/ 261163 h 717258"/>
                <a:gd name="connsiteX51" fmla="*/ 1057561 w 1171096"/>
                <a:gd name="connsiteY51" fmla="*/ 278715 h 717258"/>
                <a:gd name="connsiteX52" fmla="*/ 1057561 w 1171096"/>
                <a:gd name="connsiteY52" fmla="*/ 294401 h 717258"/>
                <a:gd name="connsiteX53" fmla="*/ 1045315 w 1171096"/>
                <a:gd name="connsiteY53" fmla="*/ 306871 h 717258"/>
                <a:gd name="connsiteX54" fmla="*/ 1032249 w 1171096"/>
                <a:gd name="connsiteY54" fmla="*/ 324383 h 717258"/>
                <a:gd name="connsiteX55" fmla="*/ 1036130 w 1171096"/>
                <a:gd name="connsiteY55" fmla="*/ 335225 h 717258"/>
                <a:gd name="connsiteX56" fmla="*/ 1041221 w 1171096"/>
                <a:gd name="connsiteY56" fmla="*/ 343564 h 717258"/>
                <a:gd name="connsiteX57" fmla="*/ 1040615 w 1171096"/>
                <a:gd name="connsiteY57" fmla="*/ 345589 h 717258"/>
                <a:gd name="connsiteX58" fmla="*/ 1040402 w 1171096"/>
                <a:gd name="connsiteY58" fmla="*/ 348051 h 717258"/>
                <a:gd name="connsiteX59" fmla="*/ 1040615 w 1171096"/>
                <a:gd name="connsiteY59" fmla="*/ 349878 h 717258"/>
                <a:gd name="connsiteX60" fmla="*/ 1038586 w 1171096"/>
                <a:gd name="connsiteY60" fmla="*/ 354167 h 717258"/>
                <a:gd name="connsiteX61" fmla="*/ 1037162 w 1171096"/>
                <a:gd name="connsiteY61" fmla="*/ 357860 h 717258"/>
                <a:gd name="connsiteX62" fmla="*/ 1037554 w 1171096"/>
                <a:gd name="connsiteY62" fmla="*/ 362546 h 717258"/>
                <a:gd name="connsiteX63" fmla="*/ 1036521 w 1171096"/>
                <a:gd name="connsiteY63" fmla="*/ 366001 h 717258"/>
                <a:gd name="connsiteX64" fmla="*/ 1036949 w 1171096"/>
                <a:gd name="connsiteY64" fmla="*/ 372514 h 717258"/>
                <a:gd name="connsiteX65" fmla="*/ 1038159 w 1171096"/>
                <a:gd name="connsiteY65" fmla="*/ 377438 h 717258"/>
                <a:gd name="connsiteX66" fmla="*/ 1035916 w 1171096"/>
                <a:gd name="connsiteY66" fmla="*/ 388041 h 717258"/>
                <a:gd name="connsiteX67" fmla="*/ 1040829 w 1171096"/>
                <a:gd name="connsiteY67" fmla="*/ 392131 h 717258"/>
                <a:gd name="connsiteX68" fmla="*/ 1047771 w 1171096"/>
                <a:gd name="connsiteY68" fmla="*/ 397810 h 717258"/>
                <a:gd name="connsiteX69" fmla="*/ 1054108 w 1171096"/>
                <a:gd name="connsiteY69" fmla="*/ 399239 h 717258"/>
                <a:gd name="connsiteX70" fmla="*/ 1060017 w 1171096"/>
                <a:gd name="connsiteY70" fmla="*/ 402297 h 717258"/>
                <a:gd name="connsiteX71" fmla="*/ 1070626 w 1171096"/>
                <a:gd name="connsiteY71" fmla="*/ 410676 h 717258"/>
                <a:gd name="connsiteX72" fmla="*/ 1079811 w 1171096"/>
                <a:gd name="connsiteY72" fmla="*/ 419850 h 717258"/>
                <a:gd name="connsiteX73" fmla="*/ 1090847 w 1171096"/>
                <a:gd name="connsiteY73" fmla="*/ 432279 h 717258"/>
                <a:gd name="connsiteX74" fmla="*/ 1104126 w 1171096"/>
                <a:gd name="connsiteY74" fmla="*/ 440221 h 717258"/>
                <a:gd name="connsiteX75" fmla="*/ 1111068 w 1171096"/>
                <a:gd name="connsiteY75" fmla="*/ 455351 h 717258"/>
                <a:gd name="connsiteX76" fmla="*/ 1112492 w 1171096"/>
                <a:gd name="connsiteY76" fmla="*/ 470005 h 717258"/>
                <a:gd name="connsiteX77" fmla="*/ 1111887 w 1171096"/>
                <a:gd name="connsiteY77" fmla="*/ 470204 h 717258"/>
                <a:gd name="connsiteX78" fmla="*/ 1105586 w 1171096"/>
                <a:gd name="connsiteY78" fmla="*/ 470817 h 717258"/>
                <a:gd name="connsiteX79" fmla="*/ 1105586 w 1171096"/>
                <a:gd name="connsiteY79" fmla="*/ 474343 h 717258"/>
                <a:gd name="connsiteX80" fmla="*/ 1111755 w 1171096"/>
                <a:gd name="connsiteY80" fmla="*/ 473747 h 717258"/>
                <a:gd name="connsiteX81" fmla="*/ 1117461 w 1171096"/>
                <a:gd name="connsiteY81" fmla="*/ 481886 h 717258"/>
                <a:gd name="connsiteX82" fmla="*/ 1122152 w 1171096"/>
                <a:gd name="connsiteY82" fmla="*/ 488818 h 717258"/>
                <a:gd name="connsiteX83" fmla="*/ 1119299 w 1171096"/>
                <a:gd name="connsiteY83" fmla="*/ 494523 h 717258"/>
                <a:gd name="connsiteX84" fmla="*/ 1116843 w 1171096"/>
                <a:gd name="connsiteY84" fmla="*/ 501035 h 717258"/>
                <a:gd name="connsiteX85" fmla="*/ 1120726 w 1171096"/>
                <a:gd name="connsiteY85" fmla="*/ 514271 h 717258"/>
                <a:gd name="connsiteX86" fmla="*/ 1124799 w 1171096"/>
                <a:gd name="connsiteY86" fmla="*/ 525062 h 717258"/>
                <a:gd name="connsiteX87" fmla="*/ 1135197 w 1171096"/>
                <a:gd name="connsiteY87" fmla="*/ 530358 h 717258"/>
                <a:gd name="connsiteX88" fmla="*/ 1143977 w 1171096"/>
                <a:gd name="connsiteY88" fmla="*/ 536462 h 717258"/>
                <a:gd name="connsiteX89" fmla="*/ 1144580 w 1171096"/>
                <a:gd name="connsiteY89" fmla="*/ 539724 h 717258"/>
                <a:gd name="connsiteX90" fmla="*/ 1149271 w 1171096"/>
                <a:gd name="connsiteY90" fmla="*/ 547054 h 717258"/>
                <a:gd name="connsiteX91" fmla="*/ 1158243 w 1171096"/>
                <a:gd name="connsiteY91" fmla="*/ 556210 h 717258"/>
                <a:gd name="connsiteX92" fmla="*/ 1163346 w 1171096"/>
                <a:gd name="connsiteY92" fmla="*/ 562125 h 717258"/>
                <a:gd name="connsiteX93" fmla="*/ 1168243 w 1171096"/>
                <a:gd name="connsiteY93" fmla="*/ 566802 h 717258"/>
                <a:gd name="connsiteX94" fmla="*/ 1170081 w 1171096"/>
                <a:gd name="connsiteY94" fmla="*/ 573325 h 717258"/>
                <a:gd name="connsiteX95" fmla="*/ 1171096 w 1171096"/>
                <a:gd name="connsiteY95" fmla="*/ 579838 h 717258"/>
                <a:gd name="connsiteX96" fmla="*/ 1166611 w 1171096"/>
                <a:gd name="connsiteY96" fmla="*/ 588794 h 717258"/>
                <a:gd name="connsiteX97" fmla="*/ 1162125 w 1171096"/>
                <a:gd name="connsiteY97" fmla="*/ 597142 h 717258"/>
                <a:gd name="connsiteX98" fmla="*/ 1161713 w 1171096"/>
                <a:gd name="connsiteY98" fmla="*/ 601222 h 717258"/>
                <a:gd name="connsiteX99" fmla="*/ 1160699 w 1171096"/>
                <a:gd name="connsiteY99" fmla="*/ 605700 h 717258"/>
                <a:gd name="connsiteX100" fmla="*/ 1155184 w 1171096"/>
                <a:gd name="connsiteY100" fmla="*/ 608134 h 717258"/>
                <a:gd name="connsiteX101" fmla="*/ 1149683 w 1171096"/>
                <a:gd name="connsiteY101" fmla="*/ 610178 h 717258"/>
                <a:gd name="connsiteX102" fmla="*/ 1144374 w 1171096"/>
                <a:gd name="connsiteY102" fmla="*/ 612422 h 717258"/>
                <a:gd name="connsiteX103" fmla="*/ 1129079 w 1171096"/>
                <a:gd name="connsiteY103" fmla="*/ 615474 h 717258"/>
                <a:gd name="connsiteX104" fmla="*/ 1126638 w 1171096"/>
                <a:gd name="connsiteY104" fmla="*/ 625239 h 717258"/>
                <a:gd name="connsiteX105" fmla="*/ 1130520 w 1171096"/>
                <a:gd name="connsiteY105" fmla="*/ 634404 h 717258"/>
                <a:gd name="connsiteX106" fmla="*/ 1135006 w 1171096"/>
                <a:gd name="connsiteY106" fmla="*/ 645405 h 717258"/>
                <a:gd name="connsiteX107" fmla="*/ 1133579 w 1171096"/>
                <a:gd name="connsiteY107" fmla="*/ 649475 h 717258"/>
                <a:gd name="connsiteX108" fmla="*/ 1128476 w 1171096"/>
                <a:gd name="connsiteY108" fmla="*/ 654162 h 717258"/>
                <a:gd name="connsiteX109" fmla="*/ 1127461 w 1171096"/>
                <a:gd name="connsiteY109" fmla="*/ 659658 h 717258"/>
                <a:gd name="connsiteX110" fmla="*/ 1126638 w 1171096"/>
                <a:gd name="connsiteY110" fmla="*/ 665562 h 717258"/>
                <a:gd name="connsiteX111" fmla="*/ 1117461 w 1171096"/>
                <a:gd name="connsiteY111" fmla="*/ 670041 h 717258"/>
                <a:gd name="connsiteX112" fmla="*/ 1111755 w 1171096"/>
                <a:gd name="connsiteY112" fmla="*/ 676354 h 717258"/>
                <a:gd name="connsiteX113" fmla="*/ 1113593 w 1171096"/>
                <a:gd name="connsiteY113" fmla="*/ 678389 h 717258"/>
                <a:gd name="connsiteX114" fmla="*/ 1115225 w 1171096"/>
                <a:gd name="connsiteY114" fmla="*/ 682258 h 717258"/>
                <a:gd name="connsiteX115" fmla="*/ 1112563 w 1171096"/>
                <a:gd name="connsiteY115" fmla="*/ 686328 h 717258"/>
                <a:gd name="connsiteX116" fmla="*/ 1110931 w 1171096"/>
                <a:gd name="connsiteY116" fmla="*/ 689180 h 717258"/>
                <a:gd name="connsiteX117" fmla="*/ 1106445 w 1171096"/>
                <a:gd name="connsiteY117" fmla="*/ 684293 h 717258"/>
                <a:gd name="connsiteX118" fmla="*/ 1101754 w 1171096"/>
                <a:gd name="connsiteY118" fmla="*/ 679406 h 717258"/>
                <a:gd name="connsiteX119" fmla="*/ 1096665 w 1171096"/>
                <a:gd name="connsiteY119" fmla="*/ 674718 h 717258"/>
                <a:gd name="connsiteX120" fmla="*/ 1095033 w 1171096"/>
                <a:gd name="connsiteY120" fmla="*/ 670649 h 717258"/>
                <a:gd name="connsiteX121" fmla="*/ 967570 w 1171096"/>
                <a:gd name="connsiteY121" fmla="*/ 677162 h 717258"/>
                <a:gd name="connsiteX122" fmla="*/ 895169 w 1171096"/>
                <a:gd name="connsiteY122" fmla="*/ 674928 h 717258"/>
                <a:gd name="connsiteX123" fmla="*/ 893377 w 1171096"/>
                <a:gd name="connsiteY123" fmla="*/ 673143 h 717258"/>
                <a:gd name="connsiteX124" fmla="*/ 892255 w 1171096"/>
                <a:gd name="connsiteY124" fmla="*/ 673143 h 717258"/>
                <a:gd name="connsiteX125" fmla="*/ 893402 w 1171096"/>
                <a:gd name="connsiteY125" fmla="*/ 674291 h 717258"/>
                <a:gd name="connsiteX126" fmla="*/ 893799 w 1171096"/>
                <a:gd name="connsiteY126" fmla="*/ 676132 h 717258"/>
                <a:gd name="connsiteX127" fmla="*/ 895248 w 1171096"/>
                <a:gd name="connsiteY127" fmla="*/ 681431 h 717258"/>
                <a:gd name="connsiteX128" fmla="*/ 898703 w 1171096"/>
                <a:gd name="connsiteY128" fmla="*/ 683674 h 717258"/>
                <a:gd name="connsiteX129" fmla="*/ 900350 w 1171096"/>
                <a:gd name="connsiteY129" fmla="*/ 688782 h 717258"/>
                <a:gd name="connsiteX130" fmla="*/ 902177 w 1171096"/>
                <a:gd name="connsiteY130" fmla="*/ 694695 h 717258"/>
                <a:gd name="connsiteX131" fmla="*/ 905453 w 1171096"/>
                <a:gd name="connsiteY131" fmla="*/ 698979 h 717258"/>
                <a:gd name="connsiteX132" fmla="*/ 908292 w 1171096"/>
                <a:gd name="connsiteY132" fmla="*/ 704279 h 717258"/>
                <a:gd name="connsiteX133" fmla="*/ 913394 w 1171096"/>
                <a:gd name="connsiteY133" fmla="*/ 713872 h 717258"/>
                <a:gd name="connsiteX134" fmla="*/ 914823 w 1171096"/>
                <a:gd name="connsiteY134" fmla="*/ 716517 h 717258"/>
                <a:gd name="connsiteX135" fmla="*/ 675119 w 1171096"/>
                <a:gd name="connsiteY135" fmla="*/ 709990 h 717258"/>
                <a:gd name="connsiteX136" fmla="*/ 604125 w 1171096"/>
                <a:gd name="connsiteY136" fmla="*/ 702851 h 717258"/>
                <a:gd name="connsiteX137" fmla="*/ 578217 w 1171096"/>
                <a:gd name="connsiteY137" fmla="*/ 699593 h 717258"/>
                <a:gd name="connsiteX138" fmla="*/ 582505 w 1171096"/>
                <a:gd name="connsiteY138" fmla="*/ 634107 h 717258"/>
                <a:gd name="connsiteX139" fmla="*/ 486000 w 1171096"/>
                <a:gd name="connsiteY139" fmla="*/ 626555 h 717258"/>
                <a:gd name="connsiteX140" fmla="*/ 486012 w 1171096"/>
                <a:gd name="connsiteY140" fmla="*/ 626387 h 717258"/>
                <a:gd name="connsiteX141" fmla="*/ 308972 w 1171096"/>
                <a:gd name="connsiteY141" fmla="*/ 606609 h 717258"/>
                <a:gd name="connsiteX142" fmla="*/ 236569 w 1171096"/>
                <a:gd name="connsiteY142" fmla="*/ 596192 h 717258"/>
                <a:gd name="connsiteX143" fmla="*/ 165371 w 1171096"/>
                <a:gd name="connsiteY143" fmla="*/ 582938 h 717258"/>
                <a:gd name="connsiteX144" fmla="*/ 138857 w 1171096"/>
                <a:gd name="connsiteY144" fmla="*/ 576823 h 717258"/>
                <a:gd name="connsiteX145" fmla="*/ 149869 w 1171096"/>
                <a:gd name="connsiteY145" fmla="*/ 511121 h 717258"/>
                <a:gd name="connsiteX146" fmla="*/ 174559 w 1171096"/>
                <a:gd name="connsiteY146" fmla="*/ 368730 h 717258"/>
                <a:gd name="connsiteX147" fmla="*/ 179239 w 1171096"/>
                <a:gd name="connsiteY147" fmla="*/ 339967 h 717258"/>
                <a:gd name="connsiteX148" fmla="*/ 179682 w 1171096"/>
                <a:gd name="connsiteY148" fmla="*/ 335742 h 717258"/>
                <a:gd name="connsiteX149" fmla="*/ 167314 w 1171096"/>
                <a:gd name="connsiteY149" fmla="*/ 320554 h 717258"/>
                <a:gd name="connsiteX150" fmla="*/ 163029 w 1171096"/>
                <a:gd name="connsiteY150" fmla="*/ 326657 h 717258"/>
                <a:gd name="connsiteX151" fmla="*/ 159561 w 1171096"/>
                <a:gd name="connsiteY151" fmla="*/ 332987 h 717258"/>
                <a:gd name="connsiteX152" fmla="*/ 156911 w 1171096"/>
                <a:gd name="connsiteY152" fmla="*/ 333182 h 717258"/>
                <a:gd name="connsiteX153" fmla="*/ 148142 w 1171096"/>
                <a:gd name="connsiteY153" fmla="*/ 332372 h 717258"/>
                <a:gd name="connsiteX154" fmla="*/ 144254 w 1171096"/>
                <a:gd name="connsiteY154" fmla="*/ 330948 h 717258"/>
                <a:gd name="connsiteX155" fmla="*/ 137740 w 1171096"/>
                <a:gd name="connsiteY155" fmla="*/ 327888 h 717258"/>
                <a:gd name="connsiteX156" fmla="*/ 127931 w 1171096"/>
                <a:gd name="connsiteY156" fmla="*/ 325038 h 717258"/>
                <a:gd name="connsiteX157" fmla="*/ 122011 w 1171096"/>
                <a:gd name="connsiteY157" fmla="*/ 327483 h 717258"/>
                <a:gd name="connsiteX158" fmla="*/ 114680 w 1171096"/>
                <a:gd name="connsiteY158" fmla="*/ 330543 h 717258"/>
                <a:gd name="connsiteX159" fmla="*/ 112029 w 1171096"/>
                <a:gd name="connsiteY159" fmla="*/ 328503 h 717258"/>
                <a:gd name="connsiteX160" fmla="*/ 105292 w 1171096"/>
                <a:gd name="connsiteY160" fmla="*/ 326058 h 717258"/>
                <a:gd name="connsiteX161" fmla="*/ 97936 w 1171096"/>
                <a:gd name="connsiteY161" fmla="*/ 329523 h 717258"/>
                <a:gd name="connsiteX162" fmla="*/ 94270 w 1171096"/>
                <a:gd name="connsiteY162" fmla="*/ 332987 h 717258"/>
                <a:gd name="connsiteX163" fmla="*/ 90183 w 1171096"/>
                <a:gd name="connsiteY163" fmla="*/ 321363 h 717258"/>
                <a:gd name="connsiteX164" fmla="*/ 89366 w 1171096"/>
                <a:gd name="connsiteY164" fmla="*/ 308331 h 717258"/>
                <a:gd name="connsiteX165" fmla="*/ 86716 w 1171096"/>
                <a:gd name="connsiteY165" fmla="*/ 302616 h 717258"/>
                <a:gd name="connsiteX166" fmla="*/ 82431 w 1171096"/>
                <a:gd name="connsiteY166" fmla="*/ 299766 h 717258"/>
                <a:gd name="connsiteX167" fmla="*/ 76115 w 1171096"/>
                <a:gd name="connsiteY167" fmla="*/ 299151 h 717258"/>
                <a:gd name="connsiteX168" fmla="*/ 73861 w 1171096"/>
                <a:gd name="connsiteY168" fmla="*/ 294667 h 717258"/>
                <a:gd name="connsiteX169" fmla="*/ 75495 w 1171096"/>
                <a:gd name="connsiteY169" fmla="*/ 286928 h 717258"/>
                <a:gd name="connsiteX170" fmla="*/ 76932 w 1171096"/>
                <a:gd name="connsiteY170" fmla="*/ 279384 h 717258"/>
                <a:gd name="connsiteX171" fmla="*/ 73662 w 1171096"/>
                <a:gd name="connsiteY171" fmla="*/ 273280 h 717258"/>
                <a:gd name="connsiteX172" fmla="*/ 68758 w 1171096"/>
                <a:gd name="connsiteY172" fmla="*/ 267565 h 717258"/>
                <a:gd name="connsiteX173" fmla="*/ 67123 w 1171096"/>
                <a:gd name="connsiteY173" fmla="*/ 260426 h 717258"/>
                <a:gd name="connsiteX174" fmla="*/ 67941 w 1171096"/>
                <a:gd name="connsiteY174" fmla="*/ 252282 h 717258"/>
                <a:gd name="connsiteX175" fmla="*/ 66925 w 1171096"/>
                <a:gd name="connsiteY175" fmla="*/ 243929 h 717258"/>
                <a:gd name="connsiteX176" fmla="*/ 61625 w 1171096"/>
                <a:gd name="connsiteY176" fmla="*/ 236190 h 717258"/>
                <a:gd name="connsiteX177" fmla="*/ 43246 w 1171096"/>
                <a:gd name="connsiteY177" fmla="*/ 245564 h 717258"/>
                <a:gd name="connsiteX178" fmla="*/ 40596 w 1171096"/>
                <a:gd name="connsiteY178" fmla="*/ 243313 h 717258"/>
                <a:gd name="connsiteX179" fmla="*/ 32249 w 1171096"/>
                <a:gd name="connsiteY179" fmla="*/ 233940 h 717258"/>
                <a:gd name="connsiteX180" fmla="*/ 34478 w 1171096"/>
                <a:gd name="connsiteY180" fmla="*/ 230475 h 717258"/>
                <a:gd name="connsiteX181" fmla="*/ 36732 w 1171096"/>
                <a:gd name="connsiteY181" fmla="*/ 224372 h 717258"/>
                <a:gd name="connsiteX182" fmla="*/ 40200 w 1171096"/>
                <a:gd name="connsiteY182" fmla="*/ 219272 h 717258"/>
                <a:gd name="connsiteX183" fmla="*/ 42231 w 1171096"/>
                <a:gd name="connsiteY183" fmla="*/ 210303 h 717258"/>
                <a:gd name="connsiteX184" fmla="*/ 49389 w 1171096"/>
                <a:gd name="connsiteY184" fmla="*/ 185031 h 717258"/>
                <a:gd name="connsiteX185" fmla="*/ 57959 w 1171096"/>
                <a:gd name="connsiteY185" fmla="*/ 169343 h 717258"/>
                <a:gd name="connsiteX186" fmla="*/ 57340 w 1171096"/>
                <a:gd name="connsiteY186" fmla="*/ 166688 h 717258"/>
                <a:gd name="connsiteX187" fmla="*/ 54888 w 1171096"/>
                <a:gd name="connsiteY187" fmla="*/ 165069 h 717258"/>
                <a:gd name="connsiteX188" fmla="*/ 49166 w 1171096"/>
                <a:gd name="connsiteY188" fmla="*/ 166089 h 717258"/>
                <a:gd name="connsiteX189" fmla="*/ 44881 w 1171096"/>
                <a:gd name="connsiteY189" fmla="*/ 163434 h 717258"/>
                <a:gd name="connsiteX190" fmla="*/ 40819 w 1171096"/>
                <a:gd name="connsiteY190" fmla="*/ 158140 h 717258"/>
                <a:gd name="connsiteX191" fmla="*/ 36930 w 1171096"/>
                <a:gd name="connsiteY191" fmla="*/ 153040 h 717258"/>
                <a:gd name="connsiteX192" fmla="*/ 34280 w 1171096"/>
                <a:gd name="connsiteY192" fmla="*/ 148361 h 717258"/>
                <a:gd name="connsiteX193" fmla="*/ 30193 w 1171096"/>
                <a:gd name="connsiteY193" fmla="*/ 134908 h 717258"/>
                <a:gd name="connsiteX194" fmla="*/ 24694 w 1171096"/>
                <a:gd name="connsiteY194" fmla="*/ 123704 h 717258"/>
                <a:gd name="connsiteX195" fmla="*/ 13474 w 1171096"/>
                <a:gd name="connsiteY195" fmla="*/ 111060 h 717258"/>
                <a:gd name="connsiteX196" fmla="*/ 7554 w 1171096"/>
                <a:gd name="connsiteY196" fmla="*/ 103727 h 717258"/>
                <a:gd name="connsiteX197" fmla="*/ 8966 w 1171096"/>
                <a:gd name="connsiteY197" fmla="*/ 96393 h 717258"/>
                <a:gd name="connsiteX198" fmla="*/ 10601 w 1171096"/>
                <a:gd name="connsiteY198" fmla="*/ 89464 h 717258"/>
                <a:gd name="connsiteX199" fmla="*/ 5300 w 1171096"/>
                <a:gd name="connsiteY199" fmla="*/ 75200 h 717258"/>
                <a:gd name="connsiteX200" fmla="*/ 0 w 1171096"/>
                <a:gd name="connsiteY200" fmla="*/ 61342 h 717258"/>
                <a:gd name="connsiteX201" fmla="*/ 7554 w 1171096"/>
                <a:gd name="connsiteY201" fmla="*/ 28736 h 717258"/>
                <a:gd name="connsiteX202" fmla="*/ 13251 w 1171096"/>
                <a:gd name="connsiteY202" fmla="*/ 0 h 717258"/>
                <a:gd name="connsiteX0" fmla="*/ 13251 w 1171096"/>
                <a:gd name="connsiteY0" fmla="*/ 0 h 717258"/>
                <a:gd name="connsiteX1" fmla="*/ 58355 w 1171096"/>
                <a:gd name="connsiteY1" fmla="*/ 11818 h 717258"/>
                <a:gd name="connsiteX2" fmla="*/ 108141 w 1171096"/>
                <a:gd name="connsiteY2" fmla="*/ 24462 h 717258"/>
                <a:gd name="connsiteX3" fmla="*/ 199340 w 1171096"/>
                <a:gd name="connsiteY3" fmla="*/ 45039 h 717258"/>
                <a:gd name="connsiteX4" fmla="*/ 277288 w 1171096"/>
                <a:gd name="connsiteY4" fmla="*/ 57667 h 717258"/>
                <a:gd name="connsiteX5" fmla="*/ 390952 w 1171096"/>
                <a:gd name="connsiteY5" fmla="*/ 76220 h 717258"/>
                <a:gd name="connsiteX6" fmla="*/ 535008 w 1171096"/>
                <a:gd name="connsiteY6" fmla="*/ 97413 h 717258"/>
                <a:gd name="connsiteX7" fmla="*/ 534952 w 1171096"/>
                <a:gd name="connsiteY7" fmla="*/ 98063 h 717258"/>
                <a:gd name="connsiteX8" fmla="*/ 649289 w 1171096"/>
                <a:gd name="connsiteY8" fmla="*/ 112090 h 717258"/>
                <a:gd name="connsiteX9" fmla="*/ 682753 w 1171096"/>
                <a:gd name="connsiteY9" fmla="*/ 114956 h 717258"/>
                <a:gd name="connsiteX10" fmla="*/ 784591 w 1171096"/>
                <a:gd name="connsiteY10" fmla="*/ 119235 h 717258"/>
                <a:gd name="connsiteX11" fmla="*/ 839687 w 1171096"/>
                <a:gd name="connsiteY11" fmla="*/ 121277 h 717258"/>
                <a:gd name="connsiteX12" fmla="*/ 840099 w 1171096"/>
                <a:gd name="connsiteY12" fmla="*/ 126586 h 717258"/>
                <a:gd name="connsiteX13" fmla="*/ 838464 w 1171096"/>
                <a:gd name="connsiteY13" fmla="*/ 135557 h 717258"/>
                <a:gd name="connsiteX14" fmla="*/ 840080 w 1171096"/>
                <a:gd name="connsiteY14" fmla="*/ 121260 h 717258"/>
                <a:gd name="connsiteX15" fmla="*/ 921960 w 1171096"/>
                <a:gd name="connsiteY15" fmla="*/ 123087 h 717258"/>
                <a:gd name="connsiteX16" fmla="*/ 921782 w 1171096"/>
                <a:gd name="connsiteY16" fmla="*/ 89848 h 717258"/>
                <a:gd name="connsiteX17" fmla="*/ 940971 w 1171096"/>
                <a:gd name="connsiteY17" fmla="*/ 112086 h 717258"/>
                <a:gd name="connsiteX18" fmla="*/ 950156 w 1171096"/>
                <a:gd name="connsiteY18" fmla="*/ 134722 h 717258"/>
                <a:gd name="connsiteX19" fmla="*/ 960978 w 1171096"/>
                <a:gd name="connsiteY19" fmla="*/ 137383 h 717258"/>
                <a:gd name="connsiteX20" fmla="*/ 975467 w 1171096"/>
                <a:gd name="connsiteY20" fmla="*/ 139408 h 717258"/>
                <a:gd name="connsiteX21" fmla="*/ 984688 w 1171096"/>
                <a:gd name="connsiteY21" fmla="*/ 144094 h 717258"/>
                <a:gd name="connsiteX22" fmla="*/ 993659 w 1171096"/>
                <a:gd name="connsiteY22" fmla="*/ 147588 h 717258"/>
                <a:gd name="connsiteX23" fmla="*/ 1001420 w 1171096"/>
                <a:gd name="connsiteY23" fmla="*/ 144729 h 717258"/>
                <a:gd name="connsiteX24" fmla="*/ 1009786 w 1171096"/>
                <a:gd name="connsiteY24" fmla="*/ 141671 h 717258"/>
                <a:gd name="connsiteX25" fmla="*/ 1034884 w 1171096"/>
                <a:gd name="connsiteY25" fmla="*/ 148184 h 717258"/>
                <a:gd name="connsiteX26" fmla="*/ 1055105 w 1171096"/>
                <a:gd name="connsiteY26" fmla="*/ 163274 h 717258"/>
                <a:gd name="connsiteX27" fmla="*/ 1065322 w 1171096"/>
                <a:gd name="connsiteY27" fmla="*/ 167563 h 717258"/>
                <a:gd name="connsiteX28" fmla="*/ 1075539 w 1171096"/>
                <a:gd name="connsiteY28" fmla="*/ 170224 h 717258"/>
                <a:gd name="connsiteX29" fmla="*/ 1084119 w 1171096"/>
                <a:gd name="connsiteY29" fmla="*/ 174711 h 717258"/>
                <a:gd name="connsiteX30" fmla="*/ 1093090 w 1171096"/>
                <a:gd name="connsiteY30" fmla="*/ 177332 h 717258"/>
                <a:gd name="connsiteX31" fmla="*/ 1103699 w 1171096"/>
                <a:gd name="connsiteY31" fmla="*/ 173679 h 717258"/>
                <a:gd name="connsiteX32" fmla="*/ 1114343 w 1171096"/>
                <a:gd name="connsiteY32" fmla="*/ 169787 h 717258"/>
                <a:gd name="connsiteX33" fmla="*/ 1124738 w 1171096"/>
                <a:gd name="connsiteY33" fmla="*/ 171654 h 717258"/>
                <a:gd name="connsiteX34" fmla="*/ 1142111 w 1171096"/>
                <a:gd name="connsiteY34" fmla="*/ 173480 h 717258"/>
                <a:gd name="connsiteX35" fmla="*/ 1147807 w 1171096"/>
                <a:gd name="connsiteY35" fmla="*/ 174711 h 717258"/>
                <a:gd name="connsiteX36" fmla="*/ 1152115 w 1171096"/>
                <a:gd name="connsiteY36" fmla="*/ 176141 h 717258"/>
                <a:gd name="connsiteX37" fmla="*/ 1139868 w 1171096"/>
                <a:gd name="connsiteY37" fmla="*/ 182058 h 717258"/>
                <a:gd name="connsiteX38" fmla="*/ 1123920 w 1171096"/>
                <a:gd name="connsiteY38" fmla="*/ 191628 h 717258"/>
                <a:gd name="connsiteX39" fmla="*/ 1115767 w 1171096"/>
                <a:gd name="connsiteY39" fmla="*/ 199571 h 717258"/>
                <a:gd name="connsiteX40" fmla="*/ 1115376 w 1171096"/>
                <a:gd name="connsiteY40" fmla="*/ 200206 h 717258"/>
                <a:gd name="connsiteX41" fmla="*/ 1100851 w 1171096"/>
                <a:gd name="connsiteY41" fmla="*/ 216091 h 717258"/>
                <a:gd name="connsiteX42" fmla="*/ 1087785 w 1171096"/>
                <a:gd name="connsiteY42" fmla="*/ 228322 h 717258"/>
                <a:gd name="connsiteX43" fmla="*/ 1063079 w 1171096"/>
                <a:gd name="connsiteY43" fmla="*/ 249964 h 717258"/>
                <a:gd name="connsiteX44" fmla="*/ 1063471 w 1171096"/>
                <a:gd name="connsiteY44" fmla="*/ 249964 h 717258"/>
                <a:gd name="connsiteX45" fmla="*/ 1062865 w 1171096"/>
                <a:gd name="connsiteY45" fmla="*/ 251394 h 717258"/>
                <a:gd name="connsiteX46" fmla="*/ 1063293 w 1171096"/>
                <a:gd name="connsiteY46" fmla="*/ 252387 h 717258"/>
                <a:gd name="connsiteX47" fmla="*/ 1063684 w 1171096"/>
                <a:gd name="connsiteY47" fmla="*/ 253618 h 717258"/>
                <a:gd name="connsiteX48" fmla="*/ 1060623 w 1171096"/>
                <a:gd name="connsiteY48" fmla="*/ 256080 h 717258"/>
                <a:gd name="connsiteX49" fmla="*/ 1057169 w 1171096"/>
                <a:gd name="connsiteY49" fmla="*/ 261163 h 717258"/>
                <a:gd name="connsiteX50" fmla="*/ 1057561 w 1171096"/>
                <a:gd name="connsiteY50" fmla="*/ 278715 h 717258"/>
                <a:gd name="connsiteX51" fmla="*/ 1057561 w 1171096"/>
                <a:gd name="connsiteY51" fmla="*/ 294401 h 717258"/>
                <a:gd name="connsiteX52" fmla="*/ 1045315 w 1171096"/>
                <a:gd name="connsiteY52" fmla="*/ 306871 h 717258"/>
                <a:gd name="connsiteX53" fmla="*/ 1032249 w 1171096"/>
                <a:gd name="connsiteY53" fmla="*/ 324383 h 717258"/>
                <a:gd name="connsiteX54" fmla="*/ 1036130 w 1171096"/>
                <a:gd name="connsiteY54" fmla="*/ 335225 h 717258"/>
                <a:gd name="connsiteX55" fmla="*/ 1041221 w 1171096"/>
                <a:gd name="connsiteY55" fmla="*/ 343564 h 717258"/>
                <a:gd name="connsiteX56" fmla="*/ 1040615 w 1171096"/>
                <a:gd name="connsiteY56" fmla="*/ 345589 h 717258"/>
                <a:gd name="connsiteX57" fmla="*/ 1040402 w 1171096"/>
                <a:gd name="connsiteY57" fmla="*/ 348051 h 717258"/>
                <a:gd name="connsiteX58" fmla="*/ 1040615 w 1171096"/>
                <a:gd name="connsiteY58" fmla="*/ 349878 h 717258"/>
                <a:gd name="connsiteX59" fmla="*/ 1038586 w 1171096"/>
                <a:gd name="connsiteY59" fmla="*/ 354167 h 717258"/>
                <a:gd name="connsiteX60" fmla="*/ 1037162 w 1171096"/>
                <a:gd name="connsiteY60" fmla="*/ 357860 h 717258"/>
                <a:gd name="connsiteX61" fmla="*/ 1037554 w 1171096"/>
                <a:gd name="connsiteY61" fmla="*/ 362546 h 717258"/>
                <a:gd name="connsiteX62" fmla="*/ 1036521 w 1171096"/>
                <a:gd name="connsiteY62" fmla="*/ 366001 h 717258"/>
                <a:gd name="connsiteX63" fmla="*/ 1036949 w 1171096"/>
                <a:gd name="connsiteY63" fmla="*/ 372514 h 717258"/>
                <a:gd name="connsiteX64" fmla="*/ 1038159 w 1171096"/>
                <a:gd name="connsiteY64" fmla="*/ 377438 h 717258"/>
                <a:gd name="connsiteX65" fmla="*/ 1035916 w 1171096"/>
                <a:gd name="connsiteY65" fmla="*/ 388041 h 717258"/>
                <a:gd name="connsiteX66" fmla="*/ 1040829 w 1171096"/>
                <a:gd name="connsiteY66" fmla="*/ 392131 h 717258"/>
                <a:gd name="connsiteX67" fmla="*/ 1047771 w 1171096"/>
                <a:gd name="connsiteY67" fmla="*/ 397810 h 717258"/>
                <a:gd name="connsiteX68" fmla="*/ 1054108 w 1171096"/>
                <a:gd name="connsiteY68" fmla="*/ 399239 h 717258"/>
                <a:gd name="connsiteX69" fmla="*/ 1060017 w 1171096"/>
                <a:gd name="connsiteY69" fmla="*/ 402297 h 717258"/>
                <a:gd name="connsiteX70" fmla="*/ 1070626 w 1171096"/>
                <a:gd name="connsiteY70" fmla="*/ 410676 h 717258"/>
                <a:gd name="connsiteX71" fmla="*/ 1079811 w 1171096"/>
                <a:gd name="connsiteY71" fmla="*/ 419850 h 717258"/>
                <a:gd name="connsiteX72" fmla="*/ 1090847 w 1171096"/>
                <a:gd name="connsiteY72" fmla="*/ 432279 h 717258"/>
                <a:gd name="connsiteX73" fmla="*/ 1104126 w 1171096"/>
                <a:gd name="connsiteY73" fmla="*/ 440221 h 717258"/>
                <a:gd name="connsiteX74" fmla="*/ 1111068 w 1171096"/>
                <a:gd name="connsiteY74" fmla="*/ 455351 h 717258"/>
                <a:gd name="connsiteX75" fmla="*/ 1112492 w 1171096"/>
                <a:gd name="connsiteY75" fmla="*/ 470005 h 717258"/>
                <a:gd name="connsiteX76" fmla="*/ 1111887 w 1171096"/>
                <a:gd name="connsiteY76" fmla="*/ 470204 h 717258"/>
                <a:gd name="connsiteX77" fmla="*/ 1105586 w 1171096"/>
                <a:gd name="connsiteY77" fmla="*/ 470817 h 717258"/>
                <a:gd name="connsiteX78" fmla="*/ 1105586 w 1171096"/>
                <a:gd name="connsiteY78" fmla="*/ 474343 h 717258"/>
                <a:gd name="connsiteX79" fmla="*/ 1111755 w 1171096"/>
                <a:gd name="connsiteY79" fmla="*/ 473747 h 717258"/>
                <a:gd name="connsiteX80" fmla="*/ 1117461 w 1171096"/>
                <a:gd name="connsiteY80" fmla="*/ 481886 h 717258"/>
                <a:gd name="connsiteX81" fmla="*/ 1122152 w 1171096"/>
                <a:gd name="connsiteY81" fmla="*/ 488818 h 717258"/>
                <a:gd name="connsiteX82" fmla="*/ 1119299 w 1171096"/>
                <a:gd name="connsiteY82" fmla="*/ 494523 h 717258"/>
                <a:gd name="connsiteX83" fmla="*/ 1116843 w 1171096"/>
                <a:gd name="connsiteY83" fmla="*/ 501035 h 717258"/>
                <a:gd name="connsiteX84" fmla="*/ 1120726 w 1171096"/>
                <a:gd name="connsiteY84" fmla="*/ 514271 h 717258"/>
                <a:gd name="connsiteX85" fmla="*/ 1124799 w 1171096"/>
                <a:gd name="connsiteY85" fmla="*/ 525062 h 717258"/>
                <a:gd name="connsiteX86" fmla="*/ 1135197 w 1171096"/>
                <a:gd name="connsiteY86" fmla="*/ 530358 h 717258"/>
                <a:gd name="connsiteX87" fmla="*/ 1143977 w 1171096"/>
                <a:gd name="connsiteY87" fmla="*/ 536462 h 717258"/>
                <a:gd name="connsiteX88" fmla="*/ 1144580 w 1171096"/>
                <a:gd name="connsiteY88" fmla="*/ 539724 h 717258"/>
                <a:gd name="connsiteX89" fmla="*/ 1149271 w 1171096"/>
                <a:gd name="connsiteY89" fmla="*/ 547054 h 717258"/>
                <a:gd name="connsiteX90" fmla="*/ 1158243 w 1171096"/>
                <a:gd name="connsiteY90" fmla="*/ 556210 h 717258"/>
                <a:gd name="connsiteX91" fmla="*/ 1163346 w 1171096"/>
                <a:gd name="connsiteY91" fmla="*/ 562125 h 717258"/>
                <a:gd name="connsiteX92" fmla="*/ 1168243 w 1171096"/>
                <a:gd name="connsiteY92" fmla="*/ 566802 h 717258"/>
                <a:gd name="connsiteX93" fmla="*/ 1170081 w 1171096"/>
                <a:gd name="connsiteY93" fmla="*/ 573325 h 717258"/>
                <a:gd name="connsiteX94" fmla="*/ 1171096 w 1171096"/>
                <a:gd name="connsiteY94" fmla="*/ 579838 h 717258"/>
                <a:gd name="connsiteX95" fmla="*/ 1166611 w 1171096"/>
                <a:gd name="connsiteY95" fmla="*/ 588794 h 717258"/>
                <a:gd name="connsiteX96" fmla="*/ 1162125 w 1171096"/>
                <a:gd name="connsiteY96" fmla="*/ 597142 h 717258"/>
                <a:gd name="connsiteX97" fmla="*/ 1161713 w 1171096"/>
                <a:gd name="connsiteY97" fmla="*/ 601222 h 717258"/>
                <a:gd name="connsiteX98" fmla="*/ 1160699 w 1171096"/>
                <a:gd name="connsiteY98" fmla="*/ 605700 h 717258"/>
                <a:gd name="connsiteX99" fmla="*/ 1155184 w 1171096"/>
                <a:gd name="connsiteY99" fmla="*/ 608134 h 717258"/>
                <a:gd name="connsiteX100" fmla="*/ 1149683 w 1171096"/>
                <a:gd name="connsiteY100" fmla="*/ 610178 h 717258"/>
                <a:gd name="connsiteX101" fmla="*/ 1144374 w 1171096"/>
                <a:gd name="connsiteY101" fmla="*/ 612422 h 717258"/>
                <a:gd name="connsiteX102" fmla="*/ 1129079 w 1171096"/>
                <a:gd name="connsiteY102" fmla="*/ 615474 h 717258"/>
                <a:gd name="connsiteX103" fmla="*/ 1126638 w 1171096"/>
                <a:gd name="connsiteY103" fmla="*/ 625239 h 717258"/>
                <a:gd name="connsiteX104" fmla="*/ 1130520 w 1171096"/>
                <a:gd name="connsiteY104" fmla="*/ 634404 h 717258"/>
                <a:gd name="connsiteX105" fmla="*/ 1135006 w 1171096"/>
                <a:gd name="connsiteY105" fmla="*/ 645405 h 717258"/>
                <a:gd name="connsiteX106" fmla="*/ 1133579 w 1171096"/>
                <a:gd name="connsiteY106" fmla="*/ 649475 h 717258"/>
                <a:gd name="connsiteX107" fmla="*/ 1128476 w 1171096"/>
                <a:gd name="connsiteY107" fmla="*/ 654162 h 717258"/>
                <a:gd name="connsiteX108" fmla="*/ 1127461 w 1171096"/>
                <a:gd name="connsiteY108" fmla="*/ 659658 h 717258"/>
                <a:gd name="connsiteX109" fmla="*/ 1126638 w 1171096"/>
                <a:gd name="connsiteY109" fmla="*/ 665562 h 717258"/>
                <a:gd name="connsiteX110" fmla="*/ 1117461 w 1171096"/>
                <a:gd name="connsiteY110" fmla="*/ 670041 h 717258"/>
                <a:gd name="connsiteX111" fmla="*/ 1111755 w 1171096"/>
                <a:gd name="connsiteY111" fmla="*/ 676354 h 717258"/>
                <a:gd name="connsiteX112" fmla="*/ 1113593 w 1171096"/>
                <a:gd name="connsiteY112" fmla="*/ 678389 h 717258"/>
                <a:gd name="connsiteX113" fmla="*/ 1115225 w 1171096"/>
                <a:gd name="connsiteY113" fmla="*/ 682258 h 717258"/>
                <a:gd name="connsiteX114" fmla="*/ 1112563 w 1171096"/>
                <a:gd name="connsiteY114" fmla="*/ 686328 h 717258"/>
                <a:gd name="connsiteX115" fmla="*/ 1110931 w 1171096"/>
                <a:gd name="connsiteY115" fmla="*/ 689180 h 717258"/>
                <a:gd name="connsiteX116" fmla="*/ 1106445 w 1171096"/>
                <a:gd name="connsiteY116" fmla="*/ 684293 h 717258"/>
                <a:gd name="connsiteX117" fmla="*/ 1101754 w 1171096"/>
                <a:gd name="connsiteY117" fmla="*/ 679406 h 717258"/>
                <a:gd name="connsiteX118" fmla="*/ 1096665 w 1171096"/>
                <a:gd name="connsiteY118" fmla="*/ 674718 h 717258"/>
                <a:gd name="connsiteX119" fmla="*/ 1095033 w 1171096"/>
                <a:gd name="connsiteY119" fmla="*/ 670649 h 717258"/>
                <a:gd name="connsiteX120" fmla="*/ 967570 w 1171096"/>
                <a:gd name="connsiteY120" fmla="*/ 677162 h 717258"/>
                <a:gd name="connsiteX121" fmla="*/ 895169 w 1171096"/>
                <a:gd name="connsiteY121" fmla="*/ 674928 h 717258"/>
                <a:gd name="connsiteX122" fmla="*/ 893377 w 1171096"/>
                <a:gd name="connsiteY122" fmla="*/ 673143 h 717258"/>
                <a:gd name="connsiteX123" fmla="*/ 892255 w 1171096"/>
                <a:gd name="connsiteY123" fmla="*/ 673143 h 717258"/>
                <a:gd name="connsiteX124" fmla="*/ 893402 w 1171096"/>
                <a:gd name="connsiteY124" fmla="*/ 674291 h 717258"/>
                <a:gd name="connsiteX125" fmla="*/ 893799 w 1171096"/>
                <a:gd name="connsiteY125" fmla="*/ 676132 h 717258"/>
                <a:gd name="connsiteX126" fmla="*/ 895248 w 1171096"/>
                <a:gd name="connsiteY126" fmla="*/ 681431 h 717258"/>
                <a:gd name="connsiteX127" fmla="*/ 898703 w 1171096"/>
                <a:gd name="connsiteY127" fmla="*/ 683674 h 717258"/>
                <a:gd name="connsiteX128" fmla="*/ 900350 w 1171096"/>
                <a:gd name="connsiteY128" fmla="*/ 688782 h 717258"/>
                <a:gd name="connsiteX129" fmla="*/ 902177 w 1171096"/>
                <a:gd name="connsiteY129" fmla="*/ 694695 h 717258"/>
                <a:gd name="connsiteX130" fmla="*/ 905453 w 1171096"/>
                <a:gd name="connsiteY130" fmla="*/ 698979 h 717258"/>
                <a:gd name="connsiteX131" fmla="*/ 908292 w 1171096"/>
                <a:gd name="connsiteY131" fmla="*/ 704279 h 717258"/>
                <a:gd name="connsiteX132" fmla="*/ 913394 w 1171096"/>
                <a:gd name="connsiteY132" fmla="*/ 713872 h 717258"/>
                <a:gd name="connsiteX133" fmla="*/ 914823 w 1171096"/>
                <a:gd name="connsiteY133" fmla="*/ 716517 h 717258"/>
                <a:gd name="connsiteX134" fmla="*/ 675119 w 1171096"/>
                <a:gd name="connsiteY134" fmla="*/ 709990 h 717258"/>
                <a:gd name="connsiteX135" fmla="*/ 604125 w 1171096"/>
                <a:gd name="connsiteY135" fmla="*/ 702851 h 717258"/>
                <a:gd name="connsiteX136" fmla="*/ 578217 w 1171096"/>
                <a:gd name="connsiteY136" fmla="*/ 699593 h 717258"/>
                <a:gd name="connsiteX137" fmla="*/ 582505 w 1171096"/>
                <a:gd name="connsiteY137" fmla="*/ 634107 h 717258"/>
                <a:gd name="connsiteX138" fmla="*/ 486000 w 1171096"/>
                <a:gd name="connsiteY138" fmla="*/ 626555 h 717258"/>
                <a:gd name="connsiteX139" fmla="*/ 486012 w 1171096"/>
                <a:gd name="connsiteY139" fmla="*/ 626387 h 717258"/>
                <a:gd name="connsiteX140" fmla="*/ 308972 w 1171096"/>
                <a:gd name="connsiteY140" fmla="*/ 606609 h 717258"/>
                <a:gd name="connsiteX141" fmla="*/ 236569 w 1171096"/>
                <a:gd name="connsiteY141" fmla="*/ 596192 h 717258"/>
                <a:gd name="connsiteX142" fmla="*/ 165371 w 1171096"/>
                <a:gd name="connsiteY142" fmla="*/ 582938 h 717258"/>
                <a:gd name="connsiteX143" fmla="*/ 138857 w 1171096"/>
                <a:gd name="connsiteY143" fmla="*/ 576823 h 717258"/>
                <a:gd name="connsiteX144" fmla="*/ 149869 w 1171096"/>
                <a:gd name="connsiteY144" fmla="*/ 511121 h 717258"/>
                <a:gd name="connsiteX145" fmla="*/ 174559 w 1171096"/>
                <a:gd name="connsiteY145" fmla="*/ 368730 h 717258"/>
                <a:gd name="connsiteX146" fmla="*/ 179239 w 1171096"/>
                <a:gd name="connsiteY146" fmla="*/ 339967 h 717258"/>
                <a:gd name="connsiteX147" fmla="*/ 179682 w 1171096"/>
                <a:gd name="connsiteY147" fmla="*/ 335742 h 717258"/>
                <a:gd name="connsiteX148" fmla="*/ 167314 w 1171096"/>
                <a:gd name="connsiteY148" fmla="*/ 320554 h 717258"/>
                <a:gd name="connsiteX149" fmla="*/ 163029 w 1171096"/>
                <a:gd name="connsiteY149" fmla="*/ 326657 h 717258"/>
                <a:gd name="connsiteX150" fmla="*/ 159561 w 1171096"/>
                <a:gd name="connsiteY150" fmla="*/ 332987 h 717258"/>
                <a:gd name="connsiteX151" fmla="*/ 156911 w 1171096"/>
                <a:gd name="connsiteY151" fmla="*/ 333182 h 717258"/>
                <a:gd name="connsiteX152" fmla="*/ 148142 w 1171096"/>
                <a:gd name="connsiteY152" fmla="*/ 332372 h 717258"/>
                <a:gd name="connsiteX153" fmla="*/ 144254 w 1171096"/>
                <a:gd name="connsiteY153" fmla="*/ 330948 h 717258"/>
                <a:gd name="connsiteX154" fmla="*/ 137740 w 1171096"/>
                <a:gd name="connsiteY154" fmla="*/ 327888 h 717258"/>
                <a:gd name="connsiteX155" fmla="*/ 127931 w 1171096"/>
                <a:gd name="connsiteY155" fmla="*/ 325038 h 717258"/>
                <a:gd name="connsiteX156" fmla="*/ 122011 w 1171096"/>
                <a:gd name="connsiteY156" fmla="*/ 327483 h 717258"/>
                <a:gd name="connsiteX157" fmla="*/ 114680 w 1171096"/>
                <a:gd name="connsiteY157" fmla="*/ 330543 h 717258"/>
                <a:gd name="connsiteX158" fmla="*/ 112029 w 1171096"/>
                <a:gd name="connsiteY158" fmla="*/ 328503 h 717258"/>
                <a:gd name="connsiteX159" fmla="*/ 105292 w 1171096"/>
                <a:gd name="connsiteY159" fmla="*/ 326058 h 717258"/>
                <a:gd name="connsiteX160" fmla="*/ 97936 w 1171096"/>
                <a:gd name="connsiteY160" fmla="*/ 329523 h 717258"/>
                <a:gd name="connsiteX161" fmla="*/ 94270 w 1171096"/>
                <a:gd name="connsiteY161" fmla="*/ 332987 h 717258"/>
                <a:gd name="connsiteX162" fmla="*/ 90183 w 1171096"/>
                <a:gd name="connsiteY162" fmla="*/ 321363 h 717258"/>
                <a:gd name="connsiteX163" fmla="*/ 89366 w 1171096"/>
                <a:gd name="connsiteY163" fmla="*/ 308331 h 717258"/>
                <a:gd name="connsiteX164" fmla="*/ 86716 w 1171096"/>
                <a:gd name="connsiteY164" fmla="*/ 302616 h 717258"/>
                <a:gd name="connsiteX165" fmla="*/ 82431 w 1171096"/>
                <a:gd name="connsiteY165" fmla="*/ 299766 h 717258"/>
                <a:gd name="connsiteX166" fmla="*/ 76115 w 1171096"/>
                <a:gd name="connsiteY166" fmla="*/ 299151 h 717258"/>
                <a:gd name="connsiteX167" fmla="*/ 73861 w 1171096"/>
                <a:gd name="connsiteY167" fmla="*/ 294667 h 717258"/>
                <a:gd name="connsiteX168" fmla="*/ 75495 w 1171096"/>
                <a:gd name="connsiteY168" fmla="*/ 286928 h 717258"/>
                <a:gd name="connsiteX169" fmla="*/ 76932 w 1171096"/>
                <a:gd name="connsiteY169" fmla="*/ 279384 h 717258"/>
                <a:gd name="connsiteX170" fmla="*/ 73662 w 1171096"/>
                <a:gd name="connsiteY170" fmla="*/ 273280 h 717258"/>
                <a:gd name="connsiteX171" fmla="*/ 68758 w 1171096"/>
                <a:gd name="connsiteY171" fmla="*/ 267565 h 717258"/>
                <a:gd name="connsiteX172" fmla="*/ 67123 w 1171096"/>
                <a:gd name="connsiteY172" fmla="*/ 260426 h 717258"/>
                <a:gd name="connsiteX173" fmla="*/ 67941 w 1171096"/>
                <a:gd name="connsiteY173" fmla="*/ 252282 h 717258"/>
                <a:gd name="connsiteX174" fmla="*/ 66925 w 1171096"/>
                <a:gd name="connsiteY174" fmla="*/ 243929 h 717258"/>
                <a:gd name="connsiteX175" fmla="*/ 61625 w 1171096"/>
                <a:gd name="connsiteY175" fmla="*/ 236190 h 717258"/>
                <a:gd name="connsiteX176" fmla="*/ 43246 w 1171096"/>
                <a:gd name="connsiteY176" fmla="*/ 245564 h 717258"/>
                <a:gd name="connsiteX177" fmla="*/ 40596 w 1171096"/>
                <a:gd name="connsiteY177" fmla="*/ 243313 h 717258"/>
                <a:gd name="connsiteX178" fmla="*/ 32249 w 1171096"/>
                <a:gd name="connsiteY178" fmla="*/ 233940 h 717258"/>
                <a:gd name="connsiteX179" fmla="*/ 34478 w 1171096"/>
                <a:gd name="connsiteY179" fmla="*/ 230475 h 717258"/>
                <a:gd name="connsiteX180" fmla="*/ 36732 w 1171096"/>
                <a:gd name="connsiteY180" fmla="*/ 224372 h 717258"/>
                <a:gd name="connsiteX181" fmla="*/ 40200 w 1171096"/>
                <a:gd name="connsiteY181" fmla="*/ 219272 h 717258"/>
                <a:gd name="connsiteX182" fmla="*/ 42231 w 1171096"/>
                <a:gd name="connsiteY182" fmla="*/ 210303 h 717258"/>
                <a:gd name="connsiteX183" fmla="*/ 49389 w 1171096"/>
                <a:gd name="connsiteY183" fmla="*/ 185031 h 717258"/>
                <a:gd name="connsiteX184" fmla="*/ 57959 w 1171096"/>
                <a:gd name="connsiteY184" fmla="*/ 169343 h 717258"/>
                <a:gd name="connsiteX185" fmla="*/ 57340 w 1171096"/>
                <a:gd name="connsiteY185" fmla="*/ 166688 h 717258"/>
                <a:gd name="connsiteX186" fmla="*/ 54888 w 1171096"/>
                <a:gd name="connsiteY186" fmla="*/ 165069 h 717258"/>
                <a:gd name="connsiteX187" fmla="*/ 49166 w 1171096"/>
                <a:gd name="connsiteY187" fmla="*/ 166089 h 717258"/>
                <a:gd name="connsiteX188" fmla="*/ 44881 w 1171096"/>
                <a:gd name="connsiteY188" fmla="*/ 163434 h 717258"/>
                <a:gd name="connsiteX189" fmla="*/ 40819 w 1171096"/>
                <a:gd name="connsiteY189" fmla="*/ 158140 h 717258"/>
                <a:gd name="connsiteX190" fmla="*/ 36930 w 1171096"/>
                <a:gd name="connsiteY190" fmla="*/ 153040 h 717258"/>
                <a:gd name="connsiteX191" fmla="*/ 34280 w 1171096"/>
                <a:gd name="connsiteY191" fmla="*/ 148361 h 717258"/>
                <a:gd name="connsiteX192" fmla="*/ 30193 w 1171096"/>
                <a:gd name="connsiteY192" fmla="*/ 134908 h 717258"/>
                <a:gd name="connsiteX193" fmla="*/ 24694 w 1171096"/>
                <a:gd name="connsiteY193" fmla="*/ 123704 h 717258"/>
                <a:gd name="connsiteX194" fmla="*/ 13474 w 1171096"/>
                <a:gd name="connsiteY194" fmla="*/ 111060 h 717258"/>
                <a:gd name="connsiteX195" fmla="*/ 7554 w 1171096"/>
                <a:gd name="connsiteY195" fmla="*/ 103727 h 717258"/>
                <a:gd name="connsiteX196" fmla="*/ 8966 w 1171096"/>
                <a:gd name="connsiteY196" fmla="*/ 96393 h 717258"/>
                <a:gd name="connsiteX197" fmla="*/ 10601 w 1171096"/>
                <a:gd name="connsiteY197" fmla="*/ 89464 h 717258"/>
                <a:gd name="connsiteX198" fmla="*/ 5300 w 1171096"/>
                <a:gd name="connsiteY198" fmla="*/ 75200 h 717258"/>
                <a:gd name="connsiteX199" fmla="*/ 0 w 1171096"/>
                <a:gd name="connsiteY199" fmla="*/ 61342 h 717258"/>
                <a:gd name="connsiteX200" fmla="*/ 7554 w 1171096"/>
                <a:gd name="connsiteY200" fmla="*/ 28736 h 717258"/>
                <a:gd name="connsiteX201" fmla="*/ 13251 w 1171096"/>
                <a:gd name="connsiteY201" fmla="*/ 0 h 717258"/>
                <a:gd name="connsiteX0" fmla="*/ 13251 w 1171096"/>
                <a:gd name="connsiteY0" fmla="*/ 0 h 717258"/>
                <a:gd name="connsiteX1" fmla="*/ 58355 w 1171096"/>
                <a:gd name="connsiteY1" fmla="*/ 11818 h 717258"/>
                <a:gd name="connsiteX2" fmla="*/ 108141 w 1171096"/>
                <a:gd name="connsiteY2" fmla="*/ 24462 h 717258"/>
                <a:gd name="connsiteX3" fmla="*/ 199340 w 1171096"/>
                <a:gd name="connsiteY3" fmla="*/ 45039 h 717258"/>
                <a:gd name="connsiteX4" fmla="*/ 277288 w 1171096"/>
                <a:gd name="connsiteY4" fmla="*/ 57667 h 717258"/>
                <a:gd name="connsiteX5" fmla="*/ 390952 w 1171096"/>
                <a:gd name="connsiteY5" fmla="*/ 76220 h 717258"/>
                <a:gd name="connsiteX6" fmla="*/ 535008 w 1171096"/>
                <a:gd name="connsiteY6" fmla="*/ 97413 h 717258"/>
                <a:gd name="connsiteX7" fmla="*/ 534952 w 1171096"/>
                <a:gd name="connsiteY7" fmla="*/ 98063 h 717258"/>
                <a:gd name="connsiteX8" fmla="*/ 649289 w 1171096"/>
                <a:gd name="connsiteY8" fmla="*/ 112090 h 717258"/>
                <a:gd name="connsiteX9" fmla="*/ 682753 w 1171096"/>
                <a:gd name="connsiteY9" fmla="*/ 114956 h 717258"/>
                <a:gd name="connsiteX10" fmla="*/ 784591 w 1171096"/>
                <a:gd name="connsiteY10" fmla="*/ 119235 h 717258"/>
                <a:gd name="connsiteX11" fmla="*/ 839687 w 1171096"/>
                <a:gd name="connsiteY11" fmla="*/ 121277 h 717258"/>
                <a:gd name="connsiteX12" fmla="*/ 840099 w 1171096"/>
                <a:gd name="connsiteY12" fmla="*/ 126586 h 717258"/>
                <a:gd name="connsiteX13" fmla="*/ 840080 w 1171096"/>
                <a:gd name="connsiteY13" fmla="*/ 121260 h 717258"/>
                <a:gd name="connsiteX14" fmla="*/ 921960 w 1171096"/>
                <a:gd name="connsiteY14" fmla="*/ 123087 h 717258"/>
                <a:gd name="connsiteX15" fmla="*/ 921782 w 1171096"/>
                <a:gd name="connsiteY15" fmla="*/ 89848 h 717258"/>
                <a:gd name="connsiteX16" fmla="*/ 940971 w 1171096"/>
                <a:gd name="connsiteY16" fmla="*/ 112086 h 717258"/>
                <a:gd name="connsiteX17" fmla="*/ 950156 w 1171096"/>
                <a:gd name="connsiteY17" fmla="*/ 134722 h 717258"/>
                <a:gd name="connsiteX18" fmla="*/ 960978 w 1171096"/>
                <a:gd name="connsiteY18" fmla="*/ 137383 h 717258"/>
                <a:gd name="connsiteX19" fmla="*/ 975467 w 1171096"/>
                <a:gd name="connsiteY19" fmla="*/ 139408 h 717258"/>
                <a:gd name="connsiteX20" fmla="*/ 984688 w 1171096"/>
                <a:gd name="connsiteY20" fmla="*/ 144094 h 717258"/>
                <a:gd name="connsiteX21" fmla="*/ 993659 w 1171096"/>
                <a:gd name="connsiteY21" fmla="*/ 147588 h 717258"/>
                <a:gd name="connsiteX22" fmla="*/ 1001420 w 1171096"/>
                <a:gd name="connsiteY22" fmla="*/ 144729 h 717258"/>
                <a:gd name="connsiteX23" fmla="*/ 1009786 w 1171096"/>
                <a:gd name="connsiteY23" fmla="*/ 141671 h 717258"/>
                <a:gd name="connsiteX24" fmla="*/ 1034884 w 1171096"/>
                <a:gd name="connsiteY24" fmla="*/ 148184 h 717258"/>
                <a:gd name="connsiteX25" fmla="*/ 1055105 w 1171096"/>
                <a:gd name="connsiteY25" fmla="*/ 163274 h 717258"/>
                <a:gd name="connsiteX26" fmla="*/ 1065322 w 1171096"/>
                <a:gd name="connsiteY26" fmla="*/ 167563 h 717258"/>
                <a:gd name="connsiteX27" fmla="*/ 1075539 w 1171096"/>
                <a:gd name="connsiteY27" fmla="*/ 170224 h 717258"/>
                <a:gd name="connsiteX28" fmla="*/ 1084119 w 1171096"/>
                <a:gd name="connsiteY28" fmla="*/ 174711 h 717258"/>
                <a:gd name="connsiteX29" fmla="*/ 1093090 w 1171096"/>
                <a:gd name="connsiteY29" fmla="*/ 177332 h 717258"/>
                <a:gd name="connsiteX30" fmla="*/ 1103699 w 1171096"/>
                <a:gd name="connsiteY30" fmla="*/ 173679 h 717258"/>
                <a:gd name="connsiteX31" fmla="*/ 1114343 w 1171096"/>
                <a:gd name="connsiteY31" fmla="*/ 169787 h 717258"/>
                <a:gd name="connsiteX32" fmla="*/ 1124738 w 1171096"/>
                <a:gd name="connsiteY32" fmla="*/ 171654 h 717258"/>
                <a:gd name="connsiteX33" fmla="*/ 1142111 w 1171096"/>
                <a:gd name="connsiteY33" fmla="*/ 173480 h 717258"/>
                <a:gd name="connsiteX34" fmla="*/ 1147807 w 1171096"/>
                <a:gd name="connsiteY34" fmla="*/ 174711 h 717258"/>
                <a:gd name="connsiteX35" fmla="*/ 1152115 w 1171096"/>
                <a:gd name="connsiteY35" fmla="*/ 176141 h 717258"/>
                <a:gd name="connsiteX36" fmla="*/ 1139868 w 1171096"/>
                <a:gd name="connsiteY36" fmla="*/ 182058 h 717258"/>
                <a:gd name="connsiteX37" fmla="*/ 1123920 w 1171096"/>
                <a:gd name="connsiteY37" fmla="*/ 191628 h 717258"/>
                <a:gd name="connsiteX38" fmla="*/ 1115767 w 1171096"/>
                <a:gd name="connsiteY38" fmla="*/ 199571 h 717258"/>
                <a:gd name="connsiteX39" fmla="*/ 1115376 w 1171096"/>
                <a:gd name="connsiteY39" fmla="*/ 200206 h 717258"/>
                <a:gd name="connsiteX40" fmla="*/ 1100851 w 1171096"/>
                <a:gd name="connsiteY40" fmla="*/ 216091 h 717258"/>
                <a:gd name="connsiteX41" fmla="*/ 1087785 w 1171096"/>
                <a:gd name="connsiteY41" fmla="*/ 228322 h 717258"/>
                <a:gd name="connsiteX42" fmla="*/ 1063079 w 1171096"/>
                <a:gd name="connsiteY42" fmla="*/ 249964 h 717258"/>
                <a:gd name="connsiteX43" fmla="*/ 1063471 w 1171096"/>
                <a:gd name="connsiteY43" fmla="*/ 249964 h 717258"/>
                <a:gd name="connsiteX44" fmla="*/ 1062865 w 1171096"/>
                <a:gd name="connsiteY44" fmla="*/ 251394 h 717258"/>
                <a:gd name="connsiteX45" fmla="*/ 1063293 w 1171096"/>
                <a:gd name="connsiteY45" fmla="*/ 252387 h 717258"/>
                <a:gd name="connsiteX46" fmla="*/ 1063684 w 1171096"/>
                <a:gd name="connsiteY46" fmla="*/ 253618 h 717258"/>
                <a:gd name="connsiteX47" fmla="*/ 1060623 w 1171096"/>
                <a:gd name="connsiteY47" fmla="*/ 256080 h 717258"/>
                <a:gd name="connsiteX48" fmla="*/ 1057169 w 1171096"/>
                <a:gd name="connsiteY48" fmla="*/ 261163 h 717258"/>
                <a:gd name="connsiteX49" fmla="*/ 1057561 w 1171096"/>
                <a:gd name="connsiteY49" fmla="*/ 278715 h 717258"/>
                <a:gd name="connsiteX50" fmla="*/ 1057561 w 1171096"/>
                <a:gd name="connsiteY50" fmla="*/ 294401 h 717258"/>
                <a:gd name="connsiteX51" fmla="*/ 1045315 w 1171096"/>
                <a:gd name="connsiteY51" fmla="*/ 306871 h 717258"/>
                <a:gd name="connsiteX52" fmla="*/ 1032249 w 1171096"/>
                <a:gd name="connsiteY52" fmla="*/ 324383 h 717258"/>
                <a:gd name="connsiteX53" fmla="*/ 1036130 w 1171096"/>
                <a:gd name="connsiteY53" fmla="*/ 335225 h 717258"/>
                <a:gd name="connsiteX54" fmla="*/ 1041221 w 1171096"/>
                <a:gd name="connsiteY54" fmla="*/ 343564 h 717258"/>
                <a:gd name="connsiteX55" fmla="*/ 1040615 w 1171096"/>
                <a:gd name="connsiteY55" fmla="*/ 345589 h 717258"/>
                <a:gd name="connsiteX56" fmla="*/ 1040402 w 1171096"/>
                <a:gd name="connsiteY56" fmla="*/ 348051 h 717258"/>
                <a:gd name="connsiteX57" fmla="*/ 1040615 w 1171096"/>
                <a:gd name="connsiteY57" fmla="*/ 349878 h 717258"/>
                <a:gd name="connsiteX58" fmla="*/ 1038586 w 1171096"/>
                <a:gd name="connsiteY58" fmla="*/ 354167 h 717258"/>
                <a:gd name="connsiteX59" fmla="*/ 1037162 w 1171096"/>
                <a:gd name="connsiteY59" fmla="*/ 357860 h 717258"/>
                <a:gd name="connsiteX60" fmla="*/ 1037554 w 1171096"/>
                <a:gd name="connsiteY60" fmla="*/ 362546 h 717258"/>
                <a:gd name="connsiteX61" fmla="*/ 1036521 w 1171096"/>
                <a:gd name="connsiteY61" fmla="*/ 366001 h 717258"/>
                <a:gd name="connsiteX62" fmla="*/ 1036949 w 1171096"/>
                <a:gd name="connsiteY62" fmla="*/ 372514 h 717258"/>
                <a:gd name="connsiteX63" fmla="*/ 1038159 w 1171096"/>
                <a:gd name="connsiteY63" fmla="*/ 377438 h 717258"/>
                <a:gd name="connsiteX64" fmla="*/ 1035916 w 1171096"/>
                <a:gd name="connsiteY64" fmla="*/ 388041 h 717258"/>
                <a:gd name="connsiteX65" fmla="*/ 1040829 w 1171096"/>
                <a:gd name="connsiteY65" fmla="*/ 392131 h 717258"/>
                <a:gd name="connsiteX66" fmla="*/ 1047771 w 1171096"/>
                <a:gd name="connsiteY66" fmla="*/ 397810 h 717258"/>
                <a:gd name="connsiteX67" fmla="*/ 1054108 w 1171096"/>
                <a:gd name="connsiteY67" fmla="*/ 399239 h 717258"/>
                <a:gd name="connsiteX68" fmla="*/ 1060017 w 1171096"/>
                <a:gd name="connsiteY68" fmla="*/ 402297 h 717258"/>
                <a:gd name="connsiteX69" fmla="*/ 1070626 w 1171096"/>
                <a:gd name="connsiteY69" fmla="*/ 410676 h 717258"/>
                <a:gd name="connsiteX70" fmla="*/ 1079811 w 1171096"/>
                <a:gd name="connsiteY70" fmla="*/ 419850 h 717258"/>
                <a:gd name="connsiteX71" fmla="*/ 1090847 w 1171096"/>
                <a:gd name="connsiteY71" fmla="*/ 432279 h 717258"/>
                <a:gd name="connsiteX72" fmla="*/ 1104126 w 1171096"/>
                <a:gd name="connsiteY72" fmla="*/ 440221 h 717258"/>
                <a:gd name="connsiteX73" fmla="*/ 1111068 w 1171096"/>
                <a:gd name="connsiteY73" fmla="*/ 455351 h 717258"/>
                <a:gd name="connsiteX74" fmla="*/ 1112492 w 1171096"/>
                <a:gd name="connsiteY74" fmla="*/ 470005 h 717258"/>
                <a:gd name="connsiteX75" fmla="*/ 1111887 w 1171096"/>
                <a:gd name="connsiteY75" fmla="*/ 470204 h 717258"/>
                <a:gd name="connsiteX76" fmla="*/ 1105586 w 1171096"/>
                <a:gd name="connsiteY76" fmla="*/ 470817 h 717258"/>
                <a:gd name="connsiteX77" fmla="*/ 1105586 w 1171096"/>
                <a:gd name="connsiteY77" fmla="*/ 474343 h 717258"/>
                <a:gd name="connsiteX78" fmla="*/ 1111755 w 1171096"/>
                <a:gd name="connsiteY78" fmla="*/ 473747 h 717258"/>
                <a:gd name="connsiteX79" fmla="*/ 1117461 w 1171096"/>
                <a:gd name="connsiteY79" fmla="*/ 481886 h 717258"/>
                <a:gd name="connsiteX80" fmla="*/ 1122152 w 1171096"/>
                <a:gd name="connsiteY80" fmla="*/ 488818 h 717258"/>
                <a:gd name="connsiteX81" fmla="*/ 1119299 w 1171096"/>
                <a:gd name="connsiteY81" fmla="*/ 494523 h 717258"/>
                <a:gd name="connsiteX82" fmla="*/ 1116843 w 1171096"/>
                <a:gd name="connsiteY82" fmla="*/ 501035 h 717258"/>
                <a:gd name="connsiteX83" fmla="*/ 1120726 w 1171096"/>
                <a:gd name="connsiteY83" fmla="*/ 514271 h 717258"/>
                <a:gd name="connsiteX84" fmla="*/ 1124799 w 1171096"/>
                <a:gd name="connsiteY84" fmla="*/ 525062 h 717258"/>
                <a:gd name="connsiteX85" fmla="*/ 1135197 w 1171096"/>
                <a:gd name="connsiteY85" fmla="*/ 530358 h 717258"/>
                <a:gd name="connsiteX86" fmla="*/ 1143977 w 1171096"/>
                <a:gd name="connsiteY86" fmla="*/ 536462 h 717258"/>
                <a:gd name="connsiteX87" fmla="*/ 1144580 w 1171096"/>
                <a:gd name="connsiteY87" fmla="*/ 539724 h 717258"/>
                <a:gd name="connsiteX88" fmla="*/ 1149271 w 1171096"/>
                <a:gd name="connsiteY88" fmla="*/ 547054 h 717258"/>
                <a:gd name="connsiteX89" fmla="*/ 1158243 w 1171096"/>
                <a:gd name="connsiteY89" fmla="*/ 556210 h 717258"/>
                <a:gd name="connsiteX90" fmla="*/ 1163346 w 1171096"/>
                <a:gd name="connsiteY90" fmla="*/ 562125 h 717258"/>
                <a:gd name="connsiteX91" fmla="*/ 1168243 w 1171096"/>
                <a:gd name="connsiteY91" fmla="*/ 566802 h 717258"/>
                <a:gd name="connsiteX92" fmla="*/ 1170081 w 1171096"/>
                <a:gd name="connsiteY92" fmla="*/ 573325 h 717258"/>
                <a:gd name="connsiteX93" fmla="*/ 1171096 w 1171096"/>
                <a:gd name="connsiteY93" fmla="*/ 579838 h 717258"/>
                <a:gd name="connsiteX94" fmla="*/ 1166611 w 1171096"/>
                <a:gd name="connsiteY94" fmla="*/ 588794 h 717258"/>
                <a:gd name="connsiteX95" fmla="*/ 1162125 w 1171096"/>
                <a:gd name="connsiteY95" fmla="*/ 597142 h 717258"/>
                <a:gd name="connsiteX96" fmla="*/ 1161713 w 1171096"/>
                <a:gd name="connsiteY96" fmla="*/ 601222 h 717258"/>
                <a:gd name="connsiteX97" fmla="*/ 1160699 w 1171096"/>
                <a:gd name="connsiteY97" fmla="*/ 605700 h 717258"/>
                <a:gd name="connsiteX98" fmla="*/ 1155184 w 1171096"/>
                <a:gd name="connsiteY98" fmla="*/ 608134 h 717258"/>
                <a:gd name="connsiteX99" fmla="*/ 1149683 w 1171096"/>
                <a:gd name="connsiteY99" fmla="*/ 610178 h 717258"/>
                <a:gd name="connsiteX100" fmla="*/ 1144374 w 1171096"/>
                <a:gd name="connsiteY100" fmla="*/ 612422 h 717258"/>
                <a:gd name="connsiteX101" fmla="*/ 1129079 w 1171096"/>
                <a:gd name="connsiteY101" fmla="*/ 615474 h 717258"/>
                <a:gd name="connsiteX102" fmla="*/ 1126638 w 1171096"/>
                <a:gd name="connsiteY102" fmla="*/ 625239 h 717258"/>
                <a:gd name="connsiteX103" fmla="*/ 1130520 w 1171096"/>
                <a:gd name="connsiteY103" fmla="*/ 634404 h 717258"/>
                <a:gd name="connsiteX104" fmla="*/ 1135006 w 1171096"/>
                <a:gd name="connsiteY104" fmla="*/ 645405 h 717258"/>
                <a:gd name="connsiteX105" fmla="*/ 1133579 w 1171096"/>
                <a:gd name="connsiteY105" fmla="*/ 649475 h 717258"/>
                <a:gd name="connsiteX106" fmla="*/ 1128476 w 1171096"/>
                <a:gd name="connsiteY106" fmla="*/ 654162 h 717258"/>
                <a:gd name="connsiteX107" fmla="*/ 1127461 w 1171096"/>
                <a:gd name="connsiteY107" fmla="*/ 659658 h 717258"/>
                <a:gd name="connsiteX108" fmla="*/ 1126638 w 1171096"/>
                <a:gd name="connsiteY108" fmla="*/ 665562 h 717258"/>
                <a:gd name="connsiteX109" fmla="*/ 1117461 w 1171096"/>
                <a:gd name="connsiteY109" fmla="*/ 670041 h 717258"/>
                <a:gd name="connsiteX110" fmla="*/ 1111755 w 1171096"/>
                <a:gd name="connsiteY110" fmla="*/ 676354 h 717258"/>
                <a:gd name="connsiteX111" fmla="*/ 1113593 w 1171096"/>
                <a:gd name="connsiteY111" fmla="*/ 678389 h 717258"/>
                <a:gd name="connsiteX112" fmla="*/ 1115225 w 1171096"/>
                <a:gd name="connsiteY112" fmla="*/ 682258 h 717258"/>
                <a:gd name="connsiteX113" fmla="*/ 1112563 w 1171096"/>
                <a:gd name="connsiteY113" fmla="*/ 686328 h 717258"/>
                <a:gd name="connsiteX114" fmla="*/ 1110931 w 1171096"/>
                <a:gd name="connsiteY114" fmla="*/ 689180 h 717258"/>
                <a:gd name="connsiteX115" fmla="*/ 1106445 w 1171096"/>
                <a:gd name="connsiteY115" fmla="*/ 684293 h 717258"/>
                <a:gd name="connsiteX116" fmla="*/ 1101754 w 1171096"/>
                <a:gd name="connsiteY116" fmla="*/ 679406 h 717258"/>
                <a:gd name="connsiteX117" fmla="*/ 1096665 w 1171096"/>
                <a:gd name="connsiteY117" fmla="*/ 674718 h 717258"/>
                <a:gd name="connsiteX118" fmla="*/ 1095033 w 1171096"/>
                <a:gd name="connsiteY118" fmla="*/ 670649 h 717258"/>
                <a:gd name="connsiteX119" fmla="*/ 967570 w 1171096"/>
                <a:gd name="connsiteY119" fmla="*/ 677162 h 717258"/>
                <a:gd name="connsiteX120" fmla="*/ 895169 w 1171096"/>
                <a:gd name="connsiteY120" fmla="*/ 674928 h 717258"/>
                <a:gd name="connsiteX121" fmla="*/ 893377 w 1171096"/>
                <a:gd name="connsiteY121" fmla="*/ 673143 h 717258"/>
                <a:gd name="connsiteX122" fmla="*/ 892255 w 1171096"/>
                <a:gd name="connsiteY122" fmla="*/ 673143 h 717258"/>
                <a:gd name="connsiteX123" fmla="*/ 893402 w 1171096"/>
                <a:gd name="connsiteY123" fmla="*/ 674291 h 717258"/>
                <a:gd name="connsiteX124" fmla="*/ 893799 w 1171096"/>
                <a:gd name="connsiteY124" fmla="*/ 676132 h 717258"/>
                <a:gd name="connsiteX125" fmla="*/ 895248 w 1171096"/>
                <a:gd name="connsiteY125" fmla="*/ 681431 h 717258"/>
                <a:gd name="connsiteX126" fmla="*/ 898703 w 1171096"/>
                <a:gd name="connsiteY126" fmla="*/ 683674 h 717258"/>
                <a:gd name="connsiteX127" fmla="*/ 900350 w 1171096"/>
                <a:gd name="connsiteY127" fmla="*/ 688782 h 717258"/>
                <a:gd name="connsiteX128" fmla="*/ 902177 w 1171096"/>
                <a:gd name="connsiteY128" fmla="*/ 694695 h 717258"/>
                <a:gd name="connsiteX129" fmla="*/ 905453 w 1171096"/>
                <a:gd name="connsiteY129" fmla="*/ 698979 h 717258"/>
                <a:gd name="connsiteX130" fmla="*/ 908292 w 1171096"/>
                <a:gd name="connsiteY130" fmla="*/ 704279 h 717258"/>
                <a:gd name="connsiteX131" fmla="*/ 913394 w 1171096"/>
                <a:gd name="connsiteY131" fmla="*/ 713872 h 717258"/>
                <a:gd name="connsiteX132" fmla="*/ 914823 w 1171096"/>
                <a:gd name="connsiteY132" fmla="*/ 716517 h 717258"/>
                <a:gd name="connsiteX133" fmla="*/ 675119 w 1171096"/>
                <a:gd name="connsiteY133" fmla="*/ 709990 h 717258"/>
                <a:gd name="connsiteX134" fmla="*/ 604125 w 1171096"/>
                <a:gd name="connsiteY134" fmla="*/ 702851 h 717258"/>
                <a:gd name="connsiteX135" fmla="*/ 578217 w 1171096"/>
                <a:gd name="connsiteY135" fmla="*/ 699593 h 717258"/>
                <a:gd name="connsiteX136" fmla="*/ 582505 w 1171096"/>
                <a:gd name="connsiteY136" fmla="*/ 634107 h 717258"/>
                <a:gd name="connsiteX137" fmla="*/ 486000 w 1171096"/>
                <a:gd name="connsiteY137" fmla="*/ 626555 h 717258"/>
                <a:gd name="connsiteX138" fmla="*/ 486012 w 1171096"/>
                <a:gd name="connsiteY138" fmla="*/ 626387 h 717258"/>
                <a:gd name="connsiteX139" fmla="*/ 308972 w 1171096"/>
                <a:gd name="connsiteY139" fmla="*/ 606609 h 717258"/>
                <a:gd name="connsiteX140" fmla="*/ 236569 w 1171096"/>
                <a:gd name="connsiteY140" fmla="*/ 596192 h 717258"/>
                <a:gd name="connsiteX141" fmla="*/ 165371 w 1171096"/>
                <a:gd name="connsiteY141" fmla="*/ 582938 h 717258"/>
                <a:gd name="connsiteX142" fmla="*/ 138857 w 1171096"/>
                <a:gd name="connsiteY142" fmla="*/ 576823 h 717258"/>
                <a:gd name="connsiteX143" fmla="*/ 149869 w 1171096"/>
                <a:gd name="connsiteY143" fmla="*/ 511121 h 717258"/>
                <a:gd name="connsiteX144" fmla="*/ 174559 w 1171096"/>
                <a:gd name="connsiteY144" fmla="*/ 368730 h 717258"/>
                <a:gd name="connsiteX145" fmla="*/ 179239 w 1171096"/>
                <a:gd name="connsiteY145" fmla="*/ 339967 h 717258"/>
                <a:gd name="connsiteX146" fmla="*/ 179682 w 1171096"/>
                <a:gd name="connsiteY146" fmla="*/ 335742 h 717258"/>
                <a:gd name="connsiteX147" fmla="*/ 167314 w 1171096"/>
                <a:gd name="connsiteY147" fmla="*/ 320554 h 717258"/>
                <a:gd name="connsiteX148" fmla="*/ 163029 w 1171096"/>
                <a:gd name="connsiteY148" fmla="*/ 326657 h 717258"/>
                <a:gd name="connsiteX149" fmla="*/ 159561 w 1171096"/>
                <a:gd name="connsiteY149" fmla="*/ 332987 h 717258"/>
                <a:gd name="connsiteX150" fmla="*/ 156911 w 1171096"/>
                <a:gd name="connsiteY150" fmla="*/ 333182 h 717258"/>
                <a:gd name="connsiteX151" fmla="*/ 148142 w 1171096"/>
                <a:gd name="connsiteY151" fmla="*/ 332372 h 717258"/>
                <a:gd name="connsiteX152" fmla="*/ 144254 w 1171096"/>
                <a:gd name="connsiteY152" fmla="*/ 330948 h 717258"/>
                <a:gd name="connsiteX153" fmla="*/ 137740 w 1171096"/>
                <a:gd name="connsiteY153" fmla="*/ 327888 h 717258"/>
                <a:gd name="connsiteX154" fmla="*/ 127931 w 1171096"/>
                <a:gd name="connsiteY154" fmla="*/ 325038 h 717258"/>
                <a:gd name="connsiteX155" fmla="*/ 122011 w 1171096"/>
                <a:gd name="connsiteY155" fmla="*/ 327483 h 717258"/>
                <a:gd name="connsiteX156" fmla="*/ 114680 w 1171096"/>
                <a:gd name="connsiteY156" fmla="*/ 330543 h 717258"/>
                <a:gd name="connsiteX157" fmla="*/ 112029 w 1171096"/>
                <a:gd name="connsiteY157" fmla="*/ 328503 h 717258"/>
                <a:gd name="connsiteX158" fmla="*/ 105292 w 1171096"/>
                <a:gd name="connsiteY158" fmla="*/ 326058 h 717258"/>
                <a:gd name="connsiteX159" fmla="*/ 97936 w 1171096"/>
                <a:gd name="connsiteY159" fmla="*/ 329523 h 717258"/>
                <a:gd name="connsiteX160" fmla="*/ 94270 w 1171096"/>
                <a:gd name="connsiteY160" fmla="*/ 332987 h 717258"/>
                <a:gd name="connsiteX161" fmla="*/ 90183 w 1171096"/>
                <a:gd name="connsiteY161" fmla="*/ 321363 h 717258"/>
                <a:gd name="connsiteX162" fmla="*/ 89366 w 1171096"/>
                <a:gd name="connsiteY162" fmla="*/ 308331 h 717258"/>
                <a:gd name="connsiteX163" fmla="*/ 86716 w 1171096"/>
                <a:gd name="connsiteY163" fmla="*/ 302616 h 717258"/>
                <a:gd name="connsiteX164" fmla="*/ 82431 w 1171096"/>
                <a:gd name="connsiteY164" fmla="*/ 299766 h 717258"/>
                <a:gd name="connsiteX165" fmla="*/ 76115 w 1171096"/>
                <a:gd name="connsiteY165" fmla="*/ 299151 h 717258"/>
                <a:gd name="connsiteX166" fmla="*/ 73861 w 1171096"/>
                <a:gd name="connsiteY166" fmla="*/ 294667 h 717258"/>
                <a:gd name="connsiteX167" fmla="*/ 75495 w 1171096"/>
                <a:gd name="connsiteY167" fmla="*/ 286928 h 717258"/>
                <a:gd name="connsiteX168" fmla="*/ 76932 w 1171096"/>
                <a:gd name="connsiteY168" fmla="*/ 279384 h 717258"/>
                <a:gd name="connsiteX169" fmla="*/ 73662 w 1171096"/>
                <a:gd name="connsiteY169" fmla="*/ 273280 h 717258"/>
                <a:gd name="connsiteX170" fmla="*/ 68758 w 1171096"/>
                <a:gd name="connsiteY170" fmla="*/ 267565 h 717258"/>
                <a:gd name="connsiteX171" fmla="*/ 67123 w 1171096"/>
                <a:gd name="connsiteY171" fmla="*/ 260426 h 717258"/>
                <a:gd name="connsiteX172" fmla="*/ 67941 w 1171096"/>
                <a:gd name="connsiteY172" fmla="*/ 252282 h 717258"/>
                <a:gd name="connsiteX173" fmla="*/ 66925 w 1171096"/>
                <a:gd name="connsiteY173" fmla="*/ 243929 h 717258"/>
                <a:gd name="connsiteX174" fmla="*/ 61625 w 1171096"/>
                <a:gd name="connsiteY174" fmla="*/ 236190 h 717258"/>
                <a:gd name="connsiteX175" fmla="*/ 43246 w 1171096"/>
                <a:gd name="connsiteY175" fmla="*/ 245564 h 717258"/>
                <a:gd name="connsiteX176" fmla="*/ 40596 w 1171096"/>
                <a:gd name="connsiteY176" fmla="*/ 243313 h 717258"/>
                <a:gd name="connsiteX177" fmla="*/ 32249 w 1171096"/>
                <a:gd name="connsiteY177" fmla="*/ 233940 h 717258"/>
                <a:gd name="connsiteX178" fmla="*/ 34478 w 1171096"/>
                <a:gd name="connsiteY178" fmla="*/ 230475 h 717258"/>
                <a:gd name="connsiteX179" fmla="*/ 36732 w 1171096"/>
                <a:gd name="connsiteY179" fmla="*/ 224372 h 717258"/>
                <a:gd name="connsiteX180" fmla="*/ 40200 w 1171096"/>
                <a:gd name="connsiteY180" fmla="*/ 219272 h 717258"/>
                <a:gd name="connsiteX181" fmla="*/ 42231 w 1171096"/>
                <a:gd name="connsiteY181" fmla="*/ 210303 h 717258"/>
                <a:gd name="connsiteX182" fmla="*/ 49389 w 1171096"/>
                <a:gd name="connsiteY182" fmla="*/ 185031 h 717258"/>
                <a:gd name="connsiteX183" fmla="*/ 57959 w 1171096"/>
                <a:gd name="connsiteY183" fmla="*/ 169343 h 717258"/>
                <a:gd name="connsiteX184" fmla="*/ 57340 w 1171096"/>
                <a:gd name="connsiteY184" fmla="*/ 166688 h 717258"/>
                <a:gd name="connsiteX185" fmla="*/ 54888 w 1171096"/>
                <a:gd name="connsiteY185" fmla="*/ 165069 h 717258"/>
                <a:gd name="connsiteX186" fmla="*/ 49166 w 1171096"/>
                <a:gd name="connsiteY186" fmla="*/ 166089 h 717258"/>
                <a:gd name="connsiteX187" fmla="*/ 44881 w 1171096"/>
                <a:gd name="connsiteY187" fmla="*/ 163434 h 717258"/>
                <a:gd name="connsiteX188" fmla="*/ 40819 w 1171096"/>
                <a:gd name="connsiteY188" fmla="*/ 158140 h 717258"/>
                <a:gd name="connsiteX189" fmla="*/ 36930 w 1171096"/>
                <a:gd name="connsiteY189" fmla="*/ 153040 h 717258"/>
                <a:gd name="connsiteX190" fmla="*/ 34280 w 1171096"/>
                <a:gd name="connsiteY190" fmla="*/ 148361 h 717258"/>
                <a:gd name="connsiteX191" fmla="*/ 30193 w 1171096"/>
                <a:gd name="connsiteY191" fmla="*/ 134908 h 717258"/>
                <a:gd name="connsiteX192" fmla="*/ 24694 w 1171096"/>
                <a:gd name="connsiteY192" fmla="*/ 123704 h 717258"/>
                <a:gd name="connsiteX193" fmla="*/ 13474 w 1171096"/>
                <a:gd name="connsiteY193" fmla="*/ 111060 h 717258"/>
                <a:gd name="connsiteX194" fmla="*/ 7554 w 1171096"/>
                <a:gd name="connsiteY194" fmla="*/ 103727 h 717258"/>
                <a:gd name="connsiteX195" fmla="*/ 8966 w 1171096"/>
                <a:gd name="connsiteY195" fmla="*/ 96393 h 717258"/>
                <a:gd name="connsiteX196" fmla="*/ 10601 w 1171096"/>
                <a:gd name="connsiteY196" fmla="*/ 89464 h 717258"/>
                <a:gd name="connsiteX197" fmla="*/ 5300 w 1171096"/>
                <a:gd name="connsiteY197" fmla="*/ 75200 h 717258"/>
                <a:gd name="connsiteX198" fmla="*/ 0 w 1171096"/>
                <a:gd name="connsiteY198" fmla="*/ 61342 h 717258"/>
                <a:gd name="connsiteX199" fmla="*/ 7554 w 1171096"/>
                <a:gd name="connsiteY199" fmla="*/ 28736 h 717258"/>
                <a:gd name="connsiteX200" fmla="*/ 13251 w 1171096"/>
                <a:gd name="connsiteY200" fmla="*/ 0 h 717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Lst>
              <a:rect l="l" t="t" r="r" b="b"/>
              <a:pathLst>
                <a:path w="1171096" h="717258">
                  <a:moveTo>
                    <a:pt x="13251" y="0"/>
                  </a:moveTo>
                  <a:lnTo>
                    <a:pt x="58355" y="11818"/>
                  </a:lnTo>
                  <a:lnTo>
                    <a:pt x="108141" y="24462"/>
                  </a:lnTo>
                  <a:cubicBezTo>
                    <a:pt x="144601" y="33286"/>
                    <a:pt x="174992" y="40150"/>
                    <a:pt x="199340" y="45039"/>
                  </a:cubicBezTo>
                  <a:lnTo>
                    <a:pt x="277288" y="57667"/>
                  </a:lnTo>
                  <a:lnTo>
                    <a:pt x="390952" y="76220"/>
                  </a:lnTo>
                  <a:lnTo>
                    <a:pt x="535008" y="97413"/>
                  </a:lnTo>
                  <a:cubicBezTo>
                    <a:pt x="534989" y="97630"/>
                    <a:pt x="534971" y="97846"/>
                    <a:pt x="534952" y="98063"/>
                  </a:cubicBezTo>
                  <a:cubicBezTo>
                    <a:pt x="580784" y="104302"/>
                    <a:pt x="618891" y="108977"/>
                    <a:pt x="649289" y="112090"/>
                  </a:cubicBezTo>
                  <a:cubicBezTo>
                    <a:pt x="661661" y="113317"/>
                    <a:pt x="672826" y="114269"/>
                    <a:pt x="682753" y="114956"/>
                  </a:cubicBezTo>
                  <a:lnTo>
                    <a:pt x="784591" y="119235"/>
                  </a:lnTo>
                  <a:lnTo>
                    <a:pt x="839687" y="121277"/>
                  </a:lnTo>
                  <a:cubicBezTo>
                    <a:pt x="839957" y="123181"/>
                    <a:pt x="840099" y="124947"/>
                    <a:pt x="840099" y="126586"/>
                  </a:cubicBezTo>
                  <a:cubicBezTo>
                    <a:pt x="840164" y="126583"/>
                    <a:pt x="826437" y="121843"/>
                    <a:pt x="840080" y="121260"/>
                  </a:cubicBezTo>
                  <a:cubicBezTo>
                    <a:pt x="880664" y="122610"/>
                    <a:pt x="907970" y="123245"/>
                    <a:pt x="921960" y="123087"/>
                  </a:cubicBezTo>
                  <a:cubicBezTo>
                    <a:pt x="921901" y="112007"/>
                    <a:pt x="921841" y="100928"/>
                    <a:pt x="921782" y="89848"/>
                  </a:cubicBezTo>
                  <a:cubicBezTo>
                    <a:pt x="929258" y="92985"/>
                    <a:pt x="935666" y="100372"/>
                    <a:pt x="940971" y="112086"/>
                  </a:cubicBezTo>
                  <a:cubicBezTo>
                    <a:pt x="943819" y="118202"/>
                    <a:pt x="946880" y="125747"/>
                    <a:pt x="950156" y="134722"/>
                  </a:cubicBezTo>
                  <a:cubicBezTo>
                    <a:pt x="950547" y="135516"/>
                    <a:pt x="954178" y="136430"/>
                    <a:pt x="960978" y="137383"/>
                  </a:cubicBezTo>
                  <a:lnTo>
                    <a:pt x="975467" y="139408"/>
                  </a:lnTo>
                  <a:cubicBezTo>
                    <a:pt x="977390" y="139805"/>
                    <a:pt x="980451" y="141393"/>
                    <a:pt x="984688" y="144094"/>
                  </a:cubicBezTo>
                  <a:cubicBezTo>
                    <a:pt x="988497" y="146397"/>
                    <a:pt x="991487" y="147588"/>
                    <a:pt x="993659" y="147588"/>
                  </a:cubicBezTo>
                  <a:cubicBezTo>
                    <a:pt x="996115" y="147588"/>
                    <a:pt x="998679" y="146635"/>
                    <a:pt x="1001420" y="144729"/>
                  </a:cubicBezTo>
                  <a:cubicBezTo>
                    <a:pt x="1004268" y="142664"/>
                    <a:pt x="1007045" y="141671"/>
                    <a:pt x="1009786" y="141671"/>
                  </a:cubicBezTo>
                  <a:cubicBezTo>
                    <a:pt x="1019433" y="141671"/>
                    <a:pt x="1027835" y="143816"/>
                    <a:pt x="1034884" y="148184"/>
                  </a:cubicBezTo>
                  <a:cubicBezTo>
                    <a:pt x="1039263" y="150884"/>
                    <a:pt x="1045991" y="155928"/>
                    <a:pt x="1055105" y="163274"/>
                  </a:cubicBezTo>
                  <a:cubicBezTo>
                    <a:pt x="1057561" y="165061"/>
                    <a:pt x="1060979" y="166451"/>
                    <a:pt x="1065322" y="167563"/>
                  </a:cubicBezTo>
                  <a:lnTo>
                    <a:pt x="1075539" y="170224"/>
                  </a:lnTo>
                  <a:cubicBezTo>
                    <a:pt x="1076892" y="170740"/>
                    <a:pt x="1079775" y="172249"/>
                    <a:pt x="1084119" y="174711"/>
                  </a:cubicBezTo>
                  <a:cubicBezTo>
                    <a:pt x="1087109" y="176459"/>
                    <a:pt x="1090099" y="177332"/>
                    <a:pt x="1093090" y="177332"/>
                  </a:cubicBezTo>
                  <a:cubicBezTo>
                    <a:pt x="1095831" y="177332"/>
                    <a:pt x="1099356" y="176141"/>
                    <a:pt x="1103699" y="173679"/>
                  </a:cubicBezTo>
                  <a:cubicBezTo>
                    <a:pt x="1108220" y="171098"/>
                    <a:pt x="1111744" y="169787"/>
                    <a:pt x="1114343" y="169787"/>
                  </a:cubicBezTo>
                  <a:lnTo>
                    <a:pt x="1124738" y="171654"/>
                  </a:lnTo>
                  <a:cubicBezTo>
                    <a:pt x="1131574" y="172845"/>
                    <a:pt x="1137341" y="173480"/>
                    <a:pt x="1142111" y="173480"/>
                  </a:cubicBezTo>
                  <a:cubicBezTo>
                    <a:pt x="1143606" y="173480"/>
                    <a:pt x="1145529" y="173877"/>
                    <a:pt x="1147807" y="174711"/>
                  </a:cubicBezTo>
                  <a:cubicBezTo>
                    <a:pt x="1148911" y="175108"/>
                    <a:pt x="1150335" y="175585"/>
                    <a:pt x="1152115" y="176141"/>
                  </a:cubicBezTo>
                  <a:cubicBezTo>
                    <a:pt x="1148697" y="177610"/>
                    <a:pt x="1144639" y="179596"/>
                    <a:pt x="1139868" y="182058"/>
                  </a:cubicBezTo>
                  <a:cubicBezTo>
                    <a:pt x="1133994" y="184480"/>
                    <a:pt x="1128690" y="187657"/>
                    <a:pt x="1123920" y="191628"/>
                  </a:cubicBezTo>
                  <a:cubicBezTo>
                    <a:pt x="1119861" y="194766"/>
                    <a:pt x="1117120" y="197386"/>
                    <a:pt x="1115767" y="199571"/>
                  </a:cubicBezTo>
                  <a:cubicBezTo>
                    <a:pt x="1115625" y="199849"/>
                    <a:pt x="1115482" y="200047"/>
                    <a:pt x="1115376" y="200206"/>
                  </a:cubicBezTo>
                  <a:cubicBezTo>
                    <a:pt x="1109929" y="206441"/>
                    <a:pt x="1105087" y="211762"/>
                    <a:pt x="1100851" y="216091"/>
                  </a:cubicBezTo>
                  <a:cubicBezTo>
                    <a:pt x="1100708" y="216210"/>
                    <a:pt x="1096365" y="220300"/>
                    <a:pt x="1087785" y="228322"/>
                  </a:cubicBezTo>
                  <a:lnTo>
                    <a:pt x="1063079" y="249964"/>
                  </a:lnTo>
                  <a:lnTo>
                    <a:pt x="1063471" y="249964"/>
                  </a:lnTo>
                  <a:cubicBezTo>
                    <a:pt x="1063079" y="250481"/>
                    <a:pt x="1062865" y="250957"/>
                    <a:pt x="1062865" y="251394"/>
                  </a:cubicBezTo>
                  <a:cubicBezTo>
                    <a:pt x="1062865" y="251513"/>
                    <a:pt x="1063008" y="251870"/>
                    <a:pt x="1063293" y="252387"/>
                  </a:cubicBezTo>
                  <a:cubicBezTo>
                    <a:pt x="1063542" y="252665"/>
                    <a:pt x="1063684" y="253062"/>
                    <a:pt x="1063684" y="253618"/>
                  </a:cubicBezTo>
                  <a:cubicBezTo>
                    <a:pt x="1063684" y="254690"/>
                    <a:pt x="1062687" y="255524"/>
                    <a:pt x="1060623" y="256080"/>
                  </a:cubicBezTo>
                  <a:cubicBezTo>
                    <a:pt x="1058451" y="256755"/>
                    <a:pt x="1057312" y="258463"/>
                    <a:pt x="1057169" y="261163"/>
                  </a:cubicBezTo>
                  <a:cubicBezTo>
                    <a:pt x="1057027" y="267954"/>
                    <a:pt x="1057169" y="273831"/>
                    <a:pt x="1057561" y="278715"/>
                  </a:cubicBezTo>
                  <a:lnTo>
                    <a:pt x="1057561" y="294401"/>
                  </a:lnTo>
                  <a:cubicBezTo>
                    <a:pt x="1057419" y="295076"/>
                    <a:pt x="1053360" y="299246"/>
                    <a:pt x="1045315" y="306871"/>
                  </a:cubicBezTo>
                  <a:lnTo>
                    <a:pt x="1032249" y="324383"/>
                  </a:lnTo>
                  <a:cubicBezTo>
                    <a:pt x="1031431" y="328077"/>
                    <a:pt x="1032712" y="331690"/>
                    <a:pt x="1036130" y="335225"/>
                  </a:cubicBezTo>
                  <a:lnTo>
                    <a:pt x="1041221" y="343564"/>
                  </a:lnTo>
                  <a:cubicBezTo>
                    <a:pt x="1041221" y="343683"/>
                    <a:pt x="1041043" y="344398"/>
                    <a:pt x="1040615" y="345589"/>
                  </a:cubicBezTo>
                  <a:cubicBezTo>
                    <a:pt x="1040331" y="346423"/>
                    <a:pt x="1040259" y="347257"/>
                    <a:pt x="1040402" y="348051"/>
                  </a:cubicBezTo>
                  <a:cubicBezTo>
                    <a:pt x="1040544" y="348329"/>
                    <a:pt x="1040615" y="348925"/>
                    <a:pt x="1040615" y="349878"/>
                  </a:cubicBezTo>
                  <a:cubicBezTo>
                    <a:pt x="1040473" y="351268"/>
                    <a:pt x="1039797" y="352698"/>
                    <a:pt x="1038586" y="354167"/>
                  </a:cubicBezTo>
                  <a:cubicBezTo>
                    <a:pt x="1037625" y="355517"/>
                    <a:pt x="1037162" y="356748"/>
                    <a:pt x="1037162" y="357860"/>
                  </a:cubicBezTo>
                  <a:cubicBezTo>
                    <a:pt x="1037293" y="359422"/>
                    <a:pt x="1037423" y="360984"/>
                    <a:pt x="1037554" y="362546"/>
                  </a:cubicBezTo>
                  <a:cubicBezTo>
                    <a:pt x="1037554" y="363221"/>
                    <a:pt x="1037198" y="364373"/>
                    <a:pt x="1036521" y="366001"/>
                  </a:cubicBezTo>
                  <a:cubicBezTo>
                    <a:pt x="1035525" y="369694"/>
                    <a:pt x="1035987" y="370766"/>
                    <a:pt x="1036949" y="372514"/>
                  </a:cubicBezTo>
                  <a:cubicBezTo>
                    <a:pt x="1037910" y="374142"/>
                    <a:pt x="1038301" y="375810"/>
                    <a:pt x="1038159" y="377438"/>
                  </a:cubicBezTo>
                  <a:cubicBezTo>
                    <a:pt x="1038159" y="378788"/>
                    <a:pt x="1037411" y="382322"/>
                    <a:pt x="1035916" y="388041"/>
                  </a:cubicBezTo>
                  <a:cubicBezTo>
                    <a:pt x="1035916" y="388319"/>
                    <a:pt x="1037554" y="389669"/>
                    <a:pt x="1040829" y="392131"/>
                  </a:cubicBezTo>
                  <a:lnTo>
                    <a:pt x="1047771" y="397810"/>
                  </a:lnTo>
                  <a:cubicBezTo>
                    <a:pt x="1048875" y="398763"/>
                    <a:pt x="1050975" y="399239"/>
                    <a:pt x="1054108" y="399239"/>
                  </a:cubicBezTo>
                  <a:cubicBezTo>
                    <a:pt x="1057098" y="399120"/>
                    <a:pt x="1059056" y="400113"/>
                    <a:pt x="1060017" y="402297"/>
                  </a:cubicBezTo>
                  <a:cubicBezTo>
                    <a:pt x="1061797" y="404878"/>
                    <a:pt x="1065322" y="407698"/>
                    <a:pt x="1070626" y="410676"/>
                  </a:cubicBezTo>
                  <a:cubicBezTo>
                    <a:pt x="1075824" y="413257"/>
                    <a:pt x="1078885" y="416315"/>
                    <a:pt x="1079811" y="419850"/>
                  </a:cubicBezTo>
                  <a:cubicBezTo>
                    <a:pt x="1081591" y="424734"/>
                    <a:pt x="1085258" y="428904"/>
                    <a:pt x="1090847" y="432279"/>
                  </a:cubicBezTo>
                  <a:lnTo>
                    <a:pt x="1104126" y="440221"/>
                  </a:lnTo>
                  <a:cubicBezTo>
                    <a:pt x="1107544" y="443637"/>
                    <a:pt x="1109822" y="448680"/>
                    <a:pt x="1111068" y="455351"/>
                  </a:cubicBezTo>
                  <a:cubicBezTo>
                    <a:pt x="1111602" y="457655"/>
                    <a:pt x="1112100" y="462539"/>
                    <a:pt x="1112492" y="470005"/>
                  </a:cubicBezTo>
                  <a:cubicBezTo>
                    <a:pt x="1112350" y="470005"/>
                    <a:pt x="1112172" y="470084"/>
                    <a:pt x="1111887" y="470204"/>
                  </a:cubicBezTo>
                  <a:lnTo>
                    <a:pt x="1105586" y="470817"/>
                  </a:lnTo>
                  <a:lnTo>
                    <a:pt x="1105586" y="474343"/>
                  </a:lnTo>
                  <a:lnTo>
                    <a:pt x="1111755" y="473747"/>
                  </a:lnTo>
                  <a:cubicBezTo>
                    <a:pt x="1112299" y="476330"/>
                    <a:pt x="1114196" y="479043"/>
                    <a:pt x="1117461" y="481886"/>
                  </a:cubicBezTo>
                  <a:lnTo>
                    <a:pt x="1122152" y="488818"/>
                  </a:lnTo>
                  <a:cubicBezTo>
                    <a:pt x="1122152" y="489635"/>
                    <a:pt x="1121211" y="491530"/>
                    <a:pt x="1119299" y="494523"/>
                  </a:cubicBezTo>
                  <a:lnTo>
                    <a:pt x="1116843" y="501035"/>
                  </a:lnTo>
                  <a:cubicBezTo>
                    <a:pt x="1116843" y="502801"/>
                    <a:pt x="1118152" y="507209"/>
                    <a:pt x="1120726" y="514271"/>
                  </a:cubicBezTo>
                  <a:cubicBezTo>
                    <a:pt x="1122093" y="517941"/>
                    <a:pt x="1123446" y="521531"/>
                    <a:pt x="1124799" y="525062"/>
                  </a:cubicBezTo>
                  <a:cubicBezTo>
                    <a:pt x="1125476" y="528723"/>
                    <a:pt x="1128947" y="530488"/>
                    <a:pt x="1135197" y="530358"/>
                  </a:cubicBezTo>
                  <a:cubicBezTo>
                    <a:pt x="1140918" y="530358"/>
                    <a:pt x="1143830" y="532393"/>
                    <a:pt x="1143977" y="536462"/>
                  </a:cubicBezTo>
                  <a:cubicBezTo>
                    <a:pt x="1143977" y="537410"/>
                    <a:pt x="1144183" y="538497"/>
                    <a:pt x="1144580" y="539724"/>
                  </a:cubicBezTo>
                  <a:cubicBezTo>
                    <a:pt x="1145257" y="542167"/>
                    <a:pt x="1146830" y="544611"/>
                    <a:pt x="1149271" y="547054"/>
                  </a:cubicBezTo>
                  <a:cubicBezTo>
                    <a:pt x="1151183" y="549229"/>
                    <a:pt x="1154169" y="552281"/>
                    <a:pt x="1158243" y="556210"/>
                  </a:cubicBezTo>
                  <a:cubicBezTo>
                    <a:pt x="1159610" y="558245"/>
                    <a:pt x="1161302" y="560220"/>
                    <a:pt x="1163346" y="562125"/>
                  </a:cubicBezTo>
                  <a:lnTo>
                    <a:pt x="1168243" y="566802"/>
                  </a:lnTo>
                  <a:cubicBezTo>
                    <a:pt x="1168508" y="567481"/>
                    <a:pt x="1169126" y="569655"/>
                    <a:pt x="1170081" y="573325"/>
                  </a:cubicBezTo>
                  <a:lnTo>
                    <a:pt x="1171096" y="579838"/>
                  </a:lnTo>
                  <a:cubicBezTo>
                    <a:pt x="1170964" y="582960"/>
                    <a:pt x="1169464" y="585942"/>
                    <a:pt x="1166611" y="588794"/>
                  </a:cubicBezTo>
                  <a:cubicBezTo>
                    <a:pt x="1163478" y="591507"/>
                    <a:pt x="1161993" y="594300"/>
                    <a:pt x="1162125" y="597142"/>
                  </a:cubicBezTo>
                  <a:cubicBezTo>
                    <a:pt x="1161988" y="598502"/>
                    <a:pt x="1161850" y="599862"/>
                    <a:pt x="1161713" y="601222"/>
                  </a:cubicBezTo>
                  <a:cubicBezTo>
                    <a:pt x="1162390" y="603117"/>
                    <a:pt x="1162052" y="604613"/>
                    <a:pt x="1160699" y="605700"/>
                  </a:cubicBezTo>
                  <a:cubicBezTo>
                    <a:pt x="1160022" y="606239"/>
                    <a:pt x="1158184" y="607056"/>
                    <a:pt x="1155184" y="608134"/>
                  </a:cubicBezTo>
                  <a:cubicBezTo>
                    <a:pt x="1154242" y="608413"/>
                    <a:pt x="1152404" y="609091"/>
                    <a:pt x="1149683" y="610178"/>
                  </a:cubicBezTo>
                  <a:lnTo>
                    <a:pt x="1144374" y="612422"/>
                  </a:lnTo>
                  <a:lnTo>
                    <a:pt x="1129079" y="615474"/>
                  </a:lnTo>
                  <a:cubicBezTo>
                    <a:pt x="1127594" y="616282"/>
                    <a:pt x="1126770" y="619544"/>
                    <a:pt x="1126638" y="625239"/>
                  </a:cubicBezTo>
                  <a:cubicBezTo>
                    <a:pt x="1126373" y="628500"/>
                    <a:pt x="1127653" y="631552"/>
                    <a:pt x="1130520" y="634404"/>
                  </a:cubicBezTo>
                  <a:cubicBezTo>
                    <a:pt x="1133638" y="637526"/>
                    <a:pt x="1135138" y="641197"/>
                    <a:pt x="1135006" y="645405"/>
                  </a:cubicBezTo>
                  <a:cubicBezTo>
                    <a:pt x="1135006" y="647440"/>
                    <a:pt x="1134521" y="648797"/>
                    <a:pt x="1133579" y="649475"/>
                  </a:cubicBezTo>
                  <a:lnTo>
                    <a:pt x="1128476" y="654162"/>
                  </a:lnTo>
                  <a:cubicBezTo>
                    <a:pt x="1127932" y="655110"/>
                    <a:pt x="1127594" y="656945"/>
                    <a:pt x="1127461" y="659658"/>
                  </a:cubicBezTo>
                  <a:lnTo>
                    <a:pt x="1126638" y="665562"/>
                  </a:lnTo>
                  <a:cubicBezTo>
                    <a:pt x="1125152" y="667597"/>
                    <a:pt x="1122093" y="669093"/>
                    <a:pt x="1117461" y="670041"/>
                  </a:cubicBezTo>
                  <a:cubicBezTo>
                    <a:pt x="1113784" y="671257"/>
                    <a:pt x="1111887" y="673372"/>
                    <a:pt x="1111755" y="676354"/>
                  </a:cubicBezTo>
                  <a:lnTo>
                    <a:pt x="1113593" y="678389"/>
                  </a:lnTo>
                  <a:cubicBezTo>
                    <a:pt x="1114667" y="679755"/>
                    <a:pt x="1115225" y="681032"/>
                    <a:pt x="1115225" y="682258"/>
                  </a:cubicBezTo>
                  <a:cubicBezTo>
                    <a:pt x="1115225" y="682797"/>
                    <a:pt x="1114343" y="684153"/>
                    <a:pt x="1112563" y="686328"/>
                  </a:cubicBezTo>
                  <a:cubicBezTo>
                    <a:pt x="1111887" y="687146"/>
                    <a:pt x="1111343" y="688093"/>
                    <a:pt x="1110931" y="689180"/>
                  </a:cubicBezTo>
                  <a:cubicBezTo>
                    <a:pt x="1109710" y="689041"/>
                    <a:pt x="1108225" y="687415"/>
                    <a:pt x="1106445" y="684293"/>
                  </a:cubicBezTo>
                  <a:cubicBezTo>
                    <a:pt x="1104945" y="681301"/>
                    <a:pt x="1103386" y="679675"/>
                    <a:pt x="1101754" y="679406"/>
                  </a:cubicBezTo>
                  <a:cubicBezTo>
                    <a:pt x="1099724" y="678867"/>
                    <a:pt x="1098019" y="677302"/>
                    <a:pt x="1096665" y="674718"/>
                  </a:cubicBezTo>
                  <a:lnTo>
                    <a:pt x="1095033" y="670649"/>
                  </a:lnTo>
                  <a:cubicBezTo>
                    <a:pt x="1064296" y="675267"/>
                    <a:pt x="1021823" y="677431"/>
                    <a:pt x="967570" y="677162"/>
                  </a:cubicBezTo>
                  <a:lnTo>
                    <a:pt x="895169" y="674928"/>
                  </a:lnTo>
                  <a:lnTo>
                    <a:pt x="893377" y="673143"/>
                  </a:lnTo>
                  <a:lnTo>
                    <a:pt x="892255" y="673143"/>
                  </a:lnTo>
                  <a:cubicBezTo>
                    <a:pt x="892953" y="673286"/>
                    <a:pt x="893212" y="673763"/>
                    <a:pt x="893402" y="674291"/>
                  </a:cubicBezTo>
                  <a:cubicBezTo>
                    <a:pt x="893534" y="674905"/>
                    <a:pt x="893667" y="675518"/>
                    <a:pt x="893799" y="676132"/>
                  </a:cubicBezTo>
                  <a:cubicBezTo>
                    <a:pt x="894097" y="678575"/>
                    <a:pt x="894553" y="680352"/>
                    <a:pt x="895248" y="681431"/>
                  </a:cubicBezTo>
                  <a:cubicBezTo>
                    <a:pt x="896062" y="682796"/>
                    <a:pt x="897214" y="683547"/>
                    <a:pt x="898703" y="683674"/>
                  </a:cubicBezTo>
                  <a:cubicBezTo>
                    <a:pt x="899656" y="683811"/>
                    <a:pt x="900211" y="685514"/>
                    <a:pt x="900350" y="688782"/>
                  </a:cubicBezTo>
                  <a:lnTo>
                    <a:pt x="902177" y="694695"/>
                  </a:lnTo>
                  <a:cubicBezTo>
                    <a:pt x="903269" y="695372"/>
                    <a:pt x="904361" y="696800"/>
                    <a:pt x="905453" y="698979"/>
                  </a:cubicBezTo>
                  <a:lnTo>
                    <a:pt x="908292" y="704279"/>
                  </a:lnTo>
                  <a:cubicBezTo>
                    <a:pt x="910059" y="706183"/>
                    <a:pt x="911766" y="709377"/>
                    <a:pt x="913394" y="713872"/>
                  </a:cubicBezTo>
                  <a:cubicBezTo>
                    <a:pt x="913811" y="714824"/>
                    <a:pt x="914287" y="715702"/>
                    <a:pt x="914823" y="716517"/>
                  </a:cubicBezTo>
                  <a:cubicBezTo>
                    <a:pt x="835670" y="718558"/>
                    <a:pt x="755762" y="716390"/>
                    <a:pt x="675119" y="709990"/>
                  </a:cubicBezTo>
                  <a:cubicBezTo>
                    <a:pt x="650085" y="707949"/>
                    <a:pt x="626420" y="705580"/>
                    <a:pt x="604125" y="702851"/>
                  </a:cubicBezTo>
                  <a:lnTo>
                    <a:pt x="578217" y="699593"/>
                  </a:lnTo>
                  <a:lnTo>
                    <a:pt x="582505" y="634107"/>
                  </a:lnTo>
                  <a:cubicBezTo>
                    <a:pt x="568906" y="634245"/>
                    <a:pt x="536724" y="631727"/>
                    <a:pt x="486000" y="626555"/>
                  </a:cubicBezTo>
                  <a:lnTo>
                    <a:pt x="486012" y="626387"/>
                  </a:lnTo>
                  <a:lnTo>
                    <a:pt x="308972" y="606609"/>
                  </a:lnTo>
                  <a:cubicBezTo>
                    <a:pt x="285038" y="603873"/>
                    <a:pt x="260899" y="600420"/>
                    <a:pt x="236569" y="596192"/>
                  </a:cubicBezTo>
                  <a:cubicBezTo>
                    <a:pt x="211810" y="592257"/>
                    <a:pt x="188083" y="587824"/>
                    <a:pt x="165371" y="582938"/>
                  </a:cubicBezTo>
                  <a:lnTo>
                    <a:pt x="138857" y="576823"/>
                  </a:lnTo>
                  <a:cubicBezTo>
                    <a:pt x="138871" y="576735"/>
                    <a:pt x="149869" y="511121"/>
                    <a:pt x="149869" y="511121"/>
                  </a:cubicBezTo>
                  <a:lnTo>
                    <a:pt x="174559" y="368730"/>
                  </a:lnTo>
                  <a:cubicBezTo>
                    <a:pt x="176452" y="356631"/>
                    <a:pt x="178017" y="347034"/>
                    <a:pt x="179239" y="339967"/>
                  </a:cubicBezTo>
                  <a:cubicBezTo>
                    <a:pt x="179387" y="338559"/>
                    <a:pt x="179534" y="337150"/>
                    <a:pt x="179682" y="335742"/>
                  </a:cubicBezTo>
                  <a:cubicBezTo>
                    <a:pt x="174520" y="329217"/>
                    <a:pt x="170407" y="324153"/>
                    <a:pt x="167314" y="320554"/>
                  </a:cubicBezTo>
                  <a:cubicBezTo>
                    <a:pt x="167190" y="320959"/>
                    <a:pt x="165753" y="322999"/>
                    <a:pt x="163029" y="326657"/>
                  </a:cubicBezTo>
                  <a:lnTo>
                    <a:pt x="159561" y="332987"/>
                  </a:lnTo>
                  <a:lnTo>
                    <a:pt x="156911" y="333182"/>
                  </a:lnTo>
                  <a:lnTo>
                    <a:pt x="148142" y="332372"/>
                  </a:lnTo>
                  <a:cubicBezTo>
                    <a:pt x="146780" y="332647"/>
                    <a:pt x="145492" y="332162"/>
                    <a:pt x="144254" y="330948"/>
                  </a:cubicBezTo>
                  <a:cubicBezTo>
                    <a:pt x="140786" y="328228"/>
                    <a:pt x="139498" y="327888"/>
                    <a:pt x="137740" y="327888"/>
                  </a:cubicBezTo>
                  <a:lnTo>
                    <a:pt x="127931" y="325038"/>
                  </a:lnTo>
                  <a:cubicBezTo>
                    <a:pt x="127262" y="325038"/>
                    <a:pt x="125281" y="325848"/>
                    <a:pt x="122011" y="327483"/>
                  </a:cubicBezTo>
                  <a:lnTo>
                    <a:pt x="114680" y="330543"/>
                  </a:lnTo>
                  <a:cubicBezTo>
                    <a:pt x="114259" y="330543"/>
                    <a:pt x="113392" y="329863"/>
                    <a:pt x="112029" y="328503"/>
                  </a:cubicBezTo>
                  <a:cubicBezTo>
                    <a:pt x="110395" y="327014"/>
                    <a:pt x="108141" y="326188"/>
                    <a:pt x="105292" y="326058"/>
                  </a:cubicBezTo>
                  <a:cubicBezTo>
                    <a:pt x="101205" y="325929"/>
                    <a:pt x="98753" y="327078"/>
                    <a:pt x="97936" y="329523"/>
                  </a:cubicBezTo>
                  <a:cubicBezTo>
                    <a:pt x="97267" y="331822"/>
                    <a:pt x="96029" y="332987"/>
                    <a:pt x="94270" y="332987"/>
                  </a:cubicBezTo>
                  <a:cubicBezTo>
                    <a:pt x="92239" y="332842"/>
                    <a:pt x="90877" y="328972"/>
                    <a:pt x="90183" y="321363"/>
                  </a:cubicBezTo>
                  <a:cubicBezTo>
                    <a:pt x="89911" y="317019"/>
                    <a:pt x="89638" y="312675"/>
                    <a:pt x="89366" y="308331"/>
                  </a:cubicBezTo>
                  <a:cubicBezTo>
                    <a:pt x="88970" y="306145"/>
                    <a:pt x="88078" y="304251"/>
                    <a:pt x="86716" y="302616"/>
                  </a:cubicBezTo>
                  <a:cubicBezTo>
                    <a:pt x="85081" y="300446"/>
                    <a:pt x="83669" y="299491"/>
                    <a:pt x="82431" y="299766"/>
                  </a:cubicBezTo>
                  <a:lnTo>
                    <a:pt x="76115" y="299151"/>
                  </a:lnTo>
                  <a:cubicBezTo>
                    <a:pt x="74480" y="298471"/>
                    <a:pt x="73737" y="296982"/>
                    <a:pt x="73861" y="294667"/>
                  </a:cubicBezTo>
                  <a:cubicBezTo>
                    <a:pt x="73861" y="293453"/>
                    <a:pt x="74405" y="290862"/>
                    <a:pt x="75495" y="286928"/>
                  </a:cubicBezTo>
                  <a:lnTo>
                    <a:pt x="76932" y="279384"/>
                  </a:lnTo>
                  <a:cubicBezTo>
                    <a:pt x="77056" y="277749"/>
                    <a:pt x="75966" y="275725"/>
                    <a:pt x="73662" y="273280"/>
                  </a:cubicBezTo>
                  <a:lnTo>
                    <a:pt x="68758" y="267565"/>
                  </a:lnTo>
                  <a:cubicBezTo>
                    <a:pt x="67396" y="266205"/>
                    <a:pt x="66851" y="263842"/>
                    <a:pt x="67123" y="260426"/>
                  </a:cubicBezTo>
                  <a:cubicBezTo>
                    <a:pt x="67396" y="257711"/>
                    <a:pt x="67668" y="254997"/>
                    <a:pt x="67941" y="252282"/>
                  </a:cubicBezTo>
                  <a:cubicBezTo>
                    <a:pt x="67668" y="249287"/>
                    <a:pt x="67346" y="246519"/>
                    <a:pt x="66925" y="243929"/>
                  </a:cubicBezTo>
                  <a:cubicBezTo>
                    <a:pt x="65835" y="238894"/>
                    <a:pt x="64077" y="236319"/>
                    <a:pt x="61625" y="236190"/>
                  </a:cubicBezTo>
                  <a:lnTo>
                    <a:pt x="43246" y="245564"/>
                  </a:lnTo>
                  <a:cubicBezTo>
                    <a:pt x="42429" y="245564"/>
                    <a:pt x="41562" y="244819"/>
                    <a:pt x="40596" y="243313"/>
                  </a:cubicBezTo>
                  <a:cubicBezTo>
                    <a:pt x="33933" y="238295"/>
                    <a:pt x="32249" y="236255"/>
                    <a:pt x="32249" y="233940"/>
                  </a:cubicBezTo>
                  <a:cubicBezTo>
                    <a:pt x="32249" y="232580"/>
                    <a:pt x="32992" y="231430"/>
                    <a:pt x="34478" y="230475"/>
                  </a:cubicBezTo>
                  <a:cubicBezTo>
                    <a:pt x="35840" y="229261"/>
                    <a:pt x="36583" y="227221"/>
                    <a:pt x="36732" y="224372"/>
                  </a:cubicBezTo>
                  <a:cubicBezTo>
                    <a:pt x="36856" y="222332"/>
                    <a:pt x="38020" y="220632"/>
                    <a:pt x="40200" y="219272"/>
                  </a:cubicBezTo>
                  <a:cubicBezTo>
                    <a:pt x="43667" y="214447"/>
                    <a:pt x="43197" y="212343"/>
                    <a:pt x="42231" y="210303"/>
                  </a:cubicBezTo>
                  <a:cubicBezTo>
                    <a:pt x="41141" y="203374"/>
                    <a:pt x="43940" y="196040"/>
                    <a:pt x="49389" y="185031"/>
                  </a:cubicBezTo>
                  <a:cubicBezTo>
                    <a:pt x="55086" y="174718"/>
                    <a:pt x="57959" y="169489"/>
                    <a:pt x="57959" y="169343"/>
                  </a:cubicBezTo>
                  <a:cubicBezTo>
                    <a:pt x="58083" y="168258"/>
                    <a:pt x="57885" y="167384"/>
                    <a:pt x="57340" y="166688"/>
                  </a:cubicBezTo>
                  <a:cubicBezTo>
                    <a:pt x="56646" y="165603"/>
                    <a:pt x="55829" y="165069"/>
                    <a:pt x="54888" y="165069"/>
                  </a:cubicBezTo>
                  <a:lnTo>
                    <a:pt x="49166" y="166089"/>
                  </a:lnTo>
                  <a:cubicBezTo>
                    <a:pt x="48497" y="165943"/>
                    <a:pt x="47061" y="165069"/>
                    <a:pt x="44881" y="163434"/>
                  </a:cubicBezTo>
                  <a:cubicBezTo>
                    <a:pt x="42577" y="161540"/>
                    <a:pt x="41215" y="159775"/>
                    <a:pt x="40819" y="158140"/>
                  </a:cubicBezTo>
                  <a:cubicBezTo>
                    <a:pt x="40398" y="156909"/>
                    <a:pt x="39110" y="155209"/>
                    <a:pt x="36930" y="153040"/>
                  </a:cubicBezTo>
                  <a:cubicBezTo>
                    <a:pt x="35172" y="151405"/>
                    <a:pt x="34280" y="149851"/>
                    <a:pt x="34280" y="148361"/>
                  </a:cubicBezTo>
                  <a:cubicBezTo>
                    <a:pt x="34404" y="144557"/>
                    <a:pt x="33041" y="140072"/>
                    <a:pt x="30193" y="134908"/>
                  </a:cubicBezTo>
                  <a:lnTo>
                    <a:pt x="24694" y="123704"/>
                  </a:lnTo>
                  <a:cubicBezTo>
                    <a:pt x="21152" y="118670"/>
                    <a:pt x="17412" y="114460"/>
                    <a:pt x="13474" y="111060"/>
                  </a:cubicBezTo>
                  <a:lnTo>
                    <a:pt x="7554" y="103727"/>
                  </a:lnTo>
                  <a:cubicBezTo>
                    <a:pt x="7282" y="102367"/>
                    <a:pt x="7752" y="99922"/>
                    <a:pt x="8966" y="96393"/>
                  </a:cubicBezTo>
                  <a:lnTo>
                    <a:pt x="10601" y="89464"/>
                  </a:lnTo>
                  <a:cubicBezTo>
                    <a:pt x="10749" y="87019"/>
                    <a:pt x="8966" y="82259"/>
                    <a:pt x="5300" y="75200"/>
                  </a:cubicBezTo>
                  <a:lnTo>
                    <a:pt x="0" y="61342"/>
                  </a:lnTo>
                  <a:lnTo>
                    <a:pt x="7554" y="28736"/>
                  </a:lnTo>
                  <a:cubicBezTo>
                    <a:pt x="9734" y="19217"/>
                    <a:pt x="11616" y="9649"/>
                    <a:pt x="13251" y="0"/>
                  </a:cubicBezTo>
                  <a:close/>
                </a:path>
              </a:pathLst>
            </a:custGeom>
            <a:grpFill/>
            <a:ln w="3175">
              <a:solidFill>
                <a:schemeClr val="bg1"/>
              </a:solidFill>
            </a:ln>
          </p:spPr>
          <p:txBody>
            <a:bodyPr lIns="0" tIns="0" rIns="0" bIns="0" rtlCol="0" anchor="ctr"/>
            <a:lstStyle/>
            <a:p>
              <a:pPr algn="ctr"/>
              <a:endParaRPr lang="en-US"/>
            </a:p>
          </p:txBody>
        </p:sp>
        <p:sp>
          <p:nvSpPr>
            <p:cNvPr id="16" name="Oval 15"/>
            <p:cNvSpPr/>
            <p:nvPr/>
          </p:nvSpPr>
          <p:spPr bwMode="auto">
            <a:xfrm>
              <a:off x="8488288" y="4445504"/>
              <a:ext cx="985251" cy="1101158"/>
            </a:xfrm>
            <a:custGeom>
              <a:avLst/>
              <a:gdLst/>
              <a:ahLst/>
              <a:cxnLst/>
              <a:rect l="l" t="t" r="r" b="b"/>
              <a:pathLst>
                <a:path w="985251" h="1101158">
                  <a:moveTo>
                    <a:pt x="767198" y="1090437"/>
                  </a:moveTo>
                  <a:cubicBezTo>
                    <a:pt x="767600" y="1090437"/>
                    <a:pt x="767798" y="1090631"/>
                    <a:pt x="767798" y="1091023"/>
                  </a:cubicBezTo>
                  <a:cubicBezTo>
                    <a:pt x="767798" y="1091412"/>
                    <a:pt x="767664" y="1092060"/>
                    <a:pt x="767395" y="1092970"/>
                  </a:cubicBezTo>
                  <a:cubicBezTo>
                    <a:pt x="767262" y="1093359"/>
                    <a:pt x="767126" y="1093683"/>
                    <a:pt x="766993" y="1093946"/>
                  </a:cubicBezTo>
                  <a:cubicBezTo>
                    <a:pt x="766725" y="1094986"/>
                    <a:pt x="766053" y="1095702"/>
                    <a:pt x="764973" y="1096091"/>
                  </a:cubicBezTo>
                  <a:cubicBezTo>
                    <a:pt x="762953" y="1096738"/>
                    <a:pt x="761334" y="1097321"/>
                    <a:pt x="760127" y="1097843"/>
                  </a:cubicBezTo>
                  <a:lnTo>
                    <a:pt x="748812" y="1101158"/>
                  </a:lnTo>
                  <a:cubicBezTo>
                    <a:pt x="747738" y="1101158"/>
                    <a:pt x="747266" y="1100899"/>
                    <a:pt x="747400" y="1100377"/>
                  </a:cubicBezTo>
                  <a:cubicBezTo>
                    <a:pt x="748472" y="1099077"/>
                    <a:pt x="750091" y="1098426"/>
                    <a:pt x="752244" y="1098426"/>
                  </a:cubicBezTo>
                  <a:cubicBezTo>
                    <a:pt x="752647" y="1098426"/>
                    <a:pt x="753523" y="1098102"/>
                    <a:pt x="754872" y="1097451"/>
                  </a:cubicBezTo>
                  <a:cubicBezTo>
                    <a:pt x="758984" y="1095831"/>
                    <a:pt x="760799" y="1094792"/>
                    <a:pt x="763355" y="1092971"/>
                  </a:cubicBezTo>
                  <a:close/>
                  <a:moveTo>
                    <a:pt x="772827" y="1082269"/>
                  </a:moveTo>
                  <a:cubicBezTo>
                    <a:pt x="773581" y="1082269"/>
                    <a:pt x="774150" y="1082585"/>
                    <a:pt x="774527" y="1083223"/>
                  </a:cubicBezTo>
                  <a:lnTo>
                    <a:pt x="776795" y="1085126"/>
                  </a:lnTo>
                  <a:lnTo>
                    <a:pt x="776987" y="1087414"/>
                  </a:lnTo>
                  <a:cubicBezTo>
                    <a:pt x="776987" y="1088179"/>
                    <a:pt x="776669" y="1088492"/>
                    <a:pt x="776041" y="1088369"/>
                  </a:cubicBezTo>
                  <a:lnTo>
                    <a:pt x="771881" y="1083223"/>
                  </a:lnTo>
                  <a:cubicBezTo>
                    <a:pt x="772132" y="1082585"/>
                    <a:pt x="772451" y="1082269"/>
                    <a:pt x="772827" y="1082269"/>
                  </a:cubicBezTo>
                  <a:close/>
                  <a:moveTo>
                    <a:pt x="798063" y="1074100"/>
                  </a:moveTo>
                  <a:cubicBezTo>
                    <a:pt x="798985" y="1074234"/>
                    <a:pt x="799450" y="1074572"/>
                    <a:pt x="799450" y="1075108"/>
                  </a:cubicBezTo>
                  <a:cubicBezTo>
                    <a:pt x="799449" y="1075644"/>
                    <a:pt x="799248" y="1076048"/>
                    <a:pt x="798853" y="1076317"/>
                  </a:cubicBezTo>
                  <a:cubicBezTo>
                    <a:pt x="798590" y="1076450"/>
                    <a:pt x="798457" y="1076651"/>
                    <a:pt x="798457" y="1076922"/>
                  </a:cubicBezTo>
                  <a:lnTo>
                    <a:pt x="792303" y="1080144"/>
                  </a:lnTo>
                  <a:cubicBezTo>
                    <a:pt x="792442" y="1078935"/>
                    <a:pt x="792837" y="1078462"/>
                    <a:pt x="793496" y="1077931"/>
                  </a:cubicBezTo>
                  <a:cubicBezTo>
                    <a:pt x="795814" y="1076517"/>
                    <a:pt x="796272" y="1075914"/>
                    <a:pt x="796675" y="1075108"/>
                  </a:cubicBezTo>
                  <a:cubicBezTo>
                    <a:pt x="796938" y="1074572"/>
                    <a:pt x="797403" y="1074234"/>
                    <a:pt x="798063" y="1074100"/>
                  </a:cubicBezTo>
                  <a:close/>
                  <a:moveTo>
                    <a:pt x="811837" y="1065931"/>
                  </a:moveTo>
                  <a:lnTo>
                    <a:pt x="813234" y="1065932"/>
                  </a:lnTo>
                  <a:cubicBezTo>
                    <a:pt x="813166" y="1066656"/>
                    <a:pt x="813099" y="1067379"/>
                    <a:pt x="813031" y="1068103"/>
                  </a:cubicBezTo>
                  <a:cubicBezTo>
                    <a:pt x="812500" y="1068496"/>
                    <a:pt x="812032" y="1069025"/>
                    <a:pt x="811634" y="1069686"/>
                  </a:cubicBezTo>
                  <a:cubicBezTo>
                    <a:pt x="811369" y="1070343"/>
                    <a:pt x="811103" y="1070872"/>
                    <a:pt x="810839" y="1071266"/>
                  </a:cubicBezTo>
                  <a:cubicBezTo>
                    <a:pt x="810839" y="1071533"/>
                    <a:pt x="810636" y="1071795"/>
                    <a:pt x="810238" y="1072057"/>
                  </a:cubicBezTo>
                  <a:lnTo>
                    <a:pt x="808639" y="1072057"/>
                  </a:lnTo>
                  <a:cubicBezTo>
                    <a:pt x="809169" y="1069818"/>
                    <a:pt x="810238" y="1067778"/>
                    <a:pt x="811837" y="1065931"/>
                  </a:cubicBezTo>
                  <a:close/>
                  <a:moveTo>
                    <a:pt x="835181" y="1021008"/>
                  </a:moveTo>
                  <a:lnTo>
                    <a:pt x="836668" y="1021008"/>
                  </a:lnTo>
                  <a:cubicBezTo>
                    <a:pt x="836854" y="1022024"/>
                    <a:pt x="837041" y="1023039"/>
                    <a:pt x="837227" y="1024055"/>
                  </a:cubicBezTo>
                  <a:cubicBezTo>
                    <a:pt x="837103" y="1024868"/>
                    <a:pt x="836980" y="1025481"/>
                    <a:pt x="836857" y="1025886"/>
                  </a:cubicBezTo>
                  <a:cubicBezTo>
                    <a:pt x="836610" y="1026699"/>
                    <a:pt x="835987" y="1027105"/>
                    <a:pt x="835000" y="1027105"/>
                  </a:cubicBezTo>
                  <a:cubicBezTo>
                    <a:pt x="834623" y="1027240"/>
                    <a:pt x="834194" y="1026902"/>
                    <a:pt x="833694" y="1026088"/>
                  </a:cubicBezTo>
                  <a:cubicBezTo>
                    <a:pt x="833324" y="1025413"/>
                    <a:pt x="833142" y="1024733"/>
                    <a:pt x="833143" y="1024054"/>
                  </a:cubicBezTo>
                  <a:cubicBezTo>
                    <a:pt x="833143" y="1022160"/>
                    <a:pt x="833825" y="1021142"/>
                    <a:pt x="835181" y="1021008"/>
                  </a:cubicBezTo>
                  <a:close/>
                  <a:moveTo>
                    <a:pt x="707964" y="972000"/>
                  </a:moveTo>
                  <a:cubicBezTo>
                    <a:pt x="708500" y="972000"/>
                    <a:pt x="709172" y="972270"/>
                    <a:pt x="709984" y="972811"/>
                  </a:cubicBezTo>
                  <a:cubicBezTo>
                    <a:pt x="710654" y="973216"/>
                    <a:pt x="711324" y="973424"/>
                    <a:pt x="712003" y="973423"/>
                  </a:cubicBezTo>
                  <a:cubicBezTo>
                    <a:pt x="712270" y="973423"/>
                    <a:pt x="713012" y="973288"/>
                    <a:pt x="714219" y="973018"/>
                  </a:cubicBezTo>
                  <a:lnTo>
                    <a:pt x="715228" y="973423"/>
                  </a:lnTo>
                  <a:cubicBezTo>
                    <a:pt x="715496" y="973829"/>
                    <a:pt x="715835" y="974171"/>
                    <a:pt x="716237" y="974441"/>
                  </a:cubicBezTo>
                  <a:cubicBezTo>
                    <a:pt x="716237" y="975658"/>
                    <a:pt x="714763" y="976199"/>
                    <a:pt x="711797" y="976064"/>
                  </a:cubicBezTo>
                  <a:lnTo>
                    <a:pt x="706545" y="973216"/>
                  </a:lnTo>
                  <a:cubicBezTo>
                    <a:pt x="706545" y="972405"/>
                    <a:pt x="707018" y="972000"/>
                    <a:pt x="707964" y="972000"/>
                  </a:cubicBezTo>
                  <a:close/>
                  <a:moveTo>
                    <a:pt x="127472" y="808638"/>
                  </a:moveTo>
                  <a:cubicBezTo>
                    <a:pt x="128814" y="808638"/>
                    <a:pt x="129880" y="808971"/>
                    <a:pt x="130688" y="809643"/>
                  </a:cubicBezTo>
                  <a:cubicBezTo>
                    <a:pt x="132022" y="810714"/>
                    <a:pt x="133229" y="811247"/>
                    <a:pt x="134297" y="811248"/>
                  </a:cubicBezTo>
                  <a:cubicBezTo>
                    <a:pt x="135639" y="811384"/>
                    <a:pt x="136305" y="811985"/>
                    <a:pt x="136305" y="813057"/>
                  </a:cubicBezTo>
                  <a:lnTo>
                    <a:pt x="129480" y="820885"/>
                  </a:lnTo>
                  <a:cubicBezTo>
                    <a:pt x="129347" y="820885"/>
                    <a:pt x="127472" y="819747"/>
                    <a:pt x="123857" y="817475"/>
                  </a:cubicBezTo>
                  <a:lnTo>
                    <a:pt x="118437" y="813858"/>
                  </a:lnTo>
                  <a:cubicBezTo>
                    <a:pt x="118437" y="812389"/>
                    <a:pt x="119644" y="811113"/>
                    <a:pt x="122053" y="810042"/>
                  </a:cubicBezTo>
                  <a:cubicBezTo>
                    <a:pt x="124194" y="809105"/>
                    <a:pt x="125998" y="808638"/>
                    <a:pt x="127472" y="808638"/>
                  </a:cubicBezTo>
                  <a:close/>
                  <a:moveTo>
                    <a:pt x="536435" y="767807"/>
                  </a:moveTo>
                  <a:cubicBezTo>
                    <a:pt x="536371" y="769859"/>
                    <a:pt x="533309" y="772700"/>
                    <a:pt x="527861" y="776532"/>
                  </a:cubicBezTo>
                  <a:lnTo>
                    <a:pt x="516430" y="782092"/>
                  </a:lnTo>
                  <a:cubicBezTo>
                    <a:pt x="514723" y="780238"/>
                    <a:pt x="515880" y="779312"/>
                    <a:pt x="518058" y="778517"/>
                  </a:cubicBezTo>
                  <a:cubicBezTo>
                    <a:pt x="519286" y="777989"/>
                    <a:pt x="520378" y="777659"/>
                    <a:pt x="521328" y="777524"/>
                  </a:cubicBezTo>
                  <a:lnTo>
                    <a:pt x="522348" y="777524"/>
                  </a:lnTo>
                  <a:cubicBezTo>
                    <a:pt x="525069" y="776733"/>
                    <a:pt x="527933" y="774950"/>
                    <a:pt x="530923" y="772169"/>
                  </a:cubicBezTo>
                  <a:close/>
                  <a:moveTo>
                    <a:pt x="274037" y="767798"/>
                  </a:moveTo>
                  <a:cubicBezTo>
                    <a:pt x="274588" y="767935"/>
                    <a:pt x="275059" y="768068"/>
                    <a:pt x="275473" y="768203"/>
                  </a:cubicBezTo>
                  <a:cubicBezTo>
                    <a:pt x="275745" y="768336"/>
                    <a:pt x="276016" y="768537"/>
                    <a:pt x="276288" y="768804"/>
                  </a:cubicBezTo>
                  <a:cubicBezTo>
                    <a:pt x="276288" y="768872"/>
                    <a:pt x="276287" y="768940"/>
                    <a:pt x="276287" y="769008"/>
                  </a:cubicBezTo>
                  <a:cubicBezTo>
                    <a:pt x="276558" y="769141"/>
                    <a:pt x="276694" y="769476"/>
                    <a:pt x="276694" y="770014"/>
                  </a:cubicBezTo>
                  <a:cubicBezTo>
                    <a:pt x="276694" y="770816"/>
                    <a:pt x="276151" y="771755"/>
                    <a:pt x="275059" y="772824"/>
                  </a:cubicBezTo>
                  <a:cubicBezTo>
                    <a:pt x="271724" y="774435"/>
                    <a:pt x="271118" y="774234"/>
                    <a:pt x="270567" y="773830"/>
                  </a:cubicBezTo>
                  <a:cubicBezTo>
                    <a:pt x="269889" y="773295"/>
                    <a:pt x="269546" y="772757"/>
                    <a:pt x="269546" y="772227"/>
                  </a:cubicBezTo>
                  <a:cubicBezTo>
                    <a:pt x="269547" y="770882"/>
                    <a:pt x="270026" y="769810"/>
                    <a:pt x="270974" y="769008"/>
                  </a:cubicBezTo>
                  <a:cubicBezTo>
                    <a:pt x="272067" y="768202"/>
                    <a:pt x="273088" y="767798"/>
                    <a:pt x="274037" y="767798"/>
                  </a:cubicBezTo>
                  <a:close/>
                  <a:moveTo>
                    <a:pt x="309573" y="755546"/>
                  </a:moveTo>
                  <a:lnTo>
                    <a:pt x="312022" y="756131"/>
                  </a:lnTo>
                  <a:cubicBezTo>
                    <a:pt x="312429" y="756257"/>
                    <a:pt x="313043" y="756515"/>
                    <a:pt x="313864" y="756908"/>
                  </a:cubicBezTo>
                  <a:cubicBezTo>
                    <a:pt x="314271" y="757166"/>
                    <a:pt x="314750" y="757554"/>
                    <a:pt x="315293" y="758074"/>
                  </a:cubicBezTo>
                  <a:cubicBezTo>
                    <a:pt x="315292" y="758204"/>
                    <a:pt x="315356" y="758333"/>
                    <a:pt x="315492" y="758462"/>
                  </a:cubicBezTo>
                  <a:cubicBezTo>
                    <a:pt x="313449" y="759242"/>
                    <a:pt x="311344" y="759630"/>
                    <a:pt x="309166" y="759630"/>
                  </a:cubicBezTo>
                  <a:cubicBezTo>
                    <a:pt x="307259" y="759500"/>
                    <a:pt x="306303" y="758984"/>
                    <a:pt x="306302" y="758074"/>
                  </a:cubicBezTo>
                  <a:cubicBezTo>
                    <a:pt x="306303" y="757424"/>
                    <a:pt x="306582" y="756842"/>
                    <a:pt x="307124" y="756322"/>
                  </a:cubicBezTo>
                  <a:cubicBezTo>
                    <a:pt x="307939" y="755804"/>
                    <a:pt x="308759" y="755546"/>
                    <a:pt x="309573" y="755546"/>
                  </a:cubicBezTo>
                  <a:close/>
                  <a:moveTo>
                    <a:pt x="336565" y="751462"/>
                  </a:moveTo>
                  <a:cubicBezTo>
                    <a:pt x="336828" y="751461"/>
                    <a:pt x="337100" y="751595"/>
                    <a:pt x="337364" y="751862"/>
                  </a:cubicBezTo>
                  <a:lnTo>
                    <a:pt x="337759" y="752066"/>
                  </a:lnTo>
                  <a:cubicBezTo>
                    <a:pt x="337760" y="752332"/>
                    <a:pt x="337822" y="752599"/>
                    <a:pt x="337954" y="752866"/>
                  </a:cubicBezTo>
                  <a:lnTo>
                    <a:pt x="337954" y="753070"/>
                  </a:lnTo>
                  <a:cubicBezTo>
                    <a:pt x="337954" y="754003"/>
                    <a:pt x="337294" y="754870"/>
                    <a:pt x="335967" y="755670"/>
                  </a:cubicBezTo>
                  <a:cubicBezTo>
                    <a:pt x="334648" y="756607"/>
                    <a:pt x="333390" y="757078"/>
                    <a:pt x="332196" y="757078"/>
                  </a:cubicBezTo>
                  <a:cubicBezTo>
                    <a:pt x="331000" y="756807"/>
                    <a:pt x="330807" y="756341"/>
                    <a:pt x="330807" y="755669"/>
                  </a:cubicBezTo>
                  <a:cubicBezTo>
                    <a:pt x="330807" y="754870"/>
                    <a:pt x="331335" y="753933"/>
                    <a:pt x="332398" y="752866"/>
                  </a:cubicBezTo>
                  <a:cubicBezTo>
                    <a:pt x="333585" y="751925"/>
                    <a:pt x="334974" y="751462"/>
                    <a:pt x="336565" y="751462"/>
                  </a:cubicBezTo>
                  <a:close/>
                  <a:moveTo>
                    <a:pt x="950787" y="351230"/>
                  </a:moveTo>
                  <a:lnTo>
                    <a:pt x="951596" y="351435"/>
                  </a:lnTo>
                  <a:cubicBezTo>
                    <a:pt x="951595" y="351568"/>
                    <a:pt x="951933" y="352441"/>
                    <a:pt x="952601" y="354050"/>
                  </a:cubicBezTo>
                  <a:cubicBezTo>
                    <a:pt x="952067" y="356598"/>
                    <a:pt x="950786" y="359012"/>
                    <a:pt x="948776" y="361292"/>
                  </a:cubicBezTo>
                  <a:lnTo>
                    <a:pt x="939328" y="372157"/>
                  </a:lnTo>
                  <a:lnTo>
                    <a:pt x="939328" y="371555"/>
                  </a:lnTo>
                  <a:cubicBezTo>
                    <a:pt x="939461" y="369676"/>
                    <a:pt x="941206" y="365854"/>
                    <a:pt x="944559" y="360086"/>
                  </a:cubicBezTo>
                  <a:close/>
                  <a:moveTo>
                    <a:pt x="961408" y="335066"/>
                  </a:moveTo>
                  <a:cubicBezTo>
                    <a:pt x="961153" y="335456"/>
                    <a:pt x="961087" y="335781"/>
                    <a:pt x="961214" y="336045"/>
                  </a:cubicBezTo>
                  <a:lnTo>
                    <a:pt x="961790" y="337221"/>
                  </a:lnTo>
                  <a:cubicBezTo>
                    <a:pt x="961662" y="338132"/>
                    <a:pt x="961027" y="339047"/>
                    <a:pt x="959875" y="339962"/>
                  </a:cubicBezTo>
                  <a:cubicBezTo>
                    <a:pt x="958858" y="341007"/>
                    <a:pt x="957773" y="341528"/>
                    <a:pt x="956621" y="341527"/>
                  </a:cubicBezTo>
                  <a:cubicBezTo>
                    <a:pt x="956112" y="341527"/>
                    <a:pt x="955791" y="341332"/>
                    <a:pt x="955663" y="340941"/>
                  </a:cubicBezTo>
                  <a:cubicBezTo>
                    <a:pt x="956046" y="339763"/>
                    <a:pt x="956816" y="338457"/>
                    <a:pt x="957960" y="337025"/>
                  </a:cubicBezTo>
                  <a:cubicBezTo>
                    <a:pt x="959239" y="335195"/>
                    <a:pt x="960391" y="334541"/>
                    <a:pt x="961408" y="335066"/>
                  </a:cubicBezTo>
                  <a:close/>
                  <a:moveTo>
                    <a:pt x="970080" y="322638"/>
                  </a:moveTo>
                  <a:lnTo>
                    <a:pt x="971489" y="322638"/>
                  </a:lnTo>
                  <a:lnTo>
                    <a:pt x="971489" y="325064"/>
                  </a:lnTo>
                  <a:cubicBezTo>
                    <a:pt x="970687" y="326274"/>
                    <a:pt x="970144" y="327486"/>
                    <a:pt x="969876" y="328703"/>
                  </a:cubicBezTo>
                  <a:cubicBezTo>
                    <a:pt x="967861" y="330588"/>
                    <a:pt x="965847" y="331805"/>
                    <a:pt x="963832" y="332339"/>
                  </a:cubicBezTo>
                  <a:cubicBezTo>
                    <a:pt x="963831" y="330996"/>
                    <a:pt x="964509" y="329241"/>
                    <a:pt x="965846" y="327084"/>
                  </a:cubicBezTo>
                  <a:cubicBezTo>
                    <a:pt x="967192" y="325198"/>
                    <a:pt x="968601" y="323717"/>
                    <a:pt x="970080" y="322638"/>
                  </a:cubicBezTo>
                  <a:close/>
                  <a:moveTo>
                    <a:pt x="817395" y="70282"/>
                  </a:moveTo>
                  <a:lnTo>
                    <a:pt x="816230" y="71906"/>
                  </a:lnTo>
                  <a:lnTo>
                    <a:pt x="816521" y="72611"/>
                  </a:lnTo>
                  <a:cubicBezTo>
                    <a:pt x="817225" y="72331"/>
                    <a:pt x="817293" y="71907"/>
                    <a:pt x="817349" y="71459"/>
                  </a:cubicBezTo>
                  <a:cubicBezTo>
                    <a:pt x="817364" y="71067"/>
                    <a:pt x="817380" y="70674"/>
                    <a:pt x="817395" y="70282"/>
                  </a:cubicBezTo>
                  <a:close/>
                  <a:moveTo>
                    <a:pt x="666920" y="0"/>
                  </a:moveTo>
                  <a:lnTo>
                    <a:pt x="668559" y="12028"/>
                  </a:lnTo>
                  <a:cubicBezTo>
                    <a:pt x="670468" y="20602"/>
                    <a:pt x="672573" y="36577"/>
                    <a:pt x="674885" y="59964"/>
                  </a:cubicBezTo>
                  <a:lnTo>
                    <a:pt x="729575" y="51390"/>
                  </a:lnTo>
                  <a:cubicBezTo>
                    <a:pt x="742124" y="52884"/>
                    <a:pt x="745727" y="66856"/>
                    <a:pt x="750181" y="68930"/>
                  </a:cubicBezTo>
                  <a:cubicBezTo>
                    <a:pt x="750864" y="68248"/>
                    <a:pt x="752905" y="66549"/>
                    <a:pt x="756301" y="63832"/>
                  </a:cubicBezTo>
                  <a:cubicBezTo>
                    <a:pt x="758341" y="62335"/>
                    <a:pt x="759632" y="61049"/>
                    <a:pt x="760175" y="59963"/>
                  </a:cubicBezTo>
                  <a:lnTo>
                    <a:pt x="762009" y="54855"/>
                  </a:lnTo>
                  <a:cubicBezTo>
                    <a:pt x="762822" y="53368"/>
                    <a:pt x="763995" y="52620"/>
                    <a:pt x="765481" y="52619"/>
                  </a:cubicBezTo>
                  <a:cubicBezTo>
                    <a:pt x="766306" y="52753"/>
                    <a:pt x="767055" y="53838"/>
                    <a:pt x="767728" y="55872"/>
                  </a:cubicBezTo>
                  <a:cubicBezTo>
                    <a:pt x="768542" y="57784"/>
                    <a:pt x="769496" y="58735"/>
                    <a:pt x="770581" y="58734"/>
                  </a:cubicBezTo>
                  <a:cubicBezTo>
                    <a:pt x="773718" y="58869"/>
                    <a:pt x="775617" y="57919"/>
                    <a:pt x="776300" y="55873"/>
                  </a:cubicBezTo>
                  <a:cubicBezTo>
                    <a:pt x="776973" y="53435"/>
                    <a:pt x="779024" y="52005"/>
                    <a:pt x="782420" y="51603"/>
                  </a:cubicBezTo>
                  <a:cubicBezTo>
                    <a:pt x="782963" y="51323"/>
                    <a:pt x="784937" y="49557"/>
                    <a:pt x="788333" y="46292"/>
                  </a:cubicBezTo>
                  <a:lnTo>
                    <a:pt x="794454" y="41608"/>
                  </a:lnTo>
                  <a:cubicBezTo>
                    <a:pt x="795008" y="41463"/>
                    <a:pt x="796700" y="42692"/>
                    <a:pt x="799554" y="45274"/>
                  </a:cubicBezTo>
                  <a:cubicBezTo>
                    <a:pt x="803102" y="47589"/>
                    <a:pt x="806770" y="48807"/>
                    <a:pt x="810579" y="48952"/>
                  </a:cubicBezTo>
                  <a:cubicBezTo>
                    <a:pt x="812076" y="48953"/>
                    <a:pt x="813096" y="49757"/>
                    <a:pt x="813639" y="51389"/>
                  </a:cubicBezTo>
                  <a:cubicBezTo>
                    <a:pt x="813910" y="52072"/>
                    <a:pt x="813986" y="53368"/>
                    <a:pt x="813845" y="55269"/>
                  </a:cubicBezTo>
                  <a:cubicBezTo>
                    <a:pt x="813846" y="57438"/>
                    <a:pt x="814529" y="58667"/>
                    <a:pt x="815885" y="58935"/>
                  </a:cubicBezTo>
                  <a:cubicBezTo>
                    <a:pt x="818338" y="61250"/>
                    <a:pt x="818261" y="62468"/>
                    <a:pt x="818131" y="64246"/>
                  </a:cubicBezTo>
                  <a:cubicBezTo>
                    <a:pt x="818105" y="64918"/>
                    <a:pt x="818079" y="65591"/>
                    <a:pt x="818053" y="66263"/>
                  </a:cubicBezTo>
                  <a:cubicBezTo>
                    <a:pt x="822624" y="67035"/>
                    <a:pt x="826874" y="67889"/>
                    <a:pt x="830807" y="68806"/>
                  </a:cubicBezTo>
                  <a:lnTo>
                    <a:pt x="833670" y="74100"/>
                  </a:lnTo>
                  <a:lnTo>
                    <a:pt x="836532" y="80420"/>
                  </a:lnTo>
                  <a:cubicBezTo>
                    <a:pt x="838295" y="81228"/>
                    <a:pt x="840399" y="81703"/>
                    <a:pt x="842844" y="81843"/>
                  </a:cubicBezTo>
                  <a:cubicBezTo>
                    <a:pt x="843526" y="81982"/>
                    <a:pt x="844284" y="82048"/>
                    <a:pt x="845099" y="82047"/>
                  </a:cubicBezTo>
                  <a:cubicBezTo>
                    <a:pt x="847810" y="82727"/>
                    <a:pt x="849439" y="84894"/>
                    <a:pt x="849989" y="88560"/>
                  </a:cubicBezTo>
                  <a:lnTo>
                    <a:pt x="855297" y="94265"/>
                  </a:lnTo>
                  <a:cubicBezTo>
                    <a:pt x="856927" y="95483"/>
                    <a:pt x="859164" y="96918"/>
                    <a:pt x="862025" y="98546"/>
                  </a:cubicBezTo>
                  <a:lnTo>
                    <a:pt x="858975" y="103021"/>
                  </a:lnTo>
                  <a:cubicBezTo>
                    <a:pt x="857742" y="105060"/>
                    <a:pt x="856037" y="107572"/>
                    <a:pt x="853856" y="110559"/>
                  </a:cubicBezTo>
                  <a:cubicBezTo>
                    <a:pt x="851960" y="113276"/>
                    <a:pt x="850937" y="116877"/>
                    <a:pt x="850804" y="121353"/>
                  </a:cubicBezTo>
                  <a:lnTo>
                    <a:pt x="851014" y="127467"/>
                  </a:lnTo>
                  <a:cubicBezTo>
                    <a:pt x="851279" y="129504"/>
                    <a:pt x="852018" y="130519"/>
                    <a:pt x="853250" y="130519"/>
                  </a:cubicBezTo>
                  <a:lnTo>
                    <a:pt x="861002" y="127672"/>
                  </a:lnTo>
                  <a:lnTo>
                    <a:pt x="868148" y="124609"/>
                  </a:lnTo>
                  <a:lnTo>
                    <a:pt x="873039" y="126647"/>
                  </a:lnTo>
                  <a:cubicBezTo>
                    <a:pt x="875218" y="127877"/>
                    <a:pt x="877057" y="129160"/>
                    <a:pt x="878535" y="130519"/>
                  </a:cubicBezTo>
                  <a:lnTo>
                    <a:pt x="877739" y="130519"/>
                  </a:lnTo>
                  <a:cubicBezTo>
                    <a:pt x="878270" y="131878"/>
                    <a:pt x="879843" y="133031"/>
                    <a:pt x="882421" y="133979"/>
                  </a:cubicBezTo>
                  <a:lnTo>
                    <a:pt x="888752" y="136223"/>
                  </a:lnTo>
                  <a:cubicBezTo>
                    <a:pt x="889833" y="136903"/>
                    <a:pt x="891197" y="138057"/>
                    <a:pt x="892828" y="139684"/>
                  </a:cubicBezTo>
                  <a:cubicBezTo>
                    <a:pt x="894590" y="141172"/>
                    <a:pt x="895955" y="142261"/>
                    <a:pt x="896903" y="142941"/>
                  </a:cubicBezTo>
                  <a:lnTo>
                    <a:pt x="907916" y="146402"/>
                  </a:lnTo>
                  <a:lnTo>
                    <a:pt x="914038" y="150888"/>
                  </a:lnTo>
                  <a:cubicBezTo>
                    <a:pt x="911175" y="150758"/>
                    <a:pt x="909697" y="151427"/>
                    <a:pt x="909565" y="152926"/>
                  </a:cubicBezTo>
                  <a:cubicBezTo>
                    <a:pt x="911119" y="157337"/>
                    <a:pt x="911327" y="158836"/>
                    <a:pt x="911176" y="160464"/>
                  </a:cubicBezTo>
                  <a:cubicBezTo>
                    <a:pt x="911176" y="161951"/>
                    <a:pt x="910777" y="163311"/>
                    <a:pt x="909962" y="164529"/>
                  </a:cubicBezTo>
                  <a:lnTo>
                    <a:pt x="893245" y="160259"/>
                  </a:lnTo>
                  <a:lnTo>
                    <a:pt x="880791" y="150683"/>
                  </a:lnTo>
                  <a:lnTo>
                    <a:pt x="879976" y="150684"/>
                  </a:lnTo>
                  <a:cubicBezTo>
                    <a:pt x="879976" y="151158"/>
                    <a:pt x="879977" y="151633"/>
                    <a:pt x="879977" y="152107"/>
                  </a:cubicBezTo>
                  <a:lnTo>
                    <a:pt x="900978" y="169619"/>
                  </a:lnTo>
                  <a:lnTo>
                    <a:pt x="907308" y="170643"/>
                  </a:lnTo>
                  <a:cubicBezTo>
                    <a:pt x="910437" y="171053"/>
                    <a:pt x="912484" y="172066"/>
                    <a:pt x="913431" y="173695"/>
                  </a:cubicBezTo>
                  <a:lnTo>
                    <a:pt x="917507" y="177566"/>
                  </a:lnTo>
                  <a:cubicBezTo>
                    <a:pt x="918473" y="178386"/>
                    <a:pt x="918929" y="180014"/>
                    <a:pt x="918928" y="182462"/>
                  </a:cubicBezTo>
                  <a:cubicBezTo>
                    <a:pt x="918796" y="183950"/>
                    <a:pt x="918530" y="184963"/>
                    <a:pt x="918133" y="185513"/>
                  </a:cubicBezTo>
                  <a:cubicBezTo>
                    <a:pt x="917582" y="186053"/>
                    <a:pt x="916559" y="186322"/>
                    <a:pt x="915062" y="186322"/>
                  </a:cubicBezTo>
                  <a:cubicBezTo>
                    <a:pt x="914114" y="186322"/>
                    <a:pt x="913299" y="185913"/>
                    <a:pt x="912616" y="185104"/>
                  </a:cubicBezTo>
                  <a:cubicBezTo>
                    <a:pt x="910437" y="183885"/>
                    <a:pt x="909886" y="184091"/>
                    <a:pt x="909356" y="184488"/>
                  </a:cubicBezTo>
                  <a:cubicBezTo>
                    <a:pt x="908939" y="185029"/>
                    <a:pt x="908731" y="185579"/>
                    <a:pt x="908731" y="186117"/>
                  </a:cubicBezTo>
                  <a:lnTo>
                    <a:pt x="909962" y="187551"/>
                  </a:lnTo>
                  <a:cubicBezTo>
                    <a:pt x="909432" y="190872"/>
                    <a:pt x="908939" y="191078"/>
                    <a:pt x="908541" y="191207"/>
                  </a:cubicBezTo>
                  <a:lnTo>
                    <a:pt x="907916" y="192027"/>
                  </a:lnTo>
                  <a:lnTo>
                    <a:pt x="898134" y="186937"/>
                  </a:lnTo>
                  <a:lnTo>
                    <a:pt x="890780" y="181028"/>
                  </a:lnTo>
                  <a:lnTo>
                    <a:pt x="889567" y="181027"/>
                  </a:lnTo>
                  <a:lnTo>
                    <a:pt x="889567" y="182861"/>
                  </a:lnTo>
                  <a:lnTo>
                    <a:pt x="898533" y="190398"/>
                  </a:lnTo>
                  <a:cubicBezTo>
                    <a:pt x="901945" y="193116"/>
                    <a:pt x="904598" y="194744"/>
                    <a:pt x="906494" y="195283"/>
                  </a:cubicBezTo>
                  <a:lnTo>
                    <a:pt x="912010" y="195089"/>
                  </a:lnTo>
                  <a:cubicBezTo>
                    <a:pt x="914455" y="195089"/>
                    <a:pt x="915744" y="196168"/>
                    <a:pt x="915877" y="198335"/>
                  </a:cubicBezTo>
                  <a:cubicBezTo>
                    <a:pt x="916009" y="199704"/>
                    <a:pt x="916900" y="200847"/>
                    <a:pt x="918530" y="201806"/>
                  </a:cubicBezTo>
                  <a:cubicBezTo>
                    <a:pt x="920161" y="202476"/>
                    <a:pt x="920975" y="203705"/>
                    <a:pt x="920975" y="205473"/>
                  </a:cubicBezTo>
                  <a:cubicBezTo>
                    <a:pt x="920842" y="207641"/>
                    <a:pt x="919819" y="209204"/>
                    <a:pt x="917924" y="210153"/>
                  </a:cubicBezTo>
                  <a:cubicBezTo>
                    <a:pt x="916692" y="211103"/>
                    <a:pt x="915194" y="211577"/>
                    <a:pt x="913431" y="211576"/>
                  </a:cubicBezTo>
                  <a:lnTo>
                    <a:pt x="906077" y="206282"/>
                  </a:lnTo>
                  <a:lnTo>
                    <a:pt x="897320" y="199564"/>
                  </a:lnTo>
                  <a:lnTo>
                    <a:pt x="877114" y="196297"/>
                  </a:lnTo>
                  <a:lnTo>
                    <a:pt x="871200" y="196297"/>
                  </a:lnTo>
                  <a:cubicBezTo>
                    <a:pt x="871200" y="196369"/>
                    <a:pt x="871201" y="196440"/>
                    <a:pt x="871201" y="196512"/>
                  </a:cubicBezTo>
                  <a:cubicBezTo>
                    <a:pt x="873513" y="198820"/>
                    <a:pt x="877587" y="200039"/>
                    <a:pt x="883445" y="200179"/>
                  </a:cubicBezTo>
                  <a:lnTo>
                    <a:pt x="895481" y="201807"/>
                  </a:lnTo>
                  <a:lnTo>
                    <a:pt x="901812" y="204654"/>
                  </a:lnTo>
                  <a:cubicBezTo>
                    <a:pt x="903973" y="206153"/>
                    <a:pt x="905337" y="207846"/>
                    <a:pt x="905887" y="209754"/>
                  </a:cubicBezTo>
                  <a:cubicBezTo>
                    <a:pt x="906418" y="211793"/>
                    <a:pt x="907442" y="213474"/>
                    <a:pt x="908939" y="214844"/>
                  </a:cubicBezTo>
                  <a:cubicBezTo>
                    <a:pt x="910437" y="215922"/>
                    <a:pt x="912010" y="216537"/>
                    <a:pt x="913640" y="216666"/>
                  </a:cubicBezTo>
                  <a:cubicBezTo>
                    <a:pt x="916218" y="216666"/>
                    <a:pt x="918265" y="215718"/>
                    <a:pt x="919762" y="213820"/>
                  </a:cubicBezTo>
                  <a:cubicBezTo>
                    <a:pt x="921393" y="211922"/>
                    <a:pt x="923099" y="210973"/>
                    <a:pt x="924861" y="210972"/>
                  </a:cubicBezTo>
                  <a:cubicBezTo>
                    <a:pt x="926889" y="211103"/>
                    <a:pt x="929278" y="211512"/>
                    <a:pt x="932007" y="212191"/>
                  </a:cubicBezTo>
                  <a:cubicBezTo>
                    <a:pt x="935248" y="212871"/>
                    <a:pt x="937561" y="213820"/>
                    <a:pt x="938925" y="215038"/>
                  </a:cubicBezTo>
                  <a:cubicBezTo>
                    <a:pt x="939058" y="215178"/>
                    <a:pt x="939210" y="215319"/>
                    <a:pt x="939343" y="215448"/>
                  </a:cubicBezTo>
                  <a:cubicBezTo>
                    <a:pt x="940707" y="215997"/>
                    <a:pt x="941996" y="217486"/>
                    <a:pt x="943209" y="219934"/>
                  </a:cubicBezTo>
                  <a:cubicBezTo>
                    <a:pt x="943892" y="221832"/>
                    <a:pt x="944782" y="224753"/>
                    <a:pt x="945863" y="228690"/>
                  </a:cubicBezTo>
                  <a:lnTo>
                    <a:pt x="948032" y="233020"/>
                  </a:lnTo>
                  <a:cubicBezTo>
                    <a:pt x="949533" y="233606"/>
                    <a:pt x="949965" y="234490"/>
                    <a:pt x="950354" y="235442"/>
                  </a:cubicBezTo>
                  <a:lnTo>
                    <a:pt x="954632" y="243601"/>
                  </a:lnTo>
                  <a:cubicBezTo>
                    <a:pt x="957917" y="250935"/>
                    <a:pt x="964443" y="261270"/>
                    <a:pt x="974231" y="274588"/>
                  </a:cubicBezTo>
                  <a:cubicBezTo>
                    <a:pt x="976284" y="276220"/>
                    <a:pt x="978530" y="280504"/>
                    <a:pt x="980973" y="287439"/>
                  </a:cubicBezTo>
                  <a:cubicBezTo>
                    <a:pt x="983976" y="295317"/>
                    <a:pt x="985402" y="302116"/>
                    <a:pt x="985251" y="307819"/>
                  </a:cubicBezTo>
                  <a:cubicBezTo>
                    <a:pt x="985121" y="311355"/>
                    <a:pt x="984452" y="314618"/>
                    <a:pt x="983220" y="317611"/>
                  </a:cubicBezTo>
                  <a:cubicBezTo>
                    <a:pt x="981729" y="321554"/>
                    <a:pt x="979611" y="323118"/>
                    <a:pt x="976888" y="322302"/>
                  </a:cubicBezTo>
                  <a:lnTo>
                    <a:pt x="979741" y="314754"/>
                  </a:lnTo>
                  <a:cubicBezTo>
                    <a:pt x="981793" y="311083"/>
                    <a:pt x="982809" y="307887"/>
                    <a:pt x="982809" y="305177"/>
                  </a:cubicBezTo>
                  <a:cubicBezTo>
                    <a:pt x="982939" y="302456"/>
                    <a:pt x="982334" y="298921"/>
                    <a:pt x="980973" y="294569"/>
                  </a:cubicBezTo>
                  <a:cubicBezTo>
                    <a:pt x="979893" y="290761"/>
                    <a:pt x="978726" y="287848"/>
                    <a:pt x="977515" y="285807"/>
                  </a:cubicBezTo>
                  <a:cubicBezTo>
                    <a:pt x="976954" y="285127"/>
                    <a:pt x="976284" y="283690"/>
                    <a:pt x="975462" y="281524"/>
                  </a:cubicBezTo>
                  <a:cubicBezTo>
                    <a:pt x="974792" y="279483"/>
                    <a:pt x="974036" y="277987"/>
                    <a:pt x="973215" y="277036"/>
                  </a:cubicBezTo>
                  <a:cubicBezTo>
                    <a:pt x="972675" y="276356"/>
                    <a:pt x="971249" y="275335"/>
                    <a:pt x="968937" y="273976"/>
                  </a:cubicBezTo>
                  <a:cubicBezTo>
                    <a:pt x="961374" y="263310"/>
                    <a:pt x="958457" y="257258"/>
                    <a:pt x="956685" y="252771"/>
                  </a:cubicBezTo>
                  <a:cubicBezTo>
                    <a:pt x="956404" y="251955"/>
                    <a:pt x="955454" y="250595"/>
                    <a:pt x="953833" y="248691"/>
                  </a:cubicBezTo>
                  <a:cubicBezTo>
                    <a:pt x="952061" y="246515"/>
                    <a:pt x="950981" y="244816"/>
                    <a:pt x="950570" y="243601"/>
                  </a:cubicBezTo>
                  <a:cubicBezTo>
                    <a:pt x="950289" y="242377"/>
                    <a:pt x="948928" y="240609"/>
                    <a:pt x="946487" y="238297"/>
                  </a:cubicBezTo>
                  <a:lnTo>
                    <a:pt x="942456" y="235238"/>
                  </a:lnTo>
                  <a:lnTo>
                    <a:pt x="941787" y="235378"/>
                  </a:lnTo>
                  <a:cubicBezTo>
                    <a:pt x="941339" y="235348"/>
                    <a:pt x="941035" y="235711"/>
                    <a:pt x="940760" y="236257"/>
                  </a:cubicBezTo>
                  <a:cubicBezTo>
                    <a:pt x="940349" y="236938"/>
                    <a:pt x="940155" y="237481"/>
                    <a:pt x="940155" y="237889"/>
                  </a:cubicBezTo>
                  <a:lnTo>
                    <a:pt x="947502" y="245234"/>
                  </a:lnTo>
                  <a:cubicBezTo>
                    <a:pt x="952818" y="251479"/>
                    <a:pt x="956340" y="257259"/>
                    <a:pt x="958111" y="262562"/>
                  </a:cubicBezTo>
                  <a:cubicBezTo>
                    <a:pt x="958111" y="263310"/>
                    <a:pt x="958112" y="264058"/>
                    <a:pt x="958112" y="264806"/>
                  </a:cubicBezTo>
                  <a:lnTo>
                    <a:pt x="956685" y="265010"/>
                  </a:lnTo>
                  <a:cubicBezTo>
                    <a:pt x="956145" y="265010"/>
                    <a:pt x="955389" y="264058"/>
                    <a:pt x="954438" y="262154"/>
                  </a:cubicBezTo>
                  <a:cubicBezTo>
                    <a:pt x="953487" y="260387"/>
                    <a:pt x="952471" y="259434"/>
                    <a:pt x="951392" y="259298"/>
                  </a:cubicBezTo>
                  <a:cubicBezTo>
                    <a:pt x="950419" y="259298"/>
                    <a:pt x="949533" y="259707"/>
                    <a:pt x="948734" y="260523"/>
                  </a:cubicBezTo>
                  <a:cubicBezTo>
                    <a:pt x="948042" y="261066"/>
                    <a:pt x="946961" y="261329"/>
                    <a:pt x="945449" y="261329"/>
                  </a:cubicBezTo>
                  <a:cubicBezTo>
                    <a:pt x="944110" y="261202"/>
                    <a:pt x="942748" y="260590"/>
                    <a:pt x="941365" y="259503"/>
                  </a:cubicBezTo>
                  <a:cubicBezTo>
                    <a:pt x="939875" y="258007"/>
                    <a:pt x="938729" y="256918"/>
                    <a:pt x="937908" y="256239"/>
                  </a:cubicBezTo>
                  <a:lnTo>
                    <a:pt x="936698" y="256239"/>
                  </a:lnTo>
                  <a:lnTo>
                    <a:pt x="936893" y="258075"/>
                  </a:lnTo>
                  <a:cubicBezTo>
                    <a:pt x="937023" y="258346"/>
                    <a:pt x="937973" y="258822"/>
                    <a:pt x="939745" y="259502"/>
                  </a:cubicBezTo>
                  <a:cubicBezTo>
                    <a:pt x="940976" y="260183"/>
                    <a:pt x="941582" y="260930"/>
                    <a:pt x="941581" y="261746"/>
                  </a:cubicBezTo>
                  <a:cubicBezTo>
                    <a:pt x="941581" y="262290"/>
                    <a:pt x="939053" y="263650"/>
                    <a:pt x="934040" y="265826"/>
                  </a:cubicBezTo>
                  <a:lnTo>
                    <a:pt x="925657" y="269488"/>
                  </a:lnTo>
                  <a:cubicBezTo>
                    <a:pt x="924857" y="270168"/>
                    <a:pt x="924035" y="271528"/>
                    <a:pt x="923214" y="273568"/>
                  </a:cubicBezTo>
                  <a:cubicBezTo>
                    <a:pt x="922675" y="275063"/>
                    <a:pt x="921119" y="276220"/>
                    <a:pt x="918525" y="277036"/>
                  </a:cubicBezTo>
                  <a:lnTo>
                    <a:pt x="913404" y="277851"/>
                  </a:lnTo>
                  <a:cubicBezTo>
                    <a:pt x="911503" y="278124"/>
                    <a:pt x="910553" y="279007"/>
                    <a:pt x="910552" y="280504"/>
                  </a:cubicBezTo>
                  <a:cubicBezTo>
                    <a:pt x="910553" y="281863"/>
                    <a:pt x="911914" y="282612"/>
                    <a:pt x="914636" y="282747"/>
                  </a:cubicBezTo>
                  <a:cubicBezTo>
                    <a:pt x="914636" y="282880"/>
                    <a:pt x="914637" y="283013"/>
                    <a:pt x="914637" y="283146"/>
                  </a:cubicBezTo>
                  <a:cubicBezTo>
                    <a:pt x="914787" y="283689"/>
                    <a:pt x="915587" y="283768"/>
                    <a:pt x="917100" y="283359"/>
                  </a:cubicBezTo>
                  <a:cubicBezTo>
                    <a:pt x="919001" y="283223"/>
                    <a:pt x="920967" y="282068"/>
                    <a:pt x="922999" y="279892"/>
                  </a:cubicBezTo>
                  <a:cubicBezTo>
                    <a:pt x="926413" y="276559"/>
                    <a:pt x="927558" y="276356"/>
                    <a:pt x="928941" y="276627"/>
                  </a:cubicBezTo>
                  <a:cubicBezTo>
                    <a:pt x="929481" y="276628"/>
                    <a:pt x="930151" y="277172"/>
                    <a:pt x="930972" y="278260"/>
                  </a:cubicBezTo>
                  <a:cubicBezTo>
                    <a:pt x="931641" y="279348"/>
                    <a:pt x="932463" y="279891"/>
                    <a:pt x="933413" y="279891"/>
                  </a:cubicBezTo>
                  <a:cubicBezTo>
                    <a:pt x="934105" y="279891"/>
                    <a:pt x="934991" y="278668"/>
                    <a:pt x="936072" y="276219"/>
                  </a:cubicBezTo>
                  <a:cubicBezTo>
                    <a:pt x="936892" y="273500"/>
                    <a:pt x="939550" y="272140"/>
                    <a:pt x="944023" y="272139"/>
                  </a:cubicBezTo>
                  <a:cubicBezTo>
                    <a:pt x="946897" y="272140"/>
                    <a:pt x="948452" y="273024"/>
                    <a:pt x="948734" y="274792"/>
                  </a:cubicBezTo>
                  <a:cubicBezTo>
                    <a:pt x="948863" y="279008"/>
                    <a:pt x="949404" y="282204"/>
                    <a:pt x="950354" y="284379"/>
                  </a:cubicBezTo>
                  <a:cubicBezTo>
                    <a:pt x="950289" y="284784"/>
                    <a:pt x="950225" y="285188"/>
                    <a:pt x="950160" y="285593"/>
                  </a:cubicBezTo>
                  <a:cubicBezTo>
                    <a:pt x="949339" y="285594"/>
                    <a:pt x="948669" y="285671"/>
                    <a:pt x="948107" y="285807"/>
                  </a:cubicBezTo>
                  <a:cubicBezTo>
                    <a:pt x="946767" y="286342"/>
                    <a:pt x="946076" y="287031"/>
                    <a:pt x="946076" y="287847"/>
                  </a:cubicBezTo>
                  <a:cubicBezTo>
                    <a:pt x="946076" y="288391"/>
                    <a:pt x="946616" y="288789"/>
                    <a:pt x="947697" y="289061"/>
                  </a:cubicBezTo>
                  <a:cubicBezTo>
                    <a:pt x="948928" y="289197"/>
                    <a:pt x="949533" y="289741"/>
                    <a:pt x="949533" y="290693"/>
                  </a:cubicBezTo>
                  <a:cubicBezTo>
                    <a:pt x="949534" y="291373"/>
                    <a:pt x="949144" y="292529"/>
                    <a:pt x="948323" y="294161"/>
                  </a:cubicBezTo>
                  <a:cubicBezTo>
                    <a:pt x="948323" y="295249"/>
                    <a:pt x="949144" y="295929"/>
                    <a:pt x="950764" y="296201"/>
                  </a:cubicBezTo>
                  <a:cubicBezTo>
                    <a:pt x="952126" y="296201"/>
                    <a:pt x="952883" y="294773"/>
                    <a:pt x="953012" y="291917"/>
                  </a:cubicBezTo>
                  <a:cubicBezTo>
                    <a:pt x="953012" y="289333"/>
                    <a:pt x="952882" y="287099"/>
                    <a:pt x="952602" y="285186"/>
                  </a:cubicBezTo>
                  <a:cubicBezTo>
                    <a:pt x="952061" y="283417"/>
                    <a:pt x="951780" y="281863"/>
                    <a:pt x="951781" y="280503"/>
                  </a:cubicBezTo>
                  <a:cubicBezTo>
                    <a:pt x="951780" y="279007"/>
                    <a:pt x="952536" y="277715"/>
                    <a:pt x="954028" y="276627"/>
                  </a:cubicBezTo>
                  <a:cubicBezTo>
                    <a:pt x="954848" y="275947"/>
                    <a:pt x="956339" y="274860"/>
                    <a:pt x="958522" y="273364"/>
                  </a:cubicBezTo>
                  <a:cubicBezTo>
                    <a:pt x="959062" y="274588"/>
                    <a:pt x="960705" y="277987"/>
                    <a:pt x="963427" y="283553"/>
                  </a:cubicBezTo>
                  <a:lnTo>
                    <a:pt x="967101" y="294366"/>
                  </a:lnTo>
                  <a:cubicBezTo>
                    <a:pt x="967101" y="295997"/>
                    <a:pt x="966085" y="297221"/>
                    <a:pt x="964031" y="298037"/>
                  </a:cubicBezTo>
                  <a:cubicBezTo>
                    <a:pt x="962541" y="298581"/>
                    <a:pt x="960964" y="298852"/>
                    <a:pt x="959343" y="298852"/>
                  </a:cubicBezTo>
                  <a:cubicBezTo>
                    <a:pt x="958803" y="300212"/>
                    <a:pt x="958328" y="302253"/>
                    <a:pt x="957917" y="304973"/>
                  </a:cubicBezTo>
                  <a:cubicBezTo>
                    <a:pt x="957226" y="307692"/>
                    <a:pt x="956080" y="309800"/>
                    <a:pt x="954437" y="311287"/>
                  </a:cubicBezTo>
                  <a:cubicBezTo>
                    <a:pt x="953899" y="311694"/>
                    <a:pt x="953423" y="312647"/>
                    <a:pt x="953011" y="314142"/>
                  </a:cubicBezTo>
                  <a:cubicBezTo>
                    <a:pt x="952752" y="315512"/>
                    <a:pt x="951866" y="316454"/>
                    <a:pt x="950354" y="316998"/>
                  </a:cubicBezTo>
                  <a:cubicBezTo>
                    <a:pt x="946076" y="318494"/>
                    <a:pt x="944715" y="318630"/>
                    <a:pt x="942813" y="318631"/>
                  </a:cubicBezTo>
                  <a:cubicBezTo>
                    <a:pt x="940631" y="318630"/>
                    <a:pt x="938124" y="318154"/>
                    <a:pt x="935250" y="317202"/>
                  </a:cubicBezTo>
                  <a:cubicBezTo>
                    <a:pt x="932679" y="316250"/>
                    <a:pt x="930756" y="316046"/>
                    <a:pt x="929545" y="316590"/>
                  </a:cubicBezTo>
                  <a:cubicBezTo>
                    <a:pt x="927774" y="316998"/>
                    <a:pt x="926413" y="316250"/>
                    <a:pt x="925462" y="314346"/>
                  </a:cubicBezTo>
                  <a:lnTo>
                    <a:pt x="922199" y="310062"/>
                  </a:lnTo>
                  <a:lnTo>
                    <a:pt x="921983" y="311898"/>
                  </a:lnTo>
                  <a:cubicBezTo>
                    <a:pt x="921983" y="312715"/>
                    <a:pt x="922264" y="313802"/>
                    <a:pt x="922804" y="315162"/>
                  </a:cubicBezTo>
                  <a:cubicBezTo>
                    <a:pt x="923215" y="315706"/>
                    <a:pt x="923690" y="316726"/>
                    <a:pt x="924230" y="318222"/>
                  </a:cubicBezTo>
                  <a:lnTo>
                    <a:pt x="920146" y="318630"/>
                  </a:lnTo>
                  <a:lnTo>
                    <a:pt x="903422" y="315979"/>
                  </a:lnTo>
                  <a:cubicBezTo>
                    <a:pt x="903141" y="316114"/>
                    <a:pt x="902882" y="316114"/>
                    <a:pt x="902600" y="315978"/>
                  </a:cubicBezTo>
                  <a:cubicBezTo>
                    <a:pt x="904502" y="317338"/>
                    <a:pt x="910833" y="319446"/>
                    <a:pt x="921573" y="322301"/>
                  </a:cubicBezTo>
                  <a:lnTo>
                    <a:pt x="934234" y="329034"/>
                  </a:lnTo>
                  <a:cubicBezTo>
                    <a:pt x="934235" y="331607"/>
                    <a:pt x="933155" y="332763"/>
                    <a:pt x="930972" y="332501"/>
                  </a:cubicBezTo>
                  <a:cubicBezTo>
                    <a:pt x="928530" y="332501"/>
                    <a:pt x="927299" y="333172"/>
                    <a:pt x="927298" y="334532"/>
                  </a:cubicBezTo>
                  <a:cubicBezTo>
                    <a:pt x="927169" y="335076"/>
                    <a:pt x="927363" y="335688"/>
                    <a:pt x="927904" y="336367"/>
                  </a:cubicBezTo>
                  <a:cubicBezTo>
                    <a:pt x="928444" y="336921"/>
                    <a:pt x="928725" y="337455"/>
                    <a:pt x="928724" y="338009"/>
                  </a:cubicBezTo>
                  <a:cubicBezTo>
                    <a:pt x="928595" y="340175"/>
                    <a:pt x="927017" y="342419"/>
                    <a:pt x="924036" y="344731"/>
                  </a:cubicBezTo>
                  <a:lnTo>
                    <a:pt x="917899" y="347994"/>
                  </a:lnTo>
                  <a:cubicBezTo>
                    <a:pt x="916278" y="347858"/>
                    <a:pt x="914572" y="347042"/>
                    <a:pt x="912800" y="345546"/>
                  </a:cubicBezTo>
                  <a:lnTo>
                    <a:pt x="908932" y="342283"/>
                  </a:lnTo>
                  <a:lnTo>
                    <a:pt x="906275" y="342283"/>
                  </a:lnTo>
                  <a:cubicBezTo>
                    <a:pt x="905993" y="343235"/>
                    <a:pt x="907765" y="345139"/>
                    <a:pt x="911589" y="347994"/>
                  </a:cubicBezTo>
                  <a:lnTo>
                    <a:pt x="919130" y="353095"/>
                  </a:lnTo>
                  <a:cubicBezTo>
                    <a:pt x="921573" y="353094"/>
                    <a:pt x="923885" y="352414"/>
                    <a:pt x="926067" y="351044"/>
                  </a:cubicBezTo>
                  <a:lnTo>
                    <a:pt x="931577" y="347790"/>
                  </a:lnTo>
                  <a:cubicBezTo>
                    <a:pt x="932808" y="347247"/>
                    <a:pt x="933953" y="345751"/>
                    <a:pt x="935056" y="343303"/>
                  </a:cubicBezTo>
                  <a:cubicBezTo>
                    <a:pt x="938966" y="342351"/>
                    <a:pt x="938934" y="343983"/>
                    <a:pt x="938729" y="346159"/>
                  </a:cubicBezTo>
                  <a:lnTo>
                    <a:pt x="940759" y="346159"/>
                  </a:lnTo>
                  <a:cubicBezTo>
                    <a:pt x="941581" y="345750"/>
                    <a:pt x="942337" y="344799"/>
                    <a:pt x="943007" y="343303"/>
                  </a:cubicBezTo>
                  <a:cubicBezTo>
                    <a:pt x="943288" y="342487"/>
                    <a:pt x="944239" y="342079"/>
                    <a:pt x="945881" y="342079"/>
                  </a:cubicBezTo>
                  <a:cubicBezTo>
                    <a:pt x="946271" y="342080"/>
                    <a:pt x="946681" y="342351"/>
                    <a:pt x="947091" y="342896"/>
                  </a:cubicBezTo>
                  <a:cubicBezTo>
                    <a:pt x="947373" y="343439"/>
                    <a:pt x="947437" y="343915"/>
                    <a:pt x="947308" y="344323"/>
                  </a:cubicBezTo>
                  <a:cubicBezTo>
                    <a:pt x="947307" y="345547"/>
                    <a:pt x="946897" y="347110"/>
                    <a:pt x="946076" y="349015"/>
                  </a:cubicBezTo>
                  <a:cubicBezTo>
                    <a:pt x="945254" y="350918"/>
                    <a:pt x="944109" y="352754"/>
                    <a:pt x="942597" y="354522"/>
                  </a:cubicBezTo>
                  <a:cubicBezTo>
                    <a:pt x="942057" y="355066"/>
                    <a:pt x="941235" y="356689"/>
                    <a:pt x="940155" y="359418"/>
                  </a:cubicBezTo>
                  <a:cubicBezTo>
                    <a:pt x="939053" y="361584"/>
                    <a:pt x="937908" y="362944"/>
                    <a:pt x="936698" y="363488"/>
                  </a:cubicBezTo>
                  <a:lnTo>
                    <a:pt x="931577" y="361040"/>
                  </a:lnTo>
                  <a:cubicBezTo>
                    <a:pt x="931447" y="361720"/>
                    <a:pt x="931318" y="362672"/>
                    <a:pt x="931166" y="363896"/>
                  </a:cubicBezTo>
                  <a:cubicBezTo>
                    <a:pt x="931166" y="364576"/>
                    <a:pt x="930843" y="364916"/>
                    <a:pt x="930151" y="364916"/>
                  </a:cubicBezTo>
                  <a:cubicBezTo>
                    <a:pt x="929200" y="364916"/>
                    <a:pt x="928444" y="364304"/>
                    <a:pt x="927904" y="363080"/>
                  </a:cubicBezTo>
                  <a:cubicBezTo>
                    <a:pt x="927364" y="361584"/>
                    <a:pt x="926672" y="360846"/>
                    <a:pt x="925872" y="360846"/>
                  </a:cubicBezTo>
                  <a:cubicBezTo>
                    <a:pt x="925051" y="360710"/>
                    <a:pt x="924511" y="360846"/>
                    <a:pt x="924230" y="361244"/>
                  </a:cubicBezTo>
                  <a:cubicBezTo>
                    <a:pt x="923819" y="362196"/>
                    <a:pt x="923344" y="363148"/>
                    <a:pt x="922804" y="364100"/>
                  </a:cubicBezTo>
                  <a:cubicBezTo>
                    <a:pt x="922804" y="364236"/>
                    <a:pt x="923755" y="364848"/>
                    <a:pt x="925657" y="365936"/>
                  </a:cubicBezTo>
                  <a:lnTo>
                    <a:pt x="925051" y="371444"/>
                  </a:lnTo>
                  <a:cubicBezTo>
                    <a:pt x="923430" y="372124"/>
                    <a:pt x="922048" y="372464"/>
                    <a:pt x="920968" y="372464"/>
                  </a:cubicBezTo>
                  <a:cubicBezTo>
                    <a:pt x="917100" y="371308"/>
                    <a:pt x="916344" y="371852"/>
                    <a:pt x="915263" y="373075"/>
                  </a:cubicBezTo>
                  <a:cubicBezTo>
                    <a:pt x="914031" y="374027"/>
                    <a:pt x="912865" y="374504"/>
                    <a:pt x="911784" y="374504"/>
                  </a:cubicBezTo>
                  <a:cubicBezTo>
                    <a:pt x="909472" y="374368"/>
                    <a:pt x="908046" y="373484"/>
                    <a:pt x="907506" y="371852"/>
                  </a:cubicBezTo>
                  <a:cubicBezTo>
                    <a:pt x="906814" y="370627"/>
                    <a:pt x="906080" y="370083"/>
                    <a:pt x="905258" y="370220"/>
                  </a:cubicBezTo>
                  <a:cubicBezTo>
                    <a:pt x="904307" y="370219"/>
                    <a:pt x="902881" y="372395"/>
                    <a:pt x="900958" y="376748"/>
                  </a:cubicBezTo>
                  <a:cubicBezTo>
                    <a:pt x="899467" y="381235"/>
                    <a:pt x="897436" y="383469"/>
                    <a:pt x="894844" y="383469"/>
                  </a:cubicBezTo>
                  <a:cubicBezTo>
                    <a:pt x="894152" y="383469"/>
                    <a:pt x="893762" y="382799"/>
                    <a:pt x="893612" y="381430"/>
                  </a:cubicBezTo>
                  <a:cubicBezTo>
                    <a:pt x="893547" y="380478"/>
                    <a:pt x="893483" y="379526"/>
                    <a:pt x="893418" y="378574"/>
                  </a:cubicBezTo>
                  <a:lnTo>
                    <a:pt x="891991" y="378370"/>
                  </a:lnTo>
                  <a:cubicBezTo>
                    <a:pt x="891040" y="379457"/>
                    <a:pt x="890565" y="380409"/>
                    <a:pt x="890565" y="381235"/>
                  </a:cubicBezTo>
                  <a:cubicBezTo>
                    <a:pt x="890414" y="383945"/>
                    <a:pt x="891300" y="385509"/>
                    <a:pt x="893202" y="385917"/>
                  </a:cubicBezTo>
                  <a:cubicBezTo>
                    <a:pt x="895125" y="386189"/>
                    <a:pt x="896075" y="386879"/>
                    <a:pt x="896075" y="387966"/>
                  </a:cubicBezTo>
                  <a:cubicBezTo>
                    <a:pt x="896075" y="390678"/>
                    <a:pt x="893611" y="393465"/>
                    <a:pt x="888728" y="396321"/>
                  </a:cubicBezTo>
                  <a:lnTo>
                    <a:pt x="876671" y="404684"/>
                  </a:lnTo>
                  <a:cubicBezTo>
                    <a:pt x="874900" y="406715"/>
                    <a:pt x="873279" y="411066"/>
                    <a:pt x="871788" y="417730"/>
                  </a:cubicBezTo>
                  <a:lnTo>
                    <a:pt x="869541" y="427929"/>
                  </a:lnTo>
                  <a:cubicBezTo>
                    <a:pt x="869540" y="429143"/>
                    <a:pt x="869605" y="430299"/>
                    <a:pt x="869735" y="431387"/>
                  </a:cubicBezTo>
                  <a:cubicBezTo>
                    <a:pt x="863209" y="435535"/>
                    <a:pt x="857980" y="436283"/>
                    <a:pt x="854026" y="437099"/>
                  </a:cubicBezTo>
                  <a:lnTo>
                    <a:pt x="839399" y="442433"/>
                  </a:lnTo>
                  <a:cubicBezTo>
                    <a:pt x="838797" y="442656"/>
                    <a:pt x="838289" y="442982"/>
                    <a:pt x="837839" y="443335"/>
                  </a:cubicBezTo>
                  <a:cubicBezTo>
                    <a:pt x="831038" y="449172"/>
                    <a:pt x="825194" y="455965"/>
                    <a:pt x="820293" y="463703"/>
                  </a:cubicBezTo>
                  <a:cubicBezTo>
                    <a:pt x="815123" y="471566"/>
                    <a:pt x="812537" y="478089"/>
                    <a:pt x="812537" y="483241"/>
                  </a:cubicBezTo>
                  <a:cubicBezTo>
                    <a:pt x="812402" y="484061"/>
                    <a:pt x="812476" y="486974"/>
                    <a:pt x="812745" y="492001"/>
                  </a:cubicBezTo>
                  <a:lnTo>
                    <a:pt x="811924" y="497703"/>
                  </a:lnTo>
                  <a:cubicBezTo>
                    <a:pt x="809486" y="499459"/>
                    <a:pt x="807023" y="502113"/>
                    <a:pt x="804585" y="505634"/>
                  </a:cubicBezTo>
                  <a:cubicBezTo>
                    <a:pt x="802943" y="507815"/>
                    <a:pt x="801043" y="509030"/>
                    <a:pt x="798863" y="509300"/>
                  </a:cubicBezTo>
                  <a:lnTo>
                    <a:pt x="793362" y="509715"/>
                  </a:lnTo>
                  <a:cubicBezTo>
                    <a:pt x="793223" y="512089"/>
                    <a:pt x="793083" y="514462"/>
                    <a:pt x="792944" y="516836"/>
                  </a:cubicBezTo>
                  <a:lnTo>
                    <a:pt x="792540" y="516836"/>
                  </a:lnTo>
                  <a:cubicBezTo>
                    <a:pt x="792137" y="518321"/>
                    <a:pt x="790984" y="520222"/>
                    <a:pt x="789072" y="522538"/>
                  </a:cubicBezTo>
                  <a:cubicBezTo>
                    <a:pt x="786622" y="525248"/>
                    <a:pt x="784441" y="526609"/>
                    <a:pt x="782542" y="526609"/>
                  </a:cubicBezTo>
                  <a:cubicBezTo>
                    <a:pt x="781868" y="526609"/>
                    <a:pt x="781108" y="526194"/>
                    <a:pt x="780300" y="525384"/>
                  </a:cubicBezTo>
                  <a:cubicBezTo>
                    <a:pt x="779614" y="524024"/>
                    <a:pt x="778866" y="523349"/>
                    <a:pt x="778045" y="523348"/>
                  </a:cubicBezTo>
                  <a:cubicBezTo>
                    <a:pt x="777102" y="523348"/>
                    <a:pt x="776563" y="524159"/>
                    <a:pt x="776415" y="525789"/>
                  </a:cubicBezTo>
                  <a:cubicBezTo>
                    <a:pt x="776416" y="526464"/>
                    <a:pt x="777298" y="527555"/>
                    <a:pt x="779075" y="529051"/>
                  </a:cubicBezTo>
                  <a:cubicBezTo>
                    <a:pt x="780570" y="530402"/>
                    <a:pt x="781243" y="531965"/>
                    <a:pt x="781108" y="533730"/>
                  </a:cubicBezTo>
                  <a:cubicBezTo>
                    <a:pt x="781244" y="535630"/>
                    <a:pt x="777028" y="538960"/>
                    <a:pt x="768463" y="543706"/>
                  </a:cubicBezTo>
                  <a:lnTo>
                    <a:pt x="754581" y="551029"/>
                  </a:lnTo>
                  <a:lnTo>
                    <a:pt x="751318" y="550410"/>
                  </a:lnTo>
                  <a:lnTo>
                    <a:pt x="749117" y="553946"/>
                  </a:lnTo>
                  <a:cubicBezTo>
                    <a:pt x="752355" y="554722"/>
                    <a:pt x="753906" y="557303"/>
                    <a:pt x="753773" y="561623"/>
                  </a:cubicBezTo>
                  <a:cubicBezTo>
                    <a:pt x="753772" y="563658"/>
                    <a:pt x="751591" y="566032"/>
                    <a:pt x="747242" y="568753"/>
                  </a:cubicBezTo>
                  <a:cubicBezTo>
                    <a:pt x="745612" y="568752"/>
                    <a:pt x="744374" y="568338"/>
                    <a:pt x="743566" y="567528"/>
                  </a:cubicBezTo>
                  <a:lnTo>
                    <a:pt x="742431" y="563944"/>
                  </a:lnTo>
                  <a:lnTo>
                    <a:pt x="740486" y="562733"/>
                  </a:lnTo>
                  <a:cubicBezTo>
                    <a:pt x="740111" y="562082"/>
                    <a:pt x="739448" y="561929"/>
                    <a:pt x="738665" y="561825"/>
                  </a:cubicBezTo>
                  <a:lnTo>
                    <a:pt x="734584" y="565279"/>
                  </a:lnTo>
                  <a:cubicBezTo>
                    <a:pt x="734584" y="565424"/>
                    <a:pt x="735675" y="566505"/>
                    <a:pt x="737856" y="568540"/>
                  </a:cubicBezTo>
                  <a:cubicBezTo>
                    <a:pt x="740025" y="570721"/>
                    <a:pt x="741054" y="572815"/>
                    <a:pt x="740907" y="574861"/>
                  </a:cubicBezTo>
                  <a:cubicBezTo>
                    <a:pt x="741053" y="575265"/>
                    <a:pt x="738198" y="578314"/>
                    <a:pt x="732343" y="584016"/>
                  </a:cubicBezTo>
                  <a:lnTo>
                    <a:pt x="721314" y="583197"/>
                  </a:lnTo>
                  <a:cubicBezTo>
                    <a:pt x="719967" y="583197"/>
                    <a:pt x="719011" y="582251"/>
                    <a:pt x="718471" y="580350"/>
                  </a:cubicBezTo>
                  <a:cubicBezTo>
                    <a:pt x="718055" y="579404"/>
                    <a:pt x="717651" y="577291"/>
                    <a:pt x="717234" y="574040"/>
                  </a:cubicBezTo>
                  <a:cubicBezTo>
                    <a:pt x="716695" y="571184"/>
                    <a:pt x="714870" y="566370"/>
                    <a:pt x="711733" y="559586"/>
                  </a:cubicBezTo>
                  <a:cubicBezTo>
                    <a:pt x="711467" y="559956"/>
                    <a:pt x="714783" y="572430"/>
                    <a:pt x="715640" y="576262"/>
                  </a:cubicBezTo>
                  <a:lnTo>
                    <a:pt x="716873" y="582577"/>
                  </a:lnTo>
                  <a:cubicBezTo>
                    <a:pt x="717410" y="584478"/>
                    <a:pt x="718368" y="585430"/>
                    <a:pt x="719719" y="585430"/>
                  </a:cubicBezTo>
                  <a:cubicBezTo>
                    <a:pt x="721765" y="585430"/>
                    <a:pt x="725438" y="585699"/>
                    <a:pt x="730737" y="586253"/>
                  </a:cubicBezTo>
                  <a:cubicBezTo>
                    <a:pt x="729649" y="587203"/>
                    <a:pt x="728429" y="588295"/>
                    <a:pt x="727065" y="589516"/>
                  </a:cubicBezTo>
                  <a:cubicBezTo>
                    <a:pt x="727065" y="590197"/>
                    <a:pt x="727209" y="590594"/>
                    <a:pt x="727472" y="590736"/>
                  </a:cubicBezTo>
                  <a:lnTo>
                    <a:pt x="728494" y="590736"/>
                  </a:lnTo>
                  <a:lnTo>
                    <a:pt x="731353" y="590324"/>
                  </a:lnTo>
                  <a:cubicBezTo>
                    <a:pt x="732167" y="590324"/>
                    <a:pt x="732574" y="590806"/>
                    <a:pt x="732573" y="591757"/>
                  </a:cubicBezTo>
                  <a:cubicBezTo>
                    <a:pt x="732443" y="593119"/>
                    <a:pt x="731761" y="594751"/>
                    <a:pt x="730527" y="596653"/>
                  </a:cubicBezTo>
                  <a:cubicBezTo>
                    <a:pt x="729583" y="598143"/>
                    <a:pt x="728363" y="599646"/>
                    <a:pt x="726854" y="601136"/>
                  </a:cubicBezTo>
                  <a:lnTo>
                    <a:pt x="719312" y="601349"/>
                  </a:lnTo>
                  <a:cubicBezTo>
                    <a:pt x="719247" y="601685"/>
                    <a:pt x="719181" y="602021"/>
                    <a:pt x="719116" y="602357"/>
                  </a:cubicBezTo>
                  <a:cubicBezTo>
                    <a:pt x="719391" y="602357"/>
                    <a:pt x="720401" y="602840"/>
                    <a:pt x="722171" y="603789"/>
                  </a:cubicBezTo>
                  <a:cubicBezTo>
                    <a:pt x="725241" y="606783"/>
                    <a:pt x="724008" y="608004"/>
                    <a:pt x="721555" y="609508"/>
                  </a:cubicBezTo>
                  <a:cubicBezTo>
                    <a:pt x="718564" y="611139"/>
                    <a:pt x="716597" y="612559"/>
                    <a:pt x="715640" y="613780"/>
                  </a:cubicBezTo>
                  <a:lnTo>
                    <a:pt x="715640" y="615411"/>
                  </a:lnTo>
                  <a:cubicBezTo>
                    <a:pt x="716873" y="615823"/>
                    <a:pt x="718499" y="616035"/>
                    <a:pt x="720545" y="616035"/>
                  </a:cubicBezTo>
                  <a:cubicBezTo>
                    <a:pt x="722041" y="616035"/>
                    <a:pt x="722854" y="616645"/>
                    <a:pt x="722985" y="617866"/>
                  </a:cubicBezTo>
                  <a:cubicBezTo>
                    <a:pt x="722853" y="619767"/>
                    <a:pt x="721161" y="621328"/>
                    <a:pt x="717883" y="622563"/>
                  </a:cubicBezTo>
                  <a:lnTo>
                    <a:pt x="712583" y="625825"/>
                  </a:lnTo>
                  <a:cubicBezTo>
                    <a:pt x="712452" y="626634"/>
                    <a:pt x="713803" y="627046"/>
                    <a:pt x="716663" y="627046"/>
                  </a:cubicBezTo>
                  <a:cubicBezTo>
                    <a:pt x="719391" y="627046"/>
                    <a:pt x="720677" y="627728"/>
                    <a:pt x="720545" y="629075"/>
                  </a:cubicBezTo>
                  <a:cubicBezTo>
                    <a:pt x="720545" y="632353"/>
                    <a:pt x="718695" y="635262"/>
                    <a:pt x="715037" y="637859"/>
                  </a:cubicBezTo>
                  <a:lnTo>
                    <a:pt x="707481" y="642144"/>
                  </a:lnTo>
                  <a:cubicBezTo>
                    <a:pt x="707481" y="642551"/>
                    <a:pt x="707480" y="642957"/>
                    <a:pt x="707480" y="643364"/>
                  </a:cubicBezTo>
                  <a:lnTo>
                    <a:pt x="712176" y="643364"/>
                  </a:lnTo>
                  <a:lnTo>
                    <a:pt x="715849" y="642541"/>
                  </a:lnTo>
                  <a:lnTo>
                    <a:pt x="717279" y="642542"/>
                  </a:lnTo>
                  <a:cubicBezTo>
                    <a:pt x="717686" y="645535"/>
                    <a:pt x="715783" y="648798"/>
                    <a:pt x="711979" y="654786"/>
                  </a:cubicBezTo>
                  <a:cubicBezTo>
                    <a:pt x="711284" y="654786"/>
                    <a:pt x="710616" y="654445"/>
                    <a:pt x="709934" y="653765"/>
                  </a:cubicBezTo>
                  <a:cubicBezTo>
                    <a:pt x="709251" y="652814"/>
                    <a:pt x="708569" y="652332"/>
                    <a:pt x="707900" y="652331"/>
                  </a:cubicBezTo>
                  <a:cubicBezTo>
                    <a:pt x="707481" y="652332"/>
                    <a:pt x="707153" y="652473"/>
                    <a:pt x="706877" y="652743"/>
                  </a:cubicBezTo>
                  <a:cubicBezTo>
                    <a:pt x="706601" y="653154"/>
                    <a:pt x="706457" y="653566"/>
                    <a:pt x="706457" y="653963"/>
                  </a:cubicBezTo>
                  <a:cubicBezTo>
                    <a:pt x="706458" y="654517"/>
                    <a:pt x="707008" y="655183"/>
                    <a:pt x="708097" y="656006"/>
                  </a:cubicBezTo>
                  <a:cubicBezTo>
                    <a:pt x="709186" y="656957"/>
                    <a:pt x="709723" y="658107"/>
                    <a:pt x="709724" y="659468"/>
                  </a:cubicBezTo>
                  <a:cubicBezTo>
                    <a:pt x="709723" y="660022"/>
                    <a:pt x="709383" y="661455"/>
                    <a:pt x="708714" y="663754"/>
                  </a:cubicBezTo>
                  <a:cubicBezTo>
                    <a:pt x="707900" y="665939"/>
                    <a:pt x="707415" y="668110"/>
                    <a:pt x="707284" y="670281"/>
                  </a:cubicBezTo>
                  <a:cubicBezTo>
                    <a:pt x="707284" y="671104"/>
                    <a:pt x="707350" y="672864"/>
                    <a:pt x="707480" y="675588"/>
                  </a:cubicBezTo>
                  <a:lnTo>
                    <a:pt x="709317" y="675588"/>
                  </a:lnTo>
                  <a:lnTo>
                    <a:pt x="709934" y="675786"/>
                  </a:lnTo>
                  <a:lnTo>
                    <a:pt x="709724" y="677418"/>
                  </a:lnTo>
                  <a:lnTo>
                    <a:pt x="708910" y="679263"/>
                  </a:lnTo>
                  <a:lnTo>
                    <a:pt x="708910" y="681504"/>
                  </a:lnTo>
                  <a:cubicBezTo>
                    <a:pt x="706195" y="682994"/>
                    <a:pt x="704017" y="683817"/>
                    <a:pt x="702378" y="683946"/>
                  </a:cubicBezTo>
                  <a:lnTo>
                    <a:pt x="697298" y="682133"/>
                  </a:lnTo>
                  <a:lnTo>
                    <a:pt x="697298" y="682487"/>
                  </a:lnTo>
                  <a:cubicBezTo>
                    <a:pt x="699014" y="684296"/>
                    <a:pt x="700799" y="684554"/>
                    <a:pt x="702273" y="684264"/>
                  </a:cubicBezTo>
                  <a:cubicBezTo>
                    <a:pt x="703910" y="684139"/>
                    <a:pt x="706071" y="683317"/>
                    <a:pt x="708799" y="681813"/>
                  </a:cubicBezTo>
                  <a:lnTo>
                    <a:pt x="712465" y="682028"/>
                  </a:lnTo>
                  <a:cubicBezTo>
                    <a:pt x="713972" y="682028"/>
                    <a:pt x="714714" y="682779"/>
                    <a:pt x="714714" y="684265"/>
                  </a:cubicBezTo>
                  <a:cubicBezTo>
                    <a:pt x="714714" y="684944"/>
                    <a:pt x="714364" y="686715"/>
                    <a:pt x="713689" y="689578"/>
                  </a:cubicBezTo>
                  <a:lnTo>
                    <a:pt x="712684" y="695267"/>
                  </a:lnTo>
                  <a:cubicBezTo>
                    <a:pt x="712684" y="696770"/>
                    <a:pt x="713622" y="698327"/>
                    <a:pt x="715522" y="699955"/>
                  </a:cubicBezTo>
                  <a:cubicBezTo>
                    <a:pt x="717573" y="701869"/>
                    <a:pt x="718861" y="703694"/>
                    <a:pt x="719406" y="705466"/>
                  </a:cubicBezTo>
                  <a:cubicBezTo>
                    <a:pt x="719822" y="706289"/>
                    <a:pt x="720084" y="708310"/>
                    <a:pt x="720215" y="711585"/>
                  </a:cubicBezTo>
                  <a:lnTo>
                    <a:pt x="720215" y="717900"/>
                  </a:lnTo>
                  <a:cubicBezTo>
                    <a:pt x="720367" y="718437"/>
                    <a:pt x="720912" y="719117"/>
                    <a:pt x="721851" y="719940"/>
                  </a:cubicBezTo>
                  <a:cubicBezTo>
                    <a:pt x="723904" y="722051"/>
                    <a:pt x="724165" y="723948"/>
                    <a:pt x="724296" y="727079"/>
                  </a:cubicBezTo>
                  <a:cubicBezTo>
                    <a:pt x="724580" y="729243"/>
                    <a:pt x="726151" y="732839"/>
                    <a:pt x="728989" y="737867"/>
                  </a:cubicBezTo>
                  <a:cubicBezTo>
                    <a:pt x="737698" y="755275"/>
                    <a:pt x="746952" y="772379"/>
                    <a:pt x="756752" y="789233"/>
                  </a:cubicBezTo>
                  <a:cubicBezTo>
                    <a:pt x="757145" y="790736"/>
                    <a:pt x="758716" y="792632"/>
                    <a:pt x="761423" y="794939"/>
                  </a:cubicBezTo>
                  <a:lnTo>
                    <a:pt x="767753" y="800862"/>
                  </a:lnTo>
                  <a:cubicBezTo>
                    <a:pt x="768036" y="801130"/>
                    <a:pt x="769040" y="803170"/>
                    <a:pt x="770808" y="806963"/>
                  </a:cubicBezTo>
                  <a:cubicBezTo>
                    <a:pt x="772315" y="809557"/>
                    <a:pt x="773668" y="811113"/>
                    <a:pt x="774890" y="811669"/>
                  </a:cubicBezTo>
                  <a:cubicBezTo>
                    <a:pt x="776942" y="812617"/>
                    <a:pt x="778579" y="814102"/>
                    <a:pt x="779802" y="816141"/>
                  </a:cubicBezTo>
                  <a:cubicBezTo>
                    <a:pt x="780740" y="817232"/>
                    <a:pt x="782115" y="818986"/>
                    <a:pt x="783883" y="821437"/>
                  </a:cubicBezTo>
                  <a:cubicBezTo>
                    <a:pt x="784559" y="822117"/>
                    <a:pt x="784756" y="826464"/>
                    <a:pt x="784494" y="834480"/>
                  </a:cubicBezTo>
                  <a:cubicBezTo>
                    <a:pt x="784494" y="835428"/>
                    <a:pt x="784428" y="836860"/>
                    <a:pt x="784276" y="838774"/>
                  </a:cubicBezTo>
                  <a:cubicBezTo>
                    <a:pt x="784144" y="840259"/>
                    <a:pt x="784341" y="841279"/>
                    <a:pt x="784887" y="841815"/>
                  </a:cubicBezTo>
                  <a:cubicBezTo>
                    <a:pt x="787200" y="847522"/>
                    <a:pt x="789667" y="852550"/>
                    <a:pt x="792243" y="856898"/>
                  </a:cubicBezTo>
                  <a:cubicBezTo>
                    <a:pt x="793749" y="859080"/>
                    <a:pt x="794949" y="862140"/>
                    <a:pt x="795910" y="866076"/>
                  </a:cubicBezTo>
                  <a:cubicBezTo>
                    <a:pt x="797132" y="870012"/>
                    <a:pt x="798288" y="873071"/>
                    <a:pt x="799380" y="875254"/>
                  </a:cubicBezTo>
                  <a:cubicBezTo>
                    <a:pt x="801410" y="879334"/>
                    <a:pt x="804073" y="885649"/>
                    <a:pt x="807325" y="894200"/>
                  </a:cubicBezTo>
                  <a:cubicBezTo>
                    <a:pt x="811014" y="901536"/>
                    <a:pt x="815029" y="907244"/>
                    <a:pt x="819373" y="911322"/>
                  </a:cubicBezTo>
                  <a:lnTo>
                    <a:pt x="828563" y="928659"/>
                  </a:lnTo>
                  <a:cubicBezTo>
                    <a:pt x="831967" y="936121"/>
                    <a:pt x="833451" y="943813"/>
                    <a:pt x="833037" y="951686"/>
                  </a:cubicBezTo>
                  <a:cubicBezTo>
                    <a:pt x="832768" y="956713"/>
                    <a:pt x="832498" y="961741"/>
                    <a:pt x="832229" y="966768"/>
                  </a:cubicBezTo>
                  <a:cubicBezTo>
                    <a:pt x="832230" y="970847"/>
                    <a:pt x="832688" y="974981"/>
                    <a:pt x="833648" y="979202"/>
                  </a:cubicBezTo>
                  <a:lnTo>
                    <a:pt x="834674" y="987361"/>
                  </a:lnTo>
                  <a:cubicBezTo>
                    <a:pt x="834673" y="987486"/>
                    <a:pt x="833386" y="992317"/>
                    <a:pt x="830789" y="1001817"/>
                  </a:cubicBezTo>
                  <a:lnTo>
                    <a:pt x="826314" y="1022213"/>
                  </a:lnTo>
                  <a:cubicBezTo>
                    <a:pt x="826859" y="1023430"/>
                    <a:pt x="827318" y="1024575"/>
                    <a:pt x="827733" y="1025666"/>
                  </a:cubicBezTo>
                  <a:cubicBezTo>
                    <a:pt x="828148" y="1026758"/>
                    <a:pt x="828344" y="1027849"/>
                    <a:pt x="828344" y="1028940"/>
                  </a:cubicBezTo>
                  <a:cubicBezTo>
                    <a:pt x="828344" y="1030283"/>
                    <a:pt x="827929" y="1031517"/>
                    <a:pt x="827122" y="1032608"/>
                  </a:cubicBezTo>
                  <a:lnTo>
                    <a:pt x="824481" y="1040552"/>
                  </a:lnTo>
                  <a:cubicBezTo>
                    <a:pt x="824546" y="1040618"/>
                    <a:pt x="824612" y="1040683"/>
                    <a:pt x="824677" y="1040749"/>
                  </a:cubicBezTo>
                  <a:cubicBezTo>
                    <a:pt x="825638" y="1040086"/>
                    <a:pt x="826576" y="1038781"/>
                    <a:pt x="827536" y="1036884"/>
                  </a:cubicBezTo>
                  <a:lnTo>
                    <a:pt x="831006" y="1032804"/>
                  </a:lnTo>
                  <a:lnTo>
                    <a:pt x="831399" y="1035453"/>
                  </a:lnTo>
                  <a:lnTo>
                    <a:pt x="826511" y="1046867"/>
                  </a:lnTo>
                  <a:cubicBezTo>
                    <a:pt x="822560" y="1054883"/>
                    <a:pt x="818828" y="1060733"/>
                    <a:pt x="815292" y="1064401"/>
                  </a:cubicBezTo>
                  <a:cubicBezTo>
                    <a:pt x="814614" y="1063721"/>
                    <a:pt x="814265" y="1062827"/>
                    <a:pt x="814266" y="1061753"/>
                  </a:cubicBezTo>
                  <a:cubicBezTo>
                    <a:pt x="814265" y="1061216"/>
                    <a:pt x="815554" y="1058962"/>
                    <a:pt x="818151" y="1055026"/>
                  </a:cubicBezTo>
                  <a:lnTo>
                    <a:pt x="824065" y="1045239"/>
                  </a:lnTo>
                  <a:cubicBezTo>
                    <a:pt x="823804" y="1045113"/>
                    <a:pt x="823040" y="1044971"/>
                    <a:pt x="821818" y="1044827"/>
                  </a:cubicBezTo>
                  <a:cubicBezTo>
                    <a:pt x="820879" y="1044827"/>
                    <a:pt x="820268" y="1044631"/>
                    <a:pt x="819984" y="1044219"/>
                  </a:cubicBezTo>
                  <a:cubicBezTo>
                    <a:pt x="815772" y="1040623"/>
                    <a:pt x="814003" y="1041912"/>
                    <a:pt x="812651" y="1044630"/>
                  </a:cubicBezTo>
                  <a:cubicBezTo>
                    <a:pt x="811276" y="1047207"/>
                    <a:pt x="809660" y="1048496"/>
                    <a:pt x="807740" y="1048495"/>
                  </a:cubicBezTo>
                  <a:lnTo>
                    <a:pt x="803462" y="1047690"/>
                  </a:lnTo>
                  <a:cubicBezTo>
                    <a:pt x="800733" y="1047691"/>
                    <a:pt x="797612" y="1048979"/>
                    <a:pt x="794076" y="1051554"/>
                  </a:cubicBezTo>
                  <a:lnTo>
                    <a:pt x="786109" y="1055223"/>
                  </a:lnTo>
                  <a:cubicBezTo>
                    <a:pt x="783817" y="1055097"/>
                    <a:pt x="781831" y="1054078"/>
                    <a:pt x="780216" y="1052164"/>
                  </a:cubicBezTo>
                  <a:cubicBezTo>
                    <a:pt x="778295" y="1050141"/>
                    <a:pt x="777335" y="1047475"/>
                    <a:pt x="777335" y="1044220"/>
                  </a:cubicBezTo>
                  <a:cubicBezTo>
                    <a:pt x="777335" y="1043128"/>
                    <a:pt x="778842" y="1042591"/>
                    <a:pt x="781831" y="1042591"/>
                  </a:cubicBezTo>
                  <a:cubicBezTo>
                    <a:pt x="783883" y="1042716"/>
                    <a:pt x="785302" y="1043736"/>
                    <a:pt x="786109" y="1045651"/>
                  </a:cubicBezTo>
                  <a:cubicBezTo>
                    <a:pt x="789514" y="1048496"/>
                    <a:pt x="790279" y="1048030"/>
                    <a:pt x="791217" y="1047081"/>
                  </a:cubicBezTo>
                  <a:cubicBezTo>
                    <a:pt x="792439" y="1042860"/>
                    <a:pt x="790736" y="1041500"/>
                    <a:pt x="787353" y="1040551"/>
                  </a:cubicBezTo>
                  <a:lnTo>
                    <a:pt x="780412" y="1038101"/>
                  </a:lnTo>
                  <a:cubicBezTo>
                    <a:pt x="779190" y="1036741"/>
                    <a:pt x="777553" y="1034845"/>
                    <a:pt x="775501" y="1032394"/>
                  </a:cubicBezTo>
                  <a:cubicBezTo>
                    <a:pt x="773341" y="1029674"/>
                    <a:pt x="771834" y="1027634"/>
                    <a:pt x="771027" y="1026275"/>
                  </a:cubicBezTo>
                  <a:cubicBezTo>
                    <a:pt x="769652" y="1023698"/>
                    <a:pt x="766880" y="1019834"/>
                    <a:pt x="762645" y="1014663"/>
                  </a:cubicBezTo>
                  <a:lnTo>
                    <a:pt x="752060" y="1005288"/>
                  </a:lnTo>
                  <a:lnTo>
                    <a:pt x="741038" y="1006505"/>
                  </a:lnTo>
                  <a:cubicBezTo>
                    <a:pt x="739946" y="1006505"/>
                    <a:pt x="738658" y="1005432"/>
                    <a:pt x="737153" y="1003248"/>
                  </a:cubicBezTo>
                  <a:lnTo>
                    <a:pt x="731652" y="994482"/>
                  </a:lnTo>
                  <a:cubicBezTo>
                    <a:pt x="730822" y="993676"/>
                    <a:pt x="730495" y="991368"/>
                    <a:pt x="730625" y="987558"/>
                  </a:cubicBezTo>
                  <a:cubicBezTo>
                    <a:pt x="730495" y="984444"/>
                    <a:pt x="729884" y="981725"/>
                    <a:pt x="728792" y="979399"/>
                  </a:cubicBezTo>
                  <a:cubicBezTo>
                    <a:pt x="727308" y="977503"/>
                    <a:pt x="726194" y="976071"/>
                    <a:pt x="725518" y="975123"/>
                  </a:cubicBezTo>
                  <a:cubicBezTo>
                    <a:pt x="724841" y="973620"/>
                    <a:pt x="723554" y="972744"/>
                    <a:pt x="721655" y="972475"/>
                  </a:cubicBezTo>
                  <a:cubicBezTo>
                    <a:pt x="720018" y="972064"/>
                    <a:pt x="719210" y="971044"/>
                    <a:pt x="719210" y="969416"/>
                  </a:cubicBezTo>
                  <a:cubicBezTo>
                    <a:pt x="719211" y="969291"/>
                    <a:pt x="719669" y="968253"/>
                    <a:pt x="720629" y="966356"/>
                  </a:cubicBezTo>
                  <a:cubicBezTo>
                    <a:pt x="721721" y="964728"/>
                    <a:pt x="722463" y="963369"/>
                    <a:pt x="722877" y="962277"/>
                  </a:cubicBezTo>
                  <a:lnTo>
                    <a:pt x="722877" y="961472"/>
                  </a:lnTo>
                  <a:lnTo>
                    <a:pt x="722659" y="961472"/>
                  </a:lnTo>
                  <a:cubicBezTo>
                    <a:pt x="722266" y="961615"/>
                    <a:pt x="721371" y="962492"/>
                    <a:pt x="720018" y="964121"/>
                  </a:cubicBezTo>
                  <a:cubicBezTo>
                    <a:pt x="718927" y="966160"/>
                    <a:pt x="717442" y="967179"/>
                    <a:pt x="715521" y="967179"/>
                  </a:cubicBezTo>
                  <a:cubicBezTo>
                    <a:pt x="714037" y="967179"/>
                    <a:pt x="712750" y="966500"/>
                    <a:pt x="711659" y="965140"/>
                  </a:cubicBezTo>
                  <a:cubicBezTo>
                    <a:pt x="710436" y="963781"/>
                    <a:pt x="709825" y="962278"/>
                    <a:pt x="709824" y="960649"/>
                  </a:cubicBezTo>
                  <a:cubicBezTo>
                    <a:pt x="709825" y="959969"/>
                    <a:pt x="710152" y="957590"/>
                    <a:pt x="710850" y="953529"/>
                  </a:cubicBezTo>
                  <a:lnTo>
                    <a:pt x="712051" y="946175"/>
                  </a:lnTo>
                  <a:cubicBezTo>
                    <a:pt x="711789" y="944422"/>
                    <a:pt x="710436" y="943259"/>
                    <a:pt x="707991" y="942722"/>
                  </a:cubicBezTo>
                  <a:lnTo>
                    <a:pt x="702076" y="940879"/>
                  </a:lnTo>
                  <a:lnTo>
                    <a:pt x="701465" y="940879"/>
                  </a:lnTo>
                  <a:cubicBezTo>
                    <a:pt x="701392" y="941082"/>
                    <a:pt x="701320" y="941285"/>
                    <a:pt x="701247" y="941488"/>
                  </a:cubicBezTo>
                  <a:cubicBezTo>
                    <a:pt x="701247" y="941899"/>
                    <a:pt x="702141" y="942722"/>
                    <a:pt x="703910" y="943938"/>
                  </a:cubicBezTo>
                  <a:cubicBezTo>
                    <a:pt x="705525" y="945442"/>
                    <a:pt x="706289" y="946855"/>
                    <a:pt x="706158" y="948215"/>
                  </a:cubicBezTo>
                  <a:cubicBezTo>
                    <a:pt x="706005" y="948895"/>
                    <a:pt x="705264" y="949521"/>
                    <a:pt x="703910" y="950057"/>
                  </a:cubicBezTo>
                  <a:cubicBezTo>
                    <a:pt x="702557" y="950863"/>
                    <a:pt x="701116" y="951274"/>
                    <a:pt x="699631" y="951275"/>
                  </a:cubicBezTo>
                  <a:cubicBezTo>
                    <a:pt x="697318" y="951006"/>
                    <a:pt x="694240" y="948500"/>
                    <a:pt x="690443" y="943741"/>
                  </a:cubicBezTo>
                  <a:cubicBezTo>
                    <a:pt x="687976" y="940754"/>
                    <a:pt x="686012" y="938106"/>
                    <a:pt x="684528" y="935780"/>
                  </a:cubicBezTo>
                  <a:cubicBezTo>
                    <a:pt x="683567" y="934438"/>
                    <a:pt x="682890" y="933419"/>
                    <a:pt x="682477" y="932721"/>
                  </a:cubicBezTo>
                  <a:lnTo>
                    <a:pt x="679006" y="922953"/>
                  </a:lnTo>
                  <a:cubicBezTo>
                    <a:pt x="678743" y="922541"/>
                    <a:pt x="677936" y="921038"/>
                    <a:pt x="676562" y="918461"/>
                  </a:cubicBezTo>
                  <a:cubicBezTo>
                    <a:pt x="675884" y="916976"/>
                    <a:pt x="675404" y="915742"/>
                    <a:pt x="675142" y="914794"/>
                  </a:cubicBezTo>
                  <a:cubicBezTo>
                    <a:pt x="675011" y="914794"/>
                    <a:pt x="673309" y="914185"/>
                    <a:pt x="670035" y="912951"/>
                  </a:cubicBezTo>
                  <a:cubicBezTo>
                    <a:pt x="667721" y="911877"/>
                    <a:pt x="666564" y="910446"/>
                    <a:pt x="666564" y="908675"/>
                  </a:cubicBezTo>
                  <a:cubicBezTo>
                    <a:pt x="666564" y="908264"/>
                    <a:pt x="667525" y="907869"/>
                    <a:pt x="669423" y="907459"/>
                  </a:cubicBezTo>
                  <a:cubicBezTo>
                    <a:pt x="672894" y="905150"/>
                    <a:pt x="673374" y="904059"/>
                    <a:pt x="673920" y="902557"/>
                  </a:cubicBezTo>
                  <a:lnTo>
                    <a:pt x="681865" y="885846"/>
                  </a:lnTo>
                  <a:cubicBezTo>
                    <a:pt x="681865" y="884754"/>
                    <a:pt x="681603" y="883537"/>
                    <a:pt x="681057" y="882178"/>
                  </a:cubicBezTo>
                  <a:cubicBezTo>
                    <a:pt x="677936" y="879726"/>
                    <a:pt x="676910" y="879941"/>
                    <a:pt x="675950" y="879941"/>
                  </a:cubicBezTo>
                  <a:cubicBezTo>
                    <a:pt x="674880" y="879798"/>
                    <a:pt x="673374" y="878779"/>
                    <a:pt x="671475" y="876882"/>
                  </a:cubicBezTo>
                  <a:cubicBezTo>
                    <a:pt x="669555" y="875254"/>
                    <a:pt x="667874" y="874359"/>
                    <a:pt x="666368" y="874234"/>
                  </a:cubicBezTo>
                  <a:cubicBezTo>
                    <a:pt x="665407" y="874235"/>
                    <a:pt x="664950" y="874574"/>
                    <a:pt x="664950" y="875254"/>
                  </a:cubicBezTo>
                  <a:cubicBezTo>
                    <a:pt x="664949" y="875665"/>
                    <a:pt x="666106" y="876953"/>
                    <a:pt x="668398" y="879118"/>
                  </a:cubicBezTo>
                  <a:lnTo>
                    <a:pt x="671672" y="884432"/>
                  </a:lnTo>
                  <a:cubicBezTo>
                    <a:pt x="670864" y="886597"/>
                    <a:pt x="670581" y="887081"/>
                    <a:pt x="670450" y="887886"/>
                  </a:cubicBezTo>
                  <a:cubicBezTo>
                    <a:pt x="670588" y="889520"/>
                    <a:pt x="670727" y="891153"/>
                    <a:pt x="670865" y="892787"/>
                  </a:cubicBezTo>
                  <a:cubicBezTo>
                    <a:pt x="670864" y="894541"/>
                    <a:pt x="670231" y="895435"/>
                    <a:pt x="669031" y="895435"/>
                  </a:cubicBezTo>
                  <a:cubicBezTo>
                    <a:pt x="668201" y="895436"/>
                    <a:pt x="667110" y="894952"/>
                    <a:pt x="665757" y="894004"/>
                  </a:cubicBezTo>
                  <a:cubicBezTo>
                    <a:pt x="664382" y="893324"/>
                    <a:pt x="662636" y="892841"/>
                    <a:pt x="660453" y="892573"/>
                  </a:cubicBezTo>
                  <a:cubicBezTo>
                    <a:pt x="659230" y="892304"/>
                    <a:pt x="658139" y="891285"/>
                    <a:pt x="657178" y="889513"/>
                  </a:cubicBezTo>
                  <a:cubicBezTo>
                    <a:pt x="656503" y="887760"/>
                    <a:pt x="656175" y="886060"/>
                    <a:pt x="656174" y="884432"/>
                  </a:cubicBezTo>
                  <a:cubicBezTo>
                    <a:pt x="656437" y="882661"/>
                    <a:pt x="657244" y="880209"/>
                    <a:pt x="658620" y="877079"/>
                  </a:cubicBezTo>
                  <a:cubicBezTo>
                    <a:pt x="659710" y="873966"/>
                    <a:pt x="659362" y="871443"/>
                    <a:pt x="657594" y="869546"/>
                  </a:cubicBezTo>
                  <a:lnTo>
                    <a:pt x="658008" y="866684"/>
                  </a:lnTo>
                  <a:cubicBezTo>
                    <a:pt x="658008" y="866005"/>
                    <a:pt x="657856" y="865467"/>
                    <a:pt x="657594" y="865055"/>
                  </a:cubicBezTo>
                  <a:cubicBezTo>
                    <a:pt x="657667" y="863833"/>
                    <a:pt x="657739" y="862610"/>
                    <a:pt x="657812" y="861388"/>
                  </a:cubicBezTo>
                  <a:lnTo>
                    <a:pt x="658205" y="855073"/>
                  </a:lnTo>
                  <a:cubicBezTo>
                    <a:pt x="658205" y="854805"/>
                    <a:pt x="658554" y="854124"/>
                    <a:pt x="659231" y="853033"/>
                  </a:cubicBezTo>
                  <a:cubicBezTo>
                    <a:pt x="659777" y="851673"/>
                    <a:pt x="660104" y="850528"/>
                    <a:pt x="660257" y="849562"/>
                  </a:cubicBezTo>
                  <a:lnTo>
                    <a:pt x="661064" y="842441"/>
                  </a:lnTo>
                  <a:cubicBezTo>
                    <a:pt x="661064" y="840402"/>
                    <a:pt x="660998" y="838702"/>
                    <a:pt x="660867" y="837342"/>
                  </a:cubicBezTo>
                  <a:cubicBezTo>
                    <a:pt x="660868" y="836108"/>
                    <a:pt x="660780" y="833943"/>
                    <a:pt x="660649" y="830811"/>
                  </a:cubicBezTo>
                  <a:cubicBezTo>
                    <a:pt x="660649" y="830544"/>
                    <a:pt x="660714" y="830347"/>
                    <a:pt x="660868" y="830204"/>
                  </a:cubicBezTo>
                  <a:cubicBezTo>
                    <a:pt x="661260" y="825588"/>
                    <a:pt x="661413" y="821777"/>
                    <a:pt x="661260" y="818789"/>
                  </a:cubicBezTo>
                  <a:cubicBezTo>
                    <a:pt x="660868" y="816338"/>
                    <a:pt x="659841" y="814441"/>
                    <a:pt x="658204" y="813082"/>
                  </a:cubicBezTo>
                  <a:lnTo>
                    <a:pt x="653513" y="808394"/>
                  </a:lnTo>
                  <a:lnTo>
                    <a:pt x="649649" y="801059"/>
                  </a:lnTo>
                  <a:cubicBezTo>
                    <a:pt x="648404" y="798876"/>
                    <a:pt x="646789" y="797803"/>
                    <a:pt x="644738" y="797803"/>
                  </a:cubicBezTo>
                  <a:cubicBezTo>
                    <a:pt x="642293" y="798071"/>
                    <a:pt x="639630" y="797999"/>
                    <a:pt x="636793" y="797588"/>
                  </a:cubicBezTo>
                  <a:lnTo>
                    <a:pt x="630856" y="796371"/>
                  </a:lnTo>
                  <a:lnTo>
                    <a:pt x="611495" y="774150"/>
                  </a:lnTo>
                  <a:cubicBezTo>
                    <a:pt x="611211" y="771699"/>
                    <a:pt x="609858" y="769874"/>
                    <a:pt x="607414" y="768640"/>
                  </a:cubicBezTo>
                  <a:cubicBezTo>
                    <a:pt x="604685" y="767423"/>
                    <a:pt x="602852" y="766332"/>
                    <a:pt x="601892" y="765384"/>
                  </a:cubicBezTo>
                  <a:cubicBezTo>
                    <a:pt x="600408" y="764292"/>
                    <a:pt x="598443" y="762127"/>
                    <a:pt x="595977" y="758872"/>
                  </a:cubicBezTo>
                  <a:lnTo>
                    <a:pt x="590062" y="751929"/>
                  </a:lnTo>
                  <a:cubicBezTo>
                    <a:pt x="590215" y="750175"/>
                    <a:pt x="589930" y="748673"/>
                    <a:pt x="589254" y="747456"/>
                  </a:cubicBezTo>
                  <a:lnTo>
                    <a:pt x="587420" y="747456"/>
                  </a:lnTo>
                  <a:lnTo>
                    <a:pt x="581899" y="748262"/>
                  </a:lnTo>
                  <a:cubicBezTo>
                    <a:pt x="580152" y="748262"/>
                    <a:pt x="578516" y="747457"/>
                    <a:pt x="577009" y="745810"/>
                  </a:cubicBezTo>
                  <a:cubicBezTo>
                    <a:pt x="575241" y="744057"/>
                    <a:pt x="572600" y="743180"/>
                    <a:pt x="569064" y="743180"/>
                  </a:cubicBezTo>
                  <a:lnTo>
                    <a:pt x="568846" y="743180"/>
                  </a:lnTo>
                  <a:cubicBezTo>
                    <a:pt x="567908" y="742626"/>
                    <a:pt x="566685" y="742215"/>
                    <a:pt x="565179" y="741946"/>
                  </a:cubicBezTo>
                  <a:cubicBezTo>
                    <a:pt x="562189" y="741678"/>
                    <a:pt x="559264" y="742357"/>
                    <a:pt x="556406" y="743986"/>
                  </a:cubicBezTo>
                  <a:cubicBezTo>
                    <a:pt x="555467" y="744665"/>
                    <a:pt x="554091" y="746168"/>
                    <a:pt x="552323" y="748477"/>
                  </a:cubicBezTo>
                  <a:cubicBezTo>
                    <a:pt x="550097" y="752555"/>
                    <a:pt x="550709" y="753772"/>
                    <a:pt x="551909" y="755400"/>
                  </a:cubicBezTo>
                  <a:cubicBezTo>
                    <a:pt x="552607" y="756080"/>
                    <a:pt x="553415" y="756957"/>
                    <a:pt x="554375" y="758048"/>
                  </a:cubicBezTo>
                  <a:cubicBezTo>
                    <a:pt x="552869" y="759265"/>
                    <a:pt x="550621" y="759890"/>
                    <a:pt x="547631" y="759891"/>
                  </a:cubicBezTo>
                  <a:cubicBezTo>
                    <a:pt x="544640" y="759748"/>
                    <a:pt x="542414" y="760357"/>
                    <a:pt x="540908" y="761716"/>
                  </a:cubicBezTo>
                  <a:cubicBezTo>
                    <a:pt x="538594" y="763755"/>
                    <a:pt x="536761" y="765259"/>
                    <a:pt x="535407" y="766207"/>
                  </a:cubicBezTo>
                  <a:lnTo>
                    <a:pt x="530082" y="769874"/>
                  </a:lnTo>
                  <a:cubicBezTo>
                    <a:pt x="528467" y="770679"/>
                    <a:pt x="526284" y="771305"/>
                    <a:pt x="523556" y="771699"/>
                  </a:cubicBezTo>
                  <a:cubicBezTo>
                    <a:pt x="520849" y="772379"/>
                    <a:pt x="517925" y="773274"/>
                    <a:pt x="514781" y="774347"/>
                  </a:cubicBezTo>
                  <a:lnTo>
                    <a:pt x="506225" y="778640"/>
                  </a:lnTo>
                  <a:cubicBezTo>
                    <a:pt x="505003" y="779178"/>
                    <a:pt x="502886" y="779447"/>
                    <a:pt x="499896" y="779446"/>
                  </a:cubicBezTo>
                  <a:lnTo>
                    <a:pt x="496839" y="779446"/>
                  </a:lnTo>
                  <a:cubicBezTo>
                    <a:pt x="496425" y="779321"/>
                    <a:pt x="496229" y="778837"/>
                    <a:pt x="496229" y="778033"/>
                  </a:cubicBezTo>
                  <a:cubicBezTo>
                    <a:pt x="496098" y="776672"/>
                    <a:pt x="496513" y="775707"/>
                    <a:pt x="497451" y="775171"/>
                  </a:cubicBezTo>
                  <a:cubicBezTo>
                    <a:pt x="498127" y="774759"/>
                    <a:pt x="498542" y="773614"/>
                    <a:pt x="498673" y="771699"/>
                  </a:cubicBezTo>
                  <a:cubicBezTo>
                    <a:pt x="498673" y="768175"/>
                    <a:pt x="495137" y="764293"/>
                    <a:pt x="488066" y="760088"/>
                  </a:cubicBezTo>
                  <a:lnTo>
                    <a:pt x="477457" y="751321"/>
                  </a:lnTo>
                  <a:lnTo>
                    <a:pt x="477873" y="749890"/>
                  </a:lnTo>
                  <a:cubicBezTo>
                    <a:pt x="479771" y="750588"/>
                    <a:pt x="482565" y="751858"/>
                    <a:pt x="486232" y="753772"/>
                  </a:cubicBezTo>
                  <a:cubicBezTo>
                    <a:pt x="486909" y="753772"/>
                    <a:pt x="487258" y="753289"/>
                    <a:pt x="487258" y="752340"/>
                  </a:cubicBezTo>
                  <a:cubicBezTo>
                    <a:pt x="487258" y="750856"/>
                    <a:pt x="485556" y="749621"/>
                    <a:pt x="482151" y="748673"/>
                  </a:cubicBezTo>
                  <a:lnTo>
                    <a:pt x="476846" y="744594"/>
                  </a:lnTo>
                  <a:cubicBezTo>
                    <a:pt x="476846" y="743521"/>
                    <a:pt x="477327" y="742697"/>
                    <a:pt x="478288" y="742161"/>
                  </a:cubicBezTo>
                  <a:cubicBezTo>
                    <a:pt x="478964" y="741875"/>
                    <a:pt x="479902" y="741552"/>
                    <a:pt x="481125" y="741141"/>
                  </a:cubicBezTo>
                  <a:cubicBezTo>
                    <a:pt x="481198" y="740258"/>
                    <a:pt x="481270" y="739376"/>
                    <a:pt x="481343" y="738493"/>
                  </a:cubicBezTo>
                  <a:lnTo>
                    <a:pt x="479706" y="738279"/>
                  </a:lnTo>
                  <a:cubicBezTo>
                    <a:pt x="479160" y="738547"/>
                    <a:pt x="478134" y="739172"/>
                    <a:pt x="476650" y="740121"/>
                  </a:cubicBezTo>
                  <a:cubicBezTo>
                    <a:pt x="473508" y="741338"/>
                    <a:pt x="472699" y="741069"/>
                    <a:pt x="471739" y="740515"/>
                  </a:cubicBezTo>
                  <a:cubicBezTo>
                    <a:pt x="469098" y="739906"/>
                    <a:pt x="468618" y="740121"/>
                    <a:pt x="468072" y="740515"/>
                  </a:cubicBezTo>
                  <a:cubicBezTo>
                    <a:pt x="467460" y="742769"/>
                    <a:pt x="468356" y="744253"/>
                    <a:pt x="470124" y="746025"/>
                  </a:cubicBezTo>
                  <a:lnTo>
                    <a:pt x="473179" y="750301"/>
                  </a:lnTo>
                  <a:cubicBezTo>
                    <a:pt x="472634" y="750855"/>
                    <a:pt x="471892" y="751053"/>
                    <a:pt x="470932" y="750909"/>
                  </a:cubicBezTo>
                  <a:cubicBezTo>
                    <a:pt x="468073" y="748745"/>
                    <a:pt x="464886" y="746633"/>
                    <a:pt x="461350" y="744594"/>
                  </a:cubicBezTo>
                  <a:cubicBezTo>
                    <a:pt x="454693" y="740121"/>
                    <a:pt x="447817" y="737669"/>
                    <a:pt x="440745" y="737259"/>
                  </a:cubicBezTo>
                  <a:cubicBezTo>
                    <a:pt x="439654" y="737258"/>
                    <a:pt x="438498" y="737474"/>
                    <a:pt x="437275" y="737867"/>
                  </a:cubicBezTo>
                  <a:cubicBezTo>
                    <a:pt x="435900" y="738279"/>
                    <a:pt x="434895" y="738492"/>
                    <a:pt x="434219" y="738493"/>
                  </a:cubicBezTo>
                  <a:cubicBezTo>
                    <a:pt x="433542" y="738493"/>
                    <a:pt x="433128" y="738225"/>
                    <a:pt x="432975" y="737670"/>
                  </a:cubicBezTo>
                  <a:cubicBezTo>
                    <a:pt x="432713" y="737133"/>
                    <a:pt x="432167" y="736847"/>
                    <a:pt x="431360" y="736847"/>
                  </a:cubicBezTo>
                  <a:cubicBezTo>
                    <a:pt x="432451" y="735362"/>
                    <a:pt x="435092" y="734610"/>
                    <a:pt x="439304" y="734610"/>
                  </a:cubicBezTo>
                  <a:cubicBezTo>
                    <a:pt x="443670" y="734610"/>
                    <a:pt x="446311" y="733662"/>
                    <a:pt x="447271" y="731765"/>
                  </a:cubicBezTo>
                  <a:cubicBezTo>
                    <a:pt x="446726" y="731623"/>
                    <a:pt x="445154" y="731425"/>
                    <a:pt x="442579" y="731157"/>
                  </a:cubicBezTo>
                  <a:cubicBezTo>
                    <a:pt x="436925" y="730334"/>
                    <a:pt x="435092" y="730675"/>
                    <a:pt x="432778" y="731354"/>
                  </a:cubicBezTo>
                  <a:cubicBezTo>
                    <a:pt x="430749" y="732178"/>
                    <a:pt x="429046" y="732983"/>
                    <a:pt x="427693" y="733805"/>
                  </a:cubicBezTo>
                  <a:cubicBezTo>
                    <a:pt x="427147" y="734343"/>
                    <a:pt x="425380" y="735165"/>
                    <a:pt x="422368" y="736239"/>
                  </a:cubicBezTo>
                  <a:cubicBezTo>
                    <a:pt x="419792" y="737598"/>
                    <a:pt x="417151" y="738958"/>
                    <a:pt x="414422" y="740317"/>
                  </a:cubicBezTo>
                  <a:cubicBezTo>
                    <a:pt x="414291" y="740317"/>
                    <a:pt x="414161" y="740389"/>
                    <a:pt x="414007" y="740515"/>
                  </a:cubicBezTo>
                  <a:cubicBezTo>
                    <a:pt x="413330" y="740658"/>
                    <a:pt x="411628" y="740586"/>
                    <a:pt x="408922" y="740317"/>
                  </a:cubicBezTo>
                  <a:cubicBezTo>
                    <a:pt x="406739" y="740318"/>
                    <a:pt x="404622" y="740801"/>
                    <a:pt x="402592" y="741749"/>
                  </a:cubicBezTo>
                  <a:cubicBezTo>
                    <a:pt x="401501" y="742017"/>
                    <a:pt x="399252" y="743180"/>
                    <a:pt x="395847" y="745220"/>
                  </a:cubicBezTo>
                  <a:lnTo>
                    <a:pt x="389736" y="748065"/>
                  </a:lnTo>
                  <a:lnTo>
                    <a:pt x="387903" y="748064"/>
                  </a:lnTo>
                  <a:lnTo>
                    <a:pt x="387903" y="746830"/>
                  </a:lnTo>
                  <a:cubicBezTo>
                    <a:pt x="398249" y="740461"/>
                    <a:pt x="403400" y="736381"/>
                    <a:pt x="403400" y="734610"/>
                  </a:cubicBezTo>
                  <a:cubicBezTo>
                    <a:pt x="403400" y="734074"/>
                    <a:pt x="402854" y="733251"/>
                    <a:pt x="401785" y="732178"/>
                  </a:cubicBezTo>
                  <a:cubicBezTo>
                    <a:pt x="399252" y="730137"/>
                    <a:pt x="398379" y="731014"/>
                    <a:pt x="397289" y="732786"/>
                  </a:cubicBezTo>
                  <a:cubicBezTo>
                    <a:pt x="394364" y="732230"/>
                    <a:pt x="394429" y="731480"/>
                    <a:pt x="394429" y="730942"/>
                  </a:cubicBezTo>
                  <a:cubicBezTo>
                    <a:pt x="394429" y="730138"/>
                    <a:pt x="394014" y="729655"/>
                    <a:pt x="393206" y="729511"/>
                  </a:cubicBezTo>
                  <a:cubicBezTo>
                    <a:pt x="392792" y="729511"/>
                    <a:pt x="391089" y="732911"/>
                    <a:pt x="388099" y="739710"/>
                  </a:cubicBezTo>
                  <a:cubicBezTo>
                    <a:pt x="384978" y="746222"/>
                    <a:pt x="381180" y="749425"/>
                    <a:pt x="376683" y="749281"/>
                  </a:cubicBezTo>
                  <a:cubicBezTo>
                    <a:pt x="375331" y="749282"/>
                    <a:pt x="374698" y="748745"/>
                    <a:pt x="374851" y="747653"/>
                  </a:cubicBezTo>
                  <a:cubicBezTo>
                    <a:pt x="374850" y="746562"/>
                    <a:pt x="375724" y="745274"/>
                    <a:pt x="377491" y="743789"/>
                  </a:cubicBezTo>
                  <a:cubicBezTo>
                    <a:pt x="379259" y="742017"/>
                    <a:pt x="380154" y="740390"/>
                    <a:pt x="380154" y="738887"/>
                  </a:cubicBezTo>
                  <a:cubicBezTo>
                    <a:pt x="380023" y="736847"/>
                    <a:pt x="379544" y="736650"/>
                    <a:pt x="378714" y="736650"/>
                  </a:cubicBezTo>
                  <a:lnTo>
                    <a:pt x="377373" y="737726"/>
                  </a:lnTo>
                  <a:cubicBezTo>
                    <a:pt x="377347" y="737820"/>
                    <a:pt x="377346" y="737916"/>
                    <a:pt x="377346" y="738015"/>
                  </a:cubicBezTo>
                  <a:lnTo>
                    <a:pt x="375304" y="743927"/>
                  </a:lnTo>
                  <a:cubicBezTo>
                    <a:pt x="374497" y="744458"/>
                    <a:pt x="372798" y="745081"/>
                    <a:pt x="370208" y="745752"/>
                  </a:cubicBezTo>
                  <a:lnTo>
                    <a:pt x="365315" y="747593"/>
                  </a:lnTo>
                  <a:cubicBezTo>
                    <a:pt x="364229" y="748950"/>
                    <a:pt x="362660" y="749839"/>
                    <a:pt x="360627" y="750245"/>
                  </a:cubicBezTo>
                  <a:cubicBezTo>
                    <a:pt x="358446" y="750915"/>
                    <a:pt x="356756" y="751399"/>
                    <a:pt x="355530" y="751665"/>
                  </a:cubicBezTo>
                  <a:cubicBezTo>
                    <a:pt x="353489" y="752491"/>
                    <a:pt x="351446" y="752896"/>
                    <a:pt x="349413" y="752896"/>
                  </a:cubicBezTo>
                  <a:lnTo>
                    <a:pt x="343296" y="753505"/>
                  </a:lnTo>
                  <a:lnTo>
                    <a:pt x="342061" y="753505"/>
                  </a:lnTo>
                  <a:cubicBezTo>
                    <a:pt x="343295" y="752413"/>
                    <a:pt x="346350" y="751664"/>
                    <a:pt x="351242" y="751259"/>
                  </a:cubicBezTo>
                  <a:cubicBezTo>
                    <a:pt x="354779" y="750853"/>
                    <a:pt x="356543" y="749356"/>
                    <a:pt x="356542" y="746766"/>
                  </a:cubicBezTo>
                  <a:cubicBezTo>
                    <a:pt x="356682" y="744879"/>
                    <a:pt x="355392" y="743444"/>
                    <a:pt x="352672" y="742493"/>
                  </a:cubicBezTo>
                  <a:cubicBezTo>
                    <a:pt x="349543" y="741276"/>
                    <a:pt x="347984" y="739092"/>
                    <a:pt x="347983" y="735972"/>
                  </a:cubicBezTo>
                  <a:cubicBezTo>
                    <a:pt x="347984" y="732712"/>
                    <a:pt x="347779" y="730059"/>
                    <a:pt x="347371" y="728016"/>
                  </a:cubicBezTo>
                  <a:lnTo>
                    <a:pt x="344840" y="725079"/>
                  </a:lnTo>
                  <a:lnTo>
                    <a:pt x="341517" y="725079"/>
                  </a:lnTo>
                  <a:cubicBezTo>
                    <a:pt x="339509" y="726652"/>
                    <a:pt x="339211" y="729812"/>
                    <a:pt x="339211" y="734131"/>
                  </a:cubicBezTo>
                  <a:cubicBezTo>
                    <a:pt x="339619" y="742165"/>
                    <a:pt x="337791" y="746095"/>
                    <a:pt x="333706" y="745955"/>
                  </a:cubicBezTo>
                  <a:cubicBezTo>
                    <a:pt x="332620" y="745955"/>
                    <a:pt x="331673" y="745549"/>
                    <a:pt x="330847" y="744738"/>
                  </a:cubicBezTo>
                  <a:cubicBezTo>
                    <a:pt x="330170" y="744052"/>
                    <a:pt x="329362" y="743709"/>
                    <a:pt x="328405" y="743709"/>
                  </a:cubicBezTo>
                  <a:lnTo>
                    <a:pt x="324534" y="744130"/>
                  </a:lnTo>
                  <a:lnTo>
                    <a:pt x="322696" y="743927"/>
                  </a:lnTo>
                  <a:lnTo>
                    <a:pt x="320615" y="725079"/>
                  </a:lnTo>
                  <a:lnTo>
                    <a:pt x="320562" y="725079"/>
                  </a:lnTo>
                  <a:cubicBezTo>
                    <a:pt x="321272" y="730839"/>
                    <a:pt x="321943" y="737125"/>
                    <a:pt x="322638" y="743929"/>
                  </a:cubicBezTo>
                  <a:lnTo>
                    <a:pt x="320602" y="743527"/>
                  </a:lnTo>
                  <a:cubicBezTo>
                    <a:pt x="319244" y="743527"/>
                    <a:pt x="318565" y="744007"/>
                    <a:pt x="318566" y="744949"/>
                  </a:cubicBezTo>
                  <a:cubicBezTo>
                    <a:pt x="318565" y="745491"/>
                    <a:pt x="318704" y="745969"/>
                    <a:pt x="318975" y="746371"/>
                  </a:cubicBezTo>
                  <a:cubicBezTo>
                    <a:pt x="319114" y="746788"/>
                    <a:pt x="319175" y="747206"/>
                    <a:pt x="319174" y="747608"/>
                  </a:cubicBezTo>
                  <a:cubicBezTo>
                    <a:pt x="319175" y="748690"/>
                    <a:pt x="318226" y="749370"/>
                    <a:pt x="316329" y="749633"/>
                  </a:cubicBezTo>
                  <a:lnTo>
                    <a:pt x="313474" y="748829"/>
                  </a:lnTo>
                  <a:cubicBezTo>
                    <a:pt x="313614" y="748010"/>
                    <a:pt x="313544" y="747206"/>
                    <a:pt x="313274" y="746371"/>
                  </a:cubicBezTo>
                  <a:cubicBezTo>
                    <a:pt x="312865" y="745568"/>
                    <a:pt x="312178" y="745150"/>
                    <a:pt x="311238" y="745151"/>
                  </a:cubicBezTo>
                  <a:cubicBezTo>
                    <a:pt x="310141" y="745150"/>
                    <a:pt x="309263" y="745629"/>
                    <a:pt x="308583" y="746588"/>
                  </a:cubicBezTo>
                  <a:cubicBezTo>
                    <a:pt x="307635" y="747531"/>
                    <a:pt x="306407" y="747948"/>
                    <a:pt x="304911" y="747809"/>
                  </a:cubicBezTo>
                  <a:cubicBezTo>
                    <a:pt x="302334" y="747809"/>
                    <a:pt x="300637" y="747206"/>
                    <a:pt x="299819" y="745969"/>
                  </a:cubicBezTo>
                  <a:cubicBezTo>
                    <a:pt x="298870" y="744469"/>
                    <a:pt x="297922" y="743728"/>
                    <a:pt x="296974" y="743728"/>
                  </a:cubicBezTo>
                  <a:cubicBezTo>
                    <a:pt x="296016" y="743728"/>
                    <a:pt x="293840" y="744609"/>
                    <a:pt x="290455" y="746371"/>
                  </a:cubicBezTo>
                  <a:lnTo>
                    <a:pt x="284345" y="749231"/>
                  </a:lnTo>
                  <a:cubicBezTo>
                    <a:pt x="281212" y="749508"/>
                    <a:pt x="278635" y="749911"/>
                    <a:pt x="276599" y="750451"/>
                  </a:cubicBezTo>
                  <a:cubicBezTo>
                    <a:pt x="273606" y="751272"/>
                    <a:pt x="270681" y="753311"/>
                    <a:pt x="267835" y="756573"/>
                  </a:cubicBezTo>
                  <a:cubicBezTo>
                    <a:pt x="267025" y="756851"/>
                    <a:pt x="265729" y="757995"/>
                    <a:pt x="263962" y="760036"/>
                  </a:cubicBezTo>
                  <a:cubicBezTo>
                    <a:pt x="258462" y="761056"/>
                    <a:pt x="257722" y="759912"/>
                    <a:pt x="256225" y="758412"/>
                  </a:cubicBezTo>
                  <a:lnTo>
                    <a:pt x="251961" y="752872"/>
                  </a:lnTo>
                  <a:cubicBezTo>
                    <a:pt x="251978" y="752951"/>
                    <a:pt x="251994" y="753030"/>
                    <a:pt x="252010" y="753111"/>
                  </a:cubicBezTo>
                  <a:cubicBezTo>
                    <a:pt x="252549" y="755147"/>
                    <a:pt x="253304" y="756567"/>
                    <a:pt x="254247" y="757385"/>
                  </a:cubicBezTo>
                  <a:cubicBezTo>
                    <a:pt x="254664" y="758064"/>
                    <a:pt x="255608" y="759020"/>
                    <a:pt x="257105" y="760239"/>
                  </a:cubicBezTo>
                  <a:cubicBezTo>
                    <a:pt x="251874" y="765734"/>
                    <a:pt x="249355" y="764992"/>
                    <a:pt x="244866" y="763495"/>
                  </a:cubicBezTo>
                  <a:lnTo>
                    <a:pt x="236497" y="761459"/>
                  </a:lnTo>
                  <a:cubicBezTo>
                    <a:pt x="235823" y="760918"/>
                    <a:pt x="233640" y="759284"/>
                    <a:pt x="229973" y="756568"/>
                  </a:cubicBezTo>
                  <a:lnTo>
                    <a:pt x="223235" y="752696"/>
                  </a:lnTo>
                  <a:cubicBezTo>
                    <a:pt x="222291" y="752695"/>
                    <a:pt x="220862" y="753450"/>
                    <a:pt x="218949" y="754946"/>
                  </a:cubicBezTo>
                  <a:cubicBezTo>
                    <a:pt x="217048" y="756567"/>
                    <a:pt x="215889" y="758203"/>
                    <a:pt x="215485" y="759824"/>
                  </a:cubicBezTo>
                  <a:cubicBezTo>
                    <a:pt x="215336" y="760101"/>
                    <a:pt x="214056" y="761522"/>
                    <a:pt x="211603" y="764113"/>
                  </a:cubicBezTo>
                  <a:lnTo>
                    <a:pt x="207924" y="769607"/>
                  </a:lnTo>
                  <a:cubicBezTo>
                    <a:pt x="207924" y="770563"/>
                    <a:pt x="212897" y="772662"/>
                    <a:pt x="222830" y="775919"/>
                  </a:cubicBezTo>
                  <a:cubicBezTo>
                    <a:pt x="225134" y="775919"/>
                    <a:pt x="229757" y="774435"/>
                    <a:pt x="236698" y="771443"/>
                  </a:cubicBezTo>
                  <a:lnTo>
                    <a:pt x="248951" y="766350"/>
                  </a:lnTo>
                  <a:cubicBezTo>
                    <a:pt x="250163" y="766350"/>
                    <a:pt x="251256" y="766488"/>
                    <a:pt x="252212" y="766752"/>
                  </a:cubicBezTo>
                  <a:cubicBezTo>
                    <a:pt x="252616" y="767030"/>
                    <a:pt x="253438" y="767432"/>
                    <a:pt x="254664" y="767972"/>
                  </a:cubicBezTo>
                  <a:cubicBezTo>
                    <a:pt x="254112" y="768789"/>
                    <a:pt x="253034" y="769670"/>
                    <a:pt x="251390" y="770626"/>
                  </a:cubicBezTo>
                  <a:cubicBezTo>
                    <a:pt x="249624" y="771581"/>
                    <a:pt x="248735" y="772599"/>
                    <a:pt x="248735" y="773681"/>
                  </a:cubicBezTo>
                  <a:cubicBezTo>
                    <a:pt x="248465" y="775038"/>
                    <a:pt x="247252" y="775994"/>
                    <a:pt x="245068" y="776535"/>
                  </a:cubicBezTo>
                  <a:cubicBezTo>
                    <a:pt x="243168" y="777075"/>
                    <a:pt x="242211" y="777830"/>
                    <a:pt x="242211" y="778773"/>
                  </a:cubicBezTo>
                  <a:cubicBezTo>
                    <a:pt x="242212" y="779867"/>
                    <a:pt x="243438" y="780470"/>
                    <a:pt x="245891" y="780609"/>
                  </a:cubicBezTo>
                  <a:lnTo>
                    <a:pt x="249557" y="780608"/>
                  </a:lnTo>
                  <a:cubicBezTo>
                    <a:pt x="250109" y="781011"/>
                    <a:pt x="250919" y="782105"/>
                    <a:pt x="252010" y="783878"/>
                  </a:cubicBezTo>
                  <a:cubicBezTo>
                    <a:pt x="256148" y="786317"/>
                    <a:pt x="257387" y="784884"/>
                    <a:pt x="257522" y="782041"/>
                  </a:cubicBezTo>
                  <a:cubicBezTo>
                    <a:pt x="257522" y="781766"/>
                    <a:pt x="257253" y="781011"/>
                    <a:pt x="256700" y="779791"/>
                  </a:cubicBezTo>
                  <a:lnTo>
                    <a:pt x="255878" y="778370"/>
                  </a:lnTo>
                  <a:lnTo>
                    <a:pt x="263641" y="770223"/>
                  </a:lnTo>
                  <a:cubicBezTo>
                    <a:pt x="264315" y="770223"/>
                    <a:pt x="264665" y="770902"/>
                    <a:pt x="264666" y="772260"/>
                  </a:cubicBezTo>
                  <a:cubicBezTo>
                    <a:pt x="264665" y="772800"/>
                    <a:pt x="264517" y="773542"/>
                    <a:pt x="264247" y="774498"/>
                  </a:cubicBezTo>
                  <a:cubicBezTo>
                    <a:pt x="263978" y="775453"/>
                    <a:pt x="263843" y="776196"/>
                    <a:pt x="263843" y="776736"/>
                  </a:cubicBezTo>
                  <a:lnTo>
                    <a:pt x="270987" y="789976"/>
                  </a:lnTo>
                  <a:cubicBezTo>
                    <a:pt x="270987" y="790932"/>
                    <a:pt x="270097" y="791548"/>
                    <a:pt x="268331" y="791811"/>
                  </a:cubicBezTo>
                  <a:cubicBezTo>
                    <a:pt x="267658" y="791812"/>
                    <a:pt x="266903" y="791547"/>
                    <a:pt x="266081" y="790994"/>
                  </a:cubicBezTo>
                  <a:cubicBezTo>
                    <a:pt x="265272" y="790315"/>
                    <a:pt x="264450" y="789976"/>
                    <a:pt x="263641" y="789976"/>
                  </a:cubicBezTo>
                  <a:cubicBezTo>
                    <a:pt x="262833" y="789976"/>
                    <a:pt x="262347" y="790529"/>
                    <a:pt x="262213" y="791610"/>
                  </a:cubicBezTo>
                  <a:cubicBezTo>
                    <a:pt x="262078" y="792968"/>
                    <a:pt x="261673" y="793987"/>
                    <a:pt x="260986" y="794666"/>
                  </a:cubicBezTo>
                  <a:cubicBezTo>
                    <a:pt x="260851" y="794804"/>
                    <a:pt x="260097" y="795206"/>
                    <a:pt x="258749" y="795886"/>
                  </a:cubicBezTo>
                  <a:cubicBezTo>
                    <a:pt x="257306" y="798400"/>
                    <a:pt x="257724" y="799016"/>
                    <a:pt x="258533" y="799557"/>
                  </a:cubicBezTo>
                  <a:cubicBezTo>
                    <a:pt x="259355" y="800236"/>
                    <a:pt x="259760" y="800915"/>
                    <a:pt x="259759" y="801593"/>
                  </a:cubicBezTo>
                  <a:cubicBezTo>
                    <a:pt x="259625" y="802009"/>
                    <a:pt x="258533" y="802336"/>
                    <a:pt x="256498" y="802612"/>
                  </a:cubicBezTo>
                  <a:cubicBezTo>
                    <a:pt x="254598" y="802889"/>
                    <a:pt x="253641" y="804108"/>
                    <a:pt x="253641" y="806284"/>
                  </a:cubicBezTo>
                  <a:cubicBezTo>
                    <a:pt x="253641" y="808585"/>
                    <a:pt x="254530" y="810156"/>
                    <a:pt x="256296" y="810973"/>
                  </a:cubicBezTo>
                  <a:cubicBezTo>
                    <a:pt x="257522" y="811376"/>
                    <a:pt x="259624" y="812118"/>
                    <a:pt x="262616" y="813212"/>
                  </a:cubicBezTo>
                  <a:cubicBezTo>
                    <a:pt x="263290" y="813476"/>
                    <a:pt x="263776" y="814293"/>
                    <a:pt x="264046" y="815650"/>
                  </a:cubicBezTo>
                  <a:cubicBezTo>
                    <a:pt x="264450" y="816606"/>
                    <a:pt x="265070" y="817349"/>
                    <a:pt x="265892" y="817889"/>
                  </a:cubicBezTo>
                  <a:cubicBezTo>
                    <a:pt x="267239" y="818442"/>
                    <a:pt x="269356" y="818505"/>
                    <a:pt x="272213" y="818103"/>
                  </a:cubicBezTo>
                  <a:cubicBezTo>
                    <a:pt x="273844" y="818228"/>
                    <a:pt x="277173" y="819385"/>
                    <a:pt x="282214" y="821560"/>
                  </a:cubicBezTo>
                  <a:lnTo>
                    <a:pt x="290975" y="828890"/>
                  </a:lnTo>
                  <a:cubicBezTo>
                    <a:pt x="290974" y="829583"/>
                    <a:pt x="290570" y="830463"/>
                    <a:pt x="289761" y="831544"/>
                  </a:cubicBezTo>
                  <a:lnTo>
                    <a:pt x="288535" y="839491"/>
                  </a:lnTo>
                  <a:cubicBezTo>
                    <a:pt x="288535" y="842345"/>
                    <a:pt x="287645" y="843778"/>
                    <a:pt x="285879" y="843778"/>
                  </a:cubicBezTo>
                  <a:cubicBezTo>
                    <a:pt x="284384" y="843778"/>
                    <a:pt x="283292" y="842960"/>
                    <a:pt x="282617" y="841326"/>
                  </a:cubicBezTo>
                  <a:lnTo>
                    <a:pt x="277713" y="842759"/>
                  </a:lnTo>
                  <a:lnTo>
                    <a:pt x="273629" y="847437"/>
                  </a:lnTo>
                  <a:lnTo>
                    <a:pt x="272011" y="847034"/>
                  </a:lnTo>
                  <a:lnTo>
                    <a:pt x="272011" y="844796"/>
                  </a:lnTo>
                  <a:cubicBezTo>
                    <a:pt x="273493" y="843702"/>
                    <a:pt x="274248" y="842408"/>
                    <a:pt x="274248" y="840924"/>
                  </a:cubicBezTo>
                  <a:cubicBezTo>
                    <a:pt x="274248" y="839428"/>
                    <a:pt x="273494" y="838408"/>
                    <a:pt x="272011" y="837868"/>
                  </a:cubicBezTo>
                  <a:cubicBezTo>
                    <a:pt x="270246" y="837315"/>
                    <a:pt x="269289" y="835957"/>
                    <a:pt x="269140" y="833781"/>
                  </a:cubicBezTo>
                  <a:cubicBezTo>
                    <a:pt x="268736" y="831883"/>
                    <a:pt x="268197" y="830463"/>
                    <a:pt x="267509" y="829506"/>
                  </a:cubicBezTo>
                  <a:cubicBezTo>
                    <a:pt x="266701" y="828287"/>
                    <a:pt x="265407" y="827608"/>
                    <a:pt x="263641" y="827470"/>
                  </a:cubicBezTo>
                  <a:cubicBezTo>
                    <a:pt x="263102" y="827469"/>
                    <a:pt x="262280" y="827747"/>
                    <a:pt x="261188" y="828287"/>
                  </a:cubicBezTo>
                  <a:cubicBezTo>
                    <a:pt x="256970" y="828551"/>
                    <a:pt x="256228" y="827747"/>
                    <a:pt x="256093" y="826250"/>
                  </a:cubicBezTo>
                  <a:cubicBezTo>
                    <a:pt x="255824" y="824616"/>
                    <a:pt x="254732" y="823799"/>
                    <a:pt x="252818" y="823798"/>
                  </a:cubicBezTo>
                  <a:cubicBezTo>
                    <a:pt x="252145" y="823798"/>
                    <a:pt x="250783" y="824075"/>
                    <a:pt x="248735" y="824616"/>
                  </a:cubicBezTo>
                  <a:cubicBezTo>
                    <a:pt x="247252" y="821297"/>
                    <a:pt x="247724" y="820542"/>
                    <a:pt x="247724" y="819725"/>
                  </a:cubicBezTo>
                  <a:cubicBezTo>
                    <a:pt x="247858" y="818643"/>
                    <a:pt x="245069" y="817009"/>
                    <a:pt x="239354" y="814834"/>
                  </a:cubicBezTo>
                  <a:lnTo>
                    <a:pt x="226699" y="809339"/>
                  </a:lnTo>
                  <a:lnTo>
                    <a:pt x="225270" y="809339"/>
                  </a:lnTo>
                  <a:lnTo>
                    <a:pt x="225081" y="811779"/>
                  </a:lnTo>
                  <a:cubicBezTo>
                    <a:pt x="225351" y="812194"/>
                    <a:pt x="227521" y="813614"/>
                    <a:pt x="231604" y="816066"/>
                  </a:cubicBezTo>
                  <a:lnTo>
                    <a:pt x="237319" y="822781"/>
                  </a:lnTo>
                  <a:cubicBezTo>
                    <a:pt x="237318" y="824415"/>
                    <a:pt x="236295" y="825433"/>
                    <a:pt x="234259" y="825835"/>
                  </a:cubicBezTo>
                  <a:cubicBezTo>
                    <a:pt x="234394" y="829708"/>
                    <a:pt x="235068" y="830727"/>
                    <a:pt x="235068" y="832361"/>
                  </a:cubicBezTo>
                  <a:cubicBezTo>
                    <a:pt x="235068" y="832776"/>
                    <a:pt x="233370" y="834335"/>
                    <a:pt x="229973" y="837051"/>
                  </a:cubicBezTo>
                  <a:lnTo>
                    <a:pt x="224866" y="840924"/>
                  </a:lnTo>
                  <a:cubicBezTo>
                    <a:pt x="223369" y="840924"/>
                    <a:pt x="222156" y="840584"/>
                    <a:pt x="221199" y="839893"/>
                  </a:cubicBezTo>
                  <a:cubicBezTo>
                    <a:pt x="220242" y="839214"/>
                    <a:pt x="219771" y="838547"/>
                    <a:pt x="219771" y="837869"/>
                  </a:cubicBezTo>
                  <a:cubicBezTo>
                    <a:pt x="219771" y="836912"/>
                    <a:pt x="219838" y="836033"/>
                    <a:pt x="219973" y="835215"/>
                  </a:cubicBezTo>
                  <a:cubicBezTo>
                    <a:pt x="220377" y="834121"/>
                    <a:pt x="220580" y="833241"/>
                    <a:pt x="220579" y="832563"/>
                  </a:cubicBezTo>
                  <a:cubicBezTo>
                    <a:pt x="220444" y="830525"/>
                    <a:pt x="220041" y="830324"/>
                    <a:pt x="219366" y="830324"/>
                  </a:cubicBezTo>
                  <a:cubicBezTo>
                    <a:pt x="218410" y="830186"/>
                    <a:pt x="217453" y="830262"/>
                    <a:pt x="216496" y="830526"/>
                  </a:cubicBezTo>
                  <a:cubicBezTo>
                    <a:pt x="215014" y="831066"/>
                    <a:pt x="213786" y="831418"/>
                    <a:pt x="212830" y="831543"/>
                  </a:cubicBezTo>
                  <a:cubicBezTo>
                    <a:pt x="212830" y="831419"/>
                    <a:pt x="212492" y="830388"/>
                    <a:pt x="211805" y="828488"/>
                  </a:cubicBezTo>
                  <a:cubicBezTo>
                    <a:pt x="211536" y="827545"/>
                    <a:pt x="210929" y="826992"/>
                    <a:pt x="209972" y="826867"/>
                  </a:cubicBezTo>
                  <a:cubicBezTo>
                    <a:pt x="208745" y="826866"/>
                    <a:pt x="206710" y="827407"/>
                    <a:pt x="203854" y="828489"/>
                  </a:cubicBezTo>
                  <a:lnTo>
                    <a:pt x="198745" y="830525"/>
                  </a:lnTo>
                  <a:cubicBezTo>
                    <a:pt x="198745" y="830664"/>
                    <a:pt x="199150" y="832902"/>
                    <a:pt x="199972" y="837253"/>
                  </a:cubicBezTo>
                  <a:lnTo>
                    <a:pt x="194661" y="839893"/>
                  </a:lnTo>
                  <a:cubicBezTo>
                    <a:pt x="193179" y="838950"/>
                    <a:pt x="191682" y="838472"/>
                    <a:pt x="190173" y="838472"/>
                  </a:cubicBezTo>
                  <a:cubicBezTo>
                    <a:pt x="189769" y="838472"/>
                    <a:pt x="188609" y="838748"/>
                    <a:pt x="186710" y="839289"/>
                  </a:cubicBezTo>
                  <a:cubicBezTo>
                    <a:pt x="182087" y="839629"/>
                    <a:pt x="181197" y="839352"/>
                    <a:pt x="180389" y="839088"/>
                  </a:cubicBezTo>
                  <a:cubicBezTo>
                    <a:pt x="180792" y="838271"/>
                    <a:pt x="180995" y="837453"/>
                    <a:pt x="180995" y="836636"/>
                  </a:cubicBezTo>
                  <a:cubicBezTo>
                    <a:pt x="180995" y="836372"/>
                    <a:pt x="179917" y="835139"/>
                    <a:pt x="177733" y="832977"/>
                  </a:cubicBezTo>
                  <a:cubicBezTo>
                    <a:pt x="173515" y="834460"/>
                    <a:pt x="170253" y="835215"/>
                    <a:pt x="167935" y="835215"/>
                  </a:cubicBezTo>
                  <a:cubicBezTo>
                    <a:pt x="166843" y="835216"/>
                    <a:pt x="163649" y="833380"/>
                    <a:pt x="158338" y="829708"/>
                  </a:cubicBezTo>
                  <a:cubicBezTo>
                    <a:pt x="158338" y="828627"/>
                    <a:pt x="159160" y="827545"/>
                    <a:pt x="160791" y="826452"/>
                  </a:cubicBezTo>
                  <a:cubicBezTo>
                    <a:pt x="162288" y="825773"/>
                    <a:pt x="163514" y="825434"/>
                    <a:pt x="164471" y="825433"/>
                  </a:cubicBezTo>
                  <a:cubicBezTo>
                    <a:pt x="165010" y="825433"/>
                    <a:pt x="166034" y="826112"/>
                    <a:pt x="167531" y="827470"/>
                  </a:cubicBezTo>
                  <a:lnTo>
                    <a:pt x="164673" y="822177"/>
                  </a:lnTo>
                  <a:cubicBezTo>
                    <a:pt x="163730" y="821096"/>
                    <a:pt x="162975" y="819586"/>
                    <a:pt x="162422" y="817688"/>
                  </a:cubicBezTo>
                  <a:cubicBezTo>
                    <a:pt x="162153" y="815512"/>
                    <a:pt x="161883" y="813953"/>
                    <a:pt x="161614" y="813010"/>
                  </a:cubicBezTo>
                  <a:lnTo>
                    <a:pt x="160589" y="813011"/>
                  </a:lnTo>
                  <a:cubicBezTo>
                    <a:pt x="160455" y="813274"/>
                    <a:pt x="160050" y="813891"/>
                    <a:pt x="159363" y="814834"/>
                  </a:cubicBezTo>
                  <a:cubicBezTo>
                    <a:pt x="157664" y="816267"/>
                    <a:pt x="156910" y="815789"/>
                    <a:pt x="155696" y="814834"/>
                  </a:cubicBezTo>
                  <a:cubicBezTo>
                    <a:pt x="154471" y="813614"/>
                    <a:pt x="153446" y="813010"/>
                    <a:pt x="152638" y="813010"/>
                  </a:cubicBezTo>
                  <a:lnTo>
                    <a:pt x="146707" y="813212"/>
                  </a:lnTo>
                  <a:cubicBezTo>
                    <a:pt x="144942" y="813211"/>
                    <a:pt x="143783" y="812872"/>
                    <a:pt x="143243" y="812193"/>
                  </a:cubicBezTo>
                  <a:cubicBezTo>
                    <a:pt x="142973" y="811514"/>
                    <a:pt x="142839" y="810295"/>
                    <a:pt x="142839" y="808522"/>
                  </a:cubicBezTo>
                  <a:cubicBezTo>
                    <a:pt x="143046" y="807437"/>
                    <a:pt x="143252" y="806351"/>
                    <a:pt x="143459" y="805266"/>
                  </a:cubicBezTo>
                  <a:cubicBezTo>
                    <a:pt x="141545" y="805806"/>
                    <a:pt x="140588" y="805064"/>
                    <a:pt x="140588" y="803028"/>
                  </a:cubicBezTo>
                  <a:cubicBezTo>
                    <a:pt x="140319" y="801116"/>
                    <a:pt x="139644" y="799896"/>
                    <a:pt x="138553" y="799356"/>
                  </a:cubicBezTo>
                  <a:cubicBezTo>
                    <a:pt x="135292" y="800035"/>
                    <a:pt x="133445" y="800576"/>
                    <a:pt x="131409" y="801393"/>
                  </a:cubicBezTo>
                  <a:lnTo>
                    <a:pt x="125897" y="801393"/>
                  </a:lnTo>
                  <a:cubicBezTo>
                    <a:pt x="125830" y="799084"/>
                    <a:pt x="125762" y="796774"/>
                    <a:pt x="125695" y="794465"/>
                  </a:cubicBezTo>
                  <a:cubicBezTo>
                    <a:pt x="123660" y="795005"/>
                    <a:pt x="120870" y="796162"/>
                    <a:pt x="117339" y="797935"/>
                  </a:cubicBezTo>
                  <a:lnTo>
                    <a:pt x="110385" y="803845"/>
                  </a:lnTo>
                  <a:cubicBezTo>
                    <a:pt x="110384" y="804788"/>
                    <a:pt x="111071" y="805466"/>
                    <a:pt x="112433" y="805881"/>
                  </a:cubicBezTo>
                  <a:cubicBezTo>
                    <a:pt x="113795" y="806284"/>
                    <a:pt x="114401" y="807441"/>
                    <a:pt x="114266" y="809339"/>
                  </a:cubicBezTo>
                  <a:cubicBezTo>
                    <a:pt x="114266" y="810559"/>
                    <a:pt x="113997" y="811439"/>
                    <a:pt x="113457" y="811992"/>
                  </a:cubicBezTo>
                  <a:cubicBezTo>
                    <a:pt x="113040" y="812257"/>
                    <a:pt x="111961" y="812394"/>
                    <a:pt x="110196" y="812395"/>
                  </a:cubicBezTo>
                  <a:cubicBezTo>
                    <a:pt x="109778" y="812118"/>
                    <a:pt x="109373" y="811991"/>
                    <a:pt x="108969" y="811992"/>
                  </a:cubicBezTo>
                  <a:lnTo>
                    <a:pt x="93860" y="816066"/>
                  </a:lnTo>
                  <a:cubicBezTo>
                    <a:pt x="88146" y="815928"/>
                    <a:pt x="81825" y="813275"/>
                    <a:pt x="74884" y="808120"/>
                  </a:cubicBezTo>
                  <a:cubicBezTo>
                    <a:pt x="67956" y="803090"/>
                    <a:pt x="61352" y="800575"/>
                    <a:pt x="55098" y="800575"/>
                  </a:cubicBezTo>
                  <a:cubicBezTo>
                    <a:pt x="54424" y="800575"/>
                    <a:pt x="53736" y="801116"/>
                    <a:pt x="53050" y="802210"/>
                  </a:cubicBezTo>
                  <a:lnTo>
                    <a:pt x="43871" y="796301"/>
                  </a:lnTo>
                  <a:cubicBezTo>
                    <a:pt x="43871" y="795885"/>
                    <a:pt x="44679" y="795206"/>
                    <a:pt x="46324" y="794263"/>
                  </a:cubicBezTo>
                  <a:cubicBezTo>
                    <a:pt x="47820" y="793308"/>
                    <a:pt x="48561" y="791611"/>
                    <a:pt x="48561" y="789171"/>
                  </a:cubicBezTo>
                  <a:cubicBezTo>
                    <a:pt x="48710" y="787398"/>
                    <a:pt x="48359" y="785977"/>
                    <a:pt x="47551" y="784884"/>
                  </a:cubicBezTo>
                  <a:cubicBezTo>
                    <a:pt x="46458" y="783803"/>
                    <a:pt x="45637" y="782646"/>
                    <a:pt x="45098" y="781426"/>
                  </a:cubicBezTo>
                  <a:lnTo>
                    <a:pt x="43669" y="781426"/>
                  </a:lnTo>
                  <a:cubicBezTo>
                    <a:pt x="43400" y="784545"/>
                    <a:pt x="43332" y="787612"/>
                    <a:pt x="43466" y="790592"/>
                  </a:cubicBezTo>
                  <a:cubicBezTo>
                    <a:pt x="43467" y="791950"/>
                    <a:pt x="42712" y="792968"/>
                    <a:pt x="41216" y="793647"/>
                  </a:cubicBezTo>
                  <a:cubicBezTo>
                    <a:pt x="41701" y="796979"/>
                    <a:pt x="42240" y="797457"/>
                    <a:pt x="42240" y="798136"/>
                  </a:cubicBezTo>
                  <a:cubicBezTo>
                    <a:pt x="42240" y="799078"/>
                    <a:pt x="39249" y="799896"/>
                    <a:pt x="33264" y="800576"/>
                  </a:cubicBezTo>
                  <a:cubicBezTo>
                    <a:pt x="25918" y="801254"/>
                    <a:pt x="20608" y="802675"/>
                    <a:pt x="17346" y="804863"/>
                  </a:cubicBezTo>
                  <a:cubicBezTo>
                    <a:pt x="16807" y="805127"/>
                    <a:pt x="15716" y="805265"/>
                    <a:pt x="14071" y="805265"/>
                  </a:cubicBezTo>
                  <a:cubicBezTo>
                    <a:pt x="13532" y="805265"/>
                    <a:pt x="12993" y="805202"/>
                    <a:pt x="12440" y="805064"/>
                  </a:cubicBezTo>
                  <a:cubicBezTo>
                    <a:pt x="11362" y="803844"/>
                    <a:pt x="10540" y="802813"/>
                    <a:pt x="10000" y="802009"/>
                  </a:cubicBezTo>
                  <a:cubicBezTo>
                    <a:pt x="9044" y="800915"/>
                    <a:pt x="8775" y="799557"/>
                    <a:pt x="9179" y="797935"/>
                  </a:cubicBezTo>
                  <a:lnTo>
                    <a:pt x="9381" y="797935"/>
                  </a:lnTo>
                  <a:cubicBezTo>
                    <a:pt x="9934" y="796564"/>
                    <a:pt x="12103" y="792768"/>
                    <a:pt x="15918" y="786519"/>
                  </a:cubicBezTo>
                  <a:lnTo>
                    <a:pt x="21026" y="773681"/>
                  </a:lnTo>
                  <a:lnTo>
                    <a:pt x="19381" y="766954"/>
                  </a:lnTo>
                  <a:cubicBezTo>
                    <a:pt x="18020" y="766011"/>
                    <a:pt x="17414" y="764174"/>
                    <a:pt x="17548" y="761460"/>
                  </a:cubicBezTo>
                  <a:cubicBezTo>
                    <a:pt x="17548" y="759284"/>
                    <a:pt x="18155" y="757650"/>
                    <a:pt x="19382" y="756568"/>
                  </a:cubicBezTo>
                  <a:cubicBezTo>
                    <a:pt x="19588" y="753785"/>
                    <a:pt x="19795" y="751003"/>
                    <a:pt x="20001" y="748220"/>
                  </a:cubicBezTo>
                  <a:cubicBezTo>
                    <a:pt x="20136" y="745906"/>
                    <a:pt x="21619" y="742373"/>
                    <a:pt x="24489" y="737620"/>
                  </a:cubicBezTo>
                  <a:lnTo>
                    <a:pt x="28573" y="728856"/>
                  </a:lnTo>
                  <a:lnTo>
                    <a:pt x="30204" y="706249"/>
                  </a:lnTo>
                  <a:cubicBezTo>
                    <a:pt x="30338" y="704476"/>
                    <a:pt x="29112" y="702301"/>
                    <a:pt x="26524" y="699723"/>
                  </a:cubicBezTo>
                  <a:cubicBezTo>
                    <a:pt x="24220" y="696869"/>
                    <a:pt x="22993" y="694027"/>
                    <a:pt x="22858" y="691174"/>
                  </a:cubicBezTo>
                  <a:cubicBezTo>
                    <a:pt x="22724" y="690079"/>
                    <a:pt x="22103" y="688458"/>
                    <a:pt x="21025" y="686281"/>
                  </a:cubicBezTo>
                  <a:cubicBezTo>
                    <a:pt x="19111" y="680511"/>
                    <a:pt x="18236" y="679417"/>
                    <a:pt x="16727" y="679140"/>
                  </a:cubicBezTo>
                  <a:cubicBezTo>
                    <a:pt x="15095" y="678738"/>
                    <a:pt x="14287" y="677996"/>
                    <a:pt x="14287" y="676902"/>
                  </a:cubicBezTo>
                  <a:cubicBezTo>
                    <a:pt x="13882" y="673231"/>
                    <a:pt x="13666" y="670251"/>
                    <a:pt x="13667" y="667937"/>
                  </a:cubicBezTo>
                  <a:cubicBezTo>
                    <a:pt x="13128" y="663863"/>
                    <a:pt x="12373" y="660947"/>
                    <a:pt x="11415" y="659186"/>
                  </a:cubicBezTo>
                  <a:cubicBezTo>
                    <a:pt x="10202" y="657551"/>
                    <a:pt x="8303" y="655452"/>
                    <a:pt x="5714" y="652862"/>
                  </a:cubicBezTo>
                  <a:lnTo>
                    <a:pt x="0" y="647769"/>
                  </a:lnTo>
                  <a:cubicBezTo>
                    <a:pt x="67" y="625153"/>
                    <a:pt x="135" y="602538"/>
                    <a:pt x="202" y="579922"/>
                  </a:cubicBezTo>
                  <a:cubicBezTo>
                    <a:pt x="394" y="579919"/>
                    <a:pt x="157328" y="575848"/>
                    <a:pt x="157328" y="575848"/>
                  </a:cubicBezTo>
                  <a:cubicBezTo>
                    <a:pt x="157463" y="577068"/>
                    <a:pt x="158689" y="577746"/>
                    <a:pt x="160994" y="577885"/>
                  </a:cubicBezTo>
                  <a:lnTo>
                    <a:pt x="162959" y="580877"/>
                  </a:lnTo>
                  <a:lnTo>
                    <a:pt x="163402" y="580694"/>
                  </a:lnTo>
                  <a:cubicBezTo>
                    <a:pt x="163747" y="577482"/>
                    <a:pt x="162587" y="575881"/>
                    <a:pt x="160256" y="575880"/>
                  </a:cubicBezTo>
                  <a:cubicBezTo>
                    <a:pt x="157950" y="575741"/>
                    <a:pt x="156731" y="575061"/>
                    <a:pt x="156584" y="573840"/>
                  </a:cubicBezTo>
                  <a:cubicBezTo>
                    <a:pt x="156583" y="573284"/>
                    <a:pt x="156792" y="572681"/>
                    <a:pt x="157202" y="572001"/>
                  </a:cubicBezTo>
                  <a:cubicBezTo>
                    <a:pt x="157602" y="571444"/>
                    <a:pt x="157880" y="570765"/>
                    <a:pt x="158020" y="569961"/>
                  </a:cubicBezTo>
                  <a:cubicBezTo>
                    <a:pt x="158968" y="568059"/>
                    <a:pt x="159987" y="566823"/>
                    <a:pt x="161075" y="566282"/>
                  </a:cubicBezTo>
                  <a:cubicBezTo>
                    <a:pt x="161753" y="566020"/>
                    <a:pt x="162092" y="564721"/>
                    <a:pt x="162092" y="562418"/>
                  </a:cubicBezTo>
                  <a:cubicBezTo>
                    <a:pt x="162232" y="559558"/>
                    <a:pt x="161683" y="557718"/>
                    <a:pt x="160465" y="556899"/>
                  </a:cubicBezTo>
                  <a:cubicBezTo>
                    <a:pt x="158968" y="556080"/>
                    <a:pt x="157880" y="553576"/>
                    <a:pt x="157202" y="549356"/>
                  </a:cubicBezTo>
                  <a:cubicBezTo>
                    <a:pt x="157063" y="548816"/>
                    <a:pt x="156252" y="546574"/>
                    <a:pt x="154756" y="542633"/>
                  </a:cubicBezTo>
                  <a:cubicBezTo>
                    <a:pt x="153259" y="538953"/>
                    <a:pt x="152511" y="536094"/>
                    <a:pt x="152511" y="534054"/>
                  </a:cubicBezTo>
                  <a:cubicBezTo>
                    <a:pt x="152510" y="532431"/>
                    <a:pt x="153328" y="530871"/>
                    <a:pt x="154965" y="529371"/>
                  </a:cubicBezTo>
                  <a:cubicBezTo>
                    <a:pt x="157001" y="527732"/>
                    <a:pt x="157951" y="526310"/>
                    <a:pt x="157811" y="525089"/>
                  </a:cubicBezTo>
                  <a:cubicBezTo>
                    <a:pt x="157680" y="523728"/>
                    <a:pt x="158429" y="522167"/>
                    <a:pt x="160057" y="520390"/>
                  </a:cubicBezTo>
                  <a:lnTo>
                    <a:pt x="162502" y="511224"/>
                  </a:lnTo>
                  <a:cubicBezTo>
                    <a:pt x="162502" y="507963"/>
                    <a:pt x="163450" y="505984"/>
                    <a:pt x="165347" y="505304"/>
                  </a:cubicBezTo>
                  <a:cubicBezTo>
                    <a:pt x="167384" y="504764"/>
                    <a:pt x="168481" y="503944"/>
                    <a:pt x="168611" y="502863"/>
                  </a:cubicBezTo>
                  <a:cubicBezTo>
                    <a:pt x="167933" y="499323"/>
                    <a:pt x="167523" y="496601"/>
                    <a:pt x="167384" y="494701"/>
                  </a:cubicBezTo>
                  <a:cubicBezTo>
                    <a:pt x="167523" y="491300"/>
                    <a:pt x="168480" y="489538"/>
                    <a:pt x="170247" y="489400"/>
                  </a:cubicBezTo>
                  <a:cubicBezTo>
                    <a:pt x="172554" y="489121"/>
                    <a:pt x="174321" y="487220"/>
                    <a:pt x="175539" y="483680"/>
                  </a:cubicBezTo>
                  <a:cubicBezTo>
                    <a:pt x="176218" y="481238"/>
                    <a:pt x="178124" y="479955"/>
                    <a:pt x="181240" y="479816"/>
                  </a:cubicBezTo>
                  <a:cubicBezTo>
                    <a:pt x="183955" y="479398"/>
                    <a:pt x="185452" y="477837"/>
                    <a:pt x="185722" y="475117"/>
                  </a:cubicBezTo>
                  <a:lnTo>
                    <a:pt x="185521" y="468393"/>
                  </a:lnTo>
                  <a:lnTo>
                    <a:pt x="187758" y="454312"/>
                  </a:lnTo>
                  <a:cubicBezTo>
                    <a:pt x="189795" y="448608"/>
                    <a:pt x="193058" y="445208"/>
                    <a:pt x="197540" y="444125"/>
                  </a:cubicBezTo>
                  <a:cubicBezTo>
                    <a:pt x="199177" y="443708"/>
                    <a:pt x="200195" y="441946"/>
                    <a:pt x="200596" y="438808"/>
                  </a:cubicBezTo>
                  <a:lnTo>
                    <a:pt x="201741" y="433859"/>
                  </a:lnTo>
                  <a:lnTo>
                    <a:pt x="200117" y="433927"/>
                  </a:lnTo>
                  <a:cubicBezTo>
                    <a:pt x="200385" y="432976"/>
                    <a:pt x="200714" y="432300"/>
                    <a:pt x="201148" y="431891"/>
                  </a:cubicBezTo>
                  <a:lnTo>
                    <a:pt x="205819" y="426595"/>
                  </a:lnTo>
                  <a:lnTo>
                    <a:pt x="209299" y="420694"/>
                  </a:lnTo>
                  <a:lnTo>
                    <a:pt x="205820" y="414179"/>
                  </a:lnTo>
                  <a:lnTo>
                    <a:pt x="202773" y="407861"/>
                  </a:lnTo>
                  <a:cubicBezTo>
                    <a:pt x="202773" y="406093"/>
                    <a:pt x="203720" y="404875"/>
                    <a:pt x="205634" y="404199"/>
                  </a:cubicBezTo>
                  <a:cubicBezTo>
                    <a:pt x="207940" y="403382"/>
                    <a:pt x="209299" y="401818"/>
                    <a:pt x="209711" y="399508"/>
                  </a:cubicBezTo>
                  <a:lnTo>
                    <a:pt x="213787" y="395642"/>
                  </a:lnTo>
                  <a:lnTo>
                    <a:pt x="217471" y="391972"/>
                  </a:lnTo>
                  <a:cubicBezTo>
                    <a:pt x="217471" y="391296"/>
                    <a:pt x="217204" y="390478"/>
                    <a:pt x="216648" y="389528"/>
                  </a:cubicBezTo>
                  <a:cubicBezTo>
                    <a:pt x="215968" y="386337"/>
                    <a:pt x="216236" y="385661"/>
                    <a:pt x="216648" y="384844"/>
                  </a:cubicBezTo>
                  <a:cubicBezTo>
                    <a:pt x="218563" y="383626"/>
                    <a:pt x="220601" y="381590"/>
                    <a:pt x="222782" y="378738"/>
                  </a:cubicBezTo>
                  <a:lnTo>
                    <a:pt x="226446" y="372012"/>
                  </a:lnTo>
                  <a:lnTo>
                    <a:pt x="224820" y="365898"/>
                  </a:lnTo>
                  <a:lnTo>
                    <a:pt x="233384" y="331282"/>
                  </a:lnTo>
                  <a:cubicBezTo>
                    <a:pt x="234777" y="331372"/>
                    <a:pt x="240975" y="331071"/>
                    <a:pt x="251968" y="330340"/>
                  </a:cubicBezTo>
                  <a:lnTo>
                    <a:pt x="252108" y="330003"/>
                  </a:lnTo>
                  <a:cubicBezTo>
                    <a:pt x="242558" y="330626"/>
                    <a:pt x="237139" y="330881"/>
                    <a:pt x="235854" y="330787"/>
                  </a:cubicBezTo>
                  <a:cubicBezTo>
                    <a:pt x="236138" y="329318"/>
                    <a:pt x="236814" y="328483"/>
                    <a:pt x="237882" y="328364"/>
                  </a:cubicBezTo>
                  <a:cubicBezTo>
                    <a:pt x="238452" y="328086"/>
                    <a:pt x="239378" y="327967"/>
                    <a:pt x="240767" y="327967"/>
                  </a:cubicBezTo>
                  <a:cubicBezTo>
                    <a:pt x="241977" y="327690"/>
                    <a:pt x="242654" y="327213"/>
                    <a:pt x="242795" y="326537"/>
                  </a:cubicBezTo>
                  <a:cubicBezTo>
                    <a:pt x="242795" y="324194"/>
                    <a:pt x="243971" y="323044"/>
                    <a:pt x="246284" y="323043"/>
                  </a:cubicBezTo>
                  <a:lnTo>
                    <a:pt x="252407" y="322646"/>
                  </a:lnTo>
                  <a:cubicBezTo>
                    <a:pt x="253476" y="322527"/>
                    <a:pt x="254080" y="321018"/>
                    <a:pt x="254224" y="318159"/>
                  </a:cubicBezTo>
                  <a:cubicBezTo>
                    <a:pt x="254093" y="316253"/>
                    <a:pt x="253963" y="314346"/>
                    <a:pt x="253832" y="312440"/>
                  </a:cubicBezTo>
                  <a:cubicBezTo>
                    <a:pt x="255185" y="309064"/>
                    <a:pt x="256217" y="308786"/>
                    <a:pt x="257711" y="308786"/>
                  </a:cubicBezTo>
                  <a:lnTo>
                    <a:pt x="257711" y="305531"/>
                  </a:lnTo>
                  <a:cubicBezTo>
                    <a:pt x="257855" y="303069"/>
                    <a:pt x="257428" y="300685"/>
                    <a:pt x="256465" y="298382"/>
                  </a:cubicBezTo>
                  <a:cubicBezTo>
                    <a:pt x="255398" y="296198"/>
                    <a:pt x="254151" y="294371"/>
                    <a:pt x="252800" y="292862"/>
                  </a:cubicBezTo>
                  <a:cubicBezTo>
                    <a:pt x="254046" y="291631"/>
                    <a:pt x="255256" y="289884"/>
                    <a:pt x="256466" y="287582"/>
                  </a:cubicBezTo>
                  <a:cubicBezTo>
                    <a:pt x="259349" y="282260"/>
                    <a:pt x="262197" y="279678"/>
                    <a:pt x="265045" y="279797"/>
                  </a:cubicBezTo>
                  <a:cubicBezTo>
                    <a:pt x="266292" y="279797"/>
                    <a:pt x="269744" y="281386"/>
                    <a:pt x="275477" y="284524"/>
                  </a:cubicBezTo>
                  <a:lnTo>
                    <a:pt x="286299" y="289209"/>
                  </a:lnTo>
                  <a:cubicBezTo>
                    <a:pt x="287510" y="289210"/>
                    <a:pt x="288684" y="288256"/>
                    <a:pt x="289752" y="286351"/>
                  </a:cubicBezTo>
                  <a:cubicBezTo>
                    <a:pt x="290570" y="284721"/>
                    <a:pt x="290998" y="283292"/>
                    <a:pt x="290997" y="282061"/>
                  </a:cubicBezTo>
                  <a:cubicBezTo>
                    <a:pt x="290997" y="280155"/>
                    <a:pt x="290251" y="277931"/>
                    <a:pt x="288756" y="275350"/>
                  </a:cubicBezTo>
                  <a:cubicBezTo>
                    <a:pt x="287367" y="273007"/>
                    <a:pt x="286762" y="271180"/>
                    <a:pt x="286903" y="269831"/>
                  </a:cubicBezTo>
                  <a:cubicBezTo>
                    <a:pt x="286904" y="267924"/>
                    <a:pt x="290500" y="265739"/>
                    <a:pt x="297727" y="263318"/>
                  </a:cubicBezTo>
                  <a:cubicBezTo>
                    <a:pt x="304669" y="260974"/>
                    <a:pt x="307587" y="257322"/>
                    <a:pt x="306520" y="252277"/>
                  </a:cubicBezTo>
                  <a:cubicBezTo>
                    <a:pt x="306378" y="252158"/>
                    <a:pt x="306163" y="252000"/>
                    <a:pt x="305879" y="251880"/>
                  </a:cubicBezTo>
                  <a:cubicBezTo>
                    <a:pt x="305629" y="251325"/>
                    <a:pt x="305203" y="250649"/>
                    <a:pt x="304669" y="249855"/>
                  </a:cubicBezTo>
                  <a:cubicBezTo>
                    <a:pt x="304135" y="249021"/>
                    <a:pt x="303849" y="248068"/>
                    <a:pt x="303849" y="246997"/>
                  </a:cubicBezTo>
                  <a:cubicBezTo>
                    <a:pt x="303992" y="244931"/>
                    <a:pt x="305345" y="242707"/>
                    <a:pt x="307943" y="240246"/>
                  </a:cubicBezTo>
                  <a:cubicBezTo>
                    <a:pt x="308336" y="239848"/>
                    <a:pt x="308763" y="239372"/>
                    <a:pt x="309154" y="238815"/>
                  </a:cubicBezTo>
                  <a:lnTo>
                    <a:pt x="314459" y="234129"/>
                  </a:lnTo>
                  <a:cubicBezTo>
                    <a:pt x="314067" y="232780"/>
                    <a:pt x="313854" y="231707"/>
                    <a:pt x="313854" y="230873"/>
                  </a:cubicBezTo>
                  <a:cubicBezTo>
                    <a:pt x="314137" y="230595"/>
                    <a:pt x="315705" y="230118"/>
                    <a:pt x="318553" y="229443"/>
                  </a:cubicBezTo>
                  <a:lnTo>
                    <a:pt x="323856" y="228609"/>
                  </a:lnTo>
                  <a:cubicBezTo>
                    <a:pt x="324817" y="228609"/>
                    <a:pt x="325565" y="229324"/>
                    <a:pt x="326100" y="230675"/>
                  </a:cubicBezTo>
                  <a:cubicBezTo>
                    <a:pt x="326669" y="232024"/>
                    <a:pt x="327417" y="232699"/>
                    <a:pt x="328342" y="232699"/>
                  </a:cubicBezTo>
                  <a:lnTo>
                    <a:pt x="334680" y="227418"/>
                  </a:lnTo>
                  <a:lnTo>
                    <a:pt x="342048" y="222097"/>
                  </a:lnTo>
                  <a:cubicBezTo>
                    <a:pt x="352515" y="229047"/>
                    <a:pt x="357820" y="232501"/>
                    <a:pt x="357962" y="232501"/>
                  </a:cubicBezTo>
                  <a:cubicBezTo>
                    <a:pt x="358247" y="232502"/>
                    <a:pt x="359741" y="230040"/>
                    <a:pt x="362448" y="225154"/>
                  </a:cubicBezTo>
                  <a:cubicBezTo>
                    <a:pt x="365047" y="220271"/>
                    <a:pt x="367716" y="217887"/>
                    <a:pt x="370422" y="218006"/>
                  </a:cubicBezTo>
                  <a:cubicBezTo>
                    <a:pt x="370956" y="218006"/>
                    <a:pt x="371988" y="219318"/>
                    <a:pt x="373484" y="221898"/>
                  </a:cubicBezTo>
                  <a:cubicBezTo>
                    <a:pt x="375655" y="224598"/>
                    <a:pt x="378396" y="225988"/>
                    <a:pt x="381672" y="225988"/>
                  </a:cubicBezTo>
                  <a:cubicBezTo>
                    <a:pt x="382348" y="226107"/>
                    <a:pt x="383167" y="224479"/>
                    <a:pt x="384093" y="221105"/>
                  </a:cubicBezTo>
                  <a:lnTo>
                    <a:pt x="385944" y="213957"/>
                  </a:lnTo>
                  <a:cubicBezTo>
                    <a:pt x="386085" y="213678"/>
                    <a:pt x="386834" y="212725"/>
                    <a:pt x="388186" y="211097"/>
                  </a:cubicBezTo>
                  <a:cubicBezTo>
                    <a:pt x="389290" y="209865"/>
                    <a:pt x="389967" y="208715"/>
                    <a:pt x="390216" y="207643"/>
                  </a:cubicBezTo>
                  <a:cubicBezTo>
                    <a:pt x="391176" y="202717"/>
                    <a:pt x="391996" y="202320"/>
                    <a:pt x="393491" y="202320"/>
                  </a:cubicBezTo>
                  <a:cubicBezTo>
                    <a:pt x="393633" y="202320"/>
                    <a:pt x="395734" y="204147"/>
                    <a:pt x="399828" y="207840"/>
                  </a:cubicBezTo>
                  <a:cubicBezTo>
                    <a:pt x="404990" y="211891"/>
                    <a:pt x="409510" y="213956"/>
                    <a:pt x="413320" y="213956"/>
                  </a:cubicBezTo>
                  <a:cubicBezTo>
                    <a:pt x="416702" y="214075"/>
                    <a:pt x="418481" y="211097"/>
                    <a:pt x="418625" y="204981"/>
                  </a:cubicBezTo>
                  <a:cubicBezTo>
                    <a:pt x="418482" y="198309"/>
                    <a:pt x="420583" y="194379"/>
                    <a:pt x="424961" y="193147"/>
                  </a:cubicBezTo>
                  <a:cubicBezTo>
                    <a:pt x="426599" y="192591"/>
                    <a:pt x="428130" y="190845"/>
                    <a:pt x="429660" y="187827"/>
                  </a:cubicBezTo>
                  <a:lnTo>
                    <a:pt x="432080" y="181114"/>
                  </a:lnTo>
                  <a:cubicBezTo>
                    <a:pt x="432509" y="180003"/>
                    <a:pt x="433933" y="178533"/>
                    <a:pt x="436388" y="176628"/>
                  </a:cubicBezTo>
                  <a:cubicBezTo>
                    <a:pt x="438168" y="174999"/>
                    <a:pt x="439095" y="173013"/>
                    <a:pt x="439237" y="170710"/>
                  </a:cubicBezTo>
                  <a:cubicBezTo>
                    <a:pt x="439236" y="170035"/>
                    <a:pt x="438952" y="168526"/>
                    <a:pt x="438418" y="166223"/>
                  </a:cubicBezTo>
                  <a:cubicBezTo>
                    <a:pt x="438027" y="159432"/>
                    <a:pt x="439734" y="158320"/>
                    <a:pt x="443117" y="158043"/>
                  </a:cubicBezTo>
                  <a:cubicBezTo>
                    <a:pt x="443935" y="157923"/>
                    <a:pt x="446036" y="157923"/>
                    <a:pt x="449454" y="158042"/>
                  </a:cubicBezTo>
                  <a:cubicBezTo>
                    <a:pt x="449738" y="158042"/>
                    <a:pt x="450059" y="158599"/>
                    <a:pt x="450487" y="159711"/>
                  </a:cubicBezTo>
                  <a:cubicBezTo>
                    <a:pt x="450878" y="160504"/>
                    <a:pt x="451412" y="160901"/>
                    <a:pt x="452124" y="160901"/>
                  </a:cubicBezTo>
                  <a:cubicBezTo>
                    <a:pt x="453619" y="160901"/>
                    <a:pt x="455363" y="159631"/>
                    <a:pt x="457428" y="157049"/>
                  </a:cubicBezTo>
                  <a:cubicBezTo>
                    <a:pt x="459600" y="154309"/>
                    <a:pt x="461557" y="152960"/>
                    <a:pt x="463337" y="152959"/>
                  </a:cubicBezTo>
                  <a:cubicBezTo>
                    <a:pt x="463730" y="153078"/>
                    <a:pt x="465046" y="153158"/>
                    <a:pt x="467219" y="153159"/>
                  </a:cubicBezTo>
                  <a:cubicBezTo>
                    <a:pt x="469106" y="153039"/>
                    <a:pt x="470067" y="152007"/>
                    <a:pt x="470067" y="150100"/>
                  </a:cubicBezTo>
                  <a:cubicBezTo>
                    <a:pt x="470067" y="149266"/>
                    <a:pt x="469461" y="148353"/>
                    <a:pt x="468250" y="147241"/>
                  </a:cubicBezTo>
                  <a:lnTo>
                    <a:pt x="466792" y="141522"/>
                  </a:lnTo>
                  <a:cubicBezTo>
                    <a:pt x="466792" y="140173"/>
                    <a:pt x="466328" y="139140"/>
                    <a:pt x="465367" y="138464"/>
                  </a:cubicBezTo>
                  <a:cubicBezTo>
                    <a:pt x="464300" y="137948"/>
                    <a:pt x="463694" y="137194"/>
                    <a:pt x="463552" y="136241"/>
                  </a:cubicBezTo>
                  <a:cubicBezTo>
                    <a:pt x="463552" y="134732"/>
                    <a:pt x="464157" y="133103"/>
                    <a:pt x="465368" y="131356"/>
                  </a:cubicBezTo>
                  <a:cubicBezTo>
                    <a:pt x="466044" y="130522"/>
                    <a:pt x="466541" y="129768"/>
                    <a:pt x="466792" y="129093"/>
                  </a:cubicBezTo>
                  <a:lnTo>
                    <a:pt x="469888" y="129093"/>
                  </a:lnTo>
                  <a:cubicBezTo>
                    <a:pt x="471098" y="131833"/>
                    <a:pt x="474303" y="133183"/>
                    <a:pt x="479465" y="133183"/>
                  </a:cubicBezTo>
                  <a:lnTo>
                    <a:pt x="490892" y="133183"/>
                  </a:lnTo>
                  <a:cubicBezTo>
                    <a:pt x="492387" y="133461"/>
                    <a:pt x="494631" y="137194"/>
                    <a:pt x="497657" y="144381"/>
                  </a:cubicBezTo>
                  <a:cubicBezTo>
                    <a:pt x="498582" y="146724"/>
                    <a:pt x="499686" y="148274"/>
                    <a:pt x="500895" y="149067"/>
                  </a:cubicBezTo>
                  <a:cubicBezTo>
                    <a:pt x="501858" y="149504"/>
                    <a:pt x="503353" y="149782"/>
                    <a:pt x="505382" y="149901"/>
                  </a:cubicBezTo>
                  <a:lnTo>
                    <a:pt x="514779" y="149266"/>
                  </a:lnTo>
                  <a:cubicBezTo>
                    <a:pt x="516560" y="149266"/>
                    <a:pt x="518411" y="150775"/>
                    <a:pt x="520297" y="153793"/>
                  </a:cubicBezTo>
                  <a:cubicBezTo>
                    <a:pt x="521793" y="156613"/>
                    <a:pt x="523786" y="158042"/>
                    <a:pt x="526243" y="158042"/>
                  </a:cubicBezTo>
                  <a:cubicBezTo>
                    <a:pt x="527739" y="158202"/>
                    <a:pt x="529625" y="157049"/>
                    <a:pt x="531940" y="154587"/>
                  </a:cubicBezTo>
                  <a:cubicBezTo>
                    <a:pt x="534004" y="152125"/>
                    <a:pt x="536390" y="150934"/>
                    <a:pt x="539095" y="150934"/>
                  </a:cubicBezTo>
                  <a:cubicBezTo>
                    <a:pt x="540447" y="150934"/>
                    <a:pt x="541765" y="151807"/>
                    <a:pt x="542976" y="153556"/>
                  </a:cubicBezTo>
                  <a:cubicBezTo>
                    <a:pt x="544185" y="155343"/>
                    <a:pt x="545646" y="156215"/>
                    <a:pt x="547248" y="156215"/>
                  </a:cubicBezTo>
                  <a:cubicBezTo>
                    <a:pt x="552159" y="156374"/>
                    <a:pt x="555755" y="154468"/>
                    <a:pt x="558070" y="150497"/>
                  </a:cubicBezTo>
                  <a:lnTo>
                    <a:pt x="564015" y="144819"/>
                  </a:lnTo>
                  <a:cubicBezTo>
                    <a:pt x="565368" y="144819"/>
                    <a:pt x="566399" y="146209"/>
                    <a:pt x="567077" y="149067"/>
                  </a:cubicBezTo>
                  <a:cubicBezTo>
                    <a:pt x="567896" y="151928"/>
                    <a:pt x="568964" y="153635"/>
                    <a:pt x="570352" y="154190"/>
                  </a:cubicBezTo>
                  <a:cubicBezTo>
                    <a:pt x="571028" y="154587"/>
                    <a:pt x="572773" y="155143"/>
                    <a:pt x="575656" y="155819"/>
                  </a:cubicBezTo>
                  <a:cubicBezTo>
                    <a:pt x="577827" y="156216"/>
                    <a:pt x="579395" y="156892"/>
                    <a:pt x="580356" y="157844"/>
                  </a:cubicBezTo>
                  <a:cubicBezTo>
                    <a:pt x="580498" y="158122"/>
                    <a:pt x="581495" y="158956"/>
                    <a:pt x="583417" y="160306"/>
                  </a:cubicBezTo>
                  <a:lnTo>
                    <a:pt x="585995" y="164548"/>
                  </a:lnTo>
                  <a:cubicBezTo>
                    <a:pt x="590782" y="163405"/>
                    <a:pt x="594455" y="161185"/>
                    <a:pt x="597146" y="158262"/>
                  </a:cubicBezTo>
                  <a:cubicBezTo>
                    <a:pt x="598101" y="157166"/>
                    <a:pt x="599186" y="154931"/>
                    <a:pt x="600413" y="151533"/>
                  </a:cubicBezTo>
                  <a:lnTo>
                    <a:pt x="602041" y="146636"/>
                  </a:lnTo>
                  <a:cubicBezTo>
                    <a:pt x="602040" y="146088"/>
                    <a:pt x="601769" y="144254"/>
                    <a:pt x="601227" y="141124"/>
                  </a:cubicBezTo>
                  <a:lnTo>
                    <a:pt x="600207" y="134606"/>
                  </a:lnTo>
                  <a:cubicBezTo>
                    <a:pt x="600336" y="132964"/>
                    <a:pt x="601085" y="130459"/>
                    <a:pt x="602452" y="127050"/>
                  </a:cubicBezTo>
                  <a:lnTo>
                    <a:pt x="606728" y="121751"/>
                  </a:lnTo>
                  <a:cubicBezTo>
                    <a:pt x="608367" y="121751"/>
                    <a:pt x="609723" y="122500"/>
                    <a:pt x="610808" y="123998"/>
                  </a:cubicBezTo>
                  <a:cubicBezTo>
                    <a:pt x="611904" y="125631"/>
                    <a:pt x="613130" y="126513"/>
                    <a:pt x="614487" y="126648"/>
                  </a:cubicBezTo>
                  <a:cubicBezTo>
                    <a:pt x="615441" y="126647"/>
                    <a:pt x="617004" y="124266"/>
                    <a:pt x="619185" y="119515"/>
                  </a:cubicBezTo>
                  <a:cubicBezTo>
                    <a:pt x="619185" y="119102"/>
                    <a:pt x="618642" y="118486"/>
                    <a:pt x="617547" y="117671"/>
                  </a:cubicBezTo>
                  <a:cubicBezTo>
                    <a:pt x="616733" y="116855"/>
                    <a:pt x="616331" y="116106"/>
                    <a:pt x="616332" y="115435"/>
                  </a:cubicBezTo>
                  <a:cubicBezTo>
                    <a:pt x="616332" y="114618"/>
                    <a:pt x="617004" y="112573"/>
                    <a:pt x="618372" y="109308"/>
                  </a:cubicBezTo>
                  <a:lnTo>
                    <a:pt x="622853" y="102378"/>
                  </a:lnTo>
                  <a:cubicBezTo>
                    <a:pt x="623938" y="101562"/>
                    <a:pt x="625240" y="99046"/>
                    <a:pt x="626727" y="94831"/>
                  </a:cubicBezTo>
                  <a:lnTo>
                    <a:pt x="630611" y="89321"/>
                  </a:lnTo>
                  <a:cubicBezTo>
                    <a:pt x="631013" y="89321"/>
                    <a:pt x="631763" y="89588"/>
                    <a:pt x="632847" y="90136"/>
                  </a:cubicBezTo>
                  <a:cubicBezTo>
                    <a:pt x="637818" y="90885"/>
                    <a:pt x="641495" y="88649"/>
                    <a:pt x="646118" y="84022"/>
                  </a:cubicBezTo>
                  <a:cubicBezTo>
                    <a:pt x="649926" y="79806"/>
                    <a:pt x="653529" y="75325"/>
                    <a:pt x="656926" y="70562"/>
                  </a:cubicBezTo>
                  <a:cubicBezTo>
                    <a:pt x="657067" y="70427"/>
                    <a:pt x="657338" y="70215"/>
                    <a:pt x="657739" y="69947"/>
                  </a:cubicBezTo>
                  <a:cubicBezTo>
                    <a:pt x="658695" y="68315"/>
                    <a:pt x="659378" y="66012"/>
                    <a:pt x="659779" y="63016"/>
                  </a:cubicBezTo>
                  <a:cubicBezTo>
                    <a:pt x="659780" y="58668"/>
                    <a:pt x="659779" y="55470"/>
                    <a:pt x="659780" y="53435"/>
                  </a:cubicBezTo>
                  <a:lnTo>
                    <a:pt x="662840" y="33850"/>
                  </a:lnTo>
                  <a:cubicBezTo>
                    <a:pt x="662840" y="32899"/>
                    <a:pt x="662710" y="31949"/>
                    <a:pt x="662438" y="30999"/>
                  </a:cubicBezTo>
                  <a:cubicBezTo>
                    <a:pt x="662297" y="30451"/>
                    <a:pt x="662243" y="29847"/>
                    <a:pt x="662244" y="29166"/>
                  </a:cubicBezTo>
                  <a:cubicBezTo>
                    <a:pt x="662242" y="28484"/>
                    <a:pt x="662569" y="27534"/>
                    <a:pt x="663263" y="26304"/>
                  </a:cubicBezTo>
                  <a:cubicBezTo>
                    <a:pt x="663936" y="24817"/>
                    <a:pt x="664283" y="23587"/>
                    <a:pt x="664283" y="22637"/>
                  </a:cubicBezTo>
                  <a:cubicBezTo>
                    <a:pt x="664283" y="19507"/>
                    <a:pt x="663263" y="16590"/>
                    <a:pt x="661223" y="13872"/>
                  </a:cubicBezTo>
                  <a:cubicBezTo>
                    <a:pt x="659183" y="11145"/>
                    <a:pt x="658217" y="8764"/>
                    <a:pt x="658358" y="6729"/>
                  </a:cubicBezTo>
                  <a:cubicBezTo>
                    <a:pt x="658358" y="5365"/>
                    <a:pt x="659508" y="4013"/>
                    <a:pt x="661820" y="2649"/>
                  </a:cubicBezTo>
                  <a:cubicBezTo>
                    <a:pt x="663046" y="1833"/>
                    <a:pt x="664749" y="949"/>
                    <a:pt x="666920" y="0"/>
                  </a:cubicBezTo>
                  <a:close/>
                </a:path>
              </a:pathLst>
            </a:custGeom>
            <a:grpFill/>
            <a:ln w="3175">
              <a:solidFill>
                <a:schemeClr val="bg1"/>
              </a:solidFill>
            </a:ln>
          </p:spPr>
          <p:txBody>
            <a:bodyPr lIns="0" tIns="0" rIns="0" bIns="0" rtlCol="0" anchor="ctr"/>
            <a:lstStyle/>
            <a:p>
              <a:pPr algn="ctr"/>
              <a:endParaRPr lang="en-US"/>
            </a:p>
          </p:txBody>
        </p:sp>
      </p:grpSp>
    </p:spTree>
    <p:extLst>
      <p:ext uri="{BB962C8B-B14F-4D97-AF65-F5344CB8AC3E}">
        <p14:creationId xmlns:p14="http://schemas.microsoft.com/office/powerpoint/2010/main" val="14210316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States">
            <a:extLst>
              <a:ext uri="{FF2B5EF4-FFF2-40B4-BE49-F238E27FC236}">
                <a16:creationId xmlns:a16="http://schemas.microsoft.com/office/drawing/2014/main" id="{1716434F-9A1E-244C-8D6C-447A930D4E69}"/>
              </a:ext>
            </a:extLst>
          </p:cNvPr>
          <p:cNvGrpSpPr/>
          <p:nvPr/>
        </p:nvGrpSpPr>
        <p:grpSpPr>
          <a:xfrm>
            <a:off x="1978917" y="1980484"/>
            <a:ext cx="7683223" cy="3612306"/>
            <a:chOff x="1983466" y="1980484"/>
            <a:chExt cx="7683223" cy="3612306"/>
          </a:xfrm>
        </p:grpSpPr>
        <p:sp>
          <p:nvSpPr>
            <p:cNvPr id="92" name="Wyoming"/>
            <p:cNvSpPr>
              <a:spLocks/>
            </p:cNvSpPr>
            <p:nvPr/>
          </p:nvSpPr>
          <p:spPr bwMode="auto">
            <a:xfrm>
              <a:off x="5313513" y="2692257"/>
              <a:ext cx="766978" cy="565452"/>
            </a:xfrm>
            <a:custGeom>
              <a:avLst/>
              <a:gdLst/>
              <a:ahLst/>
              <a:cxnLst/>
              <a:rect l="0" t="0" r="r" b="b"/>
              <a:pathLst>
                <a:path w="21600" h="21600">
                  <a:moveTo>
                    <a:pt x="19931" y="21600"/>
                  </a:moveTo>
                  <a:lnTo>
                    <a:pt x="21600" y="3052"/>
                  </a:lnTo>
                  <a:lnTo>
                    <a:pt x="2749" y="0"/>
                  </a:lnTo>
                  <a:lnTo>
                    <a:pt x="0" y="18313"/>
                  </a:lnTo>
                  <a:cubicBezTo>
                    <a:pt x="0" y="18313"/>
                    <a:pt x="19931" y="21600"/>
                    <a:pt x="19931" y="21600"/>
                  </a:cubicBezTo>
                  <a:close/>
                  <a:moveTo>
                    <a:pt x="19931"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0" name="Wisconsin"/>
            <p:cNvSpPr>
              <a:spLocks/>
            </p:cNvSpPr>
            <p:nvPr/>
          </p:nvSpPr>
          <p:spPr bwMode="auto">
            <a:xfrm>
              <a:off x="7165837" y="2555047"/>
              <a:ext cx="547229" cy="561700"/>
            </a:xfrm>
            <a:custGeom>
              <a:avLst/>
              <a:gdLst/>
              <a:ahLst/>
              <a:cxnLst/>
              <a:rect l="0" t="0" r="r" b="b"/>
              <a:pathLst>
                <a:path w="21600" h="21600">
                  <a:moveTo>
                    <a:pt x="7455" y="0"/>
                  </a:moveTo>
                  <a:lnTo>
                    <a:pt x="6030" y="471"/>
                  </a:lnTo>
                  <a:lnTo>
                    <a:pt x="4823" y="1036"/>
                  </a:lnTo>
                  <a:lnTo>
                    <a:pt x="3837" y="1601"/>
                  </a:lnTo>
                  <a:lnTo>
                    <a:pt x="2527" y="1227"/>
                  </a:lnTo>
                  <a:lnTo>
                    <a:pt x="1927" y="2086"/>
                  </a:lnTo>
                  <a:lnTo>
                    <a:pt x="2340" y="3091"/>
                  </a:lnTo>
                  <a:lnTo>
                    <a:pt x="1927" y="3904"/>
                  </a:lnTo>
                  <a:lnTo>
                    <a:pt x="1239" y="4687"/>
                  </a:lnTo>
                  <a:lnTo>
                    <a:pt x="281" y="5784"/>
                  </a:lnTo>
                  <a:lnTo>
                    <a:pt x="281" y="6708"/>
                  </a:lnTo>
                  <a:lnTo>
                    <a:pt x="281" y="8100"/>
                  </a:lnTo>
                  <a:lnTo>
                    <a:pt x="0" y="8943"/>
                  </a:lnTo>
                  <a:lnTo>
                    <a:pt x="226" y="9980"/>
                  </a:lnTo>
                  <a:lnTo>
                    <a:pt x="413" y="10835"/>
                  </a:lnTo>
                  <a:lnTo>
                    <a:pt x="1324" y="11382"/>
                  </a:lnTo>
                  <a:lnTo>
                    <a:pt x="2569" y="12212"/>
                  </a:lnTo>
                  <a:lnTo>
                    <a:pt x="3441" y="12828"/>
                  </a:lnTo>
                  <a:lnTo>
                    <a:pt x="4820" y="13933"/>
                  </a:lnTo>
                  <a:lnTo>
                    <a:pt x="5788" y="14622"/>
                  </a:lnTo>
                  <a:lnTo>
                    <a:pt x="6332" y="14972"/>
                  </a:lnTo>
                  <a:lnTo>
                    <a:pt x="6332" y="16155"/>
                  </a:lnTo>
                  <a:lnTo>
                    <a:pt x="6332" y="16982"/>
                  </a:lnTo>
                  <a:lnTo>
                    <a:pt x="6332" y="18519"/>
                  </a:lnTo>
                  <a:lnTo>
                    <a:pt x="6332" y="19819"/>
                  </a:lnTo>
                  <a:lnTo>
                    <a:pt x="7709" y="20411"/>
                  </a:lnTo>
                  <a:lnTo>
                    <a:pt x="9162" y="21600"/>
                  </a:lnTo>
                  <a:lnTo>
                    <a:pt x="19626" y="21093"/>
                  </a:lnTo>
                  <a:lnTo>
                    <a:pt x="19626" y="19681"/>
                  </a:lnTo>
                  <a:lnTo>
                    <a:pt x="19626" y="18551"/>
                  </a:lnTo>
                  <a:lnTo>
                    <a:pt x="18968" y="16982"/>
                  </a:lnTo>
                  <a:lnTo>
                    <a:pt x="19626" y="16155"/>
                  </a:lnTo>
                  <a:lnTo>
                    <a:pt x="19626" y="15443"/>
                  </a:lnTo>
                  <a:lnTo>
                    <a:pt x="19626" y="13560"/>
                  </a:lnTo>
                  <a:lnTo>
                    <a:pt x="20284" y="12828"/>
                  </a:lnTo>
                  <a:lnTo>
                    <a:pt x="20284" y="12147"/>
                  </a:lnTo>
                  <a:lnTo>
                    <a:pt x="20942" y="10076"/>
                  </a:lnTo>
                  <a:lnTo>
                    <a:pt x="21600" y="8352"/>
                  </a:lnTo>
                  <a:lnTo>
                    <a:pt x="21600" y="8004"/>
                  </a:lnTo>
                  <a:lnTo>
                    <a:pt x="20613" y="8946"/>
                  </a:lnTo>
                  <a:lnTo>
                    <a:pt x="19736" y="9605"/>
                  </a:lnTo>
                  <a:lnTo>
                    <a:pt x="18859" y="10800"/>
                  </a:lnTo>
                  <a:lnTo>
                    <a:pt x="18311" y="10800"/>
                  </a:lnTo>
                  <a:lnTo>
                    <a:pt x="18749" y="9605"/>
                  </a:lnTo>
                  <a:lnTo>
                    <a:pt x="19078" y="9040"/>
                  </a:lnTo>
                  <a:lnTo>
                    <a:pt x="19886" y="8477"/>
                  </a:lnTo>
                  <a:lnTo>
                    <a:pt x="19399" y="7450"/>
                  </a:lnTo>
                  <a:lnTo>
                    <a:pt x="19104" y="6775"/>
                  </a:lnTo>
                  <a:lnTo>
                    <a:pt x="18859" y="6215"/>
                  </a:lnTo>
                  <a:lnTo>
                    <a:pt x="18859" y="5278"/>
                  </a:lnTo>
                  <a:lnTo>
                    <a:pt x="17762" y="4708"/>
                  </a:lnTo>
                  <a:lnTo>
                    <a:pt x="17214" y="4237"/>
                  </a:lnTo>
                  <a:lnTo>
                    <a:pt x="15131" y="4143"/>
                  </a:lnTo>
                  <a:lnTo>
                    <a:pt x="14253" y="3590"/>
                  </a:lnTo>
                  <a:lnTo>
                    <a:pt x="11976" y="3091"/>
                  </a:lnTo>
                  <a:lnTo>
                    <a:pt x="10600" y="3091"/>
                  </a:lnTo>
                  <a:lnTo>
                    <a:pt x="9977" y="2448"/>
                  </a:lnTo>
                  <a:lnTo>
                    <a:pt x="9538" y="1977"/>
                  </a:lnTo>
                  <a:lnTo>
                    <a:pt x="8771" y="1601"/>
                  </a:lnTo>
                  <a:lnTo>
                    <a:pt x="8003" y="1507"/>
                  </a:lnTo>
                  <a:lnTo>
                    <a:pt x="7345" y="1601"/>
                  </a:lnTo>
                  <a:lnTo>
                    <a:pt x="7455" y="659"/>
                  </a:lnTo>
                  <a:cubicBezTo>
                    <a:pt x="7455" y="659"/>
                    <a:pt x="7455" y="0"/>
                    <a:pt x="7455" y="0"/>
                  </a:cubicBezTo>
                  <a:close/>
                  <a:moveTo>
                    <a:pt x="7455"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0" name="West Virginia"/>
            <p:cNvSpPr>
              <a:spLocks/>
            </p:cNvSpPr>
            <p:nvPr/>
          </p:nvSpPr>
          <p:spPr bwMode="auto">
            <a:xfrm>
              <a:off x="8263511" y="3305410"/>
              <a:ext cx="494167" cy="371965"/>
            </a:xfrm>
            <a:custGeom>
              <a:avLst/>
              <a:gdLst/>
              <a:ahLst/>
              <a:cxnLst/>
              <a:rect l="0" t="0" r="r" b="b"/>
              <a:pathLst>
                <a:path w="21600" h="21600">
                  <a:moveTo>
                    <a:pt x="0" y="14816"/>
                  </a:moveTo>
                  <a:lnTo>
                    <a:pt x="971" y="13073"/>
                  </a:lnTo>
                  <a:lnTo>
                    <a:pt x="971" y="11368"/>
                  </a:lnTo>
                  <a:lnTo>
                    <a:pt x="1578" y="9663"/>
                  </a:lnTo>
                  <a:lnTo>
                    <a:pt x="2184" y="9663"/>
                  </a:lnTo>
                  <a:lnTo>
                    <a:pt x="3155" y="9663"/>
                  </a:lnTo>
                  <a:lnTo>
                    <a:pt x="3155" y="8526"/>
                  </a:lnTo>
                  <a:lnTo>
                    <a:pt x="3714" y="6852"/>
                  </a:lnTo>
                  <a:lnTo>
                    <a:pt x="4247" y="5680"/>
                  </a:lnTo>
                  <a:lnTo>
                    <a:pt x="4975" y="6852"/>
                  </a:lnTo>
                  <a:lnTo>
                    <a:pt x="5582" y="5680"/>
                  </a:lnTo>
                  <a:lnTo>
                    <a:pt x="6553" y="4087"/>
                  </a:lnTo>
                  <a:lnTo>
                    <a:pt x="6553" y="2961"/>
                  </a:lnTo>
                  <a:lnTo>
                    <a:pt x="6553" y="1421"/>
                  </a:lnTo>
                  <a:lnTo>
                    <a:pt x="7766" y="0"/>
                  </a:lnTo>
                  <a:lnTo>
                    <a:pt x="7766" y="2132"/>
                  </a:lnTo>
                  <a:lnTo>
                    <a:pt x="7766" y="2961"/>
                  </a:lnTo>
                  <a:lnTo>
                    <a:pt x="12863" y="1989"/>
                  </a:lnTo>
                  <a:lnTo>
                    <a:pt x="14318" y="1794"/>
                  </a:lnTo>
                  <a:lnTo>
                    <a:pt x="16249" y="1464"/>
                  </a:lnTo>
                  <a:lnTo>
                    <a:pt x="17677" y="1220"/>
                  </a:lnTo>
                  <a:lnTo>
                    <a:pt x="19416" y="853"/>
                  </a:lnTo>
                  <a:lnTo>
                    <a:pt x="20265" y="1705"/>
                  </a:lnTo>
                  <a:lnTo>
                    <a:pt x="21600" y="3553"/>
                  </a:lnTo>
                  <a:lnTo>
                    <a:pt x="21115" y="4974"/>
                  </a:lnTo>
                  <a:lnTo>
                    <a:pt x="18687" y="3553"/>
                  </a:lnTo>
                  <a:lnTo>
                    <a:pt x="18202" y="4831"/>
                  </a:lnTo>
                  <a:lnTo>
                    <a:pt x="17662" y="6332"/>
                  </a:lnTo>
                  <a:lnTo>
                    <a:pt x="17011" y="7408"/>
                  </a:lnTo>
                  <a:lnTo>
                    <a:pt x="16625" y="8384"/>
                  </a:lnTo>
                  <a:lnTo>
                    <a:pt x="15897" y="8526"/>
                  </a:lnTo>
                  <a:lnTo>
                    <a:pt x="15030" y="10219"/>
                  </a:lnTo>
                  <a:lnTo>
                    <a:pt x="14198" y="11368"/>
                  </a:lnTo>
                  <a:lnTo>
                    <a:pt x="13512" y="10777"/>
                  </a:lnTo>
                  <a:lnTo>
                    <a:pt x="12620" y="13073"/>
                  </a:lnTo>
                  <a:lnTo>
                    <a:pt x="11790" y="15543"/>
                  </a:lnTo>
                  <a:lnTo>
                    <a:pt x="10921" y="17639"/>
                  </a:lnTo>
                  <a:lnTo>
                    <a:pt x="10921" y="19045"/>
                  </a:lnTo>
                  <a:lnTo>
                    <a:pt x="9829" y="19045"/>
                  </a:lnTo>
                  <a:lnTo>
                    <a:pt x="9829" y="20179"/>
                  </a:lnTo>
                  <a:lnTo>
                    <a:pt x="8616" y="20179"/>
                  </a:lnTo>
                  <a:lnTo>
                    <a:pt x="8616" y="20901"/>
                  </a:lnTo>
                  <a:lnTo>
                    <a:pt x="7402" y="21600"/>
                  </a:lnTo>
                  <a:lnTo>
                    <a:pt x="6432" y="20901"/>
                  </a:lnTo>
                  <a:lnTo>
                    <a:pt x="5582" y="21600"/>
                  </a:lnTo>
                  <a:lnTo>
                    <a:pt x="3714" y="21600"/>
                  </a:lnTo>
                  <a:lnTo>
                    <a:pt x="3155" y="20747"/>
                  </a:lnTo>
                  <a:lnTo>
                    <a:pt x="2427" y="19753"/>
                  </a:lnTo>
                  <a:lnTo>
                    <a:pt x="1456" y="19045"/>
                  </a:lnTo>
                  <a:lnTo>
                    <a:pt x="795" y="17951"/>
                  </a:lnTo>
                  <a:lnTo>
                    <a:pt x="0" y="17053"/>
                  </a:lnTo>
                  <a:cubicBezTo>
                    <a:pt x="0" y="17053"/>
                    <a:pt x="0" y="14816"/>
                    <a:pt x="0" y="14816"/>
                  </a:cubicBezTo>
                  <a:close/>
                  <a:moveTo>
                    <a:pt x="0" y="1481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5" name="Washington"/>
            <p:cNvSpPr>
              <a:spLocks/>
            </p:cNvSpPr>
            <p:nvPr/>
          </p:nvSpPr>
          <p:spPr bwMode="auto">
            <a:xfrm>
              <a:off x="4262469" y="1980484"/>
              <a:ext cx="718741" cy="479697"/>
            </a:xfrm>
            <a:custGeom>
              <a:avLst/>
              <a:gdLst/>
              <a:ahLst/>
              <a:cxnLst/>
              <a:rect l="0" t="0" r="r" b="b"/>
              <a:pathLst>
                <a:path w="21600" h="21600">
                  <a:moveTo>
                    <a:pt x="6711" y="0"/>
                  </a:moveTo>
                  <a:lnTo>
                    <a:pt x="21600" y="5538"/>
                  </a:lnTo>
                  <a:lnTo>
                    <a:pt x="18874" y="19800"/>
                  </a:lnTo>
                  <a:lnTo>
                    <a:pt x="19188" y="20492"/>
                  </a:lnTo>
                  <a:lnTo>
                    <a:pt x="18664" y="21600"/>
                  </a:lnTo>
                  <a:lnTo>
                    <a:pt x="13317" y="19523"/>
                  </a:lnTo>
                  <a:lnTo>
                    <a:pt x="12373" y="19938"/>
                  </a:lnTo>
                  <a:lnTo>
                    <a:pt x="11639" y="19800"/>
                  </a:lnTo>
                  <a:lnTo>
                    <a:pt x="10590" y="19662"/>
                  </a:lnTo>
                  <a:lnTo>
                    <a:pt x="9542" y="19800"/>
                  </a:lnTo>
                  <a:lnTo>
                    <a:pt x="8283" y="19246"/>
                  </a:lnTo>
                  <a:lnTo>
                    <a:pt x="7130" y="19523"/>
                  </a:lnTo>
                  <a:lnTo>
                    <a:pt x="5767" y="18692"/>
                  </a:lnTo>
                  <a:lnTo>
                    <a:pt x="4299" y="18692"/>
                  </a:lnTo>
                  <a:lnTo>
                    <a:pt x="2831" y="18000"/>
                  </a:lnTo>
                  <a:lnTo>
                    <a:pt x="2831" y="16200"/>
                  </a:lnTo>
                  <a:lnTo>
                    <a:pt x="2831" y="15508"/>
                  </a:lnTo>
                  <a:lnTo>
                    <a:pt x="1754" y="14390"/>
                  </a:lnTo>
                  <a:lnTo>
                    <a:pt x="944" y="13708"/>
                  </a:lnTo>
                  <a:lnTo>
                    <a:pt x="0" y="13154"/>
                  </a:lnTo>
                  <a:lnTo>
                    <a:pt x="0" y="11492"/>
                  </a:lnTo>
                  <a:lnTo>
                    <a:pt x="0" y="10108"/>
                  </a:lnTo>
                  <a:lnTo>
                    <a:pt x="629" y="9415"/>
                  </a:lnTo>
                  <a:lnTo>
                    <a:pt x="524" y="8723"/>
                  </a:lnTo>
                  <a:lnTo>
                    <a:pt x="0" y="7615"/>
                  </a:lnTo>
                  <a:lnTo>
                    <a:pt x="734" y="6092"/>
                  </a:lnTo>
                  <a:lnTo>
                    <a:pt x="524" y="4708"/>
                  </a:lnTo>
                  <a:lnTo>
                    <a:pt x="0" y="3462"/>
                  </a:lnTo>
                  <a:lnTo>
                    <a:pt x="629" y="2492"/>
                  </a:lnTo>
                  <a:lnTo>
                    <a:pt x="839" y="1523"/>
                  </a:lnTo>
                  <a:lnTo>
                    <a:pt x="5557" y="4846"/>
                  </a:lnTo>
                  <a:lnTo>
                    <a:pt x="5662" y="6369"/>
                  </a:lnTo>
                  <a:lnTo>
                    <a:pt x="5348" y="7200"/>
                  </a:lnTo>
                  <a:lnTo>
                    <a:pt x="5243" y="8169"/>
                  </a:lnTo>
                  <a:lnTo>
                    <a:pt x="5348" y="9138"/>
                  </a:lnTo>
                  <a:lnTo>
                    <a:pt x="5872" y="8585"/>
                  </a:lnTo>
                  <a:lnTo>
                    <a:pt x="6082" y="7477"/>
                  </a:lnTo>
                  <a:lnTo>
                    <a:pt x="6396" y="6785"/>
                  </a:lnTo>
                  <a:lnTo>
                    <a:pt x="7235" y="6092"/>
                  </a:lnTo>
                  <a:lnTo>
                    <a:pt x="6711" y="5262"/>
                  </a:lnTo>
                  <a:lnTo>
                    <a:pt x="6711" y="4431"/>
                  </a:lnTo>
                  <a:lnTo>
                    <a:pt x="6501" y="3600"/>
                  </a:lnTo>
                  <a:lnTo>
                    <a:pt x="6816" y="2631"/>
                  </a:lnTo>
                  <a:lnTo>
                    <a:pt x="6711" y="1939"/>
                  </a:lnTo>
                  <a:lnTo>
                    <a:pt x="6501" y="692"/>
                  </a:lnTo>
                  <a:cubicBezTo>
                    <a:pt x="6501" y="692"/>
                    <a:pt x="6711" y="0"/>
                    <a:pt x="6711" y="0"/>
                  </a:cubicBezTo>
                  <a:close/>
                  <a:moveTo>
                    <a:pt x="6711"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9" name="Virginia"/>
            <p:cNvSpPr>
              <a:spLocks/>
            </p:cNvSpPr>
            <p:nvPr/>
          </p:nvSpPr>
          <p:spPr bwMode="auto">
            <a:xfrm>
              <a:off x="8177755" y="3365439"/>
              <a:ext cx="836119" cy="426099"/>
            </a:xfrm>
            <a:custGeom>
              <a:avLst/>
              <a:gdLst/>
              <a:ahLst/>
              <a:cxnLst/>
              <a:rect l="0" t="0" r="r" b="b"/>
              <a:pathLst>
                <a:path w="21600" h="21600">
                  <a:moveTo>
                    <a:pt x="10284" y="6311"/>
                  </a:moveTo>
                  <a:lnTo>
                    <a:pt x="9900" y="7448"/>
                  </a:lnTo>
                  <a:lnTo>
                    <a:pt x="9613" y="9186"/>
                  </a:lnTo>
                  <a:lnTo>
                    <a:pt x="9110" y="11048"/>
                  </a:lnTo>
                  <a:lnTo>
                    <a:pt x="8752" y="12306"/>
                  </a:lnTo>
                  <a:lnTo>
                    <a:pt x="8752" y="13534"/>
                  </a:lnTo>
                  <a:lnTo>
                    <a:pt x="8465" y="13534"/>
                  </a:lnTo>
                  <a:lnTo>
                    <a:pt x="8106" y="13534"/>
                  </a:lnTo>
                  <a:lnTo>
                    <a:pt x="8106" y="14524"/>
                  </a:lnTo>
                  <a:lnTo>
                    <a:pt x="7388" y="14524"/>
                  </a:lnTo>
                  <a:lnTo>
                    <a:pt x="7388" y="15155"/>
                  </a:lnTo>
                  <a:lnTo>
                    <a:pt x="6670" y="15766"/>
                  </a:lnTo>
                  <a:lnTo>
                    <a:pt x="6096" y="15155"/>
                  </a:lnTo>
                  <a:lnTo>
                    <a:pt x="5593" y="15766"/>
                  </a:lnTo>
                  <a:lnTo>
                    <a:pt x="4488" y="15766"/>
                  </a:lnTo>
                  <a:lnTo>
                    <a:pt x="4158" y="15021"/>
                  </a:lnTo>
                  <a:lnTo>
                    <a:pt x="3015" y="16518"/>
                  </a:lnTo>
                  <a:lnTo>
                    <a:pt x="2292" y="16987"/>
                  </a:lnTo>
                  <a:lnTo>
                    <a:pt x="1861" y="18745"/>
                  </a:lnTo>
                  <a:lnTo>
                    <a:pt x="1215" y="19738"/>
                  </a:lnTo>
                  <a:lnTo>
                    <a:pt x="0" y="21600"/>
                  </a:lnTo>
                  <a:lnTo>
                    <a:pt x="1816" y="21337"/>
                  </a:lnTo>
                  <a:lnTo>
                    <a:pt x="4488" y="20571"/>
                  </a:lnTo>
                  <a:lnTo>
                    <a:pt x="7102" y="20172"/>
                  </a:lnTo>
                  <a:lnTo>
                    <a:pt x="21313" y="15766"/>
                  </a:lnTo>
                  <a:lnTo>
                    <a:pt x="21600" y="15155"/>
                  </a:lnTo>
                  <a:lnTo>
                    <a:pt x="21313" y="13630"/>
                  </a:lnTo>
                  <a:lnTo>
                    <a:pt x="20667" y="13534"/>
                  </a:lnTo>
                  <a:lnTo>
                    <a:pt x="19949" y="13534"/>
                  </a:lnTo>
                  <a:lnTo>
                    <a:pt x="19590" y="13534"/>
                  </a:lnTo>
                  <a:lnTo>
                    <a:pt x="20236" y="12306"/>
                  </a:lnTo>
                  <a:lnTo>
                    <a:pt x="19662" y="11793"/>
                  </a:lnTo>
                  <a:lnTo>
                    <a:pt x="19806" y="10924"/>
                  </a:lnTo>
                  <a:lnTo>
                    <a:pt x="20308" y="10428"/>
                  </a:lnTo>
                  <a:lnTo>
                    <a:pt x="19877" y="9559"/>
                  </a:lnTo>
                  <a:lnTo>
                    <a:pt x="19877" y="7945"/>
                  </a:lnTo>
                  <a:lnTo>
                    <a:pt x="19519" y="6311"/>
                  </a:lnTo>
                  <a:lnTo>
                    <a:pt x="18585" y="6311"/>
                  </a:lnTo>
                  <a:lnTo>
                    <a:pt x="17796" y="6311"/>
                  </a:lnTo>
                  <a:lnTo>
                    <a:pt x="17437" y="5586"/>
                  </a:lnTo>
                  <a:lnTo>
                    <a:pt x="16647" y="6311"/>
                  </a:lnTo>
                  <a:lnTo>
                    <a:pt x="16690" y="4731"/>
                  </a:lnTo>
                  <a:lnTo>
                    <a:pt x="16719" y="3644"/>
                  </a:lnTo>
                  <a:lnTo>
                    <a:pt x="16073" y="2883"/>
                  </a:lnTo>
                  <a:lnTo>
                    <a:pt x="16001" y="1859"/>
                  </a:lnTo>
                  <a:lnTo>
                    <a:pt x="15642" y="467"/>
                  </a:lnTo>
                  <a:lnTo>
                    <a:pt x="15068" y="0"/>
                  </a:lnTo>
                  <a:lnTo>
                    <a:pt x="14781" y="1241"/>
                  </a:lnTo>
                  <a:lnTo>
                    <a:pt x="13345" y="0"/>
                  </a:lnTo>
                  <a:lnTo>
                    <a:pt x="13058" y="1117"/>
                  </a:lnTo>
                  <a:lnTo>
                    <a:pt x="12900" y="1769"/>
                  </a:lnTo>
                  <a:lnTo>
                    <a:pt x="12484" y="2883"/>
                  </a:lnTo>
                  <a:lnTo>
                    <a:pt x="12125" y="4221"/>
                  </a:lnTo>
                  <a:lnTo>
                    <a:pt x="11695" y="4345"/>
                  </a:lnTo>
                  <a:lnTo>
                    <a:pt x="11013" y="6311"/>
                  </a:lnTo>
                  <a:lnTo>
                    <a:pt x="10690" y="6828"/>
                  </a:lnTo>
                  <a:cubicBezTo>
                    <a:pt x="10690" y="6828"/>
                    <a:pt x="10284" y="6311"/>
                    <a:pt x="10284" y="6311"/>
                  </a:cubicBezTo>
                  <a:close/>
                  <a:moveTo>
                    <a:pt x="10284" y="6311"/>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2" name="Vermont"/>
            <p:cNvSpPr>
              <a:spLocks/>
            </p:cNvSpPr>
            <p:nvPr/>
          </p:nvSpPr>
          <p:spPr bwMode="auto">
            <a:xfrm>
              <a:off x="9052464" y="2555047"/>
              <a:ext cx="176336" cy="315689"/>
            </a:xfrm>
            <a:custGeom>
              <a:avLst/>
              <a:gdLst/>
              <a:ahLst/>
              <a:cxnLst/>
              <a:rect l="0" t="0" r="r" b="b"/>
              <a:pathLst>
                <a:path w="21600" h="21600">
                  <a:moveTo>
                    <a:pt x="21600" y="0"/>
                  </a:moveTo>
                  <a:lnTo>
                    <a:pt x="21600" y="2344"/>
                  </a:lnTo>
                  <a:lnTo>
                    <a:pt x="21600" y="4353"/>
                  </a:lnTo>
                  <a:lnTo>
                    <a:pt x="20409" y="5497"/>
                  </a:lnTo>
                  <a:lnTo>
                    <a:pt x="18113" y="6530"/>
                  </a:lnTo>
                  <a:lnTo>
                    <a:pt x="18113" y="8707"/>
                  </a:lnTo>
                  <a:lnTo>
                    <a:pt x="18113" y="11721"/>
                  </a:lnTo>
                  <a:lnTo>
                    <a:pt x="16523" y="14353"/>
                  </a:lnTo>
                  <a:lnTo>
                    <a:pt x="16542" y="19134"/>
                  </a:lnTo>
                  <a:lnTo>
                    <a:pt x="17408" y="20344"/>
                  </a:lnTo>
                  <a:lnTo>
                    <a:pt x="9694" y="21600"/>
                  </a:lnTo>
                  <a:lnTo>
                    <a:pt x="6665" y="19791"/>
                  </a:lnTo>
                  <a:lnTo>
                    <a:pt x="5103" y="19204"/>
                  </a:lnTo>
                  <a:lnTo>
                    <a:pt x="6550" y="17430"/>
                  </a:lnTo>
                  <a:lnTo>
                    <a:pt x="6607" y="16354"/>
                  </a:lnTo>
                  <a:lnTo>
                    <a:pt x="5649" y="14897"/>
                  </a:lnTo>
                  <a:lnTo>
                    <a:pt x="5103" y="14065"/>
                  </a:lnTo>
                  <a:lnTo>
                    <a:pt x="3232" y="14065"/>
                  </a:lnTo>
                  <a:lnTo>
                    <a:pt x="3232" y="12726"/>
                  </a:lnTo>
                  <a:lnTo>
                    <a:pt x="511" y="11051"/>
                  </a:lnTo>
                  <a:lnTo>
                    <a:pt x="1771" y="10017"/>
                  </a:lnTo>
                  <a:lnTo>
                    <a:pt x="2551" y="9377"/>
                  </a:lnTo>
                  <a:lnTo>
                    <a:pt x="2011" y="7242"/>
                  </a:lnTo>
                  <a:lnTo>
                    <a:pt x="511" y="5497"/>
                  </a:lnTo>
                  <a:lnTo>
                    <a:pt x="0" y="3181"/>
                  </a:lnTo>
                  <a:lnTo>
                    <a:pt x="5103" y="2511"/>
                  </a:lnTo>
                  <a:lnTo>
                    <a:pt x="9694" y="1172"/>
                  </a:lnTo>
                  <a:lnTo>
                    <a:pt x="16157" y="0"/>
                  </a:lnTo>
                  <a:cubicBezTo>
                    <a:pt x="16157" y="0"/>
                    <a:pt x="21600" y="0"/>
                    <a:pt x="21600" y="0"/>
                  </a:cubicBezTo>
                  <a:close/>
                  <a:moveTo>
                    <a:pt x="21600"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0" name="Utah"/>
            <p:cNvSpPr>
              <a:spLocks/>
            </p:cNvSpPr>
            <p:nvPr/>
          </p:nvSpPr>
          <p:spPr bwMode="auto">
            <a:xfrm>
              <a:off x="4884734" y="2988113"/>
              <a:ext cx="627625" cy="711773"/>
            </a:xfrm>
            <a:custGeom>
              <a:avLst/>
              <a:gdLst/>
              <a:ahLst/>
              <a:cxnLst/>
              <a:rect l="0" t="0" r="r" b="b"/>
              <a:pathLst>
                <a:path w="21600" h="21600">
                  <a:moveTo>
                    <a:pt x="21600" y="6280"/>
                  </a:moveTo>
                  <a:lnTo>
                    <a:pt x="18403" y="21600"/>
                  </a:lnTo>
                  <a:lnTo>
                    <a:pt x="0" y="18909"/>
                  </a:lnTo>
                  <a:lnTo>
                    <a:pt x="5571" y="0"/>
                  </a:lnTo>
                  <a:lnTo>
                    <a:pt x="15718" y="1614"/>
                  </a:lnTo>
                  <a:lnTo>
                    <a:pt x="14877" y="5253"/>
                  </a:lnTo>
                  <a:cubicBezTo>
                    <a:pt x="14877" y="5253"/>
                    <a:pt x="21600" y="6280"/>
                    <a:pt x="21600" y="6280"/>
                  </a:cubicBezTo>
                  <a:close/>
                  <a:moveTo>
                    <a:pt x="21600" y="628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6" name="Texas"/>
            <p:cNvSpPr>
              <a:spLocks/>
            </p:cNvSpPr>
            <p:nvPr/>
          </p:nvSpPr>
          <p:spPr bwMode="auto">
            <a:xfrm>
              <a:off x="5583644" y="3837095"/>
              <a:ext cx="1506621" cy="1346901"/>
            </a:xfrm>
            <a:custGeom>
              <a:avLst/>
              <a:gdLst/>
              <a:ahLst/>
              <a:cxnLst/>
              <a:rect l="0" t="0" r="r" b="b"/>
              <a:pathLst>
                <a:path w="21600" h="21600">
                  <a:moveTo>
                    <a:pt x="15150" y="21255"/>
                  </a:moveTo>
                  <a:lnTo>
                    <a:pt x="14900" y="21255"/>
                  </a:lnTo>
                  <a:lnTo>
                    <a:pt x="14600" y="21600"/>
                  </a:lnTo>
                  <a:lnTo>
                    <a:pt x="14100" y="21008"/>
                  </a:lnTo>
                  <a:lnTo>
                    <a:pt x="13500" y="21008"/>
                  </a:lnTo>
                  <a:lnTo>
                    <a:pt x="13050" y="21008"/>
                  </a:lnTo>
                  <a:lnTo>
                    <a:pt x="12700" y="20712"/>
                  </a:lnTo>
                  <a:lnTo>
                    <a:pt x="12250" y="20416"/>
                  </a:lnTo>
                  <a:lnTo>
                    <a:pt x="11750" y="20416"/>
                  </a:lnTo>
                  <a:lnTo>
                    <a:pt x="11750" y="20071"/>
                  </a:lnTo>
                  <a:lnTo>
                    <a:pt x="11750" y="19627"/>
                  </a:lnTo>
                  <a:lnTo>
                    <a:pt x="11300" y="19233"/>
                  </a:lnTo>
                  <a:lnTo>
                    <a:pt x="11300" y="18542"/>
                  </a:lnTo>
                  <a:lnTo>
                    <a:pt x="11100" y="18000"/>
                  </a:lnTo>
                  <a:lnTo>
                    <a:pt x="10800" y="17606"/>
                  </a:lnTo>
                  <a:lnTo>
                    <a:pt x="10500" y="17211"/>
                  </a:lnTo>
                  <a:lnTo>
                    <a:pt x="10500" y="16866"/>
                  </a:lnTo>
                  <a:lnTo>
                    <a:pt x="9950" y="16471"/>
                  </a:lnTo>
                  <a:lnTo>
                    <a:pt x="9950" y="15929"/>
                  </a:lnTo>
                  <a:lnTo>
                    <a:pt x="9550" y="15238"/>
                  </a:lnTo>
                  <a:lnTo>
                    <a:pt x="9300" y="14745"/>
                  </a:lnTo>
                  <a:lnTo>
                    <a:pt x="8850" y="14203"/>
                  </a:lnTo>
                  <a:lnTo>
                    <a:pt x="8450" y="13710"/>
                  </a:lnTo>
                  <a:lnTo>
                    <a:pt x="8200" y="13463"/>
                  </a:lnTo>
                  <a:lnTo>
                    <a:pt x="7450" y="13266"/>
                  </a:lnTo>
                  <a:lnTo>
                    <a:pt x="6900" y="13266"/>
                  </a:lnTo>
                  <a:lnTo>
                    <a:pt x="6550" y="13266"/>
                  </a:lnTo>
                  <a:lnTo>
                    <a:pt x="6150" y="13266"/>
                  </a:lnTo>
                  <a:lnTo>
                    <a:pt x="5700" y="13907"/>
                  </a:lnTo>
                  <a:lnTo>
                    <a:pt x="5450" y="14400"/>
                  </a:lnTo>
                  <a:lnTo>
                    <a:pt x="5050" y="14548"/>
                  </a:lnTo>
                  <a:lnTo>
                    <a:pt x="4500" y="14252"/>
                  </a:lnTo>
                  <a:lnTo>
                    <a:pt x="4000" y="14055"/>
                  </a:lnTo>
                  <a:lnTo>
                    <a:pt x="3650" y="13611"/>
                  </a:lnTo>
                  <a:lnTo>
                    <a:pt x="3375" y="13266"/>
                  </a:lnTo>
                  <a:lnTo>
                    <a:pt x="2950" y="13019"/>
                  </a:lnTo>
                  <a:lnTo>
                    <a:pt x="2950" y="12427"/>
                  </a:lnTo>
                  <a:lnTo>
                    <a:pt x="2950" y="11984"/>
                  </a:lnTo>
                  <a:lnTo>
                    <a:pt x="2450" y="11342"/>
                  </a:lnTo>
                  <a:lnTo>
                    <a:pt x="2150" y="10899"/>
                  </a:lnTo>
                  <a:lnTo>
                    <a:pt x="1650" y="10504"/>
                  </a:lnTo>
                  <a:lnTo>
                    <a:pt x="1375" y="10159"/>
                  </a:lnTo>
                  <a:lnTo>
                    <a:pt x="1375" y="9764"/>
                  </a:lnTo>
                  <a:lnTo>
                    <a:pt x="1000" y="9567"/>
                  </a:lnTo>
                  <a:lnTo>
                    <a:pt x="1000" y="9271"/>
                  </a:lnTo>
                  <a:lnTo>
                    <a:pt x="650" y="9271"/>
                  </a:lnTo>
                  <a:lnTo>
                    <a:pt x="400" y="8778"/>
                  </a:lnTo>
                  <a:lnTo>
                    <a:pt x="0" y="8433"/>
                  </a:lnTo>
                  <a:lnTo>
                    <a:pt x="0" y="8088"/>
                  </a:lnTo>
                  <a:lnTo>
                    <a:pt x="5850" y="8778"/>
                  </a:lnTo>
                  <a:lnTo>
                    <a:pt x="6784" y="0"/>
                  </a:lnTo>
                  <a:lnTo>
                    <a:pt x="11450" y="296"/>
                  </a:lnTo>
                  <a:lnTo>
                    <a:pt x="11250" y="3847"/>
                  </a:lnTo>
                  <a:lnTo>
                    <a:pt x="11550" y="4340"/>
                  </a:lnTo>
                  <a:lnTo>
                    <a:pt x="11759" y="4400"/>
                  </a:lnTo>
                  <a:lnTo>
                    <a:pt x="12350" y="4340"/>
                  </a:lnTo>
                  <a:lnTo>
                    <a:pt x="12650" y="4734"/>
                  </a:lnTo>
                  <a:lnTo>
                    <a:pt x="12969" y="4869"/>
                  </a:lnTo>
                  <a:lnTo>
                    <a:pt x="13350" y="5030"/>
                  </a:lnTo>
                  <a:lnTo>
                    <a:pt x="13750" y="5277"/>
                  </a:lnTo>
                  <a:lnTo>
                    <a:pt x="14150" y="5129"/>
                  </a:lnTo>
                  <a:lnTo>
                    <a:pt x="14400" y="5425"/>
                  </a:lnTo>
                  <a:lnTo>
                    <a:pt x="14545" y="5506"/>
                  </a:lnTo>
                  <a:lnTo>
                    <a:pt x="14750" y="5622"/>
                  </a:lnTo>
                  <a:lnTo>
                    <a:pt x="14950" y="5326"/>
                  </a:lnTo>
                  <a:lnTo>
                    <a:pt x="15191" y="5493"/>
                  </a:lnTo>
                  <a:lnTo>
                    <a:pt x="15450" y="5671"/>
                  </a:lnTo>
                  <a:lnTo>
                    <a:pt x="15750" y="5523"/>
                  </a:lnTo>
                  <a:lnTo>
                    <a:pt x="15750" y="5868"/>
                  </a:lnTo>
                  <a:lnTo>
                    <a:pt x="16050" y="5573"/>
                  </a:lnTo>
                  <a:lnTo>
                    <a:pt x="16150" y="5474"/>
                  </a:lnTo>
                  <a:lnTo>
                    <a:pt x="16457" y="5721"/>
                  </a:lnTo>
                  <a:lnTo>
                    <a:pt x="16950" y="5868"/>
                  </a:lnTo>
                  <a:lnTo>
                    <a:pt x="17350" y="5770"/>
                  </a:lnTo>
                  <a:lnTo>
                    <a:pt x="17750" y="5671"/>
                  </a:lnTo>
                  <a:lnTo>
                    <a:pt x="18400" y="5474"/>
                  </a:lnTo>
                  <a:lnTo>
                    <a:pt x="18700" y="5622"/>
                  </a:lnTo>
                  <a:lnTo>
                    <a:pt x="18900" y="5573"/>
                  </a:lnTo>
                  <a:lnTo>
                    <a:pt x="19450" y="5770"/>
                  </a:lnTo>
                  <a:lnTo>
                    <a:pt x="20000" y="6066"/>
                  </a:lnTo>
                  <a:lnTo>
                    <a:pt x="20500" y="6312"/>
                  </a:lnTo>
                  <a:lnTo>
                    <a:pt x="20750" y="6805"/>
                  </a:lnTo>
                  <a:lnTo>
                    <a:pt x="20750" y="9173"/>
                  </a:lnTo>
                  <a:lnTo>
                    <a:pt x="21100" y="9764"/>
                  </a:lnTo>
                  <a:lnTo>
                    <a:pt x="21100" y="10110"/>
                  </a:lnTo>
                  <a:lnTo>
                    <a:pt x="21300" y="10405"/>
                  </a:lnTo>
                  <a:lnTo>
                    <a:pt x="21300" y="10800"/>
                  </a:lnTo>
                  <a:lnTo>
                    <a:pt x="21600" y="11342"/>
                  </a:lnTo>
                  <a:lnTo>
                    <a:pt x="21400" y="11688"/>
                  </a:lnTo>
                  <a:lnTo>
                    <a:pt x="21150" y="12279"/>
                  </a:lnTo>
                  <a:lnTo>
                    <a:pt x="21250" y="12773"/>
                  </a:lnTo>
                  <a:lnTo>
                    <a:pt x="21150" y="13216"/>
                  </a:lnTo>
                  <a:lnTo>
                    <a:pt x="21000" y="13660"/>
                  </a:lnTo>
                  <a:lnTo>
                    <a:pt x="20500" y="13956"/>
                  </a:lnTo>
                  <a:lnTo>
                    <a:pt x="20050" y="14203"/>
                  </a:lnTo>
                  <a:lnTo>
                    <a:pt x="19600" y="14055"/>
                  </a:lnTo>
                  <a:lnTo>
                    <a:pt x="19450" y="13808"/>
                  </a:lnTo>
                  <a:lnTo>
                    <a:pt x="19150" y="14055"/>
                  </a:lnTo>
                  <a:lnTo>
                    <a:pt x="19350" y="14548"/>
                  </a:lnTo>
                  <a:lnTo>
                    <a:pt x="19000" y="14745"/>
                  </a:lnTo>
                  <a:lnTo>
                    <a:pt x="18750" y="15041"/>
                  </a:lnTo>
                  <a:lnTo>
                    <a:pt x="18027" y="15732"/>
                  </a:lnTo>
                  <a:lnTo>
                    <a:pt x="17450" y="15830"/>
                  </a:lnTo>
                  <a:lnTo>
                    <a:pt x="17200" y="15978"/>
                  </a:lnTo>
                  <a:lnTo>
                    <a:pt x="16850" y="15929"/>
                  </a:lnTo>
                  <a:lnTo>
                    <a:pt x="16457" y="16126"/>
                  </a:lnTo>
                  <a:lnTo>
                    <a:pt x="16457" y="16422"/>
                  </a:lnTo>
                  <a:lnTo>
                    <a:pt x="16000" y="16570"/>
                  </a:lnTo>
                  <a:lnTo>
                    <a:pt x="16000" y="16767"/>
                  </a:lnTo>
                  <a:lnTo>
                    <a:pt x="15650" y="16915"/>
                  </a:lnTo>
                  <a:lnTo>
                    <a:pt x="15550" y="17408"/>
                  </a:lnTo>
                  <a:lnTo>
                    <a:pt x="15200" y="17556"/>
                  </a:lnTo>
                  <a:lnTo>
                    <a:pt x="14850" y="17606"/>
                  </a:lnTo>
                  <a:lnTo>
                    <a:pt x="15000" y="18099"/>
                  </a:lnTo>
                  <a:lnTo>
                    <a:pt x="14800" y="18542"/>
                  </a:lnTo>
                  <a:lnTo>
                    <a:pt x="14750" y="18838"/>
                  </a:lnTo>
                  <a:lnTo>
                    <a:pt x="14650" y="19282"/>
                  </a:lnTo>
                  <a:lnTo>
                    <a:pt x="14750" y="19923"/>
                  </a:lnTo>
                  <a:lnTo>
                    <a:pt x="14950" y="20564"/>
                  </a:lnTo>
                  <a:cubicBezTo>
                    <a:pt x="14950" y="20564"/>
                    <a:pt x="15150" y="21255"/>
                    <a:pt x="15150" y="21255"/>
                  </a:cubicBezTo>
                  <a:close/>
                  <a:moveTo>
                    <a:pt x="15150" y="21255"/>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9" name="Tennessee"/>
            <p:cNvSpPr>
              <a:spLocks/>
            </p:cNvSpPr>
            <p:nvPr/>
          </p:nvSpPr>
          <p:spPr bwMode="auto">
            <a:xfrm>
              <a:off x="7470270" y="3772779"/>
              <a:ext cx="881140" cy="258339"/>
            </a:xfrm>
            <a:custGeom>
              <a:avLst/>
              <a:gdLst/>
              <a:ahLst/>
              <a:cxnLst/>
              <a:rect l="0" t="0" r="r" b="b"/>
              <a:pathLst>
                <a:path w="21600" h="21600">
                  <a:moveTo>
                    <a:pt x="20558" y="507"/>
                  </a:moveTo>
                  <a:cubicBezTo>
                    <a:pt x="21113" y="267"/>
                    <a:pt x="21530" y="245"/>
                    <a:pt x="21600" y="0"/>
                  </a:cubicBezTo>
                  <a:lnTo>
                    <a:pt x="21548" y="3612"/>
                  </a:lnTo>
                  <a:lnTo>
                    <a:pt x="20864" y="5668"/>
                  </a:lnTo>
                  <a:lnTo>
                    <a:pt x="19837" y="7210"/>
                  </a:lnTo>
                  <a:lnTo>
                    <a:pt x="18982" y="7210"/>
                  </a:lnTo>
                  <a:lnTo>
                    <a:pt x="18640" y="9008"/>
                  </a:lnTo>
                  <a:lnTo>
                    <a:pt x="18298" y="10550"/>
                  </a:lnTo>
                  <a:lnTo>
                    <a:pt x="17032" y="11860"/>
                  </a:lnTo>
                  <a:lnTo>
                    <a:pt x="16332" y="13120"/>
                  </a:lnTo>
                  <a:lnTo>
                    <a:pt x="15733" y="14148"/>
                  </a:lnTo>
                  <a:lnTo>
                    <a:pt x="15733" y="16204"/>
                  </a:lnTo>
                  <a:lnTo>
                    <a:pt x="15220" y="16204"/>
                  </a:lnTo>
                  <a:lnTo>
                    <a:pt x="15220" y="18645"/>
                  </a:lnTo>
                  <a:lnTo>
                    <a:pt x="12313" y="20058"/>
                  </a:lnTo>
                  <a:lnTo>
                    <a:pt x="5387" y="21600"/>
                  </a:lnTo>
                  <a:lnTo>
                    <a:pt x="0" y="21600"/>
                  </a:lnTo>
                  <a:lnTo>
                    <a:pt x="0" y="18645"/>
                  </a:lnTo>
                  <a:lnTo>
                    <a:pt x="427" y="16461"/>
                  </a:lnTo>
                  <a:lnTo>
                    <a:pt x="684" y="13891"/>
                  </a:lnTo>
                  <a:lnTo>
                    <a:pt x="1026" y="11578"/>
                  </a:lnTo>
                  <a:lnTo>
                    <a:pt x="1197" y="9008"/>
                  </a:lnTo>
                  <a:lnTo>
                    <a:pt x="1454" y="5668"/>
                  </a:lnTo>
                  <a:lnTo>
                    <a:pt x="2394" y="5668"/>
                  </a:lnTo>
                  <a:lnTo>
                    <a:pt x="5083" y="5668"/>
                  </a:lnTo>
                  <a:lnTo>
                    <a:pt x="5387" y="3612"/>
                  </a:lnTo>
                  <a:cubicBezTo>
                    <a:pt x="5387" y="3612"/>
                    <a:pt x="17045" y="2032"/>
                    <a:pt x="20558" y="507"/>
                  </a:cubicBezTo>
                  <a:close/>
                  <a:moveTo>
                    <a:pt x="20558" y="507"/>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0" name="South Dakota"/>
            <p:cNvSpPr>
              <a:spLocks/>
            </p:cNvSpPr>
            <p:nvPr/>
          </p:nvSpPr>
          <p:spPr bwMode="auto">
            <a:xfrm>
              <a:off x="6051012" y="2649378"/>
              <a:ext cx="756259" cy="480232"/>
            </a:xfrm>
            <a:custGeom>
              <a:avLst/>
              <a:gdLst/>
              <a:ahLst/>
              <a:cxnLst/>
              <a:rect l="0" t="0" r="r" b="b"/>
              <a:pathLst>
                <a:path w="21600" h="21600">
                  <a:moveTo>
                    <a:pt x="1325" y="0"/>
                  </a:moveTo>
                  <a:lnTo>
                    <a:pt x="0" y="16903"/>
                  </a:lnTo>
                  <a:lnTo>
                    <a:pt x="15623" y="18144"/>
                  </a:lnTo>
                  <a:lnTo>
                    <a:pt x="16420" y="18836"/>
                  </a:lnTo>
                  <a:lnTo>
                    <a:pt x="17316" y="18698"/>
                  </a:lnTo>
                  <a:lnTo>
                    <a:pt x="17615" y="19941"/>
                  </a:lnTo>
                  <a:lnTo>
                    <a:pt x="19010" y="19665"/>
                  </a:lnTo>
                  <a:lnTo>
                    <a:pt x="21202" y="21600"/>
                  </a:lnTo>
                  <a:lnTo>
                    <a:pt x="21202" y="20080"/>
                  </a:lnTo>
                  <a:lnTo>
                    <a:pt x="21338" y="19419"/>
                  </a:lnTo>
                  <a:lnTo>
                    <a:pt x="21441" y="18919"/>
                  </a:lnTo>
                  <a:lnTo>
                    <a:pt x="21600" y="18144"/>
                  </a:lnTo>
                  <a:lnTo>
                    <a:pt x="21600" y="16903"/>
                  </a:lnTo>
                  <a:lnTo>
                    <a:pt x="21600" y="16261"/>
                  </a:lnTo>
                  <a:lnTo>
                    <a:pt x="21600" y="15657"/>
                  </a:lnTo>
                  <a:lnTo>
                    <a:pt x="21600" y="13307"/>
                  </a:lnTo>
                  <a:lnTo>
                    <a:pt x="21600" y="11510"/>
                  </a:lnTo>
                  <a:lnTo>
                    <a:pt x="21600" y="10266"/>
                  </a:lnTo>
                  <a:lnTo>
                    <a:pt x="21600" y="8470"/>
                  </a:lnTo>
                  <a:lnTo>
                    <a:pt x="21600" y="6673"/>
                  </a:lnTo>
                  <a:lnTo>
                    <a:pt x="21600" y="5567"/>
                  </a:lnTo>
                  <a:lnTo>
                    <a:pt x="20703" y="3909"/>
                  </a:lnTo>
                  <a:lnTo>
                    <a:pt x="21600" y="2803"/>
                  </a:lnTo>
                  <a:lnTo>
                    <a:pt x="21600" y="1974"/>
                  </a:lnTo>
                  <a:cubicBezTo>
                    <a:pt x="21600" y="1974"/>
                    <a:pt x="1325" y="0"/>
                    <a:pt x="1325" y="0"/>
                  </a:cubicBezTo>
                  <a:close/>
                  <a:moveTo>
                    <a:pt x="1325"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7" name="South Carolina"/>
            <p:cNvSpPr>
              <a:spLocks/>
            </p:cNvSpPr>
            <p:nvPr/>
          </p:nvSpPr>
          <p:spPr bwMode="auto">
            <a:xfrm>
              <a:off x="8224921" y="3940002"/>
              <a:ext cx="555268" cy="378397"/>
            </a:xfrm>
            <a:custGeom>
              <a:avLst/>
              <a:gdLst/>
              <a:ahLst/>
              <a:cxnLst/>
              <a:rect l="0" t="0" r="r" b="b"/>
              <a:pathLst>
                <a:path w="21600" h="21600">
                  <a:moveTo>
                    <a:pt x="21600" y="6569"/>
                  </a:moveTo>
                  <a:lnTo>
                    <a:pt x="20736" y="7739"/>
                  </a:lnTo>
                  <a:lnTo>
                    <a:pt x="19764" y="8945"/>
                  </a:lnTo>
                  <a:lnTo>
                    <a:pt x="19764" y="10622"/>
                  </a:lnTo>
                  <a:lnTo>
                    <a:pt x="19764" y="12019"/>
                  </a:lnTo>
                  <a:lnTo>
                    <a:pt x="18576" y="12718"/>
                  </a:lnTo>
                  <a:lnTo>
                    <a:pt x="17820" y="13836"/>
                  </a:lnTo>
                  <a:lnTo>
                    <a:pt x="17064" y="15094"/>
                  </a:lnTo>
                  <a:lnTo>
                    <a:pt x="16200" y="15898"/>
                  </a:lnTo>
                  <a:lnTo>
                    <a:pt x="15228" y="17470"/>
                  </a:lnTo>
                  <a:lnTo>
                    <a:pt x="14472" y="17470"/>
                  </a:lnTo>
                  <a:lnTo>
                    <a:pt x="13824" y="18617"/>
                  </a:lnTo>
                  <a:lnTo>
                    <a:pt x="12960" y="20109"/>
                  </a:lnTo>
                  <a:lnTo>
                    <a:pt x="12312" y="21600"/>
                  </a:lnTo>
                  <a:lnTo>
                    <a:pt x="12045" y="21074"/>
                  </a:lnTo>
                  <a:lnTo>
                    <a:pt x="11358" y="19474"/>
                  </a:lnTo>
                  <a:lnTo>
                    <a:pt x="11124" y="18728"/>
                  </a:lnTo>
                  <a:lnTo>
                    <a:pt x="9939" y="16577"/>
                  </a:lnTo>
                  <a:lnTo>
                    <a:pt x="9140" y="15135"/>
                  </a:lnTo>
                  <a:lnTo>
                    <a:pt x="8100" y="14255"/>
                  </a:lnTo>
                  <a:lnTo>
                    <a:pt x="7344" y="13836"/>
                  </a:lnTo>
                  <a:lnTo>
                    <a:pt x="7344" y="12718"/>
                  </a:lnTo>
                  <a:lnTo>
                    <a:pt x="6696" y="11880"/>
                  </a:lnTo>
                  <a:lnTo>
                    <a:pt x="5400" y="10622"/>
                  </a:lnTo>
                  <a:lnTo>
                    <a:pt x="4320" y="9643"/>
                  </a:lnTo>
                  <a:lnTo>
                    <a:pt x="3348" y="7739"/>
                  </a:lnTo>
                  <a:lnTo>
                    <a:pt x="2700" y="7739"/>
                  </a:lnTo>
                  <a:lnTo>
                    <a:pt x="1794" y="6149"/>
                  </a:lnTo>
                  <a:lnTo>
                    <a:pt x="0" y="4142"/>
                  </a:lnTo>
                  <a:lnTo>
                    <a:pt x="648" y="3177"/>
                  </a:lnTo>
                  <a:lnTo>
                    <a:pt x="1794" y="1957"/>
                  </a:lnTo>
                  <a:lnTo>
                    <a:pt x="2808" y="699"/>
                  </a:lnTo>
                  <a:lnTo>
                    <a:pt x="3888" y="0"/>
                  </a:lnTo>
                  <a:lnTo>
                    <a:pt x="5400" y="0"/>
                  </a:lnTo>
                  <a:lnTo>
                    <a:pt x="8100" y="0"/>
                  </a:lnTo>
                  <a:lnTo>
                    <a:pt x="9936" y="0"/>
                  </a:lnTo>
                  <a:lnTo>
                    <a:pt x="10800" y="0"/>
                  </a:lnTo>
                  <a:lnTo>
                    <a:pt x="11340" y="1398"/>
                  </a:lnTo>
                  <a:lnTo>
                    <a:pt x="12960" y="1258"/>
                  </a:lnTo>
                  <a:lnTo>
                    <a:pt x="15444" y="978"/>
                  </a:lnTo>
                  <a:lnTo>
                    <a:pt x="16524" y="1537"/>
                  </a:lnTo>
                  <a:lnTo>
                    <a:pt x="17928" y="2376"/>
                  </a:lnTo>
                  <a:lnTo>
                    <a:pt x="19008" y="3177"/>
                  </a:lnTo>
                  <a:lnTo>
                    <a:pt x="19980" y="4142"/>
                  </a:lnTo>
                  <a:lnTo>
                    <a:pt x="20736" y="5195"/>
                  </a:lnTo>
                  <a:cubicBezTo>
                    <a:pt x="20736" y="5195"/>
                    <a:pt x="21600" y="6569"/>
                    <a:pt x="21600" y="6569"/>
                  </a:cubicBezTo>
                  <a:close/>
                  <a:moveTo>
                    <a:pt x="21600" y="656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9" name="Rhode Island"/>
            <p:cNvSpPr>
              <a:spLocks/>
            </p:cNvSpPr>
            <p:nvPr/>
          </p:nvSpPr>
          <p:spPr bwMode="auto">
            <a:xfrm>
              <a:off x="9292579" y="2919510"/>
              <a:ext cx="63781" cy="90580"/>
            </a:xfrm>
            <a:custGeom>
              <a:avLst/>
              <a:gdLst/>
              <a:ahLst/>
              <a:cxnLst/>
              <a:rect l="0" t="0" r="r" b="b"/>
              <a:pathLst>
                <a:path w="21600" h="21600">
                  <a:moveTo>
                    <a:pt x="21600" y="8757"/>
                  </a:moveTo>
                  <a:lnTo>
                    <a:pt x="21600" y="11676"/>
                  </a:lnTo>
                  <a:lnTo>
                    <a:pt x="16903" y="15179"/>
                  </a:lnTo>
                  <a:lnTo>
                    <a:pt x="16903" y="18297"/>
                  </a:lnTo>
                  <a:lnTo>
                    <a:pt x="4696" y="21600"/>
                  </a:lnTo>
                  <a:lnTo>
                    <a:pt x="0" y="3503"/>
                  </a:lnTo>
                  <a:lnTo>
                    <a:pt x="4696" y="0"/>
                  </a:lnTo>
                  <a:lnTo>
                    <a:pt x="10801" y="0"/>
                  </a:lnTo>
                  <a:lnTo>
                    <a:pt x="16903" y="3503"/>
                  </a:lnTo>
                  <a:cubicBezTo>
                    <a:pt x="16903" y="3503"/>
                    <a:pt x="21600" y="8757"/>
                    <a:pt x="21600" y="8757"/>
                  </a:cubicBezTo>
                  <a:close/>
                  <a:moveTo>
                    <a:pt x="21600" y="8757"/>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5" name="Pennsylvania"/>
            <p:cNvSpPr>
              <a:spLocks/>
            </p:cNvSpPr>
            <p:nvPr/>
          </p:nvSpPr>
          <p:spPr bwMode="auto">
            <a:xfrm>
              <a:off x="8409296" y="2996689"/>
              <a:ext cx="635129" cy="358567"/>
            </a:xfrm>
            <a:custGeom>
              <a:avLst/>
              <a:gdLst/>
              <a:ahLst/>
              <a:cxnLst/>
              <a:rect l="0" t="0" r="r" b="b"/>
              <a:pathLst>
                <a:path w="21600" h="21600">
                  <a:moveTo>
                    <a:pt x="2606" y="3046"/>
                  </a:moveTo>
                  <a:lnTo>
                    <a:pt x="0" y="6437"/>
                  </a:lnTo>
                  <a:lnTo>
                    <a:pt x="945" y="15579"/>
                  </a:lnTo>
                  <a:lnTo>
                    <a:pt x="378" y="16316"/>
                  </a:lnTo>
                  <a:lnTo>
                    <a:pt x="1134" y="18528"/>
                  </a:lnTo>
                  <a:lnTo>
                    <a:pt x="1134" y="21600"/>
                  </a:lnTo>
                  <a:lnTo>
                    <a:pt x="2048" y="21429"/>
                  </a:lnTo>
                  <a:lnTo>
                    <a:pt x="4702" y="20756"/>
                  </a:lnTo>
                  <a:lnTo>
                    <a:pt x="5346" y="20592"/>
                  </a:lnTo>
                  <a:lnTo>
                    <a:pt x="9882" y="19560"/>
                  </a:lnTo>
                  <a:lnTo>
                    <a:pt x="14983" y="18219"/>
                  </a:lnTo>
                  <a:lnTo>
                    <a:pt x="18144" y="17496"/>
                  </a:lnTo>
                  <a:lnTo>
                    <a:pt x="18765" y="16316"/>
                  </a:lnTo>
                  <a:lnTo>
                    <a:pt x="19852" y="16316"/>
                  </a:lnTo>
                  <a:lnTo>
                    <a:pt x="20324" y="15137"/>
                  </a:lnTo>
                  <a:lnTo>
                    <a:pt x="20750" y="14104"/>
                  </a:lnTo>
                  <a:lnTo>
                    <a:pt x="21600" y="13367"/>
                  </a:lnTo>
                  <a:lnTo>
                    <a:pt x="21222" y="12323"/>
                  </a:lnTo>
                  <a:lnTo>
                    <a:pt x="20324" y="11384"/>
                  </a:lnTo>
                  <a:lnTo>
                    <a:pt x="19852" y="10335"/>
                  </a:lnTo>
                  <a:lnTo>
                    <a:pt x="19987" y="8181"/>
                  </a:lnTo>
                  <a:lnTo>
                    <a:pt x="20324" y="6437"/>
                  </a:lnTo>
                  <a:lnTo>
                    <a:pt x="20324" y="4520"/>
                  </a:lnTo>
                  <a:lnTo>
                    <a:pt x="19852" y="3636"/>
                  </a:lnTo>
                  <a:lnTo>
                    <a:pt x="18765" y="2014"/>
                  </a:lnTo>
                  <a:lnTo>
                    <a:pt x="18387" y="0"/>
                  </a:lnTo>
                  <a:lnTo>
                    <a:pt x="16875" y="0"/>
                  </a:lnTo>
                  <a:lnTo>
                    <a:pt x="2996" y="4871"/>
                  </a:lnTo>
                  <a:cubicBezTo>
                    <a:pt x="2996" y="4871"/>
                    <a:pt x="2606" y="3046"/>
                    <a:pt x="2606" y="3046"/>
                  </a:cubicBezTo>
                  <a:close/>
                  <a:moveTo>
                    <a:pt x="2606" y="304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6" name="Oregon"/>
            <p:cNvSpPr>
              <a:spLocks/>
            </p:cNvSpPr>
            <p:nvPr/>
          </p:nvSpPr>
          <p:spPr bwMode="auto">
            <a:xfrm>
              <a:off x="4040041" y="2272053"/>
              <a:ext cx="865061" cy="669966"/>
            </a:xfrm>
            <a:custGeom>
              <a:avLst/>
              <a:gdLst/>
              <a:ahLst/>
              <a:cxnLst/>
              <a:rect l="0" t="0" r="r" b="b"/>
              <a:pathLst>
                <a:path w="21600" h="21600">
                  <a:moveTo>
                    <a:pt x="5487" y="0"/>
                  </a:moveTo>
                  <a:lnTo>
                    <a:pt x="5052" y="1090"/>
                  </a:lnTo>
                  <a:lnTo>
                    <a:pt x="4703" y="2279"/>
                  </a:lnTo>
                  <a:lnTo>
                    <a:pt x="4703" y="3072"/>
                  </a:lnTo>
                  <a:lnTo>
                    <a:pt x="4094" y="4161"/>
                  </a:lnTo>
                  <a:lnTo>
                    <a:pt x="3571" y="5549"/>
                  </a:lnTo>
                  <a:lnTo>
                    <a:pt x="3136" y="6936"/>
                  </a:lnTo>
                  <a:lnTo>
                    <a:pt x="2439" y="8620"/>
                  </a:lnTo>
                  <a:lnTo>
                    <a:pt x="2003" y="9908"/>
                  </a:lnTo>
                  <a:lnTo>
                    <a:pt x="1306" y="10404"/>
                  </a:lnTo>
                  <a:lnTo>
                    <a:pt x="523" y="12286"/>
                  </a:lnTo>
                  <a:lnTo>
                    <a:pt x="523" y="13971"/>
                  </a:lnTo>
                  <a:lnTo>
                    <a:pt x="0" y="15655"/>
                  </a:lnTo>
                  <a:lnTo>
                    <a:pt x="595" y="15877"/>
                  </a:lnTo>
                  <a:lnTo>
                    <a:pt x="10103" y="19420"/>
                  </a:lnTo>
                  <a:lnTo>
                    <a:pt x="17506" y="21600"/>
                  </a:lnTo>
                  <a:lnTo>
                    <a:pt x="18116" y="19717"/>
                  </a:lnTo>
                  <a:lnTo>
                    <a:pt x="18145" y="18808"/>
                  </a:lnTo>
                  <a:lnTo>
                    <a:pt x="18257" y="18322"/>
                  </a:lnTo>
                  <a:lnTo>
                    <a:pt x="18406" y="17667"/>
                  </a:lnTo>
                  <a:lnTo>
                    <a:pt x="18639" y="16745"/>
                  </a:lnTo>
                  <a:lnTo>
                    <a:pt x="19161" y="15556"/>
                  </a:lnTo>
                  <a:lnTo>
                    <a:pt x="19161" y="14367"/>
                  </a:lnTo>
                  <a:lnTo>
                    <a:pt x="19684" y="13574"/>
                  </a:lnTo>
                  <a:lnTo>
                    <a:pt x="19684" y="12782"/>
                  </a:lnTo>
                  <a:lnTo>
                    <a:pt x="19074" y="12286"/>
                  </a:lnTo>
                  <a:lnTo>
                    <a:pt x="19684" y="11295"/>
                  </a:lnTo>
                  <a:lnTo>
                    <a:pt x="20206" y="10800"/>
                  </a:lnTo>
                  <a:lnTo>
                    <a:pt x="20642" y="9809"/>
                  </a:lnTo>
                  <a:lnTo>
                    <a:pt x="21165" y="8818"/>
                  </a:lnTo>
                  <a:lnTo>
                    <a:pt x="21600" y="8125"/>
                  </a:lnTo>
                  <a:lnTo>
                    <a:pt x="21600" y="7233"/>
                  </a:lnTo>
                  <a:lnTo>
                    <a:pt x="21600" y="6044"/>
                  </a:lnTo>
                  <a:lnTo>
                    <a:pt x="20990" y="6044"/>
                  </a:lnTo>
                  <a:lnTo>
                    <a:pt x="20278" y="5806"/>
                  </a:lnTo>
                  <a:lnTo>
                    <a:pt x="19453" y="5530"/>
                  </a:lnTo>
                  <a:lnTo>
                    <a:pt x="18614" y="5249"/>
                  </a:lnTo>
                  <a:lnTo>
                    <a:pt x="17972" y="5034"/>
                  </a:lnTo>
                  <a:lnTo>
                    <a:pt x="17260" y="4796"/>
                  </a:lnTo>
                  <a:lnTo>
                    <a:pt x="16548" y="4558"/>
                  </a:lnTo>
                  <a:lnTo>
                    <a:pt x="15765" y="4855"/>
                  </a:lnTo>
                  <a:lnTo>
                    <a:pt x="14284" y="4657"/>
                  </a:lnTo>
                  <a:lnTo>
                    <a:pt x="12368" y="4360"/>
                  </a:lnTo>
                  <a:lnTo>
                    <a:pt x="11410" y="4558"/>
                  </a:lnTo>
                  <a:lnTo>
                    <a:pt x="10277" y="3963"/>
                  </a:lnTo>
                  <a:lnTo>
                    <a:pt x="9058" y="3963"/>
                  </a:lnTo>
                  <a:lnTo>
                    <a:pt x="7839" y="3468"/>
                  </a:lnTo>
                  <a:lnTo>
                    <a:pt x="7839" y="2576"/>
                  </a:lnTo>
                  <a:lnTo>
                    <a:pt x="7839" y="1684"/>
                  </a:lnTo>
                  <a:lnTo>
                    <a:pt x="6619" y="594"/>
                  </a:lnTo>
                  <a:cubicBezTo>
                    <a:pt x="6619" y="594"/>
                    <a:pt x="5487" y="0"/>
                    <a:pt x="5487" y="0"/>
                  </a:cubicBezTo>
                  <a:close/>
                  <a:moveTo>
                    <a:pt x="5487"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7" name="Oklahoma"/>
            <p:cNvSpPr>
              <a:spLocks/>
            </p:cNvSpPr>
            <p:nvPr/>
          </p:nvSpPr>
          <p:spPr bwMode="auto">
            <a:xfrm>
              <a:off x="6055301" y="3777067"/>
              <a:ext cx="921874" cy="440570"/>
            </a:xfrm>
            <a:custGeom>
              <a:avLst/>
              <a:gdLst/>
              <a:ahLst/>
              <a:cxnLst/>
              <a:rect l="0" t="0" r="r" b="b"/>
              <a:pathLst>
                <a:path w="21600" h="21600">
                  <a:moveTo>
                    <a:pt x="21518" y="1855"/>
                  </a:moveTo>
                  <a:lnTo>
                    <a:pt x="21535" y="8036"/>
                  </a:lnTo>
                  <a:lnTo>
                    <a:pt x="21552" y="11631"/>
                  </a:lnTo>
                  <a:lnTo>
                    <a:pt x="21564" y="14089"/>
                  </a:lnTo>
                  <a:lnTo>
                    <a:pt x="21575" y="16478"/>
                  </a:lnTo>
                  <a:lnTo>
                    <a:pt x="21585" y="18473"/>
                  </a:lnTo>
                  <a:lnTo>
                    <a:pt x="21595" y="20537"/>
                  </a:lnTo>
                  <a:lnTo>
                    <a:pt x="21600" y="21600"/>
                  </a:lnTo>
                  <a:lnTo>
                    <a:pt x="19802" y="20093"/>
                  </a:lnTo>
                  <a:lnTo>
                    <a:pt x="19475" y="20243"/>
                  </a:lnTo>
                  <a:lnTo>
                    <a:pt x="18375" y="20137"/>
                  </a:lnTo>
                  <a:lnTo>
                    <a:pt x="17922" y="20394"/>
                  </a:lnTo>
                  <a:lnTo>
                    <a:pt x="17269" y="20696"/>
                  </a:lnTo>
                  <a:lnTo>
                    <a:pt x="16615" y="20997"/>
                  </a:lnTo>
                  <a:lnTo>
                    <a:pt x="16195" y="20762"/>
                  </a:lnTo>
                  <a:lnTo>
                    <a:pt x="15809" y="20545"/>
                  </a:lnTo>
                  <a:lnTo>
                    <a:pt x="15307" y="19791"/>
                  </a:lnTo>
                  <a:lnTo>
                    <a:pt x="15143" y="20094"/>
                  </a:lnTo>
                  <a:lnTo>
                    <a:pt x="14654" y="20997"/>
                  </a:lnTo>
                  <a:lnTo>
                    <a:pt x="14654" y="19942"/>
                  </a:lnTo>
                  <a:lnTo>
                    <a:pt x="14163" y="20394"/>
                  </a:lnTo>
                  <a:lnTo>
                    <a:pt x="13346" y="19339"/>
                  </a:lnTo>
                  <a:lnTo>
                    <a:pt x="13019" y="20243"/>
                  </a:lnTo>
                  <a:lnTo>
                    <a:pt x="12447" y="19641"/>
                  </a:lnTo>
                  <a:lnTo>
                    <a:pt x="12038" y="18736"/>
                  </a:lnTo>
                  <a:lnTo>
                    <a:pt x="11385" y="19188"/>
                  </a:lnTo>
                  <a:lnTo>
                    <a:pt x="10731" y="18435"/>
                  </a:lnTo>
                  <a:lnTo>
                    <a:pt x="9587" y="17530"/>
                  </a:lnTo>
                  <a:lnTo>
                    <a:pt x="9097" y="16325"/>
                  </a:lnTo>
                  <a:lnTo>
                    <a:pt x="8484" y="16701"/>
                  </a:lnTo>
                  <a:lnTo>
                    <a:pt x="7789" y="16325"/>
                  </a:lnTo>
                  <a:lnTo>
                    <a:pt x="7299" y="14817"/>
                  </a:lnTo>
                  <a:lnTo>
                    <a:pt x="7626" y="3965"/>
                  </a:lnTo>
                  <a:lnTo>
                    <a:pt x="0" y="3061"/>
                  </a:lnTo>
                  <a:lnTo>
                    <a:pt x="189" y="0"/>
                  </a:lnTo>
                  <a:cubicBezTo>
                    <a:pt x="189" y="0"/>
                    <a:pt x="21518" y="1855"/>
                    <a:pt x="21518" y="1855"/>
                  </a:cubicBezTo>
                  <a:close/>
                  <a:moveTo>
                    <a:pt x="21518" y="1855"/>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4" name="Ohio"/>
            <p:cNvSpPr>
              <a:spLocks/>
            </p:cNvSpPr>
            <p:nvPr/>
          </p:nvSpPr>
          <p:spPr bwMode="auto">
            <a:xfrm>
              <a:off x="7980517" y="3103884"/>
              <a:ext cx="463617" cy="456113"/>
            </a:xfrm>
            <a:custGeom>
              <a:avLst/>
              <a:gdLst/>
              <a:ahLst/>
              <a:cxnLst/>
              <a:rect l="0" t="0" r="r" b="b"/>
              <a:pathLst>
                <a:path w="21600" h="21600">
                  <a:moveTo>
                    <a:pt x="11503" y="3891"/>
                  </a:moveTo>
                  <a:lnTo>
                    <a:pt x="12538" y="3066"/>
                  </a:lnTo>
                  <a:lnTo>
                    <a:pt x="13653" y="3066"/>
                  </a:lnTo>
                  <a:lnTo>
                    <a:pt x="15386" y="2087"/>
                  </a:lnTo>
                  <a:lnTo>
                    <a:pt x="16163" y="624"/>
                  </a:lnTo>
                  <a:lnTo>
                    <a:pt x="17277" y="624"/>
                  </a:lnTo>
                  <a:lnTo>
                    <a:pt x="19011" y="0"/>
                  </a:lnTo>
                  <a:lnTo>
                    <a:pt x="20047" y="0"/>
                  </a:lnTo>
                  <a:lnTo>
                    <a:pt x="21341" y="7190"/>
                  </a:lnTo>
                  <a:lnTo>
                    <a:pt x="20564" y="7769"/>
                  </a:lnTo>
                  <a:lnTo>
                    <a:pt x="21600" y="9509"/>
                  </a:lnTo>
                  <a:lnTo>
                    <a:pt x="20305" y="10669"/>
                  </a:lnTo>
                  <a:lnTo>
                    <a:pt x="20305" y="11925"/>
                  </a:lnTo>
                  <a:lnTo>
                    <a:pt x="20305" y="12844"/>
                  </a:lnTo>
                  <a:lnTo>
                    <a:pt x="19270" y="14145"/>
                  </a:lnTo>
                  <a:lnTo>
                    <a:pt x="18623" y="15101"/>
                  </a:lnTo>
                  <a:lnTo>
                    <a:pt x="17846" y="14145"/>
                  </a:lnTo>
                  <a:lnTo>
                    <a:pt x="16966" y="15813"/>
                  </a:lnTo>
                  <a:lnTo>
                    <a:pt x="16681" y="17395"/>
                  </a:lnTo>
                  <a:lnTo>
                    <a:pt x="14998" y="17395"/>
                  </a:lnTo>
                  <a:lnTo>
                    <a:pt x="14351" y="18786"/>
                  </a:lnTo>
                  <a:lnTo>
                    <a:pt x="14351" y="20178"/>
                  </a:lnTo>
                  <a:lnTo>
                    <a:pt x="13315" y="21600"/>
                  </a:lnTo>
                  <a:lnTo>
                    <a:pt x="12409" y="20642"/>
                  </a:lnTo>
                  <a:lnTo>
                    <a:pt x="11114" y="19482"/>
                  </a:lnTo>
                  <a:lnTo>
                    <a:pt x="9949" y="19946"/>
                  </a:lnTo>
                  <a:lnTo>
                    <a:pt x="8649" y="20152"/>
                  </a:lnTo>
                  <a:lnTo>
                    <a:pt x="7101" y="20758"/>
                  </a:lnTo>
                  <a:lnTo>
                    <a:pt x="6324" y="20062"/>
                  </a:lnTo>
                  <a:lnTo>
                    <a:pt x="5250" y="19946"/>
                  </a:lnTo>
                  <a:lnTo>
                    <a:pt x="4512" y="19482"/>
                  </a:lnTo>
                  <a:lnTo>
                    <a:pt x="4512" y="18787"/>
                  </a:lnTo>
                  <a:lnTo>
                    <a:pt x="3217" y="18304"/>
                  </a:lnTo>
                  <a:lnTo>
                    <a:pt x="1534" y="18304"/>
                  </a:lnTo>
                  <a:lnTo>
                    <a:pt x="0" y="3066"/>
                  </a:lnTo>
                  <a:lnTo>
                    <a:pt x="6842" y="2435"/>
                  </a:lnTo>
                  <a:lnTo>
                    <a:pt x="8525" y="3066"/>
                  </a:lnTo>
                  <a:lnTo>
                    <a:pt x="9949" y="3066"/>
                  </a:lnTo>
                  <a:lnTo>
                    <a:pt x="9949" y="3891"/>
                  </a:lnTo>
                  <a:cubicBezTo>
                    <a:pt x="9949" y="3891"/>
                    <a:pt x="11503" y="3891"/>
                    <a:pt x="11503" y="3891"/>
                  </a:cubicBezTo>
                  <a:close/>
                  <a:moveTo>
                    <a:pt x="11503" y="3891"/>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1" name="North Dakota"/>
            <p:cNvSpPr>
              <a:spLocks/>
            </p:cNvSpPr>
            <p:nvPr/>
          </p:nvSpPr>
          <p:spPr bwMode="auto">
            <a:xfrm>
              <a:off x="6098178" y="2272053"/>
              <a:ext cx="709628" cy="418059"/>
            </a:xfrm>
            <a:custGeom>
              <a:avLst/>
              <a:gdLst/>
              <a:ahLst/>
              <a:cxnLst/>
              <a:rect l="0" t="0" r="r" b="b"/>
              <a:pathLst>
                <a:path w="21600" h="21600">
                  <a:moveTo>
                    <a:pt x="1435" y="0"/>
                  </a:moveTo>
                  <a:lnTo>
                    <a:pt x="0" y="19332"/>
                  </a:lnTo>
                  <a:lnTo>
                    <a:pt x="21600" y="21600"/>
                  </a:lnTo>
                  <a:lnTo>
                    <a:pt x="21600" y="19332"/>
                  </a:lnTo>
                  <a:lnTo>
                    <a:pt x="21186" y="17335"/>
                  </a:lnTo>
                  <a:lnTo>
                    <a:pt x="21069" y="15723"/>
                  </a:lnTo>
                  <a:lnTo>
                    <a:pt x="21600" y="11912"/>
                  </a:lnTo>
                  <a:lnTo>
                    <a:pt x="21069" y="10800"/>
                  </a:lnTo>
                  <a:lnTo>
                    <a:pt x="20663" y="8936"/>
                  </a:lnTo>
                  <a:lnTo>
                    <a:pt x="20433" y="6194"/>
                  </a:lnTo>
                  <a:lnTo>
                    <a:pt x="20433" y="4129"/>
                  </a:lnTo>
                  <a:lnTo>
                    <a:pt x="20114" y="2224"/>
                  </a:lnTo>
                  <a:cubicBezTo>
                    <a:pt x="20114" y="2224"/>
                    <a:pt x="1435" y="0"/>
                    <a:pt x="1435" y="0"/>
                  </a:cubicBezTo>
                  <a:close/>
                  <a:moveTo>
                    <a:pt x="1435"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8" name="North Carolina"/>
            <p:cNvSpPr>
              <a:spLocks/>
            </p:cNvSpPr>
            <p:nvPr/>
          </p:nvSpPr>
          <p:spPr bwMode="auto">
            <a:xfrm>
              <a:off x="8091999" y="3678448"/>
              <a:ext cx="964752" cy="376789"/>
            </a:xfrm>
            <a:custGeom>
              <a:avLst/>
              <a:gdLst/>
              <a:ahLst/>
              <a:cxnLst/>
              <a:rect l="0" t="0" r="r" b="b"/>
              <a:pathLst>
                <a:path w="21600" h="21600">
                  <a:moveTo>
                    <a:pt x="16811" y="20898"/>
                  </a:moveTo>
                  <a:lnTo>
                    <a:pt x="15443" y="21600"/>
                  </a:lnTo>
                  <a:lnTo>
                    <a:pt x="14945" y="20221"/>
                  </a:lnTo>
                  <a:lnTo>
                    <a:pt x="13950" y="18196"/>
                  </a:lnTo>
                  <a:lnTo>
                    <a:pt x="13328" y="17392"/>
                  </a:lnTo>
                  <a:lnTo>
                    <a:pt x="11898" y="15990"/>
                  </a:lnTo>
                  <a:lnTo>
                    <a:pt x="10025" y="16336"/>
                  </a:lnTo>
                  <a:lnTo>
                    <a:pt x="9534" y="16410"/>
                  </a:lnTo>
                  <a:lnTo>
                    <a:pt x="9223" y="15008"/>
                  </a:lnTo>
                  <a:lnTo>
                    <a:pt x="7295" y="15008"/>
                  </a:lnTo>
                  <a:lnTo>
                    <a:pt x="5243" y="15008"/>
                  </a:lnTo>
                  <a:cubicBezTo>
                    <a:pt x="5243" y="15008"/>
                    <a:pt x="4508" y="15954"/>
                    <a:pt x="4273" y="16462"/>
                  </a:cubicBezTo>
                  <a:cubicBezTo>
                    <a:pt x="4037" y="16971"/>
                    <a:pt x="3906" y="17214"/>
                    <a:pt x="3906" y="17214"/>
                  </a:cubicBezTo>
                  <a:lnTo>
                    <a:pt x="3377" y="18196"/>
                  </a:lnTo>
                  <a:lnTo>
                    <a:pt x="2631" y="18196"/>
                  </a:lnTo>
                  <a:lnTo>
                    <a:pt x="1076" y="18196"/>
                  </a:lnTo>
                  <a:lnTo>
                    <a:pt x="0" y="18196"/>
                  </a:lnTo>
                  <a:lnTo>
                    <a:pt x="0" y="16523"/>
                  </a:lnTo>
                  <a:lnTo>
                    <a:pt x="469" y="16523"/>
                  </a:lnTo>
                  <a:lnTo>
                    <a:pt x="469" y="15114"/>
                  </a:lnTo>
                  <a:lnTo>
                    <a:pt x="1365" y="13819"/>
                  </a:lnTo>
                  <a:lnTo>
                    <a:pt x="2258" y="12982"/>
                  </a:lnTo>
                  <a:lnTo>
                    <a:pt x="3004" y="11996"/>
                  </a:lnTo>
                  <a:lnTo>
                    <a:pt x="3436" y="10360"/>
                  </a:lnTo>
                  <a:lnTo>
                    <a:pt x="4216" y="10360"/>
                  </a:lnTo>
                  <a:lnTo>
                    <a:pt x="4621" y="9303"/>
                  </a:lnTo>
                  <a:lnTo>
                    <a:pt x="5153" y="9303"/>
                  </a:lnTo>
                  <a:lnTo>
                    <a:pt x="5778" y="7895"/>
                  </a:lnTo>
                  <a:lnTo>
                    <a:pt x="5778" y="5429"/>
                  </a:lnTo>
                  <a:lnTo>
                    <a:pt x="7357" y="5115"/>
                  </a:lnTo>
                  <a:lnTo>
                    <a:pt x="8788" y="4488"/>
                  </a:lnTo>
                  <a:lnTo>
                    <a:pt x="10118" y="4139"/>
                  </a:lnTo>
                  <a:lnTo>
                    <a:pt x="20356" y="0"/>
                  </a:lnTo>
                  <a:lnTo>
                    <a:pt x="20854" y="981"/>
                  </a:lnTo>
                  <a:lnTo>
                    <a:pt x="21289" y="2104"/>
                  </a:lnTo>
                  <a:lnTo>
                    <a:pt x="20480" y="2384"/>
                  </a:lnTo>
                  <a:lnTo>
                    <a:pt x="20107" y="3226"/>
                  </a:lnTo>
                  <a:lnTo>
                    <a:pt x="19112" y="4628"/>
                  </a:lnTo>
                  <a:lnTo>
                    <a:pt x="20169" y="4348"/>
                  </a:lnTo>
                  <a:lnTo>
                    <a:pt x="20854" y="4488"/>
                  </a:lnTo>
                  <a:lnTo>
                    <a:pt x="20978" y="5429"/>
                  </a:lnTo>
                  <a:lnTo>
                    <a:pt x="21289" y="3927"/>
                  </a:lnTo>
                  <a:lnTo>
                    <a:pt x="21600" y="5429"/>
                  </a:lnTo>
                  <a:lnTo>
                    <a:pt x="21600" y="6592"/>
                  </a:lnTo>
                  <a:lnTo>
                    <a:pt x="21165" y="7153"/>
                  </a:lnTo>
                  <a:lnTo>
                    <a:pt x="20854" y="7895"/>
                  </a:lnTo>
                  <a:lnTo>
                    <a:pt x="20356" y="8696"/>
                  </a:lnTo>
                  <a:lnTo>
                    <a:pt x="19610" y="7895"/>
                  </a:lnTo>
                  <a:lnTo>
                    <a:pt x="19796" y="9303"/>
                  </a:lnTo>
                  <a:lnTo>
                    <a:pt x="19610" y="10360"/>
                  </a:lnTo>
                  <a:lnTo>
                    <a:pt x="19423" y="11782"/>
                  </a:lnTo>
                  <a:lnTo>
                    <a:pt x="20107" y="11641"/>
                  </a:lnTo>
                  <a:lnTo>
                    <a:pt x="20480" y="12062"/>
                  </a:lnTo>
                  <a:lnTo>
                    <a:pt x="19983" y="12825"/>
                  </a:lnTo>
                  <a:lnTo>
                    <a:pt x="19174" y="13353"/>
                  </a:lnTo>
                  <a:lnTo>
                    <a:pt x="18739" y="15008"/>
                  </a:lnTo>
                  <a:lnTo>
                    <a:pt x="18117" y="15008"/>
                  </a:lnTo>
                  <a:lnTo>
                    <a:pt x="17371" y="18196"/>
                  </a:lnTo>
                  <a:lnTo>
                    <a:pt x="17122" y="19164"/>
                  </a:lnTo>
                  <a:cubicBezTo>
                    <a:pt x="17122" y="19164"/>
                    <a:pt x="16811" y="20898"/>
                    <a:pt x="16811" y="20898"/>
                  </a:cubicBezTo>
                  <a:close/>
                  <a:moveTo>
                    <a:pt x="16811" y="20898"/>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9" name="Nevada"/>
            <p:cNvSpPr>
              <a:spLocks/>
            </p:cNvSpPr>
            <p:nvPr/>
          </p:nvSpPr>
          <p:spPr bwMode="auto">
            <a:xfrm>
              <a:off x="4335898" y="2876632"/>
              <a:ext cx="709628" cy="962073"/>
            </a:xfrm>
            <a:custGeom>
              <a:avLst/>
              <a:gdLst/>
              <a:ahLst/>
              <a:cxnLst/>
              <a:rect l="0" t="0" r="r" b="b"/>
              <a:pathLst>
                <a:path w="21600" h="21600">
                  <a:moveTo>
                    <a:pt x="21600" y="2740"/>
                  </a:moveTo>
                  <a:lnTo>
                    <a:pt x="16136" y="18219"/>
                  </a:lnTo>
                  <a:lnTo>
                    <a:pt x="16136" y="18909"/>
                  </a:lnTo>
                  <a:lnTo>
                    <a:pt x="15287" y="18909"/>
                  </a:lnTo>
                  <a:lnTo>
                    <a:pt x="14650" y="18564"/>
                  </a:lnTo>
                  <a:lnTo>
                    <a:pt x="13694" y="18564"/>
                  </a:lnTo>
                  <a:lnTo>
                    <a:pt x="13694" y="19323"/>
                  </a:lnTo>
                  <a:lnTo>
                    <a:pt x="13694" y="20082"/>
                  </a:lnTo>
                  <a:lnTo>
                    <a:pt x="13237" y="21022"/>
                  </a:lnTo>
                  <a:lnTo>
                    <a:pt x="13057" y="21600"/>
                  </a:lnTo>
                  <a:lnTo>
                    <a:pt x="0" y="8212"/>
                  </a:lnTo>
                  <a:lnTo>
                    <a:pt x="3397" y="0"/>
                  </a:lnTo>
                  <a:cubicBezTo>
                    <a:pt x="3397" y="0"/>
                    <a:pt x="20968" y="2655"/>
                    <a:pt x="21600" y="2740"/>
                  </a:cubicBezTo>
                  <a:close/>
                  <a:moveTo>
                    <a:pt x="21600" y="274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59" name="New York">
              <a:extLst>
                <a:ext uri="{FF2B5EF4-FFF2-40B4-BE49-F238E27FC236}">
                  <a16:creationId xmlns:a16="http://schemas.microsoft.com/office/drawing/2014/main" id="{B8300E1F-7EA5-2E41-9DB3-D9162BD7AB3C}"/>
                </a:ext>
              </a:extLst>
            </p:cNvPr>
            <p:cNvSpPr>
              <a:spLocks/>
            </p:cNvSpPr>
            <p:nvPr/>
          </p:nvSpPr>
          <p:spPr bwMode="auto">
            <a:xfrm>
              <a:off x="8477900" y="2602213"/>
              <a:ext cx="829687" cy="563844"/>
            </a:xfrm>
            <a:custGeom>
              <a:avLst/>
              <a:gdLst>
                <a:gd name="connsiteX0" fmla="*/ 782521 w 829687"/>
                <a:gd name="connsiteY0" fmla="*/ 450218 h 563844"/>
                <a:gd name="connsiteX1" fmla="*/ 829687 w 829687"/>
                <a:gd name="connsiteY1" fmla="*/ 450218 h 563844"/>
                <a:gd name="connsiteX2" fmla="*/ 807490 w 829687"/>
                <a:gd name="connsiteY2" fmla="*/ 467341 h 563844"/>
                <a:gd name="connsiteX3" fmla="*/ 782521 w 829687"/>
                <a:gd name="connsiteY3" fmla="*/ 482028 h 563844"/>
                <a:gd name="connsiteX4" fmla="*/ 740897 w 829687"/>
                <a:gd name="connsiteY4" fmla="*/ 507031 h 563844"/>
                <a:gd name="connsiteX5" fmla="*/ 718710 w 829687"/>
                <a:gd name="connsiteY5" fmla="*/ 507031 h 563844"/>
                <a:gd name="connsiteX6" fmla="*/ 699981 w 829687"/>
                <a:gd name="connsiteY6" fmla="*/ 530961 h 563844"/>
                <a:gd name="connsiteX7" fmla="*/ 674315 w 829687"/>
                <a:gd name="connsiteY7" fmla="*/ 540751 h 563844"/>
                <a:gd name="connsiteX8" fmla="*/ 617441 w 829687"/>
                <a:gd name="connsiteY8" fmla="*/ 563844 h 563844"/>
                <a:gd name="connsiteX9" fmla="*/ 617441 w 829687"/>
                <a:gd name="connsiteY9" fmla="*/ 533407 h 563844"/>
                <a:gd name="connsiteX10" fmla="*/ 629920 w 829687"/>
                <a:gd name="connsiteY10" fmla="*/ 499156 h 563844"/>
                <a:gd name="connsiteX11" fmla="*/ 654889 w 829687"/>
                <a:gd name="connsiteY11" fmla="*/ 512323 h 563844"/>
                <a:gd name="connsiteX12" fmla="*/ 677086 w 829687"/>
                <a:gd name="connsiteY12" fmla="*/ 499156 h 563844"/>
                <a:gd name="connsiteX13" fmla="*/ 702064 w 829687"/>
                <a:gd name="connsiteY13" fmla="*/ 489372 h 563844"/>
                <a:gd name="connsiteX14" fmla="*/ 749230 w 829687"/>
                <a:gd name="connsiteY14" fmla="*/ 467341 h 563844"/>
                <a:gd name="connsiteX15" fmla="*/ 533375 w 829687"/>
                <a:gd name="connsiteY15" fmla="*/ 0 h 563844"/>
                <a:gd name="connsiteX16" fmla="*/ 573632 w 829687"/>
                <a:gd name="connsiteY16" fmla="*/ 0 h 563844"/>
                <a:gd name="connsiteX17" fmla="*/ 577803 w 829687"/>
                <a:gd name="connsiteY17" fmla="*/ 33839 h 563844"/>
                <a:gd name="connsiteX18" fmla="*/ 594486 w 829687"/>
                <a:gd name="connsiteY18" fmla="*/ 68515 h 563844"/>
                <a:gd name="connsiteX19" fmla="*/ 594486 w 829687"/>
                <a:gd name="connsiteY19" fmla="*/ 90556 h 563844"/>
                <a:gd name="connsiteX20" fmla="*/ 577803 w 829687"/>
                <a:gd name="connsiteY20" fmla="*/ 115013 h 563844"/>
                <a:gd name="connsiteX21" fmla="*/ 600047 w 829687"/>
                <a:gd name="connsiteY21" fmla="*/ 139492 h 563844"/>
                <a:gd name="connsiteX22" fmla="*/ 600047 w 829687"/>
                <a:gd name="connsiteY22" fmla="*/ 159071 h 563844"/>
                <a:gd name="connsiteX23" fmla="*/ 615309 w 829687"/>
                <a:gd name="connsiteY23" fmla="*/ 159071 h 563844"/>
                <a:gd name="connsiteX24" fmla="*/ 630602 w 829687"/>
                <a:gd name="connsiteY24" fmla="*/ 200668 h 563844"/>
                <a:gd name="connsiteX25" fmla="*/ 615309 w 829687"/>
                <a:gd name="connsiteY25" fmla="*/ 234183 h 563844"/>
                <a:gd name="connsiteX26" fmla="*/ 652816 w 829687"/>
                <a:gd name="connsiteY26" fmla="*/ 259406 h 563844"/>
                <a:gd name="connsiteX27" fmla="*/ 652816 w 829687"/>
                <a:gd name="connsiteY27" fmla="*/ 303441 h 563844"/>
                <a:gd name="connsiteX28" fmla="*/ 652816 w 829687"/>
                <a:gd name="connsiteY28" fmla="*/ 332821 h 563844"/>
                <a:gd name="connsiteX29" fmla="*/ 652816 w 829687"/>
                <a:gd name="connsiteY29" fmla="*/ 359740 h 563844"/>
                <a:gd name="connsiteX30" fmla="*/ 652816 w 829687"/>
                <a:gd name="connsiteY30" fmla="*/ 469852 h 563844"/>
                <a:gd name="connsiteX31" fmla="*/ 627822 w 829687"/>
                <a:gd name="connsiteY31" fmla="*/ 501671 h 563844"/>
                <a:gd name="connsiteX32" fmla="*/ 615309 w 829687"/>
                <a:gd name="connsiteY32" fmla="*/ 484531 h 563844"/>
                <a:gd name="connsiteX33" fmla="*/ 520863 w 829687"/>
                <a:gd name="connsiteY33" fmla="*/ 469852 h 563844"/>
                <a:gd name="connsiteX34" fmla="*/ 494478 w 829687"/>
                <a:gd name="connsiteY34" fmla="*/ 444629 h 563844"/>
                <a:gd name="connsiteX35" fmla="*/ 468516 w 829687"/>
                <a:gd name="connsiteY35" fmla="*/ 408676 h 563844"/>
                <a:gd name="connsiteX36" fmla="*/ 436148 w 829687"/>
                <a:gd name="connsiteY36" fmla="*/ 394834 h 563844"/>
                <a:gd name="connsiteX37" fmla="*/ 393261 w 829687"/>
                <a:gd name="connsiteY37" fmla="*/ 401430 h 563844"/>
                <a:gd name="connsiteX38" fmla="*/ 80574 w 829687"/>
                <a:gd name="connsiteY38" fmla="*/ 463186 h 563844"/>
                <a:gd name="connsiteX39" fmla="*/ 11092 w 829687"/>
                <a:gd name="connsiteY39" fmla="*/ 477191 h 563844"/>
                <a:gd name="connsiteX40" fmla="*/ 0 w 829687"/>
                <a:gd name="connsiteY40" fmla="*/ 445395 h 563844"/>
                <a:gd name="connsiteX41" fmla="*/ 33336 w 829687"/>
                <a:gd name="connsiteY41" fmla="*/ 412346 h 563844"/>
                <a:gd name="connsiteX42" fmla="*/ 58330 w 829687"/>
                <a:gd name="connsiteY42" fmla="*/ 376857 h 563844"/>
                <a:gd name="connsiteX43" fmla="*/ 80574 w 829687"/>
                <a:gd name="connsiteY43" fmla="*/ 345061 h 563844"/>
                <a:gd name="connsiteX44" fmla="*/ 58330 w 829687"/>
                <a:gd name="connsiteY44" fmla="*/ 318143 h 563844"/>
                <a:gd name="connsiteX45" fmla="*/ 95414 w 829687"/>
                <a:gd name="connsiteY45" fmla="*/ 293663 h 563844"/>
                <a:gd name="connsiteX46" fmla="*/ 123612 w 829687"/>
                <a:gd name="connsiteY46" fmla="*/ 282027 h 563844"/>
                <a:gd name="connsiteX47" fmla="*/ 166680 w 829687"/>
                <a:gd name="connsiteY47" fmla="*/ 282027 h 563844"/>
                <a:gd name="connsiteX48" fmla="*/ 202796 w 829687"/>
                <a:gd name="connsiteY48" fmla="*/ 282027 h 563844"/>
                <a:gd name="connsiteX49" fmla="*/ 244474 w 829687"/>
                <a:gd name="connsiteY49" fmla="*/ 282027 h 563844"/>
                <a:gd name="connsiteX50" fmla="*/ 280560 w 829687"/>
                <a:gd name="connsiteY50" fmla="*/ 261844 h 563844"/>
                <a:gd name="connsiteX51" fmla="*/ 302804 w 829687"/>
                <a:gd name="connsiteY51" fmla="*/ 252066 h 563844"/>
                <a:gd name="connsiteX52" fmla="*/ 322237 w 829687"/>
                <a:gd name="connsiteY52" fmla="*/ 215347 h 563844"/>
                <a:gd name="connsiteX53" fmla="*/ 325018 w 829687"/>
                <a:gd name="connsiteY53" fmla="*/ 200668 h 563844"/>
                <a:gd name="connsiteX54" fmla="*/ 325018 w 829687"/>
                <a:gd name="connsiteY54" fmla="*/ 168849 h 563844"/>
                <a:gd name="connsiteX55" fmla="*/ 302804 w 829687"/>
                <a:gd name="connsiteY55" fmla="*/ 168849 h 563844"/>
                <a:gd name="connsiteX56" fmla="*/ 302804 w 829687"/>
                <a:gd name="connsiteY56" fmla="*/ 146832 h 563844"/>
                <a:gd name="connsiteX57" fmla="*/ 327798 w 829687"/>
                <a:gd name="connsiteY57" fmla="*/ 134592 h 563844"/>
                <a:gd name="connsiteX58" fmla="*/ 352793 w 829687"/>
                <a:gd name="connsiteY58" fmla="*/ 110135 h 563844"/>
                <a:gd name="connsiteX59" fmla="*/ 352793 w 829687"/>
                <a:gd name="connsiteY59" fmla="*/ 85656 h 563844"/>
                <a:gd name="connsiteX60" fmla="*/ 377787 w 829687"/>
                <a:gd name="connsiteY60" fmla="*/ 63638 h 563844"/>
                <a:gd name="connsiteX61" fmla="*/ 408342 w 829687"/>
                <a:gd name="connsiteY61" fmla="*/ 33839 h 563844"/>
                <a:gd name="connsiteX62" fmla="*/ 436148 w 829687"/>
                <a:gd name="connsiteY62" fmla="*/ 17140 h 563844"/>
                <a:gd name="connsiteX63" fmla="*/ 475014 w 829687"/>
                <a:gd name="connsiteY63" fmla="*/ 17140 h 56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29687" h="563844">
                  <a:moveTo>
                    <a:pt x="782521" y="450218"/>
                  </a:moveTo>
                  <a:cubicBezTo>
                    <a:pt x="782521" y="450218"/>
                    <a:pt x="829687" y="450218"/>
                    <a:pt x="829687" y="450218"/>
                  </a:cubicBezTo>
                  <a:lnTo>
                    <a:pt x="807490" y="467341"/>
                  </a:lnTo>
                  <a:lnTo>
                    <a:pt x="782521" y="482028"/>
                  </a:lnTo>
                  <a:lnTo>
                    <a:pt x="740897" y="507031"/>
                  </a:lnTo>
                  <a:lnTo>
                    <a:pt x="718710" y="507031"/>
                  </a:lnTo>
                  <a:lnTo>
                    <a:pt x="699981" y="530961"/>
                  </a:lnTo>
                  <a:lnTo>
                    <a:pt x="674315" y="540751"/>
                  </a:lnTo>
                  <a:lnTo>
                    <a:pt x="617441" y="563844"/>
                  </a:lnTo>
                  <a:lnTo>
                    <a:pt x="617441" y="533407"/>
                  </a:lnTo>
                  <a:lnTo>
                    <a:pt x="629920" y="499156"/>
                  </a:lnTo>
                  <a:lnTo>
                    <a:pt x="654889" y="512323"/>
                  </a:lnTo>
                  <a:lnTo>
                    <a:pt x="677086" y="499156"/>
                  </a:lnTo>
                  <a:lnTo>
                    <a:pt x="702064" y="489372"/>
                  </a:lnTo>
                  <a:lnTo>
                    <a:pt x="749230" y="467341"/>
                  </a:lnTo>
                  <a:close/>
                  <a:moveTo>
                    <a:pt x="533375" y="0"/>
                  </a:moveTo>
                  <a:lnTo>
                    <a:pt x="573632" y="0"/>
                  </a:lnTo>
                  <a:cubicBezTo>
                    <a:pt x="573632" y="0"/>
                    <a:pt x="577803" y="33839"/>
                    <a:pt x="577803" y="33839"/>
                  </a:cubicBezTo>
                  <a:lnTo>
                    <a:pt x="594486" y="68515"/>
                  </a:lnTo>
                  <a:lnTo>
                    <a:pt x="594486" y="90556"/>
                  </a:lnTo>
                  <a:lnTo>
                    <a:pt x="577803" y="115013"/>
                  </a:lnTo>
                  <a:lnTo>
                    <a:pt x="600047" y="139492"/>
                  </a:lnTo>
                  <a:lnTo>
                    <a:pt x="600047" y="159071"/>
                  </a:lnTo>
                  <a:lnTo>
                    <a:pt x="615309" y="159071"/>
                  </a:lnTo>
                  <a:lnTo>
                    <a:pt x="630602" y="200668"/>
                  </a:lnTo>
                  <a:lnTo>
                    <a:pt x="615309" y="234183"/>
                  </a:lnTo>
                  <a:lnTo>
                    <a:pt x="652816" y="259406"/>
                  </a:lnTo>
                  <a:lnTo>
                    <a:pt x="652816" y="303441"/>
                  </a:lnTo>
                  <a:lnTo>
                    <a:pt x="652816" y="332821"/>
                  </a:lnTo>
                  <a:lnTo>
                    <a:pt x="652816" y="359740"/>
                  </a:lnTo>
                  <a:lnTo>
                    <a:pt x="652816" y="469852"/>
                  </a:lnTo>
                  <a:lnTo>
                    <a:pt x="627822" y="501671"/>
                  </a:lnTo>
                  <a:lnTo>
                    <a:pt x="615309" y="484531"/>
                  </a:lnTo>
                  <a:lnTo>
                    <a:pt x="520863" y="469852"/>
                  </a:lnTo>
                  <a:lnTo>
                    <a:pt x="494478" y="444629"/>
                  </a:lnTo>
                  <a:lnTo>
                    <a:pt x="468516" y="408676"/>
                  </a:lnTo>
                  <a:lnTo>
                    <a:pt x="436148" y="394834"/>
                  </a:lnTo>
                  <a:lnTo>
                    <a:pt x="393261" y="401430"/>
                  </a:lnTo>
                  <a:lnTo>
                    <a:pt x="80574" y="463186"/>
                  </a:lnTo>
                  <a:lnTo>
                    <a:pt x="11092" y="477191"/>
                  </a:lnTo>
                  <a:lnTo>
                    <a:pt x="0" y="445395"/>
                  </a:lnTo>
                  <a:lnTo>
                    <a:pt x="33336" y="412346"/>
                  </a:lnTo>
                  <a:lnTo>
                    <a:pt x="58330" y="376857"/>
                  </a:lnTo>
                  <a:lnTo>
                    <a:pt x="80574" y="345061"/>
                  </a:lnTo>
                  <a:lnTo>
                    <a:pt x="58330" y="318143"/>
                  </a:lnTo>
                  <a:lnTo>
                    <a:pt x="95414" y="293663"/>
                  </a:lnTo>
                  <a:lnTo>
                    <a:pt x="123612" y="282027"/>
                  </a:lnTo>
                  <a:lnTo>
                    <a:pt x="166680" y="282027"/>
                  </a:lnTo>
                  <a:lnTo>
                    <a:pt x="202796" y="282027"/>
                  </a:lnTo>
                  <a:lnTo>
                    <a:pt x="244474" y="282027"/>
                  </a:lnTo>
                  <a:lnTo>
                    <a:pt x="280560" y="261844"/>
                  </a:lnTo>
                  <a:lnTo>
                    <a:pt x="302804" y="252066"/>
                  </a:lnTo>
                  <a:lnTo>
                    <a:pt x="322237" y="215347"/>
                  </a:lnTo>
                  <a:lnTo>
                    <a:pt x="325018" y="200668"/>
                  </a:lnTo>
                  <a:lnTo>
                    <a:pt x="325018" y="168849"/>
                  </a:lnTo>
                  <a:lnTo>
                    <a:pt x="302804" y="168849"/>
                  </a:lnTo>
                  <a:lnTo>
                    <a:pt x="302804" y="146832"/>
                  </a:lnTo>
                  <a:lnTo>
                    <a:pt x="327798" y="134592"/>
                  </a:lnTo>
                  <a:lnTo>
                    <a:pt x="352793" y="110135"/>
                  </a:lnTo>
                  <a:lnTo>
                    <a:pt x="352793" y="85656"/>
                  </a:lnTo>
                  <a:lnTo>
                    <a:pt x="377787" y="63638"/>
                  </a:lnTo>
                  <a:lnTo>
                    <a:pt x="408342" y="33839"/>
                  </a:lnTo>
                  <a:lnTo>
                    <a:pt x="436148" y="17140"/>
                  </a:lnTo>
                  <a:lnTo>
                    <a:pt x="475014" y="17140"/>
                  </a:lnTo>
                  <a:close/>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4" name="New Mexico"/>
            <p:cNvSpPr>
              <a:spLocks/>
            </p:cNvSpPr>
            <p:nvPr/>
          </p:nvSpPr>
          <p:spPr bwMode="auto">
            <a:xfrm>
              <a:off x="5292074" y="3699886"/>
              <a:ext cx="770729" cy="685510"/>
            </a:xfrm>
            <a:custGeom>
              <a:avLst/>
              <a:gdLst/>
              <a:ahLst/>
              <a:cxnLst/>
              <a:rect l="0" t="0" r="r" b="b"/>
              <a:pathLst>
                <a:path w="21600" h="21600">
                  <a:moveTo>
                    <a:pt x="21600" y="2228"/>
                  </a:moveTo>
                  <a:lnTo>
                    <a:pt x="19548" y="21600"/>
                  </a:lnTo>
                  <a:lnTo>
                    <a:pt x="8112" y="20244"/>
                  </a:lnTo>
                  <a:lnTo>
                    <a:pt x="8112" y="20922"/>
                  </a:lnTo>
                  <a:lnTo>
                    <a:pt x="2834" y="20244"/>
                  </a:lnTo>
                  <a:lnTo>
                    <a:pt x="2443" y="21600"/>
                  </a:lnTo>
                  <a:lnTo>
                    <a:pt x="0" y="21600"/>
                  </a:lnTo>
                  <a:lnTo>
                    <a:pt x="3519" y="0"/>
                  </a:lnTo>
                  <a:cubicBezTo>
                    <a:pt x="3519" y="0"/>
                    <a:pt x="21600" y="2228"/>
                    <a:pt x="21600" y="2228"/>
                  </a:cubicBezTo>
                  <a:close/>
                  <a:moveTo>
                    <a:pt x="21600" y="2228"/>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6" name="New Jersey"/>
            <p:cNvSpPr>
              <a:spLocks/>
            </p:cNvSpPr>
            <p:nvPr/>
          </p:nvSpPr>
          <p:spPr bwMode="auto">
            <a:xfrm>
              <a:off x="8983859" y="3069581"/>
              <a:ext cx="145785" cy="293714"/>
            </a:xfrm>
            <a:custGeom>
              <a:avLst/>
              <a:gdLst/>
              <a:ahLst/>
              <a:cxnLst/>
              <a:rect l="0" t="0" r="r" b="b"/>
              <a:pathLst>
                <a:path w="21600" h="21600">
                  <a:moveTo>
                    <a:pt x="10492" y="21600"/>
                  </a:moveTo>
                  <a:lnTo>
                    <a:pt x="14605" y="18743"/>
                  </a:lnTo>
                  <a:lnTo>
                    <a:pt x="17074" y="17100"/>
                  </a:lnTo>
                  <a:lnTo>
                    <a:pt x="18720" y="14400"/>
                  </a:lnTo>
                  <a:lnTo>
                    <a:pt x="21600" y="11160"/>
                  </a:lnTo>
                  <a:lnTo>
                    <a:pt x="21600" y="8379"/>
                  </a:lnTo>
                  <a:lnTo>
                    <a:pt x="19955" y="7099"/>
                  </a:lnTo>
                  <a:lnTo>
                    <a:pt x="16046" y="7099"/>
                  </a:lnTo>
                  <a:lnTo>
                    <a:pt x="16046" y="4860"/>
                  </a:lnTo>
                  <a:lnTo>
                    <a:pt x="17897" y="2340"/>
                  </a:lnTo>
                  <a:lnTo>
                    <a:pt x="16046" y="1080"/>
                  </a:lnTo>
                  <a:lnTo>
                    <a:pt x="10492" y="360"/>
                  </a:lnTo>
                  <a:lnTo>
                    <a:pt x="7611" y="360"/>
                  </a:lnTo>
                  <a:lnTo>
                    <a:pt x="2058" y="0"/>
                  </a:lnTo>
                  <a:lnTo>
                    <a:pt x="2058" y="1620"/>
                  </a:lnTo>
                  <a:lnTo>
                    <a:pt x="1051" y="3309"/>
                  </a:lnTo>
                  <a:lnTo>
                    <a:pt x="0" y="5940"/>
                  </a:lnTo>
                  <a:lnTo>
                    <a:pt x="2058" y="8379"/>
                  </a:lnTo>
                  <a:lnTo>
                    <a:pt x="5965" y="9525"/>
                  </a:lnTo>
                  <a:lnTo>
                    <a:pt x="5554" y="10800"/>
                  </a:lnTo>
                  <a:lnTo>
                    <a:pt x="2058" y="12960"/>
                  </a:lnTo>
                  <a:lnTo>
                    <a:pt x="0" y="14400"/>
                  </a:lnTo>
                  <a:lnTo>
                    <a:pt x="1" y="16672"/>
                  </a:lnTo>
                  <a:lnTo>
                    <a:pt x="2058" y="18360"/>
                  </a:lnTo>
                  <a:lnTo>
                    <a:pt x="7611" y="18743"/>
                  </a:lnTo>
                  <a:lnTo>
                    <a:pt x="10492" y="19800"/>
                  </a:lnTo>
                  <a:cubicBezTo>
                    <a:pt x="10492" y="19800"/>
                    <a:pt x="10492" y="21600"/>
                    <a:pt x="10492" y="21600"/>
                  </a:cubicBezTo>
                  <a:close/>
                  <a:moveTo>
                    <a:pt x="10492"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3" name="New Hampshire"/>
            <p:cNvSpPr>
              <a:spLocks/>
            </p:cNvSpPr>
            <p:nvPr/>
          </p:nvSpPr>
          <p:spPr bwMode="auto">
            <a:xfrm>
              <a:off x="9185385" y="2520745"/>
              <a:ext cx="172047" cy="329087"/>
            </a:xfrm>
            <a:custGeom>
              <a:avLst/>
              <a:gdLst/>
              <a:ahLst/>
              <a:cxnLst/>
              <a:rect l="0" t="0" r="r" b="b"/>
              <a:pathLst>
                <a:path w="21600" h="21600">
                  <a:moveTo>
                    <a:pt x="21600" y="17826"/>
                  </a:moveTo>
                  <a:lnTo>
                    <a:pt x="18744" y="18693"/>
                  </a:lnTo>
                  <a:lnTo>
                    <a:pt x="15329" y="20216"/>
                  </a:lnTo>
                  <a:lnTo>
                    <a:pt x="11149" y="21070"/>
                  </a:lnTo>
                  <a:lnTo>
                    <a:pt x="5574" y="21600"/>
                  </a:lnTo>
                  <a:lnTo>
                    <a:pt x="1281" y="21600"/>
                  </a:lnTo>
                  <a:lnTo>
                    <a:pt x="0" y="19925"/>
                  </a:lnTo>
                  <a:lnTo>
                    <a:pt x="0" y="17826"/>
                  </a:lnTo>
                  <a:lnTo>
                    <a:pt x="484" y="15279"/>
                  </a:lnTo>
                  <a:lnTo>
                    <a:pt x="2003" y="12446"/>
                  </a:lnTo>
                  <a:lnTo>
                    <a:pt x="2003" y="10439"/>
                  </a:lnTo>
                  <a:lnTo>
                    <a:pt x="2003" y="8351"/>
                  </a:lnTo>
                  <a:lnTo>
                    <a:pt x="5574" y="6263"/>
                  </a:lnTo>
                  <a:lnTo>
                    <a:pt x="5574" y="4336"/>
                  </a:lnTo>
                  <a:lnTo>
                    <a:pt x="5574" y="2088"/>
                  </a:lnTo>
                  <a:lnTo>
                    <a:pt x="5574" y="964"/>
                  </a:lnTo>
                  <a:lnTo>
                    <a:pt x="9058" y="0"/>
                  </a:lnTo>
                  <a:lnTo>
                    <a:pt x="17594" y="13008"/>
                  </a:lnTo>
                  <a:lnTo>
                    <a:pt x="21600" y="14453"/>
                  </a:lnTo>
                  <a:lnTo>
                    <a:pt x="21600" y="15899"/>
                  </a:lnTo>
                  <a:cubicBezTo>
                    <a:pt x="21600" y="15899"/>
                    <a:pt x="21600" y="17826"/>
                    <a:pt x="21600" y="17826"/>
                  </a:cubicBezTo>
                  <a:close/>
                  <a:moveTo>
                    <a:pt x="21600" y="1782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9" name="Nebraska"/>
            <p:cNvSpPr>
              <a:spLocks/>
            </p:cNvSpPr>
            <p:nvPr/>
          </p:nvSpPr>
          <p:spPr bwMode="auto">
            <a:xfrm>
              <a:off x="6020998" y="3022416"/>
              <a:ext cx="875244" cy="399301"/>
            </a:xfrm>
            <a:custGeom>
              <a:avLst/>
              <a:gdLst/>
              <a:ahLst/>
              <a:cxnLst/>
              <a:rect l="0" t="0" r="r" b="b"/>
              <a:pathLst>
                <a:path w="21600" h="21600">
                  <a:moveTo>
                    <a:pt x="14199" y="1492"/>
                  </a:moveTo>
                  <a:lnTo>
                    <a:pt x="704" y="0"/>
                  </a:lnTo>
                  <a:lnTo>
                    <a:pt x="0" y="12626"/>
                  </a:lnTo>
                  <a:lnTo>
                    <a:pt x="4819" y="13956"/>
                  </a:lnTo>
                  <a:lnTo>
                    <a:pt x="4568" y="20425"/>
                  </a:lnTo>
                  <a:lnTo>
                    <a:pt x="21600" y="21600"/>
                  </a:lnTo>
                  <a:lnTo>
                    <a:pt x="21600" y="20425"/>
                  </a:lnTo>
                  <a:lnTo>
                    <a:pt x="21600" y="19606"/>
                  </a:lnTo>
                  <a:lnTo>
                    <a:pt x="21600" y="18941"/>
                  </a:lnTo>
                  <a:lnTo>
                    <a:pt x="20826" y="17892"/>
                  </a:lnTo>
                  <a:lnTo>
                    <a:pt x="20449" y="15879"/>
                  </a:lnTo>
                  <a:lnTo>
                    <a:pt x="20183" y="14454"/>
                  </a:lnTo>
                  <a:lnTo>
                    <a:pt x="20183" y="12626"/>
                  </a:lnTo>
                  <a:lnTo>
                    <a:pt x="20183" y="11962"/>
                  </a:lnTo>
                  <a:lnTo>
                    <a:pt x="20183" y="10800"/>
                  </a:lnTo>
                  <a:lnTo>
                    <a:pt x="19971" y="9535"/>
                  </a:lnTo>
                  <a:lnTo>
                    <a:pt x="19449" y="7973"/>
                  </a:lnTo>
                  <a:lnTo>
                    <a:pt x="19449" y="6644"/>
                  </a:lnTo>
                  <a:lnTo>
                    <a:pt x="19018" y="5647"/>
                  </a:lnTo>
                  <a:lnTo>
                    <a:pt x="18330" y="4318"/>
                  </a:lnTo>
                  <a:lnTo>
                    <a:pt x="17482" y="3321"/>
                  </a:lnTo>
                  <a:lnTo>
                    <a:pt x="16781" y="3321"/>
                  </a:lnTo>
                  <a:lnTo>
                    <a:pt x="15920" y="3653"/>
                  </a:lnTo>
                  <a:lnTo>
                    <a:pt x="15662" y="2157"/>
                  </a:lnTo>
                  <a:lnTo>
                    <a:pt x="14888" y="2323"/>
                  </a:lnTo>
                  <a:cubicBezTo>
                    <a:pt x="14888" y="2323"/>
                    <a:pt x="14199" y="1492"/>
                    <a:pt x="14199" y="1492"/>
                  </a:cubicBezTo>
                  <a:close/>
                  <a:moveTo>
                    <a:pt x="14199" y="1492"/>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1" name="Montana"/>
            <p:cNvSpPr>
              <a:spLocks/>
            </p:cNvSpPr>
            <p:nvPr/>
          </p:nvSpPr>
          <p:spPr bwMode="auto">
            <a:xfrm>
              <a:off x="5047670" y="2121981"/>
              <a:ext cx="1098745" cy="648527"/>
            </a:xfrm>
            <a:custGeom>
              <a:avLst/>
              <a:gdLst/>
              <a:ahLst/>
              <a:cxnLst/>
              <a:rect l="0" t="0" r="r" b="b"/>
              <a:pathLst>
                <a:path w="21600" h="21600">
                  <a:moveTo>
                    <a:pt x="21600" y="5016"/>
                  </a:moveTo>
                  <a:lnTo>
                    <a:pt x="20366" y="21600"/>
                  </a:lnTo>
                  <a:lnTo>
                    <a:pt x="7200" y="18938"/>
                  </a:lnTo>
                  <a:lnTo>
                    <a:pt x="7030" y="20349"/>
                  </a:lnTo>
                  <a:lnTo>
                    <a:pt x="6446" y="19450"/>
                  </a:lnTo>
                  <a:lnTo>
                    <a:pt x="6253" y="19910"/>
                  </a:lnTo>
                  <a:lnTo>
                    <a:pt x="5691" y="20269"/>
                  </a:lnTo>
                  <a:lnTo>
                    <a:pt x="5074" y="20269"/>
                  </a:lnTo>
                  <a:lnTo>
                    <a:pt x="4663" y="20269"/>
                  </a:lnTo>
                  <a:lnTo>
                    <a:pt x="3977" y="19757"/>
                  </a:lnTo>
                  <a:lnTo>
                    <a:pt x="3977" y="20167"/>
                  </a:lnTo>
                  <a:lnTo>
                    <a:pt x="3566" y="20269"/>
                  </a:lnTo>
                  <a:lnTo>
                    <a:pt x="3264" y="19430"/>
                  </a:lnTo>
                  <a:lnTo>
                    <a:pt x="2995" y="19026"/>
                  </a:lnTo>
                  <a:lnTo>
                    <a:pt x="3017" y="18427"/>
                  </a:lnTo>
                  <a:lnTo>
                    <a:pt x="2674" y="17812"/>
                  </a:lnTo>
                  <a:lnTo>
                    <a:pt x="2674" y="17096"/>
                  </a:lnTo>
                  <a:lnTo>
                    <a:pt x="2674" y="16686"/>
                  </a:lnTo>
                  <a:lnTo>
                    <a:pt x="2331" y="16174"/>
                  </a:lnTo>
                  <a:lnTo>
                    <a:pt x="2331" y="14434"/>
                  </a:lnTo>
                  <a:lnTo>
                    <a:pt x="1851" y="14537"/>
                  </a:lnTo>
                  <a:lnTo>
                    <a:pt x="1509" y="15048"/>
                  </a:lnTo>
                  <a:lnTo>
                    <a:pt x="1166" y="14332"/>
                  </a:lnTo>
                  <a:lnTo>
                    <a:pt x="1371" y="12796"/>
                  </a:lnTo>
                  <a:lnTo>
                    <a:pt x="1577" y="11773"/>
                  </a:lnTo>
                  <a:lnTo>
                    <a:pt x="1851" y="10442"/>
                  </a:lnTo>
                  <a:lnTo>
                    <a:pt x="1851" y="10032"/>
                  </a:lnTo>
                  <a:lnTo>
                    <a:pt x="891" y="8599"/>
                  </a:lnTo>
                  <a:lnTo>
                    <a:pt x="891" y="7678"/>
                  </a:lnTo>
                  <a:lnTo>
                    <a:pt x="343" y="6961"/>
                  </a:lnTo>
                  <a:lnTo>
                    <a:pt x="0" y="6347"/>
                  </a:lnTo>
                  <a:lnTo>
                    <a:pt x="0" y="5016"/>
                  </a:lnTo>
                  <a:lnTo>
                    <a:pt x="0" y="4402"/>
                  </a:lnTo>
                  <a:lnTo>
                    <a:pt x="0" y="3276"/>
                  </a:lnTo>
                  <a:lnTo>
                    <a:pt x="0" y="2354"/>
                  </a:lnTo>
                  <a:lnTo>
                    <a:pt x="343" y="1228"/>
                  </a:lnTo>
                  <a:lnTo>
                    <a:pt x="343" y="0"/>
                  </a:lnTo>
                  <a:cubicBezTo>
                    <a:pt x="343" y="0"/>
                    <a:pt x="20503" y="5835"/>
                    <a:pt x="21600" y="5016"/>
                  </a:cubicBezTo>
                  <a:close/>
                  <a:moveTo>
                    <a:pt x="21600" y="501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4" name="Missouri"/>
            <p:cNvSpPr>
              <a:spLocks/>
            </p:cNvSpPr>
            <p:nvPr/>
          </p:nvSpPr>
          <p:spPr bwMode="auto">
            <a:xfrm>
              <a:off x="6865692" y="3356863"/>
              <a:ext cx="701054" cy="554196"/>
            </a:xfrm>
            <a:custGeom>
              <a:avLst/>
              <a:gdLst/>
              <a:ahLst/>
              <a:cxnLst/>
              <a:rect l="0" t="0" r="r" b="b"/>
              <a:pathLst>
                <a:path w="21600" h="21600">
                  <a:moveTo>
                    <a:pt x="3439" y="6985"/>
                  </a:moveTo>
                  <a:lnTo>
                    <a:pt x="2794" y="6506"/>
                  </a:lnTo>
                  <a:lnTo>
                    <a:pt x="2687" y="5248"/>
                  </a:lnTo>
                  <a:lnTo>
                    <a:pt x="2149" y="5248"/>
                  </a:lnTo>
                  <a:lnTo>
                    <a:pt x="1934" y="4709"/>
                  </a:lnTo>
                  <a:lnTo>
                    <a:pt x="2364" y="3751"/>
                  </a:lnTo>
                  <a:lnTo>
                    <a:pt x="967" y="2673"/>
                  </a:lnTo>
                  <a:lnTo>
                    <a:pt x="967" y="1235"/>
                  </a:lnTo>
                  <a:lnTo>
                    <a:pt x="578" y="452"/>
                  </a:lnTo>
                  <a:lnTo>
                    <a:pt x="0" y="0"/>
                  </a:lnTo>
                  <a:lnTo>
                    <a:pt x="12788" y="0"/>
                  </a:lnTo>
                  <a:lnTo>
                    <a:pt x="13648" y="756"/>
                  </a:lnTo>
                  <a:lnTo>
                    <a:pt x="13648" y="1826"/>
                  </a:lnTo>
                  <a:lnTo>
                    <a:pt x="13997" y="3392"/>
                  </a:lnTo>
                  <a:lnTo>
                    <a:pt x="14937" y="4590"/>
                  </a:lnTo>
                  <a:lnTo>
                    <a:pt x="16227" y="6386"/>
                  </a:lnTo>
                  <a:lnTo>
                    <a:pt x="16227" y="7960"/>
                  </a:lnTo>
                  <a:lnTo>
                    <a:pt x="17516" y="7345"/>
                  </a:lnTo>
                  <a:lnTo>
                    <a:pt x="18161" y="7960"/>
                  </a:lnTo>
                  <a:lnTo>
                    <a:pt x="17516" y="9999"/>
                  </a:lnTo>
                  <a:lnTo>
                    <a:pt x="17516" y="11178"/>
                  </a:lnTo>
                  <a:lnTo>
                    <a:pt x="19021" y="12376"/>
                  </a:lnTo>
                  <a:lnTo>
                    <a:pt x="20310" y="13454"/>
                  </a:lnTo>
                  <a:lnTo>
                    <a:pt x="20505" y="15254"/>
                  </a:lnTo>
                  <a:lnTo>
                    <a:pt x="21037" y="15960"/>
                  </a:lnTo>
                  <a:lnTo>
                    <a:pt x="21600" y="16209"/>
                  </a:lnTo>
                  <a:lnTo>
                    <a:pt x="21600" y="17886"/>
                  </a:lnTo>
                  <a:lnTo>
                    <a:pt x="21600" y="18845"/>
                  </a:lnTo>
                  <a:lnTo>
                    <a:pt x="20418" y="18845"/>
                  </a:lnTo>
                  <a:lnTo>
                    <a:pt x="20095" y="20402"/>
                  </a:lnTo>
                  <a:lnTo>
                    <a:pt x="19881" y="21600"/>
                  </a:lnTo>
                  <a:lnTo>
                    <a:pt x="18161" y="21600"/>
                  </a:lnTo>
                  <a:lnTo>
                    <a:pt x="17516" y="21600"/>
                  </a:lnTo>
                  <a:lnTo>
                    <a:pt x="18161" y="20282"/>
                  </a:lnTo>
                  <a:lnTo>
                    <a:pt x="18161" y="19564"/>
                  </a:lnTo>
                  <a:lnTo>
                    <a:pt x="17529" y="19564"/>
                  </a:lnTo>
                  <a:lnTo>
                    <a:pt x="3331" y="20043"/>
                  </a:lnTo>
                  <a:cubicBezTo>
                    <a:pt x="3331" y="20043"/>
                    <a:pt x="3439" y="6985"/>
                    <a:pt x="3439" y="6985"/>
                  </a:cubicBezTo>
                  <a:close/>
                  <a:moveTo>
                    <a:pt x="3439" y="6985"/>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7" name="Mississippi"/>
            <p:cNvSpPr>
              <a:spLocks/>
            </p:cNvSpPr>
            <p:nvPr/>
          </p:nvSpPr>
          <p:spPr bwMode="auto">
            <a:xfrm>
              <a:off x="7320198" y="4030046"/>
              <a:ext cx="369286" cy="574563"/>
            </a:xfrm>
            <a:custGeom>
              <a:avLst/>
              <a:gdLst/>
              <a:ahLst/>
              <a:cxnLst/>
              <a:rect l="0" t="0" r="r" b="b"/>
              <a:pathLst>
                <a:path w="21600" h="21600">
                  <a:moveTo>
                    <a:pt x="21600" y="21369"/>
                  </a:moveTo>
                  <a:lnTo>
                    <a:pt x="13449" y="21600"/>
                  </a:lnTo>
                  <a:lnTo>
                    <a:pt x="12227" y="20445"/>
                  </a:lnTo>
                  <a:lnTo>
                    <a:pt x="12227" y="18712"/>
                  </a:lnTo>
                  <a:lnTo>
                    <a:pt x="0" y="19221"/>
                  </a:lnTo>
                  <a:lnTo>
                    <a:pt x="0" y="17326"/>
                  </a:lnTo>
                  <a:lnTo>
                    <a:pt x="3260" y="13399"/>
                  </a:lnTo>
                  <a:lnTo>
                    <a:pt x="3045" y="12186"/>
                  </a:lnTo>
                  <a:lnTo>
                    <a:pt x="2611" y="10403"/>
                  </a:lnTo>
                  <a:lnTo>
                    <a:pt x="2242" y="9818"/>
                  </a:lnTo>
                  <a:lnTo>
                    <a:pt x="2649" y="8548"/>
                  </a:lnTo>
                  <a:lnTo>
                    <a:pt x="1834" y="7046"/>
                  </a:lnTo>
                  <a:lnTo>
                    <a:pt x="3464" y="4736"/>
                  </a:lnTo>
                  <a:lnTo>
                    <a:pt x="6725" y="2888"/>
                  </a:lnTo>
                  <a:lnTo>
                    <a:pt x="6725" y="520"/>
                  </a:lnTo>
                  <a:lnTo>
                    <a:pt x="8762" y="0"/>
                  </a:lnTo>
                  <a:lnTo>
                    <a:pt x="21600" y="0"/>
                  </a:lnTo>
                  <a:cubicBezTo>
                    <a:pt x="21600" y="0"/>
                    <a:pt x="19766" y="20792"/>
                    <a:pt x="21600" y="21369"/>
                  </a:cubicBezTo>
                  <a:close/>
                  <a:moveTo>
                    <a:pt x="21600" y="2136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2" name="Minnesota"/>
            <p:cNvSpPr>
              <a:spLocks/>
            </p:cNvSpPr>
            <p:nvPr/>
          </p:nvSpPr>
          <p:spPr bwMode="auto">
            <a:xfrm>
              <a:off x="6758498" y="2272053"/>
              <a:ext cx="697302" cy="722492"/>
            </a:xfrm>
            <a:custGeom>
              <a:avLst/>
              <a:gdLst/>
              <a:ahLst/>
              <a:cxnLst/>
              <a:rect l="0" t="0" r="r" b="b"/>
              <a:pathLst>
                <a:path w="21600" h="21600">
                  <a:moveTo>
                    <a:pt x="1512" y="21600"/>
                  </a:moveTo>
                  <a:lnTo>
                    <a:pt x="1512" y="14890"/>
                  </a:lnTo>
                  <a:lnTo>
                    <a:pt x="540" y="13787"/>
                  </a:lnTo>
                  <a:lnTo>
                    <a:pt x="1512" y="13052"/>
                  </a:lnTo>
                  <a:lnTo>
                    <a:pt x="1512" y="12500"/>
                  </a:lnTo>
                  <a:lnTo>
                    <a:pt x="1026" y="9651"/>
                  </a:lnTo>
                  <a:lnTo>
                    <a:pt x="1026" y="8456"/>
                  </a:lnTo>
                  <a:lnTo>
                    <a:pt x="1026" y="7169"/>
                  </a:lnTo>
                  <a:lnTo>
                    <a:pt x="972" y="6250"/>
                  </a:lnTo>
                  <a:lnTo>
                    <a:pt x="403" y="4765"/>
                  </a:lnTo>
                  <a:lnTo>
                    <a:pt x="324" y="3585"/>
                  </a:lnTo>
                  <a:lnTo>
                    <a:pt x="324" y="2390"/>
                  </a:lnTo>
                  <a:lnTo>
                    <a:pt x="0" y="1287"/>
                  </a:lnTo>
                  <a:lnTo>
                    <a:pt x="5832" y="1287"/>
                  </a:lnTo>
                  <a:lnTo>
                    <a:pt x="5832" y="0"/>
                  </a:lnTo>
                  <a:lnTo>
                    <a:pt x="6804" y="0"/>
                  </a:lnTo>
                  <a:lnTo>
                    <a:pt x="7236" y="1654"/>
                  </a:lnTo>
                  <a:lnTo>
                    <a:pt x="8640" y="2390"/>
                  </a:lnTo>
                  <a:lnTo>
                    <a:pt x="9720" y="2482"/>
                  </a:lnTo>
                  <a:lnTo>
                    <a:pt x="9720" y="2941"/>
                  </a:lnTo>
                  <a:lnTo>
                    <a:pt x="10692" y="2849"/>
                  </a:lnTo>
                  <a:lnTo>
                    <a:pt x="10692" y="2390"/>
                  </a:lnTo>
                  <a:lnTo>
                    <a:pt x="12312" y="2482"/>
                  </a:lnTo>
                  <a:lnTo>
                    <a:pt x="13284" y="2757"/>
                  </a:lnTo>
                  <a:lnTo>
                    <a:pt x="13932" y="3677"/>
                  </a:lnTo>
                  <a:lnTo>
                    <a:pt x="14580" y="3401"/>
                  </a:lnTo>
                  <a:lnTo>
                    <a:pt x="15120" y="4044"/>
                  </a:lnTo>
                  <a:lnTo>
                    <a:pt x="15768" y="3952"/>
                  </a:lnTo>
                  <a:lnTo>
                    <a:pt x="15768" y="4320"/>
                  </a:lnTo>
                  <a:lnTo>
                    <a:pt x="16632" y="4228"/>
                  </a:lnTo>
                  <a:lnTo>
                    <a:pt x="17928" y="3677"/>
                  </a:lnTo>
                  <a:lnTo>
                    <a:pt x="18792" y="4228"/>
                  </a:lnTo>
                  <a:lnTo>
                    <a:pt x="19764" y="3952"/>
                  </a:lnTo>
                  <a:lnTo>
                    <a:pt x="20844" y="4228"/>
                  </a:lnTo>
                  <a:lnTo>
                    <a:pt x="21600" y="4504"/>
                  </a:lnTo>
                  <a:lnTo>
                    <a:pt x="20952" y="5193"/>
                  </a:lnTo>
                  <a:lnTo>
                    <a:pt x="19764" y="5193"/>
                  </a:lnTo>
                  <a:lnTo>
                    <a:pt x="18900" y="6250"/>
                  </a:lnTo>
                  <a:lnTo>
                    <a:pt x="17388" y="6802"/>
                  </a:lnTo>
                  <a:lnTo>
                    <a:pt x="16632" y="7721"/>
                  </a:lnTo>
                  <a:lnTo>
                    <a:pt x="15660" y="8640"/>
                  </a:lnTo>
                  <a:lnTo>
                    <a:pt x="14796" y="9099"/>
                  </a:lnTo>
                  <a:lnTo>
                    <a:pt x="14148" y="10019"/>
                  </a:lnTo>
                  <a:lnTo>
                    <a:pt x="14472" y="10800"/>
                  </a:lnTo>
                  <a:lnTo>
                    <a:pt x="14364" y="11188"/>
                  </a:lnTo>
                  <a:lnTo>
                    <a:pt x="13608" y="12041"/>
                  </a:lnTo>
                  <a:lnTo>
                    <a:pt x="12856" y="13159"/>
                  </a:lnTo>
                  <a:lnTo>
                    <a:pt x="13068" y="14063"/>
                  </a:lnTo>
                  <a:lnTo>
                    <a:pt x="12636" y="15350"/>
                  </a:lnTo>
                  <a:lnTo>
                    <a:pt x="12960" y="16820"/>
                  </a:lnTo>
                  <a:lnTo>
                    <a:pt x="14040" y="17464"/>
                  </a:lnTo>
                  <a:lnTo>
                    <a:pt x="15336" y="18370"/>
                  </a:lnTo>
                  <a:lnTo>
                    <a:pt x="16740" y="19486"/>
                  </a:lnTo>
                  <a:lnTo>
                    <a:pt x="17604" y="20037"/>
                  </a:lnTo>
                  <a:lnTo>
                    <a:pt x="17604" y="21600"/>
                  </a:lnTo>
                  <a:lnTo>
                    <a:pt x="16848" y="21600"/>
                  </a:lnTo>
                  <a:lnTo>
                    <a:pt x="13392" y="21600"/>
                  </a:lnTo>
                  <a:lnTo>
                    <a:pt x="10800" y="21600"/>
                  </a:lnTo>
                  <a:lnTo>
                    <a:pt x="7884" y="21600"/>
                  </a:lnTo>
                  <a:lnTo>
                    <a:pt x="5724" y="21600"/>
                  </a:lnTo>
                  <a:lnTo>
                    <a:pt x="3564" y="21600"/>
                  </a:lnTo>
                  <a:lnTo>
                    <a:pt x="2542" y="21600"/>
                  </a:lnTo>
                  <a:cubicBezTo>
                    <a:pt x="2542" y="21600"/>
                    <a:pt x="1512" y="21600"/>
                    <a:pt x="1512" y="21600"/>
                  </a:cubicBezTo>
                  <a:close/>
                  <a:moveTo>
                    <a:pt x="1512"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2" name="Michigan"/>
            <p:cNvSpPr>
              <a:spLocks/>
            </p:cNvSpPr>
            <p:nvPr/>
          </p:nvSpPr>
          <p:spPr bwMode="auto">
            <a:xfrm>
              <a:off x="7388802" y="2482155"/>
              <a:ext cx="802889" cy="722492"/>
            </a:xfrm>
            <a:custGeom>
              <a:avLst/>
              <a:gdLst/>
              <a:ahLst/>
              <a:cxnLst/>
              <a:rect l="0" t="0" r="r" b="b"/>
              <a:pathLst>
                <a:path w="21600" h="21600">
                  <a:moveTo>
                    <a:pt x="19806" y="20084"/>
                  </a:moveTo>
                  <a:lnTo>
                    <a:pt x="10688" y="21003"/>
                  </a:lnTo>
                  <a:lnTo>
                    <a:pt x="9118" y="21600"/>
                  </a:lnTo>
                  <a:lnTo>
                    <a:pt x="8371" y="21600"/>
                  </a:lnTo>
                  <a:lnTo>
                    <a:pt x="8371" y="21003"/>
                  </a:lnTo>
                  <a:lnTo>
                    <a:pt x="10464" y="20523"/>
                  </a:lnTo>
                  <a:lnTo>
                    <a:pt x="11211" y="19302"/>
                  </a:lnTo>
                  <a:lnTo>
                    <a:pt x="11734" y="17887"/>
                  </a:lnTo>
                  <a:lnTo>
                    <a:pt x="11734" y="16862"/>
                  </a:lnTo>
                  <a:lnTo>
                    <a:pt x="11435" y="15691"/>
                  </a:lnTo>
                  <a:lnTo>
                    <a:pt x="10837" y="14706"/>
                  </a:lnTo>
                  <a:lnTo>
                    <a:pt x="10763" y="13421"/>
                  </a:lnTo>
                  <a:lnTo>
                    <a:pt x="10613" y="12120"/>
                  </a:lnTo>
                  <a:lnTo>
                    <a:pt x="10987" y="10543"/>
                  </a:lnTo>
                  <a:lnTo>
                    <a:pt x="11360" y="9614"/>
                  </a:lnTo>
                  <a:lnTo>
                    <a:pt x="11660" y="8640"/>
                  </a:lnTo>
                  <a:lnTo>
                    <a:pt x="12482" y="8640"/>
                  </a:lnTo>
                  <a:lnTo>
                    <a:pt x="12855" y="8640"/>
                  </a:lnTo>
                  <a:lnTo>
                    <a:pt x="13229" y="8640"/>
                  </a:lnTo>
                  <a:lnTo>
                    <a:pt x="12781" y="7857"/>
                  </a:lnTo>
                  <a:lnTo>
                    <a:pt x="13304" y="7491"/>
                  </a:lnTo>
                  <a:lnTo>
                    <a:pt x="14008" y="6686"/>
                  </a:lnTo>
                  <a:lnTo>
                    <a:pt x="14008" y="6250"/>
                  </a:lnTo>
                  <a:lnTo>
                    <a:pt x="14425" y="5587"/>
                  </a:lnTo>
                  <a:lnTo>
                    <a:pt x="14574" y="4938"/>
                  </a:lnTo>
                  <a:lnTo>
                    <a:pt x="14008" y="4550"/>
                  </a:lnTo>
                  <a:lnTo>
                    <a:pt x="13154" y="4550"/>
                  </a:lnTo>
                  <a:lnTo>
                    <a:pt x="12706" y="4550"/>
                  </a:lnTo>
                  <a:lnTo>
                    <a:pt x="12033" y="4938"/>
                  </a:lnTo>
                  <a:lnTo>
                    <a:pt x="11510" y="4938"/>
                  </a:lnTo>
                  <a:lnTo>
                    <a:pt x="10837" y="4938"/>
                  </a:lnTo>
                  <a:lnTo>
                    <a:pt x="10538" y="5734"/>
                  </a:lnTo>
                  <a:lnTo>
                    <a:pt x="10090" y="6250"/>
                  </a:lnTo>
                  <a:lnTo>
                    <a:pt x="9866" y="5734"/>
                  </a:lnTo>
                  <a:lnTo>
                    <a:pt x="9118" y="6250"/>
                  </a:lnTo>
                  <a:lnTo>
                    <a:pt x="8745" y="5734"/>
                  </a:lnTo>
                  <a:lnTo>
                    <a:pt x="8745" y="6250"/>
                  </a:lnTo>
                  <a:lnTo>
                    <a:pt x="8371" y="7637"/>
                  </a:lnTo>
                  <a:lnTo>
                    <a:pt x="7386" y="8308"/>
                  </a:lnTo>
                  <a:lnTo>
                    <a:pt x="6876" y="6979"/>
                  </a:lnTo>
                  <a:lnTo>
                    <a:pt x="6876" y="6250"/>
                  </a:lnTo>
                  <a:lnTo>
                    <a:pt x="6129" y="5807"/>
                  </a:lnTo>
                  <a:lnTo>
                    <a:pt x="5755" y="5441"/>
                  </a:lnTo>
                  <a:lnTo>
                    <a:pt x="4335" y="5368"/>
                  </a:lnTo>
                  <a:lnTo>
                    <a:pt x="3737" y="4938"/>
                  </a:lnTo>
                  <a:lnTo>
                    <a:pt x="2692" y="4677"/>
                  </a:lnTo>
                  <a:lnTo>
                    <a:pt x="1810" y="4550"/>
                  </a:lnTo>
                  <a:lnTo>
                    <a:pt x="1247" y="4550"/>
                  </a:lnTo>
                  <a:lnTo>
                    <a:pt x="822" y="4050"/>
                  </a:lnTo>
                  <a:lnTo>
                    <a:pt x="523" y="3684"/>
                  </a:lnTo>
                  <a:lnTo>
                    <a:pt x="0" y="3391"/>
                  </a:lnTo>
                  <a:lnTo>
                    <a:pt x="1810" y="2512"/>
                  </a:lnTo>
                  <a:lnTo>
                    <a:pt x="2765" y="2146"/>
                  </a:lnTo>
                  <a:lnTo>
                    <a:pt x="3494" y="1853"/>
                  </a:lnTo>
                  <a:lnTo>
                    <a:pt x="3494" y="1341"/>
                  </a:lnTo>
                  <a:lnTo>
                    <a:pt x="4260" y="1341"/>
                  </a:lnTo>
                  <a:lnTo>
                    <a:pt x="4812" y="829"/>
                  </a:lnTo>
                  <a:lnTo>
                    <a:pt x="4812" y="243"/>
                  </a:lnTo>
                  <a:lnTo>
                    <a:pt x="5606" y="243"/>
                  </a:lnTo>
                  <a:lnTo>
                    <a:pt x="6428" y="0"/>
                  </a:lnTo>
                  <a:lnTo>
                    <a:pt x="5830" y="682"/>
                  </a:lnTo>
                  <a:lnTo>
                    <a:pt x="5307" y="1414"/>
                  </a:lnTo>
                  <a:lnTo>
                    <a:pt x="4812" y="2146"/>
                  </a:lnTo>
                  <a:lnTo>
                    <a:pt x="4812" y="2439"/>
                  </a:lnTo>
                  <a:lnTo>
                    <a:pt x="5979" y="2146"/>
                  </a:lnTo>
                  <a:lnTo>
                    <a:pt x="6951" y="2146"/>
                  </a:lnTo>
                  <a:lnTo>
                    <a:pt x="7549" y="2805"/>
                  </a:lnTo>
                  <a:lnTo>
                    <a:pt x="8147" y="3318"/>
                  </a:lnTo>
                  <a:lnTo>
                    <a:pt x="8745" y="3245"/>
                  </a:lnTo>
                  <a:lnTo>
                    <a:pt x="9118" y="3464"/>
                  </a:lnTo>
                  <a:lnTo>
                    <a:pt x="9903" y="3245"/>
                  </a:lnTo>
                  <a:lnTo>
                    <a:pt x="10688" y="2732"/>
                  </a:lnTo>
                  <a:lnTo>
                    <a:pt x="11734" y="2439"/>
                  </a:lnTo>
                  <a:lnTo>
                    <a:pt x="12706" y="2146"/>
                  </a:lnTo>
                  <a:lnTo>
                    <a:pt x="13453" y="1780"/>
                  </a:lnTo>
                  <a:lnTo>
                    <a:pt x="14008" y="2146"/>
                  </a:lnTo>
                  <a:lnTo>
                    <a:pt x="14008" y="2586"/>
                  </a:lnTo>
                  <a:lnTo>
                    <a:pt x="14350" y="3025"/>
                  </a:lnTo>
                  <a:lnTo>
                    <a:pt x="15247" y="2659"/>
                  </a:lnTo>
                  <a:lnTo>
                    <a:pt x="15994" y="3098"/>
                  </a:lnTo>
                  <a:lnTo>
                    <a:pt x="16592" y="3830"/>
                  </a:lnTo>
                  <a:lnTo>
                    <a:pt x="17116" y="3904"/>
                  </a:lnTo>
                  <a:lnTo>
                    <a:pt x="17788" y="3904"/>
                  </a:lnTo>
                  <a:lnTo>
                    <a:pt x="17639" y="4550"/>
                  </a:lnTo>
                  <a:lnTo>
                    <a:pt x="16966" y="4550"/>
                  </a:lnTo>
                  <a:lnTo>
                    <a:pt x="16368" y="4550"/>
                  </a:lnTo>
                  <a:lnTo>
                    <a:pt x="15696" y="4550"/>
                  </a:lnTo>
                  <a:lnTo>
                    <a:pt x="15023" y="4550"/>
                  </a:lnTo>
                  <a:lnTo>
                    <a:pt x="14948" y="5514"/>
                  </a:lnTo>
                  <a:lnTo>
                    <a:pt x="15845" y="5807"/>
                  </a:lnTo>
                  <a:lnTo>
                    <a:pt x="16817" y="6250"/>
                  </a:lnTo>
                  <a:lnTo>
                    <a:pt x="17564" y="6250"/>
                  </a:lnTo>
                  <a:lnTo>
                    <a:pt x="18237" y="6759"/>
                  </a:lnTo>
                  <a:lnTo>
                    <a:pt x="18610" y="7345"/>
                  </a:lnTo>
                  <a:lnTo>
                    <a:pt x="18311" y="8004"/>
                  </a:lnTo>
                  <a:lnTo>
                    <a:pt x="18835" y="8640"/>
                  </a:lnTo>
                  <a:lnTo>
                    <a:pt x="18909" y="9468"/>
                  </a:lnTo>
                  <a:lnTo>
                    <a:pt x="18760" y="10543"/>
                  </a:lnTo>
                  <a:lnTo>
                    <a:pt x="18311" y="11152"/>
                  </a:lnTo>
                  <a:lnTo>
                    <a:pt x="17788" y="11737"/>
                  </a:lnTo>
                  <a:lnTo>
                    <a:pt x="17340" y="12120"/>
                  </a:lnTo>
                  <a:lnTo>
                    <a:pt x="17714" y="12909"/>
                  </a:lnTo>
                  <a:lnTo>
                    <a:pt x="18087" y="13202"/>
                  </a:lnTo>
                  <a:lnTo>
                    <a:pt x="18685" y="12543"/>
                  </a:lnTo>
                  <a:lnTo>
                    <a:pt x="19134" y="12120"/>
                  </a:lnTo>
                  <a:lnTo>
                    <a:pt x="19806" y="11371"/>
                  </a:lnTo>
                  <a:lnTo>
                    <a:pt x="20628" y="11591"/>
                  </a:lnTo>
                  <a:lnTo>
                    <a:pt x="21077" y="12120"/>
                  </a:lnTo>
                  <a:lnTo>
                    <a:pt x="21077" y="13202"/>
                  </a:lnTo>
                  <a:lnTo>
                    <a:pt x="21600" y="13568"/>
                  </a:lnTo>
                  <a:lnTo>
                    <a:pt x="21600" y="14706"/>
                  </a:lnTo>
                  <a:lnTo>
                    <a:pt x="21600" y="15350"/>
                  </a:lnTo>
                  <a:lnTo>
                    <a:pt x="21600" y="16179"/>
                  </a:lnTo>
                  <a:lnTo>
                    <a:pt x="21226" y="16569"/>
                  </a:lnTo>
                  <a:lnTo>
                    <a:pt x="20778" y="17228"/>
                  </a:lnTo>
                  <a:lnTo>
                    <a:pt x="20404" y="17814"/>
                  </a:lnTo>
                  <a:lnTo>
                    <a:pt x="20180" y="18180"/>
                  </a:lnTo>
                  <a:lnTo>
                    <a:pt x="20180" y="18940"/>
                  </a:lnTo>
                  <a:lnTo>
                    <a:pt x="19732" y="19718"/>
                  </a:lnTo>
                  <a:cubicBezTo>
                    <a:pt x="19732" y="19718"/>
                    <a:pt x="19806" y="20084"/>
                    <a:pt x="19806" y="20084"/>
                  </a:cubicBezTo>
                  <a:close/>
                  <a:moveTo>
                    <a:pt x="19806" y="20084"/>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0" name="Massachusetts"/>
            <p:cNvSpPr>
              <a:spLocks/>
            </p:cNvSpPr>
            <p:nvPr/>
          </p:nvSpPr>
          <p:spPr bwMode="auto">
            <a:xfrm>
              <a:off x="9129643" y="2794627"/>
              <a:ext cx="341415" cy="170440"/>
            </a:xfrm>
            <a:custGeom>
              <a:avLst/>
              <a:gdLst/>
              <a:ahLst/>
              <a:cxnLst/>
              <a:rect l="0" t="0" r="r" b="b"/>
              <a:pathLst>
                <a:path w="21600" h="21600">
                  <a:moveTo>
                    <a:pt x="0" y="9634"/>
                  </a:moveTo>
                  <a:lnTo>
                    <a:pt x="0" y="17715"/>
                  </a:lnTo>
                  <a:lnTo>
                    <a:pt x="0" y="19891"/>
                  </a:lnTo>
                  <a:lnTo>
                    <a:pt x="0" y="21134"/>
                  </a:lnTo>
                  <a:lnTo>
                    <a:pt x="908" y="20711"/>
                  </a:lnTo>
                  <a:lnTo>
                    <a:pt x="5532" y="18647"/>
                  </a:lnTo>
                  <a:lnTo>
                    <a:pt x="7727" y="17715"/>
                  </a:lnTo>
                  <a:lnTo>
                    <a:pt x="10185" y="17715"/>
                  </a:lnTo>
                  <a:lnTo>
                    <a:pt x="12205" y="15850"/>
                  </a:lnTo>
                  <a:lnTo>
                    <a:pt x="14224" y="19269"/>
                  </a:lnTo>
                  <a:lnTo>
                    <a:pt x="15278" y="21600"/>
                  </a:lnTo>
                  <a:lnTo>
                    <a:pt x="16156" y="21600"/>
                  </a:lnTo>
                  <a:lnTo>
                    <a:pt x="17386" y="19891"/>
                  </a:lnTo>
                  <a:lnTo>
                    <a:pt x="17386" y="17715"/>
                  </a:lnTo>
                  <a:lnTo>
                    <a:pt x="18790" y="20201"/>
                  </a:lnTo>
                  <a:lnTo>
                    <a:pt x="20195" y="17715"/>
                  </a:lnTo>
                  <a:lnTo>
                    <a:pt x="21600" y="17715"/>
                  </a:lnTo>
                  <a:lnTo>
                    <a:pt x="21600" y="14607"/>
                  </a:lnTo>
                  <a:lnTo>
                    <a:pt x="21600" y="12121"/>
                  </a:lnTo>
                  <a:lnTo>
                    <a:pt x="20019" y="11189"/>
                  </a:lnTo>
                  <a:lnTo>
                    <a:pt x="20722" y="14296"/>
                  </a:lnTo>
                  <a:lnTo>
                    <a:pt x="19844" y="15617"/>
                  </a:lnTo>
                  <a:lnTo>
                    <a:pt x="18790" y="15850"/>
                  </a:lnTo>
                  <a:lnTo>
                    <a:pt x="17737" y="13986"/>
                  </a:lnTo>
                  <a:lnTo>
                    <a:pt x="16859" y="12121"/>
                  </a:lnTo>
                  <a:lnTo>
                    <a:pt x="15454" y="9634"/>
                  </a:lnTo>
                  <a:lnTo>
                    <a:pt x="14224" y="9634"/>
                  </a:lnTo>
                  <a:lnTo>
                    <a:pt x="15102" y="6277"/>
                  </a:lnTo>
                  <a:lnTo>
                    <a:pt x="15805" y="5187"/>
                  </a:lnTo>
                  <a:lnTo>
                    <a:pt x="14224" y="2486"/>
                  </a:lnTo>
                  <a:lnTo>
                    <a:pt x="14224" y="0"/>
                  </a:lnTo>
                  <a:lnTo>
                    <a:pt x="12995" y="932"/>
                  </a:lnTo>
                  <a:lnTo>
                    <a:pt x="11966" y="3080"/>
                  </a:lnTo>
                  <a:lnTo>
                    <a:pt x="8956" y="6277"/>
                  </a:lnTo>
                  <a:lnTo>
                    <a:pt x="5532" y="6277"/>
                  </a:lnTo>
                  <a:lnTo>
                    <a:pt x="2810" y="8080"/>
                  </a:lnTo>
                  <a:cubicBezTo>
                    <a:pt x="2810" y="8080"/>
                    <a:pt x="0" y="9634"/>
                    <a:pt x="0" y="9634"/>
                  </a:cubicBezTo>
                  <a:close/>
                  <a:moveTo>
                    <a:pt x="0" y="9634"/>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60" name="Maryland">
              <a:extLst>
                <a:ext uri="{FF2B5EF4-FFF2-40B4-BE49-F238E27FC236}">
                  <a16:creationId xmlns:a16="http://schemas.microsoft.com/office/drawing/2014/main" id="{0F11151A-4782-1146-894F-F7282CF7DBDA}"/>
                </a:ext>
              </a:extLst>
            </p:cNvPr>
            <p:cNvSpPr>
              <a:spLocks/>
            </p:cNvSpPr>
            <p:nvPr/>
          </p:nvSpPr>
          <p:spPr bwMode="auto">
            <a:xfrm>
              <a:off x="8709440" y="3288259"/>
              <a:ext cx="347312" cy="203134"/>
            </a:xfrm>
            <a:custGeom>
              <a:avLst/>
              <a:gdLst>
                <a:gd name="connsiteX0" fmla="*/ 233558 w 347312"/>
                <a:gd name="connsiteY0" fmla="*/ 34302 h 203134"/>
                <a:gd name="connsiteX1" fmla="*/ 258529 w 347312"/>
                <a:gd name="connsiteY1" fmla="*/ 68155 h 203134"/>
                <a:gd name="connsiteX2" fmla="*/ 275175 w 347312"/>
                <a:gd name="connsiteY2" fmla="*/ 101389 h 203134"/>
                <a:gd name="connsiteX3" fmla="*/ 275175 w 347312"/>
                <a:gd name="connsiteY3" fmla="*/ 135164 h 203134"/>
                <a:gd name="connsiteX4" fmla="*/ 290438 w 347312"/>
                <a:gd name="connsiteY4" fmla="*/ 150171 h 203134"/>
                <a:gd name="connsiteX5" fmla="*/ 347312 w 347312"/>
                <a:gd name="connsiteY5" fmla="*/ 135164 h 203134"/>
                <a:gd name="connsiteX6" fmla="*/ 336215 w 347312"/>
                <a:gd name="connsiteY6" fmla="*/ 202736 h 203134"/>
                <a:gd name="connsiteX7" fmla="*/ 276564 w 347312"/>
                <a:gd name="connsiteY7" fmla="*/ 203134 h 203134"/>
                <a:gd name="connsiteX8" fmla="*/ 261300 w 347312"/>
                <a:gd name="connsiteY8" fmla="*/ 178661 h 203134"/>
                <a:gd name="connsiteX9" fmla="*/ 233558 w 347312"/>
                <a:gd name="connsiteY9" fmla="*/ 176215 h 203134"/>
                <a:gd name="connsiteX10" fmla="*/ 219690 w 347312"/>
                <a:gd name="connsiteY10" fmla="*/ 150171 h 203134"/>
                <a:gd name="connsiteX11" fmla="*/ 219690 w 347312"/>
                <a:gd name="connsiteY11" fmla="*/ 135164 h 203134"/>
                <a:gd name="connsiteX12" fmla="*/ 205815 w 347312"/>
                <a:gd name="connsiteY12" fmla="*/ 118523 h 203134"/>
                <a:gd name="connsiteX13" fmla="*/ 222461 w 347312"/>
                <a:gd name="connsiteY13" fmla="*/ 101389 h 203134"/>
                <a:gd name="connsiteX14" fmla="*/ 205815 w 347312"/>
                <a:gd name="connsiteY14" fmla="*/ 87547 h 203134"/>
                <a:gd name="connsiteX15" fmla="*/ 205815 w 347312"/>
                <a:gd name="connsiteY15" fmla="*/ 51428 h 203134"/>
                <a:gd name="connsiteX16" fmla="*/ 191631 w 347312"/>
                <a:gd name="connsiteY16" fmla="*/ 0 h 203134"/>
                <a:gd name="connsiteX17" fmla="*/ 233293 w 347312"/>
                <a:gd name="connsiteY17" fmla="*/ 0 h 203134"/>
                <a:gd name="connsiteX18" fmla="*/ 244404 w 347312"/>
                <a:gd name="connsiteY18" fmla="*/ 17118 h 203134"/>
                <a:gd name="connsiteX19" fmla="*/ 233293 w 347312"/>
                <a:gd name="connsiteY19" fmla="*/ 34235 h 203134"/>
                <a:gd name="connsiteX20" fmla="*/ 205526 w 347312"/>
                <a:gd name="connsiteY20" fmla="*/ 51362 h 203134"/>
                <a:gd name="connsiteX21" fmla="*/ 183303 w 347312"/>
                <a:gd name="connsiteY21" fmla="*/ 68077 h 203134"/>
                <a:gd name="connsiteX22" fmla="*/ 183303 w 347312"/>
                <a:gd name="connsiteY22" fmla="*/ 114881 h 203134"/>
                <a:gd name="connsiteX23" fmla="*/ 183303 w 347312"/>
                <a:gd name="connsiteY23" fmla="*/ 135056 h 203134"/>
                <a:gd name="connsiteX24" fmla="*/ 183303 w 347312"/>
                <a:gd name="connsiteY24" fmla="*/ 150054 h 203134"/>
                <a:gd name="connsiteX25" fmla="*/ 213854 w 347312"/>
                <a:gd name="connsiteY25" fmla="*/ 171205 h 203134"/>
                <a:gd name="connsiteX26" fmla="*/ 222181 w 347312"/>
                <a:gd name="connsiteY26" fmla="*/ 202598 h 203134"/>
                <a:gd name="connsiteX27" fmla="*/ 186086 w 347312"/>
                <a:gd name="connsiteY27" fmla="*/ 202598 h 203134"/>
                <a:gd name="connsiteX28" fmla="*/ 155525 w 347312"/>
                <a:gd name="connsiteY28" fmla="*/ 202598 h 203134"/>
                <a:gd name="connsiteX29" fmla="*/ 141652 w 347312"/>
                <a:gd name="connsiteY29" fmla="*/ 188313 h 203134"/>
                <a:gd name="connsiteX30" fmla="*/ 111102 w 347312"/>
                <a:gd name="connsiteY30" fmla="*/ 202598 h 203134"/>
                <a:gd name="connsiteX31" fmla="*/ 113863 w 347312"/>
                <a:gd name="connsiteY31" fmla="*/ 150054 h 203134"/>
                <a:gd name="connsiteX32" fmla="*/ 88879 w 347312"/>
                <a:gd name="connsiteY32" fmla="*/ 135056 h 203134"/>
                <a:gd name="connsiteX33" fmla="*/ 86096 w 347312"/>
                <a:gd name="connsiteY33" fmla="*/ 114881 h 203134"/>
                <a:gd name="connsiteX34" fmla="*/ 72212 w 347312"/>
                <a:gd name="connsiteY34" fmla="*/ 87464 h 203134"/>
                <a:gd name="connsiteX35" fmla="*/ 49990 w 347312"/>
                <a:gd name="connsiteY35" fmla="*/ 78263 h 203134"/>
                <a:gd name="connsiteX36" fmla="*/ 26817 w 347312"/>
                <a:gd name="connsiteY36" fmla="*/ 54139 h 203134"/>
                <a:gd name="connsiteX37" fmla="*/ 0 w 347312"/>
                <a:gd name="connsiteY37" fmla="*/ 46466 h 203134"/>
                <a:gd name="connsiteX38" fmla="*/ 0 w 347312"/>
                <a:gd name="connsiteY38" fmla="*/ 31797 h 203134"/>
                <a:gd name="connsiteX39" fmla="*/ 108318 w 347312"/>
                <a:gd name="connsiteY39" fmla="*/ 17118 h 20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47312" h="203134">
                  <a:moveTo>
                    <a:pt x="233558" y="34302"/>
                  </a:moveTo>
                  <a:lnTo>
                    <a:pt x="258529" y="68155"/>
                  </a:lnTo>
                  <a:lnTo>
                    <a:pt x="275175" y="101389"/>
                  </a:lnTo>
                  <a:lnTo>
                    <a:pt x="275175" y="135164"/>
                  </a:lnTo>
                  <a:lnTo>
                    <a:pt x="290438" y="150171"/>
                  </a:lnTo>
                  <a:lnTo>
                    <a:pt x="347312" y="135164"/>
                  </a:lnTo>
                  <a:lnTo>
                    <a:pt x="336215" y="202736"/>
                  </a:lnTo>
                  <a:cubicBezTo>
                    <a:pt x="336215" y="202736"/>
                    <a:pt x="276564" y="203134"/>
                    <a:pt x="276564" y="203134"/>
                  </a:cubicBezTo>
                  <a:lnTo>
                    <a:pt x="261300" y="178661"/>
                  </a:lnTo>
                  <a:lnTo>
                    <a:pt x="233558" y="176215"/>
                  </a:lnTo>
                  <a:lnTo>
                    <a:pt x="219690" y="150171"/>
                  </a:lnTo>
                  <a:lnTo>
                    <a:pt x="219690" y="135164"/>
                  </a:lnTo>
                  <a:lnTo>
                    <a:pt x="205815" y="118523"/>
                  </a:lnTo>
                  <a:lnTo>
                    <a:pt x="222461" y="101389"/>
                  </a:lnTo>
                  <a:lnTo>
                    <a:pt x="205815" y="87547"/>
                  </a:lnTo>
                  <a:lnTo>
                    <a:pt x="205815" y="51428"/>
                  </a:lnTo>
                  <a:close/>
                  <a:moveTo>
                    <a:pt x="191631" y="0"/>
                  </a:moveTo>
                  <a:cubicBezTo>
                    <a:pt x="191631" y="0"/>
                    <a:pt x="233293" y="0"/>
                    <a:pt x="233293" y="0"/>
                  </a:cubicBezTo>
                  <a:lnTo>
                    <a:pt x="244404" y="17118"/>
                  </a:lnTo>
                  <a:lnTo>
                    <a:pt x="233293" y="34235"/>
                  </a:lnTo>
                  <a:lnTo>
                    <a:pt x="205526" y="51362"/>
                  </a:lnTo>
                  <a:lnTo>
                    <a:pt x="183303" y="68077"/>
                  </a:lnTo>
                  <a:lnTo>
                    <a:pt x="183303" y="114881"/>
                  </a:lnTo>
                  <a:lnTo>
                    <a:pt x="183303" y="135056"/>
                  </a:lnTo>
                  <a:lnTo>
                    <a:pt x="183303" y="150054"/>
                  </a:lnTo>
                  <a:lnTo>
                    <a:pt x="213854" y="171205"/>
                  </a:lnTo>
                  <a:lnTo>
                    <a:pt x="222181" y="202598"/>
                  </a:lnTo>
                  <a:lnTo>
                    <a:pt x="186086" y="202598"/>
                  </a:lnTo>
                  <a:lnTo>
                    <a:pt x="155525" y="202598"/>
                  </a:lnTo>
                  <a:lnTo>
                    <a:pt x="141652" y="188313"/>
                  </a:lnTo>
                  <a:lnTo>
                    <a:pt x="111102" y="202598"/>
                  </a:lnTo>
                  <a:lnTo>
                    <a:pt x="113863" y="150054"/>
                  </a:lnTo>
                  <a:lnTo>
                    <a:pt x="88879" y="135056"/>
                  </a:lnTo>
                  <a:lnTo>
                    <a:pt x="86096" y="114881"/>
                  </a:lnTo>
                  <a:lnTo>
                    <a:pt x="72212" y="87464"/>
                  </a:lnTo>
                  <a:lnTo>
                    <a:pt x="49990" y="78263"/>
                  </a:lnTo>
                  <a:lnTo>
                    <a:pt x="26817" y="54139"/>
                  </a:lnTo>
                  <a:lnTo>
                    <a:pt x="0" y="46466"/>
                  </a:lnTo>
                  <a:lnTo>
                    <a:pt x="0" y="31797"/>
                  </a:lnTo>
                  <a:lnTo>
                    <a:pt x="108318" y="17118"/>
                  </a:lnTo>
                  <a:close/>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4" name="Maine"/>
            <p:cNvSpPr>
              <a:spLocks/>
            </p:cNvSpPr>
            <p:nvPr/>
          </p:nvSpPr>
          <p:spPr bwMode="auto">
            <a:xfrm>
              <a:off x="9258277" y="2216312"/>
              <a:ext cx="408412" cy="529006"/>
            </a:xfrm>
            <a:custGeom>
              <a:avLst/>
              <a:gdLst/>
              <a:ahLst/>
              <a:cxnLst/>
              <a:rect l="0" t="0" r="r" b="b"/>
              <a:pathLst>
                <a:path w="21600" h="21600">
                  <a:moveTo>
                    <a:pt x="21600" y="11400"/>
                  </a:moveTo>
                  <a:lnTo>
                    <a:pt x="20571" y="10968"/>
                  </a:lnTo>
                  <a:lnTo>
                    <a:pt x="20571" y="10300"/>
                  </a:lnTo>
                  <a:lnTo>
                    <a:pt x="20571" y="9600"/>
                  </a:lnTo>
                  <a:lnTo>
                    <a:pt x="18661" y="9600"/>
                  </a:lnTo>
                  <a:lnTo>
                    <a:pt x="17926" y="8700"/>
                  </a:lnTo>
                  <a:lnTo>
                    <a:pt x="17926" y="7900"/>
                  </a:lnTo>
                  <a:lnTo>
                    <a:pt x="16457" y="7900"/>
                  </a:lnTo>
                  <a:lnTo>
                    <a:pt x="15575" y="7100"/>
                  </a:lnTo>
                  <a:lnTo>
                    <a:pt x="15575" y="5500"/>
                  </a:lnTo>
                  <a:lnTo>
                    <a:pt x="14253" y="3800"/>
                  </a:lnTo>
                  <a:lnTo>
                    <a:pt x="13518" y="2500"/>
                  </a:lnTo>
                  <a:lnTo>
                    <a:pt x="13518" y="1300"/>
                  </a:lnTo>
                  <a:lnTo>
                    <a:pt x="12343" y="500"/>
                  </a:lnTo>
                  <a:lnTo>
                    <a:pt x="10433" y="0"/>
                  </a:lnTo>
                  <a:lnTo>
                    <a:pt x="9257" y="0"/>
                  </a:lnTo>
                  <a:lnTo>
                    <a:pt x="7935" y="800"/>
                  </a:lnTo>
                  <a:lnTo>
                    <a:pt x="6906" y="1300"/>
                  </a:lnTo>
                  <a:lnTo>
                    <a:pt x="6906" y="500"/>
                  </a:lnTo>
                  <a:lnTo>
                    <a:pt x="6171" y="0"/>
                  </a:lnTo>
                  <a:lnTo>
                    <a:pt x="5290" y="600"/>
                  </a:lnTo>
                  <a:lnTo>
                    <a:pt x="4555" y="1400"/>
                  </a:lnTo>
                  <a:lnTo>
                    <a:pt x="3600" y="3000"/>
                  </a:lnTo>
                  <a:lnTo>
                    <a:pt x="2645" y="4300"/>
                  </a:lnTo>
                  <a:lnTo>
                    <a:pt x="3600" y="5700"/>
                  </a:lnTo>
                  <a:lnTo>
                    <a:pt x="2425" y="6800"/>
                  </a:lnTo>
                  <a:lnTo>
                    <a:pt x="2645" y="7800"/>
                  </a:lnTo>
                  <a:lnTo>
                    <a:pt x="2645" y="9000"/>
                  </a:lnTo>
                  <a:lnTo>
                    <a:pt x="1910" y="10000"/>
                  </a:lnTo>
                  <a:lnTo>
                    <a:pt x="1910" y="10968"/>
                  </a:lnTo>
                  <a:lnTo>
                    <a:pt x="1910" y="12000"/>
                  </a:lnTo>
                  <a:lnTo>
                    <a:pt x="0" y="12600"/>
                  </a:lnTo>
                  <a:lnTo>
                    <a:pt x="3600" y="20700"/>
                  </a:lnTo>
                  <a:lnTo>
                    <a:pt x="5290" y="21600"/>
                  </a:lnTo>
                  <a:lnTo>
                    <a:pt x="6465" y="21200"/>
                  </a:lnTo>
                  <a:lnTo>
                    <a:pt x="7200" y="20350"/>
                  </a:lnTo>
                  <a:lnTo>
                    <a:pt x="6906" y="19325"/>
                  </a:lnTo>
                  <a:lnTo>
                    <a:pt x="7641" y="18500"/>
                  </a:lnTo>
                  <a:lnTo>
                    <a:pt x="9110" y="18200"/>
                  </a:lnTo>
                  <a:lnTo>
                    <a:pt x="9110" y="18900"/>
                  </a:lnTo>
                  <a:lnTo>
                    <a:pt x="10873" y="17600"/>
                  </a:lnTo>
                  <a:lnTo>
                    <a:pt x="11461" y="16900"/>
                  </a:lnTo>
                  <a:lnTo>
                    <a:pt x="12784" y="15800"/>
                  </a:lnTo>
                  <a:lnTo>
                    <a:pt x="13077" y="15000"/>
                  </a:lnTo>
                  <a:lnTo>
                    <a:pt x="14106" y="15000"/>
                  </a:lnTo>
                  <a:lnTo>
                    <a:pt x="15575" y="13900"/>
                  </a:lnTo>
                  <a:lnTo>
                    <a:pt x="17339" y="13900"/>
                  </a:lnTo>
                  <a:lnTo>
                    <a:pt x="18073" y="13100"/>
                  </a:lnTo>
                  <a:lnTo>
                    <a:pt x="19249" y="12600"/>
                  </a:lnTo>
                  <a:lnTo>
                    <a:pt x="19984" y="11900"/>
                  </a:lnTo>
                  <a:cubicBezTo>
                    <a:pt x="19984" y="11900"/>
                    <a:pt x="21600" y="11400"/>
                    <a:pt x="21600" y="11400"/>
                  </a:cubicBezTo>
                  <a:close/>
                  <a:moveTo>
                    <a:pt x="21600" y="114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6" name="Louisiana"/>
            <p:cNvSpPr>
              <a:spLocks/>
            </p:cNvSpPr>
            <p:nvPr/>
          </p:nvSpPr>
          <p:spPr bwMode="auto">
            <a:xfrm>
              <a:off x="7028628" y="4291601"/>
              <a:ext cx="592787" cy="488808"/>
            </a:xfrm>
            <a:custGeom>
              <a:avLst/>
              <a:gdLst/>
              <a:ahLst/>
              <a:cxnLst/>
              <a:rect l="0" t="0" r="r" b="b"/>
              <a:pathLst>
                <a:path w="21600" h="21600">
                  <a:moveTo>
                    <a:pt x="635" y="17660"/>
                  </a:moveTo>
                  <a:lnTo>
                    <a:pt x="1016" y="16438"/>
                  </a:lnTo>
                  <a:lnTo>
                    <a:pt x="1271" y="15215"/>
                  </a:lnTo>
                  <a:lnTo>
                    <a:pt x="1016" y="13856"/>
                  </a:lnTo>
                  <a:lnTo>
                    <a:pt x="1652" y="12226"/>
                  </a:lnTo>
                  <a:lnTo>
                    <a:pt x="2160" y="11275"/>
                  </a:lnTo>
                  <a:lnTo>
                    <a:pt x="1398" y="9781"/>
                  </a:lnTo>
                  <a:lnTo>
                    <a:pt x="1398" y="8694"/>
                  </a:lnTo>
                  <a:lnTo>
                    <a:pt x="889" y="7879"/>
                  </a:lnTo>
                  <a:lnTo>
                    <a:pt x="889" y="6928"/>
                  </a:lnTo>
                  <a:lnTo>
                    <a:pt x="0" y="5298"/>
                  </a:lnTo>
                  <a:lnTo>
                    <a:pt x="0" y="3260"/>
                  </a:lnTo>
                  <a:lnTo>
                    <a:pt x="0" y="0"/>
                  </a:lnTo>
                  <a:lnTo>
                    <a:pt x="11944" y="0"/>
                  </a:lnTo>
                  <a:lnTo>
                    <a:pt x="12423" y="1938"/>
                  </a:lnTo>
                  <a:lnTo>
                    <a:pt x="12579" y="3260"/>
                  </a:lnTo>
                  <a:lnTo>
                    <a:pt x="12579" y="4211"/>
                  </a:lnTo>
                  <a:lnTo>
                    <a:pt x="12071" y="5434"/>
                  </a:lnTo>
                  <a:lnTo>
                    <a:pt x="11435" y="6792"/>
                  </a:lnTo>
                  <a:lnTo>
                    <a:pt x="11013" y="7770"/>
                  </a:lnTo>
                  <a:lnTo>
                    <a:pt x="10546" y="8830"/>
                  </a:lnTo>
                  <a:lnTo>
                    <a:pt x="10546" y="10324"/>
                  </a:lnTo>
                  <a:lnTo>
                    <a:pt x="11308" y="11004"/>
                  </a:lnTo>
                  <a:lnTo>
                    <a:pt x="18169" y="10460"/>
                  </a:lnTo>
                  <a:lnTo>
                    <a:pt x="18169" y="11683"/>
                  </a:lnTo>
                  <a:lnTo>
                    <a:pt x="18453" y="13004"/>
                  </a:lnTo>
                  <a:lnTo>
                    <a:pt x="18932" y="13856"/>
                  </a:lnTo>
                  <a:lnTo>
                    <a:pt x="17534" y="14536"/>
                  </a:lnTo>
                  <a:lnTo>
                    <a:pt x="17534" y="13992"/>
                  </a:lnTo>
                  <a:lnTo>
                    <a:pt x="16010" y="14672"/>
                  </a:lnTo>
                  <a:lnTo>
                    <a:pt x="16010" y="15758"/>
                  </a:lnTo>
                  <a:lnTo>
                    <a:pt x="17026" y="15215"/>
                  </a:lnTo>
                  <a:lnTo>
                    <a:pt x="18932" y="15215"/>
                  </a:lnTo>
                  <a:lnTo>
                    <a:pt x="18932" y="16302"/>
                  </a:lnTo>
                  <a:lnTo>
                    <a:pt x="20075" y="15079"/>
                  </a:lnTo>
                  <a:lnTo>
                    <a:pt x="20838" y="15894"/>
                  </a:lnTo>
                  <a:lnTo>
                    <a:pt x="20075" y="17660"/>
                  </a:lnTo>
                  <a:lnTo>
                    <a:pt x="19567" y="17660"/>
                  </a:lnTo>
                  <a:lnTo>
                    <a:pt x="19567" y="18611"/>
                  </a:lnTo>
                  <a:lnTo>
                    <a:pt x="20838" y="19426"/>
                  </a:lnTo>
                  <a:lnTo>
                    <a:pt x="21600" y="20513"/>
                  </a:lnTo>
                  <a:lnTo>
                    <a:pt x="20711" y="20513"/>
                  </a:lnTo>
                  <a:lnTo>
                    <a:pt x="20533" y="20893"/>
                  </a:lnTo>
                  <a:lnTo>
                    <a:pt x="20202" y="21600"/>
                  </a:lnTo>
                  <a:lnTo>
                    <a:pt x="18678" y="19698"/>
                  </a:lnTo>
                  <a:lnTo>
                    <a:pt x="17534" y="19019"/>
                  </a:lnTo>
                  <a:lnTo>
                    <a:pt x="17534" y="19698"/>
                  </a:lnTo>
                  <a:lnTo>
                    <a:pt x="17534" y="20513"/>
                  </a:lnTo>
                  <a:lnTo>
                    <a:pt x="16518" y="21057"/>
                  </a:lnTo>
                  <a:lnTo>
                    <a:pt x="15755" y="20105"/>
                  </a:lnTo>
                  <a:lnTo>
                    <a:pt x="14739" y="20513"/>
                  </a:lnTo>
                  <a:lnTo>
                    <a:pt x="13468" y="20649"/>
                  </a:lnTo>
                  <a:lnTo>
                    <a:pt x="12579" y="20105"/>
                  </a:lnTo>
                  <a:lnTo>
                    <a:pt x="11944" y="19155"/>
                  </a:lnTo>
                  <a:lnTo>
                    <a:pt x="10800" y="18068"/>
                  </a:lnTo>
                  <a:lnTo>
                    <a:pt x="10038" y="17796"/>
                  </a:lnTo>
                  <a:lnTo>
                    <a:pt x="9148" y="17525"/>
                  </a:lnTo>
                  <a:lnTo>
                    <a:pt x="8386" y="17796"/>
                  </a:lnTo>
                  <a:lnTo>
                    <a:pt x="8386" y="18747"/>
                  </a:lnTo>
                  <a:lnTo>
                    <a:pt x="6798" y="18475"/>
                  </a:lnTo>
                  <a:lnTo>
                    <a:pt x="5337" y="18339"/>
                  </a:lnTo>
                  <a:lnTo>
                    <a:pt x="4193" y="17660"/>
                  </a:lnTo>
                  <a:lnTo>
                    <a:pt x="3050" y="17660"/>
                  </a:lnTo>
                  <a:lnTo>
                    <a:pt x="2160" y="18068"/>
                  </a:lnTo>
                  <a:cubicBezTo>
                    <a:pt x="2160" y="18068"/>
                    <a:pt x="635" y="17660"/>
                    <a:pt x="635" y="17660"/>
                  </a:cubicBezTo>
                  <a:close/>
                  <a:moveTo>
                    <a:pt x="635" y="1766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4" name="Kentucky"/>
            <p:cNvSpPr>
              <a:spLocks/>
            </p:cNvSpPr>
            <p:nvPr/>
          </p:nvSpPr>
          <p:spPr bwMode="auto">
            <a:xfrm>
              <a:off x="7568889" y="3489784"/>
              <a:ext cx="768586" cy="348919"/>
            </a:xfrm>
            <a:custGeom>
              <a:avLst/>
              <a:gdLst/>
              <a:ahLst/>
              <a:cxnLst/>
              <a:rect l="0" t="0" r="r" b="b"/>
              <a:pathLst>
                <a:path w="21600" h="21600">
                  <a:moveTo>
                    <a:pt x="21600" y="10636"/>
                  </a:moveTo>
                  <a:lnTo>
                    <a:pt x="21131" y="9575"/>
                  </a:lnTo>
                  <a:lnTo>
                    <a:pt x="20507" y="8820"/>
                  </a:lnTo>
                  <a:lnTo>
                    <a:pt x="19960" y="7320"/>
                  </a:lnTo>
                  <a:lnTo>
                    <a:pt x="19570" y="6695"/>
                  </a:lnTo>
                  <a:lnTo>
                    <a:pt x="19570" y="5482"/>
                  </a:lnTo>
                  <a:lnTo>
                    <a:pt x="19570" y="4309"/>
                  </a:lnTo>
                  <a:lnTo>
                    <a:pt x="19023" y="3057"/>
                  </a:lnTo>
                  <a:lnTo>
                    <a:pt x="18242" y="1541"/>
                  </a:lnTo>
                  <a:lnTo>
                    <a:pt x="17539" y="2147"/>
                  </a:lnTo>
                  <a:lnTo>
                    <a:pt x="16212" y="2602"/>
                  </a:lnTo>
                  <a:lnTo>
                    <a:pt x="15822" y="3208"/>
                  </a:lnTo>
                  <a:lnTo>
                    <a:pt x="15353" y="2299"/>
                  </a:lnTo>
                  <a:lnTo>
                    <a:pt x="14705" y="2147"/>
                  </a:lnTo>
                  <a:lnTo>
                    <a:pt x="14260" y="1541"/>
                  </a:lnTo>
                  <a:lnTo>
                    <a:pt x="14260" y="631"/>
                  </a:lnTo>
                  <a:lnTo>
                    <a:pt x="13479" y="0"/>
                  </a:lnTo>
                  <a:lnTo>
                    <a:pt x="12854" y="0"/>
                  </a:lnTo>
                  <a:lnTo>
                    <a:pt x="12464" y="0"/>
                  </a:lnTo>
                  <a:lnTo>
                    <a:pt x="12464" y="1389"/>
                  </a:lnTo>
                  <a:lnTo>
                    <a:pt x="12464" y="2147"/>
                  </a:lnTo>
                  <a:lnTo>
                    <a:pt x="11449" y="3208"/>
                  </a:lnTo>
                  <a:lnTo>
                    <a:pt x="10902" y="3208"/>
                  </a:lnTo>
                  <a:lnTo>
                    <a:pt x="10352" y="5318"/>
                  </a:lnTo>
                  <a:lnTo>
                    <a:pt x="9943" y="6475"/>
                  </a:lnTo>
                  <a:lnTo>
                    <a:pt x="9607" y="7320"/>
                  </a:lnTo>
                  <a:lnTo>
                    <a:pt x="9607" y="8820"/>
                  </a:lnTo>
                  <a:lnTo>
                    <a:pt x="8716" y="8820"/>
                  </a:lnTo>
                  <a:lnTo>
                    <a:pt x="8247" y="8211"/>
                  </a:lnTo>
                  <a:lnTo>
                    <a:pt x="7791" y="8820"/>
                  </a:lnTo>
                  <a:lnTo>
                    <a:pt x="7481" y="9894"/>
                  </a:lnTo>
                  <a:lnTo>
                    <a:pt x="6920" y="9726"/>
                  </a:lnTo>
                  <a:lnTo>
                    <a:pt x="6256" y="10333"/>
                  </a:lnTo>
                  <a:lnTo>
                    <a:pt x="5826" y="11546"/>
                  </a:lnTo>
                  <a:lnTo>
                    <a:pt x="5046" y="10333"/>
                  </a:lnTo>
                  <a:lnTo>
                    <a:pt x="4499" y="11209"/>
                  </a:lnTo>
                  <a:lnTo>
                    <a:pt x="4108" y="10788"/>
                  </a:lnTo>
                  <a:lnTo>
                    <a:pt x="3431" y="11306"/>
                  </a:lnTo>
                  <a:lnTo>
                    <a:pt x="2859" y="12000"/>
                  </a:lnTo>
                  <a:lnTo>
                    <a:pt x="2859" y="13036"/>
                  </a:lnTo>
                  <a:lnTo>
                    <a:pt x="2448" y="14482"/>
                  </a:lnTo>
                  <a:lnTo>
                    <a:pt x="1922" y="15032"/>
                  </a:lnTo>
                  <a:lnTo>
                    <a:pt x="1922" y="17413"/>
                  </a:lnTo>
                  <a:lnTo>
                    <a:pt x="1569" y="17413"/>
                  </a:lnTo>
                  <a:lnTo>
                    <a:pt x="873" y="17117"/>
                  </a:lnTo>
                  <a:lnTo>
                    <a:pt x="360" y="16548"/>
                  </a:lnTo>
                  <a:lnTo>
                    <a:pt x="0" y="17413"/>
                  </a:lnTo>
                  <a:lnTo>
                    <a:pt x="0" y="18519"/>
                  </a:lnTo>
                  <a:lnTo>
                    <a:pt x="0" y="20078"/>
                  </a:lnTo>
                  <a:lnTo>
                    <a:pt x="0" y="21600"/>
                  </a:lnTo>
                  <a:lnTo>
                    <a:pt x="1569" y="21600"/>
                  </a:lnTo>
                  <a:lnTo>
                    <a:pt x="2469" y="21600"/>
                  </a:lnTo>
                  <a:lnTo>
                    <a:pt x="3083" y="21600"/>
                  </a:lnTo>
                  <a:lnTo>
                    <a:pt x="3431" y="20078"/>
                  </a:lnTo>
                  <a:lnTo>
                    <a:pt x="5755" y="19890"/>
                  </a:lnTo>
                  <a:lnTo>
                    <a:pt x="17077" y="18669"/>
                  </a:lnTo>
                  <a:lnTo>
                    <a:pt x="18398" y="16396"/>
                  </a:lnTo>
                  <a:lnTo>
                    <a:pt x="19101" y="15184"/>
                  </a:lnTo>
                  <a:lnTo>
                    <a:pt x="19570" y="13036"/>
                  </a:lnTo>
                  <a:lnTo>
                    <a:pt x="20116" y="13036"/>
                  </a:lnTo>
                  <a:lnTo>
                    <a:pt x="20824" y="11776"/>
                  </a:lnTo>
                  <a:cubicBezTo>
                    <a:pt x="20824" y="11776"/>
                    <a:pt x="21600" y="10636"/>
                    <a:pt x="21600" y="10636"/>
                  </a:cubicBezTo>
                  <a:close/>
                  <a:moveTo>
                    <a:pt x="21600" y="1063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8" name="Kansas"/>
            <p:cNvSpPr>
              <a:spLocks/>
            </p:cNvSpPr>
            <p:nvPr/>
          </p:nvSpPr>
          <p:spPr bwMode="auto">
            <a:xfrm>
              <a:off x="6175359" y="3404029"/>
              <a:ext cx="802352" cy="412164"/>
            </a:xfrm>
            <a:custGeom>
              <a:avLst/>
              <a:gdLst/>
              <a:ahLst/>
              <a:cxnLst/>
              <a:rect l="0" t="0" r="r" b="b"/>
              <a:pathLst>
                <a:path w="21600" h="21600">
                  <a:moveTo>
                    <a:pt x="21600" y="6939"/>
                  </a:moveTo>
                  <a:lnTo>
                    <a:pt x="21506" y="21600"/>
                  </a:lnTo>
                  <a:lnTo>
                    <a:pt x="0" y="19778"/>
                  </a:lnTo>
                  <a:lnTo>
                    <a:pt x="853" y="0"/>
                  </a:lnTo>
                  <a:lnTo>
                    <a:pt x="19440" y="1139"/>
                  </a:lnTo>
                  <a:lnTo>
                    <a:pt x="20661" y="2589"/>
                  </a:lnTo>
                  <a:lnTo>
                    <a:pt x="20285" y="3878"/>
                  </a:lnTo>
                  <a:lnTo>
                    <a:pt x="20473" y="4603"/>
                  </a:lnTo>
                  <a:lnTo>
                    <a:pt x="20943" y="4603"/>
                  </a:lnTo>
                  <a:lnTo>
                    <a:pt x="21036" y="6294"/>
                  </a:lnTo>
                  <a:cubicBezTo>
                    <a:pt x="21036" y="6294"/>
                    <a:pt x="21600" y="6939"/>
                    <a:pt x="21600" y="6939"/>
                  </a:cubicBezTo>
                  <a:close/>
                  <a:moveTo>
                    <a:pt x="21600" y="693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3" name="Iowa"/>
            <p:cNvSpPr>
              <a:spLocks/>
            </p:cNvSpPr>
            <p:nvPr/>
          </p:nvSpPr>
          <p:spPr bwMode="auto">
            <a:xfrm>
              <a:off x="6792800" y="2996689"/>
              <a:ext cx="641560" cy="377862"/>
            </a:xfrm>
            <a:custGeom>
              <a:avLst/>
              <a:gdLst/>
              <a:ahLst/>
              <a:cxnLst/>
              <a:rect l="0" t="0" r="r" b="b"/>
              <a:pathLst>
                <a:path w="21600" h="21600">
                  <a:moveTo>
                    <a:pt x="17374" y="21600"/>
                  </a:moveTo>
                  <a:lnTo>
                    <a:pt x="16435" y="20491"/>
                  </a:lnTo>
                  <a:lnTo>
                    <a:pt x="15143" y="20491"/>
                  </a:lnTo>
                  <a:lnTo>
                    <a:pt x="2465" y="20491"/>
                  </a:lnTo>
                  <a:lnTo>
                    <a:pt x="1589" y="16858"/>
                  </a:lnTo>
                  <a:lnTo>
                    <a:pt x="1589" y="15629"/>
                  </a:lnTo>
                  <a:lnTo>
                    <a:pt x="1589" y="14224"/>
                  </a:lnTo>
                  <a:lnTo>
                    <a:pt x="1409" y="12166"/>
                  </a:lnTo>
                  <a:lnTo>
                    <a:pt x="892" y="11264"/>
                  </a:lnTo>
                  <a:lnTo>
                    <a:pt x="587" y="10010"/>
                  </a:lnTo>
                  <a:lnTo>
                    <a:pt x="587" y="8605"/>
                  </a:lnTo>
                  <a:lnTo>
                    <a:pt x="0" y="7551"/>
                  </a:lnTo>
                  <a:lnTo>
                    <a:pt x="0" y="5620"/>
                  </a:lnTo>
                  <a:lnTo>
                    <a:pt x="469" y="3161"/>
                  </a:lnTo>
                  <a:lnTo>
                    <a:pt x="469" y="1584"/>
                  </a:lnTo>
                  <a:lnTo>
                    <a:pt x="469" y="768"/>
                  </a:lnTo>
                  <a:lnTo>
                    <a:pt x="469" y="0"/>
                  </a:lnTo>
                  <a:lnTo>
                    <a:pt x="17961" y="0"/>
                  </a:lnTo>
                  <a:lnTo>
                    <a:pt x="17961" y="2283"/>
                  </a:lnTo>
                  <a:lnTo>
                    <a:pt x="17961" y="4214"/>
                  </a:lnTo>
                  <a:lnTo>
                    <a:pt x="19135" y="5093"/>
                  </a:lnTo>
                  <a:lnTo>
                    <a:pt x="19956" y="6146"/>
                  </a:lnTo>
                  <a:lnTo>
                    <a:pt x="20778" y="7551"/>
                  </a:lnTo>
                  <a:lnTo>
                    <a:pt x="21600" y="8956"/>
                  </a:lnTo>
                  <a:lnTo>
                    <a:pt x="21600" y="10800"/>
                  </a:lnTo>
                  <a:lnTo>
                    <a:pt x="20426" y="12997"/>
                  </a:lnTo>
                  <a:lnTo>
                    <a:pt x="19370" y="12997"/>
                  </a:lnTo>
                  <a:lnTo>
                    <a:pt x="18780" y="15062"/>
                  </a:lnTo>
                  <a:lnTo>
                    <a:pt x="18665" y="15980"/>
                  </a:lnTo>
                  <a:lnTo>
                    <a:pt x="18900" y="18487"/>
                  </a:lnTo>
                  <a:lnTo>
                    <a:pt x="18078" y="19317"/>
                  </a:lnTo>
                  <a:cubicBezTo>
                    <a:pt x="18078" y="19317"/>
                    <a:pt x="17374" y="21600"/>
                    <a:pt x="17374" y="21600"/>
                  </a:cubicBezTo>
                  <a:close/>
                  <a:moveTo>
                    <a:pt x="17374"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3" name="Indiana"/>
            <p:cNvSpPr>
              <a:spLocks/>
            </p:cNvSpPr>
            <p:nvPr/>
          </p:nvSpPr>
          <p:spPr bwMode="auto">
            <a:xfrm>
              <a:off x="7671796" y="3168201"/>
              <a:ext cx="341415" cy="515606"/>
            </a:xfrm>
            <a:custGeom>
              <a:avLst/>
              <a:gdLst/>
              <a:ahLst/>
              <a:cxnLst/>
              <a:rect l="0" t="0" r="r" b="b"/>
              <a:pathLst>
                <a:path w="21600" h="21600">
                  <a:moveTo>
                    <a:pt x="21600" y="13479"/>
                  </a:moveTo>
                  <a:lnTo>
                    <a:pt x="19518" y="0"/>
                  </a:lnTo>
                  <a:lnTo>
                    <a:pt x="7376" y="730"/>
                  </a:lnTo>
                  <a:lnTo>
                    <a:pt x="5163" y="1232"/>
                  </a:lnTo>
                  <a:lnTo>
                    <a:pt x="3688" y="1567"/>
                  </a:lnTo>
                  <a:lnTo>
                    <a:pt x="1932" y="1567"/>
                  </a:lnTo>
                  <a:lnTo>
                    <a:pt x="1932" y="4571"/>
                  </a:lnTo>
                  <a:lnTo>
                    <a:pt x="2313" y="6740"/>
                  </a:lnTo>
                  <a:lnTo>
                    <a:pt x="2539" y="9800"/>
                  </a:lnTo>
                  <a:lnTo>
                    <a:pt x="2810" y="13479"/>
                  </a:lnTo>
                  <a:lnTo>
                    <a:pt x="2810" y="14624"/>
                  </a:lnTo>
                  <a:lnTo>
                    <a:pt x="3688" y="15548"/>
                  </a:lnTo>
                  <a:lnTo>
                    <a:pt x="2810" y="17497"/>
                  </a:lnTo>
                  <a:lnTo>
                    <a:pt x="1932" y="18433"/>
                  </a:lnTo>
                  <a:lnTo>
                    <a:pt x="585" y="19825"/>
                  </a:lnTo>
                  <a:lnTo>
                    <a:pt x="0" y="21600"/>
                  </a:lnTo>
                  <a:lnTo>
                    <a:pt x="2810" y="20779"/>
                  </a:lnTo>
                  <a:lnTo>
                    <a:pt x="4390" y="21292"/>
                  </a:lnTo>
                  <a:lnTo>
                    <a:pt x="4917" y="20472"/>
                  </a:lnTo>
                  <a:lnTo>
                    <a:pt x="6673" y="21292"/>
                  </a:lnTo>
                  <a:lnTo>
                    <a:pt x="7639" y="20472"/>
                  </a:lnTo>
                  <a:lnTo>
                    <a:pt x="9132" y="20061"/>
                  </a:lnTo>
                  <a:lnTo>
                    <a:pt x="10010" y="20574"/>
                  </a:lnTo>
                  <a:lnTo>
                    <a:pt x="11092" y="19448"/>
                  </a:lnTo>
                  <a:lnTo>
                    <a:pt x="12117" y="19036"/>
                  </a:lnTo>
                  <a:lnTo>
                    <a:pt x="13171" y="19448"/>
                  </a:lnTo>
                  <a:lnTo>
                    <a:pt x="15176" y="19448"/>
                  </a:lnTo>
                  <a:lnTo>
                    <a:pt x="15176" y="18433"/>
                  </a:lnTo>
                  <a:lnTo>
                    <a:pt x="16683" y="17292"/>
                  </a:lnTo>
                  <a:lnTo>
                    <a:pt x="17385" y="16395"/>
                  </a:lnTo>
                  <a:lnTo>
                    <a:pt x="18088" y="15650"/>
                  </a:lnTo>
                  <a:lnTo>
                    <a:pt x="19317" y="15650"/>
                  </a:lnTo>
                  <a:lnTo>
                    <a:pt x="21600" y="14932"/>
                  </a:lnTo>
                  <a:cubicBezTo>
                    <a:pt x="21600" y="14932"/>
                    <a:pt x="21600" y="13479"/>
                    <a:pt x="21600" y="13479"/>
                  </a:cubicBezTo>
                  <a:close/>
                  <a:moveTo>
                    <a:pt x="21600" y="1347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1" name="Illinois"/>
            <p:cNvSpPr>
              <a:spLocks/>
            </p:cNvSpPr>
            <p:nvPr/>
          </p:nvSpPr>
          <p:spPr bwMode="auto">
            <a:xfrm>
              <a:off x="7311622" y="3103884"/>
              <a:ext cx="418059" cy="667823"/>
            </a:xfrm>
            <a:custGeom>
              <a:avLst/>
              <a:gdLst/>
              <a:ahLst/>
              <a:cxnLst/>
              <a:rect l="0" t="0" r="r" b="b"/>
              <a:pathLst>
                <a:path w="21600" h="21600">
                  <a:moveTo>
                    <a:pt x="20165" y="3304"/>
                  </a:moveTo>
                  <a:lnTo>
                    <a:pt x="20165" y="2657"/>
                  </a:lnTo>
                  <a:lnTo>
                    <a:pt x="19447" y="1901"/>
                  </a:lnTo>
                  <a:lnTo>
                    <a:pt x="18730" y="818"/>
                  </a:lnTo>
                  <a:lnTo>
                    <a:pt x="18299" y="0"/>
                  </a:lnTo>
                  <a:lnTo>
                    <a:pt x="4604" y="426"/>
                  </a:lnTo>
                  <a:lnTo>
                    <a:pt x="6486" y="1613"/>
                  </a:lnTo>
                  <a:lnTo>
                    <a:pt x="6486" y="2657"/>
                  </a:lnTo>
                  <a:lnTo>
                    <a:pt x="5550" y="3304"/>
                  </a:lnTo>
                  <a:lnTo>
                    <a:pt x="4684" y="3901"/>
                  </a:lnTo>
                  <a:lnTo>
                    <a:pt x="3063" y="3901"/>
                  </a:lnTo>
                  <a:lnTo>
                    <a:pt x="2288" y="4684"/>
                  </a:lnTo>
                  <a:lnTo>
                    <a:pt x="1982" y="5591"/>
                  </a:lnTo>
                  <a:lnTo>
                    <a:pt x="2175" y="6352"/>
                  </a:lnTo>
                  <a:lnTo>
                    <a:pt x="2342" y="7010"/>
                  </a:lnTo>
                  <a:lnTo>
                    <a:pt x="1081" y="7480"/>
                  </a:lnTo>
                  <a:lnTo>
                    <a:pt x="269" y="8451"/>
                  </a:lnTo>
                  <a:lnTo>
                    <a:pt x="0" y="8773"/>
                  </a:lnTo>
                  <a:lnTo>
                    <a:pt x="0" y="10364"/>
                  </a:lnTo>
                  <a:lnTo>
                    <a:pt x="1136" y="11522"/>
                  </a:lnTo>
                  <a:lnTo>
                    <a:pt x="3466" y="12854"/>
                  </a:lnTo>
                  <a:lnTo>
                    <a:pt x="4324" y="13782"/>
                  </a:lnTo>
                  <a:lnTo>
                    <a:pt x="4324" y="14753"/>
                  </a:lnTo>
                  <a:lnTo>
                    <a:pt x="6486" y="14242"/>
                  </a:lnTo>
                  <a:lnTo>
                    <a:pt x="7093" y="15494"/>
                  </a:lnTo>
                  <a:lnTo>
                    <a:pt x="6486" y="16445"/>
                  </a:lnTo>
                  <a:lnTo>
                    <a:pt x="6486" y="17424"/>
                  </a:lnTo>
                  <a:lnTo>
                    <a:pt x="9008" y="18418"/>
                  </a:lnTo>
                  <a:lnTo>
                    <a:pt x="11170" y="19313"/>
                  </a:lnTo>
                  <a:lnTo>
                    <a:pt x="11586" y="21217"/>
                  </a:lnTo>
                  <a:lnTo>
                    <a:pt x="13332" y="21600"/>
                  </a:lnTo>
                  <a:lnTo>
                    <a:pt x="13994" y="21148"/>
                  </a:lnTo>
                  <a:lnTo>
                    <a:pt x="15429" y="21600"/>
                  </a:lnTo>
                  <a:lnTo>
                    <a:pt x="16864" y="21600"/>
                  </a:lnTo>
                  <a:lnTo>
                    <a:pt x="16864" y="20989"/>
                  </a:lnTo>
                  <a:lnTo>
                    <a:pt x="16864" y="20356"/>
                  </a:lnTo>
                  <a:lnTo>
                    <a:pt x="18730" y="19801"/>
                  </a:lnTo>
                  <a:lnTo>
                    <a:pt x="18586" y="18772"/>
                  </a:lnTo>
                  <a:lnTo>
                    <a:pt x="18874" y="17980"/>
                  </a:lnTo>
                  <a:lnTo>
                    <a:pt x="19319" y="17152"/>
                  </a:lnTo>
                  <a:lnTo>
                    <a:pt x="20165" y="16326"/>
                  </a:lnTo>
                  <a:lnTo>
                    <a:pt x="20882" y="15604"/>
                  </a:lnTo>
                  <a:lnTo>
                    <a:pt x="21600" y="14753"/>
                  </a:lnTo>
                  <a:lnTo>
                    <a:pt x="21600" y="13782"/>
                  </a:lnTo>
                  <a:lnTo>
                    <a:pt x="20882" y="13386"/>
                  </a:lnTo>
                  <a:lnTo>
                    <a:pt x="20882" y="12502"/>
                  </a:lnTo>
                  <a:cubicBezTo>
                    <a:pt x="20882" y="12502"/>
                    <a:pt x="20165" y="3304"/>
                    <a:pt x="20165" y="3304"/>
                  </a:cubicBezTo>
                  <a:close/>
                  <a:moveTo>
                    <a:pt x="20165" y="3304"/>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7" name="Idaho"/>
            <p:cNvSpPr>
              <a:spLocks/>
            </p:cNvSpPr>
            <p:nvPr/>
          </p:nvSpPr>
          <p:spPr bwMode="auto">
            <a:xfrm>
              <a:off x="4743238" y="2104294"/>
              <a:ext cx="660855" cy="947601"/>
            </a:xfrm>
            <a:custGeom>
              <a:avLst/>
              <a:gdLst/>
              <a:ahLst/>
              <a:cxnLst/>
              <a:rect l="0" t="0" r="r" b="b"/>
              <a:pathLst>
                <a:path w="21600" h="21600">
                  <a:moveTo>
                    <a:pt x="7750" y="0"/>
                  </a:moveTo>
                  <a:lnTo>
                    <a:pt x="10485" y="421"/>
                  </a:lnTo>
                  <a:lnTo>
                    <a:pt x="10485" y="1262"/>
                  </a:lnTo>
                  <a:lnTo>
                    <a:pt x="9915" y="2034"/>
                  </a:lnTo>
                  <a:lnTo>
                    <a:pt x="9915" y="2665"/>
                  </a:lnTo>
                  <a:lnTo>
                    <a:pt x="9915" y="3436"/>
                  </a:lnTo>
                  <a:lnTo>
                    <a:pt x="10485" y="3857"/>
                  </a:lnTo>
                  <a:lnTo>
                    <a:pt x="9915" y="4769"/>
                  </a:lnTo>
                  <a:lnTo>
                    <a:pt x="10485" y="5190"/>
                  </a:lnTo>
                  <a:lnTo>
                    <a:pt x="11397" y="5681"/>
                  </a:lnTo>
                  <a:lnTo>
                    <a:pt x="11397" y="6312"/>
                  </a:lnTo>
                  <a:lnTo>
                    <a:pt x="12309" y="6803"/>
                  </a:lnTo>
                  <a:lnTo>
                    <a:pt x="12992" y="7293"/>
                  </a:lnTo>
                  <a:lnTo>
                    <a:pt x="12992" y="7574"/>
                  </a:lnTo>
                  <a:lnTo>
                    <a:pt x="12992" y="8135"/>
                  </a:lnTo>
                  <a:lnTo>
                    <a:pt x="12992" y="8766"/>
                  </a:lnTo>
                  <a:lnTo>
                    <a:pt x="12195" y="9187"/>
                  </a:lnTo>
                  <a:lnTo>
                    <a:pt x="11996" y="9798"/>
                  </a:lnTo>
                  <a:lnTo>
                    <a:pt x="11853" y="10239"/>
                  </a:lnTo>
                  <a:lnTo>
                    <a:pt x="12423" y="10730"/>
                  </a:lnTo>
                  <a:lnTo>
                    <a:pt x="12992" y="10379"/>
                  </a:lnTo>
                  <a:lnTo>
                    <a:pt x="13790" y="10309"/>
                  </a:lnTo>
                  <a:lnTo>
                    <a:pt x="13790" y="10730"/>
                  </a:lnTo>
                  <a:lnTo>
                    <a:pt x="13790" y="11501"/>
                  </a:lnTo>
                  <a:lnTo>
                    <a:pt x="14360" y="11852"/>
                  </a:lnTo>
                  <a:lnTo>
                    <a:pt x="14360" y="12623"/>
                  </a:lnTo>
                  <a:lnTo>
                    <a:pt x="14930" y="13044"/>
                  </a:lnTo>
                  <a:lnTo>
                    <a:pt x="14930" y="13395"/>
                  </a:lnTo>
                  <a:lnTo>
                    <a:pt x="15614" y="13956"/>
                  </a:lnTo>
                  <a:lnTo>
                    <a:pt x="16183" y="13956"/>
                  </a:lnTo>
                  <a:lnTo>
                    <a:pt x="16867" y="13956"/>
                  </a:lnTo>
                  <a:lnTo>
                    <a:pt x="17665" y="14307"/>
                  </a:lnTo>
                  <a:lnTo>
                    <a:pt x="18691" y="14307"/>
                  </a:lnTo>
                  <a:lnTo>
                    <a:pt x="19375" y="14307"/>
                  </a:lnTo>
                  <a:lnTo>
                    <a:pt x="19950" y="14155"/>
                  </a:lnTo>
                  <a:lnTo>
                    <a:pt x="20628" y="13745"/>
                  </a:lnTo>
                  <a:lnTo>
                    <a:pt x="21600" y="14361"/>
                  </a:lnTo>
                  <a:lnTo>
                    <a:pt x="21312" y="15639"/>
                  </a:lnTo>
                  <a:lnTo>
                    <a:pt x="19488" y="21600"/>
                  </a:lnTo>
                  <a:lnTo>
                    <a:pt x="0" y="19145"/>
                  </a:lnTo>
                  <a:lnTo>
                    <a:pt x="2165" y="14026"/>
                  </a:lnTo>
                  <a:lnTo>
                    <a:pt x="2849" y="12904"/>
                  </a:lnTo>
                  <a:lnTo>
                    <a:pt x="2051" y="12553"/>
                  </a:lnTo>
                  <a:lnTo>
                    <a:pt x="2849" y="11852"/>
                  </a:lnTo>
                  <a:lnTo>
                    <a:pt x="3533" y="11501"/>
                  </a:lnTo>
                  <a:lnTo>
                    <a:pt x="4787" y="10099"/>
                  </a:lnTo>
                  <a:lnTo>
                    <a:pt x="5356" y="9608"/>
                  </a:lnTo>
                  <a:lnTo>
                    <a:pt x="5356" y="8977"/>
                  </a:lnTo>
                  <a:lnTo>
                    <a:pt x="4559" y="8135"/>
                  </a:lnTo>
                  <a:lnTo>
                    <a:pt x="4787" y="7223"/>
                  </a:lnTo>
                  <a:cubicBezTo>
                    <a:pt x="4787" y="7223"/>
                    <a:pt x="7750" y="0"/>
                    <a:pt x="7750" y="0"/>
                  </a:cubicBezTo>
                  <a:close/>
                  <a:moveTo>
                    <a:pt x="7750"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75" name="Hawaii">
              <a:extLst>
                <a:ext uri="{FF2B5EF4-FFF2-40B4-BE49-F238E27FC236}">
                  <a16:creationId xmlns:a16="http://schemas.microsoft.com/office/drawing/2014/main" id="{4B250312-2D22-0D44-B82E-82CC4E053A64}"/>
                </a:ext>
              </a:extLst>
            </p:cNvPr>
            <p:cNvSpPr>
              <a:spLocks/>
            </p:cNvSpPr>
            <p:nvPr/>
          </p:nvSpPr>
          <p:spPr bwMode="auto">
            <a:xfrm>
              <a:off x="3507467" y="5252984"/>
              <a:ext cx="607790" cy="339806"/>
            </a:xfrm>
            <a:custGeom>
              <a:avLst/>
              <a:gdLst>
                <a:gd name="connsiteX0" fmla="*/ 506369 w 607790"/>
                <a:gd name="connsiteY0" fmla="*/ 205814 h 339806"/>
                <a:gd name="connsiteX1" fmla="*/ 514607 w 607790"/>
                <a:gd name="connsiteY1" fmla="*/ 205814 h 339806"/>
                <a:gd name="connsiteX2" fmla="*/ 539725 w 607790"/>
                <a:gd name="connsiteY2" fmla="*/ 223463 h 339806"/>
                <a:gd name="connsiteX3" fmla="*/ 571069 w 607790"/>
                <a:gd name="connsiteY3" fmla="*/ 240592 h 339806"/>
                <a:gd name="connsiteX4" fmla="*/ 606946 w 607790"/>
                <a:gd name="connsiteY4" fmla="*/ 288864 h 339806"/>
                <a:gd name="connsiteX5" fmla="*/ 564009 w 607790"/>
                <a:gd name="connsiteY5" fmla="*/ 307548 h 339806"/>
                <a:gd name="connsiteX6" fmla="*/ 530487 w 607790"/>
                <a:gd name="connsiteY6" fmla="*/ 338697 h 339806"/>
                <a:gd name="connsiteX7" fmla="*/ 506369 w 607790"/>
                <a:gd name="connsiteY7" fmla="*/ 334021 h 339806"/>
                <a:gd name="connsiteX8" fmla="*/ 489012 w 607790"/>
                <a:gd name="connsiteY8" fmla="*/ 319487 h 339806"/>
                <a:gd name="connsiteX9" fmla="*/ 482263 w 607790"/>
                <a:gd name="connsiteY9" fmla="*/ 290419 h 339806"/>
                <a:gd name="connsiteX10" fmla="*/ 471669 w 607790"/>
                <a:gd name="connsiteY10" fmla="*/ 260316 h 339806"/>
                <a:gd name="connsiteX11" fmla="*/ 488139 w 607790"/>
                <a:gd name="connsiteY11" fmla="*/ 256681 h 339806"/>
                <a:gd name="connsiteX12" fmla="*/ 501664 w 607790"/>
                <a:gd name="connsiteY12" fmla="*/ 241113 h 339806"/>
                <a:gd name="connsiteX13" fmla="*/ 506369 w 607790"/>
                <a:gd name="connsiteY13" fmla="*/ 205814 h 339806"/>
                <a:gd name="connsiteX14" fmla="*/ 427140 w 607790"/>
                <a:gd name="connsiteY14" fmla="*/ 120499 h 339806"/>
                <a:gd name="connsiteX15" fmla="*/ 448349 w 607790"/>
                <a:gd name="connsiteY15" fmla="*/ 130039 h 339806"/>
                <a:gd name="connsiteX16" fmla="*/ 478984 w 607790"/>
                <a:gd name="connsiteY16" fmla="*/ 133493 h 339806"/>
                <a:gd name="connsiteX17" fmla="*/ 494887 w 607790"/>
                <a:gd name="connsiteY17" fmla="*/ 152209 h 339806"/>
                <a:gd name="connsiteX18" fmla="*/ 481339 w 607790"/>
                <a:gd name="connsiteY18" fmla="*/ 176122 h 339806"/>
                <a:gd name="connsiteX19" fmla="*/ 417123 w 607790"/>
                <a:gd name="connsiteY19" fmla="*/ 186518 h 339806"/>
                <a:gd name="connsiteX20" fmla="*/ 398274 w 607790"/>
                <a:gd name="connsiteY20" fmla="*/ 183918 h 339806"/>
                <a:gd name="connsiteX21" fmla="*/ 400037 w 607790"/>
                <a:gd name="connsiteY21" fmla="*/ 176638 h 339806"/>
                <a:gd name="connsiteX22" fmla="*/ 421839 w 607790"/>
                <a:gd name="connsiteY22" fmla="*/ 161567 h 339806"/>
                <a:gd name="connsiteX23" fmla="*/ 407699 w 607790"/>
                <a:gd name="connsiteY23" fmla="*/ 158444 h 339806"/>
                <a:gd name="connsiteX24" fmla="*/ 390619 w 607790"/>
                <a:gd name="connsiteY24" fmla="*/ 172483 h 339806"/>
                <a:gd name="connsiteX25" fmla="*/ 371172 w 607790"/>
                <a:gd name="connsiteY25" fmla="*/ 157928 h 339806"/>
                <a:gd name="connsiteX26" fmla="*/ 375887 w 607790"/>
                <a:gd name="connsiteY26" fmla="*/ 141812 h 339806"/>
                <a:gd name="connsiteX27" fmla="*/ 407699 w 607790"/>
                <a:gd name="connsiteY27" fmla="*/ 130039 h 339806"/>
                <a:gd name="connsiteX28" fmla="*/ 427140 w 607790"/>
                <a:gd name="connsiteY28" fmla="*/ 120499 h 339806"/>
                <a:gd name="connsiteX29" fmla="*/ 360606 w 607790"/>
                <a:gd name="connsiteY29" fmla="*/ 85834 h 339806"/>
                <a:gd name="connsiteX30" fmla="*/ 371980 w 607790"/>
                <a:gd name="connsiteY30" fmla="*/ 86199 h 339806"/>
                <a:gd name="connsiteX31" fmla="*/ 392964 w 607790"/>
                <a:gd name="connsiteY31" fmla="*/ 87954 h 339806"/>
                <a:gd name="connsiteX32" fmla="*/ 402360 w 607790"/>
                <a:gd name="connsiteY32" fmla="*/ 101451 h 339806"/>
                <a:gd name="connsiteX33" fmla="*/ 382986 w 607790"/>
                <a:gd name="connsiteY33" fmla="*/ 121712 h 339806"/>
                <a:gd name="connsiteX34" fmla="*/ 341516 w 607790"/>
                <a:gd name="connsiteY34" fmla="*/ 128464 h 339806"/>
                <a:gd name="connsiteX35" fmla="*/ 326050 w 607790"/>
                <a:gd name="connsiteY35" fmla="*/ 116517 h 339806"/>
                <a:gd name="connsiteX36" fmla="*/ 357156 w 607790"/>
                <a:gd name="connsiteY36" fmla="*/ 87954 h 339806"/>
                <a:gd name="connsiteX37" fmla="*/ 360606 w 607790"/>
                <a:gd name="connsiteY37" fmla="*/ 85834 h 339806"/>
                <a:gd name="connsiteX38" fmla="*/ 246038 w 607790"/>
                <a:gd name="connsiteY38" fmla="*/ 51453 h 339806"/>
                <a:gd name="connsiteX39" fmla="*/ 261885 w 607790"/>
                <a:gd name="connsiteY39" fmla="*/ 51453 h 339806"/>
                <a:gd name="connsiteX40" fmla="*/ 273627 w 607790"/>
                <a:gd name="connsiteY40" fmla="*/ 56617 h 339806"/>
                <a:gd name="connsiteX41" fmla="*/ 287714 w 607790"/>
                <a:gd name="connsiteY41" fmla="*/ 65924 h 339806"/>
                <a:gd name="connsiteX42" fmla="*/ 294169 w 607790"/>
                <a:gd name="connsiteY42" fmla="*/ 80390 h 339806"/>
                <a:gd name="connsiteX43" fmla="*/ 301216 w 607790"/>
                <a:gd name="connsiteY43" fmla="*/ 81942 h 339806"/>
                <a:gd name="connsiteX44" fmla="*/ 301216 w 607790"/>
                <a:gd name="connsiteY44" fmla="*/ 105201 h 339806"/>
                <a:gd name="connsiteX45" fmla="*/ 292998 w 607790"/>
                <a:gd name="connsiteY45" fmla="*/ 109338 h 339806"/>
                <a:gd name="connsiteX46" fmla="*/ 278911 w 607790"/>
                <a:gd name="connsiteY46" fmla="*/ 109338 h 339806"/>
                <a:gd name="connsiteX47" fmla="*/ 261885 w 607790"/>
                <a:gd name="connsiteY47" fmla="*/ 109338 h 339806"/>
                <a:gd name="connsiteX48" fmla="*/ 253081 w 607790"/>
                <a:gd name="connsiteY48" fmla="*/ 104686 h 339806"/>
                <a:gd name="connsiteX49" fmla="*/ 238405 w 607790"/>
                <a:gd name="connsiteY49" fmla="*/ 89178 h 339806"/>
                <a:gd name="connsiteX50" fmla="*/ 227252 w 607790"/>
                <a:gd name="connsiteY50" fmla="*/ 79361 h 339806"/>
                <a:gd name="connsiteX51" fmla="*/ 227252 w 607790"/>
                <a:gd name="connsiteY51" fmla="*/ 62821 h 339806"/>
                <a:gd name="connsiteX52" fmla="*/ 237819 w 607790"/>
                <a:gd name="connsiteY52" fmla="*/ 60235 h 339806"/>
                <a:gd name="connsiteX53" fmla="*/ 99221 w 607790"/>
                <a:gd name="connsiteY53" fmla="*/ 0 h 339806"/>
                <a:gd name="connsiteX54" fmla="*/ 126154 w 607790"/>
                <a:gd name="connsiteY54" fmla="*/ 20903 h 339806"/>
                <a:gd name="connsiteX55" fmla="*/ 99221 w 607790"/>
                <a:gd name="connsiteY55" fmla="*/ 41614 h 339806"/>
                <a:gd name="connsiteX56" fmla="*/ 65557 w 607790"/>
                <a:gd name="connsiteY56" fmla="*/ 23780 h 339806"/>
                <a:gd name="connsiteX57" fmla="*/ 99221 w 607790"/>
                <a:gd name="connsiteY57" fmla="*/ 0 h 339806"/>
                <a:gd name="connsiteX58" fmla="*/ 33369 w 607790"/>
                <a:gd name="connsiteY58" fmla="*/ 0 h 339806"/>
                <a:gd name="connsiteX59" fmla="*/ 16687 w 607790"/>
                <a:gd name="connsiteY59" fmla="*/ 41710 h 339806"/>
                <a:gd name="connsiteX60" fmla="*/ 0 w 607790"/>
                <a:gd name="connsiteY60" fmla="*/ 31629 h 339806"/>
                <a:gd name="connsiteX61" fmla="*/ 33369 w 607790"/>
                <a:gd name="connsiteY61" fmla="*/ 0 h 33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07790" h="339806">
                  <a:moveTo>
                    <a:pt x="506369" y="205814"/>
                  </a:moveTo>
                  <a:cubicBezTo>
                    <a:pt x="506369" y="205814"/>
                    <a:pt x="514607" y="205814"/>
                    <a:pt x="514607" y="205814"/>
                  </a:cubicBezTo>
                  <a:cubicBezTo>
                    <a:pt x="514607" y="205814"/>
                    <a:pt x="529898" y="217754"/>
                    <a:pt x="539725" y="223463"/>
                  </a:cubicBezTo>
                  <a:cubicBezTo>
                    <a:pt x="549551" y="229173"/>
                    <a:pt x="567542" y="237998"/>
                    <a:pt x="571069" y="240592"/>
                  </a:cubicBezTo>
                  <a:cubicBezTo>
                    <a:pt x="574596" y="243187"/>
                    <a:pt x="614006" y="287824"/>
                    <a:pt x="606946" y="288864"/>
                  </a:cubicBezTo>
                  <a:cubicBezTo>
                    <a:pt x="599892" y="289898"/>
                    <a:pt x="573425" y="303399"/>
                    <a:pt x="564009" y="307548"/>
                  </a:cubicBezTo>
                  <a:cubicBezTo>
                    <a:pt x="554600" y="311703"/>
                    <a:pt x="536370" y="334542"/>
                    <a:pt x="530487" y="338697"/>
                  </a:cubicBezTo>
                  <a:cubicBezTo>
                    <a:pt x="524605" y="342846"/>
                    <a:pt x="512840" y="334021"/>
                    <a:pt x="506369" y="334021"/>
                  </a:cubicBezTo>
                  <a:cubicBezTo>
                    <a:pt x="499904" y="334021"/>
                    <a:pt x="492844" y="322602"/>
                    <a:pt x="489012" y="319487"/>
                  </a:cubicBezTo>
                  <a:cubicBezTo>
                    <a:pt x="485181" y="316372"/>
                    <a:pt x="487550" y="297169"/>
                    <a:pt x="482263" y="290419"/>
                  </a:cubicBezTo>
                  <a:cubicBezTo>
                    <a:pt x="476963" y="283675"/>
                    <a:pt x="472258" y="262391"/>
                    <a:pt x="471669" y="260316"/>
                  </a:cubicBezTo>
                  <a:cubicBezTo>
                    <a:pt x="471080" y="258242"/>
                    <a:pt x="488139" y="256681"/>
                    <a:pt x="488139" y="256681"/>
                  </a:cubicBezTo>
                  <a:cubicBezTo>
                    <a:pt x="488139" y="256681"/>
                    <a:pt x="510491" y="254086"/>
                    <a:pt x="501664" y="241113"/>
                  </a:cubicBezTo>
                  <a:cubicBezTo>
                    <a:pt x="492844" y="228133"/>
                    <a:pt x="506369" y="205814"/>
                    <a:pt x="506369" y="205814"/>
                  </a:cubicBezTo>
                  <a:close/>
                  <a:moveTo>
                    <a:pt x="427140" y="120499"/>
                  </a:moveTo>
                  <a:cubicBezTo>
                    <a:pt x="427140" y="122057"/>
                    <a:pt x="443042" y="129854"/>
                    <a:pt x="448349" y="130039"/>
                  </a:cubicBezTo>
                  <a:cubicBezTo>
                    <a:pt x="448349" y="130039"/>
                    <a:pt x="473091" y="131415"/>
                    <a:pt x="478984" y="133493"/>
                  </a:cubicBezTo>
                  <a:cubicBezTo>
                    <a:pt x="484870" y="135570"/>
                    <a:pt x="491947" y="144409"/>
                    <a:pt x="494887" y="152209"/>
                  </a:cubicBezTo>
                  <a:cubicBezTo>
                    <a:pt x="497833" y="160006"/>
                    <a:pt x="481339" y="170925"/>
                    <a:pt x="481339" y="176122"/>
                  </a:cubicBezTo>
                  <a:cubicBezTo>
                    <a:pt x="481339" y="181315"/>
                    <a:pt x="417123" y="186518"/>
                    <a:pt x="417123" y="186518"/>
                  </a:cubicBezTo>
                  <a:cubicBezTo>
                    <a:pt x="417123" y="186518"/>
                    <a:pt x="401214" y="184441"/>
                    <a:pt x="398274" y="183918"/>
                  </a:cubicBezTo>
                  <a:cubicBezTo>
                    <a:pt x="395328" y="183399"/>
                    <a:pt x="398274" y="178722"/>
                    <a:pt x="400037" y="176638"/>
                  </a:cubicBezTo>
                  <a:cubicBezTo>
                    <a:pt x="401812" y="174560"/>
                    <a:pt x="421839" y="165205"/>
                    <a:pt x="421839" y="161567"/>
                  </a:cubicBezTo>
                  <a:cubicBezTo>
                    <a:pt x="421839" y="157928"/>
                    <a:pt x="410053" y="157406"/>
                    <a:pt x="407699" y="158444"/>
                  </a:cubicBezTo>
                  <a:cubicBezTo>
                    <a:pt x="405344" y="159486"/>
                    <a:pt x="395920" y="173525"/>
                    <a:pt x="390619" y="172483"/>
                  </a:cubicBezTo>
                  <a:cubicBezTo>
                    <a:pt x="385311" y="171441"/>
                    <a:pt x="377650" y="162609"/>
                    <a:pt x="371172" y="157928"/>
                  </a:cubicBezTo>
                  <a:cubicBezTo>
                    <a:pt x="364693" y="153248"/>
                    <a:pt x="372941" y="147006"/>
                    <a:pt x="375887" y="141812"/>
                  </a:cubicBezTo>
                  <a:cubicBezTo>
                    <a:pt x="378833" y="136612"/>
                    <a:pt x="401812" y="138693"/>
                    <a:pt x="407699" y="130039"/>
                  </a:cubicBezTo>
                  <a:cubicBezTo>
                    <a:pt x="413591" y="121388"/>
                    <a:pt x="427140" y="118938"/>
                    <a:pt x="427140" y="120499"/>
                  </a:cubicBezTo>
                  <a:close/>
                  <a:moveTo>
                    <a:pt x="360606" y="85834"/>
                  </a:moveTo>
                  <a:cubicBezTo>
                    <a:pt x="363431" y="85631"/>
                    <a:pt x="367577" y="85842"/>
                    <a:pt x="371980" y="86199"/>
                  </a:cubicBezTo>
                  <a:cubicBezTo>
                    <a:pt x="380785" y="86913"/>
                    <a:pt x="390617" y="88213"/>
                    <a:pt x="392964" y="87954"/>
                  </a:cubicBezTo>
                  <a:cubicBezTo>
                    <a:pt x="397662" y="87432"/>
                    <a:pt x="397662" y="92107"/>
                    <a:pt x="402360" y="101451"/>
                  </a:cubicBezTo>
                  <a:cubicBezTo>
                    <a:pt x="407051" y="110805"/>
                    <a:pt x="386506" y="115480"/>
                    <a:pt x="382986" y="121712"/>
                  </a:cubicBezTo>
                  <a:cubicBezTo>
                    <a:pt x="379461" y="127946"/>
                    <a:pt x="350119" y="130541"/>
                    <a:pt x="341516" y="128464"/>
                  </a:cubicBezTo>
                  <a:cubicBezTo>
                    <a:pt x="332912" y="126386"/>
                    <a:pt x="328988" y="123791"/>
                    <a:pt x="326050" y="116517"/>
                  </a:cubicBezTo>
                  <a:cubicBezTo>
                    <a:pt x="323116" y="109250"/>
                    <a:pt x="357156" y="87954"/>
                    <a:pt x="357156" y="87954"/>
                  </a:cubicBezTo>
                  <a:cubicBezTo>
                    <a:pt x="356276" y="86655"/>
                    <a:pt x="357781" y="86037"/>
                    <a:pt x="360606" y="85834"/>
                  </a:cubicBezTo>
                  <a:close/>
                  <a:moveTo>
                    <a:pt x="246038" y="51453"/>
                  </a:moveTo>
                  <a:lnTo>
                    <a:pt x="261885" y="51453"/>
                  </a:lnTo>
                  <a:cubicBezTo>
                    <a:pt x="261885" y="51453"/>
                    <a:pt x="273627" y="56617"/>
                    <a:pt x="273627" y="56617"/>
                  </a:cubicBezTo>
                  <a:lnTo>
                    <a:pt x="287714" y="65924"/>
                  </a:lnTo>
                  <a:lnTo>
                    <a:pt x="294169" y="80390"/>
                  </a:lnTo>
                  <a:lnTo>
                    <a:pt x="301216" y="81942"/>
                  </a:lnTo>
                  <a:lnTo>
                    <a:pt x="301216" y="105201"/>
                  </a:lnTo>
                  <a:lnTo>
                    <a:pt x="292998" y="109338"/>
                  </a:lnTo>
                  <a:lnTo>
                    <a:pt x="278911" y="109338"/>
                  </a:lnTo>
                  <a:lnTo>
                    <a:pt x="261885" y="109338"/>
                  </a:lnTo>
                  <a:lnTo>
                    <a:pt x="253081" y="104686"/>
                  </a:lnTo>
                  <a:lnTo>
                    <a:pt x="238405" y="89178"/>
                  </a:lnTo>
                  <a:lnTo>
                    <a:pt x="227252" y="79361"/>
                  </a:lnTo>
                  <a:lnTo>
                    <a:pt x="227252" y="62821"/>
                  </a:lnTo>
                  <a:lnTo>
                    <a:pt x="237819" y="60235"/>
                  </a:lnTo>
                  <a:close/>
                  <a:moveTo>
                    <a:pt x="99221" y="0"/>
                  </a:moveTo>
                  <a:cubicBezTo>
                    <a:pt x="99221" y="0"/>
                    <a:pt x="121663" y="9911"/>
                    <a:pt x="126154" y="20903"/>
                  </a:cubicBezTo>
                  <a:cubicBezTo>
                    <a:pt x="130642" y="31900"/>
                    <a:pt x="117174" y="39632"/>
                    <a:pt x="99221" y="41614"/>
                  </a:cubicBezTo>
                  <a:cubicBezTo>
                    <a:pt x="81268" y="43599"/>
                    <a:pt x="74534" y="29726"/>
                    <a:pt x="65557" y="23780"/>
                  </a:cubicBezTo>
                  <a:cubicBezTo>
                    <a:pt x="56581" y="17837"/>
                    <a:pt x="99221" y="0"/>
                    <a:pt x="99221" y="0"/>
                  </a:cubicBezTo>
                  <a:close/>
                  <a:moveTo>
                    <a:pt x="33369" y="0"/>
                  </a:moveTo>
                  <a:cubicBezTo>
                    <a:pt x="47245" y="18708"/>
                    <a:pt x="16687" y="41710"/>
                    <a:pt x="16687" y="41710"/>
                  </a:cubicBezTo>
                  <a:cubicBezTo>
                    <a:pt x="16687" y="41710"/>
                    <a:pt x="0" y="43498"/>
                    <a:pt x="0" y="31629"/>
                  </a:cubicBezTo>
                  <a:cubicBezTo>
                    <a:pt x="0" y="19774"/>
                    <a:pt x="33369" y="0"/>
                    <a:pt x="33369" y="0"/>
                  </a:cubicBezTo>
                  <a:close/>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6" name="Georgia"/>
            <p:cNvSpPr>
              <a:spLocks/>
            </p:cNvSpPr>
            <p:nvPr/>
          </p:nvSpPr>
          <p:spPr bwMode="auto">
            <a:xfrm>
              <a:off x="7971941" y="3995744"/>
              <a:ext cx="569204" cy="540798"/>
            </a:xfrm>
            <a:custGeom>
              <a:avLst/>
              <a:gdLst/>
              <a:ahLst/>
              <a:cxnLst/>
              <a:rect l="0" t="0" r="r" b="b"/>
              <a:pathLst>
                <a:path w="21600" h="21600">
                  <a:moveTo>
                    <a:pt x="0" y="675"/>
                  </a:moveTo>
                  <a:lnTo>
                    <a:pt x="4498" y="0"/>
                  </a:lnTo>
                  <a:lnTo>
                    <a:pt x="10220" y="0"/>
                  </a:lnTo>
                  <a:lnTo>
                    <a:pt x="9587" y="675"/>
                  </a:lnTo>
                  <a:lnTo>
                    <a:pt x="10297" y="1244"/>
                  </a:lnTo>
                  <a:lnTo>
                    <a:pt x="11338" y="2079"/>
                  </a:lnTo>
                  <a:lnTo>
                    <a:pt x="12222" y="3191"/>
                  </a:lnTo>
                  <a:lnTo>
                    <a:pt x="12854" y="3191"/>
                  </a:lnTo>
                  <a:lnTo>
                    <a:pt x="13802" y="4523"/>
                  </a:lnTo>
                  <a:lnTo>
                    <a:pt x="14856" y="5208"/>
                  </a:lnTo>
                  <a:lnTo>
                    <a:pt x="16121" y="6087"/>
                  </a:lnTo>
                  <a:lnTo>
                    <a:pt x="16753" y="6674"/>
                  </a:lnTo>
                  <a:lnTo>
                    <a:pt x="16753" y="7456"/>
                  </a:lnTo>
                  <a:lnTo>
                    <a:pt x="18228" y="8042"/>
                  </a:lnTo>
                  <a:lnTo>
                    <a:pt x="18966" y="8898"/>
                  </a:lnTo>
                  <a:lnTo>
                    <a:pt x="19703" y="9998"/>
                  </a:lnTo>
                  <a:lnTo>
                    <a:pt x="20441" y="10878"/>
                  </a:lnTo>
                  <a:lnTo>
                    <a:pt x="20862" y="11843"/>
                  </a:lnTo>
                  <a:lnTo>
                    <a:pt x="21600" y="12886"/>
                  </a:lnTo>
                  <a:lnTo>
                    <a:pt x="21495" y="13810"/>
                  </a:lnTo>
                  <a:lnTo>
                    <a:pt x="20862" y="14886"/>
                  </a:lnTo>
                  <a:lnTo>
                    <a:pt x="20441" y="16254"/>
                  </a:lnTo>
                  <a:lnTo>
                    <a:pt x="20125" y="17623"/>
                  </a:lnTo>
                  <a:lnTo>
                    <a:pt x="20125" y="19089"/>
                  </a:lnTo>
                  <a:lnTo>
                    <a:pt x="18755" y="19089"/>
                  </a:lnTo>
                  <a:lnTo>
                    <a:pt x="18017" y="19089"/>
                  </a:lnTo>
                  <a:lnTo>
                    <a:pt x="18017" y="19969"/>
                  </a:lnTo>
                  <a:lnTo>
                    <a:pt x="18017" y="20680"/>
                  </a:lnTo>
                  <a:lnTo>
                    <a:pt x="17596" y="21600"/>
                  </a:lnTo>
                  <a:lnTo>
                    <a:pt x="16963" y="20680"/>
                  </a:lnTo>
                  <a:lnTo>
                    <a:pt x="5267" y="21142"/>
                  </a:lnTo>
                  <a:lnTo>
                    <a:pt x="4498" y="19575"/>
                  </a:lnTo>
                  <a:lnTo>
                    <a:pt x="3836" y="18716"/>
                  </a:lnTo>
                  <a:lnTo>
                    <a:pt x="3836" y="17611"/>
                  </a:lnTo>
                  <a:lnTo>
                    <a:pt x="3836" y="12518"/>
                  </a:lnTo>
                  <a:lnTo>
                    <a:pt x="2643" y="9845"/>
                  </a:lnTo>
                  <a:lnTo>
                    <a:pt x="2037" y="7740"/>
                  </a:lnTo>
                  <a:lnTo>
                    <a:pt x="1304" y="5198"/>
                  </a:lnTo>
                  <a:lnTo>
                    <a:pt x="725" y="3191"/>
                  </a:lnTo>
                  <a:cubicBezTo>
                    <a:pt x="725" y="3191"/>
                    <a:pt x="0" y="675"/>
                    <a:pt x="0" y="675"/>
                  </a:cubicBezTo>
                  <a:close/>
                  <a:moveTo>
                    <a:pt x="0" y="675"/>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5" name="Florida"/>
            <p:cNvSpPr>
              <a:spLocks/>
            </p:cNvSpPr>
            <p:nvPr/>
          </p:nvSpPr>
          <p:spPr bwMode="auto">
            <a:xfrm>
              <a:off x="7783279" y="4471688"/>
              <a:ext cx="974399" cy="673183"/>
            </a:xfrm>
            <a:custGeom>
              <a:avLst/>
              <a:gdLst/>
              <a:ahLst/>
              <a:cxnLst/>
              <a:rect l="0" t="0" r="r" b="b"/>
              <a:pathLst>
                <a:path w="21600" h="21600">
                  <a:moveTo>
                    <a:pt x="21231" y="20893"/>
                  </a:moveTo>
                  <a:lnTo>
                    <a:pt x="21231" y="20186"/>
                  </a:lnTo>
                  <a:lnTo>
                    <a:pt x="21231" y="19322"/>
                  </a:lnTo>
                  <a:lnTo>
                    <a:pt x="21600" y="18851"/>
                  </a:lnTo>
                  <a:lnTo>
                    <a:pt x="21415" y="17830"/>
                  </a:lnTo>
                  <a:lnTo>
                    <a:pt x="21600" y="16652"/>
                  </a:lnTo>
                  <a:lnTo>
                    <a:pt x="21600" y="15552"/>
                  </a:lnTo>
                  <a:lnTo>
                    <a:pt x="21231" y="14453"/>
                  </a:lnTo>
                  <a:lnTo>
                    <a:pt x="20738" y="13196"/>
                  </a:lnTo>
                  <a:lnTo>
                    <a:pt x="20368" y="12410"/>
                  </a:lnTo>
                  <a:lnTo>
                    <a:pt x="20368" y="11703"/>
                  </a:lnTo>
                  <a:lnTo>
                    <a:pt x="19753" y="10918"/>
                  </a:lnTo>
                  <a:lnTo>
                    <a:pt x="19753" y="10368"/>
                  </a:lnTo>
                  <a:lnTo>
                    <a:pt x="19383" y="9857"/>
                  </a:lnTo>
                  <a:lnTo>
                    <a:pt x="19383" y="8404"/>
                  </a:lnTo>
                  <a:lnTo>
                    <a:pt x="18952" y="7619"/>
                  </a:lnTo>
                  <a:lnTo>
                    <a:pt x="18460" y="6912"/>
                  </a:lnTo>
                  <a:lnTo>
                    <a:pt x="17967" y="6284"/>
                  </a:lnTo>
                  <a:lnTo>
                    <a:pt x="17597" y="5498"/>
                  </a:lnTo>
                  <a:lnTo>
                    <a:pt x="17105" y="4236"/>
                  </a:lnTo>
                  <a:lnTo>
                    <a:pt x="17105" y="3613"/>
                  </a:lnTo>
                  <a:lnTo>
                    <a:pt x="16551" y="2356"/>
                  </a:lnTo>
                  <a:lnTo>
                    <a:pt x="16243" y="1278"/>
                  </a:lnTo>
                  <a:lnTo>
                    <a:pt x="15935" y="0"/>
                  </a:lnTo>
                  <a:lnTo>
                    <a:pt x="15134" y="0"/>
                  </a:lnTo>
                  <a:lnTo>
                    <a:pt x="14703" y="0"/>
                  </a:lnTo>
                  <a:lnTo>
                    <a:pt x="14703" y="707"/>
                  </a:lnTo>
                  <a:lnTo>
                    <a:pt x="14703" y="1278"/>
                  </a:lnTo>
                  <a:lnTo>
                    <a:pt x="14457" y="2018"/>
                  </a:lnTo>
                  <a:lnTo>
                    <a:pt x="14087" y="1278"/>
                  </a:lnTo>
                  <a:lnTo>
                    <a:pt x="12918" y="1278"/>
                  </a:lnTo>
                  <a:lnTo>
                    <a:pt x="7253" y="1650"/>
                  </a:lnTo>
                  <a:lnTo>
                    <a:pt x="6803" y="391"/>
                  </a:lnTo>
                  <a:lnTo>
                    <a:pt x="2220" y="1278"/>
                  </a:lnTo>
                  <a:lnTo>
                    <a:pt x="1095" y="1278"/>
                  </a:lnTo>
                  <a:lnTo>
                    <a:pt x="0" y="1278"/>
                  </a:lnTo>
                  <a:lnTo>
                    <a:pt x="0" y="2018"/>
                  </a:lnTo>
                  <a:lnTo>
                    <a:pt x="541" y="3546"/>
                  </a:lnTo>
                  <a:lnTo>
                    <a:pt x="664" y="4236"/>
                  </a:lnTo>
                  <a:lnTo>
                    <a:pt x="1351" y="3378"/>
                  </a:lnTo>
                  <a:lnTo>
                    <a:pt x="1772" y="3535"/>
                  </a:lnTo>
                  <a:lnTo>
                    <a:pt x="3250" y="3063"/>
                  </a:lnTo>
                  <a:lnTo>
                    <a:pt x="3724" y="3613"/>
                  </a:lnTo>
                  <a:lnTo>
                    <a:pt x="4482" y="4236"/>
                  </a:lnTo>
                  <a:lnTo>
                    <a:pt x="5036" y="4236"/>
                  </a:lnTo>
                  <a:lnTo>
                    <a:pt x="5528" y="4236"/>
                  </a:lnTo>
                  <a:lnTo>
                    <a:pt x="5836" y="4870"/>
                  </a:lnTo>
                  <a:lnTo>
                    <a:pt x="6206" y="5184"/>
                  </a:lnTo>
                  <a:lnTo>
                    <a:pt x="6144" y="5813"/>
                  </a:lnTo>
                  <a:lnTo>
                    <a:pt x="6803" y="5577"/>
                  </a:lnTo>
                  <a:lnTo>
                    <a:pt x="7560" y="5184"/>
                  </a:lnTo>
                  <a:lnTo>
                    <a:pt x="8176" y="4634"/>
                  </a:lnTo>
                  <a:lnTo>
                    <a:pt x="8669" y="4236"/>
                  </a:lnTo>
                  <a:lnTo>
                    <a:pt x="9285" y="4236"/>
                  </a:lnTo>
                  <a:lnTo>
                    <a:pt x="10270" y="4236"/>
                  </a:lnTo>
                  <a:lnTo>
                    <a:pt x="10800" y="4791"/>
                  </a:lnTo>
                  <a:lnTo>
                    <a:pt x="11501" y="5498"/>
                  </a:lnTo>
                  <a:lnTo>
                    <a:pt x="12240" y="6519"/>
                  </a:lnTo>
                  <a:lnTo>
                    <a:pt x="12524" y="6834"/>
                  </a:lnTo>
                  <a:lnTo>
                    <a:pt x="13349" y="7305"/>
                  </a:lnTo>
                  <a:lnTo>
                    <a:pt x="13657" y="8012"/>
                  </a:lnTo>
                  <a:lnTo>
                    <a:pt x="13718" y="9190"/>
                  </a:lnTo>
                  <a:lnTo>
                    <a:pt x="13595" y="10447"/>
                  </a:lnTo>
                  <a:lnTo>
                    <a:pt x="13410" y="11389"/>
                  </a:lnTo>
                  <a:lnTo>
                    <a:pt x="13595" y="12096"/>
                  </a:lnTo>
                  <a:lnTo>
                    <a:pt x="14087" y="11782"/>
                  </a:lnTo>
                  <a:lnTo>
                    <a:pt x="14519" y="12175"/>
                  </a:lnTo>
                  <a:lnTo>
                    <a:pt x="13964" y="12489"/>
                  </a:lnTo>
                  <a:lnTo>
                    <a:pt x="14211" y="13667"/>
                  </a:lnTo>
                  <a:lnTo>
                    <a:pt x="14580" y="14453"/>
                  </a:lnTo>
                  <a:lnTo>
                    <a:pt x="14888" y="15238"/>
                  </a:lnTo>
                  <a:lnTo>
                    <a:pt x="15319" y="15866"/>
                  </a:lnTo>
                  <a:lnTo>
                    <a:pt x="15750" y="15788"/>
                  </a:lnTo>
                  <a:lnTo>
                    <a:pt x="16058" y="16416"/>
                  </a:lnTo>
                  <a:lnTo>
                    <a:pt x="16181" y="17044"/>
                  </a:lnTo>
                  <a:lnTo>
                    <a:pt x="16735" y="17437"/>
                  </a:lnTo>
                  <a:lnTo>
                    <a:pt x="17043" y="18537"/>
                  </a:lnTo>
                  <a:lnTo>
                    <a:pt x="17228" y="19165"/>
                  </a:lnTo>
                  <a:lnTo>
                    <a:pt x="17905" y="19558"/>
                  </a:lnTo>
                  <a:lnTo>
                    <a:pt x="18460" y="20186"/>
                  </a:lnTo>
                  <a:lnTo>
                    <a:pt x="18829" y="20893"/>
                  </a:lnTo>
                  <a:lnTo>
                    <a:pt x="19260" y="20893"/>
                  </a:lnTo>
                  <a:lnTo>
                    <a:pt x="19260" y="21600"/>
                  </a:lnTo>
                  <a:lnTo>
                    <a:pt x="19999" y="21600"/>
                  </a:lnTo>
                  <a:lnTo>
                    <a:pt x="20492" y="21286"/>
                  </a:lnTo>
                  <a:cubicBezTo>
                    <a:pt x="20492" y="21286"/>
                    <a:pt x="21231" y="20893"/>
                    <a:pt x="21231" y="20893"/>
                  </a:cubicBezTo>
                  <a:close/>
                  <a:moveTo>
                    <a:pt x="21231" y="20893"/>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5" name="DC"/>
            <p:cNvSpPr/>
            <p:nvPr/>
          </p:nvSpPr>
          <p:spPr>
            <a:xfrm>
              <a:off x="9247116" y="3431103"/>
              <a:ext cx="128117" cy="128117"/>
            </a:xfrm>
            <a:prstGeom prst="rect">
              <a:avLst/>
            </a:pr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2" name="Delaware"/>
            <p:cNvSpPr>
              <a:spLocks/>
            </p:cNvSpPr>
            <p:nvPr/>
          </p:nvSpPr>
          <p:spPr bwMode="auto">
            <a:xfrm>
              <a:off x="8940981" y="3266820"/>
              <a:ext cx="113626" cy="169368"/>
            </a:xfrm>
            <a:custGeom>
              <a:avLst/>
              <a:gdLst/>
              <a:ahLst/>
              <a:cxnLst/>
              <a:rect l="0" t="0" r="r" b="b"/>
              <a:pathLst>
                <a:path w="21600" h="21600">
                  <a:moveTo>
                    <a:pt x="21600" y="19689"/>
                  </a:moveTo>
                  <a:lnTo>
                    <a:pt x="21600" y="17121"/>
                  </a:lnTo>
                  <a:lnTo>
                    <a:pt x="18439" y="15391"/>
                  </a:lnTo>
                  <a:lnTo>
                    <a:pt x="13170" y="12458"/>
                  </a:lnTo>
                  <a:lnTo>
                    <a:pt x="9483" y="8409"/>
                  </a:lnTo>
                  <a:lnTo>
                    <a:pt x="5795" y="4672"/>
                  </a:lnTo>
                  <a:lnTo>
                    <a:pt x="5795" y="2492"/>
                  </a:lnTo>
                  <a:lnTo>
                    <a:pt x="5795" y="1246"/>
                  </a:lnTo>
                  <a:lnTo>
                    <a:pt x="2108" y="0"/>
                  </a:lnTo>
                  <a:lnTo>
                    <a:pt x="0" y="2492"/>
                  </a:lnTo>
                  <a:lnTo>
                    <a:pt x="0" y="6852"/>
                  </a:lnTo>
                  <a:lnTo>
                    <a:pt x="4742" y="11160"/>
                  </a:lnTo>
                  <a:lnTo>
                    <a:pt x="7376" y="17121"/>
                  </a:lnTo>
                  <a:lnTo>
                    <a:pt x="7902" y="19689"/>
                  </a:lnTo>
                  <a:lnTo>
                    <a:pt x="10800" y="21600"/>
                  </a:lnTo>
                  <a:cubicBezTo>
                    <a:pt x="10800" y="21600"/>
                    <a:pt x="21600" y="19689"/>
                    <a:pt x="21600" y="19689"/>
                  </a:cubicBezTo>
                  <a:close/>
                  <a:moveTo>
                    <a:pt x="21600" y="1968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8" name="Connecticut"/>
            <p:cNvSpPr>
              <a:spLocks/>
            </p:cNvSpPr>
            <p:nvPr/>
          </p:nvSpPr>
          <p:spPr bwMode="auto">
            <a:xfrm>
              <a:off x="9129643" y="2932373"/>
              <a:ext cx="174727" cy="159184"/>
            </a:xfrm>
            <a:custGeom>
              <a:avLst/>
              <a:gdLst/>
              <a:ahLst/>
              <a:cxnLst/>
              <a:rect l="0" t="0" r="r" b="b"/>
              <a:pathLst>
                <a:path w="21600" h="21600">
                  <a:moveTo>
                    <a:pt x="21600" y="10301"/>
                  </a:moveTo>
                  <a:lnTo>
                    <a:pt x="19886" y="0"/>
                  </a:lnTo>
                  <a:lnTo>
                    <a:pt x="15086" y="0"/>
                  </a:lnTo>
                  <a:lnTo>
                    <a:pt x="6514" y="1994"/>
                  </a:lnTo>
                  <a:lnTo>
                    <a:pt x="0" y="3655"/>
                  </a:lnTo>
                  <a:lnTo>
                    <a:pt x="0" y="8421"/>
                  </a:lnTo>
                  <a:lnTo>
                    <a:pt x="0" y="13292"/>
                  </a:lnTo>
                  <a:lnTo>
                    <a:pt x="0" y="16283"/>
                  </a:lnTo>
                  <a:lnTo>
                    <a:pt x="0" y="19938"/>
                  </a:lnTo>
                  <a:lnTo>
                    <a:pt x="0" y="21600"/>
                  </a:lnTo>
                  <a:lnTo>
                    <a:pt x="5486" y="16283"/>
                  </a:lnTo>
                  <a:lnTo>
                    <a:pt x="10800" y="13624"/>
                  </a:lnTo>
                  <a:lnTo>
                    <a:pt x="16457" y="10800"/>
                  </a:lnTo>
                  <a:cubicBezTo>
                    <a:pt x="16457" y="10800"/>
                    <a:pt x="21600" y="10301"/>
                    <a:pt x="21600" y="10301"/>
                  </a:cubicBezTo>
                  <a:close/>
                  <a:moveTo>
                    <a:pt x="21600" y="10301"/>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5" name="Colorado"/>
            <p:cNvSpPr>
              <a:spLocks/>
            </p:cNvSpPr>
            <p:nvPr/>
          </p:nvSpPr>
          <p:spPr bwMode="auto">
            <a:xfrm>
              <a:off x="5420708" y="3193928"/>
              <a:ext cx="798600" cy="583675"/>
            </a:xfrm>
            <a:custGeom>
              <a:avLst/>
              <a:gdLst/>
              <a:ahLst/>
              <a:cxnLst/>
              <a:rect l="0" t="0" r="r" b="b"/>
              <a:pathLst>
                <a:path w="21600" h="21600">
                  <a:moveTo>
                    <a:pt x="21600" y="3207"/>
                  </a:moveTo>
                  <a:lnTo>
                    <a:pt x="20468" y="21600"/>
                  </a:lnTo>
                  <a:lnTo>
                    <a:pt x="17450" y="21486"/>
                  </a:lnTo>
                  <a:lnTo>
                    <a:pt x="0" y="18677"/>
                  </a:lnTo>
                  <a:lnTo>
                    <a:pt x="2512" y="0"/>
                  </a:lnTo>
                  <a:cubicBezTo>
                    <a:pt x="2512" y="0"/>
                    <a:pt x="21600" y="3207"/>
                    <a:pt x="21600" y="3207"/>
                  </a:cubicBezTo>
                  <a:close/>
                  <a:moveTo>
                    <a:pt x="21600" y="3207"/>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8" name="California"/>
            <p:cNvSpPr>
              <a:spLocks/>
            </p:cNvSpPr>
            <p:nvPr/>
          </p:nvSpPr>
          <p:spPr bwMode="auto">
            <a:xfrm>
              <a:off x="3962860" y="2760861"/>
              <a:ext cx="819504" cy="1349581"/>
            </a:xfrm>
            <a:custGeom>
              <a:avLst/>
              <a:gdLst/>
              <a:ahLst/>
              <a:cxnLst/>
              <a:rect l="0" t="0" r="r" b="b"/>
              <a:pathLst>
                <a:path w="21600" h="21600">
                  <a:moveTo>
                    <a:pt x="18475" y="21600"/>
                  </a:moveTo>
                  <a:lnTo>
                    <a:pt x="11673" y="21206"/>
                  </a:lnTo>
                  <a:lnTo>
                    <a:pt x="11673" y="20862"/>
                  </a:lnTo>
                  <a:lnTo>
                    <a:pt x="11673" y="20567"/>
                  </a:lnTo>
                  <a:lnTo>
                    <a:pt x="11673" y="20222"/>
                  </a:lnTo>
                  <a:lnTo>
                    <a:pt x="11673" y="19829"/>
                  </a:lnTo>
                  <a:lnTo>
                    <a:pt x="10938" y="19337"/>
                  </a:lnTo>
                  <a:lnTo>
                    <a:pt x="10938" y="18943"/>
                  </a:lnTo>
                  <a:lnTo>
                    <a:pt x="10111" y="18549"/>
                  </a:lnTo>
                  <a:lnTo>
                    <a:pt x="9559" y="18353"/>
                  </a:lnTo>
                  <a:lnTo>
                    <a:pt x="9008" y="18353"/>
                  </a:lnTo>
                  <a:lnTo>
                    <a:pt x="9008" y="18057"/>
                  </a:lnTo>
                  <a:lnTo>
                    <a:pt x="9008" y="17811"/>
                  </a:lnTo>
                  <a:lnTo>
                    <a:pt x="8640" y="17811"/>
                  </a:lnTo>
                  <a:lnTo>
                    <a:pt x="7813" y="17615"/>
                  </a:lnTo>
                  <a:lnTo>
                    <a:pt x="7169" y="17270"/>
                  </a:lnTo>
                  <a:lnTo>
                    <a:pt x="7169" y="16975"/>
                  </a:lnTo>
                  <a:lnTo>
                    <a:pt x="6618" y="16975"/>
                  </a:lnTo>
                  <a:lnTo>
                    <a:pt x="5975" y="16581"/>
                  </a:lnTo>
                  <a:lnTo>
                    <a:pt x="5055" y="16335"/>
                  </a:lnTo>
                  <a:lnTo>
                    <a:pt x="4320" y="16335"/>
                  </a:lnTo>
                  <a:lnTo>
                    <a:pt x="4320" y="16138"/>
                  </a:lnTo>
                  <a:lnTo>
                    <a:pt x="3677" y="15942"/>
                  </a:lnTo>
                  <a:lnTo>
                    <a:pt x="3677" y="15499"/>
                  </a:lnTo>
                  <a:lnTo>
                    <a:pt x="4136" y="14958"/>
                  </a:lnTo>
                  <a:lnTo>
                    <a:pt x="3677" y="14613"/>
                  </a:lnTo>
                  <a:lnTo>
                    <a:pt x="3677" y="14220"/>
                  </a:lnTo>
                  <a:lnTo>
                    <a:pt x="3309" y="13678"/>
                  </a:lnTo>
                  <a:lnTo>
                    <a:pt x="2757" y="13186"/>
                  </a:lnTo>
                  <a:lnTo>
                    <a:pt x="2757" y="12694"/>
                  </a:lnTo>
                  <a:lnTo>
                    <a:pt x="2022" y="12202"/>
                  </a:lnTo>
                  <a:lnTo>
                    <a:pt x="2022" y="11907"/>
                  </a:lnTo>
                  <a:lnTo>
                    <a:pt x="2022" y="11612"/>
                  </a:lnTo>
                  <a:lnTo>
                    <a:pt x="2574" y="11120"/>
                  </a:lnTo>
                  <a:lnTo>
                    <a:pt x="2574" y="10677"/>
                  </a:lnTo>
                  <a:lnTo>
                    <a:pt x="2022" y="10677"/>
                  </a:lnTo>
                  <a:lnTo>
                    <a:pt x="1563" y="10185"/>
                  </a:lnTo>
                  <a:lnTo>
                    <a:pt x="1563" y="9693"/>
                  </a:lnTo>
                  <a:lnTo>
                    <a:pt x="1563" y="9152"/>
                  </a:lnTo>
                  <a:lnTo>
                    <a:pt x="2022" y="8955"/>
                  </a:lnTo>
                  <a:lnTo>
                    <a:pt x="2482" y="9201"/>
                  </a:lnTo>
                  <a:lnTo>
                    <a:pt x="2022" y="8512"/>
                  </a:lnTo>
                  <a:lnTo>
                    <a:pt x="1563" y="8512"/>
                  </a:lnTo>
                  <a:lnTo>
                    <a:pt x="1011" y="8266"/>
                  </a:lnTo>
                  <a:lnTo>
                    <a:pt x="1011" y="7725"/>
                  </a:lnTo>
                  <a:lnTo>
                    <a:pt x="1011" y="7380"/>
                  </a:lnTo>
                  <a:lnTo>
                    <a:pt x="460" y="6987"/>
                  </a:lnTo>
                  <a:lnTo>
                    <a:pt x="460" y="6495"/>
                  </a:lnTo>
                  <a:lnTo>
                    <a:pt x="0" y="6052"/>
                  </a:lnTo>
                  <a:lnTo>
                    <a:pt x="0" y="5462"/>
                  </a:lnTo>
                  <a:lnTo>
                    <a:pt x="551" y="4674"/>
                  </a:lnTo>
                  <a:lnTo>
                    <a:pt x="460" y="4281"/>
                  </a:lnTo>
                  <a:lnTo>
                    <a:pt x="0" y="3789"/>
                  </a:lnTo>
                  <a:lnTo>
                    <a:pt x="0" y="3395"/>
                  </a:lnTo>
                  <a:lnTo>
                    <a:pt x="0" y="2952"/>
                  </a:lnTo>
                  <a:lnTo>
                    <a:pt x="643" y="2312"/>
                  </a:lnTo>
                  <a:lnTo>
                    <a:pt x="1287" y="2066"/>
                  </a:lnTo>
                  <a:lnTo>
                    <a:pt x="1563" y="1574"/>
                  </a:lnTo>
                  <a:lnTo>
                    <a:pt x="2022" y="1181"/>
                  </a:lnTo>
                  <a:lnTo>
                    <a:pt x="2022" y="836"/>
                  </a:lnTo>
                  <a:lnTo>
                    <a:pt x="2022" y="443"/>
                  </a:lnTo>
                  <a:lnTo>
                    <a:pt x="2022" y="0"/>
                  </a:lnTo>
                  <a:lnTo>
                    <a:pt x="12684" y="1870"/>
                  </a:lnTo>
                  <a:lnTo>
                    <a:pt x="9743" y="7725"/>
                  </a:lnTo>
                  <a:lnTo>
                    <a:pt x="21048" y="17270"/>
                  </a:lnTo>
                  <a:lnTo>
                    <a:pt x="21048" y="17861"/>
                  </a:lnTo>
                  <a:lnTo>
                    <a:pt x="21600" y="18353"/>
                  </a:lnTo>
                  <a:lnTo>
                    <a:pt x="21600" y="18746"/>
                  </a:lnTo>
                  <a:lnTo>
                    <a:pt x="21140" y="18943"/>
                  </a:lnTo>
                  <a:lnTo>
                    <a:pt x="20497" y="19435"/>
                  </a:lnTo>
                  <a:lnTo>
                    <a:pt x="20497" y="19878"/>
                  </a:lnTo>
                  <a:lnTo>
                    <a:pt x="19762" y="20321"/>
                  </a:lnTo>
                  <a:lnTo>
                    <a:pt x="19302" y="20272"/>
                  </a:lnTo>
                  <a:lnTo>
                    <a:pt x="19302" y="20616"/>
                  </a:lnTo>
                  <a:lnTo>
                    <a:pt x="19394" y="20960"/>
                  </a:lnTo>
                  <a:lnTo>
                    <a:pt x="19670" y="21206"/>
                  </a:lnTo>
                  <a:lnTo>
                    <a:pt x="19578" y="21600"/>
                  </a:lnTo>
                  <a:lnTo>
                    <a:pt x="18934" y="21600"/>
                  </a:lnTo>
                  <a:cubicBezTo>
                    <a:pt x="18934" y="21600"/>
                    <a:pt x="18475" y="21600"/>
                    <a:pt x="18475" y="21600"/>
                  </a:cubicBezTo>
                  <a:close/>
                  <a:moveTo>
                    <a:pt x="18475"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5" name="Arkansas"/>
            <p:cNvSpPr>
              <a:spLocks/>
            </p:cNvSpPr>
            <p:nvPr/>
          </p:nvSpPr>
          <p:spPr bwMode="auto">
            <a:xfrm>
              <a:off x="6972887" y="3858535"/>
              <a:ext cx="537046" cy="433066"/>
            </a:xfrm>
            <a:custGeom>
              <a:avLst/>
              <a:gdLst/>
              <a:ahLst/>
              <a:cxnLst/>
              <a:rect l="0" t="0" r="r" b="b"/>
              <a:pathLst>
                <a:path w="21600" h="21600">
                  <a:moveTo>
                    <a:pt x="140" y="17923"/>
                  </a:moveTo>
                  <a:lnTo>
                    <a:pt x="0" y="613"/>
                  </a:lnTo>
                  <a:lnTo>
                    <a:pt x="19356" y="0"/>
                  </a:lnTo>
                  <a:lnTo>
                    <a:pt x="19917" y="766"/>
                  </a:lnTo>
                  <a:lnTo>
                    <a:pt x="19356" y="1685"/>
                  </a:lnTo>
                  <a:lnTo>
                    <a:pt x="18514" y="2604"/>
                  </a:lnTo>
                  <a:lnTo>
                    <a:pt x="19356" y="2604"/>
                  </a:lnTo>
                  <a:lnTo>
                    <a:pt x="21600" y="2604"/>
                  </a:lnTo>
                  <a:lnTo>
                    <a:pt x="21039" y="3983"/>
                  </a:lnTo>
                  <a:lnTo>
                    <a:pt x="20618" y="5515"/>
                  </a:lnTo>
                  <a:lnTo>
                    <a:pt x="19917" y="6817"/>
                  </a:lnTo>
                  <a:lnTo>
                    <a:pt x="19917" y="7966"/>
                  </a:lnTo>
                  <a:lnTo>
                    <a:pt x="19917" y="9268"/>
                  </a:lnTo>
                  <a:lnTo>
                    <a:pt x="18514" y="9268"/>
                  </a:lnTo>
                  <a:lnTo>
                    <a:pt x="18514" y="10570"/>
                  </a:lnTo>
                  <a:lnTo>
                    <a:pt x="18514" y="12408"/>
                  </a:lnTo>
                  <a:lnTo>
                    <a:pt x="17397" y="13628"/>
                  </a:lnTo>
                  <a:lnTo>
                    <a:pt x="16270" y="14859"/>
                  </a:lnTo>
                  <a:lnTo>
                    <a:pt x="15709" y="16698"/>
                  </a:lnTo>
                  <a:lnTo>
                    <a:pt x="15148" y="17923"/>
                  </a:lnTo>
                  <a:lnTo>
                    <a:pt x="15709" y="19915"/>
                  </a:lnTo>
                  <a:lnTo>
                    <a:pt x="15429" y="21600"/>
                  </a:lnTo>
                  <a:lnTo>
                    <a:pt x="2244" y="21600"/>
                  </a:lnTo>
                  <a:lnTo>
                    <a:pt x="1907" y="19486"/>
                  </a:lnTo>
                  <a:lnTo>
                    <a:pt x="1543" y="18689"/>
                  </a:lnTo>
                  <a:lnTo>
                    <a:pt x="757" y="18260"/>
                  </a:lnTo>
                  <a:cubicBezTo>
                    <a:pt x="757" y="18260"/>
                    <a:pt x="140" y="17923"/>
                    <a:pt x="140" y="17923"/>
                  </a:cubicBezTo>
                  <a:close/>
                  <a:moveTo>
                    <a:pt x="140" y="17923"/>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3" name="Arizona"/>
            <p:cNvSpPr>
              <a:spLocks/>
            </p:cNvSpPr>
            <p:nvPr/>
          </p:nvSpPr>
          <p:spPr bwMode="auto">
            <a:xfrm>
              <a:off x="4666057" y="3609843"/>
              <a:ext cx="753043" cy="773946"/>
            </a:xfrm>
            <a:custGeom>
              <a:avLst/>
              <a:gdLst/>
              <a:ahLst/>
              <a:cxnLst/>
              <a:rect l="0" t="0" r="r" b="b"/>
              <a:pathLst>
                <a:path w="21600" h="21600">
                  <a:moveTo>
                    <a:pt x="18000" y="21600"/>
                  </a:moveTo>
                  <a:lnTo>
                    <a:pt x="21600" y="2473"/>
                  </a:lnTo>
                  <a:lnTo>
                    <a:pt x="6270" y="0"/>
                  </a:lnTo>
                  <a:lnTo>
                    <a:pt x="5700" y="2130"/>
                  </a:lnTo>
                  <a:lnTo>
                    <a:pt x="4900" y="2988"/>
                  </a:lnTo>
                  <a:lnTo>
                    <a:pt x="4300" y="2559"/>
                  </a:lnTo>
                  <a:lnTo>
                    <a:pt x="3400" y="2559"/>
                  </a:lnTo>
                  <a:lnTo>
                    <a:pt x="3400" y="3503"/>
                  </a:lnTo>
                  <a:lnTo>
                    <a:pt x="3400" y="4446"/>
                  </a:lnTo>
                  <a:lnTo>
                    <a:pt x="3073" y="5176"/>
                  </a:lnTo>
                  <a:lnTo>
                    <a:pt x="2800" y="6333"/>
                  </a:lnTo>
                  <a:lnTo>
                    <a:pt x="2800" y="7362"/>
                  </a:lnTo>
                  <a:lnTo>
                    <a:pt x="3400" y="8906"/>
                  </a:lnTo>
                  <a:lnTo>
                    <a:pt x="2900" y="9249"/>
                  </a:lnTo>
                  <a:lnTo>
                    <a:pt x="2200" y="10107"/>
                  </a:lnTo>
                  <a:lnTo>
                    <a:pt x="1984" y="11087"/>
                  </a:lnTo>
                  <a:lnTo>
                    <a:pt x="1400" y="11651"/>
                  </a:lnTo>
                  <a:lnTo>
                    <a:pt x="900" y="11565"/>
                  </a:lnTo>
                  <a:lnTo>
                    <a:pt x="900" y="12165"/>
                  </a:lnTo>
                  <a:lnTo>
                    <a:pt x="1000" y="12766"/>
                  </a:lnTo>
                  <a:lnTo>
                    <a:pt x="1300" y="13195"/>
                  </a:lnTo>
                  <a:lnTo>
                    <a:pt x="500" y="13881"/>
                  </a:lnTo>
                  <a:lnTo>
                    <a:pt x="0" y="13881"/>
                  </a:lnTo>
                  <a:lnTo>
                    <a:pt x="0" y="14824"/>
                  </a:lnTo>
                  <a:lnTo>
                    <a:pt x="11550" y="20571"/>
                  </a:lnTo>
                  <a:cubicBezTo>
                    <a:pt x="11550" y="20571"/>
                    <a:pt x="18000" y="21600"/>
                    <a:pt x="18000" y="21600"/>
                  </a:cubicBezTo>
                  <a:close/>
                  <a:moveTo>
                    <a:pt x="18000"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74" name="Alaska">
              <a:extLst>
                <a:ext uri="{FF2B5EF4-FFF2-40B4-BE49-F238E27FC236}">
                  <a16:creationId xmlns:a16="http://schemas.microsoft.com/office/drawing/2014/main" id="{D86CF6FD-B6C7-CF45-8402-EDD3BE5D5ABF}"/>
                </a:ext>
              </a:extLst>
            </p:cNvPr>
            <p:cNvSpPr>
              <a:spLocks/>
            </p:cNvSpPr>
            <p:nvPr/>
          </p:nvSpPr>
          <p:spPr bwMode="auto">
            <a:xfrm>
              <a:off x="1983466" y="4033783"/>
              <a:ext cx="2045584" cy="1267212"/>
            </a:xfrm>
            <a:custGeom>
              <a:avLst/>
              <a:gdLst>
                <a:gd name="connsiteX0" fmla="*/ 289532 w 2045584"/>
                <a:gd name="connsiteY0" fmla="*/ 1227452 h 1267212"/>
                <a:gd name="connsiteX1" fmla="*/ 289532 w 2045584"/>
                <a:gd name="connsiteY1" fmla="*/ 1245803 h 1267212"/>
                <a:gd name="connsiteX2" fmla="*/ 273220 w 2045584"/>
                <a:gd name="connsiteY2" fmla="*/ 1264153 h 1267212"/>
                <a:gd name="connsiteX3" fmla="*/ 273220 w 2045584"/>
                <a:gd name="connsiteY3" fmla="*/ 1230852 h 1267212"/>
                <a:gd name="connsiteX4" fmla="*/ 244165 w 2045584"/>
                <a:gd name="connsiteY4" fmla="*/ 1227452 h 1267212"/>
                <a:gd name="connsiteX5" fmla="*/ 244165 w 2045584"/>
                <a:gd name="connsiteY5" fmla="*/ 1264153 h 1267212"/>
                <a:gd name="connsiteX6" fmla="*/ 224285 w 2045584"/>
                <a:gd name="connsiteY6" fmla="*/ 1245803 h 1267212"/>
                <a:gd name="connsiteX7" fmla="*/ 183506 w 2045584"/>
                <a:gd name="connsiteY7" fmla="*/ 1227452 h 1267212"/>
                <a:gd name="connsiteX8" fmla="*/ 206444 w 2045584"/>
                <a:gd name="connsiteY8" fmla="*/ 1240560 h 1267212"/>
                <a:gd name="connsiteX9" fmla="*/ 206444 w 2045584"/>
                <a:gd name="connsiteY9" fmla="*/ 1252212 h 1267212"/>
                <a:gd name="connsiteX10" fmla="*/ 206444 w 2045584"/>
                <a:gd name="connsiteY10" fmla="*/ 1267212 h 1267212"/>
                <a:gd name="connsiteX11" fmla="*/ 194972 w 2045584"/>
                <a:gd name="connsiteY11" fmla="*/ 1264939 h 1267212"/>
                <a:gd name="connsiteX12" fmla="*/ 183506 w 2045584"/>
                <a:gd name="connsiteY12" fmla="*/ 1240560 h 1267212"/>
                <a:gd name="connsiteX13" fmla="*/ 333878 w 2045584"/>
                <a:gd name="connsiteY13" fmla="*/ 1215219 h 1267212"/>
                <a:gd name="connsiteX14" fmla="*/ 367011 w 2045584"/>
                <a:gd name="connsiteY14" fmla="*/ 1228179 h 1267212"/>
                <a:gd name="connsiteX15" fmla="*/ 340505 w 2045584"/>
                <a:gd name="connsiteY15" fmla="*/ 1247842 h 1267212"/>
                <a:gd name="connsiteX16" fmla="*/ 313999 w 2045584"/>
                <a:gd name="connsiteY16" fmla="*/ 1241142 h 1267212"/>
                <a:gd name="connsiteX17" fmla="*/ 141081 w 2045584"/>
                <a:gd name="connsiteY17" fmla="*/ 1215219 h 1267212"/>
                <a:gd name="connsiteX18" fmla="*/ 161078 w 2045584"/>
                <a:gd name="connsiteY18" fmla="*/ 1222437 h 1267212"/>
                <a:gd name="connsiteX19" fmla="*/ 139416 w 2045584"/>
                <a:gd name="connsiteY19" fmla="*/ 1241216 h 1267212"/>
                <a:gd name="connsiteX20" fmla="*/ 117750 w 2045584"/>
                <a:gd name="connsiteY20" fmla="*/ 1241216 h 1267212"/>
                <a:gd name="connsiteX21" fmla="*/ 117750 w 2045584"/>
                <a:gd name="connsiteY21" fmla="*/ 1229660 h 1267212"/>
                <a:gd name="connsiteX22" fmla="*/ 81558 w 2045584"/>
                <a:gd name="connsiteY22" fmla="*/ 1190751 h 1267212"/>
                <a:gd name="connsiteX23" fmla="*/ 97870 w 2045584"/>
                <a:gd name="connsiteY23" fmla="*/ 1190751 h 1267212"/>
                <a:gd name="connsiteX24" fmla="*/ 97870 w 2045584"/>
                <a:gd name="connsiteY24" fmla="*/ 1201965 h 1267212"/>
                <a:gd name="connsiteX25" fmla="*/ 81558 w 2045584"/>
                <a:gd name="connsiteY25" fmla="*/ 1201965 h 1267212"/>
                <a:gd name="connsiteX26" fmla="*/ 81558 w 2045584"/>
                <a:gd name="connsiteY26" fmla="*/ 1190751 h 1267212"/>
                <a:gd name="connsiteX27" fmla="*/ 45372 w 2045584"/>
                <a:gd name="connsiteY27" fmla="*/ 1149972 h 1267212"/>
                <a:gd name="connsiteX28" fmla="*/ 58621 w 2045584"/>
                <a:gd name="connsiteY28" fmla="*/ 1169852 h 1267212"/>
                <a:gd name="connsiteX29" fmla="*/ 24468 w 2045584"/>
                <a:gd name="connsiteY29" fmla="*/ 1169852 h 1267212"/>
                <a:gd name="connsiteX30" fmla="*/ 570399 w 2045584"/>
                <a:gd name="connsiteY30" fmla="*/ 1121427 h 1267212"/>
                <a:gd name="connsiteX31" fmla="*/ 596905 w 2045584"/>
                <a:gd name="connsiteY31" fmla="*/ 1121427 h 1267212"/>
                <a:gd name="connsiteX32" fmla="*/ 596905 w 2045584"/>
                <a:gd name="connsiteY32" fmla="*/ 1136091 h 1267212"/>
                <a:gd name="connsiteX33" fmla="*/ 530636 w 2045584"/>
                <a:gd name="connsiteY33" fmla="*/ 1160900 h 1267212"/>
                <a:gd name="connsiteX34" fmla="*/ 494192 w 2045584"/>
                <a:gd name="connsiteY34" fmla="*/ 1174695 h 1267212"/>
                <a:gd name="connsiteX35" fmla="*/ 447810 w 2045584"/>
                <a:gd name="connsiteY35" fmla="*/ 1197314 h 1267212"/>
                <a:gd name="connsiteX36" fmla="*/ 411357 w 2045584"/>
                <a:gd name="connsiteY36" fmla="*/ 1227963 h 1267212"/>
                <a:gd name="connsiteX37" fmla="*/ 391480 w 2045584"/>
                <a:gd name="connsiteY37" fmla="*/ 1214834 h 1267212"/>
                <a:gd name="connsiteX38" fmla="*/ 424614 w 2045584"/>
                <a:gd name="connsiteY38" fmla="*/ 1197314 h 1267212"/>
                <a:gd name="connsiteX39" fmla="*/ 454429 w 2045584"/>
                <a:gd name="connsiteY39" fmla="*/ 1171045 h 1267212"/>
                <a:gd name="connsiteX40" fmla="*/ 467687 w 2045584"/>
                <a:gd name="connsiteY40" fmla="*/ 1171045 h 1267212"/>
                <a:gd name="connsiteX41" fmla="*/ 487564 w 2045584"/>
                <a:gd name="connsiteY41" fmla="*/ 1150749 h 1267212"/>
                <a:gd name="connsiteX42" fmla="*/ 514079 w 2045584"/>
                <a:gd name="connsiteY42" fmla="*/ 1136091 h 1267212"/>
                <a:gd name="connsiteX43" fmla="*/ 537265 w 2045584"/>
                <a:gd name="connsiteY43" fmla="*/ 1136091 h 1267212"/>
                <a:gd name="connsiteX44" fmla="*/ 553147 w 2045584"/>
                <a:gd name="connsiteY44" fmla="*/ 1129062 h 1267212"/>
                <a:gd name="connsiteX45" fmla="*/ 0 w 2045584"/>
                <a:gd name="connsiteY45" fmla="*/ 1121427 h 1267212"/>
                <a:gd name="connsiteX46" fmla="*/ 41798 w 2045584"/>
                <a:gd name="connsiteY46" fmla="*/ 1121427 h 1267212"/>
                <a:gd name="connsiteX47" fmla="*/ 41798 w 2045584"/>
                <a:gd name="connsiteY47" fmla="*/ 1135955 h 1267212"/>
                <a:gd name="connsiteX48" fmla="*/ 451 w 2045584"/>
                <a:gd name="connsiteY48" fmla="*/ 1150483 h 1267212"/>
                <a:gd name="connsiteX49" fmla="*/ 957465 w 2045584"/>
                <a:gd name="connsiteY49" fmla="*/ 0 h 1267212"/>
                <a:gd name="connsiteX50" fmla="*/ 997249 w 2045584"/>
                <a:gd name="connsiteY50" fmla="*/ 11718 h 1267212"/>
                <a:gd name="connsiteX51" fmla="*/ 1037098 w 2045584"/>
                <a:gd name="connsiteY51" fmla="*/ 14621 h 1267212"/>
                <a:gd name="connsiteX52" fmla="*/ 1060333 w 2045584"/>
                <a:gd name="connsiteY52" fmla="*/ 29242 h 1267212"/>
                <a:gd name="connsiteX53" fmla="*/ 1083501 w 2045584"/>
                <a:gd name="connsiteY53" fmla="*/ 43863 h 1267212"/>
                <a:gd name="connsiteX54" fmla="*/ 1106736 w 2045584"/>
                <a:gd name="connsiteY54" fmla="*/ 46766 h 1267212"/>
                <a:gd name="connsiteX55" fmla="*/ 1149895 w 2045584"/>
                <a:gd name="connsiteY55" fmla="*/ 40959 h 1267212"/>
                <a:gd name="connsiteX56" fmla="*/ 1206294 w 2045584"/>
                <a:gd name="connsiteY56" fmla="*/ 52625 h 1267212"/>
                <a:gd name="connsiteX57" fmla="*/ 1246077 w 2045584"/>
                <a:gd name="connsiteY57" fmla="*/ 55580 h 1267212"/>
                <a:gd name="connsiteX58" fmla="*/ 1282551 w 2045584"/>
                <a:gd name="connsiteY58" fmla="*/ 32145 h 1267212"/>
                <a:gd name="connsiteX59" fmla="*/ 1330675 w 2045584"/>
                <a:gd name="connsiteY59" fmla="*/ 43863 h 1267212"/>
                <a:gd name="connsiteX60" fmla="*/ 1355564 w 2045584"/>
                <a:gd name="connsiteY60" fmla="*/ 67246 h 1267212"/>
                <a:gd name="connsiteX61" fmla="*/ 1524759 w 2045584"/>
                <a:gd name="connsiteY61" fmla="*/ 666702 h 1267212"/>
                <a:gd name="connsiteX62" fmla="*/ 1591087 w 2045584"/>
                <a:gd name="connsiteY62" fmla="*/ 646223 h 1267212"/>
                <a:gd name="connsiteX63" fmla="*/ 1609489 w 2045584"/>
                <a:gd name="connsiteY63" fmla="*/ 666702 h 1267212"/>
                <a:gd name="connsiteX64" fmla="*/ 1650795 w 2045584"/>
                <a:gd name="connsiteY64" fmla="*/ 687130 h 1267212"/>
                <a:gd name="connsiteX65" fmla="*/ 1687269 w 2045584"/>
                <a:gd name="connsiteY65" fmla="*/ 687130 h 1267212"/>
                <a:gd name="connsiteX66" fmla="*/ 1728906 w 2045584"/>
                <a:gd name="connsiteY66" fmla="*/ 660844 h 1267212"/>
                <a:gd name="connsiteX67" fmla="*/ 1756973 w 2045584"/>
                <a:gd name="connsiteY67" fmla="*/ 640364 h 1267212"/>
                <a:gd name="connsiteX68" fmla="*/ 1823300 w 2045584"/>
                <a:gd name="connsiteY68" fmla="*/ 687130 h 1267212"/>
                <a:gd name="connsiteX69" fmla="*/ 1884862 w 2045584"/>
                <a:gd name="connsiteY69" fmla="*/ 745614 h 1267212"/>
                <a:gd name="connsiteX70" fmla="*/ 1942717 w 2045584"/>
                <a:gd name="connsiteY70" fmla="*/ 777811 h 1267212"/>
                <a:gd name="connsiteX71" fmla="*/ 1976079 w 2045584"/>
                <a:gd name="connsiteY71" fmla="*/ 789476 h 1267212"/>
                <a:gd name="connsiteX72" fmla="*/ 2022350 w 2045584"/>
                <a:gd name="connsiteY72" fmla="*/ 789476 h 1267212"/>
                <a:gd name="connsiteX73" fmla="*/ 2045584 w 2045584"/>
                <a:gd name="connsiteY73" fmla="*/ 821674 h 1267212"/>
                <a:gd name="connsiteX74" fmla="*/ 2045584 w 2045584"/>
                <a:gd name="connsiteY74" fmla="*/ 853819 h 1267212"/>
                <a:gd name="connsiteX75" fmla="*/ 2045584 w 2045584"/>
                <a:gd name="connsiteY75" fmla="*/ 877202 h 1267212"/>
                <a:gd name="connsiteX76" fmla="*/ 2028969 w 2045584"/>
                <a:gd name="connsiteY76" fmla="*/ 900585 h 1267212"/>
                <a:gd name="connsiteX77" fmla="*/ 1999115 w 2045584"/>
                <a:gd name="connsiteY77" fmla="*/ 918161 h 1267212"/>
                <a:gd name="connsiteX78" fmla="*/ 1965951 w 2045584"/>
                <a:gd name="connsiteY78" fmla="*/ 918161 h 1267212"/>
                <a:gd name="connsiteX79" fmla="*/ 1912863 w 2045584"/>
                <a:gd name="connsiteY79" fmla="*/ 897681 h 1267212"/>
                <a:gd name="connsiteX80" fmla="*/ 1833296 w 2045584"/>
                <a:gd name="connsiteY80" fmla="*/ 842101 h 1267212"/>
                <a:gd name="connsiteX81" fmla="*/ 1780207 w 2045584"/>
                <a:gd name="connsiteY81" fmla="*/ 809956 h 1267212"/>
                <a:gd name="connsiteX82" fmla="*/ 1747043 w 2045584"/>
                <a:gd name="connsiteY82" fmla="*/ 768997 h 1267212"/>
                <a:gd name="connsiteX83" fmla="*/ 1700574 w 2045584"/>
                <a:gd name="connsiteY83" fmla="*/ 739755 h 1267212"/>
                <a:gd name="connsiteX84" fmla="*/ 1634246 w 2045584"/>
                <a:gd name="connsiteY84" fmla="*/ 716372 h 1267212"/>
                <a:gd name="connsiteX85" fmla="*/ 1591087 w 2045584"/>
                <a:gd name="connsiteY85" fmla="*/ 698848 h 1267212"/>
                <a:gd name="connsiteX86" fmla="*/ 1524759 w 2045584"/>
                <a:gd name="connsiteY86" fmla="*/ 695892 h 1267212"/>
                <a:gd name="connsiteX87" fmla="*/ 1498215 w 2045584"/>
                <a:gd name="connsiteY87" fmla="*/ 684227 h 1267212"/>
                <a:gd name="connsiteX88" fmla="*/ 1428511 w 2045584"/>
                <a:gd name="connsiteY88" fmla="*/ 707610 h 1267212"/>
                <a:gd name="connsiteX89" fmla="*/ 1355564 w 2045584"/>
                <a:gd name="connsiteY89" fmla="*/ 666702 h 1267212"/>
                <a:gd name="connsiteX90" fmla="*/ 1279241 w 2045584"/>
                <a:gd name="connsiteY90" fmla="*/ 669606 h 1267212"/>
                <a:gd name="connsiteX91" fmla="*/ 1279241 w 2045584"/>
                <a:gd name="connsiteY91" fmla="*/ 728089 h 1267212"/>
                <a:gd name="connsiteX92" fmla="*/ 1219533 w 2045584"/>
                <a:gd name="connsiteY92" fmla="*/ 754376 h 1267212"/>
                <a:gd name="connsiteX93" fmla="*/ 1159825 w 2045584"/>
                <a:gd name="connsiteY93" fmla="*/ 789476 h 1267212"/>
                <a:gd name="connsiteX94" fmla="*/ 1159825 w 2045584"/>
                <a:gd name="connsiteY94" fmla="*/ 748569 h 1267212"/>
                <a:gd name="connsiteX95" fmla="*/ 1159825 w 2045584"/>
                <a:gd name="connsiteY95" fmla="*/ 713469 h 1267212"/>
                <a:gd name="connsiteX96" fmla="*/ 1199608 w 2045584"/>
                <a:gd name="connsiteY96" fmla="*/ 663747 h 1267212"/>
                <a:gd name="connsiteX97" fmla="*/ 1176440 w 2045584"/>
                <a:gd name="connsiteY97" fmla="*/ 663747 h 1267212"/>
                <a:gd name="connsiteX98" fmla="*/ 1063643 w 2045584"/>
                <a:gd name="connsiteY98" fmla="*/ 812860 h 1267212"/>
                <a:gd name="connsiteX99" fmla="*/ 1096807 w 2045584"/>
                <a:gd name="connsiteY99" fmla="*/ 812860 h 1267212"/>
                <a:gd name="connsiteX100" fmla="*/ 1090187 w 2045584"/>
                <a:gd name="connsiteY100" fmla="*/ 842101 h 1267212"/>
                <a:gd name="connsiteX101" fmla="*/ 984010 w 2045584"/>
                <a:gd name="connsiteY101" fmla="*/ 947403 h 1267212"/>
                <a:gd name="connsiteX102" fmla="*/ 907687 w 2045584"/>
                <a:gd name="connsiteY102" fmla="*/ 997072 h 1267212"/>
                <a:gd name="connsiteX103" fmla="*/ 844669 w 2045584"/>
                <a:gd name="connsiteY103" fmla="*/ 1038032 h 1267212"/>
                <a:gd name="connsiteX104" fmla="*/ 741801 w 2045584"/>
                <a:gd name="connsiteY104" fmla="*/ 1081894 h 1267212"/>
                <a:gd name="connsiteX105" fmla="*/ 662234 w 2045584"/>
                <a:gd name="connsiteY105" fmla="*/ 1119898 h 1267212"/>
                <a:gd name="connsiteX106" fmla="*/ 632380 w 2045584"/>
                <a:gd name="connsiteY106" fmla="*/ 1119898 h 1267212"/>
                <a:gd name="connsiteX107" fmla="*/ 632380 w 2045584"/>
                <a:gd name="connsiteY107" fmla="*/ 1102374 h 1267212"/>
                <a:gd name="connsiteX108" fmla="*/ 632380 w 2045584"/>
                <a:gd name="connsiteY108" fmla="*/ 1078939 h 1267212"/>
                <a:gd name="connsiteX109" fmla="*/ 685403 w 2045584"/>
                <a:gd name="connsiteY109" fmla="*/ 1073132 h 1267212"/>
                <a:gd name="connsiteX110" fmla="*/ 761726 w 2045584"/>
                <a:gd name="connsiteY110" fmla="*/ 1029269 h 1267212"/>
                <a:gd name="connsiteX111" fmla="*/ 804885 w 2045584"/>
                <a:gd name="connsiteY111" fmla="*/ 1026314 h 1267212"/>
                <a:gd name="connsiteX112" fmla="*/ 824744 w 2045584"/>
                <a:gd name="connsiteY112" fmla="*/ 988310 h 1267212"/>
                <a:gd name="connsiteX113" fmla="*/ 934231 w 2045584"/>
                <a:gd name="connsiteY113" fmla="*/ 915206 h 1267212"/>
                <a:gd name="connsiteX114" fmla="*/ 940850 w 2045584"/>
                <a:gd name="connsiteY114" fmla="*/ 868440 h 1267212"/>
                <a:gd name="connsiteX115" fmla="*/ 957465 w 2045584"/>
                <a:gd name="connsiteY115" fmla="*/ 827480 h 1267212"/>
                <a:gd name="connsiteX116" fmla="*/ 917682 w 2045584"/>
                <a:gd name="connsiteY116" fmla="*/ 842101 h 1267212"/>
                <a:gd name="connsiteX117" fmla="*/ 891138 w 2045584"/>
                <a:gd name="connsiteY117" fmla="*/ 856722 h 1267212"/>
                <a:gd name="connsiteX118" fmla="*/ 831429 w 2045584"/>
                <a:gd name="connsiteY118" fmla="*/ 812860 h 1267212"/>
                <a:gd name="connsiteX119" fmla="*/ 784960 w 2045584"/>
                <a:gd name="connsiteY119" fmla="*/ 842101 h 1267212"/>
                <a:gd name="connsiteX120" fmla="*/ 778341 w 2045584"/>
                <a:gd name="connsiteY120" fmla="*/ 798239 h 1267212"/>
                <a:gd name="connsiteX121" fmla="*/ 798199 w 2045584"/>
                <a:gd name="connsiteY121" fmla="*/ 780714 h 1267212"/>
                <a:gd name="connsiteX122" fmla="*/ 775031 w 2045584"/>
                <a:gd name="connsiteY122" fmla="*/ 757331 h 1267212"/>
                <a:gd name="connsiteX123" fmla="*/ 741801 w 2045584"/>
                <a:gd name="connsiteY123" fmla="*/ 748569 h 1267212"/>
                <a:gd name="connsiteX124" fmla="*/ 692088 w 2045584"/>
                <a:gd name="connsiteY124" fmla="*/ 745614 h 1267212"/>
                <a:gd name="connsiteX125" fmla="*/ 655549 w 2045584"/>
                <a:gd name="connsiteY125" fmla="*/ 698848 h 1267212"/>
                <a:gd name="connsiteX126" fmla="*/ 665544 w 2045584"/>
                <a:gd name="connsiteY126" fmla="*/ 669606 h 1267212"/>
                <a:gd name="connsiteX127" fmla="*/ 632380 w 2045584"/>
                <a:gd name="connsiteY127" fmla="*/ 637461 h 1267212"/>
                <a:gd name="connsiteX128" fmla="*/ 632380 w 2045584"/>
                <a:gd name="connsiteY128" fmla="*/ 625743 h 1267212"/>
                <a:gd name="connsiteX129" fmla="*/ 665544 w 2045584"/>
                <a:gd name="connsiteY129" fmla="*/ 593598 h 1267212"/>
                <a:gd name="connsiteX130" fmla="*/ 702018 w 2045584"/>
                <a:gd name="connsiteY130" fmla="*/ 552639 h 1267212"/>
                <a:gd name="connsiteX131" fmla="*/ 711947 w 2045584"/>
                <a:gd name="connsiteY131" fmla="*/ 529256 h 1267212"/>
                <a:gd name="connsiteX132" fmla="*/ 741801 w 2045584"/>
                <a:gd name="connsiteY132" fmla="*/ 538018 h 1267212"/>
                <a:gd name="connsiteX133" fmla="*/ 765036 w 2045584"/>
                <a:gd name="connsiteY133" fmla="*/ 532159 h 1267212"/>
                <a:gd name="connsiteX134" fmla="*/ 814814 w 2045584"/>
                <a:gd name="connsiteY134" fmla="*/ 502917 h 1267212"/>
                <a:gd name="connsiteX135" fmla="*/ 828054 w 2045584"/>
                <a:gd name="connsiteY135" fmla="*/ 435672 h 1267212"/>
                <a:gd name="connsiteX136" fmla="*/ 801509 w 2045584"/>
                <a:gd name="connsiteY136" fmla="*/ 429813 h 1267212"/>
                <a:gd name="connsiteX137" fmla="*/ 775031 w 2045584"/>
                <a:gd name="connsiteY137" fmla="*/ 456151 h 1267212"/>
                <a:gd name="connsiteX138" fmla="*/ 728562 w 2045584"/>
                <a:gd name="connsiteY138" fmla="*/ 453248 h 1267212"/>
                <a:gd name="connsiteX139" fmla="*/ 678783 w 2045584"/>
                <a:gd name="connsiteY139" fmla="*/ 441530 h 1267212"/>
                <a:gd name="connsiteX140" fmla="*/ 648929 w 2045584"/>
                <a:gd name="connsiteY140" fmla="*/ 424006 h 1267212"/>
                <a:gd name="connsiteX141" fmla="*/ 632380 w 2045584"/>
                <a:gd name="connsiteY141" fmla="*/ 383047 h 1267212"/>
                <a:gd name="connsiteX142" fmla="*/ 615765 w 2045584"/>
                <a:gd name="connsiteY142" fmla="*/ 347946 h 1267212"/>
                <a:gd name="connsiteX143" fmla="*/ 725252 w 2045584"/>
                <a:gd name="connsiteY143" fmla="*/ 301180 h 1267212"/>
                <a:gd name="connsiteX144" fmla="*/ 745177 w 2045584"/>
                <a:gd name="connsiteY144" fmla="*/ 342088 h 1267212"/>
                <a:gd name="connsiteX145" fmla="*/ 808195 w 2045584"/>
                <a:gd name="connsiteY145" fmla="*/ 350902 h 1267212"/>
                <a:gd name="connsiteX146" fmla="*/ 808195 w 2045584"/>
                <a:gd name="connsiteY146" fmla="*/ 289463 h 1267212"/>
                <a:gd name="connsiteX147" fmla="*/ 765036 w 2045584"/>
                <a:gd name="connsiteY147" fmla="*/ 280701 h 1267212"/>
                <a:gd name="connsiteX148" fmla="*/ 678783 w 2045584"/>
                <a:gd name="connsiteY148" fmla="*/ 184213 h 1267212"/>
                <a:gd name="connsiteX149" fmla="*/ 715257 w 2045584"/>
                <a:gd name="connsiteY149" fmla="*/ 146209 h 1267212"/>
                <a:gd name="connsiteX150" fmla="*/ 755106 w 2045584"/>
                <a:gd name="connsiteY150" fmla="*/ 154971 h 1267212"/>
                <a:gd name="connsiteX151" fmla="*/ 791580 w 2045584"/>
                <a:gd name="connsiteY151" fmla="*/ 114064 h 1267212"/>
                <a:gd name="connsiteX152" fmla="*/ 788270 w 2045584"/>
                <a:gd name="connsiteY152" fmla="*/ 84822 h 1267212"/>
                <a:gd name="connsiteX153" fmla="*/ 864593 w 2045584"/>
                <a:gd name="connsiteY153" fmla="*/ 26338 h 1267212"/>
                <a:gd name="connsiteX154" fmla="*/ 927611 w 2045584"/>
                <a:gd name="connsiteY154" fmla="*/ 26338 h 126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045584" h="1267212">
                  <a:moveTo>
                    <a:pt x="289532" y="1227452"/>
                  </a:moveTo>
                  <a:cubicBezTo>
                    <a:pt x="289532" y="1227452"/>
                    <a:pt x="289532" y="1245803"/>
                    <a:pt x="289532" y="1245803"/>
                  </a:cubicBezTo>
                  <a:lnTo>
                    <a:pt x="273220" y="1264153"/>
                  </a:lnTo>
                  <a:lnTo>
                    <a:pt x="273220" y="1230852"/>
                  </a:lnTo>
                  <a:close/>
                  <a:moveTo>
                    <a:pt x="244165" y="1227452"/>
                  </a:moveTo>
                  <a:cubicBezTo>
                    <a:pt x="244165" y="1227452"/>
                    <a:pt x="244165" y="1264153"/>
                    <a:pt x="244165" y="1264153"/>
                  </a:cubicBezTo>
                  <a:lnTo>
                    <a:pt x="224285" y="1245803"/>
                  </a:lnTo>
                  <a:close/>
                  <a:moveTo>
                    <a:pt x="183506" y="1227452"/>
                  </a:moveTo>
                  <a:lnTo>
                    <a:pt x="206444" y="1240560"/>
                  </a:lnTo>
                  <a:lnTo>
                    <a:pt x="206444" y="1252212"/>
                  </a:lnTo>
                  <a:lnTo>
                    <a:pt x="206444" y="1267212"/>
                  </a:lnTo>
                  <a:cubicBezTo>
                    <a:pt x="206444" y="1267212"/>
                    <a:pt x="194972" y="1264939"/>
                    <a:pt x="194972" y="1264939"/>
                  </a:cubicBezTo>
                  <a:lnTo>
                    <a:pt x="183506" y="1240560"/>
                  </a:lnTo>
                  <a:close/>
                  <a:moveTo>
                    <a:pt x="333878" y="1215219"/>
                  </a:moveTo>
                  <a:lnTo>
                    <a:pt x="367011" y="1228179"/>
                  </a:lnTo>
                  <a:cubicBezTo>
                    <a:pt x="367011" y="1228179"/>
                    <a:pt x="340505" y="1247842"/>
                    <a:pt x="340505" y="1247842"/>
                  </a:cubicBezTo>
                  <a:lnTo>
                    <a:pt x="313999" y="1241142"/>
                  </a:lnTo>
                  <a:close/>
                  <a:moveTo>
                    <a:pt x="141081" y="1215219"/>
                  </a:moveTo>
                  <a:lnTo>
                    <a:pt x="161078" y="1222437"/>
                  </a:lnTo>
                  <a:lnTo>
                    <a:pt x="139416" y="1241216"/>
                  </a:lnTo>
                  <a:lnTo>
                    <a:pt x="117750" y="1241216"/>
                  </a:lnTo>
                  <a:cubicBezTo>
                    <a:pt x="117750" y="1241216"/>
                    <a:pt x="117750" y="1229660"/>
                    <a:pt x="117750" y="1229660"/>
                  </a:cubicBezTo>
                  <a:close/>
                  <a:moveTo>
                    <a:pt x="81558" y="1190751"/>
                  </a:moveTo>
                  <a:lnTo>
                    <a:pt x="97870" y="1190751"/>
                  </a:lnTo>
                  <a:lnTo>
                    <a:pt x="97870" y="1201965"/>
                  </a:lnTo>
                  <a:lnTo>
                    <a:pt x="81558" y="1201965"/>
                  </a:lnTo>
                  <a:cubicBezTo>
                    <a:pt x="81558" y="1201965"/>
                    <a:pt x="81558" y="1190751"/>
                    <a:pt x="81558" y="1190751"/>
                  </a:cubicBezTo>
                  <a:close/>
                  <a:moveTo>
                    <a:pt x="45372" y="1149972"/>
                  </a:moveTo>
                  <a:lnTo>
                    <a:pt x="58621" y="1169852"/>
                  </a:lnTo>
                  <a:cubicBezTo>
                    <a:pt x="58621" y="1169852"/>
                    <a:pt x="24468" y="1169852"/>
                    <a:pt x="24468" y="1169852"/>
                  </a:cubicBezTo>
                  <a:close/>
                  <a:moveTo>
                    <a:pt x="570399" y="1121427"/>
                  </a:moveTo>
                  <a:lnTo>
                    <a:pt x="596905" y="1121427"/>
                  </a:lnTo>
                  <a:cubicBezTo>
                    <a:pt x="596905" y="1121427"/>
                    <a:pt x="596905" y="1136091"/>
                    <a:pt x="596905" y="1136091"/>
                  </a:cubicBezTo>
                  <a:lnTo>
                    <a:pt x="530636" y="1160900"/>
                  </a:lnTo>
                  <a:lnTo>
                    <a:pt x="494192" y="1174695"/>
                  </a:lnTo>
                  <a:lnTo>
                    <a:pt x="447810" y="1197314"/>
                  </a:lnTo>
                  <a:lnTo>
                    <a:pt x="411357" y="1227963"/>
                  </a:lnTo>
                  <a:lnTo>
                    <a:pt x="391480" y="1214834"/>
                  </a:lnTo>
                  <a:lnTo>
                    <a:pt x="424614" y="1197314"/>
                  </a:lnTo>
                  <a:lnTo>
                    <a:pt x="454429" y="1171045"/>
                  </a:lnTo>
                  <a:lnTo>
                    <a:pt x="467687" y="1171045"/>
                  </a:lnTo>
                  <a:lnTo>
                    <a:pt x="487564" y="1150749"/>
                  </a:lnTo>
                  <a:lnTo>
                    <a:pt x="514079" y="1136091"/>
                  </a:lnTo>
                  <a:lnTo>
                    <a:pt x="537265" y="1136091"/>
                  </a:lnTo>
                  <a:lnTo>
                    <a:pt x="553147" y="1129062"/>
                  </a:lnTo>
                  <a:close/>
                  <a:moveTo>
                    <a:pt x="0" y="1121427"/>
                  </a:moveTo>
                  <a:cubicBezTo>
                    <a:pt x="0" y="1121427"/>
                    <a:pt x="41798" y="1121427"/>
                    <a:pt x="41798" y="1121427"/>
                  </a:cubicBezTo>
                  <a:lnTo>
                    <a:pt x="41798" y="1135955"/>
                  </a:lnTo>
                  <a:lnTo>
                    <a:pt x="451" y="1150483"/>
                  </a:lnTo>
                  <a:close/>
                  <a:moveTo>
                    <a:pt x="957465" y="0"/>
                  </a:moveTo>
                  <a:lnTo>
                    <a:pt x="997249" y="11718"/>
                  </a:lnTo>
                  <a:lnTo>
                    <a:pt x="1037098" y="14621"/>
                  </a:lnTo>
                  <a:lnTo>
                    <a:pt x="1060333" y="29242"/>
                  </a:lnTo>
                  <a:lnTo>
                    <a:pt x="1083501" y="43863"/>
                  </a:lnTo>
                  <a:lnTo>
                    <a:pt x="1106736" y="46766"/>
                  </a:lnTo>
                  <a:lnTo>
                    <a:pt x="1149895" y="40959"/>
                  </a:lnTo>
                  <a:lnTo>
                    <a:pt x="1206294" y="52625"/>
                  </a:lnTo>
                  <a:lnTo>
                    <a:pt x="1246077" y="55580"/>
                  </a:lnTo>
                  <a:lnTo>
                    <a:pt x="1282551" y="32145"/>
                  </a:lnTo>
                  <a:lnTo>
                    <a:pt x="1330675" y="43863"/>
                  </a:lnTo>
                  <a:cubicBezTo>
                    <a:pt x="1330675" y="43863"/>
                    <a:pt x="1355564" y="67246"/>
                    <a:pt x="1355564" y="67246"/>
                  </a:cubicBezTo>
                  <a:lnTo>
                    <a:pt x="1524759" y="666702"/>
                  </a:lnTo>
                  <a:lnTo>
                    <a:pt x="1591087" y="646223"/>
                  </a:lnTo>
                  <a:lnTo>
                    <a:pt x="1609489" y="666702"/>
                  </a:lnTo>
                  <a:lnTo>
                    <a:pt x="1650795" y="687130"/>
                  </a:lnTo>
                  <a:lnTo>
                    <a:pt x="1687269" y="687130"/>
                  </a:lnTo>
                  <a:lnTo>
                    <a:pt x="1728906" y="660844"/>
                  </a:lnTo>
                  <a:lnTo>
                    <a:pt x="1756973" y="640364"/>
                  </a:lnTo>
                  <a:lnTo>
                    <a:pt x="1823300" y="687130"/>
                  </a:lnTo>
                  <a:lnTo>
                    <a:pt x="1884862" y="745614"/>
                  </a:lnTo>
                  <a:lnTo>
                    <a:pt x="1942717" y="777811"/>
                  </a:lnTo>
                  <a:lnTo>
                    <a:pt x="1976079" y="789476"/>
                  </a:lnTo>
                  <a:lnTo>
                    <a:pt x="2022350" y="789476"/>
                  </a:lnTo>
                  <a:lnTo>
                    <a:pt x="2045584" y="821674"/>
                  </a:lnTo>
                  <a:lnTo>
                    <a:pt x="2045584" y="853819"/>
                  </a:lnTo>
                  <a:lnTo>
                    <a:pt x="2045584" y="877202"/>
                  </a:lnTo>
                  <a:lnTo>
                    <a:pt x="2028969" y="900585"/>
                  </a:lnTo>
                  <a:lnTo>
                    <a:pt x="1999115" y="918161"/>
                  </a:lnTo>
                  <a:lnTo>
                    <a:pt x="1965951" y="918161"/>
                  </a:lnTo>
                  <a:lnTo>
                    <a:pt x="1912863" y="897681"/>
                  </a:lnTo>
                  <a:lnTo>
                    <a:pt x="1833296" y="842101"/>
                  </a:lnTo>
                  <a:lnTo>
                    <a:pt x="1780207" y="809956"/>
                  </a:lnTo>
                  <a:lnTo>
                    <a:pt x="1747043" y="768997"/>
                  </a:lnTo>
                  <a:lnTo>
                    <a:pt x="1700574" y="739755"/>
                  </a:lnTo>
                  <a:lnTo>
                    <a:pt x="1634246" y="716372"/>
                  </a:lnTo>
                  <a:lnTo>
                    <a:pt x="1591087" y="698848"/>
                  </a:lnTo>
                  <a:lnTo>
                    <a:pt x="1524759" y="695892"/>
                  </a:lnTo>
                  <a:lnTo>
                    <a:pt x="1498215" y="684227"/>
                  </a:lnTo>
                  <a:lnTo>
                    <a:pt x="1428511" y="707610"/>
                  </a:lnTo>
                  <a:lnTo>
                    <a:pt x="1355564" y="666702"/>
                  </a:lnTo>
                  <a:lnTo>
                    <a:pt x="1279241" y="669606"/>
                  </a:lnTo>
                  <a:lnTo>
                    <a:pt x="1279241" y="728089"/>
                  </a:lnTo>
                  <a:lnTo>
                    <a:pt x="1219533" y="754376"/>
                  </a:lnTo>
                  <a:lnTo>
                    <a:pt x="1159825" y="789476"/>
                  </a:lnTo>
                  <a:lnTo>
                    <a:pt x="1159825" y="748569"/>
                  </a:lnTo>
                  <a:lnTo>
                    <a:pt x="1159825" y="713469"/>
                  </a:lnTo>
                  <a:lnTo>
                    <a:pt x="1199608" y="663747"/>
                  </a:lnTo>
                  <a:lnTo>
                    <a:pt x="1176440" y="663747"/>
                  </a:lnTo>
                  <a:lnTo>
                    <a:pt x="1063643" y="812860"/>
                  </a:lnTo>
                  <a:lnTo>
                    <a:pt x="1096807" y="812860"/>
                  </a:lnTo>
                  <a:lnTo>
                    <a:pt x="1090187" y="842101"/>
                  </a:lnTo>
                  <a:lnTo>
                    <a:pt x="984010" y="947403"/>
                  </a:lnTo>
                  <a:lnTo>
                    <a:pt x="907687" y="997072"/>
                  </a:lnTo>
                  <a:lnTo>
                    <a:pt x="844669" y="1038032"/>
                  </a:lnTo>
                  <a:lnTo>
                    <a:pt x="741801" y="1081894"/>
                  </a:lnTo>
                  <a:lnTo>
                    <a:pt x="662234" y="1119898"/>
                  </a:lnTo>
                  <a:lnTo>
                    <a:pt x="632380" y="1119898"/>
                  </a:lnTo>
                  <a:lnTo>
                    <a:pt x="632380" y="1102374"/>
                  </a:lnTo>
                  <a:lnTo>
                    <a:pt x="632380" y="1078939"/>
                  </a:lnTo>
                  <a:lnTo>
                    <a:pt x="685403" y="1073132"/>
                  </a:lnTo>
                  <a:lnTo>
                    <a:pt x="761726" y="1029269"/>
                  </a:lnTo>
                  <a:lnTo>
                    <a:pt x="804885" y="1026314"/>
                  </a:lnTo>
                  <a:lnTo>
                    <a:pt x="824744" y="988310"/>
                  </a:lnTo>
                  <a:lnTo>
                    <a:pt x="934231" y="915206"/>
                  </a:lnTo>
                  <a:lnTo>
                    <a:pt x="940850" y="868440"/>
                  </a:lnTo>
                  <a:lnTo>
                    <a:pt x="957465" y="827480"/>
                  </a:lnTo>
                  <a:lnTo>
                    <a:pt x="917682" y="842101"/>
                  </a:lnTo>
                  <a:lnTo>
                    <a:pt x="891138" y="856722"/>
                  </a:lnTo>
                  <a:lnTo>
                    <a:pt x="831429" y="812860"/>
                  </a:lnTo>
                  <a:lnTo>
                    <a:pt x="784960" y="842101"/>
                  </a:lnTo>
                  <a:lnTo>
                    <a:pt x="778341" y="798239"/>
                  </a:lnTo>
                  <a:lnTo>
                    <a:pt x="798199" y="780714"/>
                  </a:lnTo>
                  <a:lnTo>
                    <a:pt x="775031" y="757331"/>
                  </a:lnTo>
                  <a:lnTo>
                    <a:pt x="741801" y="748569"/>
                  </a:lnTo>
                  <a:lnTo>
                    <a:pt x="692088" y="745614"/>
                  </a:lnTo>
                  <a:lnTo>
                    <a:pt x="655549" y="698848"/>
                  </a:lnTo>
                  <a:lnTo>
                    <a:pt x="665544" y="669606"/>
                  </a:lnTo>
                  <a:lnTo>
                    <a:pt x="632380" y="637461"/>
                  </a:lnTo>
                  <a:lnTo>
                    <a:pt x="632380" y="625743"/>
                  </a:lnTo>
                  <a:lnTo>
                    <a:pt x="665544" y="593598"/>
                  </a:lnTo>
                  <a:lnTo>
                    <a:pt x="702018" y="552639"/>
                  </a:lnTo>
                  <a:lnTo>
                    <a:pt x="711947" y="529256"/>
                  </a:lnTo>
                  <a:lnTo>
                    <a:pt x="741801" y="538018"/>
                  </a:lnTo>
                  <a:lnTo>
                    <a:pt x="765036" y="532159"/>
                  </a:lnTo>
                  <a:lnTo>
                    <a:pt x="814814" y="502917"/>
                  </a:lnTo>
                  <a:lnTo>
                    <a:pt x="828054" y="435672"/>
                  </a:lnTo>
                  <a:lnTo>
                    <a:pt x="801509" y="429813"/>
                  </a:lnTo>
                  <a:lnTo>
                    <a:pt x="775031" y="456151"/>
                  </a:lnTo>
                  <a:lnTo>
                    <a:pt x="728562" y="453248"/>
                  </a:lnTo>
                  <a:lnTo>
                    <a:pt x="678783" y="441530"/>
                  </a:lnTo>
                  <a:lnTo>
                    <a:pt x="648929" y="424006"/>
                  </a:lnTo>
                  <a:lnTo>
                    <a:pt x="632380" y="383047"/>
                  </a:lnTo>
                  <a:lnTo>
                    <a:pt x="615765" y="347946"/>
                  </a:lnTo>
                  <a:lnTo>
                    <a:pt x="725252" y="301180"/>
                  </a:lnTo>
                  <a:lnTo>
                    <a:pt x="745177" y="342088"/>
                  </a:lnTo>
                  <a:lnTo>
                    <a:pt x="808195" y="350902"/>
                  </a:lnTo>
                  <a:lnTo>
                    <a:pt x="808195" y="289463"/>
                  </a:lnTo>
                  <a:lnTo>
                    <a:pt x="765036" y="280701"/>
                  </a:lnTo>
                  <a:lnTo>
                    <a:pt x="678783" y="184213"/>
                  </a:lnTo>
                  <a:lnTo>
                    <a:pt x="715257" y="146209"/>
                  </a:lnTo>
                  <a:lnTo>
                    <a:pt x="755106" y="154971"/>
                  </a:lnTo>
                  <a:lnTo>
                    <a:pt x="791580" y="114064"/>
                  </a:lnTo>
                  <a:lnTo>
                    <a:pt x="788270" y="84822"/>
                  </a:lnTo>
                  <a:lnTo>
                    <a:pt x="864593" y="26338"/>
                  </a:lnTo>
                  <a:lnTo>
                    <a:pt x="927611" y="26338"/>
                  </a:lnTo>
                  <a:close/>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8" name="Alabama"/>
            <p:cNvSpPr>
              <a:spLocks/>
            </p:cNvSpPr>
            <p:nvPr/>
          </p:nvSpPr>
          <p:spPr bwMode="auto">
            <a:xfrm>
              <a:off x="7671796" y="4012895"/>
              <a:ext cx="417523" cy="593323"/>
            </a:xfrm>
            <a:custGeom>
              <a:avLst/>
              <a:gdLst/>
              <a:ahLst/>
              <a:cxnLst/>
              <a:rect l="0" t="0" r="r" b="b"/>
              <a:pathLst>
                <a:path w="21037" h="21600">
                  <a:moveTo>
                    <a:pt x="2774" y="21600"/>
                  </a:moveTo>
                  <a:lnTo>
                    <a:pt x="215" y="21396"/>
                  </a:lnTo>
                  <a:cubicBezTo>
                    <a:pt x="215" y="21396"/>
                    <a:pt x="-563" y="671"/>
                    <a:pt x="842" y="671"/>
                  </a:cubicBezTo>
                  <a:cubicBezTo>
                    <a:pt x="2247" y="671"/>
                    <a:pt x="15066" y="0"/>
                    <a:pt x="15066" y="0"/>
                  </a:cubicBezTo>
                  <a:lnTo>
                    <a:pt x="19364" y="9576"/>
                  </a:lnTo>
                  <a:lnTo>
                    <a:pt x="20159" y="10800"/>
                  </a:lnTo>
                  <a:lnTo>
                    <a:pt x="20159" y="11863"/>
                  </a:lnTo>
                  <a:lnTo>
                    <a:pt x="20159" y="13206"/>
                  </a:lnTo>
                  <a:lnTo>
                    <a:pt x="20159" y="14661"/>
                  </a:lnTo>
                  <a:lnTo>
                    <a:pt x="20159" y="15445"/>
                  </a:lnTo>
                  <a:lnTo>
                    <a:pt x="20159" y="16452"/>
                  </a:lnTo>
                  <a:lnTo>
                    <a:pt x="21037" y="17235"/>
                  </a:lnTo>
                  <a:lnTo>
                    <a:pt x="14539" y="17864"/>
                  </a:lnTo>
                  <a:lnTo>
                    <a:pt x="10627" y="18242"/>
                  </a:lnTo>
                  <a:lnTo>
                    <a:pt x="8744" y="18242"/>
                  </a:lnTo>
                  <a:lnTo>
                    <a:pt x="6461" y="18242"/>
                  </a:lnTo>
                  <a:lnTo>
                    <a:pt x="5583" y="18242"/>
                  </a:lnTo>
                  <a:lnTo>
                    <a:pt x="5583" y="19082"/>
                  </a:lnTo>
                  <a:lnTo>
                    <a:pt x="6813" y="19698"/>
                  </a:lnTo>
                  <a:lnTo>
                    <a:pt x="6813" y="20817"/>
                  </a:lnTo>
                  <a:lnTo>
                    <a:pt x="5759" y="21600"/>
                  </a:lnTo>
                  <a:lnTo>
                    <a:pt x="4354" y="21600"/>
                  </a:lnTo>
                  <a:lnTo>
                    <a:pt x="4178" y="20705"/>
                  </a:lnTo>
                  <a:lnTo>
                    <a:pt x="3791" y="20087"/>
                  </a:lnTo>
                  <a:lnTo>
                    <a:pt x="3476" y="19586"/>
                  </a:lnTo>
                  <a:cubicBezTo>
                    <a:pt x="3476" y="19586"/>
                    <a:pt x="2774" y="21600"/>
                    <a:pt x="2774" y="21600"/>
                  </a:cubicBezTo>
                  <a:close/>
                  <a:moveTo>
                    <a:pt x="2774"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grpSp>
      <p:grpSp>
        <p:nvGrpSpPr>
          <p:cNvPr id="4" name="State Names">
            <a:extLst>
              <a:ext uri="{FF2B5EF4-FFF2-40B4-BE49-F238E27FC236}">
                <a16:creationId xmlns:a16="http://schemas.microsoft.com/office/drawing/2014/main" id="{ED8AF9AC-CEEC-D34C-9EF3-E89D4E30F016}"/>
              </a:ext>
            </a:extLst>
          </p:cNvPr>
          <p:cNvGrpSpPr/>
          <p:nvPr/>
        </p:nvGrpSpPr>
        <p:grpSpPr>
          <a:xfrm>
            <a:off x="4073685" y="2172680"/>
            <a:ext cx="5839302" cy="2668026"/>
            <a:chOff x="4073685" y="2172680"/>
            <a:chExt cx="5839302" cy="2668026"/>
          </a:xfrm>
        </p:grpSpPr>
        <p:sp>
          <p:nvSpPr>
            <p:cNvPr id="139" name="Wyoming">
              <a:extLst>
                <a:ext uri="{FF2B5EF4-FFF2-40B4-BE49-F238E27FC236}">
                  <a16:creationId xmlns:a16="http://schemas.microsoft.com/office/drawing/2014/main" id="{B9B91C48-BBB4-5041-A01D-803464CEA410}"/>
                </a:ext>
              </a:extLst>
            </p:cNvPr>
            <p:cNvSpPr txBox="1"/>
            <p:nvPr/>
          </p:nvSpPr>
          <p:spPr>
            <a:xfrm>
              <a:off x="5481275" y="2912643"/>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Wyoming</a:t>
              </a:r>
            </a:p>
          </p:txBody>
        </p:sp>
        <p:sp>
          <p:nvSpPr>
            <p:cNvPr id="121" name="Wisconsin">
              <a:extLst>
                <a:ext uri="{FF2B5EF4-FFF2-40B4-BE49-F238E27FC236}">
                  <a16:creationId xmlns:a16="http://schemas.microsoft.com/office/drawing/2014/main" id="{C2477EBF-B49E-0D4C-825C-0B5EAE0DA2A8}"/>
                </a:ext>
              </a:extLst>
            </p:cNvPr>
            <p:cNvSpPr txBox="1"/>
            <p:nvPr/>
          </p:nvSpPr>
          <p:spPr>
            <a:xfrm>
              <a:off x="7248393" y="2749073"/>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Wisconsin</a:t>
              </a:r>
            </a:p>
          </p:txBody>
        </p:sp>
        <p:sp>
          <p:nvSpPr>
            <p:cNvPr id="198" name="W. Virginia">
              <a:extLst>
                <a:ext uri="{FF2B5EF4-FFF2-40B4-BE49-F238E27FC236}">
                  <a16:creationId xmlns:a16="http://schemas.microsoft.com/office/drawing/2014/main" id="{66373F14-DF66-3640-B06C-6DB5E008B100}"/>
                </a:ext>
              </a:extLst>
            </p:cNvPr>
            <p:cNvSpPr txBox="1"/>
            <p:nvPr/>
          </p:nvSpPr>
          <p:spPr>
            <a:xfrm>
              <a:off x="8241816" y="3443891"/>
              <a:ext cx="422856"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W. Virginia</a:t>
              </a:r>
            </a:p>
          </p:txBody>
        </p:sp>
        <p:sp>
          <p:nvSpPr>
            <p:cNvPr id="143" name="Washington">
              <a:extLst>
                <a:ext uri="{FF2B5EF4-FFF2-40B4-BE49-F238E27FC236}">
                  <a16:creationId xmlns:a16="http://schemas.microsoft.com/office/drawing/2014/main" id="{CDEA08DC-4D70-2C4B-87E2-0AC9692C8430}"/>
                </a:ext>
              </a:extLst>
            </p:cNvPr>
            <p:cNvSpPr txBox="1"/>
            <p:nvPr/>
          </p:nvSpPr>
          <p:spPr>
            <a:xfrm>
              <a:off x="4353586" y="2172680"/>
              <a:ext cx="479154"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Washington</a:t>
              </a:r>
            </a:p>
          </p:txBody>
        </p:sp>
        <p:sp>
          <p:nvSpPr>
            <p:cNvPr id="67" name="Virginia">
              <a:extLst>
                <a:ext uri="{FF2B5EF4-FFF2-40B4-BE49-F238E27FC236}">
                  <a16:creationId xmlns:a16="http://schemas.microsoft.com/office/drawing/2014/main" id="{D75EEA39-B27D-B247-8A7F-4C7625AB6C63}"/>
                </a:ext>
              </a:extLst>
            </p:cNvPr>
            <p:cNvSpPr txBox="1"/>
            <p:nvPr/>
          </p:nvSpPr>
          <p:spPr>
            <a:xfrm>
              <a:off x="8510594" y="3539830"/>
              <a:ext cx="422856"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Virginia</a:t>
              </a:r>
            </a:p>
          </p:txBody>
        </p:sp>
        <p:sp>
          <p:nvSpPr>
            <p:cNvPr id="203" name="Vermont">
              <a:extLst>
                <a:ext uri="{FF2B5EF4-FFF2-40B4-BE49-F238E27FC236}">
                  <a16:creationId xmlns:a16="http://schemas.microsoft.com/office/drawing/2014/main" id="{A0C6B858-2748-804E-81B7-82F14E604836}"/>
                </a:ext>
              </a:extLst>
            </p:cNvPr>
            <p:cNvSpPr txBox="1"/>
            <p:nvPr/>
          </p:nvSpPr>
          <p:spPr>
            <a:xfrm>
              <a:off x="8859950" y="2488540"/>
              <a:ext cx="306140" cy="100027"/>
            </a:xfrm>
            <a:prstGeom prst="rect">
              <a:avLst/>
            </a:prstGeom>
            <a:no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Vermont</a:t>
              </a:r>
            </a:p>
          </p:txBody>
        </p:sp>
        <p:sp>
          <p:nvSpPr>
            <p:cNvPr id="196" name="Utah">
              <a:extLst>
                <a:ext uri="{FF2B5EF4-FFF2-40B4-BE49-F238E27FC236}">
                  <a16:creationId xmlns:a16="http://schemas.microsoft.com/office/drawing/2014/main" id="{BA1077E2-9E74-E14E-BC8E-E4729A77F697}"/>
                </a:ext>
              </a:extLst>
            </p:cNvPr>
            <p:cNvSpPr txBox="1"/>
            <p:nvPr/>
          </p:nvSpPr>
          <p:spPr>
            <a:xfrm>
              <a:off x="5054720" y="3352080"/>
              <a:ext cx="337500"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Utah</a:t>
              </a:r>
            </a:p>
          </p:txBody>
        </p:sp>
        <p:sp>
          <p:nvSpPr>
            <p:cNvPr id="62" name="Texas">
              <a:extLst>
                <a:ext uri="{FF2B5EF4-FFF2-40B4-BE49-F238E27FC236}">
                  <a16:creationId xmlns:a16="http://schemas.microsoft.com/office/drawing/2014/main" id="{F5DF04E1-FFB0-714E-8B35-B7B498043ABC}"/>
                </a:ext>
              </a:extLst>
            </p:cNvPr>
            <p:cNvSpPr txBox="1"/>
            <p:nvPr/>
          </p:nvSpPr>
          <p:spPr>
            <a:xfrm>
              <a:off x="6195511" y="4400582"/>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Texas</a:t>
              </a:r>
            </a:p>
          </p:txBody>
        </p:sp>
        <p:sp>
          <p:nvSpPr>
            <p:cNvPr id="65" name="S. Carolina">
              <a:extLst>
                <a:ext uri="{FF2B5EF4-FFF2-40B4-BE49-F238E27FC236}">
                  <a16:creationId xmlns:a16="http://schemas.microsoft.com/office/drawing/2014/main" id="{381A5C42-5813-6E4C-BB63-50DD10E58C35}"/>
                </a:ext>
              </a:extLst>
            </p:cNvPr>
            <p:cNvSpPr txBox="1"/>
            <p:nvPr/>
          </p:nvSpPr>
          <p:spPr>
            <a:xfrm>
              <a:off x="8346792" y="4015223"/>
              <a:ext cx="368214"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S. Carolina</a:t>
              </a:r>
            </a:p>
          </p:txBody>
        </p:sp>
        <p:sp>
          <p:nvSpPr>
            <p:cNvPr id="73" name="South Dakota">
              <a:extLst>
                <a:ext uri="{FF2B5EF4-FFF2-40B4-BE49-F238E27FC236}">
                  <a16:creationId xmlns:a16="http://schemas.microsoft.com/office/drawing/2014/main" id="{D050CA80-CDFC-474D-AB20-393B2AE86A45}"/>
                </a:ext>
              </a:extLst>
            </p:cNvPr>
            <p:cNvSpPr txBox="1"/>
            <p:nvPr/>
          </p:nvSpPr>
          <p:spPr>
            <a:xfrm>
              <a:off x="6151484" y="2778202"/>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South Dakota</a:t>
              </a:r>
            </a:p>
          </p:txBody>
        </p:sp>
        <p:sp>
          <p:nvSpPr>
            <p:cNvPr id="205" name="Rhode Island">
              <a:extLst>
                <a:ext uri="{FF2B5EF4-FFF2-40B4-BE49-F238E27FC236}">
                  <a16:creationId xmlns:a16="http://schemas.microsoft.com/office/drawing/2014/main" id="{A898F2F2-1580-FF42-A4E7-EEA8D056990B}"/>
                </a:ext>
              </a:extLst>
            </p:cNvPr>
            <p:cNvSpPr txBox="1"/>
            <p:nvPr/>
          </p:nvSpPr>
          <p:spPr>
            <a:xfrm>
              <a:off x="9339777" y="2939498"/>
              <a:ext cx="573210"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Rhode Island</a:t>
              </a:r>
            </a:p>
          </p:txBody>
        </p:sp>
        <p:sp>
          <p:nvSpPr>
            <p:cNvPr id="197" name="Pennsylvania">
              <a:extLst>
                <a:ext uri="{FF2B5EF4-FFF2-40B4-BE49-F238E27FC236}">
                  <a16:creationId xmlns:a16="http://schemas.microsoft.com/office/drawing/2014/main" id="{96AD14E0-F04B-3A49-B10A-6C6BA9A67CBA}"/>
                </a:ext>
              </a:extLst>
            </p:cNvPr>
            <p:cNvSpPr txBox="1"/>
            <p:nvPr/>
          </p:nvSpPr>
          <p:spPr>
            <a:xfrm>
              <a:off x="8441991" y="3134947"/>
              <a:ext cx="491459"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Pennsylvania</a:t>
              </a:r>
            </a:p>
          </p:txBody>
        </p:sp>
        <p:sp>
          <p:nvSpPr>
            <p:cNvPr id="142" name="Oregon">
              <a:extLst>
                <a:ext uri="{FF2B5EF4-FFF2-40B4-BE49-F238E27FC236}">
                  <a16:creationId xmlns:a16="http://schemas.microsoft.com/office/drawing/2014/main" id="{C5613FF1-E3B8-6849-8F37-2114AEBBF64D}"/>
                </a:ext>
              </a:extLst>
            </p:cNvPr>
            <p:cNvSpPr txBox="1"/>
            <p:nvPr/>
          </p:nvSpPr>
          <p:spPr>
            <a:xfrm>
              <a:off x="4270672" y="2561442"/>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Oregon</a:t>
              </a:r>
            </a:p>
          </p:txBody>
        </p:sp>
        <p:sp>
          <p:nvSpPr>
            <p:cNvPr id="78" name="Oklahoma">
              <a:extLst>
                <a:ext uri="{FF2B5EF4-FFF2-40B4-BE49-F238E27FC236}">
                  <a16:creationId xmlns:a16="http://schemas.microsoft.com/office/drawing/2014/main" id="{C018D508-CCBF-474E-8436-B94AA52ED194}"/>
                </a:ext>
              </a:extLst>
            </p:cNvPr>
            <p:cNvSpPr txBox="1"/>
            <p:nvPr/>
          </p:nvSpPr>
          <p:spPr>
            <a:xfrm>
              <a:off x="6405086" y="3967690"/>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Oklahoma</a:t>
              </a:r>
            </a:p>
          </p:txBody>
        </p:sp>
        <p:sp>
          <p:nvSpPr>
            <p:cNvPr id="137" name="Ohio">
              <a:extLst>
                <a:ext uri="{FF2B5EF4-FFF2-40B4-BE49-F238E27FC236}">
                  <a16:creationId xmlns:a16="http://schemas.microsoft.com/office/drawing/2014/main" id="{97C601FD-D212-AB4F-ABFB-ED46967C23A1}"/>
                </a:ext>
              </a:extLst>
            </p:cNvPr>
            <p:cNvSpPr txBox="1"/>
            <p:nvPr/>
          </p:nvSpPr>
          <p:spPr>
            <a:xfrm>
              <a:off x="8077322" y="3256836"/>
              <a:ext cx="270006"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Ohio</a:t>
              </a:r>
            </a:p>
          </p:txBody>
        </p:sp>
        <p:sp>
          <p:nvSpPr>
            <p:cNvPr id="58" name="North Dakota">
              <a:extLst>
                <a:ext uri="{FF2B5EF4-FFF2-40B4-BE49-F238E27FC236}">
                  <a16:creationId xmlns:a16="http://schemas.microsoft.com/office/drawing/2014/main" id="{472158F9-CEA0-704B-99BA-FC775BF8AC5E}"/>
                </a:ext>
              </a:extLst>
            </p:cNvPr>
            <p:cNvSpPr txBox="1"/>
            <p:nvPr/>
          </p:nvSpPr>
          <p:spPr>
            <a:xfrm>
              <a:off x="6195511" y="2437670"/>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orth Dakota</a:t>
              </a:r>
            </a:p>
          </p:txBody>
        </p:sp>
        <p:sp>
          <p:nvSpPr>
            <p:cNvPr id="66" name="N. Carolina">
              <a:extLst>
                <a:ext uri="{FF2B5EF4-FFF2-40B4-BE49-F238E27FC236}">
                  <a16:creationId xmlns:a16="http://schemas.microsoft.com/office/drawing/2014/main" id="{B9788799-BD13-5045-985B-0EF65B5602DF}"/>
                </a:ext>
              </a:extLst>
            </p:cNvPr>
            <p:cNvSpPr txBox="1"/>
            <p:nvPr/>
          </p:nvSpPr>
          <p:spPr>
            <a:xfrm>
              <a:off x="8436121" y="3796004"/>
              <a:ext cx="422856"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 Carolina</a:t>
              </a:r>
            </a:p>
          </p:txBody>
        </p:sp>
        <p:sp>
          <p:nvSpPr>
            <p:cNvPr id="199" name="New York">
              <a:extLst>
                <a:ext uri="{FF2B5EF4-FFF2-40B4-BE49-F238E27FC236}">
                  <a16:creationId xmlns:a16="http://schemas.microsoft.com/office/drawing/2014/main" id="{ACD13357-2304-B442-AA6A-F93D2AF672F7}"/>
                </a:ext>
              </a:extLst>
            </p:cNvPr>
            <p:cNvSpPr txBox="1"/>
            <p:nvPr/>
          </p:nvSpPr>
          <p:spPr>
            <a:xfrm>
              <a:off x="8655336" y="2849100"/>
              <a:ext cx="491459"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ew York</a:t>
              </a:r>
            </a:p>
          </p:txBody>
        </p:sp>
        <p:sp>
          <p:nvSpPr>
            <p:cNvPr id="68" name="New Mexico">
              <a:extLst>
                <a:ext uri="{FF2B5EF4-FFF2-40B4-BE49-F238E27FC236}">
                  <a16:creationId xmlns:a16="http://schemas.microsoft.com/office/drawing/2014/main" id="{9E4DA702-0485-FC40-B0CE-C9D266137E92}"/>
                </a:ext>
              </a:extLst>
            </p:cNvPr>
            <p:cNvSpPr txBox="1"/>
            <p:nvPr/>
          </p:nvSpPr>
          <p:spPr>
            <a:xfrm>
              <a:off x="5440206" y="3975041"/>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ew Mexico</a:t>
              </a:r>
            </a:p>
          </p:txBody>
        </p:sp>
        <p:sp>
          <p:nvSpPr>
            <p:cNvPr id="201" name="New Jersey">
              <a:extLst>
                <a:ext uri="{FF2B5EF4-FFF2-40B4-BE49-F238E27FC236}">
                  <a16:creationId xmlns:a16="http://schemas.microsoft.com/office/drawing/2014/main" id="{9061B807-4A2D-6647-85E6-06ECBA5DBA72}"/>
                </a:ext>
              </a:extLst>
            </p:cNvPr>
            <p:cNvSpPr txBox="1"/>
            <p:nvPr/>
          </p:nvSpPr>
          <p:spPr>
            <a:xfrm>
              <a:off x="9025678" y="3181621"/>
              <a:ext cx="491459"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ew Jersey</a:t>
              </a:r>
            </a:p>
          </p:txBody>
        </p:sp>
        <p:sp>
          <p:nvSpPr>
            <p:cNvPr id="202" name="New Hampshire">
              <a:extLst>
                <a:ext uri="{FF2B5EF4-FFF2-40B4-BE49-F238E27FC236}">
                  <a16:creationId xmlns:a16="http://schemas.microsoft.com/office/drawing/2014/main" id="{ACB6ECF7-E783-6346-A0E7-D3EC445112F8}"/>
                </a:ext>
              </a:extLst>
            </p:cNvPr>
            <p:cNvSpPr txBox="1"/>
            <p:nvPr/>
          </p:nvSpPr>
          <p:spPr>
            <a:xfrm>
              <a:off x="9216230" y="2708276"/>
              <a:ext cx="573210"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ew Hampshire</a:t>
              </a:r>
            </a:p>
          </p:txBody>
        </p:sp>
        <p:sp>
          <p:nvSpPr>
            <p:cNvPr id="71" name="Nevada">
              <a:extLst>
                <a:ext uri="{FF2B5EF4-FFF2-40B4-BE49-F238E27FC236}">
                  <a16:creationId xmlns:a16="http://schemas.microsoft.com/office/drawing/2014/main" id="{CA85AECA-ACE1-B34A-98B8-04888F505D22}"/>
                </a:ext>
              </a:extLst>
            </p:cNvPr>
            <p:cNvSpPr txBox="1"/>
            <p:nvPr/>
          </p:nvSpPr>
          <p:spPr>
            <a:xfrm>
              <a:off x="4427658" y="3171068"/>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evada</a:t>
              </a:r>
            </a:p>
          </p:txBody>
        </p:sp>
        <p:sp>
          <p:nvSpPr>
            <p:cNvPr id="76" name="Nebraska">
              <a:extLst>
                <a:ext uri="{FF2B5EF4-FFF2-40B4-BE49-F238E27FC236}">
                  <a16:creationId xmlns:a16="http://schemas.microsoft.com/office/drawing/2014/main" id="{DE45681E-0EC6-8648-9CEF-723590752499}"/>
                </a:ext>
              </a:extLst>
            </p:cNvPr>
            <p:cNvSpPr txBox="1"/>
            <p:nvPr/>
          </p:nvSpPr>
          <p:spPr>
            <a:xfrm>
              <a:off x="6257945" y="3201869"/>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ebraska</a:t>
              </a:r>
            </a:p>
          </p:txBody>
        </p:sp>
        <p:sp>
          <p:nvSpPr>
            <p:cNvPr id="140" name="Montana">
              <a:extLst>
                <a:ext uri="{FF2B5EF4-FFF2-40B4-BE49-F238E27FC236}">
                  <a16:creationId xmlns:a16="http://schemas.microsoft.com/office/drawing/2014/main" id="{4837BA57-B3CA-9743-978C-1F4E4357292A}"/>
                </a:ext>
              </a:extLst>
            </p:cNvPr>
            <p:cNvSpPr txBox="1"/>
            <p:nvPr/>
          </p:nvSpPr>
          <p:spPr>
            <a:xfrm>
              <a:off x="5481275" y="2430422"/>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kern="0" dirty="0">
                  <a:solidFill>
                    <a:srgbClr val="000000">
                      <a:lumMod val="50000"/>
                      <a:lumOff val="50000"/>
                    </a:srgbClr>
                  </a:solidFill>
                  <a:latin typeface="Tw Cen MT Regular"/>
                  <a:cs typeface="Gill Sans"/>
                </a:rPr>
                <a:t>Montana</a:t>
              </a:r>
              <a:endPar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endParaRPr>
            </a:p>
          </p:txBody>
        </p:sp>
        <p:sp>
          <p:nvSpPr>
            <p:cNvPr id="79" name="Mississippi">
              <a:extLst>
                <a:ext uri="{FF2B5EF4-FFF2-40B4-BE49-F238E27FC236}">
                  <a16:creationId xmlns:a16="http://schemas.microsoft.com/office/drawing/2014/main" id="{FA3C3EB6-D889-A649-80F3-1B9C1FD1E40C}"/>
                </a:ext>
              </a:extLst>
            </p:cNvPr>
            <p:cNvSpPr txBox="1"/>
            <p:nvPr/>
          </p:nvSpPr>
          <p:spPr>
            <a:xfrm>
              <a:off x="7319476" y="4207216"/>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ississippi</a:t>
              </a:r>
            </a:p>
          </p:txBody>
        </p:sp>
        <p:sp>
          <p:nvSpPr>
            <p:cNvPr id="82" name="Missouri">
              <a:extLst>
                <a:ext uri="{FF2B5EF4-FFF2-40B4-BE49-F238E27FC236}">
                  <a16:creationId xmlns:a16="http://schemas.microsoft.com/office/drawing/2014/main" id="{EB98113F-20B5-3149-BBD7-1E8B35E53EED}"/>
                </a:ext>
              </a:extLst>
            </p:cNvPr>
            <p:cNvSpPr txBox="1"/>
            <p:nvPr/>
          </p:nvSpPr>
          <p:spPr>
            <a:xfrm>
              <a:off x="7000619" y="3602003"/>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issouri</a:t>
              </a:r>
            </a:p>
          </p:txBody>
        </p:sp>
        <p:sp>
          <p:nvSpPr>
            <p:cNvPr id="84" name="Minnesota">
              <a:extLst>
                <a:ext uri="{FF2B5EF4-FFF2-40B4-BE49-F238E27FC236}">
                  <a16:creationId xmlns:a16="http://schemas.microsoft.com/office/drawing/2014/main" id="{585F0D39-266D-4349-B701-8CB5384D3A6B}"/>
                </a:ext>
              </a:extLst>
            </p:cNvPr>
            <p:cNvSpPr txBox="1"/>
            <p:nvPr/>
          </p:nvSpPr>
          <p:spPr>
            <a:xfrm>
              <a:off x="6824422" y="2589066"/>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innesota</a:t>
              </a:r>
            </a:p>
          </p:txBody>
        </p:sp>
        <p:sp>
          <p:nvSpPr>
            <p:cNvPr id="131" name="Michigan">
              <a:extLst>
                <a:ext uri="{FF2B5EF4-FFF2-40B4-BE49-F238E27FC236}">
                  <a16:creationId xmlns:a16="http://schemas.microsoft.com/office/drawing/2014/main" id="{5DAE5E7D-5175-8B4F-83B6-65C324BDBB5E}"/>
                </a:ext>
              </a:extLst>
            </p:cNvPr>
            <p:cNvSpPr txBox="1"/>
            <p:nvPr/>
          </p:nvSpPr>
          <p:spPr>
            <a:xfrm>
              <a:off x="7828537" y="2942677"/>
              <a:ext cx="335044"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ichigan</a:t>
              </a:r>
            </a:p>
          </p:txBody>
        </p:sp>
        <p:sp>
          <p:nvSpPr>
            <p:cNvPr id="204" name="Massachusetts">
              <a:extLst>
                <a:ext uri="{FF2B5EF4-FFF2-40B4-BE49-F238E27FC236}">
                  <a16:creationId xmlns:a16="http://schemas.microsoft.com/office/drawing/2014/main" id="{6E312137-49BE-E842-A1FC-CC835829A761}"/>
                </a:ext>
              </a:extLst>
            </p:cNvPr>
            <p:cNvSpPr txBox="1"/>
            <p:nvPr/>
          </p:nvSpPr>
          <p:spPr>
            <a:xfrm>
              <a:off x="9257172" y="2831107"/>
              <a:ext cx="573210"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assachusetts</a:t>
              </a:r>
            </a:p>
          </p:txBody>
        </p:sp>
        <p:sp>
          <p:nvSpPr>
            <p:cNvPr id="208" name="Maryland">
              <a:extLst>
                <a:ext uri="{FF2B5EF4-FFF2-40B4-BE49-F238E27FC236}">
                  <a16:creationId xmlns:a16="http://schemas.microsoft.com/office/drawing/2014/main" id="{323A98D3-2CF9-0B4D-9B9E-7195194976E6}"/>
                </a:ext>
              </a:extLst>
            </p:cNvPr>
            <p:cNvSpPr txBox="1"/>
            <p:nvPr/>
          </p:nvSpPr>
          <p:spPr>
            <a:xfrm>
              <a:off x="8878547" y="3416908"/>
              <a:ext cx="406898"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aryland</a:t>
              </a:r>
            </a:p>
          </p:txBody>
        </p:sp>
        <p:sp>
          <p:nvSpPr>
            <p:cNvPr id="200" name="Maine">
              <a:extLst>
                <a:ext uri="{FF2B5EF4-FFF2-40B4-BE49-F238E27FC236}">
                  <a16:creationId xmlns:a16="http://schemas.microsoft.com/office/drawing/2014/main" id="{1F47ADEA-12A3-6444-A04E-199A6C9FC5EC}"/>
                </a:ext>
              </a:extLst>
            </p:cNvPr>
            <p:cNvSpPr txBox="1"/>
            <p:nvPr/>
          </p:nvSpPr>
          <p:spPr>
            <a:xfrm>
              <a:off x="9277760" y="2412922"/>
              <a:ext cx="336347"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aine</a:t>
              </a:r>
            </a:p>
          </p:txBody>
        </p:sp>
        <p:sp>
          <p:nvSpPr>
            <p:cNvPr id="80" name="Louisiana">
              <a:extLst>
                <a:ext uri="{FF2B5EF4-FFF2-40B4-BE49-F238E27FC236}">
                  <a16:creationId xmlns:a16="http://schemas.microsoft.com/office/drawing/2014/main" id="{33940E2C-B306-A742-A5E7-75968193AB94}"/>
                </a:ext>
              </a:extLst>
            </p:cNvPr>
            <p:cNvSpPr txBox="1"/>
            <p:nvPr/>
          </p:nvSpPr>
          <p:spPr>
            <a:xfrm>
              <a:off x="6996487" y="4563643"/>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Louisiana</a:t>
              </a:r>
            </a:p>
          </p:txBody>
        </p:sp>
        <p:sp>
          <p:nvSpPr>
            <p:cNvPr id="77" name="Kansas">
              <a:extLst>
                <a:ext uri="{FF2B5EF4-FFF2-40B4-BE49-F238E27FC236}">
                  <a16:creationId xmlns:a16="http://schemas.microsoft.com/office/drawing/2014/main" id="{1FAA4121-54DD-7045-B810-A6CDC122298B}"/>
                </a:ext>
              </a:extLst>
            </p:cNvPr>
            <p:cNvSpPr txBox="1"/>
            <p:nvPr/>
          </p:nvSpPr>
          <p:spPr>
            <a:xfrm>
              <a:off x="6301801" y="3555809"/>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Kansas</a:t>
              </a:r>
            </a:p>
          </p:txBody>
        </p:sp>
        <p:sp>
          <p:nvSpPr>
            <p:cNvPr id="83" name="Iowa">
              <a:extLst>
                <a:ext uri="{FF2B5EF4-FFF2-40B4-BE49-F238E27FC236}">
                  <a16:creationId xmlns:a16="http://schemas.microsoft.com/office/drawing/2014/main" id="{3951C9E6-3B40-7743-A121-3D32CAD5A038}"/>
                </a:ext>
              </a:extLst>
            </p:cNvPr>
            <p:cNvSpPr txBox="1"/>
            <p:nvPr/>
          </p:nvSpPr>
          <p:spPr>
            <a:xfrm>
              <a:off x="6891955" y="3115600"/>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Iowa</a:t>
              </a:r>
            </a:p>
          </p:txBody>
        </p:sp>
        <p:sp>
          <p:nvSpPr>
            <p:cNvPr id="141" name="Idaho">
              <a:extLst>
                <a:ext uri="{FF2B5EF4-FFF2-40B4-BE49-F238E27FC236}">
                  <a16:creationId xmlns:a16="http://schemas.microsoft.com/office/drawing/2014/main" id="{07BF736D-3534-634D-A560-BC27BCB0C77D}"/>
                </a:ext>
              </a:extLst>
            </p:cNvPr>
            <p:cNvSpPr txBox="1"/>
            <p:nvPr/>
          </p:nvSpPr>
          <p:spPr>
            <a:xfrm>
              <a:off x="4832739" y="2749073"/>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Idaho</a:t>
              </a:r>
            </a:p>
          </p:txBody>
        </p:sp>
        <p:sp>
          <p:nvSpPr>
            <p:cNvPr id="123" name="Illinois">
              <a:extLst>
                <a:ext uri="{FF2B5EF4-FFF2-40B4-BE49-F238E27FC236}">
                  <a16:creationId xmlns:a16="http://schemas.microsoft.com/office/drawing/2014/main" id="{87E7665A-5A14-F546-AD04-F49B629EFE36}"/>
                </a:ext>
              </a:extLst>
            </p:cNvPr>
            <p:cNvSpPr txBox="1"/>
            <p:nvPr/>
          </p:nvSpPr>
          <p:spPr>
            <a:xfrm>
              <a:off x="7376227" y="3337768"/>
              <a:ext cx="282277"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Illinois</a:t>
              </a:r>
            </a:p>
          </p:txBody>
        </p:sp>
        <p:sp>
          <p:nvSpPr>
            <p:cNvPr id="127" name="Indiana">
              <a:extLst>
                <a:ext uri="{FF2B5EF4-FFF2-40B4-BE49-F238E27FC236}">
                  <a16:creationId xmlns:a16="http://schemas.microsoft.com/office/drawing/2014/main" id="{E243B756-44E2-B043-A9C4-DB7C7A68483E}"/>
                </a:ext>
              </a:extLst>
            </p:cNvPr>
            <p:cNvSpPr txBox="1"/>
            <p:nvPr/>
          </p:nvSpPr>
          <p:spPr>
            <a:xfrm>
              <a:off x="7717420" y="3337768"/>
              <a:ext cx="282277"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Indiana</a:t>
              </a:r>
            </a:p>
          </p:txBody>
        </p:sp>
        <p:sp>
          <p:nvSpPr>
            <p:cNvPr id="138" name="Kentucky">
              <a:extLst>
                <a:ext uri="{FF2B5EF4-FFF2-40B4-BE49-F238E27FC236}">
                  <a16:creationId xmlns:a16="http://schemas.microsoft.com/office/drawing/2014/main" id="{030DCE59-7B15-C748-8074-AB44772BEBF3}"/>
                </a:ext>
              </a:extLst>
            </p:cNvPr>
            <p:cNvSpPr txBox="1"/>
            <p:nvPr/>
          </p:nvSpPr>
          <p:spPr>
            <a:xfrm>
              <a:off x="7872997" y="3634517"/>
              <a:ext cx="34473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Kentucky</a:t>
              </a:r>
            </a:p>
          </p:txBody>
        </p:sp>
        <p:sp>
          <p:nvSpPr>
            <p:cNvPr id="64" name="Georgia">
              <a:extLst>
                <a:ext uri="{FF2B5EF4-FFF2-40B4-BE49-F238E27FC236}">
                  <a16:creationId xmlns:a16="http://schemas.microsoft.com/office/drawing/2014/main" id="{B06DD241-9E63-6E42-9821-DA143B4B677E}"/>
                </a:ext>
              </a:extLst>
            </p:cNvPr>
            <p:cNvSpPr txBox="1"/>
            <p:nvPr/>
          </p:nvSpPr>
          <p:spPr>
            <a:xfrm>
              <a:off x="8079420" y="4203403"/>
              <a:ext cx="3649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Georgia</a:t>
              </a:r>
            </a:p>
          </p:txBody>
        </p:sp>
        <p:sp>
          <p:nvSpPr>
            <p:cNvPr id="63" name="Florida">
              <a:extLst>
                <a:ext uri="{FF2B5EF4-FFF2-40B4-BE49-F238E27FC236}">
                  <a16:creationId xmlns:a16="http://schemas.microsoft.com/office/drawing/2014/main" id="{951CECA0-E139-AA4B-BF22-1BDBF8D7875C}"/>
                </a:ext>
              </a:extLst>
            </p:cNvPr>
            <p:cNvSpPr txBox="1"/>
            <p:nvPr/>
          </p:nvSpPr>
          <p:spPr>
            <a:xfrm>
              <a:off x="8397810" y="4740490"/>
              <a:ext cx="303898" cy="100216"/>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Florida</a:t>
              </a:r>
            </a:p>
          </p:txBody>
        </p:sp>
        <p:sp>
          <p:nvSpPr>
            <p:cNvPr id="136" name="DC"/>
            <p:cNvSpPr txBox="1"/>
            <p:nvPr/>
          </p:nvSpPr>
          <p:spPr>
            <a:xfrm>
              <a:off x="9390409" y="3439550"/>
              <a:ext cx="255541" cy="100027"/>
            </a:xfrm>
            <a:prstGeom prst="rect">
              <a:avLst/>
            </a:prstGeom>
            <a:noFill/>
            <a:ln>
              <a:noFill/>
            </a:ln>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650" b="0" i="0" u="none" strike="noStrike" kern="0" cap="none" spc="0" normalizeH="0" baseline="0">
                  <a:ln>
                    <a:noFill/>
                  </a:ln>
                  <a:solidFill>
                    <a:srgbClr val="000000">
                      <a:lumMod val="50000"/>
                      <a:lumOff val="50000"/>
                    </a:srgbClr>
                  </a:solidFill>
                  <a:effectLst/>
                  <a:uLnTx/>
                  <a:uFillTx/>
                  <a:latin typeface="Tw Cen MT Regular"/>
                  <a:cs typeface="Gill Sans"/>
                </a:defRPr>
              </a:lvl1pPr>
            </a:lstStyle>
            <a:p>
              <a:pPr algn="l"/>
              <a:r>
                <a:rPr lang="en-US" dirty="0"/>
                <a:t>D.C.</a:t>
              </a:r>
            </a:p>
          </p:txBody>
        </p:sp>
        <p:sp>
          <p:nvSpPr>
            <p:cNvPr id="207" name="Delaware">
              <a:extLst>
                <a:ext uri="{FF2B5EF4-FFF2-40B4-BE49-F238E27FC236}">
                  <a16:creationId xmlns:a16="http://schemas.microsoft.com/office/drawing/2014/main" id="{C289EF0B-EF42-0F42-9801-DDA637591269}"/>
                </a:ext>
              </a:extLst>
            </p:cNvPr>
            <p:cNvSpPr txBox="1"/>
            <p:nvPr/>
          </p:nvSpPr>
          <p:spPr>
            <a:xfrm>
              <a:off x="8991155" y="3294527"/>
              <a:ext cx="573210"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Delaware</a:t>
              </a:r>
            </a:p>
          </p:txBody>
        </p:sp>
        <p:sp>
          <p:nvSpPr>
            <p:cNvPr id="206" name="Connecticut">
              <a:extLst>
                <a:ext uri="{FF2B5EF4-FFF2-40B4-BE49-F238E27FC236}">
                  <a16:creationId xmlns:a16="http://schemas.microsoft.com/office/drawing/2014/main" id="{FEFFCE5F-82EE-FA4C-AF7C-C324A1120E85}"/>
                </a:ext>
              </a:extLst>
            </p:cNvPr>
            <p:cNvSpPr txBox="1"/>
            <p:nvPr/>
          </p:nvSpPr>
          <p:spPr>
            <a:xfrm>
              <a:off x="9184453" y="3016903"/>
              <a:ext cx="573210"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Connecticut</a:t>
              </a:r>
            </a:p>
          </p:txBody>
        </p:sp>
        <p:sp>
          <p:nvSpPr>
            <p:cNvPr id="72" name="Colorado">
              <a:extLst>
                <a:ext uri="{FF2B5EF4-FFF2-40B4-BE49-F238E27FC236}">
                  <a16:creationId xmlns:a16="http://schemas.microsoft.com/office/drawing/2014/main" id="{D2FF2C42-3ECD-024B-AA93-922A29D168F2}"/>
                </a:ext>
              </a:extLst>
            </p:cNvPr>
            <p:cNvSpPr txBox="1"/>
            <p:nvPr/>
          </p:nvSpPr>
          <p:spPr>
            <a:xfrm>
              <a:off x="5554970" y="3435851"/>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Colorado</a:t>
              </a:r>
            </a:p>
          </p:txBody>
        </p:sp>
        <p:sp>
          <p:nvSpPr>
            <p:cNvPr id="70" name="California">
              <a:extLst>
                <a:ext uri="{FF2B5EF4-FFF2-40B4-BE49-F238E27FC236}">
                  <a16:creationId xmlns:a16="http://schemas.microsoft.com/office/drawing/2014/main" id="{7AAE28B4-8074-564D-BA09-01C5C5181A2E}"/>
                </a:ext>
              </a:extLst>
            </p:cNvPr>
            <p:cNvSpPr txBox="1"/>
            <p:nvPr/>
          </p:nvSpPr>
          <p:spPr>
            <a:xfrm>
              <a:off x="4073685" y="3578745"/>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California</a:t>
              </a:r>
            </a:p>
          </p:txBody>
        </p:sp>
        <p:sp>
          <p:nvSpPr>
            <p:cNvPr id="81" name="Arkansas">
              <a:extLst>
                <a:ext uri="{FF2B5EF4-FFF2-40B4-BE49-F238E27FC236}">
                  <a16:creationId xmlns:a16="http://schemas.microsoft.com/office/drawing/2014/main" id="{B30626F2-D6D7-C34C-855C-FBE1FFBED840}"/>
                </a:ext>
              </a:extLst>
            </p:cNvPr>
            <p:cNvSpPr txBox="1"/>
            <p:nvPr/>
          </p:nvSpPr>
          <p:spPr>
            <a:xfrm>
              <a:off x="7000619" y="3975041"/>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Arkansas</a:t>
              </a:r>
            </a:p>
          </p:txBody>
        </p:sp>
        <p:sp>
          <p:nvSpPr>
            <p:cNvPr id="69" name="Arizona">
              <a:extLst>
                <a:ext uri="{FF2B5EF4-FFF2-40B4-BE49-F238E27FC236}">
                  <a16:creationId xmlns:a16="http://schemas.microsoft.com/office/drawing/2014/main" id="{F63F51A3-C531-4B4A-BE9C-70EC08325569}"/>
                </a:ext>
              </a:extLst>
            </p:cNvPr>
            <p:cNvSpPr txBox="1"/>
            <p:nvPr/>
          </p:nvSpPr>
          <p:spPr>
            <a:xfrm>
              <a:off x="4812318" y="3975041"/>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Arizona</a:t>
              </a:r>
            </a:p>
          </p:txBody>
        </p:sp>
      </p:grpSp>
      <p:sp>
        <p:nvSpPr>
          <p:cNvPr id="2" name="UNITED STATES"/>
          <p:cNvSpPr>
            <a:spLocks noGrp="1"/>
          </p:cNvSpPr>
          <p:nvPr>
            <p:ph type="title"/>
          </p:nvPr>
        </p:nvSpPr>
        <p:spPr/>
        <p:txBody>
          <a:bodyPr/>
          <a:lstStyle/>
          <a:p>
            <a:r>
              <a:rPr lang="en-US" dirty="0"/>
              <a:t>United States</a:t>
            </a:r>
          </a:p>
        </p:txBody>
      </p:sp>
    </p:spTree>
    <p:extLst>
      <p:ext uri="{BB962C8B-B14F-4D97-AF65-F5344CB8AC3E}">
        <p14:creationId xmlns:p14="http://schemas.microsoft.com/office/powerpoint/2010/main" val="329692273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States">
            <a:extLst>
              <a:ext uri="{FF2B5EF4-FFF2-40B4-BE49-F238E27FC236}">
                <a16:creationId xmlns:a16="http://schemas.microsoft.com/office/drawing/2014/main" id="{1716434F-9A1E-244C-8D6C-447A930D4E69}"/>
              </a:ext>
            </a:extLst>
          </p:cNvPr>
          <p:cNvGrpSpPr/>
          <p:nvPr/>
        </p:nvGrpSpPr>
        <p:grpSpPr>
          <a:xfrm>
            <a:off x="1978917" y="1980484"/>
            <a:ext cx="7683223" cy="3612306"/>
            <a:chOff x="1983466" y="1980484"/>
            <a:chExt cx="7683223" cy="3612306"/>
          </a:xfrm>
        </p:grpSpPr>
        <p:sp>
          <p:nvSpPr>
            <p:cNvPr id="92" name="Wyoming"/>
            <p:cNvSpPr>
              <a:spLocks/>
            </p:cNvSpPr>
            <p:nvPr/>
          </p:nvSpPr>
          <p:spPr bwMode="auto">
            <a:xfrm>
              <a:off x="5313513" y="2692257"/>
              <a:ext cx="766978" cy="565452"/>
            </a:xfrm>
            <a:custGeom>
              <a:avLst/>
              <a:gdLst/>
              <a:ahLst/>
              <a:cxnLst/>
              <a:rect l="0" t="0" r="r" b="b"/>
              <a:pathLst>
                <a:path w="21600" h="21600">
                  <a:moveTo>
                    <a:pt x="19931" y="21600"/>
                  </a:moveTo>
                  <a:lnTo>
                    <a:pt x="21600" y="3052"/>
                  </a:lnTo>
                  <a:lnTo>
                    <a:pt x="2749" y="0"/>
                  </a:lnTo>
                  <a:lnTo>
                    <a:pt x="0" y="18313"/>
                  </a:lnTo>
                  <a:cubicBezTo>
                    <a:pt x="0" y="18313"/>
                    <a:pt x="19931" y="21600"/>
                    <a:pt x="19931" y="21600"/>
                  </a:cubicBezTo>
                  <a:close/>
                  <a:moveTo>
                    <a:pt x="19931"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0" name="Wisconsin"/>
            <p:cNvSpPr>
              <a:spLocks/>
            </p:cNvSpPr>
            <p:nvPr/>
          </p:nvSpPr>
          <p:spPr bwMode="auto">
            <a:xfrm>
              <a:off x="7165837" y="2555047"/>
              <a:ext cx="547229" cy="561700"/>
            </a:xfrm>
            <a:custGeom>
              <a:avLst/>
              <a:gdLst/>
              <a:ahLst/>
              <a:cxnLst/>
              <a:rect l="0" t="0" r="r" b="b"/>
              <a:pathLst>
                <a:path w="21600" h="21600">
                  <a:moveTo>
                    <a:pt x="7455" y="0"/>
                  </a:moveTo>
                  <a:lnTo>
                    <a:pt x="6030" y="471"/>
                  </a:lnTo>
                  <a:lnTo>
                    <a:pt x="4823" y="1036"/>
                  </a:lnTo>
                  <a:lnTo>
                    <a:pt x="3837" y="1601"/>
                  </a:lnTo>
                  <a:lnTo>
                    <a:pt x="2527" y="1227"/>
                  </a:lnTo>
                  <a:lnTo>
                    <a:pt x="1927" y="2086"/>
                  </a:lnTo>
                  <a:lnTo>
                    <a:pt x="2340" y="3091"/>
                  </a:lnTo>
                  <a:lnTo>
                    <a:pt x="1927" y="3904"/>
                  </a:lnTo>
                  <a:lnTo>
                    <a:pt x="1239" y="4687"/>
                  </a:lnTo>
                  <a:lnTo>
                    <a:pt x="281" y="5784"/>
                  </a:lnTo>
                  <a:lnTo>
                    <a:pt x="281" y="6708"/>
                  </a:lnTo>
                  <a:lnTo>
                    <a:pt x="281" y="8100"/>
                  </a:lnTo>
                  <a:lnTo>
                    <a:pt x="0" y="8943"/>
                  </a:lnTo>
                  <a:lnTo>
                    <a:pt x="226" y="9980"/>
                  </a:lnTo>
                  <a:lnTo>
                    <a:pt x="413" y="10835"/>
                  </a:lnTo>
                  <a:lnTo>
                    <a:pt x="1324" y="11382"/>
                  </a:lnTo>
                  <a:lnTo>
                    <a:pt x="2569" y="12212"/>
                  </a:lnTo>
                  <a:lnTo>
                    <a:pt x="3441" y="12828"/>
                  </a:lnTo>
                  <a:lnTo>
                    <a:pt x="4820" y="13933"/>
                  </a:lnTo>
                  <a:lnTo>
                    <a:pt x="5788" y="14622"/>
                  </a:lnTo>
                  <a:lnTo>
                    <a:pt x="6332" y="14972"/>
                  </a:lnTo>
                  <a:lnTo>
                    <a:pt x="6332" y="16155"/>
                  </a:lnTo>
                  <a:lnTo>
                    <a:pt x="6332" y="16982"/>
                  </a:lnTo>
                  <a:lnTo>
                    <a:pt x="6332" y="18519"/>
                  </a:lnTo>
                  <a:lnTo>
                    <a:pt x="6332" y="19819"/>
                  </a:lnTo>
                  <a:lnTo>
                    <a:pt x="7709" y="20411"/>
                  </a:lnTo>
                  <a:lnTo>
                    <a:pt x="9162" y="21600"/>
                  </a:lnTo>
                  <a:lnTo>
                    <a:pt x="19626" y="21093"/>
                  </a:lnTo>
                  <a:lnTo>
                    <a:pt x="19626" y="19681"/>
                  </a:lnTo>
                  <a:lnTo>
                    <a:pt x="19626" y="18551"/>
                  </a:lnTo>
                  <a:lnTo>
                    <a:pt x="18968" y="16982"/>
                  </a:lnTo>
                  <a:lnTo>
                    <a:pt x="19626" y="16155"/>
                  </a:lnTo>
                  <a:lnTo>
                    <a:pt x="19626" y="15443"/>
                  </a:lnTo>
                  <a:lnTo>
                    <a:pt x="19626" y="13560"/>
                  </a:lnTo>
                  <a:lnTo>
                    <a:pt x="20284" y="12828"/>
                  </a:lnTo>
                  <a:lnTo>
                    <a:pt x="20284" y="12147"/>
                  </a:lnTo>
                  <a:lnTo>
                    <a:pt x="20942" y="10076"/>
                  </a:lnTo>
                  <a:lnTo>
                    <a:pt x="21600" y="8352"/>
                  </a:lnTo>
                  <a:lnTo>
                    <a:pt x="21600" y="8004"/>
                  </a:lnTo>
                  <a:lnTo>
                    <a:pt x="20613" y="8946"/>
                  </a:lnTo>
                  <a:lnTo>
                    <a:pt x="19736" y="9605"/>
                  </a:lnTo>
                  <a:lnTo>
                    <a:pt x="18859" y="10800"/>
                  </a:lnTo>
                  <a:lnTo>
                    <a:pt x="18311" y="10800"/>
                  </a:lnTo>
                  <a:lnTo>
                    <a:pt x="18749" y="9605"/>
                  </a:lnTo>
                  <a:lnTo>
                    <a:pt x="19078" y="9040"/>
                  </a:lnTo>
                  <a:lnTo>
                    <a:pt x="19886" y="8477"/>
                  </a:lnTo>
                  <a:lnTo>
                    <a:pt x="19399" y="7450"/>
                  </a:lnTo>
                  <a:lnTo>
                    <a:pt x="19104" y="6775"/>
                  </a:lnTo>
                  <a:lnTo>
                    <a:pt x="18859" y="6215"/>
                  </a:lnTo>
                  <a:lnTo>
                    <a:pt x="18859" y="5278"/>
                  </a:lnTo>
                  <a:lnTo>
                    <a:pt x="17762" y="4708"/>
                  </a:lnTo>
                  <a:lnTo>
                    <a:pt x="17214" y="4237"/>
                  </a:lnTo>
                  <a:lnTo>
                    <a:pt x="15131" y="4143"/>
                  </a:lnTo>
                  <a:lnTo>
                    <a:pt x="14253" y="3590"/>
                  </a:lnTo>
                  <a:lnTo>
                    <a:pt x="11976" y="3091"/>
                  </a:lnTo>
                  <a:lnTo>
                    <a:pt x="10600" y="3091"/>
                  </a:lnTo>
                  <a:lnTo>
                    <a:pt x="9977" y="2448"/>
                  </a:lnTo>
                  <a:lnTo>
                    <a:pt x="9538" y="1977"/>
                  </a:lnTo>
                  <a:lnTo>
                    <a:pt x="8771" y="1601"/>
                  </a:lnTo>
                  <a:lnTo>
                    <a:pt x="8003" y="1507"/>
                  </a:lnTo>
                  <a:lnTo>
                    <a:pt x="7345" y="1601"/>
                  </a:lnTo>
                  <a:lnTo>
                    <a:pt x="7455" y="659"/>
                  </a:lnTo>
                  <a:cubicBezTo>
                    <a:pt x="7455" y="659"/>
                    <a:pt x="7455" y="0"/>
                    <a:pt x="7455" y="0"/>
                  </a:cubicBezTo>
                  <a:close/>
                  <a:moveTo>
                    <a:pt x="7455"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0" name="West Virginia"/>
            <p:cNvSpPr>
              <a:spLocks/>
            </p:cNvSpPr>
            <p:nvPr/>
          </p:nvSpPr>
          <p:spPr bwMode="auto">
            <a:xfrm>
              <a:off x="8263511" y="3305410"/>
              <a:ext cx="494167" cy="371965"/>
            </a:xfrm>
            <a:custGeom>
              <a:avLst/>
              <a:gdLst/>
              <a:ahLst/>
              <a:cxnLst/>
              <a:rect l="0" t="0" r="r" b="b"/>
              <a:pathLst>
                <a:path w="21600" h="21600">
                  <a:moveTo>
                    <a:pt x="0" y="14816"/>
                  </a:moveTo>
                  <a:lnTo>
                    <a:pt x="971" y="13073"/>
                  </a:lnTo>
                  <a:lnTo>
                    <a:pt x="971" y="11368"/>
                  </a:lnTo>
                  <a:lnTo>
                    <a:pt x="1578" y="9663"/>
                  </a:lnTo>
                  <a:lnTo>
                    <a:pt x="2184" y="9663"/>
                  </a:lnTo>
                  <a:lnTo>
                    <a:pt x="3155" y="9663"/>
                  </a:lnTo>
                  <a:lnTo>
                    <a:pt x="3155" y="8526"/>
                  </a:lnTo>
                  <a:lnTo>
                    <a:pt x="3714" y="6852"/>
                  </a:lnTo>
                  <a:lnTo>
                    <a:pt x="4247" y="5680"/>
                  </a:lnTo>
                  <a:lnTo>
                    <a:pt x="4975" y="6852"/>
                  </a:lnTo>
                  <a:lnTo>
                    <a:pt x="5582" y="5680"/>
                  </a:lnTo>
                  <a:lnTo>
                    <a:pt x="6553" y="4087"/>
                  </a:lnTo>
                  <a:lnTo>
                    <a:pt x="6553" y="2961"/>
                  </a:lnTo>
                  <a:lnTo>
                    <a:pt x="6553" y="1421"/>
                  </a:lnTo>
                  <a:lnTo>
                    <a:pt x="7766" y="0"/>
                  </a:lnTo>
                  <a:lnTo>
                    <a:pt x="7766" y="2132"/>
                  </a:lnTo>
                  <a:lnTo>
                    <a:pt x="7766" y="2961"/>
                  </a:lnTo>
                  <a:lnTo>
                    <a:pt x="12863" y="1989"/>
                  </a:lnTo>
                  <a:lnTo>
                    <a:pt x="14318" y="1794"/>
                  </a:lnTo>
                  <a:lnTo>
                    <a:pt x="16249" y="1464"/>
                  </a:lnTo>
                  <a:lnTo>
                    <a:pt x="17677" y="1220"/>
                  </a:lnTo>
                  <a:lnTo>
                    <a:pt x="19416" y="853"/>
                  </a:lnTo>
                  <a:lnTo>
                    <a:pt x="20265" y="1705"/>
                  </a:lnTo>
                  <a:lnTo>
                    <a:pt x="21600" y="3553"/>
                  </a:lnTo>
                  <a:lnTo>
                    <a:pt x="21115" y="4974"/>
                  </a:lnTo>
                  <a:lnTo>
                    <a:pt x="18687" y="3553"/>
                  </a:lnTo>
                  <a:lnTo>
                    <a:pt x="18202" y="4831"/>
                  </a:lnTo>
                  <a:lnTo>
                    <a:pt x="17662" y="6332"/>
                  </a:lnTo>
                  <a:lnTo>
                    <a:pt x="17011" y="7408"/>
                  </a:lnTo>
                  <a:lnTo>
                    <a:pt x="16625" y="8384"/>
                  </a:lnTo>
                  <a:lnTo>
                    <a:pt x="15897" y="8526"/>
                  </a:lnTo>
                  <a:lnTo>
                    <a:pt x="15030" y="10219"/>
                  </a:lnTo>
                  <a:lnTo>
                    <a:pt x="14198" y="11368"/>
                  </a:lnTo>
                  <a:lnTo>
                    <a:pt x="13512" y="10777"/>
                  </a:lnTo>
                  <a:lnTo>
                    <a:pt x="12620" y="13073"/>
                  </a:lnTo>
                  <a:lnTo>
                    <a:pt x="11790" y="15543"/>
                  </a:lnTo>
                  <a:lnTo>
                    <a:pt x="10921" y="17639"/>
                  </a:lnTo>
                  <a:lnTo>
                    <a:pt x="10921" y="19045"/>
                  </a:lnTo>
                  <a:lnTo>
                    <a:pt x="9829" y="19045"/>
                  </a:lnTo>
                  <a:lnTo>
                    <a:pt x="9829" y="20179"/>
                  </a:lnTo>
                  <a:lnTo>
                    <a:pt x="8616" y="20179"/>
                  </a:lnTo>
                  <a:lnTo>
                    <a:pt x="8616" y="20901"/>
                  </a:lnTo>
                  <a:lnTo>
                    <a:pt x="7402" y="21600"/>
                  </a:lnTo>
                  <a:lnTo>
                    <a:pt x="6432" y="20901"/>
                  </a:lnTo>
                  <a:lnTo>
                    <a:pt x="5582" y="21600"/>
                  </a:lnTo>
                  <a:lnTo>
                    <a:pt x="3714" y="21600"/>
                  </a:lnTo>
                  <a:lnTo>
                    <a:pt x="3155" y="20747"/>
                  </a:lnTo>
                  <a:lnTo>
                    <a:pt x="2427" y="19753"/>
                  </a:lnTo>
                  <a:lnTo>
                    <a:pt x="1456" y="19045"/>
                  </a:lnTo>
                  <a:lnTo>
                    <a:pt x="795" y="17951"/>
                  </a:lnTo>
                  <a:lnTo>
                    <a:pt x="0" y="17053"/>
                  </a:lnTo>
                  <a:cubicBezTo>
                    <a:pt x="0" y="17053"/>
                    <a:pt x="0" y="14816"/>
                    <a:pt x="0" y="14816"/>
                  </a:cubicBezTo>
                  <a:close/>
                  <a:moveTo>
                    <a:pt x="0" y="1481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5" name="Washington"/>
            <p:cNvSpPr>
              <a:spLocks/>
            </p:cNvSpPr>
            <p:nvPr/>
          </p:nvSpPr>
          <p:spPr bwMode="auto">
            <a:xfrm>
              <a:off x="4262469" y="1980484"/>
              <a:ext cx="718741" cy="479697"/>
            </a:xfrm>
            <a:custGeom>
              <a:avLst/>
              <a:gdLst/>
              <a:ahLst/>
              <a:cxnLst/>
              <a:rect l="0" t="0" r="r" b="b"/>
              <a:pathLst>
                <a:path w="21600" h="21600">
                  <a:moveTo>
                    <a:pt x="6711" y="0"/>
                  </a:moveTo>
                  <a:lnTo>
                    <a:pt x="21600" y="5538"/>
                  </a:lnTo>
                  <a:lnTo>
                    <a:pt x="18874" y="19800"/>
                  </a:lnTo>
                  <a:lnTo>
                    <a:pt x="19188" y="20492"/>
                  </a:lnTo>
                  <a:lnTo>
                    <a:pt x="18664" y="21600"/>
                  </a:lnTo>
                  <a:lnTo>
                    <a:pt x="13317" y="19523"/>
                  </a:lnTo>
                  <a:lnTo>
                    <a:pt x="12373" y="19938"/>
                  </a:lnTo>
                  <a:lnTo>
                    <a:pt x="11639" y="19800"/>
                  </a:lnTo>
                  <a:lnTo>
                    <a:pt x="10590" y="19662"/>
                  </a:lnTo>
                  <a:lnTo>
                    <a:pt x="9542" y="19800"/>
                  </a:lnTo>
                  <a:lnTo>
                    <a:pt x="8283" y="19246"/>
                  </a:lnTo>
                  <a:lnTo>
                    <a:pt x="7130" y="19523"/>
                  </a:lnTo>
                  <a:lnTo>
                    <a:pt x="5767" y="18692"/>
                  </a:lnTo>
                  <a:lnTo>
                    <a:pt x="4299" y="18692"/>
                  </a:lnTo>
                  <a:lnTo>
                    <a:pt x="2831" y="18000"/>
                  </a:lnTo>
                  <a:lnTo>
                    <a:pt x="2831" y="16200"/>
                  </a:lnTo>
                  <a:lnTo>
                    <a:pt x="2831" y="15508"/>
                  </a:lnTo>
                  <a:lnTo>
                    <a:pt x="1754" y="14390"/>
                  </a:lnTo>
                  <a:lnTo>
                    <a:pt x="944" y="13708"/>
                  </a:lnTo>
                  <a:lnTo>
                    <a:pt x="0" y="13154"/>
                  </a:lnTo>
                  <a:lnTo>
                    <a:pt x="0" y="11492"/>
                  </a:lnTo>
                  <a:lnTo>
                    <a:pt x="0" y="10108"/>
                  </a:lnTo>
                  <a:lnTo>
                    <a:pt x="629" y="9415"/>
                  </a:lnTo>
                  <a:lnTo>
                    <a:pt x="524" y="8723"/>
                  </a:lnTo>
                  <a:lnTo>
                    <a:pt x="0" y="7615"/>
                  </a:lnTo>
                  <a:lnTo>
                    <a:pt x="734" y="6092"/>
                  </a:lnTo>
                  <a:lnTo>
                    <a:pt x="524" y="4708"/>
                  </a:lnTo>
                  <a:lnTo>
                    <a:pt x="0" y="3462"/>
                  </a:lnTo>
                  <a:lnTo>
                    <a:pt x="629" y="2492"/>
                  </a:lnTo>
                  <a:lnTo>
                    <a:pt x="839" y="1523"/>
                  </a:lnTo>
                  <a:lnTo>
                    <a:pt x="5557" y="4846"/>
                  </a:lnTo>
                  <a:lnTo>
                    <a:pt x="5662" y="6369"/>
                  </a:lnTo>
                  <a:lnTo>
                    <a:pt x="5348" y="7200"/>
                  </a:lnTo>
                  <a:lnTo>
                    <a:pt x="5243" y="8169"/>
                  </a:lnTo>
                  <a:lnTo>
                    <a:pt x="5348" y="9138"/>
                  </a:lnTo>
                  <a:lnTo>
                    <a:pt x="5872" y="8585"/>
                  </a:lnTo>
                  <a:lnTo>
                    <a:pt x="6082" y="7477"/>
                  </a:lnTo>
                  <a:lnTo>
                    <a:pt x="6396" y="6785"/>
                  </a:lnTo>
                  <a:lnTo>
                    <a:pt x="7235" y="6092"/>
                  </a:lnTo>
                  <a:lnTo>
                    <a:pt x="6711" y="5262"/>
                  </a:lnTo>
                  <a:lnTo>
                    <a:pt x="6711" y="4431"/>
                  </a:lnTo>
                  <a:lnTo>
                    <a:pt x="6501" y="3600"/>
                  </a:lnTo>
                  <a:lnTo>
                    <a:pt x="6816" y="2631"/>
                  </a:lnTo>
                  <a:lnTo>
                    <a:pt x="6711" y="1939"/>
                  </a:lnTo>
                  <a:lnTo>
                    <a:pt x="6501" y="692"/>
                  </a:lnTo>
                  <a:cubicBezTo>
                    <a:pt x="6501" y="692"/>
                    <a:pt x="6711" y="0"/>
                    <a:pt x="6711" y="0"/>
                  </a:cubicBezTo>
                  <a:close/>
                  <a:moveTo>
                    <a:pt x="6711"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9" name="Virginia"/>
            <p:cNvSpPr>
              <a:spLocks/>
            </p:cNvSpPr>
            <p:nvPr/>
          </p:nvSpPr>
          <p:spPr bwMode="auto">
            <a:xfrm>
              <a:off x="8177755" y="3365439"/>
              <a:ext cx="836119" cy="426099"/>
            </a:xfrm>
            <a:custGeom>
              <a:avLst/>
              <a:gdLst/>
              <a:ahLst/>
              <a:cxnLst/>
              <a:rect l="0" t="0" r="r" b="b"/>
              <a:pathLst>
                <a:path w="21600" h="21600">
                  <a:moveTo>
                    <a:pt x="10284" y="6311"/>
                  </a:moveTo>
                  <a:lnTo>
                    <a:pt x="9900" y="7448"/>
                  </a:lnTo>
                  <a:lnTo>
                    <a:pt x="9613" y="9186"/>
                  </a:lnTo>
                  <a:lnTo>
                    <a:pt x="9110" y="11048"/>
                  </a:lnTo>
                  <a:lnTo>
                    <a:pt x="8752" y="12306"/>
                  </a:lnTo>
                  <a:lnTo>
                    <a:pt x="8752" y="13534"/>
                  </a:lnTo>
                  <a:lnTo>
                    <a:pt x="8465" y="13534"/>
                  </a:lnTo>
                  <a:lnTo>
                    <a:pt x="8106" y="13534"/>
                  </a:lnTo>
                  <a:lnTo>
                    <a:pt x="8106" y="14524"/>
                  </a:lnTo>
                  <a:lnTo>
                    <a:pt x="7388" y="14524"/>
                  </a:lnTo>
                  <a:lnTo>
                    <a:pt x="7388" y="15155"/>
                  </a:lnTo>
                  <a:lnTo>
                    <a:pt x="6670" y="15766"/>
                  </a:lnTo>
                  <a:lnTo>
                    <a:pt x="6096" y="15155"/>
                  </a:lnTo>
                  <a:lnTo>
                    <a:pt x="5593" y="15766"/>
                  </a:lnTo>
                  <a:lnTo>
                    <a:pt x="4488" y="15766"/>
                  </a:lnTo>
                  <a:lnTo>
                    <a:pt x="4158" y="15021"/>
                  </a:lnTo>
                  <a:lnTo>
                    <a:pt x="3015" y="16518"/>
                  </a:lnTo>
                  <a:lnTo>
                    <a:pt x="2292" y="16987"/>
                  </a:lnTo>
                  <a:lnTo>
                    <a:pt x="1861" y="18745"/>
                  </a:lnTo>
                  <a:lnTo>
                    <a:pt x="1215" y="19738"/>
                  </a:lnTo>
                  <a:lnTo>
                    <a:pt x="0" y="21600"/>
                  </a:lnTo>
                  <a:lnTo>
                    <a:pt x="1816" y="21337"/>
                  </a:lnTo>
                  <a:lnTo>
                    <a:pt x="4488" y="20571"/>
                  </a:lnTo>
                  <a:lnTo>
                    <a:pt x="7102" y="20172"/>
                  </a:lnTo>
                  <a:lnTo>
                    <a:pt x="21313" y="15766"/>
                  </a:lnTo>
                  <a:lnTo>
                    <a:pt x="21600" y="15155"/>
                  </a:lnTo>
                  <a:lnTo>
                    <a:pt x="21313" y="13630"/>
                  </a:lnTo>
                  <a:lnTo>
                    <a:pt x="20667" y="13534"/>
                  </a:lnTo>
                  <a:lnTo>
                    <a:pt x="19949" y="13534"/>
                  </a:lnTo>
                  <a:lnTo>
                    <a:pt x="19590" y="13534"/>
                  </a:lnTo>
                  <a:lnTo>
                    <a:pt x="20236" y="12306"/>
                  </a:lnTo>
                  <a:lnTo>
                    <a:pt x="19662" y="11793"/>
                  </a:lnTo>
                  <a:lnTo>
                    <a:pt x="19806" y="10924"/>
                  </a:lnTo>
                  <a:lnTo>
                    <a:pt x="20308" y="10428"/>
                  </a:lnTo>
                  <a:lnTo>
                    <a:pt x="19877" y="9559"/>
                  </a:lnTo>
                  <a:lnTo>
                    <a:pt x="19877" y="7945"/>
                  </a:lnTo>
                  <a:lnTo>
                    <a:pt x="19519" y="6311"/>
                  </a:lnTo>
                  <a:lnTo>
                    <a:pt x="18585" y="6311"/>
                  </a:lnTo>
                  <a:lnTo>
                    <a:pt x="17796" y="6311"/>
                  </a:lnTo>
                  <a:lnTo>
                    <a:pt x="17437" y="5586"/>
                  </a:lnTo>
                  <a:lnTo>
                    <a:pt x="16647" y="6311"/>
                  </a:lnTo>
                  <a:lnTo>
                    <a:pt x="16690" y="4731"/>
                  </a:lnTo>
                  <a:lnTo>
                    <a:pt x="16719" y="3644"/>
                  </a:lnTo>
                  <a:lnTo>
                    <a:pt x="16073" y="2883"/>
                  </a:lnTo>
                  <a:lnTo>
                    <a:pt x="16001" y="1859"/>
                  </a:lnTo>
                  <a:lnTo>
                    <a:pt x="15642" y="467"/>
                  </a:lnTo>
                  <a:lnTo>
                    <a:pt x="15068" y="0"/>
                  </a:lnTo>
                  <a:lnTo>
                    <a:pt x="14781" y="1241"/>
                  </a:lnTo>
                  <a:lnTo>
                    <a:pt x="13345" y="0"/>
                  </a:lnTo>
                  <a:lnTo>
                    <a:pt x="13058" y="1117"/>
                  </a:lnTo>
                  <a:lnTo>
                    <a:pt x="12900" y="1769"/>
                  </a:lnTo>
                  <a:lnTo>
                    <a:pt x="12484" y="2883"/>
                  </a:lnTo>
                  <a:lnTo>
                    <a:pt x="12125" y="4221"/>
                  </a:lnTo>
                  <a:lnTo>
                    <a:pt x="11695" y="4345"/>
                  </a:lnTo>
                  <a:lnTo>
                    <a:pt x="11013" y="6311"/>
                  </a:lnTo>
                  <a:lnTo>
                    <a:pt x="10690" y="6828"/>
                  </a:lnTo>
                  <a:cubicBezTo>
                    <a:pt x="10690" y="6828"/>
                    <a:pt x="10284" y="6311"/>
                    <a:pt x="10284" y="6311"/>
                  </a:cubicBezTo>
                  <a:close/>
                  <a:moveTo>
                    <a:pt x="10284" y="6311"/>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2" name="Vermont"/>
            <p:cNvSpPr>
              <a:spLocks/>
            </p:cNvSpPr>
            <p:nvPr/>
          </p:nvSpPr>
          <p:spPr bwMode="auto">
            <a:xfrm>
              <a:off x="9052464" y="2555047"/>
              <a:ext cx="176336" cy="315689"/>
            </a:xfrm>
            <a:custGeom>
              <a:avLst/>
              <a:gdLst/>
              <a:ahLst/>
              <a:cxnLst/>
              <a:rect l="0" t="0" r="r" b="b"/>
              <a:pathLst>
                <a:path w="21600" h="21600">
                  <a:moveTo>
                    <a:pt x="21600" y="0"/>
                  </a:moveTo>
                  <a:lnTo>
                    <a:pt x="21600" y="2344"/>
                  </a:lnTo>
                  <a:lnTo>
                    <a:pt x="21600" y="4353"/>
                  </a:lnTo>
                  <a:lnTo>
                    <a:pt x="20409" y="5497"/>
                  </a:lnTo>
                  <a:lnTo>
                    <a:pt x="18113" y="6530"/>
                  </a:lnTo>
                  <a:lnTo>
                    <a:pt x="18113" y="8707"/>
                  </a:lnTo>
                  <a:lnTo>
                    <a:pt x="18113" y="11721"/>
                  </a:lnTo>
                  <a:lnTo>
                    <a:pt x="16523" y="14353"/>
                  </a:lnTo>
                  <a:lnTo>
                    <a:pt x="16542" y="19134"/>
                  </a:lnTo>
                  <a:lnTo>
                    <a:pt x="17408" y="20344"/>
                  </a:lnTo>
                  <a:lnTo>
                    <a:pt x="9694" y="21600"/>
                  </a:lnTo>
                  <a:lnTo>
                    <a:pt x="6665" y="19791"/>
                  </a:lnTo>
                  <a:lnTo>
                    <a:pt x="5103" y="19204"/>
                  </a:lnTo>
                  <a:lnTo>
                    <a:pt x="6550" y="17430"/>
                  </a:lnTo>
                  <a:lnTo>
                    <a:pt x="6607" y="16354"/>
                  </a:lnTo>
                  <a:lnTo>
                    <a:pt x="5649" y="14897"/>
                  </a:lnTo>
                  <a:lnTo>
                    <a:pt x="5103" y="14065"/>
                  </a:lnTo>
                  <a:lnTo>
                    <a:pt x="3232" y="14065"/>
                  </a:lnTo>
                  <a:lnTo>
                    <a:pt x="3232" y="12726"/>
                  </a:lnTo>
                  <a:lnTo>
                    <a:pt x="511" y="11051"/>
                  </a:lnTo>
                  <a:lnTo>
                    <a:pt x="1771" y="10017"/>
                  </a:lnTo>
                  <a:lnTo>
                    <a:pt x="2551" y="9377"/>
                  </a:lnTo>
                  <a:lnTo>
                    <a:pt x="2011" y="7242"/>
                  </a:lnTo>
                  <a:lnTo>
                    <a:pt x="511" y="5497"/>
                  </a:lnTo>
                  <a:lnTo>
                    <a:pt x="0" y="3181"/>
                  </a:lnTo>
                  <a:lnTo>
                    <a:pt x="5103" y="2511"/>
                  </a:lnTo>
                  <a:lnTo>
                    <a:pt x="9694" y="1172"/>
                  </a:lnTo>
                  <a:lnTo>
                    <a:pt x="16157" y="0"/>
                  </a:lnTo>
                  <a:cubicBezTo>
                    <a:pt x="16157" y="0"/>
                    <a:pt x="21600" y="0"/>
                    <a:pt x="21600" y="0"/>
                  </a:cubicBezTo>
                  <a:close/>
                  <a:moveTo>
                    <a:pt x="21600"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0" name="Utah"/>
            <p:cNvSpPr>
              <a:spLocks/>
            </p:cNvSpPr>
            <p:nvPr/>
          </p:nvSpPr>
          <p:spPr bwMode="auto">
            <a:xfrm>
              <a:off x="4884734" y="2988113"/>
              <a:ext cx="627625" cy="711773"/>
            </a:xfrm>
            <a:custGeom>
              <a:avLst/>
              <a:gdLst/>
              <a:ahLst/>
              <a:cxnLst/>
              <a:rect l="0" t="0" r="r" b="b"/>
              <a:pathLst>
                <a:path w="21600" h="21600">
                  <a:moveTo>
                    <a:pt x="21600" y="6280"/>
                  </a:moveTo>
                  <a:lnTo>
                    <a:pt x="18403" y="21600"/>
                  </a:lnTo>
                  <a:lnTo>
                    <a:pt x="0" y="18909"/>
                  </a:lnTo>
                  <a:lnTo>
                    <a:pt x="5571" y="0"/>
                  </a:lnTo>
                  <a:lnTo>
                    <a:pt x="15718" y="1614"/>
                  </a:lnTo>
                  <a:lnTo>
                    <a:pt x="14877" y="5253"/>
                  </a:lnTo>
                  <a:cubicBezTo>
                    <a:pt x="14877" y="5253"/>
                    <a:pt x="21600" y="6280"/>
                    <a:pt x="21600" y="6280"/>
                  </a:cubicBezTo>
                  <a:close/>
                  <a:moveTo>
                    <a:pt x="21600" y="628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6" name="Texas"/>
            <p:cNvSpPr>
              <a:spLocks/>
            </p:cNvSpPr>
            <p:nvPr/>
          </p:nvSpPr>
          <p:spPr bwMode="auto">
            <a:xfrm>
              <a:off x="5583644" y="3837095"/>
              <a:ext cx="1506621" cy="1346901"/>
            </a:xfrm>
            <a:custGeom>
              <a:avLst/>
              <a:gdLst/>
              <a:ahLst/>
              <a:cxnLst/>
              <a:rect l="0" t="0" r="r" b="b"/>
              <a:pathLst>
                <a:path w="21600" h="21600">
                  <a:moveTo>
                    <a:pt x="15150" y="21255"/>
                  </a:moveTo>
                  <a:lnTo>
                    <a:pt x="14900" y="21255"/>
                  </a:lnTo>
                  <a:lnTo>
                    <a:pt x="14600" y="21600"/>
                  </a:lnTo>
                  <a:lnTo>
                    <a:pt x="14100" y="21008"/>
                  </a:lnTo>
                  <a:lnTo>
                    <a:pt x="13500" y="21008"/>
                  </a:lnTo>
                  <a:lnTo>
                    <a:pt x="13050" y="21008"/>
                  </a:lnTo>
                  <a:lnTo>
                    <a:pt x="12700" y="20712"/>
                  </a:lnTo>
                  <a:lnTo>
                    <a:pt x="12250" y="20416"/>
                  </a:lnTo>
                  <a:lnTo>
                    <a:pt x="11750" y="20416"/>
                  </a:lnTo>
                  <a:lnTo>
                    <a:pt x="11750" y="20071"/>
                  </a:lnTo>
                  <a:lnTo>
                    <a:pt x="11750" y="19627"/>
                  </a:lnTo>
                  <a:lnTo>
                    <a:pt x="11300" y="19233"/>
                  </a:lnTo>
                  <a:lnTo>
                    <a:pt x="11300" y="18542"/>
                  </a:lnTo>
                  <a:lnTo>
                    <a:pt x="11100" y="18000"/>
                  </a:lnTo>
                  <a:lnTo>
                    <a:pt x="10800" y="17606"/>
                  </a:lnTo>
                  <a:lnTo>
                    <a:pt x="10500" y="17211"/>
                  </a:lnTo>
                  <a:lnTo>
                    <a:pt x="10500" y="16866"/>
                  </a:lnTo>
                  <a:lnTo>
                    <a:pt x="9950" y="16471"/>
                  </a:lnTo>
                  <a:lnTo>
                    <a:pt x="9950" y="15929"/>
                  </a:lnTo>
                  <a:lnTo>
                    <a:pt x="9550" y="15238"/>
                  </a:lnTo>
                  <a:lnTo>
                    <a:pt x="9300" y="14745"/>
                  </a:lnTo>
                  <a:lnTo>
                    <a:pt x="8850" y="14203"/>
                  </a:lnTo>
                  <a:lnTo>
                    <a:pt x="8450" y="13710"/>
                  </a:lnTo>
                  <a:lnTo>
                    <a:pt x="8200" y="13463"/>
                  </a:lnTo>
                  <a:lnTo>
                    <a:pt x="7450" y="13266"/>
                  </a:lnTo>
                  <a:lnTo>
                    <a:pt x="6900" y="13266"/>
                  </a:lnTo>
                  <a:lnTo>
                    <a:pt x="6550" y="13266"/>
                  </a:lnTo>
                  <a:lnTo>
                    <a:pt x="6150" y="13266"/>
                  </a:lnTo>
                  <a:lnTo>
                    <a:pt x="5700" y="13907"/>
                  </a:lnTo>
                  <a:lnTo>
                    <a:pt x="5450" y="14400"/>
                  </a:lnTo>
                  <a:lnTo>
                    <a:pt x="5050" y="14548"/>
                  </a:lnTo>
                  <a:lnTo>
                    <a:pt x="4500" y="14252"/>
                  </a:lnTo>
                  <a:lnTo>
                    <a:pt x="4000" y="14055"/>
                  </a:lnTo>
                  <a:lnTo>
                    <a:pt x="3650" y="13611"/>
                  </a:lnTo>
                  <a:lnTo>
                    <a:pt x="3375" y="13266"/>
                  </a:lnTo>
                  <a:lnTo>
                    <a:pt x="2950" y="13019"/>
                  </a:lnTo>
                  <a:lnTo>
                    <a:pt x="2950" y="12427"/>
                  </a:lnTo>
                  <a:lnTo>
                    <a:pt x="2950" y="11984"/>
                  </a:lnTo>
                  <a:lnTo>
                    <a:pt x="2450" y="11342"/>
                  </a:lnTo>
                  <a:lnTo>
                    <a:pt x="2150" y="10899"/>
                  </a:lnTo>
                  <a:lnTo>
                    <a:pt x="1650" y="10504"/>
                  </a:lnTo>
                  <a:lnTo>
                    <a:pt x="1375" y="10159"/>
                  </a:lnTo>
                  <a:lnTo>
                    <a:pt x="1375" y="9764"/>
                  </a:lnTo>
                  <a:lnTo>
                    <a:pt x="1000" y="9567"/>
                  </a:lnTo>
                  <a:lnTo>
                    <a:pt x="1000" y="9271"/>
                  </a:lnTo>
                  <a:lnTo>
                    <a:pt x="650" y="9271"/>
                  </a:lnTo>
                  <a:lnTo>
                    <a:pt x="400" y="8778"/>
                  </a:lnTo>
                  <a:lnTo>
                    <a:pt x="0" y="8433"/>
                  </a:lnTo>
                  <a:lnTo>
                    <a:pt x="0" y="8088"/>
                  </a:lnTo>
                  <a:lnTo>
                    <a:pt x="5850" y="8778"/>
                  </a:lnTo>
                  <a:lnTo>
                    <a:pt x="6784" y="0"/>
                  </a:lnTo>
                  <a:lnTo>
                    <a:pt x="11450" y="296"/>
                  </a:lnTo>
                  <a:lnTo>
                    <a:pt x="11250" y="3847"/>
                  </a:lnTo>
                  <a:lnTo>
                    <a:pt x="11550" y="4340"/>
                  </a:lnTo>
                  <a:lnTo>
                    <a:pt x="11759" y="4400"/>
                  </a:lnTo>
                  <a:lnTo>
                    <a:pt x="12350" y="4340"/>
                  </a:lnTo>
                  <a:lnTo>
                    <a:pt x="12650" y="4734"/>
                  </a:lnTo>
                  <a:lnTo>
                    <a:pt x="12969" y="4869"/>
                  </a:lnTo>
                  <a:lnTo>
                    <a:pt x="13350" y="5030"/>
                  </a:lnTo>
                  <a:lnTo>
                    <a:pt x="13750" y="5277"/>
                  </a:lnTo>
                  <a:lnTo>
                    <a:pt x="14150" y="5129"/>
                  </a:lnTo>
                  <a:lnTo>
                    <a:pt x="14400" y="5425"/>
                  </a:lnTo>
                  <a:lnTo>
                    <a:pt x="14545" y="5506"/>
                  </a:lnTo>
                  <a:lnTo>
                    <a:pt x="14750" y="5622"/>
                  </a:lnTo>
                  <a:lnTo>
                    <a:pt x="14950" y="5326"/>
                  </a:lnTo>
                  <a:lnTo>
                    <a:pt x="15191" y="5493"/>
                  </a:lnTo>
                  <a:lnTo>
                    <a:pt x="15450" y="5671"/>
                  </a:lnTo>
                  <a:lnTo>
                    <a:pt x="15750" y="5523"/>
                  </a:lnTo>
                  <a:lnTo>
                    <a:pt x="15750" y="5868"/>
                  </a:lnTo>
                  <a:lnTo>
                    <a:pt x="16050" y="5573"/>
                  </a:lnTo>
                  <a:lnTo>
                    <a:pt x="16150" y="5474"/>
                  </a:lnTo>
                  <a:lnTo>
                    <a:pt x="16457" y="5721"/>
                  </a:lnTo>
                  <a:lnTo>
                    <a:pt x="16950" y="5868"/>
                  </a:lnTo>
                  <a:lnTo>
                    <a:pt x="17350" y="5770"/>
                  </a:lnTo>
                  <a:lnTo>
                    <a:pt x="17750" y="5671"/>
                  </a:lnTo>
                  <a:lnTo>
                    <a:pt x="18400" y="5474"/>
                  </a:lnTo>
                  <a:lnTo>
                    <a:pt x="18700" y="5622"/>
                  </a:lnTo>
                  <a:lnTo>
                    <a:pt x="18900" y="5573"/>
                  </a:lnTo>
                  <a:lnTo>
                    <a:pt x="19450" y="5770"/>
                  </a:lnTo>
                  <a:lnTo>
                    <a:pt x="20000" y="6066"/>
                  </a:lnTo>
                  <a:lnTo>
                    <a:pt x="20500" y="6312"/>
                  </a:lnTo>
                  <a:lnTo>
                    <a:pt x="20750" y="6805"/>
                  </a:lnTo>
                  <a:lnTo>
                    <a:pt x="20750" y="9173"/>
                  </a:lnTo>
                  <a:lnTo>
                    <a:pt x="21100" y="9764"/>
                  </a:lnTo>
                  <a:lnTo>
                    <a:pt x="21100" y="10110"/>
                  </a:lnTo>
                  <a:lnTo>
                    <a:pt x="21300" y="10405"/>
                  </a:lnTo>
                  <a:lnTo>
                    <a:pt x="21300" y="10800"/>
                  </a:lnTo>
                  <a:lnTo>
                    <a:pt x="21600" y="11342"/>
                  </a:lnTo>
                  <a:lnTo>
                    <a:pt x="21400" y="11688"/>
                  </a:lnTo>
                  <a:lnTo>
                    <a:pt x="21150" y="12279"/>
                  </a:lnTo>
                  <a:lnTo>
                    <a:pt x="21250" y="12773"/>
                  </a:lnTo>
                  <a:lnTo>
                    <a:pt x="21150" y="13216"/>
                  </a:lnTo>
                  <a:lnTo>
                    <a:pt x="21000" y="13660"/>
                  </a:lnTo>
                  <a:lnTo>
                    <a:pt x="20500" y="13956"/>
                  </a:lnTo>
                  <a:lnTo>
                    <a:pt x="20050" y="14203"/>
                  </a:lnTo>
                  <a:lnTo>
                    <a:pt x="19600" y="14055"/>
                  </a:lnTo>
                  <a:lnTo>
                    <a:pt x="19450" y="13808"/>
                  </a:lnTo>
                  <a:lnTo>
                    <a:pt x="19150" y="14055"/>
                  </a:lnTo>
                  <a:lnTo>
                    <a:pt x="19350" y="14548"/>
                  </a:lnTo>
                  <a:lnTo>
                    <a:pt x="19000" y="14745"/>
                  </a:lnTo>
                  <a:lnTo>
                    <a:pt x="18750" y="15041"/>
                  </a:lnTo>
                  <a:lnTo>
                    <a:pt x="18027" y="15732"/>
                  </a:lnTo>
                  <a:lnTo>
                    <a:pt x="17450" y="15830"/>
                  </a:lnTo>
                  <a:lnTo>
                    <a:pt x="17200" y="15978"/>
                  </a:lnTo>
                  <a:lnTo>
                    <a:pt x="16850" y="15929"/>
                  </a:lnTo>
                  <a:lnTo>
                    <a:pt x="16457" y="16126"/>
                  </a:lnTo>
                  <a:lnTo>
                    <a:pt x="16457" y="16422"/>
                  </a:lnTo>
                  <a:lnTo>
                    <a:pt x="16000" y="16570"/>
                  </a:lnTo>
                  <a:lnTo>
                    <a:pt x="16000" y="16767"/>
                  </a:lnTo>
                  <a:lnTo>
                    <a:pt x="15650" y="16915"/>
                  </a:lnTo>
                  <a:lnTo>
                    <a:pt x="15550" y="17408"/>
                  </a:lnTo>
                  <a:lnTo>
                    <a:pt x="15200" y="17556"/>
                  </a:lnTo>
                  <a:lnTo>
                    <a:pt x="14850" y="17606"/>
                  </a:lnTo>
                  <a:lnTo>
                    <a:pt x="15000" y="18099"/>
                  </a:lnTo>
                  <a:lnTo>
                    <a:pt x="14800" y="18542"/>
                  </a:lnTo>
                  <a:lnTo>
                    <a:pt x="14750" y="18838"/>
                  </a:lnTo>
                  <a:lnTo>
                    <a:pt x="14650" y="19282"/>
                  </a:lnTo>
                  <a:lnTo>
                    <a:pt x="14750" y="19923"/>
                  </a:lnTo>
                  <a:lnTo>
                    <a:pt x="14950" y="20564"/>
                  </a:lnTo>
                  <a:cubicBezTo>
                    <a:pt x="14950" y="20564"/>
                    <a:pt x="15150" y="21255"/>
                    <a:pt x="15150" y="21255"/>
                  </a:cubicBezTo>
                  <a:close/>
                  <a:moveTo>
                    <a:pt x="15150" y="21255"/>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9" name="Tennessee"/>
            <p:cNvSpPr>
              <a:spLocks/>
            </p:cNvSpPr>
            <p:nvPr/>
          </p:nvSpPr>
          <p:spPr bwMode="auto">
            <a:xfrm>
              <a:off x="7470270" y="3772779"/>
              <a:ext cx="881140" cy="258339"/>
            </a:xfrm>
            <a:custGeom>
              <a:avLst/>
              <a:gdLst/>
              <a:ahLst/>
              <a:cxnLst/>
              <a:rect l="0" t="0" r="r" b="b"/>
              <a:pathLst>
                <a:path w="21600" h="21600">
                  <a:moveTo>
                    <a:pt x="20558" y="507"/>
                  </a:moveTo>
                  <a:cubicBezTo>
                    <a:pt x="21113" y="267"/>
                    <a:pt x="21530" y="245"/>
                    <a:pt x="21600" y="0"/>
                  </a:cubicBezTo>
                  <a:lnTo>
                    <a:pt x="21548" y="3612"/>
                  </a:lnTo>
                  <a:lnTo>
                    <a:pt x="20864" y="5668"/>
                  </a:lnTo>
                  <a:lnTo>
                    <a:pt x="19837" y="7210"/>
                  </a:lnTo>
                  <a:lnTo>
                    <a:pt x="18982" y="7210"/>
                  </a:lnTo>
                  <a:lnTo>
                    <a:pt x="18640" y="9008"/>
                  </a:lnTo>
                  <a:lnTo>
                    <a:pt x="18298" y="10550"/>
                  </a:lnTo>
                  <a:lnTo>
                    <a:pt x="17032" y="11860"/>
                  </a:lnTo>
                  <a:lnTo>
                    <a:pt x="16332" y="13120"/>
                  </a:lnTo>
                  <a:lnTo>
                    <a:pt x="15733" y="14148"/>
                  </a:lnTo>
                  <a:lnTo>
                    <a:pt x="15733" y="16204"/>
                  </a:lnTo>
                  <a:lnTo>
                    <a:pt x="15220" y="16204"/>
                  </a:lnTo>
                  <a:lnTo>
                    <a:pt x="15220" y="18645"/>
                  </a:lnTo>
                  <a:lnTo>
                    <a:pt x="12313" y="20058"/>
                  </a:lnTo>
                  <a:lnTo>
                    <a:pt x="5387" y="21600"/>
                  </a:lnTo>
                  <a:lnTo>
                    <a:pt x="0" y="21600"/>
                  </a:lnTo>
                  <a:lnTo>
                    <a:pt x="0" y="18645"/>
                  </a:lnTo>
                  <a:lnTo>
                    <a:pt x="427" y="16461"/>
                  </a:lnTo>
                  <a:lnTo>
                    <a:pt x="684" y="13891"/>
                  </a:lnTo>
                  <a:lnTo>
                    <a:pt x="1026" y="11578"/>
                  </a:lnTo>
                  <a:lnTo>
                    <a:pt x="1197" y="9008"/>
                  </a:lnTo>
                  <a:lnTo>
                    <a:pt x="1454" y="5668"/>
                  </a:lnTo>
                  <a:lnTo>
                    <a:pt x="2394" y="5668"/>
                  </a:lnTo>
                  <a:lnTo>
                    <a:pt x="5083" y="5668"/>
                  </a:lnTo>
                  <a:lnTo>
                    <a:pt x="5387" y="3612"/>
                  </a:lnTo>
                  <a:cubicBezTo>
                    <a:pt x="5387" y="3612"/>
                    <a:pt x="17045" y="2032"/>
                    <a:pt x="20558" y="507"/>
                  </a:cubicBezTo>
                  <a:close/>
                  <a:moveTo>
                    <a:pt x="20558" y="507"/>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0" name="South Dakota"/>
            <p:cNvSpPr>
              <a:spLocks/>
            </p:cNvSpPr>
            <p:nvPr/>
          </p:nvSpPr>
          <p:spPr bwMode="auto">
            <a:xfrm>
              <a:off x="6051012" y="2649378"/>
              <a:ext cx="756259" cy="480232"/>
            </a:xfrm>
            <a:custGeom>
              <a:avLst/>
              <a:gdLst/>
              <a:ahLst/>
              <a:cxnLst/>
              <a:rect l="0" t="0" r="r" b="b"/>
              <a:pathLst>
                <a:path w="21600" h="21600">
                  <a:moveTo>
                    <a:pt x="1325" y="0"/>
                  </a:moveTo>
                  <a:lnTo>
                    <a:pt x="0" y="16903"/>
                  </a:lnTo>
                  <a:lnTo>
                    <a:pt x="15623" y="18144"/>
                  </a:lnTo>
                  <a:lnTo>
                    <a:pt x="16420" y="18836"/>
                  </a:lnTo>
                  <a:lnTo>
                    <a:pt x="17316" y="18698"/>
                  </a:lnTo>
                  <a:lnTo>
                    <a:pt x="17615" y="19941"/>
                  </a:lnTo>
                  <a:lnTo>
                    <a:pt x="19010" y="19665"/>
                  </a:lnTo>
                  <a:lnTo>
                    <a:pt x="21202" y="21600"/>
                  </a:lnTo>
                  <a:lnTo>
                    <a:pt x="21202" y="20080"/>
                  </a:lnTo>
                  <a:lnTo>
                    <a:pt x="21338" y="19419"/>
                  </a:lnTo>
                  <a:lnTo>
                    <a:pt x="21441" y="18919"/>
                  </a:lnTo>
                  <a:lnTo>
                    <a:pt x="21600" y="18144"/>
                  </a:lnTo>
                  <a:lnTo>
                    <a:pt x="21600" y="16903"/>
                  </a:lnTo>
                  <a:lnTo>
                    <a:pt x="21600" y="16261"/>
                  </a:lnTo>
                  <a:lnTo>
                    <a:pt x="21600" y="15657"/>
                  </a:lnTo>
                  <a:lnTo>
                    <a:pt x="21600" y="13307"/>
                  </a:lnTo>
                  <a:lnTo>
                    <a:pt x="21600" y="11510"/>
                  </a:lnTo>
                  <a:lnTo>
                    <a:pt x="21600" y="10266"/>
                  </a:lnTo>
                  <a:lnTo>
                    <a:pt x="21600" y="8470"/>
                  </a:lnTo>
                  <a:lnTo>
                    <a:pt x="21600" y="6673"/>
                  </a:lnTo>
                  <a:lnTo>
                    <a:pt x="21600" y="5567"/>
                  </a:lnTo>
                  <a:lnTo>
                    <a:pt x="20703" y="3909"/>
                  </a:lnTo>
                  <a:lnTo>
                    <a:pt x="21600" y="2803"/>
                  </a:lnTo>
                  <a:lnTo>
                    <a:pt x="21600" y="1974"/>
                  </a:lnTo>
                  <a:cubicBezTo>
                    <a:pt x="21600" y="1974"/>
                    <a:pt x="1325" y="0"/>
                    <a:pt x="1325" y="0"/>
                  </a:cubicBezTo>
                  <a:close/>
                  <a:moveTo>
                    <a:pt x="1325"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7" name="South Carolina"/>
            <p:cNvSpPr>
              <a:spLocks/>
            </p:cNvSpPr>
            <p:nvPr/>
          </p:nvSpPr>
          <p:spPr bwMode="auto">
            <a:xfrm>
              <a:off x="8224921" y="3940002"/>
              <a:ext cx="555268" cy="378397"/>
            </a:xfrm>
            <a:custGeom>
              <a:avLst/>
              <a:gdLst/>
              <a:ahLst/>
              <a:cxnLst/>
              <a:rect l="0" t="0" r="r" b="b"/>
              <a:pathLst>
                <a:path w="21600" h="21600">
                  <a:moveTo>
                    <a:pt x="21600" y="6569"/>
                  </a:moveTo>
                  <a:lnTo>
                    <a:pt x="20736" y="7739"/>
                  </a:lnTo>
                  <a:lnTo>
                    <a:pt x="19764" y="8945"/>
                  </a:lnTo>
                  <a:lnTo>
                    <a:pt x="19764" y="10622"/>
                  </a:lnTo>
                  <a:lnTo>
                    <a:pt x="19764" y="12019"/>
                  </a:lnTo>
                  <a:lnTo>
                    <a:pt x="18576" y="12718"/>
                  </a:lnTo>
                  <a:lnTo>
                    <a:pt x="17820" y="13836"/>
                  </a:lnTo>
                  <a:lnTo>
                    <a:pt x="17064" y="15094"/>
                  </a:lnTo>
                  <a:lnTo>
                    <a:pt x="16200" y="15898"/>
                  </a:lnTo>
                  <a:lnTo>
                    <a:pt x="15228" y="17470"/>
                  </a:lnTo>
                  <a:lnTo>
                    <a:pt x="14472" y="17470"/>
                  </a:lnTo>
                  <a:lnTo>
                    <a:pt x="13824" y="18617"/>
                  </a:lnTo>
                  <a:lnTo>
                    <a:pt x="12960" y="20109"/>
                  </a:lnTo>
                  <a:lnTo>
                    <a:pt x="12312" y="21600"/>
                  </a:lnTo>
                  <a:lnTo>
                    <a:pt x="12045" y="21074"/>
                  </a:lnTo>
                  <a:lnTo>
                    <a:pt x="11358" y="19474"/>
                  </a:lnTo>
                  <a:lnTo>
                    <a:pt x="11124" y="18728"/>
                  </a:lnTo>
                  <a:lnTo>
                    <a:pt x="9939" y="16577"/>
                  </a:lnTo>
                  <a:lnTo>
                    <a:pt x="9140" y="15135"/>
                  </a:lnTo>
                  <a:lnTo>
                    <a:pt x="8100" y="14255"/>
                  </a:lnTo>
                  <a:lnTo>
                    <a:pt x="7344" y="13836"/>
                  </a:lnTo>
                  <a:lnTo>
                    <a:pt x="7344" y="12718"/>
                  </a:lnTo>
                  <a:lnTo>
                    <a:pt x="6696" y="11880"/>
                  </a:lnTo>
                  <a:lnTo>
                    <a:pt x="5400" y="10622"/>
                  </a:lnTo>
                  <a:lnTo>
                    <a:pt x="4320" y="9643"/>
                  </a:lnTo>
                  <a:lnTo>
                    <a:pt x="3348" y="7739"/>
                  </a:lnTo>
                  <a:lnTo>
                    <a:pt x="2700" y="7739"/>
                  </a:lnTo>
                  <a:lnTo>
                    <a:pt x="1794" y="6149"/>
                  </a:lnTo>
                  <a:lnTo>
                    <a:pt x="0" y="4142"/>
                  </a:lnTo>
                  <a:lnTo>
                    <a:pt x="648" y="3177"/>
                  </a:lnTo>
                  <a:lnTo>
                    <a:pt x="1794" y="1957"/>
                  </a:lnTo>
                  <a:lnTo>
                    <a:pt x="2808" y="699"/>
                  </a:lnTo>
                  <a:lnTo>
                    <a:pt x="3888" y="0"/>
                  </a:lnTo>
                  <a:lnTo>
                    <a:pt x="5400" y="0"/>
                  </a:lnTo>
                  <a:lnTo>
                    <a:pt x="8100" y="0"/>
                  </a:lnTo>
                  <a:lnTo>
                    <a:pt x="9936" y="0"/>
                  </a:lnTo>
                  <a:lnTo>
                    <a:pt x="10800" y="0"/>
                  </a:lnTo>
                  <a:lnTo>
                    <a:pt x="11340" y="1398"/>
                  </a:lnTo>
                  <a:lnTo>
                    <a:pt x="12960" y="1258"/>
                  </a:lnTo>
                  <a:lnTo>
                    <a:pt x="15444" y="978"/>
                  </a:lnTo>
                  <a:lnTo>
                    <a:pt x="16524" y="1537"/>
                  </a:lnTo>
                  <a:lnTo>
                    <a:pt x="17928" y="2376"/>
                  </a:lnTo>
                  <a:lnTo>
                    <a:pt x="19008" y="3177"/>
                  </a:lnTo>
                  <a:lnTo>
                    <a:pt x="19980" y="4142"/>
                  </a:lnTo>
                  <a:lnTo>
                    <a:pt x="20736" y="5195"/>
                  </a:lnTo>
                  <a:cubicBezTo>
                    <a:pt x="20736" y="5195"/>
                    <a:pt x="21600" y="6569"/>
                    <a:pt x="21600" y="6569"/>
                  </a:cubicBezTo>
                  <a:close/>
                  <a:moveTo>
                    <a:pt x="21600" y="656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9" name="Rhode Island"/>
            <p:cNvSpPr>
              <a:spLocks/>
            </p:cNvSpPr>
            <p:nvPr/>
          </p:nvSpPr>
          <p:spPr bwMode="auto">
            <a:xfrm>
              <a:off x="9292579" y="2919510"/>
              <a:ext cx="63781" cy="90580"/>
            </a:xfrm>
            <a:custGeom>
              <a:avLst/>
              <a:gdLst/>
              <a:ahLst/>
              <a:cxnLst/>
              <a:rect l="0" t="0" r="r" b="b"/>
              <a:pathLst>
                <a:path w="21600" h="21600">
                  <a:moveTo>
                    <a:pt x="21600" y="8757"/>
                  </a:moveTo>
                  <a:lnTo>
                    <a:pt x="21600" y="11676"/>
                  </a:lnTo>
                  <a:lnTo>
                    <a:pt x="16903" y="15179"/>
                  </a:lnTo>
                  <a:lnTo>
                    <a:pt x="16903" y="18297"/>
                  </a:lnTo>
                  <a:lnTo>
                    <a:pt x="4696" y="21600"/>
                  </a:lnTo>
                  <a:lnTo>
                    <a:pt x="0" y="3503"/>
                  </a:lnTo>
                  <a:lnTo>
                    <a:pt x="4696" y="0"/>
                  </a:lnTo>
                  <a:lnTo>
                    <a:pt x="10801" y="0"/>
                  </a:lnTo>
                  <a:lnTo>
                    <a:pt x="16903" y="3503"/>
                  </a:lnTo>
                  <a:cubicBezTo>
                    <a:pt x="16903" y="3503"/>
                    <a:pt x="21600" y="8757"/>
                    <a:pt x="21600" y="8757"/>
                  </a:cubicBezTo>
                  <a:close/>
                  <a:moveTo>
                    <a:pt x="21600" y="8757"/>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5" name="Pennsylvania"/>
            <p:cNvSpPr>
              <a:spLocks/>
            </p:cNvSpPr>
            <p:nvPr/>
          </p:nvSpPr>
          <p:spPr bwMode="auto">
            <a:xfrm>
              <a:off x="8409296" y="2996689"/>
              <a:ext cx="635129" cy="358567"/>
            </a:xfrm>
            <a:custGeom>
              <a:avLst/>
              <a:gdLst/>
              <a:ahLst/>
              <a:cxnLst/>
              <a:rect l="0" t="0" r="r" b="b"/>
              <a:pathLst>
                <a:path w="21600" h="21600">
                  <a:moveTo>
                    <a:pt x="2606" y="3046"/>
                  </a:moveTo>
                  <a:lnTo>
                    <a:pt x="0" y="6437"/>
                  </a:lnTo>
                  <a:lnTo>
                    <a:pt x="945" y="15579"/>
                  </a:lnTo>
                  <a:lnTo>
                    <a:pt x="378" y="16316"/>
                  </a:lnTo>
                  <a:lnTo>
                    <a:pt x="1134" y="18528"/>
                  </a:lnTo>
                  <a:lnTo>
                    <a:pt x="1134" y="21600"/>
                  </a:lnTo>
                  <a:lnTo>
                    <a:pt x="2048" y="21429"/>
                  </a:lnTo>
                  <a:lnTo>
                    <a:pt x="4702" y="20756"/>
                  </a:lnTo>
                  <a:lnTo>
                    <a:pt x="5346" y="20592"/>
                  </a:lnTo>
                  <a:lnTo>
                    <a:pt x="9882" y="19560"/>
                  </a:lnTo>
                  <a:lnTo>
                    <a:pt x="14983" y="18219"/>
                  </a:lnTo>
                  <a:lnTo>
                    <a:pt x="18144" y="17496"/>
                  </a:lnTo>
                  <a:lnTo>
                    <a:pt x="18765" y="16316"/>
                  </a:lnTo>
                  <a:lnTo>
                    <a:pt x="19852" y="16316"/>
                  </a:lnTo>
                  <a:lnTo>
                    <a:pt x="20324" y="15137"/>
                  </a:lnTo>
                  <a:lnTo>
                    <a:pt x="20750" y="14104"/>
                  </a:lnTo>
                  <a:lnTo>
                    <a:pt x="21600" y="13367"/>
                  </a:lnTo>
                  <a:lnTo>
                    <a:pt x="21222" y="12323"/>
                  </a:lnTo>
                  <a:lnTo>
                    <a:pt x="20324" y="11384"/>
                  </a:lnTo>
                  <a:lnTo>
                    <a:pt x="19852" y="10335"/>
                  </a:lnTo>
                  <a:lnTo>
                    <a:pt x="19987" y="8181"/>
                  </a:lnTo>
                  <a:lnTo>
                    <a:pt x="20324" y="6437"/>
                  </a:lnTo>
                  <a:lnTo>
                    <a:pt x="20324" y="4520"/>
                  </a:lnTo>
                  <a:lnTo>
                    <a:pt x="19852" y="3636"/>
                  </a:lnTo>
                  <a:lnTo>
                    <a:pt x="18765" y="2014"/>
                  </a:lnTo>
                  <a:lnTo>
                    <a:pt x="18387" y="0"/>
                  </a:lnTo>
                  <a:lnTo>
                    <a:pt x="16875" y="0"/>
                  </a:lnTo>
                  <a:lnTo>
                    <a:pt x="2996" y="4871"/>
                  </a:lnTo>
                  <a:cubicBezTo>
                    <a:pt x="2996" y="4871"/>
                    <a:pt x="2606" y="3046"/>
                    <a:pt x="2606" y="3046"/>
                  </a:cubicBezTo>
                  <a:close/>
                  <a:moveTo>
                    <a:pt x="2606" y="304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6" name="Oregon"/>
            <p:cNvSpPr>
              <a:spLocks/>
            </p:cNvSpPr>
            <p:nvPr/>
          </p:nvSpPr>
          <p:spPr bwMode="auto">
            <a:xfrm>
              <a:off x="4040041" y="2272053"/>
              <a:ext cx="865061" cy="669966"/>
            </a:xfrm>
            <a:custGeom>
              <a:avLst/>
              <a:gdLst/>
              <a:ahLst/>
              <a:cxnLst/>
              <a:rect l="0" t="0" r="r" b="b"/>
              <a:pathLst>
                <a:path w="21600" h="21600">
                  <a:moveTo>
                    <a:pt x="5487" y="0"/>
                  </a:moveTo>
                  <a:lnTo>
                    <a:pt x="5052" y="1090"/>
                  </a:lnTo>
                  <a:lnTo>
                    <a:pt x="4703" y="2279"/>
                  </a:lnTo>
                  <a:lnTo>
                    <a:pt x="4703" y="3072"/>
                  </a:lnTo>
                  <a:lnTo>
                    <a:pt x="4094" y="4161"/>
                  </a:lnTo>
                  <a:lnTo>
                    <a:pt x="3571" y="5549"/>
                  </a:lnTo>
                  <a:lnTo>
                    <a:pt x="3136" y="6936"/>
                  </a:lnTo>
                  <a:lnTo>
                    <a:pt x="2439" y="8620"/>
                  </a:lnTo>
                  <a:lnTo>
                    <a:pt x="2003" y="9908"/>
                  </a:lnTo>
                  <a:lnTo>
                    <a:pt x="1306" y="10404"/>
                  </a:lnTo>
                  <a:lnTo>
                    <a:pt x="523" y="12286"/>
                  </a:lnTo>
                  <a:lnTo>
                    <a:pt x="523" y="13971"/>
                  </a:lnTo>
                  <a:lnTo>
                    <a:pt x="0" y="15655"/>
                  </a:lnTo>
                  <a:lnTo>
                    <a:pt x="595" y="15877"/>
                  </a:lnTo>
                  <a:lnTo>
                    <a:pt x="10103" y="19420"/>
                  </a:lnTo>
                  <a:lnTo>
                    <a:pt x="17506" y="21600"/>
                  </a:lnTo>
                  <a:lnTo>
                    <a:pt x="18116" y="19717"/>
                  </a:lnTo>
                  <a:lnTo>
                    <a:pt x="18145" y="18808"/>
                  </a:lnTo>
                  <a:lnTo>
                    <a:pt x="18257" y="18322"/>
                  </a:lnTo>
                  <a:lnTo>
                    <a:pt x="18406" y="17667"/>
                  </a:lnTo>
                  <a:lnTo>
                    <a:pt x="18639" y="16745"/>
                  </a:lnTo>
                  <a:lnTo>
                    <a:pt x="19161" y="15556"/>
                  </a:lnTo>
                  <a:lnTo>
                    <a:pt x="19161" y="14367"/>
                  </a:lnTo>
                  <a:lnTo>
                    <a:pt x="19684" y="13574"/>
                  </a:lnTo>
                  <a:lnTo>
                    <a:pt x="19684" y="12782"/>
                  </a:lnTo>
                  <a:lnTo>
                    <a:pt x="19074" y="12286"/>
                  </a:lnTo>
                  <a:lnTo>
                    <a:pt x="19684" y="11295"/>
                  </a:lnTo>
                  <a:lnTo>
                    <a:pt x="20206" y="10800"/>
                  </a:lnTo>
                  <a:lnTo>
                    <a:pt x="20642" y="9809"/>
                  </a:lnTo>
                  <a:lnTo>
                    <a:pt x="21165" y="8818"/>
                  </a:lnTo>
                  <a:lnTo>
                    <a:pt x="21600" y="8125"/>
                  </a:lnTo>
                  <a:lnTo>
                    <a:pt x="21600" y="7233"/>
                  </a:lnTo>
                  <a:lnTo>
                    <a:pt x="21600" y="6044"/>
                  </a:lnTo>
                  <a:lnTo>
                    <a:pt x="20990" y="6044"/>
                  </a:lnTo>
                  <a:lnTo>
                    <a:pt x="20278" y="5806"/>
                  </a:lnTo>
                  <a:lnTo>
                    <a:pt x="19453" y="5530"/>
                  </a:lnTo>
                  <a:lnTo>
                    <a:pt x="18614" y="5249"/>
                  </a:lnTo>
                  <a:lnTo>
                    <a:pt x="17972" y="5034"/>
                  </a:lnTo>
                  <a:lnTo>
                    <a:pt x="17260" y="4796"/>
                  </a:lnTo>
                  <a:lnTo>
                    <a:pt x="16548" y="4558"/>
                  </a:lnTo>
                  <a:lnTo>
                    <a:pt x="15765" y="4855"/>
                  </a:lnTo>
                  <a:lnTo>
                    <a:pt x="14284" y="4657"/>
                  </a:lnTo>
                  <a:lnTo>
                    <a:pt x="12368" y="4360"/>
                  </a:lnTo>
                  <a:lnTo>
                    <a:pt x="11410" y="4558"/>
                  </a:lnTo>
                  <a:lnTo>
                    <a:pt x="10277" y="3963"/>
                  </a:lnTo>
                  <a:lnTo>
                    <a:pt x="9058" y="3963"/>
                  </a:lnTo>
                  <a:lnTo>
                    <a:pt x="7839" y="3468"/>
                  </a:lnTo>
                  <a:lnTo>
                    <a:pt x="7839" y="2576"/>
                  </a:lnTo>
                  <a:lnTo>
                    <a:pt x="7839" y="1684"/>
                  </a:lnTo>
                  <a:lnTo>
                    <a:pt x="6619" y="594"/>
                  </a:lnTo>
                  <a:cubicBezTo>
                    <a:pt x="6619" y="594"/>
                    <a:pt x="5487" y="0"/>
                    <a:pt x="5487" y="0"/>
                  </a:cubicBezTo>
                  <a:close/>
                  <a:moveTo>
                    <a:pt x="5487"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7" name="Oklahoma"/>
            <p:cNvSpPr>
              <a:spLocks/>
            </p:cNvSpPr>
            <p:nvPr/>
          </p:nvSpPr>
          <p:spPr bwMode="auto">
            <a:xfrm>
              <a:off x="6055301" y="3777067"/>
              <a:ext cx="921874" cy="440570"/>
            </a:xfrm>
            <a:custGeom>
              <a:avLst/>
              <a:gdLst/>
              <a:ahLst/>
              <a:cxnLst/>
              <a:rect l="0" t="0" r="r" b="b"/>
              <a:pathLst>
                <a:path w="21600" h="21600">
                  <a:moveTo>
                    <a:pt x="21518" y="1855"/>
                  </a:moveTo>
                  <a:lnTo>
                    <a:pt x="21535" y="8036"/>
                  </a:lnTo>
                  <a:lnTo>
                    <a:pt x="21552" y="11631"/>
                  </a:lnTo>
                  <a:lnTo>
                    <a:pt x="21564" y="14089"/>
                  </a:lnTo>
                  <a:lnTo>
                    <a:pt x="21575" y="16478"/>
                  </a:lnTo>
                  <a:lnTo>
                    <a:pt x="21585" y="18473"/>
                  </a:lnTo>
                  <a:lnTo>
                    <a:pt x="21595" y="20537"/>
                  </a:lnTo>
                  <a:lnTo>
                    <a:pt x="21600" y="21600"/>
                  </a:lnTo>
                  <a:lnTo>
                    <a:pt x="19802" y="20093"/>
                  </a:lnTo>
                  <a:lnTo>
                    <a:pt x="19475" y="20243"/>
                  </a:lnTo>
                  <a:lnTo>
                    <a:pt x="18375" y="20137"/>
                  </a:lnTo>
                  <a:lnTo>
                    <a:pt x="17922" y="20394"/>
                  </a:lnTo>
                  <a:lnTo>
                    <a:pt x="17269" y="20696"/>
                  </a:lnTo>
                  <a:lnTo>
                    <a:pt x="16615" y="20997"/>
                  </a:lnTo>
                  <a:lnTo>
                    <a:pt x="16195" y="20762"/>
                  </a:lnTo>
                  <a:lnTo>
                    <a:pt x="15809" y="20545"/>
                  </a:lnTo>
                  <a:lnTo>
                    <a:pt x="15307" y="19791"/>
                  </a:lnTo>
                  <a:lnTo>
                    <a:pt x="15143" y="20094"/>
                  </a:lnTo>
                  <a:lnTo>
                    <a:pt x="14654" y="20997"/>
                  </a:lnTo>
                  <a:lnTo>
                    <a:pt x="14654" y="19942"/>
                  </a:lnTo>
                  <a:lnTo>
                    <a:pt x="14163" y="20394"/>
                  </a:lnTo>
                  <a:lnTo>
                    <a:pt x="13346" y="19339"/>
                  </a:lnTo>
                  <a:lnTo>
                    <a:pt x="13019" y="20243"/>
                  </a:lnTo>
                  <a:lnTo>
                    <a:pt x="12447" y="19641"/>
                  </a:lnTo>
                  <a:lnTo>
                    <a:pt x="12038" y="18736"/>
                  </a:lnTo>
                  <a:lnTo>
                    <a:pt x="11385" y="19188"/>
                  </a:lnTo>
                  <a:lnTo>
                    <a:pt x="10731" y="18435"/>
                  </a:lnTo>
                  <a:lnTo>
                    <a:pt x="9587" y="17530"/>
                  </a:lnTo>
                  <a:lnTo>
                    <a:pt x="9097" y="16325"/>
                  </a:lnTo>
                  <a:lnTo>
                    <a:pt x="8484" y="16701"/>
                  </a:lnTo>
                  <a:lnTo>
                    <a:pt x="7789" y="16325"/>
                  </a:lnTo>
                  <a:lnTo>
                    <a:pt x="7299" y="14817"/>
                  </a:lnTo>
                  <a:lnTo>
                    <a:pt x="7626" y="3965"/>
                  </a:lnTo>
                  <a:lnTo>
                    <a:pt x="0" y="3061"/>
                  </a:lnTo>
                  <a:lnTo>
                    <a:pt x="189" y="0"/>
                  </a:lnTo>
                  <a:cubicBezTo>
                    <a:pt x="189" y="0"/>
                    <a:pt x="21518" y="1855"/>
                    <a:pt x="21518" y="1855"/>
                  </a:cubicBezTo>
                  <a:close/>
                  <a:moveTo>
                    <a:pt x="21518" y="1855"/>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4" name="Ohio"/>
            <p:cNvSpPr>
              <a:spLocks/>
            </p:cNvSpPr>
            <p:nvPr/>
          </p:nvSpPr>
          <p:spPr bwMode="auto">
            <a:xfrm>
              <a:off x="7980517" y="3103884"/>
              <a:ext cx="463617" cy="456113"/>
            </a:xfrm>
            <a:custGeom>
              <a:avLst/>
              <a:gdLst/>
              <a:ahLst/>
              <a:cxnLst/>
              <a:rect l="0" t="0" r="r" b="b"/>
              <a:pathLst>
                <a:path w="21600" h="21600">
                  <a:moveTo>
                    <a:pt x="11503" y="3891"/>
                  </a:moveTo>
                  <a:lnTo>
                    <a:pt x="12538" y="3066"/>
                  </a:lnTo>
                  <a:lnTo>
                    <a:pt x="13653" y="3066"/>
                  </a:lnTo>
                  <a:lnTo>
                    <a:pt x="15386" y="2087"/>
                  </a:lnTo>
                  <a:lnTo>
                    <a:pt x="16163" y="624"/>
                  </a:lnTo>
                  <a:lnTo>
                    <a:pt x="17277" y="624"/>
                  </a:lnTo>
                  <a:lnTo>
                    <a:pt x="19011" y="0"/>
                  </a:lnTo>
                  <a:lnTo>
                    <a:pt x="20047" y="0"/>
                  </a:lnTo>
                  <a:lnTo>
                    <a:pt x="21341" y="7190"/>
                  </a:lnTo>
                  <a:lnTo>
                    <a:pt x="20564" y="7769"/>
                  </a:lnTo>
                  <a:lnTo>
                    <a:pt x="21600" y="9509"/>
                  </a:lnTo>
                  <a:lnTo>
                    <a:pt x="20305" y="10669"/>
                  </a:lnTo>
                  <a:lnTo>
                    <a:pt x="20305" y="11925"/>
                  </a:lnTo>
                  <a:lnTo>
                    <a:pt x="20305" y="12844"/>
                  </a:lnTo>
                  <a:lnTo>
                    <a:pt x="19270" y="14145"/>
                  </a:lnTo>
                  <a:lnTo>
                    <a:pt x="18623" y="15101"/>
                  </a:lnTo>
                  <a:lnTo>
                    <a:pt x="17846" y="14145"/>
                  </a:lnTo>
                  <a:lnTo>
                    <a:pt x="16966" y="15813"/>
                  </a:lnTo>
                  <a:lnTo>
                    <a:pt x="16681" y="17395"/>
                  </a:lnTo>
                  <a:lnTo>
                    <a:pt x="14998" y="17395"/>
                  </a:lnTo>
                  <a:lnTo>
                    <a:pt x="14351" y="18786"/>
                  </a:lnTo>
                  <a:lnTo>
                    <a:pt x="14351" y="20178"/>
                  </a:lnTo>
                  <a:lnTo>
                    <a:pt x="13315" y="21600"/>
                  </a:lnTo>
                  <a:lnTo>
                    <a:pt x="12409" y="20642"/>
                  </a:lnTo>
                  <a:lnTo>
                    <a:pt x="11114" y="19482"/>
                  </a:lnTo>
                  <a:lnTo>
                    <a:pt x="9949" y="19946"/>
                  </a:lnTo>
                  <a:lnTo>
                    <a:pt x="8649" y="20152"/>
                  </a:lnTo>
                  <a:lnTo>
                    <a:pt x="7101" y="20758"/>
                  </a:lnTo>
                  <a:lnTo>
                    <a:pt x="6324" y="20062"/>
                  </a:lnTo>
                  <a:lnTo>
                    <a:pt x="5250" y="19946"/>
                  </a:lnTo>
                  <a:lnTo>
                    <a:pt x="4512" y="19482"/>
                  </a:lnTo>
                  <a:lnTo>
                    <a:pt x="4512" y="18787"/>
                  </a:lnTo>
                  <a:lnTo>
                    <a:pt x="3217" y="18304"/>
                  </a:lnTo>
                  <a:lnTo>
                    <a:pt x="1534" y="18304"/>
                  </a:lnTo>
                  <a:lnTo>
                    <a:pt x="0" y="3066"/>
                  </a:lnTo>
                  <a:lnTo>
                    <a:pt x="6842" y="2435"/>
                  </a:lnTo>
                  <a:lnTo>
                    <a:pt x="8525" y="3066"/>
                  </a:lnTo>
                  <a:lnTo>
                    <a:pt x="9949" y="3066"/>
                  </a:lnTo>
                  <a:lnTo>
                    <a:pt x="9949" y="3891"/>
                  </a:lnTo>
                  <a:cubicBezTo>
                    <a:pt x="9949" y="3891"/>
                    <a:pt x="11503" y="3891"/>
                    <a:pt x="11503" y="3891"/>
                  </a:cubicBezTo>
                  <a:close/>
                  <a:moveTo>
                    <a:pt x="11503" y="3891"/>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1" name="North Dakota"/>
            <p:cNvSpPr>
              <a:spLocks/>
            </p:cNvSpPr>
            <p:nvPr/>
          </p:nvSpPr>
          <p:spPr bwMode="auto">
            <a:xfrm>
              <a:off x="6098178" y="2272053"/>
              <a:ext cx="709628" cy="418059"/>
            </a:xfrm>
            <a:custGeom>
              <a:avLst/>
              <a:gdLst/>
              <a:ahLst/>
              <a:cxnLst/>
              <a:rect l="0" t="0" r="r" b="b"/>
              <a:pathLst>
                <a:path w="21600" h="21600">
                  <a:moveTo>
                    <a:pt x="1435" y="0"/>
                  </a:moveTo>
                  <a:lnTo>
                    <a:pt x="0" y="19332"/>
                  </a:lnTo>
                  <a:lnTo>
                    <a:pt x="21600" y="21600"/>
                  </a:lnTo>
                  <a:lnTo>
                    <a:pt x="21600" y="19332"/>
                  </a:lnTo>
                  <a:lnTo>
                    <a:pt x="21186" y="17335"/>
                  </a:lnTo>
                  <a:lnTo>
                    <a:pt x="21069" y="15723"/>
                  </a:lnTo>
                  <a:lnTo>
                    <a:pt x="21600" y="11912"/>
                  </a:lnTo>
                  <a:lnTo>
                    <a:pt x="21069" y="10800"/>
                  </a:lnTo>
                  <a:lnTo>
                    <a:pt x="20663" y="8936"/>
                  </a:lnTo>
                  <a:lnTo>
                    <a:pt x="20433" y="6194"/>
                  </a:lnTo>
                  <a:lnTo>
                    <a:pt x="20433" y="4129"/>
                  </a:lnTo>
                  <a:lnTo>
                    <a:pt x="20114" y="2224"/>
                  </a:lnTo>
                  <a:cubicBezTo>
                    <a:pt x="20114" y="2224"/>
                    <a:pt x="1435" y="0"/>
                    <a:pt x="1435" y="0"/>
                  </a:cubicBezTo>
                  <a:close/>
                  <a:moveTo>
                    <a:pt x="1435"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8" name="North Carolina"/>
            <p:cNvSpPr>
              <a:spLocks/>
            </p:cNvSpPr>
            <p:nvPr/>
          </p:nvSpPr>
          <p:spPr bwMode="auto">
            <a:xfrm>
              <a:off x="8091999" y="3678448"/>
              <a:ext cx="964752" cy="376789"/>
            </a:xfrm>
            <a:custGeom>
              <a:avLst/>
              <a:gdLst/>
              <a:ahLst/>
              <a:cxnLst/>
              <a:rect l="0" t="0" r="r" b="b"/>
              <a:pathLst>
                <a:path w="21600" h="21600">
                  <a:moveTo>
                    <a:pt x="16811" y="20898"/>
                  </a:moveTo>
                  <a:lnTo>
                    <a:pt x="15443" y="21600"/>
                  </a:lnTo>
                  <a:lnTo>
                    <a:pt x="14945" y="20221"/>
                  </a:lnTo>
                  <a:lnTo>
                    <a:pt x="13950" y="18196"/>
                  </a:lnTo>
                  <a:lnTo>
                    <a:pt x="13328" y="17392"/>
                  </a:lnTo>
                  <a:lnTo>
                    <a:pt x="11898" y="15990"/>
                  </a:lnTo>
                  <a:lnTo>
                    <a:pt x="10025" y="16336"/>
                  </a:lnTo>
                  <a:lnTo>
                    <a:pt x="9534" y="16410"/>
                  </a:lnTo>
                  <a:lnTo>
                    <a:pt x="9223" y="15008"/>
                  </a:lnTo>
                  <a:lnTo>
                    <a:pt x="7295" y="15008"/>
                  </a:lnTo>
                  <a:lnTo>
                    <a:pt x="5243" y="15008"/>
                  </a:lnTo>
                  <a:cubicBezTo>
                    <a:pt x="5243" y="15008"/>
                    <a:pt x="4508" y="15954"/>
                    <a:pt x="4273" y="16462"/>
                  </a:cubicBezTo>
                  <a:cubicBezTo>
                    <a:pt x="4037" y="16971"/>
                    <a:pt x="3906" y="17214"/>
                    <a:pt x="3906" y="17214"/>
                  </a:cubicBezTo>
                  <a:lnTo>
                    <a:pt x="3377" y="18196"/>
                  </a:lnTo>
                  <a:lnTo>
                    <a:pt x="2631" y="18196"/>
                  </a:lnTo>
                  <a:lnTo>
                    <a:pt x="1076" y="18196"/>
                  </a:lnTo>
                  <a:lnTo>
                    <a:pt x="0" y="18196"/>
                  </a:lnTo>
                  <a:lnTo>
                    <a:pt x="0" y="16523"/>
                  </a:lnTo>
                  <a:lnTo>
                    <a:pt x="469" y="16523"/>
                  </a:lnTo>
                  <a:lnTo>
                    <a:pt x="469" y="15114"/>
                  </a:lnTo>
                  <a:lnTo>
                    <a:pt x="1365" y="13819"/>
                  </a:lnTo>
                  <a:lnTo>
                    <a:pt x="2258" y="12982"/>
                  </a:lnTo>
                  <a:lnTo>
                    <a:pt x="3004" y="11996"/>
                  </a:lnTo>
                  <a:lnTo>
                    <a:pt x="3436" y="10360"/>
                  </a:lnTo>
                  <a:lnTo>
                    <a:pt x="4216" y="10360"/>
                  </a:lnTo>
                  <a:lnTo>
                    <a:pt x="4621" y="9303"/>
                  </a:lnTo>
                  <a:lnTo>
                    <a:pt x="5153" y="9303"/>
                  </a:lnTo>
                  <a:lnTo>
                    <a:pt x="5778" y="7895"/>
                  </a:lnTo>
                  <a:lnTo>
                    <a:pt x="5778" y="5429"/>
                  </a:lnTo>
                  <a:lnTo>
                    <a:pt x="7357" y="5115"/>
                  </a:lnTo>
                  <a:lnTo>
                    <a:pt x="8788" y="4488"/>
                  </a:lnTo>
                  <a:lnTo>
                    <a:pt x="10118" y="4139"/>
                  </a:lnTo>
                  <a:lnTo>
                    <a:pt x="20356" y="0"/>
                  </a:lnTo>
                  <a:lnTo>
                    <a:pt x="20854" y="981"/>
                  </a:lnTo>
                  <a:lnTo>
                    <a:pt x="21289" y="2104"/>
                  </a:lnTo>
                  <a:lnTo>
                    <a:pt x="20480" y="2384"/>
                  </a:lnTo>
                  <a:lnTo>
                    <a:pt x="20107" y="3226"/>
                  </a:lnTo>
                  <a:lnTo>
                    <a:pt x="19112" y="4628"/>
                  </a:lnTo>
                  <a:lnTo>
                    <a:pt x="20169" y="4348"/>
                  </a:lnTo>
                  <a:lnTo>
                    <a:pt x="20854" y="4488"/>
                  </a:lnTo>
                  <a:lnTo>
                    <a:pt x="20978" y="5429"/>
                  </a:lnTo>
                  <a:lnTo>
                    <a:pt x="21289" y="3927"/>
                  </a:lnTo>
                  <a:lnTo>
                    <a:pt x="21600" y="5429"/>
                  </a:lnTo>
                  <a:lnTo>
                    <a:pt x="21600" y="6592"/>
                  </a:lnTo>
                  <a:lnTo>
                    <a:pt x="21165" y="7153"/>
                  </a:lnTo>
                  <a:lnTo>
                    <a:pt x="20854" y="7895"/>
                  </a:lnTo>
                  <a:lnTo>
                    <a:pt x="20356" y="8696"/>
                  </a:lnTo>
                  <a:lnTo>
                    <a:pt x="19610" y="7895"/>
                  </a:lnTo>
                  <a:lnTo>
                    <a:pt x="19796" y="9303"/>
                  </a:lnTo>
                  <a:lnTo>
                    <a:pt x="19610" y="10360"/>
                  </a:lnTo>
                  <a:lnTo>
                    <a:pt x="19423" y="11782"/>
                  </a:lnTo>
                  <a:lnTo>
                    <a:pt x="20107" y="11641"/>
                  </a:lnTo>
                  <a:lnTo>
                    <a:pt x="20480" y="12062"/>
                  </a:lnTo>
                  <a:lnTo>
                    <a:pt x="19983" y="12825"/>
                  </a:lnTo>
                  <a:lnTo>
                    <a:pt x="19174" y="13353"/>
                  </a:lnTo>
                  <a:lnTo>
                    <a:pt x="18739" y="15008"/>
                  </a:lnTo>
                  <a:lnTo>
                    <a:pt x="18117" y="15008"/>
                  </a:lnTo>
                  <a:lnTo>
                    <a:pt x="17371" y="18196"/>
                  </a:lnTo>
                  <a:lnTo>
                    <a:pt x="17122" y="19164"/>
                  </a:lnTo>
                  <a:cubicBezTo>
                    <a:pt x="17122" y="19164"/>
                    <a:pt x="16811" y="20898"/>
                    <a:pt x="16811" y="20898"/>
                  </a:cubicBezTo>
                  <a:close/>
                  <a:moveTo>
                    <a:pt x="16811" y="20898"/>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9" name="Nevada"/>
            <p:cNvSpPr>
              <a:spLocks/>
            </p:cNvSpPr>
            <p:nvPr/>
          </p:nvSpPr>
          <p:spPr bwMode="auto">
            <a:xfrm>
              <a:off x="4335898" y="2876632"/>
              <a:ext cx="709628" cy="962073"/>
            </a:xfrm>
            <a:custGeom>
              <a:avLst/>
              <a:gdLst/>
              <a:ahLst/>
              <a:cxnLst/>
              <a:rect l="0" t="0" r="r" b="b"/>
              <a:pathLst>
                <a:path w="21600" h="21600">
                  <a:moveTo>
                    <a:pt x="21600" y="2740"/>
                  </a:moveTo>
                  <a:lnTo>
                    <a:pt x="16136" y="18219"/>
                  </a:lnTo>
                  <a:lnTo>
                    <a:pt x="16136" y="18909"/>
                  </a:lnTo>
                  <a:lnTo>
                    <a:pt x="15287" y="18909"/>
                  </a:lnTo>
                  <a:lnTo>
                    <a:pt x="14650" y="18564"/>
                  </a:lnTo>
                  <a:lnTo>
                    <a:pt x="13694" y="18564"/>
                  </a:lnTo>
                  <a:lnTo>
                    <a:pt x="13694" y="19323"/>
                  </a:lnTo>
                  <a:lnTo>
                    <a:pt x="13694" y="20082"/>
                  </a:lnTo>
                  <a:lnTo>
                    <a:pt x="13237" y="21022"/>
                  </a:lnTo>
                  <a:lnTo>
                    <a:pt x="13057" y="21600"/>
                  </a:lnTo>
                  <a:lnTo>
                    <a:pt x="0" y="8212"/>
                  </a:lnTo>
                  <a:lnTo>
                    <a:pt x="3397" y="0"/>
                  </a:lnTo>
                  <a:cubicBezTo>
                    <a:pt x="3397" y="0"/>
                    <a:pt x="20968" y="2655"/>
                    <a:pt x="21600" y="2740"/>
                  </a:cubicBezTo>
                  <a:close/>
                  <a:moveTo>
                    <a:pt x="21600" y="274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59" name="New York">
              <a:extLst>
                <a:ext uri="{FF2B5EF4-FFF2-40B4-BE49-F238E27FC236}">
                  <a16:creationId xmlns:a16="http://schemas.microsoft.com/office/drawing/2014/main" id="{B8300E1F-7EA5-2E41-9DB3-D9162BD7AB3C}"/>
                </a:ext>
              </a:extLst>
            </p:cNvPr>
            <p:cNvSpPr>
              <a:spLocks/>
            </p:cNvSpPr>
            <p:nvPr/>
          </p:nvSpPr>
          <p:spPr bwMode="auto">
            <a:xfrm>
              <a:off x="8477900" y="2602213"/>
              <a:ext cx="829687" cy="563844"/>
            </a:xfrm>
            <a:custGeom>
              <a:avLst/>
              <a:gdLst>
                <a:gd name="connsiteX0" fmla="*/ 782521 w 829687"/>
                <a:gd name="connsiteY0" fmla="*/ 450218 h 563844"/>
                <a:gd name="connsiteX1" fmla="*/ 829687 w 829687"/>
                <a:gd name="connsiteY1" fmla="*/ 450218 h 563844"/>
                <a:gd name="connsiteX2" fmla="*/ 807490 w 829687"/>
                <a:gd name="connsiteY2" fmla="*/ 467341 h 563844"/>
                <a:gd name="connsiteX3" fmla="*/ 782521 w 829687"/>
                <a:gd name="connsiteY3" fmla="*/ 482028 h 563844"/>
                <a:gd name="connsiteX4" fmla="*/ 740897 w 829687"/>
                <a:gd name="connsiteY4" fmla="*/ 507031 h 563844"/>
                <a:gd name="connsiteX5" fmla="*/ 718710 w 829687"/>
                <a:gd name="connsiteY5" fmla="*/ 507031 h 563844"/>
                <a:gd name="connsiteX6" fmla="*/ 699981 w 829687"/>
                <a:gd name="connsiteY6" fmla="*/ 530961 h 563844"/>
                <a:gd name="connsiteX7" fmla="*/ 674315 w 829687"/>
                <a:gd name="connsiteY7" fmla="*/ 540751 h 563844"/>
                <a:gd name="connsiteX8" fmla="*/ 617441 w 829687"/>
                <a:gd name="connsiteY8" fmla="*/ 563844 h 563844"/>
                <a:gd name="connsiteX9" fmla="*/ 617441 w 829687"/>
                <a:gd name="connsiteY9" fmla="*/ 533407 h 563844"/>
                <a:gd name="connsiteX10" fmla="*/ 629920 w 829687"/>
                <a:gd name="connsiteY10" fmla="*/ 499156 h 563844"/>
                <a:gd name="connsiteX11" fmla="*/ 654889 w 829687"/>
                <a:gd name="connsiteY11" fmla="*/ 512323 h 563844"/>
                <a:gd name="connsiteX12" fmla="*/ 677086 w 829687"/>
                <a:gd name="connsiteY12" fmla="*/ 499156 h 563844"/>
                <a:gd name="connsiteX13" fmla="*/ 702064 w 829687"/>
                <a:gd name="connsiteY13" fmla="*/ 489372 h 563844"/>
                <a:gd name="connsiteX14" fmla="*/ 749230 w 829687"/>
                <a:gd name="connsiteY14" fmla="*/ 467341 h 563844"/>
                <a:gd name="connsiteX15" fmla="*/ 533375 w 829687"/>
                <a:gd name="connsiteY15" fmla="*/ 0 h 563844"/>
                <a:gd name="connsiteX16" fmla="*/ 573632 w 829687"/>
                <a:gd name="connsiteY16" fmla="*/ 0 h 563844"/>
                <a:gd name="connsiteX17" fmla="*/ 577803 w 829687"/>
                <a:gd name="connsiteY17" fmla="*/ 33839 h 563844"/>
                <a:gd name="connsiteX18" fmla="*/ 594486 w 829687"/>
                <a:gd name="connsiteY18" fmla="*/ 68515 h 563844"/>
                <a:gd name="connsiteX19" fmla="*/ 594486 w 829687"/>
                <a:gd name="connsiteY19" fmla="*/ 90556 h 563844"/>
                <a:gd name="connsiteX20" fmla="*/ 577803 w 829687"/>
                <a:gd name="connsiteY20" fmla="*/ 115013 h 563844"/>
                <a:gd name="connsiteX21" fmla="*/ 600047 w 829687"/>
                <a:gd name="connsiteY21" fmla="*/ 139492 h 563844"/>
                <a:gd name="connsiteX22" fmla="*/ 600047 w 829687"/>
                <a:gd name="connsiteY22" fmla="*/ 159071 h 563844"/>
                <a:gd name="connsiteX23" fmla="*/ 615309 w 829687"/>
                <a:gd name="connsiteY23" fmla="*/ 159071 h 563844"/>
                <a:gd name="connsiteX24" fmla="*/ 630602 w 829687"/>
                <a:gd name="connsiteY24" fmla="*/ 200668 h 563844"/>
                <a:gd name="connsiteX25" fmla="*/ 615309 w 829687"/>
                <a:gd name="connsiteY25" fmla="*/ 234183 h 563844"/>
                <a:gd name="connsiteX26" fmla="*/ 652816 w 829687"/>
                <a:gd name="connsiteY26" fmla="*/ 259406 h 563844"/>
                <a:gd name="connsiteX27" fmla="*/ 652816 w 829687"/>
                <a:gd name="connsiteY27" fmla="*/ 303441 h 563844"/>
                <a:gd name="connsiteX28" fmla="*/ 652816 w 829687"/>
                <a:gd name="connsiteY28" fmla="*/ 332821 h 563844"/>
                <a:gd name="connsiteX29" fmla="*/ 652816 w 829687"/>
                <a:gd name="connsiteY29" fmla="*/ 359740 h 563844"/>
                <a:gd name="connsiteX30" fmla="*/ 652816 w 829687"/>
                <a:gd name="connsiteY30" fmla="*/ 469852 h 563844"/>
                <a:gd name="connsiteX31" fmla="*/ 627822 w 829687"/>
                <a:gd name="connsiteY31" fmla="*/ 501671 h 563844"/>
                <a:gd name="connsiteX32" fmla="*/ 615309 w 829687"/>
                <a:gd name="connsiteY32" fmla="*/ 484531 h 563844"/>
                <a:gd name="connsiteX33" fmla="*/ 520863 w 829687"/>
                <a:gd name="connsiteY33" fmla="*/ 469852 h 563844"/>
                <a:gd name="connsiteX34" fmla="*/ 494478 w 829687"/>
                <a:gd name="connsiteY34" fmla="*/ 444629 h 563844"/>
                <a:gd name="connsiteX35" fmla="*/ 468516 w 829687"/>
                <a:gd name="connsiteY35" fmla="*/ 408676 h 563844"/>
                <a:gd name="connsiteX36" fmla="*/ 436148 w 829687"/>
                <a:gd name="connsiteY36" fmla="*/ 394834 h 563844"/>
                <a:gd name="connsiteX37" fmla="*/ 393261 w 829687"/>
                <a:gd name="connsiteY37" fmla="*/ 401430 h 563844"/>
                <a:gd name="connsiteX38" fmla="*/ 80574 w 829687"/>
                <a:gd name="connsiteY38" fmla="*/ 463186 h 563844"/>
                <a:gd name="connsiteX39" fmla="*/ 11092 w 829687"/>
                <a:gd name="connsiteY39" fmla="*/ 477191 h 563844"/>
                <a:gd name="connsiteX40" fmla="*/ 0 w 829687"/>
                <a:gd name="connsiteY40" fmla="*/ 445395 h 563844"/>
                <a:gd name="connsiteX41" fmla="*/ 33336 w 829687"/>
                <a:gd name="connsiteY41" fmla="*/ 412346 h 563844"/>
                <a:gd name="connsiteX42" fmla="*/ 58330 w 829687"/>
                <a:gd name="connsiteY42" fmla="*/ 376857 h 563844"/>
                <a:gd name="connsiteX43" fmla="*/ 80574 w 829687"/>
                <a:gd name="connsiteY43" fmla="*/ 345061 h 563844"/>
                <a:gd name="connsiteX44" fmla="*/ 58330 w 829687"/>
                <a:gd name="connsiteY44" fmla="*/ 318143 h 563844"/>
                <a:gd name="connsiteX45" fmla="*/ 95414 w 829687"/>
                <a:gd name="connsiteY45" fmla="*/ 293663 h 563844"/>
                <a:gd name="connsiteX46" fmla="*/ 123612 w 829687"/>
                <a:gd name="connsiteY46" fmla="*/ 282027 h 563844"/>
                <a:gd name="connsiteX47" fmla="*/ 166680 w 829687"/>
                <a:gd name="connsiteY47" fmla="*/ 282027 h 563844"/>
                <a:gd name="connsiteX48" fmla="*/ 202796 w 829687"/>
                <a:gd name="connsiteY48" fmla="*/ 282027 h 563844"/>
                <a:gd name="connsiteX49" fmla="*/ 244474 w 829687"/>
                <a:gd name="connsiteY49" fmla="*/ 282027 h 563844"/>
                <a:gd name="connsiteX50" fmla="*/ 280560 w 829687"/>
                <a:gd name="connsiteY50" fmla="*/ 261844 h 563844"/>
                <a:gd name="connsiteX51" fmla="*/ 302804 w 829687"/>
                <a:gd name="connsiteY51" fmla="*/ 252066 h 563844"/>
                <a:gd name="connsiteX52" fmla="*/ 322237 w 829687"/>
                <a:gd name="connsiteY52" fmla="*/ 215347 h 563844"/>
                <a:gd name="connsiteX53" fmla="*/ 325018 w 829687"/>
                <a:gd name="connsiteY53" fmla="*/ 200668 h 563844"/>
                <a:gd name="connsiteX54" fmla="*/ 325018 w 829687"/>
                <a:gd name="connsiteY54" fmla="*/ 168849 h 563844"/>
                <a:gd name="connsiteX55" fmla="*/ 302804 w 829687"/>
                <a:gd name="connsiteY55" fmla="*/ 168849 h 563844"/>
                <a:gd name="connsiteX56" fmla="*/ 302804 w 829687"/>
                <a:gd name="connsiteY56" fmla="*/ 146832 h 563844"/>
                <a:gd name="connsiteX57" fmla="*/ 327798 w 829687"/>
                <a:gd name="connsiteY57" fmla="*/ 134592 h 563844"/>
                <a:gd name="connsiteX58" fmla="*/ 352793 w 829687"/>
                <a:gd name="connsiteY58" fmla="*/ 110135 h 563844"/>
                <a:gd name="connsiteX59" fmla="*/ 352793 w 829687"/>
                <a:gd name="connsiteY59" fmla="*/ 85656 h 563844"/>
                <a:gd name="connsiteX60" fmla="*/ 377787 w 829687"/>
                <a:gd name="connsiteY60" fmla="*/ 63638 h 563844"/>
                <a:gd name="connsiteX61" fmla="*/ 408342 w 829687"/>
                <a:gd name="connsiteY61" fmla="*/ 33839 h 563844"/>
                <a:gd name="connsiteX62" fmla="*/ 436148 w 829687"/>
                <a:gd name="connsiteY62" fmla="*/ 17140 h 563844"/>
                <a:gd name="connsiteX63" fmla="*/ 475014 w 829687"/>
                <a:gd name="connsiteY63" fmla="*/ 17140 h 56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829687" h="563844">
                  <a:moveTo>
                    <a:pt x="782521" y="450218"/>
                  </a:moveTo>
                  <a:cubicBezTo>
                    <a:pt x="782521" y="450218"/>
                    <a:pt x="829687" y="450218"/>
                    <a:pt x="829687" y="450218"/>
                  </a:cubicBezTo>
                  <a:lnTo>
                    <a:pt x="807490" y="467341"/>
                  </a:lnTo>
                  <a:lnTo>
                    <a:pt x="782521" y="482028"/>
                  </a:lnTo>
                  <a:lnTo>
                    <a:pt x="740897" y="507031"/>
                  </a:lnTo>
                  <a:lnTo>
                    <a:pt x="718710" y="507031"/>
                  </a:lnTo>
                  <a:lnTo>
                    <a:pt x="699981" y="530961"/>
                  </a:lnTo>
                  <a:lnTo>
                    <a:pt x="674315" y="540751"/>
                  </a:lnTo>
                  <a:lnTo>
                    <a:pt x="617441" y="563844"/>
                  </a:lnTo>
                  <a:lnTo>
                    <a:pt x="617441" y="533407"/>
                  </a:lnTo>
                  <a:lnTo>
                    <a:pt x="629920" y="499156"/>
                  </a:lnTo>
                  <a:lnTo>
                    <a:pt x="654889" y="512323"/>
                  </a:lnTo>
                  <a:lnTo>
                    <a:pt x="677086" y="499156"/>
                  </a:lnTo>
                  <a:lnTo>
                    <a:pt x="702064" y="489372"/>
                  </a:lnTo>
                  <a:lnTo>
                    <a:pt x="749230" y="467341"/>
                  </a:lnTo>
                  <a:close/>
                  <a:moveTo>
                    <a:pt x="533375" y="0"/>
                  </a:moveTo>
                  <a:lnTo>
                    <a:pt x="573632" y="0"/>
                  </a:lnTo>
                  <a:cubicBezTo>
                    <a:pt x="573632" y="0"/>
                    <a:pt x="577803" y="33839"/>
                    <a:pt x="577803" y="33839"/>
                  </a:cubicBezTo>
                  <a:lnTo>
                    <a:pt x="594486" y="68515"/>
                  </a:lnTo>
                  <a:lnTo>
                    <a:pt x="594486" y="90556"/>
                  </a:lnTo>
                  <a:lnTo>
                    <a:pt x="577803" y="115013"/>
                  </a:lnTo>
                  <a:lnTo>
                    <a:pt x="600047" y="139492"/>
                  </a:lnTo>
                  <a:lnTo>
                    <a:pt x="600047" y="159071"/>
                  </a:lnTo>
                  <a:lnTo>
                    <a:pt x="615309" y="159071"/>
                  </a:lnTo>
                  <a:lnTo>
                    <a:pt x="630602" y="200668"/>
                  </a:lnTo>
                  <a:lnTo>
                    <a:pt x="615309" y="234183"/>
                  </a:lnTo>
                  <a:lnTo>
                    <a:pt x="652816" y="259406"/>
                  </a:lnTo>
                  <a:lnTo>
                    <a:pt x="652816" y="303441"/>
                  </a:lnTo>
                  <a:lnTo>
                    <a:pt x="652816" y="332821"/>
                  </a:lnTo>
                  <a:lnTo>
                    <a:pt x="652816" y="359740"/>
                  </a:lnTo>
                  <a:lnTo>
                    <a:pt x="652816" y="469852"/>
                  </a:lnTo>
                  <a:lnTo>
                    <a:pt x="627822" y="501671"/>
                  </a:lnTo>
                  <a:lnTo>
                    <a:pt x="615309" y="484531"/>
                  </a:lnTo>
                  <a:lnTo>
                    <a:pt x="520863" y="469852"/>
                  </a:lnTo>
                  <a:lnTo>
                    <a:pt x="494478" y="444629"/>
                  </a:lnTo>
                  <a:lnTo>
                    <a:pt x="468516" y="408676"/>
                  </a:lnTo>
                  <a:lnTo>
                    <a:pt x="436148" y="394834"/>
                  </a:lnTo>
                  <a:lnTo>
                    <a:pt x="393261" y="401430"/>
                  </a:lnTo>
                  <a:lnTo>
                    <a:pt x="80574" y="463186"/>
                  </a:lnTo>
                  <a:lnTo>
                    <a:pt x="11092" y="477191"/>
                  </a:lnTo>
                  <a:lnTo>
                    <a:pt x="0" y="445395"/>
                  </a:lnTo>
                  <a:lnTo>
                    <a:pt x="33336" y="412346"/>
                  </a:lnTo>
                  <a:lnTo>
                    <a:pt x="58330" y="376857"/>
                  </a:lnTo>
                  <a:lnTo>
                    <a:pt x="80574" y="345061"/>
                  </a:lnTo>
                  <a:lnTo>
                    <a:pt x="58330" y="318143"/>
                  </a:lnTo>
                  <a:lnTo>
                    <a:pt x="95414" y="293663"/>
                  </a:lnTo>
                  <a:lnTo>
                    <a:pt x="123612" y="282027"/>
                  </a:lnTo>
                  <a:lnTo>
                    <a:pt x="166680" y="282027"/>
                  </a:lnTo>
                  <a:lnTo>
                    <a:pt x="202796" y="282027"/>
                  </a:lnTo>
                  <a:lnTo>
                    <a:pt x="244474" y="282027"/>
                  </a:lnTo>
                  <a:lnTo>
                    <a:pt x="280560" y="261844"/>
                  </a:lnTo>
                  <a:lnTo>
                    <a:pt x="302804" y="252066"/>
                  </a:lnTo>
                  <a:lnTo>
                    <a:pt x="322237" y="215347"/>
                  </a:lnTo>
                  <a:lnTo>
                    <a:pt x="325018" y="200668"/>
                  </a:lnTo>
                  <a:lnTo>
                    <a:pt x="325018" y="168849"/>
                  </a:lnTo>
                  <a:lnTo>
                    <a:pt x="302804" y="168849"/>
                  </a:lnTo>
                  <a:lnTo>
                    <a:pt x="302804" y="146832"/>
                  </a:lnTo>
                  <a:lnTo>
                    <a:pt x="327798" y="134592"/>
                  </a:lnTo>
                  <a:lnTo>
                    <a:pt x="352793" y="110135"/>
                  </a:lnTo>
                  <a:lnTo>
                    <a:pt x="352793" y="85656"/>
                  </a:lnTo>
                  <a:lnTo>
                    <a:pt x="377787" y="63638"/>
                  </a:lnTo>
                  <a:lnTo>
                    <a:pt x="408342" y="33839"/>
                  </a:lnTo>
                  <a:lnTo>
                    <a:pt x="436148" y="17140"/>
                  </a:lnTo>
                  <a:lnTo>
                    <a:pt x="475014" y="17140"/>
                  </a:lnTo>
                  <a:close/>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4" name="New Mexico"/>
            <p:cNvSpPr>
              <a:spLocks/>
            </p:cNvSpPr>
            <p:nvPr/>
          </p:nvSpPr>
          <p:spPr bwMode="auto">
            <a:xfrm>
              <a:off x="5292074" y="3699886"/>
              <a:ext cx="770729" cy="685510"/>
            </a:xfrm>
            <a:custGeom>
              <a:avLst/>
              <a:gdLst/>
              <a:ahLst/>
              <a:cxnLst/>
              <a:rect l="0" t="0" r="r" b="b"/>
              <a:pathLst>
                <a:path w="21600" h="21600">
                  <a:moveTo>
                    <a:pt x="21600" y="2228"/>
                  </a:moveTo>
                  <a:lnTo>
                    <a:pt x="19548" y="21600"/>
                  </a:lnTo>
                  <a:lnTo>
                    <a:pt x="8112" y="20244"/>
                  </a:lnTo>
                  <a:lnTo>
                    <a:pt x="8112" y="20922"/>
                  </a:lnTo>
                  <a:lnTo>
                    <a:pt x="2834" y="20244"/>
                  </a:lnTo>
                  <a:lnTo>
                    <a:pt x="2443" y="21600"/>
                  </a:lnTo>
                  <a:lnTo>
                    <a:pt x="0" y="21600"/>
                  </a:lnTo>
                  <a:lnTo>
                    <a:pt x="3519" y="0"/>
                  </a:lnTo>
                  <a:cubicBezTo>
                    <a:pt x="3519" y="0"/>
                    <a:pt x="21600" y="2228"/>
                    <a:pt x="21600" y="2228"/>
                  </a:cubicBezTo>
                  <a:close/>
                  <a:moveTo>
                    <a:pt x="21600" y="2228"/>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6" name="New Jersey"/>
            <p:cNvSpPr>
              <a:spLocks/>
            </p:cNvSpPr>
            <p:nvPr/>
          </p:nvSpPr>
          <p:spPr bwMode="auto">
            <a:xfrm>
              <a:off x="8983859" y="3069581"/>
              <a:ext cx="145785" cy="293714"/>
            </a:xfrm>
            <a:custGeom>
              <a:avLst/>
              <a:gdLst/>
              <a:ahLst/>
              <a:cxnLst/>
              <a:rect l="0" t="0" r="r" b="b"/>
              <a:pathLst>
                <a:path w="21600" h="21600">
                  <a:moveTo>
                    <a:pt x="10492" y="21600"/>
                  </a:moveTo>
                  <a:lnTo>
                    <a:pt x="14605" y="18743"/>
                  </a:lnTo>
                  <a:lnTo>
                    <a:pt x="17074" y="17100"/>
                  </a:lnTo>
                  <a:lnTo>
                    <a:pt x="18720" y="14400"/>
                  </a:lnTo>
                  <a:lnTo>
                    <a:pt x="21600" y="11160"/>
                  </a:lnTo>
                  <a:lnTo>
                    <a:pt x="21600" y="8379"/>
                  </a:lnTo>
                  <a:lnTo>
                    <a:pt x="19955" y="7099"/>
                  </a:lnTo>
                  <a:lnTo>
                    <a:pt x="16046" y="7099"/>
                  </a:lnTo>
                  <a:lnTo>
                    <a:pt x="16046" y="4860"/>
                  </a:lnTo>
                  <a:lnTo>
                    <a:pt x="17897" y="2340"/>
                  </a:lnTo>
                  <a:lnTo>
                    <a:pt x="16046" y="1080"/>
                  </a:lnTo>
                  <a:lnTo>
                    <a:pt x="10492" y="360"/>
                  </a:lnTo>
                  <a:lnTo>
                    <a:pt x="7611" y="360"/>
                  </a:lnTo>
                  <a:lnTo>
                    <a:pt x="2058" y="0"/>
                  </a:lnTo>
                  <a:lnTo>
                    <a:pt x="2058" y="1620"/>
                  </a:lnTo>
                  <a:lnTo>
                    <a:pt x="1051" y="3309"/>
                  </a:lnTo>
                  <a:lnTo>
                    <a:pt x="0" y="5940"/>
                  </a:lnTo>
                  <a:lnTo>
                    <a:pt x="2058" y="8379"/>
                  </a:lnTo>
                  <a:lnTo>
                    <a:pt x="5965" y="9525"/>
                  </a:lnTo>
                  <a:lnTo>
                    <a:pt x="5554" y="10800"/>
                  </a:lnTo>
                  <a:lnTo>
                    <a:pt x="2058" y="12960"/>
                  </a:lnTo>
                  <a:lnTo>
                    <a:pt x="0" y="14400"/>
                  </a:lnTo>
                  <a:lnTo>
                    <a:pt x="1" y="16672"/>
                  </a:lnTo>
                  <a:lnTo>
                    <a:pt x="2058" y="18360"/>
                  </a:lnTo>
                  <a:lnTo>
                    <a:pt x="7611" y="18743"/>
                  </a:lnTo>
                  <a:lnTo>
                    <a:pt x="10492" y="19800"/>
                  </a:lnTo>
                  <a:cubicBezTo>
                    <a:pt x="10492" y="19800"/>
                    <a:pt x="10492" y="21600"/>
                    <a:pt x="10492" y="21600"/>
                  </a:cubicBezTo>
                  <a:close/>
                  <a:moveTo>
                    <a:pt x="10492"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3" name="New Hampshire"/>
            <p:cNvSpPr>
              <a:spLocks/>
            </p:cNvSpPr>
            <p:nvPr/>
          </p:nvSpPr>
          <p:spPr bwMode="auto">
            <a:xfrm>
              <a:off x="9185385" y="2520745"/>
              <a:ext cx="172047" cy="329087"/>
            </a:xfrm>
            <a:custGeom>
              <a:avLst/>
              <a:gdLst/>
              <a:ahLst/>
              <a:cxnLst/>
              <a:rect l="0" t="0" r="r" b="b"/>
              <a:pathLst>
                <a:path w="21600" h="21600">
                  <a:moveTo>
                    <a:pt x="21600" y="17826"/>
                  </a:moveTo>
                  <a:lnTo>
                    <a:pt x="18744" y="18693"/>
                  </a:lnTo>
                  <a:lnTo>
                    <a:pt x="15329" y="20216"/>
                  </a:lnTo>
                  <a:lnTo>
                    <a:pt x="11149" y="21070"/>
                  </a:lnTo>
                  <a:lnTo>
                    <a:pt x="5574" y="21600"/>
                  </a:lnTo>
                  <a:lnTo>
                    <a:pt x="1281" y="21600"/>
                  </a:lnTo>
                  <a:lnTo>
                    <a:pt x="0" y="19925"/>
                  </a:lnTo>
                  <a:lnTo>
                    <a:pt x="0" y="17826"/>
                  </a:lnTo>
                  <a:lnTo>
                    <a:pt x="484" y="15279"/>
                  </a:lnTo>
                  <a:lnTo>
                    <a:pt x="2003" y="12446"/>
                  </a:lnTo>
                  <a:lnTo>
                    <a:pt x="2003" y="10439"/>
                  </a:lnTo>
                  <a:lnTo>
                    <a:pt x="2003" y="8351"/>
                  </a:lnTo>
                  <a:lnTo>
                    <a:pt x="5574" y="6263"/>
                  </a:lnTo>
                  <a:lnTo>
                    <a:pt x="5574" y="4336"/>
                  </a:lnTo>
                  <a:lnTo>
                    <a:pt x="5574" y="2088"/>
                  </a:lnTo>
                  <a:lnTo>
                    <a:pt x="5574" y="964"/>
                  </a:lnTo>
                  <a:lnTo>
                    <a:pt x="9058" y="0"/>
                  </a:lnTo>
                  <a:lnTo>
                    <a:pt x="17594" y="13008"/>
                  </a:lnTo>
                  <a:lnTo>
                    <a:pt x="21600" y="14453"/>
                  </a:lnTo>
                  <a:lnTo>
                    <a:pt x="21600" y="15899"/>
                  </a:lnTo>
                  <a:cubicBezTo>
                    <a:pt x="21600" y="15899"/>
                    <a:pt x="21600" y="17826"/>
                    <a:pt x="21600" y="17826"/>
                  </a:cubicBezTo>
                  <a:close/>
                  <a:moveTo>
                    <a:pt x="21600" y="1782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9" name="Nebraska"/>
            <p:cNvSpPr>
              <a:spLocks/>
            </p:cNvSpPr>
            <p:nvPr/>
          </p:nvSpPr>
          <p:spPr bwMode="auto">
            <a:xfrm>
              <a:off x="6020998" y="3022416"/>
              <a:ext cx="875244" cy="399301"/>
            </a:xfrm>
            <a:custGeom>
              <a:avLst/>
              <a:gdLst/>
              <a:ahLst/>
              <a:cxnLst/>
              <a:rect l="0" t="0" r="r" b="b"/>
              <a:pathLst>
                <a:path w="21600" h="21600">
                  <a:moveTo>
                    <a:pt x="14199" y="1492"/>
                  </a:moveTo>
                  <a:lnTo>
                    <a:pt x="704" y="0"/>
                  </a:lnTo>
                  <a:lnTo>
                    <a:pt x="0" y="12626"/>
                  </a:lnTo>
                  <a:lnTo>
                    <a:pt x="4819" y="13956"/>
                  </a:lnTo>
                  <a:lnTo>
                    <a:pt x="4568" y="20425"/>
                  </a:lnTo>
                  <a:lnTo>
                    <a:pt x="21600" y="21600"/>
                  </a:lnTo>
                  <a:lnTo>
                    <a:pt x="21600" y="20425"/>
                  </a:lnTo>
                  <a:lnTo>
                    <a:pt x="21600" y="19606"/>
                  </a:lnTo>
                  <a:lnTo>
                    <a:pt x="21600" y="18941"/>
                  </a:lnTo>
                  <a:lnTo>
                    <a:pt x="20826" y="17892"/>
                  </a:lnTo>
                  <a:lnTo>
                    <a:pt x="20449" y="15879"/>
                  </a:lnTo>
                  <a:lnTo>
                    <a:pt x="20183" y="14454"/>
                  </a:lnTo>
                  <a:lnTo>
                    <a:pt x="20183" y="12626"/>
                  </a:lnTo>
                  <a:lnTo>
                    <a:pt x="20183" y="11962"/>
                  </a:lnTo>
                  <a:lnTo>
                    <a:pt x="20183" y="10800"/>
                  </a:lnTo>
                  <a:lnTo>
                    <a:pt x="19971" y="9535"/>
                  </a:lnTo>
                  <a:lnTo>
                    <a:pt x="19449" y="7973"/>
                  </a:lnTo>
                  <a:lnTo>
                    <a:pt x="19449" y="6644"/>
                  </a:lnTo>
                  <a:lnTo>
                    <a:pt x="19018" y="5647"/>
                  </a:lnTo>
                  <a:lnTo>
                    <a:pt x="18330" y="4318"/>
                  </a:lnTo>
                  <a:lnTo>
                    <a:pt x="17482" y="3321"/>
                  </a:lnTo>
                  <a:lnTo>
                    <a:pt x="16781" y="3321"/>
                  </a:lnTo>
                  <a:lnTo>
                    <a:pt x="15920" y="3653"/>
                  </a:lnTo>
                  <a:lnTo>
                    <a:pt x="15662" y="2157"/>
                  </a:lnTo>
                  <a:lnTo>
                    <a:pt x="14888" y="2323"/>
                  </a:lnTo>
                  <a:cubicBezTo>
                    <a:pt x="14888" y="2323"/>
                    <a:pt x="14199" y="1492"/>
                    <a:pt x="14199" y="1492"/>
                  </a:cubicBezTo>
                  <a:close/>
                  <a:moveTo>
                    <a:pt x="14199" y="1492"/>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1" name="Montana"/>
            <p:cNvSpPr>
              <a:spLocks/>
            </p:cNvSpPr>
            <p:nvPr/>
          </p:nvSpPr>
          <p:spPr bwMode="auto">
            <a:xfrm>
              <a:off x="5047670" y="2121981"/>
              <a:ext cx="1098745" cy="648527"/>
            </a:xfrm>
            <a:custGeom>
              <a:avLst/>
              <a:gdLst/>
              <a:ahLst/>
              <a:cxnLst/>
              <a:rect l="0" t="0" r="r" b="b"/>
              <a:pathLst>
                <a:path w="21600" h="21600">
                  <a:moveTo>
                    <a:pt x="21600" y="5016"/>
                  </a:moveTo>
                  <a:lnTo>
                    <a:pt x="20366" y="21600"/>
                  </a:lnTo>
                  <a:lnTo>
                    <a:pt x="7200" y="18938"/>
                  </a:lnTo>
                  <a:lnTo>
                    <a:pt x="7030" y="20349"/>
                  </a:lnTo>
                  <a:lnTo>
                    <a:pt x="6446" y="19450"/>
                  </a:lnTo>
                  <a:lnTo>
                    <a:pt x="6253" y="19910"/>
                  </a:lnTo>
                  <a:lnTo>
                    <a:pt x="5691" y="20269"/>
                  </a:lnTo>
                  <a:lnTo>
                    <a:pt x="5074" y="20269"/>
                  </a:lnTo>
                  <a:lnTo>
                    <a:pt x="4663" y="20269"/>
                  </a:lnTo>
                  <a:lnTo>
                    <a:pt x="3977" y="19757"/>
                  </a:lnTo>
                  <a:lnTo>
                    <a:pt x="3977" y="20167"/>
                  </a:lnTo>
                  <a:lnTo>
                    <a:pt x="3566" y="20269"/>
                  </a:lnTo>
                  <a:lnTo>
                    <a:pt x="3264" y="19430"/>
                  </a:lnTo>
                  <a:lnTo>
                    <a:pt x="2995" y="19026"/>
                  </a:lnTo>
                  <a:lnTo>
                    <a:pt x="3017" y="18427"/>
                  </a:lnTo>
                  <a:lnTo>
                    <a:pt x="2674" y="17812"/>
                  </a:lnTo>
                  <a:lnTo>
                    <a:pt x="2674" y="17096"/>
                  </a:lnTo>
                  <a:lnTo>
                    <a:pt x="2674" y="16686"/>
                  </a:lnTo>
                  <a:lnTo>
                    <a:pt x="2331" y="16174"/>
                  </a:lnTo>
                  <a:lnTo>
                    <a:pt x="2331" y="14434"/>
                  </a:lnTo>
                  <a:lnTo>
                    <a:pt x="1851" y="14537"/>
                  </a:lnTo>
                  <a:lnTo>
                    <a:pt x="1509" y="15048"/>
                  </a:lnTo>
                  <a:lnTo>
                    <a:pt x="1166" y="14332"/>
                  </a:lnTo>
                  <a:lnTo>
                    <a:pt x="1371" y="12796"/>
                  </a:lnTo>
                  <a:lnTo>
                    <a:pt x="1577" y="11773"/>
                  </a:lnTo>
                  <a:lnTo>
                    <a:pt x="1851" y="10442"/>
                  </a:lnTo>
                  <a:lnTo>
                    <a:pt x="1851" y="10032"/>
                  </a:lnTo>
                  <a:lnTo>
                    <a:pt x="891" y="8599"/>
                  </a:lnTo>
                  <a:lnTo>
                    <a:pt x="891" y="7678"/>
                  </a:lnTo>
                  <a:lnTo>
                    <a:pt x="343" y="6961"/>
                  </a:lnTo>
                  <a:lnTo>
                    <a:pt x="0" y="6347"/>
                  </a:lnTo>
                  <a:lnTo>
                    <a:pt x="0" y="5016"/>
                  </a:lnTo>
                  <a:lnTo>
                    <a:pt x="0" y="4402"/>
                  </a:lnTo>
                  <a:lnTo>
                    <a:pt x="0" y="3276"/>
                  </a:lnTo>
                  <a:lnTo>
                    <a:pt x="0" y="2354"/>
                  </a:lnTo>
                  <a:lnTo>
                    <a:pt x="343" y="1228"/>
                  </a:lnTo>
                  <a:lnTo>
                    <a:pt x="343" y="0"/>
                  </a:lnTo>
                  <a:cubicBezTo>
                    <a:pt x="343" y="0"/>
                    <a:pt x="20503" y="5835"/>
                    <a:pt x="21600" y="5016"/>
                  </a:cubicBezTo>
                  <a:close/>
                  <a:moveTo>
                    <a:pt x="21600" y="501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4" name="Missouri"/>
            <p:cNvSpPr>
              <a:spLocks/>
            </p:cNvSpPr>
            <p:nvPr/>
          </p:nvSpPr>
          <p:spPr bwMode="auto">
            <a:xfrm>
              <a:off x="6865692" y="3356863"/>
              <a:ext cx="701054" cy="554196"/>
            </a:xfrm>
            <a:custGeom>
              <a:avLst/>
              <a:gdLst/>
              <a:ahLst/>
              <a:cxnLst/>
              <a:rect l="0" t="0" r="r" b="b"/>
              <a:pathLst>
                <a:path w="21600" h="21600">
                  <a:moveTo>
                    <a:pt x="3439" y="6985"/>
                  </a:moveTo>
                  <a:lnTo>
                    <a:pt x="2794" y="6506"/>
                  </a:lnTo>
                  <a:lnTo>
                    <a:pt x="2687" y="5248"/>
                  </a:lnTo>
                  <a:lnTo>
                    <a:pt x="2149" y="5248"/>
                  </a:lnTo>
                  <a:lnTo>
                    <a:pt x="1934" y="4709"/>
                  </a:lnTo>
                  <a:lnTo>
                    <a:pt x="2364" y="3751"/>
                  </a:lnTo>
                  <a:lnTo>
                    <a:pt x="967" y="2673"/>
                  </a:lnTo>
                  <a:lnTo>
                    <a:pt x="967" y="1235"/>
                  </a:lnTo>
                  <a:lnTo>
                    <a:pt x="578" y="452"/>
                  </a:lnTo>
                  <a:lnTo>
                    <a:pt x="0" y="0"/>
                  </a:lnTo>
                  <a:lnTo>
                    <a:pt x="12788" y="0"/>
                  </a:lnTo>
                  <a:lnTo>
                    <a:pt x="13648" y="756"/>
                  </a:lnTo>
                  <a:lnTo>
                    <a:pt x="13648" y="1826"/>
                  </a:lnTo>
                  <a:lnTo>
                    <a:pt x="13997" y="3392"/>
                  </a:lnTo>
                  <a:lnTo>
                    <a:pt x="14937" y="4590"/>
                  </a:lnTo>
                  <a:lnTo>
                    <a:pt x="16227" y="6386"/>
                  </a:lnTo>
                  <a:lnTo>
                    <a:pt x="16227" y="7960"/>
                  </a:lnTo>
                  <a:lnTo>
                    <a:pt x="17516" y="7345"/>
                  </a:lnTo>
                  <a:lnTo>
                    <a:pt x="18161" y="7960"/>
                  </a:lnTo>
                  <a:lnTo>
                    <a:pt x="17516" y="9999"/>
                  </a:lnTo>
                  <a:lnTo>
                    <a:pt x="17516" y="11178"/>
                  </a:lnTo>
                  <a:lnTo>
                    <a:pt x="19021" y="12376"/>
                  </a:lnTo>
                  <a:lnTo>
                    <a:pt x="20310" y="13454"/>
                  </a:lnTo>
                  <a:lnTo>
                    <a:pt x="20505" y="15254"/>
                  </a:lnTo>
                  <a:lnTo>
                    <a:pt x="21037" y="15960"/>
                  </a:lnTo>
                  <a:lnTo>
                    <a:pt x="21600" y="16209"/>
                  </a:lnTo>
                  <a:lnTo>
                    <a:pt x="21600" y="17886"/>
                  </a:lnTo>
                  <a:lnTo>
                    <a:pt x="21600" y="18845"/>
                  </a:lnTo>
                  <a:lnTo>
                    <a:pt x="20418" y="18845"/>
                  </a:lnTo>
                  <a:lnTo>
                    <a:pt x="20095" y="20402"/>
                  </a:lnTo>
                  <a:lnTo>
                    <a:pt x="19881" y="21600"/>
                  </a:lnTo>
                  <a:lnTo>
                    <a:pt x="18161" y="21600"/>
                  </a:lnTo>
                  <a:lnTo>
                    <a:pt x="17516" y="21600"/>
                  </a:lnTo>
                  <a:lnTo>
                    <a:pt x="18161" y="20282"/>
                  </a:lnTo>
                  <a:lnTo>
                    <a:pt x="18161" y="19564"/>
                  </a:lnTo>
                  <a:lnTo>
                    <a:pt x="17529" y="19564"/>
                  </a:lnTo>
                  <a:lnTo>
                    <a:pt x="3331" y="20043"/>
                  </a:lnTo>
                  <a:cubicBezTo>
                    <a:pt x="3331" y="20043"/>
                    <a:pt x="3439" y="6985"/>
                    <a:pt x="3439" y="6985"/>
                  </a:cubicBezTo>
                  <a:close/>
                  <a:moveTo>
                    <a:pt x="3439" y="6985"/>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7" name="Mississippi"/>
            <p:cNvSpPr>
              <a:spLocks/>
            </p:cNvSpPr>
            <p:nvPr/>
          </p:nvSpPr>
          <p:spPr bwMode="auto">
            <a:xfrm>
              <a:off x="7320198" y="4030046"/>
              <a:ext cx="369286" cy="574563"/>
            </a:xfrm>
            <a:custGeom>
              <a:avLst/>
              <a:gdLst/>
              <a:ahLst/>
              <a:cxnLst/>
              <a:rect l="0" t="0" r="r" b="b"/>
              <a:pathLst>
                <a:path w="21600" h="21600">
                  <a:moveTo>
                    <a:pt x="21600" y="21369"/>
                  </a:moveTo>
                  <a:lnTo>
                    <a:pt x="13449" y="21600"/>
                  </a:lnTo>
                  <a:lnTo>
                    <a:pt x="12227" y="20445"/>
                  </a:lnTo>
                  <a:lnTo>
                    <a:pt x="12227" y="18712"/>
                  </a:lnTo>
                  <a:lnTo>
                    <a:pt x="0" y="19221"/>
                  </a:lnTo>
                  <a:lnTo>
                    <a:pt x="0" y="17326"/>
                  </a:lnTo>
                  <a:lnTo>
                    <a:pt x="3260" y="13399"/>
                  </a:lnTo>
                  <a:lnTo>
                    <a:pt x="3045" y="12186"/>
                  </a:lnTo>
                  <a:lnTo>
                    <a:pt x="2611" y="10403"/>
                  </a:lnTo>
                  <a:lnTo>
                    <a:pt x="2242" y="9818"/>
                  </a:lnTo>
                  <a:lnTo>
                    <a:pt x="2649" y="8548"/>
                  </a:lnTo>
                  <a:lnTo>
                    <a:pt x="1834" y="7046"/>
                  </a:lnTo>
                  <a:lnTo>
                    <a:pt x="3464" y="4736"/>
                  </a:lnTo>
                  <a:lnTo>
                    <a:pt x="6725" y="2888"/>
                  </a:lnTo>
                  <a:lnTo>
                    <a:pt x="6725" y="520"/>
                  </a:lnTo>
                  <a:lnTo>
                    <a:pt x="8762" y="0"/>
                  </a:lnTo>
                  <a:lnTo>
                    <a:pt x="21600" y="0"/>
                  </a:lnTo>
                  <a:cubicBezTo>
                    <a:pt x="21600" y="0"/>
                    <a:pt x="19766" y="20792"/>
                    <a:pt x="21600" y="21369"/>
                  </a:cubicBezTo>
                  <a:close/>
                  <a:moveTo>
                    <a:pt x="21600" y="2136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2" name="Minnesota"/>
            <p:cNvSpPr>
              <a:spLocks/>
            </p:cNvSpPr>
            <p:nvPr/>
          </p:nvSpPr>
          <p:spPr bwMode="auto">
            <a:xfrm>
              <a:off x="6758498" y="2272053"/>
              <a:ext cx="697302" cy="722492"/>
            </a:xfrm>
            <a:custGeom>
              <a:avLst/>
              <a:gdLst/>
              <a:ahLst/>
              <a:cxnLst/>
              <a:rect l="0" t="0" r="r" b="b"/>
              <a:pathLst>
                <a:path w="21600" h="21600">
                  <a:moveTo>
                    <a:pt x="1512" y="21600"/>
                  </a:moveTo>
                  <a:lnTo>
                    <a:pt x="1512" y="14890"/>
                  </a:lnTo>
                  <a:lnTo>
                    <a:pt x="540" y="13787"/>
                  </a:lnTo>
                  <a:lnTo>
                    <a:pt x="1512" y="13052"/>
                  </a:lnTo>
                  <a:lnTo>
                    <a:pt x="1512" y="12500"/>
                  </a:lnTo>
                  <a:lnTo>
                    <a:pt x="1026" y="9651"/>
                  </a:lnTo>
                  <a:lnTo>
                    <a:pt x="1026" y="8456"/>
                  </a:lnTo>
                  <a:lnTo>
                    <a:pt x="1026" y="7169"/>
                  </a:lnTo>
                  <a:lnTo>
                    <a:pt x="972" y="6250"/>
                  </a:lnTo>
                  <a:lnTo>
                    <a:pt x="403" y="4765"/>
                  </a:lnTo>
                  <a:lnTo>
                    <a:pt x="324" y="3585"/>
                  </a:lnTo>
                  <a:lnTo>
                    <a:pt x="324" y="2390"/>
                  </a:lnTo>
                  <a:lnTo>
                    <a:pt x="0" y="1287"/>
                  </a:lnTo>
                  <a:lnTo>
                    <a:pt x="5832" y="1287"/>
                  </a:lnTo>
                  <a:lnTo>
                    <a:pt x="5832" y="0"/>
                  </a:lnTo>
                  <a:lnTo>
                    <a:pt x="6804" y="0"/>
                  </a:lnTo>
                  <a:lnTo>
                    <a:pt x="7236" y="1654"/>
                  </a:lnTo>
                  <a:lnTo>
                    <a:pt x="8640" y="2390"/>
                  </a:lnTo>
                  <a:lnTo>
                    <a:pt x="9720" y="2482"/>
                  </a:lnTo>
                  <a:lnTo>
                    <a:pt x="9720" y="2941"/>
                  </a:lnTo>
                  <a:lnTo>
                    <a:pt x="10692" y="2849"/>
                  </a:lnTo>
                  <a:lnTo>
                    <a:pt x="10692" y="2390"/>
                  </a:lnTo>
                  <a:lnTo>
                    <a:pt x="12312" y="2482"/>
                  </a:lnTo>
                  <a:lnTo>
                    <a:pt x="13284" y="2757"/>
                  </a:lnTo>
                  <a:lnTo>
                    <a:pt x="13932" y="3677"/>
                  </a:lnTo>
                  <a:lnTo>
                    <a:pt x="14580" y="3401"/>
                  </a:lnTo>
                  <a:lnTo>
                    <a:pt x="15120" y="4044"/>
                  </a:lnTo>
                  <a:lnTo>
                    <a:pt x="15768" y="3952"/>
                  </a:lnTo>
                  <a:lnTo>
                    <a:pt x="15768" y="4320"/>
                  </a:lnTo>
                  <a:lnTo>
                    <a:pt x="16632" y="4228"/>
                  </a:lnTo>
                  <a:lnTo>
                    <a:pt x="17928" y="3677"/>
                  </a:lnTo>
                  <a:lnTo>
                    <a:pt x="18792" y="4228"/>
                  </a:lnTo>
                  <a:lnTo>
                    <a:pt x="19764" y="3952"/>
                  </a:lnTo>
                  <a:lnTo>
                    <a:pt x="20844" y="4228"/>
                  </a:lnTo>
                  <a:lnTo>
                    <a:pt x="21600" y="4504"/>
                  </a:lnTo>
                  <a:lnTo>
                    <a:pt x="20952" y="5193"/>
                  </a:lnTo>
                  <a:lnTo>
                    <a:pt x="19764" y="5193"/>
                  </a:lnTo>
                  <a:lnTo>
                    <a:pt x="18900" y="6250"/>
                  </a:lnTo>
                  <a:lnTo>
                    <a:pt x="17388" y="6802"/>
                  </a:lnTo>
                  <a:lnTo>
                    <a:pt x="16632" y="7721"/>
                  </a:lnTo>
                  <a:lnTo>
                    <a:pt x="15660" y="8640"/>
                  </a:lnTo>
                  <a:lnTo>
                    <a:pt x="14796" y="9099"/>
                  </a:lnTo>
                  <a:lnTo>
                    <a:pt x="14148" y="10019"/>
                  </a:lnTo>
                  <a:lnTo>
                    <a:pt x="14472" y="10800"/>
                  </a:lnTo>
                  <a:lnTo>
                    <a:pt x="14364" y="11188"/>
                  </a:lnTo>
                  <a:lnTo>
                    <a:pt x="13608" y="12041"/>
                  </a:lnTo>
                  <a:lnTo>
                    <a:pt x="12856" y="13159"/>
                  </a:lnTo>
                  <a:lnTo>
                    <a:pt x="13068" y="14063"/>
                  </a:lnTo>
                  <a:lnTo>
                    <a:pt x="12636" y="15350"/>
                  </a:lnTo>
                  <a:lnTo>
                    <a:pt x="12960" y="16820"/>
                  </a:lnTo>
                  <a:lnTo>
                    <a:pt x="14040" y="17464"/>
                  </a:lnTo>
                  <a:lnTo>
                    <a:pt x="15336" y="18370"/>
                  </a:lnTo>
                  <a:lnTo>
                    <a:pt x="16740" y="19486"/>
                  </a:lnTo>
                  <a:lnTo>
                    <a:pt x="17604" y="20037"/>
                  </a:lnTo>
                  <a:lnTo>
                    <a:pt x="17604" y="21600"/>
                  </a:lnTo>
                  <a:lnTo>
                    <a:pt x="16848" y="21600"/>
                  </a:lnTo>
                  <a:lnTo>
                    <a:pt x="13392" y="21600"/>
                  </a:lnTo>
                  <a:lnTo>
                    <a:pt x="10800" y="21600"/>
                  </a:lnTo>
                  <a:lnTo>
                    <a:pt x="7884" y="21600"/>
                  </a:lnTo>
                  <a:lnTo>
                    <a:pt x="5724" y="21600"/>
                  </a:lnTo>
                  <a:lnTo>
                    <a:pt x="3564" y="21600"/>
                  </a:lnTo>
                  <a:lnTo>
                    <a:pt x="2542" y="21600"/>
                  </a:lnTo>
                  <a:cubicBezTo>
                    <a:pt x="2542" y="21600"/>
                    <a:pt x="1512" y="21600"/>
                    <a:pt x="1512" y="21600"/>
                  </a:cubicBezTo>
                  <a:close/>
                  <a:moveTo>
                    <a:pt x="1512"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2" name="Michigan"/>
            <p:cNvSpPr>
              <a:spLocks/>
            </p:cNvSpPr>
            <p:nvPr/>
          </p:nvSpPr>
          <p:spPr bwMode="auto">
            <a:xfrm>
              <a:off x="7388802" y="2482155"/>
              <a:ext cx="802889" cy="722492"/>
            </a:xfrm>
            <a:custGeom>
              <a:avLst/>
              <a:gdLst/>
              <a:ahLst/>
              <a:cxnLst/>
              <a:rect l="0" t="0" r="r" b="b"/>
              <a:pathLst>
                <a:path w="21600" h="21600">
                  <a:moveTo>
                    <a:pt x="19806" y="20084"/>
                  </a:moveTo>
                  <a:lnTo>
                    <a:pt x="10688" y="21003"/>
                  </a:lnTo>
                  <a:lnTo>
                    <a:pt x="9118" y="21600"/>
                  </a:lnTo>
                  <a:lnTo>
                    <a:pt x="8371" y="21600"/>
                  </a:lnTo>
                  <a:lnTo>
                    <a:pt x="8371" y="21003"/>
                  </a:lnTo>
                  <a:lnTo>
                    <a:pt x="10464" y="20523"/>
                  </a:lnTo>
                  <a:lnTo>
                    <a:pt x="11211" y="19302"/>
                  </a:lnTo>
                  <a:lnTo>
                    <a:pt x="11734" y="17887"/>
                  </a:lnTo>
                  <a:lnTo>
                    <a:pt x="11734" y="16862"/>
                  </a:lnTo>
                  <a:lnTo>
                    <a:pt x="11435" y="15691"/>
                  </a:lnTo>
                  <a:lnTo>
                    <a:pt x="10837" y="14706"/>
                  </a:lnTo>
                  <a:lnTo>
                    <a:pt x="10763" y="13421"/>
                  </a:lnTo>
                  <a:lnTo>
                    <a:pt x="10613" y="12120"/>
                  </a:lnTo>
                  <a:lnTo>
                    <a:pt x="10987" y="10543"/>
                  </a:lnTo>
                  <a:lnTo>
                    <a:pt x="11360" y="9614"/>
                  </a:lnTo>
                  <a:lnTo>
                    <a:pt x="11660" y="8640"/>
                  </a:lnTo>
                  <a:lnTo>
                    <a:pt x="12482" y="8640"/>
                  </a:lnTo>
                  <a:lnTo>
                    <a:pt x="12855" y="8640"/>
                  </a:lnTo>
                  <a:lnTo>
                    <a:pt x="13229" y="8640"/>
                  </a:lnTo>
                  <a:lnTo>
                    <a:pt x="12781" y="7857"/>
                  </a:lnTo>
                  <a:lnTo>
                    <a:pt x="13304" y="7491"/>
                  </a:lnTo>
                  <a:lnTo>
                    <a:pt x="14008" y="6686"/>
                  </a:lnTo>
                  <a:lnTo>
                    <a:pt x="14008" y="6250"/>
                  </a:lnTo>
                  <a:lnTo>
                    <a:pt x="14425" y="5587"/>
                  </a:lnTo>
                  <a:lnTo>
                    <a:pt x="14574" y="4938"/>
                  </a:lnTo>
                  <a:lnTo>
                    <a:pt x="14008" y="4550"/>
                  </a:lnTo>
                  <a:lnTo>
                    <a:pt x="13154" y="4550"/>
                  </a:lnTo>
                  <a:lnTo>
                    <a:pt x="12706" y="4550"/>
                  </a:lnTo>
                  <a:lnTo>
                    <a:pt x="12033" y="4938"/>
                  </a:lnTo>
                  <a:lnTo>
                    <a:pt x="11510" y="4938"/>
                  </a:lnTo>
                  <a:lnTo>
                    <a:pt x="10837" y="4938"/>
                  </a:lnTo>
                  <a:lnTo>
                    <a:pt x="10538" y="5734"/>
                  </a:lnTo>
                  <a:lnTo>
                    <a:pt x="10090" y="6250"/>
                  </a:lnTo>
                  <a:lnTo>
                    <a:pt x="9866" y="5734"/>
                  </a:lnTo>
                  <a:lnTo>
                    <a:pt x="9118" y="6250"/>
                  </a:lnTo>
                  <a:lnTo>
                    <a:pt x="8745" y="5734"/>
                  </a:lnTo>
                  <a:lnTo>
                    <a:pt x="8745" y="6250"/>
                  </a:lnTo>
                  <a:lnTo>
                    <a:pt x="8371" y="7637"/>
                  </a:lnTo>
                  <a:lnTo>
                    <a:pt x="7386" y="8308"/>
                  </a:lnTo>
                  <a:lnTo>
                    <a:pt x="6876" y="6979"/>
                  </a:lnTo>
                  <a:lnTo>
                    <a:pt x="6876" y="6250"/>
                  </a:lnTo>
                  <a:lnTo>
                    <a:pt x="6129" y="5807"/>
                  </a:lnTo>
                  <a:lnTo>
                    <a:pt x="5755" y="5441"/>
                  </a:lnTo>
                  <a:lnTo>
                    <a:pt x="4335" y="5368"/>
                  </a:lnTo>
                  <a:lnTo>
                    <a:pt x="3737" y="4938"/>
                  </a:lnTo>
                  <a:lnTo>
                    <a:pt x="2692" y="4677"/>
                  </a:lnTo>
                  <a:lnTo>
                    <a:pt x="1810" y="4550"/>
                  </a:lnTo>
                  <a:lnTo>
                    <a:pt x="1247" y="4550"/>
                  </a:lnTo>
                  <a:lnTo>
                    <a:pt x="822" y="4050"/>
                  </a:lnTo>
                  <a:lnTo>
                    <a:pt x="523" y="3684"/>
                  </a:lnTo>
                  <a:lnTo>
                    <a:pt x="0" y="3391"/>
                  </a:lnTo>
                  <a:lnTo>
                    <a:pt x="1810" y="2512"/>
                  </a:lnTo>
                  <a:lnTo>
                    <a:pt x="2765" y="2146"/>
                  </a:lnTo>
                  <a:lnTo>
                    <a:pt x="3494" y="1853"/>
                  </a:lnTo>
                  <a:lnTo>
                    <a:pt x="3494" y="1341"/>
                  </a:lnTo>
                  <a:lnTo>
                    <a:pt x="4260" y="1341"/>
                  </a:lnTo>
                  <a:lnTo>
                    <a:pt x="4812" y="829"/>
                  </a:lnTo>
                  <a:lnTo>
                    <a:pt x="4812" y="243"/>
                  </a:lnTo>
                  <a:lnTo>
                    <a:pt x="5606" y="243"/>
                  </a:lnTo>
                  <a:lnTo>
                    <a:pt x="6428" y="0"/>
                  </a:lnTo>
                  <a:lnTo>
                    <a:pt x="5830" y="682"/>
                  </a:lnTo>
                  <a:lnTo>
                    <a:pt x="5307" y="1414"/>
                  </a:lnTo>
                  <a:lnTo>
                    <a:pt x="4812" y="2146"/>
                  </a:lnTo>
                  <a:lnTo>
                    <a:pt x="4812" y="2439"/>
                  </a:lnTo>
                  <a:lnTo>
                    <a:pt x="5979" y="2146"/>
                  </a:lnTo>
                  <a:lnTo>
                    <a:pt x="6951" y="2146"/>
                  </a:lnTo>
                  <a:lnTo>
                    <a:pt x="7549" y="2805"/>
                  </a:lnTo>
                  <a:lnTo>
                    <a:pt x="8147" y="3318"/>
                  </a:lnTo>
                  <a:lnTo>
                    <a:pt x="8745" y="3245"/>
                  </a:lnTo>
                  <a:lnTo>
                    <a:pt x="9118" y="3464"/>
                  </a:lnTo>
                  <a:lnTo>
                    <a:pt x="9903" y="3245"/>
                  </a:lnTo>
                  <a:lnTo>
                    <a:pt x="10688" y="2732"/>
                  </a:lnTo>
                  <a:lnTo>
                    <a:pt x="11734" y="2439"/>
                  </a:lnTo>
                  <a:lnTo>
                    <a:pt x="12706" y="2146"/>
                  </a:lnTo>
                  <a:lnTo>
                    <a:pt x="13453" y="1780"/>
                  </a:lnTo>
                  <a:lnTo>
                    <a:pt x="14008" y="2146"/>
                  </a:lnTo>
                  <a:lnTo>
                    <a:pt x="14008" y="2586"/>
                  </a:lnTo>
                  <a:lnTo>
                    <a:pt x="14350" y="3025"/>
                  </a:lnTo>
                  <a:lnTo>
                    <a:pt x="15247" y="2659"/>
                  </a:lnTo>
                  <a:lnTo>
                    <a:pt x="15994" y="3098"/>
                  </a:lnTo>
                  <a:lnTo>
                    <a:pt x="16592" y="3830"/>
                  </a:lnTo>
                  <a:lnTo>
                    <a:pt x="17116" y="3904"/>
                  </a:lnTo>
                  <a:lnTo>
                    <a:pt x="17788" y="3904"/>
                  </a:lnTo>
                  <a:lnTo>
                    <a:pt x="17639" y="4550"/>
                  </a:lnTo>
                  <a:lnTo>
                    <a:pt x="16966" y="4550"/>
                  </a:lnTo>
                  <a:lnTo>
                    <a:pt x="16368" y="4550"/>
                  </a:lnTo>
                  <a:lnTo>
                    <a:pt x="15696" y="4550"/>
                  </a:lnTo>
                  <a:lnTo>
                    <a:pt x="15023" y="4550"/>
                  </a:lnTo>
                  <a:lnTo>
                    <a:pt x="14948" y="5514"/>
                  </a:lnTo>
                  <a:lnTo>
                    <a:pt x="15845" y="5807"/>
                  </a:lnTo>
                  <a:lnTo>
                    <a:pt x="16817" y="6250"/>
                  </a:lnTo>
                  <a:lnTo>
                    <a:pt x="17564" y="6250"/>
                  </a:lnTo>
                  <a:lnTo>
                    <a:pt x="18237" y="6759"/>
                  </a:lnTo>
                  <a:lnTo>
                    <a:pt x="18610" y="7345"/>
                  </a:lnTo>
                  <a:lnTo>
                    <a:pt x="18311" y="8004"/>
                  </a:lnTo>
                  <a:lnTo>
                    <a:pt x="18835" y="8640"/>
                  </a:lnTo>
                  <a:lnTo>
                    <a:pt x="18909" y="9468"/>
                  </a:lnTo>
                  <a:lnTo>
                    <a:pt x="18760" y="10543"/>
                  </a:lnTo>
                  <a:lnTo>
                    <a:pt x="18311" y="11152"/>
                  </a:lnTo>
                  <a:lnTo>
                    <a:pt x="17788" y="11737"/>
                  </a:lnTo>
                  <a:lnTo>
                    <a:pt x="17340" y="12120"/>
                  </a:lnTo>
                  <a:lnTo>
                    <a:pt x="17714" y="12909"/>
                  </a:lnTo>
                  <a:lnTo>
                    <a:pt x="18087" y="13202"/>
                  </a:lnTo>
                  <a:lnTo>
                    <a:pt x="18685" y="12543"/>
                  </a:lnTo>
                  <a:lnTo>
                    <a:pt x="19134" y="12120"/>
                  </a:lnTo>
                  <a:lnTo>
                    <a:pt x="19806" y="11371"/>
                  </a:lnTo>
                  <a:lnTo>
                    <a:pt x="20628" y="11591"/>
                  </a:lnTo>
                  <a:lnTo>
                    <a:pt x="21077" y="12120"/>
                  </a:lnTo>
                  <a:lnTo>
                    <a:pt x="21077" y="13202"/>
                  </a:lnTo>
                  <a:lnTo>
                    <a:pt x="21600" y="13568"/>
                  </a:lnTo>
                  <a:lnTo>
                    <a:pt x="21600" y="14706"/>
                  </a:lnTo>
                  <a:lnTo>
                    <a:pt x="21600" y="15350"/>
                  </a:lnTo>
                  <a:lnTo>
                    <a:pt x="21600" y="16179"/>
                  </a:lnTo>
                  <a:lnTo>
                    <a:pt x="21226" y="16569"/>
                  </a:lnTo>
                  <a:lnTo>
                    <a:pt x="20778" y="17228"/>
                  </a:lnTo>
                  <a:lnTo>
                    <a:pt x="20404" y="17814"/>
                  </a:lnTo>
                  <a:lnTo>
                    <a:pt x="20180" y="18180"/>
                  </a:lnTo>
                  <a:lnTo>
                    <a:pt x="20180" y="18940"/>
                  </a:lnTo>
                  <a:lnTo>
                    <a:pt x="19732" y="19718"/>
                  </a:lnTo>
                  <a:cubicBezTo>
                    <a:pt x="19732" y="19718"/>
                    <a:pt x="19806" y="20084"/>
                    <a:pt x="19806" y="20084"/>
                  </a:cubicBezTo>
                  <a:close/>
                  <a:moveTo>
                    <a:pt x="19806" y="20084"/>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0" name="Massachusetts"/>
            <p:cNvSpPr>
              <a:spLocks/>
            </p:cNvSpPr>
            <p:nvPr/>
          </p:nvSpPr>
          <p:spPr bwMode="auto">
            <a:xfrm>
              <a:off x="9129643" y="2794627"/>
              <a:ext cx="341415" cy="170440"/>
            </a:xfrm>
            <a:custGeom>
              <a:avLst/>
              <a:gdLst/>
              <a:ahLst/>
              <a:cxnLst/>
              <a:rect l="0" t="0" r="r" b="b"/>
              <a:pathLst>
                <a:path w="21600" h="21600">
                  <a:moveTo>
                    <a:pt x="0" y="9634"/>
                  </a:moveTo>
                  <a:lnTo>
                    <a:pt x="0" y="17715"/>
                  </a:lnTo>
                  <a:lnTo>
                    <a:pt x="0" y="19891"/>
                  </a:lnTo>
                  <a:lnTo>
                    <a:pt x="0" y="21134"/>
                  </a:lnTo>
                  <a:lnTo>
                    <a:pt x="908" y="20711"/>
                  </a:lnTo>
                  <a:lnTo>
                    <a:pt x="5532" y="18647"/>
                  </a:lnTo>
                  <a:lnTo>
                    <a:pt x="7727" y="17715"/>
                  </a:lnTo>
                  <a:lnTo>
                    <a:pt x="10185" y="17715"/>
                  </a:lnTo>
                  <a:lnTo>
                    <a:pt x="12205" y="15850"/>
                  </a:lnTo>
                  <a:lnTo>
                    <a:pt x="14224" y="19269"/>
                  </a:lnTo>
                  <a:lnTo>
                    <a:pt x="15278" y="21600"/>
                  </a:lnTo>
                  <a:lnTo>
                    <a:pt x="16156" y="21600"/>
                  </a:lnTo>
                  <a:lnTo>
                    <a:pt x="17386" y="19891"/>
                  </a:lnTo>
                  <a:lnTo>
                    <a:pt x="17386" y="17715"/>
                  </a:lnTo>
                  <a:lnTo>
                    <a:pt x="18790" y="20201"/>
                  </a:lnTo>
                  <a:lnTo>
                    <a:pt x="20195" y="17715"/>
                  </a:lnTo>
                  <a:lnTo>
                    <a:pt x="21600" y="17715"/>
                  </a:lnTo>
                  <a:lnTo>
                    <a:pt x="21600" y="14607"/>
                  </a:lnTo>
                  <a:lnTo>
                    <a:pt x="21600" y="12121"/>
                  </a:lnTo>
                  <a:lnTo>
                    <a:pt x="20019" y="11189"/>
                  </a:lnTo>
                  <a:lnTo>
                    <a:pt x="20722" y="14296"/>
                  </a:lnTo>
                  <a:lnTo>
                    <a:pt x="19844" y="15617"/>
                  </a:lnTo>
                  <a:lnTo>
                    <a:pt x="18790" y="15850"/>
                  </a:lnTo>
                  <a:lnTo>
                    <a:pt x="17737" y="13986"/>
                  </a:lnTo>
                  <a:lnTo>
                    <a:pt x="16859" y="12121"/>
                  </a:lnTo>
                  <a:lnTo>
                    <a:pt x="15454" y="9634"/>
                  </a:lnTo>
                  <a:lnTo>
                    <a:pt x="14224" y="9634"/>
                  </a:lnTo>
                  <a:lnTo>
                    <a:pt x="15102" y="6277"/>
                  </a:lnTo>
                  <a:lnTo>
                    <a:pt x="15805" y="5187"/>
                  </a:lnTo>
                  <a:lnTo>
                    <a:pt x="14224" y="2486"/>
                  </a:lnTo>
                  <a:lnTo>
                    <a:pt x="14224" y="0"/>
                  </a:lnTo>
                  <a:lnTo>
                    <a:pt x="12995" y="932"/>
                  </a:lnTo>
                  <a:lnTo>
                    <a:pt x="11966" y="3080"/>
                  </a:lnTo>
                  <a:lnTo>
                    <a:pt x="8956" y="6277"/>
                  </a:lnTo>
                  <a:lnTo>
                    <a:pt x="5532" y="6277"/>
                  </a:lnTo>
                  <a:lnTo>
                    <a:pt x="2810" y="8080"/>
                  </a:lnTo>
                  <a:cubicBezTo>
                    <a:pt x="2810" y="8080"/>
                    <a:pt x="0" y="9634"/>
                    <a:pt x="0" y="9634"/>
                  </a:cubicBezTo>
                  <a:close/>
                  <a:moveTo>
                    <a:pt x="0" y="9634"/>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60" name="Maryland">
              <a:extLst>
                <a:ext uri="{FF2B5EF4-FFF2-40B4-BE49-F238E27FC236}">
                  <a16:creationId xmlns:a16="http://schemas.microsoft.com/office/drawing/2014/main" id="{0F11151A-4782-1146-894F-F7282CF7DBDA}"/>
                </a:ext>
              </a:extLst>
            </p:cNvPr>
            <p:cNvSpPr>
              <a:spLocks/>
            </p:cNvSpPr>
            <p:nvPr/>
          </p:nvSpPr>
          <p:spPr bwMode="auto">
            <a:xfrm>
              <a:off x="8709440" y="3288259"/>
              <a:ext cx="347312" cy="203134"/>
            </a:xfrm>
            <a:custGeom>
              <a:avLst/>
              <a:gdLst>
                <a:gd name="connsiteX0" fmla="*/ 233558 w 347312"/>
                <a:gd name="connsiteY0" fmla="*/ 34302 h 203134"/>
                <a:gd name="connsiteX1" fmla="*/ 258529 w 347312"/>
                <a:gd name="connsiteY1" fmla="*/ 68155 h 203134"/>
                <a:gd name="connsiteX2" fmla="*/ 275175 w 347312"/>
                <a:gd name="connsiteY2" fmla="*/ 101389 h 203134"/>
                <a:gd name="connsiteX3" fmla="*/ 275175 w 347312"/>
                <a:gd name="connsiteY3" fmla="*/ 135164 h 203134"/>
                <a:gd name="connsiteX4" fmla="*/ 290438 w 347312"/>
                <a:gd name="connsiteY4" fmla="*/ 150171 h 203134"/>
                <a:gd name="connsiteX5" fmla="*/ 347312 w 347312"/>
                <a:gd name="connsiteY5" fmla="*/ 135164 h 203134"/>
                <a:gd name="connsiteX6" fmla="*/ 336215 w 347312"/>
                <a:gd name="connsiteY6" fmla="*/ 202736 h 203134"/>
                <a:gd name="connsiteX7" fmla="*/ 276564 w 347312"/>
                <a:gd name="connsiteY7" fmla="*/ 203134 h 203134"/>
                <a:gd name="connsiteX8" fmla="*/ 261300 w 347312"/>
                <a:gd name="connsiteY8" fmla="*/ 178661 h 203134"/>
                <a:gd name="connsiteX9" fmla="*/ 233558 w 347312"/>
                <a:gd name="connsiteY9" fmla="*/ 176215 h 203134"/>
                <a:gd name="connsiteX10" fmla="*/ 219690 w 347312"/>
                <a:gd name="connsiteY10" fmla="*/ 150171 h 203134"/>
                <a:gd name="connsiteX11" fmla="*/ 219690 w 347312"/>
                <a:gd name="connsiteY11" fmla="*/ 135164 h 203134"/>
                <a:gd name="connsiteX12" fmla="*/ 205815 w 347312"/>
                <a:gd name="connsiteY12" fmla="*/ 118523 h 203134"/>
                <a:gd name="connsiteX13" fmla="*/ 222461 w 347312"/>
                <a:gd name="connsiteY13" fmla="*/ 101389 h 203134"/>
                <a:gd name="connsiteX14" fmla="*/ 205815 w 347312"/>
                <a:gd name="connsiteY14" fmla="*/ 87547 h 203134"/>
                <a:gd name="connsiteX15" fmla="*/ 205815 w 347312"/>
                <a:gd name="connsiteY15" fmla="*/ 51428 h 203134"/>
                <a:gd name="connsiteX16" fmla="*/ 191631 w 347312"/>
                <a:gd name="connsiteY16" fmla="*/ 0 h 203134"/>
                <a:gd name="connsiteX17" fmla="*/ 233293 w 347312"/>
                <a:gd name="connsiteY17" fmla="*/ 0 h 203134"/>
                <a:gd name="connsiteX18" fmla="*/ 244404 w 347312"/>
                <a:gd name="connsiteY18" fmla="*/ 17118 h 203134"/>
                <a:gd name="connsiteX19" fmla="*/ 233293 w 347312"/>
                <a:gd name="connsiteY19" fmla="*/ 34235 h 203134"/>
                <a:gd name="connsiteX20" fmla="*/ 205526 w 347312"/>
                <a:gd name="connsiteY20" fmla="*/ 51362 h 203134"/>
                <a:gd name="connsiteX21" fmla="*/ 183303 w 347312"/>
                <a:gd name="connsiteY21" fmla="*/ 68077 h 203134"/>
                <a:gd name="connsiteX22" fmla="*/ 183303 w 347312"/>
                <a:gd name="connsiteY22" fmla="*/ 114881 h 203134"/>
                <a:gd name="connsiteX23" fmla="*/ 183303 w 347312"/>
                <a:gd name="connsiteY23" fmla="*/ 135056 h 203134"/>
                <a:gd name="connsiteX24" fmla="*/ 183303 w 347312"/>
                <a:gd name="connsiteY24" fmla="*/ 150054 h 203134"/>
                <a:gd name="connsiteX25" fmla="*/ 213854 w 347312"/>
                <a:gd name="connsiteY25" fmla="*/ 171205 h 203134"/>
                <a:gd name="connsiteX26" fmla="*/ 222181 w 347312"/>
                <a:gd name="connsiteY26" fmla="*/ 202598 h 203134"/>
                <a:gd name="connsiteX27" fmla="*/ 186086 w 347312"/>
                <a:gd name="connsiteY27" fmla="*/ 202598 h 203134"/>
                <a:gd name="connsiteX28" fmla="*/ 155525 w 347312"/>
                <a:gd name="connsiteY28" fmla="*/ 202598 h 203134"/>
                <a:gd name="connsiteX29" fmla="*/ 141652 w 347312"/>
                <a:gd name="connsiteY29" fmla="*/ 188313 h 203134"/>
                <a:gd name="connsiteX30" fmla="*/ 111102 w 347312"/>
                <a:gd name="connsiteY30" fmla="*/ 202598 h 203134"/>
                <a:gd name="connsiteX31" fmla="*/ 113863 w 347312"/>
                <a:gd name="connsiteY31" fmla="*/ 150054 h 203134"/>
                <a:gd name="connsiteX32" fmla="*/ 88879 w 347312"/>
                <a:gd name="connsiteY32" fmla="*/ 135056 h 203134"/>
                <a:gd name="connsiteX33" fmla="*/ 86096 w 347312"/>
                <a:gd name="connsiteY33" fmla="*/ 114881 h 203134"/>
                <a:gd name="connsiteX34" fmla="*/ 72212 w 347312"/>
                <a:gd name="connsiteY34" fmla="*/ 87464 h 203134"/>
                <a:gd name="connsiteX35" fmla="*/ 49990 w 347312"/>
                <a:gd name="connsiteY35" fmla="*/ 78263 h 203134"/>
                <a:gd name="connsiteX36" fmla="*/ 26817 w 347312"/>
                <a:gd name="connsiteY36" fmla="*/ 54139 h 203134"/>
                <a:gd name="connsiteX37" fmla="*/ 0 w 347312"/>
                <a:gd name="connsiteY37" fmla="*/ 46466 h 203134"/>
                <a:gd name="connsiteX38" fmla="*/ 0 w 347312"/>
                <a:gd name="connsiteY38" fmla="*/ 31797 h 203134"/>
                <a:gd name="connsiteX39" fmla="*/ 108318 w 347312"/>
                <a:gd name="connsiteY39" fmla="*/ 17118 h 20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47312" h="203134">
                  <a:moveTo>
                    <a:pt x="233558" y="34302"/>
                  </a:moveTo>
                  <a:lnTo>
                    <a:pt x="258529" y="68155"/>
                  </a:lnTo>
                  <a:lnTo>
                    <a:pt x="275175" y="101389"/>
                  </a:lnTo>
                  <a:lnTo>
                    <a:pt x="275175" y="135164"/>
                  </a:lnTo>
                  <a:lnTo>
                    <a:pt x="290438" y="150171"/>
                  </a:lnTo>
                  <a:lnTo>
                    <a:pt x="347312" y="135164"/>
                  </a:lnTo>
                  <a:lnTo>
                    <a:pt x="336215" y="202736"/>
                  </a:lnTo>
                  <a:cubicBezTo>
                    <a:pt x="336215" y="202736"/>
                    <a:pt x="276564" y="203134"/>
                    <a:pt x="276564" y="203134"/>
                  </a:cubicBezTo>
                  <a:lnTo>
                    <a:pt x="261300" y="178661"/>
                  </a:lnTo>
                  <a:lnTo>
                    <a:pt x="233558" y="176215"/>
                  </a:lnTo>
                  <a:lnTo>
                    <a:pt x="219690" y="150171"/>
                  </a:lnTo>
                  <a:lnTo>
                    <a:pt x="219690" y="135164"/>
                  </a:lnTo>
                  <a:lnTo>
                    <a:pt x="205815" y="118523"/>
                  </a:lnTo>
                  <a:lnTo>
                    <a:pt x="222461" y="101389"/>
                  </a:lnTo>
                  <a:lnTo>
                    <a:pt x="205815" y="87547"/>
                  </a:lnTo>
                  <a:lnTo>
                    <a:pt x="205815" y="51428"/>
                  </a:lnTo>
                  <a:close/>
                  <a:moveTo>
                    <a:pt x="191631" y="0"/>
                  </a:moveTo>
                  <a:cubicBezTo>
                    <a:pt x="191631" y="0"/>
                    <a:pt x="233293" y="0"/>
                    <a:pt x="233293" y="0"/>
                  </a:cubicBezTo>
                  <a:lnTo>
                    <a:pt x="244404" y="17118"/>
                  </a:lnTo>
                  <a:lnTo>
                    <a:pt x="233293" y="34235"/>
                  </a:lnTo>
                  <a:lnTo>
                    <a:pt x="205526" y="51362"/>
                  </a:lnTo>
                  <a:lnTo>
                    <a:pt x="183303" y="68077"/>
                  </a:lnTo>
                  <a:lnTo>
                    <a:pt x="183303" y="114881"/>
                  </a:lnTo>
                  <a:lnTo>
                    <a:pt x="183303" y="135056"/>
                  </a:lnTo>
                  <a:lnTo>
                    <a:pt x="183303" y="150054"/>
                  </a:lnTo>
                  <a:lnTo>
                    <a:pt x="213854" y="171205"/>
                  </a:lnTo>
                  <a:lnTo>
                    <a:pt x="222181" y="202598"/>
                  </a:lnTo>
                  <a:lnTo>
                    <a:pt x="186086" y="202598"/>
                  </a:lnTo>
                  <a:lnTo>
                    <a:pt x="155525" y="202598"/>
                  </a:lnTo>
                  <a:lnTo>
                    <a:pt x="141652" y="188313"/>
                  </a:lnTo>
                  <a:lnTo>
                    <a:pt x="111102" y="202598"/>
                  </a:lnTo>
                  <a:lnTo>
                    <a:pt x="113863" y="150054"/>
                  </a:lnTo>
                  <a:lnTo>
                    <a:pt x="88879" y="135056"/>
                  </a:lnTo>
                  <a:lnTo>
                    <a:pt x="86096" y="114881"/>
                  </a:lnTo>
                  <a:lnTo>
                    <a:pt x="72212" y="87464"/>
                  </a:lnTo>
                  <a:lnTo>
                    <a:pt x="49990" y="78263"/>
                  </a:lnTo>
                  <a:lnTo>
                    <a:pt x="26817" y="54139"/>
                  </a:lnTo>
                  <a:lnTo>
                    <a:pt x="0" y="46466"/>
                  </a:lnTo>
                  <a:lnTo>
                    <a:pt x="0" y="31797"/>
                  </a:lnTo>
                  <a:lnTo>
                    <a:pt x="108318" y="17118"/>
                  </a:lnTo>
                  <a:close/>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4" name="Maine"/>
            <p:cNvSpPr>
              <a:spLocks/>
            </p:cNvSpPr>
            <p:nvPr/>
          </p:nvSpPr>
          <p:spPr bwMode="auto">
            <a:xfrm>
              <a:off x="9258277" y="2216312"/>
              <a:ext cx="408412" cy="529006"/>
            </a:xfrm>
            <a:custGeom>
              <a:avLst/>
              <a:gdLst/>
              <a:ahLst/>
              <a:cxnLst/>
              <a:rect l="0" t="0" r="r" b="b"/>
              <a:pathLst>
                <a:path w="21600" h="21600">
                  <a:moveTo>
                    <a:pt x="21600" y="11400"/>
                  </a:moveTo>
                  <a:lnTo>
                    <a:pt x="20571" y="10968"/>
                  </a:lnTo>
                  <a:lnTo>
                    <a:pt x="20571" y="10300"/>
                  </a:lnTo>
                  <a:lnTo>
                    <a:pt x="20571" y="9600"/>
                  </a:lnTo>
                  <a:lnTo>
                    <a:pt x="18661" y="9600"/>
                  </a:lnTo>
                  <a:lnTo>
                    <a:pt x="17926" y="8700"/>
                  </a:lnTo>
                  <a:lnTo>
                    <a:pt x="17926" y="7900"/>
                  </a:lnTo>
                  <a:lnTo>
                    <a:pt x="16457" y="7900"/>
                  </a:lnTo>
                  <a:lnTo>
                    <a:pt x="15575" y="7100"/>
                  </a:lnTo>
                  <a:lnTo>
                    <a:pt x="15575" y="5500"/>
                  </a:lnTo>
                  <a:lnTo>
                    <a:pt x="14253" y="3800"/>
                  </a:lnTo>
                  <a:lnTo>
                    <a:pt x="13518" y="2500"/>
                  </a:lnTo>
                  <a:lnTo>
                    <a:pt x="13518" y="1300"/>
                  </a:lnTo>
                  <a:lnTo>
                    <a:pt x="12343" y="500"/>
                  </a:lnTo>
                  <a:lnTo>
                    <a:pt x="10433" y="0"/>
                  </a:lnTo>
                  <a:lnTo>
                    <a:pt x="9257" y="0"/>
                  </a:lnTo>
                  <a:lnTo>
                    <a:pt x="7935" y="800"/>
                  </a:lnTo>
                  <a:lnTo>
                    <a:pt x="6906" y="1300"/>
                  </a:lnTo>
                  <a:lnTo>
                    <a:pt x="6906" y="500"/>
                  </a:lnTo>
                  <a:lnTo>
                    <a:pt x="6171" y="0"/>
                  </a:lnTo>
                  <a:lnTo>
                    <a:pt x="5290" y="600"/>
                  </a:lnTo>
                  <a:lnTo>
                    <a:pt x="4555" y="1400"/>
                  </a:lnTo>
                  <a:lnTo>
                    <a:pt x="3600" y="3000"/>
                  </a:lnTo>
                  <a:lnTo>
                    <a:pt x="2645" y="4300"/>
                  </a:lnTo>
                  <a:lnTo>
                    <a:pt x="3600" y="5700"/>
                  </a:lnTo>
                  <a:lnTo>
                    <a:pt x="2425" y="6800"/>
                  </a:lnTo>
                  <a:lnTo>
                    <a:pt x="2645" y="7800"/>
                  </a:lnTo>
                  <a:lnTo>
                    <a:pt x="2645" y="9000"/>
                  </a:lnTo>
                  <a:lnTo>
                    <a:pt x="1910" y="10000"/>
                  </a:lnTo>
                  <a:lnTo>
                    <a:pt x="1910" y="10968"/>
                  </a:lnTo>
                  <a:lnTo>
                    <a:pt x="1910" y="12000"/>
                  </a:lnTo>
                  <a:lnTo>
                    <a:pt x="0" y="12600"/>
                  </a:lnTo>
                  <a:lnTo>
                    <a:pt x="3600" y="20700"/>
                  </a:lnTo>
                  <a:lnTo>
                    <a:pt x="5290" y="21600"/>
                  </a:lnTo>
                  <a:lnTo>
                    <a:pt x="6465" y="21200"/>
                  </a:lnTo>
                  <a:lnTo>
                    <a:pt x="7200" y="20350"/>
                  </a:lnTo>
                  <a:lnTo>
                    <a:pt x="6906" y="19325"/>
                  </a:lnTo>
                  <a:lnTo>
                    <a:pt x="7641" y="18500"/>
                  </a:lnTo>
                  <a:lnTo>
                    <a:pt x="9110" y="18200"/>
                  </a:lnTo>
                  <a:lnTo>
                    <a:pt x="9110" y="18900"/>
                  </a:lnTo>
                  <a:lnTo>
                    <a:pt x="10873" y="17600"/>
                  </a:lnTo>
                  <a:lnTo>
                    <a:pt x="11461" y="16900"/>
                  </a:lnTo>
                  <a:lnTo>
                    <a:pt x="12784" y="15800"/>
                  </a:lnTo>
                  <a:lnTo>
                    <a:pt x="13077" y="15000"/>
                  </a:lnTo>
                  <a:lnTo>
                    <a:pt x="14106" y="15000"/>
                  </a:lnTo>
                  <a:lnTo>
                    <a:pt x="15575" y="13900"/>
                  </a:lnTo>
                  <a:lnTo>
                    <a:pt x="17339" y="13900"/>
                  </a:lnTo>
                  <a:lnTo>
                    <a:pt x="18073" y="13100"/>
                  </a:lnTo>
                  <a:lnTo>
                    <a:pt x="19249" y="12600"/>
                  </a:lnTo>
                  <a:lnTo>
                    <a:pt x="19984" y="11900"/>
                  </a:lnTo>
                  <a:cubicBezTo>
                    <a:pt x="19984" y="11900"/>
                    <a:pt x="21600" y="11400"/>
                    <a:pt x="21600" y="11400"/>
                  </a:cubicBezTo>
                  <a:close/>
                  <a:moveTo>
                    <a:pt x="21600" y="114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6" name="Louisiana"/>
            <p:cNvSpPr>
              <a:spLocks/>
            </p:cNvSpPr>
            <p:nvPr/>
          </p:nvSpPr>
          <p:spPr bwMode="auto">
            <a:xfrm>
              <a:off x="7028628" y="4291601"/>
              <a:ext cx="592787" cy="488808"/>
            </a:xfrm>
            <a:custGeom>
              <a:avLst/>
              <a:gdLst/>
              <a:ahLst/>
              <a:cxnLst/>
              <a:rect l="0" t="0" r="r" b="b"/>
              <a:pathLst>
                <a:path w="21600" h="21600">
                  <a:moveTo>
                    <a:pt x="635" y="17660"/>
                  </a:moveTo>
                  <a:lnTo>
                    <a:pt x="1016" y="16438"/>
                  </a:lnTo>
                  <a:lnTo>
                    <a:pt x="1271" y="15215"/>
                  </a:lnTo>
                  <a:lnTo>
                    <a:pt x="1016" y="13856"/>
                  </a:lnTo>
                  <a:lnTo>
                    <a:pt x="1652" y="12226"/>
                  </a:lnTo>
                  <a:lnTo>
                    <a:pt x="2160" y="11275"/>
                  </a:lnTo>
                  <a:lnTo>
                    <a:pt x="1398" y="9781"/>
                  </a:lnTo>
                  <a:lnTo>
                    <a:pt x="1398" y="8694"/>
                  </a:lnTo>
                  <a:lnTo>
                    <a:pt x="889" y="7879"/>
                  </a:lnTo>
                  <a:lnTo>
                    <a:pt x="889" y="6928"/>
                  </a:lnTo>
                  <a:lnTo>
                    <a:pt x="0" y="5298"/>
                  </a:lnTo>
                  <a:lnTo>
                    <a:pt x="0" y="3260"/>
                  </a:lnTo>
                  <a:lnTo>
                    <a:pt x="0" y="0"/>
                  </a:lnTo>
                  <a:lnTo>
                    <a:pt x="11944" y="0"/>
                  </a:lnTo>
                  <a:lnTo>
                    <a:pt x="12423" y="1938"/>
                  </a:lnTo>
                  <a:lnTo>
                    <a:pt x="12579" y="3260"/>
                  </a:lnTo>
                  <a:lnTo>
                    <a:pt x="12579" y="4211"/>
                  </a:lnTo>
                  <a:lnTo>
                    <a:pt x="12071" y="5434"/>
                  </a:lnTo>
                  <a:lnTo>
                    <a:pt x="11435" y="6792"/>
                  </a:lnTo>
                  <a:lnTo>
                    <a:pt x="11013" y="7770"/>
                  </a:lnTo>
                  <a:lnTo>
                    <a:pt x="10546" y="8830"/>
                  </a:lnTo>
                  <a:lnTo>
                    <a:pt x="10546" y="10324"/>
                  </a:lnTo>
                  <a:lnTo>
                    <a:pt x="11308" y="11004"/>
                  </a:lnTo>
                  <a:lnTo>
                    <a:pt x="18169" y="10460"/>
                  </a:lnTo>
                  <a:lnTo>
                    <a:pt x="18169" y="11683"/>
                  </a:lnTo>
                  <a:lnTo>
                    <a:pt x="18453" y="13004"/>
                  </a:lnTo>
                  <a:lnTo>
                    <a:pt x="18932" y="13856"/>
                  </a:lnTo>
                  <a:lnTo>
                    <a:pt x="17534" y="14536"/>
                  </a:lnTo>
                  <a:lnTo>
                    <a:pt x="17534" y="13992"/>
                  </a:lnTo>
                  <a:lnTo>
                    <a:pt x="16010" y="14672"/>
                  </a:lnTo>
                  <a:lnTo>
                    <a:pt x="16010" y="15758"/>
                  </a:lnTo>
                  <a:lnTo>
                    <a:pt x="17026" y="15215"/>
                  </a:lnTo>
                  <a:lnTo>
                    <a:pt x="18932" y="15215"/>
                  </a:lnTo>
                  <a:lnTo>
                    <a:pt x="18932" y="16302"/>
                  </a:lnTo>
                  <a:lnTo>
                    <a:pt x="20075" y="15079"/>
                  </a:lnTo>
                  <a:lnTo>
                    <a:pt x="20838" y="15894"/>
                  </a:lnTo>
                  <a:lnTo>
                    <a:pt x="20075" y="17660"/>
                  </a:lnTo>
                  <a:lnTo>
                    <a:pt x="19567" y="17660"/>
                  </a:lnTo>
                  <a:lnTo>
                    <a:pt x="19567" y="18611"/>
                  </a:lnTo>
                  <a:lnTo>
                    <a:pt x="20838" y="19426"/>
                  </a:lnTo>
                  <a:lnTo>
                    <a:pt x="21600" y="20513"/>
                  </a:lnTo>
                  <a:lnTo>
                    <a:pt x="20711" y="20513"/>
                  </a:lnTo>
                  <a:lnTo>
                    <a:pt x="20533" y="20893"/>
                  </a:lnTo>
                  <a:lnTo>
                    <a:pt x="20202" y="21600"/>
                  </a:lnTo>
                  <a:lnTo>
                    <a:pt x="18678" y="19698"/>
                  </a:lnTo>
                  <a:lnTo>
                    <a:pt x="17534" y="19019"/>
                  </a:lnTo>
                  <a:lnTo>
                    <a:pt x="17534" y="19698"/>
                  </a:lnTo>
                  <a:lnTo>
                    <a:pt x="17534" y="20513"/>
                  </a:lnTo>
                  <a:lnTo>
                    <a:pt x="16518" y="21057"/>
                  </a:lnTo>
                  <a:lnTo>
                    <a:pt x="15755" y="20105"/>
                  </a:lnTo>
                  <a:lnTo>
                    <a:pt x="14739" y="20513"/>
                  </a:lnTo>
                  <a:lnTo>
                    <a:pt x="13468" y="20649"/>
                  </a:lnTo>
                  <a:lnTo>
                    <a:pt x="12579" y="20105"/>
                  </a:lnTo>
                  <a:lnTo>
                    <a:pt x="11944" y="19155"/>
                  </a:lnTo>
                  <a:lnTo>
                    <a:pt x="10800" y="18068"/>
                  </a:lnTo>
                  <a:lnTo>
                    <a:pt x="10038" y="17796"/>
                  </a:lnTo>
                  <a:lnTo>
                    <a:pt x="9148" y="17525"/>
                  </a:lnTo>
                  <a:lnTo>
                    <a:pt x="8386" y="17796"/>
                  </a:lnTo>
                  <a:lnTo>
                    <a:pt x="8386" y="18747"/>
                  </a:lnTo>
                  <a:lnTo>
                    <a:pt x="6798" y="18475"/>
                  </a:lnTo>
                  <a:lnTo>
                    <a:pt x="5337" y="18339"/>
                  </a:lnTo>
                  <a:lnTo>
                    <a:pt x="4193" y="17660"/>
                  </a:lnTo>
                  <a:lnTo>
                    <a:pt x="3050" y="17660"/>
                  </a:lnTo>
                  <a:lnTo>
                    <a:pt x="2160" y="18068"/>
                  </a:lnTo>
                  <a:cubicBezTo>
                    <a:pt x="2160" y="18068"/>
                    <a:pt x="635" y="17660"/>
                    <a:pt x="635" y="17660"/>
                  </a:cubicBezTo>
                  <a:close/>
                  <a:moveTo>
                    <a:pt x="635" y="1766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4" name="Kentucky"/>
            <p:cNvSpPr>
              <a:spLocks/>
            </p:cNvSpPr>
            <p:nvPr/>
          </p:nvSpPr>
          <p:spPr bwMode="auto">
            <a:xfrm>
              <a:off x="7568889" y="3489784"/>
              <a:ext cx="768586" cy="348919"/>
            </a:xfrm>
            <a:custGeom>
              <a:avLst/>
              <a:gdLst/>
              <a:ahLst/>
              <a:cxnLst/>
              <a:rect l="0" t="0" r="r" b="b"/>
              <a:pathLst>
                <a:path w="21600" h="21600">
                  <a:moveTo>
                    <a:pt x="21600" y="10636"/>
                  </a:moveTo>
                  <a:lnTo>
                    <a:pt x="21131" y="9575"/>
                  </a:lnTo>
                  <a:lnTo>
                    <a:pt x="20507" y="8820"/>
                  </a:lnTo>
                  <a:lnTo>
                    <a:pt x="19960" y="7320"/>
                  </a:lnTo>
                  <a:lnTo>
                    <a:pt x="19570" y="6695"/>
                  </a:lnTo>
                  <a:lnTo>
                    <a:pt x="19570" y="5482"/>
                  </a:lnTo>
                  <a:lnTo>
                    <a:pt x="19570" y="4309"/>
                  </a:lnTo>
                  <a:lnTo>
                    <a:pt x="19023" y="3057"/>
                  </a:lnTo>
                  <a:lnTo>
                    <a:pt x="18242" y="1541"/>
                  </a:lnTo>
                  <a:lnTo>
                    <a:pt x="17539" y="2147"/>
                  </a:lnTo>
                  <a:lnTo>
                    <a:pt x="16212" y="2602"/>
                  </a:lnTo>
                  <a:lnTo>
                    <a:pt x="15822" y="3208"/>
                  </a:lnTo>
                  <a:lnTo>
                    <a:pt x="15353" y="2299"/>
                  </a:lnTo>
                  <a:lnTo>
                    <a:pt x="14705" y="2147"/>
                  </a:lnTo>
                  <a:lnTo>
                    <a:pt x="14260" y="1541"/>
                  </a:lnTo>
                  <a:lnTo>
                    <a:pt x="14260" y="631"/>
                  </a:lnTo>
                  <a:lnTo>
                    <a:pt x="13479" y="0"/>
                  </a:lnTo>
                  <a:lnTo>
                    <a:pt x="12854" y="0"/>
                  </a:lnTo>
                  <a:lnTo>
                    <a:pt x="12464" y="0"/>
                  </a:lnTo>
                  <a:lnTo>
                    <a:pt x="12464" y="1389"/>
                  </a:lnTo>
                  <a:lnTo>
                    <a:pt x="12464" y="2147"/>
                  </a:lnTo>
                  <a:lnTo>
                    <a:pt x="11449" y="3208"/>
                  </a:lnTo>
                  <a:lnTo>
                    <a:pt x="10902" y="3208"/>
                  </a:lnTo>
                  <a:lnTo>
                    <a:pt x="10352" y="5318"/>
                  </a:lnTo>
                  <a:lnTo>
                    <a:pt x="9943" y="6475"/>
                  </a:lnTo>
                  <a:lnTo>
                    <a:pt x="9607" y="7320"/>
                  </a:lnTo>
                  <a:lnTo>
                    <a:pt x="9607" y="8820"/>
                  </a:lnTo>
                  <a:lnTo>
                    <a:pt x="8716" y="8820"/>
                  </a:lnTo>
                  <a:lnTo>
                    <a:pt x="8247" y="8211"/>
                  </a:lnTo>
                  <a:lnTo>
                    <a:pt x="7791" y="8820"/>
                  </a:lnTo>
                  <a:lnTo>
                    <a:pt x="7481" y="9894"/>
                  </a:lnTo>
                  <a:lnTo>
                    <a:pt x="6920" y="9726"/>
                  </a:lnTo>
                  <a:lnTo>
                    <a:pt x="6256" y="10333"/>
                  </a:lnTo>
                  <a:lnTo>
                    <a:pt x="5826" y="11546"/>
                  </a:lnTo>
                  <a:lnTo>
                    <a:pt x="5046" y="10333"/>
                  </a:lnTo>
                  <a:lnTo>
                    <a:pt x="4499" y="11209"/>
                  </a:lnTo>
                  <a:lnTo>
                    <a:pt x="4108" y="10788"/>
                  </a:lnTo>
                  <a:lnTo>
                    <a:pt x="3431" y="11306"/>
                  </a:lnTo>
                  <a:lnTo>
                    <a:pt x="2859" y="12000"/>
                  </a:lnTo>
                  <a:lnTo>
                    <a:pt x="2859" y="13036"/>
                  </a:lnTo>
                  <a:lnTo>
                    <a:pt x="2448" y="14482"/>
                  </a:lnTo>
                  <a:lnTo>
                    <a:pt x="1922" y="15032"/>
                  </a:lnTo>
                  <a:lnTo>
                    <a:pt x="1922" y="17413"/>
                  </a:lnTo>
                  <a:lnTo>
                    <a:pt x="1569" y="17413"/>
                  </a:lnTo>
                  <a:lnTo>
                    <a:pt x="873" y="17117"/>
                  </a:lnTo>
                  <a:lnTo>
                    <a:pt x="360" y="16548"/>
                  </a:lnTo>
                  <a:lnTo>
                    <a:pt x="0" y="17413"/>
                  </a:lnTo>
                  <a:lnTo>
                    <a:pt x="0" y="18519"/>
                  </a:lnTo>
                  <a:lnTo>
                    <a:pt x="0" y="20078"/>
                  </a:lnTo>
                  <a:lnTo>
                    <a:pt x="0" y="21600"/>
                  </a:lnTo>
                  <a:lnTo>
                    <a:pt x="1569" y="21600"/>
                  </a:lnTo>
                  <a:lnTo>
                    <a:pt x="2469" y="21600"/>
                  </a:lnTo>
                  <a:lnTo>
                    <a:pt x="3083" y="21600"/>
                  </a:lnTo>
                  <a:lnTo>
                    <a:pt x="3431" y="20078"/>
                  </a:lnTo>
                  <a:lnTo>
                    <a:pt x="5755" y="19890"/>
                  </a:lnTo>
                  <a:lnTo>
                    <a:pt x="17077" y="18669"/>
                  </a:lnTo>
                  <a:lnTo>
                    <a:pt x="18398" y="16396"/>
                  </a:lnTo>
                  <a:lnTo>
                    <a:pt x="19101" y="15184"/>
                  </a:lnTo>
                  <a:lnTo>
                    <a:pt x="19570" y="13036"/>
                  </a:lnTo>
                  <a:lnTo>
                    <a:pt x="20116" y="13036"/>
                  </a:lnTo>
                  <a:lnTo>
                    <a:pt x="20824" y="11776"/>
                  </a:lnTo>
                  <a:cubicBezTo>
                    <a:pt x="20824" y="11776"/>
                    <a:pt x="21600" y="10636"/>
                    <a:pt x="21600" y="10636"/>
                  </a:cubicBezTo>
                  <a:close/>
                  <a:moveTo>
                    <a:pt x="21600" y="10636"/>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8" name="Kansas"/>
            <p:cNvSpPr>
              <a:spLocks/>
            </p:cNvSpPr>
            <p:nvPr/>
          </p:nvSpPr>
          <p:spPr bwMode="auto">
            <a:xfrm>
              <a:off x="6175359" y="3404029"/>
              <a:ext cx="802352" cy="412164"/>
            </a:xfrm>
            <a:custGeom>
              <a:avLst/>
              <a:gdLst/>
              <a:ahLst/>
              <a:cxnLst/>
              <a:rect l="0" t="0" r="r" b="b"/>
              <a:pathLst>
                <a:path w="21600" h="21600">
                  <a:moveTo>
                    <a:pt x="21600" y="6939"/>
                  </a:moveTo>
                  <a:lnTo>
                    <a:pt x="21506" y="21600"/>
                  </a:lnTo>
                  <a:lnTo>
                    <a:pt x="0" y="19778"/>
                  </a:lnTo>
                  <a:lnTo>
                    <a:pt x="853" y="0"/>
                  </a:lnTo>
                  <a:lnTo>
                    <a:pt x="19440" y="1139"/>
                  </a:lnTo>
                  <a:lnTo>
                    <a:pt x="20661" y="2589"/>
                  </a:lnTo>
                  <a:lnTo>
                    <a:pt x="20285" y="3878"/>
                  </a:lnTo>
                  <a:lnTo>
                    <a:pt x="20473" y="4603"/>
                  </a:lnTo>
                  <a:lnTo>
                    <a:pt x="20943" y="4603"/>
                  </a:lnTo>
                  <a:lnTo>
                    <a:pt x="21036" y="6294"/>
                  </a:lnTo>
                  <a:cubicBezTo>
                    <a:pt x="21036" y="6294"/>
                    <a:pt x="21600" y="6939"/>
                    <a:pt x="21600" y="6939"/>
                  </a:cubicBezTo>
                  <a:close/>
                  <a:moveTo>
                    <a:pt x="21600" y="693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3" name="Iowa"/>
            <p:cNvSpPr>
              <a:spLocks/>
            </p:cNvSpPr>
            <p:nvPr/>
          </p:nvSpPr>
          <p:spPr bwMode="auto">
            <a:xfrm>
              <a:off x="6792800" y="2996689"/>
              <a:ext cx="641560" cy="377862"/>
            </a:xfrm>
            <a:custGeom>
              <a:avLst/>
              <a:gdLst/>
              <a:ahLst/>
              <a:cxnLst/>
              <a:rect l="0" t="0" r="r" b="b"/>
              <a:pathLst>
                <a:path w="21600" h="21600">
                  <a:moveTo>
                    <a:pt x="17374" y="21600"/>
                  </a:moveTo>
                  <a:lnTo>
                    <a:pt x="16435" y="20491"/>
                  </a:lnTo>
                  <a:lnTo>
                    <a:pt x="15143" y="20491"/>
                  </a:lnTo>
                  <a:lnTo>
                    <a:pt x="2465" y="20491"/>
                  </a:lnTo>
                  <a:lnTo>
                    <a:pt x="1589" y="16858"/>
                  </a:lnTo>
                  <a:lnTo>
                    <a:pt x="1589" y="15629"/>
                  </a:lnTo>
                  <a:lnTo>
                    <a:pt x="1589" y="14224"/>
                  </a:lnTo>
                  <a:lnTo>
                    <a:pt x="1409" y="12166"/>
                  </a:lnTo>
                  <a:lnTo>
                    <a:pt x="892" y="11264"/>
                  </a:lnTo>
                  <a:lnTo>
                    <a:pt x="587" y="10010"/>
                  </a:lnTo>
                  <a:lnTo>
                    <a:pt x="587" y="8605"/>
                  </a:lnTo>
                  <a:lnTo>
                    <a:pt x="0" y="7551"/>
                  </a:lnTo>
                  <a:lnTo>
                    <a:pt x="0" y="5620"/>
                  </a:lnTo>
                  <a:lnTo>
                    <a:pt x="469" y="3161"/>
                  </a:lnTo>
                  <a:lnTo>
                    <a:pt x="469" y="1584"/>
                  </a:lnTo>
                  <a:lnTo>
                    <a:pt x="469" y="768"/>
                  </a:lnTo>
                  <a:lnTo>
                    <a:pt x="469" y="0"/>
                  </a:lnTo>
                  <a:lnTo>
                    <a:pt x="17961" y="0"/>
                  </a:lnTo>
                  <a:lnTo>
                    <a:pt x="17961" y="2283"/>
                  </a:lnTo>
                  <a:lnTo>
                    <a:pt x="17961" y="4214"/>
                  </a:lnTo>
                  <a:lnTo>
                    <a:pt x="19135" y="5093"/>
                  </a:lnTo>
                  <a:lnTo>
                    <a:pt x="19956" y="6146"/>
                  </a:lnTo>
                  <a:lnTo>
                    <a:pt x="20778" y="7551"/>
                  </a:lnTo>
                  <a:lnTo>
                    <a:pt x="21600" y="8956"/>
                  </a:lnTo>
                  <a:lnTo>
                    <a:pt x="21600" y="10800"/>
                  </a:lnTo>
                  <a:lnTo>
                    <a:pt x="20426" y="12997"/>
                  </a:lnTo>
                  <a:lnTo>
                    <a:pt x="19370" y="12997"/>
                  </a:lnTo>
                  <a:lnTo>
                    <a:pt x="18780" y="15062"/>
                  </a:lnTo>
                  <a:lnTo>
                    <a:pt x="18665" y="15980"/>
                  </a:lnTo>
                  <a:lnTo>
                    <a:pt x="18900" y="18487"/>
                  </a:lnTo>
                  <a:lnTo>
                    <a:pt x="18078" y="19317"/>
                  </a:lnTo>
                  <a:cubicBezTo>
                    <a:pt x="18078" y="19317"/>
                    <a:pt x="17374" y="21600"/>
                    <a:pt x="17374" y="21600"/>
                  </a:cubicBezTo>
                  <a:close/>
                  <a:moveTo>
                    <a:pt x="17374"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3" name="Indiana"/>
            <p:cNvSpPr>
              <a:spLocks/>
            </p:cNvSpPr>
            <p:nvPr/>
          </p:nvSpPr>
          <p:spPr bwMode="auto">
            <a:xfrm>
              <a:off x="7671796" y="3168201"/>
              <a:ext cx="341415" cy="515606"/>
            </a:xfrm>
            <a:custGeom>
              <a:avLst/>
              <a:gdLst/>
              <a:ahLst/>
              <a:cxnLst/>
              <a:rect l="0" t="0" r="r" b="b"/>
              <a:pathLst>
                <a:path w="21600" h="21600">
                  <a:moveTo>
                    <a:pt x="21600" y="13479"/>
                  </a:moveTo>
                  <a:lnTo>
                    <a:pt x="19518" y="0"/>
                  </a:lnTo>
                  <a:lnTo>
                    <a:pt x="7376" y="730"/>
                  </a:lnTo>
                  <a:lnTo>
                    <a:pt x="5163" y="1232"/>
                  </a:lnTo>
                  <a:lnTo>
                    <a:pt x="3688" y="1567"/>
                  </a:lnTo>
                  <a:lnTo>
                    <a:pt x="1932" y="1567"/>
                  </a:lnTo>
                  <a:lnTo>
                    <a:pt x="1932" y="4571"/>
                  </a:lnTo>
                  <a:lnTo>
                    <a:pt x="2313" y="6740"/>
                  </a:lnTo>
                  <a:lnTo>
                    <a:pt x="2539" y="9800"/>
                  </a:lnTo>
                  <a:lnTo>
                    <a:pt x="2810" y="13479"/>
                  </a:lnTo>
                  <a:lnTo>
                    <a:pt x="2810" y="14624"/>
                  </a:lnTo>
                  <a:lnTo>
                    <a:pt x="3688" y="15548"/>
                  </a:lnTo>
                  <a:lnTo>
                    <a:pt x="2810" y="17497"/>
                  </a:lnTo>
                  <a:lnTo>
                    <a:pt x="1932" y="18433"/>
                  </a:lnTo>
                  <a:lnTo>
                    <a:pt x="585" y="19825"/>
                  </a:lnTo>
                  <a:lnTo>
                    <a:pt x="0" y="21600"/>
                  </a:lnTo>
                  <a:lnTo>
                    <a:pt x="2810" y="20779"/>
                  </a:lnTo>
                  <a:lnTo>
                    <a:pt x="4390" y="21292"/>
                  </a:lnTo>
                  <a:lnTo>
                    <a:pt x="4917" y="20472"/>
                  </a:lnTo>
                  <a:lnTo>
                    <a:pt x="6673" y="21292"/>
                  </a:lnTo>
                  <a:lnTo>
                    <a:pt x="7639" y="20472"/>
                  </a:lnTo>
                  <a:lnTo>
                    <a:pt x="9132" y="20061"/>
                  </a:lnTo>
                  <a:lnTo>
                    <a:pt x="10010" y="20574"/>
                  </a:lnTo>
                  <a:lnTo>
                    <a:pt x="11092" y="19448"/>
                  </a:lnTo>
                  <a:lnTo>
                    <a:pt x="12117" y="19036"/>
                  </a:lnTo>
                  <a:lnTo>
                    <a:pt x="13171" y="19448"/>
                  </a:lnTo>
                  <a:lnTo>
                    <a:pt x="15176" y="19448"/>
                  </a:lnTo>
                  <a:lnTo>
                    <a:pt x="15176" y="18433"/>
                  </a:lnTo>
                  <a:lnTo>
                    <a:pt x="16683" y="17292"/>
                  </a:lnTo>
                  <a:lnTo>
                    <a:pt x="17385" y="16395"/>
                  </a:lnTo>
                  <a:lnTo>
                    <a:pt x="18088" y="15650"/>
                  </a:lnTo>
                  <a:lnTo>
                    <a:pt x="19317" y="15650"/>
                  </a:lnTo>
                  <a:lnTo>
                    <a:pt x="21600" y="14932"/>
                  </a:lnTo>
                  <a:cubicBezTo>
                    <a:pt x="21600" y="14932"/>
                    <a:pt x="21600" y="13479"/>
                    <a:pt x="21600" y="13479"/>
                  </a:cubicBezTo>
                  <a:close/>
                  <a:moveTo>
                    <a:pt x="21600" y="1347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1" name="Illinois"/>
            <p:cNvSpPr>
              <a:spLocks/>
            </p:cNvSpPr>
            <p:nvPr/>
          </p:nvSpPr>
          <p:spPr bwMode="auto">
            <a:xfrm>
              <a:off x="7311622" y="3103884"/>
              <a:ext cx="418059" cy="667823"/>
            </a:xfrm>
            <a:custGeom>
              <a:avLst/>
              <a:gdLst/>
              <a:ahLst/>
              <a:cxnLst/>
              <a:rect l="0" t="0" r="r" b="b"/>
              <a:pathLst>
                <a:path w="21600" h="21600">
                  <a:moveTo>
                    <a:pt x="20165" y="3304"/>
                  </a:moveTo>
                  <a:lnTo>
                    <a:pt x="20165" y="2657"/>
                  </a:lnTo>
                  <a:lnTo>
                    <a:pt x="19447" y="1901"/>
                  </a:lnTo>
                  <a:lnTo>
                    <a:pt x="18730" y="818"/>
                  </a:lnTo>
                  <a:lnTo>
                    <a:pt x="18299" y="0"/>
                  </a:lnTo>
                  <a:lnTo>
                    <a:pt x="4604" y="426"/>
                  </a:lnTo>
                  <a:lnTo>
                    <a:pt x="6486" y="1613"/>
                  </a:lnTo>
                  <a:lnTo>
                    <a:pt x="6486" y="2657"/>
                  </a:lnTo>
                  <a:lnTo>
                    <a:pt x="5550" y="3304"/>
                  </a:lnTo>
                  <a:lnTo>
                    <a:pt x="4684" y="3901"/>
                  </a:lnTo>
                  <a:lnTo>
                    <a:pt x="3063" y="3901"/>
                  </a:lnTo>
                  <a:lnTo>
                    <a:pt x="2288" y="4684"/>
                  </a:lnTo>
                  <a:lnTo>
                    <a:pt x="1982" y="5591"/>
                  </a:lnTo>
                  <a:lnTo>
                    <a:pt x="2175" y="6352"/>
                  </a:lnTo>
                  <a:lnTo>
                    <a:pt x="2342" y="7010"/>
                  </a:lnTo>
                  <a:lnTo>
                    <a:pt x="1081" y="7480"/>
                  </a:lnTo>
                  <a:lnTo>
                    <a:pt x="269" y="8451"/>
                  </a:lnTo>
                  <a:lnTo>
                    <a:pt x="0" y="8773"/>
                  </a:lnTo>
                  <a:lnTo>
                    <a:pt x="0" y="10364"/>
                  </a:lnTo>
                  <a:lnTo>
                    <a:pt x="1136" y="11522"/>
                  </a:lnTo>
                  <a:lnTo>
                    <a:pt x="3466" y="12854"/>
                  </a:lnTo>
                  <a:lnTo>
                    <a:pt x="4324" y="13782"/>
                  </a:lnTo>
                  <a:lnTo>
                    <a:pt x="4324" y="14753"/>
                  </a:lnTo>
                  <a:lnTo>
                    <a:pt x="6486" y="14242"/>
                  </a:lnTo>
                  <a:lnTo>
                    <a:pt x="7093" y="15494"/>
                  </a:lnTo>
                  <a:lnTo>
                    <a:pt x="6486" y="16445"/>
                  </a:lnTo>
                  <a:lnTo>
                    <a:pt x="6486" y="17424"/>
                  </a:lnTo>
                  <a:lnTo>
                    <a:pt x="9008" y="18418"/>
                  </a:lnTo>
                  <a:lnTo>
                    <a:pt x="11170" y="19313"/>
                  </a:lnTo>
                  <a:lnTo>
                    <a:pt x="11586" y="21217"/>
                  </a:lnTo>
                  <a:lnTo>
                    <a:pt x="13332" y="21600"/>
                  </a:lnTo>
                  <a:lnTo>
                    <a:pt x="13994" y="21148"/>
                  </a:lnTo>
                  <a:lnTo>
                    <a:pt x="15429" y="21600"/>
                  </a:lnTo>
                  <a:lnTo>
                    <a:pt x="16864" y="21600"/>
                  </a:lnTo>
                  <a:lnTo>
                    <a:pt x="16864" y="20989"/>
                  </a:lnTo>
                  <a:lnTo>
                    <a:pt x="16864" y="20356"/>
                  </a:lnTo>
                  <a:lnTo>
                    <a:pt x="18730" y="19801"/>
                  </a:lnTo>
                  <a:lnTo>
                    <a:pt x="18586" y="18772"/>
                  </a:lnTo>
                  <a:lnTo>
                    <a:pt x="18874" y="17980"/>
                  </a:lnTo>
                  <a:lnTo>
                    <a:pt x="19319" y="17152"/>
                  </a:lnTo>
                  <a:lnTo>
                    <a:pt x="20165" y="16326"/>
                  </a:lnTo>
                  <a:lnTo>
                    <a:pt x="20882" y="15604"/>
                  </a:lnTo>
                  <a:lnTo>
                    <a:pt x="21600" y="14753"/>
                  </a:lnTo>
                  <a:lnTo>
                    <a:pt x="21600" y="13782"/>
                  </a:lnTo>
                  <a:lnTo>
                    <a:pt x="20882" y="13386"/>
                  </a:lnTo>
                  <a:lnTo>
                    <a:pt x="20882" y="12502"/>
                  </a:lnTo>
                  <a:cubicBezTo>
                    <a:pt x="20882" y="12502"/>
                    <a:pt x="20165" y="3304"/>
                    <a:pt x="20165" y="3304"/>
                  </a:cubicBezTo>
                  <a:close/>
                  <a:moveTo>
                    <a:pt x="20165" y="3304"/>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7" name="Idaho"/>
            <p:cNvSpPr>
              <a:spLocks/>
            </p:cNvSpPr>
            <p:nvPr/>
          </p:nvSpPr>
          <p:spPr bwMode="auto">
            <a:xfrm>
              <a:off x="4743238" y="2104294"/>
              <a:ext cx="660855" cy="947601"/>
            </a:xfrm>
            <a:custGeom>
              <a:avLst/>
              <a:gdLst/>
              <a:ahLst/>
              <a:cxnLst/>
              <a:rect l="0" t="0" r="r" b="b"/>
              <a:pathLst>
                <a:path w="21600" h="21600">
                  <a:moveTo>
                    <a:pt x="7750" y="0"/>
                  </a:moveTo>
                  <a:lnTo>
                    <a:pt x="10485" y="421"/>
                  </a:lnTo>
                  <a:lnTo>
                    <a:pt x="10485" y="1262"/>
                  </a:lnTo>
                  <a:lnTo>
                    <a:pt x="9915" y="2034"/>
                  </a:lnTo>
                  <a:lnTo>
                    <a:pt x="9915" y="2665"/>
                  </a:lnTo>
                  <a:lnTo>
                    <a:pt x="9915" y="3436"/>
                  </a:lnTo>
                  <a:lnTo>
                    <a:pt x="10485" y="3857"/>
                  </a:lnTo>
                  <a:lnTo>
                    <a:pt x="9915" y="4769"/>
                  </a:lnTo>
                  <a:lnTo>
                    <a:pt x="10485" y="5190"/>
                  </a:lnTo>
                  <a:lnTo>
                    <a:pt x="11397" y="5681"/>
                  </a:lnTo>
                  <a:lnTo>
                    <a:pt x="11397" y="6312"/>
                  </a:lnTo>
                  <a:lnTo>
                    <a:pt x="12309" y="6803"/>
                  </a:lnTo>
                  <a:lnTo>
                    <a:pt x="12992" y="7293"/>
                  </a:lnTo>
                  <a:lnTo>
                    <a:pt x="12992" y="7574"/>
                  </a:lnTo>
                  <a:lnTo>
                    <a:pt x="12992" y="8135"/>
                  </a:lnTo>
                  <a:lnTo>
                    <a:pt x="12992" y="8766"/>
                  </a:lnTo>
                  <a:lnTo>
                    <a:pt x="12195" y="9187"/>
                  </a:lnTo>
                  <a:lnTo>
                    <a:pt x="11996" y="9798"/>
                  </a:lnTo>
                  <a:lnTo>
                    <a:pt x="11853" y="10239"/>
                  </a:lnTo>
                  <a:lnTo>
                    <a:pt x="12423" y="10730"/>
                  </a:lnTo>
                  <a:lnTo>
                    <a:pt x="12992" y="10379"/>
                  </a:lnTo>
                  <a:lnTo>
                    <a:pt x="13790" y="10309"/>
                  </a:lnTo>
                  <a:lnTo>
                    <a:pt x="13790" y="10730"/>
                  </a:lnTo>
                  <a:lnTo>
                    <a:pt x="13790" y="11501"/>
                  </a:lnTo>
                  <a:lnTo>
                    <a:pt x="14360" y="11852"/>
                  </a:lnTo>
                  <a:lnTo>
                    <a:pt x="14360" y="12623"/>
                  </a:lnTo>
                  <a:lnTo>
                    <a:pt x="14930" y="13044"/>
                  </a:lnTo>
                  <a:lnTo>
                    <a:pt x="14930" y="13395"/>
                  </a:lnTo>
                  <a:lnTo>
                    <a:pt x="15614" y="13956"/>
                  </a:lnTo>
                  <a:lnTo>
                    <a:pt x="16183" y="13956"/>
                  </a:lnTo>
                  <a:lnTo>
                    <a:pt x="16867" y="13956"/>
                  </a:lnTo>
                  <a:lnTo>
                    <a:pt x="17665" y="14307"/>
                  </a:lnTo>
                  <a:lnTo>
                    <a:pt x="18691" y="14307"/>
                  </a:lnTo>
                  <a:lnTo>
                    <a:pt x="19375" y="14307"/>
                  </a:lnTo>
                  <a:lnTo>
                    <a:pt x="19950" y="14155"/>
                  </a:lnTo>
                  <a:lnTo>
                    <a:pt x="20628" y="13745"/>
                  </a:lnTo>
                  <a:lnTo>
                    <a:pt x="21600" y="14361"/>
                  </a:lnTo>
                  <a:lnTo>
                    <a:pt x="21312" y="15639"/>
                  </a:lnTo>
                  <a:lnTo>
                    <a:pt x="19488" y="21600"/>
                  </a:lnTo>
                  <a:lnTo>
                    <a:pt x="0" y="19145"/>
                  </a:lnTo>
                  <a:lnTo>
                    <a:pt x="2165" y="14026"/>
                  </a:lnTo>
                  <a:lnTo>
                    <a:pt x="2849" y="12904"/>
                  </a:lnTo>
                  <a:lnTo>
                    <a:pt x="2051" y="12553"/>
                  </a:lnTo>
                  <a:lnTo>
                    <a:pt x="2849" y="11852"/>
                  </a:lnTo>
                  <a:lnTo>
                    <a:pt x="3533" y="11501"/>
                  </a:lnTo>
                  <a:lnTo>
                    <a:pt x="4787" y="10099"/>
                  </a:lnTo>
                  <a:lnTo>
                    <a:pt x="5356" y="9608"/>
                  </a:lnTo>
                  <a:lnTo>
                    <a:pt x="5356" y="8977"/>
                  </a:lnTo>
                  <a:lnTo>
                    <a:pt x="4559" y="8135"/>
                  </a:lnTo>
                  <a:lnTo>
                    <a:pt x="4787" y="7223"/>
                  </a:lnTo>
                  <a:cubicBezTo>
                    <a:pt x="4787" y="7223"/>
                    <a:pt x="7750" y="0"/>
                    <a:pt x="7750" y="0"/>
                  </a:cubicBezTo>
                  <a:close/>
                  <a:moveTo>
                    <a:pt x="7750" y="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75" name="Hawaii">
              <a:extLst>
                <a:ext uri="{FF2B5EF4-FFF2-40B4-BE49-F238E27FC236}">
                  <a16:creationId xmlns:a16="http://schemas.microsoft.com/office/drawing/2014/main" id="{4B250312-2D22-0D44-B82E-82CC4E053A64}"/>
                </a:ext>
              </a:extLst>
            </p:cNvPr>
            <p:cNvSpPr>
              <a:spLocks/>
            </p:cNvSpPr>
            <p:nvPr/>
          </p:nvSpPr>
          <p:spPr bwMode="auto">
            <a:xfrm>
              <a:off x="3507467" y="5252984"/>
              <a:ext cx="607790" cy="339806"/>
            </a:xfrm>
            <a:custGeom>
              <a:avLst/>
              <a:gdLst>
                <a:gd name="connsiteX0" fmla="*/ 506369 w 607790"/>
                <a:gd name="connsiteY0" fmla="*/ 205814 h 339806"/>
                <a:gd name="connsiteX1" fmla="*/ 514607 w 607790"/>
                <a:gd name="connsiteY1" fmla="*/ 205814 h 339806"/>
                <a:gd name="connsiteX2" fmla="*/ 539725 w 607790"/>
                <a:gd name="connsiteY2" fmla="*/ 223463 h 339806"/>
                <a:gd name="connsiteX3" fmla="*/ 571069 w 607790"/>
                <a:gd name="connsiteY3" fmla="*/ 240592 h 339806"/>
                <a:gd name="connsiteX4" fmla="*/ 606946 w 607790"/>
                <a:gd name="connsiteY4" fmla="*/ 288864 h 339806"/>
                <a:gd name="connsiteX5" fmla="*/ 564009 w 607790"/>
                <a:gd name="connsiteY5" fmla="*/ 307548 h 339806"/>
                <a:gd name="connsiteX6" fmla="*/ 530487 w 607790"/>
                <a:gd name="connsiteY6" fmla="*/ 338697 h 339806"/>
                <a:gd name="connsiteX7" fmla="*/ 506369 w 607790"/>
                <a:gd name="connsiteY7" fmla="*/ 334021 h 339806"/>
                <a:gd name="connsiteX8" fmla="*/ 489012 w 607790"/>
                <a:gd name="connsiteY8" fmla="*/ 319487 h 339806"/>
                <a:gd name="connsiteX9" fmla="*/ 482263 w 607790"/>
                <a:gd name="connsiteY9" fmla="*/ 290419 h 339806"/>
                <a:gd name="connsiteX10" fmla="*/ 471669 w 607790"/>
                <a:gd name="connsiteY10" fmla="*/ 260316 h 339806"/>
                <a:gd name="connsiteX11" fmla="*/ 488139 w 607790"/>
                <a:gd name="connsiteY11" fmla="*/ 256681 h 339806"/>
                <a:gd name="connsiteX12" fmla="*/ 501664 w 607790"/>
                <a:gd name="connsiteY12" fmla="*/ 241113 h 339806"/>
                <a:gd name="connsiteX13" fmla="*/ 506369 w 607790"/>
                <a:gd name="connsiteY13" fmla="*/ 205814 h 339806"/>
                <a:gd name="connsiteX14" fmla="*/ 427140 w 607790"/>
                <a:gd name="connsiteY14" fmla="*/ 120499 h 339806"/>
                <a:gd name="connsiteX15" fmla="*/ 448349 w 607790"/>
                <a:gd name="connsiteY15" fmla="*/ 130039 h 339806"/>
                <a:gd name="connsiteX16" fmla="*/ 478984 w 607790"/>
                <a:gd name="connsiteY16" fmla="*/ 133493 h 339806"/>
                <a:gd name="connsiteX17" fmla="*/ 494887 w 607790"/>
                <a:gd name="connsiteY17" fmla="*/ 152209 h 339806"/>
                <a:gd name="connsiteX18" fmla="*/ 481339 w 607790"/>
                <a:gd name="connsiteY18" fmla="*/ 176122 h 339806"/>
                <a:gd name="connsiteX19" fmla="*/ 417123 w 607790"/>
                <a:gd name="connsiteY19" fmla="*/ 186518 h 339806"/>
                <a:gd name="connsiteX20" fmla="*/ 398274 w 607790"/>
                <a:gd name="connsiteY20" fmla="*/ 183918 h 339806"/>
                <a:gd name="connsiteX21" fmla="*/ 400037 w 607790"/>
                <a:gd name="connsiteY21" fmla="*/ 176638 h 339806"/>
                <a:gd name="connsiteX22" fmla="*/ 421839 w 607790"/>
                <a:gd name="connsiteY22" fmla="*/ 161567 h 339806"/>
                <a:gd name="connsiteX23" fmla="*/ 407699 w 607790"/>
                <a:gd name="connsiteY23" fmla="*/ 158444 h 339806"/>
                <a:gd name="connsiteX24" fmla="*/ 390619 w 607790"/>
                <a:gd name="connsiteY24" fmla="*/ 172483 h 339806"/>
                <a:gd name="connsiteX25" fmla="*/ 371172 w 607790"/>
                <a:gd name="connsiteY25" fmla="*/ 157928 h 339806"/>
                <a:gd name="connsiteX26" fmla="*/ 375887 w 607790"/>
                <a:gd name="connsiteY26" fmla="*/ 141812 h 339806"/>
                <a:gd name="connsiteX27" fmla="*/ 407699 w 607790"/>
                <a:gd name="connsiteY27" fmla="*/ 130039 h 339806"/>
                <a:gd name="connsiteX28" fmla="*/ 427140 w 607790"/>
                <a:gd name="connsiteY28" fmla="*/ 120499 h 339806"/>
                <a:gd name="connsiteX29" fmla="*/ 360606 w 607790"/>
                <a:gd name="connsiteY29" fmla="*/ 85834 h 339806"/>
                <a:gd name="connsiteX30" fmla="*/ 371980 w 607790"/>
                <a:gd name="connsiteY30" fmla="*/ 86199 h 339806"/>
                <a:gd name="connsiteX31" fmla="*/ 392964 w 607790"/>
                <a:gd name="connsiteY31" fmla="*/ 87954 h 339806"/>
                <a:gd name="connsiteX32" fmla="*/ 402360 w 607790"/>
                <a:gd name="connsiteY32" fmla="*/ 101451 h 339806"/>
                <a:gd name="connsiteX33" fmla="*/ 382986 w 607790"/>
                <a:gd name="connsiteY33" fmla="*/ 121712 h 339806"/>
                <a:gd name="connsiteX34" fmla="*/ 341516 w 607790"/>
                <a:gd name="connsiteY34" fmla="*/ 128464 h 339806"/>
                <a:gd name="connsiteX35" fmla="*/ 326050 w 607790"/>
                <a:gd name="connsiteY35" fmla="*/ 116517 h 339806"/>
                <a:gd name="connsiteX36" fmla="*/ 357156 w 607790"/>
                <a:gd name="connsiteY36" fmla="*/ 87954 h 339806"/>
                <a:gd name="connsiteX37" fmla="*/ 360606 w 607790"/>
                <a:gd name="connsiteY37" fmla="*/ 85834 h 339806"/>
                <a:gd name="connsiteX38" fmla="*/ 246038 w 607790"/>
                <a:gd name="connsiteY38" fmla="*/ 51453 h 339806"/>
                <a:gd name="connsiteX39" fmla="*/ 261885 w 607790"/>
                <a:gd name="connsiteY39" fmla="*/ 51453 h 339806"/>
                <a:gd name="connsiteX40" fmla="*/ 273627 w 607790"/>
                <a:gd name="connsiteY40" fmla="*/ 56617 h 339806"/>
                <a:gd name="connsiteX41" fmla="*/ 287714 w 607790"/>
                <a:gd name="connsiteY41" fmla="*/ 65924 h 339806"/>
                <a:gd name="connsiteX42" fmla="*/ 294169 w 607790"/>
                <a:gd name="connsiteY42" fmla="*/ 80390 h 339806"/>
                <a:gd name="connsiteX43" fmla="*/ 301216 w 607790"/>
                <a:gd name="connsiteY43" fmla="*/ 81942 h 339806"/>
                <a:gd name="connsiteX44" fmla="*/ 301216 w 607790"/>
                <a:gd name="connsiteY44" fmla="*/ 105201 h 339806"/>
                <a:gd name="connsiteX45" fmla="*/ 292998 w 607790"/>
                <a:gd name="connsiteY45" fmla="*/ 109338 h 339806"/>
                <a:gd name="connsiteX46" fmla="*/ 278911 w 607790"/>
                <a:gd name="connsiteY46" fmla="*/ 109338 h 339806"/>
                <a:gd name="connsiteX47" fmla="*/ 261885 w 607790"/>
                <a:gd name="connsiteY47" fmla="*/ 109338 h 339806"/>
                <a:gd name="connsiteX48" fmla="*/ 253081 w 607790"/>
                <a:gd name="connsiteY48" fmla="*/ 104686 h 339806"/>
                <a:gd name="connsiteX49" fmla="*/ 238405 w 607790"/>
                <a:gd name="connsiteY49" fmla="*/ 89178 h 339806"/>
                <a:gd name="connsiteX50" fmla="*/ 227252 w 607790"/>
                <a:gd name="connsiteY50" fmla="*/ 79361 h 339806"/>
                <a:gd name="connsiteX51" fmla="*/ 227252 w 607790"/>
                <a:gd name="connsiteY51" fmla="*/ 62821 h 339806"/>
                <a:gd name="connsiteX52" fmla="*/ 237819 w 607790"/>
                <a:gd name="connsiteY52" fmla="*/ 60235 h 339806"/>
                <a:gd name="connsiteX53" fmla="*/ 99221 w 607790"/>
                <a:gd name="connsiteY53" fmla="*/ 0 h 339806"/>
                <a:gd name="connsiteX54" fmla="*/ 126154 w 607790"/>
                <a:gd name="connsiteY54" fmla="*/ 20903 h 339806"/>
                <a:gd name="connsiteX55" fmla="*/ 99221 w 607790"/>
                <a:gd name="connsiteY55" fmla="*/ 41614 h 339806"/>
                <a:gd name="connsiteX56" fmla="*/ 65557 w 607790"/>
                <a:gd name="connsiteY56" fmla="*/ 23780 h 339806"/>
                <a:gd name="connsiteX57" fmla="*/ 99221 w 607790"/>
                <a:gd name="connsiteY57" fmla="*/ 0 h 339806"/>
                <a:gd name="connsiteX58" fmla="*/ 33369 w 607790"/>
                <a:gd name="connsiteY58" fmla="*/ 0 h 339806"/>
                <a:gd name="connsiteX59" fmla="*/ 16687 w 607790"/>
                <a:gd name="connsiteY59" fmla="*/ 41710 h 339806"/>
                <a:gd name="connsiteX60" fmla="*/ 0 w 607790"/>
                <a:gd name="connsiteY60" fmla="*/ 31629 h 339806"/>
                <a:gd name="connsiteX61" fmla="*/ 33369 w 607790"/>
                <a:gd name="connsiteY61" fmla="*/ 0 h 339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07790" h="339806">
                  <a:moveTo>
                    <a:pt x="506369" y="205814"/>
                  </a:moveTo>
                  <a:cubicBezTo>
                    <a:pt x="506369" y="205814"/>
                    <a:pt x="514607" y="205814"/>
                    <a:pt x="514607" y="205814"/>
                  </a:cubicBezTo>
                  <a:cubicBezTo>
                    <a:pt x="514607" y="205814"/>
                    <a:pt x="529898" y="217754"/>
                    <a:pt x="539725" y="223463"/>
                  </a:cubicBezTo>
                  <a:cubicBezTo>
                    <a:pt x="549551" y="229173"/>
                    <a:pt x="567542" y="237998"/>
                    <a:pt x="571069" y="240592"/>
                  </a:cubicBezTo>
                  <a:cubicBezTo>
                    <a:pt x="574596" y="243187"/>
                    <a:pt x="614006" y="287824"/>
                    <a:pt x="606946" y="288864"/>
                  </a:cubicBezTo>
                  <a:cubicBezTo>
                    <a:pt x="599892" y="289898"/>
                    <a:pt x="573425" y="303399"/>
                    <a:pt x="564009" y="307548"/>
                  </a:cubicBezTo>
                  <a:cubicBezTo>
                    <a:pt x="554600" y="311703"/>
                    <a:pt x="536370" y="334542"/>
                    <a:pt x="530487" y="338697"/>
                  </a:cubicBezTo>
                  <a:cubicBezTo>
                    <a:pt x="524605" y="342846"/>
                    <a:pt x="512840" y="334021"/>
                    <a:pt x="506369" y="334021"/>
                  </a:cubicBezTo>
                  <a:cubicBezTo>
                    <a:pt x="499904" y="334021"/>
                    <a:pt x="492844" y="322602"/>
                    <a:pt x="489012" y="319487"/>
                  </a:cubicBezTo>
                  <a:cubicBezTo>
                    <a:pt x="485181" y="316372"/>
                    <a:pt x="487550" y="297169"/>
                    <a:pt x="482263" y="290419"/>
                  </a:cubicBezTo>
                  <a:cubicBezTo>
                    <a:pt x="476963" y="283675"/>
                    <a:pt x="472258" y="262391"/>
                    <a:pt x="471669" y="260316"/>
                  </a:cubicBezTo>
                  <a:cubicBezTo>
                    <a:pt x="471080" y="258242"/>
                    <a:pt x="488139" y="256681"/>
                    <a:pt x="488139" y="256681"/>
                  </a:cubicBezTo>
                  <a:cubicBezTo>
                    <a:pt x="488139" y="256681"/>
                    <a:pt x="510491" y="254086"/>
                    <a:pt x="501664" y="241113"/>
                  </a:cubicBezTo>
                  <a:cubicBezTo>
                    <a:pt x="492844" y="228133"/>
                    <a:pt x="506369" y="205814"/>
                    <a:pt x="506369" y="205814"/>
                  </a:cubicBezTo>
                  <a:close/>
                  <a:moveTo>
                    <a:pt x="427140" y="120499"/>
                  </a:moveTo>
                  <a:cubicBezTo>
                    <a:pt x="427140" y="122057"/>
                    <a:pt x="443042" y="129854"/>
                    <a:pt x="448349" y="130039"/>
                  </a:cubicBezTo>
                  <a:cubicBezTo>
                    <a:pt x="448349" y="130039"/>
                    <a:pt x="473091" y="131415"/>
                    <a:pt x="478984" y="133493"/>
                  </a:cubicBezTo>
                  <a:cubicBezTo>
                    <a:pt x="484870" y="135570"/>
                    <a:pt x="491947" y="144409"/>
                    <a:pt x="494887" y="152209"/>
                  </a:cubicBezTo>
                  <a:cubicBezTo>
                    <a:pt x="497833" y="160006"/>
                    <a:pt x="481339" y="170925"/>
                    <a:pt x="481339" y="176122"/>
                  </a:cubicBezTo>
                  <a:cubicBezTo>
                    <a:pt x="481339" y="181315"/>
                    <a:pt x="417123" y="186518"/>
                    <a:pt x="417123" y="186518"/>
                  </a:cubicBezTo>
                  <a:cubicBezTo>
                    <a:pt x="417123" y="186518"/>
                    <a:pt x="401214" y="184441"/>
                    <a:pt x="398274" y="183918"/>
                  </a:cubicBezTo>
                  <a:cubicBezTo>
                    <a:pt x="395328" y="183399"/>
                    <a:pt x="398274" y="178722"/>
                    <a:pt x="400037" y="176638"/>
                  </a:cubicBezTo>
                  <a:cubicBezTo>
                    <a:pt x="401812" y="174560"/>
                    <a:pt x="421839" y="165205"/>
                    <a:pt x="421839" y="161567"/>
                  </a:cubicBezTo>
                  <a:cubicBezTo>
                    <a:pt x="421839" y="157928"/>
                    <a:pt x="410053" y="157406"/>
                    <a:pt x="407699" y="158444"/>
                  </a:cubicBezTo>
                  <a:cubicBezTo>
                    <a:pt x="405344" y="159486"/>
                    <a:pt x="395920" y="173525"/>
                    <a:pt x="390619" y="172483"/>
                  </a:cubicBezTo>
                  <a:cubicBezTo>
                    <a:pt x="385311" y="171441"/>
                    <a:pt x="377650" y="162609"/>
                    <a:pt x="371172" y="157928"/>
                  </a:cubicBezTo>
                  <a:cubicBezTo>
                    <a:pt x="364693" y="153248"/>
                    <a:pt x="372941" y="147006"/>
                    <a:pt x="375887" y="141812"/>
                  </a:cubicBezTo>
                  <a:cubicBezTo>
                    <a:pt x="378833" y="136612"/>
                    <a:pt x="401812" y="138693"/>
                    <a:pt x="407699" y="130039"/>
                  </a:cubicBezTo>
                  <a:cubicBezTo>
                    <a:pt x="413591" y="121388"/>
                    <a:pt x="427140" y="118938"/>
                    <a:pt x="427140" y="120499"/>
                  </a:cubicBezTo>
                  <a:close/>
                  <a:moveTo>
                    <a:pt x="360606" y="85834"/>
                  </a:moveTo>
                  <a:cubicBezTo>
                    <a:pt x="363431" y="85631"/>
                    <a:pt x="367577" y="85842"/>
                    <a:pt x="371980" y="86199"/>
                  </a:cubicBezTo>
                  <a:cubicBezTo>
                    <a:pt x="380785" y="86913"/>
                    <a:pt x="390617" y="88213"/>
                    <a:pt x="392964" y="87954"/>
                  </a:cubicBezTo>
                  <a:cubicBezTo>
                    <a:pt x="397662" y="87432"/>
                    <a:pt x="397662" y="92107"/>
                    <a:pt x="402360" y="101451"/>
                  </a:cubicBezTo>
                  <a:cubicBezTo>
                    <a:pt x="407051" y="110805"/>
                    <a:pt x="386506" y="115480"/>
                    <a:pt x="382986" y="121712"/>
                  </a:cubicBezTo>
                  <a:cubicBezTo>
                    <a:pt x="379461" y="127946"/>
                    <a:pt x="350119" y="130541"/>
                    <a:pt x="341516" y="128464"/>
                  </a:cubicBezTo>
                  <a:cubicBezTo>
                    <a:pt x="332912" y="126386"/>
                    <a:pt x="328988" y="123791"/>
                    <a:pt x="326050" y="116517"/>
                  </a:cubicBezTo>
                  <a:cubicBezTo>
                    <a:pt x="323116" y="109250"/>
                    <a:pt x="357156" y="87954"/>
                    <a:pt x="357156" y="87954"/>
                  </a:cubicBezTo>
                  <a:cubicBezTo>
                    <a:pt x="356276" y="86655"/>
                    <a:pt x="357781" y="86037"/>
                    <a:pt x="360606" y="85834"/>
                  </a:cubicBezTo>
                  <a:close/>
                  <a:moveTo>
                    <a:pt x="246038" y="51453"/>
                  </a:moveTo>
                  <a:lnTo>
                    <a:pt x="261885" y="51453"/>
                  </a:lnTo>
                  <a:cubicBezTo>
                    <a:pt x="261885" y="51453"/>
                    <a:pt x="273627" y="56617"/>
                    <a:pt x="273627" y="56617"/>
                  </a:cubicBezTo>
                  <a:lnTo>
                    <a:pt x="287714" y="65924"/>
                  </a:lnTo>
                  <a:lnTo>
                    <a:pt x="294169" y="80390"/>
                  </a:lnTo>
                  <a:lnTo>
                    <a:pt x="301216" y="81942"/>
                  </a:lnTo>
                  <a:lnTo>
                    <a:pt x="301216" y="105201"/>
                  </a:lnTo>
                  <a:lnTo>
                    <a:pt x="292998" y="109338"/>
                  </a:lnTo>
                  <a:lnTo>
                    <a:pt x="278911" y="109338"/>
                  </a:lnTo>
                  <a:lnTo>
                    <a:pt x="261885" y="109338"/>
                  </a:lnTo>
                  <a:lnTo>
                    <a:pt x="253081" y="104686"/>
                  </a:lnTo>
                  <a:lnTo>
                    <a:pt x="238405" y="89178"/>
                  </a:lnTo>
                  <a:lnTo>
                    <a:pt x="227252" y="79361"/>
                  </a:lnTo>
                  <a:lnTo>
                    <a:pt x="227252" y="62821"/>
                  </a:lnTo>
                  <a:lnTo>
                    <a:pt x="237819" y="60235"/>
                  </a:lnTo>
                  <a:close/>
                  <a:moveTo>
                    <a:pt x="99221" y="0"/>
                  </a:moveTo>
                  <a:cubicBezTo>
                    <a:pt x="99221" y="0"/>
                    <a:pt x="121663" y="9911"/>
                    <a:pt x="126154" y="20903"/>
                  </a:cubicBezTo>
                  <a:cubicBezTo>
                    <a:pt x="130642" y="31900"/>
                    <a:pt x="117174" y="39632"/>
                    <a:pt x="99221" y="41614"/>
                  </a:cubicBezTo>
                  <a:cubicBezTo>
                    <a:pt x="81268" y="43599"/>
                    <a:pt x="74534" y="29726"/>
                    <a:pt x="65557" y="23780"/>
                  </a:cubicBezTo>
                  <a:cubicBezTo>
                    <a:pt x="56581" y="17837"/>
                    <a:pt x="99221" y="0"/>
                    <a:pt x="99221" y="0"/>
                  </a:cubicBezTo>
                  <a:close/>
                  <a:moveTo>
                    <a:pt x="33369" y="0"/>
                  </a:moveTo>
                  <a:cubicBezTo>
                    <a:pt x="47245" y="18708"/>
                    <a:pt x="16687" y="41710"/>
                    <a:pt x="16687" y="41710"/>
                  </a:cubicBezTo>
                  <a:cubicBezTo>
                    <a:pt x="16687" y="41710"/>
                    <a:pt x="0" y="43498"/>
                    <a:pt x="0" y="31629"/>
                  </a:cubicBezTo>
                  <a:cubicBezTo>
                    <a:pt x="0" y="19774"/>
                    <a:pt x="33369" y="0"/>
                    <a:pt x="33369" y="0"/>
                  </a:cubicBezTo>
                  <a:close/>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6" name="Georgia"/>
            <p:cNvSpPr>
              <a:spLocks/>
            </p:cNvSpPr>
            <p:nvPr/>
          </p:nvSpPr>
          <p:spPr bwMode="auto">
            <a:xfrm>
              <a:off x="7971941" y="3995744"/>
              <a:ext cx="569204" cy="540798"/>
            </a:xfrm>
            <a:custGeom>
              <a:avLst/>
              <a:gdLst/>
              <a:ahLst/>
              <a:cxnLst/>
              <a:rect l="0" t="0" r="r" b="b"/>
              <a:pathLst>
                <a:path w="21600" h="21600">
                  <a:moveTo>
                    <a:pt x="0" y="675"/>
                  </a:moveTo>
                  <a:lnTo>
                    <a:pt x="4498" y="0"/>
                  </a:lnTo>
                  <a:lnTo>
                    <a:pt x="10220" y="0"/>
                  </a:lnTo>
                  <a:lnTo>
                    <a:pt x="9587" y="675"/>
                  </a:lnTo>
                  <a:lnTo>
                    <a:pt x="10297" y="1244"/>
                  </a:lnTo>
                  <a:lnTo>
                    <a:pt x="11338" y="2079"/>
                  </a:lnTo>
                  <a:lnTo>
                    <a:pt x="12222" y="3191"/>
                  </a:lnTo>
                  <a:lnTo>
                    <a:pt x="12854" y="3191"/>
                  </a:lnTo>
                  <a:lnTo>
                    <a:pt x="13802" y="4523"/>
                  </a:lnTo>
                  <a:lnTo>
                    <a:pt x="14856" y="5208"/>
                  </a:lnTo>
                  <a:lnTo>
                    <a:pt x="16121" y="6087"/>
                  </a:lnTo>
                  <a:lnTo>
                    <a:pt x="16753" y="6674"/>
                  </a:lnTo>
                  <a:lnTo>
                    <a:pt x="16753" y="7456"/>
                  </a:lnTo>
                  <a:lnTo>
                    <a:pt x="18228" y="8042"/>
                  </a:lnTo>
                  <a:lnTo>
                    <a:pt x="18966" y="8898"/>
                  </a:lnTo>
                  <a:lnTo>
                    <a:pt x="19703" y="9998"/>
                  </a:lnTo>
                  <a:lnTo>
                    <a:pt x="20441" y="10878"/>
                  </a:lnTo>
                  <a:lnTo>
                    <a:pt x="20862" y="11843"/>
                  </a:lnTo>
                  <a:lnTo>
                    <a:pt x="21600" y="12886"/>
                  </a:lnTo>
                  <a:lnTo>
                    <a:pt x="21495" y="13810"/>
                  </a:lnTo>
                  <a:lnTo>
                    <a:pt x="20862" y="14886"/>
                  </a:lnTo>
                  <a:lnTo>
                    <a:pt x="20441" y="16254"/>
                  </a:lnTo>
                  <a:lnTo>
                    <a:pt x="20125" y="17623"/>
                  </a:lnTo>
                  <a:lnTo>
                    <a:pt x="20125" y="19089"/>
                  </a:lnTo>
                  <a:lnTo>
                    <a:pt x="18755" y="19089"/>
                  </a:lnTo>
                  <a:lnTo>
                    <a:pt x="18017" y="19089"/>
                  </a:lnTo>
                  <a:lnTo>
                    <a:pt x="18017" y="19969"/>
                  </a:lnTo>
                  <a:lnTo>
                    <a:pt x="18017" y="20680"/>
                  </a:lnTo>
                  <a:lnTo>
                    <a:pt x="17596" y="21600"/>
                  </a:lnTo>
                  <a:lnTo>
                    <a:pt x="16963" y="20680"/>
                  </a:lnTo>
                  <a:lnTo>
                    <a:pt x="5267" y="21142"/>
                  </a:lnTo>
                  <a:lnTo>
                    <a:pt x="4498" y="19575"/>
                  </a:lnTo>
                  <a:lnTo>
                    <a:pt x="3836" y="18716"/>
                  </a:lnTo>
                  <a:lnTo>
                    <a:pt x="3836" y="17611"/>
                  </a:lnTo>
                  <a:lnTo>
                    <a:pt x="3836" y="12518"/>
                  </a:lnTo>
                  <a:lnTo>
                    <a:pt x="2643" y="9845"/>
                  </a:lnTo>
                  <a:lnTo>
                    <a:pt x="2037" y="7740"/>
                  </a:lnTo>
                  <a:lnTo>
                    <a:pt x="1304" y="5198"/>
                  </a:lnTo>
                  <a:lnTo>
                    <a:pt x="725" y="3191"/>
                  </a:lnTo>
                  <a:cubicBezTo>
                    <a:pt x="725" y="3191"/>
                    <a:pt x="0" y="675"/>
                    <a:pt x="0" y="675"/>
                  </a:cubicBezTo>
                  <a:close/>
                  <a:moveTo>
                    <a:pt x="0" y="675"/>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15" name="Florida"/>
            <p:cNvSpPr>
              <a:spLocks/>
            </p:cNvSpPr>
            <p:nvPr/>
          </p:nvSpPr>
          <p:spPr bwMode="auto">
            <a:xfrm>
              <a:off x="7783279" y="4471688"/>
              <a:ext cx="974399" cy="673183"/>
            </a:xfrm>
            <a:custGeom>
              <a:avLst/>
              <a:gdLst/>
              <a:ahLst/>
              <a:cxnLst/>
              <a:rect l="0" t="0" r="r" b="b"/>
              <a:pathLst>
                <a:path w="21600" h="21600">
                  <a:moveTo>
                    <a:pt x="21231" y="20893"/>
                  </a:moveTo>
                  <a:lnTo>
                    <a:pt x="21231" y="20186"/>
                  </a:lnTo>
                  <a:lnTo>
                    <a:pt x="21231" y="19322"/>
                  </a:lnTo>
                  <a:lnTo>
                    <a:pt x="21600" y="18851"/>
                  </a:lnTo>
                  <a:lnTo>
                    <a:pt x="21415" y="17830"/>
                  </a:lnTo>
                  <a:lnTo>
                    <a:pt x="21600" y="16652"/>
                  </a:lnTo>
                  <a:lnTo>
                    <a:pt x="21600" y="15552"/>
                  </a:lnTo>
                  <a:lnTo>
                    <a:pt x="21231" y="14453"/>
                  </a:lnTo>
                  <a:lnTo>
                    <a:pt x="20738" y="13196"/>
                  </a:lnTo>
                  <a:lnTo>
                    <a:pt x="20368" y="12410"/>
                  </a:lnTo>
                  <a:lnTo>
                    <a:pt x="20368" y="11703"/>
                  </a:lnTo>
                  <a:lnTo>
                    <a:pt x="19753" y="10918"/>
                  </a:lnTo>
                  <a:lnTo>
                    <a:pt x="19753" y="10368"/>
                  </a:lnTo>
                  <a:lnTo>
                    <a:pt x="19383" y="9857"/>
                  </a:lnTo>
                  <a:lnTo>
                    <a:pt x="19383" y="8404"/>
                  </a:lnTo>
                  <a:lnTo>
                    <a:pt x="18952" y="7619"/>
                  </a:lnTo>
                  <a:lnTo>
                    <a:pt x="18460" y="6912"/>
                  </a:lnTo>
                  <a:lnTo>
                    <a:pt x="17967" y="6284"/>
                  </a:lnTo>
                  <a:lnTo>
                    <a:pt x="17597" y="5498"/>
                  </a:lnTo>
                  <a:lnTo>
                    <a:pt x="17105" y="4236"/>
                  </a:lnTo>
                  <a:lnTo>
                    <a:pt x="17105" y="3613"/>
                  </a:lnTo>
                  <a:lnTo>
                    <a:pt x="16551" y="2356"/>
                  </a:lnTo>
                  <a:lnTo>
                    <a:pt x="16243" y="1278"/>
                  </a:lnTo>
                  <a:lnTo>
                    <a:pt x="15935" y="0"/>
                  </a:lnTo>
                  <a:lnTo>
                    <a:pt x="15134" y="0"/>
                  </a:lnTo>
                  <a:lnTo>
                    <a:pt x="14703" y="0"/>
                  </a:lnTo>
                  <a:lnTo>
                    <a:pt x="14703" y="707"/>
                  </a:lnTo>
                  <a:lnTo>
                    <a:pt x="14703" y="1278"/>
                  </a:lnTo>
                  <a:lnTo>
                    <a:pt x="14457" y="2018"/>
                  </a:lnTo>
                  <a:lnTo>
                    <a:pt x="14087" y="1278"/>
                  </a:lnTo>
                  <a:lnTo>
                    <a:pt x="12918" y="1278"/>
                  </a:lnTo>
                  <a:lnTo>
                    <a:pt x="7253" y="1650"/>
                  </a:lnTo>
                  <a:lnTo>
                    <a:pt x="6803" y="391"/>
                  </a:lnTo>
                  <a:lnTo>
                    <a:pt x="2220" y="1278"/>
                  </a:lnTo>
                  <a:lnTo>
                    <a:pt x="1095" y="1278"/>
                  </a:lnTo>
                  <a:lnTo>
                    <a:pt x="0" y="1278"/>
                  </a:lnTo>
                  <a:lnTo>
                    <a:pt x="0" y="2018"/>
                  </a:lnTo>
                  <a:lnTo>
                    <a:pt x="541" y="3546"/>
                  </a:lnTo>
                  <a:lnTo>
                    <a:pt x="664" y="4236"/>
                  </a:lnTo>
                  <a:lnTo>
                    <a:pt x="1351" y="3378"/>
                  </a:lnTo>
                  <a:lnTo>
                    <a:pt x="1772" y="3535"/>
                  </a:lnTo>
                  <a:lnTo>
                    <a:pt x="3250" y="3063"/>
                  </a:lnTo>
                  <a:lnTo>
                    <a:pt x="3724" y="3613"/>
                  </a:lnTo>
                  <a:lnTo>
                    <a:pt x="4482" y="4236"/>
                  </a:lnTo>
                  <a:lnTo>
                    <a:pt x="5036" y="4236"/>
                  </a:lnTo>
                  <a:lnTo>
                    <a:pt x="5528" y="4236"/>
                  </a:lnTo>
                  <a:lnTo>
                    <a:pt x="5836" y="4870"/>
                  </a:lnTo>
                  <a:lnTo>
                    <a:pt x="6206" y="5184"/>
                  </a:lnTo>
                  <a:lnTo>
                    <a:pt x="6144" y="5813"/>
                  </a:lnTo>
                  <a:lnTo>
                    <a:pt x="6803" y="5577"/>
                  </a:lnTo>
                  <a:lnTo>
                    <a:pt x="7560" y="5184"/>
                  </a:lnTo>
                  <a:lnTo>
                    <a:pt x="8176" y="4634"/>
                  </a:lnTo>
                  <a:lnTo>
                    <a:pt x="8669" y="4236"/>
                  </a:lnTo>
                  <a:lnTo>
                    <a:pt x="9285" y="4236"/>
                  </a:lnTo>
                  <a:lnTo>
                    <a:pt x="10270" y="4236"/>
                  </a:lnTo>
                  <a:lnTo>
                    <a:pt x="10800" y="4791"/>
                  </a:lnTo>
                  <a:lnTo>
                    <a:pt x="11501" y="5498"/>
                  </a:lnTo>
                  <a:lnTo>
                    <a:pt x="12240" y="6519"/>
                  </a:lnTo>
                  <a:lnTo>
                    <a:pt x="12524" y="6834"/>
                  </a:lnTo>
                  <a:lnTo>
                    <a:pt x="13349" y="7305"/>
                  </a:lnTo>
                  <a:lnTo>
                    <a:pt x="13657" y="8012"/>
                  </a:lnTo>
                  <a:lnTo>
                    <a:pt x="13718" y="9190"/>
                  </a:lnTo>
                  <a:lnTo>
                    <a:pt x="13595" y="10447"/>
                  </a:lnTo>
                  <a:lnTo>
                    <a:pt x="13410" y="11389"/>
                  </a:lnTo>
                  <a:lnTo>
                    <a:pt x="13595" y="12096"/>
                  </a:lnTo>
                  <a:lnTo>
                    <a:pt x="14087" y="11782"/>
                  </a:lnTo>
                  <a:lnTo>
                    <a:pt x="14519" y="12175"/>
                  </a:lnTo>
                  <a:lnTo>
                    <a:pt x="13964" y="12489"/>
                  </a:lnTo>
                  <a:lnTo>
                    <a:pt x="14211" y="13667"/>
                  </a:lnTo>
                  <a:lnTo>
                    <a:pt x="14580" y="14453"/>
                  </a:lnTo>
                  <a:lnTo>
                    <a:pt x="14888" y="15238"/>
                  </a:lnTo>
                  <a:lnTo>
                    <a:pt x="15319" y="15866"/>
                  </a:lnTo>
                  <a:lnTo>
                    <a:pt x="15750" y="15788"/>
                  </a:lnTo>
                  <a:lnTo>
                    <a:pt x="16058" y="16416"/>
                  </a:lnTo>
                  <a:lnTo>
                    <a:pt x="16181" y="17044"/>
                  </a:lnTo>
                  <a:lnTo>
                    <a:pt x="16735" y="17437"/>
                  </a:lnTo>
                  <a:lnTo>
                    <a:pt x="17043" y="18537"/>
                  </a:lnTo>
                  <a:lnTo>
                    <a:pt x="17228" y="19165"/>
                  </a:lnTo>
                  <a:lnTo>
                    <a:pt x="17905" y="19558"/>
                  </a:lnTo>
                  <a:lnTo>
                    <a:pt x="18460" y="20186"/>
                  </a:lnTo>
                  <a:lnTo>
                    <a:pt x="18829" y="20893"/>
                  </a:lnTo>
                  <a:lnTo>
                    <a:pt x="19260" y="20893"/>
                  </a:lnTo>
                  <a:lnTo>
                    <a:pt x="19260" y="21600"/>
                  </a:lnTo>
                  <a:lnTo>
                    <a:pt x="19999" y="21600"/>
                  </a:lnTo>
                  <a:lnTo>
                    <a:pt x="20492" y="21286"/>
                  </a:lnTo>
                  <a:cubicBezTo>
                    <a:pt x="20492" y="21286"/>
                    <a:pt x="21231" y="20893"/>
                    <a:pt x="21231" y="20893"/>
                  </a:cubicBezTo>
                  <a:close/>
                  <a:moveTo>
                    <a:pt x="21231" y="20893"/>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35" name="DC"/>
            <p:cNvSpPr/>
            <p:nvPr/>
          </p:nvSpPr>
          <p:spPr>
            <a:xfrm>
              <a:off x="9247116" y="3431103"/>
              <a:ext cx="128117" cy="128117"/>
            </a:xfrm>
            <a:prstGeom prst="rect">
              <a:avLst/>
            </a:pr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2" name="Delaware"/>
            <p:cNvSpPr>
              <a:spLocks/>
            </p:cNvSpPr>
            <p:nvPr/>
          </p:nvSpPr>
          <p:spPr bwMode="auto">
            <a:xfrm>
              <a:off x="8940981" y="3266820"/>
              <a:ext cx="113626" cy="169368"/>
            </a:xfrm>
            <a:custGeom>
              <a:avLst/>
              <a:gdLst/>
              <a:ahLst/>
              <a:cxnLst/>
              <a:rect l="0" t="0" r="r" b="b"/>
              <a:pathLst>
                <a:path w="21600" h="21600">
                  <a:moveTo>
                    <a:pt x="21600" y="19689"/>
                  </a:moveTo>
                  <a:lnTo>
                    <a:pt x="21600" y="17121"/>
                  </a:lnTo>
                  <a:lnTo>
                    <a:pt x="18439" y="15391"/>
                  </a:lnTo>
                  <a:lnTo>
                    <a:pt x="13170" y="12458"/>
                  </a:lnTo>
                  <a:lnTo>
                    <a:pt x="9483" y="8409"/>
                  </a:lnTo>
                  <a:lnTo>
                    <a:pt x="5795" y="4672"/>
                  </a:lnTo>
                  <a:lnTo>
                    <a:pt x="5795" y="2492"/>
                  </a:lnTo>
                  <a:lnTo>
                    <a:pt x="5795" y="1246"/>
                  </a:lnTo>
                  <a:lnTo>
                    <a:pt x="2108" y="0"/>
                  </a:lnTo>
                  <a:lnTo>
                    <a:pt x="0" y="2492"/>
                  </a:lnTo>
                  <a:lnTo>
                    <a:pt x="0" y="6852"/>
                  </a:lnTo>
                  <a:lnTo>
                    <a:pt x="4742" y="11160"/>
                  </a:lnTo>
                  <a:lnTo>
                    <a:pt x="7376" y="17121"/>
                  </a:lnTo>
                  <a:lnTo>
                    <a:pt x="7902" y="19689"/>
                  </a:lnTo>
                  <a:lnTo>
                    <a:pt x="10800" y="21600"/>
                  </a:lnTo>
                  <a:cubicBezTo>
                    <a:pt x="10800" y="21600"/>
                    <a:pt x="21600" y="19689"/>
                    <a:pt x="21600" y="19689"/>
                  </a:cubicBezTo>
                  <a:close/>
                  <a:moveTo>
                    <a:pt x="21600" y="19689"/>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28" name="Connecticut"/>
            <p:cNvSpPr>
              <a:spLocks/>
            </p:cNvSpPr>
            <p:nvPr/>
          </p:nvSpPr>
          <p:spPr bwMode="auto">
            <a:xfrm>
              <a:off x="9129643" y="2932373"/>
              <a:ext cx="174727" cy="159184"/>
            </a:xfrm>
            <a:custGeom>
              <a:avLst/>
              <a:gdLst/>
              <a:ahLst/>
              <a:cxnLst/>
              <a:rect l="0" t="0" r="r" b="b"/>
              <a:pathLst>
                <a:path w="21600" h="21600">
                  <a:moveTo>
                    <a:pt x="21600" y="10301"/>
                  </a:moveTo>
                  <a:lnTo>
                    <a:pt x="19886" y="0"/>
                  </a:lnTo>
                  <a:lnTo>
                    <a:pt x="15086" y="0"/>
                  </a:lnTo>
                  <a:lnTo>
                    <a:pt x="6514" y="1994"/>
                  </a:lnTo>
                  <a:lnTo>
                    <a:pt x="0" y="3655"/>
                  </a:lnTo>
                  <a:lnTo>
                    <a:pt x="0" y="8421"/>
                  </a:lnTo>
                  <a:lnTo>
                    <a:pt x="0" y="13292"/>
                  </a:lnTo>
                  <a:lnTo>
                    <a:pt x="0" y="16283"/>
                  </a:lnTo>
                  <a:lnTo>
                    <a:pt x="0" y="19938"/>
                  </a:lnTo>
                  <a:lnTo>
                    <a:pt x="0" y="21600"/>
                  </a:lnTo>
                  <a:lnTo>
                    <a:pt x="5486" y="16283"/>
                  </a:lnTo>
                  <a:lnTo>
                    <a:pt x="10800" y="13624"/>
                  </a:lnTo>
                  <a:lnTo>
                    <a:pt x="16457" y="10800"/>
                  </a:lnTo>
                  <a:cubicBezTo>
                    <a:pt x="16457" y="10800"/>
                    <a:pt x="21600" y="10301"/>
                    <a:pt x="21600" y="10301"/>
                  </a:cubicBezTo>
                  <a:close/>
                  <a:moveTo>
                    <a:pt x="21600" y="10301"/>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5" name="Colorado"/>
            <p:cNvSpPr>
              <a:spLocks/>
            </p:cNvSpPr>
            <p:nvPr/>
          </p:nvSpPr>
          <p:spPr bwMode="auto">
            <a:xfrm>
              <a:off x="5420708" y="3193928"/>
              <a:ext cx="798600" cy="583675"/>
            </a:xfrm>
            <a:custGeom>
              <a:avLst/>
              <a:gdLst/>
              <a:ahLst/>
              <a:cxnLst/>
              <a:rect l="0" t="0" r="r" b="b"/>
              <a:pathLst>
                <a:path w="21600" h="21600">
                  <a:moveTo>
                    <a:pt x="21600" y="3207"/>
                  </a:moveTo>
                  <a:lnTo>
                    <a:pt x="20468" y="21600"/>
                  </a:lnTo>
                  <a:lnTo>
                    <a:pt x="17450" y="21486"/>
                  </a:lnTo>
                  <a:lnTo>
                    <a:pt x="0" y="18677"/>
                  </a:lnTo>
                  <a:lnTo>
                    <a:pt x="2512" y="0"/>
                  </a:lnTo>
                  <a:cubicBezTo>
                    <a:pt x="2512" y="0"/>
                    <a:pt x="21600" y="3207"/>
                    <a:pt x="21600" y="3207"/>
                  </a:cubicBezTo>
                  <a:close/>
                  <a:moveTo>
                    <a:pt x="21600" y="3207"/>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88" name="California"/>
            <p:cNvSpPr>
              <a:spLocks/>
            </p:cNvSpPr>
            <p:nvPr/>
          </p:nvSpPr>
          <p:spPr bwMode="auto">
            <a:xfrm>
              <a:off x="3962860" y="2760861"/>
              <a:ext cx="819504" cy="1349581"/>
            </a:xfrm>
            <a:custGeom>
              <a:avLst/>
              <a:gdLst/>
              <a:ahLst/>
              <a:cxnLst/>
              <a:rect l="0" t="0" r="r" b="b"/>
              <a:pathLst>
                <a:path w="21600" h="21600">
                  <a:moveTo>
                    <a:pt x="18475" y="21600"/>
                  </a:moveTo>
                  <a:lnTo>
                    <a:pt x="11673" y="21206"/>
                  </a:lnTo>
                  <a:lnTo>
                    <a:pt x="11673" y="20862"/>
                  </a:lnTo>
                  <a:lnTo>
                    <a:pt x="11673" y="20567"/>
                  </a:lnTo>
                  <a:lnTo>
                    <a:pt x="11673" y="20222"/>
                  </a:lnTo>
                  <a:lnTo>
                    <a:pt x="11673" y="19829"/>
                  </a:lnTo>
                  <a:lnTo>
                    <a:pt x="10938" y="19337"/>
                  </a:lnTo>
                  <a:lnTo>
                    <a:pt x="10938" y="18943"/>
                  </a:lnTo>
                  <a:lnTo>
                    <a:pt x="10111" y="18549"/>
                  </a:lnTo>
                  <a:lnTo>
                    <a:pt x="9559" y="18353"/>
                  </a:lnTo>
                  <a:lnTo>
                    <a:pt x="9008" y="18353"/>
                  </a:lnTo>
                  <a:lnTo>
                    <a:pt x="9008" y="18057"/>
                  </a:lnTo>
                  <a:lnTo>
                    <a:pt x="9008" y="17811"/>
                  </a:lnTo>
                  <a:lnTo>
                    <a:pt x="8640" y="17811"/>
                  </a:lnTo>
                  <a:lnTo>
                    <a:pt x="7813" y="17615"/>
                  </a:lnTo>
                  <a:lnTo>
                    <a:pt x="7169" y="17270"/>
                  </a:lnTo>
                  <a:lnTo>
                    <a:pt x="7169" y="16975"/>
                  </a:lnTo>
                  <a:lnTo>
                    <a:pt x="6618" y="16975"/>
                  </a:lnTo>
                  <a:lnTo>
                    <a:pt x="5975" y="16581"/>
                  </a:lnTo>
                  <a:lnTo>
                    <a:pt x="5055" y="16335"/>
                  </a:lnTo>
                  <a:lnTo>
                    <a:pt x="4320" y="16335"/>
                  </a:lnTo>
                  <a:lnTo>
                    <a:pt x="4320" y="16138"/>
                  </a:lnTo>
                  <a:lnTo>
                    <a:pt x="3677" y="15942"/>
                  </a:lnTo>
                  <a:lnTo>
                    <a:pt x="3677" y="15499"/>
                  </a:lnTo>
                  <a:lnTo>
                    <a:pt x="4136" y="14958"/>
                  </a:lnTo>
                  <a:lnTo>
                    <a:pt x="3677" y="14613"/>
                  </a:lnTo>
                  <a:lnTo>
                    <a:pt x="3677" y="14220"/>
                  </a:lnTo>
                  <a:lnTo>
                    <a:pt x="3309" y="13678"/>
                  </a:lnTo>
                  <a:lnTo>
                    <a:pt x="2757" y="13186"/>
                  </a:lnTo>
                  <a:lnTo>
                    <a:pt x="2757" y="12694"/>
                  </a:lnTo>
                  <a:lnTo>
                    <a:pt x="2022" y="12202"/>
                  </a:lnTo>
                  <a:lnTo>
                    <a:pt x="2022" y="11907"/>
                  </a:lnTo>
                  <a:lnTo>
                    <a:pt x="2022" y="11612"/>
                  </a:lnTo>
                  <a:lnTo>
                    <a:pt x="2574" y="11120"/>
                  </a:lnTo>
                  <a:lnTo>
                    <a:pt x="2574" y="10677"/>
                  </a:lnTo>
                  <a:lnTo>
                    <a:pt x="2022" y="10677"/>
                  </a:lnTo>
                  <a:lnTo>
                    <a:pt x="1563" y="10185"/>
                  </a:lnTo>
                  <a:lnTo>
                    <a:pt x="1563" y="9693"/>
                  </a:lnTo>
                  <a:lnTo>
                    <a:pt x="1563" y="9152"/>
                  </a:lnTo>
                  <a:lnTo>
                    <a:pt x="2022" y="8955"/>
                  </a:lnTo>
                  <a:lnTo>
                    <a:pt x="2482" y="9201"/>
                  </a:lnTo>
                  <a:lnTo>
                    <a:pt x="2022" y="8512"/>
                  </a:lnTo>
                  <a:lnTo>
                    <a:pt x="1563" y="8512"/>
                  </a:lnTo>
                  <a:lnTo>
                    <a:pt x="1011" y="8266"/>
                  </a:lnTo>
                  <a:lnTo>
                    <a:pt x="1011" y="7725"/>
                  </a:lnTo>
                  <a:lnTo>
                    <a:pt x="1011" y="7380"/>
                  </a:lnTo>
                  <a:lnTo>
                    <a:pt x="460" y="6987"/>
                  </a:lnTo>
                  <a:lnTo>
                    <a:pt x="460" y="6495"/>
                  </a:lnTo>
                  <a:lnTo>
                    <a:pt x="0" y="6052"/>
                  </a:lnTo>
                  <a:lnTo>
                    <a:pt x="0" y="5462"/>
                  </a:lnTo>
                  <a:lnTo>
                    <a:pt x="551" y="4674"/>
                  </a:lnTo>
                  <a:lnTo>
                    <a:pt x="460" y="4281"/>
                  </a:lnTo>
                  <a:lnTo>
                    <a:pt x="0" y="3789"/>
                  </a:lnTo>
                  <a:lnTo>
                    <a:pt x="0" y="3395"/>
                  </a:lnTo>
                  <a:lnTo>
                    <a:pt x="0" y="2952"/>
                  </a:lnTo>
                  <a:lnTo>
                    <a:pt x="643" y="2312"/>
                  </a:lnTo>
                  <a:lnTo>
                    <a:pt x="1287" y="2066"/>
                  </a:lnTo>
                  <a:lnTo>
                    <a:pt x="1563" y="1574"/>
                  </a:lnTo>
                  <a:lnTo>
                    <a:pt x="2022" y="1181"/>
                  </a:lnTo>
                  <a:lnTo>
                    <a:pt x="2022" y="836"/>
                  </a:lnTo>
                  <a:lnTo>
                    <a:pt x="2022" y="443"/>
                  </a:lnTo>
                  <a:lnTo>
                    <a:pt x="2022" y="0"/>
                  </a:lnTo>
                  <a:lnTo>
                    <a:pt x="12684" y="1870"/>
                  </a:lnTo>
                  <a:lnTo>
                    <a:pt x="9743" y="7725"/>
                  </a:lnTo>
                  <a:lnTo>
                    <a:pt x="21048" y="17270"/>
                  </a:lnTo>
                  <a:lnTo>
                    <a:pt x="21048" y="17861"/>
                  </a:lnTo>
                  <a:lnTo>
                    <a:pt x="21600" y="18353"/>
                  </a:lnTo>
                  <a:lnTo>
                    <a:pt x="21600" y="18746"/>
                  </a:lnTo>
                  <a:lnTo>
                    <a:pt x="21140" y="18943"/>
                  </a:lnTo>
                  <a:lnTo>
                    <a:pt x="20497" y="19435"/>
                  </a:lnTo>
                  <a:lnTo>
                    <a:pt x="20497" y="19878"/>
                  </a:lnTo>
                  <a:lnTo>
                    <a:pt x="19762" y="20321"/>
                  </a:lnTo>
                  <a:lnTo>
                    <a:pt x="19302" y="20272"/>
                  </a:lnTo>
                  <a:lnTo>
                    <a:pt x="19302" y="20616"/>
                  </a:lnTo>
                  <a:lnTo>
                    <a:pt x="19394" y="20960"/>
                  </a:lnTo>
                  <a:lnTo>
                    <a:pt x="19670" y="21206"/>
                  </a:lnTo>
                  <a:lnTo>
                    <a:pt x="19578" y="21600"/>
                  </a:lnTo>
                  <a:lnTo>
                    <a:pt x="18934" y="21600"/>
                  </a:lnTo>
                  <a:cubicBezTo>
                    <a:pt x="18934" y="21600"/>
                    <a:pt x="18475" y="21600"/>
                    <a:pt x="18475" y="21600"/>
                  </a:cubicBezTo>
                  <a:close/>
                  <a:moveTo>
                    <a:pt x="18475"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5" name="Arkansas"/>
            <p:cNvSpPr>
              <a:spLocks/>
            </p:cNvSpPr>
            <p:nvPr/>
          </p:nvSpPr>
          <p:spPr bwMode="auto">
            <a:xfrm>
              <a:off x="6972887" y="3858535"/>
              <a:ext cx="537046" cy="433066"/>
            </a:xfrm>
            <a:custGeom>
              <a:avLst/>
              <a:gdLst/>
              <a:ahLst/>
              <a:cxnLst/>
              <a:rect l="0" t="0" r="r" b="b"/>
              <a:pathLst>
                <a:path w="21600" h="21600">
                  <a:moveTo>
                    <a:pt x="140" y="17923"/>
                  </a:moveTo>
                  <a:lnTo>
                    <a:pt x="0" y="613"/>
                  </a:lnTo>
                  <a:lnTo>
                    <a:pt x="19356" y="0"/>
                  </a:lnTo>
                  <a:lnTo>
                    <a:pt x="19917" y="766"/>
                  </a:lnTo>
                  <a:lnTo>
                    <a:pt x="19356" y="1685"/>
                  </a:lnTo>
                  <a:lnTo>
                    <a:pt x="18514" y="2604"/>
                  </a:lnTo>
                  <a:lnTo>
                    <a:pt x="19356" y="2604"/>
                  </a:lnTo>
                  <a:lnTo>
                    <a:pt x="21600" y="2604"/>
                  </a:lnTo>
                  <a:lnTo>
                    <a:pt x="21039" y="3983"/>
                  </a:lnTo>
                  <a:lnTo>
                    <a:pt x="20618" y="5515"/>
                  </a:lnTo>
                  <a:lnTo>
                    <a:pt x="19917" y="6817"/>
                  </a:lnTo>
                  <a:lnTo>
                    <a:pt x="19917" y="7966"/>
                  </a:lnTo>
                  <a:lnTo>
                    <a:pt x="19917" y="9268"/>
                  </a:lnTo>
                  <a:lnTo>
                    <a:pt x="18514" y="9268"/>
                  </a:lnTo>
                  <a:lnTo>
                    <a:pt x="18514" y="10570"/>
                  </a:lnTo>
                  <a:lnTo>
                    <a:pt x="18514" y="12408"/>
                  </a:lnTo>
                  <a:lnTo>
                    <a:pt x="17397" y="13628"/>
                  </a:lnTo>
                  <a:lnTo>
                    <a:pt x="16270" y="14859"/>
                  </a:lnTo>
                  <a:lnTo>
                    <a:pt x="15709" y="16698"/>
                  </a:lnTo>
                  <a:lnTo>
                    <a:pt x="15148" y="17923"/>
                  </a:lnTo>
                  <a:lnTo>
                    <a:pt x="15709" y="19915"/>
                  </a:lnTo>
                  <a:lnTo>
                    <a:pt x="15429" y="21600"/>
                  </a:lnTo>
                  <a:lnTo>
                    <a:pt x="2244" y="21600"/>
                  </a:lnTo>
                  <a:lnTo>
                    <a:pt x="1907" y="19486"/>
                  </a:lnTo>
                  <a:lnTo>
                    <a:pt x="1543" y="18689"/>
                  </a:lnTo>
                  <a:lnTo>
                    <a:pt x="757" y="18260"/>
                  </a:lnTo>
                  <a:cubicBezTo>
                    <a:pt x="757" y="18260"/>
                    <a:pt x="140" y="17923"/>
                    <a:pt x="140" y="17923"/>
                  </a:cubicBezTo>
                  <a:close/>
                  <a:moveTo>
                    <a:pt x="140" y="17923"/>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93" name="Arizona"/>
            <p:cNvSpPr>
              <a:spLocks/>
            </p:cNvSpPr>
            <p:nvPr/>
          </p:nvSpPr>
          <p:spPr bwMode="auto">
            <a:xfrm>
              <a:off x="4666057" y="3609843"/>
              <a:ext cx="753043" cy="773946"/>
            </a:xfrm>
            <a:custGeom>
              <a:avLst/>
              <a:gdLst/>
              <a:ahLst/>
              <a:cxnLst/>
              <a:rect l="0" t="0" r="r" b="b"/>
              <a:pathLst>
                <a:path w="21600" h="21600">
                  <a:moveTo>
                    <a:pt x="18000" y="21600"/>
                  </a:moveTo>
                  <a:lnTo>
                    <a:pt x="21600" y="2473"/>
                  </a:lnTo>
                  <a:lnTo>
                    <a:pt x="6270" y="0"/>
                  </a:lnTo>
                  <a:lnTo>
                    <a:pt x="5700" y="2130"/>
                  </a:lnTo>
                  <a:lnTo>
                    <a:pt x="4900" y="2988"/>
                  </a:lnTo>
                  <a:lnTo>
                    <a:pt x="4300" y="2559"/>
                  </a:lnTo>
                  <a:lnTo>
                    <a:pt x="3400" y="2559"/>
                  </a:lnTo>
                  <a:lnTo>
                    <a:pt x="3400" y="3503"/>
                  </a:lnTo>
                  <a:lnTo>
                    <a:pt x="3400" y="4446"/>
                  </a:lnTo>
                  <a:lnTo>
                    <a:pt x="3073" y="5176"/>
                  </a:lnTo>
                  <a:lnTo>
                    <a:pt x="2800" y="6333"/>
                  </a:lnTo>
                  <a:lnTo>
                    <a:pt x="2800" y="7362"/>
                  </a:lnTo>
                  <a:lnTo>
                    <a:pt x="3400" y="8906"/>
                  </a:lnTo>
                  <a:lnTo>
                    <a:pt x="2900" y="9249"/>
                  </a:lnTo>
                  <a:lnTo>
                    <a:pt x="2200" y="10107"/>
                  </a:lnTo>
                  <a:lnTo>
                    <a:pt x="1984" y="11087"/>
                  </a:lnTo>
                  <a:lnTo>
                    <a:pt x="1400" y="11651"/>
                  </a:lnTo>
                  <a:lnTo>
                    <a:pt x="900" y="11565"/>
                  </a:lnTo>
                  <a:lnTo>
                    <a:pt x="900" y="12165"/>
                  </a:lnTo>
                  <a:lnTo>
                    <a:pt x="1000" y="12766"/>
                  </a:lnTo>
                  <a:lnTo>
                    <a:pt x="1300" y="13195"/>
                  </a:lnTo>
                  <a:lnTo>
                    <a:pt x="500" y="13881"/>
                  </a:lnTo>
                  <a:lnTo>
                    <a:pt x="0" y="13881"/>
                  </a:lnTo>
                  <a:lnTo>
                    <a:pt x="0" y="14824"/>
                  </a:lnTo>
                  <a:lnTo>
                    <a:pt x="11550" y="20571"/>
                  </a:lnTo>
                  <a:cubicBezTo>
                    <a:pt x="11550" y="20571"/>
                    <a:pt x="18000" y="21600"/>
                    <a:pt x="18000" y="21600"/>
                  </a:cubicBezTo>
                  <a:close/>
                  <a:moveTo>
                    <a:pt x="18000"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74" name="Alaska">
              <a:extLst>
                <a:ext uri="{FF2B5EF4-FFF2-40B4-BE49-F238E27FC236}">
                  <a16:creationId xmlns:a16="http://schemas.microsoft.com/office/drawing/2014/main" id="{D86CF6FD-B6C7-CF45-8402-EDD3BE5D5ABF}"/>
                </a:ext>
              </a:extLst>
            </p:cNvPr>
            <p:cNvSpPr>
              <a:spLocks/>
            </p:cNvSpPr>
            <p:nvPr/>
          </p:nvSpPr>
          <p:spPr bwMode="auto">
            <a:xfrm>
              <a:off x="1983466" y="4033783"/>
              <a:ext cx="2045584" cy="1267212"/>
            </a:xfrm>
            <a:custGeom>
              <a:avLst/>
              <a:gdLst>
                <a:gd name="connsiteX0" fmla="*/ 289532 w 2045584"/>
                <a:gd name="connsiteY0" fmla="*/ 1227452 h 1267212"/>
                <a:gd name="connsiteX1" fmla="*/ 289532 w 2045584"/>
                <a:gd name="connsiteY1" fmla="*/ 1245803 h 1267212"/>
                <a:gd name="connsiteX2" fmla="*/ 273220 w 2045584"/>
                <a:gd name="connsiteY2" fmla="*/ 1264153 h 1267212"/>
                <a:gd name="connsiteX3" fmla="*/ 273220 w 2045584"/>
                <a:gd name="connsiteY3" fmla="*/ 1230852 h 1267212"/>
                <a:gd name="connsiteX4" fmla="*/ 244165 w 2045584"/>
                <a:gd name="connsiteY4" fmla="*/ 1227452 h 1267212"/>
                <a:gd name="connsiteX5" fmla="*/ 244165 w 2045584"/>
                <a:gd name="connsiteY5" fmla="*/ 1264153 h 1267212"/>
                <a:gd name="connsiteX6" fmla="*/ 224285 w 2045584"/>
                <a:gd name="connsiteY6" fmla="*/ 1245803 h 1267212"/>
                <a:gd name="connsiteX7" fmla="*/ 183506 w 2045584"/>
                <a:gd name="connsiteY7" fmla="*/ 1227452 h 1267212"/>
                <a:gd name="connsiteX8" fmla="*/ 206444 w 2045584"/>
                <a:gd name="connsiteY8" fmla="*/ 1240560 h 1267212"/>
                <a:gd name="connsiteX9" fmla="*/ 206444 w 2045584"/>
                <a:gd name="connsiteY9" fmla="*/ 1252212 h 1267212"/>
                <a:gd name="connsiteX10" fmla="*/ 206444 w 2045584"/>
                <a:gd name="connsiteY10" fmla="*/ 1267212 h 1267212"/>
                <a:gd name="connsiteX11" fmla="*/ 194972 w 2045584"/>
                <a:gd name="connsiteY11" fmla="*/ 1264939 h 1267212"/>
                <a:gd name="connsiteX12" fmla="*/ 183506 w 2045584"/>
                <a:gd name="connsiteY12" fmla="*/ 1240560 h 1267212"/>
                <a:gd name="connsiteX13" fmla="*/ 333878 w 2045584"/>
                <a:gd name="connsiteY13" fmla="*/ 1215219 h 1267212"/>
                <a:gd name="connsiteX14" fmla="*/ 367011 w 2045584"/>
                <a:gd name="connsiteY14" fmla="*/ 1228179 h 1267212"/>
                <a:gd name="connsiteX15" fmla="*/ 340505 w 2045584"/>
                <a:gd name="connsiteY15" fmla="*/ 1247842 h 1267212"/>
                <a:gd name="connsiteX16" fmla="*/ 313999 w 2045584"/>
                <a:gd name="connsiteY16" fmla="*/ 1241142 h 1267212"/>
                <a:gd name="connsiteX17" fmla="*/ 141081 w 2045584"/>
                <a:gd name="connsiteY17" fmla="*/ 1215219 h 1267212"/>
                <a:gd name="connsiteX18" fmla="*/ 161078 w 2045584"/>
                <a:gd name="connsiteY18" fmla="*/ 1222437 h 1267212"/>
                <a:gd name="connsiteX19" fmla="*/ 139416 w 2045584"/>
                <a:gd name="connsiteY19" fmla="*/ 1241216 h 1267212"/>
                <a:gd name="connsiteX20" fmla="*/ 117750 w 2045584"/>
                <a:gd name="connsiteY20" fmla="*/ 1241216 h 1267212"/>
                <a:gd name="connsiteX21" fmla="*/ 117750 w 2045584"/>
                <a:gd name="connsiteY21" fmla="*/ 1229660 h 1267212"/>
                <a:gd name="connsiteX22" fmla="*/ 81558 w 2045584"/>
                <a:gd name="connsiteY22" fmla="*/ 1190751 h 1267212"/>
                <a:gd name="connsiteX23" fmla="*/ 97870 w 2045584"/>
                <a:gd name="connsiteY23" fmla="*/ 1190751 h 1267212"/>
                <a:gd name="connsiteX24" fmla="*/ 97870 w 2045584"/>
                <a:gd name="connsiteY24" fmla="*/ 1201965 h 1267212"/>
                <a:gd name="connsiteX25" fmla="*/ 81558 w 2045584"/>
                <a:gd name="connsiteY25" fmla="*/ 1201965 h 1267212"/>
                <a:gd name="connsiteX26" fmla="*/ 81558 w 2045584"/>
                <a:gd name="connsiteY26" fmla="*/ 1190751 h 1267212"/>
                <a:gd name="connsiteX27" fmla="*/ 45372 w 2045584"/>
                <a:gd name="connsiteY27" fmla="*/ 1149972 h 1267212"/>
                <a:gd name="connsiteX28" fmla="*/ 58621 w 2045584"/>
                <a:gd name="connsiteY28" fmla="*/ 1169852 h 1267212"/>
                <a:gd name="connsiteX29" fmla="*/ 24468 w 2045584"/>
                <a:gd name="connsiteY29" fmla="*/ 1169852 h 1267212"/>
                <a:gd name="connsiteX30" fmla="*/ 570399 w 2045584"/>
                <a:gd name="connsiteY30" fmla="*/ 1121427 h 1267212"/>
                <a:gd name="connsiteX31" fmla="*/ 596905 w 2045584"/>
                <a:gd name="connsiteY31" fmla="*/ 1121427 h 1267212"/>
                <a:gd name="connsiteX32" fmla="*/ 596905 w 2045584"/>
                <a:gd name="connsiteY32" fmla="*/ 1136091 h 1267212"/>
                <a:gd name="connsiteX33" fmla="*/ 530636 w 2045584"/>
                <a:gd name="connsiteY33" fmla="*/ 1160900 h 1267212"/>
                <a:gd name="connsiteX34" fmla="*/ 494192 w 2045584"/>
                <a:gd name="connsiteY34" fmla="*/ 1174695 h 1267212"/>
                <a:gd name="connsiteX35" fmla="*/ 447810 w 2045584"/>
                <a:gd name="connsiteY35" fmla="*/ 1197314 h 1267212"/>
                <a:gd name="connsiteX36" fmla="*/ 411357 w 2045584"/>
                <a:gd name="connsiteY36" fmla="*/ 1227963 h 1267212"/>
                <a:gd name="connsiteX37" fmla="*/ 391480 w 2045584"/>
                <a:gd name="connsiteY37" fmla="*/ 1214834 h 1267212"/>
                <a:gd name="connsiteX38" fmla="*/ 424614 w 2045584"/>
                <a:gd name="connsiteY38" fmla="*/ 1197314 h 1267212"/>
                <a:gd name="connsiteX39" fmla="*/ 454429 w 2045584"/>
                <a:gd name="connsiteY39" fmla="*/ 1171045 h 1267212"/>
                <a:gd name="connsiteX40" fmla="*/ 467687 w 2045584"/>
                <a:gd name="connsiteY40" fmla="*/ 1171045 h 1267212"/>
                <a:gd name="connsiteX41" fmla="*/ 487564 w 2045584"/>
                <a:gd name="connsiteY41" fmla="*/ 1150749 h 1267212"/>
                <a:gd name="connsiteX42" fmla="*/ 514079 w 2045584"/>
                <a:gd name="connsiteY42" fmla="*/ 1136091 h 1267212"/>
                <a:gd name="connsiteX43" fmla="*/ 537265 w 2045584"/>
                <a:gd name="connsiteY43" fmla="*/ 1136091 h 1267212"/>
                <a:gd name="connsiteX44" fmla="*/ 553147 w 2045584"/>
                <a:gd name="connsiteY44" fmla="*/ 1129062 h 1267212"/>
                <a:gd name="connsiteX45" fmla="*/ 0 w 2045584"/>
                <a:gd name="connsiteY45" fmla="*/ 1121427 h 1267212"/>
                <a:gd name="connsiteX46" fmla="*/ 41798 w 2045584"/>
                <a:gd name="connsiteY46" fmla="*/ 1121427 h 1267212"/>
                <a:gd name="connsiteX47" fmla="*/ 41798 w 2045584"/>
                <a:gd name="connsiteY47" fmla="*/ 1135955 h 1267212"/>
                <a:gd name="connsiteX48" fmla="*/ 451 w 2045584"/>
                <a:gd name="connsiteY48" fmla="*/ 1150483 h 1267212"/>
                <a:gd name="connsiteX49" fmla="*/ 957465 w 2045584"/>
                <a:gd name="connsiteY49" fmla="*/ 0 h 1267212"/>
                <a:gd name="connsiteX50" fmla="*/ 997249 w 2045584"/>
                <a:gd name="connsiteY50" fmla="*/ 11718 h 1267212"/>
                <a:gd name="connsiteX51" fmla="*/ 1037098 w 2045584"/>
                <a:gd name="connsiteY51" fmla="*/ 14621 h 1267212"/>
                <a:gd name="connsiteX52" fmla="*/ 1060333 w 2045584"/>
                <a:gd name="connsiteY52" fmla="*/ 29242 h 1267212"/>
                <a:gd name="connsiteX53" fmla="*/ 1083501 w 2045584"/>
                <a:gd name="connsiteY53" fmla="*/ 43863 h 1267212"/>
                <a:gd name="connsiteX54" fmla="*/ 1106736 w 2045584"/>
                <a:gd name="connsiteY54" fmla="*/ 46766 h 1267212"/>
                <a:gd name="connsiteX55" fmla="*/ 1149895 w 2045584"/>
                <a:gd name="connsiteY55" fmla="*/ 40959 h 1267212"/>
                <a:gd name="connsiteX56" fmla="*/ 1206294 w 2045584"/>
                <a:gd name="connsiteY56" fmla="*/ 52625 h 1267212"/>
                <a:gd name="connsiteX57" fmla="*/ 1246077 w 2045584"/>
                <a:gd name="connsiteY57" fmla="*/ 55580 h 1267212"/>
                <a:gd name="connsiteX58" fmla="*/ 1282551 w 2045584"/>
                <a:gd name="connsiteY58" fmla="*/ 32145 h 1267212"/>
                <a:gd name="connsiteX59" fmla="*/ 1330675 w 2045584"/>
                <a:gd name="connsiteY59" fmla="*/ 43863 h 1267212"/>
                <a:gd name="connsiteX60" fmla="*/ 1355564 w 2045584"/>
                <a:gd name="connsiteY60" fmla="*/ 67246 h 1267212"/>
                <a:gd name="connsiteX61" fmla="*/ 1524759 w 2045584"/>
                <a:gd name="connsiteY61" fmla="*/ 666702 h 1267212"/>
                <a:gd name="connsiteX62" fmla="*/ 1591087 w 2045584"/>
                <a:gd name="connsiteY62" fmla="*/ 646223 h 1267212"/>
                <a:gd name="connsiteX63" fmla="*/ 1609489 w 2045584"/>
                <a:gd name="connsiteY63" fmla="*/ 666702 h 1267212"/>
                <a:gd name="connsiteX64" fmla="*/ 1650795 w 2045584"/>
                <a:gd name="connsiteY64" fmla="*/ 687130 h 1267212"/>
                <a:gd name="connsiteX65" fmla="*/ 1687269 w 2045584"/>
                <a:gd name="connsiteY65" fmla="*/ 687130 h 1267212"/>
                <a:gd name="connsiteX66" fmla="*/ 1728906 w 2045584"/>
                <a:gd name="connsiteY66" fmla="*/ 660844 h 1267212"/>
                <a:gd name="connsiteX67" fmla="*/ 1756973 w 2045584"/>
                <a:gd name="connsiteY67" fmla="*/ 640364 h 1267212"/>
                <a:gd name="connsiteX68" fmla="*/ 1823300 w 2045584"/>
                <a:gd name="connsiteY68" fmla="*/ 687130 h 1267212"/>
                <a:gd name="connsiteX69" fmla="*/ 1884862 w 2045584"/>
                <a:gd name="connsiteY69" fmla="*/ 745614 h 1267212"/>
                <a:gd name="connsiteX70" fmla="*/ 1942717 w 2045584"/>
                <a:gd name="connsiteY70" fmla="*/ 777811 h 1267212"/>
                <a:gd name="connsiteX71" fmla="*/ 1976079 w 2045584"/>
                <a:gd name="connsiteY71" fmla="*/ 789476 h 1267212"/>
                <a:gd name="connsiteX72" fmla="*/ 2022350 w 2045584"/>
                <a:gd name="connsiteY72" fmla="*/ 789476 h 1267212"/>
                <a:gd name="connsiteX73" fmla="*/ 2045584 w 2045584"/>
                <a:gd name="connsiteY73" fmla="*/ 821674 h 1267212"/>
                <a:gd name="connsiteX74" fmla="*/ 2045584 w 2045584"/>
                <a:gd name="connsiteY74" fmla="*/ 853819 h 1267212"/>
                <a:gd name="connsiteX75" fmla="*/ 2045584 w 2045584"/>
                <a:gd name="connsiteY75" fmla="*/ 877202 h 1267212"/>
                <a:gd name="connsiteX76" fmla="*/ 2028969 w 2045584"/>
                <a:gd name="connsiteY76" fmla="*/ 900585 h 1267212"/>
                <a:gd name="connsiteX77" fmla="*/ 1999115 w 2045584"/>
                <a:gd name="connsiteY77" fmla="*/ 918161 h 1267212"/>
                <a:gd name="connsiteX78" fmla="*/ 1965951 w 2045584"/>
                <a:gd name="connsiteY78" fmla="*/ 918161 h 1267212"/>
                <a:gd name="connsiteX79" fmla="*/ 1912863 w 2045584"/>
                <a:gd name="connsiteY79" fmla="*/ 897681 h 1267212"/>
                <a:gd name="connsiteX80" fmla="*/ 1833296 w 2045584"/>
                <a:gd name="connsiteY80" fmla="*/ 842101 h 1267212"/>
                <a:gd name="connsiteX81" fmla="*/ 1780207 w 2045584"/>
                <a:gd name="connsiteY81" fmla="*/ 809956 h 1267212"/>
                <a:gd name="connsiteX82" fmla="*/ 1747043 w 2045584"/>
                <a:gd name="connsiteY82" fmla="*/ 768997 h 1267212"/>
                <a:gd name="connsiteX83" fmla="*/ 1700574 w 2045584"/>
                <a:gd name="connsiteY83" fmla="*/ 739755 h 1267212"/>
                <a:gd name="connsiteX84" fmla="*/ 1634246 w 2045584"/>
                <a:gd name="connsiteY84" fmla="*/ 716372 h 1267212"/>
                <a:gd name="connsiteX85" fmla="*/ 1591087 w 2045584"/>
                <a:gd name="connsiteY85" fmla="*/ 698848 h 1267212"/>
                <a:gd name="connsiteX86" fmla="*/ 1524759 w 2045584"/>
                <a:gd name="connsiteY86" fmla="*/ 695892 h 1267212"/>
                <a:gd name="connsiteX87" fmla="*/ 1498215 w 2045584"/>
                <a:gd name="connsiteY87" fmla="*/ 684227 h 1267212"/>
                <a:gd name="connsiteX88" fmla="*/ 1428511 w 2045584"/>
                <a:gd name="connsiteY88" fmla="*/ 707610 h 1267212"/>
                <a:gd name="connsiteX89" fmla="*/ 1355564 w 2045584"/>
                <a:gd name="connsiteY89" fmla="*/ 666702 h 1267212"/>
                <a:gd name="connsiteX90" fmla="*/ 1279241 w 2045584"/>
                <a:gd name="connsiteY90" fmla="*/ 669606 h 1267212"/>
                <a:gd name="connsiteX91" fmla="*/ 1279241 w 2045584"/>
                <a:gd name="connsiteY91" fmla="*/ 728089 h 1267212"/>
                <a:gd name="connsiteX92" fmla="*/ 1219533 w 2045584"/>
                <a:gd name="connsiteY92" fmla="*/ 754376 h 1267212"/>
                <a:gd name="connsiteX93" fmla="*/ 1159825 w 2045584"/>
                <a:gd name="connsiteY93" fmla="*/ 789476 h 1267212"/>
                <a:gd name="connsiteX94" fmla="*/ 1159825 w 2045584"/>
                <a:gd name="connsiteY94" fmla="*/ 748569 h 1267212"/>
                <a:gd name="connsiteX95" fmla="*/ 1159825 w 2045584"/>
                <a:gd name="connsiteY95" fmla="*/ 713469 h 1267212"/>
                <a:gd name="connsiteX96" fmla="*/ 1199608 w 2045584"/>
                <a:gd name="connsiteY96" fmla="*/ 663747 h 1267212"/>
                <a:gd name="connsiteX97" fmla="*/ 1176440 w 2045584"/>
                <a:gd name="connsiteY97" fmla="*/ 663747 h 1267212"/>
                <a:gd name="connsiteX98" fmla="*/ 1063643 w 2045584"/>
                <a:gd name="connsiteY98" fmla="*/ 812860 h 1267212"/>
                <a:gd name="connsiteX99" fmla="*/ 1096807 w 2045584"/>
                <a:gd name="connsiteY99" fmla="*/ 812860 h 1267212"/>
                <a:gd name="connsiteX100" fmla="*/ 1090187 w 2045584"/>
                <a:gd name="connsiteY100" fmla="*/ 842101 h 1267212"/>
                <a:gd name="connsiteX101" fmla="*/ 984010 w 2045584"/>
                <a:gd name="connsiteY101" fmla="*/ 947403 h 1267212"/>
                <a:gd name="connsiteX102" fmla="*/ 907687 w 2045584"/>
                <a:gd name="connsiteY102" fmla="*/ 997072 h 1267212"/>
                <a:gd name="connsiteX103" fmla="*/ 844669 w 2045584"/>
                <a:gd name="connsiteY103" fmla="*/ 1038032 h 1267212"/>
                <a:gd name="connsiteX104" fmla="*/ 741801 w 2045584"/>
                <a:gd name="connsiteY104" fmla="*/ 1081894 h 1267212"/>
                <a:gd name="connsiteX105" fmla="*/ 662234 w 2045584"/>
                <a:gd name="connsiteY105" fmla="*/ 1119898 h 1267212"/>
                <a:gd name="connsiteX106" fmla="*/ 632380 w 2045584"/>
                <a:gd name="connsiteY106" fmla="*/ 1119898 h 1267212"/>
                <a:gd name="connsiteX107" fmla="*/ 632380 w 2045584"/>
                <a:gd name="connsiteY107" fmla="*/ 1102374 h 1267212"/>
                <a:gd name="connsiteX108" fmla="*/ 632380 w 2045584"/>
                <a:gd name="connsiteY108" fmla="*/ 1078939 h 1267212"/>
                <a:gd name="connsiteX109" fmla="*/ 685403 w 2045584"/>
                <a:gd name="connsiteY109" fmla="*/ 1073132 h 1267212"/>
                <a:gd name="connsiteX110" fmla="*/ 761726 w 2045584"/>
                <a:gd name="connsiteY110" fmla="*/ 1029269 h 1267212"/>
                <a:gd name="connsiteX111" fmla="*/ 804885 w 2045584"/>
                <a:gd name="connsiteY111" fmla="*/ 1026314 h 1267212"/>
                <a:gd name="connsiteX112" fmla="*/ 824744 w 2045584"/>
                <a:gd name="connsiteY112" fmla="*/ 988310 h 1267212"/>
                <a:gd name="connsiteX113" fmla="*/ 934231 w 2045584"/>
                <a:gd name="connsiteY113" fmla="*/ 915206 h 1267212"/>
                <a:gd name="connsiteX114" fmla="*/ 940850 w 2045584"/>
                <a:gd name="connsiteY114" fmla="*/ 868440 h 1267212"/>
                <a:gd name="connsiteX115" fmla="*/ 957465 w 2045584"/>
                <a:gd name="connsiteY115" fmla="*/ 827480 h 1267212"/>
                <a:gd name="connsiteX116" fmla="*/ 917682 w 2045584"/>
                <a:gd name="connsiteY116" fmla="*/ 842101 h 1267212"/>
                <a:gd name="connsiteX117" fmla="*/ 891138 w 2045584"/>
                <a:gd name="connsiteY117" fmla="*/ 856722 h 1267212"/>
                <a:gd name="connsiteX118" fmla="*/ 831429 w 2045584"/>
                <a:gd name="connsiteY118" fmla="*/ 812860 h 1267212"/>
                <a:gd name="connsiteX119" fmla="*/ 784960 w 2045584"/>
                <a:gd name="connsiteY119" fmla="*/ 842101 h 1267212"/>
                <a:gd name="connsiteX120" fmla="*/ 778341 w 2045584"/>
                <a:gd name="connsiteY120" fmla="*/ 798239 h 1267212"/>
                <a:gd name="connsiteX121" fmla="*/ 798199 w 2045584"/>
                <a:gd name="connsiteY121" fmla="*/ 780714 h 1267212"/>
                <a:gd name="connsiteX122" fmla="*/ 775031 w 2045584"/>
                <a:gd name="connsiteY122" fmla="*/ 757331 h 1267212"/>
                <a:gd name="connsiteX123" fmla="*/ 741801 w 2045584"/>
                <a:gd name="connsiteY123" fmla="*/ 748569 h 1267212"/>
                <a:gd name="connsiteX124" fmla="*/ 692088 w 2045584"/>
                <a:gd name="connsiteY124" fmla="*/ 745614 h 1267212"/>
                <a:gd name="connsiteX125" fmla="*/ 655549 w 2045584"/>
                <a:gd name="connsiteY125" fmla="*/ 698848 h 1267212"/>
                <a:gd name="connsiteX126" fmla="*/ 665544 w 2045584"/>
                <a:gd name="connsiteY126" fmla="*/ 669606 h 1267212"/>
                <a:gd name="connsiteX127" fmla="*/ 632380 w 2045584"/>
                <a:gd name="connsiteY127" fmla="*/ 637461 h 1267212"/>
                <a:gd name="connsiteX128" fmla="*/ 632380 w 2045584"/>
                <a:gd name="connsiteY128" fmla="*/ 625743 h 1267212"/>
                <a:gd name="connsiteX129" fmla="*/ 665544 w 2045584"/>
                <a:gd name="connsiteY129" fmla="*/ 593598 h 1267212"/>
                <a:gd name="connsiteX130" fmla="*/ 702018 w 2045584"/>
                <a:gd name="connsiteY130" fmla="*/ 552639 h 1267212"/>
                <a:gd name="connsiteX131" fmla="*/ 711947 w 2045584"/>
                <a:gd name="connsiteY131" fmla="*/ 529256 h 1267212"/>
                <a:gd name="connsiteX132" fmla="*/ 741801 w 2045584"/>
                <a:gd name="connsiteY132" fmla="*/ 538018 h 1267212"/>
                <a:gd name="connsiteX133" fmla="*/ 765036 w 2045584"/>
                <a:gd name="connsiteY133" fmla="*/ 532159 h 1267212"/>
                <a:gd name="connsiteX134" fmla="*/ 814814 w 2045584"/>
                <a:gd name="connsiteY134" fmla="*/ 502917 h 1267212"/>
                <a:gd name="connsiteX135" fmla="*/ 828054 w 2045584"/>
                <a:gd name="connsiteY135" fmla="*/ 435672 h 1267212"/>
                <a:gd name="connsiteX136" fmla="*/ 801509 w 2045584"/>
                <a:gd name="connsiteY136" fmla="*/ 429813 h 1267212"/>
                <a:gd name="connsiteX137" fmla="*/ 775031 w 2045584"/>
                <a:gd name="connsiteY137" fmla="*/ 456151 h 1267212"/>
                <a:gd name="connsiteX138" fmla="*/ 728562 w 2045584"/>
                <a:gd name="connsiteY138" fmla="*/ 453248 h 1267212"/>
                <a:gd name="connsiteX139" fmla="*/ 678783 w 2045584"/>
                <a:gd name="connsiteY139" fmla="*/ 441530 h 1267212"/>
                <a:gd name="connsiteX140" fmla="*/ 648929 w 2045584"/>
                <a:gd name="connsiteY140" fmla="*/ 424006 h 1267212"/>
                <a:gd name="connsiteX141" fmla="*/ 632380 w 2045584"/>
                <a:gd name="connsiteY141" fmla="*/ 383047 h 1267212"/>
                <a:gd name="connsiteX142" fmla="*/ 615765 w 2045584"/>
                <a:gd name="connsiteY142" fmla="*/ 347946 h 1267212"/>
                <a:gd name="connsiteX143" fmla="*/ 725252 w 2045584"/>
                <a:gd name="connsiteY143" fmla="*/ 301180 h 1267212"/>
                <a:gd name="connsiteX144" fmla="*/ 745177 w 2045584"/>
                <a:gd name="connsiteY144" fmla="*/ 342088 h 1267212"/>
                <a:gd name="connsiteX145" fmla="*/ 808195 w 2045584"/>
                <a:gd name="connsiteY145" fmla="*/ 350902 h 1267212"/>
                <a:gd name="connsiteX146" fmla="*/ 808195 w 2045584"/>
                <a:gd name="connsiteY146" fmla="*/ 289463 h 1267212"/>
                <a:gd name="connsiteX147" fmla="*/ 765036 w 2045584"/>
                <a:gd name="connsiteY147" fmla="*/ 280701 h 1267212"/>
                <a:gd name="connsiteX148" fmla="*/ 678783 w 2045584"/>
                <a:gd name="connsiteY148" fmla="*/ 184213 h 1267212"/>
                <a:gd name="connsiteX149" fmla="*/ 715257 w 2045584"/>
                <a:gd name="connsiteY149" fmla="*/ 146209 h 1267212"/>
                <a:gd name="connsiteX150" fmla="*/ 755106 w 2045584"/>
                <a:gd name="connsiteY150" fmla="*/ 154971 h 1267212"/>
                <a:gd name="connsiteX151" fmla="*/ 791580 w 2045584"/>
                <a:gd name="connsiteY151" fmla="*/ 114064 h 1267212"/>
                <a:gd name="connsiteX152" fmla="*/ 788270 w 2045584"/>
                <a:gd name="connsiteY152" fmla="*/ 84822 h 1267212"/>
                <a:gd name="connsiteX153" fmla="*/ 864593 w 2045584"/>
                <a:gd name="connsiteY153" fmla="*/ 26338 h 1267212"/>
                <a:gd name="connsiteX154" fmla="*/ 927611 w 2045584"/>
                <a:gd name="connsiteY154" fmla="*/ 26338 h 126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2045584" h="1267212">
                  <a:moveTo>
                    <a:pt x="289532" y="1227452"/>
                  </a:moveTo>
                  <a:cubicBezTo>
                    <a:pt x="289532" y="1227452"/>
                    <a:pt x="289532" y="1245803"/>
                    <a:pt x="289532" y="1245803"/>
                  </a:cubicBezTo>
                  <a:lnTo>
                    <a:pt x="273220" y="1264153"/>
                  </a:lnTo>
                  <a:lnTo>
                    <a:pt x="273220" y="1230852"/>
                  </a:lnTo>
                  <a:close/>
                  <a:moveTo>
                    <a:pt x="244165" y="1227452"/>
                  </a:moveTo>
                  <a:cubicBezTo>
                    <a:pt x="244165" y="1227452"/>
                    <a:pt x="244165" y="1264153"/>
                    <a:pt x="244165" y="1264153"/>
                  </a:cubicBezTo>
                  <a:lnTo>
                    <a:pt x="224285" y="1245803"/>
                  </a:lnTo>
                  <a:close/>
                  <a:moveTo>
                    <a:pt x="183506" y="1227452"/>
                  </a:moveTo>
                  <a:lnTo>
                    <a:pt x="206444" y="1240560"/>
                  </a:lnTo>
                  <a:lnTo>
                    <a:pt x="206444" y="1252212"/>
                  </a:lnTo>
                  <a:lnTo>
                    <a:pt x="206444" y="1267212"/>
                  </a:lnTo>
                  <a:cubicBezTo>
                    <a:pt x="206444" y="1267212"/>
                    <a:pt x="194972" y="1264939"/>
                    <a:pt x="194972" y="1264939"/>
                  </a:cubicBezTo>
                  <a:lnTo>
                    <a:pt x="183506" y="1240560"/>
                  </a:lnTo>
                  <a:close/>
                  <a:moveTo>
                    <a:pt x="333878" y="1215219"/>
                  </a:moveTo>
                  <a:lnTo>
                    <a:pt x="367011" y="1228179"/>
                  </a:lnTo>
                  <a:cubicBezTo>
                    <a:pt x="367011" y="1228179"/>
                    <a:pt x="340505" y="1247842"/>
                    <a:pt x="340505" y="1247842"/>
                  </a:cubicBezTo>
                  <a:lnTo>
                    <a:pt x="313999" y="1241142"/>
                  </a:lnTo>
                  <a:close/>
                  <a:moveTo>
                    <a:pt x="141081" y="1215219"/>
                  </a:moveTo>
                  <a:lnTo>
                    <a:pt x="161078" y="1222437"/>
                  </a:lnTo>
                  <a:lnTo>
                    <a:pt x="139416" y="1241216"/>
                  </a:lnTo>
                  <a:lnTo>
                    <a:pt x="117750" y="1241216"/>
                  </a:lnTo>
                  <a:cubicBezTo>
                    <a:pt x="117750" y="1241216"/>
                    <a:pt x="117750" y="1229660"/>
                    <a:pt x="117750" y="1229660"/>
                  </a:cubicBezTo>
                  <a:close/>
                  <a:moveTo>
                    <a:pt x="81558" y="1190751"/>
                  </a:moveTo>
                  <a:lnTo>
                    <a:pt x="97870" y="1190751"/>
                  </a:lnTo>
                  <a:lnTo>
                    <a:pt x="97870" y="1201965"/>
                  </a:lnTo>
                  <a:lnTo>
                    <a:pt x="81558" y="1201965"/>
                  </a:lnTo>
                  <a:cubicBezTo>
                    <a:pt x="81558" y="1201965"/>
                    <a:pt x="81558" y="1190751"/>
                    <a:pt x="81558" y="1190751"/>
                  </a:cubicBezTo>
                  <a:close/>
                  <a:moveTo>
                    <a:pt x="45372" y="1149972"/>
                  </a:moveTo>
                  <a:lnTo>
                    <a:pt x="58621" y="1169852"/>
                  </a:lnTo>
                  <a:cubicBezTo>
                    <a:pt x="58621" y="1169852"/>
                    <a:pt x="24468" y="1169852"/>
                    <a:pt x="24468" y="1169852"/>
                  </a:cubicBezTo>
                  <a:close/>
                  <a:moveTo>
                    <a:pt x="570399" y="1121427"/>
                  </a:moveTo>
                  <a:lnTo>
                    <a:pt x="596905" y="1121427"/>
                  </a:lnTo>
                  <a:cubicBezTo>
                    <a:pt x="596905" y="1121427"/>
                    <a:pt x="596905" y="1136091"/>
                    <a:pt x="596905" y="1136091"/>
                  </a:cubicBezTo>
                  <a:lnTo>
                    <a:pt x="530636" y="1160900"/>
                  </a:lnTo>
                  <a:lnTo>
                    <a:pt x="494192" y="1174695"/>
                  </a:lnTo>
                  <a:lnTo>
                    <a:pt x="447810" y="1197314"/>
                  </a:lnTo>
                  <a:lnTo>
                    <a:pt x="411357" y="1227963"/>
                  </a:lnTo>
                  <a:lnTo>
                    <a:pt x="391480" y="1214834"/>
                  </a:lnTo>
                  <a:lnTo>
                    <a:pt x="424614" y="1197314"/>
                  </a:lnTo>
                  <a:lnTo>
                    <a:pt x="454429" y="1171045"/>
                  </a:lnTo>
                  <a:lnTo>
                    <a:pt x="467687" y="1171045"/>
                  </a:lnTo>
                  <a:lnTo>
                    <a:pt x="487564" y="1150749"/>
                  </a:lnTo>
                  <a:lnTo>
                    <a:pt x="514079" y="1136091"/>
                  </a:lnTo>
                  <a:lnTo>
                    <a:pt x="537265" y="1136091"/>
                  </a:lnTo>
                  <a:lnTo>
                    <a:pt x="553147" y="1129062"/>
                  </a:lnTo>
                  <a:close/>
                  <a:moveTo>
                    <a:pt x="0" y="1121427"/>
                  </a:moveTo>
                  <a:cubicBezTo>
                    <a:pt x="0" y="1121427"/>
                    <a:pt x="41798" y="1121427"/>
                    <a:pt x="41798" y="1121427"/>
                  </a:cubicBezTo>
                  <a:lnTo>
                    <a:pt x="41798" y="1135955"/>
                  </a:lnTo>
                  <a:lnTo>
                    <a:pt x="451" y="1150483"/>
                  </a:lnTo>
                  <a:close/>
                  <a:moveTo>
                    <a:pt x="957465" y="0"/>
                  </a:moveTo>
                  <a:lnTo>
                    <a:pt x="997249" y="11718"/>
                  </a:lnTo>
                  <a:lnTo>
                    <a:pt x="1037098" y="14621"/>
                  </a:lnTo>
                  <a:lnTo>
                    <a:pt x="1060333" y="29242"/>
                  </a:lnTo>
                  <a:lnTo>
                    <a:pt x="1083501" y="43863"/>
                  </a:lnTo>
                  <a:lnTo>
                    <a:pt x="1106736" y="46766"/>
                  </a:lnTo>
                  <a:lnTo>
                    <a:pt x="1149895" y="40959"/>
                  </a:lnTo>
                  <a:lnTo>
                    <a:pt x="1206294" y="52625"/>
                  </a:lnTo>
                  <a:lnTo>
                    <a:pt x="1246077" y="55580"/>
                  </a:lnTo>
                  <a:lnTo>
                    <a:pt x="1282551" y="32145"/>
                  </a:lnTo>
                  <a:lnTo>
                    <a:pt x="1330675" y="43863"/>
                  </a:lnTo>
                  <a:cubicBezTo>
                    <a:pt x="1330675" y="43863"/>
                    <a:pt x="1355564" y="67246"/>
                    <a:pt x="1355564" y="67246"/>
                  </a:cubicBezTo>
                  <a:lnTo>
                    <a:pt x="1524759" y="666702"/>
                  </a:lnTo>
                  <a:lnTo>
                    <a:pt x="1591087" y="646223"/>
                  </a:lnTo>
                  <a:lnTo>
                    <a:pt x="1609489" y="666702"/>
                  </a:lnTo>
                  <a:lnTo>
                    <a:pt x="1650795" y="687130"/>
                  </a:lnTo>
                  <a:lnTo>
                    <a:pt x="1687269" y="687130"/>
                  </a:lnTo>
                  <a:lnTo>
                    <a:pt x="1728906" y="660844"/>
                  </a:lnTo>
                  <a:lnTo>
                    <a:pt x="1756973" y="640364"/>
                  </a:lnTo>
                  <a:lnTo>
                    <a:pt x="1823300" y="687130"/>
                  </a:lnTo>
                  <a:lnTo>
                    <a:pt x="1884862" y="745614"/>
                  </a:lnTo>
                  <a:lnTo>
                    <a:pt x="1942717" y="777811"/>
                  </a:lnTo>
                  <a:lnTo>
                    <a:pt x="1976079" y="789476"/>
                  </a:lnTo>
                  <a:lnTo>
                    <a:pt x="2022350" y="789476"/>
                  </a:lnTo>
                  <a:lnTo>
                    <a:pt x="2045584" y="821674"/>
                  </a:lnTo>
                  <a:lnTo>
                    <a:pt x="2045584" y="853819"/>
                  </a:lnTo>
                  <a:lnTo>
                    <a:pt x="2045584" y="877202"/>
                  </a:lnTo>
                  <a:lnTo>
                    <a:pt x="2028969" y="900585"/>
                  </a:lnTo>
                  <a:lnTo>
                    <a:pt x="1999115" y="918161"/>
                  </a:lnTo>
                  <a:lnTo>
                    <a:pt x="1965951" y="918161"/>
                  </a:lnTo>
                  <a:lnTo>
                    <a:pt x="1912863" y="897681"/>
                  </a:lnTo>
                  <a:lnTo>
                    <a:pt x="1833296" y="842101"/>
                  </a:lnTo>
                  <a:lnTo>
                    <a:pt x="1780207" y="809956"/>
                  </a:lnTo>
                  <a:lnTo>
                    <a:pt x="1747043" y="768997"/>
                  </a:lnTo>
                  <a:lnTo>
                    <a:pt x="1700574" y="739755"/>
                  </a:lnTo>
                  <a:lnTo>
                    <a:pt x="1634246" y="716372"/>
                  </a:lnTo>
                  <a:lnTo>
                    <a:pt x="1591087" y="698848"/>
                  </a:lnTo>
                  <a:lnTo>
                    <a:pt x="1524759" y="695892"/>
                  </a:lnTo>
                  <a:lnTo>
                    <a:pt x="1498215" y="684227"/>
                  </a:lnTo>
                  <a:lnTo>
                    <a:pt x="1428511" y="707610"/>
                  </a:lnTo>
                  <a:lnTo>
                    <a:pt x="1355564" y="666702"/>
                  </a:lnTo>
                  <a:lnTo>
                    <a:pt x="1279241" y="669606"/>
                  </a:lnTo>
                  <a:lnTo>
                    <a:pt x="1279241" y="728089"/>
                  </a:lnTo>
                  <a:lnTo>
                    <a:pt x="1219533" y="754376"/>
                  </a:lnTo>
                  <a:lnTo>
                    <a:pt x="1159825" y="789476"/>
                  </a:lnTo>
                  <a:lnTo>
                    <a:pt x="1159825" y="748569"/>
                  </a:lnTo>
                  <a:lnTo>
                    <a:pt x="1159825" y="713469"/>
                  </a:lnTo>
                  <a:lnTo>
                    <a:pt x="1199608" y="663747"/>
                  </a:lnTo>
                  <a:lnTo>
                    <a:pt x="1176440" y="663747"/>
                  </a:lnTo>
                  <a:lnTo>
                    <a:pt x="1063643" y="812860"/>
                  </a:lnTo>
                  <a:lnTo>
                    <a:pt x="1096807" y="812860"/>
                  </a:lnTo>
                  <a:lnTo>
                    <a:pt x="1090187" y="842101"/>
                  </a:lnTo>
                  <a:lnTo>
                    <a:pt x="984010" y="947403"/>
                  </a:lnTo>
                  <a:lnTo>
                    <a:pt x="907687" y="997072"/>
                  </a:lnTo>
                  <a:lnTo>
                    <a:pt x="844669" y="1038032"/>
                  </a:lnTo>
                  <a:lnTo>
                    <a:pt x="741801" y="1081894"/>
                  </a:lnTo>
                  <a:lnTo>
                    <a:pt x="662234" y="1119898"/>
                  </a:lnTo>
                  <a:lnTo>
                    <a:pt x="632380" y="1119898"/>
                  </a:lnTo>
                  <a:lnTo>
                    <a:pt x="632380" y="1102374"/>
                  </a:lnTo>
                  <a:lnTo>
                    <a:pt x="632380" y="1078939"/>
                  </a:lnTo>
                  <a:lnTo>
                    <a:pt x="685403" y="1073132"/>
                  </a:lnTo>
                  <a:lnTo>
                    <a:pt x="761726" y="1029269"/>
                  </a:lnTo>
                  <a:lnTo>
                    <a:pt x="804885" y="1026314"/>
                  </a:lnTo>
                  <a:lnTo>
                    <a:pt x="824744" y="988310"/>
                  </a:lnTo>
                  <a:lnTo>
                    <a:pt x="934231" y="915206"/>
                  </a:lnTo>
                  <a:lnTo>
                    <a:pt x="940850" y="868440"/>
                  </a:lnTo>
                  <a:lnTo>
                    <a:pt x="957465" y="827480"/>
                  </a:lnTo>
                  <a:lnTo>
                    <a:pt x="917682" y="842101"/>
                  </a:lnTo>
                  <a:lnTo>
                    <a:pt x="891138" y="856722"/>
                  </a:lnTo>
                  <a:lnTo>
                    <a:pt x="831429" y="812860"/>
                  </a:lnTo>
                  <a:lnTo>
                    <a:pt x="784960" y="842101"/>
                  </a:lnTo>
                  <a:lnTo>
                    <a:pt x="778341" y="798239"/>
                  </a:lnTo>
                  <a:lnTo>
                    <a:pt x="798199" y="780714"/>
                  </a:lnTo>
                  <a:lnTo>
                    <a:pt x="775031" y="757331"/>
                  </a:lnTo>
                  <a:lnTo>
                    <a:pt x="741801" y="748569"/>
                  </a:lnTo>
                  <a:lnTo>
                    <a:pt x="692088" y="745614"/>
                  </a:lnTo>
                  <a:lnTo>
                    <a:pt x="655549" y="698848"/>
                  </a:lnTo>
                  <a:lnTo>
                    <a:pt x="665544" y="669606"/>
                  </a:lnTo>
                  <a:lnTo>
                    <a:pt x="632380" y="637461"/>
                  </a:lnTo>
                  <a:lnTo>
                    <a:pt x="632380" y="625743"/>
                  </a:lnTo>
                  <a:lnTo>
                    <a:pt x="665544" y="593598"/>
                  </a:lnTo>
                  <a:lnTo>
                    <a:pt x="702018" y="552639"/>
                  </a:lnTo>
                  <a:lnTo>
                    <a:pt x="711947" y="529256"/>
                  </a:lnTo>
                  <a:lnTo>
                    <a:pt x="741801" y="538018"/>
                  </a:lnTo>
                  <a:lnTo>
                    <a:pt x="765036" y="532159"/>
                  </a:lnTo>
                  <a:lnTo>
                    <a:pt x="814814" y="502917"/>
                  </a:lnTo>
                  <a:lnTo>
                    <a:pt x="828054" y="435672"/>
                  </a:lnTo>
                  <a:lnTo>
                    <a:pt x="801509" y="429813"/>
                  </a:lnTo>
                  <a:lnTo>
                    <a:pt x="775031" y="456151"/>
                  </a:lnTo>
                  <a:lnTo>
                    <a:pt x="728562" y="453248"/>
                  </a:lnTo>
                  <a:lnTo>
                    <a:pt x="678783" y="441530"/>
                  </a:lnTo>
                  <a:lnTo>
                    <a:pt x="648929" y="424006"/>
                  </a:lnTo>
                  <a:lnTo>
                    <a:pt x="632380" y="383047"/>
                  </a:lnTo>
                  <a:lnTo>
                    <a:pt x="615765" y="347946"/>
                  </a:lnTo>
                  <a:lnTo>
                    <a:pt x="725252" y="301180"/>
                  </a:lnTo>
                  <a:lnTo>
                    <a:pt x="745177" y="342088"/>
                  </a:lnTo>
                  <a:lnTo>
                    <a:pt x="808195" y="350902"/>
                  </a:lnTo>
                  <a:lnTo>
                    <a:pt x="808195" y="289463"/>
                  </a:lnTo>
                  <a:lnTo>
                    <a:pt x="765036" y="280701"/>
                  </a:lnTo>
                  <a:lnTo>
                    <a:pt x="678783" y="184213"/>
                  </a:lnTo>
                  <a:lnTo>
                    <a:pt x="715257" y="146209"/>
                  </a:lnTo>
                  <a:lnTo>
                    <a:pt x="755106" y="154971"/>
                  </a:lnTo>
                  <a:lnTo>
                    <a:pt x="791580" y="114064"/>
                  </a:lnTo>
                  <a:lnTo>
                    <a:pt x="788270" y="84822"/>
                  </a:lnTo>
                  <a:lnTo>
                    <a:pt x="864593" y="26338"/>
                  </a:lnTo>
                  <a:lnTo>
                    <a:pt x="927611" y="26338"/>
                  </a:lnTo>
                  <a:close/>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sp>
          <p:nvSpPr>
            <p:cNvPr id="108" name="Alabama"/>
            <p:cNvSpPr>
              <a:spLocks/>
            </p:cNvSpPr>
            <p:nvPr/>
          </p:nvSpPr>
          <p:spPr bwMode="auto">
            <a:xfrm>
              <a:off x="7671796" y="4012895"/>
              <a:ext cx="417523" cy="593323"/>
            </a:xfrm>
            <a:custGeom>
              <a:avLst/>
              <a:gdLst/>
              <a:ahLst/>
              <a:cxnLst/>
              <a:rect l="0" t="0" r="r" b="b"/>
              <a:pathLst>
                <a:path w="21037" h="21600">
                  <a:moveTo>
                    <a:pt x="2774" y="21600"/>
                  </a:moveTo>
                  <a:lnTo>
                    <a:pt x="215" y="21396"/>
                  </a:lnTo>
                  <a:cubicBezTo>
                    <a:pt x="215" y="21396"/>
                    <a:pt x="-563" y="671"/>
                    <a:pt x="842" y="671"/>
                  </a:cubicBezTo>
                  <a:cubicBezTo>
                    <a:pt x="2247" y="671"/>
                    <a:pt x="15066" y="0"/>
                    <a:pt x="15066" y="0"/>
                  </a:cubicBezTo>
                  <a:lnTo>
                    <a:pt x="19364" y="9576"/>
                  </a:lnTo>
                  <a:lnTo>
                    <a:pt x="20159" y="10800"/>
                  </a:lnTo>
                  <a:lnTo>
                    <a:pt x="20159" y="11863"/>
                  </a:lnTo>
                  <a:lnTo>
                    <a:pt x="20159" y="13206"/>
                  </a:lnTo>
                  <a:lnTo>
                    <a:pt x="20159" y="14661"/>
                  </a:lnTo>
                  <a:lnTo>
                    <a:pt x="20159" y="15445"/>
                  </a:lnTo>
                  <a:lnTo>
                    <a:pt x="20159" y="16452"/>
                  </a:lnTo>
                  <a:lnTo>
                    <a:pt x="21037" y="17235"/>
                  </a:lnTo>
                  <a:lnTo>
                    <a:pt x="14539" y="17864"/>
                  </a:lnTo>
                  <a:lnTo>
                    <a:pt x="10627" y="18242"/>
                  </a:lnTo>
                  <a:lnTo>
                    <a:pt x="8744" y="18242"/>
                  </a:lnTo>
                  <a:lnTo>
                    <a:pt x="6461" y="18242"/>
                  </a:lnTo>
                  <a:lnTo>
                    <a:pt x="5583" y="18242"/>
                  </a:lnTo>
                  <a:lnTo>
                    <a:pt x="5583" y="19082"/>
                  </a:lnTo>
                  <a:lnTo>
                    <a:pt x="6813" y="19698"/>
                  </a:lnTo>
                  <a:lnTo>
                    <a:pt x="6813" y="20817"/>
                  </a:lnTo>
                  <a:lnTo>
                    <a:pt x="5759" y="21600"/>
                  </a:lnTo>
                  <a:lnTo>
                    <a:pt x="4354" y="21600"/>
                  </a:lnTo>
                  <a:lnTo>
                    <a:pt x="4178" y="20705"/>
                  </a:lnTo>
                  <a:lnTo>
                    <a:pt x="3791" y="20087"/>
                  </a:lnTo>
                  <a:lnTo>
                    <a:pt x="3476" y="19586"/>
                  </a:lnTo>
                  <a:cubicBezTo>
                    <a:pt x="3476" y="19586"/>
                    <a:pt x="2774" y="21600"/>
                    <a:pt x="2774" y="21600"/>
                  </a:cubicBezTo>
                  <a:close/>
                  <a:moveTo>
                    <a:pt x="2774" y="21600"/>
                  </a:moveTo>
                </a:path>
              </a:pathLst>
            </a:custGeom>
            <a:solidFill>
              <a:schemeClr val="bg1">
                <a:lumMod val="75000"/>
              </a:schemeClr>
            </a:solidFill>
            <a:ln w="1270" cap="flat" cmpd="sng">
              <a:solidFill>
                <a:srgbClr val="FFFFFF"/>
              </a:solidFill>
              <a:prstDash val="solid"/>
              <a:miter lim="800000"/>
              <a:headEnd type="none" w="med" len="med"/>
              <a:tailEnd type="none" w="med" len="med"/>
            </a:ln>
          </p:spPr>
          <p:txBody>
            <a:bodyPr lIns="0" tIns="0" rIns="0" bIns="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Tw Cen MT Regular"/>
                <a:ea typeface="+mn-ea"/>
                <a:cs typeface="+mn-cs"/>
              </a:endParaRPr>
            </a:p>
          </p:txBody>
        </p:sp>
      </p:grpSp>
      <p:grpSp>
        <p:nvGrpSpPr>
          <p:cNvPr id="4" name="State Names">
            <a:extLst>
              <a:ext uri="{FF2B5EF4-FFF2-40B4-BE49-F238E27FC236}">
                <a16:creationId xmlns:a16="http://schemas.microsoft.com/office/drawing/2014/main" id="{ED8AF9AC-CEEC-D34C-9EF3-E89D4E30F016}"/>
              </a:ext>
            </a:extLst>
          </p:cNvPr>
          <p:cNvGrpSpPr/>
          <p:nvPr/>
        </p:nvGrpSpPr>
        <p:grpSpPr>
          <a:xfrm>
            <a:off x="3001709" y="2172680"/>
            <a:ext cx="6787731" cy="3420110"/>
            <a:chOff x="3001709" y="2172680"/>
            <a:chExt cx="6787731" cy="3420110"/>
          </a:xfrm>
        </p:grpSpPr>
        <p:sp>
          <p:nvSpPr>
            <p:cNvPr id="139" name="WY">
              <a:extLst>
                <a:ext uri="{FF2B5EF4-FFF2-40B4-BE49-F238E27FC236}">
                  <a16:creationId xmlns:a16="http://schemas.microsoft.com/office/drawing/2014/main" id="{B9B91C48-BBB4-5041-A01D-803464CEA410}"/>
                </a:ext>
              </a:extLst>
            </p:cNvPr>
            <p:cNvSpPr txBox="1"/>
            <p:nvPr/>
          </p:nvSpPr>
          <p:spPr>
            <a:xfrm>
              <a:off x="5481275" y="2912643"/>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WY</a:t>
              </a:r>
            </a:p>
          </p:txBody>
        </p:sp>
        <p:sp>
          <p:nvSpPr>
            <p:cNvPr id="121" name="WI">
              <a:extLst>
                <a:ext uri="{FF2B5EF4-FFF2-40B4-BE49-F238E27FC236}">
                  <a16:creationId xmlns:a16="http://schemas.microsoft.com/office/drawing/2014/main" id="{C2477EBF-B49E-0D4C-825C-0B5EAE0DA2A8}"/>
                </a:ext>
              </a:extLst>
            </p:cNvPr>
            <p:cNvSpPr txBox="1"/>
            <p:nvPr/>
          </p:nvSpPr>
          <p:spPr>
            <a:xfrm>
              <a:off x="7248393" y="2749073"/>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WI</a:t>
              </a:r>
            </a:p>
          </p:txBody>
        </p:sp>
        <p:sp>
          <p:nvSpPr>
            <p:cNvPr id="198" name="WV">
              <a:extLst>
                <a:ext uri="{FF2B5EF4-FFF2-40B4-BE49-F238E27FC236}">
                  <a16:creationId xmlns:a16="http://schemas.microsoft.com/office/drawing/2014/main" id="{66373F14-DF66-3640-B06C-6DB5E008B100}"/>
                </a:ext>
              </a:extLst>
            </p:cNvPr>
            <p:cNvSpPr txBox="1"/>
            <p:nvPr/>
          </p:nvSpPr>
          <p:spPr>
            <a:xfrm>
              <a:off x="8241816" y="3443891"/>
              <a:ext cx="422856"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WV</a:t>
              </a:r>
            </a:p>
          </p:txBody>
        </p:sp>
        <p:sp>
          <p:nvSpPr>
            <p:cNvPr id="143" name="WA">
              <a:extLst>
                <a:ext uri="{FF2B5EF4-FFF2-40B4-BE49-F238E27FC236}">
                  <a16:creationId xmlns:a16="http://schemas.microsoft.com/office/drawing/2014/main" id="{CDEA08DC-4D70-2C4B-87E2-0AC9692C8430}"/>
                </a:ext>
              </a:extLst>
            </p:cNvPr>
            <p:cNvSpPr txBox="1"/>
            <p:nvPr/>
          </p:nvSpPr>
          <p:spPr>
            <a:xfrm>
              <a:off x="4353586" y="2172680"/>
              <a:ext cx="479154"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WA</a:t>
              </a:r>
            </a:p>
          </p:txBody>
        </p:sp>
        <p:sp>
          <p:nvSpPr>
            <p:cNvPr id="67" name="VA">
              <a:extLst>
                <a:ext uri="{FF2B5EF4-FFF2-40B4-BE49-F238E27FC236}">
                  <a16:creationId xmlns:a16="http://schemas.microsoft.com/office/drawing/2014/main" id="{D75EEA39-B27D-B247-8A7F-4C7625AB6C63}"/>
                </a:ext>
              </a:extLst>
            </p:cNvPr>
            <p:cNvSpPr txBox="1"/>
            <p:nvPr/>
          </p:nvSpPr>
          <p:spPr>
            <a:xfrm>
              <a:off x="8510594" y="3539830"/>
              <a:ext cx="422856"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VA</a:t>
              </a:r>
            </a:p>
          </p:txBody>
        </p:sp>
        <p:sp>
          <p:nvSpPr>
            <p:cNvPr id="203" name="VT">
              <a:extLst>
                <a:ext uri="{FF2B5EF4-FFF2-40B4-BE49-F238E27FC236}">
                  <a16:creationId xmlns:a16="http://schemas.microsoft.com/office/drawing/2014/main" id="{A0C6B858-2748-804E-81B7-82F14E604836}"/>
                </a:ext>
              </a:extLst>
            </p:cNvPr>
            <p:cNvSpPr txBox="1"/>
            <p:nvPr/>
          </p:nvSpPr>
          <p:spPr>
            <a:xfrm>
              <a:off x="8877825" y="2613828"/>
              <a:ext cx="306140" cy="100027"/>
            </a:xfrm>
            <a:prstGeom prst="rect">
              <a:avLst/>
            </a:prstGeom>
            <a:noFill/>
            <a:ln>
              <a:noFill/>
            </a:ln>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VT</a:t>
              </a:r>
            </a:p>
          </p:txBody>
        </p:sp>
        <p:sp>
          <p:nvSpPr>
            <p:cNvPr id="196" name="UT">
              <a:extLst>
                <a:ext uri="{FF2B5EF4-FFF2-40B4-BE49-F238E27FC236}">
                  <a16:creationId xmlns:a16="http://schemas.microsoft.com/office/drawing/2014/main" id="{BA1077E2-9E74-E14E-BC8E-E4729A77F697}"/>
                </a:ext>
              </a:extLst>
            </p:cNvPr>
            <p:cNvSpPr txBox="1"/>
            <p:nvPr/>
          </p:nvSpPr>
          <p:spPr>
            <a:xfrm>
              <a:off x="5054720" y="3352080"/>
              <a:ext cx="337500"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UT</a:t>
              </a:r>
            </a:p>
          </p:txBody>
        </p:sp>
        <p:sp>
          <p:nvSpPr>
            <p:cNvPr id="62" name="TX">
              <a:extLst>
                <a:ext uri="{FF2B5EF4-FFF2-40B4-BE49-F238E27FC236}">
                  <a16:creationId xmlns:a16="http://schemas.microsoft.com/office/drawing/2014/main" id="{F5DF04E1-FFB0-714E-8B35-B7B498043ABC}"/>
                </a:ext>
              </a:extLst>
            </p:cNvPr>
            <p:cNvSpPr txBox="1"/>
            <p:nvPr/>
          </p:nvSpPr>
          <p:spPr>
            <a:xfrm>
              <a:off x="6195511" y="4400582"/>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TX</a:t>
              </a:r>
            </a:p>
          </p:txBody>
        </p:sp>
        <p:sp>
          <p:nvSpPr>
            <p:cNvPr id="65" name="SC">
              <a:extLst>
                <a:ext uri="{FF2B5EF4-FFF2-40B4-BE49-F238E27FC236}">
                  <a16:creationId xmlns:a16="http://schemas.microsoft.com/office/drawing/2014/main" id="{381A5C42-5813-6E4C-BB63-50DD10E58C35}"/>
                </a:ext>
              </a:extLst>
            </p:cNvPr>
            <p:cNvSpPr txBox="1"/>
            <p:nvPr/>
          </p:nvSpPr>
          <p:spPr>
            <a:xfrm>
              <a:off x="8346792" y="4015223"/>
              <a:ext cx="368214"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SC</a:t>
              </a:r>
            </a:p>
          </p:txBody>
        </p:sp>
        <p:sp>
          <p:nvSpPr>
            <p:cNvPr id="73" name="SD">
              <a:extLst>
                <a:ext uri="{FF2B5EF4-FFF2-40B4-BE49-F238E27FC236}">
                  <a16:creationId xmlns:a16="http://schemas.microsoft.com/office/drawing/2014/main" id="{D050CA80-CDFC-474D-AB20-393B2AE86A45}"/>
                </a:ext>
              </a:extLst>
            </p:cNvPr>
            <p:cNvSpPr txBox="1"/>
            <p:nvPr/>
          </p:nvSpPr>
          <p:spPr>
            <a:xfrm>
              <a:off x="6151484" y="2778202"/>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kern="0" dirty="0">
                  <a:solidFill>
                    <a:srgbClr val="000000">
                      <a:lumMod val="50000"/>
                      <a:lumOff val="50000"/>
                    </a:srgbClr>
                  </a:solidFill>
                  <a:latin typeface="Tw Cen MT Regular"/>
                  <a:cs typeface="Gill Sans"/>
                </a:rPr>
                <a:t>SD</a:t>
              </a:r>
              <a:endPar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endParaRPr>
            </a:p>
          </p:txBody>
        </p:sp>
        <p:sp>
          <p:nvSpPr>
            <p:cNvPr id="205" name="RI">
              <a:extLst>
                <a:ext uri="{FF2B5EF4-FFF2-40B4-BE49-F238E27FC236}">
                  <a16:creationId xmlns:a16="http://schemas.microsoft.com/office/drawing/2014/main" id="{A898F2F2-1580-FF42-A4E7-EEA8D056990B}"/>
                </a:ext>
              </a:extLst>
            </p:cNvPr>
            <p:cNvSpPr txBox="1"/>
            <p:nvPr/>
          </p:nvSpPr>
          <p:spPr>
            <a:xfrm>
              <a:off x="9339777" y="2939498"/>
              <a:ext cx="104496"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RI</a:t>
              </a:r>
            </a:p>
          </p:txBody>
        </p:sp>
        <p:sp>
          <p:nvSpPr>
            <p:cNvPr id="197" name="PA">
              <a:extLst>
                <a:ext uri="{FF2B5EF4-FFF2-40B4-BE49-F238E27FC236}">
                  <a16:creationId xmlns:a16="http://schemas.microsoft.com/office/drawing/2014/main" id="{96AD14E0-F04B-3A49-B10A-6C6BA9A67CBA}"/>
                </a:ext>
              </a:extLst>
            </p:cNvPr>
            <p:cNvSpPr txBox="1"/>
            <p:nvPr/>
          </p:nvSpPr>
          <p:spPr>
            <a:xfrm>
              <a:off x="8441991" y="3134947"/>
              <a:ext cx="491459"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PA</a:t>
              </a:r>
            </a:p>
          </p:txBody>
        </p:sp>
        <p:sp>
          <p:nvSpPr>
            <p:cNvPr id="142" name="OR">
              <a:extLst>
                <a:ext uri="{FF2B5EF4-FFF2-40B4-BE49-F238E27FC236}">
                  <a16:creationId xmlns:a16="http://schemas.microsoft.com/office/drawing/2014/main" id="{C5613FF1-E3B8-6849-8F37-2114AEBBF64D}"/>
                </a:ext>
              </a:extLst>
            </p:cNvPr>
            <p:cNvSpPr txBox="1"/>
            <p:nvPr/>
          </p:nvSpPr>
          <p:spPr>
            <a:xfrm>
              <a:off x="4270672" y="2561442"/>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OR</a:t>
              </a:r>
            </a:p>
          </p:txBody>
        </p:sp>
        <p:sp>
          <p:nvSpPr>
            <p:cNvPr id="78" name="OK">
              <a:extLst>
                <a:ext uri="{FF2B5EF4-FFF2-40B4-BE49-F238E27FC236}">
                  <a16:creationId xmlns:a16="http://schemas.microsoft.com/office/drawing/2014/main" id="{C018D508-CCBF-474E-8436-B94AA52ED194}"/>
                </a:ext>
              </a:extLst>
            </p:cNvPr>
            <p:cNvSpPr txBox="1"/>
            <p:nvPr/>
          </p:nvSpPr>
          <p:spPr>
            <a:xfrm>
              <a:off x="6405086" y="3967690"/>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OK</a:t>
              </a:r>
            </a:p>
          </p:txBody>
        </p:sp>
        <p:sp>
          <p:nvSpPr>
            <p:cNvPr id="137" name="OH">
              <a:extLst>
                <a:ext uri="{FF2B5EF4-FFF2-40B4-BE49-F238E27FC236}">
                  <a16:creationId xmlns:a16="http://schemas.microsoft.com/office/drawing/2014/main" id="{97C601FD-D212-AB4F-ABFB-ED46967C23A1}"/>
                </a:ext>
              </a:extLst>
            </p:cNvPr>
            <p:cNvSpPr txBox="1"/>
            <p:nvPr/>
          </p:nvSpPr>
          <p:spPr>
            <a:xfrm>
              <a:off x="8077322" y="3256836"/>
              <a:ext cx="270006"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OH</a:t>
              </a:r>
            </a:p>
          </p:txBody>
        </p:sp>
        <p:sp>
          <p:nvSpPr>
            <p:cNvPr id="58" name="ND">
              <a:extLst>
                <a:ext uri="{FF2B5EF4-FFF2-40B4-BE49-F238E27FC236}">
                  <a16:creationId xmlns:a16="http://schemas.microsoft.com/office/drawing/2014/main" id="{472158F9-CEA0-704B-99BA-FC775BF8AC5E}"/>
                </a:ext>
              </a:extLst>
            </p:cNvPr>
            <p:cNvSpPr txBox="1"/>
            <p:nvPr/>
          </p:nvSpPr>
          <p:spPr>
            <a:xfrm>
              <a:off x="6195511" y="2437670"/>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D</a:t>
              </a:r>
            </a:p>
          </p:txBody>
        </p:sp>
        <p:sp>
          <p:nvSpPr>
            <p:cNvPr id="66" name="NC">
              <a:extLst>
                <a:ext uri="{FF2B5EF4-FFF2-40B4-BE49-F238E27FC236}">
                  <a16:creationId xmlns:a16="http://schemas.microsoft.com/office/drawing/2014/main" id="{B9788799-BD13-5045-985B-0EF65B5602DF}"/>
                </a:ext>
              </a:extLst>
            </p:cNvPr>
            <p:cNvSpPr txBox="1"/>
            <p:nvPr/>
          </p:nvSpPr>
          <p:spPr>
            <a:xfrm>
              <a:off x="8436121" y="3796004"/>
              <a:ext cx="422856"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C</a:t>
              </a:r>
            </a:p>
          </p:txBody>
        </p:sp>
        <p:sp>
          <p:nvSpPr>
            <p:cNvPr id="199" name="NY">
              <a:extLst>
                <a:ext uri="{FF2B5EF4-FFF2-40B4-BE49-F238E27FC236}">
                  <a16:creationId xmlns:a16="http://schemas.microsoft.com/office/drawing/2014/main" id="{ACD13357-2304-B442-AA6A-F93D2AF672F7}"/>
                </a:ext>
              </a:extLst>
            </p:cNvPr>
            <p:cNvSpPr txBox="1"/>
            <p:nvPr/>
          </p:nvSpPr>
          <p:spPr>
            <a:xfrm>
              <a:off x="8655336" y="2849100"/>
              <a:ext cx="491459"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Y</a:t>
              </a:r>
            </a:p>
          </p:txBody>
        </p:sp>
        <p:sp>
          <p:nvSpPr>
            <p:cNvPr id="68" name="NM">
              <a:extLst>
                <a:ext uri="{FF2B5EF4-FFF2-40B4-BE49-F238E27FC236}">
                  <a16:creationId xmlns:a16="http://schemas.microsoft.com/office/drawing/2014/main" id="{9E4DA702-0485-FC40-B0CE-C9D266137E92}"/>
                </a:ext>
              </a:extLst>
            </p:cNvPr>
            <p:cNvSpPr txBox="1"/>
            <p:nvPr/>
          </p:nvSpPr>
          <p:spPr>
            <a:xfrm>
              <a:off x="5440206" y="3975041"/>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M</a:t>
              </a:r>
            </a:p>
          </p:txBody>
        </p:sp>
        <p:sp>
          <p:nvSpPr>
            <p:cNvPr id="201" name="NJ">
              <a:extLst>
                <a:ext uri="{FF2B5EF4-FFF2-40B4-BE49-F238E27FC236}">
                  <a16:creationId xmlns:a16="http://schemas.microsoft.com/office/drawing/2014/main" id="{9061B807-4A2D-6647-85E6-06ECBA5DBA72}"/>
                </a:ext>
              </a:extLst>
            </p:cNvPr>
            <p:cNvSpPr txBox="1"/>
            <p:nvPr/>
          </p:nvSpPr>
          <p:spPr>
            <a:xfrm>
              <a:off x="9006889" y="3181621"/>
              <a:ext cx="1393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J</a:t>
              </a:r>
            </a:p>
          </p:txBody>
        </p:sp>
        <p:sp>
          <p:nvSpPr>
            <p:cNvPr id="202" name="NH">
              <a:extLst>
                <a:ext uri="{FF2B5EF4-FFF2-40B4-BE49-F238E27FC236}">
                  <a16:creationId xmlns:a16="http://schemas.microsoft.com/office/drawing/2014/main" id="{ACB6ECF7-E783-6346-A0E7-D3EC445112F8}"/>
                </a:ext>
              </a:extLst>
            </p:cNvPr>
            <p:cNvSpPr txBox="1"/>
            <p:nvPr/>
          </p:nvSpPr>
          <p:spPr>
            <a:xfrm>
              <a:off x="9216230" y="2708276"/>
              <a:ext cx="573210"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H</a:t>
              </a:r>
            </a:p>
          </p:txBody>
        </p:sp>
        <p:sp>
          <p:nvSpPr>
            <p:cNvPr id="71" name="NE">
              <a:extLst>
                <a:ext uri="{FF2B5EF4-FFF2-40B4-BE49-F238E27FC236}">
                  <a16:creationId xmlns:a16="http://schemas.microsoft.com/office/drawing/2014/main" id="{CA85AECA-ACE1-B34A-98B8-04888F505D22}"/>
                </a:ext>
              </a:extLst>
            </p:cNvPr>
            <p:cNvSpPr txBox="1"/>
            <p:nvPr/>
          </p:nvSpPr>
          <p:spPr>
            <a:xfrm>
              <a:off x="4427658" y="3171068"/>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E</a:t>
              </a:r>
            </a:p>
          </p:txBody>
        </p:sp>
        <p:sp>
          <p:nvSpPr>
            <p:cNvPr id="76" name="NE">
              <a:extLst>
                <a:ext uri="{FF2B5EF4-FFF2-40B4-BE49-F238E27FC236}">
                  <a16:creationId xmlns:a16="http://schemas.microsoft.com/office/drawing/2014/main" id="{DE45681E-0EC6-8648-9CEF-723590752499}"/>
                </a:ext>
              </a:extLst>
            </p:cNvPr>
            <p:cNvSpPr txBox="1"/>
            <p:nvPr/>
          </p:nvSpPr>
          <p:spPr>
            <a:xfrm>
              <a:off x="6257945" y="3201869"/>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NE</a:t>
              </a:r>
            </a:p>
          </p:txBody>
        </p:sp>
        <p:sp>
          <p:nvSpPr>
            <p:cNvPr id="140" name="MT">
              <a:extLst>
                <a:ext uri="{FF2B5EF4-FFF2-40B4-BE49-F238E27FC236}">
                  <a16:creationId xmlns:a16="http://schemas.microsoft.com/office/drawing/2014/main" id="{4837BA57-B3CA-9743-978C-1F4E4357292A}"/>
                </a:ext>
              </a:extLst>
            </p:cNvPr>
            <p:cNvSpPr txBox="1"/>
            <p:nvPr/>
          </p:nvSpPr>
          <p:spPr>
            <a:xfrm>
              <a:off x="5481275" y="2430422"/>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kern="0" dirty="0">
                  <a:solidFill>
                    <a:srgbClr val="000000">
                      <a:lumMod val="50000"/>
                      <a:lumOff val="50000"/>
                    </a:srgbClr>
                  </a:solidFill>
                  <a:latin typeface="Tw Cen MT Regular"/>
                  <a:cs typeface="Gill Sans"/>
                </a:rPr>
                <a:t>MT</a:t>
              </a:r>
              <a:endPar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endParaRPr>
            </a:p>
          </p:txBody>
        </p:sp>
        <p:sp>
          <p:nvSpPr>
            <p:cNvPr id="79" name="MS">
              <a:extLst>
                <a:ext uri="{FF2B5EF4-FFF2-40B4-BE49-F238E27FC236}">
                  <a16:creationId xmlns:a16="http://schemas.microsoft.com/office/drawing/2014/main" id="{FA3C3EB6-D889-A649-80F3-1B9C1FD1E40C}"/>
                </a:ext>
              </a:extLst>
            </p:cNvPr>
            <p:cNvSpPr txBox="1"/>
            <p:nvPr/>
          </p:nvSpPr>
          <p:spPr>
            <a:xfrm>
              <a:off x="7319476" y="4207216"/>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S</a:t>
              </a:r>
            </a:p>
          </p:txBody>
        </p:sp>
        <p:sp>
          <p:nvSpPr>
            <p:cNvPr id="82" name="MS">
              <a:extLst>
                <a:ext uri="{FF2B5EF4-FFF2-40B4-BE49-F238E27FC236}">
                  <a16:creationId xmlns:a16="http://schemas.microsoft.com/office/drawing/2014/main" id="{EB98113F-20B5-3149-BBD7-1E8B35E53EED}"/>
                </a:ext>
              </a:extLst>
            </p:cNvPr>
            <p:cNvSpPr txBox="1"/>
            <p:nvPr/>
          </p:nvSpPr>
          <p:spPr>
            <a:xfrm>
              <a:off x="7000619" y="3602003"/>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S</a:t>
              </a:r>
            </a:p>
          </p:txBody>
        </p:sp>
        <p:sp>
          <p:nvSpPr>
            <p:cNvPr id="84" name="MN">
              <a:extLst>
                <a:ext uri="{FF2B5EF4-FFF2-40B4-BE49-F238E27FC236}">
                  <a16:creationId xmlns:a16="http://schemas.microsoft.com/office/drawing/2014/main" id="{585F0D39-266D-4349-B701-8CB5384D3A6B}"/>
                </a:ext>
              </a:extLst>
            </p:cNvPr>
            <p:cNvSpPr txBox="1"/>
            <p:nvPr/>
          </p:nvSpPr>
          <p:spPr>
            <a:xfrm>
              <a:off x="6824422" y="2589066"/>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N</a:t>
              </a:r>
            </a:p>
          </p:txBody>
        </p:sp>
        <p:sp>
          <p:nvSpPr>
            <p:cNvPr id="131" name="MI">
              <a:extLst>
                <a:ext uri="{FF2B5EF4-FFF2-40B4-BE49-F238E27FC236}">
                  <a16:creationId xmlns:a16="http://schemas.microsoft.com/office/drawing/2014/main" id="{5DAE5E7D-5175-8B4F-83B6-65C324BDBB5E}"/>
                </a:ext>
              </a:extLst>
            </p:cNvPr>
            <p:cNvSpPr txBox="1"/>
            <p:nvPr/>
          </p:nvSpPr>
          <p:spPr>
            <a:xfrm>
              <a:off x="7828537" y="2942677"/>
              <a:ext cx="335044"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I</a:t>
              </a:r>
            </a:p>
          </p:txBody>
        </p:sp>
        <p:sp>
          <p:nvSpPr>
            <p:cNvPr id="204" name="MA">
              <a:extLst>
                <a:ext uri="{FF2B5EF4-FFF2-40B4-BE49-F238E27FC236}">
                  <a16:creationId xmlns:a16="http://schemas.microsoft.com/office/drawing/2014/main" id="{6E312137-49BE-E842-A1FC-CC835829A761}"/>
                </a:ext>
              </a:extLst>
            </p:cNvPr>
            <p:cNvSpPr txBox="1"/>
            <p:nvPr/>
          </p:nvSpPr>
          <p:spPr>
            <a:xfrm>
              <a:off x="9242100" y="2831107"/>
              <a:ext cx="151453" cy="9949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A</a:t>
              </a:r>
            </a:p>
          </p:txBody>
        </p:sp>
        <p:sp>
          <p:nvSpPr>
            <p:cNvPr id="208" name="MD">
              <a:extLst>
                <a:ext uri="{FF2B5EF4-FFF2-40B4-BE49-F238E27FC236}">
                  <a16:creationId xmlns:a16="http://schemas.microsoft.com/office/drawing/2014/main" id="{323A98D3-2CF9-0B4D-9B9E-7195194976E6}"/>
                </a:ext>
              </a:extLst>
            </p:cNvPr>
            <p:cNvSpPr txBox="1"/>
            <p:nvPr/>
          </p:nvSpPr>
          <p:spPr>
            <a:xfrm>
              <a:off x="8806243" y="3326668"/>
              <a:ext cx="160163" cy="101480"/>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D</a:t>
              </a:r>
            </a:p>
          </p:txBody>
        </p:sp>
        <p:sp>
          <p:nvSpPr>
            <p:cNvPr id="200" name="ME">
              <a:extLst>
                <a:ext uri="{FF2B5EF4-FFF2-40B4-BE49-F238E27FC236}">
                  <a16:creationId xmlns:a16="http://schemas.microsoft.com/office/drawing/2014/main" id="{1F47ADEA-12A3-6444-A04E-199A6C9FC5EC}"/>
                </a:ext>
              </a:extLst>
            </p:cNvPr>
            <p:cNvSpPr txBox="1"/>
            <p:nvPr/>
          </p:nvSpPr>
          <p:spPr>
            <a:xfrm>
              <a:off x="9277760" y="2412922"/>
              <a:ext cx="336347"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ME</a:t>
              </a:r>
            </a:p>
          </p:txBody>
        </p:sp>
        <p:sp>
          <p:nvSpPr>
            <p:cNvPr id="80" name="LA">
              <a:extLst>
                <a:ext uri="{FF2B5EF4-FFF2-40B4-BE49-F238E27FC236}">
                  <a16:creationId xmlns:a16="http://schemas.microsoft.com/office/drawing/2014/main" id="{33940E2C-B306-A742-A5E7-75968193AB94}"/>
                </a:ext>
              </a:extLst>
            </p:cNvPr>
            <p:cNvSpPr txBox="1"/>
            <p:nvPr/>
          </p:nvSpPr>
          <p:spPr>
            <a:xfrm>
              <a:off x="6996487" y="4563643"/>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LA</a:t>
              </a:r>
            </a:p>
          </p:txBody>
        </p:sp>
        <p:sp>
          <p:nvSpPr>
            <p:cNvPr id="77" name="KS">
              <a:extLst>
                <a:ext uri="{FF2B5EF4-FFF2-40B4-BE49-F238E27FC236}">
                  <a16:creationId xmlns:a16="http://schemas.microsoft.com/office/drawing/2014/main" id="{1FAA4121-54DD-7045-B810-A6CDC122298B}"/>
                </a:ext>
              </a:extLst>
            </p:cNvPr>
            <p:cNvSpPr txBox="1"/>
            <p:nvPr/>
          </p:nvSpPr>
          <p:spPr>
            <a:xfrm>
              <a:off x="6301801" y="3555809"/>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KS</a:t>
              </a:r>
            </a:p>
          </p:txBody>
        </p:sp>
        <p:sp>
          <p:nvSpPr>
            <p:cNvPr id="83" name="IA">
              <a:extLst>
                <a:ext uri="{FF2B5EF4-FFF2-40B4-BE49-F238E27FC236}">
                  <a16:creationId xmlns:a16="http://schemas.microsoft.com/office/drawing/2014/main" id="{3951C9E6-3B40-7743-A121-3D32CAD5A038}"/>
                </a:ext>
              </a:extLst>
            </p:cNvPr>
            <p:cNvSpPr txBox="1"/>
            <p:nvPr/>
          </p:nvSpPr>
          <p:spPr>
            <a:xfrm>
              <a:off x="6891955" y="3115600"/>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IA</a:t>
              </a:r>
            </a:p>
          </p:txBody>
        </p:sp>
        <p:sp>
          <p:nvSpPr>
            <p:cNvPr id="141" name="ID">
              <a:extLst>
                <a:ext uri="{FF2B5EF4-FFF2-40B4-BE49-F238E27FC236}">
                  <a16:creationId xmlns:a16="http://schemas.microsoft.com/office/drawing/2014/main" id="{07BF736D-3534-634D-A560-BC27BCB0C77D}"/>
                </a:ext>
              </a:extLst>
            </p:cNvPr>
            <p:cNvSpPr txBox="1"/>
            <p:nvPr/>
          </p:nvSpPr>
          <p:spPr>
            <a:xfrm>
              <a:off x="4832739" y="2749073"/>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ID</a:t>
              </a:r>
            </a:p>
          </p:txBody>
        </p:sp>
        <p:sp>
          <p:nvSpPr>
            <p:cNvPr id="123" name="IL">
              <a:extLst>
                <a:ext uri="{FF2B5EF4-FFF2-40B4-BE49-F238E27FC236}">
                  <a16:creationId xmlns:a16="http://schemas.microsoft.com/office/drawing/2014/main" id="{87E7665A-5A14-F546-AD04-F49B629EFE36}"/>
                </a:ext>
              </a:extLst>
            </p:cNvPr>
            <p:cNvSpPr txBox="1"/>
            <p:nvPr/>
          </p:nvSpPr>
          <p:spPr>
            <a:xfrm>
              <a:off x="7376227" y="3337768"/>
              <a:ext cx="282277"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IL</a:t>
              </a:r>
            </a:p>
          </p:txBody>
        </p:sp>
        <p:sp>
          <p:nvSpPr>
            <p:cNvPr id="127" name="IN">
              <a:extLst>
                <a:ext uri="{FF2B5EF4-FFF2-40B4-BE49-F238E27FC236}">
                  <a16:creationId xmlns:a16="http://schemas.microsoft.com/office/drawing/2014/main" id="{E243B756-44E2-B043-A9C4-DB7C7A68483E}"/>
                </a:ext>
              </a:extLst>
            </p:cNvPr>
            <p:cNvSpPr txBox="1"/>
            <p:nvPr/>
          </p:nvSpPr>
          <p:spPr>
            <a:xfrm>
              <a:off x="7717420" y="3337768"/>
              <a:ext cx="282277"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IN</a:t>
              </a:r>
            </a:p>
          </p:txBody>
        </p:sp>
        <p:sp>
          <p:nvSpPr>
            <p:cNvPr id="138" name="KY">
              <a:extLst>
                <a:ext uri="{FF2B5EF4-FFF2-40B4-BE49-F238E27FC236}">
                  <a16:creationId xmlns:a16="http://schemas.microsoft.com/office/drawing/2014/main" id="{030DCE59-7B15-C748-8074-AB44772BEBF3}"/>
                </a:ext>
              </a:extLst>
            </p:cNvPr>
            <p:cNvSpPr txBox="1"/>
            <p:nvPr/>
          </p:nvSpPr>
          <p:spPr>
            <a:xfrm>
              <a:off x="7872997" y="3634517"/>
              <a:ext cx="34473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KY</a:t>
              </a:r>
            </a:p>
          </p:txBody>
        </p:sp>
        <p:sp>
          <p:nvSpPr>
            <p:cNvPr id="64" name="GA">
              <a:extLst>
                <a:ext uri="{FF2B5EF4-FFF2-40B4-BE49-F238E27FC236}">
                  <a16:creationId xmlns:a16="http://schemas.microsoft.com/office/drawing/2014/main" id="{B06DD241-9E63-6E42-9821-DA143B4B677E}"/>
                </a:ext>
              </a:extLst>
            </p:cNvPr>
            <p:cNvSpPr txBox="1"/>
            <p:nvPr/>
          </p:nvSpPr>
          <p:spPr>
            <a:xfrm>
              <a:off x="8079420" y="4203403"/>
              <a:ext cx="3649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GA</a:t>
              </a:r>
            </a:p>
          </p:txBody>
        </p:sp>
        <p:sp>
          <p:nvSpPr>
            <p:cNvPr id="63" name="FL">
              <a:extLst>
                <a:ext uri="{FF2B5EF4-FFF2-40B4-BE49-F238E27FC236}">
                  <a16:creationId xmlns:a16="http://schemas.microsoft.com/office/drawing/2014/main" id="{951CECA0-E139-AA4B-BF22-1BDBF8D7875C}"/>
                </a:ext>
              </a:extLst>
            </p:cNvPr>
            <p:cNvSpPr txBox="1"/>
            <p:nvPr/>
          </p:nvSpPr>
          <p:spPr>
            <a:xfrm>
              <a:off x="8397810" y="4740490"/>
              <a:ext cx="303898" cy="100216"/>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FL</a:t>
              </a:r>
            </a:p>
          </p:txBody>
        </p:sp>
        <p:sp>
          <p:nvSpPr>
            <p:cNvPr id="136" name="DC"/>
            <p:cNvSpPr txBox="1"/>
            <p:nvPr/>
          </p:nvSpPr>
          <p:spPr>
            <a:xfrm>
              <a:off x="9390409" y="3439550"/>
              <a:ext cx="255541" cy="100027"/>
            </a:xfrm>
            <a:prstGeom prst="rect">
              <a:avLst/>
            </a:prstGeom>
            <a:noFill/>
            <a:ln>
              <a:noFill/>
            </a:ln>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650" b="0" i="0" u="none" strike="noStrike" kern="0" cap="none" spc="0" normalizeH="0" baseline="0">
                  <a:ln>
                    <a:noFill/>
                  </a:ln>
                  <a:solidFill>
                    <a:srgbClr val="000000">
                      <a:lumMod val="50000"/>
                      <a:lumOff val="50000"/>
                    </a:srgbClr>
                  </a:solidFill>
                  <a:effectLst/>
                  <a:uLnTx/>
                  <a:uFillTx/>
                  <a:latin typeface="Tw Cen MT Regular"/>
                  <a:cs typeface="Gill Sans"/>
                </a:defRPr>
              </a:lvl1pPr>
            </a:lstStyle>
            <a:p>
              <a:pPr algn="l"/>
              <a:r>
                <a:rPr lang="en-US" dirty="0"/>
                <a:t>D.C.</a:t>
              </a:r>
            </a:p>
          </p:txBody>
        </p:sp>
        <p:sp>
          <p:nvSpPr>
            <p:cNvPr id="207" name="DE">
              <a:extLst>
                <a:ext uri="{FF2B5EF4-FFF2-40B4-BE49-F238E27FC236}">
                  <a16:creationId xmlns:a16="http://schemas.microsoft.com/office/drawing/2014/main" id="{C289EF0B-EF42-0F42-9801-DDA637591269}"/>
                </a:ext>
              </a:extLst>
            </p:cNvPr>
            <p:cNvSpPr txBox="1"/>
            <p:nvPr/>
          </p:nvSpPr>
          <p:spPr>
            <a:xfrm>
              <a:off x="8966035" y="3274431"/>
              <a:ext cx="145785"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DE</a:t>
              </a:r>
            </a:p>
          </p:txBody>
        </p:sp>
        <p:sp>
          <p:nvSpPr>
            <p:cNvPr id="206" name="CT">
              <a:extLst>
                <a:ext uri="{FF2B5EF4-FFF2-40B4-BE49-F238E27FC236}">
                  <a16:creationId xmlns:a16="http://schemas.microsoft.com/office/drawing/2014/main" id="{FEFFCE5F-82EE-FA4C-AF7C-C324A1120E85}"/>
                </a:ext>
              </a:extLst>
            </p:cNvPr>
            <p:cNvSpPr txBox="1"/>
            <p:nvPr/>
          </p:nvSpPr>
          <p:spPr>
            <a:xfrm>
              <a:off x="9169381" y="2941543"/>
              <a:ext cx="141632" cy="100027"/>
            </a:xfrm>
            <a:prstGeom prst="rect">
              <a:avLst/>
            </a:prstGeom>
            <a:noFill/>
            <a:ln>
              <a:noFill/>
            </a:ln>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CT</a:t>
              </a:r>
            </a:p>
          </p:txBody>
        </p:sp>
        <p:sp>
          <p:nvSpPr>
            <p:cNvPr id="72" name="CO">
              <a:extLst>
                <a:ext uri="{FF2B5EF4-FFF2-40B4-BE49-F238E27FC236}">
                  <a16:creationId xmlns:a16="http://schemas.microsoft.com/office/drawing/2014/main" id="{D2FF2C42-3ECD-024B-AA93-922A29D168F2}"/>
                </a:ext>
              </a:extLst>
            </p:cNvPr>
            <p:cNvSpPr txBox="1"/>
            <p:nvPr/>
          </p:nvSpPr>
          <p:spPr>
            <a:xfrm>
              <a:off x="5554970" y="3435851"/>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CO</a:t>
              </a:r>
            </a:p>
          </p:txBody>
        </p:sp>
        <p:sp>
          <p:nvSpPr>
            <p:cNvPr id="70" name="CA">
              <a:extLst>
                <a:ext uri="{FF2B5EF4-FFF2-40B4-BE49-F238E27FC236}">
                  <a16:creationId xmlns:a16="http://schemas.microsoft.com/office/drawing/2014/main" id="{7AAE28B4-8074-564D-BA09-01C5C5181A2E}"/>
                </a:ext>
              </a:extLst>
            </p:cNvPr>
            <p:cNvSpPr txBox="1"/>
            <p:nvPr/>
          </p:nvSpPr>
          <p:spPr>
            <a:xfrm>
              <a:off x="4073685" y="3578745"/>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CA</a:t>
              </a:r>
            </a:p>
          </p:txBody>
        </p:sp>
        <p:sp>
          <p:nvSpPr>
            <p:cNvPr id="81" name="AK">
              <a:extLst>
                <a:ext uri="{FF2B5EF4-FFF2-40B4-BE49-F238E27FC236}">
                  <a16:creationId xmlns:a16="http://schemas.microsoft.com/office/drawing/2014/main" id="{B30626F2-D6D7-C34C-855C-FBE1FFBED840}"/>
                </a:ext>
              </a:extLst>
            </p:cNvPr>
            <p:cNvSpPr txBox="1"/>
            <p:nvPr/>
          </p:nvSpPr>
          <p:spPr>
            <a:xfrm>
              <a:off x="7000619" y="3975041"/>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AK</a:t>
              </a:r>
            </a:p>
          </p:txBody>
        </p:sp>
        <p:sp>
          <p:nvSpPr>
            <p:cNvPr id="69" name="AZ">
              <a:extLst>
                <a:ext uri="{FF2B5EF4-FFF2-40B4-BE49-F238E27FC236}">
                  <a16:creationId xmlns:a16="http://schemas.microsoft.com/office/drawing/2014/main" id="{F63F51A3-C531-4B4A-BE9C-70EC08325569}"/>
                </a:ext>
              </a:extLst>
            </p:cNvPr>
            <p:cNvSpPr txBox="1"/>
            <p:nvPr/>
          </p:nvSpPr>
          <p:spPr>
            <a:xfrm>
              <a:off x="4812318" y="3975041"/>
              <a:ext cx="503813"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AZ</a:t>
              </a:r>
            </a:p>
          </p:txBody>
        </p:sp>
        <p:sp>
          <p:nvSpPr>
            <p:cNvPr id="144" name="AK">
              <a:extLst>
                <a:ext uri="{FF2B5EF4-FFF2-40B4-BE49-F238E27FC236}">
                  <a16:creationId xmlns:a16="http://schemas.microsoft.com/office/drawing/2014/main" id="{70840D7C-DB90-5441-B06D-14B7E7B5CBF9}"/>
                </a:ext>
              </a:extLst>
            </p:cNvPr>
            <p:cNvSpPr txBox="1"/>
            <p:nvPr/>
          </p:nvSpPr>
          <p:spPr>
            <a:xfrm>
              <a:off x="3001709" y="4354197"/>
              <a:ext cx="282277"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kern="0" dirty="0">
                  <a:solidFill>
                    <a:srgbClr val="000000">
                      <a:lumMod val="50000"/>
                      <a:lumOff val="50000"/>
                    </a:srgbClr>
                  </a:solidFill>
                  <a:latin typeface="Tw Cen MT Regular"/>
                  <a:cs typeface="Gill Sans"/>
                </a:rPr>
                <a:t>AK</a:t>
              </a:r>
              <a:endPar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endParaRPr>
            </a:p>
          </p:txBody>
        </p:sp>
        <p:sp>
          <p:nvSpPr>
            <p:cNvPr id="145" name="HI">
              <a:extLst>
                <a:ext uri="{FF2B5EF4-FFF2-40B4-BE49-F238E27FC236}">
                  <a16:creationId xmlns:a16="http://schemas.microsoft.com/office/drawing/2014/main" id="{45E7E4F7-B537-854E-9DD4-E7DA2B754E76}"/>
                </a:ext>
              </a:extLst>
            </p:cNvPr>
            <p:cNvSpPr txBox="1"/>
            <p:nvPr/>
          </p:nvSpPr>
          <p:spPr>
            <a:xfrm>
              <a:off x="3753215" y="5492763"/>
              <a:ext cx="282277"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kern="0" dirty="0">
                  <a:solidFill>
                    <a:srgbClr val="000000">
                      <a:lumMod val="50000"/>
                      <a:lumOff val="50000"/>
                    </a:srgbClr>
                  </a:solidFill>
                  <a:latin typeface="Tw Cen MT Regular"/>
                  <a:cs typeface="Gill Sans"/>
                </a:rPr>
                <a:t>HI</a:t>
              </a:r>
              <a:endPar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endParaRPr>
            </a:p>
          </p:txBody>
        </p:sp>
        <p:sp>
          <p:nvSpPr>
            <p:cNvPr id="146" name="AL">
              <a:extLst>
                <a:ext uri="{FF2B5EF4-FFF2-40B4-BE49-F238E27FC236}">
                  <a16:creationId xmlns:a16="http://schemas.microsoft.com/office/drawing/2014/main" id="{7BC5BAF4-C681-294C-A2C8-35FA2C08F6CC}"/>
                </a:ext>
              </a:extLst>
            </p:cNvPr>
            <p:cNvSpPr txBox="1"/>
            <p:nvPr/>
          </p:nvSpPr>
          <p:spPr>
            <a:xfrm>
              <a:off x="7651072" y="4207216"/>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rPr>
                <a:t>AL</a:t>
              </a:r>
            </a:p>
          </p:txBody>
        </p:sp>
        <p:sp>
          <p:nvSpPr>
            <p:cNvPr id="147" name="TN">
              <a:extLst>
                <a:ext uri="{FF2B5EF4-FFF2-40B4-BE49-F238E27FC236}">
                  <a16:creationId xmlns:a16="http://schemas.microsoft.com/office/drawing/2014/main" id="{F82457EA-EFA3-0F4D-B39F-6167730883A9}"/>
                </a:ext>
              </a:extLst>
            </p:cNvPr>
            <p:cNvSpPr txBox="1"/>
            <p:nvPr/>
          </p:nvSpPr>
          <p:spPr>
            <a:xfrm>
              <a:off x="7660983" y="3873341"/>
              <a:ext cx="383595" cy="100027"/>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650" kern="0" dirty="0">
                  <a:solidFill>
                    <a:srgbClr val="000000">
                      <a:lumMod val="50000"/>
                      <a:lumOff val="50000"/>
                    </a:srgbClr>
                  </a:solidFill>
                  <a:latin typeface="Tw Cen MT Regular"/>
                  <a:cs typeface="Gill Sans"/>
                </a:rPr>
                <a:t>TN</a:t>
              </a:r>
              <a:endParaRPr kumimoji="0" lang="en-US" sz="650" b="0" i="0" u="none" strike="noStrike" kern="0" cap="none" spc="0" normalizeH="0" baseline="0" noProof="0" dirty="0">
                <a:ln>
                  <a:noFill/>
                </a:ln>
                <a:solidFill>
                  <a:srgbClr val="000000">
                    <a:lumMod val="50000"/>
                    <a:lumOff val="50000"/>
                  </a:srgbClr>
                </a:solidFill>
                <a:effectLst/>
                <a:uLnTx/>
                <a:uFillTx/>
                <a:latin typeface="Tw Cen MT Regular"/>
                <a:ea typeface="+mn-ea"/>
                <a:cs typeface="Gill Sans"/>
              </a:endParaRPr>
            </a:p>
          </p:txBody>
        </p:sp>
      </p:grpSp>
      <p:sp>
        <p:nvSpPr>
          <p:cNvPr id="2" name="UNITED STATES"/>
          <p:cNvSpPr>
            <a:spLocks noGrp="1"/>
          </p:cNvSpPr>
          <p:nvPr>
            <p:ph type="title"/>
          </p:nvPr>
        </p:nvSpPr>
        <p:spPr/>
        <p:txBody>
          <a:bodyPr/>
          <a:lstStyle/>
          <a:p>
            <a:r>
              <a:rPr lang="en-US" dirty="0"/>
              <a:t>United States</a:t>
            </a:r>
          </a:p>
        </p:txBody>
      </p:sp>
    </p:spTree>
    <p:extLst>
      <p:ext uri="{BB962C8B-B14F-4D97-AF65-F5344CB8AC3E}">
        <p14:creationId xmlns:p14="http://schemas.microsoft.com/office/powerpoint/2010/main" val="33920847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fornia Counties</a:t>
            </a:r>
          </a:p>
        </p:txBody>
      </p:sp>
      <p:grpSp>
        <p:nvGrpSpPr>
          <p:cNvPr id="3" name="San Diego &amp; Imperial"/>
          <p:cNvGrpSpPr/>
          <p:nvPr/>
        </p:nvGrpSpPr>
        <p:grpSpPr>
          <a:xfrm>
            <a:off x="4420705" y="5655229"/>
            <a:ext cx="1460126" cy="519760"/>
            <a:chOff x="4945522" y="8746839"/>
            <a:chExt cx="2206810" cy="785556"/>
          </a:xfrm>
        </p:grpSpPr>
        <p:sp>
          <p:nvSpPr>
            <p:cNvPr id="4" name="San Diego"/>
            <p:cNvSpPr>
              <a:spLocks/>
            </p:cNvSpPr>
            <p:nvPr/>
          </p:nvSpPr>
          <p:spPr bwMode="auto">
            <a:xfrm>
              <a:off x="4945522" y="8746839"/>
              <a:ext cx="1068648" cy="785556"/>
            </a:xfrm>
            <a:custGeom>
              <a:avLst/>
              <a:gdLst>
                <a:gd name="T0" fmla="*/ 1262599075 w 508"/>
                <a:gd name="T1" fmla="*/ 448587813 h 392"/>
                <a:gd name="T2" fmla="*/ 1272679700 w 508"/>
                <a:gd name="T3" fmla="*/ 441028138 h 392"/>
                <a:gd name="T4" fmla="*/ 1280239375 w 508"/>
                <a:gd name="T5" fmla="*/ 433466875 h 392"/>
                <a:gd name="T6" fmla="*/ 1280239375 w 508"/>
                <a:gd name="T7" fmla="*/ 309980013 h 392"/>
                <a:gd name="T8" fmla="*/ 682963138 w 508"/>
                <a:gd name="T9" fmla="*/ 85685313 h 392"/>
                <a:gd name="T10" fmla="*/ 466229700 w 508"/>
                <a:gd name="T11" fmla="*/ 78125638 h 392"/>
                <a:gd name="T12" fmla="*/ 385584700 w 508"/>
                <a:gd name="T13" fmla="*/ 85685313 h 392"/>
                <a:gd name="T14" fmla="*/ 322580000 w 508"/>
                <a:gd name="T15" fmla="*/ 80645000 h 392"/>
                <a:gd name="T16" fmla="*/ 304939700 w 508"/>
                <a:gd name="T17" fmla="*/ 75604688 h 392"/>
                <a:gd name="T18" fmla="*/ 304939700 w 508"/>
                <a:gd name="T19" fmla="*/ 68045013 h 392"/>
                <a:gd name="T20" fmla="*/ 267136563 w 508"/>
                <a:gd name="T21" fmla="*/ 50403125 h 392"/>
                <a:gd name="T22" fmla="*/ 199093138 w 508"/>
                <a:gd name="T23" fmla="*/ 0 h 392"/>
                <a:gd name="T24" fmla="*/ 75604688 w 508"/>
                <a:gd name="T25" fmla="*/ 12601575 h 392"/>
                <a:gd name="T26" fmla="*/ 73085325 w 508"/>
                <a:gd name="T27" fmla="*/ 30241875 h 392"/>
                <a:gd name="T28" fmla="*/ 50403125 w 508"/>
                <a:gd name="T29" fmla="*/ 42843450 h 392"/>
                <a:gd name="T30" fmla="*/ 22682200 w 508"/>
                <a:gd name="T31" fmla="*/ 50403125 h 392"/>
                <a:gd name="T32" fmla="*/ 12601575 w 508"/>
                <a:gd name="T33" fmla="*/ 65524063 h 392"/>
                <a:gd name="T34" fmla="*/ 0 w 508"/>
                <a:gd name="T35" fmla="*/ 115927188 h 392"/>
                <a:gd name="T36" fmla="*/ 60483750 w 508"/>
                <a:gd name="T37" fmla="*/ 163810950 h 392"/>
                <a:gd name="T38" fmla="*/ 95765938 w 508"/>
                <a:gd name="T39" fmla="*/ 204133450 h 392"/>
                <a:gd name="T40" fmla="*/ 133569075 w 508"/>
                <a:gd name="T41" fmla="*/ 254536575 h 392"/>
                <a:gd name="T42" fmla="*/ 163810950 w 508"/>
                <a:gd name="T43" fmla="*/ 289818763 h 392"/>
                <a:gd name="T44" fmla="*/ 204133450 w 508"/>
                <a:gd name="T45" fmla="*/ 347781563 h 392"/>
                <a:gd name="T46" fmla="*/ 236894688 w 508"/>
                <a:gd name="T47" fmla="*/ 418345938 h 392"/>
                <a:gd name="T48" fmla="*/ 246975313 w 508"/>
                <a:gd name="T49" fmla="*/ 458668438 h 392"/>
                <a:gd name="T50" fmla="*/ 264617200 w 508"/>
                <a:gd name="T51" fmla="*/ 534273125 h 392"/>
                <a:gd name="T52" fmla="*/ 287297813 w 508"/>
                <a:gd name="T53" fmla="*/ 607358450 h 392"/>
                <a:gd name="T54" fmla="*/ 289818763 w 508"/>
                <a:gd name="T55" fmla="*/ 647680950 h 392"/>
                <a:gd name="T56" fmla="*/ 287297813 w 508"/>
                <a:gd name="T57" fmla="*/ 657761575 h 392"/>
                <a:gd name="T58" fmla="*/ 272176875 w 508"/>
                <a:gd name="T59" fmla="*/ 660280938 h 392"/>
                <a:gd name="T60" fmla="*/ 264617200 w 508"/>
                <a:gd name="T61" fmla="*/ 670361563 h 392"/>
                <a:gd name="T62" fmla="*/ 267136563 w 508"/>
                <a:gd name="T63" fmla="*/ 685482500 h 392"/>
                <a:gd name="T64" fmla="*/ 292338125 w 508"/>
                <a:gd name="T65" fmla="*/ 751006563 h 392"/>
                <a:gd name="T66" fmla="*/ 297378438 w 508"/>
                <a:gd name="T67" fmla="*/ 725805000 h 392"/>
                <a:gd name="T68" fmla="*/ 304939700 w 508"/>
                <a:gd name="T69" fmla="*/ 730845313 h 392"/>
                <a:gd name="T70" fmla="*/ 315020325 w 508"/>
                <a:gd name="T71" fmla="*/ 723285638 h 392"/>
                <a:gd name="T72" fmla="*/ 315020325 w 508"/>
                <a:gd name="T73" fmla="*/ 738406575 h 392"/>
                <a:gd name="T74" fmla="*/ 297378438 w 508"/>
                <a:gd name="T75" fmla="*/ 768648450 h 392"/>
                <a:gd name="T76" fmla="*/ 289818763 w 508"/>
                <a:gd name="T77" fmla="*/ 788809700 h 392"/>
                <a:gd name="T78" fmla="*/ 292338125 w 508"/>
                <a:gd name="T79" fmla="*/ 831651563 h 392"/>
                <a:gd name="T80" fmla="*/ 304939700 w 508"/>
                <a:gd name="T81" fmla="*/ 851812813 h 392"/>
                <a:gd name="T82" fmla="*/ 309980013 w 508"/>
                <a:gd name="T83" fmla="*/ 836691875 h 392"/>
                <a:gd name="T84" fmla="*/ 315020325 w 508"/>
                <a:gd name="T85" fmla="*/ 793850013 h 392"/>
                <a:gd name="T86" fmla="*/ 327620313 w 508"/>
                <a:gd name="T87" fmla="*/ 781248438 h 392"/>
                <a:gd name="T88" fmla="*/ 350302513 w 508"/>
                <a:gd name="T89" fmla="*/ 798890325 h 392"/>
                <a:gd name="T90" fmla="*/ 385584700 w 508"/>
                <a:gd name="T91" fmla="*/ 831651563 h 392"/>
                <a:gd name="T92" fmla="*/ 405745950 w 508"/>
                <a:gd name="T93" fmla="*/ 856853125 h 392"/>
                <a:gd name="T94" fmla="*/ 413305625 w 508"/>
                <a:gd name="T95" fmla="*/ 879535325 h 392"/>
                <a:gd name="T96" fmla="*/ 415826575 w 508"/>
                <a:gd name="T97" fmla="*/ 912296563 h 392"/>
                <a:gd name="T98" fmla="*/ 413305625 w 508"/>
                <a:gd name="T99" fmla="*/ 917336875 h 392"/>
                <a:gd name="T100" fmla="*/ 390625013 w 508"/>
                <a:gd name="T101" fmla="*/ 869454700 h 392"/>
                <a:gd name="T102" fmla="*/ 355342825 w 508"/>
                <a:gd name="T103" fmla="*/ 819051575 h 392"/>
                <a:gd name="T104" fmla="*/ 335181575 w 508"/>
                <a:gd name="T105" fmla="*/ 801409688 h 392"/>
                <a:gd name="T106" fmla="*/ 325100950 w 508"/>
                <a:gd name="T107" fmla="*/ 803930638 h 392"/>
                <a:gd name="T108" fmla="*/ 315020325 w 508"/>
                <a:gd name="T109" fmla="*/ 814011263 h 392"/>
                <a:gd name="T110" fmla="*/ 322580000 w 508"/>
                <a:gd name="T111" fmla="*/ 826611250 h 392"/>
                <a:gd name="T112" fmla="*/ 375504075 w 508"/>
                <a:gd name="T113" fmla="*/ 877014375 h 392"/>
                <a:gd name="T114" fmla="*/ 385584700 w 508"/>
                <a:gd name="T115" fmla="*/ 902215938 h 392"/>
                <a:gd name="T116" fmla="*/ 398184688 w 508"/>
                <a:gd name="T117" fmla="*/ 987901250 h 392"/>
                <a:gd name="T118" fmla="*/ 614918125 w 508"/>
                <a:gd name="T119" fmla="*/ 970260950 h 392"/>
                <a:gd name="T120" fmla="*/ 1045865638 w 508"/>
                <a:gd name="T121" fmla="*/ 924898138 h 392"/>
                <a:gd name="T122" fmla="*/ 1260078125 w 508"/>
                <a:gd name="T123" fmla="*/ 456149075 h 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08" h="392">
                  <a:moveTo>
                    <a:pt x="501" y="181"/>
                  </a:moveTo>
                  <a:lnTo>
                    <a:pt x="501" y="178"/>
                  </a:lnTo>
                  <a:lnTo>
                    <a:pt x="502" y="176"/>
                  </a:lnTo>
                  <a:lnTo>
                    <a:pt x="505" y="175"/>
                  </a:lnTo>
                  <a:lnTo>
                    <a:pt x="507" y="173"/>
                  </a:lnTo>
                  <a:lnTo>
                    <a:pt x="508" y="172"/>
                  </a:lnTo>
                  <a:lnTo>
                    <a:pt x="508" y="168"/>
                  </a:lnTo>
                  <a:lnTo>
                    <a:pt x="508" y="123"/>
                  </a:lnTo>
                  <a:lnTo>
                    <a:pt x="507" y="34"/>
                  </a:lnTo>
                  <a:lnTo>
                    <a:pt x="271" y="34"/>
                  </a:lnTo>
                  <a:lnTo>
                    <a:pt x="226" y="32"/>
                  </a:lnTo>
                  <a:lnTo>
                    <a:pt x="185" y="31"/>
                  </a:lnTo>
                  <a:lnTo>
                    <a:pt x="170" y="31"/>
                  </a:lnTo>
                  <a:lnTo>
                    <a:pt x="153" y="34"/>
                  </a:lnTo>
                  <a:lnTo>
                    <a:pt x="136" y="34"/>
                  </a:lnTo>
                  <a:lnTo>
                    <a:pt x="128" y="32"/>
                  </a:lnTo>
                  <a:lnTo>
                    <a:pt x="121" y="31"/>
                  </a:lnTo>
                  <a:lnTo>
                    <a:pt x="121" y="30"/>
                  </a:lnTo>
                  <a:lnTo>
                    <a:pt x="121" y="29"/>
                  </a:lnTo>
                  <a:lnTo>
                    <a:pt x="121" y="27"/>
                  </a:lnTo>
                  <a:lnTo>
                    <a:pt x="120" y="26"/>
                  </a:lnTo>
                  <a:lnTo>
                    <a:pt x="106" y="20"/>
                  </a:lnTo>
                  <a:lnTo>
                    <a:pt x="78" y="7"/>
                  </a:lnTo>
                  <a:lnTo>
                    <a:pt x="79" y="0"/>
                  </a:lnTo>
                  <a:lnTo>
                    <a:pt x="30" y="1"/>
                  </a:lnTo>
                  <a:lnTo>
                    <a:pt x="30" y="5"/>
                  </a:lnTo>
                  <a:lnTo>
                    <a:pt x="30" y="9"/>
                  </a:lnTo>
                  <a:lnTo>
                    <a:pt x="29" y="12"/>
                  </a:lnTo>
                  <a:lnTo>
                    <a:pt x="27" y="15"/>
                  </a:lnTo>
                  <a:lnTo>
                    <a:pt x="20" y="17"/>
                  </a:lnTo>
                  <a:lnTo>
                    <a:pt x="13" y="20"/>
                  </a:lnTo>
                  <a:lnTo>
                    <a:pt x="9" y="20"/>
                  </a:lnTo>
                  <a:lnTo>
                    <a:pt x="7" y="22"/>
                  </a:lnTo>
                  <a:lnTo>
                    <a:pt x="5" y="26"/>
                  </a:lnTo>
                  <a:lnTo>
                    <a:pt x="4" y="30"/>
                  </a:lnTo>
                  <a:lnTo>
                    <a:pt x="0" y="46"/>
                  </a:lnTo>
                  <a:lnTo>
                    <a:pt x="17" y="59"/>
                  </a:lnTo>
                  <a:lnTo>
                    <a:pt x="24" y="65"/>
                  </a:lnTo>
                  <a:lnTo>
                    <a:pt x="30" y="71"/>
                  </a:lnTo>
                  <a:lnTo>
                    <a:pt x="38" y="81"/>
                  </a:lnTo>
                  <a:lnTo>
                    <a:pt x="45" y="91"/>
                  </a:lnTo>
                  <a:lnTo>
                    <a:pt x="53" y="101"/>
                  </a:lnTo>
                  <a:lnTo>
                    <a:pt x="60" y="110"/>
                  </a:lnTo>
                  <a:lnTo>
                    <a:pt x="65" y="115"/>
                  </a:lnTo>
                  <a:lnTo>
                    <a:pt x="70" y="121"/>
                  </a:lnTo>
                  <a:lnTo>
                    <a:pt x="81" y="138"/>
                  </a:lnTo>
                  <a:lnTo>
                    <a:pt x="91" y="157"/>
                  </a:lnTo>
                  <a:lnTo>
                    <a:pt x="94" y="166"/>
                  </a:lnTo>
                  <a:lnTo>
                    <a:pt x="96" y="173"/>
                  </a:lnTo>
                  <a:lnTo>
                    <a:pt x="98" y="182"/>
                  </a:lnTo>
                  <a:lnTo>
                    <a:pt x="100" y="192"/>
                  </a:lnTo>
                  <a:lnTo>
                    <a:pt x="105" y="212"/>
                  </a:lnTo>
                  <a:lnTo>
                    <a:pt x="111" y="232"/>
                  </a:lnTo>
                  <a:lnTo>
                    <a:pt x="114" y="241"/>
                  </a:lnTo>
                  <a:lnTo>
                    <a:pt x="115" y="251"/>
                  </a:lnTo>
                  <a:lnTo>
                    <a:pt x="115" y="257"/>
                  </a:lnTo>
                  <a:lnTo>
                    <a:pt x="115" y="259"/>
                  </a:lnTo>
                  <a:lnTo>
                    <a:pt x="114" y="261"/>
                  </a:lnTo>
                  <a:lnTo>
                    <a:pt x="111" y="262"/>
                  </a:lnTo>
                  <a:lnTo>
                    <a:pt x="108" y="262"/>
                  </a:lnTo>
                  <a:lnTo>
                    <a:pt x="106" y="263"/>
                  </a:lnTo>
                  <a:lnTo>
                    <a:pt x="105" y="266"/>
                  </a:lnTo>
                  <a:lnTo>
                    <a:pt x="105" y="268"/>
                  </a:lnTo>
                  <a:lnTo>
                    <a:pt x="106" y="272"/>
                  </a:lnTo>
                  <a:lnTo>
                    <a:pt x="109" y="283"/>
                  </a:lnTo>
                  <a:lnTo>
                    <a:pt x="116" y="298"/>
                  </a:lnTo>
                  <a:lnTo>
                    <a:pt x="118" y="293"/>
                  </a:lnTo>
                  <a:lnTo>
                    <a:pt x="118" y="288"/>
                  </a:lnTo>
                  <a:lnTo>
                    <a:pt x="120" y="289"/>
                  </a:lnTo>
                  <a:lnTo>
                    <a:pt x="121" y="290"/>
                  </a:lnTo>
                  <a:lnTo>
                    <a:pt x="123" y="290"/>
                  </a:lnTo>
                  <a:lnTo>
                    <a:pt x="125" y="287"/>
                  </a:lnTo>
                  <a:lnTo>
                    <a:pt x="125" y="290"/>
                  </a:lnTo>
                  <a:lnTo>
                    <a:pt x="125" y="293"/>
                  </a:lnTo>
                  <a:lnTo>
                    <a:pt x="121" y="299"/>
                  </a:lnTo>
                  <a:lnTo>
                    <a:pt x="118" y="305"/>
                  </a:lnTo>
                  <a:lnTo>
                    <a:pt x="116" y="309"/>
                  </a:lnTo>
                  <a:lnTo>
                    <a:pt x="115" y="313"/>
                  </a:lnTo>
                  <a:lnTo>
                    <a:pt x="116" y="325"/>
                  </a:lnTo>
                  <a:lnTo>
                    <a:pt x="116" y="330"/>
                  </a:lnTo>
                  <a:lnTo>
                    <a:pt x="119" y="337"/>
                  </a:lnTo>
                  <a:lnTo>
                    <a:pt x="121" y="338"/>
                  </a:lnTo>
                  <a:lnTo>
                    <a:pt x="121" y="337"/>
                  </a:lnTo>
                  <a:lnTo>
                    <a:pt x="123" y="332"/>
                  </a:lnTo>
                  <a:lnTo>
                    <a:pt x="123" y="322"/>
                  </a:lnTo>
                  <a:lnTo>
                    <a:pt x="125" y="315"/>
                  </a:lnTo>
                  <a:lnTo>
                    <a:pt x="128" y="312"/>
                  </a:lnTo>
                  <a:lnTo>
                    <a:pt x="130" y="310"/>
                  </a:lnTo>
                  <a:lnTo>
                    <a:pt x="133" y="312"/>
                  </a:lnTo>
                  <a:lnTo>
                    <a:pt x="139" y="317"/>
                  </a:lnTo>
                  <a:lnTo>
                    <a:pt x="144" y="324"/>
                  </a:lnTo>
                  <a:lnTo>
                    <a:pt x="153" y="330"/>
                  </a:lnTo>
                  <a:lnTo>
                    <a:pt x="159" y="337"/>
                  </a:lnTo>
                  <a:lnTo>
                    <a:pt x="161" y="340"/>
                  </a:lnTo>
                  <a:lnTo>
                    <a:pt x="163" y="344"/>
                  </a:lnTo>
                  <a:lnTo>
                    <a:pt x="164" y="349"/>
                  </a:lnTo>
                  <a:lnTo>
                    <a:pt x="165" y="354"/>
                  </a:lnTo>
                  <a:lnTo>
                    <a:pt x="165" y="362"/>
                  </a:lnTo>
                  <a:lnTo>
                    <a:pt x="165" y="364"/>
                  </a:lnTo>
                  <a:lnTo>
                    <a:pt x="164" y="364"/>
                  </a:lnTo>
                  <a:lnTo>
                    <a:pt x="163" y="363"/>
                  </a:lnTo>
                  <a:lnTo>
                    <a:pt x="155" y="345"/>
                  </a:lnTo>
                  <a:lnTo>
                    <a:pt x="150" y="337"/>
                  </a:lnTo>
                  <a:lnTo>
                    <a:pt x="141" y="325"/>
                  </a:lnTo>
                  <a:lnTo>
                    <a:pt x="138" y="320"/>
                  </a:lnTo>
                  <a:lnTo>
                    <a:pt x="133" y="318"/>
                  </a:lnTo>
                  <a:lnTo>
                    <a:pt x="130" y="318"/>
                  </a:lnTo>
                  <a:lnTo>
                    <a:pt x="129" y="319"/>
                  </a:lnTo>
                  <a:lnTo>
                    <a:pt x="128" y="320"/>
                  </a:lnTo>
                  <a:lnTo>
                    <a:pt x="125" y="323"/>
                  </a:lnTo>
                  <a:lnTo>
                    <a:pt x="126" y="325"/>
                  </a:lnTo>
                  <a:lnTo>
                    <a:pt x="128" y="328"/>
                  </a:lnTo>
                  <a:lnTo>
                    <a:pt x="135" y="334"/>
                  </a:lnTo>
                  <a:lnTo>
                    <a:pt x="149" y="348"/>
                  </a:lnTo>
                  <a:lnTo>
                    <a:pt x="151" y="353"/>
                  </a:lnTo>
                  <a:lnTo>
                    <a:pt x="153" y="358"/>
                  </a:lnTo>
                  <a:lnTo>
                    <a:pt x="155" y="369"/>
                  </a:lnTo>
                  <a:lnTo>
                    <a:pt x="158" y="392"/>
                  </a:lnTo>
                  <a:lnTo>
                    <a:pt x="200" y="389"/>
                  </a:lnTo>
                  <a:lnTo>
                    <a:pt x="244" y="385"/>
                  </a:lnTo>
                  <a:lnTo>
                    <a:pt x="329" y="377"/>
                  </a:lnTo>
                  <a:lnTo>
                    <a:pt x="415" y="367"/>
                  </a:lnTo>
                  <a:lnTo>
                    <a:pt x="500" y="358"/>
                  </a:lnTo>
                  <a:lnTo>
                    <a:pt x="500" y="181"/>
                  </a:lnTo>
                  <a:lnTo>
                    <a:pt x="501" y="181"/>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 Diego</a:t>
              </a:r>
            </a:p>
          </p:txBody>
        </p:sp>
        <p:sp>
          <p:nvSpPr>
            <p:cNvPr id="5" name="Imperial"/>
            <p:cNvSpPr>
              <a:spLocks/>
            </p:cNvSpPr>
            <p:nvPr/>
          </p:nvSpPr>
          <p:spPr bwMode="auto">
            <a:xfrm>
              <a:off x="5997434" y="8808962"/>
              <a:ext cx="1154898" cy="655296"/>
            </a:xfrm>
            <a:custGeom>
              <a:avLst/>
              <a:gdLst>
                <a:gd name="T0" fmla="*/ 2147483647 w 549"/>
                <a:gd name="T1" fmla="*/ 2147483647 h 327"/>
                <a:gd name="T2" fmla="*/ 2147483647 w 549"/>
                <a:gd name="T3" fmla="*/ 2147483647 h 327"/>
                <a:gd name="T4" fmla="*/ 2147483647 w 549"/>
                <a:gd name="T5" fmla="*/ 2147483647 h 327"/>
                <a:gd name="T6" fmla="*/ 2147483647 w 549"/>
                <a:gd name="T7" fmla="*/ 2147483647 h 327"/>
                <a:gd name="T8" fmla="*/ 0 w 549"/>
                <a:gd name="T9" fmla="*/ 2147483647 h 327"/>
                <a:gd name="T10" fmla="*/ 2147483647 w 549"/>
                <a:gd name="T11" fmla="*/ 2147483647 h 327"/>
                <a:gd name="T12" fmla="*/ 2147483647 w 549"/>
                <a:gd name="T13" fmla="*/ 2147483647 h 327"/>
                <a:gd name="T14" fmla="*/ 2147483647 w 549"/>
                <a:gd name="T15" fmla="*/ 2147483647 h 327"/>
                <a:gd name="T16" fmla="*/ 2147483647 w 549"/>
                <a:gd name="T17" fmla="*/ 2147483647 h 327"/>
                <a:gd name="T18" fmla="*/ 2147483647 w 549"/>
                <a:gd name="T19" fmla="*/ 2147483647 h 327"/>
                <a:gd name="T20" fmla="*/ 2147483647 w 549"/>
                <a:gd name="T21" fmla="*/ 2147483647 h 327"/>
                <a:gd name="T22" fmla="*/ 2147483647 w 549"/>
                <a:gd name="T23" fmla="*/ 2147483647 h 327"/>
                <a:gd name="T24" fmla="*/ 2147483647 w 549"/>
                <a:gd name="T25" fmla="*/ 2147483647 h 327"/>
                <a:gd name="T26" fmla="*/ 2147483647 w 549"/>
                <a:gd name="T27" fmla="*/ 2147483647 h 327"/>
                <a:gd name="T28" fmla="*/ 2147483647 w 549"/>
                <a:gd name="T29" fmla="*/ 2147483647 h 327"/>
                <a:gd name="T30" fmla="*/ 2147483647 w 549"/>
                <a:gd name="T31" fmla="*/ 2147483647 h 327"/>
                <a:gd name="T32" fmla="*/ 2147483647 w 549"/>
                <a:gd name="T33" fmla="*/ 2147483647 h 327"/>
                <a:gd name="T34" fmla="*/ 2147483647 w 549"/>
                <a:gd name="T35" fmla="*/ 2147483647 h 327"/>
                <a:gd name="T36" fmla="*/ 2147483647 w 549"/>
                <a:gd name="T37" fmla="*/ 2147483647 h 327"/>
                <a:gd name="T38" fmla="*/ 2147483647 w 549"/>
                <a:gd name="T39" fmla="*/ 2147483647 h 327"/>
                <a:gd name="T40" fmla="*/ 2147483647 w 549"/>
                <a:gd name="T41" fmla="*/ 2147483647 h 327"/>
                <a:gd name="T42" fmla="*/ 2147483647 w 549"/>
                <a:gd name="T43" fmla="*/ 2147483647 h 327"/>
                <a:gd name="T44" fmla="*/ 2147483647 w 549"/>
                <a:gd name="T45" fmla="*/ 2147483647 h 327"/>
                <a:gd name="T46" fmla="*/ 2147483647 w 549"/>
                <a:gd name="T47" fmla="*/ 2147483647 h 327"/>
                <a:gd name="T48" fmla="*/ 2147483647 w 549"/>
                <a:gd name="T49" fmla="*/ 2147483647 h 327"/>
                <a:gd name="T50" fmla="*/ 2147483647 w 549"/>
                <a:gd name="T51" fmla="*/ 2147483647 h 327"/>
                <a:gd name="T52" fmla="*/ 2147483647 w 549"/>
                <a:gd name="T53" fmla="*/ 2147483647 h 327"/>
                <a:gd name="T54" fmla="*/ 2147483647 w 549"/>
                <a:gd name="T55" fmla="*/ 2147483647 h 327"/>
                <a:gd name="T56" fmla="*/ 2147483647 w 549"/>
                <a:gd name="T57" fmla="*/ 2147483647 h 327"/>
                <a:gd name="T58" fmla="*/ 2147483647 w 549"/>
                <a:gd name="T59" fmla="*/ 2147483647 h 327"/>
                <a:gd name="T60" fmla="*/ 2147483647 w 549"/>
                <a:gd name="T61" fmla="*/ 2147483647 h 327"/>
                <a:gd name="T62" fmla="*/ 2147483647 w 549"/>
                <a:gd name="T63" fmla="*/ 2147483647 h 327"/>
                <a:gd name="T64" fmla="*/ 2147483647 w 549"/>
                <a:gd name="T65" fmla="*/ 2147483647 h 327"/>
                <a:gd name="T66" fmla="*/ 2147483647 w 549"/>
                <a:gd name="T67" fmla="*/ 2147483647 h 327"/>
                <a:gd name="T68" fmla="*/ 2147483647 w 549"/>
                <a:gd name="T69" fmla="*/ 2147483647 h 327"/>
                <a:gd name="T70" fmla="*/ 2147483647 w 549"/>
                <a:gd name="T71" fmla="*/ 2147483647 h 327"/>
                <a:gd name="T72" fmla="*/ 2147483647 w 549"/>
                <a:gd name="T73" fmla="*/ 2147483647 h 327"/>
                <a:gd name="T74" fmla="*/ 2147483647 w 549"/>
                <a:gd name="T75" fmla="*/ 2147483647 h 327"/>
                <a:gd name="T76" fmla="*/ 2147483647 w 549"/>
                <a:gd name="T77" fmla="*/ 2147483647 h 327"/>
                <a:gd name="T78" fmla="*/ 2147483647 w 549"/>
                <a:gd name="T79" fmla="*/ 2147483647 h 327"/>
                <a:gd name="T80" fmla="*/ 2147483647 w 549"/>
                <a:gd name="T81" fmla="*/ 2147483647 h 327"/>
                <a:gd name="T82" fmla="*/ 2147483647 w 549"/>
                <a:gd name="T83" fmla="*/ 2147483647 h 327"/>
                <a:gd name="T84" fmla="*/ 2147483647 w 549"/>
                <a:gd name="T85" fmla="*/ 2147483647 h 327"/>
                <a:gd name="T86" fmla="*/ 2147483647 w 549"/>
                <a:gd name="T87" fmla="*/ 2147483647 h 327"/>
                <a:gd name="T88" fmla="*/ 2147483647 w 549"/>
                <a:gd name="T89" fmla="*/ 2147483647 h 327"/>
                <a:gd name="T90" fmla="*/ 2147483647 w 549"/>
                <a:gd name="T91" fmla="*/ 2147483647 h 327"/>
                <a:gd name="T92" fmla="*/ 2147483647 w 549"/>
                <a:gd name="T93" fmla="*/ 2147483647 h 327"/>
                <a:gd name="T94" fmla="*/ 2147483647 w 549"/>
                <a:gd name="T95" fmla="*/ 2147483647 h 327"/>
                <a:gd name="T96" fmla="*/ 2147483647 w 549"/>
                <a:gd name="T97" fmla="*/ 0 h 327"/>
                <a:gd name="T98" fmla="*/ 2147483647 w 549"/>
                <a:gd name="T99" fmla="*/ 0 h 327"/>
                <a:gd name="T100" fmla="*/ 2147483647 w 549"/>
                <a:gd name="T101" fmla="*/ 2147483647 h 32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9" h="327">
                  <a:moveTo>
                    <a:pt x="7" y="3"/>
                  </a:moveTo>
                  <a:lnTo>
                    <a:pt x="8" y="92"/>
                  </a:lnTo>
                  <a:lnTo>
                    <a:pt x="8" y="137"/>
                  </a:lnTo>
                  <a:lnTo>
                    <a:pt x="8" y="141"/>
                  </a:lnTo>
                  <a:lnTo>
                    <a:pt x="7" y="142"/>
                  </a:lnTo>
                  <a:lnTo>
                    <a:pt x="5" y="144"/>
                  </a:lnTo>
                  <a:lnTo>
                    <a:pt x="2" y="145"/>
                  </a:lnTo>
                  <a:lnTo>
                    <a:pt x="1" y="147"/>
                  </a:lnTo>
                  <a:lnTo>
                    <a:pt x="1" y="150"/>
                  </a:lnTo>
                  <a:lnTo>
                    <a:pt x="0" y="327"/>
                  </a:lnTo>
                  <a:lnTo>
                    <a:pt x="461" y="286"/>
                  </a:lnTo>
                  <a:lnTo>
                    <a:pt x="463" y="282"/>
                  </a:lnTo>
                  <a:lnTo>
                    <a:pt x="465" y="279"/>
                  </a:lnTo>
                  <a:lnTo>
                    <a:pt x="468" y="278"/>
                  </a:lnTo>
                  <a:lnTo>
                    <a:pt x="470" y="277"/>
                  </a:lnTo>
                  <a:lnTo>
                    <a:pt x="476" y="278"/>
                  </a:lnTo>
                  <a:lnTo>
                    <a:pt x="484" y="279"/>
                  </a:lnTo>
                  <a:lnTo>
                    <a:pt x="485" y="281"/>
                  </a:lnTo>
                  <a:lnTo>
                    <a:pt x="493" y="281"/>
                  </a:lnTo>
                  <a:lnTo>
                    <a:pt x="500" y="282"/>
                  </a:lnTo>
                  <a:lnTo>
                    <a:pt x="504" y="281"/>
                  </a:lnTo>
                  <a:lnTo>
                    <a:pt x="508" y="279"/>
                  </a:lnTo>
                  <a:lnTo>
                    <a:pt x="510" y="278"/>
                  </a:lnTo>
                  <a:lnTo>
                    <a:pt x="511" y="276"/>
                  </a:lnTo>
                  <a:lnTo>
                    <a:pt x="511" y="274"/>
                  </a:lnTo>
                  <a:lnTo>
                    <a:pt x="515" y="274"/>
                  </a:lnTo>
                  <a:lnTo>
                    <a:pt x="515" y="269"/>
                  </a:lnTo>
                  <a:lnTo>
                    <a:pt x="521" y="269"/>
                  </a:lnTo>
                  <a:lnTo>
                    <a:pt x="521" y="266"/>
                  </a:lnTo>
                  <a:lnTo>
                    <a:pt x="525" y="266"/>
                  </a:lnTo>
                  <a:lnTo>
                    <a:pt x="524" y="262"/>
                  </a:lnTo>
                  <a:lnTo>
                    <a:pt x="524" y="256"/>
                  </a:lnTo>
                  <a:lnTo>
                    <a:pt x="526" y="252"/>
                  </a:lnTo>
                  <a:lnTo>
                    <a:pt x="529" y="248"/>
                  </a:lnTo>
                  <a:lnTo>
                    <a:pt x="534" y="245"/>
                  </a:lnTo>
                  <a:lnTo>
                    <a:pt x="542" y="240"/>
                  </a:lnTo>
                  <a:lnTo>
                    <a:pt x="546" y="236"/>
                  </a:lnTo>
                  <a:lnTo>
                    <a:pt x="549" y="232"/>
                  </a:lnTo>
                  <a:lnTo>
                    <a:pt x="549" y="228"/>
                  </a:lnTo>
                  <a:lnTo>
                    <a:pt x="545" y="213"/>
                  </a:lnTo>
                  <a:lnTo>
                    <a:pt x="544" y="206"/>
                  </a:lnTo>
                  <a:lnTo>
                    <a:pt x="544" y="198"/>
                  </a:lnTo>
                  <a:lnTo>
                    <a:pt x="545" y="192"/>
                  </a:lnTo>
                  <a:lnTo>
                    <a:pt x="546" y="186"/>
                  </a:lnTo>
                  <a:lnTo>
                    <a:pt x="546" y="185"/>
                  </a:lnTo>
                  <a:lnTo>
                    <a:pt x="546" y="183"/>
                  </a:lnTo>
                  <a:lnTo>
                    <a:pt x="545" y="181"/>
                  </a:lnTo>
                  <a:lnTo>
                    <a:pt x="541" y="178"/>
                  </a:lnTo>
                  <a:lnTo>
                    <a:pt x="536" y="171"/>
                  </a:lnTo>
                  <a:lnTo>
                    <a:pt x="532" y="163"/>
                  </a:lnTo>
                  <a:lnTo>
                    <a:pt x="527" y="160"/>
                  </a:lnTo>
                  <a:lnTo>
                    <a:pt x="522" y="158"/>
                  </a:lnTo>
                  <a:lnTo>
                    <a:pt x="517" y="158"/>
                  </a:lnTo>
                  <a:lnTo>
                    <a:pt x="511" y="160"/>
                  </a:lnTo>
                  <a:lnTo>
                    <a:pt x="501" y="162"/>
                  </a:lnTo>
                  <a:lnTo>
                    <a:pt x="496" y="161"/>
                  </a:lnTo>
                  <a:lnTo>
                    <a:pt x="491" y="158"/>
                  </a:lnTo>
                  <a:lnTo>
                    <a:pt x="488" y="156"/>
                  </a:lnTo>
                  <a:lnTo>
                    <a:pt x="484" y="157"/>
                  </a:lnTo>
                  <a:lnTo>
                    <a:pt x="479" y="156"/>
                  </a:lnTo>
                  <a:lnTo>
                    <a:pt x="474" y="147"/>
                  </a:lnTo>
                  <a:lnTo>
                    <a:pt x="471" y="144"/>
                  </a:lnTo>
                  <a:lnTo>
                    <a:pt x="470" y="139"/>
                  </a:lnTo>
                  <a:lnTo>
                    <a:pt x="468" y="137"/>
                  </a:lnTo>
                  <a:lnTo>
                    <a:pt x="466" y="136"/>
                  </a:lnTo>
                  <a:lnTo>
                    <a:pt x="466" y="134"/>
                  </a:lnTo>
                  <a:lnTo>
                    <a:pt x="465" y="129"/>
                  </a:lnTo>
                  <a:lnTo>
                    <a:pt x="466" y="122"/>
                  </a:lnTo>
                  <a:lnTo>
                    <a:pt x="471" y="110"/>
                  </a:lnTo>
                  <a:lnTo>
                    <a:pt x="474" y="104"/>
                  </a:lnTo>
                  <a:lnTo>
                    <a:pt x="475" y="97"/>
                  </a:lnTo>
                  <a:lnTo>
                    <a:pt x="475" y="95"/>
                  </a:lnTo>
                  <a:lnTo>
                    <a:pt x="475" y="85"/>
                  </a:lnTo>
                  <a:lnTo>
                    <a:pt x="475" y="74"/>
                  </a:lnTo>
                  <a:lnTo>
                    <a:pt x="475" y="65"/>
                  </a:lnTo>
                  <a:lnTo>
                    <a:pt x="474" y="62"/>
                  </a:lnTo>
                  <a:lnTo>
                    <a:pt x="473" y="61"/>
                  </a:lnTo>
                  <a:lnTo>
                    <a:pt x="459" y="55"/>
                  </a:lnTo>
                  <a:lnTo>
                    <a:pt x="458" y="50"/>
                  </a:lnTo>
                  <a:lnTo>
                    <a:pt x="458" y="47"/>
                  </a:lnTo>
                  <a:lnTo>
                    <a:pt x="460" y="43"/>
                  </a:lnTo>
                  <a:lnTo>
                    <a:pt x="464" y="39"/>
                  </a:lnTo>
                  <a:lnTo>
                    <a:pt x="464" y="38"/>
                  </a:lnTo>
                  <a:lnTo>
                    <a:pt x="465" y="31"/>
                  </a:lnTo>
                  <a:lnTo>
                    <a:pt x="465" y="28"/>
                  </a:lnTo>
                  <a:lnTo>
                    <a:pt x="463" y="24"/>
                  </a:lnTo>
                  <a:lnTo>
                    <a:pt x="461" y="19"/>
                  </a:lnTo>
                  <a:lnTo>
                    <a:pt x="461" y="15"/>
                  </a:lnTo>
                  <a:lnTo>
                    <a:pt x="461" y="14"/>
                  </a:lnTo>
                  <a:lnTo>
                    <a:pt x="460" y="11"/>
                  </a:lnTo>
                  <a:lnTo>
                    <a:pt x="461" y="9"/>
                  </a:lnTo>
                  <a:lnTo>
                    <a:pt x="464" y="8"/>
                  </a:lnTo>
                  <a:lnTo>
                    <a:pt x="466" y="6"/>
                  </a:lnTo>
                  <a:lnTo>
                    <a:pt x="471" y="6"/>
                  </a:lnTo>
                  <a:lnTo>
                    <a:pt x="483" y="5"/>
                  </a:lnTo>
                  <a:lnTo>
                    <a:pt x="488" y="4"/>
                  </a:lnTo>
                  <a:lnTo>
                    <a:pt x="490" y="1"/>
                  </a:lnTo>
                  <a:lnTo>
                    <a:pt x="430" y="0"/>
                  </a:lnTo>
                  <a:lnTo>
                    <a:pt x="370" y="0"/>
                  </a:lnTo>
                  <a:lnTo>
                    <a:pt x="249" y="0"/>
                  </a:lnTo>
                  <a:lnTo>
                    <a:pt x="128" y="3"/>
                  </a:lnTo>
                  <a:lnTo>
                    <a:pt x="8" y="3"/>
                  </a:lnTo>
                  <a:lnTo>
                    <a:pt x="7" y="3"/>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Imperial</a:t>
              </a:r>
            </a:p>
          </p:txBody>
        </p:sp>
      </p:grpSp>
      <p:grpSp>
        <p:nvGrpSpPr>
          <p:cNvPr id="6" name="San Joaquin Valley"/>
          <p:cNvGrpSpPr/>
          <p:nvPr/>
        </p:nvGrpSpPr>
        <p:grpSpPr>
          <a:xfrm>
            <a:off x="2570916" y="3110799"/>
            <a:ext cx="1842826" cy="1856281"/>
            <a:chOff x="2149782" y="4901229"/>
            <a:chExt cx="2785217" cy="2805553"/>
          </a:xfrm>
        </p:grpSpPr>
        <p:sp>
          <p:nvSpPr>
            <p:cNvPr id="7" name="Tulare"/>
            <p:cNvSpPr>
              <a:spLocks/>
            </p:cNvSpPr>
            <p:nvPr/>
          </p:nvSpPr>
          <p:spPr bwMode="auto">
            <a:xfrm>
              <a:off x="3569743" y="6155709"/>
              <a:ext cx="1114929" cy="761508"/>
            </a:xfrm>
            <a:custGeom>
              <a:avLst/>
              <a:gdLst>
                <a:gd name="T0" fmla="*/ 1330642500 w 530"/>
                <a:gd name="T1" fmla="*/ 844550000 h 381"/>
                <a:gd name="T2" fmla="*/ 1302921575 w 530"/>
                <a:gd name="T3" fmla="*/ 776683583 h 381"/>
                <a:gd name="T4" fmla="*/ 1267639388 w 530"/>
                <a:gd name="T5" fmla="*/ 668602083 h 381"/>
                <a:gd name="T6" fmla="*/ 1265118438 w 530"/>
                <a:gd name="T7" fmla="*/ 603250000 h 381"/>
                <a:gd name="T8" fmla="*/ 1262599075 w 530"/>
                <a:gd name="T9" fmla="*/ 570573167 h 381"/>
                <a:gd name="T10" fmla="*/ 1234876563 w 530"/>
                <a:gd name="T11" fmla="*/ 540410667 h 381"/>
                <a:gd name="T12" fmla="*/ 1209675000 w 530"/>
                <a:gd name="T13" fmla="*/ 475058583 h 381"/>
                <a:gd name="T14" fmla="*/ 1217236263 w 530"/>
                <a:gd name="T15" fmla="*/ 429814833 h 381"/>
                <a:gd name="T16" fmla="*/ 1222276575 w 530"/>
                <a:gd name="T17" fmla="*/ 392112500 h 381"/>
                <a:gd name="T18" fmla="*/ 1192034700 w 530"/>
                <a:gd name="T19" fmla="*/ 361950000 h 381"/>
                <a:gd name="T20" fmla="*/ 1186994388 w 530"/>
                <a:gd name="T21" fmla="*/ 349381500 h 381"/>
                <a:gd name="T22" fmla="*/ 1199594375 w 530"/>
                <a:gd name="T23" fmla="*/ 341841667 h 381"/>
                <a:gd name="T24" fmla="*/ 1184473438 w 530"/>
                <a:gd name="T25" fmla="*/ 321733333 h 381"/>
                <a:gd name="T26" fmla="*/ 1154231563 w 530"/>
                <a:gd name="T27" fmla="*/ 316706250 h 381"/>
                <a:gd name="T28" fmla="*/ 1126510638 w 530"/>
                <a:gd name="T29" fmla="*/ 289056500 h 381"/>
                <a:gd name="T30" fmla="*/ 1113909063 w 530"/>
                <a:gd name="T31" fmla="*/ 236272917 h 381"/>
                <a:gd name="T32" fmla="*/ 1096268763 w 530"/>
                <a:gd name="T33" fmla="*/ 201083333 h 381"/>
                <a:gd name="T34" fmla="*/ 1073586563 w 530"/>
                <a:gd name="T35" fmla="*/ 173433583 h 381"/>
                <a:gd name="T36" fmla="*/ 1078626875 w 530"/>
                <a:gd name="T37" fmla="*/ 158352333 h 381"/>
                <a:gd name="T38" fmla="*/ 1083667188 w 530"/>
                <a:gd name="T39" fmla="*/ 145785417 h 381"/>
                <a:gd name="T40" fmla="*/ 1035785013 w 530"/>
                <a:gd name="T41" fmla="*/ 75406250 h 381"/>
                <a:gd name="T42" fmla="*/ 1020664075 w 530"/>
                <a:gd name="T43" fmla="*/ 62837750 h 381"/>
                <a:gd name="T44" fmla="*/ 1025704388 w 530"/>
                <a:gd name="T45" fmla="*/ 50270833 h 381"/>
                <a:gd name="T46" fmla="*/ 1038304375 w 530"/>
                <a:gd name="T47" fmla="*/ 30162500 h 381"/>
                <a:gd name="T48" fmla="*/ 1020664075 w 530"/>
                <a:gd name="T49" fmla="*/ 0 h 381"/>
                <a:gd name="T50" fmla="*/ 524192500 w 530"/>
                <a:gd name="T51" fmla="*/ 5027083 h 381"/>
                <a:gd name="T52" fmla="*/ 491431263 w 530"/>
                <a:gd name="T53" fmla="*/ 7539833 h 381"/>
                <a:gd name="T54" fmla="*/ 491431263 w 530"/>
                <a:gd name="T55" fmla="*/ 70379167 h 381"/>
                <a:gd name="T56" fmla="*/ 468749063 w 530"/>
                <a:gd name="T57" fmla="*/ 87973167 h 381"/>
                <a:gd name="T58" fmla="*/ 214214075 w 530"/>
                <a:gd name="T59" fmla="*/ 170920833 h 381"/>
                <a:gd name="T60" fmla="*/ 143649700 w 530"/>
                <a:gd name="T61" fmla="*/ 173433583 h 381"/>
                <a:gd name="T62" fmla="*/ 88206263 w 530"/>
                <a:gd name="T63" fmla="*/ 175947917 h 381"/>
                <a:gd name="T64" fmla="*/ 20161250 w 530"/>
                <a:gd name="T65" fmla="*/ 251354167 h 381"/>
                <a:gd name="T66" fmla="*/ 35282188 w 530"/>
                <a:gd name="T67" fmla="*/ 273975250 h 381"/>
                <a:gd name="T68" fmla="*/ 35282188 w 530"/>
                <a:gd name="T69" fmla="*/ 329273167 h 381"/>
                <a:gd name="T70" fmla="*/ 63004700 w 530"/>
                <a:gd name="T71" fmla="*/ 341841667 h 381"/>
                <a:gd name="T72" fmla="*/ 83165950 w 530"/>
                <a:gd name="T73" fmla="*/ 359435667 h 381"/>
                <a:gd name="T74" fmla="*/ 85685313 w 530"/>
                <a:gd name="T75" fmla="*/ 439869000 h 381"/>
                <a:gd name="T76" fmla="*/ 37803138 w 530"/>
                <a:gd name="T77" fmla="*/ 472545833 h 381"/>
                <a:gd name="T78" fmla="*/ 32762825 w 530"/>
                <a:gd name="T79" fmla="*/ 550464833 h 381"/>
                <a:gd name="T80" fmla="*/ 12601575 w 530"/>
                <a:gd name="T81" fmla="*/ 957658583 h 381"/>
                <a:gd name="T82" fmla="*/ 980341575 w 530"/>
                <a:gd name="T83" fmla="*/ 947604417 h 381"/>
                <a:gd name="T84" fmla="*/ 1310481250 w 530"/>
                <a:gd name="T85" fmla="*/ 919956250 h 381"/>
                <a:gd name="T86" fmla="*/ 1315521563 w 530"/>
                <a:gd name="T87" fmla="*/ 884766667 h 381"/>
                <a:gd name="T88" fmla="*/ 1330642500 w 530"/>
                <a:gd name="T89" fmla="*/ 869685417 h 38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530" h="381">
                  <a:moveTo>
                    <a:pt x="530" y="346"/>
                  </a:moveTo>
                  <a:lnTo>
                    <a:pt x="530" y="341"/>
                  </a:lnTo>
                  <a:lnTo>
                    <a:pt x="528" y="336"/>
                  </a:lnTo>
                  <a:lnTo>
                    <a:pt x="523" y="323"/>
                  </a:lnTo>
                  <a:lnTo>
                    <a:pt x="518" y="312"/>
                  </a:lnTo>
                  <a:lnTo>
                    <a:pt x="517" y="309"/>
                  </a:lnTo>
                  <a:lnTo>
                    <a:pt x="518" y="307"/>
                  </a:lnTo>
                  <a:lnTo>
                    <a:pt x="510" y="284"/>
                  </a:lnTo>
                  <a:lnTo>
                    <a:pt x="503" y="266"/>
                  </a:lnTo>
                  <a:lnTo>
                    <a:pt x="501" y="255"/>
                  </a:lnTo>
                  <a:lnTo>
                    <a:pt x="501" y="249"/>
                  </a:lnTo>
                  <a:lnTo>
                    <a:pt x="502" y="240"/>
                  </a:lnTo>
                  <a:lnTo>
                    <a:pt x="502" y="234"/>
                  </a:lnTo>
                  <a:lnTo>
                    <a:pt x="502" y="230"/>
                  </a:lnTo>
                  <a:lnTo>
                    <a:pt x="501" y="227"/>
                  </a:lnTo>
                  <a:lnTo>
                    <a:pt x="497" y="222"/>
                  </a:lnTo>
                  <a:lnTo>
                    <a:pt x="492" y="219"/>
                  </a:lnTo>
                  <a:lnTo>
                    <a:pt x="490" y="215"/>
                  </a:lnTo>
                  <a:lnTo>
                    <a:pt x="487" y="210"/>
                  </a:lnTo>
                  <a:lnTo>
                    <a:pt x="482" y="196"/>
                  </a:lnTo>
                  <a:lnTo>
                    <a:pt x="480" y="189"/>
                  </a:lnTo>
                  <a:lnTo>
                    <a:pt x="480" y="183"/>
                  </a:lnTo>
                  <a:lnTo>
                    <a:pt x="480" y="178"/>
                  </a:lnTo>
                  <a:lnTo>
                    <a:pt x="483" y="171"/>
                  </a:lnTo>
                  <a:lnTo>
                    <a:pt x="486" y="165"/>
                  </a:lnTo>
                  <a:lnTo>
                    <a:pt x="486" y="160"/>
                  </a:lnTo>
                  <a:lnTo>
                    <a:pt x="485" y="156"/>
                  </a:lnTo>
                  <a:lnTo>
                    <a:pt x="482" y="153"/>
                  </a:lnTo>
                  <a:lnTo>
                    <a:pt x="476" y="146"/>
                  </a:lnTo>
                  <a:lnTo>
                    <a:pt x="473" y="144"/>
                  </a:lnTo>
                  <a:lnTo>
                    <a:pt x="471" y="143"/>
                  </a:lnTo>
                  <a:lnTo>
                    <a:pt x="470" y="140"/>
                  </a:lnTo>
                  <a:lnTo>
                    <a:pt x="471" y="139"/>
                  </a:lnTo>
                  <a:lnTo>
                    <a:pt x="473" y="138"/>
                  </a:lnTo>
                  <a:lnTo>
                    <a:pt x="475" y="136"/>
                  </a:lnTo>
                  <a:lnTo>
                    <a:pt x="476" y="136"/>
                  </a:lnTo>
                  <a:lnTo>
                    <a:pt x="475" y="131"/>
                  </a:lnTo>
                  <a:lnTo>
                    <a:pt x="472" y="129"/>
                  </a:lnTo>
                  <a:lnTo>
                    <a:pt x="470" y="128"/>
                  </a:lnTo>
                  <a:lnTo>
                    <a:pt x="467" y="126"/>
                  </a:lnTo>
                  <a:lnTo>
                    <a:pt x="461" y="126"/>
                  </a:lnTo>
                  <a:lnTo>
                    <a:pt x="458" y="126"/>
                  </a:lnTo>
                  <a:lnTo>
                    <a:pt x="455" y="124"/>
                  </a:lnTo>
                  <a:lnTo>
                    <a:pt x="451" y="120"/>
                  </a:lnTo>
                  <a:lnTo>
                    <a:pt x="447" y="115"/>
                  </a:lnTo>
                  <a:lnTo>
                    <a:pt x="443" y="105"/>
                  </a:lnTo>
                  <a:lnTo>
                    <a:pt x="442" y="99"/>
                  </a:lnTo>
                  <a:lnTo>
                    <a:pt x="442" y="94"/>
                  </a:lnTo>
                  <a:lnTo>
                    <a:pt x="441" y="89"/>
                  </a:lnTo>
                  <a:lnTo>
                    <a:pt x="438" y="83"/>
                  </a:lnTo>
                  <a:lnTo>
                    <a:pt x="435" y="80"/>
                  </a:lnTo>
                  <a:lnTo>
                    <a:pt x="431" y="77"/>
                  </a:lnTo>
                  <a:lnTo>
                    <a:pt x="428" y="74"/>
                  </a:lnTo>
                  <a:lnTo>
                    <a:pt x="426" y="69"/>
                  </a:lnTo>
                  <a:lnTo>
                    <a:pt x="426" y="68"/>
                  </a:lnTo>
                  <a:lnTo>
                    <a:pt x="426" y="67"/>
                  </a:lnTo>
                  <a:lnTo>
                    <a:pt x="428" y="63"/>
                  </a:lnTo>
                  <a:lnTo>
                    <a:pt x="430" y="60"/>
                  </a:lnTo>
                  <a:lnTo>
                    <a:pt x="430" y="59"/>
                  </a:lnTo>
                  <a:lnTo>
                    <a:pt x="430" y="58"/>
                  </a:lnTo>
                  <a:lnTo>
                    <a:pt x="420" y="44"/>
                  </a:lnTo>
                  <a:lnTo>
                    <a:pt x="415" y="38"/>
                  </a:lnTo>
                  <a:lnTo>
                    <a:pt x="411" y="30"/>
                  </a:lnTo>
                  <a:lnTo>
                    <a:pt x="410" y="29"/>
                  </a:lnTo>
                  <a:lnTo>
                    <a:pt x="407" y="28"/>
                  </a:lnTo>
                  <a:lnTo>
                    <a:pt x="405" y="25"/>
                  </a:lnTo>
                  <a:lnTo>
                    <a:pt x="405" y="24"/>
                  </a:lnTo>
                  <a:lnTo>
                    <a:pt x="405" y="22"/>
                  </a:lnTo>
                  <a:lnTo>
                    <a:pt x="407" y="20"/>
                  </a:lnTo>
                  <a:lnTo>
                    <a:pt x="411" y="19"/>
                  </a:lnTo>
                  <a:lnTo>
                    <a:pt x="412" y="17"/>
                  </a:lnTo>
                  <a:lnTo>
                    <a:pt x="412" y="12"/>
                  </a:lnTo>
                  <a:lnTo>
                    <a:pt x="412" y="8"/>
                  </a:lnTo>
                  <a:lnTo>
                    <a:pt x="410" y="4"/>
                  </a:lnTo>
                  <a:lnTo>
                    <a:pt x="405" y="0"/>
                  </a:lnTo>
                  <a:lnTo>
                    <a:pt x="315" y="2"/>
                  </a:lnTo>
                  <a:lnTo>
                    <a:pt x="224" y="2"/>
                  </a:lnTo>
                  <a:lnTo>
                    <a:pt x="208" y="2"/>
                  </a:lnTo>
                  <a:lnTo>
                    <a:pt x="199" y="2"/>
                  </a:lnTo>
                  <a:lnTo>
                    <a:pt x="196" y="2"/>
                  </a:lnTo>
                  <a:lnTo>
                    <a:pt x="195" y="3"/>
                  </a:lnTo>
                  <a:lnTo>
                    <a:pt x="195" y="12"/>
                  </a:lnTo>
                  <a:lnTo>
                    <a:pt x="195" y="23"/>
                  </a:lnTo>
                  <a:lnTo>
                    <a:pt x="195" y="28"/>
                  </a:lnTo>
                  <a:lnTo>
                    <a:pt x="193" y="32"/>
                  </a:lnTo>
                  <a:lnTo>
                    <a:pt x="191" y="34"/>
                  </a:lnTo>
                  <a:lnTo>
                    <a:pt x="186" y="35"/>
                  </a:lnTo>
                  <a:lnTo>
                    <a:pt x="87" y="35"/>
                  </a:lnTo>
                  <a:lnTo>
                    <a:pt x="87" y="68"/>
                  </a:lnTo>
                  <a:lnTo>
                    <a:pt x="85" y="68"/>
                  </a:lnTo>
                  <a:lnTo>
                    <a:pt x="82" y="69"/>
                  </a:lnTo>
                  <a:lnTo>
                    <a:pt x="73" y="69"/>
                  </a:lnTo>
                  <a:lnTo>
                    <a:pt x="57" y="69"/>
                  </a:lnTo>
                  <a:lnTo>
                    <a:pt x="48" y="68"/>
                  </a:lnTo>
                  <a:lnTo>
                    <a:pt x="40" y="69"/>
                  </a:lnTo>
                  <a:lnTo>
                    <a:pt x="35" y="70"/>
                  </a:lnTo>
                  <a:lnTo>
                    <a:pt x="28" y="75"/>
                  </a:lnTo>
                  <a:lnTo>
                    <a:pt x="0" y="102"/>
                  </a:lnTo>
                  <a:lnTo>
                    <a:pt x="8" y="100"/>
                  </a:lnTo>
                  <a:lnTo>
                    <a:pt x="10" y="102"/>
                  </a:lnTo>
                  <a:lnTo>
                    <a:pt x="13" y="103"/>
                  </a:lnTo>
                  <a:lnTo>
                    <a:pt x="14" y="109"/>
                  </a:lnTo>
                  <a:lnTo>
                    <a:pt x="14" y="116"/>
                  </a:lnTo>
                  <a:lnTo>
                    <a:pt x="14" y="125"/>
                  </a:lnTo>
                  <a:lnTo>
                    <a:pt x="14" y="131"/>
                  </a:lnTo>
                  <a:lnTo>
                    <a:pt x="15" y="134"/>
                  </a:lnTo>
                  <a:lnTo>
                    <a:pt x="18" y="135"/>
                  </a:lnTo>
                  <a:lnTo>
                    <a:pt x="25" y="136"/>
                  </a:lnTo>
                  <a:lnTo>
                    <a:pt x="28" y="136"/>
                  </a:lnTo>
                  <a:lnTo>
                    <a:pt x="30" y="138"/>
                  </a:lnTo>
                  <a:lnTo>
                    <a:pt x="33" y="143"/>
                  </a:lnTo>
                  <a:lnTo>
                    <a:pt x="34" y="150"/>
                  </a:lnTo>
                  <a:lnTo>
                    <a:pt x="34" y="158"/>
                  </a:lnTo>
                  <a:lnTo>
                    <a:pt x="34" y="175"/>
                  </a:lnTo>
                  <a:lnTo>
                    <a:pt x="33" y="188"/>
                  </a:lnTo>
                  <a:lnTo>
                    <a:pt x="22" y="188"/>
                  </a:lnTo>
                  <a:lnTo>
                    <a:pt x="15" y="188"/>
                  </a:lnTo>
                  <a:lnTo>
                    <a:pt x="14" y="189"/>
                  </a:lnTo>
                  <a:lnTo>
                    <a:pt x="13" y="190"/>
                  </a:lnTo>
                  <a:lnTo>
                    <a:pt x="13" y="219"/>
                  </a:lnTo>
                  <a:lnTo>
                    <a:pt x="12" y="271"/>
                  </a:lnTo>
                  <a:lnTo>
                    <a:pt x="9" y="380"/>
                  </a:lnTo>
                  <a:lnTo>
                    <a:pt x="5" y="381"/>
                  </a:lnTo>
                  <a:lnTo>
                    <a:pt x="133" y="380"/>
                  </a:lnTo>
                  <a:lnTo>
                    <a:pt x="260" y="378"/>
                  </a:lnTo>
                  <a:lnTo>
                    <a:pt x="389" y="377"/>
                  </a:lnTo>
                  <a:lnTo>
                    <a:pt x="516" y="378"/>
                  </a:lnTo>
                  <a:lnTo>
                    <a:pt x="518" y="378"/>
                  </a:lnTo>
                  <a:lnTo>
                    <a:pt x="520" y="366"/>
                  </a:lnTo>
                  <a:lnTo>
                    <a:pt x="520" y="360"/>
                  </a:lnTo>
                  <a:lnTo>
                    <a:pt x="521" y="355"/>
                  </a:lnTo>
                  <a:lnTo>
                    <a:pt x="522" y="352"/>
                  </a:lnTo>
                  <a:lnTo>
                    <a:pt x="525" y="351"/>
                  </a:lnTo>
                  <a:lnTo>
                    <a:pt x="527" y="348"/>
                  </a:lnTo>
                  <a:lnTo>
                    <a:pt x="528" y="346"/>
                  </a:lnTo>
                  <a:lnTo>
                    <a:pt x="530" y="346"/>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Tulare</a:t>
              </a:r>
            </a:p>
          </p:txBody>
        </p:sp>
        <p:sp>
          <p:nvSpPr>
            <p:cNvPr id="8" name="Madera"/>
            <p:cNvSpPr>
              <a:spLocks/>
            </p:cNvSpPr>
            <p:nvPr/>
          </p:nvSpPr>
          <p:spPr bwMode="auto">
            <a:xfrm>
              <a:off x="2888163" y="5330077"/>
              <a:ext cx="1062335" cy="805595"/>
            </a:xfrm>
            <a:custGeom>
              <a:avLst/>
              <a:gdLst>
                <a:gd name="T0" fmla="*/ 2147483647 w 505"/>
                <a:gd name="T1" fmla="*/ 2147483647 h 403"/>
                <a:gd name="T2" fmla="*/ 2147483647 w 505"/>
                <a:gd name="T3" fmla="*/ 2147483647 h 403"/>
                <a:gd name="T4" fmla="*/ 2147483647 w 505"/>
                <a:gd name="T5" fmla="*/ 2147483647 h 403"/>
                <a:gd name="T6" fmla="*/ 2147483647 w 505"/>
                <a:gd name="T7" fmla="*/ 2147483647 h 403"/>
                <a:gd name="T8" fmla="*/ 2147483647 w 505"/>
                <a:gd name="T9" fmla="*/ 2147483647 h 403"/>
                <a:gd name="T10" fmla="*/ 2147483647 w 505"/>
                <a:gd name="T11" fmla="*/ 2147483647 h 403"/>
                <a:gd name="T12" fmla="*/ 2147483647 w 505"/>
                <a:gd name="T13" fmla="*/ 2147483647 h 403"/>
                <a:gd name="T14" fmla="*/ 2147483647 w 505"/>
                <a:gd name="T15" fmla="*/ 2147483647 h 403"/>
                <a:gd name="T16" fmla="*/ 2147483647 w 505"/>
                <a:gd name="T17" fmla="*/ 2147483647 h 403"/>
                <a:gd name="T18" fmla="*/ 2147483647 w 505"/>
                <a:gd name="T19" fmla="*/ 2147483647 h 403"/>
                <a:gd name="T20" fmla="*/ 2147483647 w 505"/>
                <a:gd name="T21" fmla="*/ 2147483647 h 403"/>
                <a:gd name="T22" fmla="*/ 2147483647 w 505"/>
                <a:gd name="T23" fmla="*/ 2147483647 h 403"/>
                <a:gd name="T24" fmla="*/ 2147483647 w 505"/>
                <a:gd name="T25" fmla="*/ 2147483647 h 403"/>
                <a:gd name="T26" fmla="*/ 2147483647 w 505"/>
                <a:gd name="T27" fmla="*/ 2147483647 h 403"/>
                <a:gd name="T28" fmla="*/ 2147483647 w 505"/>
                <a:gd name="T29" fmla="*/ 2147483647 h 403"/>
                <a:gd name="T30" fmla="*/ 2147483647 w 505"/>
                <a:gd name="T31" fmla="*/ 2147483647 h 403"/>
                <a:gd name="T32" fmla="*/ 2147483647 w 505"/>
                <a:gd name="T33" fmla="*/ 2147483647 h 403"/>
                <a:gd name="T34" fmla="*/ 2147483647 w 505"/>
                <a:gd name="T35" fmla="*/ 2147483647 h 403"/>
                <a:gd name="T36" fmla="*/ 2147483647 w 505"/>
                <a:gd name="T37" fmla="*/ 2147483647 h 403"/>
                <a:gd name="T38" fmla="*/ 2147483647 w 505"/>
                <a:gd name="T39" fmla="*/ 2147483647 h 403"/>
                <a:gd name="T40" fmla="*/ 2147483647 w 505"/>
                <a:gd name="T41" fmla="*/ 2147483647 h 403"/>
                <a:gd name="T42" fmla="*/ 2147483647 w 505"/>
                <a:gd name="T43" fmla="*/ 2147483647 h 403"/>
                <a:gd name="T44" fmla="*/ 2147483647 w 505"/>
                <a:gd name="T45" fmla="*/ 2147483647 h 403"/>
                <a:gd name="T46" fmla="*/ 2147483647 w 505"/>
                <a:gd name="T47" fmla="*/ 2147483647 h 403"/>
                <a:gd name="T48" fmla="*/ 2147483647 w 505"/>
                <a:gd name="T49" fmla="*/ 2147483647 h 403"/>
                <a:gd name="T50" fmla="*/ 2147483647 w 505"/>
                <a:gd name="T51" fmla="*/ 2147483647 h 403"/>
                <a:gd name="T52" fmla="*/ 2147483647 w 505"/>
                <a:gd name="T53" fmla="*/ 2147483647 h 403"/>
                <a:gd name="T54" fmla="*/ 2147483647 w 505"/>
                <a:gd name="T55" fmla="*/ 2147483647 h 403"/>
                <a:gd name="T56" fmla="*/ 2147483647 w 505"/>
                <a:gd name="T57" fmla="*/ 2147483647 h 403"/>
                <a:gd name="T58" fmla="*/ 2147483647 w 505"/>
                <a:gd name="T59" fmla="*/ 2147483647 h 403"/>
                <a:gd name="T60" fmla="*/ 2147483647 w 505"/>
                <a:gd name="T61" fmla="*/ 2147483647 h 403"/>
                <a:gd name="T62" fmla="*/ 2147483647 w 505"/>
                <a:gd name="T63" fmla="*/ 2147483647 h 403"/>
                <a:gd name="T64" fmla="*/ 2147483647 w 505"/>
                <a:gd name="T65" fmla="*/ 2147483647 h 403"/>
                <a:gd name="T66" fmla="*/ 2147483647 w 505"/>
                <a:gd name="T67" fmla="*/ 2147483647 h 403"/>
                <a:gd name="T68" fmla="*/ 2147483647 w 505"/>
                <a:gd name="T69" fmla="*/ 2147483647 h 403"/>
                <a:gd name="T70" fmla="*/ 2147483647 w 505"/>
                <a:gd name="T71" fmla="*/ 2147483647 h 403"/>
                <a:gd name="T72" fmla="*/ 2147483647 w 505"/>
                <a:gd name="T73" fmla="*/ 2147483647 h 403"/>
                <a:gd name="T74" fmla="*/ 2147483647 w 505"/>
                <a:gd name="T75" fmla="*/ 2147483647 h 403"/>
                <a:gd name="T76" fmla="*/ 2147483647 w 505"/>
                <a:gd name="T77" fmla="*/ 2147483647 h 403"/>
                <a:gd name="T78" fmla="*/ 2147483647 w 505"/>
                <a:gd name="T79" fmla="*/ 2147483647 h 403"/>
                <a:gd name="T80" fmla="*/ 2147483647 w 505"/>
                <a:gd name="T81" fmla="*/ 2147483647 h 403"/>
                <a:gd name="T82" fmla="*/ 2147483647 w 505"/>
                <a:gd name="T83" fmla="*/ 2147483647 h 403"/>
                <a:gd name="T84" fmla="*/ 2147483647 w 505"/>
                <a:gd name="T85" fmla="*/ 2147483647 h 403"/>
                <a:gd name="T86" fmla="*/ 2147483647 w 505"/>
                <a:gd name="T87" fmla="*/ 2147483647 h 403"/>
                <a:gd name="T88" fmla="*/ 2147483647 w 505"/>
                <a:gd name="T89" fmla="*/ 2147483647 h 403"/>
                <a:gd name="T90" fmla="*/ 2147483647 w 505"/>
                <a:gd name="T91" fmla="*/ 2147483647 h 403"/>
                <a:gd name="T92" fmla="*/ 2147483647 w 505"/>
                <a:gd name="T93" fmla="*/ 2147483647 h 403"/>
                <a:gd name="T94" fmla="*/ 2147483647 w 505"/>
                <a:gd name="T95" fmla="*/ 2147483647 h 403"/>
                <a:gd name="T96" fmla="*/ 2147483647 w 505"/>
                <a:gd name="T97" fmla="*/ 2147483647 h 403"/>
                <a:gd name="T98" fmla="*/ 2147483647 w 505"/>
                <a:gd name="T99" fmla="*/ 2147483647 h 403"/>
                <a:gd name="T100" fmla="*/ 2147483647 w 505"/>
                <a:gd name="T101" fmla="*/ 2147483647 h 403"/>
                <a:gd name="T102" fmla="*/ 2147483647 w 505"/>
                <a:gd name="T103" fmla="*/ 2147483647 h 40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403"/>
                <a:gd name="T158" fmla="*/ 505 w 505"/>
                <a:gd name="T159" fmla="*/ 403 h 40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403">
                  <a:moveTo>
                    <a:pt x="480" y="25"/>
                  </a:moveTo>
                  <a:lnTo>
                    <a:pt x="474" y="18"/>
                  </a:lnTo>
                  <a:lnTo>
                    <a:pt x="465" y="15"/>
                  </a:lnTo>
                  <a:lnTo>
                    <a:pt x="457" y="13"/>
                  </a:lnTo>
                  <a:lnTo>
                    <a:pt x="448" y="15"/>
                  </a:lnTo>
                  <a:lnTo>
                    <a:pt x="445" y="16"/>
                  </a:lnTo>
                  <a:lnTo>
                    <a:pt x="442" y="18"/>
                  </a:lnTo>
                  <a:lnTo>
                    <a:pt x="439" y="21"/>
                  </a:lnTo>
                  <a:lnTo>
                    <a:pt x="435" y="22"/>
                  </a:lnTo>
                  <a:lnTo>
                    <a:pt x="433" y="21"/>
                  </a:lnTo>
                  <a:lnTo>
                    <a:pt x="429" y="18"/>
                  </a:lnTo>
                  <a:lnTo>
                    <a:pt x="423" y="16"/>
                  </a:lnTo>
                  <a:lnTo>
                    <a:pt x="421" y="15"/>
                  </a:lnTo>
                  <a:lnTo>
                    <a:pt x="417" y="15"/>
                  </a:lnTo>
                  <a:lnTo>
                    <a:pt x="413" y="11"/>
                  </a:lnTo>
                  <a:lnTo>
                    <a:pt x="411" y="6"/>
                  </a:lnTo>
                  <a:lnTo>
                    <a:pt x="409" y="0"/>
                  </a:lnTo>
                  <a:lnTo>
                    <a:pt x="344" y="61"/>
                  </a:lnTo>
                  <a:lnTo>
                    <a:pt x="334" y="71"/>
                  </a:lnTo>
                  <a:lnTo>
                    <a:pt x="327" y="78"/>
                  </a:lnTo>
                  <a:lnTo>
                    <a:pt x="324" y="82"/>
                  </a:lnTo>
                  <a:lnTo>
                    <a:pt x="322" y="87"/>
                  </a:lnTo>
                  <a:lnTo>
                    <a:pt x="321" y="92"/>
                  </a:lnTo>
                  <a:lnTo>
                    <a:pt x="319" y="99"/>
                  </a:lnTo>
                  <a:lnTo>
                    <a:pt x="319" y="109"/>
                  </a:lnTo>
                  <a:lnTo>
                    <a:pt x="318" y="111"/>
                  </a:lnTo>
                  <a:lnTo>
                    <a:pt x="317" y="112"/>
                  </a:lnTo>
                  <a:lnTo>
                    <a:pt x="312" y="112"/>
                  </a:lnTo>
                  <a:lnTo>
                    <a:pt x="308" y="113"/>
                  </a:lnTo>
                  <a:lnTo>
                    <a:pt x="307" y="114"/>
                  </a:lnTo>
                  <a:lnTo>
                    <a:pt x="306" y="117"/>
                  </a:lnTo>
                  <a:lnTo>
                    <a:pt x="306" y="118"/>
                  </a:lnTo>
                  <a:lnTo>
                    <a:pt x="306" y="121"/>
                  </a:lnTo>
                  <a:lnTo>
                    <a:pt x="304" y="122"/>
                  </a:lnTo>
                  <a:lnTo>
                    <a:pt x="303" y="124"/>
                  </a:lnTo>
                  <a:lnTo>
                    <a:pt x="299" y="124"/>
                  </a:lnTo>
                  <a:lnTo>
                    <a:pt x="297" y="126"/>
                  </a:lnTo>
                  <a:lnTo>
                    <a:pt x="296" y="127"/>
                  </a:lnTo>
                  <a:lnTo>
                    <a:pt x="294" y="132"/>
                  </a:lnTo>
                  <a:lnTo>
                    <a:pt x="294" y="142"/>
                  </a:lnTo>
                  <a:lnTo>
                    <a:pt x="293" y="143"/>
                  </a:lnTo>
                  <a:lnTo>
                    <a:pt x="291" y="143"/>
                  </a:lnTo>
                  <a:lnTo>
                    <a:pt x="283" y="144"/>
                  </a:lnTo>
                  <a:lnTo>
                    <a:pt x="268" y="143"/>
                  </a:lnTo>
                  <a:lnTo>
                    <a:pt x="265" y="144"/>
                  </a:lnTo>
                  <a:lnTo>
                    <a:pt x="260" y="146"/>
                  </a:lnTo>
                  <a:lnTo>
                    <a:pt x="252" y="151"/>
                  </a:lnTo>
                  <a:lnTo>
                    <a:pt x="238" y="164"/>
                  </a:lnTo>
                  <a:lnTo>
                    <a:pt x="202" y="201"/>
                  </a:lnTo>
                  <a:lnTo>
                    <a:pt x="165" y="234"/>
                  </a:lnTo>
                  <a:lnTo>
                    <a:pt x="162" y="238"/>
                  </a:lnTo>
                  <a:lnTo>
                    <a:pt x="158" y="242"/>
                  </a:lnTo>
                  <a:lnTo>
                    <a:pt x="155" y="243"/>
                  </a:lnTo>
                  <a:lnTo>
                    <a:pt x="150" y="245"/>
                  </a:lnTo>
                  <a:lnTo>
                    <a:pt x="138" y="247"/>
                  </a:lnTo>
                  <a:lnTo>
                    <a:pt x="126" y="248"/>
                  </a:lnTo>
                  <a:lnTo>
                    <a:pt x="100" y="249"/>
                  </a:lnTo>
                  <a:lnTo>
                    <a:pt x="89" y="250"/>
                  </a:lnTo>
                  <a:lnTo>
                    <a:pt x="80" y="253"/>
                  </a:lnTo>
                  <a:lnTo>
                    <a:pt x="74" y="258"/>
                  </a:lnTo>
                  <a:lnTo>
                    <a:pt x="70" y="260"/>
                  </a:lnTo>
                  <a:lnTo>
                    <a:pt x="67" y="262"/>
                  </a:lnTo>
                  <a:lnTo>
                    <a:pt x="54" y="264"/>
                  </a:lnTo>
                  <a:lnTo>
                    <a:pt x="47" y="265"/>
                  </a:lnTo>
                  <a:lnTo>
                    <a:pt x="41" y="267"/>
                  </a:lnTo>
                  <a:lnTo>
                    <a:pt x="30" y="268"/>
                  </a:lnTo>
                  <a:lnTo>
                    <a:pt x="22" y="269"/>
                  </a:lnTo>
                  <a:lnTo>
                    <a:pt x="16" y="274"/>
                  </a:lnTo>
                  <a:lnTo>
                    <a:pt x="10" y="280"/>
                  </a:lnTo>
                  <a:lnTo>
                    <a:pt x="0" y="292"/>
                  </a:lnTo>
                  <a:lnTo>
                    <a:pt x="7" y="304"/>
                  </a:lnTo>
                  <a:lnTo>
                    <a:pt x="16" y="316"/>
                  </a:lnTo>
                  <a:lnTo>
                    <a:pt x="24" y="330"/>
                  </a:lnTo>
                  <a:lnTo>
                    <a:pt x="27" y="338"/>
                  </a:lnTo>
                  <a:lnTo>
                    <a:pt x="29" y="345"/>
                  </a:lnTo>
                  <a:lnTo>
                    <a:pt x="29" y="349"/>
                  </a:lnTo>
                  <a:lnTo>
                    <a:pt x="27" y="351"/>
                  </a:lnTo>
                  <a:lnTo>
                    <a:pt x="26" y="355"/>
                  </a:lnTo>
                  <a:lnTo>
                    <a:pt x="27" y="359"/>
                  </a:lnTo>
                  <a:lnTo>
                    <a:pt x="29" y="363"/>
                  </a:lnTo>
                  <a:lnTo>
                    <a:pt x="31" y="368"/>
                  </a:lnTo>
                  <a:lnTo>
                    <a:pt x="39" y="374"/>
                  </a:lnTo>
                  <a:lnTo>
                    <a:pt x="44" y="378"/>
                  </a:lnTo>
                  <a:lnTo>
                    <a:pt x="50" y="381"/>
                  </a:lnTo>
                  <a:lnTo>
                    <a:pt x="54" y="384"/>
                  </a:lnTo>
                  <a:lnTo>
                    <a:pt x="55" y="386"/>
                  </a:lnTo>
                  <a:lnTo>
                    <a:pt x="56" y="390"/>
                  </a:lnTo>
                  <a:lnTo>
                    <a:pt x="56" y="394"/>
                  </a:lnTo>
                  <a:lnTo>
                    <a:pt x="64" y="395"/>
                  </a:lnTo>
                  <a:lnTo>
                    <a:pt x="61" y="390"/>
                  </a:lnTo>
                  <a:lnTo>
                    <a:pt x="70" y="396"/>
                  </a:lnTo>
                  <a:lnTo>
                    <a:pt x="77" y="400"/>
                  </a:lnTo>
                  <a:lnTo>
                    <a:pt x="81" y="401"/>
                  </a:lnTo>
                  <a:lnTo>
                    <a:pt x="86" y="403"/>
                  </a:lnTo>
                  <a:lnTo>
                    <a:pt x="90" y="401"/>
                  </a:lnTo>
                  <a:lnTo>
                    <a:pt x="95" y="400"/>
                  </a:lnTo>
                  <a:lnTo>
                    <a:pt x="109" y="396"/>
                  </a:lnTo>
                  <a:lnTo>
                    <a:pt x="116" y="395"/>
                  </a:lnTo>
                  <a:lnTo>
                    <a:pt x="118" y="396"/>
                  </a:lnTo>
                  <a:lnTo>
                    <a:pt x="120" y="394"/>
                  </a:lnTo>
                  <a:lnTo>
                    <a:pt x="122" y="390"/>
                  </a:lnTo>
                  <a:lnTo>
                    <a:pt x="128" y="386"/>
                  </a:lnTo>
                  <a:lnTo>
                    <a:pt x="137" y="384"/>
                  </a:lnTo>
                  <a:lnTo>
                    <a:pt x="146" y="381"/>
                  </a:lnTo>
                  <a:lnTo>
                    <a:pt x="165" y="380"/>
                  </a:lnTo>
                  <a:lnTo>
                    <a:pt x="173" y="379"/>
                  </a:lnTo>
                  <a:lnTo>
                    <a:pt x="180" y="378"/>
                  </a:lnTo>
                  <a:lnTo>
                    <a:pt x="187" y="375"/>
                  </a:lnTo>
                  <a:lnTo>
                    <a:pt x="191" y="374"/>
                  </a:lnTo>
                  <a:lnTo>
                    <a:pt x="196" y="374"/>
                  </a:lnTo>
                  <a:lnTo>
                    <a:pt x="198" y="375"/>
                  </a:lnTo>
                  <a:lnTo>
                    <a:pt x="201" y="374"/>
                  </a:lnTo>
                  <a:lnTo>
                    <a:pt x="206" y="371"/>
                  </a:lnTo>
                  <a:lnTo>
                    <a:pt x="211" y="369"/>
                  </a:lnTo>
                  <a:lnTo>
                    <a:pt x="216" y="366"/>
                  </a:lnTo>
                  <a:lnTo>
                    <a:pt x="222" y="366"/>
                  </a:lnTo>
                  <a:lnTo>
                    <a:pt x="228" y="366"/>
                  </a:lnTo>
                  <a:lnTo>
                    <a:pt x="236" y="366"/>
                  </a:lnTo>
                  <a:lnTo>
                    <a:pt x="242" y="365"/>
                  </a:lnTo>
                  <a:lnTo>
                    <a:pt x="246" y="361"/>
                  </a:lnTo>
                  <a:lnTo>
                    <a:pt x="250" y="359"/>
                  </a:lnTo>
                  <a:lnTo>
                    <a:pt x="256" y="351"/>
                  </a:lnTo>
                  <a:lnTo>
                    <a:pt x="260" y="343"/>
                  </a:lnTo>
                  <a:lnTo>
                    <a:pt x="262" y="334"/>
                  </a:lnTo>
                  <a:lnTo>
                    <a:pt x="266" y="325"/>
                  </a:lnTo>
                  <a:lnTo>
                    <a:pt x="269" y="318"/>
                  </a:lnTo>
                  <a:lnTo>
                    <a:pt x="272" y="314"/>
                  </a:lnTo>
                  <a:lnTo>
                    <a:pt x="276" y="311"/>
                  </a:lnTo>
                  <a:lnTo>
                    <a:pt x="279" y="309"/>
                  </a:lnTo>
                  <a:lnTo>
                    <a:pt x="284" y="308"/>
                  </a:lnTo>
                  <a:lnTo>
                    <a:pt x="288" y="306"/>
                  </a:lnTo>
                  <a:lnTo>
                    <a:pt x="291" y="304"/>
                  </a:lnTo>
                  <a:lnTo>
                    <a:pt x="296" y="299"/>
                  </a:lnTo>
                  <a:lnTo>
                    <a:pt x="298" y="297"/>
                  </a:lnTo>
                  <a:lnTo>
                    <a:pt x="301" y="295"/>
                  </a:lnTo>
                  <a:lnTo>
                    <a:pt x="302" y="297"/>
                  </a:lnTo>
                  <a:lnTo>
                    <a:pt x="304" y="298"/>
                  </a:lnTo>
                  <a:lnTo>
                    <a:pt x="308" y="295"/>
                  </a:lnTo>
                  <a:lnTo>
                    <a:pt x="311" y="290"/>
                  </a:lnTo>
                  <a:lnTo>
                    <a:pt x="313" y="287"/>
                  </a:lnTo>
                  <a:lnTo>
                    <a:pt x="317" y="283"/>
                  </a:lnTo>
                  <a:lnTo>
                    <a:pt x="319" y="282"/>
                  </a:lnTo>
                  <a:lnTo>
                    <a:pt x="322" y="282"/>
                  </a:lnTo>
                  <a:lnTo>
                    <a:pt x="326" y="280"/>
                  </a:lnTo>
                  <a:lnTo>
                    <a:pt x="329" y="275"/>
                  </a:lnTo>
                  <a:lnTo>
                    <a:pt x="332" y="269"/>
                  </a:lnTo>
                  <a:lnTo>
                    <a:pt x="332" y="268"/>
                  </a:lnTo>
                  <a:lnTo>
                    <a:pt x="328" y="268"/>
                  </a:lnTo>
                  <a:lnTo>
                    <a:pt x="327" y="267"/>
                  </a:lnTo>
                  <a:lnTo>
                    <a:pt x="327" y="263"/>
                  </a:lnTo>
                  <a:lnTo>
                    <a:pt x="326" y="259"/>
                  </a:lnTo>
                  <a:lnTo>
                    <a:pt x="327" y="257"/>
                  </a:lnTo>
                  <a:lnTo>
                    <a:pt x="328" y="255"/>
                  </a:lnTo>
                  <a:lnTo>
                    <a:pt x="329" y="257"/>
                  </a:lnTo>
                  <a:lnTo>
                    <a:pt x="334" y="259"/>
                  </a:lnTo>
                  <a:lnTo>
                    <a:pt x="337" y="260"/>
                  </a:lnTo>
                  <a:lnTo>
                    <a:pt x="339" y="260"/>
                  </a:lnTo>
                  <a:lnTo>
                    <a:pt x="342" y="259"/>
                  </a:lnTo>
                  <a:lnTo>
                    <a:pt x="342" y="255"/>
                  </a:lnTo>
                  <a:lnTo>
                    <a:pt x="343" y="253"/>
                  </a:lnTo>
                  <a:lnTo>
                    <a:pt x="343" y="252"/>
                  </a:lnTo>
                  <a:lnTo>
                    <a:pt x="347" y="253"/>
                  </a:lnTo>
                  <a:lnTo>
                    <a:pt x="349" y="257"/>
                  </a:lnTo>
                  <a:lnTo>
                    <a:pt x="351" y="260"/>
                  </a:lnTo>
                  <a:lnTo>
                    <a:pt x="353" y="263"/>
                  </a:lnTo>
                  <a:lnTo>
                    <a:pt x="357" y="264"/>
                  </a:lnTo>
                  <a:lnTo>
                    <a:pt x="359" y="264"/>
                  </a:lnTo>
                  <a:lnTo>
                    <a:pt x="361" y="263"/>
                  </a:lnTo>
                  <a:lnTo>
                    <a:pt x="362" y="260"/>
                  </a:lnTo>
                  <a:lnTo>
                    <a:pt x="364" y="257"/>
                  </a:lnTo>
                  <a:lnTo>
                    <a:pt x="366" y="254"/>
                  </a:lnTo>
                  <a:lnTo>
                    <a:pt x="369" y="252"/>
                  </a:lnTo>
                  <a:lnTo>
                    <a:pt x="371" y="250"/>
                  </a:lnTo>
                  <a:lnTo>
                    <a:pt x="371" y="249"/>
                  </a:lnTo>
                  <a:lnTo>
                    <a:pt x="371" y="247"/>
                  </a:lnTo>
                  <a:lnTo>
                    <a:pt x="373" y="245"/>
                  </a:lnTo>
                  <a:lnTo>
                    <a:pt x="376" y="245"/>
                  </a:lnTo>
                  <a:lnTo>
                    <a:pt x="378" y="248"/>
                  </a:lnTo>
                  <a:lnTo>
                    <a:pt x="379" y="249"/>
                  </a:lnTo>
                  <a:lnTo>
                    <a:pt x="382" y="250"/>
                  </a:lnTo>
                  <a:lnTo>
                    <a:pt x="386" y="249"/>
                  </a:lnTo>
                  <a:lnTo>
                    <a:pt x="389" y="248"/>
                  </a:lnTo>
                  <a:lnTo>
                    <a:pt x="393" y="245"/>
                  </a:lnTo>
                  <a:lnTo>
                    <a:pt x="394" y="240"/>
                  </a:lnTo>
                  <a:lnTo>
                    <a:pt x="398" y="238"/>
                  </a:lnTo>
                  <a:lnTo>
                    <a:pt x="401" y="235"/>
                  </a:lnTo>
                  <a:lnTo>
                    <a:pt x="402" y="232"/>
                  </a:lnTo>
                  <a:lnTo>
                    <a:pt x="403" y="228"/>
                  </a:lnTo>
                  <a:lnTo>
                    <a:pt x="404" y="219"/>
                  </a:lnTo>
                  <a:lnTo>
                    <a:pt x="403" y="209"/>
                  </a:lnTo>
                  <a:lnTo>
                    <a:pt x="402" y="199"/>
                  </a:lnTo>
                  <a:lnTo>
                    <a:pt x="402" y="189"/>
                  </a:lnTo>
                  <a:lnTo>
                    <a:pt x="403" y="181"/>
                  </a:lnTo>
                  <a:lnTo>
                    <a:pt x="404" y="176"/>
                  </a:lnTo>
                  <a:lnTo>
                    <a:pt x="406" y="172"/>
                  </a:lnTo>
                  <a:lnTo>
                    <a:pt x="409" y="167"/>
                  </a:lnTo>
                  <a:lnTo>
                    <a:pt x="413" y="162"/>
                  </a:lnTo>
                  <a:lnTo>
                    <a:pt x="424" y="153"/>
                  </a:lnTo>
                  <a:lnTo>
                    <a:pt x="435" y="143"/>
                  </a:lnTo>
                  <a:lnTo>
                    <a:pt x="445" y="134"/>
                  </a:lnTo>
                  <a:lnTo>
                    <a:pt x="505" y="77"/>
                  </a:lnTo>
                  <a:lnTo>
                    <a:pt x="502" y="71"/>
                  </a:lnTo>
                  <a:lnTo>
                    <a:pt x="499" y="65"/>
                  </a:lnTo>
                  <a:lnTo>
                    <a:pt x="494" y="51"/>
                  </a:lnTo>
                  <a:lnTo>
                    <a:pt x="488" y="37"/>
                  </a:lnTo>
                  <a:lnTo>
                    <a:pt x="484" y="31"/>
                  </a:lnTo>
                  <a:lnTo>
                    <a:pt x="482" y="25"/>
                  </a:lnTo>
                  <a:lnTo>
                    <a:pt x="480" y="25"/>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  Madera</a:t>
              </a:r>
            </a:p>
          </p:txBody>
        </p:sp>
        <p:sp>
          <p:nvSpPr>
            <p:cNvPr id="9" name="San Joaquin"/>
            <p:cNvSpPr>
              <a:spLocks/>
            </p:cNvSpPr>
            <p:nvPr/>
          </p:nvSpPr>
          <p:spPr bwMode="auto">
            <a:xfrm>
              <a:off x="2149782" y="4901229"/>
              <a:ext cx="462800" cy="661309"/>
            </a:xfrm>
            <a:custGeom>
              <a:avLst/>
              <a:gdLst>
                <a:gd name="T0" fmla="*/ 2147483647 w 220"/>
                <a:gd name="T1" fmla="*/ 2147483647 h 330"/>
                <a:gd name="T2" fmla="*/ 0 w 220"/>
                <a:gd name="T3" fmla="*/ 2147483647 h 330"/>
                <a:gd name="T4" fmla="*/ 2147483647 w 220"/>
                <a:gd name="T5" fmla="*/ 2147483647 h 330"/>
                <a:gd name="T6" fmla="*/ 2147483647 w 220"/>
                <a:gd name="T7" fmla="*/ 2147483647 h 330"/>
                <a:gd name="T8" fmla="*/ 2147483647 w 220"/>
                <a:gd name="T9" fmla="*/ 2147483647 h 330"/>
                <a:gd name="T10" fmla="*/ 2147483647 w 220"/>
                <a:gd name="T11" fmla="*/ 2147483647 h 330"/>
                <a:gd name="T12" fmla="*/ 2147483647 w 220"/>
                <a:gd name="T13" fmla="*/ 2147483647 h 330"/>
                <a:gd name="T14" fmla="*/ 2147483647 w 220"/>
                <a:gd name="T15" fmla="*/ 2147483647 h 330"/>
                <a:gd name="T16" fmla="*/ 2147483647 w 220"/>
                <a:gd name="T17" fmla="*/ 2147483647 h 330"/>
                <a:gd name="T18" fmla="*/ 2147483647 w 220"/>
                <a:gd name="T19" fmla="*/ 2147483647 h 330"/>
                <a:gd name="T20" fmla="*/ 2147483647 w 220"/>
                <a:gd name="T21" fmla="*/ 2147483647 h 330"/>
                <a:gd name="T22" fmla="*/ 2147483647 w 220"/>
                <a:gd name="T23" fmla="*/ 2147483647 h 330"/>
                <a:gd name="T24" fmla="*/ 2147483647 w 220"/>
                <a:gd name="T25" fmla="*/ 2147483647 h 330"/>
                <a:gd name="T26" fmla="*/ 2147483647 w 220"/>
                <a:gd name="T27" fmla="*/ 2147483647 h 330"/>
                <a:gd name="T28" fmla="*/ 2147483647 w 220"/>
                <a:gd name="T29" fmla="*/ 2147483647 h 330"/>
                <a:gd name="T30" fmla="*/ 2147483647 w 220"/>
                <a:gd name="T31" fmla="*/ 2147483647 h 330"/>
                <a:gd name="T32" fmla="*/ 2147483647 w 220"/>
                <a:gd name="T33" fmla="*/ 2147483647 h 330"/>
                <a:gd name="T34" fmla="*/ 2147483647 w 220"/>
                <a:gd name="T35" fmla="*/ 2147483647 h 330"/>
                <a:gd name="T36" fmla="*/ 2147483647 w 220"/>
                <a:gd name="T37" fmla="*/ 2147483647 h 330"/>
                <a:gd name="T38" fmla="*/ 2147483647 w 220"/>
                <a:gd name="T39" fmla="*/ 2147483647 h 330"/>
                <a:gd name="T40" fmla="*/ 2147483647 w 220"/>
                <a:gd name="T41" fmla="*/ 2147483647 h 330"/>
                <a:gd name="T42" fmla="*/ 2147483647 w 220"/>
                <a:gd name="T43" fmla="*/ 2147483647 h 330"/>
                <a:gd name="T44" fmla="*/ 2147483647 w 220"/>
                <a:gd name="T45" fmla="*/ 2147483647 h 330"/>
                <a:gd name="T46" fmla="*/ 2147483647 w 220"/>
                <a:gd name="T47" fmla="*/ 2147483647 h 330"/>
                <a:gd name="T48" fmla="*/ 2147483647 w 220"/>
                <a:gd name="T49" fmla="*/ 2147483647 h 330"/>
                <a:gd name="T50" fmla="*/ 2147483647 w 220"/>
                <a:gd name="T51" fmla="*/ 2147483647 h 330"/>
                <a:gd name="T52" fmla="*/ 2147483647 w 220"/>
                <a:gd name="T53" fmla="*/ 0 h 330"/>
                <a:gd name="T54" fmla="*/ 2147483647 w 220"/>
                <a:gd name="T55" fmla="*/ 2147483647 h 330"/>
                <a:gd name="T56" fmla="*/ 2147483647 w 220"/>
                <a:gd name="T57" fmla="*/ 2147483647 h 330"/>
                <a:gd name="T58" fmla="*/ 2147483647 w 220"/>
                <a:gd name="T59" fmla="*/ 2147483647 h 330"/>
                <a:gd name="T60" fmla="*/ 2147483647 w 220"/>
                <a:gd name="T61" fmla="*/ 2147483647 h 330"/>
                <a:gd name="T62" fmla="*/ 2147483647 w 220"/>
                <a:gd name="T63" fmla="*/ 2147483647 h 330"/>
                <a:gd name="T64" fmla="*/ 2147483647 w 220"/>
                <a:gd name="T65" fmla="*/ 2147483647 h 330"/>
                <a:gd name="T66" fmla="*/ 2147483647 w 220"/>
                <a:gd name="T67" fmla="*/ 2147483647 h 330"/>
                <a:gd name="T68" fmla="*/ 2147483647 w 220"/>
                <a:gd name="T69" fmla="*/ 2147483647 h 330"/>
                <a:gd name="T70" fmla="*/ 2147483647 w 220"/>
                <a:gd name="T71" fmla="*/ 2147483647 h 330"/>
                <a:gd name="T72" fmla="*/ 2147483647 w 220"/>
                <a:gd name="T73" fmla="*/ 2147483647 h 330"/>
                <a:gd name="T74" fmla="*/ 2147483647 w 220"/>
                <a:gd name="T75" fmla="*/ 2147483647 h 330"/>
                <a:gd name="T76" fmla="*/ 2147483647 w 220"/>
                <a:gd name="T77" fmla="*/ 2147483647 h 330"/>
                <a:gd name="T78" fmla="*/ 2147483647 w 220"/>
                <a:gd name="T79" fmla="*/ 2147483647 h 330"/>
                <a:gd name="T80" fmla="*/ 2147483647 w 220"/>
                <a:gd name="T81" fmla="*/ 2147483647 h 330"/>
                <a:gd name="T82" fmla="*/ 2147483647 w 220"/>
                <a:gd name="T83" fmla="*/ 2147483647 h 330"/>
                <a:gd name="T84" fmla="*/ 2147483647 w 220"/>
                <a:gd name="T85" fmla="*/ 2147483647 h 330"/>
                <a:gd name="T86" fmla="*/ 2147483647 w 220"/>
                <a:gd name="T87" fmla="*/ 2147483647 h 330"/>
                <a:gd name="T88" fmla="*/ 2147483647 w 220"/>
                <a:gd name="T89" fmla="*/ 2147483647 h 330"/>
                <a:gd name="T90" fmla="*/ 2147483647 w 220"/>
                <a:gd name="T91" fmla="*/ 2147483647 h 330"/>
                <a:gd name="T92" fmla="*/ 2147483647 w 220"/>
                <a:gd name="T93" fmla="*/ 2147483647 h 330"/>
                <a:gd name="T94" fmla="*/ 2147483647 w 220"/>
                <a:gd name="T95" fmla="*/ 2147483647 h 330"/>
                <a:gd name="T96" fmla="*/ 2147483647 w 220"/>
                <a:gd name="T97" fmla="*/ 2147483647 h 330"/>
                <a:gd name="T98" fmla="*/ 2147483647 w 220"/>
                <a:gd name="T99" fmla="*/ 2147483647 h 3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20" h="330">
                  <a:moveTo>
                    <a:pt x="1" y="110"/>
                  </a:moveTo>
                  <a:lnTo>
                    <a:pt x="5" y="106"/>
                  </a:lnTo>
                  <a:lnTo>
                    <a:pt x="6" y="114"/>
                  </a:lnTo>
                  <a:lnTo>
                    <a:pt x="3" y="116"/>
                  </a:lnTo>
                  <a:lnTo>
                    <a:pt x="1" y="120"/>
                  </a:lnTo>
                  <a:lnTo>
                    <a:pt x="0" y="125"/>
                  </a:lnTo>
                  <a:lnTo>
                    <a:pt x="1" y="131"/>
                  </a:lnTo>
                  <a:lnTo>
                    <a:pt x="4" y="143"/>
                  </a:lnTo>
                  <a:lnTo>
                    <a:pt x="5" y="149"/>
                  </a:lnTo>
                  <a:lnTo>
                    <a:pt x="5" y="154"/>
                  </a:lnTo>
                  <a:lnTo>
                    <a:pt x="5" y="159"/>
                  </a:lnTo>
                  <a:lnTo>
                    <a:pt x="3" y="165"/>
                  </a:lnTo>
                  <a:lnTo>
                    <a:pt x="1" y="171"/>
                  </a:lnTo>
                  <a:lnTo>
                    <a:pt x="3" y="178"/>
                  </a:lnTo>
                  <a:lnTo>
                    <a:pt x="5" y="180"/>
                  </a:lnTo>
                  <a:lnTo>
                    <a:pt x="9" y="181"/>
                  </a:lnTo>
                  <a:lnTo>
                    <a:pt x="11" y="183"/>
                  </a:lnTo>
                  <a:lnTo>
                    <a:pt x="13" y="184"/>
                  </a:lnTo>
                  <a:lnTo>
                    <a:pt x="14" y="186"/>
                  </a:lnTo>
                  <a:lnTo>
                    <a:pt x="11" y="191"/>
                  </a:lnTo>
                  <a:lnTo>
                    <a:pt x="9" y="196"/>
                  </a:lnTo>
                  <a:lnTo>
                    <a:pt x="8" y="224"/>
                  </a:lnTo>
                  <a:lnTo>
                    <a:pt x="8" y="250"/>
                  </a:lnTo>
                  <a:lnTo>
                    <a:pt x="8" y="304"/>
                  </a:lnTo>
                  <a:lnTo>
                    <a:pt x="9" y="307"/>
                  </a:lnTo>
                  <a:lnTo>
                    <a:pt x="13" y="310"/>
                  </a:lnTo>
                  <a:lnTo>
                    <a:pt x="23" y="315"/>
                  </a:lnTo>
                  <a:lnTo>
                    <a:pt x="28" y="317"/>
                  </a:lnTo>
                  <a:lnTo>
                    <a:pt x="31" y="320"/>
                  </a:lnTo>
                  <a:lnTo>
                    <a:pt x="34" y="325"/>
                  </a:lnTo>
                  <a:lnTo>
                    <a:pt x="34" y="330"/>
                  </a:lnTo>
                  <a:lnTo>
                    <a:pt x="45" y="321"/>
                  </a:lnTo>
                  <a:lnTo>
                    <a:pt x="56" y="310"/>
                  </a:lnTo>
                  <a:lnTo>
                    <a:pt x="79" y="289"/>
                  </a:lnTo>
                  <a:lnTo>
                    <a:pt x="109" y="260"/>
                  </a:lnTo>
                  <a:lnTo>
                    <a:pt x="119" y="249"/>
                  </a:lnTo>
                  <a:lnTo>
                    <a:pt x="128" y="246"/>
                  </a:lnTo>
                  <a:lnTo>
                    <a:pt x="130" y="247"/>
                  </a:lnTo>
                  <a:lnTo>
                    <a:pt x="131" y="247"/>
                  </a:lnTo>
                  <a:lnTo>
                    <a:pt x="133" y="246"/>
                  </a:lnTo>
                  <a:lnTo>
                    <a:pt x="134" y="242"/>
                  </a:lnTo>
                  <a:lnTo>
                    <a:pt x="136" y="241"/>
                  </a:lnTo>
                  <a:lnTo>
                    <a:pt x="138" y="240"/>
                  </a:lnTo>
                  <a:lnTo>
                    <a:pt x="139" y="239"/>
                  </a:lnTo>
                  <a:lnTo>
                    <a:pt x="139" y="237"/>
                  </a:lnTo>
                  <a:lnTo>
                    <a:pt x="139" y="235"/>
                  </a:lnTo>
                  <a:lnTo>
                    <a:pt x="141" y="234"/>
                  </a:lnTo>
                  <a:lnTo>
                    <a:pt x="144" y="234"/>
                  </a:lnTo>
                  <a:lnTo>
                    <a:pt x="146" y="234"/>
                  </a:lnTo>
                  <a:lnTo>
                    <a:pt x="149" y="232"/>
                  </a:lnTo>
                  <a:lnTo>
                    <a:pt x="157" y="229"/>
                  </a:lnTo>
                  <a:lnTo>
                    <a:pt x="165" y="226"/>
                  </a:lnTo>
                  <a:lnTo>
                    <a:pt x="171" y="224"/>
                  </a:lnTo>
                  <a:lnTo>
                    <a:pt x="175" y="222"/>
                  </a:lnTo>
                  <a:lnTo>
                    <a:pt x="177" y="224"/>
                  </a:lnTo>
                  <a:lnTo>
                    <a:pt x="180" y="225"/>
                  </a:lnTo>
                  <a:lnTo>
                    <a:pt x="181" y="226"/>
                  </a:lnTo>
                  <a:lnTo>
                    <a:pt x="184" y="224"/>
                  </a:lnTo>
                  <a:lnTo>
                    <a:pt x="187" y="221"/>
                  </a:lnTo>
                  <a:lnTo>
                    <a:pt x="190" y="220"/>
                  </a:lnTo>
                  <a:lnTo>
                    <a:pt x="194" y="220"/>
                  </a:lnTo>
                  <a:lnTo>
                    <a:pt x="197" y="221"/>
                  </a:lnTo>
                  <a:lnTo>
                    <a:pt x="206" y="224"/>
                  </a:lnTo>
                  <a:lnTo>
                    <a:pt x="210" y="225"/>
                  </a:lnTo>
                  <a:lnTo>
                    <a:pt x="214" y="225"/>
                  </a:lnTo>
                  <a:lnTo>
                    <a:pt x="216" y="225"/>
                  </a:lnTo>
                  <a:lnTo>
                    <a:pt x="219" y="222"/>
                  </a:lnTo>
                  <a:lnTo>
                    <a:pt x="220" y="219"/>
                  </a:lnTo>
                  <a:lnTo>
                    <a:pt x="220" y="214"/>
                  </a:lnTo>
                  <a:lnTo>
                    <a:pt x="220" y="204"/>
                  </a:lnTo>
                  <a:lnTo>
                    <a:pt x="220" y="151"/>
                  </a:lnTo>
                  <a:lnTo>
                    <a:pt x="219" y="120"/>
                  </a:lnTo>
                  <a:lnTo>
                    <a:pt x="219" y="104"/>
                  </a:lnTo>
                  <a:lnTo>
                    <a:pt x="219" y="89"/>
                  </a:lnTo>
                  <a:lnTo>
                    <a:pt x="215" y="83"/>
                  </a:lnTo>
                  <a:lnTo>
                    <a:pt x="212" y="77"/>
                  </a:lnTo>
                  <a:lnTo>
                    <a:pt x="206" y="62"/>
                  </a:lnTo>
                  <a:lnTo>
                    <a:pt x="197" y="32"/>
                  </a:lnTo>
                  <a:lnTo>
                    <a:pt x="191" y="15"/>
                  </a:lnTo>
                  <a:lnTo>
                    <a:pt x="189" y="8"/>
                  </a:lnTo>
                  <a:lnTo>
                    <a:pt x="186" y="0"/>
                  </a:lnTo>
                  <a:lnTo>
                    <a:pt x="176" y="2"/>
                  </a:lnTo>
                  <a:lnTo>
                    <a:pt x="165" y="4"/>
                  </a:lnTo>
                  <a:lnTo>
                    <a:pt x="154" y="8"/>
                  </a:lnTo>
                  <a:lnTo>
                    <a:pt x="143" y="13"/>
                  </a:lnTo>
                  <a:lnTo>
                    <a:pt x="134" y="19"/>
                  </a:lnTo>
                  <a:lnTo>
                    <a:pt x="129" y="22"/>
                  </a:lnTo>
                  <a:lnTo>
                    <a:pt x="123" y="23"/>
                  </a:lnTo>
                  <a:lnTo>
                    <a:pt x="118" y="22"/>
                  </a:lnTo>
                  <a:lnTo>
                    <a:pt x="113" y="20"/>
                  </a:lnTo>
                  <a:lnTo>
                    <a:pt x="106" y="19"/>
                  </a:lnTo>
                  <a:lnTo>
                    <a:pt x="103" y="20"/>
                  </a:lnTo>
                  <a:lnTo>
                    <a:pt x="91" y="25"/>
                  </a:lnTo>
                  <a:lnTo>
                    <a:pt x="85" y="28"/>
                  </a:lnTo>
                  <a:lnTo>
                    <a:pt x="79" y="28"/>
                  </a:lnTo>
                  <a:lnTo>
                    <a:pt x="66" y="28"/>
                  </a:lnTo>
                  <a:lnTo>
                    <a:pt x="55" y="25"/>
                  </a:lnTo>
                  <a:lnTo>
                    <a:pt x="53" y="23"/>
                  </a:lnTo>
                  <a:lnTo>
                    <a:pt x="51" y="19"/>
                  </a:lnTo>
                  <a:lnTo>
                    <a:pt x="50" y="18"/>
                  </a:lnTo>
                  <a:lnTo>
                    <a:pt x="49" y="17"/>
                  </a:lnTo>
                  <a:lnTo>
                    <a:pt x="45" y="17"/>
                  </a:lnTo>
                  <a:lnTo>
                    <a:pt x="41" y="17"/>
                  </a:lnTo>
                  <a:lnTo>
                    <a:pt x="38" y="18"/>
                  </a:lnTo>
                  <a:lnTo>
                    <a:pt x="34" y="20"/>
                  </a:lnTo>
                  <a:lnTo>
                    <a:pt x="33" y="24"/>
                  </a:lnTo>
                  <a:lnTo>
                    <a:pt x="31" y="29"/>
                  </a:lnTo>
                  <a:lnTo>
                    <a:pt x="26" y="30"/>
                  </a:lnTo>
                  <a:lnTo>
                    <a:pt x="24" y="34"/>
                  </a:lnTo>
                  <a:lnTo>
                    <a:pt x="20" y="39"/>
                  </a:lnTo>
                  <a:lnTo>
                    <a:pt x="18" y="44"/>
                  </a:lnTo>
                  <a:lnTo>
                    <a:pt x="13" y="57"/>
                  </a:lnTo>
                  <a:lnTo>
                    <a:pt x="10" y="62"/>
                  </a:lnTo>
                  <a:lnTo>
                    <a:pt x="8" y="65"/>
                  </a:lnTo>
                  <a:lnTo>
                    <a:pt x="4" y="70"/>
                  </a:lnTo>
                  <a:lnTo>
                    <a:pt x="3" y="73"/>
                  </a:lnTo>
                  <a:lnTo>
                    <a:pt x="1" y="77"/>
                  </a:lnTo>
                  <a:lnTo>
                    <a:pt x="3" y="80"/>
                  </a:lnTo>
                  <a:lnTo>
                    <a:pt x="4" y="80"/>
                  </a:lnTo>
                  <a:lnTo>
                    <a:pt x="3" y="80"/>
                  </a:lnTo>
                  <a:lnTo>
                    <a:pt x="6" y="84"/>
                  </a:lnTo>
                  <a:lnTo>
                    <a:pt x="10" y="85"/>
                  </a:lnTo>
                  <a:lnTo>
                    <a:pt x="14" y="87"/>
                  </a:lnTo>
                  <a:lnTo>
                    <a:pt x="19" y="87"/>
                  </a:lnTo>
                  <a:lnTo>
                    <a:pt x="16" y="88"/>
                  </a:lnTo>
                  <a:lnTo>
                    <a:pt x="13" y="89"/>
                  </a:lnTo>
                  <a:lnTo>
                    <a:pt x="5" y="89"/>
                  </a:lnTo>
                  <a:lnTo>
                    <a:pt x="8" y="93"/>
                  </a:lnTo>
                  <a:lnTo>
                    <a:pt x="13" y="95"/>
                  </a:lnTo>
                  <a:lnTo>
                    <a:pt x="23" y="100"/>
                  </a:lnTo>
                  <a:lnTo>
                    <a:pt x="30" y="104"/>
                  </a:lnTo>
                  <a:lnTo>
                    <a:pt x="38" y="108"/>
                  </a:lnTo>
                  <a:lnTo>
                    <a:pt x="41" y="111"/>
                  </a:lnTo>
                  <a:lnTo>
                    <a:pt x="44" y="115"/>
                  </a:lnTo>
                  <a:lnTo>
                    <a:pt x="46" y="119"/>
                  </a:lnTo>
                  <a:lnTo>
                    <a:pt x="46" y="124"/>
                  </a:lnTo>
                  <a:lnTo>
                    <a:pt x="40" y="119"/>
                  </a:lnTo>
                  <a:lnTo>
                    <a:pt x="34" y="114"/>
                  </a:lnTo>
                  <a:lnTo>
                    <a:pt x="29" y="108"/>
                  </a:lnTo>
                  <a:lnTo>
                    <a:pt x="21" y="103"/>
                  </a:lnTo>
                  <a:lnTo>
                    <a:pt x="23" y="104"/>
                  </a:lnTo>
                  <a:lnTo>
                    <a:pt x="20" y="104"/>
                  </a:lnTo>
                  <a:lnTo>
                    <a:pt x="18" y="104"/>
                  </a:lnTo>
                  <a:lnTo>
                    <a:pt x="15" y="103"/>
                  </a:lnTo>
                  <a:lnTo>
                    <a:pt x="11" y="100"/>
                  </a:lnTo>
                  <a:lnTo>
                    <a:pt x="9" y="97"/>
                  </a:lnTo>
                  <a:lnTo>
                    <a:pt x="5" y="95"/>
                  </a:lnTo>
                  <a:lnTo>
                    <a:pt x="1" y="95"/>
                  </a:lnTo>
                  <a:lnTo>
                    <a:pt x="1" y="103"/>
                  </a:lnTo>
                  <a:lnTo>
                    <a:pt x="1" y="109"/>
                  </a:lnTo>
                  <a:lnTo>
                    <a:pt x="1" y="110"/>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a:t>
              </a:r>
              <a:br>
                <a:rPr lang="en-US" sz="800" dirty="0">
                  <a:solidFill>
                    <a:prstClr val="black"/>
                  </a:solidFill>
                  <a:latin typeface="Franklin Gothic Book"/>
                  <a:ea typeface="MS PGothic" charset="0"/>
                  <a:cs typeface="MS PGothic" charset="0"/>
                </a:rPr>
              </a:br>
              <a:r>
                <a:rPr lang="en-US" sz="800" dirty="0">
                  <a:solidFill>
                    <a:prstClr val="black"/>
                  </a:solidFill>
                  <a:latin typeface="Franklin Gothic Book"/>
                  <a:ea typeface="MS PGothic" charset="0"/>
                  <a:cs typeface="MS PGothic" charset="0"/>
                </a:rPr>
                <a:t>Joaquin</a:t>
              </a:r>
            </a:p>
          </p:txBody>
        </p:sp>
        <p:sp>
          <p:nvSpPr>
            <p:cNvPr id="10" name="Stanislaus"/>
            <p:cNvSpPr>
              <a:spLocks/>
            </p:cNvSpPr>
            <p:nvPr/>
          </p:nvSpPr>
          <p:spPr bwMode="auto">
            <a:xfrm>
              <a:off x="2221307" y="5077578"/>
              <a:ext cx="763623" cy="759502"/>
            </a:xfrm>
            <a:custGeom>
              <a:avLst/>
              <a:gdLst>
                <a:gd name="T0" fmla="*/ 2147483647 w 363"/>
                <a:gd name="T1" fmla="*/ 2147483647 h 379"/>
                <a:gd name="T2" fmla="*/ 2147483647 w 363"/>
                <a:gd name="T3" fmla="*/ 2147483647 h 379"/>
                <a:gd name="T4" fmla="*/ 2147483647 w 363"/>
                <a:gd name="T5" fmla="*/ 2147483647 h 379"/>
                <a:gd name="T6" fmla="*/ 2147483647 w 363"/>
                <a:gd name="T7" fmla="*/ 2147483647 h 379"/>
                <a:gd name="T8" fmla="*/ 2147483647 w 363"/>
                <a:gd name="T9" fmla="*/ 2147483647 h 379"/>
                <a:gd name="T10" fmla="*/ 2147483647 w 363"/>
                <a:gd name="T11" fmla="*/ 2147483647 h 379"/>
                <a:gd name="T12" fmla="*/ 2147483647 w 363"/>
                <a:gd name="T13" fmla="*/ 2147483647 h 379"/>
                <a:gd name="T14" fmla="*/ 2147483647 w 363"/>
                <a:gd name="T15" fmla="*/ 2147483647 h 379"/>
                <a:gd name="T16" fmla="*/ 2147483647 w 363"/>
                <a:gd name="T17" fmla="*/ 2147483647 h 379"/>
                <a:gd name="T18" fmla="*/ 2147483647 w 363"/>
                <a:gd name="T19" fmla="*/ 2147483647 h 379"/>
                <a:gd name="T20" fmla="*/ 2147483647 w 363"/>
                <a:gd name="T21" fmla="*/ 2147483647 h 379"/>
                <a:gd name="T22" fmla="*/ 2147483647 w 363"/>
                <a:gd name="T23" fmla="*/ 2147483647 h 379"/>
                <a:gd name="T24" fmla="*/ 2147483647 w 363"/>
                <a:gd name="T25" fmla="*/ 2147483647 h 379"/>
                <a:gd name="T26" fmla="*/ 2147483647 w 363"/>
                <a:gd name="T27" fmla="*/ 2147483647 h 379"/>
                <a:gd name="T28" fmla="*/ 2147483647 w 363"/>
                <a:gd name="T29" fmla="*/ 2147483647 h 379"/>
                <a:gd name="T30" fmla="*/ 2147483647 w 363"/>
                <a:gd name="T31" fmla="*/ 2147483647 h 379"/>
                <a:gd name="T32" fmla="*/ 2147483647 w 363"/>
                <a:gd name="T33" fmla="*/ 2147483647 h 379"/>
                <a:gd name="T34" fmla="*/ 2147483647 w 363"/>
                <a:gd name="T35" fmla="*/ 2147483647 h 379"/>
                <a:gd name="T36" fmla="*/ 2147483647 w 363"/>
                <a:gd name="T37" fmla="*/ 2147483647 h 379"/>
                <a:gd name="T38" fmla="*/ 2147483647 w 363"/>
                <a:gd name="T39" fmla="*/ 2147483647 h 379"/>
                <a:gd name="T40" fmla="*/ 2147483647 w 363"/>
                <a:gd name="T41" fmla="*/ 2147483647 h 379"/>
                <a:gd name="T42" fmla="*/ 2147483647 w 363"/>
                <a:gd name="T43" fmla="*/ 2147483647 h 379"/>
                <a:gd name="T44" fmla="*/ 2147483647 w 363"/>
                <a:gd name="T45" fmla="*/ 2147483647 h 379"/>
                <a:gd name="T46" fmla="*/ 2147483647 w 363"/>
                <a:gd name="T47" fmla="*/ 2147483647 h 379"/>
                <a:gd name="T48" fmla="*/ 2147483647 w 363"/>
                <a:gd name="T49" fmla="*/ 2147483647 h 379"/>
                <a:gd name="T50" fmla="*/ 2147483647 w 363"/>
                <a:gd name="T51" fmla="*/ 2147483647 h 379"/>
                <a:gd name="T52" fmla="*/ 2147483647 w 363"/>
                <a:gd name="T53" fmla="*/ 2147483647 h 379"/>
                <a:gd name="T54" fmla="*/ 2147483647 w 363"/>
                <a:gd name="T55" fmla="*/ 2147483647 h 379"/>
                <a:gd name="T56" fmla="*/ 2147483647 w 363"/>
                <a:gd name="T57" fmla="*/ 2147483647 h 379"/>
                <a:gd name="T58" fmla="*/ 2147483647 w 363"/>
                <a:gd name="T59" fmla="*/ 2147483647 h 379"/>
                <a:gd name="T60" fmla="*/ 2147483647 w 363"/>
                <a:gd name="T61" fmla="*/ 2147483647 h 379"/>
                <a:gd name="T62" fmla="*/ 2147483647 w 363"/>
                <a:gd name="T63" fmla="*/ 2147483647 h 379"/>
                <a:gd name="T64" fmla="*/ 0 w 363"/>
                <a:gd name="T65" fmla="*/ 2147483647 h 379"/>
                <a:gd name="T66" fmla="*/ 2147483647 w 363"/>
                <a:gd name="T67" fmla="*/ 2147483647 h 379"/>
                <a:gd name="T68" fmla="*/ 2147483647 w 363"/>
                <a:gd name="T69" fmla="*/ 2147483647 h 379"/>
                <a:gd name="T70" fmla="*/ 2147483647 w 363"/>
                <a:gd name="T71" fmla="*/ 2147483647 h 379"/>
                <a:gd name="T72" fmla="*/ 2147483647 w 363"/>
                <a:gd name="T73" fmla="*/ 2147483647 h 379"/>
                <a:gd name="T74" fmla="*/ 2147483647 w 363"/>
                <a:gd name="T75" fmla="*/ 2147483647 h 379"/>
                <a:gd name="T76" fmla="*/ 2147483647 w 363"/>
                <a:gd name="T77" fmla="*/ 2147483647 h 379"/>
                <a:gd name="T78" fmla="*/ 2147483647 w 363"/>
                <a:gd name="T79" fmla="*/ 2147483647 h 379"/>
                <a:gd name="T80" fmla="*/ 2147483647 w 363"/>
                <a:gd name="T81" fmla="*/ 2147483647 h 379"/>
                <a:gd name="T82" fmla="*/ 2147483647 w 363"/>
                <a:gd name="T83" fmla="*/ 2147483647 h 379"/>
                <a:gd name="T84" fmla="*/ 2147483647 w 363"/>
                <a:gd name="T85" fmla="*/ 2147483647 h 379"/>
                <a:gd name="T86" fmla="*/ 2147483647 w 363"/>
                <a:gd name="T87" fmla="*/ 2147483647 h 379"/>
                <a:gd name="T88" fmla="*/ 2147483647 w 363"/>
                <a:gd name="T89" fmla="*/ 2147483647 h 379"/>
                <a:gd name="T90" fmla="*/ 2147483647 w 363"/>
                <a:gd name="T91" fmla="*/ 2147483647 h 379"/>
                <a:gd name="T92" fmla="*/ 2147483647 w 363"/>
                <a:gd name="T93" fmla="*/ 2147483647 h 379"/>
                <a:gd name="T94" fmla="*/ 2147483647 w 363"/>
                <a:gd name="T95" fmla="*/ 2147483647 h 379"/>
                <a:gd name="T96" fmla="*/ 2147483647 w 363"/>
                <a:gd name="T97" fmla="*/ 2147483647 h 379"/>
                <a:gd name="T98" fmla="*/ 2147483647 w 363"/>
                <a:gd name="T99" fmla="*/ 2147483647 h 379"/>
                <a:gd name="T100" fmla="*/ 2147483647 w 363"/>
                <a:gd name="T101" fmla="*/ 2147483647 h 379"/>
                <a:gd name="T102" fmla="*/ 2147483647 w 363"/>
                <a:gd name="T103" fmla="*/ 2147483647 h 379"/>
                <a:gd name="T104" fmla="*/ 2147483647 w 363"/>
                <a:gd name="T105" fmla="*/ 2147483647 h 379"/>
                <a:gd name="T106" fmla="*/ 2147483647 w 363"/>
                <a:gd name="T107" fmla="*/ 2147483647 h 379"/>
                <a:gd name="T108" fmla="*/ 2147483647 w 363"/>
                <a:gd name="T109" fmla="*/ 2147483647 h 379"/>
                <a:gd name="T110" fmla="*/ 2147483647 w 363"/>
                <a:gd name="T111" fmla="*/ 2147483647 h 379"/>
                <a:gd name="T112" fmla="*/ 2147483647 w 363"/>
                <a:gd name="T113" fmla="*/ 2147483647 h 379"/>
                <a:gd name="T114" fmla="*/ 2147483647 w 363"/>
                <a:gd name="T115" fmla="*/ 2147483647 h 379"/>
                <a:gd name="T116" fmla="*/ 2147483647 w 363"/>
                <a:gd name="T117" fmla="*/ 2147483647 h 3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3" h="379">
                  <a:moveTo>
                    <a:pt x="160" y="308"/>
                  </a:moveTo>
                  <a:lnTo>
                    <a:pt x="165" y="303"/>
                  </a:lnTo>
                  <a:lnTo>
                    <a:pt x="167" y="299"/>
                  </a:lnTo>
                  <a:lnTo>
                    <a:pt x="167" y="296"/>
                  </a:lnTo>
                  <a:lnTo>
                    <a:pt x="167" y="289"/>
                  </a:lnTo>
                  <a:lnTo>
                    <a:pt x="165" y="282"/>
                  </a:lnTo>
                  <a:lnTo>
                    <a:pt x="165" y="278"/>
                  </a:lnTo>
                  <a:lnTo>
                    <a:pt x="165" y="276"/>
                  </a:lnTo>
                  <a:lnTo>
                    <a:pt x="167" y="273"/>
                  </a:lnTo>
                  <a:lnTo>
                    <a:pt x="171" y="272"/>
                  </a:lnTo>
                  <a:lnTo>
                    <a:pt x="180" y="268"/>
                  </a:lnTo>
                  <a:lnTo>
                    <a:pt x="190" y="264"/>
                  </a:lnTo>
                  <a:lnTo>
                    <a:pt x="198" y="262"/>
                  </a:lnTo>
                  <a:lnTo>
                    <a:pt x="281" y="222"/>
                  </a:lnTo>
                  <a:lnTo>
                    <a:pt x="363" y="183"/>
                  </a:lnTo>
                  <a:lnTo>
                    <a:pt x="363" y="178"/>
                  </a:lnTo>
                  <a:lnTo>
                    <a:pt x="359" y="173"/>
                  </a:lnTo>
                  <a:lnTo>
                    <a:pt x="356" y="168"/>
                  </a:lnTo>
                  <a:lnTo>
                    <a:pt x="346" y="158"/>
                  </a:lnTo>
                  <a:lnTo>
                    <a:pt x="334" y="151"/>
                  </a:lnTo>
                  <a:lnTo>
                    <a:pt x="324" y="143"/>
                  </a:lnTo>
                  <a:lnTo>
                    <a:pt x="278" y="101"/>
                  </a:lnTo>
                  <a:lnTo>
                    <a:pt x="185" y="0"/>
                  </a:lnTo>
                  <a:lnTo>
                    <a:pt x="185" y="15"/>
                  </a:lnTo>
                  <a:lnTo>
                    <a:pt x="185" y="31"/>
                  </a:lnTo>
                  <a:lnTo>
                    <a:pt x="186" y="62"/>
                  </a:lnTo>
                  <a:lnTo>
                    <a:pt x="186" y="115"/>
                  </a:lnTo>
                  <a:lnTo>
                    <a:pt x="186" y="125"/>
                  </a:lnTo>
                  <a:lnTo>
                    <a:pt x="186" y="130"/>
                  </a:lnTo>
                  <a:lnTo>
                    <a:pt x="185" y="133"/>
                  </a:lnTo>
                  <a:lnTo>
                    <a:pt x="182" y="136"/>
                  </a:lnTo>
                  <a:lnTo>
                    <a:pt x="180" y="136"/>
                  </a:lnTo>
                  <a:lnTo>
                    <a:pt x="176" y="136"/>
                  </a:lnTo>
                  <a:lnTo>
                    <a:pt x="172" y="135"/>
                  </a:lnTo>
                  <a:lnTo>
                    <a:pt x="163" y="132"/>
                  </a:lnTo>
                  <a:lnTo>
                    <a:pt x="160" y="131"/>
                  </a:lnTo>
                  <a:lnTo>
                    <a:pt x="156" y="131"/>
                  </a:lnTo>
                  <a:lnTo>
                    <a:pt x="153" y="132"/>
                  </a:lnTo>
                  <a:lnTo>
                    <a:pt x="150" y="135"/>
                  </a:lnTo>
                  <a:lnTo>
                    <a:pt x="147" y="137"/>
                  </a:lnTo>
                  <a:lnTo>
                    <a:pt x="146" y="136"/>
                  </a:lnTo>
                  <a:lnTo>
                    <a:pt x="143" y="135"/>
                  </a:lnTo>
                  <a:lnTo>
                    <a:pt x="141" y="133"/>
                  </a:lnTo>
                  <a:lnTo>
                    <a:pt x="137" y="135"/>
                  </a:lnTo>
                  <a:lnTo>
                    <a:pt x="131" y="137"/>
                  </a:lnTo>
                  <a:lnTo>
                    <a:pt x="123" y="140"/>
                  </a:lnTo>
                  <a:lnTo>
                    <a:pt x="115" y="143"/>
                  </a:lnTo>
                  <a:lnTo>
                    <a:pt x="112" y="145"/>
                  </a:lnTo>
                  <a:lnTo>
                    <a:pt x="110" y="145"/>
                  </a:lnTo>
                  <a:lnTo>
                    <a:pt x="107" y="145"/>
                  </a:lnTo>
                  <a:lnTo>
                    <a:pt x="105" y="146"/>
                  </a:lnTo>
                  <a:lnTo>
                    <a:pt x="105" y="148"/>
                  </a:lnTo>
                  <a:lnTo>
                    <a:pt x="105" y="150"/>
                  </a:lnTo>
                  <a:lnTo>
                    <a:pt x="104" y="151"/>
                  </a:lnTo>
                  <a:lnTo>
                    <a:pt x="102" y="152"/>
                  </a:lnTo>
                  <a:lnTo>
                    <a:pt x="100" y="153"/>
                  </a:lnTo>
                  <a:lnTo>
                    <a:pt x="99" y="157"/>
                  </a:lnTo>
                  <a:lnTo>
                    <a:pt x="97" y="158"/>
                  </a:lnTo>
                  <a:lnTo>
                    <a:pt x="96" y="158"/>
                  </a:lnTo>
                  <a:lnTo>
                    <a:pt x="94" y="157"/>
                  </a:lnTo>
                  <a:lnTo>
                    <a:pt x="85" y="160"/>
                  </a:lnTo>
                  <a:lnTo>
                    <a:pt x="75" y="171"/>
                  </a:lnTo>
                  <a:lnTo>
                    <a:pt x="45" y="200"/>
                  </a:lnTo>
                  <a:lnTo>
                    <a:pt x="22" y="221"/>
                  </a:lnTo>
                  <a:lnTo>
                    <a:pt x="11" y="232"/>
                  </a:lnTo>
                  <a:lnTo>
                    <a:pt x="0" y="241"/>
                  </a:lnTo>
                  <a:lnTo>
                    <a:pt x="0" y="246"/>
                  </a:lnTo>
                  <a:lnTo>
                    <a:pt x="1" y="249"/>
                  </a:lnTo>
                  <a:lnTo>
                    <a:pt x="4" y="258"/>
                  </a:lnTo>
                  <a:lnTo>
                    <a:pt x="4" y="262"/>
                  </a:lnTo>
                  <a:lnTo>
                    <a:pt x="2" y="266"/>
                  </a:lnTo>
                  <a:lnTo>
                    <a:pt x="4" y="269"/>
                  </a:lnTo>
                  <a:lnTo>
                    <a:pt x="6" y="273"/>
                  </a:lnTo>
                  <a:lnTo>
                    <a:pt x="7" y="274"/>
                  </a:lnTo>
                  <a:lnTo>
                    <a:pt x="10" y="276"/>
                  </a:lnTo>
                  <a:lnTo>
                    <a:pt x="15" y="277"/>
                  </a:lnTo>
                  <a:lnTo>
                    <a:pt x="17" y="278"/>
                  </a:lnTo>
                  <a:lnTo>
                    <a:pt x="19" y="279"/>
                  </a:lnTo>
                  <a:lnTo>
                    <a:pt x="20" y="282"/>
                  </a:lnTo>
                  <a:lnTo>
                    <a:pt x="19" y="284"/>
                  </a:lnTo>
                  <a:lnTo>
                    <a:pt x="19" y="288"/>
                  </a:lnTo>
                  <a:lnTo>
                    <a:pt x="19" y="292"/>
                  </a:lnTo>
                  <a:lnTo>
                    <a:pt x="20" y="299"/>
                  </a:lnTo>
                  <a:lnTo>
                    <a:pt x="21" y="307"/>
                  </a:lnTo>
                  <a:lnTo>
                    <a:pt x="20" y="309"/>
                  </a:lnTo>
                  <a:lnTo>
                    <a:pt x="17" y="313"/>
                  </a:lnTo>
                  <a:lnTo>
                    <a:pt x="14" y="316"/>
                  </a:lnTo>
                  <a:lnTo>
                    <a:pt x="11" y="317"/>
                  </a:lnTo>
                  <a:lnTo>
                    <a:pt x="9" y="319"/>
                  </a:lnTo>
                  <a:lnTo>
                    <a:pt x="7" y="326"/>
                  </a:lnTo>
                  <a:lnTo>
                    <a:pt x="7" y="332"/>
                  </a:lnTo>
                  <a:lnTo>
                    <a:pt x="9" y="337"/>
                  </a:lnTo>
                  <a:lnTo>
                    <a:pt x="11" y="340"/>
                  </a:lnTo>
                  <a:lnTo>
                    <a:pt x="15" y="344"/>
                  </a:lnTo>
                  <a:lnTo>
                    <a:pt x="19" y="347"/>
                  </a:lnTo>
                  <a:lnTo>
                    <a:pt x="20" y="352"/>
                  </a:lnTo>
                  <a:lnTo>
                    <a:pt x="24" y="362"/>
                  </a:lnTo>
                  <a:lnTo>
                    <a:pt x="25" y="365"/>
                  </a:lnTo>
                  <a:lnTo>
                    <a:pt x="27" y="369"/>
                  </a:lnTo>
                  <a:lnTo>
                    <a:pt x="30" y="372"/>
                  </a:lnTo>
                  <a:lnTo>
                    <a:pt x="35" y="372"/>
                  </a:lnTo>
                  <a:lnTo>
                    <a:pt x="34" y="367"/>
                  </a:lnTo>
                  <a:lnTo>
                    <a:pt x="35" y="364"/>
                  </a:lnTo>
                  <a:lnTo>
                    <a:pt x="39" y="363"/>
                  </a:lnTo>
                  <a:lnTo>
                    <a:pt x="42" y="363"/>
                  </a:lnTo>
                  <a:lnTo>
                    <a:pt x="52" y="364"/>
                  </a:lnTo>
                  <a:lnTo>
                    <a:pt x="60" y="365"/>
                  </a:lnTo>
                  <a:lnTo>
                    <a:pt x="64" y="365"/>
                  </a:lnTo>
                  <a:lnTo>
                    <a:pt x="66" y="364"/>
                  </a:lnTo>
                  <a:lnTo>
                    <a:pt x="69" y="363"/>
                  </a:lnTo>
                  <a:lnTo>
                    <a:pt x="71" y="363"/>
                  </a:lnTo>
                  <a:lnTo>
                    <a:pt x="72" y="365"/>
                  </a:lnTo>
                  <a:lnTo>
                    <a:pt x="87" y="379"/>
                  </a:lnTo>
                  <a:lnTo>
                    <a:pt x="131" y="339"/>
                  </a:lnTo>
                  <a:lnTo>
                    <a:pt x="131" y="335"/>
                  </a:lnTo>
                  <a:lnTo>
                    <a:pt x="133" y="332"/>
                  </a:lnTo>
                  <a:lnTo>
                    <a:pt x="142" y="323"/>
                  </a:lnTo>
                  <a:lnTo>
                    <a:pt x="158" y="308"/>
                  </a:lnTo>
                  <a:lnTo>
                    <a:pt x="160" y="308"/>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tanislaus</a:t>
              </a:r>
            </a:p>
          </p:txBody>
        </p:sp>
        <p:sp>
          <p:nvSpPr>
            <p:cNvPr id="11" name="Merced"/>
            <p:cNvSpPr>
              <a:spLocks/>
            </p:cNvSpPr>
            <p:nvPr/>
          </p:nvSpPr>
          <p:spPr bwMode="auto">
            <a:xfrm>
              <a:off x="2393806" y="5446304"/>
              <a:ext cx="841456" cy="709407"/>
            </a:xfrm>
            <a:custGeom>
              <a:avLst/>
              <a:gdLst>
                <a:gd name="T0" fmla="*/ 2147483647 w 400"/>
                <a:gd name="T1" fmla="*/ 2147483647 h 354"/>
                <a:gd name="T2" fmla="*/ 2147483647 w 400"/>
                <a:gd name="T3" fmla="*/ 2147483647 h 354"/>
                <a:gd name="T4" fmla="*/ 2147483647 w 400"/>
                <a:gd name="T5" fmla="*/ 2147483647 h 354"/>
                <a:gd name="T6" fmla="*/ 2147483647 w 400"/>
                <a:gd name="T7" fmla="*/ 2147483647 h 354"/>
                <a:gd name="T8" fmla="*/ 2147483647 w 400"/>
                <a:gd name="T9" fmla="*/ 2147483647 h 354"/>
                <a:gd name="T10" fmla="*/ 2147483647 w 400"/>
                <a:gd name="T11" fmla="*/ 2147483647 h 354"/>
                <a:gd name="T12" fmla="*/ 2147483647 w 400"/>
                <a:gd name="T13" fmla="*/ 2147483647 h 354"/>
                <a:gd name="T14" fmla="*/ 2147483647 w 400"/>
                <a:gd name="T15" fmla="*/ 2147483647 h 354"/>
                <a:gd name="T16" fmla="*/ 2147483647 w 400"/>
                <a:gd name="T17" fmla="*/ 2147483647 h 354"/>
                <a:gd name="T18" fmla="*/ 2147483647 w 400"/>
                <a:gd name="T19" fmla="*/ 2147483647 h 354"/>
                <a:gd name="T20" fmla="*/ 2147483647 w 400"/>
                <a:gd name="T21" fmla="*/ 2147483647 h 354"/>
                <a:gd name="T22" fmla="*/ 2147483647 w 400"/>
                <a:gd name="T23" fmla="*/ 2147483647 h 354"/>
                <a:gd name="T24" fmla="*/ 2147483647 w 400"/>
                <a:gd name="T25" fmla="*/ 2147483647 h 354"/>
                <a:gd name="T26" fmla="*/ 2147483647 w 400"/>
                <a:gd name="T27" fmla="*/ 2147483647 h 354"/>
                <a:gd name="T28" fmla="*/ 2147483647 w 400"/>
                <a:gd name="T29" fmla="*/ 2147483647 h 354"/>
                <a:gd name="T30" fmla="*/ 2147483647 w 400"/>
                <a:gd name="T31" fmla="*/ 2147483647 h 354"/>
                <a:gd name="T32" fmla="*/ 2147483647 w 400"/>
                <a:gd name="T33" fmla="*/ 2147483647 h 354"/>
                <a:gd name="T34" fmla="*/ 2147483647 w 400"/>
                <a:gd name="T35" fmla="*/ 2147483647 h 354"/>
                <a:gd name="T36" fmla="*/ 2147483647 w 400"/>
                <a:gd name="T37" fmla="*/ 2147483647 h 354"/>
                <a:gd name="T38" fmla="*/ 2147483647 w 400"/>
                <a:gd name="T39" fmla="*/ 2147483647 h 354"/>
                <a:gd name="T40" fmla="*/ 2147483647 w 400"/>
                <a:gd name="T41" fmla="*/ 2147483647 h 354"/>
                <a:gd name="T42" fmla="*/ 2147483647 w 400"/>
                <a:gd name="T43" fmla="*/ 2147483647 h 354"/>
                <a:gd name="T44" fmla="*/ 2147483647 w 400"/>
                <a:gd name="T45" fmla="*/ 2147483647 h 354"/>
                <a:gd name="T46" fmla="*/ 2147483647 w 400"/>
                <a:gd name="T47" fmla="*/ 2147483647 h 354"/>
                <a:gd name="T48" fmla="*/ 2147483647 w 400"/>
                <a:gd name="T49" fmla="*/ 2147483647 h 354"/>
                <a:gd name="T50" fmla="*/ 2147483647 w 400"/>
                <a:gd name="T51" fmla="*/ 2147483647 h 354"/>
                <a:gd name="T52" fmla="*/ 2147483647 w 400"/>
                <a:gd name="T53" fmla="*/ 2147483647 h 354"/>
                <a:gd name="T54" fmla="*/ 2147483647 w 400"/>
                <a:gd name="T55" fmla="*/ 2147483647 h 354"/>
                <a:gd name="T56" fmla="*/ 2147483647 w 400"/>
                <a:gd name="T57" fmla="*/ 0 h 354"/>
                <a:gd name="T58" fmla="*/ 2147483647 w 400"/>
                <a:gd name="T59" fmla="*/ 2147483647 h 354"/>
                <a:gd name="T60" fmla="*/ 2147483647 w 400"/>
                <a:gd name="T61" fmla="*/ 2147483647 h 354"/>
                <a:gd name="T62" fmla="*/ 2147483647 w 400"/>
                <a:gd name="T63" fmla="*/ 2147483647 h 354"/>
                <a:gd name="T64" fmla="*/ 2147483647 w 400"/>
                <a:gd name="T65" fmla="*/ 2147483647 h 354"/>
                <a:gd name="T66" fmla="*/ 2147483647 w 400"/>
                <a:gd name="T67" fmla="*/ 2147483647 h 354"/>
                <a:gd name="T68" fmla="*/ 2147483647 w 400"/>
                <a:gd name="T69" fmla="*/ 2147483647 h 354"/>
                <a:gd name="T70" fmla="*/ 2147483647 w 400"/>
                <a:gd name="T71" fmla="*/ 2147483647 h 354"/>
                <a:gd name="T72" fmla="*/ 2147483647 w 400"/>
                <a:gd name="T73" fmla="*/ 2147483647 h 354"/>
                <a:gd name="T74" fmla="*/ 2147483647 w 400"/>
                <a:gd name="T75" fmla="*/ 2147483647 h 354"/>
                <a:gd name="T76" fmla="*/ 2147483647 w 400"/>
                <a:gd name="T77" fmla="*/ 2147483647 h 354"/>
                <a:gd name="T78" fmla="*/ 2147483647 w 400"/>
                <a:gd name="T79" fmla="*/ 2147483647 h 354"/>
                <a:gd name="T80" fmla="*/ 0 w 400"/>
                <a:gd name="T81" fmla="*/ 2147483647 h 354"/>
                <a:gd name="T82" fmla="*/ 2147483647 w 400"/>
                <a:gd name="T83" fmla="*/ 2147483647 h 354"/>
                <a:gd name="T84" fmla="*/ 2147483647 w 400"/>
                <a:gd name="T85" fmla="*/ 2147483647 h 354"/>
                <a:gd name="T86" fmla="*/ 2147483647 w 400"/>
                <a:gd name="T87" fmla="*/ 2147483647 h 354"/>
                <a:gd name="T88" fmla="*/ 2147483647 w 400"/>
                <a:gd name="T89" fmla="*/ 2147483647 h 354"/>
                <a:gd name="T90" fmla="*/ 0 w 400"/>
                <a:gd name="T91" fmla="*/ 2147483647 h 354"/>
                <a:gd name="T92" fmla="*/ 2147483647 w 400"/>
                <a:gd name="T93" fmla="*/ 2147483647 h 354"/>
                <a:gd name="T94" fmla="*/ 2147483647 w 400"/>
                <a:gd name="T95" fmla="*/ 2147483647 h 354"/>
                <a:gd name="T96" fmla="*/ 2147483647 w 400"/>
                <a:gd name="T97" fmla="*/ 2147483647 h 354"/>
                <a:gd name="T98" fmla="*/ 2147483647 w 400"/>
                <a:gd name="T99" fmla="*/ 2147483647 h 35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00"/>
                <a:gd name="T151" fmla="*/ 0 h 354"/>
                <a:gd name="T152" fmla="*/ 400 w 400"/>
                <a:gd name="T153" fmla="*/ 354 h 35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00" h="354">
                  <a:moveTo>
                    <a:pt x="13" y="283"/>
                  </a:moveTo>
                  <a:lnTo>
                    <a:pt x="23" y="293"/>
                  </a:lnTo>
                  <a:lnTo>
                    <a:pt x="30" y="305"/>
                  </a:lnTo>
                  <a:lnTo>
                    <a:pt x="32" y="307"/>
                  </a:lnTo>
                  <a:lnTo>
                    <a:pt x="33" y="311"/>
                  </a:lnTo>
                  <a:lnTo>
                    <a:pt x="34" y="313"/>
                  </a:lnTo>
                  <a:lnTo>
                    <a:pt x="35" y="316"/>
                  </a:lnTo>
                  <a:lnTo>
                    <a:pt x="45" y="322"/>
                  </a:lnTo>
                  <a:lnTo>
                    <a:pt x="56" y="327"/>
                  </a:lnTo>
                  <a:lnTo>
                    <a:pt x="84" y="338"/>
                  </a:lnTo>
                  <a:lnTo>
                    <a:pt x="98" y="346"/>
                  </a:lnTo>
                  <a:lnTo>
                    <a:pt x="104" y="350"/>
                  </a:lnTo>
                  <a:lnTo>
                    <a:pt x="108" y="354"/>
                  </a:lnTo>
                  <a:lnTo>
                    <a:pt x="171" y="293"/>
                  </a:lnTo>
                  <a:lnTo>
                    <a:pt x="235" y="234"/>
                  </a:lnTo>
                  <a:lnTo>
                    <a:pt x="245" y="222"/>
                  </a:lnTo>
                  <a:lnTo>
                    <a:pt x="251" y="216"/>
                  </a:lnTo>
                  <a:lnTo>
                    <a:pt x="257" y="211"/>
                  </a:lnTo>
                  <a:lnTo>
                    <a:pt x="265" y="210"/>
                  </a:lnTo>
                  <a:lnTo>
                    <a:pt x="276" y="209"/>
                  </a:lnTo>
                  <a:lnTo>
                    <a:pt x="282" y="207"/>
                  </a:lnTo>
                  <a:lnTo>
                    <a:pt x="289" y="206"/>
                  </a:lnTo>
                  <a:lnTo>
                    <a:pt x="302" y="204"/>
                  </a:lnTo>
                  <a:lnTo>
                    <a:pt x="305" y="202"/>
                  </a:lnTo>
                  <a:lnTo>
                    <a:pt x="309" y="200"/>
                  </a:lnTo>
                  <a:lnTo>
                    <a:pt x="315" y="195"/>
                  </a:lnTo>
                  <a:lnTo>
                    <a:pt x="324" y="192"/>
                  </a:lnTo>
                  <a:lnTo>
                    <a:pt x="335" y="191"/>
                  </a:lnTo>
                  <a:lnTo>
                    <a:pt x="361" y="190"/>
                  </a:lnTo>
                  <a:lnTo>
                    <a:pt x="373" y="189"/>
                  </a:lnTo>
                  <a:lnTo>
                    <a:pt x="385" y="187"/>
                  </a:lnTo>
                  <a:lnTo>
                    <a:pt x="390" y="185"/>
                  </a:lnTo>
                  <a:lnTo>
                    <a:pt x="393" y="184"/>
                  </a:lnTo>
                  <a:lnTo>
                    <a:pt x="397" y="180"/>
                  </a:lnTo>
                  <a:lnTo>
                    <a:pt x="400" y="176"/>
                  </a:lnTo>
                  <a:lnTo>
                    <a:pt x="395" y="172"/>
                  </a:lnTo>
                  <a:lnTo>
                    <a:pt x="391" y="169"/>
                  </a:lnTo>
                  <a:lnTo>
                    <a:pt x="387" y="165"/>
                  </a:lnTo>
                  <a:lnTo>
                    <a:pt x="382" y="162"/>
                  </a:lnTo>
                  <a:lnTo>
                    <a:pt x="376" y="161"/>
                  </a:lnTo>
                  <a:lnTo>
                    <a:pt x="370" y="160"/>
                  </a:lnTo>
                  <a:lnTo>
                    <a:pt x="365" y="160"/>
                  </a:lnTo>
                  <a:lnTo>
                    <a:pt x="360" y="157"/>
                  </a:lnTo>
                  <a:lnTo>
                    <a:pt x="356" y="154"/>
                  </a:lnTo>
                  <a:lnTo>
                    <a:pt x="352" y="149"/>
                  </a:lnTo>
                  <a:lnTo>
                    <a:pt x="348" y="138"/>
                  </a:lnTo>
                  <a:lnTo>
                    <a:pt x="345" y="125"/>
                  </a:lnTo>
                  <a:lnTo>
                    <a:pt x="341" y="120"/>
                  </a:lnTo>
                  <a:lnTo>
                    <a:pt x="339" y="115"/>
                  </a:lnTo>
                  <a:lnTo>
                    <a:pt x="334" y="109"/>
                  </a:lnTo>
                  <a:lnTo>
                    <a:pt x="330" y="103"/>
                  </a:lnTo>
                  <a:lnTo>
                    <a:pt x="326" y="89"/>
                  </a:lnTo>
                  <a:lnTo>
                    <a:pt x="322" y="75"/>
                  </a:lnTo>
                  <a:lnTo>
                    <a:pt x="320" y="69"/>
                  </a:lnTo>
                  <a:lnTo>
                    <a:pt x="316" y="64"/>
                  </a:lnTo>
                  <a:lnTo>
                    <a:pt x="307" y="48"/>
                  </a:lnTo>
                  <a:lnTo>
                    <a:pt x="299" y="33"/>
                  </a:lnTo>
                  <a:lnTo>
                    <a:pt x="281" y="0"/>
                  </a:lnTo>
                  <a:lnTo>
                    <a:pt x="199" y="39"/>
                  </a:lnTo>
                  <a:lnTo>
                    <a:pt x="116" y="79"/>
                  </a:lnTo>
                  <a:lnTo>
                    <a:pt x="108" y="81"/>
                  </a:lnTo>
                  <a:lnTo>
                    <a:pt x="98" y="85"/>
                  </a:lnTo>
                  <a:lnTo>
                    <a:pt x="89" y="89"/>
                  </a:lnTo>
                  <a:lnTo>
                    <a:pt x="85" y="90"/>
                  </a:lnTo>
                  <a:lnTo>
                    <a:pt x="83" y="93"/>
                  </a:lnTo>
                  <a:lnTo>
                    <a:pt x="83" y="95"/>
                  </a:lnTo>
                  <a:lnTo>
                    <a:pt x="83" y="99"/>
                  </a:lnTo>
                  <a:lnTo>
                    <a:pt x="85" y="106"/>
                  </a:lnTo>
                  <a:lnTo>
                    <a:pt x="85" y="113"/>
                  </a:lnTo>
                  <a:lnTo>
                    <a:pt x="85" y="116"/>
                  </a:lnTo>
                  <a:lnTo>
                    <a:pt x="83" y="120"/>
                  </a:lnTo>
                  <a:lnTo>
                    <a:pt x="78" y="125"/>
                  </a:lnTo>
                  <a:lnTo>
                    <a:pt x="60" y="140"/>
                  </a:lnTo>
                  <a:lnTo>
                    <a:pt x="51" y="149"/>
                  </a:lnTo>
                  <a:lnTo>
                    <a:pt x="49" y="152"/>
                  </a:lnTo>
                  <a:lnTo>
                    <a:pt x="49" y="156"/>
                  </a:lnTo>
                  <a:lnTo>
                    <a:pt x="5" y="196"/>
                  </a:lnTo>
                  <a:lnTo>
                    <a:pt x="7" y="199"/>
                  </a:lnTo>
                  <a:lnTo>
                    <a:pt x="7" y="201"/>
                  </a:lnTo>
                  <a:lnTo>
                    <a:pt x="5" y="206"/>
                  </a:lnTo>
                  <a:lnTo>
                    <a:pt x="3" y="210"/>
                  </a:lnTo>
                  <a:lnTo>
                    <a:pt x="0" y="214"/>
                  </a:lnTo>
                  <a:lnTo>
                    <a:pt x="2" y="215"/>
                  </a:lnTo>
                  <a:lnTo>
                    <a:pt x="2" y="217"/>
                  </a:lnTo>
                  <a:lnTo>
                    <a:pt x="5" y="221"/>
                  </a:lnTo>
                  <a:lnTo>
                    <a:pt x="7" y="225"/>
                  </a:lnTo>
                  <a:lnTo>
                    <a:pt x="8" y="229"/>
                  </a:lnTo>
                  <a:lnTo>
                    <a:pt x="7" y="232"/>
                  </a:lnTo>
                  <a:lnTo>
                    <a:pt x="4" y="237"/>
                  </a:lnTo>
                  <a:lnTo>
                    <a:pt x="2" y="242"/>
                  </a:lnTo>
                  <a:lnTo>
                    <a:pt x="0" y="247"/>
                  </a:lnTo>
                  <a:lnTo>
                    <a:pt x="0" y="253"/>
                  </a:lnTo>
                  <a:lnTo>
                    <a:pt x="3" y="260"/>
                  </a:lnTo>
                  <a:lnTo>
                    <a:pt x="8" y="267"/>
                  </a:lnTo>
                  <a:lnTo>
                    <a:pt x="4" y="271"/>
                  </a:lnTo>
                  <a:lnTo>
                    <a:pt x="3" y="275"/>
                  </a:lnTo>
                  <a:lnTo>
                    <a:pt x="3" y="277"/>
                  </a:lnTo>
                  <a:lnTo>
                    <a:pt x="4" y="278"/>
                  </a:lnTo>
                  <a:lnTo>
                    <a:pt x="9" y="281"/>
                  </a:lnTo>
                  <a:lnTo>
                    <a:pt x="12" y="283"/>
                  </a:lnTo>
                  <a:lnTo>
                    <a:pt x="13" y="283"/>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 Merced</a:t>
              </a:r>
            </a:p>
          </p:txBody>
        </p:sp>
        <p:sp>
          <p:nvSpPr>
            <p:cNvPr id="12" name="Fresno"/>
            <p:cNvSpPr>
              <a:spLocks/>
            </p:cNvSpPr>
            <p:nvPr/>
          </p:nvSpPr>
          <p:spPr bwMode="auto">
            <a:xfrm>
              <a:off x="2620998" y="5482379"/>
              <a:ext cx="1800714" cy="1336648"/>
            </a:xfrm>
            <a:custGeom>
              <a:avLst/>
              <a:gdLst>
                <a:gd name="T0" fmla="*/ 2147483647 w 856"/>
                <a:gd name="T1" fmla="*/ 2147483647 h 667"/>
                <a:gd name="T2" fmla="*/ 2147483647 w 856"/>
                <a:gd name="T3" fmla="*/ 2147483647 h 667"/>
                <a:gd name="T4" fmla="*/ 2147483647 w 856"/>
                <a:gd name="T5" fmla="*/ 2147483647 h 667"/>
                <a:gd name="T6" fmla="*/ 2147483647 w 856"/>
                <a:gd name="T7" fmla="*/ 2147483647 h 667"/>
                <a:gd name="T8" fmla="*/ 2147483647 w 856"/>
                <a:gd name="T9" fmla="*/ 2147483647 h 667"/>
                <a:gd name="T10" fmla="*/ 2147483647 w 856"/>
                <a:gd name="T11" fmla="*/ 2147483647 h 667"/>
                <a:gd name="T12" fmla="*/ 2147483647 w 856"/>
                <a:gd name="T13" fmla="*/ 2147483647 h 667"/>
                <a:gd name="T14" fmla="*/ 2147483647 w 856"/>
                <a:gd name="T15" fmla="*/ 2147483647 h 667"/>
                <a:gd name="T16" fmla="*/ 2147483647 w 856"/>
                <a:gd name="T17" fmla="*/ 2147483647 h 667"/>
                <a:gd name="T18" fmla="*/ 2147483647 w 856"/>
                <a:gd name="T19" fmla="*/ 2147483647 h 667"/>
                <a:gd name="T20" fmla="*/ 2147483647 w 856"/>
                <a:gd name="T21" fmla="*/ 2147483647 h 667"/>
                <a:gd name="T22" fmla="*/ 2147483647 w 856"/>
                <a:gd name="T23" fmla="*/ 2147483647 h 667"/>
                <a:gd name="T24" fmla="*/ 2147483647 w 856"/>
                <a:gd name="T25" fmla="*/ 2147483647 h 667"/>
                <a:gd name="T26" fmla="*/ 2147483647 w 856"/>
                <a:gd name="T27" fmla="*/ 2147483647 h 667"/>
                <a:gd name="T28" fmla="*/ 2147483647 w 856"/>
                <a:gd name="T29" fmla="*/ 2147483647 h 667"/>
                <a:gd name="T30" fmla="*/ 2147483647 w 856"/>
                <a:gd name="T31" fmla="*/ 2147483647 h 667"/>
                <a:gd name="T32" fmla="*/ 2147483647 w 856"/>
                <a:gd name="T33" fmla="*/ 2147483647 h 667"/>
                <a:gd name="T34" fmla="*/ 2147483647 w 856"/>
                <a:gd name="T35" fmla="*/ 2147483647 h 667"/>
                <a:gd name="T36" fmla="*/ 2147483647 w 856"/>
                <a:gd name="T37" fmla="*/ 2147483647 h 667"/>
                <a:gd name="T38" fmla="*/ 2147483647 w 856"/>
                <a:gd name="T39" fmla="*/ 2147483647 h 667"/>
                <a:gd name="T40" fmla="*/ 2147483647 w 856"/>
                <a:gd name="T41" fmla="*/ 2147483647 h 667"/>
                <a:gd name="T42" fmla="*/ 2147483647 w 856"/>
                <a:gd name="T43" fmla="*/ 2147483647 h 667"/>
                <a:gd name="T44" fmla="*/ 2147483647 w 856"/>
                <a:gd name="T45" fmla="*/ 2147483647 h 667"/>
                <a:gd name="T46" fmla="*/ 2147483647 w 856"/>
                <a:gd name="T47" fmla="*/ 2147483647 h 667"/>
                <a:gd name="T48" fmla="*/ 2147483647 w 856"/>
                <a:gd name="T49" fmla="*/ 2147483647 h 667"/>
                <a:gd name="T50" fmla="*/ 2147483647 w 856"/>
                <a:gd name="T51" fmla="*/ 2147483647 h 667"/>
                <a:gd name="T52" fmla="*/ 2147483647 w 856"/>
                <a:gd name="T53" fmla="*/ 2147483647 h 667"/>
                <a:gd name="T54" fmla="*/ 2147483647 w 856"/>
                <a:gd name="T55" fmla="*/ 2147483647 h 667"/>
                <a:gd name="T56" fmla="*/ 2147483647 w 856"/>
                <a:gd name="T57" fmla="*/ 2147483647 h 667"/>
                <a:gd name="T58" fmla="*/ 2147483647 w 856"/>
                <a:gd name="T59" fmla="*/ 2147483647 h 667"/>
                <a:gd name="T60" fmla="*/ 2147483647 w 856"/>
                <a:gd name="T61" fmla="*/ 2147483647 h 667"/>
                <a:gd name="T62" fmla="*/ 2147483647 w 856"/>
                <a:gd name="T63" fmla="*/ 2147483647 h 667"/>
                <a:gd name="T64" fmla="*/ 2147483647 w 856"/>
                <a:gd name="T65" fmla="*/ 2147483647 h 667"/>
                <a:gd name="T66" fmla="*/ 2147483647 w 856"/>
                <a:gd name="T67" fmla="*/ 2147483647 h 667"/>
                <a:gd name="T68" fmla="*/ 2147483647 w 856"/>
                <a:gd name="T69" fmla="*/ 2147483647 h 667"/>
                <a:gd name="T70" fmla="*/ 2147483647 w 856"/>
                <a:gd name="T71" fmla="*/ 2147483647 h 667"/>
                <a:gd name="T72" fmla="*/ 2147483647 w 856"/>
                <a:gd name="T73" fmla="*/ 2147483647 h 667"/>
                <a:gd name="T74" fmla="*/ 2147483647 w 856"/>
                <a:gd name="T75" fmla="*/ 2147483647 h 667"/>
                <a:gd name="T76" fmla="*/ 2147483647 w 856"/>
                <a:gd name="T77" fmla="*/ 2147483647 h 667"/>
                <a:gd name="T78" fmla="*/ 2147483647 w 856"/>
                <a:gd name="T79" fmla="*/ 2147483647 h 667"/>
                <a:gd name="T80" fmla="*/ 2147483647 w 856"/>
                <a:gd name="T81" fmla="*/ 2147483647 h 667"/>
                <a:gd name="T82" fmla="*/ 2147483647 w 856"/>
                <a:gd name="T83" fmla="*/ 2147483647 h 667"/>
                <a:gd name="T84" fmla="*/ 2147483647 w 856"/>
                <a:gd name="T85" fmla="*/ 2147483647 h 667"/>
                <a:gd name="T86" fmla="*/ 2147483647 w 856"/>
                <a:gd name="T87" fmla="*/ 2147483647 h 667"/>
                <a:gd name="T88" fmla="*/ 2147483647 w 856"/>
                <a:gd name="T89" fmla="*/ 2147483647 h 667"/>
                <a:gd name="T90" fmla="*/ 2147483647 w 856"/>
                <a:gd name="T91" fmla="*/ 2147483647 h 667"/>
                <a:gd name="T92" fmla="*/ 2147483647 w 856"/>
                <a:gd name="T93" fmla="*/ 2147483647 h 667"/>
                <a:gd name="T94" fmla="*/ 2147483647 w 856"/>
                <a:gd name="T95" fmla="*/ 2147483647 h 667"/>
                <a:gd name="T96" fmla="*/ 2147483647 w 856"/>
                <a:gd name="T97" fmla="*/ 2147483647 h 667"/>
                <a:gd name="T98" fmla="*/ 2147483647 w 856"/>
                <a:gd name="T99" fmla="*/ 2147483647 h 667"/>
                <a:gd name="T100" fmla="*/ 2147483647 w 856"/>
                <a:gd name="T101" fmla="*/ 2147483647 h 667"/>
                <a:gd name="T102" fmla="*/ 2147483647 w 856"/>
                <a:gd name="T103" fmla="*/ 2147483647 h 667"/>
                <a:gd name="T104" fmla="*/ 2147483647 w 856"/>
                <a:gd name="T105" fmla="*/ 2147483647 h 667"/>
                <a:gd name="T106" fmla="*/ 2147483647 w 856"/>
                <a:gd name="T107" fmla="*/ 2147483647 h 667"/>
                <a:gd name="T108" fmla="*/ 2147483647 w 856"/>
                <a:gd name="T109" fmla="*/ 2147483647 h 667"/>
                <a:gd name="T110" fmla="*/ 2147483647 w 856"/>
                <a:gd name="T111" fmla="*/ 2147483647 h 667"/>
                <a:gd name="T112" fmla="*/ 2147483647 w 856"/>
                <a:gd name="T113" fmla="*/ 2147483647 h 667"/>
                <a:gd name="T114" fmla="*/ 2147483647 w 856"/>
                <a:gd name="T115" fmla="*/ 2147483647 h 667"/>
                <a:gd name="T116" fmla="*/ 2147483647 w 856"/>
                <a:gd name="T117" fmla="*/ 2147483647 h 667"/>
                <a:gd name="T118" fmla="*/ 2147483647 w 856"/>
                <a:gd name="T119" fmla="*/ 2147483647 h 667"/>
                <a:gd name="T120" fmla="*/ 2147483647 w 856"/>
                <a:gd name="T121" fmla="*/ 2147483647 h 667"/>
                <a:gd name="T122" fmla="*/ 2147483647 w 856"/>
                <a:gd name="T123" fmla="*/ 2147483647 h 66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856" h="667">
                  <a:moveTo>
                    <a:pt x="320" y="556"/>
                  </a:moveTo>
                  <a:lnTo>
                    <a:pt x="322" y="549"/>
                  </a:lnTo>
                  <a:lnTo>
                    <a:pt x="322" y="539"/>
                  </a:lnTo>
                  <a:lnTo>
                    <a:pt x="320" y="520"/>
                  </a:lnTo>
                  <a:lnTo>
                    <a:pt x="322" y="495"/>
                  </a:lnTo>
                  <a:lnTo>
                    <a:pt x="322" y="469"/>
                  </a:lnTo>
                  <a:lnTo>
                    <a:pt x="383" y="470"/>
                  </a:lnTo>
                  <a:lnTo>
                    <a:pt x="388" y="469"/>
                  </a:lnTo>
                  <a:lnTo>
                    <a:pt x="392" y="468"/>
                  </a:lnTo>
                  <a:lnTo>
                    <a:pt x="395" y="465"/>
                  </a:lnTo>
                  <a:lnTo>
                    <a:pt x="399" y="464"/>
                  </a:lnTo>
                  <a:lnTo>
                    <a:pt x="419" y="458"/>
                  </a:lnTo>
                  <a:lnTo>
                    <a:pt x="421" y="458"/>
                  </a:lnTo>
                  <a:lnTo>
                    <a:pt x="423" y="459"/>
                  </a:lnTo>
                  <a:lnTo>
                    <a:pt x="425" y="458"/>
                  </a:lnTo>
                  <a:lnTo>
                    <a:pt x="430" y="454"/>
                  </a:lnTo>
                  <a:lnTo>
                    <a:pt x="451" y="437"/>
                  </a:lnTo>
                  <a:lnTo>
                    <a:pt x="479" y="410"/>
                  </a:lnTo>
                  <a:lnTo>
                    <a:pt x="486" y="405"/>
                  </a:lnTo>
                  <a:lnTo>
                    <a:pt x="491" y="404"/>
                  </a:lnTo>
                  <a:lnTo>
                    <a:pt x="499" y="403"/>
                  </a:lnTo>
                  <a:lnTo>
                    <a:pt x="508" y="404"/>
                  </a:lnTo>
                  <a:lnTo>
                    <a:pt x="524" y="404"/>
                  </a:lnTo>
                  <a:lnTo>
                    <a:pt x="533" y="404"/>
                  </a:lnTo>
                  <a:lnTo>
                    <a:pt x="536" y="403"/>
                  </a:lnTo>
                  <a:lnTo>
                    <a:pt x="538" y="403"/>
                  </a:lnTo>
                  <a:lnTo>
                    <a:pt x="538" y="370"/>
                  </a:lnTo>
                  <a:lnTo>
                    <a:pt x="637" y="370"/>
                  </a:lnTo>
                  <a:lnTo>
                    <a:pt x="642" y="369"/>
                  </a:lnTo>
                  <a:lnTo>
                    <a:pt x="644" y="367"/>
                  </a:lnTo>
                  <a:lnTo>
                    <a:pt x="646" y="363"/>
                  </a:lnTo>
                  <a:lnTo>
                    <a:pt x="646" y="358"/>
                  </a:lnTo>
                  <a:lnTo>
                    <a:pt x="646" y="347"/>
                  </a:lnTo>
                  <a:lnTo>
                    <a:pt x="646" y="338"/>
                  </a:lnTo>
                  <a:lnTo>
                    <a:pt x="647" y="337"/>
                  </a:lnTo>
                  <a:lnTo>
                    <a:pt x="650" y="337"/>
                  </a:lnTo>
                  <a:lnTo>
                    <a:pt x="659" y="337"/>
                  </a:lnTo>
                  <a:lnTo>
                    <a:pt x="675" y="337"/>
                  </a:lnTo>
                  <a:lnTo>
                    <a:pt x="766" y="337"/>
                  </a:lnTo>
                  <a:lnTo>
                    <a:pt x="856" y="335"/>
                  </a:lnTo>
                  <a:lnTo>
                    <a:pt x="853" y="333"/>
                  </a:lnTo>
                  <a:lnTo>
                    <a:pt x="851" y="328"/>
                  </a:lnTo>
                  <a:lnTo>
                    <a:pt x="847" y="317"/>
                  </a:lnTo>
                  <a:lnTo>
                    <a:pt x="845" y="306"/>
                  </a:lnTo>
                  <a:lnTo>
                    <a:pt x="845" y="301"/>
                  </a:lnTo>
                  <a:lnTo>
                    <a:pt x="845" y="297"/>
                  </a:lnTo>
                  <a:lnTo>
                    <a:pt x="848" y="296"/>
                  </a:lnTo>
                  <a:lnTo>
                    <a:pt x="851" y="293"/>
                  </a:lnTo>
                  <a:lnTo>
                    <a:pt x="853" y="291"/>
                  </a:lnTo>
                  <a:lnTo>
                    <a:pt x="853" y="289"/>
                  </a:lnTo>
                  <a:lnTo>
                    <a:pt x="852" y="286"/>
                  </a:lnTo>
                  <a:lnTo>
                    <a:pt x="851" y="281"/>
                  </a:lnTo>
                  <a:lnTo>
                    <a:pt x="847" y="269"/>
                  </a:lnTo>
                  <a:lnTo>
                    <a:pt x="843" y="257"/>
                  </a:lnTo>
                  <a:lnTo>
                    <a:pt x="840" y="244"/>
                  </a:lnTo>
                  <a:lnTo>
                    <a:pt x="835" y="228"/>
                  </a:lnTo>
                  <a:lnTo>
                    <a:pt x="832" y="221"/>
                  </a:lnTo>
                  <a:lnTo>
                    <a:pt x="828" y="215"/>
                  </a:lnTo>
                  <a:lnTo>
                    <a:pt x="823" y="208"/>
                  </a:lnTo>
                  <a:lnTo>
                    <a:pt x="820" y="206"/>
                  </a:lnTo>
                  <a:lnTo>
                    <a:pt x="806" y="200"/>
                  </a:lnTo>
                  <a:lnTo>
                    <a:pt x="793" y="191"/>
                  </a:lnTo>
                  <a:lnTo>
                    <a:pt x="780" y="185"/>
                  </a:lnTo>
                  <a:lnTo>
                    <a:pt x="766" y="178"/>
                  </a:lnTo>
                  <a:lnTo>
                    <a:pt x="758" y="176"/>
                  </a:lnTo>
                  <a:lnTo>
                    <a:pt x="756" y="175"/>
                  </a:lnTo>
                  <a:lnTo>
                    <a:pt x="755" y="171"/>
                  </a:lnTo>
                  <a:lnTo>
                    <a:pt x="753" y="163"/>
                  </a:lnTo>
                  <a:lnTo>
                    <a:pt x="751" y="156"/>
                  </a:lnTo>
                  <a:lnTo>
                    <a:pt x="748" y="147"/>
                  </a:lnTo>
                  <a:lnTo>
                    <a:pt x="747" y="145"/>
                  </a:lnTo>
                  <a:lnTo>
                    <a:pt x="746" y="143"/>
                  </a:lnTo>
                  <a:lnTo>
                    <a:pt x="745" y="141"/>
                  </a:lnTo>
                  <a:lnTo>
                    <a:pt x="745" y="137"/>
                  </a:lnTo>
                  <a:lnTo>
                    <a:pt x="746" y="136"/>
                  </a:lnTo>
                  <a:lnTo>
                    <a:pt x="747" y="136"/>
                  </a:lnTo>
                  <a:lnTo>
                    <a:pt x="750" y="135"/>
                  </a:lnTo>
                  <a:lnTo>
                    <a:pt x="750" y="133"/>
                  </a:lnTo>
                  <a:lnTo>
                    <a:pt x="750" y="128"/>
                  </a:lnTo>
                  <a:lnTo>
                    <a:pt x="746" y="121"/>
                  </a:lnTo>
                  <a:lnTo>
                    <a:pt x="740" y="111"/>
                  </a:lnTo>
                  <a:lnTo>
                    <a:pt x="735" y="107"/>
                  </a:lnTo>
                  <a:lnTo>
                    <a:pt x="731" y="106"/>
                  </a:lnTo>
                  <a:lnTo>
                    <a:pt x="726" y="105"/>
                  </a:lnTo>
                  <a:lnTo>
                    <a:pt x="720" y="102"/>
                  </a:lnTo>
                  <a:lnTo>
                    <a:pt x="716" y="99"/>
                  </a:lnTo>
                  <a:lnTo>
                    <a:pt x="715" y="97"/>
                  </a:lnTo>
                  <a:lnTo>
                    <a:pt x="715" y="96"/>
                  </a:lnTo>
                  <a:lnTo>
                    <a:pt x="716" y="94"/>
                  </a:lnTo>
                  <a:lnTo>
                    <a:pt x="716" y="89"/>
                  </a:lnTo>
                  <a:lnTo>
                    <a:pt x="711" y="77"/>
                  </a:lnTo>
                  <a:lnTo>
                    <a:pt x="711" y="74"/>
                  </a:lnTo>
                  <a:lnTo>
                    <a:pt x="711" y="67"/>
                  </a:lnTo>
                  <a:lnTo>
                    <a:pt x="713" y="62"/>
                  </a:lnTo>
                  <a:lnTo>
                    <a:pt x="716" y="59"/>
                  </a:lnTo>
                  <a:lnTo>
                    <a:pt x="717" y="56"/>
                  </a:lnTo>
                  <a:lnTo>
                    <a:pt x="717" y="55"/>
                  </a:lnTo>
                  <a:lnTo>
                    <a:pt x="716" y="52"/>
                  </a:lnTo>
                  <a:lnTo>
                    <a:pt x="713" y="49"/>
                  </a:lnTo>
                  <a:lnTo>
                    <a:pt x="707" y="44"/>
                  </a:lnTo>
                  <a:lnTo>
                    <a:pt x="702" y="42"/>
                  </a:lnTo>
                  <a:lnTo>
                    <a:pt x="697" y="42"/>
                  </a:lnTo>
                  <a:lnTo>
                    <a:pt x="690" y="41"/>
                  </a:lnTo>
                  <a:lnTo>
                    <a:pt x="687" y="39"/>
                  </a:lnTo>
                  <a:lnTo>
                    <a:pt x="684" y="35"/>
                  </a:lnTo>
                  <a:lnTo>
                    <a:pt x="677" y="29"/>
                  </a:lnTo>
                  <a:lnTo>
                    <a:pt x="672" y="24"/>
                  </a:lnTo>
                  <a:lnTo>
                    <a:pt x="667" y="20"/>
                  </a:lnTo>
                  <a:lnTo>
                    <a:pt x="656" y="13"/>
                  </a:lnTo>
                  <a:lnTo>
                    <a:pt x="644" y="8"/>
                  </a:lnTo>
                  <a:lnTo>
                    <a:pt x="632" y="0"/>
                  </a:lnTo>
                  <a:lnTo>
                    <a:pt x="572" y="57"/>
                  </a:lnTo>
                  <a:lnTo>
                    <a:pt x="562" y="66"/>
                  </a:lnTo>
                  <a:lnTo>
                    <a:pt x="551" y="76"/>
                  </a:lnTo>
                  <a:lnTo>
                    <a:pt x="540" y="85"/>
                  </a:lnTo>
                  <a:lnTo>
                    <a:pt x="536" y="90"/>
                  </a:lnTo>
                  <a:lnTo>
                    <a:pt x="533" y="95"/>
                  </a:lnTo>
                  <a:lnTo>
                    <a:pt x="531" y="99"/>
                  </a:lnTo>
                  <a:lnTo>
                    <a:pt x="530" y="104"/>
                  </a:lnTo>
                  <a:lnTo>
                    <a:pt x="529" y="112"/>
                  </a:lnTo>
                  <a:lnTo>
                    <a:pt x="529" y="122"/>
                  </a:lnTo>
                  <a:lnTo>
                    <a:pt x="530" y="132"/>
                  </a:lnTo>
                  <a:lnTo>
                    <a:pt x="531" y="142"/>
                  </a:lnTo>
                  <a:lnTo>
                    <a:pt x="530" y="151"/>
                  </a:lnTo>
                  <a:lnTo>
                    <a:pt x="529" y="155"/>
                  </a:lnTo>
                  <a:lnTo>
                    <a:pt x="528" y="158"/>
                  </a:lnTo>
                  <a:lnTo>
                    <a:pt x="525" y="161"/>
                  </a:lnTo>
                  <a:lnTo>
                    <a:pt x="521" y="163"/>
                  </a:lnTo>
                  <a:lnTo>
                    <a:pt x="520" y="168"/>
                  </a:lnTo>
                  <a:lnTo>
                    <a:pt x="516" y="171"/>
                  </a:lnTo>
                  <a:lnTo>
                    <a:pt x="513" y="172"/>
                  </a:lnTo>
                  <a:lnTo>
                    <a:pt x="509" y="173"/>
                  </a:lnTo>
                  <a:lnTo>
                    <a:pt x="506" y="172"/>
                  </a:lnTo>
                  <a:lnTo>
                    <a:pt x="505" y="171"/>
                  </a:lnTo>
                  <a:lnTo>
                    <a:pt x="503" y="168"/>
                  </a:lnTo>
                  <a:lnTo>
                    <a:pt x="500" y="168"/>
                  </a:lnTo>
                  <a:lnTo>
                    <a:pt x="498" y="170"/>
                  </a:lnTo>
                  <a:lnTo>
                    <a:pt x="498" y="172"/>
                  </a:lnTo>
                  <a:lnTo>
                    <a:pt x="498" y="173"/>
                  </a:lnTo>
                  <a:lnTo>
                    <a:pt x="496" y="175"/>
                  </a:lnTo>
                  <a:lnTo>
                    <a:pt x="493" y="177"/>
                  </a:lnTo>
                  <a:lnTo>
                    <a:pt x="491" y="180"/>
                  </a:lnTo>
                  <a:lnTo>
                    <a:pt x="489" y="183"/>
                  </a:lnTo>
                  <a:lnTo>
                    <a:pt x="488" y="186"/>
                  </a:lnTo>
                  <a:lnTo>
                    <a:pt x="486" y="187"/>
                  </a:lnTo>
                  <a:lnTo>
                    <a:pt x="484" y="187"/>
                  </a:lnTo>
                  <a:lnTo>
                    <a:pt x="480" y="186"/>
                  </a:lnTo>
                  <a:lnTo>
                    <a:pt x="478" y="183"/>
                  </a:lnTo>
                  <a:lnTo>
                    <a:pt x="476" y="180"/>
                  </a:lnTo>
                  <a:lnTo>
                    <a:pt x="474" y="176"/>
                  </a:lnTo>
                  <a:lnTo>
                    <a:pt x="470" y="175"/>
                  </a:lnTo>
                  <a:lnTo>
                    <a:pt x="470" y="176"/>
                  </a:lnTo>
                  <a:lnTo>
                    <a:pt x="469" y="178"/>
                  </a:lnTo>
                  <a:lnTo>
                    <a:pt x="469" y="182"/>
                  </a:lnTo>
                  <a:lnTo>
                    <a:pt x="466" y="183"/>
                  </a:lnTo>
                  <a:lnTo>
                    <a:pt x="464" y="183"/>
                  </a:lnTo>
                  <a:lnTo>
                    <a:pt x="461" y="182"/>
                  </a:lnTo>
                  <a:lnTo>
                    <a:pt x="456" y="180"/>
                  </a:lnTo>
                  <a:lnTo>
                    <a:pt x="455" y="178"/>
                  </a:lnTo>
                  <a:lnTo>
                    <a:pt x="454" y="180"/>
                  </a:lnTo>
                  <a:lnTo>
                    <a:pt x="453" y="182"/>
                  </a:lnTo>
                  <a:lnTo>
                    <a:pt x="454" y="186"/>
                  </a:lnTo>
                  <a:lnTo>
                    <a:pt x="454" y="190"/>
                  </a:lnTo>
                  <a:lnTo>
                    <a:pt x="455" y="191"/>
                  </a:lnTo>
                  <a:lnTo>
                    <a:pt x="459" y="191"/>
                  </a:lnTo>
                  <a:lnTo>
                    <a:pt x="459" y="192"/>
                  </a:lnTo>
                  <a:lnTo>
                    <a:pt x="456" y="198"/>
                  </a:lnTo>
                  <a:lnTo>
                    <a:pt x="453" y="203"/>
                  </a:lnTo>
                  <a:lnTo>
                    <a:pt x="449" y="205"/>
                  </a:lnTo>
                  <a:lnTo>
                    <a:pt x="446" y="205"/>
                  </a:lnTo>
                  <a:lnTo>
                    <a:pt x="444" y="206"/>
                  </a:lnTo>
                  <a:lnTo>
                    <a:pt x="440" y="210"/>
                  </a:lnTo>
                  <a:lnTo>
                    <a:pt x="438" y="213"/>
                  </a:lnTo>
                  <a:lnTo>
                    <a:pt x="435" y="218"/>
                  </a:lnTo>
                  <a:lnTo>
                    <a:pt x="431" y="221"/>
                  </a:lnTo>
                  <a:lnTo>
                    <a:pt x="429" y="220"/>
                  </a:lnTo>
                  <a:lnTo>
                    <a:pt x="428" y="218"/>
                  </a:lnTo>
                  <a:lnTo>
                    <a:pt x="425" y="220"/>
                  </a:lnTo>
                  <a:lnTo>
                    <a:pt x="423" y="222"/>
                  </a:lnTo>
                  <a:lnTo>
                    <a:pt x="418" y="227"/>
                  </a:lnTo>
                  <a:lnTo>
                    <a:pt x="415" y="229"/>
                  </a:lnTo>
                  <a:lnTo>
                    <a:pt x="411" y="231"/>
                  </a:lnTo>
                  <a:lnTo>
                    <a:pt x="406" y="232"/>
                  </a:lnTo>
                  <a:lnTo>
                    <a:pt x="403" y="234"/>
                  </a:lnTo>
                  <a:lnTo>
                    <a:pt x="399" y="237"/>
                  </a:lnTo>
                  <a:lnTo>
                    <a:pt x="396" y="241"/>
                  </a:lnTo>
                  <a:lnTo>
                    <a:pt x="393" y="248"/>
                  </a:lnTo>
                  <a:lnTo>
                    <a:pt x="389" y="257"/>
                  </a:lnTo>
                  <a:lnTo>
                    <a:pt x="387" y="266"/>
                  </a:lnTo>
                  <a:lnTo>
                    <a:pt x="383" y="274"/>
                  </a:lnTo>
                  <a:lnTo>
                    <a:pt x="377" y="282"/>
                  </a:lnTo>
                  <a:lnTo>
                    <a:pt x="373" y="284"/>
                  </a:lnTo>
                  <a:lnTo>
                    <a:pt x="369" y="288"/>
                  </a:lnTo>
                  <a:lnTo>
                    <a:pt x="363" y="289"/>
                  </a:lnTo>
                  <a:lnTo>
                    <a:pt x="355" y="289"/>
                  </a:lnTo>
                  <a:lnTo>
                    <a:pt x="349" y="289"/>
                  </a:lnTo>
                  <a:lnTo>
                    <a:pt x="343" y="289"/>
                  </a:lnTo>
                  <a:lnTo>
                    <a:pt x="338" y="292"/>
                  </a:lnTo>
                  <a:lnTo>
                    <a:pt x="333" y="294"/>
                  </a:lnTo>
                  <a:lnTo>
                    <a:pt x="328" y="297"/>
                  </a:lnTo>
                  <a:lnTo>
                    <a:pt x="325" y="298"/>
                  </a:lnTo>
                  <a:lnTo>
                    <a:pt x="323" y="297"/>
                  </a:lnTo>
                  <a:lnTo>
                    <a:pt x="318" y="297"/>
                  </a:lnTo>
                  <a:lnTo>
                    <a:pt x="314" y="298"/>
                  </a:lnTo>
                  <a:lnTo>
                    <a:pt x="307" y="301"/>
                  </a:lnTo>
                  <a:lnTo>
                    <a:pt x="300" y="302"/>
                  </a:lnTo>
                  <a:lnTo>
                    <a:pt x="292" y="303"/>
                  </a:lnTo>
                  <a:lnTo>
                    <a:pt x="273" y="304"/>
                  </a:lnTo>
                  <a:lnTo>
                    <a:pt x="264" y="307"/>
                  </a:lnTo>
                  <a:lnTo>
                    <a:pt x="255" y="309"/>
                  </a:lnTo>
                  <a:lnTo>
                    <a:pt x="249" y="313"/>
                  </a:lnTo>
                  <a:lnTo>
                    <a:pt x="247" y="317"/>
                  </a:lnTo>
                  <a:lnTo>
                    <a:pt x="245" y="319"/>
                  </a:lnTo>
                  <a:lnTo>
                    <a:pt x="243" y="318"/>
                  </a:lnTo>
                  <a:lnTo>
                    <a:pt x="236" y="319"/>
                  </a:lnTo>
                  <a:lnTo>
                    <a:pt x="222" y="323"/>
                  </a:lnTo>
                  <a:lnTo>
                    <a:pt x="217" y="324"/>
                  </a:lnTo>
                  <a:lnTo>
                    <a:pt x="213" y="326"/>
                  </a:lnTo>
                  <a:lnTo>
                    <a:pt x="208" y="324"/>
                  </a:lnTo>
                  <a:lnTo>
                    <a:pt x="204" y="323"/>
                  </a:lnTo>
                  <a:lnTo>
                    <a:pt x="197" y="319"/>
                  </a:lnTo>
                  <a:lnTo>
                    <a:pt x="188" y="313"/>
                  </a:lnTo>
                  <a:lnTo>
                    <a:pt x="191" y="318"/>
                  </a:lnTo>
                  <a:lnTo>
                    <a:pt x="183" y="317"/>
                  </a:lnTo>
                  <a:lnTo>
                    <a:pt x="183" y="313"/>
                  </a:lnTo>
                  <a:lnTo>
                    <a:pt x="182" y="309"/>
                  </a:lnTo>
                  <a:lnTo>
                    <a:pt x="181" y="307"/>
                  </a:lnTo>
                  <a:lnTo>
                    <a:pt x="177" y="304"/>
                  </a:lnTo>
                  <a:lnTo>
                    <a:pt x="171" y="301"/>
                  </a:lnTo>
                  <a:lnTo>
                    <a:pt x="166" y="297"/>
                  </a:lnTo>
                  <a:lnTo>
                    <a:pt x="158" y="291"/>
                  </a:lnTo>
                  <a:lnTo>
                    <a:pt x="156" y="286"/>
                  </a:lnTo>
                  <a:lnTo>
                    <a:pt x="154" y="282"/>
                  </a:lnTo>
                  <a:lnTo>
                    <a:pt x="153" y="278"/>
                  </a:lnTo>
                  <a:lnTo>
                    <a:pt x="154" y="274"/>
                  </a:lnTo>
                  <a:lnTo>
                    <a:pt x="156" y="272"/>
                  </a:lnTo>
                  <a:lnTo>
                    <a:pt x="156" y="268"/>
                  </a:lnTo>
                  <a:lnTo>
                    <a:pt x="154" y="261"/>
                  </a:lnTo>
                  <a:lnTo>
                    <a:pt x="151" y="253"/>
                  </a:lnTo>
                  <a:lnTo>
                    <a:pt x="143" y="239"/>
                  </a:lnTo>
                  <a:lnTo>
                    <a:pt x="134" y="227"/>
                  </a:lnTo>
                  <a:lnTo>
                    <a:pt x="127" y="215"/>
                  </a:lnTo>
                  <a:lnTo>
                    <a:pt x="63" y="274"/>
                  </a:lnTo>
                  <a:lnTo>
                    <a:pt x="0" y="335"/>
                  </a:lnTo>
                  <a:lnTo>
                    <a:pt x="56" y="389"/>
                  </a:lnTo>
                  <a:lnTo>
                    <a:pt x="68" y="399"/>
                  </a:lnTo>
                  <a:lnTo>
                    <a:pt x="84" y="412"/>
                  </a:lnTo>
                  <a:lnTo>
                    <a:pt x="99" y="425"/>
                  </a:lnTo>
                  <a:lnTo>
                    <a:pt x="104" y="432"/>
                  </a:lnTo>
                  <a:lnTo>
                    <a:pt x="108" y="438"/>
                  </a:lnTo>
                  <a:lnTo>
                    <a:pt x="109" y="444"/>
                  </a:lnTo>
                  <a:lnTo>
                    <a:pt x="111" y="453"/>
                  </a:lnTo>
                  <a:lnTo>
                    <a:pt x="112" y="463"/>
                  </a:lnTo>
                  <a:lnTo>
                    <a:pt x="111" y="473"/>
                  </a:lnTo>
                  <a:lnTo>
                    <a:pt x="109" y="483"/>
                  </a:lnTo>
                  <a:lnTo>
                    <a:pt x="108" y="491"/>
                  </a:lnTo>
                  <a:lnTo>
                    <a:pt x="104" y="498"/>
                  </a:lnTo>
                  <a:lnTo>
                    <a:pt x="103" y="500"/>
                  </a:lnTo>
                  <a:lnTo>
                    <a:pt x="101" y="501"/>
                  </a:lnTo>
                  <a:lnTo>
                    <a:pt x="93" y="504"/>
                  </a:lnTo>
                  <a:lnTo>
                    <a:pt x="86" y="506"/>
                  </a:lnTo>
                  <a:lnTo>
                    <a:pt x="82" y="509"/>
                  </a:lnTo>
                  <a:lnTo>
                    <a:pt x="81" y="511"/>
                  </a:lnTo>
                  <a:lnTo>
                    <a:pt x="80" y="515"/>
                  </a:lnTo>
                  <a:lnTo>
                    <a:pt x="81" y="520"/>
                  </a:lnTo>
                  <a:lnTo>
                    <a:pt x="82" y="524"/>
                  </a:lnTo>
                  <a:lnTo>
                    <a:pt x="82" y="528"/>
                  </a:lnTo>
                  <a:lnTo>
                    <a:pt x="81" y="530"/>
                  </a:lnTo>
                  <a:lnTo>
                    <a:pt x="82" y="534"/>
                  </a:lnTo>
                  <a:lnTo>
                    <a:pt x="84" y="538"/>
                  </a:lnTo>
                  <a:lnTo>
                    <a:pt x="87" y="539"/>
                  </a:lnTo>
                  <a:lnTo>
                    <a:pt x="92" y="544"/>
                  </a:lnTo>
                  <a:lnTo>
                    <a:pt x="94" y="547"/>
                  </a:lnTo>
                  <a:lnTo>
                    <a:pt x="96" y="550"/>
                  </a:lnTo>
                  <a:lnTo>
                    <a:pt x="94" y="552"/>
                  </a:lnTo>
                  <a:lnTo>
                    <a:pt x="93" y="555"/>
                  </a:lnTo>
                  <a:lnTo>
                    <a:pt x="89" y="560"/>
                  </a:lnTo>
                  <a:lnTo>
                    <a:pt x="87" y="562"/>
                  </a:lnTo>
                  <a:lnTo>
                    <a:pt x="86" y="566"/>
                  </a:lnTo>
                  <a:lnTo>
                    <a:pt x="84" y="570"/>
                  </a:lnTo>
                  <a:lnTo>
                    <a:pt x="86" y="575"/>
                  </a:lnTo>
                  <a:lnTo>
                    <a:pt x="87" y="577"/>
                  </a:lnTo>
                  <a:lnTo>
                    <a:pt x="89" y="581"/>
                  </a:lnTo>
                  <a:lnTo>
                    <a:pt x="94" y="586"/>
                  </a:lnTo>
                  <a:lnTo>
                    <a:pt x="102" y="592"/>
                  </a:lnTo>
                  <a:lnTo>
                    <a:pt x="106" y="594"/>
                  </a:lnTo>
                  <a:lnTo>
                    <a:pt x="111" y="596"/>
                  </a:lnTo>
                  <a:lnTo>
                    <a:pt x="113" y="601"/>
                  </a:lnTo>
                  <a:lnTo>
                    <a:pt x="116" y="607"/>
                  </a:lnTo>
                  <a:lnTo>
                    <a:pt x="119" y="610"/>
                  </a:lnTo>
                  <a:lnTo>
                    <a:pt x="122" y="611"/>
                  </a:lnTo>
                  <a:lnTo>
                    <a:pt x="126" y="614"/>
                  </a:lnTo>
                  <a:lnTo>
                    <a:pt x="127" y="617"/>
                  </a:lnTo>
                  <a:lnTo>
                    <a:pt x="129" y="620"/>
                  </a:lnTo>
                  <a:lnTo>
                    <a:pt x="132" y="620"/>
                  </a:lnTo>
                  <a:lnTo>
                    <a:pt x="134" y="620"/>
                  </a:lnTo>
                  <a:lnTo>
                    <a:pt x="136" y="620"/>
                  </a:lnTo>
                  <a:lnTo>
                    <a:pt x="154" y="634"/>
                  </a:lnTo>
                  <a:lnTo>
                    <a:pt x="161" y="637"/>
                  </a:lnTo>
                  <a:lnTo>
                    <a:pt x="166" y="640"/>
                  </a:lnTo>
                  <a:lnTo>
                    <a:pt x="178" y="644"/>
                  </a:lnTo>
                  <a:lnTo>
                    <a:pt x="182" y="646"/>
                  </a:lnTo>
                  <a:lnTo>
                    <a:pt x="186" y="649"/>
                  </a:lnTo>
                  <a:lnTo>
                    <a:pt x="192" y="655"/>
                  </a:lnTo>
                  <a:lnTo>
                    <a:pt x="197" y="661"/>
                  </a:lnTo>
                  <a:lnTo>
                    <a:pt x="201" y="665"/>
                  </a:lnTo>
                  <a:lnTo>
                    <a:pt x="204" y="667"/>
                  </a:lnTo>
                  <a:lnTo>
                    <a:pt x="248" y="624"/>
                  </a:lnTo>
                  <a:lnTo>
                    <a:pt x="292" y="582"/>
                  </a:lnTo>
                  <a:lnTo>
                    <a:pt x="308" y="570"/>
                  </a:lnTo>
                  <a:lnTo>
                    <a:pt x="315" y="564"/>
                  </a:lnTo>
                  <a:lnTo>
                    <a:pt x="318" y="560"/>
                  </a:lnTo>
                  <a:lnTo>
                    <a:pt x="319" y="556"/>
                  </a:lnTo>
                  <a:lnTo>
                    <a:pt x="320" y="556"/>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Fresno</a:t>
              </a:r>
            </a:p>
          </p:txBody>
        </p:sp>
        <p:sp>
          <p:nvSpPr>
            <p:cNvPr id="13" name="Kern"/>
            <p:cNvSpPr>
              <a:spLocks/>
            </p:cNvSpPr>
            <p:nvPr/>
          </p:nvSpPr>
          <p:spPr bwMode="auto">
            <a:xfrm>
              <a:off x="3127974" y="6909203"/>
              <a:ext cx="1807025" cy="797579"/>
            </a:xfrm>
            <a:custGeom>
              <a:avLst/>
              <a:gdLst>
                <a:gd name="T0" fmla="*/ 2147483647 w 859"/>
                <a:gd name="T1" fmla="*/ 2147483647 h 398"/>
                <a:gd name="T2" fmla="*/ 2147483647 w 859"/>
                <a:gd name="T3" fmla="*/ 2147483647 h 398"/>
                <a:gd name="T4" fmla="*/ 2147483647 w 859"/>
                <a:gd name="T5" fmla="*/ 2147483647 h 398"/>
                <a:gd name="T6" fmla="*/ 2147483647 w 859"/>
                <a:gd name="T7" fmla="*/ 2147483647 h 398"/>
                <a:gd name="T8" fmla="*/ 2147483647 w 859"/>
                <a:gd name="T9" fmla="*/ 2147483647 h 398"/>
                <a:gd name="T10" fmla="*/ 2147483647 w 859"/>
                <a:gd name="T11" fmla="*/ 2147483647 h 398"/>
                <a:gd name="T12" fmla="*/ 2147483647 w 859"/>
                <a:gd name="T13" fmla="*/ 2147483647 h 398"/>
                <a:gd name="T14" fmla="*/ 2147483647 w 859"/>
                <a:gd name="T15" fmla="*/ 2147483647 h 398"/>
                <a:gd name="T16" fmla="*/ 2147483647 w 859"/>
                <a:gd name="T17" fmla="*/ 0 h 398"/>
                <a:gd name="T18" fmla="*/ 2147483647 w 859"/>
                <a:gd name="T19" fmla="*/ 2147483647 h 398"/>
                <a:gd name="T20" fmla="*/ 2147483647 w 859"/>
                <a:gd name="T21" fmla="*/ 2147483647 h 398"/>
                <a:gd name="T22" fmla="*/ 2147483647 w 859"/>
                <a:gd name="T23" fmla="*/ 2147483647 h 398"/>
                <a:gd name="T24" fmla="*/ 2147483647 w 859"/>
                <a:gd name="T25" fmla="*/ 2147483647 h 398"/>
                <a:gd name="T26" fmla="*/ 2147483647 w 859"/>
                <a:gd name="T27" fmla="*/ 2147483647 h 398"/>
                <a:gd name="T28" fmla="*/ 2147483647 w 859"/>
                <a:gd name="T29" fmla="*/ 2147483647 h 398"/>
                <a:gd name="T30" fmla="*/ 2147483647 w 859"/>
                <a:gd name="T31" fmla="*/ 2147483647 h 398"/>
                <a:gd name="T32" fmla="*/ 2147483647 w 859"/>
                <a:gd name="T33" fmla="*/ 2147483647 h 398"/>
                <a:gd name="T34" fmla="*/ 2147483647 w 859"/>
                <a:gd name="T35" fmla="*/ 2147483647 h 398"/>
                <a:gd name="T36" fmla="*/ 2147483647 w 859"/>
                <a:gd name="T37" fmla="*/ 2147483647 h 398"/>
                <a:gd name="T38" fmla="*/ 2147483647 w 859"/>
                <a:gd name="T39" fmla="*/ 2147483647 h 398"/>
                <a:gd name="T40" fmla="*/ 2147483647 w 859"/>
                <a:gd name="T41" fmla="*/ 2147483647 h 398"/>
                <a:gd name="T42" fmla="*/ 2147483647 w 859"/>
                <a:gd name="T43" fmla="*/ 2147483647 h 398"/>
                <a:gd name="T44" fmla="*/ 2147483647 w 859"/>
                <a:gd name="T45" fmla="*/ 2147483647 h 398"/>
                <a:gd name="T46" fmla="*/ 2147483647 w 859"/>
                <a:gd name="T47" fmla="*/ 2147483647 h 398"/>
                <a:gd name="T48" fmla="*/ 2147483647 w 859"/>
                <a:gd name="T49" fmla="*/ 2147483647 h 398"/>
                <a:gd name="T50" fmla="*/ 2147483647 w 859"/>
                <a:gd name="T51" fmla="*/ 2147483647 h 398"/>
                <a:gd name="T52" fmla="*/ 2147483647 w 859"/>
                <a:gd name="T53" fmla="*/ 2147483647 h 398"/>
                <a:gd name="T54" fmla="*/ 2147483647 w 859"/>
                <a:gd name="T55" fmla="*/ 2147483647 h 398"/>
                <a:gd name="T56" fmla="*/ 2147483647 w 859"/>
                <a:gd name="T57" fmla="*/ 2147483647 h 398"/>
                <a:gd name="T58" fmla="*/ 2147483647 w 859"/>
                <a:gd name="T59" fmla="*/ 2147483647 h 398"/>
                <a:gd name="T60" fmla="*/ 2147483647 w 859"/>
                <a:gd name="T61" fmla="*/ 2147483647 h 398"/>
                <a:gd name="T62" fmla="*/ 2147483647 w 859"/>
                <a:gd name="T63" fmla="*/ 2147483647 h 398"/>
                <a:gd name="T64" fmla="*/ 2147483647 w 859"/>
                <a:gd name="T65" fmla="*/ 2147483647 h 398"/>
                <a:gd name="T66" fmla="*/ 2147483647 w 859"/>
                <a:gd name="T67" fmla="*/ 2147483647 h 398"/>
                <a:gd name="T68" fmla="*/ 2147483647 w 859"/>
                <a:gd name="T69" fmla="*/ 2147483647 h 398"/>
                <a:gd name="T70" fmla="*/ 2147483647 w 859"/>
                <a:gd name="T71" fmla="*/ 2147483647 h 398"/>
                <a:gd name="T72" fmla="*/ 2147483647 w 859"/>
                <a:gd name="T73" fmla="*/ 2147483647 h 398"/>
                <a:gd name="T74" fmla="*/ 2147483647 w 859"/>
                <a:gd name="T75" fmla="*/ 2147483647 h 398"/>
                <a:gd name="T76" fmla="*/ 2147483647 w 859"/>
                <a:gd name="T77" fmla="*/ 2147483647 h 398"/>
                <a:gd name="T78" fmla="*/ 2147483647 w 859"/>
                <a:gd name="T79" fmla="*/ 2147483647 h 398"/>
                <a:gd name="T80" fmla="*/ 2147483647 w 859"/>
                <a:gd name="T81" fmla="*/ 2147483647 h 398"/>
                <a:gd name="T82" fmla="*/ 2147483647 w 859"/>
                <a:gd name="T83" fmla="*/ 2147483647 h 398"/>
                <a:gd name="T84" fmla="*/ 2147483647 w 859"/>
                <a:gd name="T85" fmla="*/ 2147483647 h 398"/>
                <a:gd name="T86" fmla="*/ 2147483647 w 859"/>
                <a:gd name="T87" fmla="*/ 2147483647 h 398"/>
                <a:gd name="T88" fmla="*/ 2147483647 w 859"/>
                <a:gd name="T89" fmla="*/ 2147483647 h 398"/>
                <a:gd name="T90" fmla="*/ 2147483647 w 859"/>
                <a:gd name="T91" fmla="*/ 2147483647 h 398"/>
                <a:gd name="T92" fmla="*/ 2147483647 w 859"/>
                <a:gd name="T93" fmla="*/ 2147483647 h 398"/>
                <a:gd name="T94" fmla="*/ 2147483647 w 859"/>
                <a:gd name="T95" fmla="*/ 2147483647 h 398"/>
                <a:gd name="T96" fmla="*/ 2147483647 w 859"/>
                <a:gd name="T97" fmla="*/ 2147483647 h 398"/>
                <a:gd name="T98" fmla="*/ 2147483647 w 859"/>
                <a:gd name="T99" fmla="*/ 2147483647 h 398"/>
                <a:gd name="T100" fmla="*/ 2147483647 w 859"/>
                <a:gd name="T101" fmla="*/ 2147483647 h 3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859" h="398">
                  <a:moveTo>
                    <a:pt x="853" y="374"/>
                  </a:moveTo>
                  <a:lnTo>
                    <a:pt x="853" y="331"/>
                  </a:lnTo>
                  <a:lnTo>
                    <a:pt x="851" y="281"/>
                  </a:lnTo>
                  <a:lnTo>
                    <a:pt x="856" y="282"/>
                  </a:lnTo>
                  <a:lnTo>
                    <a:pt x="856" y="241"/>
                  </a:lnTo>
                  <a:lnTo>
                    <a:pt x="856" y="200"/>
                  </a:lnTo>
                  <a:lnTo>
                    <a:pt x="855" y="117"/>
                  </a:lnTo>
                  <a:lnTo>
                    <a:pt x="854" y="90"/>
                  </a:lnTo>
                  <a:lnTo>
                    <a:pt x="854" y="61"/>
                  </a:lnTo>
                  <a:lnTo>
                    <a:pt x="854" y="59"/>
                  </a:lnTo>
                  <a:lnTo>
                    <a:pt x="856" y="57"/>
                  </a:lnTo>
                  <a:lnTo>
                    <a:pt x="858" y="57"/>
                  </a:lnTo>
                  <a:lnTo>
                    <a:pt x="859" y="54"/>
                  </a:lnTo>
                  <a:lnTo>
                    <a:pt x="858" y="51"/>
                  </a:lnTo>
                  <a:lnTo>
                    <a:pt x="856" y="50"/>
                  </a:lnTo>
                  <a:lnTo>
                    <a:pt x="851" y="50"/>
                  </a:lnTo>
                  <a:lnTo>
                    <a:pt x="846" y="51"/>
                  </a:lnTo>
                  <a:lnTo>
                    <a:pt x="844" y="50"/>
                  </a:lnTo>
                  <a:lnTo>
                    <a:pt x="844" y="49"/>
                  </a:lnTo>
                  <a:lnTo>
                    <a:pt x="843" y="43"/>
                  </a:lnTo>
                  <a:lnTo>
                    <a:pt x="843" y="40"/>
                  </a:lnTo>
                  <a:lnTo>
                    <a:pt x="845" y="38"/>
                  </a:lnTo>
                  <a:lnTo>
                    <a:pt x="850" y="38"/>
                  </a:lnTo>
                  <a:lnTo>
                    <a:pt x="851" y="36"/>
                  </a:lnTo>
                  <a:lnTo>
                    <a:pt x="853" y="33"/>
                  </a:lnTo>
                  <a:lnTo>
                    <a:pt x="853" y="20"/>
                  </a:lnTo>
                  <a:lnTo>
                    <a:pt x="851" y="0"/>
                  </a:lnTo>
                  <a:lnTo>
                    <a:pt x="790" y="0"/>
                  </a:lnTo>
                  <a:lnTo>
                    <a:pt x="730" y="1"/>
                  </a:lnTo>
                  <a:lnTo>
                    <a:pt x="728" y="1"/>
                  </a:lnTo>
                  <a:lnTo>
                    <a:pt x="601" y="0"/>
                  </a:lnTo>
                  <a:lnTo>
                    <a:pt x="472" y="1"/>
                  </a:lnTo>
                  <a:lnTo>
                    <a:pt x="345" y="3"/>
                  </a:lnTo>
                  <a:lnTo>
                    <a:pt x="217" y="4"/>
                  </a:lnTo>
                  <a:lnTo>
                    <a:pt x="221" y="3"/>
                  </a:lnTo>
                  <a:lnTo>
                    <a:pt x="194" y="3"/>
                  </a:lnTo>
                  <a:lnTo>
                    <a:pt x="166" y="3"/>
                  </a:lnTo>
                  <a:lnTo>
                    <a:pt x="111" y="4"/>
                  </a:lnTo>
                  <a:lnTo>
                    <a:pt x="55" y="5"/>
                  </a:lnTo>
                  <a:lnTo>
                    <a:pt x="28" y="5"/>
                  </a:lnTo>
                  <a:lnTo>
                    <a:pt x="0" y="3"/>
                  </a:lnTo>
                  <a:lnTo>
                    <a:pt x="1" y="25"/>
                  </a:lnTo>
                  <a:lnTo>
                    <a:pt x="1" y="49"/>
                  </a:lnTo>
                  <a:lnTo>
                    <a:pt x="1" y="61"/>
                  </a:lnTo>
                  <a:lnTo>
                    <a:pt x="1" y="67"/>
                  </a:lnTo>
                  <a:lnTo>
                    <a:pt x="3" y="72"/>
                  </a:lnTo>
                  <a:lnTo>
                    <a:pt x="5" y="72"/>
                  </a:lnTo>
                  <a:lnTo>
                    <a:pt x="8" y="74"/>
                  </a:lnTo>
                  <a:lnTo>
                    <a:pt x="18" y="74"/>
                  </a:lnTo>
                  <a:lnTo>
                    <a:pt x="33" y="72"/>
                  </a:lnTo>
                  <a:lnTo>
                    <a:pt x="35" y="72"/>
                  </a:lnTo>
                  <a:lnTo>
                    <a:pt x="36" y="74"/>
                  </a:lnTo>
                  <a:lnTo>
                    <a:pt x="38" y="77"/>
                  </a:lnTo>
                  <a:lnTo>
                    <a:pt x="38" y="89"/>
                  </a:lnTo>
                  <a:lnTo>
                    <a:pt x="39" y="106"/>
                  </a:lnTo>
                  <a:lnTo>
                    <a:pt x="39" y="107"/>
                  </a:lnTo>
                  <a:lnTo>
                    <a:pt x="40" y="107"/>
                  </a:lnTo>
                  <a:lnTo>
                    <a:pt x="43" y="107"/>
                  </a:lnTo>
                  <a:lnTo>
                    <a:pt x="44" y="107"/>
                  </a:lnTo>
                  <a:lnTo>
                    <a:pt x="45" y="111"/>
                  </a:lnTo>
                  <a:lnTo>
                    <a:pt x="46" y="111"/>
                  </a:lnTo>
                  <a:lnTo>
                    <a:pt x="48" y="111"/>
                  </a:lnTo>
                  <a:lnTo>
                    <a:pt x="50" y="114"/>
                  </a:lnTo>
                  <a:lnTo>
                    <a:pt x="50" y="115"/>
                  </a:lnTo>
                  <a:lnTo>
                    <a:pt x="50" y="119"/>
                  </a:lnTo>
                  <a:lnTo>
                    <a:pt x="50" y="121"/>
                  </a:lnTo>
                  <a:lnTo>
                    <a:pt x="51" y="124"/>
                  </a:lnTo>
                  <a:lnTo>
                    <a:pt x="56" y="126"/>
                  </a:lnTo>
                  <a:lnTo>
                    <a:pt x="59" y="129"/>
                  </a:lnTo>
                  <a:lnTo>
                    <a:pt x="61" y="130"/>
                  </a:lnTo>
                  <a:lnTo>
                    <a:pt x="64" y="137"/>
                  </a:lnTo>
                  <a:lnTo>
                    <a:pt x="65" y="142"/>
                  </a:lnTo>
                  <a:lnTo>
                    <a:pt x="66" y="145"/>
                  </a:lnTo>
                  <a:lnTo>
                    <a:pt x="73" y="147"/>
                  </a:lnTo>
                  <a:lnTo>
                    <a:pt x="80" y="147"/>
                  </a:lnTo>
                  <a:lnTo>
                    <a:pt x="95" y="146"/>
                  </a:lnTo>
                  <a:lnTo>
                    <a:pt x="99" y="147"/>
                  </a:lnTo>
                  <a:lnTo>
                    <a:pt x="100" y="147"/>
                  </a:lnTo>
                  <a:lnTo>
                    <a:pt x="103" y="150"/>
                  </a:lnTo>
                  <a:lnTo>
                    <a:pt x="104" y="152"/>
                  </a:lnTo>
                  <a:lnTo>
                    <a:pt x="104" y="157"/>
                  </a:lnTo>
                  <a:lnTo>
                    <a:pt x="104" y="163"/>
                  </a:lnTo>
                  <a:lnTo>
                    <a:pt x="104" y="170"/>
                  </a:lnTo>
                  <a:lnTo>
                    <a:pt x="104" y="175"/>
                  </a:lnTo>
                  <a:lnTo>
                    <a:pt x="106" y="178"/>
                  </a:lnTo>
                  <a:lnTo>
                    <a:pt x="109" y="180"/>
                  </a:lnTo>
                  <a:lnTo>
                    <a:pt x="111" y="181"/>
                  </a:lnTo>
                  <a:lnTo>
                    <a:pt x="118" y="180"/>
                  </a:lnTo>
                  <a:lnTo>
                    <a:pt x="123" y="180"/>
                  </a:lnTo>
                  <a:lnTo>
                    <a:pt x="125" y="181"/>
                  </a:lnTo>
                  <a:lnTo>
                    <a:pt x="126" y="182"/>
                  </a:lnTo>
                  <a:lnTo>
                    <a:pt x="126" y="188"/>
                  </a:lnTo>
                  <a:lnTo>
                    <a:pt x="126" y="202"/>
                  </a:lnTo>
                  <a:lnTo>
                    <a:pt x="126" y="211"/>
                  </a:lnTo>
                  <a:lnTo>
                    <a:pt x="126" y="213"/>
                  </a:lnTo>
                  <a:lnTo>
                    <a:pt x="128" y="216"/>
                  </a:lnTo>
                  <a:lnTo>
                    <a:pt x="131" y="217"/>
                  </a:lnTo>
                  <a:lnTo>
                    <a:pt x="136" y="218"/>
                  </a:lnTo>
                  <a:lnTo>
                    <a:pt x="151" y="218"/>
                  </a:lnTo>
                  <a:lnTo>
                    <a:pt x="175" y="216"/>
                  </a:lnTo>
                  <a:lnTo>
                    <a:pt x="174" y="250"/>
                  </a:lnTo>
                  <a:lnTo>
                    <a:pt x="210" y="250"/>
                  </a:lnTo>
                  <a:lnTo>
                    <a:pt x="210" y="258"/>
                  </a:lnTo>
                  <a:lnTo>
                    <a:pt x="209" y="269"/>
                  </a:lnTo>
                  <a:lnTo>
                    <a:pt x="209" y="274"/>
                  </a:lnTo>
                  <a:lnTo>
                    <a:pt x="210" y="279"/>
                  </a:lnTo>
                  <a:lnTo>
                    <a:pt x="212" y="282"/>
                  </a:lnTo>
                  <a:lnTo>
                    <a:pt x="215" y="283"/>
                  </a:lnTo>
                  <a:lnTo>
                    <a:pt x="222" y="283"/>
                  </a:lnTo>
                  <a:lnTo>
                    <a:pt x="230" y="284"/>
                  </a:lnTo>
                  <a:lnTo>
                    <a:pt x="236" y="286"/>
                  </a:lnTo>
                  <a:lnTo>
                    <a:pt x="237" y="288"/>
                  </a:lnTo>
                  <a:lnTo>
                    <a:pt x="239" y="291"/>
                  </a:lnTo>
                  <a:lnTo>
                    <a:pt x="239" y="326"/>
                  </a:lnTo>
                  <a:lnTo>
                    <a:pt x="240" y="361"/>
                  </a:lnTo>
                  <a:lnTo>
                    <a:pt x="250" y="362"/>
                  </a:lnTo>
                  <a:lnTo>
                    <a:pt x="262" y="361"/>
                  </a:lnTo>
                  <a:lnTo>
                    <a:pt x="269" y="362"/>
                  </a:lnTo>
                  <a:lnTo>
                    <a:pt x="270" y="362"/>
                  </a:lnTo>
                  <a:lnTo>
                    <a:pt x="271" y="364"/>
                  </a:lnTo>
                  <a:lnTo>
                    <a:pt x="272" y="370"/>
                  </a:lnTo>
                  <a:lnTo>
                    <a:pt x="274" y="372"/>
                  </a:lnTo>
                  <a:lnTo>
                    <a:pt x="275" y="373"/>
                  </a:lnTo>
                  <a:lnTo>
                    <a:pt x="279" y="373"/>
                  </a:lnTo>
                  <a:lnTo>
                    <a:pt x="286" y="373"/>
                  </a:lnTo>
                  <a:lnTo>
                    <a:pt x="301" y="373"/>
                  </a:lnTo>
                  <a:lnTo>
                    <a:pt x="305" y="374"/>
                  </a:lnTo>
                  <a:lnTo>
                    <a:pt x="305" y="377"/>
                  </a:lnTo>
                  <a:lnTo>
                    <a:pt x="306" y="378"/>
                  </a:lnTo>
                  <a:lnTo>
                    <a:pt x="309" y="378"/>
                  </a:lnTo>
                  <a:lnTo>
                    <a:pt x="312" y="378"/>
                  </a:lnTo>
                  <a:lnTo>
                    <a:pt x="315" y="378"/>
                  </a:lnTo>
                  <a:lnTo>
                    <a:pt x="316" y="379"/>
                  </a:lnTo>
                  <a:lnTo>
                    <a:pt x="316" y="380"/>
                  </a:lnTo>
                  <a:lnTo>
                    <a:pt x="316" y="388"/>
                  </a:lnTo>
                  <a:lnTo>
                    <a:pt x="316" y="392"/>
                  </a:lnTo>
                  <a:lnTo>
                    <a:pt x="317" y="395"/>
                  </a:lnTo>
                  <a:lnTo>
                    <a:pt x="321" y="397"/>
                  </a:lnTo>
                  <a:lnTo>
                    <a:pt x="327" y="398"/>
                  </a:lnTo>
                  <a:lnTo>
                    <a:pt x="343" y="398"/>
                  </a:lnTo>
                  <a:lnTo>
                    <a:pt x="372" y="397"/>
                  </a:lnTo>
                  <a:lnTo>
                    <a:pt x="397" y="398"/>
                  </a:lnTo>
                  <a:lnTo>
                    <a:pt x="410" y="398"/>
                  </a:lnTo>
                  <a:lnTo>
                    <a:pt x="415" y="397"/>
                  </a:lnTo>
                  <a:lnTo>
                    <a:pt x="417" y="394"/>
                  </a:lnTo>
                  <a:lnTo>
                    <a:pt x="435" y="394"/>
                  </a:lnTo>
                  <a:lnTo>
                    <a:pt x="639" y="393"/>
                  </a:lnTo>
                  <a:lnTo>
                    <a:pt x="844" y="392"/>
                  </a:lnTo>
                  <a:lnTo>
                    <a:pt x="848" y="392"/>
                  </a:lnTo>
                  <a:lnTo>
                    <a:pt x="851" y="392"/>
                  </a:lnTo>
                  <a:lnTo>
                    <a:pt x="853" y="390"/>
                  </a:lnTo>
                  <a:lnTo>
                    <a:pt x="854" y="388"/>
                  </a:lnTo>
                  <a:lnTo>
                    <a:pt x="854" y="382"/>
                  </a:lnTo>
                  <a:lnTo>
                    <a:pt x="854" y="374"/>
                  </a:lnTo>
                  <a:lnTo>
                    <a:pt x="853" y="374"/>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Kern</a:t>
              </a:r>
            </a:p>
          </p:txBody>
        </p:sp>
        <p:sp>
          <p:nvSpPr>
            <p:cNvPr id="14" name="Kings"/>
            <p:cNvSpPr>
              <a:spLocks/>
            </p:cNvSpPr>
            <p:nvPr/>
          </p:nvSpPr>
          <p:spPr bwMode="auto">
            <a:xfrm>
              <a:off x="3050140" y="6352100"/>
              <a:ext cx="591123" cy="565119"/>
            </a:xfrm>
            <a:custGeom>
              <a:avLst/>
              <a:gdLst>
                <a:gd name="T0" fmla="*/ 652721994 w 281"/>
                <a:gd name="T1" fmla="*/ 430947513 h 282"/>
                <a:gd name="T2" fmla="*/ 655241359 w 281"/>
                <a:gd name="T3" fmla="*/ 226814063 h 282"/>
                <a:gd name="T4" fmla="*/ 660281678 w 281"/>
                <a:gd name="T5" fmla="*/ 221773750 h 282"/>
                <a:gd name="T6" fmla="*/ 705644541 w 281"/>
                <a:gd name="T7" fmla="*/ 221773750 h 282"/>
                <a:gd name="T8" fmla="*/ 708165494 w 281"/>
                <a:gd name="T9" fmla="*/ 146169063 h 282"/>
                <a:gd name="T10" fmla="*/ 705644541 w 281"/>
                <a:gd name="T11" fmla="*/ 108367513 h 282"/>
                <a:gd name="T12" fmla="*/ 693044539 w 281"/>
                <a:gd name="T13" fmla="*/ 90725625 h 282"/>
                <a:gd name="T14" fmla="*/ 667842949 w 281"/>
                <a:gd name="T15" fmla="*/ 88206263 h 282"/>
                <a:gd name="T16" fmla="*/ 657762312 w 281"/>
                <a:gd name="T17" fmla="*/ 78125638 h 282"/>
                <a:gd name="T18" fmla="*/ 657762312 w 281"/>
                <a:gd name="T19" fmla="*/ 40322500 h 282"/>
                <a:gd name="T20" fmla="*/ 655241359 w 281"/>
                <a:gd name="T21" fmla="*/ 7561263 h 282"/>
                <a:gd name="T22" fmla="*/ 642641358 w 281"/>
                <a:gd name="T23" fmla="*/ 0 h 282"/>
                <a:gd name="T24" fmla="*/ 569555951 w 281"/>
                <a:gd name="T25" fmla="*/ 47883763 h 282"/>
                <a:gd name="T26" fmla="*/ 551915631 w 281"/>
                <a:gd name="T27" fmla="*/ 60483750 h 282"/>
                <a:gd name="T28" fmla="*/ 541834995 w 281"/>
                <a:gd name="T29" fmla="*/ 57964388 h 282"/>
                <a:gd name="T30" fmla="*/ 481351177 w 281"/>
                <a:gd name="T31" fmla="*/ 75604688 h 282"/>
                <a:gd name="T32" fmla="*/ 463709270 w 281"/>
                <a:gd name="T33" fmla="*/ 85685313 h 282"/>
                <a:gd name="T34" fmla="*/ 297378771 w 281"/>
                <a:gd name="T35" fmla="*/ 85685313 h 282"/>
                <a:gd name="T36" fmla="*/ 292338453 w 281"/>
                <a:gd name="T37" fmla="*/ 214214075 h 282"/>
                <a:gd name="T38" fmla="*/ 297378771 w 281"/>
                <a:gd name="T39" fmla="*/ 287297813 h 282"/>
                <a:gd name="T40" fmla="*/ 287298135 w 281"/>
                <a:gd name="T41" fmla="*/ 315020325 h 282"/>
                <a:gd name="T42" fmla="*/ 262096544 w 281"/>
                <a:gd name="T43" fmla="*/ 340221888 h 282"/>
                <a:gd name="T44" fmla="*/ 110886999 w 281"/>
                <a:gd name="T45" fmla="*/ 476310325 h 282"/>
                <a:gd name="T46" fmla="*/ 22682225 w 281"/>
                <a:gd name="T47" fmla="*/ 592237513 h 282"/>
                <a:gd name="T48" fmla="*/ 42843498 w 281"/>
                <a:gd name="T49" fmla="*/ 604837500 h 282"/>
                <a:gd name="T50" fmla="*/ 47883816 w 281"/>
                <a:gd name="T51" fmla="*/ 619958438 h 282"/>
                <a:gd name="T52" fmla="*/ 47883816 w 281"/>
                <a:gd name="T53" fmla="*/ 635079375 h 282"/>
                <a:gd name="T54" fmla="*/ 68045089 w 281"/>
                <a:gd name="T55" fmla="*/ 672882513 h 282"/>
                <a:gd name="T56" fmla="*/ 80645090 w 281"/>
                <a:gd name="T57" fmla="*/ 685482500 h 282"/>
                <a:gd name="T58" fmla="*/ 80645090 w 281"/>
                <a:gd name="T59" fmla="*/ 705643750 h 282"/>
                <a:gd name="T60" fmla="*/ 158770815 w 281"/>
                <a:gd name="T61" fmla="*/ 710684063 h 282"/>
                <a:gd name="T62" fmla="*/ 367943225 w 281"/>
                <a:gd name="T63" fmla="*/ 708164700 h 282"/>
                <a:gd name="T64" fmla="*/ 577117222 w 281"/>
                <a:gd name="T65" fmla="*/ 705643750 h 282"/>
                <a:gd name="T66" fmla="*/ 645160723 w 281"/>
                <a:gd name="T67" fmla="*/ 705643750 h 28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81" h="282">
                  <a:moveTo>
                    <a:pt x="256" y="280"/>
                  </a:moveTo>
                  <a:lnTo>
                    <a:pt x="259" y="171"/>
                  </a:lnTo>
                  <a:lnTo>
                    <a:pt x="260" y="119"/>
                  </a:lnTo>
                  <a:lnTo>
                    <a:pt x="260" y="90"/>
                  </a:lnTo>
                  <a:lnTo>
                    <a:pt x="261" y="89"/>
                  </a:lnTo>
                  <a:lnTo>
                    <a:pt x="262" y="88"/>
                  </a:lnTo>
                  <a:lnTo>
                    <a:pt x="269" y="88"/>
                  </a:lnTo>
                  <a:lnTo>
                    <a:pt x="280" y="88"/>
                  </a:lnTo>
                  <a:lnTo>
                    <a:pt x="281" y="75"/>
                  </a:lnTo>
                  <a:lnTo>
                    <a:pt x="281" y="58"/>
                  </a:lnTo>
                  <a:lnTo>
                    <a:pt x="281" y="50"/>
                  </a:lnTo>
                  <a:lnTo>
                    <a:pt x="280" y="43"/>
                  </a:lnTo>
                  <a:lnTo>
                    <a:pt x="277" y="38"/>
                  </a:lnTo>
                  <a:lnTo>
                    <a:pt x="275" y="36"/>
                  </a:lnTo>
                  <a:lnTo>
                    <a:pt x="272" y="36"/>
                  </a:lnTo>
                  <a:lnTo>
                    <a:pt x="265" y="35"/>
                  </a:lnTo>
                  <a:lnTo>
                    <a:pt x="262" y="34"/>
                  </a:lnTo>
                  <a:lnTo>
                    <a:pt x="261" y="31"/>
                  </a:lnTo>
                  <a:lnTo>
                    <a:pt x="261" y="25"/>
                  </a:lnTo>
                  <a:lnTo>
                    <a:pt x="261" y="16"/>
                  </a:lnTo>
                  <a:lnTo>
                    <a:pt x="261" y="9"/>
                  </a:lnTo>
                  <a:lnTo>
                    <a:pt x="260" y="3"/>
                  </a:lnTo>
                  <a:lnTo>
                    <a:pt x="257" y="2"/>
                  </a:lnTo>
                  <a:lnTo>
                    <a:pt x="255" y="0"/>
                  </a:lnTo>
                  <a:lnTo>
                    <a:pt x="247" y="2"/>
                  </a:lnTo>
                  <a:lnTo>
                    <a:pt x="226" y="19"/>
                  </a:lnTo>
                  <a:lnTo>
                    <a:pt x="221" y="23"/>
                  </a:lnTo>
                  <a:lnTo>
                    <a:pt x="219" y="24"/>
                  </a:lnTo>
                  <a:lnTo>
                    <a:pt x="217" y="23"/>
                  </a:lnTo>
                  <a:lnTo>
                    <a:pt x="215" y="23"/>
                  </a:lnTo>
                  <a:lnTo>
                    <a:pt x="195" y="29"/>
                  </a:lnTo>
                  <a:lnTo>
                    <a:pt x="191" y="30"/>
                  </a:lnTo>
                  <a:lnTo>
                    <a:pt x="188" y="33"/>
                  </a:lnTo>
                  <a:lnTo>
                    <a:pt x="184" y="34"/>
                  </a:lnTo>
                  <a:lnTo>
                    <a:pt x="179" y="35"/>
                  </a:lnTo>
                  <a:lnTo>
                    <a:pt x="118" y="34"/>
                  </a:lnTo>
                  <a:lnTo>
                    <a:pt x="118" y="60"/>
                  </a:lnTo>
                  <a:lnTo>
                    <a:pt x="116" y="85"/>
                  </a:lnTo>
                  <a:lnTo>
                    <a:pt x="118" y="104"/>
                  </a:lnTo>
                  <a:lnTo>
                    <a:pt x="118" y="114"/>
                  </a:lnTo>
                  <a:lnTo>
                    <a:pt x="116" y="121"/>
                  </a:lnTo>
                  <a:lnTo>
                    <a:pt x="114" y="125"/>
                  </a:lnTo>
                  <a:lnTo>
                    <a:pt x="111" y="129"/>
                  </a:lnTo>
                  <a:lnTo>
                    <a:pt x="104" y="135"/>
                  </a:lnTo>
                  <a:lnTo>
                    <a:pt x="88" y="147"/>
                  </a:lnTo>
                  <a:lnTo>
                    <a:pt x="44" y="189"/>
                  </a:lnTo>
                  <a:lnTo>
                    <a:pt x="0" y="232"/>
                  </a:lnTo>
                  <a:lnTo>
                    <a:pt x="9" y="235"/>
                  </a:lnTo>
                  <a:lnTo>
                    <a:pt x="13" y="236"/>
                  </a:lnTo>
                  <a:lnTo>
                    <a:pt x="17" y="240"/>
                  </a:lnTo>
                  <a:lnTo>
                    <a:pt x="19" y="243"/>
                  </a:lnTo>
                  <a:lnTo>
                    <a:pt x="19" y="246"/>
                  </a:lnTo>
                  <a:lnTo>
                    <a:pt x="19" y="248"/>
                  </a:lnTo>
                  <a:lnTo>
                    <a:pt x="19" y="252"/>
                  </a:lnTo>
                  <a:lnTo>
                    <a:pt x="22" y="260"/>
                  </a:lnTo>
                  <a:lnTo>
                    <a:pt x="27" y="267"/>
                  </a:lnTo>
                  <a:lnTo>
                    <a:pt x="29" y="270"/>
                  </a:lnTo>
                  <a:lnTo>
                    <a:pt x="32" y="272"/>
                  </a:lnTo>
                  <a:lnTo>
                    <a:pt x="33" y="275"/>
                  </a:lnTo>
                  <a:lnTo>
                    <a:pt x="32" y="280"/>
                  </a:lnTo>
                  <a:lnTo>
                    <a:pt x="35" y="280"/>
                  </a:lnTo>
                  <a:lnTo>
                    <a:pt x="63" y="282"/>
                  </a:lnTo>
                  <a:lnTo>
                    <a:pt x="90" y="282"/>
                  </a:lnTo>
                  <a:lnTo>
                    <a:pt x="146" y="281"/>
                  </a:lnTo>
                  <a:lnTo>
                    <a:pt x="201" y="280"/>
                  </a:lnTo>
                  <a:lnTo>
                    <a:pt x="229" y="280"/>
                  </a:lnTo>
                  <a:lnTo>
                    <a:pt x="255" y="280"/>
                  </a:lnTo>
                  <a:lnTo>
                    <a:pt x="256" y="280"/>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Kings</a:t>
              </a:r>
            </a:p>
          </p:txBody>
        </p:sp>
      </p:grpSp>
      <p:grpSp>
        <p:nvGrpSpPr>
          <p:cNvPr id="15" name="Northern Valley"/>
          <p:cNvGrpSpPr/>
          <p:nvPr/>
        </p:nvGrpSpPr>
        <p:grpSpPr>
          <a:xfrm>
            <a:off x="1877770" y="1579363"/>
            <a:ext cx="965952" cy="1300726"/>
            <a:chOff x="1102173" y="2586641"/>
            <a:chExt cx="1459924" cy="1965896"/>
          </a:xfrm>
        </p:grpSpPr>
        <p:sp>
          <p:nvSpPr>
            <p:cNvPr id="16" name="Colusa"/>
            <p:cNvSpPr>
              <a:spLocks/>
            </p:cNvSpPr>
            <p:nvPr/>
          </p:nvSpPr>
          <p:spPr bwMode="auto">
            <a:xfrm>
              <a:off x="1310432" y="4001444"/>
              <a:ext cx="681578" cy="400793"/>
            </a:xfrm>
            <a:custGeom>
              <a:avLst/>
              <a:gdLst>
                <a:gd name="T0" fmla="*/ 2147483647 w 323"/>
                <a:gd name="T1" fmla="*/ 2147483647 h 200"/>
                <a:gd name="T2" fmla="*/ 2147483647 w 323"/>
                <a:gd name="T3" fmla="*/ 2147483647 h 200"/>
                <a:gd name="T4" fmla="*/ 2147483647 w 323"/>
                <a:gd name="T5" fmla="*/ 2147483647 h 200"/>
                <a:gd name="T6" fmla="*/ 2147483647 w 323"/>
                <a:gd name="T7" fmla="*/ 0 h 200"/>
                <a:gd name="T8" fmla="*/ 2147483647 w 323"/>
                <a:gd name="T9" fmla="*/ 2147483647 h 200"/>
                <a:gd name="T10" fmla="*/ 2147483647 w 323"/>
                <a:gd name="T11" fmla="*/ 2147483647 h 200"/>
                <a:gd name="T12" fmla="*/ 2147483647 w 323"/>
                <a:gd name="T13" fmla="*/ 2147483647 h 200"/>
                <a:gd name="T14" fmla="*/ 2147483647 w 323"/>
                <a:gd name="T15" fmla="*/ 2147483647 h 200"/>
                <a:gd name="T16" fmla="*/ 2147483647 w 323"/>
                <a:gd name="T17" fmla="*/ 2147483647 h 200"/>
                <a:gd name="T18" fmla="*/ 2147483647 w 323"/>
                <a:gd name="T19" fmla="*/ 2147483647 h 200"/>
                <a:gd name="T20" fmla="*/ 2147483647 w 323"/>
                <a:gd name="T21" fmla="*/ 2147483647 h 200"/>
                <a:gd name="T22" fmla="*/ 0 w 323"/>
                <a:gd name="T23" fmla="*/ 2147483647 h 200"/>
                <a:gd name="T24" fmla="*/ 2147483647 w 323"/>
                <a:gd name="T25" fmla="*/ 2147483647 h 200"/>
                <a:gd name="T26" fmla="*/ 2147483647 w 323"/>
                <a:gd name="T27" fmla="*/ 2147483647 h 200"/>
                <a:gd name="T28" fmla="*/ 2147483647 w 323"/>
                <a:gd name="T29" fmla="*/ 2147483647 h 200"/>
                <a:gd name="T30" fmla="*/ 2147483647 w 323"/>
                <a:gd name="T31" fmla="*/ 2147483647 h 200"/>
                <a:gd name="T32" fmla="*/ 2147483647 w 323"/>
                <a:gd name="T33" fmla="*/ 2147483647 h 200"/>
                <a:gd name="T34" fmla="*/ 2147483647 w 323"/>
                <a:gd name="T35" fmla="*/ 2147483647 h 200"/>
                <a:gd name="T36" fmla="*/ 2147483647 w 323"/>
                <a:gd name="T37" fmla="*/ 2147483647 h 200"/>
                <a:gd name="T38" fmla="*/ 2147483647 w 323"/>
                <a:gd name="T39" fmla="*/ 2147483647 h 200"/>
                <a:gd name="T40" fmla="*/ 2147483647 w 323"/>
                <a:gd name="T41" fmla="*/ 2147483647 h 200"/>
                <a:gd name="T42" fmla="*/ 2147483647 w 323"/>
                <a:gd name="T43" fmla="*/ 2147483647 h 200"/>
                <a:gd name="T44" fmla="*/ 2147483647 w 323"/>
                <a:gd name="T45" fmla="*/ 2147483647 h 200"/>
                <a:gd name="T46" fmla="*/ 2147483647 w 323"/>
                <a:gd name="T47" fmla="*/ 2147483647 h 200"/>
                <a:gd name="T48" fmla="*/ 2147483647 w 323"/>
                <a:gd name="T49" fmla="*/ 2147483647 h 200"/>
                <a:gd name="T50" fmla="*/ 2147483647 w 323"/>
                <a:gd name="T51" fmla="*/ 2147483647 h 200"/>
                <a:gd name="T52" fmla="*/ 2147483647 w 323"/>
                <a:gd name="T53" fmla="*/ 2147483647 h 200"/>
                <a:gd name="T54" fmla="*/ 2147483647 w 323"/>
                <a:gd name="T55" fmla="*/ 2147483647 h 200"/>
                <a:gd name="T56" fmla="*/ 2147483647 w 323"/>
                <a:gd name="T57" fmla="*/ 2147483647 h 200"/>
                <a:gd name="T58" fmla="*/ 2147483647 w 323"/>
                <a:gd name="T59" fmla="*/ 2147483647 h 200"/>
                <a:gd name="T60" fmla="*/ 2147483647 w 323"/>
                <a:gd name="T61" fmla="*/ 2147483647 h 200"/>
                <a:gd name="T62" fmla="*/ 2147483647 w 323"/>
                <a:gd name="T63" fmla="*/ 2147483647 h 200"/>
                <a:gd name="T64" fmla="*/ 2147483647 w 323"/>
                <a:gd name="T65" fmla="*/ 2147483647 h 200"/>
                <a:gd name="T66" fmla="*/ 2147483647 w 323"/>
                <a:gd name="T67" fmla="*/ 2147483647 h 200"/>
                <a:gd name="T68" fmla="*/ 2147483647 w 323"/>
                <a:gd name="T69" fmla="*/ 2147483647 h 200"/>
                <a:gd name="T70" fmla="*/ 2147483647 w 323"/>
                <a:gd name="T71" fmla="*/ 2147483647 h 200"/>
                <a:gd name="T72" fmla="*/ 2147483647 w 323"/>
                <a:gd name="T73" fmla="*/ 2147483647 h 200"/>
                <a:gd name="T74" fmla="*/ 2147483647 w 323"/>
                <a:gd name="T75" fmla="*/ 2147483647 h 200"/>
                <a:gd name="T76" fmla="*/ 2147483647 w 323"/>
                <a:gd name="T77" fmla="*/ 2147483647 h 200"/>
                <a:gd name="T78" fmla="*/ 2147483647 w 323"/>
                <a:gd name="T79" fmla="*/ 2147483647 h 200"/>
                <a:gd name="T80" fmla="*/ 2147483647 w 323"/>
                <a:gd name="T81" fmla="*/ 2147483647 h 200"/>
                <a:gd name="T82" fmla="*/ 2147483647 w 323"/>
                <a:gd name="T83" fmla="*/ 2147483647 h 200"/>
                <a:gd name="T84" fmla="*/ 2147483647 w 323"/>
                <a:gd name="T85" fmla="*/ 2147483647 h 200"/>
                <a:gd name="T86" fmla="*/ 2147483647 w 323"/>
                <a:gd name="T87" fmla="*/ 2147483647 h 200"/>
                <a:gd name="T88" fmla="*/ 2147483647 w 323"/>
                <a:gd name="T89" fmla="*/ 2147483647 h 200"/>
                <a:gd name="T90" fmla="*/ 2147483647 w 323"/>
                <a:gd name="T91" fmla="*/ 2147483647 h 200"/>
                <a:gd name="T92" fmla="*/ 2147483647 w 323"/>
                <a:gd name="T93" fmla="*/ 2147483647 h 200"/>
                <a:gd name="T94" fmla="*/ 2147483647 w 323"/>
                <a:gd name="T95" fmla="*/ 2147483647 h 200"/>
                <a:gd name="T96" fmla="*/ 2147483647 w 323"/>
                <a:gd name="T97" fmla="*/ 2147483647 h 200"/>
                <a:gd name="T98" fmla="*/ 2147483647 w 323"/>
                <a:gd name="T99" fmla="*/ 2147483647 h 200"/>
                <a:gd name="T100" fmla="*/ 2147483647 w 323"/>
                <a:gd name="T101" fmla="*/ 2147483647 h 200"/>
                <a:gd name="T102" fmla="*/ 2147483647 w 323"/>
                <a:gd name="T103" fmla="*/ 2147483647 h 200"/>
                <a:gd name="T104" fmla="*/ 2147483647 w 323"/>
                <a:gd name="T105" fmla="*/ 2147483647 h 200"/>
                <a:gd name="T106" fmla="*/ 2147483647 w 323"/>
                <a:gd name="T107" fmla="*/ 2147483647 h 200"/>
                <a:gd name="T108" fmla="*/ 2147483647 w 323"/>
                <a:gd name="T109" fmla="*/ 2147483647 h 2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323" h="200">
                  <a:moveTo>
                    <a:pt x="295" y="14"/>
                  </a:moveTo>
                  <a:lnTo>
                    <a:pt x="255" y="14"/>
                  </a:lnTo>
                  <a:lnTo>
                    <a:pt x="257" y="10"/>
                  </a:lnTo>
                  <a:lnTo>
                    <a:pt x="257" y="7"/>
                  </a:lnTo>
                  <a:lnTo>
                    <a:pt x="255" y="4"/>
                  </a:lnTo>
                  <a:lnTo>
                    <a:pt x="252" y="2"/>
                  </a:lnTo>
                  <a:lnTo>
                    <a:pt x="249" y="0"/>
                  </a:lnTo>
                  <a:lnTo>
                    <a:pt x="245" y="0"/>
                  </a:lnTo>
                  <a:lnTo>
                    <a:pt x="238" y="0"/>
                  </a:lnTo>
                  <a:lnTo>
                    <a:pt x="223" y="2"/>
                  </a:lnTo>
                  <a:lnTo>
                    <a:pt x="218" y="3"/>
                  </a:lnTo>
                  <a:lnTo>
                    <a:pt x="214" y="4"/>
                  </a:lnTo>
                  <a:lnTo>
                    <a:pt x="214" y="8"/>
                  </a:lnTo>
                  <a:lnTo>
                    <a:pt x="216" y="14"/>
                  </a:lnTo>
                  <a:lnTo>
                    <a:pt x="13" y="15"/>
                  </a:lnTo>
                  <a:lnTo>
                    <a:pt x="6" y="14"/>
                  </a:lnTo>
                  <a:lnTo>
                    <a:pt x="3" y="14"/>
                  </a:lnTo>
                  <a:lnTo>
                    <a:pt x="2" y="15"/>
                  </a:lnTo>
                  <a:lnTo>
                    <a:pt x="3" y="18"/>
                  </a:lnTo>
                  <a:lnTo>
                    <a:pt x="7" y="25"/>
                  </a:lnTo>
                  <a:lnTo>
                    <a:pt x="7" y="29"/>
                  </a:lnTo>
                  <a:lnTo>
                    <a:pt x="5" y="31"/>
                  </a:lnTo>
                  <a:lnTo>
                    <a:pt x="1" y="36"/>
                  </a:lnTo>
                  <a:lnTo>
                    <a:pt x="0" y="40"/>
                  </a:lnTo>
                  <a:lnTo>
                    <a:pt x="1" y="45"/>
                  </a:lnTo>
                  <a:lnTo>
                    <a:pt x="2" y="50"/>
                  </a:lnTo>
                  <a:lnTo>
                    <a:pt x="6" y="54"/>
                  </a:lnTo>
                  <a:lnTo>
                    <a:pt x="10" y="59"/>
                  </a:lnTo>
                  <a:lnTo>
                    <a:pt x="18" y="65"/>
                  </a:lnTo>
                  <a:lnTo>
                    <a:pt x="26" y="73"/>
                  </a:lnTo>
                  <a:lnTo>
                    <a:pt x="33" y="78"/>
                  </a:lnTo>
                  <a:lnTo>
                    <a:pt x="42" y="81"/>
                  </a:lnTo>
                  <a:lnTo>
                    <a:pt x="52" y="83"/>
                  </a:lnTo>
                  <a:lnTo>
                    <a:pt x="70" y="85"/>
                  </a:lnTo>
                  <a:lnTo>
                    <a:pt x="79" y="86"/>
                  </a:lnTo>
                  <a:lnTo>
                    <a:pt x="87" y="89"/>
                  </a:lnTo>
                  <a:lnTo>
                    <a:pt x="94" y="95"/>
                  </a:lnTo>
                  <a:lnTo>
                    <a:pt x="99" y="99"/>
                  </a:lnTo>
                  <a:lnTo>
                    <a:pt x="101" y="103"/>
                  </a:lnTo>
                  <a:lnTo>
                    <a:pt x="101" y="108"/>
                  </a:lnTo>
                  <a:lnTo>
                    <a:pt x="98" y="110"/>
                  </a:lnTo>
                  <a:lnTo>
                    <a:pt x="96" y="111"/>
                  </a:lnTo>
                  <a:lnTo>
                    <a:pt x="94" y="114"/>
                  </a:lnTo>
                  <a:lnTo>
                    <a:pt x="93" y="121"/>
                  </a:lnTo>
                  <a:lnTo>
                    <a:pt x="93" y="131"/>
                  </a:lnTo>
                  <a:lnTo>
                    <a:pt x="94" y="142"/>
                  </a:lnTo>
                  <a:lnTo>
                    <a:pt x="97" y="150"/>
                  </a:lnTo>
                  <a:lnTo>
                    <a:pt x="98" y="151"/>
                  </a:lnTo>
                  <a:lnTo>
                    <a:pt x="102" y="154"/>
                  </a:lnTo>
                  <a:lnTo>
                    <a:pt x="109" y="157"/>
                  </a:lnTo>
                  <a:lnTo>
                    <a:pt x="117" y="160"/>
                  </a:lnTo>
                  <a:lnTo>
                    <a:pt x="121" y="161"/>
                  </a:lnTo>
                  <a:lnTo>
                    <a:pt x="122" y="166"/>
                  </a:lnTo>
                  <a:lnTo>
                    <a:pt x="121" y="171"/>
                  </a:lnTo>
                  <a:lnTo>
                    <a:pt x="121" y="177"/>
                  </a:lnTo>
                  <a:lnTo>
                    <a:pt x="121" y="180"/>
                  </a:lnTo>
                  <a:lnTo>
                    <a:pt x="122" y="182"/>
                  </a:lnTo>
                  <a:lnTo>
                    <a:pt x="127" y="186"/>
                  </a:lnTo>
                  <a:lnTo>
                    <a:pt x="132" y="191"/>
                  </a:lnTo>
                  <a:lnTo>
                    <a:pt x="137" y="195"/>
                  </a:lnTo>
                  <a:lnTo>
                    <a:pt x="141" y="200"/>
                  </a:lnTo>
                  <a:lnTo>
                    <a:pt x="227" y="199"/>
                  </a:lnTo>
                  <a:lnTo>
                    <a:pt x="313" y="197"/>
                  </a:lnTo>
                  <a:lnTo>
                    <a:pt x="313" y="195"/>
                  </a:lnTo>
                  <a:lnTo>
                    <a:pt x="312" y="191"/>
                  </a:lnTo>
                  <a:lnTo>
                    <a:pt x="314" y="184"/>
                  </a:lnTo>
                  <a:lnTo>
                    <a:pt x="318" y="177"/>
                  </a:lnTo>
                  <a:lnTo>
                    <a:pt x="320" y="175"/>
                  </a:lnTo>
                  <a:lnTo>
                    <a:pt x="323" y="174"/>
                  </a:lnTo>
                  <a:lnTo>
                    <a:pt x="323" y="172"/>
                  </a:lnTo>
                  <a:lnTo>
                    <a:pt x="322" y="167"/>
                  </a:lnTo>
                  <a:lnTo>
                    <a:pt x="318" y="161"/>
                  </a:lnTo>
                  <a:lnTo>
                    <a:pt x="317" y="156"/>
                  </a:lnTo>
                  <a:lnTo>
                    <a:pt x="315" y="151"/>
                  </a:lnTo>
                  <a:lnTo>
                    <a:pt x="314" y="149"/>
                  </a:lnTo>
                  <a:lnTo>
                    <a:pt x="313" y="147"/>
                  </a:lnTo>
                  <a:lnTo>
                    <a:pt x="310" y="146"/>
                  </a:lnTo>
                  <a:lnTo>
                    <a:pt x="307" y="146"/>
                  </a:lnTo>
                  <a:lnTo>
                    <a:pt x="303" y="145"/>
                  </a:lnTo>
                  <a:lnTo>
                    <a:pt x="300" y="142"/>
                  </a:lnTo>
                  <a:lnTo>
                    <a:pt x="298" y="141"/>
                  </a:lnTo>
                  <a:lnTo>
                    <a:pt x="297" y="137"/>
                  </a:lnTo>
                  <a:lnTo>
                    <a:pt x="294" y="131"/>
                  </a:lnTo>
                  <a:lnTo>
                    <a:pt x="290" y="125"/>
                  </a:lnTo>
                  <a:lnTo>
                    <a:pt x="289" y="123"/>
                  </a:lnTo>
                  <a:lnTo>
                    <a:pt x="285" y="120"/>
                  </a:lnTo>
                  <a:lnTo>
                    <a:pt x="279" y="118"/>
                  </a:lnTo>
                  <a:lnTo>
                    <a:pt x="279" y="116"/>
                  </a:lnTo>
                  <a:lnTo>
                    <a:pt x="280" y="115"/>
                  </a:lnTo>
                  <a:lnTo>
                    <a:pt x="284" y="114"/>
                  </a:lnTo>
                  <a:lnTo>
                    <a:pt x="285" y="111"/>
                  </a:lnTo>
                  <a:lnTo>
                    <a:pt x="285" y="109"/>
                  </a:lnTo>
                  <a:lnTo>
                    <a:pt x="284" y="104"/>
                  </a:lnTo>
                  <a:lnTo>
                    <a:pt x="282" y="100"/>
                  </a:lnTo>
                  <a:lnTo>
                    <a:pt x="280" y="96"/>
                  </a:lnTo>
                  <a:lnTo>
                    <a:pt x="280" y="94"/>
                  </a:lnTo>
                  <a:lnTo>
                    <a:pt x="282" y="91"/>
                  </a:lnTo>
                  <a:lnTo>
                    <a:pt x="282" y="88"/>
                  </a:lnTo>
                  <a:lnTo>
                    <a:pt x="280" y="84"/>
                  </a:lnTo>
                  <a:lnTo>
                    <a:pt x="279" y="80"/>
                  </a:lnTo>
                  <a:lnTo>
                    <a:pt x="278" y="75"/>
                  </a:lnTo>
                  <a:lnTo>
                    <a:pt x="278" y="71"/>
                  </a:lnTo>
                  <a:lnTo>
                    <a:pt x="279" y="68"/>
                  </a:lnTo>
                  <a:lnTo>
                    <a:pt x="283" y="60"/>
                  </a:lnTo>
                  <a:lnTo>
                    <a:pt x="288" y="54"/>
                  </a:lnTo>
                  <a:lnTo>
                    <a:pt x="292" y="48"/>
                  </a:lnTo>
                  <a:lnTo>
                    <a:pt x="294" y="40"/>
                  </a:lnTo>
                  <a:lnTo>
                    <a:pt x="295" y="31"/>
                  </a:lnTo>
                  <a:lnTo>
                    <a:pt x="295" y="15"/>
                  </a:lnTo>
                  <a:lnTo>
                    <a:pt x="295" y="14"/>
                  </a:lnTo>
                  <a:close/>
                </a:path>
              </a:pathLst>
            </a:custGeom>
            <a:solidFill>
              <a:schemeClr val="bg1">
                <a:lumMod val="75000"/>
              </a:schemeClr>
            </a:solidFill>
            <a:ln w="3175" cmpd="sng">
              <a:solidFill>
                <a:srgbClr val="D9D9D9"/>
              </a:solidFill>
              <a:prstDash val="solid"/>
              <a:round/>
              <a:headEnd/>
              <a:tailEnd/>
            </a:ln>
          </p:spPr>
          <p:txBody>
            <a:bodyPr wrap="none" anchor="ctr"/>
            <a:lstStyle/>
            <a:p>
              <a:pPr algn="r"/>
              <a:r>
                <a:rPr lang="en-US" sz="800" dirty="0">
                  <a:solidFill>
                    <a:prstClr val="black"/>
                  </a:solidFill>
                  <a:latin typeface="Franklin Gothic Book"/>
                  <a:ea typeface="MS PGothic" charset="0"/>
                  <a:cs typeface="MS PGothic" charset="0"/>
                </a:rPr>
                <a:t>Colusa</a:t>
              </a:r>
            </a:p>
          </p:txBody>
        </p:sp>
        <p:sp>
          <p:nvSpPr>
            <p:cNvPr id="17" name="Shasta"/>
            <p:cNvSpPr>
              <a:spLocks/>
            </p:cNvSpPr>
            <p:nvPr/>
          </p:nvSpPr>
          <p:spPr bwMode="auto">
            <a:xfrm>
              <a:off x="1102173" y="2586641"/>
              <a:ext cx="1232732" cy="741469"/>
            </a:xfrm>
            <a:custGeom>
              <a:avLst/>
              <a:gdLst>
                <a:gd name="T0" fmla="*/ 2147483647 w 586"/>
                <a:gd name="T1" fmla="*/ 2147483647 h 370"/>
                <a:gd name="T2" fmla="*/ 2147483647 w 586"/>
                <a:gd name="T3" fmla="*/ 2147483647 h 370"/>
                <a:gd name="T4" fmla="*/ 2147483647 w 586"/>
                <a:gd name="T5" fmla="*/ 0 h 370"/>
                <a:gd name="T6" fmla="*/ 2147483647 w 586"/>
                <a:gd name="T7" fmla="*/ 2147483647 h 370"/>
                <a:gd name="T8" fmla="*/ 2147483647 w 586"/>
                <a:gd name="T9" fmla="*/ 2147483647 h 370"/>
                <a:gd name="T10" fmla="*/ 2147483647 w 586"/>
                <a:gd name="T11" fmla="*/ 2147483647 h 370"/>
                <a:gd name="T12" fmla="*/ 2147483647 w 586"/>
                <a:gd name="T13" fmla="*/ 2147483647 h 370"/>
                <a:gd name="T14" fmla="*/ 2147483647 w 586"/>
                <a:gd name="T15" fmla="*/ 2147483647 h 370"/>
                <a:gd name="T16" fmla="*/ 2147483647 w 586"/>
                <a:gd name="T17" fmla="*/ 2147483647 h 370"/>
                <a:gd name="T18" fmla="*/ 2147483647 w 586"/>
                <a:gd name="T19" fmla="*/ 2147483647 h 370"/>
                <a:gd name="T20" fmla="*/ 2147483647 w 586"/>
                <a:gd name="T21" fmla="*/ 2147483647 h 370"/>
                <a:gd name="T22" fmla="*/ 2147483647 w 586"/>
                <a:gd name="T23" fmla="*/ 2147483647 h 370"/>
                <a:gd name="T24" fmla="*/ 2147483647 w 586"/>
                <a:gd name="T25" fmla="*/ 2147483647 h 370"/>
                <a:gd name="T26" fmla="*/ 2147483647 w 586"/>
                <a:gd name="T27" fmla="*/ 2147483647 h 370"/>
                <a:gd name="T28" fmla="*/ 2147483647 w 586"/>
                <a:gd name="T29" fmla="*/ 2147483647 h 370"/>
                <a:gd name="T30" fmla="*/ 2147483647 w 586"/>
                <a:gd name="T31" fmla="*/ 2147483647 h 370"/>
                <a:gd name="T32" fmla="*/ 2147483647 w 586"/>
                <a:gd name="T33" fmla="*/ 2147483647 h 370"/>
                <a:gd name="T34" fmla="*/ 2147483647 w 586"/>
                <a:gd name="T35" fmla="*/ 2147483647 h 370"/>
                <a:gd name="T36" fmla="*/ 2147483647 w 586"/>
                <a:gd name="T37" fmla="*/ 2147483647 h 370"/>
                <a:gd name="T38" fmla="*/ 2147483647 w 586"/>
                <a:gd name="T39" fmla="*/ 2147483647 h 370"/>
                <a:gd name="T40" fmla="*/ 2147483647 w 586"/>
                <a:gd name="T41" fmla="*/ 2147483647 h 370"/>
                <a:gd name="T42" fmla="*/ 2147483647 w 586"/>
                <a:gd name="T43" fmla="*/ 2147483647 h 370"/>
                <a:gd name="T44" fmla="*/ 2147483647 w 586"/>
                <a:gd name="T45" fmla="*/ 2147483647 h 370"/>
                <a:gd name="T46" fmla="*/ 2147483647 w 586"/>
                <a:gd name="T47" fmla="*/ 2147483647 h 370"/>
                <a:gd name="T48" fmla="*/ 2147483647 w 586"/>
                <a:gd name="T49" fmla="*/ 2147483647 h 370"/>
                <a:gd name="T50" fmla="*/ 2147483647 w 586"/>
                <a:gd name="T51" fmla="*/ 2147483647 h 370"/>
                <a:gd name="T52" fmla="*/ 2147483647 w 586"/>
                <a:gd name="T53" fmla="*/ 2147483647 h 370"/>
                <a:gd name="T54" fmla="*/ 2147483647 w 586"/>
                <a:gd name="T55" fmla="*/ 2147483647 h 370"/>
                <a:gd name="T56" fmla="*/ 2147483647 w 586"/>
                <a:gd name="T57" fmla="*/ 2147483647 h 370"/>
                <a:gd name="T58" fmla="*/ 0 w 586"/>
                <a:gd name="T59" fmla="*/ 2147483647 h 370"/>
                <a:gd name="T60" fmla="*/ 2147483647 w 586"/>
                <a:gd name="T61" fmla="*/ 2147483647 h 370"/>
                <a:gd name="T62" fmla="*/ 2147483647 w 586"/>
                <a:gd name="T63" fmla="*/ 2147483647 h 370"/>
                <a:gd name="T64" fmla="*/ 2147483647 w 586"/>
                <a:gd name="T65" fmla="*/ 2147483647 h 370"/>
                <a:gd name="T66" fmla="*/ 2147483647 w 586"/>
                <a:gd name="T67" fmla="*/ 2147483647 h 370"/>
                <a:gd name="T68" fmla="*/ 2147483647 w 586"/>
                <a:gd name="T69" fmla="*/ 2147483647 h 370"/>
                <a:gd name="T70" fmla="*/ 2147483647 w 586"/>
                <a:gd name="T71" fmla="*/ 2147483647 h 370"/>
                <a:gd name="T72" fmla="*/ 2147483647 w 586"/>
                <a:gd name="T73" fmla="*/ 2147483647 h 370"/>
                <a:gd name="T74" fmla="*/ 2147483647 w 586"/>
                <a:gd name="T75" fmla="*/ 2147483647 h 370"/>
                <a:gd name="T76" fmla="*/ 2147483647 w 586"/>
                <a:gd name="T77" fmla="*/ 2147483647 h 370"/>
                <a:gd name="T78" fmla="*/ 2147483647 w 586"/>
                <a:gd name="T79" fmla="*/ 2147483647 h 370"/>
                <a:gd name="T80" fmla="*/ 2147483647 w 586"/>
                <a:gd name="T81" fmla="*/ 2147483647 h 370"/>
                <a:gd name="T82" fmla="*/ 2147483647 w 586"/>
                <a:gd name="T83" fmla="*/ 2147483647 h 370"/>
                <a:gd name="T84" fmla="*/ 2147483647 w 586"/>
                <a:gd name="T85" fmla="*/ 2147483647 h 370"/>
                <a:gd name="T86" fmla="*/ 2147483647 w 586"/>
                <a:gd name="T87" fmla="*/ 2147483647 h 370"/>
                <a:gd name="T88" fmla="*/ 2147483647 w 586"/>
                <a:gd name="T89" fmla="*/ 2147483647 h 370"/>
                <a:gd name="T90" fmla="*/ 2147483647 w 586"/>
                <a:gd name="T91" fmla="*/ 2147483647 h 370"/>
                <a:gd name="T92" fmla="*/ 2147483647 w 586"/>
                <a:gd name="T93" fmla="*/ 2147483647 h 370"/>
                <a:gd name="T94" fmla="*/ 2147483647 w 586"/>
                <a:gd name="T95" fmla="*/ 2147483647 h 370"/>
                <a:gd name="T96" fmla="*/ 2147483647 w 586"/>
                <a:gd name="T97" fmla="*/ 2147483647 h 370"/>
                <a:gd name="T98" fmla="*/ 2147483647 w 586"/>
                <a:gd name="T99" fmla="*/ 2147483647 h 370"/>
                <a:gd name="T100" fmla="*/ 2147483647 w 586"/>
                <a:gd name="T101" fmla="*/ 2147483647 h 370"/>
                <a:gd name="T102" fmla="*/ 2147483647 w 586"/>
                <a:gd name="T103" fmla="*/ 2147483647 h 3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86" h="370">
                  <a:moveTo>
                    <a:pt x="582" y="295"/>
                  </a:moveTo>
                  <a:lnTo>
                    <a:pt x="582" y="279"/>
                  </a:lnTo>
                  <a:lnTo>
                    <a:pt x="584" y="279"/>
                  </a:lnTo>
                  <a:lnTo>
                    <a:pt x="586" y="207"/>
                  </a:lnTo>
                  <a:lnTo>
                    <a:pt x="584" y="139"/>
                  </a:lnTo>
                  <a:lnTo>
                    <a:pt x="583" y="70"/>
                  </a:lnTo>
                  <a:lnTo>
                    <a:pt x="581" y="0"/>
                  </a:lnTo>
                  <a:lnTo>
                    <a:pt x="541" y="0"/>
                  </a:lnTo>
                  <a:lnTo>
                    <a:pt x="366" y="0"/>
                  </a:lnTo>
                  <a:lnTo>
                    <a:pt x="191" y="0"/>
                  </a:lnTo>
                  <a:lnTo>
                    <a:pt x="200" y="8"/>
                  </a:lnTo>
                  <a:lnTo>
                    <a:pt x="205" y="14"/>
                  </a:lnTo>
                  <a:lnTo>
                    <a:pt x="207" y="17"/>
                  </a:lnTo>
                  <a:lnTo>
                    <a:pt x="207" y="22"/>
                  </a:lnTo>
                  <a:lnTo>
                    <a:pt x="207" y="27"/>
                  </a:lnTo>
                  <a:lnTo>
                    <a:pt x="205" y="34"/>
                  </a:lnTo>
                  <a:lnTo>
                    <a:pt x="202" y="37"/>
                  </a:lnTo>
                  <a:lnTo>
                    <a:pt x="200" y="38"/>
                  </a:lnTo>
                  <a:lnTo>
                    <a:pt x="194" y="39"/>
                  </a:lnTo>
                  <a:lnTo>
                    <a:pt x="187" y="40"/>
                  </a:lnTo>
                  <a:lnTo>
                    <a:pt x="182" y="43"/>
                  </a:lnTo>
                  <a:lnTo>
                    <a:pt x="181" y="44"/>
                  </a:lnTo>
                  <a:lnTo>
                    <a:pt x="180" y="48"/>
                  </a:lnTo>
                  <a:lnTo>
                    <a:pt x="180" y="55"/>
                  </a:lnTo>
                  <a:lnTo>
                    <a:pt x="180" y="64"/>
                  </a:lnTo>
                  <a:lnTo>
                    <a:pt x="179" y="68"/>
                  </a:lnTo>
                  <a:lnTo>
                    <a:pt x="177" y="70"/>
                  </a:lnTo>
                  <a:lnTo>
                    <a:pt x="174" y="75"/>
                  </a:lnTo>
                  <a:lnTo>
                    <a:pt x="169" y="79"/>
                  </a:lnTo>
                  <a:lnTo>
                    <a:pt x="163" y="84"/>
                  </a:lnTo>
                  <a:lnTo>
                    <a:pt x="158" y="89"/>
                  </a:lnTo>
                  <a:lnTo>
                    <a:pt x="155" y="94"/>
                  </a:lnTo>
                  <a:lnTo>
                    <a:pt x="153" y="100"/>
                  </a:lnTo>
                  <a:lnTo>
                    <a:pt x="151" y="111"/>
                  </a:lnTo>
                  <a:lnTo>
                    <a:pt x="150" y="118"/>
                  </a:lnTo>
                  <a:lnTo>
                    <a:pt x="148" y="125"/>
                  </a:lnTo>
                  <a:lnTo>
                    <a:pt x="143" y="139"/>
                  </a:lnTo>
                  <a:lnTo>
                    <a:pt x="139" y="151"/>
                  </a:lnTo>
                  <a:lnTo>
                    <a:pt x="138" y="159"/>
                  </a:lnTo>
                  <a:lnTo>
                    <a:pt x="135" y="164"/>
                  </a:lnTo>
                  <a:lnTo>
                    <a:pt x="130" y="169"/>
                  </a:lnTo>
                  <a:lnTo>
                    <a:pt x="125" y="171"/>
                  </a:lnTo>
                  <a:lnTo>
                    <a:pt x="120" y="175"/>
                  </a:lnTo>
                  <a:lnTo>
                    <a:pt x="119" y="178"/>
                  </a:lnTo>
                  <a:lnTo>
                    <a:pt x="116" y="181"/>
                  </a:lnTo>
                  <a:lnTo>
                    <a:pt x="116" y="186"/>
                  </a:lnTo>
                  <a:lnTo>
                    <a:pt x="116" y="191"/>
                  </a:lnTo>
                  <a:lnTo>
                    <a:pt x="116" y="194"/>
                  </a:lnTo>
                  <a:lnTo>
                    <a:pt x="115" y="195"/>
                  </a:lnTo>
                  <a:lnTo>
                    <a:pt x="114" y="196"/>
                  </a:lnTo>
                  <a:lnTo>
                    <a:pt x="110" y="198"/>
                  </a:lnTo>
                  <a:lnTo>
                    <a:pt x="109" y="198"/>
                  </a:lnTo>
                  <a:lnTo>
                    <a:pt x="108" y="199"/>
                  </a:lnTo>
                  <a:lnTo>
                    <a:pt x="108" y="202"/>
                  </a:lnTo>
                  <a:lnTo>
                    <a:pt x="109" y="207"/>
                  </a:lnTo>
                  <a:lnTo>
                    <a:pt x="111" y="214"/>
                  </a:lnTo>
                  <a:lnTo>
                    <a:pt x="120" y="231"/>
                  </a:lnTo>
                  <a:lnTo>
                    <a:pt x="124" y="240"/>
                  </a:lnTo>
                  <a:lnTo>
                    <a:pt x="124" y="242"/>
                  </a:lnTo>
                  <a:lnTo>
                    <a:pt x="124" y="244"/>
                  </a:lnTo>
                  <a:lnTo>
                    <a:pt x="119" y="245"/>
                  </a:lnTo>
                  <a:lnTo>
                    <a:pt x="111" y="247"/>
                  </a:lnTo>
                  <a:lnTo>
                    <a:pt x="101" y="255"/>
                  </a:lnTo>
                  <a:lnTo>
                    <a:pt x="96" y="260"/>
                  </a:lnTo>
                  <a:lnTo>
                    <a:pt x="94" y="262"/>
                  </a:lnTo>
                  <a:lnTo>
                    <a:pt x="93" y="266"/>
                  </a:lnTo>
                  <a:lnTo>
                    <a:pt x="90" y="269"/>
                  </a:lnTo>
                  <a:lnTo>
                    <a:pt x="88" y="270"/>
                  </a:lnTo>
                  <a:lnTo>
                    <a:pt x="84" y="271"/>
                  </a:lnTo>
                  <a:lnTo>
                    <a:pt x="78" y="274"/>
                  </a:lnTo>
                  <a:lnTo>
                    <a:pt x="75" y="275"/>
                  </a:lnTo>
                  <a:lnTo>
                    <a:pt x="73" y="279"/>
                  </a:lnTo>
                  <a:lnTo>
                    <a:pt x="70" y="284"/>
                  </a:lnTo>
                  <a:lnTo>
                    <a:pt x="65" y="289"/>
                  </a:lnTo>
                  <a:lnTo>
                    <a:pt x="56" y="299"/>
                  </a:lnTo>
                  <a:lnTo>
                    <a:pt x="54" y="297"/>
                  </a:lnTo>
                  <a:lnTo>
                    <a:pt x="51" y="297"/>
                  </a:lnTo>
                  <a:lnTo>
                    <a:pt x="48" y="299"/>
                  </a:lnTo>
                  <a:lnTo>
                    <a:pt x="41" y="305"/>
                  </a:lnTo>
                  <a:lnTo>
                    <a:pt x="36" y="308"/>
                  </a:lnTo>
                  <a:lnTo>
                    <a:pt x="30" y="310"/>
                  </a:lnTo>
                  <a:lnTo>
                    <a:pt x="25" y="311"/>
                  </a:lnTo>
                  <a:lnTo>
                    <a:pt x="25" y="312"/>
                  </a:lnTo>
                  <a:lnTo>
                    <a:pt x="24" y="315"/>
                  </a:lnTo>
                  <a:lnTo>
                    <a:pt x="21" y="318"/>
                  </a:lnTo>
                  <a:lnTo>
                    <a:pt x="13" y="328"/>
                  </a:lnTo>
                  <a:lnTo>
                    <a:pt x="8" y="336"/>
                  </a:lnTo>
                  <a:lnTo>
                    <a:pt x="4" y="345"/>
                  </a:lnTo>
                  <a:lnTo>
                    <a:pt x="2" y="352"/>
                  </a:lnTo>
                  <a:lnTo>
                    <a:pt x="0" y="356"/>
                  </a:lnTo>
                  <a:lnTo>
                    <a:pt x="2" y="360"/>
                  </a:lnTo>
                  <a:lnTo>
                    <a:pt x="3" y="363"/>
                  </a:lnTo>
                  <a:lnTo>
                    <a:pt x="5" y="366"/>
                  </a:lnTo>
                  <a:lnTo>
                    <a:pt x="8" y="368"/>
                  </a:lnTo>
                  <a:lnTo>
                    <a:pt x="13" y="370"/>
                  </a:lnTo>
                  <a:lnTo>
                    <a:pt x="12" y="366"/>
                  </a:lnTo>
                  <a:lnTo>
                    <a:pt x="13" y="362"/>
                  </a:lnTo>
                  <a:lnTo>
                    <a:pt x="14" y="358"/>
                  </a:lnTo>
                  <a:lnTo>
                    <a:pt x="18" y="355"/>
                  </a:lnTo>
                  <a:lnTo>
                    <a:pt x="21" y="352"/>
                  </a:lnTo>
                  <a:lnTo>
                    <a:pt x="25" y="351"/>
                  </a:lnTo>
                  <a:lnTo>
                    <a:pt x="29" y="350"/>
                  </a:lnTo>
                  <a:lnTo>
                    <a:pt x="33" y="351"/>
                  </a:lnTo>
                  <a:lnTo>
                    <a:pt x="39" y="352"/>
                  </a:lnTo>
                  <a:lnTo>
                    <a:pt x="44" y="353"/>
                  </a:lnTo>
                  <a:lnTo>
                    <a:pt x="48" y="353"/>
                  </a:lnTo>
                  <a:lnTo>
                    <a:pt x="51" y="351"/>
                  </a:lnTo>
                  <a:lnTo>
                    <a:pt x="58" y="347"/>
                  </a:lnTo>
                  <a:lnTo>
                    <a:pt x="65" y="340"/>
                  </a:lnTo>
                  <a:lnTo>
                    <a:pt x="68" y="337"/>
                  </a:lnTo>
                  <a:lnTo>
                    <a:pt x="71" y="335"/>
                  </a:lnTo>
                  <a:lnTo>
                    <a:pt x="81" y="332"/>
                  </a:lnTo>
                  <a:lnTo>
                    <a:pt x="93" y="330"/>
                  </a:lnTo>
                  <a:lnTo>
                    <a:pt x="101" y="330"/>
                  </a:lnTo>
                  <a:lnTo>
                    <a:pt x="108" y="330"/>
                  </a:lnTo>
                  <a:lnTo>
                    <a:pt x="111" y="331"/>
                  </a:lnTo>
                  <a:lnTo>
                    <a:pt x="120" y="336"/>
                  </a:lnTo>
                  <a:lnTo>
                    <a:pt x="126" y="338"/>
                  </a:lnTo>
                  <a:lnTo>
                    <a:pt x="131" y="340"/>
                  </a:lnTo>
                  <a:lnTo>
                    <a:pt x="138" y="340"/>
                  </a:lnTo>
                  <a:lnTo>
                    <a:pt x="141" y="338"/>
                  </a:lnTo>
                  <a:lnTo>
                    <a:pt x="151" y="335"/>
                  </a:lnTo>
                  <a:lnTo>
                    <a:pt x="163" y="328"/>
                  </a:lnTo>
                  <a:lnTo>
                    <a:pt x="176" y="323"/>
                  </a:lnTo>
                  <a:lnTo>
                    <a:pt x="182" y="321"/>
                  </a:lnTo>
                  <a:lnTo>
                    <a:pt x="189" y="320"/>
                  </a:lnTo>
                  <a:lnTo>
                    <a:pt x="196" y="321"/>
                  </a:lnTo>
                  <a:lnTo>
                    <a:pt x="205" y="322"/>
                  </a:lnTo>
                  <a:lnTo>
                    <a:pt x="222" y="327"/>
                  </a:lnTo>
                  <a:lnTo>
                    <a:pt x="230" y="328"/>
                  </a:lnTo>
                  <a:lnTo>
                    <a:pt x="237" y="328"/>
                  </a:lnTo>
                  <a:lnTo>
                    <a:pt x="254" y="326"/>
                  </a:lnTo>
                  <a:lnTo>
                    <a:pt x="270" y="323"/>
                  </a:lnTo>
                  <a:lnTo>
                    <a:pt x="279" y="323"/>
                  </a:lnTo>
                  <a:lnTo>
                    <a:pt x="286" y="325"/>
                  </a:lnTo>
                  <a:lnTo>
                    <a:pt x="291" y="325"/>
                  </a:lnTo>
                  <a:lnTo>
                    <a:pt x="297" y="323"/>
                  </a:lnTo>
                  <a:lnTo>
                    <a:pt x="311" y="320"/>
                  </a:lnTo>
                  <a:lnTo>
                    <a:pt x="326" y="315"/>
                  </a:lnTo>
                  <a:lnTo>
                    <a:pt x="338" y="311"/>
                  </a:lnTo>
                  <a:lnTo>
                    <a:pt x="410" y="299"/>
                  </a:lnTo>
                  <a:lnTo>
                    <a:pt x="418" y="299"/>
                  </a:lnTo>
                  <a:lnTo>
                    <a:pt x="428" y="299"/>
                  </a:lnTo>
                  <a:lnTo>
                    <a:pt x="437" y="299"/>
                  </a:lnTo>
                  <a:lnTo>
                    <a:pt x="447" y="297"/>
                  </a:lnTo>
                  <a:lnTo>
                    <a:pt x="456" y="296"/>
                  </a:lnTo>
                  <a:lnTo>
                    <a:pt x="466" y="296"/>
                  </a:lnTo>
                  <a:lnTo>
                    <a:pt x="481" y="299"/>
                  </a:lnTo>
                  <a:lnTo>
                    <a:pt x="488" y="300"/>
                  </a:lnTo>
                  <a:lnTo>
                    <a:pt x="496" y="300"/>
                  </a:lnTo>
                  <a:lnTo>
                    <a:pt x="502" y="299"/>
                  </a:lnTo>
                  <a:lnTo>
                    <a:pt x="508" y="297"/>
                  </a:lnTo>
                  <a:lnTo>
                    <a:pt x="514" y="295"/>
                  </a:lnTo>
                  <a:lnTo>
                    <a:pt x="523" y="295"/>
                  </a:lnTo>
                  <a:lnTo>
                    <a:pt x="553" y="295"/>
                  </a:lnTo>
                  <a:lnTo>
                    <a:pt x="568" y="295"/>
                  </a:lnTo>
                  <a:lnTo>
                    <a:pt x="581" y="295"/>
                  </a:lnTo>
                  <a:lnTo>
                    <a:pt x="582" y="295"/>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hasta</a:t>
              </a:r>
            </a:p>
          </p:txBody>
        </p:sp>
        <p:sp>
          <p:nvSpPr>
            <p:cNvPr id="18" name="Yuba"/>
            <p:cNvSpPr>
              <a:spLocks/>
            </p:cNvSpPr>
            <p:nvPr/>
          </p:nvSpPr>
          <p:spPr bwMode="auto">
            <a:xfrm>
              <a:off x="2118229" y="3831108"/>
              <a:ext cx="443868" cy="565119"/>
            </a:xfrm>
            <a:custGeom>
              <a:avLst/>
              <a:gdLst>
                <a:gd name="T0" fmla="*/ 2147483647 w 211"/>
                <a:gd name="T1" fmla="*/ 2147483647 h 282"/>
                <a:gd name="T2" fmla="*/ 2147483647 w 211"/>
                <a:gd name="T3" fmla="*/ 2147483647 h 282"/>
                <a:gd name="T4" fmla="*/ 2147483647 w 211"/>
                <a:gd name="T5" fmla="*/ 2147483647 h 282"/>
                <a:gd name="T6" fmla="*/ 2147483647 w 211"/>
                <a:gd name="T7" fmla="*/ 2147483647 h 282"/>
                <a:gd name="T8" fmla="*/ 2147483647 w 211"/>
                <a:gd name="T9" fmla="*/ 2147483647 h 282"/>
                <a:gd name="T10" fmla="*/ 2147483647 w 211"/>
                <a:gd name="T11" fmla="*/ 2147483647 h 282"/>
                <a:gd name="T12" fmla="*/ 2147483647 w 211"/>
                <a:gd name="T13" fmla="*/ 2147483647 h 282"/>
                <a:gd name="T14" fmla="*/ 2147483647 w 211"/>
                <a:gd name="T15" fmla="*/ 2147483647 h 282"/>
                <a:gd name="T16" fmla="*/ 2147483647 w 211"/>
                <a:gd name="T17" fmla="*/ 2147483647 h 282"/>
                <a:gd name="T18" fmla="*/ 2147483647 w 211"/>
                <a:gd name="T19" fmla="*/ 2147483647 h 282"/>
                <a:gd name="T20" fmla="*/ 2147483647 w 211"/>
                <a:gd name="T21" fmla="*/ 2147483647 h 282"/>
                <a:gd name="T22" fmla="*/ 2147483647 w 211"/>
                <a:gd name="T23" fmla="*/ 2147483647 h 282"/>
                <a:gd name="T24" fmla="*/ 2147483647 w 211"/>
                <a:gd name="T25" fmla="*/ 2147483647 h 282"/>
                <a:gd name="T26" fmla="*/ 2147483647 w 211"/>
                <a:gd name="T27" fmla="*/ 0 h 282"/>
                <a:gd name="T28" fmla="*/ 2147483647 w 211"/>
                <a:gd name="T29" fmla="*/ 2147483647 h 282"/>
                <a:gd name="T30" fmla="*/ 2147483647 w 211"/>
                <a:gd name="T31" fmla="*/ 2147483647 h 282"/>
                <a:gd name="T32" fmla="*/ 2147483647 w 211"/>
                <a:gd name="T33" fmla="*/ 2147483647 h 282"/>
                <a:gd name="T34" fmla="*/ 2147483647 w 211"/>
                <a:gd name="T35" fmla="*/ 2147483647 h 282"/>
                <a:gd name="T36" fmla="*/ 2147483647 w 211"/>
                <a:gd name="T37" fmla="*/ 2147483647 h 282"/>
                <a:gd name="T38" fmla="*/ 2147483647 w 211"/>
                <a:gd name="T39" fmla="*/ 2147483647 h 282"/>
                <a:gd name="T40" fmla="*/ 2147483647 w 211"/>
                <a:gd name="T41" fmla="*/ 2147483647 h 282"/>
                <a:gd name="T42" fmla="*/ 2147483647 w 211"/>
                <a:gd name="T43" fmla="*/ 2147483647 h 282"/>
                <a:gd name="T44" fmla="*/ 2147483647 w 211"/>
                <a:gd name="T45" fmla="*/ 2147483647 h 282"/>
                <a:gd name="T46" fmla="*/ 2147483647 w 211"/>
                <a:gd name="T47" fmla="*/ 2147483647 h 282"/>
                <a:gd name="T48" fmla="*/ 2147483647 w 211"/>
                <a:gd name="T49" fmla="*/ 2147483647 h 282"/>
                <a:gd name="T50" fmla="*/ 2147483647 w 211"/>
                <a:gd name="T51" fmla="*/ 2147483647 h 282"/>
                <a:gd name="T52" fmla="*/ 2147483647 w 211"/>
                <a:gd name="T53" fmla="*/ 2147483647 h 282"/>
                <a:gd name="T54" fmla="*/ 2147483647 w 211"/>
                <a:gd name="T55" fmla="*/ 2147483647 h 282"/>
                <a:gd name="T56" fmla="*/ 2147483647 w 211"/>
                <a:gd name="T57" fmla="*/ 2147483647 h 282"/>
                <a:gd name="T58" fmla="*/ 2147483647 w 211"/>
                <a:gd name="T59" fmla="*/ 2147483647 h 282"/>
                <a:gd name="T60" fmla="*/ 2147483647 w 211"/>
                <a:gd name="T61" fmla="*/ 2147483647 h 282"/>
                <a:gd name="T62" fmla="*/ 2147483647 w 211"/>
                <a:gd name="T63" fmla="*/ 2147483647 h 282"/>
                <a:gd name="T64" fmla="*/ 2147483647 w 211"/>
                <a:gd name="T65" fmla="*/ 2147483647 h 282"/>
                <a:gd name="T66" fmla="*/ 2147483647 w 211"/>
                <a:gd name="T67" fmla="*/ 2147483647 h 282"/>
                <a:gd name="T68" fmla="*/ 2147483647 w 211"/>
                <a:gd name="T69" fmla="*/ 2147483647 h 282"/>
                <a:gd name="T70" fmla="*/ 2147483647 w 211"/>
                <a:gd name="T71" fmla="*/ 2147483647 h 282"/>
                <a:gd name="T72" fmla="*/ 2147483647 w 211"/>
                <a:gd name="T73" fmla="*/ 2147483647 h 282"/>
                <a:gd name="T74" fmla="*/ 2147483647 w 211"/>
                <a:gd name="T75" fmla="*/ 2147483647 h 282"/>
                <a:gd name="T76" fmla="*/ 2147483647 w 211"/>
                <a:gd name="T77" fmla="*/ 2147483647 h 282"/>
                <a:gd name="T78" fmla="*/ 2147483647 w 211"/>
                <a:gd name="T79" fmla="*/ 2147483647 h 282"/>
                <a:gd name="T80" fmla="*/ 2147483647 w 211"/>
                <a:gd name="T81" fmla="*/ 2147483647 h 282"/>
                <a:gd name="T82" fmla="*/ 2147483647 w 211"/>
                <a:gd name="T83" fmla="*/ 2147483647 h 282"/>
                <a:gd name="T84" fmla="*/ 2147483647 w 211"/>
                <a:gd name="T85" fmla="*/ 2147483647 h 282"/>
                <a:gd name="T86" fmla="*/ 2147483647 w 211"/>
                <a:gd name="T87" fmla="*/ 2147483647 h 28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11" h="282">
                  <a:moveTo>
                    <a:pt x="118" y="162"/>
                  </a:moveTo>
                  <a:lnTo>
                    <a:pt x="121" y="157"/>
                  </a:lnTo>
                  <a:lnTo>
                    <a:pt x="122" y="151"/>
                  </a:lnTo>
                  <a:lnTo>
                    <a:pt x="123" y="146"/>
                  </a:lnTo>
                  <a:lnTo>
                    <a:pt x="125" y="143"/>
                  </a:lnTo>
                  <a:lnTo>
                    <a:pt x="126" y="142"/>
                  </a:lnTo>
                  <a:lnTo>
                    <a:pt x="132" y="142"/>
                  </a:lnTo>
                  <a:lnTo>
                    <a:pt x="137" y="139"/>
                  </a:lnTo>
                  <a:lnTo>
                    <a:pt x="140" y="138"/>
                  </a:lnTo>
                  <a:lnTo>
                    <a:pt x="143" y="134"/>
                  </a:lnTo>
                  <a:lnTo>
                    <a:pt x="145" y="131"/>
                  </a:lnTo>
                  <a:lnTo>
                    <a:pt x="146" y="124"/>
                  </a:lnTo>
                  <a:lnTo>
                    <a:pt x="147" y="122"/>
                  </a:lnTo>
                  <a:lnTo>
                    <a:pt x="148" y="119"/>
                  </a:lnTo>
                  <a:lnTo>
                    <a:pt x="151" y="118"/>
                  </a:lnTo>
                  <a:lnTo>
                    <a:pt x="155" y="119"/>
                  </a:lnTo>
                  <a:lnTo>
                    <a:pt x="156" y="119"/>
                  </a:lnTo>
                  <a:lnTo>
                    <a:pt x="158" y="118"/>
                  </a:lnTo>
                  <a:lnTo>
                    <a:pt x="161" y="114"/>
                  </a:lnTo>
                  <a:lnTo>
                    <a:pt x="163" y="109"/>
                  </a:lnTo>
                  <a:lnTo>
                    <a:pt x="167" y="106"/>
                  </a:lnTo>
                  <a:lnTo>
                    <a:pt x="171" y="102"/>
                  </a:lnTo>
                  <a:lnTo>
                    <a:pt x="174" y="100"/>
                  </a:lnTo>
                  <a:lnTo>
                    <a:pt x="179" y="98"/>
                  </a:lnTo>
                  <a:lnTo>
                    <a:pt x="184" y="97"/>
                  </a:lnTo>
                  <a:lnTo>
                    <a:pt x="193" y="96"/>
                  </a:lnTo>
                  <a:lnTo>
                    <a:pt x="204" y="96"/>
                  </a:lnTo>
                  <a:lnTo>
                    <a:pt x="203" y="68"/>
                  </a:lnTo>
                  <a:lnTo>
                    <a:pt x="203" y="61"/>
                  </a:lnTo>
                  <a:lnTo>
                    <a:pt x="202" y="53"/>
                  </a:lnTo>
                  <a:lnTo>
                    <a:pt x="199" y="47"/>
                  </a:lnTo>
                  <a:lnTo>
                    <a:pt x="197" y="45"/>
                  </a:lnTo>
                  <a:lnTo>
                    <a:pt x="197" y="41"/>
                  </a:lnTo>
                  <a:lnTo>
                    <a:pt x="198" y="38"/>
                  </a:lnTo>
                  <a:lnTo>
                    <a:pt x="199" y="37"/>
                  </a:lnTo>
                  <a:lnTo>
                    <a:pt x="202" y="36"/>
                  </a:lnTo>
                  <a:lnTo>
                    <a:pt x="206" y="33"/>
                  </a:lnTo>
                  <a:lnTo>
                    <a:pt x="208" y="32"/>
                  </a:lnTo>
                  <a:lnTo>
                    <a:pt x="209" y="30"/>
                  </a:lnTo>
                  <a:lnTo>
                    <a:pt x="211" y="23"/>
                  </a:lnTo>
                  <a:lnTo>
                    <a:pt x="211" y="15"/>
                  </a:lnTo>
                  <a:lnTo>
                    <a:pt x="208" y="0"/>
                  </a:lnTo>
                  <a:lnTo>
                    <a:pt x="186" y="13"/>
                  </a:lnTo>
                  <a:lnTo>
                    <a:pt x="186" y="20"/>
                  </a:lnTo>
                  <a:lnTo>
                    <a:pt x="178" y="20"/>
                  </a:lnTo>
                  <a:lnTo>
                    <a:pt x="179" y="23"/>
                  </a:lnTo>
                  <a:lnTo>
                    <a:pt x="179" y="26"/>
                  </a:lnTo>
                  <a:lnTo>
                    <a:pt x="178" y="27"/>
                  </a:lnTo>
                  <a:lnTo>
                    <a:pt x="176" y="28"/>
                  </a:lnTo>
                  <a:lnTo>
                    <a:pt x="172" y="30"/>
                  </a:lnTo>
                  <a:lnTo>
                    <a:pt x="166" y="28"/>
                  </a:lnTo>
                  <a:lnTo>
                    <a:pt x="166" y="32"/>
                  </a:lnTo>
                  <a:lnTo>
                    <a:pt x="163" y="33"/>
                  </a:lnTo>
                  <a:lnTo>
                    <a:pt x="162" y="35"/>
                  </a:lnTo>
                  <a:lnTo>
                    <a:pt x="161" y="38"/>
                  </a:lnTo>
                  <a:lnTo>
                    <a:pt x="162" y="42"/>
                  </a:lnTo>
                  <a:lnTo>
                    <a:pt x="156" y="46"/>
                  </a:lnTo>
                  <a:lnTo>
                    <a:pt x="153" y="47"/>
                  </a:lnTo>
                  <a:lnTo>
                    <a:pt x="148" y="47"/>
                  </a:lnTo>
                  <a:lnTo>
                    <a:pt x="148" y="43"/>
                  </a:lnTo>
                  <a:lnTo>
                    <a:pt x="138" y="45"/>
                  </a:lnTo>
                  <a:lnTo>
                    <a:pt x="132" y="47"/>
                  </a:lnTo>
                  <a:lnTo>
                    <a:pt x="125" y="48"/>
                  </a:lnTo>
                  <a:lnTo>
                    <a:pt x="116" y="50"/>
                  </a:lnTo>
                  <a:lnTo>
                    <a:pt x="115" y="46"/>
                  </a:lnTo>
                  <a:lnTo>
                    <a:pt x="113" y="45"/>
                  </a:lnTo>
                  <a:lnTo>
                    <a:pt x="112" y="45"/>
                  </a:lnTo>
                  <a:lnTo>
                    <a:pt x="110" y="47"/>
                  </a:lnTo>
                  <a:lnTo>
                    <a:pt x="107" y="53"/>
                  </a:lnTo>
                  <a:lnTo>
                    <a:pt x="105" y="58"/>
                  </a:lnTo>
                  <a:lnTo>
                    <a:pt x="103" y="62"/>
                  </a:lnTo>
                  <a:lnTo>
                    <a:pt x="101" y="66"/>
                  </a:lnTo>
                  <a:lnTo>
                    <a:pt x="96" y="71"/>
                  </a:lnTo>
                  <a:lnTo>
                    <a:pt x="95" y="73"/>
                  </a:lnTo>
                  <a:lnTo>
                    <a:pt x="96" y="76"/>
                  </a:lnTo>
                  <a:lnTo>
                    <a:pt x="96" y="78"/>
                  </a:lnTo>
                  <a:lnTo>
                    <a:pt x="97" y="81"/>
                  </a:lnTo>
                  <a:lnTo>
                    <a:pt x="93" y="90"/>
                  </a:lnTo>
                  <a:lnTo>
                    <a:pt x="90" y="100"/>
                  </a:lnTo>
                  <a:lnTo>
                    <a:pt x="85" y="108"/>
                  </a:lnTo>
                  <a:lnTo>
                    <a:pt x="78" y="116"/>
                  </a:lnTo>
                  <a:lnTo>
                    <a:pt x="76" y="117"/>
                  </a:lnTo>
                  <a:lnTo>
                    <a:pt x="72" y="118"/>
                  </a:lnTo>
                  <a:lnTo>
                    <a:pt x="62" y="119"/>
                  </a:lnTo>
                  <a:lnTo>
                    <a:pt x="53" y="121"/>
                  </a:lnTo>
                  <a:lnTo>
                    <a:pt x="51" y="122"/>
                  </a:lnTo>
                  <a:lnTo>
                    <a:pt x="50" y="123"/>
                  </a:lnTo>
                  <a:lnTo>
                    <a:pt x="48" y="126"/>
                  </a:lnTo>
                  <a:lnTo>
                    <a:pt x="46" y="128"/>
                  </a:lnTo>
                  <a:lnTo>
                    <a:pt x="41" y="131"/>
                  </a:lnTo>
                  <a:lnTo>
                    <a:pt x="36" y="132"/>
                  </a:lnTo>
                  <a:lnTo>
                    <a:pt x="31" y="132"/>
                  </a:lnTo>
                  <a:lnTo>
                    <a:pt x="22" y="131"/>
                  </a:lnTo>
                  <a:lnTo>
                    <a:pt x="12" y="129"/>
                  </a:lnTo>
                  <a:lnTo>
                    <a:pt x="7" y="128"/>
                  </a:lnTo>
                  <a:lnTo>
                    <a:pt x="4" y="129"/>
                  </a:lnTo>
                  <a:lnTo>
                    <a:pt x="1" y="133"/>
                  </a:lnTo>
                  <a:lnTo>
                    <a:pt x="1" y="138"/>
                  </a:lnTo>
                  <a:lnTo>
                    <a:pt x="1" y="142"/>
                  </a:lnTo>
                  <a:lnTo>
                    <a:pt x="0" y="146"/>
                  </a:lnTo>
                  <a:lnTo>
                    <a:pt x="4" y="148"/>
                  </a:lnTo>
                  <a:lnTo>
                    <a:pt x="1" y="149"/>
                  </a:lnTo>
                  <a:lnTo>
                    <a:pt x="0" y="152"/>
                  </a:lnTo>
                  <a:lnTo>
                    <a:pt x="0" y="158"/>
                  </a:lnTo>
                  <a:lnTo>
                    <a:pt x="2" y="172"/>
                  </a:lnTo>
                  <a:lnTo>
                    <a:pt x="9" y="193"/>
                  </a:lnTo>
                  <a:lnTo>
                    <a:pt x="11" y="203"/>
                  </a:lnTo>
                  <a:lnTo>
                    <a:pt x="12" y="214"/>
                  </a:lnTo>
                  <a:lnTo>
                    <a:pt x="11" y="230"/>
                  </a:lnTo>
                  <a:lnTo>
                    <a:pt x="11" y="248"/>
                  </a:lnTo>
                  <a:lnTo>
                    <a:pt x="12" y="265"/>
                  </a:lnTo>
                  <a:lnTo>
                    <a:pt x="15" y="273"/>
                  </a:lnTo>
                  <a:lnTo>
                    <a:pt x="17" y="282"/>
                  </a:lnTo>
                  <a:lnTo>
                    <a:pt x="25" y="270"/>
                  </a:lnTo>
                  <a:lnTo>
                    <a:pt x="28" y="265"/>
                  </a:lnTo>
                  <a:lnTo>
                    <a:pt x="31" y="264"/>
                  </a:lnTo>
                  <a:lnTo>
                    <a:pt x="33" y="263"/>
                  </a:lnTo>
                  <a:lnTo>
                    <a:pt x="53" y="258"/>
                  </a:lnTo>
                  <a:lnTo>
                    <a:pt x="72" y="253"/>
                  </a:lnTo>
                  <a:lnTo>
                    <a:pt x="77" y="250"/>
                  </a:lnTo>
                  <a:lnTo>
                    <a:pt x="82" y="247"/>
                  </a:lnTo>
                  <a:lnTo>
                    <a:pt x="95" y="239"/>
                  </a:lnTo>
                  <a:lnTo>
                    <a:pt x="100" y="235"/>
                  </a:lnTo>
                  <a:lnTo>
                    <a:pt x="105" y="234"/>
                  </a:lnTo>
                  <a:lnTo>
                    <a:pt x="111" y="235"/>
                  </a:lnTo>
                  <a:lnTo>
                    <a:pt x="112" y="237"/>
                  </a:lnTo>
                  <a:lnTo>
                    <a:pt x="115" y="239"/>
                  </a:lnTo>
                  <a:lnTo>
                    <a:pt x="116" y="217"/>
                  </a:lnTo>
                  <a:lnTo>
                    <a:pt x="116" y="194"/>
                  </a:lnTo>
                  <a:lnTo>
                    <a:pt x="116" y="177"/>
                  </a:lnTo>
                  <a:lnTo>
                    <a:pt x="116" y="167"/>
                  </a:lnTo>
                  <a:lnTo>
                    <a:pt x="117" y="164"/>
                  </a:lnTo>
                  <a:lnTo>
                    <a:pt x="117" y="162"/>
                  </a:lnTo>
                  <a:lnTo>
                    <a:pt x="118" y="162"/>
                  </a:lnTo>
                  <a:close/>
                </a:path>
              </a:pathLst>
            </a:custGeom>
            <a:solidFill>
              <a:schemeClr val="bg1">
                <a:lumMod val="75000"/>
              </a:schemeClr>
            </a:solidFill>
            <a:ln w="3175" cmpd="sng">
              <a:solidFill>
                <a:srgbClr val="D9D9D9"/>
              </a:solidFill>
              <a:prstDash val="solid"/>
              <a:round/>
              <a:headEnd/>
              <a:tailEnd/>
            </a:ln>
          </p:spPr>
          <p:txBody>
            <a:bodyPr wrap="none" anchor="ctr"/>
            <a:lstStyle/>
            <a:p>
              <a:r>
                <a:rPr lang="en-US" sz="800" dirty="0">
                  <a:solidFill>
                    <a:prstClr val="black"/>
                  </a:solidFill>
                  <a:latin typeface="Franklin Gothic Book"/>
                  <a:ea typeface="MS PGothic" charset="0"/>
                  <a:cs typeface="MS PGothic" charset="0"/>
                </a:rPr>
                <a:t>Yuba</a:t>
              </a:r>
            </a:p>
          </p:txBody>
        </p:sp>
        <p:sp>
          <p:nvSpPr>
            <p:cNvPr id="19" name="Butte"/>
            <p:cNvSpPr>
              <a:spLocks/>
            </p:cNvSpPr>
            <p:nvPr/>
          </p:nvSpPr>
          <p:spPr bwMode="auto">
            <a:xfrm>
              <a:off x="1806892" y="3410271"/>
              <a:ext cx="702615" cy="685355"/>
            </a:xfrm>
            <a:custGeom>
              <a:avLst/>
              <a:gdLst>
                <a:gd name="T0" fmla="*/ 2147483647 w 334"/>
                <a:gd name="T1" fmla="*/ 2147483647 h 343"/>
                <a:gd name="T2" fmla="*/ 2147483647 w 334"/>
                <a:gd name="T3" fmla="*/ 2147483647 h 343"/>
                <a:gd name="T4" fmla="*/ 2147483647 w 334"/>
                <a:gd name="T5" fmla="*/ 2147483647 h 343"/>
                <a:gd name="T6" fmla="*/ 2147483647 w 334"/>
                <a:gd name="T7" fmla="*/ 2147483647 h 343"/>
                <a:gd name="T8" fmla="*/ 2147483647 w 334"/>
                <a:gd name="T9" fmla="*/ 2147483647 h 343"/>
                <a:gd name="T10" fmla="*/ 2147483647 w 334"/>
                <a:gd name="T11" fmla="*/ 2147483647 h 343"/>
                <a:gd name="T12" fmla="*/ 2147483647 w 334"/>
                <a:gd name="T13" fmla="*/ 2147483647 h 343"/>
                <a:gd name="T14" fmla="*/ 2147483647 w 334"/>
                <a:gd name="T15" fmla="*/ 2147483647 h 343"/>
                <a:gd name="T16" fmla="*/ 2147483647 w 334"/>
                <a:gd name="T17" fmla="*/ 2147483647 h 343"/>
                <a:gd name="T18" fmla="*/ 2147483647 w 334"/>
                <a:gd name="T19" fmla="*/ 2147483647 h 343"/>
                <a:gd name="T20" fmla="*/ 2147483647 w 334"/>
                <a:gd name="T21" fmla="*/ 2147483647 h 343"/>
                <a:gd name="T22" fmla="*/ 2147483647 w 334"/>
                <a:gd name="T23" fmla="*/ 2147483647 h 343"/>
                <a:gd name="T24" fmla="*/ 2147483647 w 334"/>
                <a:gd name="T25" fmla="*/ 2147483647 h 343"/>
                <a:gd name="T26" fmla="*/ 2147483647 w 334"/>
                <a:gd name="T27" fmla="*/ 2147483647 h 343"/>
                <a:gd name="T28" fmla="*/ 2147483647 w 334"/>
                <a:gd name="T29" fmla="*/ 2147483647 h 343"/>
                <a:gd name="T30" fmla="*/ 2147483647 w 334"/>
                <a:gd name="T31" fmla="*/ 2147483647 h 343"/>
                <a:gd name="T32" fmla="*/ 2147483647 w 334"/>
                <a:gd name="T33" fmla="*/ 2147483647 h 343"/>
                <a:gd name="T34" fmla="*/ 2147483647 w 334"/>
                <a:gd name="T35" fmla="*/ 2147483647 h 343"/>
                <a:gd name="T36" fmla="*/ 2147483647 w 334"/>
                <a:gd name="T37" fmla="*/ 2147483647 h 343"/>
                <a:gd name="T38" fmla="*/ 2147483647 w 334"/>
                <a:gd name="T39" fmla="*/ 2147483647 h 343"/>
                <a:gd name="T40" fmla="*/ 2147483647 w 334"/>
                <a:gd name="T41" fmla="*/ 2147483647 h 343"/>
                <a:gd name="T42" fmla="*/ 2147483647 w 334"/>
                <a:gd name="T43" fmla="*/ 2147483647 h 343"/>
                <a:gd name="T44" fmla="*/ 2147483647 w 334"/>
                <a:gd name="T45" fmla="*/ 2147483647 h 343"/>
                <a:gd name="T46" fmla="*/ 2147483647 w 334"/>
                <a:gd name="T47" fmla="*/ 2147483647 h 343"/>
                <a:gd name="T48" fmla="*/ 2147483647 w 334"/>
                <a:gd name="T49" fmla="*/ 2147483647 h 343"/>
                <a:gd name="T50" fmla="*/ 2147483647 w 334"/>
                <a:gd name="T51" fmla="*/ 2147483647 h 343"/>
                <a:gd name="T52" fmla="*/ 2147483647 w 334"/>
                <a:gd name="T53" fmla="*/ 2147483647 h 343"/>
                <a:gd name="T54" fmla="*/ 2147483647 w 334"/>
                <a:gd name="T55" fmla="*/ 2147483647 h 343"/>
                <a:gd name="T56" fmla="*/ 2147483647 w 334"/>
                <a:gd name="T57" fmla="*/ 2147483647 h 343"/>
                <a:gd name="T58" fmla="*/ 2147483647 w 334"/>
                <a:gd name="T59" fmla="*/ 2147483647 h 343"/>
                <a:gd name="T60" fmla="*/ 2147483647 w 334"/>
                <a:gd name="T61" fmla="*/ 2147483647 h 343"/>
                <a:gd name="T62" fmla="*/ 2147483647 w 334"/>
                <a:gd name="T63" fmla="*/ 0 h 343"/>
                <a:gd name="T64" fmla="*/ 2147483647 w 334"/>
                <a:gd name="T65" fmla="*/ 2147483647 h 343"/>
                <a:gd name="T66" fmla="*/ 2147483647 w 334"/>
                <a:gd name="T67" fmla="*/ 2147483647 h 343"/>
                <a:gd name="T68" fmla="*/ 2147483647 w 334"/>
                <a:gd name="T69" fmla="*/ 2147483647 h 343"/>
                <a:gd name="T70" fmla="*/ 2147483647 w 334"/>
                <a:gd name="T71" fmla="*/ 2147483647 h 343"/>
                <a:gd name="T72" fmla="*/ 2147483647 w 334"/>
                <a:gd name="T73" fmla="*/ 2147483647 h 343"/>
                <a:gd name="T74" fmla="*/ 2147483647 w 334"/>
                <a:gd name="T75" fmla="*/ 2147483647 h 343"/>
                <a:gd name="T76" fmla="*/ 2147483647 w 334"/>
                <a:gd name="T77" fmla="*/ 2147483647 h 343"/>
                <a:gd name="T78" fmla="*/ 2147483647 w 334"/>
                <a:gd name="T79" fmla="*/ 2147483647 h 343"/>
                <a:gd name="T80" fmla="*/ 2147483647 w 334"/>
                <a:gd name="T81" fmla="*/ 2147483647 h 343"/>
                <a:gd name="T82" fmla="*/ 2147483647 w 334"/>
                <a:gd name="T83" fmla="*/ 2147483647 h 343"/>
                <a:gd name="T84" fmla="*/ 2147483647 w 334"/>
                <a:gd name="T85" fmla="*/ 2147483647 h 343"/>
                <a:gd name="T86" fmla="*/ 2147483647 w 334"/>
                <a:gd name="T87" fmla="*/ 2147483647 h 343"/>
                <a:gd name="T88" fmla="*/ 2147483647 w 334"/>
                <a:gd name="T89" fmla="*/ 2147483647 h 343"/>
                <a:gd name="T90" fmla="*/ 2147483647 w 334"/>
                <a:gd name="T91" fmla="*/ 2147483647 h 343"/>
                <a:gd name="T92" fmla="*/ 2147483647 w 334"/>
                <a:gd name="T93" fmla="*/ 2147483647 h 343"/>
                <a:gd name="T94" fmla="*/ 2147483647 w 334"/>
                <a:gd name="T95" fmla="*/ 2147483647 h 343"/>
                <a:gd name="T96" fmla="*/ 2147483647 w 334"/>
                <a:gd name="T97" fmla="*/ 2147483647 h 343"/>
                <a:gd name="T98" fmla="*/ 2147483647 w 334"/>
                <a:gd name="T99" fmla="*/ 2147483647 h 343"/>
                <a:gd name="T100" fmla="*/ 2147483647 w 334"/>
                <a:gd name="T101" fmla="*/ 2147483647 h 343"/>
                <a:gd name="T102" fmla="*/ 2147483647 w 334"/>
                <a:gd name="T103" fmla="*/ 2147483647 h 343"/>
                <a:gd name="T104" fmla="*/ 2147483647 w 334"/>
                <a:gd name="T105" fmla="*/ 2147483647 h 343"/>
                <a:gd name="T106" fmla="*/ 2147483647 w 334"/>
                <a:gd name="T107" fmla="*/ 2147483647 h 343"/>
                <a:gd name="T108" fmla="*/ 2147483647 w 334"/>
                <a:gd name="T109" fmla="*/ 2147483647 h 343"/>
                <a:gd name="T110" fmla="*/ 2147483647 w 334"/>
                <a:gd name="T111" fmla="*/ 2147483647 h 343"/>
                <a:gd name="T112" fmla="*/ 2147483647 w 334"/>
                <a:gd name="T113" fmla="*/ 2147483647 h 343"/>
                <a:gd name="T114" fmla="*/ 2147483647 w 334"/>
                <a:gd name="T115" fmla="*/ 2147483647 h 343"/>
                <a:gd name="T116" fmla="*/ 2147483647 w 334"/>
                <a:gd name="T117" fmla="*/ 2147483647 h 343"/>
                <a:gd name="T118" fmla="*/ 2147483647 w 334"/>
                <a:gd name="T119" fmla="*/ 2147483647 h 343"/>
                <a:gd name="T120" fmla="*/ 2147483647 w 334"/>
                <a:gd name="T121" fmla="*/ 2147483647 h 34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34" h="343">
                  <a:moveTo>
                    <a:pt x="189" y="342"/>
                  </a:moveTo>
                  <a:lnTo>
                    <a:pt x="194" y="339"/>
                  </a:lnTo>
                  <a:lnTo>
                    <a:pt x="196" y="337"/>
                  </a:lnTo>
                  <a:lnTo>
                    <a:pt x="198" y="334"/>
                  </a:lnTo>
                  <a:lnTo>
                    <a:pt x="199" y="333"/>
                  </a:lnTo>
                  <a:lnTo>
                    <a:pt x="201" y="332"/>
                  </a:lnTo>
                  <a:lnTo>
                    <a:pt x="210" y="330"/>
                  </a:lnTo>
                  <a:lnTo>
                    <a:pt x="220" y="329"/>
                  </a:lnTo>
                  <a:lnTo>
                    <a:pt x="224" y="328"/>
                  </a:lnTo>
                  <a:lnTo>
                    <a:pt x="226" y="327"/>
                  </a:lnTo>
                  <a:lnTo>
                    <a:pt x="233" y="319"/>
                  </a:lnTo>
                  <a:lnTo>
                    <a:pt x="238" y="311"/>
                  </a:lnTo>
                  <a:lnTo>
                    <a:pt x="241" y="301"/>
                  </a:lnTo>
                  <a:lnTo>
                    <a:pt x="245" y="292"/>
                  </a:lnTo>
                  <a:lnTo>
                    <a:pt x="244" y="289"/>
                  </a:lnTo>
                  <a:lnTo>
                    <a:pt x="244" y="287"/>
                  </a:lnTo>
                  <a:lnTo>
                    <a:pt x="243" y="284"/>
                  </a:lnTo>
                  <a:lnTo>
                    <a:pt x="244" y="282"/>
                  </a:lnTo>
                  <a:lnTo>
                    <a:pt x="249" y="277"/>
                  </a:lnTo>
                  <a:lnTo>
                    <a:pt x="251" y="273"/>
                  </a:lnTo>
                  <a:lnTo>
                    <a:pt x="253" y="269"/>
                  </a:lnTo>
                  <a:lnTo>
                    <a:pt x="255" y="264"/>
                  </a:lnTo>
                  <a:lnTo>
                    <a:pt x="258" y="258"/>
                  </a:lnTo>
                  <a:lnTo>
                    <a:pt x="260" y="256"/>
                  </a:lnTo>
                  <a:lnTo>
                    <a:pt x="261" y="256"/>
                  </a:lnTo>
                  <a:lnTo>
                    <a:pt x="263" y="257"/>
                  </a:lnTo>
                  <a:lnTo>
                    <a:pt x="264" y="261"/>
                  </a:lnTo>
                  <a:lnTo>
                    <a:pt x="273" y="259"/>
                  </a:lnTo>
                  <a:lnTo>
                    <a:pt x="280" y="258"/>
                  </a:lnTo>
                  <a:lnTo>
                    <a:pt x="286" y="256"/>
                  </a:lnTo>
                  <a:lnTo>
                    <a:pt x="296" y="254"/>
                  </a:lnTo>
                  <a:lnTo>
                    <a:pt x="296" y="258"/>
                  </a:lnTo>
                  <a:lnTo>
                    <a:pt x="301" y="258"/>
                  </a:lnTo>
                  <a:lnTo>
                    <a:pt x="304" y="257"/>
                  </a:lnTo>
                  <a:lnTo>
                    <a:pt x="310" y="253"/>
                  </a:lnTo>
                  <a:lnTo>
                    <a:pt x="309" y="249"/>
                  </a:lnTo>
                  <a:lnTo>
                    <a:pt x="310" y="246"/>
                  </a:lnTo>
                  <a:lnTo>
                    <a:pt x="311" y="244"/>
                  </a:lnTo>
                  <a:lnTo>
                    <a:pt x="314" y="243"/>
                  </a:lnTo>
                  <a:lnTo>
                    <a:pt x="314" y="239"/>
                  </a:lnTo>
                  <a:lnTo>
                    <a:pt x="320" y="241"/>
                  </a:lnTo>
                  <a:lnTo>
                    <a:pt x="324" y="239"/>
                  </a:lnTo>
                  <a:lnTo>
                    <a:pt x="326" y="238"/>
                  </a:lnTo>
                  <a:lnTo>
                    <a:pt x="327" y="237"/>
                  </a:lnTo>
                  <a:lnTo>
                    <a:pt x="327" y="234"/>
                  </a:lnTo>
                  <a:lnTo>
                    <a:pt x="326" y="231"/>
                  </a:lnTo>
                  <a:lnTo>
                    <a:pt x="334" y="231"/>
                  </a:lnTo>
                  <a:lnTo>
                    <a:pt x="334" y="224"/>
                  </a:lnTo>
                  <a:lnTo>
                    <a:pt x="330" y="226"/>
                  </a:lnTo>
                  <a:lnTo>
                    <a:pt x="329" y="217"/>
                  </a:lnTo>
                  <a:lnTo>
                    <a:pt x="320" y="218"/>
                  </a:lnTo>
                  <a:lnTo>
                    <a:pt x="320" y="216"/>
                  </a:lnTo>
                  <a:lnTo>
                    <a:pt x="319" y="214"/>
                  </a:lnTo>
                  <a:lnTo>
                    <a:pt x="316" y="213"/>
                  </a:lnTo>
                  <a:lnTo>
                    <a:pt x="314" y="214"/>
                  </a:lnTo>
                  <a:lnTo>
                    <a:pt x="314" y="209"/>
                  </a:lnTo>
                  <a:lnTo>
                    <a:pt x="314" y="206"/>
                  </a:lnTo>
                  <a:lnTo>
                    <a:pt x="311" y="202"/>
                  </a:lnTo>
                  <a:lnTo>
                    <a:pt x="308" y="202"/>
                  </a:lnTo>
                  <a:lnTo>
                    <a:pt x="308" y="200"/>
                  </a:lnTo>
                  <a:lnTo>
                    <a:pt x="305" y="198"/>
                  </a:lnTo>
                  <a:lnTo>
                    <a:pt x="304" y="198"/>
                  </a:lnTo>
                  <a:lnTo>
                    <a:pt x="304" y="196"/>
                  </a:lnTo>
                  <a:lnTo>
                    <a:pt x="301" y="197"/>
                  </a:lnTo>
                  <a:lnTo>
                    <a:pt x="301" y="191"/>
                  </a:lnTo>
                  <a:lnTo>
                    <a:pt x="295" y="191"/>
                  </a:lnTo>
                  <a:lnTo>
                    <a:pt x="295" y="188"/>
                  </a:lnTo>
                  <a:lnTo>
                    <a:pt x="294" y="186"/>
                  </a:lnTo>
                  <a:lnTo>
                    <a:pt x="293" y="185"/>
                  </a:lnTo>
                  <a:lnTo>
                    <a:pt x="289" y="186"/>
                  </a:lnTo>
                  <a:lnTo>
                    <a:pt x="290" y="181"/>
                  </a:lnTo>
                  <a:lnTo>
                    <a:pt x="289" y="177"/>
                  </a:lnTo>
                  <a:lnTo>
                    <a:pt x="286" y="175"/>
                  </a:lnTo>
                  <a:lnTo>
                    <a:pt x="281" y="175"/>
                  </a:lnTo>
                  <a:lnTo>
                    <a:pt x="280" y="171"/>
                  </a:lnTo>
                  <a:lnTo>
                    <a:pt x="279" y="168"/>
                  </a:lnTo>
                  <a:lnTo>
                    <a:pt x="271" y="162"/>
                  </a:lnTo>
                  <a:lnTo>
                    <a:pt x="265" y="157"/>
                  </a:lnTo>
                  <a:lnTo>
                    <a:pt x="259" y="152"/>
                  </a:lnTo>
                  <a:lnTo>
                    <a:pt x="258" y="148"/>
                  </a:lnTo>
                  <a:lnTo>
                    <a:pt x="255" y="145"/>
                  </a:lnTo>
                  <a:lnTo>
                    <a:pt x="251" y="146"/>
                  </a:lnTo>
                  <a:lnTo>
                    <a:pt x="248" y="140"/>
                  </a:lnTo>
                  <a:lnTo>
                    <a:pt x="245" y="137"/>
                  </a:lnTo>
                  <a:lnTo>
                    <a:pt x="240" y="136"/>
                  </a:lnTo>
                  <a:lnTo>
                    <a:pt x="240" y="130"/>
                  </a:lnTo>
                  <a:lnTo>
                    <a:pt x="238" y="130"/>
                  </a:lnTo>
                  <a:lnTo>
                    <a:pt x="238" y="125"/>
                  </a:lnTo>
                  <a:lnTo>
                    <a:pt x="236" y="121"/>
                  </a:lnTo>
                  <a:lnTo>
                    <a:pt x="233" y="120"/>
                  </a:lnTo>
                  <a:lnTo>
                    <a:pt x="228" y="121"/>
                  </a:lnTo>
                  <a:lnTo>
                    <a:pt x="229" y="117"/>
                  </a:lnTo>
                  <a:lnTo>
                    <a:pt x="223" y="118"/>
                  </a:lnTo>
                  <a:lnTo>
                    <a:pt x="221" y="112"/>
                  </a:lnTo>
                  <a:lnTo>
                    <a:pt x="220" y="107"/>
                  </a:lnTo>
                  <a:lnTo>
                    <a:pt x="218" y="105"/>
                  </a:lnTo>
                  <a:lnTo>
                    <a:pt x="216" y="102"/>
                  </a:lnTo>
                  <a:lnTo>
                    <a:pt x="218" y="99"/>
                  </a:lnTo>
                  <a:lnTo>
                    <a:pt x="220" y="99"/>
                  </a:lnTo>
                  <a:lnTo>
                    <a:pt x="221" y="99"/>
                  </a:lnTo>
                  <a:lnTo>
                    <a:pt x="223" y="96"/>
                  </a:lnTo>
                  <a:lnTo>
                    <a:pt x="221" y="94"/>
                  </a:lnTo>
                  <a:lnTo>
                    <a:pt x="220" y="92"/>
                  </a:lnTo>
                  <a:lnTo>
                    <a:pt x="220" y="84"/>
                  </a:lnTo>
                  <a:lnTo>
                    <a:pt x="220" y="76"/>
                  </a:lnTo>
                  <a:lnTo>
                    <a:pt x="219" y="70"/>
                  </a:lnTo>
                  <a:lnTo>
                    <a:pt x="220" y="62"/>
                  </a:lnTo>
                  <a:lnTo>
                    <a:pt x="216" y="62"/>
                  </a:lnTo>
                  <a:lnTo>
                    <a:pt x="218" y="59"/>
                  </a:lnTo>
                  <a:lnTo>
                    <a:pt x="218" y="55"/>
                  </a:lnTo>
                  <a:lnTo>
                    <a:pt x="221" y="50"/>
                  </a:lnTo>
                  <a:lnTo>
                    <a:pt x="224" y="47"/>
                  </a:lnTo>
                  <a:lnTo>
                    <a:pt x="228" y="45"/>
                  </a:lnTo>
                  <a:lnTo>
                    <a:pt x="230" y="42"/>
                  </a:lnTo>
                  <a:lnTo>
                    <a:pt x="231" y="40"/>
                  </a:lnTo>
                  <a:lnTo>
                    <a:pt x="230" y="36"/>
                  </a:lnTo>
                  <a:lnTo>
                    <a:pt x="234" y="36"/>
                  </a:lnTo>
                  <a:lnTo>
                    <a:pt x="233" y="31"/>
                  </a:lnTo>
                  <a:lnTo>
                    <a:pt x="230" y="27"/>
                  </a:lnTo>
                  <a:lnTo>
                    <a:pt x="226" y="27"/>
                  </a:lnTo>
                  <a:lnTo>
                    <a:pt x="228" y="22"/>
                  </a:lnTo>
                  <a:lnTo>
                    <a:pt x="221" y="24"/>
                  </a:lnTo>
                  <a:lnTo>
                    <a:pt x="223" y="16"/>
                  </a:lnTo>
                  <a:lnTo>
                    <a:pt x="223" y="9"/>
                  </a:lnTo>
                  <a:lnTo>
                    <a:pt x="223" y="5"/>
                  </a:lnTo>
                  <a:lnTo>
                    <a:pt x="221" y="2"/>
                  </a:lnTo>
                  <a:lnTo>
                    <a:pt x="219" y="0"/>
                  </a:lnTo>
                  <a:lnTo>
                    <a:pt x="215" y="0"/>
                  </a:lnTo>
                  <a:lnTo>
                    <a:pt x="209" y="0"/>
                  </a:lnTo>
                  <a:lnTo>
                    <a:pt x="210" y="4"/>
                  </a:lnTo>
                  <a:lnTo>
                    <a:pt x="210" y="7"/>
                  </a:lnTo>
                  <a:lnTo>
                    <a:pt x="209" y="9"/>
                  </a:lnTo>
                  <a:lnTo>
                    <a:pt x="206" y="10"/>
                  </a:lnTo>
                  <a:lnTo>
                    <a:pt x="208" y="14"/>
                  </a:lnTo>
                  <a:lnTo>
                    <a:pt x="196" y="17"/>
                  </a:lnTo>
                  <a:lnTo>
                    <a:pt x="188" y="21"/>
                  </a:lnTo>
                  <a:lnTo>
                    <a:pt x="175" y="22"/>
                  </a:lnTo>
                  <a:lnTo>
                    <a:pt x="160" y="24"/>
                  </a:lnTo>
                  <a:lnTo>
                    <a:pt x="161" y="39"/>
                  </a:lnTo>
                  <a:lnTo>
                    <a:pt x="160" y="39"/>
                  </a:lnTo>
                  <a:lnTo>
                    <a:pt x="159" y="41"/>
                  </a:lnTo>
                  <a:lnTo>
                    <a:pt x="158" y="40"/>
                  </a:lnTo>
                  <a:lnTo>
                    <a:pt x="155" y="45"/>
                  </a:lnTo>
                  <a:lnTo>
                    <a:pt x="153" y="49"/>
                  </a:lnTo>
                  <a:lnTo>
                    <a:pt x="149" y="52"/>
                  </a:lnTo>
                  <a:lnTo>
                    <a:pt x="148" y="56"/>
                  </a:lnTo>
                  <a:lnTo>
                    <a:pt x="147" y="64"/>
                  </a:lnTo>
                  <a:lnTo>
                    <a:pt x="143" y="70"/>
                  </a:lnTo>
                  <a:lnTo>
                    <a:pt x="140" y="71"/>
                  </a:lnTo>
                  <a:lnTo>
                    <a:pt x="138" y="71"/>
                  </a:lnTo>
                  <a:lnTo>
                    <a:pt x="132" y="70"/>
                  </a:lnTo>
                  <a:lnTo>
                    <a:pt x="125" y="70"/>
                  </a:lnTo>
                  <a:lnTo>
                    <a:pt x="123" y="71"/>
                  </a:lnTo>
                  <a:lnTo>
                    <a:pt x="120" y="72"/>
                  </a:lnTo>
                  <a:lnTo>
                    <a:pt x="117" y="80"/>
                  </a:lnTo>
                  <a:lnTo>
                    <a:pt x="114" y="89"/>
                  </a:lnTo>
                  <a:lnTo>
                    <a:pt x="110" y="97"/>
                  </a:lnTo>
                  <a:lnTo>
                    <a:pt x="105" y="103"/>
                  </a:lnTo>
                  <a:lnTo>
                    <a:pt x="102" y="107"/>
                  </a:lnTo>
                  <a:lnTo>
                    <a:pt x="98" y="108"/>
                  </a:lnTo>
                  <a:lnTo>
                    <a:pt x="94" y="110"/>
                  </a:lnTo>
                  <a:lnTo>
                    <a:pt x="89" y="111"/>
                  </a:lnTo>
                  <a:lnTo>
                    <a:pt x="80" y="110"/>
                  </a:lnTo>
                  <a:lnTo>
                    <a:pt x="70" y="110"/>
                  </a:lnTo>
                  <a:lnTo>
                    <a:pt x="10" y="110"/>
                  </a:lnTo>
                  <a:lnTo>
                    <a:pt x="2" y="110"/>
                  </a:lnTo>
                  <a:lnTo>
                    <a:pt x="0" y="111"/>
                  </a:lnTo>
                  <a:lnTo>
                    <a:pt x="2" y="111"/>
                  </a:lnTo>
                  <a:lnTo>
                    <a:pt x="5" y="112"/>
                  </a:lnTo>
                  <a:lnTo>
                    <a:pt x="8" y="112"/>
                  </a:lnTo>
                  <a:lnTo>
                    <a:pt x="8" y="111"/>
                  </a:lnTo>
                  <a:lnTo>
                    <a:pt x="9" y="113"/>
                  </a:lnTo>
                  <a:lnTo>
                    <a:pt x="12" y="113"/>
                  </a:lnTo>
                  <a:lnTo>
                    <a:pt x="13" y="115"/>
                  </a:lnTo>
                  <a:lnTo>
                    <a:pt x="9" y="117"/>
                  </a:lnTo>
                  <a:lnTo>
                    <a:pt x="8" y="118"/>
                  </a:lnTo>
                  <a:lnTo>
                    <a:pt x="7" y="121"/>
                  </a:lnTo>
                  <a:lnTo>
                    <a:pt x="4" y="126"/>
                  </a:lnTo>
                  <a:lnTo>
                    <a:pt x="4" y="131"/>
                  </a:lnTo>
                  <a:lnTo>
                    <a:pt x="4" y="136"/>
                  </a:lnTo>
                  <a:lnTo>
                    <a:pt x="5" y="141"/>
                  </a:lnTo>
                  <a:lnTo>
                    <a:pt x="8" y="145"/>
                  </a:lnTo>
                  <a:lnTo>
                    <a:pt x="9" y="145"/>
                  </a:lnTo>
                  <a:lnTo>
                    <a:pt x="9" y="146"/>
                  </a:lnTo>
                  <a:lnTo>
                    <a:pt x="13" y="145"/>
                  </a:lnTo>
                  <a:lnTo>
                    <a:pt x="15" y="146"/>
                  </a:lnTo>
                  <a:lnTo>
                    <a:pt x="17" y="147"/>
                  </a:lnTo>
                  <a:lnTo>
                    <a:pt x="18" y="148"/>
                  </a:lnTo>
                  <a:lnTo>
                    <a:pt x="18" y="155"/>
                  </a:lnTo>
                  <a:lnTo>
                    <a:pt x="19" y="157"/>
                  </a:lnTo>
                  <a:lnTo>
                    <a:pt x="20" y="160"/>
                  </a:lnTo>
                  <a:lnTo>
                    <a:pt x="27" y="165"/>
                  </a:lnTo>
                  <a:lnTo>
                    <a:pt x="32" y="166"/>
                  </a:lnTo>
                  <a:lnTo>
                    <a:pt x="37" y="168"/>
                  </a:lnTo>
                  <a:lnTo>
                    <a:pt x="38" y="171"/>
                  </a:lnTo>
                  <a:lnTo>
                    <a:pt x="40" y="175"/>
                  </a:lnTo>
                  <a:lnTo>
                    <a:pt x="43" y="178"/>
                  </a:lnTo>
                  <a:lnTo>
                    <a:pt x="43" y="183"/>
                  </a:lnTo>
                  <a:lnTo>
                    <a:pt x="43" y="188"/>
                  </a:lnTo>
                  <a:lnTo>
                    <a:pt x="40" y="192"/>
                  </a:lnTo>
                  <a:lnTo>
                    <a:pt x="37" y="192"/>
                  </a:lnTo>
                  <a:lnTo>
                    <a:pt x="32" y="195"/>
                  </a:lnTo>
                  <a:lnTo>
                    <a:pt x="29" y="196"/>
                  </a:lnTo>
                  <a:lnTo>
                    <a:pt x="28" y="197"/>
                  </a:lnTo>
                  <a:lnTo>
                    <a:pt x="28" y="200"/>
                  </a:lnTo>
                  <a:lnTo>
                    <a:pt x="30" y="201"/>
                  </a:lnTo>
                  <a:lnTo>
                    <a:pt x="34" y="202"/>
                  </a:lnTo>
                  <a:lnTo>
                    <a:pt x="34" y="203"/>
                  </a:lnTo>
                  <a:lnTo>
                    <a:pt x="34" y="205"/>
                  </a:lnTo>
                  <a:lnTo>
                    <a:pt x="32" y="206"/>
                  </a:lnTo>
                  <a:lnTo>
                    <a:pt x="30" y="207"/>
                  </a:lnTo>
                  <a:lnTo>
                    <a:pt x="30" y="218"/>
                  </a:lnTo>
                  <a:lnTo>
                    <a:pt x="28" y="227"/>
                  </a:lnTo>
                  <a:lnTo>
                    <a:pt x="27" y="232"/>
                  </a:lnTo>
                  <a:lnTo>
                    <a:pt x="27" y="236"/>
                  </a:lnTo>
                  <a:lnTo>
                    <a:pt x="27" y="241"/>
                  </a:lnTo>
                  <a:lnTo>
                    <a:pt x="27" y="247"/>
                  </a:lnTo>
                  <a:lnTo>
                    <a:pt x="27" y="251"/>
                  </a:lnTo>
                  <a:lnTo>
                    <a:pt x="28" y="252"/>
                  </a:lnTo>
                  <a:lnTo>
                    <a:pt x="32" y="253"/>
                  </a:lnTo>
                  <a:lnTo>
                    <a:pt x="35" y="252"/>
                  </a:lnTo>
                  <a:lnTo>
                    <a:pt x="40" y="249"/>
                  </a:lnTo>
                  <a:lnTo>
                    <a:pt x="45" y="248"/>
                  </a:lnTo>
                  <a:lnTo>
                    <a:pt x="57" y="248"/>
                  </a:lnTo>
                  <a:lnTo>
                    <a:pt x="79" y="248"/>
                  </a:lnTo>
                  <a:lnTo>
                    <a:pt x="73" y="254"/>
                  </a:lnTo>
                  <a:lnTo>
                    <a:pt x="69" y="261"/>
                  </a:lnTo>
                  <a:lnTo>
                    <a:pt x="67" y="268"/>
                  </a:lnTo>
                  <a:lnTo>
                    <a:pt x="65" y="276"/>
                  </a:lnTo>
                  <a:lnTo>
                    <a:pt x="64" y="292"/>
                  </a:lnTo>
                  <a:lnTo>
                    <a:pt x="63" y="299"/>
                  </a:lnTo>
                  <a:lnTo>
                    <a:pt x="60" y="308"/>
                  </a:lnTo>
                  <a:lnTo>
                    <a:pt x="60" y="325"/>
                  </a:lnTo>
                  <a:lnTo>
                    <a:pt x="59" y="334"/>
                  </a:lnTo>
                  <a:lnTo>
                    <a:pt x="57" y="342"/>
                  </a:lnTo>
                  <a:lnTo>
                    <a:pt x="68" y="343"/>
                  </a:lnTo>
                  <a:lnTo>
                    <a:pt x="79" y="343"/>
                  </a:lnTo>
                  <a:lnTo>
                    <a:pt x="104" y="343"/>
                  </a:lnTo>
                  <a:lnTo>
                    <a:pt x="128" y="342"/>
                  </a:lnTo>
                  <a:lnTo>
                    <a:pt x="152" y="340"/>
                  </a:lnTo>
                  <a:lnTo>
                    <a:pt x="155" y="339"/>
                  </a:lnTo>
                  <a:lnTo>
                    <a:pt x="160" y="340"/>
                  </a:lnTo>
                  <a:lnTo>
                    <a:pt x="170" y="342"/>
                  </a:lnTo>
                  <a:lnTo>
                    <a:pt x="179" y="343"/>
                  </a:lnTo>
                  <a:lnTo>
                    <a:pt x="184" y="343"/>
                  </a:lnTo>
                  <a:lnTo>
                    <a:pt x="188" y="342"/>
                  </a:lnTo>
                  <a:lnTo>
                    <a:pt x="189" y="342"/>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Butte</a:t>
              </a:r>
            </a:p>
          </p:txBody>
        </p:sp>
        <p:sp>
          <p:nvSpPr>
            <p:cNvPr id="20" name="Glenn"/>
            <p:cNvSpPr>
              <a:spLocks/>
            </p:cNvSpPr>
            <p:nvPr/>
          </p:nvSpPr>
          <p:spPr bwMode="auto">
            <a:xfrm>
              <a:off x="1201041" y="3694838"/>
              <a:ext cx="772037" cy="332658"/>
            </a:xfrm>
            <a:custGeom>
              <a:avLst/>
              <a:gdLst>
                <a:gd name="T0" fmla="*/ 2147483647 w 367"/>
                <a:gd name="T1" fmla="*/ 2147483647 h 166"/>
                <a:gd name="T2" fmla="*/ 2147483647 w 367"/>
                <a:gd name="T3" fmla="*/ 2147483647 h 166"/>
                <a:gd name="T4" fmla="*/ 2147483647 w 367"/>
                <a:gd name="T5" fmla="*/ 2147483647 h 166"/>
                <a:gd name="T6" fmla="*/ 2147483647 w 367"/>
                <a:gd name="T7" fmla="*/ 2147483647 h 166"/>
                <a:gd name="T8" fmla="*/ 2147483647 w 367"/>
                <a:gd name="T9" fmla="*/ 2147483647 h 166"/>
                <a:gd name="T10" fmla="*/ 2147483647 w 367"/>
                <a:gd name="T11" fmla="*/ 2147483647 h 166"/>
                <a:gd name="T12" fmla="*/ 2147483647 w 367"/>
                <a:gd name="T13" fmla="*/ 2147483647 h 166"/>
                <a:gd name="T14" fmla="*/ 2147483647 w 367"/>
                <a:gd name="T15" fmla="*/ 2147483647 h 166"/>
                <a:gd name="T16" fmla="*/ 2147483647 w 367"/>
                <a:gd name="T17" fmla="*/ 2147483647 h 166"/>
                <a:gd name="T18" fmla="*/ 2147483647 w 367"/>
                <a:gd name="T19" fmla="*/ 2147483647 h 166"/>
                <a:gd name="T20" fmla="*/ 2147483647 w 367"/>
                <a:gd name="T21" fmla="*/ 2147483647 h 166"/>
                <a:gd name="T22" fmla="*/ 2147483647 w 367"/>
                <a:gd name="T23" fmla="*/ 2147483647 h 166"/>
                <a:gd name="T24" fmla="*/ 2147483647 w 367"/>
                <a:gd name="T25" fmla="*/ 2147483647 h 166"/>
                <a:gd name="T26" fmla="*/ 2147483647 w 367"/>
                <a:gd name="T27" fmla="*/ 2147483647 h 166"/>
                <a:gd name="T28" fmla="*/ 2147483647 w 367"/>
                <a:gd name="T29" fmla="*/ 2147483647 h 166"/>
                <a:gd name="T30" fmla="*/ 2147483647 w 367"/>
                <a:gd name="T31" fmla="*/ 2147483647 h 166"/>
                <a:gd name="T32" fmla="*/ 2147483647 w 367"/>
                <a:gd name="T33" fmla="*/ 2147483647 h 166"/>
                <a:gd name="T34" fmla="*/ 2147483647 w 367"/>
                <a:gd name="T35" fmla="*/ 2147483647 h 166"/>
                <a:gd name="T36" fmla="*/ 2147483647 w 367"/>
                <a:gd name="T37" fmla="*/ 2147483647 h 166"/>
                <a:gd name="T38" fmla="*/ 2147483647 w 367"/>
                <a:gd name="T39" fmla="*/ 2147483647 h 166"/>
                <a:gd name="T40" fmla="*/ 2147483647 w 367"/>
                <a:gd name="T41" fmla="*/ 2147483647 h 166"/>
                <a:gd name="T42" fmla="*/ 2147483647 w 367"/>
                <a:gd name="T43" fmla="*/ 2147483647 h 166"/>
                <a:gd name="T44" fmla="*/ 2147483647 w 367"/>
                <a:gd name="T45" fmla="*/ 2147483647 h 166"/>
                <a:gd name="T46" fmla="*/ 2147483647 w 367"/>
                <a:gd name="T47" fmla="*/ 2147483647 h 166"/>
                <a:gd name="T48" fmla="*/ 2147483647 w 367"/>
                <a:gd name="T49" fmla="*/ 2147483647 h 166"/>
                <a:gd name="T50" fmla="*/ 2147483647 w 367"/>
                <a:gd name="T51" fmla="*/ 2147483647 h 166"/>
                <a:gd name="T52" fmla="*/ 2147483647 w 367"/>
                <a:gd name="T53" fmla="*/ 2147483647 h 166"/>
                <a:gd name="T54" fmla="*/ 2147483647 w 367"/>
                <a:gd name="T55" fmla="*/ 2147483647 h 166"/>
                <a:gd name="T56" fmla="*/ 2147483647 w 367"/>
                <a:gd name="T57" fmla="*/ 2147483647 h 166"/>
                <a:gd name="T58" fmla="*/ 2147483647 w 367"/>
                <a:gd name="T59" fmla="*/ 2147483647 h 166"/>
                <a:gd name="T60" fmla="*/ 2147483647 w 367"/>
                <a:gd name="T61" fmla="*/ 2147483647 h 166"/>
                <a:gd name="T62" fmla="*/ 2147483647 w 367"/>
                <a:gd name="T63" fmla="*/ 2147483647 h 166"/>
                <a:gd name="T64" fmla="*/ 2147483647 w 367"/>
                <a:gd name="T65" fmla="*/ 2147483647 h 166"/>
                <a:gd name="T66" fmla="*/ 2147483647 w 367"/>
                <a:gd name="T67" fmla="*/ 0 h 166"/>
                <a:gd name="T68" fmla="*/ 0 w 367"/>
                <a:gd name="T69" fmla="*/ 2147483647 h 166"/>
                <a:gd name="T70" fmla="*/ 2147483647 w 367"/>
                <a:gd name="T71" fmla="*/ 2147483647 h 166"/>
                <a:gd name="T72" fmla="*/ 2147483647 w 367"/>
                <a:gd name="T73" fmla="*/ 2147483647 h 166"/>
                <a:gd name="T74" fmla="*/ 2147483647 w 367"/>
                <a:gd name="T75" fmla="*/ 2147483647 h 166"/>
                <a:gd name="T76" fmla="*/ 2147483647 w 367"/>
                <a:gd name="T77" fmla="*/ 2147483647 h 166"/>
                <a:gd name="T78" fmla="*/ 2147483647 w 367"/>
                <a:gd name="T79" fmla="*/ 2147483647 h 166"/>
                <a:gd name="T80" fmla="*/ 2147483647 w 367"/>
                <a:gd name="T81" fmla="*/ 2147483647 h 166"/>
                <a:gd name="T82" fmla="*/ 2147483647 w 367"/>
                <a:gd name="T83" fmla="*/ 2147483647 h 166"/>
                <a:gd name="T84" fmla="*/ 2147483647 w 367"/>
                <a:gd name="T85" fmla="*/ 2147483647 h 166"/>
                <a:gd name="T86" fmla="*/ 2147483647 w 367"/>
                <a:gd name="T87" fmla="*/ 2147483647 h 166"/>
                <a:gd name="T88" fmla="*/ 2147483647 w 367"/>
                <a:gd name="T89" fmla="*/ 2147483647 h 166"/>
                <a:gd name="T90" fmla="*/ 2147483647 w 367"/>
                <a:gd name="T91" fmla="*/ 2147483647 h 16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67" h="166">
                  <a:moveTo>
                    <a:pt x="66" y="104"/>
                  </a:moveTo>
                  <a:lnTo>
                    <a:pt x="68" y="119"/>
                  </a:lnTo>
                  <a:lnTo>
                    <a:pt x="68" y="135"/>
                  </a:lnTo>
                  <a:lnTo>
                    <a:pt x="66" y="166"/>
                  </a:lnTo>
                  <a:lnTo>
                    <a:pt x="269" y="165"/>
                  </a:lnTo>
                  <a:lnTo>
                    <a:pt x="267" y="159"/>
                  </a:lnTo>
                  <a:lnTo>
                    <a:pt x="267" y="155"/>
                  </a:lnTo>
                  <a:lnTo>
                    <a:pt x="271" y="154"/>
                  </a:lnTo>
                  <a:lnTo>
                    <a:pt x="276" y="153"/>
                  </a:lnTo>
                  <a:lnTo>
                    <a:pt x="291" y="151"/>
                  </a:lnTo>
                  <a:lnTo>
                    <a:pt x="298" y="151"/>
                  </a:lnTo>
                  <a:lnTo>
                    <a:pt x="302" y="151"/>
                  </a:lnTo>
                  <a:lnTo>
                    <a:pt x="305" y="153"/>
                  </a:lnTo>
                  <a:lnTo>
                    <a:pt x="308" y="155"/>
                  </a:lnTo>
                  <a:lnTo>
                    <a:pt x="310" y="158"/>
                  </a:lnTo>
                  <a:lnTo>
                    <a:pt x="310" y="161"/>
                  </a:lnTo>
                  <a:lnTo>
                    <a:pt x="308" y="165"/>
                  </a:lnTo>
                  <a:lnTo>
                    <a:pt x="348" y="165"/>
                  </a:lnTo>
                  <a:lnTo>
                    <a:pt x="351" y="156"/>
                  </a:lnTo>
                  <a:lnTo>
                    <a:pt x="352" y="149"/>
                  </a:lnTo>
                  <a:lnTo>
                    <a:pt x="353" y="133"/>
                  </a:lnTo>
                  <a:lnTo>
                    <a:pt x="355" y="125"/>
                  </a:lnTo>
                  <a:lnTo>
                    <a:pt x="357" y="118"/>
                  </a:lnTo>
                  <a:lnTo>
                    <a:pt x="361" y="111"/>
                  </a:lnTo>
                  <a:lnTo>
                    <a:pt x="367" y="105"/>
                  </a:lnTo>
                  <a:lnTo>
                    <a:pt x="345" y="105"/>
                  </a:lnTo>
                  <a:lnTo>
                    <a:pt x="333" y="105"/>
                  </a:lnTo>
                  <a:lnTo>
                    <a:pt x="328" y="106"/>
                  </a:lnTo>
                  <a:lnTo>
                    <a:pt x="323" y="109"/>
                  </a:lnTo>
                  <a:lnTo>
                    <a:pt x="320" y="110"/>
                  </a:lnTo>
                  <a:lnTo>
                    <a:pt x="316" y="109"/>
                  </a:lnTo>
                  <a:lnTo>
                    <a:pt x="315" y="108"/>
                  </a:lnTo>
                  <a:lnTo>
                    <a:pt x="315" y="104"/>
                  </a:lnTo>
                  <a:lnTo>
                    <a:pt x="315" y="98"/>
                  </a:lnTo>
                  <a:lnTo>
                    <a:pt x="315" y="93"/>
                  </a:lnTo>
                  <a:lnTo>
                    <a:pt x="315" y="89"/>
                  </a:lnTo>
                  <a:lnTo>
                    <a:pt x="316" y="84"/>
                  </a:lnTo>
                  <a:lnTo>
                    <a:pt x="318" y="75"/>
                  </a:lnTo>
                  <a:lnTo>
                    <a:pt x="318" y="64"/>
                  </a:lnTo>
                  <a:lnTo>
                    <a:pt x="320" y="63"/>
                  </a:lnTo>
                  <a:lnTo>
                    <a:pt x="322" y="62"/>
                  </a:lnTo>
                  <a:lnTo>
                    <a:pt x="322" y="60"/>
                  </a:lnTo>
                  <a:lnTo>
                    <a:pt x="322" y="59"/>
                  </a:lnTo>
                  <a:lnTo>
                    <a:pt x="318" y="58"/>
                  </a:lnTo>
                  <a:lnTo>
                    <a:pt x="316" y="57"/>
                  </a:lnTo>
                  <a:lnTo>
                    <a:pt x="316" y="54"/>
                  </a:lnTo>
                  <a:lnTo>
                    <a:pt x="317" y="53"/>
                  </a:lnTo>
                  <a:lnTo>
                    <a:pt x="320" y="52"/>
                  </a:lnTo>
                  <a:lnTo>
                    <a:pt x="325" y="49"/>
                  </a:lnTo>
                  <a:lnTo>
                    <a:pt x="328" y="49"/>
                  </a:lnTo>
                  <a:lnTo>
                    <a:pt x="331" y="45"/>
                  </a:lnTo>
                  <a:lnTo>
                    <a:pt x="331" y="40"/>
                  </a:lnTo>
                  <a:lnTo>
                    <a:pt x="331" y="35"/>
                  </a:lnTo>
                  <a:lnTo>
                    <a:pt x="328" y="32"/>
                  </a:lnTo>
                  <a:lnTo>
                    <a:pt x="326" y="28"/>
                  </a:lnTo>
                  <a:lnTo>
                    <a:pt x="325" y="25"/>
                  </a:lnTo>
                  <a:lnTo>
                    <a:pt x="320" y="23"/>
                  </a:lnTo>
                  <a:lnTo>
                    <a:pt x="315" y="22"/>
                  </a:lnTo>
                  <a:lnTo>
                    <a:pt x="308" y="17"/>
                  </a:lnTo>
                  <a:lnTo>
                    <a:pt x="307" y="14"/>
                  </a:lnTo>
                  <a:lnTo>
                    <a:pt x="306" y="12"/>
                  </a:lnTo>
                  <a:lnTo>
                    <a:pt x="306" y="5"/>
                  </a:lnTo>
                  <a:lnTo>
                    <a:pt x="305" y="4"/>
                  </a:lnTo>
                  <a:lnTo>
                    <a:pt x="303" y="3"/>
                  </a:lnTo>
                  <a:lnTo>
                    <a:pt x="301" y="2"/>
                  </a:lnTo>
                  <a:lnTo>
                    <a:pt x="297" y="3"/>
                  </a:lnTo>
                  <a:lnTo>
                    <a:pt x="296" y="2"/>
                  </a:lnTo>
                  <a:lnTo>
                    <a:pt x="147" y="0"/>
                  </a:lnTo>
                  <a:lnTo>
                    <a:pt x="0" y="0"/>
                  </a:lnTo>
                  <a:lnTo>
                    <a:pt x="0" y="13"/>
                  </a:lnTo>
                  <a:lnTo>
                    <a:pt x="0" y="18"/>
                  </a:lnTo>
                  <a:lnTo>
                    <a:pt x="1" y="20"/>
                  </a:lnTo>
                  <a:lnTo>
                    <a:pt x="3" y="20"/>
                  </a:lnTo>
                  <a:lnTo>
                    <a:pt x="6" y="22"/>
                  </a:lnTo>
                  <a:lnTo>
                    <a:pt x="8" y="23"/>
                  </a:lnTo>
                  <a:lnTo>
                    <a:pt x="9" y="25"/>
                  </a:lnTo>
                  <a:lnTo>
                    <a:pt x="9" y="28"/>
                  </a:lnTo>
                  <a:lnTo>
                    <a:pt x="9" y="33"/>
                  </a:lnTo>
                  <a:lnTo>
                    <a:pt x="9" y="34"/>
                  </a:lnTo>
                  <a:lnTo>
                    <a:pt x="11" y="35"/>
                  </a:lnTo>
                  <a:lnTo>
                    <a:pt x="13" y="35"/>
                  </a:lnTo>
                  <a:lnTo>
                    <a:pt x="14" y="38"/>
                  </a:lnTo>
                  <a:lnTo>
                    <a:pt x="15" y="43"/>
                  </a:lnTo>
                  <a:lnTo>
                    <a:pt x="16" y="59"/>
                  </a:lnTo>
                  <a:lnTo>
                    <a:pt x="16" y="88"/>
                  </a:lnTo>
                  <a:lnTo>
                    <a:pt x="59" y="88"/>
                  </a:lnTo>
                  <a:lnTo>
                    <a:pt x="63" y="88"/>
                  </a:lnTo>
                  <a:lnTo>
                    <a:pt x="65" y="89"/>
                  </a:lnTo>
                  <a:lnTo>
                    <a:pt x="66" y="90"/>
                  </a:lnTo>
                  <a:lnTo>
                    <a:pt x="66" y="91"/>
                  </a:lnTo>
                  <a:lnTo>
                    <a:pt x="66" y="96"/>
                  </a:lnTo>
                  <a:lnTo>
                    <a:pt x="66" y="103"/>
                  </a:lnTo>
                  <a:lnTo>
                    <a:pt x="66" y="104"/>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Glenn</a:t>
              </a:r>
            </a:p>
          </p:txBody>
        </p:sp>
        <p:sp>
          <p:nvSpPr>
            <p:cNvPr id="21" name="Tehama"/>
            <p:cNvSpPr>
              <a:spLocks/>
            </p:cNvSpPr>
            <p:nvPr/>
          </p:nvSpPr>
          <p:spPr bwMode="auto">
            <a:xfrm>
              <a:off x="1129521" y="3177813"/>
              <a:ext cx="1186451" cy="525041"/>
            </a:xfrm>
            <a:custGeom>
              <a:avLst/>
              <a:gdLst>
                <a:gd name="T0" fmla="*/ 2147483647 w 564"/>
                <a:gd name="T1" fmla="*/ 2147483647 h 262"/>
                <a:gd name="T2" fmla="*/ 2147483647 w 564"/>
                <a:gd name="T3" fmla="*/ 2147483647 h 262"/>
                <a:gd name="T4" fmla="*/ 2147483647 w 564"/>
                <a:gd name="T5" fmla="*/ 2147483647 h 262"/>
                <a:gd name="T6" fmla="*/ 2147483647 w 564"/>
                <a:gd name="T7" fmla="*/ 2147483647 h 262"/>
                <a:gd name="T8" fmla="*/ 2147483647 w 564"/>
                <a:gd name="T9" fmla="*/ 2147483647 h 262"/>
                <a:gd name="T10" fmla="*/ 2147483647 w 564"/>
                <a:gd name="T11" fmla="*/ 2147483647 h 262"/>
                <a:gd name="T12" fmla="*/ 2147483647 w 564"/>
                <a:gd name="T13" fmla="*/ 2147483647 h 262"/>
                <a:gd name="T14" fmla="*/ 2147483647 w 564"/>
                <a:gd name="T15" fmla="*/ 2147483647 h 262"/>
                <a:gd name="T16" fmla="*/ 2147483647 w 564"/>
                <a:gd name="T17" fmla="*/ 2147483647 h 262"/>
                <a:gd name="T18" fmla="*/ 2147483647 w 564"/>
                <a:gd name="T19" fmla="*/ 2147483647 h 262"/>
                <a:gd name="T20" fmla="*/ 2147483647 w 564"/>
                <a:gd name="T21" fmla="*/ 2147483647 h 262"/>
                <a:gd name="T22" fmla="*/ 2147483647 w 564"/>
                <a:gd name="T23" fmla="*/ 2147483647 h 262"/>
                <a:gd name="T24" fmla="*/ 2147483647 w 564"/>
                <a:gd name="T25" fmla="*/ 2147483647 h 262"/>
                <a:gd name="T26" fmla="*/ 2147483647 w 564"/>
                <a:gd name="T27" fmla="*/ 2147483647 h 262"/>
                <a:gd name="T28" fmla="*/ 2147483647 w 564"/>
                <a:gd name="T29" fmla="*/ 2147483647 h 262"/>
                <a:gd name="T30" fmla="*/ 2147483647 w 564"/>
                <a:gd name="T31" fmla="*/ 2147483647 h 262"/>
                <a:gd name="T32" fmla="*/ 2147483647 w 564"/>
                <a:gd name="T33" fmla="*/ 2147483647 h 262"/>
                <a:gd name="T34" fmla="*/ 2147483647 w 564"/>
                <a:gd name="T35" fmla="*/ 2147483647 h 262"/>
                <a:gd name="T36" fmla="*/ 2147483647 w 564"/>
                <a:gd name="T37" fmla="*/ 2147483647 h 262"/>
                <a:gd name="T38" fmla="*/ 2147483647 w 564"/>
                <a:gd name="T39" fmla="*/ 2147483647 h 262"/>
                <a:gd name="T40" fmla="*/ 2147483647 w 564"/>
                <a:gd name="T41" fmla="*/ 2147483647 h 262"/>
                <a:gd name="T42" fmla="*/ 2147483647 w 564"/>
                <a:gd name="T43" fmla="*/ 2147483647 h 262"/>
                <a:gd name="T44" fmla="*/ 2147483647 w 564"/>
                <a:gd name="T45" fmla="*/ 2147483647 h 262"/>
                <a:gd name="T46" fmla="*/ 2147483647 w 564"/>
                <a:gd name="T47" fmla="*/ 2147483647 h 262"/>
                <a:gd name="T48" fmla="*/ 2147483647 w 564"/>
                <a:gd name="T49" fmla="*/ 2147483647 h 262"/>
                <a:gd name="T50" fmla="*/ 2147483647 w 564"/>
                <a:gd name="T51" fmla="*/ 2147483647 h 262"/>
                <a:gd name="T52" fmla="*/ 2147483647 w 564"/>
                <a:gd name="T53" fmla="*/ 2147483647 h 262"/>
                <a:gd name="T54" fmla="*/ 2147483647 w 564"/>
                <a:gd name="T55" fmla="*/ 0 h 262"/>
                <a:gd name="T56" fmla="*/ 2147483647 w 564"/>
                <a:gd name="T57" fmla="*/ 2147483647 h 262"/>
                <a:gd name="T58" fmla="*/ 2147483647 w 564"/>
                <a:gd name="T59" fmla="*/ 2147483647 h 262"/>
                <a:gd name="T60" fmla="*/ 2147483647 w 564"/>
                <a:gd name="T61" fmla="*/ 2147483647 h 262"/>
                <a:gd name="T62" fmla="*/ 2147483647 w 564"/>
                <a:gd name="T63" fmla="*/ 2147483647 h 262"/>
                <a:gd name="T64" fmla="*/ 2147483647 w 564"/>
                <a:gd name="T65" fmla="*/ 2147483647 h 262"/>
                <a:gd name="T66" fmla="*/ 2147483647 w 564"/>
                <a:gd name="T67" fmla="*/ 2147483647 h 262"/>
                <a:gd name="T68" fmla="*/ 2147483647 w 564"/>
                <a:gd name="T69" fmla="*/ 2147483647 h 262"/>
                <a:gd name="T70" fmla="*/ 2147483647 w 564"/>
                <a:gd name="T71" fmla="*/ 2147483647 h 262"/>
                <a:gd name="T72" fmla="*/ 2147483647 w 564"/>
                <a:gd name="T73" fmla="*/ 2147483647 h 262"/>
                <a:gd name="T74" fmla="*/ 2147483647 w 564"/>
                <a:gd name="T75" fmla="*/ 2147483647 h 262"/>
                <a:gd name="T76" fmla="*/ 2147483647 w 564"/>
                <a:gd name="T77" fmla="*/ 2147483647 h 262"/>
                <a:gd name="T78" fmla="*/ 2147483647 w 564"/>
                <a:gd name="T79" fmla="*/ 2147483647 h 262"/>
                <a:gd name="T80" fmla="*/ 2147483647 w 564"/>
                <a:gd name="T81" fmla="*/ 2147483647 h 262"/>
                <a:gd name="T82" fmla="*/ 2147483647 w 564"/>
                <a:gd name="T83" fmla="*/ 2147483647 h 262"/>
                <a:gd name="T84" fmla="*/ 2147483647 w 564"/>
                <a:gd name="T85" fmla="*/ 2147483647 h 262"/>
                <a:gd name="T86" fmla="*/ 2147483647 w 564"/>
                <a:gd name="T87" fmla="*/ 2147483647 h 262"/>
                <a:gd name="T88" fmla="*/ 2147483647 w 564"/>
                <a:gd name="T89" fmla="*/ 2147483647 h 262"/>
                <a:gd name="T90" fmla="*/ 2147483647 w 564"/>
                <a:gd name="T91" fmla="*/ 2147483647 h 262"/>
                <a:gd name="T92" fmla="*/ 2147483647 w 564"/>
                <a:gd name="T93" fmla="*/ 2147483647 h 262"/>
                <a:gd name="T94" fmla="*/ 2147483647 w 564"/>
                <a:gd name="T95" fmla="*/ 2147483647 h 262"/>
                <a:gd name="T96" fmla="*/ 2147483647 w 564"/>
                <a:gd name="T97" fmla="*/ 2147483647 h 262"/>
                <a:gd name="T98" fmla="*/ 2147483647 w 564"/>
                <a:gd name="T99" fmla="*/ 2147483647 h 262"/>
                <a:gd name="T100" fmla="*/ 2147483647 w 564"/>
                <a:gd name="T101" fmla="*/ 2147483647 h 262"/>
                <a:gd name="T102" fmla="*/ 2147483647 w 564"/>
                <a:gd name="T103" fmla="*/ 2147483647 h 262"/>
                <a:gd name="T104" fmla="*/ 2147483647 w 564"/>
                <a:gd name="T105" fmla="*/ 2147483647 h 262"/>
                <a:gd name="T106" fmla="*/ 2147483647 w 564"/>
                <a:gd name="T107" fmla="*/ 2147483647 h 262"/>
                <a:gd name="T108" fmla="*/ 2147483647 w 564"/>
                <a:gd name="T109" fmla="*/ 2147483647 h 26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564" h="262">
                  <a:moveTo>
                    <a:pt x="329" y="262"/>
                  </a:moveTo>
                  <a:lnTo>
                    <a:pt x="326" y="258"/>
                  </a:lnTo>
                  <a:lnTo>
                    <a:pt x="325" y="253"/>
                  </a:lnTo>
                  <a:lnTo>
                    <a:pt x="325" y="248"/>
                  </a:lnTo>
                  <a:lnTo>
                    <a:pt x="325" y="243"/>
                  </a:lnTo>
                  <a:lnTo>
                    <a:pt x="328" y="238"/>
                  </a:lnTo>
                  <a:lnTo>
                    <a:pt x="329" y="235"/>
                  </a:lnTo>
                  <a:lnTo>
                    <a:pt x="330" y="234"/>
                  </a:lnTo>
                  <a:lnTo>
                    <a:pt x="334" y="232"/>
                  </a:lnTo>
                  <a:lnTo>
                    <a:pt x="333" y="230"/>
                  </a:lnTo>
                  <a:lnTo>
                    <a:pt x="330" y="230"/>
                  </a:lnTo>
                  <a:lnTo>
                    <a:pt x="329" y="228"/>
                  </a:lnTo>
                  <a:lnTo>
                    <a:pt x="329" y="229"/>
                  </a:lnTo>
                  <a:lnTo>
                    <a:pt x="326" y="229"/>
                  </a:lnTo>
                  <a:lnTo>
                    <a:pt x="323" y="228"/>
                  </a:lnTo>
                  <a:lnTo>
                    <a:pt x="321" y="228"/>
                  </a:lnTo>
                  <a:lnTo>
                    <a:pt x="323" y="227"/>
                  </a:lnTo>
                  <a:lnTo>
                    <a:pt x="331" y="227"/>
                  </a:lnTo>
                  <a:lnTo>
                    <a:pt x="391" y="227"/>
                  </a:lnTo>
                  <a:lnTo>
                    <a:pt x="401" y="227"/>
                  </a:lnTo>
                  <a:lnTo>
                    <a:pt x="410" y="228"/>
                  </a:lnTo>
                  <a:lnTo>
                    <a:pt x="415" y="227"/>
                  </a:lnTo>
                  <a:lnTo>
                    <a:pt x="419" y="225"/>
                  </a:lnTo>
                  <a:lnTo>
                    <a:pt x="423" y="224"/>
                  </a:lnTo>
                  <a:lnTo>
                    <a:pt x="426" y="220"/>
                  </a:lnTo>
                  <a:lnTo>
                    <a:pt x="431" y="214"/>
                  </a:lnTo>
                  <a:lnTo>
                    <a:pt x="435" y="206"/>
                  </a:lnTo>
                  <a:lnTo>
                    <a:pt x="438" y="197"/>
                  </a:lnTo>
                  <a:lnTo>
                    <a:pt x="441" y="189"/>
                  </a:lnTo>
                  <a:lnTo>
                    <a:pt x="444" y="188"/>
                  </a:lnTo>
                  <a:lnTo>
                    <a:pt x="446" y="187"/>
                  </a:lnTo>
                  <a:lnTo>
                    <a:pt x="453" y="187"/>
                  </a:lnTo>
                  <a:lnTo>
                    <a:pt x="459" y="188"/>
                  </a:lnTo>
                  <a:lnTo>
                    <a:pt x="461" y="188"/>
                  </a:lnTo>
                  <a:lnTo>
                    <a:pt x="464" y="187"/>
                  </a:lnTo>
                  <a:lnTo>
                    <a:pt x="468" y="181"/>
                  </a:lnTo>
                  <a:lnTo>
                    <a:pt x="469" y="173"/>
                  </a:lnTo>
                  <a:lnTo>
                    <a:pt x="470" y="169"/>
                  </a:lnTo>
                  <a:lnTo>
                    <a:pt x="474" y="166"/>
                  </a:lnTo>
                  <a:lnTo>
                    <a:pt x="476" y="162"/>
                  </a:lnTo>
                  <a:lnTo>
                    <a:pt x="479" y="157"/>
                  </a:lnTo>
                  <a:lnTo>
                    <a:pt x="480" y="158"/>
                  </a:lnTo>
                  <a:lnTo>
                    <a:pt x="481" y="156"/>
                  </a:lnTo>
                  <a:lnTo>
                    <a:pt x="482" y="156"/>
                  </a:lnTo>
                  <a:lnTo>
                    <a:pt x="481" y="141"/>
                  </a:lnTo>
                  <a:lnTo>
                    <a:pt x="496" y="139"/>
                  </a:lnTo>
                  <a:lnTo>
                    <a:pt x="509" y="138"/>
                  </a:lnTo>
                  <a:lnTo>
                    <a:pt x="517" y="134"/>
                  </a:lnTo>
                  <a:lnTo>
                    <a:pt x="529" y="131"/>
                  </a:lnTo>
                  <a:lnTo>
                    <a:pt x="527" y="127"/>
                  </a:lnTo>
                  <a:lnTo>
                    <a:pt x="530" y="126"/>
                  </a:lnTo>
                  <a:lnTo>
                    <a:pt x="531" y="124"/>
                  </a:lnTo>
                  <a:lnTo>
                    <a:pt x="531" y="121"/>
                  </a:lnTo>
                  <a:lnTo>
                    <a:pt x="530" y="117"/>
                  </a:lnTo>
                  <a:lnTo>
                    <a:pt x="536" y="117"/>
                  </a:lnTo>
                  <a:lnTo>
                    <a:pt x="534" y="113"/>
                  </a:lnTo>
                  <a:lnTo>
                    <a:pt x="534" y="110"/>
                  </a:lnTo>
                  <a:lnTo>
                    <a:pt x="536" y="106"/>
                  </a:lnTo>
                  <a:lnTo>
                    <a:pt x="539" y="105"/>
                  </a:lnTo>
                  <a:lnTo>
                    <a:pt x="546" y="101"/>
                  </a:lnTo>
                  <a:lnTo>
                    <a:pt x="552" y="97"/>
                  </a:lnTo>
                  <a:lnTo>
                    <a:pt x="557" y="91"/>
                  </a:lnTo>
                  <a:lnTo>
                    <a:pt x="561" y="86"/>
                  </a:lnTo>
                  <a:lnTo>
                    <a:pt x="561" y="80"/>
                  </a:lnTo>
                  <a:lnTo>
                    <a:pt x="560" y="71"/>
                  </a:lnTo>
                  <a:lnTo>
                    <a:pt x="559" y="67"/>
                  </a:lnTo>
                  <a:lnTo>
                    <a:pt x="556" y="63"/>
                  </a:lnTo>
                  <a:lnTo>
                    <a:pt x="556" y="62"/>
                  </a:lnTo>
                  <a:lnTo>
                    <a:pt x="557" y="62"/>
                  </a:lnTo>
                  <a:lnTo>
                    <a:pt x="564" y="62"/>
                  </a:lnTo>
                  <a:lnTo>
                    <a:pt x="562" y="56"/>
                  </a:lnTo>
                  <a:lnTo>
                    <a:pt x="560" y="51"/>
                  </a:lnTo>
                  <a:lnTo>
                    <a:pt x="555" y="48"/>
                  </a:lnTo>
                  <a:lnTo>
                    <a:pt x="550" y="46"/>
                  </a:lnTo>
                  <a:lnTo>
                    <a:pt x="539" y="43"/>
                  </a:lnTo>
                  <a:lnTo>
                    <a:pt x="532" y="41"/>
                  </a:lnTo>
                  <a:lnTo>
                    <a:pt x="529" y="38"/>
                  </a:lnTo>
                  <a:lnTo>
                    <a:pt x="524" y="33"/>
                  </a:lnTo>
                  <a:lnTo>
                    <a:pt x="521" y="27"/>
                  </a:lnTo>
                  <a:lnTo>
                    <a:pt x="520" y="15"/>
                  </a:lnTo>
                  <a:lnTo>
                    <a:pt x="519" y="11"/>
                  </a:lnTo>
                  <a:lnTo>
                    <a:pt x="515" y="7"/>
                  </a:lnTo>
                  <a:lnTo>
                    <a:pt x="512" y="4"/>
                  </a:lnTo>
                  <a:lnTo>
                    <a:pt x="511" y="0"/>
                  </a:lnTo>
                  <a:lnTo>
                    <a:pt x="502" y="0"/>
                  </a:lnTo>
                  <a:lnTo>
                    <a:pt x="496" y="2"/>
                  </a:lnTo>
                  <a:lnTo>
                    <a:pt x="490" y="4"/>
                  </a:lnTo>
                  <a:lnTo>
                    <a:pt x="484" y="5"/>
                  </a:lnTo>
                  <a:lnTo>
                    <a:pt x="476" y="5"/>
                  </a:lnTo>
                  <a:lnTo>
                    <a:pt x="469" y="4"/>
                  </a:lnTo>
                  <a:lnTo>
                    <a:pt x="454" y="1"/>
                  </a:lnTo>
                  <a:lnTo>
                    <a:pt x="444" y="1"/>
                  </a:lnTo>
                  <a:lnTo>
                    <a:pt x="435" y="2"/>
                  </a:lnTo>
                  <a:lnTo>
                    <a:pt x="425" y="4"/>
                  </a:lnTo>
                  <a:lnTo>
                    <a:pt x="416" y="4"/>
                  </a:lnTo>
                  <a:lnTo>
                    <a:pt x="406" y="4"/>
                  </a:lnTo>
                  <a:lnTo>
                    <a:pt x="398" y="4"/>
                  </a:lnTo>
                  <a:lnTo>
                    <a:pt x="326" y="16"/>
                  </a:lnTo>
                  <a:lnTo>
                    <a:pt x="314" y="20"/>
                  </a:lnTo>
                  <a:lnTo>
                    <a:pt x="299" y="25"/>
                  </a:lnTo>
                  <a:lnTo>
                    <a:pt x="285" y="28"/>
                  </a:lnTo>
                  <a:lnTo>
                    <a:pt x="279" y="30"/>
                  </a:lnTo>
                  <a:lnTo>
                    <a:pt x="274" y="30"/>
                  </a:lnTo>
                  <a:lnTo>
                    <a:pt x="267" y="28"/>
                  </a:lnTo>
                  <a:lnTo>
                    <a:pt x="258" y="28"/>
                  </a:lnTo>
                  <a:lnTo>
                    <a:pt x="242" y="31"/>
                  </a:lnTo>
                  <a:lnTo>
                    <a:pt x="225" y="33"/>
                  </a:lnTo>
                  <a:lnTo>
                    <a:pt x="218" y="33"/>
                  </a:lnTo>
                  <a:lnTo>
                    <a:pt x="210" y="32"/>
                  </a:lnTo>
                  <a:lnTo>
                    <a:pt x="193" y="27"/>
                  </a:lnTo>
                  <a:lnTo>
                    <a:pt x="184" y="26"/>
                  </a:lnTo>
                  <a:lnTo>
                    <a:pt x="177" y="25"/>
                  </a:lnTo>
                  <a:lnTo>
                    <a:pt x="170" y="26"/>
                  </a:lnTo>
                  <a:lnTo>
                    <a:pt x="164" y="28"/>
                  </a:lnTo>
                  <a:lnTo>
                    <a:pt x="151" y="33"/>
                  </a:lnTo>
                  <a:lnTo>
                    <a:pt x="139" y="40"/>
                  </a:lnTo>
                  <a:lnTo>
                    <a:pt x="129" y="43"/>
                  </a:lnTo>
                  <a:lnTo>
                    <a:pt x="126" y="45"/>
                  </a:lnTo>
                  <a:lnTo>
                    <a:pt x="119" y="45"/>
                  </a:lnTo>
                  <a:lnTo>
                    <a:pt x="114" y="43"/>
                  </a:lnTo>
                  <a:lnTo>
                    <a:pt x="108" y="41"/>
                  </a:lnTo>
                  <a:lnTo>
                    <a:pt x="99" y="36"/>
                  </a:lnTo>
                  <a:lnTo>
                    <a:pt x="96" y="35"/>
                  </a:lnTo>
                  <a:lnTo>
                    <a:pt x="89" y="35"/>
                  </a:lnTo>
                  <a:lnTo>
                    <a:pt x="81" y="35"/>
                  </a:lnTo>
                  <a:lnTo>
                    <a:pt x="69" y="37"/>
                  </a:lnTo>
                  <a:lnTo>
                    <a:pt x="59" y="40"/>
                  </a:lnTo>
                  <a:lnTo>
                    <a:pt x="56" y="42"/>
                  </a:lnTo>
                  <a:lnTo>
                    <a:pt x="53" y="45"/>
                  </a:lnTo>
                  <a:lnTo>
                    <a:pt x="46" y="52"/>
                  </a:lnTo>
                  <a:lnTo>
                    <a:pt x="39" y="56"/>
                  </a:lnTo>
                  <a:lnTo>
                    <a:pt x="36" y="58"/>
                  </a:lnTo>
                  <a:lnTo>
                    <a:pt x="32" y="58"/>
                  </a:lnTo>
                  <a:lnTo>
                    <a:pt x="27" y="57"/>
                  </a:lnTo>
                  <a:lnTo>
                    <a:pt x="21" y="56"/>
                  </a:lnTo>
                  <a:lnTo>
                    <a:pt x="17" y="55"/>
                  </a:lnTo>
                  <a:lnTo>
                    <a:pt x="13" y="56"/>
                  </a:lnTo>
                  <a:lnTo>
                    <a:pt x="9" y="57"/>
                  </a:lnTo>
                  <a:lnTo>
                    <a:pt x="6" y="60"/>
                  </a:lnTo>
                  <a:lnTo>
                    <a:pt x="2" y="63"/>
                  </a:lnTo>
                  <a:lnTo>
                    <a:pt x="1" y="67"/>
                  </a:lnTo>
                  <a:lnTo>
                    <a:pt x="0" y="71"/>
                  </a:lnTo>
                  <a:lnTo>
                    <a:pt x="1" y="75"/>
                  </a:lnTo>
                  <a:lnTo>
                    <a:pt x="9" y="78"/>
                  </a:lnTo>
                  <a:lnTo>
                    <a:pt x="14" y="83"/>
                  </a:lnTo>
                  <a:lnTo>
                    <a:pt x="17" y="88"/>
                  </a:lnTo>
                  <a:lnTo>
                    <a:pt x="18" y="95"/>
                  </a:lnTo>
                  <a:lnTo>
                    <a:pt x="18" y="108"/>
                  </a:lnTo>
                  <a:lnTo>
                    <a:pt x="17" y="116"/>
                  </a:lnTo>
                  <a:lnTo>
                    <a:pt x="17" y="123"/>
                  </a:lnTo>
                  <a:lnTo>
                    <a:pt x="19" y="139"/>
                  </a:lnTo>
                  <a:lnTo>
                    <a:pt x="22" y="156"/>
                  </a:lnTo>
                  <a:lnTo>
                    <a:pt x="31" y="187"/>
                  </a:lnTo>
                  <a:lnTo>
                    <a:pt x="36" y="198"/>
                  </a:lnTo>
                  <a:lnTo>
                    <a:pt x="36" y="202"/>
                  </a:lnTo>
                  <a:lnTo>
                    <a:pt x="36" y="206"/>
                  </a:lnTo>
                  <a:lnTo>
                    <a:pt x="33" y="213"/>
                  </a:lnTo>
                  <a:lnTo>
                    <a:pt x="28" y="222"/>
                  </a:lnTo>
                  <a:lnTo>
                    <a:pt x="27" y="227"/>
                  </a:lnTo>
                  <a:lnTo>
                    <a:pt x="26" y="232"/>
                  </a:lnTo>
                  <a:lnTo>
                    <a:pt x="27" y="242"/>
                  </a:lnTo>
                  <a:lnTo>
                    <a:pt x="33" y="260"/>
                  </a:lnTo>
                  <a:lnTo>
                    <a:pt x="180" y="260"/>
                  </a:lnTo>
                  <a:lnTo>
                    <a:pt x="328" y="262"/>
                  </a:lnTo>
                  <a:lnTo>
                    <a:pt x="329" y="262"/>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Tehama</a:t>
              </a:r>
            </a:p>
          </p:txBody>
        </p:sp>
        <p:sp>
          <p:nvSpPr>
            <p:cNvPr id="22" name="Sutter"/>
            <p:cNvSpPr>
              <a:spLocks/>
            </p:cNvSpPr>
            <p:nvPr/>
          </p:nvSpPr>
          <p:spPr bwMode="auto">
            <a:xfrm>
              <a:off x="1893142" y="4091625"/>
              <a:ext cx="372347" cy="460912"/>
            </a:xfrm>
            <a:custGeom>
              <a:avLst/>
              <a:gdLst>
                <a:gd name="T0" fmla="*/ 2147483647 w 177"/>
                <a:gd name="T1" fmla="*/ 2147483647 h 230"/>
                <a:gd name="T2" fmla="*/ 2147483647 w 177"/>
                <a:gd name="T3" fmla="*/ 2147483647 h 230"/>
                <a:gd name="T4" fmla="*/ 2147483647 w 177"/>
                <a:gd name="T5" fmla="*/ 2147483647 h 230"/>
                <a:gd name="T6" fmla="*/ 2147483647 w 177"/>
                <a:gd name="T7" fmla="*/ 2147483647 h 230"/>
                <a:gd name="T8" fmla="*/ 2147483647 w 177"/>
                <a:gd name="T9" fmla="*/ 2147483647 h 230"/>
                <a:gd name="T10" fmla="*/ 2147483647 w 177"/>
                <a:gd name="T11" fmla="*/ 2147483647 h 230"/>
                <a:gd name="T12" fmla="*/ 2147483647 w 177"/>
                <a:gd name="T13" fmla="*/ 2147483647 h 230"/>
                <a:gd name="T14" fmla="*/ 2147483647 w 177"/>
                <a:gd name="T15" fmla="*/ 2147483647 h 230"/>
                <a:gd name="T16" fmla="*/ 2147483647 w 177"/>
                <a:gd name="T17" fmla="*/ 2147483647 h 230"/>
                <a:gd name="T18" fmla="*/ 2147483647 w 177"/>
                <a:gd name="T19" fmla="*/ 2147483647 h 230"/>
                <a:gd name="T20" fmla="*/ 2147483647 w 177"/>
                <a:gd name="T21" fmla="*/ 2147483647 h 230"/>
                <a:gd name="T22" fmla="*/ 2147483647 w 177"/>
                <a:gd name="T23" fmla="*/ 2147483647 h 230"/>
                <a:gd name="T24" fmla="*/ 2147483647 w 177"/>
                <a:gd name="T25" fmla="*/ 2147483647 h 230"/>
                <a:gd name="T26" fmla="*/ 2147483647 w 177"/>
                <a:gd name="T27" fmla="*/ 2147483647 h 230"/>
                <a:gd name="T28" fmla="*/ 2147483647 w 177"/>
                <a:gd name="T29" fmla="*/ 2147483647 h 230"/>
                <a:gd name="T30" fmla="*/ 2147483647 w 177"/>
                <a:gd name="T31" fmla="*/ 2147483647 h 230"/>
                <a:gd name="T32" fmla="*/ 2147483647 w 177"/>
                <a:gd name="T33" fmla="*/ 2147483647 h 230"/>
                <a:gd name="T34" fmla="*/ 2147483647 w 177"/>
                <a:gd name="T35" fmla="*/ 2147483647 h 230"/>
                <a:gd name="T36" fmla="*/ 2147483647 w 177"/>
                <a:gd name="T37" fmla="*/ 2147483647 h 230"/>
                <a:gd name="T38" fmla="*/ 2147483647 w 177"/>
                <a:gd name="T39" fmla="*/ 2147483647 h 230"/>
                <a:gd name="T40" fmla="*/ 2147483647 w 177"/>
                <a:gd name="T41" fmla="*/ 2147483647 h 230"/>
                <a:gd name="T42" fmla="*/ 2147483647 w 177"/>
                <a:gd name="T43" fmla="*/ 2147483647 h 230"/>
                <a:gd name="T44" fmla="*/ 2147483647 w 177"/>
                <a:gd name="T45" fmla="*/ 2147483647 h 230"/>
                <a:gd name="T46" fmla="*/ 2147483647 w 177"/>
                <a:gd name="T47" fmla="*/ 2147483647 h 230"/>
                <a:gd name="T48" fmla="*/ 2147483647 w 177"/>
                <a:gd name="T49" fmla="*/ 2147483647 h 230"/>
                <a:gd name="T50" fmla="*/ 2147483647 w 177"/>
                <a:gd name="T51" fmla="*/ 2147483647 h 230"/>
                <a:gd name="T52" fmla="*/ 2147483647 w 177"/>
                <a:gd name="T53" fmla="*/ 2147483647 h 230"/>
                <a:gd name="T54" fmla="*/ 2147483647 w 177"/>
                <a:gd name="T55" fmla="*/ 2147483647 h 230"/>
                <a:gd name="T56" fmla="*/ 2147483647 w 177"/>
                <a:gd name="T57" fmla="*/ 2147483647 h 230"/>
                <a:gd name="T58" fmla="*/ 2147483647 w 177"/>
                <a:gd name="T59" fmla="*/ 2147483647 h 230"/>
                <a:gd name="T60" fmla="*/ 2147483647 w 177"/>
                <a:gd name="T61" fmla="*/ 2147483647 h 230"/>
                <a:gd name="T62" fmla="*/ 2147483647 w 177"/>
                <a:gd name="T63" fmla="*/ 2147483647 h 230"/>
                <a:gd name="T64" fmla="*/ 2147483647 w 177"/>
                <a:gd name="T65" fmla="*/ 2147483647 h 230"/>
                <a:gd name="T66" fmla="*/ 2147483647 w 177"/>
                <a:gd name="T67" fmla="*/ 2147483647 h 230"/>
                <a:gd name="T68" fmla="*/ 2147483647 w 177"/>
                <a:gd name="T69" fmla="*/ 2147483647 h 230"/>
                <a:gd name="T70" fmla="*/ 2147483647 w 177"/>
                <a:gd name="T71" fmla="*/ 2147483647 h 230"/>
                <a:gd name="T72" fmla="*/ 2147483647 w 177"/>
                <a:gd name="T73" fmla="*/ 2147483647 h 230"/>
                <a:gd name="T74" fmla="*/ 2147483647 w 177"/>
                <a:gd name="T75" fmla="*/ 2147483647 h 230"/>
                <a:gd name="T76" fmla="*/ 2147483647 w 177"/>
                <a:gd name="T77" fmla="*/ 2147483647 h 230"/>
                <a:gd name="T78" fmla="*/ 2147483647 w 177"/>
                <a:gd name="T79" fmla="*/ 2147483647 h 230"/>
                <a:gd name="T80" fmla="*/ 2147483647 w 177"/>
                <a:gd name="T81" fmla="*/ 2147483647 h 230"/>
                <a:gd name="T82" fmla="*/ 2147483647 w 177"/>
                <a:gd name="T83" fmla="*/ 2147483647 h 230"/>
                <a:gd name="T84" fmla="*/ 2147483647 w 177"/>
                <a:gd name="T85" fmla="*/ 2147483647 h 230"/>
                <a:gd name="T86" fmla="*/ 2147483647 w 177"/>
                <a:gd name="T87" fmla="*/ 2147483647 h 23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77" h="230">
                  <a:moveTo>
                    <a:pt x="152" y="220"/>
                  </a:moveTo>
                  <a:lnTo>
                    <a:pt x="155" y="220"/>
                  </a:lnTo>
                  <a:lnTo>
                    <a:pt x="156" y="219"/>
                  </a:lnTo>
                  <a:lnTo>
                    <a:pt x="158" y="214"/>
                  </a:lnTo>
                  <a:lnTo>
                    <a:pt x="160" y="205"/>
                  </a:lnTo>
                  <a:lnTo>
                    <a:pt x="161" y="196"/>
                  </a:lnTo>
                  <a:lnTo>
                    <a:pt x="160" y="176"/>
                  </a:lnTo>
                  <a:lnTo>
                    <a:pt x="160" y="164"/>
                  </a:lnTo>
                  <a:lnTo>
                    <a:pt x="160" y="156"/>
                  </a:lnTo>
                  <a:lnTo>
                    <a:pt x="161" y="154"/>
                  </a:lnTo>
                  <a:lnTo>
                    <a:pt x="162" y="153"/>
                  </a:lnTo>
                  <a:lnTo>
                    <a:pt x="167" y="153"/>
                  </a:lnTo>
                  <a:lnTo>
                    <a:pt x="175" y="153"/>
                  </a:lnTo>
                  <a:lnTo>
                    <a:pt x="176" y="151"/>
                  </a:lnTo>
                  <a:lnTo>
                    <a:pt x="177" y="149"/>
                  </a:lnTo>
                  <a:lnTo>
                    <a:pt x="177" y="140"/>
                  </a:lnTo>
                  <a:lnTo>
                    <a:pt x="177" y="124"/>
                  </a:lnTo>
                  <a:lnTo>
                    <a:pt x="158" y="129"/>
                  </a:lnTo>
                  <a:lnTo>
                    <a:pt x="138" y="134"/>
                  </a:lnTo>
                  <a:lnTo>
                    <a:pt x="136" y="135"/>
                  </a:lnTo>
                  <a:lnTo>
                    <a:pt x="133" y="136"/>
                  </a:lnTo>
                  <a:lnTo>
                    <a:pt x="130" y="141"/>
                  </a:lnTo>
                  <a:lnTo>
                    <a:pt x="122" y="153"/>
                  </a:lnTo>
                  <a:lnTo>
                    <a:pt x="120" y="144"/>
                  </a:lnTo>
                  <a:lnTo>
                    <a:pt x="117" y="136"/>
                  </a:lnTo>
                  <a:lnTo>
                    <a:pt x="116" y="119"/>
                  </a:lnTo>
                  <a:lnTo>
                    <a:pt x="116" y="101"/>
                  </a:lnTo>
                  <a:lnTo>
                    <a:pt x="117" y="85"/>
                  </a:lnTo>
                  <a:lnTo>
                    <a:pt x="116" y="74"/>
                  </a:lnTo>
                  <a:lnTo>
                    <a:pt x="114" y="64"/>
                  </a:lnTo>
                  <a:lnTo>
                    <a:pt x="107" y="43"/>
                  </a:lnTo>
                  <a:lnTo>
                    <a:pt x="105" y="29"/>
                  </a:lnTo>
                  <a:lnTo>
                    <a:pt x="105" y="23"/>
                  </a:lnTo>
                  <a:lnTo>
                    <a:pt x="106" y="20"/>
                  </a:lnTo>
                  <a:lnTo>
                    <a:pt x="109" y="19"/>
                  </a:lnTo>
                  <a:lnTo>
                    <a:pt x="105" y="17"/>
                  </a:lnTo>
                  <a:lnTo>
                    <a:pt x="106" y="13"/>
                  </a:lnTo>
                  <a:lnTo>
                    <a:pt x="106" y="9"/>
                  </a:lnTo>
                  <a:lnTo>
                    <a:pt x="106" y="4"/>
                  </a:lnTo>
                  <a:lnTo>
                    <a:pt x="109" y="0"/>
                  </a:lnTo>
                  <a:lnTo>
                    <a:pt x="85" y="2"/>
                  </a:lnTo>
                  <a:lnTo>
                    <a:pt x="61" y="3"/>
                  </a:lnTo>
                  <a:lnTo>
                    <a:pt x="36" y="3"/>
                  </a:lnTo>
                  <a:lnTo>
                    <a:pt x="25" y="3"/>
                  </a:lnTo>
                  <a:lnTo>
                    <a:pt x="14" y="2"/>
                  </a:lnTo>
                  <a:lnTo>
                    <a:pt x="10" y="8"/>
                  </a:lnTo>
                  <a:lnTo>
                    <a:pt x="5" y="14"/>
                  </a:lnTo>
                  <a:lnTo>
                    <a:pt x="1" y="22"/>
                  </a:lnTo>
                  <a:lnTo>
                    <a:pt x="0" y="25"/>
                  </a:lnTo>
                  <a:lnTo>
                    <a:pt x="0" y="29"/>
                  </a:lnTo>
                  <a:lnTo>
                    <a:pt x="1" y="34"/>
                  </a:lnTo>
                  <a:lnTo>
                    <a:pt x="2" y="38"/>
                  </a:lnTo>
                  <a:lnTo>
                    <a:pt x="4" y="42"/>
                  </a:lnTo>
                  <a:lnTo>
                    <a:pt x="4" y="45"/>
                  </a:lnTo>
                  <a:lnTo>
                    <a:pt x="2" y="48"/>
                  </a:lnTo>
                  <a:lnTo>
                    <a:pt x="2" y="50"/>
                  </a:lnTo>
                  <a:lnTo>
                    <a:pt x="4" y="54"/>
                  </a:lnTo>
                  <a:lnTo>
                    <a:pt x="6" y="58"/>
                  </a:lnTo>
                  <a:lnTo>
                    <a:pt x="7" y="63"/>
                  </a:lnTo>
                  <a:lnTo>
                    <a:pt x="7" y="65"/>
                  </a:lnTo>
                  <a:lnTo>
                    <a:pt x="6" y="68"/>
                  </a:lnTo>
                  <a:lnTo>
                    <a:pt x="2" y="69"/>
                  </a:lnTo>
                  <a:lnTo>
                    <a:pt x="1" y="70"/>
                  </a:lnTo>
                  <a:lnTo>
                    <a:pt x="1" y="72"/>
                  </a:lnTo>
                  <a:lnTo>
                    <a:pt x="7" y="74"/>
                  </a:lnTo>
                  <a:lnTo>
                    <a:pt x="11" y="77"/>
                  </a:lnTo>
                  <a:lnTo>
                    <a:pt x="12" y="79"/>
                  </a:lnTo>
                  <a:lnTo>
                    <a:pt x="16" y="85"/>
                  </a:lnTo>
                  <a:lnTo>
                    <a:pt x="19" y="91"/>
                  </a:lnTo>
                  <a:lnTo>
                    <a:pt x="20" y="95"/>
                  </a:lnTo>
                  <a:lnTo>
                    <a:pt x="22" y="96"/>
                  </a:lnTo>
                  <a:lnTo>
                    <a:pt x="25" y="99"/>
                  </a:lnTo>
                  <a:lnTo>
                    <a:pt x="29" y="100"/>
                  </a:lnTo>
                  <a:lnTo>
                    <a:pt x="32" y="100"/>
                  </a:lnTo>
                  <a:lnTo>
                    <a:pt x="35" y="101"/>
                  </a:lnTo>
                  <a:lnTo>
                    <a:pt x="36" y="103"/>
                  </a:lnTo>
                  <a:lnTo>
                    <a:pt x="37" y="105"/>
                  </a:lnTo>
                  <a:lnTo>
                    <a:pt x="39" y="110"/>
                  </a:lnTo>
                  <a:lnTo>
                    <a:pt x="40" y="115"/>
                  </a:lnTo>
                  <a:lnTo>
                    <a:pt x="44" y="121"/>
                  </a:lnTo>
                  <a:lnTo>
                    <a:pt x="45" y="126"/>
                  </a:lnTo>
                  <a:lnTo>
                    <a:pt x="45" y="128"/>
                  </a:lnTo>
                  <a:lnTo>
                    <a:pt x="42" y="129"/>
                  </a:lnTo>
                  <a:lnTo>
                    <a:pt x="40" y="131"/>
                  </a:lnTo>
                  <a:lnTo>
                    <a:pt x="36" y="138"/>
                  </a:lnTo>
                  <a:lnTo>
                    <a:pt x="34" y="145"/>
                  </a:lnTo>
                  <a:lnTo>
                    <a:pt x="35" y="149"/>
                  </a:lnTo>
                  <a:lnTo>
                    <a:pt x="35" y="151"/>
                  </a:lnTo>
                  <a:lnTo>
                    <a:pt x="37" y="155"/>
                  </a:lnTo>
                  <a:lnTo>
                    <a:pt x="40" y="156"/>
                  </a:lnTo>
                  <a:lnTo>
                    <a:pt x="42" y="158"/>
                  </a:lnTo>
                  <a:lnTo>
                    <a:pt x="46" y="158"/>
                  </a:lnTo>
                  <a:lnTo>
                    <a:pt x="45" y="161"/>
                  </a:lnTo>
                  <a:lnTo>
                    <a:pt x="47" y="161"/>
                  </a:lnTo>
                  <a:lnTo>
                    <a:pt x="50" y="161"/>
                  </a:lnTo>
                  <a:lnTo>
                    <a:pt x="46" y="166"/>
                  </a:lnTo>
                  <a:lnTo>
                    <a:pt x="45" y="170"/>
                  </a:lnTo>
                  <a:lnTo>
                    <a:pt x="44" y="174"/>
                  </a:lnTo>
                  <a:lnTo>
                    <a:pt x="44" y="178"/>
                  </a:lnTo>
                  <a:lnTo>
                    <a:pt x="45" y="179"/>
                  </a:lnTo>
                  <a:lnTo>
                    <a:pt x="50" y="180"/>
                  </a:lnTo>
                  <a:lnTo>
                    <a:pt x="56" y="180"/>
                  </a:lnTo>
                  <a:lnTo>
                    <a:pt x="61" y="178"/>
                  </a:lnTo>
                  <a:lnTo>
                    <a:pt x="65" y="176"/>
                  </a:lnTo>
                  <a:lnTo>
                    <a:pt x="66" y="176"/>
                  </a:lnTo>
                  <a:lnTo>
                    <a:pt x="67" y="178"/>
                  </a:lnTo>
                  <a:lnTo>
                    <a:pt x="71" y="185"/>
                  </a:lnTo>
                  <a:lnTo>
                    <a:pt x="72" y="190"/>
                  </a:lnTo>
                  <a:lnTo>
                    <a:pt x="72" y="194"/>
                  </a:lnTo>
                  <a:lnTo>
                    <a:pt x="74" y="199"/>
                  </a:lnTo>
                  <a:lnTo>
                    <a:pt x="75" y="204"/>
                  </a:lnTo>
                  <a:lnTo>
                    <a:pt x="80" y="205"/>
                  </a:lnTo>
                  <a:lnTo>
                    <a:pt x="85" y="209"/>
                  </a:lnTo>
                  <a:lnTo>
                    <a:pt x="85" y="211"/>
                  </a:lnTo>
                  <a:lnTo>
                    <a:pt x="85" y="215"/>
                  </a:lnTo>
                  <a:lnTo>
                    <a:pt x="87" y="217"/>
                  </a:lnTo>
                  <a:lnTo>
                    <a:pt x="90" y="219"/>
                  </a:lnTo>
                  <a:lnTo>
                    <a:pt x="97" y="219"/>
                  </a:lnTo>
                  <a:lnTo>
                    <a:pt x="100" y="219"/>
                  </a:lnTo>
                  <a:lnTo>
                    <a:pt x="102" y="217"/>
                  </a:lnTo>
                  <a:lnTo>
                    <a:pt x="106" y="214"/>
                  </a:lnTo>
                  <a:lnTo>
                    <a:pt x="110" y="211"/>
                  </a:lnTo>
                  <a:lnTo>
                    <a:pt x="112" y="211"/>
                  </a:lnTo>
                  <a:lnTo>
                    <a:pt x="114" y="212"/>
                  </a:lnTo>
                  <a:lnTo>
                    <a:pt x="117" y="216"/>
                  </a:lnTo>
                  <a:lnTo>
                    <a:pt x="117" y="220"/>
                  </a:lnTo>
                  <a:lnTo>
                    <a:pt x="116" y="225"/>
                  </a:lnTo>
                  <a:lnTo>
                    <a:pt x="115" y="229"/>
                  </a:lnTo>
                  <a:lnTo>
                    <a:pt x="133" y="229"/>
                  </a:lnTo>
                  <a:lnTo>
                    <a:pt x="152" y="230"/>
                  </a:lnTo>
                  <a:lnTo>
                    <a:pt x="152" y="221"/>
                  </a:lnTo>
                  <a:lnTo>
                    <a:pt x="152" y="220"/>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utter</a:t>
              </a:r>
            </a:p>
          </p:txBody>
        </p:sp>
      </p:grpSp>
      <p:grpSp>
        <p:nvGrpSpPr>
          <p:cNvPr id="23" name="Central Valley"/>
          <p:cNvGrpSpPr/>
          <p:nvPr/>
        </p:nvGrpSpPr>
        <p:grpSpPr>
          <a:xfrm>
            <a:off x="2183979" y="2572477"/>
            <a:ext cx="1178910" cy="680193"/>
            <a:chOff x="1564971" y="4087617"/>
            <a:chExt cx="1781785" cy="1028032"/>
          </a:xfrm>
        </p:grpSpPr>
        <p:sp>
          <p:nvSpPr>
            <p:cNvPr id="24" name="Sacramento"/>
            <p:cNvSpPr>
              <a:spLocks/>
            </p:cNvSpPr>
            <p:nvPr/>
          </p:nvSpPr>
          <p:spPr bwMode="auto">
            <a:xfrm>
              <a:off x="2006736" y="4552534"/>
              <a:ext cx="536429" cy="563115"/>
            </a:xfrm>
            <a:custGeom>
              <a:avLst/>
              <a:gdLst>
                <a:gd name="T0" fmla="*/ 204133702 w 255"/>
                <a:gd name="T1" fmla="*/ 584675595 h 281"/>
                <a:gd name="T2" fmla="*/ 231854661 w 255"/>
                <a:gd name="T3" fmla="*/ 526711272 h 281"/>
                <a:gd name="T4" fmla="*/ 254536889 w 255"/>
                <a:gd name="T5" fmla="*/ 501509738 h 281"/>
                <a:gd name="T6" fmla="*/ 274698164 w 255"/>
                <a:gd name="T7" fmla="*/ 483869458 h 281"/>
                <a:gd name="T8" fmla="*/ 297378805 w 255"/>
                <a:gd name="T9" fmla="*/ 486388817 h 281"/>
                <a:gd name="T10" fmla="*/ 309980395 w 255"/>
                <a:gd name="T11" fmla="*/ 504030685 h 281"/>
                <a:gd name="T12" fmla="*/ 385585176 w 255"/>
                <a:gd name="T13" fmla="*/ 511590352 h 281"/>
                <a:gd name="T14" fmla="*/ 438507729 w 255"/>
                <a:gd name="T15" fmla="*/ 488909765 h 281"/>
                <a:gd name="T16" fmla="*/ 481351232 w 255"/>
                <a:gd name="T17" fmla="*/ 498990378 h 281"/>
                <a:gd name="T18" fmla="*/ 531754419 w 255"/>
                <a:gd name="T19" fmla="*/ 473788844 h 281"/>
                <a:gd name="T20" fmla="*/ 614918885 w 255"/>
                <a:gd name="T21" fmla="*/ 446066363 h 281"/>
                <a:gd name="T22" fmla="*/ 642641431 w 255"/>
                <a:gd name="T23" fmla="*/ 284776543 h 281"/>
                <a:gd name="T24" fmla="*/ 559475379 w 255"/>
                <a:gd name="T25" fmla="*/ 20161227 h 281"/>
                <a:gd name="T26" fmla="*/ 544354422 w 255"/>
                <a:gd name="T27" fmla="*/ 27720894 h 281"/>
                <a:gd name="T28" fmla="*/ 360383583 w 255"/>
                <a:gd name="T29" fmla="*/ 7559667 h 281"/>
                <a:gd name="T30" fmla="*/ 274698164 w 255"/>
                <a:gd name="T31" fmla="*/ 7559667 h 281"/>
                <a:gd name="T32" fmla="*/ 153730515 w 255"/>
                <a:gd name="T33" fmla="*/ 0 h 281"/>
                <a:gd name="T34" fmla="*/ 131048287 w 255"/>
                <a:gd name="T35" fmla="*/ 42841814 h 281"/>
                <a:gd name="T36" fmla="*/ 138609559 w 255"/>
                <a:gd name="T37" fmla="*/ 68043349 h 281"/>
                <a:gd name="T38" fmla="*/ 168851471 w 255"/>
                <a:gd name="T39" fmla="*/ 93244883 h 281"/>
                <a:gd name="T40" fmla="*/ 181451474 w 255"/>
                <a:gd name="T41" fmla="*/ 95765830 h 281"/>
                <a:gd name="T42" fmla="*/ 186491793 w 255"/>
                <a:gd name="T43" fmla="*/ 128527031 h 281"/>
                <a:gd name="T44" fmla="*/ 206653068 w 255"/>
                <a:gd name="T45" fmla="*/ 138607645 h 281"/>
                <a:gd name="T46" fmla="*/ 229335296 w 255"/>
                <a:gd name="T47" fmla="*/ 143647951 h 281"/>
                <a:gd name="T48" fmla="*/ 231854661 w 255"/>
                <a:gd name="T49" fmla="*/ 168849486 h 281"/>
                <a:gd name="T50" fmla="*/ 216733705 w 255"/>
                <a:gd name="T51" fmla="*/ 224292861 h 281"/>
                <a:gd name="T52" fmla="*/ 196572430 w 255"/>
                <a:gd name="T53" fmla="*/ 231854115 h 281"/>
                <a:gd name="T54" fmla="*/ 199093383 w 255"/>
                <a:gd name="T55" fmla="*/ 259575009 h 281"/>
                <a:gd name="T56" fmla="*/ 231854661 w 255"/>
                <a:gd name="T57" fmla="*/ 287297490 h 281"/>
                <a:gd name="T58" fmla="*/ 231854661 w 255"/>
                <a:gd name="T59" fmla="*/ 299897464 h 281"/>
                <a:gd name="T60" fmla="*/ 216733705 w 255"/>
                <a:gd name="T61" fmla="*/ 307458718 h 281"/>
                <a:gd name="T62" fmla="*/ 216733705 w 255"/>
                <a:gd name="T63" fmla="*/ 367942400 h 281"/>
                <a:gd name="T64" fmla="*/ 178932109 w 255"/>
                <a:gd name="T65" fmla="*/ 410784215 h 281"/>
                <a:gd name="T66" fmla="*/ 153730515 w 255"/>
                <a:gd name="T67" fmla="*/ 446066363 h 281"/>
                <a:gd name="T68" fmla="*/ 156249880 w 255"/>
                <a:gd name="T69" fmla="*/ 509070992 h 281"/>
                <a:gd name="T70" fmla="*/ 143649877 w 255"/>
                <a:gd name="T71" fmla="*/ 539312833 h 281"/>
                <a:gd name="T72" fmla="*/ 103327328 w 255"/>
                <a:gd name="T73" fmla="*/ 564514367 h 281"/>
                <a:gd name="T74" fmla="*/ 83166053 w 255"/>
                <a:gd name="T75" fmla="*/ 617436795 h 281"/>
                <a:gd name="T76" fmla="*/ 57964459 w 255"/>
                <a:gd name="T77" fmla="*/ 662799557 h 281"/>
                <a:gd name="T78" fmla="*/ 7561272 w 255"/>
                <a:gd name="T79" fmla="*/ 675401118 h 281"/>
                <a:gd name="T80" fmla="*/ 0 w 255"/>
                <a:gd name="T81" fmla="*/ 693041398 h 281"/>
                <a:gd name="T82" fmla="*/ 17641909 w 255"/>
                <a:gd name="T83" fmla="*/ 705642959 h 281"/>
                <a:gd name="T84" fmla="*/ 57964459 w 255"/>
                <a:gd name="T85" fmla="*/ 703122012 h 281"/>
                <a:gd name="T86" fmla="*/ 88206371 w 255"/>
                <a:gd name="T87" fmla="*/ 680441425 h 281"/>
                <a:gd name="T88" fmla="*/ 88206371 w 255"/>
                <a:gd name="T89" fmla="*/ 660280197 h 281"/>
                <a:gd name="T90" fmla="*/ 103327328 w 255"/>
                <a:gd name="T91" fmla="*/ 647678637 h 281"/>
                <a:gd name="T92" fmla="*/ 178932109 w 255"/>
                <a:gd name="T93" fmla="*/ 642638330 h 281"/>
                <a:gd name="T94" fmla="*/ 166330518 w 255"/>
                <a:gd name="T95" fmla="*/ 627517409 h 281"/>
                <a:gd name="T96" fmla="*/ 186491793 w 255"/>
                <a:gd name="T97" fmla="*/ 604836822 h 2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55" h="281">
                  <a:moveTo>
                    <a:pt x="76" y="240"/>
                  </a:moveTo>
                  <a:lnTo>
                    <a:pt x="78" y="237"/>
                  </a:lnTo>
                  <a:lnTo>
                    <a:pt x="81" y="232"/>
                  </a:lnTo>
                  <a:lnTo>
                    <a:pt x="86" y="219"/>
                  </a:lnTo>
                  <a:lnTo>
                    <a:pt x="88" y="214"/>
                  </a:lnTo>
                  <a:lnTo>
                    <a:pt x="92" y="209"/>
                  </a:lnTo>
                  <a:lnTo>
                    <a:pt x="94" y="205"/>
                  </a:lnTo>
                  <a:lnTo>
                    <a:pt x="99" y="204"/>
                  </a:lnTo>
                  <a:lnTo>
                    <a:pt x="101" y="199"/>
                  </a:lnTo>
                  <a:lnTo>
                    <a:pt x="102" y="195"/>
                  </a:lnTo>
                  <a:lnTo>
                    <a:pt x="106" y="193"/>
                  </a:lnTo>
                  <a:lnTo>
                    <a:pt x="109" y="192"/>
                  </a:lnTo>
                  <a:lnTo>
                    <a:pt x="113" y="192"/>
                  </a:lnTo>
                  <a:lnTo>
                    <a:pt x="117" y="192"/>
                  </a:lnTo>
                  <a:lnTo>
                    <a:pt x="118" y="193"/>
                  </a:lnTo>
                  <a:lnTo>
                    <a:pt x="119" y="194"/>
                  </a:lnTo>
                  <a:lnTo>
                    <a:pt x="121" y="198"/>
                  </a:lnTo>
                  <a:lnTo>
                    <a:pt x="123" y="200"/>
                  </a:lnTo>
                  <a:lnTo>
                    <a:pt x="134" y="203"/>
                  </a:lnTo>
                  <a:lnTo>
                    <a:pt x="147" y="203"/>
                  </a:lnTo>
                  <a:lnTo>
                    <a:pt x="153" y="203"/>
                  </a:lnTo>
                  <a:lnTo>
                    <a:pt x="159" y="200"/>
                  </a:lnTo>
                  <a:lnTo>
                    <a:pt x="171" y="195"/>
                  </a:lnTo>
                  <a:lnTo>
                    <a:pt x="174" y="194"/>
                  </a:lnTo>
                  <a:lnTo>
                    <a:pt x="181" y="195"/>
                  </a:lnTo>
                  <a:lnTo>
                    <a:pt x="186" y="197"/>
                  </a:lnTo>
                  <a:lnTo>
                    <a:pt x="191" y="198"/>
                  </a:lnTo>
                  <a:lnTo>
                    <a:pt x="197" y="197"/>
                  </a:lnTo>
                  <a:lnTo>
                    <a:pt x="202" y="194"/>
                  </a:lnTo>
                  <a:lnTo>
                    <a:pt x="211" y="188"/>
                  </a:lnTo>
                  <a:lnTo>
                    <a:pt x="222" y="183"/>
                  </a:lnTo>
                  <a:lnTo>
                    <a:pt x="233" y="179"/>
                  </a:lnTo>
                  <a:lnTo>
                    <a:pt x="244" y="177"/>
                  </a:lnTo>
                  <a:lnTo>
                    <a:pt x="254" y="175"/>
                  </a:lnTo>
                  <a:lnTo>
                    <a:pt x="255" y="134"/>
                  </a:lnTo>
                  <a:lnTo>
                    <a:pt x="255" y="113"/>
                  </a:lnTo>
                  <a:lnTo>
                    <a:pt x="254" y="93"/>
                  </a:lnTo>
                  <a:lnTo>
                    <a:pt x="239" y="50"/>
                  </a:lnTo>
                  <a:lnTo>
                    <a:pt x="222" y="8"/>
                  </a:lnTo>
                  <a:lnTo>
                    <a:pt x="220" y="10"/>
                  </a:lnTo>
                  <a:lnTo>
                    <a:pt x="218" y="11"/>
                  </a:lnTo>
                  <a:lnTo>
                    <a:pt x="216" y="11"/>
                  </a:lnTo>
                  <a:lnTo>
                    <a:pt x="213" y="11"/>
                  </a:lnTo>
                  <a:lnTo>
                    <a:pt x="212" y="10"/>
                  </a:lnTo>
                  <a:lnTo>
                    <a:pt x="143" y="3"/>
                  </a:lnTo>
                  <a:lnTo>
                    <a:pt x="132" y="3"/>
                  </a:lnTo>
                  <a:lnTo>
                    <a:pt x="121" y="3"/>
                  </a:lnTo>
                  <a:lnTo>
                    <a:pt x="109" y="3"/>
                  </a:lnTo>
                  <a:lnTo>
                    <a:pt x="98" y="1"/>
                  </a:lnTo>
                  <a:lnTo>
                    <a:pt x="79" y="0"/>
                  </a:lnTo>
                  <a:lnTo>
                    <a:pt x="61" y="0"/>
                  </a:lnTo>
                  <a:lnTo>
                    <a:pt x="58" y="6"/>
                  </a:lnTo>
                  <a:lnTo>
                    <a:pt x="55" y="11"/>
                  </a:lnTo>
                  <a:lnTo>
                    <a:pt x="52" y="17"/>
                  </a:lnTo>
                  <a:lnTo>
                    <a:pt x="52" y="20"/>
                  </a:lnTo>
                  <a:lnTo>
                    <a:pt x="52" y="23"/>
                  </a:lnTo>
                  <a:lnTo>
                    <a:pt x="55" y="27"/>
                  </a:lnTo>
                  <a:lnTo>
                    <a:pt x="58" y="31"/>
                  </a:lnTo>
                  <a:lnTo>
                    <a:pt x="66" y="36"/>
                  </a:lnTo>
                  <a:lnTo>
                    <a:pt x="67" y="37"/>
                  </a:lnTo>
                  <a:lnTo>
                    <a:pt x="68" y="37"/>
                  </a:lnTo>
                  <a:lnTo>
                    <a:pt x="71" y="37"/>
                  </a:lnTo>
                  <a:lnTo>
                    <a:pt x="72" y="38"/>
                  </a:lnTo>
                  <a:lnTo>
                    <a:pt x="73" y="42"/>
                  </a:lnTo>
                  <a:lnTo>
                    <a:pt x="73" y="47"/>
                  </a:lnTo>
                  <a:lnTo>
                    <a:pt x="74" y="51"/>
                  </a:lnTo>
                  <a:lnTo>
                    <a:pt x="77" y="53"/>
                  </a:lnTo>
                  <a:lnTo>
                    <a:pt x="79" y="55"/>
                  </a:lnTo>
                  <a:lnTo>
                    <a:pt x="82" y="55"/>
                  </a:lnTo>
                  <a:lnTo>
                    <a:pt x="86" y="55"/>
                  </a:lnTo>
                  <a:lnTo>
                    <a:pt x="88" y="56"/>
                  </a:lnTo>
                  <a:lnTo>
                    <a:pt x="91" y="57"/>
                  </a:lnTo>
                  <a:lnTo>
                    <a:pt x="93" y="61"/>
                  </a:lnTo>
                  <a:lnTo>
                    <a:pt x="93" y="63"/>
                  </a:lnTo>
                  <a:lnTo>
                    <a:pt x="92" y="67"/>
                  </a:lnTo>
                  <a:lnTo>
                    <a:pt x="89" y="74"/>
                  </a:lnTo>
                  <a:lnTo>
                    <a:pt x="87" y="83"/>
                  </a:lnTo>
                  <a:lnTo>
                    <a:pt x="86" y="89"/>
                  </a:lnTo>
                  <a:lnTo>
                    <a:pt x="82" y="89"/>
                  </a:lnTo>
                  <a:lnTo>
                    <a:pt x="79" y="89"/>
                  </a:lnTo>
                  <a:lnTo>
                    <a:pt x="78" y="92"/>
                  </a:lnTo>
                  <a:lnTo>
                    <a:pt x="77" y="93"/>
                  </a:lnTo>
                  <a:lnTo>
                    <a:pt x="77" y="98"/>
                  </a:lnTo>
                  <a:lnTo>
                    <a:pt x="79" y="103"/>
                  </a:lnTo>
                  <a:lnTo>
                    <a:pt x="83" y="106"/>
                  </a:lnTo>
                  <a:lnTo>
                    <a:pt x="89" y="112"/>
                  </a:lnTo>
                  <a:lnTo>
                    <a:pt x="92" y="114"/>
                  </a:lnTo>
                  <a:lnTo>
                    <a:pt x="93" y="117"/>
                  </a:lnTo>
                  <a:lnTo>
                    <a:pt x="93" y="118"/>
                  </a:lnTo>
                  <a:lnTo>
                    <a:pt x="92" y="119"/>
                  </a:lnTo>
                  <a:lnTo>
                    <a:pt x="88" y="119"/>
                  </a:lnTo>
                  <a:lnTo>
                    <a:pt x="87" y="119"/>
                  </a:lnTo>
                  <a:lnTo>
                    <a:pt x="86" y="122"/>
                  </a:lnTo>
                  <a:lnTo>
                    <a:pt x="86" y="128"/>
                  </a:lnTo>
                  <a:lnTo>
                    <a:pt x="86" y="141"/>
                  </a:lnTo>
                  <a:lnTo>
                    <a:pt x="86" y="146"/>
                  </a:lnTo>
                  <a:lnTo>
                    <a:pt x="83" y="149"/>
                  </a:lnTo>
                  <a:lnTo>
                    <a:pt x="78" y="157"/>
                  </a:lnTo>
                  <a:lnTo>
                    <a:pt x="71" y="163"/>
                  </a:lnTo>
                  <a:lnTo>
                    <a:pt x="64" y="167"/>
                  </a:lnTo>
                  <a:lnTo>
                    <a:pt x="62" y="172"/>
                  </a:lnTo>
                  <a:lnTo>
                    <a:pt x="61" y="177"/>
                  </a:lnTo>
                  <a:lnTo>
                    <a:pt x="62" y="187"/>
                  </a:lnTo>
                  <a:lnTo>
                    <a:pt x="62" y="197"/>
                  </a:lnTo>
                  <a:lnTo>
                    <a:pt x="62" y="202"/>
                  </a:lnTo>
                  <a:lnTo>
                    <a:pt x="62" y="207"/>
                  </a:lnTo>
                  <a:lnTo>
                    <a:pt x="60" y="212"/>
                  </a:lnTo>
                  <a:lnTo>
                    <a:pt x="57" y="214"/>
                  </a:lnTo>
                  <a:lnTo>
                    <a:pt x="51" y="218"/>
                  </a:lnTo>
                  <a:lnTo>
                    <a:pt x="43" y="222"/>
                  </a:lnTo>
                  <a:lnTo>
                    <a:pt x="41" y="224"/>
                  </a:lnTo>
                  <a:lnTo>
                    <a:pt x="37" y="228"/>
                  </a:lnTo>
                  <a:lnTo>
                    <a:pt x="37" y="227"/>
                  </a:lnTo>
                  <a:lnTo>
                    <a:pt x="33" y="245"/>
                  </a:lnTo>
                  <a:lnTo>
                    <a:pt x="30" y="255"/>
                  </a:lnTo>
                  <a:lnTo>
                    <a:pt x="27" y="259"/>
                  </a:lnTo>
                  <a:lnTo>
                    <a:pt x="23" y="263"/>
                  </a:lnTo>
                  <a:lnTo>
                    <a:pt x="18" y="264"/>
                  </a:lnTo>
                  <a:lnTo>
                    <a:pt x="11" y="265"/>
                  </a:lnTo>
                  <a:lnTo>
                    <a:pt x="3" y="268"/>
                  </a:lnTo>
                  <a:lnTo>
                    <a:pt x="1" y="269"/>
                  </a:lnTo>
                  <a:lnTo>
                    <a:pt x="0" y="273"/>
                  </a:lnTo>
                  <a:lnTo>
                    <a:pt x="0" y="275"/>
                  </a:lnTo>
                  <a:lnTo>
                    <a:pt x="1" y="278"/>
                  </a:lnTo>
                  <a:lnTo>
                    <a:pt x="3" y="279"/>
                  </a:lnTo>
                  <a:lnTo>
                    <a:pt x="7" y="280"/>
                  </a:lnTo>
                  <a:lnTo>
                    <a:pt x="15" y="281"/>
                  </a:lnTo>
                  <a:lnTo>
                    <a:pt x="20" y="280"/>
                  </a:lnTo>
                  <a:lnTo>
                    <a:pt x="23" y="279"/>
                  </a:lnTo>
                  <a:lnTo>
                    <a:pt x="27" y="278"/>
                  </a:lnTo>
                  <a:lnTo>
                    <a:pt x="33" y="273"/>
                  </a:lnTo>
                  <a:lnTo>
                    <a:pt x="35" y="270"/>
                  </a:lnTo>
                  <a:lnTo>
                    <a:pt x="35" y="268"/>
                  </a:lnTo>
                  <a:lnTo>
                    <a:pt x="35" y="263"/>
                  </a:lnTo>
                  <a:lnTo>
                    <a:pt x="35" y="262"/>
                  </a:lnTo>
                  <a:lnTo>
                    <a:pt x="36" y="259"/>
                  </a:lnTo>
                  <a:lnTo>
                    <a:pt x="37" y="258"/>
                  </a:lnTo>
                  <a:lnTo>
                    <a:pt x="41" y="257"/>
                  </a:lnTo>
                  <a:lnTo>
                    <a:pt x="56" y="254"/>
                  </a:lnTo>
                  <a:lnTo>
                    <a:pt x="63" y="254"/>
                  </a:lnTo>
                  <a:lnTo>
                    <a:pt x="71" y="255"/>
                  </a:lnTo>
                  <a:lnTo>
                    <a:pt x="68" y="254"/>
                  </a:lnTo>
                  <a:lnTo>
                    <a:pt x="67" y="252"/>
                  </a:lnTo>
                  <a:lnTo>
                    <a:pt x="66" y="249"/>
                  </a:lnTo>
                  <a:lnTo>
                    <a:pt x="67" y="247"/>
                  </a:lnTo>
                  <a:lnTo>
                    <a:pt x="69" y="243"/>
                  </a:lnTo>
                  <a:lnTo>
                    <a:pt x="74" y="240"/>
                  </a:lnTo>
                  <a:lnTo>
                    <a:pt x="76" y="240"/>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cramento</a:t>
              </a:r>
            </a:p>
          </p:txBody>
        </p:sp>
        <p:sp>
          <p:nvSpPr>
            <p:cNvPr id="25" name="Placer"/>
            <p:cNvSpPr>
              <a:spLocks/>
            </p:cNvSpPr>
            <p:nvPr/>
          </p:nvSpPr>
          <p:spPr bwMode="auto">
            <a:xfrm>
              <a:off x="2212897" y="4087617"/>
              <a:ext cx="1049716" cy="480953"/>
            </a:xfrm>
            <a:custGeom>
              <a:avLst/>
              <a:gdLst>
                <a:gd name="T0" fmla="*/ 2147483647 w 499"/>
                <a:gd name="T1" fmla="*/ 2147483647 h 241"/>
                <a:gd name="T2" fmla="*/ 2147483647 w 499"/>
                <a:gd name="T3" fmla="*/ 2147483647 h 241"/>
                <a:gd name="T4" fmla="*/ 2147483647 w 499"/>
                <a:gd name="T5" fmla="*/ 2147483647 h 241"/>
                <a:gd name="T6" fmla="*/ 2147483647 w 499"/>
                <a:gd name="T7" fmla="*/ 2147483647 h 241"/>
                <a:gd name="T8" fmla="*/ 2147483647 w 499"/>
                <a:gd name="T9" fmla="*/ 2147483647 h 241"/>
                <a:gd name="T10" fmla="*/ 2147483647 w 499"/>
                <a:gd name="T11" fmla="*/ 2147483647 h 241"/>
                <a:gd name="T12" fmla="*/ 2147483647 w 499"/>
                <a:gd name="T13" fmla="*/ 2147483647 h 241"/>
                <a:gd name="T14" fmla="*/ 2147483647 w 499"/>
                <a:gd name="T15" fmla="*/ 2147483647 h 241"/>
                <a:gd name="T16" fmla="*/ 2147483647 w 499"/>
                <a:gd name="T17" fmla="*/ 2147483647 h 241"/>
                <a:gd name="T18" fmla="*/ 2147483647 w 499"/>
                <a:gd name="T19" fmla="*/ 2147483647 h 241"/>
                <a:gd name="T20" fmla="*/ 2147483647 w 499"/>
                <a:gd name="T21" fmla="*/ 2147483647 h 241"/>
                <a:gd name="T22" fmla="*/ 2147483647 w 499"/>
                <a:gd name="T23" fmla="*/ 2147483647 h 241"/>
                <a:gd name="T24" fmla="*/ 2147483647 w 499"/>
                <a:gd name="T25" fmla="*/ 2147483647 h 241"/>
                <a:gd name="T26" fmla="*/ 2147483647 w 499"/>
                <a:gd name="T27" fmla="*/ 2147483647 h 241"/>
                <a:gd name="T28" fmla="*/ 2147483647 w 499"/>
                <a:gd name="T29" fmla="*/ 2147483647 h 241"/>
                <a:gd name="T30" fmla="*/ 2147483647 w 499"/>
                <a:gd name="T31" fmla="*/ 2147483647 h 241"/>
                <a:gd name="T32" fmla="*/ 2147483647 w 499"/>
                <a:gd name="T33" fmla="*/ 2147483647 h 241"/>
                <a:gd name="T34" fmla="*/ 2147483647 w 499"/>
                <a:gd name="T35" fmla="*/ 2147483647 h 241"/>
                <a:gd name="T36" fmla="*/ 2147483647 w 499"/>
                <a:gd name="T37" fmla="*/ 2147483647 h 241"/>
                <a:gd name="T38" fmla="*/ 2147483647 w 499"/>
                <a:gd name="T39" fmla="*/ 2147483647 h 241"/>
                <a:gd name="T40" fmla="*/ 2147483647 w 499"/>
                <a:gd name="T41" fmla="*/ 2147483647 h 241"/>
                <a:gd name="T42" fmla="*/ 2147483647 w 499"/>
                <a:gd name="T43" fmla="*/ 2147483647 h 241"/>
                <a:gd name="T44" fmla="*/ 2147483647 w 499"/>
                <a:gd name="T45" fmla="*/ 2147483647 h 241"/>
                <a:gd name="T46" fmla="*/ 2147483647 w 499"/>
                <a:gd name="T47" fmla="*/ 0 h 241"/>
                <a:gd name="T48" fmla="*/ 2147483647 w 499"/>
                <a:gd name="T49" fmla="*/ 2147483647 h 241"/>
                <a:gd name="T50" fmla="*/ 2147483647 w 499"/>
                <a:gd name="T51" fmla="*/ 2147483647 h 241"/>
                <a:gd name="T52" fmla="*/ 2147483647 w 499"/>
                <a:gd name="T53" fmla="*/ 2147483647 h 241"/>
                <a:gd name="T54" fmla="*/ 2147483647 w 499"/>
                <a:gd name="T55" fmla="*/ 2147483647 h 241"/>
                <a:gd name="T56" fmla="*/ 2147483647 w 499"/>
                <a:gd name="T57" fmla="*/ 2147483647 h 241"/>
                <a:gd name="T58" fmla="*/ 2147483647 w 499"/>
                <a:gd name="T59" fmla="*/ 2147483647 h 241"/>
                <a:gd name="T60" fmla="*/ 2147483647 w 499"/>
                <a:gd name="T61" fmla="*/ 2147483647 h 241"/>
                <a:gd name="T62" fmla="*/ 2147483647 w 499"/>
                <a:gd name="T63" fmla="*/ 2147483647 h 241"/>
                <a:gd name="T64" fmla="*/ 2147483647 w 499"/>
                <a:gd name="T65" fmla="*/ 2147483647 h 241"/>
                <a:gd name="T66" fmla="*/ 2147483647 w 499"/>
                <a:gd name="T67" fmla="*/ 2147483647 h 241"/>
                <a:gd name="T68" fmla="*/ 2147483647 w 499"/>
                <a:gd name="T69" fmla="*/ 2147483647 h 241"/>
                <a:gd name="T70" fmla="*/ 2147483647 w 499"/>
                <a:gd name="T71" fmla="*/ 2147483647 h 241"/>
                <a:gd name="T72" fmla="*/ 2147483647 w 499"/>
                <a:gd name="T73" fmla="*/ 2147483647 h 241"/>
                <a:gd name="T74" fmla="*/ 2147483647 w 499"/>
                <a:gd name="T75" fmla="*/ 2147483647 h 241"/>
                <a:gd name="T76" fmla="*/ 2147483647 w 499"/>
                <a:gd name="T77" fmla="*/ 2147483647 h 241"/>
                <a:gd name="T78" fmla="*/ 2147483647 w 499"/>
                <a:gd name="T79" fmla="*/ 2147483647 h 241"/>
                <a:gd name="T80" fmla="*/ 2147483647 w 499"/>
                <a:gd name="T81" fmla="*/ 2147483647 h 241"/>
                <a:gd name="T82" fmla="*/ 2147483647 w 499"/>
                <a:gd name="T83" fmla="*/ 2147483647 h 241"/>
                <a:gd name="T84" fmla="*/ 2147483647 w 499"/>
                <a:gd name="T85" fmla="*/ 2147483647 h 241"/>
                <a:gd name="T86" fmla="*/ 2147483647 w 499"/>
                <a:gd name="T87" fmla="*/ 2147483647 h 241"/>
                <a:gd name="T88" fmla="*/ 2147483647 w 499"/>
                <a:gd name="T89" fmla="*/ 2147483647 h 241"/>
                <a:gd name="T90" fmla="*/ 2147483647 w 499"/>
                <a:gd name="T91" fmla="*/ 2147483647 h 241"/>
                <a:gd name="T92" fmla="*/ 2147483647 w 499"/>
                <a:gd name="T93" fmla="*/ 2147483647 h 241"/>
                <a:gd name="T94" fmla="*/ 2147483647 w 499"/>
                <a:gd name="T95" fmla="*/ 2147483647 h 24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499" h="241">
                  <a:moveTo>
                    <a:pt x="135" y="198"/>
                  </a:moveTo>
                  <a:lnTo>
                    <a:pt x="137" y="196"/>
                  </a:lnTo>
                  <a:lnTo>
                    <a:pt x="140" y="193"/>
                  </a:lnTo>
                  <a:lnTo>
                    <a:pt x="142" y="191"/>
                  </a:lnTo>
                  <a:lnTo>
                    <a:pt x="144" y="187"/>
                  </a:lnTo>
                  <a:lnTo>
                    <a:pt x="145" y="176"/>
                  </a:lnTo>
                  <a:lnTo>
                    <a:pt x="146" y="171"/>
                  </a:lnTo>
                  <a:lnTo>
                    <a:pt x="147" y="166"/>
                  </a:lnTo>
                  <a:lnTo>
                    <a:pt x="151" y="163"/>
                  </a:lnTo>
                  <a:lnTo>
                    <a:pt x="155" y="161"/>
                  </a:lnTo>
                  <a:lnTo>
                    <a:pt x="166" y="158"/>
                  </a:lnTo>
                  <a:lnTo>
                    <a:pt x="176" y="157"/>
                  </a:lnTo>
                  <a:lnTo>
                    <a:pt x="180" y="155"/>
                  </a:lnTo>
                  <a:lnTo>
                    <a:pt x="184" y="151"/>
                  </a:lnTo>
                  <a:lnTo>
                    <a:pt x="189" y="147"/>
                  </a:lnTo>
                  <a:lnTo>
                    <a:pt x="195" y="146"/>
                  </a:lnTo>
                  <a:lnTo>
                    <a:pt x="210" y="146"/>
                  </a:lnTo>
                  <a:lnTo>
                    <a:pt x="212" y="145"/>
                  </a:lnTo>
                  <a:lnTo>
                    <a:pt x="215" y="141"/>
                  </a:lnTo>
                  <a:lnTo>
                    <a:pt x="220" y="133"/>
                  </a:lnTo>
                  <a:lnTo>
                    <a:pt x="225" y="130"/>
                  </a:lnTo>
                  <a:lnTo>
                    <a:pt x="231" y="126"/>
                  </a:lnTo>
                  <a:lnTo>
                    <a:pt x="239" y="125"/>
                  </a:lnTo>
                  <a:lnTo>
                    <a:pt x="245" y="125"/>
                  </a:lnTo>
                  <a:lnTo>
                    <a:pt x="250" y="127"/>
                  </a:lnTo>
                  <a:lnTo>
                    <a:pt x="252" y="128"/>
                  </a:lnTo>
                  <a:lnTo>
                    <a:pt x="255" y="131"/>
                  </a:lnTo>
                  <a:lnTo>
                    <a:pt x="260" y="132"/>
                  </a:lnTo>
                  <a:lnTo>
                    <a:pt x="262" y="133"/>
                  </a:lnTo>
                  <a:lnTo>
                    <a:pt x="264" y="132"/>
                  </a:lnTo>
                  <a:lnTo>
                    <a:pt x="265" y="132"/>
                  </a:lnTo>
                  <a:lnTo>
                    <a:pt x="267" y="132"/>
                  </a:lnTo>
                  <a:lnTo>
                    <a:pt x="269" y="133"/>
                  </a:lnTo>
                  <a:lnTo>
                    <a:pt x="269" y="136"/>
                  </a:lnTo>
                  <a:lnTo>
                    <a:pt x="269" y="138"/>
                  </a:lnTo>
                  <a:lnTo>
                    <a:pt x="270" y="141"/>
                  </a:lnTo>
                  <a:lnTo>
                    <a:pt x="275" y="143"/>
                  </a:lnTo>
                  <a:lnTo>
                    <a:pt x="280" y="146"/>
                  </a:lnTo>
                  <a:lnTo>
                    <a:pt x="290" y="150"/>
                  </a:lnTo>
                  <a:lnTo>
                    <a:pt x="300" y="156"/>
                  </a:lnTo>
                  <a:lnTo>
                    <a:pt x="305" y="157"/>
                  </a:lnTo>
                  <a:lnTo>
                    <a:pt x="308" y="158"/>
                  </a:lnTo>
                  <a:lnTo>
                    <a:pt x="312" y="158"/>
                  </a:lnTo>
                  <a:lnTo>
                    <a:pt x="317" y="157"/>
                  </a:lnTo>
                  <a:lnTo>
                    <a:pt x="322" y="155"/>
                  </a:lnTo>
                  <a:lnTo>
                    <a:pt x="328" y="150"/>
                  </a:lnTo>
                  <a:lnTo>
                    <a:pt x="338" y="141"/>
                  </a:lnTo>
                  <a:lnTo>
                    <a:pt x="343" y="136"/>
                  </a:lnTo>
                  <a:lnTo>
                    <a:pt x="347" y="130"/>
                  </a:lnTo>
                  <a:lnTo>
                    <a:pt x="351" y="121"/>
                  </a:lnTo>
                  <a:lnTo>
                    <a:pt x="352" y="116"/>
                  </a:lnTo>
                  <a:lnTo>
                    <a:pt x="355" y="115"/>
                  </a:lnTo>
                  <a:lnTo>
                    <a:pt x="356" y="115"/>
                  </a:lnTo>
                  <a:lnTo>
                    <a:pt x="408" y="117"/>
                  </a:lnTo>
                  <a:lnTo>
                    <a:pt x="425" y="116"/>
                  </a:lnTo>
                  <a:lnTo>
                    <a:pt x="433" y="113"/>
                  </a:lnTo>
                  <a:lnTo>
                    <a:pt x="437" y="112"/>
                  </a:lnTo>
                  <a:lnTo>
                    <a:pt x="442" y="110"/>
                  </a:lnTo>
                  <a:lnTo>
                    <a:pt x="448" y="108"/>
                  </a:lnTo>
                  <a:lnTo>
                    <a:pt x="448" y="103"/>
                  </a:lnTo>
                  <a:lnTo>
                    <a:pt x="451" y="103"/>
                  </a:lnTo>
                  <a:lnTo>
                    <a:pt x="451" y="100"/>
                  </a:lnTo>
                  <a:lnTo>
                    <a:pt x="498" y="100"/>
                  </a:lnTo>
                  <a:lnTo>
                    <a:pt x="498" y="83"/>
                  </a:lnTo>
                  <a:lnTo>
                    <a:pt x="498" y="74"/>
                  </a:lnTo>
                  <a:lnTo>
                    <a:pt x="498" y="67"/>
                  </a:lnTo>
                  <a:lnTo>
                    <a:pt x="498" y="62"/>
                  </a:lnTo>
                  <a:lnTo>
                    <a:pt x="499" y="47"/>
                  </a:lnTo>
                  <a:lnTo>
                    <a:pt x="498" y="36"/>
                  </a:lnTo>
                  <a:lnTo>
                    <a:pt x="498" y="7"/>
                  </a:lnTo>
                  <a:lnTo>
                    <a:pt x="498" y="0"/>
                  </a:lnTo>
                  <a:lnTo>
                    <a:pt x="317" y="0"/>
                  </a:lnTo>
                  <a:lnTo>
                    <a:pt x="297" y="0"/>
                  </a:lnTo>
                  <a:lnTo>
                    <a:pt x="287" y="0"/>
                  </a:lnTo>
                  <a:lnTo>
                    <a:pt x="278" y="1"/>
                  </a:lnTo>
                  <a:lnTo>
                    <a:pt x="270" y="4"/>
                  </a:lnTo>
                  <a:lnTo>
                    <a:pt x="262" y="7"/>
                  </a:lnTo>
                  <a:lnTo>
                    <a:pt x="254" y="12"/>
                  </a:lnTo>
                  <a:lnTo>
                    <a:pt x="246" y="20"/>
                  </a:lnTo>
                  <a:lnTo>
                    <a:pt x="235" y="30"/>
                  </a:lnTo>
                  <a:lnTo>
                    <a:pt x="222" y="40"/>
                  </a:lnTo>
                  <a:lnTo>
                    <a:pt x="197" y="56"/>
                  </a:lnTo>
                  <a:lnTo>
                    <a:pt x="190" y="62"/>
                  </a:lnTo>
                  <a:lnTo>
                    <a:pt x="184" y="69"/>
                  </a:lnTo>
                  <a:lnTo>
                    <a:pt x="177" y="76"/>
                  </a:lnTo>
                  <a:lnTo>
                    <a:pt x="172" y="83"/>
                  </a:lnTo>
                  <a:lnTo>
                    <a:pt x="169" y="88"/>
                  </a:lnTo>
                  <a:lnTo>
                    <a:pt x="167" y="92"/>
                  </a:lnTo>
                  <a:lnTo>
                    <a:pt x="167" y="97"/>
                  </a:lnTo>
                  <a:lnTo>
                    <a:pt x="164" y="102"/>
                  </a:lnTo>
                  <a:lnTo>
                    <a:pt x="159" y="106"/>
                  </a:lnTo>
                  <a:lnTo>
                    <a:pt x="155" y="111"/>
                  </a:lnTo>
                  <a:lnTo>
                    <a:pt x="154" y="113"/>
                  </a:lnTo>
                  <a:lnTo>
                    <a:pt x="154" y="117"/>
                  </a:lnTo>
                  <a:lnTo>
                    <a:pt x="152" y="120"/>
                  </a:lnTo>
                  <a:lnTo>
                    <a:pt x="152" y="121"/>
                  </a:lnTo>
                  <a:lnTo>
                    <a:pt x="150" y="122"/>
                  </a:lnTo>
                  <a:lnTo>
                    <a:pt x="147" y="123"/>
                  </a:lnTo>
                  <a:lnTo>
                    <a:pt x="141" y="122"/>
                  </a:lnTo>
                  <a:lnTo>
                    <a:pt x="135" y="121"/>
                  </a:lnTo>
                  <a:lnTo>
                    <a:pt x="121" y="115"/>
                  </a:lnTo>
                  <a:lnTo>
                    <a:pt x="116" y="113"/>
                  </a:lnTo>
                  <a:lnTo>
                    <a:pt x="114" y="113"/>
                  </a:lnTo>
                  <a:lnTo>
                    <a:pt x="108" y="116"/>
                  </a:lnTo>
                  <a:lnTo>
                    <a:pt x="101" y="117"/>
                  </a:lnTo>
                  <a:lnTo>
                    <a:pt x="96" y="118"/>
                  </a:lnTo>
                  <a:lnTo>
                    <a:pt x="91" y="118"/>
                  </a:lnTo>
                  <a:lnTo>
                    <a:pt x="80" y="116"/>
                  </a:lnTo>
                  <a:lnTo>
                    <a:pt x="68" y="112"/>
                  </a:lnTo>
                  <a:lnTo>
                    <a:pt x="65" y="110"/>
                  </a:lnTo>
                  <a:lnTo>
                    <a:pt x="64" y="108"/>
                  </a:lnTo>
                  <a:lnTo>
                    <a:pt x="58" y="107"/>
                  </a:lnTo>
                  <a:lnTo>
                    <a:pt x="53" y="108"/>
                  </a:lnTo>
                  <a:lnTo>
                    <a:pt x="48" y="112"/>
                  </a:lnTo>
                  <a:lnTo>
                    <a:pt x="35" y="120"/>
                  </a:lnTo>
                  <a:lnTo>
                    <a:pt x="30" y="123"/>
                  </a:lnTo>
                  <a:lnTo>
                    <a:pt x="25" y="126"/>
                  </a:lnTo>
                  <a:lnTo>
                    <a:pt x="25" y="142"/>
                  </a:lnTo>
                  <a:lnTo>
                    <a:pt x="25" y="151"/>
                  </a:lnTo>
                  <a:lnTo>
                    <a:pt x="24" y="153"/>
                  </a:lnTo>
                  <a:lnTo>
                    <a:pt x="23" y="155"/>
                  </a:lnTo>
                  <a:lnTo>
                    <a:pt x="15" y="155"/>
                  </a:lnTo>
                  <a:lnTo>
                    <a:pt x="10" y="155"/>
                  </a:lnTo>
                  <a:lnTo>
                    <a:pt x="9" y="156"/>
                  </a:lnTo>
                  <a:lnTo>
                    <a:pt x="8" y="158"/>
                  </a:lnTo>
                  <a:lnTo>
                    <a:pt x="8" y="166"/>
                  </a:lnTo>
                  <a:lnTo>
                    <a:pt x="8" y="178"/>
                  </a:lnTo>
                  <a:lnTo>
                    <a:pt x="9" y="198"/>
                  </a:lnTo>
                  <a:lnTo>
                    <a:pt x="8" y="207"/>
                  </a:lnTo>
                  <a:lnTo>
                    <a:pt x="6" y="216"/>
                  </a:lnTo>
                  <a:lnTo>
                    <a:pt x="4" y="221"/>
                  </a:lnTo>
                  <a:lnTo>
                    <a:pt x="3" y="222"/>
                  </a:lnTo>
                  <a:lnTo>
                    <a:pt x="0" y="222"/>
                  </a:lnTo>
                  <a:lnTo>
                    <a:pt x="0" y="232"/>
                  </a:lnTo>
                  <a:lnTo>
                    <a:pt x="11" y="234"/>
                  </a:lnTo>
                  <a:lnTo>
                    <a:pt x="23" y="234"/>
                  </a:lnTo>
                  <a:lnTo>
                    <a:pt x="34" y="234"/>
                  </a:lnTo>
                  <a:lnTo>
                    <a:pt x="45" y="234"/>
                  </a:lnTo>
                  <a:lnTo>
                    <a:pt x="114" y="241"/>
                  </a:lnTo>
                  <a:lnTo>
                    <a:pt x="120" y="231"/>
                  </a:lnTo>
                  <a:lnTo>
                    <a:pt x="125" y="219"/>
                  </a:lnTo>
                  <a:lnTo>
                    <a:pt x="129" y="208"/>
                  </a:lnTo>
                  <a:lnTo>
                    <a:pt x="134" y="198"/>
                  </a:lnTo>
                  <a:lnTo>
                    <a:pt x="135" y="198"/>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Placer</a:t>
              </a:r>
            </a:p>
          </p:txBody>
        </p:sp>
        <p:sp>
          <p:nvSpPr>
            <p:cNvPr id="26" name="Yolo"/>
            <p:cNvSpPr>
              <a:spLocks/>
            </p:cNvSpPr>
            <p:nvPr/>
          </p:nvSpPr>
          <p:spPr bwMode="auto">
            <a:xfrm>
              <a:off x="1564971" y="4396225"/>
              <a:ext cx="637404" cy="490973"/>
            </a:xfrm>
            <a:custGeom>
              <a:avLst/>
              <a:gdLst>
                <a:gd name="T0" fmla="*/ 688004165 w 303"/>
                <a:gd name="T1" fmla="*/ 173889764 h 245"/>
                <a:gd name="T2" fmla="*/ 675402577 w 303"/>
                <a:gd name="T3" fmla="*/ 151209181 h 245"/>
                <a:gd name="T4" fmla="*/ 650200988 w 303"/>
                <a:gd name="T5" fmla="*/ 166330099 h 245"/>
                <a:gd name="T6" fmla="*/ 619959082 w 303"/>
                <a:gd name="T7" fmla="*/ 171370405 h 245"/>
                <a:gd name="T8" fmla="*/ 607359081 w 303"/>
                <a:gd name="T9" fmla="*/ 151209181 h 245"/>
                <a:gd name="T10" fmla="*/ 582157493 w 303"/>
                <a:gd name="T11" fmla="*/ 133567316 h 245"/>
                <a:gd name="T12" fmla="*/ 574596222 w 303"/>
                <a:gd name="T13" fmla="*/ 98285174 h 245"/>
                <a:gd name="T14" fmla="*/ 559475269 w 303"/>
                <a:gd name="T15" fmla="*/ 63003032 h 245"/>
                <a:gd name="T16" fmla="*/ 534273680 w 303"/>
                <a:gd name="T17" fmla="*/ 73083644 h 245"/>
                <a:gd name="T18" fmla="*/ 504031774 w 303"/>
                <a:gd name="T19" fmla="*/ 68043338 h 245"/>
                <a:gd name="T20" fmla="*/ 509072092 w 303"/>
                <a:gd name="T21" fmla="*/ 37801501 h 245"/>
                <a:gd name="T22" fmla="*/ 506552727 w 303"/>
                <a:gd name="T23" fmla="*/ 25201530 h 245"/>
                <a:gd name="T24" fmla="*/ 493951138 w 303"/>
                <a:gd name="T25" fmla="*/ 12599971 h 245"/>
                <a:gd name="T26" fmla="*/ 264617475 w 303"/>
                <a:gd name="T27" fmla="*/ 5040306 h 245"/>
                <a:gd name="T28" fmla="*/ 5040318 w 303"/>
                <a:gd name="T29" fmla="*/ 10080612 h 245"/>
                <a:gd name="T30" fmla="*/ 10080635 w 303"/>
                <a:gd name="T31" fmla="*/ 47882113 h 245"/>
                <a:gd name="T32" fmla="*/ 22682224 w 303"/>
                <a:gd name="T33" fmla="*/ 83164256 h 245"/>
                <a:gd name="T34" fmla="*/ 65524131 w 303"/>
                <a:gd name="T35" fmla="*/ 85685202 h 245"/>
                <a:gd name="T36" fmla="*/ 110886990 w 303"/>
                <a:gd name="T37" fmla="*/ 110886732 h 245"/>
                <a:gd name="T38" fmla="*/ 153730485 w 303"/>
                <a:gd name="T39" fmla="*/ 199091294 h 245"/>
                <a:gd name="T40" fmla="*/ 206653027 w 303"/>
                <a:gd name="T41" fmla="*/ 292337749 h 245"/>
                <a:gd name="T42" fmla="*/ 211693345 w 303"/>
                <a:gd name="T43" fmla="*/ 315018333 h 245"/>
                <a:gd name="T44" fmla="*/ 254536840 w 303"/>
                <a:gd name="T45" fmla="*/ 400703535 h 245"/>
                <a:gd name="T46" fmla="*/ 274698111 w 303"/>
                <a:gd name="T47" fmla="*/ 428426012 h 245"/>
                <a:gd name="T48" fmla="*/ 322580335 w 303"/>
                <a:gd name="T49" fmla="*/ 446066289 h 245"/>
                <a:gd name="T50" fmla="*/ 367943195 w 303"/>
                <a:gd name="T51" fmla="*/ 428426012 h 245"/>
                <a:gd name="T52" fmla="*/ 453628597 w 303"/>
                <a:gd name="T53" fmla="*/ 403224482 h 245"/>
                <a:gd name="T54" fmla="*/ 554434951 w 303"/>
                <a:gd name="T55" fmla="*/ 400703535 h 245"/>
                <a:gd name="T56" fmla="*/ 599797811 w 303"/>
                <a:gd name="T57" fmla="*/ 405743841 h 245"/>
                <a:gd name="T58" fmla="*/ 607359081 w 303"/>
                <a:gd name="T59" fmla="*/ 617436694 h 245"/>
                <a:gd name="T60" fmla="*/ 708165436 w 303"/>
                <a:gd name="T61" fmla="*/ 607356082 h 245"/>
                <a:gd name="T62" fmla="*/ 745967025 w 303"/>
                <a:gd name="T63" fmla="*/ 564514274 h 245"/>
                <a:gd name="T64" fmla="*/ 745967025 w 303"/>
                <a:gd name="T65" fmla="*/ 504030602 h 245"/>
                <a:gd name="T66" fmla="*/ 761087979 w 303"/>
                <a:gd name="T67" fmla="*/ 496469349 h 245"/>
                <a:gd name="T68" fmla="*/ 761087979 w 303"/>
                <a:gd name="T69" fmla="*/ 483869378 h 245"/>
                <a:gd name="T70" fmla="*/ 728326707 w 303"/>
                <a:gd name="T71" fmla="*/ 456146901 h 245"/>
                <a:gd name="T72" fmla="*/ 725805754 w 303"/>
                <a:gd name="T73" fmla="*/ 428426012 h 245"/>
                <a:gd name="T74" fmla="*/ 745967025 w 303"/>
                <a:gd name="T75" fmla="*/ 420864759 h 245"/>
                <a:gd name="T76" fmla="*/ 761087979 w 303"/>
                <a:gd name="T77" fmla="*/ 365421393 h 245"/>
                <a:gd name="T78" fmla="*/ 758568614 w 303"/>
                <a:gd name="T79" fmla="*/ 340219863 h 245"/>
                <a:gd name="T80" fmla="*/ 735886390 w 303"/>
                <a:gd name="T81" fmla="*/ 335179557 h 245"/>
                <a:gd name="T82" fmla="*/ 715725119 w 303"/>
                <a:gd name="T83" fmla="*/ 325098945 h 245"/>
                <a:gd name="T84" fmla="*/ 710684801 w 303"/>
                <a:gd name="T85" fmla="*/ 292337749 h 245"/>
                <a:gd name="T86" fmla="*/ 698084801 w 303"/>
                <a:gd name="T87" fmla="*/ 289816802 h 245"/>
                <a:gd name="T88" fmla="*/ 667842894 w 303"/>
                <a:gd name="T89" fmla="*/ 264615272 h 245"/>
                <a:gd name="T90" fmla="*/ 660281624 w 303"/>
                <a:gd name="T91" fmla="*/ 239413742 h 245"/>
                <a:gd name="T92" fmla="*/ 680442895 w 303"/>
                <a:gd name="T93" fmla="*/ 196571935 h 24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03" h="245">
                  <a:moveTo>
                    <a:pt x="271" y="78"/>
                  </a:moveTo>
                  <a:lnTo>
                    <a:pt x="272" y="74"/>
                  </a:lnTo>
                  <a:lnTo>
                    <a:pt x="273" y="69"/>
                  </a:lnTo>
                  <a:lnTo>
                    <a:pt x="273" y="65"/>
                  </a:lnTo>
                  <a:lnTo>
                    <a:pt x="270" y="61"/>
                  </a:lnTo>
                  <a:lnTo>
                    <a:pt x="268" y="60"/>
                  </a:lnTo>
                  <a:lnTo>
                    <a:pt x="266" y="60"/>
                  </a:lnTo>
                  <a:lnTo>
                    <a:pt x="262" y="63"/>
                  </a:lnTo>
                  <a:lnTo>
                    <a:pt x="258" y="66"/>
                  </a:lnTo>
                  <a:lnTo>
                    <a:pt x="256" y="68"/>
                  </a:lnTo>
                  <a:lnTo>
                    <a:pt x="253" y="68"/>
                  </a:lnTo>
                  <a:lnTo>
                    <a:pt x="246" y="68"/>
                  </a:lnTo>
                  <a:lnTo>
                    <a:pt x="243" y="66"/>
                  </a:lnTo>
                  <a:lnTo>
                    <a:pt x="241" y="64"/>
                  </a:lnTo>
                  <a:lnTo>
                    <a:pt x="241" y="60"/>
                  </a:lnTo>
                  <a:lnTo>
                    <a:pt x="241" y="58"/>
                  </a:lnTo>
                  <a:lnTo>
                    <a:pt x="236" y="54"/>
                  </a:lnTo>
                  <a:lnTo>
                    <a:pt x="231" y="53"/>
                  </a:lnTo>
                  <a:lnTo>
                    <a:pt x="230" y="48"/>
                  </a:lnTo>
                  <a:lnTo>
                    <a:pt x="228" y="43"/>
                  </a:lnTo>
                  <a:lnTo>
                    <a:pt x="228" y="39"/>
                  </a:lnTo>
                  <a:lnTo>
                    <a:pt x="227" y="34"/>
                  </a:lnTo>
                  <a:lnTo>
                    <a:pt x="223" y="27"/>
                  </a:lnTo>
                  <a:lnTo>
                    <a:pt x="222" y="25"/>
                  </a:lnTo>
                  <a:lnTo>
                    <a:pt x="221" y="25"/>
                  </a:lnTo>
                  <a:lnTo>
                    <a:pt x="217" y="27"/>
                  </a:lnTo>
                  <a:lnTo>
                    <a:pt x="212" y="29"/>
                  </a:lnTo>
                  <a:lnTo>
                    <a:pt x="206" y="29"/>
                  </a:lnTo>
                  <a:lnTo>
                    <a:pt x="201" y="28"/>
                  </a:lnTo>
                  <a:lnTo>
                    <a:pt x="200" y="27"/>
                  </a:lnTo>
                  <a:lnTo>
                    <a:pt x="200" y="23"/>
                  </a:lnTo>
                  <a:lnTo>
                    <a:pt x="201" y="19"/>
                  </a:lnTo>
                  <a:lnTo>
                    <a:pt x="202" y="15"/>
                  </a:lnTo>
                  <a:lnTo>
                    <a:pt x="206" y="10"/>
                  </a:lnTo>
                  <a:lnTo>
                    <a:pt x="203" y="10"/>
                  </a:lnTo>
                  <a:lnTo>
                    <a:pt x="201" y="10"/>
                  </a:lnTo>
                  <a:lnTo>
                    <a:pt x="202" y="7"/>
                  </a:lnTo>
                  <a:lnTo>
                    <a:pt x="198" y="7"/>
                  </a:lnTo>
                  <a:lnTo>
                    <a:pt x="196" y="5"/>
                  </a:lnTo>
                  <a:lnTo>
                    <a:pt x="193" y="4"/>
                  </a:lnTo>
                  <a:lnTo>
                    <a:pt x="191" y="0"/>
                  </a:lnTo>
                  <a:lnTo>
                    <a:pt x="105" y="2"/>
                  </a:lnTo>
                  <a:lnTo>
                    <a:pt x="19" y="3"/>
                  </a:lnTo>
                  <a:lnTo>
                    <a:pt x="9" y="3"/>
                  </a:lnTo>
                  <a:lnTo>
                    <a:pt x="2" y="4"/>
                  </a:lnTo>
                  <a:lnTo>
                    <a:pt x="0" y="7"/>
                  </a:lnTo>
                  <a:lnTo>
                    <a:pt x="0" y="10"/>
                  </a:lnTo>
                  <a:lnTo>
                    <a:pt x="4" y="19"/>
                  </a:lnTo>
                  <a:lnTo>
                    <a:pt x="5" y="24"/>
                  </a:lnTo>
                  <a:lnTo>
                    <a:pt x="5" y="32"/>
                  </a:lnTo>
                  <a:lnTo>
                    <a:pt x="9" y="33"/>
                  </a:lnTo>
                  <a:lnTo>
                    <a:pt x="12" y="34"/>
                  </a:lnTo>
                  <a:lnTo>
                    <a:pt x="19" y="34"/>
                  </a:lnTo>
                  <a:lnTo>
                    <a:pt x="26" y="34"/>
                  </a:lnTo>
                  <a:lnTo>
                    <a:pt x="32" y="35"/>
                  </a:lnTo>
                  <a:lnTo>
                    <a:pt x="39" y="39"/>
                  </a:lnTo>
                  <a:lnTo>
                    <a:pt x="44" y="44"/>
                  </a:lnTo>
                  <a:lnTo>
                    <a:pt x="47" y="50"/>
                  </a:lnTo>
                  <a:lnTo>
                    <a:pt x="51" y="58"/>
                  </a:lnTo>
                  <a:lnTo>
                    <a:pt x="61" y="79"/>
                  </a:lnTo>
                  <a:lnTo>
                    <a:pt x="71" y="100"/>
                  </a:lnTo>
                  <a:lnTo>
                    <a:pt x="77" y="109"/>
                  </a:lnTo>
                  <a:lnTo>
                    <a:pt x="82" y="116"/>
                  </a:lnTo>
                  <a:lnTo>
                    <a:pt x="82" y="120"/>
                  </a:lnTo>
                  <a:lnTo>
                    <a:pt x="81" y="123"/>
                  </a:lnTo>
                  <a:lnTo>
                    <a:pt x="84" y="125"/>
                  </a:lnTo>
                  <a:lnTo>
                    <a:pt x="86" y="126"/>
                  </a:lnTo>
                  <a:lnTo>
                    <a:pt x="96" y="147"/>
                  </a:lnTo>
                  <a:lnTo>
                    <a:pt x="101" y="159"/>
                  </a:lnTo>
                  <a:lnTo>
                    <a:pt x="102" y="165"/>
                  </a:lnTo>
                  <a:lnTo>
                    <a:pt x="102" y="170"/>
                  </a:lnTo>
                  <a:lnTo>
                    <a:pt x="109" y="170"/>
                  </a:lnTo>
                  <a:lnTo>
                    <a:pt x="115" y="171"/>
                  </a:lnTo>
                  <a:lnTo>
                    <a:pt x="125" y="176"/>
                  </a:lnTo>
                  <a:lnTo>
                    <a:pt x="128" y="177"/>
                  </a:lnTo>
                  <a:lnTo>
                    <a:pt x="131" y="177"/>
                  </a:lnTo>
                  <a:lnTo>
                    <a:pt x="136" y="176"/>
                  </a:lnTo>
                  <a:lnTo>
                    <a:pt x="146" y="170"/>
                  </a:lnTo>
                  <a:lnTo>
                    <a:pt x="157" y="165"/>
                  </a:lnTo>
                  <a:lnTo>
                    <a:pt x="168" y="161"/>
                  </a:lnTo>
                  <a:lnTo>
                    <a:pt x="180" y="160"/>
                  </a:lnTo>
                  <a:lnTo>
                    <a:pt x="193" y="161"/>
                  </a:lnTo>
                  <a:lnTo>
                    <a:pt x="203" y="160"/>
                  </a:lnTo>
                  <a:lnTo>
                    <a:pt x="220" y="159"/>
                  </a:lnTo>
                  <a:lnTo>
                    <a:pt x="227" y="159"/>
                  </a:lnTo>
                  <a:lnTo>
                    <a:pt x="233" y="160"/>
                  </a:lnTo>
                  <a:lnTo>
                    <a:pt x="238" y="161"/>
                  </a:lnTo>
                  <a:lnTo>
                    <a:pt x="240" y="164"/>
                  </a:lnTo>
                  <a:lnTo>
                    <a:pt x="240" y="165"/>
                  </a:lnTo>
                  <a:lnTo>
                    <a:pt x="241" y="245"/>
                  </a:lnTo>
                  <a:lnTo>
                    <a:pt x="257" y="245"/>
                  </a:lnTo>
                  <a:lnTo>
                    <a:pt x="274" y="245"/>
                  </a:lnTo>
                  <a:lnTo>
                    <a:pt x="281" y="241"/>
                  </a:lnTo>
                  <a:lnTo>
                    <a:pt x="288" y="235"/>
                  </a:lnTo>
                  <a:lnTo>
                    <a:pt x="293" y="227"/>
                  </a:lnTo>
                  <a:lnTo>
                    <a:pt x="296" y="224"/>
                  </a:lnTo>
                  <a:lnTo>
                    <a:pt x="296" y="219"/>
                  </a:lnTo>
                  <a:lnTo>
                    <a:pt x="296" y="206"/>
                  </a:lnTo>
                  <a:lnTo>
                    <a:pt x="296" y="200"/>
                  </a:lnTo>
                  <a:lnTo>
                    <a:pt x="297" y="197"/>
                  </a:lnTo>
                  <a:lnTo>
                    <a:pt x="298" y="197"/>
                  </a:lnTo>
                  <a:lnTo>
                    <a:pt x="302" y="197"/>
                  </a:lnTo>
                  <a:lnTo>
                    <a:pt x="303" y="196"/>
                  </a:lnTo>
                  <a:lnTo>
                    <a:pt x="303" y="195"/>
                  </a:lnTo>
                  <a:lnTo>
                    <a:pt x="302" y="192"/>
                  </a:lnTo>
                  <a:lnTo>
                    <a:pt x="299" y="190"/>
                  </a:lnTo>
                  <a:lnTo>
                    <a:pt x="293" y="184"/>
                  </a:lnTo>
                  <a:lnTo>
                    <a:pt x="289" y="181"/>
                  </a:lnTo>
                  <a:lnTo>
                    <a:pt x="287" y="176"/>
                  </a:lnTo>
                  <a:lnTo>
                    <a:pt x="287" y="171"/>
                  </a:lnTo>
                  <a:lnTo>
                    <a:pt x="288" y="170"/>
                  </a:lnTo>
                  <a:lnTo>
                    <a:pt x="289" y="167"/>
                  </a:lnTo>
                  <a:lnTo>
                    <a:pt x="292" y="167"/>
                  </a:lnTo>
                  <a:lnTo>
                    <a:pt x="296" y="167"/>
                  </a:lnTo>
                  <a:lnTo>
                    <a:pt x="297" y="161"/>
                  </a:lnTo>
                  <a:lnTo>
                    <a:pt x="299" y="152"/>
                  </a:lnTo>
                  <a:lnTo>
                    <a:pt x="302" y="145"/>
                  </a:lnTo>
                  <a:lnTo>
                    <a:pt x="303" y="141"/>
                  </a:lnTo>
                  <a:lnTo>
                    <a:pt x="303" y="139"/>
                  </a:lnTo>
                  <a:lnTo>
                    <a:pt x="301" y="135"/>
                  </a:lnTo>
                  <a:lnTo>
                    <a:pt x="298" y="134"/>
                  </a:lnTo>
                  <a:lnTo>
                    <a:pt x="296" y="133"/>
                  </a:lnTo>
                  <a:lnTo>
                    <a:pt x="292" y="133"/>
                  </a:lnTo>
                  <a:lnTo>
                    <a:pt x="289" y="133"/>
                  </a:lnTo>
                  <a:lnTo>
                    <a:pt x="287" y="131"/>
                  </a:lnTo>
                  <a:lnTo>
                    <a:pt x="284" y="129"/>
                  </a:lnTo>
                  <a:lnTo>
                    <a:pt x="283" y="125"/>
                  </a:lnTo>
                  <a:lnTo>
                    <a:pt x="283" y="120"/>
                  </a:lnTo>
                  <a:lnTo>
                    <a:pt x="282" y="116"/>
                  </a:lnTo>
                  <a:lnTo>
                    <a:pt x="281" y="115"/>
                  </a:lnTo>
                  <a:lnTo>
                    <a:pt x="278" y="115"/>
                  </a:lnTo>
                  <a:lnTo>
                    <a:pt x="277" y="115"/>
                  </a:lnTo>
                  <a:lnTo>
                    <a:pt x="276" y="114"/>
                  </a:lnTo>
                  <a:lnTo>
                    <a:pt x="268" y="109"/>
                  </a:lnTo>
                  <a:lnTo>
                    <a:pt x="265" y="105"/>
                  </a:lnTo>
                  <a:lnTo>
                    <a:pt x="262" y="101"/>
                  </a:lnTo>
                  <a:lnTo>
                    <a:pt x="262" y="98"/>
                  </a:lnTo>
                  <a:lnTo>
                    <a:pt x="262" y="95"/>
                  </a:lnTo>
                  <a:lnTo>
                    <a:pt x="265" y="89"/>
                  </a:lnTo>
                  <a:lnTo>
                    <a:pt x="268" y="84"/>
                  </a:lnTo>
                  <a:lnTo>
                    <a:pt x="270" y="78"/>
                  </a:lnTo>
                  <a:lnTo>
                    <a:pt x="271" y="78"/>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Yolo</a:t>
              </a:r>
            </a:p>
          </p:txBody>
        </p:sp>
        <p:sp>
          <p:nvSpPr>
            <p:cNvPr id="27" name="El Dorado"/>
            <p:cNvSpPr>
              <a:spLocks/>
            </p:cNvSpPr>
            <p:nvPr/>
          </p:nvSpPr>
          <p:spPr bwMode="auto">
            <a:xfrm>
              <a:off x="2452708" y="4288009"/>
              <a:ext cx="894048" cy="448889"/>
            </a:xfrm>
            <a:custGeom>
              <a:avLst/>
              <a:gdLst>
                <a:gd name="T0" fmla="*/ 2147483647 w 425"/>
                <a:gd name="T1" fmla="*/ 2147483647 h 224"/>
                <a:gd name="T2" fmla="*/ 2147483647 w 425"/>
                <a:gd name="T3" fmla="*/ 2147483647 h 224"/>
                <a:gd name="T4" fmla="*/ 2147483647 w 425"/>
                <a:gd name="T5" fmla="*/ 2147483647 h 224"/>
                <a:gd name="T6" fmla="*/ 2147483647 w 425"/>
                <a:gd name="T7" fmla="*/ 2147483647 h 224"/>
                <a:gd name="T8" fmla="*/ 2147483647 w 425"/>
                <a:gd name="T9" fmla="*/ 2147483647 h 224"/>
                <a:gd name="T10" fmla="*/ 2147483647 w 425"/>
                <a:gd name="T11" fmla="*/ 2147483647 h 224"/>
                <a:gd name="T12" fmla="*/ 2147483647 w 425"/>
                <a:gd name="T13" fmla="*/ 2147483647 h 224"/>
                <a:gd name="T14" fmla="*/ 2147483647 w 425"/>
                <a:gd name="T15" fmla="*/ 2147483647 h 224"/>
                <a:gd name="T16" fmla="*/ 2147483647 w 425"/>
                <a:gd name="T17" fmla="*/ 2147483647 h 224"/>
                <a:gd name="T18" fmla="*/ 2147483647 w 425"/>
                <a:gd name="T19" fmla="*/ 2147483647 h 224"/>
                <a:gd name="T20" fmla="*/ 2147483647 w 425"/>
                <a:gd name="T21" fmla="*/ 2147483647 h 224"/>
                <a:gd name="T22" fmla="*/ 2147483647 w 425"/>
                <a:gd name="T23" fmla="*/ 2147483647 h 224"/>
                <a:gd name="T24" fmla="*/ 2147483647 w 425"/>
                <a:gd name="T25" fmla="*/ 2147483647 h 224"/>
                <a:gd name="T26" fmla="*/ 2147483647 w 425"/>
                <a:gd name="T27" fmla="*/ 2147483647 h 224"/>
                <a:gd name="T28" fmla="*/ 2147483647 w 425"/>
                <a:gd name="T29" fmla="*/ 2147483647 h 224"/>
                <a:gd name="T30" fmla="*/ 2147483647 w 425"/>
                <a:gd name="T31" fmla="*/ 2147483647 h 224"/>
                <a:gd name="T32" fmla="*/ 2147483647 w 425"/>
                <a:gd name="T33" fmla="*/ 2147483647 h 224"/>
                <a:gd name="T34" fmla="*/ 2147483647 w 425"/>
                <a:gd name="T35" fmla="*/ 0 h 224"/>
                <a:gd name="T36" fmla="*/ 2147483647 w 425"/>
                <a:gd name="T37" fmla="*/ 2147483647 h 224"/>
                <a:gd name="T38" fmla="*/ 2147483647 w 425"/>
                <a:gd name="T39" fmla="*/ 2147483647 h 224"/>
                <a:gd name="T40" fmla="*/ 2147483647 w 425"/>
                <a:gd name="T41" fmla="*/ 2147483647 h 224"/>
                <a:gd name="T42" fmla="*/ 2147483647 w 425"/>
                <a:gd name="T43" fmla="*/ 2147483647 h 224"/>
                <a:gd name="T44" fmla="*/ 2147483647 w 425"/>
                <a:gd name="T45" fmla="*/ 2147483647 h 224"/>
                <a:gd name="T46" fmla="*/ 2147483647 w 425"/>
                <a:gd name="T47" fmla="*/ 2147483647 h 224"/>
                <a:gd name="T48" fmla="*/ 2147483647 w 425"/>
                <a:gd name="T49" fmla="*/ 2147483647 h 224"/>
                <a:gd name="T50" fmla="*/ 2147483647 w 425"/>
                <a:gd name="T51" fmla="*/ 2147483647 h 224"/>
                <a:gd name="T52" fmla="*/ 2147483647 w 425"/>
                <a:gd name="T53" fmla="*/ 2147483647 h 224"/>
                <a:gd name="T54" fmla="*/ 2147483647 w 425"/>
                <a:gd name="T55" fmla="*/ 2147483647 h 224"/>
                <a:gd name="T56" fmla="*/ 2147483647 w 425"/>
                <a:gd name="T57" fmla="*/ 2147483647 h 224"/>
                <a:gd name="T58" fmla="*/ 2147483647 w 425"/>
                <a:gd name="T59" fmla="*/ 2147483647 h 224"/>
                <a:gd name="T60" fmla="*/ 2147483647 w 425"/>
                <a:gd name="T61" fmla="*/ 2147483647 h 224"/>
                <a:gd name="T62" fmla="*/ 2147483647 w 425"/>
                <a:gd name="T63" fmla="*/ 2147483647 h 224"/>
                <a:gd name="T64" fmla="*/ 2147483647 w 425"/>
                <a:gd name="T65" fmla="*/ 2147483647 h 224"/>
                <a:gd name="T66" fmla="*/ 2147483647 w 425"/>
                <a:gd name="T67" fmla="*/ 2147483647 h 224"/>
                <a:gd name="T68" fmla="*/ 2147483647 w 425"/>
                <a:gd name="T69" fmla="*/ 2147483647 h 224"/>
                <a:gd name="T70" fmla="*/ 2147483647 w 425"/>
                <a:gd name="T71" fmla="*/ 2147483647 h 224"/>
                <a:gd name="T72" fmla="*/ 2147483647 w 425"/>
                <a:gd name="T73" fmla="*/ 2147483647 h 224"/>
                <a:gd name="T74" fmla="*/ 2147483647 w 425"/>
                <a:gd name="T75" fmla="*/ 2147483647 h 224"/>
                <a:gd name="T76" fmla="*/ 2147483647 w 425"/>
                <a:gd name="T77" fmla="*/ 2147483647 h 224"/>
                <a:gd name="T78" fmla="*/ 0 w 425"/>
                <a:gd name="T79" fmla="*/ 2147483647 h 224"/>
                <a:gd name="T80" fmla="*/ 2147483647 w 425"/>
                <a:gd name="T81" fmla="*/ 2147483647 h 224"/>
                <a:gd name="T82" fmla="*/ 2147483647 w 425"/>
                <a:gd name="T83" fmla="*/ 2147483647 h 224"/>
                <a:gd name="T84" fmla="*/ 2147483647 w 425"/>
                <a:gd name="T85" fmla="*/ 2147483647 h 224"/>
                <a:gd name="T86" fmla="*/ 2147483647 w 425"/>
                <a:gd name="T87" fmla="*/ 2147483647 h 22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25" h="224">
                  <a:moveTo>
                    <a:pt x="71" y="219"/>
                  </a:moveTo>
                  <a:lnTo>
                    <a:pt x="85" y="217"/>
                  </a:lnTo>
                  <a:lnTo>
                    <a:pt x="92" y="213"/>
                  </a:lnTo>
                  <a:lnTo>
                    <a:pt x="100" y="209"/>
                  </a:lnTo>
                  <a:lnTo>
                    <a:pt x="106" y="207"/>
                  </a:lnTo>
                  <a:lnTo>
                    <a:pt x="111" y="205"/>
                  </a:lnTo>
                  <a:lnTo>
                    <a:pt x="116" y="204"/>
                  </a:lnTo>
                  <a:lnTo>
                    <a:pt x="122" y="204"/>
                  </a:lnTo>
                  <a:lnTo>
                    <a:pt x="133" y="207"/>
                  </a:lnTo>
                  <a:lnTo>
                    <a:pt x="145" y="212"/>
                  </a:lnTo>
                  <a:lnTo>
                    <a:pt x="157" y="217"/>
                  </a:lnTo>
                  <a:lnTo>
                    <a:pt x="169" y="220"/>
                  </a:lnTo>
                  <a:lnTo>
                    <a:pt x="182" y="224"/>
                  </a:lnTo>
                  <a:lnTo>
                    <a:pt x="187" y="224"/>
                  </a:lnTo>
                  <a:lnTo>
                    <a:pt x="193" y="224"/>
                  </a:lnTo>
                  <a:lnTo>
                    <a:pt x="207" y="222"/>
                  </a:lnTo>
                  <a:lnTo>
                    <a:pt x="222" y="220"/>
                  </a:lnTo>
                  <a:lnTo>
                    <a:pt x="234" y="218"/>
                  </a:lnTo>
                  <a:lnTo>
                    <a:pt x="242" y="217"/>
                  </a:lnTo>
                  <a:lnTo>
                    <a:pt x="247" y="214"/>
                  </a:lnTo>
                  <a:lnTo>
                    <a:pt x="252" y="212"/>
                  </a:lnTo>
                  <a:lnTo>
                    <a:pt x="257" y="210"/>
                  </a:lnTo>
                  <a:lnTo>
                    <a:pt x="268" y="210"/>
                  </a:lnTo>
                  <a:lnTo>
                    <a:pt x="279" y="209"/>
                  </a:lnTo>
                  <a:lnTo>
                    <a:pt x="286" y="207"/>
                  </a:lnTo>
                  <a:lnTo>
                    <a:pt x="291" y="204"/>
                  </a:lnTo>
                  <a:lnTo>
                    <a:pt x="308" y="189"/>
                  </a:lnTo>
                  <a:lnTo>
                    <a:pt x="317" y="182"/>
                  </a:lnTo>
                  <a:lnTo>
                    <a:pt x="327" y="174"/>
                  </a:lnTo>
                  <a:lnTo>
                    <a:pt x="332" y="171"/>
                  </a:lnTo>
                  <a:lnTo>
                    <a:pt x="335" y="166"/>
                  </a:lnTo>
                  <a:lnTo>
                    <a:pt x="342" y="158"/>
                  </a:lnTo>
                  <a:lnTo>
                    <a:pt x="344" y="154"/>
                  </a:lnTo>
                  <a:lnTo>
                    <a:pt x="348" y="151"/>
                  </a:lnTo>
                  <a:lnTo>
                    <a:pt x="354" y="148"/>
                  </a:lnTo>
                  <a:lnTo>
                    <a:pt x="360" y="147"/>
                  </a:lnTo>
                  <a:lnTo>
                    <a:pt x="375" y="134"/>
                  </a:lnTo>
                  <a:lnTo>
                    <a:pt x="390" y="122"/>
                  </a:lnTo>
                  <a:lnTo>
                    <a:pt x="404" y="109"/>
                  </a:lnTo>
                  <a:lnTo>
                    <a:pt x="410" y="102"/>
                  </a:lnTo>
                  <a:lnTo>
                    <a:pt x="415" y="94"/>
                  </a:lnTo>
                  <a:lnTo>
                    <a:pt x="418" y="91"/>
                  </a:lnTo>
                  <a:lnTo>
                    <a:pt x="422" y="86"/>
                  </a:lnTo>
                  <a:lnTo>
                    <a:pt x="424" y="81"/>
                  </a:lnTo>
                  <a:lnTo>
                    <a:pt x="425" y="78"/>
                  </a:lnTo>
                  <a:lnTo>
                    <a:pt x="425" y="76"/>
                  </a:lnTo>
                  <a:lnTo>
                    <a:pt x="423" y="71"/>
                  </a:lnTo>
                  <a:lnTo>
                    <a:pt x="420" y="66"/>
                  </a:lnTo>
                  <a:lnTo>
                    <a:pt x="419" y="61"/>
                  </a:lnTo>
                  <a:lnTo>
                    <a:pt x="419" y="58"/>
                  </a:lnTo>
                  <a:lnTo>
                    <a:pt x="420" y="57"/>
                  </a:lnTo>
                  <a:lnTo>
                    <a:pt x="384" y="27"/>
                  </a:lnTo>
                  <a:lnTo>
                    <a:pt x="384" y="11"/>
                  </a:lnTo>
                  <a:lnTo>
                    <a:pt x="384" y="0"/>
                  </a:lnTo>
                  <a:lnTo>
                    <a:pt x="337" y="0"/>
                  </a:lnTo>
                  <a:lnTo>
                    <a:pt x="337" y="3"/>
                  </a:lnTo>
                  <a:lnTo>
                    <a:pt x="334" y="3"/>
                  </a:lnTo>
                  <a:lnTo>
                    <a:pt x="334" y="8"/>
                  </a:lnTo>
                  <a:lnTo>
                    <a:pt x="328" y="10"/>
                  </a:lnTo>
                  <a:lnTo>
                    <a:pt x="323" y="12"/>
                  </a:lnTo>
                  <a:lnTo>
                    <a:pt x="319" y="13"/>
                  </a:lnTo>
                  <a:lnTo>
                    <a:pt x="311" y="16"/>
                  </a:lnTo>
                  <a:lnTo>
                    <a:pt x="294" y="17"/>
                  </a:lnTo>
                  <a:lnTo>
                    <a:pt x="242" y="15"/>
                  </a:lnTo>
                  <a:lnTo>
                    <a:pt x="241" y="15"/>
                  </a:lnTo>
                  <a:lnTo>
                    <a:pt x="238" y="16"/>
                  </a:lnTo>
                  <a:lnTo>
                    <a:pt x="237" y="21"/>
                  </a:lnTo>
                  <a:lnTo>
                    <a:pt x="233" y="30"/>
                  </a:lnTo>
                  <a:lnTo>
                    <a:pt x="229" y="36"/>
                  </a:lnTo>
                  <a:lnTo>
                    <a:pt x="224" y="41"/>
                  </a:lnTo>
                  <a:lnTo>
                    <a:pt x="214" y="50"/>
                  </a:lnTo>
                  <a:lnTo>
                    <a:pt x="208" y="55"/>
                  </a:lnTo>
                  <a:lnTo>
                    <a:pt x="203" y="57"/>
                  </a:lnTo>
                  <a:lnTo>
                    <a:pt x="198" y="58"/>
                  </a:lnTo>
                  <a:lnTo>
                    <a:pt x="194" y="58"/>
                  </a:lnTo>
                  <a:lnTo>
                    <a:pt x="191" y="57"/>
                  </a:lnTo>
                  <a:lnTo>
                    <a:pt x="186" y="56"/>
                  </a:lnTo>
                  <a:lnTo>
                    <a:pt x="176" y="50"/>
                  </a:lnTo>
                  <a:lnTo>
                    <a:pt x="166" y="46"/>
                  </a:lnTo>
                  <a:lnTo>
                    <a:pt x="161" y="43"/>
                  </a:lnTo>
                  <a:lnTo>
                    <a:pt x="156" y="41"/>
                  </a:lnTo>
                  <a:lnTo>
                    <a:pt x="155" y="38"/>
                  </a:lnTo>
                  <a:lnTo>
                    <a:pt x="155" y="36"/>
                  </a:lnTo>
                  <a:lnTo>
                    <a:pt x="155" y="33"/>
                  </a:lnTo>
                  <a:lnTo>
                    <a:pt x="153" y="32"/>
                  </a:lnTo>
                  <a:lnTo>
                    <a:pt x="151" y="32"/>
                  </a:lnTo>
                  <a:lnTo>
                    <a:pt x="150" y="32"/>
                  </a:lnTo>
                  <a:lnTo>
                    <a:pt x="148" y="33"/>
                  </a:lnTo>
                  <a:lnTo>
                    <a:pt x="146" y="32"/>
                  </a:lnTo>
                  <a:lnTo>
                    <a:pt x="141" y="31"/>
                  </a:lnTo>
                  <a:lnTo>
                    <a:pt x="138" y="28"/>
                  </a:lnTo>
                  <a:lnTo>
                    <a:pt x="136" y="27"/>
                  </a:lnTo>
                  <a:lnTo>
                    <a:pt x="131" y="25"/>
                  </a:lnTo>
                  <a:lnTo>
                    <a:pt x="125" y="25"/>
                  </a:lnTo>
                  <a:lnTo>
                    <a:pt x="117" y="26"/>
                  </a:lnTo>
                  <a:lnTo>
                    <a:pt x="111" y="30"/>
                  </a:lnTo>
                  <a:lnTo>
                    <a:pt x="106" y="33"/>
                  </a:lnTo>
                  <a:lnTo>
                    <a:pt x="101" y="41"/>
                  </a:lnTo>
                  <a:lnTo>
                    <a:pt x="98" y="45"/>
                  </a:lnTo>
                  <a:lnTo>
                    <a:pt x="96" y="46"/>
                  </a:lnTo>
                  <a:lnTo>
                    <a:pt x="81" y="46"/>
                  </a:lnTo>
                  <a:lnTo>
                    <a:pt x="75" y="47"/>
                  </a:lnTo>
                  <a:lnTo>
                    <a:pt x="70" y="51"/>
                  </a:lnTo>
                  <a:lnTo>
                    <a:pt x="66" y="55"/>
                  </a:lnTo>
                  <a:lnTo>
                    <a:pt x="62" y="57"/>
                  </a:lnTo>
                  <a:lnTo>
                    <a:pt x="52" y="58"/>
                  </a:lnTo>
                  <a:lnTo>
                    <a:pt x="41" y="61"/>
                  </a:lnTo>
                  <a:lnTo>
                    <a:pt x="37" y="63"/>
                  </a:lnTo>
                  <a:lnTo>
                    <a:pt x="33" y="66"/>
                  </a:lnTo>
                  <a:lnTo>
                    <a:pt x="32" y="71"/>
                  </a:lnTo>
                  <a:lnTo>
                    <a:pt x="31" y="76"/>
                  </a:lnTo>
                  <a:lnTo>
                    <a:pt x="30" y="87"/>
                  </a:lnTo>
                  <a:lnTo>
                    <a:pt x="28" y="91"/>
                  </a:lnTo>
                  <a:lnTo>
                    <a:pt x="26" y="93"/>
                  </a:lnTo>
                  <a:lnTo>
                    <a:pt x="23" y="96"/>
                  </a:lnTo>
                  <a:lnTo>
                    <a:pt x="21" y="98"/>
                  </a:lnTo>
                  <a:lnTo>
                    <a:pt x="15" y="108"/>
                  </a:lnTo>
                  <a:lnTo>
                    <a:pt x="11" y="119"/>
                  </a:lnTo>
                  <a:lnTo>
                    <a:pt x="6" y="131"/>
                  </a:lnTo>
                  <a:lnTo>
                    <a:pt x="0" y="141"/>
                  </a:lnTo>
                  <a:lnTo>
                    <a:pt x="1" y="142"/>
                  </a:lnTo>
                  <a:lnTo>
                    <a:pt x="4" y="142"/>
                  </a:lnTo>
                  <a:lnTo>
                    <a:pt x="6" y="142"/>
                  </a:lnTo>
                  <a:lnTo>
                    <a:pt x="8" y="141"/>
                  </a:lnTo>
                  <a:lnTo>
                    <a:pt x="10" y="139"/>
                  </a:lnTo>
                  <a:lnTo>
                    <a:pt x="27" y="181"/>
                  </a:lnTo>
                  <a:lnTo>
                    <a:pt x="42" y="224"/>
                  </a:lnTo>
                  <a:lnTo>
                    <a:pt x="46" y="222"/>
                  </a:lnTo>
                  <a:lnTo>
                    <a:pt x="48" y="220"/>
                  </a:lnTo>
                  <a:lnTo>
                    <a:pt x="56" y="219"/>
                  </a:lnTo>
                  <a:lnTo>
                    <a:pt x="63" y="219"/>
                  </a:lnTo>
                  <a:lnTo>
                    <a:pt x="70" y="219"/>
                  </a:lnTo>
                  <a:lnTo>
                    <a:pt x="71" y="219"/>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El Dorado</a:t>
              </a:r>
            </a:p>
          </p:txBody>
        </p:sp>
      </p:grpSp>
      <p:grpSp>
        <p:nvGrpSpPr>
          <p:cNvPr id="28" name="Los Angeles Metro"/>
          <p:cNvGrpSpPr/>
          <p:nvPr/>
        </p:nvGrpSpPr>
        <p:grpSpPr>
          <a:xfrm>
            <a:off x="3546615" y="4916697"/>
            <a:ext cx="957600" cy="799524"/>
            <a:chOff x="3624436" y="7630633"/>
            <a:chExt cx="1447301" cy="1208387"/>
          </a:xfrm>
        </p:grpSpPr>
        <p:sp>
          <p:nvSpPr>
            <p:cNvPr id="29" name="Orange"/>
            <p:cNvSpPr>
              <a:spLocks/>
            </p:cNvSpPr>
            <p:nvPr/>
          </p:nvSpPr>
          <p:spPr bwMode="auto">
            <a:xfrm>
              <a:off x="4590003" y="8390131"/>
              <a:ext cx="481734" cy="448889"/>
            </a:xfrm>
            <a:custGeom>
              <a:avLst/>
              <a:gdLst>
                <a:gd name="T0" fmla="*/ 2147483647 w 229"/>
                <a:gd name="T1" fmla="*/ 2147483647 h 224"/>
                <a:gd name="T2" fmla="*/ 2147483647 w 229"/>
                <a:gd name="T3" fmla="*/ 2147483647 h 224"/>
                <a:gd name="T4" fmla="*/ 2147483647 w 229"/>
                <a:gd name="T5" fmla="*/ 2147483647 h 224"/>
                <a:gd name="T6" fmla="*/ 2147483647 w 229"/>
                <a:gd name="T7" fmla="*/ 2147483647 h 224"/>
                <a:gd name="T8" fmla="*/ 2147483647 w 229"/>
                <a:gd name="T9" fmla="*/ 2147483647 h 224"/>
                <a:gd name="T10" fmla="*/ 2147483647 w 229"/>
                <a:gd name="T11" fmla="*/ 2147483647 h 224"/>
                <a:gd name="T12" fmla="*/ 2147483647 w 229"/>
                <a:gd name="T13" fmla="*/ 2147483647 h 224"/>
                <a:gd name="T14" fmla="*/ 2147483647 w 229"/>
                <a:gd name="T15" fmla="*/ 2147483647 h 224"/>
                <a:gd name="T16" fmla="*/ 2147483647 w 229"/>
                <a:gd name="T17" fmla="*/ 2147483647 h 224"/>
                <a:gd name="T18" fmla="*/ 2147483647 w 229"/>
                <a:gd name="T19" fmla="*/ 2147483647 h 224"/>
                <a:gd name="T20" fmla="*/ 2147483647 w 229"/>
                <a:gd name="T21" fmla="*/ 2147483647 h 224"/>
                <a:gd name="T22" fmla="*/ 2147483647 w 229"/>
                <a:gd name="T23" fmla="*/ 2147483647 h 224"/>
                <a:gd name="T24" fmla="*/ 2147483647 w 229"/>
                <a:gd name="T25" fmla="*/ 2147483647 h 224"/>
                <a:gd name="T26" fmla="*/ 2147483647 w 229"/>
                <a:gd name="T27" fmla="*/ 2147483647 h 224"/>
                <a:gd name="T28" fmla="*/ 2147483647 w 229"/>
                <a:gd name="T29" fmla="*/ 2147483647 h 224"/>
                <a:gd name="T30" fmla="*/ 2147483647 w 229"/>
                <a:gd name="T31" fmla="*/ 2147483647 h 224"/>
                <a:gd name="T32" fmla="*/ 2147483647 w 229"/>
                <a:gd name="T33" fmla="*/ 0 h 224"/>
                <a:gd name="T34" fmla="*/ 2147483647 w 229"/>
                <a:gd name="T35" fmla="*/ 2147483647 h 224"/>
                <a:gd name="T36" fmla="*/ 2147483647 w 229"/>
                <a:gd name="T37" fmla="*/ 2147483647 h 224"/>
                <a:gd name="T38" fmla="*/ 2147483647 w 229"/>
                <a:gd name="T39" fmla="*/ 2147483647 h 224"/>
                <a:gd name="T40" fmla="*/ 2147483647 w 229"/>
                <a:gd name="T41" fmla="*/ 2147483647 h 224"/>
                <a:gd name="T42" fmla="*/ 2147483647 w 229"/>
                <a:gd name="T43" fmla="*/ 2147483647 h 224"/>
                <a:gd name="T44" fmla="*/ 2147483647 w 229"/>
                <a:gd name="T45" fmla="*/ 2147483647 h 224"/>
                <a:gd name="T46" fmla="*/ 2147483647 w 229"/>
                <a:gd name="T47" fmla="*/ 2147483647 h 224"/>
                <a:gd name="T48" fmla="*/ 2147483647 w 229"/>
                <a:gd name="T49" fmla="*/ 2147483647 h 224"/>
                <a:gd name="T50" fmla="*/ 2147483647 w 229"/>
                <a:gd name="T51" fmla="*/ 2147483647 h 224"/>
                <a:gd name="T52" fmla="*/ 0 w 229"/>
                <a:gd name="T53" fmla="*/ 2147483647 h 224"/>
                <a:gd name="T54" fmla="*/ 2147483647 w 229"/>
                <a:gd name="T55" fmla="*/ 2147483647 h 224"/>
                <a:gd name="T56" fmla="*/ 2147483647 w 229"/>
                <a:gd name="T57" fmla="*/ 2147483647 h 224"/>
                <a:gd name="T58" fmla="*/ 2147483647 w 229"/>
                <a:gd name="T59" fmla="*/ 2147483647 h 224"/>
                <a:gd name="T60" fmla="*/ 2147483647 w 229"/>
                <a:gd name="T61" fmla="*/ 2147483647 h 224"/>
                <a:gd name="T62" fmla="*/ 2147483647 w 229"/>
                <a:gd name="T63" fmla="*/ 2147483647 h 224"/>
                <a:gd name="T64" fmla="*/ 2147483647 w 229"/>
                <a:gd name="T65" fmla="*/ 2147483647 h 224"/>
                <a:gd name="T66" fmla="*/ 2147483647 w 229"/>
                <a:gd name="T67" fmla="*/ 2147483647 h 224"/>
                <a:gd name="T68" fmla="*/ 2147483647 w 229"/>
                <a:gd name="T69" fmla="*/ 2147483647 h 224"/>
                <a:gd name="T70" fmla="*/ 2147483647 w 229"/>
                <a:gd name="T71" fmla="*/ 2147483647 h 224"/>
                <a:gd name="T72" fmla="*/ 2147483647 w 229"/>
                <a:gd name="T73" fmla="*/ 2147483647 h 224"/>
                <a:gd name="T74" fmla="*/ 2147483647 w 229"/>
                <a:gd name="T75" fmla="*/ 2147483647 h 224"/>
                <a:gd name="T76" fmla="*/ 2147483647 w 229"/>
                <a:gd name="T77" fmla="*/ 2147483647 h 224"/>
                <a:gd name="T78" fmla="*/ 2147483647 w 229"/>
                <a:gd name="T79" fmla="*/ 2147483647 h 224"/>
                <a:gd name="T80" fmla="*/ 2147483647 w 229"/>
                <a:gd name="T81" fmla="*/ 2147483647 h 224"/>
                <a:gd name="T82" fmla="*/ 2147483647 w 229"/>
                <a:gd name="T83" fmla="*/ 2147483647 h 224"/>
                <a:gd name="T84" fmla="*/ 2147483647 w 229"/>
                <a:gd name="T85" fmla="*/ 2147483647 h 224"/>
                <a:gd name="T86" fmla="*/ 2147483647 w 229"/>
                <a:gd name="T87" fmla="*/ 2147483647 h 224"/>
                <a:gd name="T88" fmla="*/ 2147483647 w 229"/>
                <a:gd name="T89" fmla="*/ 2147483647 h 224"/>
                <a:gd name="T90" fmla="*/ 2147483647 w 229"/>
                <a:gd name="T91" fmla="*/ 2147483647 h 224"/>
                <a:gd name="T92" fmla="*/ 2147483647 w 229"/>
                <a:gd name="T93" fmla="*/ 2147483647 h 224"/>
                <a:gd name="T94" fmla="*/ 2147483647 w 229"/>
                <a:gd name="T95" fmla="*/ 2147483647 h 2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29" h="224">
                  <a:moveTo>
                    <a:pt x="182" y="198"/>
                  </a:moveTo>
                  <a:lnTo>
                    <a:pt x="189" y="195"/>
                  </a:lnTo>
                  <a:lnTo>
                    <a:pt x="196" y="193"/>
                  </a:lnTo>
                  <a:lnTo>
                    <a:pt x="198" y="190"/>
                  </a:lnTo>
                  <a:lnTo>
                    <a:pt x="199" y="187"/>
                  </a:lnTo>
                  <a:lnTo>
                    <a:pt x="199" y="183"/>
                  </a:lnTo>
                  <a:lnTo>
                    <a:pt x="199" y="179"/>
                  </a:lnTo>
                  <a:lnTo>
                    <a:pt x="199" y="172"/>
                  </a:lnTo>
                  <a:lnTo>
                    <a:pt x="201" y="165"/>
                  </a:lnTo>
                  <a:lnTo>
                    <a:pt x="203" y="158"/>
                  </a:lnTo>
                  <a:lnTo>
                    <a:pt x="208" y="150"/>
                  </a:lnTo>
                  <a:lnTo>
                    <a:pt x="218" y="137"/>
                  </a:lnTo>
                  <a:lnTo>
                    <a:pt x="227" y="126"/>
                  </a:lnTo>
                  <a:lnTo>
                    <a:pt x="229" y="122"/>
                  </a:lnTo>
                  <a:lnTo>
                    <a:pt x="229" y="117"/>
                  </a:lnTo>
                  <a:lnTo>
                    <a:pt x="227" y="112"/>
                  </a:lnTo>
                  <a:lnTo>
                    <a:pt x="223" y="108"/>
                  </a:lnTo>
                  <a:lnTo>
                    <a:pt x="219" y="104"/>
                  </a:lnTo>
                  <a:lnTo>
                    <a:pt x="214" y="102"/>
                  </a:lnTo>
                  <a:lnTo>
                    <a:pt x="209" y="99"/>
                  </a:lnTo>
                  <a:lnTo>
                    <a:pt x="203" y="98"/>
                  </a:lnTo>
                  <a:lnTo>
                    <a:pt x="196" y="98"/>
                  </a:lnTo>
                  <a:lnTo>
                    <a:pt x="193" y="97"/>
                  </a:lnTo>
                  <a:lnTo>
                    <a:pt x="192" y="96"/>
                  </a:lnTo>
                  <a:lnTo>
                    <a:pt x="192" y="91"/>
                  </a:lnTo>
                  <a:lnTo>
                    <a:pt x="192" y="82"/>
                  </a:lnTo>
                  <a:lnTo>
                    <a:pt x="191" y="79"/>
                  </a:lnTo>
                  <a:lnTo>
                    <a:pt x="189" y="79"/>
                  </a:lnTo>
                  <a:lnTo>
                    <a:pt x="186" y="78"/>
                  </a:lnTo>
                  <a:lnTo>
                    <a:pt x="182" y="77"/>
                  </a:lnTo>
                  <a:lnTo>
                    <a:pt x="178" y="74"/>
                  </a:lnTo>
                  <a:lnTo>
                    <a:pt x="143" y="30"/>
                  </a:lnTo>
                  <a:lnTo>
                    <a:pt x="108" y="2"/>
                  </a:lnTo>
                  <a:lnTo>
                    <a:pt x="76" y="0"/>
                  </a:lnTo>
                  <a:lnTo>
                    <a:pt x="57" y="1"/>
                  </a:lnTo>
                  <a:lnTo>
                    <a:pt x="50" y="2"/>
                  </a:lnTo>
                  <a:lnTo>
                    <a:pt x="46" y="3"/>
                  </a:lnTo>
                  <a:lnTo>
                    <a:pt x="42" y="20"/>
                  </a:lnTo>
                  <a:lnTo>
                    <a:pt x="40" y="23"/>
                  </a:lnTo>
                  <a:lnTo>
                    <a:pt x="37" y="26"/>
                  </a:lnTo>
                  <a:lnTo>
                    <a:pt x="30" y="30"/>
                  </a:lnTo>
                  <a:lnTo>
                    <a:pt x="25" y="36"/>
                  </a:lnTo>
                  <a:lnTo>
                    <a:pt x="21" y="41"/>
                  </a:lnTo>
                  <a:lnTo>
                    <a:pt x="18" y="47"/>
                  </a:lnTo>
                  <a:lnTo>
                    <a:pt x="15" y="54"/>
                  </a:lnTo>
                  <a:lnTo>
                    <a:pt x="10" y="62"/>
                  </a:lnTo>
                  <a:lnTo>
                    <a:pt x="6" y="66"/>
                  </a:lnTo>
                  <a:lnTo>
                    <a:pt x="3" y="69"/>
                  </a:lnTo>
                  <a:lnTo>
                    <a:pt x="3" y="73"/>
                  </a:lnTo>
                  <a:lnTo>
                    <a:pt x="5" y="77"/>
                  </a:lnTo>
                  <a:lnTo>
                    <a:pt x="5" y="78"/>
                  </a:lnTo>
                  <a:lnTo>
                    <a:pt x="3" y="79"/>
                  </a:lnTo>
                  <a:lnTo>
                    <a:pt x="2" y="82"/>
                  </a:lnTo>
                  <a:lnTo>
                    <a:pt x="0" y="83"/>
                  </a:lnTo>
                  <a:lnTo>
                    <a:pt x="8" y="89"/>
                  </a:lnTo>
                  <a:lnTo>
                    <a:pt x="17" y="98"/>
                  </a:lnTo>
                  <a:lnTo>
                    <a:pt x="33" y="118"/>
                  </a:lnTo>
                  <a:lnTo>
                    <a:pt x="42" y="128"/>
                  </a:lnTo>
                  <a:lnTo>
                    <a:pt x="52" y="136"/>
                  </a:lnTo>
                  <a:lnTo>
                    <a:pt x="57" y="139"/>
                  </a:lnTo>
                  <a:lnTo>
                    <a:pt x="62" y="142"/>
                  </a:lnTo>
                  <a:lnTo>
                    <a:pt x="68" y="144"/>
                  </a:lnTo>
                  <a:lnTo>
                    <a:pt x="75" y="144"/>
                  </a:lnTo>
                  <a:lnTo>
                    <a:pt x="71" y="142"/>
                  </a:lnTo>
                  <a:lnTo>
                    <a:pt x="67" y="141"/>
                  </a:lnTo>
                  <a:lnTo>
                    <a:pt x="63" y="138"/>
                  </a:lnTo>
                  <a:lnTo>
                    <a:pt x="60" y="136"/>
                  </a:lnTo>
                  <a:lnTo>
                    <a:pt x="63" y="137"/>
                  </a:lnTo>
                  <a:lnTo>
                    <a:pt x="66" y="136"/>
                  </a:lnTo>
                  <a:lnTo>
                    <a:pt x="68" y="134"/>
                  </a:lnTo>
                  <a:lnTo>
                    <a:pt x="70" y="132"/>
                  </a:lnTo>
                  <a:lnTo>
                    <a:pt x="73" y="127"/>
                  </a:lnTo>
                  <a:lnTo>
                    <a:pt x="76" y="122"/>
                  </a:lnTo>
                  <a:lnTo>
                    <a:pt x="76" y="126"/>
                  </a:lnTo>
                  <a:lnTo>
                    <a:pt x="73" y="128"/>
                  </a:lnTo>
                  <a:lnTo>
                    <a:pt x="72" y="132"/>
                  </a:lnTo>
                  <a:lnTo>
                    <a:pt x="72" y="133"/>
                  </a:lnTo>
                  <a:lnTo>
                    <a:pt x="73" y="139"/>
                  </a:lnTo>
                  <a:lnTo>
                    <a:pt x="77" y="143"/>
                  </a:lnTo>
                  <a:lnTo>
                    <a:pt x="86" y="152"/>
                  </a:lnTo>
                  <a:lnTo>
                    <a:pt x="94" y="159"/>
                  </a:lnTo>
                  <a:lnTo>
                    <a:pt x="104" y="167"/>
                  </a:lnTo>
                  <a:lnTo>
                    <a:pt x="113" y="174"/>
                  </a:lnTo>
                  <a:lnTo>
                    <a:pt x="122" y="184"/>
                  </a:lnTo>
                  <a:lnTo>
                    <a:pt x="128" y="189"/>
                  </a:lnTo>
                  <a:lnTo>
                    <a:pt x="134" y="194"/>
                  </a:lnTo>
                  <a:lnTo>
                    <a:pt x="147" y="202"/>
                  </a:lnTo>
                  <a:lnTo>
                    <a:pt x="154" y="207"/>
                  </a:lnTo>
                  <a:lnTo>
                    <a:pt x="161" y="212"/>
                  </a:lnTo>
                  <a:lnTo>
                    <a:pt x="166" y="217"/>
                  </a:lnTo>
                  <a:lnTo>
                    <a:pt x="169" y="224"/>
                  </a:lnTo>
                  <a:lnTo>
                    <a:pt x="173" y="208"/>
                  </a:lnTo>
                  <a:lnTo>
                    <a:pt x="174" y="204"/>
                  </a:lnTo>
                  <a:lnTo>
                    <a:pt x="176" y="200"/>
                  </a:lnTo>
                  <a:lnTo>
                    <a:pt x="178" y="198"/>
                  </a:lnTo>
                  <a:lnTo>
                    <a:pt x="181" y="198"/>
                  </a:lnTo>
                  <a:lnTo>
                    <a:pt x="182" y="198"/>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Orange</a:t>
              </a:r>
            </a:p>
          </p:txBody>
        </p:sp>
        <p:sp>
          <p:nvSpPr>
            <p:cNvPr id="30" name="LA"/>
            <p:cNvSpPr>
              <a:spLocks/>
            </p:cNvSpPr>
            <p:nvPr/>
          </p:nvSpPr>
          <p:spPr bwMode="auto">
            <a:xfrm>
              <a:off x="4003087" y="7692756"/>
              <a:ext cx="917186" cy="895773"/>
            </a:xfrm>
            <a:custGeom>
              <a:avLst/>
              <a:gdLst>
                <a:gd name="T0" fmla="*/ 720764688 w 436"/>
                <a:gd name="T1" fmla="*/ 1043345423 h 447"/>
                <a:gd name="T2" fmla="*/ 743446888 w 436"/>
                <a:gd name="T3" fmla="*/ 1013103526 h 447"/>
                <a:gd name="T4" fmla="*/ 758567825 w 436"/>
                <a:gd name="T5" fmla="*/ 980340678 h 447"/>
                <a:gd name="T6" fmla="*/ 781248438 w 436"/>
                <a:gd name="T7" fmla="*/ 952619734 h 447"/>
                <a:gd name="T8" fmla="*/ 806450000 w 436"/>
                <a:gd name="T9" fmla="*/ 934977834 h 447"/>
                <a:gd name="T10" fmla="*/ 821570938 w 436"/>
                <a:gd name="T11" fmla="*/ 884574673 h 447"/>
                <a:gd name="T12" fmla="*/ 849293450 w 436"/>
                <a:gd name="T13" fmla="*/ 879534357 h 447"/>
                <a:gd name="T14" fmla="*/ 977820625 w 436"/>
                <a:gd name="T15" fmla="*/ 882055309 h 447"/>
                <a:gd name="T16" fmla="*/ 967740000 w 436"/>
                <a:gd name="T17" fmla="*/ 859373093 h 447"/>
                <a:gd name="T18" fmla="*/ 967740000 w 436"/>
                <a:gd name="T19" fmla="*/ 846773097 h 447"/>
                <a:gd name="T20" fmla="*/ 990422200 w 436"/>
                <a:gd name="T21" fmla="*/ 819050565 h 447"/>
                <a:gd name="T22" fmla="*/ 1003022188 w 436"/>
                <a:gd name="T23" fmla="*/ 814010249 h 447"/>
                <a:gd name="T24" fmla="*/ 1013102813 w 436"/>
                <a:gd name="T25" fmla="*/ 814010249 h 447"/>
                <a:gd name="T26" fmla="*/ 1030744700 w 436"/>
                <a:gd name="T27" fmla="*/ 783768352 h 447"/>
                <a:gd name="T28" fmla="*/ 1066026888 w 436"/>
                <a:gd name="T29" fmla="*/ 675402351 h 447"/>
                <a:gd name="T30" fmla="*/ 1093747813 w 436"/>
                <a:gd name="T31" fmla="*/ 574596030 h 447"/>
                <a:gd name="T32" fmla="*/ 1098788125 w 436"/>
                <a:gd name="T33" fmla="*/ 539313818 h 447"/>
                <a:gd name="T34" fmla="*/ 1078626875 w 436"/>
                <a:gd name="T35" fmla="*/ 138607898 h 447"/>
                <a:gd name="T36" fmla="*/ 559474688 w 436"/>
                <a:gd name="T37" fmla="*/ 2519364 h 447"/>
                <a:gd name="T38" fmla="*/ 166330313 w 436"/>
                <a:gd name="T39" fmla="*/ 294857695 h 447"/>
                <a:gd name="T40" fmla="*/ 252015625 w 436"/>
                <a:gd name="T41" fmla="*/ 511591285 h 447"/>
                <a:gd name="T42" fmla="*/ 257055938 w 436"/>
                <a:gd name="T43" fmla="*/ 549394450 h 447"/>
                <a:gd name="T44" fmla="*/ 264617200 w 436"/>
                <a:gd name="T45" fmla="*/ 584676662 h 447"/>
                <a:gd name="T46" fmla="*/ 229335013 w 436"/>
                <a:gd name="T47" fmla="*/ 624999190 h 447"/>
                <a:gd name="T48" fmla="*/ 226814063 w 436"/>
                <a:gd name="T49" fmla="*/ 655241087 h 447"/>
                <a:gd name="T50" fmla="*/ 143649700 w 436"/>
                <a:gd name="T51" fmla="*/ 650200771 h 447"/>
                <a:gd name="T52" fmla="*/ 126007813 w 436"/>
                <a:gd name="T53" fmla="*/ 655241087 h 447"/>
                <a:gd name="T54" fmla="*/ 15120938 w 436"/>
                <a:gd name="T55" fmla="*/ 740926460 h 447"/>
                <a:gd name="T56" fmla="*/ 2520950 w 436"/>
                <a:gd name="T57" fmla="*/ 766128040 h 447"/>
                <a:gd name="T58" fmla="*/ 57964388 w 436"/>
                <a:gd name="T59" fmla="*/ 801410252 h 447"/>
                <a:gd name="T60" fmla="*/ 88206263 w 436"/>
                <a:gd name="T61" fmla="*/ 816531200 h 447"/>
                <a:gd name="T62" fmla="*/ 115927188 w 436"/>
                <a:gd name="T63" fmla="*/ 829131197 h 447"/>
                <a:gd name="T64" fmla="*/ 161290000 w 436"/>
                <a:gd name="T65" fmla="*/ 806450568 h 447"/>
                <a:gd name="T66" fmla="*/ 191531875 w 436"/>
                <a:gd name="T67" fmla="*/ 801410252 h 447"/>
                <a:gd name="T68" fmla="*/ 282257500 w 436"/>
                <a:gd name="T69" fmla="*/ 793848984 h 447"/>
                <a:gd name="T70" fmla="*/ 330141263 w 436"/>
                <a:gd name="T71" fmla="*/ 793848984 h 447"/>
                <a:gd name="T72" fmla="*/ 357862188 w 436"/>
                <a:gd name="T73" fmla="*/ 803929616 h 447"/>
                <a:gd name="T74" fmla="*/ 393144375 w 436"/>
                <a:gd name="T75" fmla="*/ 844252145 h 447"/>
                <a:gd name="T76" fmla="*/ 428426563 w 436"/>
                <a:gd name="T77" fmla="*/ 902216573 h 447"/>
                <a:gd name="T78" fmla="*/ 458668438 w 436"/>
                <a:gd name="T79" fmla="*/ 985380994 h 447"/>
                <a:gd name="T80" fmla="*/ 463708750 w 436"/>
                <a:gd name="T81" fmla="*/ 1013103526 h 447"/>
                <a:gd name="T82" fmla="*/ 441028138 w 436"/>
                <a:gd name="T83" fmla="*/ 1055945419 h 447"/>
                <a:gd name="T84" fmla="*/ 441028138 w 436"/>
                <a:gd name="T85" fmla="*/ 1068547003 h 447"/>
                <a:gd name="T86" fmla="*/ 451108763 w 436"/>
                <a:gd name="T87" fmla="*/ 1088708267 h 447"/>
                <a:gd name="T88" fmla="*/ 463708750 w 436"/>
                <a:gd name="T89" fmla="*/ 1093748583 h 447"/>
                <a:gd name="T90" fmla="*/ 506552200 w 436"/>
                <a:gd name="T91" fmla="*/ 1111388896 h 447"/>
                <a:gd name="T92" fmla="*/ 534273125 w 436"/>
                <a:gd name="T93" fmla="*/ 1123990479 h 447"/>
                <a:gd name="T94" fmla="*/ 556955325 w 436"/>
                <a:gd name="T95" fmla="*/ 1123990479 h 447"/>
                <a:gd name="T96" fmla="*/ 567035950 w 436"/>
                <a:gd name="T97" fmla="*/ 1108869531 h 447"/>
                <a:gd name="T98" fmla="*/ 561995638 w 436"/>
                <a:gd name="T99" fmla="*/ 1086187315 h 447"/>
                <a:gd name="T100" fmla="*/ 561995638 w 436"/>
                <a:gd name="T101" fmla="*/ 1071066367 h 447"/>
                <a:gd name="T102" fmla="*/ 572076263 w 436"/>
                <a:gd name="T103" fmla="*/ 1073587319 h 447"/>
                <a:gd name="T104" fmla="*/ 584676250 w 436"/>
                <a:gd name="T105" fmla="*/ 1058466371 h 447"/>
                <a:gd name="T106" fmla="*/ 612398763 w 436"/>
                <a:gd name="T107" fmla="*/ 1060985735 h 447"/>
                <a:gd name="T108" fmla="*/ 619958438 w 436"/>
                <a:gd name="T109" fmla="*/ 1086187315 h 447"/>
                <a:gd name="T110" fmla="*/ 632560013 w 436"/>
                <a:gd name="T111" fmla="*/ 1073587319 h 447"/>
                <a:gd name="T112" fmla="*/ 650200313 w 436"/>
                <a:gd name="T113" fmla="*/ 1073587319 h 447"/>
                <a:gd name="T114" fmla="*/ 693043763 w 436"/>
                <a:gd name="T115" fmla="*/ 1086187315 h 447"/>
                <a:gd name="T116" fmla="*/ 685482500 w 436"/>
                <a:gd name="T117" fmla="*/ 1073587319 h 447"/>
                <a:gd name="T118" fmla="*/ 705643750 w 436"/>
                <a:gd name="T119" fmla="*/ 1086187315 h 447"/>
                <a:gd name="T120" fmla="*/ 713205013 w 436"/>
                <a:gd name="T121" fmla="*/ 1076106683 h 447"/>
                <a:gd name="T122" fmla="*/ 718245325 w 436"/>
                <a:gd name="T123" fmla="*/ 1071066367 h 447"/>
                <a:gd name="T124" fmla="*/ 713205013 w 436"/>
                <a:gd name="T125" fmla="*/ 1055945419 h 4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36" h="447">
                  <a:moveTo>
                    <a:pt x="283" y="417"/>
                  </a:moveTo>
                  <a:lnTo>
                    <a:pt x="286" y="414"/>
                  </a:lnTo>
                  <a:lnTo>
                    <a:pt x="290" y="410"/>
                  </a:lnTo>
                  <a:lnTo>
                    <a:pt x="295" y="402"/>
                  </a:lnTo>
                  <a:lnTo>
                    <a:pt x="298" y="395"/>
                  </a:lnTo>
                  <a:lnTo>
                    <a:pt x="301" y="389"/>
                  </a:lnTo>
                  <a:lnTo>
                    <a:pt x="305" y="384"/>
                  </a:lnTo>
                  <a:lnTo>
                    <a:pt x="310" y="378"/>
                  </a:lnTo>
                  <a:lnTo>
                    <a:pt x="317" y="374"/>
                  </a:lnTo>
                  <a:lnTo>
                    <a:pt x="320" y="371"/>
                  </a:lnTo>
                  <a:lnTo>
                    <a:pt x="322" y="368"/>
                  </a:lnTo>
                  <a:lnTo>
                    <a:pt x="326" y="351"/>
                  </a:lnTo>
                  <a:lnTo>
                    <a:pt x="330" y="350"/>
                  </a:lnTo>
                  <a:lnTo>
                    <a:pt x="337" y="349"/>
                  </a:lnTo>
                  <a:lnTo>
                    <a:pt x="356" y="348"/>
                  </a:lnTo>
                  <a:lnTo>
                    <a:pt x="388" y="350"/>
                  </a:lnTo>
                  <a:lnTo>
                    <a:pt x="386" y="345"/>
                  </a:lnTo>
                  <a:lnTo>
                    <a:pt x="384" y="341"/>
                  </a:lnTo>
                  <a:lnTo>
                    <a:pt x="383" y="339"/>
                  </a:lnTo>
                  <a:lnTo>
                    <a:pt x="384" y="336"/>
                  </a:lnTo>
                  <a:lnTo>
                    <a:pt x="388" y="331"/>
                  </a:lnTo>
                  <a:lnTo>
                    <a:pt x="393" y="325"/>
                  </a:lnTo>
                  <a:lnTo>
                    <a:pt x="396" y="323"/>
                  </a:lnTo>
                  <a:lnTo>
                    <a:pt x="398" y="323"/>
                  </a:lnTo>
                  <a:lnTo>
                    <a:pt x="399" y="323"/>
                  </a:lnTo>
                  <a:lnTo>
                    <a:pt x="402" y="323"/>
                  </a:lnTo>
                  <a:lnTo>
                    <a:pt x="406" y="319"/>
                  </a:lnTo>
                  <a:lnTo>
                    <a:pt x="409" y="311"/>
                  </a:lnTo>
                  <a:lnTo>
                    <a:pt x="417" y="290"/>
                  </a:lnTo>
                  <a:lnTo>
                    <a:pt x="423" y="268"/>
                  </a:lnTo>
                  <a:lnTo>
                    <a:pt x="431" y="242"/>
                  </a:lnTo>
                  <a:lnTo>
                    <a:pt x="434" y="228"/>
                  </a:lnTo>
                  <a:lnTo>
                    <a:pt x="436" y="220"/>
                  </a:lnTo>
                  <a:lnTo>
                    <a:pt x="436" y="214"/>
                  </a:lnTo>
                  <a:lnTo>
                    <a:pt x="431" y="107"/>
                  </a:lnTo>
                  <a:lnTo>
                    <a:pt x="428" y="55"/>
                  </a:lnTo>
                  <a:lnTo>
                    <a:pt x="427" y="0"/>
                  </a:lnTo>
                  <a:lnTo>
                    <a:pt x="222" y="1"/>
                  </a:lnTo>
                  <a:lnTo>
                    <a:pt x="18" y="2"/>
                  </a:lnTo>
                  <a:lnTo>
                    <a:pt x="66" y="117"/>
                  </a:lnTo>
                  <a:lnTo>
                    <a:pt x="87" y="171"/>
                  </a:lnTo>
                  <a:lnTo>
                    <a:pt x="100" y="203"/>
                  </a:lnTo>
                  <a:lnTo>
                    <a:pt x="101" y="210"/>
                  </a:lnTo>
                  <a:lnTo>
                    <a:pt x="102" y="218"/>
                  </a:lnTo>
                  <a:lnTo>
                    <a:pt x="104" y="224"/>
                  </a:lnTo>
                  <a:lnTo>
                    <a:pt x="105" y="232"/>
                  </a:lnTo>
                  <a:lnTo>
                    <a:pt x="91" y="230"/>
                  </a:lnTo>
                  <a:lnTo>
                    <a:pt x="91" y="248"/>
                  </a:lnTo>
                  <a:lnTo>
                    <a:pt x="91" y="257"/>
                  </a:lnTo>
                  <a:lnTo>
                    <a:pt x="90" y="260"/>
                  </a:lnTo>
                  <a:lnTo>
                    <a:pt x="69" y="258"/>
                  </a:lnTo>
                  <a:lnTo>
                    <a:pt x="57" y="258"/>
                  </a:lnTo>
                  <a:lnTo>
                    <a:pt x="52" y="259"/>
                  </a:lnTo>
                  <a:lnTo>
                    <a:pt x="50" y="260"/>
                  </a:lnTo>
                  <a:lnTo>
                    <a:pt x="13" y="288"/>
                  </a:lnTo>
                  <a:lnTo>
                    <a:pt x="6" y="294"/>
                  </a:lnTo>
                  <a:lnTo>
                    <a:pt x="3" y="299"/>
                  </a:lnTo>
                  <a:lnTo>
                    <a:pt x="1" y="304"/>
                  </a:lnTo>
                  <a:lnTo>
                    <a:pt x="0" y="314"/>
                  </a:lnTo>
                  <a:lnTo>
                    <a:pt x="23" y="318"/>
                  </a:lnTo>
                  <a:lnTo>
                    <a:pt x="29" y="320"/>
                  </a:lnTo>
                  <a:lnTo>
                    <a:pt x="35" y="324"/>
                  </a:lnTo>
                  <a:lnTo>
                    <a:pt x="41" y="326"/>
                  </a:lnTo>
                  <a:lnTo>
                    <a:pt x="46" y="329"/>
                  </a:lnTo>
                  <a:lnTo>
                    <a:pt x="54" y="324"/>
                  </a:lnTo>
                  <a:lnTo>
                    <a:pt x="64" y="320"/>
                  </a:lnTo>
                  <a:lnTo>
                    <a:pt x="70" y="319"/>
                  </a:lnTo>
                  <a:lnTo>
                    <a:pt x="76" y="318"/>
                  </a:lnTo>
                  <a:lnTo>
                    <a:pt x="89" y="318"/>
                  </a:lnTo>
                  <a:lnTo>
                    <a:pt x="112" y="315"/>
                  </a:lnTo>
                  <a:lnTo>
                    <a:pt x="125" y="314"/>
                  </a:lnTo>
                  <a:lnTo>
                    <a:pt x="131" y="315"/>
                  </a:lnTo>
                  <a:lnTo>
                    <a:pt x="137" y="316"/>
                  </a:lnTo>
                  <a:lnTo>
                    <a:pt x="142" y="319"/>
                  </a:lnTo>
                  <a:lnTo>
                    <a:pt x="147" y="324"/>
                  </a:lnTo>
                  <a:lnTo>
                    <a:pt x="156" y="335"/>
                  </a:lnTo>
                  <a:lnTo>
                    <a:pt x="164" y="346"/>
                  </a:lnTo>
                  <a:lnTo>
                    <a:pt x="170" y="358"/>
                  </a:lnTo>
                  <a:lnTo>
                    <a:pt x="177" y="374"/>
                  </a:lnTo>
                  <a:lnTo>
                    <a:pt x="182" y="391"/>
                  </a:lnTo>
                  <a:lnTo>
                    <a:pt x="184" y="399"/>
                  </a:lnTo>
                  <a:lnTo>
                    <a:pt x="184" y="402"/>
                  </a:lnTo>
                  <a:lnTo>
                    <a:pt x="179" y="411"/>
                  </a:lnTo>
                  <a:lnTo>
                    <a:pt x="175" y="419"/>
                  </a:lnTo>
                  <a:lnTo>
                    <a:pt x="174" y="421"/>
                  </a:lnTo>
                  <a:lnTo>
                    <a:pt x="175" y="424"/>
                  </a:lnTo>
                  <a:lnTo>
                    <a:pt x="177" y="430"/>
                  </a:lnTo>
                  <a:lnTo>
                    <a:pt x="179" y="432"/>
                  </a:lnTo>
                  <a:lnTo>
                    <a:pt x="180" y="432"/>
                  </a:lnTo>
                  <a:lnTo>
                    <a:pt x="184" y="434"/>
                  </a:lnTo>
                  <a:lnTo>
                    <a:pt x="190" y="435"/>
                  </a:lnTo>
                  <a:lnTo>
                    <a:pt x="201" y="441"/>
                  </a:lnTo>
                  <a:lnTo>
                    <a:pt x="206" y="445"/>
                  </a:lnTo>
                  <a:lnTo>
                    <a:pt x="212" y="446"/>
                  </a:lnTo>
                  <a:lnTo>
                    <a:pt x="220" y="447"/>
                  </a:lnTo>
                  <a:lnTo>
                    <a:pt x="221" y="446"/>
                  </a:lnTo>
                  <a:lnTo>
                    <a:pt x="223" y="444"/>
                  </a:lnTo>
                  <a:lnTo>
                    <a:pt x="225" y="440"/>
                  </a:lnTo>
                  <a:lnTo>
                    <a:pt x="225" y="435"/>
                  </a:lnTo>
                  <a:lnTo>
                    <a:pt x="223" y="431"/>
                  </a:lnTo>
                  <a:lnTo>
                    <a:pt x="222" y="429"/>
                  </a:lnTo>
                  <a:lnTo>
                    <a:pt x="223" y="425"/>
                  </a:lnTo>
                  <a:lnTo>
                    <a:pt x="225" y="425"/>
                  </a:lnTo>
                  <a:lnTo>
                    <a:pt x="227" y="426"/>
                  </a:lnTo>
                  <a:lnTo>
                    <a:pt x="230" y="424"/>
                  </a:lnTo>
                  <a:lnTo>
                    <a:pt x="232" y="420"/>
                  </a:lnTo>
                  <a:lnTo>
                    <a:pt x="240" y="421"/>
                  </a:lnTo>
                  <a:lnTo>
                    <a:pt x="243" y="421"/>
                  </a:lnTo>
                  <a:lnTo>
                    <a:pt x="245" y="425"/>
                  </a:lnTo>
                  <a:lnTo>
                    <a:pt x="246" y="431"/>
                  </a:lnTo>
                  <a:lnTo>
                    <a:pt x="248" y="427"/>
                  </a:lnTo>
                  <a:lnTo>
                    <a:pt x="251" y="426"/>
                  </a:lnTo>
                  <a:lnTo>
                    <a:pt x="255" y="425"/>
                  </a:lnTo>
                  <a:lnTo>
                    <a:pt x="258" y="426"/>
                  </a:lnTo>
                  <a:lnTo>
                    <a:pt x="267" y="429"/>
                  </a:lnTo>
                  <a:lnTo>
                    <a:pt x="275" y="431"/>
                  </a:lnTo>
                  <a:lnTo>
                    <a:pt x="273" y="427"/>
                  </a:lnTo>
                  <a:lnTo>
                    <a:pt x="272" y="426"/>
                  </a:lnTo>
                  <a:lnTo>
                    <a:pt x="272" y="424"/>
                  </a:lnTo>
                  <a:lnTo>
                    <a:pt x="280" y="431"/>
                  </a:lnTo>
                  <a:lnTo>
                    <a:pt x="282" y="430"/>
                  </a:lnTo>
                  <a:lnTo>
                    <a:pt x="283" y="427"/>
                  </a:lnTo>
                  <a:lnTo>
                    <a:pt x="285" y="426"/>
                  </a:lnTo>
                  <a:lnTo>
                    <a:pt x="285" y="425"/>
                  </a:lnTo>
                  <a:lnTo>
                    <a:pt x="283" y="421"/>
                  </a:lnTo>
                  <a:lnTo>
                    <a:pt x="283" y="419"/>
                  </a:lnTo>
                  <a:lnTo>
                    <a:pt x="283" y="417"/>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LA</a:t>
              </a:r>
            </a:p>
          </p:txBody>
        </p:sp>
        <p:sp>
          <p:nvSpPr>
            <p:cNvPr id="31" name="Ventura"/>
            <p:cNvSpPr>
              <a:spLocks/>
            </p:cNvSpPr>
            <p:nvPr/>
          </p:nvSpPr>
          <p:spPr bwMode="auto">
            <a:xfrm>
              <a:off x="3624436" y="7630633"/>
              <a:ext cx="601640" cy="691367"/>
            </a:xfrm>
            <a:custGeom>
              <a:avLst/>
              <a:gdLst>
                <a:gd name="T0" fmla="*/ 2147483647 w 286"/>
                <a:gd name="T1" fmla="*/ 2147483647 h 345"/>
                <a:gd name="T2" fmla="*/ 2147483647 w 286"/>
                <a:gd name="T3" fmla="*/ 2147483647 h 345"/>
                <a:gd name="T4" fmla="*/ 2147483647 w 286"/>
                <a:gd name="T5" fmla="*/ 2147483647 h 345"/>
                <a:gd name="T6" fmla="*/ 2147483647 w 286"/>
                <a:gd name="T7" fmla="*/ 2147483647 h 345"/>
                <a:gd name="T8" fmla="*/ 2147483647 w 286"/>
                <a:gd name="T9" fmla="*/ 2147483647 h 345"/>
                <a:gd name="T10" fmla="*/ 2147483647 w 286"/>
                <a:gd name="T11" fmla="*/ 2147483647 h 345"/>
                <a:gd name="T12" fmla="*/ 2147483647 w 286"/>
                <a:gd name="T13" fmla="*/ 2147483647 h 345"/>
                <a:gd name="T14" fmla="*/ 2147483647 w 286"/>
                <a:gd name="T15" fmla="*/ 2147483647 h 345"/>
                <a:gd name="T16" fmla="*/ 2147483647 w 286"/>
                <a:gd name="T17" fmla="*/ 2147483647 h 345"/>
                <a:gd name="T18" fmla="*/ 2147483647 w 286"/>
                <a:gd name="T19" fmla="*/ 2147483647 h 345"/>
                <a:gd name="T20" fmla="*/ 2147483647 w 286"/>
                <a:gd name="T21" fmla="*/ 2147483647 h 345"/>
                <a:gd name="T22" fmla="*/ 2147483647 w 286"/>
                <a:gd name="T23" fmla="*/ 2147483647 h 345"/>
                <a:gd name="T24" fmla="*/ 2147483647 w 286"/>
                <a:gd name="T25" fmla="*/ 2147483647 h 345"/>
                <a:gd name="T26" fmla="*/ 2147483647 w 286"/>
                <a:gd name="T27" fmla="*/ 2147483647 h 345"/>
                <a:gd name="T28" fmla="*/ 2147483647 w 286"/>
                <a:gd name="T29" fmla="*/ 2147483647 h 345"/>
                <a:gd name="T30" fmla="*/ 2147483647 w 286"/>
                <a:gd name="T31" fmla="*/ 2147483647 h 345"/>
                <a:gd name="T32" fmla="*/ 2147483647 w 286"/>
                <a:gd name="T33" fmla="*/ 2147483647 h 345"/>
                <a:gd name="T34" fmla="*/ 2147483647 w 286"/>
                <a:gd name="T35" fmla="*/ 2147483647 h 345"/>
                <a:gd name="T36" fmla="*/ 2147483647 w 286"/>
                <a:gd name="T37" fmla="*/ 2147483647 h 345"/>
                <a:gd name="T38" fmla="*/ 2147483647 w 286"/>
                <a:gd name="T39" fmla="*/ 2147483647 h 345"/>
                <a:gd name="T40" fmla="*/ 2147483647 w 286"/>
                <a:gd name="T41" fmla="*/ 2147483647 h 345"/>
                <a:gd name="T42" fmla="*/ 2147483647 w 286"/>
                <a:gd name="T43" fmla="*/ 2147483647 h 345"/>
                <a:gd name="T44" fmla="*/ 2147483647 w 286"/>
                <a:gd name="T45" fmla="*/ 0 h 345"/>
                <a:gd name="T46" fmla="*/ 2147483647 w 286"/>
                <a:gd name="T47" fmla="*/ 2147483647 h 345"/>
                <a:gd name="T48" fmla="*/ 2147483647 w 286"/>
                <a:gd name="T49" fmla="*/ 2147483647 h 345"/>
                <a:gd name="T50" fmla="*/ 2147483647 w 286"/>
                <a:gd name="T51" fmla="*/ 2147483647 h 345"/>
                <a:gd name="T52" fmla="*/ 2147483647 w 286"/>
                <a:gd name="T53" fmla="*/ 2147483647 h 345"/>
                <a:gd name="T54" fmla="*/ 2147483647 w 286"/>
                <a:gd name="T55" fmla="*/ 2147483647 h 345"/>
                <a:gd name="T56" fmla="*/ 2147483647 w 286"/>
                <a:gd name="T57" fmla="*/ 2147483647 h 345"/>
                <a:gd name="T58" fmla="*/ 2147483647 w 286"/>
                <a:gd name="T59" fmla="*/ 2147483647 h 345"/>
                <a:gd name="T60" fmla="*/ 2147483647 w 286"/>
                <a:gd name="T61" fmla="*/ 2147483647 h 345"/>
                <a:gd name="T62" fmla="*/ 2147483647 w 286"/>
                <a:gd name="T63" fmla="*/ 2147483647 h 345"/>
                <a:gd name="T64" fmla="*/ 2147483647 w 286"/>
                <a:gd name="T65" fmla="*/ 2147483647 h 345"/>
                <a:gd name="T66" fmla="*/ 2147483647 w 286"/>
                <a:gd name="T67" fmla="*/ 2147483647 h 345"/>
                <a:gd name="T68" fmla="*/ 2147483647 w 286"/>
                <a:gd name="T69" fmla="*/ 2147483647 h 345"/>
                <a:gd name="T70" fmla="*/ 2147483647 w 286"/>
                <a:gd name="T71" fmla="*/ 2147483647 h 345"/>
                <a:gd name="T72" fmla="*/ 2147483647 w 286"/>
                <a:gd name="T73" fmla="*/ 2147483647 h 345"/>
                <a:gd name="T74" fmla="*/ 2147483647 w 286"/>
                <a:gd name="T75" fmla="*/ 2147483647 h 345"/>
                <a:gd name="T76" fmla="*/ 2147483647 w 286"/>
                <a:gd name="T77" fmla="*/ 2147483647 h 345"/>
                <a:gd name="T78" fmla="*/ 2147483647 w 286"/>
                <a:gd name="T79" fmla="*/ 2147483647 h 345"/>
                <a:gd name="T80" fmla="*/ 2147483647 w 286"/>
                <a:gd name="T81" fmla="*/ 2147483647 h 345"/>
                <a:gd name="T82" fmla="*/ 2147483647 w 286"/>
                <a:gd name="T83" fmla="*/ 2147483647 h 345"/>
                <a:gd name="T84" fmla="*/ 2147483647 w 286"/>
                <a:gd name="T85" fmla="*/ 2147483647 h 345"/>
                <a:gd name="T86" fmla="*/ 2147483647 w 286"/>
                <a:gd name="T87" fmla="*/ 2147483647 h 345"/>
                <a:gd name="T88" fmla="*/ 2147483647 w 286"/>
                <a:gd name="T89" fmla="*/ 2147483647 h 345"/>
                <a:gd name="T90" fmla="*/ 2147483647 w 286"/>
                <a:gd name="T91" fmla="*/ 2147483647 h 345"/>
                <a:gd name="T92" fmla="*/ 2147483647 w 286"/>
                <a:gd name="T93" fmla="*/ 2147483647 h 345"/>
                <a:gd name="T94" fmla="*/ 2147483647 w 286"/>
                <a:gd name="T95" fmla="*/ 2147483647 h 345"/>
                <a:gd name="T96" fmla="*/ 2147483647 w 286"/>
                <a:gd name="T97" fmla="*/ 2147483647 h 345"/>
                <a:gd name="T98" fmla="*/ 2147483647 w 286"/>
                <a:gd name="T99" fmla="*/ 2147483647 h 345"/>
                <a:gd name="T100" fmla="*/ 2147483647 w 286"/>
                <a:gd name="T101" fmla="*/ 2147483647 h 345"/>
                <a:gd name="T102" fmla="*/ 2147483647 w 286"/>
                <a:gd name="T103" fmla="*/ 2147483647 h 345"/>
                <a:gd name="T104" fmla="*/ 2147483647 w 286"/>
                <a:gd name="T105" fmla="*/ 2147483647 h 345"/>
                <a:gd name="T106" fmla="*/ 2147483647 w 286"/>
                <a:gd name="T107" fmla="*/ 2147483647 h 345"/>
                <a:gd name="T108" fmla="*/ 2147483647 w 286"/>
                <a:gd name="T109" fmla="*/ 2147483647 h 34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86" h="345">
                  <a:moveTo>
                    <a:pt x="194" y="319"/>
                  </a:moveTo>
                  <a:lnTo>
                    <a:pt x="231" y="291"/>
                  </a:lnTo>
                  <a:lnTo>
                    <a:pt x="233" y="290"/>
                  </a:lnTo>
                  <a:lnTo>
                    <a:pt x="238" y="289"/>
                  </a:lnTo>
                  <a:lnTo>
                    <a:pt x="250" y="289"/>
                  </a:lnTo>
                  <a:lnTo>
                    <a:pt x="271" y="291"/>
                  </a:lnTo>
                  <a:lnTo>
                    <a:pt x="272" y="288"/>
                  </a:lnTo>
                  <a:lnTo>
                    <a:pt x="272" y="279"/>
                  </a:lnTo>
                  <a:lnTo>
                    <a:pt x="272" y="261"/>
                  </a:lnTo>
                  <a:lnTo>
                    <a:pt x="286" y="263"/>
                  </a:lnTo>
                  <a:lnTo>
                    <a:pt x="285" y="255"/>
                  </a:lnTo>
                  <a:lnTo>
                    <a:pt x="283" y="249"/>
                  </a:lnTo>
                  <a:lnTo>
                    <a:pt x="282" y="241"/>
                  </a:lnTo>
                  <a:lnTo>
                    <a:pt x="281" y="234"/>
                  </a:lnTo>
                  <a:lnTo>
                    <a:pt x="268" y="202"/>
                  </a:lnTo>
                  <a:lnTo>
                    <a:pt x="247" y="148"/>
                  </a:lnTo>
                  <a:lnTo>
                    <a:pt x="199" y="33"/>
                  </a:lnTo>
                  <a:lnTo>
                    <a:pt x="181" y="33"/>
                  </a:lnTo>
                  <a:lnTo>
                    <a:pt x="179" y="36"/>
                  </a:lnTo>
                  <a:lnTo>
                    <a:pt x="174" y="37"/>
                  </a:lnTo>
                  <a:lnTo>
                    <a:pt x="161" y="37"/>
                  </a:lnTo>
                  <a:lnTo>
                    <a:pt x="136" y="36"/>
                  </a:lnTo>
                  <a:lnTo>
                    <a:pt x="107" y="37"/>
                  </a:lnTo>
                  <a:lnTo>
                    <a:pt x="91" y="37"/>
                  </a:lnTo>
                  <a:lnTo>
                    <a:pt x="85" y="36"/>
                  </a:lnTo>
                  <a:lnTo>
                    <a:pt x="81" y="34"/>
                  </a:lnTo>
                  <a:lnTo>
                    <a:pt x="80" y="31"/>
                  </a:lnTo>
                  <a:lnTo>
                    <a:pt x="80" y="27"/>
                  </a:lnTo>
                  <a:lnTo>
                    <a:pt x="80" y="19"/>
                  </a:lnTo>
                  <a:lnTo>
                    <a:pt x="80" y="18"/>
                  </a:lnTo>
                  <a:lnTo>
                    <a:pt x="79" y="17"/>
                  </a:lnTo>
                  <a:lnTo>
                    <a:pt x="76" y="17"/>
                  </a:lnTo>
                  <a:lnTo>
                    <a:pt x="73" y="17"/>
                  </a:lnTo>
                  <a:lnTo>
                    <a:pt x="70" y="17"/>
                  </a:lnTo>
                  <a:lnTo>
                    <a:pt x="69" y="16"/>
                  </a:lnTo>
                  <a:lnTo>
                    <a:pt x="69" y="13"/>
                  </a:lnTo>
                  <a:lnTo>
                    <a:pt x="65" y="12"/>
                  </a:lnTo>
                  <a:lnTo>
                    <a:pt x="50" y="12"/>
                  </a:lnTo>
                  <a:lnTo>
                    <a:pt x="43" y="12"/>
                  </a:lnTo>
                  <a:lnTo>
                    <a:pt x="39" y="12"/>
                  </a:lnTo>
                  <a:lnTo>
                    <a:pt x="38" y="11"/>
                  </a:lnTo>
                  <a:lnTo>
                    <a:pt x="36" y="9"/>
                  </a:lnTo>
                  <a:lnTo>
                    <a:pt x="35" y="3"/>
                  </a:lnTo>
                  <a:lnTo>
                    <a:pt x="34" y="1"/>
                  </a:lnTo>
                  <a:lnTo>
                    <a:pt x="33" y="1"/>
                  </a:lnTo>
                  <a:lnTo>
                    <a:pt x="26" y="0"/>
                  </a:lnTo>
                  <a:lnTo>
                    <a:pt x="14" y="1"/>
                  </a:lnTo>
                  <a:lnTo>
                    <a:pt x="15" y="140"/>
                  </a:lnTo>
                  <a:lnTo>
                    <a:pt x="16" y="160"/>
                  </a:lnTo>
                  <a:lnTo>
                    <a:pt x="16" y="170"/>
                  </a:lnTo>
                  <a:lnTo>
                    <a:pt x="15" y="179"/>
                  </a:lnTo>
                  <a:lnTo>
                    <a:pt x="14" y="188"/>
                  </a:lnTo>
                  <a:lnTo>
                    <a:pt x="11" y="197"/>
                  </a:lnTo>
                  <a:lnTo>
                    <a:pt x="6" y="204"/>
                  </a:lnTo>
                  <a:lnTo>
                    <a:pt x="0" y="210"/>
                  </a:lnTo>
                  <a:lnTo>
                    <a:pt x="6" y="213"/>
                  </a:lnTo>
                  <a:lnTo>
                    <a:pt x="14" y="218"/>
                  </a:lnTo>
                  <a:lnTo>
                    <a:pt x="28" y="228"/>
                  </a:lnTo>
                  <a:lnTo>
                    <a:pt x="34" y="233"/>
                  </a:lnTo>
                  <a:lnTo>
                    <a:pt x="41" y="239"/>
                  </a:lnTo>
                  <a:lnTo>
                    <a:pt x="49" y="246"/>
                  </a:lnTo>
                  <a:lnTo>
                    <a:pt x="53" y="249"/>
                  </a:lnTo>
                  <a:lnTo>
                    <a:pt x="56" y="250"/>
                  </a:lnTo>
                  <a:lnTo>
                    <a:pt x="61" y="250"/>
                  </a:lnTo>
                  <a:lnTo>
                    <a:pt x="69" y="251"/>
                  </a:lnTo>
                  <a:lnTo>
                    <a:pt x="71" y="253"/>
                  </a:lnTo>
                  <a:lnTo>
                    <a:pt x="73" y="255"/>
                  </a:lnTo>
                  <a:lnTo>
                    <a:pt x="74" y="258"/>
                  </a:lnTo>
                  <a:lnTo>
                    <a:pt x="73" y="261"/>
                  </a:lnTo>
                  <a:lnTo>
                    <a:pt x="73" y="263"/>
                  </a:lnTo>
                  <a:lnTo>
                    <a:pt x="74" y="265"/>
                  </a:lnTo>
                  <a:lnTo>
                    <a:pt x="81" y="266"/>
                  </a:lnTo>
                  <a:lnTo>
                    <a:pt x="96" y="266"/>
                  </a:lnTo>
                  <a:lnTo>
                    <a:pt x="91" y="268"/>
                  </a:lnTo>
                  <a:lnTo>
                    <a:pt x="84" y="268"/>
                  </a:lnTo>
                  <a:lnTo>
                    <a:pt x="80" y="269"/>
                  </a:lnTo>
                  <a:lnTo>
                    <a:pt x="77" y="270"/>
                  </a:lnTo>
                  <a:lnTo>
                    <a:pt x="76" y="271"/>
                  </a:lnTo>
                  <a:lnTo>
                    <a:pt x="76" y="274"/>
                  </a:lnTo>
                  <a:lnTo>
                    <a:pt x="79" y="283"/>
                  </a:lnTo>
                  <a:lnTo>
                    <a:pt x="82" y="293"/>
                  </a:lnTo>
                  <a:lnTo>
                    <a:pt x="85" y="296"/>
                  </a:lnTo>
                  <a:lnTo>
                    <a:pt x="87" y="300"/>
                  </a:lnTo>
                  <a:lnTo>
                    <a:pt x="90" y="301"/>
                  </a:lnTo>
                  <a:lnTo>
                    <a:pt x="94" y="300"/>
                  </a:lnTo>
                  <a:lnTo>
                    <a:pt x="96" y="304"/>
                  </a:lnTo>
                  <a:lnTo>
                    <a:pt x="99" y="308"/>
                  </a:lnTo>
                  <a:lnTo>
                    <a:pt x="104" y="313"/>
                  </a:lnTo>
                  <a:lnTo>
                    <a:pt x="109" y="316"/>
                  </a:lnTo>
                  <a:lnTo>
                    <a:pt x="114" y="319"/>
                  </a:lnTo>
                  <a:lnTo>
                    <a:pt x="120" y="321"/>
                  </a:lnTo>
                  <a:lnTo>
                    <a:pt x="125" y="322"/>
                  </a:lnTo>
                  <a:lnTo>
                    <a:pt x="130" y="322"/>
                  </a:lnTo>
                  <a:lnTo>
                    <a:pt x="122" y="320"/>
                  </a:lnTo>
                  <a:lnTo>
                    <a:pt x="120" y="318"/>
                  </a:lnTo>
                  <a:lnTo>
                    <a:pt x="119" y="314"/>
                  </a:lnTo>
                  <a:lnTo>
                    <a:pt x="121" y="316"/>
                  </a:lnTo>
                  <a:lnTo>
                    <a:pt x="125" y="316"/>
                  </a:lnTo>
                  <a:lnTo>
                    <a:pt x="130" y="318"/>
                  </a:lnTo>
                  <a:lnTo>
                    <a:pt x="134" y="319"/>
                  </a:lnTo>
                  <a:lnTo>
                    <a:pt x="139" y="322"/>
                  </a:lnTo>
                  <a:lnTo>
                    <a:pt x="146" y="329"/>
                  </a:lnTo>
                  <a:lnTo>
                    <a:pt x="164" y="337"/>
                  </a:lnTo>
                  <a:lnTo>
                    <a:pt x="172" y="342"/>
                  </a:lnTo>
                  <a:lnTo>
                    <a:pt x="181" y="345"/>
                  </a:lnTo>
                  <a:lnTo>
                    <a:pt x="182" y="335"/>
                  </a:lnTo>
                  <a:lnTo>
                    <a:pt x="184" y="330"/>
                  </a:lnTo>
                  <a:lnTo>
                    <a:pt x="187" y="325"/>
                  </a:lnTo>
                  <a:lnTo>
                    <a:pt x="192" y="319"/>
                  </a:lnTo>
                  <a:lnTo>
                    <a:pt x="194" y="319"/>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Ventura</a:t>
              </a:r>
            </a:p>
          </p:txBody>
        </p:sp>
      </p:grpSp>
      <p:grpSp>
        <p:nvGrpSpPr>
          <p:cNvPr id="32" name="North Coast and North State"/>
          <p:cNvGrpSpPr/>
          <p:nvPr/>
        </p:nvGrpSpPr>
        <p:grpSpPr>
          <a:xfrm>
            <a:off x="1259783" y="1145789"/>
            <a:ext cx="2048824" cy="1766122"/>
            <a:chOff x="168157" y="1931345"/>
            <a:chExt cx="3096558" cy="2669288"/>
          </a:xfrm>
        </p:grpSpPr>
        <p:sp>
          <p:nvSpPr>
            <p:cNvPr id="33" name="Humboldt"/>
            <p:cNvSpPr>
              <a:spLocks/>
            </p:cNvSpPr>
            <p:nvPr/>
          </p:nvSpPr>
          <p:spPr bwMode="auto">
            <a:xfrm>
              <a:off x="168157" y="2356188"/>
              <a:ext cx="696305" cy="1180336"/>
            </a:xfrm>
            <a:custGeom>
              <a:avLst/>
              <a:gdLst>
                <a:gd name="T0" fmla="*/ 2147483647 w 331"/>
                <a:gd name="T1" fmla="*/ 2147483647 h 589"/>
                <a:gd name="T2" fmla="*/ 2147483647 w 331"/>
                <a:gd name="T3" fmla="*/ 2147483647 h 589"/>
                <a:gd name="T4" fmla="*/ 2147483647 w 331"/>
                <a:gd name="T5" fmla="*/ 2147483647 h 589"/>
                <a:gd name="T6" fmla="*/ 2147483647 w 331"/>
                <a:gd name="T7" fmla="*/ 2147483647 h 589"/>
                <a:gd name="T8" fmla="*/ 2147483647 w 331"/>
                <a:gd name="T9" fmla="*/ 2147483647 h 589"/>
                <a:gd name="T10" fmla="*/ 2147483647 w 331"/>
                <a:gd name="T11" fmla="*/ 2147483647 h 589"/>
                <a:gd name="T12" fmla="*/ 2147483647 w 331"/>
                <a:gd name="T13" fmla="*/ 2147483647 h 589"/>
                <a:gd name="T14" fmla="*/ 2147483647 w 331"/>
                <a:gd name="T15" fmla="*/ 2147483647 h 589"/>
                <a:gd name="T16" fmla="*/ 2147483647 w 331"/>
                <a:gd name="T17" fmla="*/ 2147483647 h 589"/>
                <a:gd name="T18" fmla="*/ 2147483647 w 331"/>
                <a:gd name="T19" fmla="*/ 2147483647 h 589"/>
                <a:gd name="T20" fmla="*/ 2147483647 w 331"/>
                <a:gd name="T21" fmla="*/ 2147483647 h 589"/>
                <a:gd name="T22" fmla="*/ 2147483647 w 331"/>
                <a:gd name="T23" fmla="*/ 2147483647 h 589"/>
                <a:gd name="T24" fmla="*/ 2147483647 w 331"/>
                <a:gd name="T25" fmla="*/ 2147483647 h 589"/>
                <a:gd name="T26" fmla="*/ 2147483647 w 331"/>
                <a:gd name="T27" fmla="*/ 2147483647 h 589"/>
                <a:gd name="T28" fmla="*/ 2147483647 w 331"/>
                <a:gd name="T29" fmla="*/ 2147483647 h 589"/>
                <a:gd name="T30" fmla="*/ 2147483647 w 331"/>
                <a:gd name="T31" fmla="*/ 2147483647 h 589"/>
                <a:gd name="T32" fmla="*/ 2147483647 w 331"/>
                <a:gd name="T33" fmla="*/ 2147483647 h 589"/>
                <a:gd name="T34" fmla="*/ 2147483647 w 331"/>
                <a:gd name="T35" fmla="*/ 2147483647 h 589"/>
                <a:gd name="T36" fmla="*/ 2147483647 w 331"/>
                <a:gd name="T37" fmla="*/ 2147483647 h 589"/>
                <a:gd name="T38" fmla="*/ 2147483647 w 331"/>
                <a:gd name="T39" fmla="*/ 2147483647 h 589"/>
                <a:gd name="T40" fmla="*/ 2147483647 w 331"/>
                <a:gd name="T41" fmla="*/ 2147483647 h 589"/>
                <a:gd name="T42" fmla="*/ 2147483647 w 331"/>
                <a:gd name="T43" fmla="*/ 2147483647 h 589"/>
                <a:gd name="T44" fmla="*/ 2147483647 w 331"/>
                <a:gd name="T45" fmla="*/ 2147483647 h 589"/>
                <a:gd name="T46" fmla="*/ 2147483647 w 331"/>
                <a:gd name="T47" fmla="*/ 2147483647 h 589"/>
                <a:gd name="T48" fmla="*/ 2147483647 w 331"/>
                <a:gd name="T49" fmla="*/ 2147483647 h 589"/>
                <a:gd name="T50" fmla="*/ 2147483647 w 331"/>
                <a:gd name="T51" fmla="*/ 2147483647 h 589"/>
                <a:gd name="T52" fmla="*/ 2147483647 w 331"/>
                <a:gd name="T53" fmla="*/ 2147483647 h 589"/>
                <a:gd name="T54" fmla="*/ 2147483647 w 331"/>
                <a:gd name="T55" fmla="*/ 2147483647 h 589"/>
                <a:gd name="T56" fmla="*/ 2147483647 w 331"/>
                <a:gd name="T57" fmla="*/ 2147483647 h 589"/>
                <a:gd name="T58" fmla="*/ 2147483647 w 331"/>
                <a:gd name="T59" fmla="*/ 2147483647 h 589"/>
                <a:gd name="T60" fmla="*/ 2147483647 w 331"/>
                <a:gd name="T61" fmla="*/ 2147483647 h 589"/>
                <a:gd name="T62" fmla="*/ 2147483647 w 331"/>
                <a:gd name="T63" fmla="*/ 2147483647 h 589"/>
                <a:gd name="T64" fmla="*/ 2147483647 w 331"/>
                <a:gd name="T65" fmla="*/ 2147483647 h 589"/>
                <a:gd name="T66" fmla="*/ 2147483647 w 331"/>
                <a:gd name="T67" fmla="*/ 2147483647 h 589"/>
                <a:gd name="T68" fmla="*/ 2147483647 w 331"/>
                <a:gd name="T69" fmla="*/ 2147483647 h 589"/>
                <a:gd name="T70" fmla="*/ 2147483647 w 331"/>
                <a:gd name="T71" fmla="*/ 2147483647 h 589"/>
                <a:gd name="T72" fmla="*/ 2147483647 w 331"/>
                <a:gd name="T73" fmla="*/ 2147483647 h 589"/>
                <a:gd name="T74" fmla="*/ 2147483647 w 331"/>
                <a:gd name="T75" fmla="*/ 2147483647 h 589"/>
                <a:gd name="T76" fmla="*/ 2147483647 w 331"/>
                <a:gd name="T77" fmla="*/ 2147483647 h 589"/>
                <a:gd name="T78" fmla="*/ 2147483647 w 331"/>
                <a:gd name="T79" fmla="*/ 2147483647 h 589"/>
                <a:gd name="T80" fmla="*/ 0 w 331"/>
                <a:gd name="T81" fmla="*/ 2147483647 h 589"/>
                <a:gd name="T82" fmla="*/ 2147483647 w 331"/>
                <a:gd name="T83" fmla="*/ 2147483647 h 589"/>
                <a:gd name="T84" fmla="*/ 2147483647 w 331"/>
                <a:gd name="T85" fmla="*/ 2147483647 h 589"/>
                <a:gd name="T86" fmla="*/ 2147483647 w 331"/>
                <a:gd name="T87" fmla="*/ 2147483647 h 589"/>
                <a:gd name="T88" fmla="*/ 2147483647 w 331"/>
                <a:gd name="T89" fmla="*/ 2147483647 h 589"/>
                <a:gd name="T90" fmla="*/ 2147483647 w 331"/>
                <a:gd name="T91" fmla="*/ 2147483647 h 589"/>
                <a:gd name="T92" fmla="*/ 2147483647 w 331"/>
                <a:gd name="T93" fmla="*/ 2147483647 h 589"/>
                <a:gd name="T94" fmla="*/ 2147483647 w 331"/>
                <a:gd name="T95" fmla="*/ 2147483647 h 589"/>
                <a:gd name="T96" fmla="*/ 2147483647 w 331"/>
                <a:gd name="T97" fmla="*/ 2147483647 h 589"/>
                <a:gd name="T98" fmla="*/ 2147483647 w 331"/>
                <a:gd name="T99" fmla="*/ 2147483647 h 589"/>
                <a:gd name="T100" fmla="*/ 2147483647 w 331"/>
                <a:gd name="T101" fmla="*/ 2147483647 h 589"/>
                <a:gd name="T102" fmla="*/ 2147483647 w 331"/>
                <a:gd name="T103" fmla="*/ 2147483647 h 58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31" h="589">
                  <a:moveTo>
                    <a:pt x="287" y="588"/>
                  </a:moveTo>
                  <a:lnTo>
                    <a:pt x="288" y="505"/>
                  </a:lnTo>
                  <a:lnTo>
                    <a:pt x="290" y="419"/>
                  </a:lnTo>
                  <a:lnTo>
                    <a:pt x="290" y="376"/>
                  </a:lnTo>
                  <a:lnTo>
                    <a:pt x="288" y="334"/>
                  </a:lnTo>
                  <a:lnTo>
                    <a:pt x="286" y="295"/>
                  </a:lnTo>
                  <a:lnTo>
                    <a:pt x="281" y="257"/>
                  </a:lnTo>
                  <a:lnTo>
                    <a:pt x="280" y="253"/>
                  </a:lnTo>
                  <a:lnTo>
                    <a:pt x="277" y="248"/>
                  </a:lnTo>
                  <a:lnTo>
                    <a:pt x="270" y="237"/>
                  </a:lnTo>
                  <a:lnTo>
                    <a:pt x="266" y="232"/>
                  </a:lnTo>
                  <a:lnTo>
                    <a:pt x="265" y="226"/>
                  </a:lnTo>
                  <a:lnTo>
                    <a:pt x="263" y="221"/>
                  </a:lnTo>
                  <a:lnTo>
                    <a:pt x="263" y="217"/>
                  </a:lnTo>
                  <a:lnTo>
                    <a:pt x="266" y="215"/>
                  </a:lnTo>
                  <a:lnTo>
                    <a:pt x="268" y="213"/>
                  </a:lnTo>
                  <a:lnTo>
                    <a:pt x="273" y="212"/>
                  </a:lnTo>
                  <a:lnTo>
                    <a:pt x="281" y="213"/>
                  </a:lnTo>
                  <a:lnTo>
                    <a:pt x="287" y="215"/>
                  </a:lnTo>
                  <a:lnTo>
                    <a:pt x="295" y="217"/>
                  </a:lnTo>
                  <a:lnTo>
                    <a:pt x="301" y="220"/>
                  </a:lnTo>
                  <a:lnTo>
                    <a:pt x="306" y="220"/>
                  </a:lnTo>
                  <a:lnTo>
                    <a:pt x="308" y="218"/>
                  </a:lnTo>
                  <a:lnTo>
                    <a:pt x="311" y="217"/>
                  </a:lnTo>
                  <a:lnTo>
                    <a:pt x="319" y="206"/>
                  </a:lnTo>
                  <a:lnTo>
                    <a:pt x="324" y="199"/>
                  </a:lnTo>
                  <a:lnTo>
                    <a:pt x="327" y="191"/>
                  </a:lnTo>
                  <a:lnTo>
                    <a:pt x="329" y="184"/>
                  </a:lnTo>
                  <a:lnTo>
                    <a:pt x="329" y="176"/>
                  </a:lnTo>
                  <a:lnTo>
                    <a:pt x="328" y="170"/>
                  </a:lnTo>
                  <a:lnTo>
                    <a:pt x="323" y="164"/>
                  </a:lnTo>
                  <a:lnTo>
                    <a:pt x="319" y="160"/>
                  </a:lnTo>
                  <a:lnTo>
                    <a:pt x="317" y="156"/>
                  </a:lnTo>
                  <a:lnTo>
                    <a:pt x="317" y="154"/>
                  </a:lnTo>
                  <a:lnTo>
                    <a:pt x="318" y="152"/>
                  </a:lnTo>
                  <a:lnTo>
                    <a:pt x="323" y="147"/>
                  </a:lnTo>
                  <a:lnTo>
                    <a:pt x="324" y="144"/>
                  </a:lnTo>
                  <a:lnTo>
                    <a:pt x="326" y="139"/>
                  </a:lnTo>
                  <a:lnTo>
                    <a:pt x="327" y="127"/>
                  </a:lnTo>
                  <a:lnTo>
                    <a:pt x="328" y="121"/>
                  </a:lnTo>
                  <a:lnTo>
                    <a:pt x="331" y="116"/>
                  </a:lnTo>
                  <a:lnTo>
                    <a:pt x="327" y="109"/>
                  </a:lnTo>
                  <a:lnTo>
                    <a:pt x="324" y="102"/>
                  </a:lnTo>
                  <a:lnTo>
                    <a:pt x="321" y="98"/>
                  </a:lnTo>
                  <a:lnTo>
                    <a:pt x="319" y="90"/>
                  </a:lnTo>
                  <a:lnTo>
                    <a:pt x="319" y="84"/>
                  </a:lnTo>
                  <a:lnTo>
                    <a:pt x="319" y="80"/>
                  </a:lnTo>
                  <a:lnTo>
                    <a:pt x="319" y="78"/>
                  </a:lnTo>
                  <a:lnTo>
                    <a:pt x="318" y="74"/>
                  </a:lnTo>
                  <a:lnTo>
                    <a:pt x="318" y="71"/>
                  </a:lnTo>
                  <a:lnTo>
                    <a:pt x="317" y="66"/>
                  </a:lnTo>
                  <a:lnTo>
                    <a:pt x="314" y="63"/>
                  </a:lnTo>
                  <a:lnTo>
                    <a:pt x="312" y="59"/>
                  </a:lnTo>
                  <a:lnTo>
                    <a:pt x="311" y="56"/>
                  </a:lnTo>
                  <a:lnTo>
                    <a:pt x="308" y="53"/>
                  </a:lnTo>
                  <a:lnTo>
                    <a:pt x="307" y="43"/>
                  </a:lnTo>
                  <a:lnTo>
                    <a:pt x="306" y="39"/>
                  </a:lnTo>
                  <a:lnTo>
                    <a:pt x="303" y="38"/>
                  </a:lnTo>
                  <a:lnTo>
                    <a:pt x="302" y="36"/>
                  </a:lnTo>
                  <a:lnTo>
                    <a:pt x="296" y="35"/>
                  </a:lnTo>
                  <a:lnTo>
                    <a:pt x="288" y="34"/>
                  </a:lnTo>
                  <a:lnTo>
                    <a:pt x="276" y="35"/>
                  </a:lnTo>
                  <a:lnTo>
                    <a:pt x="262" y="36"/>
                  </a:lnTo>
                  <a:lnTo>
                    <a:pt x="256" y="36"/>
                  </a:lnTo>
                  <a:lnTo>
                    <a:pt x="250" y="35"/>
                  </a:lnTo>
                  <a:lnTo>
                    <a:pt x="227" y="36"/>
                  </a:lnTo>
                  <a:lnTo>
                    <a:pt x="216" y="36"/>
                  </a:lnTo>
                  <a:lnTo>
                    <a:pt x="212" y="34"/>
                  </a:lnTo>
                  <a:lnTo>
                    <a:pt x="210" y="31"/>
                  </a:lnTo>
                  <a:lnTo>
                    <a:pt x="211" y="14"/>
                  </a:lnTo>
                  <a:lnTo>
                    <a:pt x="211" y="9"/>
                  </a:lnTo>
                  <a:lnTo>
                    <a:pt x="211" y="4"/>
                  </a:lnTo>
                  <a:lnTo>
                    <a:pt x="208" y="1"/>
                  </a:lnTo>
                  <a:lnTo>
                    <a:pt x="206" y="0"/>
                  </a:lnTo>
                  <a:lnTo>
                    <a:pt x="158" y="1"/>
                  </a:lnTo>
                  <a:lnTo>
                    <a:pt x="112" y="3"/>
                  </a:lnTo>
                  <a:lnTo>
                    <a:pt x="112" y="29"/>
                  </a:lnTo>
                  <a:lnTo>
                    <a:pt x="111" y="43"/>
                  </a:lnTo>
                  <a:lnTo>
                    <a:pt x="109" y="55"/>
                  </a:lnTo>
                  <a:lnTo>
                    <a:pt x="102" y="73"/>
                  </a:lnTo>
                  <a:lnTo>
                    <a:pt x="100" y="80"/>
                  </a:lnTo>
                  <a:lnTo>
                    <a:pt x="100" y="89"/>
                  </a:lnTo>
                  <a:lnTo>
                    <a:pt x="99" y="98"/>
                  </a:lnTo>
                  <a:lnTo>
                    <a:pt x="95" y="109"/>
                  </a:lnTo>
                  <a:lnTo>
                    <a:pt x="90" y="120"/>
                  </a:lnTo>
                  <a:lnTo>
                    <a:pt x="86" y="129"/>
                  </a:lnTo>
                  <a:lnTo>
                    <a:pt x="82" y="134"/>
                  </a:lnTo>
                  <a:lnTo>
                    <a:pt x="81" y="140"/>
                  </a:lnTo>
                  <a:lnTo>
                    <a:pt x="82" y="154"/>
                  </a:lnTo>
                  <a:lnTo>
                    <a:pt x="82" y="161"/>
                  </a:lnTo>
                  <a:lnTo>
                    <a:pt x="84" y="166"/>
                  </a:lnTo>
                  <a:lnTo>
                    <a:pt x="89" y="167"/>
                  </a:lnTo>
                  <a:lnTo>
                    <a:pt x="92" y="169"/>
                  </a:lnTo>
                  <a:lnTo>
                    <a:pt x="95" y="172"/>
                  </a:lnTo>
                  <a:lnTo>
                    <a:pt x="96" y="176"/>
                  </a:lnTo>
                  <a:lnTo>
                    <a:pt x="96" y="181"/>
                  </a:lnTo>
                  <a:lnTo>
                    <a:pt x="96" y="190"/>
                  </a:lnTo>
                  <a:lnTo>
                    <a:pt x="94" y="200"/>
                  </a:lnTo>
                  <a:lnTo>
                    <a:pt x="90" y="207"/>
                  </a:lnTo>
                  <a:lnTo>
                    <a:pt x="87" y="216"/>
                  </a:lnTo>
                  <a:lnTo>
                    <a:pt x="85" y="226"/>
                  </a:lnTo>
                  <a:lnTo>
                    <a:pt x="82" y="235"/>
                  </a:lnTo>
                  <a:lnTo>
                    <a:pt x="77" y="243"/>
                  </a:lnTo>
                  <a:lnTo>
                    <a:pt x="72" y="251"/>
                  </a:lnTo>
                  <a:lnTo>
                    <a:pt x="66" y="263"/>
                  </a:lnTo>
                  <a:lnTo>
                    <a:pt x="61" y="275"/>
                  </a:lnTo>
                  <a:lnTo>
                    <a:pt x="61" y="280"/>
                  </a:lnTo>
                  <a:lnTo>
                    <a:pt x="61" y="282"/>
                  </a:lnTo>
                  <a:lnTo>
                    <a:pt x="69" y="272"/>
                  </a:lnTo>
                  <a:lnTo>
                    <a:pt x="75" y="260"/>
                  </a:lnTo>
                  <a:lnTo>
                    <a:pt x="79" y="253"/>
                  </a:lnTo>
                  <a:lnTo>
                    <a:pt x="82" y="247"/>
                  </a:lnTo>
                  <a:lnTo>
                    <a:pt x="85" y="246"/>
                  </a:lnTo>
                  <a:lnTo>
                    <a:pt x="87" y="245"/>
                  </a:lnTo>
                  <a:lnTo>
                    <a:pt x="91" y="245"/>
                  </a:lnTo>
                  <a:lnTo>
                    <a:pt x="95" y="245"/>
                  </a:lnTo>
                  <a:lnTo>
                    <a:pt x="100" y="246"/>
                  </a:lnTo>
                  <a:lnTo>
                    <a:pt x="102" y="247"/>
                  </a:lnTo>
                  <a:lnTo>
                    <a:pt x="105" y="250"/>
                  </a:lnTo>
                  <a:lnTo>
                    <a:pt x="105" y="251"/>
                  </a:lnTo>
                  <a:lnTo>
                    <a:pt x="105" y="253"/>
                  </a:lnTo>
                  <a:lnTo>
                    <a:pt x="104" y="256"/>
                  </a:lnTo>
                  <a:lnTo>
                    <a:pt x="100" y="258"/>
                  </a:lnTo>
                  <a:lnTo>
                    <a:pt x="95" y="261"/>
                  </a:lnTo>
                  <a:lnTo>
                    <a:pt x="91" y="262"/>
                  </a:lnTo>
                  <a:lnTo>
                    <a:pt x="89" y="263"/>
                  </a:lnTo>
                  <a:lnTo>
                    <a:pt x="84" y="262"/>
                  </a:lnTo>
                  <a:lnTo>
                    <a:pt x="79" y="263"/>
                  </a:lnTo>
                  <a:lnTo>
                    <a:pt x="76" y="266"/>
                  </a:lnTo>
                  <a:lnTo>
                    <a:pt x="74" y="268"/>
                  </a:lnTo>
                  <a:lnTo>
                    <a:pt x="67" y="280"/>
                  </a:lnTo>
                  <a:lnTo>
                    <a:pt x="62" y="290"/>
                  </a:lnTo>
                  <a:lnTo>
                    <a:pt x="62" y="295"/>
                  </a:lnTo>
                  <a:lnTo>
                    <a:pt x="62" y="300"/>
                  </a:lnTo>
                  <a:lnTo>
                    <a:pt x="64" y="303"/>
                  </a:lnTo>
                  <a:lnTo>
                    <a:pt x="61" y="308"/>
                  </a:lnTo>
                  <a:lnTo>
                    <a:pt x="59" y="310"/>
                  </a:lnTo>
                  <a:lnTo>
                    <a:pt x="55" y="311"/>
                  </a:lnTo>
                  <a:lnTo>
                    <a:pt x="51" y="310"/>
                  </a:lnTo>
                  <a:lnTo>
                    <a:pt x="50" y="308"/>
                  </a:lnTo>
                  <a:lnTo>
                    <a:pt x="49" y="307"/>
                  </a:lnTo>
                  <a:lnTo>
                    <a:pt x="47" y="303"/>
                  </a:lnTo>
                  <a:lnTo>
                    <a:pt x="49" y="301"/>
                  </a:lnTo>
                  <a:lnTo>
                    <a:pt x="52" y="296"/>
                  </a:lnTo>
                  <a:lnTo>
                    <a:pt x="56" y="291"/>
                  </a:lnTo>
                  <a:lnTo>
                    <a:pt x="57" y="288"/>
                  </a:lnTo>
                  <a:lnTo>
                    <a:pt x="57" y="285"/>
                  </a:lnTo>
                  <a:lnTo>
                    <a:pt x="49" y="295"/>
                  </a:lnTo>
                  <a:lnTo>
                    <a:pt x="41" y="306"/>
                  </a:lnTo>
                  <a:lnTo>
                    <a:pt x="35" y="319"/>
                  </a:lnTo>
                  <a:lnTo>
                    <a:pt x="30" y="331"/>
                  </a:lnTo>
                  <a:lnTo>
                    <a:pt x="35" y="332"/>
                  </a:lnTo>
                  <a:lnTo>
                    <a:pt x="39" y="333"/>
                  </a:lnTo>
                  <a:lnTo>
                    <a:pt x="31" y="334"/>
                  </a:lnTo>
                  <a:lnTo>
                    <a:pt x="29" y="337"/>
                  </a:lnTo>
                  <a:lnTo>
                    <a:pt x="25" y="341"/>
                  </a:lnTo>
                  <a:lnTo>
                    <a:pt x="22" y="348"/>
                  </a:lnTo>
                  <a:lnTo>
                    <a:pt x="15" y="362"/>
                  </a:lnTo>
                  <a:lnTo>
                    <a:pt x="10" y="377"/>
                  </a:lnTo>
                  <a:lnTo>
                    <a:pt x="7" y="386"/>
                  </a:lnTo>
                  <a:lnTo>
                    <a:pt x="6" y="394"/>
                  </a:lnTo>
                  <a:lnTo>
                    <a:pt x="5" y="399"/>
                  </a:lnTo>
                  <a:lnTo>
                    <a:pt x="1" y="404"/>
                  </a:lnTo>
                  <a:lnTo>
                    <a:pt x="0" y="409"/>
                  </a:lnTo>
                  <a:lnTo>
                    <a:pt x="0" y="413"/>
                  </a:lnTo>
                  <a:lnTo>
                    <a:pt x="1" y="416"/>
                  </a:lnTo>
                  <a:lnTo>
                    <a:pt x="2" y="419"/>
                  </a:lnTo>
                  <a:lnTo>
                    <a:pt x="5" y="422"/>
                  </a:lnTo>
                  <a:lnTo>
                    <a:pt x="10" y="428"/>
                  </a:lnTo>
                  <a:lnTo>
                    <a:pt x="11" y="432"/>
                  </a:lnTo>
                  <a:lnTo>
                    <a:pt x="12" y="435"/>
                  </a:lnTo>
                  <a:lnTo>
                    <a:pt x="12" y="439"/>
                  </a:lnTo>
                  <a:lnTo>
                    <a:pt x="12" y="442"/>
                  </a:lnTo>
                  <a:lnTo>
                    <a:pt x="17" y="452"/>
                  </a:lnTo>
                  <a:lnTo>
                    <a:pt x="19" y="457"/>
                  </a:lnTo>
                  <a:lnTo>
                    <a:pt x="20" y="462"/>
                  </a:lnTo>
                  <a:lnTo>
                    <a:pt x="19" y="467"/>
                  </a:lnTo>
                  <a:lnTo>
                    <a:pt x="16" y="470"/>
                  </a:lnTo>
                  <a:lnTo>
                    <a:pt x="15" y="475"/>
                  </a:lnTo>
                  <a:lnTo>
                    <a:pt x="15" y="480"/>
                  </a:lnTo>
                  <a:lnTo>
                    <a:pt x="16" y="483"/>
                  </a:lnTo>
                  <a:lnTo>
                    <a:pt x="19" y="487"/>
                  </a:lnTo>
                  <a:lnTo>
                    <a:pt x="25" y="494"/>
                  </a:lnTo>
                  <a:lnTo>
                    <a:pt x="34" y="502"/>
                  </a:lnTo>
                  <a:lnTo>
                    <a:pt x="41" y="505"/>
                  </a:lnTo>
                  <a:lnTo>
                    <a:pt x="45" y="508"/>
                  </a:lnTo>
                  <a:lnTo>
                    <a:pt x="50" y="510"/>
                  </a:lnTo>
                  <a:lnTo>
                    <a:pt x="59" y="518"/>
                  </a:lnTo>
                  <a:lnTo>
                    <a:pt x="67" y="526"/>
                  </a:lnTo>
                  <a:lnTo>
                    <a:pt x="75" y="534"/>
                  </a:lnTo>
                  <a:lnTo>
                    <a:pt x="84" y="538"/>
                  </a:lnTo>
                  <a:lnTo>
                    <a:pt x="92" y="543"/>
                  </a:lnTo>
                  <a:lnTo>
                    <a:pt x="101" y="548"/>
                  </a:lnTo>
                  <a:lnTo>
                    <a:pt x="105" y="551"/>
                  </a:lnTo>
                  <a:lnTo>
                    <a:pt x="107" y="555"/>
                  </a:lnTo>
                  <a:lnTo>
                    <a:pt x="109" y="561"/>
                  </a:lnTo>
                  <a:lnTo>
                    <a:pt x="109" y="568"/>
                  </a:lnTo>
                  <a:lnTo>
                    <a:pt x="109" y="574"/>
                  </a:lnTo>
                  <a:lnTo>
                    <a:pt x="110" y="576"/>
                  </a:lnTo>
                  <a:lnTo>
                    <a:pt x="111" y="579"/>
                  </a:lnTo>
                  <a:lnTo>
                    <a:pt x="114" y="580"/>
                  </a:lnTo>
                  <a:lnTo>
                    <a:pt x="115" y="581"/>
                  </a:lnTo>
                  <a:lnTo>
                    <a:pt x="120" y="581"/>
                  </a:lnTo>
                  <a:lnTo>
                    <a:pt x="122" y="581"/>
                  </a:lnTo>
                  <a:lnTo>
                    <a:pt x="125" y="581"/>
                  </a:lnTo>
                  <a:lnTo>
                    <a:pt x="126" y="584"/>
                  </a:lnTo>
                  <a:lnTo>
                    <a:pt x="129" y="588"/>
                  </a:lnTo>
                  <a:lnTo>
                    <a:pt x="168" y="589"/>
                  </a:lnTo>
                  <a:lnTo>
                    <a:pt x="207" y="589"/>
                  </a:lnTo>
                  <a:lnTo>
                    <a:pt x="287" y="588"/>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Humboldt</a:t>
              </a:r>
            </a:p>
          </p:txBody>
        </p:sp>
        <p:sp>
          <p:nvSpPr>
            <p:cNvPr id="34" name="Lassen"/>
            <p:cNvSpPr>
              <a:spLocks/>
            </p:cNvSpPr>
            <p:nvPr/>
          </p:nvSpPr>
          <p:spPr bwMode="auto">
            <a:xfrm>
              <a:off x="2328597" y="2584638"/>
              <a:ext cx="936118" cy="1182340"/>
            </a:xfrm>
            <a:custGeom>
              <a:avLst/>
              <a:gdLst>
                <a:gd name="T0" fmla="*/ 2147483647 w 445"/>
                <a:gd name="T1" fmla="*/ 0 h 590"/>
                <a:gd name="T2" fmla="*/ 2147483647 w 445"/>
                <a:gd name="T3" fmla="*/ 2147483647 h 590"/>
                <a:gd name="T4" fmla="*/ 2147483647 w 445"/>
                <a:gd name="T5" fmla="*/ 2147483647 h 590"/>
                <a:gd name="T6" fmla="*/ 2147483647 w 445"/>
                <a:gd name="T7" fmla="*/ 2147483647 h 590"/>
                <a:gd name="T8" fmla="*/ 2147483647 w 445"/>
                <a:gd name="T9" fmla="*/ 2147483647 h 590"/>
                <a:gd name="T10" fmla="*/ 2147483647 w 445"/>
                <a:gd name="T11" fmla="*/ 2147483647 h 590"/>
                <a:gd name="T12" fmla="*/ 2147483647 w 445"/>
                <a:gd name="T13" fmla="*/ 2147483647 h 590"/>
                <a:gd name="T14" fmla="*/ 2147483647 w 445"/>
                <a:gd name="T15" fmla="*/ 2147483647 h 590"/>
                <a:gd name="T16" fmla="*/ 2147483647 w 445"/>
                <a:gd name="T17" fmla="*/ 2147483647 h 590"/>
                <a:gd name="T18" fmla="*/ 2147483647 w 445"/>
                <a:gd name="T19" fmla="*/ 2147483647 h 590"/>
                <a:gd name="T20" fmla="*/ 2147483647 w 445"/>
                <a:gd name="T21" fmla="*/ 2147483647 h 590"/>
                <a:gd name="T22" fmla="*/ 2147483647 w 445"/>
                <a:gd name="T23" fmla="*/ 2147483647 h 590"/>
                <a:gd name="T24" fmla="*/ 2147483647 w 445"/>
                <a:gd name="T25" fmla="*/ 2147483647 h 590"/>
                <a:gd name="T26" fmla="*/ 2147483647 w 445"/>
                <a:gd name="T27" fmla="*/ 2147483647 h 590"/>
                <a:gd name="T28" fmla="*/ 2147483647 w 445"/>
                <a:gd name="T29" fmla="*/ 2147483647 h 590"/>
                <a:gd name="T30" fmla="*/ 2147483647 w 445"/>
                <a:gd name="T31" fmla="*/ 2147483647 h 590"/>
                <a:gd name="T32" fmla="*/ 2147483647 w 445"/>
                <a:gd name="T33" fmla="*/ 2147483647 h 590"/>
                <a:gd name="T34" fmla="*/ 2147483647 w 445"/>
                <a:gd name="T35" fmla="*/ 2147483647 h 590"/>
                <a:gd name="T36" fmla="*/ 2147483647 w 445"/>
                <a:gd name="T37" fmla="*/ 2147483647 h 590"/>
                <a:gd name="T38" fmla="*/ 2147483647 w 445"/>
                <a:gd name="T39" fmla="*/ 2147483647 h 590"/>
                <a:gd name="T40" fmla="*/ 2147483647 w 445"/>
                <a:gd name="T41" fmla="*/ 2147483647 h 590"/>
                <a:gd name="T42" fmla="*/ 2147483647 w 445"/>
                <a:gd name="T43" fmla="*/ 2147483647 h 590"/>
                <a:gd name="T44" fmla="*/ 2147483647 w 445"/>
                <a:gd name="T45" fmla="*/ 2147483647 h 590"/>
                <a:gd name="T46" fmla="*/ 2147483647 w 445"/>
                <a:gd name="T47" fmla="*/ 2147483647 h 590"/>
                <a:gd name="T48" fmla="*/ 2147483647 w 445"/>
                <a:gd name="T49" fmla="*/ 2147483647 h 590"/>
                <a:gd name="T50" fmla="*/ 2147483647 w 445"/>
                <a:gd name="T51" fmla="*/ 2147483647 h 590"/>
                <a:gd name="T52" fmla="*/ 2147483647 w 445"/>
                <a:gd name="T53" fmla="*/ 2147483647 h 590"/>
                <a:gd name="T54" fmla="*/ 2147483647 w 445"/>
                <a:gd name="T55" fmla="*/ 2147483647 h 590"/>
                <a:gd name="T56" fmla="*/ 2147483647 w 445"/>
                <a:gd name="T57" fmla="*/ 2147483647 h 590"/>
                <a:gd name="T58" fmla="*/ 2147483647 w 445"/>
                <a:gd name="T59" fmla="*/ 2147483647 h 590"/>
                <a:gd name="T60" fmla="*/ 2147483647 w 445"/>
                <a:gd name="T61" fmla="*/ 2147483647 h 590"/>
                <a:gd name="T62" fmla="*/ 2147483647 w 445"/>
                <a:gd name="T63" fmla="*/ 2147483647 h 590"/>
                <a:gd name="T64" fmla="*/ 2147483647 w 445"/>
                <a:gd name="T65" fmla="*/ 2147483647 h 590"/>
                <a:gd name="T66" fmla="*/ 2147483647 w 445"/>
                <a:gd name="T67" fmla="*/ 2147483647 h 590"/>
                <a:gd name="T68" fmla="*/ 2147483647 w 445"/>
                <a:gd name="T69" fmla="*/ 2147483647 h 590"/>
                <a:gd name="T70" fmla="*/ 2147483647 w 445"/>
                <a:gd name="T71" fmla="*/ 2147483647 h 590"/>
                <a:gd name="T72" fmla="*/ 2147483647 w 445"/>
                <a:gd name="T73" fmla="*/ 2147483647 h 590"/>
                <a:gd name="T74" fmla="*/ 2147483647 w 445"/>
                <a:gd name="T75" fmla="*/ 2147483647 h 590"/>
                <a:gd name="T76" fmla="*/ 2147483647 w 445"/>
                <a:gd name="T77" fmla="*/ 2147483647 h 590"/>
                <a:gd name="T78" fmla="*/ 2147483647 w 445"/>
                <a:gd name="T79" fmla="*/ 2147483647 h 590"/>
                <a:gd name="T80" fmla="*/ 2147483647 w 445"/>
                <a:gd name="T81" fmla="*/ 2147483647 h 590"/>
                <a:gd name="T82" fmla="*/ 2147483647 w 445"/>
                <a:gd name="T83" fmla="*/ 2147483647 h 590"/>
                <a:gd name="T84" fmla="*/ 2147483647 w 445"/>
                <a:gd name="T85" fmla="*/ 2147483647 h 590"/>
                <a:gd name="T86" fmla="*/ 2147483647 w 445"/>
                <a:gd name="T87" fmla="*/ 2147483647 h 590"/>
                <a:gd name="T88" fmla="*/ 2147483647 w 445"/>
                <a:gd name="T89" fmla="*/ 2147483647 h 590"/>
                <a:gd name="T90" fmla="*/ 2147483647 w 445"/>
                <a:gd name="T91" fmla="*/ 2147483647 h 590"/>
                <a:gd name="T92" fmla="*/ 2147483647 w 445"/>
                <a:gd name="T93" fmla="*/ 2147483647 h 5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45" h="590">
                  <a:moveTo>
                    <a:pt x="445" y="2"/>
                  </a:moveTo>
                  <a:lnTo>
                    <a:pt x="222" y="0"/>
                  </a:lnTo>
                  <a:lnTo>
                    <a:pt x="111" y="0"/>
                  </a:lnTo>
                  <a:lnTo>
                    <a:pt x="0" y="0"/>
                  </a:lnTo>
                  <a:lnTo>
                    <a:pt x="2" y="70"/>
                  </a:lnTo>
                  <a:lnTo>
                    <a:pt x="3" y="139"/>
                  </a:lnTo>
                  <a:lnTo>
                    <a:pt x="5" y="207"/>
                  </a:lnTo>
                  <a:lnTo>
                    <a:pt x="3" y="279"/>
                  </a:lnTo>
                  <a:lnTo>
                    <a:pt x="1" y="279"/>
                  </a:lnTo>
                  <a:lnTo>
                    <a:pt x="1" y="295"/>
                  </a:lnTo>
                  <a:lnTo>
                    <a:pt x="89" y="295"/>
                  </a:lnTo>
                  <a:lnTo>
                    <a:pt x="91" y="305"/>
                  </a:lnTo>
                  <a:lnTo>
                    <a:pt x="91" y="328"/>
                  </a:lnTo>
                  <a:lnTo>
                    <a:pt x="92" y="370"/>
                  </a:lnTo>
                  <a:lnTo>
                    <a:pt x="96" y="370"/>
                  </a:lnTo>
                  <a:lnTo>
                    <a:pt x="96" y="373"/>
                  </a:lnTo>
                  <a:lnTo>
                    <a:pt x="96" y="377"/>
                  </a:lnTo>
                  <a:lnTo>
                    <a:pt x="97" y="378"/>
                  </a:lnTo>
                  <a:lnTo>
                    <a:pt x="99" y="380"/>
                  </a:lnTo>
                  <a:lnTo>
                    <a:pt x="104" y="380"/>
                  </a:lnTo>
                  <a:lnTo>
                    <a:pt x="111" y="380"/>
                  </a:lnTo>
                  <a:lnTo>
                    <a:pt x="111" y="386"/>
                  </a:lnTo>
                  <a:lnTo>
                    <a:pt x="118" y="386"/>
                  </a:lnTo>
                  <a:lnTo>
                    <a:pt x="126" y="387"/>
                  </a:lnTo>
                  <a:lnTo>
                    <a:pt x="132" y="390"/>
                  </a:lnTo>
                  <a:lnTo>
                    <a:pt x="133" y="391"/>
                  </a:lnTo>
                  <a:lnTo>
                    <a:pt x="134" y="393"/>
                  </a:lnTo>
                  <a:lnTo>
                    <a:pt x="136" y="396"/>
                  </a:lnTo>
                  <a:lnTo>
                    <a:pt x="137" y="397"/>
                  </a:lnTo>
                  <a:lnTo>
                    <a:pt x="143" y="397"/>
                  </a:lnTo>
                  <a:lnTo>
                    <a:pt x="154" y="393"/>
                  </a:lnTo>
                  <a:lnTo>
                    <a:pt x="153" y="378"/>
                  </a:lnTo>
                  <a:lnTo>
                    <a:pt x="159" y="378"/>
                  </a:lnTo>
                  <a:lnTo>
                    <a:pt x="159" y="371"/>
                  </a:lnTo>
                  <a:lnTo>
                    <a:pt x="166" y="372"/>
                  </a:lnTo>
                  <a:lnTo>
                    <a:pt x="166" y="365"/>
                  </a:lnTo>
                  <a:lnTo>
                    <a:pt x="169" y="365"/>
                  </a:lnTo>
                  <a:lnTo>
                    <a:pt x="173" y="363"/>
                  </a:lnTo>
                  <a:lnTo>
                    <a:pt x="177" y="358"/>
                  </a:lnTo>
                  <a:lnTo>
                    <a:pt x="181" y="355"/>
                  </a:lnTo>
                  <a:lnTo>
                    <a:pt x="183" y="355"/>
                  </a:lnTo>
                  <a:lnTo>
                    <a:pt x="186" y="355"/>
                  </a:lnTo>
                  <a:lnTo>
                    <a:pt x="187" y="352"/>
                  </a:lnTo>
                  <a:lnTo>
                    <a:pt x="188" y="348"/>
                  </a:lnTo>
                  <a:lnTo>
                    <a:pt x="201" y="348"/>
                  </a:lnTo>
                  <a:lnTo>
                    <a:pt x="199" y="352"/>
                  </a:lnTo>
                  <a:lnTo>
                    <a:pt x="213" y="351"/>
                  </a:lnTo>
                  <a:lnTo>
                    <a:pt x="221" y="352"/>
                  </a:lnTo>
                  <a:lnTo>
                    <a:pt x="223" y="352"/>
                  </a:lnTo>
                  <a:lnTo>
                    <a:pt x="224" y="353"/>
                  </a:lnTo>
                  <a:lnTo>
                    <a:pt x="225" y="356"/>
                  </a:lnTo>
                  <a:lnTo>
                    <a:pt x="229" y="357"/>
                  </a:lnTo>
                  <a:lnTo>
                    <a:pt x="233" y="358"/>
                  </a:lnTo>
                  <a:lnTo>
                    <a:pt x="237" y="358"/>
                  </a:lnTo>
                  <a:lnTo>
                    <a:pt x="238" y="361"/>
                  </a:lnTo>
                  <a:lnTo>
                    <a:pt x="240" y="362"/>
                  </a:lnTo>
                  <a:lnTo>
                    <a:pt x="245" y="363"/>
                  </a:lnTo>
                  <a:lnTo>
                    <a:pt x="248" y="363"/>
                  </a:lnTo>
                  <a:lnTo>
                    <a:pt x="250" y="365"/>
                  </a:lnTo>
                  <a:lnTo>
                    <a:pt x="252" y="366"/>
                  </a:lnTo>
                  <a:lnTo>
                    <a:pt x="252" y="371"/>
                  </a:lnTo>
                  <a:lnTo>
                    <a:pt x="259" y="372"/>
                  </a:lnTo>
                  <a:lnTo>
                    <a:pt x="269" y="375"/>
                  </a:lnTo>
                  <a:lnTo>
                    <a:pt x="273" y="377"/>
                  </a:lnTo>
                  <a:lnTo>
                    <a:pt x="275" y="380"/>
                  </a:lnTo>
                  <a:lnTo>
                    <a:pt x="278" y="383"/>
                  </a:lnTo>
                  <a:lnTo>
                    <a:pt x="279" y="387"/>
                  </a:lnTo>
                  <a:lnTo>
                    <a:pt x="284" y="390"/>
                  </a:lnTo>
                  <a:lnTo>
                    <a:pt x="289" y="395"/>
                  </a:lnTo>
                  <a:lnTo>
                    <a:pt x="294" y="400"/>
                  </a:lnTo>
                  <a:lnTo>
                    <a:pt x="295" y="406"/>
                  </a:lnTo>
                  <a:lnTo>
                    <a:pt x="299" y="406"/>
                  </a:lnTo>
                  <a:lnTo>
                    <a:pt x="304" y="409"/>
                  </a:lnTo>
                  <a:lnTo>
                    <a:pt x="309" y="413"/>
                  </a:lnTo>
                  <a:lnTo>
                    <a:pt x="314" y="417"/>
                  </a:lnTo>
                  <a:lnTo>
                    <a:pt x="317" y="422"/>
                  </a:lnTo>
                  <a:lnTo>
                    <a:pt x="320" y="424"/>
                  </a:lnTo>
                  <a:lnTo>
                    <a:pt x="324" y="427"/>
                  </a:lnTo>
                  <a:lnTo>
                    <a:pt x="324" y="428"/>
                  </a:lnTo>
                  <a:lnTo>
                    <a:pt x="334" y="429"/>
                  </a:lnTo>
                  <a:lnTo>
                    <a:pt x="347" y="431"/>
                  </a:lnTo>
                  <a:lnTo>
                    <a:pt x="353" y="431"/>
                  </a:lnTo>
                  <a:lnTo>
                    <a:pt x="358" y="433"/>
                  </a:lnTo>
                  <a:lnTo>
                    <a:pt x="360" y="436"/>
                  </a:lnTo>
                  <a:lnTo>
                    <a:pt x="362" y="441"/>
                  </a:lnTo>
                  <a:lnTo>
                    <a:pt x="363" y="443"/>
                  </a:lnTo>
                  <a:lnTo>
                    <a:pt x="364" y="443"/>
                  </a:lnTo>
                  <a:lnTo>
                    <a:pt x="365" y="442"/>
                  </a:lnTo>
                  <a:lnTo>
                    <a:pt x="368" y="443"/>
                  </a:lnTo>
                  <a:lnTo>
                    <a:pt x="368" y="451"/>
                  </a:lnTo>
                  <a:lnTo>
                    <a:pt x="373" y="451"/>
                  </a:lnTo>
                  <a:lnTo>
                    <a:pt x="375" y="456"/>
                  </a:lnTo>
                  <a:lnTo>
                    <a:pt x="377" y="461"/>
                  </a:lnTo>
                  <a:lnTo>
                    <a:pt x="378" y="466"/>
                  </a:lnTo>
                  <a:lnTo>
                    <a:pt x="378" y="471"/>
                  </a:lnTo>
                  <a:lnTo>
                    <a:pt x="381" y="469"/>
                  </a:lnTo>
                  <a:lnTo>
                    <a:pt x="381" y="474"/>
                  </a:lnTo>
                  <a:lnTo>
                    <a:pt x="386" y="474"/>
                  </a:lnTo>
                  <a:lnTo>
                    <a:pt x="386" y="481"/>
                  </a:lnTo>
                  <a:lnTo>
                    <a:pt x="389" y="481"/>
                  </a:lnTo>
                  <a:lnTo>
                    <a:pt x="389" y="487"/>
                  </a:lnTo>
                  <a:lnTo>
                    <a:pt x="391" y="486"/>
                  </a:lnTo>
                  <a:lnTo>
                    <a:pt x="391" y="489"/>
                  </a:lnTo>
                  <a:lnTo>
                    <a:pt x="395" y="492"/>
                  </a:lnTo>
                  <a:lnTo>
                    <a:pt x="399" y="494"/>
                  </a:lnTo>
                  <a:lnTo>
                    <a:pt x="401" y="498"/>
                  </a:lnTo>
                  <a:lnTo>
                    <a:pt x="405" y="499"/>
                  </a:lnTo>
                  <a:lnTo>
                    <a:pt x="406" y="501"/>
                  </a:lnTo>
                  <a:lnTo>
                    <a:pt x="409" y="503"/>
                  </a:lnTo>
                  <a:lnTo>
                    <a:pt x="409" y="512"/>
                  </a:lnTo>
                  <a:lnTo>
                    <a:pt x="408" y="525"/>
                  </a:lnTo>
                  <a:lnTo>
                    <a:pt x="409" y="549"/>
                  </a:lnTo>
                  <a:lnTo>
                    <a:pt x="409" y="563"/>
                  </a:lnTo>
                  <a:lnTo>
                    <a:pt x="408" y="568"/>
                  </a:lnTo>
                  <a:lnTo>
                    <a:pt x="406" y="569"/>
                  </a:lnTo>
                  <a:lnTo>
                    <a:pt x="405" y="570"/>
                  </a:lnTo>
                  <a:lnTo>
                    <a:pt x="404" y="572"/>
                  </a:lnTo>
                  <a:lnTo>
                    <a:pt x="400" y="578"/>
                  </a:lnTo>
                  <a:lnTo>
                    <a:pt x="398" y="584"/>
                  </a:lnTo>
                  <a:lnTo>
                    <a:pt x="396" y="590"/>
                  </a:lnTo>
                  <a:lnTo>
                    <a:pt x="418" y="590"/>
                  </a:lnTo>
                  <a:lnTo>
                    <a:pt x="439" y="590"/>
                  </a:lnTo>
                  <a:lnTo>
                    <a:pt x="439" y="588"/>
                  </a:lnTo>
                  <a:lnTo>
                    <a:pt x="440" y="587"/>
                  </a:lnTo>
                  <a:lnTo>
                    <a:pt x="443" y="585"/>
                  </a:lnTo>
                  <a:lnTo>
                    <a:pt x="445" y="587"/>
                  </a:lnTo>
                  <a:lnTo>
                    <a:pt x="445" y="570"/>
                  </a:lnTo>
                  <a:lnTo>
                    <a:pt x="445" y="557"/>
                  </a:lnTo>
                  <a:lnTo>
                    <a:pt x="445" y="456"/>
                  </a:lnTo>
                  <a:lnTo>
                    <a:pt x="445" y="352"/>
                  </a:lnTo>
                  <a:lnTo>
                    <a:pt x="445" y="325"/>
                  </a:lnTo>
                  <a:lnTo>
                    <a:pt x="445" y="296"/>
                  </a:lnTo>
                  <a:lnTo>
                    <a:pt x="444" y="241"/>
                  </a:lnTo>
                  <a:lnTo>
                    <a:pt x="445" y="229"/>
                  </a:lnTo>
                  <a:lnTo>
                    <a:pt x="444" y="214"/>
                  </a:lnTo>
                  <a:lnTo>
                    <a:pt x="445" y="181"/>
                  </a:lnTo>
                  <a:lnTo>
                    <a:pt x="445" y="159"/>
                  </a:lnTo>
                  <a:lnTo>
                    <a:pt x="444" y="78"/>
                  </a:lnTo>
                  <a:lnTo>
                    <a:pt x="445" y="40"/>
                  </a:lnTo>
                  <a:lnTo>
                    <a:pt x="445" y="3"/>
                  </a:lnTo>
                  <a:lnTo>
                    <a:pt x="445" y="2"/>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Lassen</a:t>
              </a:r>
            </a:p>
          </p:txBody>
        </p:sp>
        <p:sp>
          <p:nvSpPr>
            <p:cNvPr id="35" name="Modoc"/>
            <p:cNvSpPr>
              <a:spLocks/>
            </p:cNvSpPr>
            <p:nvPr/>
          </p:nvSpPr>
          <p:spPr bwMode="auto">
            <a:xfrm>
              <a:off x="2233926" y="1939363"/>
              <a:ext cx="1028679" cy="647280"/>
            </a:xfrm>
            <a:custGeom>
              <a:avLst/>
              <a:gdLst>
                <a:gd name="T0" fmla="*/ 0 w 489"/>
                <a:gd name="T1" fmla="*/ 2147483647 h 323"/>
                <a:gd name="T2" fmla="*/ 2147483647 w 489"/>
                <a:gd name="T3" fmla="*/ 2147483647 h 323"/>
                <a:gd name="T4" fmla="*/ 2147483647 w 489"/>
                <a:gd name="T5" fmla="*/ 2147483647 h 323"/>
                <a:gd name="T6" fmla="*/ 2147483647 w 489"/>
                <a:gd name="T7" fmla="*/ 2147483647 h 323"/>
                <a:gd name="T8" fmla="*/ 2147483647 w 489"/>
                <a:gd name="T9" fmla="*/ 2147483647 h 323"/>
                <a:gd name="T10" fmla="*/ 2147483647 w 489"/>
                <a:gd name="T11" fmla="*/ 2147483647 h 323"/>
                <a:gd name="T12" fmla="*/ 2147483647 w 489"/>
                <a:gd name="T13" fmla="*/ 2147483647 h 323"/>
                <a:gd name="T14" fmla="*/ 2147483647 w 489"/>
                <a:gd name="T15" fmla="*/ 2147483647 h 323"/>
                <a:gd name="T16" fmla="*/ 2147483647 w 489"/>
                <a:gd name="T17" fmla="*/ 2147483647 h 323"/>
                <a:gd name="T18" fmla="*/ 2147483647 w 489"/>
                <a:gd name="T19" fmla="*/ 2147483647 h 323"/>
                <a:gd name="T20" fmla="*/ 2147483647 w 489"/>
                <a:gd name="T21" fmla="*/ 2147483647 h 323"/>
                <a:gd name="T22" fmla="*/ 2147483647 w 489"/>
                <a:gd name="T23" fmla="*/ 2147483647 h 323"/>
                <a:gd name="T24" fmla="*/ 2147483647 w 489"/>
                <a:gd name="T25" fmla="*/ 2147483647 h 323"/>
                <a:gd name="T26" fmla="*/ 2147483647 w 489"/>
                <a:gd name="T27" fmla="*/ 2147483647 h 323"/>
                <a:gd name="T28" fmla="*/ 2147483647 w 489"/>
                <a:gd name="T29" fmla="*/ 2147483647 h 323"/>
                <a:gd name="T30" fmla="*/ 2147483647 w 489"/>
                <a:gd name="T31" fmla="*/ 2147483647 h 323"/>
                <a:gd name="T32" fmla="*/ 2147483647 w 489"/>
                <a:gd name="T33" fmla="*/ 0 h 323"/>
                <a:gd name="T34" fmla="*/ 2147483647 w 489"/>
                <a:gd name="T35" fmla="*/ 0 h 323"/>
                <a:gd name="T36" fmla="*/ 2147483647 w 489"/>
                <a:gd name="T37" fmla="*/ 2147483647 h 323"/>
                <a:gd name="T38" fmla="*/ 2147483647 w 489"/>
                <a:gd name="T39" fmla="*/ 2147483647 h 323"/>
                <a:gd name="T40" fmla="*/ 2147483647 w 489"/>
                <a:gd name="T41" fmla="*/ 0 h 323"/>
                <a:gd name="T42" fmla="*/ 2147483647 w 489"/>
                <a:gd name="T43" fmla="*/ 2147483647 h 323"/>
                <a:gd name="T44" fmla="*/ 2147483647 w 489"/>
                <a:gd name="T45" fmla="*/ 2147483647 h 323"/>
                <a:gd name="T46" fmla="*/ 0 w 489"/>
                <a:gd name="T47" fmla="*/ 2147483647 h 3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89" h="323">
                  <a:moveTo>
                    <a:pt x="0" y="87"/>
                  </a:moveTo>
                  <a:lnTo>
                    <a:pt x="1" y="88"/>
                  </a:lnTo>
                  <a:lnTo>
                    <a:pt x="3" y="91"/>
                  </a:lnTo>
                  <a:lnTo>
                    <a:pt x="4" y="102"/>
                  </a:lnTo>
                  <a:lnTo>
                    <a:pt x="4" y="138"/>
                  </a:lnTo>
                  <a:lnTo>
                    <a:pt x="3" y="202"/>
                  </a:lnTo>
                  <a:lnTo>
                    <a:pt x="3" y="321"/>
                  </a:lnTo>
                  <a:lnTo>
                    <a:pt x="43" y="321"/>
                  </a:lnTo>
                  <a:lnTo>
                    <a:pt x="154" y="321"/>
                  </a:lnTo>
                  <a:lnTo>
                    <a:pt x="265" y="321"/>
                  </a:lnTo>
                  <a:lnTo>
                    <a:pt x="488" y="323"/>
                  </a:lnTo>
                  <a:lnTo>
                    <a:pt x="488" y="240"/>
                  </a:lnTo>
                  <a:lnTo>
                    <a:pt x="488" y="193"/>
                  </a:lnTo>
                  <a:lnTo>
                    <a:pt x="488" y="156"/>
                  </a:lnTo>
                  <a:lnTo>
                    <a:pt x="489" y="99"/>
                  </a:lnTo>
                  <a:lnTo>
                    <a:pt x="489" y="81"/>
                  </a:lnTo>
                  <a:lnTo>
                    <a:pt x="489" y="0"/>
                  </a:lnTo>
                  <a:lnTo>
                    <a:pt x="488" y="0"/>
                  </a:lnTo>
                  <a:lnTo>
                    <a:pt x="406" y="1"/>
                  </a:lnTo>
                  <a:lnTo>
                    <a:pt x="190" y="1"/>
                  </a:lnTo>
                  <a:lnTo>
                    <a:pt x="4" y="0"/>
                  </a:lnTo>
                  <a:lnTo>
                    <a:pt x="3" y="42"/>
                  </a:lnTo>
                  <a:lnTo>
                    <a:pt x="1" y="87"/>
                  </a:lnTo>
                  <a:lnTo>
                    <a:pt x="0" y="87"/>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Modoc</a:t>
              </a:r>
            </a:p>
          </p:txBody>
        </p:sp>
        <p:sp>
          <p:nvSpPr>
            <p:cNvPr id="36" name="Del Norte"/>
            <p:cNvSpPr>
              <a:spLocks/>
            </p:cNvSpPr>
            <p:nvPr/>
          </p:nvSpPr>
          <p:spPr bwMode="auto">
            <a:xfrm>
              <a:off x="275442" y="1931347"/>
              <a:ext cx="509080" cy="496985"/>
            </a:xfrm>
            <a:custGeom>
              <a:avLst/>
              <a:gdLst>
                <a:gd name="T0" fmla="*/ 2147483647 w 241"/>
                <a:gd name="T1" fmla="*/ 2147483647 h 248"/>
                <a:gd name="T2" fmla="*/ 2147483647 w 241"/>
                <a:gd name="T3" fmla="*/ 2147483647 h 248"/>
                <a:gd name="T4" fmla="*/ 2147483647 w 241"/>
                <a:gd name="T5" fmla="*/ 2147483647 h 248"/>
                <a:gd name="T6" fmla="*/ 2147483647 w 241"/>
                <a:gd name="T7" fmla="*/ 2147483647 h 248"/>
                <a:gd name="T8" fmla="*/ 2147483647 w 241"/>
                <a:gd name="T9" fmla="*/ 2147483647 h 248"/>
                <a:gd name="T10" fmla="*/ 2147483647 w 241"/>
                <a:gd name="T11" fmla="*/ 2147483647 h 248"/>
                <a:gd name="T12" fmla="*/ 2147483647 w 241"/>
                <a:gd name="T13" fmla="*/ 2147483647 h 248"/>
                <a:gd name="T14" fmla="*/ 2147483647 w 241"/>
                <a:gd name="T15" fmla="*/ 2147483647 h 248"/>
                <a:gd name="T16" fmla="*/ 2147483647 w 241"/>
                <a:gd name="T17" fmla="*/ 2147483647 h 248"/>
                <a:gd name="T18" fmla="*/ 2147483647 w 241"/>
                <a:gd name="T19" fmla="*/ 2147483647 h 248"/>
                <a:gd name="T20" fmla="*/ 2147483647 w 241"/>
                <a:gd name="T21" fmla="*/ 2147483647 h 248"/>
                <a:gd name="T22" fmla="*/ 2147483647 w 241"/>
                <a:gd name="T23" fmla="*/ 2147483647 h 248"/>
                <a:gd name="T24" fmla="*/ 2147483647 w 241"/>
                <a:gd name="T25" fmla="*/ 2147483647 h 248"/>
                <a:gd name="T26" fmla="*/ 2147483647 w 241"/>
                <a:gd name="T27" fmla="*/ 2147483647 h 248"/>
                <a:gd name="T28" fmla="*/ 2147483647 w 241"/>
                <a:gd name="T29" fmla="*/ 2147483647 h 248"/>
                <a:gd name="T30" fmla="*/ 2147483647 w 241"/>
                <a:gd name="T31" fmla="*/ 2147483647 h 248"/>
                <a:gd name="T32" fmla="*/ 2147483647 w 241"/>
                <a:gd name="T33" fmla="*/ 2147483647 h 248"/>
                <a:gd name="T34" fmla="*/ 2147483647 w 241"/>
                <a:gd name="T35" fmla="*/ 2147483647 h 248"/>
                <a:gd name="T36" fmla="*/ 2147483647 w 241"/>
                <a:gd name="T37" fmla="*/ 2147483647 h 248"/>
                <a:gd name="T38" fmla="*/ 2147483647 w 241"/>
                <a:gd name="T39" fmla="*/ 2147483647 h 248"/>
                <a:gd name="T40" fmla="*/ 2147483647 w 241"/>
                <a:gd name="T41" fmla="*/ 2147483647 h 248"/>
                <a:gd name="T42" fmla="*/ 2147483647 w 241"/>
                <a:gd name="T43" fmla="*/ 2147483647 h 248"/>
                <a:gd name="T44" fmla="*/ 2147483647 w 241"/>
                <a:gd name="T45" fmla="*/ 2147483647 h 248"/>
                <a:gd name="T46" fmla="*/ 2147483647 w 241"/>
                <a:gd name="T47" fmla="*/ 2147483647 h 248"/>
                <a:gd name="T48" fmla="*/ 2147483647 w 241"/>
                <a:gd name="T49" fmla="*/ 2147483647 h 248"/>
                <a:gd name="T50" fmla="*/ 2147483647 w 241"/>
                <a:gd name="T51" fmla="*/ 2147483647 h 248"/>
                <a:gd name="T52" fmla="*/ 2147483647 w 241"/>
                <a:gd name="T53" fmla="*/ 2147483647 h 248"/>
                <a:gd name="T54" fmla="*/ 2147483647 w 241"/>
                <a:gd name="T55" fmla="*/ 2147483647 h 248"/>
                <a:gd name="T56" fmla="*/ 2147483647 w 241"/>
                <a:gd name="T57" fmla="*/ 2147483647 h 248"/>
                <a:gd name="T58" fmla="*/ 2147483647 w 241"/>
                <a:gd name="T59" fmla="*/ 2147483647 h 248"/>
                <a:gd name="T60" fmla="*/ 2147483647 w 241"/>
                <a:gd name="T61" fmla="*/ 0 h 248"/>
                <a:gd name="T62" fmla="*/ 2147483647 w 241"/>
                <a:gd name="T63" fmla="*/ 0 h 248"/>
                <a:gd name="T64" fmla="*/ 2147483647 w 241"/>
                <a:gd name="T65" fmla="*/ 2147483647 h 248"/>
                <a:gd name="T66" fmla="*/ 2147483647 w 241"/>
                <a:gd name="T67" fmla="*/ 2147483647 h 248"/>
                <a:gd name="T68" fmla="*/ 2147483647 w 241"/>
                <a:gd name="T69" fmla="*/ 0 h 248"/>
                <a:gd name="T70" fmla="*/ 2147483647 w 241"/>
                <a:gd name="T71" fmla="*/ 2147483647 h 248"/>
                <a:gd name="T72" fmla="*/ 2147483647 w 241"/>
                <a:gd name="T73" fmla="*/ 2147483647 h 248"/>
                <a:gd name="T74" fmla="*/ 2147483647 w 241"/>
                <a:gd name="T75" fmla="*/ 2147483647 h 248"/>
                <a:gd name="T76" fmla="*/ 2147483647 w 241"/>
                <a:gd name="T77" fmla="*/ 2147483647 h 248"/>
                <a:gd name="T78" fmla="*/ 2147483647 w 241"/>
                <a:gd name="T79" fmla="*/ 2147483647 h 248"/>
                <a:gd name="T80" fmla="*/ 2147483647 w 241"/>
                <a:gd name="T81" fmla="*/ 2147483647 h 248"/>
                <a:gd name="T82" fmla="*/ 2147483647 w 241"/>
                <a:gd name="T83" fmla="*/ 2147483647 h 248"/>
                <a:gd name="T84" fmla="*/ 2147483647 w 241"/>
                <a:gd name="T85" fmla="*/ 2147483647 h 248"/>
                <a:gd name="T86" fmla="*/ 2147483647 w 241"/>
                <a:gd name="T87" fmla="*/ 2147483647 h 248"/>
                <a:gd name="T88" fmla="*/ 2147483647 w 241"/>
                <a:gd name="T89" fmla="*/ 2147483647 h 248"/>
                <a:gd name="T90" fmla="*/ 2147483647 w 241"/>
                <a:gd name="T91" fmla="*/ 2147483647 h 248"/>
                <a:gd name="T92" fmla="*/ 2147483647 w 241"/>
                <a:gd name="T93" fmla="*/ 2147483647 h 248"/>
                <a:gd name="T94" fmla="*/ 2147483647 w 241"/>
                <a:gd name="T95" fmla="*/ 2147483647 h 248"/>
                <a:gd name="T96" fmla="*/ 2147483647 w 241"/>
                <a:gd name="T97" fmla="*/ 2147483647 h 248"/>
                <a:gd name="T98" fmla="*/ 2147483647 w 241"/>
                <a:gd name="T99" fmla="*/ 2147483647 h 248"/>
                <a:gd name="T100" fmla="*/ 2147483647 w 241"/>
                <a:gd name="T101" fmla="*/ 2147483647 h 248"/>
                <a:gd name="T102" fmla="*/ 2147483647 w 241"/>
                <a:gd name="T103" fmla="*/ 2147483647 h 248"/>
                <a:gd name="T104" fmla="*/ 2147483647 w 241"/>
                <a:gd name="T105" fmla="*/ 2147483647 h 248"/>
                <a:gd name="T106" fmla="*/ 2147483647 w 241"/>
                <a:gd name="T107" fmla="*/ 2147483647 h 248"/>
                <a:gd name="T108" fmla="*/ 2147483647 w 241"/>
                <a:gd name="T109" fmla="*/ 2147483647 h 248"/>
                <a:gd name="T110" fmla="*/ 2147483647 w 241"/>
                <a:gd name="T111" fmla="*/ 2147483647 h 248"/>
                <a:gd name="T112" fmla="*/ 2147483647 w 241"/>
                <a:gd name="T113" fmla="*/ 2147483647 h 248"/>
                <a:gd name="T114" fmla="*/ 2147483647 w 241"/>
                <a:gd name="T115" fmla="*/ 2147483647 h 248"/>
                <a:gd name="T116" fmla="*/ 2147483647 w 241"/>
                <a:gd name="T117" fmla="*/ 2147483647 h 2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41" h="248">
                  <a:moveTo>
                    <a:pt x="158" y="243"/>
                  </a:moveTo>
                  <a:lnTo>
                    <a:pt x="161" y="246"/>
                  </a:lnTo>
                  <a:lnTo>
                    <a:pt x="165" y="248"/>
                  </a:lnTo>
                  <a:lnTo>
                    <a:pt x="176" y="248"/>
                  </a:lnTo>
                  <a:lnTo>
                    <a:pt x="198" y="247"/>
                  </a:lnTo>
                  <a:lnTo>
                    <a:pt x="205" y="229"/>
                  </a:lnTo>
                  <a:lnTo>
                    <a:pt x="211" y="213"/>
                  </a:lnTo>
                  <a:lnTo>
                    <a:pt x="207" y="206"/>
                  </a:lnTo>
                  <a:lnTo>
                    <a:pt x="203" y="196"/>
                  </a:lnTo>
                  <a:lnTo>
                    <a:pt x="198" y="186"/>
                  </a:lnTo>
                  <a:lnTo>
                    <a:pt x="196" y="182"/>
                  </a:lnTo>
                  <a:lnTo>
                    <a:pt x="192" y="180"/>
                  </a:lnTo>
                  <a:lnTo>
                    <a:pt x="188" y="177"/>
                  </a:lnTo>
                  <a:lnTo>
                    <a:pt x="187" y="173"/>
                  </a:lnTo>
                  <a:lnTo>
                    <a:pt x="187" y="166"/>
                  </a:lnTo>
                  <a:lnTo>
                    <a:pt x="186" y="163"/>
                  </a:lnTo>
                  <a:lnTo>
                    <a:pt x="185" y="163"/>
                  </a:lnTo>
                  <a:lnTo>
                    <a:pt x="181" y="162"/>
                  </a:lnTo>
                  <a:lnTo>
                    <a:pt x="178" y="162"/>
                  </a:lnTo>
                  <a:lnTo>
                    <a:pt x="177" y="161"/>
                  </a:lnTo>
                  <a:lnTo>
                    <a:pt x="177" y="157"/>
                  </a:lnTo>
                  <a:lnTo>
                    <a:pt x="178" y="153"/>
                  </a:lnTo>
                  <a:lnTo>
                    <a:pt x="181" y="150"/>
                  </a:lnTo>
                  <a:lnTo>
                    <a:pt x="183" y="147"/>
                  </a:lnTo>
                  <a:lnTo>
                    <a:pt x="186" y="145"/>
                  </a:lnTo>
                  <a:lnTo>
                    <a:pt x="188" y="142"/>
                  </a:lnTo>
                  <a:lnTo>
                    <a:pt x="191" y="133"/>
                  </a:lnTo>
                  <a:lnTo>
                    <a:pt x="192" y="125"/>
                  </a:lnTo>
                  <a:lnTo>
                    <a:pt x="193" y="117"/>
                  </a:lnTo>
                  <a:lnTo>
                    <a:pt x="193" y="111"/>
                  </a:lnTo>
                  <a:lnTo>
                    <a:pt x="188" y="97"/>
                  </a:lnTo>
                  <a:lnTo>
                    <a:pt x="188" y="94"/>
                  </a:lnTo>
                  <a:lnTo>
                    <a:pt x="188" y="89"/>
                  </a:lnTo>
                  <a:lnTo>
                    <a:pt x="188" y="84"/>
                  </a:lnTo>
                  <a:lnTo>
                    <a:pt x="188" y="79"/>
                  </a:lnTo>
                  <a:lnTo>
                    <a:pt x="187" y="75"/>
                  </a:lnTo>
                  <a:lnTo>
                    <a:pt x="185" y="71"/>
                  </a:lnTo>
                  <a:lnTo>
                    <a:pt x="182" y="69"/>
                  </a:lnTo>
                  <a:lnTo>
                    <a:pt x="183" y="67"/>
                  </a:lnTo>
                  <a:lnTo>
                    <a:pt x="186" y="66"/>
                  </a:lnTo>
                  <a:lnTo>
                    <a:pt x="188" y="65"/>
                  </a:lnTo>
                  <a:lnTo>
                    <a:pt x="191" y="64"/>
                  </a:lnTo>
                  <a:lnTo>
                    <a:pt x="195" y="60"/>
                  </a:lnTo>
                  <a:lnTo>
                    <a:pt x="197" y="54"/>
                  </a:lnTo>
                  <a:lnTo>
                    <a:pt x="198" y="49"/>
                  </a:lnTo>
                  <a:lnTo>
                    <a:pt x="200" y="45"/>
                  </a:lnTo>
                  <a:lnTo>
                    <a:pt x="202" y="44"/>
                  </a:lnTo>
                  <a:lnTo>
                    <a:pt x="203" y="42"/>
                  </a:lnTo>
                  <a:lnTo>
                    <a:pt x="206" y="44"/>
                  </a:lnTo>
                  <a:lnTo>
                    <a:pt x="211" y="45"/>
                  </a:lnTo>
                  <a:lnTo>
                    <a:pt x="213" y="44"/>
                  </a:lnTo>
                  <a:lnTo>
                    <a:pt x="215" y="44"/>
                  </a:lnTo>
                  <a:lnTo>
                    <a:pt x="218" y="40"/>
                  </a:lnTo>
                  <a:lnTo>
                    <a:pt x="221" y="39"/>
                  </a:lnTo>
                  <a:lnTo>
                    <a:pt x="225" y="39"/>
                  </a:lnTo>
                  <a:lnTo>
                    <a:pt x="227" y="36"/>
                  </a:lnTo>
                  <a:lnTo>
                    <a:pt x="231" y="32"/>
                  </a:lnTo>
                  <a:lnTo>
                    <a:pt x="233" y="27"/>
                  </a:lnTo>
                  <a:lnTo>
                    <a:pt x="236" y="19"/>
                  </a:lnTo>
                  <a:lnTo>
                    <a:pt x="237" y="9"/>
                  </a:lnTo>
                  <a:lnTo>
                    <a:pt x="238" y="4"/>
                  </a:lnTo>
                  <a:lnTo>
                    <a:pt x="241" y="0"/>
                  </a:lnTo>
                  <a:lnTo>
                    <a:pt x="211" y="0"/>
                  </a:lnTo>
                  <a:lnTo>
                    <a:pt x="207" y="0"/>
                  </a:lnTo>
                  <a:lnTo>
                    <a:pt x="195" y="4"/>
                  </a:lnTo>
                  <a:lnTo>
                    <a:pt x="130" y="2"/>
                  </a:lnTo>
                  <a:lnTo>
                    <a:pt x="66" y="1"/>
                  </a:lnTo>
                  <a:lnTo>
                    <a:pt x="45" y="1"/>
                  </a:lnTo>
                  <a:lnTo>
                    <a:pt x="35" y="1"/>
                  </a:lnTo>
                  <a:lnTo>
                    <a:pt x="25" y="0"/>
                  </a:lnTo>
                  <a:lnTo>
                    <a:pt x="12" y="0"/>
                  </a:lnTo>
                  <a:lnTo>
                    <a:pt x="15" y="14"/>
                  </a:lnTo>
                  <a:lnTo>
                    <a:pt x="19" y="26"/>
                  </a:lnTo>
                  <a:lnTo>
                    <a:pt x="15" y="24"/>
                  </a:lnTo>
                  <a:lnTo>
                    <a:pt x="12" y="41"/>
                  </a:lnTo>
                  <a:lnTo>
                    <a:pt x="10" y="57"/>
                  </a:lnTo>
                  <a:lnTo>
                    <a:pt x="11" y="57"/>
                  </a:lnTo>
                  <a:lnTo>
                    <a:pt x="7" y="69"/>
                  </a:lnTo>
                  <a:lnTo>
                    <a:pt x="4" y="79"/>
                  </a:lnTo>
                  <a:lnTo>
                    <a:pt x="1" y="84"/>
                  </a:lnTo>
                  <a:lnTo>
                    <a:pt x="0" y="85"/>
                  </a:lnTo>
                  <a:lnTo>
                    <a:pt x="2" y="86"/>
                  </a:lnTo>
                  <a:lnTo>
                    <a:pt x="5" y="90"/>
                  </a:lnTo>
                  <a:lnTo>
                    <a:pt x="9" y="94"/>
                  </a:lnTo>
                  <a:lnTo>
                    <a:pt x="11" y="96"/>
                  </a:lnTo>
                  <a:lnTo>
                    <a:pt x="20" y="99"/>
                  </a:lnTo>
                  <a:lnTo>
                    <a:pt x="27" y="102"/>
                  </a:lnTo>
                  <a:lnTo>
                    <a:pt x="30" y="105"/>
                  </a:lnTo>
                  <a:lnTo>
                    <a:pt x="32" y="107"/>
                  </a:lnTo>
                  <a:lnTo>
                    <a:pt x="35" y="113"/>
                  </a:lnTo>
                  <a:lnTo>
                    <a:pt x="35" y="120"/>
                  </a:lnTo>
                  <a:lnTo>
                    <a:pt x="36" y="126"/>
                  </a:lnTo>
                  <a:lnTo>
                    <a:pt x="37" y="132"/>
                  </a:lnTo>
                  <a:lnTo>
                    <a:pt x="40" y="138"/>
                  </a:lnTo>
                  <a:lnTo>
                    <a:pt x="42" y="143"/>
                  </a:lnTo>
                  <a:lnTo>
                    <a:pt x="46" y="150"/>
                  </a:lnTo>
                  <a:lnTo>
                    <a:pt x="49" y="155"/>
                  </a:lnTo>
                  <a:lnTo>
                    <a:pt x="50" y="163"/>
                  </a:lnTo>
                  <a:lnTo>
                    <a:pt x="52" y="172"/>
                  </a:lnTo>
                  <a:lnTo>
                    <a:pt x="54" y="175"/>
                  </a:lnTo>
                  <a:lnTo>
                    <a:pt x="56" y="178"/>
                  </a:lnTo>
                  <a:lnTo>
                    <a:pt x="60" y="181"/>
                  </a:lnTo>
                  <a:lnTo>
                    <a:pt x="65" y="182"/>
                  </a:lnTo>
                  <a:lnTo>
                    <a:pt x="64" y="183"/>
                  </a:lnTo>
                  <a:lnTo>
                    <a:pt x="61" y="183"/>
                  </a:lnTo>
                  <a:lnTo>
                    <a:pt x="55" y="182"/>
                  </a:lnTo>
                  <a:lnTo>
                    <a:pt x="55" y="186"/>
                  </a:lnTo>
                  <a:lnTo>
                    <a:pt x="55" y="190"/>
                  </a:lnTo>
                  <a:lnTo>
                    <a:pt x="56" y="198"/>
                  </a:lnTo>
                  <a:lnTo>
                    <a:pt x="60" y="206"/>
                  </a:lnTo>
                  <a:lnTo>
                    <a:pt x="61" y="214"/>
                  </a:lnTo>
                  <a:lnTo>
                    <a:pt x="107" y="213"/>
                  </a:lnTo>
                  <a:lnTo>
                    <a:pt x="155" y="212"/>
                  </a:lnTo>
                  <a:lnTo>
                    <a:pt x="157" y="213"/>
                  </a:lnTo>
                  <a:lnTo>
                    <a:pt x="160" y="216"/>
                  </a:lnTo>
                  <a:lnTo>
                    <a:pt x="160" y="221"/>
                  </a:lnTo>
                  <a:lnTo>
                    <a:pt x="160" y="226"/>
                  </a:lnTo>
                  <a:lnTo>
                    <a:pt x="160" y="243"/>
                  </a:lnTo>
                  <a:lnTo>
                    <a:pt x="158" y="243"/>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Del</a:t>
              </a:r>
              <a:br>
                <a:rPr lang="en-US" sz="800" dirty="0">
                  <a:solidFill>
                    <a:prstClr val="black"/>
                  </a:solidFill>
                  <a:latin typeface="Franklin Gothic Book"/>
                  <a:ea typeface="MS PGothic" charset="0"/>
                  <a:cs typeface="MS PGothic" charset="0"/>
                </a:rPr>
              </a:br>
              <a:r>
                <a:rPr lang="en-US" sz="800" dirty="0">
                  <a:solidFill>
                    <a:prstClr val="black"/>
                  </a:solidFill>
                  <a:latin typeface="Franklin Gothic Book"/>
                  <a:ea typeface="MS PGothic" charset="0"/>
                  <a:cs typeface="MS PGothic" charset="0"/>
                </a:rPr>
                <a:t>Norte</a:t>
              </a:r>
            </a:p>
          </p:txBody>
        </p:sp>
        <p:sp>
          <p:nvSpPr>
            <p:cNvPr id="37" name="Mendocino"/>
            <p:cNvSpPr>
              <a:spLocks/>
            </p:cNvSpPr>
            <p:nvPr/>
          </p:nvSpPr>
          <p:spPr bwMode="auto">
            <a:xfrm>
              <a:off x="439525" y="3534519"/>
              <a:ext cx="843559" cy="997978"/>
            </a:xfrm>
            <a:custGeom>
              <a:avLst/>
              <a:gdLst>
                <a:gd name="T0" fmla="*/ 2147483647 w 401"/>
                <a:gd name="T1" fmla="*/ 2147483647 h 498"/>
                <a:gd name="T2" fmla="*/ 2147483647 w 401"/>
                <a:gd name="T3" fmla="*/ 2147483647 h 498"/>
                <a:gd name="T4" fmla="*/ 2147483647 w 401"/>
                <a:gd name="T5" fmla="*/ 2147483647 h 498"/>
                <a:gd name="T6" fmla="*/ 2147483647 w 401"/>
                <a:gd name="T7" fmla="*/ 2147483647 h 498"/>
                <a:gd name="T8" fmla="*/ 2147483647 w 401"/>
                <a:gd name="T9" fmla="*/ 2147483647 h 498"/>
                <a:gd name="T10" fmla="*/ 2147483647 w 401"/>
                <a:gd name="T11" fmla="*/ 2147483647 h 498"/>
                <a:gd name="T12" fmla="*/ 2147483647 w 401"/>
                <a:gd name="T13" fmla="*/ 2147483647 h 498"/>
                <a:gd name="T14" fmla="*/ 2147483647 w 401"/>
                <a:gd name="T15" fmla="*/ 2147483647 h 498"/>
                <a:gd name="T16" fmla="*/ 2147483647 w 401"/>
                <a:gd name="T17" fmla="*/ 2147483647 h 498"/>
                <a:gd name="T18" fmla="*/ 2147483647 w 401"/>
                <a:gd name="T19" fmla="*/ 2147483647 h 498"/>
                <a:gd name="T20" fmla="*/ 2147483647 w 401"/>
                <a:gd name="T21" fmla="*/ 2147483647 h 498"/>
                <a:gd name="T22" fmla="*/ 2147483647 w 401"/>
                <a:gd name="T23" fmla="*/ 2147483647 h 498"/>
                <a:gd name="T24" fmla="*/ 2147483647 w 401"/>
                <a:gd name="T25" fmla="*/ 2147483647 h 498"/>
                <a:gd name="T26" fmla="*/ 2147483647 w 401"/>
                <a:gd name="T27" fmla="*/ 2147483647 h 498"/>
                <a:gd name="T28" fmla="*/ 2147483647 w 401"/>
                <a:gd name="T29" fmla="*/ 2147483647 h 498"/>
                <a:gd name="T30" fmla="*/ 2147483647 w 401"/>
                <a:gd name="T31" fmla="*/ 2147483647 h 498"/>
                <a:gd name="T32" fmla="*/ 2147483647 w 401"/>
                <a:gd name="T33" fmla="*/ 2147483647 h 498"/>
                <a:gd name="T34" fmla="*/ 2147483647 w 401"/>
                <a:gd name="T35" fmla="*/ 2147483647 h 498"/>
                <a:gd name="T36" fmla="*/ 2147483647 w 401"/>
                <a:gd name="T37" fmla="*/ 2147483647 h 498"/>
                <a:gd name="T38" fmla="*/ 2147483647 w 401"/>
                <a:gd name="T39" fmla="*/ 2147483647 h 498"/>
                <a:gd name="T40" fmla="*/ 2147483647 w 401"/>
                <a:gd name="T41" fmla="*/ 2147483647 h 498"/>
                <a:gd name="T42" fmla="*/ 2147483647 w 401"/>
                <a:gd name="T43" fmla="*/ 2147483647 h 498"/>
                <a:gd name="T44" fmla="*/ 2147483647 w 401"/>
                <a:gd name="T45" fmla="*/ 2147483647 h 498"/>
                <a:gd name="T46" fmla="*/ 2147483647 w 401"/>
                <a:gd name="T47" fmla="*/ 2147483647 h 498"/>
                <a:gd name="T48" fmla="*/ 2147483647 w 401"/>
                <a:gd name="T49" fmla="*/ 2147483647 h 498"/>
                <a:gd name="T50" fmla="*/ 2147483647 w 401"/>
                <a:gd name="T51" fmla="*/ 2147483647 h 498"/>
                <a:gd name="T52" fmla="*/ 2147483647 w 401"/>
                <a:gd name="T53" fmla="*/ 2147483647 h 498"/>
                <a:gd name="T54" fmla="*/ 2147483647 w 401"/>
                <a:gd name="T55" fmla="*/ 2147483647 h 498"/>
                <a:gd name="T56" fmla="*/ 2147483647 w 401"/>
                <a:gd name="T57" fmla="*/ 2147483647 h 498"/>
                <a:gd name="T58" fmla="*/ 2147483647 w 401"/>
                <a:gd name="T59" fmla="*/ 2147483647 h 498"/>
                <a:gd name="T60" fmla="*/ 2147483647 w 401"/>
                <a:gd name="T61" fmla="*/ 2147483647 h 498"/>
                <a:gd name="T62" fmla="*/ 2147483647 w 401"/>
                <a:gd name="T63" fmla="*/ 2147483647 h 498"/>
                <a:gd name="T64" fmla="*/ 2147483647 w 401"/>
                <a:gd name="T65" fmla="*/ 2147483647 h 498"/>
                <a:gd name="T66" fmla="*/ 2147483647 w 401"/>
                <a:gd name="T67" fmla="*/ 2147483647 h 498"/>
                <a:gd name="T68" fmla="*/ 2147483647 w 401"/>
                <a:gd name="T69" fmla="*/ 2147483647 h 498"/>
                <a:gd name="T70" fmla="*/ 2147483647 w 401"/>
                <a:gd name="T71" fmla="*/ 2147483647 h 498"/>
                <a:gd name="T72" fmla="*/ 2147483647 w 401"/>
                <a:gd name="T73" fmla="*/ 2147483647 h 498"/>
                <a:gd name="T74" fmla="*/ 2147483647 w 401"/>
                <a:gd name="T75" fmla="*/ 2147483647 h 498"/>
                <a:gd name="T76" fmla="*/ 2147483647 w 401"/>
                <a:gd name="T77" fmla="*/ 2147483647 h 498"/>
                <a:gd name="T78" fmla="*/ 2147483647 w 401"/>
                <a:gd name="T79" fmla="*/ 2147483647 h 498"/>
                <a:gd name="T80" fmla="*/ 2147483647 w 401"/>
                <a:gd name="T81" fmla="*/ 2147483647 h 498"/>
                <a:gd name="T82" fmla="*/ 2147483647 w 401"/>
                <a:gd name="T83" fmla="*/ 2147483647 h 498"/>
                <a:gd name="T84" fmla="*/ 2147483647 w 401"/>
                <a:gd name="T85" fmla="*/ 2147483647 h 498"/>
                <a:gd name="T86" fmla="*/ 2147483647 w 401"/>
                <a:gd name="T87" fmla="*/ 2147483647 h 498"/>
                <a:gd name="T88" fmla="*/ 2147483647 w 401"/>
                <a:gd name="T89" fmla="*/ 2147483647 h 498"/>
                <a:gd name="T90" fmla="*/ 2147483647 w 401"/>
                <a:gd name="T91" fmla="*/ 2147483647 h 498"/>
                <a:gd name="T92" fmla="*/ 2147483647 w 401"/>
                <a:gd name="T93" fmla="*/ 2147483647 h 498"/>
                <a:gd name="T94" fmla="*/ 2147483647 w 401"/>
                <a:gd name="T95" fmla="*/ 2147483647 h 498"/>
                <a:gd name="T96" fmla="*/ 2147483647 w 401"/>
                <a:gd name="T97" fmla="*/ 2147483647 h 498"/>
                <a:gd name="T98" fmla="*/ 2147483647 w 401"/>
                <a:gd name="T99" fmla="*/ 2147483647 h 498"/>
                <a:gd name="T100" fmla="*/ 2147483647 w 401"/>
                <a:gd name="T101" fmla="*/ 2147483647 h 4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01" h="498">
                  <a:moveTo>
                    <a:pt x="216" y="490"/>
                  </a:moveTo>
                  <a:lnTo>
                    <a:pt x="215" y="487"/>
                  </a:lnTo>
                  <a:lnTo>
                    <a:pt x="216" y="484"/>
                  </a:lnTo>
                  <a:lnTo>
                    <a:pt x="216" y="482"/>
                  </a:lnTo>
                  <a:lnTo>
                    <a:pt x="219" y="479"/>
                  </a:lnTo>
                  <a:lnTo>
                    <a:pt x="224" y="477"/>
                  </a:lnTo>
                  <a:lnTo>
                    <a:pt x="231" y="475"/>
                  </a:lnTo>
                  <a:lnTo>
                    <a:pt x="247" y="477"/>
                  </a:lnTo>
                  <a:lnTo>
                    <a:pt x="261" y="478"/>
                  </a:lnTo>
                  <a:lnTo>
                    <a:pt x="294" y="478"/>
                  </a:lnTo>
                  <a:lnTo>
                    <a:pt x="294" y="477"/>
                  </a:lnTo>
                  <a:lnTo>
                    <a:pt x="295" y="475"/>
                  </a:lnTo>
                  <a:lnTo>
                    <a:pt x="295" y="472"/>
                  </a:lnTo>
                  <a:lnTo>
                    <a:pt x="295" y="468"/>
                  </a:lnTo>
                  <a:lnTo>
                    <a:pt x="295" y="467"/>
                  </a:lnTo>
                  <a:lnTo>
                    <a:pt x="296" y="467"/>
                  </a:lnTo>
                  <a:lnTo>
                    <a:pt x="304" y="467"/>
                  </a:lnTo>
                  <a:lnTo>
                    <a:pt x="311" y="465"/>
                  </a:lnTo>
                  <a:lnTo>
                    <a:pt x="312" y="465"/>
                  </a:lnTo>
                  <a:lnTo>
                    <a:pt x="312" y="463"/>
                  </a:lnTo>
                  <a:lnTo>
                    <a:pt x="312" y="462"/>
                  </a:lnTo>
                  <a:lnTo>
                    <a:pt x="316" y="461"/>
                  </a:lnTo>
                  <a:lnTo>
                    <a:pt x="342" y="462"/>
                  </a:lnTo>
                  <a:lnTo>
                    <a:pt x="401" y="463"/>
                  </a:lnTo>
                  <a:lnTo>
                    <a:pt x="401" y="459"/>
                  </a:lnTo>
                  <a:lnTo>
                    <a:pt x="392" y="458"/>
                  </a:lnTo>
                  <a:lnTo>
                    <a:pt x="390" y="456"/>
                  </a:lnTo>
                  <a:lnTo>
                    <a:pt x="386" y="453"/>
                  </a:lnTo>
                  <a:lnTo>
                    <a:pt x="382" y="454"/>
                  </a:lnTo>
                  <a:lnTo>
                    <a:pt x="380" y="451"/>
                  </a:lnTo>
                  <a:lnTo>
                    <a:pt x="376" y="446"/>
                  </a:lnTo>
                  <a:lnTo>
                    <a:pt x="368" y="439"/>
                  </a:lnTo>
                  <a:lnTo>
                    <a:pt x="358" y="439"/>
                  </a:lnTo>
                  <a:lnTo>
                    <a:pt x="358" y="437"/>
                  </a:lnTo>
                  <a:lnTo>
                    <a:pt x="358" y="434"/>
                  </a:lnTo>
                  <a:lnTo>
                    <a:pt x="357" y="432"/>
                  </a:lnTo>
                  <a:lnTo>
                    <a:pt x="355" y="431"/>
                  </a:lnTo>
                  <a:lnTo>
                    <a:pt x="355" y="428"/>
                  </a:lnTo>
                  <a:lnTo>
                    <a:pt x="351" y="428"/>
                  </a:lnTo>
                  <a:lnTo>
                    <a:pt x="348" y="416"/>
                  </a:lnTo>
                  <a:lnTo>
                    <a:pt x="347" y="409"/>
                  </a:lnTo>
                  <a:lnTo>
                    <a:pt x="346" y="407"/>
                  </a:lnTo>
                  <a:lnTo>
                    <a:pt x="345" y="407"/>
                  </a:lnTo>
                  <a:lnTo>
                    <a:pt x="343" y="406"/>
                  </a:lnTo>
                  <a:lnTo>
                    <a:pt x="343" y="404"/>
                  </a:lnTo>
                  <a:lnTo>
                    <a:pt x="342" y="402"/>
                  </a:lnTo>
                  <a:lnTo>
                    <a:pt x="337" y="401"/>
                  </a:lnTo>
                  <a:lnTo>
                    <a:pt x="332" y="401"/>
                  </a:lnTo>
                  <a:lnTo>
                    <a:pt x="331" y="399"/>
                  </a:lnTo>
                  <a:lnTo>
                    <a:pt x="331" y="397"/>
                  </a:lnTo>
                  <a:lnTo>
                    <a:pt x="327" y="397"/>
                  </a:lnTo>
                  <a:lnTo>
                    <a:pt x="325" y="394"/>
                  </a:lnTo>
                  <a:lnTo>
                    <a:pt x="324" y="391"/>
                  </a:lnTo>
                  <a:lnTo>
                    <a:pt x="321" y="382"/>
                  </a:lnTo>
                  <a:lnTo>
                    <a:pt x="320" y="379"/>
                  </a:lnTo>
                  <a:lnTo>
                    <a:pt x="317" y="377"/>
                  </a:lnTo>
                  <a:lnTo>
                    <a:pt x="311" y="372"/>
                  </a:lnTo>
                  <a:lnTo>
                    <a:pt x="309" y="372"/>
                  </a:lnTo>
                  <a:lnTo>
                    <a:pt x="309" y="363"/>
                  </a:lnTo>
                  <a:lnTo>
                    <a:pt x="311" y="355"/>
                  </a:lnTo>
                  <a:lnTo>
                    <a:pt x="314" y="346"/>
                  </a:lnTo>
                  <a:lnTo>
                    <a:pt x="315" y="338"/>
                  </a:lnTo>
                  <a:lnTo>
                    <a:pt x="316" y="335"/>
                  </a:lnTo>
                  <a:lnTo>
                    <a:pt x="317" y="332"/>
                  </a:lnTo>
                  <a:lnTo>
                    <a:pt x="320" y="331"/>
                  </a:lnTo>
                  <a:lnTo>
                    <a:pt x="324" y="330"/>
                  </a:lnTo>
                  <a:lnTo>
                    <a:pt x="325" y="328"/>
                  </a:lnTo>
                  <a:lnTo>
                    <a:pt x="325" y="327"/>
                  </a:lnTo>
                  <a:lnTo>
                    <a:pt x="326" y="323"/>
                  </a:lnTo>
                  <a:lnTo>
                    <a:pt x="327" y="320"/>
                  </a:lnTo>
                  <a:lnTo>
                    <a:pt x="330" y="316"/>
                  </a:lnTo>
                  <a:lnTo>
                    <a:pt x="334" y="315"/>
                  </a:lnTo>
                  <a:lnTo>
                    <a:pt x="334" y="312"/>
                  </a:lnTo>
                  <a:lnTo>
                    <a:pt x="336" y="312"/>
                  </a:lnTo>
                  <a:lnTo>
                    <a:pt x="337" y="311"/>
                  </a:lnTo>
                  <a:lnTo>
                    <a:pt x="337" y="310"/>
                  </a:lnTo>
                  <a:lnTo>
                    <a:pt x="337" y="307"/>
                  </a:lnTo>
                  <a:lnTo>
                    <a:pt x="342" y="307"/>
                  </a:lnTo>
                  <a:lnTo>
                    <a:pt x="343" y="303"/>
                  </a:lnTo>
                  <a:lnTo>
                    <a:pt x="343" y="301"/>
                  </a:lnTo>
                  <a:lnTo>
                    <a:pt x="342" y="300"/>
                  </a:lnTo>
                  <a:lnTo>
                    <a:pt x="338" y="300"/>
                  </a:lnTo>
                  <a:lnTo>
                    <a:pt x="338" y="292"/>
                  </a:lnTo>
                  <a:lnTo>
                    <a:pt x="337" y="285"/>
                  </a:lnTo>
                  <a:lnTo>
                    <a:pt x="332" y="270"/>
                  </a:lnTo>
                  <a:lnTo>
                    <a:pt x="330" y="267"/>
                  </a:lnTo>
                  <a:lnTo>
                    <a:pt x="329" y="263"/>
                  </a:lnTo>
                  <a:lnTo>
                    <a:pt x="326" y="252"/>
                  </a:lnTo>
                  <a:lnTo>
                    <a:pt x="324" y="242"/>
                  </a:lnTo>
                  <a:lnTo>
                    <a:pt x="321" y="239"/>
                  </a:lnTo>
                  <a:lnTo>
                    <a:pt x="319" y="237"/>
                  </a:lnTo>
                  <a:lnTo>
                    <a:pt x="317" y="236"/>
                  </a:lnTo>
                  <a:lnTo>
                    <a:pt x="316" y="231"/>
                  </a:lnTo>
                  <a:lnTo>
                    <a:pt x="317" y="219"/>
                  </a:lnTo>
                  <a:lnTo>
                    <a:pt x="319" y="212"/>
                  </a:lnTo>
                  <a:lnTo>
                    <a:pt x="321" y="206"/>
                  </a:lnTo>
                  <a:lnTo>
                    <a:pt x="322" y="202"/>
                  </a:lnTo>
                  <a:lnTo>
                    <a:pt x="324" y="201"/>
                  </a:lnTo>
                  <a:lnTo>
                    <a:pt x="326" y="201"/>
                  </a:lnTo>
                  <a:lnTo>
                    <a:pt x="325" y="197"/>
                  </a:lnTo>
                  <a:lnTo>
                    <a:pt x="345" y="195"/>
                  </a:lnTo>
                  <a:lnTo>
                    <a:pt x="357" y="194"/>
                  </a:lnTo>
                  <a:lnTo>
                    <a:pt x="361" y="192"/>
                  </a:lnTo>
                  <a:lnTo>
                    <a:pt x="362" y="191"/>
                  </a:lnTo>
                  <a:lnTo>
                    <a:pt x="362" y="190"/>
                  </a:lnTo>
                  <a:lnTo>
                    <a:pt x="365" y="189"/>
                  </a:lnTo>
                  <a:lnTo>
                    <a:pt x="370" y="189"/>
                  </a:lnTo>
                  <a:lnTo>
                    <a:pt x="376" y="190"/>
                  </a:lnTo>
                  <a:lnTo>
                    <a:pt x="377" y="189"/>
                  </a:lnTo>
                  <a:lnTo>
                    <a:pt x="378" y="186"/>
                  </a:lnTo>
                  <a:lnTo>
                    <a:pt x="378" y="169"/>
                  </a:lnTo>
                  <a:lnTo>
                    <a:pt x="378" y="140"/>
                  </a:lnTo>
                  <a:lnTo>
                    <a:pt x="377" y="124"/>
                  </a:lnTo>
                  <a:lnTo>
                    <a:pt x="376" y="119"/>
                  </a:lnTo>
                  <a:lnTo>
                    <a:pt x="375" y="116"/>
                  </a:lnTo>
                  <a:lnTo>
                    <a:pt x="373" y="116"/>
                  </a:lnTo>
                  <a:lnTo>
                    <a:pt x="371" y="115"/>
                  </a:lnTo>
                  <a:lnTo>
                    <a:pt x="371" y="114"/>
                  </a:lnTo>
                  <a:lnTo>
                    <a:pt x="371" y="109"/>
                  </a:lnTo>
                  <a:lnTo>
                    <a:pt x="371" y="106"/>
                  </a:lnTo>
                  <a:lnTo>
                    <a:pt x="370" y="104"/>
                  </a:lnTo>
                  <a:lnTo>
                    <a:pt x="368" y="103"/>
                  </a:lnTo>
                  <a:lnTo>
                    <a:pt x="365" y="101"/>
                  </a:lnTo>
                  <a:lnTo>
                    <a:pt x="363" y="101"/>
                  </a:lnTo>
                  <a:lnTo>
                    <a:pt x="362" y="99"/>
                  </a:lnTo>
                  <a:lnTo>
                    <a:pt x="362" y="94"/>
                  </a:lnTo>
                  <a:lnTo>
                    <a:pt x="362" y="81"/>
                  </a:lnTo>
                  <a:lnTo>
                    <a:pt x="356" y="63"/>
                  </a:lnTo>
                  <a:lnTo>
                    <a:pt x="355" y="53"/>
                  </a:lnTo>
                  <a:lnTo>
                    <a:pt x="356" y="48"/>
                  </a:lnTo>
                  <a:lnTo>
                    <a:pt x="357" y="43"/>
                  </a:lnTo>
                  <a:lnTo>
                    <a:pt x="362" y="34"/>
                  </a:lnTo>
                  <a:lnTo>
                    <a:pt x="365" y="27"/>
                  </a:lnTo>
                  <a:lnTo>
                    <a:pt x="365" y="23"/>
                  </a:lnTo>
                  <a:lnTo>
                    <a:pt x="365" y="19"/>
                  </a:lnTo>
                  <a:lnTo>
                    <a:pt x="360" y="8"/>
                  </a:lnTo>
                  <a:lnTo>
                    <a:pt x="335" y="10"/>
                  </a:lnTo>
                  <a:lnTo>
                    <a:pt x="309" y="10"/>
                  </a:lnTo>
                  <a:lnTo>
                    <a:pt x="257" y="9"/>
                  </a:lnTo>
                  <a:lnTo>
                    <a:pt x="197" y="9"/>
                  </a:lnTo>
                  <a:lnTo>
                    <a:pt x="187" y="9"/>
                  </a:lnTo>
                  <a:lnTo>
                    <a:pt x="174" y="9"/>
                  </a:lnTo>
                  <a:lnTo>
                    <a:pt x="168" y="9"/>
                  </a:lnTo>
                  <a:lnTo>
                    <a:pt x="163" y="8"/>
                  </a:lnTo>
                  <a:lnTo>
                    <a:pt x="159" y="4"/>
                  </a:lnTo>
                  <a:lnTo>
                    <a:pt x="158" y="3"/>
                  </a:lnTo>
                  <a:lnTo>
                    <a:pt x="159" y="0"/>
                  </a:lnTo>
                  <a:lnTo>
                    <a:pt x="79" y="2"/>
                  </a:lnTo>
                  <a:lnTo>
                    <a:pt x="40" y="2"/>
                  </a:lnTo>
                  <a:lnTo>
                    <a:pt x="0" y="0"/>
                  </a:lnTo>
                  <a:lnTo>
                    <a:pt x="25" y="32"/>
                  </a:lnTo>
                  <a:lnTo>
                    <a:pt x="48" y="63"/>
                  </a:lnTo>
                  <a:lnTo>
                    <a:pt x="51" y="66"/>
                  </a:lnTo>
                  <a:lnTo>
                    <a:pt x="54" y="69"/>
                  </a:lnTo>
                  <a:lnTo>
                    <a:pt x="58" y="71"/>
                  </a:lnTo>
                  <a:lnTo>
                    <a:pt x="60" y="76"/>
                  </a:lnTo>
                  <a:lnTo>
                    <a:pt x="61" y="83"/>
                  </a:lnTo>
                  <a:lnTo>
                    <a:pt x="61" y="90"/>
                  </a:lnTo>
                  <a:lnTo>
                    <a:pt x="63" y="103"/>
                  </a:lnTo>
                  <a:lnTo>
                    <a:pt x="64" y="108"/>
                  </a:lnTo>
                  <a:lnTo>
                    <a:pt x="65" y="111"/>
                  </a:lnTo>
                  <a:lnTo>
                    <a:pt x="70" y="119"/>
                  </a:lnTo>
                  <a:lnTo>
                    <a:pt x="74" y="126"/>
                  </a:lnTo>
                  <a:lnTo>
                    <a:pt x="76" y="131"/>
                  </a:lnTo>
                  <a:lnTo>
                    <a:pt x="78" y="136"/>
                  </a:lnTo>
                  <a:lnTo>
                    <a:pt x="78" y="145"/>
                  </a:lnTo>
                  <a:lnTo>
                    <a:pt x="78" y="154"/>
                  </a:lnTo>
                  <a:lnTo>
                    <a:pt x="79" y="162"/>
                  </a:lnTo>
                  <a:lnTo>
                    <a:pt x="81" y="170"/>
                  </a:lnTo>
                  <a:lnTo>
                    <a:pt x="83" y="174"/>
                  </a:lnTo>
                  <a:lnTo>
                    <a:pt x="84" y="177"/>
                  </a:lnTo>
                  <a:lnTo>
                    <a:pt x="83" y="185"/>
                  </a:lnTo>
                  <a:lnTo>
                    <a:pt x="78" y="200"/>
                  </a:lnTo>
                  <a:lnTo>
                    <a:pt x="70" y="221"/>
                  </a:lnTo>
                  <a:lnTo>
                    <a:pt x="69" y="231"/>
                  </a:lnTo>
                  <a:lnTo>
                    <a:pt x="68" y="242"/>
                  </a:lnTo>
                  <a:lnTo>
                    <a:pt x="68" y="261"/>
                  </a:lnTo>
                  <a:lnTo>
                    <a:pt x="70" y="278"/>
                  </a:lnTo>
                  <a:lnTo>
                    <a:pt x="78" y="301"/>
                  </a:lnTo>
                  <a:lnTo>
                    <a:pt x="86" y="323"/>
                  </a:lnTo>
                  <a:lnTo>
                    <a:pt x="99" y="348"/>
                  </a:lnTo>
                  <a:lnTo>
                    <a:pt x="104" y="362"/>
                  </a:lnTo>
                  <a:lnTo>
                    <a:pt x="108" y="376"/>
                  </a:lnTo>
                  <a:lnTo>
                    <a:pt x="108" y="384"/>
                  </a:lnTo>
                  <a:lnTo>
                    <a:pt x="108" y="393"/>
                  </a:lnTo>
                  <a:lnTo>
                    <a:pt x="104" y="409"/>
                  </a:lnTo>
                  <a:lnTo>
                    <a:pt x="103" y="413"/>
                  </a:lnTo>
                  <a:lnTo>
                    <a:pt x="101" y="416"/>
                  </a:lnTo>
                  <a:lnTo>
                    <a:pt x="98" y="418"/>
                  </a:lnTo>
                  <a:lnTo>
                    <a:pt x="96" y="419"/>
                  </a:lnTo>
                  <a:lnTo>
                    <a:pt x="95" y="421"/>
                  </a:lnTo>
                  <a:lnTo>
                    <a:pt x="95" y="423"/>
                  </a:lnTo>
                  <a:lnTo>
                    <a:pt x="96" y="428"/>
                  </a:lnTo>
                  <a:lnTo>
                    <a:pt x="98" y="432"/>
                  </a:lnTo>
                  <a:lnTo>
                    <a:pt x="101" y="438"/>
                  </a:lnTo>
                  <a:lnTo>
                    <a:pt x="111" y="452"/>
                  </a:lnTo>
                  <a:lnTo>
                    <a:pt x="123" y="463"/>
                  </a:lnTo>
                  <a:lnTo>
                    <a:pt x="131" y="472"/>
                  </a:lnTo>
                  <a:lnTo>
                    <a:pt x="140" y="477"/>
                  </a:lnTo>
                  <a:lnTo>
                    <a:pt x="148" y="484"/>
                  </a:lnTo>
                  <a:lnTo>
                    <a:pt x="163" y="498"/>
                  </a:lnTo>
                  <a:lnTo>
                    <a:pt x="169" y="495"/>
                  </a:lnTo>
                  <a:lnTo>
                    <a:pt x="175" y="493"/>
                  </a:lnTo>
                  <a:lnTo>
                    <a:pt x="187" y="490"/>
                  </a:lnTo>
                  <a:lnTo>
                    <a:pt x="201" y="490"/>
                  </a:lnTo>
                  <a:lnTo>
                    <a:pt x="215" y="490"/>
                  </a:lnTo>
                  <a:lnTo>
                    <a:pt x="216" y="490"/>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Mendocino</a:t>
              </a:r>
            </a:p>
          </p:txBody>
        </p:sp>
        <p:sp>
          <p:nvSpPr>
            <p:cNvPr id="38" name="Siskiyou"/>
            <p:cNvSpPr>
              <a:spLocks/>
            </p:cNvSpPr>
            <p:nvPr/>
          </p:nvSpPr>
          <p:spPr bwMode="auto">
            <a:xfrm>
              <a:off x="647787" y="1931345"/>
              <a:ext cx="1596661" cy="809602"/>
            </a:xfrm>
            <a:custGeom>
              <a:avLst/>
              <a:gdLst>
                <a:gd name="T0" fmla="*/ 2147483647 w 759"/>
                <a:gd name="T1" fmla="*/ 2147483647 h 404"/>
                <a:gd name="T2" fmla="*/ 2147483647 w 759"/>
                <a:gd name="T3" fmla="*/ 2147483647 h 404"/>
                <a:gd name="T4" fmla="*/ 2147483647 w 759"/>
                <a:gd name="T5" fmla="*/ 2147483647 h 404"/>
                <a:gd name="T6" fmla="*/ 2147483647 w 759"/>
                <a:gd name="T7" fmla="*/ 2147483647 h 404"/>
                <a:gd name="T8" fmla="*/ 2147483647 w 759"/>
                <a:gd name="T9" fmla="*/ 2147483647 h 404"/>
                <a:gd name="T10" fmla="*/ 2147483647 w 759"/>
                <a:gd name="T11" fmla="*/ 2147483647 h 404"/>
                <a:gd name="T12" fmla="*/ 2147483647 w 759"/>
                <a:gd name="T13" fmla="*/ 2147483647 h 404"/>
                <a:gd name="T14" fmla="*/ 2147483647 w 759"/>
                <a:gd name="T15" fmla="*/ 2147483647 h 404"/>
                <a:gd name="T16" fmla="*/ 2147483647 w 759"/>
                <a:gd name="T17" fmla="*/ 2147483647 h 404"/>
                <a:gd name="T18" fmla="*/ 2147483647 w 759"/>
                <a:gd name="T19" fmla="*/ 2147483647 h 404"/>
                <a:gd name="T20" fmla="*/ 2147483647 w 759"/>
                <a:gd name="T21" fmla="*/ 2147483647 h 404"/>
                <a:gd name="T22" fmla="*/ 2147483647 w 759"/>
                <a:gd name="T23" fmla="*/ 2147483647 h 404"/>
                <a:gd name="T24" fmla="*/ 2147483647 w 759"/>
                <a:gd name="T25" fmla="*/ 2147483647 h 404"/>
                <a:gd name="T26" fmla="*/ 2147483647 w 759"/>
                <a:gd name="T27" fmla="*/ 2147483647 h 404"/>
                <a:gd name="T28" fmla="*/ 2147483647 w 759"/>
                <a:gd name="T29" fmla="*/ 2147483647 h 404"/>
                <a:gd name="T30" fmla="*/ 2147483647 w 759"/>
                <a:gd name="T31" fmla="*/ 2147483647 h 404"/>
                <a:gd name="T32" fmla="*/ 2147483647 w 759"/>
                <a:gd name="T33" fmla="*/ 2147483647 h 404"/>
                <a:gd name="T34" fmla="*/ 2147483647 w 759"/>
                <a:gd name="T35" fmla="*/ 2147483647 h 404"/>
                <a:gd name="T36" fmla="*/ 2147483647 w 759"/>
                <a:gd name="T37" fmla="*/ 2147483647 h 404"/>
                <a:gd name="T38" fmla="*/ 2147483647 w 759"/>
                <a:gd name="T39" fmla="*/ 2147483647 h 404"/>
                <a:gd name="T40" fmla="*/ 2147483647 w 759"/>
                <a:gd name="T41" fmla="*/ 2147483647 h 404"/>
                <a:gd name="T42" fmla="*/ 2147483647 w 759"/>
                <a:gd name="T43" fmla="*/ 2147483647 h 404"/>
                <a:gd name="T44" fmla="*/ 2147483647 w 759"/>
                <a:gd name="T45" fmla="*/ 2147483647 h 404"/>
                <a:gd name="T46" fmla="*/ 2147483647 w 759"/>
                <a:gd name="T47" fmla="*/ 2147483647 h 404"/>
                <a:gd name="T48" fmla="*/ 2147483647 w 759"/>
                <a:gd name="T49" fmla="*/ 2147483647 h 404"/>
                <a:gd name="T50" fmla="*/ 2147483647 w 759"/>
                <a:gd name="T51" fmla="*/ 2147483647 h 404"/>
                <a:gd name="T52" fmla="*/ 2147483647 w 759"/>
                <a:gd name="T53" fmla="*/ 0 h 404"/>
                <a:gd name="T54" fmla="*/ 2147483647 w 759"/>
                <a:gd name="T55" fmla="*/ 2147483647 h 404"/>
                <a:gd name="T56" fmla="*/ 2147483647 w 759"/>
                <a:gd name="T57" fmla="*/ 2147483647 h 404"/>
                <a:gd name="T58" fmla="*/ 2147483647 w 759"/>
                <a:gd name="T59" fmla="*/ 2147483647 h 404"/>
                <a:gd name="T60" fmla="*/ 2147483647 w 759"/>
                <a:gd name="T61" fmla="*/ 2147483647 h 404"/>
                <a:gd name="T62" fmla="*/ 2147483647 w 759"/>
                <a:gd name="T63" fmla="*/ 2147483647 h 404"/>
                <a:gd name="T64" fmla="*/ 2147483647 w 759"/>
                <a:gd name="T65" fmla="*/ 2147483647 h 404"/>
                <a:gd name="T66" fmla="*/ 2147483647 w 759"/>
                <a:gd name="T67" fmla="*/ 2147483647 h 404"/>
                <a:gd name="T68" fmla="*/ 2147483647 w 759"/>
                <a:gd name="T69" fmla="*/ 2147483647 h 404"/>
                <a:gd name="T70" fmla="*/ 2147483647 w 759"/>
                <a:gd name="T71" fmla="*/ 2147483647 h 404"/>
                <a:gd name="T72" fmla="*/ 2147483647 w 759"/>
                <a:gd name="T73" fmla="*/ 2147483647 h 404"/>
                <a:gd name="T74" fmla="*/ 2147483647 w 759"/>
                <a:gd name="T75" fmla="*/ 2147483647 h 404"/>
                <a:gd name="T76" fmla="*/ 2147483647 w 759"/>
                <a:gd name="T77" fmla="*/ 2147483647 h 404"/>
                <a:gd name="T78" fmla="*/ 2147483647 w 759"/>
                <a:gd name="T79" fmla="*/ 2147483647 h 404"/>
                <a:gd name="T80" fmla="*/ 2147483647 w 759"/>
                <a:gd name="T81" fmla="*/ 2147483647 h 404"/>
                <a:gd name="T82" fmla="*/ 2147483647 w 759"/>
                <a:gd name="T83" fmla="*/ 2147483647 h 404"/>
                <a:gd name="T84" fmla="*/ 2147483647 w 759"/>
                <a:gd name="T85" fmla="*/ 2147483647 h 404"/>
                <a:gd name="T86" fmla="*/ 2147483647 w 759"/>
                <a:gd name="T87" fmla="*/ 2147483647 h 404"/>
                <a:gd name="T88" fmla="*/ 2147483647 w 759"/>
                <a:gd name="T89" fmla="*/ 2147483647 h 404"/>
                <a:gd name="T90" fmla="*/ 2147483647 w 759"/>
                <a:gd name="T91" fmla="*/ 2147483647 h 404"/>
                <a:gd name="T92" fmla="*/ 2147483647 w 759"/>
                <a:gd name="T93" fmla="*/ 2147483647 h 404"/>
                <a:gd name="T94" fmla="*/ 2147483647 w 759"/>
                <a:gd name="T95" fmla="*/ 2147483647 h 404"/>
                <a:gd name="T96" fmla="*/ 2147483647 w 759"/>
                <a:gd name="T97" fmla="*/ 2147483647 h 404"/>
                <a:gd name="T98" fmla="*/ 2147483647 w 759"/>
                <a:gd name="T99" fmla="*/ 2147483647 h 404"/>
                <a:gd name="T100" fmla="*/ 2147483647 w 759"/>
                <a:gd name="T101" fmla="*/ 2147483647 h 40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59" h="404">
                  <a:moveTo>
                    <a:pt x="157" y="365"/>
                  </a:moveTo>
                  <a:lnTo>
                    <a:pt x="166" y="370"/>
                  </a:lnTo>
                  <a:lnTo>
                    <a:pt x="171" y="371"/>
                  </a:lnTo>
                  <a:lnTo>
                    <a:pt x="177" y="371"/>
                  </a:lnTo>
                  <a:lnTo>
                    <a:pt x="186" y="371"/>
                  </a:lnTo>
                  <a:lnTo>
                    <a:pt x="192" y="371"/>
                  </a:lnTo>
                  <a:lnTo>
                    <a:pt x="199" y="373"/>
                  </a:lnTo>
                  <a:lnTo>
                    <a:pt x="205" y="375"/>
                  </a:lnTo>
                  <a:lnTo>
                    <a:pt x="214" y="379"/>
                  </a:lnTo>
                  <a:lnTo>
                    <a:pt x="217" y="380"/>
                  </a:lnTo>
                  <a:lnTo>
                    <a:pt x="221" y="383"/>
                  </a:lnTo>
                  <a:lnTo>
                    <a:pt x="224" y="386"/>
                  </a:lnTo>
                  <a:lnTo>
                    <a:pt x="225" y="390"/>
                  </a:lnTo>
                  <a:lnTo>
                    <a:pt x="226" y="395"/>
                  </a:lnTo>
                  <a:lnTo>
                    <a:pt x="230" y="399"/>
                  </a:lnTo>
                  <a:lnTo>
                    <a:pt x="232" y="399"/>
                  </a:lnTo>
                  <a:lnTo>
                    <a:pt x="236" y="399"/>
                  </a:lnTo>
                  <a:lnTo>
                    <a:pt x="238" y="398"/>
                  </a:lnTo>
                  <a:lnTo>
                    <a:pt x="242" y="396"/>
                  </a:lnTo>
                  <a:lnTo>
                    <a:pt x="248" y="398"/>
                  </a:lnTo>
                  <a:lnTo>
                    <a:pt x="255" y="399"/>
                  </a:lnTo>
                  <a:lnTo>
                    <a:pt x="258" y="400"/>
                  </a:lnTo>
                  <a:lnTo>
                    <a:pt x="263" y="403"/>
                  </a:lnTo>
                  <a:lnTo>
                    <a:pt x="266" y="404"/>
                  </a:lnTo>
                  <a:lnTo>
                    <a:pt x="268" y="403"/>
                  </a:lnTo>
                  <a:lnTo>
                    <a:pt x="270" y="401"/>
                  </a:lnTo>
                  <a:lnTo>
                    <a:pt x="271" y="399"/>
                  </a:lnTo>
                  <a:lnTo>
                    <a:pt x="271" y="393"/>
                  </a:lnTo>
                  <a:lnTo>
                    <a:pt x="271" y="386"/>
                  </a:lnTo>
                  <a:lnTo>
                    <a:pt x="270" y="380"/>
                  </a:lnTo>
                  <a:lnTo>
                    <a:pt x="266" y="374"/>
                  </a:lnTo>
                  <a:lnTo>
                    <a:pt x="262" y="371"/>
                  </a:lnTo>
                  <a:lnTo>
                    <a:pt x="260" y="369"/>
                  </a:lnTo>
                  <a:lnTo>
                    <a:pt x="253" y="366"/>
                  </a:lnTo>
                  <a:lnTo>
                    <a:pt x="251" y="364"/>
                  </a:lnTo>
                  <a:lnTo>
                    <a:pt x="250" y="361"/>
                  </a:lnTo>
                  <a:lnTo>
                    <a:pt x="250" y="356"/>
                  </a:lnTo>
                  <a:lnTo>
                    <a:pt x="252" y="351"/>
                  </a:lnTo>
                  <a:lnTo>
                    <a:pt x="252" y="346"/>
                  </a:lnTo>
                  <a:lnTo>
                    <a:pt x="252" y="339"/>
                  </a:lnTo>
                  <a:lnTo>
                    <a:pt x="252" y="333"/>
                  </a:lnTo>
                  <a:lnTo>
                    <a:pt x="252" y="329"/>
                  </a:lnTo>
                  <a:lnTo>
                    <a:pt x="276" y="321"/>
                  </a:lnTo>
                  <a:lnTo>
                    <a:pt x="286" y="320"/>
                  </a:lnTo>
                  <a:lnTo>
                    <a:pt x="295" y="319"/>
                  </a:lnTo>
                  <a:lnTo>
                    <a:pt x="305" y="318"/>
                  </a:lnTo>
                  <a:lnTo>
                    <a:pt x="310" y="315"/>
                  </a:lnTo>
                  <a:lnTo>
                    <a:pt x="313" y="313"/>
                  </a:lnTo>
                  <a:lnTo>
                    <a:pt x="317" y="309"/>
                  </a:lnTo>
                  <a:lnTo>
                    <a:pt x="321" y="304"/>
                  </a:lnTo>
                  <a:lnTo>
                    <a:pt x="327" y="302"/>
                  </a:lnTo>
                  <a:lnTo>
                    <a:pt x="328" y="300"/>
                  </a:lnTo>
                  <a:lnTo>
                    <a:pt x="331" y="297"/>
                  </a:lnTo>
                  <a:lnTo>
                    <a:pt x="332" y="293"/>
                  </a:lnTo>
                  <a:lnTo>
                    <a:pt x="335" y="290"/>
                  </a:lnTo>
                  <a:lnTo>
                    <a:pt x="338" y="289"/>
                  </a:lnTo>
                  <a:lnTo>
                    <a:pt x="341" y="288"/>
                  </a:lnTo>
                  <a:lnTo>
                    <a:pt x="348" y="287"/>
                  </a:lnTo>
                  <a:lnTo>
                    <a:pt x="351" y="285"/>
                  </a:lnTo>
                  <a:lnTo>
                    <a:pt x="355" y="284"/>
                  </a:lnTo>
                  <a:lnTo>
                    <a:pt x="357" y="280"/>
                  </a:lnTo>
                  <a:lnTo>
                    <a:pt x="358" y="275"/>
                  </a:lnTo>
                  <a:lnTo>
                    <a:pt x="361" y="272"/>
                  </a:lnTo>
                  <a:lnTo>
                    <a:pt x="365" y="268"/>
                  </a:lnTo>
                  <a:lnTo>
                    <a:pt x="368" y="268"/>
                  </a:lnTo>
                  <a:lnTo>
                    <a:pt x="372" y="268"/>
                  </a:lnTo>
                  <a:lnTo>
                    <a:pt x="375" y="268"/>
                  </a:lnTo>
                  <a:lnTo>
                    <a:pt x="378" y="267"/>
                  </a:lnTo>
                  <a:lnTo>
                    <a:pt x="378" y="263"/>
                  </a:lnTo>
                  <a:lnTo>
                    <a:pt x="381" y="254"/>
                  </a:lnTo>
                  <a:lnTo>
                    <a:pt x="382" y="252"/>
                  </a:lnTo>
                  <a:lnTo>
                    <a:pt x="385" y="249"/>
                  </a:lnTo>
                  <a:lnTo>
                    <a:pt x="387" y="250"/>
                  </a:lnTo>
                  <a:lnTo>
                    <a:pt x="391" y="254"/>
                  </a:lnTo>
                  <a:lnTo>
                    <a:pt x="394" y="258"/>
                  </a:lnTo>
                  <a:lnTo>
                    <a:pt x="398" y="260"/>
                  </a:lnTo>
                  <a:lnTo>
                    <a:pt x="402" y="263"/>
                  </a:lnTo>
                  <a:lnTo>
                    <a:pt x="406" y="267"/>
                  </a:lnTo>
                  <a:lnTo>
                    <a:pt x="409" y="272"/>
                  </a:lnTo>
                  <a:lnTo>
                    <a:pt x="409" y="273"/>
                  </a:lnTo>
                  <a:lnTo>
                    <a:pt x="408" y="275"/>
                  </a:lnTo>
                  <a:lnTo>
                    <a:pt x="404" y="282"/>
                  </a:lnTo>
                  <a:lnTo>
                    <a:pt x="401" y="293"/>
                  </a:lnTo>
                  <a:lnTo>
                    <a:pt x="401" y="305"/>
                  </a:lnTo>
                  <a:lnTo>
                    <a:pt x="401" y="312"/>
                  </a:lnTo>
                  <a:lnTo>
                    <a:pt x="402" y="316"/>
                  </a:lnTo>
                  <a:lnTo>
                    <a:pt x="404" y="321"/>
                  </a:lnTo>
                  <a:lnTo>
                    <a:pt x="408" y="326"/>
                  </a:lnTo>
                  <a:lnTo>
                    <a:pt x="583" y="326"/>
                  </a:lnTo>
                  <a:lnTo>
                    <a:pt x="758" y="326"/>
                  </a:lnTo>
                  <a:lnTo>
                    <a:pt x="758" y="207"/>
                  </a:lnTo>
                  <a:lnTo>
                    <a:pt x="759" y="143"/>
                  </a:lnTo>
                  <a:lnTo>
                    <a:pt x="759" y="107"/>
                  </a:lnTo>
                  <a:lnTo>
                    <a:pt x="758" y="96"/>
                  </a:lnTo>
                  <a:lnTo>
                    <a:pt x="756" y="93"/>
                  </a:lnTo>
                  <a:lnTo>
                    <a:pt x="755" y="92"/>
                  </a:lnTo>
                  <a:lnTo>
                    <a:pt x="758" y="47"/>
                  </a:lnTo>
                  <a:lnTo>
                    <a:pt x="759" y="5"/>
                  </a:lnTo>
                  <a:lnTo>
                    <a:pt x="694" y="3"/>
                  </a:lnTo>
                  <a:lnTo>
                    <a:pt x="675" y="1"/>
                  </a:lnTo>
                  <a:lnTo>
                    <a:pt x="674" y="1"/>
                  </a:lnTo>
                  <a:lnTo>
                    <a:pt x="623" y="1"/>
                  </a:lnTo>
                  <a:lnTo>
                    <a:pt x="622" y="1"/>
                  </a:lnTo>
                  <a:lnTo>
                    <a:pt x="553" y="1"/>
                  </a:lnTo>
                  <a:lnTo>
                    <a:pt x="483" y="1"/>
                  </a:lnTo>
                  <a:lnTo>
                    <a:pt x="345" y="0"/>
                  </a:lnTo>
                  <a:lnTo>
                    <a:pt x="341" y="0"/>
                  </a:lnTo>
                  <a:lnTo>
                    <a:pt x="241" y="0"/>
                  </a:lnTo>
                  <a:lnTo>
                    <a:pt x="191" y="0"/>
                  </a:lnTo>
                  <a:lnTo>
                    <a:pt x="141" y="1"/>
                  </a:lnTo>
                  <a:lnTo>
                    <a:pt x="130" y="2"/>
                  </a:lnTo>
                  <a:lnTo>
                    <a:pt x="66" y="1"/>
                  </a:lnTo>
                  <a:lnTo>
                    <a:pt x="64" y="1"/>
                  </a:lnTo>
                  <a:lnTo>
                    <a:pt x="61" y="5"/>
                  </a:lnTo>
                  <a:lnTo>
                    <a:pt x="60" y="10"/>
                  </a:lnTo>
                  <a:lnTo>
                    <a:pt x="59" y="20"/>
                  </a:lnTo>
                  <a:lnTo>
                    <a:pt x="56" y="28"/>
                  </a:lnTo>
                  <a:lnTo>
                    <a:pt x="54" y="33"/>
                  </a:lnTo>
                  <a:lnTo>
                    <a:pt x="50" y="37"/>
                  </a:lnTo>
                  <a:lnTo>
                    <a:pt x="48" y="40"/>
                  </a:lnTo>
                  <a:lnTo>
                    <a:pt x="44" y="40"/>
                  </a:lnTo>
                  <a:lnTo>
                    <a:pt x="41" y="41"/>
                  </a:lnTo>
                  <a:lnTo>
                    <a:pt x="38" y="45"/>
                  </a:lnTo>
                  <a:lnTo>
                    <a:pt x="36" y="45"/>
                  </a:lnTo>
                  <a:lnTo>
                    <a:pt x="34" y="46"/>
                  </a:lnTo>
                  <a:lnTo>
                    <a:pt x="29" y="45"/>
                  </a:lnTo>
                  <a:lnTo>
                    <a:pt x="26" y="43"/>
                  </a:lnTo>
                  <a:lnTo>
                    <a:pt x="25" y="45"/>
                  </a:lnTo>
                  <a:lnTo>
                    <a:pt x="23" y="46"/>
                  </a:lnTo>
                  <a:lnTo>
                    <a:pt x="21" y="50"/>
                  </a:lnTo>
                  <a:lnTo>
                    <a:pt x="20" y="55"/>
                  </a:lnTo>
                  <a:lnTo>
                    <a:pt x="18" y="61"/>
                  </a:lnTo>
                  <a:lnTo>
                    <a:pt x="14" y="65"/>
                  </a:lnTo>
                  <a:lnTo>
                    <a:pt x="11" y="66"/>
                  </a:lnTo>
                  <a:lnTo>
                    <a:pt x="9" y="67"/>
                  </a:lnTo>
                  <a:lnTo>
                    <a:pt x="6" y="68"/>
                  </a:lnTo>
                  <a:lnTo>
                    <a:pt x="5" y="70"/>
                  </a:lnTo>
                  <a:lnTo>
                    <a:pt x="8" y="72"/>
                  </a:lnTo>
                  <a:lnTo>
                    <a:pt x="10" y="76"/>
                  </a:lnTo>
                  <a:lnTo>
                    <a:pt x="11" y="80"/>
                  </a:lnTo>
                  <a:lnTo>
                    <a:pt x="11" y="85"/>
                  </a:lnTo>
                  <a:lnTo>
                    <a:pt x="11" y="90"/>
                  </a:lnTo>
                  <a:lnTo>
                    <a:pt x="11" y="95"/>
                  </a:lnTo>
                  <a:lnTo>
                    <a:pt x="11" y="98"/>
                  </a:lnTo>
                  <a:lnTo>
                    <a:pt x="16" y="112"/>
                  </a:lnTo>
                  <a:lnTo>
                    <a:pt x="16" y="118"/>
                  </a:lnTo>
                  <a:lnTo>
                    <a:pt x="15" y="126"/>
                  </a:lnTo>
                  <a:lnTo>
                    <a:pt x="14" y="134"/>
                  </a:lnTo>
                  <a:lnTo>
                    <a:pt x="11" y="143"/>
                  </a:lnTo>
                  <a:lnTo>
                    <a:pt x="9" y="146"/>
                  </a:lnTo>
                  <a:lnTo>
                    <a:pt x="6" y="148"/>
                  </a:lnTo>
                  <a:lnTo>
                    <a:pt x="4" y="151"/>
                  </a:lnTo>
                  <a:lnTo>
                    <a:pt x="1" y="154"/>
                  </a:lnTo>
                  <a:lnTo>
                    <a:pt x="0" y="158"/>
                  </a:lnTo>
                  <a:lnTo>
                    <a:pt x="0" y="162"/>
                  </a:lnTo>
                  <a:lnTo>
                    <a:pt x="1" y="163"/>
                  </a:lnTo>
                  <a:lnTo>
                    <a:pt x="4" y="163"/>
                  </a:lnTo>
                  <a:lnTo>
                    <a:pt x="8" y="164"/>
                  </a:lnTo>
                  <a:lnTo>
                    <a:pt x="9" y="164"/>
                  </a:lnTo>
                  <a:lnTo>
                    <a:pt x="10" y="167"/>
                  </a:lnTo>
                  <a:lnTo>
                    <a:pt x="10" y="174"/>
                  </a:lnTo>
                  <a:lnTo>
                    <a:pt x="11" y="178"/>
                  </a:lnTo>
                  <a:lnTo>
                    <a:pt x="15" y="181"/>
                  </a:lnTo>
                  <a:lnTo>
                    <a:pt x="19" y="183"/>
                  </a:lnTo>
                  <a:lnTo>
                    <a:pt x="21" y="187"/>
                  </a:lnTo>
                  <a:lnTo>
                    <a:pt x="26" y="197"/>
                  </a:lnTo>
                  <a:lnTo>
                    <a:pt x="30" y="207"/>
                  </a:lnTo>
                  <a:lnTo>
                    <a:pt x="34" y="214"/>
                  </a:lnTo>
                  <a:lnTo>
                    <a:pt x="28" y="230"/>
                  </a:lnTo>
                  <a:lnTo>
                    <a:pt x="21" y="248"/>
                  </a:lnTo>
                  <a:lnTo>
                    <a:pt x="28" y="249"/>
                  </a:lnTo>
                  <a:lnTo>
                    <a:pt x="34" y="249"/>
                  </a:lnTo>
                  <a:lnTo>
                    <a:pt x="48" y="248"/>
                  </a:lnTo>
                  <a:lnTo>
                    <a:pt x="60" y="247"/>
                  </a:lnTo>
                  <a:lnTo>
                    <a:pt x="68" y="248"/>
                  </a:lnTo>
                  <a:lnTo>
                    <a:pt x="74" y="249"/>
                  </a:lnTo>
                  <a:lnTo>
                    <a:pt x="75" y="250"/>
                  </a:lnTo>
                  <a:lnTo>
                    <a:pt x="78" y="252"/>
                  </a:lnTo>
                  <a:lnTo>
                    <a:pt x="79" y="255"/>
                  </a:lnTo>
                  <a:lnTo>
                    <a:pt x="80" y="265"/>
                  </a:lnTo>
                  <a:lnTo>
                    <a:pt x="82" y="269"/>
                  </a:lnTo>
                  <a:lnTo>
                    <a:pt x="84" y="272"/>
                  </a:lnTo>
                  <a:lnTo>
                    <a:pt x="86" y="275"/>
                  </a:lnTo>
                  <a:lnTo>
                    <a:pt x="89" y="279"/>
                  </a:lnTo>
                  <a:lnTo>
                    <a:pt x="90" y="284"/>
                  </a:lnTo>
                  <a:lnTo>
                    <a:pt x="90" y="287"/>
                  </a:lnTo>
                  <a:lnTo>
                    <a:pt x="91" y="290"/>
                  </a:lnTo>
                  <a:lnTo>
                    <a:pt x="91" y="293"/>
                  </a:lnTo>
                  <a:lnTo>
                    <a:pt x="91" y="297"/>
                  </a:lnTo>
                  <a:lnTo>
                    <a:pt x="91" y="303"/>
                  </a:lnTo>
                  <a:lnTo>
                    <a:pt x="92" y="310"/>
                  </a:lnTo>
                  <a:lnTo>
                    <a:pt x="96" y="315"/>
                  </a:lnTo>
                  <a:lnTo>
                    <a:pt x="99" y="321"/>
                  </a:lnTo>
                  <a:lnTo>
                    <a:pt x="102" y="329"/>
                  </a:lnTo>
                  <a:lnTo>
                    <a:pt x="109" y="333"/>
                  </a:lnTo>
                  <a:lnTo>
                    <a:pt x="114" y="335"/>
                  </a:lnTo>
                  <a:lnTo>
                    <a:pt x="127" y="338"/>
                  </a:lnTo>
                  <a:lnTo>
                    <a:pt x="132" y="340"/>
                  </a:lnTo>
                  <a:lnTo>
                    <a:pt x="136" y="343"/>
                  </a:lnTo>
                  <a:lnTo>
                    <a:pt x="144" y="350"/>
                  </a:lnTo>
                  <a:lnTo>
                    <a:pt x="150" y="358"/>
                  </a:lnTo>
                  <a:lnTo>
                    <a:pt x="154" y="361"/>
                  </a:lnTo>
                  <a:lnTo>
                    <a:pt x="156" y="365"/>
                  </a:lnTo>
                  <a:lnTo>
                    <a:pt x="157" y="365"/>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ea typeface="MS PGothic" charset="0"/>
                  <a:cs typeface="MS PGothic" charset="0"/>
                </a:rPr>
                <a:t>Siskiyou</a:t>
              </a:r>
              <a:endParaRPr lang="en-US" sz="800" dirty="0">
                <a:solidFill>
                  <a:prstClr val="black"/>
                </a:solidFill>
                <a:latin typeface="Franklin Gothic Book"/>
                <a:ea typeface="MS PGothic" charset="0"/>
                <a:cs typeface="MS PGothic" charset="0"/>
              </a:endParaRPr>
            </a:p>
          </p:txBody>
        </p:sp>
        <p:sp>
          <p:nvSpPr>
            <p:cNvPr id="39" name="Trinity"/>
            <p:cNvSpPr>
              <a:spLocks/>
            </p:cNvSpPr>
            <p:nvPr/>
          </p:nvSpPr>
          <p:spPr bwMode="auto">
            <a:xfrm>
              <a:off x="721419" y="2426330"/>
              <a:ext cx="820418" cy="1124225"/>
            </a:xfrm>
            <a:custGeom>
              <a:avLst/>
              <a:gdLst>
                <a:gd name="T0" fmla="*/ 2147483647 w 389"/>
                <a:gd name="T1" fmla="*/ 2147483647 h 561"/>
                <a:gd name="T2" fmla="*/ 2147483647 w 389"/>
                <a:gd name="T3" fmla="*/ 2147483647 h 561"/>
                <a:gd name="T4" fmla="*/ 2147483647 w 389"/>
                <a:gd name="T5" fmla="*/ 2147483647 h 561"/>
                <a:gd name="T6" fmla="*/ 2147483647 w 389"/>
                <a:gd name="T7" fmla="*/ 2147483647 h 561"/>
                <a:gd name="T8" fmla="*/ 2147483647 w 389"/>
                <a:gd name="T9" fmla="*/ 2147483647 h 561"/>
                <a:gd name="T10" fmla="*/ 2147483647 w 389"/>
                <a:gd name="T11" fmla="*/ 2147483647 h 561"/>
                <a:gd name="T12" fmla="*/ 2147483647 w 389"/>
                <a:gd name="T13" fmla="*/ 2147483647 h 561"/>
                <a:gd name="T14" fmla="*/ 2147483647 w 389"/>
                <a:gd name="T15" fmla="*/ 2147483647 h 561"/>
                <a:gd name="T16" fmla="*/ 2147483647 w 389"/>
                <a:gd name="T17" fmla="*/ 2147483647 h 561"/>
                <a:gd name="T18" fmla="*/ 2147483647 w 389"/>
                <a:gd name="T19" fmla="*/ 2147483647 h 561"/>
                <a:gd name="T20" fmla="*/ 2147483647 w 389"/>
                <a:gd name="T21" fmla="*/ 2147483647 h 561"/>
                <a:gd name="T22" fmla="*/ 2147483647 w 389"/>
                <a:gd name="T23" fmla="*/ 2147483647 h 561"/>
                <a:gd name="T24" fmla="*/ 2147483647 w 389"/>
                <a:gd name="T25" fmla="*/ 2147483647 h 561"/>
                <a:gd name="T26" fmla="*/ 2147483647 w 389"/>
                <a:gd name="T27" fmla="*/ 2147483647 h 561"/>
                <a:gd name="T28" fmla="*/ 2147483647 w 389"/>
                <a:gd name="T29" fmla="*/ 2147483647 h 561"/>
                <a:gd name="T30" fmla="*/ 2147483647 w 389"/>
                <a:gd name="T31" fmla="*/ 2147483647 h 561"/>
                <a:gd name="T32" fmla="*/ 2147483647 w 389"/>
                <a:gd name="T33" fmla="*/ 2147483647 h 561"/>
                <a:gd name="T34" fmla="*/ 2147483647 w 389"/>
                <a:gd name="T35" fmla="*/ 2147483647 h 561"/>
                <a:gd name="T36" fmla="*/ 2147483647 w 389"/>
                <a:gd name="T37" fmla="*/ 2147483647 h 561"/>
                <a:gd name="T38" fmla="*/ 2147483647 w 389"/>
                <a:gd name="T39" fmla="*/ 2147483647 h 561"/>
                <a:gd name="T40" fmla="*/ 2147483647 w 389"/>
                <a:gd name="T41" fmla="*/ 2147483647 h 561"/>
                <a:gd name="T42" fmla="*/ 2147483647 w 389"/>
                <a:gd name="T43" fmla="*/ 2147483647 h 561"/>
                <a:gd name="T44" fmla="*/ 2147483647 w 389"/>
                <a:gd name="T45" fmla="*/ 2147483647 h 561"/>
                <a:gd name="T46" fmla="*/ 2147483647 w 389"/>
                <a:gd name="T47" fmla="*/ 2147483647 h 561"/>
                <a:gd name="T48" fmla="*/ 2147483647 w 389"/>
                <a:gd name="T49" fmla="*/ 2147483647 h 561"/>
                <a:gd name="T50" fmla="*/ 2147483647 w 389"/>
                <a:gd name="T51" fmla="*/ 2147483647 h 561"/>
                <a:gd name="T52" fmla="*/ 2147483647 w 389"/>
                <a:gd name="T53" fmla="*/ 2147483647 h 561"/>
                <a:gd name="T54" fmla="*/ 2147483647 w 389"/>
                <a:gd name="T55" fmla="*/ 2147483647 h 561"/>
                <a:gd name="T56" fmla="*/ 2147483647 w 389"/>
                <a:gd name="T57" fmla="*/ 2147483647 h 561"/>
                <a:gd name="T58" fmla="*/ 2147483647 w 389"/>
                <a:gd name="T59" fmla="*/ 2147483647 h 561"/>
                <a:gd name="T60" fmla="*/ 2147483647 w 389"/>
                <a:gd name="T61" fmla="*/ 2147483647 h 561"/>
                <a:gd name="T62" fmla="*/ 2147483647 w 389"/>
                <a:gd name="T63" fmla="*/ 2147483647 h 561"/>
                <a:gd name="T64" fmla="*/ 2147483647 w 389"/>
                <a:gd name="T65" fmla="*/ 2147483647 h 561"/>
                <a:gd name="T66" fmla="*/ 2147483647 w 389"/>
                <a:gd name="T67" fmla="*/ 2147483647 h 561"/>
                <a:gd name="T68" fmla="*/ 2147483647 w 389"/>
                <a:gd name="T69" fmla="*/ 2147483647 h 561"/>
                <a:gd name="T70" fmla="*/ 2147483647 w 389"/>
                <a:gd name="T71" fmla="*/ 2147483647 h 561"/>
                <a:gd name="T72" fmla="*/ 2147483647 w 389"/>
                <a:gd name="T73" fmla="*/ 2147483647 h 561"/>
                <a:gd name="T74" fmla="*/ 2147483647 w 389"/>
                <a:gd name="T75" fmla="*/ 2147483647 h 561"/>
                <a:gd name="T76" fmla="*/ 2147483647 w 389"/>
                <a:gd name="T77" fmla="*/ 2147483647 h 561"/>
                <a:gd name="T78" fmla="*/ 2147483647 w 389"/>
                <a:gd name="T79" fmla="*/ 2147483647 h 561"/>
                <a:gd name="T80" fmla="*/ 2147483647 w 389"/>
                <a:gd name="T81" fmla="*/ 2147483647 h 561"/>
                <a:gd name="T82" fmla="*/ 2147483647 w 389"/>
                <a:gd name="T83" fmla="*/ 2147483647 h 561"/>
                <a:gd name="T84" fmla="*/ 2147483647 w 389"/>
                <a:gd name="T85" fmla="*/ 2147483647 h 561"/>
                <a:gd name="T86" fmla="*/ 2147483647 w 389"/>
                <a:gd name="T87" fmla="*/ 2147483647 h 561"/>
                <a:gd name="T88" fmla="*/ 2147483647 w 389"/>
                <a:gd name="T89" fmla="*/ 2147483647 h 561"/>
                <a:gd name="T90" fmla="*/ 2147483647 w 389"/>
                <a:gd name="T91" fmla="*/ 2147483647 h 561"/>
                <a:gd name="T92" fmla="*/ 2147483647 w 389"/>
                <a:gd name="T93" fmla="*/ 2147483647 h 561"/>
                <a:gd name="T94" fmla="*/ 2147483647 w 389"/>
                <a:gd name="T95" fmla="*/ 2147483647 h 561"/>
                <a:gd name="T96" fmla="*/ 2147483647 w 389"/>
                <a:gd name="T97" fmla="*/ 2147483647 h 561"/>
                <a:gd name="T98" fmla="*/ 2147483647 w 389"/>
                <a:gd name="T99" fmla="*/ 2147483647 h 561"/>
                <a:gd name="T100" fmla="*/ 2147483647 w 389"/>
                <a:gd name="T101" fmla="*/ 2147483647 h 561"/>
                <a:gd name="T102" fmla="*/ 2147483647 w 389"/>
                <a:gd name="T103" fmla="*/ 2147483647 h 561"/>
                <a:gd name="T104" fmla="*/ 2147483647 w 389"/>
                <a:gd name="T105" fmla="*/ 2147483647 h 561"/>
                <a:gd name="T106" fmla="*/ 2147483647 w 389"/>
                <a:gd name="T107" fmla="*/ 2147483647 h 561"/>
                <a:gd name="T108" fmla="*/ 2147483647 w 389"/>
                <a:gd name="T109" fmla="*/ 2147483647 h 561"/>
                <a:gd name="T110" fmla="*/ 2147483647 w 389"/>
                <a:gd name="T111" fmla="*/ 2147483647 h 561"/>
                <a:gd name="T112" fmla="*/ 2147483647 w 389"/>
                <a:gd name="T113" fmla="*/ 2147483647 h 561"/>
                <a:gd name="T114" fmla="*/ 2147483647 w 389"/>
                <a:gd name="T115" fmla="*/ 2147483647 h 561"/>
                <a:gd name="T116" fmla="*/ 2147483647 w 389"/>
                <a:gd name="T117" fmla="*/ 2147483647 h 561"/>
                <a:gd name="T118" fmla="*/ 2147483647 w 389"/>
                <a:gd name="T119" fmla="*/ 2147483647 h 561"/>
                <a:gd name="T120" fmla="*/ 2147483647 w 389"/>
                <a:gd name="T121" fmla="*/ 2147483647 h 56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89" h="561">
                  <a:moveTo>
                    <a:pt x="195" y="447"/>
                  </a:moveTo>
                  <a:lnTo>
                    <a:pt x="190" y="445"/>
                  </a:lnTo>
                  <a:lnTo>
                    <a:pt x="187" y="443"/>
                  </a:lnTo>
                  <a:lnTo>
                    <a:pt x="185" y="440"/>
                  </a:lnTo>
                  <a:lnTo>
                    <a:pt x="184" y="437"/>
                  </a:lnTo>
                  <a:lnTo>
                    <a:pt x="182" y="433"/>
                  </a:lnTo>
                  <a:lnTo>
                    <a:pt x="184" y="429"/>
                  </a:lnTo>
                  <a:lnTo>
                    <a:pt x="186" y="422"/>
                  </a:lnTo>
                  <a:lnTo>
                    <a:pt x="190" y="413"/>
                  </a:lnTo>
                  <a:lnTo>
                    <a:pt x="195" y="405"/>
                  </a:lnTo>
                  <a:lnTo>
                    <a:pt x="203" y="395"/>
                  </a:lnTo>
                  <a:lnTo>
                    <a:pt x="206" y="392"/>
                  </a:lnTo>
                  <a:lnTo>
                    <a:pt x="207" y="389"/>
                  </a:lnTo>
                  <a:lnTo>
                    <a:pt x="207" y="388"/>
                  </a:lnTo>
                  <a:lnTo>
                    <a:pt x="212" y="387"/>
                  </a:lnTo>
                  <a:lnTo>
                    <a:pt x="218" y="385"/>
                  </a:lnTo>
                  <a:lnTo>
                    <a:pt x="223" y="382"/>
                  </a:lnTo>
                  <a:lnTo>
                    <a:pt x="230" y="376"/>
                  </a:lnTo>
                  <a:lnTo>
                    <a:pt x="233" y="374"/>
                  </a:lnTo>
                  <a:lnTo>
                    <a:pt x="236" y="374"/>
                  </a:lnTo>
                  <a:lnTo>
                    <a:pt x="238" y="376"/>
                  </a:lnTo>
                  <a:lnTo>
                    <a:pt x="247" y="366"/>
                  </a:lnTo>
                  <a:lnTo>
                    <a:pt x="252" y="361"/>
                  </a:lnTo>
                  <a:lnTo>
                    <a:pt x="255" y="356"/>
                  </a:lnTo>
                  <a:lnTo>
                    <a:pt x="257" y="352"/>
                  </a:lnTo>
                  <a:lnTo>
                    <a:pt x="260" y="351"/>
                  </a:lnTo>
                  <a:lnTo>
                    <a:pt x="266" y="348"/>
                  </a:lnTo>
                  <a:lnTo>
                    <a:pt x="270" y="347"/>
                  </a:lnTo>
                  <a:lnTo>
                    <a:pt x="272" y="346"/>
                  </a:lnTo>
                  <a:lnTo>
                    <a:pt x="275" y="343"/>
                  </a:lnTo>
                  <a:lnTo>
                    <a:pt x="276" y="339"/>
                  </a:lnTo>
                  <a:lnTo>
                    <a:pt x="278" y="337"/>
                  </a:lnTo>
                  <a:lnTo>
                    <a:pt x="283" y="332"/>
                  </a:lnTo>
                  <a:lnTo>
                    <a:pt x="293" y="324"/>
                  </a:lnTo>
                  <a:lnTo>
                    <a:pt x="301" y="322"/>
                  </a:lnTo>
                  <a:lnTo>
                    <a:pt x="306" y="321"/>
                  </a:lnTo>
                  <a:lnTo>
                    <a:pt x="306" y="319"/>
                  </a:lnTo>
                  <a:lnTo>
                    <a:pt x="306" y="317"/>
                  </a:lnTo>
                  <a:lnTo>
                    <a:pt x="302" y="308"/>
                  </a:lnTo>
                  <a:lnTo>
                    <a:pt x="293" y="291"/>
                  </a:lnTo>
                  <a:lnTo>
                    <a:pt x="291" y="284"/>
                  </a:lnTo>
                  <a:lnTo>
                    <a:pt x="290" y="279"/>
                  </a:lnTo>
                  <a:lnTo>
                    <a:pt x="290" y="276"/>
                  </a:lnTo>
                  <a:lnTo>
                    <a:pt x="291" y="275"/>
                  </a:lnTo>
                  <a:lnTo>
                    <a:pt x="292" y="275"/>
                  </a:lnTo>
                  <a:lnTo>
                    <a:pt x="296" y="273"/>
                  </a:lnTo>
                  <a:lnTo>
                    <a:pt x="297" y="272"/>
                  </a:lnTo>
                  <a:lnTo>
                    <a:pt x="298" y="271"/>
                  </a:lnTo>
                  <a:lnTo>
                    <a:pt x="298" y="268"/>
                  </a:lnTo>
                  <a:lnTo>
                    <a:pt x="298" y="263"/>
                  </a:lnTo>
                  <a:lnTo>
                    <a:pt x="298" y="258"/>
                  </a:lnTo>
                  <a:lnTo>
                    <a:pt x="301" y="255"/>
                  </a:lnTo>
                  <a:lnTo>
                    <a:pt x="302" y="252"/>
                  </a:lnTo>
                  <a:lnTo>
                    <a:pt x="307" y="248"/>
                  </a:lnTo>
                  <a:lnTo>
                    <a:pt x="312" y="246"/>
                  </a:lnTo>
                  <a:lnTo>
                    <a:pt x="317" y="241"/>
                  </a:lnTo>
                  <a:lnTo>
                    <a:pt x="320" y="236"/>
                  </a:lnTo>
                  <a:lnTo>
                    <a:pt x="321" y="228"/>
                  </a:lnTo>
                  <a:lnTo>
                    <a:pt x="325" y="216"/>
                  </a:lnTo>
                  <a:lnTo>
                    <a:pt x="330" y="202"/>
                  </a:lnTo>
                  <a:lnTo>
                    <a:pt x="332" y="195"/>
                  </a:lnTo>
                  <a:lnTo>
                    <a:pt x="333" y="188"/>
                  </a:lnTo>
                  <a:lnTo>
                    <a:pt x="335" y="177"/>
                  </a:lnTo>
                  <a:lnTo>
                    <a:pt x="337" y="171"/>
                  </a:lnTo>
                  <a:lnTo>
                    <a:pt x="340" y="166"/>
                  </a:lnTo>
                  <a:lnTo>
                    <a:pt x="345" y="161"/>
                  </a:lnTo>
                  <a:lnTo>
                    <a:pt x="351" y="156"/>
                  </a:lnTo>
                  <a:lnTo>
                    <a:pt x="356" y="152"/>
                  </a:lnTo>
                  <a:lnTo>
                    <a:pt x="359" y="147"/>
                  </a:lnTo>
                  <a:lnTo>
                    <a:pt x="361" y="145"/>
                  </a:lnTo>
                  <a:lnTo>
                    <a:pt x="362" y="141"/>
                  </a:lnTo>
                  <a:lnTo>
                    <a:pt x="362" y="132"/>
                  </a:lnTo>
                  <a:lnTo>
                    <a:pt x="362" y="125"/>
                  </a:lnTo>
                  <a:lnTo>
                    <a:pt x="363" y="121"/>
                  </a:lnTo>
                  <a:lnTo>
                    <a:pt x="364" y="120"/>
                  </a:lnTo>
                  <a:lnTo>
                    <a:pt x="369" y="117"/>
                  </a:lnTo>
                  <a:lnTo>
                    <a:pt x="376" y="116"/>
                  </a:lnTo>
                  <a:lnTo>
                    <a:pt x="382" y="115"/>
                  </a:lnTo>
                  <a:lnTo>
                    <a:pt x="384" y="114"/>
                  </a:lnTo>
                  <a:lnTo>
                    <a:pt x="387" y="111"/>
                  </a:lnTo>
                  <a:lnTo>
                    <a:pt x="389" y="104"/>
                  </a:lnTo>
                  <a:lnTo>
                    <a:pt x="389" y="99"/>
                  </a:lnTo>
                  <a:lnTo>
                    <a:pt x="389" y="94"/>
                  </a:lnTo>
                  <a:lnTo>
                    <a:pt x="387" y="91"/>
                  </a:lnTo>
                  <a:lnTo>
                    <a:pt x="382" y="85"/>
                  </a:lnTo>
                  <a:lnTo>
                    <a:pt x="373" y="77"/>
                  </a:lnTo>
                  <a:lnTo>
                    <a:pt x="369" y="72"/>
                  </a:lnTo>
                  <a:lnTo>
                    <a:pt x="367" y="67"/>
                  </a:lnTo>
                  <a:lnTo>
                    <a:pt x="366" y="63"/>
                  </a:lnTo>
                  <a:lnTo>
                    <a:pt x="366" y="56"/>
                  </a:lnTo>
                  <a:lnTo>
                    <a:pt x="366" y="44"/>
                  </a:lnTo>
                  <a:lnTo>
                    <a:pt x="369" y="33"/>
                  </a:lnTo>
                  <a:lnTo>
                    <a:pt x="373" y="26"/>
                  </a:lnTo>
                  <a:lnTo>
                    <a:pt x="374" y="24"/>
                  </a:lnTo>
                  <a:lnTo>
                    <a:pt x="374" y="23"/>
                  </a:lnTo>
                  <a:lnTo>
                    <a:pt x="371" y="18"/>
                  </a:lnTo>
                  <a:lnTo>
                    <a:pt x="367" y="14"/>
                  </a:lnTo>
                  <a:lnTo>
                    <a:pt x="363" y="11"/>
                  </a:lnTo>
                  <a:lnTo>
                    <a:pt x="359" y="9"/>
                  </a:lnTo>
                  <a:lnTo>
                    <a:pt x="356" y="5"/>
                  </a:lnTo>
                  <a:lnTo>
                    <a:pt x="352" y="1"/>
                  </a:lnTo>
                  <a:lnTo>
                    <a:pt x="350" y="0"/>
                  </a:lnTo>
                  <a:lnTo>
                    <a:pt x="347" y="3"/>
                  </a:lnTo>
                  <a:lnTo>
                    <a:pt x="346" y="5"/>
                  </a:lnTo>
                  <a:lnTo>
                    <a:pt x="343" y="14"/>
                  </a:lnTo>
                  <a:lnTo>
                    <a:pt x="343" y="18"/>
                  </a:lnTo>
                  <a:lnTo>
                    <a:pt x="340" y="19"/>
                  </a:lnTo>
                  <a:lnTo>
                    <a:pt x="337" y="19"/>
                  </a:lnTo>
                  <a:lnTo>
                    <a:pt x="333" y="19"/>
                  </a:lnTo>
                  <a:lnTo>
                    <a:pt x="330" y="19"/>
                  </a:lnTo>
                  <a:lnTo>
                    <a:pt x="326" y="23"/>
                  </a:lnTo>
                  <a:lnTo>
                    <a:pt x="323" y="26"/>
                  </a:lnTo>
                  <a:lnTo>
                    <a:pt x="322" y="31"/>
                  </a:lnTo>
                  <a:lnTo>
                    <a:pt x="320" y="35"/>
                  </a:lnTo>
                  <a:lnTo>
                    <a:pt x="316" y="36"/>
                  </a:lnTo>
                  <a:lnTo>
                    <a:pt x="313" y="38"/>
                  </a:lnTo>
                  <a:lnTo>
                    <a:pt x="306" y="39"/>
                  </a:lnTo>
                  <a:lnTo>
                    <a:pt x="303" y="40"/>
                  </a:lnTo>
                  <a:lnTo>
                    <a:pt x="300" y="41"/>
                  </a:lnTo>
                  <a:lnTo>
                    <a:pt x="297" y="44"/>
                  </a:lnTo>
                  <a:lnTo>
                    <a:pt x="296" y="48"/>
                  </a:lnTo>
                  <a:lnTo>
                    <a:pt x="293" y="51"/>
                  </a:lnTo>
                  <a:lnTo>
                    <a:pt x="292" y="53"/>
                  </a:lnTo>
                  <a:lnTo>
                    <a:pt x="286" y="55"/>
                  </a:lnTo>
                  <a:lnTo>
                    <a:pt x="282" y="60"/>
                  </a:lnTo>
                  <a:lnTo>
                    <a:pt x="278" y="64"/>
                  </a:lnTo>
                  <a:lnTo>
                    <a:pt x="275" y="66"/>
                  </a:lnTo>
                  <a:lnTo>
                    <a:pt x="270" y="69"/>
                  </a:lnTo>
                  <a:lnTo>
                    <a:pt x="260" y="70"/>
                  </a:lnTo>
                  <a:lnTo>
                    <a:pt x="251" y="71"/>
                  </a:lnTo>
                  <a:lnTo>
                    <a:pt x="241" y="72"/>
                  </a:lnTo>
                  <a:lnTo>
                    <a:pt x="217" y="80"/>
                  </a:lnTo>
                  <a:lnTo>
                    <a:pt x="217" y="84"/>
                  </a:lnTo>
                  <a:lnTo>
                    <a:pt x="217" y="90"/>
                  </a:lnTo>
                  <a:lnTo>
                    <a:pt x="217" y="97"/>
                  </a:lnTo>
                  <a:lnTo>
                    <a:pt x="217" y="102"/>
                  </a:lnTo>
                  <a:lnTo>
                    <a:pt x="215" y="107"/>
                  </a:lnTo>
                  <a:lnTo>
                    <a:pt x="215" y="112"/>
                  </a:lnTo>
                  <a:lnTo>
                    <a:pt x="216" y="115"/>
                  </a:lnTo>
                  <a:lnTo>
                    <a:pt x="218" y="117"/>
                  </a:lnTo>
                  <a:lnTo>
                    <a:pt x="225" y="120"/>
                  </a:lnTo>
                  <a:lnTo>
                    <a:pt x="227" y="122"/>
                  </a:lnTo>
                  <a:lnTo>
                    <a:pt x="231" y="125"/>
                  </a:lnTo>
                  <a:lnTo>
                    <a:pt x="235" y="131"/>
                  </a:lnTo>
                  <a:lnTo>
                    <a:pt x="236" y="137"/>
                  </a:lnTo>
                  <a:lnTo>
                    <a:pt x="236" y="144"/>
                  </a:lnTo>
                  <a:lnTo>
                    <a:pt x="236" y="150"/>
                  </a:lnTo>
                  <a:lnTo>
                    <a:pt x="235" y="152"/>
                  </a:lnTo>
                  <a:lnTo>
                    <a:pt x="233" y="154"/>
                  </a:lnTo>
                  <a:lnTo>
                    <a:pt x="231" y="155"/>
                  </a:lnTo>
                  <a:lnTo>
                    <a:pt x="228" y="154"/>
                  </a:lnTo>
                  <a:lnTo>
                    <a:pt x="223" y="151"/>
                  </a:lnTo>
                  <a:lnTo>
                    <a:pt x="220" y="150"/>
                  </a:lnTo>
                  <a:lnTo>
                    <a:pt x="213" y="149"/>
                  </a:lnTo>
                  <a:lnTo>
                    <a:pt x="207" y="147"/>
                  </a:lnTo>
                  <a:lnTo>
                    <a:pt x="203" y="149"/>
                  </a:lnTo>
                  <a:lnTo>
                    <a:pt x="201" y="150"/>
                  </a:lnTo>
                  <a:lnTo>
                    <a:pt x="197" y="150"/>
                  </a:lnTo>
                  <a:lnTo>
                    <a:pt x="195" y="150"/>
                  </a:lnTo>
                  <a:lnTo>
                    <a:pt x="191" y="146"/>
                  </a:lnTo>
                  <a:lnTo>
                    <a:pt x="190" y="141"/>
                  </a:lnTo>
                  <a:lnTo>
                    <a:pt x="189" y="137"/>
                  </a:lnTo>
                  <a:lnTo>
                    <a:pt x="186" y="134"/>
                  </a:lnTo>
                  <a:lnTo>
                    <a:pt x="182" y="131"/>
                  </a:lnTo>
                  <a:lnTo>
                    <a:pt x="179" y="130"/>
                  </a:lnTo>
                  <a:lnTo>
                    <a:pt x="170" y="126"/>
                  </a:lnTo>
                  <a:lnTo>
                    <a:pt x="164" y="124"/>
                  </a:lnTo>
                  <a:lnTo>
                    <a:pt x="157" y="122"/>
                  </a:lnTo>
                  <a:lnTo>
                    <a:pt x="151" y="122"/>
                  </a:lnTo>
                  <a:lnTo>
                    <a:pt x="142" y="122"/>
                  </a:lnTo>
                  <a:lnTo>
                    <a:pt x="136" y="122"/>
                  </a:lnTo>
                  <a:lnTo>
                    <a:pt x="131" y="121"/>
                  </a:lnTo>
                  <a:lnTo>
                    <a:pt x="122" y="116"/>
                  </a:lnTo>
                  <a:lnTo>
                    <a:pt x="119" y="112"/>
                  </a:lnTo>
                  <a:lnTo>
                    <a:pt x="115" y="109"/>
                  </a:lnTo>
                  <a:lnTo>
                    <a:pt x="109" y="101"/>
                  </a:lnTo>
                  <a:lnTo>
                    <a:pt x="101" y="94"/>
                  </a:lnTo>
                  <a:lnTo>
                    <a:pt x="97" y="91"/>
                  </a:lnTo>
                  <a:lnTo>
                    <a:pt x="92" y="89"/>
                  </a:lnTo>
                  <a:lnTo>
                    <a:pt x="79" y="86"/>
                  </a:lnTo>
                  <a:lnTo>
                    <a:pt x="74" y="84"/>
                  </a:lnTo>
                  <a:lnTo>
                    <a:pt x="67" y="80"/>
                  </a:lnTo>
                  <a:lnTo>
                    <a:pt x="65" y="85"/>
                  </a:lnTo>
                  <a:lnTo>
                    <a:pt x="64" y="91"/>
                  </a:lnTo>
                  <a:lnTo>
                    <a:pt x="62" y="102"/>
                  </a:lnTo>
                  <a:lnTo>
                    <a:pt x="61" y="107"/>
                  </a:lnTo>
                  <a:lnTo>
                    <a:pt x="60" y="111"/>
                  </a:lnTo>
                  <a:lnTo>
                    <a:pt x="55" y="116"/>
                  </a:lnTo>
                  <a:lnTo>
                    <a:pt x="54" y="117"/>
                  </a:lnTo>
                  <a:lnTo>
                    <a:pt x="54" y="120"/>
                  </a:lnTo>
                  <a:lnTo>
                    <a:pt x="56" y="124"/>
                  </a:lnTo>
                  <a:lnTo>
                    <a:pt x="60" y="127"/>
                  </a:lnTo>
                  <a:lnTo>
                    <a:pt x="65" y="134"/>
                  </a:lnTo>
                  <a:lnTo>
                    <a:pt x="66" y="140"/>
                  </a:lnTo>
                  <a:lnTo>
                    <a:pt x="66" y="147"/>
                  </a:lnTo>
                  <a:lnTo>
                    <a:pt x="64" y="155"/>
                  </a:lnTo>
                  <a:lnTo>
                    <a:pt x="61" y="162"/>
                  </a:lnTo>
                  <a:lnTo>
                    <a:pt x="56" y="170"/>
                  </a:lnTo>
                  <a:lnTo>
                    <a:pt x="47" y="181"/>
                  </a:lnTo>
                  <a:lnTo>
                    <a:pt x="45" y="182"/>
                  </a:lnTo>
                  <a:lnTo>
                    <a:pt x="43" y="183"/>
                  </a:lnTo>
                  <a:lnTo>
                    <a:pt x="38" y="183"/>
                  </a:lnTo>
                  <a:lnTo>
                    <a:pt x="31" y="181"/>
                  </a:lnTo>
                  <a:lnTo>
                    <a:pt x="24" y="178"/>
                  </a:lnTo>
                  <a:lnTo>
                    <a:pt x="18" y="177"/>
                  </a:lnTo>
                  <a:lnTo>
                    <a:pt x="10" y="176"/>
                  </a:lnTo>
                  <a:lnTo>
                    <a:pt x="5" y="177"/>
                  </a:lnTo>
                  <a:lnTo>
                    <a:pt x="3" y="178"/>
                  </a:lnTo>
                  <a:lnTo>
                    <a:pt x="0" y="181"/>
                  </a:lnTo>
                  <a:lnTo>
                    <a:pt x="0" y="185"/>
                  </a:lnTo>
                  <a:lnTo>
                    <a:pt x="1" y="190"/>
                  </a:lnTo>
                  <a:lnTo>
                    <a:pt x="3" y="196"/>
                  </a:lnTo>
                  <a:lnTo>
                    <a:pt x="6" y="201"/>
                  </a:lnTo>
                  <a:lnTo>
                    <a:pt x="14" y="212"/>
                  </a:lnTo>
                  <a:lnTo>
                    <a:pt x="16" y="217"/>
                  </a:lnTo>
                  <a:lnTo>
                    <a:pt x="18" y="221"/>
                  </a:lnTo>
                  <a:lnTo>
                    <a:pt x="23" y="258"/>
                  </a:lnTo>
                  <a:lnTo>
                    <a:pt x="25" y="298"/>
                  </a:lnTo>
                  <a:lnTo>
                    <a:pt x="26" y="339"/>
                  </a:lnTo>
                  <a:lnTo>
                    <a:pt x="26" y="383"/>
                  </a:lnTo>
                  <a:lnTo>
                    <a:pt x="25" y="469"/>
                  </a:lnTo>
                  <a:lnTo>
                    <a:pt x="24" y="551"/>
                  </a:lnTo>
                  <a:lnTo>
                    <a:pt x="23" y="554"/>
                  </a:lnTo>
                  <a:lnTo>
                    <a:pt x="24" y="555"/>
                  </a:lnTo>
                  <a:lnTo>
                    <a:pt x="28" y="559"/>
                  </a:lnTo>
                  <a:lnTo>
                    <a:pt x="33" y="560"/>
                  </a:lnTo>
                  <a:lnTo>
                    <a:pt x="39" y="560"/>
                  </a:lnTo>
                  <a:lnTo>
                    <a:pt x="52" y="560"/>
                  </a:lnTo>
                  <a:lnTo>
                    <a:pt x="62" y="560"/>
                  </a:lnTo>
                  <a:lnTo>
                    <a:pt x="122" y="560"/>
                  </a:lnTo>
                  <a:lnTo>
                    <a:pt x="174" y="561"/>
                  </a:lnTo>
                  <a:lnTo>
                    <a:pt x="200" y="561"/>
                  </a:lnTo>
                  <a:lnTo>
                    <a:pt x="225" y="559"/>
                  </a:lnTo>
                  <a:lnTo>
                    <a:pt x="216" y="528"/>
                  </a:lnTo>
                  <a:lnTo>
                    <a:pt x="213" y="511"/>
                  </a:lnTo>
                  <a:lnTo>
                    <a:pt x="211" y="495"/>
                  </a:lnTo>
                  <a:lnTo>
                    <a:pt x="211" y="488"/>
                  </a:lnTo>
                  <a:lnTo>
                    <a:pt x="212" y="480"/>
                  </a:lnTo>
                  <a:lnTo>
                    <a:pt x="212" y="467"/>
                  </a:lnTo>
                  <a:lnTo>
                    <a:pt x="211" y="460"/>
                  </a:lnTo>
                  <a:lnTo>
                    <a:pt x="208" y="455"/>
                  </a:lnTo>
                  <a:lnTo>
                    <a:pt x="203" y="450"/>
                  </a:lnTo>
                  <a:lnTo>
                    <a:pt x="196" y="447"/>
                  </a:lnTo>
                  <a:lnTo>
                    <a:pt x="195" y="447"/>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Trinity</a:t>
              </a:r>
            </a:p>
          </p:txBody>
        </p:sp>
        <p:sp>
          <p:nvSpPr>
            <p:cNvPr id="40" name="Lake"/>
            <p:cNvSpPr>
              <a:spLocks/>
            </p:cNvSpPr>
            <p:nvPr/>
          </p:nvSpPr>
          <p:spPr bwMode="auto">
            <a:xfrm>
              <a:off x="1087445" y="3871187"/>
              <a:ext cx="521701" cy="729446"/>
            </a:xfrm>
            <a:custGeom>
              <a:avLst/>
              <a:gdLst>
                <a:gd name="T0" fmla="*/ 2147483647 w 247"/>
                <a:gd name="T1" fmla="*/ 2147483647 h 364"/>
                <a:gd name="T2" fmla="*/ 2147483647 w 247"/>
                <a:gd name="T3" fmla="*/ 2147483647 h 364"/>
                <a:gd name="T4" fmla="*/ 2147483647 w 247"/>
                <a:gd name="T5" fmla="*/ 2147483647 h 364"/>
                <a:gd name="T6" fmla="*/ 2147483647 w 247"/>
                <a:gd name="T7" fmla="*/ 2147483647 h 364"/>
                <a:gd name="T8" fmla="*/ 2147483647 w 247"/>
                <a:gd name="T9" fmla="*/ 2147483647 h 364"/>
                <a:gd name="T10" fmla="*/ 2147483647 w 247"/>
                <a:gd name="T11" fmla="*/ 2147483647 h 364"/>
                <a:gd name="T12" fmla="*/ 2147483647 w 247"/>
                <a:gd name="T13" fmla="*/ 2147483647 h 364"/>
                <a:gd name="T14" fmla="*/ 2147483647 w 247"/>
                <a:gd name="T15" fmla="*/ 2147483647 h 364"/>
                <a:gd name="T16" fmla="*/ 2147483647 w 247"/>
                <a:gd name="T17" fmla="*/ 2147483647 h 364"/>
                <a:gd name="T18" fmla="*/ 2147483647 w 247"/>
                <a:gd name="T19" fmla="*/ 2147483647 h 364"/>
                <a:gd name="T20" fmla="*/ 2147483647 w 247"/>
                <a:gd name="T21" fmla="*/ 2147483647 h 364"/>
                <a:gd name="T22" fmla="*/ 2147483647 w 247"/>
                <a:gd name="T23" fmla="*/ 2147483647 h 364"/>
                <a:gd name="T24" fmla="*/ 2147483647 w 247"/>
                <a:gd name="T25" fmla="*/ 2147483647 h 364"/>
                <a:gd name="T26" fmla="*/ 2147483647 w 247"/>
                <a:gd name="T27" fmla="*/ 2147483647 h 364"/>
                <a:gd name="T28" fmla="*/ 2147483647 w 247"/>
                <a:gd name="T29" fmla="*/ 2147483647 h 364"/>
                <a:gd name="T30" fmla="*/ 2147483647 w 247"/>
                <a:gd name="T31" fmla="*/ 2147483647 h 364"/>
                <a:gd name="T32" fmla="*/ 2147483647 w 247"/>
                <a:gd name="T33" fmla="*/ 2147483647 h 364"/>
                <a:gd name="T34" fmla="*/ 2147483647 w 247"/>
                <a:gd name="T35" fmla="*/ 2147483647 h 364"/>
                <a:gd name="T36" fmla="*/ 2147483647 w 247"/>
                <a:gd name="T37" fmla="*/ 0 h 364"/>
                <a:gd name="T38" fmla="*/ 2147483647 w 247"/>
                <a:gd name="T39" fmla="*/ 2147483647 h 364"/>
                <a:gd name="T40" fmla="*/ 2147483647 w 247"/>
                <a:gd name="T41" fmla="*/ 2147483647 h 364"/>
                <a:gd name="T42" fmla="*/ 2147483647 w 247"/>
                <a:gd name="T43" fmla="*/ 2147483647 h 364"/>
                <a:gd name="T44" fmla="*/ 2147483647 w 247"/>
                <a:gd name="T45" fmla="*/ 2147483647 h 364"/>
                <a:gd name="T46" fmla="*/ 2147483647 w 247"/>
                <a:gd name="T47" fmla="*/ 2147483647 h 364"/>
                <a:gd name="T48" fmla="*/ 2147483647 w 247"/>
                <a:gd name="T49" fmla="*/ 2147483647 h 364"/>
                <a:gd name="T50" fmla="*/ 2147483647 w 247"/>
                <a:gd name="T51" fmla="*/ 2147483647 h 364"/>
                <a:gd name="T52" fmla="*/ 2147483647 w 247"/>
                <a:gd name="T53" fmla="*/ 2147483647 h 364"/>
                <a:gd name="T54" fmla="*/ 2147483647 w 247"/>
                <a:gd name="T55" fmla="*/ 2147483647 h 364"/>
                <a:gd name="T56" fmla="*/ 2147483647 w 247"/>
                <a:gd name="T57" fmla="*/ 2147483647 h 364"/>
                <a:gd name="T58" fmla="*/ 2147483647 w 247"/>
                <a:gd name="T59" fmla="*/ 2147483647 h 364"/>
                <a:gd name="T60" fmla="*/ 2147483647 w 247"/>
                <a:gd name="T61" fmla="*/ 2147483647 h 364"/>
                <a:gd name="T62" fmla="*/ 2147483647 w 247"/>
                <a:gd name="T63" fmla="*/ 2147483647 h 364"/>
                <a:gd name="T64" fmla="*/ 2147483647 w 247"/>
                <a:gd name="T65" fmla="*/ 2147483647 h 364"/>
                <a:gd name="T66" fmla="*/ 2147483647 w 247"/>
                <a:gd name="T67" fmla="*/ 2147483647 h 364"/>
                <a:gd name="T68" fmla="*/ 2147483647 w 247"/>
                <a:gd name="T69" fmla="*/ 2147483647 h 364"/>
                <a:gd name="T70" fmla="*/ 2147483647 w 247"/>
                <a:gd name="T71" fmla="*/ 2147483647 h 364"/>
                <a:gd name="T72" fmla="*/ 2147483647 w 247"/>
                <a:gd name="T73" fmla="*/ 2147483647 h 364"/>
                <a:gd name="T74" fmla="*/ 2147483647 w 247"/>
                <a:gd name="T75" fmla="*/ 2147483647 h 364"/>
                <a:gd name="T76" fmla="*/ 2147483647 w 247"/>
                <a:gd name="T77" fmla="*/ 2147483647 h 364"/>
                <a:gd name="T78" fmla="*/ 2147483647 w 247"/>
                <a:gd name="T79" fmla="*/ 2147483647 h 364"/>
                <a:gd name="T80" fmla="*/ 2147483647 w 247"/>
                <a:gd name="T81" fmla="*/ 2147483647 h 364"/>
                <a:gd name="T82" fmla="*/ 2147483647 w 247"/>
                <a:gd name="T83" fmla="*/ 2147483647 h 364"/>
                <a:gd name="T84" fmla="*/ 2147483647 w 247"/>
                <a:gd name="T85" fmla="*/ 2147483647 h 364"/>
                <a:gd name="T86" fmla="*/ 2147483647 w 247"/>
                <a:gd name="T87" fmla="*/ 2147483647 h 364"/>
                <a:gd name="T88" fmla="*/ 2147483647 w 247"/>
                <a:gd name="T89" fmla="*/ 2147483647 h 364"/>
                <a:gd name="T90" fmla="*/ 2147483647 w 247"/>
                <a:gd name="T91" fmla="*/ 2147483647 h 364"/>
                <a:gd name="T92" fmla="*/ 2147483647 w 247"/>
                <a:gd name="T93" fmla="*/ 2147483647 h 364"/>
                <a:gd name="T94" fmla="*/ 2147483647 w 247"/>
                <a:gd name="T95" fmla="*/ 2147483647 h 364"/>
                <a:gd name="T96" fmla="*/ 2147483647 w 247"/>
                <a:gd name="T97" fmla="*/ 2147483647 h 364"/>
                <a:gd name="T98" fmla="*/ 2147483647 w 247"/>
                <a:gd name="T99" fmla="*/ 2147483647 h 364"/>
                <a:gd name="T100" fmla="*/ 2147483647 w 247"/>
                <a:gd name="T101" fmla="*/ 2147483647 h 364"/>
                <a:gd name="T102" fmla="*/ 2147483647 w 247"/>
                <a:gd name="T103" fmla="*/ 2147483647 h 364"/>
                <a:gd name="T104" fmla="*/ 2147483647 w 247"/>
                <a:gd name="T105" fmla="*/ 2147483647 h 364"/>
                <a:gd name="T106" fmla="*/ 2147483647 w 247"/>
                <a:gd name="T107" fmla="*/ 2147483647 h 364"/>
                <a:gd name="T108" fmla="*/ 2147483647 w 247"/>
                <a:gd name="T109" fmla="*/ 2147483647 h 364"/>
                <a:gd name="T110" fmla="*/ 2147483647 w 247"/>
                <a:gd name="T111" fmla="*/ 2147483647 h 364"/>
                <a:gd name="T112" fmla="*/ 2147483647 w 247"/>
                <a:gd name="T113" fmla="*/ 2147483647 h 364"/>
                <a:gd name="T114" fmla="*/ 2147483647 w 247"/>
                <a:gd name="T115" fmla="*/ 2147483647 h 364"/>
                <a:gd name="T116" fmla="*/ 2147483647 w 247"/>
                <a:gd name="T117" fmla="*/ 2147483647 h 364"/>
                <a:gd name="T118" fmla="*/ 2147483647 w 247"/>
                <a:gd name="T119" fmla="*/ 2147483647 h 364"/>
                <a:gd name="T120" fmla="*/ 2147483647 w 247"/>
                <a:gd name="T121" fmla="*/ 2147483647 h 3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7" h="364">
                  <a:moveTo>
                    <a:pt x="247" y="263"/>
                  </a:moveTo>
                  <a:lnTo>
                    <a:pt x="243" y="258"/>
                  </a:lnTo>
                  <a:lnTo>
                    <a:pt x="238" y="254"/>
                  </a:lnTo>
                  <a:lnTo>
                    <a:pt x="233" y="249"/>
                  </a:lnTo>
                  <a:lnTo>
                    <a:pt x="228" y="245"/>
                  </a:lnTo>
                  <a:lnTo>
                    <a:pt x="227" y="243"/>
                  </a:lnTo>
                  <a:lnTo>
                    <a:pt x="227" y="240"/>
                  </a:lnTo>
                  <a:lnTo>
                    <a:pt x="227" y="234"/>
                  </a:lnTo>
                  <a:lnTo>
                    <a:pt x="228" y="229"/>
                  </a:lnTo>
                  <a:lnTo>
                    <a:pt x="227" y="224"/>
                  </a:lnTo>
                  <a:lnTo>
                    <a:pt x="223" y="223"/>
                  </a:lnTo>
                  <a:lnTo>
                    <a:pt x="215" y="220"/>
                  </a:lnTo>
                  <a:lnTo>
                    <a:pt x="208" y="217"/>
                  </a:lnTo>
                  <a:lnTo>
                    <a:pt x="204" y="214"/>
                  </a:lnTo>
                  <a:lnTo>
                    <a:pt x="203" y="213"/>
                  </a:lnTo>
                  <a:lnTo>
                    <a:pt x="200" y="205"/>
                  </a:lnTo>
                  <a:lnTo>
                    <a:pt x="199" y="194"/>
                  </a:lnTo>
                  <a:lnTo>
                    <a:pt x="199" y="184"/>
                  </a:lnTo>
                  <a:lnTo>
                    <a:pt x="200" y="177"/>
                  </a:lnTo>
                  <a:lnTo>
                    <a:pt x="202" y="174"/>
                  </a:lnTo>
                  <a:lnTo>
                    <a:pt x="204" y="173"/>
                  </a:lnTo>
                  <a:lnTo>
                    <a:pt x="207" y="171"/>
                  </a:lnTo>
                  <a:lnTo>
                    <a:pt x="207" y="166"/>
                  </a:lnTo>
                  <a:lnTo>
                    <a:pt x="205" y="162"/>
                  </a:lnTo>
                  <a:lnTo>
                    <a:pt x="200" y="158"/>
                  </a:lnTo>
                  <a:lnTo>
                    <a:pt x="193" y="152"/>
                  </a:lnTo>
                  <a:lnTo>
                    <a:pt x="185" y="149"/>
                  </a:lnTo>
                  <a:lnTo>
                    <a:pt x="176" y="148"/>
                  </a:lnTo>
                  <a:lnTo>
                    <a:pt x="158" y="146"/>
                  </a:lnTo>
                  <a:lnTo>
                    <a:pt x="148" y="144"/>
                  </a:lnTo>
                  <a:lnTo>
                    <a:pt x="139" y="141"/>
                  </a:lnTo>
                  <a:lnTo>
                    <a:pt x="132" y="136"/>
                  </a:lnTo>
                  <a:lnTo>
                    <a:pt x="124" y="128"/>
                  </a:lnTo>
                  <a:lnTo>
                    <a:pt x="116" y="122"/>
                  </a:lnTo>
                  <a:lnTo>
                    <a:pt x="112" y="117"/>
                  </a:lnTo>
                  <a:lnTo>
                    <a:pt x="108" y="113"/>
                  </a:lnTo>
                  <a:lnTo>
                    <a:pt x="107" y="108"/>
                  </a:lnTo>
                  <a:lnTo>
                    <a:pt x="106" y="103"/>
                  </a:lnTo>
                  <a:lnTo>
                    <a:pt x="107" y="99"/>
                  </a:lnTo>
                  <a:lnTo>
                    <a:pt x="111" y="94"/>
                  </a:lnTo>
                  <a:lnTo>
                    <a:pt x="113" y="92"/>
                  </a:lnTo>
                  <a:lnTo>
                    <a:pt x="113" y="88"/>
                  </a:lnTo>
                  <a:lnTo>
                    <a:pt x="109" y="81"/>
                  </a:lnTo>
                  <a:lnTo>
                    <a:pt x="108" y="78"/>
                  </a:lnTo>
                  <a:lnTo>
                    <a:pt x="109" y="77"/>
                  </a:lnTo>
                  <a:lnTo>
                    <a:pt x="112" y="77"/>
                  </a:lnTo>
                  <a:lnTo>
                    <a:pt x="119" y="78"/>
                  </a:lnTo>
                  <a:lnTo>
                    <a:pt x="121" y="47"/>
                  </a:lnTo>
                  <a:lnTo>
                    <a:pt x="121" y="31"/>
                  </a:lnTo>
                  <a:lnTo>
                    <a:pt x="119" y="16"/>
                  </a:lnTo>
                  <a:lnTo>
                    <a:pt x="119" y="8"/>
                  </a:lnTo>
                  <a:lnTo>
                    <a:pt x="119" y="3"/>
                  </a:lnTo>
                  <a:lnTo>
                    <a:pt x="119" y="2"/>
                  </a:lnTo>
                  <a:lnTo>
                    <a:pt x="118" y="1"/>
                  </a:lnTo>
                  <a:lnTo>
                    <a:pt x="116" y="0"/>
                  </a:lnTo>
                  <a:lnTo>
                    <a:pt x="112" y="0"/>
                  </a:lnTo>
                  <a:lnTo>
                    <a:pt x="69" y="0"/>
                  </a:lnTo>
                  <a:lnTo>
                    <a:pt x="69" y="17"/>
                  </a:lnTo>
                  <a:lnTo>
                    <a:pt x="68" y="20"/>
                  </a:lnTo>
                  <a:lnTo>
                    <a:pt x="67" y="21"/>
                  </a:lnTo>
                  <a:lnTo>
                    <a:pt x="61" y="20"/>
                  </a:lnTo>
                  <a:lnTo>
                    <a:pt x="56" y="20"/>
                  </a:lnTo>
                  <a:lnTo>
                    <a:pt x="53" y="21"/>
                  </a:lnTo>
                  <a:lnTo>
                    <a:pt x="53" y="22"/>
                  </a:lnTo>
                  <a:lnTo>
                    <a:pt x="52" y="23"/>
                  </a:lnTo>
                  <a:lnTo>
                    <a:pt x="48" y="25"/>
                  </a:lnTo>
                  <a:lnTo>
                    <a:pt x="36" y="26"/>
                  </a:lnTo>
                  <a:lnTo>
                    <a:pt x="16" y="28"/>
                  </a:lnTo>
                  <a:lnTo>
                    <a:pt x="17" y="32"/>
                  </a:lnTo>
                  <a:lnTo>
                    <a:pt x="15" y="32"/>
                  </a:lnTo>
                  <a:lnTo>
                    <a:pt x="13" y="33"/>
                  </a:lnTo>
                  <a:lnTo>
                    <a:pt x="12" y="37"/>
                  </a:lnTo>
                  <a:lnTo>
                    <a:pt x="10" y="43"/>
                  </a:lnTo>
                  <a:lnTo>
                    <a:pt x="8" y="50"/>
                  </a:lnTo>
                  <a:lnTo>
                    <a:pt x="7" y="62"/>
                  </a:lnTo>
                  <a:lnTo>
                    <a:pt x="8" y="67"/>
                  </a:lnTo>
                  <a:lnTo>
                    <a:pt x="10" y="68"/>
                  </a:lnTo>
                  <a:lnTo>
                    <a:pt x="12" y="70"/>
                  </a:lnTo>
                  <a:lnTo>
                    <a:pt x="15" y="73"/>
                  </a:lnTo>
                  <a:lnTo>
                    <a:pt x="17" y="83"/>
                  </a:lnTo>
                  <a:lnTo>
                    <a:pt x="20" y="94"/>
                  </a:lnTo>
                  <a:lnTo>
                    <a:pt x="21" y="98"/>
                  </a:lnTo>
                  <a:lnTo>
                    <a:pt x="23" y="101"/>
                  </a:lnTo>
                  <a:lnTo>
                    <a:pt x="28" y="116"/>
                  </a:lnTo>
                  <a:lnTo>
                    <a:pt x="29" y="123"/>
                  </a:lnTo>
                  <a:lnTo>
                    <a:pt x="29" y="131"/>
                  </a:lnTo>
                  <a:lnTo>
                    <a:pt x="33" y="131"/>
                  </a:lnTo>
                  <a:lnTo>
                    <a:pt x="34" y="132"/>
                  </a:lnTo>
                  <a:lnTo>
                    <a:pt x="34" y="134"/>
                  </a:lnTo>
                  <a:lnTo>
                    <a:pt x="33" y="138"/>
                  </a:lnTo>
                  <a:lnTo>
                    <a:pt x="28" y="138"/>
                  </a:lnTo>
                  <a:lnTo>
                    <a:pt x="28" y="141"/>
                  </a:lnTo>
                  <a:lnTo>
                    <a:pt x="28" y="142"/>
                  </a:lnTo>
                  <a:lnTo>
                    <a:pt x="27" y="143"/>
                  </a:lnTo>
                  <a:lnTo>
                    <a:pt x="25" y="143"/>
                  </a:lnTo>
                  <a:lnTo>
                    <a:pt x="25" y="146"/>
                  </a:lnTo>
                  <a:lnTo>
                    <a:pt x="21" y="147"/>
                  </a:lnTo>
                  <a:lnTo>
                    <a:pt x="18" y="151"/>
                  </a:lnTo>
                  <a:lnTo>
                    <a:pt x="17" y="154"/>
                  </a:lnTo>
                  <a:lnTo>
                    <a:pt x="16" y="158"/>
                  </a:lnTo>
                  <a:lnTo>
                    <a:pt x="16" y="159"/>
                  </a:lnTo>
                  <a:lnTo>
                    <a:pt x="15" y="161"/>
                  </a:lnTo>
                  <a:lnTo>
                    <a:pt x="11" y="162"/>
                  </a:lnTo>
                  <a:lnTo>
                    <a:pt x="8" y="163"/>
                  </a:lnTo>
                  <a:lnTo>
                    <a:pt x="7" y="166"/>
                  </a:lnTo>
                  <a:lnTo>
                    <a:pt x="6" y="169"/>
                  </a:lnTo>
                  <a:lnTo>
                    <a:pt x="5" y="177"/>
                  </a:lnTo>
                  <a:lnTo>
                    <a:pt x="2" y="186"/>
                  </a:lnTo>
                  <a:lnTo>
                    <a:pt x="0" y="194"/>
                  </a:lnTo>
                  <a:lnTo>
                    <a:pt x="0" y="203"/>
                  </a:lnTo>
                  <a:lnTo>
                    <a:pt x="2" y="203"/>
                  </a:lnTo>
                  <a:lnTo>
                    <a:pt x="8" y="208"/>
                  </a:lnTo>
                  <a:lnTo>
                    <a:pt x="11" y="210"/>
                  </a:lnTo>
                  <a:lnTo>
                    <a:pt x="12" y="213"/>
                  </a:lnTo>
                  <a:lnTo>
                    <a:pt x="15" y="222"/>
                  </a:lnTo>
                  <a:lnTo>
                    <a:pt x="16" y="225"/>
                  </a:lnTo>
                  <a:lnTo>
                    <a:pt x="18" y="228"/>
                  </a:lnTo>
                  <a:lnTo>
                    <a:pt x="22" y="228"/>
                  </a:lnTo>
                  <a:lnTo>
                    <a:pt x="22" y="230"/>
                  </a:lnTo>
                  <a:lnTo>
                    <a:pt x="23" y="232"/>
                  </a:lnTo>
                  <a:lnTo>
                    <a:pt x="28" y="232"/>
                  </a:lnTo>
                  <a:lnTo>
                    <a:pt x="33" y="233"/>
                  </a:lnTo>
                  <a:lnTo>
                    <a:pt x="34" y="235"/>
                  </a:lnTo>
                  <a:lnTo>
                    <a:pt x="34" y="237"/>
                  </a:lnTo>
                  <a:lnTo>
                    <a:pt x="36" y="238"/>
                  </a:lnTo>
                  <a:lnTo>
                    <a:pt x="37" y="238"/>
                  </a:lnTo>
                  <a:lnTo>
                    <a:pt x="38" y="240"/>
                  </a:lnTo>
                  <a:lnTo>
                    <a:pt x="39" y="247"/>
                  </a:lnTo>
                  <a:lnTo>
                    <a:pt x="42" y="259"/>
                  </a:lnTo>
                  <a:lnTo>
                    <a:pt x="46" y="259"/>
                  </a:lnTo>
                  <a:lnTo>
                    <a:pt x="46" y="262"/>
                  </a:lnTo>
                  <a:lnTo>
                    <a:pt x="48" y="263"/>
                  </a:lnTo>
                  <a:lnTo>
                    <a:pt x="49" y="265"/>
                  </a:lnTo>
                  <a:lnTo>
                    <a:pt x="49" y="268"/>
                  </a:lnTo>
                  <a:lnTo>
                    <a:pt x="49" y="270"/>
                  </a:lnTo>
                  <a:lnTo>
                    <a:pt x="59" y="270"/>
                  </a:lnTo>
                  <a:lnTo>
                    <a:pt x="67" y="277"/>
                  </a:lnTo>
                  <a:lnTo>
                    <a:pt x="71" y="282"/>
                  </a:lnTo>
                  <a:lnTo>
                    <a:pt x="73" y="285"/>
                  </a:lnTo>
                  <a:lnTo>
                    <a:pt x="77" y="284"/>
                  </a:lnTo>
                  <a:lnTo>
                    <a:pt x="81" y="287"/>
                  </a:lnTo>
                  <a:lnTo>
                    <a:pt x="83" y="289"/>
                  </a:lnTo>
                  <a:lnTo>
                    <a:pt x="92" y="290"/>
                  </a:lnTo>
                  <a:lnTo>
                    <a:pt x="92" y="294"/>
                  </a:lnTo>
                  <a:lnTo>
                    <a:pt x="93" y="296"/>
                  </a:lnTo>
                  <a:lnTo>
                    <a:pt x="96" y="299"/>
                  </a:lnTo>
                  <a:lnTo>
                    <a:pt x="102" y="303"/>
                  </a:lnTo>
                  <a:lnTo>
                    <a:pt x="108" y="305"/>
                  </a:lnTo>
                  <a:lnTo>
                    <a:pt x="111" y="308"/>
                  </a:lnTo>
                  <a:lnTo>
                    <a:pt x="113" y="310"/>
                  </a:lnTo>
                  <a:lnTo>
                    <a:pt x="124" y="331"/>
                  </a:lnTo>
                  <a:lnTo>
                    <a:pt x="129" y="340"/>
                  </a:lnTo>
                  <a:lnTo>
                    <a:pt x="132" y="345"/>
                  </a:lnTo>
                  <a:lnTo>
                    <a:pt x="136" y="349"/>
                  </a:lnTo>
                  <a:lnTo>
                    <a:pt x="142" y="353"/>
                  </a:lnTo>
                  <a:lnTo>
                    <a:pt x="147" y="354"/>
                  </a:lnTo>
                  <a:lnTo>
                    <a:pt x="152" y="358"/>
                  </a:lnTo>
                  <a:lnTo>
                    <a:pt x="156" y="364"/>
                  </a:lnTo>
                  <a:lnTo>
                    <a:pt x="181" y="359"/>
                  </a:lnTo>
                  <a:lnTo>
                    <a:pt x="193" y="356"/>
                  </a:lnTo>
                  <a:lnTo>
                    <a:pt x="203" y="351"/>
                  </a:lnTo>
                  <a:lnTo>
                    <a:pt x="210" y="346"/>
                  </a:lnTo>
                  <a:lnTo>
                    <a:pt x="215" y="340"/>
                  </a:lnTo>
                  <a:lnTo>
                    <a:pt x="227" y="328"/>
                  </a:lnTo>
                  <a:lnTo>
                    <a:pt x="228" y="324"/>
                  </a:lnTo>
                  <a:lnTo>
                    <a:pt x="229" y="320"/>
                  </a:lnTo>
                  <a:lnTo>
                    <a:pt x="232" y="313"/>
                  </a:lnTo>
                  <a:lnTo>
                    <a:pt x="233" y="311"/>
                  </a:lnTo>
                  <a:lnTo>
                    <a:pt x="235" y="311"/>
                  </a:lnTo>
                  <a:lnTo>
                    <a:pt x="238" y="310"/>
                  </a:lnTo>
                  <a:lnTo>
                    <a:pt x="239" y="306"/>
                  </a:lnTo>
                  <a:lnTo>
                    <a:pt x="239" y="303"/>
                  </a:lnTo>
                  <a:lnTo>
                    <a:pt x="237" y="299"/>
                  </a:lnTo>
                  <a:lnTo>
                    <a:pt x="234" y="295"/>
                  </a:lnTo>
                  <a:lnTo>
                    <a:pt x="233" y="292"/>
                  </a:lnTo>
                  <a:lnTo>
                    <a:pt x="233" y="284"/>
                  </a:lnTo>
                  <a:lnTo>
                    <a:pt x="232" y="279"/>
                  </a:lnTo>
                  <a:lnTo>
                    <a:pt x="228" y="270"/>
                  </a:lnTo>
                  <a:lnTo>
                    <a:pt x="228" y="267"/>
                  </a:lnTo>
                  <a:lnTo>
                    <a:pt x="230" y="264"/>
                  </a:lnTo>
                  <a:lnTo>
                    <a:pt x="237" y="263"/>
                  </a:lnTo>
                  <a:lnTo>
                    <a:pt x="245" y="263"/>
                  </a:lnTo>
                  <a:lnTo>
                    <a:pt x="247" y="263"/>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Lake</a:t>
              </a:r>
            </a:p>
          </p:txBody>
        </p:sp>
      </p:grpSp>
      <p:grpSp>
        <p:nvGrpSpPr>
          <p:cNvPr id="41" name="Inland Empire"/>
          <p:cNvGrpSpPr/>
          <p:nvPr/>
        </p:nvGrpSpPr>
        <p:grpSpPr>
          <a:xfrm>
            <a:off x="4328838" y="4438039"/>
            <a:ext cx="1709206" cy="1262273"/>
            <a:chOff x="4806676" y="6907197"/>
            <a:chExt cx="2583265" cy="1907778"/>
          </a:xfrm>
        </p:grpSpPr>
        <p:sp>
          <p:nvSpPr>
            <p:cNvPr id="42" name="San Bernardino"/>
            <p:cNvSpPr>
              <a:spLocks/>
            </p:cNvSpPr>
            <p:nvPr/>
          </p:nvSpPr>
          <p:spPr bwMode="auto">
            <a:xfrm>
              <a:off x="4806676" y="6907197"/>
              <a:ext cx="2583265" cy="1543055"/>
            </a:xfrm>
            <a:custGeom>
              <a:avLst/>
              <a:gdLst>
                <a:gd name="T0" fmla="*/ 2147483647 w 1228"/>
                <a:gd name="T1" fmla="*/ 2147483647 h 770"/>
                <a:gd name="T2" fmla="*/ 2147483647 w 1228"/>
                <a:gd name="T3" fmla="*/ 0 h 770"/>
                <a:gd name="T4" fmla="*/ 2147483647 w 1228"/>
                <a:gd name="T5" fmla="*/ 2147483647 h 770"/>
                <a:gd name="T6" fmla="*/ 2147483647 w 1228"/>
                <a:gd name="T7" fmla="*/ 2147483647 h 770"/>
                <a:gd name="T8" fmla="*/ 2147483647 w 1228"/>
                <a:gd name="T9" fmla="*/ 2147483647 h 770"/>
                <a:gd name="T10" fmla="*/ 2147483647 w 1228"/>
                <a:gd name="T11" fmla="*/ 2147483647 h 770"/>
                <a:gd name="T12" fmla="*/ 2147483647 w 1228"/>
                <a:gd name="T13" fmla="*/ 2147483647 h 770"/>
                <a:gd name="T14" fmla="*/ 2147483647 w 1228"/>
                <a:gd name="T15" fmla="*/ 2147483647 h 770"/>
                <a:gd name="T16" fmla="*/ 2147483647 w 1228"/>
                <a:gd name="T17" fmla="*/ 2147483647 h 770"/>
                <a:gd name="T18" fmla="*/ 2147483647 w 1228"/>
                <a:gd name="T19" fmla="*/ 2147483647 h 770"/>
                <a:gd name="T20" fmla="*/ 2147483647 w 1228"/>
                <a:gd name="T21" fmla="*/ 2147483647 h 770"/>
                <a:gd name="T22" fmla="*/ 2147483647 w 1228"/>
                <a:gd name="T23" fmla="*/ 2147483647 h 770"/>
                <a:gd name="T24" fmla="*/ 2147483647 w 1228"/>
                <a:gd name="T25" fmla="*/ 2147483647 h 770"/>
                <a:gd name="T26" fmla="*/ 2147483647 w 1228"/>
                <a:gd name="T27" fmla="*/ 2147483647 h 770"/>
                <a:gd name="T28" fmla="*/ 2147483647 w 1228"/>
                <a:gd name="T29" fmla="*/ 2147483647 h 770"/>
                <a:gd name="T30" fmla="*/ 2147483647 w 1228"/>
                <a:gd name="T31" fmla="*/ 2147483647 h 770"/>
                <a:gd name="T32" fmla="*/ 2147483647 w 1228"/>
                <a:gd name="T33" fmla="*/ 2147483647 h 770"/>
                <a:gd name="T34" fmla="*/ 2147483647 w 1228"/>
                <a:gd name="T35" fmla="*/ 2147483647 h 770"/>
                <a:gd name="T36" fmla="*/ 2147483647 w 1228"/>
                <a:gd name="T37" fmla="*/ 2147483647 h 770"/>
                <a:gd name="T38" fmla="*/ 2147483647 w 1228"/>
                <a:gd name="T39" fmla="*/ 2147483647 h 770"/>
                <a:gd name="T40" fmla="*/ 2147483647 w 1228"/>
                <a:gd name="T41" fmla="*/ 2147483647 h 770"/>
                <a:gd name="T42" fmla="*/ 2147483647 w 1228"/>
                <a:gd name="T43" fmla="*/ 2147483647 h 770"/>
                <a:gd name="T44" fmla="*/ 2147483647 w 1228"/>
                <a:gd name="T45" fmla="*/ 2147483647 h 770"/>
                <a:gd name="T46" fmla="*/ 2147483647 w 1228"/>
                <a:gd name="T47" fmla="*/ 2147483647 h 770"/>
                <a:gd name="T48" fmla="*/ 2147483647 w 1228"/>
                <a:gd name="T49" fmla="*/ 2147483647 h 770"/>
                <a:gd name="T50" fmla="*/ 2147483647 w 1228"/>
                <a:gd name="T51" fmla="*/ 2147483647 h 770"/>
                <a:gd name="T52" fmla="*/ 2147483647 w 1228"/>
                <a:gd name="T53" fmla="*/ 2147483647 h 770"/>
                <a:gd name="T54" fmla="*/ 2147483647 w 1228"/>
                <a:gd name="T55" fmla="*/ 2147483647 h 770"/>
                <a:gd name="T56" fmla="*/ 2147483647 w 1228"/>
                <a:gd name="T57" fmla="*/ 2147483647 h 770"/>
                <a:gd name="T58" fmla="*/ 2147483647 w 1228"/>
                <a:gd name="T59" fmla="*/ 2147483647 h 770"/>
                <a:gd name="T60" fmla="*/ 2147483647 w 1228"/>
                <a:gd name="T61" fmla="*/ 2147483647 h 770"/>
                <a:gd name="T62" fmla="*/ 2147483647 w 1228"/>
                <a:gd name="T63" fmla="*/ 2147483647 h 770"/>
                <a:gd name="T64" fmla="*/ 2147483647 w 1228"/>
                <a:gd name="T65" fmla="*/ 2147483647 h 770"/>
                <a:gd name="T66" fmla="*/ 2147483647 w 1228"/>
                <a:gd name="T67" fmla="*/ 2147483647 h 770"/>
                <a:gd name="T68" fmla="*/ 2147483647 w 1228"/>
                <a:gd name="T69" fmla="*/ 2147483647 h 770"/>
                <a:gd name="T70" fmla="*/ 2147483647 w 1228"/>
                <a:gd name="T71" fmla="*/ 2147483647 h 770"/>
                <a:gd name="T72" fmla="*/ 2147483647 w 1228"/>
                <a:gd name="T73" fmla="*/ 2147483647 h 770"/>
                <a:gd name="T74" fmla="*/ 2147483647 w 1228"/>
                <a:gd name="T75" fmla="*/ 2147483647 h 770"/>
                <a:gd name="T76" fmla="*/ 2147483647 w 1228"/>
                <a:gd name="T77" fmla="*/ 2147483647 h 770"/>
                <a:gd name="T78" fmla="*/ 2147483647 w 1228"/>
                <a:gd name="T79" fmla="*/ 2147483647 h 770"/>
                <a:gd name="T80" fmla="*/ 2147483647 w 1228"/>
                <a:gd name="T81" fmla="*/ 2147483647 h 770"/>
                <a:gd name="T82" fmla="*/ 2147483647 w 1228"/>
                <a:gd name="T83" fmla="*/ 2147483647 h 770"/>
                <a:gd name="T84" fmla="*/ 2147483647 w 1228"/>
                <a:gd name="T85" fmla="*/ 2147483647 h 770"/>
                <a:gd name="T86" fmla="*/ 2147483647 w 1228"/>
                <a:gd name="T87" fmla="*/ 2147483647 h 770"/>
                <a:gd name="T88" fmla="*/ 2147483647 w 1228"/>
                <a:gd name="T89" fmla="*/ 2147483647 h 770"/>
                <a:gd name="T90" fmla="*/ 2147483647 w 1228"/>
                <a:gd name="T91" fmla="*/ 2147483647 h 770"/>
                <a:gd name="T92" fmla="*/ 2147483647 w 1228"/>
                <a:gd name="T93" fmla="*/ 2147483647 h 770"/>
                <a:gd name="T94" fmla="*/ 2147483647 w 1228"/>
                <a:gd name="T95" fmla="*/ 2147483647 h 770"/>
                <a:gd name="T96" fmla="*/ 2147483647 w 1228"/>
                <a:gd name="T97" fmla="*/ 2147483647 h 770"/>
                <a:gd name="T98" fmla="*/ 2147483647 w 1228"/>
                <a:gd name="T99" fmla="*/ 2147483647 h 770"/>
                <a:gd name="T100" fmla="*/ 2147483647 w 1228"/>
                <a:gd name="T101" fmla="*/ 2147483647 h 77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28" h="770">
                  <a:moveTo>
                    <a:pt x="1056" y="322"/>
                  </a:moveTo>
                  <a:lnTo>
                    <a:pt x="975" y="241"/>
                  </a:lnTo>
                  <a:lnTo>
                    <a:pt x="891" y="161"/>
                  </a:lnTo>
                  <a:lnTo>
                    <a:pt x="725" y="3"/>
                  </a:lnTo>
                  <a:lnTo>
                    <a:pt x="557" y="1"/>
                  </a:lnTo>
                  <a:lnTo>
                    <a:pt x="388" y="1"/>
                  </a:lnTo>
                  <a:lnTo>
                    <a:pt x="220" y="1"/>
                  </a:lnTo>
                  <a:lnTo>
                    <a:pt x="51" y="0"/>
                  </a:lnTo>
                  <a:lnTo>
                    <a:pt x="53" y="20"/>
                  </a:lnTo>
                  <a:lnTo>
                    <a:pt x="53" y="33"/>
                  </a:lnTo>
                  <a:lnTo>
                    <a:pt x="51" y="36"/>
                  </a:lnTo>
                  <a:lnTo>
                    <a:pt x="50" y="38"/>
                  </a:lnTo>
                  <a:lnTo>
                    <a:pt x="45" y="38"/>
                  </a:lnTo>
                  <a:lnTo>
                    <a:pt x="43" y="40"/>
                  </a:lnTo>
                  <a:lnTo>
                    <a:pt x="43" y="43"/>
                  </a:lnTo>
                  <a:lnTo>
                    <a:pt x="44" y="49"/>
                  </a:lnTo>
                  <a:lnTo>
                    <a:pt x="44" y="50"/>
                  </a:lnTo>
                  <a:lnTo>
                    <a:pt x="46" y="51"/>
                  </a:lnTo>
                  <a:lnTo>
                    <a:pt x="51" y="50"/>
                  </a:lnTo>
                  <a:lnTo>
                    <a:pt x="56" y="50"/>
                  </a:lnTo>
                  <a:lnTo>
                    <a:pt x="58" y="51"/>
                  </a:lnTo>
                  <a:lnTo>
                    <a:pt x="59" y="54"/>
                  </a:lnTo>
                  <a:lnTo>
                    <a:pt x="58" y="57"/>
                  </a:lnTo>
                  <a:lnTo>
                    <a:pt x="56" y="57"/>
                  </a:lnTo>
                  <a:lnTo>
                    <a:pt x="54" y="59"/>
                  </a:lnTo>
                  <a:lnTo>
                    <a:pt x="54" y="61"/>
                  </a:lnTo>
                  <a:lnTo>
                    <a:pt x="54" y="90"/>
                  </a:lnTo>
                  <a:lnTo>
                    <a:pt x="55" y="117"/>
                  </a:lnTo>
                  <a:lnTo>
                    <a:pt x="56" y="200"/>
                  </a:lnTo>
                  <a:lnTo>
                    <a:pt x="56" y="241"/>
                  </a:lnTo>
                  <a:lnTo>
                    <a:pt x="56" y="282"/>
                  </a:lnTo>
                  <a:lnTo>
                    <a:pt x="51" y="281"/>
                  </a:lnTo>
                  <a:lnTo>
                    <a:pt x="53" y="331"/>
                  </a:lnTo>
                  <a:lnTo>
                    <a:pt x="53" y="374"/>
                  </a:lnTo>
                  <a:lnTo>
                    <a:pt x="54" y="382"/>
                  </a:lnTo>
                  <a:lnTo>
                    <a:pt x="54" y="388"/>
                  </a:lnTo>
                  <a:lnTo>
                    <a:pt x="53" y="390"/>
                  </a:lnTo>
                  <a:lnTo>
                    <a:pt x="51" y="392"/>
                  </a:lnTo>
                  <a:lnTo>
                    <a:pt x="48" y="392"/>
                  </a:lnTo>
                  <a:lnTo>
                    <a:pt x="44" y="392"/>
                  </a:lnTo>
                  <a:lnTo>
                    <a:pt x="45" y="447"/>
                  </a:lnTo>
                  <a:lnTo>
                    <a:pt x="48" y="499"/>
                  </a:lnTo>
                  <a:lnTo>
                    <a:pt x="53" y="606"/>
                  </a:lnTo>
                  <a:lnTo>
                    <a:pt x="53" y="612"/>
                  </a:lnTo>
                  <a:lnTo>
                    <a:pt x="51" y="620"/>
                  </a:lnTo>
                  <a:lnTo>
                    <a:pt x="48" y="634"/>
                  </a:lnTo>
                  <a:lnTo>
                    <a:pt x="40" y="660"/>
                  </a:lnTo>
                  <a:lnTo>
                    <a:pt x="34" y="682"/>
                  </a:lnTo>
                  <a:lnTo>
                    <a:pt x="26" y="703"/>
                  </a:lnTo>
                  <a:lnTo>
                    <a:pt x="23" y="711"/>
                  </a:lnTo>
                  <a:lnTo>
                    <a:pt x="19" y="715"/>
                  </a:lnTo>
                  <a:lnTo>
                    <a:pt x="16" y="715"/>
                  </a:lnTo>
                  <a:lnTo>
                    <a:pt x="15" y="715"/>
                  </a:lnTo>
                  <a:lnTo>
                    <a:pt x="13" y="715"/>
                  </a:lnTo>
                  <a:lnTo>
                    <a:pt x="10" y="717"/>
                  </a:lnTo>
                  <a:lnTo>
                    <a:pt x="5" y="723"/>
                  </a:lnTo>
                  <a:lnTo>
                    <a:pt x="1" y="728"/>
                  </a:lnTo>
                  <a:lnTo>
                    <a:pt x="0" y="731"/>
                  </a:lnTo>
                  <a:lnTo>
                    <a:pt x="1" y="733"/>
                  </a:lnTo>
                  <a:lnTo>
                    <a:pt x="3" y="737"/>
                  </a:lnTo>
                  <a:lnTo>
                    <a:pt x="5" y="742"/>
                  </a:lnTo>
                  <a:lnTo>
                    <a:pt x="40" y="770"/>
                  </a:lnTo>
                  <a:lnTo>
                    <a:pt x="39" y="761"/>
                  </a:lnTo>
                  <a:lnTo>
                    <a:pt x="43" y="761"/>
                  </a:lnTo>
                  <a:lnTo>
                    <a:pt x="45" y="760"/>
                  </a:lnTo>
                  <a:lnTo>
                    <a:pt x="46" y="758"/>
                  </a:lnTo>
                  <a:lnTo>
                    <a:pt x="46" y="757"/>
                  </a:lnTo>
                  <a:lnTo>
                    <a:pt x="48" y="753"/>
                  </a:lnTo>
                  <a:lnTo>
                    <a:pt x="48" y="752"/>
                  </a:lnTo>
                  <a:lnTo>
                    <a:pt x="50" y="751"/>
                  </a:lnTo>
                  <a:lnTo>
                    <a:pt x="56" y="751"/>
                  </a:lnTo>
                  <a:lnTo>
                    <a:pt x="60" y="750"/>
                  </a:lnTo>
                  <a:lnTo>
                    <a:pt x="61" y="747"/>
                  </a:lnTo>
                  <a:lnTo>
                    <a:pt x="64" y="743"/>
                  </a:lnTo>
                  <a:lnTo>
                    <a:pt x="65" y="741"/>
                  </a:lnTo>
                  <a:lnTo>
                    <a:pt x="64" y="737"/>
                  </a:lnTo>
                  <a:lnTo>
                    <a:pt x="64" y="735"/>
                  </a:lnTo>
                  <a:lnTo>
                    <a:pt x="65" y="733"/>
                  </a:lnTo>
                  <a:lnTo>
                    <a:pt x="66" y="732"/>
                  </a:lnTo>
                  <a:lnTo>
                    <a:pt x="79" y="726"/>
                  </a:lnTo>
                  <a:lnTo>
                    <a:pt x="80" y="725"/>
                  </a:lnTo>
                  <a:lnTo>
                    <a:pt x="81" y="723"/>
                  </a:lnTo>
                  <a:lnTo>
                    <a:pt x="81" y="718"/>
                  </a:lnTo>
                  <a:lnTo>
                    <a:pt x="81" y="708"/>
                  </a:lnTo>
                  <a:lnTo>
                    <a:pt x="115" y="707"/>
                  </a:lnTo>
                  <a:lnTo>
                    <a:pt x="134" y="707"/>
                  </a:lnTo>
                  <a:lnTo>
                    <a:pt x="140" y="708"/>
                  </a:lnTo>
                  <a:lnTo>
                    <a:pt x="141" y="710"/>
                  </a:lnTo>
                  <a:lnTo>
                    <a:pt x="142" y="711"/>
                  </a:lnTo>
                  <a:lnTo>
                    <a:pt x="144" y="712"/>
                  </a:lnTo>
                  <a:lnTo>
                    <a:pt x="146" y="713"/>
                  </a:lnTo>
                  <a:lnTo>
                    <a:pt x="154" y="715"/>
                  </a:lnTo>
                  <a:lnTo>
                    <a:pt x="170" y="715"/>
                  </a:lnTo>
                  <a:lnTo>
                    <a:pt x="189" y="715"/>
                  </a:lnTo>
                  <a:lnTo>
                    <a:pt x="191" y="716"/>
                  </a:lnTo>
                  <a:lnTo>
                    <a:pt x="191" y="717"/>
                  </a:lnTo>
                  <a:lnTo>
                    <a:pt x="191" y="718"/>
                  </a:lnTo>
                  <a:lnTo>
                    <a:pt x="192" y="718"/>
                  </a:lnTo>
                  <a:lnTo>
                    <a:pt x="207" y="721"/>
                  </a:lnTo>
                  <a:lnTo>
                    <a:pt x="224" y="721"/>
                  </a:lnTo>
                  <a:lnTo>
                    <a:pt x="256" y="720"/>
                  </a:lnTo>
                  <a:lnTo>
                    <a:pt x="269" y="721"/>
                  </a:lnTo>
                  <a:lnTo>
                    <a:pt x="281" y="721"/>
                  </a:lnTo>
                  <a:lnTo>
                    <a:pt x="286" y="720"/>
                  </a:lnTo>
                  <a:lnTo>
                    <a:pt x="290" y="718"/>
                  </a:lnTo>
                  <a:lnTo>
                    <a:pt x="292" y="715"/>
                  </a:lnTo>
                  <a:lnTo>
                    <a:pt x="292" y="708"/>
                  </a:lnTo>
                  <a:lnTo>
                    <a:pt x="574" y="708"/>
                  </a:lnTo>
                  <a:lnTo>
                    <a:pt x="712" y="707"/>
                  </a:lnTo>
                  <a:lnTo>
                    <a:pt x="795" y="706"/>
                  </a:lnTo>
                  <a:lnTo>
                    <a:pt x="810" y="706"/>
                  </a:lnTo>
                  <a:lnTo>
                    <a:pt x="821" y="706"/>
                  </a:lnTo>
                  <a:lnTo>
                    <a:pt x="825" y="706"/>
                  </a:lnTo>
                  <a:lnTo>
                    <a:pt x="828" y="706"/>
                  </a:lnTo>
                  <a:lnTo>
                    <a:pt x="830" y="703"/>
                  </a:lnTo>
                  <a:lnTo>
                    <a:pt x="830" y="701"/>
                  </a:lnTo>
                  <a:lnTo>
                    <a:pt x="831" y="691"/>
                  </a:lnTo>
                  <a:lnTo>
                    <a:pt x="905" y="690"/>
                  </a:lnTo>
                  <a:lnTo>
                    <a:pt x="979" y="690"/>
                  </a:lnTo>
                  <a:lnTo>
                    <a:pt x="1052" y="690"/>
                  </a:lnTo>
                  <a:lnTo>
                    <a:pt x="1090" y="691"/>
                  </a:lnTo>
                  <a:lnTo>
                    <a:pt x="1126" y="692"/>
                  </a:lnTo>
                  <a:lnTo>
                    <a:pt x="1127" y="687"/>
                  </a:lnTo>
                  <a:lnTo>
                    <a:pt x="1130" y="683"/>
                  </a:lnTo>
                  <a:lnTo>
                    <a:pt x="1132" y="681"/>
                  </a:lnTo>
                  <a:lnTo>
                    <a:pt x="1136" y="677"/>
                  </a:lnTo>
                  <a:lnTo>
                    <a:pt x="1147" y="670"/>
                  </a:lnTo>
                  <a:lnTo>
                    <a:pt x="1158" y="665"/>
                  </a:lnTo>
                  <a:lnTo>
                    <a:pt x="1167" y="657"/>
                  </a:lnTo>
                  <a:lnTo>
                    <a:pt x="1172" y="654"/>
                  </a:lnTo>
                  <a:lnTo>
                    <a:pt x="1177" y="651"/>
                  </a:lnTo>
                  <a:lnTo>
                    <a:pt x="1186" y="649"/>
                  </a:lnTo>
                  <a:lnTo>
                    <a:pt x="1193" y="642"/>
                  </a:lnTo>
                  <a:lnTo>
                    <a:pt x="1205" y="627"/>
                  </a:lnTo>
                  <a:lnTo>
                    <a:pt x="1212" y="621"/>
                  </a:lnTo>
                  <a:lnTo>
                    <a:pt x="1218" y="615"/>
                  </a:lnTo>
                  <a:lnTo>
                    <a:pt x="1221" y="614"/>
                  </a:lnTo>
                  <a:lnTo>
                    <a:pt x="1222" y="612"/>
                  </a:lnTo>
                  <a:lnTo>
                    <a:pt x="1226" y="612"/>
                  </a:lnTo>
                  <a:lnTo>
                    <a:pt x="1227" y="611"/>
                  </a:lnTo>
                  <a:lnTo>
                    <a:pt x="1228" y="610"/>
                  </a:lnTo>
                  <a:lnTo>
                    <a:pt x="1228" y="607"/>
                  </a:lnTo>
                  <a:lnTo>
                    <a:pt x="1228" y="604"/>
                  </a:lnTo>
                  <a:lnTo>
                    <a:pt x="1226" y="599"/>
                  </a:lnTo>
                  <a:lnTo>
                    <a:pt x="1220" y="589"/>
                  </a:lnTo>
                  <a:lnTo>
                    <a:pt x="1208" y="574"/>
                  </a:lnTo>
                  <a:lnTo>
                    <a:pt x="1202" y="573"/>
                  </a:lnTo>
                  <a:lnTo>
                    <a:pt x="1197" y="568"/>
                  </a:lnTo>
                  <a:lnTo>
                    <a:pt x="1193" y="566"/>
                  </a:lnTo>
                  <a:lnTo>
                    <a:pt x="1183" y="558"/>
                  </a:lnTo>
                  <a:lnTo>
                    <a:pt x="1180" y="558"/>
                  </a:lnTo>
                  <a:lnTo>
                    <a:pt x="1177" y="556"/>
                  </a:lnTo>
                  <a:lnTo>
                    <a:pt x="1172" y="551"/>
                  </a:lnTo>
                  <a:lnTo>
                    <a:pt x="1168" y="545"/>
                  </a:lnTo>
                  <a:lnTo>
                    <a:pt x="1166" y="544"/>
                  </a:lnTo>
                  <a:lnTo>
                    <a:pt x="1162" y="540"/>
                  </a:lnTo>
                  <a:lnTo>
                    <a:pt x="1161" y="539"/>
                  </a:lnTo>
                  <a:lnTo>
                    <a:pt x="1156" y="536"/>
                  </a:lnTo>
                  <a:lnTo>
                    <a:pt x="1145" y="536"/>
                  </a:lnTo>
                  <a:lnTo>
                    <a:pt x="1142" y="535"/>
                  </a:lnTo>
                  <a:lnTo>
                    <a:pt x="1141" y="529"/>
                  </a:lnTo>
                  <a:lnTo>
                    <a:pt x="1142" y="523"/>
                  </a:lnTo>
                  <a:lnTo>
                    <a:pt x="1142" y="518"/>
                  </a:lnTo>
                  <a:lnTo>
                    <a:pt x="1143" y="511"/>
                  </a:lnTo>
                  <a:lnTo>
                    <a:pt x="1143" y="510"/>
                  </a:lnTo>
                  <a:lnTo>
                    <a:pt x="1142" y="504"/>
                  </a:lnTo>
                  <a:lnTo>
                    <a:pt x="1140" y="498"/>
                  </a:lnTo>
                  <a:lnTo>
                    <a:pt x="1137" y="494"/>
                  </a:lnTo>
                  <a:lnTo>
                    <a:pt x="1130" y="484"/>
                  </a:lnTo>
                  <a:lnTo>
                    <a:pt x="1128" y="484"/>
                  </a:lnTo>
                  <a:lnTo>
                    <a:pt x="1125" y="480"/>
                  </a:lnTo>
                  <a:lnTo>
                    <a:pt x="1125" y="479"/>
                  </a:lnTo>
                  <a:lnTo>
                    <a:pt x="1126" y="479"/>
                  </a:lnTo>
                  <a:lnTo>
                    <a:pt x="1128" y="478"/>
                  </a:lnTo>
                  <a:lnTo>
                    <a:pt x="1128" y="476"/>
                  </a:lnTo>
                  <a:lnTo>
                    <a:pt x="1128" y="475"/>
                  </a:lnTo>
                  <a:lnTo>
                    <a:pt x="1123" y="464"/>
                  </a:lnTo>
                  <a:lnTo>
                    <a:pt x="1118" y="454"/>
                  </a:lnTo>
                  <a:lnTo>
                    <a:pt x="1116" y="447"/>
                  </a:lnTo>
                  <a:lnTo>
                    <a:pt x="1115" y="440"/>
                  </a:lnTo>
                  <a:lnTo>
                    <a:pt x="1112" y="433"/>
                  </a:lnTo>
                  <a:lnTo>
                    <a:pt x="1110" y="430"/>
                  </a:lnTo>
                  <a:lnTo>
                    <a:pt x="1106" y="428"/>
                  </a:lnTo>
                  <a:lnTo>
                    <a:pt x="1102" y="425"/>
                  </a:lnTo>
                  <a:lnTo>
                    <a:pt x="1098" y="424"/>
                  </a:lnTo>
                  <a:lnTo>
                    <a:pt x="1096" y="422"/>
                  </a:lnTo>
                  <a:lnTo>
                    <a:pt x="1092" y="420"/>
                  </a:lnTo>
                  <a:lnTo>
                    <a:pt x="1091" y="419"/>
                  </a:lnTo>
                  <a:lnTo>
                    <a:pt x="1087" y="414"/>
                  </a:lnTo>
                  <a:lnTo>
                    <a:pt x="1085" y="409"/>
                  </a:lnTo>
                  <a:lnTo>
                    <a:pt x="1081" y="398"/>
                  </a:lnTo>
                  <a:lnTo>
                    <a:pt x="1080" y="392"/>
                  </a:lnTo>
                  <a:lnTo>
                    <a:pt x="1077" y="387"/>
                  </a:lnTo>
                  <a:lnTo>
                    <a:pt x="1074" y="383"/>
                  </a:lnTo>
                  <a:lnTo>
                    <a:pt x="1070" y="380"/>
                  </a:lnTo>
                  <a:lnTo>
                    <a:pt x="1065" y="377"/>
                  </a:lnTo>
                  <a:lnTo>
                    <a:pt x="1064" y="377"/>
                  </a:lnTo>
                  <a:lnTo>
                    <a:pt x="1061" y="374"/>
                  </a:lnTo>
                  <a:lnTo>
                    <a:pt x="1059" y="370"/>
                  </a:lnTo>
                  <a:lnTo>
                    <a:pt x="1057" y="364"/>
                  </a:lnTo>
                  <a:lnTo>
                    <a:pt x="1057" y="349"/>
                  </a:lnTo>
                  <a:lnTo>
                    <a:pt x="1057" y="334"/>
                  </a:lnTo>
                  <a:lnTo>
                    <a:pt x="1057" y="322"/>
                  </a:lnTo>
                  <a:lnTo>
                    <a:pt x="1056" y="322"/>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 Bernardino</a:t>
              </a:r>
            </a:p>
          </p:txBody>
        </p:sp>
        <p:sp>
          <p:nvSpPr>
            <p:cNvPr id="43" name="Riverside"/>
            <p:cNvSpPr>
              <a:spLocks/>
            </p:cNvSpPr>
            <p:nvPr/>
          </p:nvSpPr>
          <p:spPr bwMode="auto">
            <a:xfrm>
              <a:off x="4888721" y="8289934"/>
              <a:ext cx="2286653" cy="525041"/>
            </a:xfrm>
            <a:custGeom>
              <a:avLst/>
              <a:gdLst>
                <a:gd name="T0" fmla="*/ 2147483647 w 1087"/>
                <a:gd name="T1" fmla="*/ 2147483647 h 262"/>
                <a:gd name="T2" fmla="*/ 2147483647 w 1087"/>
                <a:gd name="T3" fmla="*/ 2147483647 h 262"/>
                <a:gd name="T4" fmla="*/ 2147483647 w 1087"/>
                <a:gd name="T5" fmla="*/ 2147483647 h 262"/>
                <a:gd name="T6" fmla="*/ 2147483647 w 1087"/>
                <a:gd name="T7" fmla="*/ 2147483647 h 262"/>
                <a:gd name="T8" fmla="*/ 2147483647 w 1087"/>
                <a:gd name="T9" fmla="*/ 2147483647 h 262"/>
                <a:gd name="T10" fmla="*/ 2147483647 w 1087"/>
                <a:gd name="T11" fmla="*/ 2147483647 h 262"/>
                <a:gd name="T12" fmla="*/ 2147483647 w 1087"/>
                <a:gd name="T13" fmla="*/ 2147483647 h 262"/>
                <a:gd name="T14" fmla="*/ 2147483647 w 1087"/>
                <a:gd name="T15" fmla="*/ 2147483647 h 262"/>
                <a:gd name="T16" fmla="*/ 2147483647 w 1087"/>
                <a:gd name="T17" fmla="*/ 2147483647 h 262"/>
                <a:gd name="T18" fmla="*/ 2147483647 w 1087"/>
                <a:gd name="T19" fmla="*/ 2147483647 h 262"/>
                <a:gd name="T20" fmla="*/ 2147483647 w 1087"/>
                <a:gd name="T21" fmla="*/ 2147483647 h 262"/>
                <a:gd name="T22" fmla="*/ 2147483647 w 1087"/>
                <a:gd name="T23" fmla="*/ 2147483647 h 262"/>
                <a:gd name="T24" fmla="*/ 2147483647 w 1087"/>
                <a:gd name="T25" fmla="*/ 2147483647 h 262"/>
                <a:gd name="T26" fmla="*/ 2147483647 w 1087"/>
                <a:gd name="T27" fmla="*/ 0 h 262"/>
                <a:gd name="T28" fmla="*/ 2147483647 w 1087"/>
                <a:gd name="T29" fmla="*/ 2147483647 h 262"/>
                <a:gd name="T30" fmla="*/ 2147483647 w 1087"/>
                <a:gd name="T31" fmla="*/ 2147483647 h 262"/>
                <a:gd name="T32" fmla="*/ 2147483647 w 1087"/>
                <a:gd name="T33" fmla="*/ 2147483647 h 262"/>
                <a:gd name="T34" fmla="*/ 2147483647 w 1087"/>
                <a:gd name="T35" fmla="*/ 2147483647 h 262"/>
                <a:gd name="T36" fmla="*/ 2147483647 w 1087"/>
                <a:gd name="T37" fmla="*/ 2147483647 h 262"/>
                <a:gd name="T38" fmla="*/ 2147483647 w 1087"/>
                <a:gd name="T39" fmla="*/ 2147483647 h 262"/>
                <a:gd name="T40" fmla="*/ 2147483647 w 1087"/>
                <a:gd name="T41" fmla="*/ 2147483647 h 262"/>
                <a:gd name="T42" fmla="*/ 2147483647 w 1087"/>
                <a:gd name="T43" fmla="*/ 2147483647 h 262"/>
                <a:gd name="T44" fmla="*/ 2147483647 w 1087"/>
                <a:gd name="T45" fmla="*/ 2147483647 h 262"/>
                <a:gd name="T46" fmla="*/ 2147483647 w 1087"/>
                <a:gd name="T47" fmla="*/ 2147483647 h 262"/>
                <a:gd name="T48" fmla="*/ 2147483647 w 1087"/>
                <a:gd name="T49" fmla="*/ 2147483647 h 262"/>
                <a:gd name="T50" fmla="*/ 2147483647 w 1087"/>
                <a:gd name="T51" fmla="*/ 2147483647 h 262"/>
                <a:gd name="T52" fmla="*/ 2147483647 w 1087"/>
                <a:gd name="T53" fmla="*/ 2147483647 h 262"/>
                <a:gd name="T54" fmla="*/ 2147483647 w 1087"/>
                <a:gd name="T55" fmla="*/ 2147483647 h 262"/>
                <a:gd name="T56" fmla="*/ 2147483647 w 1087"/>
                <a:gd name="T57" fmla="*/ 2147483647 h 262"/>
                <a:gd name="T58" fmla="*/ 2147483647 w 1087"/>
                <a:gd name="T59" fmla="*/ 2147483647 h 262"/>
                <a:gd name="T60" fmla="*/ 2147483647 w 1087"/>
                <a:gd name="T61" fmla="*/ 2147483647 h 262"/>
                <a:gd name="T62" fmla="*/ 2147483647 w 1087"/>
                <a:gd name="T63" fmla="*/ 2147483647 h 262"/>
                <a:gd name="T64" fmla="*/ 0 w 1087"/>
                <a:gd name="T65" fmla="*/ 2147483647 h 262"/>
                <a:gd name="T66" fmla="*/ 2147483647 w 1087"/>
                <a:gd name="T67" fmla="*/ 2147483647 h 262"/>
                <a:gd name="T68" fmla="*/ 2147483647 w 1087"/>
                <a:gd name="T69" fmla="*/ 2147483647 h 262"/>
                <a:gd name="T70" fmla="*/ 2147483647 w 1087"/>
                <a:gd name="T71" fmla="*/ 2147483647 h 262"/>
                <a:gd name="T72" fmla="*/ 2147483647 w 1087"/>
                <a:gd name="T73" fmla="*/ 2147483647 h 262"/>
                <a:gd name="T74" fmla="*/ 2147483647 w 1087"/>
                <a:gd name="T75" fmla="*/ 2147483647 h 262"/>
                <a:gd name="T76" fmla="*/ 2147483647 w 1087"/>
                <a:gd name="T77" fmla="*/ 2147483647 h 262"/>
                <a:gd name="T78" fmla="*/ 2147483647 w 1087"/>
                <a:gd name="T79" fmla="*/ 2147483647 h 262"/>
                <a:gd name="T80" fmla="*/ 2147483647 w 1087"/>
                <a:gd name="T81" fmla="*/ 2147483647 h 262"/>
                <a:gd name="T82" fmla="*/ 2147483647 w 1087"/>
                <a:gd name="T83" fmla="*/ 2147483647 h 262"/>
                <a:gd name="T84" fmla="*/ 2147483647 w 1087"/>
                <a:gd name="T85" fmla="*/ 2147483647 h 262"/>
                <a:gd name="T86" fmla="*/ 2147483647 w 1087"/>
                <a:gd name="T87" fmla="*/ 2147483647 h 262"/>
                <a:gd name="T88" fmla="*/ 2147483647 w 1087"/>
                <a:gd name="T89" fmla="*/ 2147483647 h 262"/>
                <a:gd name="T90" fmla="*/ 2147483647 w 1087"/>
                <a:gd name="T91" fmla="*/ 2147483647 h 262"/>
                <a:gd name="T92" fmla="*/ 2147483647 w 1087"/>
                <a:gd name="T93" fmla="*/ 2147483647 h 262"/>
                <a:gd name="T94" fmla="*/ 2147483647 w 1087"/>
                <a:gd name="T95" fmla="*/ 2147483647 h 262"/>
                <a:gd name="T96" fmla="*/ 2147483647 w 1087"/>
                <a:gd name="T97" fmla="*/ 2147483647 h 262"/>
                <a:gd name="T98" fmla="*/ 2147483647 w 1087"/>
                <a:gd name="T99" fmla="*/ 2147483647 h 262"/>
                <a:gd name="T100" fmla="*/ 2147483647 w 1087"/>
                <a:gd name="T101" fmla="*/ 2147483647 h 262"/>
                <a:gd name="T102" fmla="*/ 2147483647 w 1087"/>
                <a:gd name="T103" fmla="*/ 2147483647 h 262"/>
                <a:gd name="T104" fmla="*/ 2147483647 w 1087"/>
                <a:gd name="T105" fmla="*/ 2147483647 h 262"/>
                <a:gd name="T106" fmla="*/ 2147483647 w 1087"/>
                <a:gd name="T107" fmla="*/ 2147483647 h 2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087" h="262">
                  <a:moveTo>
                    <a:pt x="1053" y="167"/>
                  </a:moveTo>
                  <a:lnTo>
                    <a:pt x="1052" y="162"/>
                  </a:lnTo>
                  <a:lnTo>
                    <a:pt x="1051" y="158"/>
                  </a:lnTo>
                  <a:lnTo>
                    <a:pt x="1052" y="156"/>
                  </a:lnTo>
                  <a:lnTo>
                    <a:pt x="1056" y="154"/>
                  </a:lnTo>
                  <a:lnTo>
                    <a:pt x="1058" y="153"/>
                  </a:lnTo>
                  <a:lnTo>
                    <a:pt x="1059" y="151"/>
                  </a:lnTo>
                  <a:lnTo>
                    <a:pt x="1063" y="144"/>
                  </a:lnTo>
                  <a:lnTo>
                    <a:pt x="1063" y="142"/>
                  </a:lnTo>
                  <a:lnTo>
                    <a:pt x="1061" y="137"/>
                  </a:lnTo>
                  <a:lnTo>
                    <a:pt x="1059" y="134"/>
                  </a:lnTo>
                  <a:lnTo>
                    <a:pt x="1058" y="129"/>
                  </a:lnTo>
                  <a:lnTo>
                    <a:pt x="1058" y="117"/>
                  </a:lnTo>
                  <a:lnTo>
                    <a:pt x="1057" y="97"/>
                  </a:lnTo>
                  <a:lnTo>
                    <a:pt x="1056" y="90"/>
                  </a:lnTo>
                  <a:lnTo>
                    <a:pt x="1056" y="83"/>
                  </a:lnTo>
                  <a:lnTo>
                    <a:pt x="1057" y="81"/>
                  </a:lnTo>
                  <a:lnTo>
                    <a:pt x="1061" y="77"/>
                  </a:lnTo>
                  <a:lnTo>
                    <a:pt x="1062" y="75"/>
                  </a:lnTo>
                  <a:lnTo>
                    <a:pt x="1062" y="72"/>
                  </a:lnTo>
                  <a:lnTo>
                    <a:pt x="1061" y="70"/>
                  </a:lnTo>
                  <a:lnTo>
                    <a:pt x="1059" y="67"/>
                  </a:lnTo>
                  <a:lnTo>
                    <a:pt x="1059" y="66"/>
                  </a:lnTo>
                  <a:lnTo>
                    <a:pt x="1061" y="63"/>
                  </a:lnTo>
                  <a:lnTo>
                    <a:pt x="1061" y="62"/>
                  </a:lnTo>
                  <a:lnTo>
                    <a:pt x="1061" y="60"/>
                  </a:lnTo>
                  <a:lnTo>
                    <a:pt x="1059" y="58"/>
                  </a:lnTo>
                  <a:lnTo>
                    <a:pt x="1057" y="56"/>
                  </a:lnTo>
                  <a:lnTo>
                    <a:pt x="1054" y="53"/>
                  </a:lnTo>
                  <a:lnTo>
                    <a:pt x="1053" y="51"/>
                  </a:lnTo>
                  <a:lnTo>
                    <a:pt x="1054" y="48"/>
                  </a:lnTo>
                  <a:lnTo>
                    <a:pt x="1056" y="47"/>
                  </a:lnTo>
                  <a:lnTo>
                    <a:pt x="1059" y="42"/>
                  </a:lnTo>
                  <a:lnTo>
                    <a:pt x="1064" y="40"/>
                  </a:lnTo>
                  <a:lnTo>
                    <a:pt x="1073" y="32"/>
                  </a:lnTo>
                  <a:lnTo>
                    <a:pt x="1081" y="23"/>
                  </a:lnTo>
                  <a:lnTo>
                    <a:pt x="1083" y="18"/>
                  </a:lnTo>
                  <a:lnTo>
                    <a:pt x="1086" y="13"/>
                  </a:lnTo>
                  <a:lnTo>
                    <a:pt x="1087" y="8"/>
                  </a:lnTo>
                  <a:lnTo>
                    <a:pt x="1087" y="2"/>
                  </a:lnTo>
                  <a:lnTo>
                    <a:pt x="1051" y="1"/>
                  </a:lnTo>
                  <a:lnTo>
                    <a:pt x="1013" y="0"/>
                  </a:lnTo>
                  <a:lnTo>
                    <a:pt x="940" y="0"/>
                  </a:lnTo>
                  <a:lnTo>
                    <a:pt x="866" y="0"/>
                  </a:lnTo>
                  <a:lnTo>
                    <a:pt x="792" y="1"/>
                  </a:lnTo>
                  <a:lnTo>
                    <a:pt x="791" y="11"/>
                  </a:lnTo>
                  <a:lnTo>
                    <a:pt x="791" y="13"/>
                  </a:lnTo>
                  <a:lnTo>
                    <a:pt x="789" y="16"/>
                  </a:lnTo>
                  <a:lnTo>
                    <a:pt x="786" y="16"/>
                  </a:lnTo>
                  <a:lnTo>
                    <a:pt x="782" y="16"/>
                  </a:lnTo>
                  <a:lnTo>
                    <a:pt x="771" y="16"/>
                  </a:lnTo>
                  <a:lnTo>
                    <a:pt x="756" y="16"/>
                  </a:lnTo>
                  <a:lnTo>
                    <a:pt x="673" y="17"/>
                  </a:lnTo>
                  <a:lnTo>
                    <a:pt x="535" y="18"/>
                  </a:lnTo>
                  <a:lnTo>
                    <a:pt x="253" y="18"/>
                  </a:lnTo>
                  <a:lnTo>
                    <a:pt x="253" y="25"/>
                  </a:lnTo>
                  <a:lnTo>
                    <a:pt x="251" y="28"/>
                  </a:lnTo>
                  <a:lnTo>
                    <a:pt x="247" y="30"/>
                  </a:lnTo>
                  <a:lnTo>
                    <a:pt x="242" y="31"/>
                  </a:lnTo>
                  <a:lnTo>
                    <a:pt x="230" y="31"/>
                  </a:lnTo>
                  <a:lnTo>
                    <a:pt x="217" y="30"/>
                  </a:lnTo>
                  <a:lnTo>
                    <a:pt x="185" y="31"/>
                  </a:lnTo>
                  <a:lnTo>
                    <a:pt x="168" y="31"/>
                  </a:lnTo>
                  <a:lnTo>
                    <a:pt x="153" y="28"/>
                  </a:lnTo>
                  <a:lnTo>
                    <a:pt x="152" y="28"/>
                  </a:lnTo>
                  <a:lnTo>
                    <a:pt x="152" y="27"/>
                  </a:lnTo>
                  <a:lnTo>
                    <a:pt x="152" y="26"/>
                  </a:lnTo>
                  <a:lnTo>
                    <a:pt x="150" y="25"/>
                  </a:lnTo>
                  <a:lnTo>
                    <a:pt x="131" y="25"/>
                  </a:lnTo>
                  <a:lnTo>
                    <a:pt x="115" y="25"/>
                  </a:lnTo>
                  <a:lnTo>
                    <a:pt x="107" y="23"/>
                  </a:lnTo>
                  <a:lnTo>
                    <a:pt x="105" y="22"/>
                  </a:lnTo>
                  <a:lnTo>
                    <a:pt x="103" y="21"/>
                  </a:lnTo>
                  <a:lnTo>
                    <a:pt x="102" y="20"/>
                  </a:lnTo>
                  <a:lnTo>
                    <a:pt x="101" y="18"/>
                  </a:lnTo>
                  <a:lnTo>
                    <a:pt x="95" y="17"/>
                  </a:lnTo>
                  <a:lnTo>
                    <a:pt x="76" y="17"/>
                  </a:lnTo>
                  <a:lnTo>
                    <a:pt x="42" y="18"/>
                  </a:lnTo>
                  <a:lnTo>
                    <a:pt x="42" y="28"/>
                  </a:lnTo>
                  <a:lnTo>
                    <a:pt x="42" y="33"/>
                  </a:lnTo>
                  <a:lnTo>
                    <a:pt x="41" y="35"/>
                  </a:lnTo>
                  <a:lnTo>
                    <a:pt x="40" y="36"/>
                  </a:lnTo>
                  <a:lnTo>
                    <a:pt x="27" y="42"/>
                  </a:lnTo>
                  <a:lnTo>
                    <a:pt x="26" y="43"/>
                  </a:lnTo>
                  <a:lnTo>
                    <a:pt x="25" y="45"/>
                  </a:lnTo>
                  <a:lnTo>
                    <a:pt x="25" y="47"/>
                  </a:lnTo>
                  <a:lnTo>
                    <a:pt x="26" y="51"/>
                  </a:lnTo>
                  <a:lnTo>
                    <a:pt x="25" y="53"/>
                  </a:lnTo>
                  <a:lnTo>
                    <a:pt x="22" y="57"/>
                  </a:lnTo>
                  <a:lnTo>
                    <a:pt x="21" y="60"/>
                  </a:lnTo>
                  <a:lnTo>
                    <a:pt x="17" y="61"/>
                  </a:lnTo>
                  <a:lnTo>
                    <a:pt x="11" y="61"/>
                  </a:lnTo>
                  <a:lnTo>
                    <a:pt x="9" y="62"/>
                  </a:lnTo>
                  <a:lnTo>
                    <a:pt x="9" y="63"/>
                  </a:lnTo>
                  <a:lnTo>
                    <a:pt x="7" y="67"/>
                  </a:lnTo>
                  <a:lnTo>
                    <a:pt x="7" y="68"/>
                  </a:lnTo>
                  <a:lnTo>
                    <a:pt x="6" y="70"/>
                  </a:lnTo>
                  <a:lnTo>
                    <a:pt x="4" y="71"/>
                  </a:lnTo>
                  <a:lnTo>
                    <a:pt x="0" y="71"/>
                  </a:lnTo>
                  <a:lnTo>
                    <a:pt x="1" y="80"/>
                  </a:lnTo>
                  <a:lnTo>
                    <a:pt x="36" y="124"/>
                  </a:lnTo>
                  <a:lnTo>
                    <a:pt x="40" y="127"/>
                  </a:lnTo>
                  <a:lnTo>
                    <a:pt x="44" y="128"/>
                  </a:lnTo>
                  <a:lnTo>
                    <a:pt x="47" y="129"/>
                  </a:lnTo>
                  <a:lnTo>
                    <a:pt x="49" y="129"/>
                  </a:lnTo>
                  <a:lnTo>
                    <a:pt x="50" y="132"/>
                  </a:lnTo>
                  <a:lnTo>
                    <a:pt x="50" y="141"/>
                  </a:lnTo>
                  <a:lnTo>
                    <a:pt x="50" y="146"/>
                  </a:lnTo>
                  <a:lnTo>
                    <a:pt x="51" y="147"/>
                  </a:lnTo>
                  <a:lnTo>
                    <a:pt x="54" y="148"/>
                  </a:lnTo>
                  <a:lnTo>
                    <a:pt x="61" y="148"/>
                  </a:lnTo>
                  <a:lnTo>
                    <a:pt x="67" y="149"/>
                  </a:lnTo>
                  <a:lnTo>
                    <a:pt x="72" y="152"/>
                  </a:lnTo>
                  <a:lnTo>
                    <a:pt x="77" y="154"/>
                  </a:lnTo>
                  <a:lnTo>
                    <a:pt x="81" y="158"/>
                  </a:lnTo>
                  <a:lnTo>
                    <a:pt x="85" y="162"/>
                  </a:lnTo>
                  <a:lnTo>
                    <a:pt x="87" y="167"/>
                  </a:lnTo>
                  <a:lnTo>
                    <a:pt x="87" y="172"/>
                  </a:lnTo>
                  <a:lnTo>
                    <a:pt x="85" y="176"/>
                  </a:lnTo>
                  <a:lnTo>
                    <a:pt x="76" y="187"/>
                  </a:lnTo>
                  <a:lnTo>
                    <a:pt x="66" y="200"/>
                  </a:lnTo>
                  <a:lnTo>
                    <a:pt x="61" y="208"/>
                  </a:lnTo>
                  <a:lnTo>
                    <a:pt x="59" y="215"/>
                  </a:lnTo>
                  <a:lnTo>
                    <a:pt x="57" y="222"/>
                  </a:lnTo>
                  <a:lnTo>
                    <a:pt x="57" y="229"/>
                  </a:lnTo>
                  <a:lnTo>
                    <a:pt x="106" y="228"/>
                  </a:lnTo>
                  <a:lnTo>
                    <a:pt x="105" y="235"/>
                  </a:lnTo>
                  <a:lnTo>
                    <a:pt x="133" y="248"/>
                  </a:lnTo>
                  <a:lnTo>
                    <a:pt x="147" y="254"/>
                  </a:lnTo>
                  <a:lnTo>
                    <a:pt x="148" y="255"/>
                  </a:lnTo>
                  <a:lnTo>
                    <a:pt x="148" y="257"/>
                  </a:lnTo>
                  <a:lnTo>
                    <a:pt x="148" y="258"/>
                  </a:lnTo>
                  <a:lnTo>
                    <a:pt x="148" y="259"/>
                  </a:lnTo>
                  <a:lnTo>
                    <a:pt x="155" y="260"/>
                  </a:lnTo>
                  <a:lnTo>
                    <a:pt x="163" y="262"/>
                  </a:lnTo>
                  <a:lnTo>
                    <a:pt x="180" y="262"/>
                  </a:lnTo>
                  <a:lnTo>
                    <a:pt x="197" y="259"/>
                  </a:lnTo>
                  <a:lnTo>
                    <a:pt x="212" y="259"/>
                  </a:lnTo>
                  <a:lnTo>
                    <a:pt x="253" y="260"/>
                  </a:lnTo>
                  <a:lnTo>
                    <a:pt x="298" y="262"/>
                  </a:lnTo>
                  <a:lnTo>
                    <a:pt x="534" y="262"/>
                  </a:lnTo>
                  <a:lnTo>
                    <a:pt x="655" y="262"/>
                  </a:lnTo>
                  <a:lnTo>
                    <a:pt x="776" y="259"/>
                  </a:lnTo>
                  <a:lnTo>
                    <a:pt x="897" y="259"/>
                  </a:lnTo>
                  <a:lnTo>
                    <a:pt x="957" y="259"/>
                  </a:lnTo>
                  <a:lnTo>
                    <a:pt x="1017" y="260"/>
                  </a:lnTo>
                  <a:lnTo>
                    <a:pt x="1018" y="259"/>
                  </a:lnTo>
                  <a:lnTo>
                    <a:pt x="1022" y="248"/>
                  </a:lnTo>
                  <a:lnTo>
                    <a:pt x="1030" y="238"/>
                  </a:lnTo>
                  <a:lnTo>
                    <a:pt x="1036" y="228"/>
                  </a:lnTo>
                  <a:lnTo>
                    <a:pt x="1039" y="222"/>
                  </a:lnTo>
                  <a:lnTo>
                    <a:pt x="1043" y="217"/>
                  </a:lnTo>
                  <a:lnTo>
                    <a:pt x="1046" y="214"/>
                  </a:lnTo>
                  <a:lnTo>
                    <a:pt x="1049" y="209"/>
                  </a:lnTo>
                  <a:lnTo>
                    <a:pt x="1052" y="208"/>
                  </a:lnTo>
                  <a:lnTo>
                    <a:pt x="1052" y="205"/>
                  </a:lnTo>
                  <a:lnTo>
                    <a:pt x="1051" y="204"/>
                  </a:lnTo>
                  <a:lnTo>
                    <a:pt x="1049" y="203"/>
                  </a:lnTo>
                  <a:lnTo>
                    <a:pt x="1048" y="200"/>
                  </a:lnTo>
                  <a:lnTo>
                    <a:pt x="1048" y="199"/>
                  </a:lnTo>
                  <a:lnTo>
                    <a:pt x="1051" y="183"/>
                  </a:lnTo>
                  <a:lnTo>
                    <a:pt x="1052" y="167"/>
                  </a:lnTo>
                  <a:lnTo>
                    <a:pt x="1053" y="167"/>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Riverside</a:t>
              </a:r>
            </a:p>
          </p:txBody>
        </p:sp>
      </p:grpSp>
      <p:grpSp>
        <p:nvGrpSpPr>
          <p:cNvPr id="44" name="Bay Area"/>
          <p:cNvGrpSpPr/>
          <p:nvPr/>
        </p:nvGrpSpPr>
        <p:grpSpPr>
          <a:xfrm>
            <a:off x="1663424" y="2815117"/>
            <a:ext cx="1080085" cy="1044822"/>
            <a:chOff x="778214" y="4454340"/>
            <a:chExt cx="1632422" cy="1579127"/>
          </a:xfrm>
        </p:grpSpPr>
        <p:sp>
          <p:nvSpPr>
            <p:cNvPr id="45" name="San Francisco"/>
            <p:cNvSpPr>
              <a:spLocks/>
            </p:cNvSpPr>
            <p:nvPr/>
          </p:nvSpPr>
          <p:spPr bwMode="auto">
            <a:xfrm>
              <a:off x="1493251" y="5289367"/>
              <a:ext cx="105182" cy="86170"/>
            </a:xfrm>
            <a:custGeom>
              <a:avLst/>
              <a:gdLst>
                <a:gd name="T0" fmla="*/ 2147483647 w 50"/>
                <a:gd name="T1" fmla="*/ 2147483647 h 43"/>
                <a:gd name="T2" fmla="*/ 2147483647 w 50"/>
                <a:gd name="T3" fmla="*/ 2147483647 h 43"/>
                <a:gd name="T4" fmla="*/ 2147483647 w 50"/>
                <a:gd name="T5" fmla="*/ 2147483647 h 43"/>
                <a:gd name="T6" fmla="*/ 2147483647 w 50"/>
                <a:gd name="T7" fmla="*/ 2147483647 h 43"/>
                <a:gd name="T8" fmla="*/ 2147483647 w 50"/>
                <a:gd name="T9" fmla="*/ 2147483647 h 43"/>
                <a:gd name="T10" fmla="*/ 2147483647 w 50"/>
                <a:gd name="T11" fmla="*/ 2147483647 h 43"/>
                <a:gd name="T12" fmla="*/ 2147483647 w 50"/>
                <a:gd name="T13" fmla="*/ 2147483647 h 43"/>
                <a:gd name="T14" fmla="*/ 2147483647 w 50"/>
                <a:gd name="T15" fmla="*/ 2147483647 h 43"/>
                <a:gd name="T16" fmla="*/ 2147483647 w 50"/>
                <a:gd name="T17" fmla="*/ 2147483647 h 43"/>
                <a:gd name="T18" fmla="*/ 2147483647 w 50"/>
                <a:gd name="T19" fmla="*/ 0 h 43"/>
                <a:gd name="T20" fmla="*/ 2147483647 w 50"/>
                <a:gd name="T21" fmla="*/ 2147483647 h 43"/>
                <a:gd name="T22" fmla="*/ 2147483647 w 50"/>
                <a:gd name="T23" fmla="*/ 2147483647 h 43"/>
                <a:gd name="T24" fmla="*/ 2147483647 w 50"/>
                <a:gd name="T25" fmla="*/ 2147483647 h 43"/>
                <a:gd name="T26" fmla="*/ 2147483647 w 50"/>
                <a:gd name="T27" fmla="*/ 2147483647 h 43"/>
                <a:gd name="T28" fmla="*/ 2147483647 w 50"/>
                <a:gd name="T29" fmla="*/ 2147483647 h 43"/>
                <a:gd name="T30" fmla="*/ 2147483647 w 50"/>
                <a:gd name="T31" fmla="*/ 2147483647 h 43"/>
                <a:gd name="T32" fmla="*/ 2147483647 w 50"/>
                <a:gd name="T33" fmla="*/ 2147483647 h 43"/>
                <a:gd name="T34" fmla="*/ 2147483647 w 50"/>
                <a:gd name="T35" fmla="*/ 2147483647 h 43"/>
                <a:gd name="T36" fmla="*/ 2147483647 w 50"/>
                <a:gd name="T37" fmla="*/ 2147483647 h 43"/>
                <a:gd name="T38" fmla="*/ 2147483647 w 50"/>
                <a:gd name="T39" fmla="*/ 2147483647 h 43"/>
                <a:gd name="T40" fmla="*/ 2147483647 w 50"/>
                <a:gd name="T41" fmla="*/ 2147483647 h 43"/>
                <a:gd name="T42" fmla="*/ 2147483647 w 50"/>
                <a:gd name="T43" fmla="*/ 2147483647 h 43"/>
                <a:gd name="T44" fmla="*/ 0 w 50"/>
                <a:gd name="T45" fmla="*/ 2147483647 h 43"/>
                <a:gd name="T46" fmla="*/ 0 w 50"/>
                <a:gd name="T47" fmla="*/ 2147483647 h 43"/>
                <a:gd name="T48" fmla="*/ 0 w 50"/>
                <a:gd name="T49" fmla="*/ 2147483647 h 43"/>
                <a:gd name="T50" fmla="*/ 2147483647 w 50"/>
                <a:gd name="T51" fmla="*/ 2147483647 h 43"/>
                <a:gd name="T52" fmla="*/ 2147483647 w 50"/>
                <a:gd name="T53" fmla="*/ 2147483647 h 43"/>
                <a:gd name="T54" fmla="*/ 2147483647 w 50"/>
                <a:gd name="T55" fmla="*/ 2147483647 h 43"/>
                <a:gd name="T56" fmla="*/ 2147483647 w 50"/>
                <a:gd name="T57" fmla="*/ 2147483647 h 43"/>
                <a:gd name="T58" fmla="*/ 2147483647 w 50"/>
                <a:gd name="T59" fmla="*/ 2147483647 h 43"/>
                <a:gd name="T60" fmla="*/ 2147483647 w 50"/>
                <a:gd name="T61" fmla="*/ 2147483647 h 43"/>
                <a:gd name="T62" fmla="*/ 2147483647 w 50"/>
                <a:gd name="T63" fmla="*/ 2147483647 h 43"/>
                <a:gd name="T64" fmla="*/ 2147483647 w 50"/>
                <a:gd name="T65" fmla="*/ 2147483647 h 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0" h="43">
                  <a:moveTo>
                    <a:pt x="50" y="36"/>
                  </a:moveTo>
                  <a:lnTo>
                    <a:pt x="49" y="33"/>
                  </a:lnTo>
                  <a:lnTo>
                    <a:pt x="49" y="32"/>
                  </a:lnTo>
                  <a:lnTo>
                    <a:pt x="48" y="31"/>
                  </a:lnTo>
                  <a:lnTo>
                    <a:pt x="47" y="27"/>
                  </a:lnTo>
                  <a:lnTo>
                    <a:pt x="45" y="17"/>
                  </a:lnTo>
                  <a:lnTo>
                    <a:pt x="43" y="7"/>
                  </a:lnTo>
                  <a:lnTo>
                    <a:pt x="42" y="3"/>
                  </a:lnTo>
                  <a:lnTo>
                    <a:pt x="38" y="1"/>
                  </a:lnTo>
                  <a:lnTo>
                    <a:pt x="34" y="0"/>
                  </a:lnTo>
                  <a:lnTo>
                    <a:pt x="28" y="1"/>
                  </a:lnTo>
                  <a:lnTo>
                    <a:pt x="23" y="1"/>
                  </a:lnTo>
                  <a:lnTo>
                    <a:pt x="19" y="1"/>
                  </a:lnTo>
                  <a:lnTo>
                    <a:pt x="15" y="1"/>
                  </a:lnTo>
                  <a:lnTo>
                    <a:pt x="12" y="1"/>
                  </a:lnTo>
                  <a:lnTo>
                    <a:pt x="10" y="2"/>
                  </a:lnTo>
                  <a:lnTo>
                    <a:pt x="10" y="3"/>
                  </a:lnTo>
                  <a:lnTo>
                    <a:pt x="9" y="5"/>
                  </a:lnTo>
                  <a:lnTo>
                    <a:pt x="7" y="7"/>
                  </a:lnTo>
                  <a:lnTo>
                    <a:pt x="4" y="9"/>
                  </a:lnTo>
                  <a:lnTo>
                    <a:pt x="3" y="9"/>
                  </a:lnTo>
                  <a:lnTo>
                    <a:pt x="3" y="8"/>
                  </a:lnTo>
                  <a:lnTo>
                    <a:pt x="0" y="16"/>
                  </a:lnTo>
                  <a:lnTo>
                    <a:pt x="0" y="24"/>
                  </a:lnTo>
                  <a:lnTo>
                    <a:pt x="0" y="34"/>
                  </a:lnTo>
                  <a:lnTo>
                    <a:pt x="2" y="43"/>
                  </a:lnTo>
                  <a:lnTo>
                    <a:pt x="45" y="42"/>
                  </a:lnTo>
                  <a:lnTo>
                    <a:pt x="45" y="39"/>
                  </a:lnTo>
                  <a:lnTo>
                    <a:pt x="45" y="37"/>
                  </a:lnTo>
                  <a:lnTo>
                    <a:pt x="47" y="34"/>
                  </a:lnTo>
                  <a:lnTo>
                    <a:pt x="49" y="34"/>
                  </a:lnTo>
                  <a:lnTo>
                    <a:pt x="49" y="36"/>
                  </a:lnTo>
                  <a:lnTo>
                    <a:pt x="50" y="36"/>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F</a:t>
              </a:r>
            </a:p>
          </p:txBody>
        </p:sp>
        <p:sp>
          <p:nvSpPr>
            <p:cNvPr id="46" name="Napa"/>
            <p:cNvSpPr>
              <a:spLocks/>
            </p:cNvSpPr>
            <p:nvPr/>
          </p:nvSpPr>
          <p:spPr bwMode="auto">
            <a:xfrm>
              <a:off x="1402997" y="4454340"/>
              <a:ext cx="403900" cy="557103"/>
            </a:xfrm>
            <a:custGeom>
              <a:avLst/>
              <a:gdLst>
                <a:gd name="T0" fmla="*/ 2147483647 w 192"/>
                <a:gd name="T1" fmla="*/ 2147483647 h 278"/>
                <a:gd name="T2" fmla="*/ 2147483647 w 192"/>
                <a:gd name="T3" fmla="*/ 2147483647 h 278"/>
                <a:gd name="T4" fmla="*/ 2147483647 w 192"/>
                <a:gd name="T5" fmla="*/ 2147483647 h 278"/>
                <a:gd name="T6" fmla="*/ 2147483647 w 192"/>
                <a:gd name="T7" fmla="*/ 2147483647 h 278"/>
                <a:gd name="T8" fmla="*/ 2147483647 w 192"/>
                <a:gd name="T9" fmla="*/ 2147483647 h 278"/>
                <a:gd name="T10" fmla="*/ 2147483647 w 192"/>
                <a:gd name="T11" fmla="*/ 2147483647 h 278"/>
                <a:gd name="T12" fmla="*/ 2147483647 w 192"/>
                <a:gd name="T13" fmla="*/ 2147483647 h 278"/>
                <a:gd name="T14" fmla="*/ 2147483647 w 192"/>
                <a:gd name="T15" fmla="*/ 2147483647 h 278"/>
                <a:gd name="T16" fmla="*/ 2147483647 w 192"/>
                <a:gd name="T17" fmla="*/ 2147483647 h 278"/>
                <a:gd name="T18" fmla="*/ 2147483647 w 192"/>
                <a:gd name="T19" fmla="*/ 2147483647 h 278"/>
                <a:gd name="T20" fmla="*/ 2147483647 w 192"/>
                <a:gd name="T21" fmla="*/ 2147483647 h 278"/>
                <a:gd name="T22" fmla="*/ 2147483647 w 192"/>
                <a:gd name="T23" fmla="*/ 2147483647 h 278"/>
                <a:gd name="T24" fmla="*/ 2147483647 w 192"/>
                <a:gd name="T25" fmla="*/ 2147483647 h 278"/>
                <a:gd name="T26" fmla="*/ 2147483647 w 192"/>
                <a:gd name="T27" fmla="*/ 2147483647 h 278"/>
                <a:gd name="T28" fmla="*/ 2147483647 w 192"/>
                <a:gd name="T29" fmla="*/ 2147483647 h 278"/>
                <a:gd name="T30" fmla="*/ 2147483647 w 192"/>
                <a:gd name="T31" fmla="*/ 2147483647 h 278"/>
                <a:gd name="T32" fmla="*/ 2147483647 w 192"/>
                <a:gd name="T33" fmla="*/ 2147483647 h 278"/>
                <a:gd name="T34" fmla="*/ 2147483647 w 192"/>
                <a:gd name="T35" fmla="*/ 2147483647 h 278"/>
                <a:gd name="T36" fmla="*/ 2147483647 w 192"/>
                <a:gd name="T37" fmla="*/ 2147483647 h 278"/>
                <a:gd name="T38" fmla="*/ 2147483647 w 192"/>
                <a:gd name="T39" fmla="*/ 2147483647 h 278"/>
                <a:gd name="T40" fmla="*/ 2147483647 w 192"/>
                <a:gd name="T41" fmla="*/ 2147483647 h 278"/>
                <a:gd name="T42" fmla="*/ 2147483647 w 192"/>
                <a:gd name="T43" fmla="*/ 2147483647 h 278"/>
                <a:gd name="T44" fmla="*/ 2147483647 w 192"/>
                <a:gd name="T45" fmla="*/ 2147483647 h 278"/>
                <a:gd name="T46" fmla="*/ 2147483647 w 192"/>
                <a:gd name="T47" fmla="*/ 2147483647 h 278"/>
                <a:gd name="T48" fmla="*/ 0 w 192"/>
                <a:gd name="T49" fmla="*/ 2147483647 h 278"/>
                <a:gd name="T50" fmla="*/ 2147483647 w 192"/>
                <a:gd name="T51" fmla="*/ 2147483647 h 278"/>
                <a:gd name="T52" fmla="*/ 2147483647 w 192"/>
                <a:gd name="T53" fmla="*/ 2147483647 h 278"/>
                <a:gd name="T54" fmla="*/ 2147483647 w 192"/>
                <a:gd name="T55" fmla="*/ 2147483647 h 278"/>
                <a:gd name="T56" fmla="*/ 2147483647 w 192"/>
                <a:gd name="T57" fmla="*/ 2147483647 h 278"/>
                <a:gd name="T58" fmla="*/ 2147483647 w 192"/>
                <a:gd name="T59" fmla="*/ 2147483647 h 278"/>
                <a:gd name="T60" fmla="*/ 2147483647 w 192"/>
                <a:gd name="T61" fmla="*/ 2147483647 h 278"/>
                <a:gd name="T62" fmla="*/ 2147483647 w 192"/>
                <a:gd name="T63" fmla="*/ 2147483647 h 278"/>
                <a:gd name="T64" fmla="*/ 2147483647 w 192"/>
                <a:gd name="T65" fmla="*/ 2147483647 h 278"/>
                <a:gd name="T66" fmla="*/ 2147483647 w 192"/>
                <a:gd name="T67" fmla="*/ 2147483647 h 278"/>
                <a:gd name="T68" fmla="*/ 2147483647 w 192"/>
                <a:gd name="T69" fmla="*/ 2147483647 h 278"/>
                <a:gd name="T70" fmla="*/ 2147483647 w 192"/>
                <a:gd name="T71" fmla="*/ 2147483647 h 278"/>
                <a:gd name="T72" fmla="*/ 2147483647 w 192"/>
                <a:gd name="T73" fmla="*/ 2147483647 h 278"/>
                <a:gd name="T74" fmla="*/ 2147483647 w 192"/>
                <a:gd name="T75" fmla="*/ 2147483647 h 278"/>
                <a:gd name="T76" fmla="*/ 2147483647 w 192"/>
                <a:gd name="T77" fmla="*/ 2147483647 h 278"/>
                <a:gd name="T78" fmla="*/ 2147483647 w 192"/>
                <a:gd name="T79" fmla="*/ 2147483647 h 278"/>
                <a:gd name="T80" fmla="*/ 2147483647 w 192"/>
                <a:gd name="T81" fmla="*/ 2147483647 h 278"/>
                <a:gd name="T82" fmla="*/ 2147483647 w 192"/>
                <a:gd name="T83" fmla="*/ 2147483647 h 2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92" h="278">
                  <a:moveTo>
                    <a:pt x="143" y="265"/>
                  </a:moveTo>
                  <a:lnTo>
                    <a:pt x="146" y="261"/>
                  </a:lnTo>
                  <a:lnTo>
                    <a:pt x="148" y="256"/>
                  </a:lnTo>
                  <a:lnTo>
                    <a:pt x="149" y="251"/>
                  </a:lnTo>
                  <a:lnTo>
                    <a:pt x="149" y="250"/>
                  </a:lnTo>
                  <a:lnTo>
                    <a:pt x="149" y="248"/>
                  </a:lnTo>
                  <a:lnTo>
                    <a:pt x="148" y="243"/>
                  </a:lnTo>
                  <a:lnTo>
                    <a:pt x="147" y="238"/>
                  </a:lnTo>
                  <a:lnTo>
                    <a:pt x="146" y="235"/>
                  </a:lnTo>
                  <a:lnTo>
                    <a:pt x="142" y="231"/>
                  </a:lnTo>
                  <a:lnTo>
                    <a:pt x="149" y="229"/>
                  </a:lnTo>
                  <a:lnTo>
                    <a:pt x="147" y="225"/>
                  </a:lnTo>
                  <a:lnTo>
                    <a:pt x="146" y="221"/>
                  </a:lnTo>
                  <a:lnTo>
                    <a:pt x="146" y="218"/>
                  </a:lnTo>
                  <a:lnTo>
                    <a:pt x="147" y="214"/>
                  </a:lnTo>
                  <a:lnTo>
                    <a:pt x="164" y="215"/>
                  </a:lnTo>
                  <a:lnTo>
                    <a:pt x="173" y="215"/>
                  </a:lnTo>
                  <a:lnTo>
                    <a:pt x="182" y="214"/>
                  </a:lnTo>
                  <a:lnTo>
                    <a:pt x="188" y="212"/>
                  </a:lnTo>
                  <a:lnTo>
                    <a:pt x="190" y="210"/>
                  </a:lnTo>
                  <a:lnTo>
                    <a:pt x="192" y="208"/>
                  </a:lnTo>
                  <a:lnTo>
                    <a:pt x="192" y="205"/>
                  </a:lnTo>
                  <a:lnTo>
                    <a:pt x="192" y="202"/>
                  </a:lnTo>
                  <a:lnTo>
                    <a:pt x="189" y="198"/>
                  </a:lnTo>
                  <a:lnTo>
                    <a:pt x="187" y="193"/>
                  </a:lnTo>
                  <a:lnTo>
                    <a:pt x="178" y="182"/>
                  </a:lnTo>
                  <a:lnTo>
                    <a:pt x="173" y="175"/>
                  </a:lnTo>
                  <a:lnTo>
                    <a:pt x="172" y="172"/>
                  </a:lnTo>
                  <a:lnTo>
                    <a:pt x="172" y="170"/>
                  </a:lnTo>
                  <a:lnTo>
                    <a:pt x="176" y="154"/>
                  </a:lnTo>
                  <a:lnTo>
                    <a:pt x="178" y="147"/>
                  </a:lnTo>
                  <a:lnTo>
                    <a:pt x="179" y="138"/>
                  </a:lnTo>
                  <a:lnTo>
                    <a:pt x="179" y="133"/>
                  </a:lnTo>
                  <a:lnTo>
                    <a:pt x="178" y="127"/>
                  </a:lnTo>
                  <a:lnTo>
                    <a:pt x="173" y="115"/>
                  </a:lnTo>
                  <a:lnTo>
                    <a:pt x="163" y="94"/>
                  </a:lnTo>
                  <a:lnTo>
                    <a:pt x="161" y="93"/>
                  </a:lnTo>
                  <a:lnTo>
                    <a:pt x="158" y="91"/>
                  </a:lnTo>
                  <a:lnTo>
                    <a:pt x="159" y="88"/>
                  </a:lnTo>
                  <a:lnTo>
                    <a:pt x="159" y="84"/>
                  </a:lnTo>
                  <a:lnTo>
                    <a:pt x="154" y="77"/>
                  </a:lnTo>
                  <a:lnTo>
                    <a:pt x="148" y="68"/>
                  </a:lnTo>
                  <a:lnTo>
                    <a:pt x="138" y="47"/>
                  </a:lnTo>
                  <a:lnTo>
                    <a:pt x="128" y="26"/>
                  </a:lnTo>
                  <a:lnTo>
                    <a:pt x="124" y="18"/>
                  </a:lnTo>
                  <a:lnTo>
                    <a:pt x="121" y="12"/>
                  </a:lnTo>
                  <a:lnTo>
                    <a:pt x="116" y="7"/>
                  </a:lnTo>
                  <a:lnTo>
                    <a:pt x="109" y="3"/>
                  </a:lnTo>
                  <a:lnTo>
                    <a:pt x="103" y="2"/>
                  </a:lnTo>
                  <a:lnTo>
                    <a:pt x="96" y="2"/>
                  </a:lnTo>
                  <a:lnTo>
                    <a:pt x="89" y="2"/>
                  </a:lnTo>
                  <a:lnTo>
                    <a:pt x="86" y="1"/>
                  </a:lnTo>
                  <a:lnTo>
                    <a:pt x="82" y="0"/>
                  </a:lnTo>
                  <a:lnTo>
                    <a:pt x="83" y="3"/>
                  </a:lnTo>
                  <a:lnTo>
                    <a:pt x="86" y="7"/>
                  </a:lnTo>
                  <a:lnTo>
                    <a:pt x="88" y="11"/>
                  </a:lnTo>
                  <a:lnTo>
                    <a:pt x="88" y="14"/>
                  </a:lnTo>
                  <a:lnTo>
                    <a:pt x="87" y="18"/>
                  </a:lnTo>
                  <a:lnTo>
                    <a:pt x="84" y="19"/>
                  </a:lnTo>
                  <a:lnTo>
                    <a:pt x="82" y="19"/>
                  </a:lnTo>
                  <a:lnTo>
                    <a:pt x="81" y="21"/>
                  </a:lnTo>
                  <a:lnTo>
                    <a:pt x="78" y="28"/>
                  </a:lnTo>
                  <a:lnTo>
                    <a:pt x="77" y="32"/>
                  </a:lnTo>
                  <a:lnTo>
                    <a:pt x="76" y="36"/>
                  </a:lnTo>
                  <a:lnTo>
                    <a:pt x="64" y="48"/>
                  </a:lnTo>
                  <a:lnTo>
                    <a:pt x="59" y="54"/>
                  </a:lnTo>
                  <a:lnTo>
                    <a:pt x="52" y="59"/>
                  </a:lnTo>
                  <a:lnTo>
                    <a:pt x="42" y="64"/>
                  </a:lnTo>
                  <a:lnTo>
                    <a:pt x="30" y="67"/>
                  </a:lnTo>
                  <a:lnTo>
                    <a:pt x="5" y="72"/>
                  </a:lnTo>
                  <a:lnTo>
                    <a:pt x="6" y="78"/>
                  </a:lnTo>
                  <a:lnTo>
                    <a:pt x="5" y="86"/>
                  </a:lnTo>
                  <a:lnTo>
                    <a:pt x="0" y="98"/>
                  </a:lnTo>
                  <a:lnTo>
                    <a:pt x="0" y="103"/>
                  </a:lnTo>
                  <a:lnTo>
                    <a:pt x="0" y="108"/>
                  </a:lnTo>
                  <a:lnTo>
                    <a:pt x="2" y="110"/>
                  </a:lnTo>
                  <a:lnTo>
                    <a:pt x="5" y="113"/>
                  </a:lnTo>
                  <a:lnTo>
                    <a:pt x="12" y="118"/>
                  </a:lnTo>
                  <a:lnTo>
                    <a:pt x="20" y="122"/>
                  </a:lnTo>
                  <a:lnTo>
                    <a:pt x="25" y="127"/>
                  </a:lnTo>
                  <a:lnTo>
                    <a:pt x="28" y="132"/>
                  </a:lnTo>
                  <a:lnTo>
                    <a:pt x="34" y="144"/>
                  </a:lnTo>
                  <a:lnTo>
                    <a:pt x="36" y="148"/>
                  </a:lnTo>
                  <a:lnTo>
                    <a:pt x="36" y="149"/>
                  </a:lnTo>
                  <a:lnTo>
                    <a:pt x="38" y="152"/>
                  </a:lnTo>
                  <a:lnTo>
                    <a:pt x="41" y="154"/>
                  </a:lnTo>
                  <a:lnTo>
                    <a:pt x="46" y="158"/>
                  </a:lnTo>
                  <a:lnTo>
                    <a:pt x="48" y="160"/>
                  </a:lnTo>
                  <a:lnTo>
                    <a:pt x="49" y="163"/>
                  </a:lnTo>
                  <a:lnTo>
                    <a:pt x="51" y="168"/>
                  </a:lnTo>
                  <a:lnTo>
                    <a:pt x="52" y="173"/>
                  </a:lnTo>
                  <a:lnTo>
                    <a:pt x="56" y="184"/>
                  </a:lnTo>
                  <a:lnTo>
                    <a:pt x="62" y="194"/>
                  </a:lnTo>
                  <a:lnTo>
                    <a:pt x="69" y="203"/>
                  </a:lnTo>
                  <a:lnTo>
                    <a:pt x="74" y="210"/>
                  </a:lnTo>
                  <a:lnTo>
                    <a:pt x="78" y="216"/>
                  </a:lnTo>
                  <a:lnTo>
                    <a:pt x="86" y="230"/>
                  </a:lnTo>
                  <a:lnTo>
                    <a:pt x="91" y="245"/>
                  </a:lnTo>
                  <a:lnTo>
                    <a:pt x="98" y="260"/>
                  </a:lnTo>
                  <a:lnTo>
                    <a:pt x="98" y="263"/>
                  </a:lnTo>
                  <a:lnTo>
                    <a:pt x="92" y="261"/>
                  </a:lnTo>
                  <a:lnTo>
                    <a:pt x="87" y="263"/>
                  </a:lnTo>
                  <a:lnTo>
                    <a:pt x="81" y="264"/>
                  </a:lnTo>
                  <a:lnTo>
                    <a:pt x="76" y="266"/>
                  </a:lnTo>
                  <a:lnTo>
                    <a:pt x="78" y="276"/>
                  </a:lnTo>
                  <a:lnTo>
                    <a:pt x="88" y="276"/>
                  </a:lnTo>
                  <a:lnTo>
                    <a:pt x="97" y="276"/>
                  </a:lnTo>
                  <a:lnTo>
                    <a:pt x="117" y="278"/>
                  </a:lnTo>
                  <a:lnTo>
                    <a:pt x="116" y="275"/>
                  </a:lnTo>
                  <a:lnTo>
                    <a:pt x="114" y="273"/>
                  </a:lnTo>
                  <a:lnTo>
                    <a:pt x="111" y="269"/>
                  </a:lnTo>
                  <a:lnTo>
                    <a:pt x="104" y="266"/>
                  </a:lnTo>
                  <a:lnTo>
                    <a:pt x="99" y="264"/>
                  </a:lnTo>
                  <a:lnTo>
                    <a:pt x="99" y="263"/>
                  </a:lnTo>
                  <a:lnTo>
                    <a:pt x="108" y="259"/>
                  </a:lnTo>
                  <a:lnTo>
                    <a:pt x="109" y="265"/>
                  </a:lnTo>
                  <a:lnTo>
                    <a:pt x="112" y="261"/>
                  </a:lnTo>
                  <a:lnTo>
                    <a:pt x="116" y="265"/>
                  </a:lnTo>
                  <a:lnTo>
                    <a:pt x="118" y="269"/>
                  </a:lnTo>
                  <a:lnTo>
                    <a:pt x="121" y="273"/>
                  </a:lnTo>
                  <a:lnTo>
                    <a:pt x="121" y="274"/>
                  </a:lnTo>
                  <a:lnTo>
                    <a:pt x="121" y="278"/>
                  </a:lnTo>
                  <a:lnTo>
                    <a:pt x="149" y="278"/>
                  </a:lnTo>
                  <a:lnTo>
                    <a:pt x="148" y="274"/>
                  </a:lnTo>
                  <a:lnTo>
                    <a:pt x="147" y="271"/>
                  </a:lnTo>
                  <a:lnTo>
                    <a:pt x="144" y="268"/>
                  </a:lnTo>
                  <a:lnTo>
                    <a:pt x="144" y="265"/>
                  </a:lnTo>
                  <a:lnTo>
                    <a:pt x="143" y="265"/>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Napa</a:t>
              </a:r>
            </a:p>
          </p:txBody>
        </p:sp>
        <p:sp>
          <p:nvSpPr>
            <p:cNvPr id="47" name="Marin"/>
            <p:cNvSpPr>
              <a:spLocks/>
            </p:cNvSpPr>
            <p:nvPr/>
          </p:nvSpPr>
          <p:spPr bwMode="auto">
            <a:xfrm>
              <a:off x="1137937" y="4885197"/>
              <a:ext cx="408107" cy="398792"/>
            </a:xfrm>
            <a:custGeom>
              <a:avLst/>
              <a:gdLst>
                <a:gd name="T0" fmla="*/ 2147483647 w 194"/>
                <a:gd name="T1" fmla="*/ 2147483647 h 199"/>
                <a:gd name="T2" fmla="*/ 2147483647 w 194"/>
                <a:gd name="T3" fmla="*/ 2147483647 h 199"/>
                <a:gd name="T4" fmla="*/ 2147483647 w 194"/>
                <a:gd name="T5" fmla="*/ 2147483647 h 199"/>
                <a:gd name="T6" fmla="*/ 2147483647 w 194"/>
                <a:gd name="T7" fmla="*/ 2147483647 h 199"/>
                <a:gd name="T8" fmla="*/ 2147483647 w 194"/>
                <a:gd name="T9" fmla="*/ 0 h 199"/>
                <a:gd name="T10" fmla="*/ 2147483647 w 194"/>
                <a:gd name="T11" fmla="*/ 2147483647 h 199"/>
                <a:gd name="T12" fmla="*/ 2147483647 w 194"/>
                <a:gd name="T13" fmla="*/ 2147483647 h 199"/>
                <a:gd name="T14" fmla="*/ 2147483647 w 194"/>
                <a:gd name="T15" fmla="*/ 2147483647 h 199"/>
                <a:gd name="T16" fmla="*/ 2147483647 w 194"/>
                <a:gd name="T17" fmla="*/ 2147483647 h 199"/>
                <a:gd name="T18" fmla="*/ 2147483647 w 194"/>
                <a:gd name="T19" fmla="*/ 2147483647 h 199"/>
                <a:gd name="T20" fmla="*/ 2147483647 w 194"/>
                <a:gd name="T21" fmla="*/ 2147483647 h 199"/>
                <a:gd name="T22" fmla="*/ 2147483647 w 194"/>
                <a:gd name="T23" fmla="*/ 2147483647 h 199"/>
                <a:gd name="T24" fmla="*/ 2147483647 w 194"/>
                <a:gd name="T25" fmla="*/ 2147483647 h 199"/>
                <a:gd name="T26" fmla="*/ 2147483647 w 194"/>
                <a:gd name="T27" fmla="*/ 2147483647 h 199"/>
                <a:gd name="T28" fmla="*/ 2147483647 w 194"/>
                <a:gd name="T29" fmla="*/ 2147483647 h 199"/>
                <a:gd name="T30" fmla="*/ 2147483647 w 194"/>
                <a:gd name="T31" fmla="*/ 2147483647 h 199"/>
                <a:gd name="T32" fmla="*/ 2147483647 w 194"/>
                <a:gd name="T33" fmla="*/ 2147483647 h 199"/>
                <a:gd name="T34" fmla="*/ 2147483647 w 194"/>
                <a:gd name="T35" fmla="*/ 2147483647 h 199"/>
                <a:gd name="T36" fmla="*/ 2147483647 w 194"/>
                <a:gd name="T37" fmla="*/ 2147483647 h 199"/>
                <a:gd name="T38" fmla="*/ 2147483647 w 194"/>
                <a:gd name="T39" fmla="*/ 2147483647 h 199"/>
                <a:gd name="T40" fmla="*/ 2147483647 w 194"/>
                <a:gd name="T41" fmla="*/ 2147483647 h 199"/>
                <a:gd name="T42" fmla="*/ 2147483647 w 194"/>
                <a:gd name="T43" fmla="*/ 2147483647 h 199"/>
                <a:gd name="T44" fmla="*/ 2147483647 w 194"/>
                <a:gd name="T45" fmla="*/ 2147483647 h 199"/>
                <a:gd name="T46" fmla="*/ 2147483647 w 194"/>
                <a:gd name="T47" fmla="*/ 2147483647 h 199"/>
                <a:gd name="T48" fmla="*/ 2147483647 w 194"/>
                <a:gd name="T49" fmla="*/ 2147483647 h 199"/>
                <a:gd name="T50" fmla="*/ 2147483647 w 194"/>
                <a:gd name="T51" fmla="*/ 2147483647 h 199"/>
                <a:gd name="T52" fmla="*/ 2147483647 w 194"/>
                <a:gd name="T53" fmla="*/ 2147483647 h 199"/>
                <a:gd name="T54" fmla="*/ 2147483647 w 194"/>
                <a:gd name="T55" fmla="*/ 2147483647 h 199"/>
                <a:gd name="T56" fmla="*/ 2147483647 w 194"/>
                <a:gd name="T57" fmla="*/ 2147483647 h 199"/>
                <a:gd name="T58" fmla="*/ 2147483647 w 194"/>
                <a:gd name="T59" fmla="*/ 2147483647 h 199"/>
                <a:gd name="T60" fmla="*/ 2147483647 w 194"/>
                <a:gd name="T61" fmla="*/ 2147483647 h 199"/>
                <a:gd name="T62" fmla="*/ 2147483647 w 194"/>
                <a:gd name="T63" fmla="*/ 2147483647 h 199"/>
                <a:gd name="T64" fmla="*/ 2147483647 w 194"/>
                <a:gd name="T65" fmla="*/ 2147483647 h 199"/>
                <a:gd name="T66" fmla="*/ 2147483647 w 194"/>
                <a:gd name="T67" fmla="*/ 2147483647 h 199"/>
                <a:gd name="T68" fmla="*/ 2147483647 w 194"/>
                <a:gd name="T69" fmla="*/ 2147483647 h 199"/>
                <a:gd name="T70" fmla="*/ 2147483647 w 194"/>
                <a:gd name="T71" fmla="*/ 2147483647 h 199"/>
                <a:gd name="T72" fmla="*/ 2147483647 w 194"/>
                <a:gd name="T73" fmla="*/ 2147483647 h 199"/>
                <a:gd name="T74" fmla="*/ 2147483647 w 194"/>
                <a:gd name="T75" fmla="*/ 2147483647 h 199"/>
                <a:gd name="T76" fmla="*/ 2147483647 w 194"/>
                <a:gd name="T77" fmla="*/ 2147483647 h 199"/>
                <a:gd name="T78" fmla="*/ 2147483647 w 194"/>
                <a:gd name="T79" fmla="*/ 2147483647 h 199"/>
                <a:gd name="T80" fmla="*/ 2147483647 w 194"/>
                <a:gd name="T81" fmla="*/ 2147483647 h 199"/>
                <a:gd name="T82" fmla="*/ 2147483647 w 194"/>
                <a:gd name="T83" fmla="*/ 2147483647 h 199"/>
                <a:gd name="T84" fmla="*/ 2147483647 w 194"/>
                <a:gd name="T85" fmla="*/ 2147483647 h 199"/>
                <a:gd name="T86" fmla="*/ 2147483647 w 194"/>
                <a:gd name="T87" fmla="*/ 2147483647 h 199"/>
                <a:gd name="T88" fmla="*/ 2147483647 w 194"/>
                <a:gd name="T89" fmla="*/ 2147483647 h 199"/>
                <a:gd name="T90" fmla="*/ 2147483647 w 194"/>
                <a:gd name="T91" fmla="*/ 2147483647 h 199"/>
                <a:gd name="T92" fmla="*/ 2147483647 w 194"/>
                <a:gd name="T93" fmla="*/ 2147483647 h 199"/>
                <a:gd name="T94" fmla="*/ 2147483647 w 194"/>
                <a:gd name="T95" fmla="*/ 2147483647 h 199"/>
                <a:gd name="T96" fmla="*/ 2147483647 w 194"/>
                <a:gd name="T97" fmla="*/ 2147483647 h 199"/>
                <a:gd name="T98" fmla="*/ 2147483647 w 194"/>
                <a:gd name="T99" fmla="*/ 2147483647 h 199"/>
                <a:gd name="T100" fmla="*/ 2147483647 w 194"/>
                <a:gd name="T101" fmla="*/ 2147483647 h 199"/>
                <a:gd name="T102" fmla="*/ 2147483647 w 194"/>
                <a:gd name="T103" fmla="*/ 2147483647 h 199"/>
                <a:gd name="T104" fmla="*/ 2147483647 w 194"/>
                <a:gd name="T105" fmla="*/ 2147483647 h 199"/>
                <a:gd name="T106" fmla="*/ 2147483647 w 194"/>
                <a:gd name="T107" fmla="*/ 2147483647 h 19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94" h="199">
                  <a:moveTo>
                    <a:pt x="152" y="55"/>
                  </a:moveTo>
                  <a:lnTo>
                    <a:pt x="151" y="53"/>
                  </a:lnTo>
                  <a:lnTo>
                    <a:pt x="149" y="51"/>
                  </a:lnTo>
                  <a:lnTo>
                    <a:pt x="143" y="51"/>
                  </a:lnTo>
                  <a:lnTo>
                    <a:pt x="133" y="54"/>
                  </a:lnTo>
                  <a:lnTo>
                    <a:pt x="124" y="53"/>
                  </a:lnTo>
                  <a:lnTo>
                    <a:pt x="116" y="50"/>
                  </a:lnTo>
                  <a:lnTo>
                    <a:pt x="101" y="44"/>
                  </a:lnTo>
                  <a:lnTo>
                    <a:pt x="89" y="39"/>
                  </a:lnTo>
                  <a:lnTo>
                    <a:pt x="83" y="35"/>
                  </a:lnTo>
                  <a:lnTo>
                    <a:pt x="77" y="31"/>
                  </a:lnTo>
                  <a:lnTo>
                    <a:pt x="41" y="1"/>
                  </a:lnTo>
                  <a:lnTo>
                    <a:pt x="38" y="0"/>
                  </a:lnTo>
                  <a:lnTo>
                    <a:pt x="33" y="0"/>
                  </a:lnTo>
                  <a:lnTo>
                    <a:pt x="23" y="0"/>
                  </a:lnTo>
                  <a:lnTo>
                    <a:pt x="12" y="3"/>
                  </a:lnTo>
                  <a:lnTo>
                    <a:pt x="8" y="5"/>
                  </a:lnTo>
                  <a:lnTo>
                    <a:pt x="7" y="8"/>
                  </a:lnTo>
                  <a:lnTo>
                    <a:pt x="12" y="21"/>
                  </a:lnTo>
                  <a:lnTo>
                    <a:pt x="14" y="29"/>
                  </a:lnTo>
                  <a:lnTo>
                    <a:pt x="18" y="34"/>
                  </a:lnTo>
                  <a:lnTo>
                    <a:pt x="22" y="36"/>
                  </a:lnTo>
                  <a:lnTo>
                    <a:pt x="26" y="39"/>
                  </a:lnTo>
                  <a:lnTo>
                    <a:pt x="29" y="40"/>
                  </a:lnTo>
                  <a:lnTo>
                    <a:pt x="31" y="41"/>
                  </a:lnTo>
                  <a:lnTo>
                    <a:pt x="32" y="44"/>
                  </a:lnTo>
                  <a:lnTo>
                    <a:pt x="34" y="51"/>
                  </a:lnTo>
                  <a:lnTo>
                    <a:pt x="38" y="58"/>
                  </a:lnTo>
                  <a:lnTo>
                    <a:pt x="43" y="65"/>
                  </a:lnTo>
                  <a:lnTo>
                    <a:pt x="49" y="71"/>
                  </a:lnTo>
                  <a:lnTo>
                    <a:pt x="57" y="79"/>
                  </a:lnTo>
                  <a:lnTo>
                    <a:pt x="62" y="85"/>
                  </a:lnTo>
                  <a:lnTo>
                    <a:pt x="66" y="91"/>
                  </a:lnTo>
                  <a:lnTo>
                    <a:pt x="67" y="99"/>
                  </a:lnTo>
                  <a:lnTo>
                    <a:pt x="62" y="94"/>
                  </a:lnTo>
                  <a:lnTo>
                    <a:pt x="56" y="85"/>
                  </a:lnTo>
                  <a:lnTo>
                    <a:pt x="38" y="61"/>
                  </a:lnTo>
                  <a:lnTo>
                    <a:pt x="21" y="40"/>
                  </a:lnTo>
                  <a:lnTo>
                    <a:pt x="16" y="33"/>
                  </a:lnTo>
                  <a:lnTo>
                    <a:pt x="13" y="31"/>
                  </a:lnTo>
                  <a:lnTo>
                    <a:pt x="12" y="31"/>
                  </a:lnTo>
                  <a:lnTo>
                    <a:pt x="11" y="33"/>
                  </a:lnTo>
                  <a:lnTo>
                    <a:pt x="11" y="35"/>
                  </a:lnTo>
                  <a:lnTo>
                    <a:pt x="13" y="40"/>
                  </a:lnTo>
                  <a:lnTo>
                    <a:pt x="21" y="51"/>
                  </a:lnTo>
                  <a:lnTo>
                    <a:pt x="23" y="59"/>
                  </a:lnTo>
                  <a:lnTo>
                    <a:pt x="23" y="65"/>
                  </a:lnTo>
                  <a:lnTo>
                    <a:pt x="22" y="71"/>
                  </a:lnTo>
                  <a:lnTo>
                    <a:pt x="19" y="78"/>
                  </a:lnTo>
                  <a:lnTo>
                    <a:pt x="12" y="104"/>
                  </a:lnTo>
                  <a:lnTo>
                    <a:pt x="7" y="116"/>
                  </a:lnTo>
                  <a:lnTo>
                    <a:pt x="0" y="129"/>
                  </a:lnTo>
                  <a:lnTo>
                    <a:pt x="9" y="131"/>
                  </a:lnTo>
                  <a:lnTo>
                    <a:pt x="14" y="131"/>
                  </a:lnTo>
                  <a:lnTo>
                    <a:pt x="19" y="129"/>
                  </a:lnTo>
                  <a:lnTo>
                    <a:pt x="16" y="126"/>
                  </a:lnTo>
                  <a:lnTo>
                    <a:pt x="14" y="124"/>
                  </a:lnTo>
                  <a:lnTo>
                    <a:pt x="14" y="121"/>
                  </a:lnTo>
                  <a:lnTo>
                    <a:pt x="17" y="119"/>
                  </a:lnTo>
                  <a:lnTo>
                    <a:pt x="19" y="116"/>
                  </a:lnTo>
                  <a:lnTo>
                    <a:pt x="23" y="114"/>
                  </a:lnTo>
                  <a:lnTo>
                    <a:pt x="27" y="114"/>
                  </a:lnTo>
                  <a:lnTo>
                    <a:pt x="29" y="114"/>
                  </a:lnTo>
                  <a:lnTo>
                    <a:pt x="26" y="111"/>
                  </a:lnTo>
                  <a:lnTo>
                    <a:pt x="23" y="107"/>
                  </a:lnTo>
                  <a:lnTo>
                    <a:pt x="23" y="104"/>
                  </a:lnTo>
                  <a:lnTo>
                    <a:pt x="24" y="101"/>
                  </a:lnTo>
                  <a:lnTo>
                    <a:pt x="26" y="99"/>
                  </a:lnTo>
                  <a:lnTo>
                    <a:pt x="28" y="99"/>
                  </a:lnTo>
                  <a:lnTo>
                    <a:pt x="29" y="99"/>
                  </a:lnTo>
                  <a:lnTo>
                    <a:pt x="29" y="100"/>
                  </a:lnTo>
                  <a:lnTo>
                    <a:pt x="32" y="99"/>
                  </a:lnTo>
                  <a:lnTo>
                    <a:pt x="34" y="99"/>
                  </a:lnTo>
                  <a:lnTo>
                    <a:pt x="33" y="101"/>
                  </a:lnTo>
                  <a:lnTo>
                    <a:pt x="32" y="104"/>
                  </a:lnTo>
                  <a:lnTo>
                    <a:pt x="32" y="105"/>
                  </a:lnTo>
                  <a:lnTo>
                    <a:pt x="32" y="107"/>
                  </a:lnTo>
                  <a:lnTo>
                    <a:pt x="34" y="111"/>
                  </a:lnTo>
                  <a:lnTo>
                    <a:pt x="36" y="114"/>
                  </a:lnTo>
                  <a:lnTo>
                    <a:pt x="36" y="116"/>
                  </a:lnTo>
                  <a:lnTo>
                    <a:pt x="42" y="116"/>
                  </a:lnTo>
                  <a:lnTo>
                    <a:pt x="48" y="117"/>
                  </a:lnTo>
                  <a:lnTo>
                    <a:pt x="56" y="120"/>
                  </a:lnTo>
                  <a:lnTo>
                    <a:pt x="62" y="122"/>
                  </a:lnTo>
                  <a:lnTo>
                    <a:pt x="68" y="127"/>
                  </a:lnTo>
                  <a:lnTo>
                    <a:pt x="73" y="132"/>
                  </a:lnTo>
                  <a:lnTo>
                    <a:pt x="77" y="137"/>
                  </a:lnTo>
                  <a:lnTo>
                    <a:pt x="79" y="144"/>
                  </a:lnTo>
                  <a:lnTo>
                    <a:pt x="81" y="147"/>
                  </a:lnTo>
                  <a:lnTo>
                    <a:pt x="84" y="150"/>
                  </a:lnTo>
                  <a:lnTo>
                    <a:pt x="91" y="154"/>
                  </a:lnTo>
                  <a:lnTo>
                    <a:pt x="97" y="160"/>
                  </a:lnTo>
                  <a:lnTo>
                    <a:pt x="102" y="166"/>
                  </a:lnTo>
                  <a:lnTo>
                    <a:pt x="106" y="167"/>
                  </a:lnTo>
                  <a:lnTo>
                    <a:pt x="109" y="167"/>
                  </a:lnTo>
                  <a:lnTo>
                    <a:pt x="112" y="167"/>
                  </a:lnTo>
                  <a:lnTo>
                    <a:pt x="113" y="165"/>
                  </a:lnTo>
                  <a:lnTo>
                    <a:pt x="114" y="160"/>
                  </a:lnTo>
                  <a:lnTo>
                    <a:pt x="114" y="155"/>
                  </a:lnTo>
                  <a:lnTo>
                    <a:pt x="117" y="156"/>
                  </a:lnTo>
                  <a:lnTo>
                    <a:pt x="121" y="160"/>
                  </a:lnTo>
                  <a:lnTo>
                    <a:pt x="121" y="162"/>
                  </a:lnTo>
                  <a:lnTo>
                    <a:pt x="118" y="165"/>
                  </a:lnTo>
                  <a:lnTo>
                    <a:pt x="123" y="167"/>
                  </a:lnTo>
                  <a:lnTo>
                    <a:pt x="128" y="171"/>
                  </a:lnTo>
                  <a:lnTo>
                    <a:pt x="133" y="175"/>
                  </a:lnTo>
                  <a:lnTo>
                    <a:pt x="138" y="177"/>
                  </a:lnTo>
                  <a:lnTo>
                    <a:pt x="144" y="180"/>
                  </a:lnTo>
                  <a:lnTo>
                    <a:pt x="152" y="185"/>
                  </a:lnTo>
                  <a:lnTo>
                    <a:pt x="158" y="190"/>
                  </a:lnTo>
                  <a:lnTo>
                    <a:pt x="163" y="195"/>
                  </a:lnTo>
                  <a:lnTo>
                    <a:pt x="165" y="199"/>
                  </a:lnTo>
                  <a:lnTo>
                    <a:pt x="170" y="199"/>
                  </a:lnTo>
                  <a:lnTo>
                    <a:pt x="175" y="199"/>
                  </a:lnTo>
                  <a:lnTo>
                    <a:pt x="179" y="196"/>
                  </a:lnTo>
                  <a:lnTo>
                    <a:pt x="182" y="192"/>
                  </a:lnTo>
                  <a:lnTo>
                    <a:pt x="183" y="190"/>
                  </a:lnTo>
                  <a:lnTo>
                    <a:pt x="183" y="187"/>
                  </a:lnTo>
                  <a:lnTo>
                    <a:pt x="182" y="184"/>
                  </a:lnTo>
                  <a:lnTo>
                    <a:pt x="179" y="181"/>
                  </a:lnTo>
                  <a:lnTo>
                    <a:pt x="172" y="174"/>
                  </a:lnTo>
                  <a:lnTo>
                    <a:pt x="174" y="174"/>
                  </a:lnTo>
                  <a:lnTo>
                    <a:pt x="178" y="174"/>
                  </a:lnTo>
                  <a:lnTo>
                    <a:pt x="185" y="176"/>
                  </a:lnTo>
                  <a:lnTo>
                    <a:pt x="189" y="177"/>
                  </a:lnTo>
                  <a:lnTo>
                    <a:pt x="193" y="177"/>
                  </a:lnTo>
                  <a:lnTo>
                    <a:pt x="194" y="176"/>
                  </a:lnTo>
                  <a:lnTo>
                    <a:pt x="194" y="172"/>
                  </a:lnTo>
                  <a:lnTo>
                    <a:pt x="193" y="171"/>
                  </a:lnTo>
                  <a:lnTo>
                    <a:pt x="189" y="167"/>
                  </a:lnTo>
                  <a:lnTo>
                    <a:pt x="180" y="160"/>
                  </a:lnTo>
                  <a:lnTo>
                    <a:pt x="177" y="156"/>
                  </a:lnTo>
                  <a:lnTo>
                    <a:pt x="175" y="154"/>
                  </a:lnTo>
                  <a:lnTo>
                    <a:pt x="175" y="152"/>
                  </a:lnTo>
                  <a:lnTo>
                    <a:pt x="177" y="151"/>
                  </a:lnTo>
                  <a:lnTo>
                    <a:pt x="182" y="151"/>
                  </a:lnTo>
                  <a:lnTo>
                    <a:pt x="178" y="146"/>
                  </a:lnTo>
                  <a:lnTo>
                    <a:pt x="177" y="140"/>
                  </a:lnTo>
                  <a:lnTo>
                    <a:pt x="178" y="137"/>
                  </a:lnTo>
                  <a:lnTo>
                    <a:pt x="179" y="135"/>
                  </a:lnTo>
                  <a:lnTo>
                    <a:pt x="182" y="134"/>
                  </a:lnTo>
                  <a:lnTo>
                    <a:pt x="185" y="134"/>
                  </a:lnTo>
                  <a:lnTo>
                    <a:pt x="188" y="134"/>
                  </a:lnTo>
                  <a:lnTo>
                    <a:pt x="189" y="132"/>
                  </a:lnTo>
                  <a:lnTo>
                    <a:pt x="184" y="127"/>
                  </a:lnTo>
                  <a:lnTo>
                    <a:pt x="177" y="122"/>
                  </a:lnTo>
                  <a:lnTo>
                    <a:pt x="172" y="120"/>
                  </a:lnTo>
                  <a:lnTo>
                    <a:pt x="169" y="119"/>
                  </a:lnTo>
                  <a:lnTo>
                    <a:pt x="172" y="117"/>
                  </a:lnTo>
                  <a:lnTo>
                    <a:pt x="174" y="115"/>
                  </a:lnTo>
                  <a:lnTo>
                    <a:pt x="178" y="107"/>
                  </a:lnTo>
                  <a:lnTo>
                    <a:pt x="179" y="100"/>
                  </a:lnTo>
                  <a:lnTo>
                    <a:pt x="179" y="93"/>
                  </a:lnTo>
                  <a:lnTo>
                    <a:pt x="177" y="85"/>
                  </a:lnTo>
                  <a:lnTo>
                    <a:pt x="172" y="79"/>
                  </a:lnTo>
                  <a:lnTo>
                    <a:pt x="165" y="71"/>
                  </a:lnTo>
                  <a:lnTo>
                    <a:pt x="162" y="65"/>
                  </a:lnTo>
                  <a:lnTo>
                    <a:pt x="162" y="66"/>
                  </a:lnTo>
                  <a:lnTo>
                    <a:pt x="156" y="61"/>
                  </a:lnTo>
                  <a:lnTo>
                    <a:pt x="153" y="58"/>
                  </a:lnTo>
                  <a:lnTo>
                    <a:pt x="153" y="55"/>
                  </a:lnTo>
                  <a:lnTo>
                    <a:pt x="152" y="55"/>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Marin</a:t>
              </a:r>
            </a:p>
          </p:txBody>
        </p:sp>
        <p:sp>
          <p:nvSpPr>
            <p:cNvPr id="48" name="Alameda"/>
            <p:cNvSpPr>
              <a:spLocks/>
            </p:cNvSpPr>
            <p:nvPr/>
          </p:nvSpPr>
          <p:spPr bwMode="auto">
            <a:xfrm>
              <a:off x="1625979" y="5223862"/>
              <a:ext cx="595330" cy="350696"/>
            </a:xfrm>
            <a:custGeom>
              <a:avLst/>
              <a:gdLst>
                <a:gd name="T0" fmla="*/ 2147483647 w 283"/>
                <a:gd name="T1" fmla="*/ 2147483647 h 175"/>
                <a:gd name="T2" fmla="*/ 2147483647 w 283"/>
                <a:gd name="T3" fmla="*/ 2147483647 h 175"/>
                <a:gd name="T4" fmla="*/ 2147483647 w 283"/>
                <a:gd name="T5" fmla="*/ 2147483647 h 175"/>
                <a:gd name="T6" fmla="*/ 2147483647 w 283"/>
                <a:gd name="T7" fmla="*/ 2147483647 h 175"/>
                <a:gd name="T8" fmla="*/ 2147483647 w 283"/>
                <a:gd name="T9" fmla="*/ 2147483647 h 175"/>
                <a:gd name="T10" fmla="*/ 2147483647 w 283"/>
                <a:gd name="T11" fmla="*/ 2147483647 h 175"/>
                <a:gd name="T12" fmla="*/ 2147483647 w 283"/>
                <a:gd name="T13" fmla="*/ 2147483647 h 175"/>
                <a:gd name="T14" fmla="*/ 2147483647 w 283"/>
                <a:gd name="T15" fmla="*/ 2147483647 h 175"/>
                <a:gd name="T16" fmla="*/ 2147483647 w 283"/>
                <a:gd name="T17" fmla="*/ 2147483647 h 175"/>
                <a:gd name="T18" fmla="*/ 2147483647 w 283"/>
                <a:gd name="T19" fmla="*/ 2147483647 h 175"/>
                <a:gd name="T20" fmla="*/ 2147483647 w 283"/>
                <a:gd name="T21" fmla="*/ 2147483647 h 175"/>
                <a:gd name="T22" fmla="*/ 2147483647 w 283"/>
                <a:gd name="T23" fmla="*/ 2147483647 h 175"/>
                <a:gd name="T24" fmla="*/ 2147483647 w 283"/>
                <a:gd name="T25" fmla="*/ 2147483647 h 175"/>
                <a:gd name="T26" fmla="*/ 2147483647 w 283"/>
                <a:gd name="T27" fmla="*/ 2147483647 h 175"/>
                <a:gd name="T28" fmla="*/ 2147483647 w 283"/>
                <a:gd name="T29" fmla="*/ 2147483647 h 175"/>
                <a:gd name="T30" fmla="*/ 2147483647 w 283"/>
                <a:gd name="T31" fmla="*/ 2147483647 h 175"/>
                <a:gd name="T32" fmla="*/ 2147483647 w 283"/>
                <a:gd name="T33" fmla="*/ 2147483647 h 175"/>
                <a:gd name="T34" fmla="*/ 2147483647 w 283"/>
                <a:gd name="T35" fmla="*/ 2147483647 h 175"/>
                <a:gd name="T36" fmla="*/ 2147483647 w 283"/>
                <a:gd name="T37" fmla="*/ 2147483647 h 175"/>
                <a:gd name="T38" fmla="*/ 2147483647 w 283"/>
                <a:gd name="T39" fmla="*/ 2147483647 h 175"/>
                <a:gd name="T40" fmla="*/ 2147483647 w 283"/>
                <a:gd name="T41" fmla="*/ 2147483647 h 175"/>
                <a:gd name="T42" fmla="*/ 2147483647 w 283"/>
                <a:gd name="T43" fmla="*/ 2147483647 h 175"/>
                <a:gd name="T44" fmla="*/ 2147483647 w 283"/>
                <a:gd name="T45" fmla="*/ 0 h 175"/>
                <a:gd name="T46" fmla="*/ 2147483647 w 283"/>
                <a:gd name="T47" fmla="*/ 2147483647 h 175"/>
                <a:gd name="T48" fmla="*/ 2147483647 w 283"/>
                <a:gd name="T49" fmla="*/ 2147483647 h 175"/>
                <a:gd name="T50" fmla="*/ 2147483647 w 283"/>
                <a:gd name="T51" fmla="*/ 2147483647 h 175"/>
                <a:gd name="T52" fmla="*/ 2147483647 w 283"/>
                <a:gd name="T53" fmla="*/ 2147483647 h 175"/>
                <a:gd name="T54" fmla="*/ 2147483647 w 283"/>
                <a:gd name="T55" fmla="*/ 2147483647 h 175"/>
                <a:gd name="T56" fmla="*/ 0 w 283"/>
                <a:gd name="T57" fmla="*/ 2147483647 h 175"/>
                <a:gd name="T58" fmla="*/ 2147483647 w 283"/>
                <a:gd name="T59" fmla="*/ 2147483647 h 175"/>
                <a:gd name="T60" fmla="*/ 2147483647 w 283"/>
                <a:gd name="T61" fmla="*/ 2147483647 h 175"/>
                <a:gd name="T62" fmla="*/ 2147483647 w 283"/>
                <a:gd name="T63" fmla="*/ 2147483647 h 175"/>
                <a:gd name="T64" fmla="*/ 2147483647 w 283"/>
                <a:gd name="T65" fmla="*/ 2147483647 h 175"/>
                <a:gd name="T66" fmla="*/ 2147483647 w 283"/>
                <a:gd name="T67" fmla="*/ 2147483647 h 175"/>
                <a:gd name="T68" fmla="*/ 2147483647 w 283"/>
                <a:gd name="T69" fmla="*/ 2147483647 h 175"/>
                <a:gd name="T70" fmla="*/ 2147483647 w 283"/>
                <a:gd name="T71" fmla="*/ 2147483647 h 175"/>
                <a:gd name="T72" fmla="*/ 2147483647 w 283"/>
                <a:gd name="T73" fmla="*/ 2147483647 h 175"/>
                <a:gd name="T74" fmla="*/ 2147483647 w 283"/>
                <a:gd name="T75" fmla="*/ 2147483647 h 175"/>
                <a:gd name="T76" fmla="*/ 2147483647 w 283"/>
                <a:gd name="T77" fmla="*/ 2147483647 h 175"/>
                <a:gd name="T78" fmla="*/ 2147483647 w 283"/>
                <a:gd name="T79" fmla="*/ 2147483647 h 175"/>
                <a:gd name="T80" fmla="*/ 2147483647 w 283"/>
                <a:gd name="T81" fmla="*/ 2147483647 h 175"/>
                <a:gd name="T82" fmla="*/ 2147483647 w 283"/>
                <a:gd name="T83" fmla="*/ 2147483647 h 175"/>
                <a:gd name="T84" fmla="*/ 2147483647 w 283"/>
                <a:gd name="T85" fmla="*/ 2147483647 h 175"/>
                <a:gd name="T86" fmla="*/ 2147483647 w 283"/>
                <a:gd name="T87" fmla="*/ 2147483647 h 175"/>
                <a:gd name="T88" fmla="*/ 2147483647 w 283"/>
                <a:gd name="T89" fmla="*/ 2147483647 h 175"/>
                <a:gd name="T90" fmla="*/ 2147483647 w 283"/>
                <a:gd name="T91" fmla="*/ 2147483647 h 175"/>
                <a:gd name="T92" fmla="*/ 2147483647 w 283"/>
                <a:gd name="T93" fmla="*/ 2147483647 h 175"/>
                <a:gd name="T94" fmla="*/ 2147483647 w 283"/>
                <a:gd name="T95" fmla="*/ 2147483647 h 175"/>
                <a:gd name="T96" fmla="*/ 2147483647 w 283"/>
                <a:gd name="T97" fmla="*/ 2147483647 h 175"/>
                <a:gd name="T98" fmla="*/ 2147483647 w 283"/>
                <a:gd name="T99" fmla="*/ 2147483647 h 175"/>
                <a:gd name="T100" fmla="*/ 2147483647 w 283"/>
                <a:gd name="T101" fmla="*/ 2147483647 h 175"/>
                <a:gd name="T102" fmla="*/ 2147483647 w 283"/>
                <a:gd name="T103" fmla="*/ 2147483647 h 175"/>
                <a:gd name="T104" fmla="*/ 2147483647 w 283"/>
                <a:gd name="T105" fmla="*/ 2147483647 h 175"/>
                <a:gd name="T106" fmla="*/ 2147483647 w 283"/>
                <a:gd name="T107" fmla="*/ 2147483647 h 175"/>
                <a:gd name="T108" fmla="*/ 2147483647 w 283"/>
                <a:gd name="T109" fmla="*/ 2147483647 h 175"/>
                <a:gd name="T110" fmla="*/ 2147483647 w 283"/>
                <a:gd name="T111" fmla="*/ 2147483647 h 175"/>
                <a:gd name="T112" fmla="*/ 2147483647 w 283"/>
                <a:gd name="T113" fmla="*/ 2147483647 h 1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 h="175">
                  <a:moveTo>
                    <a:pt x="146" y="169"/>
                  </a:moveTo>
                  <a:lnTo>
                    <a:pt x="156" y="168"/>
                  </a:lnTo>
                  <a:lnTo>
                    <a:pt x="166" y="167"/>
                  </a:lnTo>
                  <a:lnTo>
                    <a:pt x="186" y="167"/>
                  </a:lnTo>
                  <a:lnTo>
                    <a:pt x="234" y="167"/>
                  </a:lnTo>
                  <a:lnTo>
                    <a:pt x="283" y="167"/>
                  </a:lnTo>
                  <a:lnTo>
                    <a:pt x="283" y="162"/>
                  </a:lnTo>
                  <a:lnTo>
                    <a:pt x="280" y="157"/>
                  </a:lnTo>
                  <a:lnTo>
                    <a:pt x="277" y="154"/>
                  </a:lnTo>
                  <a:lnTo>
                    <a:pt x="272" y="152"/>
                  </a:lnTo>
                  <a:lnTo>
                    <a:pt x="262" y="147"/>
                  </a:lnTo>
                  <a:lnTo>
                    <a:pt x="258" y="144"/>
                  </a:lnTo>
                  <a:lnTo>
                    <a:pt x="257" y="141"/>
                  </a:lnTo>
                  <a:lnTo>
                    <a:pt x="257" y="87"/>
                  </a:lnTo>
                  <a:lnTo>
                    <a:pt x="257" y="61"/>
                  </a:lnTo>
                  <a:lnTo>
                    <a:pt x="258" y="33"/>
                  </a:lnTo>
                  <a:lnTo>
                    <a:pt x="249" y="35"/>
                  </a:lnTo>
                  <a:lnTo>
                    <a:pt x="238" y="36"/>
                  </a:lnTo>
                  <a:lnTo>
                    <a:pt x="216" y="42"/>
                  </a:lnTo>
                  <a:lnTo>
                    <a:pt x="193" y="51"/>
                  </a:lnTo>
                  <a:lnTo>
                    <a:pt x="172" y="57"/>
                  </a:lnTo>
                  <a:lnTo>
                    <a:pt x="146" y="67"/>
                  </a:lnTo>
                  <a:lnTo>
                    <a:pt x="131" y="72"/>
                  </a:lnTo>
                  <a:lnTo>
                    <a:pt x="124" y="72"/>
                  </a:lnTo>
                  <a:lnTo>
                    <a:pt x="119" y="72"/>
                  </a:lnTo>
                  <a:lnTo>
                    <a:pt x="116" y="69"/>
                  </a:lnTo>
                  <a:lnTo>
                    <a:pt x="112" y="66"/>
                  </a:lnTo>
                  <a:lnTo>
                    <a:pt x="106" y="57"/>
                  </a:lnTo>
                  <a:lnTo>
                    <a:pt x="106" y="54"/>
                  </a:lnTo>
                  <a:lnTo>
                    <a:pt x="106" y="52"/>
                  </a:lnTo>
                  <a:lnTo>
                    <a:pt x="106" y="49"/>
                  </a:lnTo>
                  <a:lnTo>
                    <a:pt x="102" y="47"/>
                  </a:lnTo>
                  <a:lnTo>
                    <a:pt x="98" y="43"/>
                  </a:lnTo>
                  <a:lnTo>
                    <a:pt x="94" y="41"/>
                  </a:lnTo>
                  <a:lnTo>
                    <a:pt x="88" y="40"/>
                  </a:lnTo>
                  <a:lnTo>
                    <a:pt x="82" y="40"/>
                  </a:lnTo>
                  <a:lnTo>
                    <a:pt x="77" y="40"/>
                  </a:lnTo>
                  <a:lnTo>
                    <a:pt x="71" y="40"/>
                  </a:lnTo>
                  <a:lnTo>
                    <a:pt x="61" y="36"/>
                  </a:lnTo>
                  <a:lnTo>
                    <a:pt x="51" y="32"/>
                  </a:lnTo>
                  <a:lnTo>
                    <a:pt x="46" y="27"/>
                  </a:lnTo>
                  <a:lnTo>
                    <a:pt x="42" y="21"/>
                  </a:lnTo>
                  <a:lnTo>
                    <a:pt x="37" y="13"/>
                  </a:lnTo>
                  <a:lnTo>
                    <a:pt x="32" y="7"/>
                  </a:lnTo>
                  <a:lnTo>
                    <a:pt x="25" y="2"/>
                  </a:lnTo>
                  <a:lnTo>
                    <a:pt x="20" y="0"/>
                  </a:lnTo>
                  <a:lnTo>
                    <a:pt x="13" y="0"/>
                  </a:lnTo>
                  <a:lnTo>
                    <a:pt x="3" y="1"/>
                  </a:lnTo>
                  <a:lnTo>
                    <a:pt x="6" y="10"/>
                  </a:lnTo>
                  <a:lnTo>
                    <a:pt x="7" y="20"/>
                  </a:lnTo>
                  <a:lnTo>
                    <a:pt x="7" y="22"/>
                  </a:lnTo>
                  <a:lnTo>
                    <a:pt x="6" y="25"/>
                  </a:lnTo>
                  <a:lnTo>
                    <a:pt x="2" y="27"/>
                  </a:lnTo>
                  <a:lnTo>
                    <a:pt x="1" y="31"/>
                  </a:lnTo>
                  <a:lnTo>
                    <a:pt x="2" y="32"/>
                  </a:lnTo>
                  <a:lnTo>
                    <a:pt x="5" y="35"/>
                  </a:lnTo>
                  <a:lnTo>
                    <a:pt x="1" y="37"/>
                  </a:lnTo>
                  <a:lnTo>
                    <a:pt x="0" y="40"/>
                  </a:lnTo>
                  <a:lnTo>
                    <a:pt x="0" y="41"/>
                  </a:lnTo>
                  <a:lnTo>
                    <a:pt x="1" y="43"/>
                  </a:lnTo>
                  <a:lnTo>
                    <a:pt x="6" y="47"/>
                  </a:lnTo>
                  <a:lnTo>
                    <a:pt x="15" y="51"/>
                  </a:lnTo>
                  <a:lnTo>
                    <a:pt x="32" y="57"/>
                  </a:lnTo>
                  <a:lnTo>
                    <a:pt x="37" y="61"/>
                  </a:lnTo>
                  <a:lnTo>
                    <a:pt x="40" y="62"/>
                  </a:lnTo>
                  <a:lnTo>
                    <a:pt x="40" y="63"/>
                  </a:lnTo>
                  <a:lnTo>
                    <a:pt x="33" y="62"/>
                  </a:lnTo>
                  <a:lnTo>
                    <a:pt x="28" y="61"/>
                  </a:lnTo>
                  <a:lnTo>
                    <a:pt x="27" y="62"/>
                  </a:lnTo>
                  <a:lnTo>
                    <a:pt x="26" y="64"/>
                  </a:lnTo>
                  <a:lnTo>
                    <a:pt x="27" y="64"/>
                  </a:lnTo>
                  <a:lnTo>
                    <a:pt x="28" y="66"/>
                  </a:lnTo>
                  <a:lnTo>
                    <a:pt x="32" y="66"/>
                  </a:lnTo>
                  <a:lnTo>
                    <a:pt x="33" y="67"/>
                  </a:lnTo>
                  <a:lnTo>
                    <a:pt x="35" y="68"/>
                  </a:lnTo>
                  <a:lnTo>
                    <a:pt x="35" y="71"/>
                  </a:lnTo>
                  <a:lnTo>
                    <a:pt x="33" y="71"/>
                  </a:lnTo>
                  <a:lnTo>
                    <a:pt x="32" y="72"/>
                  </a:lnTo>
                  <a:lnTo>
                    <a:pt x="31" y="73"/>
                  </a:lnTo>
                  <a:lnTo>
                    <a:pt x="31" y="74"/>
                  </a:lnTo>
                  <a:lnTo>
                    <a:pt x="32" y="76"/>
                  </a:lnTo>
                  <a:lnTo>
                    <a:pt x="35" y="76"/>
                  </a:lnTo>
                  <a:lnTo>
                    <a:pt x="37" y="76"/>
                  </a:lnTo>
                  <a:lnTo>
                    <a:pt x="38" y="76"/>
                  </a:lnTo>
                  <a:lnTo>
                    <a:pt x="38" y="74"/>
                  </a:lnTo>
                  <a:lnTo>
                    <a:pt x="41" y="76"/>
                  </a:lnTo>
                  <a:lnTo>
                    <a:pt x="46" y="77"/>
                  </a:lnTo>
                  <a:lnTo>
                    <a:pt x="51" y="86"/>
                  </a:lnTo>
                  <a:lnTo>
                    <a:pt x="55" y="92"/>
                  </a:lnTo>
                  <a:lnTo>
                    <a:pt x="57" y="97"/>
                  </a:lnTo>
                  <a:lnTo>
                    <a:pt x="60" y="103"/>
                  </a:lnTo>
                  <a:lnTo>
                    <a:pt x="60" y="111"/>
                  </a:lnTo>
                  <a:lnTo>
                    <a:pt x="60" y="119"/>
                  </a:lnTo>
                  <a:lnTo>
                    <a:pt x="62" y="127"/>
                  </a:lnTo>
                  <a:lnTo>
                    <a:pt x="70" y="141"/>
                  </a:lnTo>
                  <a:lnTo>
                    <a:pt x="72" y="149"/>
                  </a:lnTo>
                  <a:lnTo>
                    <a:pt x="75" y="158"/>
                  </a:lnTo>
                  <a:lnTo>
                    <a:pt x="76" y="159"/>
                  </a:lnTo>
                  <a:lnTo>
                    <a:pt x="77" y="159"/>
                  </a:lnTo>
                  <a:lnTo>
                    <a:pt x="80" y="159"/>
                  </a:lnTo>
                  <a:lnTo>
                    <a:pt x="82" y="157"/>
                  </a:lnTo>
                  <a:lnTo>
                    <a:pt x="88" y="159"/>
                  </a:lnTo>
                  <a:lnTo>
                    <a:pt x="89" y="162"/>
                  </a:lnTo>
                  <a:lnTo>
                    <a:pt x="91" y="165"/>
                  </a:lnTo>
                  <a:lnTo>
                    <a:pt x="91" y="167"/>
                  </a:lnTo>
                  <a:lnTo>
                    <a:pt x="91" y="169"/>
                  </a:lnTo>
                  <a:lnTo>
                    <a:pt x="97" y="170"/>
                  </a:lnTo>
                  <a:lnTo>
                    <a:pt x="103" y="172"/>
                  </a:lnTo>
                  <a:lnTo>
                    <a:pt x="109" y="172"/>
                  </a:lnTo>
                  <a:lnTo>
                    <a:pt x="114" y="173"/>
                  </a:lnTo>
                  <a:lnTo>
                    <a:pt x="119" y="174"/>
                  </a:lnTo>
                  <a:lnTo>
                    <a:pt x="123" y="175"/>
                  </a:lnTo>
                  <a:lnTo>
                    <a:pt x="131" y="174"/>
                  </a:lnTo>
                  <a:lnTo>
                    <a:pt x="144" y="169"/>
                  </a:lnTo>
                  <a:lnTo>
                    <a:pt x="146" y="169"/>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Alameda</a:t>
              </a:r>
            </a:p>
          </p:txBody>
        </p:sp>
        <p:sp>
          <p:nvSpPr>
            <p:cNvPr id="49" name="Contra Costa"/>
            <p:cNvSpPr>
              <a:spLocks/>
            </p:cNvSpPr>
            <p:nvPr/>
          </p:nvSpPr>
          <p:spPr bwMode="auto">
            <a:xfrm>
              <a:off x="1558663" y="5065552"/>
              <a:ext cx="620574" cy="302599"/>
            </a:xfrm>
            <a:custGeom>
              <a:avLst/>
              <a:gdLst>
                <a:gd name="T0" fmla="*/ 2147483647 w 295"/>
                <a:gd name="T1" fmla="*/ 2147483647 h 151"/>
                <a:gd name="T2" fmla="*/ 2147483647 w 295"/>
                <a:gd name="T3" fmla="*/ 2147483647 h 151"/>
                <a:gd name="T4" fmla="*/ 2147483647 w 295"/>
                <a:gd name="T5" fmla="*/ 2147483647 h 151"/>
                <a:gd name="T6" fmla="*/ 2147483647 w 295"/>
                <a:gd name="T7" fmla="*/ 2147483647 h 151"/>
                <a:gd name="T8" fmla="*/ 2147483647 w 295"/>
                <a:gd name="T9" fmla="*/ 2147483647 h 151"/>
                <a:gd name="T10" fmla="*/ 2147483647 w 295"/>
                <a:gd name="T11" fmla="*/ 2147483647 h 151"/>
                <a:gd name="T12" fmla="*/ 2147483647 w 295"/>
                <a:gd name="T13" fmla="*/ 2147483647 h 151"/>
                <a:gd name="T14" fmla="*/ 2147483647 w 295"/>
                <a:gd name="T15" fmla="*/ 2147483647 h 151"/>
                <a:gd name="T16" fmla="*/ 2147483647 w 295"/>
                <a:gd name="T17" fmla="*/ 2147483647 h 151"/>
                <a:gd name="T18" fmla="*/ 2147483647 w 295"/>
                <a:gd name="T19" fmla="*/ 2147483647 h 151"/>
                <a:gd name="T20" fmla="*/ 2147483647 w 295"/>
                <a:gd name="T21" fmla="*/ 2147483647 h 151"/>
                <a:gd name="T22" fmla="*/ 2147483647 w 295"/>
                <a:gd name="T23" fmla="*/ 2147483647 h 151"/>
                <a:gd name="T24" fmla="*/ 2147483647 w 295"/>
                <a:gd name="T25" fmla="*/ 2147483647 h 151"/>
                <a:gd name="T26" fmla="*/ 2147483647 w 295"/>
                <a:gd name="T27" fmla="*/ 2147483647 h 151"/>
                <a:gd name="T28" fmla="*/ 2147483647 w 295"/>
                <a:gd name="T29" fmla="*/ 2147483647 h 151"/>
                <a:gd name="T30" fmla="*/ 2147483647 w 295"/>
                <a:gd name="T31" fmla="*/ 2147483647 h 151"/>
                <a:gd name="T32" fmla="*/ 2147483647 w 295"/>
                <a:gd name="T33" fmla="*/ 2147483647 h 151"/>
                <a:gd name="T34" fmla="*/ 2147483647 w 295"/>
                <a:gd name="T35" fmla="*/ 2147483647 h 151"/>
                <a:gd name="T36" fmla="*/ 2147483647 w 295"/>
                <a:gd name="T37" fmla="*/ 2147483647 h 151"/>
                <a:gd name="T38" fmla="*/ 2147483647 w 295"/>
                <a:gd name="T39" fmla="*/ 2147483647 h 151"/>
                <a:gd name="T40" fmla="*/ 2147483647 w 295"/>
                <a:gd name="T41" fmla="*/ 2147483647 h 151"/>
                <a:gd name="T42" fmla="*/ 2147483647 w 295"/>
                <a:gd name="T43" fmla="*/ 2147483647 h 151"/>
                <a:gd name="T44" fmla="*/ 2147483647 w 295"/>
                <a:gd name="T45" fmla="*/ 2147483647 h 151"/>
                <a:gd name="T46" fmla="*/ 2147483647 w 295"/>
                <a:gd name="T47" fmla="*/ 2147483647 h 151"/>
                <a:gd name="T48" fmla="*/ 2147483647 w 295"/>
                <a:gd name="T49" fmla="*/ 2147483647 h 151"/>
                <a:gd name="T50" fmla="*/ 2147483647 w 295"/>
                <a:gd name="T51" fmla="*/ 2147483647 h 151"/>
                <a:gd name="T52" fmla="*/ 2147483647 w 295"/>
                <a:gd name="T53" fmla="*/ 0 h 151"/>
                <a:gd name="T54" fmla="*/ 2147483647 w 295"/>
                <a:gd name="T55" fmla="*/ 2147483647 h 151"/>
                <a:gd name="T56" fmla="*/ 2147483647 w 295"/>
                <a:gd name="T57" fmla="*/ 2147483647 h 151"/>
                <a:gd name="T58" fmla="*/ 2147483647 w 295"/>
                <a:gd name="T59" fmla="*/ 2147483647 h 151"/>
                <a:gd name="T60" fmla="*/ 2147483647 w 295"/>
                <a:gd name="T61" fmla="*/ 2147483647 h 151"/>
                <a:gd name="T62" fmla="*/ 2147483647 w 295"/>
                <a:gd name="T63" fmla="*/ 2147483647 h 151"/>
                <a:gd name="T64" fmla="*/ 2147483647 w 295"/>
                <a:gd name="T65" fmla="*/ 2147483647 h 151"/>
                <a:gd name="T66" fmla="*/ 2147483647 w 295"/>
                <a:gd name="T67" fmla="*/ 2147483647 h 151"/>
                <a:gd name="T68" fmla="*/ 2147483647 w 295"/>
                <a:gd name="T69" fmla="*/ 2147483647 h 151"/>
                <a:gd name="T70" fmla="*/ 2147483647 w 295"/>
                <a:gd name="T71" fmla="*/ 2147483647 h 151"/>
                <a:gd name="T72" fmla="*/ 2147483647 w 295"/>
                <a:gd name="T73" fmla="*/ 2147483647 h 151"/>
                <a:gd name="T74" fmla="*/ 2147483647 w 295"/>
                <a:gd name="T75" fmla="*/ 2147483647 h 151"/>
                <a:gd name="T76" fmla="*/ 2147483647 w 295"/>
                <a:gd name="T77" fmla="*/ 2147483647 h 151"/>
                <a:gd name="T78" fmla="*/ 2147483647 w 295"/>
                <a:gd name="T79" fmla="*/ 2147483647 h 151"/>
                <a:gd name="T80" fmla="*/ 2147483647 w 295"/>
                <a:gd name="T81" fmla="*/ 2147483647 h 151"/>
                <a:gd name="T82" fmla="*/ 2147483647 w 295"/>
                <a:gd name="T83" fmla="*/ 2147483647 h 151"/>
                <a:gd name="T84" fmla="*/ 2147483647 w 295"/>
                <a:gd name="T85" fmla="*/ 2147483647 h 151"/>
                <a:gd name="T86" fmla="*/ 2147483647 w 295"/>
                <a:gd name="T87" fmla="*/ 2147483647 h 151"/>
                <a:gd name="T88" fmla="*/ 2147483647 w 295"/>
                <a:gd name="T89" fmla="*/ 2147483647 h 151"/>
                <a:gd name="T90" fmla="*/ 2147483647 w 295"/>
                <a:gd name="T91" fmla="*/ 2147483647 h 151"/>
                <a:gd name="T92" fmla="*/ 2147483647 w 295"/>
                <a:gd name="T93" fmla="*/ 2147483647 h 151"/>
                <a:gd name="T94" fmla="*/ 2147483647 w 295"/>
                <a:gd name="T95" fmla="*/ 2147483647 h 151"/>
                <a:gd name="T96" fmla="*/ 2147483647 w 295"/>
                <a:gd name="T97" fmla="*/ 2147483647 h 151"/>
                <a:gd name="T98" fmla="*/ 2147483647 w 295"/>
                <a:gd name="T99" fmla="*/ 2147483647 h 151"/>
                <a:gd name="T100" fmla="*/ 2147483647 w 295"/>
                <a:gd name="T101" fmla="*/ 2147483647 h 151"/>
                <a:gd name="T102" fmla="*/ 2147483647 w 295"/>
                <a:gd name="T103" fmla="*/ 2147483647 h 151"/>
                <a:gd name="T104" fmla="*/ 2147483647 w 295"/>
                <a:gd name="T105" fmla="*/ 2147483647 h 151"/>
                <a:gd name="T106" fmla="*/ 2147483647 w 295"/>
                <a:gd name="T107" fmla="*/ 2147483647 h 151"/>
                <a:gd name="T108" fmla="*/ 2147483647 w 295"/>
                <a:gd name="T109" fmla="*/ 2147483647 h 151"/>
                <a:gd name="T110" fmla="*/ 2147483647 w 295"/>
                <a:gd name="T111" fmla="*/ 2147483647 h 151"/>
                <a:gd name="T112" fmla="*/ 2147483647 w 295"/>
                <a:gd name="T113" fmla="*/ 2147483647 h 151"/>
                <a:gd name="T114" fmla="*/ 2147483647 w 295"/>
                <a:gd name="T115" fmla="*/ 2147483647 h 151"/>
                <a:gd name="T116" fmla="*/ 2147483647 w 295"/>
                <a:gd name="T117" fmla="*/ 2147483647 h 151"/>
                <a:gd name="T118" fmla="*/ 2147483647 w 295"/>
                <a:gd name="T119" fmla="*/ 2147483647 h 151"/>
                <a:gd name="T120" fmla="*/ 2147483647 w 295"/>
                <a:gd name="T121" fmla="*/ 2147483647 h 1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95" h="151">
                  <a:moveTo>
                    <a:pt x="64" y="86"/>
                  </a:moveTo>
                  <a:lnTo>
                    <a:pt x="69" y="92"/>
                  </a:lnTo>
                  <a:lnTo>
                    <a:pt x="74" y="100"/>
                  </a:lnTo>
                  <a:lnTo>
                    <a:pt x="78" y="106"/>
                  </a:lnTo>
                  <a:lnTo>
                    <a:pt x="83" y="111"/>
                  </a:lnTo>
                  <a:lnTo>
                    <a:pt x="93" y="115"/>
                  </a:lnTo>
                  <a:lnTo>
                    <a:pt x="103" y="119"/>
                  </a:lnTo>
                  <a:lnTo>
                    <a:pt x="109" y="119"/>
                  </a:lnTo>
                  <a:lnTo>
                    <a:pt x="114" y="119"/>
                  </a:lnTo>
                  <a:lnTo>
                    <a:pt x="120" y="119"/>
                  </a:lnTo>
                  <a:lnTo>
                    <a:pt x="126" y="120"/>
                  </a:lnTo>
                  <a:lnTo>
                    <a:pt x="130" y="122"/>
                  </a:lnTo>
                  <a:lnTo>
                    <a:pt x="134" y="126"/>
                  </a:lnTo>
                  <a:lnTo>
                    <a:pt x="138" y="128"/>
                  </a:lnTo>
                  <a:lnTo>
                    <a:pt x="138" y="131"/>
                  </a:lnTo>
                  <a:lnTo>
                    <a:pt x="138" y="133"/>
                  </a:lnTo>
                  <a:lnTo>
                    <a:pt x="138" y="136"/>
                  </a:lnTo>
                  <a:lnTo>
                    <a:pt x="144" y="145"/>
                  </a:lnTo>
                  <a:lnTo>
                    <a:pt x="148" y="148"/>
                  </a:lnTo>
                  <a:lnTo>
                    <a:pt x="151" y="151"/>
                  </a:lnTo>
                  <a:lnTo>
                    <a:pt x="156" y="151"/>
                  </a:lnTo>
                  <a:lnTo>
                    <a:pt x="163" y="151"/>
                  </a:lnTo>
                  <a:lnTo>
                    <a:pt x="178" y="146"/>
                  </a:lnTo>
                  <a:lnTo>
                    <a:pt x="204" y="136"/>
                  </a:lnTo>
                  <a:lnTo>
                    <a:pt x="225" y="130"/>
                  </a:lnTo>
                  <a:lnTo>
                    <a:pt x="248" y="121"/>
                  </a:lnTo>
                  <a:lnTo>
                    <a:pt x="270" y="115"/>
                  </a:lnTo>
                  <a:lnTo>
                    <a:pt x="281" y="114"/>
                  </a:lnTo>
                  <a:lnTo>
                    <a:pt x="290" y="112"/>
                  </a:lnTo>
                  <a:lnTo>
                    <a:pt x="292" y="107"/>
                  </a:lnTo>
                  <a:lnTo>
                    <a:pt x="295" y="102"/>
                  </a:lnTo>
                  <a:lnTo>
                    <a:pt x="294" y="100"/>
                  </a:lnTo>
                  <a:lnTo>
                    <a:pt x="292" y="99"/>
                  </a:lnTo>
                  <a:lnTo>
                    <a:pt x="290" y="97"/>
                  </a:lnTo>
                  <a:lnTo>
                    <a:pt x="286" y="96"/>
                  </a:lnTo>
                  <a:lnTo>
                    <a:pt x="284" y="94"/>
                  </a:lnTo>
                  <a:lnTo>
                    <a:pt x="282" y="87"/>
                  </a:lnTo>
                  <a:lnTo>
                    <a:pt x="284" y="81"/>
                  </a:lnTo>
                  <a:lnTo>
                    <a:pt x="286" y="75"/>
                  </a:lnTo>
                  <a:lnTo>
                    <a:pt x="286" y="70"/>
                  </a:lnTo>
                  <a:lnTo>
                    <a:pt x="286" y="65"/>
                  </a:lnTo>
                  <a:lnTo>
                    <a:pt x="285" y="59"/>
                  </a:lnTo>
                  <a:lnTo>
                    <a:pt x="282" y="47"/>
                  </a:lnTo>
                  <a:lnTo>
                    <a:pt x="281" y="41"/>
                  </a:lnTo>
                  <a:lnTo>
                    <a:pt x="282" y="36"/>
                  </a:lnTo>
                  <a:lnTo>
                    <a:pt x="284" y="32"/>
                  </a:lnTo>
                  <a:lnTo>
                    <a:pt x="287" y="30"/>
                  </a:lnTo>
                  <a:lnTo>
                    <a:pt x="286" y="22"/>
                  </a:lnTo>
                  <a:lnTo>
                    <a:pt x="282" y="26"/>
                  </a:lnTo>
                  <a:lnTo>
                    <a:pt x="282" y="19"/>
                  </a:lnTo>
                  <a:lnTo>
                    <a:pt x="282" y="11"/>
                  </a:lnTo>
                  <a:lnTo>
                    <a:pt x="282" y="5"/>
                  </a:lnTo>
                  <a:lnTo>
                    <a:pt x="281" y="1"/>
                  </a:lnTo>
                  <a:lnTo>
                    <a:pt x="279" y="0"/>
                  </a:lnTo>
                  <a:lnTo>
                    <a:pt x="275" y="0"/>
                  </a:lnTo>
                  <a:lnTo>
                    <a:pt x="265" y="1"/>
                  </a:lnTo>
                  <a:lnTo>
                    <a:pt x="261" y="3"/>
                  </a:lnTo>
                  <a:lnTo>
                    <a:pt x="256" y="3"/>
                  </a:lnTo>
                  <a:lnTo>
                    <a:pt x="255" y="1"/>
                  </a:lnTo>
                  <a:lnTo>
                    <a:pt x="253" y="3"/>
                  </a:lnTo>
                  <a:lnTo>
                    <a:pt x="250" y="5"/>
                  </a:lnTo>
                  <a:lnTo>
                    <a:pt x="250" y="9"/>
                  </a:lnTo>
                  <a:lnTo>
                    <a:pt x="251" y="13"/>
                  </a:lnTo>
                  <a:lnTo>
                    <a:pt x="251" y="15"/>
                  </a:lnTo>
                  <a:lnTo>
                    <a:pt x="249" y="16"/>
                  </a:lnTo>
                  <a:lnTo>
                    <a:pt x="245" y="21"/>
                  </a:lnTo>
                  <a:lnTo>
                    <a:pt x="235" y="27"/>
                  </a:lnTo>
                  <a:lnTo>
                    <a:pt x="239" y="27"/>
                  </a:lnTo>
                  <a:lnTo>
                    <a:pt x="243" y="27"/>
                  </a:lnTo>
                  <a:lnTo>
                    <a:pt x="245" y="29"/>
                  </a:lnTo>
                  <a:lnTo>
                    <a:pt x="248" y="31"/>
                  </a:lnTo>
                  <a:lnTo>
                    <a:pt x="244" y="32"/>
                  </a:lnTo>
                  <a:lnTo>
                    <a:pt x="239" y="34"/>
                  </a:lnTo>
                  <a:lnTo>
                    <a:pt x="228" y="32"/>
                  </a:lnTo>
                  <a:lnTo>
                    <a:pt x="208" y="29"/>
                  </a:lnTo>
                  <a:lnTo>
                    <a:pt x="186" y="25"/>
                  </a:lnTo>
                  <a:lnTo>
                    <a:pt x="166" y="19"/>
                  </a:lnTo>
                  <a:lnTo>
                    <a:pt x="151" y="15"/>
                  </a:lnTo>
                  <a:lnTo>
                    <a:pt x="138" y="14"/>
                  </a:lnTo>
                  <a:lnTo>
                    <a:pt x="131" y="14"/>
                  </a:lnTo>
                  <a:lnTo>
                    <a:pt x="126" y="15"/>
                  </a:lnTo>
                  <a:lnTo>
                    <a:pt x="115" y="19"/>
                  </a:lnTo>
                  <a:lnTo>
                    <a:pt x="105" y="24"/>
                  </a:lnTo>
                  <a:lnTo>
                    <a:pt x="95" y="26"/>
                  </a:lnTo>
                  <a:lnTo>
                    <a:pt x="92" y="26"/>
                  </a:lnTo>
                  <a:lnTo>
                    <a:pt x="88" y="25"/>
                  </a:lnTo>
                  <a:lnTo>
                    <a:pt x="82" y="21"/>
                  </a:lnTo>
                  <a:lnTo>
                    <a:pt x="77" y="16"/>
                  </a:lnTo>
                  <a:lnTo>
                    <a:pt x="73" y="15"/>
                  </a:lnTo>
                  <a:lnTo>
                    <a:pt x="69" y="14"/>
                  </a:lnTo>
                  <a:lnTo>
                    <a:pt x="63" y="14"/>
                  </a:lnTo>
                  <a:lnTo>
                    <a:pt x="59" y="15"/>
                  </a:lnTo>
                  <a:lnTo>
                    <a:pt x="55" y="16"/>
                  </a:lnTo>
                  <a:lnTo>
                    <a:pt x="53" y="19"/>
                  </a:lnTo>
                  <a:lnTo>
                    <a:pt x="48" y="25"/>
                  </a:lnTo>
                  <a:lnTo>
                    <a:pt x="45" y="27"/>
                  </a:lnTo>
                  <a:lnTo>
                    <a:pt x="40" y="30"/>
                  </a:lnTo>
                  <a:lnTo>
                    <a:pt x="37" y="31"/>
                  </a:lnTo>
                  <a:lnTo>
                    <a:pt x="32" y="32"/>
                  </a:lnTo>
                  <a:lnTo>
                    <a:pt x="25" y="32"/>
                  </a:lnTo>
                  <a:lnTo>
                    <a:pt x="23" y="34"/>
                  </a:lnTo>
                  <a:lnTo>
                    <a:pt x="20" y="35"/>
                  </a:lnTo>
                  <a:lnTo>
                    <a:pt x="19" y="37"/>
                  </a:lnTo>
                  <a:lnTo>
                    <a:pt x="18" y="41"/>
                  </a:lnTo>
                  <a:lnTo>
                    <a:pt x="15" y="46"/>
                  </a:lnTo>
                  <a:lnTo>
                    <a:pt x="12" y="51"/>
                  </a:lnTo>
                  <a:lnTo>
                    <a:pt x="5" y="54"/>
                  </a:lnTo>
                  <a:lnTo>
                    <a:pt x="3" y="54"/>
                  </a:lnTo>
                  <a:lnTo>
                    <a:pt x="0" y="52"/>
                  </a:lnTo>
                  <a:lnTo>
                    <a:pt x="3" y="59"/>
                  </a:lnTo>
                  <a:lnTo>
                    <a:pt x="7" y="65"/>
                  </a:lnTo>
                  <a:lnTo>
                    <a:pt x="12" y="71"/>
                  </a:lnTo>
                  <a:lnTo>
                    <a:pt x="18" y="74"/>
                  </a:lnTo>
                  <a:lnTo>
                    <a:pt x="23" y="75"/>
                  </a:lnTo>
                  <a:lnTo>
                    <a:pt x="28" y="74"/>
                  </a:lnTo>
                  <a:lnTo>
                    <a:pt x="32" y="75"/>
                  </a:lnTo>
                  <a:lnTo>
                    <a:pt x="34" y="77"/>
                  </a:lnTo>
                  <a:lnTo>
                    <a:pt x="35" y="80"/>
                  </a:lnTo>
                  <a:lnTo>
                    <a:pt x="45" y="79"/>
                  </a:lnTo>
                  <a:lnTo>
                    <a:pt x="52" y="79"/>
                  </a:lnTo>
                  <a:lnTo>
                    <a:pt x="57" y="81"/>
                  </a:lnTo>
                  <a:lnTo>
                    <a:pt x="63" y="86"/>
                  </a:lnTo>
                  <a:lnTo>
                    <a:pt x="64" y="86"/>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Contra Costa</a:t>
              </a:r>
            </a:p>
          </p:txBody>
        </p:sp>
        <p:sp>
          <p:nvSpPr>
            <p:cNvPr id="50" name="Solano"/>
            <p:cNvSpPr>
              <a:spLocks/>
            </p:cNvSpPr>
            <p:nvPr/>
          </p:nvSpPr>
          <p:spPr bwMode="auto">
            <a:xfrm>
              <a:off x="1657536" y="4708844"/>
              <a:ext cx="483837" cy="394780"/>
            </a:xfrm>
            <a:custGeom>
              <a:avLst/>
              <a:gdLst>
                <a:gd name="T0" fmla="*/ 2147483647 w 230"/>
                <a:gd name="T1" fmla="*/ 2147483647 h 197"/>
                <a:gd name="T2" fmla="*/ 2147483647 w 230"/>
                <a:gd name="T3" fmla="*/ 2147483647 h 197"/>
                <a:gd name="T4" fmla="*/ 2147483647 w 230"/>
                <a:gd name="T5" fmla="*/ 2147483647 h 197"/>
                <a:gd name="T6" fmla="*/ 2147483647 w 230"/>
                <a:gd name="T7" fmla="*/ 2147483647 h 197"/>
                <a:gd name="T8" fmla="*/ 2147483647 w 230"/>
                <a:gd name="T9" fmla="*/ 0 h 197"/>
                <a:gd name="T10" fmla="*/ 2147483647 w 230"/>
                <a:gd name="T11" fmla="*/ 2147483647 h 197"/>
                <a:gd name="T12" fmla="*/ 2147483647 w 230"/>
                <a:gd name="T13" fmla="*/ 2147483647 h 197"/>
                <a:gd name="T14" fmla="*/ 2147483647 w 230"/>
                <a:gd name="T15" fmla="*/ 2147483647 h 197"/>
                <a:gd name="T16" fmla="*/ 2147483647 w 230"/>
                <a:gd name="T17" fmla="*/ 2147483647 h 197"/>
                <a:gd name="T18" fmla="*/ 2147483647 w 230"/>
                <a:gd name="T19" fmla="*/ 2147483647 h 197"/>
                <a:gd name="T20" fmla="*/ 2147483647 w 230"/>
                <a:gd name="T21" fmla="*/ 2147483647 h 197"/>
                <a:gd name="T22" fmla="*/ 2147483647 w 230"/>
                <a:gd name="T23" fmla="*/ 2147483647 h 197"/>
                <a:gd name="T24" fmla="*/ 2147483647 w 230"/>
                <a:gd name="T25" fmla="*/ 2147483647 h 197"/>
                <a:gd name="T26" fmla="*/ 2147483647 w 230"/>
                <a:gd name="T27" fmla="*/ 2147483647 h 197"/>
                <a:gd name="T28" fmla="*/ 2147483647 w 230"/>
                <a:gd name="T29" fmla="*/ 2147483647 h 197"/>
                <a:gd name="T30" fmla="*/ 2147483647 w 230"/>
                <a:gd name="T31" fmla="*/ 2147483647 h 197"/>
                <a:gd name="T32" fmla="*/ 2147483647 w 230"/>
                <a:gd name="T33" fmla="*/ 2147483647 h 197"/>
                <a:gd name="T34" fmla="*/ 2147483647 w 230"/>
                <a:gd name="T35" fmla="*/ 2147483647 h 197"/>
                <a:gd name="T36" fmla="*/ 2147483647 w 230"/>
                <a:gd name="T37" fmla="*/ 2147483647 h 197"/>
                <a:gd name="T38" fmla="*/ 2147483647 w 230"/>
                <a:gd name="T39" fmla="*/ 2147483647 h 197"/>
                <a:gd name="T40" fmla="*/ 2147483647 w 230"/>
                <a:gd name="T41" fmla="*/ 2147483647 h 197"/>
                <a:gd name="T42" fmla="*/ 2147483647 w 230"/>
                <a:gd name="T43" fmla="*/ 2147483647 h 197"/>
                <a:gd name="T44" fmla="*/ 2147483647 w 230"/>
                <a:gd name="T45" fmla="*/ 2147483647 h 197"/>
                <a:gd name="T46" fmla="*/ 2147483647 w 230"/>
                <a:gd name="T47" fmla="*/ 2147483647 h 197"/>
                <a:gd name="T48" fmla="*/ 2147483647 w 230"/>
                <a:gd name="T49" fmla="*/ 2147483647 h 197"/>
                <a:gd name="T50" fmla="*/ 2147483647 w 230"/>
                <a:gd name="T51" fmla="*/ 2147483647 h 197"/>
                <a:gd name="T52" fmla="*/ 2147483647 w 230"/>
                <a:gd name="T53" fmla="*/ 2147483647 h 197"/>
                <a:gd name="T54" fmla="*/ 2147483647 w 230"/>
                <a:gd name="T55" fmla="*/ 2147483647 h 197"/>
                <a:gd name="T56" fmla="*/ 2147483647 w 230"/>
                <a:gd name="T57" fmla="*/ 2147483647 h 197"/>
                <a:gd name="T58" fmla="*/ 2147483647 w 230"/>
                <a:gd name="T59" fmla="*/ 2147483647 h 197"/>
                <a:gd name="T60" fmla="*/ 2147483647 w 230"/>
                <a:gd name="T61" fmla="*/ 2147483647 h 197"/>
                <a:gd name="T62" fmla="*/ 2147483647 w 230"/>
                <a:gd name="T63" fmla="*/ 2147483647 h 197"/>
                <a:gd name="T64" fmla="*/ 2147483647 w 230"/>
                <a:gd name="T65" fmla="*/ 2147483647 h 197"/>
                <a:gd name="T66" fmla="*/ 2147483647 w 230"/>
                <a:gd name="T67" fmla="*/ 2147483647 h 197"/>
                <a:gd name="T68" fmla="*/ 2147483647 w 230"/>
                <a:gd name="T69" fmla="*/ 2147483647 h 197"/>
                <a:gd name="T70" fmla="*/ 2147483647 w 230"/>
                <a:gd name="T71" fmla="*/ 2147483647 h 197"/>
                <a:gd name="T72" fmla="*/ 2147483647 w 230"/>
                <a:gd name="T73" fmla="*/ 2147483647 h 197"/>
                <a:gd name="T74" fmla="*/ 2147483647 w 230"/>
                <a:gd name="T75" fmla="*/ 2147483647 h 197"/>
                <a:gd name="T76" fmla="*/ 2147483647 w 230"/>
                <a:gd name="T77" fmla="*/ 2147483647 h 197"/>
                <a:gd name="T78" fmla="*/ 2147483647 w 230"/>
                <a:gd name="T79" fmla="*/ 2147483647 h 197"/>
                <a:gd name="T80" fmla="*/ 2147483647 w 230"/>
                <a:gd name="T81" fmla="*/ 2147483647 h 197"/>
                <a:gd name="T82" fmla="*/ 2147483647 w 230"/>
                <a:gd name="T83" fmla="*/ 2147483647 h 197"/>
                <a:gd name="T84" fmla="*/ 2147483647 w 230"/>
                <a:gd name="T85" fmla="*/ 2147483647 h 197"/>
                <a:gd name="T86" fmla="*/ 2147483647 w 230"/>
                <a:gd name="T87" fmla="*/ 2147483647 h 197"/>
                <a:gd name="T88" fmla="*/ 2147483647 w 230"/>
                <a:gd name="T89" fmla="*/ 2147483647 h 19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30" h="197">
                  <a:moveTo>
                    <a:pt x="228" y="126"/>
                  </a:moveTo>
                  <a:lnTo>
                    <a:pt x="228" y="121"/>
                  </a:lnTo>
                  <a:lnTo>
                    <a:pt x="228" y="116"/>
                  </a:lnTo>
                  <a:lnTo>
                    <a:pt x="228" y="106"/>
                  </a:lnTo>
                  <a:lnTo>
                    <a:pt x="227" y="96"/>
                  </a:lnTo>
                  <a:lnTo>
                    <a:pt x="228" y="91"/>
                  </a:lnTo>
                  <a:lnTo>
                    <a:pt x="230" y="86"/>
                  </a:lnTo>
                  <a:lnTo>
                    <a:pt x="213" y="86"/>
                  </a:lnTo>
                  <a:lnTo>
                    <a:pt x="197" y="86"/>
                  </a:lnTo>
                  <a:lnTo>
                    <a:pt x="196" y="6"/>
                  </a:lnTo>
                  <a:lnTo>
                    <a:pt x="196" y="5"/>
                  </a:lnTo>
                  <a:lnTo>
                    <a:pt x="194" y="2"/>
                  </a:lnTo>
                  <a:lnTo>
                    <a:pt x="189" y="1"/>
                  </a:lnTo>
                  <a:lnTo>
                    <a:pt x="183" y="0"/>
                  </a:lnTo>
                  <a:lnTo>
                    <a:pt x="176" y="0"/>
                  </a:lnTo>
                  <a:lnTo>
                    <a:pt x="159" y="1"/>
                  </a:lnTo>
                  <a:lnTo>
                    <a:pt x="149" y="2"/>
                  </a:lnTo>
                  <a:lnTo>
                    <a:pt x="136" y="1"/>
                  </a:lnTo>
                  <a:lnTo>
                    <a:pt x="124" y="2"/>
                  </a:lnTo>
                  <a:lnTo>
                    <a:pt x="113" y="6"/>
                  </a:lnTo>
                  <a:lnTo>
                    <a:pt x="102" y="11"/>
                  </a:lnTo>
                  <a:lnTo>
                    <a:pt x="92" y="17"/>
                  </a:lnTo>
                  <a:lnTo>
                    <a:pt x="87" y="18"/>
                  </a:lnTo>
                  <a:lnTo>
                    <a:pt x="84" y="18"/>
                  </a:lnTo>
                  <a:lnTo>
                    <a:pt x="81" y="17"/>
                  </a:lnTo>
                  <a:lnTo>
                    <a:pt x="71" y="12"/>
                  </a:lnTo>
                  <a:lnTo>
                    <a:pt x="65" y="11"/>
                  </a:lnTo>
                  <a:lnTo>
                    <a:pt x="58" y="11"/>
                  </a:lnTo>
                  <a:lnTo>
                    <a:pt x="57" y="20"/>
                  </a:lnTo>
                  <a:lnTo>
                    <a:pt x="55" y="27"/>
                  </a:lnTo>
                  <a:lnTo>
                    <a:pt x="51" y="43"/>
                  </a:lnTo>
                  <a:lnTo>
                    <a:pt x="51" y="45"/>
                  </a:lnTo>
                  <a:lnTo>
                    <a:pt x="52" y="48"/>
                  </a:lnTo>
                  <a:lnTo>
                    <a:pt x="57" y="55"/>
                  </a:lnTo>
                  <a:lnTo>
                    <a:pt x="66" y="66"/>
                  </a:lnTo>
                  <a:lnTo>
                    <a:pt x="68" y="71"/>
                  </a:lnTo>
                  <a:lnTo>
                    <a:pt x="71" y="75"/>
                  </a:lnTo>
                  <a:lnTo>
                    <a:pt x="71" y="78"/>
                  </a:lnTo>
                  <a:lnTo>
                    <a:pt x="71" y="81"/>
                  </a:lnTo>
                  <a:lnTo>
                    <a:pt x="69" y="83"/>
                  </a:lnTo>
                  <a:lnTo>
                    <a:pt x="67" y="85"/>
                  </a:lnTo>
                  <a:lnTo>
                    <a:pt x="61" y="87"/>
                  </a:lnTo>
                  <a:lnTo>
                    <a:pt x="52" y="88"/>
                  </a:lnTo>
                  <a:lnTo>
                    <a:pt x="43" y="88"/>
                  </a:lnTo>
                  <a:lnTo>
                    <a:pt x="26" y="87"/>
                  </a:lnTo>
                  <a:lnTo>
                    <a:pt x="25" y="91"/>
                  </a:lnTo>
                  <a:lnTo>
                    <a:pt x="25" y="94"/>
                  </a:lnTo>
                  <a:lnTo>
                    <a:pt x="26" y="98"/>
                  </a:lnTo>
                  <a:lnTo>
                    <a:pt x="28" y="102"/>
                  </a:lnTo>
                  <a:lnTo>
                    <a:pt x="21" y="104"/>
                  </a:lnTo>
                  <a:lnTo>
                    <a:pt x="25" y="108"/>
                  </a:lnTo>
                  <a:lnTo>
                    <a:pt x="26" y="111"/>
                  </a:lnTo>
                  <a:lnTo>
                    <a:pt x="27" y="116"/>
                  </a:lnTo>
                  <a:lnTo>
                    <a:pt x="28" y="121"/>
                  </a:lnTo>
                  <a:lnTo>
                    <a:pt x="28" y="123"/>
                  </a:lnTo>
                  <a:lnTo>
                    <a:pt x="28" y="124"/>
                  </a:lnTo>
                  <a:lnTo>
                    <a:pt x="27" y="129"/>
                  </a:lnTo>
                  <a:lnTo>
                    <a:pt x="25" y="134"/>
                  </a:lnTo>
                  <a:lnTo>
                    <a:pt x="22" y="138"/>
                  </a:lnTo>
                  <a:lnTo>
                    <a:pt x="23" y="141"/>
                  </a:lnTo>
                  <a:lnTo>
                    <a:pt x="26" y="144"/>
                  </a:lnTo>
                  <a:lnTo>
                    <a:pt x="27" y="147"/>
                  </a:lnTo>
                  <a:lnTo>
                    <a:pt x="28" y="151"/>
                  </a:lnTo>
                  <a:lnTo>
                    <a:pt x="0" y="151"/>
                  </a:lnTo>
                  <a:lnTo>
                    <a:pt x="2" y="153"/>
                  </a:lnTo>
                  <a:lnTo>
                    <a:pt x="5" y="156"/>
                  </a:lnTo>
                  <a:lnTo>
                    <a:pt x="6" y="163"/>
                  </a:lnTo>
                  <a:lnTo>
                    <a:pt x="6" y="171"/>
                  </a:lnTo>
                  <a:lnTo>
                    <a:pt x="7" y="174"/>
                  </a:lnTo>
                  <a:lnTo>
                    <a:pt x="8" y="177"/>
                  </a:lnTo>
                  <a:lnTo>
                    <a:pt x="13" y="184"/>
                  </a:lnTo>
                  <a:lnTo>
                    <a:pt x="18" y="187"/>
                  </a:lnTo>
                  <a:lnTo>
                    <a:pt x="25" y="188"/>
                  </a:lnTo>
                  <a:lnTo>
                    <a:pt x="32" y="191"/>
                  </a:lnTo>
                  <a:lnTo>
                    <a:pt x="41" y="194"/>
                  </a:lnTo>
                  <a:lnTo>
                    <a:pt x="46" y="197"/>
                  </a:lnTo>
                  <a:lnTo>
                    <a:pt x="48" y="195"/>
                  </a:lnTo>
                  <a:lnTo>
                    <a:pt x="50" y="194"/>
                  </a:lnTo>
                  <a:lnTo>
                    <a:pt x="56" y="188"/>
                  </a:lnTo>
                  <a:lnTo>
                    <a:pt x="65" y="179"/>
                  </a:lnTo>
                  <a:lnTo>
                    <a:pt x="68" y="176"/>
                  </a:lnTo>
                  <a:lnTo>
                    <a:pt x="71" y="169"/>
                  </a:lnTo>
                  <a:lnTo>
                    <a:pt x="72" y="164"/>
                  </a:lnTo>
                  <a:lnTo>
                    <a:pt x="73" y="162"/>
                  </a:lnTo>
                  <a:lnTo>
                    <a:pt x="74" y="158"/>
                  </a:lnTo>
                  <a:lnTo>
                    <a:pt x="84" y="158"/>
                  </a:lnTo>
                  <a:lnTo>
                    <a:pt x="91" y="157"/>
                  </a:lnTo>
                  <a:lnTo>
                    <a:pt x="96" y="158"/>
                  </a:lnTo>
                  <a:lnTo>
                    <a:pt x="99" y="161"/>
                  </a:lnTo>
                  <a:lnTo>
                    <a:pt x="102" y="162"/>
                  </a:lnTo>
                  <a:lnTo>
                    <a:pt x="101" y="166"/>
                  </a:lnTo>
                  <a:lnTo>
                    <a:pt x="99" y="168"/>
                  </a:lnTo>
                  <a:lnTo>
                    <a:pt x="94" y="172"/>
                  </a:lnTo>
                  <a:lnTo>
                    <a:pt x="91" y="174"/>
                  </a:lnTo>
                  <a:lnTo>
                    <a:pt x="92" y="177"/>
                  </a:lnTo>
                  <a:lnTo>
                    <a:pt x="93" y="179"/>
                  </a:lnTo>
                  <a:lnTo>
                    <a:pt x="96" y="181"/>
                  </a:lnTo>
                  <a:lnTo>
                    <a:pt x="98" y="182"/>
                  </a:lnTo>
                  <a:lnTo>
                    <a:pt x="106" y="182"/>
                  </a:lnTo>
                  <a:lnTo>
                    <a:pt x="113" y="183"/>
                  </a:lnTo>
                  <a:lnTo>
                    <a:pt x="119" y="183"/>
                  </a:lnTo>
                  <a:lnTo>
                    <a:pt x="123" y="184"/>
                  </a:lnTo>
                  <a:lnTo>
                    <a:pt x="123" y="186"/>
                  </a:lnTo>
                  <a:lnTo>
                    <a:pt x="123" y="187"/>
                  </a:lnTo>
                  <a:lnTo>
                    <a:pt x="117" y="193"/>
                  </a:lnTo>
                  <a:lnTo>
                    <a:pt x="123" y="193"/>
                  </a:lnTo>
                  <a:lnTo>
                    <a:pt x="131" y="192"/>
                  </a:lnTo>
                  <a:lnTo>
                    <a:pt x="134" y="191"/>
                  </a:lnTo>
                  <a:lnTo>
                    <a:pt x="136" y="189"/>
                  </a:lnTo>
                  <a:lnTo>
                    <a:pt x="136" y="187"/>
                  </a:lnTo>
                  <a:lnTo>
                    <a:pt x="133" y="184"/>
                  </a:lnTo>
                  <a:lnTo>
                    <a:pt x="138" y="184"/>
                  </a:lnTo>
                  <a:lnTo>
                    <a:pt x="144" y="184"/>
                  </a:lnTo>
                  <a:lnTo>
                    <a:pt x="154" y="186"/>
                  </a:lnTo>
                  <a:lnTo>
                    <a:pt x="159" y="186"/>
                  </a:lnTo>
                  <a:lnTo>
                    <a:pt x="164" y="186"/>
                  </a:lnTo>
                  <a:lnTo>
                    <a:pt x="169" y="184"/>
                  </a:lnTo>
                  <a:lnTo>
                    <a:pt x="174" y="182"/>
                  </a:lnTo>
                  <a:lnTo>
                    <a:pt x="179" y="178"/>
                  </a:lnTo>
                  <a:lnTo>
                    <a:pt x="183" y="174"/>
                  </a:lnTo>
                  <a:lnTo>
                    <a:pt x="187" y="171"/>
                  </a:lnTo>
                  <a:lnTo>
                    <a:pt x="191" y="167"/>
                  </a:lnTo>
                  <a:lnTo>
                    <a:pt x="193" y="164"/>
                  </a:lnTo>
                  <a:lnTo>
                    <a:pt x="196" y="162"/>
                  </a:lnTo>
                  <a:lnTo>
                    <a:pt x="198" y="156"/>
                  </a:lnTo>
                  <a:lnTo>
                    <a:pt x="201" y="151"/>
                  </a:lnTo>
                  <a:lnTo>
                    <a:pt x="202" y="148"/>
                  </a:lnTo>
                  <a:lnTo>
                    <a:pt x="203" y="146"/>
                  </a:lnTo>
                  <a:lnTo>
                    <a:pt x="203" y="147"/>
                  </a:lnTo>
                  <a:lnTo>
                    <a:pt x="207" y="143"/>
                  </a:lnTo>
                  <a:lnTo>
                    <a:pt x="209" y="141"/>
                  </a:lnTo>
                  <a:lnTo>
                    <a:pt x="217" y="137"/>
                  </a:lnTo>
                  <a:lnTo>
                    <a:pt x="223" y="133"/>
                  </a:lnTo>
                  <a:lnTo>
                    <a:pt x="226" y="131"/>
                  </a:lnTo>
                  <a:lnTo>
                    <a:pt x="227" y="126"/>
                  </a:lnTo>
                  <a:lnTo>
                    <a:pt x="228" y="126"/>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olano</a:t>
              </a:r>
            </a:p>
          </p:txBody>
        </p:sp>
        <p:sp>
          <p:nvSpPr>
            <p:cNvPr id="51" name="Santa Clara"/>
            <p:cNvSpPr>
              <a:spLocks/>
            </p:cNvSpPr>
            <p:nvPr/>
          </p:nvSpPr>
          <p:spPr bwMode="auto">
            <a:xfrm>
              <a:off x="1716435" y="5558526"/>
              <a:ext cx="694201" cy="474941"/>
            </a:xfrm>
            <a:custGeom>
              <a:avLst/>
              <a:gdLst>
                <a:gd name="T0" fmla="*/ 2147483647 w 330"/>
                <a:gd name="T1" fmla="*/ 2147483647 h 237"/>
                <a:gd name="T2" fmla="*/ 0 w 330"/>
                <a:gd name="T3" fmla="*/ 2147483647 h 237"/>
                <a:gd name="T4" fmla="*/ 2147483647 w 330"/>
                <a:gd name="T5" fmla="*/ 2147483647 h 237"/>
                <a:gd name="T6" fmla="*/ 2147483647 w 330"/>
                <a:gd name="T7" fmla="*/ 2147483647 h 237"/>
                <a:gd name="T8" fmla="*/ 2147483647 w 330"/>
                <a:gd name="T9" fmla="*/ 2147483647 h 237"/>
                <a:gd name="T10" fmla="*/ 2147483647 w 330"/>
                <a:gd name="T11" fmla="*/ 2147483647 h 237"/>
                <a:gd name="T12" fmla="*/ 2147483647 w 330"/>
                <a:gd name="T13" fmla="*/ 2147483647 h 237"/>
                <a:gd name="T14" fmla="*/ 2147483647 w 330"/>
                <a:gd name="T15" fmla="*/ 2147483647 h 237"/>
                <a:gd name="T16" fmla="*/ 2147483647 w 330"/>
                <a:gd name="T17" fmla="*/ 2147483647 h 237"/>
                <a:gd name="T18" fmla="*/ 2147483647 w 330"/>
                <a:gd name="T19" fmla="*/ 2147483647 h 237"/>
                <a:gd name="T20" fmla="*/ 2147483647 w 330"/>
                <a:gd name="T21" fmla="*/ 2147483647 h 237"/>
                <a:gd name="T22" fmla="*/ 2147483647 w 330"/>
                <a:gd name="T23" fmla="*/ 2147483647 h 237"/>
                <a:gd name="T24" fmla="*/ 2147483647 w 330"/>
                <a:gd name="T25" fmla="*/ 2147483647 h 237"/>
                <a:gd name="T26" fmla="*/ 2147483647 w 330"/>
                <a:gd name="T27" fmla="*/ 2147483647 h 237"/>
                <a:gd name="T28" fmla="*/ 2147483647 w 330"/>
                <a:gd name="T29" fmla="*/ 2147483647 h 237"/>
                <a:gd name="T30" fmla="*/ 2147483647 w 330"/>
                <a:gd name="T31" fmla="*/ 2147483647 h 237"/>
                <a:gd name="T32" fmla="*/ 2147483647 w 330"/>
                <a:gd name="T33" fmla="*/ 2147483647 h 237"/>
                <a:gd name="T34" fmla="*/ 2147483647 w 330"/>
                <a:gd name="T35" fmla="*/ 2147483647 h 237"/>
                <a:gd name="T36" fmla="*/ 2147483647 w 330"/>
                <a:gd name="T37" fmla="*/ 2147483647 h 237"/>
                <a:gd name="T38" fmla="*/ 2147483647 w 330"/>
                <a:gd name="T39" fmla="*/ 2147483647 h 237"/>
                <a:gd name="T40" fmla="*/ 2147483647 w 330"/>
                <a:gd name="T41" fmla="*/ 2147483647 h 237"/>
                <a:gd name="T42" fmla="*/ 2147483647 w 330"/>
                <a:gd name="T43" fmla="*/ 2147483647 h 237"/>
                <a:gd name="T44" fmla="*/ 2147483647 w 330"/>
                <a:gd name="T45" fmla="*/ 2147483647 h 237"/>
                <a:gd name="T46" fmla="*/ 2147483647 w 330"/>
                <a:gd name="T47" fmla="*/ 2147483647 h 237"/>
                <a:gd name="T48" fmla="*/ 2147483647 w 330"/>
                <a:gd name="T49" fmla="*/ 2147483647 h 237"/>
                <a:gd name="T50" fmla="*/ 2147483647 w 330"/>
                <a:gd name="T51" fmla="*/ 2147483647 h 237"/>
                <a:gd name="T52" fmla="*/ 2147483647 w 330"/>
                <a:gd name="T53" fmla="*/ 2147483647 h 237"/>
                <a:gd name="T54" fmla="*/ 2147483647 w 330"/>
                <a:gd name="T55" fmla="*/ 2147483647 h 237"/>
                <a:gd name="T56" fmla="*/ 2147483647 w 330"/>
                <a:gd name="T57" fmla="*/ 2147483647 h 237"/>
                <a:gd name="T58" fmla="*/ 2147483647 w 330"/>
                <a:gd name="T59" fmla="*/ 2147483647 h 237"/>
                <a:gd name="T60" fmla="*/ 2147483647 w 330"/>
                <a:gd name="T61" fmla="*/ 2147483647 h 237"/>
                <a:gd name="T62" fmla="*/ 2147483647 w 330"/>
                <a:gd name="T63" fmla="*/ 2147483647 h 237"/>
                <a:gd name="T64" fmla="*/ 2147483647 w 330"/>
                <a:gd name="T65" fmla="*/ 2147483647 h 237"/>
                <a:gd name="T66" fmla="*/ 2147483647 w 330"/>
                <a:gd name="T67" fmla="*/ 2147483647 h 237"/>
                <a:gd name="T68" fmla="*/ 2147483647 w 330"/>
                <a:gd name="T69" fmla="*/ 2147483647 h 237"/>
                <a:gd name="T70" fmla="*/ 2147483647 w 330"/>
                <a:gd name="T71" fmla="*/ 2147483647 h 237"/>
                <a:gd name="T72" fmla="*/ 2147483647 w 330"/>
                <a:gd name="T73" fmla="*/ 2147483647 h 237"/>
                <a:gd name="T74" fmla="*/ 2147483647 w 330"/>
                <a:gd name="T75" fmla="*/ 2147483647 h 237"/>
                <a:gd name="T76" fmla="*/ 2147483647 w 330"/>
                <a:gd name="T77" fmla="*/ 2147483647 h 237"/>
                <a:gd name="T78" fmla="*/ 2147483647 w 330"/>
                <a:gd name="T79" fmla="*/ 2147483647 h 237"/>
                <a:gd name="T80" fmla="*/ 2147483647 w 330"/>
                <a:gd name="T81" fmla="*/ 2147483647 h 237"/>
                <a:gd name="T82" fmla="*/ 2147483647 w 330"/>
                <a:gd name="T83" fmla="*/ 2147483647 h 237"/>
                <a:gd name="T84" fmla="*/ 2147483647 w 330"/>
                <a:gd name="T85" fmla="*/ 0 h 237"/>
                <a:gd name="T86" fmla="*/ 2147483647 w 330"/>
                <a:gd name="T87" fmla="*/ 2147483647 h 237"/>
                <a:gd name="T88" fmla="*/ 2147483647 w 330"/>
                <a:gd name="T89" fmla="*/ 2147483647 h 237"/>
                <a:gd name="T90" fmla="*/ 2147483647 w 330"/>
                <a:gd name="T91" fmla="*/ 2147483647 h 237"/>
                <a:gd name="T92" fmla="*/ 2147483647 w 330"/>
                <a:gd name="T93" fmla="*/ 2147483647 h 237"/>
                <a:gd name="T94" fmla="*/ 2147483647 w 330"/>
                <a:gd name="T95" fmla="*/ 2147483647 h 237"/>
                <a:gd name="T96" fmla="*/ 2147483647 w 330"/>
                <a:gd name="T97" fmla="*/ 2147483647 h 237"/>
                <a:gd name="T98" fmla="*/ 2147483647 w 330"/>
                <a:gd name="T99" fmla="*/ 2147483647 h 23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330" h="237">
                  <a:moveTo>
                    <a:pt x="10" y="11"/>
                  </a:moveTo>
                  <a:lnTo>
                    <a:pt x="8" y="12"/>
                  </a:lnTo>
                  <a:lnTo>
                    <a:pt x="5" y="15"/>
                  </a:lnTo>
                  <a:lnTo>
                    <a:pt x="2" y="21"/>
                  </a:lnTo>
                  <a:lnTo>
                    <a:pt x="2" y="27"/>
                  </a:lnTo>
                  <a:lnTo>
                    <a:pt x="0" y="33"/>
                  </a:lnTo>
                  <a:lnTo>
                    <a:pt x="2" y="48"/>
                  </a:lnTo>
                  <a:lnTo>
                    <a:pt x="2" y="56"/>
                  </a:lnTo>
                  <a:lnTo>
                    <a:pt x="4" y="62"/>
                  </a:lnTo>
                  <a:lnTo>
                    <a:pt x="7" y="66"/>
                  </a:lnTo>
                  <a:lnTo>
                    <a:pt x="9" y="70"/>
                  </a:lnTo>
                  <a:lnTo>
                    <a:pt x="13" y="75"/>
                  </a:lnTo>
                  <a:lnTo>
                    <a:pt x="15" y="80"/>
                  </a:lnTo>
                  <a:lnTo>
                    <a:pt x="15" y="78"/>
                  </a:lnTo>
                  <a:lnTo>
                    <a:pt x="20" y="85"/>
                  </a:lnTo>
                  <a:lnTo>
                    <a:pt x="25" y="91"/>
                  </a:lnTo>
                  <a:lnTo>
                    <a:pt x="32" y="96"/>
                  </a:lnTo>
                  <a:lnTo>
                    <a:pt x="33" y="99"/>
                  </a:lnTo>
                  <a:lnTo>
                    <a:pt x="35" y="103"/>
                  </a:lnTo>
                  <a:lnTo>
                    <a:pt x="37" y="104"/>
                  </a:lnTo>
                  <a:lnTo>
                    <a:pt x="38" y="104"/>
                  </a:lnTo>
                  <a:lnTo>
                    <a:pt x="43" y="106"/>
                  </a:lnTo>
                  <a:lnTo>
                    <a:pt x="48" y="108"/>
                  </a:lnTo>
                  <a:lnTo>
                    <a:pt x="50" y="109"/>
                  </a:lnTo>
                  <a:lnTo>
                    <a:pt x="51" y="111"/>
                  </a:lnTo>
                  <a:lnTo>
                    <a:pt x="58" y="119"/>
                  </a:lnTo>
                  <a:lnTo>
                    <a:pt x="64" y="126"/>
                  </a:lnTo>
                  <a:lnTo>
                    <a:pt x="71" y="132"/>
                  </a:lnTo>
                  <a:lnTo>
                    <a:pt x="80" y="137"/>
                  </a:lnTo>
                  <a:lnTo>
                    <a:pt x="98" y="146"/>
                  </a:lnTo>
                  <a:lnTo>
                    <a:pt x="116" y="153"/>
                  </a:lnTo>
                  <a:lnTo>
                    <a:pt x="125" y="157"/>
                  </a:lnTo>
                  <a:lnTo>
                    <a:pt x="133" y="161"/>
                  </a:lnTo>
                  <a:lnTo>
                    <a:pt x="139" y="167"/>
                  </a:lnTo>
                  <a:lnTo>
                    <a:pt x="146" y="173"/>
                  </a:lnTo>
                  <a:lnTo>
                    <a:pt x="170" y="198"/>
                  </a:lnTo>
                  <a:lnTo>
                    <a:pt x="174" y="203"/>
                  </a:lnTo>
                  <a:lnTo>
                    <a:pt x="179" y="209"/>
                  </a:lnTo>
                  <a:lnTo>
                    <a:pt x="184" y="217"/>
                  </a:lnTo>
                  <a:lnTo>
                    <a:pt x="189" y="222"/>
                  </a:lnTo>
                  <a:lnTo>
                    <a:pt x="195" y="224"/>
                  </a:lnTo>
                  <a:lnTo>
                    <a:pt x="201" y="227"/>
                  </a:lnTo>
                  <a:lnTo>
                    <a:pt x="204" y="228"/>
                  </a:lnTo>
                  <a:lnTo>
                    <a:pt x="206" y="230"/>
                  </a:lnTo>
                  <a:lnTo>
                    <a:pt x="207" y="233"/>
                  </a:lnTo>
                  <a:lnTo>
                    <a:pt x="207" y="237"/>
                  </a:lnTo>
                  <a:lnTo>
                    <a:pt x="210" y="237"/>
                  </a:lnTo>
                  <a:lnTo>
                    <a:pt x="212" y="235"/>
                  </a:lnTo>
                  <a:lnTo>
                    <a:pt x="219" y="230"/>
                  </a:lnTo>
                  <a:lnTo>
                    <a:pt x="226" y="220"/>
                  </a:lnTo>
                  <a:lnTo>
                    <a:pt x="230" y="214"/>
                  </a:lnTo>
                  <a:lnTo>
                    <a:pt x="232" y="208"/>
                  </a:lnTo>
                  <a:lnTo>
                    <a:pt x="237" y="202"/>
                  </a:lnTo>
                  <a:lnTo>
                    <a:pt x="240" y="200"/>
                  </a:lnTo>
                  <a:lnTo>
                    <a:pt x="242" y="200"/>
                  </a:lnTo>
                  <a:lnTo>
                    <a:pt x="247" y="200"/>
                  </a:lnTo>
                  <a:lnTo>
                    <a:pt x="251" y="199"/>
                  </a:lnTo>
                  <a:lnTo>
                    <a:pt x="255" y="199"/>
                  </a:lnTo>
                  <a:lnTo>
                    <a:pt x="259" y="202"/>
                  </a:lnTo>
                  <a:lnTo>
                    <a:pt x="264" y="207"/>
                  </a:lnTo>
                  <a:lnTo>
                    <a:pt x="266" y="208"/>
                  </a:lnTo>
                  <a:lnTo>
                    <a:pt x="270" y="208"/>
                  </a:lnTo>
                  <a:lnTo>
                    <a:pt x="330" y="209"/>
                  </a:lnTo>
                  <a:lnTo>
                    <a:pt x="325" y="202"/>
                  </a:lnTo>
                  <a:lnTo>
                    <a:pt x="322" y="195"/>
                  </a:lnTo>
                  <a:lnTo>
                    <a:pt x="322" y="189"/>
                  </a:lnTo>
                  <a:lnTo>
                    <a:pt x="324" y="184"/>
                  </a:lnTo>
                  <a:lnTo>
                    <a:pt x="326" y="179"/>
                  </a:lnTo>
                  <a:lnTo>
                    <a:pt x="329" y="174"/>
                  </a:lnTo>
                  <a:lnTo>
                    <a:pt x="330" y="171"/>
                  </a:lnTo>
                  <a:lnTo>
                    <a:pt x="329" y="167"/>
                  </a:lnTo>
                  <a:lnTo>
                    <a:pt x="327" y="163"/>
                  </a:lnTo>
                  <a:lnTo>
                    <a:pt x="324" y="159"/>
                  </a:lnTo>
                  <a:lnTo>
                    <a:pt x="324" y="157"/>
                  </a:lnTo>
                  <a:lnTo>
                    <a:pt x="322" y="156"/>
                  </a:lnTo>
                  <a:lnTo>
                    <a:pt x="325" y="152"/>
                  </a:lnTo>
                  <a:lnTo>
                    <a:pt x="327" y="148"/>
                  </a:lnTo>
                  <a:lnTo>
                    <a:pt x="329" y="143"/>
                  </a:lnTo>
                  <a:lnTo>
                    <a:pt x="329" y="141"/>
                  </a:lnTo>
                  <a:lnTo>
                    <a:pt x="327" y="138"/>
                  </a:lnTo>
                  <a:lnTo>
                    <a:pt x="312" y="124"/>
                  </a:lnTo>
                  <a:lnTo>
                    <a:pt x="311" y="122"/>
                  </a:lnTo>
                  <a:lnTo>
                    <a:pt x="309" y="122"/>
                  </a:lnTo>
                  <a:lnTo>
                    <a:pt x="306" y="123"/>
                  </a:lnTo>
                  <a:lnTo>
                    <a:pt x="304" y="124"/>
                  </a:lnTo>
                  <a:lnTo>
                    <a:pt x="300" y="124"/>
                  </a:lnTo>
                  <a:lnTo>
                    <a:pt x="292" y="123"/>
                  </a:lnTo>
                  <a:lnTo>
                    <a:pt x="282" y="122"/>
                  </a:lnTo>
                  <a:lnTo>
                    <a:pt x="279" y="122"/>
                  </a:lnTo>
                  <a:lnTo>
                    <a:pt x="275" y="123"/>
                  </a:lnTo>
                  <a:lnTo>
                    <a:pt x="274" y="126"/>
                  </a:lnTo>
                  <a:lnTo>
                    <a:pt x="275" y="131"/>
                  </a:lnTo>
                  <a:lnTo>
                    <a:pt x="270" y="131"/>
                  </a:lnTo>
                  <a:lnTo>
                    <a:pt x="267" y="128"/>
                  </a:lnTo>
                  <a:lnTo>
                    <a:pt x="265" y="124"/>
                  </a:lnTo>
                  <a:lnTo>
                    <a:pt x="264" y="121"/>
                  </a:lnTo>
                  <a:lnTo>
                    <a:pt x="260" y="111"/>
                  </a:lnTo>
                  <a:lnTo>
                    <a:pt x="259" y="106"/>
                  </a:lnTo>
                  <a:lnTo>
                    <a:pt x="255" y="103"/>
                  </a:lnTo>
                  <a:lnTo>
                    <a:pt x="251" y="99"/>
                  </a:lnTo>
                  <a:lnTo>
                    <a:pt x="249" y="96"/>
                  </a:lnTo>
                  <a:lnTo>
                    <a:pt x="247" y="91"/>
                  </a:lnTo>
                  <a:lnTo>
                    <a:pt x="247" y="85"/>
                  </a:lnTo>
                  <a:lnTo>
                    <a:pt x="249" y="78"/>
                  </a:lnTo>
                  <a:lnTo>
                    <a:pt x="251" y="76"/>
                  </a:lnTo>
                  <a:lnTo>
                    <a:pt x="254" y="75"/>
                  </a:lnTo>
                  <a:lnTo>
                    <a:pt x="257" y="72"/>
                  </a:lnTo>
                  <a:lnTo>
                    <a:pt x="260" y="68"/>
                  </a:lnTo>
                  <a:lnTo>
                    <a:pt x="261" y="66"/>
                  </a:lnTo>
                  <a:lnTo>
                    <a:pt x="260" y="58"/>
                  </a:lnTo>
                  <a:lnTo>
                    <a:pt x="259" y="51"/>
                  </a:lnTo>
                  <a:lnTo>
                    <a:pt x="259" y="47"/>
                  </a:lnTo>
                  <a:lnTo>
                    <a:pt x="259" y="43"/>
                  </a:lnTo>
                  <a:lnTo>
                    <a:pt x="260" y="41"/>
                  </a:lnTo>
                  <a:lnTo>
                    <a:pt x="259" y="38"/>
                  </a:lnTo>
                  <a:lnTo>
                    <a:pt x="257" y="37"/>
                  </a:lnTo>
                  <a:lnTo>
                    <a:pt x="255" y="36"/>
                  </a:lnTo>
                  <a:lnTo>
                    <a:pt x="250" y="35"/>
                  </a:lnTo>
                  <a:lnTo>
                    <a:pt x="247" y="33"/>
                  </a:lnTo>
                  <a:lnTo>
                    <a:pt x="246" y="32"/>
                  </a:lnTo>
                  <a:lnTo>
                    <a:pt x="244" y="28"/>
                  </a:lnTo>
                  <a:lnTo>
                    <a:pt x="242" y="25"/>
                  </a:lnTo>
                  <a:lnTo>
                    <a:pt x="244" y="21"/>
                  </a:lnTo>
                  <a:lnTo>
                    <a:pt x="244" y="17"/>
                  </a:lnTo>
                  <a:lnTo>
                    <a:pt x="241" y="8"/>
                  </a:lnTo>
                  <a:lnTo>
                    <a:pt x="240" y="5"/>
                  </a:lnTo>
                  <a:lnTo>
                    <a:pt x="240" y="0"/>
                  </a:lnTo>
                  <a:lnTo>
                    <a:pt x="191" y="0"/>
                  </a:lnTo>
                  <a:lnTo>
                    <a:pt x="143" y="0"/>
                  </a:lnTo>
                  <a:lnTo>
                    <a:pt x="123" y="0"/>
                  </a:lnTo>
                  <a:lnTo>
                    <a:pt x="113" y="1"/>
                  </a:lnTo>
                  <a:lnTo>
                    <a:pt x="103" y="2"/>
                  </a:lnTo>
                  <a:lnTo>
                    <a:pt x="88" y="7"/>
                  </a:lnTo>
                  <a:lnTo>
                    <a:pt x="80" y="8"/>
                  </a:lnTo>
                  <a:lnTo>
                    <a:pt x="76" y="7"/>
                  </a:lnTo>
                  <a:lnTo>
                    <a:pt x="71" y="6"/>
                  </a:lnTo>
                  <a:lnTo>
                    <a:pt x="68" y="7"/>
                  </a:lnTo>
                  <a:lnTo>
                    <a:pt x="63" y="7"/>
                  </a:lnTo>
                  <a:lnTo>
                    <a:pt x="58" y="8"/>
                  </a:lnTo>
                  <a:lnTo>
                    <a:pt x="56" y="10"/>
                  </a:lnTo>
                  <a:lnTo>
                    <a:pt x="54" y="12"/>
                  </a:lnTo>
                  <a:lnTo>
                    <a:pt x="53" y="13"/>
                  </a:lnTo>
                  <a:lnTo>
                    <a:pt x="50" y="13"/>
                  </a:lnTo>
                  <a:lnTo>
                    <a:pt x="44" y="13"/>
                  </a:lnTo>
                  <a:lnTo>
                    <a:pt x="34" y="10"/>
                  </a:lnTo>
                  <a:lnTo>
                    <a:pt x="30" y="11"/>
                  </a:lnTo>
                  <a:lnTo>
                    <a:pt x="28" y="11"/>
                  </a:lnTo>
                  <a:lnTo>
                    <a:pt x="22" y="11"/>
                  </a:lnTo>
                  <a:lnTo>
                    <a:pt x="17" y="10"/>
                  </a:lnTo>
                  <a:lnTo>
                    <a:pt x="13" y="10"/>
                  </a:lnTo>
                  <a:lnTo>
                    <a:pt x="12" y="11"/>
                  </a:lnTo>
                  <a:lnTo>
                    <a:pt x="10" y="11"/>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ta</a:t>
              </a:r>
            </a:p>
            <a:p>
              <a:pPr algn="ctr"/>
              <a:r>
                <a:rPr lang="en-US" sz="800" dirty="0">
                  <a:solidFill>
                    <a:prstClr val="black"/>
                  </a:solidFill>
                  <a:latin typeface="Franklin Gothic Book"/>
                  <a:ea typeface="MS PGothic" charset="0"/>
                  <a:cs typeface="MS PGothic" charset="0"/>
                </a:rPr>
                <a:t>Clara</a:t>
              </a:r>
            </a:p>
          </p:txBody>
        </p:sp>
        <p:sp>
          <p:nvSpPr>
            <p:cNvPr id="52" name="San Mateo"/>
            <p:cNvSpPr>
              <a:spLocks/>
            </p:cNvSpPr>
            <p:nvPr/>
          </p:nvSpPr>
          <p:spPr bwMode="auto">
            <a:xfrm>
              <a:off x="1489245" y="5378171"/>
              <a:ext cx="298716" cy="478948"/>
            </a:xfrm>
            <a:custGeom>
              <a:avLst/>
              <a:gdLst>
                <a:gd name="T0" fmla="*/ 2147483647 w 142"/>
                <a:gd name="T1" fmla="*/ 2147483647 h 239"/>
                <a:gd name="T2" fmla="*/ 2147483647 w 142"/>
                <a:gd name="T3" fmla="*/ 2147483647 h 239"/>
                <a:gd name="T4" fmla="*/ 2147483647 w 142"/>
                <a:gd name="T5" fmla="*/ 2147483647 h 239"/>
                <a:gd name="T6" fmla="*/ 2147483647 w 142"/>
                <a:gd name="T7" fmla="*/ 2147483647 h 239"/>
                <a:gd name="T8" fmla="*/ 2147483647 w 142"/>
                <a:gd name="T9" fmla="*/ 2147483647 h 239"/>
                <a:gd name="T10" fmla="*/ 2147483647 w 142"/>
                <a:gd name="T11" fmla="*/ 2147483647 h 239"/>
                <a:gd name="T12" fmla="*/ 2147483647 w 142"/>
                <a:gd name="T13" fmla="*/ 2147483647 h 239"/>
                <a:gd name="T14" fmla="*/ 2147483647 w 142"/>
                <a:gd name="T15" fmla="*/ 2147483647 h 239"/>
                <a:gd name="T16" fmla="*/ 2147483647 w 142"/>
                <a:gd name="T17" fmla="*/ 2147483647 h 239"/>
                <a:gd name="T18" fmla="*/ 2147483647 w 142"/>
                <a:gd name="T19" fmla="*/ 2147483647 h 239"/>
                <a:gd name="T20" fmla="*/ 2147483647 w 142"/>
                <a:gd name="T21" fmla="*/ 2147483647 h 239"/>
                <a:gd name="T22" fmla="*/ 2147483647 w 142"/>
                <a:gd name="T23" fmla="*/ 2147483647 h 239"/>
                <a:gd name="T24" fmla="*/ 2147483647 w 142"/>
                <a:gd name="T25" fmla="*/ 2147483647 h 239"/>
                <a:gd name="T26" fmla="*/ 2147483647 w 142"/>
                <a:gd name="T27" fmla="*/ 2147483647 h 239"/>
                <a:gd name="T28" fmla="*/ 2147483647 w 142"/>
                <a:gd name="T29" fmla="*/ 2147483647 h 239"/>
                <a:gd name="T30" fmla="*/ 2147483647 w 142"/>
                <a:gd name="T31" fmla="*/ 2147483647 h 239"/>
                <a:gd name="T32" fmla="*/ 2147483647 w 142"/>
                <a:gd name="T33" fmla="*/ 2147483647 h 239"/>
                <a:gd name="T34" fmla="*/ 2147483647 w 142"/>
                <a:gd name="T35" fmla="*/ 2147483647 h 239"/>
                <a:gd name="T36" fmla="*/ 2147483647 w 142"/>
                <a:gd name="T37" fmla="*/ 2147483647 h 239"/>
                <a:gd name="T38" fmla="*/ 2147483647 w 142"/>
                <a:gd name="T39" fmla="*/ 2147483647 h 239"/>
                <a:gd name="T40" fmla="*/ 2147483647 w 142"/>
                <a:gd name="T41" fmla="*/ 2147483647 h 239"/>
                <a:gd name="T42" fmla="*/ 2147483647 w 142"/>
                <a:gd name="T43" fmla="*/ 2147483647 h 239"/>
                <a:gd name="T44" fmla="*/ 2147483647 w 142"/>
                <a:gd name="T45" fmla="*/ 2147483647 h 239"/>
                <a:gd name="T46" fmla="*/ 2147483647 w 142"/>
                <a:gd name="T47" fmla="*/ 2147483647 h 239"/>
                <a:gd name="T48" fmla="*/ 2147483647 w 142"/>
                <a:gd name="T49" fmla="*/ 2147483647 h 239"/>
                <a:gd name="T50" fmla="*/ 2147483647 w 142"/>
                <a:gd name="T51" fmla="*/ 2147483647 h 239"/>
                <a:gd name="T52" fmla="*/ 2147483647 w 142"/>
                <a:gd name="T53" fmla="*/ 2147483647 h 239"/>
                <a:gd name="T54" fmla="*/ 2147483647 w 142"/>
                <a:gd name="T55" fmla="*/ 2147483647 h 239"/>
                <a:gd name="T56" fmla="*/ 2147483647 w 142"/>
                <a:gd name="T57" fmla="*/ 2147483647 h 239"/>
                <a:gd name="T58" fmla="*/ 2147483647 w 142"/>
                <a:gd name="T59" fmla="*/ 2147483647 h 239"/>
                <a:gd name="T60" fmla="*/ 2147483647 w 142"/>
                <a:gd name="T61" fmla="*/ 2147483647 h 239"/>
                <a:gd name="T62" fmla="*/ 2147483647 w 142"/>
                <a:gd name="T63" fmla="*/ 2147483647 h 239"/>
                <a:gd name="T64" fmla="*/ 2147483647 w 142"/>
                <a:gd name="T65" fmla="*/ 2147483647 h 239"/>
                <a:gd name="T66" fmla="*/ 2147483647 w 142"/>
                <a:gd name="T67" fmla="*/ 2147483647 h 239"/>
                <a:gd name="T68" fmla="*/ 2147483647 w 142"/>
                <a:gd name="T69" fmla="*/ 2147483647 h 239"/>
                <a:gd name="T70" fmla="*/ 2147483647 w 142"/>
                <a:gd name="T71" fmla="*/ 2147483647 h 239"/>
                <a:gd name="T72" fmla="*/ 2147483647 w 142"/>
                <a:gd name="T73" fmla="*/ 2147483647 h 239"/>
                <a:gd name="T74" fmla="*/ 2147483647 w 142"/>
                <a:gd name="T75" fmla="*/ 2147483647 h 239"/>
                <a:gd name="T76" fmla="*/ 2147483647 w 142"/>
                <a:gd name="T77" fmla="*/ 2147483647 h 239"/>
                <a:gd name="T78" fmla="*/ 2147483647 w 142"/>
                <a:gd name="T79" fmla="*/ 2147483647 h 239"/>
                <a:gd name="T80" fmla="*/ 2147483647 w 142"/>
                <a:gd name="T81" fmla="*/ 2147483647 h 239"/>
                <a:gd name="T82" fmla="*/ 2147483647 w 142"/>
                <a:gd name="T83" fmla="*/ 2147483647 h 239"/>
                <a:gd name="T84" fmla="*/ 2147483647 w 142"/>
                <a:gd name="T85" fmla="*/ 2147483647 h 239"/>
                <a:gd name="T86" fmla="*/ 2147483647 w 142"/>
                <a:gd name="T87" fmla="*/ 2147483647 h 239"/>
                <a:gd name="T88" fmla="*/ 2147483647 w 142"/>
                <a:gd name="T89" fmla="*/ 2147483647 h 239"/>
                <a:gd name="T90" fmla="*/ 2147483647 w 142"/>
                <a:gd name="T91" fmla="*/ 2147483647 h 239"/>
                <a:gd name="T92" fmla="*/ 2147483647 w 142"/>
                <a:gd name="T93" fmla="*/ 2147483647 h 239"/>
                <a:gd name="T94" fmla="*/ 2147483647 w 142"/>
                <a:gd name="T95" fmla="*/ 2147483647 h 239"/>
                <a:gd name="T96" fmla="*/ 2147483647 w 142"/>
                <a:gd name="T97" fmla="*/ 2147483647 h 239"/>
                <a:gd name="T98" fmla="*/ 2147483647 w 142"/>
                <a:gd name="T99" fmla="*/ 2147483647 h 239"/>
                <a:gd name="T100" fmla="*/ 2147483647 w 142"/>
                <a:gd name="T101" fmla="*/ 2147483647 h 239"/>
                <a:gd name="T102" fmla="*/ 2147483647 w 142"/>
                <a:gd name="T103" fmla="*/ 2147483647 h 239"/>
                <a:gd name="T104" fmla="*/ 2147483647 w 142"/>
                <a:gd name="T105" fmla="*/ 2147483647 h 239"/>
                <a:gd name="T106" fmla="*/ 2147483647 w 142"/>
                <a:gd name="T107" fmla="*/ 2147483647 h 239"/>
                <a:gd name="T108" fmla="*/ 2147483647 w 142"/>
                <a:gd name="T109" fmla="*/ 2147483647 h 239"/>
                <a:gd name="T110" fmla="*/ 2147483647 w 142"/>
                <a:gd name="T111" fmla="*/ 2147483647 h 239"/>
                <a:gd name="T112" fmla="*/ 2147483647 w 142"/>
                <a:gd name="T113" fmla="*/ 2147483647 h 239"/>
                <a:gd name="T114" fmla="*/ 2147483647 w 142"/>
                <a:gd name="T115" fmla="*/ 2147483647 h 239"/>
                <a:gd name="T116" fmla="*/ 2147483647 w 142"/>
                <a:gd name="T117" fmla="*/ 2147483647 h 239"/>
                <a:gd name="T118" fmla="*/ 2147483647 w 142"/>
                <a:gd name="T119" fmla="*/ 2147483647 h 239"/>
                <a:gd name="T120" fmla="*/ 2147483647 w 142"/>
                <a:gd name="T121" fmla="*/ 2147483647 h 2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42" h="239">
                  <a:moveTo>
                    <a:pt x="96" y="207"/>
                  </a:moveTo>
                  <a:lnTo>
                    <a:pt x="97" y="206"/>
                  </a:lnTo>
                  <a:lnTo>
                    <a:pt x="98" y="203"/>
                  </a:lnTo>
                  <a:lnTo>
                    <a:pt x="97" y="201"/>
                  </a:lnTo>
                  <a:lnTo>
                    <a:pt x="97" y="199"/>
                  </a:lnTo>
                  <a:lnTo>
                    <a:pt x="97" y="198"/>
                  </a:lnTo>
                  <a:lnTo>
                    <a:pt x="106" y="197"/>
                  </a:lnTo>
                  <a:lnTo>
                    <a:pt x="112" y="197"/>
                  </a:lnTo>
                  <a:lnTo>
                    <a:pt x="117" y="196"/>
                  </a:lnTo>
                  <a:lnTo>
                    <a:pt x="121" y="194"/>
                  </a:lnTo>
                  <a:lnTo>
                    <a:pt x="122" y="191"/>
                  </a:lnTo>
                  <a:lnTo>
                    <a:pt x="122" y="187"/>
                  </a:lnTo>
                  <a:lnTo>
                    <a:pt x="123" y="182"/>
                  </a:lnTo>
                  <a:lnTo>
                    <a:pt x="123" y="170"/>
                  </a:lnTo>
                  <a:lnTo>
                    <a:pt x="121" y="165"/>
                  </a:lnTo>
                  <a:lnTo>
                    <a:pt x="117" y="160"/>
                  </a:lnTo>
                  <a:lnTo>
                    <a:pt x="115" y="156"/>
                  </a:lnTo>
                  <a:lnTo>
                    <a:pt x="112" y="152"/>
                  </a:lnTo>
                  <a:lnTo>
                    <a:pt x="110" y="146"/>
                  </a:lnTo>
                  <a:lnTo>
                    <a:pt x="110" y="138"/>
                  </a:lnTo>
                  <a:lnTo>
                    <a:pt x="108" y="123"/>
                  </a:lnTo>
                  <a:lnTo>
                    <a:pt x="110" y="117"/>
                  </a:lnTo>
                  <a:lnTo>
                    <a:pt x="110" y="111"/>
                  </a:lnTo>
                  <a:lnTo>
                    <a:pt x="113" y="105"/>
                  </a:lnTo>
                  <a:lnTo>
                    <a:pt x="116" y="102"/>
                  </a:lnTo>
                  <a:lnTo>
                    <a:pt x="118" y="101"/>
                  </a:lnTo>
                  <a:lnTo>
                    <a:pt x="121" y="100"/>
                  </a:lnTo>
                  <a:lnTo>
                    <a:pt x="125" y="100"/>
                  </a:lnTo>
                  <a:lnTo>
                    <a:pt x="130" y="101"/>
                  </a:lnTo>
                  <a:lnTo>
                    <a:pt x="136" y="101"/>
                  </a:lnTo>
                  <a:lnTo>
                    <a:pt x="138" y="101"/>
                  </a:lnTo>
                  <a:lnTo>
                    <a:pt x="142" y="100"/>
                  </a:lnTo>
                  <a:lnTo>
                    <a:pt x="138" y="95"/>
                  </a:lnTo>
                  <a:lnTo>
                    <a:pt x="136" y="90"/>
                  </a:lnTo>
                  <a:lnTo>
                    <a:pt x="133" y="83"/>
                  </a:lnTo>
                  <a:lnTo>
                    <a:pt x="131" y="80"/>
                  </a:lnTo>
                  <a:lnTo>
                    <a:pt x="128" y="78"/>
                  </a:lnTo>
                  <a:lnTo>
                    <a:pt x="126" y="80"/>
                  </a:lnTo>
                  <a:lnTo>
                    <a:pt x="123" y="82"/>
                  </a:lnTo>
                  <a:lnTo>
                    <a:pt x="121" y="82"/>
                  </a:lnTo>
                  <a:lnTo>
                    <a:pt x="120" y="82"/>
                  </a:lnTo>
                  <a:lnTo>
                    <a:pt x="117" y="81"/>
                  </a:lnTo>
                  <a:lnTo>
                    <a:pt x="115" y="76"/>
                  </a:lnTo>
                  <a:lnTo>
                    <a:pt x="112" y="75"/>
                  </a:lnTo>
                  <a:lnTo>
                    <a:pt x="110" y="73"/>
                  </a:lnTo>
                  <a:lnTo>
                    <a:pt x="107" y="75"/>
                  </a:lnTo>
                  <a:lnTo>
                    <a:pt x="103" y="77"/>
                  </a:lnTo>
                  <a:lnTo>
                    <a:pt x="107" y="72"/>
                  </a:lnTo>
                  <a:lnTo>
                    <a:pt x="110" y="69"/>
                  </a:lnTo>
                  <a:lnTo>
                    <a:pt x="102" y="66"/>
                  </a:lnTo>
                  <a:lnTo>
                    <a:pt x="98" y="65"/>
                  </a:lnTo>
                  <a:lnTo>
                    <a:pt x="96" y="64"/>
                  </a:lnTo>
                  <a:lnTo>
                    <a:pt x="93" y="60"/>
                  </a:lnTo>
                  <a:lnTo>
                    <a:pt x="92" y="57"/>
                  </a:lnTo>
                  <a:lnTo>
                    <a:pt x="90" y="51"/>
                  </a:lnTo>
                  <a:lnTo>
                    <a:pt x="88" y="50"/>
                  </a:lnTo>
                  <a:lnTo>
                    <a:pt x="87" y="50"/>
                  </a:lnTo>
                  <a:lnTo>
                    <a:pt x="86" y="51"/>
                  </a:lnTo>
                  <a:lnTo>
                    <a:pt x="85" y="51"/>
                  </a:lnTo>
                  <a:lnTo>
                    <a:pt x="81" y="51"/>
                  </a:lnTo>
                  <a:lnTo>
                    <a:pt x="77" y="52"/>
                  </a:lnTo>
                  <a:lnTo>
                    <a:pt x="75" y="52"/>
                  </a:lnTo>
                  <a:lnTo>
                    <a:pt x="71" y="50"/>
                  </a:lnTo>
                  <a:lnTo>
                    <a:pt x="63" y="44"/>
                  </a:lnTo>
                  <a:lnTo>
                    <a:pt x="56" y="37"/>
                  </a:lnTo>
                  <a:lnTo>
                    <a:pt x="50" y="31"/>
                  </a:lnTo>
                  <a:lnTo>
                    <a:pt x="46" y="26"/>
                  </a:lnTo>
                  <a:lnTo>
                    <a:pt x="43" y="21"/>
                  </a:lnTo>
                  <a:lnTo>
                    <a:pt x="46" y="20"/>
                  </a:lnTo>
                  <a:lnTo>
                    <a:pt x="48" y="20"/>
                  </a:lnTo>
                  <a:lnTo>
                    <a:pt x="47" y="19"/>
                  </a:lnTo>
                  <a:lnTo>
                    <a:pt x="46" y="16"/>
                  </a:lnTo>
                  <a:lnTo>
                    <a:pt x="47" y="11"/>
                  </a:lnTo>
                  <a:lnTo>
                    <a:pt x="48" y="5"/>
                  </a:lnTo>
                  <a:lnTo>
                    <a:pt x="48" y="0"/>
                  </a:lnTo>
                  <a:lnTo>
                    <a:pt x="5" y="1"/>
                  </a:lnTo>
                  <a:lnTo>
                    <a:pt x="6" y="10"/>
                  </a:lnTo>
                  <a:lnTo>
                    <a:pt x="8" y="24"/>
                  </a:lnTo>
                  <a:lnTo>
                    <a:pt x="10" y="31"/>
                  </a:lnTo>
                  <a:lnTo>
                    <a:pt x="8" y="36"/>
                  </a:lnTo>
                  <a:lnTo>
                    <a:pt x="6" y="41"/>
                  </a:lnTo>
                  <a:lnTo>
                    <a:pt x="5" y="42"/>
                  </a:lnTo>
                  <a:lnTo>
                    <a:pt x="2" y="42"/>
                  </a:lnTo>
                  <a:lnTo>
                    <a:pt x="1" y="45"/>
                  </a:lnTo>
                  <a:lnTo>
                    <a:pt x="0" y="49"/>
                  </a:lnTo>
                  <a:lnTo>
                    <a:pt x="1" y="61"/>
                  </a:lnTo>
                  <a:lnTo>
                    <a:pt x="5" y="75"/>
                  </a:lnTo>
                  <a:lnTo>
                    <a:pt x="7" y="83"/>
                  </a:lnTo>
                  <a:lnTo>
                    <a:pt x="10" y="81"/>
                  </a:lnTo>
                  <a:lnTo>
                    <a:pt x="12" y="81"/>
                  </a:lnTo>
                  <a:lnTo>
                    <a:pt x="15" y="81"/>
                  </a:lnTo>
                  <a:lnTo>
                    <a:pt x="17" y="81"/>
                  </a:lnTo>
                  <a:lnTo>
                    <a:pt x="21" y="85"/>
                  </a:lnTo>
                  <a:lnTo>
                    <a:pt x="23" y="90"/>
                  </a:lnTo>
                  <a:lnTo>
                    <a:pt x="27" y="103"/>
                  </a:lnTo>
                  <a:lnTo>
                    <a:pt x="30" y="113"/>
                  </a:lnTo>
                  <a:lnTo>
                    <a:pt x="35" y="127"/>
                  </a:lnTo>
                  <a:lnTo>
                    <a:pt x="38" y="141"/>
                  </a:lnTo>
                  <a:lnTo>
                    <a:pt x="40" y="147"/>
                  </a:lnTo>
                  <a:lnTo>
                    <a:pt x="40" y="153"/>
                  </a:lnTo>
                  <a:lnTo>
                    <a:pt x="40" y="161"/>
                  </a:lnTo>
                  <a:lnTo>
                    <a:pt x="37" y="168"/>
                  </a:lnTo>
                  <a:lnTo>
                    <a:pt x="36" y="177"/>
                  </a:lnTo>
                  <a:lnTo>
                    <a:pt x="36" y="183"/>
                  </a:lnTo>
                  <a:lnTo>
                    <a:pt x="36" y="189"/>
                  </a:lnTo>
                  <a:lnTo>
                    <a:pt x="37" y="194"/>
                  </a:lnTo>
                  <a:lnTo>
                    <a:pt x="41" y="199"/>
                  </a:lnTo>
                  <a:lnTo>
                    <a:pt x="45" y="204"/>
                  </a:lnTo>
                  <a:lnTo>
                    <a:pt x="55" y="214"/>
                  </a:lnTo>
                  <a:lnTo>
                    <a:pt x="61" y="222"/>
                  </a:lnTo>
                  <a:lnTo>
                    <a:pt x="66" y="228"/>
                  </a:lnTo>
                  <a:lnTo>
                    <a:pt x="71" y="234"/>
                  </a:lnTo>
                  <a:lnTo>
                    <a:pt x="75" y="237"/>
                  </a:lnTo>
                  <a:lnTo>
                    <a:pt x="80" y="239"/>
                  </a:lnTo>
                  <a:lnTo>
                    <a:pt x="78" y="232"/>
                  </a:lnTo>
                  <a:lnTo>
                    <a:pt x="76" y="223"/>
                  </a:lnTo>
                  <a:lnTo>
                    <a:pt x="72" y="216"/>
                  </a:lnTo>
                  <a:lnTo>
                    <a:pt x="71" y="208"/>
                  </a:lnTo>
                  <a:lnTo>
                    <a:pt x="83" y="208"/>
                  </a:lnTo>
                  <a:lnTo>
                    <a:pt x="90" y="208"/>
                  </a:lnTo>
                  <a:lnTo>
                    <a:pt x="95" y="207"/>
                  </a:lnTo>
                  <a:lnTo>
                    <a:pt x="96" y="207"/>
                  </a:lnTo>
                  <a:close/>
                </a:path>
              </a:pathLst>
            </a:custGeom>
            <a:solidFill>
              <a:schemeClr val="bg1">
                <a:lumMod val="75000"/>
              </a:schemeClr>
            </a:solidFill>
            <a:ln w="3175" cmpd="sng">
              <a:solidFill>
                <a:srgbClr val="D9D9D9"/>
              </a:solidFill>
              <a:prstDash val="solid"/>
              <a:round/>
              <a:headEnd/>
              <a:tailEnd/>
            </a:ln>
          </p:spPr>
          <p:txBody>
            <a:bodyPr wrap="none" anchor="ctr"/>
            <a:lstStyle/>
            <a:p>
              <a:pPr algn="r"/>
              <a:r>
                <a:rPr lang="en-US" sz="800" dirty="0">
                  <a:solidFill>
                    <a:prstClr val="black"/>
                  </a:solidFill>
                  <a:latin typeface="Franklin Gothic Book"/>
                  <a:ea typeface="MS PGothic" charset="0"/>
                  <a:cs typeface="MS PGothic" charset="0"/>
                </a:rPr>
                <a:t>San</a:t>
              </a:r>
            </a:p>
            <a:p>
              <a:pPr algn="r"/>
              <a:r>
                <a:rPr lang="en-US" sz="800" dirty="0">
                  <a:solidFill>
                    <a:prstClr val="black"/>
                  </a:solidFill>
                  <a:latin typeface="Franklin Gothic Book"/>
                  <a:ea typeface="MS PGothic" charset="0"/>
                  <a:cs typeface="MS PGothic" charset="0"/>
                </a:rPr>
                <a:t>Mateo</a:t>
              </a:r>
            </a:p>
          </p:txBody>
        </p:sp>
        <p:sp>
          <p:nvSpPr>
            <p:cNvPr id="53" name="Sonoma"/>
            <p:cNvSpPr>
              <a:spLocks/>
            </p:cNvSpPr>
            <p:nvPr/>
          </p:nvSpPr>
          <p:spPr bwMode="auto">
            <a:xfrm>
              <a:off x="778214" y="4454340"/>
              <a:ext cx="830938" cy="597186"/>
            </a:xfrm>
            <a:custGeom>
              <a:avLst/>
              <a:gdLst>
                <a:gd name="T0" fmla="*/ 2147483647 w 395"/>
                <a:gd name="T1" fmla="*/ 2147483647 h 298"/>
                <a:gd name="T2" fmla="*/ 2147483647 w 395"/>
                <a:gd name="T3" fmla="*/ 2147483647 h 298"/>
                <a:gd name="T4" fmla="*/ 2147483647 w 395"/>
                <a:gd name="T5" fmla="*/ 2147483647 h 298"/>
                <a:gd name="T6" fmla="*/ 2147483647 w 395"/>
                <a:gd name="T7" fmla="*/ 2147483647 h 298"/>
                <a:gd name="T8" fmla="*/ 2147483647 w 395"/>
                <a:gd name="T9" fmla="*/ 2147483647 h 298"/>
                <a:gd name="T10" fmla="*/ 2147483647 w 395"/>
                <a:gd name="T11" fmla="*/ 2147483647 h 298"/>
                <a:gd name="T12" fmla="*/ 2147483647 w 395"/>
                <a:gd name="T13" fmla="*/ 2147483647 h 298"/>
                <a:gd name="T14" fmla="*/ 2147483647 w 395"/>
                <a:gd name="T15" fmla="*/ 2147483647 h 298"/>
                <a:gd name="T16" fmla="*/ 2147483647 w 395"/>
                <a:gd name="T17" fmla="*/ 2147483647 h 298"/>
                <a:gd name="T18" fmla="*/ 2147483647 w 395"/>
                <a:gd name="T19" fmla="*/ 2147483647 h 298"/>
                <a:gd name="T20" fmla="*/ 2147483647 w 395"/>
                <a:gd name="T21" fmla="*/ 2147483647 h 298"/>
                <a:gd name="T22" fmla="*/ 2147483647 w 395"/>
                <a:gd name="T23" fmla="*/ 2147483647 h 298"/>
                <a:gd name="T24" fmla="*/ 2147483647 w 395"/>
                <a:gd name="T25" fmla="*/ 2147483647 h 298"/>
                <a:gd name="T26" fmla="*/ 2147483647 w 395"/>
                <a:gd name="T27" fmla="*/ 2147483647 h 298"/>
                <a:gd name="T28" fmla="*/ 2147483647 w 395"/>
                <a:gd name="T29" fmla="*/ 2147483647 h 298"/>
                <a:gd name="T30" fmla="*/ 2147483647 w 395"/>
                <a:gd name="T31" fmla="*/ 2147483647 h 298"/>
                <a:gd name="T32" fmla="*/ 2147483647 w 395"/>
                <a:gd name="T33" fmla="*/ 0 h 298"/>
                <a:gd name="T34" fmla="*/ 2147483647 w 395"/>
                <a:gd name="T35" fmla="*/ 2147483647 h 298"/>
                <a:gd name="T36" fmla="*/ 2147483647 w 395"/>
                <a:gd name="T37" fmla="*/ 2147483647 h 298"/>
                <a:gd name="T38" fmla="*/ 2147483647 w 395"/>
                <a:gd name="T39" fmla="*/ 2147483647 h 298"/>
                <a:gd name="T40" fmla="*/ 2147483647 w 395"/>
                <a:gd name="T41" fmla="*/ 2147483647 h 298"/>
                <a:gd name="T42" fmla="*/ 2147483647 w 395"/>
                <a:gd name="T43" fmla="*/ 2147483647 h 298"/>
                <a:gd name="T44" fmla="*/ 2147483647 w 395"/>
                <a:gd name="T45" fmla="*/ 2147483647 h 298"/>
                <a:gd name="T46" fmla="*/ 2147483647 w 395"/>
                <a:gd name="T47" fmla="*/ 2147483647 h 298"/>
                <a:gd name="T48" fmla="*/ 2147483647 w 395"/>
                <a:gd name="T49" fmla="*/ 2147483647 h 298"/>
                <a:gd name="T50" fmla="*/ 2147483647 w 395"/>
                <a:gd name="T51" fmla="*/ 2147483647 h 298"/>
                <a:gd name="T52" fmla="*/ 2147483647 w 395"/>
                <a:gd name="T53" fmla="*/ 2147483647 h 298"/>
                <a:gd name="T54" fmla="*/ 2147483647 w 395"/>
                <a:gd name="T55" fmla="*/ 2147483647 h 298"/>
                <a:gd name="T56" fmla="*/ 2147483647 w 395"/>
                <a:gd name="T57" fmla="*/ 2147483647 h 298"/>
                <a:gd name="T58" fmla="*/ 2147483647 w 395"/>
                <a:gd name="T59" fmla="*/ 2147483647 h 298"/>
                <a:gd name="T60" fmla="*/ 2147483647 w 395"/>
                <a:gd name="T61" fmla="*/ 2147483647 h 298"/>
                <a:gd name="T62" fmla="*/ 2147483647 w 395"/>
                <a:gd name="T63" fmla="*/ 2147483647 h 298"/>
                <a:gd name="T64" fmla="*/ 2147483647 w 395"/>
                <a:gd name="T65" fmla="*/ 2147483647 h 298"/>
                <a:gd name="T66" fmla="*/ 2147483647 w 395"/>
                <a:gd name="T67" fmla="*/ 2147483647 h 298"/>
                <a:gd name="T68" fmla="*/ 2147483647 w 395"/>
                <a:gd name="T69" fmla="*/ 2147483647 h 298"/>
                <a:gd name="T70" fmla="*/ 2147483647 w 395"/>
                <a:gd name="T71" fmla="*/ 2147483647 h 298"/>
                <a:gd name="T72" fmla="*/ 2147483647 w 395"/>
                <a:gd name="T73" fmla="*/ 2147483647 h 298"/>
                <a:gd name="T74" fmla="*/ 2147483647 w 395"/>
                <a:gd name="T75" fmla="*/ 2147483647 h 298"/>
                <a:gd name="T76" fmla="*/ 2147483647 w 395"/>
                <a:gd name="T77" fmla="*/ 2147483647 h 298"/>
                <a:gd name="T78" fmla="*/ 2147483647 w 395"/>
                <a:gd name="T79" fmla="*/ 2147483647 h 298"/>
                <a:gd name="T80" fmla="*/ 2147483647 w 395"/>
                <a:gd name="T81" fmla="*/ 2147483647 h 298"/>
                <a:gd name="T82" fmla="*/ 2147483647 w 395"/>
                <a:gd name="T83" fmla="*/ 2147483647 h 298"/>
                <a:gd name="T84" fmla="*/ 2147483647 w 395"/>
                <a:gd name="T85" fmla="*/ 2147483647 h 298"/>
                <a:gd name="T86" fmla="*/ 2147483647 w 395"/>
                <a:gd name="T87" fmla="*/ 2147483647 h 298"/>
                <a:gd name="T88" fmla="*/ 2147483647 w 395"/>
                <a:gd name="T89" fmla="*/ 2147483647 h 298"/>
                <a:gd name="T90" fmla="*/ 2147483647 w 395"/>
                <a:gd name="T91" fmla="*/ 2147483647 h 298"/>
                <a:gd name="T92" fmla="*/ 2147483647 w 395"/>
                <a:gd name="T93" fmla="*/ 2147483647 h 298"/>
                <a:gd name="T94" fmla="*/ 2147483647 w 395"/>
                <a:gd name="T95" fmla="*/ 2147483647 h 298"/>
                <a:gd name="T96" fmla="*/ 2147483647 w 395"/>
                <a:gd name="T97" fmla="*/ 2147483647 h 298"/>
                <a:gd name="T98" fmla="*/ 2147483647 w 395"/>
                <a:gd name="T99" fmla="*/ 2147483647 h 298"/>
                <a:gd name="T100" fmla="*/ 2147483647 w 395"/>
                <a:gd name="T101" fmla="*/ 2147483647 h 2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95" h="298">
                  <a:moveTo>
                    <a:pt x="373" y="266"/>
                  </a:moveTo>
                  <a:lnTo>
                    <a:pt x="378" y="264"/>
                  </a:lnTo>
                  <a:lnTo>
                    <a:pt x="384" y="263"/>
                  </a:lnTo>
                  <a:lnTo>
                    <a:pt x="389" y="261"/>
                  </a:lnTo>
                  <a:lnTo>
                    <a:pt x="395" y="263"/>
                  </a:lnTo>
                  <a:lnTo>
                    <a:pt x="395" y="260"/>
                  </a:lnTo>
                  <a:lnTo>
                    <a:pt x="388" y="245"/>
                  </a:lnTo>
                  <a:lnTo>
                    <a:pt x="383" y="230"/>
                  </a:lnTo>
                  <a:lnTo>
                    <a:pt x="375" y="216"/>
                  </a:lnTo>
                  <a:lnTo>
                    <a:pt x="371" y="210"/>
                  </a:lnTo>
                  <a:lnTo>
                    <a:pt x="366" y="203"/>
                  </a:lnTo>
                  <a:lnTo>
                    <a:pt x="359" y="194"/>
                  </a:lnTo>
                  <a:lnTo>
                    <a:pt x="353" y="184"/>
                  </a:lnTo>
                  <a:lnTo>
                    <a:pt x="349" y="173"/>
                  </a:lnTo>
                  <a:lnTo>
                    <a:pt x="348" y="168"/>
                  </a:lnTo>
                  <a:lnTo>
                    <a:pt x="346" y="163"/>
                  </a:lnTo>
                  <a:lnTo>
                    <a:pt x="345" y="160"/>
                  </a:lnTo>
                  <a:lnTo>
                    <a:pt x="343" y="158"/>
                  </a:lnTo>
                  <a:lnTo>
                    <a:pt x="338" y="154"/>
                  </a:lnTo>
                  <a:lnTo>
                    <a:pt x="335" y="152"/>
                  </a:lnTo>
                  <a:lnTo>
                    <a:pt x="333" y="149"/>
                  </a:lnTo>
                  <a:lnTo>
                    <a:pt x="333" y="148"/>
                  </a:lnTo>
                  <a:lnTo>
                    <a:pt x="331" y="144"/>
                  </a:lnTo>
                  <a:lnTo>
                    <a:pt x="325" y="132"/>
                  </a:lnTo>
                  <a:lnTo>
                    <a:pt x="322" y="127"/>
                  </a:lnTo>
                  <a:lnTo>
                    <a:pt x="317" y="122"/>
                  </a:lnTo>
                  <a:lnTo>
                    <a:pt x="309" y="118"/>
                  </a:lnTo>
                  <a:lnTo>
                    <a:pt x="302" y="113"/>
                  </a:lnTo>
                  <a:lnTo>
                    <a:pt x="299" y="110"/>
                  </a:lnTo>
                  <a:lnTo>
                    <a:pt x="297" y="108"/>
                  </a:lnTo>
                  <a:lnTo>
                    <a:pt x="297" y="103"/>
                  </a:lnTo>
                  <a:lnTo>
                    <a:pt x="297" y="98"/>
                  </a:lnTo>
                  <a:lnTo>
                    <a:pt x="302" y="86"/>
                  </a:lnTo>
                  <a:lnTo>
                    <a:pt x="303" y="78"/>
                  </a:lnTo>
                  <a:lnTo>
                    <a:pt x="302" y="72"/>
                  </a:lnTo>
                  <a:lnTo>
                    <a:pt x="298" y="66"/>
                  </a:lnTo>
                  <a:lnTo>
                    <a:pt x="293" y="62"/>
                  </a:lnTo>
                  <a:lnTo>
                    <a:pt x="288" y="61"/>
                  </a:lnTo>
                  <a:lnTo>
                    <a:pt x="282" y="57"/>
                  </a:lnTo>
                  <a:lnTo>
                    <a:pt x="278" y="53"/>
                  </a:lnTo>
                  <a:lnTo>
                    <a:pt x="275" y="48"/>
                  </a:lnTo>
                  <a:lnTo>
                    <a:pt x="270" y="39"/>
                  </a:lnTo>
                  <a:lnTo>
                    <a:pt x="259" y="18"/>
                  </a:lnTo>
                  <a:lnTo>
                    <a:pt x="257" y="16"/>
                  </a:lnTo>
                  <a:lnTo>
                    <a:pt x="254" y="13"/>
                  </a:lnTo>
                  <a:lnTo>
                    <a:pt x="248" y="11"/>
                  </a:lnTo>
                  <a:lnTo>
                    <a:pt x="242" y="7"/>
                  </a:lnTo>
                  <a:lnTo>
                    <a:pt x="239" y="4"/>
                  </a:lnTo>
                  <a:lnTo>
                    <a:pt x="238" y="2"/>
                  </a:lnTo>
                  <a:lnTo>
                    <a:pt x="179" y="1"/>
                  </a:lnTo>
                  <a:lnTo>
                    <a:pt x="153" y="0"/>
                  </a:lnTo>
                  <a:lnTo>
                    <a:pt x="149" y="1"/>
                  </a:lnTo>
                  <a:lnTo>
                    <a:pt x="149" y="2"/>
                  </a:lnTo>
                  <a:lnTo>
                    <a:pt x="149" y="4"/>
                  </a:lnTo>
                  <a:lnTo>
                    <a:pt x="148" y="4"/>
                  </a:lnTo>
                  <a:lnTo>
                    <a:pt x="141" y="6"/>
                  </a:lnTo>
                  <a:lnTo>
                    <a:pt x="133" y="6"/>
                  </a:lnTo>
                  <a:lnTo>
                    <a:pt x="132" y="6"/>
                  </a:lnTo>
                  <a:lnTo>
                    <a:pt x="132" y="7"/>
                  </a:lnTo>
                  <a:lnTo>
                    <a:pt x="132" y="11"/>
                  </a:lnTo>
                  <a:lnTo>
                    <a:pt x="132" y="14"/>
                  </a:lnTo>
                  <a:lnTo>
                    <a:pt x="131" y="16"/>
                  </a:lnTo>
                  <a:lnTo>
                    <a:pt x="131" y="17"/>
                  </a:lnTo>
                  <a:lnTo>
                    <a:pt x="98" y="17"/>
                  </a:lnTo>
                  <a:lnTo>
                    <a:pt x="84" y="16"/>
                  </a:lnTo>
                  <a:lnTo>
                    <a:pt x="68" y="14"/>
                  </a:lnTo>
                  <a:lnTo>
                    <a:pt x="61" y="16"/>
                  </a:lnTo>
                  <a:lnTo>
                    <a:pt x="56" y="18"/>
                  </a:lnTo>
                  <a:lnTo>
                    <a:pt x="53" y="21"/>
                  </a:lnTo>
                  <a:lnTo>
                    <a:pt x="53" y="23"/>
                  </a:lnTo>
                  <a:lnTo>
                    <a:pt x="52" y="26"/>
                  </a:lnTo>
                  <a:lnTo>
                    <a:pt x="53" y="29"/>
                  </a:lnTo>
                  <a:lnTo>
                    <a:pt x="38" y="29"/>
                  </a:lnTo>
                  <a:lnTo>
                    <a:pt x="24" y="29"/>
                  </a:lnTo>
                  <a:lnTo>
                    <a:pt x="12" y="32"/>
                  </a:lnTo>
                  <a:lnTo>
                    <a:pt x="6" y="34"/>
                  </a:lnTo>
                  <a:lnTo>
                    <a:pt x="0" y="37"/>
                  </a:lnTo>
                  <a:lnTo>
                    <a:pt x="3" y="42"/>
                  </a:lnTo>
                  <a:lnTo>
                    <a:pt x="7" y="46"/>
                  </a:lnTo>
                  <a:lnTo>
                    <a:pt x="16" y="53"/>
                  </a:lnTo>
                  <a:lnTo>
                    <a:pt x="24" y="59"/>
                  </a:lnTo>
                  <a:lnTo>
                    <a:pt x="28" y="63"/>
                  </a:lnTo>
                  <a:lnTo>
                    <a:pt x="32" y="68"/>
                  </a:lnTo>
                  <a:lnTo>
                    <a:pt x="39" y="78"/>
                  </a:lnTo>
                  <a:lnTo>
                    <a:pt x="49" y="89"/>
                  </a:lnTo>
                  <a:lnTo>
                    <a:pt x="58" y="102"/>
                  </a:lnTo>
                  <a:lnTo>
                    <a:pt x="62" y="107"/>
                  </a:lnTo>
                  <a:lnTo>
                    <a:pt x="63" y="112"/>
                  </a:lnTo>
                  <a:lnTo>
                    <a:pt x="64" y="115"/>
                  </a:lnTo>
                  <a:lnTo>
                    <a:pt x="68" y="119"/>
                  </a:lnTo>
                  <a:lnTo>
                    <a:pt x="79" y="128"/>
                  </a:lnTo>
                  <a:lnTo>
                    <a:pt x="91" y="137"/>
                  </a:lnTo>
                  <a:lnTo>
                    <a:pt x="99" y="142"/>
                  </a:lnTo>
                  <a:lnTo>
                    <a:pt x="119" y="152"/>
                  </a:lnTo>
                  <a:lnTo>
                    <a:pt x="131" y="158"/>
                  </a:lnTo>
                  <a:lnTo>
                    <a:pt x="138" y="165"/>
                  </a:lnTo>
                  <a:lnTo>
                    <a:pt x="137" y="164"/>
                  </a:lnTo>
                  <a:lnTo>
                    <a:pt x="134" y="164"/>
                  </a:lnTo>
                  <a:lnTo>
                    <a:pt x="134" y="168"/>
                  </a:lnTo>
                  <a:lnTo>
                    <a:pt x="136" y="172"/>
                  </a:lnTo>
                  <a:lnTo>
                    <a:pt x="141" y="180"/>
                  </a:lnTo>
                  <a:lnTo>
                    <a:pt x="147" y="189"/>
                  </a:lnTo>
                  <a:lnTo>
                    <a:pt x="151" y="197"/>
                  </a:lnTo>
                  <a:lnTo>
                    <a:pt x="152" y="204"/>
                  </a:lnTo>
                  <a:lnTo>
                    <a:pt x="153" y="212"/>
                  </a:lnTo>
                  <a:lnTo>
                    <a:pt x="156" y="219"/>
                  </a:lnTo>
                  <a:lnTo>
                    <a:pt x="157" y="221"/>
                  </a:lnTo>
                  <a:lnTo>
                    <a:pt x="159" y="224"/>
                  </a:lnTo>
                  <a:lnTo>
                    <a:pt x="158" y="210"/>
                  </a:lnTo>
                  <a:lnTo>
                    <a:pt x="162" y="212"/>
                  </a:lnTo>
                  <a:lnTo>
                    <a:pt x="163" y="213"/>
                  </a:lnTo>
                  <a:lnTo>
                    <a:pt x="163" y="215"/>
                  </a:lnTo>
                  <a:lnTo>
                    <a:pt x="161" y="218"/>
                  </a:lnTo>
                  <a:lnTo>
                    <a:pt x="169" y="219"/>
                  </a:lnTo>
                  <a:lnTo>
                    <a:pt x="173" y="220"/>
                  </a:lnTo>
                  <a:lnTo>
                    <a:pt x="178" y="223"/>
                  </a:lnTo>
                  <a:lnTo>
                    <a:pt x="179" y="220"/>
                  </a:lnTo>
                  <a:lnTo>
                    <a:pt x="183" y="218"/>
                  </a:lnTo>
                  <a:lnTo>
                    <a:pt x="194" y="215"/>
                  </a:lnTo>
                  <a:lnTo>
                    <a:pt x="204" y="215"/>
                  </a:lnTo>
                  <a:lnTo>
                    <a:pt x="209" y="215"/>
                  </a:lnTo>
                  <a:lnTo>
                    <a:pt x="212" y="216"/>
                  </a:lnTo>
                  <a:lnTo>
                    <a:pt x="248" y="246"/>
                  </a:lnTo>
                  <a:lnTo>
                    <a:pt x="254" y="250"/>
                  </a:lnTo>
                  <a:lnTo>
                    <a:pt x="260" y="254"/>
                  </a:lnTo>
                  <a:lnTo>
                    <a:pt x="272" y="259"/>
                  </a:lnTo>
                  <a:lnTo>
                    <a:pt x="287" y="265"/>
                  </a:lnTo>
                  <a:lnTo>
                    <a:pt x="295" y="268"/>
                  </a:lnTo>
                  <a:lnTo>
                    <a:pt x="304" y="269"/>
                  </a:lnTo>
                  <a:lnTo>
                    <a:pt x="314" y="266"/>
                  </a:lnTo>
                  <a:lnTo>
                    <a:pt x="320" y="266"/>
                  </a:lnTo>
                  <a:lnTo>
                    <a:pt x="322" y="268"/>
                  </a:lnTo>
                  <a:lnTo>
                    <a:pt x="323" y="270"/>
                  </a:lnTo>
                  <a:lnTo>
                    <a:pt x="324" y="273"/>
                  </a:lnTo>
                  <a:lnTo>
                    <a:pt x="327" y="276"/>
                  </a:lnTo>
                  <a:lnTo>
                    <a:pt x="333" y="281"/>
                  </a:lnTo>
                  <a:lnTo>
                    <a:pt x="333" y="280"/>
                  </a:lnTo>
                  <a:lnTo>
                    <a:pt x="335" y="283"/>
                  </a:lnTo>
                  <a:lnTo>
                    <a:pt x="338" y="285"/>
                  </a:lnTo>
                  <a:lnTo>
                    <a:pt x="344" y="291"/>
                  </a:lnTo>
                  <a:lnTo>
                    <a:pt x="346" y="295"/>
                  </a:lnTo>
                  <a:lnTo>
                    <a:pt x="350" y="296"/>
                  </a:lnTo>
                  <a:lnTo>
                    <a:pt x="353" y="298"/>
                  </a:lnTo>
                  <a:lnTo>
                    <a:pt x="358" y="295"/>
                  </a:lnTo>
                  <a:lnTo>
                    <a:pt x="360" y="294"/>
                  </a:lnTo>
                  <a:lnTo>
                    <a:pt x="363" y="295"/>
                  </a:lnTo>
                  <a:lnTo>
                    <a:pt x="365" y="295"/>
                  </a:lnTo>
                  <a:lnTo>
                    <a:pt x="368" y="295"/>
                  </a:lnTo>
                  <a:lnTo>
                    <a:pt x="371" y="291"/>
                  </a:lnTo>
                  <a:lnTo>
                    <a:pt x="374" y="286"/>
                  </a:lnTo>
                  <a:lnTo>
                    <a:pt x="375" y="281"/>
                  </a:lnTo>
                  <a:lnTo>
                    <a:pt x="375" y="276"/>
                  </a:lnTo>
                  <a:lnTo>
                    <a:pt x="374" y="266"/>
                  </a:lnTo>
                  <a:lnTo>
                    <a:pt x="373" y="266"/>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onoma</a:t>
              </a:r>
            </a:p>
          </p:txBody>
        </p:sp>
      </p:grpSp>
      <p:grpSp>
        <p:nvGrpSpPr>
          <p:cNvPr id="54" name="Sierra"/>
          <p:cNvGrpSpPr/>
          <p:nvPr/>
        </p:nvGrpSpPr>
        <p:grpSpPr>
          <a:xfrm>
            <a:off x="2608498" y="1970510"/>
            <a:ext cx="2729443" cy="2474159"/>
            <a:chOff x="2206583" y="3177814"/>
            <a:chExt cx="4125234" cy="3739403"/>
          </a:xfrm>
        </p:grpSpPr>
        <p:sp>
          <p:nvSpPr>
            <p:cNvPr id="55" name="Inyo"/>
            <p:cNvSpPr>
              <a:spLocks/>
            </p:cNvSpPr>
            <p:nvPr/>
          </p:nvSpPr>
          <p:spPr bwMode="auto">
            <a:xfrm>
              <a:off x="4116686" y="5574558"/>
              <a:ext cx="2215131" cy="1342659"/>
            </a:xfrm>
            <a:custGeom>
              <a:avLst/>
              <a:gdLst>
                <a:gd name="T0" fmla="*/ 2147483647 w 1053"/>
                <a:gd name="T1" fmla="*/ 0 h 670"/>
                <a:gd name="T2" fmla="*/ 2147483647 w 1053"/>
                <a:gd name="T3" fmla="*/ 2147483647 h 670"/>
                <a:gd name="T4" fmla="*/ 2147483647 w 1053"/>
                <a:gd name="T5" fmla="*/ 2147483647 h 670"/>
                <a:gd name="T6" fmla="*/ 2147483647 w 1053"/>
                <a:gd name="T7" fmla="*/ 2147483647 h 670"/>
                <a:gd name="T8" fmla="*/ 0 w 1053"/>
                <a:gd name="T9" fmla="*/ 2147483647 h 670"/>
                <a:gd name="T10" fmla="*/ 2147483647 w 1053"/>
                <a:gd name="T11" fmla="*/ 2147483647 h 670"/>
                <a:gd name="T12" fmla="*/ 2147483647 w 1053"/>
                <a:gd name="T13" fmla="*/ 2147483647 h 670"/>
                <a:gd name="T14" fmla="*/ 2147483647 w 1053"/>
                <a:gd name="T15" fmla="*/ 2147483647 h 670"/>
                <a:gd name="T16" fmla="*/ 2147483647 w 1053"/>
                <a:gd name="T17" fmla="*/ 2147483647 h 670"/>
                <a:gd name="T18" fmla="*/ 2147483647 w 1053"/>
                <a:gd name="T19" fmla="*/ 2147483647 h 670"/>
                <a:gd name="T20" fmla="*/ 2147483647 w 1053"/>
                <a:gd name="T21" fmla="*/ 2147483647 h 670"/>
                <a:gd name="T22" fmla="*/ 2147483647 w 1053"/>
                <a:gd name="T23" fmla="*/ 2147483647 h 670"/>
                <a:gd name="T24" fmla="*/ 2147483647 w 1053"/>
                <a:gd name="T25" fmla="*/ 2147483647 h 670"/>
                <a:gd name="T26" fmla="*/ 2147483647 w 1053"/>
                <a:gd name="T27" fmla="*/ 2147483647 h 670"/>
                <a:gd name="T28" fmla="*/ 2147483647 w 1053"/>
                <a:gd name="T29" fmla="*/ 2147483647 h 670"/>
                <a:gd name="T30" fmla="*/ 2147483647 w 1053"/>
                <a:gd name="T31" fmla="*/ 2147483647 h 670"/>
                <a:gd name="T32" fmla="*/ 2147483647 w 1053"/>
                <a:gd name="T33" fmla="*/ 2147483647 h 670"/>
                <a:gd name="T34" fmla="*/ 2147483647 w 1053"/>
                <a:gd name="T35" fmla="*/ 2147483647 h 670"/>
                <a:gd name="T36" fmla="*/ 2147483647 w 1053"/>
                <a:gd name="T37" fmla="*/ 2147483647 h 670"/>
                <a:gd name="T38" fmla="*/ 2147483647 w 1053"/>
                <a:gd name="T39" fmla="*/ 2147483647 h 670"/>
                <a:gd name="T40" fmla="*/ 2147483647 w 1053"/>
                <a:gd name="T41" fmla="*/ 2147483647 h 670"/>
                <a:gd name="T42" fmla="*/ 2147483647 w 1053"/>
                <a:gd name="T43" fmla="*/ 2147483647 h 670"/>
                <a:gd name="T44" fmla="*/ 2147483647 w 1053"/>
                <a:gd name="T45" fmla="*/ 2147483647 h 670"/>
                <a:gd name="T46" fmla="*/ 2147483647 w 1053"/>
                <a:gd name="T47" fmla="*/ 2147483647 h 670"/>
                <a:gd name="T48" fmla="*/ 2147483647 w 1053"/>
                <a:gd name="T49" fmla="*/ 2147483647 h 670"/>
                <a:gd name="T50" fmla="*/ 2147483647 w 1053"/>
                <a:gd name="T51" fmla="*/ 2147483647 h 670"/>
                <a:gd name="T52" fmla="*/ 2147483647 w 1053"/>
                <a:gd name="T53" fmla="*/ 2147483647 h 670"/>
                <a:gd name="T54" fmla="*/ 2147483647 w 1053"/>
                <a:gd name="T55" fmla="*/ 2147483647 h 670"/>
                <a:gd name="T56" fmla="*/ 2147483647 w 1053"/>
                <a:gd name="T57" fmla="*/ 2147483647 h 670"/>
                <a:gd name="T58" fmla="*/ 2147483647 w 1053"/>
                <a:gd name="T59" fmla="*/ 2147483647 h 670"/>
                <a:gd name="T60" fmla="*/ 2147483647 w 1053"/>
                <a:gd name="T61" fmla="*/ 2147483647 h 670"/>
                <a:gd name="T62" fmla="*/ 2147483647 w 1053"/>
                <a:gd name="T63" fmla="*/ 2147483647 h 670"/>
                <a:gd name="T64" fmla="*/ 2147483647 w 1053"/>
                <a:gd name="T65" fmla="*/ 2147483647 h 670"/>
                <a:gd name="T66" fmla="*/ 2147483647 w 1053"/>
                <a:gd name="T67" fmla="*/ 2147483647 h 670"/>
                <a:gd name="T68" fmla="*/ 2147483647 w 1053"/>
                <a:gd name="T69" fmla="*/ 2147483647 h 670"/>
                <a:gd name="T70" fmla="*/ 2147483647 w 1053"/>
                <a:gd name="T71" fmla="*/ 2147483647 h 670"/>
                <a:gd name="T72" fmla="*/ 2147483647 w 1053"/>
                <a:gd name="T73" fmla="*/ 2147483647 h 670"/>
                <a:gd name="T74" fmla="*/ 2147483647 w 1053"/>
                <a:gd name="T75" fmla="*/ 2147483647 h 670"/>
                <a:gd name="T76" fmla="*/ 2147483647 w 1053"/>
                <a:gd name="T77" fmla="*/ 2147483647 h 670"/>
                <a:gd name="T78" fmla="*/ 2147483647 w 1053"/>
                <a:gd name="T79" fmla="*/ 2147483647 h 670"/>
                <a:gd name="T80" fmla="*/ 2147483647 w 1053"/>
                <a:gd name="T81" fmla="*/ 2147483647 h 670"/>
                <a:gd name="T82" fmla="*/ 2147483647 w 1053"/>
                <a:gd name="T83" fmla="*/ 2147483647 h 670"/>
                <a:gd name="T84" fmla="*/ 2147483647 w 1053"/>
                <a:gd name="T85" fmla="*/ 2147483647 h 670"/>
                <a:gd name="T86" fmla="*/ 2147483647 w 1053"/>
                <a:gd name="T87" fmla="*/ 2147483647 h 670"/>
                <a:gd name="T88" fmla="*/ 2147483647 w 1053"/>
                <a:gd name="T89" fmla="*/ 2147483647 h 670"/>
                <a:gd name="T90" fmla="*/ 2147483647 w 1053"/>
                <a:gd name="T91" fmla="*/ 2147483647 h 670"/>
                <a:gd name="T92" fmla="*/ 2147483647 w 1053"/>
                <a:gd name="T93" fmla="*/ 2147483647 h 670"/>
                <a:gd name="T94" fmla="*/ 2147483647 w 1053"/>
                <a:gd name="T95" fmla="*/ 2147483647 h 670"/>
                <a:gd name="T96" fmla="*/ 2147483647 w 1053"/>
                <a:gd name="T97" fmla="*/ 2147483647 h 670"/>
                <a:gd name="T98" fmla="*/ 2147483647 w 1053"/>
                <a:gd name="T99" fmla="*/ 2147483647 h 670"/>
                <a:gd name="T100" fmla="*/ 2147483647 w 1053"/>
                <a:gd name="T101" fmla="*/ 2147483647 h 670"/>
                <a:gd name="T102" fmla="*/ 2147483647 w 1053"/>
                <a:gd name="T103" fmla="*/ 2147483647 h 670"/>
                <a:gd name="T104" fmla="*/ 2147483647 w 1053"/>
                <a:gd name="T105" fmla="*/ 2147483647 h 670"/>
                <a:gd name="T106" fmla="*/ 2147483647 w 1053"/>
                <a:gd name="T107" fmla="*/ 2147483647 h 670"/>
                <a:gd name="T108" fmla="*/ 2147483647 w 1053"/>
                <a:gd name="T109" fmla="*/ 2147483647 h 67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53" h="670">
                  <a:moveTo>
                    <a:pt x="153" y="2"/>
                  </a:moveTo>
                  <a:lnTo>
                    <a:pt x="116" y="1"/>
                  </a:lnTo>
                  <a:lnTo>
                    <a:pt x="77" y="0"/>
                  </a:lnTo>
                  <a:lnTo>
                    <a:pt x="59" y="0"/>
                  </a:lnTo>
                  <a:lnTo>
                    <a:pt x="40" y="0"/>
                  </a:lnTo>
                  <a:lnTo>
                    <a:pt x="21" y="1"/>
                  </a:lnTo>
                  <a:lnTo>
                    <a:pt x="2" y="4"/>
                  </a:lnTo>
                  <a:lnTo>
                    <a:pt x="5" y="7"/>
                  </a:lnTo>
                  <a:lnTo>
                    <a:pt x="6" y="10"/>
                  </a:lnTo>
                  <a:lnTo>
                    <a:pt x="6" y="11"/>
                  </a:lnTo>
                  <a:lnTo>
                    <a:pt x="5" y="14"/>
                  </a:lnTo>
                  <a:lnTo>
                    <a:pt x="2" y="17"/>
                  </a:lnTo>
                  <a:lnTo>
                    <a:pt x="0" y="22"/>
                  </a:lnTo>
                  <a:lnTo>
                    <a:pt x="0" y="29"/>
                  </a:lnTo>
                  <a:lnTo>
                    <a:pt x="0" y="32"/>
                  </a:lnTo>
                  <a:lnTo>
                    <a:pt x="5" y="44"/>
                  </a:lnTo>
                  <a:lnTo>
                    <a:pt x="5" y="49"/>
                  </a:lnTo>
                  <a:lnTo>
                    <a:pt x="4" y="51"/>
                  </a:lnTo>
                  <a:lnTo>
                    <a:pt x="4" y="52"/>
                  </a:lnTo>
                  <a:lnTo>
                    <a:pt x="5" y="54"/>
                  </a:lnTo>
                  <a:lnTo>
                    <a:pt x="9" y="57"/>
                  </a:lnTo>
                  <a:lnTo>
                    <a:pt x="15" y="60"/>
                  </a:lnTo>
                  <a:lnTo>
                    <a:pt x="20" y="61"/>
                  </a:lnTo>
                  <a:lnTo>
                    <a:pt x="24" y="62"/>
                  </a:lnTo>
                  <a:lnTo>
                    <a:pt x="29" y="66"/>
                  </a:lnTo>
                  <a:lnTo>
                    <a:pt x="35" y="76"/>
                  </a:lnTo>
                  <a:lnTo>
                    <a:pt x="39" y="83"/>
                  </a:lnTo>
                  <a:lnTo>
                    <a:pt x="39" y="88"/>
                  </a:lnTo>
                  <a:lnTo>
                    <a:pt x="39" y="90"/>
                  </a:lnTo>
                  <a:lnTo>
                    <a:pt x="36" y="91"/>
                  </a:lnTo>
                  <a:lnTo>
                    <a:pt x="35" y="91"/>
                  </a:lnTo>
                  <a:lnTo>
                    <a:pt x="34" y="92"/>
                  </a:lnTo>
                  <a:lnTo>
                    <a:pt x="34" y="96"/>
                  </a:lnTo>
                  <a:lnTo>
                    <a:pt x="35" y="98"/>
                  </a:lnTo>
                  <a:lnTo>
                    <a:pt x="36" y="100"/>
                  </a:lnTo>
                  <a:lnTo>
                    <a:pt x="37" y="102"/>
                  </a:lnTo>
                  <a:lnTo>
                    <a:pt x="40" y="111"/>
                  </a:lnTo>
                  <a:lnTo>
                    <a:pt x="42" y="118"/>
                  </a:lnTo>
                  <a:lnTo>
                    <a:pt x="44" y="126"/>
                  </a:lnTo>
                  <a:lnTo>
                    <a:pt x="45" y="130"/>
                  </a:lnTo>
                  <a:lnTo>
                    <a:pt x="47" y="131"/>
                  </a:lnTo>
                  <a:lnTo>
                    <a:pt x="55" y="133"/>
                  </a:lnTo>
                  <a:lnTo>
                    <a:pt x="69" y="140"/>
                  </a:lnTo>
                  <a:lnTo>
                    <a:pt x="82" y="146"/>
                  </a:lnTo>
                  <a:lnTo>
                    <a:pt x="95" y="155"/>
                  </a:lnTo>
                  <a:lnTo>
                    <a:pt x="109" y="161"/>
                  </a:lnTo>
                  <a:lnTo>
                    <a:pt x="112" y="163"/>
                  </a:lnTo>
                  <a:lnTo>
                    <a:pt x="117" y="170"/>
                  </a:lnTo>
                  <a:lnTo>
                    <a:pt x="121" y="176"/>
                  </a:lnTo>
                  <a:lnTo>
                    <a:pt x="124" y="183"/>
                  </a:lnTo>
                  <a:lnTo>
                    <a:pt x="129" y="199"/>
                  </a:lnTo>
                  <a:lnTo>
                    <a:pt x="132" y="212"/>
                  </a:lnTo>
                  <a:lnTo>
                    <a:pt x="136" y="224"/>
                  </a:lnTo>
                  <a:lnTo>
                    <a:pt x="140" y="236"/>
                  </a:lnTo>
                  <a:lnTo>
                    <a:pt x="141" y="241"/>
                  </a:lnTo>
                  <a:lnTo>
                    <a:pt x="142" y="244"/>
                  </a:lnTo>
                  <a:lnTo>
                    <a:pt x="142" y="246"/>
                  </a:lnTo>
                  <a:lnTo>
                    <a:pt x="140" y="248"/>
                  </a:lnTo>
                  <a:lnTo>
                    <a:pt x="137" y="251"/>
                  </a:lnTo>
                  <a:lnTo>
                    <a:pt x="134" y="252"/>
                  </a:lnTo>
                  <a:lnTo>
                    <a:pt x="134" y="256"/>
                  </a:lnTo>
                  <a:lnTo>
                    <a:pt x="134" y="261"/>
                  </a:lnTo>
                  <a:lnTo>
                    <a:pt x="136" y="272"/>
                  </a:lnTo>
                  <a:lnTo>
                    <a:pt x="140" y="283"/>
                  </a:lnTo>
                  <a:lnTo>
                    <a:pt x="142" y="288"/>
                  </a:lnTo>
                  <a:lnTo>
                    <a:pt x="145" y="290"/>
                  </a:lnTo>
                  <a:lnTo>
                    <a:pt x="150" y="294"/>
                  </a:lnTo>
                  <a:lnTo>
                    <a:pt x="152" y="298"/>
                  </a:lnTo>
                  <a:lnTo>
                    <a:pt x="152" y="302"/>
                  </a:lnTo>
                  <a:lnTo>
                    <a:pt x="152" y="307"/>
                  </a:lnTo>
                  <a:lnTo>
                    <a:pt x="151" y="309"/>
                  </a:lnTo>
                  <a:lnTo>
                    <a:pt x="147" y="310"/>
                  </a:lnTo>
                  <a:lnTo>
                    <a:pt x="145" y="312"/>
                  </a:lnTo>
                  <a:lnTo>
                    <a:pt x="145" y="314"/>
                  </a:lnTo>
                  <a:lnTo>
                    <a:pt x="145" y="315"/>
                  </a:lnTo>
                  <a:lnTo>
                    <a:pt x="147" y="318"/>
                  </a:lnTo>
                  <a:lnTo>
                    <a:pt x="150" y="319"/>
                  </a:lnTo>
                  <a:lnTo>
                    <a:pt x="151" y="320"/>
                  </a:lnTo>
                  <a:lnTo>
                    <a:pt x="155" y="328"/>
                  </a:lnTo>
                  <a:lnTo>
                    <a:pt x="160" y="334"/>
                  </a:lnTo>
                  <a:lnTo>
                    <a:pt x="170" y="348"/>
                  </a:lnTo>
                  <a:lnTo>
                    <a:pt x="170" y="349"/>
                  </a:lnTo>
                  <a:lnTo>
                    <a:pt x="170" y="350"/>
                  </a:lnTo>
                  <a:lnTo>
                    <a:pt x="168" y="353"/>
                  </a:lnTo>
                  <a:lnTo>
                    <a:pt x="166" y="357"/>
                  </a:lnTo>
                  <a:lnTo>
                    <a:pt x="166" y="358"/>
                  </a:lnTo>
                  <a:lnTo>
                    <a:pt x="166" y="359"/>
                  </a:lnTo>
                  <a:lnTo>
                    <a:pt x="168" y="364"/>
                  </a:lnTo>
                  <a:lnTo>
                    <a:pt x="171" y="367"/>
                  </a:lnTo>
                  <a:lnTo>
                    <a:pt x="175" y="370"/>
                  </a:lnTo>
                  <a:lnTo>
                    <a:pt x="178" y="373"/>
                  </a:lnTo>
                  <a:lnTo>
                    <a:pt x="181" y="379"/>
                  </a:lnTo>
                  <a:lnTo>
                    <a:pt x="182" y="384"/>
                  </a:lnTo>
                  <a:lnTo>
                    <a:pt x="182" y="389"/>
                  </a:lnTo>
                  <a:lnTo>
                    <a:pt x="183" y="395"/>
                  </a:lnTo>
                  <a:lnTo>
                    <a:pt x="187" y="405"/>
                  </a:lnTo>
                  <a:lnTo>
                    <a:pt x="191" y="410"/>
                  </a:lnTo>
                  <a:lnTo>
                    <a:pt x="195" y="414"/>
                  </a:lnTo>
                  <a:lnTo>
                    <a:pt x="198" y="416"/>
                  </a:lnTo>
                  <a:lnTo>
                    <a:pt x="201" y="416"/>
                  </a:lnTo>
                  <a:lnTo>
                    <a:pt x="207" y="416"/>
                  </a:lnTo>
                  <a:lnTo>
                    <a:pt x="210" y="418"/>
                  </a:lnTo>
                  <a:lnTo>
                    <a:pt x="212" y="419"/>
                  </a:lnTo>
                  <a:lnTo>
                    <a:pt x="215" y="421"/>
                  </a:lnTo>
                  <a:lnTo>
                    <a:pt x="216" y="426"/>
                  </a:lnTo>
                  <a:lnTo>
                    <a:pt x="215" y="426"/>
                  </a:lnTo>
                  <a:lnTo>
                    <a:pt x="213" y="428"/>
                  </a:lnTo>
                  <a:lnTo>
                    <a:pt x="211" y="429"/>
                  </a:lnTo>
                  <a:lnTo>
                    <a:pt x="210" y="430"/>
                  </a:lnTo>
                  <a:lnTo>
                    <a:pt x="211" y="433"/>
                  </a:lnTo>
                  <a:lnTo>
                    <a:pt x="213" y="434"/>
                  </a:lnTo>
                  <a:lnTo>
                    <a:pt x="216" y="436"/>
                  </a:lnTo>
                  <a:lnTo>
                    <a:pt x="222" y="443"/>
                  </a:lnTo>
                  <a:lnTo>
                    <a:pt x="225" y="446"/>
                  </a:lnTo>
                  <a:lnTo>
                    <a:pt x="226" y="450"/>
                  </a:lnTo>
                  <a:lnTo>
                    <a:pt x="226" y="455"/>
                  </a:lnTo>
                  <a:lnTo>
                    <a:pt x="223" y="461"/>
                  </a:lnTo>
                  <a:lnTo>
                    <a:pt x="220" y="468"/>
                  </a:lnTo>
                  <a:lnTo>
                    <a:pt x="220" y="473"/>
                  </a:lnTo>
                  <a:lnTo>
                    <a:pt x="220" y="479"/>
                  </a:lnTo>
                  <a:lnTo>
                    <a:pt x="222" y="486"/>
                  </a:lnTo>
                  <a:lnTo>
                    <a:pt x="227" y="500"/>
                  </a:lnTo>
                  <a:lnTo>
                    <a:pt x="230" y="505"/>
                  </a:lnTo>
                  <a:lnTo>
                    <a:pt x="232" y="509"/>
                  </a:lnTo>
                  <a:lnTo>
                    <a:pt x="237" y="512"/>
                  </a:lnTo>
                  <a:lnTo>
                    <a:pt x="241" y="517"/>
                  </a:lnTo>
                  <a:lnTo>
                    <a:pt x="242" y="520"/>
                  </a:lnTo>
                  <a:lnTo>
                    <a:pt x="242" y="524"/>
                  </a:lnTo>
                  <a:lnTo>
                    <a:pt x="242" y="530"/>
                  </a:lnTo>
                  <a:lnTo>
                    <a:pt x="241" y="539"/>
                  </a:lnTo>
                  <a:lnTo>
                    <a:pt x="241" y="545"/>
                  </a:lnTo>
                  <a:lnTo>
                    <a:pt x="243" y="556"/>
                  </a:lnTo>
                  <a:lnTo>
                    <a:pt x="250" y="574"/>
                  </a:lnTo>
                  <a:lnTo>
                    <a:pt x="258" y="597"/>
                  </a:lnTo>
                  <a:lnTo>
                    <a:pt x="257" y="599"/>
                  </a:lnTo>
                  <a:lnTo>
                    <a:pt x="258" y="602"/>
                  </a:lnTo>
                  <a:lnTo>
                    <a:pt x="263" y="613"/>
                  </a:lnTo>
                  <a:lnTo>
                    <a:pt x="268" y="626"/>
                  </a:lnTo>
                  <a:lnTo>
                    <a:pt x="270" y="631"/>
                  </a:lnTo>
                  <a:lnTo>
                    <a:pt x="270" y="636"/>
                  </a:lnTo>
                  <a:lnTo>
                    <a:pt x="267" y="638"/>
                  </a:lnTo>
                  <a:lnTo>
                    <a:pt x="265" y="641"/>
                  </a:lnTo>
                  <a:lnTo>
                    <a:pt x="262" y="642"/>
                  </a:lnTo>
                  <a:lnTo>
                    <a:pt x="261" y="645"/>
                  </a:lnTo>
                  <a:lnTo>
                    <a:pt x="260" y="650"/>
                  </a:lnTo>
                  <a:lnTo>
                    <a:pt x="260" y="656"/>
                  </a:lnTo>
                  <a:lnTo>
                    <a:pt x="258" y="668"/>
                  </a:lnTo>
                  <a:lnTo>
                    <a:pt x="318" y="667"/>
                  </a:lnTo>
                  <a:lnTo>
                    <a:pt x="379" y="667"/>
                  </a:lnTo>
                  <a:lnTo>
                    <a:pt x="548" y="668"/>
                  </a:lnTo>
                  <a:lnTo>
                    <a:pt x="716" y="668"/>
                  </a:lnTo>
                  <a:lnTo>
                    <a:pt x="885" y="668"/>
                  </a:lnTo>
                  <a:lnTo>
                    <a:pt x="1053" y="670"/>
                  </a:lnTo>
                  <a:lnTo>
                    <a:pt x="990" y="607"/>
                  </a:lnTo>
                  <a:lnTo>
                    <a:pt x="925" y="546"/>
                  </a:lnTo>
                  <a:lnTo>
                    <a:pt x="792" y="425"/>
                  </a:lnTo>
                  <a:lnTo>
                    <a:pt x="750" y="388"/>
                  </a:lnTo>
                  <a:lnTo>
                    <a:pt x="643" y="290"/>
                  </a:lnTo>
                  <a:lnTo>
                    <a:pt x="534" y="196"/>
                  </a:lnTo>
                  <a:lnTo>
                    <a:pt x="432" y="103"/>
                  </a:lnTo>
                  <a:lnTo>
                    <a:pt x="403" y="79"/>
                  </a:lnTo>
                  <a:lnTo>
                    <a:pt x="376" y="51"/>
                  </a:lnTo>
                  <a:lnTo>
                    <a:pt x="347" y="26"/>
                  </a:lnTo>
                  <a:lnTo>
                    <a:pt x="332" y="14"/>
                  </a:lnTo>
                  <a:lnTo>
                    <a:pt x="316" y="2"/>
                  </a:lnTo>
                  <a:lnTo>
                    <a:pt x="155" y="2"/>
                  </a:lnTo>
                  <a:lnTo>
                    <a:pt x="153" y="2"/>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Inyo</a:t>
              </a:r>
            </a:p>
          </p:txBody>
        </p:sp>
        <p:sp>
          <p:nvSpPr>
            <p:cNvPr id="56" name="Alpine"/>
            <p:cNvSpPr>
              <a:spLocks/>
            </p:cNvSpPr>
            <p:nvPr/>
          </p:nvSpPr>
          <p:spPr bwMode="auto">
            <a:xfrm>
              <a:off x="3207913" y="4400233"/>
              <a:ext cx="368136" cy="470934"/>
            </a:xfrm>
            <a:custGeom>
              <a:avLst/>
              <a:gdLst>
                <a:gd name="T0" fmla="*/ 2147483647 w 175"/>
                <a:gd name="T1" fmla="*/ 2147483647 h 235"/>
                <a:gd name="T2" fmla="*/ 2147483647 w 175"/>
                <a:gd name="T3" fmla="*/ 2147483647 h 235"/>
                <a:gd name="T4" fmla="*/ 2147483647 w 175"/>
                <a:gd name="T5" fmla="*/ 2147483647 h 235"/>
                <a:gd name="T6" fmla="*/ 2147483647 w 175"/>
                <a:gd name="T7" fmla="*/ 2147483647 h 235"/>
                <a:gd name="T8" fmla="*/ 2147483647 w 175"/>
                <a:gd name="T9" fmla="*/ 2147483647 h 235"/>
                <a:gd name="T10" fmla="*/ 2147483647 w 175"/>
                <a:gd name="T11" fmla="*/ 2147483647 h 235"/>
                <a:gd name="T12" fmla="*/ 0 w 175"/>
                <a:gd name="T13" fmla="*/ 2147483647 h 235"/>
                <a:gd name="T14" fmla="*/ 2147483647 w 175"/>
                <a:gd name="T15" fmla="*/ 2147483647 h 235"/>
                <a:gd name="T16" fmla="*/ 2147483647 w 175"/>
                <a:gd name="T17" fmla="*/ 2147483647 h 235"/>
                <a:gd name="T18" fmla="*/ 2147483647 w 175"/>
                <a:gd name="T19" fmla="*/ 2147483647 h 235"/>
                <a:gd name="T20" fmla="*/ 2147483647 w 175"/>
                <a:gd name="T21" fmla="*/ 2147483647 h 235"/>
                <a:gd name="T22" fmla="*/ 2147483647 w 175"/>
                <a:gd name="T23" fmla="*/ 2147483647 h 235"/>
                <a:gd name="T24" fmla="*/ 2147483647 w 175"/>
                <a:gd name="T25" fmla="*/ 2147483647 h 235"/>
                <a:gd name="T26" fmla="*/ 2147483647 w 175"/>
                <a:gd name="T27" fmla="*/ 2147483647 h 235"/>
                <a:gd name="T28" fmla="*/ 2147483647 w 175"/>
                <a:gd name="T29" fmla="*/ 2147483647 h 235"/>
                <a:gd name="T30" fmla="*/ 2147483647 w 175"/>
                <a:gd name="T31" fmla="*/ 2147483647 h 235"/>
                <a:gd name="T32" fmla="*/ 2147483647 w 175"/>
                <a:gd name="T33" fmla="*/ 2147483647 h 235"/>
                <a:gd name="T34" fmla="*/ 2147483647 w 175"/>
                <a:gd name="T35" fmla="*/ 2147483647 h 235"/>
                <a:gd name="T36" fmla="*/ 2147483647 w 175"/>
                <a:gd name="T37" fmla="*/ 2147483647 h 235"/>
                <a:gd name="T38" fmla="*/ 2147483647 w 175"/>
                <a:gd name="T39" fmla="*/ 2147483647 h 235"/>
                <a:gd name="T40" fmla="*/ 2147483647 w 175"/>
                <a:gd name="T41" fmla="*/ 2147483647 h 235"/>
                <a:gd name="T42" fmla="*/ 2147483647 w 175"/>
                <a:gd name="T43" fmla="*/ 2147483647 h 235"/>
                <a:gd name="T44" fmla="*/ 2147483647 w 175"/>
                <a:gd name="T45" fmla="*/ 2147483647 h 235"/>
                <a:gd name="T46" fmla="*/ 2147483647 w 175"/>
                <a:gd name="T47" fmla="*/ 2147483647 h 235"/>
                <a:gd name="T48" fmla="*/ 2147483647 w 175"/>
                <a:gd name="T49" fmla="*/ 2147483647 h 235"/>
                <a:gd name="T50" fmla="*/ 2147483647 w 175"/>
                <a:gd name="T51" fmla="*/ 2147483647 h 235"/>
                <a:gd name="T52" fmla="*/ 2147483647 w 175"/>
                <a:gd name="T53" fmla="*/ 2147483647 h 235"/>
                <a:gd name="T54" fmla="*/ 2147483647 w 175"/>
                <a:gd name="T55" fmla="*/ 2147483647 h 235"/>
                <a:gd name="T56" fmla="*/ 2147483647 w 175"/>
                <a:gd name="T57" fmla="*/ 2147483647 h 235"/>
                <a:gd name="T58" fmla="*/ 2147483647 w 175"/>
                <a:gd name="T59" fmla="*/ 2147483647 h 235"/>
                <a:gd name="T60" fmla="*/ 2147483647 w 175"/>
                <a:gd name="T61" fmla="*/ 2147483647 h 235"/>
                <a:gd name="T62" fmla="*/ 2147483647 w 175"/>
                <a:gd name="T63" fmla="*/ 2147483647 h 235"/>
                <a:gd name="T64" fmla="*/ 2147483647 w 175"/>
                <a:gd name="T65" fmla="*/ 2147483647 h 235"/>
                <a:gd name="T66" fmla="*/ 2147483647 w 175"/>
                <a:gd name="T67" fmla="*/ 0 h 235"/>
                <a:gd name="T68" fmla="*/ 2147483647 w 175"/>
                <a:gd name="T69" fmla="*/ 2147483647 h 235"/>
                <a:gd name="T70" fmla="*/ 2147483647 w 175"/>
                <a:gd name="T71" fmla="*/ 2147483647 h 235"/>
                <a:gd name="T72" fmla="*/ 2147483647 w 175"/>
                <a:gd name="T73" fmla="*/ 2147483647 h 2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75" h="235">
                  <a:moveTo>
                    <a:pt x="66" y="19"/>
                  </a:moveTo>
                  <a:lnTo>
                    <a:pt x="66" y="21"/>
                  </a:lnTo>
                  <a:lnTo>
                    <a:pt x="65" y="24"/>
                  </a:lnTo>
                  <a:lnTo>
                    <a:pt x="63" y="29"/>
                  </a:lnTo>
                  <a:lnTo>
                    <a:pt x="59" y="34"/>
                  </a:lnTo>
                  <a:lnTo>
                    <a:pt x="56" y="37"/>
                  </a:lnTo>
                  <a:lnTo>
                    <a:pt x="51" y="45"/>
                  </a:lnTo>
                  <a:lnTo>
                    <a:pt x="45" y="52"/>
                  </a:lnTo>
                  <a:lnTo>
                    <a:pt x="31" y="65"/>
                  </a:lnTo>
                  <a:lnTo>
                    <a:pt x="16" y="77"/>
                  </a:lnTo>
                  <a:lnTo>
                    <a:pt x="1" y="90"/>
                  </a:lnTo>
                  <a:lnTo>
                    <a:pt x="1" y="127"/>
                  </a:lnTo>
                  <a:lnTo>
                    <a:pt x="0" y="166"/>
                  </a:lnTo>
                  <a:lnTo>
                    <a:pt x="0" y="192"/>
                  </a:lnTo>
                  <a:lnTo>
                    <a:pt x="5" y="191"/>
                  </a:lnTo>
                  <a:lnTo>
                    <a:pt x="9" y="191"/>
                  </a:lnTo>
                  <a:lnTo>
                    <a:pt x="14" y="193"/>
                  </a:lnTo>
                  <a:lnTo>
                    <a:pt x="19" y="196"/>
                  </a:lnTo>
                  <a:lnTo>
                    <a:pt x="24" y="198"/>
                  </a:lnTo>
                  <a:lnTo>
                    <a:pt x="30" y="203"/>
                  </a:lnTo>
                  <a:lnTo>
                    <a:pt x="45" y="213"/>
                  </a:lnTo>
                  <a:lnTo>
                    <a:pt x="59" y="222"/>
                  </a:lnTo>
                  <a:lnTo>
                    <a:pt x="65" y="225"/>
                  </a:lnTo>
                  <a:lnTo>
                    <a:pt x="70" y="226"/>
                  </a:lnTo>
                  <a:lnTo>
                    <a:pt x="74" y="225"/>
                  </a:lnTo>
                  <a:lnTo>
                    <a:pt x="78" y="223"/>
                  </a:lnTo>
                  <a:lnTo>
                    <a:pt x="86" y="217"/>
                  </a:lnTo>
                  <a:lnTo>
                    <a:pt x="94" y="212"/>
                  </a:lnTo>
                  <a:lnTo>
                    <a:pt x="101" y="207"/>
                  </a:lnTo>
                  <a:lnTo>
                    <a:pt x="108" y="205"/>
                  </a:lnTo>
                  <a:lnTo>
                    <a:pt x="113" y="203"/>
                  </a:lnTo>
                  <a:lnTo>
                    <a:pt x="117" y="203"/>
                  </a:lnTo>
                  <a:lnTo>
                    <a:pt x="120" y="203"/>
                  </a:lnTo>
                  <a:lnTo>
                    <a:pt x="122" y="205"/>
                  </a:lnTo>
                  <a:lnTo>
                    <a:pt x="125" y="207"/>
                  </a:lnTo>
                  <a:lnTo>
                    <a:pt x="127" y="213"/>
                  </a:lnTo>
                  <a:lnTo>
                    <a:pt x="129" y="221"/>
                  </a:lnTo>
                  <a:lnTo>
                    <a:pt x="132" y="227"/>
                  </a:lnTo>
                  <a:lnTo>
                    <a:pt x="135" y="230"/>
                  </a:lnTo>
                  <a:lnTo>
                    <a:pt x="139" y="232"/>
                  </a:lnTo>
                  <a:lnTo>
                    <a:pt x="142" y="233"/>
                  </a:lnTo>
                  <a:lnTo>
                    <a:pt x="149" y="235"/>
                  </a:lnTo>
                  <a:lnTo>
                    <a:pt x="155" y="221"/>
                  </a:lnTo>
                  <a:lnTo>
                    <a:pt x="154" y="213"/>
                  </a:lnTo>
                  <a:lnTo>
                    <a:pt x="155" y="211"/>
                  </a:lnTo>
                  <a:lnTo>
                    <a:pt x="157" y="210"/>
                  </a:lnTo>
                  <a:lnTo>
                    <a:pt x="160" y="210"/>
                  </a:lnTo>
                  <a:lnTo>
                    <a:pt x="162" y="208"/>
                  </a:lnTo>
                  <a:lnTo>
                    <a:pt x="167" y="206"/>
                  </a:lnTo>
                  <a:lnTo>
                    <a:pt x="169" y="205"/>
                  </a:lnTo>
                  <a:lnTo>
                    <a:pt x="170" y="205"/>
                  </a:lnTo>
                  <a:lnTo>
                    <a:pt x="171" y="200"/>
                  </a:lnTo>
                  <a:lnTo>
                    <a:pt x="174" y="187"/>
                  </a:lnTo>
                  <a:lnTo>
                    <a:pt x="175" y="176"/>
                  </a:lnTo>
                  <a:lnTo>
                    <a:pt x="175" y="170"/>
                  </a:lnTo>
                  <a:lnTo>
                    <a:pt x="174" y="163"/>
                  </a:lnTo>
                  <a:lnTo>
                    <a:pt x="170" y="152"/>
                  </a:lnTo>
                  <a:lnTo>
                    <a:pt x="159" y="132"/>
                  </a:lnTo>
                  <a:lnTo>
                    <a:pt x="155" y="122"/>
                  </a:lnTo>
                  <a:lnTo>
                    <a:pt x="154" y="117"/>
                  </a:lnTo>
                  <a:lnTo>
                    <a:pt x="154" y="111"/>
                  </a:lnTo>
                  <a:lnTo>
                    <a:pt x="155" y="106"/>
                  </a:lnTo>
                  <a:lnTo>
                    <a:pt x="157" y="100"/>
                  </a:lnTo>
                  <a:lnTo>
                    <a:pt x="160" y="94"/>
                  </a:lnTo>
                  <a:lnTo>
                    <a:pt x="166" y="87"/>
                  </a:lnTo>
                  <a:lnTo>
                    <a:pt x="114" y="45"/>
                  </a:lnTo>
                  <a:lnTo>
                    <a:pt x="63" y="1"/>
                  </a:lnTo>
                  <a:lnTo>
                    <a:pt x="61" y="0"/>
                  </a:lnTo>
                  <a:lnTo>
                    <a:pt x="60" y="1"/>
                  </a:lnTo>
                  <a:lnTo>
                    <a:pt x="60" y="4"/>
                  </a:lnTo>
                  <a:lnTo>
                    <a:pt x="61" y="9"/>
                  </a:lnTo>
                  <a:lnTo>
                    <a:pt x="64" y="14"/>
                  </a:lnTo>
                  <a:lnTo>
                    <a:pt x="65" y="19"/>
                  </a:lnTo>
                  <a:lnTo>
                    <a:pt x="66" y="19"/>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Alpine</a:t>
              </a:r>
            </a:p>
          </p:txBody>
        </p:sp>
        <p:sp>
          <p:nvSpPr>
            <p:cNvPr id="57" name="Mono"/>
            <p:cNvSpPr>
              <a:spLocks/>
            </p:cNvSpPr>
            <p:nvPr/>
          </p:nvSpPr>
          <p:spPr bwMode="auto">
            <a:xfrm>
              <a:off x="3512944" y="4576582"/>
              <a:ext cx="1268494" cy="1005995"/>
            </a:xfrm>
            <a:custGeom>
              <a:avLst/>
              <a:gdLst>
                <a:gd name="T0" fmla="*/ 2147483647 w 603"/>
                <a:gd name="T1" fmla="*/ 2147483647 h 502"/>
                <a:gd name="T2" fmla="*/ 2147483647 w 603"/>
                <a:gd name="T3" fmla="*/ 2147483647 h 502"/>
                <a:gd name="T4" fmla="*/ 2147483647 w 603"/>
                <a:gd name="T5" fmla="*/ 2147483647 h 502"/>
                <a:gd name="T6" fmla="*/ 2147483647 w 603"/>
                <a:gd name="T7" fmla="*/ 2147483647 h 502"/>
                <a:gd name="T8" fmla="*/ 0 w 603"/>
                <a:gd name="T9" fmla="*/ 2147483647 h 502"/>
                <a:gd name="T10" fmla="*/ 2147483647 w 603"/>
                <a:gd name="T11" fmla="*/ 2147483647 h 502"/>
                <a:gd name="T12" fmla="*/ 2147483647 w 603"/>
                <a:gd name="T13" fmla="*/ 2147483647 h 502"/>
                <a:gd name="T14" fmla="*/ 2147483647 w 603"/>
                <a:gd name="T15" fmla="*/ 2147483647 h 502"/>
                <a:gd name="T16" fmla="*/ 2147483647 w 603"/>
                <a:gd name="T17" fmla="*/ 2147483647 h 502"/>
                <a:gd name="T18" fmla="*/ 2147483647 w 603"/>
                <a:gd name="T19" fmla="*/ 2147483647 h 502"/>
                <a:gd name="T20" fmla="*/ 2147483647 w 603"/>
                <a:gd name="T21" fmla="*/ 2147483647 h 502"/>
                <a:gd name="T22" fmla="*/ 2147483647 w 603"/>
                <a:gd name="T23" fmla="*/ 2147483647 h 502"/>
                <a:gd name="T24" fmla="*/ 2147483647 w 603"/>
                <a:gd name="T25" fmla="*/ 2147483647 h 502"/>
                <a:gd name="T26" fmla="*/ 2147483647 w 603"/>
                <a:gd name="T27" fmla="*/ 2147483647 h 502"/>
                <a:gd name="T28" fmla="*/ 2147483647 w 603"/>
                <a:gd name="T29" fmla="*/ 2147483647 h 502"/>
                <a:gd name="T30" fmla="*/ 2147483647 w 603"/>
                <a:gd name="T31" fmla="*/ 2147483647 h 502"/>
                <a:gd name="T32" fmla="*/ 2147483647 w 603"/>
                <a:gd name="T33" fmla="*/ 2147483647 h 502"/>
                <a:gd name="T34" fmla="*/ 2147483647 w 603"/>
                <a:gd name="T35" fmla="*/ 2147483647 h 502"/>
                <a:gd name="T36" fmla="*/ 2147483647 w 603"/>
                <a:gd name="T37" fmla="*/ 2147483647 h 502"/>
                <a:gd name="T38" fmla="*/ 2147483647 w 603"/>
                <a:gd name="T39" fmla="*/ 2147483647 h 502"/>
                <a:gd name="T40" fmla="*/ 2147483647 w 603"/>
                <a:gd name="T41" fmla="*/ 2147483647 h 502"/>
                <a:gd name="T42" fmla="*/ 2147483647 w 603"/>
                <a:gd name="T43" fmla="*/ 2147483647 h 502"/>
                <a:gd name="T44" fmla="*/ 2147483647 w 603"/>
                <a:gd name="T45" fmla="*/ 2147483647 h 502"/>
                <a:gd name="T46" fmla="*/ 2147483647 w 603"/>
                <a:gd name="T47" fmla="*/ 2147483647 h 502"/>
                <a:gd name="T48" fmla="*/ 2147483647 w 603"/>
                <a:gd name="T49" fmla="*/ 2147483647 h 502"/>
                <a:gd name="T50" fmla="*/ 2147483647 w 603"/>
                <a:gd name="T51" fmla="*/ 2147483647 h 502"/>
                <a:gd name="T52" fmla="*/ 2147483647 w 603"/>
                <a:gd name="T53" fmla="*/ 2147483647 h 502"/>
                <a:gd name="T54" fmla="*/ 2147483647 w 603"/>
                <a:gd name="T55" fmla="*/ 2147483647 h 502"/>
                <a:gd name="T56" fmla="*/ 2147483647 w 603"/>
                <a:gd name="T57" fmla="*/ 2147483647 h 502"/>
                <a:gd name="T58" fmla="*/ 2147483647 w 603"/>
                <a:gd name="T59" fmla="*/ 2147483647 h 502"/>
                <a:gd name="T60" fmla="*/ 2147483647 w 603"/>
                <a:gd name="T61" fmla="*/ 2147483647 h 502"/>
                <a:gd name="T62" fmla="*/ 2147483647 w 603"/>
                <a:gd name="T63" fmla="*/ 2147483647 h 502"/>
                <a:gd name="T64" fmla="*/ 2147483647 w 603"/>
                <a:gd name="T65" fmla="*/ 2147483647 h 502"/>
                <a:gd name="T66" fmla="*/ 2147483647 w 603"/>
                <a:gd name="T67" fmla="*/ 2147483647 h 502"/>
                <a:gd name="T68" fmla="*/ 2147483647 w 603"/>
                <a:gd name="T69" fmla="*/ 2147483647 h 502"/>
                <a:gd name="T70" fmla="*/ 2147483647 w 603"/>
                <a:gd name="T71" fmla="*/ 2147483647 h 502"/>
                <a:gd name="T72" fmla="*/ 2147483647 w 603"/>
                <a:gd name="T73" fmla="*/ 2147483647 h 502"/>
                <a:gd name="T74" fmla="*/ 2147483647 w 603"/>
                <a:gd name="T75" fmla="*/ 2147483647 h 502"/>
                <a:gd name="T76" fmla="*/ 2147483647 w 603"/>
                <a:gd name="T77" fmla="*/ 2147483647 h 502"/>
                <a:gd name="T78" fmla="*/ 2147483647 w 603"/>
                <a:gd name="T79" fmla="*/ 2147483647 h 502"/>
                <a:gd name="T80" fmla="*/ 2147483647 w 603"/>
                <a:gd name="T81" fmla="*/ 2147483647 h 502"/>
                <a:gd name="T82" fmla="*/ 2147483647 w 603"/>
                <a:gd name="T83" fmla="*/ 2147483647 h 502"/>
                <a:gd name="T84" fmla="*/ 2147483647 w 603"/>
                <a:gd name="T85" fmla="*/ 2147483647 h 502"/>
                <a:gd name="T86" fmla="*/ 2147483647 w 603"/>
                <a:gd name="T87" fmla="*/ 2147483647 h 502"/>
                <a:gd name="T88" fmla="*/ 2147483647 w 603"/>
                <a:gd name="T89" fmla="*/ 2147483647 h 502"/>
                <a:gd name="T90" fmla="*/ 2147483647 w 603"/>
                <a:gd name="T91" fmla="*/ 2147483647 h 502"/>
                <a:gd name="T92" fmla="*/ 2147483647 w 603"/>
                <a:gd name="T93" fmla="*/ 2147483647 h 502"/>
                <a:gd name="T94" fmla="*/ 2147483647 w 603"/>
                <a:gd name="T95" fmla="*/ 2147483647 h 50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03" h="502">
                  <a:moveTo>
                    <a:pt x="30" y="89"/>
                  </a:moveTo>
                  <a:lnTo>
                    <a:pt x="29" y="100"/>
                  </a:lnTo>
                  <a:lnTo>
                    <a:pt x="26" y="113"/>
                  </a:lnTo>
                  <a:lnTo>
                    <a:pt x="25" y="118"/>
                  </a:lnTo>
                  <a:lnTo>
                    <a:pt x="24" y="118"/>
                  </a:lnTo>
                  <a:lnTo>
                    <a:pt x="22" y="119"/>
                  </a:lnTo>
                  <a:lnTo>
                    <a:pt x="17" y="121"/>
                  </a:lnTo>
                  <a:lnTo>
                    <a:pt x="15" y="123"/>
                  </a:lnTo>
                  <a:lnTo>
                    <a:pt x="12" y="123"/>
                  </a:lnTo>
                  <a:lnTo>
                    <a:pt x="10" y="124"/>
                  </a:lnTo>
                  <a:lnTo>
                    <a:pt x="9" y="126"/>
                  </a:lnTo>
                  <a:lnTo>
                    <a:pt x="10" y="134"/>
                  </a:lnTo>
                  <a:lnTo>
                    <a:pt x="4" y="148"/>
                  </a:lnTo>
                  <a:lnTo>
                    <a:pt x="1" y="159"/>
                  </a:lnTo>
                  <a:lnTo>
                    <a:pt x="0" y="165"/>
                  </a:lnTo>
                  <a:lnTo>
                    <a:pt x="2" y="171"/>
                  </a:lnTo>
                  <a:lnTo>
                    <a:pt x="7" y="180"/>
                  </a:lnTo>
                  <a:lnTo>
                    <a:pt x="9" y="182"/>
                  </a:lnTo>
                  <a:lnTo>
                    <a:pt x="9" y="185"/>
                  </a:lnTo>
                  <a:lnTo>
                    <a:pt x="9" y="192"/>
                  </a:lnTo>
                  <a:lnTo>
                    <a:pt x="7" y="206"/>
                  </a:lnTo>
                  <a:lnTo>
                    <a:pt x="7" y="207"/>
                  </a:lnTo>
                  <a:lnTo>
                    <a:pt x="9" y="209"/>
                  </a:lnTo>
                  <a:lnTo>
                    <a:pt x="12" y="209"/>
                  </a:lnTo>
                  <a:lnTo>
                    <a:pt x="19" y="207"/>
                  </a:lnTo>
                  <a:lnTo>
                    <a:pt x="21" y="207"/>
                  </a:lnTo>
                  <a:lnTo>
                    <a:pt x="22" y="209"/>
                  </a:lnTo>
                  <a:lnTo>
                    <a:pt x="24" y="212"/>
                  </a:lnTo>
                  <a:lnTo>
                    <a:pt x="24" y="215"/>
                  </a:lnTo>
                  <a:lnTo>
                    <a:pt x="25" y="217"/>
                  </a:lnTo>
                  <a:lnTo>
                    <a:pt x="30" y="222"/>
                  </a:lnTo>
                  <a:lnTo>
                    <a:pt x="37" y="227"/>
                  </a:lnTo>
                  <a:lnTo>
                    <a:pt x="41" y="229"/>
                  </a:lnTo>
                  <a:lnTo>
                    <a:pt x="44" y="227"/>
                  </a:lnTo>
                  <a:lnTo>
                    <a:pt x="45" y="226"/>
                  </a:lnTo>
                  <a:lnTo>
                    <a:pt x="46" y="221"/>
                  </a:lnTo>
                  <a:lnTo>
                    <a:pt x="56" y="231"/>
                  </a:lnTo>
                  <a:lnTo>
                    <a:pt x="61" y="237"/>
                  </a:lnTo>
                  <a:lnTo>
                    <a:pt x="62" y="242"/>
                  </a:lnTo>
                  <a:lnTo>
                    <a:pt x="62" y="244"/>
                  </a:lnTo>
                  <a:lnTo>
                    <a:pt x="64" y="245"/>
                  </a:lnTo>
                  <a:lnTo>
                    <a:pt x="66" y="245"/>
                  </a:lnTo>
                  <a:lnTo>
                    <a:pt x="70" y="244"/>
                  </a:lnTo>
                  <a:lnTo>
                    <a:pt x="74" y="242"/>
                  </a:lnTo>
                  <a:lnTo>
                    <a:pt x="77" y="242"/>
                  </a:lnTo>
                  <a:lnTo>
                    <a:pt x="81" y="244"/>
                  </a:lnTo>
                  <a:lnTo>
                    <a:pt x="87" y="246"/>
                  </a:lnTo>
                  <a:lnTo>
                    <a:pt x="95" y="250"/>
                  </a:lnTo>
                  <a:lnTo>
                    <a:pt x="101" y="254"/>
                  </a:lnTo>
                  <a:lnTo>
                    <a:pt x="106" y="259"/>
                  </a:lnTo>
                  <a:lnTo>
                    <a:pt x="109" y="263"/>
                  </a:lnTo>
                  <a:lnTo>
                    <a:pt x="110" y="270"/>
                  </a:lnTo>
                  <a:lnTo>
                    <a:pt x="110" y="275"/>
                  </a:lnTo>
                  <a:lnTo>
                    <a:pt x="109" y="281"/>
                  </a:lnTo>
                  <a:lnTo>
                    <a:pt x="107" y="291"/>
                  </a:lnTo>
                  <a:lnTo>
                    <a:pt x="109" y="297"/>
                  </a:lnTo>
                  <a:lnTo>
                    <a:pt x="110" y="302"/>
                  </a:lnTo>
                  <a:lnTo>
                    <a:pt x="112" y="307"/>
                  </a:lnTo>
                  <a:lnTo>
                    <a:pt x="117" y="311"/>
                  </a:lnTo>
                  <a:lnTo>
                    <a:pt x="126" y="316"/>
                  </a:lnTo>
                  <a:lnTo>
                    <a:pt x="136" y="321"/>
                  </a:lnTo>
                  <a:lnTo>
                    <a:pt x="140" y="323"/>
                  </a:lnTo>
                  <a:lnTo>
                    <a:pt x="143" y="328"/>
                  </a:lnTo>
                  <a:lnTo>
                    <a:pt x="145" y="332"/>
                  </a:lnTo>
                  <a:lnTo>
                    <a:pt x="143" y="335"/>
                  </a:lnTo>
                  <a:lnTo>
                    <a:pt x="142" y="337"/>
                  </a:lnTo>
                  <a:lnTo>
                    <a:pt x="142" y="340"/>
                  </a:lnTo>
                  <a:lnTo>
                    <a:pt x="142" y="342"/>
                  </a:lnTo>
                  <a:lnTo>
                    <a:pt x="142" y="343"/>
                  </a:lnTo>
                  <a:lnTo>
                    <a:pt x="146" y="345"/>
                  </a:lnTo>
                  <a:lnTo>
                    <a:pt x="148" y="346"/>
                  </a:lnTo>
                  <a:lnTo>
                    <a:pt x="150" y="348"/>
                  </a:lnTo>
                  <a:lnTo>
                    <a:pt x="147" y="352"/>
                  </a:lnTo>
                  <a:lnTo>
                    <a:pt x="146" y="355"/>
                  </a:lnTo>
                  <a:lnTo>
                    <a:pt x="145" y="357"/>
                  </a:lnTo>
                  <a:lnTo>
                    <a:pt x="146" y="360"/>
                  </a:lnTo>
                  <a:lnTo>
                    <a:pt x="147" y="362"/>
                  </a:lnTo>
                  <a:lnTo>
                    <a:pt x="148" y="365"/>
                  </a:lnTo>
                  <a:lnTo>
                    <a:pt x="148" y="368"/>
                  </a:lnTo>
                  <a:lnTo>
                    <a:pt x="147" y="369"/>
                  </a:lnTo>
                  <a:lnTo>
                    <a:pt x="145" y="371"/>
                  </a:lnTo>
                  <a:lnTo>
                    <a:pt x="140" y="373"/>
                  </a:lnTo>
                  <a:lnTo>
                    <a:pt x="136" y="377"/>
                  </a:lnTo>
                  <a:lnTo>
                    <a:pt x="132" y="381"/>
                  </a:lnTo>
                  <a:lnTo>
                    <a:pt x="126" y="392"/>
                  </a:lnTo>
                  <a:lnTo>
                    <a:pt x="132" y="394"/>
                  </a:lnTo>
                  <a:lnTo>
                    <a:pt x="136" y="397"/>
                  </a:lnTo>
                  <a:lnTo>
                    <a:pt x="138" y="398"/>
                  </a:lnTo>
                  <a:lnTo>
                    <a:pt x="142" y="397"/>
                  </a:lnTo>
                  <a:lnTo>
                    <a:pt x="145" y="394"/>
                  </a:lnTo>
                  <a:lnTo>
                    <a:pt x="148" y="392"/>
                  </a:lnTo>
                  <a:lnTo>
                    <a:pt x="151" y="391"/>
                  </a:lnTo>
                  <a:lnTo>
                    <a:pt x="160" y="389"/>
                  </a:lnTo>
                  <a:lnTo>
                    <a:pt x="168" y="391"/>
                  </a:lnTo>
                  <a:lnTo>
                    <a:pt x="177" y="394"/>
                  </a:lnTo>
                  <a:lnTo>
                    <a:pt x="183" y="401"/>
                  </a:lnTo>
                  <a:lnTo>
                    <a:pt x="187" y="407"/>
                  </a:lnTo>
                  <a:lnTo>
                    <a:pt x="191" y="413"/>
                  </a:lnTo>
                  <a:lnTo>
                    <a:pt x="197" y="427"/>
                  </a:lnTo>
                  <a:lnTo>
                    <a:pt x="202" y="441"/>
                  </a:lnTo>
                  <a:lnTo>
                    <a:pt x="205" y="447"/>
                  </a:lnTo>
                  <a:lnTo>
                    <a:pt x="208" y="453"/>
                  </a:lnTo>
                  <a:lnTo>
                    <a:pt x="220" y="461"/>
                  </a:lnTo>
                  <a:lnTo>
                    <a:pt x="232" y="466"/>
                  </a:lnTo>
                  <a:lnTo>
                    <a:pt x="243" y="473"/>
                  </a:lnTo>
                  <a:lnTo>
                    <a:pt x="248" y="477"/>
                  </a:lnTo>
                  <a:lnTo>
                    <a:pt x="253" y="482"/>
                  </a:lnTo>
                  <a:lnTo>
                    <a:pt x="260" y="488"/>
                  </a:lnTo>
                  <a:lnTo>
                    <a:pt x="263" y="492"/>
                  </a:lnTo>
                  <a:lnTo>
                    <a:pt x="266" y="494"/>
                  </a:lnTo>
                  <a:lnTo>
                    <a:pt x="273" y="495"/>
                  </a:lnTo>
                  <a:lnTo>
                    <a:pt x="278" y="495"/>
                  </a:lnTo>
                  <a:lnTo>
                    <a:pt x="283" y="497"/>
                  </a:lnTo>
                  <a:lnTo>
                    <a:pt x="289" y="502"/>
                  </a:lnTo>
                  <a:lnTo>
                    <a:pt x="308" y="499"/>
                  </a:lnTo>
                  <a:lnTo>
                    <a:pt x="327" y="498"/>
                  </a:lnTo>
                  <a:lnTo>
                    <a:pt x="346" y="498"/>
                  </a:lnTo>
                  <a:lnTo>
                    <a:pt x="364" y="498"/>
                  </a:lnTo>
                  <a:lnTo>
                    <a:pt x="403" y="499"/>
                  </a:lnTo>
                  <a:lnTo>
                    <a:pt x="440" y="500"/>
                  </a:lnTo>
                  <a:lnTo>
                    <a:pt x="603" y="500"/>
                  </a:lnTo>
                  <a:lnTo>
                    <a:pt x="590" y="489"/>
                  </a:lnTo>
                  <a:lnTo>
                    <a:pt x="584" y="484"/>
                  </a:lnTo>
                  <a:lnTo>
                    <a:pt x="533" y="438"/>
                  </a:lnTo>
                  <a:lnTo>
                    <a:pt x="523" y="429"/>
                  </a:lnTo>
                  <a:lnTo>
                    <a:pt x="483" y="394"/>
                  </a:lnTo>
                  <a:lnTo>
                    <a:pt x="462" y="376"/>
                  </a:lnTo>
                  <a:lnTo>
                    <a:pt x="440" y="357"/>
                  </a:lnTo>
                  <a:lnTo>
                    <a:pt x="318" y="250"/>
                  </a:lnTo>
                  <a:lnTo>
                    <a:pt x="251" y="192"/>
                  </a:lnTo>
                  <a:lnTo>
                    <a:pt x="132" y="91"/>
                  </a:lnTo>
                  <a:lnTo>
                    <a:pt x="122" y="83"/>
                  </a:lnTo>
                  <a:lnTo>
                    <a:pt x="31" y="8"/>
                  </a:lnTo>
                  <a:lnTo>
                    <a:pt x="21" y="0"/>
                  </a:lnTo>
                  <a:lnTo>
                    <a:pt x="15" y="7"/>
                  </a:lnTo>
                  <a:lnTo>
                    <a:pt x="12" y="13"/>
                  </a:lnTo>
                  <a:lnTo>
                    <a:pt x="10" y="19"/>
                  </a:lnTo>
                  <a:lnTo>
                    <a:pt x="9" y="24"/>
                  </a:lnTo>
                  <a:lnTo>
                    <a:pt x="9" y="30"/>
                  </a:lnTo>
                  <a:lnTo>
                    <a:pt x="10" y="35"/>
                  </a:lnTo>
                  <a:lnTo>
                    <a:pt x="14" y="45"/>
                  </a:lnTo>
                  <a:lnTo>
                    <a:pt x="25" y="65"/>
                  </a:lnTo>
                  <a:lnTo>
                    <a:pt x="29" y="76"/>
                  </a:lnTo>
                  <a:lnTo>
                    <a:pt x="30" y="83"/>
                  </a:lnTo>
                  <a:lnTo>
                    <a:pt x="30" y="88"/>
                  </a:lnTo>
                  <a:lnTo>
                    <a:pt x="30" y="89"/>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Mono</a:t>
              </a:r>
            </a:p>
          </p:txBody>
        </p:sp>
        <p:sp>
          <p:nvSpPr>
            <p:cNvPr id="58" name="Tuolumne"/>
            <p:cNvSpPr>
              <a:spLocks/>
            </p:cNvSpPr>
            <p:nvPr/>
          </p:nvSpPr>
          <p:spPr bwMode="auto">
            <a:xfrm>
              <a:off x="2806120" y="4793011"/>
              <a:ext cx="1022366" cy="641268"/>
            </a:xfrm>
            <a:custGeom>
              <a:avLst/>
              <a:gdLst>
                <a:gd name="T0" fmla="*/ 2147483647 w 486"/>
                <a:gd name="T1" fmla="*/ 2147483647 h 320"/>
                <a:gd name="T2" fmla="*/ 2147483647 w 486"/>
                <a:gd name="T3" fmla="*/ 2147483647 h 320"/>
                <a:gd name="T4" fmla="*/ 2147483647 w 486"/>
                <a:gd name="T5" fmla="*/ 2147483647 h 320"/>
                <a:gd name="T6" fmla="*/ 2147483647 w 486"/>
                <a:gd name="T7" fmla="*/ 2147483647 h 320"/>
                <a:gd name="T8" fmla="*/ 2147483647 w 486"/>
                <a:gd name="T9" fmla="*/ 2147483647 h 320"/>
                <a:gd name="T10" fmla="*/ 2147483647 w 486"/>
                <a:gd name="T11" fmla="*/ 2147483647 h 320"/>
                <a:gd name="T12" fmla="*/ 2147483647 w 486"/>
                <a:gd name="T13" fmla="*/ 2147483647 h 320"/>
                <a:gd name="T14" fmla="*/ 2147483647 w 486"/>
                <a:gd name="T15" fmla="*/ 2147483647 h 320"/>
                <a:gd name="T16" fmla="*/ 2147483647 w 486"/>
                <a:gd name="T17" fmla="*/ 2147483647 h 320"/>
                <a:gd name="T18" fmla="*/ 2147483647 w 486"/>
                <a:gd name="T19" fmla="*/ 2147483647 h 320"/>
                <a:gd name="T20" fmla="*/ 2147483647 w 486"/>
                <a:gd name="T21" fmla="*/ 2147483647 h 320"/>
                <a:gd name="T22" fmla="*/ 2147483647 w 486"/>
                <a:gd name="T23" fmla="*/ 2147483647 h 320"/>
                <a:gd name="T24" fmla="*/ 2147483647 w 486"/>
                <a:gd name="T25" fmla="*/ 2147483647 h 320"/>
                <a:gd name="T26" fmla="*/ 2147483647 w 486"/>
                <a:gd name="T27" fmla="*/ 2147483647 h 320"/>
                <a:gd name="T28" fmla="*/ 2147483647 w 486"/>
                <a:gd name="T29" fmla="*/ 2147483647 h 320"/>
                <a:gd name="T30" fmla="*/ 2147483647 w 486"/>
                <a:gd name="T31" fmla="*/ 2147483647 h 320"/>
                <a:gd name="T32" fmla="*/ 2147483647 w 486"/>
                <a:gd name="T33" fmla="*/ 2147483647 h 320"/>
                <a:gd name="T34" fmla="*/ 2147483647 w 486"/>
                <a:gd name="T35" fmla="*/ 2147483647 h 320"/>
                <a:gd name="T36" fmla="*/ 2147483647 w 486"/>
                <a:gd name="T37" fmla="*/ 2147483647 h 320"/>
                <a:gd name="T38" fmla="*/ 2147483647 w 486"/>
                <a:gd name="T39" fmla="*/ 2147483647 h 320"/>
                <a:gd name="T40" fmla="*/ 2147483647 w 486"/>
                <a:gd name="T41" fmla="*/ 2147483647 h 320"/>
                <a:gd name="T42" fmla="*/ 2147483647 w 486"/>
                <a:gd name="T43" fmla="*/ 2147483647 h 320"/>
                <a:gd name="T44" fmla="*/ 2147483647 w 486"/>
                <a:gd name="T45" fmla="*/ 2147483647 h 320"/>
                <a:gd name="T46" fmla="*/ 2147483647 w 486"/>
                <a:gd name="T47" fmla="*/ 2147483647 h 320"/>
                <a:gd name="T48" fmla="*/ 2147483647 w 486"/>
                <a:gd name="T49" fmla="*/ 2147483647 h 320"/>
                <a:gd name="T50" fmla="*/ 2147483647 w 486"/>
                <a:gd name="T51" fmla="*/ 2147483647 h 320"/>
                <a:gd name="T52" fmla="*/ 2147483647 w 486"/>
                <a:gd name="T53" fmla="*/ 2147483647 h 320"/>
                <a:gd name="T54" fmla="*/ 2147483647 w 486"/>
                <a:gd name="T55" fmla="*/ 2147483647 h 320"/>
                <a:gd name="T56" fmla="*/ 2147483647 w 486"/>
                <a:gd name="T57" fmla="*/ 2147483647 h 320"/>
                <a:gd name="T58" fmla="*/ 2147483647 w 486"/>
                <a:gd name="T59" fmla="*/ 2147483647 h 320"/>
                <a:gd name="T60" fmla="*/ 2147483647 w 486"/>
                <a:gd name="T61" fmla="*/ 2147483647 h 320"/>
                <a:gd name="T62" fmla="*/ 2147483647 w 486"/>
                <a:gd name="T63" fmla="*/ 2147483647 h 320"/>
                <a:gd name="T64" fmla="*/ 2147483647 w 486"/>
                <a:gd name="T65" fmla="*/ 2147483647 h 320"/>
                <a:gd name="T66" fmla="*/ 2147483647 w 486"/>
                <a:gd name="T67" fmla="*/ 2147483647 h 320"/>
                <a:gd name="T68" fmla="*/ 2147483647 w 486"/>
                <a:gd name="T69" fmla="*/ 2147483647 h 320"/>
                <a:gd name="T70" fmla="*/ 2147483647 w 486"/>
                <a:gd name="T71" fmla="*/ 2147483647 h 320"/>
                <a:gd name="T72" fmla="*/ 2147483647 w 486"/>
                <a:gd name="T73" fmla="*/ 2147483647 h 320"/>
                <a:gd name="T74" fmla="*/ 2147483647 w 486"/>
                <a:gd name="T75" fmla="*/ 2147483647 h 320"/>
                <a:gd name="T76" fmla="*/ 2147483647 w 486"/>
                <a:gd name="T77" fmla="*/ 2147483647 h 320"/>
                <a:gd name="T78" fmla="*/ 2147483647 w 486"/>
                <a:gd name="T79" fmla="*/ 2147483647 h 320"/>
                <a:gd name="T80" fmla="*/ 2147483647 w 486"/>
                <a:gd name="T81" fmla="*/ 2147483647 h 320"/>
                <a:gd name="T82" fmla="*/ 2147483647 w 486"/>
                <a:gd name="T83" fmla="*/ 2147483647 h 320"/>
                <a:gd name="T84" fmla="*/ 2147483647 w 486"/>
                <a:gd name="T85" fmla="*/ 2147483647 h 320"/>
                <a:gd name="T86" fmla="*/ 2147483647 w 486"/>
                <a:gd name="T87" fmla="*/ 2147483647 h 320"/>
                <a:gd name="T88" fmla="*/ 2147483647 w 486"/>
                <a:gd name="T89" fmla="*/ 2147483647 h 320"/>
                <a:gd name="T90" fmla="*/ 2147483647 w 486"/>
                <a:gd name="T91" fmla="*/ 2147483647 h 320"/>
                <a:gd name="T92" fmla="*/ 2147483647 w 486"/>
                <a:gd name="T93" fmla="*/ 2147483647 h 320"/>
                <a:gd name="T94" fmla="*/ 2147483647 w 486"/>
                <a:gd name="T95" fmla="*/ 2147483647 h 320"/>
                <a:gd name="T96" fmla="*/ 2147483647 w 486"/>
                <a:gd name="T97" fmla="*/ 2147483647 h 320"/>
                <a:gd name="T98" fmla="*/ 2147483647 w 486"/>
                <a:gd name="T99" fmla="*/ 2147483647 h 320"/>
                <a:gd name="T100" fmla="*/ 2147483647 w 486"/>
                <a:gd name="T101" fmla="*/ 2147483647 h 320"/>
                <a:gd name="T102" fmla="*/ 2147483647 w 486"/>
                <a:gd name="T103" fmla="*/ 2147483647 h 320"/>
                <a:gd name="T104" fmla="*/ 2147483647 w 486"/>
                <a:gd name="T105" fmla="*/ 2147483647 h 320"/>
                <a:gd name="T106" fmla="*/ 2147483647 w 486"/>
                <a:gd name="T107" fmla="*/ 2147483647 h 320"/>
                <a:gd name="T108" fmla="*/ 2147483647 w 486"/>
                <a:gd name="T109" fmla="*/ 2147483647 h 32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86" h="320">
                  <a:moveTo>
                    <a:pt x="93" y="303"/>
                  </a:moveTo>
                  <a:lnTo>
                    <a:pt x="95" y="303"/>
                  </a:lnTo>
                  <a:lnTo>
                    <a:pt x="98" y="305"/>
                  </a:lnTo>
                  <a:lnTo>
                    <a:pt x="104" y="310"/>
                  </a:lnTo>
                  <a:lnTo>
                    <a:pt x="106" y="312"/>
                  </a:lnTo>
                  <a:lnTo>
                    <a:pt x="109" y="313"/>
                  </a:lnTo>
                  <a:lnTo>
                    <a:pt x="111" y="312"/>
                  </a:lnTo>
                  <a:lnTo>
                    <a:pt x="113" y="309"/>
                  </a:lnTo>
                  <a:lnTo>
                    <a:pt x="114" y="305"/>
                  </a:lnTo>
                  <a:lnTo>
                    <a:pt x="113" y="303"/>
                  </a:lnTo>
                  <a:lnTo>
                    <a:pt x="108" y="297"/>
                  </a:lnTo>
                  <a:lnTo>
                    <a:pt x="103" y="290"/>
                  </a:lnTo>
                  <a:lnTo>
                    <a:pt x="103" y="288"/>
                  </a:lnTo>
                  <a:lnTo>
                    <a:pt x="104" y="284"/>
                  </a:lnTo>
                  <a:lnTo>
                    <a:pt x="105" y="284"/>
                  </a:lnTo>
                  <a:lnTo>
                    <a:pt x="106" y="283"/>
                  </a:lnTo>
                  <a:lnTo>
                    <a:pt x="111" y="283"/>
                  </a:lnTo>
                  <a:lnTo>
                    <a:pt x="116" y="282"/>
                  </a:lnTo>
                  <a:lnTo>
                    <a:pt x="119" y="280"/>
                  </a:lnTo>
                  <a:lnTo>
                    <a:pt x="120" y="279"/>
                  </a:lnTo>
                  <a:lnTo>
                    <a:pt x="123" y="279"/>
                  </a:lnTo>
                  <a:lnTo>
                    <a:pt x="130" y="277"/>
                  </a:lnTo>
                  <a:lnTo>
                    <a:pt x="140" y="272"/>
                  </a:lnTo>
                  <a:lnTo>
                    <a:pt x="144" y="272"/>
                  </a:lnTo>
                  <a:lnTo>
                    <a:pt x="146" y="270"/>
                  </a:lnTo>
                  <a:lnTo>
                    <a:pt x="149" y="268"/>
                  </a:lnTo>
                  <a:lnTo>
                    <a:pt x="150" y="264"/>
                  </a:lnTo>
                  <a:lnTo>
                    <a:pt x="154" y="262"/>
                  </a:lnTo>
                  <a:lnTo>
                    <a:pt x="156" y="262"/>
                  </a:lnTo>
                  <a:lnTo>
                    <a:pt x="160" y="262"/>
                  </a:lnTo>
                  <a:lnTo>
                    <a:pt x="166" y="263"/>
                  </a:lnTo>
                  <a:lnTo>
                    <a:pt x="172" y="262"/>
                  </a:lnTo>
                  <a:lnTo>
                    <a:pt x="176" y="260"/>
                  </a:lnTo>
                  <a:lnTo>
                    <a:pt x="184" y="254"/>
                  </a:lnTo>
                  <a:lnTo>
                    <a:pt x="187" y="251"/>
                  </a:lnTo>
                  <a:lnTo>
                    <a:pt x="190" y="249"/>
                  </a:lnTo>
                  <a:lnTo>
                    <a:pt x="195" y="248"/>
                  </a:lnTo>
                  <a:lnTo>
                    <a:pt x="199" y="251"/>
                  </a:lnTo>
                  <a:lnTo>
                    <a:pt x="225" y="263"/>
                  </a:lnTo>
                  <a:lnTo>
                    <a:pt x="239" y="268"/>
                  </a:lnTo>
                  <a:lnTo>
                    <a:pt x="251" y="270"/>
                  </a:lnTo>
                  <a:lnTo>
                    <a:pt x="264" y="272"/>
                  </a:lnTo>
                  <a:lnTo>
                    <a:pt x="276" y="272"/>
                  </a:lnTo>
                  <a:lnTo>
                    <a:pt x="289" y="270"/>
                  </a:lnTo>
                  <a:lnTo>
                    <a:pt x="295" y="269"/>
                  </a:lnTo>
                  <a:lnTo>
                    <a:pt x="300" y="267"/>
                  </a:lnTo>
                  <a:lnTo>
                    <a:pt x="310" y="262"/>
                  </a:lnTo>
                  <a:lnTo>
                    <a:pt x="321" y="257"/>
                  </a:lnTo>
                  <a:lnTo>
                    <a:pt x="325" y="254"/>
                  </a:lnTo>
                  <a:lnTo>
                    <a:pt x="328" y="251"/>
                  </a:lnTo>
                  <a:lnTo>
                    <a:pt x="332" y="247"/>
                  </a:lnTo>
                  <a:lnTo>
                    <a:pt x="335" y="242"/>
                  </a:lnTo>
                  <a:lnTo>
                    <a:pt x="336" y="238"/>
                  </a:lnTo>
                  <a:lnTo>
                    <a:pt x="338" y="236"/>
                  </a:lnTo>
                  <a:lnTo>
                    <a:pt x="345" y="232"/>
                  </a:lnTo>
                  <a:lnTo>
                    <a:pt x="351" y="229"/>
                  </a:lnTo>
                  <a:lnTo>
                    <a:pt x="353" y="227"/>
                  </a:lnTo>
                  <a:lnTo>
                    <a:pt x="356" y="224"/>
                  </a:lnTo>
                  <a:lnTo>
                    <a:pt x="357" y="219"/>
                  </a:lnTo>
                  <a:lnTo>
                    <a:pt x="361" y="217"/>
                  </a:lnTo>
                  <a:lnTo>
                    <a:pt x="365" y="216"/>
                  </a:lnTo>
                  <a:lnTo>
                    <a:pt x="370" y="217"/>
                  </a:lnTo>
                  <a:lnTo>
                    <a:pt x="376" y="219"/>
                  </a:lnTo>
                  <a:lnTo>
                    <a:pt x="382" y="223"/>
                  </a:lnTo>
                  <a:lnTo>
                    <a:pt x="388" y="227"/>
                  </a:lnTo>
                  <a:lnTo>
                    <a:pt x="395" y="229"/>
                  </a:lnTo>
                  <a:lnTo>
                    <a:pt x="402" y="231"/>
                  </a:lnTo>
                  <a:lnTo>
                    <a:pt x="407" y="233"/>
                  </a:lnTo>
                  <a:lnTo>
                    <a:pt x="417" y="238"/>
                  </a:lnTo>
                  <a:lnTo>
                    <a:pt x="432" y="246"/>
                  </a:lnTo>
                  <a:lnTo>
                    <a:pt x="436" y="249"/>
                  </a:lnTo>
                  <a:lnTo>
                    <a:pt x="441" y="254"/>
                  </a:lnTo>
                  <a:lnTo>
                    <a:pt x="446" y="262"/>
                  </a:lnTo>
                  <a:lnTo>
                    <a:pt x="448" y="267"/>
                  </a:lnTo>
                  <a:lnTo>
                    <a:pt x="450" y="273"/>
                  </a:lnTo>
                  <a:lnTo>
                    <a:pt x="452" y="278"/>
                  </a:lnTo>
                  <a:lnTo>
                    <a:pt x="456" y="282"/>
                  </a:lnTo>
                  <a:lnTo>
                    <a:pt x="460" y="282"/>
                  </a:lnTo>
                  <a:lnTo>
                    <a:pt x="462" y="283"/>
                  </a:lnTo>
                  <a:lnTo>
                    <a:pt x="468" y="272"/>
                  </a:lnTo>
                  <a:lnTo>
                    <a:pt x="472" y="268"/>
                  </a:lnTo>
                  <a:lnTo>
                    <a:pt x="476" y="264"/>
                  </a:lnTo>
                  <a:lnTo>
                    <a:pt x="481" y="262"/>
                  </a:lnTo>
                  <a:lnTo>
                    <a:pt x="483" y="260"/>
                  </a:lnTo>
                  <a:lnTo>
                    <a:pt x="484" y="259"/>
                  </a:lnTo>
                  <a:lnTo>
                    <a:pt x="484" y="256"/>
                  </a:lnTo>
                  <a:lnTo>
                    <a:pt x="483" y="253"/>
                  </a:lnTo>
                  <a:lnTo>
                    <a:pt x="482" y="251"/>
                  </a:lnTo>
                  <a:lnTo>
                    <a:pt x="481" y="248"/>
                  </a:lnTo>
                  <a:lnTo>
                    <a:pt x="482" y="246"/>
                  </a:lnTo>
                  <a:lnTo>
                    <a:pt x="483" y="243"/>
                  </a:lnTo>
                  <a:lnTo>
                    <a:pt x="486" y="239"/>
                  </a:lnTo>
                  <a:lnTo>
                    <a:pt x="484" y="237"/>
                  </a:lnTo>
                  <a:lnTo>
                    <a:pt x="482" y="236"/>
                  </a:lnTo>
                  <a:lnTo>
                    <a:pt x="478" y="234"/>
                  </a:lnTo>
                  <a:lnTo>
                    <a:pt x="478" y="233"/>
                  </a:lnTo>
                  <a:lnTo>
                    <a:pt x="478" y="231"/>
                  </a:lnTo>
                  <a:lnTo>
                    <a:pt x="478" y="228"/>
                  </a:lnTo>
                  <a:lnTo>
                    <a:pt x="479" y="226"/>
                  </a:lnTo>
                  <a:lnTo>
                    <a:pt x="481" y="223"/>
                  </a:lnTo>
                  <a:lnTo>
                    <a:pt x="479" y="219"/>
                  </a:lnTo>
                  <a:lnTo>
                    <a:pt x="476" y="214"/>
                  </a:lnTo>
                  <a:lnTo>
                    <a:pt x="472" y="212"/>
                  </a:lnTo>
                  <a:lnTo>
                    <a:pt x="462" y="207"/>
                  </a:lnTo>
                  <a:lnTo>
                    <a:pt x="453" y="202"/>
                  </a:lnTo>
                  <a:lnTo>
                    <a:pt x="448" y="198"/>
                  </a:lnTo>
                  <a:lnTo>
                    <a:pt x="446" y="193"/>
                  </a:lnTo>
                  <a:lnTo>
                    <a:pt x="445" y="188"/>
                  </a:lnTo>
                  <a:lnTo>
                    <a:pt x="443" y="182"/>
                  </a:lnTo>
                  <a:lnTo>
                    <a:pt x="445" y="172"/>
                  </a:lnTo>
                  <a:lnTo>
                    <a:pt x="446" y="166"/>
                  </a:lnTo>
                  <a:lnTo>
                    <a:pt x="446" y="161"/>
                  </a:lnTo>
                  <a:lnTo>
                    <a:pt x="445" y="154"/>
                  </a:lnTo>
                  <a:lnTo>
                    <a:pt x="442" y="150"/>
                  </a:lnTo>
                  <a:lnTo>
                    <a:pt x="437" y="145"/>
                  </a:lnTo>
                  <a:lnTo>
                    <a:pt x="431" y="141"/>
                  </a:lnTo>
                  <a:lnTo>
                    <a:pt x="423" y="137"/>
                  </a:lnTo>
                  <a:lnTo>
                    <a:pt x="417" y="135"/>
                  </a:lnTo>
                  <a:lnTo>
                    <a:pt x="413" y="133"/>
                  </a:lnTo>
                  <a:lnTo>
                    <a:pt x="410" y="133"/>
                  </a:lnTo>
                  <a:lnTo>
                    <a:pt x="406" y="135"/>
                  </a:lnTo>
                  <a:lnTo>
                    <a:pt x="402" y="136"/>
                  </a:lnTo>
                  <a:lnTo>
                    <a:pt x="400" y="136"/>
                  </a:lnTo>
                  <a:lnTo>
                    <a:pt x="398" y="135"/>
                  </a:lnTo>
                  <a:lnTo>
                    <a:pt x="398" y="133"/>
                  </a:lnTo>
                  <a:lnTo>
                    <a:pt x="397" y="128"/>
                  </a:lnTo>
                  <a:lnTo>
                    <a:pt x="392" y="122"/>
                  </a:lnTo>
                  <a:lnTo>
                    <a:pt x="382" y="112"/>
                  </a:lnTo>
                  <a:lnTo>
                    <a:pt x="381" y="117"/>
                  </a:lnTo>
                  <a:lnTo>
                    <a:pt x="380" y="118"/>
                  </a:lnTo>
                  <a:lnTo>
                    <a:pt x="377" y="120"/>
                  </a:lnTo>
                  <a:lnTo>
                    <a:pt x="373" y="118"/>
                  </a:lnTo>
                  <a:lnTo>
                    <a:pt x="366" y="113"/>
                  </a:lnTo>
                  <a:lnTo>
                    <a:pt x="361" y="108"/>
                  </a:lnTo>
                  <a:lnTo>
                    <a:pt x="360" y="106"/>
                  </a:lnTo>
                  <a:lnTo>
                    <a:pt x="360" y="103"/>
                  </a:lnTo>
                  <a:lnTo>
                    <a:pt x="358" y="100"/>
                  </a:lnTo>
                  <a:lnTo>
                    <a:pt x="357" y="98"/>
                  </a:lnTo>
                  <a:lnTo>
                    <a:pt x="355" y="98"/>
                  </a:lnTo>
                  <a:lnTo>
                    <a:pt x="348" y="100"/>
                  </a:lnTo>
                  <a:lnTo>
                    <a:pt x="345" y="100"/>
                  </a:lnTo>
                  <a:lnTo>
                    <a:pt x="343" y="98"/>
                  </a:lnTo>
                  <a:lnTo>
                    <a:pt x="343" y="97"/>
                  </a:lnTo>
                  <a:lnTo>
                    <a:pt x="345" y="83"/>
                  </a:lnTo>
                  <a:lnTo>
                    <a:pt x="345" y="76"/>
                  </a:lnTo>
                  <a:lnTo>
                    <a:pt x="345" y="73"/>
                  </a:lnTo>
                  <a:lnTo>
                    <a:pt x="343" y="71"/>
                  </a:lnTo>
                  <a:lnTo>
                    <a:pt x="338" y="62"/>
                  </a:lnTo>
                  <a:lnTo>
                    <a:pt x="336" y="56"/>
                  </a:lnTo>
                  <a:lnTo>
                    <a:pt x="337" y="50"/>
                  </a:lnTo>
                  <a:lnTo>
                    <a:pt x="340" y="39"/>
                  </a:lnTo>
                  <a:lnTo>
                    <a:pt x="333" y="37"/>
                  </a:lnTo>
                  <a:lnTo>
                    <a:pt x="330" y="36"/>
                  </a:lnTo>
                  <a:lnTo>
                    <a:pt x="326" y="34"/>
                  </a:lnTo>
                  <a:lnTo>
                    <a:pt x="323" y="31"/>
                  </a:lnTo>
                  <a:lnTo>
                    <a:pt x="320" y="25"/>
                  </a:lnTo>
                  <a:lnTo>
                    <a:pt x="318" y="17"/>
                  </a:lnTo>
                  <a:lnTo>
                    <a:pt x="316" y="11"/>
                  </a:lnTo>
                  <a:lnTo>
                    <a:pt x="313" y="9"/>
                  </a:lnTo>
                  <a:lnTo>
                    <a:pt x="311" y="7"/>
                  </a:lnTo>
                  <a:lnTo>
                    <a:pt x="308" y="7"/>
                  </a:lnTo>
                  <a:lnTo>
                    <a:pt x="304" y="7"/>
                  </a:lnTo>
                  <a:lnTo>
                    <a:pt x="299" y="9"/>
                  </a:lnTo>
                  <a:lnTo>
                    <a:pt x="292" y="11"/>
                  </a:lnTo>
                  <a:lnTo>
                    <a:pt x="285" y="16"/>
                  </a:lnTo>
                  <a:lnTo>
                    <a:pt x="277" y="21"/>
                  </a:lnTo>
                  <a:lnTo>
                    <a:pt x="269" y="27"/>
                  </a:lnTo>
                  <a:lnTo>
                    <a:pt x="265" y="29"/>
                  </a:lnTo>
                  <a:lnTo>
                    <a:pt x="261" y="30"/>
                  </a:lnTo>
                  <a:lnTo>
                    <a:pt x="256" y="29"/>
                  </a:lnTo>
                  <a:lnTo>
                    <a:pt x="250" y="26"/>
                  </a:lnTo>
                  <a:lnTo>
                    <a:pt x="236" y="17"/>
                  </a:lnTo>
                  <a:lnTo>
                    <a:pt x="221" y="7"/>
                  </a:lnTo>
                  <a:lnTo>
                    <a:pt x="215" y="2"/>
                  </a:lnTo>
                  <a:lnTo>
                    <a:pt x="210" y="0"/>
                  </a:lnTo>
                  <a:lnTo>
                    <a:pt x="206" y="4"/>
                  </a:lnTo>
                  <a:lnTo>
                    <a:pt x="202" y="6"/>
                  </a:lnTo>
                  <a:lnTo>
                    <a:pt x="192" y="11"/>
                  </a:lnTo>
                  <a:lnTo>
                    <a:pt x="171" y="16"/>
                  </a:lnTo>
                  <a:lnTo>
                    <a:pt x="166" y="19"/>
                  </a:lnTo>
                  <a:lnTo>
                    <a:pt x="162" y="21"/>
                  </a:lnTo>
                  <a:lnTo>
                    <a:pt x="154" y="31"/>
                  </a:lnTo>
                  <a:lnTo>
                    <a:pt x="146" y="42"/>
                  </a:lnTo>
                  <a:lnTo>
                    <a:pt x="140" y="51"/>
                  </a:lnTo>
                  <a:lnTo>
                    <a:pt x="128" y="68"/>
                  </a:lnTo>
                  <a:lnTo>
                    <a:pt x="114" y="85"/>
                  </a:lnTo>
                  <a:lnTo>
                    <a:pt x="100" y="101"/>
                  </a:lnTo>
                  <a:lnTo>
                    <a:pt x="89" y="120"/>
                  </a:lnTo>
                  <a:lnTo>
                    <a:pt x="68" y="154"/>
                  </a:lnTo>
                  <a:lnTo>
                    <a:pt x="64" y="161"/>
                  </a:lnTo>
                  <a:lnTo>
                    <a:pt x="61" y="168"/>
                  </a:lnTo>
                  <a:lnTo>
                    <a:pt x="60" y="169"/>
                  </a:lnTo>
                  <a:lnTo>
                    <a:pt x="59" y="171"/>
                  </a:lnTo>
                  <a:lnTo>
                    <a:pt x="53" y="173"/>
                  </a:lnTo>
                  <a:lnTo>
                    <a:pt x="43" y="177"/>
                  </a:lnTo>
                  <a:lnTo>
                    <a:pt x="40" y="178"/>
                  </a:lnTo>
                  <a:lnTo>
                    <a:pt x="39" y="181"/>
                  </a:lnTo>
                  <a:lnTo>
                    <a:pt x="40" y="186"/>
                  </a:lnTo>
                  <a:lnTo>
                    <a:pt x="41" y="191"/>
                  </a:lnTo>
                  <a:lnTo>
                    <a:pt x="43" y="194"/>
                  </a:lnTo>
                  <a:lnTo>
                    <a:pt x="36" y="202"/>
                  </a:lnTo>
                  <a:lnTo>
                    <a:pt x="30" y="209"/>
                  </a:lnTo>
                  <a:lnTo>
                    <a:pt x="20" y="217"/>
                  </a:lnTo>
                  <a:lnTo>
                    <a:pt x="13" y="224"/>
                  </a:lnTo>
                  <a:lnTo>
                    <a:pt x="6" y="233"/>
                  </a:lnTo>
                  <a:lnTo>
                    <a:pt x="0" y="243"/>
                  </a:lnTo>
                  <a:lnTo>
                    <a:pt x="46" y="285"/>
                  </a:lnTo>
                  <a:lnTo>
                    <a:pt x="56" y="293"/>
                  </a:lnTo>
                  <a:lnTo>
                    <a:pt x="68" y="300"/>
                  </a:lnTo>
                  <a:lnTo>
                    <a:pt x="78" y="310"/>
                  </a:lnTo>
                  <a:lnTo>
                    <a:pt x="81" y="315"/>
                  </a:lnTo>
                  <a:lnTo>
                    <a:pt x="85" y="320"/>
                  </a:lnTo>
                  <a:lnTo>
                    <a:pt x="88" y="317"/>
                  </a:lnTo>
                  <a:lnTo>
                    <a:pt x="88" y="314"/>
                  </a:lnTo>
                  <a:lnTo>
                    <a:pt x="88" y="309"/>
                  </a:lnTo>
                  <a:lnTo>
                    <a:pt x="86" y="307"/>
                  </a:lnTo>
                  <a:lnTo>
                    <a:pt x="86" y="305"/>
                  </a:lnTo>
                  <a:lnTo>
                    <a:pt x="89" y="304"/>
                  </a:lnTo>
                  <a:lnTo>
                    <a:pt x="91" y="303"/>
                  </a:lnTo>
                  <a:lnTo>
                    <a:pt x="93" y="303"/>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Tuolumne</a:t>
              </a:r>
            </a:p>
          </p:txBody>
        </p:sp>
        <p:sp>
          <p:nvSpPr>
            <p:cNvPr id="59" name="Mariposa"/>
            <p:cNvSpPr>
              <a:spLocks/>
            </p:cNvSpPr>
            <p:nvPr/>
          </p:nvSpPr>
          <p:spPr bwMode="auto">
            <a:xfrm>
              <a:off x="2984926" y="5225870"/>
              <a:ext cx="763621" cy="571131"/>
            </a:xfrm>
            <a:custGeom>
              <a:avLst/>
              <a:gdLst>
                <a:gd name="T0" fmla="*/ 2147483647 w 363"/>
                <a:gd name="T1" fmla="*/ 2147483647 h 285"/>
                <a:gd name="T2" fmla="*/ 2147483647 w 363"/>
                <a:gd name="T3" fmla="*/ 2147483647 h 285"/>
                <a:gd name="T4" fmla="*/ 2147483647 w 363"/>
                <a:gd name="T5" fmla="*/ 2147483647 h 285"/>
                <a:gd name="T6" fmla="*/ 2147483647 w 363"/>
                <a:gd name="T7" fmla="*/ 2147483647 h 285"/>
                <a:gd name="T8" fmla="*/ 2147483647 w 363"/>
                <a:gd name="T9" fmla="*/ 2147483647 h 285"/>
                <a:gd name="T10" fmla="*/ 2147483647 w 363"/>
                <a:gd name="T11" fmla="*/ 2147483647 h 285"/>
                <a:gd name="T12" fmla="*/ 2147483647 w 363"/>
                <a:gd name="T13" fmla="*/ 2147483647 h 285"/>
                <a:gd name="T14" fmla="*/ 2147483647 w 363"/>
                <a:gd name="T15" fmla="*/ 2147483647 h 285"/>
                <a:gd name="T16" fmla="*/ 2147483647 w 363"/>
                <a:gd name="T17" fmla="*/ 2147483647 h 285"/>
                <a:gd name="T18" fmla="*/ 2147483647 w 363"/>
                <a:gd name="T19" fmla="*/ 2147483647 h 285"/>
                <a:gd name="T20" fmla="*/ 2147483647 w 363"/>
                <a:gd name="T21" fmla="*/ 2147483647 h 285"/>
                <a:gd name="T22" fmla="*/ 2147483647 w 363"/>
                <a:gd name="T23" fmla="*/ 2147483647 h 285"/>
                <a:gd name="T24" fmla="*/ 2147483647 w 363"/>
                <a:gd name="T25" fmla="*/ 2147483647 h 285"/>
                <a:gd name="T26" fmla="*/ 2147483647 w 363"/>
                <a:gd name="T27" fmla="*/ 2147483647 h 285"/>
                <a:gd name="T28" fmla="*/ 2147483647 w 363"/>
                <a:gd name="T29" fmla="*/ 2147483647 h 285"/>
                <a:gd name="T30" fmla="*/ 2147483647 w 363"/>
                <a:gd name="T31" fmla="*/ 2147483647 h 285"/>
                <a:gd name="T32" fmla="*/ 2147483647 w 363"/>
                <a:gd name="T33" fmla="*/ 2147483647 h 285"/>
                <a:gd name="T34" fmla="*/ 2147483647 w 363"/>
                <a:gd name="T35" fmla="*/ 2147483647 h 285"/>
                <a:gd name="T36" fmla="*/ 2147483647 w 363"/>
                <a:gd name="T37" fmla="*/ 2147483647 h 285"/>
                <a:gd name="T38" fmla="*/ 2147483647 w 363"/>
                <a:gd name="T39" fmla="*/ 2147483647 h 285"/>
                <a:gd name="T40" fmla="*/ 2147483647 w 363"/>
                <a:gd name="T41" fmla="*/ 2147483647 h 285"/>
                <a:gd name="T42" fmla="*/ 2147483647 w 363"/>
                <a:gd name="T43" fmla="*/ 2147483647 h 285"/>
                <a:gd name="T44" fmla="*/ 2147483647 w 363"/>
                <a:gd name="T45" fmla="*/ 2147483647 h 285"/>
                <a:gd name="T46" fmla="*/ 2147483647 w 363"/>
                <a:gd name="T47" fmla="*/ 2147483647 h 285"/>
                <a:gd name="T48" fmla="*/ 2147483647 w 363"/>
                <a:gd name="T49" fmla="*/ 2147483647 h 285"/>
                <a:gd name="T50" fmla="*/ 2147483647 w 363"/>
                <a:gd name="T51" fmla="*/ 2147483647 h 285"/>
                <a:gd name="T52" fmla="*/ 2147483647 w 363"/>
                <a:gd name="T53" fmla="*/ 2147483647 h 285"/>
                <a:gd name="T54" fmla="*/ 2147483647 w 363"/>
                <a:gd name="T55" fmla="*/ 2147483647 h 285"/>
                <a:gd name="T56" fmla="*/ 2147483647 w 363"/>
                <a:gd name="T57" fmla="*/ 2147483647 h 285"/>
                <a:gd name="T58" fmla="*/ 2147483647 w 363"/>
                <a:gd name="T59" fmla="*/ 2147483647 h 285"/>
                <a:gd name="T60" fmla="*/ 2147483647 w 363"/>
                <a:gd name="T61" fmla="*/ 2147483647 h 285"/>
                <a:gd name="T62" fmla="*/ 2147483647 w 363"/>
                <a:gd name="T63" fmla="*/ 2147483647 h 285"/>
                <a:gd name="T64" fmla="*/ 2147483647 w 363"/>
                <a:gd name="T65" fmla="*/ 2147483647 h 285"/>
                <a:gd name="T66" fmla="*/ 2147483647 w 363"/>
                <a:gd name="T67" fmla="*/ 2147483647 h 285"/>
                <a:gd name="T68" fmla="*/ 2147483647 w 363"/>
                <a:gd name="T69" fmla="*/ 2147483647 h 285"/>
                <a:gd name="T70" fmla="*/ 0 w 363"/>
                <a:gd name="T71" fmla="*/ 2147483647 h 285"/>
                <a:gd name="T72" fmla="*/ 2147483647 w 363"/>
                <a:gd name="T73" fmla="*/ 2147483647 h 285"/>
                <a:gd name="T74" fmla="*/ 2147483647 w 363"/>
                <a:gd name="T75" fmla="*/ 2147483647 h 285"/>
                <a:gd name="T76" fmla="*/ 2147483647 w 363"/>
                <a:gd name="T77" fmla="*/ 2147483647 h 285"/>
                <a:gd name="T78" fmla="*/ 2147483647 w 363"/>
                <a:gd name="T79" fmla="*/ 2147483647 h 285"/>
                <a:gd name="T80" fmla="*/ 2147483647 w 363"/>
                <a:gd name="T81" fmla="*/ 2147483647 h 285"/>
                <a:gd name="T82" fmla="*/ 2147483647 w 363"/>
                <a:gd name="T83" fmla="*/ 2147483647 h 285"/>
                <a:gd name="T84" fmla="*/ 2147483647 w 363"/>
                <a:gd name="T85" fmla="*/ 2147483647 h 285"/>
                <a:gd name="T86" fmla="*/ 2147483647 w 363"/>
                <a:gd name="T87" fmla="*/ 2147483647 h 285"/>
                <a:gd name="T88" fmla="*/ 2147483647 w 363"/>
                <a:gd name="T89" fmla="*/ 2147483647 h 285"/>
                <a:gd name="T90" fmla="*/ 2147483647 w 363"/>
                <a:gd name="T91" fmla="*/ 2147483647 h 2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63" h="285">
                  <a:moveTo>
                    <a:pt x="222" y="194"/>
                  </a:moveTo>
                  <a:lnTo>
                    <a:pt x="237" y="195"/>
                  </a:lnTo>
                  <a:lnTo>
                    <a:pt x="245" y="194"/>
                  </a:lnTo>
                  <a:lnTo>
                    <a:pt x="247" y="194"/>
                  </a:lnTo>
                  <a:lnTo>
                    <a:pt x="248" y="193"/>
                  </a:lnTo>
                  <a:lnTo>
                    <a:pt x="248" y="183"/>
                  </a:lnTo>
                  <a:lnTo>
                    <a:pt x="250" y="178"/>
                  </a:lnTo>
                  <a:lnTo>
                    <a:pt x="251" y="177"/>
                  </a:lnTo>
                  <a:lnTo>
                    <a:pt x="253" y="175"/>
                  </a:lnTo>
                  <a:lnTo>
                    <a:pt x="257" y="175"/>
                  </a:lnTo>
                  <a:lnTo>
                    <a:pt x="258" y="173"/>
                  </a:lnTo>
                  <a:lnTo>
                    <a:pt x="260" y="172"/>
                  </a:lnTo>
                  <a:lnTo>
                    <a:pt x="260" y="169"/>
                  </a:lnTo>
                  <a:lnTo>
                    <a:pt x="260" y="168"/>
                  </a:lnTo>
                  <a:lnTo>
                    <a:pt x="261" y="165"/>
                  </a:lnTo>
                  <a:lnTo>
                    <a:pt x="262" y="164"/>
                  </a:lnTo>
                  <a:lnTo>
                    <a:pt x="266" y="163"/>
                  </a:lnTo>
                  <a:lnTo>
                    <a:pt x="271" y="163"/>
                  </a:lnTo>
                  <a:lnTo>
                    <a:pt x="272" y="162"/>
                  </a:lnTo>
                  <a:lnTo>
                    <a:pt x="273" y="160"/>
                  </a:lnTo>
                  <a:lnTo>
                    <a:pt x="273" y="150"/>
                  </a:lnTo>
                  <a:lnTo>
                    <a:pt x="275" y="143"/>
                  </a:lnTo>
                  <a:lnTo>
                    <a:pt x="276" y="138"/>
                  </a:lnTo>
                  <a:lnTo>
                    <a:pt x="278" y="133"/>
                  </a:lnTo>
                  <a:lnTo>
                    <a:pt x="281" y="129"/>
                  </a:lnTo>
                  <a:lnTo>
                    <a:pt x="288" y="122"/>
                  </a:lnTo>
                  <a:lnTo>
                    <a:pt x="298" y="112"/>
                  </a:lnTo>
                  <a:lnTo>
                    <a:pt x="363" y="51"/>
                  </a:lnTo>
                  <a:lnTo>
                    <a:pt x="361" y="46"/>
                  </a:lnTo>
                  <a:lnTo>
                    <a:pt x="356" y="38"/>
                  </a:lnTo>
                  <a:lnTo>
                    <a:pt x="351" y="33"/>
                  </a:lnTo>
                  <a:lnTo>
                    <a:pt x="347" y="30"/>
                  </a:lnTo>
                  <a:lnTo>
                    <a:pt x="332" y="22"/>
                  </a:lnTo>
                  <a:lnTo>
                    <a:pt x="322" y="17"/>
                  </a:lnTo>
                  <a:lnTo>
                    <a:pt x="317" y="15"/>
                  </a:lnTo>
                  <a:lnTo>
                    <a:pt x="310" y="13"/>
                  </a:lnTo>
                  <a:lnTo>
                    <a:pt x="303" y="11"/>
                  </a:lnTo>
                  <a:lnTo>
                    <a:pt x="297" y="7"/>
                  </a:lnTo>
                  <a:lnTo>
                    <a:pt x="291" y="3"/>
                  </a:lnTo>
                  <a:lnTo>
                    <a:pt x="285" y="1"/>
                  </a:lnTo>
                  <a:lnTo>
                    <a:pt x="280" y="0"/>
                  </a:lnTo>
                  <a:lnTo>
                    <a:pt x="276" y="1"/>
                  </a:lnTo>
                  <a:lnTo>
                    <a:pt x="272" y="3"/>
                  </a:lnTo>
                  <a:lnTo>
                    <a:pt x="271" y="8"/>
                  </a:lnTo>
                  <a:lnTo>
                    <a:pt x="268" y="11"/>
                  </a:lnTo>
                  <a:lnTo>
                    <a:pt x="266" y="13"/>
                  </a:lnTo>
                  <a:lnTo>
                    <a:pt x="260" y="16"/>
                  </a:lnTo>
                  <a:lnTo>
                    <a:pt x="253" y="20"/>
                  </a:lnTo>
                  <a:lnTo>
                    <a:pt x="251" y="22"/>
                  </a:lnTo>
                  <a:lnTo>
                    <a:pt x="250" y="26"/>
                  </a:lnTo>
                  <a:lnTo>
                    <a:pt x="247" y="31"/>
                  </a:lnTo>
                  <a:lnTo>
                    <a:pt x="243" y="35"/>
                  </a:lnTo>
                  <a:lnTo>
                    <a:pt x="240" y="38"/>
                  </a:lnTo>
                  <a:lnTo>
                    <a:pt x="236" y="41"/>
                  </a:lnTo>
                  <a:lnTo>
                    <a:pt x="225" y="46"/>
                  </a:lnTo>
                  <a:lnTo>
                    <a:pt x="215" y="51"/>
                  </a:lnTo>
                  <a:lnTo>
                    <a:pt x="210" y="53"/>
                  </a:lnTo>
                  <a:lnTo>
                    <a:pt x="204" y="54"/>
                  </a:lnTo>
                  <a:lnTo>
                    <a:pt x="191" y="56"/>
                  </a:lnTo>
                  <a:lnTo>
                    <a:pt x="179" y="56"/>
                  </a:lnTo>
                  <a:lnTo>
                    <a:pt x="166" y="54"/>
                  </a:lnTo>
                  <a:lnTo>
                    <a:pt x="154" y="52"/>
                  </a:lnTo>
                  <a:lnTo>
                    <a:pt x="140" y="47"/>
                  </a:lnTo>
                  <a:lnTo>
                    <a:pt x="114" y="35"/>
                  </a:lnTo>
                  <a:lnTo>
                    <a:pt x="110" y="32"/>
                  </a:lnTo>
                  <a:lnTo>
                    <a:pt x="105" y="33"/>
                  </a:lnTo>
                  <a:lnTo>
                    <a:pt x="102" y="35"/>
                  </a:lnTo>
                  <a:lnTo>
                    <a:pt x="99" y="38"/>
                  </a:lnTo>
                  <a:lnTo>
                    <a:pt x="91" y="44"/>
                  </a:lnTo>
                  <a:lnTo>
                    <a:pt x="87" y="46"/>
                  </a:lnTo>
                  <a:lnTo>
                    <a:pt x="81" y="47"/>
                  </a:lnTo>
                  <a:lnTo>
                    <a:pt x="75" y="46"/>
                  </a:lnTo>
                  <a:lnTo>
                    <a:pt x="71" y="46"/>
                  </a:lnTo>
                  <a:lnTo>
                    <a:pt x="69" y="46"/>
                  </a:lnTo>
                  <a:lnTo>
                    <a:pt x="65" y="48"/>
                  </a:lnTo>
                  <a:lnTo>
                    <a:pt x="64" y="52"/>
                  </a:lnTo>
                  <a:lnTo>
                    <a:pt x="61" y="54"/>
                  </a:lnTo>
                  <a:lnTo>
                    <a:pt x="59" y="56"/>
                  </a:lnTo>
                  <a:lnTo>
                    <a:pt x="55" y="56"/>
                  </a:lnTo>
                  <a:lnTo>
                    <a:pt x="45" y="61"/>
                  </a:lnTo>
                  <a:lnTo>
                    <a:pt x="38" y="63"/>
                  </a:lnTo>
                  <a:lnTo>
                    <a:pt x="35" y="63"/>
                  </a:lnTo>
                  <a:lnTo>
                    <a:pt x="34" y="64"/>
                  </a:lnTo>
                  <a:lnTo>
                    <a:pt x="31" y="66"/>
                  </a:lnTo>
                  <a:lnTo>
                    <a:pt x="26" y="67"/>
                  </a:lnTo>
                  <a:lnTo>
                    <a:pt x="21" y="67"/>
                  </a:lnTo>
                  <a:lnTo>
                    <a:pt x="20" y="68"/>
                  </a:lnTo>
                  <a:lnTo>
                    <a:pt x="19" y="68"/>
                  </a:lnTo>
                  <a:lnTo>
                    <a:pt x="18" y="72"/>
                  </a:lnTo>
                  <a:lnTo>
                    <a:pt x="18" y="74"/>
                  </a:lnTo>
                  <a:lnTo>
                    <a:pt x="23" y="81"/>
                  </a:lnTo>
                  <a:lnTo>
                    <a:pt x="28" y="87"/>
                  </a:lnTo>
                  <a:lnTo>
                    <a:pt x="29" y="89"/>
                  </a:lnTo>
                  <a:lnTo>
                    <a:pt x="28" y="93"/>
                  </a:lnTo>
                  <a:lnTo>
                    <a:pt x="26" y="96"/>
                  </a:lnTo>
                  <a:lnTo>
                    <a:pt x="24" y="97"/>
                  </a:lnTo>
                  <a:lnTo>
                    <a:pt x="21" y="96"/>
                  </a:lnTo>
                  <a:lnTo>
                    <a:pt x="19" y="94"/>
                  </a:lnTo>
                  <a:lnTo>
                    <a:pt x="13" y="89"/>
                  </a:lnTo>
                  <a:lnTo>
                    <a:pt x="10" y="87"/>
                  </a:lnTo>
                  <a:lnTo>
                    <a:pt x="8" y="87"/>
                  </a:lnTo>
                  <a:lnTo>
                    <a:pt x="4" y="88"/>
                  </a:lnTo>
                  <a:lnTo>
                    <a:pt x="1" y="89"/>
                  </a:lnTo>
                  <a:lnTo>
                    <a:pt x="1" y="91"/>
                  </a:lnTo>
                  <a:lnTo>
                    <a:pt x="3" y="93"/>
                  </a:lnTo>
                  <a:lnTo>
                    <a:pt x="3" y="98"/>
                  </a:lnTo>
                  <a:lnTo>
                    <a:pt x="3" y="101"/>
                  </a:lnTo>
                  <a:lnTo>
                    <a:pt x="0" y="104"/>
                  </a:lnTo>
                  <a:lnTo>
                    <a:pt x="0" y="109"/>
                  </a:lnTo>
                  <a:lnTo>
                    <a:pt x="18" y="142"/>
                  </a:lnTo>
                  <a:lnTo>
                    <a:pt x="26" y="157"/>
                  </a:lnTo>
                  <a:lnTo>
                    <a:pt x="35" y="173"/>
                  </a:lnTo>
                  <a:lnTo>
                    <a:pt x="39" y="178"/>
                  </a:lnTo>
                  <a:lnTo>
                    <a:pt x="41" y="184"/>
                  </a:lnTo>
                  <a:lnTo>
                    <a:pt x="45" y="198"/>
                  </a:lnTo>
                  <a:lnTo>
                    <a:pt x="49" y="212"/>
                  </a:lnTo>
                  <a:lnTo>
                    <a:pt x="53" y="218"/>
                  </a:lnTo>
                  <a:lnTo>
                    <a:pt x="58" y="224"/>
                  </a:lnTo>
                  <a:lnTo>
                    <a:pt x="60" y="229"/>
                  </a:lnTo>
                  <a:lnTo>
                    <a:pt x="64" y="234"/>
                  </a:lnTo>
                  <a:lnTo>
                    <a:pt x="67" y="247"/>
                  </a:lnTo>
                  <a:lnTo>
                    <a:pt x="71" y="258"/>
                  </a:lnTo>
                  <a:lnTo>
                    <a:pt x="75" y="263"/>
                  </a:lnTo>
                  <a:lnTo>
                    <a:pt x="79" y="266"/>
                  </a:lnTo>
                  <a:lnTo>
                    <a:pt x="84" y="269"/>
                  </a:lnTo>
                  <a:lnTo>
                    <a:pt x="89" y="269"/>
                  </a:lnTo>
                  <a:lnTo>
                    <a:pt x="95" y="270"/>
                  </a:lnTo>
                  <a:lnTo>
                    <a:pt x="101" y="271"/>
                  </a:lnTo>
                  <a:lnTo>
                    <a:pt x="106" y="274"/>
                  </a:lnTo>
                  <a:lnTo>
                    <a:pt x="110" y="278"/>
                  </a:lnTo>
                  <a:lnTo>
                    <a:pt x="114" y="281"/>
                  </a:lnTo>
                  <a:lnTo>
                    <a:pt x="119" y="285"/>
                  </a:lnTo>
                  <a:lnTo>
                    <a:pt x="156" y="252"/>
                  </a:lnTo>
                  <a:lnTo>
                    <a:pt x="192" y="215"/>
                  </a:lnTo>
                  <a:lnTo>
                    <a:pt x="206" y="202"/>
                  </a:lnTo>
                  <a:lnTo>
                    <a:pt x="214" y="197"/>
                  </a:lnTo>
                  <a:lnTo>
                    <a:pt x="219" y="195"/>
                  </a:lnTo>
                  <a:lnTo>
                    <a:pt x="221" y="194"/>
                  </a:lnTo>
                  <a:lnTo>
                    <a:pt x="222" y="194"/>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Mariposa</a:t>
              </a:r>
            </a:p>
          </p:txBody>
        </p:sp>
        <p:sp>
          <p:nvSpPr>
            <p:cNvPr id="60" name="Sierra"/>
            <p:cNvSpPr>
              <a:spLocks/>
            </p:cNvSpPr>
            <p:nvPr/>
          </p:nvSpPr>
          <p:spPr bwMode="auto">
            <a:xfrm>
              <a:off x="2530542" y="3718884"/>
              <a:ext cx="732067" cy="308612"/>
            </a:xfrm>
            <a:custGeom>
              <a:avLst/>
              <a:gdLst>
                <a:gd name="T0" fmla="*/ 2147483647 w 348"/>
                <a:gd name="T1" fmla="*/ 2147483647 h 154"/>
                <a:gd name="T2" fmla="*/ 2147483647 w 348"/>
                <a:gd name="T3" fmla="*/ 2147483647 h 154"/>
                <a:gd name="T4" fmla="*/ 2147483647 w 348"/>
                <a:gd name="T5" fmla="*/ 2147483647 h 154"/>
                <a:gd name="T6" fmla="*/ 2147483647 w 348"/>
                <a:gd name="T7" fmla="*/ 2147483647 h 154"/>
                <a:gd name="T8" fmla="*/ 2147483647 w 348"/>
                <a:gd name="T9" fmla="*/ 2147483647 h 154"/>
                <a:gd name="T10" fmla="*/ 2147483647 w 348"/>
                <a:gd name="T11" fmla="*/ 2147483647 h 154"/>
                <a:gd name="T12" fmla="*/ 2147483647 w 348"/>
                <a:gd name="T13" fmla="*/ 2147483647 h 154"/>
                <a:gd name="T14" fmla="*/ 2147483647 w 348"/>
                <a:gd name="T15" fmla="*/ 2147483647 h 154"/>
                <a:gd name="T16" fmla="*/ 2147483647 w 348"/>
                <a:gd name="T17" fmla="*/ 2147483647 h 154"/>
                <a:gd name="T18" fmla="*/ 2147483647 w 348"/>
                <a:gd name="T19" fmla="*/ 2147483647 h 154"/>
                <a:gd name="T20" fmla="*/ 2147483647 w 348"/>
                <a:gd name="T21" fmla="*/ 2147483647 h 154"/>
                <a:gd name="T22" fmla="*/ 2147483647 w 348"/>
                <a:gd name="T23" fmla="*/ 2147483647 h 154"/>
                <a:gd name="T24" fmla="*/ 2147483647 w 348"/>
                <a:gd name="T25" fmla="*/ 2147483647 h 154"/>
                <a:gd name="T26" fmla="*/ 2147483647 w 348"/>
                <a:gd name="T27" fmla="*/ 2147483647 h 154"/>
                <a:gd name="T28" fmla="*/ 2147483647 w 348"/>
                <a:gd name="T29" fmla="*/ 2147483647 h 154"/>
                <a:gd name="T30" fmla="*/ 2147483647 w 348"/>
                <a:gd name="T31" fmla="*/ 2147483647 h 154"/>
                <a:gd name="T32" fmla="*/ 2147483647 w 348"/>
                <a:gd name="T33" fmla="*/ 2147483647 h 154"/>
                <a:gd name="T34" fmla="*/ 2147483647 w 348"/>
                <a:gd name="T35" fmla="*/ 2147483647 h 154"/>
                <a:gd name="T36" fmla="*/ 2147483647 w 348"/>
                <a:gd name="T37" fmla="*/ 2147483647 h 154"/>
                <a:gd name="T38" fmla="*/ 2147483647 w 348"/>
                <a:gd name="T39" fmla="*/ 2147483647 h 154"/>
                <a:gd name="T40" fmla="*/ 2147483647 w 348"/>
                <a:gd name="T41" fmla="*/ 2147483647 h 154"/>
                <a:gd name="T42" fmla="*/ 2147483647 w 348"/>
                <a:gd name="T43" fmla="*/ 2147483647 h 154"/>
                <a:gd name="T44" fmla="*/ 2147483647 w 348"/>
                <a:gd name="T45" fmla="*/ 2147483647 h 154"/>
                <a:gd name="T46" fmla="*/ 2147483647 w 348"/>
                <a:gd name="T47" fmla="*/ 2147483647 h 154"/>
                <a:gd name="T48" fmla="*/ 0 w 348"/>
                <a:gd name="T49" fmla="*/ 2147483647 h 154"/>
                <a:gd name="T50" fmla="*/ 2147483647 w 348"/>
                <a:gd name="T51" fmla="*/ 2147483647 h 154"/>
                <a:gd name="T52" fmla="*/ 2147483647 w 348"/>
                <a:gd name="T53" fmla="*/ 2147483647 h 154"/>
                <a:gd name="T54" fmla="*/ 2147483647 w 348"/>
                <a:gd name="T55" fmla="*/ 2147483647 h 154"/>
                <a:gd name="T56" fmla="*/ 2147483647 w 348"/>
                <a:gd name="T57" fmla="*/ 2147483647 h 154"/>
                <a:gd name="T58" fmla="*/ 2147483647 w 348"/>
                <a:gd name="T59" fmla="*/ 2147483647 h 154"/>
                <a:gd name="T60" fmla="*/ 2147483647 w 348"/>
                <a:gd name="T61" fmla="*/ 2147483647 h 154"/>
                <a:gd name="T62" fmla="*/ 2147483647 w 348"/>
                <a:gd name="T63" fmla="*/ 2147483647 h 154"/>
                <a:gd name="T64" fmla="*/ 2147483647 w 348"/>
                <a:gd name="T65" fmla="*/ 2147483647 h 154"/>
                <a:gd name="T66" fmla="*/ 2147483647 w 348"/>
                <a:gd name="T67" fmla="*/ 2147483647 h 154"/>
                <a:gd name="T68" fmla="*/ 2147483647 w 348"/>
                <a:gd name="T69" fmla="*/ 2147483647 h 154"/>
                <a:gd name="T70" fmla="*/ 2147483647 w 348"/>
                <a:gd name="T71" fmla="*/ 2147483647 h 154"/>
                <a:gd name="T72" fmla="*/ 2147483647 w 348"/>
                <a:gd name="T73" fmla="*/ 2147483647 h 154"/>
                <a:gd name="T74" fmla="*/ 2147483647 w 348"/>
                <a:gd name="T75" fmla="*/ 2147483647 h 154"/>
                <a:gd name="T76" fmla="*/ 2147483647 w 348"/>
                <a:gd name="T77" fmla="*/ 2147483647 h 154"/>
                <a:gd name="T78" fmla="*/ 2147483647 w 348"/>
                <a:gd name="T79" fmla="*/ 2147483647 h 154"/>
                <a:gd name="T80" fmla="*/ 2147483647 w 348"/>
                <a:gd name="T81" fmla="*/ 2147483647 h 154"/>
                <a:gd name="T82" fmla="*/ 2147483647 w 348"/>
                <a:gd name="T83" fmla="*/ 2147483647 h 154"/>
                <a:gd name="T84" fmla="*/ 2147483647 w 348"/>
                <a:gd name="T85" fmla="*/ 2147483647 h 154"/>
                <a:gd name="T86" fmla="*/ 2147483647 w 348"/>
                <a:gd name="T87" fmla="*/ 2147483647 h 154"/>
                <a:gd name="T88" fmla="*/ 2147483647 w 348"/>
                <a:gd name="T89" fmla="*/ 2147483647 h 154"/>
                <a:gd name="T90" fmla="*/ 2147483647 w 348"/>
                <a:gd name="T91" fmla="*/ 2147483647 h 154"/>
                <a:gd name="T92" fmla="*/ 2147483647 w 348"/>
                <a:gd name="T93" fmla="*/ 2147483647 h 15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48" h="154">
                  <a:moveTo>
                    <a:pt x="342" y="25"/>
                  </a:moveTo>
                  <a:lnTo>
                    <a:pt x="321" y="25"/>
                  </a:lnTo>
                  <a:lnTo>
                    <a:pt x="299" y="25"/>
                  </a:lnTo>
                  <a:lnTo>
                    <a:pt x="241" y="25"/>
                  </a:lnTo>
                  <a:lnTo>
                    <a:pt x="203" y="25"/>
                  </a:lnTo>
                  <a:lnTo>
                    <a:pt x="200" y="27"/>
                  </a:lnTo>
                  <a:lnTo>
                    <a:pt x="196" y="28"/>
                  </a:lnTo>
                  <a:lnTo>
                    <a:pt x="193" y="29"/>
                  </a:lnTo>
                  <a:lnTo>
                    <a:pt x="180" y="30"/>
                  </a:lnTo>
                  <a:lnTo>
                    <a:pt x="165" y="30"/>
                  </a:lnTo>
                  <a:lnTo>
                    <a:pt x="136" y="29"/>
                  </a:lnTo>
                  <a:lnTo>
                    <a:pt x="133" y="29"/>
                  </a:lnTo>
                  <a:lnTo>
                    <a:pt x="131" y="32"/>
                  </a:lnTo>
                  <a:lnTo>
                    <a:pt x="127" y="37"/>
                  </a:lnTo>
                  <a:lnTo>
                    <a:pt x="125" y="38"/>
                  </a:lnTo>
                  <a:lnTo>
                    <a:pt x="122" y="38"/>
                  </a:lnTo>
                  <a:lnTo>
                    <a:pt x="119" y="35"/>
                  </a:lnTo>
                  <a:lnTo>
                    <a:pt x="115" y="33"/>
                  </a:lnTo>
                  <a:lnTo>
                    <a:pt x="110" y="30"/>
                  </a:lnTo>
                  <a:lnTo>
                    <a:pt x="104" y="28"/>
                  </a:lnTo>
                  <a:lnTo>
                    <a:pt x="96" y="27"/>
                  </a:lnTo>
                  <a:lnTo>
                    <a:pt x="89" y="27"/>
                  </a:lnTo>
                  <a:lnTo>
                    <a:pt x="82" y="25"/>
                  </a:lnTo>
                  <a:lnTo>
                    <a:pt x="79" y="23"/>
                  </a:lnTo>
                  <a:lnTo>
                    <a:pt x="76" y="20"/>
                  </a:lnTo>
                  <a:lnTo>
                    <a:pt x="71" y="12"/>
                  </a:lnTo>
                  <a:lnTo>
                    <a:pt x="66" y="4"/>
                  </a:lnTo>
                  <a:lnTo>
                    <a:pt x="62" y="2"/>
                  </a:lnTo>
                  <a:lnTo>
                    <a:pt x="59" y="0"/>
                  </a:lnTo>
                  <a:lnTo>
                    <a:pt x="56" y="2"/>
                  </a:lnTo>
                  <a:lnTo>
                    <a:pt x="52" y="3"/>
                  </a:lnTo>
                  <a:lnTo>
                    <a:pt x="45" y="8"/>
                  </a:lnTo>
                  <a:lnTo>
                    <a:pt x="40" y="14"/>
                  </a:lnTo>
                  <a:lnTo>
                    <a:pt x="37" y="18"/>
                  </a:lnTo>
                  <a:lnTo>
                    <a:pt x="36" y="22"/>
                  </a:lnTo>
                  <a:lnTo>
                    <a:pt x="34" y="33"/>
                  </a:lnTo>
                  <a:lnTo>
                    <a:pt x="30" y="43"/>
                  </a:lnTo>
                  <a:lnTo>
                    <a:pt x="26" y="47"/>
                  </a:lnTo>
                  <a:lnTo>
                    <a:pt x="22" y="50"/>
                  </a:lnTo>
                  <a:lnTo>
                    <a:pt x="17" y="54"/>
                  </a:lnTo>
                  <a:lnTo>
                    <a:pt x="11" y="58"/>
                  </a:lnTo>
                  <a:lnTo>
                    <a:pt x="14" y="73"/>
                  </a:lnTo>
                  <a:lnTo>
                    <a:pt x="14" y="81"/>
                  </a:lnTo>
                  <a:lnTo>
                    <a:pt x="12" y="88"/>
                  </a:lnTo>
                  <a:lnTo>
                    <a:pt x="11" y="90"/>
                  </a:lnTo>
                  <a:lnTo>
                    <a:pt x="9" y="91"/>
                  </a:lnTo>
                  <a:lnTo>
                    <a:pt x="5" y="94"/>
                  </a:lnTo>
                  <a:lnTo>
                    <a:pt x="2" y="95"/>
                  </a:lnTo>
                  <a:lnTo>
                    <a:pt x="1" y="96"/>
                  </a:lnTo>
                  <a:lnTo>
                    <a:pt x="0" y="99"/>
                  </a:lnTo>
                  <a:lnTo>
                    <a:pt x="0" y="103"/>
                  </a:lnTo>
                  <a:lnTo>
                    <a:pt x="2" y="105"/>
                  </a:lnTo>
                  <a:lnTo>
                    <a:pt x="5" y="111"/>
                  </a:lnTo>
                  <a:lnTo>
                    <a:pt x="6" y="119"/>
                  </a:lnTo>
                  <a:lnTo>
                    <a:pt x="6" y="126"/>
                  </a:lnTo>
                  <a:lnTo>
                    <a:pt x="7" y="154"/>
                  </a:lnTo>
                  <a:lnTo>
                    <a:pt x="16" y="151"/>
                  </a:lnTo>
                  <a:lnTo>
                    <a:pt x="25" y="148"/>
                  </a:lnTo>
                  <a:lnTo>
                    <a:pt x="35" y="143"/>
                  </a:lnTo>
                  <a:lnTo>
                    <a:pt x="45" y="140"/>
                  </a:lnTo>
                  <a:lnTo>
                    <a:pt x="67" y="136"/>
                  </a:lnTo>
                  <a:lnTo>
                    <a:pt x="90" y="131"/>
                  </a:lnTo>
                  <a:lnTo>
                    <a:pt x="95" y="130"/>
                  </a:lnTo>
                  <a:lnTo>
                    <a:pt x="99" y="128"/>
                  </a:lnTo>
                  <a:lnTo>
                    <a:pt x="104" y="121"/>
                  </a:lnTo>
                  <a:lnTo>
                    <a:pt x="109" y="114"/>
                  </a:lnTo>
                  <a:lnTo>
                    <a:pt x="111" y="113"/>
                  </a:lnTo>
                  <a:lnTo>
                    <a:pt x="115" y="110"/>
                  </a:lnTo>
                  <a:lnTo>
                    <a:pt x="131" y="105"/>
                  </a:lnTo>
                  <a:lnTo>
                    <a:pt x="138" y="103"/>
                  </a:lnTo>
                  <a:lnTo>
                    <a:pt x="148" y="103"/>
                  </a:lnTo>
                  <a:lnTo>
                    <a:pt x="153" y="103"/>
                  </a:lnTo>
                  <a:lnTo>
                    <a:pt x="157" y="104"/>
                  </a:lnTo>
                  <a:lnTo>
                    <a:pt x="160" y="106"/>
                  </a:lnTo>
                  <a:lnTo>
                    <a:pt x="162" y="109"/>
                  </a:lnTo>
                  <a:lnTo>
                    <a:pt x="166" y="116"/>
                  </a:lnTo>
                  <a:lnTo>
                    <a:pt x="171" y="124"/>
                  </a:lnTo>
                  <a:lnTo>
                    <a:pt x="175" y="128"/>
                  </a:lnTo>
                  <a:lnTo>
                    <a:pt x="178" y="130"/>
                  </a:lnTo>
                  <a:lnTo>
                    <a:pt x="183" y="133"/>
                  </a:lnTo>
                  <a:lnTo>
                    <a:pt x="188" y="134"/>
                  </a:lnTo>
                  <a:lnTo>
                    <a:pt x="200" y="134"/>
                  </a:lnTo>
                  <a:lnTo>
                    <a:pt x="211" y="134"/>
                  </a:lnTo>
                  <a:lnTo>
                    <a:pt x="280" y="133"/>
                  </a:lnTo>
                  <a:lnTo>
                    <a:pt x="348" y="133"/>
                  </a:lnTo>
                  <a:lnTo>
                    <a:pt x="348" y="121"/>
                  </a:lnTo>
                  <a:lnTo>
                    <a:pt x="348" y="94"/>
                  </a:lnTo>
                  <a:lnTo>
                    <a:pt x="348" y="58"/>
                  </a:lnTo>
                  <a:lnTo>
                    <a:pt x="348" y="38"/>
                  </a:lnTo>
                  <a:lnTo>
                    <a:pt x="348" y="22"/>
                  </a:lnTo>
                  <a:lnTo>
                    <a:pt x="346" y="20"/>
                  </a:lnTo>
                  <a:lnTo>
                    <a:pt x="343" y="22"/>
                  </a:lnTo>
                  <a:lnTo>
                    <a:pt x="342" y="23"/>
                  </a:lnTo>
                  <a:lnTo>
                    <a:pt x="342" y="24"/>
                  </a:lnTo>
                  <a:lnTo>
                    <a:pt x="342" y="25"/>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ierra</a:t>
              </a:r>
            </a:p>
          </p:txBody>
        </p:sp>
        <p:sp>
          <p:nvSpPr>
            <p:cNvPr id="61" name="Plumas"/>
            <p:cNvSpPr>
              <a:spLocks/>
            </p:cNvSpPr>
            <p:nvPr/>
          </p:nvSpPr>
          <p:spPr bwMode="auto">
            <a:xfrm>
              <a:off x="2206583" y="3177814"/>
              <a:ext cx="982399" cy="687360"/>
            </a:xfrm>
            <a:custGeom>
              <a:avLst/>
              <a:gdLst>
                <a:gd name="T0" fmla="*/ 2147483647 w 467"/>
                <a:gd name="T1" fmla="*/ 2147483647 h 343"/>
                <a:gd name="T2" fmla="*/ 2147483647 w 467"/>
                <a:gd name="T3" fmla="*/ 2147483647 h 343"/>
                <a:gd name="T4" fmla="*/ 2147483647 w 467"/>
                <a:gd name="T5" fmla="*/ 2147483647 h 343"/>
                <a:gd name="T6" fmla="*/ 2147483647 w 467"/>
                <a:gd name="T7" fmla="*/ 2147483647 h 343"/>
                <a:gd name="T8" fmla="*/ 2147483647 w 467"/>
                <a:gd name="T9" fmla="*/ 2147483647 h 343"/>
                <a:gd name="T10" fmla="*/ 2147483647 w 467"/>
                <a:gd name="T11" fmla="*/ 2147483647 h 343"/>
                <a:gd name="T12" fmla="*/ 2147483647 w 467"/>
                <a:gd name="T13" fmla="*/ 2147483647 h 343"/>
                <a:gd name="T14" fmla="*/ 2147483647 w 467"/>
                <a:gd name="T15" fmla="*/ 2147483647 h 343"/>
                <a:gd name="T16" fmla="*/ 2147483647 w 467"/>
                <a:gd name="T17" fmla="*/ 2147483647 h 343"/>
                <a:gd name="T18" fmla="*/ 2147483647 w 467"/>
                <a:gd name="T19" fmla="*/ 2147483647 h 343"/>
                <a:gd name="T20" fmla="*/ 2147483647 w 467"/>
                <a:gd name="T21" fmla="*/ 2147483647 h 343"/>
                <a:gd name="T22" fmla="*/ 2147483647 w 467"/>
                <a:gd name="T23" fmla="*/ 2147483647 h 343"/>
                <a:gd name="T24" fmla="*/ 2147483647 w 467"/>
                <a:gd name="T25" fmla="*/ 2147483647 h 343"/>
                <a:gd name="T26" fmla="*/ 2147483647 w 467"/>
                <a:gd name="T27" fmla="*/ 2147483647 h 343"/>
                <a:gd name="T28" fmla="*/ 2147483647 w 467"/>
                <a:gd name="T29" fmla="*/ 2147483647 h 343"/>
                <a:gd name="T30" fmla="*/ 2147483647 w 467"/>
                <a:gd name="T31" fmla="*/ 2147483647 h 343"/>
                <a:gd name="T32" fmla="*/ 2147483647 w 467"/>
                <a:gd name="T33" fmla="*/ 2147483647 h 343"/>
                <a:gd name="T34" fmla="*/ 2147483647 w 467"/>
                <a:gd name="T35" fmla="*/ 2147483647 h 343"/>
                <a:gd name="T36" fmla="*/ 2147483647 w 467"/>
                <a:gd name="T37" fmla="*/ 2147483647 h 343"/>
                <a:gd name="T38" fmla="*/ 2147483647 w 467"/>
                <a:gd name="T39" fmla="*/ 2147483647 h 343"/>
                <a:gd name="T40" fmla="*/ 2147483647 w 467"/>
                <a:gd name="T41" fmla="*/ 2147483647 h 343"/>
                <a:gd name="T42" fmla="*/ 2147483647 w 467"/>
                <a:gd name="T43" fmla="*/ 2147483647 h 343"/>
                <a:gd name="T44" fmla="*/ 2147483647 w 467"/>
                <a:gd name="T45" fmla="*/ 2147483647 h 343"/>
                <a:gd name="T46" fmla="*/ 2147483647 w 467"/>
                <a:gd name="T47" fmla="*/ 2147483647 h 343"/>
                <a:gd name="T48" fmla="*/ 2147483647 w 467"/>
                <a:gd name="T49" fmla="*/ 2147483647 h 343"/>
                <a:gd name="T50" fmla="*/ 2147483647 w 467"/>
                <a:gd name="T51" fmla="*/ 2147483647 h 343"/>
                <a:gd name="T52" fmla="*/ 2147483647 w 467"/>
                <a:gd name="T53" fmla="*/ 2147483647 h 343"/>
                <a:gd name="T54" fmla="*/ 2147483647 w 467"/>
                <a:gd name="T55" fmla="*/ 2147483647 h 343"/>
                <a:gd name="T56" fmla="*/ 2147483647 w 467"/>
                <a:gd name="T57" fmla="*/ 2147483647 h 343"/>
                <a:gd name="T58" fmla="*/ 2147483647 w 467"/>
                <a:gd name="T59" fmla="*/ 2147483647 h 343"/>
                <a:gd name="T60" fmla="*/ 2147483647 w 467"/>
                <a:gd name="T61" fmla="*/ 2147483647 h 343"/>
                <a:gd name="T62" fmla="*/ 2147483647 w 467"/>
                <a:gd name="T63" fmla="*/ 2147483647 h 343"/>
                <a:gd name="T64" fmla="*/ 2147483647 w 467"/>
                <a:gd name="T65" fmla="*/ 2147483647 h 343"/>
                <a:gd name="T66" fmla="*/ 2147483647 w 467"/>
                <a:gd name="T67" fmla="*/ 2147483647 h 343"/>
                <a:gd name="T68" fmla="*/ 2147483647 w 467"/>
                <a:gd name="T69" fmla="*/ 2147483647 h 343"/>
                <a:gd name="T70" fmla="*/ 2147483647 w 467"/>
                <a:gd name="T71" fmla="*/ 2147483647 h 343"/>
                <a:gd name="T72" fmla="*/ 2147483647 w 467"/>
                <a:gd name="T73" fmla="*/ 2147483647 h 343"/>
                <a:gd name="T74" fmla="*/ 2147483647 w 467"/>
                <a:gd name="T75" fmla="*/ 2147483647 h 343"/>
                <a:gd name="T76" fmla="*/ 2147483647 w 467"/>
                <a:gd name="T77" fmla="*/ 2147483647 h 343"/>
                <a:gd name="T78" fmla="*/ 2147483647 w 467"/>
                <a:gd name="T79" fmla="*/ 2147483647 h 343"/>
                <a:gd name="T80" fmla="*/ 2147483647 w 467"/>
                <a:gd name="T81" fmla="*/ 2147483647 h 343"/>
                <a:gd name="T82" fmla="*/ 2147483647 w 467"/>
                <a:gd name="T83" fmla="*/ 2147483647 h 343"/>
                <a:gd name="T84" fmla="*/ 2147483647 w 467"/>
                <a:gd name="T85" fmla="*/ 2147483647 h 343"/>
                <a:gd name="T86" fmla="*/ 2147483647 w 467"/>
                <a:gd name="T87" fmla="*/ 2147483647 h 343"/>
                <a:gd name="T88" fmla="*/ 2147483647 w 467"/>
                <a:gd name="T89" fmla="*/ 0 h 343"/>
                <a:gd name="T90" fmla="*/ 2147483647 w 467"/>
                <a:gd name="T91" fmla="*/ 2147483647 h 343"/>
                <a:gd name="T92" fmla="*/ 2147483647 w 467"/>
                <a:gd name="T93" fmla="*/ 2147483647 h 343"/>
                <a:gd name="T94" fmla="*/ 2147483647 w 467"/>
                <a:gd name="T95" fmla="*/ 2147483647 h 343"/>
                <a:gd name="T96" fmla="*/ 2147483647 w 467"/>
                <a:gd name="T97" fmla="*/ 2147483647 h 343"/>
                <a:gd name="T98" fmla="*/ 2147483647 w 467"/>
                <a:gd name="T99" fmla="*/ 2147483647 h 343"/>
                <a:gd name="T100" fmla="*/ 2147483647 w 467"/>
                <a:gd name="T101" fmla="*/ 2147483647 h 343"/>
                <a:gd name="T102" fmla="*/ 2147483647 w 467"/>
                <a:gd name="T103" fmla="*/ 2147483647 h 3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67" h="343">
                  <a:moveTo>
                    <a:pt x="31" y="141"/>
                  </a:moveTo>
                  <a:lnTo>
                    <a:pt x="38" y="139"/>
                  </a:lnTo>
                  <a:lnTo>
                    <a:pt x="36" y="144"/>
                  </a:lnTo>
                  <a:lnTo>
                    <a:pt x="40" y="144"/>
                  </a:lnTo>
                  <a:lnTo>
                    <a:pt x="43" y="148"/>
                  </a:lnTo>
                  <a:lnTo>
                    <a:pt x="44" y="153"/>
                  </a:lnTo>
                  <a:lnTo>
                    <a:pt x="40" y="153"/>
                  </a:lnTo>
                  <a:lnTo>
                    <a:pt x="41" y="157"/>
                  </a:lnTo>
                  <a:lnTo>
                    <a:pt x="40" y="159"/>
                  </a:lnTo>
                  <a:lnTo>
                    <a:pt x="38" y="162"/>
                  </a:lnTo>
                  <a:lnTo>
                    <a:pt x="34" y="164"/>
                  </a:lnTo>
                  <a:lnTo>
                    <a:pt x="31" y="167"/>
                  </a:lnTo>
                  <a:lnTo>
                    <a:pt x="28" y="172"/>
                  </a:lnTo>
                  <a:lnTo>
                    <a:pt x="28" y="176"/>
                  </a:lnTo>
                  <a:lnTo>
                    <a:pt x="26" y="179"/>
                  </a:lnTo>
                  <a:lnTo>
                    <a:pt x="30" y="179"/>
                  </a:lnTo>
                  <a:lnTo>
                    <a:pt x="29" y="187"/>
                  </a:lnTo>
                  <a:lnTo>
                    <a:pt x="30" y="193"/>
                  </a:lnTo>
                  <a:lnTo>
                    <a:pt x="30" y="201"/>
                  </a:lnTo>
                  <a:lnTo>
                    <a:pt x="30" y="209"/>
                  </a:lnTo>
                  <a:lnTo>
                    <a:pt x="31" y="211"/>
                  </a:lnTo>
                  <a:lnTo>
                    <a:pt x="33" y="213"/>
                  </a:lnTo>
                  <a:lnTo>
                    <a:pt x="31" y="216"/>
                  </a:lnTo>
                  <a:lnTo>
                    <a:pt x="30" y="216"/>
                  </a:lnTo>
                  <a:lnTo>
                    <a:pt x="28" y="216"/>
                  </a:lnTo>
                  <a:lnTo>
                    <a:pt x="26" y="219"/>
                  </a:lnTo>
                  <a:lnTo>
                    <a:pt x="28" y="222"/>
                  </a:lnTo>
                  <a:lnTo>
                    <a:pt x="30" y="224"/>
                  </a:lnTo>
                  <a:lnTo>
                    <a:pt x="31" y="229"/>
                  </a:lnTo>
                  <a:lnTo>
                    <a:pt x="33" y="235"/>
                  </a:lnTo>
                  <a:lnTo>
                    <a:pt x="39" y="234"/>
                  </a:lnTo>
                  <a:lnTo>
                    <a:pt x="38" y="238"/>
                  </a:lnTo>
                  <a:lnTo>
                    <a:pt x="43" y="237"/>
                  </a:lnTo>
                  <a:lnTo>
                    <a:pt x="46" y="238"/>
                  </a:lnTo>
                  <a:lnTo>
                    <a:pt x="48" y="242"/>
                  </a:lnTo>
                  <a:lnTo>
                    <a:pt x="48" y="247"/>
                  </a:lnTo>
                  <a:lnTo>
                    <a:pt x="50" y="247"/>
                  </a:lnTo>
                  <a:lnTo>
                    <a:pt x="50" y="253"/>
                  </a:lnTo>
                  <a:lnTo>
                    <a:pt x="55" y="254"/>
                  </a:lnTo>
                  <a:lnTo>
                    <a:pt x="58" y="257"/>
                  </a:lnTo>
                  <a:lnTo>
                    <a:pt x="61" y="263"/>
                  </a:lnTo>
                  <a:lnTo>
                    <a:pt x="65" y="262"/>
                  </a:lnTo>
                  <a:lnTo>
                    <a:pt x="68" y="265"/>
                  </a:lnTo>
                  <a:lnTo>
                    <a:pt x="69" y="269"/>
                  </a:lnTo>
                  <a:lnTo>
                    <a:pt x="75" y="274"/>
                  </a:lnTo>
                  <a:lnTo>
                    <a:pt x="81" y="279"/>
                  </a:lnTo>
                  <a:lnTo>
                    <a:pt x="89" y="285"/>
                  </a:lnTo>
                  <a:lnTo>
                    <a:pt x="90" y="288"/>
                  </a:lnTo>
                  <a:lnTo>
                    <a:pt x="91" y="292"/>
                  </a:lnTo>
                  <a:lnTo>
                    <a:pt x="96" y="292"/>
                  </a:lnTo>
                  <a:lnTo>
                    <a:pt x="99" y="294"/>
                  </a:lnTo>
                  <a:lnTo>
                    <a:pt x="100" y="298"/>
                  </a:lnTo>
                  <a:lnTo>
                    <a:pt x="99" y="303"/>
                  </a:lnTo>
                  <a:lnTo>
                    <a:pt x="103" y="302"/>
                  </a:lnTo>
                  <a:lnTo>
                    <a:pt x="104" y="303"/>
                  </a:lnTo>
                  <a:lnTo>
                    <a:pt x="105" y="305"/>
                  </a:lnTo>
                  <a:lnTo>
                    <a:pt x="105" y="308"/>
                  </a:lnTo>
                  <a:lnTo>
                    <a:pt x="111" y="308"/>
                  </a:lnTo>
                  <a:lnTo>
                    <a:pt x="111" y="314"/>
                  </a:lnTo>
                  <a:lnTo>
                    <a:pt x="114" y="313"/>
                  </a:lnTo>
                  <a:lnTo>
                    <a:pt x="114" y="315"/>
                  </a:lnTo>
                  <a:lnTo>
                    <a:pt x="115" y="315"/>
                  </a:lnTo>
                  <a:lnTo>
                    <a:pt x="118" y="317"/>
                  </a:lnTo>
                  <a:lnTo>
                    <a:pt x="118" y="319"/>
                  </a:lnTo>
                  <a:lnTo>
                    <a:pt x="121" y="319"/>
                  </a:lnTo>
                  <a:lnTo>
                    <a:pt x="124" y="323"/>
                  </a:lnTo>
                  <a:lnTo>
                    <a:pt x="124" y="326"/>
                  </a:lnTo>
                  <a:lnTo>
                    <a:pt x="124" y="331"/>
                  </a:lnTo>
                  <a:lnTo>
                    <a:pt x="126" y="330"/>
                  </a:lnTo>
                  <a:lnTo>
                    <a:pt x="129" y="331"/>
                  </a:lnTo>
                  <a:lnTo>
                    <a:pt x="130" y="333"/>
                  </a:lnTo>
                  <a:lnTo>
                    <a:pt x="130" y="335"/>
                  </a:lnTo>
                  <a:lnTo>
                    <a:pt x="139" y="334"/>
                  </a:lnTo>
                  <a:lnTo>
                    <a:pt x="140" y="343"/>
                  </a:lnTo>
                  <a:lnTo>
                    <a:pt x="144" y="341"/>
                  </a:lnTo>
                  <a:lnTo>
                    <a:pt x="166" y="328"/>
                  </a:lnTo>
                  <a:lnTo>
                    <a:pt x="172" y="324"/>
                  </a:lnTo>
                  <a:lnTo>
                    <a:pt x="177" y="320"/>
                  </a:lnTo>
                  <a:lnTo>
                    <a:pt x="181" y="317"/>
                  </a:lnTo>
                  <a:lnTo>
                    <a:pt x="185" y="313"/>
                  </a:lnTo>
                  <a:lnTo>
                    <a:pt x="189" y="303"/>
                  </a:lnTo>
                  <a:lnTo>
                    <a:pt x="191" y="292"/>
                  </a:lnTo>
                  <a:lnTo>
                    <a:pt x="192" y="288"/>
                  </a:lnTo>
                  <a:lnTo>
                    <a:pt x="195" y="284"/>
                  </a:lnTo>
                  <a:lnTo>
                    <a:pt x="200" y="278"/>
                  </a:lnTo>
                  <a:lnTo>
                    <a:pt x="207" y="273"/>
                  </a:lnTo>
                  <a:lnTo>
                    <a:pt x="211" y="272"/>
                  </a:lnTo>
                  <a:lnTo>
                    <a:pt x="214" y="270"/>
                  </a:lnTo>
                  <a:lnTo>
                    <a:pt x="217" y="272"/>
                  </a:lnTo>
                  <a:lnTo>
                    <a:pt x="221" y="274"/>
                  </a:lnTo>
                  <a:lnTo>
                    <a:pt x="226" y="282"/>
                  </a:lnTo>
                  <a:lnTo>
                    <a:pt x="231" y="290"/>
                  </a:lnTo>
                  <a:lnTo>
                    <a:pt x="234" y="293"/>
                  </a:lnTo>
                  <a:lnTo>
                    <a:pt x="237" y="295"/>
                  </a:lnTo>
                  <a:lnTo>
                    <a:pt x="244" y="297"/>
                  </a:lnTo>
                  <a:lnTo>
                    <a:pt x="251" y="297"/>
                  </a:lnTo>
                  <a:lnTo>
                    <a:pt x="259" y="298"/>
                  </a:lnTo>
                  <a:lnTo>
                    <a:pt x="265" y="300"/>
                  </a:lnTo>
                  <a:lnTo>
                    <a:pt x="270" y="303"/>
                  </a:lnTo>
                  <a:lnTo>
                    <a:pt x="274" y="305"/>
                  </a:lnTo>
                  <a:lnTo>
                    <a:pt x="277" y="308"/>
                  </a:lnTo>
                  <a:lnTo>
                    <a:pt x="280" y="308"/>
                  </a:lnTo>
                  <a:lnTo>
                    <a:pt x="282" y="307"/>
                  </a:lnTo>
                  <a:lnTo>
                    <a:pt x="286" y="302"/>
                  </a:lnTo>
                  <a:lnTo>
                    <a:pt x="288" y="299"/>
                  </a:lnTo>
                  <a:lnTo>
                    <a:pt x="291" y="299"/>
                  </a:lnTo>
                  <a:lnTo>
                    <a:pt x="320" y="300"/>
                  </a:lnTo>
                  <a:lnTo>
                    <a:pt x="335" y="300"/>
                  </a:lnTo>
                  <a:lnTo>
                    <a:pt x="348" y="299"/>
                  </a:lnTo>
                  <a:lnTo>
                    <a:pt x="351" y="298"/>
                  </a:lnTo>
                  <a:lnTo>
                    <a:pt x="355" y="297"/>
                  </a:lnTo>
                  <a:lnTo>
                    <a:pt x="358" y="295"/>
                  </a:lnTo>
                  <a:lnTo>
                    <a:pt x="396" y="295"/>
                  </a:lnTo>
                  <a:lnTo>
                    <a:pt x="454" y="295"/>
                  </a:lnTo>
                  <a:lnTo>
                    <a:pt x="456" y="289"/>
                  </a:lnTo>
                  <a:lnTo>
                    <a:pt x="458" y="283"/>
                  </a:lnTo>
                  <a:lnTo>
                    <a:pt x="462" y="277"/>
                  </a:lnTo>
                  <a:lnTo>
                    <a:pt x="463" y="275"/>
                  </a:lnTo>
                  <a:lnTo>
                    <a:pt x="464" y="274"/>
                  </a:lnTo>
                  <a:lnTo>
                    <a:pt x="466" y="273"/>
                  </a:lnTo>
                  <a:lnTo>
                    <a:pt x="467" y="268"/>
                  </a:lnTo>
                  <a:lnTo>
                    <a:pt x="467" y="254"/>
                  </a:lnTo>
                  <a:lnTo>
                    <a:pt x="466" y="230"/>
                  </a:lnTo>
                  <a:lnTo>
                    <a:pt x="467" y="217"/>
                  </a:lnTo>
                  <a:lnTo>
                    <a:pt x="467" y="208"/>
                  </a:lnTo>
                  <a:lnTo>
                    <a:pt x="464" y="206"/>
                  </a:lnTo>
                  <a:lnTo>
                    <a:pt x="463" y="204"/>
                  </a:lnTo>
                  <a:lnTo>
                    <a:pt x="459" y="203"/>
                  </a:lnTo>
                  <a:lnTo>
                    <a:pt x="457" y="199"/>
                  </a:lnTo>
                  <a:lnTo>
                    <a:pt x="453" y="197"/>
                  </a:lnTo>
                  <a:lnTo>
                    <a:pt x="449" y="194"/>
                  </a:lnTo>
                  <a:lnTo>
                    <a:pt x="449" y="191"/>
                  </a:lnTo>
                  <a:lnTo>
                    <a:pt x="447" y="192"/>
                  </a:lnTo>
                  <a:lnTo>
                    <a:pt x="447" y="186"/>
                  </a:lnTo>
                  <a:lnTo>
                    <a:pt x="444" y="186"/>
                  </a:lnTo>
                  <a:lnTo>
                    <a:pt x="444" y="179"/>
                  </a:lnTo>
                  <a:lnTo>
                    <a:pt x="439" y="179"/>
                  </a:lnTo>
                  <a:lnTo>
                    <a:pt x="439" y="174"/>
                  </a:lnTo>
                  <a:lnTo>
                    <a:pt x="436" y="176"/>
                  </a:lnTo>
                  <a:lnTo>
                    <a:pt x="436" y="171"/>
                  </a:lnTo>
                  <a:lnTo>
                    <a:pt x="435" y="166"/>
                  </a:lnTo>
                  <a:lnTo>
                    <a:pt x="433" y="161"/>
                  </a:lnTo>
                  <a:lnTo>
                    <a:pt x="431" y="156"/>
                  </a:lnTo>
                  <a:lnTo>
                    <a:pt x="426" y="156"/>
                  </a:lnTo>
                  <a:lnTo>
                    <a:pt x="426" y="148"/>
                  </a:lnTo>
                  <a:lnTo>
                    <a:pt x="423" y="147"/>
                  </a:lnTo>
                  <a:lnTo>
                    <a:pt x="422" y="148"/>
                  </a:lnTo>
                  <a:lnTo>
                    <a:pt x="421" y="148"/>
                  </a:lnTo>
                  <a:lnTo>
                    <a:pt x="420" y="146"/>
                  </a:lnTo>
                  <a:lnTo>
                    <a:pt x="418" y="141"/>
                  </a:lnTo>
                  <a:lnTo>
                    <a:pt x="416" y="138"/>
                  </a:lnTo>
                  <a:lnTo>
                    <a:pt x="411" y="136"/>
                  </a:lnTo>
                  <a:lnTo>
                    <a:pt x="405" y="136"/>
                  </a:lnTo>
                  <a:lnTo>
                    <a:pt x="392" y="134"/>
                  </a:lnTo>
                  <a:lnTo>
                    <a:pt x="382" y="133"/>
                  </a:lnTo>
                  <a:lnTo>
                    <a:pt x="382" y="132"/>
                  </a:lnTo>
                  <a:lnTo>
                    <a:pt x="378" y="129"/>
                  </a:lnTo>
                  <a:lnTo>
                    <a:pt x="375" y="127"/>
                  </a:lnTo>
                  <a:lnTo>
                    <a:pt x="372" y="122"/>
                  </a:lnTo>
                  <a:lnTo>
                    <a:pt x="367" y="118"/>
                  </a:lnTo>
                  <a:lnTo>
                    <a:pt x="362" y="114"/>
                  </a:lnTo>
                  <a:lnTo>
                    <a:pt x="357" y="111"/>
                  </a:lnTo>
                  <a:lnTo>
                    <a:pt x="353" y="111"/>
                  </a:lnTo>
                  <a:lnTo>
                    <a:pt x="352" y="105"/>
                  </a:lnTo>
                  <a:lnTo>
                    <a:pt x="347" y="100"/>
                  </a:lnTo>
                  <a:lnTo>
                    <a:pt x="342" y="95"/>
                  </a:lnTo>
                  <a:lnTo>
                    <a:pt x="337" y="92"/>
                  </a:lnTo>
                  <a:lnTo>
                    <a:pt x="336" y="88"/>
                  </a:lnTo>
                  <a:lnTo>
                    <a:pt x="333" y="85"/>
                  </a:lnTo>
                  <a:lnTo>
                    <a:pt x="331" y="82"/>
                  </a:lnTo>
                  <a:lnTo>
                    <a:pt x="327" y="80"/>
                  </a:lnTo>
                  <a:lnTo>
                    <a:pt x="317" y="77"/>
                  </a:lnTo>
                  <a:lnTo>
                    <a:pt x="310" y="76"/>
                  </a:lnTo>
                  <a:lnTo>
                    <a:pt x="310" y="71"/>
                  </a:lnTo>
                  <a:lnTo>
                    <a:pt x="308" y="70"/>
                  </a:lnTo>
                  <a:lnTo>
                    <a:pt x="306" y="68"/>
                  </a:lnTo>
                  <a:lnTo>
                    <a:pt x="303" y="68"/>
                  </a:lnTo>
                  <a:lnTo>
                    <a:pt x="298" y="67"/>
                  </a:lnTo>
                  <a:lnTo>
                    <a:pt x="296" y="66"/>
                  </a:lnTo>
                  <a:lnTo>
                    <a:pt x="295" y="63"/>
                  </a:lnTo>
                  <a:lnTo>
                    <a:pt x="291" y="63"/>
                  </a:lnTo>
                  <a:lnTo>
                    <a:pt x="287" y="62"/>
                  </a:lnTo>
                  <a:lnTo>
                    <a:pt x="283" y="61"/>
                  </a:lnTo>
                  <a:lnTo>
                    <a:pt x="282" y="58"/>
                  </a:lnTo>
                  <a:lnTo>
                    <a:pt x="281" y="57"/>
                  </a:lnTo>
                  <a:lnTo>
                    <a:pt x="279" y="57"/>
                  </a:lnTo>
                  <a:lnTo>
                    <a:pt x="271" y="56"/>
                  </a:lnTo>
                  <a:lnTo>
                    <a:pt x="257" y="57"/>
                  </a:lnTo>
                  <a:lnTo>
                    <a:pt x="259" y="53"/>
                  </a:lnTo>
                  <a:lnTo>
                    <a:pt x="246" y="53"/>
                  </a:lnTo>
                  <a:lnTo>
                    <a:pt x="245" y="57"/>
                  </a:lnTo>
                  <a:lnTo>
                    <a:pt x="244" y="60"/>
                  </a:lnTo>
                  <a:lnTo>
                    <a:pt x="241" y="60"/>
                  </a:lnTo>
                  <a:lnTo>
                    <a:pt x="239" y="60"/>
                  </a:lnTo>
                  <a:lnTo>
                    <a:pt x="235" y="63"/>
                  </a:lnTo>
                  <a:lnTo>
                    <a:pt x="231" y="68"/>
                  </a:lnTo>
                  <a:lnTo>
                    <a:pt x="227" y="70"/>
                  </a:lnTo>
                  <a:lnTo>
                    <a:pt x="224" y="70"/>
                  </a:lnTo>
                  <a:lnTo>
                    <a:pt x="224" y="77"/>
                  </a:lnTo>
                  <a:lnTo>
                    <a:pt x="217" y="76"/>
                  </a:lnTo>
                  <a:lnTo>
                    <a:pt x="217" y="83"/>
                  </a:lnTo>
                  <a:lnTo>
                    <a:pt x="211" y="83"/>
                  </a:lnTo>
                  <a:lnTo>
                    <a:pt x="212" y="98"/>
                  </a:lnTo>
                  <a:lnTo>
                    <a:pt x="201" y="102"/>
                  </a:lnTo>
                  <a:lnTo>
                    <a:pt x="195" y="102"/>
                  </a:lnTo>
                  <a:lnTo>
                    <a:pt x="194" y="101"/>
                  </a:lnTo>
                  <a:lnTo>
                    <a:pt x="192" y="98"/>
                  </a:lnTo>
                  <a:lnTo>
                    <a:pt x="191" y="96"/>
                  </a:lnTo>
                  <a:lnTo>
                    <a:pt x="190" y="95"/>
                  </a:lnTo>
                  <a:lnTo>
                    <a:pt x="184" y="92"/>
                  </a:lnTo>
                  <a:lnTo>
                    <a:pt x="176" y="91"/>
                  </a:lnTo>
                  <a:lnTo>
                    <a:pt x="169" y="91"/>
                  </a:lnTo>
                  <a:lnTo>
                    <a:pt x="169" y="85"/>
                  </a:lnTo>
                  <a:lnTo>
                    <a:pt x="162" y="85"/>
                  </a:lnTo>
                  <a:lnTo>
                    <a:pt x="157" y="85"/>
                  </a:lnTo>
                  <a:lnTo>
                    <a:pt x="155" y="83"/>
                  </a:lnTo>
                  <a:lnTo>
                    <a:pt x="154" y="82"/>
                  </a:lnTo>
                  <a:lnTo>
                    <a:pt x="154" y="78"/>
                  </a:lnTo>
                  <a:lnTo>
                    <a:pt x="154" y="75"/>
                  </a:lnTo>
                  <a:lnTo>
                    <a:pt x="150" y="75"/>
                  </a:lnTo>
                  <a:lnTo>
                    <a:pt x="149" y="33"/>
                  </a:lnTo>
                  <a:lnTo>
                    <a:pt x="149" y="10"/>
                  </a:lnTo>
                  <a:lnTo>
                    <a:pt x="147" y="0"/>
                  </a:lnTo>
                  <a:lnTo>
                    <a:pt x="59" y="0"/>
                  </a:lnTo>
                  <a:lnTo>
                    <a:pt x="45" y="0"/>
                  </a:lnTo>
                  <a:lnTo>
                    <a:pt x="30" y="0"/>
                  </a:lnTo>
                  <a:lnTo>
                    <a:pt x="0" y="0"/>
                  </a:lnTo>
                  <a:lnTo>
                    <a:pt x="1" y="4"/>
                  </a:lnTo>
                  <a:lnTo>
                    <a:pt x="4" y="7"/>
                  </a:lnTo>
                  <a:lnTo>
                    <a:pt x="8" y="11"/>
                  </a:lnTo>
                  <a:lnTo>
                    <a:pt x="9" y="15"/>
                  </a:lnTo>
                  <a:lnTo>
                    <a:pt x="10" y="27"/>
                  </a:lnTo>
                  <a:lnTo>
                    <a:pt x="13" y="33"/>
                  </a:lnTo>
                  <a:lnTo>
                    <a:pt x="18" y="38"/>
                  </a:lnTo>
                  <a:lnTo>
                    <a:pt x="21" y="41"/>
                  </a:lnTo>
                  <a:lnTo>
                    <a:pt x="28" y="43"/>
                  </a:lnTo>
                  <a:lnTo>
                    <a:pt x="39" y="46"/>
                  </a:lnTo>
                  <a:lnTo>
                    <a:pt x="44" y="48"/>
                  </a:lnTo>
                  <a:lnTo>
                    <a:pt x="49" y="51"/>
                  </a:lnTo>
                  <a:lnTo>
                    <a:pt x="51" y="56"/>
                  </a:lnTo>
                  <a:lnTo>
                    <a:pt x="53" y="62"/>
                  </a:lnTo>
                  <a:lnTo>
                    <a:pt x="46" y="62"/>
                  </a:lnTo>
                  <a:lnTo>
                    <a:pt x="45" y="62"/>
                  </a:lnTo>
                  <a:lnTo>
                    <a:pt x="45" y="63"/>
                  </a:lnTo>
                  <a:lnTo>
                    <a:pt x="48" y="67"/>
                  </a:lnTo>
                  <a:lnTo>
                    <a:pt x="49" y="71"/>
                  </a:lnTo>
                  <a:lnTo>
                    <a:pt x="50" y="80"/>
                  </a:lnTo>
                  <a:lnTo>
                    <a:pt x="50" y="86"/>
                  </a:lnTo>
                  <a:lnTo>
                    <a:pt x="46" y="91"/>
                  </a:lnTo>
                  <a:lnTo>
                    <a:pt x="41" y="97"/>
                  </a:lnTo>
                  <a:lnTo>
                    <a:pt x="35" y="101"/>
                  </a:lnTo>
                  <a:lnTo>
                    <a:pt x="28" y="105"/>
                  </a:lnTo>
                  <a:lnTo>
                    <a:pt x="25" y="106"/>
                  </a:lnTo>
                  <a:lnTo>
                    <a:pt x="23" y="110"/>
                  </a:lnTo>
                  <a:lnTo>
                    <a:pt x="23" y="113"/>
                  </a:lnTo>
                  <a:lnTo>
                    <a:pt x="25" y="117"/>
                  </a:lnTo>
                  <a:lnTo>
                    <a:pt x="29" y="117"/>
                  </a:lnTo>
                  <a:lnTo>
                    <a:pt x="31" y="119"/>
                  </a:lnTo>
                  <a:lnTo>
                    <a:pt x="33" y="122"/>
                  </a:lnTo>
                  <a:lnTo>
                    <a:pt x="33" y="126"/>
                  </a:lnTo>
                  <a:lnTo>
                    <a:pt x="33" y="133"/>
                  </a:lnTo>
                  <a:lnTo>
                    <a:pt x="33" y="141"/>
                  </a:lnTo>
                  <a:lnTo>
                    <a:pt x="31" y="141"/>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Plumas</a:t>
              </a:r>
            </a:p>
          </p:txBody>
        </p:sp>
        <p:sp>
          <p:nvSpPr>
            <p:cNvPr id="62" name="Calaveras"/>
            <p:cNvSpPr>
              <a:spLocks/>
            </p:cNvSpPr>
            <p:nvPr/>
          </p:nvSpPr>
          <p:spPr bwMode="auto">
            <a:xfrm>
              <a:off x="2564205" y="4736899"/>
              <a:ext cx="683682" cy="547083"/>
            </a:xfrm>
            <a:custGeom>
              <a:avLst/>
              <a:gdLst>
                <a:gd name="T0" fmla="*/ 2147483647 w 325"/>
                <a:gd name="T1" fmla="*/ 2147483647 h 273"/>
                <a:gd name="T2" fmla="*/ 2147483647 w 325"/>
                <a:gd name="T3" fmla="*/ 2147483647 h 273"/>
                <a:gd name="T4" fmla="*/ 2147483647 w 325"/>
                <a:gd name="T5" fmla="*/ 2147483647 h 273"/>
                <a:gd name="T6" fmla="*/ 2147483647 w 325"/>
                <a:gd name="T7" fmla="*/ 2147483647 h 273"/>
                <a:gd name="T8" fmla="*/ 2147483647 w 325"/>
                <a:gd name="T9" fmla="*/ 2147483647 h 273"/>
                <a:gd name="T10" fmla="*/ 2147483647 w 325"/>
                <a:gd name="T11" fmla="*/ 2147483647 h 273"/>
                <a:gd name="T12" fmla="*/ 2147483647 w 325"/>
                <a:gd name="T13" fmla="*/ 2147483647 h 273"/>
                <a:gd name="T14" fmla="*/ 2147483647 w 325"/>
                <a:gd name="T15" fmla="*/ 2147483647 h 273"/>
                <a:gd name="T16" fmla="*/ 2147483647 w 325"/>
                <a:gd name="T17" fmla="*/ 2147483647 h 273"/>
                <a:gd name="T18" fmla="*/ 2147483647 w 325"/>
                <a:gd name="T19" fmla="*/ 2147483647 h 273"/>
                <a:gd name="T20" fmla="*/ 2147483647 w 325"/>
                <a:gd name="T21" fmla="*/ 2147483647 h 273"/>
                <a:gd name="T22" fmla="*/ 2147483647 w 325"/>
                <a:gd name="T23" fmla="*/ 2147483647 h 273"/>
                <a:gd name="T24" fmla="*/ 2147483647 w 325"/>
                <a:gd name="T25" fmla="*/ 2147483647 h 273"/>
                <a:gd name="T26" fmla="*/ 2147483647 w 325"/>
                <a:gd name="T27" fmla="*/ 2147483647 h 273"/>
                <a:gd name="T28" fmla="*/ 2147483647 w 325"/>
                <a:gd name="T29" fmla="*/ 2147483647 h 273"/>
                <a:gd name="T30" fmla="*/ 2147483647 w 325"/>
                <a:gd name="T31" fmla="*/ 2147483647 h 273"/>
                <a:gd name="T32" fmla="*/ 2147483647 w 325"/>
                <a:gd name="T33" fmla="*/ 2147483647 h 273"/>
                <a:gd name="T34" fmla="*/ 2147483647 w 325"/>
                <a:gd name="T35" fmla="*/ 2147483647 h 273"/>
                <a:gd name="T36" fmla="*/ 2147483647 w 325"/>
                <a:gd name="T37" fmla="*/ 2147483647 h 273"/>
                <a:gd name="T38" fmla="*/ 2147483647 w 325"/>
                <a:gd name="T39" fmla="*/ 2147483647 h 273"/>
                <a:gd name="T40" fmla="*/ 2147483647 w 325"/>
                <a:gd name="T41" fmla="*/ 2147483647 h 273"/>
                <a:gd name="T42" fmla="*/ 2147483647 w 325"/>
                <a:gd name="T43" fmla="*/ 2147483647 h 273"/>
                <a:gd name="T44" fmla="*/ 2147483647 w 325"/>
                <a:gd name="T45" fmla="*/ 2147483647 h 273"/>
                <a:gd name="T46" fmla="*/ 2147483647 w 325"/>
                <a:gd name="T47" fmla="*/ 2147483647 h 273"/>
                <a:gd name="T48" fmla="*/ 2147483647 w 325"/>
                <a:gd name="T49" fmla="*/ 2147483647 h 273"/>
                <a:gd name="T50" fmla="*/ 2147483647 w 325"/>
                <a:gd name="T51" fmla="*/ 2147483647 h 273"/>
                <a:gd name="T52" fmla="*/ 2147483647 w 325"/>
                <a:gd name="T53" fmla="*/ 2147483647 h 273"/>
                <a:gd name="T54" fmla="*/ 2147483647 w 325"/>
                <a:gd name="T55" fmla="*/ 2147483647 h 273"/>
                <a:gd name="T56" fmla="*/ 2147483647 w 325"/>
                <a:gd name="T57" fmla="*/ 2147483647 h 273"/>
                <a:gd name="T58" fmla="*/ 2147483647 w 325"/>
                <a:gd name="T59" fmla="*/ 2147483647 h 273"/>
                <a:gd name="T60" fmla="*/ 2147483647 w 325"/>
                <a:gd name="T61" fmla="*/ 2147483647 h 273"/>
                <a:gd name="T62" fmla="*/ 2147483647 w 325"/>
                <a:gd name="T63" fmla="*/ 2147483647 h 273"/>
                <a:gd name="T64" fmla="*/ 2147483647 w 325"/>
                <a:gd name="T65" fmla="*/ 2147483647 h 273"/>
                <a:gd name="T66" fmla="*/ 2147483647 w 325"/>
                <a:gd name="T67" fmla="*/ 2147483647 h 273"/>
                <a:gd name="T68" fmla="*/ 2147483647 w 325"/>
                <a:gd name="T69" fmla="*/ 2147483647 h 273"/>
                <a:gd name="T70" fmla="*/ 2147483647 w 325"/>
                <a:gd name="T71" fmla="*/ 2147483647 h 273"/>
                <a:gd name="T72" fmla="*/ 0 w 325"/>
                <a:gd name="T73" fmla="*/ 2147483647 h 273"/>
                <a:gd name="T74" fmla="*/ 2147483647 w 325"/>
                <a:gd name="T75" fmla="*/ 2147483647 h 273"/>
                <a:gd name="T76" fmla="*/ 2147483647 w 325"/>
                <a:gd name="T77" fmla="*/ 2147483647 h 273"/>
                <a:gd name="T78" fmla="*/ 2147483647 w 325"/>
                <a:gd name="T79" fmla="*/ 2147483647 h 273"/>
                <a:gd name="T80" fmla="*/ 2147483647 w 325"/>
                <a:gd name="T81" fmla="*/ 2147483647 h 273"/>
                <a:gd name="T82" fmla="*/ 2147483647 w 325"/>
                <a:gd name="T83" fmla="*/ 2147483647 h 27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325" h="273">
                  <a:moveTo>
                    <a:pt x="145" y="239"/>
                  </a:moveTo>
                  <a:lnTo>
                    <a:pt x="151" y="232"/>
                  </a:lnTo>
                  <a:lnTo>
                    <a:pt x="158" y="224"/>
                  </a:lnTo>
                  <a:lnTo>
                    <a:pt x="156" y="221"/>
                  </a:lnTo>
                  <a:lnTo>
                    <a:pt x="155" y="216"/>
                  </a:lnTo>
                  <a:lnTo>
                    <a:pt x="154" y="211"/>
                  </a:lnTo>
                  <a:lnTo>
                    <a:pt x="155" y="208"/>
                  </a:lnTo>
                  <a:lnTo>
                    <a:pt x="158" y="207"/>
                  </a:lnTo>
                  <a:lnTo>
                    <a:pt x="168" y="203"/>
                  </a:lnTo>
                  <a:lnTo>
                    <a:pt x="174" y="201"/>
                  </a:lnTo>
                  <a:lnTo>
                    <a:pt x="175" y="199"/>
                  </a:lnTo>
                  <a:lnTo>
                    <a:pt x="176" y="198"/>
                  </a:lnTo>
                  <a:lnTo>
                    <a:pt x="179" y="191"/>
                  </a:lnTo>
                  <a:lnTo>
                    <a:pt x="183" y="184"/>
                  </a:lnTo>
                  <a:lnTo>
                    <a:pt x="204" y="150"/>
                  </a:lnTo>
                  <a:lnTo>
                    <a:pt x="215" y="131"/>
                  </a:lnTo>
                  <a:lnTo>
                    <a:pt x="229" y="115"/>
                  </a:lnTo>
                  <a:lnTo>
                    <a:pt x="243" y="98"/>
                  </a:lnTo>
                  <a:lnTo>
                    <a:pt x="255" y="81"/>
                  </a:lnTo>
                  <a:lnTo>
                    <a:pt x="261" y="72"/>
                  </a:lnTo>
                  <a:lnTo>
                    <a:pt x="269" y="61"/>
                  </a:lnTo>
                  <a:lnTo>
                    <a:pt x="277" y="51"/>
                  </a:lnTo>
                  <a:lnTo>
                    <a:pt x="281" y="49"/>
                  </a:lnTo>
                  <a:lnTo>
                    <a:pt x="286" y="46"/>
                  </a:lnTo>
                  <a:lnTo>
                    <a:pt x="307" y="41"/>
                  </a:lnTo>
                  <a:lnTo>
                    <a:pt x="317" y="36"/>
                  </a:lnTo>
                  <a:lnTo>
                    <a:pt x="321" y="34"/>
                  </a:lnTo>
                  <a:lnTo>
                    <a:pt x="325" y="30"/>
                  </a:lnTo>
                  <a:lnTo>
                    <a:pt x="320" y="27"/>
                  </a:lnTo>
                  <a:lnTo>
                    <a:pt x="315" y="25"/>
                  </a:lnTo>
                  <a:lnTo>
                    <a:pt x="311" y="25"/>
                  </a:lnTo>
                  <a:lnTo>
                    <a:pt x="306" y="26"/>
                  </a:lnTo>
                  <a:lnTo>
                    <a:pt x="306" y="0"/>
                  </a:lnTo>
                  <a:lnTo>
                    <a:pt x="299" y="1"/>
                  </a:lnTo>
                  <a:lnTo>
                    <a:pt x="291" y="2"/>
                  </a:lnTo>
                  <a:lnTo>
                    <a:pt x="284" y="5"/>
                  </a:lnTo>
                  <a:lnTo>
                    <a:pt x="275" y="5"/>
                  </a:lnTo>
                  <a:lnTo>
                    <a:pt x="260" y="6"/>
                  </a:lnTo>
                  <a:lnTo>
                    <a:pt x="246" y="10"/>
                  </a:lnTo>
                  <a:lnTo>
                    <a:pt x="233" y="14"/>
                  </a:lnTo>
                  <a:lnTo>
                    <a:pt x="218" y="16"/>
                  </a:lnTo>
                  <a:lnTo>
                    <a:pt x="210" y="16"/>
                  </a:lnTo>
                  <a:lnTo>
                    <a:pt x="203" y="15"/>
                  </a:lnTo>
                  <a:lnTo>
                    <a:pt x="194" y="15"/>
                  </a:lnTo>
                  <a:lnTo>
                    <a:pt x="188" y="15"/>
                  </a:lnTo>
                  <a:lnTo>
                    <a:pt x="183" y="17"/>
                  </a:lnTo>
                  <a:lnTo>
                    <a:pt x="179" y="21"/>
                  </a:lnTo>
                  <a:lnTo>
                    <a:pt x="175" y="24"/>
                  </a:lnTo>
                  <a:lnTo>
                    <a:pt x="173" y="24"/>
                  </a:lnTo>
                  <a:lnTo>
                    <a:pt x="170" y="25"/>
                  </a:lnTo>
                  <a:lnTo>
                    <a:pt x="168" y="25"/>
                  </a:lnTo>
                  <a:lnTo>
                    <a:pt x="164" y="26"/>
                  </a:lnTo>
                  <a:lnTo>
                    <a:pt x="156" y="30"/>
                  </a:lnTo>
                  <a:lnTo>
                    <a:pt x="143" y="39"/>
                  </a:lnTo>
                  <a:lnTo>
                    <a:pt x="138" y="41"/>
                  </a:lnTo>
                  <a:lnTo>
                    <a:pt x="134" y="44"/>
                  </a:lnTo>
                  <a:lnTo>
                    <a:pt x="129" y="50"/>
                  </a:lnTo>
                  <a:lnTo>
                    <a:pt x="125" y="57"/>
                  </a:lnTo>
                  <a:lnTo>
                    <a:pt x="120" y="66"/>
                  </a:lnTo>
                  <a:lnTo>
                    <a:pt x="118" y="70"/>
                  </a:lnTo>
                  <a:lnTo>
                    <a:pt x="114" y="72"/>
                  </a:lnTo>
                  <a:lnTo>
                    <a:pt x="103" y="77"/>
                  </a:lnTo>
                  <a:lnTo>
                    <a:pt x="83" y="85"/>
                  </a:lnTo>
                  <a:lnTo>
                    <a:pt x="72" y="88"/>
                  </a:lnTo>
                  <a:lnTo>
                    <a:pt x="63" y="92"/>
                  </a:lnTo>
                  <a:lnTo>
                    <a:pt x="54" y="97"/>
                  </a:lnTo>
                  <a:lnTo>
                    <a:pt x="44" y="105"/>
                  </a:lnTo>
                  <a:lnTo>
                    <a:pt x="40" y="108"/>
                  </a:lnTo>
                  <a:lnTo>
                    <a:pt x="35" y="111"/>
                  </a:lnTo>
                  <a:lnTo>
                    <a:pt x="24" y="115"/>
                  </a:lnTo>
                  <a:lnTo>
                    <a:pt x="18" y="116"/>
                  </a:lnTo>
                  <a:lnTo>
                    <a:pt x="12" y="116"/>
                  </a:lnTo>
                  <a:lnTo>
                    <a:pt x="5" y="116"/>
                  </a:lnTo>
                  <a:lnTo>
                    <a:pt x="0" y="115"/>
                  </a:lnTo>
                  <a:lnTo>
                    <a:pt x="9" y="145"/>
                  </a:lnTo>
                  <a:lnTo>
                    <a:pt x="15" y="160"/>
                  </a:lnTo>
                  <a:lnTo>
                    <a:pt x="18" y="166"/>
                  </a:lnTo>
                  <a:lnTo>
                    <a:pt x="22" y="172"/>
                  </a:lnTo>
                  <a:lnTo>
                    <a:pt x="115" y="273"/>
                  </a:lnTo>
                  <a:lnTo>
                    <a:pt x="121" y="263"/>
                  </a:lnTo>
                  <a:lnTo>
                    <a:pt x="128" y="254"/>
                  </a:lnTo>
                  <a:lnTo>
                    <a:pt x="135" y="247"/>
                  </a:lnTo>
                  <a:lnTo>
                    <a:pt x="144" y="239"/>
                  </a:lnTo>
                  <a:lnTo>
                    <a:pt x="145" y="239"/>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Calaveras</a:t>
              </a:r>
            </a:p>
          </p:txBody>
        </p:sp>
        <p:sp>
          <p:nvSpPr>
            <p:cNvPr id="63" name="Amador"/>
            <p:cNvSpPr>
              <a:spLocks/>
            </p:cNvSpPr>
            <p:nvPr/>
          </p:nvSpPr>
          <p:spPr bwMode="auto">
            <a:xfrm>
              <a:off x="2541062" y="4580591"/>
              <a:ext cx="668957" cy="384761"/>
            </a:xfrm>
            <a:custGeom>
              <a:avLst/>
              <a:gdLst>
                <a:gd name="T0" fmla="*/ 2147483647 w 318"/>
                <a:gd name="T1" fmla="*/ 2147483647 h 192"/>
                <a:gd name="T2" fmla="*/ 2147483647 w 318"/>
                <a:gd name="T3" fmla="*/ 2147483647 h 192"/>
                <a:gd name="T4" fmla="*/ 2147483647 w 318"/>
                <a:gd name="T5" fmla="*/ 2147483647 h 192"/>
                <a:gd name="T6" fmla="*/ 2147483647 w 318"/>
                <a:gd name="T7" fmla="*/ 2147483647 h 192"/>
                <a:gd name="T8" fmla="*/ 2147483647 w 318"/>
                <a:gd name="T9" fmla="*/ 2147483647 h 192"/>
                <a:gd name="T10" fmla="*/ 2147483647 w 318"/>
                <a:gd name="T11" fmla="*/ 2147483647 h 192"/>
                <a:gd name="T12" fmla="*/ 2147483647 w 318"/>
                <a:gd name="T13" fmla="*/ 2147483647 h 192"/>
                <a:gd name="T14" fmla="*/ 2147483647 w 318"/>
                <a:gd name="T15" fmla="*/ 2147483647 h 192"/>
                <a:gd name="T16" fmla="*/ 2147483647 w 318"/>
                <a:gd name="T17" fmla="*/ 2147483647 h 192"/>
                <a:gd name="T18" fmla="*/ 2147483647 w 318"/>
                <a:gd name="T19" fmla="*/ 2147483647 h 192"/>
                <a:gd name="T20" fmla="*/ 2147483647 w 318"/>
                <a:gd name="T21" fmla="*/ 2147483647 h 192"/>
                <a:gd name="T22" fmla="*/ 2147483647 w 318"/>
                <a:gd name="T23" fmla="*/ 2147483647 h 192"/>
                <a:gd name="T24" fmla="*/ 2147483647 w 318"/>
                <a:gd name="T25" fmla="*/ 2147483647 h 192"/>
                <a:gd name="T26" fmla="*/ 2147483647 w 318"/>
                <a:gd name="T27" fmla="*/ 2147483647 h 192"/>
                <a:gd name="T28" fmla="*/ 2147483647 w 318"/>
                <a:gd name="T29" fmla="*/ 2147483647 h 192"/>
                <a:gd name="T30" fmla="*/ 2147483647 w 318"/>
                <a:gd name="T31" fmla="*/ 2147483647 h 192"/>
                <a:gd name="T32" fmla="*/ 2147483647 w 318"/>
                <a:gd name="T33" fmla="*/ 2147483647 h 192"/>
                <a:gd name="T34" fmla="*/ 2147483647 w 318"/>
                <a:gd name="T35" fmla="*/ 2147483647 h 192"/>
                <a:gd name="T36" fmla="*/ 2147483647 w 318"/>
                <a:gd name="T37" fmla="*/ 2147483647 h 192"/>
                <a:gd name="T38" fmla="*/ 2147483647 w 318"/>
                <a:gd name="T39" fmla="*/ 2147483647 h 192"/>
                <a:gd name="T40" fmla="*/ 2147483647 w 318"/>
                <a:gd name="T41" fmla="*/ 2147483647 h 192"/>
                <a:gd name="T42" fmla="*/ 2147483647 w 318"/>
                <a:gd name="T43" fmla="*/ 2147483647 h 192"/>
                <a:gd name="T44" fmla="*/ 2147483647 w 318"/>
                <a:gd name="T45" fmla="*/ 2147483647 h 192"/>
                <a:gd name="T46" fmla="*/ 2147483647 w 318"/>
                <a:gd name="T47" fmla="*/ 2147483647 h 192"/>
                <a:gd name="T48" fmla="*/ 2147483647 w 318"/>
                <a:gd name="T49" fmla="*/ 2147483647 h 192"/>
                <a:gd name="T50" fmla="*/ 2147483647 w 318"/>
                <a:gd name="T51" fmla="*/ 2147483647 h 192"/>
                <a:gd name="T52" fmla="*/ 2147483647 w 318"/>
                <a:gd name="T53" fmla="*/ 2147483647 h 192"/>
                <a:gd name="T54" fmla="*/ 2147483647 w 318"/>
                <a:gd name="T55" fmla="*/ 2147483647 h 192"/>
                <a:gd name="T56" fmla="*/ 2147483647 w 318"/>
                <a:gd name="T57" fmla="*/ 2147483647 h 192"/>
                <a:gd name="T58" fmla="*/ 2147483647 w 318"/>
                <a:gd name="T59" fmla="*/ 2147483647 h 192"/>
                <a:gd name="T60" fmla="*/ 2147483647 w 318"/>
                <a:gd name="T61" fmla="*/ 2147483647 h 192"/>
                <a:gd name="T62" fmla="*/ 2147483647 w 318"/>
                <a:gd name="T63" fmla="*/ 2147483647 h 192"/>
                <a:gd name="T64" fmla="*/ 2147483647 w 318"/>
                <a:gd name="T65" fmla="*/ 2147483647 h 192"/>
                <a:gd name="T66" fmla="*/ 2147483647 w 318"/>
                <a:gd name="T67" fmla="*/ 2147483647 h 192"/>
                <a:gd name="T68" fmla="*/ 2147483647 w 318"/>
                <a:gd name="T69" fmla="*/ 2147483647 h 192"/>
                <a:gd name="T70" fmla="*/ 2147483647 w 318"/>
                <a:gd name="T71" fmla="*/ 2147483647 h 192"/>
                <a:gd name="T72" fmla="*/ 2147483647 w 318"/>
                <a:gd name="T73" fmla="*/ 2147483647 h 192"/>
                <a:gd name="T74" fmla="*/ 2147483647 w 318"/>
                <a:gd name="T75" fmla="*/ 2147483647 h 192"/>
                <a:gd name="T76" fmla="*/ 2147483647 w 318"/>
                <a:gd name="T77" fmla="*/ 2147483647 h 192"/>
                <a:gd name="T78" fmla="*/ 0 w 318"/>
                <a:gd name="T79" fmla="*/ 2147483647 h 192"/>
                <a:gd name="T80" fmla="*/ 2147483647 w 318"/>
                <a:gd name="T81" fmla="*/ 2147483647 h 192"/>
                <a:gd name="T82" fmla="*/ 2147483647 w 318"/>
                <a:gd name="T83" fmla="*/ 2147483647 h 192"/>
                <a:gd name="T84" fmla="*/ 2147483647 w 318"/>
                <a:gd name="T85" fmla="*/ 2147483647 h 192"/>
                <a:gd name="T86" fmla="*/ 2147483647 w 318"/>
                <a:gd name="T87" fmla="*/ 2147483647 h 192"/>
                <a:gd name="T88" fmla="*/ 2147483647 w 318"/>
                <a:gd name="T89" fmla="*/ 2147483647 h 1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318" h="192">
                  <a:moveTo>
                    <a:pt x="55" y="181"/>
                  </a:moveTo>
                  <a:lnTo>
                    <a:pt x="65" y="173"/>
                  </a:lnTo>
                  <a:lnTo>
                    <a:pt x="74" y="168"/>
                  </a:lnTo>
                  <a:lnTo>
                    <a:pt x="83" y="164"/>
                  </a:lnTo>
                  <a:lnTo>
                    <a:pt x="94" y="161"/>
                  </a:lnTo>
                  <a:lnTo>
                    <a:pt x="114" y="153"/>
                  </a:lnTo>
                  <a:lnTo>
                    <a:pt x="125" y="148"/>
                  </a:lnTo>
                  <a:lnTo>
                    <a:pt x="129" y="146"/>
                  </a:lnTo>
                  <a:lnTo>
                    <a:pt x="131" y="142"/>
                  </a:lnTo>
                  <a:lnTo>
                    <a:pt x="136" y="133"/>
                  </a:lnTo>
                  <a:lnTo>
                    <a:pt x="140" y="126"/>
                  </a:lnTo>
                  <a:lnTo>
                    <a:pt x="145" y="120"/>
                  </a:lnTo>
                  <a:lnTo>
                    <a:pt x="149" y="117"/>
                  </a:lnTo>
                  <a:lnTo>
                    <a:pt x="154" y="115"/>
                  </a:lnTo>
                  <a:lnTo>
                    <a:pt x="167" y="106"/>
                  </a:lnTo>
                  <a:lnTo>
                    <a:pt x="175" y="102"/>
                  </a:lnTo>
                  <a:lnTo>
                    <a:pt x="179" y="101"/>
                  </a:lnTo>
                  <a:lnTo>
                    <a:pt x="181" y="101"/>
                  </a:lnTo>
                  <a:lnTo>
                    <a:pt x="184" y="100"/>
                  </a:lnTo>
                  <a:lnTo>
                    <a:pt x="186" y="100"/>
                  </a:lnTo>
                  <a:lnTo>
                    <a:pt x="190" y="97"/>
                  </a:lnTo>
                  <a:lnTo>
                    <a:pt x="194" y="93"/>
                  </a:lnTo>
                  <a:lnTo>
                    <a:pt x="199" y="91"/>
                  </a:lnTo>
                  <a:lnTo>
                    <a:pt x="205" y="91"/>
                  </a:lnTo>
                  <a:lnTo>
                    <a:pt x="214" y="91"/>
                  </a:lnTo>
                  <a:lnTo>
                    <a:pt x="221" y="92"/>
                  </a:lnTo>
                  <a:lnTo>
                    <a:pt x="229" y="92"/>
                  </a:lnTo>
                  <a:lnTo>
                    <a:pt x="244" y="90"/>
                  </a:lnTo>
                  <a:lnTo>
                    <a:pt x="257" y="86"/>
                  </a:lnTo>
                  <a:lnTo>
                    <a:pt x="271" y="82"/>
                  </a:lnTo>
                  <a:lnTo>
                    <a:pt x="286" y="81"/>
                  </a:lnTo>
                  <a:lnTo>
                    <a:pt x="295" y="81"/>
                  </a:lnTo>
                  <a:lnTo>
                    <a:pt x="302" y="78"/>
                  </a:lnTo>
                  <a:lnTo>
                    <a:pt x="310" y="77"/>
                  </a:lnTo>
                  <a:lnTo>
                    <a:pt x="317" y="76"/>
                  </a:lnTo>
                  <a:lnTo>
                    <a:pt x="318" y="37"/>
                  </a:lnTo>
                  <a:lnTo>
                    <a:pt x="318" y="0"/>
                  </a:lnTo>
                  <a:lnTo>
                    <a:pt x="312" y="1"/>
                  </a:lnTo>
                  <a:lnTo>
                    <a:pt x="306" y="4"/>
                  </a:lnTo>
                  <a:lnTo>
                    <a:pt x="302" y="7"/>
                  </a:lnTo>
                  <a:lnTo>
                    <a:pt x="300" y="11"/>
                  </a:lnTo>
                  <a:lnTo>
                    <a:pt x="293" y="19"/>
                  </a:lnTo>
                  <a:lnTo>
                    <a:pt x="290" y="24"/>
                  </a:lnTo>
                  <a:lnTo>
                    <a:pt x="285" y="27"/>
                  </a:lnTo>
                  <a:lnTo>
                    <a:pt x="275" y="35"/>
                  </a:lnTo>
                  <a:lnTo>
                    <a:pt x="266" y="42"/>
                  </a:lnTo>
                  <a:lnTo>
                    <a:pt x="249" y="57"/>
                  </a:lnTo>
                  <a:lnTo>
                    <a:pt x="244" y="60"/>
                  </a:lnTo>
                  <a:lnTo>
                    <a:pt x="237" y="62"/>
                  </a:lnTo>
                  <a:lnTo>
                    <a:pt x="226" y="63"/>
                  </a:lnTo>
                  <a:lnTo>
                    <a:pt x="215" y="63"/>
                  </a:lnTo>
                  <a:lnTo>
                    <a:pt x="210" y="65"/>
                  </a:lnTo>
                  <a:lnTo>
                    <a:pt x="205" y="67"/>
                  </a:lnTo>
                  <a:lnTo>
                    <a:pt x="200" y="70"/>
                  </a:lnTo>
                  <a:lnTo>
                    <a:pt x="192" y="71"/>
                  </a:lnTo>
                  <a:lnTo>
                    <a:pt x="180" y="73"/>
                  </a:lnTo>
                  <a:lnTo>
                    <a:pt x="165" y="75"/>
                  </a:lnTo>
                  <a:lnTo>
                    <a:pt x="151" y="77"/>
                  </a:lnTo>
                  <a:lnTo>
                    <a:pt x="145" y="77"/>
                  </a:lnTo>
                  <a:lnTo>
                    <a:pt x="140" y="77"/>
                  </a:lnTo>
                  <a:lnTo>
                    <a:pt x="127" y="73"/>
                  </a:lnTo>
                  <a:lnTo>
                    <a:pt x="115" y="70"/>
                  </a:lnTo>
                  <a:lnTo>
                    <a:pt x="103" y="65"/>
                  </a:lnTo>
                  <a:lnTo>
                    <a:pt x="91" y="60"/>
                  </a:lnTo>
                  <a:lnTo>
                    <a:pt x="80" y="57"/>
                  </a:lnTo>
                  <a:lnTo>
                    <a:pt x="74" y="57"/>
                  </a:lnTo>
                  <a:lnTo>
                    <a:pt x="69" y="58"/>
                  </a:lnTo>
                  <a:lnTo>
                    <a:pt x="64" y="60"/>
                  </a:lnTo>
                  <a:lnTo>
                    <a:pt x="58" y="62"/>
                  </a:lnTo>
                  <a:lnTo>
                    <a:pt x="50" y="66"/>
                  </a:lnTo>
                  <a:lnTo>
                    <a:pt x="43" y="70"/>
                  </a:lnTo>
                  <a:lnTo>
                    <a:pt x="29" y="72"/>
                  </a:lnTo>
                  <a:lnTo>
                    <a:pt x="21" y="72"/>
                  </a:lnTo>
                  <a:lnTo>
                    <a:pt x="14" y="72"/>
                  </a:lnTo>
                  <a:lnTo>
                    <a:pt x="6" y="73"/>
                  </a:lnTo>
                  <a:lnTo>
                    <a:pt x="4" y="75"/>
                  </a:lnTo>
                  <a:lnTo>
                    <a:pt x="0" y="77"/>
                  </a:lnTo>
                  <a:lnTo>
                    <a:pt x="1" y="97"/>
                  </a:lnTo>
                  <a:lnTo>
                    <a:pt x="1" y="118"/>
                  </a:lnTo>
                  <a:lnTo>
                    <a:pt x="0" y="159"/>
                  </a:lnTo>
                  <a:lnTo>
                    <a:pt x="3" y="167"/>
                  </a:lnTo>
                  <a:lnTo>
                    <a:pt x="5" y="174"/>
                  </a:lnTo>
                  <a:lnTo>
                    <a:pt x="11" y="191"/>
                  </a:lnTo>
                  <a:lnTo>
                    <a:pt x="16" y="192"/>
                  </a:lnTo>
                  <a:lnTo>
                    <a:pt x="23" y="192"/>
                  </a:lnTo>
                  <a:lnTo>
                    <a:pt x="29" y="192"/>
                  </a:lnTo>
                  <a:lnTo>
                    <a:pt x="35" y="191"/>
                  </a:lnTo>
                  <a:lnTo>
                    <a:pt x="46" y="187"/>
                  </a:lnTo>
                  <a:lnTo>
                    <a:pt x="51" y="184"/>
                  </a:lnTo>
                  <a:lnTo>
                    <a:pt x="54" y="181"/>
                  </a:lnTo>
                  <a:lnTo>
                    <a:pt x="55" y="181"/>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Amador</a:t>
              </a:r>
            </a:p>
          </p:txBody>
        </p:sp>
        <p:sp>
          <p:nvSpPr>
            <p:cNvPr id="64" name="Nevada"/>
            <p:cNvSpPr>
              <a:spLocks/>
            </p:cNvSpPr>
            <p:nvPr/>
          </p:nvSpPr>
          <p:spPr bwMode="auto">
            <a:xfrm>
              <a:off x="2355942" y="3923289"/>
              <a:ext cx="904563" cy="408811"/>
            </a:xfrm>
            <a:custGeom>
              <a:avLst/>
              <a:gdLst>
                <a:gd name="T0" fmla="*/ 710684063 w 430"/>
                <a:gd name="T1" fmla="*/ 77742957 h 205"/>
                <a:gd name="T2" fmla="*/ 667842200 w 430"/>
                <a:gd name="T3" fmla="*/ 75235884 h 205"/>
                <a:gd name="T4" fmla="*/ 647680950 w 430"/>
                <a:gd name="T5" fmla="*/ 62695780 h 205"/>
                <a:gd name="T6" fmla="*/ 624998750 w 430"/>
                <a:gd name="T7" fmla="*/ 32601427 h 205"/>
                <a:gd name="T8" fmla="*/ 609877813 w 430"/>
                <a:gd name="T9" fmla="*/ 7522799 h 205"/>
                <a:gd name="T10" fmla="*/ 592237513 w 430"/>
                <a:gd name="T11" fmla="*/ 0 h 205"/>
                <a:gd name="T12" fmla="*/ 554434375 w 430"/>
                <a:gd name="T13" fmla="*/ 0 h 205"/>
                <a:gd name="T14" fmla="*/ 496471575 w 430"/>
                <a:gd name="T15" fmla="*/ 17554250 h 205"/>
                <a:gd name="T16" fmla="*/ 481350638 w 430"/>
                <a:gd name="T17" fmla="*/ 27585701 h 205"/>
                <a:gd name="T18" fmla="*/ 456149075 w 430"/>
                <a:gd name="T19" fmla="*/ 62695780 h 205"/>
                <a:gd name="T20" fmla="*/ 433466875 w 430"/>
                <a:gd name="T21" fmla="*/ 70220159 h 205"/>
                <a:gd name="T22" fmla="*/ 320060638 w 430"/>
                <a:gd name="T23" fmla="*/ 92790134 h 205"/>
                <a:gd name="T24" fmla="*/ 269657513 w 430"/>
                <a:gd name="T25" fmla="*/ 112853036 h 205"/>
                <a:gd name="T26" fmla="*/ 224294700 w 430"/>
                <a:gd name="T27" fmla="*/ 127900213 h 205"/>
                <a:gd name="T28" fmla="*/ 173891575 w 430"/>
                <a:gd name="T29" fmla="*/ 130408866 h 205"/>
                <a:gd name="T30" fmla="*/ 148690013 w 430"/>
                <a:gd name="T31" fmla="*/ 137931664 h 205"/>
                <a:gd name="T32" fmla="*/ 131048125 w 430"/>
                <a:gd name="T33" fmla="*/ 152978841 h 205"/>
                <a:gd name="T34" fmla="*/ 115927188 w 430"/>
                <a:gd name="T35" fmla="*/ 173041744 h 205"/>
                <a:gd name="T36" fmla="*/ 103327200 w 430"/>
                <a:gd name="T37" fmla="*/ 185581848 h 205"/>
                <a:gd name="T38" fmla="*/ 90725625 w 430"/>
                <a:gd name="T39" fmla="*/ 183073195 h 205"/>
                <a:gd name="T40" fmla="*/ 80645000 w 430"/>
                <a:gd name="T41" fmla="*/ 193104646 h 205"/>
                <a:gd name="T42" fmla="*/ 75604688 w 430"/>
                <a:gd name="T43" fmla="*/ 215676201 h 205"/>
                <a:gd name="T44" fmla="*/ 63004700 w 430"/>
                <a:gd name="T45" fmla="*/ 233230451 h 205"/>
                <a:gd name="T46" fmla="*/ 42843450 w 430"/>
                <a:gd name="T47" fmla="*/ 243261902 h 205"/>
                <a:gd name="T48" fmla="*/ 25201563 w 430"/>
                <a:gd name="T49" fmla="*/ 245770555 h 205"/>
                <a:gd name="T50" fmla="*/ 17641888 w 430"/>
                <a:gd name="T51" fmla="*/ 265833457 h 205"/>
                <a:gd name="T52" fmla="*/ 7561263 w 430"/>
                <a:gd name="T53" fmla="*/ 293419158 h 205"/>
                <a:gd name="T54" fmla="*/ 2520950 w 430"/>
                <a:gd name="T55" fmla="*/ 305959262 h 205"/>
                <a:gd name="T56" fmla="*/ 2520950 w 430"/>
                <a:gd name="T57" fmla="*/ 373670768 h 205"/>
                <a:gd name="T58" fmla="*/ 0 w 430"/>
                <a:gd name="T59" fmla="*/ 486525384 h 205"/>
                <a:gd name="T60" fmla="*/ 57964388 w 430"/>
                <a:gd name="T61" fmla="*/ 501572561 h 205"/>
                <a:gd name="T62" fmla="*/ 83165950 w 430"/>
                <a:gd name="T63" fmla="*/ 499063908 h 205"/>
                <a:gd name="T64" fmla="*/ 115927188 w 430"/>
                <a:gd name="T65" fmla="*/ 489032457 h 205"/>
                <a:gd name="T66" fmla="*/ 133569075 w 430"/>
                <a:gd name="T67" fmla="*/ 494048183 h 205"/>
                <a:gd name="T68" fmla="*/ 183972200 w 430"/>
                <a:gd name="T69" fmla="*/ 511604012 h 205"/>
                <a:gd name="T70" fmla="*/ 206652813 w 430"/>
                <a:gd name="T71" fmla="*/ 511604012 h 205"/>
                <a:gd name="T72" fmla="*/ 211693125 w 430"/>
                <a:gd name="T73" fmla="*/ 506588287 h 205"/>
                <a:gd name="T74" fmla="*/ 216733438 w 430"/>
                <a:gd name="T75" fmla="*/ 489032457 h 205"/>
                <a:gd name="T76" fmla="*/ 229335013 w 430"/>
                <a:gd name="T77" fmla="*/ 471478207 h 205"/>
                <a:gd name="T78" fmla="*/ 249496263 w 430"/>
                <a:gd name="T79" fmla="*/ 448906652 h 205"/>
                <a:gd name="T80" fmla="*/ 254536575 w 430"/>
                <a:gd name="T81" fmla="*/ 426336677 h 205"/>
                <a:gd name="T82" fmla="*/ 274697825 w 430"/>
                <a:gd name="T83" fmla="*/ 396242323 h 205"/>
                <a:gd name="T84" fmla="*/ 307459063 w 430"/>
                <a:gd name="T85" fmla="*/ 361132244 h 205"/>
                <a:gd name="T86" fmla="*/ 388104063 w 430"/>
                <a:gd name="T87" fmla="*/ 305959262 h 205"/>
                <a:gd name="T88" fmla="*/ 448587813 w 430"/>
                <a:gd name="T89" fmla="*/ 255802006 h 205"/>
                <a:gd name="T90" fmla="*/ 488910313 w 430"/>
                <a:gd name="T91" fmla="*/ 223199000 h 205"/>
                <a:gd name="T92" fmla="*/ 529232813 w 430"/>
                <a:gd name="T93" fmla="*/ 208151823 h 205"/>
                <a:gd name="T94" fmla="*/ 577116575 w 430"/>
                <a:gd name="T95" fmla="*/ 205644750 h 205"/>
                <a:gd name="T96" fmla="*/ 1083667188 w 430"/>
                <a:gd name="T97" fmla="*/ 205644750 h 205"/>
                <a:gd name="T98" fmla="*/ 1083667188 w 430"/>
                <a:gd name="T99" fmla="*/ 130408866 h 205"/>
                <a:gd name="T100" fmla="*/ 1083667188 w 430"/>
                <a:gd name="T101" fmla="*/ 75235884 h 205"/>
                <a:gd name="T102" fmla="*/ 740925938 w 430"/>
                <a:gd name="T103" fmla="*/ 77742957 h 20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30" h="205">
                  <a:moveTo>
                    <a:pt x="293" y="31"/>
                  </a:moveTo>
                  <a:lnTo>
                    <a:pt x="282" y="31"/>
                  </a:lnTo>
                  <a:lnTo>
                    <a:pt x="270" y="31"/>
                  </a:lnTo>
                  <a:lnTo>
                    <a:pt x="265" y="30"/>
                  </a:lnTo>
                  <a:lnTo>
                    <a:pt x="260" y="27"/>
                  </a:lnTo>
                  <a:lnTo>
                    <a:pt x="257" y="25"/>
                  </a:lnTo>
                  <a:lnTo>
                    <a:pt x="253" y="21"/>
                  </a:lnTo>
                  <a:lnTo>
                    <a:pt x="248" y="13"/>
                  </a:lnTo>
                  <a:lnTo>
                    <a:pt x="244" y="6"/>
                  </a:lnTo>
                  <a:lnTo>
                    <a:pt x="242" y="3"/>
                  </a:lnTo>
                  <a:lnTo>
                    <a:pt x="239" y="1"/>
                  </a:lnTo>
                  <a:lnTo>
                    <a:pt x="235" y="0"/>
                  </a:lnTo>
                  <a:lnTo>
                    <a:pt x="230" y="0"/>
                  </a:lnTo>
                  <a:lnTo>
                    <a:pt x="220" y="0"/>
                  </a:lnTo>
                  <a:lnTo>
                    <a:pt x="213" y="2"/>
                  </a:lnTo>
                  <a:lnTo>
                    <a:pt x="197" y="7"/>
                  </a:lnTo>
                  <a:lnTo>
                    <a:pt x="193" y="10"/>
                  </a:lnTo>
                  <a:lnTo>
                    <a:pt x="191" y="11"/>
                  </a:lnTo>
                  <a:lnTo>
                    <a:pt x="186" y="18"/>
                  </a:lnTo>
                  <a:lnTo>
                    <a:pt x="181" y="25"/>
                  </a:lnTo>
                  <a:lnTo>
                    <a:pt x="177" y="27"/>
                  </a:lnTo>
                  <a:lnTo>
                    <a:pt x="172" y="28"/>
                  </a:lnTo>
                  <a:lnTo>
                    <a:pt x="149" y="33"/>
                  </a:lnTo>
                  <a:lnTo>
                    <a:pt x="127" y="37"/>
                  </a:lnTo>
                  <a:lnTo>
                    <a:pt x="117" y="40"/>
                  </a:lnTo>
                  <a:lnTo>
                    <a:pt x="107" y="45"/>
                  </a:lnTo>
                  <a:lnTo>
                    <a:pt x="98" y="48"/>
                  </a:lnTo>
                  <a:lnTo>
                    <a:pt x="89" y="51"/>
                  </a:lnTo>
                  <a:lnTo>
                    <a:pt x="78" y="51"/>
                  </a:lnTo>
                  <a:lnTo>
                    <a:pt x="69" y="52"/>
                  </a:lnTo>
                  <a:lnTo>
                    <a:pt x="64" y="53"/>
                  </a:lnTo>
                  <a:lnTo>
                    <a:pt x="59" y="55"/>
                  </a:lnTo>
                  <a:lnTo>
                    <a:pt x="56" y="57"/>
                  </a:lnTo>
                  <a:lnTo>
                    <a:pt x="52" y="61"/>
                  </a:lnTo>
                  <a:lnTo>
                    <a:pt x="48" y="64"/>
                  </a:lnTo>
                  <a:lnTo>
                    <a:pt x="46" y="69"/>
                  </a:lnTo>
                  <a:lnTo>
                    <a:pt x="43" y="73"/>
                  </a:lnTo>
                  <a:lnTo>
                    <a:pt x="41" y="74"/>
                  </a:lnTo>
                  <a:lnTo>
                    <a:pt x="40" y="74"/>
                  </a:lnTo>
                  <a:lnTo>
                    <a:pt x="36" y="73"/>
                  </a:lnTo>
                  <a:lnTo>
                    <a:pt x="33" y="74"/>
                  </a:lnTo>
                  <a:lnTo>
                    <a:pt x="32" y="77"/>
                  </a:lnTo>
                  <a:lnTo>
                    <a:pt x="31" y="79"/>
                  </a:lnTo>
                  <a:lnTo>
                    <a:pt x="30" y="86"/>
                  </a:lnTo>
                  <a:lnTo>
                    <a:pt x="28" y="89"/>
                  </a:lnTo>
                  <a:lnTo>
                    <a:pt x="25" y="93"/>
                  </a:lnTo>
                  <a:lnTo>
                    <a:pt x="22" y="94"/>
                  </a:lnTo>
                  <a:lnTo>
                    <a:pt x="17" y="97"/>
                  </a:lnTo>
                  <a:lnTo>
                    <a:pt x="11" y="97"/>
                  </a:lnTo>
                  <a:lnTo>
                    <a:pt x="10" y="98"/>
                  </a:lnTo>
                  <a:lnTo>
                    <a:pt x="8" y="101"/>
                  </a:lnTo>
                  <a:lnTo>
                    <a:pt x="7" y="106"/>
                  </a:lnTo>
                  <a:lnTo>
                    <a:pt x="6" y="112"/>
                  </a:lnTo>
                  <a:lnTo>
                    <a:pt x="3" y="117"/>
                  </a:lnTo>
                  <a:lnTo>
                    <a:pt x="2" y="119"/>
                  </a:lnTo>
                  <a:lnTo>
                    <a:pt x="1" y="122"/>
                  </a:lnTo>
                  <a:lnTo>
                    <a:pt x="1" y="132"/>
                  </a:lnTo>
                  <a:lnTo>
                    <a:pt x="1" y="149"/>
                  </a:lnTo>
                  <a:lnTo>
                    <a:pt x="1" y="172"/>
                  </a:lnTo>
                  <a:lnTo>
                    <a:pt x="0" y="194"/>
                  </a:lnTo>
                  <a:lnTo>
                    <a:pt x="12" y="198"/>
                  </a:lnTo>
                  <a:lnTo>
                    <a:pt x="23" y="200"/>
                  </a:lnTo>
                  <a:lnTo>
                    <a:pt x="28" y="200"/>
                  </a:lnTo>
                  <a:lnTo>
                    <a:pt x="33" y="199"/>
                  </a:lnTo>
                  <a:lnTo>
                    <a:pt x="40" y="198"/>
                  </a:lnTo>
                  <a:lnTo>
                    <a:pt x="46" y="195"/>
                  </a:lnTo>
                  <a:lnTo>
                    <a:pt x="48" y="195"/>
                  </a:lnTo>
                  <a:lnTo>
                    <a:pt x="53" y="197"/>
                  </a:lnTo>
                  <a:lnTo>
                    <a:pt x="67" y="203"/>
                  </a:lnTo>
                  <a:lnTo>
                    <a:pt x="73" y="204"/>
                  </a:lnTo>
                  <a:lnTo>
                    <a:pt x="79" y="205"/>
                  </a:lnTo>
                  <a:lnTo>
                    <a:pt x="82" y="204"/>
                  </a:lnTo>
                  <a:lnTo>
                    <a:pt x="84" y="203"/>
                  </a:lnTo>
                  <a:lnTo>
                    <a:pt x="84" y="202"/>
                  </a:lnTo>
                  <a:lnTo>
                    <a:pt x="86" y="199"/>
                  </a:lnTo>
                  <a:lnTo>
                    <a:pt x="86" y="195"/>
                  </a:lnTo>
                  <a:lnTo>
                    <a:pt x="87" y="193"/>
                  </a:lnTo>
                  <a:lnTo>
                    <a:pt x="91" y="188"/>
                  </a:lnTo>
                  <a:lnTo>
                    <a:pt x="96" y="184"/>
                  </a:lnTo>
                  <a:lnTo>
                    <a:pt x="99" y="179"/>
                  </a:lnTo>
                  <a:lnTo>
                    <a:pt x="99" y="174"/>
                  </a:lnTo>
                  <a:lnTo>
                    <a:pt x="101" y="170"/>
                  </a:lnTo>
                  <a:lnTo>
                    <a:pt x="104" y="165"/>
                  </a:lnTo>
                  <a:lnTo>
                    <a:pt x="109" y="158"/>
                  </a:lnTo>
                  <a:lnTo>
                    <a:pt x="116" y="151"/>
                  </a:lnTo>
                  <a:lnTo>
                    <a:pt x="122" y="144"/>
                  </a:lnTo>
                  <a:lnTo>
                    <a:pt x="129" y="138"/>
                  </a:lnTo>
                  <a:lnTo>
                    <a:pt x="154" y="122"/>
                  </a:lnTo>
                  <a:lnTo>
                    <a:pt x="167" y="112"/>
                  </a:lnTo>
                  <a:lnTo>
                    <a:pt x="178" y="102"/>
                  </a:lnTo>
                  <a:lnTo>
                    <a:pt x="186" y="94"/>
                  </a:lnTo>
                  <a:lnTo>
                    <a:pt x="194" y="89"/>
                  </a:lnTo>
                  <a:lnTo>
                    <a:pt x="202" y="86"/>
                  </a:lnTo>
                  <a:lnTo>
                    <a:pt x="210" y="83"/>
                  </a:lnTo>
                  <a:lnTo>
                    <a:pt x="219" y="82"/>
                  </a:lnTo>
                  <a:lnTo>
                    <a:pt x="229" y="82"/>
                  </a:lnTo>
                  <a:lnTo>
                    <a:pt x="249" y="82"/>
                  </a:lnTo>
                  <a:lnTo>
                    <a:pt x="430" y="82"/>
                  </a:lnTo>
                  <a:lnTo>
                    <a:pt x="430" y="66"/>
                  </a:lnTo>
                  <a:lnTo>
                    <a:pt x="430" y="52"/>
                  </a:lnTo>
                  <a:lnTo>
                    <a:pt x="430" y="35"/>
                  </a:lnTo>
                  <a:lnTo>
                    <a:pt x="430" y="30"/>
                  </a:lnTo>
                  <a:lnTo>
                    <a:pt x="362" y="30"/>
                  </a:lnTo>
                  <a:lnTo>
                    <a:pt x="294" y="31"/>
                  </a:lnTo>
                  <a:lnTo>
                    <a:pt x="293" y="31"/>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Nevada</a:t>
              </a:r>
            </a:p>
          </p:txBody>
        </p:sp>
      </p:grpSp>
      <p:grpSp>
        <p:nvGrpSpPr>
          <p:cNvPr id="65" name="Central Coast"/>
          <p:cNvGrpSpPr/>
          <p:nvPr/>
        </p:nvGrpSpPr>
        <p:grpSpPr>
          <a:xfrm>
            <a:off x="2232697" y="3649120"/>
            <a:ext cx="1336185" cy="1546019"/>
            <a:chOff x="1638603" y="5714838"/>
            <a:chExt cx="2019488" cy="2336628"/>
          </a:xfrm>
        </p:grpSpPr>
        <p:sp>
          <p:nvSpPr>
            <p:cNvPr id="66" name="Santa Barbara"/>
            <p:cNvSpPr>
              <a:spLocks/>
            </p:cNvSpPr>
            <p:nvPr/>
          </p:nvSpPr>
          <p:spPr bwMode="auto">
            <a:xfrm>
              <a:off x="2795600" y="7456286"/>
              <a:ext cx="862491" cy="595180"/>
            </a:xfrm>
            <a:custGeom>
              <a:avLst/>
              <a:gdLst>
                <a:gd name="T0" fmla="*/ 2147483647 w 410"/>
                <a:gd name="T1" fmla="*/ 2147483647 h 297"/>
                <a:gd name="T2" fmla="*/ 2147483647 w 410"/>
                <a:gd name="T3" fmla="*/ 2147483647 h 297"/>
                <a:gd name="T4" fmla="*/ 2147483647 w 410"/>
                <a:gd name="T5" fmla="*/ 2147483647 h 297"/>
                <a:gd name="T6" fmla="*/ 2147483647 w 410"/>
                <a:gd name="T7" fmla="*/ 2147483647 h 297"/>
                <a:gd name="T8" fmla="*/ 2147483647 w 410"/>
                <a:gd name="T9" fmla="*/ 2147483647 h 297"/>
                <a:gd name="T10" fmla="*/ 2147483647 w 410"/>
                <a:gd name="T11" fmla="*/ 2147483647 h 297"/>
                <a:gd name="T12" fmla="*/ 2147483647 w 410"/>
                <a:gd name="T13" fmla="*/ 2147483647 h 297"/>
                <a:gd name="T14" fmla="*/ 2147483647 w 410"/>
                <a:gd name="T15" fmla="*/ 2147483647 h 297"/>
                <a:gd name="T16" fmla="*/ 2147483647 w 410"/>
                <a:gd name="T17" fmla="*/ 2147483647 h 297"/>
                <a:gd name="T18" fmla="*/ 2147483647 w 410"/>
                <a:gd name="T19" fmla="*/ 0 h 297"/>
                <a:gd name="T20" fmla="*/ 2147483647 w 410"/>
                <a:gd name="T21" fmla="*/ 2147483647 h 297"/>
                <a:gd name="T22" fmla="*/ 2147483647 w 410"/>
                <a:gd name="T23" fmla="*/ 2147483647 h 297"/>
                <a:gd name="T24" fmla="*/ 2147483647 w 410"/>
                <a:gd name="T25" fmla="*/ 2147483647 h 297"/>
                <a:gd name="T26" fmla="*/ 2147483647 w 410"/>
                <a:gd name="T27" fmla="*/ 2147483647 h 297"/>
                <a:gd name="T28" fmla="*/ 2147483647 w 410"/>
                <a:gd name="T29" fmla="*/ 2147483647 h 297"/>
                <a:gd name="T30" fmla="*/ 2147483647 w 410"/>
                <a:gd name="T31" fmla="*/ 2147483647 h 297"/>
                <a:gd name="T32" fmla="*/ 2147483647 w 410"/>
                <a:gd name="T33" fmla="*/ 2147483647 h 297"/>
                <a:gd name="T34" fmla="*/ 2147483647 w 410"/>
                <a:gd name="T35" fmla="*/ 2147483647 h 297"/>
                <a:gd name="T36" fmla="*/ 2147483647 w 410"/>
                <a:gd name="T37" fmla="*/ 2147483647 h 297"/>
                <a:gd name="T38" fmla="*/ 2147483647 w 410"/>
                <a:gd name="T39" fmla="*/ 2147483647 h 297"/>
                <a:gd name="T40" fmla="*/ 2147483647 w 410"/>
                <a:gd name="T41" fmla="*/ 2147483647 h 297"/>
                <a:gd name="T42" fmla="*/ 2147483647 w 410"/>
                <a:gd name="T43" fmla="*/ 2147483647 h 297"/>
                <a:gd name="T44" fmla="*/ 2147483647 w 410"/>
                <a:gd name="T45" fmla="*/ 2147483647 h 297"/>
                <a:gd name="T46" fmla="*/ 2147483647 w 410"/>
                <a:gd name="T47" fmla="*/ 2147483647 h 297"/>
                <a:gd name="T48" fmla="*/ 2147483647 w 410"/>
                <a:gd name="T49" fmla="*/ 2147483647 h 297"/>
                <a:gd name="T50" fmla="*/ 2147483647 w 410"/>
                <a:gd name="T51" fmla="*/ 2147483647 h 297"/>
                <a:gd name="T52" fmla="*/ 0 w 410"/>
                <a:gd name="T53" fmla="*/ 2147483647 h 297"/>
                <a:gd name="T54" fmla="*/ 2147483647 w 410"/>
                <a:gd name="T55" fmla="*/ 2147483647 h 297"/>
                <a:gd name="T56" fmla="*/ 2147483647 w 410"/>
                <a:gd name="T57" fmla="*/ 2147483647 h 297"/>
                <a:gd name="T58" fmla="*/ 2147483647 w 410"/>
                <a:gd name="T59" fmla="*/ 2147483647 h 297"/>
                <a:gd name="T60" fmla="*/ 2147483647 w 410"/>
                <a:gd name="T61" fmla="*/ 2147483647 h 297"/>
                <a:gd name="T62" fmla="*/ 2147483647 w 410"/>
                <a:gd name="T63" fmla="*/ 2147483647 h 297"/>
                <a:gd name="T64" fmla="*/ 2147483647 w 410"/>
                <a:gd name="T65" fmla="*/ 2147483647 h 297"/>
                <a:gd name="T66" fmla="*/ 2147483647 w 410"/>
                <a:gd name="T67" fmla="*/ 2147483647 h 297"/>
                <a:gd name="T68" fmla="*/ 2147483647 w 410"/>
                <a:gd name="T69" fmla="*/ 2147483647 h 297"/>
                <a:gd name="T70" fmla="*/ 2147483647 w 410"/>
                <a:gd name="T71" fmla="*/ 2147483647 h 297"/>
                <a:gd name="T72" fmla="*/ 2147483647 w 410"/>
                <a:gd name="T73" fmla="*/ 2147483647 h 297"/>
                <a:gd name="T74" fmla="*/ 2147483647 w 410"/>
                <a:gd name="T75" fmla="*/ 2147483647 h 297"/>
                <a:gd name="T76" fmla="*/ 2147483647 w 410"/>
                <a:gd name="T77" fmla="*/ 2147483647 h 297"/>
                <a:gd name="T78" fmla="*/ 2147483647 w 410"/>
                <a:gd name="T79" fmla="*/ 2147483647 h 297"/>
                <a:gd name="T80" fmla="*/ 2147483647 w 410"/>
                <a:gd name="T81" fmla="*/ 2147483647 h 297"/>
                <a:gd name="T82" fmla="*/ 2147483647 w 410"/>
                <a:gd name="T83" fmla="*/ 2147483647 h 297"/>
                <a:gd name="T84" fmla="*/ 2147483647 w 410"/>
                <a:gd name="T85" fmla="*/ 2147483647 h 297"/>
                <a:gd name="T86" fmla="*/ 2147483647 w 410"/>
                <a:gd name="T87" fmla="*/ 2147483647 h 297"/>
                <a:gd name="T88" fmla="*/ 2147483647 w 410"/>
                <a:gd name="T89" fmla="*/ 2147483647 h 297"/>
                <a:gd name="T90" fmla="*/ 2147483647 w 410"/>
                <a:gd name="T91" fmla="*/ 2147483647 h 297"/>
                <a:gd name="T92" fmla="*/ 2147483647 w 410"/>
                <a:gd name="T93" fmla="*/ 2147483647 h 297"/>
                <a:gd name="T94" fmla="*/ 2147483647 w 410"/>
                <a:gd name="T95" fmla="*/ 2147483647 h 297"/>
                <a:gd name="T96" fmla="*/ 2147483647 w 410"/>
                <a:gd name="T97" fmla="*/ 2147483647 h 297"/>
                <a:gd name="T98" fmla="*/ 2147483647 w 410"/>
                <a:gd name="T99" fmla="*/ 2147483647 h 297"/>
                <a:gd name="T100" fmla="*/ 2147483647 w 410"/>
                <a:gd name="T101" fmla="*/ 2147483647 h 297"/>
                <a:gd name="T102" fmla="*/ 2147483647 w 410"/>
                <a:gd name="T103" fmla="*/ 2147483647 h 297"/>
                <a:gd name="T104" fmla="*/ 2147483647 w 410"/>
                <a:gd name="T105" fmla="*/ 2147483647 h 29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10" h="297">
                  <a:moveTo>
                    <a:pt x="409" y="227"/>
                  </a:moveTo>
                  <a:lnTo>
                    <a:pt x="408" y="88"/>
                  </a:lnTo>
                  <a:lnTo>
                    <a:pt x="398" y="87"/>
                  </a:lnTo>
                  <a:lnTo>
                    <a:pt x="393" y="89"/>
                  </a:lnTo>
                  <a:lnTo>
                    <a:pt x="387" y="90"/>
                  </a:lnTo>
                  <a:lnTo>
                    <a:pt x="382" y="89"/>
                  </a:lnTo>
                  <a:lnTo>
                    <a:pt x="375" y="87"/>
                  </a:lnTo>
                  <a:lnTo>
                    <a:pt x="364" y="80"/>
                  </a:lnTo>
                  <a:lnTo>
                    <a:pt x="353" y="73"/>
                  </a:lnTo>
                  <a:lnTo>
                    <a:pt x="343" y="68"/>
                  </a:lnTo>
                  <a:lnTo>
                    <a:pt x="332" y="64"/>
                  </a:lnTo>
                  <a:lnTo>
                    <a:pt x="311" y="58"/>
                  </a:lnTo>
                  <a:lnTo>
                    <a:pt x="296" y="53"/>
                  </a:lnTo>
                  <a:lnTo>
                    <a:pt x="291" y="49"/>
                  </a:lnTo>
                  <a:lnTo>
                    <a:pt x="284" y="45"/>
                  </a:lnTo>
                  <a:lnTo>
                    <a:pt x="278" y="39"/>
                  </a:lnTo>
                  <a:lnTo>
                    <a:pt x="273" y="34"/>
                  </a:lnTo>
                  <a:lnTo>
                    <a:pt x="267" y="30"/>
                  </a:lnTo>
                  <a:lnTo>
                    <a:pt x="259" y="28"/>
                  </a:lnTo>
                  <a:lnTo>
                    <a:pt x="257" y="29"/>
                  </a:lnTo>
                  <a:lnTo>
                    <a:pt x="256" y="30"/>
                  </a:lnTo>
                  <a:lnTo>
                    <a:pt x="253" y="29"/>
                  </a:lnTo>
                  <a:lnTo>
                    <a:pt x="251" y="27"/>
                  </a:lnTo>
                  <a:lnTo>
                    <a:pt x="249" y="25"/>
                  </a:lnTo>
                  <a:lnTo>
                    <a:pt x="239" y="22"/>
                  </a:lnTo>
                  <a:lnTo>
                    <a:pt x="229" y="19"/>
                  </a:lnTo>
                  <a:lnTo>
                    <a:pt x="211" y="12"/>
                  </a:lnTo>
                  <a:lnTo>
                    <a:pt x="204" y="8"/>
                  </a:lnTo>
                  <a:lnTo>
                    <a:pt x="199" y="3"/>
                  </a:lnTo>
                  <a:lnTo>
                    <a:pt x="194" y="0"/>
                  </a:lnTo>
                  <a:lnTo>
                    <a:pt x="191" y="0"/>
                  </a:lnTo>
                  <a:lnTo>
                    <a:pt x="187" y="2"/>
                  </a:lnTo>
                  <a:lnTo>
                    <a:pt x="181" y="4"/>
                  </a:lnTo>
                  <a:lnTo>
                    <a:pt x="174" y="10"/>
                  </a:lnTo>
                  <a:lnTo>
                    <a:pt x="163" y="24"/>
                  </a:lnTo>
                  <a:lnTo>
                    <a:pt x="157" y="30"/>
                  </a:lnTo>
                  <a:lnTo>
                    <a:pt x="152" y="35"/>
                  </a:lnTo>
                  <a:lnTo>
                    <a:pt x="148" y="37"/>
                  </a:lnTo>
                  <a:lnTo>
                    <a:pt x="146" y="37"/>
                  </a:lnTo>
                  <a:lnTo>
                    <a:pt x="142" y="37"/>
                  </a:lnTo>
                  <a:lnTo>
                    <a:pt x="140" y="35"/>
                  </a:lnTo>
                  <a:lnTo>
                    <a:pt x="137" y="37"/>
                  </a:lnTo>
                  <a:lnTo>
                    <a:pt x="136" y="34"/>
                  </a:lnTo>
                  <a:lnTo>
                    <a:pt x="130" y="40"/>
                  </a:lnTo>
                  <a:lnTo>
                    <a:pt x="130" y="39"/>
                  </a:lnTo>
                  <a:lnTo>
                    <a:pt x="130" y="40"/>
                  </a:lnTo>
                  <a:lnTo>
                    <a:pt x="116" y="42"/>
                  </a:lnTo>
                  <a:lnTo>
                    <a:pt x="113" y="42"/>
                  </a:lnTo>
                  <a:lnTo>
                    <a:pt x="111" y="43"/>
                  </a:lnTo>
                  <a:lnTo>
                    <a:pt x="111" y="45"/>
                  </a:lnTo>
                  <a:lnTo>
                    <a:pt x="112" y="48"/>
                  </a:lnTo>
                  <a:lnTo>
                    <a:pt x="117" y="53"/>
                  </a:lnTo>
                  <a:lnTo>
                    <a:pt x="120" y="55"/>
                  </a:lnTo>
                  <a:lnTo>
                    <a:pt x="121" y="58"/>
                  </a:lnTo>
                  <a:lnTo>
                    <a:pt x="123" y="63"/>
                  </a:lnTo>
                  <a:lnTo>
                    <a:pt x="123" y="70"/>
                  </a:lnTo>
                  <a:lnTo>
                    <a:pt x="123" y="79"/>
                  </a:lnTo>
                  <a:lnTo>
                    <a:pt x="122" y="85"/>
                  </a:lnTo>
                  <a:lnTo>
                    <a:pt x="121" y="87"/>
                  </a:lnTo>
                  <a:lnTo>
                    <a:pt x="120" y="84"/>
                  </a:lnTo>
                  <a:lnTo>
                    <a:pt x="116" y="79"/>
                  </a:lnTo>
                  <a:lnTo>
                    <a:pt x="111" y="74"/>
                  </a:lnTo>
                  <a:lnTo>
                    <a:pt x="106" y="70"/>
                  </a:lnTo>
                  <a:lnTo>
                    <a:pt x="102" y="65"/>
                  </a:lnTo>
                  <a:lnTo>
                    <a:pt x="97" y="59"/>
                  </a:lnTo>
                  <a:lnTo>
                    <a:pt x="91" y="54"/>
                  </a:lnTo>
                  <a:lnTo>
                    <a:pt x="83" y="52"/>
                  </a:lnTo>
                  <a:lnTo>
                    <a:pt x="76" y="52"/>
                  </a:lnTo>
                  <a:lnTo>
                    <a:pt x="67" y="52"/>
                  </a:lnTo>
                  <a:lnTo>
                    <a:pt x="58" y="52"/>
                  </a:lnTo>
                  <a:lnTo>
                    <a:pt x="43" y="54"/>
                  </a:lnTo>
                  <a:lnTo>
                    <a:pt x="33" y="57"/>
                  </a:lnTo>
                  <a:lnTo>
                    <a:pt x="22" y="60"/>
                  </a:lnTo>
                  <a:lnTo>
                    <a:pt x="17" y="62"/>
                  </a:lnTo>
                  <a:lnTo>
                    <a:pt x="12" y="62"/>
                  </a:lnTo>
                  <a:lnTo>
                    <a:pt x="8" y="59"/>
                  </a:lnTo>
                  <a:lnTo>
                    <a:pt x="6" y="55"/>
                  </a:lnTo>
                  <a:lnTo>
                    <a:pt x="3" y="69"/>
                  </a:lnTo>
                  <a:lnTo>
                    <a:pt x="2" y="75"/>
                  </a:lnTo>
                  <a:lnTo>
                    <a:pt x="0" y="80"/>
                  </a:lnTo>
                  <a:lnTo>
                    <a:pt x="0" y="83"/>
                  </a:lnTo>
                  <a:lnTo>
                    <a:pt x="1" y="87"/>
                  </a:lnTo>
                  <a:lnTo>
                    <a:pt x="6" y="91"/>
                  </a:lnTo>
                  <a:lnTo>
                    <a:pt x="12" y="96"/>
                  </a:lnTo>
                  <a:lnTo>
                    <a:pt x="15" y="99"/>
                  </a:lnTo>
                  <a:lnTo>
                    <a:pt x="16" y="103"/>
                  </a:lnTo>
                  <a:lnTo>
                    <a:pt x="17" y="106"/>
                  </a:lnTo>
                  <a:lnTo>
                    <a:pt x="17" y="110"/>
                  </a:lnTo>
                  <a:lnTo>
                    <a:pt x="16" y="119"/>
                  </a:lnTo>
                  <a:lnTo>
                    <a:pt x="12" y="135"/>
                  </a:lnTo>
                  <a:lnTo>
                    <a:pt x="11" y="140"/>
                  </a:lnTo>
                  <a:lnTo>
                    <a:pt x="12" y="144"/>
                  </a:lnTo>
                  <a:lnTo>
                    <a:pt x="16" y="153"/>
                  </a:lnTo>
                  <a:lnTo>
                    <a:pt x="20" y="160"/>
                  </a:lnTo>
                  <a:lnTo>
                    <a:pt x="20" y="165"/>
                  </a:lnTo>
                  <a:lnTo>
                    <a:pt x="18" y="169"/>
                  </a:lnTo>
                  <a:lnTo>
                    <a:pt x="12" y="186"/>
                  </a:lnTo>
                  <a:lnTo>
                    <a:pt x="7" y="204"/>
                  </a:lnTo>
                  <a:lnTo>
                    <a:pt x="6" y="211"/>
                  </a:lnTo>
                  <a:lnTo>
                    <a:pt x="6" y="216"/>
                  </a:lnTo>
                  <a:lnTo>
                    <a:pt x="7" y="219"/>
                  </a:lnTo>
                  <a:lnTo>
                    <a:pt x="10" y="221"/>
                  </a:lnTo>
                  <a:lnTo>
                    <a:pt x="13" y="222"/>
                  </a:lnTo>
                  <a:lnTo>
                    <a:pt x="18" y="224"/>
                  </a:lnTo>
                  <a:lnTo>
                    <a:pt x="27" y="225"/>
                  </a:lnTo>
                  <a:lnTo>
                    <a:pt x="36" y="227"/>
                  </a:lnTo>
                  <a:lnTo>
                    <a:pt x="42" y="232"/>
                  </a:lnTo>
                  <a:lnTo>
                    <a:pt x="47" y="237"/>
                  </a:lnTo>
                  <a:lnTo>
                    <a:pt x="52" y="244"/>
                  </a:lnTo>
                  <a:lnTo>
                    <a:pt x="60" y="257"/>
                  </a:lnTo>
                  <a:lnTo>
                    <a:pt x="63" y="264"/>
                  </a:lnTo>
                  <a:lnTo>
                    <a:pt x="68" y="270"/>
                  </a:lnTo>
                  <a:lnTo>
                    <a:pt x="77" y="266"/>
                  </a:lnTo>
                  <a:lnTo>
                    <a:pt x="87" y="264"/>
                  </a:lnTo>
                  <a:lnTo>
                    <a:pt x="98" y="262"/>
                  </a:lnTo>
                  <a:lnTo>
                    <a:pt x="111" y="261"/>
                  </a:lnTo>
                  <a:lnTo>
                    <a:pt x="135" y="260"/>
                  </a:lnTo>
                  <a:lnTo>
                    <a:pt x="156" y="260"/>
                  </a:lnTo>
                  <a:lnTo>
                    <a:pt x="173" y="260"/>
                  </a:lnTo>
                  <a:lnTo>
                    <a:pt x="191" y="261"/>
                  </a:lnTo>
                  <a:lnTo>
                    <a:pt x="209" y="264"/>
                  </a:lnTo>
                  <a:lnTo>
                    <a:pt x="217" y="265"/>
                  </a:lnTo>
                  <a:lnTo>
                    <a:pt x="226" y="269"/>
                  </a:lnTo>
                  <a:lnTo>
                    <a:pt x="238" y="272"/>
                  </a:lnTo>
                  <a:lnTo>
                    <a:pt x="244" y="274"/>
                  </a:lnTo>
                  <a:lnTo>
                    <a:pt x="249" y="276"/>
                  </a:lnTo>
                  <a:lnTo>
                    <a:pt x="258" y="281"/>
                  </a:lnTo>
                  <a:lnTo>
                    <a:pt x="263" y="284"/>
                  </a:lnTo>
                  <a:lnTo>
                    <a:pt x="267" y="285"/>
                  </a:lnTo>
                  <a:lnTo>
                    <a:pt x="272" y="285"/>
                  </a:lnTo>
                  <a:lnTo>
                    <a:pt x="277" y="284"/>
                  </a:lnTo>
                  <a:lnTo>
                    <a:pt x="281" y="281"/>
                  </a:lnTo>
                  <a:lnTo>
                    <a:pt x="286" y="280"/>
                  </a:lnTo>
                  <a:lnTo>
                    <a:pt x="289" y="280"/>
                  </a:lnTo>
                  <a:lnTo>
                    <a:pt x="293" y="281"/>
                  </a:lnTo>
                  <a:lnTo>
                    <a:pt x="301" y="284"/>
                  </a:lnTo>
                  <a:lnTo>
                    <a:pt x="308" y="287"/>
                  </a:lnTo>
                  <a:lnTo>
                    <a:pt x="312" y="289"/>
                  </a:lnTo>
                  <a:lnTo>
                    <a:pt x="315" y="289"/>
                  </a:lnTo>
                  <a:lnTo>
                    <a:pt x="320" y="289"/>
                  </a:lnTo>
                  <a:lnTo>
                    <a:pt x="325" y="287"/>
                  </a:lnTo>
                  <a:lnTo>
                    <a:pt x="335" y="284"/>
                  </a:lnTo>
                  <a:lnTo>
                    <a:pt x="340" y="281"/>
                  </a:lnTo>
                  <a:lnTo>
                    <a:pt x="345" y="281"/>
                  </a:lnTo>
                  <a:lnTo>
                    <a:pt x="350" y="281"/>
                  </a:lnTo>
                  <a:lnTo>
                    <a:pt x="357" y="282"/>
                  </a:lnTo>
                  <a:lnTo>
                    <a:pt x="365" y="285"/>
                  </a:lnTo>
                  <a:lnTo>
                    <a:pt x="370" y="286"/>
                  </a:lnTo>
                  <a:lnTo>
                    <a:pt x="375" y="287"/>
                  </a:lnTo>
                  <a:lnTo>
                    <a:pt x="384" y="294"/>
                  </a:lnTo>
                  <a:lnTo>
                    <a:pt x="388" y="296"/>
                  </a:lnTo>
                  <a:lnTo>
                    <a:pt x="394" y="297"/>
                  </a:lnTo>
                  <a:lnTo>
                    <a:pt x="400" y="291"/>
                  </a:lnTo>
                  <a:lnTo>
                    <a:pt x="405" y="284"/>
                  </a:lnTo>
                  <a:lnTo>
                    <a:pt x="408" y="275"/>
                  </a:lnTo>
                  <a:lnTo>
                    <a:pt x="409" y="266"/>
                  </a:lnTo>
                  <a:lnTo>
                    <a:pt x="410" y="257"/>
                  </a:lnTo>
                  <a:lnTo>
                    <a:pt x="410" y="247"/>
                  </a:lnTo>
                  <a:lnTo>
                    <a:pt x="410" y="227"/>
                  </a:lnTo>
                  <a:lnTo>
                    <a:pt x="409" y="227"/>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ta</a:t>
              </a:r>
            </a:p>
            <a:p>
              <a:pPr algn="ctr"/>
              <a:r>
                <a:rPr lang="en-US" sz="800" dirty="0">
                  <a:solidFill>
                    <a:prstClr val="black"/>
                  </a:solidFill>
                  <a:latin typeface="Franklin Gothic Book"/>
                  <a:ea typeface="MS PGothic" charset="0"/>
                  <a:cs typeface="MS PGothic" charset="0"/>
                </a:rPr>
                <a:t>Barbara</a:t>
              </a:r>
            </a:p>
          </p:txBody>
        </p:sp>
        <p:sp>
          <p:nvSpPr>
            <p:cNvPr id="67" name="San Luis Obispo"/>
            <p:cNvSpPr>
              <a:spLocks/>
            </p:cNvSpPr>
            <p:nvPr/>
          </p:nvSpPr>
          <p:spPr bwMode="auto">
            <a:xfrm>
              <a:off x="2315974" y="6909203"/>
              <a:ext cx="1312672" cy="729446"/>
            </a:xfrm>
            <a:custGeom>
              <a:avLst/>
              <a:gdLst>
                <a:gd name="T0" fmla="*/ 2147483647 w 624"/>
                <a:gd name="T1" fmla="*/ 2147483647 h 365"/>
                <a:gd name="T2" fmla="*/ 2147483647 w 624"/>
                <a:gd name="T3" fmla="*/ 2147483647 h 365"/>
                <a:gd name="T4" fmla="*/ 2147483647 w 624"/>
                <a:gd name="T5" fmla="*/ 2147483647 h 365"/>
                <a:gd name="T6" fmla="*/ 2147483647 w 624"/>
                <a:gd name="T7" fmla="*/ 2147483647 h 365"/>
                <a:gd name="T8" fmla="*/ 2147483647 w 624"/>
                <a:gd name="T9" fmla="*/ 2147483647 h 365"/>
                <a:gd name="T10" fmla="*/ 2147483647 w 624"/>
                <a:gd name="T11" fmla="*/ 2147483647 h 365"/>
                <a:gd name="T12" fmla="*/ 2147483647 w 624"/>
                <a:gd name="T13" fmla="*/ 2147483647 h 365"/>
                <a:gd name="T14" fmla="*/ 2147483647 w 624"/>
                <a:gd name="T15" fmla="*/ 2147483647 h 365"/>
                <a:gd name="T16" fmla="*/ 2147483647 w 624"/>
                <a:gd name="T17" fmla="*/ 2147483647 h 365"/>
                <a:gd name="T18" fmla="*/ 2147483647 w 624"/>
                <a:gd name="T19" fmla="*/ 2147483647 h 365"/>
                <a:gd name="T20" fmla="*/ 2147483647 w 624"/>
                <a:gd name="T21" fmla="*/ 2147483647 h 365"/>
                <a:gd name="T22" fmla="*/ 2147483647 w 624"/>
                <a:gd name="T23" fmla="*/ 2147483647 h 365"/>
                <a:gd name="T24" fmla="*/ 2147483647 w 624"/>
                <a:gd name="T25" fmla="*/ 2147483647 h 365"/>
                <a:gd name="T26" fmla="*/ 2147483647 w 624"/>
                <a:gd name="T27" fmla="*/ 2147483647 h 365"/>
                <a:gd name="T28" fmla="*/ 2147483647 w 624"/>
                <a:gd name="T29" fmla="*/ 2147483647 h 365"/>
                <a:gd name="T30" fmla="*/ 2147483647 w 624"/>
                <a:gd name="T31" fmla="*/ 2147483647 h 365"/>
                <a:gd name="T32" fmla="*/ 2147483647 w 624"/>
                <a:gd name="T33" fmla="*/ 2147483647 h 365"/>
                <a:gd name="T34" fmla="*/ 2147483647 w 624"/>
                <a:gd name="T35" fmla="*/ 2147483647 h 365"/>
                <a:gd name="T36" fmla="*/ 2147483647 w 624"/>
                <a:gd name="T37" fmla="*/ 2147483647 h 365"/>
                <a:gd name="T38" fmla="*/ 2147483647 w 624"/>
                <a:gd name="T39" fmla="*/ 2147483647 h 365"/>
                <a:gd name="T40" fmla="*/ 2147483647 w 624"/>
                <a:gd name="T41" fmla="*/ 2147483647 h 365"/>
                <a:gd name="T42" fmla="*/ 2147483647 w 624"/>
                <a:gd name="T43" fmla="*/ 2147483647 h 365"/>
                <a:gd name="T44" fmla="*/ 2147483647 w 624"/>
                <a:gd name="T45" fmla="*/ 2147483647 h 365"/>
                <a:gd name="T46" fmla="*/ 2147483647 w 624"/>
                <a:gd name="T47" fmla="*/ 2147483647 h 365"/>
                <a:gd name="T48" fmla="*/ 2147483647 w 624"/>
                <a:gd name="T49" fmla="*/ 2147483647 h 365"/>
                <a:gd name="T50" fmla="*/ 2147483647 w 624"/>
                <a:gd name="T51" fmla="*/ 2147483647 h 365"/>
                <a:gd name="T52" fmla="*/ 2147483647 w 624"/>
                <a:gd name="T53" fmla="*/ 2147483647 h 365"/>
                <a:gd name="T54" fmla="*/ 2147483647 w 624"/>
                <a:gd name="T55" fmla="*/ 2147483647 h 365"/>
                <a:gd name="T56" fmla="*/ 2147483647 w 624"/>
                <a:gd name="T57" fmla="*/ 2147483647 h 365"/>
                <a:gd name="T58" fmla="*/ 2147483647 w 624"/>
                <a:gd name="T59" fmla="*/ 2147483647 h 365"/>
                <a:gd name="T60" fmla="*/ 2147483647 w 624"/>
                <a:gd name="T61" fmla="*/ 2147483647 h 365"/>
                <a:gd name="T62" fmla="*/ 2147483647 w 624"/>
                <a:gd name="T63" fmla="*/ 2147483647 h 365"/>
                <a:gd name="T64" fmla="*/ 2147483647 w 624"/>
                <a:gd name="T65" fmla="*/ 2147483647 h 365"/>
                <a:gd name="T66" fmla="*/ 2147483647 w 624"/>
                <a:gd name="T67" fmla="*/ 2147483647 h 365"/>
                <a:gd name="T68" fmla="*/ 2147483647 w 624"/>
                <a:gd name="T69" fmla="*/ 2147483647 h 365"/>
                <a:gd name="T70" fmla="*/ 2147483647 w 624"/>
                <a:gd name="T71" fmla="*/ 0 h 365"/>
                <a:gd name="T72" fmla="*/ 0 w 624"/>
                <a:gd name="T73" fmla="*/ 2147483647 h 365"/>
                <a:gd name="T74" fmla="*/ 2147483647 w 624"/>
                <a:gd name="T75" fmla="*/ 2147483647 h 365"/>
                <a:gd name="T76" fmla="*/ 2147483647 w 624"/>
                <a:gd name="T77" fmla="*/ 2147483647 h 365"/>
                <a:gd name="T78" fmla="*/ 2147483647 w 624"/>
                <a:gd name="T79" fmla="*/ 2147483647 h 365"/>
                <a:gd name="T80" fmla="*/ 2147483647 w 624"/>
                <a:gd name="T81" fmla="*/ 2147483647 h 365"/>
                <a:gd name="T82" fmla="*/ 2147483647 w 624"/>
                <a:gd name="T83" fmla="*/ 2147483647 h 365"/>
                <a:gd name="T84" fmla="*/ 2147483647 w 624"/>
                <a:gd name="T85" fmla="*/ 2147483647 h 365"/>
                <a:gd name="T86" fmla="*/ 2147483647 w 624"/>
                <a:gd name="T87" fmla="*/ 2147483647 h 365"/>
                <a:gd name="T88" fmla="*/ 2147483647 w 624"/>
                <a:gd name="T89" fmla="*/ 2147483647 h 365"/>
                <a:gd name="T90" fmla="*/ 2147483647 w 624"/>
                <a:gd name="T91" fmla="*/ 2147483647 h 365"/>
                <a:gd name="T92" fmla="*/ 2147483647 w 624"/>
                <a:gd name="T93" fmla="*/ 2147483647 h 365"/>
                <a:gd name="T94" fmla="*/ 2147483647 w 624"/>
                <a:gd name="T95" fmla="*/ 2147483647 h 365"/>
                <a:gd name="T96" fmla="*/ 2147483647 w 624"/>
                <a:gd name="T97" fmla="*/ 2147483647 h 365"/>
                <a:gd name="T98" fmla="*/ 2147483647 w 624"/>
                <a:gd name="T99" fmla="*/ 2147483647 h 365"/>
                <a:gd name="T100" fmla="*/ 2147483647 w 624"/>
                <a:gd name="T101" fmla="*/ 2147483647 h 365"/>
                <a:gd name="T102" fmla="*/ 2147483647 w 624"/>
                <a:gd name="T103" fmla="*/ 2147483647 h 365"/>
                <a:gd name="T104" fmla="*/ 2147483647 w 624"/>
                <a:gd name="T105" fmla="*/ 2147483647 h 365"/>
                <a:gd name="T106" fmla="*/ 2147483647 w 624"/>
                <a:gd name="T107" fmla="*/ 2147483647 h 365"/>
                <a:gd name="T108" fmla="*/ 2147483647 w 624"/>
                <a:gd name="T109" fmla="*/ 2147483647 h 365"/>
                <a:gd name="T110" fmla="*/ 2147483647 w 624"/>
                <a:gd name="T111" fmla="*/ 2147483647 h 365"/>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24" h="365">
                  <a:moveTo>
                    <a:pt x="269" y="329"/>
                  </a:moveTo>
                  <a:lnTo>
                    <a:pt x="284" y="327"/>
                  </a:lnTo>
                  <a:lnTo>
                    <a:pt x="293" y="327"/>
                  </a:lnTo>
                  <a:lnTo>
                    <a:pt x="302" y="327"/>
                  </a:lnTo>
                  <a:lnTo>
                    <a:pt x="309" y="327"/>
                  </a:lnTo>
                  <a:lnTo>
                    <a:pt x="317" y="329"/>
                  </a:lnTo>
                  <a:lnTo>
                    <a:pt x="323" y="334"/>
                  </a:lnTo>
                  <a:lnTo>
                    <a:pt x="328" y="340"/>
                  </a:lnTo>
                  <a:lnTo>
                    <a:pt x="332" y="345"/>
                  </a:lnTo>
                  <a:lnTo>
                    <a:pt x="337" y="349"/>
                  </a:lnTo>
                  <a:lnTo>
                    <a:pt x="342" y="354"/>
                  </a:lnTo>
                  <a:lnTo>
                    <a:pt x="346" y="359"/>
                  </a:lnTo>
                  <a:lnTo>
                    <a:pt x="347" y="362"/>
                  </a:lnTo>
                  <a:lnTo>
                    <a:pt x="348" y="360"/>
                  </a:lnTo>
                  <a:lnTo>
                    <a:pt x="349" y="354"/>
                  </a:lnTo>
                  <a:lnTo>
                    <a:pt x="349" y="345"/>
                  </a:lnTo>
                  <a:lnTo>
                    <a:pt x="349" y="338"/>
                  </a:lnTo>
                  <a:lnTo>
                    <a:pt x="347" y="333"/>
                  </a:lnTo>
                  <a:lnTo>
                    <a:pt x="346" y="330"/>
                  </a:lnTo>
                  <a:lnTo>
                    <a:pt x="343" y="328"/>
                  </a:lnTo>
                  <a:lnTo>
                    <a:pt x="338" y="323"/>
                  </a:lnTo>
                  <a:lnTo>
                    <a:pt x="337" y="320"/>
                  </a:lnTo>
                  <a:lnTo>
                    <a:pt x="337" y="318"/>
                  </a:lnTo>
                  <a:lnTo>
                    <a:pt x="339" y="317"/>
                  </a:lnTo>
                  <a:lnTo>
                    <a:pt x="342" y="317"/>
                  </a:lnTo>
                  <a:lnTo>
                    <a:pt x="356" y="315"/>
                  </a:lnTo>
                  <a:lnTo>
                    <a:pt x="362" y="309"/>
                  </a:lnTo>
                  <a:lnTo>
                    <a:pt x="363" y="312"/>
                  </a:lnTo>
                  <a:lnTo>
                    <a:pt x="366" y="310"/>
                  </a:lnTo>
                  <a:lnTo>
                    <a:pt x="368" y="312"/>
                  </a:lnTo>
                  <a:lnTo>
                    <a:pt x="372" y="312"/>
                  </a:lnTo>
                  <a:lnTo>
                    <a:pt x="374" y="312"/>
                  </a:lnTo>
                  <a:lnTo>
                    <a:pt x="378" y="310"/>
                  </a:lnTo>
                  <a:lnTo>
                    <a:pt x="383" y="305"/>
                  </a:lnTo>
                  <a:lnTo>
                    <a:pt x="389" y="299"/>
                  </a:lnTo>
                  <a:lnTo>
                    <a:pt x="400" y="285"/>
                  </a:lnTo>
                  <a:lnTo>
                    <a:pt x="407" y="279"/>
                  </a:lnTo>
                  <a:lnTo>
                    <a:pt x="413" y="277"/>
                  </a:lnTo>
                  <a:lnTo>
                    <a:pt x="417" y="275"/>
                  </a:lnTo>
                  <a:lnTo>
                    <a:pt x="420" y="275"/>
                  </a:lnTo>
                  <a:lnTo>
                    <a:pt x="425" y="278"/>
                  </a:lnTo>
                  <a:lnTo>
                    <a:pt x="430" y="283"/>
                  </a:lnTo>
                  <a:lnTo>
                    <a:pt x="437" y="287"/>
                  </a:lnTo>
                  <a:lnTo>
                    <a:pt x="455" y="294"/>
                  </a:lnTo>
                  <a:lnTo>
                    <a:pt x="465" y="297"/>
                  </a:lnTo>
                  <a:lnTo>
                    <a:pt x="475" y="300"/>
                  </a:lnTo>
                  <a:lnTo>
                    <a:pt x="477" y="302"/>
                  </a:lnTo>
                  <a:lnTo>
                    <a:pt x="479" y="304"/>
                  </a:lnTo>
                  <a:lnTo>
                    <a:pt x="482" y="305"/>
                  </a:lnTo>
                  <a:lnTo>
                    <a:pt x="483" y="304"/>
                  </a:lnTo>
                  <a:lnTo>
                    <a:pt x="485" y="303"/>
                  </a:lnTo>
                  <a:lnTo>
                    <a:pt x="493" y="305"/>
                  </a:lnTo>
                  <a:lnTo>
                    <a:pt x="499" y="309"/>
                  </a:lnTo>
                  <a:lnTo>
                    <a:pt x="504" y="314"/>
                  </a:lnTo>
                  <a:lnTo>
                    <a:pt x="510" y="320"/>
                  </a:lnTo>
                  <a:lnTo>
                    <a:pt x="517" y="324"/>
                  </a:lnTo>
                  <a:lnTo>
                    <a:pt x="522" y="328"/>
                  </a:lnTo>
                  <a:lnTo>
                    <a:pt x="537" y="333"/>
                  </a:lnTo>
                  <a:lnTo>
                    <a:pt x="558" y="339"/>
                  </a:lnTo>
                  <a:lnTo>
                    <a:pt x="569" y="343"/>
                  </a:lnTo>
                  <a:lnTo>
                    <a:pt x="579" y="348"/>
                  </a:lnTo>
                  <a:lnTo>
                    <a:pt x="590" y="355"/>
                  </a:lnTo>
                  <a:lnTo>
                    <a:pt x="601" y="362"/>
                  </a:lnTo>
                  <a:lnTo>
                    <a:pt x="608" y="364"/>
                  </a:lnTo>
                  <a:lnTo>
                    <a:pt x="613" y="365"/>
                  </a:lnTo>
                  <a:lnTo>
                    <a:pt x="619" y="364"/>
                  </a:lnTo>
                  <a:lnTo>
                    <a:pt x="624" y="362"/>
                  </a:lnTo>
                  <a:lnTo>
                    <a:pt x="623" y="327"/>
                  </a:lnTo>
                  <a:lnTo>
                    <a:pt x="623" y="292"/>
                  </a:lnTo>
                  <a:lnTo>
                    <a:pt x="621" y="289"/>
                  </a:lnTo>
                  <a:lnTo>
                    <a:pt x="620" y="287"/>
                  </a:lnTo>
                  <a:lnTo>
                    <a:pt x="614" y="285"/>
                  </a:lnTo>
                  <a:lnTo>
                    <a:pt x="606" y="284"/>
                  </a:lnTo>
                  <a:lnTo>
                    <a:pt x="599" y="284"/>
                  </a:lnTo>
                  <a:lnTo>
                    <a:pt x="596" y="283"/>
                  </a:lnTo>
                  <a:lnTo>
                    <a:pt x="594" y="280"/>
                  </a:lnTo>
                  <a:lnTo>
                    <a:pt x="593" y="275"/>
                  </a:lnTo>
                  <a:lnTo>
                    <a:pt x="593" y="270"/>
                  </a:lnTo>
                  <a:lnTo>
                    <a:pt x="594" y="259"/>
                  </a:lnTo>
                  <a:lnTo>
                    <a:pt x="594" y="251"/>
                  </a:lnTo>
                  <a:lnTo>
                    <a:pt x="558" y="251"/>
                  </a:lnTo>
                  <a:lnTo>
                    <a:pt x="559" y="217"/>
                  </a:lnTo>
                  <a:lnTo>
                    <a:pt x="535" y="219"/>
                  </a:lnTo>
                  <a:lnTo>
                    <a:pt x="520" y="219"/>
                  </a:lnTo>
                  <a:lnTo>
                    <a:pt x="515" y="218"/>
                  </a:lnTo>
                  <a:lnTo>
                    <a:pt x="512" y="217"/>
                  </a:lnTo>
                  <a:lnTo>
                    <a:pt x="510" y="214"/>
                  </a:lnTo>
                  <a:lnTo>
                    <a:pt x="510" y="212"/>
                  </a:lnTo>
                  <a:lnTo>
                    <a:pt x="510" y="203"/>
                  </a:lnTo>
                  <a:lnTo>
                    <a:pt x="510" y="189"/>
                  </a:lnTo>
                  <a:lnTo>
                    <a:pt x="510" y="183"/>
                  </a:lnTo>
                  <a:lnTo>
                    <a:pt x="509" y="182"/>
                  </a:lnTo>
                  <a:lnTo>
                    <a:pt x="507" y="181"/>
                  </a:lnTo>
                  <a:lnTo>
                    <a:pt x="502" y="181"/>
                  </a:lnTo>
                  <a:lnTo>
                    <a:pt x="495" y="182"/>
                  </a:lnTo>
                  <a:lnTo>
                    <a:pt x="493" y="181"/>
                  </a:lnTo>
                  <a:lnTo>
                    <a:pt x="490" y="179"/>
                  </a:lnTo>
                  <a:lnTo>
                    <a:pt x="488" y="176"/>
                  </a:lnTo>
                  <a:lnTo>
                    <a:pt x="488" y="171"/>
                  </a:lnTo>
                  <a:lnTo>
                    <a:pt x="488" y="164"/>
                  </a:lnTo>
                  <a:lnTo>
                    <a:pt x="488" y="158"/>
                  </a:lnTo>
                  <a:lnTo>
                    <a:pt x="488" y="153"/>
                  </a:lnTo>
                  <a:lnTo>
                    <a:pt x="487" y="151"/>
                  </a:lnTo>
                  <a:lnTo>
                    <a:pt x="484" y="148"/>
                  </a:lnTo>
                  <a:lnTo>
                    <a:pt x="483" y="148"/>
                  </a:lnTo>
                  <a:lnTo>
                    <a:pt x="479" y="147"/>
                  </a:lnTo>
                  <a:lnTo>
                    <a:pt x="464" y="148"/>
                  </a:lnTo>
                  <a:lnTo>
                    <a:pt x="457" y="148"/>
                  </a:lnTo>
                  <a:lnTo>
                    <a:pt x="450" y="146"/>
                  </a:lnTo>
                  <a:lnTo>
                    <a:pt x="449" y="143"/>
                  </a:lnTo>
                  <a:lnTo>
                    <a:pt x="448" y="138"/>
                  </a:lnTo>
                  <a:lnTo>
                    <a:pt x="445" y="131"/>
                  </a:lnTo>
                  <a:lnTo>
                    <a:pt x="443" y="130"/>
                  </a:lnTo>
                  <a:lnTo>
                    <a:pt x="440" y="127"/>
                  </a:lnTo>
                  <a:lnTo>
                    <a:pt x="435" y="125"/>
                  </a:lnTo>
                  <a:lnTo>
                    <a:pt x="434" y="122"/>
                  </a:lnTo>
                  <a:lnTo>
                    <a:pt x="434" y="120"/>
                  </a:lnTo>
                  <a:lnTo>
                    <a:pt x="434" y="116"/>
                  </a:lnTo>
                  <a:lnTo>
                    <a:pt x="434" y="115"/>
                  </a:lnTo>
                  <a:lnTo>
                    <a:pt x="432" y="112"/>
                  </a:lnTo>
                  <a:lnTo>
                    <a:pt x="430" y="112"/>
                  </a:lnTo>
                  <a:lnTo>
                    <a:pt x="429" y="112"/>
                  </a:lnTo>
                  <a:lnTo>
                    <a:pt x="428" y="108"/>
                  </a:lnTo>
                  <a:lnTo>
                    <a:pt x="427" y="108"/>
                  </a:lnTo>
                  <a:lnTo>
                    <a:pt x="424" y="108"/>
                  </a:lnTo>
                  <a:lnTo>
                    <a:pt x="423" y="108"/>
                  </a:lnTo>
                  <a:lnTo>
                    <a:pt x="423" y="107"/>
                  </a:lnTo>
                  <a:lnTo>
                    <a:pt x="422" y="90"/>
                  </a:lnTo>
                  <a:lnTo>
                    <a:pt x="422" y="78"/>
                  </a:lnTo>
                  <a:lnTo>
                    <a:pt x="420" y="75"/>
                  </a:lnTo>
                  <a:lnTo>
                    <a:pt x="419" y="73"/>
                  </a:lnTo>
                  <a:lnTo>
                    <a:pt x="417" y="73"/>
                  </a:lnTo>
                  <a:lnTo>
                    <a:pt x="402" y="75"/>
                  </a:lnTo>
                  <a:lnTo>
                    <a:pt x="392" y="75"/>
                  </a:lnTo>
                  <a:lnTo>
                    <a:pt x="389" y="73"/>
                  </a:lnTo>
                  <a:lnTo>
                    <a:pt x="387" y="73"/>
                  </a:lnTo>
                  <a:lnTo>
                    <a:pt x="385" y="68"/>
                  </a:lnTo>
                  <a:lnTo>
                    <a:pt x="385" y="62"/>
                  </a:lnTo>
                  <a:lnTo>
                    <a:pt x="385" y="50"/>
                  </a:lnTo>
                  <a:lnTo>
                    <a:pt x="385" y="26"/>
                  </a:lnTo>
                  <a:lnTo>
                    <a:pt x="384" y="4"/>
                  </a:lnTo>
                  <a:lnTo>
                    <a:pt x="381" y="4"/>
                  </a:lnTo>
                  <a:lnTo>
                    <a:pt x="334" y="1"/>
                  </a:lnTo>
                  <a:lnTo>
                    <a:pt x="286" y="0"/>
                  </a:lnTo>
                  <a:lnTo>
                    <a:pt x="191" y="0"/>
                  </a:lnTo>
                  <a:lnTo>
                    <a:pt x="95" y="1"/>
                  </a:lnTo>
                  <a:lnTo>
                    <a:pt x="47" y="1"/>
                  </a:lnTo>
                  <a:lnTo>
                    <a:pt x="0" y="1"/>
                  </a:lnTo>
                  <a:lnTo>
                    <a:pt x="7" y="12"/>
                  </a:lnTo>
                  <a:lnTo>
                    <a:pt x="10" y="19"/>
                  </a:lnTo>
                  <a:lnTo>
                    <a:pt x="11" y="22"/>
                  </a:lnTo>
                  <a:lnTo>
                    <a:pt x="11" y="24"/>
                  </a:lnTo>
                  <a:lnTo>
                    <a:pt x="10" y="27"/>
                  </a:lnTo>
                  <a:lnTo>
                    <a:pt x="10" y="32"/>
                  </a:lnTo>
                  <a:lnTo>
                    <a:pt x="12" y="40"/>
                  </a:lnTo>
                  <a:lnTo>
                    <a:pt x="16" y="47"/>
                  </a:lnTo>
                  <a:lnTo>
                    <a:pt x="21" y="51"/>
                  </a:lnTo>
                  <a:lnTo>
                    <a:pt x="26" y="55"/>
                  </a:lnTo>
                  <a:lnTo>
                    <a:pt x="31" y="57"/>
                  </a:lnTo>
                  <a:lnTo>
                    <a:pt x="42" y="62"/>
                  </a:lnTo>
                  <a:lnTo>
                    <a:pt x="49" y="65"/>
                  </a:lnTo>
                  <a:lnTo>
                    <a:pt x="54" y="70"/>
                  </a:lnTo>
                  <a:lnTo>
                    <a:pt x="55" y="67"/>
                  </a:lnTo>
                  <a:lnTo>
                    <a:pt x="56" y="66"/>
                  </a:lnTo>
                  <a:lnTo>
                    <a:pt x="59" y="66"/>
                  </a:lnTo>
                  <a:lnTo>
                    <a:pt x="60" y="67"/>
                  </a:lnTo>
                  <a:lnTo>
                    <a:pt x="65" y="71"/>
                  </a:lnTo>
                  <a:lnTo>
                    <a:pt x="70" y="77"/>
                  </a:lnTo>
                  <a:lnTo>
                    <a:pt x="80" y="92"/>
                  </a:lnTo>
                  <a:lnTo>
                    <a:pt x="85" y="102"/>
                  </a:lnTo>
                  <a:lnTo>
                    <a:pt x="87" y="108"/>
                  </a:lnTo>
                  <a:lnTo>
                    <a:pt x="91" y="113"/>
                  </a:lnTo>
                  <a:lnTo>
                    <a:pt x="100" y="123"/>
                  </a:lnTo>
                  <a:lnTo>
                    <a:pt x="110" y="132"/>
                  </a:lnTo>
                  <a:lnTo>
                    <a:pt x="120" y="138"/>
                  </a:lnTo>
                  <a:lnTo>
                    <a:pt x="126" y="142"/>
                  </a:lnTo>
                  <a:lnTo>
                    <a:pt x="132" y="143"/>
                  </a:lnTo>
                  <a:lnTo>
                    <a:pt x="143" y="147"/>
                  </a:lnTo>
                  <a:lnTo>
                    <a:pt x="148" y="148"/>
                  </a:lnTo>
                  <a:lnTo>
                    <a:pt x="153" y="152"/>
                  </a:lnTo>
                  <a:lnTo>
                    <a:pt x="157" y="157"/>
                  </a:lnTo>
                  <a:lnTo>
                    <a:pt x="161" y="163"/>
                  </a:lnTo>
                  <a:lnTo>
                    <a:pt x="170" y="181"/>
                  </a:lnTo>
                  <a:lnTo>
                    <a:pt x="171" y="188"/>
                  </a:lnTo>
                  <a:lnTo>
                    <a:pt x="171" y="191"/>
                  </a:lnTo>
                  <a:lnTo>
                    <a:pt x="170" y="193"/>
                  </a:lnTo>
                  <a:lnTo>
                    <a:pt x="163" y="196"/>
                  </a:lnTo>
                  <a:lnTo>
                    <a:pt x="163" y="184"/>
                  </a:lnTo>
                  <a:lnTo>
                    <a:pt x="163" y="179"/>
                  </a:lnTo>
                  <a:lnTo>
                    <a:pt x="163" y="176"/>
                  </a:lnTo>
                  <a:lnTo>
                    <a:pt x="157" y="194"/>
                  </a:lnTo>
                  <a:lnTo>
                    <a:pt x="152" y="214"/>
                  </a:lnTo>
                  <a:lnTo>
                    <a:pt x="152" y="221"/>
                  </a:lnTo>
                  <a:lnTo>
                    <a:pt x="155" y="227"/>
                  </a:lnTo>
                  <a:lnTo>
                    <a:pt x="160" y="237"/>
                  </a:lnTo>
                  <a:lnTo>
                    <a:pt x="165" y="239"/>
                  </a:lnTo>
                  <a:lnTo>
                    <a:pt x="173" y="244"/>
                  </a:lnTo>
                  <a:lnTo>
                    <a:pt x="183" y="249"/>
                  </a:lnTo>
                  <a:lnTo>
                    <a:pt x="190" y="254"/>
                  </a:lnTo>
                  <a:lnTo>
                    <a:pt x="195" y="257"/>
                  </a:lnTo>
                  <a:lnTo>
                    <a:pt x="197" y="258"/>
                  </a:lnTo>
                  <a:lnTo>
                    <a:pt x="198" y="258"/>
                  </a:lnTo>
                  <a:lnTo>
                    <a:pt x="200" y="256"/>
                  </a:lnTo>
                  <a:lnTo>
                    <a:pt x="201" y="254"/>
                  </a:lnTo>
                  <a:lnTo>
                    <a:pt x="203" y="252"/>
                  </a:lnTo>
                  <a:lnTo>
                    <a:pt x="207" y="252"/>
                  </a:lnTo>
                  <a:lnTo>
                    <a:pt x="213" y="253"/>
                  </a:lnTo>
                  <a:lnTo>
                    <a:pt x="220" y="256"/>
                  </a:lnTo>
                  <a:lnTo>
                    <a:pt x="225" y="259"/>
                  </a:lnTo>
                  <a:lnTo>
                    <a:pt x="228" y="262"/>
                  </a:lnTo>
                  <a:lnTo>
                    <a:pt x="232" y="267"/>
                  </a:lnTo>
                  <a:lnTo>
                    <a:pt x="237" y="275"/>
                  </a:lnTo>
                  <a:lnTo>
                    <a:pt x="239" y="285"/>
                  </a:lnTo>
                  <a:lnTo>
                    <a:pt x="241" y="297"/>
                  </a:lnTo>
                  <a:lnTo>
                    <a:pt x="239" y="308"/>
                  </a:lnTo>
                  <a:lnTo>
                    <a:pt x="236" y="320"/>
                  </a:lnTo>
                  <a:lnTo>
                    <a:pt x="232" y="330"/>
                  </a:lnTo>
                  <a:lnTo>
                    <a:pt x="234" y="334"/>
                  </a:lnTo>
                  <a:lnTo>
                    <a:pt x="238" y="337"/>
                  </a:lnTo>
                  <a:lnTo>
                    <a:pt x="243" y="337"/>
                  </a:lnTo>
                  <a:lnTo>
                    <a:pt x="248" y="335"/>
                  </a:lnTo>
                  <a:lnTo>
                    <a:pt x="259" y="332"/>
                  </a:lnTo>
                  <a:lnTo>
                    <a:pt x="268" y="329"/>
                  </a:lnTo>
                  <a:lnTo>
                    <a:pt x="269" y="329"/>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 Luis</a:t>
              </a:r>
              <a:br>
                <a:rPr lang="en-US" sz="800" dirty="0">
                  <a:solidFill>
                    <a:prstClr val="black"/>
                  </a:solidFill>
                  <a:latin typeface="Franklin Gothic Book"/>
                  <a:ea typeface="MS PGothic" charset="0"/>
                  <a:cs typeface="MS PGothic" charset="0"/>
                </a:rPr>
              </a:br>
              <a:r>
                <a:rPr lang="en-US" sz="800" dirty="0">
                  <a:solidFill>
                    <a:prstClr val="black"/>
                  </a:solidFill>
                  <a:latin typeface="Franklin Gothic Book"/>
                  <a:ea typeface="MS PGothic" charset="0"/>
                  <a:cs typeface="MS PGothic" charset="0"/>
                </a:rPr>
                <a:t>Obispo</a:t>
              </a:r>
            </a:p>
          </p:txBody>
        </p:sp>
        <p:sp>
          <p:nvSpPr>
            <p:cNvPr id="68" name="Santa Cruz"/>
            <p:cNvSpPr>
              <a:spLocks/>
            </p:cNvSpPr>
            <p:nvPr/>
          </p:nvSpPr>
          <p:spPr bwMode="auto">
            <a:xfrm>
              <a:off x="1638603" y="5714838"/>
              <a:ext cx="513287" cy="344681"/>
            </a:xfrm>
            <a:custGeom>
              <a:avLst/>
              <a:gdLst>
                <a:gd name="T0" fmla="*/ 2147483647 w 244"/>
                <a:gd name="T1" fmla="*/ 2147483647 h 172"/>
                <a:gd name="T2" fmla="*/ 2147483647 w 244"/>
                <a:gd name="T3" fmla="*/ 2147483647 h 172"/>
                <a:gd name="T4" fmla="*/ 2147483647 w 244"/>
                <a:gd name="T5" fmla="*/ 2147483647 h 172"/>
                <a:gd name="T6" fmla="*/ 2147483647 w 244"/>
                <a:gd name="T7" fmla="*/ 2147483647 h 172"/>
                <a:gd name="T8" fmla="*/ 2147483647 w 244"/>
                <a:gd name="T9" fmla="*/ 2147483647 h 172"/>
                <a:gd name="T10" fmla="*/ 2147483647 w 244"/>
                <a:gd name="T11" fmla="*/ 2147483647 h 172"/>
                <a:gd name="T12" fmla="*/ 2147483647 w 244"/>
                <a:gd name="T13" fmla="*/ 2147483647 h 172"/>
                <a:gd name="T14" fmla="*/ 2147483647 w 244"/>
                <a:gd name="T15" fmla="*/ 2147483647 h 172"/>
                <a:gd name="T16" fmla="*/ 2147483647 w 244"/>
                <a:gd name="T17" fmla="*/ 2147483647 h 172"/>
                <a:gd name="T18" fmla="*/ 2147483647 w 244"/>
                <a:gd name="T19" fmla="*/ 2147483647 h 172"/>
                <a:gd name="T20" fmla="*/ 2147483647 w 244"/>
                <a:gd name="T21" fmla="*/ 2147483647 h 172"/>
                <a:gd name="T22" fmla="*/ 2147483647 w 244"/>
                <a:gd name="T23" fmla="*/ 2147483647 h 172"/>
                <a:gd name="T24" fmla="*/ 2147483647 w 244"/>
                <a:gd name="T25" fmla="*/ 2147483647 h 172"/>
                <a:gd name="T26" fmla="*/ 2147483647 w 244"/>
                <a:gd name="T27" fmla="*/ 2147483647 h 172"/>
                <a:gd name="T28" fmla="*/ 2147483647 w 244"/>
                <a:gd name="T29" fmla="*/ 2147483647 h 172"/>
                <a:gd name="T30" fmla="*/ 2147483647 w 244"/>
                <a:gd name="T31" fmla="*/ 2147483647 h 172"/>
                <a:gd name="T32" fmla="*/ 2147483647 w 244"/>
                <a:gd name="T33" fmla="*/ 2147483647 h 172"/>
                <a:gd name="T34" fmla="*/ 2147483647 w 244"/>
                <a:gd name="T35" fmla="*/ 2147483647 h 172"/>
                <a:gd name="T36" fmla="*/ 2147483647 w 244"/>
                <a:gd name="T37" fmla="*/ 2147483647 h 172"/>
                <a:gd name="T38" fmla="*/ 2147483647 w 244"/>
                <a:gd name="T39" fmla="*/ 2147483647 h 172"/>
                <a:gd name="T40" fmla="*/ 2147483647 w 244"/>
                <a:gd name="T41" fmla="*/ 0 h 172"/>
                <a:gd name="T42" fmla="*/ 2147483647 w 244"/>
                <a:gd name="T43" fmla="*/ 2147483647 h 172"/>
                <a:gd name="T44" fmla="*/ 2147483647 w 244"/>
                <a:gd name="T45" fmla="*/ 2147483647 h 172"/>
                <a:gd name="T46" fmla="*/ 2147483647 w 244"/>
                <a:gd name="T47" fmla="*/ 2147483647 h 172"/>
                <a:gd name="T48" fmla="*/ 2147483647 w 244"/>
                <a:gd name="T49" fmla="*/ 2147483647 h 172"/>
                <a:gd name="T50" fmla="*/ 2147483647 w 244"/>
                <a:gd name="T51" fmla="*/ 2147483647 h 172"/>
                <a:gd name="T52" fmla="*/ 2147483647 w 244"/>
                <a:gd name="T53" fmla="*/ 2147483647 h 172"/>
                <a:gd name="T54" fmla="*/ 2147483647 w 244"/>
                <a:gd name="T55" fmla="*/ 2147483647 h 172"/>
                <a:gd name="T56" fmla="*/ 2147483647 w 244"/>
                <a:gd name="T57" fmla="*/ 2147483647 h 172"/>
                <a:gd name="T58" fmla="*/ 2147483647 w 244"/>
                <a:gd name="T59" fmla="*/ 2147483647 h 172"/>
                <a:gd name="T60" fmla="*/ 2147483647 w 244"/>
                <a:gd name="T61" fmla="*/ 2147483647 h 172"/>
                <a:gd name="T62" fmla="*/ 2147483647 w 244"/>
                <a:gd name="T63" fmla="*/ 2147483647 h 172"/>
                <a:gd name="T64" fmla="*/ 2147483647 w 244"/>
                <a:gd name="T65" fmla="*/ 2147483647 h 172"/>
                <a:gd name="T66" fmla="*/ 2147483647 w 244"/>
                <a:gd name="T67" fmla="*/ 2147483647 h 172"/>
                <a:gd name="T68" fmla="*/ 2147483647 w 244"/>
                <a:gd name="T69" fmla="*/ 2147483647 h 172"/>
                <a:gd name="T70" fmla="*/ 2147483647 w 244"/>
                <a:gd name="T71" fmla="*/ 2147483647 h 172"/>
                <a:gd name="T72" fmla="*/ 2147483647 w 244"/>
                <a:gd name="T73" fmla="*/ 2147483647 h 172"/>
                <a:gd name="T74" fmla="*/ 2147483647 w 244"/>
                <a:gd name="T75" fmla="*/ 2147483647 h 172"/>
                <a:gd name="T76" fmla="*/ 2147483647 w 244"/>
                <a:gd name="T77" fmla="*/ 2147483647 h 172"/>
                <a:gd name="T78" fmla="*/ 2147483647 w 244"/>
                <a:gd name="T79" fmla="*/ 2147483647 h 172"/>
                <a:gd name="T80" fmla="*/ 2147483647 w 244"/>
                <a:gd name="T81" fmla="*/ 2147483647 h 172"/>
                <a:gd name="T82" fmla="*/ 2147483647 w 244"/>
                <a:gd name="T83" fmla="*/ 2147483647 h 172"/>
                <a:gd name="T84" fmla="*/ 2147483647 w 244"/>
                <a:gd name="T85" fmla="*/ 2147483647 h 172"/>
                <a:gd name="T86" fmla="*/ 2147483647 w 244"/>
                <a:gd name="T87" fmla="*/ 2147483647 h 172"/>
                <a:gd name="T88" fmla="*/ 2147483647 w 244"/>
                <a:gd name="T89" fmla="*/ 2147483647 h 172"/>
                <a:gd name="T90" fmla="*/ 2147483647 w 244"/>
                <a:gd name="T91" fmla="*/ 2147483647 h 172"/>
                <a:gd name="T92" fmla="*/ 2147483647 w 244"/>
                <a:gd name="T93" fmla="*/ 2147483647 h 172"/>
                <a:gd name="T94" fmla="*/ 2147483647 w 244"/>
                <a:gd name="T95" fmla="*/ 2147483647 h 172"/>
                <a:gd name="T96" fmla="*/ 2147483647 w 244"/>
                <a:gd name="T97" fmla="*/ 2147483647 h 1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44" h="172">
                  <a:moveTo>
                    <a:pt x="191" y="151"/>
                  </a:moveTo>
                  <a:lnTo>
                    <a:pt x="198" y="150"/>
                  </a:lnTo>
                  <a:lnTo>
                    <a:pt x="208" y="149"/>
                  </a:lnTo>
                  <a:lnTo>
                    <a:pt x="217" y="150"/>
                  </a:lnTo>
                  <a:lnTo>
                    <a:pt x="221" y="152"/>
                  </a:lnTo>
                  <a:lnTo>
                    <a:pt x="223" y="154"/>
                  </a:lnTo>
                  <a:lnTo>
                    <a:pt x="228" y="152"/>
                  </a:lnTo>
                  <a:lnTo>
                    <a:pt x="235" y="154"/>
                  </a:lnTo>
                  <a:lnTo>
                    <a:pt x="239" y="156"/>
                  </a:lnTo>
                  <a:lnTo>
                    <a:pt x="244" y="159"/>
                  </a:lnTo>
                  <a:lnTo>
                    <a:pt x="244" y="155"/>
                  </a:lnTo>
                  <a:lnTo>
                    <a:pt x="243" y="152"/>
                  </a:lnTo>
                  <a:lnTo>
                    <a:pt x="241" y="150"/>
                  </a:lnTo>
                  <a:lnTo>
                    <a:pt x="238" y="149"/>
                  </a:lnTo>
                  <a:lnTo>
                    <a:pt x="232" y="146"/>
                  </a:lnTo>
                  <a:lnTo>
                    <a:pt x="226" y="144"/>
                  </a:lnTo>
                  <a:lnTo>
                    <a:pt x="221" y="139"/>
                  </a:lnTo>
                  <a:lnTo>
                    <a:pt x="216" y="131"/>
                  </a:lnTo>
                  <a:lnTo>
                    <a:pt x="211" y="125"/>
                  </a:lnTo>
                  <a:lnTo>
                    <a:pt x="207" y="120"/>
                  </a:lnTo>
                  <a:lnTo>
                    <a:pt x="183" y="95"/>
                  </a:lnTo>
                  <a:lnTo>
                    <a:pt x="176" y="89"/>
                  </a:lnTo>
                  <a:lnTo>
                    <a:pt x="170" y="83"/>
                  </a:lnTo>
                  <a:lnTo>
                    <a:pt x="162" y="79"/>
                  </a:lnTo>
                  <a:lnTo>
                    <a:pt x="153" y="75"/>
                  </a:lnTo>
                  <a:lnTo>
                    <a:pt x="135" y="68"/>
                  </a:lnTo>
                  <a:lnTo>
                    <a:pt x="117" y="59"/>
                  </a:lnTo>
                  <a:lnTo>
                    <a:pt x="108" y="54"/>
                  </a:lnTo>
                  <a:lnTo>
                    <a:pt x="101" y="48"/>
                  </a:lnTo>
                  <a:lnTo>
                    <a:pt x="95" y="41"/>
                  </a:lnTo>
                  <a:lnTo>
                    <a:pt x="88" y="33"/>
                  </a:lnTo>
                  <a:lnTo>
                    <a:pt x="87" y="31"/>
                  </a:lnTo>
                  <a:lnTo>
                    <a:pt x="85" y="30"/>
                  </a:lnTo>
                  <a:lnTo>
                    <a:pt x="80" y="28"/>
                  </a:lnTo>
                  <a:lnTo>
                    <a:pt x="75" y="26"/>
                  </a:lnTo>
                  <a:lnTo>
                    <a:pt x="74" y="26"/>
                  </a:lnTo>
                  <a:lnTo>
                    <a:pt x="72" y="25"/>
                  </a:lnTo>
                  <a:lnTo>
                    <a:pt x="70" y="21"/>
                  </a:lnTo>
                  <a:lnTo>
                    <a:pt x="69" y="18"/>
                  </a:lnTo>
                  <a:lnTo>
                    <a:pt x="62" y="13"/>
                  </a:lnTo>
                  <a:lnTo>
                    <a:pt x="57" y="7"/>
                  </a:lnTo>
                  <a:lnTo>
                    <a:pt x="52" y="0"/>
                  </a:lnTo>
                  <a:lnTo>
                    <a:pt x="52" y="2"/>
                  </a:lnTo>
                  <a:lnTo>
                    <a:pt x="52" y="14"/>
                  </a:lnTo>
                  <a:lnTo>
                    <a:pt x="51" y="19"/>
                  </a:lnTo>
                  <a:lnTo>
                    <a:pt x="51" y="23"/>
                  </a:lnTo>
                  <a:lnTo>
                    <a:pt x="50" y="26"/>
                  </a:lnTo>
                  <a:lnTo>
                    <a:pt x="46" y="28"/>
                  </a:lnTo>
                  <a:lnTo>
                    <a:pt x="41" y="29"/>
                  </a:lnTo>
                  <a:lnTo>
                    <a:pt x="35" y="29"/>
                  </a:lnTo>
                  <a:lnTo>
                    <a:pt x="26" y="30"/>
                  </a:lnTo>
                  <a:lnTo>
                    <a:pt x="26" y="31"/>
                  </a:lnTo>
                  <a:lnTo>
                    <a:pt x="26" y="33"/>
                  </a:lnTo>
                  <a:lnTo>
                    <a:pt x="27" y="35"/>
                  </a:lnTo>
                  <a:lnTo>
                    <a:pt x="26" y="38"/>
                  </a:lnTo>
                  <a:lnTo>
                    <a:pt x="25" y="39"/>
                  </a:lnTo>
                  <a:lnTo>
                    <a:pt x="19" y="40"/>
                  </a:lnTo>
                  <a:lnTo>
                    <a:pt x="12" y="40"/>
                  </a:lnTo>
                  <a:lnTo>
                    <a:pt x="0" y="40"/>
                  </a:lnTo>
                  <a:lnTo>
                    <a:pt x="1" y="48"/>
                  </a:lnTo>
                  <a:lnTo>
                    <a:pt x="5" y="55"/>
                  </a:lnTo>
                  <a:lnTo>
                    <a:pt x="7" y="64"/>
                  </a:lnTo>
                  <a:lnTo>
                    <a:pt x="9" y="71"/>
                  </a:lnTo>
                  <a:lnTo>
                    <a:pt x="29" y="98"/>
                  </a:lnTo>
                  <a:lnTo>
                    <a:pt x="40" y="110"/>
                  </a:lnTo>
                  <a:lnTo>
                    <a:pt x="46" y="116"/>
                  </a:lnTo>
                  <a:lnTo>
                    <a:pt x="52" y="121"/>
                  </a:lnTo>
                  <a:lnTo>
                    <a:pt x="62" y="126"/>
                  </a:lnTo>
                  <a:lnTo>
                    <a:pt x="75" y="132"/>
                  </a:lnTo>
                  <a:lnTo>
                    <a:pt x="81" y="135"/>
                  </a:lnTo>
                  <a:lnTo>
                    <a:pt x="87" y="136"/>
                  </a:lnTo>
                  <a:lnTo>
                    <a:pt x="93" y="136"/>
                  </a:lnTo>
                  <a:lnTo>
                    <a:pt x="97" y="134"/>
                  </a:lnTo>
                  <a:lnTo>
                    <a:pt x="100" y="131"/>
                  </a:lnTo>
                  <a:lnTo>
                    <a:pt x="102" y="130"/>
                  </a:lnTo>
                  <a:lnTo>
                    <a:pt x="105" y="130"/>
                  </a:lnTo>
                  <a:lnTo>
                    <a:pt x="106" y="130"/>
                  </a:lnTo>
                  <a:lnTo>
                    <a:pt x="110" y="132"/>
                  </a:lnTo>
                  <a:lnTo>
                    <a:pt x="112" y="132"/>
                  </a:lnTo>
                  <a:lnTo>
                    <a:pt x="115" y="132"/>
                  </a:lnTo>
                  <a:lnTo>
                    <a:pt x="118" y="131"/>
                  </a:lnTo>
                  <a:lnTo>
                    <a:pt x="121" y="130"/>
                  </a:lnTo>
                  <a:lnTo>
                    <a:pt x="125" y="127"/>
                  </a:lnTo>
                  <a:lnTo>
                    <a:pt x="127" y="126"/>
                  </a:lnTo>
                  <a:lnTo>
                    <a:pt x="130" y="125"/>
                  </a:lnTo>
                  <a:lnTo>
                    <a:pt x="132" y="126"/>
                  </a:lnTo>
                  <a:lnTo>
                    <a:pt x="136" y="127"/>
                  </a:lnTo>
                  <a:lnTo>
                    <a:pt x="142" y="131"/>
                  </a:lnTo>
                  <a:lnTo>
                    <a:pt x="147" y="136"/>
                  </a:lnTo>
                  <a:lnTo>
                    <a:pt x="152" y="141"/>
                  </a:lnTo>
                  <a:lnTo>
                    <a:pt x="156" y="147"/>
                  </a:lnTo>
                  <a:lnTo>
                    <a:pt x="163" y="161"/>
                  </a:lnTo>
                  <a:lnTo>
                    <a:pt x="170" y="172"/>
                  </a:lnTo>
                  <a:lnTo>
                    <a:pt x="173" y="166"/>
                  </a:lnTo>
                  <a:lnTo>
                    <a:pt x="180" y="160"/>
                  </a:lnTo>
                  <a:lnTo>
                    <a:pt x="186" y="155"/>
                  </a:lnTo>
                  <a:lnTo>
                    <a:pt x="190" y="151"/>
                  </a:lnTo>
                  <a:lnTo>
                    <a:pt x="191" y="151"/>
                  </a:lnTo>
                  <a:close/>
                </a:path>
              </a:pathLst>
            </a:custGeom>
            <a:solidFill>
              <a:schemeClr val="bg1">
                <a:lumMod val="75000"/>
              </a:schemeClr>
            </a:solidFill>
            <a:ln w="3175" cmpd="sng">
              <a:solidFill>
                <a:srgbClr val="D9D9D9"/>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ta</a:t>
              </a:r>
            </a:p>
            <a:p>
              <a:pPr algn="ctr"/>
              <a:r>
                <a:rPr lang="en-US" sz="800" dirty="0">
                  <a:solidFill>
                    <a:prstClr val="black"/>
                  </a:solidFill>
                  <a:latin typeface="Franklin Gothic Book"/>
                  <a:ea typeface="MS PGothic" charset="0"/>
                  <a:cs typeface="MS PGothic" charset="0"/>
                </a:rPr>
                <a:t>Cruz</a:t>
              </a:r>
            </a:p>
          </p:txBody>
        </p:sp>
        <p:sp>
          <p:nvSpPr>
            <p:cNvPr id="69" name="San Benito"/>
            <p:cNvSpPr>
              <a:spLocks/>
            </p:cNvSpPr>
            <p:nvPr/>
          </p:nvSpPr>
          <p:spPr bwMode="auto">
            <a:xfrm>
              <a:off x="2107713" y="5959319"/>
              <a:ext cx="748895" cy="625240"/>
            </a:xfrm>
            <a:custGeom>
              <a:avLst/>
              <a:gdLst>
                <a:gd name="T0" fmla="*/ 2147483647 w 356"/>
                <a:gd name="T1" fmla="*/ 2147483647 h 312"/>
                <a:gd name="T2" fmla="*/ 2147483647 w 356"/>
                <a:gd name="T3" fmla="*/ 2147483647 h 312"/>
                <a:gd name="T4" fmla="*/ 2147483647 w 356"/>
                <a:gd name="T5" fmla="*/ 2147483647 h 312"/>
                <a:gd name="T6" fmla="*/ 2147483647 w 356"/>
                <a:gd name="T7" fmla="*/ 2147483647 h 312"/>
                <a:gd name="T8" fmla="*/ 2147483647 w 356"/>
                <a:gd name="T9" fmla="*/ 2147483647 h 312"/>
                <a:gd name="T10" fmla="*/ 2147483647 w 356"/>
                <a:gd name="T11" fmla="*/ 2147483647 h 312"/>
                <a:gd name="T12" fmla="*/ 2147483647 w 356"/>
                <a:gd name="T13" fmla="*/ 2147483647 h 312"/>
                <a:gd name="T14" fmla="*/ 2147483647 w 356"/>
                <a:gd name="T15" fmla="*/ 2147483647 h 312"/>
                <a:gd name="T16" fmla="*/ 2147483647 w 356"/>
                <a:gd name="T17" fmla="*/ 2147483647 h 312"/>
                <a:gd name="T18" fmla="*/ 2147483647 w 356"/>
                <a:gd name="T19" fmla="*/ 2147483647 h 312"/>
                <a:gd name="T20" fmla="*/ 2147483647 w 356"/>
                <a:gd name="T21" fmla="*/ 2147483647 h 312"/>
                <a:gd name="T22" fmla="*/ 2147483647 w 356"/>
                <a:gd name="T23" fmla="*/ 2147483647 h 312"/>
                <a:gd name="T24" fmla="*/ 2147483647 w 356"/>
                <a:gd name="T25" fmla="*/ 0 h 312"/>
                <a:gd name="T26" fmla="*/ 2147483647 w 356"/>
                <a:gd name="T27" fmla="*/ 2147483647 h 312"/>
                <a:gd name="T28" fmla="*/ 2147483647 w 356"/>
                <a:gd name="T29" fmla="*/ 2147483647 h 312"/>
                <a:gd name="T30" fmla="*/ 2147483647 w 356"/>
                <a:gd name="T31" fmla="*/ 2147483647 h 312"/>
                <a:gd name="T32" fmla="*/ 2147483647 w 356"/>
                <a:gd name="T33" fmla="*/ 2147483647 h 312"/>
                <a:gd name="T34" fmla="*/ 2147483647 w 356"/>
                <a:gd name="T35" fmla="*/ 2147483647 h 312"/>
                <a:gd name="T36" fmla="*/ 2147483647 w 356"/>
                <a:gd name="T37" fmla="*/ 2147483647 h 312"/>
                <a:gd name="T38" fmla="*/ 2147483647 w 356"/>
                <a:gd name="T39" fmla="*/ 2147483647 h 312"/>
                <a:gd name="T40" fmla="*/ 2147483647 w 356"/>
                <a:gd name="T41" fmla="*/ 2147483647 h 312"/>
                <a:gd name="T42" fmla="*/ 2147483647 w 356"/>
                <a:gd name="T43" fmla="*/ 2147483647 h 312"/>
                <a:gd name="T44" fmla="*/ 2147483647 w 356"/>
                <a:gd name="T45" fmla="*/ 2147483647 h 312"/>
                <a:gd name="T46" fmla="*/ 2147483647 w 356"/>
                <a:gd name="T47" fmla="*/ 2147483647 h 312"/>
                <a:gd name="T48" fmla="*/ 2147483647 w 356"/>
                <a:gd name="T49" fmla="*/ 2147483647 h 312"/>
                <a:gd name="T50" fmla="*/ 2147483647 w 356"/>
                <a:gd name="T51" fmla="*/ 2147483647 h 312"/>
                <a:gd name="T52" fmla="*/ 2147483647 w 356"/>
                <a:gd name="T53" fmla="*/ 2147483647 h 312"/>
                <a:gd name="T54" fmla="*/ 2147483647 w 356"/>
                <a:gd name="T55" fmla="*/ 2147483647 h 312"/>
                <a:gd name="T56" fmla="*/ 2147483647 w 356"/>
                <a:gd name="T57" fmla="*/ 2147483647 h 312"/>
                <a:gd name="T58" fmla="*/ 2147483647 w 356"/>
                <a:gd name="T59" fmla="*/ 2147483647 h 312"/>
                <a:gd name="T60" fmla="*/ 2147483647 w 356"/>
                <a:gd name="T61" fmla="*/ 2147483647 h 312"/>
                <a:gd name="T62" fmla="*/ 2147483647 w 356"/>
                <a:gd name="T63" fmla="*/ 2147483647 h 312"/>
                <a:gd name="T64" fmla="*/ 2147483647 w 356"/>
                <a:gd name="T65" fmla="*/ 2147483647 h 312"/>
                <a:gd name="T66" fmla="*/ 2147483647 w 356"/>
                <a:gd name="T67" fmla="*/ 2147483647 h 312"/>
                <a:gd name="T68" fmla="*/ 2147483647 w 356"/>
                <a:gd name="T69" fmla="*/ 2147483647 h 312"/>
                <a:gd name="T70" fmla="*/ 2147483647 w 356"/>
                <a:gd name="T71" fmla="*/ 2147483647 h 312"/>
                <a:gd name="T72" fmla="*/ 2147483647 w 356"/>
                <a:gd name="T73" fmla="*/ 2147483647 h 312"/>
                <a:gd name="T74" fmla="*/ 2147483647 w 356"/>
                <a:gd name="T75" fmla="*/ 2147483647 h 312"/>
                <a:gd name="T76" fmla="*/ 2147483647 w 356"/>
                <a:gd name="T77" fmla="*/ 2147483647 h 312"/>
                <a:gd name="T78" fmla="*/ 2147483647 w 356"/>
                <a:gd name="T79" fmla="*/ 2147483647 h 312"/>
                <a:gd name="T80" fmla="*/ 2147483647 w 356"/>
                <a:gd name="T81" fmla="*/ 2147483647 h 312"/>
                <a:gd name="T82" fmla="*/ 2147483647 w 356"/>
                <a:gd name="T83" fmla="*/ 2147483647 h 312"/>
                <a:gd name="T84" fmla="*/ 2147483647 w 356"/>
                <a:gd name="T85" fmla="*/ 2147483647 h 312"/>
                <a:gd name="T86" fmla="*/ 2147483647 w 356"/>
                <a:gd name="T87" fmla="*/ 2147483647 h 312"/>
                <a:gd name="T88" fmla="*/ 2147483647 w 356"/>
                <a:gd name="T89" fmla="*/ 2147483647 h 312"/>
                <a:gd name="T90" fmla="*/ 2147483647 w 356"/>
                <a:gd name="T91" fmla="*/ 2147483647 h 312"/>
                <a:gd name="T92" fmla="*/ 2147483647 w 356"/>
                <a:gd name="T93" fmla="*/ 2147483647 h 3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356" h="312">
                  <a:moveTo>
                    <a:pt x="345" y="263"/>
                  </a:moveTo>
                  <a:lnTo>
                    <a:pt x="347" y="262"/>
                  </a:lnTo>
                  <a:lnTo>
                    <a:pt x="348" y="260"/>
                  </a:lnTo>
                  <a:lnTo>
                    <a:pt x="352" y="253"/>
                  </a:lnTo>
                  <a:lnTo>
                    <a:pt x="353" y="245"/>
                  </a:lnTo>
                  <a:lnTo>
                    <a:pt x="355" y="235"/>
                  </a:lnTo>
                  <a:lnTo>
                    <a:pt x="356" y="225"/>
                  </a:lnTo>
                  <a:lnTo>
                    <a:pt x="355" y="215"/>
                  </a:lnTo>
                  <a:lnTo>
                    <a:pt x="353" y="206"/>
                  </a:lnTo>
                  <a:lnTo>
                    <a:pt x="352" y="200"/>
                  </a:lnTo>
                  <a:lnTo>
                    <a:pt x="348" y="194"/>
                  </a:lnTo>
                  <a:lnTo>
                    <a:pt x="343" y="187"/>
                  </a:lnTo>
                  <a:lnTo>
                    <a:pt x="328" y="174"/>
                  </a:lnTo>
                  <a:lnTo>
                    <a:pt x="312" y="161"/>
                  </a:lnTo>
                  <a:lnTo>
                    <a:pt x="300" y="151"/>
                  </a:lnTo>
                  <a:lnTo>
                    <a:pt x="244" y="97"/>
                  </a:lnTo>
                  <a:lnTo>
                    <a:pt x="240" y="93"/>
                  </a:lnTo>
                  <a:lnTo>
                    <a:pt x="234" y="89"/>
                  </a:lnTo>
                  <a:lnTo>
                    <a:pt x="220" y="81"/>
                  </a:lnTo>
                  <a:lnTo>
                    <a:pt x="192" y="70"/>
                  </a:lnTo>
                  <a:lnTo>
                    <a:pt x="181" y="65"/>
                  </a:lnTo>
                  <a:lnTo>
                    <a:pt x="171" y="59"/>
                  </a:lnTo>
                  <a:lnTo>
                    <a:pt x="170" y="56"/>
                  </a:lnTo>
                  <a:lnTo>
                    <a:pt x="169" y="54"/>
                  </a:lnTo>
                  <a:lnTo>
                    <a:pt x="168" y="50"/>
                  </a:lnTo>
                  <a:lnTo>
                    <a:pt x="166" y="48"/>
                  </a:lnTo>
                  <a:lnTo>
                    <a:pt x="159" y="36"/>
                  </a:lnTo>
                  <a:lnTo>
                    <a:pt x="149" y="26"/>
                  </a:lnTo>
                  <a:lnTo>
                    <a:pt x="145" y="24"/>
                  </a:lnTo>
                  <a:lnTo>
                    <a:pt x="140" y="21"/>
                  </a:lnTo>
                  <a:lnTo>
                    <a:pt x="139" y="20"/>
                  </a:lnTo>
                  <a:lnTo>
                    <a:pt x="139" y="18"/>
                  </a:lnTo>
                  <a:lnTo>
                    <a:pt x="140" y="14"/>
                  </a:lnTo>
                  <a:lnTo>
                    <a:pt x="144" y="10"/>
                  </a:lnTo>
                  <a:lnTo>
                    <a:pt x="84" y="9"/>
                  </a:lnTo>
                  <a:lnTo>
                    <a:pt x="80" y="9"/>
                  </a:lnTo>
                  <a:lnTo>
                    <a:pt x="78" y="8"/>
                  </a:lnTo>
                  <a:lnTo>
                    <a:pt x="73" y="3"/>
                  </a:lnTo>
                  <a:lnTo>
                    <a:pt x="69" y="0"/>
                  </a:lnTo>
                  <a:lnTo>
                    <a:pt x="65" y="0"/>
                  </a:lnTo>
                  <a:lnTo>
                    <a:pt x="61" y="1"/>
                  </a:lnTo>
                  <a:lnTo>
                    <a:pt x="56" y="1"/>
                  </a:lnTo>
                  <a:lnTo>
                    <a:pt x="54" y="1"/>
                  </a:lnTo>
                  <a:lnTo>
                    <a:pt x="51" y="3"/>
                  </a:lnTo>
                  <a:lnTo>
                    <a:pt x="46" y="9"/>
                  </a:lnTo>
                  <a:lnTo>
                    <a:pt x="44" y="15"/>
                  </a:lnTo>
                  <a:lnTo>
                    <a:pt x="40" y="21"/>
                  </a:lnTo>
                  <a:lnTo>
                    <a:pt x="33" y="31"/>
                  </a:lnTo>
                  <a:lnTo>
                    <a:pt x="26" y="36"/>
                  </a:lnTo>
                  <a:lnTo>
                    <a:pt x="24" y="38"/>
                  </a:lnTo>
                  <a:lnTo>
                    <a:pt x="21" y="38"/>
                  </a:lnTo>
                  <a:lnTo>
                    <a:pt x="16" y="35"/>
                  </a:lnTo>
                  <a:lnTo>
                    <a:pt x="12" y="33"/>
                  </a:lnTo>
                  <a:lnTo>
                    <a:pt x="5" y="31"/>
                  </a:lnTo>
                  <a:lnTo>
                    <a:pt x="0" y="33"/>
                  </a:lnTo>
                  <a:lnTo>
                    <a:pt x="3" y="38"/>
                  </a:lnTo>
                  <a:lnTo>
                    <a:pt x="3" y="41"/>
                  </a:lnTo>
                  <a:lnTo>
                    <a:pt x="4" y="46"/>
                  </a:lnTo>
                  <a:lnTo>
                    <a:pt x="7" y="50"/>
                  </a:lnTo>
                  <a:lnTo>
                    <a:pt x="14" y="56"/>
                  </a:lnTo>
                  <a:lnTo>
                    <a:pt x="21" y="63"/>
                  </a:lnTo>
                  <a:lnTo>
                    <a:pt x="30" y="71"/>
                  </a:lnTo>
                  <a:lnTo>
                    <a:pt x="40" y="81"/>
                  </a:lnTo>
                  <a:lnTo>
                    <a:pt x="51" y="86"/>
                  </a:lnTo>
                  <a:lnTo>
                    <a:pt x="56" y="90"/>
                  </a:lnTo>
                  <a:lnTo>
                    <a:pt x="59" y="91"/>
                  </a:lnTo>
                  <a:lnTo>
                    <a:pt x="60" y="96"/>
                  </a:lnTo>
                  <a:lnTo>
                    <a:pt x="63" y="101"/>
                  </a:lnTo>
                  <a:lnTo>
                    <a:pt x="63" y="104"/>
                  </a:lnTo>
                  <a:lnTo>
                    <a:pt x="63" y="106"/>
                  </a:lnTo>
                  <a:lnTo>
                    <a:pt x="60" y="107"/>
                  </a:lnTo>
                  <a:lnTo>
                    <a:pt x="58" y="107"/>
                  </a:lnTo>
                  <a:lnTo>
                    <a:pt x="55" y="107"/>
                  </a:lnTo>
                  <a:lnTo>
                    <a:pt x="54" y="109"/>
                  </a:lnTo>
                  <a:lnTo>
                    <a:pt x="58" y="114"/>
                  </a:lnTo>
                  <a:lnTo>
                    <a:pt x="63" y="120"/>
                  </a:lnTo>
                  <a:lnTo>
                    <a:pt x="65" y="122"/>
                  </a:lnTo>
                  <a:lnTo>
                    <a:pt x="75" y="126"/>
                  </a:lnTo>
                  <a:lnTo>
                    <a:pt x="85" y="129"/>
                  </a:lnTo>
                  <a:lnTo>
                    <a:pt x="94" y="132"/>
                  </a:lnTo>
                  <a:lnTo>
                    <a:pt x="99" y="136"/>
                  </a:lnTo>
                  <a:lnTo>
                    <a:pt x="101" y="140"/>
                  </a:lnTo>
                  <a:lnTo>
                    <a:pt x="105" y="145"/>
                  </a:lnTo>
                  <a:lnTo>
                    <a:pt x="106" y="150"/>
                  </a:lnTo>
                  <a:lnTo>
                    <a:pt x="106" y="155"/>
                  </a:lnTo>
                  <a:lnTo>
                    <a:pt x="105" y="161"/>
                  </a:lnTo>
                  <a:lnTo>
                    <a:pt x="105" y="165"/>
                  </a:lnTo>
                  <a:lnTo>
                    <a:pt x="106" y="167"/>
                  </a:lnTo>
                  <a:lnTo>
                    <a:pt x="109" y="172"/>
                  </a:lnTo>
                  <a:lnTo>
                    <a:pt x="111" y="177"/>
                  </a:lnTo>
                  <a:lnTo>
                    <a:pt x="114" y="182"/>
                  </a:lnTo>
                  <a:lnTo>
                    <a:pt x="114" y="187"/>
                  </a:lnTo>
                  <a:lnTo>
                    <a:pt x="116" y="190"/>
                  </a:lnTo>
                  <a:lnTo>
                    <a:pt x="119" y="191"/>
                  </a:lnTo>
                  <a:lnTo>
                    <a:pt x="123" y="191"/>
                  </a:lnTo>
                  <a:lnTo>
                    <a:pt x="130" y="190"/>
                  </a:lnTo>
                  <a:lnTo>
                    <a:pt x="134" y="191"/>
                  </a:lnTo>
                  <a:lnTo>
                    <a:pt x="138" y="194"/>
                  </a:lnTo>
                  <a:lnTo>
                    <a:pt x="161" y="222"/>
                  </a:lnTo>
                  <a:lnTo>
                    <a:pt x="189" y="248"/>
                  </a:lnTo>
                  <a:lnTo>
                    <a:pt x="196" y="258"/>
                  </a:lnTo>
                  <a:lnTo>
                    <a:pt x="202" y="268"/>
                  </a:lnTo>
                  <a:lnTo>
                    <a:pt x="210" y="287"/>
                  </a:lnTo>
                  <a:lnTo>
                    <a:pt x="215" y="286"/>
                  </a:lnTo>
                  <a:lnTo>
                    <a:pt x="220" y="285"/>
                  </a:lnTo>
                  <a:lnTo>
                    <a:pt x="222" y="281"/>
                  </a:lnTo>
                  <a:lnTo>
                    <a:pt x="224" y="277"/>
                  </a:lnTo>
                  <a:lnTo>
                    <a:pt x="227" y="280"/>
                  </a:lnTo>
                  <a:lnTo>
                    <a:pt x="230" y="280"/>
                  </a:lnTo>
                  <a:lnTo>
                    <a:pt x="232" y="280"/>
                  </a:lnTo>
                  <a:lnTo>
                    <a:pt x="234" y="278"/>
                  </a:lnTo>
                  <a:lnTo>
                    <a:pt x="237" y="276"/>
                  </a:lnTo>
                  <a:lnTo>
                    <a:pt x="239" y="275"/>
                  </a:lnTo>
                  <a:lnTo>
                    <a:pt x="241" y="275"/>
                  </a:lnTo>
                  <a:lnTo>
                    <a:pt x="249" y="275"/>
                  </a:lnTo>
                  <a:lnTo>
                    <a:pt x="256" y="276"/>
                  </a:lnTo>
                  <a:lnTo>
                    <a:pt x="264" y="278"/>
                  </a:lnTo>
                  <a:lnTo>
                    <a:pt x="267" y="281"/>
                  </a:lnTo>
                  <a:lnTo>
                    <a:pt x="276" y="291"/>
                  </a:lnTo>
                  <a:lnTo>
                    <a:pt x="284" y="298"/>
                  </a:lnTo>
                  <a:lnTo>
                    <a:pt x="292" y="305"/>
                  </a:lnTo>
                  <a:lnTo>
                    <a:pt x="299" y="309"/>
                  </a:lnTo>
                  <a:lnTo>
                    <a:pt x="307" y="311"/>
                  </a:lnTo>
                  <a:lnTo>
                    <a:pt x="311" y="312"/>
                  </a:lnTo>
                  <a:lnTo>
                    <a:pt x="314" y="312"/>
                  </a:lnTo>
                  <a:lnTo>
                    <a:pt x="316" y="309"/>
                  </a:lnTo>
                  <a:lnTo>
                    <a:pt x="317" y="306"/>
                  </a:lnTo>
                  <a:lnTo>
                    <a:pt x="315" y="297"/>
                  </a:lnTo>
                  <a:lnTo>
                    <a:pt x="310" y="286"/>
                  </a:lnTo>
                  <a:lnTo>
                    <a:pt x="305" y="276"/>
                  </a:lnTo>
                  <a:lnTo>
                    <a:pt x="299" y="267"/>
                  </a:lnTo>
                  <a:lnTo>
                    <a:pt x="302" y="268"/>
                  </a:lnTo>
                  <a:lnTo>
                    <a:pt x="306" y="270"/>
                  </a:lnTo>
                  <a:lnTo>
                    <a:pt x="312" y="273"/>
                  </a:lnTo>
                  <a:lnTo>
                    <a:pt x="319" y="278"/>
                  </a:lnTo>
                  <a:lnTo>
                    <a:pt x="325" y="282"/>
                  </a:lnTo>
                  <a:lnTo>
                    <a:pt x="324" y="277"/>
                  </a:lnTo>
                  <a:lnTo>
                    <a:pt x="325" y="273"/>
                  </a:lnTo>
                  <a:lnTo>
                    <a:pt x="326" y="271"/>
                  </a:lnTo>
                  <a:lnTo>
                    <a:pt x="330" y="268"/>
                  </a:lnTo>
                  <a:lnTo>
                    <a:pt x="337" y="266"/>
                  </a:lnTo>
                  <a:lnTo>
                    <a:pt x="343" y="263"/>
                  </a:lnTo>
                  <a:lnTo>
                    <a:pt x="345" y="263"/>
                  </a:lnTo>
                  <a:close/>
                </a:path>
              </a:pathLst>
            </a:custGeom>
            <a:solidFill>
              <a:schemeClr val="bg1">
                <a:lumMod val="75000"/>
              </a:schemeClr>
            </a:solidFill>
            <a:ln w="3175" cmpd="sng">
              <a:solidFill>
                <a:srgbClr val="D9D9D9"/>
              </a:solidFill>
              <a:prstDash val="solid"/>
              <a:round/>
              <a:headEnd/>
              <a:tailEnd/>
            </a:ln>
          </p:spPr>
          <p:txBody>
            <a:bodyPr wrap="none" anchor="ctr"/>
            <a:lstStyle/>
            <a:p>
              <a:pPr algn="r"/>
              <a:r>
                <a:rPr lang="en-US" sz="800" dirty="0">
                  <a:solidFill>
                    <a:prstClr val="black"/>
                  </a:solidFill>
                  <a:latin typeface="Franklin Gothic Book"/>
                  <a:ea typeface="MS PGothic" charset="0"/>
                  <a:cs typeface="MS PGothic" charset="0"/>
                </a:rPr>
                <a:t>San</a:t>
              </a:r>
              <a:br>
                <a:rPr lang="en-US" sz="800" dirty="0">
                  <a:solidFill>
                    <a:prstClr val="black"/>
                  </a:solidFill>
                  <a:latin typeface="Franklin Gothic Book"/>
                  <a:ea typeface="MS PGothic" charset="0"/>
                  <a:cs typeface="MS PGothic" charset="0"/>
                </a:rPr>
              </a:br>
              <a:r>
                <a:rPr lang="en-US" sz="800" dirty="0">
                  <a:solidFill>
                    <a:prstClr val="black"/>
                  </a:solidFill>
                  <a:latin typeface="Franklin Gothic Book"/>
                  <a:ea typeface="MS PGothic" charset="0"/>
                  <a:cs typeface="MS PGothic" charset="0"/>
                </a:rPr>
                <a:t>Benito</a:t>
              </a:r>
            </a:p>
          </p:txBody>
        </p:sp>
        <p:sp>
          <p:nvSpPr>
            <p:cNvPr id="70" name="Monterey"/>
            <p:cNvSpPr>
              <a:spLocks/>
            </p:cNvSpPr>
            <p:nvPr/>
          </p:nvSpPr>
          <p:spPr bwMode="auto">
            <a:xfrm>
              <a:off x="1884726" y="6015429"/>
              <a:ext cx="1234836" cy="899784"/>
            </a:xfrm>
            <a:custGeom>
              <a:avLst/>
              <a:gdLst>
                <a:gd name="T0" fmla="*/ 2147483647 w 587"/>
                <a:gd name="T1" fmla="*/ 2147483647 h 449"/>
                <a:gd name="T2" fmla="*/ 2147483647 w 587"/>
                <a:gd name="T3" fmla="*/ 2147483647 h 449"/>
                <a:gd name="T4" fmla="*/ 2147483647 w 587"/>
                <a:gd name="T5" fmla="*/ 2147483647 h 449"/>
                <a:gd name="T6" fmla="*/ 2147483647 w 587"/>
                <a:gd name="T7" fmla="*/ 2147483647 h 449"/>
                <a:gd name="T8" fmla="*/ 2147483647 w 587"/>
                <a:gd name="T9" fmla="*/ 2147483647 h 449"/>
                <a:gd name="T10" fmla="*/ 2147483647 w 587"/>
                <a:gd name="T11" fmla="*/ 2147483647 h 449"/>
                <a:gd name="T12" fmla="*/ 2147483647 w 587"/>
                <a:gd name="T13" fmla="*/ 2147483647 h 449"/>
                <a:gd name="T14" fmla="*/ 2147483647 w 587"/>
                <a:gd name="T15" fmla="*/ 2147483647 h 449"/>
                <a:gd name="T16" fmla="*/ 2147483647 w 587"/>
                <a:gd name="T17" fmla="*/ 2147483647 h 449"/>
                <a:gd name="T18" fmla="*/ 2147483647 w 587"/>
                <a:gd name="T19" fmla="*/ 2147483647 h 449"/>
                <a:gd name="T20" fmla="*/ 2147483647 w 587"/>
                <a:gd name="T21" fmla="*/ 2147483647 h 449"/>
                <a:gd name="T22" fmla="*/ 2147483647 w 587"/>
                <a:gd name="T23" fmla="*/ 2147483647 h 449"/>
                <a:gd name="T24" fmla="*/ 2147483647 w 587"/>
                <a:gd name="T25" fmla="*/ 2147483647 h 449"/>
                <a:gd name="T26" fmla="*/ 2147483647 w 587"/>
                <a:gd name="T27" fmla="*/ 2147483647 h 449"/>
                <a:gd name="T28" fmla="*/ 2147483647 w 587"/>
                <a:gd name="T29" fmla="*/ 2147483647 h 449"/>
                <a:gd name="T30" fmla="*/ 2147483647 w 587"/>
                <a:gd name="T31" fmla="*/ 2147483647 h 449"/>
                <a:gd name="T32" fmla="*/ 2147483647 w 587"/>
                <a:gd name="T33" fmla="*/ 2147483647 h 449"/>
                <a:gd name="T34" fmla="*/ 2147483647 w 587"/>
                <a:gd name="T35" fmla="*/ 2147483647 h 449"/>
                <a:gd name="T36" fmla="*/ 2147483647 w 587"/>
                <a:gd name="T37" fmla="*/ 2147483647 h 449"/>
                <a:gd name="T38" fmla="*/ 2147483647 w 587"/>
                <a:gd name="T39" fmla="*/ 2147483647 h 449"/>
                <a:gd name="T40" fmla="*/ 2147483647 w 587"/>
                <a:gd name="T41" fmla="*/ 2147483647 h 449"/>
                <a:gd name="T42" fmla="*/ 2147483647 w 587"/>
                <a:gd name="T43" fmla="*/ 2147483647 h 449"/>
                <a:gd name="T44" fmla="*/ 2147483647 w 587"/>
                <a:gd name="T45" fmla="*/ 2147483647 h 449"/>
                <a:gd name="T46" fmla="*/ 2147483647 w 587"/>
                <a:gd name="T47" fmla="*/ 2147483647 h 449"/>
                <a:gd name="T48" fmla="*/ 2147483647 w 587"/>
                <a:gd name="T49" fmla="*/ 2147483647 h 449"/>
                <a:gd name="T50" fmla="*/ 2147483647 w 587"/>
                <a:gd name="T51" fmla="*/ 2147483647 h 449"/>
                <a:gd name="T52" fmla="*/ 2147483647 w 587"/>
                <a:gd name="T53" fmla="*/ 2147483647 h 449"/>
                <a:gd name="T54" fmla="*/ 2147483647 w 587"/>
                <a:gd name="T55" fmla="*/ 0 h 449"/>
                <a:gd name="T56" fmla="*/ 2147483647 w 587"/>
                <a:gd name="T57" fmla="*/ 2147483647 h 449"/>
                <a:gd name="T58" fmla="*/ 2147483647 w 587"/>
                <a:gd name="T59" fmla="*/ 2147483647 h 449"/>
                <a:gd name="T60" fmla="*/ 2147483647 w 587"/>
                <a:gd name="T61" fmla="*/ 2147483647 h 449"/>
                <a:gd name="T62" fmla="*/ 2147483647 w 587"/>
                <a:gd name="T63" fmla="*/ 2147483647 h 449"/>
                <a:gd name="T64" fmla="*/ 2147483647 w 587"/>
                <a:gd name="T65" fmla="*/ 2147483647 h 449"/>
                <a:gd name="T66" fmla="*/ 2147483647 w 587"/>
                <a:gd name="T67" fmla="*/ 2147483647 h 449"/>
                <a:gd name="T68" fmla="*/ 2147483647 w 587"/>
                <a:gd name="T69" fmla="*/ 2147483647 h 449"/>
                <a:gd name="T70" fmla="*/ 2147483647 w 587"/>
                <a:gd name="T71" fmla="*/ 2147483647 h 449"/>
                <a:gd name="T72" fmla="*/ 2147483647 w 587"/>
                <a:gd name="T73" fmla="*/ 2147483647 h 449"/>
                <a:gd name="T74" fmla="*/ 2147483647 w 587"/>
                <a:gd name="T75" fmla="*/ 2147483647 h 449"/>
                <a:gd name="T76" fmla="*/ 2147483647 w 587"/>
                <a:gd name="T77" fmla="*/ 2147483647 h 449"/>
                <a:gd name="T78" fmla="*/ 2147483647 w 587"/>
                <a:gd name="T79" fmla="*/ 2147483647 h 449"/>
                <a:gd name="T80" fmla="*/ 2147483647 w 587"/>
                <a:gd name="T81" fmla="*/ 2147483647 h 449"/>
                <a:gd name="T82" fmla="*/ 2147483647 w 587"/>
                <a:gd name="T83" fmla="*/ 2147483647 h 449"/>
                <a:gd name="T84" fmla="*/ 2147483647 w 587"/>
                <a:gd name="T85" fmla="*/ 2147483647 h 449"/>
                <a:gd name="T86" fmla="*/ 2147483647 w 587"/>
                <a:gd name="T87" fmla="*/ 2147483647 h 449"/>
                <a:gd name="T88" fmla="*/ 2147483647 w 587"/>
                <a:gd name="T89" fmla="*/ 2147483647 h 449"/>
                <a:gd name="T90" fmla="*/ 2147483647 w 587"/>
                <a:gd name="T91" fmla="*/ 2147483647 h 449"/>
                <a:gd name="T92" fmla="*/ 2147483647 w 587"/>
                <a:gd name="T93" fmla="*/ 2147483647 h 449"/>
                <a:gd name="T94" fmla="*/ 2147483647 w 587"/>
                <a:gd name="T95" fmla="*/ 2147483647 h 449"/>
                <a:gd name="T96" fmla="*/ 2147483647 w 587"/>
                <a:gd name="T97" fmla="*/ 2147483647 h 449"/>
                <a:gd name="T98" fmla="*/ 2147483647 w 587"/>
                <a:gd name="T99" fmla="*/ 2147483647 h 449"/>
                <a:gd name="T100" fmla="*/ 2147483647 w 587"/>
                <a:gd name="T101" fmla="*/ 2147483647 h 449"/>
                <a:gd name="T102" fmla="*/ 2147483647 w 587"/>
                <a:gd name="T103" fmla="*/ 2147483647 h 449"/>
                <a:gd name="T104" fmla="*/ 2147483647 w 587"/>
                <a:gd name="T105" fmla="*/ 2147483647 h 44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7" h="449">
                  <a:moveTo>
                    <a:pt x="586" y="449"/>
                  </a:moveTo>
                  <a:lnTo>
                    <a:pt x="587" y="444"/>
                  </a:lnTo>
                  <a:lnTo>
                    <a:pt x="586" y="441"/>
                  </a:lnTo>
                  <a:lnTo>
                    <a:pt x="583" y="439"/>
                  </a:lnTo>
                  <a:lnTo>
                    <a:pt x="581" y="436"/>
                  </a:lnTo>
                  <a:lnTo>
                    <a:pt x="576" y="429"/>
                  </a:lnTo>
                  <a:lnTo>
                    <a:pt x="573" y="421"/>
                  </a:lnTo>
                  <a:lnTo>
                    <a:pt x="573" y="417"/>
                  </a:lnTo>
                  <a:lnTo>
                    <a:pt x="573" y="415"/>
                  </a:lnTo>
                  <a:lnTo>
                    <a:pt x="573" y="412"/>
                  </a:lnTo>
                  <a:lnTo>
                    <a:pt x="571" y="409"/>
                  </a:lnTo>
                  <a:lnTo>
                    <a:pt x="567" y="405"/>
                  </a:lnTo>
                  <a:lnTo>
                    <a:pt x="563" y="404"/>
                  </a:lnTo>
                  <a:lnTo>
                    <a:pt x="554" y="401"/>
                  </a:lnTo>
                  <a:lnTo>
                    <a:pt x="551" y="399"/>
                  </a:lnTo>
                  <a:lnTo>
                    <a:pt x="547" y="395"/>
                  </a:lnTo>
                  <a:lnTo>
                    <a:pt x="542" y="389"/>
                  </a:lnTo>
                  <a:lnTo>
                    <a:pt x="536" y="383"/>
                  </a:lnTo>
                  <a:lnTo>
                    <a:pt x="532" y="380"/>
                  </a:lnTo>
                  <a:lnTo>
                    <a:pt x="528" y="378"/>
                  </a:lnTo>
                  <a:lnTo>
                    <a:pt x="516" y="374"/>
                  </a:lnTo>
                  <a:lnTo>
                    <a:pt x="511" y="371"/>
                  </a:lnTo>
                  <a:lnTo>
                    <a:pt x="504" y="368"/>
                  </a:lnTo>
                  <a:lnTo>
                    <a:pt x="486" y="354"/>
                  </a:lnTo>
                  <a:lnTo>
                    <a:pt x="484" y="354"/>
                  </a:lnTo>
                  <a:lnTo>
                    <a:pt x="482" y="354"/>
                  </a:lnTo>
                  <a:lnTo>
                    <a:pt x="479" y="354"/>
                  </a:lnTo>
                  <a:lnTo>
                    <a:pt x="477" y="351"/>
                  </a:lnTo>
                  <a:lnTo>
                    <a:pt x="476" y="348"/>
                  </a:lnTo>
                  <a:lnTo>
                    <a:pt x="472" y="345"/>
                  </a:lnTo>
                  <a:lnTo>
                    <a:pt x="469" y="344"/>
                  </a:lnTo>
                  <a:lnTo>
                    <a:pt x="466" y="341"/>
                  </a:lnTo>
                  <a:lnTo>
                    <a:pt x="463" y="335"/>
                  </a:lnTo>
                  <a:lnTo>
                    <a:pt x="461" y="330"/>
                  </a:lnTo>
                  <a:lnTo>
                    <a:pt x="456" y="328"/>
                  </a:lnTo>
                  <a:lnTo>
                    <a:pt x="452" y="326"/>
                  </a:lnTo>
                  <a:lnTo>
                    <a:pt x="444" y="320"/>
                  </a:lnTo>
                  <a:lnTo>
                    <a:pt x="439" y="315"/>
                  </a:lnTo>
                  <a:lnTo>
                    <a:pt x="437" y="311"/>
                  </a:lnTo>
                  <a:lnTo>
                    <a:pt x="436" y="309"/>
                  </a:lnTo>
                  <a:lnTo>
                    <a:pt x="434" y="304"/>
                  </a:lnTo>
                  <a:lnTo>
                    <a:pt x="436" y="300"/>
                  </a:lnTo>
                  <a:lnTo>
                    <a:pt x="437" y="296"/>
                  </a:lnTo>
                  <a:lnTo>
                    <a:pt x="439" y="294"/>
                  </a:lnTo>
                  <a:lnTo>
                    <a:pt x="443" y="289"/>
                  </a:lnTo>
                  <a:lnTo>
                    <a:pt x="444" y="286"/>
                  </a:lnTo>
                  <a:lnTo>
                    <a:pt x="446" y="284"/>
                  </a:lnTo>
                  <a:lnTo>
                    <a:pt x="444" y="281"/>
                  </a:lnTo>
                  <a:lnTo>
                    <a:pt x="442" y="278"/>
                  </a:lnTo>
                  <a:lnTo>
                    <a:pt x="437" y="273"/>
                  </a:lnTo>
                  <a:lnTo>
                    <a:pt x="434" y="272"/>
                  </a:lnTo>
                  <a:lnTo>
                    <a:pt x="432" y="268"/>
                  </a:lnTo>
                  <a:lnTo>
                    <a:pt x="431" y="264"/>
                  </a:lnTo>
                  <a:lnTo>
                    <a:pt x="432" y="262"/>
                  </a:lnTo>
                  <a:lnTo>
                    <a:pt x="432" y="258"/>
                  </a:lnTo>
                  <a:lnTo>
                    <a:pt x="431" y="254"/>
                  </a:lnTo>
                  <a:lnTo>
                    <a:pt x="425" y="250"/>
                  </a:lnTo>
                  <a:lnTo>
                    <a:pt x="418" y="245"/>
                  </a:lnTo>
                  <a:lnTo>
                    <a:pt x="412" y="242"/>
                  </a:lnTo>
                  <a:lnTo>
                    <a:pt x="408" y="240"/>
                  </a:lnTo>
                  <a:lnTo>
                    <a:pt x="405" y="239"/>
                  </a:lnTo>
                  <a:lnTo>
                    <a:pt x="411" y="248"/>
                  </a:lnTo>
                  <a:lnTo>
                    <a:pt x="416" y="258"/>
                  </a:lnTo>
                  <a:lnTo>
                    <a:pt x="421" y="269"/>
                  </a:lnTo>
                  <a:lnTo>
                    <a:pt x="423" y="278"/>
                  </a:lnTo>
                  <a:lnTo>
                    <a:pt x="422" y="281"/>
                  </a:lnTo>
                  <a:lnTo>
                    <a:pt x="420" y="284"/>
                  </a:lnTo>
                  <a:lnTo>
                    <a:pt x="417" y="284"/>
                  </a:lnTo>
                  <a:lnTo>
                    <a:pt x="413" y="283"/>
                  </a:lnTo>
                  <a:lnTo>
                    <a:pt x="405" y="281"/>
                  </a:lnTo>
                  <a:lnTo>
                    <a:pt x="398" y="277"/>
                  </a:lnTo>
                  <a:lnTo>
                    <a:pt x="390" y="270"/>
                  </a:lnTo>
                  <a:lnTo>
                    <a:pt x="382" y="263"/>
                  </a:lnTo>
                  <a:lnTo>
                    <a:pt x="373" y="253"/>
                  </a:lnTo>
                  <a:lnTo>
                    <a:pt x="370" y="250"/>
                  </a:lnTo>
                  <a:lnTo>
                    <a:pt x="362" y="248"/>
                  </a:lnTo>
                  <a:lnTo>
                    <a:pt x="355" y="247"/>
                  </a:lnTo>
                  <a:lnTo>
                    <a:pt x="347" y="247"/>
                  </a:lnTo>
                  <a:lnTo>
                    <a:pt x="345" y="247"/>
                  </a:lnTo>
                  <a:lnTo>
                    <a:pt x="343" y="248"/>
                  </a:lnTo>
                  <a:lnTo>
                    <a:pt x="340" y="250"/>
                  </a:lnTo>
                  <a:lnTo>
                    <a:pt x="338" y="252"/>
                  </a:lnTo>
                  <a:lnTo>
                    <a:pt x="336" y="252"/>
                  </a:lnTo>
                  <a:lnTo>
                    <a:pt x="333" y="252"/>
                  </a:lnTo>
                  <a:lnTo>
                    <a:pt x="330" y="249"/>
                  </a:lnTo>
                  <a:lnTo>
                    <a:pt x="328" y="253"/>
                  </a:lnTo>
                  <a:lnTo>
                    <a:pt x="326" y="257"/>
                  </a:lnTo>
                  <a:lnTo>
                    <a:pt x="321" y="258"/>
                  </a:lnTo>
                  <a:lnTo>
                    <a:pt x="316" y="259"/>
                  </a:lnTo>
                  <a:lnTo>
                    <a:pt x="308" y="240"/>
                  </a:lnTo>
                  <a:lnTo>
                    <a:pt x="302" y="230"/>
                  </a:lnTo>
                  <a:lnTo>
                    <a:pt x="295" y="220"/>
                  </a:lnTo>
                  <a:lnTo>
                    <a:pt x="267" y="194"/>
                  </a:lnTo>
                  <a:lnTo>
                    <a:pt x="244" y="166"/>
                  </a:lnTo>
                  <a:lnTo>
                    <a:pt x="240" y="163"/>
                  </a:lnTo>
                  <a:lnTo>
                    <a:pt x="236" y="162"/>
                  </a:lnTo>
                  <a:lnTo>
                    <a:pt x="229" y="163"/>
                  </a:lnTo>
                  <a:lnTo>
                    <a:pt x="225" y="163"/>
                  </a:lnTo>
                  <a:lnTo>
                    <a:pt x="222" y="162"/>
                  </a:lnTo>
                  <a:lnTo>
                    <a:pt x="220" y="159"/>
                  </a:lnTo>
                  <a:lnTo>
                    <a:pt x="220" y="154"/>
                  </a:lnTo>
                  <a:lnTo>
                    <a:pt x="217" y="149"/>
                  </a:lnTo>
                  <a:lnTo>
                    <a:pt x="215" y="144"/>
                  </a:lnTo>
                  <a:lnTo>
                    <a:pt x="212" y="139"/>
                  </a:lnTo>
                  <a:lnTo>
                    <a:pt x="211" y="137"/>
                  </a:lnTo>
                  <a:lnTo>
                    <a:pt x="211" y="133"/>
                  </a:lnTo>
                  <a:lnTo>
                    <a:pt x="212" y="127"/>
                  </a:lnTo>
                  <a:lnTo>
                    <a:pt x="212" y="122"/>
                  </a:lnTo>
                  <a:lnTo>
                    <a:pt x="211" y="117"/>
                  </a:lnTo>
                  <a:lnTo>
                    <a:pt x="207" y="112"/>
                  </a:lnTo>
                  <a:lnTo>
                    <a:pt x="205" y="108"/>
                  </a:lnTo>
                  <a:lnTo>
                    <a:pt x="200" y="104"/>
                  </a:lnTo>
                  <a:lnTo>
                    <a:pt x="191" y="101"/>
                  </a:lnTo>
                  <a:lnTo>
                    <a:pt x="181" y="98"/>
                  </a:lnTo>
                  <a:lnTo>
                    <a:pt x="171" y="94"/>
                  </a:lnTo>
                  <a:lnTo>
                    <a:pt x="169" y="92"/>
                  </a:lnTo>
                  <a:lnTo>
                    <a:pt x="164" y="86"/>
                  </a:lnTo>
                  <a:lnTo>
                    <a:pt x="160" y="81"/>
                  </a:lnTo>
                  <a:lnTo>
                    <a:pt x="161" y="79"/>
                  </a:lnTo>
                  <a:lnTo>
                    <a:pt x="164" y="79"/>
                  </a:lnTo>
                  <a:lnTo>
                    <a:pt x="166" y="79"/>
                  </a:lnTo>
                  <a:lnTo>
                    <a:pt x="169" y="78"/>
                  </a:lnTo>
                  <a:lnTo>
                    <a:pt x="169" y="76"/>
                  </a:lnTo>
                  <a:lnTo>
                    <a:pt x="169" y="73"/>
                  </a:lnTo>
                  <a:lnTo>
                    <a:pt x="166" y="68"/>
                  </a:lnTo>
                  <a:lnTo>
                    <a:pt x="165" y="63"/>
                  </a:lnTo>
                  <a:lnTo>
                    <a:pt x="162" y="62"/>
                  </a:lnTo>
                  <a:lnTo>
                    <a:pt x="157" y="58"/>
                  </a:lnTo>
                  <a:lnTo>
                    <a:pt x="146" y="53"/>
                  </a:lnTo>
                  <a:lnTo>
                    <a:pt x="136" y="43"/>
                  </a:lnTo>
                  <a:lnTo>
                    <a:pt x="127" y="35"/>
                  </a:lnTo>
                  <a:lnTo>
                    <a:pt x="120" y="28"/>
                  </a:lnTo>
                  <a:lnTo>
                    <a:pt x="113" y="22"/>
                  </a:lnTo>
                  <a:lnTo>
                    <a:pt x="110" y="18"/>
                  </a:lnTo>
                  <a:lnTo>
                    <a:pt x="109" y="13"/>
                  </a:lnTo>
                  <a:lnTo>
                    <a:pt x="109" y="10"/>
                  </a:lnTo>
                  <a:lnTo>
                    <a:pt x="106" y="5"/>
                  </a:lnTo>
                  <a:lnTo>
                    <a:pt x="104" y="3"/>
                  </a:lnTo>
                  <a:lnTo>
                    <a:pt x="100" y="1"/>
                  </a:lnTo>
                  <a:lnTo>
                    <a:pt x="91" y="0"/>
                  </a:lnTo>
                  <a:lnTo>
                    <a:pt x="81" y="1"/>
                  </a:lnTo>
                  <a:lnTo>
                    <a:pt x="74" y="2"/>
                  </a:lnTo>
                  <a:lnTo>
                    <a:pt x="69" y="6"/>
                  </a:lnTo>
                  <a:lnTo>
                    <a:pt x="63" y="11"/>
                  </a:lnTo>
                  <a:lnTo>
                    <a:pt x="56" y="17"/>
                  </a:lnTo>
                  <a:lnTo>
                    <a:pt x="53" y="23"/>
                  </a:lnTo>
                  <a:lnTo>
                    <a:pt x="54" y="28"/>
                  </a:lnTo>
                  <a:lnTo>
                    <a:pt x="56" y="32"/>
                  </a:lnTo>
                  <a:lnTo>
                    <a:pt x="60" y="35"/>
                  </a:lnTo>
                  <a:lnTo>
                    <a:pt x="64" y="37"/>
                  </a:lnTo>
                  <a:lnTo>
                    <a:pt x="68" y="37"/>
                  </a:lnTo>
                  <a:lnTo>
                    <a:pt x="70" y="36"/>
                  </a:lnTo>
                  <a:lnTo>
                    <a:pt x="73" y="33"/>
                  </a:lnTo>
                  <a:lnTo>
                    <a:pt x="74" y="28"/>
                  </a:lnTo>
                  <a:lnTo>
                    <a:pt x="75" y="32"/>
                  </a:lnTo>
                  <a:lnTo>
                    <a:pt x="75" y="35"/>
                  </a:lnTo>
                  <a:lnTo>
                    <a:pt x="70" y="38"/>
                  </a:lnTo>
                  <a:lnTo>
                    <a:pt x="68" y="41"/>
                  </a:lnTo>
                  <a:lnTo>
                    <a:pt x="65" y="41"/>
                  </a:lnTo>
                  <a:lnTo>
                    <a:pt x="63" y="41"/>
                  </a:lnTo>
                  <a:lnTo>
                    <a:pt x="61" y="41"/>
                  </a:lnTo>
                  <a:lnTo>
                    <a:pt x="60" y="42"/>
                  </a:lnTo>
                  <a:lnTo>
                    <a:pt x="59" y="50"/>
                  </a:lnTo>
                  <a:lnTo>
                    <a:pt x="56" y="56"/>
                  </a:lnTo>
                  <a:lnTo>
                    <a:pt x="55" y="61"/>
                  </a:lnTo>
                  <a:lnTo>
                    <a:pt x="55" y="63"/>
                  </a:lnTo>
                  <a:lnTo>
                    <a:pt x="58" y="66"/>
                  </a:lnTo>
                  <a:lnTo>
                    <a:pt x="60" y="66"/>
                  </a:lnTo>
                  <a:lnTo>
                    <a:pt x="64" y="65"/>
                  </a:lnTo>
                  <a:lnTo>
                    <a:pt x="68" y="72"/>
                  </a:lnTo>
                  <a:lnTo>
                    <a:pt x="68" y="76"/>
                  </a:lnTo>
                  <a:lnTo>
                    <a:pt x="66" y="79"/>
                  </a:lnTo>
                  <a:lnTo>
                    <a:pt x="65" y="76"/>
                  </a:lnTo>
                  <a:lnTo>
                    <a:pt x="63" y="73"/>
                  </a:lnTo>
                  <a:lnTo>
                    <a:pt x="60" y="72"/>
                  </a:lnTo>
                  <a:lnTo>
                    <a:pt x="56" y="71"/>
                  </a:lnTo>
                  <a:lnTo>
                    <a:pt x="56" y="69"/>
                  </a:lnTo>
                  <a:lnTo>
                    <a:pt x="56" y="68"/>
                  </a:lnTo>
                  <a:lnTo>
                    <a:pt x="54" y="73"/>
                  </a:lnTo>
                  <a:lnTo>
                    <a:pt x="53" y="79"/>
                  </a:lnTo>
                  <a:lnTo>
                    <a:pt x="50" y="92"/>
                  </a:lnTo>
                  <a:lnTo>
                    <a:pt x="49" y="98"/>
                  </a:lnTo>
                  <a:lnTo>
                    <a:pt x="46" y="104"/>
                  </a:lnTo>
                  <a:lnTo>
                    <a:pt x="44" y="111"/>
                  </a:lnTo>
                  <a:lnTo>
                    <a:pt x="38" y="116"/>
                  </a:lnTo>
                  <a:lnTo>
                    <a:pt x="33" y="119"/>
                  </a:lnTo>
                  <a:lnTo>
                    <a:pt x="29" y="119"/>
                  </a:lnTo>
                  <a:lnTo>
                    <a:pt x="25" y="118"/>
                  </a:lnTo>
                  <a:lnTo>
                    <a:pt x="23" y="117"/>
                  </a:lnTo>
                  <a:lnTo>
                    <a:pt x="21" y="114"/>
                  </a:lnTo>
                  <a:lnTo>
                    <a:pt x="18" y="112"/>
                  </a:lnTo>
                  <a:lnTo>
                    <a:pt x="15" y="111"/>
                  </a:lnTo>
                  <a:lnTo>
                    <a:pt x="11" y="112"/>
                  </a:lnTo>
                  <a:lnTo>
                    <a:pt x="9" y="114"/>
                  </a:lnTo>
                  <a:lnTo>
                    <a:pt x="5" y="118"/>
                  </a:lnTo>
                  <a:lnTo>
                    <a:pt x="3" y="123"/>
                  </a:lnTo>
                  <a:lnTo>
                    <a:pt x="0" y="128"/>
                  </a:lnTo>
                  <a:lnTo>
                    <a:pt x="0" y="133"/>
                  </a:lnTo>
                  <a:lnTo>
                    <a:pt x="0" y="137"/>
                  </a:lnTo>
                  <a:lnTo>
                    <a:pt x="1" y="138"/>
                  </a:lnTo>
                  <a:lnTo>
                    <a:pt x="3" y="139"/>
                  </a:lnTo>
                  <a:lnTo>
                    <a:pt x="8" y="139"/>
                  </a:lnTo>
                  <a:lnTo>
                    <a:pt x="10" y="139"/>
                  </a:lnTo>
                  <a:lnTo>
                    <a:pt x="13" y="142"/>
                  </a:lnTo>
                  <a:lnTo>
                    <a:pt x="15" y="147"/>
                  </a:lnTo>
                  <a:lnTo>
                    <a:pt x="15" y="151"/>
                  </a:lnTo>
                  <a:lnTo>
                    <a:pt x="15" y="153"/>
                  </a:lnTo>
                  <a:lnTo>
                    <a:pt x="14" y="154"/>
                  </a:lnTo>
                  <a:lnTo>
                    <a:pt x="11" y="154"/>
                  </a:lnTo>
                  <a:lnTo>
                    <a:pt x="9" y="156"/>
                  </a:lnTo>
                  <a:lnTo>
                    <a:pt x="8" y="157"/>
                  </a:lnTo>
                  <a:lnTo>
                    <a:pt x="8" y="163"/>
                  </a:lnTo>
                  <a:lnTo>
                    <a:pt x="10" y="175"/>
                  </a:lnTo>
                  <a:lnTo>
                    <a:pt x="13" y="184"/>
                  </a:lnTo>
                  <a:lnTo>
                    <a:pt x="16" y="193"/>
                  </a:lnTo>
                  <a:lnTo>
                    <a:pt x="20" y="202"/>
                  </a:lnTo>
                  <a:lnTo>
                    <a:pt x="23" y="210"/>
                  </a:lnTo>
                  <a:lnTo>
                    <a:pt x="25" y="232"/>
                  </a:lnTo>
                  <a:lnTo>
                    <a:pt x="25" y="242"/>
                  </a:lnTo>
                  <a:lnTo>
                    <a:pt x="28" y="245"/>
                  </a:lnTo>
                  <a:lnTo>
                    <a:pt x="34" y="250"/>
                  </a:lnTo>
                  <a:lnTo>
                    <a:pt x="38" y="253"/>
                  </a:lnTo>
                  <a:lnTo>
                    <a:pt x="41" y="257"/>
                  </a:lnTo>
                  <a:lnTo>
                    <a:pt x="43" y="259"/>
                  </a:lnTo>
                  <a:lnTo>
                    <a:pt x="41" y="262"/>
                  </a:lnTo>
                  <a:lnTo>
                    <a:pt x="41" y="264"/>
                  </a:lnTo>
                  <a:lnTo>
                    <a:pt x="43" y="267"/>
                  </a:lnTo>
                  <a:lnTo>
                    <a:pt x="54" y="273"/>
                  </a:lnTo>
                  <a:lnTo>
                    <a:pt x="64" y="278"/>
                  </a:lnTo>
                  <a:lnTo>
                    <a:pt x="79" y="288"/>
                  </a:lnTo>
                  <a:lnTo>
                    <a:pt x="94" y="300"/>
                  </a:lnTo>
                  <a:lnTo>
                    <a:pt x="101" y="306"/>
                  </a:lnTo>
                  <a:lnTo>
                    <a:pt x="108" y="314"/>
                  </a:lnTo>
                  <a:lnTo>
                    <a:pt x="113" y="321"/>
                  </a:lnTo>
                  <a:lnTo>
                    <a:pt x="116" y="329"/>
                  </a:lnTo>
                  <a:lnTo>
                    <a:pt x="119" y="336"/>
                  </a:lnTo>
                  <a:lnTo>
                    <a:pt x="122" y="346"/>
                  </a:lnTo>
                  <a:lnTo>
                    <a:pt x="129" y="355"/>
                  </a:lnTo>
                  <a:lnTo>
                    <a:pt x="131" y="359"/>
                  </a:lnTo>
                  <a:lnTo>
                    <a:pt x="135" y="359"/>
                  </a:lnTo>
                  <a:lnTo>
                    <a:pt x="144" y="361"/>
                  </a:lnTo>
                  <a:lnTo>
                    <a:pt x="151" y="364"/>
                  </a:lnTo>
                  <a:lnTo>
                    <a:pt x="154" y="366"/>
                  </a:lnTo>
                  <a:lnTo>
                    <a:pt x="157" y="369"/>
                  </a:lnTo>
                  <a:lnTo>
                    <a:pt x="159" y="373"/>
                  </a:lnTo>
                  <a:lnTo>
                    <a:pt x="161" y="378"/>
                  </a:lnTo>
                  <a:lnTo>
                    <a:pt x="162" y="386"/>
                  </a:lnTo>
                  <a:lnTo>
                    <a:pt x="164" y="397"/>
                  </a:lnTo>
                  <a:lnTo>
                    <a:pt x="166" y="407"/>
                  </a:lnTo>
                  <a:lnTo>
                    <a:pt x="167" y="412"/>
                  </a:lnTo>
                  <a:lnTo>
                    <a:pt x="170" y="416"/>
                  </a:lnTo>
                  <a:lnTo>
                    <a:pt x="175" y="419"/>
                  </a:lnTo>
                  <a:lnTo>
                    <a:pt x="180" y="422"/>
                  </a:lnTo>
                  <a:lnTo>
                    <a:pt x="185" y="425"/>
                  </a:lnTo>
                  <a:lnTo>
                    <a:pt x="189" y="429"/>
                  </a:lnTo>
                  <a:lnTo>
                    <a:pt x="191" y="434"/>
                  </a:lnTo>
                  <a:lnTo>
                    <a:pt x="196" y="437"/>
                  </a:lnTo>
                  <a:lnTo>
                    <a:pt x="205" y="446"/>
                  </a:lnTo>
                  <a:lnTo>
                    <a:pt x="252" y="446"/>
                  </a:lnTo>
                  <a:lnTo>
                    <a:pt x="300" y="446"/>
                  </a:lnTo>
                  <a:lnTo>
                    <a:pt x="396" y="445"/>
                  </a:lnTo>
                  <a:lnTo>
                    <a:pt x="491" y="445"/>
                  </a:lnTo>
                  <a:lnTo>
                    <a:pt x="539" y="446"/>
                  </a:lnTo>
                  <a:lnTo>
                    <a:pt x="584" y="449"/>
                  </a:lnTo>
                  <a:lnTo>
                    <a:pt x="586" y="449"/>
                  </a:lnTo>
                  <a:close/>
                </a:path>
              </a:pathLst>
            </a:custGeom>
            <a:solidFill>
              <a:schemeClr val="bg1">
                <a:lumMod val="75000"/>
              </a:schemeClr>
            </a:solidFill>
            <a:ln w="3175" cmpd="sng">
              <a:solidFill>
                <a:srgbClr val="D9D9D9"/>
              </a:solidFill>
              <a:prstDash val="solid"/>
              <a:round/>
              <a:headEnd/>
              <a:tailEnd/>
            </a:ln>
          </p:spPr>
          <p:txBody>
            <a:bodyPr wrap="none" anchor="b"/>
            <a:lstStyle/>
            <a:p>
              <a:pPr algn="ctr"/>
              <a:r>
                <a:rPr lang="en-US" sz="800" dirty="0">
                  <a:solidFill>
                    <a:prstClr val="black"/>
                  </a:solidFill>
                  <a:latin typeface="Franklin Gothic Book"/>
                  <a:ea typeface="MS PGothic" charset="0"/>
                  <a:cs typeface="MS PGothic" charset="0"/>
                </a:rPr>
                <a:t>Monterey</a:t>
              </a:r>
            </a:p>
          </p:txBody>
        </p:sp>
      </p:grpSp>
      <p:grpSp>
        <p:nvGrpSpPr>
          <p:cNvPr id="147" name="Group 146">
            <a:extLst>
              <a:ext uri="{FF2B5EF4-FFF2-40B4-BE49-F238E27FC236}">
                <a16:creationId xmlns:a16="http://schemas.microsoft.com/office/drawing/2014/main" id="{15C3BE45-1AA4-1848-BE31-B0F08E43CABD}"/>
              </a:ext>
            </a:extLst>
          </p:cNvPr>
          <p:cNvGrpSpPr/>
          <p:nvPr/>
        </p:nvGrpSpPr>
        <p:grpSpPr>
          <a:xfrm>
            <a:off x="6143039" y="1145789"/>
            <a:ext cx="4401725" cy="4786286"/>
            <a:chOff x="3827434" y="1445134"/>
            <a:chExt cx="4401725" cy="4786286"/>
          </a:xfrm>
        </p:grpSpPr>
        <p:grpSp>
          <p:nvGrpSpPr>
            <p:cNvPr id="148" name="Group 147">
              <a:extLst>
                <a:ext uri="{FF2B5EF4-FFF2-40B4-BE49-F238E27FC236}">
                  <a16:creationId xmlns:a16="http://schemas.microsoft.com/office/drawing/2014/main" id="{9E854504-523D-C14C-A075-6DD43DCEA6EB}"/>
                </a:ext>
              </a:extLst>
            </p:cNvPr>
            <p:cNvGrpSpPr/>
            <p:nvPr/>
          </p:nvGrpSpPr>
          <p:grpSpPr>
            <a:xfrm>
              <a:off x="6459271" y="1456701"/>
              <a:ext cx="1754653" cy="1010074"/>
              <a:chOff x="13886816" y="811143"/>
              <a:chExt cx="1854090" cy="1067316"/>
            </a:xfrm>
          </p:grpSpPr>
          <p:sp>
            <p:nvSpPr>
              <p:cNvPr id="215" name="AutoShape 1">
                <a:extLst>
                  <a:ext uri="{FF2B5EF4-FFF2-40B4-BE49-F238E27FC236}">
                    <a16:creationId xmlns:a16="http://schemas.microsoft.com/office/drawing/2014/main" id="{54532108-411C-1044-92E7-7C535193B8EE}"/>
                  </a:ext>
                </a:extLst>
              </p:cNvPr>
              <p:cNvSpPr>
                <a:spLocks/>
              </p:cNvSpPr>
              <p:nvPr/>
            </p:nvSpPr>
            <p:spPr bwMode="auto">
              <a:xfrm>
                <a:off x="13948828" y="1135214"/>
                <a:ext cx="321984" cy="415299"/>
              </a:xfrm>
              <a:custGeom>
                <a:avLst/>
                <a:gdLst/>
                <a:ahLst/>
                <a:cxnLst/>
                <a:rect l="0" t="0" r="r" b="b"/>
                <a:pathLst>
                  <a:path w="21581" h="21597">
                    <a:moveTo>
                      <a:pt x="20415" y="21183"/>
                    </a:moveTo>
                    <a:cubicBezTo>
                      <a:pt x="20452" y="21173"/>
                      <a:pt x="20475" y="21164"/>
                      <a:pt x="20516" y="21164"/>
                    </a:cubicBezTo>
                    <a:cubicBezTo>
                      <a:pt x="20549" y="21164"/>
                      <a:pt x="20583" y="21166"/>
                      <a:pt x="20615" y="21164"/>
                    </a:cubicBezTo>
                    <a:cubicBezTo>
                      <a:pt x="20654" y="21161"/>
                      <a:pt x="20664" y="21145"/>
                      <a:pt x="20700" y="21133"/>
                    </a:cubicBezTo>
                    <a:cubicBezTo>
                      <a:pt x="20721" y="21127"/>
                      <a:pt x="20720" y="21138"/>
                      <a:pt x="20731" y="21120"/>
                    </a:cubicBezTo>
                    <a:cubicBezTo>
                      <a:pt x="20737" y="21109"/>
                      <a:pt x="20734" y="21086"/>
                      <a:pt x="20736" y="21075"/>
                    </a:cubicBezTo>
                    <a:cubicBezTo>
                      <a:pt x="20740" y="21050"/>
                      <a:pt x="20743" y="21023"/>
                      <a:pt x="20763" y="21002"/>
                    </a:cubicBezTo>
                    <a:cubicBezTo>
                      <a:pt x="20788" y="20978"/>
                      <a:pt x="20797" y="20965"/>
                      <a:pt x="20807" y="20936"/>
                    </a:cubicBezTo>
                    <a:cubicBezTo>
                      <a:pt x="20816" y="20911"/>
                      <a:pt x="20839" y="20889"/>
                      <a:pt x="20841" y="20861"/>
                    </a:cubicBezTo>
                    <a:cubicBezTo>
                      <a:pt x="20844" y="20805"/>
                      <a:pt x="20849" y="20746"/>
                      <a:pt x="20843" y="20690"/>
                    </a:cubicBezTo>
                    <a:cubicBezTo>
                      <a:pt x="20841" y="20670"/>
                      <a:pt x="20842" y="20657"/>
                      <a:pt x="20827" y="20640"/>
                    </a:cubicBezTo>
                    <a:cubicBezTo>
                      <a:pt x="20812" y="20624"/>
                      <a:pt x="20787" y="20616"/>
                      <a:pt x="20778" y="20597"/>
                    </a:cubicBezTo>
                    <a:cubicBezTo>
                      <a:pt x="20767" y="20576"/>
                      <a:pt x="20767" y="20557"/>
                      <a:pt x="20754" y="20536"/>
                    </a:cubicBezTo>
                    <a:cubicBezTo>
                      <a:pt x="20736" y="20506"/>
                      <a:pt x="20738" y="20493"/>
                      <a:pt x="20696" y="20489"/>
                    </a:cubicBezTo>
                    <a:cubicBezTo>
                      <a:pt x="20635" y="20485"/>
                      <a:pt x="20571" y="20497"/>
                      <a:pt x="20513" y="20484"/>
                    </a:cubicBezTo>
                    <a:cubicBezTo>
                      <a:pt x="20464" y="20473"/>
                      <a:pt x="20404" y="20423"/>
                      <a:pt x="20396" y="20383"/>
                    </a:cubicBezTo>
                    <a:cubicBezTo>
                      <a:pt x="20392" y="20358"/>
                      <a:pt x="20394" y="20333"/>
                      <a:pt x="20389" y="20309"/>
                    </a:cubicBezTo>
                    <a:cubicBezTo>
                      <a:pt x="20384" y="20284"/>
                      <a:pt x="20379" y="20249"/>
                      <a:pt x="20386" y="20223"/>
                    </a:cubicBezTo>
                    <a:cubicBezTo>
                      <a:pt x="20393" y="20193"/>
                      <a:pt x="20429" y="20175"/>
                      <a:pt x="20447" y="20149"/>
                    </a:cubicBezTo>
                    <a:cubicBezTo>
                      <a:pt x="20466" y="20122"/>
                      <a:pt x="20467" y="20088"/>
                      <a:pt x="20463" y="20058"/>
                    </a:cubicBezTo>
                    <a:cubicBezTo>
                      <a:pt x="20460" y="20035"/>
                      <a:pt x="20454" y="20037"/>
                      <a:pt x="20439" y="20022"/>
                    </a:cubicBezTo>
                    <a:cubicBezTo>
                      <a:pt x="20425" y="20009"/>
                      <a:pt x="20414" y="20001"/>
                      <a:pt x="20424" y="19982"/>
                    </a:cubicBezTo>
                    <a:cubicBezTo>
                      <a:pt x="20430" y="19969"/>
                      <a:pt x="20454" y="19965"/>
                      <a:pt x="20459" y="19955"/>
                    </a:cubicBezTo>
                    <a:cubicBezTo>
                      <a:pt x="20490" y="19895"/>
                      <a:pt x="20311" y="19870"/>
                      <a:pt x="20319" y="19807"/>
                    </a:cubicBezTo>
                    <a:cubicBezTo>
                      <a:pt x="20325" y="19758"/>
                      <a:pt x="20432" y="19748"/>
                      <a:pt x="20368" y="19695"/>
                    </a:cubicBezTo>
                    <a:cubicBezTo>
                      <a:pt x="20347" y="19677"/>
                      <a:pt x="20318" y="19648"/>
                      <a:pt x="20361" y="19631"/>
                    </a:cubicBezTo>
                    <a:cubicBezTo>
                      <a:pt x="20403" y="19615"/>
                      <a:pt x="20429" y="19641"/>
                      <a:pt x="20460" y="19603"/>
                    </a:cubicBezTo>
                    <a:cubicBezTo>
                      <a:pt x="20479" y="19579"/>
                      <a:pt x="20503" y="19570"/>
                      <a:pt x="20524" y="19549"/>
                    </a:cubicBezTo>
                    <a:cubicBezTo>
                      <a:pt x="20550" y="19524"/>
                      <a:pt x="20528" y="19494"/>
                      <a:pt x="20547" y="19467"/>
                    </a:cubicBezTo>
                    <a:cubicBezTo>
                      <a:pt x="20562" y="19447"/>
                      <a:pt x="20598" y="19435"/>
                      <a:pt x="20618" y="19415"/>
                    </a:cubicBezTo>
                    <a:cubicBezTo>
                      <a:pt x="20650" y="19381"/>
                      <a:pt x="20663" y="19348"/>
                      <a:pt x="20679" y="19309"/>
                    </a:cubicBezTo>
                    <a:cubicBezTo>
                      <a:pt x="20693" y="19276"/>
                      <a:pt x="20696" y="19247"/>
                      <a:pt x="20696" y="19212"/>
                    </a:cubicBezTo>
                    <a:cubicBezTo>
                      <a:pt x="20696" y="19164"/>
                      <a:pt x="20678" y="19071"/>
                      <a:pt x="20716" y="19034"/>
                    </a:cubicBezTo>
                    <a:cubicBezTo>
                      <a:pt x="20758" y="18994"/>
                      <a:pt x="20812" y="18960"/>
                      <a:pt x="20856" y="18923"/>
                    </a:cubicBezTo>
                    <a:cubicBezTo>
                      <a:pt x="20908" y="18880"/>
                      <a:pt x="20864" y="18839"/>
                      <a:pt x="20855" y="18793"/>
                    </a:cubicBezTo>
                    <a:cubicBezTo>
                      <a:pt x="20850" y="18767"/>
                      <a:pt x="20857" y="18738"/>
                      <a:pt x="20845" y="18713"/>
                    </a:cubicBezTo>
                    <a:cubicBezTo>
                      <a:pt x="20833" y="18686"/>
                      <a:pt x="20818" y="18671"/>
                      <a:pt x="20813" y="18640"/>
                    </a:cubicBezTo>
                    <a:cubicBezTo>
                      <a:pt x="20806" y="18598"/>
                      <a:pt x="20770" y="18561"/>
                      <a:pt x="20764" y="18519"/>
                    </a:cubicBezTo>
                    <a:cubicBezTo>
                      <a:pt x="20759" y="18482"/>
                      <a:pt x="20767" y="18437"/>
                      <a:pt x="20770" y="18399"/>
                    </a:cubicBezTo>
                    <a:cubicBezTo>
                      <a:pt x="20773" y="18374"/>
                      <a:pt x="20777" y="18366"/>
                      <a:pt x="20796" y="18347"/>
                    </a:cubicBezTo>
                    <a:cubicBezTo>
                      <a:pt x="20815" y="18328"/>
                      <a:pt x="20827" y="18307"/>
                      <a:pt x="20847" y="18289"/>
                    </a:cubicBezTo>
                    <a:cubicBezTo>
                      <a:pt x="20882" y="18257"/>
                      <a:pt x="20941" y="18247"/>
                      <a:pt x="20978" y="18214"/>
                    </a:cubicBezTo>
                    <a:cubicBezTo>
                      <a:pt x="21018" y="18177"/>
                      <a:pt x="20996" y="18139"/>
                      <a:pt x="20996" y="18094"/>
                    </a:cubicBezTo>
                    <a:cubicBezTo>
                      <a:pt x="20996" y="18062"/>
                      <a:pt x="20992" y="18049"/>
                      <a:pt x="21028" y="18032"/>
                    </a:cubicBezTo>
                    <a:cubicBezTo>
                      <a:pt x="21061" y="18017"/>
                      <a:pt x="21086" y="18012"/>
                      <a:pt x="21110" y="17988"/>
                    </a:cubicBezTo>
                    <a:cubicBezTo>
                      <a:pt x="21149" y="17949"/>
                      <a:pt x="21205" y="17927"/>
                      <a:pt x="21254" y="17897"/>
                    </a:cubicBezTo>
                    <a:cubicBezTo>
                      <a:pt x="21301" y="17868"/>
                      <a:pt x="21321" y="17827"/>
                      <a:pt x="21368" y="17797"/>
                    </a:cubicBezTo>
                    <a:cubicBezTo>
                      <a:pt x="21411" y="17767"/>
                      <a:pt x="21455" y="17739"/>
                      <a:pt x="21490" y="17703"/>
                    </a:cubicBezTo>
                    <a:cubicBezTo>
                      <a:pt x="21514" y="17679"/>
                      <a:pt x="21560" y="17656"/>
                      <a:pt x="21576" y="17629"/>
                    </a:cubicBezTo>
                    <a:cubicBezTo>
                      <a:pt x="21589" y="17607"/>
                      <a:pt x="21576" y="17564"/>
                      <a:pt x="21572" y="17541"/>
                    </a:cubicBezTo>
                    <a:cubicBezTo>
                      <a:pt x="21560" y="17473"/>
                      <a:pt x="21491" y="17438"/>
                      <a:pt x="21422" y="17405"/>
                    </a:cubicBezTo>
                    <a:cubicBezTo>
                      <a:pt x="21345" y="17370"/>
                      <a:pt x="21281" y="17320"/>
                      <a:pt x="21203" y="17283"/>
                    </a:cubicBezTo>
                    <a:cubicBezTo>
                      <a:pt x="21172" y="17269"/>
                      <a:pt x="21134" y="17253"/>
                      <a:pt x="21106" y="17234"/>
                    </a:cubicBezTo>
                    <a:cubicBezTo>
                      <a:pt x="21076" y="17214"/>
                      <a:pt x="21082" y="17194"/>
                      <a:pt x="21080" y="17165"/>
                    </a:cubicBezTo>
                    <a:cubicBezTo>
                      <a:pt x="21077" y="17107"/>
                      <a:pt x="21059" y="17064"/>
                      <a:pt x="21031" y="17012"/>
                    </a:cubicBezTo>
                    <a:cubicBezTo>
                      <a:pt x="21019" y="16989"/>
                      <a:pt x="21003" y="16969"/>
                      <a:pt x="20990" y="16946"/>
                    </a:cubicBezTo>
                    <a:cubicBezTo>
                      <a:pt x="20968" y="16910"/>
                      <a:pt x="20973" y="16874"/>
                      <a:pt x="20949" y="16839"/>
                    </a:cubicBezTo>
                    <a:cubicBezTo>
                      <a:pt x="20928" y="16808"/>
                      <a:pt x="20925" y="16775"/>
                      <a:pt x="20925" y="16741"/>
                    </a:cubicBezTo>
                    <a:cubicBezTo>
                      <a:pt x="20925" y="16688"/>
                      <a:pt x="20919" y="16658"/>
                      <a:pt x="20873" y="16620"/>
                    </a:cubicBezTo>
                    <a:cubicBezTo>
                      <a:pt x="20824" y="16578"/>
                      <a:pt x="20782" y="16534"/>
                      <a:pt x="20752" y="16484"/>
                    </a:cubicBezTo>
                    <a:cubicBezTo>
                      <a:pt x="20723" y="16437"/>
                      <a:pt x="20657" y="16406"/>
                      <a:pt x="20611" y="16368"/>
                    </a:cubicBezTo>
                    <a:cubicBezTo>
                      <a:pt x="20570" y="16335"/>
                      <a:pt x="20542" y="16294"/>
                      <a:pt x="20505" y="16259"/>
                    </a:cubicBezTo>
                    <a:cubicBezTo>
                      <a:pt x="20464" y="16219"/>
                      <a:pt x="20488" y="16175"/>
                      <a:pt x="20492" y="16127"/>
                    </a:cubicBezTo>
                    <a:cubicBezTo>
                      <a:pt x="20495" y="16073"/>
                      <a:pt x="20522" y="15993"/>
                      <a:pt x="20471" y="15951"/>
                    </a:cubicBezTo>
                    <a:cubicBezTo>
                      <a:pt x="20458" y="15941"/>
                      <a:pt x="20445" y="15930"/>
                      <a:pt x="20432" y="15920"/>
                    </a:cubicBezTo>
                    <a:cubicBezTo>
                      <a:pt x="20384" y="15881"/>
                      <a:pt x="20336" y="15842"/>
                      <a:pt x="20288" y="15803"/>
                    </a:cubicBezTo>
                    <a:cubicBezTo>
                      <a:pt x="20214" y="15743"/>
                      <a:pt x="20140" y="15684"/>
                      <a:pt x="20066" y="15624"/>
                    </a:cubicBezTo>
                    <a:cubicBezTo>
                      <a:pt x="19970" y="15545"/>
                      <a:pt x="19873" y="15467"/>
                      <a:pt x="19776" y="15389"/>
                    </a:cubicBezTo>
                    <a:cubicBezTo>
                      <a:pt x="19658" y="15293"/>
                      <a:pt x="19540" y="15198"/>
                      <a:pt x="19422" y="15102"/>
                    </a:cubicBezTo>
                    <a:cubicBezTo>
                      <a:pt x="19285" y="14991"/>
                      <a:pt x="19148" y="14881"/>
                      <a:pt x="19011" y="14770"/>
                    </a:cubicBezTo>
                    <a:cubicBezTo>
                      <a:pt x="18858" y="14646"/>
                      <a:pt x="18705" y="14522"/>
                      <a:pt x="18551" y="14398"/>
                    </a:cubicBezTo>
                    <a:cubicBezTo>
                      <a:pt x="18384" y="14262"/>
                      <a:pt x="18216" y="14126"/>
                      <a:pt x="18049" y="13990"/>
                    </a:cubicBezTo>
                    <a:cubicBezTo>
                      <a:pt x="17869" y="13845"/>
                      <a:pt x="17689" y="13700"/>
                      <a:pt x="17509" y="13554"/>
                    </a:cubicBezTo>
                    <a:cubicBezTo>
                      <a:pt x="17320" y="13401"/>
                      <a:pt x="17130" y="13247"/>
                      <a:pt x="16940" y="13094"/>
                    </a:cubicBezTo>
                    <a:cubicBezTo>
                      <a:pt x="16743" y="12934"/>
                      <a:pt x="16546" y="12774"/>
                      <a:pt x="16348" y="12615"/>
                    </a:cubicBezTo>
                    <a:cubicBezTo>
                      <a:pt x="16146" y="12451"/>
                      <a:pt x="15943" y="12287"/>
                      <a:pt x="15741" y="12123"/>
                    </a:cubicBezTo>
                    <a:cubicBezTo>
                      <a:pt x="15535" y="11957"/>
                      <a:pt x="15329" y="11790"/>
                      <a:pt x="15124" y="11623"/>
                    </a:cubicBezTo>
                    <a:cubicBezTo>
                      <a:pt x="14917" y="11456"/>
                      <a:pt x="14710" y="11289"/>
                      <a:pt x="14504" y="11122"/>
                    </a:cubicBezTo>
                    <a:cubicBezTo>
                      <a:pt x="14298" y="10956"/>
                      <a:pt x="14093" y="10789"/>
                      <a:pt x="13888" y="10623"/>
                    </a:cubicBezTo>
                    <a:cubicBezTo>
                      <a:pt x="13686" y="10460"/>
                      <a:pt x="13484" y="10297"/>
                      <a:pt x="13282" y="10133"/>
                    </a:cubicBezTo>
                    <a:cubicBezTo>
                      <a:pt x="13086" y="9975"/>
                      <a:pt x="12891" y="9816"/>
                      <a:pt x="12694" y="9658"/>
                    </a:cubicBezTo>
                    <a:cubicBezTo>
                      <a:pt x="12507" y="9506"/>
                      <a:pt x="12319" y="9354"/>
                      <a:pt x="12131" y="9201"/>
                    </a:cubicBezTo>
                    <a:cubicBezTo>
                      <a:pt x="11953" y="9058"/>
                      <a:pt x="11776" y="8914"/>
                      <a:pt x="11598" y="8770"/>
                    </a:cubicBezTo>
                    <a:cubicBezTo>
                      <a:pt x="11433" y="8637"/>
                      <a:pt x="11267" y="8503"/>
                      <a:pt x="11103" y="8369"/>
                    </a:cubicBezTo>
                    <a:cubicBezTo>
                      <a:pt x="10953" y="8248"/>
                      <a:pt x="10802" y="8126"/>
                      <a:pt x="10652" y="8004"/>
                    </a:cubicBezTo>
                    <a:cubicBezTo>
                      <a:pt x="10518" y="7896"/>
                      <a:pt x="10385" y="7789"/>
                      <a:pt x="10252" y="7681"/>
                    </a:cubicBezTo>
                    <a:cubicBezTo>
                      <a:pt x="10137" y="7588"/>
                      <a:pt x="10023" y="7496"/>
                      <a:pt x="9909" y="7404"/>
                    </a:cubicBezTo>
                    <a:cubicBezTo>
                      <a:pt x="9817" y="7328"/>
                      <a:pt x="9724" y="7253"/>
                      <a:pt x="9631" y="7179"/>
                    </a:cubicBezTo>
                    <a:cubicBezTo>
                      <a:pt x="9562" y="7123"/>
                      <a:pt x="9493" y="7067"/>
                      <a:pt x="9424" y="7011"/>
                    </a:cubicBezTo>
                    <a:cubicBezTo>
                      <a:pt x="9381" y="6976"/>
                      <a:pt x="9338" y="6941"/>
                      <a:pt x="9295" y="6907"/>
                    </a:cubicBezTo>
                    <a:cubicBezTo>
                      <a:pt x="9281" y="6895"/>
                      <a:pt x="9266" y="6883"/>
                      <a:pt x="9251" y="6871"/>
                    </a:cubicBezTo>
                    <a:lnTo>
                      <a:pt x="9258" y="4"/>
                    </a:lnTo>
                    <a:lnTo>
                      <a:pt x="440" y="0"/>
                    </a:lnTo>
                    <a:cubicBezTo>
                      <a:pt x="449" y="15"/>
                      <a:pt x="455" y="32"/>
                      <a:pt x="459" y="47"/>
                    </a:cubicBezTo>
                    <a:cubicBezTo>
                      <a:pt x="477" y="117"/>
                      <a:pt x="468" y="197"/>
                      <a:pt x="459" y="267"/>
                    </a:cubicBezTo>
                    <a:cubicBezTo>
                      <a:pt x="454" y="302"/>
                      <a:pt x="454" y="336"/>
                      <a:pt x="437" y="368"/>
                    </a:cubicBezTo>
                    <a:cubicBezTo>
                      <a:pt x="413" y="417"/>
                      <a:pt x="347" y="451"/>
                      <a:pt x="361" y="505"/>
                    </a:cubicBezTo>
                    <a:cubicBezTo>
                      <a:pt x="370" y="537"/>
                      <a:pt x="390" y="548"/>
                      <a:pt x="424" y="563"/>
                    </a:cubicBezTo>
                    <a:cubicBezTo>
                      <a:pt x="463" y="580"/>
                      <a:pt x="492" y="596"/>
                      <a:pt x="517" y="627"/>
                    </a:cubicBezTo>
                    <a:cubicBezTo>
                      <a:pt x="547" y="666"/>
                      <a:pt x="552" y="712"/>
                      <a:pt x="569" y="755"/>
                    </a:cubicBezTo>
                    <a:cubicBezTo>
                      <a:pt x="588" y="803"/>
                      <a:pt x="615" y="849"/>
                      <a:pt x="633" y="898"/>
                    </a:cubicBezTo>
                    <a:cubicBezTo>
                      <a:pt x="665" y="982"/>
                      <a:pt x="708" y="1062"/>
                      <a:pt x="739" y="1147"/>
                    </a:cubicBezTo>
                    <a:cubicBezTo>
                      <a:pt x="766" y="1221"/>
                      <a:pt x="785" y="1300"/>
                      <a:pt x="784" y="1378"/>
                    </a:cubicBezTo>
                    <a:cubicBezTo>
                      <a:pt x="783" y="1406"/>
                      <a:pt x="773" y="1421"/>
                      <a:pt x="757" y="1447"/>
                    </a:cubicBezTo>
                    <a:cubicBezTo>
                      <a:pt x="735" y="1480"/>
                      <a:pt x="726" y="1516"/>
                      <a:pt x="713" y="1552"/>
                    </a:cubicBezTo>
                    <a:cubicBezTo>
                      <a:pt x="700" y="1587"/>
                      <a:pt x="689" y="1624"/>
                      <a:pt x="681" y="1661"/>
                    </a:cubicBezTo>
                    <a:cubicBezTo>
                      <a:pt x="670" y="1708"/>
                      <a:pt x="651" y="1751"/>
                      <a:pt x="633" y="1798"/>
                    </a:cubicBezTo>
                    <a:cubicBezTo>
                      <a:pt x="619" y="1834"/>
                      <a:pt x="598" y="1866"/>
                      <a:pt x="593" y="1905"/>
                    </a:cubicBezTo>
                    <a:cubicBezTo>
                      <a:pt x="589" y="1933"/>
                      <a:pt x="586" y="1963"/>
                      <a:pt x="582" y="1992"/>
                    </a:cubicBezTo>
                    <a:cubicBezTo>
                      <a:pt x="578" y="2023"/>
                      <a:pt x="573" y="2063"/>
                      <a:pt x="579" y="2094"/>
                    </a:cubicBezTo>
                    <a:cubicBezTo>
                      <a:pt x="584" y="2120"/>
                      <a:pt x="610" y="2141"/>
                      <a:pt x="621" y="2166"/>
                    </a:cubicBezTo>
                    <a:cubicBezTo>
                      <a:pt x="648" y="2227"/>
                      <a:pt x="633" y="2264"/>
                      <a:pt x="611" y="2325"/>
                    </a:cubicBezTo>
                    <a:cubicBezTo>
                      <a:pt x="586" y="2391"/>
                      <a:pt x="577" y="2469"/>
                      <a:pt x="590" y="2538"/>
                    </a:cubicBezTo>
                    <a:cubicBezTo>
                      <a:pt x="597" y="2572"/>
                      <a:pt x="599" y="2603"/>
                      <a:pt x="636" y="2626"/>
                    </a:cubicBezTo>
                    <a:cubicBezTo>
                      <a:pt x="669" y="2647"/>
                      <a:pt x="692" y="2663"/>
                      <a:pt x="685" y="2702"/>
                    </a:cubicBezTo>
                    <a:cubicBezTo>
                      <a:pt x="679" y="2740"/>
                      <a:pt x="646" y="2733"/>
                      <a:pt x="608" y="2738"/>
                    </a:cubicBezTo>
                    <a:cubicBezTo>
                      <a:pt x="564" y="2744"/>
                      <a:pt x="539" y="2766"/>
                      <a:pt x="516" y="2794"/>
                    </a:cubicBezTo>
                    <a:cubicBezTo>
                      <a:pt x="501" y="2811"/>
                      <a:pt x="498" y="2827"/>
                      <a:pt x="489" y="2846"/>
                    </a:cubicBezTo>
                    <a:cubicBezTo>
                      <a:pt x="476" y="2868"/>
                      <a:pt x="454" y="2883"/>
                      <a:pt x="449" y="2908"/>
                    </a:cubicBezTo>
                    <a:cubicBezTo>
                      <a:pt x="442" y="2944"/>
                      <a:pt x="465" y="2948"/>
                      <a:pt x="488" y="2971"/>
                    </a:cubicBezTo>
                    <a:cubicBezTo>
                      <a:pt x="502" y="2986"/>
                      <a:pt x="502" y="3004"/>
                      <a:pt x="501" y="3023"/>
                    </a:cubicBezTo>
                    <a:cubicBezTo>
                      <a:pt x="469" y="3028"/>
                      <a:pt x="418" y="3036"/>
                      <a:pt x="385" y="3029"/>
                    </a:cubicBezTo>
                    <a:cubicBezTo>
                      <a:pt x="350" y="3021"/>
                      <a:pt x="320" y="2987"/>
                      <a:pt x="282" y="3021"/>
                    </a:cubicBezTo>
                    <a:cubicBezTo>
                      <a:pt x="257" y="3042"/>
                      <a:pt x="265" y="3085"/>
                      <a:pt x="262" y="3112"/>
                    </a:cubicBezTo>
                    <a:cubicBezTo>
                      <a:pt x="258" y="3145"/>
                      <a:pt x="261" y="3185"/>
                      <a:pt x="243" y="3215"/>
                    </a:cubicBezTo>
                    <a:cubicBezTo>
                      <a:pt x="229" y="3239"/>
                      <a:pt x="205" y="3250"/>
                      <a:pt x="180" y="3267"/>
                    </a:cubicBezTo>
                    <a:cubicBezTo>
                      <a:pt x="114" y="3313"/>
                      <a:pt x="125" y="3364"/>
                      <a:pt x="92" y="3423"/>
                    </a:cubicBezTo>
                    <a:cubicBezTo>
                      <a:pt x="69" y="3466"/>
                      <a:pt x="11" y="3495"/>
                      <a:pt x="1" y="3543"/>
                    </a:cubicBezTo>
                    <a:cubicBezTo>
                      <a:pt x="-11" y="3606"/>
                      <a:pt x="81" y="3634"/>
                      <a:pt x="103" y="3682"/>
                    </a:cubicBezTo>
                    <a:cubicBezTo>
                      <a:pt x="110" y="3697"/>
                      <a:pt x="121" y="3714"/>
                      <a:pt x="124" y="3730"/>
                    </a:cubicBezTo>
                    <a:cubicBezTo>
                      <a:pt x="128" y="3746"/>
                      <a:pt x="121" y="3761"/>
                      <a:pt x="127" y="3777"/>
                    </a:cubicBezTo>
                    <a:cubicBezTo>
                      <a:pt x="137" y="3801"/>
                      <a:pt x="163" y="3816"/>
                      <a:pt x="166" y="3843"/>
                    </a:cubicBezTo>
                    <a:cubicBezTo>
                      <a:pt x="174" y="3893"/>
                      <a:pt x="137" y="3943"/>
                      <a:pt x="166" y="3992"/>
                    </a:cubicBezTo>
                    <a:cubicBezTo>
                      <a:pt x="192" y="4035"/>
                      <a:pt x="252" y="4040"/>
                      <a:pt x="303" y="4054"/>
                    </a:cubicBezTo>
                    <a:cubicBezTo>
                      <a:pt x="370" y="4072"/>
                      <a:pt x="387" y="4102"/>
                      <a:pt x="411" y="4150"/>
                    </a:cubicBezTo>
                    <a:cubicBezTo>
                      <a:pt x="423" y="4175"/>
                      <a:pt x="447" y="4197"/>
                      <a:pt x="473" y="4213"/>
                    </a:cubicBezTo>
                    <a:cubicBezTo>
                      <a:pt x="508" y="4233"/>
                      <a:pt x="554" y="4247"/>
                      <a:pt x="586" y="4270"/>
                    </a:cubicBezTo>
                    <a:cubicBezTo>
                      <a:pt x="621" y="4295"/>
                      <a:pt x="649" y="4328"/>
                      <a:pt x="682" y="4354"/>
                    </a:cubicBezTo>
                    <a:cubicBezTo>
                      <a:pt x="707" y="4375"/>
                      <a:pt x="737" y="4398"/>
                      <a:pt x="748" y="4427"/>
                    </a:cubicBezTo>
                    <a:cubicBezTo>
                      <a:pt x="761" y="4463"/>
                      <a:pt x="740" y="4480"/>
                      <a:pt x="784" y="4504"/>
                    </a:cubicBezTo>
                    <a:cubicBezTo>
                      <a:pt x="813" y="4519"/>
                      <a:pt x="832" y="4527"/>
                      <a:pt x="854" y="4550"/>
                    </a:cubicBezTo>
                    <a:cubicBezTo>
                      <a:pt x="877" y="4575"/>
                      <a:pt x="888" y="4605"/>
                      <a:pt x="911" y="4629"/>
                    </a:cubicBezTo>
                    <a:cubicBezTo>
                      <a:pt x="960" y="4680"/>
                      <a:pt x="1026" y="4717"/>
                      <a:pt x="1090" y="4756"/>
                    </a:cubicBezTo>
                    <a:cubicBezTo>
                      <a:pt x="1127" y="4777"/>
                      <a:pt x="1139" y="4797"/>
                      <a:pt x="1141" y="4833"/>
                    </a:cubicBezTo>
                    <a:cubicBezTo>
                      <a:pt x="1143" y="4874"/>
                      <a:pt x="1160" y="4884"/>
                      <a:pt x="1183" y="4920"/>
                    </a:cubicBezTo>
                    <a:cubicBezTo>
                      <a:pt x="1220" y="4976"/>
                      <a:pt x="1256" y="5024"/>
                      <a:pt x="1263" y="5089"/>
                    </a:cubicBezTo>
                    <a:cubicBezTo>
                      <a:pt x="1271" y="5152"/>
                      <a:pt x="1249" y="5220"/>
                      <a:pt x="1282" y="5278"/>
                    </a:cubicBezTo>
                    <a:cubicBezTo>
                      <a:pt x="1306" y="5319"/>
                      <a:pt x="1345" y="5350"/>
                      <a:pt x="1369" y="5391"/>
                    </a:cubicBezTo>
                    <a:cubicBezTo>
                      <a:pt x="1398" y="5439"/>
                      <a:pt x="1398" y="5490"/>
                      <a:pt x="1402" y="5542"/>
                    </a:cubicBezTo>
                    <a:cubicBezTo>
                      <a:pt x="1405" y="5592"/>
                      <a:pt x="1383" y="5613"/>
                      <a:pt x="1349" y="5650"/>
                    </a:cubicBezTo>
                    <a:cubicBezTo>
                      <a:pt x="1321" y="5682"/>
                      <a:pt x="1330" y="5718"/>
                      <a:pt x="1330" y="5754"/>
                    </a:cubicBezTo>
                    <a:cubicBezTo>
                      <a:pt x="1331" y="5800"/>
                      <a:pt x="1324" y="5846"/>
                      <a:pt x="1330" y="5892"/>
                    </a:cubicBezTo>
                    <a:cubicBezTo>
                      <a:pt x="1334" y="5918"/>
                      <a:pt x="1341" y="5942"/>
                      <a:pt x="1321" y="5964"/>
                    </a:cubicBezTo>
                    <a:cubicBezTo>
                      <a:pt x="1303" y="5983"/>
                      <a:pt x="1269" y="5980"/>
                      <a:pt x="1247" y="5997"/>
                    </a:cubicBezTo>
                    <a:cubicBezTo>
                      <a:pt x="1213" y="6022"/>
                      <a:pt x="1230" y="6058"/>
                      <a:pt x="1257" y="6082"/>
                    </a:cubicBezTo>
                    <a:cubicBezTo>
                      <a:pt x="1298" y="6117"/>
                      <a:pt x="1326" y="6142"/>
                      <a:pt x="1348" y="6188"/>
                    </a:cubicBezTo>
                    <a:cubicBezTo>
                      <a:pt x="1366" y="6226"/>
                      <a:pt x="1372" y="6267"/>
                      <a:pt x="1387" y="6306"/>
                    </a:cubicBezTo>
                    <a:cubicBezTo>
                      <a:pt x="1418" y="6392"/>
                      <a:pt x="1459" y="6476"/>
                      <a:pt x="1501" y="6559"/>
                    </a:cubicBezTo>
                    <a:cubicBezTo>
                      <a:pt x="1536" y="6626"/>
                      <a:pt x="1553" y="6708"/>
                      <a:pt x="1571" y="6780"/>
                    </a:cubicBezTo>
                    <a:cubicBezTo>
                      <a:pt x="1579" y="6810"/>
                      <a:pt x="1593" y="6850"/>
                      <a:pt x="1566" y="6875"/>
                    </a:cubicBezTo>
                    <a:cubicBezTo>
                      <a:pt x="1547" y="6893"/>
                      <a:pt x="1514" y="6906"/>
                      <a:pt x="1492" y="6922"/>
                    </a:cubicBezTo>
                    <a:cubicBezTo>
                      <a:pt x="1451" y="6954"/>
                      <a:pt x="1410" y="6996"/>
                      <a:pt x="1433" y="7043"/>
                    </a:cubicBezTo>
                    <a:cubicBezTo>
                      <a:pt x="1446" y="7072"/>
                      <a:pt x="1475" y="7094"/>
                      <a:pt x="1508" y="7110"/>
                    </a:cubicBezTo>
                    <a:cubicBezTo>
                      <a:pt x="1587" y="7147"/>
                      <a:pt x="1650" y="7193"/>
                      <a:pt x="1730" y="7227"/>
                    </a:cubicBezTo>
                    <a:cubicBezTo>
                      <a:pt x="1773" y="7246"/>
                      <a:pt x="1813" y="7271"/>
                      <a:pt x="1843" y="7301"/>
                    </a:cubicBezTo>
                    <a:cubicBezTo>
                      <a:pt x="1903" y="7361"/>
                      <a:pt x="1968" y="7420"/>
                      <a:pt x="2020" y="7485"/>
                    </a:cubicBezTo>
                    <a:cubicBezTo>
                      <a:pt x="2074" y="7552"/>
                      <a:pt x="2100" y="7631"/>
                      <a:pt x="2158" y="7695"/>
                    </a:cubicBezTo>
                    <a:cubicBezTo>
                      <a:pt x="2218" y="7763"/>
                      <a:pt x="2287" y="7820"/>
                      <a:pt x="2358" y="7879"/>
                    </a:cubicBezTo>
                    <a:cubicBezTo>
                      <a:pt x="2385" y="7902"/>
                      <a:pt x="2413" y="7922"/>
                      <a:pt x="2439" y="7944"/>
                    </a:cubicBezTo>
                    <a:cubicBezTo>
                      <a:pt x="2466" y="7967"/>
                      <a:pt x="2488" y="7996"/>
                      <a:pt x="2517" y="8016"/>
                    </a:cubicBezTo>
                    <a:cubicBezTo>
                      <a:pt x="2543" y="8034"/>
                      <a:pt x="2576" y="8043"/>
                      <a:pt x="2605" y="8056"/>
                    </a:cubicBezTo>
                    <a:cubicBezTo>
                      <a:pt x="2641" y="8073"/>
                      <a:pt x="2664" y="8093"/>
                      <a:pt x="2689" y="8119"/>
                    </a:cubicBezTo>
                    <a:cubicBezTo>
                      <a:pt x="2750" y="8182"/>
                      <a:pt x="2790" y="8252"/>
                      <a:pt x="2835" y="8323"/>
                    </a:cubicBezTo>
                    <a:cubicBezTo>
                      <a:pt x="2852" y="8349"/>
                      <a:pt x="2864" y="8377"/>
                      <a:pt x="2881" y="8405"/>
                    </a:cubicBezTo>
                    <a:cubicBezTo>
                      <a:pt x="2910" y="8450"/>
                      <a:pt x="2944" y="8471"/>
                      <a:pt x="2991" y="8504"/>
                    </a:cubicBezTo>
                    <a:cubicBezTo>
                      <a:pt x="3012" y="8518"/>
                      <a:pt x="3038" y="8528"/>
                      <a:pt x="3053" y="8545"/>
                    </a:cubicBezTo>
                    <a:cubicBezTo>
                      <a:pt x="3072" y="8569"/>
                      <a:pt x="3078" y="8601"/>
                      <a:pt x="3096" y="8626"/>
                    </a:cubicBezTo>
                    <a:cubicBezTo>
                      <a:pt x="3119" y="8660"/>
                      <a:pt x="3148" y="8682"/>
                      <a:pt x="3183" y="8709"/>
                    </a:cubicBezTo>
                    <a:cubicBezTo>
                      <a:pt x="3206" y="8727"/>
                      <a:pt x="3223" y="8744"/>
                      <a:pt x="3230" y="8769"/>
                    </a:cubicBezTo>
                    <a:cubicBezTo>
                      <a:pt x="3242" y="8810"/>
                      <a:pt x="3227" y="8805"/>
                      <a:pt x="3188" y="8816"/>
                    </a:cubicBezTo>
                    <a:cubicBezTo>
                      <a:pt x="3150" y="8827"/>
                      <a:pt x="3140" y="8860"/>
                      <a:pt x="3117" y="8885"/>
                    </a:cubicBezTo>
                    <a:cubicBezTo>
                      <a:pt x="3104" y="8899"/>
                      <a:pt x="3081" y="8911"/>
                      <a:pt x="3071" y="8926"/>
                    </a:cubicBezTo>
                    <a:cubicBezTo>
                      <a:pt x="3061" y="8940"/>
                      <a:pt x="3065" y="8954"/>
                      <a:pt x="3058" y="8967"/>
                    </a:cubicBezTo>
                    <a:cubicBezTo>
                      <a:pt x="3040" y="8996"/>
                      <a:pt x="2915" y="9059"/>
                      <a:pt x="3005" y="9092"/>
                    </a:cubicBezTo>
                    <a:cubicBezTo>
                      <a:pt x="3034" y="9103"/>
                      <a:pt x="3085" y="9105"/>
                      <a:pt x="3117" y="9109"/>
                    </a:cubicBezTo>
                    <a:cubicBezTo>
                      <a:pt x="3153" y="9113"/>
                      <a:pt x="3185" y="9105"/>
                      <a:pt x="3219" y="9096"/>
                    </a:cubicBezTo>
                    <a:cubicBezTo>
                      <a:pt x="3258" y="9086"/>
                      <a:pt x="3267" y="9078"/>
                      <a:pt x="3307" y="9093"/>
                    </a:cubicBezTo>
                    <a:cubicBezTo>
                      <a:pt x="3371" y="9117"/>
                      <a:pt x="3442" y="9166"/>
                      <a:pt x="3491" y="9206"/>
                    </a:cubicBezTo>
                    <a:cubicBezTo>
                      <a:pt x="3517" y="9227"/>
                      <a:pt x="3534" y="9252"/>
                      <a:pt x="3558" y="9276"/>
                    </a:cubicBezTo>
                    <a:cubicBezTo>
                      <a:pt x="3584" y="9302"/>
                      <a:pt x="3619" y="9308"/>
                      <a:pt x="3650" y="9326"/>
                    </a:cubicBezTo>
                    <a:cubicBezTo>
                      <a:pt x="3688" y="9348"/>
                      <a:pt x="3721" y="9373"/>
                      <a:pt x="3760" y="9395"/>
                    </a:cubicBezTo>
                    <a:cubicBezTo>
                      <a:pt x="3798" y="9416"/>
                      <a:pt x="3832" y="9441"/>
                      <a:pt x="3872" y="9460"/>
                    </a:cubicBezTo>
                    <a:cubicBezTo>
                      <a:pt x="3897" y="9473"/>
                      <a:pt x="3938" y="9502"/>
                      <a:pt x="3971" y="9496"/>
                    </a:cubicBezTo>
                    <a:cubicBezTo>
                      <a:pt x="4012" y="9488"/>
                      <a:pt x="3996" y="9431"/>
                      <a:pt x="3999" y="9403"/>
                    </a:cubicBezTo>
                    <a:cubicBezTo>
                      <a:pt x="4004" y="9363"/>
                      <a:pt x="4022" y="9325"/>
                      <a:pt x="4030" y="9286"/>
                    </a:cubicBezTo>
                    <a:cubicBezTo>
                      <a:pt x="4052" y="9196"/>
                      <a:pt x="4051" y="9104"/>
                      <a:pt x="4063" y="9013"/>
                    </a:cubicBezTo>
                    <a:cubicBezTo>
                      <a:pt x="4070" y="8953"/>
                      <a:pt x="4087" y="8873"/>
                      <a:pt x="4162" y="8843"/>
                    </a:cubicBezTo>
                    <a:cubicBezTo>
                      <a:pt x="4237" y="8813"/>
                      <a:pt x="4362" y="8802"/>
                      <a:pt x="4443" y="8822"/>
                    </a:cubicBezTo>
                    <a:cubicBezTo>
                      <a:pt x="4535" y="8844"/>
                      <a:pt x="4543" y="8931"/>
                      <a:pt x="4635" y="8947"/>
                    </a:cubicBezTo>
                    <a:cubicBezTo>
                      <a:pt x="4716" y="8962"/>
                      <a:pt x="4756" y="8901"/>
                      <a:pt x="4822" y="8882"/>
                    </a:cubicBezTo>
                    <a:cubicBezTo>
                      <a:pt x="4858" y="8872"/>
                      <a:pt x="4907" y="8860"/>
                      <a:pt x="4945" y="8857"/>
                    </a:cubicBezTo>
                    <a:cubicBezTo>
                      <a:pt x="4998" y="8853"/>
                      <a:pt x="5042" y="8855"/>
                      <a:pt x="5078" y="8887"/>
                    </a:cubicBezTo>
                    <a:cubicBezTo>
                      <a:pt x="5113" y="8920"/>
                      <a:pt x="5127" y="8941"/>
                      <a:pt x="5185" y="8953"/>
                    </a:cubicBezTo>
                    <a:cubicBezTo>
                      <a:pt x="5233" y="8963"/>
                      <a:pt x="5316" y="8982"/>
                      <a:pt x="5365" y="8975"/>
                    </a:cubicBezTo>
                    <a:cubicBezTo>
                      <a:pt x="5398" y="8970"/>
                      <a:pt x="5427" y="8954"/>
                      <a:pt x="5457" y="8944"/>
                    </a:cubicBezTo>
                    <a:cubicBezTo>
                      <a:pt x="5501" y="8930"/>
                      <a:pt x="5550" y="8942"/>
                      <a:pt x="5598" y="8937"/>
                    </a:cubicBezTo>
                    <a:cubicBezTo>
                      <a:pt x="5662" y="8930"/>
                      <a:pt x="5695" y="8904"/>
                      <a:pt x="5764" y="8923"/>
                    </a:cubicBezTo>
                    <a:cubicBezTo>
                      <a:pt x="5815" y="8936"/>
                      <a:pt x="5866" y="8948"/>
                      <a:pt x="5916" y="8965"/>
                    </a:cubicBezTo>
                    <a:cubicBezTo>
                      <a:pt x="5976" y="8985"/>
                      <a:pt x="6226" y="9029"/>
                      <a:pt x="6200" y="9103"/>
                    </a:cubicBezTo>
                    <a:cubicBezTo>
                      <a:pt x="6143" y="9109"/>
                      <a:pt x="6094" y="9077"/>
                      <a:pt x="6043" y="9060"/>
                    </a:cubicBezTo>
                    <a:cubicBezTo>
                      <a:pt x="5993" y="9044"/>
                      <a:pt x="5946" y="9029"/>
                      <a:pt x="5895" y="9016"/>
                    </a:cubicBezTo>
                    <a:cubicBezTo>
                      <a:pt x="5857" y="9006"/>
                      <a:pt x="5814" y="8984"/>
                      <a:pt x="5788" y="9016"/>
                    </a:cubicBezTo>
                    <a:cubicBezTo>
                      <a:pt x="5762" y="9047"/>
                      <a:pt x="5792" y="9072"/>
                      <a:pt x="5803" y="9102"/>
                    </a:cubicBezTo>
                    <a:cubicBezTo>
                      <a:pt x="5818" y="9142"/>
                      <a:pt x="5777" y="9150"/>
                      <a:pt x="5732" y="9139"/>
                    </a:cubicBezTo>
                    <a:cubicBezTo>
                      <a:pt x="5681" y="9127"/>
                      <a:pt x="5644" y="9091"/>
                      <a:pt x="5596" y="9081"/>
                    </a:cubicBezTo>
                    <a:cubicBezTo>
                      <a:pt x="5522" y="9066"/>
                      <a:pt x="5434" y="9078"/>
                      <a:pt x="5359" y="9076"/>
                    </a:cubicBezTo>
                    <a:cubicBezTo>
                      <a:pt x="5306" y="9074"/>
                      <a:pt x="5251" y="9072"/>
                      <a:pt x="5198" y="9068"/>
                    </a:cubicBezTo>
                    <a:cubicBezTo>
                      <a:pt x="5156" y="9065"/>
                      <a:pt x="5117" y="9061"/>
                      <a:pt x="5079" y="9046"/>
                    </a:cubicBezTo>
                    <a:cubicBezTo>
                      <a:pt x="5047" y="9034"/>
                      <a:pt x="5029" y="9008"/>
                      <a:pt x="4994" y="9000"/>
                    </a:cubicBezTo>
                    <a:cubicBezTo>
                      <a:pt x="4952" y="8990"/>
                      <a:pt x="4893" y="9001"/>
                      <a:pt x="4857" y="9014"/>
                    </a:cubicBezTo>
                    <a:cubicBezTo>
                      <a:pt x="4828" y="9024"/>
                      <a:pt x="4811" y="9043"/>
                      <a:pt x="4783" y="9054"/>
                    </a:cubicBezTo>
                    <a:cubicBezTo>
                      <a:pt x="4736" y="9072"/>
                      <a:pt x="4649" y="9085"/>
                      <a:pt x="4596" y="9082"/>
                    </a:cubicBezTo>
                    <a:cubicBezTo>
                      <a:pt x="4564" y="9080"/>
                      <a:pt x="4535" y="9062"/>
                      <a:pt x="4502" y="9068"/>
                    </a:cubicBezTo>
                    <a:cubicBezTo>
                      <a:pt x="4464" y="9075"/>
                      <a:pt x="4447" y="9107"/>
                      <a:pt x="4423" y="9129"/>
                    </a:cubicBezTo>
                    <a:cubicBezTo>
                      <a:pt x="4393" y="9154"/>
                      <a:pt x="4358" y="9175"/>
                      <a:pt x="4338" y="9208"/>
                    </a:cubicBezTo>
                    <a:cubicBezTo>
                      <a:pt x="4323" y="9232"/>
                      <a:pt x="4306" y="9263"/>
                      <a:pt x="4316" y="9290"/>
                    </a:cubicBezTo>
                    <a:cubicBezTo>
                      <a:pt x="4324" y="9312"/>
                      <a:pt x="4349" y="9328"/>
                      <a:pt x="4361" y="9348"/>
                    </a:cubicBezTo>
                    <a:cubicBezTo>
                      <a:pt x="4378" y="9375"/>
                      <a:pt x="4392" y="9395"/>
                      <a:pt x="4416" y="9419"/>
                    </a:cubicBezTo>
                    <a:cubicBezTo>
                      <a:pt x="4463" y="9464"/>
                      <a:pt x="4440" y="9506"/>
                      <a:pt x="4454" y="9556"/>
                    </a:cubicBezTo>
                    <a:cubicBezTo>
                      <a:pt x="4465" y="9595"/>
                      <a:pt x="4508" y="9632"/>
                      <a:pt x="4538" y="9663"/>
                    </a:cubicBezTo>
                    <a:cubicBezTo>
                      <a:pt x="4584" y="9710"/>
                      <a:pt x="4618" y="9766"/>
                      <a:pt x="4668" y="9810"/>
                    </a:cubicBezTo>
                    <a:cubicBezTo>
                      <a:pt x="4685" y="9824"/>
                      <a:pt x="4703" y="9833"/>
                      <a:pt x="4716" y="9850"/>
                    </a:cubicBezTo>
                    <a:cubicBezTo>
                      <a:pt x="4730" y="9869"/>
                      <a:pt x="4730" y="9892"/>
                      <a:pt x="4737" y="9914"/>
                    </a:cubicBezTo>
                    <a:cubicBezTo>
                      <a:pt x="4754" y="9969"/>
                      <a:pt x="4765" y="10020"/>
                      <a:pt x="4765" y="10077"/>
                    </a:cubicBezTo>
                    <a:cubicBezTo>
                      <a:pt x="4767" y="10194"/>
                      <a:pt x="4902" y="10207"/>
                      <a:pt x="4997" y="10268"/>
                    </a:cubicBezTo>
                    <a:cubicBezTo>
                      <a:pt x="5026" y="10286"/>
                      <a:pt x="5045" y="10311"/>
                      <a:pt x="5026" y="10341"/>
                    </a:cubicBezTo>
                    <a:cubicBezTo>
                      <a:pt x="5004" y="10372"/>
                      <a:pt x="4962" y="10381"/>
                      <a:pt x="4927" y="10398"/>
                    </a:cubicBezTo>
                    <a:cubicBezTo>
                      <a:pt x="4863" y="10430"/>
                      <a:pt x="4823" y="10429"/>
                      <a:pt x="4790" y="10367"/>
                    </a:cubicBezTo>
                    <a:cubicBezTo>
                      <a:pt x="4775" y="10339"/>
                      <a:pt x="4773" y="10315"/>
                      <a:pt x="4738" y="10295"/>
                    </a:cubicBezTo>
                    <a:cubicBezTo>
                      <a:pt x="4711" y="10280"/>
                      <a:pt x="4658" y="10257"/>
                      <a:pt x="4624" y="10254"/>
                    </a:cubicBezTo>
                    <a:cubicBezTo>
                      <a:pt x="4605" y="10225"/>
                      <a:pt x="4551" y="10203"/>
                      <a:pt x="4522" y="10178"/>
                    </a:cubicBezTo>
                    <a:cubicBezTo>
                      <a:pt x="4481" y="10144"/>
                      <a:pt x="4460" y="10095"/>
                      <a:pt x="4430" y="10054"/>
                    </a:cubicBezTo>
                    <a:cubicBezTo>
                      <a:pt x="4406" y="10022"/>
                      <a:pt x="4386" y="9992"/>
                      <a:pt x="4348" y="9970"/>
                    </a:cubicBezTo>
                    <a:cubicBezTo>
                      <a:pt x="4316" y="9952"/>
                      <a:pt x="4270" y="9932"/>
                      <a:pt x="4264" y="9899"/>
                    </a:cubicBezTo>
                    <a:cubicBezTo>
                      <a:pt x="4259" y="9870"/>
                      <a:pt x="4297" y="9850"/>
                      <a:pt x="4313" y="9827"/>
                    </a:cubicBezTo>
                    <a:cubicBezTo>
                      <a:pt x="4339" y="9792"/>
                      <a:pt x="4334" y="9749"/>
                      <a:pt x="4335" y="9709"/>
                    </a:cubicBezTo>
                    <a:cubicBezTo>
                      <a:pt x="4335" y="9657"/>
                      <a:pt x="4287" y="9577"/>
                      <a:pt x="4207" y="9584"/>
                    </a:cubicBezTo>
                    <a:cubicBezTo>
                      <a:pt x="4193" y="9585"/>
                      <a:pt x="4175" y="9592"/>
                      <a:pt x="4161" y="9594"/>
                    </a:cubicBezTo>
                    <a:cubicBezTo>
                      <a:pt x="4136" y="9598"/>
                      <a:pt x="4105" y="9595"/>
                      <a:pt x="4081" y="9600"/>
                    </a:cubicBezTo>
                    <a:cubicBezTo>
                      <a:pt x="4043" y="9609"/>
                      <a:pt x="4041" y="9639"/>
                      <a:pt x="4041" y="9666"/>
                    </a:cubicBezTo>
                    <a:cubicBezTo>
                      <a:pt x="4042" y="9698"/>
                      <a:pt x="4060" y="9724"/>
                      <a:pt x="4066" y="9756"/>
                    </a:cubicBezTo>
                    <a:cubicBezTo>
                      <a:pt x="4075" y="9803"/>
                      <a:pt x="4066" y="9856"/>
                      <a:pt x="4066" y="9904"/>
                    </a:cubicBezTo>
                    <a:cubicBezTo>
                      <a:pt x="4066" y="9982"/>
                      <a:pt x="3925" y="10041"/>
                      <a:pt x="3949" y="10118"/>
                    </a:cubicBezTo>
                    <a:cubicBezTo>
                      <a:pt x="3957" y="10139"/>
                      <a:pt x="3986" y="10155"/>
                      <a:pt x="4003" y="10172"/>
                    </a:cubicBezTo>
                    <a:cubicBezTo>
                      <a:pt x="4023" y="10193"/>
                      <a:pt x="4035" y="10217"/>
                      <a:pt x="4056" y="10238"/>
                    </a:cubicBezTo>
                    <a:cubicBezTo>
                      <a:pt x="4090" y="10271"/>
                      <a:pt x="4142" y="10290"/>
                      <a:pt x="4174" y="10326"/>
                    </a:cubicBezTo>
                    <a:cubicBezTo>
                      <a:pt x="4216" y="10375"/>
                      <a:pt x="4214" y="10419"/>
                      <a:pt x="4215" y="10476"/>
                    </a:cubicBezTo>
                    <a:cubicBezTo>
                      <a:pt x="4215" y="10514"/>
                      <a:pt x="4245" y="10539"/>
                      <a:pt x="4243" y="10575"/>
                    </a:cubicBezTo>
                    <a:cubicBezTo>
                      <a:pt x="4239" y="10627"/>
                      <a:pt x="4180" y="10674"/>
                      <a:pt x="4170" y="10728"/>
                    </a:cubicBezTo>
                    <a:cubicBezTo>
                      <a:pt x="4161" y="10777"/>
                      <a:pt x="4157" y="10836"/>
                      <a:pt x="4176" y="10884"/>
                    </a:cubicBezTo>
                    <a:cubicBezTo>
                      <a:pt x="4194" y="10928"/>
                      <a:pt x="4236" y="10960"/>
                      <a:pt x="4263" y="11000"/>
                    </a:cubicBezTo>
                    <a:cubicBezTo>
                      <a:pt x="4308" y="11064"/>
                      <a:pt x="4375" y="11100"/>
                      <a:pt x="4429" y="11156"/>
                    </a:cubicBezTo>
                    <a:cubicBezTo>
                      <a:pt x="4486" y="11217"/>
                      <a:pt x="4537" y="11283"/>
                      <a:pt x="4610" y="11335"/>
                    </a:cubicBezTo>
                    <a:cubicBezTo>
                      <a:pt x="4653" y="11365"/>
                      <a:pt x="4681" y="11404"/>
                      <a:pt x="4719" y="11439"/>
                    </a:cubicBezTo>
                    <a:cubicBezTo>
                      <a:pt x="4755" y="11473"/>
                      <a:pt x="4798" y="11495"/>
                      <a:pt x="4843" y="11520"/>
                    </a:cubicBezTo>
                    <a:cubicBezTo>
                      <a:pt x="4871" y="11536"/>
                      <a:pt x="4903" y="11559"/>
                      <a:pt x="4942" y="11550"/>
                    </a:cubicBezTo>
                    <a:cubicBezTo>
                      <a:pt x="4978" y="11542"/>
                      <a:pt x="5027" y="11502"/>
                      <a:pt x="5055" y="11481"/>
                    </a:cubicBezTo>
                    <a:cubicBezTo>
                      <a:pt x="5083" y="11461"/>
                      <a:pt x="5122" y="11438"/>
                      <a:pt x="5163" y="11438"/>
                    </a:cubicBezTo>
                    <a:cubicBezTo>
                      <a:pt x="5209" y="11439"/>
                      <a:pt x="5240" y="11472"/>
                      <a:pt x="5267" y="11496"/>
                    </a:cubicBezTo>
                    <a:cubicBezTo>
                      <a:pt x="5296" y="11523"/>
                      <a:pt x="5315" y="11556"/>
                      <a:pt x="5348" y="11581"/>
                    </a:cubicBezTo>
                    <a:cubicBezTo>
                      <a:pt x="5378" y="11602"/>
                      <a:pt x="5395" y="11622"/>
                      <a:pt x="5417" y="11650"/>
                    </a:cubicBezTo>
                    <a:cubicBezTo>
                      <a:pt x="5446" y="11688"/>
                      <a:pt x="5490" y="11733"/>
                      <a:pt x="5506" y="11776"/>
                    </a:cubicBezTo>
                    <a:cubicBezTo>
                      <a:pt x="5524" y="11821"/>
                      <a:pt x="5513" y="11880"/>
                      <a:pt x="5513" y="11927"/>
                    </a:cubicBezTo>
                    <a:cubicBezTo>
                      <a:pt x="5514" y="11969"/>
                      <a:pt x="5550" y="12010"/>
                      <a:pt x="5545" y="12052"/>
                    </a:cubicBezTo>
                    <a:cubicBezTo>
                      <a:pt x="5540" y="12088"/>
                      <a:pt x="5523" y="12121"/>
                      <a:pt x="5510" y="12155"/>
                    </a:cubicBezTo>
                    <a:cubicBezTo>
                      <a:pt x="5485" y="12219"/>
                      <a:pt x="5461" y="12279"/>
                      <a:pt x="5372" y="12304"/>
                    </a:cubicBezTo>
                    <a:cubicBezTo>
                      <a:pt x="5334" y="12315"/>
                      <a:pt x="5311" y="12320"/>
                      <a:pt x="5283" y="12300"/>
                    </a:cubicBezTo>
                    <a:cubicBezTo>
                      <a:pt x="5263" y="12285"/>
                      <a:pt x="5222" y="12258"/>
                      <a:pt x="5199" y="12288"/>
                    </a:cubicBezTo>
                    <a:cubicBezTo>
                      <a:pt x="5186" y="12304"/>
                      <a:pt x="5199" y="12375"/>
                      <a:pt x="5209" y="12392"/>
                    </a:cubicBezTo>
                    <a:cubicBezTo>
                      <a:pt x="5214" y="12401"/>
                      <a:pt x="5228" y="12409"/>
                      <a:pt x="5234" y="12419"/>
                    </a:cubicBezTo>
                    <a:cubicBezTo>
                      <a:pt x="5241" y="12432"/>
                      <a:pt x="5240" y="12449"/>
                      <a:pt x="5242" y="12463"/>
                    </a:cubicBezTo>
                    <a:cubicBezTo>
                      <a:pt x="5246" y="12523"/>
                      <a:pt x="5235" y="12584"/>
                      <a:pt x="5242" y="12644"/>
                    </a:cubicBezTo>
                    <a:cubicBezTo>
                      <a:pt x="5246" y="12685"/>
                      <a:pt x="5276" y="12696"/>
                      <a:pt x="5297" y="12727"/>
                    </a:cubicBezTo>
                    <a:cubicBezTo>
                      <a:pt x="5318" y="12758"/>
                      <a:pt x="5316" y="12812"/>
                      <a:pt x="5316" y="12847"/>
                    </a:cubicBezTo>
                    <a:cubicBezTo>
                      <a:pt x="5316" y="12932"/>
                      <a:pt x="5330" y="12995"/>
                      <a:pt x="5389" y="13066"/>
                    </a:cubicBezTo>
                    <a:cubicBezTo>
                      <a:pt x="5408" y="13089"/>
                      <a:pt x="5428" y="13126"/>
                      <a:pt x="5451" y="13144"/>
                    </a:cubicBezTo>
                    <a:cubicBezTo>
                      <a:pt x="5477" y="13166"/>
                      <a:pt x="5534" y="13160"/>
                      <a:pt x="5566" y="13178"/>
                    </a:cubicBezTo>
                    <a:cubicBezTo>
                      <a:pt x="5616" y="13205"/>
                      <a:pt x="5642" y="13249"/>
                      <a:pt x="5686" y="13279"/>
                    </a:cubicBezTo>
                    <a:cubicBezTo>
                      <a:pt x="5728" y="13308"/>
                      <a:pt x="5792" y="13317"/>
                      <a:pt x="5819" y="13359"/>
                    </a:cubicBezTo>
                    <a:cubicBezTo>
                      <a:pt x="5835" y="13384"/>
                      <a:pt x="5846" y="13409"/>
                      <a:pt x="5862" y="13433"/>
                    </a:cubicBezTo>
                    <a:cubicBezTo>
                      <a:pt x="5895" y="13481"/>
                      <a:pt x="5911" y="13524"/>
                      <a:pt x="5926" y="13576"/>
                    </a:cubicBezTo>
                    <a:cubicBezTo>
                      <a:pt x="5941" y="13629"/>
                      <a:pt x="6014" y="13661"/>
                      <a:pt x="6071" y="13691"/>
                    </a:cubicBezTo>
                    <a:cubicBezTo>
                      <a:pt x="6125" y="13719"/>
                      <a:pt x="6209" y="13765"/>
                      <a:pt x="6206" y="13823"/>
                    </a:cubicBezTo>
                    <a:cubicBezTo>
                      <a:pt x="6204" y="13854"/>
                      <a:pt x="6189" y="13871"/>
                      <a:pt x="6204" y="13904"/>
                    </a:cubicBezTo>
                    <a:cubicBezTo>
                      <a:pt x="6219" y="13936"/>
                      <a:pt x="6245" y="13963"/>
                      <a:pt x="6269" y="13990"/>
                    </a:cubicBezTo>
                    <a:cubicBezTo>
                      <a:pt x="6304" y="14030"/>
                      <a:pt x="6342" y="14072"/>
                      <a:pt x="6372" y="14113"/>
                    </a:cubicBezTo>
                    <a:cubicBezTo>
                      <a:pt x="6393" y="14142"/>
                      <a:pt x="6401" y="14178"/>
                      <a:pt x="6425" y="14206"/>
                    </a:cubicBezTo>
                    <a:cubicBezTo>
                      <a:pt x="6446" y="14231"/>
                      <a:pt x="6475" y="14251"/>
                      <a:pt x="6495" y="14277"/>
                    </a:cubicBezTo>
                    <a:cubicBezTo>
                      <a:pt x="6518" y="14307"/>
                      <a:pt x="6522" y="14338"/>
                      <a:pt x="6523" y="14373"/>
                    </a:cubicBezTo>
                    <a:cubicBezTo>
                      <a:pt x="6523" y="14411"/>
                      <a:pt x="6524" y="14419"/>
                      <a:pt x="6562" y="14444"/>
                    </a:cubicBezTo>
                    <a:cubicBezTo>
                      <a:pt x="6590" y="14462"/>
                      <a:pt x="6618" y="14489"/>
                      <a:pt x="6652" y="14499"/>
                    </a:cubicBezTo>
                    <a:cubicBezTo>
                      <a:pt x="6715" y="14519"/>
                      <a:pt x="6831" y="14497"/>
                      <a:pt x="6865" y="14549"/>
                    </a:cubicBezTo>
                    <a:cubicBezTo>
                      <a:pt x="6892" y="14590"/>
                      <a:pt x="6917" y="14631"/>
                      <a:pt x="6947" y="14671"/>
                    </a:cubicBezTo>
                    <a:cubicBezTo>
                      <a:pt x="6971" y="14705"/>
                      <a:pt x="6993" y="14739"/>
                      <a:pt x="7017" y="14772"/>
                    </a:cubicBezTo>
                    <a:cubicBezTo>
                      <a:pt x="7068" y="14843"/>
                      <a:pt x="7158" y="14891"/>
                      <a:pt x="7228" y="14950"/>
                    </a:cubicBezTo>
                    <a:cubicBezTo>
                      <a:pt x="7252" y="14969"/>
                      <a:pt x="7273" y="14984"/>
                      <a:pt x="7307" y="14990"/>
                    </a:cubicBezTo>
                    <a:cubicBezTo>
                      <a:pt x="7341" y="14996"/>
                      <a:pt x="7387" y="14991"/>
                      <a:pt x="7415" y="15008"/>
                    </a:cubicBezTo>
                    <a:cubicBezTo>
                      <a:pt x="7447" y="15028"/>
                      <a:pt x="7468" y="15070"/>
                      <a:pt x="7493" y="15097"/>
                    </a:cubicBezTo>
                    <a:cubicBezTo>
                      <a:pt x="7513" y="15118"/>
                      <a:pt x="7536" y="15140"/>
                      <a:pt x="7547" y="15165"/>
                    </a:cubicBezTo>
                    <a:cubicBezTo>
                      <a:pt x="7556" y="15184"/>
                      <a:pt x="7562" y="15228"/>
                      <a:pt x="7551" y="15248"/>
                    </a:cubicBezTo>
                    <a:cubicBezTo>
                      <a:pt x="7536" y="15273"/>
                      <a:pt x="7499" y="15269"/>
                      <a:pt x="7472" y="15278"/>
                    </a:cubicBezTo>
                    <a:cubicBezTo>
                      <a:pt x="7429" y="15291"/>
                      <a:pt x="7433" y="15316"/>
                      <a:pt x="7433" y="15347"/>
                    </a:cubicBezTo>
                    <a:cubicBezTo>
                      <a:pt x="7433" y="15377"/>
                      <a:pt x="7426" y="15400"/>
                      <a:pt x="7415" y="15428"/>
                    </a:cubicBezTo>
                    <a:cubicBezTo>
                      <a:pt x="7403" y="15456"/>
                      <a:pt x="7405" y="15478"/>
                      <a:pt x="7426" y="15502"/>
                    </a:cubicBezTo>
                    <a:cubicBezTo>
                      <a:pt x="7472" y="15555"/>
                      <a:pt x="7539" y="15555"/>
                      <a:pt x="7609" y="15573"/>
                    </a:cubicBezTo>
                    <a:cubicBezTo>
                      <a:pt x="7648" y="15582"/>
                      <a:pt x="7681" y="15604"/>
                      <a:pt x="7719" y="15612"/>
                    </a:cubicBezTo>
                    <a:cubicBezTo>
                      <a:pt x="7752" y="15619"/>
                      <a:pt x="7785" y="15618"/>
                      <a:pt x="7818" y="15626"/>
                    </a:cubicBezTo>
                    <a:cubicBezTo>
                      <a:pt x="7852" y="15634"/>
                      <a:pt x="7883" y="15648"/>
                      <a:pt x="7917" y="15658"/>
                    </a:cubicBezTo>
                    <a:cubicBezTo>
                      <a:pt x="7972" y="15674"/>
                      <a:pt x="7964" y="15699"/>
                      <a:pt x="7973" y="15743"/>
                    </a:cubicBezTo>
                    <a:cubicBezTo>
                      <a:pt x="7982" y="15786"/>
                      <a:pt x="7990" y="15829"/>
                      <a:pt x="7995" y="15872"/>
                    </a:cubicBezTo>
                    <a:cubicBezTo>
                      <a:pt x="7999" y="15903"/>
                      <a:pt x="8003" y="15940"/>
                      <a:pt x="7995" y="15971"/>
                    </a:cubicBezTo>
                    <a:cubicBezTo>
                      <a:pt x="7988" y="16001"/>
                      <a:pt x="7962" y="16011"/>
                      <a:pt x="7935" y="16031"/>
                    </a:cubicBezTo>
                    <a:cubicBezTo>
                      <a:pt x="7896" y="16061"/>
                      <a:pt x="7869" y="16112"/>
                      <a:pt x="7864" y="16155"/>
                    </a:cubicBezTo>
                    <a:cubicBezTo>
                      <a:pt x="7859" y="16199"/>
                      <a:pt x="7902" y="16245"/>
                      <a:pt x="7928" y="16282"/>
                    </a:cubicBezTo>
                    <a:cubicBezTo>
                      <a:pt x="7955" y="16320"/>
                      <a:pt x="7968" y="16354"/>
                      <a:pt x="7973" y="16398"/>
                    </a:cubicBezTo>
                    <a:cubicBezTo>
                      <a:pt x="7978" y="16437"/>
                      <a:pt x="7990" y="16479"/>
                      <a:pt x="7988" y="16519"/>
                    </a:cubicBezTo>
                    <a:cubicBezTo>
                      <a:pt x="7986" y="16550"/>
                      <a:pt x="7965" y="16578"/>
                      <a:pt x="7970" y="16609"/>
                    </a:cubicBezTo>
                    <a:cubicBezTo>
                      <a:pt x="7975" y="16647"/>
                      <a:pt x="8006" y="16674"/>
                      <a:pt x="8001" y="16714"/>
                    </a:cubicBezTo>
                    <a:cubicBezTo>
                      <a:pt x="7998" y="16743"/>
                      <a:pt x="7976" y="16765"/>
                      <a:pt x="7964" y="16792"/>
                    </a:cubicBezTo>
                    <a:cubicBezTo>
                      <a:pt x="7948" y="16829"/>
                      <a:pt x="7934" y="16856"/>
                      <a:pt x="7934" y="16894"/>
                    </a:cubicBezTo>
                    <a:cubicBezTo>
                      <a:pt x="7934" y="16926"/>
                      <a:pt x="7937" y="16968"/>
                      <a:pt x="7959" y="16995"/>
                    </a:cubicBezTo>
                    <a:cubicBezTo>
                      <a:pt x="7984" y="17026"/>
                      <a:pt x="8036" y="17033"/>
                      <a:pt x="8076" y="17042"/>
                    </a:cubicBezTo>
                    <a:cubicBezTo>
                      <a:pt x="8175" y="17066"/>
                      <a:pt x="8235" y="17124"/>
                      <a:pt x="8326" y="17163"/>
                    </a:cubicBezTo>
                    <a:cubicBezTo>
                      <a:pt x="8395" y="17192"/>
                      <a:pt x="8454" y="17216"/>
                      <a:pt x="8535" y="17223"/>
                    </a:cubicBezTo>
                    <a:cubicBezTo>
                      <a:pt x="8589" y="17228"/>
                      <a:pt x="8645" y="17232"/>
                      <a:pt x="8699" y="17229"/>
                    </a:cubicBezTo>
                    <a:cubicBezTo>
                      <a:pt x="8747" y="17226"/>
                      <a:pt x="8767" y="17209"/>
                      <a:pt x="8803" y="17185"/>
                    </a:cubicBezTo>
                    <a:cubicBezTo>
                      <a:pt x="8826" y="17169"/>
                      <a:pt x="8869" y="17139"/>
                      <a:pt x="8905" y="17147"/>
                    </a:cubicBezTo>
                    <a:cubicBezTo>
                      <a:pt x="8944" y="17156"/>
                      <a:pt x="8957" y="17201"/>
                      <a:pt x="8997" y="17213"/>
                    </a:cubicBezTo>
                    <a:cubicBezTo>
                      <a:pt x="9078" y="17236"/>
                      <a:pt x="9163" y="17238"/>
                      <a:pt x="9243" y="17267"/>
                    </a:cubicBezTo>
                    <a:cubicBezTo>
                      <a:pt x="9283" y="17282"/>
                      <a:pt x="9312" y="17300"/>
                      <a:pt x="9353" y="17311"/>
                    </a:cubicBezTo>
                    <a:cubicBezTo>
                      <a:pt x="9397" y="17323"/>
                      <a:pt x="9447" y="17332"/>
                      <a:pt x="9493" y="17338"/>
                    </a:cubicBezTo>
                    <a:cubicBezTo>
                      <a:pt x="9537" y="17343"/>
                      <a:pt x="9581" y="17346"/>
                      <a:pt x="9626" y="17344"/>
                    </a:cubicBezTo>
                    <a:cubicBezTo>
                      <a:pt x="9673" y="17342"/>
                      <a:pt x="9691" y="17349"/>
                      <a:pt x="9735" y="17360"/>
                    </a:cubicBezTo>
                    <a:cubicBezTo>
                      <a:pt x="9818" y="17381"/>
                      <a:pt x="9885" y="17351"/>
                      <a:pt x="9964" y="17333"/>
                    </a:cubicBezTo>
                    <a:cubicBezTo>
                      <a:pt x="10011" y="17323"/>
                      <a:pt x="10063" y="17297"/>
                      <a:pt x="10105" y="17312"/>
                    </a:cubicBezTo>
                    <a:cubicBezTo>
                      <a:pt x="10140" y="17324"/>
                      <a:pt x="10175" y="17337"/>
                      <a:pt x="10211" y="17349"/>
                    </a:cubicBezTo>
                    <a:cubicBezTo>
                      <a:pt x="10247" y="17360"/>
                      <a:pt x="10275" y="17376"/>
                      <a:pt x="10312" y="17390"/>
                    </a:cubicBezTo>
                    <a:cubicBezTo>
                      <a:pt x="10354" y="17408"/>
                      <a:pt x="10385" y="17433"/>
                      <a:pt x="10427" y="17451"/>
                    </a:cubicBezTo>
                    <a:cubicBezTo>
                      <a:pt x="10466" y="17468"/>
                      <a:pt x="10481" y="17474"/>
                      <a:pt x="10507" y="17500"/>
                    </a:cubicBezTo>
                    <a:cubicBezTo>
                      <a:pt x="10575" y="17566"/>
                      <a:pt x="10658" y="17618"/>
                      <a:pt x="10754" y="17655"/>
                    </a:cubicBezTo>
                    <a:cubicBezTo>
                      <a:pt x="10835" y="17687"/>
                      <a:pt x="10849" y="17754"/>
                      <a:pt x="10850" y="17821"/>
                    </a:cubicBezTo>
                    <a:cubicBezTo>
                      <a:pt x="10851" y="17903"/>
                      <a:pt x="10965" y="17962"/>
                      <a:pt x="11052" y="17993"/>
                    </a:cubicBezTo>
                    <a:cubicBezTo>
                      <a:pt x="11089" y="18007"/>
                      <a:pt x="11127" y="18021"/>
                      <a:pt x="11164" y="18034"/>
                    </a:cubicBezTo>
                    <a:cubicBezTo>
                      <a:pt x="11217" y="18051"/>
                      <a:pt x="11277" y="18058"/>
                      <a:pt x="11328" y="18080"/>
                    </a:cubicBezTo>
                    <a:cubicBezTo>
                      <a:pt x="11422" y="18122"/>
                      <a:pt x="11496" y="18214"/>
                      <a:pt x="11612" y="18223"/>
                    </a:cubicBezTo>
                    <a:cubicBezTo>
                      <a:pt x="11646" y="18226"/>
                      <a:pt x="11693" y="18226"/>
                      <a:pt x="11725" y="18217"/>
                    </a:cubicBezTo>
                    <a:cubicBezTo>
                      <a:pt x="11769" y="18204"/>
                      <a:pt x="11782" y="18166"/>
                      <a:pt x="11824" y="18158"/>
                    </a:cubicBezTo>
                    <a:cubicBezTo>
                      <a:pt x="11880" y="18147"/>
                      <a:pt x="11956" y="18158"/>
                      <a:pt x="12014" y="18158"/>
                    </a:cubicBezTo>
                    <a:cubicBezTo>
                      <a:pt x="12074" y="18158"/>
                      <a:pt x="12134" y="18154"/>
                      <a:pt x="12194" y="18160"/>
                    </a:cubicBezTo>
                    <a:cubicBezTo>
                      <a:pt x="12234" y="18163"/>
                      <a:pt x="12293" y="18155"/>
                      <a:pt x="12328" y="18168"/>
                    </a:cubicBezTo>
                    <a:cubicBezTo>
                      <a:pt x="12359" y="18179"/>
                      <a:pt x="12383" y="18218"/>
                      <a:pt x="12391" y="18243"/>
                    </a:cubicBezTo>
                    <a:cubicBezTo>
                      <a:pt x="12402" y="18273"/>
                      <a:pt x="12396" y="18301"/>
                      <a:pt x="12424" y="18329"/>
                    </a:cubicBezTo>
                    <a:cubicBezTo>
                      <a:pt x="12446" y="18352"/>
                      <a:pt x="12474" y="18372"/>
                      <a:pt x="12496" y="18396"/>
                    </a:cubicBezTo>
                    <a:cubicBezTo>
                      <a:pt x="12524" y="18428"/>
                      <a:pt x="12561" y="18460"/>
                      <a:pt x="12583" y="18495"/>
                    </a:cubicBezTo>
                    <a:cubicBezTo>
                      <a:pt x="12608" y="18535"/>
                      <a:pt x="12598" y="18571"/>
                      <a:pt x="12604" y="18614"/>
                    </a:cubicBezTo>
                    <a:cubicBezTo>
                      <a:pt x="12608" y="18647"/>
                      <a:pt x="12635" y="18692"/>
                      <a:pt x="12621" y="18727"/>
                    </a:cubicBezTo>
                    <a:cubicBezTo>
                      <a:pt x="12616" y="18737"/>
                      <a:pt x="12601" y="18744"/>
                      <a:pt x="12597" y="18757"/>
                    </a:cubicBezTo>
                    <a:cubicBezTo>
                      <a:pt x="12591" y="18777"/>
                      <a:pt x="12597" y="18804"/>
                      <a:pt x="12600" y="18824"/>
                    </a:cubicBezTo>
                    <a:cubicBezTo>
                      <a:pt x="12607" y="18865"/>
                      <a:pt x="12639" y="18930"/>
                      <a:pt x="12713" y="18908"/>
                    </a:cubicBezTo>
                    <a:cubicBezTo>
                      <a:pt x="12725" y="18905"/>
                      <a:pt x="12727" y="18894"/>
                      <a:pt x="12740" y="18889"/>
                    </a:cubicBezTo>
                    <a:cubicBezTo>
                      <a:pt x="12751" y="18884"/>
                      <a:pt x="12774" y="18884"/>
                      <a:pt x="12786" y="18884"/>
                    </a:cubicBezTo>
                    <a:cubicBezTo>
                      <a:pt x="12834" y="18882"/>
                      <a:pt x="12848" y="18889"/>
                      <a:pt x="12873" y="18856"/>
                    </a:cubicBezTo>
                    <a:cubicBezTo>
                      <a:pt x="12899" y="18823"/>
                      <a:pt x="12916" y="18820"/>
                      <a:pt x="12970" y="18823"/>
                    </a:cubicBezTo>
                    <a:cubicBezTo>
                      <a:pt x="13025" y="18827"/>
                      <a:pt x="13084" y="18829"/>
                      <a:pt x="13139" y="18834"/>
                    </a:cubicBezTo>
                    <a:cubicBezTo>
                      <a:pt x="13230" y="18842"/>
                      <a:pt x="13261" y="18919"/>
                      <a:pt x="13321" y="18961"/>
                    </a:cubicBezTo>
                    <a:cubicBezTo>
                      <a:pt x="13409" y="19023"/>
                      <a:pt x="13499" y="19085"/>
                      <a:pt x="13589" y="19148"/>
                    </a:cubicBezTo>
                    <a:cubicBezTo>
                      <a:pt x="13635" y="19180"/>
                      <a:pt x="13666" y="19224"/>
                      <a:pt x="13707" y="19259"/>
                    </a:cubicBezTo>
                    <a:cubicBezTo>
                      <a:pt x="13739" y="19287"/>
                      <a:pt x="13787" y="19304"/>
                      <a:pt x="13823" y="19328"/>
                    </a:cubicBezTo>
                    <a:cubicBezTo>
                      <a:pt x="13858" y="19351"/>
                      <a:pt x="13900" y="19384"/>
                      <a:pt x="13947" y="19393"/>
                    </a:cubicBezTo>
                    <a:cubicBezTo>
                      <a:pt x="14009" y="19405"/>
                      <a:pt x="14044" y="19397"/>
                      <a:pt x="14089" y="19437"/>
                    </a:cubicBezTo>
                    <a:cubicBezTo>
                      <a:pt x="14122" y="19466"/>
                      <a:pt x="14161" y="19486"/>
                      <a:pt x="14195" y="19513"/>
                    </a:cubicBezTo>
                    <a:cubicBezTo>
                      <a:pt x="14237" y="19546"/>
                      <a:pt x="14277" y="19585"/>
                      <a:pt x="14318" y="19618"/>
                    </a:cubicBezTo>
                    <a:cubicBezTo>
                      <a:pt x="14435" y="19713"/>
                      <a:pt x="14508" y="19840"/>
                      <a:pt x="14593" y="19954"/>
                    </a:cubicBezTo>
                    <a:cubicBezTo>
                      <a:pt x="14639" y="20016"/>
                      <a:pt x="14671" y="20080"/>
                      <a:pt x="14708" y="20144"/>
                    </a:cubicBezTo>
                    <a:cubicBezTo>
                      <a:pt x="14725" y="20174"/>
                      <a:pt x="14743" y="20199"/>
                      <a:pt x="14758" y="20229"/>
                    </a:cubicBezTo>
                    <a:cubicBezTo>
                      <a:pt x="14772" y="20257"/>
                      <a:pt x="14790" y="20283"/>
                      <a:pt x="14810" y="20309"/>
                    </a:cubicBezTo>
                    <a:cubicBezTo>
                      <a:pt x="14839" y="20345"/>
                      <a:pt x="14856" y="20385"/>
                      <a:pt x="14873" y="20426"/>
                    </a:cubicBezTo>
                    <a:cubicBezTo>
                      <a:pt x="14886" y="20455"/>
                      <a:pt x="14906" y="20475"/>
                      <a:pt x="14907" y="20505"/>
                    </a:cubicBezTo>
                    <a:cubicBezTo>
                      <a:pt x="14908" y="20521"/>
                      <a:pt x="14905" y="20539"/>
                      <a:pt x="14905" y="20555"/>
                    </a:cubicBezTo>
                    <a:cubicBezTo>
                      <a:pt x="14905" y="20591"/>
                      <a:pt x="14905" y="20620"/>
                      <a:pt x="14922" y="20653"/>
                    </a:cubicBezTo>
                    <a:cubicBezTo>
                      <a:pt x="14942" y="20696"/>
                      <a:pt x="14973" y="20729"/>
                      <a:pt x="15003" y="20766"/>
                    </a:cubicBezTo>
                    <a:cubicBezTo>
                      <a:pt x="15031" y="20801"/>
                      <a:pt x="15055" y="20820"/>
                      <a:pt x="15022" y="20857"/>
                    </a:cubicBezTo>
                    <a:cubicBezTo>
                      <a:pt x="15003" y="20878"/>
                      <a:pt x="14961" y="20894"/>
                      <a:pt x="14952" y="20923"/>
                    </a:cubicBezTo>
                    <a:cubicBezTo>
                      <a:pt x="14942" y="20952"/>
                      <a:pt x="14955" y="20986"/>
                      <a:pt x="14950" y="21016"/>
                    </a:cubicBezTo>
                    <a:cubicBezTo>
                      <a:pt x="14944" y="21046"/>
                      <a:pt x="14922" y="21074"/>
                      <a:pt x="14922" y="21106"/>
                    </a:cubicBezTo>
                    <a:cubicBezTo>
                      <a:pt x="14924" y="21145"/>
                      <a:pt x="14950" y="21186"/>
                      <a:pt x="14983" y="21215"/>
                    </a:cubicBezTo>
                    <a:cubicBezTo>
                      <a:pt x="15012" y="21242"/>
                      <a:pt x="15044" y="21242"/>
                      <a:pt x="15085" y="21251"/>
                    </a:cubicBezTo>
                    <a:cubicBezTo>
                      <a:pt x="15129" y="21261"/>
                      <a:pt x="15169" y="21277"/>
                      <a:pt x="15208" y="21294"/>
                    </a:cubicBezTo>
                    <a:cubicBezTo>
                      <a:pt x="15294" y="21333"/>
                      <a:pt x="15272" y="21368"/>
                      <a:pt x="15255" y="21432"/>
                    </a:cubicBezTo>
                    <a:cubicBezTo>
                      <a:pt x="15245" y="21471"/>
                      <a:pt x="15233" y="21527"/>
                      <a:pt x="15272" y="21561"/>
                    </a:cubicBezTo>
                    <a:cubicBezTo>
                      <a:pt x="15304" y="21587"/>
                      <a:pt x="15346" y="21591"/>
                      <a:pt x="15390" y="21594"/>
                    </a:cubicBezTo>
                    <a:cubicBezTo>
                      <a:pt x="15500" y="21600"/>
                      <a:pt x="15600" y="21596"/>
                      <a:pt x="15709" y="21586"/>
                    </a:cubicBezTo>
                    <a:cubicBezTo>
                      <a:pt x="15743" y="21582"/>
                      <a:pt x="15774" y="21569"/>
                      <a:pt x="15810" y="21566"/>
                    </a:cubicBezTo>
                    <a:cubicBezTo>
                      <a:pt x="15846" y="21563"/>
                      <a:pt x="15880" y="21564"/>
                      <a:pt x="15917" y="21559"/>
                    </a:cubicBezTo>
                    <a:cubicBezTo>
                      <a:pt x="16005" y="21548"/>
                      <a:pt x="16100" y="21544"/>
                      <a:pt x="16189" y="21542"/>
                    </a:cubicBezTo>
                    <a:cubicBezTo>
                      <a:pt x="16383" y="21538"/>
                      <a:pt x="16574" y="21511"/>
                      <a:pt x="16767" y="21503"/>
                    </a:cubicBezTo>
                    <a:cubicBezTo>
                      <a:pt x="16957" y="21496"/>
                      <a:pt x="17153" y="21492"/>
                      <a:pt x="17340" y="21465"/>
                    </a:cubicBezTo>
                    <a:cubicBezTo>
                      <a:pt x="17402" y="21456"/>
                      <a:pt x="17464" y="21445"/>
                      <a:pt x="17527" y="21438"/>
                    </a:cubicBezTo>
                    <a:cubicBezTo>
                      <a:pt x="17580" y="21433"/>
                      <a:pt x="17629" y="21433"/>
                      <a:pt x="17683" y="21432"/>
                    </a:cubicBezTo>
                    <a:cubicBezTo>
                      <a:pt x="17741" y="21429"/>
                      <a:pt x="17799" y="21429"/>
                      <a:pt x="17858" y="21429"/>
                    </a:cubicBezTo>
                    <a:cubicBezTo>
                      <a:pt x="17932" y="21430"/>
                      <a:pt x="18002" y="21445"/>
                      <a:pt x="18076" y="21432"/>
                    </a:cubicBezTo>
                    <a:cubicBezTo>
                      <a:pt x="18125" y="21424"/>
                      <a:pt x="18167" y="21425"/>
                      <a:pt x="18216" y="21421"/>
                    </a:cubicBezTo>
                    <a:cubicBezTo>
                      <a:pt x="18260" y="21418"/>
                      <a:pt x="18302" y="21408"/>
                      <a:pt x="18346" y="21405"/>
                    </a:cubicBezTo>
                    <a:cubicBezTo>
                      <a:pt x="18415" y="21399"/>
                      <a:pt x="18479" y="21377"/>
                      <a:pt x="18548" y="21371"/>
                    </a:cubicBezTo>
                    <a:cubicBezTo>
                      <a:pt x="18641" y="21364"/>
                      <a:pt x="18737" y="21369"/>
                      <a:pt x="18830" y="21355"/>
                    </a:cubicBezTo>
                    <a:cubicBezTo>
                      <a:pt x="18930" y="21341"/>
                      <a:pt x="19027" y="21336"/>
                      <a:pt x="19129" y="21336"/>
                    </a:cubicBezTo>
                    <a:cubicBezTo>
                      <a:pt x="19238" y="21336"/>
                      <a:pt x="19351" y="21331"/>
                      <a:pt x="19456" y="21309"/>
                    </a:cubicBezTo>
                    <a:cubicBezTo>
                      <a:pt x="19518" y="21296"/>
                      <a:pt x="19583" y="21284"/>
                      <a:pt x="19647" y="21281"/>
                    </a:cubicBezTo>
                    <a:cubicBezTo>
                      <a:pt x="19711" y="21279"/>
                      <a:pt x="19775" y="21275"/>
                      <a:pt x="19838" y="21267"/>
                    </a:cubicBezTo>
                    <a:cubicBezTo>
                      <a:pt x="19895" y="21259"/>
                      <a:pt x="19952" y="21260"/>
                      <a:pt x="20011" y="21253"/>
                    </a:cubicBezTo>
                    <a:cubicBezTo>
                      <a:pt x="20060" y="21247"/>
                      <a:pt x="20189" y="21216"/>
                      <a:pt x="20242" y="21242"/>
                    </a:cubicBezTo>
                    <a:cubicBezTo>
                      <a:pt x="20271" y="21230"/>
                      <a:pt x="20302" y="21224"/>
                      <a:pt x="20329" y="21210"/>
                    </a:cubicBezTo>
                    <a:cubicBezTo>
                      <a:pt x="20359" y="21193"/>
                      <a:pt x="20378" y="21192"/>
                      <a:pt x="20415" y="21183"/>
                    </a:cubicBezTo>
                    <a:close/>
                    <a:moveTo>
                      <a:pt x="20415" y="21183"/>
                    </a:moveTo>
                  </a:path>
                </a:pathLst>
              </a:custGeom>
              <a:solidFill>
                <a:schemeClr val="accent1"/>
              </a:solidFill>
              <a:ln w="3175">
                <a:solidFill>
                  <a:schemeClr val="bg1">
                    <a:lumMod val="85000"/>
                  </a:schemeClr>
                </a:solid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216" name="AutoShape 2">
                <a:extLst>
                  <a:ext uri="{FF2B5EF4-FFF2-40B4-BE49-F238E27FC236}">
                    <a16:creationId xmlns:a16="http://schemas.microsoft.com/office/drawing/2014/main" id="{583C97E5-7427-2843-80B9-8E82F206BC89}"/>
                  </a:ext>
                </a:extLst>
              </p:cNvPr>
              <p:cNvSpPr>
                <a:spLocks/>
              </p:cNvSpPr>
              <p:nvPr/>
            </p:nvSpPr>
            <p:spPr bwMode="auto">
              <a:xfrm>
                <a:off x="13939288" y="811143"/>
                <a:ext cx="1801618" cy="1067316"/>
              </a:xfrm>
              <a:custGeom>
                <a:avLst/>
                <a:gdLst/>
                <a:ahLst/>
                <a:cxnLst/>
                <a:rect l="0" t="0" r="r" b="b"/>
                <a:pathLst>
                  <a:path w="21591" h="21589">
                    <a:moveTo>
                      <a:pt x="19948" y="7069"/>
                    </a:moveTo>
                    <a:cubicBezTo>
                      <a:pt x="19957" y="7051"/>
                      <a:pt x="19967" y="7030"/>
                      <a:pt x="19971" y="7008"/>
                    </a:cubicBezTo>
                    <a:cubicBezTo>
                      <a:pt x="19973" y="6994"/>
                      <a:pt x="19976" y="6935"/>
                      <a:pt x="19991" y="6945"/>
                    </a:cubicBezTo>
                    <a:cubicBezTo>
                      <a:pt x="20003" y="6953"/>
                      <a:pt x="19999" y="6993"/>
                      <a:pt x="20019" y="6986"/>
                    </a:cubicBezTo>
                    <a:cubicBezTo>
                      <a:pt x="20029" y="6982"/>
                      <a:pt x="20026" y="6972"/>
                      <a:pt x="20031" y="6960"/>
                    </a:cubicBezTo>
                    <a:cubicBezTo>
                      <a:pt x="20036" y="6946"/>
                      <a:pt x="20040" y="6953"/>
                      <a:pt x="20048" y="6956"/>
                    </a:cubicBezTo>
                    <a:cubicBezTo>
                      <a:pt x="20053" y="6958"/>
                      <a:pt x="20063" y="6961"/>
                      <a:pt x="20071" y="6963"/>
                    </a:cubicBezTo>
                    <a:cubicBezTo>
                      <a:pt x="20078" y="6963"/>
                      <a:pt x="20085" y="6963"/>
                      <a:pt x="20088" y="6959"/>
                    </a:cubicBezTo>
                    <a:cubicBezTo>
                      <a:pt x="20090" y="6955"/>
                      <a:pt x="20088" y="6948"/>
                      <a:pt x="20091" y="6944"/>
                    </a:cubicBezTo>
                    <a:cubicBezTo>
                      <a:pt x="20092" y="6943"/>
                      <a:pt x="20101" y="6943"/>
                      <a:pt x="20102" y="6944"/>
                    </a:cubicBezTo>
                    <a:cubicBezTo>
                      <a:pt x="20112" y="6950"/>
                      <a:pt x="20110" y="6962"/>
                      <a:pt x="20121" y="6958"/>
                    </a:cubicBezTo>
                    <a:cubicBezTo>
                      <a:pt x="20130" y="6954"/>
                      <a:pt x="20141" y="6940"/>
                      <a:pt x="20149" y="6931"/>
                    </a:cubicBezTo>
                    <a:cubicBezTo>
                      <a:pt x="20167" y="6910"/>
                      <a:pt x="20183" y="6884"/>
                      <a:pt x="20198" y="6856"/>
                    </a:cubicBezTo>
                    <a:cubicBezTo>
                      <a:pt x="20207" y="6839"/>
                      <a:pt x="20216" y="6808"/>
                      <a:pt x="20229" y="6797"/>
                    </a:cubicBezTo>
                    <a:cubicBezTo>
                      <a:pt x="20235" y="6792"/>
                      <a:pt x="20246" y="6791"/>
                      <a:pt x="20252" y="6799"/>
                    </a:cubicBezTo>
                    <a:cubicBezTo>
                      <a:pt x="20258" y="6807"/>
                      <a:pt x="20257" y="6822"/>
                      <a:pt x="20256" y="6835"/>
                    </a:cubicBezTo>
                    <a:cubicBezTo>
                      <a:pt x="20255" y="6882"/>
                      <a:pt x="20239" y="6923"/>
                      <a:pt x="20241" y="6970"/>
                    </a:cubicBezTo>
                    <a:cubicBezTo>
                      <a:pt x="20255" y="6970"/>
                      <a:pt x="20263" y="6953"/>
                      <a:pt x="20277" y="6949"/>
                    </a:cubicBezTo>
                    <a:cubicBezTo>
                      <a:pt x="20294" y="6943"/>
                      <a:pt x="20301" y="6936"/>
                      <a:pt x="20315" y="6919"/>
                    </a:cubicBezTo>
                    <a:cubicBezTo>
                      <a:pt x="20322" y="6911"/>
                      <a:pt x="20328" y="6906"/>
                      <a:pt x="20334" y="6897"/>
                    </a:cubicBezTo>
                    <a:cubicBezTo>
                      <a:pt x="20339" y="6888"/>
                      <a:pt x="20343" y="6878"/>
                      <a:pt x="20348" y="6870"/>
                    </a:cubicBezTo>
                    <a:cubicBezTo>
                      <a:pt x="20353" y="6864"/>
                      <a:pt x="20359" y="6857"/>
                      <a:pt x="20365" y="6859"/>
                    </a:cubicBezTo>
                    <a:cubicBezTo>
                      <a:pt x="20376" y="6864"/>
                      <a:pt x="20380" y="6875"/>
                      <a:pt x="20391" y="6875"/>
                    </a:cubicBezTo>
                    <a:cubicBezTo>
                      <a:pt x="20404" y="6875"/>
                      <a:pt x="20416" y="6867"/>
                      <a:pt x="20429" y="6864"/>
                    </a:cubicBezTo>
                    <a:cubicBezTo>
                      <a:pt x="20446" y="6861"/>
                      <a:pt x="20462" y="6864"/>
                      <a:pt x="20479" y="6860"/>
                    </a:cubicBezTo>
                    <a:cubicBezTo>
                      <a:pt x="20493" y="6856"/>
                      <a:pt x="20508" y="6839"/>
                      <a:pt x="20518" y="6822"/>
                    </a:cubicBezTo>
                    <a:cubicBezTo>
                      <a:pt x="20529" y="6802"/>
                      <a:pt x="20529" y="6770"/>
                      <a:pt x="20527" y="6743"/>
                    </a:cubicBezTo>
                    <a:cubicBezTo>
                      <a:pt x="20526" y="6730"/>
                      <a:pt x="20522" y="6719"/>
                      <a:pt x="20519" y="6706"/>
                    </a:cubicBezTo>
                    <a:cubicBezTo>
                      <a:pt x="20516" y="6693"/>
                      <a:pt x="20516" y="6678"/>
                      <a:pt x="20514" y="6665"/>
                    </a:cubicBezTo>
                    <a:cubicBezTo>
                      <a:pt x="20509" y="6637"/>
                      <a:pt x="20501" y="6616"/>
                      <a:pt x="20490" y="6594"/>
                    </a:cubicBezTo>
                    <a:cubicBezTo>
                      <a:pt x="20479" y="6571"/>
                      <a:pt x="20467" y="6548"/>
                      <a:pt x="20459" y="6521"/>
                    </a:cubicBezTo>
                    <a:cubicBezTo>
                      <a:pt x="20456" y="6511"/>
                      <a:pt x="20454" y="6493"/>
                      <a:pt x="20449" y="6486"/>
                    </a:cubicBezTo>
                    <a:cubicBezTo>
                      <a:pt x="20441" y="6474"/>
                      <a:pt x="20436" y="6485"/>
                      <a:pt x="20429" y="6491"/>
                    </a:cubicBezTo>
                    <a:cubicBezTo>
                      <a:pt x="20423" y="6495"/>
                      <a:pt x="20414" y="6492"/>
                      <a:pt x="20409" y="6498"/>
                    </a:cubicBezTo>
                    <a:cubicBezTo>
                      <a:pt x="20403" y="6506"/>
                      <a:pt x="20404" y="6527"/>
                      <a:pt x="20408" y="6537"/>
                    </a:cubicBezTo>
                    <a:cubicBezTo>
                      <a:pt x="20414" y="6555"/>
                      <a:pt x="20419" y="6540"/>
                      <a:pt x="20429" y="6540"/>
                    </a:cubicBezTo>
                    <a:cubicBezTo>
                      <a:pt x="20437" y="6540"/>
                      <a:pt x="20440" y="6552"/>
                      <a:pt x="20445" y="6562"/>
                    </a:cubicBezTo>
                    <a:cubicBezTo>
                      <a:pt x="20454" y="6582"/>
                      <a:pt x="20461" y="6603"/>
                      <a:pt x="20470" y="6623"/>
                    </a:cubicBezTo>
                    <a:cubicBezTo>
                      <a:pt x="20478" y="6643"/>
                      <a:pt x="20495" y="6655"/>
                      <a:pt x="20496" y="6679"/>
                    </a:cubicBezTo>
                    <a:cubicBezTo>
                      <a:pt x="20497" y="6710"/>
                      <a:pt x="20498" y="6734"/>
                      <a:pt x="20484" y="6753"/>
                    </a:cubicBezTo>
                    <a:cubicBezTo>
                      <a:pt x="20471" y="6770"/>
                      <a:pt x="20461" y="6794"/>
                      <a:pt x="20443" y="6796"/>
                    </a:cubicBezTo>
                    <a:cubicBezTo>
                      <a:pt x="20425" y="6798"/>
                      <a:pt x="20408" y="6792"/>
                      <a:pt x="20391" y="6792"/>
                    </a:cubicBezTo>
                    <a:cubicBezTo>
                      <a:pt x="20376" y="6793"/>
                      <a:pt x="20364" y="6815"/>
                      <a:pt x="20349" y="6804"/>
                    </a:cubicBezTo>
                    <a:cubicBezTo>
                      <a:pt x="20337" y="6795"/>
                      <a:pt x="20319" y="6770"/>
                      <a:pt x="20310" y="6752"/>
                    </a:cubicBezTo>
                    <a:cubicBezTo>
                      <a:pt x="20298" y="6727"/>
                      <a:pt x="20294" y="6697"/>
                      <a:pt x="20288" y="6666"/>
                    </a:cubicBezTo>
                    <a:cubicBezTo>
                      <a:pt x="20284" y="6643"/>
                      <a:pt x="20283" y="6601"/>
                      <a:pt x="20270" y="6588"/>
                    </a:cubicBezTo>
                    <a:cubicBezTo>
                      <a:pt x="20263" y="6582"/>
                      <a:pt x="20254" y="6585"/>
                      <a:pt x="20249" y="6576"/>
                    </a:cubicBezTo>
                    <a:cubicBezTo>
                      <a:pt x="20246" y="6572"/>
                      <a:pt x="20245" y="6567"/>
                      <a:pt x="20245" y="6561"/>
                    </a:cubicBezTo>
                    <a:cubicBezTo>
                      <a:pt x="20245" y="6549"/>
                      <a:pt x="20248" y="6551"/>
                      <a:pt x="20250" y="6544"/>
                    </a:cubicBezTo>
                    <a:cubicBezTo>
                      <a:pt x="20267" y="6489"/>
                      <a:pt x="20226" y="6448"/>
                      <a:pt x="20221" y="6398"/>
                    </a:cubicBezTo>
                    <a:cubicBezTo>
                      <a:pt x="20218" y="6366"/>
                      <a:pt x="20212" y="6351"/>
                      <a:pt x="20197" y="6332"/>
                    </a:cubicBezTo>
                    <a:cubicBezTo>
                      <a:pt x="20190" y="6324"/>
                      <a:pt x="20166" y="6285"/>
                      <a:pt x="20156" y="6297"/>
                    </a:cubicBezTo>
                    <a:cubicBezTo>
                      <a:pt x="20149" y="6305"/>
                      <a:pt x="20163" y="6329"/>
                      <a:pt x="20156" y="6340"/>
                    </a:cubicBezTo>
                    <a:cubicBezTo>
                      <a:pt x="20147" y="6354"/>
                      <a:pt x="20137" y="6326"/>
                      <a:pt x="20133" y="6318"/>
                    </a:cubicBezTo>
                    <a:cubicBezTo>
                      <a:pt x="20127" y="6305"/>
                      <a:pt x="20121" y="6291"/>
                      <a:pt x="20114" y="6280"/>
                    </a:cubicBezTo>
                    <a:cubicBezTo>
                      <a:pt x="20100" y="6259"/>
                      <a:pt x="20115" y="6259"/>
                      <a:pt x="20123" y="6249"/>
                    </a:cubicBezTo>
                    <a:cubicBezTo>
                      <a:pt x="20132" y="6238"/>
                      <a:pt x="20137" y="6216"/>
                      <a:pt x="20142" y="6200"/>
                    </a:cubicBezTo>
                    <a:cubicBezTo>
                      <a:pt x="20149" y="6175"/>
                      <a:pt x="20153" y="6147"/>
                      <a:pt x="20161" y="6121"/>
                    </a:cubicBezTo>
                    <a:cubicBezTo>
                      <a:pt x="20167" y="6101"/>
                      <a:pt x="20178" y="6068"/>
                      <a:pt x="20191" y="6060"/>
                    </a:cubicBezTo>
                    <a:cubicBezTo>
                      <a:pt x="20205" y="6052"/>
                      <a:pt x="20220" y="6061"/>
                      <a:pt x="20233" y="6048"/>
                    </a:cubicBezTo>
                    <a:cubicBezTo>
                      <a:pt x="20248" y="6032"/>
                      <a:pt x="20248" y="6015"/>
                      <a:pt x="20240" y="5990"/>
                    </a:cubicBezTo>
                    <a:cubicBezTo>
                      <a:pt x="20233" y="5966"/>
                      <a:pt x="20218" y="5957"/>
                      <a:pt x="20209" y="5934"/>
                    </a:cubicBezTo>
                    <a:cubicBezTo>
                      <a:pt x="20201" y="5913"/>
                      <a:pt x="20193" y="5889"/>
                      <a:pt x="20190" y="5864"/>
                    </a:cubicBezTo>
                    <a:cubicBezTo>
                      <a:pt x="20187" y="5845"/>
                      <a:pt x="20187" y="5826"/>
                      <a:pt x="20187" y="5807"/>
                    </a:cubicBezTo>
                    <a:cubicBezTo>
                      <a:pt x="20188" y="5775"/>
                      <a:pt x="20193" y="5744"/>
                      <a:pt x="20200" y="5714"/>
                    </a:cubicBezTo>
                    <a:cubicBezTo>
                      <a:pt x="20207" y="5689"/>
                      <a:pt x="20211" y="5662"/>
                      <a:pt x="20219" y="5639"/>
                    </a:cubicBezTo>
                    <a:cubicBezTo>
                      <a:pt x="20222" y="5629"/>
                      <a:pt x="20226" y="5620"/>
                      <a:pt x="20230" y="5611"/>
                    </a:cubicBezTo>
                    <a:cubicBezTo>
                      <a:pt x="20237" y="5595"/>
                      <a:pt x="20245" y="5581"/>
                      <a:pt x="20253" y="5567"/>
                    </a:cubicBezTo>
                    <a:cubicBezTo>
                      <a:pt x="20262" y="5549"/>
                      <a:pt x="20276" y="5533"/>
                      <a:pt x="20280" y="5511"/>
                    </a:cubicBezTo>
                    <a:cubicBezTo>
                      <a:pt x="20287" y="5479"/>
                      <a:pt x="20286" y="5448"/>
                      <a:pt x="20287" y="5414"/>
                    </a:cubicBezTo>
                    <a:cubicBezTo>
                      <a:pt x="20288" y="5397"/>
                      <a:pt x="20291" y="5338"/>
                      <a:pt x="20307" y="5347"/>
                    </a:cubicBezTo>
                    <a:cubicBezTo>
                      <a:pt x="20315" y="5351"/>
                      <a:pt x="20315" y="5371"/>
                      <a:pt x="20324" y="5356"/>
                    </a:cubicBezTo>
                    <a:cubicBezTo>
                      <a:pt x="20329" y="5346"/>
                      <a:pt x="20330" y="5327"/>
                      <a:pt x="20337" y="5316"/>
                    </a:cubicBezTo>
                    <a:cubicBezTo>
                      <a:pt x="20349" y="5297"/>
                      <a:pt x="20363" y="5287"/>
                      <a:pt x="20349" y="5257"/>
                    </a:cubicBezTo>
                    <a:cubicBezTo>
                      <a:pt x="20340" y="5237"/>
                      <a:pt x="20345" y="5223"/>
                      <a:pt x="20355" y="5209"/>
                    </a:cubicBezTo>
                    <a:cubicBezTo>
                      <a:pt x="20366" y="5194"/>
                      <a:pt x="20374" y="5175"/>
                      <a:pt x="20383" y="5158"/>
                    </a:cubicBezTo>
                    <a:cubicBezTo>
                      <a:pt x="20391" y="5145"/>
                      <a:pt x="20414" y="5125"/>
                      <a:pt x="20415" y="5105"/>
                    </a:cubicBezTo>
                    <a:cubicBezTo>
                      <a:pt x="20415" y="5092"/>
                      <a:pt x="20408" y="5089"/>
                      <a:pt x="20405" y="5078"/>
                    </a:cubicBezTo>
                    <a:cubicBezTo>
                      <a:pt x="20401" y="5065"/>
                      <a:pt x="20404" y="5052"/>
                      <a:pt x="20408" y="5040"/>
                    </a:cubicBezTo>
                    <a:cubicBezTo>
                      <a:pt x="20416" y="5016"/>
                      <a:pt x="20422" y="4982"/>
                      <a:pt x="20434" y="4964"/>
                    </a:cubicBezTo>
                    <a:cubicBezTo>
                      <a:pt x="20443" y="4952"/>
                      <a:pt x="20455" y="4948"/>
                      <a:pt x="20465" y="4939"/>
                    </a:cubicBezTo>
                    <a:cubicBezTo>
                      <a:pt x="20476" y="4928"/>
                      <a:pt x="20487" y="4919"/>
                      <a:pt x="20499" y="4910"/>
                    </a:cubicBezTo>
                    <a:cubicBezTo>
                      <a:pt x="20503" y="4906"/>
                      <a:pt x="20507" y="4899"/>
                      <a:pt x="20512" y="4897"/>
                    </a:cubicBezTo>
                    <a:cubicBezTo>
                      <a:pt x="20521" y="4895"/>
                      <a:pt x="20520" y="4901"/>
                      <a:pt x="20525" y="4907"/>
                    </a:cubicBezTo>
                    <a:cubicBezTo>
                      <a:pt x="20536" y="4919"/>
                      <a:pt x="20539" y="4902"/>
                      <a:pt x="20545" y="4892"/>
                    </a:cubicBezTo>
                    <a:cubicBezTo>
                      <a:pt x="20551" y="4882"/>
                      <a:pt x="20564" y="4874"/>
                      <a:pt x="20557" y="4856"/>
                    </a:cubicBezTo>
                    <a:cubicBezTo>
                      <a:pt x="20554" y="4849"/>
                      <a:pt x="20548" y="4844"/>
                      <a:pt x="20545" y="4838"/>
                    </a:cubicBezTo>
                    <a:cubicBezTo>
                      <a:pt x="20540" y="4828"/>
                      <a:pt x="20538" y="4823"/>
                      <a:pt x="20538" y="4810"/>
                    </a:cubicBezTo>
                    <a:cubicBezTo>
                      <a:pt x="20537" y="4783"/>
                      <a:pt x="20537" y="4769"/>
                      <a:pt x="20549" y="4752"/>
                    </a:cubicBezTo>
                    <a:cubicBezTo>
                      <a:pt x="20558" y="4739"/>
                      <a:pt x="20569" y="4720"/>
                      <a:pt x="20582" y="4722"/>
                    </a:cubicBezTo>
                    <a:cubicBezTo>
                      <a:pt x="20583" y="4746"/>
                      <a:pt x="20571" y="4752"/>
                      <a:pt x="20572" y="4778"/>
                    </a:cubicBezTo>
                    <a:cubicBezTo>
                      <a:pt x="20572" y="4794"/>
                      <a:pt x="20575" y="4794"/>
                      <a:pt x="20579" y="4808"/>
                    </a:cubicBezTo>
                    <a:cubicBezTo>
                      <a:pt x="20581" y="4816"/>
                      <a:pt x="20579" y="4833"/>
                      <a:pt x="20585" y="4834"/>
                    </a:cubicBezTo>
                    <a:cubicBezTo>
                      <a:pt x="20591" y="4834"/>
                      <a:pt x="20593" y="4808"/>
                      <a:pt x="20595" y="4800"/>
                    </a:cubicBezTo>
                    <a:cubicBezTo>
                      <a:pt x="20599" y="4788"/>
                      <a:pt x="20604" y="4780"/>
                      <a:pt x="20609" y="4771"/>
                    </a:cubicBezTo>
                    <a:cubicBezTo>
                      <a:pt x="20617" y="4759"/>
                      <a:pt x="20632" y="4728"/>
                      <a:pt x="20643" y="4730"/>
                    </a:cubicBezTo>
                    <a:cubicBezTo>
                      <a:pt x="20643" y="4744"/>
                      <a:pt x="20641" y="4754"/>
                      <a:pt x="20639" y="4767"/>
                    </a:cubicBezTo>
                    <a:cubicBezTo>
                      <a:pt x="20638" y="4774"/>
                      <a:pt x="20633" y="4794"/>
                      <a:pt x="20638" y="4800"/>
                    </a:cubicBezTo>
                    <a:cubicBezTo>
                      <a:pt x="20646" y="4810"/>
                      <a:pt x="20649" y="4747"/>
                      <a:pt x="20661" y="4744"/>
                    </a:cubicBezTo>
                    <a:cubicBezTo>
                      <a:pt x="20678" y="4740"/>
                      <a:pt x="20692" y="4777"/>
                      <a:pt x="20677" y="4796"/>
                    </a:cubicBezTo>
                    <a:cubicBezTo>
                      <a:pt x="20669" y="4805"/>
                      <a:pt x="20664" y="4806"/>
                      <a:pt x="20664" y="4824"/>
                    </a:cubicBezTo>
                    <a:cubicBezTo>
                      <a:pt x="20663" y="4837"/>
                      <a:pt x="20665" y="4851"/>
                      <a:pt x="20673" y="4853"/>
                    </a:cubicBezTo>
                    <a:cubicBezTo>
                      <a:pt x="20687" y="4856"/>
                      <a:pt x="20685" y="4817"/>
                      <a:pt x="20688" y="4802"/>
                    </a:cubicBezTo>
                    <a:cubicBezTo>
                      <a:pt x="20693" y="4776"/>
                      <a:pt x="20705" y="4771"/>
                      <a:pt x="20715" y="4753"/>
                    </a:cubicBezTo>
                    <a:cubicBezTo>
                      <a:pt x="20725" y="4737"/>
                      <a:pt x="20724" y="4717"/>
                      <a:pt x="20740" y="4717"/>
                    </a:cubicBezTo>
                    <a:cubicBezTo>
                      <a:pt x="20759" y="4717"/>
                      <a:pt x="20749" y="4748"/>
                      <a:pt x="20751" y="4768"/>
                    </a:cubicBezTo>
                    <a:cubicBezTo>
                      <a:pt x="20775" y="4770"/>
                      <a:pt x="20796" y="4755"/>
                      <a:pt x="20818" y="4738"/>
                    </a:cubicBezTo>
                    <a:cubicBezTo>
                      <a:pt x="20833" y="4727"/>
                      <a:pt x="20848" y="4717"/>
                      <a:pt x="20838" y="4683"/>
                    </a:cubicBezTo>
                    <a:cubicBezTo>
                      <a:pt x="20830" y="4655"/>
                      <a:pt x="20832" y="4636"/>
                      <a:pt x="20842" y="4609"/>
                    </a:cubicBezTo>
                    <a:cubicBezTo>
                      <a:pt x="20851" y="4582"/>
                      <a:pt x="20858" y="4553"/>
                      <a:pt x="20868" y="4528"/>
                    </a:cubicBezTo>
                    <a:cubicBezTo>
                      <a:pt x="20877" y="4506"/>
                      <a:pt x="20896" y="4490"/>
                      <a:pt x="20887" y="4459"/>
                    </a:cubicBezTo>
                    <a:cubicBezTo>
                      <a:pt x="20883" y="4444"/>
                      <a:pt x="20875" y="4440"/>
                      <a:pt x="20873" y="4423"/>
                    </a:cubicBezTo>
                    <a:cubicBezTo>
                      <a:pt x="20871" y="4404"/>
                      <a:pt x="20875" y="4387"/>
                      <a:pt x="20884" y="4375"/>
                    </a:cubicBezTo>
                    <a:cubicBezTo>
                      <a:pt x="20898" y="4356"/>
                      <a:pt x="20916" y="4341"/>
                      <a:pt x="20929" y="4320"/>
                    </a:cubicBezTo>
                    <a:cubicBezTo>
                      <a:pt x="20941" y="4300"/>
                      <a:pt x="20931" y="4253"/>
                      <a:pt x="20953" y="4260"/>
                    </a:cubicBezTo>
                    <a:cubicBezTo>
                      <a:pt x="20970" y="4265"/>
                      <a:pt x="20985" y="4279"/>
                      <a:pt x="20974" y="4309"/>
                    </a:cubicBezTo>
                    <a:cubicBezTo>
                      <a:pt x="20966" y="4331"/>
                      <a:pt x="20945" y="4354"/>
                      <a:pt x="20945" y="4381"/>
                    </a:cubicBezTo>
                    <a:cubicBezTo>
                      <a:pt x="20960" y="4388"/>
                      <a:pt x="20967" y="4323"/>
                      <a:pt x="20981" y="4363"/>
                    </a:cubicBezTo>
                    <a:cubicBezTo>
                      <a:pt x="20986" y="4374"/>
                      <a:pt x="20988" y="4395"/>
                      <a:pt x="20985" y="4409"/>
                    </a:cubicBezTo>
                    <a:cubicBezTo>
                      <a:pt x="20983" y="4424"/>
                      <a:pt x="20976" y="4423"/>
                      <a:pt x="20970" y="4434"/>
                    </a:cubicBezTo>
                    <a:cubicBezTo>
                      <a:pt x="20967" y="4443"/>
                      <a:pt x="20966" y="4463"/>
                      <a:pt x="20967" y="4474"/>
                    </a:cubicBezTo>
                    <a:cubicBezTo>
                      <a:pt x="20970" y="4490"/>
                      <a:pt x="20979" y="4492"/>
                      <a:pt x="20988" y="4498"/>
                    </a:cubicBezTo>
                    <a:cubicBezTo>
                      <a:pt x="20997" y="4505"/>
                      <a:pt x="21029" y="4514"/>
                      <a:pt x="21017" y="4543"/>
                    </a:cubicBezTo>
                    <a:cubicBezTo>
                      <a:pt x="21014" y="4550"/>
                      <a:pt x="20999" y="4552"/>
                      <a:pt x="21005" y="4565"/>
                    </a:cubicBezTo>
                    <a:cubicBezTo>
                      <a:pt x="21007" y="4570"/>
                      <a:pt x="21027" y="4575"/>
                      <a:pt x="21031" y="4572"/>
                    </a:cubicBezTo>
                    <a:cubicBezTo>
                      <a:pt x="21046" y="4556"/>
                      <a:pt x="21022" y="4500"/>
                      <a:pt x="21019" y="4480"/>
                    </a:cubicBezTo>
                    <a:cubicBezTo>
                      <a:pt x="21015" y="4447"/>
                      <a:pt x="21016" y="4416"/>
                      <a:pt x="21036" y="4404"/>
                    </a:cubicBezTo>
                    <a:cubicBezTo>
                      <a:pt x="21048" y="4397"/>
                      <a:pt x="21051" y="4399"/>
                      <a:pt x="21053" y="4377"/>
                    </a:cubicBezTo>
                    <a:cubicBezTo>
                      <a:pt x="21054" y="4363"/>
                      <a:pt x="21056" y="4352"/>
                      <a:pt x="21059" y="4338"/>
                    </a:cubicBezTo>
                    <a:cubicBezTo>
                      <a:pt x="21062" y="4325"/>
                      <a:pt x="21065" y="4310"/>
                      <a:pt x="21073" y="4306"/>
                    </a:cubicBezTo>
                    <a:cubicBezTo>
                      <a:pt x="21080" y="4304"/>
                      <a:pt x="21093" y="4311"/>
                      <a:pt x="21097" y="4321"/>
                    </a:cubicBezTo>
                    <a:cubicBezTo>
                      <a:pt x="21102" y="4333"/>
                      <a:pt x="21093" y="4396"/>
                      <a:pt x="21106" y="4393"/>
                    </a:cubicBezTo>
                    <a:cubicBezTo>
                      <a:pt x="21110" y="4391"/>
                      <a:pt x="21118" y="4366"/>
                      <a:pt x="21119" y="4359"/>
                    </a:cubicBezTo>
                    <a:cubicBezTo>
                      <a:pt x="21122" y="4347"/>
                      <a:pt x="21119" y="4333"/>
                      <a:pt x="21122" y="4321"/>
                    </a:cubicBezTo>
                    <a:cubicBezTo>
                      <a:pt x="21130" y="4285"/>
                      <a:pt x="21154" y="4291"/>
                      <a:pt x="21171" y="4298"/>
                    </a:cubicBezTo>
                    <a:cubicBezTo>
                      <a:pt x="21180" y="4302"/>
                      <a:pt x="21190" y="4301"/>
                      <a:pt x="21199" y="4305"/>
                    </a:cubicBezTo>
                    <a:cubicBezTo>
                      <a:pt x="21207" y="4309"/>
                      <a:pt x="21212" y="4324"/>
                      <a:pt x="21221" y="4327"/>
                    </a:cubicBezTo>
                    <a:cubicBezTo>
                      <a:pt x="21235" y="4331"/>
                      <a:pt x="21233" y="4310"/>
                      <a:pt x="21243" y="4303"/>
                    </a:cubicBezTo>
                    <a:cubicBezTo>
                      <a:pt x="21256" y="4294"/>
                      <a:pt x="21261" y="4334"/>
                      <a:pt x="21275" y="4319"/>
                    </a:cubicBezTo>
                    <a:cubicBezTo>
                      <a:pt x="21285" y="4308"/>
                      <a:pt x="21284" y="4280"/>
                      <a:pt x="21294" y="4268"/>
                    </a:cubicBezTo>
                    <a:cubicBezTo>
                      <a:pt x="21303" y="4256"/>
                      <a:pt x="21323" y="4218"/>
                      <a:pt x="21334" y="4233"/>
                    </a:cubicBezTo>
                    <a:cubicBezTo>
                      <a:pt x="21340" y="4241"/>
                      <a:pt x="21338" y="4256"/>
                      <a:pt x="21346" y="4262"/>
                    </a:cubicBezTo>
                    <a:cubicBezTo>
                      <a:pt x="21354" y="4268"/>
                      <a:pt x="21359" y="4257"/>
                      <a:pt x="21365" y="4257"/>
                    </a:cubicBezTo>
                    <a:cubicBezTo>
                      <a:pt x="21372" y="4256"/>
                      <a:pt x="21373" y="4268"/>
                      <a:pt x="21381" y="4270"/>
                    </a:cubicBezTo>
                    <a:cubicBezTo>
                      <a:pt x="21393" y="4271"/>
                      <a:pt x="21390" y="4259"/>
                      <a:pt x="21390" y="4246"/>
                    </a:cubicBezTo>
                    <a:cubicBezTo>
                      <a:pt x="21390" y="4229"/>
                      <a:pt x="21392" y="4227"/>
                      <a:pt x="21400" y="4216"/>
                    </a:cubicBezTo>
                    <a:cubicBezTo>
                      <a:pt x="21406" y="4209"/>
                      <a:pt x="21412" y="4198"/>
                      <a:pt x="21418" y="4193"/>
                    </a:cubicBezTo>
                    <a:cubicBezTo>
                      <a:pt x="21425" y="4186"/>
                      <a:pt x="21427" y="4196"/>
                      <a:pt x="21435" y="4193"/>
                    </a:cubicBezTo>
                    <a:cubicBezTo>
                      <a:pt x="21444" y="4190"/>
                      <a:pt x="21450" y="4172"/>
                      <a:pt x="21455" y="4162"/>
                    </a:cubicBezTo>
                    <a:cubicBezTo>
                      <a:pt x="21468" y="4137"/>
                      <a:pt x="21473" y="4144"/>
                      <a:pt x="21491" y="4147"/>
                    </a:cubicBezTo>
                    <a:cubicBezTo>
                      <a:pt x="21497" y="4148"/>
                      <a:pt x="21508" y="4142"/>
                      <a:pt x="21512" y="4151"/>
                    </a:cubicBezTo>
                    <a:cubicBezTo>
                      <a:pt x="21519" y="4165"/>
                      <a:pt x="21506" y="4168"/>
                      <a:pt x="21507" y="4180"/>
                    </a:cubicBezTo>
                    <a:cubicBezTo>
                      <a:pt x="21521" y="4181"/>
                      <a:pt x="21537" y="4170"/>
                      <a:pt x="21550" y="4160"/>
                    </a:cubicBezTo>
                    <a:cubicBezTo>
                      <a:pt x="21558" y="4153"/>
                      <a:pt x="21557" y="4146"/>
                      <a:pt x="21563" y="4134"/>
                    </a:cubicBezTo>
                    <a:cubicBezTo>
                      <a:pt x="21567" y="4123"/>
                      <a:pt x="21573" y="4122"/>
                      <a:pt x="21580" y="4114"/>
                    </a:cubicBezTo>
                    <a:cubicBezTo>
                      <a:pt x="21591" y="4101"/>
                      <a:pt x="21599" y="4067"/>
                      <a:pt x="21583" y="4059"/>
                    </a:cubicBezTo>
                    <a:cubicBezTo>
                      <a:pt x="21564" y="4050"/>
                      <a:pt x="21513" y="3976"/>
                      <a:pt x="21546" y="3950"/>
                    </a:cubicBezTo>
                    <a:cubicBezTo>
                      <a:pt x="21553" y="3944"/>
                      <a:pt x="21565" y="3940"/>
                      <a:pt x="21573" y="3939"/>
                    </a:cubicBezTo>
                    <a:cubicBezTo>
                      <a:pt x="21581" y="3938"/>
                      <a:pt x="21592" y="3945"/>
                      <a:pt x="21590" y="3926"/>
                    </a:cubicBezTo>
                    <a:cubicBezTo>
                      <a:pt x="21589" y="3912"/>
                      <a:pt x="21580" y="3890"/>
                      <a:pt x="21576" y="3877"/>
                    </a:cubicBezTo>
                    <a:cubicBezTo>
                      <a:pt x="21571" y="3861"/>
                      <a:pt x="21566" y="3848"/>
                      <a:pt x="21560" y="3834"/>
                    </a:cubicBezTo>
                    <a:cubicBezTo>
                      <a:pt x="21551" y="3810"/>
                      <a:pt x="21543" y="3772"/>
                      <a:pt x="21528" y="3758"/>
                    </a:cubicBezTo>
                    <a:cubicBezTo>
                      <a:pt x="21525" y="3754"/>
                      <a:pt x="21521" y="3756"/>
                      <a:pt x="21517" y="3753"/>
                    </a:cubicBezTo>
                    <a:cubicBezTo>
                      <a:pt x="21513" y="3751"/>
                      <a:pt x="21514" y="3744"/>
                      <a:pt x="21508" y="3746"/>
                    </a:cubicBezTo>
                    <a:cubicBezTo>
                      <a:pt x="21501" y="3748"/>
                      <a:pt x="21499" y="3766"/>
                      <a:pt x="21497" y="3776"/>
                    </a:cubicBezTo>
                    <a:cubicBezTo>
                      <a:pt x="21476" y="3801"/>
                      <a:pt x="21461" y="3751"/>
                      <a:pt x="21455" y="3726"/>
                    </a:cubicBezTo>
                    <a:cubicBezTo>
                      <a:pt x="21445" y="3686"/>
                      <a:pt x="21436" y="3648"/>
                      <a:pt x="21436" y="3605"/>
                    </a:cubicBezTo>
                    <a:cubicBezTo>
                      <a:pt x="21436" y="3597"/>
                      <a:pt x="21435" y="3587"/>
                      <a:pt x="21438" y="3583"/>
                    </a:cubicBezTo>
                    <a:cubicBezTo>
                      <a:pt x="21440" y="3579"/>
                      <a:pt x="21446" y="3582"/>
                      <a:pt x="21448" y="3577"/>
                    </a:cubicBezTo>
                    <a:cubicBezTo>
                      <a:pt x="21459" y="3557"/>
                      <a:pt x="21432" y="3517"/>
                      <a:pt x="21426" y="3499"/>
                    </a:cubicBezTo>
                    <a:cubicBezTo>
                      <a:pt x="21415" y="3467"/>
                      <a:pt x="21429" y="3450"/>
                      <a:pt x="21442" y="3432"/>
                    </a:cubicBezTo>
                    <a:cubicBezTo>
                      <a:pt x="21453" y="3417"/>
                      <a:pt x="21458" y="3381"/>
                      <a:pt x="21443" y="3369"/>
                    </a:cubicBezTo>
                    <a:cubicBezTo>
                      <a:pt x="21433" y="3361"/>
                      <a:pt x="21418" y="3363"/>
                      <a:pt x="21409" y="3370"/>
                    </a:cubicBezTo>
                    <a:cubicBezTo>
                      <a:pt x="21401" y="3375"/>
                      <a:pt x="21395" y="3381"/>
                      <a:pt x="21386" y="3380"/>
                    </a:cubicBezTo>
                    <a:cubicBezTo>
                      <a:pt x="21369" y="3378"/>
                      <a:pt x="21372" y="3362"/>
                      <a:pt x="21366" y="3343"/>
                    </a:cubicBezTo>
                    <a:cubicBezTo>
                      <a:pt x="21361" y="3329"/>
                      <a:pt x="21350" y="3324"/>
                      <a:pt x="21341" y="3316"/>
                    </a:cubicBezTo>
                    <a:cubicBezTo>
                      <a:pt x="21327" y="3303"/>
                      <a:pt x="21305" y="3295"/>
                      <a:pt x="21303" y="3262"/>
                    </a:cubicBezTo>
                    <a:cubicBezTo>
                      <a:pt x="21302" y="3230"/>
                      <a:pt x="21318" y="3201"/>
                      <a:pt x="21316" y="3170"/>
                    </a:cubicBezTo>
                    <a:cubicBezTo>
                      <a:pt x="21314" y="3136"/>
                      <a:pt x="21304" y="3123"/>
                      <a:pt x="21322" y="3095"/>
                    </a:cubicBezTo>
                    <a:cubicBezTo>
                      <a:pt x="21329" y="3083"/>
                      <a:pt x="21330" y="3072"/>
                      <a:pt x="21334" y="3057"/>
                    </a:cubicBezTo>
                    <a:lnTo>
                      <a:pt x="21325" y="2710"/>
                    </a:lnTo>
                    <a:lnTo>
                      <a:pt x="21322" y="2458"/>
                    </a:lnTo>
                    <a:cubicBezTo>
                      <a:pt x="21319" y="2343"/>
                      <a:pt x="21316" y="2229"/>
                      <a:pt x="21312" y="2114"/>
                    </a:cubicBezTo>
                    <a:cubicBezTo>
                      <a:pt x="21312" y="2098"/>
                      <a:pt x="21314" y="2081"/>
                      <a:pt x="21309" y="2066"/>
                    </a:cubicBezTo>
                    <a:cubicBezTo>
                      <a:pt x="21302" y="2044"/>
                      <a:pt x="21287" y="2031"/>
                      <a:pt x="21276" y="2016"/>
                    </a:cubicBezTo>
                    <a:cubicBezTo>
                      <a:pt x="21262" y="1996"/>
                      <a:pt x="21250" y="1968"/>
                      <a:pt x="21238" y="1943"/>
                    </a:cubicBezTo>
                    <a:cubicBezTo>
                      <a:pt x="21224" y="1913"/>
                      <a:pt x="21210" y="1875"/>
                      <a:pt x="21189" y="1856"/>
                    </a:cubicBezTo>
                    <a:cubicBezTo>
                      <a:pt x="21171" y="1839"/>
                      <a:pt x="21149" y="1808"/>
                      <a:pt x="21127" y="1811"/>
                    </a:cubicBezTo>
                    <a:cubicBezTo>
                      <a:pt x="21121" y="1812"/>
                      <a:pt x="21111" y="1812"/>
                      <a:pt x="21107" y="1819"/>
                    </a:cubicBezTo>
                    <a:cubicBezTo>
                      <a:pt x="21100" y="1829"/>
                      <a:pt x="21102" y="1850"/>
                      <a:pt x="21102" y="1863"/>
                    </a:cubicBezTo>
                    <a:cubicBezTo>
                      <a:pt x="21102" y="1908"/>
                      <a:pt x="21075" y="1877"/>
                      <a:pt x="21062" y="1865"/>
                    </a:cubicBezTo>
                    <a:cubicBezTo>
                      <a:pt x="21041" y="1846"/>
                      <a:pt x="21036" y="1873"/>
                      <a:pt x="21018" y="1887"/>
                    </a:cubicBezTo>
                    <a:cubicBezTo>
                      <a:pt x="21011" y="1893"/>
                      <a:pt x="21006" y="1904"/>
                      <a:pt x="20999" y="1909"/>
                    </a:cubicBezTo>
                    <a:cubicBezTo>
                      <a:pt x="20992" y="1914"/>
                      <a:pt x="20982" y="1912"/>
                      <a:pt x="20974" y="1915"/>
                    </a:cubicBezTo>
                    <a:cubicBezTo>
                      <a:pt x="20966" y="1918"/>
                      <a:pt x="20955" y="1922"/>
                      <a:pt x="20948" y="1927"/>
                    </a:cubicBezTo>
                    <a:cubicBezTo>
                      <a:pt x="20939" y="1933"/>
                      <a:pt x="20933" y="1945"/>
                      <a:pt x="20925" y="1950"/>
                    </a:cubicBezTo>
                    <a:cubicBezTo>
                      <a:pt x="20909" y="1960"/>
                      <a:pt x="20887" y="1954"/>
                      <a:pt x="20875" y="1935"/>
                    </a:cubicBezTo>
                    <a:cubicBezTo>
                      <a:pt x="20862" y="1915"/>
                      <a:pt x="20848" y="1902"/>
                      <a:pt x="20845" y="1870"/>
                    </a:cubicBezTo>
                    <a:cubicBezTo>
                      <a:pt x="20843" y="1839"/>
                      <a:pt x="20850" y="1811"/>
                      <a:pt x="20850" y="1782"/>
                    </a:cubicBezTo>
                    <a:cubicBezTo>
                      <a:pt x="20850" y="1758"/>
                      <a:pt x="20841" y="1742"/>
                      <a:pt x="20829" y="1733"/>
                    </a:cubicBezTo>
                    <a:cubicBezTo>
                      <a:pt x="20813" y="1721"/>
                      <a:pt x="20798" y="1737"/>
                      <a:pt x="20784" y="1746"/>
                    </a:cubicBezTo>
                    <a:cubicBezTo>
                      <a:pt x="20775" y="1751"/>
                      <a:pt x="20767" y="1754"/>
                      <a:pt x="20760" y="1766"/>
                    </a:cubicBezTo>
                    <a:cubicBezTo>
                      <a:pt x="20754" y="1778"/>
                      <a:pt x="20750" y="1795"/>
                      <a:pt x="20745" y="1809"/>
                    </a:cubicBezTo>
                    <a:cubicBezTo>
                      <a:pt x="20735" y="1836"/>
                      <a:pt x="20724" y="1859"/>
                      <a:pt x="20713" y="1884"/>
                    </a:cubicBezTo>
                    <a:cubicBezTo>
                      <a:pt x="20706" y="1899"/>
                      <a:pt x="20699" y="1914"/>
                      <a:pt x="20691" y="1928"/>
                    </a:cubicBezTo>
                    <a:cubicBezTo>
                      <a:pt x="20686" y="1938"/>
                      <a:pt x="20677" y="1948"/>
                      <a:pt x="20674" y="1961"/>
                    </a:cubicBezTo>
                    <a:cubicBezTo>
                      <a:pt x="20671" y="1972"/>
                      <a:pt x="20676" y="1993"/>
                      <a:pt x="20671" y="2003"/>
                    </a:cubicBezTo>
                    <a:cubicBezTo>
                      <a:pt x="20666" y="2012"/>
                      <a:pt x="20656" y="2009"/>
                      <a:pt x="20649" y="2022"/>
                    </a:cubicBezTo>
                    <a:cubicBezTo>
                      <a:pt x="20633" y="2055"/>
                      <a:pt x="20617" y="2090"/>
                      <a:pt x="20602" y="2124"/>
                    </a:cubicBezTo>
                    <a:cubicBezTo>
                      <a:pt x="20597" y="2136"/>
                      <a:pt x="20590" y="2146"/>
                      <a:pt x="20585" y="2158"/>
                    </a:cubicBezTo>
                    <a:cubicBezTo>
                      <a:pt x="20570" y="2189"/>
                      <a:pt x="20557" y="2224"/>
                      <a:pt x="20546" y="2260"/>
                    </a:cubicBezTo>
                    <a:cubicBezTo>
                      <a:pt x="20541" y="2277"/>
                      <a:pt x="20538" y="2297"/>
                      <a:pt x="20533" y="2314"/>
                    </a:cubicBezTo>
                    <a:cubicBezTo>
                      <a:pt x="20528" y="2328"/>
                      <a:pt x="20518" y="2339"/>
                      <a:pt x="20511" y="2352"/>
                    </a:cubicBezTo>
                    <a:cubicBezTo>
                      <a:pt x="20502" y="2371"/>
                      <a:pt x="20486" y="2392"/>
                      <a:pt x="20483" y="2417"/>
                    </a:cubicBezTo>
                    <a:cubicBezTo>
                      <a:pt x="20478" y="2459"/>
                      <a:pt x="20485" y="2501"/>
                      <a:pt x="20482" y="2543"/>
                    </a:cubicBezTo>
                    <a:cubicBezTo>
                      <a:pt x="20479" y="2586"/>
                      <a:pt x="20469" y="2613"/>
                      <a:pt x="20453" y="2648"/>
                    </a:cubicBezTo>
                    <a:cubicBezTo>
                      <a:pt x="20441" y="2676"/>
                      <a:pt x="20428" y="2704"/>
                      <a:pt x="20415" y="2731"/>
                    </a:cubicBezTo>
                    <a:cubicBezTo>
                      <a:pt x="20402" y="2757"/>
                      <a:pt x="20392" y="2776"/>
                      <a:pt x="20391" y="2811"/>
                    </a:cubicBezTo>
                    <a:cubicBezTo>
                      <a:pt x="20391" y="2825"/>
                      <a:pt x="20388" y="2843"/>
                      <a:pt x="20390" y="2857"/>
                    </a:cubicBezTo>
                    <a:cubicBezTo>
                      <a:pt x="20392" y="2873"/>
                      <a:pt x="20397" y="2883"/>
                      <a:pt x="20397" y="2900"/>
                    </a:cubicBezTo>
                    <a:cubicBezTo>
                      <a:pt x="20396" y="2926"/>
                      <a:pt x="20381" y="2921"/>
                      <a:pt x="20378" y="2942"/>
                    </a:cubicBezTo>
                    <a:cubicBezTo>
                      <a:pt x="20374" y="2963"/>
                      <a:pt x="20390" y="2995"/>
                      <a:pt x="20394" y="3014"/>
                    </a:cubicBezTo>
                    <a:cubicBezTo>
                      <a:pt x="20401" y="3048"/>
                      <a:pt x="20405" y="3091"/>
                      <a:pt x="20392" y="3123"/>
                    </a:cubicBezTo>
                    <a:cubicBezTo>
                      <a:pt x="20381" y="3153"/>
                      <a:pt x="20352" y="3145"/>
                      <a:pt x="20343" y="3175"/>
                    </a:cubicBezTo>
                    <a:cubicBezTo>
                      <a:pt x="20340" y="3187"/>
                      <a:pt x="20345" y="3203"/>
                      <a:pt x="20346" y="3215"/>
                    </a:cubicBezTo>
                    <a:cubicBezTo>
                      <a:pt x="20347" y="3236"/>
                      <a:pt x="20344" y="3242"/>
                      <a:pt x="20337" y="3257"/>
                    </a:cubicBezTo>
                    <a:cubicBezTo>
                      <a:pt x="20332" y="3267"/>
                      <a:pt x="20328" y="3282"/>
                      <a:pt x="20322" y="3290"/>
                    </a:cubicBezTo>
                    <a:cubicBezTo>
                      <a:pt x="20314" y="3298"/>
                      <a:pt x="20305" y="3305"/>
                      <a:pt x="20297" y="3311"/>
                    </a:cubicBezTo>
                    <a:cubicBezTo>
                      <a:pt x="20289" y="3318"/>
                      <a:pt x="20279" y="3321"/>
                      <a:pt x="20271" y="3327"/>
                    </a:cubicBezTo>
                    <a:cubicBezTo>
                      <a:pt x="20262" y="3334"/>
                      <a:pt x="20258" y="3347"/>
                      <a:pt x="20251" y="3359"/>
                    </a:cubicBezTo>
                    <a:cubicBezTo>
                      <a:pt x="20244" y="3369"/>
                      <a:pt x="20233" y="3377"/>
                      <a:pt x="20228" y="3389"/>
                    </a:cubicBezTo>
                    <a:cubicBezTo>
                      <a:pt x="20222" y="3401"/>
                      <a:pt x="20225" y="3419"/>
                      <a:pt x="20222" y="3432"/>
                    </a:cubicBezTo>
                    <a:cubicBezTo>
                      <a:pt x="20220" y="3445"/>
                      <a:pt x="20211" y="3455"/>
                      <a:pt x="20213" y="3469"/>
                    </a:cubicBezTo>
                    <a:cubicBezTo>
                      <a:pt x="20215" y="3483"/>
                      <a:pt x="20228" y="3495"/>
                      <a:pt x="20235" y="3499"/>
                    </a:cubicBezTo>
                    <a:cubicBezTo>
                      <a:pt x="20243" y="3504"/>
                      <a:pt x="20250" y="3505"/>
                      <a:pt x="20253" y="3519"/>
                    </a:cubicBezTo>
                    <a:cubicBezTo>
                      <a:pt x="20258" y="3536"/>
                      <a:pt x="20255" y="3547"/>
                      <a:pt x="20244" y="3547"/>
                    </a:cubicBezTo>
                    <a:cubicBezTo>
                      <a:pt x="20222" y="3548"/>
                      <a:pt x="20219" y="3506"/>
                      <a:pt x="20199" y="3501"/>
                    </a:cubicBezTo>
                    <a:cubicBezTo>
                      <a:pt x="20175" y="3495"/>
                      <a:pt x="20184" y="3579"/>
                      <a:pt x="20184" y="3600"/>
                    </a:cubicBezTo>
                    <a:cubicBezTo>
                      <a:pt x="20184" y="3616"/>
                      <a:pt x="20181" y="3627"/>
                      <a:pt x="20178" y="3642"/>
                    </a:cubicBezTo>
                    <a:cubicBezTo>
                      <a:pt x="20177" y="3651"/>
                      <a:pt x="20175" y="3674"/>
                      <a:pt x="20170" y="3680"/>
                    </a:cubicBezTo>
                    <a:cubicBezTo>
                      <a:pt x="20164" y="3688"/>
                      <a:pt x="20160" y="3670"/>
                      <a:pt x="20157" y="3661"/>
                    </a:cubicBezTo>
                    <a:cubicBezTo>
                      <a:pt x="20151" y="3645"/>
                      <a:pt x="20144" y="3631"/>
                      <a:pt x="20140" y="3614"/>
                    </a:cubicBezTo>
                    <a:cubicBezTo>
                      <a:pt x="20137" y="3604"/>
                      <a:pt x="20136" y="3585"/>
                      <a:pt x="20131" y="3576"/>
                    </a:cubicBezTo>
                    <a:cubicBezTo>
                      <a:pt x="20123" y="3562"/>
                      <a:pt x="20120" y="3581"/>
                      <a:pt x="20119" y="3595"/>
                    </a:cubicBezTo>
                    <a:cubicBezTo>
                      <a:pt x="20118" y="3613"/>
                      <a:pt x="20121" y="3621"/>
                      <a:pt x="20111" y="3632"/>
                    </a:cubicBezTo>
                    <a:cubicBezTo>
                      <a:pt x="20106" y="3637"/>
                      <a:pt x="20102" y="3639"/>
                      <a:pt x="20097" y="3641"/>
                    </a:cubicBezTo>
                    <a:cubicBezTo>
                      <a:pt x="20094" y="3644"/>
                      <a:pt x="20091" y="3646"/>
                      <a:pt x="20089" y="3651"/>
                    </a:cubicBezTo>
                    <a:cubicBezTo>
                      <a:pt x="20083" y="3663"/>
                      <a:pt x="20084" y="3673"/>
                      <a:pt x="20075" y="3680"/>
                    </a:cubicBezTo>
                    <a:cubicBezTo>
                      <a:pt x="20067" y="3686"/>
                      <a:pt x="20058" y="3690"/>
                      <a:pt x="20050" y="3682"/>
                    </a:cubicBezTo>
                    <a:cubicBezTo>
                      <a:pt x="20037" y="3669"/>
                      <a:pt x="20026" y="3621"/>
                      <a:pt x="20009" y="3644"/>
                    </a:cubicBezTo>
                    <a:cubicBezTo>
                      <a:pt x="19997" y="3659"/>
                      <a:pt x="19983" y="3684"/>
                      <a:pt x="19975" y="3704"/>
                    </a:cubicBezTo>
                    <a:cubicBezTo>
                      <a:pt x="19968" y="3722"/>
                      <a:pt x="19967" y="3740"/>
                      <a:pt x="19964" y="3760"/>
                    </a:cubicBezTo>
                    <a:cubicBezTo>
                      <a:pt x="19961" y="3781"/>
                      <a:pt x="19954" y="3793"/>
                      <a:pt x="19948" y="3811"/>
                    </a:cubicBezTo>
                    <a:cubicBezTo>
                      <a:pt x="19938" y="3842"/>
                      <a:pt x="19934" y="3871"/>
                      <a:pt x="19916" y="3886"/>
                    </a:cubicBezTo>
                    <a:cubicBezTo>
                      <a:pt x="19914" y="3888"/>
                      <a:pt x="19911" y="3890"/>
                      <a:pt x="19909" y="3891"/>
                    </a:cubicBezTo>
                    <a:cubicBezTo>
                      <a:pt x="19869" y="3890"/>
                      <a:pt x="19828" y="3890"/>
                      <a:pt x="19787" y="3890"/>
                    </a:cubicBezTo>
                    <a:cubicBezTo>
                      <a:pt x="19706" y="3889"/>
                      <a:pt x="19624" y="3888"/>
                      <a:pt x="19543" y="3887"/>
                    </a:cubicBezTo>
                    <a:cubicBezTo>
                      <a:pt x="19481" y="3886"/>
                      <a:pt x="19418" y="3885"/>
                      <a:pt x="19356" y="3885"/>
                    </a:cubicBezTo>
                    <a:cubicBezTo>
                      <a:pt x="19338" y="3885"/>
                      <a:pt x="19320" y="3875"/>
                      <a:pt x="19302" y="3877"/>
                    </a:cubicBezTo>
                    <a:cubicBezTo>
                      <a:pt x="19293" y="3877"/>
                      <a:pt x="19283" y="3883"/>
                      <a:pt x="19275" y="3888"/>
                    </a:cubicBezTo>
                    <a:cubicBezTo>
                      <a:pt x="19262" y="3896"/>
                      <a:pt x="19253" y="3904"/>
                      <a:pt x="19240" y="3907"/>
                    </a:cubicBezTo>
                    <a:cubicBezTo>
                      <a:pt x="19237" y="3908"/>
                      <a:pt x="19234" y="3908"/>
                      <a:pt x="19230" y="3908"/>
                    </a:cubicBezTo>
                    <a:cubicBezTo>
                      <a:pt x="19193" y="3908"/>
                      <a:pt x="19155" y="3908"/>
                      <a:pt x="19117" y="3908"/>
                    </a:cubicBezTo>
                    <a:cubicBezTo>
                      <a:pt x="19039" y="3907"/>
                      <a:pt x="18960" y="3906"/>
                      <a:pt x="18882" y="3906"/>
                    </a:cubicBezTo>
                    <a:cubicBezTo>
                      <a:pt x="18814" y="3905"/>
                      <a:pt x="18747" y="3905"/>
                      <a:pt x="18679" y="3904"/>
                    </a:cubicBezTo>
                    <a:cubicBezTo>
                      <a:pt x="18670" y="3904"/>
                      <a:pt x="18660" y="3904"/>
                      <a:pt x="18651" y="3904"/>
                    </a:cubicBezTo>
                    <a:cubicBezTo>
                      <a:pt x="18648" y="3904"/>
                      <a:pt x="18645" y="3904"/>
                      <a:pt x="18642" y="3904"/>
                    </a:cubicBezTo>
                    <a:cubicBezTo>
                      <a:pt x="18625" y="3904"/>
                      <a:pt x="18616" y="3923"/>
                      <a:pt x="18602" y="3937"/>
                    </a:cubicBezTo>
                    <a:cubicBezTo>
                      <a:pt x="18588" y="3952"/>
                      <a:pt x="18576" y="3970"/>
                      <a:pt x="18563" y="3986"/>
                    </a:cubicBezTo>
                    <a:cubicBezTo>
                      <a:pt x="18549" y="4003"/>
                      <a:pt x="18534" y="4020"/>
                      <a:pt x="18518" y="4033"/>
                    </a:cubicBezTo>
                    <a:cubicBezTo>
                      <a:pt x="18503" y="4047"/>
                      <a:pt x="18487" y="4055"/>
                      <a:pt x="18475" y="4076"/>
                    </a:cubicBezTo>
                    <a:cubicBezTo>
                      <a:pt x="18462" y="4099"/>
                      <a:pt x="18454" y="4125"/>
                      <a:pt x="18441" y="4148"/>
                    </a:cubicBezTo>
                    <a:cubicBezTo>
                      <a:pt x="18426" y="4174"/>
                      <a:pt x="18414" y="4203"/>
                      <a:pt x="18399" y="4228"/>
                    </a:cubicBezTo>
                    <a:cubicBezTo>
                      <a:pt x="18386" y="4250"/>
                      <a:pt x="18371" y="4271"/>
                      <a:pt x="18357" y="4292"/>
                    </a:cubicBezTo>
                    <a:cubicBezTo>
                      <a:pt x="18351" y="4301"/>
                      <a:pt x="18342" y="4308"/>
                      <a:pt x="18336" y="4319"/>
                    </a:cubicBezTo>
                    <a:cubicBezTo>
                      <a:pt x="18332" y="4328"/>
                      <a:pt x="18333" y="4342"/>
                      <a:pt x="18333" y="4354"/>
                    </a:cubicBezTo>
                    <a:cubicBezTo>
                      <a:pt x="18333" y="4367"/>
                      <a:pt x="18334" y="4381"/>
                      <a:pt x="18333" y="4394"/>
                    </a:cubicBezTo>
                    <a:cubicBezTo>
                      <a:pt x="18331" y="4412"/>
                      <a:pt x="18328" y="4412"/>
                      <a:pt x="18320" y="4420"/>
                    </a:cubicBezTo>
                    <a:cubicBezTo>
                      <a:pt x="18313" y="4426"/>
                      <a:pt x="18310" y="4436"/>
                      <a:pt x="18303" y="4439"/>
                    </a:cubicBezTo>
                    <a:cubicBezTo>
                      <a:pt x="18290" y="4445"/>
                      <a:pt x="18281" y="4438"/>
                      <a:pt x="18270" y="4452"/>
                    </a:cubicBezTo>
                    <a:cubicBezTo>
                      <a:pt x="18262" y="4463"/>
                      <a:pt x="18256" y="4479"/>
                      <a:pt x="18250" y="4495"/>
                    </a:cubicBezTo>
                    <a:cubicBezTo>
                      <a:pt x="18241" y="4520"/>
                      <a:pt x="18226" y="4543"/>
                      <a:pt x="18213" y="4562"/>
                    </a:cubicBezTo>
                    <a:cubicBezTo>
                      <a:pt x="18197" y="4582"/>
                      <a:pt x="18182" y="4572"/>
                      <a:pt x="18165" y="4582"/>
                    </a:cubicBezTo>
                    <a:cubicBezTo>
                      <a:pt x="18152" y="4590"/>
                      <a:pt x="18140" y="4625"/>
                      <a:pt x="18133" y="4645"/>
                    </a:cubicBezTo>
                    <a:cubicBezTo>
                      <a:pt x="18127" y="4663"/>
                      <a:pt x="18123" y="4710"/>
                      <a:pt x="18131" y="4728"/>
                    </a:cubicBezTo>
                    <a:cubicBezTo>
                      <a:pt x="18137" y="4742"/>
                      <a:pt x="18140" y="4734"/>
                      <a:pt x="18148" y="4726"/>
                    </a:cubicBezTo>
                    <a:cubicBezTo>
                      <a:pt x="18156" y="4719"/>
                      <a:pt x="18164" y="4717"/>
                      <a:pt x="18173" y="4719"/>
                    </a:cubicBezTo>
                    <a:cubicBezTo>
                      <a:pt x="18183" y="4720"/>
                      <a:pt x="18186" y="4729"/>
                      <a:pt x="18194" y="4741"/>
                    </a:cubicBezTo>
                    <a:cubicBezTo>
                      <a:pt x="18200" y="4752"/>
                      <a:pt x="18207" y="4760"/>
                      <a:pt x="18213" y="4773"/>
                    </a:cubicBezTo>
                    <a:cubicBezTo>
                      <a:pt x="18215" y="4780"/>
                      <a:pt x="18226" y="4802"/>
                      <a:pt x="18222" y="4810"/>
                    </a:cubicBezTo>
                    <a:cubicBezTo>
                      <a:pt x="18218" y="4821"/>
                      <a:pt x="18203" y="4814"/>
                      <a:pt x="18198" y="4813"/>
                    </a:cubicBezTo>
                    <a:cubicBezTo>
                      <a:pt x="18182" y="4809"/>
                      <a:pt x="18187" y="4838"/>
                      <a:pt x="18187" y="4856"/>
                    </a:cubicBezTo>
                    <a:cubicBezTo>
                      <a:pt x="18188" y="4878"/>
                      <a:pt x="18188" y="4904"/>
                      <a:pt x="18176" y="4917"/>
                    </a:cubicBezTo>
                    <a:cubicBezTo>
                      <a:pt x="18164" y="4929"/>
                      <a:pt x="18142" y="4893"/>
                      <a:pt x="18148" y="4937"/>
                    </a:cubicBezTo>
                    <a:cubicBezTo>
                      <a:pt x="18151" y="4965"/>
                      <a:pt x="18164" y="4996"/>
                      <a:pt x="18172" y="5020"/>
                    </a:cubicBezTo>
                    <a:cubicBezTo>
                      <a:pt x="18181" y="5048"/>
                      <a:pt x="18189" y="5076"/>
                      <a:pt x="18186" y="5107"/>
                    </a:cubicBezTo>
                    <a:cubicBezTo>
                      <a:pt x="18185" y="5121"/>
                      <a:pt x="18183" y="5135"/>
                      <a:pt x="18183" y="5149"/>
                    </a:cubicBezTo>
                    <a:cubicBezTo>
                      <a:pt x="18182" y="5161"/>
                      <a:pt x="18184" y="5170"/>
                      <a:pt x="18179" y="5180"/>
                    </a:cubicBezTo>
                    <a:cubicBezTo>
                      <a:pt x="18170" y="5195"/>
                      <a:pt x="18153" y="5193"/>
                      <a:pt x="18142" y="5198"/>
                    </a:cubicBezTo>
                    <a:cubicBezTo>
                      <a:pt x="18132" y="5203"/>
                      <a:pt x="18123" y="5210"/>
                      <a:pt x="18114" y="5214"/>
                    </a:cubicBezTo>
                    <a:cubicBezTo>
                      <a:pt x="18105" y="5217"/>
                      <a:pt x="18095" y="5218"/>
                      <a:pt x="18087" y="5222"/>
                    </a:cubicBezTo>
                    <a:cubicBezTo>
                      <a:pt x="18068" y="5232"/>
                      <a:pt x="18055" y="5265"/>
                      <a:pt x="18041" y="5286"/>
                    </a:cubicBezTo>
                    <a:cubicBezTo>
                      <a:pt x="18027" y="5307"/>
                      <a:pt x="18016" y="5332"/>
                      <a:pt x="18002" y="5353"/>
                    </a:cubicBezTo>
                    <a:cubicBezTo>
                      <a:pt x="17991" y="5371"/>
                      <a:pt x="17975" y="5392"/>
                      <a:pt x="17960" y="5401"/>
                    </a:cubicBezTo>
                    <a:cubicBezTo>
                      <a:pt x="17952" y="5405"/>
                      <a:pt x="17943" y="5406"/>
                      <a:pt x="17935" y="5410"/>
                    </a:cubicBezTo>
                    <a:cubicBezTo>
                      <a:pt x="17926" y="5414"/>
                      <a:pt x="17918" y="5422"/>
                      <a:pt x="17909" y="5428"/>
                    </a:cubicBezTo>
                    <a:cubicBezTo>
                      <a:pt x="17897" y="5435"/>
                      <a:pt x="17883" y="5451"/>
                      <a:pt x="17870" y="5449"/>
                    </a:cubicBezTo>
                    <a:cubicBezTo>
                      <a:pt x="17858" y="5447"/>
                      <a:pt x="17848" y="5432"/>
                      <a:pt x="17836" y="5429"/>
                    </a:cubicBezTo>
                    <a:cubicBezTo>
                      <a:pt x="17826" y="5427"/>
                      <a:pt x="17814" y="5432"/>
                      <a:pt x="17803" y="5433"/>
                    </a:cubicBezTo>
                    <a:cubicBezTo>
                      <a:pt x="17793" y="5433"/>
                      <a:pt x="17782" y="5434"/>
                      <a:pt x="17772" y="5436"/>
                    </a:cubicBezTo>
                    <a:cubicBezTo>
                      <a:pt x="17750" y="5439"/>
                      <a:pt x="17727" y="5434"/>
                      <a:pt x="17706" y="5442"/>
                    </a:cubicBezTo>
                    <a:cubicBezTo>
                      <a:pt x="17687" y="5450"/>
                      <a:pt x="17673" y="5485"/>
                      <a:pt x="17650" y="5477"/>
                    </a:cubicBezTo>
                    <a:cubicBezTo>
                      <a:pt x="17631" y="5470"/>
                      <a:pt x="17620" y="5437"/>
                      <a:pt x="17607" y="5416"/>
                    </a:cubicBezTo>
                    <a:cubicBezTo>
                      <a:pt x="17588" y="5386"/>
                      <a:pt x="17568" y="5381"/>
                      <a:pt x="17544" y="5369"/>
                    </a:cubicBezTo>
                    <a:cubicBezTo>
                      <a:pt x="17521" y="5357"/>
                      <a:pt x="17499" y="5350"/>
                      <a:pt x="17477" y="5336"/>
                    </a:cubicBezTo>
                    <a:cubicBezTo>
                      <a:pt x="17467" y="5329"/>
                      <a:pt x="17462" y="5329"/>
                      <a:pt x="17454" y="5340"/>
                    </a:cubicBezTo>
                    <a:cubicBezTo>
                      <a:pt x="17446" y="5351"/>
                      <a:pt x="17442" y="5361"/>
                      <a:pt x="17431" y="5361"/>
                    </a:cubicBezTo>
                    <a:cubicBezTo>
                      <a:pt x="17407" y="5361"/>
                      <a:pt x="17388" y="5332"/>
                      <a:pt x="17364" y="5332"/>
                    </a:cubicBezTo>
                    <a:cubicBezTo>
                      <a:pt x="17344" y="5332"/>
                      <a:pt x="17326" y="5348"/>
                      <a:pt x="17306" y="5354"/>
                    </a:cubicBezTo>
                    <a:cubicBezTo>
                      <a:pt x="17278" y="5363"/>
                      <a:pt x="17250" y="5377"/>
                      <a:pt x="17223" y="5390"/>
                    </a:cubicBezTo>
                    <a:cubicBezTo>
                      <a:pt x="17198" y="5401"/>
                      <a:pt x="17172" y="5409"/>
                      <a:pt x="17147" y="5424"/>
                    </a:cubicBezTo>
                    <a:cubicBezTo>
                      <a:pt x="17139" y="5428"/>
                      <a:pt x="17131" y="5433"/>
                      <a:pt x="17121" y="5434"/>
                    </a:cubicBezTo>
                    <a:cubicBezTo>
                      <a:pt x="17109" y="5437"/>
                      <a:pt x="17109" y="5444"/>
                      <a:pt x="17108" y="5463"/>
                    </a:cubicBezTo>
                    <a:cubicBezTo>
                      <a:pt x="17106" y="5490"/>
                      <a:pt x="17104" y="5518"/>
                      <a:pt x="17104" y="5545"/>
                    </a:cubicBezTo>
                    <a:cubicBezTo>
                      <a:pt x="17104" y="5560"/>
                      <a:pt x="17104" y="5571"/>
                      <a:pt x="17110" y="5583"/>
                    </a:cubicBezTo>
                    <a:cubicBezTo>
                      <a:pt x="17116" y="5595"/>
                      <a:pt x="17125" y="5596"/>
                      <a:pt x="17134" y="5602"/>
                    </a:cubicBezTo>
                    <a:cubicBezTo>
                      <a:pt x="17140" y="5606"/>
                      <a:pt x="17152" y="5614"/>
                      <a:pt x="17158" y="5623"/>
                    </a:cubicBezTo>
                    <a:cubicBezTo>
                      <a:pt x="17166" y="5636"/>
                      <a:pt x="17160" y="5646"/>
                      <a:pt x="17157" y="5660"/>
                    </a:cubicBezTo>
                    <a:cubicBezTo>
                      <a:pt x="17149" y="5696"/>
                      <a:pt x="17160" y="5714"/>
                      <a:pt x="17167" y="5746"/>
                    </a:cubicBezTo>
                    <a:cubicBezTo>
                      <a:pt x="17173" y="5776"/>
                      <a:pt x="17170" y="5819"/>
                      <a:pt x="17167" y="5850"/>
                    </a:cubicBezTo>
                    <a:cubicBezTo>
                      <a:pt x="17165" y="5884"/>
                      <a:pt x="17158" y="5907"/>
                      <a:pt x="17143" y="5931"/>
                    </a:cubicBezTo>
                    <a:cubicBezTo>
                      <a:pt x="17127" y="5957"/>
                      <a:pt x="17114" y="5983"/>
                      <a:pt x="17102" y="6014"/>
                    </a:cubicBezTo>
                    <a:cubicBezTo>
                      <a:pt x="17093" y="6035"/>
                      <a:pt x="17075" y="6062"/>
                      <a:pt x="17060" y="6070"/>
                    </a:cubicBezTo>
                    <a:cubicBezTo>
                      <a:pt x="17041" y="6080"/>
                      <a:pt x="17026" y="6064"/>
                      <a:pt x="17013" y="6095"/>
                    </a:cubicBezTo>
                    <a:cubicBezTo>
                      <a:pt x="17002" y="6119"/>
                      <a:pt x="16985" y="6136"/>
                      <a:pt x="16971" y="6156"/>
                    </a:cubicBezTo>
                    <a:cubicBezTo>
                      <a:pt x="16954" y="6179"/>
                      <a:pt x="16937" y="6204"/>
                      <a:pt x="16920" y="6227"/>
                    </a:cubicBezTo>
                    <a:cubicBezTo>
                      <a:pt x="16894" y="6262"/>
                      <a:pt x="16866" y="6292"/>
                      <a:pt x="16838" y="6322"/>
                    </a:cubicBezTo>
                    <a:cubicBezTo>
                      <a:pt x="16832" y="6328"/>
                      <a:pt x="16826" y="6334"/>
                      <a:pt x="16820" y="6340"/>
                    </a:cubicBezTo>
                    <a:cubicBezTo>
                      <a:pt x="16808" y="6352"/>
                      <a:pt x="16795" y="6354"/>
                      <a:pt x="16782" y="6363"/>
                    </a:cubicBezTo>
                    <a:cubicBezTo>
                      <a:pt x="16772" y="6370"/>
                      <a:pt x="16762" y="6379"/>
                      <a:pt x="16752" y="6385"/>
                    </a:cubicBezTo>
                    <a:cubicBezTo>
                      <a:pt x="16736" y="6394"/>
                      <a:pt x="16713" y="6389"/>
                      <a:pt x="16699" y="6409"/>
                    </a:cubicBezTo>
                    <a:cubicBezTo>
                      <a:pt x="16692" y="6419"/>
                      <a:pt x="16693" y="6433"/>
                      <a:pt x="16687" y="6446"/>
                    </a:cubicBezTo>
                    <a:cubicBezTo>
                      <a:pt x="16682" y="6459"/>
                      <a:pt x="16674" y="6471"/>
                      <a:pt x="16666" y="6481"/>
                    </a:cubicBezTo>
                    <a:cubicBezTo>
                      <a:pt x="16644" y="6509"/>
                      <a:pt x="16622" y="6521"/>
                      <a:pt x="16597" y="6538"/>
                    </a:cubicBezTo>
                    <a:cubicBezTo>
                      <a:pt x="16585" y="6546"/>
                      <a:pt x="16574" y="6557"/>
                      <a:pt x="16563" y="6567"/>
                    </a:cubicBezTo>
                    <a:cubicBezTo>
                      <a:pt x="16555" y="6575"/>
                      <a:pt x="16547" y="6582"/>
                      <a:pt x="16539" y="6588"/>
                    </a:cubicBezTo>
                    <a:cubicBezTo>
                      <a:pt x="16508" y="6611"/>
                      <a:pt x="16475" y="6633"/>
                      <a:pt x="16442" y="6649"/>
                    </a:cubicBezTo>
                    <a:cubicBezTo>
                      <a:pt x="16408" y="6665"/>
                      <a:pt x="16373" y="6683"/>
                      <a:pt x="16342" y="6711"/>
                    </a:cubicBezTo>
                    <a:cubicBezTo>
                      <a:pt x="16311" y="6741"/>
                      <a:pt x="16271" y="6746"/>
                      <a:pt x="16242" y="6783"/>
                    </a:cubicBezTo>
                    <a:cubicBezTo>
                      <a:pt x="16234" y="6792"/>
                      <a:pt x="16227" y="6806"/>
                      <a:pt x="16220" y="6818"/>
                    </a:cubicBezTo>
                    <a:cubicBezTo>
                      <a:pt x="16207" y="6842"/>
                      <a:pt x="16199" y="6874"/>
                      <a:pt x="16190" y="6903"/>
                    </a:cubicBezTo>
                    <a:cubicBezTo>
                      <a:pt x="16177" y="6945"/>
                      <a:pt x="16150" y="6966"/>
                      <a:pt x="16127" y="6990"/>
                    </a:cubicBezTo>
                    <a:cubicBezTo>
                      <a:pt x="16107" y="7010"/>
                      <a:pt x="16091" y="7021"/>
                      <a:pt x="16068" y="7021"/>
                    </a:cubicBezTo>
                    <a:cubicBezTo>
                      <a:pt x="16040" y="7021"/>
                      <a:pt x="16015" y="7005"/>
                      <a:pt x="15988" y="7003"/>
                    </a:cubicBezTo>
                    <a:cubicBezTo>
                      <a:pt x="15955" y="7001"/>
                      <a:pt x="15923" y="7039"/>
                      <a:pt x="15893" y="7059"/>
                    </a:cubicBezTo>
                    <a:cubicBezTo>
                      <a:pt x="15860" y="7081"/>
                      <a:pt x="15825" y="7103"/>
                      <a:pt x="15790" y="7081"/>
                    </a:cubicBezTo>
                    <a:cubicBezTo>
                      <a:pt x="15773" y="7071"/>
                      <a:pt x="15757" y="7052"/>
                      <a:pt x="15741" y="7040"/>
                    </a:cubicBezTo>
                    <a:cubicBezTo>
                      <a:pt x="15735" y="7035"/>
                      <a:pt x="15724" y="7021"/>
                      <a:pt x="15717" y="7026"/>
                    </a:cubicBezTo>
                    <a:cubicBezTo>
                      <a:pt x="15711" y="7030"/>
                      <a:pt x="15706" y="7048"/>
                      <a:pt x="15702" y="7055"/>
                    </a:cubicBezTo>
                    <a:cubicBezTo>
                      <a:pt x="15678" y="7091"/>
                      <a:pt x="15617" y="7002"/>
                      <a:pt x="15603" y="6970"/>
                    </a:cubicBezTo>
                    <a:cubicBezTo>
                      <a:pt x="15590" y="6939"/>
                      <a:pt x="15579" y="6914"/>
                      <a:pt x="15557" y="6901"/>
                    </a:cubicBezTo>
                    <a:cubicBezTo>
                      <a:pt x="15533" y="6889"/>
                      <a:pt x="15511" y="6877"/>
                      <a:pt x="15488" y="6861"/>
                    </a:cubicBezTo>
                    <a:cubicBezTo>
                      <a:pt x="15474" y="6850"/>
                      <a:pt x="15449" y="6837"/>
                      <a:pt x="15444" y="6808"/>
                    </a:cubicBezTo>
                    <a:cubicBezTo>
                      <a:pt x="15443" y="6803"/>
                      <a:pt x="15442" y="6798"/>
                      <a:pt x="15443" y="6792"/>
                    </a:cubicBezTo>
                    <a:lnTo>
                      <a:pt x="14955" y="6825"/>
                    </a:lnTo>
                    <a:lnTo>
                      <a:pt x="14954" y="6825"/>
                    </a:lnTo>
                    <a:lnTo>
                      <a:pt x="15443" y="6792"/>
                    </a:lnTo>
                    <a:cubicBezTo>
                      <a:pt x="15443" y="6765"/>
                      <a:pt x="15459" y="6743"/>
                      <a:pt x="15468" y="6722"/>
                    </a:cubicBezTo>
                    <a:cubicBezTo>
                      <a:pt x="15483" y="6687"/>
                      <a:pt x="15498" y="6653"/>
                      <a:pt x="15513" y="6618"/>
                    </a:cubicBezTo>
                    <a:cubicBezTo>
                      <a:pt x="15527" y="6585"/>
                      <a:pt x="15534" y="6548"/>
                      <a:pt x="15544" y="6511"/>
                    </a:cubicBezTo>
                    <a:cubicBezTo>
                      <a:pt x="15552" y="6479"/>
                      <a:pt x="15562" y="6446"/>
                      <a:pt x="15570" y="6414"/>
                    </a:cubicBezTo>
                    <a:cubicBezTo>
                      <a:pt x="15576" y="6387"/>
                      <a:pt x="15582" y="6361"/>
                      <a:pt x="15590" y="6336"/>
                    </a:cubicBezTo>
                    <a:cubicBezTo>
                      <a:pt x="15599" y="6313"/>
                      <a:pt x="15602" y="6286"/>
                      <a:pt x="15611" y="6263"/>
                    </a:cubicBezTo>
                    <a:cubicBezTo>
                      <a:pt x="15621" y="6238"/>
                      <a:pt x="15640" y="6213"/>
                      <a:pt x="15656" y="6201"/>
                    </a:cubicBezTo>
                    <a:cubicBezTo>
                      <a:pt x="15668" y="6191"/>
                      <a:pt x="15693" y="6183"/>
                      <a:pt x="15674" y="6159"/>
                    </a:cubicBezTo>
                    <a:cubicBezTo>
                      <a:pt x="15657" y="6138"/>
                      <a:pt x="15651" y="6108"/>
                      <a:pt x="15664" y="6078"/>
                    </a:cubicBezTo>
                    <a:cubicBezTo>
                      <a:pt x="15673" y="6059"/>
                      <a:pt x="15685" y="6049"/>
                      <a:pt x="15696" y="6036"/>
                    </a:cubicBezTo>
                    <a:cubicBezTo>
                      <a:pt x="15698" y="6021"/>
                      <a:pt x="15690" y="6012"/>
                      <a:pt x="15691" y="5997"/>
                    </a:cubicBezTo>
                    <a:cubicBezTo>
                      <a:pt x="15692" y="5982"/>
                      <a:pt x="15697" y="5969"/>
                      <a:pt x="15704" y="5961"/>
                    </a:cubicBezTo>
                    <a:cubicBezTo>
                      <a:pt x="15714" y="5950"/>
                      <a:pt x="15731" y="5938"/>
                      <a:pt x="15742" y="5936"/>
                    </a:cubicBezTo>
                    <a:cubicBezTo>
                      <a:pt x="15754" y="5935"/>
                      <a:pt x="15754" y="5951"/>
                      <a:pt x="15759" y="5968"/>
                    </a:cubicBezTo>
                    <a:cubicBezTo>
                      <a:pt x="15764" y="5987"/>
                      <a:pt x="15768" y="6041"/>
                      <a:pt x="15785" y="6011"/>
                    </a:cubicBezTo>
                    <a:cubicBezTo>
                      <a:pt x="15807" y="5975"/>
                      <a:pt x="15803" y="5945"/>
                      <a:pt x="15805" y="5899"/>
                    </a:cubicBezTo>
                    <a:cubicBezTo>
                      <a:pt x="15807" y="5870"/>
                      <a:pt x="15813" y="5843"/>
                      <a:pt x="15815" y="5814"/>
                    </a:cubicBezTo>
                    <a:cubicBezTo>
                      <a:pt x="15817" y="5784"/>
                      <a:pt x="15821" y="5755"/>
                      <a:pt x="15828" y="5727"/>
                    </a:cubicBezTo>
                    <a:cubicBezTo>
                      <a:pt x="15834" y="5702"/>
                      <a:pt x="15837" y="5675"/>
                      <a:pt x="15834" y="5648"/>
                    </a:cubicBezTo>
                    <a:cubicBezTo>
                      <a:pt x="15829" y="5616"/>
                      <a:pt x="15811" y="5591"/>
                      <a:pt x="15803" y="5559"/>
                    </a:cubicBezTo>
                    <a:cubicBezTo>
                      <a:pt x="15796" y="5529"/>
                      <a:pt x="15790" y="5492"/>
                      <a:pt x="15790" y="5458"/>
                    </a:cubicBezTo>
                    <a:cubicBezTo>
                      <a:pt x="15790" y="5444"/>
                      <a:pt x="15792" y="5434"/>
                      <a:pt x="15791" y="5420"/>
                    </a:cubicBezTo>
                    <a:cubicBezTo>
                      <a:pt x="15789" y="5406"/>
                      <a:pt x="15785" y="5393"/>
                      <a:pt x="15785" y="5380"/>
                    </a:cubicBezTo>
                    <a:cubicBezTo>
                      <a:pt x="15784" y="5365"/>
                      <a:pt x="15783" y="5350"/>
                      <a:pt x="15781" y="5335"/>
                    </a:cubicBezTo>
                    <a:cubicBezTo>
                      <a:pt x="15776" y="5294"/>
                      <a:pt x="15767" y="5251"/>
                      <a:pt x="15766" y="5209"/>
                    </a:cubicBezTo>
                    <a:cubicBezTo>
                      <a:pt x="15764" y="5163"/>
                      <a:pt x="15759" y="5123"/>
                      <a:pt x="15752" y="5080"/>
                    </a:cubicBezTo>
                    <a:cubicBezTo>
                      <a:pt x="15747" y="5046"/>
                      <a:pt x="15742" y="5017"/>
                      <a:pt x="15741" y="4981"/>
                    </a:cubicBezTo>
                    <a:cubicBezTo>
                      <a:pt x="15740" y="4946"/>
                      <a:pt x="15747" y="4908"/>
                      <a:pt x="15741" y="4874"/>
                    </a:cubicBezTo>
                    <a:cubicBezTo>
                      <a:pt x="15737" y="4857"/>
                      <a:pt x="15728" y="4850"/>
                      <a:pt x="15721" y="4838"/>
                    </a:cubicBezTo>
                    <a:cubicBezTo>
                      <a:pt x="15711" y="4821"/>
                      <a:pt x="15701" y="4803"/>
                      <a:pt x="15692" y="4784"/>
                    </a:cubicBezTo>
                    <a:cubicBezTo>
                      <a:pt x="15682" y="4764"/>
                      <a:pt x="15664" y="4730"/>
                      <a:pt x="15648" y="4725"/>
                    </a:cubicBezTo>
                    <a:cubicBezTo>
                      <a:pt x="15630" y="4719"/>
                      <a:pt x="15617" y="4738"/>
                      <a:pt x="15608" y="4762"/>
                    </a:cubicBezTo>
                    <a:cubicBezTo>
                      <a:pt x="15597" y="4788"/>
                      <a:pt x="15586" y="4793"/>
                      <a:pt x="15568" y="4794"/>
                    </a:cubicBezTo>
                    <a:cubicBezTo>
                      <a:pt x="15551" y="4794"/>
                      <a:pt x="15532" y="4792"/>
                      <a:pt x="15518" y="4807"/>
                    </a:cubicBezTo>
                    <a:cubicBezTo>
                      <a:pt x="15509" y="4815"/>
                      <a:pt x="15504" y="4830"/>
                      <a:pt x="15496" y="4839"/>
                    </a:cubicBezTo>
                    <a:cubicBezTo>
                      <a:pt x="15490" y="4845"/>
                      <a:pt x="15479" y="4853"/>
                      <a:pt x="15476" y="4864"/>
                    </a:cubicBezTo>
                    <a:cubicBezTo>
                      <a:pt x="15469" y="4887"/>
                      <a:pt x="15489" y="4922"/>
                      <a:pt x="15471" y="4936"/>
                    </a:cubicBezTo>
                    <a:cubicBezTo>
                      <a:pt x="15462" y="4943"/>
                      <a:pt x="15457" y="4935"/>
                      <a:pt x="15456" y="4957"/>
                    </a:cubicBezTo>
                    <a:cubicBezTo>
                      <a:pt x="15456" y="4972"/>
                      <a:pt x="15457" y="4982"/>
                      <a:pt x="15454" y="4997"/>
                    </a:cubicBezTo>
                    <a:cubicBezTo>
                      <a:pt x="15447" y="5036"/>
                      <a:pt x="15424" y="5022"/>
                      <a:pt x="15412" y="5052"/>
                    </a:cubicBezTo>
                    <a:cubicBezTo>
                      <a:pt x="15404" y="5072"/>
                      <a:pt x="15405" y="5106"/>
                      <a:pt x="15388" y="5113"/>
                    </a:cubicBezTo>
                    <a:cubicBezTo>
                      <a:pt x="15368" y="5122"/>
                      <a:pt x="15336" y="5113"/>
                      <a:pt x="15316" y="5104"/>
                    </a:cubicBezTo>
                    <a:cubicBezTo>
                      <a:pt x="15298" y="5095"/>
                      <a:pt x="15270" y="5083"/>
                      <a:pt x="15267" y="5049"/>
                    </a:cubicBezTo>
                    <a:cubicBezTo>
                      <a:pt x="15264" y="5019"/>
                      <a:pt x="15268" y="4988"/>
                      <a:pt x="15264" y="4958"/>
                    </a:cubicBezTo>
                    <a:cubicBezTo>
                      <a:pt x="15261" y="4928"/>
                      <a:pt x="15267" y="4905"/>
                      <a:pt x="15275" y="4878"/>
                    </a:cubicBezTo>
                    <a:cubicBezTo>
                      <a:pt x="15281" y="4858"/>
                      <a:pt x="15286" y="4840"/>
                      <a:pt x="15295" y="4823"/>
                    </a:cubicBezTo>
                    <a:cubicBezTo>
                      <a:pt x="15303" y="4804"/>
                      <a:pt x="15313" y="4797"/>
                      <a:pt x="15324" y="4783"/>
                    </a:cubicBezTo>
                    <a:cubicBezTo>
                      <a:pt x="15332" y="4773"/>
                      <a:pt x="15339" y="4769"/>
                      <a:pt x="15348" y="4764"/>
                    </a:cubicBezTo>
                    <a:cubicBezTo>
                      <a:pt x="15365" y="4754"/>
                      <a:pt x="15381" y="4742"/>
                      <a:pt x="15390" y="4715"/>
                    </a:cubicBezTo>
                    <a:cubicBezTo>
                      <a:pt x="15397" y="4693"/>
                      <a:pt x="15406" y="4661"/>
                      <a:pt x="15408" y="4635"/>
                    </a:cubicBezTo>
                    <a:cubicBezTo>
                      <a:pt x="15410" y="4606"/>
                      <a:pt x="15398" y="4580"/>
                      <a:pt x="15412" y="4556"/>
                    </a:cubicBezTo>
                    <a:cubicBezTo>
                      <a:pt x="15425" y="4533"/>
                      <a:pt x="15447" y="4529"/>
                      <a:pt x="15463" y="4516"/>
                    </a:cubicBezTo>
                    <a:cubicBezTo>
                      <a:pt x="15473" y="4507"/>
                      <a:pt x="15477" y="4499"/>
                      <a:pt x="15483" y="4484"/>
                    </a:cubicBezTo>
                    <a:cubicBezTo>
                      <a:pt x="15488" y="4468"/>
                      <a:pt x="15498" y="4456"/>
                      <a:pt x="15501" y="4437"/>
                    </a:cubicBezTo>
                    <a:cubicBezTo>
                      <a:pt x="15503" y="4417"/>
                      <a:pt x="15499" y="4395"/>
                      <a:pt x="15498" y="4375"/>
                    </a:cubicBezTo>
                    <a:cubicBezTo>
                      <a:pt x="15496" y="4346"/>
                      <a:pt x="15499" y="4316"/>
                      <a:pt x="15498" y="4287"/>
                    </a:cubicBezTo>
                    <a:cubicBezTo>
                      <a:pt x="15497" y="4270"/>
                      <a:pt x="15494" y="4254"/>
                      <a:pt x="15495" y="4236"/>
                    </a:cubicBezTo>
                    <a:cubicBezTo>
                      <a:pt x="15495" y="4219"/>
                      <a:pt x="15500" y="4208"/>
                      <a:pt x="15505" y="4194"/>
                    </a:cubicBezTo>
                    <a:cubicBezTo>
                      <a:pt x="15517" y="4167"/>
                      <a:pt x="15510" y="4149"/>
                      <a:pt x="15505" y="4121"/>
                    </a:cubicBezTo>
                    <a:cubicBezTo>
                      <a:pt x="15502" y="4094"/>
                      <a:pt x="15507" y="4065"/>
                      <a:pt x="15503" y="4038"/>
                    </a:cubicBezTo>
                    <a:cubicBezTo>
                      <a:pt x="15499" y="4017"/>
                      <a:pt x="15491" y="4005"/>
                      <a:pt x="15483" y="3988"/>
                    </a:cubicBezTo>
                    <a:cubicBezTo>
                      <a:pt x="15476" y="3975"/>
                      <a:pt x="15470" y="3962"/>
                      <a:pt x="15462" y="3950"/>
                    </a:cubicBezTo>
                    <a:cubicBezTo>
                      <a:pt x="15455" y="3940"/>
                      <a:pt x="15446" y="3931"/>
                      <a:pt x="15444" y="3917"/>
                    </a:cubicBezTo>
                    <a:cubicBezTo>
                      <a:pt x="15441" y="3900"/>
                      <a:pt x="15444" y="3891"/>
                      <a:pt x="15449" y="3879"/>
                    </a:cubicBezTo>
                    <a:cubicBezTo>
                      <a:pt x="15454" y="3864"/>
                      <a:pt x="15455" y="3849"/>
                      <a:pt x="15459" y="3834"/>
                    </a:cubicBezTo>
                    <a:cubicBezTo>
                      <a:pt x="15463" y="3820"/>
                      <a:pt x="15467" y="3801"/>
                      <a:pt x="15476" y="3813"/>
                    </a:cubicBezTo>
                    <a:cubicBezTo>
                      <a:pt x="15483" y="3821"/>
                      <a:pt x="15482" y="3841"/>
                      <a:pt x="15487" y="3851"/>
                    </a:cubicBezTo>
                    <a:cubicBezTo>
                      <a:pt x="15504" y="3887"/>
                      <a:pt x="15504" y="3813"/>
                      <a:pt x="15504" y="3798"/>
                    </a:cubicBezTo>
                    <a:cubicBezTo>
                      <a:pt x="15504" y="3781"/>
                      <a:pt x="15504" y="3771"/>
                      <a:pt x="15498" y="3756"/>
                    </a:cubicBezTo>
                    <a:cubicBezTo>
                      <a:pt x="15491" y="3742"/>
                      <a:pt x="15484" y="3729"/>
                      <a:pt x="15478" y="3714"/>
                    </a:cubicBezTo>
                    <a:cubicBezTo>
                      <a:pt x="15467" y="3687"/>
                      <a:pt x="15456" y="3657"/>
                      <a:pt x="15446" y="3629"/>
                    </a:cubicBezTo>
                    <a:cubicBezTo>
                      <a:pt x="15434" y="3596"/>
                      <a:pt x="15416" y="3592"/>
                      <a:pt x="15396" y="3577"/>
                    </a:cubicBezTo>
                    <a:cubicBezTo>
                      <a:pt x="15366" y="3556"/>
                      <a:pt x="15339" y="3535"/>
                      <a:pt x="15311" y="3511"/>
                    </a:cubicBezTo>
                    <a:cubicBezTo>
                      <a:pt x="15297" y="3499"/>
                      <a:pt x="15284" y="3492"/>
                      <a:pt x="15270" y="3485"/>
                    </a:cubicBezTo>
                    <a:cubicBezTo>
                      <a:pt x="15254" y="3479"/>
                      <a:pt x="15237" y="3480"/>
                      <a:pt x="15223" y="3467"/>
                    </a:cubicBezTo>
                    <a:cubicBezTo>
                      <a:pt x="15209" y="3453"/>
                      <a:pt x="15194" y="3440"/>
                      <a:pt x="15180" y="3423"/>
                    </a:cubicBezTo>
                    <a:cubicBezTo>
                      <a:pt x="15173" y="3413"/>
                      <a:pt x="15156" y="3400"/>
                      <a:pt x="15157" y="3381"/>
                    </a:cubicBezTo>
                    <a:cubicBezTo>
                      <a:pt x="15157" y="3373"/>
                      <a:pt x="15162" y="3373"/>
                      <a:pt x="15162" y="3364"/>
                    </a:cubicBezTo>
                    <a:cubicBezTo>
                      <a:pt x="15161" y="3352"/>
                      <a:pt x="15154" y="3348"/>
                      <a:pt x="15149" y="3342"/>
                    </a:cubicBezTo>
                    <a:cubicBezTo>
                      <a:pt x="15130" y="3320"/>
                      <a:pt x="15113" y="3322"/>
                      <a:pt x="15092" y="3313"/>
                    </a:cubicBezTo>
                    <a:cubicBezTo>
                      <a:pt x="15067" y="3303"/>
                      <a:pt x="15042" y="3289"/>
                      <a:pt x="15021" y="3264"/>
                    </a:cubicBezTo>
                    <a:cubicBezTo>
                      <a:pt x="15007" y="3247"/>
                      <a:pt x="14992" y="3232"/>
                      <a:pt x="14975" y="3221"/>
                    </a:cubicBezTo>
                    <a:cubicBezTo>
                      <a:pt x="14955" y="3209"/>
                      <a:pt x="14935" y="3209"/>
                      <a:pt x="14915" y="3225"/>
                    </a:cubicBezTo>
                    <a:cubicBezTo>
                      <a:pt x="14905" y="3233"/>
                      <a:pt x="14899" y="3247"/>
                      <a:pt x="14892" y="3258"/>
                    </a:cubicBezTo>
                    <a:cubicBezTo>
                      <a:pt x="14885" y="3269"/>
                      <a:pt x="14878" y="3278"/>
                      <a:pt x="14871" y="3289"/>
                    </a:cubicBezTo>
                    <a:cubicBezTo>
                      <a:pt x="14856" y="3311"/>
                      <a:pt x="14845" y="3339"/>
                      <a:pt x="14833" y="3367"/>
                    </a:cubicBezTo>
                    <a:cubicBezTo>
                      <a:pt x="14821" y="3398"/>
                      <a:pt x="14834" y="3420"/>
                      <a:pt x="14850" y="3439"/>
                    </a:cubicBezTo>
                    <a:cubicBezTo>
                      <a:pt x="14862" y="3454"/>
                      <a:pt x="14875" y="3467"/>
                      <a:pt x="14884" y="3490"/>
                    </a:cubicBezTo>
                    <a:cubicBezTo>
                      <a:pt x="14890" y="3503"/>
                      <a:pt x="14903" y="3520"/>
                      <a:pt x="14897" y="3537"/>
                    </a:cubicBezTo>
                    <a:cubicBezTo>
                      <a:pt x="14894" y="3544"/>
                      <a:pt x="14886" y="3551"/>
                      <a:pt x="14882" y="3557"/>
                    </a:cubicBezTo>
                    <a:cubicBezTo>
                      <a:pt x="14878" y="3564"/>
                      <a:pt x="14873" y="3575"/>
                      <a:pt x="14867" y="3580"/>
                    </a:cubicBezTo>
                    <a:cubicBezTo>
                      <a:pt x="14855" y="3589"/>
                      <a:pt x="14846" y="3577"/>
                      <a:pt x="14835" y="3573"/>
                    </a:cubicBezTo>
                    <a:cubicBezTo>
                      <a:pt x="14825" y="3570"/>
                      <a:pt x="14813" y="3575"/>
                      <a:pt x="14804" y="3581"/>
                    </a:cubicBezTo>
                    <a:cubicBezTo>
                      <a:pt x="14791" y="3589"/>
                      <a:pt x="14780" y="3603"/>
                      <a:pt x="14769" y="3616"/>
                    </a:cubicBezTo>
                    <a:cubicBezTo>
                      <a:pt x="14761" y="3625"/>
                      <a:pt x="14749" y="3632"/>
                      <a:pt x="14742" y="3645"/>
                    </a:cubicBezTo>
                    <a:cubicBezTo>
                      <a:pt x="14732" y="3663"/>
                      <a:pt x="14736" y="3696"/>
                      <a:pt x="14736" y="3719"/>
                    </a:cubicBezTo>
                    <a:cubicBezTo>
                      <a:pt x="14736" y="3754"/>
                      <a:pt x="14736" y="3789"/>
                      <a:pt x="14732" y="3823"/>
                    </a:cubicBezTo>
                    <a:cubicBezTo>
                      <a:pt x="14725" y="3872"/>
                      <a:pt x="14707" y="3911"/>
                      <a:pt x="14706" y="3962"/>
                    </a:cubicBezTo>
                    <a:cubicBezTo>
                      <a:pt x="14704" y="4003"/>
                      <a:pt x="14702" y="4050"/>
                      <a:pt x="14684" y="4081"/>
                    </a:cubicBezTo>
                    <a:cubicBezTo>
                      <a:pt x="14675" y="4096"/>
                      <a:pt x="14657" y="4102"/>
                      <a:pt x="14645" y="4096"/>
                    </a:cubicBezTo>
                    <a:cubicBezTo>
                      <a:pt x="14631" y="4090"/>
                      <a:pt x="14630" y="4064"/>
                      <a:pt x="14629" y="4043"/>
                    </a:cubicBezTo>
                    <a:cubicBezTo>
                      <a:pt x="14627" y="4020"/>
                      <a:pt x="14628" y="3999"/>
                      <a:pt x="14634" y="3979"/>
                    </a:cubicBezTo>
                    <a:cubicBezTo>
                      <a:pt x="14640" y="3960"/>
                      <a:pt x="14648" y="3944"/>
                      <a:pt x="14647" y="3921"/>
                    </a:cubicBezTo>
                    <a:cubicBezTo>
                      <a:pt x="14647" y="3902"/>
                      <a:pt x="14638" y="3887"/>
                      <a:pt x="14637" y="3868"/>
                    </a:cubicBezTo>
                    <a:cubicBezTo>
                      <a:pt x="14636" y="3847"/>
                      <a:pt x="14641" y="3831"/>
                      <a:pt x="14648" y="3813"/>
                    </a:cubicBezTo>
                    <a:cubicBezTo>
                      <a:pt x="14655" y="3792"/>
                      <a:pt x="14670" y="3741"/>
                      <a:pt x="14659" y="3716"/>
                    </a:cubicBezTo>
                    <a:cubicBezTo>
                      <a:pt x="14646" y="3686"/>
                      <a:pt x="14610" y="3773"/>
                      <a:pt x="14599" y="3789"/>
                    </a:cubicBezTo>
                    <a:cubicBezTo>
                      <a:pt x="14579" y="3820"/>
                      <a:pt x="14574" y="3866"/>
                      <a:pt x="14556" y="3900"/>
                    </a:cubicBezTo>
                    <a:cubicBezTo>
                      <a:pt x="14547" y="3917"/>
                      <a:pt x="14537" y="3921"/>
                      <a:pt x="14525" y="3926"/>
                    </a:cubicBezTo>
                    <a:cubicBezTo>
                      <a:pt x="14511" y="3930"/>
                      <a:pt x="14500" y="3939"/>
                      <a:pt x="14489" y="3952"/>
                    </a:cubicBezTo>
                    <a:cubicBezTo>
                      <a:pt x="14468" y="3973"/>
                      <a:pt x="14459" y="4001"/>
                      <a:pt x="14456" y="4040"/>
                    </a:cubicBezTo>
                    <a:cubicBezTo>
                      <a:pt x="14453" y="4072"/>
                      <a:pt x="14453" y="4110"/>
                      <a:pt x="14438" y="4132"/>
                    </a:cubicBezTo>
                    <a:cubicBezTo>
                      <a:pt x="14430" y="4143"/>
                      <a:pt x="14419" y="4145"/>
                      <a:pt x="14413" y="4158"/>
                    </a:cubicBezTo>
                    <a:cubicBezTo>
                      <a:pt x="14407" y="4172"/>
                      <a:pt x="14406" y="4194"/>
                      <a:pt x="14409" y="4211"/>
                    </a:cubicBezTo>
                    <a:cubicBezTo>
                      <a:pt x="14411" y="4227"/>
                      <a:pt x="14418" y="4241"/>
                      <a:pt x="14420" y="4258"/>
                    </a:cubicBezTo>
                    <a:cubicBezTo>
                      <a:pt x="14425" y="4302"/>
                      <a:pt x="14403" y="4340"/>
                      <a:pt x="14400" y="4381"/>
                    </a:cubicBezTo>
                    <a:cubicBezTo>
                      <a:pt x="14398" y="4401"/>
                      <a:pt x="14400" y="4422"/>
                      <a:pt x="14399" y="4442"/>
                    </a:cubicBezTo>
                    <a:cubicBezTo>
                      <a:pt x="14397" y="4465"/>
                      <a:pt x="14397" y="4496"/>
                      <a:pt x="14393" y="4518"/>
                    </a:cubicBezTo>
                    <a:cubicBezTo>
                      <a:pt x="14389" y="4541"/>
                      <a:pt x="14376" y="4562"/>
                      <a:pt x="14367" y="4581"/>
                    </a:cubicBezTo>
                    <a:cubicBezTo>
                      <a:pt x="14352" y="4610"/>
                      <a:pt x="14330" y="4626"/>
                      <a:pt x="14319" y="4661"/>
                    </a:cubicBezTo>
                    <a:cubicBezTo>
                      <a:pt x="14305" y="4704"/>
                      <a:pt x="14309" y="4756"/>
                      <a:pt x="14321" y="4801"/>
                    </a:cubicBezTo>
                    <a:cubicBezTo>
                      <a:pt x="14331" y="4841"/>
                      <a:pt x="14344" y="4910"/>
                      <a:pt x="14337" y="4957"/>
                    </a:cubicBezTo>
                    <a:cubicBezTo>
                      <a:pt x="14331" y="4995"/>
                      <a:pt x="14309" y="5020"/>
                      <a:pt x="14299" y="5056"/>
                    </a:cubicBezTo>
                    <a:cubicBezTo>
                      <a:pt x="14287" y="5099"/>
                      <a:pt x="14307" y="5147"/>
                      <a:pt x="14315" y="5189"/>
                    </a:cubicBezTo>
                    <a:cubicBezTo>
                      <a:pt x="14323" y="5234"/>
                      <a:pt x="14335" y="5275"/>
                      <a:pt x="14342" y="5320"/>
                    </a:cubicBezTo>
                    <a:cubicBezTo>
                      <a:pt x="14347" y="5355"/>
                      <a:pt x="14349" y="5416"/>
                      <a:pt x="14370" y="5434"/>
                    </a:cubicBezTo>
                    <a:cubicBezTo>
                      <a:pt x="14377" y="5440"/>
                      <a:pt x="14393" y="5438"/>
                      <a:pt x="14399" y="5449"/>
                    </a:cubicBezTo>
                    <a:cubicBezTo>
                      <a:pt x="14406" y="5463"/>
                      <a:pt x="14397" y="5484"/>
                      <a:pt x="14393" y="5498"/>
                    </a:cubicBezTo>
                    <a:cubicBezTo>
                      <a:pt x="14381" y="5542"/>
                      <a:pt x="14405" y="5573"/>
                      <a:pt x="14411" y="5618"/>
                    </a:cubicBezTo>
                    <a:cubicBezTo>
                      <a:pt x="14417" y="5661"/>
                      <a:pt x="14419" y="5706"/>
                      <a:pt x="14419" y="5752"/>
                    </a:cubicBezTo>
                    <a:cubicBezTo>
                      <a:pt x="14419" y="5827"/>
                      <a:pt x="14412" y="5901"/>
                      <a:pt x="14403" y="5974"/>
                    </a:cubicBezTo>
                    <a:cubicBezTo>
                      <a:pt x="14398" y="6006"/>
                      <a:pt x="14393" y="6034"/>
                      <a:pt x="14392" y="6067"/>
                    </a:cubicBezTo>
                    <a:cubicBezTo>
                      <a:pt x="14390" y="6108"/>
                      <a:pt x="14387" y="6149"/>
                      <a:pt x="14385" y="6190"/>
                    </a:cubicBezTo>
                    <a:cubicBezTo>
                      <a:pt x="14381" y="6239"/>
                      <a:pt x="14379" y="6296"/>
                      <a:pt x="14363" y="6340"/>
                    </a:cubicBezTo>
                    <a:cubicBezTo>
                      <a:pt x="14348" y="6380"/>
                      <a:pt x="14333" y="6415"/>
                      <a:pt x="14315" y="6449"/>
                    </a:cubicBezTo>
                    <a:cubicBezTo>
                      <a:pt x="14299" y="6480"/>
                      <a:pt x="14301" y="6518"/>
                      <a:pt x="14294" y="6554"/>
                    </a:cubicBezTo>
                    <a:cubicBezTo>
                      <a:pt x="14284" y="6604"/>
                      <a:pt x="14262" y="6647"/>
                      <a:pt x="14239" y="6683"/>
                    </a:cubicBezTo>
                    <a:cubicBezTo>
                      <a:pt x="14224" y="6708"/>
                      <a:pt x="14210" y="6736"/>
                      <a:pt x="14195" y="6763"/>
                    </a:cubicBezTo>
                    <a:cubicBezTo>
                      <a:pt x="14188" y="6775"/>
                      <a:pt x="14181" y="6788"/>
                      <a:pt x="14174" y="6799"/>
                    </a:cubicBezTo>
                    <a:cubicBezTo>
                      <a:pt x="14143" y="6845"/>
                      <a:pt x="14092" y="6896"/>
                      <a:pt x="14050" y="6899"/>
                    </a:cubicBezTo>
                    <a:cubicBezTo>
                      <a:pt x="14032" y="6901"/>
                      <a:pt x="14018" y="6901"/>
                      <a:pt x="14001" y="6893"/>
                    </a:cubicBezTo>
                    <a:cubicBezTo>
                      <a:pt x="13982" y="6884"/>
                      <a:pt x="13962" y="6882"/>
                      <a:pt x="13944" y="6867"/>
                    </a:cubicBezTo>
                    <a:cubicBezTo>
                      <a:pt x="13939" y="6862"/>
                      <a:pt x="13936" y="6857"/>
                      <a:pt x="13933" y="6852"/>
                    </a:cubicBezTo>
                    <a:cubicBezTo>
                      <a:pt x="13926" y="6840"/>
                      <a:pt x="13925" y="6825"/>
                      <a:pt x="13924" y="6804"/>
                    </a:cubicBezTo>
                    <a:cubicBezTo>
                      <a:pt x="13923" y="6773"/>
                      <a:pt x="13912" y="6745"/>
                      <a:pt x="13904" y="6718"/>
                    </a:cubicBezTo>
                    <a:cubicBezTo>
                      <a:pt x="13891" y="6675"/>
                      <a:pt x="13889" y="6627"/>
                      <a:pt x="13882" y="6580"/>
                    </a:cubicBezTo>
                    <a:cubicBezTo>
                      <a:pt x="13875" y="6533"/>
                      <a:pt x="13855" y="6498"/>
                      <a:pt x="13839" y="6458"/>
                    </a:cubicBezTo>
                    <a:cubicBezTo>
                      <a:pt x="13823" y="6417"/>
                      <a:pt x="13822" y="6372"/>
                      <a:pt x="13820" y="6325"/>
                    </a:cubicBezTo>
                    <a:cubicBezTo>
                      <a:pt x="13819" y="6266"/>
                      <a:pt x="13824" y="6208"/>
                      <a:pt x="13829" y="6149"/>
                    </a:cubicBezTo>
                    <a:cubicBezTo>
                      <a:pt x="13830" y="6138"/>
                      <a:pt x="13830" y="6126"/>
                      <a:pt x="13831" y="6114"/>
                    </a:cubicBezTo>
                    <a:cubicBezTo>
                      <a:pt x="13832" y="6066"/>
                      <a:pt x="13829" y="6016"/>
                      <a:pt x="13831" y="5969"/>
                    </a:cubicBezTo>
                    <a:cubicBezTo>
                      <a:pt x="13832" y="5929"/>
                      <a:pt x="13843" y="5875"/>
                      <a:pt x="13835" y="5837"/>
                    </a:cubicBezTo>
                    <a:cubicBezTo>
                      <a:pt x="13828" y="5798"/>
                      <a:pt x="13804" y="5769"/>
                      <a:pt x="13791" y="5736"/>
                    </a:cubicBezTo>
                    <a:cubicBezTo>
                      <a:pt x="13767" y="5675"/>
                      <a:pt x="13784" y="5582"/>
                      <a:pt x="13784" y="5513"/>
                    </a:cubicBezTo>
                    <a:cubicBezTo>
                      <a:pt x="13784" y="5492"/>
                      <a:pt x="13783" y="5472"/>
                      <a:pt x="13781" y="5451"/>
                    </a:cubicBezTo>
                    <a:cubicBezTo>
                      <a:pt x="13780" y="5426"/>
                      <a:pt x="13783" y="5412"/>
                      <a:pt x="13789" y="5389"/>
                    </a:cubicBezTo>
                    <a:cubicBezTo>
                      <a:pt x="13809" y="5305"/>
                      <a:pt x="13819" y="5218"/>
                      <a:pt x="13833" y="5131"/>
                    </a:cubicBezTo>
                    <a:cubicBezTo>
                      <a:pt x="13837" y="5106"/>
                      <a:pt x="13847" y="5083"/>
                      <a:pt x="13849" y="5057"/>
                    </a:cubicBezTo>
                    <a:cubicBezTo>
                      <a:pt x="13852" y="5028"/>
                      <a:pt x="13854" y="4995"/>
                      <a:pt x="13855" y="4965"/>
                    </a:cubicBezTo>
                    <a:cubicBezTo>
                      <a:pt x="13855" y="4943"/>
                      <a:pt x="13856" y="4920"/>
                      <a:pt x="13856" y="4897"/>
                    </a:cubicBezTo>
                    <a:cubicBezTo>
                      <a:pt x="13856" y="4856"/>
                      <a:pt x="13853" y="4810"/>
                      <a:pt x="13856" y="4770"/>
                    </a:cubicBezTo>
                    <a:cubicBezTo>
                      <a:pt x="13859" y="4735"/>
                      <a:pt x="13873" y="4693"/>
                      <a:pt x="13891" y="4674"/>
                    </a:cubicBezTo>
                    <a:cubicBezTo>
                      <a:pt x="13900" y="4665"/>
                      <a:pt x="13910" y="4663"/>
                      <a:pt x="13918" y="4654"/>
                    </a:cubicBezTo>
                    <a:cubicBezTo>
                      <a:pt x="13928" y="4641"/>
                      <a:pt x="13927" y="4631"/>
                      <a:pt x="13927" y="4609"/>
                    </a:cubicBezTo>
                    <a:cubicBezTo>
                      <a:pt x="13927" y="4576"/>
                      <a:pt x="13925" y="4557"/>
                      <a:pt x="13914" y="4531"/>
                    </a:cubicBezTo>
                    <a:cubicBezTo>
                      <a:pt x="13903" y="4507"/>
                      <a:pt x="13909" y="4494"/>
                      <a:pt x="13916" y="4471"/>
                    </a:cubicBezTo>
                    <a:cubicBezTo>
                      <a:pt x="13922" y="4451"/>
                      <a:pt x="13927" y="4427"/>
                      <a:pt x="13930" y="4405"/>
                    </a:cubicBezTo>
                    <a:cubicBezTo>
                      <a:pt x="13933" y="4385"/>
                      <a:pt x="13934" y="4364"/>
                      <a:pt x="13936" y="4345"/>
                    </a:cubicBezTo>
                    <a:cubicBezTo>
                      <a:pt x="13941" y="4301"/>
                      <a:pt x="13948" y="4261"/>
                      <a:pt x="13968" y="4228"/>
                    </a:cubicBezTo>
                    <a:cubicBezTo>
                      <a:pt x="13983" y="4203"/>
                      <a:pt x="14001" y="4175"/>
                      <a:pt x="13998" y="4136"/>
                    </a:cubicBezTo>
                    <a:cubicBezTo>
                      <a:pt x="13996" y="4100"/>
                      <a:pt x="13974" y="4089"/>
                      <a:pt x="13972" y="4056"/>
                    </a:cubicBezTo>
                    <a:cubicBezTo>
                      <a:pt x="13971" y="4037"/>
                      <a:pt x="13974" y="4030"/>
                      <a:pt x="13962" y="4024"/>
                    </a:cubicBezTo>
                    <a:cubicBezTo>
                      <a:pt x="13954" y="4019"/>
                      <a:pt x="13941" y="4019"/>
                      <a:pt x="13934" y="4028"/>
                    </a:cubicBezTo>
                    <a:cubicBezTo>
                      <a:pt x="13927" y="4038"/>
                      <a:pt x="13927" y="4054"/>
                      <a:pt x="13919" y="4060"/>
                    </a:cubicBezTo>
                    <a:cubicBezTo>
                      <a:pt x="13911" y="4066"/>
                      <a:pt x="13898" y="4054"/>
                      <a:pt x="13890" y="4062"/>
                    </a:cubicBezTo>
                    <a:cubicBezTo>
                      <a:pt x="13876" y="4074"/>
                      <a:pt x="13870" y="4125"/>
                      <a:pt x="13864" y="4147"/>
                    </a:cubicBezTo>
                    <a:cubicBezTo>
                      <a:pt x="13850" y="4194"/>
                      <a:pt x="13832" y="4225"/>
                      <a:pt x="13810" y="4260"/>
                    </a:cubicBezTo>
                    <a:cubicBezTo>
                      <a:pt x="13802" y="4273"/>
                      <a:pt x="13798" y="4289"/>
                      <a:pt x="13789" y="4301"/>
                    </a:cubicBezTo>
                    <a:cubicBezTo>
                      <a:pt x="13774" y="4320"/>
                      <a:pt x="13749" y="4327"/>
                      <a:pt x="13736" y="4297"/>
                    </a:cubicBezTo>
                    <a:cubicBezTo>
                      <a:pt x="13730" y="4282"/>
                      <a:pt x="13731" y="4261"/>
                      <a:pt x="13736" y="4247"/>
                    </a:cubicBezTo>
                    <a:cubicBezTo>
                      <a:pt x="13740" y="4235"/>
                      <a:pt x="13750" y="4230"/>
                      <a:pt x="13753" y="4217"/>
                    </a:cubicBezTo>
                    <a:cubicBezTo>
                      <a:pt x="13760" y="4194"/>
                      <a:pt x="13740" y="4184"/>
                      <a:pt x="13743" y="4162"/>
                    </a:cubicBezTo>
                    <a:cubicBezTo>
                      <a:pt x="13745" y="4148"/>
                      <a:pt x="13763" y="4122"/>
                      <a:pt x="13769" y="4111"/>
                    </a:cubicBezTo>
                    <a:cubicBezTo>
                      <a:pt x="13781" y="4085"/>
                      <a:pt x="13794" y="4062"/>
                      <a:pt x="13795" y="4028"/>
                    </a:cubicBezTo>
                    <a:cubicBezTo>
                      <a:pt x="13796" y="3992"/>
                      <a:pt x="13799" y="3964"/>
                      <a:pt x="13819" y="3947"/>
                    </a:cubicBezTo>
                    <a:cubicBezTo>
                      <a:pt x="13838" y="3930"/>
                      <a:pt x="13869" y="3916"/>
                      <a:pt x="13881" y="3883"/>
                    </a:cubicBezTo>
                    <a:cubicBezTo>
                      <a:pt x="13886" y="3867"/>
                      <a:pt x="13884" y="3841"/>
                      <a:pt x="13884" y="3823"/>
                    </a:cubicBezTo>
                    <a:cubicBezTo>
                      <a:pt x="13884" y="3803"/>
                      <a:pt x="13882" y="3784"/>
                      <a:pt x="13887" y="3766"/>
                    </a:cubicBezTo>
                    <a:cubicBezTo>
                      <a:pt x="13887" y="3766"/>
                      <a:pt x="13887" y="3766"/>
                      <a:pt x="13887" y="3766"/>
                    </a:cubicBezTo>
                    <a:cubicBezTo>
                      <a:pt x="13891" y="3754"/>
                      <a:pt x="13898" y="3736"/>
                      <a:pt x="13904" y="3728"/>
                    </a:cubicBezTo>
                    <a:cubicBezTo>
                      <a:pt x="13911" y="3717"/>
                      <a:pt x="13921" y="3712"/>
                      <a:pt x="13927" y="3699"/>
                    </a:cubicBezTo>
                    <a:cubicBezTo>
                      <a:pt x="13935" y="3686"/>
                      <a:pt x="13938" y="3667"/>
                      <a:pt x="13942" y="3650"/>
                    </a:cubicBezTo>
                    <a:cubicBezTo>
                      <a:pt x="13948" y="3622"/>
                      <a:pt x="13957" y="3598"/>
                      <a:pt x="13964" y="3571"/>
                    </a:cubicBezTo>
                    <a:cubicBezTo>
                      <a:pt x="13971" y="3548"/>
                      <a:pt x="13977" y="3522"/>
                      <a:pt x="13985" y="3500"/>
                    </a:cubicBezTo>
                    <a:cubicBezTo>
                      <a:pt x="13994" y="3474"/>
                      <a:pt x="14006" y="3451"/>
                      <a:pt x="14015" y="3425"/>
                    </a:cubicBezTo>
                    <a:cubicBezTo>
                      <a:pt x="14022" y="3402"/>
                      <a:pt x="14029" y="3380"/>
                      <a:pt x="14034" y="3355"/>
                    </a:cubicBezTo>
                    <a:cubicBezTo>
                      <a:pt x="14037" y="3338"/>
                      <a:pt x="14039" y="3318"/>
                      <a:pt x="14048" y="3307"/>
                    </a:cubicBezTo>
                    <a:cubicBezTo>
                      <a:pt x="14056" y="3297"/>
                      <a:pt x="14068" y="3306"/>
                      <a:pt x="14077" y="3299"/>
                    </a:cubicBezTo>
                    <a:cubicBezTo>
                      <a:pt x="14089" y="3288"/>
                      <a:pt x="14086" y="3259"/>
                      <a:pt x="14087" y="3240"/>
                    </a:cubicBezTo>
                    <a:cubicBezTo>
                      <a:pt x="14090" y="3194"/>
                      <a:pt x="14110" y="3084"/>
                      <a:pt x="14142" y="3082"/>
                    </a:cubicBezTo>
                    <a:cubicBezTo>
                      <a:pt x="14144" y="3129"/>
                      <a:pt x="14125" y="3162"/>
                      <a:pt x="14118" y="3205"/>
                    </a:cubicBezTo>
                    <a:cubicBezTo>
                      <a:pt x="14111" y="3248"/>
                      <a:pt x="14133" y="3275"/>
                      <a:pt x="14158" y="3272"/>
                    </a:cubicBezTo>
                    <a:cubicBezTo>
                      <a:pt x="14187" y="3268"/>
                      <a:pt x="14184" y="3179"/>
                      <a:pt x="14193" y="3144"/>
                    </a:cubicBezTo>
                    <a:cubicBezTo>
                      <a:pt x="14200" y="3118"/>
                      <a:pt x="14210" y="3121"/>
                      <a:pt x="14226" y="3118"/>
                    </a:cubicBezTo>
                    <a:cubicBezTo>
                      <a:pt x="14237" y="3116"/>
                      <a:pt x="14246" y="3110"/>
                      <a:pt x="14257" y="3108"/>
                    </a:cubicBezTo>
                    <a:cubicBezTo>
                      <a:pt x="14286" y="3103"/>
                      <a:pt x="14308" y="3147"/>
                      <a:pt x="14288" y="3189"/>
                    </a:cubicBezTo>
                    <a:cubicBezTo>
                      <a:pt x="14271" y="3226"/>
                      <a:pt x="14244" y="3267"/>
                      <a:pt x="14246" y="3318"/>
                    </a:cubicBezTo>
                    <a:cubicBezTo>
                      <a:pt x="14274" y="3327"/>
                      <a:pt x="14284" y="3266"/>
                      <a:pt x="14292" y="3235"/>
                    </a:cubicBezTo>
                    <a:cubicBezTo>
                      <a:pt x="14297" y="3217"/>
                      <a:pt x="14302" y="3212"/>
                      <a:pt x="14313" y="3205"/>
                    </a:cubicBezTo>
                    <a:cubicBezTo>
                      <a:pt x="14327" y="3196"/>
                      <a:pt x="14338" y="3199"/>
                      <a:pt x="14350" y="3179"/>
                    </a:cubicBezTo>
                    <a:cubicBezTo>
                      <a:pt x="14360" y="3162"/>
                      <a:pt x="14367" y="3138"/>
                      <a:pt x="14370" y="3114"/>
                    </a:cubicBezTo>
                    <a:cubicBezTo>
                      <a:pt x="14375" y="3068"/>
                      <a:pt x="14361" y="3054"/>
                      <a:pt x="14350" y="3018"/>
                    </a:cubicBezTo>
                    <a:cubicBezTo>
                      <a:pt x="14332" y="2962"/>
                      <a:pt x="14370" y="2984"/>
                      <a:pt x="14385" y="3001"/>
                    </a:cubicBezTo>
                    <a:cubicBezTo>
                      <a:pt x="14404" y="3023"/>
                      <a:pt x="14422" y="3030"/>
                      <a:pt x="14444" y="3035"/>
                    </a:cubicBezTo>
                    <a:cubicBezTo>
                      <a:pt x="14471" y="3042"/>
                      <a:pt x="14494" y="3029"/>
                      <a:pt x="14521" y="3022"/>
                    </a:cubicBezTo>
                    <a:cubicBezTo>
                      <a:pt x="14534" y="3019"/>
                      <a:pt x="14545" y="3014"/>
                      <a:pt x="14558" y="3014"/>
                    </a:cubicBezTo>
                    <a:cubicBezTo>
                      <a:pt x="14571" y="3014"/>
                      <a:pt x="14585" y="3017"/>
                      <a:pt x="14597" y="3011"/>
                    </a:cubicBezTo>
                    <a:cubicBezTo>
                      <a:pt x="14620" y="3000"/>
                      <a:pt x="14639" y="2963"/>
                      <a:pt x="14660" y="2943"/>
                    </a:cubicBezTo>
                    <a:cubicBezTo>
                      <a:pt x="14671" y="2933"/>
                      <a:pt x="14679" y="2925"/>
                      <a:pt x="14692" y="2924"/>
                    </a:cubicBezTo>
                    <a:cubicBezTo>
                      <a:pt x="14708" y="2924"/>
                      <a:pt x="14724" y="2930"/>
                      <a:pt x="14740" y="2933"/>
                    </a:cubicBezTo>
                    <a:cubicBezTo>
                      <a:pt x="14772" y="2940"/>
                      <a:pt x="14804" y="2955"/>
                      <a:pt x="14836" y="2965"/>
                    </a:cubicBezTo>
                    <a:cubicBezTo>
                      <a:pt x="14859" y="2973"/>
                      <a:pt x="14884" y="2992"/>
                      <a:pt x="14895" y="3027"/>
                    </a:cubicBezTo>
                    <a:cubicBezTo>
                      <a:pt x="14908" y="3069"/>
                      <a:pt x="14932" y="3089"/>
                      <a:pt x="14954" y="3118"/>
                    </a:cubicBezTo>
                    <a:cubicBezTo>
                      <a:pt x="14966" y="3133"/>
                      <a:pt x="14969" y="3134"/>
                      <a:pt x="14969" y="3107"/>
                    </a:cubicBezTo>
                    <a:cubicBezTo>
                      <a:pt x="14969" y="3089"/>
                      <a:pt x="14968" y="3067"/>
                      <a:pt x="14972" y="3050"/>
                    </a:cubicBezTo>
                    <a:cubicBezTo>
                      <a:pt x="14981" y="3015"/>
                      <a:pt x="14999" y="3010"/>
                      <a:pt x="15019" y="2999"/>
                    </a:cubicBezTo>
                    <a:cubicBezTo>
                      <a:pt x="15041" y="2988"/>
                      <a:pt x="15054" y="3008"/>
                      <a:pt x="15075" y="3016"/>
                    </a:cubicBezTo>
                    <a:cubicBezTo>
                      <a:pt x="15098" y="3025"/>
                      <a:pt x="15127" y="3018"/>
                      <a:pt x="15151" y="3018"/>
                    </a:cubicBezTo>
                    <a:cubicBezTo>
                      <a:pt x="15174" y="3018"/>
                      <a:pt x="15193" y="3029"/>
                      <a:pt x="15217" y="3029"/>
                    </a:cubicBezTo>
                    <a:cubicBezTo>
                      <a:pt x="15235" y="3029"/>
                      <a:pt x="15274" y="3023"/>
                      <a:pt x="15244" y="2989"/>
                    </a:cubicBezTo>
                    <a:cubicBezTo>
                      <a:pt x="15222" y="2963"/>
                      <a:pt x="15211" y="2943"/>
                      <a:pt x="15203" y="2899"/>
                    </a:cubicBezTo>
                    <a:cubicBezTo>
                      <a:pt x="15199" y="2877"/>
                      <a:pt x="15191" y="2859"/>
                      <a:pt x="15178" y="2854"/>
                    </a:cubicBezTo>
                    <a:cubicBezTo>
                      <a:pt x="15168" y="2849"/>
                      <a:pt x="15158" y="2855"/>
                      <a:pt x="15148" y="2845"/>
                    </a:cubicBezTo>
                    <a:cubicBezTo>
                      <a:pt x="15136" y="2832"/>
                      <a:pt x="15138" y="2822"/>
                      <a:pt x="15148" y="2809"/>
                    </a:cubicBezTo>
                    <a:cubicBezTo>
                      <a:pt x="15177" y="2773"/>
                      <a:pt x="15161" y="2756"/>
                      <a:pt x="15151" y="2709"/>
                    </a:cubicBezTo>
                    <a:cubicBezTo>
                      <a:pt x="15147" y="2691"/>
                      <a:pt x="15142" y="2675"/>
                      <a:pt x="15137" y="2657"/>
                    </a:cubicBezTo>
                    <a:cubicBezTo>
                      <a:pt x="15126" y="2620"/>
                      <a:pt x="15116" y="2584"/>
                      <a:pt x="15086" y="2594"/>
                    </a:cubicBezTo>
                    <a:cubicBezTo>
                      <a:pt x="15073" y="2599"/>
                      <a:pt x="15072" y="2614"/>
                      <a:pt x="15063" y="2626"/>
                    </a:cubicBezTo>
                    <a:cubicBezTo>
                      <a:pt x="15054" y="2637"/>
                      <a:pt x="15040" y="2638"/>
                      <a:pt x="15030" y="2634"/>
                    </a:cubicBezTo>
                    <a:cubicBezTo>
                      <a:pt x="15018" y="2630"/>
                      <a:pt x="15011" y="2613"/>
                      <a:pt x="15001" y="2605"/>
                    </a:cubicBezTo>
                    <a:cubicBezTo>
                      <a:pt x="14987" y="2596"/>
                      <a:pt x="14980" y="2604"/>
                      <a:pt x="14968" y="2609"/>
                    </a:cubicBezTo>
                    <a:cubicBezTo>
                      <a:pt x="14944" y="2619"/>
                      <a:pt x="14910" y="2609"/>
                      <a:pt x="14888" y="2594"/>
                    </a:cubicBezTo>
                    <a:cubicBezTo>
                      <a:pt x="14871" y="2582"/>
                      <a:pt x="14840" y="2575"/>
                      <a:pt x="14850" y="2533"/>
                    </a:cubicBezTo>
                    <a:cubicBezTo>
                      <a:pt x="14854" y="2515"/>
                      <a:pt x="14861" y="2503"/>
                      <a:pt x="14863" y="2483"/>
                    </a:cubicBezTo>
                    <a:cubicBezTo>
                      <a:pt x="14865" y="2460"/>
                      <a:pt x="14866" y="2438"/>
                      <a:pt x="14869" y="2416"/>
                    </a:cubicBezTo>
                    <a:cubicBezTo>
                      <a:pt x="14871" y="2400"/>
                      <a:pt x="14880" y="2371"/>
                      <a:pt x="14877" y="2356"/>
                    </a:cubicBezTo>
                    <a:cubicBezTo>
                      <a:pt x="14874" y="2336"/>
                      <a:pt x="14860" y="2339"/>
                      <a:pt x="14849" y="2339"/>
                    </a:cubicBezTo>
                    <a:cubicBezTo>
                      <a:pt x="14825" y="2339"/>
                      <a:pt x="14797" y="2350"/>
                      <a:pt x="14774" y="2361"/>
                    </a:cubicBezTo>
                    <a:cubicBezTo>
                      <a:pt x="14755" y="2370"/>
                      <a:pt x="14737" y="2375"/>
                      <a:pt x="14719" y="2390"/>
                    </a:cubicBezTo>
                    <a:cubicBezTo>
                      <a:pt x="14707" y="2399"/>
                      <a:pt x="14697" y="2413"/>
                      <a:pt x="14685" y="2421"/>
                    </a:cubicBezTo>
                    <a:cubicBezTo>
                      <a:pt x="14676" y="2427"/>
                      <a:pt x="14658" y="2434"/>
                      <a:pt x="14650" y="2424"/>
                    </a:cubicBezTo>
                    <a:cubicBezTo>
                      <a:pt x="14640" y="2414"/>
                      <a:pt x="14638" y="2388"/>
                      <a:pt x="14623" y="2396"/>
                    </a:cubicBezTo>
                    <a:cubicBezTo>
                      <a:pt x="14618" y="2399"/>
                      <a:pt x="14614" y="2409"/>
                      <a:pt x="14609" y="2413"/>
                    </a:cubicBezTo>
                    <a:cubicBezTo>
                      <a:pt x="14605" y="2417"/>
                      <a:pt x="14597" y="2417"/>
                      <a:pt x="14592" y="2417"/>
                    </a:cubicBezTo>
                    <a:cubicBezTo>
                      <a:pt x="14579" y="2418"/>
                      <a:pt x="14579" y="2412"/>
                      <a:pt x="14569" y="2402"/>
                    </a:cubicBezTo>
                    <a:cubicBezTo>
                      <a:pt x="14545" y="2379"/>
                      <a:pt x="14526" y="2410"/>
                      <a:pt x="14503" y="2413"/>
                    </a:cubicBezTo>
                    <a:cubicBezTo>
                      <a:pt x="14479" y="2416"/>
                      <a:pt x="14454" y="2407"/>
                      <a:pt x="14431" y="2421"/>
                    </a:cubicBezTo>
                    <a:cubicBezTo>
                      <a:pt x="14408" y="2436"/>
                      <a:pt x="14389" y="2465"/>
                      <a:pt x="14367" y="2485"/>
                    </a:cubicBezTo>
                    <a:cubicBezTo>
                      <a:pt x="14355" y="2495"/>
                      <a:pt x="14342" y="2500"/>
                      <a:pt x="14332" y="2513"/>
                    </a:cubicBezTo>
                    <a:cubicBezTo>
                      <a:pt x="14322" y="2524"/>
                      <a:pt x="14315" y="2544"/>
                      <a:pt x="14307" y="2558"/>
                    </a:cubicBezTo>
                    <a:cubicBezTo>
                      <a:pt x="14301" y="2568"/>
                      <a:pt x="14294" y="2576"/>
                      <a:pt x="14289" y="2586"/>
                    </a:cubicBezTo>
                    <a:cubicBezTo>
                      <a:pt x="14285" y="2591"/>
                      <a:pt x="14284" y="2602"/>
                      <a:pt x="14280" y="2607"/>
                    </a:cubicBezTo>
                    <a:cubicBezTo>
                      <a:pt x="14266" y="2624"/>
                      <a:pt x="14269" y="2601"/>
                      <a:pt x="14267" y="2584"/>
                    </a:cubicBezTo>
                    <a:cubicBezTo>
                      <a:pt x="14265" y="2562"/>
                      <a:pt x="14259" y="2561"/>
                      <a:pt x="14246" y="2560"/>
                    </a:cubicBezTo>
                    <a:cubicBezTo>
                      <a:pt x="14235" y="2559"/>
                      <a:pt x="14224" y="2561"/>
                      <a:pt x="14214" y="2568"/>
                    </a:cubicBezTo>
                    <a:cubicBezTo>
                      <a:pt x="14196" y="2580"/>
                      <a:pt x="14173" y="2619"/>
                      <a:pt x="14155" y="2593"/>
                    </a:cubicBezTo>
                    <a:cubicBezTo>
                      <a:pt x="14145" y="2578"/>
                      <a:pt x="14141" y="2566"/>
                      <a:pt x="14128" y="2560"/>
                    </a:cubicBezTo>
                    <a:cubicBezTo>
                      <a:pt x="14115" y="2554"/>
                      <a:pt x="14103" y="2552"/>
                      <a:pt x="14089" y="2552"/>
                    </a:cubicBezTo>
                    <a:cubicBezTo>
                      <a:pt x="14060" y="2552"/>
                      <a:pt x="14030" y="2557"/>
                      <a:pt x="14001" y="2554"/>
                    </a:cubicBezTo>
                    <a:cubicBezTo>
                      <a:pt x="13988" y="2552"/>
                      <a:pt x="13983" y="2542"/>
                      <a:pt x="13975" y="2525"/>
                    </a:cubicBezTo>
                    <a:cubicBezTo>
                      <a:pt x="13964" y="2504"/>
                      <a:pt x="13966" y="2486"/>
                      <a:pt x="13959" y="2462"/>
                    </a:cubicBezTo>
                    <a:cubicBezTo>
                      <a:pt x="13948" y="2423"/>
                      <a:pt x="13920" y="2416"/>
                      <a:pt x="13911" y="2375"/>
                    </a:cubicBezTo>
                    <a:cubicBezTo>
                      <a:pt x="13906" y="2350"/>
                      <a:pt x="13903" y="2323"/>
                      <a:pt x="13894" y="2300"/>
                    </a:cubicBezTo>
                    <a:cubicBezTo>
                      <a:pt x="13885" y="2278"/>
                      <a:pt x="13875" y="2269"/>
                      <a:pt x="13860" y="2264"/>
                    </a:cubicBezTo>
                    <a:cubicBezTo>
                      <a:pt x="13843" y="2258"/>
                      <a:pt x="13828" y="2246"/>
                      <a:pt x="13811" y="2241"/>
                    </a:cubicBezTo>
                    <a:cubicBezTo>
                      <a:pt x="13793" y="2234"/>
                      <a:pt x="13773" y="2229"/>
                      <a:pt x="13755" y="2221"/>
                    </a:cubicBezTo>
                    <a:cubicBezTo>
                      <a:pt x="13743" y="2216"/>
                      <a:pt x="13731" y="2204"/>
                      <a:pt x="13721" y="2193"/>
                    </a:cubicBezTo>
                    <a:cubicBezTo>
                      <a:pt x="13711" y="2183"/>
                      <a:pt x="13700" y="2162"/>
                      <a:pt x="13687" y="2164"/>
                    </a:cubicBezTo>
                    <a:cubicBezTo>
                      <a:pt x="13672" y="2166"/>
                      <a:pt x="13668" y="2195"/>
                      <a:pt x="13661" y="2215"/>
                    </a:cubicBezTo>
                    <a:cubicBezTo>
                      <a:pt x="13657" y="2227"/>
                      <a:pt x="13651" y="2258"/>
                      <a:pt x="13645" y="2265"/>
                    </a:cubicBezTo>
                    <a:cubicBezTo>
                      <a:pt x="13631" y="2280"/>
                      <a:pt x="13630" y="2241"/>
                      <a:pt x="13619" y="2247"/>
                    </a:cubicBezTo>
                    <a:cubicBezTo>
                      <a:pt x="13609" y="2252"/>
                      <a:pt x="13611" y="2287"/>
                      <a:pt x="13607" y="2300"/>
                    </a:cubicBezTo>
                    <a:cubicBezTo>
                      <a:pt x="13605" y="2310"/>
                      <a:pt x="13594" y="2351"/>
                      <a:pt x="13587" y="2354"/>
                    </a:cubicBezTo>
                    <a:cubicBezTo>
                      <a:pt x="13576" y="2358"/>
                      <a:pt x="13569" y="2320"/>
                      <a:pt x="13567" y="2307"/>
                    </a:cubicBezTo>
                    <a:cubicBezTo>
                      <a:pt x="13561" y="2272"/>
                      <a:pt x="13560" y="2215"/>
                      <a:pt x="13570" y="2184"/>
                    </a:cubicBezTo>
                    <a:cubicBezTo>
                      <a:pt x="13586" y="2136"/>
                      <a:pt x="13609" y="2100"/>
                      <a:pt x="13626" y="2053"/>
                    </a:cubicBezTo>
                    <a:cubicBezTo>
                      <a:pt x="13645" y="1999"/>
                      <a:pt x="13659" y="1929"/>
                      <a:pt x="13692" y="1893"/>
                    </a:cubicBezTo>
                    <a:cubicBezTo>
                      <a:pt x="13703" y="1881"/>
                      <a:pt x="13715" y="1870"/>
                      <a:pt x="13727" y="1862"/>
                    </a:cubicBezTo>
                    <a:cubicBezTo>
                      <a:pt x="13736" y="1856"/>
                      <a:pt x="13744" y="1855"/>
                      <a:pt x="13746" y="1838"/>
                    </a:cubicBezTo>
                    <a:cubicBezTo>
                      <a:pt x="13750" y="1807"/>
                      <a:pt x="13734" y="1814"/>
                      <a:pt x="13726" y="1800"/>
                    </a:cubicBezTo>
                    <a:cubicBezTo>
                      <a:pt x="13706" y="1769"/>
                      <a:pt x="13759" y="1761"/>
                      <a:pt x="13770" y="1755"/>
                    </a:cubicBezTo>
                    <a:cubicBezTo>
                      <a:pt x="13779" y="1750"/>
                      <a:pt x="13789" y="1741"/>
                      <a:pt x="13798" y="1742"/>
                    </a:cubicBezTo>
                    <a:cubicBezTo>
                      <a:pt x="13807" y="1743"/>
                      <a:pt x="13836" y="1767"/>
                      <a:pt x="13837" y="1736"/>
                    </a:cubicBezTo>
                    <a:cubicBezTo>
                      <a:pt x="13837" y="1710"/>
                      <a:pt x="13818" y="1707"/>
                      <a:pt x="13807" y="1705"/>
                    </a:cubicBezTo>
                    <a:cubicBezTo>
                      <a:pt x="13782" y="1701"/>
                      <a:pt x="13755" y="1702"/>
                      <a:pt x="13731" y="1704"/>
                    </a:cubicBezTo>
                    <a:cubicBezTo>
                      <a:pt x="13707" y="1705"/>
                      <a:pt x="13676" y="1731"/>
                      <a:pt x="13657" y="1753"/>
                    </a:cubicBezTo>
                    <a:cubicBezTo>
                      <a:pt x="13636" y="1778"/>
                      <a:pt x="13613" y="1794"/>
                      <a:pt x="13592" y="1817"/>
                    </a:cubicBezTo>
                    <a:cubicBezTo>
                      <a:pt x="13576" y="1834"/>
                      <a:pt x="13559" y="1844"/>
                      <a:pt x="13543" y="1860"/>
                    </a:cubicBezTo>
                    <a:cubicBezTo>
                      <a:pt x="13533" y="1870"/>
                      <a:pt x="13526" y="1887"/>
                      <a:pt x="13523" y="1906"/>
                    </a:cubicBezTo>
                    <a:cubicBezTo>
                      <a:pt x="13519" y="1925"/>
                      <a:pt x="13518" y="1948"/>
                      <a:pt x="13525" y="1964"/>
                    </a:cubicBezTo>
                    <a:cubicBezTo>
                      <a:pt x="13532" y="1978"/>
                      <a:pt x="13546" y="1990"/>
                      <a:pt x="13557" y="1987"/>
                    </a:cubicBezTo>
                    <a:cubicBezTo>
                      <a:pt x="13569" y="1983"/>
                      <a:pt x="13594" y="1917"/>
                      <a:pt x="13606" y="1932"/>
                    </a:cubicBezTo>
                    <a:cubicBezTo>
                      <a:pt x="13618" y="1947"/>
                      <a:pt x="13598" y="2028"/>
                      <a:pt x="13591" y="2045"/>
                    </a:cubicBezTo>
                    <a:cubicBezTo>
                      <a:pt x="13584" y="2062"/>
                      <a:pt x="13579" y="2067"/>
                      <a:pt x="13577" y="2089"/>
                    </a:cubicBezTo>
                    <a:cubicBezTo>
                      <a:pt x="13575" y="2109"/>
                      <a:pt x="13574" y="2128"/>
                      <a:pt x="13559" y="2123"/>
                    </a:cubicBezTo>
                    <a:cubicBezTo>
                      <a:pt x="13530" y="2115"/>
                      <a:pt x="13552" y="2055"/>
                      <a:pt x="13538" y="2030"/>
                    </a:cubicBezTo>
                    <a:cubicBezTo>
                      <a:pt x="13530" y="2015"/>
                      <a:pt x="13513" y="2014"/>
                      <a:pt x="13505" y="1998"/>
                    </a:cubicBezTo>
                    <a:cubicBezTo>
                      <a:pt x="13498" y="1984"/>
                      <a:pt x="13497" y="1954"/>
                      <a:pt x="13484" y="1959"/>
                    </a:cubicBezTo>
                    <a:cubicBezTo>
                      <a:pt x="13474" y="1963"/>
                      <a:pt x="13468" y="1987"/>
                      <a:pt x="13462" y="1998"/>
                    </a:cubicBezTo>
                    <a:cubicBezTo>
                      <a:pt x="13452" y="2016"/>
                      <a:pt x="13441" y="2011"/>
                      <a:pt x="13431" y="2021"/>
                    </a:cubicBezTo>
                    <a:cubicBezTo>
                      <a:pt x="13412" y="2039"/>
                      <a:pt x="13408" y="2097"/>
                      <a:pt x="13394" y="2123"/>
                    </a:cubicBezTo>
                    <a:cubicBezTo>
                      <a:pt x="13376" y="2156"/>
                      <a:pt x="13346" y="2103"/>
                      <a:pt x="13329" y="2140"/>
                    </a:cubicBezTo>
                    <a:cubicBezTo>
                      <a:pt x="13322" y="2154"/>
                      <a:pt x="13322" y="2170"/>
                      <a:pt x="13313" y="2184"/>
                    </a:cubicBezTo>
                    <a:cubicBezTo>
                      <a:pt x="13305" y="2197"/>
                      <a:pt x="13294" y="2206"/>
                      <a:pt x="13284" y="2217"/>
                    </a:cubicBezTo>
                    <a:cubicBezTo>
                      <a:pt x="13263" y="2240"/>
                      <a:pt x="13236" y="2255"/>
                      <a:pt x="13211" y="2267"/>
                    </a:cubicBezTo>
                    <a:cubicBezTo>
                      <a:pt x="13188" y="2277"/>
                      <a:pt x="13164" y="2283"/>
                      <a:pt x="13141" y="2292"/>
                    </a:cubicBezTo>
                    <a:cubicBezTo>
                      <a:pt x="13123" y="2299"/>
                      <a:pt x="13103" y="2289"/>
                      <a:pt x="13084" y="2294"/>
                    </a:cubicBezTo>
                    <a:cubicBezTo>
                      <a:pt x="13065" y="2299"/>
                      <a:pt x="13051" y="2323"/>
                      <a:pt x="13035" y="2340"/>
                    </a:cubicBezTo>
                    <a:cubicBezTo>
                      <a:pt x="13015" y="2363"/>
                      <a:pt x="12995" y="2389"/>
                      <a:pt x="12975" y="2413"/>
                    </a:cubicBezTo>
                    <a:cubicBezTo>
                      <a:pt x="12952" y="2439"/>
                      <a:pt x="12921" y="2430"/>
                      <a:pt x="12895" y="2449"/>
                    </a:cubicBezTo>
                    <a:cubicBezTo>
                      <a:pt x="12881" y="2460"/>
                      <a:pt x="12870" y="2476"/>
                      <a:pt x="12858" y="2488"/>
                    </a:cubicBezTo>
                    <a:cubicBezTo>
                      <a:pt x="12850" y="2496"/>
                      <a:pt x="12841" y="2502"/>
                      <a:pt x="12830" y="2503"/>
                    </a:cubicBezTo>
                    <a:cubicBezTo>
                      <a:pt x="12801" y="2503"/>
                      <a:pt x="12784" y="2491"/>
                      <a:pt x="12762" y="2462"/>
                    </a:cubicBezTo>
                    <a:cubicBezTo>
                      <a:pt x="12751" y="2448"/>
                      <a:pt x="12736" y="2428"/>
                      <a:pt x="12721" y="2435"/>
                    </a:cubicBezTo>
                    <a:cubicBezTo>
                      <a:pt x="12708" y="2441"/>
                      <a:pt x="12698" y="2469"/>
                      <a:pt x="12687" y="2483"/>
                    </a:cubicBezTo>
                    <a:cubicBezTo>
                      <a:pt x="12678" y="2494"/>
                      <a:pt x="12667" y="2499"/>
                      <a:pt x="12657" y="2503"/>
                    </a:cubicBezTo>
                    <a:cubicBezTo>
                      <a:pt x="12648" y="2506"/>
                      <a:pt x="12634" y="2512"/>
                      <a:pt x="12627" y="2496"/>
                    </a:cubicBezTo>
                    <a:cubicBezTo>
                      <a:pt x="12620" y="2479"/>
                      <a:pt x="12629" y="2467"/>
                      <a:pt x="12635" y="2453"/>
                    </a:cubicBezTo>
                    <a:cubicBezTo>
                      <a:pt x="12648" y="2423"/>
                      <a:pt x="12663" y="2394"/>
                      <a:pt x="12670" y="2359"/>
                    </a:cubicBezTo>
                    <a:cubicBezTo>
                      <a:pt x="12674" y="2342"/>
                      <a:pt x="12675" y="2324"/>
                      <a:pt x="12678" y="2307"/>
                    </a:cubicBezTo>
                    <a:cubicBezTo>
                      <a:pt x="12682" y="2290"/>
                      <a:pt x="12688" y="2279"/>
                      <a:pt x="12693" y="2264"/>
                    </a:cubicBezTo>
                    <a:cubicBezTo>
                      <a:pt x="12698" y="2249"/>
                      <a:pt x="12698" y="2233"/>
                      <a:pt x="12707" y="2223"/>
                    </a:cubicBezTo>
                    <a:cubicBezTo>
                      <a:pt x="12712" y="2217"/>
                      <a:pt x="12719" y="2226"/>
                      <a:pt x="12720" y="2211"/>
                    </a:cubicBezTo>
                    <a:cubicBezTo>
                      <a:pt x="12720" y="2200"/>
                      <a:pt x="12714" y="2199"/>
                      <a:pt x="12710" y="2195"/>
                    </a:cubicBezTo>
                    <a:cubicBezTo>
                      <a:pt x="12693" y="2180"/>
                      <a:pt x="12673" y="2164"/>
                      <a:pt x="12654" y="2179"/>
                    </a:cubicBezTo>
                    <a:cubicBezTo>
                      <a:pt x="12627" y="2200"/>
                      <a:pt x="12599" y="2226"/>
                      <a:pt x="12572" y="2248"/>
                    </a:cubicBezTo>
                    <a:cubicBezTo>
                      <a:pt x="12544" y="2271"/>
                      <a:pt x="12514" y="2287"/>
                      <a:pt x="12485" y="2308"/>
                    </a:cubicBezTo>
                    <a:cubicBezTo>
                      <a:pt x="12456" y="2329"/>
                      <a:pt x="12428" y="2354"/>
                      <a:pt x="12399" y="2371"/>
                    </a:cubicBezTo>
                    <a:cubicBezTo>
                      <a:pt x="12373" y="2387"/>
                      <a:pt x="12340" y="2411"/>
                      <a:pt x="12312" y="2415"/>
                    </a:cubicBezTo>
                    <a:cubicBezTo>
                      <a:pt x="12303" y="2417"/>
                      <a:pt x="12289" y="2418"/>
                      <a:pt x="12279" y="2415"/>
                    </a:cubicBezTo>
                    <a:cubicBezTo>
                      <a:pt x="12266" y="2411"/>
                      <a:pt x="12264" y="2399"/>
                      <a:pt x="12257" y="2383"/>
                    </a:cubicBezTo>
                    <a:cubicBezTo>
                      <a:pt x="12251" y="2369"/>
                      <a:pt x="12244" y="2360"/>
                      <a:pt x="12233" y="2366"/>
                    </a:cubicBezTo>
                    <a:cubicBezTo>
                      <a:pt x="12225" y="2370"/>
                      <a:pt x="12214" y="2391"/>
                      <a:pt x="12205" y="2375"/>
                    </a:cubicBezTo>
                    <a:cubicBezTo>
                      <a:pt x="12203" y="2371"/>
                      <a:pt x="12202" y="2368"/>
                      <a:pt x="12201" y="2363"/>
                    </a:cubicBezTo>
                    <a:cubicBezTo>
                      <a:pt x="12197" y="2329"/>
                      <a:pt x="12234" y="2269"/>
                      <a:pt x="12246" y="2254"/>
                    </a:cubicBezTo>
                    <a:cubicBezTo>
                      <a:pt x="12268" y="2226"/>
                      <a:pt x="12296" y="2215"/>
                      <a:pt x="12317" y="2185"/>
                    </a:cubicBezTo>
                    <a:cubicBezTo>
                      <a:pt x="12337" y="2156"/>
                      <a:pt x="12355" y="2123"/>
                      <a:pt x="12377" y="2098"/>
                    </a:cubicBezTo>
                    <a:cubicBezTo>
                      <a:pt x="12399" y="2074"/>
                      <a:pt x="12420" y="2045"/>
                      <a:pt x="12440" y="2015"/>
                    </a:cubicBezTo>
                    <a:cubicBezTo>
                      <a:pt x="12490" y="1937"/>
                      <a:pt x="12522" y="1830"/>
                      <a:pt x="12576" y="1755"/>
                    </a:cubicBezTo>
                    <a:cubicBezTo>
                      <a:pt x="12591" y="1734"/>
                      <a:pt x="12606" y="1709"/>
                      <a:pt x="12623" y="1691"/>
                    </a:cubicBezTo>
                    <a:cubicBezTo>
                      <a:pt x="12649" y="1662"/>
                      <a:pt x="12678" y="1649"/>
                      <a:pt x="12703" y="1619"/>
                    </a:cubicBezTo>
                    <a:cubicBezTo>
                      <a:pt x="12717" y="1603"/>
                      <a:pt x="12729" y="1586"/>
                      <a:pt x="12743" y="1571"/>
                    </a:cubicBezTo>
                    <a:cubicBezTo>
                      <a:pt x="12774" y="1537"/>
                      <a:pt x="12811" y="1516"/>
                      <a:pt x="12845" y="1491"/>
                    </a:cubicBezTo>
                    <a:cubicBezTo>
                      <a:pt x="12875" y="1469"/>
                      <a:pt x="12906" y="1450"/>
                      <a:pt x="12935" y="1425"/>
                    </a:cubicBezTo>
                    <a:cubicBezTo>
                      <a:pt x="12962" y="1402"/>
                      <a:pt x="12992" y="1387"/>
                      <a:pt x="13018" y="1361"/>
                    </a:cubicBezTo>
                    <a:cubicBezTo>
                      <a:pt x="13039" y="1339"/>
                      <a:pt x="13062" y="1323"/>
                      <a:pt x="13082" y="1298"/>
                    </a:cubicBezTo>
                    <a:cubicBezTo>
                      <a:pt x="13091" y="1288"/>
                      <a:pt x="13129" y="1253"/>
                      <a:pt x="13126" y="1235"/>
                    </a:cubicBezTo>
                    <a:cubicBezTo>
                      <a:pt x="13110" y="1227"/>
                      <a:pt x="13080" y="1213"/>
                      <a:pt x="13063" y="1229"/>
                    </a:cubicBezTo>
                    <a:cubicBezTo>
                      <a:pt x="13045" y="1246"/>
                      <a:pt x="13033" y="1287"/>
                      <a:pt x="13011" y="1244"/>
                    </a:cubicBezTo>
                    <a:cubicBezTo>
                      <a:pt x="13002" y="1224"/>
                      <a:pt x="13000" y="1204"/>
                      <a:pt x="12988" y="1188"/>
                    </a:cubicBezTo>
                    <a:cubicBezTo>
                      <a:pt x="12979" y="1177"/>
                      <a:pt x="12967" y="1165"/>
                      <a:pt x="12957" y="1162"/>
                    </a:cubicBezTo>
                    <a:cubicBezTo>
                      <a:pt x="12943" y="1158"/>
                      <a:pt x="12928" y="1165"/>
                      <a:pt x="12914" y="1158"/>
                    </a:cubicBezTo>
                    <a:cubicBezTo>
                      <a:pt x="12902" y="1151"/>
                      <a:pt x="12893" y="1137"/>
                      <a:pt x="12879" y="1137"/>
                    </a:cubicBezTo>
                    <a:cubicBezTo>
                      <a:pt x="12860" y="1137"/>
                      <a:pt x="12851" y="1162"/>
                      <a:pt x="12836" y="1169"/>
                    </a:cubicBezTo>
                    <a:cubicBezTo>
                      <a:pt x="12820" y="1176"/>
                      <a:pt x="12810" y="1163"/>
                      <a:pt x="12798" y="1152"/>
                    </a:cubicBezTo>
                    <a:cubicBezTo>
                      <a:pt x="12777" y="1135"/>
                      <a:pt x="12767" y="1149"/>
                      <a:pt x="12748" y="1163"/>
                    </a:cubicBezTo>
                    <a:cubicBezTo>
                      <a:pt x="12731" y="1174"/>
                      <a:pt x="12712" y="1169"/>
                      <a:pt x="12700" y="1146"/>
                    </a:cubicBezTo>
                    <a:cubicBezTo>
                      <a:pt x="12688" y="1122"/>
                      <a:pt x="12692" y="1085"/>
                      <a:pt x="12679" y="1062"/>
                    </a:cubicBezTo>
                    <a:cubicBezTo>
                      <a:pt x="12661" y="1032"/>
                      <a:pt x="12644" y="1062"/>
                      <a:pt x="12628" y="1073"/>
                    </a:cubicBezTo>
                    <a:cubicBezTo>
                      <a:pt x="12616" y="1080"/>
                      <a:pt x="12607" y="1079"/>
                      <a:pt x="12597" y="1092"/>
                    </a:cubicBezTo>
                    <a:cubicBezTo>
                      <a:pt x="12587" y="1106"/>
                      <a:pt x="12578" y="1122"/>
                      <a:pt x="12568" y="1137"/>
                    </a:cubicBezTo>
                    <a:cubicBezTo>
                      <a:pt x="12551" y="1162"/>
                      <a:pt x="12516" y="1180"/>
                      <a:pt x="12493" y="1184"/>
                    </a:cubicBezTo>
                    <a:cubicBezTo>
                      <a:pt x="12477" y="1187"/>
                      <a:pt x="12461" y="1175"/>
                      <a:pt x="12447" y="1190"/>
                    </a:cubicBezTo>
                    <a:cubicBezTo>
                      <a:pt x="12431" y="1207"/>
                      <a:pt x="12427" y="1228"/>
                      <a:pt x="12406" y="1231"/>
                    </a:cubicBezTo>
                    <a:cubicBezTo>
                      <a:pt x="12388" y="1233"/>
                      <a:pt x="12377" y="1230"/>
                      <a:pt x="12367" y="1203"/>
                    </a:cubicBezTo>
                    <a:cubicBezTo>
                      <a:pt x="12357" y="1176"/>
                      <a:pt x="12372" y="1161"/>
                      <a:pt x="12370" y="1135"/>
                    </a:cubicBezTo>
                    <a:cubicBezTo>
                      <a:pt x="12369" y="1105"/>
                      <a:pt x="12347" y="1094"/>
                      <a:pt x="12334" y="1080"/>
                    </a:cubicBezTo>
                    <a:cubicBezTo>
                      <a:pt x="12317" y="1061"/>
                      <a:pt x="12301" y="1040"/>
                      <a:pt x="12284" y="1022"/>
                    </a:cubicBezTo>
                    <a:cubicBezTo>
                      <a:pt x="12266" y="1005"/>
                      <a:pt x="12248" y="990"/>
                      <a:pt x="12228" y="979"/>
                    </a:cubicBezTo>
                    <a:cubicBezTo>
                      <a:pt x="12222" y="975"/>
                      <a:pt x="12180" y="954"/>
                      <a:pt x="12175" y="967"/>
                    </a:cubicBezTo>
                    <a:cubicBezTo>
                      <a:pt x="12170" y="981"/>
                      <a:pt x="12168" y="1000"/>
                      <a:pt x="12169" y="1017"/>
                    </a:cubicBezTo>
                    <a:cubicBezTo>
                      <a:pt x="12147" y="1023"/>
                      <a:pt x="12128" y="1026"/>
                      <a:pt x="12110" y="1009"/>
                    </a:cubicBezTo>
                    <a:cubicBezTo>
                      <a:pt x="12102" y="1002"/>
                      <a:pt x="12084" y="984"/>
                      <a:pt x="12078" y="972"/>
                    </a:cubicBezTo>
                    <a:cubicBezTo>
                      <a:pt x="12072" y="957"/>
                      <a:pt x="12076" y="931"/>
                      <a:pt x="12071" y="920"/>
                    </a:cubicBezTo>
                    <a:cubicBezTo>
                      <a:pt x="12058" y="891"/>
                      <a:pt x="12030" y="904"/>
                      <a:pt x="12010" y="898"/>
                    </a:cubicBezTo>
                    <a:cubicBezTo>
                      <a:pt x="11994" y="894"/>
                      <a:pt x="11979" y="887"/>
                      <a:pt x="11964" y="880"/>
                    </a:cubicBezTo>
                    <a:cubicBezTo>
                      <a:pt x="11958" y="877"/>
                      <a:pt x="11954" y="871"/>
                      <a:pt x="11948" y="869"/>
                    </a:cubicBezTo>
                    <a:cubicBezTo>
                      <a:pt x="11940" y="867"/>
                      <a:pt x="11933" y="868"/>
                      <a:pt x="11925" y="868"/>
                    </a:cubicBezTo>
                    <a:cubicBezTo>
                      <a:pt x="11914" y="866"/>
                      <a:pt x="11903" y="863"/>
                      <a:pt x="11892" y="859"/>
                    </a:cubicBezTo>
                    <a:cubicBezTo>
                      <a:pt x="11876" y="853"/>
                      <a:pt x="11862" y="837"/>
                      <a:pt x="11852" y="813"/>
                    </a:cubicBezTo>
                    <a:cubicBezTo>
                      <a:pt x="11843" y="790"/>
                      <a:pt x="11838" y="758"/>
                      <a:pt x="11825" y="738"/>
                    </a:cubicBezTo>
                    <a:cubicBezTo>
                      <a:pt x="11818" y="726"/>
                      <a:pt x="11808" y="724"/>
                      <a:pt x="11799" y="718"/>
                    </a:cubicBezTo>
                    <a:cubicBezTo>
                      <a:pt x="11793" y="713"/>
                      <a:pt x="11787" y="706"/>
                      <a:pt x="11781" y="702"/>
                    </a:cubicBezTo>
                    <a:cubicBezTo>
                      <a:pt x="11773" y="698"/>
                      <a:pt x="11765" y="697"/>
                      <a:pt x="11756" y="696"/>
                    </a:cubicBezTo>
                    <a:cubicBezTo>
                      <a:pt x="11747" y="695"/>
                      <a:pt x="11743" y="698"/>
                      <a:pt x="11734" y="701"/>
                    </a:cubicBezTo>
                    <a:cubicBezTo>
                      <a:pt x="11726" y="704"/>
                      <a:pt x="11720" y="707"/>
                      <a:pt x="11714" y="718"/>
                    </a:cubicBezTo>
                    <a:cubicBezTo>
                      <a:pt x="11710" y="726"/>
                      <a:pt x="11706" y="735"/>
                      <a:pt x="11703" y="744"/>
                    </a:cubicBezTo>
                    <a:cubicBezTo>
                      <a:pt x="11700" y="751"/>
                      <a:pt x="11698" y="763"/>
                      <a:pt x="11694" y="769"/>
                    </a:cubicBezTo>
                    <a:cubicBezTo>
                      <a:pt x="11687" y="779"/>
                      <a:pt x="11674" y="783"/>
                      <a:pt x="11665" y="786"/>
                    </a:cubicBezTo>
                    <a:cubicBezTo>
                      <a:pt x="11643" y="794"/>
                      <a:pt x="11619" y="795"/>
                      <a:pt x="11596" y="788"/>
                    </a:cubicBezTo>
                    <a:cubicBezTo>
                      <a:pt x="11586" y="784"/>
                      <a:pt x="11544" y="758"/>
                      <a:pt x="11551" y="731"/>
                    </a:cubicBezTo>
                    <a:cubicBezTo>
                      <a:pt x="11553" y="722"/>
                      <a:pt x="11559" y="720"/>
                      <a:pt x="11560" y="710"/>
                    </a:cubicBezTo>
                    <a:cubicBezTo>
                      <a:pt x="11561" y="701"/>
                      <a:pt x="11561" y="689"/>
                      <a:pt x="11556" y="684"/>
                    </a:cubicBezTo>
                    <a:cubicBezTo>
                      <a:pt x="11550" y="678"/>
                      <a:pt x="11537" y="680"/>
                      <a:pt x="11530" y="680"/>
                    </a:cubicBezTo>
                    <a:cubicBezTo>
                      <a:pt x="11510" y="680"/>
                      <a:pt x="11491" y="670"/>
                      <a:pt x="11472" y="670"/>
                    </a:cubicBezTo>
                    <a:cubicBezTo>
                      <a:pt x="11462" y="670"/>
                      <a:pt x="11453" y="667"/>
                      <a:pt x="11444" y="661"/>
                    </a:cubicBezTo>
                    <a:cubicBezTo>
                      <a:pt x="11433" y="656"/>
                      <a:pt x="11422" y="653"/>
                      <a:pt x="11412" y="646"/>
                    </a:cubicBezTo>
                    <a:cubicBezTo>
                      <a:pt x="11405" y="642"/>
                      <a:pt x="11400" y="635"/>
                      <a:pt x="11392" y="632"/>
                    </a:cubicBezTo>
                    <a:cubicBezTo>
                      <a:pt x="11379" y="629"/>
                      <a:pt x="11365" y="625"/>
                      <a:pt x="11352" y="624"/>
                    </a:cubicBezTo>
                    <a:cubicBezTo>
                      <a:pt x="11340" y="623"/>
                      <a:pt x="11328" y="625"/>
                      <a:pt x="11316" y="624"/>
                    </a:cubicBezTo>
                    <a:cubicBezTo>
                      <a:pt x="11307" y="622"/>
                      <a:pt x="11299" y="617"/>
                      <a:pt x="11290" y="611"/>
                    </a:cubicBezTo>
                    <a:cubicBezTo>
                      <a:pt x="11283" y="607"/>
                      <a:pt x="11275" y="604"/>
                      <a:pt x="11268" y="598"/>
                    </a:cubicBezTo>
                    <a:cubicBezTo>
                      <a:pt x="11261" y="591"/>
                      <a:pt x="11257" y="579"/>
                      <a:pt x="11253" y="568"/>
                    </a:cubicBezTo>
                    <a:cubicBezTo>
                      <a:pt x="11248" y="555"/>
                      <a:pt x="11244" y="542"/>
                      <a:pt x="11241" y="529"/>
                    </a:cubicBezTo>
                    <a:cubicBezTo>
                      <a:pt x="11232" y="500"/>
                      <a:pt x="11231" y="474"/>
                      <a:pt x="11232" y="443"/>
                    </a:cubicBezTo>
                    <a:cubicBezTo>
                      <a:pt x="11232" y="432"/>
                      <a:pt x="11232" y="420"/>
                      <a:pt x="11232" y="409"/>
                    </a:cubicBezTo>
                    <a:cubicBezTo>
                      <a:pt x="11232" y="388"/>
                      <a:pt x="11228" y="368"/>
                      <a:pt x="11222" y="349"/>
                    </a:cubicBezTo>
                    <a:cubicBezTo>
                      <a:pt x="11214" y="321"/>
                      <a:pt x="11212" y="290"/>
                      <a:pt x="11206" y="260"/>
                    </a:cubicBezTo>
                    <a:cubicBezTo>
                      <a:pt x="11201" y="233"/>
                      <a:pt x="11196" y="207"/>
                      <a:pt x="11192" y="180"/>
                    </a:cubicBezTo>
                    <a:cubicBezTo>
                      <a:pt x="11190" y="164"/>
                      <a:pt x="11186" y="149"/>
                      <a:pt x="11184" y="134"/>
                    </a:cubicBezTo>
                    <a:cubicBezTo>
                      <a:pt x="11182" y="120"/>
                      <a:pt x="11181" y="106"/>
                      <a:pt x="11178" y="92"/>
                    </a:cubicBezTo>
                    <a:cubicBezTo>
                      <a:pt x="11174" y="71"/>
                      <a:pt x="11166" y="45"/>
                      <a:pt x="11156" y="30"/>
                    </a:cubicBezTo>
                    <a:cubicBezTo>
                      <a:pt x="11147" y="16"/>
                      <a:pt x="11131" y="13"/>
                      <a:pt x="11119" y="6"/>
                    </a:cubicBezTo>
                    <a:cubicBezTo>
                      <a:pt x="11111" y="1"/>
                      <a:pt x="11088" y="-6"/>
                      <a:pt x="11083" y="9"/>
                    </a:cubicBezTo>
                    <a:cubicBezTo>
                      <a:pt x="11080" y="18"/>
                      <a:pt x="11082" y="35"/>
                      <a:pt x="11080" y="45"/>
                    </a:cubicBezTo>
                    <a:cubicBezTo>
                      <a:pt x="11079" y="57"/>
                      <a:pt x="11075" y="67"/>
                      <a:pt x="11072" y="77"/>
                    </a:cubicBezTo>
                    <a:cubicBezTo>
                      <a:pt x="11069" y="85"/>
                      <a:pt x="11067" y="95"/>
                      <a:pt x="11063" y="103"/>
                    </a:cubicBezTo>
                    <a:cubicBezTo>
                      <a:pt x="11059" y="113"/>
                      <a:pt x="11052" y="120"/>
                      <a:pt x="11053" y="133"/>
                    </a:cubicBezTo>
                    <a:cubicBezTo>
                      <a:pt x="11053" y="166"/>
                      <a:pt x="11075" y="171"/>
                      <a:pt x="11084" y="195"/>
                    </a:cubicBezTo>
                    <a:cubicBezTo>
                      <a:pt x="11087" y="204"/>
                      <a:pt x="11092" y="215"/>
                      <a:pt x="11090" y="225"/>
                    </a:cubicBezTo>
                    <a:cubicBezTo>
                      <a:pt x="11089" y="233"/>
                      <a:pt x="11083" y="245"/>
                      <a:pt x="11080" y="251"/>
                    </a:cubicBezTo>
                    <a:cubicBezTo>
                      <a:pt x="11070" y="267"/>
                      <a:pt x="11065" y="283"/>
                      <a:pt x="11059" y="303"/>
                    </a:cubicBezTo>
                    <a:cubicBezTo>
                      <a:pt x="11054" y="320"/>
                      <a:pt x="11052" y="358"/>
                      <a:pt x="11039" y="361"/>
                    </a:cubicBezTo>
                    <a:lnTo>
                      <a:pt x="10313" y="361"/>
                    </a:lnTo>
                    <a:lnTo>
                      <a:pt x="10027" y="362"/>
                    </a:lnTo>
                    <a:lnTo>
                      <a:pt x="8943" y="359"/>
                    </a:lnTo>
                    <a:lnTo>
                      <a:pt x="7760" y="359"/>
                    </a:lnTo>
                    <a:lnTo>
                      <a:pt x="7763" y="3053"/>
                    </a:lnTo>
                    <a:lnTo>
                      <a:pt x="7764" y="3894"/>
                    </a:lnTo>
                    <a:lnTo>
                      <a:pt x="7760" y="359"/>
                    </a:lnTo>
                    <a:lnTo>
                      <a:pt x="7749" y="359"/>
                    </a:lnTo>
                    <a:lnTo>
                      <a:pt x="6570" y="361"/>
                    </a:lnTo>
                    <a:lnTo>
                      <a:pt x="5486" y="362"/>
                    </a:lnTo>
                    <a:lnTo>
                      <a:pt x="4493" y="361"/>
                    </a:lnTo>
                    <a:lnTo>
                      <a:pt x="3336" y="361"/>
                    </a:lnTo>
                    <a:lnTo>
                      <a:pt x="3245" y="361"/>
                    </a:lnTo>
                    <a:lnTo>
                      <a:pt x="2875" y="362"/>
                    </a:lnTo>
                    <a:lnTo>
                      <a:pt x="2425" y="363"/>
                    </a:lnTo>
                    <a:lnTo>
                      <a:pt x="1503" y="358"/>
                    </a:lnTo>
                    <a:lnTo>
                      <a:pt x="778" y="358"/>
                    </a:lnTo>
                    <a:cubicBezTo>
                      <a:pt x="772" y="358"/>
                      <a:pt x="766" y="358"/>
                      <a:pt x="759" y="358"/>
                    </a:cubicBezTo>
                    <a:cubicBezTo>
                      <a:pt x="757" y="358"/>
                      <a:pt x="754" y="358"/>
                      <a:pt x="752" y="358"/>
                    </a:cubicBezTo>
                    <a:cubicBezTo>
                      <a:pt x="739" y="358"/>
                      <a:pt x="737" y="372"/>
                      <a:pt x="738" y="391"/>
                    </a:cubicBezTo>
                    <a:cubicBezTo>
                      <a:pt x="738" y="401"/>
                      <a:pt x="739" y="408"/>
                      <a:pt x="737" y="417"/>
                    </a:cubicBezTo>
                    <a:cubicBezTo>
                      <a:pt x="734" y="426"/>
                      <a:pt x="733" y="431"/>
                      <a:pt x="733" y="442"/>
                    </a:cubicBezTo>
                    <a:cubicBezTo>
                      <a:pt x="732" y="461"/>
                      <a:pt x="738" y="478"/>
                      <a:pt x="744" y="493"/>
                    </a:cubicBezTo>
                    <a:cubicBezTo>
                      <a:pt x="750" y="509"/>
                      <a:pt x="753" y="528"/>
                      <a:pt x="764" y="537"/>
                    </a:cubicBezTo>
                    <a:cubicBezTo>
                      <a:pt x="773" y="544"/>
                      <a:pt x="778" y="554"/>
                      <a:pt x="789" y="550"/>
                    </a:cubicBezTo>
                    <a:cubicBezTo>
                      <a:pt x="798" y="547"/>
                      <a:pt x="812" y="539"/>
                      <a:pt x="817" y="559"/>
                    </a:cubicBezTo>
                    <a:cubicBezTo>
                      <a:pt x="819" y="567"/>
                      <a:pt x="818" y="580"/>
                      <a:pt x="819" y="590"/>
                    </a:cubicBezTo>
                    <a:cubicBezTo>
                      <a:pt x="820" y="599"/>
                      <a:pt x="821" y="608"/>
                      <a:pt x="821" y="617"/>
                    </a:cubicBezTo>
                    <a:cubicBezTo>
                      <a:pt x="820" y="640"/>
                      <a:pt x="827" y="661"/>
                      <a:pt x="833" y="681"/>
                    </a:cubicBezTo>
                    <a:cubicBezTo>
                      <a:pt x="840" y="702"/>
                      <a:pt x="850" y="728"/>
                      <a:pt x="844" y="753"/>
                    </a:cubicBezTo>
                    <a:cubicBezTo>
                      <a:pt x="837" y="755"/>
                      <a:pt x="833" y="753"/>
                      <a:pt x="827" y="745"/>
                    </a:cubicBezTo>
                    <a:cubicBezTo>
                      <a:pt x="824" y="741"/>
                      <a:pt x="817" y="722"/>
                      <a:pt x="812" y="728"/>
                    </a:cubicBezTo>
                    <a:cubicBezTo>
                      <a:pt x="800" y="741"/>
                      <a:pt x="842" y="815"/>
                      <a:pt x="826" y="839"/>
                    </a:cubicBezTo>
                    <a:cubicBezTo>
                      <a:pt x="818" y="851"/>
                      <a:pt x="802" y="823"/>
                      <a:pt x="797" y="842"/>
                    </a:cubicBezTo>
                    <a:cubicBezTo>
                      <a:pt x="791" y="868"/>
                      <a:pt x="818" y="897"/>
                      <a:pt x="827" y="907"/>
                    </a:cubicBezTo>
                    <a:cubicBezTo>
                      <a:pt x="839" y="919"/>
                      <a:pt x="848" y="935"/>
                      <a:pt x="855" y="954"/>
                    </a:cubicBezTo>
                    <a:cubicBezTo>
                      <a:pt x="862" y="971"/>
                      <a:pt x="868" y="992"/>
                      <a:pt x="856" y="1006"/>
                    </a:cubicBezTo>
                    <a:cubicBezTo>
                      <a:pt x="847" y="1016"/>
                      <a:pt x="812" y="1026"/>
                      <a:pt x="815" y="1052"/>
                    </a:cubicBezTo>
                    <a:cubicBezTo>
                      <a:pt x="822" y="1052"/>
                      <a:pt x="830" y="1049"/>
                      <a:pt x="836" y="1046"/>
                    </a:cubicBezTo>
                    <a:cubicBezTo>
                      <a:pt x="842" y="1042"/>
                      <a:pt x="847" y="1029"/>
                      <a:pt x="853" y="1027"/>
                    </a:cubicBezTo>
                    <a:cubicBezTo>
                      <a:pt x="860" y="1025"/>
                      <a:pt x="863" y="1034"/>
                      <a:pt x="863" y="1044"/>
                    </a:cubicBezTo>
                    <a:cubicBezTo>
                      <a:pt x="862" y="1057"/>
                      <a:pt x="854" y="1061"/>
                      <a:pt x="852" y="1072"/>
                    </a:cubicBezTo>
                    <a:cubicBezTo>
                      <a:pt x="849" y="1087"/>
                      <a:pt x="851" y="1116"/>
                      <a:pt x="861" y="1120"/>
                    </a:cubicBezTo>
                    <a:cubicBezTo>
                      <a:pt x="868" y="1122"/>
                      <a:pt x="876" y="1118"/>
                      <a:pt x="882" y="1122"/>
                    </a:cubicBezTo>
                    <a:cubicBezTo>
                      <a:pt x="891" y="1128"/>
                      <a:pt x="895" y="1140"/>
                      <a:pt x="901" y="1152"/>
                    </a:cubicBezTo>
                    <a:cubicBezTo>
                      <a:pt x="906" y="1163"/>
                      <a:pt x="908" y="1176"/>
                      <a:pt x="911" y="1190"/>
                    </a:cubicBezTo>
                    <a:cubicBezTo>
                      <a:pt x="913" y="1198"/>
                      <a:pt x="915" y="1206"/>
                      <a:pt x="919" y="1213"/>
                    </a:cubicBezTo>
                    <a:cubicBezTo>
                      <a:pt x="921" y="1216"/>
                      <a:pt x="925" y="1219"/>
                      <a:pt x="926" y="1223"/>
                    </a:cubicBezTo>
                    <a:cubicBezTo>
                      <a:pt x="929" y="1232"/>
                      <a:pt x="926" y="1253"/>
                      <a:pt x="924" y="1261"/>
                    </a:cubicBezTo>
                    <a:cubicBezTo>
                      <a:pt x="922" y="1275"/>
                      <a:pt x="914" y="1280"/>
                      <a:pt x="908" y="1289"/>
                    </a:cubicBezTo>
                    <a:cubicBezTo>
                      <a:pt x="902" y="1298"/>
                      <a:pt x="901" y="1311"/>
                      <a:pt x="896" y="1321"/>
                    </a:cubicBezTo>
                    <a:cubicBezTo>
                      <a:pt x="889" y="1332"/>
                      <a:pt x="887" y="1339"/>
                      <a:pt x="884" y="1353"/>
                    </a:cubicBezTo>
                    <a:cubicBezTo>
                      <a:pt x="882" y="1364"/>
                      <a:pt x="877" y="1374"/>
                      <a:pt x="876" y="1385"/>
                    </a:cubicBezTo>
                    <a:cubicBezTo>
                      <a:pt x="874" y="1399"/>
                      <a:pt x="876" y="1413"/>
                      <a:pt x="877" y="1427"/>
                    </a:cubicBezTo>
                    <a:cubicBezTo>
                      <a:pt x="879" y="1439"/>
                      <a:pt x="885" y="1451"/>
                      <a:pt x="885" y="1463"/>
                    </a:cubicBezTo>
                    <a:cubicBezTo>
                      <a:pt x="885" y="1475"/>
                      <a:pt x="878" y="1493"/>
                      <a:pt x="873" y="1503"/>
                    </a:cubicBezTo>
                    <a:cubicBezTo>
                      <a:pt x="870" y="1511"/>
                      <a:pt x="862" y="1520"/>
                      <a:pt x="865" y="1533"/>
                    </a:cubicBezTo>
                    <a:cubicBezTo>
                      <a:pt x="866" y="1541"/>
                      <a:pt x="874" y="1550"/>
                      <a:pt x="877" y="1555"/>
                    </a:cubicBezTo>
                    <a:cubicBezTo>
                      <a:pt x="885" y="1565"/>
                      <a:pt x="893" y="1571"/>
                      <a:pt x="892" y="1590"/>
                    </a:cubicBezTo>
                    <a:cubicBezTo>
                      <a:pt x="891" y="1613"/>
                      <a:pt x="876" y="1616"/>
                      <a:pt x="873" y="1637"/>
                    </a:cubicBezTo>
                    <a:cubicBezTo>
                      <a:pt x="870" y="1655"/>
                      <a:pt x="876" y="1678"/>
                      <a:pt x="880" y="1694"/>
                    </a:cubicBezTo>
                    <a:cubicBezTo>
                      <a:pt x="888" y="1719"/>
                      <a:pt x="892" y="1749"/>
                      <a:pt x="891" y="1777"/>
                    </a:cubicBezTo>
                    <a:cubicBezTo>
                      <a:pt x="891" y="1799"/>
                      <a:pt x="875" y="1815"/>
                      <a:pt x="868" y="1833"/>
                    </a:cubicBezTo>
                    <a:cubicBezTo>
                      <a:pt x="864" y="1846"/>
                      <a:pt x="860" y="1884"/>
                      <a:pt x="848" y="1873"/>
                    </a:cubicBezTo>
                    <a:cubicBezTo>
                      <a:pt x="842" y="1869"/>
                      <a:pt x="839" y="1854"/>
                      <a:pt x="832" y="1857"/>
                    </a:cubicBezTo>
                    <a:cubicBezTo>
                      <a:pt x="827" y="1859"/>
                      <a:pt x="824" y="1876"/>
                      <a:pt x="822" y="1883"/>
                    </a:cubicBezTo>
                    <a:cubicBezTo>
                      <a:pt x="819" y="1895"/>
                      <a:pt x="818" y="1906"/>
                      <a:pt x="817" y="1919"/>
                    </a:cubicBezTo>
                    <a:cubicBezTo>
                      <a:pt x="814" y="1935"/>
                      <a:pt x="808" y="1949"/>
                      <a:pt x="804" y="1964"/>
                    </a:cubicBezTo>
                    <a:cubicBezTo>
                      <a:pt x="803" y="1971"/>
                      <a:pt x="801" y="1978"/>
                      <a:pt x="799" y="1985"/>
                    </a:cubicBezTo>
                    <a:cubicBezTo>
                      <a:pt x="796" y="1995"/>
                      <a:pt x="793" y="1996"/>
                      <a:pt x="788" y="2002"/>
                    </a:cubicBezTo>
                    <a:cubicBezTo>
                      <a:pt x="780" y="2012"/>
                      <a:pt x="774" y="2026"/>
                      <a:pt x="766" y="2034"/>
                    </a:cubicBezTo>
                    <a:cubicBezTo>
                      <a:pt x="750" y="2048"/>
                      <a:pt x="750" y="2023"/>
                      <a:pt x="743" y="2009"/>
                    </a:cubicBezTo>
                    <a:cubicBezTo>
                      <a:pt x="729" y="1982"/>
                      <a:pt x="708" y="2029"/>
                      <a:pt x="696" y="2039"/>
                    </a:cubicBezTo>
                    <a:cubicBezTo>
                      <a:pt x="687" y="2047"/>
                      <a:pt x="678" y="2059"/>
                      <a:pt x="667" y="2062"/>
                    </a:cubicBezTo>
                    <a:cubicBezTo>
                      <a:pt x="661" y="2064"/>
                      <a:pt x="659" y="2061"/>
                      <a:pt x="654" y="2055"/>
                    </a:cubicBezTo>
                    <a:cubicBezTo>
                      <a:pt x="648" y="2048"/>
                      <a:pt x="640" y="2038"/>
                      <a:pt x="633" y="2032"/>
                    </a:cubicBezTo>
                    <a:cubicBezTo>
                      <a:pt x="628" y="2028"/>
                      <a:pt x="623" y="2024"/>
                      <a:pt x="619" y="2018"/>
                    </a:cubicBezTo>
                    <a:cubicBezTo>
                      <a:pt x="615" y="2013"/>
                      <a:pt x="610" y="2008"/>
                      <a:pt x="608" y="2001"/>
                    </a:cubicBezTo>
                    <a:cubicBezTo>
                      <a:pt x="603" y="1989"/>
                      <a:pt x="610" y="1987"/>
                      <a:pt x="616" y="1981"/>
                    </a:cubicBezTo>
                    <a:cubicBezTo>
                      <a:pt x="642" y="1954"/>
                      <a:pt x="658" y="1912"/>
                      <a:pt x="676" y="1872"/>
                    </a:cubicBezTo>
                    <a:cubicBezTo>
                      <a:pt x="683" y="1857"/>
                      <a:pt x="691" y="1843"/>
                      <a:pt x="699" y="1828"/>
                    </a:cubicBezTo>
                    <a:cubicBezTo>
                      <a:pt x="702" y="1821"/>
                      <a:pt x="713" y="1789"/>
                      <a:pt x="720" y="1806"/>
                    </a:cubicBezTo>
                    <a:cubicBezTo>
                      <a:pt x="724" y="1816"/>
                      <a:pt x="720" y="1847"/>
                      <a:pt x="718" y="1858"/>
                    </a:cubicBezTo>
                    <a:cubicBezTo>
                      <a:pt x="715" y="1874"/>
                      <a:pt x="710" y="1897"/>
                      <a:pt x="711" y="1913"/>
                    </a:cubicBezTo>
                    <a:cubicBezTo>
                      <a:pt x="727" y="1918"/>
                      <a:pt x="728" y="1872"/>
                      <a:pt x="730" y="1855"/>
                    </a:cubicBezTo>
                    <a:cubicBezTo>
                      <a:pt x="734" y="1833"/>
                      <a:pt x="735" y="1807"/>
                      <a:pt x="747" y="1794"/>
                    </a:cubicBezTo>
                    <a:cubicBezTo>
                      <a:pt x="753" y="1788"/>
                      <a:pt x="757" y="1782"/>
                      <a:pt x="763" y="1775"/>
                    </a:cubicBezTo>
                    <a:cubicBezTo>
                      <a:pt x="767" y="1770"/>
                      <a:pt x="773" y="1757"/>
                      <a:pt x="779" y="1755"/>
                    </a:cubicBezTo>
                    <a:cubicBezTo>
                      <a:pt x="792" y="1751"/>
                      <a:pt x="787" y="1787"/>
                      <a:pt x="785" y="1798"/>
                    </a:cubicBezTo>
                    <a:cubicBezTo>
                      <a:pt x="783" y="1809"/>
                      <a:pt x="780" y="1824"/>
                      <a:pt x="784" y="1834"/>
                    </a:cubicBezTo>
                    <a:cubicBezTo>
                      <a:pt x="789" y="1842"/>
                      <a:pt x="795" y="1842"/>
                      <a:pt x="801" y="1842"/>
                    </a:cubicBezTo>
                    <a:cubicBezTo>
                      <a:pt x="805" y="1827"/>
                      <a:pt x="803" y="1818"/>
                      <a:pt x="802" y="1803"/>
                    </a:cubicBezTo>
                    <a:cubicBezTo>
                      <a:pt x="802" y="1788"/>
                      <a:pt x="803" y="1773"/>
                      <a:pt x="803" y="1759"/>
                    </a:cubicBezTo>
                    <a:cubicBezTo>
                      <a:pt x="803" y="1747"/>
                      <a:pt x="802" y="1723"/>
                      <a:pt x="807" y="1715"/>
                    </a:cubicBezTo>
                    <a:cubicBezTo>
                      <a:pt x="813" y="1706"/>
                      <a:pt x="816" y="1710"/>
                      <a:pt x="817" y="1694"/>
                    </a:cubicBezTo>
                    <a:cubicBezTo>
                      <a:pt x="817" y="1680"/>
                      <a:pt x="817" y="1672"/>
                      <a:pt x="813" y="1661"/>
                    </a:cubicBezTo>
                    <a:cubicBezTo>
                      <a:pt x="808" y="1648"/>
                      <a:pt x="807" y="1610"/>
                      <a:pt x="795" y="1632"/>
                    </a:cubicBezTo>
                    <a:cubicBezTo>
                      <a:pt x="787" y="1647"/>
                      <a:pt x="775" y="1666"/>
                      <a:pt x="762" y="1668"/>
                    </a:cubicBezTo>
                    <a:cubicBezTo>
                      <a:pt x="759" y="1658"/>
                      <a:pt x="759" y="1643"/>
                      <a:pt x="761" y="1632"/>
                    </a:cubicBezTo>
                    <a:cubicBezTo>
                      <a:pt x="764" y="1620"/>
                      <a:pt x="768" y="1613"/>
                      <a:pt x="767" y="1599"/>
                    </a:cubicBezTo>
                    <a:cubicBezTo>
                      <a:pt x="765" y="1585"/>
                      <a:pt x="759" y="1585"/>
                      <a:pt x="754" y="1575"/>
                    </a:cubicBezTo>
                    <a:cubicBezTo>
                      <a:pt x="751" y="1568"/>
                      <a:pt x="749" y="1549"/>
                      <a:pt x="750" y="1540"/>
                    </a:cubicBezTo>
                    <a:cubicBezTo>
                      <a:pt x="750" y="1540"/>
                      <a:pt x="777" y="1559"/>
                      <a:pt x="777" y="1528"/>
                    </a:cubicBezTo>
                    <a:cubicBezTo>
                      <a:pt x="777" y="1515"/>
                      <a:pt x="778" y="1502"/>
                      <a:pt x="776" y="1490"/>
                    </a:cubicBezTo>
                    <a:cubicBezTo>
                      <a:pt x="774" y="1480"/>
                      <a:pt x="771" y="1473"/>
                      <a:pt x="773" y="1462"/>
                    </a:cubicBezTo>
                    <a:cubicBezTo>
                      <a:pt x="776" y="1450"/>
                      <a:pt x="780" y="1449"/>
                      <a:pt x="787" y="1452"/>
                    </a:cubicBezTo>
                    <a:cubicBezTo>
                      <a:pt x="791" y="1454"/>
                      <a:pt x="797" y="1460"/>
                      <a:pt x="802" y="1455"/>
                    </a:cubicBezTo>
                    <a:cubicBezTo>
                      <a:pt x="807" y="1451"/>
                      <a:pt x="807" y="1436"/>
                      <a:pt x="812" y="1431"/>
                    </a:cubicBezTo>
                    <a:cubicBezTo>
                      <a:pt x="819" y="1423"/>
                      <a:pt x="837" y="1455"/>
                      <a:pt x="834" y="1422"/>
                    </a:cubicBezTo>
                    <a:cubicBezTo>
                      <a:pt x="833" y="1406"/>
                      <a:pt x="827" y="1374"/>
                      <a:pt x="814" y="1382"/>
                    </a:cubicBezTo>
                    <a:cubicBezTo>
                      <a:pt x="808" y="1386"/>
                      <a:pt x="807" y="1399"/>
                      <a:pt x="801" y="1404"/>
                    </a:cubicBezTo>
                    <a:cubicBezTo>
                      <a:pt x="795" y="1410"/>
                      <a:pt x="789" y="1402"/>
                      <a:pt x="783" y="1401"/>
                    </a:cubicBezTo>
                    <a:cubicBezTo>
                      <a:pt x="772" y="1400"/>
                      <a:pt x="758" y="1426"/>
                      <a:pt x="754" y="1442"/>
                    </a:cubicBezTo>
                    <a:cubicBezTo>
                      <a:pt x="749" y="1461"/>
                      <a:pt x="748" y="1489"/>
                      <a:pt x="738" y="1505"/>
                    </a:cubicBezTo>
                    <a:cubicBezTo>
                      <a:pt x="720" y="1535"/>
                      <a:pt x="699" y="1592"/>
                      <a:pt x="668" y="1583"/>
                    </a:cubicBezTo>
                    <a:cubicBezTo>
                      <a:pt x="661" y="1581"/>
                      <a:pt x="663" y="1575"/>
                      <a:pt x="663" y="1563"/>
                    </a:cubicBezTo>
                    <a:cubicBezTo>
                      <a:pt x="663" y="1552"/>
                      <a:pt x="663" y="1542"/>
                      <a:pt x="666" y="1532"/>
                    </a:cubicBezTo>
                    <a:cubicBezTo>
                      <a:pt x="674" y="1506"/>
                      <a:pt x="689" y="1485"/>
                      <a:pt x="696" y="1458"/>
                    </a:cubicBezTo>
                    <a:cubicBezTo>
                      <a:pt x="701" y="1438"/>
                      <a:pt x="703" y="1414"/>
                      <a:pt x="713" y="1399"/>
                    </a:cubicBezTo>
                    <a:cubicBezTo>
                      <a:pt x="725" y="1382"/>
                      <a:pt x="724" y="1421"/>
                      <a:pt x="725" y="1432"/>
                    </a:cubicBezTo>
                    <a:cubicBezTo>
                      <a:pt x="727" y="1444"/>
                      <a:pt x="732" y="1446"/>
                      <a:pt x="735" y="1435"/>
                    </a:cubicBezTo>
                    <a:cubicBezTo>
                      <a:pt x="739" y="1425"/>
                      <a:pt x="738" y="1414"/>
                      <a:pt x="741" y="1403"/>
                    </a:cubicBezTo>
                    <a:cubicBezTo>
                      <a:pt x="744" y="1388"/>
                      <a:pt x="753" y="1376"/>
                      <a:pt x="758" y="1362"/>
                    </a:cubicBezTo>
                    <a:cubicBezTo>
                      <a:pt x="765" y="1346"/>
                      <a:pt x="768" y="1333"/>
                      <a:pt x="766" y="1313"/>
                    </a:cubicBezTo>
                    <a:cubicBezTo>
                      <a:pt x="763" y="1292"/>
                      <a:pt x="756" y="1263"/>
                      <a:pt x="748" y="1246"/>
                    </a:cubicBezTo>
                    <a:cubicBezTo>
                      <a:pt x="741" y="1230"/>
                      <a:pt x="732" y="1209"/>
                      <a:pt x="723" y="1198"/>
                    </a:cubicBezTo>
                    <a:cubicBezTo>
                      <a:pt x="710" y="1183"/>
                      <a:pt x="709" y="1219"/>
                      <a:pt x="705" y="1232"/>
                    </a:cubicBezTo>
                    <a:cubicBezTo>
                      <a:pt x="699" y="1249"/>
                      <a:pt x="683" y="1273"/>
                      <a:pt x="677" y="1241"/>
                    </a:cubicBezTo>
                    <a:cubicBezTo>
                      <a:pt x="672" y="1219"/>
                      <a:pt x="678" y="1184"/>
                      <a:pt x="667" y="1166"/>
                    </a:cubicBezTo>
                    <a:cubicBezTo>
                      <a:pt x="659" y="1154"/>
                      <a:pt x="660" y="1173"/>
                      <a:pt x="660" y="1184"/>
                    </a:cubicBezTo>
                    <a:cubicBezTo>
                      <a:pt x="659" y="1194"/>
                      <a:pt x="656" y="1204"/>
                      <a:pt x="648" y="1205"/>
                    </a:cubicBezTo>
                    <a:cubicBezTo>
                      <a:pt x="642" y="1206"/>
                      <a:pt x="637" y="1193"/>
                      <a:pt x="632" y="1187"/>
                    </a:cubicBezTo>
                    <a:cubicBezTo>
                      <a:pt x="627" y="1179"/>
                      <a:pt x="624" y="1170"/>
                      <a:pt x="620" y="1160"/>
                    </a:cubicBezTo>
                    <a:cubicBezTo>
                      <a:pt x="615" y="1150"/>
                      <a:pt x="612" y="1137"/>
                      <a:pt x="606" y="1129"/>
                    </a:cubicBezTo>
                    <a:cubicBezTo>
                      <a:pt x="601" y="1122"/>
                      <a:pt x="597" y="1122"/>
                      <a:pt x="591" y="1119"/>
                    </a:cubicBezTo>
                    <a:cubicBezTo>
                      <a:pt x="577" y="1114"/>
                      <a:pt x="566" y="1112"/>
                      <a:pt x="552" y="1118"/>
                    </a:cubicBezTo>
                    <a:cubicBezTo>
                      <a:pt x="534" y="1126"/>
                      <a:pt x="514" y="1122"/>
                      <a:pt x="495" y="1122"/>
                    </a:cubicBezTo>
                    <a:cubicBezTo>
                      <a:pt x="478" y="1122"/>
                      <a:pt x="463" y="1120"/>
                      <a:pt x="446" y="1120"/>
                    </a:cubicBezTo>
                    <a:cubicBezTo>
                      <a:pt x="444" y="1120"/>
                      <a:pt x="441" y="1121"/>
                      <a:pt x="439" y="1120"/>
                    </a:cubicBezTo>
                    <a:cubicBezTo>
                      <a:pt x="436" y="1119"/>
                      <a:pt x="434" y="1116"/>
                      <a:pt x="432" y="1116"/>
                    </a:cubicBezTo>
                    <a:cubicBezTo>
                      <a:pt x="426" y="1114"/>
                      <a:pt x="423" y="1120"/>
                      <a:pt x="417" y="1121"/>
                    </a:cubicBezTo>
                    <a:cubicBezTo>
                      <a:pt x="403" y="1124"/>
                      <a:pt x="400" y="1096"/>
                      <a:pt x="386" y="1095"/>
                    </a:cubicBezTo>
                    <a:cubicBezTo>
                      <a:pt x="379" y="1095"/>
                      <a:pt x="372" y="1100"/>
                      <a:pt x="365" y="1100"/>
                    </a:cubicBezTo>
                    <a:cubicBezTo>
                      <a:pt x="352" y="1100"/>
                      <a:pt x="338" y="1101"/>
                      <a:pt x="324" y="1100"/>
                    </a:cubicBezTo>
                    <a:cubicBezTo>
                      <a:pt x="284" y="1097"/>
                      <a:pt x="250" y="1088"/>
                      <a:pt x="216" y="1049"/>
                    </a:cubicBezTo>
                    <a:cubicBezTo>
                      <a:pt x="205" y="1035"/>
                      <a:pt x="194" y="1025"/>
                      <a:pt x="181" y="1015"/>
                    </a:cubicBezTo>
                    <a:cubicBezTo>
                      <a:pt x="171" y="1006"/>
                      <a:pt x="160" y="995"/>
                      <a:pt x="149" y="987"/>
                    </a:cubicBezTo>
                    <a:cubicBezTo>
                      <a:pt x="127" y="972"/>
                      <a:pt x="106" y="958"/>
                      <a:pt x="84" y="943"/>
                    </a:cubicBezTo>
                    <a:cubicBezTo>
                      <a:pt x="75" y="937"/>
                      <a:pt x="66" y="932"/>
                      <a:pt x="58" y="922"/>
                    </a:cubicBezTo>
                    <a:cubicBezTo>
                      <a:pt x="51" y="912"/>
                      <a:pt x="48" y="898"/>
                      <a:pt x="41" y="890"/>
                    </a:cubicBezTo>
                    <a:cubicBezTo>
                      <a:pt x="34" y="882"/>
                      <a:pt x="24" y="878"/>
                      <a:pt x="16" y="879"/>
                    </a:cubicBezTo>
                    <a:cubicBezTo>
                      <a:pt x="13" y="891"/>
                      <a:pt x="19" y="900"/>
                      <a:pt x="20" y="911"/>
                    </a:cubicBezTo>
                    <a:cubicBezTo>
                      <a:pt x="21" y="922"/>
                      <a:pt x="21" y="935"/>
                      <a:pt x="20" y="946"/>
                    </a:cubicBezTo>
                    <a:cubicBezTo>
                      <a:pt x="18" y="958"/>
                      <a:pt x="14" y="966"/>
                      <a:pt x="12" y="976"/>
                    </a:cubicBezTo>
                    <a:cubicBezTo>
                      <a:pt x="9" y="990"/>
                      <a:pt x="9" y="1008"/>
                      <a:pt x="8" y="1022"/>
                    </a:cubicBezTo>
                    <a:cubicBezTo>
                      <a:pt x="7" y="1035"/>
                      <a:pt x="10" y="1049"/>
                      <a:pt x="8" y="1061"/>
                    </a:cubicBezTo>
                    <a:cubicBezTo>
                      <a:pt x="7" y="1073"/>
                      <a:pt x="2" y="1081"/>
                      <a:pt x="1" y="1093"/>
                    </a:cubicBezTo>
                    <a:cubicBezTo>
                      <a:pt x="-1" y="1113"/>
                      <a:pt x="5" y="1129"/>
                      <a:pt x="11" y="1144"/>
                    </a:cubicBezTo>
                    <a:cubicBezTo>
                      <a:pt x="16" y="1154"/>
                      <a:pt x="22" y="1164"/>
                      <a:pt x="24" y="1177"/>
                    </a:cubicBezTo>
                    <a:cubicBezTo>
                      <a:pt x="26" y="1190"/>
                      <a:pt x="24" y="1194"/>
                      <a:pt x="20" y="1204"/>
                    </a:cubicBezTo>
                    <a:cubicBezTo>
                      <a:pt x="15" y="1216"/>
                      <a:pt x="15" y="1233"/>
                      <a:pt x="17" y="1247"/>
                    </a:cubicBezTo>
                    <a:cubicBezTo>
                      <a:pt x="19" y="1263"/>
                      <a:pt x="24" y="1274"/>
                      <a:pt x="25" y="1291"/>
                    </a:cubicBezTo>
                    <a:cubicBezTo>
                      <a:pt x="25" y="1297"/>
                      <a:pt x="24" y="1304"/>
                      <a:pt x="25" y="1309"/>
                    </a:cubicBezTo>
                    <a:cubicBezTo>
                      <a:pt x="27" y="1319"/>
                      <a:pt x="35" y="1327"/>
                      <a:pt x="40" y="1331"/>
                    </a:cubicBezTo>
                    <a:cubicBezTo>
                      <a:pt x="54" y="1343"/>
                      <a:pt x="67" y="1356"/>
                      <a:pt x="78" y="1375"/>
                    </a:cubicBezTo>
                    <a:cubicBezTo>
                      <a:pt x="92" y="1398"/>
                      <a:pt x="100" y="1427"/>
                      <a:pt x="110" y="1454"/>
                    </a:cubicBezTo>
                    <a:cubicBezTo>
                      <a:pt x="117" y="1475"/>
                      <a:pt x="115" y="1501"/>
                      <a:pt x="123" y="1522"/>
                    </a:cubicBezTo>
                    <a:cubicBezTo>
                      <a:pt x="128" y="1533"/>
                      <a:pt x="133" y="1546"/>
                      <a:pt x="135" y="1559"/>
                    </a:cubicBezTo>
                    <a:cubicBezTo>
                      <a:pt x="137" y="1576"/>
                      <a:pt x="136" y="1595"/>
                      <a:pt x="136" y="1612"/>
                    </a:cubicBezTo>
                    <a:cubicBezTo>
                      <a:pt x="136" y="1627"/>
                      <a:pt x="137" y="1642"/>
                      <a:pt x="137" y="1657"/>
                    </a:cubicBezTo>
                    <a:cubicBezTo>
                      <a:pt x="137" y="1675"/>
                      <a:pt x="136" y="1695"/>
                      <a:pt x="137" y="1712"/>
                    </a:cubicBezTo>
                    <a:cubicBezTo>
                      <a:pt x="138" y="1725"/>
                      <a:pt x="143" y="1736"/>
                      <a:pt x="146" y="1747"/>
                    </a:cubicBezTo>
                    <a:cubicBezTo>
                      <a:pt x="151" y="1765"/>
                      <a:pt x="155" y="1782"/>
                      <a:pt x="162" y="1798"/>
                    </a:cubicBezTo>
                    <a:cubicBezTo>
                      <a:pt x="167" y="1812"/>
                      <a:pt x="174" y="1823"/>
                      <a:pt x="179" y="1837"/>
                    </a:cubicBezTo>
                    <a:cubicBezTo>
                      <a:pt x="187" y="1857"/>
                      <a:pt x="190" y="1873"/>
                      <a:pt x="191" y="1896"/>
                    </a:cubicBezTo>
                    <a:cubicBezTo>
                      <a:pt x="192" y="1914"/>
                      <a:pt x="195" y="1930"/>
                      <a:pt x="196" y="1947"/>
                    </a:cubicBezTo>
                    <a:cubicBezTo>
                      <a:pt x="199" y="1968"/>
                      <a:pt x="200" y="1990"/>
                      <a:pt x="203" y="2011"/>
                    </a:cubicBezTo>
                    <a:cubicBezTo>
                      <a:pt x="206" y="2030"/>
                      <a:pt x="210" y="2070"/>
                      <a:pt x="224" y="2071"/>
                    </a:cubicBezTo>
                    <a:cubicBezTo>
                      <a:pt x="235" y="2072"/>
                      <a:pt x="246" y="2056"/>
                      <a:pt x="255" y="2075"/>
                    </a:cubicBezTo>
                    <a:cubicBezTo>
                      <a:pt x="259" y="2087"/>
                      <a:pt x="259" y="2110"/>
                      <a:pt x="267" y="2118"/>
                    </a:cubicBezTo>
                    <a:cubicBezTo>
                      <a:pt x="272" y="2123"/>
                      <a:pt x="281" y="2123"/>
                      <a:pt x="287" y="2125"/>
                    </a:cubicBezTo>
                    <a:cubicBezTo>
                      <a:pt x="299" y="2132"/>
                      <a:pt x="317" y="2131"/>
                      <a:pt x="326" y="2149"/>
                    </a:cubicBezTo>
                    <a:cubicBezTo>
                      <a:pt x="327" y="2153"/>
                      <a:pt x="329" y="2157"/>
                      <a:pt x="329" y="2162"/>
                    </a:cubicBezTo>
                    <a:cubicBezTo>
                      <a:pt x="328" y="2171"/>
                      <a:pt x="327" y="2168"/>
                      <a:pt x="323" y="2169"/>
                    </a:cubicBezTo>
                    <a:cubicBezTo>
                      <a:pt x="315" y="2170"/>
                      <a:pt x="307" y="2168"/>
                      <a:pt x="299" y="2172"/>
                    </a:cubicBezTo>
                    <a:cubicBezTo>
                      <a:pt x="291" y="2175"/>
                      <a:pt x="288" y="2184"/>
                      <a:pt x="282" y="2190"/>
                    </a:cubicBezTo>
                    <a:cubicBezTo>
                      <a:pt x="277" y="2197"/>
                      <a:pt x="268" y="2199"/>
                      <a:pt x="263" y="2205"/>
                    </a:cubicBezTo>
                    <a:cubicBezTo>
                      <a:pt x="259" y="2210"/>
                      <a:pt x="261" y="2214"/>
                      <a:pt x="259" y="2220"/>
                    </a:cubicBezTo>
                    <a:cubicBezTo>
                      <a:pt x="257" y="2225"/>
                      <a:pt x="254" y="2226"/>
                      <a:pt x="253" y="2230"/>
                    </a:cubicBezTo>
                    <a:cubicBezTo>
                      <a:pt x="248" y="2243"/>
                      <a:pt x="257" y="2253"/>
                      <a:pt x="261" y="2260"/>
                    </a:cubicBezTo>
                    <a:cubicBezTo>
                      <a:pt x="269" y="2269"/>
                      <a:pt x="274" y="2277"/>
                      <a:pt x="269" y="2292"/>
                    </a:cubicBezTo>
                    <a:cubicBezTo>
                      <a:pt x="263" y="2313"/>
                      <a:pt x="264" y="2331"/>
                      <a:pt x="278" y="2339"/>
                    </a:cubicBezTo>
                    <a:cubicBezTo>
                      <a:pt x="285" y="2342"/>
                      <a:pt x="291" y="2345"/>
                      <a:pt x="298" y="2346"/>
                    </a:cubicBezTo>
                    <a:cubicBezTo>
                      <a:pt x="307" y="2347"/>
                      <a:pt x="315" y="2347"/>
                      <a:pt x="324" y="2351"/>
                    </a:cubicBezTo>
                    <a:cubicBezTo>
                      <a:pt x="332" y="2356"/>
                      <a:pt x="339" y="2365"/>
                      <a:pt x="347" y="2373"/>
                    </a:cubicBezTo>
                    <a:cubicBezTo>
                      <a:pt x="352" y="2378"/>
                      <a:pt x="361" y="2387"/>
                      <a:pt x="357" y="2399"/>
                    </a:cubicBezTo>
                    <a:cubicBezTo>
                      <a:pt x="352" y="2413"/>
                      <a:pt x="339" y="2404"/>
                      <a:pt x="333" y="2399"/>
                    </a:cubicBezTo>
                    <a:cubicBezTo>
                      <a:pt x="322" y="2388"/>
                      <a:pt x="299" y="2368"/>
                      <a:pt x="303" y="2410"/>
                    </a:cubicBezTo>
                    <a:cubicBezTo>
                      <a:pt x="304" y="2422"/>
                      <a:pt x="306" y="2431"/>
                      <a:pt x="306" y="2444"/>
                    </a:cubicBezTo>
                    <a:cubicBezTo>
                      <a:pt x="306" y="2455"/>
                      <a:pt x="305" y="2464"/>
                      <a:pt x="309" y="2474"/>
                    </a:cubicBezTo>
                    <a:cubicBezTo>
                      <a:pt x="313" y="2489"/>
                      <a:pt x="313" y="2502"/>
                      <a:pt x="311" y="2518"/>
                    </a:cubicBezTo>
                    <a:cubicBezTo>
                      <a:pt x="308" y="2534"/>
                      <a:pt x="301" y="2547"/>
                      <a:pt x="299" y="2562"/>
                    </a:cubicBezTo>
                    <a:cubicBezTo>
                      <a:pt x="296" y="2577"/>
                      <a:pt x="296" y="2593"/>
                      <a:pt x="297" y="2609"/>
                    </a:cubicBezTo>
                    <a:cubicBezTo>
                      <a:pt x="298" y="2623"/>
                      <a:pt x="302" y="2640"/>
                      <a:pt x="295" y="2652"/>
                    </a:cubicBezTo>
                    <a:cubicBezTo>
                      <a:pt x="288" y="2662"/>
                      <a:pt x="278" y="2659"/>
                      <a:pt x="271" y="2670"/>
                    </a:cubicBezTo>
                    <a:cubicBezTo>
                      <a:pt x="266" y="2678"/>
                      <a:pt x="266" y="2690"/>
                      <a:pt x="266" y="2701"/>
                    </a:cubicBezTo>
                    <a:cubicBezTo>
                      <a:pt x="266" y="2724"/>
                      <a:pt x="275" y="2738"/>
                      <a:pt x="287" y="2749"/>
                    </a:cubicBezTo>
                    <a:cubicBezTo>
                      <a:pt x="296" y="2757"/>
                      <a:pt x="305" y="2766"/>
                      <a:pt x="314" y="2772"/>
                    </a:cubicBezTo>
                    <a:cubicBezTo>
                      <a:pt x="322" y="2777"/>
                      <a:pt x="329" y="2778"/>
                      <a:pt x="337" y="2782"/>
                    </a:cubicBezTo>
                    <a:cubicBezTo>
                      <a:pt x="358" y="2791"/>
                      <a:pt x="378" y="2792"/>
                      <a:pt x="399" y="2787"/>
                    </a:cubicBezTo>
                    <a:cubicBezTo>
                      <a:pt x="408" y="2785"/>
                      <a:pt x="431" y="2775"/>
                      <a:pt x="439" y="2785"/>
                    </a:cubicBezTo>
                    <a:cubicBezTo>
                      <a:pt x="439" y="2785"/>
                      <a:pt x="439" y="2785"/>
                      <a:pt x="439" y="2786"/>
                    </a:cubicBezTo>
                    <a:cubicBezTo>
                      <a:pt x="448" y="2798"/>
                      <a:pt x="433" y="2806"/>
                      <a:pt x="427" y="2810"/>
                    </a:cubicBezTo>
                    <a:cubicBezTo>
                      <a:pt x="417" y="2818"/>
                      <a:pt x="405" y="2819"/>
                      <a:pt x="400" y="2837"/>
                    </a:cubicBezTo>
                    <a:cubicBezTo>
                      <a:pt x="395" y="2852"/>
                      <a:pt x="392" y="2854"/>
                      <a:pt x="381" y="2857"/>
                    </a:cubicBezTo>
                    <a:cubicBezTo>
                      <a:pt x="372" y="2860"/>
                      <a:pt x="365" y="2863"/>
                      <a:pt x="357" y="2853"/>
                    </a:cubicBezTo>
                    <a:cubicBezTo>
                      <a:pt x="352" y="2847"/>
                      <a:pt x="350" y="2838"/>
                      <a:pt x="343" y="2835"/>
                    </a:cubicBezTo>
                    <a:cubicBezTo>
                      <a:pt x="333" y="2830"/>
                      <a:pt x="333" y="2846"/>
                      <a:pt x="337" y="2859"/>
                    </a:cubicBezTo>
                    <a:cubicBezTo>
                      <a:pt x="339" y="2867"/>
                      <a:pt x="371" y="2937"/>
                      <a:pt x="344" y="2920"/>
                    </a:cubicBezTo>
                    <a:cubicBezTo>
                      <a:pt x="328" y="2910"/>
                      <a:pt x="320" y="2883"/>
                      <a:pt x="313" y="2859"/>
                    </a:cubicBezTo>
                    <a:cubicBezTo>
                      <a:pt x="310" y="2851"/>
                      <a:pt x="309" y="2835"/>
                      <a:pt x="303" y="2834"/>
                    </a:cubicBezTo>
                    <a:cubicBezTo>
                      <a:pt x="297" y="2833"/>
                      <a:pt x="289" y="2844"/>
                      <a:pt x="287" y="2852"/>
                    </a:cubicBezTo>
                    <a:cubicBezTo>
                      <a:pt x="284" y="2866"/>
                      <a:pt x="286" y="2882"/>
                      <a:pt x="292" y="2894"/>
                    </a:cubicBezTo>
                    <a:cubicBezTo>
                      <a:pt x="298" y="2907"/>
                      <a:pt x="311" y="2913"/>
                      <a:pt x="314" y="2930"/>
                    </a:cubicBezTo>
                    <a:cubicBezTo>
                      <a:pt x="317" y="2943"/>
                      <a:pt x="311" y="2954"/>
                      <a:pt x="306" y="2963"/>
                    </a:cubicBezTo>
                    <a:cubicBezTo>
                      <a:pt x="301" y="2974"/>
                      <a:pt x="301" y="2984"/>
                      <a:pt x="299" y="2997"/>
                    </a:cubicBezTo>
                    <a:cubicBezTo>
                      <a:pt x="296" y="3008"/>
                      <a:pt x="290" y="3016"/>
                      <a:pt x="285" y="3026"/>
                    </a:cubicBezTo>
                    <a:cubicBezTo>
                      <a:pt x="282" y="3034"/>
                      <a:pt x="281" y="3041"/>
                      <a:pt x="280" y="3050"/>
                    </a:cubicBezTo>
                    <a:cubicBezTo>
                      <a:pt x="280" y="3063"/>
                      <a:pt x="285" y="3070"/>
                      <a:pt x="286" y="3082"/>
                    </a:cubicBezTo>
                    <a:cubicBezTo>
                      <a:pt x="290" y="3106"/>
                      <a:pt x="291" y="3135"/>
                      <a:pt x="283" y="3155"/>
                    </a:cubicBezTo>
                    <a:cubicBezTo>
                      <a:pt x="277" y="3173"/>
                      <a:pt x="272" y="3205"/>
                      <a:pt x="278" y="3227"/>
                    </a:cubicBezTo>
                    <a:cubicBezTo>
                      <a:pt x="284" y="3249"/>
                      <a:pt x="299" y="3265"/>
                      <a:pt x="301" y="3291"/>
                    </a:cubicBezTo>
                    <a:cubicBezTo>
                      <a:pt x="303" y="3319"/>
                      <a:pt x="284" y="3338"/>
                      <a:pt x="288" y="3367"/>
                    </a:cubicBezTo>
                    <a:cubicBezTo>
                      <a:pt x="289" y="3379"/>
                      <a:pt x="296" y="3387"/>
                      <a:pt x="298" y="3398"/>
                    </a:cubicBezTo>
                    <a:cubicBezTo>
                      <a:pt x="304" y="3422"/>
                      <a:pt x="292" y="3438"/>
                      <a:pt x="280" y="3443"/>
                    </a:cubicBezTo>
                    <a:cubicBezTo>
                      <a:pt x="259" y="3453"/>
                      <a:pt x="283" y="3482"/>
                      <a:pt x="287" y="3497"/>
                    </a:cubicBezTo>
                    <a:cubicBezTo>
                      <a:pt x="290" y="3510"/>
                      <a:pt x="294" y="3532"/>
                      <a:pt x="290" y="3545"/>
                    </a:cubicBezTo>
                    <a:cubicBezTo>
                      <a:pt x="287" y="3555"/>
                      <a:pt x="280" y="3560"/>
                      <a:pt x="276" y="3568"/>
                    </a:cubicBezTo>
                    <a:cubicBezTo>
                      <a:pt x="268" y="3588"/>
                      <a:pt x="282" y="3606"/>
                      <a:pt x="285" y="3623"/>
                    </a:cubicBezTo>
                    <a:cubicBezTo>
                      <a:pt x="288" y="3647"/>
                      <a:pt x="278" y="3668"/>
                      <a:pt x="276" y="3689"/>
                    </a:cubicBezTo>
                    <a:cubicBezTo>
                      <a:pt x="274" y="3706"/>
                      <a:pt x="280" y="3717"/>
                      <a:pt x="285" y="3730"/>
                    </a:cubicBezTo>
                    <a:cubicBezTo>
                      <a:pt x="290" y="3743"/>
                      <a:pt x="289" y="3763"/>
                      <a:pt x="285" y="3777"/>
                    </a:cubicBezTo>
                    <a:cubicBezTo>
                      <a:pt x="281" y="3790"/>
                      <a:pt x="276" y="3797"/>
                      <a:pt x="271" y="3807"/>
                    </a:cubicBezTo>
                    <a:cubicBezTo>
                      <a:pt x="262" y="3827"/>
                      <a:pt x="263" y="3864"/>
                      <a:pt x="261" y="3888"/>
                    </a:cubicBezTo>
                    <a:cubicBezTo>
                      <a:pt x="261" y="3902"/>
                      <a:pt x="262" y="3915"/>
                      <a:pt x="261" y="3929"/>
                    </a:cubicBezTo>
                    <a:cubicBezTo>
                      <a:pt x="261" y="3946"/>
                      <a:pt x="260" y="3959"/>
                      <a:pt x="257" y="3975"/>
                    </a:cubicBezTo>
                    <a:cubicBezTo>
                      <a:pt x="255" y="3986"/>
                      <a:pt x="255" y="3998"/>
                      <a:pt x="252" y="4008"/>
                    </a:cubicBezTo>
                    <a:cubicBezTo>
                      <a:pt x="249" y="4018"/>
                      <a:pt x="244" y="4020"/>
                      <a:pt x="241" y="4029"/>
                    </a:cubicBezTo>
                    <a:cubicBezTo>
                      <a:pt x="238" y="4036"/>
                      <a:pt x="237" y="4052"/>
                      <a:pt x="236" y="4061"/>
                    </a:cubicBezTo>
                    <a:cubicBezTo>
                      <a:pt x="235" y="4073"/>
                      <a:pt x="239" y="4082"/>
                      <a:pt x="240" y="4093"/>
                    </a:cubicBezTo>
                    <a:cubicBezTo>
                      <a:pt x="241" y="4107"/>
                      <a:pt x="242" y="4119"/>
                      <a:pt x="245" y="4132"/>
                    </a:cubicBezTo>
                    <a:cubicBezTo>
                      <a:pt x="249" y="4151"/>
                      <a:pt x="248" y="4174"/>
                      <a:pt x="246" y="4193"/>
                    </a:cubicBezTo>
                    <a:cubicBezTo>
                      <a:pt x="245" y="4209"/>
                      <a:pt x="240" y="4223"/>
                      <a:pt x="240" y="4240"/>
                    </a:cubicBezTo>
                    <a:cubicBezTo>
                      <a:pt x="239" y="4259"/>
                      <a:pt x="237" y="4279"/>
                      <a:pt x="235" y="4298"/>
                    </a:cubicBezTo>
                    <a:cubicBezTo>
                      <a:pt x="232" y="4328"/>
                      <a:pt x="232" y="4358"/>
                      <a:pt x="227" y="4387"/>
                    </a:cubicBezTo>
                    <a:cubicBezTo>
                      <a:pt x="222" y="4419"/>
                      <a:pt x="223" y="4454"/>
                      <a:pt x="222" y="4487"/>
                    </a:cubicBezTo>
                    <a:cubicBezTo>
                      <a:pt x="221" y="4524"/>
                      <a:pt x="222" y="4561"/>
                      <a:pt x="222" y="4599"/>
                    </a:cubicBezTo>
                    <a:cubicBezTo>
                      <a:pt x="222" y="4619"/>
                      <a:pt x="223" y="4640"/>
                      <a:pt x="222" y="4661"/>
                    </a:cubicBezTo>
                    <a:cubicBezTo>
                      <a:pt x="221" y="4680"/>
                      <a:pt x="217" y="4702"/>
                      <a:pt x="219" y="4721"/>
                    </a:cubicBezTo>
                    <a:cubicBezTo>
                      <a:pt x="221" y="4740"/>
                      <a:pt x="237" y="4768"/>
                      <a:pt x="224" y="4785"/>
                    </a:cubicBezTo>
                    <a:cubicBezTo>
                      <a:pt x="217" y="4793"/>
                      <a:pt x="211" y="4791"/>
                      <a:pt x="209" y="4807"/>
                    </a:cubicBezTo>
                    <a:cubicBezTo>
                      <a:pt x="207" y="4818"/>
                      <a:pt x="208" y="4831"/>
                      <a:pt x="208" y="4843"/>
                    </a:cubicBezTo>
                    <a:cubicBezTo>
                      <a:pt x="208" y="4860"/>
                      <a:pt x="208" y="4876"/>
                      <a:pt x="205" y="4892"/>
                    </a:cubicBezTo>
                    <a:cubicBezTo>
                      <a:pt x="203" y="4905"/>
                      <a:pt x="198" y="4919"/>
                      <a:pt x="199" y="4933"/>
                    </a:cubicBezTo>
                    <a:cubicBezTo>
                      <a:pt x="202" y="4961"/>
                      <a:pt x="217" y="4984"/>
                      <a:pt x="221" y="5011"/>
                    </a:cubicBezTo>
                    <a:cubicBezTo>
                      <a:pt x="224" y="5040"/>
                      <a:pt x="205" y="5046"/>
                      <a:pt x="196" y="5061"/>
                    </a:cubicBezTo>
                    <a:cubicBezTo>
                      <a:pt x="189" y="5073"/>
                      <a:pt x="194" y="5099"/>
                      <a:pt x="194" y="5115"/>
                    </a:cubicBezTo>
                    <a:cubicBezTo>
                      <a:pt x="194" y="5133"/>
                      <a:pt x="187" y="5140"/>
                      <a:pt x="182" y="5154"/>
                    </a:cubicBezTo>
                    <a:cubicBezTo>
                      <a:pt x="175" y="5173"/>
                      <a:pt x="171" y="5195"/>
                      <a:pt x="168" y="5217"/>
                    </a:cubicBezTo>
                    <a:cubicBezTo>
                      <a:pt x="165" y="5238"/>
                      <a:pt x="167" y="5257"/>
                      <a:pt x="165" y="5277"/>
                    </a:cubicBezTo>
                    <a:cubicBezTo>
                      <a:pt x="165" y="5291"/>
                      <a:pt x="163" y="5306"/>
                      <a:pt x="160" y="5318"/>
                    </a:cubicBezTo>
                    <a:cubicBezTo>
                      <a:pt x="157" y="5331"/>
                      <a:pt x="154" y="5344"/>
                      <a:pt x="149" y="5353"/>
                    </a:cubicBezTo>
                    <a:cubicBezTo>
                      <a:pt x="143" y="5362"/>
                      <a:pt x="137" y="5359"/>
                      <a:pt x="131" y="5365"/>
                    </a:cubicBezTo>
                    <a:cubicBezTo>
                      <a:pt x="123" y="5372"/>
                      <a:pt x="123" y="5388"/>
                      <a:pt x="123" y="5401"/>
                    </a:cubicBezTo>
                    <a:cubicBezTo>
                      <a:pt x="122" y="5423"/>
                      <a:pt x="121" y="5444"/>
                      <a:pt x="121" y="5465"/>
                    </a:cubicBezTo>
                    <a:cubicBezTo>
                      <a:pt x="121" y="5504"/>
                      <a:pt x="119" y="5541"/>
                      <a:pt x="115" y="5578"/>
                    </a:cubicBezTo>
                    <a:cubicBezTo>
                      <a:pt x="111" y="5613"/>
                      <a:pt x="105" y="5648"/>
                      <a:pt x="98" y="5682"/>
                    </a:cubicBezTo>
                    <a:cubicBezTo>
                      <a:pt x="96" y="5695"/>
                      <a:pt x="91" y="5704"/>
                      <a:pt x="88" y="5717"/>
                    </a:cubicBezTo>
                    <a:cubicBezTo>
                      <a:pt x="85" y="5730"/>
                      <a:pt x="83" y="5742"/>
                      <a:pt x="79" y="5752"/>
                    </a:cubicBezTo>
                    <a:cubicBezTo>
                      <a:pt x="75" y="5761"/>
                      <a:pt x="71" y="5770"/>
                      <a:pt x="67" y="5779"/>
                    </a:cubicBezTo>
                    <a:cubicBezTo>
                      <a:pt x="57" y="5797"/>
                      <a:pt x="65" y="5821"/>
                      <a:pt x="69" y="5842"/>
                    </a:cubicBezTo>
                    <a:cubicBezTo>
                      <a:pt x="71" y="5854"/>
                      <a:pt x="71" y="5868"/>
                      <a:pt x="74" y="5880"/>
                    </a:cubicBezTo>
                    <a:cubicBezTo>
                      <a:pt x="77" y="5893"/>
                      <a:pt x="82" y="5899"/>
                      <a:pt x="87" y="5908"/>
                    </a:cubicBezTo>
                    <a:cubicBezTo>
                      <a:pt x="96" y="5922"/>
                      <a:pt x="105" y="5939"/>
                      <a:pt x="111" y="5956"/>
                    </a:cubicBezTo>
                    <a:cubicBezTo>
                      <a:pt x="125" y="5992"/>
                      <a:pt x="118" y="6032"/>
                      <a:pt x="117" y="6071"/>
                    </a:cubicBezTo>
                    <a:cubicBezTo>
                      <a:pt x="117" y="6083"/>
                      <a:pt x="117" y="6094"/>
                      <a:pt x="115" y="6105"/>
                    </a:cubicBezTo>
                    <a:cubicBezTo>
                      <a:pt x="109" y="6135"/>
                      <a:pt x="112" y="6178"/>
                      <a:pt x="112" y="6210"/>
                    </a:cubicBezTo>
                    <a:cubicBezTo>
                      <a:pt x="112" y="6225"/>
                      <a:pt x="115" y="6238"/>
                      <a:pt x="117" y="6252"/>
                    </a:cubicBezTo>
                    <a:cubicBezTo>
                      <a:pt x="118" y="6264"/>
                      <a:pt x="116" y="6276"/>
                      <a:pt x="115" y="6288"/>
                    </a:cubicBezTo>
                    <a:cubicBezTo>
                      <a:pt x="114" y="6321"/>
                      <a:pt x="119" y="6360"/>
                      <a:pt x="126" y="6390"/>
                    </a:cubicBezTo>
                    <a:cubicBezTo>
                      <a:pt x="132" y="6411"/>
                      <a:pt x="140" y="6430"/>
                      <a:pt x="142" y="6452"/>
                    </a:cubicBezTo>
                    <a:cubicBezTo>
                      <a:pt x="144" y="6473"/>
                      <a:pt x="148" y="6495"/>
                      <a:pt x="158" y="6507"/>
                    </a:cubicBezTo>
                    <a:cubicBezTo>
                      <a:pt x="168" y="6518"/>
                      <a:pt x="180" y="6523"/>
                      <a:pt x="187" y="6539"/>
                    </a:cubicBezTo>
                    <a:cubicBezTo>
                      <a:pt x="189" y="6542"/>
                      <a:pt x="190" y="6546"/>
                      <a:pt x="191" y="6550"/>
                    </a:cubicBezTo>
                    <a:lnTo>
                      <a:pt x="1768" y="6552"/>
                    </a:lnTo>
                    <a:lnTo>
                      <a:pt x="1767" y="9220"/>
                    </a:lnTo>
                    <a:cubicBezTo>
                      <a:pt x="1769" y="9225"/>
                      <a:pt x="1772" y="9230"/>
                      <a:pt x="1774" y="9234"/>
                    </a:cubicBezTo>
                    <a:cubicBezTo>
                      <a:pt x="1782" y="9248"/>
                      <a:pt x="1790" y="9261"/>
                      <a:pt x="1798" y="9275"/>
                    </a:cubicBezTo>
                    <a:cubicBezTo>
                      <a:pt x="1810" y="9297"/>
                      <a:pt x="1822" y="9318"/>
                      <a:pt x="1835" y="9340"/>
                    </a:cubicBezTo>
                    <a:cubicBezTo>
                      <a:pt x="1851" y="9369"/>
                      <a:pt x="1868" y="9398"/>
                      <a:pt x="1884" y="9428"/>
                    </a:cubicBezTo>
                    <a:cubicBezTo>
                      <a:pt x="1905" y="9463"/>
                      <a:pt x="1925" y="9499"/>
                      <a:pt x="1945" y="9535"/>
                    </a:cubicBezTo>
                    <a:lnTo>
                      <a:pt x="2017" y="9661"/>
                    </a:lnTo>
                    <a:cubicBezTo>
                      <a:pt x="2044" y="9708"/>
                      <a:pt x="2071" y="9756"/>
                      <a:pt x="2098" y="9803"/>
                    </a:cubicBezTo>
                    <a:cubicBezTo>
                      <a:pt x="2127" y="9855"/>
                      <a:pt x="2157" y="9907"/>
                      <a:pt x="2186" y="9959"/>
                    </a:cubicBezTo>
                    <a:cubicBezTo>
                      <a:pt x="2218" y="10015"/>
                      <a:pt x="2250" y="10071"/>
                      <a:pt x="2282" y="10126"/>
                    </a:cubicBezTo>
                    <a:cubicBezTo>
                      <a:pt x="2315" y="10186"/>
                      <a:pt x="2349" y="10245"/>
                      <a:pt x="2382" y="10304"/>
                    </a:cubicBezTo>
                    <a:cubicBezTo>
                      <a:pt x="2417" y="10365"/>
                      <a:pt x="2452" y="10427"/>
                      <a:pt x="2487" y="10489"/>
                    </a:cubicBezTo>
                    <a:cubicBezTo>
                      <a:pt x="2524" y="10552"/>
                      <a:pt x="2560" y="10616"/>
                      <a:pt x="2596" y="10679"/>
                    </a:cubicBezTo>
                    <a:cubicBezTo>
                      <a:pt x="2632" y="10744"/>
                      <a:pt x="2669" y="10808"/>
                      <a:pt x="2706" y="10873"/>
                    </a:cubicBezTo>
                    <a:cubicBezTo>
                      <a:pt x="2743" y="10938"/>
                      <a:pt x="2780" y="11003"/>
                      <a:pt x="2817" y="11068"/>
                    </a:cubicBezTo>
                    <a:cubicBezTo>
                      <a:pt x="2853" y="11133"/>
                      <a:pt x="2890" y="11197"/>
                      <a:pt x="2927" y="11262"/>
                    </a:cubicBezTo>
                    <a:cubicBezTo>
                      <a:pt x="2963" y="11326"/>
                      <a:pt x="2999" y="11390"/>
                      <a:pt x="3036" y="11453"/>
                    </a:cubicBezTo>
                    <a:cubicBezTo>
                      <a:pt x="3071" y="11515"/>
                      <a:pt x="3106" y="11577"/>
                      <a:pt x="3141" y="11639"/>
                    </a:cubicBezTo>
                    <a:cubicBezTo>
                      <a:pt x="3175" y="11699"/>
                      <a:pt x="3209" y="11759"/>
                      <a:pt x="3243" y="11818"/>
                    </a:cubicBezTo>
                    <a:cubicBezTo>
                      <a:pt x="3275" y="11875"/>
                      <a:pt x="3308" y="11931"/>
                      <a:pt x="3340" y="11988"/>
                    </a:cubicBezTo>
                    <a:cubicBezTo>
                      <a:pt x="3370" y="12041"/>
                      <a:pt x="3400" y="12094"/>
                      <a:pt x="3430" y="12146"/>
                    </a:cubicBezTo>
                    <a:cubicBezTo>
                      <a:pt x="3457" y="12194"/>
                      <a:pt x="3484" y="12243"/>
                      <a:pt x="3512" y="12291"/>
                    </a:cubicBezTo>
                    <a:cubicBezTo>
                      <a:pt x="3536" y="12334"/>
                      <a:pt x="3561" y="12377"/>
                      <a:pt x="3585" y="12420"/>
                    </a:cubicBezTo>
                    <a:cubicBezTo>
                      <a:pt x="3606" y="12457"/>
                      <a:pt x="3628" y="12494"/>
                      <a:pt x="3649" y="12531"/>
                    </a:cubicBezTo>
                    <a:cubicBezTo>
                      <a:pt x="3666" y="12562"/>
                      <a:pt x="3683" y="12592"/>
                      <a:pt x="3701" y="12623"/>
                    </a:cubicBezTo>
                    <a:cubicBezTo>
                      <a:pt x="3714" y="12646"/>
                      <a:pt x="3727" y="12669"/>
                      <a:pt x="3740" y="12692"/>
                    </a:cubicBezTo>
                    <a:lnTo>
                      <a:pt x="3766" y="12738"/>
                    </a:lnTo>
                    <a:cubicBezTo>
                      <a:pt x="3768" y="12742"/>
                      <a:pt x="3770" y="12745"/>
                      <a:pt x="3772" y="12749"/>
                    </a:cubicBezTo>
                    <a:cubicBezTo>
                      <a:pt x="3773" y="12749"/>
                      <a:pt x="3773" y="12750"/>
                      <a:pt x="3773" y="12750"/>
                    </a:cubicBezTo>
                    <a:cubicBezTo>
                      <a:pt x="3782" y="12766"/>
                      <a:pt x="3777" y="12797"/>
                      <a:pt x="3777" y="12818"/>
                    </a:cubicBezTo>
                    <a:cubicBezTo>
                      <a:pt x="3776" y="12837"/>
                      <a:pt x="3772" y="12854"/>
                      <a:pt x="3779" y="12870"/>
                    </a:cubicBezTo>
                    <a:cubicBezTo>
                      <a:pt x="3786" y="12883"/>
                      <a:pt x="3791" y="12899"/>
                      <a:pt x="3798" y="12912"/>
                    </a:cubicBezTo>
                    <a:cubicBezTo>
                      <a:pt x="3806" y="12927"/>
                      <a:pt x="3818" y="12939"/>
                      <a:pt x="3823" y="12957"/>
                    </a:cubicBezTo>
                    <a:cubicBezTo>
                      <a:pt x="3829" y="12977"/>
                      <a:pt x="3836" y="12994"/>
                      <a:pt x="3845" y="13010"/>
                    </a:cubicBezTo>
                    <a:cubicBezTo>
                      <a:pt x="3853" y="13025"/>
                      <a:pt x="3854" y="13037"/>
                      <a:pt x="3854" y="13057"/>
                    </a:cubicBezTo>
                    <a:cubicBezTo>
                      <a:pt x="3854" y="13070"/>
                      <a:pt x="3855" y="13083"/>
                      <a:pt x="3858" y="13095"/>
                    </a:cubicBezTo>
                    <a:cubicBezTo>
                      <a:pt x="3863" y="13109"/>
                      <a:pt x="3862" y="13123"/>
                      <a:pt x="3866" y="13137"/>
                    </a:cubicBezTo>
                    <a:cubicBezTo>
                      <a:pt x="3868" y="13146"/>
                      <a:pt x="3871" y="13154"/>
                      <a:pt x="3873" y="13163"/>
                    </a:cubicBezTo>
                    <a:cubicBezTo>
                      <a:pt x="3878" y="13183"/>
                      <a:pt x="3881" y="13199"/>
                      <a:pt x="3882" y="13222"/>
                    </a:cubicBezTo>
                    <a:cubicBezTo>
                      <a:pt x="3882" y="13233"/>
                      <a:pt x="3881" y="13241"/>
                      <a:pt x="3886" y="13249"/>
                    </a:cubicBezTo>
                    <a:cubicBezTo>
                      <a:pt x="3891" y="13256"/>
                      <a:pt x="3898" y="13262"/>
                      <a:pt x="3904" y="13268"/>
                    </a:cubicBezTo>
                    <a:cubicBezTo>
                      <a:pt x="3918" y="13282"/>
                      <a:pt x="3929" y="13301"/>
                      <a:pt x="3943" y="13315"/>
                    </a:cubicBezTo>
                    <a:cubicBezTo>
                      <a:pt x="3955" y="13328"/>
                      <a:pt x="3968" y="13341"/>
                      <a:pt x="3970" y="13368"/>
                    </a:cubicBezTo>
                    <a:cubicBezTo>
                      <a:pt x="3970" y="13377"/>
                      <a:pt x="3973" y="13394"/>
                      <a:pt x="3970" y="13402"/>
                    </a:cubicBezTo>
                    <a:cubicBezTo>
                      <a:pt x="3968" y="13413"/>
                      <a:pt x="3959" y="13422"/>
                      <a:pt x="3955" y="13431"/>
                    </a:cubicBezTo>
                    <a:cubicBezTo>
                      <a:pt x="3949" y="13445"/>
                      <a:pt x="3941" y="13456"/>
                      <a:pt x="3933" y="13467"/>
                    </a:cubicBezTo>
                    <a:cubicBezTo>
                      <a:pt x="3925" y="13479"/>
                      <a:pt x="3921" y="13495"/>
                      <a:pt x="3913" y="13507"/>
                    </a:cubicBezTo>
                    <a:cubicBezTo>
                      <a:pt x="3904" y="13518"/>
                      <a:pt x="3894" y="13527"/>
                      <a:pt x="3887" y="13542"/>
                    </a:cubicBezTo>
                    <a:cubicBezTo>
                      <a:pt x="3883" y="13551"/>
                      <a:pt x="3878" y="13553"/>
                      <a:pt x="3873" y="13559"/>
                    </a:cubicBezTo>
                    <a:cubicBezTo>
                      <a:pt x="3866" y="13565"/>
                      <a:pt x="3867" y="13571"/>
                      <a:pt x="3867" y="13583"/>
                    </a:cubicBezTo>
                    <a:cubicBezTo>
                      <a:pt x="3867" y="13601"/>
                      <a:pt x="3871" y="13615"/>
                      <a:pt x="3864" y="13630"/>
                    </a:cubicBezTo>
                    <a:cubicBezTo>
                      <a:pt x="3857" y="13643"/>
                      <a:pt x="3846" y="13647"/>
                      <a:pt x="3840" y="13659"/>
                    </a:cubicBezTo>
                    <a:cubicBezTo>
                      <a:pt x="3837" y="13666"/>
                      <a:pt x="3834" y="13674"/>
                      <a:pt x="3831" y="13681"/>
                    </a:cubicBezTo>
                    <a:cubicBezTo>
                      <a:pt x="3828" y="13689"/>
                      <a:pt x="3827" y="13692"/>
                      <a:pt x="3826" y="13701"/>
                    </a:cubicBezTo>
                    <a:cubicBezTo>
                      <a:pt x="3826" y="13716"/>
                      <a:pt x="3824" y="13734"/>
                      <a:pt x="3825" y="13748"/>
                    </a:cubicBezTo>
                    <a:cubicBezTo>
                      <a:pt x="3826" y="13764"/>
                      <a:pt x="3833" y="13779"/>
                      <a:pt x="3834" y="13795"/>
                    </a:cubicBezTo>
                    <a:cubicBezTo>
                      <a:pt x="3835" y="13807"/>
                      <a:pt x="3838" y="13813"/>
                      <a:pt x="3840" y="13824"/>
                    </a:cubicBezTo>
                    <a:cubicBezTo>
                      <a:pt x="3842" y="13833"/>
                      <a:pt x="3841" y="13845"/>
                      <a:pt x="3842" y="13855"/>
                    </a:cubicBezTo>
                    <a:cubicBezTo>
                      <a:pt x="3843" y="13873"/>
                      <a:pt x="3851" y="13889"/>
                      <a:pt x="3842" y="13905"/>
                    </a:cubicBezTo>
                    <a:cubicBezTo>
                      <a:pt x="3834" y="13919"/>
                      <a:pt x="3824" y="13933"/>
                      <a:pt x="3817" y="13948"/>
                    </a:cubicBezTo>
                    <a:cubicBezTo>
                      <a:pt x="3810" y="13963"/>
                      <a:pt x="3813" y="13999"/>
                      <a:pt x="3813" y="14018"/>
                    </a:cubicBezTo>
                    <a:cubicBezTo>
                      <a:pt x="3813" y="14031"/>
                      <a:pt x="3813" y="14042"/>
                      <a:pt x="3810" y="14055"/>
                    </a:cubicBezTo>
                    <a:cubicBezTo>
                      <a:pt x="3807" y="14070"/>
                      <a:pt x="3805" y="14083"/>
                      <a:pt x="3799" y="14097"/>
                    </a:cubicBezTo>
                    <a:cubicBezTo>
                      <a:pt x="3796" y="14104"/>
                      <a:pt x="3789" y="14109"/>
                      <a:pt x="3787" y="14117"/>
                    </a:cubicBezTo>
                    <a:cubicBezTo>
                      <a:pt x="3783" y="14127"/>
                      <a:pt x="3787" y="14139"/>
                      <a:pt x="3782" y="14149"/>
                    </a:cubicBezTo>
                    <a:cubicBezTo>
                      <a:pt x="3779" y="14157"/>
                      <a:pt x="3774" y="14160"/>
                      <a:pt x="3771" y="14169"/>
                    </a:cubicBezTo>
                    <a:cubicBezTo>
                      <a:pt x="3765" y="14184"/>
                      <a:pt x="3761" y="14174"/>
                      <a:pt x="3753" y="14181"/>
                    </a:cubicBezTo>
                    <a:cubicBezTo>
                      <a:pt x="3745" y="14187"/>
                      <a:pt x="3751" y="14198"/>
                      <a:pt x="3754" y="14205"/>
                    </a:cubicBezTo>
                    <a:cubicBezTo>
                      <a:pt x="3766" y="14226"/>
                      <a:pt x="3747" y="14230"/>
                      <a:pt x="3746" y="14249"/>
                    </a:cubicBezTo>
                    <a:cubicBezTo>
                      <a:pt x="3744" y="14273"/>
                      <a:pt x="3776" y="14283"/>
                      <a:pt x="3771" y="14307"/>
                    </a:cubicBezTo>
                    <a:cubicBezTo>
                      <a:pt x="3770" y="14310"/>
                      <a:pt x="3766" y="14312"/>
                      <a:pt x="3764" y="14317"/>
                    </a:cubicBezTo>
                    <a:cubicBezTo>
                      <a:pt x="3763" y="14324"/>
                      <a:pt x="3765" y="14327"/>
                      <a:pt x="3767" y="14332"/>
                    </a:cubicBezTo>
                    <a:cubicBezTo>
                      <a:pt x="3770" y="14338"/>
                      <a:pt x="3771" y="14338"/>
                      <a:pt x="3772" y="14347"/>
                    </a:cubicBezTo>
                    <a:cubicBezTo>
                      <a:pt x="3772" y="14358"/>
                      <a:pt x="3772" y="14371"/>
                      <a:pt x="3769" y="14382"/>
                    </a:cubicBezTo>
                    <a:cubicBezTo>
                      <a:pt x="3765" y="14392"/>
                      <a:pt x="3759" y="14399"/>
                      <a:pt x="3758" y="14411"/>
                    </a:cubicBezTo>
                    <a:cubicBezTo>
                      <a:pt x="3756" y="14421"/>
                      <a:pt x="3757" y="14434"/>
                      <a:pt x="3758" y="14444"/>
                    </a:cubicBezTo>
                    <a:cubicBezTo>
                      <a:pt x="3759" y="14453"/>
                      <a:pt x="3759" y="14463"/>
                      <a:pt x="3759" y="14473"/>
                    </a:cubicBezTo>
                    <a:cubicBezTo>
                      <a:pt x="3761" y="14488"/>
                      <a:pt x="3772" y="14508"/>
                      <a:pt x="3780" y="14512"/>
                    </a:cubicBezTo>
                    <a:cubicBezTo>
                      <a:pt x="3791" y="14517"/>
                      <a:pt x="3802" y="14512"/>
                      <a:pt x="3813" y="14514"/>
                    </a:cubicBezTo>
                    <a:cubicBezTo>
                      <a:pt x="3821" y="14515"/>
                      <a:pt x="3820" y="14521"/>
                      <a:pt x="3824" y="14532"/>
                    </a:cubicBezTo>
                    <a:cubicBezTo>
                      <a:pt x="3826" y="14540"/>
                      <a:pt x="3826" y="14548"/>
                      <a:pt x="3828" y="14556"/>
                    </a:cubicBezTo>
                    <a:cubicBezTo>
                      <a:pt x="3829" y="14563"/>
                      <a:pt x="3834" y="14566"/>
                      <a:pt x="3836" y="14573"/>
                    </a:cubicBezTo>
                    <a:cubicBezTo>
                      <a:pt x="3839" y="14579"/>
                      <a:pt x="3839" y="14585"/>
                      <a:pt x="3839" y="14592"/>
                    </a:cubicBezTo>
                    <a:cubicBezTo>
                      <a:pt x="3841" y="14614"/>
                      <a:pt x="3840" y="14637"/>
                      <a:pt x="3839" y="14659"/>
                    </a:cubicBezTo>
                    <a:cubicBezTo>
                      <a:pt x="3839" y="14669"/>
                      <a:pt x="3835" y="14678"/>
                      <a:pt x="3833" y="14688"/>
                    </a:cubicBezTo>
                    <a:cubicBezTo>
                      <a:pt x="3831" y="14699"/>
                      <a:pt x="3829" y="14704"/>
                      <a:pt x="3825" y="14714"/>
                    </a:cubicBezTo>
                    <a:cubicBezTo>
                      <a:pt x="3822" y="14721"/>
                      <a:pt x="3821" y="14732"/>
                      <a:pt x="3820" y="14742"/>
                    </a:cubicBezTo>
                    <a:cubicBezTo>
                      <a:pt x="3820" y="14746"/>
                      <a:pt x="3820" y="14755"/>
                      <a:pt x="3819" y="14759"/>
                    </a:cubicBezTo>
                    <a:cubicBezTo>
                      <a:pt x="3817" y="14766"/>
                      <a:pt x="3818" y="14762"/>
                      <a:pt x="3814" y="14764"/>
                    </a:cubicBezTo>
                    <a:cubicBezTo>
                      <a:pt x="3807" y="14769"/>
                      <a:pt x="3806" y="14775"/>
                      <a:pt x="3799" y="14776"/>
                    </a:cubicBezTo>
                    <a:cubicBezTo>
                      <a:pt x="3793" y="14777"/>
                      <a:pt x="3787" y="14776"/>
                      <a:pt x="3781" y="14776"/>
                    </a:cubicBezTo>
                    <a:cubicBezTo>
                      <a:pt x="3774" y="14776"/>
                      <a:pt x="3770" y="14780"/>
                      <a:pt x="3763" y="14784"/>
                    </a:cubicBezTo>
                    <a:cubicBezTo>
                      <a:pt x="3756" y="14787"/>
                      <a:pt x="3753" y="14788"/>
                      <a:pt x="3747" y="14794"/>
                    </a:cubicBezTo>
                    <a:cubicBezTo>
                      <a:pt x="3743" y="14800"/>
                      <a:pt x="3737" y="14802"/>
                      <a:pt x="3732" y="14806"/>
                    </a:cubicBezTo>
                    <a:cubicBezTo>
                      <a:pt x="3734" y="14809"/>
                      <a:pt x="3736" y="14812"/>
                      <a:pt x="3736" y="14817"/>
                    </a:cubicBezTo>
                    <a:cubicBezTo>
                      <a:pt x="3741" y="14861"/>
                      <a:pt x="3702" y="14881"/>
                      <a:pt x="3718" y="14930"/>
                    </a:cubicBezTo>
                    <a:cubicBezTo>
                      <a:pt x="3723" y="14944"/>
                      <a:pt x="3720" y="14966"/>
                      <a:pt x="3720" y="14983"/>
                    </a:cubicBezTo>
                    <a:cubicBezTo>
                      <a:pt x="3720" y="14997"/>
                      <a:pt x="3719" y="15012"/>
                      <a:pt x="3728" y="15015"/>
                    </a:cubicBezTo>
                    <a:cubicBezTo>
                      <a:pt x="3737" y="15018"/>
                      <a:pt x="3748" y="15019"/>
                      <a:pt x="3757" y="15019"/>
                    </a:cubicBezTo>
                    <a:cubicBezTo>
                      <a:pt x="3767" y="15018"/>
                      <a:pt x="3771" y="15026"/>
                      <a:pt x="3780" y="15034"/>
                    </a:cubicBezTo>
                    <a:lnTo>
                      <a:pt x="4348" y="15456"/>
                    </a:lnTo>
                    <a:lnTo>
                      <a:pt x="5111" y="16026"/>
                    </a:lnTo>
                    <a:lnTo>
                      <a:pt x="5876" y="16032"/>
                    </a:lnTo>
                    <a:lnTo>
                      <a:pt x="5987" y="16033"/>
                    </a:lnTo>
                    <a:lnTo>
                      <a:pt x="6170" y="16031"/>
                    </a:lnTo>
                    <a:lnTo>
                      <a:pt x="6173" y="15615"/>
                    </a:lnTo>
                    <a:cubicBezTo>
                      <a:pt x="6192" y="15616"/>
                      <a:pt x="6210" y="15616"/>
                      <a:pt x="6228" y="15616"/>
                    </a:cubicBezTo>
                    <a:lnTo>
                      <a:pt x="6361" y="15617"/>
                    </a:lnTo>
                    <a:cubicBezTo>
                      <a:pt x="6417" y="15618"/>
                      <a:pt x="6472" y="15618"/>
                      <a:pt x="6527" y="15619"/>
                    </a:cubicBezTo>
                    <a:cubicBezTo>
                      <a:pt x="6578" y="15619"/>
                      <a:pt x="6629" y="15620"/>
                      <a:pt x="6680" y="15620"/>
                    </a:cubicBezTo>
                    <a:cubicBezTo>
                      <a:pt x="6712" y="15620"/>
                      <a:pt x="6743" y="15620"/>
                      <a:pt x="6775" y="15621"/>
                    </a:cubicBezTo>
                    <a:cubicBezTo>
                      <a:pt x="6780" y="15621"/>
                      <a:pt x="6785" y="15624"/>
                      <a:pt x="6790" y="15625"/>
                    </a:cubicBezTo>
                    <a:cubicBezTo>
                      <a:pt x="6795" y="15626"/>
                      <a:pt x="6800" y="15626"/>
                      <a:pt x="6805" y="15627"/>
                    </a:cubicBezTo>
                    <a:cubicBezTo>
                      <a:pt x="6812" y="15627"/>
                      <a:pt x="6820" y="15629"/>
                      <a:pt x="6827" y="15635"/>
                    </a:cubicBezTo>
                    <a:cubicBezTo>
                      <a:pt x="6839" y="15646"/>
                      <a:pt x="6852" y="15656"/>
                      <a:pt x="6864" y="15666"/>
                    </a:cubicBezTo>
                    <a:cubicBezTo>
                      <a:pt x="6869" y="15671"/>
                      <a:pt x="6875" y="15675"/>
                      <a:pt x="6878" y="15685"/>
                    </a:cubicBezTo>
                    <a:cubicBezTo>
                      <a:pt x="6882" y="15695"/>
                      <a:pt x="6880" y="15709"/>
                      <a:pt x="6881" y="15720"/>
                    </a:cubicBezTo>
                    <a:cubicBezTo>
                      <a:pt x="6882" y="15731"/>
                      <a:pt x="6886" y="15741"/>
                      <a:pt x="6887" y="15752"/>
                    </a:cubicBezTo>
                    <a:cubicBezTo>
                      <a:pt x="6890" y="15765"/>
                      <a:pt x="6888" y="15781"/>
                      <a:pt x="6892" y="15794"/>
                    </a:cubicBezTo>
                    <a:cubicBezTo>
                      <a:pt x="6898" y="15811"/>
                      <a:pt x="6905" y="15824"/>
                      <a:pt x="6910" y="15841"/>
                    </a:cubicBezTo>
                    <a:cubicBezTo>
                      <a:pt x="6915" y="15857"/>
                      <a:pt x="6921" y="15874"/>
                      <a:pt x="6929" y="15888"/>
                    </a:cubicBezTo>
                    <a:cubicBezTo>
                      <a:pt x="6938" y="15906"/>
                      <a:pt x="6945" y="15939"/>
                      <a:pt x="6958" y="15950"/>
                    </a:cubicBezTo>
                    <a:cubicBezTo>
                      <a:pt x="6964" y="15954"/>
                      <a:pt x="6972" y="15954"/>
                      <a:pt x="6978" y="15953"/>
                    </a:cubicBezTo>
                    <a:cubicBezTo>
                      <a:pt x="6985" y="15951"/>
                      <a:pt x="6996" y="15946"/>
                      <a:pt x="7003" y="15953"/>
                    </a:cubicBezTo>
                    <a:cubicBezTo>
                      <a:pt x="7007" y="15958"/>
                      <a:pt x="7010" y="15975"/>
                      <a:pt x="7012" y="15983"/>
                    </a:cubicBezTo>
                    <a:cubicBezTo>
                      <a:pt x="7016" y="15994"/>
                      <a:pt x="7021" y="16001"/>
                      <a:pt x="7026" y="16008"/>
                    </a:cubicBezTo>
                    <a:cubicBezTo>
                      <a:pt x="7033" y="16018"/>
                      <a:pt x="7043" y="16026"/>
                      <a:pt x="7049" y="16037"/>
                    </a:cubicBezTo>
                    <a:cubicBezTo>
                      <a:pt x="7054" y="16046"/>
                      <a:pt x="7057" y="16058"/>
                      <a:pt x="7060" y="16068"/>
                    </a:cubicBezTo>
                    <a:cubicBezTo>
                      <a:pt x="7064" y="16077"/>
                      <a:pt x="7068" y="16083"/>
                      <a:pt x="7071" y="16092"/>
                    </a:cubicBezTo>
                    <a:cubicBezTo>
                      <a:pt x="7076" y="16104"/>
                      <a:pt x="7073" y="16118"/>
                      <a:pt x="7078" y="16129"/>
                    </a:cubicBezTo>
                    <a:cubicBezTo>
                      <a:pt x="7080" y="16134"/>
                      <a:pt x="7084" y="16135"/>
                      <a:pt x="7086" y="16139"/>
                    </a:cubicBezTo>
                    <a:cubicBezTo>
                      <a:pt x="7088" y="16143"/>
                      <a:pt x="7089" y="16148"/>
                      <a:pt x="7092" y="16152"/>
                    </a:cubicBezTo>
                    <a:cubicBezTo>
                      <a:pt x="7097" y="16161"/>
                      <a:pt x="7104" y="16166"/>
                      <a:pt x="7109" y="16173"/>
                    </a:cubicBezTo>
                    <a:cubicBezTo>
                      <a:pt x="7121" y="16190"/>
                      <a:pt x="7128" y="16215"/>
                      <a:pt x="7142" y="16227"/>
                    </a:cubicBezTo>
                    <a:cubicBezTo>
                      <a:pt x="7150" y="16233"/>
                      <a:pt x="7162" y="16232"/>
                      <a:pt x="7165" y="16247"/>
                    </a:cubicBezTo>
                    <a:cubicBezTo>
                      <a:pt x="7168" y="16266"/>
                      <a:pt x="7165" y="16285"/>
                      <a:pt x="7169" y="16305"/>
                    </a:cubicBezTo>
                    <a:cubicBezTo>
                      <a:pt x="7172" y="16322"/>
                      <a:pt x="7179" y="16335"/>
                      <a:pt x="7187" y="16346"/>
                    </a:cubicBezTo>
                    <a:cubicBezTo>
                      <a:pt x="7202" y="16366"/>
                      <a:pt x="7213" y="16389"/>
                      <a:pt x="7227" y="16408"/>
                    </a:cubicBezTo>
                    <a:cubicBezTo>
                      <a:pt x="7240" y="16427"/>
                      <a:pt x="7249" y="16452"/>
                      <a:pt x="7260" y="16474"/>
                    </a:cubicBezTo>
                    <a:cubicBezTo>
                      <a:pt x="7264" y="16481"/>
                      <a:pt x="7269" y="16495"/>
                      <a:pt x="7274" y="16499"/>
                    </a:cubicBezTo>
                    <a:cubicBezTo>
                      <a:pt x="7281" y="16503"/>
                      <a:pt x="7287" y="16495"/>
                      <a:pt x="7293" y="16494"/>
                    </a:cubicBezTo>
                    <a:cubicBezTo>
                      <a:pt x="7308" y="16490"/>
                      <a:pt x="7315" y="16508"/>
                      <a:pt x="7324" y="16522"/>
                    </a:cubicBezTo>
                    <a:cubicBezTo>
                      <a:pt x="7334" y="16537"/>
                      <a:pt x="7344" y="16550"/>
                      <a:pt x="7355" y="16562"/>
                    </a:cubicBezTo>
                    <a:cubicBezTo>
                      <a:pt x="7364" y="16571"/>
                      <a:pt x="7374" y="16585"/>
                      <a:pt x="7379" y="16601"/>
                    </a:cubicBezTo>
                    <a:cubicBezTo>
                      <a:pt x="7386" y="16627"/>
                      <a:pt x="7372" y="16656"/>
                      <a:pt x="7390" y="16673"/>
                    </a:cubicBezTo>
                    <a:cubicBezTo>
                      <a:pt x="7398" y="16680"/>
                      <a:pt x="7406" y="16687"/>
                      <a:pt x="7412" y="16695"/>
                    </a:cubicBezTo>
                    <a:cubicBezTo>
                      <a:pt x="7421" y="16707"/>
                      <a:pt x="7429" y="16730"/>
                      <a:pt x="7429" y="16750"/>
                    </a:cubicBezTo>
                    <a:cubicBezTo>
                      <a:pt x="7429" y="16760"/>
                      <a:pt x="7426" y="16769"/>
                      <a:pt x="7425" y="16779"/>
                    </a:cubicBezTo>
                    <a:cubicBezTo>
                      <a:pt x="7424" y="16793"/>
                      <a:pt x="7429" y="16809"/>
                      <a:pt x="7432" y="16822"/>
                    </a:cubicBezTo>
                    <a:cubicBezTo>
                      <a:pt x="7436" y="16837"/>
                      <a:pt x="7441" y="16851"/>
                      <a:pt x="7447" y="16864"/>
                    </a:cubicBezTo>
                    <a:cubicBezTo>
                      <a:pt x="7455" y="16881"/>
                      <a:pt x="7457" y="16899"/>
                      <a:pt x="7464" y="16918"/>
                    </a:cubicBezTo>
                    <a:cubicBezTo>
                      <a:pt x="7473" y="16945"/>
                      <a:pt x="7485" y="16971"/>
                      <a:pt x="7492" y="17000"/>
                    </a:cubicBezTo>
                    <a:cubicBezTo>
                      <a:pt x="7498" y="17023"/>
                      <a:pt x="7495" y="17050"/>
                      <a:pt x="7495" y="17074"/>
                    </a:cubicBezTo>
                    <a:cubicBezTo>
                      <a:pt x="7495" y="17100"/>
                      <a:pt x="7493" y="17129"/>
                      <a:pt x="7496" y="17155"/>
                    </a:cubicBezTo>
                    <a:cubicBezTo>
                      <a:pt x="7498" y="17179"/>
                      <a:pt x="7496" y="17207"/>
                      <a:pt x="7503" y="17230"/>
                    </a:cubicBezTo>
                    <a:cubicBezTo>
                      <a:pt x="7506" y="17244"/>
                      <a:pt x="7508" y="17257"/>
                      <a:pt x="7511" y="17271"/>
                    </a:cubicBezTo>
                    <a:cubicBezTo>
                      <a:pt x="7514" y="17284"/>
                      <a:pt x="7518" y="17295"/>
                      <a:pt x="7519" y="17308"/>
                    </a:cubicBezTo>
                    <a:cubicBezTo>
                      <a:pt x="7521" y="17326"/>
                      <a:pt x="7518" y="17347"/>
                      <a:pt x="7523" y="17363"/>
                    </a:cubicBezTo>
                    <a:cubicBezTo>
                      <a:pt x="7528" y="17377"/>
                      <a:pt x="7536" y="17383"/>
                      <a:pt x="7542" y="17392"/>
                    </a:cubicBezTo>
                    <a:cubicBezTo>
                      <a:pt x="7553" y="17407"/>
                      <a:pt x="7551" y="17430"/>
                      <a:pt x="7550" y="17451"/>
                    </a:cubicBezTo>
                    <a:cubicBezTo>
                      <a:pt x="7549" y="17469"/>
                      <a:pt x="7550" y="17479"/>
                      <a:pt x="7558" y="17493"/>
                    </a:cubicBezTo>
                    <a:cubicBezTo>
                      <a:pt x="7566" y="17509"/>
                      <a:pt x="7571" y="17521"/>
                      <a:pt x="7577" y="17540"/>
                    </a:cubicBezTo>
                    <a:cubicBezTo>
                      <a:pt x="7582" y="17557"/>
                      <a:pt x="7588" y="17566"/>
                      <a:pt x="7596" y="17579"/>
                    </a:cubicBezTo>
                    <a:cubicBezTo>
                      <a:pt x="7611" y="17601"/>
                      <a:pt x="7623" y="17633"/>
                      <a:pt x="7645" y="17633"/>
                    </a:cubicBezTo>
                    <a:cubicBezTo>
                      <a:pt x="7654" y="17633"/>
                      <a:pt x="7662" y="17632"/>
                      <a:pt x="7668" y="17647"/>
                    </a:cubicBezTo>
                    <a:cubicBezTo>
                      <a:pt x="7671" y="17654"/>
                      <a:pt x="7671" y="17662"/>
                      <a:pt x="7675" y="17670"/>
                    </a:cubicBezTo>
                    <a:cubicBezTo>
                      <a:pt x="7679" y="17679"/>
                      <a:pt x="7682" y="17677"/>
                      <a:pt x="7684" y="17687"/>
                    </a:cubicBezTo>
                    <a:cubicBezTo>
                      <a:pt x="7686" y="17702"/>
                      <a:pt x="7683" y="17707"/>
                      <a:pt x="7691" y="17718"/>
                    </a:cubicBezTo>
                    <a:cubicBezTo>
                      <a:pt x="7702" y="17732"/>
                      <a:pt x="7714" y="17743"/>
                      <a:pt x="7724" y="17757"/>
                    </a:cubicBezTo>
                    <a:cubicBezTo>
                      <a:pt x="7730" y="17764"/>
                      <a:pt x="7735" y="17771"/>
                      <a:pt x="7741" y="17778"/>
                    </a:cubicBezTo>
                    <a:cubicBezTo>
                      <a:pt x="7750" y="17792"/>
                      <a:pt x="7757" y="17812"/>
                      <a:pt x="7766" y="17827"/>
                    </a:cubicBezTo>
                    <a:cubicBezTo>
                      <a:pt x="7772" y="17835"/>
                      <a:pt x="7780" y="17841"/>
                      <a:pt x="7787" y="17844"/>
                    </a:cubicBezTo>
                    <a:cubicBezTo>
                      <a:pt x="7791" y="17846"/>
                      <a:pt x="7795" y="17846"/>
                      <a:pt x="7799" y="17847"/>
                    </a:cubicBezTo>
                    <a:cubicBezTo>
                      <a:pt x="7803" y="17848"/>
                      <a:pt x="7805" y="17851"/>
                      <a:pt x="7809" y="17854"/>
                    </a:cubicBezTo>
                    <a:cubicBezTo>
                      <a:pt x="7815" y="17858"/>
                      <a:pt x="7822" y="17859"/>
                      <a:pt x="7828" y="17855"/>
                    </a:cubicBezTo>
                    <a:cubicBezTo>
                      <a:pt x="7836" y="17849"/>
                      <a:pt x="7843" y="17847"/>
                      <a:pt x="7847" y="17863"/>
                    </a:cubicBezTo>
                    <a:cubicBezTo>
                      <a:pt x="7850" y="17875"/>
                      <a:pt x="7846" y="17890"/>
                      <a:pt x="7850" y="17901"/>
                    </a:cubicBezTo>
                    <a:cubicBezTo>
                      <a:pt x="7853" y="17914"/>
                      <a:pt x="7865" y="17919"/>
                      <a:pt x="7872" y="17926"/>
                    </a:cubicBezTo>
                    <a:cubicBezTo>
                      <a:pt x="7880" y="17933"/>
                      <a:pt x="7888" y="17943"/>
                      <a:pt x="7895" y="17953"/>
                    </a:cubicBezTo>
                    <a:cubicBezTo>
                      <a:pt x="7902" y="17961"/>
                      <a:pt x="7910" y="17964"/>
                      <a:pt x="7918" y="17970"/>
                    </a:cubicBezTo>
                    <a:cubicBezTo>
                      <a:pt x="7928" y="17976"/>
                      <a:pt x="7933" y="17983"/>
                      <a:pt x="7939" y="17996"/>
                    </a:cubicBezTo>
                    <a:cubicBezTo>
                      <a:pt x="7945" y="18008"/>
                      <a:pt x="7951" y="18016"/>
                      <a:pt x="7958" y="18024"/>
                    </a:cubicBezTo>
                    <a:cubicBezTo>
                      <a:pt x="7965" y="18032"/>
                      <a:pt x="7968" y="18046"/>
                      <a:pt x="7974" y="18056"/>
                    </a:cubicBezTo>
                    <a:cubicBezTo>
                      <a:pt x="7979" y="18064"/>
                      <a:pt x="7983" y="18063"/>
                      <a:pt x="7990" y="18062"/>
                    </a:cubicBezTo>
                    <a:cubicBezTo>
                      <a:pt x="7998" y="18060"/>
                      <a:pt x="8002" y="18066"/>
                      <a:pt x="8006" y="18079"/>
                    </a:cubicBezTo>
                    <a:cubicBezTo>
                      <a:pt x="8011" y="18094"/>
                      <a:pt x="8014" y="18097"/>
                      <a:pt x="8023" y="18097"/>
                    </a:cubicBezTo>
                    <a:cubicBezTo>
                      <a:pt x="8032" y="18097"/>
                      <a:pt x="8040" y="18099"/>
                      <a:pt x="8048" y="18099"/>
                    </a:cubicBezTo>
                    <a:cubicBezTo>
                      <a:pt x="8055" y="18099"/>
                      <a:pt x="8065" y="18104"/>
                      <a:pt x="8071" y="18101"/>
                    </a:cubicBezTo>
                    <a:cubicBezTo>
                      <a:pt x="8078" y="18097"/>
                      <a:pt x="8079" y="18083"/>
                      <a:pt x="8082" y="18073"/>
                    </a:cubicBezTo>
                    <a:cubicBezTo>
                      <a:pt x="8087" y="18055"/>
                      <a:pt x="8095" y="18042"/>
                      <a:pt x="8099" y="18023"/>
                    </a:cubicBezTo>
                    <a:cubicBezTo>
                      <a:pt x="8101" y="18015"/>
                      <a:pt x="8101" y="18009"/>
                      <a:pt x="8104" y="18004"/>
                    </a:cubicBezTo>
                    <a:cubicBezTo>
                      <a:pt x="8107" y="17999"/>
                      <a:pt x="8112" y="17996"/>
                      <a:pt x="8115" y="17991"/>
                    </a:cubicBezTo>
                    <a:cubicBezTo>
                      <a:pt x="8120" y="17982"/>
                      <a:pt x="8124" y="17970"/>
                      <a:pt x="8128" y="17960"/>
                    </a:cubicBezTo>
                    <a:cubicBezTo>
                      <a:pt x="8135" y="17948"/>
                      <a:pt x="8139" y="17931"/>
                      <a:pt x="8146" y="17919"/>
                    </a:cubicBezTo>
                    <a:cubicBezTo>
                      <a:pt x="8150" y="17913"/>
                      <a:pt x="8156" y="17916"/>
                      <a:pt x="8160" y="17910"/>
                    </a:cubicBezTo>
                    <a:cubicBezTo>
                      <a:pt x="8167" y="17898"/>
                      <a:pt x="8164" y="17862"/>
                      <a:pt x="8166" y="17846"/>
                    </a:cubicBezTo>
                    <a:cubicBezTo>
                      <a:pt x="8170" y="17817"/>
                      <a:pt x="8175" y="17794"/>
                      <a:pt x="8185" y="17770"/>
                    </a:cubicBezTo>
                    <a:cubicBezTo>
                      <a:pt x="8192" y="17753"/>
                      <a:pt x="8194" y="17730"/>
                      <a:pt x="8198" y="17710"/>
                    </a:cubicBezTo>
                    <a:cubicBezTo>
                      <a:pt x="8200" y="17698"/>
                      <a:pt x="8200" y="17688"/>
                      <a:pt x="8199" y="17675"/>
                    </a:cubicBezTo>
                    <a:cubicBezTo>
                      <a:pt x="8197" y="17650"/>
                      <a:pt x="8204" y="17632"/>
                      <a:pt x="8210" y="17611"/>
                    </a:cubicBezTo>
                    <a:cubicBezTo>
                      <a:pt x="8214" y="17598"/>
                      <a:pt x="8219" y="17587"/>
                      <a:pt x="8223" y="17575"/>
                    </a:cubicBezTo>
                    <a:cubicBezTo>
                      <a:pt x="8232" y="17551"/>
                      <a:pt x="8230" y="17519"/>
                      <a:pt x="8236" y="17492"/>
                    </a:cubicBezTo>
                    <a:cubicBezTo>
                      <a:pt x="8241" y="17469"/>
                      <a:pt x="8251" y="17454"/>
                      <a:pt x="8262" y="17437"/>
                    </a:cubicBezTo>
                    <a:cubicBezTo>
                      <a:pt x="8272" y="17420"/>
                      <a:pt x="8287" y="17405"/>
                      <a:pt x="8301" y="17408"/>
                    </a:cubicBezTo>
                    <a:cubicBezTo>
                      <a:pt x="8308" y="17410"/>
                      <a:pt x="8311" y="17410"/>
                      <a:pt x="8318" y="17403"/>
                    </a:cubicBezTo>
                    <a:cubicBezTo>
                      <a:pt x="8324" y="17397"/>
                      <a:pt x="8331" y="17388"/>
                      <a:pt x="8338" y="17395"/>
                    </a:cubicBezTo>
                    <a:cubicBezTo>
                      <a:pt x="8343" y="17402"/>
                      <a:pt x="8345" y="17412"/>
                      <a:pt x="8353" y="17407"/>
                    </a:cubicBezTo>
                    <a:cubicBezTo>
                      <a:pt x="8360" y="17403"/>
                      <a:pt x="8365" y="17388"/>
                      <a:pt x="8369" y="17378"/>
                    </a:cubicBezTo>
                    <a:cubicBezTo>
                      <a:pt x="8376" y="17358"/>
                      <a:pt x="8383" y="17325"/>
                      <a:pt x="8397" y="17315"/>
                    </a:cubicBezTo>
                    <a:cubicBezTo>
                      <a:pt x="8415" y="17302"/>
                      <a:pt x="8430" y="17341"/>
                      <a:pt x="8442" y="17358"/>
                    </a:cubicBezTo>
                    <a:cubicBezTo>
                      <a:pt x="8451" y="17373"/>
                      <a:pt x="8464" y="17380"/>
                      <a:pt x="8478" y="17376"/>
                    </a:cubicBezTo>
                    <a:cubicBezTo>
                      <a:pt x="8484" y="17374"/>
                      <a:pt x="8490" y="17369"/>
                      <a:pt x="8497" y="17368"/>
                    </a:cubicBezTo>
                    <a:cubicBezTo>
                      <a:pt x="8508" y="17365"/>
                      <a:pt x="8519" y="17379"/>
                      <a:pt x="8529" y="17388"/>
                    </a:cubicBezTo>
                    <a:cubicBezTo>
                      <a:pt x="8536" y="17394"/>
                      <a:pt x="8547" y="17394"/>
                      <a:pt x="8555" y="17392"/>
                    </a:cubicBezTo>
                    <a:cubicBezTo>
                      <a:pt x="8566" y="17390"/>
                      <a:pt x="8576" y="17392"/>
                      <a:pt x="8587" y="17390"/>
                    </a:cubicBezTo>
                    <a:cubicBezTo>
                      <a:pt x="8595" y="17389"/>
                      <a:pt x="8604" y="17386"/>
                      <a:pt x="8612" y="17389"/>
                    </a:cubicBezTo>
                    <a:cubicBezTo>
                      <a:pt x="8620" y="17391"/>
                      <a:pt x="8627" y="17394"/>
                      <a:pt x="8636" y="17396"/>
                    </a:cubicBezTo>
                    <a:cubicBezTo>
                      <a:pt x="8649" y="17398"/>
                      <a:pt x="8663" y="17397"/>
                      <a:pt x="8676" y="17392"/>
                    </a:cubicBezTo>
                    <a:cubicBezTo>
                      <a:pt x="8690" y="17386"/>
                      <a:pt x="8707" y="17382"/>
                      <a:pt x="8719" y="17402"/>
                    </a:cubicBezTo>
                    <a:cubicBezTo>
                      <a:pt x="8724" y="17410"/>
                      <a:pt x="8731" y="17424"/>
                      <a:pt x="8733" y="17435"/>
                    </a:cubicBezTo>
                    <a:cubicBezTo>
                      <a:pt x="8736" y="17447"/>
                      <a:pt x="8736" y="17459"/>
                      <a:pt x="8739" y="17471"/>
                    </a:cubicBezTo>
                    <a:cubicBezTo>
                      <a:pt x="8742" y="17483"/>
                      <a:pt x="8748" y="17494"/>
                      <a:pt x="8749" y="17506"/>
                    </a:cubicBezTo>
                    <a:cubicBezTo>
                      <a:pt x="8750" y="17515"/>
                      <a:pt x="8747" y="17524"/>
                      <a:pt x="8749" y="17533"/>
                    </a:cubicBezTo>
                    <a:cubicBezTo>
                      <a:pt x="8751" y="17545"/>
                      <a:pt x="8760" y="17546"/>
                      <a:pt x="8767" y="17546"/>
                    </a:cubicBezTo>
                    <a:cubicBezTo>
                      <a:pt x="8774" y="17545"/>
                      <a:pt x="8776" y="17538"/>
                      <a:pt x="8782" y="17533"/>
                    </a:cubicBezTo>
                    <a:cubicBezTo>
                      <a:pt x="8785" y="17530"/>
                      <a:pt x="8787" y="17530"/>
                      <a:pt x="8790" y="17529"/>
                    </a:cubicBezTo>
                    <a:cubicBezTo>
                      <a:pt x="8796" y="17527"/>
                      <a:pt x="8793" y="17523"/>
                      <a:pt x="8796" y="17531"/>
                    </a:cubicBezTo>
                    <a:cubicBezTo>
                      <a:pt x="8806" y="17559"/>
                      <a:pt x="8791" y="17601"/>
                      <a:pt x="8810" y="17621"/>
                    </a:cubicBezTo>
                    <a:cubicBezTo>
                      <a:pt x="8816" y="17627"/>
                      <a:pt x="8824" y="17631"/>
                      <a:pt x="8829" y="17639"/>
                    </a:cubicBezTo>
                    <a:cubicBezTo>
                      <a:pt x="8835" y="17652"/>
                      <a:pt x="8834" y="17659"/>
                      <a:pt x="8845" y="17663"/>
                    </a:cubicBezTo>
                    <a:cubicBezTo>
                      <a:pt x="8853" y="17665"/>
                      <a:pt x="8864" y="17659"/>
                      <a:pt x="8868" y="17671"/>
                    </a:cubicBezTo>
                    <a:cubicBezTo>
                      <a:pt x="8871" y="17683"/>
                      <a:pt x="8871" y="17700"/>
                      <a:pt x="8871" y="17713"/>
                    </a:cubicBezTo>
                    <a:cubicBezTo>
                      <a:pt x="8872" y="17724"/>
                      <a:pt x="8870" y="17737"/>
                      <a:pt x="8874" y="17747"/>
                    </a:cubicBezTo>
                    <a:cubicBezTo>
                      <a:pt x="8876" y="17751"/>
                      <a:pt x="8880" y="17754"/>
                      <a:pt x="8882" y="17759"/>
                    </a:cubicBezTo>
                    <a:cubicBezTo>
                      <a:pt x="8885" y="17764"/>
                      <a:pt x="8887" y="17771"/>
                      <a:pt x="8890" y="17776"/>
                    </a:cubicBezTo>
                    <a:cubicBezTo>
                      <a:pt x="8897" y="17789"/>
                      <a:pt x="8908" y="17792"/>
                      <a:pt x="8918" y="17800"/>
                    </a:cubicBezTo>
                    <a:cubicBezTo>
                      <a:pt x="8927" y="17808"/>
                      <a:pt x="8934" y="17821"/>
                      <a:pt x="8940" y="17835"/>
                    </a:cubicBezTo>
                    <a:cubicBezTo>
                      <a:pt x="8944" y="17846"/>
                      <a:pt x="8948" y="17857"/>
                      <a:pt x="8953" y="17867"/>
                    </a:cubicBezTo>
                    <a:cubicBezTo>
                      <a:pt x="8962" y="17888"/>
                      <a:pt x="8964" y="17915"/>
                      <a:pt x="8978" y="17931"/>
                    </a:cubicBezTo>
                    <a:cubicBezTo>
                      <a:pt x="8985" y="17940"/>
                      <a:pt x="8989" y="17946"/>
                      <a:pt x="8993" y="17959"/>
                    </a:cubicBezTo>
                    <a:cubicBezTo>
                      <a:pt x="9002" y="17982"/>
                      <a:pt x="9005" y="18007"/>
                      <a:pt x="9010" y="18033"/>
                    </a:cubicBezTo>
                    <a:cubicBezTo>
                      <a:pt x="9015" y="18060"/>
                      <a:pt x="9019" y="18089"/>
                      <a:pt x="9020" y="18118"/>
                    </a:cubicBezTo>
                    <a:cubicBezTo>
                      <a:pt x="9021" y="18133"/>
                      <a:pt x="9020" y="18149"/>
                      <a:pt x="9021" y="18164"/>
                    </a:cubicBezTo>
                    <a:cubicBezTo>
                      <a:pt x="9022" y="18179"/>
                      <a:pt x="9027" y="18192"/>
                      <a:pt x="9031" y="18205"/>
                    </a:cubicBezTo>
                    <a:cubicBezTo>
                      <a:pt x="9035" y="18218"/>
                      <a:pt x="9038" y="18232"/>
                      <a:pt x="9043" y="18245"/>
                    </a:cubicBezTo>
                    <a:cubicBezTo>
                      <a:pt x="9049" y="18261"/>
                      <a:pt x="9055" y="18275"/>
                      <a:pt x="9061" y="18292"/>
                    </a:cubicBezTo>
                    <a:cubicBezTo>
                      <a:pt x="9065" y="18308"/>
                      <a:pt x="9068" y="18325"/>
                      <a:pt x="9073" y="18341"/>
                    </a:cubicBezTo>
                    <a:cubicBezTo>
                      <a:pt x="9079" y="18361"/>
                      <a:pt x="9081" y="18383"/>
                      <a:pt x="9086" y="18404"/>
                    </a:cubicBezTo>
                    <a:cubicBezTo>
                      <a:pt x="9091" y="18426"/>
                      <a:pt x="9100" y="18444"/>
                      <a:pt x="9106" y="18465"/>
                    </a:cubicBezTo>
                    <a:cubicBezTo>
                      <a:pt x="9113" y="18491"/>
                      <a:pt x="9115" y="18520"/>
                      <a:pt x="9121" y="18548"/>
                    </a:cubicBezTo>
                    <a:cubicBezTo>
                      <a:pt x="9127" y="18576"/>
                      <a:pt x="9134" y="18603"/>
                      <a:pt x="9136" y="18632"/>
                    </a:cubicBezTo>
                    <a:cubicBezTo>
                      <a:pt x="9137" y="18648"/>
                      <a:pt x="9140" y="18651"/>
                      <a:pt x="9145" y="18664"/>
                    </a:cubicBezTo>
                    <a:cubicBezTo>
                      <a:pt x="9149" y="18677"/>
                      <a:pt x="9148" y="18694"/>
                      <a:pt x="9149" y="18708"/>
                    </a:cubicBezTo>
                    <a:cubicBezTo>
                      <a:pt x="9151" y="18722"/>
                      <a:pt x="9154" y="18740"/>
                      <a:pt x="9158" y="18753"/>
                    </a:cubicBezTo>
                    <a:cubicBezTo>
                      <a:pt x="9163" y="18769"/>
                      <a:pt x="9174" y="18777"/>
                      <a:pt x="9181" y="18790"/>
                    </a:cubicBezTo>
                    <a:cubicBezTo>
                      <a:pt x="9188" y="18804"/>
                      <a:pt x="9191" y="18810"/>
                      <a:pt x="9201" y="18818"/>
                    </a:cubicBezTo>
                    <a:cubicBezTo>
                      <a:pt x="9210" y="18824"/>
                      <a:pt x="9219" y="18827"/>
                      <a:pt x="9226" y="18836"/>
                    </a:cubicBezTo>
                    <a:cubicBezTo>
                      <a:pt x="9241" y="18852"/>
                      <a:pt x="9240" y="18886"/>
                      <a:pt x="9246" y="18913"/>
                    </a:cubicBezTo>
                    <a:cubicBezTo>
                      <a:pt x="9250" y="18933"/>
                      <a:pt x="9256" y="18952"/>
                      <a:pt x="9262" y="18971"/>
                    </a:cubicBezTo>
                    <a:cubicBezTo>
                      <a:pt x="9263" y="18975"/>
                      <a:pt x="9264" y="18986"/>
                      <a:pt x="9267" y="18989"/>
                    </a:cubicBezTo>
                    <a:cubicBezTo>
                      <a:pt x="9271" y="18994"/>
                      <a:pt x="9273" y="18990"/>
                      <a:pt x="9277" y="18993"/>
                    </a:cubicBezTo>
                    <a:cubicBezTo>
                      <a:pt x="9291" y="19001"/>
                      <a:pt x="9293" y="19050"/>
                      <a:pt x="9299" y="19072"/>
                    </a:cubicBezTo>
                    <a:cubicBezTo>
                      <a:pt x="9304" y="19087"/>
                      <a:pt x="9308" y="19101"/>
                      <a:pt x="9313" y="19116"/>
                    </a:cubicBezTo>
                    <a:cubicBezTo>
                      <a:pt x="9323" y="19143"/>
                      <a:pt x="9309" y="19169"/>
                      <a:pt x="9325" y="19194"/>
                    </a:cubicBezTo>
                    <a:cubicBezTo>
                      <a:pt x="9333" y="19205"/>
                      <a:pt x="9338" y="19221"/>
                      <a:pt x="9346" y="19232"/>
                    </a:cubicBezTo>
                    <a:cubicBezTo>
                      <a:pt x="9361" y="19253"/>
                      <a:pt x="9379" y="19270"/>
                      <a:pt x="9396" y="19289"/>
                    </a:cubicBezTo>
                    <a:cubicBezTo>
                      <a:pt x="9403" y="19298"/>
                      <a:pt x="9409" y="19307"/>
                      <a:pt x="9416" y="19316"/>
                    </a:cubicBezTo>
                    <a:cubicBezTo>
                      <a:pt x="9423" y="19324"/>
                      <a:pt x="9432" y="19329"/>
                      <a:pt x="9436" y="19341"/>
                    </a:cubicBezTo>
                    <a:cubicBezTo>
                      <a:pt x="9444" y="19362"/>
                      <a:pt x="9445" y="19402"/>
                      <a:pt x="9446" y="19427"/>
                    </a:cubicBezTo>
                    <a:cubicBezTo>
                      <a:pt x="9446" y="19450"/>
                      <a:pt x="9448" y="19472"/>
                      <a:pt x="9448" y="19496"/>
                    </a:cubicBezTo>
                    <a:cubicBezTo>
                      <a:pt x="9448" y="19514"/>
                      <a:pt x="9450" y="19541"/>
                      <a:pt x="9447" y="19558"/>
                    </a:cubicBezTo>
                    <a:cubicBezTo>
                      <a:pt x="9442" y="19579"/>
                      <a:pt x="9434" y="19592"/>
                      <a:pt x="9447" y="19609"/>
                    </a:cubicBezTo>
                    <a:cubicBezTo>
                      <a:pt x="9451" y="19616"/>
                      <a:pt x="9456" y="19619"/>
                      <a:pt x="9459" y="19629"/>
                    </a:cubicBezTo>
                    <a:cubicBezTo>
                      <a:pt x="9469" y="19665"/>
                      <a:pt x="9462" y="19716"/>
                      <a:pt x="9461" y="19755"/>
                    </a:cubicBezTo>
                    <a:cubicBezTo>
                      <a:pt x="9460" y="19770"/>
                      <a:pt x="9459" y="19786"/>
                      <a:pt x="9461" y="19801"/>
                    </a:cubicBezTo>
                    <a:cubicBezTo>
                      <a:pt x="9463" y="19815"/>
                      <a:pt x="9469" y="19824"/>
                      <a:pt x="9473" y="19836"/>
                    </a:cubicBezTo>
                    <a:cubicBezTo>
                      <a:pt x="9477" y="19850"/>
                      <a:pt x="9474" y="19864"/>
                      <a:pt x="9476" y="19879"/>
                    </a:cubicBezTo>
                    <a:cubicBezTo>
                      <a:pt x="9478" y="19893"/>
                      <a:pt x="9485" y="19905"/>
                      <a:pt x="9489" y="19916"/>
                    </a:cubicBezTo>
                    <a:cubicBezTo>
                      <a:pt x="9495" y="19933"/>
                      <a:pt x="9502" y="19953"/>
                      <a:pt x="9509" y="19967"/>
                    </a:cubicBezTo>
                    <a:cubicBezTo>
                      <a:pt x="9516" y="19980"/>
                      <a:pt x="9525" y="19990"/>
                      <a:pt x="9533" y="20002"/>
                    </a:cubicBezTo>
                    <a:cubicBezTo>
                      <a:pt x="9550" y="20031"/>
                      <a:pt x="9548" y="20080"/>
                      <a:pt x="9554" y="20118"/>
                    </a:cubicBezTo>
                    <a:cubicBezTo>
                      <a:pt x="9558" y="20138"/>
                      <a:pt x="9562" y="20155"/>
                      <a:pt x="9563" y="20177"/>
                    </a:cubicBezTo>
                    <a:cubicBezTo>
                      <a:pt x="9564" y="20199"/>
                      <a:pt x="9562" y="20223"/>
                      <a:pt x="9565" y="20246"/>
                    </a:cubicBezTo>
                    <a:cubicBezTo>
                      <a:pt x="9568" y="20270"/>
                      <a:pt x="9580" y="20289"/>
                      <a:pt x="9585" y="20312"/>
                    </a:cubicBezTo>
                    <a:cubicBezTo>
                      <a:pt x="9588" y="20327"/>
                      <a:pt x="9589" y="20343"/>
                      <a:pt x="9590" y="20357"/>
                    </a:cubicBezTo>
                    <a:cubicBezTo>
                      <a:pt x="9593" y="20378"/>
                      <a:pt x="9593" y="20386"/>
                      <a:pt x="9603" y="20399"/>
                    </a:cubicBezTo>
                    <a:cubicBezTo>
                      <a:pt x="9616" y="20415"/>
                      <a:pt x="9630" y="20423"/>
                      <a:pt x="9647" y="20423"/>
                    </a:cubicBezTo>
                    <a:cubicBezTo>
                      <a:pt x="9655" y="20423"/>
                      <a:pt x="9666" y="20419"/>
                      <a:pt x="9674" y="20423"/>
                    </a:cubicBezTo>
                    <a:cubicBezTo>
                      <a:pt x="9682" y="20426"/>
                      <a:pt x="9688" y="20438"/>
                      <a:pt x="9696" y="20442"/>
                    </a:cubicBezTo>
                    <a:cubicBezTo>
                      <a:pt x="9705" y="20447"/>
                      <a:pt x="9715" y="20446"/>
                      <a:pt x="9722" y="20456"/>
                    </a:cubicBezTo>
                    <a:cubicBezTo>
                      <a:pt x="9728" y="20465"/>
                      <a:pt x="9737" y="20483"/>
                      <a:pt x="9740" y="20494"/>
                    </a:cubicBezTo>
                    <a:cubicBezTo>
                      <a:pt x="9745" y="20508"/>
                      <a:pt x="9745" y="20520"/>
                      <a:pt x="9753" y="20530"/>
                    </a:cubicBezTo>
                    <a:cubicBezTo>
                      <a:pt x="9760" y="20538"/>
                      <a:pt x="9769" y="20543"/>
                      <a:pt x="9777" y="20542"/>
                    </a:cubicBezTo>
                    <a:cubicBezTo>
                      <a:pt x="9785" y="20541"/>
                      <a:pt x="9791" y="20532"/>
                      <a:pt x="9799" y="20531"/>
                    </a:cubicBezTo>
                    <a:cubicBezTo>
                      <a:pt x="9809" y="20530"/>
                      <a:pt x="9817" y="20545"/>
                      <a:pt x="9823" y="20555"/>
                    </a:cubicBezTo>
                    <a:cubicBezTo>
                      <a:pt x="9830" y="20565"/>
                      <a:pt x="9835" y="20572"/>
                      <a:pt x="9842" y="20579"/>
                    </a:cubicBezTo>
                    <a:cubicBezTo>
                      <a:pt x="9851" y="20588"/>
                      <a:pt x="9853" y="20601"/>
                      <a:pt x="9860" y="20611"/>
                    </a:cubicBezTo>
                    <a:cubicBezTo>
                      <a:pt x="9867" y="20621"/>
                      <a:pt x="9877" y="20627"/>
                      <a:pt x="9885" y="20636"/>
                    </a:cubicBezTo>
                    <a:cubicBezTo>
                      <a:pt x="9891" y="20645"/>
                      <a:pt x="9899" y="20656"/>
                      <a:pt x="9907" y="20662"/>
                    </a:cubicBezTo>
                    <a:cubicBezTo>
                      <a:pt x="9923" y="20675"/>
                      <a:pt x="9943" y="20688"/>
                      <a:pt x="9960" y="20694"/>
                    </a:cubicBezTo>
                    <a:cubicBezTo>
                      <a:pt x="9977" y="20700"/>
                      <a:pt x="9995" y="20701"/>
                      <a:pt x="10012" y="20701"/>
                    </a:cubicBezTo>
                    <a:cubicBezTo>
                      <a:pt x="10028" y="20701"/>
                      <a:pt x="10046" y="20705"/>
                      <a:pt x="10061" y="20699"/>
                    </a:cubicBezTo>
                    <a:cubicBezTo>
                      <a:pt x="10070" y="20696"/>
                      <a:pt x="10078" y="20688"/>
                      <a:pt x="10088" y="20693"/>
                    </a:cubicBezTo>
                    <a:cubicBezTo>
                      <a:pt x="10096" y="20697"/>
                      <a:pt x="10103" y="20712"/>
                      <a:pt x="10110" y="20720"/>
                    </a:cubicBezTo>
                    <a:cubicBezTo>
                      <a:pt x="10122" y="20732"/>
                      <a:pt x="10136" y="20748"/>
                      <a:pt x="10146" y="20763"/>
                    </a:cubicBezTo>
                    <a:cubicBezTo>
                      <a:pt x="10161" y="20785"/>
                      <a:pt x="10169" y="20817"/>
                      <a:pt x="10181" y="20841"/>
                    </a:cubicBezTo>
                    <a:cubicBezTo>
                      <a:pt x="10191" y="20859"/>
                      <a:pt x="10211" y="20865"/>
                      <a:pt x="10225" y="20856"/>
                    </a:cubicBezTo>
                    <a:cubicBezTo>
                      <a:pt x="10233" y="20850"/>
                      <a:pt x="10236" y="20837"/>
                      <a:pt x="10244" y="20830"/>
                    </a:cubicBezTo>
                    <a:cubicBezTo>
                      <a:pt x="10251" y="20822"/>
                      <a:pt x="10261" y="20820"/>
                      <a:pt x="10269" y="20815"/>
                    </a:cubicBezTo>
                    <a:cubicBezTo>
                      <a:pt x="10286" y="20804"/>
                      <a:pt x="10287" y="20775"/>
                      <a:pt x="10290" y="20748"/>
                    </a:cubicBezTo>
                    <a:cubicBezTo>
                      <a:pt x="10297" y="20686"/>
                      <a:pt x="10257" y="20653"/>
                      <a:pt x="10252" y="20595"/>
                    </a:cubicBezTo>
                    <a:cubicBezTo>
                      <a:pt x="10250" y="20564"/>
                      <a:pt x="10252" y="20535"/>
                      <a:pt x="10247" y="20506"/>
                    </a:cubicBezTo>
                    <a:cubicBezTo>
                      <a:pt x="10242" y="20480"/>
                      <a:pt x="10239" y="20450"/>
                      <a:pt x="10228" y="20432"/>
                    </a:cubicBezTo>
                    <a:cubicBezTo>
                      <a:pt x="10215" y="20411"/>
                      <a:pt x="10204" y="20391"/>
                      <a:pt x="10205" y="20360"/>
                    </a:cubicBezTo>
                    <a:cubicBezTo>
                      <a:pt x="10206" y="20332"/>
                      <a:pt x="10214" y="20310"/>
                      <a:pt x="10216" y="20282"/>
                    </a:cubicBezTo>
                    <a:cubicBezTo>
                      <a:pt x="10218" y="20257"/>
                      <a:pt x="10219" y="20218"/>
                      <a:pt x="10214" y="20194"/>
                    </a:cubicBezTo>
                    <a:cubicBezTo>
                      <a:pt x="10211" y="20181"/>
                      <a:pt x="10206" y="20169"/>
                      <a:pt x="10203" y="20156"/>
                    </a:cubicBezTo>
                    <a:cubicBezTo>
                      <a:pt x="10200" y="20140"/>
                      <a:pt x="10200" y="20124"/>
                      <a:pt x="10196" y="20108"/>
                    </a:cubicBezTo>
                    <a:cubicBezTo>
                      <a:pt x="10193" y="20093"/>
                      <a:pt x="10191" y="20078"/>
                      <a:pt x="10187" y="20065"/>
                    </a:cubicBezTo>
                    <a:cubicBezTo>
                      <a:pt x="10183" y="20052"/>
                      <a:pt x="10177" y="20048"/>
                      <a:pt x="10171" y="20038"/>
                    </a:cubicBezTo>
                    <a:cubicBezTo>
                      <a:pt x="10165" y="20028"/>
                      <a:pt x="10160" y="20014"/>
                      <a:pt x="10158" y="20000"/>
                    </a:cubicBezTo>
                    <a:cubicBezTo>
                      <a:pt x="10156" y="19982"/>
                      <a:pt x="10161" y="19975"/>
                      <a:pt x="10165" y="19962"/>
                    </a:cubicBezTo>
                    <a:cubicBezTo>
                      <a:pt x="10173" y="19937"/>
                      <a:pt x="10161" y="19921"/>
                      <a:pt x="10156" y="19898"/>
                    </a:cubicBezTo>
                    <a:cubicBezTo>
                      <a:pt x="10151" y="19869"/>
                      <a:pt x="10162" y="19864"/>
                      <a:pt x="10171" y="19841"/>
                    </a:cubicBezTo>
                    <a:cubicBezTo>
                      <a:pt x="10178" y="19822"/>
                      <a:pt x="10182" y="19803"/>
                      <a:pt x="10187" y="19782"/>
                    </a:cubicBezTo>
                    <a:cubicBezTo>
                      <a:pt x="10192" y="19762"/>
                      <a:pt x="10193" y="19743"/>
                      <a:pt x="10197" y="19723"/>
                    </a:cubicBezTo>
                    <a:cubicBezTo>
                      <a:pt x="10200" y="19702"/>
                      <a:pt x="10205" y="19687"/>
                      <a:pt x="10204" y="19664"/>
                    </a:cubicBezTo>
                    <a:cubicBezTo>
                      <a:pt x="10197" y="19662"/>
                      <a:pt x="10187" y="19654"/>
                      <a:pt x="10179" y="19657"/>
                    </a:cubicBezTo>
                    <a:cubicBezTo>
                      <a:pt x="10171" y="19661"/>
                      <a:pt x="10169" y="19672"/>
                      <a:pt x="10159" y="19670"/>
                    </a:cubicBezTo>
                    <a:cubicBezTo>
                      <a:pt x="10143" y="19668"/>
                      <a:pt x="10135" y="19634"/>
                      <a:pt x="10119" y="19641"/>
                    </a:cubicBezTo>
                    <a:cubicBezTo>
                      <a:pt x="10111" y="19644"/>
                      <a:pt x="10106" y="19655"/>
                      <a:pt x="10097" y="19651"/>
                    </a:cubicBezTo>
                    <a:cubicBezTo>
                      <a:pt x="10090" y="19648"/>
                      <a:pt x="10085" y="19635"/>
                      <a:pt x="10089" y="19621"/>
                    </a:cubicBezTo>
                    <a:cubicBezTo>
                      <a:pt x="10093" y="19609"/>
                      <a:pt x="10102" y="19607"/>
                      <a:pt x="10107" y="19598"/>
                    </a:cubicBezTo>
                    <a:cubicBezTo>
                      <a:pt x="10111" y="19589"/>
                      <a:pt x="10112" y="19574"/>
                      <a:pt x="10110" y="19562"/>
                    </a:cubicBezTo>
                    <a:cubicBezTo>
                      <a:pt x="10108" y="19548"/>
                      <a:pt x="10102" y="19534"/>
                      <a:pt x="10100" y="19520"/>
                    </a:cubicBezTo>
                    <a:cubicBezTo>
                      <a:pt x="10097" y="19504"/>
                      <a:pt x="10095" y="19485"/>
                      <a:pt x="10094" y="19469"/>
                    </a:cubicBezTo>
                    <a:cubicBezTo>
                      <a:pt x="10104" y="19465"/>
                      <a:pt x="10116" y="19507"/>
                      <a:pt x="10123" y="19517"/>
                    </a:cubicBezTo>
                    <a:cubicBezTo>
                      <a:pt x="10128" y="19525"/>
                      <a:pt x="10134" y="19535"/>
                      <a:pt x="10142" y="19539"/>
                    </a:cubicBezTo>
                    <a:cubicBezTo>
                      <a:pt x="10152" y="19543"/>
                      <a:pt x="10152" y="19534"/>
                      <a:pt x="10158" y="19523"/>
                    </a:cubicBezTo>
                    <a:cubicBezTo>
                      <a:pt x="10166" y="19506"/>
                      <a:pt x="10179" y="19493"/>
                      <a:pt x="10193" y="19493"/>
                    </a:cubicBezTo>
                    <a:cubicBezTo>
                      <a:pt x="10202" y="19492"/>
                      <a:pt x="10203" y="19495"/>
                      <a:pt x="10209" y="19505"/>
                    </a:cubicBezTo>
                    <a:cubicBezTo>
                      <a:pt x="10213" y="19513"/>
                      <a:pt x="10215" y="19521"/>
                      <a:pt x="10223" y="19518"/>
                    </a:cubicBezTo>
                    <a:cubicBezTo>
                      <a:pt x="10223" y="19501"/>
                      <a:pt x="10222" y="19487"/>
                      <a:pt x="10218" y="19472"/>
                    </a:cubicBezTo>
                    <a:cubicBezTo>
                      <a:pt x="10213" y="19455"/>
                      <a:pt x="10205" y="19441"/>
                      <a:pt x="10203" y="19422"/>
                    </a:cubicBezTo>
                    <a:cubicBezTo>
                      <a:pt x="10200" y="19397"/>
                      <a:pt x="10212" y="19390"/>
                      <a:pt x="10224" y="19384"/>
                    </a:cubicBezTo>
                    <a:cubicBezTo>
                      <a:pt x="10239" y="19378"/>
                      <a:pt x="10246" y="19374"/>
                      <a:pt x="10252" y="19349"/>
                    </a:cubicBezTo>
                    <a:cubicBezTo>
                      <a:pt x="10255" y="19335"/>
                      <a:pt x="10260" y="19327"/>
                      <a:pt x="10264" y="19314"/>
                    </a:cubicBezTo>
                    <a:cubicBezTo>
                      <a:pt x="10271" y="19293"/>
                      <a:pt x="10277" y="19261"/>
                      <a:pt x="10267" y="19240"/>
                    </a:cubicBezTo>
                    <a:cubicBezTo>
                      <a:pt x="10255" y="19215"/>
                      <a:pt x="10238" y="19200"/>
                      <a:pt x="10223" y="19181"/>
                    </a:cubicBezTo>
                    <a:cubicBezTo>
                      <a:pt x="10208" y="19163"/>
                      <a:pt x="10184" y="19163"/>
                      <a:pt x="10177" y="19132"/>
                    </a:cubicBezTo>
                    <a:cubicBezTo>
                      <a:pt x="10168" y="19093"/>
                      <a:pt x="10197" y="19092"/>
                      <a:pt x="10212" y="19085"/>
                    </a:cubicBezTo>
                    <a:cubicBezTo>
                      <a:pt x="10228" y="19079"/>
                      <a:pt x="10247" y="19067"/>
                      <a:pt x="10264" y="19071"/>
                    </a:cubicBezTo>
                    <a:cubicBezTo>
                      <a:pt x="10280" y="19075"/>
                      <a:pt x="10281" y="19105"/>
                      <a:pt x="10296" y="19109"/>
                    </a:cubicBezTo>
                    <a:cubicBezTo>
                      <a:pt x="10305" y="19112"/>
                      <a:pt x="10310" y="19102"/>
                      <a:pt x="10316" y="19092"/>
                    </a:cubicBezTo>
                    <a:cubicBezTo>
                      <a:pt x="10320" y="19085"/>
                      <a:pt x="10324" y="19080"/>
                      <a:pt x="10328" y="19073"/>
                    </a:cubicBezTo>
                    <a:cubicBezTo>
                      <a:pt x="10336" y="19059"/>
                      <a:pt x="10336" y="19032"/>
                      <a:pt x="10337" y="19015"/>
                    </a:cubicBezTo>
                    <a:cubicBezTo>
                      <a:pt x="10337" y="18996"/>
                      <a:pt x="10331" y="18994"/>
                      <a:pt x="10323" y="18982"/>
                    </a:cubicBezTo>
                    <a:cubicBezTo>
                      <a:pt x="10317" y="18972"/>
                      <a:pt x="10311" y="18957"/>
                      <a:pt x="10306" y="18944"/>
                    </a:cubicBezTo>
                    <a:cubicBezTo>
                      <a:pt x="10297" y="18923"/>
                      <a:pt x="10291" y="18883"/>
                      <a:pt x="10302" y="18862"/>
                    </a:cubicBezTo>
                    <a:cubicBezTo>
                      <a:pt x="10313" y="18839"/>
                      <a:pt x="10335" y="18835"/>
                      <a:pt x="10349" y="18816"/>
                    </a:cubicBezTo>
                    <a:cubicBezTo>
                      <a:pt x="10358" y="18803"/>
                      <a:pt x="10369" y="18792"/>
                      <a:pt x="10378" y="18777"/>
                    </a:cubicBezTo>
                    <a:cubicBezTo>
                      <a:pt x="10385" y="18765"/>
                      <a:pt x="10389" y="18751"/>
                      <a:pt x="10400" y="18752"/>
                    </a:cubicBezTo>
                    <a:cubicBezTo>
                      <a:pt x="10413" y="18753"/>
                      <a:pt x="10410" y="18768"/>
                      <a:pt x="10416" y="18780"/>
                    </a:cubicBezTo>
                    <a:cubicBezTo>
                      <a:pt x="10421" y="18790"/>
                      <a:pt x="10429" y="18788"/>
                      <a:pt x="10435" y="18780"/>
                    </a:cubicBezTo>
                    <a:cubicBezTo>
                      <a:pt x="10450" y="18761"/>
                      <a:pt x="10459" y="18726"/>
                      <a:pt x="10454" y="18697"/>
                    </a:cubicBezTo>
                    <a:cubicBezTo>
                      <a:pt x="10451" y="18680"/>
                      <a:pt x="10447" y="18668"/>
                      <a:pt x="10439" y="18658"/>
                    </a:cubicBezTo>
                    <a:cubicBezTo>
                      <a:pt x="10432" y="18648"/>
                      <a:pt x="10426" y="18641"/>
                      <a:pt x="10424" y="18625"/>
                    </a:cubicBezTo>
                    <a:cubicBezTo>
                      <a:pt x="10421" y="18594"/>
                      <a:pt x="10448" y="18574"/>
                      <a:pt x="10461" y="18563"/>
                    </a:cubicBezTo>
                    <a:cubicBezTo>
                      <a:pt x="10470" y="18555"/>
                      <a:pt x="10470" y="18558"/>
                      <a:pt x="10472" y="18570"/>
                    </a:cubicBezTo>
                    <a:cubicBezTo>
                      <a:pt x="10475" y="18583"/>
                      <a:pt x="10473" y="18600"/>
                      <a:pt x="10476" y="18612"/>
                    </a:cubicBezTo>
                    <a:cubicBezTo>
                      <a:pt x="10479" y="18622"/>
                      <a:pt x="10486" y="18633"/>
                      <a:pt x="10490" y="18641"/>
                    </a:cubicBezTo>
                    <a:cubicBezTo>
                      <a:pt x="10497" y="18656"/>
                      <a:pt x="10501" y="18660"/>
                      <a:pt x="10513" y="18657"/>
                    </a:cubicBezTo>
                    <a:cubicBezTo>
                      <a:pt x="10522" y="18655"/>
                      <a:pt x="10530" y="18647"/>
                      <a:pt x="10538" y="18642"/>
                    </a:cubicBezTo>
                    <a:cubicBezTo>
                      <a:pt x="10545" y="18638"/>
                      <a:pt x="10554" y="18636"/>
                      <a:pt x="10562" y="18633"/>
                    </a:cubicBezTo>
                    <a:cubicBezTo>
                      <a:pt x="10569" y="18631"/>
                      <a:pt x="10581" y="18629"/>
                      <a:pt x="10581" y="18612"/>
                    </a:cubicBezTo>
                    <a:cubicBezTo>
                      <a:pt x="10581" y="18596"/>
                      <a:pt x="10564" y="18582"/>
                      <a:pt x="10557" y="18574"/>
                    </a:cubicBezTo>
                    <a:cubicBezTo>
                      <a:pt x="10538" y="18554"/>
                      <a:pt x="10528" y="18541"/>
                      <a:pt x="10534" y="18503"/>
                    </a:cubicBezTo>
                    <a:cubicBezTo>
                      <a:pt x="10539" y="18470"/>
                      <a:pt x="10518" y="18444"/>
                      <a:pt x="10507" y="18416"/>
                    </a:cubicBezTo>
                    <a:cubicBezTo>
                      <a:pt x="10503" y="18403"/>
                      <a:pt x="10487" y="18383"/>
                      <a:pt x="10490" y="18365"/>
                    </a:cubicBezTo>
                    <a:cubicBezTo>
                      <a:pt x="10492" y="18349"/>
                      <a:pt x="10509" y="18347"/>
                      <a:pt x="10518" y="18342"/>
                    </a:cubicBezTo>
                    <a:cubicBezTo>
                      <a:pt x="10526" y="18337"/>
                      <a:pt x="10537" y="18321"/>
                      <a:pt x="10544" y="18331"/>
                    </a:cubicBezTo>
                    <a:cubicBezTo>
                      <a:pt x="10548" y="18338"/>
                      <a:pt x="10551" y="18363"/>
                      <a:pt x="10554" y="18373"/>
                    </a:cubicBezTo>
                    <a:cubicBezTo>
                      <a:pt x="10556" y="18382"/>
                      <a:pt x="10560" y="18404"/>
                      <a:pt x="10567" y="18408"/>
                    </a:cubicBezTo>
                    <a:cubicBezTo>
                      <a:pt x="10579" y="18414"/>
                      <a:pt x="10574" y="18380"/>
                      <a:pt x="10572" y="18369"/>
                    </a:cubicBezTo>
                    <a:cubicBezTo>
                      <a:pt x="10570" y="18349"/>
                      <a:pt x="10561" y="18278"/>
                      <a:pt x="10585" y="18289"/>
                    </a:cubicBezTo>
                    <a:cubicBezTo>
                      <a:pt x="10592" y="18293"/>
                      <a:pt x="10600" y="18309"/>
                      <a:pt x="10606" y="18316"/>
                    </a:cubicBezTo>
                    <a:cubicBezTo>
                      <a:pt x="10616" y="18326"/>
                      <a:pt x="10622" y="18331"/>
                      <a:pt x="10627" y="18349"/>
                    </a:cubicBezTo>
                    <a:cubicBezTo>
                      <a:pt x="10630" y="18359"/>
                      <a:pt x="10630" y="18378"/>
                      <a:pt x="10636" y="18384"/>
                    </a:cubicBezTo>
                    <a:cubicBezTo>
                      <a:pt x="10646" y="18393"/>
                      <a:pt x="10653" y="18375"/>
                      <a:pt x="10657" y="18364"/>
                    </a:cubicBezTo>
                    <a:cubicBezTo>
                      <a:pt x="10660" y="18357"/>
                      <a:pt x="10668" y="18337"/>
                      <a:pt x="10676" y="18348"/>
                    </a:cubicBezTo>
                    <a:cubicBezTo>
                      <a:pt x="10682" y="18358"/>
                      <a:pt x="10672" y="18374"/>
                      <a:pt x="10672" y="18384"/>
                    </a:cubicBezTo>
                    <a:cubicBezTo>
                      <a:pt x="10670" y="18410"/>
                      <a:pt x="10693" y="18418"/>
                      <a:pt x="10704" y="18422"/>
                    </a:cubicBezTo>
                    <a:cubicBezTo>
                      <a:pt x="10723" y="18427"/>
                      <a:pt x="10743" y="18410"/>
                      <a:pt x="10757" y="18390"/>
                    </a:cubicBezTo>
                    <a:cubicBezTo>
                      <a:pt x="10772" y="18371"/>
                      <a:pt x="10785" y="18357"/>
                      <a:pt x="10801" y="18340"/>
                    </a:cubicBezTo>
                    <a:cubicBezTo>
                      <a:pt x="10818" y="18324"/>
                      <a:pt x="10835" y="18318"/>
                      <a:pt x="10854" y="18314"/>
                    </a:cubicBezTo>
                    <a:cubicBezTo>
                      <a:pt x="10862" y="18312"/>
                      <a:pt x="10871" y="18313"/>
                      <a:pt x="10879" y="18306"/>
                    </a:cubicBezTo>
                    <a:cubicBezTo>
                      <a:pt x="10887" y="18297"/>
                      <a:pt x="10893" y="18281"/>
                      <a:pt x="10900" y="18269"/>
                    </a:cubicBezTo>
                    <a:cubicBezTo>
                      <a:pt x="10914" y="18242"/>
                      <a:pt x="10932" y="18214"/>
                      <a:pt x="10949" y="18193"/>
                    </a:cubicBezTo>
                    <a:cubicBezTo>
                      <a:pt x="10961" y="18179"/>
                      <a:pt x="10975" y="18165"/>
                      <a:pt x="10988" y="18154"/>
                    </a:cubicBezTo>
                    <a:cubicBezTo>
                      <a:pt x="11004" y="18141"/>
                      <a:pt x="11027" y="18113"/>
                      <a:pt x="11035" y="18085"/>
                    </a:cubicBezTo>
                    <a:cubicBezTo>
                      <a:pt x="11040" y="18068"/>
                      <a:pt x="11046" y="18051"/>
                      <a:pt x="11050" y="18033"/>
                    </a:cubicBezTo>
                    <a:cubicBezTo>
                      <a:pt x="11057" y="17999"/>
                      <a:pt x="11059" y="17970"/>
                      <a:pt x="11056" y="17935"/>
                    </a:cubicBezTo>
                    <a:cubicBezTo>
                      <a:pt x="11055" y="17919"/>
                      <a:pt x="11054" y="17902"/>
                      <a:pt x="11065" y="17900"/>
                    </a:cubicBezTo>
                    <a:cubicBezTo>
                      <a:pt x="11072" y="17899"/>
                      <a:pt x="11079" y="17908"/>
                      <a:pt x="11087" y="17908"/>
                    </a:cubicBezTo>
                    <a:cubicBezTo>
                      <a:pt x="11098" y="17907"/>
                      <a:pt x="11107" y="17897"/>
                      <a:pt x="11115" y="17885"/>
                    </a:cubicBezTo>
                    <a:cubicBezTo>
                      <a:pt x="11130" y="17864"/>
                      <a:pt x="11166" y="17815"/>
                      <a:pt x="11152" y="17775"/>
                    </a:cubicBezTo>
                    <a:cubicBezTo>
                      <a:pt x="11148" y="17764"/>
                      <a:pt x="11143" y="17762"/>
                      <a:pt x="11141" y="17748"/>
                    </a:cubicBezTo>
                    <a:cubicBezTo>
                      <a:pt x="11139" y="17730"/>
                      <a:pt x="11141" y="17711"/>
                      <a:pt x="11139" y="17694"/>
                    </a:cubicBezTo>
                    <a:cubicBezTo>
                      <a:pt x="11136" y="17664"/>
                      <a:pt x="11114" y="17643"/>
                      <a:pt x="11103" y="17620"/>
                    </a:cubicBezTo>
                    <a:cubicBezTo>
                      <a:pt x="11096" y="17606"/>
                      <a:pt x="11095" y="17583"/>
                      <a:pt x="11104" y="17571"/>
                    </a:cubicBezTo>
                    <a:cubicBezTo>
                      <a:pt x="11107" y="17566"/>
                      <a:pt x="11112" y="17571"/>
                      <a:pt x="11113" y="17561"/>
                    </a:cubicBezTo>
                    <a:cubicBezTo>
                      <a:pt x="11115" y="17553"/>
                      <a:pt x="11109" y="17544"/>
                      <a:pt x="11106" y="17538"/>
                    </a:cubicBezTo>
                    <a:cubicBezTo>
                      <a:pt x="11101" y="17526"/>
                      <a:pt x="11099" y="17508"/>
                      <a:pt x="11097" y="17493"/>
                    </a:cubicBezTo>
                    <a:cubicBezTo>
                      <a:pt x="11093" y="17444"/>
                      <a:pt x="11129" y="17485"/>
                      <a:pt x="11141" y="17496"/>
                    </a:cubicBezTo>
                    <a:cubicBezTo>
                      <a:pt x="11147" y="17502"/>
                      <a:pt x="11157" y="17515"/>
                      <a:pt x="11162" y="17504"/>
                    </a:cubicBezTo>
                    <a:cubicBezTo>
                      <a:pt x="11166" y="17496"/>
                      <a:pt x="11164" y="17469"/>
                      <a:pt x="11167" y="17457"/>
                    </a:cubicBezTo>
                    <a:cubicBezTo>
                      <a:pt x="11174" y="17429"/>
                      <a:pt x="11190" y="17390"/>
                      <a:pt x="11208" y="17383"/>
                    </a:cubicBezTo>
                    <a:cubicBezTo>
                      <a:pt x="11258" y="17367"/>
                      <a:pt x="11242" y="17504"/>
                      <a:pt x="11225" y="17542"/>
                    </a:cubicBezTo>
                    <a:cubicBezTo>
                      <a:pt x="11222" y="17549"/>
                      <a:pt x="11214" y="17565"/>
                      <a:pt x="11216" y="17575"/>
                    </a:cubicBezTo>
                    <a:cubicBezTo>
                      <a:pt x="11218" y="17587"/>
                      <a:pt x="11230" y="17589"/>
                      <a:pt x="11237" y="17590"/>
                    </a:cubicBezTo>
                    <a:cubicBezTo>
                      <a:pt x="11246" y="17592"/>
                      <a:pt x="11254" y="17591"/>
                      <a:pt x="11262" y="17587"/>
                    </a:cubicBezTo>
                    <a:cubicBezTo>
                      <a:pt x="11271" y="17582"/>
                      <a:pt x="11277" y="17572"/>
                      <a:pt x="11287" y="17571"/>
                    </a:cubicBezTo>
                    <a:cubicBezTo>
                      <a:pt x="11310" y="17567"/>
                      <a:pt x="11310" y="17597"/>
                      <a:pt x="11325" y="17614"/>
                    </a:cubicBezTo>
                    <a:cubicBezTo>
                      <a:pt x="11343" y="17635"/>
                      <a:pt x="11366" y="17596"/>
                      <a:pt x="11380" y="17581"/>
                    </a:cubicBezTo>
                    <a:cubicBezTo>
                      <a:pt x="11415" y="17545"/>
                      <a:pt x="11456" y="17483"/>
                      <a:pt x="11499" y="17491"/>
                    </a:cubicBezTo>
                    <a:cubicBezTo>
                      <a:pt x="11509" y="17492"/>
                      <a:pt x="11526" y="17512"/>
                      <a:pt x="11537" y="17501"/>
                    </a:cubicBezTo>
                    <a:cubicBezTo>
                      <a:pt x="11555" y="17481"/>
                      <a:pt x="11526" y="17448"/>
                      <a:pt x="11519" y="17435"/>
                    </a:cubicBezTo>
                    <a:cubicBezTo>
                      <a:pt x="11509" y="17414"/>
                      <a:pt x="11512" y="17368"/>
                      <a:pt x="11519" y="17345"/>
                    </a:cubicBezTo>
                    <a:cubicBezTo>
                      <a:pt x="11532" y="17306"/>
                      <a:pt x="11554" y="17277"/>
                      <a:pt x="11572" y="17244"/>
                    </a:cubicBezTo>
                    <a:cubicBezTo>
                      <a:pt x="11577" y="17235"/>
                      <a:pt x="11586" y="17217"/>
                      <a:pt x="11591" y="17226"/>
                    </a:cubicBezTo>
                    <a:cubicBezTo>
                      <a:pt x="11592" y="17227"/>
                      <a:pt x="11592" y="17228"/>
                      <a:pt x="11593" y="17229"/>
                    </a:cubicBezTo>
                    <a:cubicBezTo>
                      <a:pt x="11597" y="17239"/>
                      <a:pt x="11594" y="17270"/>
                      <a:pt x="11593" y="17281"/>
                    </a:cubicBezTo>
                    <a:cubicBezTo>
                      <a:pt x="11591" y="17297"/>
                      <a:pt x="11589" y="17318"/>
                      <a:pt x="11581" y="17327"/>
                    </a:cubicBezTo>
                    <a:cubicBezTo>
                      <a:pt x="11575" y="17334"/>
                      <a:pt x="11563" y="17328"/>
                      <a:pt x="11558" y="17337"/>
                    </a:cubicBezTo>
                    <a:cubicBezTo>
                      <a:pt x="11553" y="17349"/>
                      <a:pt x="11558" y="17377"/>
                      <a:pt x="11559" y="17390"/>
                    </a:cubicBezTo>
                    <a:cubicBezTo>
                      <a:pt x="11559" y="17401"/>
                      <a:pt x="11556" y="17427"/>
                      <a:pt x="11559" y="17436"/>
                    </a:cubicBezTo>
                    <a:cubicBezTo>
                      <a:pt x="11567" y="17463"/>
                      <a:pt x="11604" y="17431"/>
                      <a:pt x="11615" y="17424"/>
                    </a:cubicBezTo>
                    <a:cubicBezTo>
                      <a:pt x="11635" y="17409"/>
                      <a:pt x="11652" y="17403"/>
                      <a:pt x="11674" y="17403"/>
                    </a:cubicBezTo>
                    <a:cubicBezTo>
                      <a:pt x="11685" y="17403"/>
                      <a:pt x="11731" y="17410"/>
                      <a:pt x="11732" y="17390"/>
                    </a:cubicBezTo>
                    <a:cubicBezTo>
                      <a:pt x="11733" y="17365"/>
                      <a:pt x="11704" y="17358"/>
                      <a:pt x="11699" y="17341"/>
                    </a:cubicBezTo>
                    <a:cubicBezTo>
                      <a:pt x="11692" y="17321"/>
                      <a:pt x="11702" y="17310"/>
                      <a:pt x="11712" y="17303"/>
                    </a:cubicBezTo>
                    <a:cubicBezTo>
                      <a:pt x="11720" y="17298"/>
                      <a:pt x="11733" y="17293"/>
                      <a:pt x="11739" y="17279"/>
                    </a:cubicBezTo>
                    <a:cubicBezTo>
                      <a:pt x="11746" y="17265"/>
                      <a:pt x="11744" y="17237"/>
                      <a:pt x="11743" y="17219"/>
                    </a:cubicBezTo>
                    <a:cubicBezTo>
                      <a:pt x="11743" y="17208"/>
                      <a:pt x="11739" y="17176"/>
                      <a:pt x="11745" y="17169"/>
                    </a:cubicBezTo>
                    <a:cubicBezTo>
                      <a:pt x="11754" y="17160"/>
                      <a:pt x="11761" y="17185"/>
                      <a:pt x="11764" y="17194"/>
                    </a:cubicBezTo>
                    <a:cubicBezTo>
                      <a:pt x="11774" y="17219"/>
                      <a:pt x="11802" y="17247"/>
                      <a:pt x="11792" y="17281"/>
                    </a:cubicBezTo>
                    <a:cubicBezTo>
                      <a:pt x="11788" y="17299"/>
                      <a:pt x="11780" y="17313"/>
                      <a:pt x="11775" y="17331"/>
                    </a:cubicBezTo>
                    <a:cubicBezTo>
                      <a:pt x="11771" y="17347"/>
                      <a:pt x="11768" y="17350"/>
                      <a:pt x="11758" y="17357"/>
                    </a:cubicBezTo>
                    <a:cubicBezTo>
                      <a:pt x="11748" y="17364"/>
                      <a:pt x="11748" y="17370"/>
                      <a:pt x="11758" y="17379"/>
                    </a:cubicBezTo>
                    <a:cubicBezTo>
                      <a:pt x="11767" y="17386"/>
                      <a:pt x="11776" y="17391"/>
                      <a:pt x="11786" y="17392"/>
                    </a:cubicBezTo>
                    <a:cubicBezTo>
                      <a:pt x="11797" y="17393"/>
                      <a:pt x="11809" y="17393"/>
                      <a:pt x="11820" y="17399"/>
                    </a:cubicBezTo>
                    <a:cubicBezTo>
                      <a:pt x="11831" y="17405"/>
                      <a:pt x="11838" y="17420"/>
                      <a:pt x="11846" y="17432"/>
                    </a:cubicBezTo>
                    <a:cubicBezTo>
                      <a:pt x="11857" y="17445"/>
                      <a:pt x="11869" y="17454"/>
                      <a:pt x="11880" y="17465"/>
                    </a:cubicBezTo>
                    <a:cubicBezTo>
                      <a:pt x="11887" y="17473"/>
                      <a:pt x="11893" y="17485"/>
                      <a:pt x="11901" y="17492"/>
                    </a:cubicBezTo>
                    <a:cubicBezTo>
                      <a:pt x="11916" y="17508"/>
                      <a:pt x="11932" y="17522"/>
                      <a:pt x="11948" y="17537"/>
                    </a:cubicBezTo>
                    <a:cubicBezTo>
                      <a:pt x="11963" y="17552"/>
                      <a:pt x="11978" y="17570"/>
                      <a:pt x="11995" y="17577"/>
                    </a:cubicBezTo>
                    <a:cubicBezTo>
                      <a:pt x="12014" y="17586"/>
                      <a:pt x="12035" y="17587"/>
                      <a:pt x="12055" y="17590"/>
                    </a:cubicBezTo>
                    <a:cubicBezTo>
                      <a:pt x="12078" y="17593"/>
                      <a:pt x="12101" y="17595"/>
                      <a:pt x="12125" y="17595"/>
                    </a:cubicBezTo>
                    <a:cubicBezTo>
                      <a:pt x="12135" y="17595"/>
                      <a:pt x="12145" y="17596"/>
                      <a:pt x="12154" y="17593"/>
                    </a:cubicBezTo>
                    <a:cubicBezTo>
                      <a:pt x="12165" y="17589"/>
                      <a:pt x="12172" y="17578"/>
                      <a:pt x="12181" y="17571"/>
                    </a:cubicBezTo>
                    <a:cubicBezTo>
                      <a:pt x="12187" y="17565"/>
                      <a:pt x="12198" y="17562"/>
                      <a:pt x="12203" y="17553"/>
                    </a:cubicBezTo>
                    <a:cubicBezTo>
                      <a:pt x="12210" y="17539"/>
                      <a:pt x="12202" y="17529"/>
                      <a:pt x="12200" y="17514"/>
                    </a:cubicBezTo>
                    <a:cubicBezTo>
                      <a:pt x="12198" y="17501"/>
                      <a:pt x="12201" y="17485"/>
                      <a:pt x="12196" y="17476"/>
                    </a:cubicBezTo>
                    <a:cubicBezTo>
                      <a:pt x="12187" y="17464"/>
                      <a:pt x="12176" y="17474"/>
                      <a:pt x="12172" y="17452"/>
                    </a:cubicBezTo>
                    <a:cubicBezTo>
                      <a:pt x="12169" y="17431"/>
                      <a:pt x="12179" y="17423"/>
                      <a:pt x="12188" y="17418"/>
                    </a:cubicBezTo>
                    <a:cubicBezTo>
                      <a:pt x="12206" y="17407"/>
                      <a:pt x="12222" y="17393"/>
                      <a:pt x="12239" y="17382"/>
                    </a:cubicBezTo>
                    <a:cubicBezTo>
                      <a:pt x="12252" y="17374"/>
                      <a:pt x="12265" y="17364"/>
                      <a:pt x="12278" y="17356"/>
                    </a:cubicBezTo>
                    <a:cubicBezTo>
                      <a:pt x="12287" y="17351"/>
                      <a:pt x="12297" y="17341"/>
                      <a:pt x="12307" y="17345"/>
                    </a:cubicBezTo>
                    <a:cubicBezTo>
                      <a:pt x="12335" y="17358"/>
                      <a:pt x="12299" y="17392"/>
                      <a:pt x="12296" y="17406"/>
                    </a:cubicBezTo>
                    <a:cubicBezTo>
                      <a:pt x="12291" y="17437"/>
                      <a:pt x="12352" y="17430"/>
                      <a:pt x="12363" y="17430"/>
                    </a:cubicBezTo>
                    <a:cubicBezTo>
                      <a:pt x="12373" y="17430"/>
                      <a:pt x="12385" y="17424"/>
                      <a:pt x="12393" y="17431"/>
                    </a:cubicBezTo>
                    <a:cubicBezTo>
                      <a:pt x="12403" y="17440"/>
                      <a:pt x="12401" y="17463"/>
                      <a:pt x="12400" y="17479"/>
                    </a:cubicBezTo>
                    <a:cubicBezTo>
                      <a:pt x="12399" y="17495"/>
                      <a:pt x="12397" y="17512"/>
                      <a:pt x="12399" y="17529"/>
                    </a:cubicBezTo>
                    <a:cubicBezTo>
                      <a:pt x="12402" y="17549"/>
                      <a:pt x="12411" y="17567"/>
                      <a:pt x="12417" y="17583"/>
                    </a:cubicBezTo>
                    <a:cubicBezTo>
                      <a:pt x="12424" y="17600"/>
                      <a:pt x="12432" y="17614"/>
                      <a:pt x="12445" y="17612"/>
                    </a:cubicBezTo>
                    <a:cubicBezTo>
                      <a:pt x="12451" y="17611"/>
                      <a:pt x="12456" y="17605"/>
                      <a:pt x="12462" y="17604"/>
                    </a:cubicBezTo>
                    <a:cubicBezTo>
                      <a:pt x="12471" y="17603"/>
                      <a:pt x="12478" y="17611"/>
                      <a:pt x="12485" y="17619"/>
                    </a:cubicBezTo>
                    <a:cubicBezTo>
                      <a:pt x="12493" y="17628"/>
                      <a:pt x="12496" y="17643"/>
                      <a:pt x="12506" y="17639"/>
                    </a:cubicBezTo>
                    <a:cubicBezTo>
                      <a:pt x="12515" y="17636"/>
                      <a:pt x="12520" y="17619"/>
                      <a:pt x="12523" y="17603"/>
                    </a:cubicBezTo>
                    <a:cubicBezTo>
                      <a:pt x="12525" y="17594"/>
                      <a:pt x="12531" y="17547"/>
                      <a:pt x="12540" y="17574"/>
                    </a:cubicBezTo>
                    <a:cubicBezTo>
                      <a:pt x="12546" y="17590"/>
                      <a:pt x="12536" y="17629"/>
                      <a:pt x="12534" y="17644"/>
                    </a:cubicBezTo>
                    <a:cubicBezTo>
                      <a:pt x="12530" y="17665"/>
                      <a:pt x="12527" y="17676"/>
                      <a:pt x="12531" y="17695"/>
                    </a:cubicBezTo>
                    <a:cubicBezTo>
                      <a:pt x="12534" y="17711"/>
                      <a:pt x="12538" y="17724"/>
                      <a:pt x="12545" y="17735"/>
                    </a:cubicBezTo>
                    <a:cubicBezTo>
                      <a:pt x="12553" y="17746"/>
                      <a:pt x="12562" y="17752"/>
                      <a:pt x="12567" y="17766"/>
                    </a:cubicBezTo>
                    <a:cubicBezTo>
                      <a:pt x="12573" y="17780"/>
                      <a:pt x="12577" y="17802"/>
                      <a:pt x="12581" y="17818"/>
                    </a:cubicBezTo>
                    <a:cubicBezTo>
                      <a:pt x="12586" y="17838"/>
                      <a:pt x="12585" y="17860"/>
                      <a:pt x="12585" y="17881"/>
                    </a:cubicBezTo>
                    <a:cubicBezTo>
                      <a:pt x="12584" y="17897"/>
                      <a:pt x="12581" y="17912"/>
                      <a:pt x="12593" y="17914"/>
                    </a:cubicBezTo>
                    <a:cubicBezTo>
                      <a:pt x="12604" y="17916"/>
                      <a:pt x="12609" y="17894"/>
                      <a:pt x="12618" y="17887"/>
                    </a:cubicBezTo>
                    <a:cubicBezTo>
                      <a:pt x="12634" y="17874"/>
                      <a:pt x="12626" y="17898"/>
                      <a:pt x="12634" y="17913"/>
                    </a:cubicBezTo>
                    <a:cubicBezTo>
                      <a:pt x="12640" y="17923"/>
                      <a:pt x="12652" y="17921"/>
                      <a:pt x="12659" y="17927"/>
                    </a:cubicBezTo>
                    <a:cubicBezTo>
                      <a:pt x="12664" y="17931"/>
                      <a:pt x="12666" y="17935"/>
                      <a:pt x="12671" y="17937"/>
                    </a:cubicBezTo>
                    <a:cubicBezTo>
                      <a:pt x="12675" y="17938"/>
                      <a:pt x="12681" y="17936"/>
                      <a:pt x="12685" y="17938"/>
                    </a:cubicBezTo>
                    <a:cubicBezTo>
                      <a:pt x="12695" y="17944"/>
                      <a:pt x="12702" y="17963"/>
                      <a:pt x="12714" y="17967"/>
                    </a:cubicBezTo>
                    <a:cubicBezTo>
                      <a:pt x="12724" y="17971"/>
                      <a:pt x="12734" y="17961"/>
                      <a:pt x="12742" y="17951"/>
                    </a:cubicBezTo>
                    <a:cubicBezTo>
                      <a:pt x="12751" y="17938"/>
                      <a:pt x="12750" y="17922"/>
                      <a:pt x="12751" y="17905"/>
                    </a:cubicBezTo>
                    <a:cubicBezTo>
                      <a:pt x="12752" y="17886"/>
                      <a:pt x="12758" y="17876"/>
                      <a:pt x="12763" y="17860"/>
                    </a:cubicBezTo>
                    <a:cubicBezTo>
                      <a:pt x="12767" y="17846"/>
                      <a:pt x="12777" y="17808"/>
                      <a:pt x="12787" y="17807"/>
                    </a:cubicBezTo>
                    <a:cubicBezTo>
                      <a:pt x="12790" y="17825"/>
                      <a:pt x="12805" y="17820"/>
                      <a:pt x="12813" y="17821"/>
                    </a:cubicBezTo>
                    <a:cubicBezTo>
                      <a:pt x="12817" y="17822"/>
                      <a:pt x="12823" y="17825"/>
                      <a:pt x="12827" y="17824"/>
                    </a:cubicBezTo>
                    <a:cubicBezTo>
                      <a:pt x="12832" y="17823"/>
                      <a:pt x="12834" y="17818"/>
                      <a:pt x="12839" y="17815"/>
                    </a:cubicBezTo>
                    <a:cubicBezTo>
                      <a:pt x="12853" y="17808"/>
                      <a:pt x="12866" y="17826"/>
                      <a:pt x="12877" y="17836"/>
                    </a:cubicBezTo>
                    <a:cubicBezTo>
                      <a:pt x="12892" y="17849"/>
                      <a:pt x="12897" y="17863"/>
                      <a:pt x="12899" y="17892"/>
                    </a:cubicBezTo>
                    <a:cubicBezTo>
                      <a:pt x="12902" y="17922"/>
                      <a:pt x="12905" y="17985"/>
                      <a:pt x="12927" y="17988"/>
                    </a:cubicBezTo>
                    <a:cubicBezTo>
                      <a:pt x="12945" y="17989"/>
                      <a:pt x="12961" y="17970"/>
                      <a:pt x="12964" y="17939"/>
                    </a:cubicBezTo>
                    <a:cubicBezTo>
                      <a:pt x="12967" y="17906"/>
                      <a:pt x="12950" y="17873"/>
                      <a:pt x="12964" y="17842"/>
                    </a:cubicBezTo>
                    <a:cubicBezTo>
                      <a:pt x="12971" y="17829"/>
                      <a:pt x="12975" y="17820"/>
                      <a:pt x="12978" y="17802"/>
                    </a:cubicBezTo>
                    <a:cubicBezTo>
                      <a:pt x="12984" y="17758"/>
                      <a:pt x="12979" y="17710"/>
                      <a:pt x="12961" y="17676"/>
                    </a:cubicBezTo>
                    <a:cubicBezTo>
                      <a:pt x="12952" y="17662"/>
                      <a:pt x="12939" y="17658"/>
                      <a:pt x="12940" y="17634"/>
                    </a:cubicBezTo>
                    <a:cubicBezTo>
                      <a:pt x="12941" y="17613"/>
                      <a:pt x="12950" y="17602"/>
                      <a:pt x="12961" y="17609"/>
                    </a:cubicBezTo>
                    <a:cubicBezTo>
                      <a:pt x="12978" y="17617"/>
                      <a:pt x="12987" y="17641"/>
                      <a:pt x="12998" y="17660"/>
                    </a:cubicBezTo>
                    <a:cubicBezTo>
                      <a:pt x="13004" y="17670"/>
                      <a:pt x="13011" y="17682"/>
                      <a:pt x="13020" y="17682"/>
                    </a:cubicBezTo>
                    <a:cubicBezTo>
                      <a:pt x="13026" y="17683"/>
                      <a:pt x="13031" y="17675"/>
                      <a:pt x="13038" y="17676"/>
                    </a:cubicBezTo>
                    <a:cubicBezTo>
                      <a:pt x="13046" y="17677"/>
                      <a:pt x="13056" y="17689"/>
                      <a:pt x="13061" y="17697"/>
                    </a:cubicBezTo>
                    <a:cubicBezTo>
                      <a:pt x="13079" y="17722"/>
                      <a:pt x="13082" y="17760"/>
                      <a:pt x="13079" y="17797"/>
                    </a:cubicBezTo>
                    <a:cubicBezTo>
                      <a:pt x="13077" y="17813"/>
                      <a:pt x="13078" y="17817"/>
                      <a:pt x="13089" y="17823"/>
                    </a:cubicBezTo>
                    <a:cubicBezTo>
                      <a:pt x="13097" y="17828"/>
                      <a:pt x="13106" y="17829"/>
                      <a:pt x="13115" y="17829"/>
                    </a:cubicBezTo>
                    <a:cubicBezTo>
                      <a:pt x="13122" y="17830"/>
                      <a:pt x="13132" y="17822"/>
                      <a:pt x="13138" y="17829"/>
                    </a:cubicBezTo>
                    <a:cubicBezTo>
                      <a:pt x="13144" y="17837"/>
                      <a:pt x="13143" y="17853"/>
                      <a:pt x="13144" y="17864"/>
                    </a:cubicBezTo>
                    <a:cubicBezTo>
                      <a:pt x="13160" y="17873"/>
                      <a:pt x="13178" y="17864"/>
                      <a:pt x="13193" y="17872"/>
                    </a:cubicBezTo>
                    <a:cubicBezTo>
                      <a:pt x="13204" y="17879"/>
                      <a:pt x="13203" y="17896"/>
                      <a:pt x="13205" y="17914"/>
                    </a:cubicBezTo>
                    <a:cubicBezTo>
                      <a:pt x="13207" y="17936"/>
                      <a:pt x="13213" y="17931"/>
                      <a:pt x="13220" y="17948"/>
                    </a:cubicBezTo>
                    <a:cubicBezTo>
                      <a:pt x="13225" y="17960"/>
                      <a:pt x="13231" y="18037"/>
                      <a:pt x="13243" y="18002"/>
                    </a:cubicBezTo>
                    <a:cubicBezTo>
                      <a:pt x="13250" y="17978"/>
                      <a:pt x="13262" y="17938"/>
                      <a:pt x="13275" y="17984"/>
                    </a:cubicBezTo>
                    <a:cubicBezTo>
                      <a:pt x="13282" y="18008"/>
                      <a:pt x="13291" y="18063"/>
                      <a:pt x="13314" y="18055"/>
                    </a:cubicBezTo>
                    <a:cubicBezTo>
                      <a:pt x="13322" y="18052"/>
                      <a:pt x="13327" y="18033"/>
                      <a:pt x="13332" y="18023"/>
                    </a:cubicBezTo>
                    <a:cubicBezTo>
                      <a:pt x="13340" y="18007"/>
                      <a:pt x="13348" y="17996"/>
                      <a:pt x="13351" y="17973"/>
                    </a:cubicBezTo>
                    <a:cubicBezTo>
                      <a:pt x="13353" y="17952"/>
                      <a:pt x="13351" y="17935"/>
                      <a:pt x="13343" y="17917"/>
                    </a:cubicBezTo>
                    <a:cubicBezTo>
                      <a:pt x="13339" y="17907"/>
                      <a:pt x="13335" y="17898"/>
                      <a:pt x="13328" y="17894"/>
                    </a:cubicBezTo>
                    <a:cubicBezTo>
                      <a:pt x="13325" y="17891"/>
                      <a:pt x="13315" y="17893"/>
                      <a:pt x="13315" y="17884"/>
                    </a:cubicBezTo>
                    <a:cubicBezTo>
                      <a:pt x="13314" y="17866"/>
                      <a:pt x="13333" y="17876"/>
                      <a:pt x="13326" y="17851"/>
                    </a:cubicBezTo>
                    <a:cubicBezTo>
                      <a:pt x="13324" y="17844"/>
                      <a:pt x="13306" y="17814"/>
                      <a:pt x="13301" y="17813"/>
                    </a:cubicBezTo>
                    <a:cubicBezTo>
                      <a:pt x="13300" y="17813"/>
                      <a:pt x="13298" y="17813"/>
                      <a:pt x="13297" y="17814"/>
                    </a:cubicBezTo>
                    <a:cubicBezTo>
                      <a:pt x="13294" y="17824"/>
                      <a:pt x="13295" y="17843"/>
                      <a:pt x="13285" y="17835"/>
                    </a:cubicBezTo>
                    <a:cubicBezTo>
                      <a:pt x="13277" y="17829"/>
                      <a:pt x="13277" y="17809"/>
                      <a:pt x="13273" y="17799"/>
                    </a:cubicBezTo>
                    <a:cubicBezTo>
                      <a:pt x="13268" y="17786"/>
                      <a:pt x="13258" y="17788"/>
                      <a:pt x="13249" y="17785"/>
                    </a:cubicBezTo>
                    <a:cubicBezTo>
                      <a:pt x="13241" y="17782"/>
                      <a:pt x="13233" y="17778"/>
                      <a:pt x="13225" y="17769"/>
                    </a:cubicBezTo>
                    <a:cubicBezTo>
                      <a:pt x="13215" y="17757"/>
                      <a:pt x="13211" y="17755"/>
                      <a:pt x="13199" y="17751"/>
                    </a:cubicBezTo>
                    <a:cubicBezTo>
                      <a:pt x="13191" y="17749"/>
                      <a:pt x="13178" y="17745"/>
                      <a:pt x="13172" y="17736"/>
                    </a:cubicBezTo>
                    <a:cubicBezTo>
                      <a:pt x="13166" y="17725"/>
                      <a:pt x="13168" y="17713"/>
                      <a:pt x="13165" y="17700"/>
                    </a:cubicBezTo>
                    <a:cubicBezTo>
                      <a:pt x="13162" y="17686"/>
                      <a:pt x="13160" y="17679"/>
                      <a:pt x="13161" y="17663"/>
                    </a:cubicBezTo>
                    <a:cubicBezTo>
                      <a:pt x="13164" y="17643"/>
                      <a:pt x="13169" y="17624"/>
                      <a:pt x="13152" y="17620"/>
                    </a:cubicBezTo>
                    <a:cubicBezTo>
                      <a:pt x="13139" y="17617"/>
                      <a:pt x="13135" y="17640"/>
                      <a:pt x="13123" y="17628"/>
                    </a:cubicBezTo>
                    <a:cubicBezTo>
                      <a:pt x="13108" y="17616"/>
                      <a:pt x="13110" y="17593"/>
                      <a:pt x="13105" y="17570"/>
                    </a:cubicBezTo>
                    <a:cubicBezTo>
                      <a:pt x="13102" y="17551"/>
                      <a:pt x="13090" y="17532"/>
                      <a:pt x="13090" y="17512"/>
                    </a:cubicBezTo>
                    <a:cubicBezTo>
                      <a:pt x="13103" y="17502"/>
                      <a:pt x="13107" y="17529"/>
                      <a:pt x="13118" y="17526"/>
                    </a:cubicBezTo>
                    <a:cubicBezTo>
                      <a:pt x="13119" y="17508"/>
                      <a:pt x="13106" y="17484"/>
                      <a:pt x="13116" y="17471"/>
                    </a:cubicBezTo>
                    <a:cubicBezTo>
                      <a:pt x="13123" y="17461"/>
                      <a:pt x="13136" y="17470"/>
                      <a:pt x="13144" y="17466"/>
                    </a:cubicBezTo>
                    <a:cubicBezTo>
                      <a:pt x="13162" y="17457"/>
                      <a:pt x="13167" y="17435"/>
                      <a:pt x="13176" y="17411"/>
                    </a:cubicBezTo>
                    <a:cubicBezTo>
                      <a:pt x="13182" y="17393"/>
                      <a:pt x="13186" y="17361"/>
                      <a:pt x="13197" y="17350"/>
                    </a:cubicBezTo>
                    <a:cubicBezTo>
                      <a:pt x="13210" y="17336"/>
                      <a:pt x="13212" y="17373"/>
                      <a:pt x="13226" y="17369"/>
                    </a:cubicBezTo>
                    <a:cubicBezTo>
                      <a:pt x="13228" y="17346"/>
                      <a:pt x="13211" y="17303"/>
                      <a:pt x="13202" y="17286"/>
                    </a:cubicBezTo>
                    <a:cubicBezTo>
                      <a:pt x="13196" y="17275"/>
                      <a:pt x="13191" y="17267"/>
                      <a:pt x="13187" y="17253"/>
                    </a:cubicBezTo>
                    <a:cubicBezTo>
                      <a:pt x="13185" y="17246"/>
                      <a:pt x="13181" y="17210"/>
                      <a:pt x="13177" y="17208"/>
                    </a:cubicBezTo>
                    <a:cubicBezTo>
                      <a:pt x="13167" y="17203"/>
                      <a:pt x="13158" y="17271"/>
                      <a:pt x="13155" y="17281"/>
                    </a:cubicBezTo>
                    <a:cubicBezTo>
                      <a:pt x="13151" y="17292"/>
                      <a:pt x="13147" y="17313"/>
                      <a:pt x="13141" y="17318"/>
                    </a:cubicBezTo>
                    <a:cubicBezTo>
                      <a:pt x="13133" y="17325"/>
                      <a:pt x="13117" y="17320"/>
                      <a:pt x="13111" y="17310"/>
                    </a:cubicBezTo>
                    <a:cubicBezTo>
                      <a:pt x="13099" y="17289"/>
                      <a:pt x="13115" y="17260"/>
                      <a:pt x="13092" y="17256"/>
                    </a:cubicBezTo>
                    <a:cubicBezTo>
                      <a:pt x="13083" y="17254"/>
                      <a:pt x="13076" y="17259"/>
                      <a:pt x="13069" y="17249"/>
                    </a:cubicBezTo>
                    <a:cubicBezTo>
                      <a:pt x="13063" y="17242"/>
                      <a:pt x="13060" y="17227"/>
                      <a:pt x="13059" y="17216"/>
                    </a:cubicBezTo>
                    <a:cubicBezTo>
                      <a:pt x="13056" y="17182"/>
                      <a:pt x="13076" y="17195"/>
                      <a:pt x="13088" y="17184"/>
                    </a:cubicBezTo>
                    <a:cubicBezTo>
                      <a:pt x="13103" y="17170"/>
                      <a:pt x="13098" y="17125"/>
                      <a:pt x="13097" y="17101"/>
                    </a:cubicBezTo>
                    <a:cubicBezTo>
                      <a:pt x="13088" y="17100"/>
                      <a:pt x="13081" y="17100"/>
                      <a:pt x="13073" y="17107"/>
                    </a:cubicBezTo>
                    <a:cubicBezTo>
                      <a:pt x="13067" y="17113"/>
                      <a:pt x="13061" y="17126"/>
                      <a:pt x="13054" y="17119"/>
                    </a:cubicBezTo>
                    <a:cubicBezTo>
                      <a:pt x="13047" y="17111"/>
                      <a:pt x="13052" y="17093"/>
                      <a:pt x="13042" y="17091"/>
                    </a:cubicBezTo>
                    <a:cubicBezTo>
                      <a:pt x="13033" y="17090"/>
                      <a:pt x="13026" y="17114"/>
                      <a:pt x="13021" y="17125"/>
                    </a:cubicBezTo>
                    <a:cubicBezTo>
                      <a:pt x="13009" y="17155"/>
                      <a:pt x="12999" y="17184"/>
                      <a:pt x="12976" y="17190"/>
                    </a:cubicBezTo>
                    <a:cubicBezTo>
                      <a:pt x="12956" y="17195"/>
                      <a:pt x="12926" y="17197"/>
                      <a:pt x="12907" y="17189"/>
                    </a:cubicBezTo>
                    <a:cubicBezTo>
                      <a:pt x="12882" y="17179"/>
                      <a:pt x="12852" y="17154"/>
                      <a:pt x="12837" y="17120"/>
                    </a:cubicBezTo>
                    <a:cubicBezTo>
                      <a:pt x="12830" y="17104"/>
                      <a:pt x="12826" y="17082"/>
                      <a:pt x="12826" y="17063"/>
                    </a:cubicBezTo>
                    <a:cubicBezTo>
                      <a:pt x="12826" y="17046"/>
                      <a:pt x="12835" y="17032"/>
                      <a:pt x="12835" y="17016"/>
                    </a:cubicBezTo>
                    <a:cubicBezTo>
                      <a:pt x="12827" y="17015"/>
                      <a:pt x="12819" y="17018"/>
                      <a:pt x="12813" y="17026"/>
                    </a:cubicBezTo>
                    <a:cubicBezTo>
                      <a:pt x="12806" y="17036"/>
                      <a:pt x="12806" y="17046"/>
                      <a:pt x="12795" y="17045"/>
                    </a:cubicBezTo>
                    <a:cubicBezTo>
                      <a:pt x="12772" y="17043"/>
                      <a:pt x="12767" y="17000"/>
                      <a:pt x="12771" y="16967"/>
                    </a:cubicBezTo>
                    <a:cubicBezTo>
                      <a:pt x="12778" y="16921"/>
                      <a:pt x="12838" y="16870"/>
                      <a:pt x="12853" y="16925"/>
                    </a:cubicBezTo>
                    <a:cubicBezTo>
                      <a:pt x="12857" y="16941"/>
                      <a:pt x="12850" y="16994"/>
                      <a:pt x="12866" y="16992"/>
                    </a:cubicBezTo>
                    <a:cubicBezTo>
                      <a:pt x="12879" y="16991"/>
                      <a:pt x="12877" y="16927"/>
                      <a:pt x="12882" y="16908"/>
                    </a:cubicBezTo>
                    <a:cubicBezTo>
                      <a:pt x="12885" y="16896"/>
                      <a:pt x="12891" y="16877"/>
                      <a:pt x="12898" y="16871"/>
                    </a:cubicBezTo>
                    <a:cubicBezTo>
                      <a:pt x="12905" y="16863"/>
                      <a:pt x="12915" y="16870"/>
                      <a:pt x="12923" y="16861"/>
                    </a:cubicBezTo>
                    <a:cubicBezTo>
                      <a:pt x="12932" y="16852"/>
                      <a:pt x="12933" y="16844"/>
                      <a:pt x="12945" y="16855"/>
                    </a:cubicBezTo>
                    <a:cubicBezTo>
                      <a:pt x="12952" y="16862"/>
                      <a:pt x="12958" y="16872"/>
                      <a:pt x="12966" y="16879"/>
                    </a:cubicBezTo>
                    <a:cubicBezTo>
                      <a:pt x="12973" y="16885"/>
                      <a:pt x="12981" y="16889"/>
                      <a:pt x="12987" y="16900"/>
                    </a:cubicBezTo>
                    <a:cubicBezTo>
                      <a:pt x="12996" y="16915"/>
                      <a:pt x="13002" y="16936"/>
                      <a:pt x="13010" y="16953"/>
                    </a:cubicBezTo>
                    <a:cubicBezTo>
                      <a:pt x="13024" y="16981"/>
                      <a:pt x="13040" y="16996"/>
                      <a:pt x="13061" y="16997"/>
                    </a:cubicBezTo>
                    <a:cubicBezTo>
                      <a:pt x="13085" y="16999"/>
                      <a:pt x="13092" y="17043"/>
                      <a:pt x="13112" y="17061"/>
                    </a:cubicBezTo>
                    <a:cubicBezTo>
                      <a:pt x="13122" y="17069"/>
                      <a:pt x="13129" y="17066"/>
                      <a:pt x="13136" y="17051"/>
                    </a:cubicBezTo>
                    <a:cubicBezTo>
                      <a:pt x="13141" y="17039"/>
                      <a:pt x="13141" y="17013"/>
                      <a:pt x="13152" y="17028"/>
                    </a:cubicBezTo>
                    <a:cubicBezTo>
                      <a:pt x="13158" y="17036"/>
                      <a:pt x="13160" y="17043"/>
                      <a:pt x="13165" y="17047"/>
                    </a:cubicBezTo>
                    <a:cubicBezTo>
                      <a:pt x="13167" y="17048"/>
                      <a:pt x="13170" y="17049"/>
                      <a:pt x="13174" y="17050"/>
                    </a:cubicBezTo>
                    <a:cubicBezTo>
                      <a:pt x="13183" y="17051"/>
                      <a:pt x="13196" y="17049"/>
                      <a:pt x="13204" y="17042"/>
                    </a:cubicBezTo>
                    <a:cubicBezTo>
                      <a:pt x="13223" y="17027"/>
                      <a:pt x="13228" y="16979"/>
                      <a:pt x="13240" y="16952"/>
                    </a:cubicBezTo>
                    <a:cubicBezTo>
                      <a:pt x="13250" y="16930"/>
                      <a:pt x="13257" y="16900"/>
                      <a:pt x="13274" y="16895"/>
                    </a:cubicBezTo>
                    <a:cubicBezTo>
                      <a:pt x="13286" y="16892"/>
                      <a:pt x="13295" y="16901"/>
                      <a:pt x="13305" y="16907"/>
                    </a:cubicBezTo>
                    <a:cubicBezTo>
                      <a:pt x="13318" y="16914"/>
                      <a:pt x="13323" y="16903"/>
                      <a:pt x="13335" y="16896"/>
                    </a:cubicBezTo>
                    <a:cubicBezTo>
                      <a:pt x="13343" y="16891"/>
                      <a:pt x="13352" y="16884"/>
                      <a:pt x="13360" y="16876"/>
                    </a:cubicBezTo>
                    <a:cubicBezTo>
                      <a:pt x="13377" y="16861"/>
                      <a:pt x="13394" y="16832"/>
                      <a:pt x="13414" y="16844"/>
                    </a:cubicBezTo>
                    <a:cubicBezTo>
                      <a:pt x="13422" y="16849"/>
                      <a:pt x="13427" y="16860"/>
                      <a:pt x="13435" y="16866"/>
                    </a:cubicBezTo>
                    <a:cubicBezTo>
                      <a:pt x="13443" y="16873"/>
                      <a:pt x="13450" y="16872"/>
                      <a:pt x="13459" y="16874"/>
                    </a:cubicBezTo>
                    <a:cubicBezTo>
                      <a:pt x="13467" y="16875"/>
                      <a:pt x="13476" y="16879"/>
                      <a:pt x="13484" y="16880"/>
                    </a:cubicBezTo>
                    <a:cubicBezTo>
                      <a:pt x="13493" y="16882"/>
                      <a:pt x="13500" y="16875"/>
                      <a:pt x="13510" y="16876"/>
                    </a:cubicBezTo>
                    <a:cubicBezTo>
                      <a:pt x="13521" y="16876"/>
                      <a:pt x="13520" y="16883"/>
                      <a:pt x="13527" y="16894"/>
                    </a:cubicBezTo>
                    <a:cubicBezTo>
                      <a:pt x="13533" y="16904"/>
                      <a:pt x="13543" y="16907"/>
                      <a:pt x="13551" y="16909"/>
                    </a:cubicBezTo>
                    <a:cubicBezTo>
                      <a:pt x="13575" y="16915"/>
                      <a:pt x="13577" y="16887"/>
                      <a:pt x="13592" y="16866"/>
                    </a:cubicBezTo>
                    <a:cubicBezTo>
                      <a:pt x="13594" y="16863"/>
                      <a:pt x="13597" y="16860"/>
                      <a:pt x="13600" y="16857"/>
                    </a:cubicBezTo>
                    <a:cubicBezTo>
                      <a:pt x="13610" y="16851"/>
                      <a:pt x="13621" y="16848"/>
                      <a:pt x="13630" y="16851"/>
                    </a:cubicBezTo>
                    <a:cubicBezTo>
                      <a:pt x="13636" y="16852"/>
                      <a:pt x="13641" y="16857"/>
                      <a:pt x="13647" y="16858"/>
                    </a:cubicBezTo>
                    <a:cubicBezTo>
                      <a:pt x="13654" y="16859"/>
                      <a:pt x="13661" y="16861"/>
                      <a:pt x="13666" y="16870"/>
                    </a:cubicBezTo>
                    <a:cubicBezTo>
                      <a:pt x="13672" y="16882"/>
                      <a:pt x="13673" y="16905"/>
                      <a:pt x="13685" y="16904"/>
                    </a:cubicBezTo>
                    <a:cubicBezTo>
                      <a:pt x="13698" y="16903"/>
                      <a:pt x="13697" y="16876"/>
                      <a:pt x="13697" y="16861"/>
                    </a:cubicBezTo>
                    <a:cubicBezTo>
                      <a:pt x="13698" y="16836"/>
                      <a:pt x="13703" y="16813"/>
                      <a:pt x="13705" y="16789"/>
                    </a:cubicBezTo>
                    <a:cubicBezTo>
                      <a:pt x="13707" y="16765"/>
                      <a:pt x="13708" y="16741"/>
                      <a:pt x="13711" y="16718"/>
                    </a:cubicBezTo>
                    <a:cubicBezTo>
                      <a:pt x="13714" y="16696"/>
                      <a:pt x="13720" y="16676"/>
                      <a:pt x="13725" y="16654"/>
                    </a:cubicBezTo>
                    <a:cubicBezTo>
                      <a:pt x="13727" y="16643"/>
                      <a:pt x="13731" y="16613"/>
                      <a:pt x="13738" y="16608"/>
                    </a:cubicBezTo>
                    <a:cubicBezTo>
                      <a:pt x="13746" y="16603"/>
                      <a:pt x="13752" y="16620"/>
                      <a:pt x="13758" y="16626"/>
                    </a:cubicBezTo>
                    <a:cubicBezTo>
                      <a:pt x="13766" y="16635"/>
                      <a:pt x="13778" y="16637"/>
                      <a:pt x="13784" y="16648"/>
                    </a:cubicBezTo>
                    <a:cubicBezTo>
                      <a:pt x="13791" y="16660"/>
                      <a:pt x="13788" y="16684"/>
                      <a:pt x="13786" y="16700"/>
                    </a:cubicBezTo>
                    <a:cubicBezTo>
                      <a:pt x="13784" y="16717"/>
                      <a:pt x="13778" y="16728"/>
                      <a:pt x="13774" y="16745"/>
                    </a:cubicBezTo>
                    <a:cubicBezTo>
                      <a:pt x="13769" y="16766"/>
                      <a:pt x="13778" y="16764"/>
                      <a:pt x="13782" y="16780"/>
                    </a:cubicBezTo>
                    <a:cubicBezTo>
                      <a:pt x="13787" y="16797"/>
                      <a:pt x="13780" y="16819"/>
                      <a:pt x="13783" y="16836"/>
                    </a:cubicBezTo>
                    <a:cubicBezTo>
                      <a:pt x="13787" y="16856"/>
                      <a:pt x="13799" y="16847"/>
                      <a:pt x="13809" y="16852"/>
                    </a:cubicBezTo>
                    <a:cubicBezTo>
                      <a:pt x="13821" y="16859"/>
                      <a:pt x="13821" y="16872"/>
                      <a:pt x="13822" y="16890"/>
                    </a:cubicBezTo>
                    <a:cubicBezTo>
                      <a:pt x="13824" y="16909"/>
                      <a:pt x="13831" y="16923"/>
                      <a:pt x="13835" y="16940"/>
                    </a:cubicBezTo>
                    <a:cubicBezTo>
                      <a:pt x="13838" y="16951"/>
                      <a:pt x="13838" y="16976"/>
                      <a:pt x="13844" y="16981"/>
                    </a:cubicBezTo>
                    <a:cubicBezTo>
                      <a:pt x="13850" y="16987"/>
                      <a:pt x="13854" y="16978"/>
                      <a:pt x="13859" y="16976"/>
                    </a:cubicBezTo>
                    <a:cubicBezTo>
                      <a:pt x="13865" y="16973"/>
                      <a:pt x="13872" y="16973"/>
                      <a:pt x="13879" y="16970"/>
                    </a:cubicBezTo>
                    <a:cubicBezTo>
                      <a:pt x="13892" y="16964"/>
                      <a:pt x="13901" y="16956"/>
                      <a:pt x="13903" y="16932"/>
                    </a:cubicBezTo>
                    <a:cubicBezTo>
                      <a:pt x="13903" y="16922"/>
                      <a:pt x="13897" y="16889"/>
                      <a:pt x="13905" y="16890"/>
                    </a:cubicBezTo>
                    <a:cubicBezTo>
                      <a:pt x="13910" y="16890"/>
                      <a:pt x="13909" y="16900"/>
                      <a:pt x="13913" y="16903"/>
                    </a:cubicBezTo>
                    <a:cubicBezTo>
                      <a:pt x="13920" y="16908"/>
                      <a:pt x="13921" y="16901"/>
                      <a:pt x="13927" y="16896"/>
                    </a:cubicBezTo>
                    <a:cubicBezTo>
                      <a:pt x="13936" y="16887"/>
                      <a:pt x="13940" y="16880"/>
                      <a:pt x="13952" y="16880"/>
                    </a:cubicBezTo>
                    <a:cubicBezTo>
                      <a:pt x="13957" y="16880"/>
                      <a:pt x="13962" y="16879"/>
                      <a:pt x="13967" y="16881"/>
                    </a:cubicBezTo>
                    <a:cubicBezTo>
                      <a:pt x="13971" y="16882"/>
                      <a:pt x="13973" y="16887"/>
                      <a:pt x="13973" y="16898"/>
                    </a:cubicBezTo>
                    <a:cubicBezTo>
                      <a:pt x="13971" y="16914"/>
                      <a:pt x="13962" y="16931"/>
                      <a:pt x="13981" y="16925"/>
                    </a:cubicBezTo>
                    <a:cubicBezTo>
                      <a:pt x="14013" y="16915"/>
                      <a:pt x="14022" y="16863"/>
                      <a:pt x="14042" y="16830"/>
                    </a:cubicBezTo>
                    <a:cubicBezTo>
                      <a:pt x="14049" y="16817"/>
                      <a:pt x="14059" y="16811"/>
                      <a:pt x="14060" y="16793"/>
                    </a:cubicBezTo>
                    <a:cubicBezTo>
                      <a:pt x="14060" y="16774"/>
                      <a:pt x="14057" y="16753"/>
                      <a:pt x="14057" y="16733"/>
                    </a:cubicBezTo>
                    <a:cubicBezTo>
                      <a:pt x="14057" y="16719"/>
                      <a:pt x="14060" y="16694"/>
                      <a:pt x="14073" y="16705"/>
                    </a:cubicBezTo>
                    <a:cubicBezTo>
                      <a:pt x="14081" y="16712"/>
                      <a:pt x="14075" y="16740"/>
                      <a:pt x="14091" y="16737"/>
                    </a:cubicBezTo>
                    <a:cubicBezTo>
                      <a:pt x="14106" y="16734"/>
                      <a:pt x="14101" y="16709"/>
                      <a:pt x="14108" y="16692"/>
                    </a:cubicBezTo>
                    <a:cubicBezTo>
                      <a:pt x="14111" y="16684"/>
                      <a:pt x="14112" y="16677"/>
                      <a:pt x="14120" y="16683"/>
                    </a:cubicBezTo>
                    <a:cubicBezTo>
                      <a:pt x="14125" y="16687"/>
                      <a:pt x="14127" y="16697"/>
                      <a:pt x="14129" y="16704"/>
                    </a:cubicBezTo>
                    <a:cubicBezTo>
                      <a:pt x="14132" y="16720"/>
                      <a:pt x="14131" y="16748"/>
                      <a:pt x="14127" y="16764"/>
                    </a:cubicBezTo>
                    <a:cubicBezTo>
                      <a:pt x="14123" y="16777"/>
                      <a:pt x="14112" y="16780"/>
                      <a:pt x="14114" y="16797"/>
                    </a:cubicBezTo>
                    <a:cubicBezTo>
                      <a:pt x="14116" y="16818"/>
                      <a:pt x="14131" y="16817"/>
                      <a:pt x="14140" y="16818"/>
                    </a:cubicBezTo>
                    <a:cubicBezTo>
                      <a:pt x="14152" y="16819"/>
                      <a:pt x="14153" y="16819"/>
                      <a:pt x="14159" y="16834"/>
                    </a:cubicBezTo>
                    <a:cubicBezTo>
                      <a:pt x="14163" y="16846"/>
                      <a:pt x="14160" y="16845"/>
                      <a:pt x="14170" y="16847"/>
                    </a:cubicBezTo>
                    <a:cubicBezTo>
                      <a:pt x="14175" y="16848"/>
                      <a:pt x="14181" y="16847"/>
                      <a:pt x="14186" y="16847"/>
                    </a:cubicBezTo>
                    <a:cubicBezTo>
                      <a:pt x="14196" y="16847"/>
                      <a:pt x="14206" y="16846"/>
                      <a:pt x="14216" y="16842"/>
                    </a:cubicBezTo>
                    <a:cubicBezTo>
                      <a:pt x="14237" y="16835"/>
                      <a:pt x="14258" y="16826"/>
                      <a:pt x="14279" y="16816"/>
                    </a:cubicBezTo>
                    <a:cubicBezTo>
                      <a:pt x="14291" y="16811"/>
                      <a:pt x="14296" y="16816"/>
                      <a:pt x="14300" y="16794"/>
                    </a:cubicBezTo>
                    <a:cubicBezTo>
                      <a:pt x="14304" y="16776"/>
                      <a:pt x="14307" y="16760"/>
                      <a:pt x="14319" y="16756"/>
                    </a:cubicBezTo>
                    <a:cubicBezTo>
                      <a:pt x="14334" y="16751"/>
                      <a:pt x="14337" y="16770"/>
                      <a:pt x="14348" y="16779"/>
                    </a:cubicBezTo>
                    <a:cubicBezTo>
                      <a:pt x="14360" y="16787"/>
                      <a:pt x="14363" y="16778"/>
                      <a:pt x="14372" y="16770"/>
                    </a:cubicBezTo>
                    <a:cubicBezTo>
                      <a:pt x="14383" y="16761"/>
                      <a:pt x="14397" y="16766"/>
                      <a:pt x="14409" y="16765"/>
                    </a:cubicBezTo>
                    <a:cubicBezTo>
                      <a:pt x="14420" y="16765"/>
                      <a:pt x="14432" y="16757"/>
                      <a:pt x="14438" y="16775"/>
                    </a:cubicBezTo>
                    <a:cubicBezTo>
                      <a:pt x="14444" y="16796"/>
                      <a:pt x="14446" y="16819"/>
                      <a:pt x="14454" y="16840"/>
                    </a:cubicBezTo>
                    <a:cubicBezTo>
                      <a:pt x="14459" y="16856"/>
                      <a:pt x="14464" y="16867"/>
                      <a:pt x="14450" y="16871"/>
                    </a:cubicBezTo>
                    <a:cubicBezTo>
                      <a:pt x="14438" y="16874"/>
                      <a:pt x="14426" y="16863"/>
                      <a:pt x="14413" y="16862"/>
                    </a:cubicBezTo>
                    <a:cubicBezTo>
                      <a:pt x="14400" y="16860"/>
                      <a:pt x="14386" y="16866"/>
                      <a:pt x="14402" y="16885"/>
                    </a:cubicBezTo>
                    <a:cubicBezTo>
                      <a:pt x="14414" y="16899"/>
                      <a:pt x="14427" y="16904"/>
                      <a:pt x="14439" y="16912"/>
                    </a:cubicBezTo>
                    <a:cubicBezTo>
                      <a:pt x="14456" y="16922"/>
                      <a:pt x="14470" y="16935"/>
                      <a:pt x="14486" y="16950"/>
                    </a:cubicBezTo>
                    <a:cubicBezTo>
                      <a:pt x="14499" y="16962"/>
                      <a:pt x="14509" y="16977"/>
                      <a:pt x="14520" y="16990"/>
                    </a:cubicBezTo>
                    <a:cubicBezTo>
                      <a:pt x="14529" y="17000"/>
                      <a:pt x="14540" y="17007"/>
                      <a:pt x="14548" y="16995"/>
                    </a:cubicBezTo>
                    <a:cubicBezTo>
                      <a:pt x="14558" y="16982"/>
                      <a:pt x="14557" y="16958"/>
                      <a:pt x="14565" y="16943"/>
                    </a:cubicBezTo>
                    <a:cubicBezTo>
                      <a:pt x="14567" y="16938"/>
                      <a:pt x="14574" y="16929"/>
                      <a:pt x="14578" y="16930"/>
                    </a:cubicBezTo>
                    <a:cubicBezTo>
                      <a:pt x="14582" y="16930"/>
                      <a:pt x="14584" y="16940"/>
                      <a:pt x="14588" y="16945"/>
                    </a:cubicBezTo>
                    <a:cubicBezTo>
                      <a:pt x="14606" y="16965"/>
                      <a:pt x="14631" y="16947"/>
                      <a:pt x="14649" y="16941"/>
                    </a:cubicBezTo>
                    <a:cubicBezTo>
                      <a:pt x="14652" y="16940"/>
                      <a:pt x="14660" y="16939"/>
                      <a:pt x="14662" y="16944"/>
                    </a:cubicBezTo>
                    <a:cubicBezTo>
                      <a:pt x="14664" y="16956"/>
                      <a:pt x="14649" y="16964"/>
                      <a:pt x="14645" y="16967"/>
                    </a:cubicBezTo>
                    <a:cubicBezTo>
                      <a:pt x="14635" y="16977"/>
                      <a:pt x="14624" y="16982"/>
                      <a:pt x="14614" y="16991"/>
                    </a:cubicBezTo>
                    <a:cubicBezTo>
                      <a:pt x="14601" y="17001"/>
                      <a:pt x="14605" y="17028"/>
                      <a:pt x="14605" y="17050"/>
                    </a:cubicBezTo>
                    <a:cubicBezTo>
                      <a:pt x="14605" y="17070"/>
                      <a:pt x="14604" y="17080"/>
                      <a:pt x="14614" y="17092"/>
                    </a:cubicBezTo>
                    <a:cubicBezTo>
                      <a:pt x="14625" y="17104"/>
                      <a:pt x="14635" y="17109"/>
                      <a:pt x="14649" y="17109"/>
                    </a:cubicBezTo>
                    <a:cubicBezTo>
                      <a:pt x="14659" y="17109"/>
                      <a:pt x="14670" y="17105"/>
                      <a:pt x="14677" y="17116"/>
                    </a:cubicBezTo>
                    <a:cubicBezTo>
                      <a:pt x="14684" y="17125"/>
                      <a:pt x="14688" y="17153"/>
                      <a:pt x="14689" y="17168"/>
                    </a:cubicBezTo>
                    <a:cubicBezTo>
                      <a:pt x="14692" y="17187"/>
                      <a:pt x="14683" y="17180"/>
                      <a:pt x="14683" y="17197"/>
                    </a:cubicBezTo>
                    <a:cubicBezTo>
                      <a:pt x="14682" y="17209"/>
                      <a:pt x="14696" y="17238"/>
                      <a:pt x="14700" y="17248"/>
                    </a:cubicBezTo>
                    <a:cubicBezTo>
                      <a:pt x="14708" y="17266"/>
                      <a:pt x="14717" y="17282"/>
                      <a:pt x="14728" y="17296"/>
                    </a:cubicBezTo>
                    <a:cubicBezTo>
                      <a:pt x="14750" y="17326"/>
                      <a:pt x="14752" y="17365"/>
                      <a:pt x="14755" y="17411"/>
                    </a:cubicBezTo>
                    <a:cubicBezTo>
                      <a:pt x="14757" y="17452"/>
                      <a:pt x="14758" y="17473"/>
                      <a:pt x="14786" y="17466"/>
                    </a:cubicBezTo>
                    <a:cubicBezTo>
                      <a:pt x="14811" y="17460"/>
                      <a:pt x="14836" y="17451"/>
                      <a:pt x="14862" y="17446"/>
                    </a:cubicBezTo>
                    <a:cubicBezTo>
                      <a:pt x="14879" y="17443"/>
                      <a:pt x="14887" y="17434"/>
                      <a:pt x="14897" y="17411"/>
                    </a:cubicBezTo>
                    <a:cubicBezTo>
                      <a:pt x="14901" y="17402"/>
                      <a:pt x="14909" y="17388"/>
                      <a:pt x="14916" y="17388"/>
                    </a:cubicBezTo>
                    <a:cubicBezTo>
                      <a:pt x="14925" y="17389"/>
                      <a:pt x="14921" y="17399"/>
                      <a:pt x="14928" y="17405"/>
                    </a:cubicBezTo>
                    <a:cubicBezTo>
                      <a:pt x="14938" y="17413"/>
                      <a:pt x="14947" y="17402"/>
                      <a:pt x="14956" y="17393"/>
                    </a:cubicBezTo>
                    <a:cubicBezTo>
                      <a:pt x="14966" y="17382"/>
                      <a:pt x="14976" y="17370"/>
                      <a:pt x="14985" y="17357"/>
                    </a:cubicBezTo>
                    <a:cubicBezTo>
                      <a:pt x="14995" y="17343"/>
                      <a:pt x="15007" y="17334"/>
                      <a:pt x="15018" y="17321"/>
                    </a:cubicBezTo>
                    <a:cubicBezTo>
                      <a:pt x="15024" y="17314"/>
                      <a:pt x="15026" y="17303"/>
                      <a:pt x="15031" y="17296"/>
                    </a:cubicBezTo>
                    <a:cubicBezTo>
                      <a:pt x="15054" y="17267"/>
                      <a:pt x="15085" y="17311"/>
                      <a:pt x="15107" y="17290"/>
                    </a:cubicBezTo>
                    <a:cubicBezTo>
                      <a:pt x="15111" y="17286"/>
                      <a:pt x="15115" y="17280"/>
                      <a:pt x="15114" y="17272"/>
                    </a:cubicBezTo>
                    <a:cubicBezTo>
                      <a:pt x="15102" y="17258"/>
                      <a:pt x="15061" y="17258"/>
                      <a:pt x="15069" y="17224"/>
                    </a:cubicBezTo>
                    <a:cubicBezTo>
                      <a:pt x="15073" y="17209"/>
                      <a:pt x="15084" y="17200"/>
                      <a:pt x="15090" y="17188"/>
                    </a:cubicBezTo>
                    <a:cubicBezTo>
                      <a:pt x="15098" y="17172"/>
                      <a:pt x="15106" y="17151"/>
                      <a:pt x="15116" y="17138"/>
                    </a:cubicBezTo>
                    <a:cubicBezTo>
                      <a:pt x="15121" y="17131"/>
                      <a:pt x="15129" y="17126"/>
                      <a:pt x="15135" y="17125"/>
                    </a:cubicBezTo>
                    <a:cubicBezTo>
                      <a:pt x="15144" y="17123"/>
                      <a:pt x="15150" y="17131"/>
                      <a:pt x="15158" y="17135"/>
                    </a:cubicBezTo>
                    <a:cubicBezTo>
                      <a:pt x="15165" y="17138"/>
                      <a:pt x="15170" y="17137"/>
                      <a:pt x="15177" y="17136"/>
                    </a:cubicBezTo>
                    <a:cubicBezTo>
                      <a:pt x="15181" y="17135"/>
                      <a:pt x="15185" y="17136"/>
                      <a:pt x="15189" y="17134"/>
                    </a:cubicBezTo>
                    <a:cubicBezTo>
                      <a:pt x="15192" y="17132"/>
                      <a:pt x="15195" y="17127"/>
                      <a:pt x="15198" y="17124"/>
                    </a:cubicBezTo>
                    <a:cubicBezTo>
                      <a:pt x="15210" y="17114"/>
                      <a:pt x="15227" y="17108"/>
                      <a:pt x="15239" y="17120"/>
                    </a:cubicBezTo>
                    <a:cubicBezTo>
                      <a:pt x="15254" y="17135"/>
                      <a:pt x="15265" y="17162"/>
                      <a:pt x="15272" y="17186"/>
                    </a:cubicBezTo>
                    <a:cubicBezTo>
                      <a:pt x="15282" y="17217"/>
                      <a:pt x="15301" y="17214"/>
                      <a:pt x="15320" y="17224"/>
                    </a:cubicBezTo>
                    <a:cubicBezTo>
                      <a:pt x="15327" y="17228"/>
                      <a:pt x="15334" y="17235"/>
                      <a:pt x="15340" y="17240"/>
                    </a:cubicBezTo>
                    <a:cubicBezTo>
                      <a:pt x="15348" y="17245"/>
                      <a:pt x="15353" y="17249"/>
                      <a:pt x="15359" y="17260"/>
                    </a:cubicBezTo>
                    <a:cubicBezTo>
                      <a:pt x="15368" y="17279"/>
                      <a:pt x="15382" y="17294"/>
                      <a:pt x="15389" y="17316"/>
                    </a:cubicBezTo>
                    <a:cubicBezTo>
                      <a:pt x="15400" y="17346"/>
                      <a:pt x="15406" y="17374"/>
                      <a:pt x="15412" y="17407"/>
                    </a:cubicBezTo>
                    <a:cubicBezTo>
                      <a:pt x="15414" y="17419"/>
                      <a:pt x="15414" y="17435"/>
                      <a:pt x="15417" y="17446"/>
                    </a:cubicBezTo>
                    <a:cubicBezTo>
                      <a:pt x="15422" y="17463"/>
                      <a:pt x="15431" y="17463"/>
                      <a:pt x="15440" y="17467"/>
                    </a:cubicBezTo>
                    <a:cubicBezTo>
                      <a:pt x="15449" y="17470"/>
                      <a:pt x="15455" y="17475"/>
                      <a:pt x="15460" y="17489"/>
                    </a:cubicBezTo>
                    <a:cubicBezTo>
                      <a:pt x="15469" y="17513"/>
                      <a:pt x="15467" y="17540"/>
                      <a:pt x="15469" y="17566"/>
                    </a:cubicBezTo>
                    <a:cubicBezTo>
                      <a:pt x="15471" y="17579"/>
                      <a:pt x="15476" y="17587"/>
                      <a:pt x="15478" y="17601"/>
                    </a:cubicBezTo>
                    <a:cubicBezTo>
                      <a:pt x="15479" y="17618"/>
                      <a:pt x="15478" y="17627"/>
                      <a:pt x="15484" y="17641"/>
                    </a:cubicBezTo>
                    <a:cubicBezTo>
                      <a:pt x="15489" y="17653"/>
                      <a:pt x="15496" y="17663"/>
                      <a:pt x="15502" y="17672"/>
                    </a:cubicBezTo>
                    <a:cubicBezTo>
                      <a:pt x="15515" y="17690"/>
                      <a:pt x="15529" y="17714"/>
                      <a:pt x="15537" y="17737"/>
                    </a:cubicBezTo>
                    <a:cubicBezTo>
                      <a:pt x="15547" y="17763"/>
                      <a:pt x="15553" y="17792"/>
                      <a:pt x="15563" y="17818"/>
                    </a:cubicBezTo>
                    <a:cubicBezTo>
                      <a:pt x="15574" y="17846"/>
                      <a:pt x="15581" y="17878"/>
                      <a:pt x="15594" y="17901"/>
                    </a:cubicBezTo>
                    <a:cubicBezTo>
                      <a:pt x="15609" y="17926"/>
                      <a:pt x="15621" y="17936"/>
                      <a:pt x="15640" y="17946"/>
                    </a:cubicBezTo>
                    <a:cubicBezTo>
                      <a:pt x="15650" y="17951"/>
                      <a:pt x="15660" y="17956"/>
                      <a:pt x="15670" y="17957"/>
                    </a:cubicBezTo>
                    <a:cubicBezTo>
                      <a:pt x="15678" y="17958"/>
                      <a:pt x="15686" y="17953"/>
                      <a:pt x="15694" y="17956"/>
                    </a:cubicBezTo>
                    <a:cubicBezTo>
                      <a:pt x="15707" y="17961"/>
                      <a:pt x="15718" y="18004"/>
                      <a:pt x="15720" y="18026"/>
                    </a:cubicBezTo>
                    <a:cubicBezTo>
                      <a:pt x="15723" y="18055"/>
                      <a:pt x="15722" y="18084"/>
                      <a:pt x="15723" y="18113"/>
                    </a:cubicBezTo>
                    <a:cubicBezTo>
                      <a:pt x="15724" y="18122"/>
                      <a:pt x="15723" y="18133"/>
                      <a:pt x="15724" y="18141"/>
                    </a:cubicBezTo>
                    <a:cubicBezTo>
                      <a:pt x="15725" y="18153"/>
                      <a:pt x="15731" y="18158"/>
                      <a:pt x="15736" y="18167"/>
                    </a:cubicBezTo>
                    <a:cubicBezTo>
                      <a:pt x="15741" y="18177"/>
                      <a:pt x="15742" y="18190"/>
                      <a:pt x="15743" y="18203"/>
                    </a:cubicBezTo>
                    <a:cubicBezTo>
                      <a:pt x="15744" y="18218"/>
                      <a:pt x="15742" y="18233"/>
                      <a:pt x="15744" y="18248"/>
                    </a:cubicBezTo>
                    <a:cubicBezTo>
                      <a:pt x="15745" y="18261"/>
                      <a:pt x="15750" y="18274"/>
                      <a:pt x="15753" y="18286"/>
                    </a:cubicBezTo>
                    <a:cubicBezTo>
                      <a:pt x="15765" y="18343"/>
                      <a:pt x="15753" y="18415"/>
                      <a:pt x="15749" y="18474"/>
                    </a:cubicBezTo>
                    <a:cubicBezTo>
                      <a:pt x="15746" y="18507"/>
                      <a:pt x="15742" y="18540"/>
                      <a:pt x="15740" y="18573"/>
                    </a:cubicBezTo>
                    <a:cubicBezTo>
                      <a:pt x="15739" y="18590"/>
                      <a:pt x="15740" y="18608"/>
                      <a:pt x="15739" y="18625"/>
                    </a:cubicBezTo>
                    <a:cubicBezTo>
                      <a:pt x="15736" y="18669"/>
                      <a:pt x="15732" y="18714"/>
                      <a:pt x="15719" y="18753"/>
                    </a:cubicBezTo>
                    <a:cubicBezTo>
                      <a:pt x="15710" y="18779"/>
                      <a:pt x="15697" y="18792"/>
                      <a:pt x="15696" y="18823"/>
                    </a:cubicBezTo>
                    <a:cubicBezTo>
                      <a:pt x="15696" y="18845"/>
                      <a:pt x="15707" y="18850"/>
                      <a:pt x="15714" y="18866"/>
                    </a:cubicBezTo>
                    <a:cubicBezTo>
                      <a:pt x="15719" y="18879"/>
                      <a:pt x="15717" y="18892"/>
                      <a:pt x="15715" y="18905"/>
                    </a:cubicBezTo>
                    <a:cubicBezTo>
                      <a:pt x="15708" y="18934"/>
                      <a:pt x="15697" y="18960"/>
                      <a:pt x="15695" y="18991"/>
                    </a:cubicBezTo>
                    <a:cubicBezTo>
                      <a:pt x="15693" y="19011"/>
                      <a:pt x="15694" y="19032"/>
                      <a:pt x="15693" y="19052"/>
                    </a:cubicBezTo>
                    <a:cubicBezTo>
                      <a:pt x="15692" y="19064"/>
                      <a:pt x="15687" y="19076"/>
                      <a:pt x="15684" y="19088"/>
                    </a:cubicBezTo>
                    <a:cubicBezTo>
                      <a:pt x="15674" y="19131"/>
                      <a:pt x="15696" y="19139"/>
                      <a:pt x="15711" y="19162"/>
                    </a:cubicBezTo>
                    <a:cubicBezTo>
                      <a:pt x="15720" y="19175"/>
                      <a:pt x="15725" y="19184"/>
                      <a:pt x="15727" y="19203"/>
                    </a:cubicBezTo>
                    <a:cubicBezTo>
                      <a:pt x="15728" y="19220"/>
                      <a:pt x="15727" y="19233"/>
                      <a:pt x="15739" y="19234"/>
                    </a:cubicBezTo>
                    <a:cubicBezTo>
                      <a:pt x="15756" y="19235"/>
                      <a:pt x="15760" y="19194"/>
                      <a:pt x="15764" y="19173"/>
                    </a:cubicBezTo>
                    <a:cubicBezTo>
                      <a:pt x="15770" y="19142"/>
                      <a:pt x="15767" y="19106"/>
                      <a:pt x="15750" y="19089"/>
                    </a:cubicBezTo>
                    <a:cubicBezTo>
                      <a:pt x="15741" y="19081"/>
                      <a:pt x="15734" y="19078"/>
                      <a:pt x="15729" y="19063"/>
                    </a:cubicBezTo>
                    <a:cubicBezTo>
                      <a:pt x="15725" y="19048"/>
                      <a:pt x="15727" y="19032"/>
                      <a:pt x="15727" y="19015"/>
                    </a:cubicBezTo>
                    <a:cubicBezTo>
                      <a:pt x="15727" y="19003"/>
                      <a:pt x="15724" y="18979"/>
                      <a:pt x="15729" y="18969"/>
                    </a:cubicBezTo>
                    <a:cubicBezTo>
                      <a:pt x="15736" y="18953"/>
                      <a:pt x="15742" y="18967"/>
                      <a:pt x="15749" y="18973"/>
                    </a:cubicBezTo>
                    <a:cubicBezTo>
                      <a:pt x="15757" y="18981"/>
                      <a:pt x="15767" y="18977"/>
                      <a:pt x="15774" y="18989"/>
                    </a:cubicBezTo>
                    <a:cubicBezTo>
                      <a:pt x="15777" y="18995"/>
                      <a:pt x="15779" y="19004"/>
                      <a:pt x="15782" y="19010"/>
                    </a:cubicBezTo>
                    <a:cubicBezTo>
                      <a:pt x="15785" y="19016"/>
                      <a:pt x="15789" y="19021"/>
                      <a:pt x="15791" y="19029"/>
                    </a:cubicBezTo>
                    <a:cubicBezTo>
                      <a:pt x="15795" y="19044"/>
                      <a:pt x="15791" y="19120"/>
                      <a:pt x="15800" y="19123"/>
                    </a:cubicBezTo>
                    <a:cubicBezTo>
                      <a:pt x="15802" y="19110"/>
                      <a:pt x="15806" y="19096"/>
                      <a:pt x="15807" y="19082"/>
                    </a:cubicBezTo>
                    <a:cubicBezTo>
                      <a:pt x="15809" y="19069"/>
                      <a:pt x="15807" y="19052"/>
                      <a:pt x="15814" y="19042"/>
                    </a:cubicBezTo>
                    <a:cubicBezTo>
                      <a:pt x="15832" y="19011"/>
                      <a:pt x="15837" y="19074"/>
                      <a:pt x="15843" y="19092"/>
                    </a:cubicBezTo>
                    <a:cubicBezTo>
                      <a:pt x="15853" y="19120"/>
                      <a:pt x="15857" y="19146"/>
                      <a:pt x="15845" y="19173"/>
                    </a:cubicBezTo>
                    <a:cubicBezTo>
                      <a:pt x="15832" y="19204"/>
                      <a:pt x="15815" y="19231"/>
                      <a:pt x="15804" y="19263"/>
                    </a:cubicBezTo>
                    <a:cubicBezTo>
                      <a:pt x="15794" y="19290"/>
                      <a:pt x="15774" y="19321"/>
                      <a:pt x="15779" y="19356"/>
                    </a:cubicBezTo>
                    <a:cubicBezTo>
                      <a:pt x="15781" y="19371"/>
                      <a:pt x="15789" y="19388"/>
                      <a:pt x="15783" y="19403"/>
                    </a:cubicBezTo>
                    <a:cubicBezTo>
                      <a:pt x="15776" y="19419"/>
                      <a:pt x="15762" y="19424"/>
                      <a:pt x="15756" y="19442"/>
                    </a:cubicBezTo>
                    <a:cubicBezTo>
                      <a:pt x="15751" y="19457"/>
                      <a:pt x="15754" y="19482"/>
                      <a:pt x="15759" y="19496"/>
                    </a:cubicBezTo>
                    <a:cubicBezTo>
                      <a:pt x="15765" y="19512"/>
                      <a:pt x="15772" y="19526"/>
                      <a:pt x="15776" y="19544"/>
                    </a:cubicBezTo>
                    <a:cubicBezTo>
                      <a:pt x="15780" y="19559"/>
                      <a:pt x="15783" y="19575"/>
                      <a:pt x="15786" y="19590"/>
                    </a:cubicBezTo>
                    <a:cubicBezTo>
                      <a:pt x="15803" y="19658"/>
                      <a:pt x="15820" y="19726"/>
                      <a:pt x="15833" y="19797"/>
                    </a:cubicBezTo>
                    <a:cubicBezTo>
                      <a:pt x="15840" y="19832"/>
                      <a:pt x="15847" y="19865"/>
                      <a:pt x="15859" y="19896"/>
                    </a:cubicBezTo>
                    <a:cubicBezTo>
                      <a:pt x="15866" y="19912"/>
                      <a:pt x="15872" y="19927"/>
                      <a:pt x="15875" y="19943"/>
                    </a:cubicBezTo>
                    <a:cubicBezTo>
                      <a:pt x="15878" y="19957"/>
                      <a:pt x="15879" y="19972"/>
                      <a:pt x="15884" y="19985"/>
                    </a:cubicBezTo>
                    <a:cubicBezTo>
                      <a:pt x="15891" y="20004"/>
                      <a:pt x="15915" y="20045"/>
                      <a:pt x="15926" y="20017"/>
                    </a:cubicBezTo>
                    <a:cubicBezTo>
                      <a:pt x="15941" y="19981"/>
                      <a:pt x="15918" y="19942"/>
                      <a:pt x="15906" y="19919"/>
                    </a:cubicBezTo>
                    <a:cubicBezTo>
                      <a:pt x="15898" y="19905"/>
                      <a:pt x="15891" y="19884"/>
                      <a:pt x="15886" y="19866"/>
                    </a:cubicBezTo>
                    <a:cubicBezTo>
                      <a:pt x="15881" y="19852"/>
                      <a:pt x="15881" y="19834"/>
                      <a:pt x="15894" y="19845"/>
                    </a:cubicBezTo>
                    <a:cubicBezTo>
                      <a:pt x="15898" y="19847"/>
                      <a:pt x="15902" y="19858"/>
                      <a:pt x="15906" y="19862"/>
                    </a:cubicBezTo>
                    <a:cubicBezTo>
                      <a:pt x="15911" y="19869"/>
                      <a:pt x="15917" y="19874"/>
                      <a:pt x="15923" y="19880"/>
                    </a:cubicBezTo>
                    <a:cubicBezTo>
                      <a:pt x="15932" y="19888"/>
                      <a:pt x="15939" y="19896"/>
                      <a:pt x="15949" y="19894"/>
                    </a:cubicBezTo>
                    <a:cubicBezTo>
                      <a:pt x="15958" y="19891"/>
                      <a:pt x="16000" y="19849"/>
                      <a:pt x="15986" y="19892"/>
                    </a:cubicBezTo>
                    <a:cubicBezTo>
                      <a:pt x="15974" y="19931"/>
                      <a:pt x="15936" y="19942"/>
                      <a:pt x="15965" y="19993"/>
                    </a:cubicBezTo>
                    <a:cubicBezTo>
                      <a:pt x="15978" y="20016"/>
                      <a:pt x="15974" y="20048"/>
                      <a:pt x="15973" y="20080"/>
                    </a:cubicBezTo>
                    <a:cubicBezTo>
                      <a:pt x="15973" y="20119"/>
                      <a:pt x="15972" y="20159"/>
                      <a:pt x="15972" y="20199"/>
                    </a:cubicBezTo>
                    <a:cubicBezTo>
                      <a:pt x="15972" y="20224"/>
                      <a:pt x="15973" y="20259"/>
                      <a:pt x="15980" y="20280"/>
                    </a:cubicBezTo>
                    <a:cubicBezTo>
                      <a:pt x="15984" y="20291"/>
                      <a:pt x="15995" y="20297"/>
                      <a:pt x="16002" y="20292"/>
                    </a:cubicBezTo>
                    <a:cubicBezTo>
                      <a:pt x="16010" y="20286"/>
                      <a:pt x="16011" y="20265"/>
                      <a:pt x="16014" y="20253"/>
                    </a:cubicBezTo>
                    <a:cubicBezTo>
                      <a:pt x="16022" y="20226"/>
                      <a:pt x="16030" y="20200"/>
                      <a:pt x="16038" y="20173"/>
                    </a:cubicBezTo>
                    <a:cubicBezTo>
                      <a:pt x="16042" y="20161"/>
                      <a:pt x="16047" y="20150"/>
                      <a:pt x="16051" y="20168"/>
                    </a:cubicBezTo>
                    <a:cubicBezTo>
                      <a:pt x="16055" y="20185"/>
                      <a:pt x="16047" y="20196"/>
                      <a:pt x="16043" y="20206"/>
                    </a:cubicBezTo>
                    <a:cubicBezTo>
                      <a:pt x="16037" y="20222"/>
                      <a:pt x="16041" y="20235"/>
                      <a:pt x="16038" y="20252"/>
                    </a:cubicBezTo>
                    <a:cubicBezTo>
                      <a:pt x="16036" y="20265"/>
                      <a:pt x="16031" y="20275"/>
                      <a:pt x="16030" y="20290"/>
                    </a:cubicBezTo>
                    <a:cubicBezTo>
                      <a:pt x="16028" y="20310"/>
                      <a:pt x="16030" y="20315"/>
                      <a:pt x="16040" y="20327"/>
                    </a:cubicBezTo>
                    <a:cubicBezTo>
                      <a:pt x="16047" y="20336"/>
                      <a:pt x="16061" y="20340"/>
                      <a:pt x="16064" y="20354"/>
                    </a:cubicBezTo>
                    <a:cubicBezTo>
                      <a:pt x="16073" y="20396"/>
                      <a:pt x="16057" y="20448"/>
                      <a:pt x="16061" y="20491"/>
                    </a:cubicBezTo>
                    <a:cubicBezTo>
                      <a:pt x="16064" y="20521"/>
                      <a:pt x="16071" y="20550"/>
                      <a:pt x="16074" y="20579"/>
                    </a:cubicBezTo>
                    <a:cubicBezTo>
                      <a:pt x="16081" y="20641"/>
                      <a:pt x="16087" y="20735"/>
                      <a:pt x="16124" y="20769"/>
                    </a:cubicBezTo>
                    <a:cubicBezTo>
                      <a:pt x="16141" y="20785"/>
                      <a:pt x="16159" y="20802"/>
                      <a:pt x="16175" y="20822"/>
                    </a:cubicBezTo>
                    <a:cubicBezTo>
                      <a:pt x="16190" y="20842"/>
                      <a:pt x="16201" y="20871"/>
                      <a:pt x="16217" y="20889"/>
                    </a:cubicBezTo>
                    <a:cubicBezTo>
                      <a:pt x="16235" y="20908"/>
                      <a:pt x="16255" y="20923"/>
                      <a:pt x="16273" y="20941"/>
                    </a:cubicBezTo>
                    <a:cubicBezTo>
                      <a:pt x="16286" y="20955"/>
                      <a:pt x="16307" y="20971"/>
                      <a:pt x="16312" y="20998"/>
                    </a:cubicBezTo>
                    <a:cubicBezTo>
                      <a:pt x="16317" y="21026"/>
                      <a:pt x="16297" y="21034"/>
                      <a:pt x="16286" y="21020"/>
                    </a:cubicBezTo>
                    <a:cubicBezTo>
                      <a:pt x="16282" y="21016"/>
                      <a:pt x="16276" y="20998"/>
                      <a:pt x="16270" y="21004"/>
                    </a:cubicBezTo>
                    <a:cubicBezTo>
                      <a:pt x="16263" y="21012"/>
                      <a:pt x="16272" y="21033"/>
                      <a:pt x="16274" y="21041"/>
                    </a:cubicBezTo>
                    <a:cubicBezTo>
                      <a:pt x="16282" y="21069"/>
                      <a:pt x="16294" y="21094"/>
                      <a:pt x="16301" y="21122"/>
                    </a:cubicBezTo>
                    <a:cubicBezTo>
                      <a:pt x="16307" y="21143"/>
                      <a:pt x="16303" y="21155"/>
                      <a:pt x="16304" y="21174"/>
                    </a:cubicBezTo>
                    <a:cubicBezTo>
                      <a:pt x="16305" y="21191"/>
                      <a:pt x="16313" y="21213"/>
                      <a:pt x="16317" y="21230"/>
                    </a:cubicBezTo>
                    <a:cubicBezTo>
                      <a:pt x="16326" y="21268"/>
                      <a:pt x="16333" y="21309"/>
                      <a:pt x="16348" y="21341"/>
                    </a:cubicBezTo>
                    <a:cubicBezTo>
                      <a:pt x="16353" y="21351"/>
                      <a:pt x="16359" y="21362"/>
                      <a:pt x="16365" y="21370"/>
                    </a:cubicBezTo>
                    <a:cubicBezTo>
                      <a:pt x="16373" y="21379"/>
                      <a:pt x="16383" y="21376"/>
                      <a:pt x="16390" y="21385"/>
                    </a:cubicBezTo>
                    <a:cubicBezTo>
                      <a:pt x="16397" y="21392"/>
                      <a:pt x="16404" y="21411"/>
                      <a:pt x="16404" y="21423"/>
                    </a:cubicBezTo>
                    <a:cubicBezTo>
                      <a:pt x="16405" y="21442"/>
                      <a:pt x="16398" y="21443"/>
                      <a:pt x="16392" y="21454"/>
                    </a:cubicBezTo>
                    <a:cubicBezTo>
                      <a:pt x="16392" y="21455"/>
                      <a:pt x="16390" y="21455"/>
                      <a:pt x="16390" y="21455"/>
                    </a:cubicBezTo>
                    <a:cubicBezTo>
                      <a:pt x="16384" y="21482"/>
                      <a:pt x="16420" y="21463"/>
                      <a:pt x="16427" y="21464"/>
                    </a:cubicBezTo>
                    <a:cubicBezTo>
                      <a:pt x="16433" y="21493"/>
                      <a:pt x="16446" y="21508"/>
                      <a:pt x="16464" y="21504"/>
                    </a:cubicBezTo>
                    <a:cubicBezTo>
                      <a:pt x="16480" y="21501"/>
                      <a:pt x="16486" y="21474"/>
                      <a:pt x="16498" y="21462"/>
                    </a:cubicBezTo>
                    <a:cubicBezTo>
                      <a:pt x="16509" y="21453"/>
                      <a:pt x="16522" y="21451"/>
                      <a:pt x="16534" y="21447"/>
                    </a:cubicBezTo>
                    <a:cubicBezTo>
                      <a:pt x="16547" y="21442"/>
                      <a:pt x="16571" y="21400"/>
                      <a:pt x="16584" y="21413"/>
                    </a:cubicBezTo>
                    <a:cubicBezTo>
                      <a:pt x="16592" y="21423"/>
                      <a:pt x="16590" y="21462"/>
                      <a:pt x="16590" y="21477"/>
                    </a:cubicBezTo>
                    <a:cubicBezTo>
                      <a:pt x="16590" y="21497"/>
                      <a:pt x="16587" y="21505"/>
                      <a:pt x="16580" y="21520"/>
                    </a:cubicBezTo>
                    <a:cubicBezTo>
                      <a:pt x="16575" y="21531"/>
                      <a:pt x="16553" y="21574"/>
                      <a:pt x="16568" y="21588"/>
                    </a:cubicBezTo>
                    <a:cubicBezTo>
                      <a:pt x="16575" y="21594"/>
                      <a:pt x="16582" y="21579"/>
                      <a:pt x="16584" y="21570"/>
                    </a:cubicBezTo>
                    <a:cubicBezTo>
                      <a:pt x="16588" y="21559"/>
                      <a:pt x="16587" y="21555"/>
                      <a:pt x="16592" y="21546"/>
                    </a:cubicBezTo>
                    <a:cubicBezTo>
                      <a:pt x="16594" y="21542"/>
                      <a:pt x="16598" y="21539"/>
                      <a:pt x="16600" y="21536"/>
                    </a:cubicBezTo>
                    <a:cubicBezTo>
                      <a:pt x="16607" y="21523"/>
                      <a:pt x="16610" y="21505"/>
                      <a:pt x="16611" y="21488"/>
                    </a:cubicBezTo>
                    <a:cubicBezTo>
                      <a:pt x="16612" y="21477"/>
                      <a:pt x="16614" y="21464"/>
                      <a:pt x="16613" y="21453"/>
                    </a:cubicBezTo>
                    <a:cubicBezTo>
                      <a:pt x="16611" y="21441"/>
                      <a:pt x="16604" y="21429"/>
                      <a:pt x="16607" y="21415"/>
                    </a:cubicBezTo>
                    <a:cubicBezTo>
                      <a:pt x="16616" y="21380"/>
                      <a:pt x="16633" y="21376"/>
                      <a:pt x="16625" y="21335"/>
                    </a:cubicBezTo>
                    <a:cubicBezTo>
                      <a:pt x="16619" y="21302"/>
                      <a:pt x="16604" y="21261"/>
                      <a:pt x="16606" y="21226"/>
                    </a:cubicBezTo>
                    <a:cubicBezTo>
                      <a:pt x="16607" y="21207"/>
                      <a:pt x="16613" y="21200"/>
                      <a:pt x="16618" y="21185"/>
                    </a:cubicBezTo>
                    <a:cubicBezTo>
                      <a:pt x="16623" y="21170"/>
                      <a:pt x="16619" y="21151"/>
                      <a:pt x="16620" y="21134"/>
                    </a:cubicBezTo>
                    <a:cubicBezTo>
                      <a:pt x="16623" y="21093"/>
                      <a:pt x="16626" y="21066"/>
                      <a:pt x="16643" y="21034"/>
                    </a:cubicBezTo>
                    <a:cubicBezTo>
                      <a:pt x="16649" y="21021"/>
                      <a:pt x="16654" y="21008"/>
                      <a:pt x="16662" y="21017"/>
                    </a:cubicBezTo>
                    <a:cubicBezTo>
                      <a:pt x="16666" y="21021"/>
                      <a:pt x="16664" y="21029"/>
                      <a:pt x="16671" y="21030"/>
                    </a:cubicBezTo>
                    <a:cubicBezTo>
                      <a:pt x="16681" y="21030"/>
                      <a:pt x="16675" y="21012"/>
                      <a:pt x="16674" y="21002"/>
                    </a:cubicBezTo>
                    <a:cubicBezTo>
                      <a:pt x="16672" y="20986"/>
                      <a:pt x="16674" y="20969"/>
                      <a:pt x="16676" y="20953"/>
                    </a:cubicBezTo>
                    <a:cubicBezTo>
                      <a:pt x="16678" y="20933"/>
                      <a:pt x="16674" y="20901"/>
                      <a:pt x="16683" y="20885"/>
                    </a:cubicBezTo>
                    <a:cubicBezTo>
                      <a:pt x="16686" y="20880"/>
                      <a:pt x="16690" y="20880"/>
                      <a:pt x="16692" y="20871"/>
                    </a:cubicBezTo>
                    <a:cubicBezTo>
                      <a:pt x="16693" y="20863"/>
                      <a:pt x="16691" y="20849"/>
                      <a:pt x="16691" y="20840"/>
                    </a:cubicBezTo>
                    <a:cubicBezTo>
                      <a:pt x="16691" y="20815"/>
                      <a:pt x="16691" y="20790"/>
                      <a:pt x="16693" y="20765"/>
                    </a:cubicBezTo>
                    <a:cubicBezTo>
                      <a:pt x="16693" y="20752"/>
                      <a:pt x="16693" y="20736"/>
                      <a:pt x="16695" y="20724"/>
                    </a:cubicBezTo>
                    <a:cubicBezTo>
                      <a:pt x="16697" y="20712"/>
                      <a:pt x="16703" y="20716"/>
                      <a:pt x="16705" y="20706"/>
                    </a:cubicBezTo>
                    <a:cubicBezTo>
                      <a:pt x="16708" y="20695"/>
                      <a:pt x="16705" y="20679"/>
                      <a:pt x="16704" y="20668"/>
                    </a:cubicBezTo>
                    <a:cubicBezTo>
                      <a:pt x="16702" y="20651"/>
                      <a:pt x="16701" y="20633"/>
                      <a:pt x="16700" y="20615"/>
                    </a:cubicBezTo>
                    <a:cubicBezTo>
                      <a:pt x="16698" y="20599"/>
                      <a:pt x="16698" y="20582"/>
                      <a:pt x="16698" y="20566"/>
                    </a:cubicBezTo>
                    <a:cubicBezTo>
                      <a:pt x="16698" y="20550"/>
                      <a:pt x="16703" y="20538"/>
                      <a:pt x="16709" y="20525"/>
                    </a:cubicBezTo>
                    <a:cubicBezTo>
                      <a:pt x="16712" y="20518"/>
                      <a:pt x="16716" y="20511"/>
                      <a:pt x="16716" y="20502"/>
                    </a:cubicBezTo>
                    <a:cubicBezTo>
                      <a:pt x="16716" y="20441"/>
                      <a:pt x="16716" y="20380"/>
                      <a:pt x="16717" y="20319"/>
                    </a:cubicBezTo>
                    <a:cubicBezTo>
                      <a:pt x="16717" y="20272"/>
                      <a:pt x="16717" y="20224"/>
                      <a:pt x="16717" y="20177"/>
                    </a:cubicBezTo>
                    <a:cubicBezTo>
                      <a:pt x="16717" y="20145"/>
                      <a:pt x="16720" y="20110"/>
                      <a:pt x="16717" y="20078"/>
                    </a:cubicBezTo>
                    <a:cubicBezTo>
                      <a:pt x="16716" y="20066"/>
                      <a:pt x="16712" y="20061"/>
                      <a:pt x="16714" y="20048"/>
                    </a:cubicBezTo>
                    <a:cubicBezTo>
                      <a:pt x="16717" y="20035"/>
                      <a:pt x="16723" y="20023"/>
                      <a:pt x="16724" y="20010"/>
                    </a:cubicBezTo>
                    <a:cubicBezTo>
                      <a:pt x="16725" y="20001"/>
                      <a:pt x="16726" y="19987"/>
                      <a:pt x="16723" y="19979"/>
                    </a:cubicBezTo>
                    <a:cubicBezTo>
                      <a:pt x="16720" y="19968"/>
                      <a:pt x="16709" y="19966"/>
                      <a:pt x="16705" y="19955"/>
                    </a:cubicBezTo>
                    <a:cubicBezTo>
                      <a:pt x="16697" y="19937"/>
                      <a:pt x="16692" y="19919"/>
                      <a:pt x="16698" y="19898"/>
                    </a:cubicBezTo>
                    <a:cubicBezTo>
                      <a:pt x="16704" y="19874"/>
                      <a:pt x="16707" y="19843"/>
                      <a:pt x="16704" y="19817"/>
                    </a:cubicBezTo>
                    <a:cubicBezTo>
                      <a:pt x="16701" y="19793"/>
                      <a:pt x="16691" y="19782"/>
                      <a:pt x="16685" y="19762"/>
                    </a:cubicBezTo>
                    <a:cubicBezTo>
                      <a:pt x="16679" y="19745"/>
                      <a:pt x="16672" y="19727"/>
                      <a:pt x="16666" y="19710"/>
                    </a:cubicBezTo>
                    <a:cubicBezTo>
                      <a:pt x="16662" y="19699"/>
                      <a:pt x="16658" y="19695"/>
                      <a:pt x="16651" y="19692"/>
                    </a:cubicBezTo>
                    <a:cubicBezTo>
                      <a:pt x="16645" y="19689"/>
                      <a:pt x="16641" y="19688"/>
                      <a:pt x="16639" y="19677"/>
                    </a:cubicBezTo>
                    <a:cubicBezTo>
                      <a:pt x="16637" y="19665"/>
                      <a:pt x="16641" y="19663"/>
                      <a:pt x="16646" y="19657"/>
                    </a:cubicBezTo>
                    <a:cubicBezTo>
                      <a:pt x="16651" y="19650"/>
                      <a:pt x="16653" y="19641"/>
                      <a:pt x="16653" y="19630"/>
                    </a:cubicBezTo>
                    <a:cubicBezTo>
                      <a:pt x="16654" y="19608"/>
                      <a:pt x="16645" y="19591"/>
                      <a:pt x="16644" y="19570"/>
                    </a:cubicBezTo>
                    <a:cubicBezTo>
                      <a:pt x="16643" y="19562"/>
                      <a:pt x="16643" y="19552"/>
                      <a:pt x="16641" y="19544"/>
                    </a:cubicBezTo>
                    <a:cubicBezTo>
                      <a:pt x="16636" y="19507"/>
                      <a:pt x="16627" y="19469"/>
                      <a:pt x="16623" y="19432"/>
                    </a:cubicBezTo>
                    <a:cubicBezTo>
                      <a:pt x="16620" y="19406"/>
                      <a:pt x="16618" y="19382"/>
                      <a:pt x="16614" y="19355"/>
                    </a:cubicBezTo>
                    <a:cubicBezTo>
                      <a:pt x="16606" y="19304"/>
                      <a:pt x="16595" y="19255"/>
                      <a:pt x="16588" y="19204"/>
                    </a:cubicBezTo>
                    <a:cubicBezTo>
                      <a:pt x="16573" y="19103"/>
                      <a:pt x="16556" y="19010"/>
                      <a:pt x="16526" y="18917"/>
                    </a:cubicBezTo>
                    <a:cubicBezTo>
                      <a:pt x="16514" y="18879"/>
                      <a:pt x="16500" y="18835"/>
                      <a:pt x="16493" y="18793"/>
                    </a:cubicBezTo>
                    <a:cubicBezTo>
                      <a:pt x="16489" y="18768"/>
                      <a:pt x="16484" y="18744"/>
                      <a:pt x="16481" y="18719"/>
                    </a:cubicBezTo>
                    <a:cubicBezTo>
                      <a:pt x="16477" y="18693"/>
                      <a:pt x="16476" y="18669"/>
                      <a:pt x="16472" y="18643"/>
                    </a:cubicBezTo>
                    <a:cubicBezTo>
                      <a:pt x="16467" y="18614"/>
                      <a:pt x="16463" y="18584"/>
                      <a:pt x="16461" y="18554"/>
                    </a:cubicBezTo>
                    <a:cubicBezTo>
                      <a:pt x="16458" y="18506"/>
                      <a:pt x="16447" y="18460"/>
                      <a:pt x="16442" y="18412"/>
                    </a:cubicBezTo>
                    <a:cubicBezTo>
                      <a:pt x="16434" y="18328"/>
                      <a:pt x="16447" y="18250"/>
                      <a:pt x="16445" y="18168"/>
                    </a:cubicBezTo>
                    <a:cubicBezTo>
                      <a:pt x="16444" y="18132"/>
                      <a:pt x="16428" y="18106"/>
                      <a:pt x="16416" y="18078"/>
                    </a:cubicBezTo>
                    <a:cubicBezTo>
                      <a:pt x="16401" y="18045"/>
                      <a:pt x="16401" y="18011"/>
                      <a:pt x="16391" y="17974"/>
                    </a:cubicBezTo>
                    <a:cubicBezTo>
                      <a:pt x="16386" y="17954"/>
                      <a:pt x="16383" y="17934"/>
                      <a:pt x="16379" y="17913"/>
                    </a:cubicBezTo>
                    <a:cubicBezTo>
                      <a:pt x="16373" y="17874"/>
                      <a:pt x="16359" y="17836"/>
                      <a:pt x="16350" y="17798"/>
                    </a:cubicBezTo>
                    <a:cubicBezTo>
                      <a:pt x="16332" y="17724"/>
                      <a:pt x="16317" y="17649"/>
                      <a:pt x="16303" y="17572"/>
                    </a:cubicBezTo>
                    <a:cubicBezTo>
                      <a:pt x="16293" y="17516"/>
                      <a:pt x="16282" y="17461"/>
                      <a:pt x="16275" y="17404"/>
                    </a:cubicBezTo>
                    <a:cubicBezTo>
                      <a:pt x="16269" y="17350"/>
                      <a:pt x="16257" y="17302"/>
                      <a:pt x="16255" y="17246"/>
                    </a:cubicBezTo>
                    <a:cubicBezTo>
                      <a:pt x="16252" y="17184"/>
                      <a:pt x="16243" y="17124"/>
                      <a:pt x="16238" y="17063"/>
                    </a:cubicBezTo>
                    <a:cubicBezTo>
                      <a:pt x="16230" y="16983"/>
                      <a:pt x="16229" y="16895"/>
                      <a:pt x="16215" y="16818"/>
                    </a:cubicBezTo>
                    <a:cubicBezTo>
                      <a:pt x="16209" y="16784"/>
                      <a:pt x="16199" y="16755"/>
                      <a:pt x="16196" y="16720"/>
                    </a:cubicBezTo>
                    <a:cubicBezTo>
                      <a:pt x="16193" y="16683"/>
                      <a:pt x="16193" y="16647"/>
                      <a:pt x="16198" y="16611"/>
                    </a:cubicBezTo>
                    <a:cubicBezTo>
                      <a:pt x="16200" y="16596"/>
                      <a:pt x="16199" y="16581"/>
                      <a:pt x="16197" y="16567"/>
                    </a:cubicBezTo>
                    <a:cubicBezTo>
                      <a:pt x="16194" y="16547"/>
                      <a:pt x="16190" y="16527"/>
                      <a:pt x="16191" y="16505"/>
                    </a:cubicBezTo>
                    <a:cubicBezTo>
                      <a:pt x="16194" y="16463"/>
                      <a:pt x="16216" y="16443"/>
                      <a:pt x="16196" y="16400"/>
                    </a:cubicBezTo>
                    <a:cubicBezTo>
                      <a:pt x="16189" y="16383"/>
                      <a:pt x="16186" y="16381"/>
                      <a:pt x="16187" y="16358"/>
                    </a:cubicBezTo>
                    <a:cubicBezTo>
                      <a:pt x="16190" y="16319"/>
                      <a:pt x="16173" y="16308"/>
                      <a:pt x="16168" y="16273"/>
                    </a:cubicBezTo>
                    <a:cubicBezTo>
                      <a:pt x="16163" y="16239"/>
                      <a:pt x="16177" y="16203"/>
                      <a:pt x="16187" y="16175"/>
                    </a:cubicBezTo>
                    <a:cubicBezTo>
                      <a:pt x="16191" y="16161"/>
                      <a:pt x="16201" y="16137"/>
                      <a:pt x="16210" y="16132"/>
                    </a:cubicBezTo>
                    <a:cubicBezTo>
                      <a:pt x="16224" y="16125"/>
                      <a:pt x="16221" y="16142"/>
                      <a:pt x="16228" y="16156"/>
                    </a:cubicBezTo>
                    <a:cubicBezTo>
                      <a:pt x="16236" y="16175"/>
                      <a:pt x="16237" y="16166"/>
                      <a:pt x="16242" y="16147"/>
                    </a:cubicBezTo>
                    <a:cubicBezTo>
                      <a:pt x="16247" y="16129"/>
                      <a:pt x="16251" y="16118"/>
                      <a:pt x="16253" y="16098"/>
                    </a:cubicBezTo>
                    <a:cubicBezTo>
                      <a:pt x="16255" y="16072"/>
                      <a:pt x="16249" y="16071"/>
                      <a:pt x="16235" y="16059"/>
                    </a:cubicBezTo>
                    <a:cubicBezTo>
                      <a:pt x="16223" y="16049"/>
                      <a:pt x="16205" y="16043"/>
                      <a:pt x="16195" y="16027"/>
                    </a:cubicBezTo>
                    <a:cubicBezTo>
                      <a:pt x="16177" y="16001"/>
                      <a:pt x="16194" y="15980"/>
                      <a:pt x="16211" y="15979"/>
                    </a:cubicBezTo>
                    <a:cubicBezTo>
                      <a:pt x="16226" y="15977"/>
                      <a:pt x="16237" y="16003"/>
                      <a:pt x="16250" y="16000"/>
                    </a:cubicBezTo>
                    <a:cubicBezTo>
                      <a:pt x="16254" y="15974"/>
                      <a:pt x="16234" y="15949"/>
                      <a:pt x="16234" y="15923"/>
                    </a:cubicBezTo>
                    <a:cubicBezTo>
                      <a:pt x="16233" y="15878"/>
                      <a:pt x="16257" y="15925"/>
                      <a:pt x="16266" y="15927"/>
                    </a:cubicBezTo>
                    <a:cubicBezTo>
                      <a:pt x="16267" y="15899"/>
                      <a:pt x="16268" y="15882"/>
                      <a:pt x="16256" y="15862"/>
                    </a:cubicBezTo>
                    <a:cubicBezTo>
                      <a:pt x="16249" y="15849"/>
                      <a:pt x="16231" y="15821"/>
                      <a:pt x="16249" y="15808"/>
                    </a:cubicBezTo>
                    <a:cubicBezTo>
                      <a:pt x="16261" y="15800"/>
                      <a:pt x="16311" y="15832"/>
                      <a:pt x="16300" y="15794"/>
                    </a:cubicBezTo>
                    <a:cubicBezTo>
                      <a:pt x="16293" y="15773"/>
                      <a:pt x="16285" y="15765"/>
                      <a:pt x="16282" y="15738"/>
                    </a:cubicBezTo>
                    <a:cubicBezTo>
                      <a:pt x="16281" y="15717"/>
                      <a:pt x="16281" y="15695"/>
                      <a:pt x="16284" y="15674"/>
                    </a:cubicBezTo>
                    <a:cubicBezTo>
                      <a:pt x="16287" y="15655"/>
                      <a:pt x="16291" y="15637"/>
                      <a:pt x="16305" y="15640"/>
                    </a:cubicBezTo>
                    <a:cubicBezTo>
                      <a:pt x="16315" y="15644"/>
                      <a:pt x="16321" y="15665"/>
                      <a:pt x="16333" y="15649"/>
                    </a:cubicBezTo>
                    <a:cubicBezTo>
                      <a:pt x="16353" y="15622"/>
                      <a:pt x="16328" y="15577"/>
                      <a:pt x="16322" y="15553"/>
                    </a:cubicBezTo>
                    <a:cubicBezTo>
                      <a:pt x="16314" y="15516"/>
                      <a:pt x="16343" y="15481"/>
                      <a:pt x="16359" y="15514"/>
                    </a:cubicBezTo>
                    <a:cubicBezTo>
                      <a:pt x="16374" y="15543"/>
                      <a:pt x="16374" y="15533"/>
                      <a:pt x="16375" y="15497"/>
                    </a:cubicBezTo>
                    <a:cubicBezTo>
                      <a:pt x="16376" y="15473"/>
                      <a:pt x="16380" y="15449"/>
                      <a:pt x="16389" y="15430"/>
                    </a:cubicBezTo>
                    <a:cubicBezTo>
                      <a:pt x="16395" y="15418"/>
                      <a:pt x="16396" y="15423"/>
                      <a:pt x="16398" y="15408"/>
                    </a:cubicBezTo>
                    <a:cubicBezTo>
                      <a:pt x="16399" y="15398"/>
                      <a:pt x="16394" y="15383"/>
                      <a:pt x="16398" y="15375"/>
                    </a:cubicBezTo>
                    <a:cubicBezTo>
                      <a:pt x="16399" y="15373"/>
                      <a:pt x="16401" y="15372"/>
                      <a:pt x="16403" y="15371"/>
                    </a:cubicBezTo>
                    <a:cubicBezTo>
                      <a:pt x="16407" y="15370"/>
                      <a:pt x="16412" y="15370"/>
                      <a:pt x="16415" y="15367"/>
                    </a:cubicBezTo>
                    <a:cubicBezTo>
                      <a:pt x="16425" y="15357"/>
                      <a:pt x="16439" y="15309"/>
                      <a:pt x="16442" y="15291"/>
                    </a:cubicBezTo>
                    <a:cubicBezTo>
                      <a:pt x="16445" y="15271"/>
                      <a:pt x="16442" y="15245"/>
                      <a:pt x="16442" y="15224"/>
                    </a:cubicBezTo>
                    <a:cubicBezTo>
                      <a:pt x="16444" y="15177"/>
                      <a:pt x="16442" y="15129"/>
                      <a:pt x="16442" y="15082"/>
                    </a:cubicBezTo>
                    <a:cubicBezTo>
                      <a:pt x="16442" y="15067"/>
                      <a:pt x="16438" y="15033"/>
                      <a:pt x="16442" y="15020"/>
                    </a:cubicBezTo>
                    <a:cubicBezTo>
                      <a:pt x="16448" y="14997"/>
                      <a:pt x="16457" y="15016"/>
                      <a:pt x="16461" y="15033"/>
                    </a:cubicBezTo>
                    <a:cubicBezTo>
                      <a:pt x="16467" y="15058"/>
                      <a:pt x="16459" y="15122"/>
                      <a:pt x="16480" y="15131"/>
                    </a:cubicBezTo>
                    <a:cubicBezTo>
                      <a:pt x="16494" y="15058"/>
                      <a:pt x="16474" y="14952"/>
                      <a:pt x="16537" y="14941"/>
                    </a:cubicBezTo>
                    <a:cubicBezTo>
                      <a:pt x="16548" y="14939"/>
                      <a:pt x="16559" y="14938"/>
                      <a:pt x="16566" y="14953"/>
                    </a:cubicBezTo>
                    <a:cubicBezTo>
                      <a:pt x="16572" y="14966"/>
                      <a:pt x="16566" y="14990"/>
                      <a:pt x="16572" y="15001"/>
                    </a:cubicBezTo>
                    <a:cubicBezTo>
                      <a:pt x="16583" y="15025"/>
                      <a:pt x="16623" y="14983"/>
                      <a:pt x="16631" y="14969"/>
                    </a:cubicBezTo>
                    <a:cubicBezTo>
                      <a:pt x="16638" y="14959"/>
                      <a:pt x="16644" y="14952"/>
                      <a:pt x="16648" y="14939"/>
                    </a:cubicBezTo>
                    <a:cubicBezTo>
                      <a:pt x="16652" y="14926"/>
                      <a:pt x="16651" y="14907"/>
                      <a:pt x="16662" y="14905"/>
                    </a:cubicBezTo>
                    <a:cubicBezTo>
                      <a:pt x="16678" y="14902"/>
                      <a:pt x="16683" y="14938"/>
                      <a:pt x="16703" y="14922"/>
                    </a:cubicBezTo>
                    <a:cubicBezTo>
                      <a:pt x="16717" y="14911"/>
                      <a:pt x="16728" y="14884"/>
                      <a:pt x="16737" y="14864"/>
                    </a:cubicBezTo>
                    <a:cubicBezTo>
                      <a:pt x="16743" y="14850"/>
                      <a:pt x="16743" y="14848"/>
                      <a:pt x="16754" y="14847"/>
                    </a:cubicBezTo>
                    <a:cubicBezTo>
                      <a:pt x="16769" y="14846"/>
                      <a:pt x="16782" y="14842"/>
                      <a:pt x="16778" y="14807"/>
                    </a:cubicBezTo>
                    <a:cubicBezTo>
                      <a:pt x="16776" y="14789"/>
                      <a:pt x="16766" y="14780"/>
                      <a:pt x="16762" y="14766"/>
                    </a:cubicBezTo>
                    <a:cubicBezTo>
                      <a:pt x="16752" y="14733"/>
                      <a:pt x="16757" y="14688"/>
                      <a:pt x="16783" y="14690"/>
                    </a:cubicBezTo>
                    <a:cubicBezTo>
                      <a:pt x="16800" y="14691"/>
                      <a:pt x="16794" y="14702"/>
                      <a:pt x="16791" y="14720"/>
                    </a:cubicBezTo>
                    <a:cubicBezTo>
                      <a:pt x="16786" y="14746"/>
                      <a:pt x="16793" y="14744"/>
                      <a:pt x="16807" y="14745"/>
                    </a:cubicBezTo>
                    <a:cubicBezTo>
                      <a:pt x="16817" y="14746"/>
                      <a:pt x="16829" y="14749"/>
                      <a:pt x="16836" y="14737"/>
                    </a:cubicBezTo>
                    <a:cubicBezTo>
                      <a:pt x="16843" y="14725"/>
                      <a:pt x="16845" y="14706"/>
                      <a:pt x="16850" y="14693"/>
                    </a:cubicBezTo>
                    <a:cubicBezTo>
                      <a:pt x="16863" y="14659"/>
                      <a:pt x="16875" y="14629"/>
                      <a:pt x="16886" y="14594"/>
                    </a:cubicBezTo>
                    <a:cubicBezTo>
                      <a:pt x="16897" y="14560"/>
                      <a:pt x="16895" y="14513"/>
                      <a:pt x="16923" y="14511"/>
                    </a:cubicBezTo>
                    <a:cubicBezTo>
                      <a:pt x="16939" y="14510"/>
                      <a:pt x="16940" y="14510"/>
                      <a:pt x="16947" y="14530"/>
                    </a:cubicBezTo>
                    <a:cubicBezTo>
                      <a:pt x="16953" y="14547"/>
                      <a:pt x="16960" y="14552"/>
                      <a:pt x="16968" y="14535"/>
                    </a:cubicBezTo>
                    <a:cubicBezTo>
                      <a:pt x="16976" y="14519"/>
                      <a:pt x="16979" y="14492"/>
                      <a:pt x="16985" y="14475"/>
                    </a:cubicBezTo>
                    <a:cubicBezTo>
                      <a:pt x="16991" y="14458"/>
                      <a:pt x="16996" y="14442"/>
                      <a:pt x="17002" y="14427"/>
                    </a:cubicBezTo>
                    <a:cubicBezTo>
                      <a:pt x="17014" y="14400"/>
                      <a:pt x="17044" y="14395"/>
                      <a:pt x="17030" y="14354"/>
                    </a:cubicBezTo>
                    <a:cubicBezTo>
                      <a:pt x="17021" y="14327"/>
                      <a:pt x="16999" y="14304"/>
                      <a:pt x="17002" y="14271"/>
                    </a:cubicBezTo>
                    <a:cubicBezTo>
                      <a:pt x="17005" y="14246"/>
                      <a:pt x="17018" y="14225"/>
                      <a:pt x="17026" y="14204"/>
                    </a:cubicBezTo>
                    <a:cubicBezTo>
                      <a:pt x="17033" y="14182"/>
                      <a:pt x="17040" y="14144"/>
                      <a:pt x="17058" y="14143"/>
                    </a:cubicBezTo>
                    <a:cubicBezTo>
                      <a:pt x="17062" y="14172"/>
                      <a:pt x="17041" y="14203"/>
                      <a:pt x="17033" y="14226"/>
                    </a:cubicBezTo>
                    <a:cubicBezTo>
                      <a:pt x="17030" y="14235"/>
                      <a:pt x="17017" y="14259"/>
                      <a:pt x="17019" y="14270"/>
                    </a:cubicBezTo>
                    <a:cubicBezTo>
                      <a:pt x="17021" y="14278"/>
                      <a:pt x="17039" y="14283"/>
                      <a:pt x="17044" y="14281"/>
                    </a:cubicBezTo>
                    <a:cubicBezTo>
                      <a:pt x="17063" y="14274"/>
                      <a:pt x="17059" y="14222"/>
                      <a:pt x="17063" y="14196"/>
                    </a:cubicBezTo>
                    <a:cubicBezTo>
                      <a:pt x="17071" y="14140"/>
                      <a:pt x="17093" y="14095"/>
                      <a:pt x="17115" y="14054"/>
                    </a:cubicBezTo>
                    <a:cubicBezTo>
                      <a:pt x="17125" y="14034"/>
                      <a:pt x="17133" y="14017"/>
                      <a:pt x="17139" y="13993"/>
                    </a:cubicBezTo>
                    <a:cubicBezTo>
                      <a:pt x="17148" y="13956"/>
                      <a:pt x="17162" y="13914"/>
                      <a:pt x="17180" y="13885"/>
                    </a:cubicBezTo>
                    <a:cubicBezTo>
                      <a:pt x="17199" y="13854"/>
                      <a:pt x="17226" y="13834"/>
                      <a:pt x="17249" y="13812"/>
                    </a:cubicBezTo>
                    <a:cubicBezTo>
                      <a:pt x="17259" y="13802"/>
                      <a:pt x="17276" y="13779"/>
                      <a:pt x="17291" y="13768"/>
                    </a:cubicBezTo>
                    <a:cubicBezTo>
                      <a:pt x="17298" y="13763"/>
                      <a:pt x="17304" y="13760"/>
                      <a:pt x="17309" y="13761"/>
                    </a:cubicBezTo>
                    <a:cubicBezTo>
                      <a:pt x="17311" y="13785"/>
                      <a:pt x="17323" y="13769"/>
                      <a:pt x="17328" y="13761"/>
                    </a:cubicBezTo>
                    <a:cubicBezTo>
                      <a:pt x="17338" y="13746"/>
                      <a:pt x="17339" y="13736"/>
                      <a:pt x="17352" y="13740"/>
                    </a:cubicBezTo>
                    <a:cubicBezTo>
                      <a:pt x="17374" y="13748"/>
                      <a:pt x="17382" y="13757"/>
                      <a:pt x="17404" y="13740"/>
                    </a:cubicBezTo>
                    <a:cubicBezTo>
                      <a:pt x="17417" y="13730"/>
                      <a:pt x="17446" y="13723"/>
                      <a:pt x="17459" y="13736"/>
                    </a:cubicBezTo>
                    <a:cubicBezTo>
                      <a:pt x="17473" y="13750"/>
                      <a:pt x="17477" y="13785"/>
                      <a:pt x="17492" y="13748"/>
                    </a:cubicBezTo>
                    <a:cubicBezTo>
                      <a:pt x="17504" y="13719"/>
                      <a:pt x="17511" y="13701"/>
                      <a:pt x="17511" y="13663"/>
                    </a:cubicBezTo>
                    <a:cubicBezTo>
                      <a:pt x="17511" y="13624"/>
                      <a:pt x="17504" y="13596"/>
                      <a:pt x="17501" y="13559"/>
                    </a:cubicBezTo>
                    <a:cubicBezTo>
                      <a:pt x="17500" y="13543"/>
                      <a:pt x="17502" y="13468"/>
                      <a:pt x="17521" y="13488"/>
                    </a:cubicBezTo>
                    <a:cubicBezTo>
                      <a:pt x="17534" y="13502"/>
                      <a:pt x="17523" y="13567"/>
                      <a:pt x="17524" y="13588"/>
                    </a:cubicBezTo>
                    <a:cubicBezTo>
                      <a:pt x="17538" y="13595"/>
                      <a:pt x="17545" y="13503"/>
                      <a:pt x="17551" y="13485"/>
                    </a:cubicBezTo>
                    <a:cubicBezTo>
                      <a:pt x="17567" y="13435"/>
                      <a:pt x="17592" y="13396"/>
                      <a:pt x="17614" y="13354"/>
                    </a:cubicBezTo>
                    <a:cubicBezTo>
                      <a:pt x="17633" y="13314"/>
                      <a:pt x="17639" y="13258"/>
                      <a:pt x="17670" y="13236"/>
                    </a:cubicBezTo>
                    <a:cubicBezTo>
                      <a:pt x="17685" y="13225"/>
                      <a:pt x="17729" y="13227"/>
                      <a:pt x="17712" y="13184"/>
                    </a:cubicBezTo>
                    <a:cubicBezTo>
                      <a:pt x="17708" y="13172"/>
                      <a:pt x="17699" y="13167"/>
                      <a:pt x="17695" y="13156"/>
                    </a:cubicBezTo>
                    <a:cubicBezTo>
                      <a:pt x="17691" y="13147"/>
                      <a:pt x="17687" y="13131"/>
                      <a:pt x="17690" y="13120"/>
                    </a:cubicBezTo>
                    <a:cubicBezTo>
                      <a:pt x="17697" y="13099"/>
                      <a:pt x="17720" y="13119"/>
                      <a:pt x="17718" y="13086"/>
                    </a:cubicBezTo>
                    <a:cubicBezTo>
                      <a:pt x="17717" y="13066"/>
                      <a:pt x="17702" y="13060"/>
                      <a:pt x="17699" y="13040"/>
                    </a:cubicBezTo>
                    <a:cubicBezTo>
                      <a:pt x="17697" y="13023"/>
                      <a:pt x="17702" y="12999"/>
                      <a:pt x="17710" y="12987"/>
                    </a:cubicBezTo>
                    <a:cubicBezTo>
                      <a:pt x="17719" y="12973"/>
                      <a:pt x="17724" y="12991"/>
                      <a:pt x="17727" y="13004"/>
                    </a:cubicBezTo>
                    <a:cubicBezTo>
                      <a:pt x="17730" y="13020"/>
                      <a:pt x="17733" y="13039"/>
                      <a:pt x="17738" y="13054"/>
                    </a:cubicBezTo>
                    <a:cubicBezTo>
                      <a:pt x="17742" y="13062"/>
                      <a:pt x="17747" y="13067"/>
                      <a:pt x="17750" y="13076"/>
                    </a:cubicBezTo>
                    <a:cubicBezTo>
                      <a:pt x="17756" y="13095"/>
                      <a:pt x="17743" y="13103"/>
                      <a:pt x="17738" y="13117"/>
                    </a:cubicBezTo>
                    <a:cubicBezTo>
                      <a:pt x="17735" y="13126"/>
                      <a:pt x="17729" y="13152"/>
                      <a:pt x="17738" y="13158"/>
                    </a:cubicBezTo>
                    <a:cubicBezTo>
                      <a:pt x="17744" y="13162"/>
                      <a:pt x="17752" y="13152"/>
                      <a:pt x="17757" y="13149"/>
                    </a:cubicBezTo>
                    <a:cubicBezTo>
                      <a:pt x="17766" y="13143"/>
                      <a:pt x="17770" y="13135"/>
                      <a:pt x="17775" y="13123"/>
                    </a:cubicBezTo>
                    <a:cubicBezTo>
                      <a:pt x="17779" y="13112"/>
                      <a:pt x="17783" y="13106"/>
                      <a:pt x="17790" y="13098"/>
                    </a:cubicBezTo>
                    <a:cubicBezTo>
                      <a:pt x="17797" y="13090"/>
                      <a:pt x="17803" y="13084"/>
                      <a:pt x="17806" y="13071"/>
                    </a:cubicBezTo>
                    <a:cubicBezTo>
                      <a:pt x="17809" y="13055"/>
                      <a:pt x="17814" y="13040"/>
                      <a:pt x="17817" y="13023"/>
                    </a:cubicBezTo>
                    <a:cubicBezTo>
                      <a:pt x="17818" y="13008"/>
                      <a:pt x="17820" y="12991"/>
                      <a:pt x="17825" y="12979"/>
                    </a:cubicBezTo>
                    <a:cubicBezTo>
                      <a:pt x="17831" y="12965"/>
                      <a:pt x="17838" y="12973"/>
                      <a:pt x="17840" y="12988"/>
                    </a:cubicBezTo>
                    <a:cubicBezTo>
                      <a:pt x="17841" y="13003"/>
                      <a:pt x="17837" y="13026"/>
                      <a:pt x="17841" y="13040"/>
                    </a:cubicBezTo>
                    <a:cubicBezTo>
                      <a:pt x="17844" y="13048"/>
                      <a:pt x="17847" y="13047"/>
                      <a:pt x="17851" y="13043"/>
                    </a:cubicBezTo>
                    <a:cubicBezTo>
                      <a:pt x="17860" y="13036"/>
                      <a:pt x="17870" y="13033"/>
                      <a:pt x="17879" y="13027"/>
                    </a:cubicBezTo>
                    <a:cubicBezTo>
                      <a:pt x="17888" y="13021"/>
                      <a:pt x="17896" y="13019"/>
                      <a:pt x="17904" y="13013"/>
                    </a:cubicBezTo>
                    <a:cubicBezTo>
                      <a:pt x="17920" y="13001"/>
                      <a:pt x="17938" y="13005"/>
                      <a:pt x="17953" y="12994"/>
                    </a:cubicBezTo>
                    <a:cubicBezTo>
                      <a:pt x="17960" y="12990"/>
                      <a:pt x="17970" y="12982"/>
                      <a:pt x="17975" y="12974"/>
                    </a:cubicBezTo>
                    <a:cubicBezTo>
                      <a:pt x="17981" y="12966"/>
                      <a:pt x="17982" y="12948"/>
                      <a:pt x="17989" y="12943"/>
                    </a:cubicBezTo>
                    <a:cubicBezTo>
                      <a:pt x="17999" y="12937"/>
                      <a:pt x="18001" y="12956"/>
                      <a:pt x="18007" y="12962"/>
                    </a:cubicBezTo>
                    <a:cubicBezTo>
                      <a:pt x="18015" y="12970"/>
                      <a:pt x="18022" y="12968"/>
                      <a:pt x="18028" y="12980"/>
                    </a:cubicBezTo>
                    <a:cubicBezTo>
                      <a:pt x="18032" y="12987"/>
                      <a:pt x="18038" y="13013"/>
                      <a:pt x="18043" y="13014"/>
                    </a:cubicBezTo>
                    <a:cubicBezTo>
                      <a:pt x="18052" y="13015"/>
                      <a:pt x="18049" y="12992"/>
                      <a:pt x="18051" y="12984"/>
                    </a:cubicBezTo>
                    <a:cubicBezTo>
                      <a:pt x="18055" y="12968"/>
                      <a:pt x="18065" y="12958"/>
                      <a:pt x="18071" y="12946"/>
                    </a:cubicBezTo>
                    <a:cubicBezTo>
                      <a:pt x="18076" y="12935"/>
                      <a:pt x="18082" y="12923"/>
                      <a:pt x="18088" y="12910"/>
                    </a:cubicBezTo>
                    <a:cubicBezTo>
                      <a:pt x="18097" y="12890"/>
                      <a:pt x="18114" y="12870"/>
                      <a:pt x="18121" y="12847"/>
                    </a:cubicBezTo>
                    <a:cubicBezTo>
                      <a:pt x="18123" y="12838"/>
                      <a:pt x="18125" y="12817"/>
                      <a:pt x="18126" y="12806"/>
                    </a:cubicBezTo>
                    <a:cubicBezTo>
                      <a:pt x="18128" y="12788"/>
                      <a:pt x="18124" y="12787"/>
                      <a:pt x="18114" y="12787"/>
                    </a:cubicBezTo>
                    <a:cubicBezTo>
                      <a:pt x="18105" y="12787"/>
                      <a:pt x="18097" y="12789"/>
                      <a:pt x="18088" y="12789"/>
                    </a:cubicBezTo>
                    <a:cubicBezTo>
                      <a:pt x="18078" y="12788"/>
                      <a:pt x="18072" y="12778"/>
                      <a:pt x="18063" y="12774"/>
                    </a:cubicBezTo>
                    <a:cubicBezTo>
                      <a:pt x="18041" y="12765"/>
                      <a:pt x="18032" y="12803"/>
                      <a:pt x="18018" y="12820"/>
                    </a:cubicBezTo>
                    <a:cubicBezTo>
                      <a:pt x="18009" y="12832"/>
                      <a:pt x="18005" y="12824"/>
                      <a:pt x="17996" y="12822"/>
                    </a:cubicBezTo>
                    <a:cubicBezTo>
                      <a:pt x="17988" y="12820"/>
                      <a:pt x="17982" y="12829"/>
                      <a:pt x="17976" y="12836"/>
                    </a:cubicBezTo>
                    <a:cubicBezTo>
                      <a:pt x="17969" y="12845"/>
                      <a:pt x="17967" y="12850"/>
                      <a:pt x="17957" y="12851"/>
                    </a:cubicBezTo>
                    <a:cubicBezTo>
                      <a:pt x="17944" y="12852"/>
                      <a:pt x="17945" y="12842"/>
                      <a:pt x="17936" y="12832"/>
                    </a:cubicBezTo>
                    <a:cubicBezTo>
                      <a:pt x="17930" y="12823"/>
                      <a:pt x="17919" y="12826"/>
                      <a:pt x="17912" y="12820"/>
                    </a:cubicBezTo>
                    <a:cubicBezTo>
                      <a:pt x="17903" y="12814"/>
                      <a:pt x="17896" y="12805"/>
                      <a:pt x="17889" y="12795"/>
                    </a:cubicBezTo>
                    <a:cubicBezTo>
                      <a:pt x="17884" y="12787"/>
                      <a:pt x="17875" y="12778"/>
                      <a:pt x="17872" y="12768"/>
                    </a:cubicBezTo>
                    <a:cubicBezTo>
                      <a:pt x="17868" y="12754"/>
                      <a:pt x="17875" y="12743"/>
                      <a:pt x="17872" y="12730"/>
                    </a:cubicBezTo>
                    <a:cubicBezTo>
                      <a:pt x="17866" y="12706"/>
                      <a:pt x="17852" y="12692"/>
                      <a:pt x="17848" y="12667"/>
                    </a:cubicBezTo>
                    <a:cubicBezTo>
                      <a:pt x="17845" y="12655"/>
                      <a:pt x="17843" y="12635"/>
                      <a:pt x="17855" y="12640"/>
                    </a:cubicBezTo>
                    <a:cubicBezTo>
                      <a:pt x="17862" y="12643"/>
                      <a:pt x="17868" y="12662"/>
                      <a:pt x="17871" y="12672"/>
                    </a:cubicBezTo>
                    <a:cubicBezTo>
                      <a:pt x="17875" y="12683"/>
                      <a:pt x="17878" y="12694"/>
                      <a:pt x="17881" y="12706"/>
                    </a:cubicBezTo>
                    <a:cubicBezTo>
                      <a:pt x="17886" y="12722"/>
                      <a:pt x="17888" y="12720"/>
                      <a:pt x="17897" y="12726"/>
                    </a:cubicBezTo>
                    <a:cubicBezTo>
                      <a:pt x="17912" y="12735"/>
                      <a:pt x="17922" y="12757"/>
                      <a:pt x="17934" y="12768"/>
                    </a:cubicBezTo>
                    <a:cubicBezTo>
                      <a:pt x="17949" y="12782"/>
                      <a:pt x="17962" y="12771"/>
                      <a:pt x="17977" y="12759"/>
                    </a:cubicBezTo>
                    <a:cubicBezTo>
                      <a:pt x="17984" y="12753"/>
                      <a:pt x="17991" y="12745"/>
                      <a:pt x="17997" y="12737"/>
                    </a:cubicBezTo>
                    <a:cubicBezTo>
                      <a:pt x="18002" y="12730"/>
                      <a:pt x="18009" y="12724"/>
                      <a:pt x="18014" y="12716"/>
                    </a:cubicBezTo>
                    <a:cubicBezTo>
                      <a:pt x="18023" y="12699"/>
                      <a:pt x="18020" y="12670"/>
                      <a:pt x="18011" y="12656"/>
                    </a:cubicBezTo>
                    <a:cubicBezTo>
                      <a:pt x="18000" y="12639"/>
                      <a:pt x="17994" y="12624"/>
                      <a:pt x="18007" y="12603"/>
                    </a:cubicBezTo>
                    <a:cubicBezTo>
                      <a:pt x="18016" y="12588"/>
                      <a:pt x="18025" y="12564"/>
                      <a:pt x="18036" y="12555"/>
                    </a:cubicBezTo>
                    <a:cubicBezTo>
                      <a:pt x="18041" y="12551"/>
                      <a:pt x="18051" y="12552"/>
                      <a:pt x="18054" y="12544"/>
                    </a:cubicBezTo>
                    <a:cubicBezTo>
                      <a:pt x="18058" y="12536"/>
                      <a:pt x="18057" y="12518"/>
                      <a:pt x="18052" y="12512"/>
                    </a:cubicBezTo>
                    <a:cubicBezTo>
                      <a:pt x="18045" y="12505"/>
                      <a:pt x="18036" y="12503"/>
                      <a:pt x="18029" y="12495"/>
                    </a:cubicBezTo>
                    <a:cubicBezTo>
                      <a:pt x="18015" y="12480"/>
                      <a:pt x="17998" y="12468"/>
                      <a:pt x="17982" y="12462"/>
                    </a:cubicBezTo>
                    <a:cubicBezTo>
                      <a:pt x="17968" y="12456"/>
                      <a:pt x="17950" y="12444"/>
                      <a:pt x="17937" y="12433"/>
                    </a:cubicBezTo>
                    <a:cubicBezTo>
                      <a:pt x="17929" y="12426"/>
                      <a:pt x="17922" y="12416"/>
                      <a:pt x="17915" y="12406"/>
                    </a:cubicBezTo>
                    <a:cubicBezTo>
                      <a:pt x="17906" y="12396"/>
                      <a:pt x="17900" y="12393"/>
                      <a:pt x="17891" y="12387"/>
                    </a:cubicBezTo>
                    <a:cubicBezTo>
                      <a:pt x="17875" y="12379"/>
                      <a:pt x="17864" y="12359"/>
                      <a:pt x="17858" y="12333"/>
                    </a:cubicBezTo>
                    <a:cubicBezTo>
                      <a:pt x="17855" y="12323"/>
                      <a:pt x="17848" y="12294"/>
                      <a:pt x="17859" y="12300"/>
                    </a:cubicBezTo>
                    <a:cubicBezTo>
                      <a:pt x="17866" y="12303"/>
                      <a:pt x="17873" y="12324"/>
                      <a:pt x="17878" y="12331"/>
                    </a:cubicBezTo>
                    <a:cubicBezTo>
                      <a:pt x="17883" y="12339"/>
                      <a:pt x="17889" y="12352"/>
                      <a:pt x="17896" y="12355"/>
                    </a:cubicBezTo>
                    <a:cubicBezTo>
                      <a:pt x="17903" y="12359"/>
                      <a:pt x="17914" y="12355"/>
                      <a:pt x="17922" y="12357"/>
                    </a:cubicBezTo>
                    <a:cubicBezTo>
                      <a:pt x="17930" y="12359"/>
                      <a:pt x="17940" y="12361"/>
                      <a:pt x="17945" y="12372"/>
                    </a:cubicBezTo>
                    <a:cubicBezTo>
                      <a:pt x="17952" y="12385"/>
                      <a:pt x="17949" y="12389"/>
                      <a:pt x="17961" y="12391"/>
                    </a:cubicBezTo>
                    <a:cubicBezTo>
                      <a:pt x="17972" y="12392"/>
                      <a:pt x="17975" y="12384"/>
                      <a:pt x="17984" y="12378"/>
                    </a:cubicBezTo>
                    <a:cubicBezTo>
                      <a:pt x="17990" y="12374"/>
                      <a:pt x="18002" y="12382"/>
                      <a:pt x="18008" y="12372"/>
                    </a:cubicBezTo>
                    <a:cubicBezTo>
                      <a:pt x="18018" y="12352"/>
                      <a:pt x="17997" y="12316"/>
                      <a:pt x="18009" y="12296"/>
                    </a:cubicBezTo>
                    <a:cubicBezTo>
                      <a:pt x="18014" y="12287"/>
                      <a:pt x="18025" y="12291"/>
                      <a:pt x="18032" y="12289"/>
                    </a:cubicBezTo>
                    <a:cubicBezTo>
                      <a:pt x="18040" y="12286"/>
                      <a:pt x="18048" y="12279"/>
                      <a:pt x="18056" y="12277"/>
                    </a:cubicBezTo>
                    <a:cubicBezTo>
                      <a:pt x="18066" y="12275"/>
                      <a:pt x="18073" y="12280"/>
                      <a:pt x="18074" y="12298"/>
                    </a:cubicBezTo>
                    <a:cubicBezTo>
                      <a:pt x="18074" y="12318"/>
                      <a:pt x="18066" y="12320"/>
                      <a:pt x="18057" y="12326"/>
                    </a:cubicBezTo>
                    <a:cubicBezTo>
                      <a:pt x="18050" y="12332"/>
                      <a:pt x="18042" y="12339"/>
                      <a:pt x="18048" y="12354"/>
                    </a:cubicBezTo>
                    <a:cubicBezTo>
                      <a:pt x="18050" y="12359"/>
                      <a:pt x="18055" y="12363"/>
                      <a:pt x="18058" y="12369"/>
                    </a:cubicBezTo>
                    <a:cubicBezTo>
                      <a:pt x="18060" y="12373"/>
                      <a:pt x="18062" y="12381"/>
                      <a:pt x="18065" y="12386"/>
                    </a:cubicBezTo>
                    <a:cubicBezTo>
                      <a:pt x="18074" y="12401"/>
                      <a:pt x="18077" y="12388"/>
                      <a:pt x="18078" y="12373"/>
                    </a:cubicBezTo>
                    <a:cubicBezTo>
                      <a:pt x="18078" y="12360"/>
                      <a:pt x="18079" y="12352"/>
                      <a:pt x="18088" y="12351"/>
                    </a:cubicBezTo>
                    <a:cubicBezTo>
                      <a:pt x="18110" y="12347"/>
                      <a:pt x="18098" y="12399"/>
                      <a:pt x="18111" y="12415"/>
                    </a:cubicBezTo>
                    <a:cubicBezTo>
                      <a:pt x="18125" y="12430"/>
                      <a:pt x="18147" y="12437"/>
                      <a:pt x="18163" y="12445"/>
                    </a:cubicBezTo>
                    <a:cubicBezTo>
                      <a:pt x="18171" y="12449"/>
                      <a:pt x="18186" y="12458"/>
                      <a:pt x="18194" y="12453"/>
                    </a:cubicBezTo>
                    <a:cubicBezTo>
                      <a:pt x="18202" y="12447"/>
                      <a:pt x="18205" y="12428"/>
                      <a:pt x="18209" y="12417"/>
                    </a:cubicBezTo>
                    <a:cubicBezTo>
                      <a:pt x="18215" y="12402"/>
                      <a:pt x="18221" y="12385"/>
                      <a:pt x="18228" y="12371"/>
                    </a:cubicBezTo>
                    <a:cubicBezTo>
                      <a:pt x="18234" y="12359"/>
                      <a:pt x="18240" y="12347"/>
                      <a:pt x="18246" y="12335"/>
                    </a:cubicBezTo>
                    <a:cubicBezTo>
                      <a:pt x="18258" y="12311"/>
                      <a:pt x="18262" y="12283"/>
                      <a:pt x="18269" y="12255"/>
                    </a:cubicBezTo>
                    <a:cubicBezTo>
                      <a:pt x="18272" y="12244"/>
                      <a:pt x="18275" y="12228"/>
                      <a:pt x="18278" y="12217"/>
                    </a:cubicBezTo>
                    <a:cubicBezTo>
                      <a:pt x="18285" y="12194"/>
                      <a:pt x="18286" y="12211"/>
                      <a:pt x="18290" y="12226"/>
                    </a:cubicBezTo>
                    <a:cubicBezTo>
                      <a:pt x="18297" y="12253"/>
                      <a:pt x="18309" y="12262"/>
                      <a:pt x="18322" y="12239"/>
                    </a:cubicBezTo>
                    <a:cubicBezTo>
                      <a:pt x="18329" y="12227"/>
                      <a:pt x="18334" y="12205"/>
                      <a:pt x="18331" y="12188"/>
                    </a:cubicBezTo>
                    <a:cubicBezTo>
                      <a:pt x="18327" y="12166"/>
                      <a:pt x="18315" y="12151"/>
                      <a:pt x="18331" y="12135"/>
                    </a:cubicBezTo>
                    <a:cubicBezTo>
                      <a:pt x="18344" y="12123"/>
                      <a:pt x="18346" y="12116"/>
                      <a:pt x="18337" y="12094"/>
                    </a:cubicBezTo>
                    <a:cubicBezTo>
                      <a:pt x="18330" y="12076"/>
                      <a:pt x="18334" y="12065"/>
                      <a:pt x="18335" y="12047"/>
                    </a:cubicBezTo>
                    <a:cubicBezTo>
                      <a:pt x="18337" y="12029"/>
                      <a:pt x="18332" y="12020"/>
                      <a:pt x="18326" y="12007"/>
                    </a:cubicBezTo>
                    <a:cubicBezTo>
                      <a:pt x="18320" y="11995"/>
                      <a:pt x="18322" y="11972"/>
                      <a:pt x="18315" y="11963"/>
                    </a:cubicBezTo>
                    <a:cubicBezTo>
                      <a:pt x="18308" y="11953"/>
                      <a:pt x="18297" y="11961"/>
                      <a:pt x="18292" y="11971"/>
                    </a:cubicBezTo>
                    <a:cubicBezTo>
                      <a:pt x="18286" y="11984"/>
                      <a:pt x="18283" y="11992"/>
                      <a:pt x="18271" y="11988"/>
                    </a:cubicBezTo>
                    <a:cubicBezTo>
                      <a:pt x="18263" y="11986"/>
                      <a:pt x="18259" y="11980"/>
                      <a:pt x="18256" y="11999"/>
                    </a:cubicBezTo>
                    <a:cubicBezTo>
                      <a:pt x="18254" y="12014"/>
                      <a:pt x="18254" y="12029"/>
                      <a:pt x="18253" y="12044"/>
                    </a:cubicBezTo>
                    <a:cubicBezTo>
                      <a:pt x="18252" y="12072"/>
                      <a:pt x="18254" y="12102"/>
                      <a:pt x="18252" y="12130"/>
                    </a:cubicBezTo>
                    <a:cubicBezTo>
                      <a:pt x="18251" y="12148"/>
                      <a:pt x="18245" y="12164"/>
                      <a:pt x="18241" y="12180"/>
                    </a:cubicBezTo>
                    <a:cubicBezTo>
                      <a:pt x="18237" y="12196"/>
                      <a:pt x="18229" y="12210"/>
                      <a:pt x="18217" y="12199"/>
                    </a:cubicBezTo>
                    <a:cubicBezTo>
                      <a:pt x="18212" y="12194"/>
                      <a:pt x="18211" y="12182"/>
                      <a:pt x="18206" y="12175"/>
                    </a:cubicBezTo>
                    <a:cubicBezTo>
                      <a:pt x="18201" y="12168"/>
                      <a:pt x="18197" y="12169"/>
                      <a:pt x="18194" y="12158"/>
                    </a:cubicBezTo>
                    <a:cubicBezTo>
                      <a:pt x="18186" y="12126"/>
                      <a:pt x="18206" y="12148"/>
                      <a:pt x="18213" y="12144"/>
                    </a:cubicBezTo>
                    <a:cubicBezTo>
                      <a:pt x="18221" y="12104"/>
                      <a:pt x="18193" y="12110"/>
                      <a:pt x="18186" y="12086"/>
                    </a:cubicBezTo>
                    <a:cubicBezTo>
                      <a:pt x="18182" y="12072"/>
                      <a:pt x="18188" y="12055"/>
                      <a:pt x="18196" y="12050"/>
                    </a:cubicBezTo>
                    <a:cubicBezTo>
                      <a:pt x="18203" y="12046"/>
                      <a:pt x="18213" y="12051"/>
                      <a:pt x="18220" y="12050"/>
                    </a:cubicBezTo>
                    <a:cubicBezTo>
                      <a:pt x="18222" y="12035"/>
                      <a:pt x="18211" y="12027"/>
                      <a:pt x="18209" y="12012"/>
                    </a:cubicBezTo>
                    <a:cubicBezTo>
                      <a:pt x="18206" y="11998"/>
                      <a:pt x="18208" y="11988"/>
                      <a:pt x="18211" y="11975"/>
                    </a:cubicBezTo>
                    <a:cubicBezTo>
                      <a:pt x="18215" y="11957"/>
                      <a:pt x="18214" y="11950"/>
                      <a:pt x="18203" y="11940"/>
                    </a:cubicBezTo>
                    <a:cubicBezTo>
                      <a:pt x="18196" y="11934"/>
                      <a:pt x="18192" y="11927"/>
                      <a:pt x="18185" y="11920"/>
                    </a:cubicBezTo>
                    <a:cubicBezTo>
                      <a:pt x="18179" y="11913"/>
                      <a:pt x="18168" y="11910"/>
                      <a:pt x="18161" y="11914"/>
                    </a:cubicBezTo>
                    <a:cubicBezTo>
                      <a:pt x="18148" y="11922"/>
                      <a:pt x="18157" y="11932"/>
                      <a:pt x="18161" y="11945"/>
                    </a:cubicBezTo>
                    <a:cubicBezTo>
                      <a:pt x="18174" y="11981"/>
                      <a:pt x="18142" y="11977"/>
                      <a:pt x="18131" y="11964"/>
                    </a:cubicBezTo>
                    <a:cubicBezTo>
                      <a:pt x="18123" y="11953"/>
                      <a:pt x="18125" y="11950"/>
                      <a:pt x="18113" y="11955"/>
                    </a:cubicBezTo>
                    <a:cubicBezTo>
                      <a:pt x="18110" y="11957"/>
                      <a:pt x="18103" y="11963"/>
                      <a:pt x="18099" y="11959"/>
                    </a:cubicBezTo>
                    <a:cubicBezTo>
                      <a:pt x="18095" y="11956"/>
                      <a:pt x="18096" y="11948"/>
                      <a:pt x="18093" y="11944"/>
                    </a:cubicBezTo>
                    <a:cubicBezTo>
                      <a:pt x="18087" y="11936"/>
                      <a:pt x="18078" y="11945"/>
                      <a:pt x="18072" y="11947"/>
                    </a:cubicBezTo>
                    <a:cubicBezTo>
                      <a:pt x="18062" y="11949"/>
                      <a:pt x="18050" y="11947"/>
                      <a:pt x="18040" y="11947"/>
                    </a:cubicBezTo>
                    <a:cubicBezTo>
                      <a:pt x="18022" y="11947"/>
                      <a:pt x="18011" y="11975"/>
                      <a:pt x="17993" y="11971"/>
                    </a:cubicBezTo>
                    <a:cubicBezTo>
                      <a:pt x="17972" y="11965"/>
                      <a:pt x="17968" y="11933"/>
                      <a:pt x="17973" y="11902"/>
                    </a:cubicBezTo>
                    <a:cubicBezTo>
                      <a:pt x="17975" y="11885"/>
                      <a:pt x="17980" y="11870"/>
                      <a:pt x="17976" y="11852"/>
                    </a:cubicBezTo>
                    <a:cubicBezTo>
                      <a:pt x="17972" y="11835"/>
                      <a:pt x="17963" y="11823"/>
                      <a:pt x="17959" y="11806"/>
                    </a:cubicBezTo>
                    <a:cubicBezTo>
                      <a:pt x="17952" y="11772"/>
                      <a:pt x="17958" y="11730"/>
                      <a:pt x="17965" y="11698"/>
                    </a:cubicBezTo>
                    <a:cubicBezTo>
                      <a:pt x="17969" y="11680"/>
                      <a:pt x="17975" y="11605"/>
                      <a:pt x="17992" y="11628"/>
                    </a:cubicBezTo>
                    <a:cubicBezTo>
                      <a:pt x="18009" y="11650"/>
                      <a:pt x="17984" y="11673"/>
                      <a:pt x="17977" y="11692"/>
                    </a:cubicBezTo>
                    <a:cubicBezTo>
                      <a:pt x="17967" y="11721"/>
                      <a:pt x="17967" y="11754"/>
                      <a:pt x="17975" y="11784"/>
                    </a:cubicBezTo>
                    <a:cubicBezTo>
                      <a:pt x="17979" y="11801"/>
                      <a:pt x="17985" y="11816"/>
                      <a:pt x="17995" y="11827"/>
                    </a:cubicBezTo>
                    <a:cubicBezTo>
                      <a:pt x="18002" y="11834"/>
                      <a:pt x="18011" y="11846"/>
                      <a:pt x="18019" y="11849"/>
                    </a:cubicBezTo>
                    <a:cubicBezTo>
                      <a:pt x="18036" y="11855"/>
                      <a:pt x="18058" y="11850"/>
                      <a:pt x="18072" y="11834"/>
                    </a:cubicBezTo>
                    <a:cubicBezTo>
                      <a:pt x="18093" y="11810"/>
                      <a:pt x="18092" y="11783"/>
                      <a:pt x="18082" y="11748"/>
                    </a:cubicBezTo>
                    <a:cubicBezTo>
                      <a:pt x="18074" y="11721"/>
                      <a:pt x="18062" y="11707"/>
                      <a:pt x="18063" y="11677"/>
                    </a:cubicBezTo>
                    <a:cubicBezTo>
                      <a:pt x="18073" y="11672"/>
                      <a:pt x="18080" y="11693"/>
                      <a:pt x="18086" y="11702"/>
                    </a:cubicBezTo>
                    <a:cubicBezTo>
                      <a:pt x="18092" y="11712"/>
                      <a:pt x="18097" y="11725"/>
                      <a:pt x="18104" y="11736"/>
                    </a:cubicBezTo>
                    <a:cubicBezTo>
                      <a:pt x="18108" y="11743"/>
                      <a:pt x="18117" y="11757"/>
                      <a:pt x="18124" y="11752"/>
                    </a:cubicBezTo>
                    <a:cubicBezTo>
                      <a:pt x="18133" y="11745"/>
                      <a:pt x="18127" y="11725"/>
                      <a:pt x="18129" y="11712"/>
                    </a:cubicBezTo>
                    <a:cubicBezTo>
                      <a:pt x="18132" y="11698"/>
                      <a:pt x="18143" y="11691"/>
                      <a:pt x="18150" y="11701"/>
                    </a:cubicBezTo>
                    <a:cubicBezTo>
                      <a:pt x="18158" y="11711"/>
                      <a:pt x="18160" y="11738"/>
                      <a:pt x="18167" y="11750"/>
                    </a:cubicBezTo>
                    <a:cubicBezTo>
                      <a:pt x="18176" y="11764"/>
                      <a:pt x="18186" y="11755"/>
                      <a:pt x="18192" y="11742"/>
                    </a:cubicBezTo>
                    <a:cubicBezTo>
                      <a:pt x="18200" y="11725"/>
                      <a:pt x="18200" y="11717"/>
                      <a:pt x="18189" y="11703"/>
                    </a:cubicBezTo>
                    <a:cubicBezTo>
                      <a:pt x="18175" y="11686"/>
                      <a:pt x="18160" y="11669"/>
                      <a:pt x="18151" y="11643"/>
                    </a:cubicBezTo>
                    <a:cubicBezTo>
                      <a:pt x="18144" y="11622"/>
                      <a:pt x="18150" y="11606"/>
                      <a:pt x="18163" y="11605"/>
                    </a:cubicBezTo>
                    <a:cubicBezTo>
                      <a:pt x="18180" y="11603"/>
                      <a:pt x="18200" y="11618"/>
                      <a:pt x="18211" y="11640"/>
                    </a:cubicBezTo>
                    <a:cubicBezTo>
                      <a:pt x="18217" y="11653"/>
                      <a:pt x="18222" y="11689"/>
                      <a:pt x="18236" y="11684"/>
                    </a:cubicBezTo>
                    <a:cubicBezTo>
                      <a:pt x="18237" y="11653"/>
                      <a:pt x="18232" y="11624"/>
                      <a:pt x="18238" y="11594"/>
                    </a:cubicBezTo>
                    <a:cubicBezTo>
                      <a:pt x="18242" y="11575"/>
                      <a:pt x="18247" y="11548"/>
                      <a:pt x="18246" y="11528"/>
                    </a:cubicBezTo>
                    <a:cubicBezTo>
                      <a:pt x="18246" y="11508"/>
                      <a:pt x="18233" y="11492"/>
                      <a:pt x="18226" y="11477"/>
                    </a:cubicBezTo>
                    <a:cubicBezTo>
                      <a:pt x="18219" y="11464"/>
                      <a:pt x="18219" y="11450"/>
                      <a:pt x="18218" y="11432"/>
                    </a:cubicBezTo>
                    <a:cubicBezTo>
                      <a:pt x="18218" y="11414"/>
                      <a:pt x="18221" y="11401"/>
                      <a:pt x="18225" y="11389"/>
                    </a:cubicBezTo>
                    <a:cubicBezTo>
                      <a:pt x="18230" y="11375"/>
                      <a:pt x="18237" y="11362"/>
                      <a:pt x="18241" y="11345"/>
                    </a:cubicBezTo>
                    <a:cubicBezTo>
                      <a:pt x="18245" y="11328"/>
                      <a:pt x="18244" y="11309"/>
                      <a:pt x="18246" y="11292"/>
                    </a:cubicBezTo>
                    <a:cubicBezTo>
                      <a:pt x="18248" y="11274"/>
                      <a:pt x="18251" y="11256"/>
                      <a:pt x="18252" y="11237"/>
                    </a:cubicBezTo>
                    <a:cubicBezTo>
                      <a:pt x="18255" y="11192"/>
                      <a:pt x="18252" y="11154"/>
                      <a:pt x="18242" y="11112"/>
                    </a:cubicBezTo>
                    <a:cubicBezTo>
                      <a:pt x="18238" y="11093"/>
                      <a:pt x="18235" y="11081"/>
                      <a:pt x="18222" y="11079"/>
                    </a:cubicBezTo>
                    <a:cubicBezTo>
                      <a:pt x="18210" y="11077"/>
                      <a:pt x="18206" y="11083"/>
                      <a:pt x="18195" y="11069"/>
                    </a:cubicBezTo>
                    <a:cubicBezTo>
                      <a:pt x="18188" y="11060"/>
                      <a:pt x="18179" y="11044"/>
                      <a:pt x="18170" y="11043"/>
                    </a:cubicBezTo>
                    <a:cubicBezTo>
                      <a:pt x="18159" y="11041"/>
                      <a:pt x="18155" y="11056"/>
                      <a:pt x="18148" y="11069"/>
                    </a:cubicBezTo>
                    <a:cubicBezTo>
                      <a:pt x="18142" y="11080"/>
                      <a:pt x="18135" y="11090"/>
                      <a:pt x="18133" y="11105"/>
                    </a:cubicBezTo>
                    <a:cubicBezTo>
                      <a:pt x="18132" y="11118"/>
                      <a:pt x="18137" y="11140"/>
                      <a:pt x="18129" y="11149"/>
                    </a:cubicBezTo>
                    <a:cubicBezTo>
                      <a:pt x="18119" y="11161"/>
                      <a:pt x="18112" y="11142"/>
                      <a:pt x="18108" y="11130"/>
                    </a:cubicBezTo>
                    <a:cubicBezTo>
                      <a:pt x="18104" y="11117"/>
                      <a:pt x="18096" y="11102"/>
                      <a:pt x="18086" y="11108"/>
                    </a:cubicBezTo>
                    <a:cubicBezTo>
                      <a:pt x="18075" y="11115"/>
                      <a:pt x="18072" y="11143"/>
                      <a:pt x="18061" y="11151"/>
                    </a:cubicBezTo>
                    <a:cubicBezTo>
                      <a:pt x="18046" y="11162"/>
                      <a:pt x="18038" y="11148"/>
                      <a:pt x="18038" y="11123"/>
                    </a:cubicBezTo>
                    <a:cubicBezTo>
                      <a:pt x="18037" y="11096"/>
                      <a:pt x="18053" y="11051"/>
                      <a:pt x="18042" y="11027"/>
                    </a:cubicBezTo>
                    <a:cubicBezTo>
                      <a:pt x="18032" y="11004"/>
                      <a:pt x="18009" y="11003"/>
                      <a:pt x="17998" y="10978"/>
                    </a:cubicBezTo>
                    <a:cubicBezTo>
                      <a:pt x="17985" y="10950"/>
                      <a:pt x="17983" y="10914"/>
                      <a:pt x="17972" y="10884"/>
                    </a:cubicBezTo>
                    <a:cubicBezTo>
                      <a:pt x="17962" y="10857"/>
                      <a:pt x="17940" y="10839"/>
                      <a:pt x="17923" y="10826"/>
                    </a:cubicBezTo>
                    <a:cubicBezTo>
                      <a:pt x="17908" y="10815"/>
                      <a:pt x="17894" y="10816"/>
                      <a:pt x="17880" y="10798"/>
                    </a:cubicBezTo>
                    <a:cubicBezTo>
                      <a:pt x="17874" y="10789"/>
                      <a:pt x="17865" y="10775"/>
                      <a:pt x="17858" y="10771"/>
                    </a:cubicBezTo>
                    <a:cubicBezTo>
                      <a:pt x="17848" y="10765"/>
                      <a:pt x="17833" y="10767"/>
                      <a:pt x="17822" y="10764"/>
                    </a:cubicBezTo>
                    <a:cubicBezTo>
                      <a:pt x="17805" y="10760"/>
                      <a:pt x="17767" y="10752"/>
                      <a:pt x="17759" y="10720"/>
                    </a:cubicBezTo>
                    <a:cubicBezTo>
                      <a:pt x="17756" y="10709"/>
                      <a:pt x="17755" y="10686"/>
                      <a:pt x="17762" y="10678"/>
                    </a:cubicBezTo>
                    <a:cubicBezTo>
                      <a:pt x="17771" y="10669"/>
                      <a:pt x="17787" y="10678"/>
                      <a:pt x="17795" y="10686"/>
                    </a:cubicBezTo>
                    <a:cubicBezTo>
                      <a:pt x="17803" y="10693"/>
                      <a:pt x="17809" y="10704"/>
                      <a:pt x="17819" y="10699"/>
                    </a:cubicBezTo>
                    <a:cubicBezTo>
                      <a:pt x="17828" y="10694"/>
                      <a:pt x="17832" y="10682"/>
                      <a:pt x="17843" y="10692"/>
                    </a:cubicBezTo>
                    <a:cubicBezTo>
                      <a:pt x="17852" y="10702"/>
                      <a:pt x="17852" y="10710"/>
                      <a:pt x="17864" y="10710"/>
                    </a:cubicBezTo>
                    <a:cubicBezTo>
                      <a:pt x="17874" y="10710"/>
                      <a:pt x="17888" y="10709"/>
                      <a:pt x="17893" y="10726"/>
                    </a:cubicBezTo>
                    <a:cubicBezTo>
                      <a:pt x="17895" y="10735"/>
                      <a:pt x="17890" y="10767"/>
                      <a:pt x="17903" y="10753"/>
                    </a:cubicBezTo>
                    <a:cubicBezTo>
                      <a:pt x="17911" y="10745"/>
                      <a:pt x="17903" y="10732"/>
                      <a:pt x="17915" y="10729"/>
                    </a:cubicBezTo>
                    <a:cubicBezTo>
                      <a:pt x="17928" y="10726"/>
                      <a:pt x="17928" y="10743"/>
                      <a:pt x="17935" y="10756"/>
                    </a:cubicBezTo>
                    <a:cubicBezTo>
                      <a:pt x="17943" y="10773"/>
                      <a:pt x="17948" y="10760"/>
                      <a:pt x="17959" y="10768"/>
                    </a:cubicBezTo>
                    <a:cubicBezTo>
                      <a:pt x="17967" y="10773"/>
                      <a:pt x="17966" y="10786"/>
                      <a:pt x="17978" y="10785"/>
                    </a:cubicBezTo>
                    <a:cubicBezTo>
                      <a:pt x="17986" y="10785"/>
                      <a:pt x="17992" y="10779"/>
                      <a:pt x="18000" y="10776"/>
                    </a:cubicBezTo>
                    <a:cubicBezTo>
                      <a:pt x="18010" y="10770"/>
                      <a:pt x="18015" y="10771"/>
                      <a:pt x="18019" y="10788"/>
                    </a:cubicBezTo>
                    <a:cubicBezTo>
                      <a:pt x="18023" y="10804"/>
                      <a:pt x="18026" y="10822"/>
                      <a:pt x="18028" y="10838"/>
                    </a:cubicBezTo>
                    <a:cubicBezTo>
                      <a:pt x="18032" y="10869"/>
                      <a:pt x="18038" y="10893"/>
                      <a:pt x="18054" y="10913"/>
                    </a:cubicBezTo>
                    <a:cubicBezTo>
                      <a:pt x="18076" y="10942"/>
                      <a:pt x="18095" y="11010"/>
                      <a:pt x="18128" y="10999"/>
                    </a:cubicBezTo>
                    <a:cubicBezTo>
                      <a:pt x="18129" y="10978"/>
                      <a:pt x="18127" y="10969"/>
                      <a:pt x="18118" y="10954"/>
                    </a:cubicBezTo>
                    <a:cubicBezTo>
                      <a:pt x="18109" y="10940"/>
                      <a:pt x="18099" y="10930"/>
                      <a:pt x="18097" y="10908"/>
                    </a:cubicBezTo>
                    <a:cubicBezTo>
                      <a:pt x="18095" y="10886"/>
                      <a:pt x="18103" y="10890"/>
                      <a:pt x="18107" y="10876"/>
                    </a:cubicBezTo>
                    <a:cubicBezTo>
                      <a:pt x="18110" y="10863"/>
                      <a:pt x="18102" y="10847"/>
                      <a:pt x="18096" y="10840"/>
                    </a:cubicBezTo>
                    <a:cubicBezTo>
                      <a:pt x="18081" y="10819"/>
                      <a:pt x="18062" y="10800"/>
                      <a:pt x="18046" y="10780"/>
                    </a:cubicBezTo>
                    <a:cubicBezTo>
                      <a:pt x="18037" y="10768"/>
                      <a:pt x="18028" y="10748"/>
                      <a:pt x="18017" y="10739"/>
                    </a:cubicBezTo>
                    <a:cubicBezTo>
                      <a:pt x="18008" y="10731"/>
                      <a:pt x="17997" y="10731"/>
                      <a:pt x="17990" y="10715"/>
                    </a:cubicBezTo>
                    <a:cubicBezTo>
                      <a:pt x="17984" y="10702"/>
                      <a:pt x="17984" y="10678"/>
                      <a:pt x="17982" y="10662"/>
                    </a:cubicBezTo>
                    <a:cubicBezTo>
                      <a:pt x="17979" y="10643"/>
                      <a:pt x="17975" y="10629"/>
                      <a:pt x="17967" y="10615"/>
                    </a:cubicBezTo>
                    <a:cubicBezTo>
                      <a:pt x="17958" y="10603"/>
                      <a:pt x="17947" y="10592"/>
                      <a:pt x="17942" y="10574"/>
                    </a:cubicBezTo>
                    <a:cubicBezTo>
                      <a:pt x="17939" y="10565"/>
                      <a:pt x="17937" y="10529"/>
                      <a:pt x="17941" y="10520"/>
                    </a:cubicBezTo>
                    <a:cubicBezTo>
                      <a:pt x="17949" y="10505"/>
                      <a:pt x="17964" y="10522"/>
                      <a:pt x="17969" y="10534"/>
                    </a:cubicBezTo>
                    <a:cubicBezTo>
                      <a:pt x="17984" y="10569"/>
                      <a:pt x="17996" y="10610"/>
                      <a:pt x="18010" y="10646"/>
                    </a:cubicBezTo>
                    <a:cubicBezTo>
                      <a:pt x="18017" y="10663"/>
                      <a:pt x="18026" y="10678"/>
                      <a:pt x="18034" y="10694"/>
                    </a:cubicBezTo>
                    <a:cubicBezTo>
                      <a:pt x="18041" y="10706"/>
                      <a:pt x="18043" y="10719"/>
                      <a:pt x="18049" y="10732"/>
                    </a:cubicBezTo>
                    <a:cubicBezTo>
                      <a:pt x="18054" y="10744"/>
                      <a:pt x="18059" y="10750"/>
                      <a:pt x="18068" y="10751"/>
                    </a:cubicBezTo>
                    <a:cubicBezTo>
                      <a:pt x="18075" y="10752"/>
                      <a:pt x="18091" y="10757"/>
                      <a:pt x="18089" y="10741"/>
                    </a:cubicBezTo>
                    <a:cubicBezTo>
                      <a:pt x="18087" y="10726"/>
                      <a:pt x="18072" y="10718"/>
                      <a:pt x="18068" y="10705"/>
                    </a:cubicBezTo>
                    <a:cubicBezTo>
                      <a:pt x="18063" y="10689"/>
                      <a:pt x="18065" y="10674"/>
                      <a:pt x="18069" y="10659"/>
                    </a:cubicBezTo>
                    <a:cubicBezTo>
                      <a:pt x="18070" y="10652"/>
                      <a:pt x="18072" y="10652"/>
                      <a:pt x="18073" y="10643"/>
                    </a:cubicBezTo>
                    <a:cubicBezTo>
                      <a:pt x="18073" y="10632"/>
                      <a:pt x="18069" y="10626"/>
                      <a:pt x="18069" y="10616"/>
                    </a:cubicBezTo>
                    <a:cubicBezTo>
                      <a:pt x="18068" y="10601"/>
                      <a:pt x="18073" y="10595"/>
                      <a:pt x="18082" y="10593"/>
                    </a:cubicBezTo>
                    <a:cubicBezTo>
                      <a:pt x="18091" y="10592"/>
                      <a:pt x="18102" y="10594"/>
                      <a:pt x="18107" y="10609"/>
                    </a:cubicBezTo>
                    <a:cubicBezTo>
                      <a:pt x="18110" y="10617"/>
                      <a:pt x="18109" y="10621"/>
                      <a:pt x="18109" y="10630"/>
                    </a:cubicBezTo>
                    <a:cubicBezTo>
                      <a:pt x="18111" y="10643"/>
                      <a:pt x="18110" y="10638"/>
                      <a:pt x="18115" y="10645"/>
                    </a:cubicBezTo>
                    <a:cubicBezTo>
                      <a:pt x="18120" y="10651"/>
                      <a:pt x="18122" y="10647"/>
                      <a:pt x="18126" y="10657"/>
                    </a:cubicBezTo>
                    <a:cubicBezTo>
                      <a:pt x="18128" y="10665"/>
                      <a:pt x="18127" y="10673"/>
                      <a:pt x="18129" y="10680"/>
                    </a:cubicBezTo>
                    <a:cubicBezTo>
                      <a:pt x="18135" y="10697"/>
                      <a:pt x="18145" y="10688"/>
                      <a:pt x="18148" y="10672"/>
                    </a:cubicBezTo>
                    <a:cubicBezTo>
                      <a:pt x="18154" y="10635"/>
                      <a:pt x="18139" y="10599"/>
                      <a:pt x="18124" y="10577"/>
                    </a:cubicBezTo>
                    <a:cubicBezTo>
                      <a:pt x="18109" y="10556"/>
                      <a:pt x="18096" y="10530"/>
                      <a:pt x="18086" y="10504"/>
                    </a:cubicBezTo>
                    <a:cubicBezTo>
                      <a:pt x="18080" y="10490"/>
                      <a:pt x="18074" y="10480"/>
                      <a:pt x="18075" y="10463"/>
                    </a:cubicBezTo>
                    <a:cubicBezTo>
                      <a:pt x="18075" y="10433"/>
                      <a:pt x="18076" y="10441"/>
                      <a:pt x="18060" y="10430"/>
                    </a:cubicBezTo>
                    <a:cubicBezTo>
                      <a:pt x="18050" y="10422"/>
                      <a:pt x="18040" y="10401"/>
                      <a:pt x="18031" y="10388"/>
                    </a:cubicBezTo>
                    <a:cubicBezTo>
                      <a:pt x="18021" y="10373"/>
                      <a:pt x="18020" y="10358"/>
                      <a:pt x="18013" y="10340"/>
                    </a:cubicBezTo>
                    <a:cubicBezTo>
                      <a:pt x="18007" y="10323"/>
                      <a:pt x="17997" y="10311"/>
                      <a:pt x="17989" y="10298"/>
                    </a:cubicBezTo>
                    <a:cubicBezTo>
                      <a:pt x="17981" y="10286"/>
                      <a:pt x="17975" y="10269"/>
                      <a:pt x="17968" y="10256"/>
                    </a:cubicBezTo>
                    <a:cubicBezTo>
                      <a:pt x="17960" y="10244"/>
                      <a:pt x="17950" y="10234"/>
                      <a:pt x="17942" y="10222"/>
                    </a:cubicBezTo>
                    <a:cubicBezTo>
                      <a:pt x="17923" y="10197"/>
                      <a:pt x="17905" y="10163"/>
                      <a:pt x="17893" y="10129"/>
                    </a:cubicBezTo>
                    <a:cubicBezTo>
                      <a:pt x="17887" y="10110"/>
                      <a:pt x="17889" y="10094"/>
                      <a:pt x="17888" y="10074"/>
                    </a:cubicBezTo>
                    <a:cubicBezTo>
                      <a:pt x="17887" y="10049"/>
                      <a:pt x="17881" y="10041"/>
                      <a:pt x="17868" y="10030"/>
                    </a:cubicBezTo>
                    <a:cubicBezTo>
                      <a:pt x="17858" y="10022"/>
                      <a:pt x="17840" y="10018"/>
                      <a:pt x="17832" y="10004"/>
                    </a:cubicBezTo>
                    <a:cubicBezTo>
                      <a:pt x="17828" y="9996"/>
                      <a:pt x="17816" y="9961"/>
                      <a:pt x="17822" y="9949"/>
                    </a:cubicBezTo>
                    <a:cubicBezTo>
                      <a:pt x="17829" y="9936"/>
                      <a:pt x="17846" y="9958"/>
                      <a:pt x="17850" y="9967"/>
                    </a:cubicBezTo>
                    <a:cubicBezTo>
                      <a:pt x="17856" y="9979"/>
                      <a:pt x="17859" y="9995"/>
                      <a:pt x="17865" y="10007"/>
                    </a:cubicBezTo>
                    <a:cubicBezTo>
                      <a:pt x="17873" y="10021"/>
                      <a:pt x="17882" y="10016"/>
                      <a:pt x="17892" y="10018"/>
                    </a:cubicBezTo>
                    <a:cubicBezTo>
                      <a:pt x="17903" y="10021"/>
                      <a:pt x="17907" y="10032"/>
                      <a:pt x="17912" y="10048"/>
                    </a:cubicBezTo>
                    <a:cubicBezTo>
                      <a:pt x="17917" y="10068"/>
                      <a:pt x="17919" y="10087"/>
                      <a:pt x="17922" y="10108"/>
                    </a:cubicBezTo>
                    <a:cubicBezTo>
                      <a:pt x="17925" y="10125"/>
                      <a:pt x="17929" y="10135"/>
                      <a:pt x="17936" y="10148"/>
                    </a:cubicBezTo>
                    <a:cubicBezTo>
                      <a:pt x="17951" y="10175"/>
                      <a:pt x="17971" y="10194"/>
                      <a:pt x="17986" y="10221"/>
                    </a:cubicBezTo>
                    <a:cubicBezTo>
                      <a:pt x="17993" y="10234"/>
                      <a:pt x="17998" y="10249"/>
                      <a:pt x="18008" y="10258"/>
                    </a:cubicBezTo>
                    <a:cubicBezTo>
                      <a:pt x="18015" y="10265"/>
                      <a:pt x="18025" y="10269"/>
                      <a:pt x="18030" y="10280"/>
                    </a:cubicBezTo>
                    <a:cubicBezTo>
                      <a:pt x="18041" y="10307"/>
                      <a:pt x="18029" y="10341"/>
                      <a:pt x="18047" y="10365"/>
                    </a:cubicBezTo>
                    <a:cubicBezTo>
                      <a:pt x="18061" y="10382"/>
                      <a:pt x="18092" y="10364"/>
                      <a:pt x="18101" y="10387"/>
                    </a:cubicBezTo>
                    <a:cubicBezTo>
                      <a:pt x="18105" y="10398"/>
                      <a:pt x="18099" y="10428"/>
                      <a:pt x="18111" y="10407"/>
                    </a:cubicBezTo>
                    <a:cubicBezTo>
                      <a:pt x="18117" y="10394"/>
                      <a:pt x="18117" y="10375"/>
                      <a:pt x="18117" y="10359"/>
                    </a:cubicBezTo>
                    <a:cubicBezTo>
                      <a:pt x="18117" y="10352"/>
                      <a:pt x="18116" y="10343"/>
                      <a:pt x="18117" y="10336"/>
                    </a:cubicBezTo>
                    <a:cubicBezTo>
                      <a:pt x="18118" y="10329"/>
                      <a:pt x="18122" y="10325"/>
                      <a:pt x="18123" y="10317"/>
                    </a:cubicBezTo>
                    <a:cubicBezTo>
                      <a:pt x="18124" y="10302"/>
                      <a:pt x="18114" y="10288"/>
                      <a:pt x="18114" y="10274"/>
                    </a:cubicBezTo>
                    <a:cubicBezTo>
                      <a:pt x="18114" y="10261"/>
                      <a:pt x="18123" y="10250"/>
                      <a:pt x="18130" y="10247"/>
                    </a:cubicBezTo>
                    <a:cubicBezTo>
                      <a:pt x="18134" y="10245"/>
                      <a:pt x="18138" y="10247"/>
                      <a:pt x="18142" y="10247"/>
                    </a:cubicBezTo>
                    <a:cubicBezTo>
                      <a:pt x="18160" y="10244"/>
                      <a:pt x="18155" y="10214"/>
                      <a:pt x="18145" y="10196"/>
                    </a:cubicBezTo>
                    <a:cubicBezTo>
                      <a:pt x="18137" y="10181"/>
                      <a:pt x="18123" y="10165"/>
                      <a:pt x="18112" y="10158"/>
                    </a:cubicBezTo>
                    <a:cubicBezTo>
                      <a:pt x="18105" y="10154"/>
                      <a:pt x="18095" y="10158"/>
                      <a:pt x="18087" y="10154"/>
                    </a:cubicBezTo>
                    <a:cubicBezTo>
                      <a:pt x="18074" y="10147"/>
                      <a:pt x="18067" y="10135"/>
                      <a:pt x="18059" y="10119"/>
                    </a:cubicBezTo>
                    <a:cubicBezTo>
                      <a:pt x="18050" y="10098"/>
                      <a:pt x="18034" y="10089"/>
                      <a:pt x="18025" y="10068"/>
                    </a:cubicBezTo>
                    <a:cubicBezTo>
                      <a:pt x="18019" y="10054"/>
                      <a:pt x="18019" y="10036"/>
                      <a:pt x="18013" y="10023"/>
                    </a:cubicBezTo>
                    <a:cubicBezTo>
                      <a:pt x="18003" y="10002"/>
                      <a:pt x="17980" y="10009"/>
                      <a:pt x="17967" y="9996"/>
                    </a:cubicBezTo>
                    <a:cubicBezTo>
                      <a:pt x="17958" y="9988"/>
                      <a:pt x="17951" y="9977"/>
                      <a:pt x="17943" y="9970"/>
                    </a:cubicBezTo>
                    <a:cubicBezTo>
                      <a:pt x="17935" y="9963"/>
                      <a:pt x="17926" y="9960"/>
                      <a:pt x="17919" y="9953"/>
                    </a:cubicBezTo>
                    <a:cubicBezTo>
                      <a:pt x="17911" y="9944"/>
                      <a:pt x="17906" y="9932"/>
                      <a:pt x="17900" y="9921"/>
                    </a:cubicBezTo>
                    <a:cubicBezTo>
                      <a:pt x="17892" y="9906"/>
                      <a:pt x="17882" y="9897"/>
                      <a:pt x="17874" y="9884"/>
                    </a:cubicBezTo>
                    <a:cubicBezTo>
                      <a:pt x="17865" y="9870"/>
                      <a:pt x="17864" y="9848"/>
                      <a:pt x="17863" y="9828"/>
                    </a:cubicBezTo>
                    <a:cubicBezTo>
                      <a:pt x="17863" y="9808"/>
                      <a:pt x="17865" y="9800"/>
                      <a:pt x="17852" y="9795"/>
                    </a:cubicBezTo>
                    <a:cubicBezTo>
                      <a:pt x="17841" y="9791"/>
                      <a:pt x="17835" y="9794"/>
                      <a:pt x="17826" y="9803"/>
                    </a:cubicBezTo>
                    <a:cubicBezTo>
                      <a:pt x="17808" y="9821"/>
                      <a:pt x="17794" y="9839"/>
                      <a:pt x="17773" y="9830"/>
                    </a:cubicBezTo>
                    <a:cubicBezTo>
                      <a:pt x="17766" y="9827"/>
                      <a:pt x="17753" y="9825"/>
                      <a:pt x="17748" y="9817"/>
                    </a:cubicBezTo>
                    <a:cubicBezTo>
                      <a:pt x="17736" y="9799"/>
                      <a:pt x="17745" y="9770"/>
                      <a:pt x="17748" y="9750"/>
                    </a:cubicBezTo>
                    <a:cubicBezTo>
                      <a:pt x="17749" y="9741"/>
                      <a:pt x="17749" y="9732"/>
                      <a:pt x="17749" y="9723"/>
                    </a:cubicBezTo>
                    <a:cubicBezTo>
                      <a:pt x="17749" y="9706"/>
                      <a:pt x="17747" y="9688"/>
                      <a:pt x="17749" y="9671"/>
                    </a:cubicBezTo>
                    <a:cubicBezTo>
                      <a:pt x="17751" y="9645"/>
                      <a:pt x="17764" y="9617"/>
                      <a:pt x="17773" y="9596"/>
                    </a:cubicBezTo>
                    <a:cubicBezTo>
                      <a:pt x="17784" y="9572"/>
                      <a:pt x="17794" y="9546"/>
                      <a:pt x="17805" y="9521"/>
                    </a:cubicBezTo>
                    <a:cubicBezTo>
                      <a:pt x="17813" y="9503"/>
                      <a:pt x="17830" y="9470"/>
                      <a:pt x="17844" y="9472"/>
                    </a:cubicBezTo>
                    <a:cubicBezTo>
                      <a:pt x="17844" y="9474"/>
                      <a:pt x="17845" y="9475"/>
                      <a:pt x="17844" y="9477"/>
                    </a:cubicBezTo>
                    <a:cubicBezTo>
                      <a:pt x="17844" y="9500"/>
                      <a:pt x="17821" y="9541"/>
                      <a:pt x="17814" y="9558"/>
                    </a:cubicBezTo>
                    <a:cubicBezTo>
                      <a:pt x="17808" y="9573"/>
                      <a:pt x="17803" y="9591"/>
                      <a:pt x="17796" y="9604"/>
                    </a:cubicBezTo>
                    <a:cubicBezTo>
                      <a:pt x="17789" y="9617"/>
                      <a:pt x="17779" y="9628"/>
                      <a:pt x="17772" y="9640"/>
                    </a:cubicBezTo>
                    <a:cubicBezTo>
                      <a:pt x="17764" y="9652"/>
                      <a:pt x="17762" y="9663"/>
                      <a:pt x="17762" y="9682"/>
                    </a:cubicBezTo>
                    <a:cubicBezTo>
                      <a:pt x="17762" y="9703"/>
                      <a:pt x="17761" y="9706"/>
                      <a:pt x="17771" y="9716"/>
                    </a:cubicBezTo>
                    <a:cubicBezTo>
                      <a:pt x="17776" y="9722"/>
                      <a:pt x="17779" y="9726"/>
                      <a:pt x="17782" y="9735"/>
                    </a:cubicBezTo>
                    <a:cubicBezTo>
                      <a:pt x="17784" y="9740"/>
                      <a:pt x="17785" y="9754"/>
                      <a:pt x="17787" y="9757"/>
                    </a:cubicBezTo>
                    <a:cubicBezTo>
                      <a:pt x="17793" y="9767"/>
                      <a:pt x="17806" y="9765"/>
                      <a:pt x="17811" y="9754"/>
                    </a:cubicBezTo>
                    <a:cubicBezTo>
                      <a:pt x="17818" y="9739"/>
                      <a:pt x="17812" y="9715"/>
                      <a:pt x="17812" y="9697"/>
                    </a:cubicBezTo>
                    <a:cubicBezTo>
                      <a:pt x="17821" y="9695"/>
                      <a:pt x="17823" y="9719"/>
                      <a:pt x="17834" y="9707"/>
                    </a:cubicBezTo>
                    <a:cubicBezTo>
                      <a:pt x="17842" y="9699"/>
                      <a:pt x="17849" y="9668"/>
                      <a:pt x="17860" y="9682"/>
                    </a:cubicBezTo>
                    <a:cubicBezTo>
                      <a:pt x="17867" y="9692"/>
                      <a:pt x="17868" y="9722"/>
                      <a:pt x="17871" y="9737"/>
                    </a:cubicBezTo>
                    <a:cubicBezTo>
                      <a:pt x="17874" y="9756"/>
                      <a:pt x="17883" y="9824"/>
                      <a:pt x="17899" y="9822"/>
                    </a:cubicBezTo>
                    <a:cubicBezTo>
                      <a:pt x="17914" y="9819"/>
                      <a:pt x="17907" y="9804"/>
                      <a:pt x="17906" y="9791"/>
                    </a:cubicBezTo>
                    <a:cubicBezTo>
                      <a:pt x="17905" y="9773"/>
                      <a:pt x="17911" y="9770"/>
                      <a:pt x="17920" y="9765"/>
                    </a:cubicBezTo>
                    <a:cubicBezTo>
                      <a:pt x="17925" y="9762"/>
                      <a:pt x="17938" y="9749"/>
                      <a:pt x="17942" y="9752"/>
                    </a:cubicBezTo>
                    <a:cubicBezTo>
                      <a:pt x="17954" y="9763"/>
                      <a:pt x="17943" y="9830"/>
                      <a:pt x="17952" y="9850"/>
                    </a:cubicBezTo>
                    <a:cubicBezTo>
                      <a:pt x="17965" y="9884"/>
                      <a:pt x="17984" y="9879"/>
                      <a:pt x="18006" y="9881"/>
                    </a:cubicBezTo>
                    <a:cubicBezTo>
                      <a:pt x="18030" y="9883"/>
                      <a:pt x="18028" y="9932"/>
                      <a:pt x="18048" y="9947"/>
                    </a:cubicBezTo>
                    <a:cubicBezTo>
                      <a:pt x="18067" y="9961"/>
                      <a:pt x="18070" y="9895"/>
                      <a:pt x="18091" y="9933"/>
                    </a:cubicBezTo>
                    <a:cubicBezTo>
                      <a:pt x="18097" y="9945"/>
                      <a:pt x="18100" y="9959"/>
                      <a:pt x="18099" y="9975"/>
                    </a:cubicBezTo>
                    <a:cubicBezTo>
                      <a:pt x="18099" y="9991"/>
                      <a:pt x="18093" y="9999"/>
                      <a:pt x="18102" y="10010"/>
                    </a:cubicBezTo>
                    <a:cubicBezTo>
                      <a:pt x="18109" y="10017"/>
                      <a:pt x="18121" y="10018"/>
                      <a:pt x="18125" y="10009"/>
                    </a:cubicBezTo>
                    <a:cubicBezTo>
                      <a:pt x="18129" y="9996"/>
                      <a:pt x="18122" y="9973"/>
                      <a:pt x="18119" y="9961"/>
                    </a:cubicBezTo>
                    <a:cubicBezTo>
                      <a:pt x="18112" y="9932"/>
                      <a:pt x="18095" y="9925"/>
                      <a:pt x="18093" y="9892"/>
                    </a:cubicBezTo>
                    <a:cubicBezTo>
                      <a:pt x="18093" y="9880"/>
                      <a:pt x="18095" y="9860"/>
                      <a:pt x="18091" y="9850"/>
                    </a:cubicBezTo>
                    <a:cubicBezTo>
                      <a:pt x="18086" y="9838"/>
                      <a:pt x="18072" y="9839"/>
                      <a:pt x="18064" y="9834"/>
                    </a:cubicBezTo>
                    <a:cubicBezTo>
                      <a:pt x="18053" y="9827"/>
                      <a:pt x="18045" y="9822"/>
                      <a:pt x="18036" y="9809"/>
                    </a:cubicBezTo>
                    <a:cubicBezTo>
                      <a:pt x="18027" y="9795"/>
                      <a:pt x="18020" y="9774"/>
                      <a:pt x="18011" y="9758"/>
                    </a:cubicBezTo>
                    <a:cubicBezTo>
                      <a:pt x="18002" y="9740"/>
                      <a:pt x="17990" y="9724"/>
                      <a:pt x="17986" y="9700"/>
                    </a:cubicBezTo>
                    <a:cubicBezTo>
                      <a:pt x="17979" y="9663"/>
                      <a:pt x="17978" y="9615"/>
                      <a:pt x="17981" y="9578"/>
                    </a:cubicBezTo>
                    <a:cubicBezTo>
                      <a:pt x="17983" y="9556"/>
                      <a:pt x="17971" y="9496"/>
                      <a:pt x="17991" y="9501"/>
                    </a:cubicBezTo>
                    <a:cubicBezTo>
                      <a:pt x="18015" y="9506"/>
                      <a:pt x="18005" y="9569"/>
                      <a:pt x="18005" y="9601"/>
                    </a:cubicBezTo>
                    <a:cubicBezTo>
                      <a:pt x="18005" y="9614"/>
                      <a:pt x="18006" y="9624"/>
                      <a:pt x="18009" y="9636"/>
                    </a:cubicBezTo>
                    <a:cubicBezTo>
                      <a:pt x="18011" y="9643"/>
                      <a:pt x="18013" y="9647"/>
                      <a:pt x="18014" y="9654"/>
                    </a:cubicBezTo>
                    <a:cubicBezTo>
                      <a:pt x="18015" y="9658"/>
                      <a:pt x="18014" y="9665"/>
                      <a:pt x="18015" y="9669"/>
                    </a:cubicBezTo>
                    <a:cubicBezTo>
                      <a:pt x="18020" y="9680"/>
                      <a:pt x="18031" y="9678"/>
                      <a:pt x="18035" y="9691"/>
                    </a:cubicBezTo>
                    <a:cubicBezTo>
                      <a:pt x="18038" y="9701"/>
                      <a:pt x="18035" y="9715"/>
                      <a:pt x="18036" y="9726"/>
                    </a:cubicBezTo>
                    <a:cubicBezTo>
                      <a:pt x="18039" y="9740"/>
                      <a:pt x="18044" y="9742"/>
                      <a:pt x="18051" y="9751"/>
                    </a:cubicBezTo>
                    <a:cubicBezTo>
                      <a:pt x="18057" y="9760"/>
                      <a:pt x="18060" y="9777"/>
                      <a:pt x="18067" y="9785"/>
                    </a:cubicBezTo>
                    <a:cubicBezTo>
                      <a:pt x="18077" y="9795"/>
                      <a:pt x="18095" y="9795"/>
                      <a:pt x="18107" y="9794"/>
                    </a:cubicBezTo>
                    <a:cubicBezTo>
                      <a:pt x="18108" y="9745"/>
                      <a:pt x="18081" y="9725"/>
                      <a:pt x="18066" y="9691"/>
                    </a:cubicBezTo>
                    <a:cubicBezTo>
                      <a:pt x="18058" y="9673"/>
                      <a:pt x="18052" y="9658"/>
                      <a:pt x="18049" y="9637"/>
                    </a:cubicBezTo>
                    <a:cubicBezTo>
                      <a:pt x="18046" y="9617"/>
                      <a:pt x="18047" y="9596"/>
                      <a:pt x="18045" y="9576"/>
                    </a:cubicBezTo>
                    <a:cubicBezTo>
                      <a:pt x="18043" y="9544"/>
                      <a:pt x="18054" y="9516"/>
                      <a:pt x="18050" y="9484"/>
                    </a:cubicBezTo>
                    <a:cubicBezTo>
                      <a:pt x="18048" y="9467"/>
                      <a:pt x="18042" y="9454"/>
                      <a:pt x="18042" y="9435"/>
                    </a:cubicBezTo>
                    <a:cubicBezTo>
                      <a:pt x="18043" y="9419"/>
                      <a:pt x="18049" y="9409"/>
                      <a:pt x="18052" y="9396"/>
                    </a:cubicBezTo>
                    <a:cubicBezTo>
                      <a:pt x="18057" y="9378"/>
                      <a:pt x="18057" y="9358"/>
                      <a:pt x="18056" y="9339"/>
                    </a:cubicBezTo>
                    <a:cubicBezTo>
                      <a:pt x="18055" y="9323"/>
                      <a:pt x="18050" y="9309"/>
                      <a:pt x="18049" y="9293"/>
                    </a:cubicBezTo>
                    <a:cubicBezTo>
                      <a:pt x="18047" y="9257"/>
                      <a:pt x="18049" y="9230"/>
                      <a:pt x="18068" y="9212"/>
                    </a:cubicBezTo>
                    <a:cubicBezTo>
                      <a:pt x="18075" y="9205"/>
                      <a:pt x="18083" y="9202"/>
                      <a:pt x="18086" y="9189"/>
                    </a:cubicBezTo>
                    <a:cubicBezTo>
                      <a:pt x="18089" y="9172"/>
                      <a:pt x="18083" y="9160"/>
                      <a:pt x="18077" y="9149"/>
                    </a:cubicBezTo>
                    <a:cubicBezTo>
                      <a:pt x="18065" y="9127"/>
                      <a:pt x="18069" y="9098"/>
                      <a:pt x="18053" y="9079"/>
                    </a:cubicBezTo>
                    <a:cubicBezTo>
                      <a:pt x="18037" y="9059"/>
                      <a:pt x="18019" y="9046"/>
                      <a:pt x="18018" y="9007"/>
                    </a:cubicBezTo>
                    <a:cubicBezTo>
                      <a:pt x="18017" y="8989"/>
                      <a:pt x="18024" y="8982"/>
                      <a:pt x="18034" y="8980"/>
                    </a:cubicBezTo>
                    <a:cubicBezTo>
                      <a:pt x="18045" y="8978"/>
                      <a:pt x="18052" y="8982"/>
                      <a:pt x="18059" y="8996"/>
                    </a:cubicBezTo>
                    <a:cubicBezTo>
                      <a:pt x="18064" y="9004"/>
                      <a:pt x="18072" y="9022"/>
                      <a:pt x="18077" y="9006"/>
                    </a:cubicBezTo>
                    <a:cubicBezTo>
                      <a:pt x="18080" y="8997"/>
                      <a:pt x="18077" y="8975"/>
                      <a:pt x="18078" y="8964"/>
                    </a:cubicBezTo>
                    <a:cubicBezTo>
                      <a:pt x="18080" y="8946"/>
                      <a:pt x="18085" y="8940"/>
                      <a:pt x="18094" y="8933"/>
                    </a:cubicBezTo>
                    <a:cubicBezTo>
                      <a:pt x="18103" y="8926"/>
                      <a:pt x="18109" y="8920"/>
                      <a:pt x="18106" y="8901"/>
                    </a:cubicBezTo>
                    <a:cubicBezTo>
                      <a:pt x="18104" y="8889"/>
                      <a:pt x="18093" y="8875"/>
                      <a:pt x="18103" y="8867"/>
                    </a:cubicBezTo>
                    <a:cubicBezTo>
                      <a:pt x="18121" y="8852"/>
                      <a:pt x="18124" y="8918"/>
                      <a:pt x="18145" y="8905"/>
                    </a:cubicBezTo>
                    <a:cubicBezTo>
                      <a:pt x="18153" y="8899"/>
                      <a:pt x="18150" y="8884"/>
                      <a:pt x="18151" y="8871"/>
                    </a:cubicBezTo>
                    <a:cubicBezTo>
                      <a:pt x="18152" y="8866"/>
                      <a:pt x="18154" y="8852"/>
                      <a:pt x="18156" y="8847"/>
                    </a:cubicBezTo>
                    <a:cubicBezTo>
                      <a:pt x="18160" y="8839"/>
                      <a:pt x="18160" y="8842"/>
                      <a:pt x="18163" y="8846"/>
                    </a:cubicBezTo>
                    <a:cubicBezTo>
                      <a:pt x="18166" y="8848"/>
                      <a:pt x="18167" y="8855"/>
                      <a:pt x="18171" y="8858"/>
                    </a:cubicBezTo>
                    <a:cubicBezTo>
                      <a:pt x="18175" y="8861"/>
                      <a:pt x="18181" y="8861"/>
                      <a:pt x="18185" y="8859"/>
                    </a:cubicBezTo>
                    <a:cubicBezTo>
                      <a:pt x="18201" y="8851"/>
                      <a:pt x="18216" y="8834"/>
                      <a:pt x="18215" y="8802"/>
                    </a:cubicBezTo>
                    <a:cubicBezTo>
                      <a:pt x="18214" y="8786"/>
                      <a:pt x="18207" y="8771"/>
                      <a:pt x="18210" y="8754"/>
                    </a:cubicBezTo>
                    <a:cubicBezTo>
                      <a:pt x="18213" y="8739"/>
                      <a:pt x="18222" y="8730"/>
                      <a:pt x="18229" y="8721"/>
                    </a:cubicBezTo>
                    <a:cubicBezTo>
                      <a:pt x="18235" y="8712"/>
                      <a:pt x="18242" y="8699"/>
                      <a:pt x="18249" y="8695"/>
                    </a:cubicBezTo>
                    <a:cubicBezTo>
                      <a:pt x="18260" y="8690"/>
                      <a:pt x="18259" y="8702"/>
                      <a:pt x="18265" y="8714"/>
                    </a:cubicBezTo>
                    <a:cubicBezTo>
                      <a:pt x="18274" y="8732"/>
                      <a:pt x="18299" y="8744"/>
                      <a:pt x="18293" y="8774"/>
                    </a:cubicBezTo>
                    <a:cubicBezTo>
                      <a:pt x="18290" y="8789"/>
                      <a:pt x="18279" y="8796"/>
                      <a:pt x="18272" y="8806"/>
                    </a:cubicBezTo>
                    <a:cubicBezTo>
                      <a:pt x="18265" y="8815"/>
                      <a:pt x="18257" y="8826"/>
                      <a:pt x="18250" y="8836"/>
                    </a:cubicBezTo>
                    <a:cubicBezTo>
                      <a:pt x="18243" y="8846"/>
                      <a:pt x="18238" y="8851"/>
                      <a:pt x="18239" y="8869"/>
                    </a:cubicBezTo>
                    <a:cubicBezTo>
                      <a:pt x="18240" y="8884"/>
                      <a:pt x="18246" y="8896"/>
                      <a:pt x="18245" y="8912"/>
                    </a:cubicBezTo>
                    <a:cubicBezTo>
                      <a:pt x="18235" y="8916"/>
                      <a:pt x="18233" y="8898"/>
                      <a:pt x="18224" y="8895"/>
                    </a:cubicBezTo>
                    <a:cubicBezTo>
                      <a:pt x="18219" y="8893"/>
                      <a:pt x="18204" y="8893"/>
                      <a:pt x="18201" y="8898"/>
                    </a:cubicBezTo>
                    <a:cubicBezTo>
                      <a:pt x="18197" y="8904"/>
                      <a:pt x="18193" y="8926"/>
                      <a:pt x="18189" y="8935"/>
                    </a:cubicBezTo>
                    <a:cubicBezTo>
                      <a:pt x="18184" y="8947"/>
                      <a:pt x="18179" y="8959"/>
                      <a:pt x="18175" y="8972"/>
                    </a:cubicBezTo>
                    <a:cubicBezTo>
                      <a:pt x="18167" y="8997"/>
                      <a:pt x="18158" y="9025"/>
                      <a:pt x="18158" y="9055"/>
                    </a:cubicBezTo>
                    <a:cubicBezTo>
                      <a:pt x="18158" y="9088"/>
                      <a:pt x="18153" y="9115"/>
                      <a:pt x="18177" y="9117"/>
                    </a:cubicBezTo>
                    <a:cubicBezTo>
                      <a:pt x="18186" y="9118"/>
                      <a:pt x="18195" y="9116"/>
                      <a:pt x="18195" y="9138"/>
                    </a:cubicBezTo>
                    <a:cubicBezTo>
                      <a:pt x="18196" y="9152"/>
                      <a:pt x="18188" y="9156"/>
                      <a:pt x="18184" y="9170"/>
                    </a:cubicBezTo>
                    <a:cubicBezTo>
                      <a:pt x="18180" y="9183"/>
                      <a:pt x="18183" y="9197"/>
                      <a:pt x="18181" y="9210"/>
                    </a:cubicBezTo>
                    <a:cubicBezTo>
                      <a:pt x="18179" y="9221"/>
                      <a:pt x="18170" y="9238"/>
                      <a:pt x="18163" y="9243"/>
                    </a:cubicBezTo>
                    <a:cubicBezTo>
                      <a:pt x="18156" y="9249"/>
                      <a:pt x="18148" y="9245"/>
                      <a:pt x="18141" y="9245"/>
                    </a:cubicBezTo>
                    <a:cubicBezTo>
                      <a:pt x="18136" y="9244"/>
                      <a:pt x="18136" y="9238"/>
                      <a:pt x="18133" y="9248"/>
                    </a:cubicBezTo>
                    <a:cubicBezTo>
                      <a:pt x="18131" y="9257"/>
                      <a:pt x="18135" y="9265"/>
                      <a:pt x="18139" y="9269"/>
                    </a:cubicBezTo>
                    <a:cubicBezTo>
                      <a:pt x="18146" y="9275"/>
                      <a:pt x="18157" y="9268"/>
                      <a:pt x="18164" y="9268"/>
                    </a:cubicBezTo>
                    <a:cubicBezTo>
                      <a:pt x="18175" y="9268"/>
                      <a:pt x="18173" y="9279"/>
                      <a:pt x="18178" y="9294"/>
                    </a:cubicBezTo>
                    <a:cubicBezTo>
                      <a:pt x="18182" y="9308"/>
                      <a:pt x="18184" y="9312"/>
                      <a:pt x="18194" y="9314"/>
                    </a:cubicBezTo>
                    <a:cubicBezTo>
                      <a:pt x="18200" y="9315"/>
                      <a:pt x="18212" y="9311"/>
                      <a:pt x="18213" y="9328"/>
                    </a:cubicBezTo>
                    <a:cubicBezTo>
                      <a:pt x="18214" y="9353"/>
                      <a:pt x="18182" y="9342"/>
                      <a:pt x="18184" y="9369"/>
                    </a:cubicBezTo>
                    <a:cubicBezTo>
                      <a:pt x="18193" y="9374"/>
                      <a:pt x="18206" y="9367"/>
                      <a:pt x="18212" y="9381"/>
                    </a:cubicBezTo>
                    <a:cubicBezTo>
                      <a:pt x="18218" y="9396"/>
                      <a:pt x="18212" y="9411"/>
                      <a:pt x="18202" y="9411"/>
                    </a:cubicBezTo>
                    <a:cubicBezTo>
                      <a:pt x="18194" y="9411"/>
                      <a:pt x="18174" y="9417"/>
                      <a:pt x="18176" y="9437"/>
                    </a:cubicBezTo>
                    <a:cubicBezTo>
                      <a:pt x="18177" y="9454"/>
                      <a:pt x="18190" y="9470"/>
                      <a:pt x="18195" y="9482"/>
                    </a:cubicBezTo>
                    <a:cubicBezTo>
                      <a:pt x="18201" y="9496"/>
                      <a:pt x="18207" y="9506"/>
                      <a:pt x="18210" y="9522"/>
                    </a:cubicBezTo>
                    <a:cubicBezTo>
                      <a:pt x="18213" y="9538"/>
                      <a:pt x="18218" y="9548"/>
                      <a:pt x="18227" y="9537"/>
                    </a:cubicBezTo>
                    <a:cubicBezTo>
                      <a:pt x="18232" y="9530"/>
                      <a:pt x="18249" y="9515"/>
                      <a:pt x="18255" y="9517"/>
                    </a:cubicBezTo>
                    <a:cubicBezTo>
                      <a:pt x="18260" y="9530"/>
                      <a:pt x="18259" y="9571"/>
                      <a:pt x="18255" y="9586"/>
                    </a:cubicBezTo>
                    <a:cubicBezTo>
                      <a:pt x="18252" y="9602"/>
                      <a:pt x="18239" y="9626"/>
                      <a:pt x="18230" y="9604"/>
                    </a:cubicBezTo>
                    <a:cubicBezTo>
                      <a:pt x="18222" y="9585"/>
                      <a:pt x="18222" y="9563"/>
                      <a:pt x="18205" y="9566"/>
                    </a:cubicBezTo>
                    <a:cubicBezTo>
                      <a:pt x="18193" y="9567"/>
                      <a:pt x="18187" y="9599"/>
                      <a:pt x="18186" y="9617"/>
                    </a:cubicBezTo>
                    <a:cubicBezTo>
                      <a:pt x="18184" y="9644"/>
                      <a:pt x="18177" y="9657"/>
                      <a:pt x="18163" y="9672"/>
                    </a:cubicBezTo>
                    <a:cubicBezTo>
                      <a:pt x="18158" y="9678"/>
                      <a:pt x="18150" y="9682"/>
                      <a:pt x="18146" y="9691"/>
                    </a:cubicBezTo>
                    <a:cubicBezTo>
                      <a:pt x="18143" y="9698"/>
                      <a:pt x="18144" y="9709"/>
                      <a:pt x="18144" y="9718"/>
                    </a:cubicBezTo>
                    <a:cubicBezTo>
                      <a:pt x="18144" y="9741"/>
                      <a:pt x="18143" y="9766"/>
                      <a:pt x="18158" y="9776"/>
                    </a:cubicBezTo>
                    <a:cubicBezTo>
                      <a:pt x="18167" y="9783"/>
                      <a:pt x="18185" y="9787"/>
                      <a:pt x="18189" y="9806"/>
                    </a:cubicBezTo>
                    <a:cubicBezTo>
                      <a:pt x="18193" y="9826"/>
                      <a:pt x="18175" y="9836"/>
                      <a:pt x="18191" y="9844"/>
                    </a:cubicBezTo>
                    <a:cubicBezTo>
                      <a:pt x="18196" y="9847"/>
                      <a:pt x="18199" y="9849"/>
                      <a:pt x="18203" y="9853"/>
                    </a:cubicBezTo>
                    <a:cubicBezTo>
                      <a:pt x="18206" y="9856"/>
                      <a:pt x="18212" y="9866"/>
                      <a:pt x="18215" y="9867"/>
                    </a:cubicBezTo>
                    <a:cubicBezTo>
                      <a:pt x="18222" y="9867"/>
                      <a:pt x="18221" y="9853"/>
                      <a:pt x="18222" y="9846"/>
                    </a:cubicBezTo>
                    <a:cubicBezTo>
                      <a:pt x="18223" y="9834"/>
                      <a:pt x="18228" y="9822"/>
                      <a:pt x="18232" y="9813"/>
                    </a:cubicBezTo>
                    <a:cubicBezTo>
                      <a:pt x="18236" y="9804"/>
                      <a:pt x="18241" y="9799"/>
                      <a:pt x="18245" y="9789"/>
                    </a:cubicBezTo>
                    <a:cubicBezTo>
                      <a:pt x="18247" y="9785"/>
                      <a:pt x="18253" y="9770"/>
                      <a:pt x="18257" y="9771"/>
                    </a:cubicBezTo>
                    <a:cubicBezTo>
                      <a:pt x="18261" y="9773"/>
                      <a:pt x="18259" y="9792"/>
                      <a:pt x="18261" y="9799"/>
                    </a:cubicBezTo>
                    <a:cubicBezTo>
                      <a:pt x="18267" y="9825"/>
                      <a:pt x="18279" y="9791"/>
                      <a:pt x="18284" y="9782"/>
                    </a:cubicBezTo>
                    <a:cubicBezTo>
                      <a:pt x="18286" y="9778"/>
                      <a:pt x="18293" y="9764"/>
                      <a:pt x="18296" y="9765"/>
                    </a:cubicBezTo>
                    <a:cubicBezTo>
                      <a:pt x="18302" y="9767"/>
                      <a:pt x="18299" y="9781"/>
                      <a:pt x="18297" y="9786"/>
                    </a:cubicBezTo>
                    <a:cubicBezTo>
                      <a:pt x="18294" y="9797"/>
                      <a:pt x="18291" y="9810"/>
                      <a:pt x="18287" y="9820"/>
                    </a:cubicBezTo>
                    <a:cubicBezTo>
                      <a:pt x="18284" y="9826"/>
                      <a:pt x="18279" y="9830"/>
                      <a:pt x="18277" y="9837"/>
                    </a:cubicBezTo>
                    <a:cubicBezTo>
                      <a:pt x="18275" y="9845"/>
                      <a:pt x="18273" y="9855"/>
                      <a:pt x="18276" y="9863"/>
                    </a:cubicBezTo>
                    <a:cubicBezTo>
                      <a:pt x="18278" y="9868"/>
                      <a:pt x="18281" y="9869"/>
                      <a:pt x="18284" y="9873"/>
                    </a:cubicBezTo>
                    <a:cubicBezTo>
                      <a:pt x="18287" y="9877"/>
                      <a:pt x="18289" y="9882"/>
                      <a:pt x="18292" y="9886"/>
                    </a:cubicBezTo>
                    <a:cubicBezTo>
                      <a:pt x="18296" y="9893"/>
                      <a:pt x="18300" y="9900"/>
                      <a:pt x="18297" y="9910"/>
                    </a:cubicBezTo>
                    <a:cubicBezTo>
                      <a:pt x="18295" y="9917"/>
                      <a:pt x="18292" y="9920"/>
                      <a:pt x="18288" y="9921"/>
                    </a:cubicBezTo>
                    <a:cubicBezTo>
                      <a:pt x="18283" y="9921"/>
                      <a:pt x="18276" y="9917"/>
                      <a:pt x="18274" y="9927"/>
                    </a:cubicBezTo>
                    <a:cubicBezTo>
                      <a:pt x="18272" y="9940"/>
                      <a:pt x="18283" y="9947"/>
                      <a:pt x="18288" y="9950"/>
                    </a:cubicBezTo>
                    <a:cubicBezTo>
                      <a:pt x="18294" y="9952"/>
                      <a:pt x="18297" y="9956"/>
                      <a:pt x="18301" y="9961"/>
                    </a:cubicBezTo>
                    <a:cubicBezTo>
                      <a:pt x="18305" y="9964"/>
                      <a:pt x="18308" y="9963"/>
                      <a:pt x="18312" y="9965"/>
                    </a:cubicBezTo>
                    <a:cubicBezTo>
                      <a:pt x="18320" y="9969"/>
                      <a:pt x="18327" y="9980"/>
                      <a:pt x="18330" y="9991"/>
                    </a:cubicBezTo>
                    <a:cubicBezTo>
                      <a:pt x="18334" y="10004"/>
                      <a:pt x="18327" y="10013"/>
                      <a:pt x="18322" y="10022"/>
                    </a:cubicBezTo>
                    <a:cubicBezTo>
                      <a:pt x="18316" y="10033"/>
                      <a:pt x="18313" y="10045"/>
                      <a:pt x="18310" y="10059"/>
                    </a:cubicBezTo>
                    <a:cubicBezTo>
                      <a:pt x="18307" y="10073"/>
                      <a:pt x="18307" y="10096"/>
                      <a:pt x="18314" y="10106"/>
                    </a:cubicBezTo>
                    <a:cubicBezTo>
                      <a:pt x="18319" y="10112"/>
                      <a:pt x="18327" y="10109"/>
                      <a:pt x="18332" y="10109"/>
                    </a:cubicBezTo>
                    <a:cubicBezTo>
                      <a:pt x="18341" y="10110"/>
                      <a:pt x="18349" y="10111"/>
                      <a:pt x="18357" y="10111"/>
                    </a:cubicBezTo>
                    <a:cubicBezTo>
                      <a:pt x="18366" y="10111"/>
                      <a:pt x="18377" y="10110"/>
                      <a:pt x="18384" y="10119"/>
                    </a:cubicBezTo>
                    <a:cubicBezTo>
                      <a:pt x="18385" y="10120"/>
                      <a:pt x="18386" y="10121"/>
                      <a:pt x="18386" y="10122"/>
                    </a:cubicBezTo>
                    <a:cubicBezTo>
                      <a:pt x="18395" y="10138"/>
                      <a:pt x="18379" y="10157"/>
                      <a:pt x="18374" y="10168"/>
                    </a:cubicBezTo>
                    <a:cubicBezTo>
                      <a:pt x="18370" y="10177"/>
                      <a:pt x="18365" y="10187"/>
                      <a:pt x="18361" y="10195"/>
                    </a:cubicBezTo>
                    <a:cubicBezTo>
                      <a:pt x="18357" y="10200"/>
                      <a:pt x="18354" y="10203"/>
                      <a:pt x="18352" y="10210"/>
                    </a:cubicBezTo>
                    <a:cubicBezTo>
                      <a:pt x="18345" y="10231"/>
                      <a:pt x="18362" y="10245"/>
                      <a:pt x="18357" y="10267"/>
                    </a:cubicBezTo>
                    <a:cubicBezTo>
                      <a:pt x="18352" y="10290"/>
                      <a:pt x="18338" y="10308"/>
                      <a:pt x="18331" y="10329"/>
                    </a:cubicBezTo>
                    <a:cubicBezTo>
                      <a:pt x="18324" y="10352"/>
                      <a:pt x="18314" y="10371"/>
                      <a:pt x="18305" y="10392"/>
                    </a:cubicBezTo>
                    <a:cubicBezTo>
                      <a:pt x="18293" y="10422"/>
                      <a:pt x="18283" y="10455"/>
                      <a:pt x="18279" y="10491"/>
                    </a:cubicBezTo>
                    <a:cubicBezTo>
                      <a:pt x="18275" y="10528"/>
                      <a:pt x="18276" y="10569"/>
                      <a:pt x="18269" y="10605"/>
                    </a:cubicBezTo>
                    <a:cubicBezTo>
                      <a:pt x="18266" y="10621"/>
                      <a:pt x="18264" y="10638"/>
                      <a:pt x="18262" y="10654"/>
                    </a:cubicBezTo>
                    <a:cubicBezTo>
                      <a:pt x="18257" y="10685"/>
                      <a:pt x="18254" y="10717"/>
                      <a:pt x="18246" y="10745"/>
                    </a:cubicBezTo>
                    <a:cubicBezTo>
                      <a:pt x="18242" y="10757"/>
                      <a:pt x="18236" y="10771"/>
                      <a:pt x="18235" y="10783"/>
                    </a:cubicBezTo>
                    <a:cubicBezTo>
                      <a:pt x="18234" y="10799"/>
                      <a:pt x="18242" y="10812"/>
                      <a:pt x="18247" y="10823"/>
                    </a:cubicBezTo>
                    <a:cubicBezTo>
                      <a:pt x="18252" y="10833"/>
                      <a:pt x="18256" y="10852"/>
                      <a:pt x="18265" y="10851"/>
                    </a:cubicBezTo>
                    <a:cubicBezTo>
                      <a:pt x="18275" y="10849"/>
                      <a:pt x="18275" y="10822"/>
                      <a:pt x="18277" y="10809"/>
                    </a:cubicBezTo>
                    <a:cubicBezTo>
                      <a:pt x="18282" y="10777"/>
                      <a:pt x="18291" y="10748"/>
                      <a:pt x="18297" y="10717"/>
                    </a:cubicBezTo>
                    <a:cubicBezTo>
                      <a:pt x="18303" y="10684"/>
                      <a:pt x="18309" y="10650"/>
                      <a:pt x="18317" y="10618"/>
                    </a:cubicBezTo>
                    <a:cubicBezTo>
                      <a:pt x="18327" y="10582"/>
                      <a:pt x="18334" y="10543"/>
                      <a:pt x="18354" y="10519"/>
                    </a:cubicBezTo>
                    <a:cubicBezTo>
                      <a:pt x="18370" y="10500"/>
                      <a:pt x="18384" y="10499"/>
                      <a:pt x="18392" y="10464"/>
                    </a:cubicBezTo>
                    <a:cubicBezTo>
                      <a:pt x="18408" y="10399"/>
                      <a:pt x="18415" y="10329"/>
                      <a:pt x="18435" y="10267"/>
                    </a:cubicBezTo>
                    <a:cubicBezTo>
                      <a:pt x="18444" y="10239"/>
                      <a:pt x="18456" y="10218"/>
                      <a:pt x="18457" y="10184"/>
                    </a:cubicBezTo>
                    <a:cubicBezTo>
                      <a:pt x="18458" y="10165"/>
                      <a:pt x="18460" y="10147"/>
                      <a:pt x="18461" y="10128"/>
                    </a:cubicBezTo>
                    <a:cubicBezTo>
                      <a:pt x="18461" y="10119"/>
                      <a:pt x="18461" y="10111"/>
                      <a:pt x="18461" y="10102"/>
                    </a:cubicBezTo>
                    <a:cubicBezTo>
                      <a:pt x="18461" y="10093"/>
                      <a:pt x="18461" y="10084"/>
                      <a:pt x="18463" y="10076"/>
                    </a:cubicBezTo>
                    <a:cubicBezTo>
                      <a:pt x="18470" y="10050"/>
                      <a:pt x="18481" y="10030"/>
                      <a:pt x="18492" y="10010"/>
                    </a:cubicBezTo>
                    <a:cubicBezTo>
                      <a:pt x="18504" y="9988"/>
                      <a:pt x="18511" y="9965"/>
                      <a:pt x="18521" y="9942"/>
                    </a:cubicBezTo>
                    <a:cubicBezTo>
                      <a:pt x="18525" y="9930"/>
                      <a:pt x="18531" y="9923"/>
                      <a:pt x="18535" y="9911"/>
                    </a:cubicBezTo>
                    <a:cubicBezTo>
                      <a:pt x="18540" y="9900"/>
                      <a:pt x="18543" y="9887"/>
                      <a:pt x="18547" y="9874"/>
                    </a:cubicBezTo>
                    <a:cubicBezTo>
                      <a:pt x="18551" y="9860"/>
                      <a:pt x="18555" y="9855"/>
                      <a:pt x="18561" y="9844"/>
                    </a:cubicBezTo>
                    <a:cubicBezTo>
                      <a:pt x="18572" y="9826"/>
                      <a:pt x="18573" y="9780"/>
                      <a:pt x="18572" y="9753"/>
                    </a:cubicBezTo>
                    <a:cubicBezTo>
                      <a:pt x="18572" y="9736"/>
                      <a:pt x="18571" y="9719"/>
                      <a:pt x="18572" y="9703"/>
                    </a:cubicBezTo>
                    <a:cubicBezTo>
                      <a:pt x="18572" y="9687"/>
                      <a:pt x="18573" y="9671"/>
                      <a:pt x="18578" y="9656"/>
                    </a:cubicBezTo>
                    <a:cubicBezTo>
                      <a:pt x="18584" y="9637"/>
                      <a:pt x="18601" y="9579"/>
                      <a:pt x="18575" y="9595"/>
                    </a:cubicBezTo>
                    <a:cubicBezTo>
                      <a:pt x="18566" y="9601"/>
                      <a:pt x="18558" y="9610"/>
                      <a:pt x="18553" y="9587"/>
                    </a:cubicBezTo>
                    <a:cubicBezTo>
                      <a:pt x="18550" y="9571"/>
                      <a:pt x="18556" y="9558"/>
                      <a:pt x="18558" y="9544"/>
                    </a:cubicBezTo>
                    <a:cubicBezTo>
                      <a:pt x="18560" y="9527"/>
                      <a:pt x="18558" y="9509"/>
                      <a:pt x="18563" y="9493"/>
                    </a:cubicBezTo>
                    <a:cubicBezTo>
                      <a:pt x="18567" y="9481"/>
                      <a:pt x="18575" y="9472"/>
                      <a:pt x="18577" y="9457"/>
                    </a:cubicBezTo>
                    <a:cubicBezTo>
                      <a:pt x="18579" y="9443"/>
                      <a:pt x="18576" y="9430"/>
                      <a:pt x="18569" y="9421"/>
                    </a:cubicBezTo>
                    <a:cubicBezTo>
                      <a:pt x="18559" y="9407"/>
                      <a:pt x="18546" y="9408"/>
                      <a:pt x="18537" y="9391"/>
                    </a:cubicBezTo>
                    <a:cubicBezTo>
                      <a:pt x="18527" y="9372"/>
                      <a:pt x="18521" y="9348"/>
                      <a:pt x="18514" y="9326"/>
                    </a:cubicBezTo>
                    <a:cubicBezTo>
                      <a:pt x="18505" y="9296"/>
                      <a:pt x="18501" y="9269"/>
                      <a:pt x="18496" y="9237"/>
                    </a:cubicBezTo>
                    <a:cubicBezTo>
                      <a:pt x="18494" y="9221"/>
                      <a:pt x="18492" y="9209"/>
                      <a:pt x="18486" y="9196"/>
                    </a:cubicBezTo>
                    <a:cubicBezTo>
                      <a:pt x="18481" y="9184"/>
                      <a:pt x="18472" y="9172"/>
                      <a:pt x="18468" y="9159"/>
                    </a:cubicBezTo>
                    <a:cubicBezTo>
                      <a:pt x="18464" y="9144"/>
                      <a:pt x="18467" y="9118"/>
                      <a:pt x="18467" y="9102"/>
                    </a:cubicBezTo>
                    <a:cubicBezTo>
                      <a:pt x="18467" y="9081"/>
                      <a:pt x="18467" y="9060"/>
                      <a:pt x="18468" y="9038"/>
                    </a:cubicBezTo>
                    <a:cubicBezTo>
                      <a:pt x="18468" y="9022"/>
                      <a:pt x="18469" y="9004"/>
                      <a:pt x="18468" y="8988"/>
                    </a:cubicBezTo>
                    <a:cubicBezTo>
                      <a:pt x="18467" y="8969"/>
                      <a:pt x="18460" y="8962"/>
                      <a:pt x="18453" y="8948"/>
                    </a:cubicBezTo>
                    <a:cubicBezTo>
                      <a:pt x="18442" y="8925"/>
                      <a:pt x="18431" y="8895"/>
                      <a:pt x="18422" y="8868"/>
                    </a:cubicBezTo>
                    <a:cubicBezTo>
                      <a:pt x="18414" y="8843"/>
                      <a:pt x="18396" y="8819"/>
                      <a:pt x="18402" y="8788"/>
                    </a:cubicBezTo>
                    <a:cubicBezTo>
                      <a:pt x="18403" y="8781"/>
                      <a:pt x="18413" y="8754"/>
                      <a:pt x="18417" y="8752"/>
                    </a:cubicBezTo>
                    <a:cubicBezTo>
                      <a:pt x="18420" y="8751"/>
                      <a:pt x="18421" y="8753"/>
                      <a:pt x="18423" y="8757"/>
                    </a:cubicBezTo>
                    <a:cubicBezTo>
                      <a:pt x="18426" y="8765"/>
                      <a:pt x="18425" y="8784"/>
                      <a:pt x="18426" y="8791"/>
                    </a:cubicBezTo>
                    <a:cubicBezTo>
                      <a:pt x="18428" y="8822"/>
                      <a:pt x="18447" y="8829"/>
                      <a:pt x="18457" y="8852"/>
                    </a:cubicBezTo>
                    <a:cubicBezTo>
                      <a:pt x="18467" y="8873"/>
                      <a:pt x="18475" y="8898"/>
                      <a:pt x="18489" y="8914"/>
                    </a:cubicBezTo>
                    <a:cubicBezTo>
                      <a:pt x="18504" y="8930"/>
                      <a:pt x="18521" y="8951"/>
                      <a:pt x="18531" y="8976"/>
                    </a:cubicBezTo>
                    <a:cubicBezTo>
                      <a:pt x="18537" y="8991"/>
                      <a:pt x="18538" y="9014"/>
                      <a:pt x="18544" y="9027"/>
                    </a:cubicBezTo>
                    <a:cubicBezTo>
                      <a:pt x="18549" y="9038"/>
                      <a:pt x="18558" y="9038"/>
                      <a:pt x="18567" y="9038"/>
                    </a:cubicBezTo>
                    <a:cubicBezTo>
                      <a:pt x="18575" y="9039"/>
                      <a:pt x="18584" y="9036"/>
                      <a:pt x="18592" y="9039"/>
                    </a:cubicBezTo>
                    <a:cubicBezTo>
                      <a:pt x="18604" y="9043"/>
                      <a:pt x="18611" y="9056"/>
                      <a:pt x="18624" y="9056"/>
                    </a:cubicBezTo>
                    <a:cubicBezTo>
                      <a:pt x="18631" y="9056"/>
                      <a:pt x="18645" y="9052"/>
                      <a:pt x="18651" y="9061"/>
                    </a:cubicBezTo>
                    <a:cubicBezTo>
                      <a:pt x="18657" y="9071"/>
                      <a:pt x="18656" y="9096"/>
                      <a:pt x="18658" y="9110"/>
                    </a:cubicBezTo>
                    <a:cubicBezTo>
                      <a:pt x="18660" y="9128"/>
                      <a:pt x="18662" y="9148"/>
                      <a:pt x="18661" y="9167"/>
                    </a:cubicBezTo>
                    <a:cubicBezTo>
                      <a:pt x="18660" y="9187"/>
                      <a:pt x="18656" y="9190"/>
                      <a:pt x="18648" y="9203"/>
                    </a:cubicBezTo>
                    <a:cubicBezTo>
                      <a:pt x="18640" y="9218"/>
                      <a:pt x="18634" y="9255"/>
                      <a:pt x="18640" y="9274"/>
                    </a:cubicBezTo>
                    <a:cubicBezTo>
                      <a:pt x="18651" y="9309"/>
                      <a:pt x="18669" y="9239"/>
                      <a:pt x="18675" y="9223"/>
                    </a:cubicBezTo>
                    <a:cubicBezTo>
                      <a:pt x="18682" y="9203"/>
                      <a:pt x="18687" y="9184"/>
                      <a:pt x="18695" y="9165"/>
                    </a:cubicBezTo>
                    <a:cubicBezTo>
                      <a:pt x="18711" y="9128"/>
                      <a:pt x="18724" y="9089"/>
                      <a:pt x="18738" y="9052"/>
                    </a:cubicBezTo>
                    <a:cubicBezTo>
                      <a:pt x="18744" y="9037"/>
                      <a:pt x="18751" y="9022"/>
                      <a:pt x="18754" y="9006"/>
                    </a:cubicBezTo>
                    <a:cubicBezTo>
                      <a:pt x="18758" y="8988"/>
                      <a:pt x="18755" y="8983"/>
                      <a:pt x="18753" y="8967"/>
                    </a:cubicBezTo>
                    <a:cubicBezTo>
                      <a:pt x="18749" y="8934"/>
                      <a:pt x="18778" y="8905"/>
                      <a:pt x="18792" y="8892"/>
                    </a:cubicBezTo>
                    <a:cubicBezTo>
                      <a:pt x="18807" y="8878"/>
                      <a:pt x="18833" y="8868"/>
                      <a:pt x="18837" y="8836"/>
                    </a:cubicBezTo>
                    <a:cubicBezTo>
                      <a:pt x="18840" y="8821"/>
                      <a:pt x="18836" y="8802"/>
                      <a:pt x="18837" y="8786"/>
                    </a:cubicBezTo>
                    <a:cubicBezTo>
                      <a:pt x="18839" y="8765"/>
                      <a:pt x="18859" y="8749"/>
                      <a:pt x="18869" y="8740"/>
                    </a:cubicBezTo>
                    <a:cubicBezTo>
                      <a:pt x="18876" y="8734"/>
                      <a:pt x="18886" y="8726"/>
                      <a:pt x="18891" y="8716"/>
                    </a:cubicBezTo>
                    <a:cubicBezTo>
                      <a:pt x="18904" y="8694"/>
                      <a:pt x="18907" y="8648"/>
                      <a:pt x="18914" y="8619"/>
                    </a:cubicBezTo>
                    <a:cubicBezTo>
                      <a:pt x="18924" y="8575"/>
                      <a:pt x="18932" y="8534"/>
                      <a:pt x="18936" y="8486"/>
                    </a:cubicBezTo>
                    <a:cubicBezTo>
                      <a:pt x="18939" y="8449"/>
                      <a:pt x="18942" y="8411"/>
                      <a:pt x="18944" y="8374"/>
                    </a:cubicBezTo>
                    <a:cubicBezTo>
                      <a:pt x="18947" y="8342"/>
                      <a:pt x="18955" y="8322"/>
                      <a:pt x="18963" y="8294"/>
                    </a:cubicBezTo>
                    <a:cubicBezTo>
                      <a:pt x="18970" y="8271"/>
                      <a:pt x="18973" y="8244"/>
                      <a:pt x="18978" y="8219"/>
                    </a:cubicBezTo>
                    <a:cubicBezTo>
                      <a:pt x="18986" y="8182"/>
                      <a:pt x="18990" y="8145"/>
                      <a:pt x="18995" y="8108"/>
                    </a:cubicBezTo>
                    <a:cubicBezTo>
                      <a:pt x="18999" y="8070"/>
                      <a:pt x="19005" y="8025"/>
                      <a:pt x="19001" y="7986"/>
                    </a:cubicBezTo>
                    <a:cubicBezTo>
                      <a:pt x="18998" y="7951"/>
                      <a:pt x="18975" y="7959"/>
                      <a:pt x="18958" y="7954"/>
                    </a:cubicBezTo>
                    <a:cubicBezTo>
                      <a:pt x="18951" y="7952"/>
                      <a:pt x="18940" y="7953"/>
                      <a:pt x="18933" y="7947"/>
                    </a:cubicBezTo>
                    <a:cubicBezTo>
                      <a:pt x="18928" y="7943"/>
                      <a:pt x="18928" y="7938"/>
                      <a:pt x="18924" y="7933"/>
                    </a:cubicBezTo>
                    <a:cubicBezTo>
                      <a:pt x="18919" y="7928"/>
                      <a:pt x="18917" y="7930"/>
                      <a:pt x="18911" y="7928"/>
                    </a:cubicBezTo>
                    <a:cubicBezTo>
                      <a:pt x="18903" y="7926"/>
                      <a:pt x="18896" y="7919"/>
                      <a:pt x="18899" y="7901"/>
                    </a:cubicBezTo>
                    <a:cubicBezTo>
                      <a:pt x="18901" y="7888"/>
                      <a:pt x="18910" y="7880"/>
                      <a:pt x="18918" y="7872"/>
                    </a:cubicBezTo>
                    <a:cubicBezTo>
                      <a:pt x="18920" y="7871"/>
                      <a:pt x="18921" y="7869"/>
                      <a:pt x="18923" y="7867"/>
                    </a:cubicBezTo>
                    <a:cubicBezTo>
                      <a:pt x="18932" y="7857"/>
                      <a:pt x="18945" y="7848"/>
                      <a:pt x="18952" y="7834"/>
                    </a:cubicBezTo>
                    <a:cubicBezTo>
                      <a:pt x="18960" y="7818"/>
                      <a:pt x="18963" y="7794"/>
                      <a:pt x="18972" y="7780"/>
                    </a:cubicBezTo>
                    <a:cubicBezTo>
                      <a:pt x="18988" y="7754"/>
                      <a:pt x="19004" y="7791"/>
                      <a:pt x="19019" y="7799"/>
                    </a:cubicBezTo>
                    <a:cubicBezTo>
                      <a:pt x="19039" y="7809"/>
                      <a:pt x="19037" y="7785"/>
                      <a:pt x="19053" y="7775"/>
                    </a:cubicBezTo>
                    <a:cubicBezTo>
                      <a:pt x="19065" y="7768"/>
                      <a:pt x="19080" y="7774"/>
                      <a:pt x="19092" y="7777"/>
                    </a:cubicBezTo>
                    <a:cubicBezTo>
                      <a:pt x="19104" y="7781"/>
                      <a:pt x="19115" y="7781"/>
                      <a:pt x="19128" y="7778"/>
                    </a:cubicBezTo>
                    <a:cubicBezTo>
                      <a:pt x="19155" y="7772"/>
                      <a:pt x="19182" y="7758"/>
                      <a:pt x="19208" y="7741"/>
                    </a:cubicBezTo>
                    <a:cubicBezTo>
                      <a:pt x="19229" y="7727"/>
                      <a:pt x="19250" y="7715"/>
                      <a:pt x="19271" y="7702"/>
                    </a:cubicBezTo>
                    <a:cubicBezTo>
                      <a:pt x="19282" y="7694"/>
                      <a:pt x="19294" y="7688"/>
                      <a:pt x="19305" y="7679"/>
                    </a:cubicBezTo>
                    <a:cubicBezTo>
                      <a:pt x="19313" y="7672"/>
                      <a:pt x="19321" y="7664"/>
                      <a:pt x="19330" y="7661"/>
                    </a:cubicBezTo>
                    <a:cubicBezTo>
                      <a:pt x="19350" y="7654"/>
                      <a:pt x="19371" y="7653"/>
                      <a:pt x="19390" y="7646"/>
                    </a:cubicBezTo>
                    <a:cubicBezTo>
                      <a:pt x="19415" y="7637"/>
                      <a:pt x="19437" y="7628"/>
                      <a:pt x="19461" y="7622"/>
                    </a:cubicBezTo>
                    <a:cubicBezTo>
                      <a:pt x="19475" y="7618"/>
                      <a:pt x="19489" y="7615"/>
                      <a:pt x="19502" y="7610"/>
                    </a:cubicBezTo>
                    <a:cubicBezTo>
                      <a:pt x="19512" y="7607"/>
                      <a:pt x="19521" y="7607"/>
                      <a:pt x="19529" y="7599"/>
                    </a:cubicBezTo>
                    <a:cubicBezTo>
                      <a:pt x="19538" y="7591"/>
                      <a:pt x="19542" y="7576"/>
                      <a:pt x="19548" y="7562"/>
                    </a:cubicBezTo>
                    <a:cubicBezTo>
                      <a:pt x="19556" y="7545"/>
                      <a:pt x="19560" y="7545"/>
                      <a:pt x="19570" y="7553"/>
                    </a:cubicBezTo>
                    <a:cubicBezTo>
                      <a:pt x="19578" y="7560"/>
                      <a:pt x="19586" y="7567"/>
                      <a:pt x="19596" y="7564"/>
                    </a:cubicBezTo>
                    <a:cubicBezTo>
                      <a:pt x="19607" y="7560"/>
                      <a:pt x="19617" y="7535"/>
                      <a:pt x="19627" y="7524"/>
                    </a:cubicBezTo>
                    <a:cubicBezTo>
                      <a:pt x="19638" y="7512"/>
                      <a:pt x="19650" y="7502"/>
                      <a:pt x="19660" y="7490"/>
                    </a:cubicBezTo>
                    <a:cubicBezTo>
                      <a:pt x="19668" y="7482"/>
                      <a:pt x="19684" y="7477"/>
                      <a:pt x="19689" y="7465"/>
                    </a:cubicBezTo>
                    <a:cubicBezTo>
                      <a:pt x="19692" y="7458"/>
                      <a:pt x="19692" y="7424"/>
                      <a:pt x="19689" y="7417"/>
                    </a:cubicBezTo>
                    <a:cubicBezTo>
                      <a:pt x="19683" y="7402"/>
                      <a:pt x="19668" y="7413"/>
                      <a:pt x="19661" y="7420"/>
                    </a:cubicBezTo>
                    <a:cubicBezTo>
                      <a:pt x="19653" y="7429"/>
                      <a:pt x="19648" y="7441"/>
                      <a:pt x="19637" y="7438"/>
                    </a:cubicBezTo>
                    <a:cubicBezTo>
                      <a:pt x="19628" y="7435"/>
                      <a:pt x="19621" y="7421"/>
                      <a:pt x="19620" y="7406"/>
                    </a:cubicBezTo>
                    <a:cubicBezTo>
                      <a:pt x="19620" y="7388"/>
                      <a:pt x="19627" y="7377"/>
                      <a:pt x="19633" y="7363"/>
                    </a:cubicBezTo>
                    <a:cubicBezTo>
                      <a:pt x="19635" y="7357"/>
                      <a:pt x="19647" y="7332"/>
                      <a:pt x="19646" y="7324"/>
                    </a:cubicBezTo>
                    <a:cubicBezTo>
                      <a:pt x="19644" y="7313"/>
                      <a:pt x="19631" y="7321"/>
                      <a:pt x="19627" y="7327"/>
                    </a:cubicBezTo>
                    <a:cubicBezTo>
                      <a:pt x="19621" y="7335"/>
                      <a:pt x="19617" y="7350"/>
                      <a:pt x="19612" y="7361"/>
                    </a:cubicBezTo>
                    <a:cubicBezTo>
                      <a:pt x="19602" y="7384"/>
                      <a:pt x="19593" y="7413"/>
                      <a:pt x="19592" y="7442"/>
                    </a:cubicBezTo>
                    <a:cubicBezTo>
                      <a:pt x="19591" y="7455"/>
                      <a:pt x="19593" y="7477"/>
                      <a:pt x="19587" y="7486"/>
                    </a:cubicBezTo>
                    <a:cubicBezTo>
                      <a:pt x="19580" y="7496"/>
                      <a:pt x="19574" y="7484"/>
                      <a:pt x="19573" y="7470"/>
                    </a:cubicBezTo>
                    <a:cubicBezTo>
                      <a:pt x="19561" y="7467"/>
                      <a:pt x="19562" y="7498"/>
                      <a:pt x="19550" y="7495"/>
                    </a:cubicBezTo>
                    <a:cubicBezTo>
                      <a:pt x="19548" y="7459"/>
                      <a:pt x="19577" y="7436"/>
                      <a:pt x="19574" y="7398"/>
                    </a:cubicBezTo>
                    <a:cubicBezTo>
                      <a:pt x="19555" y="7391"/>
                      <a:pt x="19542" y="7447"/>
                      <a:pt x="19532" y="7466"/>
                    </a:cubicBezTo>
                    <a:cubicBezTo>
                      <a:pt x="19514" y="7503"/>
                      <a:pt x="19485" y="7488"/>
                      <a:pt x="19460" y="7496"/>
                    </a:cubicBezTo>
                    <a:cubicBezTo>
                      <a:pt x="19451" y="7499"/>
                      <a:pt x="19438" y="7504"/>
                      <a:pt x="19429" y="7502"/>
                    </a:cubicBezTo>
                    <a:cubicBezTo>
                      <a:pt x="19417" y="7499"/>
                      <a:pt x="19407" y="7490"/>
                      <a:pt x="19394" y="7489"/>
                    </a:cubicBezTo>
                    <a:cubicBezTo>
                      <a:pt x="19381" y="7488"/>
                      <a:pt x="19366" y="7478"/>
                      <a:pt x="19353" y="7483"/>
                    </a:cubicBezTo>
                    <a:cubicBezTo>
                      <a:pt x="19341" y="7487"/>
                      <a:pt x="19333" y="7495"/>
                      <a:pt x="19320" y="7493"/>
                    </a:cubicBezTo>
                    <a:cubicBezTo>
                      <a:pt x="19309" y="7491"/>
                      <a:pt x="19296" y="7483"/>
                      <a:pt x="19286" y="7501"/>
                    </a:cubicBezTo>
                    <a:cubicBezTo>
                      <a:pt x="19281" y="7512"/>
                      <a:pt x="19279" y="7523"/>
                      <a:pt x="19269" y="7526"/>
                    </a:cubicBezTo>
                    <a:cubicBezTo>
                      <a:pt x="19261" y="7529"/>
                      <a:pt x="19252" y="7522"/>
                      <a:pt x="19245" y="7517"/>
                    </a:cubicBezTo>
                    <a:cubicBezTo>
                      <a:pt x="19226" y="7504"/>
                      <a:pt x="19209" y="7504"/>
                      <a:pt x="19190" y="7516"/>
                    </a:cubicBezTo>
                    <a:cubicBezTo>
                      <a:pt x="19174" y="7526"/>
                      <a:pt x="19157" y="7534"/>
                      <a:pt x="19141" y="7545"/>
                    </a:cubicBezTo>
                    <a:cubicBezTo>
                      <a:pt x="19133" y="7551"/>
                      <a:pt x="19124" y="7558"/>
                      <a:pt x="19117" y="7566"/>
                    </a:cubicBezTo>
                    <a:cubicBezTo>
                      <a:pt x="19111" y="7574"/>
                      <a:pt x="19107" y="7588"/>
                      <a:pt x="19102" y="7598"/>
                    </a:cubicBezTo>
                    <a:cubicBezTo>
                      <a:pt x="19095" y="7609"/>
                      <a:pt x="19089" y="7612"/>
                      <a:pt x="19081" y="7615"/>
                    </a:cubicBezTo>
                    <a:cubicBezTo>
                      <a:pt x="19072" y="7619"/>
                      <a:pt x="19064" y="7627"/>
                      <a:pt x="19055" y="7630"/>
                    </a:cubicBezTo>
                    <a:cubicBezTo>
                      <a:pt x="19047" y="7632"/>
                      <a:pt x="19043" y="7626"/>
                      <a:pt x="19047" y="7610"/>
                    </a:cubicBezTo>
                    <a:cubicBezTo>
                      <a:pt x="19051" y="7597"/>
                      <a:pt x="19062" y="7588"/>
                      <a:pt x="19068" y="7577"/>
                    </a:cubicBezTo>
                    <a:cubicBezTo>
                      <a:pt x="19079" y="7554"/>
                      <a:pt x="19086" y="7525"/>
                      <a:pt x="19098" y="7502"/>
                    </a:cubicBezTo>
                    <a:cubicBezTo>
                      <a:pt x="19107" y="7483"/>
                      <a:pt x="19119" y="7453"/>
                      <a:pt x="19133" y="7445"/>
                    </a:cubicBezTo>
                    <a:cubicBezTo>
                      <a:pt x="19135" y="7444"/>
                      <a:pt x="19137" y="7444"/>
                      <a:pt x="19139" y="7443"/>
                    </a:cubicBezTo>
                    <a:cubicBezTo>
                      <a:pt x="19145" y="7442"/>
                      <a:pt x="19151" y="7443"/>
                      <a:pt x="19157" y="7441"/>
                    </a:cubicBezTo>
                    <a:cubicBezTo>
                      <a:pt x="19165" y="7438"/>
                      <a:pt x="19173" y="7430"/>
                      <a:pt x="19179" y="7425"/>
                    </a:cubicBezTo>
                    <a:cubicBezTo>
                      <a:pt x="19197" y="7414"/>
                      <a:pt x="19211" y="7385"/>
                      <a:pt x="19225" y="7364"/>
                    </a:cubicBezTo>
                    <a:cubicBezTo>
                      <a:pt x="19238" y="7345"/>
                      <a:pt x="19251" y="7325"/>
                      <a:pt x="19265" y="7309"/>
                    </a:cubicBezTo>
                    <a:cubicBezTo>
                      <a:pt x="19282" y="7289"/>
                      <a:pt x="19297" y="7286"/>
                      <a:pt x="19316" y="7275"/>
                    </a:cubicBezTo>
                    <a:cubicBezTo>
                      <a:pt x="19334" y="7265"/>
                      <a:pt x="19352" y="7253"/>
                      <a:pt x="19369" y="7236"/>
                    </a:cubicBezTo>
                    <a:cubicBezTo>
                      <a:pt x="19385" y="7220"/>
                      <a:pt x="19407" y="7193"/>
                      <a:pt x="19425" y="7187"/>
                    </a:cubicBezTo>
                    <a:cubicBezTo>
                      <a:pt x="19443" y="7181"/>
                      <a:pt x="19463" y="7192"/>
                      <a:pt x="19480" y="7181"/>
                    </a:cubicBezTo>
                    <a:cubicBezTo>
                      <a:pt x="19499" y="7169"/>
                      <a:pt x="19518" y="7174"/>
                      <a:pt x="19538" y="7169"/>
                    </a:cubicBezTo>
                    <a:cubicBezTo>
                      <a:pt x="19556" y="7164"/>
                      <a:pt x="19575" y="7165"/>
                      <a:pt x="19593" y="7160"/>
                    </a:cubicBezTo>
                    <a:cubicBezTo>
                      <a:pt x="19602" y="7158"/>
                      <a:pt x="19611" y="7152"/>
                      <a:pt x="19620" y="7152"/>
                    </a:cubicBezTo>
                    <a:cubicBezTo>
                      <a:pt x="19630" y="7152"/>
                      <a:pt x="19636" y="7160"/>
                      <a:pt x="19645" y="7169"/>
                    </a:cubicBezTo>
                    <a:cubicBezTo>
                      <a:pt x="19659" y="7185"/>
                      <a:pt x="19672" y="7194"/>
                      <a:pt x="19689" y="7190"/>
                    </a:cubicBezTo>
                    <a:cubicBezTo>
                      <a:pt x="19703" y="7188"/>
                      <a:pt x="19712" y="7172"/>
                      <a:pt x="19724" y="7168"/>
                    </a:cubicBezTo>
                    <a:cubicBezTo>
                      <a:pt x="19737" y="7163"/>
                      <a:pt x="19752" y="7161"/>
                      <a:pt x="19765" y="7160"/>
                    </a:cubicBezTo>
                    <a:cubicBezTo>
                      <a:pt x="19778" y="7159"/>
                      <a:pt x="19791" y="7161"/>
                      <a:pt x="19804" y="7161"/>
                    </a:cubicBezTo>
                    <a:cubicBezTo>
                      <a:pt x="19807" y="7160"/>
                      <a:pt x="19810" y="7160"/>
                      <a:pt x="19813" y="7160"/>
                    </a:cubicBezTo>
                    <a:cubicBezTo>
                      <a:pt x="19844" y="7155"/>
                      <a:pt x="19870" y="7123"/>
                      <a:pt x="19899" y="7111"/>
                    </a:cubicBezTo>
                    <a:cubicBezTo>
                      <a:pt x="19917" y="7103"/>
                      <a:pt x="19935" y="7095"/>
                      <a:pt x="19948" y="7069"/>
                    </a:cubicBezTo>
                    <a:close/>
                    <a:moveTo>
                      <a:pt x="19948" y="7069"/>
                    </a:moveTo>
                  </a:path>
                </a:pathLst>
              </a:custGeom>
              <a:solidFill>
                <a:srgbClr val="BCBCBC"/>
              </a:solidFill>
              <a:ln w="3175">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217" name="AutoShape 22">
                <a:extLst>
                  <a:ext uri="{FF2B5EF4-FFF2-40B4-BE49-F238E27FC236}">
                    <a16:creationId xmlns:a16="http://schemas.microsoft.com/office/drawing/2014/main" id="{94DDAA1B-FFEA-CE47-9976-39923B5C01B8}"/>
                  </a:ext>
                </a:extLst>
              </p:cNvPr>
              <p:cNvSpPr>
                <a:spLocks/>
              </p:cNvSpPr>
              <p:nvPr/>
            </p:nvSpPr>
            <p:spPr bwMode="auto">
              <a:xfrm>
                <a:off x="13886816" y="956632"/>
                <a:ext cx="1817419" cy="220618"/>
              </a:xfrm>
              <a:custGeom>
                <a:avLst/>
                <a:gdLst/>
                <a:ahLst/>
                <a:cxnLst/>
                <a:rect l="0" t="0" r="r" b="b"/>
                <a:pathLst>
                  <a:path w="21590" h="21572">
                    <a:moveTo>
                      <a:pt x="63" y="21251"/>
                    </a:moveTo>
                    <a:cubicBezTo>
                      <a:pt x="58" y="21289"/>
                      <a:pt x="58" y="21306"/>
                      <a:pt x="51" y="21322"/>
                    </a:cubicBezTo>
                    <a:cubicBezTo>
                      <a:pt x="46" y="21336"/>
                      <a:pt x="38" y="21314"/>
                      <a:pt x="33" y="21332"/>
                    </a:cubicBezTo>
                    <a:cubicBezTo>
                      <a:pt x="18" y="21391"/>
                      <a:pt x="38" y="21484"/>
                      <a:pt x="46" y="21503"/>
                    </a:cubicBezTo>
                    <a:cubicBezTo>
                      <a:pt x="52" y="21516"/>
                      <a:pt x="59" y="21578"/>
                      <a:pt x="65" y="21572"/>
                    </a:cubicBezTo>
                    <a:cubicBezTo>
                      <a:pt x="68" y="21569"/>
                      <a:pt x="82" y="21499"/>
                      <a:pt x="84" y="21479"/>
                    </a:cubicBezTo>
                    <a:cubicBezTo>
                      <a:pt x="91" y="21399"/>
                      <a:pt x="77" y="21138"/>
                      <a:pt x="63" y="21251"/>
                    </a:cubicBezTo>
                    <a:close/>
                    <a:moveTo>
                      <a:pt x="53" y="21147"/>
                    </a:moveTo>
                    <a:cubicBezTo>
                      <a:pt x="55" y="21048"/>
                      <a:pt x="49" y="20923"/>
                      <a:pt x="40" y="20856"/>
                    </a:cubicBezTo>
                    <a:cubicBezTo>
                      <a:pt x="32" y="20797"/>
                      <a:pt x="13" y="20705"/>
                      <a:pt x="3" y="20788"/>
                    </a:cubicBezTo>
                    <a:cubicBezTo>
                      <a:pt x="-5" y="20856"/>
                      <a:pt x="8" y="20993"/>
                      <a:pt x="8" y="21071"/>
                    </a:cubicBezTo>
                    <a:cubicBezTo>
                      <a:pt x="8" y="21126"/>
                      <a:pt x="0" y="21217"/>
                      <a:pt x="2" y="21267"/>
                    </a:cubicBezTo>
                    <a:cubicBezTo>
                      <a:pt x="8" y="21409"/>
                      <a:pt x="50" y="21250"/>
                      <a:pt x="53" y="21147"/>
                    </a:cubicBezTo>
                    <a:close/>
                    <a:moveTo>
                      <a:pt x="21555" y="7580"/>
                    </a:moveTo>
                    <a:cubicBezTo>
                      <a:pt x="21566" y="7540"/>
                      <a:pt x="21585" y="7508"/>
                      <a:pt x="21589" y="7402"/>
                    </a:cubicBezTo>
                    <a:cubicBezTo>
                      <a:pt x="21595" y="7253"/>
                      <a:pt x="21559" y="7162"/>
                      <a:pt x="21547" y="7215"/>
                    </a:cubicBezTo>
                    <a:cubicBezTo>
                      <a:pt x="21539" y="7247"/>
                      <a:pt x="21540" y="7312"/>
                      <a:pt x="21535" y="7358"/>
                    </a:cubicBezTo>
                    <a:cubicBezTo>
                      <a:pt x="21530" y="7405"/>
                      <a:pt x="21525" y="7412"/>
                      <a:pt x="21523" y="7480"/>
                    </a:cubicBezTo>
                    <a:cubicBezTo>
                      <a:pt x="21520" y="7612"/>
                      <a:pt x="21527" y="7741"/>
                      <a:pt x="21524" y="7873"/>
                    </a:cubicBezTo>
                    <a:cubicBezTo>
                      <a:pt x="21523" y="7941"/>
                      <a:pt x="21520" y="7982"/>
                      <a:pt x="21514" y="8029"/>
                    </a:cubicBezTo>
                    <a:cubicBezTo>
                      <a:pt x="21509" y="8062"/>
                      <a:pt x="21500" y="8103"/>
                      <a:pt x="21498" y="8149"/>
                    </a:cubicBezTo>
                    <a:cubicBezTo>
                      <a:pt x="21494" y="8227"/>
                      <a:pt x="21503" y="8232"/>
                      <a:pt x="21510" y="8268"/>
                    </a:cubicBezTo>
                    <a:cubicBezTo>
                      <a:pt x="21517" y="8308"/>
                      <a:pt x="21524" y="8376"/>
                      <a:pt x="21534" y="8358"/>
                    </a:cubicBezTo>
                    <a:cubicBezTo>
                      <a:pt x="21538" y="8270"/>
                      <a:pt x="21531" y="8248"/>
                      <a:pt x="21530" y="8166"/>
                    </a:cubicBezTo>
                    <a:cubicBezTo>
                      <a:pt x="21529" y="8095"/>
                      <a:pt x="21532" y="8015"/>
                      <a:pt x="21538" y="7965"/>
                    </a:cubicBezTo>
                    <a:cubicBezTo>
                      <a:pt x="21543" y="7923"/>
                      <a:pt x="21552" y="7910"/>
                      <a:pt x="21554" y="7850"/>
                    </a:cubicBezTo>
                    <a:cubicBezTo>
                      <a:pt x="21557" y="7769"/>
                      <a:pt x="21547" y="7719"/>
                      <a:pt x="21539" y="7694"/>
                    </a:cubicBezTo>
                    <a:cubicBezTo>
                      <a:pt x="21536" y="7605"/>
                      <a:pt x="21548" y="7607"/>
                      <a:pt x="21555" y="7580"/>
                    </a:cubicBezTo>
                    <a:close/>
                    <a:moveTo>
                      <a:pt x="20909" y="20348"/>
                    </a:moveTo>
                    <a:cubicBezTo>
                      <a:pt x="20899" y="20391"/>
                      <a:pt x="20901" y="20515"/>
                      <a:pt x="20888" y="20529"/>
                    </a:cubicBezTo>
                    <a:cubicBezTo>
                      <a:pt x="20879" y="20539"/>
                      <a:pt x="20869" y="20529"/>
                      <a:pt x="20860" y="20529"/>
                    </a:cubicBezTo>
                    <a:cubicBezTo>
                      <a:pt x="20855" y="20529"/>
                      <a:pt x="20840" y="20504"/>
                      <a:pt x="20842" y="20574"/>
                    </a:cubicBezTo>
                    <a:cubicBezTo>
                      <a:pt x="20848" y="20577"/>
                      <a:pt x="20856" y="20569"/>
                      <a:pt x="20862" y="20591"/>
                    </a:cubicBezTo>
                    <a:cubicBezTo>
                      <a:pt x="20866" y="20605"/>
                      <a:pt x="20867" y="20627"/>
                      <a:pt x="20871" y="20637"/>
                    </a:cubicBezTo>
                    <a:cubicBezTo>
                      <a:pt x="20873" y="20645"/>
                      <a:pt x="20878" y="20641"/>
                      <a:pt x="20881" y="20647"/>
                    </a:cubicBezTo>
                    <a:cubicBezTo>
                      <a:pt x="20893" y="20672"/>
                      <a:pt x="20908" y="20684"/>
                      <a:pt x="20921" y="20672"/>
                    </a:cubicBezTo>
                    <a:cubicBezTo>
                      <a:pt x="20939" y="20658"/>
                      <a:pt x="20926" y="20589"/>
                      <a:pt x="20921" y="20522"/>
                    </a:cubicBezTo>
                    <a:cubicBezTo>
                      <a:pt x="20918" y="20464"/>
                      <a:pt x="20925" y="20283"/>
                      <a:pt x="20909" y="20348"/>
                    </a:cubicBezTo>
                    <a:close/>
                    <a:moveTo>
                      <a:pt x="20707" y="19893"/>
                    </a:moveTo>
                    <a:cubicBezTo>
                      <a:pt x="20697" y="19859"/>
                      <a:pt x="20685" y="19916"/>
                      <a:pt x="20679" y="19974"/>
                    </a:cubicBezTo>
                    <a:cubicBezTo>
                      <a:pt x="20675" y="20011"/>
                      <a:pt x="20671" y="20065"/>
                      <a:pt x="20667" y="20102"/>
                    </a:cubicBezTo>
                    <a:cubicBezTo>
                      <a:pt x="20664" y="20121"/>
                      <a:pt x="20661" y="20130"/>
                      <a:pt x="20658" y="20148"/>
                    </a:cubicBezTo>
                    <a:cubicBezTo>
                      <a:pt x="20656" y="20166"/>
                      <a:pt x="20655" y="20194"/>
                      <a:pt x="20652" y="20210"/>
                    </a:cubicBezTo>
                    <a:cubicBezTo>
                      <a:pt x="20648" y="20240"/>
                      <a:pt x="20639" y="20269"/>
                      <a:pt x="20633" y="20280"/>
                    </a:cubicBezTo>
                    <a:cubicBezTo>
                      <a:pt x="20628" y="20290"/>
                      <a:pt x="20619" y="20278"/>
                      <a:pt x="20622" y="20339"/>
                    </a:cubicBezTo>
                    <a:cubicBezTo>
                      <a:pt x="20624" y="20373"/>
                      <a:pt x="20631" y="20402"/>
                      <a:pt x="20635" y="20400"/>
                    </a:cubicBezTo>
                    <a:cubicBezTo>
                      <a:pt x="20641" y="20397"/>
                      <a:pt x="20647" y="20354"/>
                      <a:pt x="20652" y="20335"/>
                    </a:cubicBezTo>
                    <a:cubicBezTo>
                      <a:pt x="20667" y="20278"/>
                      <a:pt x="20684" y="20255"/>
                      <a:pt x="20700" y="20251"/>
                    </a:cubicBezTo>
                    <a:cubicBezTo>
                      <a:pt x="20708" y="20250"/>
                      <a:pt x="20726" y="20283"/>
                      <a:pt x="20728" y="20184"/>
                    </a:cubicBezTo>
                    <a:cubicBezTo>
                      <a:pt x="20729" y="20128"/>
                      <a:pt x="20730" y="20055"/>
                      <a:pt x="20727" y="20003"/>
                    </a:cubicBezTo>
                    <a:cubicBezTo>
                      <a:pt x="20723" y="19959"/>
                      <a:pt x="20712" y="19912"/>
                      <a:pt x="20707" y="19893"/>
                    </a:cubicBezTo>
                    <a:close/>
                    <a:moveTo>
                      <a:pt x="15814" y="573"/>
                    </a:moveTo>
                    <a:cubicBezTo>
                      <a:pt x="15826" y="612"/>
                      <a:pt x="15836" y="627"/>
                      <a:pt x="15848" y="638"/>
                    </a:cubicBezTo>
                    <a:cubicBezTo>
                      <a:pt x="15859" y="648"/>
                      <a:pt x="15870" y="684"/>
                      <a:pt x="15881" y="690"/>
                    </a:cubicBezTo>
                    <a:cubicBezTo>
                      <a:pt x="15890" y="694"/>
                      <a:pt x="15897" y="693"/>
                      <a:pt x="15902" y="627"/>
                    </a:cubicBezTo>
                    <a:cubicBezTo>
                      <a:pt x="15906" y="565"/>
                      <a:pt x="15913" y="467"/>
                      <a:pt x="15913" y="397"/>
                    </a:cubicBezTo>
                    <a:cubicBezTo>
                      <a:pt x="15914" y="286"/>
                      <a:pt x="15898" y="223"/>
                      <a:pt x="15890" y="147"/>
                    </a:cubicBezTo>
                    <a:cubicBezTo>
                      <a:pt x="15881" y="64"/>
                      <a:pt x="15871" y="-22"/>
                      <a:pt x="15856" y="5"/>
                    </a:cubicBezTo>
                    <a:cubicBezTo>
                      <a:pt x="15831" y="49"/>
                      <a:pt x="15842" y="403"/>
                      <a:pt x="15815" y="438"/>
                    </a:cubicBezTo>
                    <a:cubicBezTo>
                      <a:pt x="15805" y="450"/>
                      <a:pt x="15798" y="407"/>
                      <a:pt x="15788" y="413"/>
                    </a:cubicBezTo>
                    <a:cubicBezTo>
                      <a:pt x="15786" y="519"/>
                      <a:pt x="15805" y="545"/>
                      <a:pt x="15814" y="573"/>
                    </a:cubicBezTo>
                    <a:close/>
                    <a:moveTo>
                      <a:pt x="14642" y="2881"/>
                    </a:moveTo>
                    <a:cubicBezTo>
                      <a:pt x="14633" y="2887"/>
                      <a:pt x="14634" y="2897"/>
                      <a:pt x="14633" y="2968"/>
                    </a:cubicBezTo>
                    <a:cubicBezTo>
                      <a:pt x="14633" y="3071"/>
                      <a:pt x="14629" y="3175"/>
                      <a:pt x="14631" y="3279"/>
                    </a:cubicBezTo>
                    <a:cubicBezTo>
                      <a:pt x="14643" y="3310"/>
                      <a:pt x="14657" y="3141"/>
                      <a:pt x="14659" y="3059"/>
                    </a:cubicBezTo>
                    <a:cubicBezTo>
                      <a:pt x="14662" y="2930"/>
                      <a:pt x="14659" y="2869"/>
                      <a:pt x="14642" y="2881"/>
                    </a:cubicBezTo>
                    <a:close/>
                    <a:moveTo>
                      <a:pt x="14581" y="3539"/>
                    </a:moveTo>
                    <a:cubicBezTo>
                      <a:pt x="14569" y="3639"/>
                      <a:pt x="14569" y="3791"/>
                      <a:pt x="14563" y="3915"/>
                    </a:cubicBezTo>
                    <a:cubicBezTo>
                      <a:pt x="14559" y="4008"/>
                      <a:pt x="14557" y="4016"/>
                      <a:pt x="14544" y="4023"/>
                    </a:cubicBezTo>
                    <a:cubicBezTo>
                      <a:pt x="14534" y="4029"/>
                      <a:pt x="14532" y="4043"/>
                      <a:pt x="14525" y="4115"/>
                    </a:cubicBezTo>
                    <a:cubicBezTo>
                      <a:pt x="14520" y="4176"/>
                      <a:pt x="14518" y="4230"/>
                      <a:pt x="14516" y="4307"/>
                    </a:cubicBezTo>
                    <a:cubicBezTo>
                      <a:pt x="14514" y="4382"/>
                      <a:pt x="14510" y="4447"/>
                      <a:pt x="14507" y="4524"/>
                    </a:cubicBezTo>
                    <a:cubicBezTo>
                      <a:pt x="14502" y="4669"/>
                      <a:pt x="14492" y="4793"/>
                      <a:pt x="14486" y="4933"/>
                    </a:cubicBezTo>
                    <a:cubicBezTo>
                      <a:pt x="14482" y="5022"/>
                      <a:pt x="14475" y="5275"/>
                      <a:pt x="14489" y="5304"/>
                    </a:cubicBezTo>
                    <a:cubicBezTo>
                      <a:pt x="14503" y="5333"/>
                      <a:pt x="14526" y="5195"/>
                      <a:pt x="14531" y="5097"/>
                    </a:cubicBezTo>
                    <a:cubicBezTo>
                      <a:pt x="14539" y="4954"/>
                      <a:pt x="14537" y="4780"/>
                      <a:pt x="14543" y="4631"/>
                    </a:cubicBezTo>
                    <a:cubicBezTo>
                      <a:pt x="14547" y="4523"/>
                      <a:pt x="14556" y="4402"/>
                      <a:pt x="14565" y="4321"/>
                    </a:cubicBezTo>
                    <a:cubicBezTo>
                      <a:pt x="14574" y="4244"/>
                      <a:pt x="14577" y="4194"/>
                      <a:pt x="14579" y="4092"/>
                    </a:cubicBezTo>
                    <a:cubicBezTo>
                      <a:pt x="14581" y="3985"/>
                      <a:pt x="14581" y="3898"/>
                      <a:pt x="14588" y="3799"/>
                    </a:cubicBezTo>
                    <a:cubicBezTo>
                      <a:pt x="14594" y="3697"/>
                      <a:pt x="14609" y="3623"/>
                      <a:pt x="14617" y="3525"/>
                    </a:cubicBezTo>
                    <a:cubicBezTo>
                      <a:pt x="14635" y="3288"/>
                      <a:pt x="14591" y="3455"/>
                      <a:pt x="14581" y="3539"/>
                    </a:cubicBezTo>
                    <a:close/>
                    <a:moveTo>
                      <a:pt x="14581" y="3539"/>
                    </a:moveTo>
                  </a:path>
                </a:pathLst>
              </a:custGeom>
              <a:solidFill>
                <a:srgbClr val="BCBCBC"/>
              </a:solidFill>
              <a:ln w="3175">
                <a:solidFill>
                  <a:schemeClr val="bg1">
                    <a:lumMod val="85000"/>
                  </a:schemeClr>
                </a:solid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grpSp>
        <p:sp>
          <p:nvSpPr>
            <p:cNvPr id="149" name="AutoShape 23">
              <a:extLst>
                <a:ext uri="{FF2B5EF4-FFF2-40B4-BE49-F238E27FC236}">
                  <a16:creationId xmlns:a16="http://schemas.microsoft.com/office/drawing/2014/main" id="{D959C806-7BA4-D94D-AE1F-443745620FAB}"/>
                </a:ext>
              </a:extLst>
            </p:cNvPr>
            <p:cNvSpPr>
              <a:spLocks/>
            </p:cNvSpPr>
            <p:nvPr/>
          </p:nvSpPr>
          <p:spPr bwMode="auto">
            <a:xfrm>
              <a:off x="3967377" y="1445134"/>
              <a:ext cx="300765" cy="314872"/>
            </a:xfrm>
            <a:custGeom>
              <a:avLst/>
              <a:gdLst/>
              <a:ahLst/>
              <a:cxnLst/>
              <a:rect l="0" t="0" r="r" b="b"/>
              <a:pathLst>
                <a:path w="21253" h="21313">
                  <a:moveTo>
                    <a:pt x="9345" y="18345"/>
                  </a:moveTo>
                  <a:cubicBezTo>
                    <a:pt x="10549" y="18298"/>
                    <a:pt x="11720" y="18212"/>
                    <a:pt x="12902" y="18143"/>
                  </a:cubicBezTo>
                  <a:cubicBezTo>
                    <a:pt x="13222" y="18125"/>
                    <a:pt x="13721" y="18065"/>
                    <a:pt x="13959" y="18260"/>
                  </a:cubicBezTo>
                  <a:cubicBezTo>
                    <a:pt x="14202" y="18459"/>
                    <a:pt x="14231" y="18902"/>
                    <a:pt x="14246" y="19177"/>
                  </a:cubicBezTo>
                  <a:cubicBezTo>
                    <a:pt x="14274" y="19705"/>
                    <a:pt x="13998" y="20664"/>
                    <a:pt x="14414" y="21003"/>
                  </a:cubicBezTo>
                  <a:cubicBezTo>
                    <a:pt x="14918" y="21414"/>
                    <a:pt x="16133" y="21309"/>
                    <a:pt x="16759" y="21279"/>
                  </a:cubicBezTo>
                  <a:cubicBezTo>
                    <a:pt x="17417" y="21248"/>
                    <a:pt x="18099" y="20416"/>
                    <a:pt x="18381" y="19865"/>
                  </a:cubicBezTo>
                  <a:cubicBezTo>
                    <a:pt x="18696" y="19250"/>
                    <a:pt x="18836" y="18254"/>
                    <a:pt x="18672" y="17571"/>
                  </a:cubicBezTo>
                  <a:cubicBezTo>
                    <a:pt x="18459" y="16682"/>
                    <a:pt x="17880" y="15964"/>
                    <a:pt x="17116" y="15518"/>
                  </a:cubicBezTo>
                  <a:cubicBezTo>
                    <a:pt x="16830" y="15351"/>
                    <a:pt x="16728" y="15228"/>
                    <a:pt x="16666" y="14895"/>
                  </a:cubicBezTo>
                  <a:cubicBezTo>
                    <a:pt x="16639" y="14745"/>
                    <a:pt x="16684" y="14265"/>
                    <a:pt x="16569" y="14160"/>
                  </a:cubicBezTo>
                  <a:cubicBezTo>
                    <a:pt x="16399" y="14002"/>
                    <a:pt x="16091" y="14151"/>
                    <a:pt x="15908" y="13951"/>
                  </a:cubicBezTo>
                  <a:cubicBezTo>
                    <a:pt x="15776" y="13808"/>
                    <a:pt x="15753" y="13480"/>
                    <a:pt x="15800" y="13292"/>
                  </a:cubicBezTo>
                  <a:cubicBezTo>
                    <a:pt x="15912" y="12842"/>
                    <a:pt x="16383" y="12641"/>
                    <a:pt x="16627" y="12290"/>
                  </a:cubicBezTo>
                  <a:cubicBezTo>
                    <a:pt x="17274" y="11361"/>
                    <a:pt x="17214" y="9896"/>
                    <a:pt x="16788" y="8897"/>
                  </a:cubicBezTo>
                  <a:cubicBezTo>
                    <a:pt x="16654" y="8584"/>
                    <a:pt x="16571" y="8245"/>
                    <a:pt x="16637" y="7895"/>
                  </a:cubicBezTo>
                  <a:cubicBezTo>
                    <a:pt x="16695" y="7590"/>
                    <a:pt x="16968" y="7332"/>
                    <a:pt x="16868" y="6985"/>
                  </a:cubicBezTo>
                  <a:cubicBezTo>
                    <a:pt x="16730" y="6506"/>
                    <a:pt x="15691" y="5913"/>
                    <a:pt x="16518" y="5536"/>
                  </a:cubicBezTo>
                  <a:cubicBezTo>
                    <a:pt x="16964" y="5332"/>
                    <a:pt x="17128" y="5325"/>
                    <a:pt x="17426" y="4837"/>
                  </a:cubicBezTo>
                  <a:cubicBezTo>
                    <a:pt x="17591" y="4566"/>
                    <a:pt x="17646" y="3898"/>
                    <a:pt x="17921" y="3709"/>
                  </a:cubicBezTo>
                  <a:cubicBezTo>
                    <a:pt x="18265" y="3472"/>
                    <a:pt x="18930" y="3761"/>
                    <a:pt x="19345" y="3575"/>
                  </a:cubicBezTo>
                  <a:cubicBezTo>
                    <a:pt x="19777" y="3383"/>
                    <a:pt x="20133" y="2989"/>
                    <a:pt x="20432" y="2643"/>
                  </a:cubicBezTo>
                  <a:cubicBezTo>
                    <a:pt x="21040" y="1938"/>
                    <a:pt x="21128" y="1063"/>
                    <a:pt x="21253" y="209"/>
                  </a:cubicBezTo>
                  <a:lnTo>
                    <a:pt x="19188" y="222"/>
                  </a:lnTo>
                  <a:lnTo>
                    <a:pt x="17434" y="451"/>
                  </a:lnTo>
                  <a:cubicBezTo>
                    <a:pt x="13943" y="363"/>
                    <a:pt x="10452" y="274"/>
                    <a:pt x="6960" y="185"/>
                  </a:cubicBezTo>
                  <a:cubicBezTo>
                    <a:pt x="5917" y="159"/>
                    <a:pt x="4874" y="133"/>
                    <a:pt x="3831" y="106"/>
                  </a:cubicBezTo>
                  <a:cubicBezTo>
                    <a:pt x="3222" y="91"/>
                    <a:pt x="1437" y="-186"/>
                    <a:pt x="1105" y="221"/>
                  </a:cubicBezTo>
                  <a:cubicBezTo>
                    <a:pt x="839" y="547"/>
                    <a:pt x="1186" y="1083"/>
                    <a:pt x="1253" y="1394"/>
                  </a:cubicBezTo>
                  <a:cubicBezTo>
                    <a:pt x="1425" y="2195"/>
                    <a:pt x="1150" y="2950"/>
                    <a:pt x="984" y="3726"/>
                  </a:cubicBezTo>
                  <a:cubicBezTo>
                    <a:pt x="843" y="4380"/>
                    <a:pt x="940" y="5088"/>
                    <a:pt x="669" y="5728"/>
                  </a:cubicBezTo>
                  <a:cubicBezTo>
                    <a:pt x="364" y="6450"/>
                    <a:pt x="-347" y="7101"/>
                    <a:pt x="203" y="7851"/>
                  </a:cubicBezTo>
                  <a:cubicBezTo>
                    <a:pt x="594" y="8385"/>
                    <a:pt x="808" y="8342"/>
                    <a:pt x="1415" y="8423"/>
                  </a:cubicBezTo>
                  <a:cubicBezTo>
                    <a:pt x="2122" y="8518"/>
                    <a:pt x="2734" y="9152"/>
                    <a:pt x="2955" y="9800"/>
                  </a:cubicBezTo>
                  <a:cubicBezTo>
                    <a:pt x="3061" y="10112"/>
                    <a:pt x="2973" y="10481"/>
                    <a:pt x="3006" y="10820"/>
                  </a:cubicBezTo>
                  <a:cubicBezTo>
                    <a:pt x="3048" y="11244"/>
                    <a:pt x="3229" y="11556"/>
                    <a:pt x="3429" y="11939"/>
                  </a:cubicBezTo>
                  <a:cubicBezTo>
                    <a:pt x="3838" y="12721"/>
                    <a:pt x="4062" y="13536"/>
                    <a:pt x="4388" y="14336"/>
                  </a:cubicBezTo>
                  <a:cubicBezTo>
                    <a:pt x="4516" y="14649"/>
                    <a:pt x="4675" y="14953"/>
                    <a:pt x="4710" y="15305"/>
                  </a:cubicBezTo>
                  <a:cubicBezTo>
                    <a:pt x="4742" y="15632"/>
                    <a:pt x="4615" y="15979"/>
                    <a:pt x="4649" y="16294"/>
                  </a:cubicBezTo>
                  <a:cubicBezTo>
                    <a:pt x="4690" y="16667"/>
                    <a:pt x="4921" y="16979"/>
                    <a:pt x="5014" y="17343"/>
                  </a:cubicBezTo>
                  <a:cubicBezTo>
                    <a:pt x="5101" y="17680"/>
                    <a:pt x="5116" y="18031"/>
                    <a:pt x="5153" y="18377"/>
                  </a:cubicBezTo>
                  <a:cubicBezTo>
                    <a:pt x="6551" y="18384"/>
                    <a:pt x="7953" y="18399"/>
                    <a:pt x="9345" y="18345"/>
                  </a:cubicBezTo>
                  <a:close/>
                  <a:moveTo>
                    <a:pt x="9345" y="18345"/>
                  </a:moveTo>
                </a:path>
              </a:pathLst>
            </a:custGeom>
            <a:solidFill>
              <a:srgbClr val="C0C0C0"/>
            </a:solidFill>
            <a:ln w="3175">
              <a:solidFill>
                <a:schemeClr val="bg1">
                  <a:lumMod val="85000"/>
                </a:schemeClr>
              </a:solidFill>
            </a:ln>
          </p:spPr>
          <p:txBody>
            <a:bodyPr lIns="0" tIns="0" rIns="0" bIns="0"/>
            <a:lstStyle/>
            <a:p>
              <a:endParaRPr lang="en-US"/>
            </a:p>
          </p:txBody>
        </p:sp>
        <p:sp>
          <p:nvSpPr>
            <p:cNvPr id="150" name="AutoShape 51">
              <a:extLst>
                <a:ext uri="{FF2B5EF4-FFF2-40B4-BE49-F238E27FC236}">
                  <a16:creationId xmlns:a16="http://schemas.microsoft.com/office/drawing/2014/main" id="{06FEE09A-4F3F-AB45-929E-6603A46D71BA}"/>
                </a:ext>
              </a:extLst>
            </p:cNvPr>
            <p:cNvSpPr>
              <a:spLocks/>
            </p:cNvSpPr>
            <p:nvPr/>
          </p:nvSpPr>
          <p:spPr bwMode="auto">
            <a:xfrm>
              <a:off x="4190835" y="1445416"/>
              <a:ext cx="955339" cy="510398"/>
            </a:xfrm>
            <a:custGeom>
              <a:avLst/>
              <a:gdLst/>
              <a:ahLst/>
              <a:cxnLst/>
              <a:rect l="0" t="0" r="r" b="b"/>
              <a:pathLst>
                <a:path w="21521" h="21497">
                  <a:moveTo>
                    <a:pt x="1313" y="13259"/>
                  </a:moveTo>
                  <a:cubicBezTo>
                    <a:pt x="1541" y="13238"/>
                    <a:pt x="1963" y="13009"/>
                    <a:pt x="2134" y="13348"/>
                  </a:cubicBezTo>
                  <a:cubicBezTo>
                    <a:pt x="2297" y="13673"/>
                    <a:pt x="2368" y="14398"/>
                    <a:pt x="2456" y="14810"/>
                  </a:cubicBezTo>
                  <a:cubicBezTo>
                    <a:pt x="2594" y="15463"/>
                    <a:pt x="2469" y="16189"/>
                    <a:pt x="2638" y="16832"/>
                  </a:cubicBezTo>
                  <a:cubicBezTo>
                    <a:pt x="2846" y="17628"/>
                    <a:pt x="3115" y="17752"/>
                    <a:pt x="3536" y="17910"/>
                  </a:cubicBezTo>
                  <a:cubicBezTo>
                    <a:pt x="3719" y="17978"/>
                    <a:pt x="3782" y="18167"/>
                    <a:pt x="3896" y="18424"/>
                  </a:cubicBezTo>
                  <a:cubicBezTo>
                    <a:pt x="4010" y="18682"/>
                    <a:pt x="4163" y="18908"/>
                    <a:pt x="4301" y="19120"/>
                  </a:cubicBezTo>
                  <a:cubicBezTo>
                    <a:pt x="4443" y="19338"/>
                    <a:pt x="4590" y="19620"/>
                    <a:pt x="4769" y="19739"/>
                  </a:cubicBezTo>
                  <a:cubicBezTo>
                    <a:pt x="4953" y="19863"/>
                    <a:pt x="5098" y="19788"/>
                    <a:pt x="5281" y="19754"/>
                  </a:cubicBezTo>
                  <a:cubicBezTo>
                    <a:pt x="5645" y="19685"/>
                    <a:pt x="5959" y="19821"/>
                    <a:pt x="6162" y="20381"/>
                  </a:cubicBezTo>
                  <a:cubicBezTo>
                    <a:pt x="6233" y="20577"/>
                    <a:pt x="6283" y="20900"/>
                    <a:pt x="6379" y="21062"/>
                  </a:cubicBezTo>
                  <a:cubicBezTo>
                    <a:pt x="6508" y="21283"/>
                    <a:pt x="6634" y="21151"/>
                    <a:pt x="6772" y="21053"/>
                  </a:cubicBezTo>
                  <a:cubicBezTo>
                    <a:pt x="6950" y="20928"/>
                    <a:pt x="7009" y="20980"/>
                    <a:pt x="7159" y="21179"/>
                  </a:cubicBezTo>
                  <a:cubicBezTo>
                    <a:pt x="7262" y="21317"/>
                    <a:pt x="7437" y="21600"/>
                    <a:pt x="7586" y="21459"/>
                  </a:cubicBezTo>
                  <a:cubicBezTo>
                    <a:pt x="7843" y="21215"/>
                    <a:pt x="7693" y="20126"/>
                    <a:pt x="7570" y="19811"/>
                  </a:cubicBezTo>
                  <a:cubicBezTo>
                    <a:pt x="7363" y="19281"/>
                    <a:pt x="6973" y="19563"/>
                    <a:pt x="7082" y="18742"/>
                  </a:cubicBezTo>
                  <a:cubicBezTo>
                    <a:pt x="7144" y="18278"/>
                    <a:pt x="7081" y="17587"/>
                    <a:pt x="7332" y="17306"/>
                  </a:cubicBezTo>
                  <a:cubicBezTo>
                    <a:pt x="7496" y="17123"/>
                    <a:pt x="7697" y="17136"/>
                    <a:pt x="7874" y="17069"/>
                  </a:cubicBezTo>
                  <a:cubicBezTo>
                    <a:pt x="8031" y="17010"/>
                    <a:pt x="8166" y="16937"/>
                    <a:pt x="8332" y="16934"/>
                  </a:cubicBezTo>
                  <a:cubicBezTo>
                    <a:pt x="8513" y="16931"/>
                    <a:pt x="8623" y="16884"/>
                    <a:pt x="8772" y="16687"/>
                  </a:cubicBezTo>
                  <a:cubicBezTo>
                    <a:pt x="8885" y="16538"/>
                    <a:pt x="8974" y="16281"/>
                    <a:pt x="9094" y="16140"/>
                  </a:cubicBezTo>
                  <a:cubicBezTo>
                    <a:pt x="9150" y="16075"/>
                    <a:pt x="9210" y="16100"/>
                    <a:pt x="9268" y="16017"/>
                  </a:cubicBezTo>
                  <a:cubicBezTo>
                    <a:pt x="9332" y="15925"/>
                    <a:pt x="9345" y="15744"/>
                    <a:pt x="9395" y="15635"/>
                  </a:cubicBezTo>
                  <a:cubicBezTo>
                    <a:pt x="9510" y="15385"/>
                    <a:pt x="9638" y="15389"/>
                    <a:pt x="9807" y="15351"/>
                  </a:cubicBezTo>
                  <a:cubicBezTo>
                    <a:pt x="10196" y="15265"/>
                    <a:pt x="10063" y="14112"/>
                    <a:pt x="10416" y="14082"/>
                  </a:cubicBezTo>
                  <a:cubicBezTo>
                    <a:pt x="10522" y="14073"/>
                    <a:pt x="10660" y="14320"/>
                    <a:pt x="10768" y="14108"/>
                  </a:cubicBezTo>
                  <a:cubicBezTo>
                    <a:pt x="10849" y="13952"/>
                    <a:pt x="10782" y="13543"/>
                    <a:pt x="10836" y="13347"/>
                  </a:cubicBezTo>
                  <a:cubicBezTo>
                    <a:pt x="10990" y="12784"/>
                    <a:pt x="11245" y="13666"/>
                    <a:pt x="11399" y="13901"/>
                  </a:cubicBezTo>
                  <a:cubicBezTo>
                    <a:pt x="11730" y="14406"/>
                    <a:pt x="11550" y="14724"/>
                    <a:pt x="11394" y="15317"/>
                  </a:cubicBezTo>
                  <a:cubicBezTo>
                    <a:pt x="11284" y="15737"/>
                    <a:pt x="11236" y="17446"/>
                    <a:pt x="11670" y="17315"/>
                  </a:cubicBezTo>
                  <a:lnTo>
                    <a:pt x="21498" y="17315"/>
                  </a:lnTo>
                  <a:cubicBezTo>
                    <a:pt x="21498" y="15473"/>
                    <a:pt x="21498" y="13632"/>
                    <a:pt x="21498" y="11790"/>
                  </a:cubicBezTo>
                  <a:cubicBezTo>
                    <a:pt x="21498" y="10453"/>
                    <a:pt x="21498" y="9116"/>
                    <a:pt x="21498" y="7780"/>
                  </a:cubicBezTo>
                  <a:cubicBezTo>
                    <a:pt x="21498" y="6939"/>
                    <a:pt x="21572" y="5948"/>
                    <a:pt x="21450" y="5131"/>
                  </a:cubicBezTo>
                  <a:cubicBezTo>
                    <a:pt x="21422" y="4943"/>
                    <a:pt x="21370" y="4781"/>
                    <a:pt x="21380" y="4578"/>
                  </a:cubicBezTo>
                  <a:lnTo>
                    <a:pt x="21519" y="149"/>
                  </a:lnTo>
                  <a:lnTo>
                    <a:pt x="12678" y="0"/>
                  </a:lnTo>
                  <a:lnTo>
                    <a:pt x="1746" y="134"/>
                  </a:lnTo>
                  <a:cubicBezTo>
                    <a:pt x="1706" y="666"/>
                    <a:pt x="1678" y="1209"/>
                    <a:pt x="1484" y="1648"/>
                  </a:cubicBezTo>
                  <a:cubicBezTo>
                    <a:pt x="1388" y="1863"/>
                    <a:pt x="1275" y="2108"/>
                    <a:pt x="1137" y="2228"/>
                  </a:cubicBezTo>
                  <a:cubicBezTo>
                    <a:pt x="1005" y="2343"/>
                    <a:pt x="793" y="2164"/>
                    <a:pt x="683" y="2311"/>
                  </a:cubicBezTo>
                  <a:cubicBezTo>
                    <a:pt x="595" y="2428"/>
                    <a:pt x="578" y="2844"/>
                    <a:pt x="525" y="3013"/>
                  </a:cubicBezTo>
                  <a:cubicBezTo>
                    <a:pt x="430" y="3316"/>
                    <a:pt x="378" y="3320"/>
                    <a:pt x="236" y="3447"/>
                  </a:cubicBezTo>
                  <a:cubicBezTo>
                    <a:pt x="-28" y="3681"/>
                    <a:pt x="303" y="4050"/>
                    <a:pt x="347" y="4348"/>
                  </a:cubicBezTo>
                  <a:cubicBezTo>
                    <a:pt x="379" y="4563"/>
                    <a:pt x="292" y="4724"/>
                    <a:pt x="274" y="4914"/>
                  </a:cubicBezTo>
                  <a:cubicBezTo>
                    <a:pt x="253" y="5131"/>
                    <a:pt x="279" y="5342"/>
                    <a:pt x="322" y="5537"/>
                  </a:cubicBezTo>
                  <a:cubicBezTo>
                    <a:pt x="458" y="6158"/>
                    <a:pt x="477" y="7069"/>
                    <a:pt x="271" y="7646"/>
                  </a:cubicBezTo>
                  <a:cubicBezTo>
                    <a:pt x="193" y="7864"/>
                    <a:pt x="42" y="7990"/>
                    <a:pt x="7" y="8269"/>
                  </a:cubicBezTo>
                  <a:cubicBezTo>
                    <a:pt x="-8" y="8386"/>
                    <a:pt x="-1" y="8590"/>
                    <a:pt x="41" y="8679"/>
                  </a:cubicBezTo>
                  <a:cubicBezTo>
                    <a:pt x="100" y="8803"/>
                    <a:pt x="198" y="8711"/>
                    <a:pt x="252" y="8809"/>
                  </a:cubicBezTo>
                  <a:cubicBezTo>
                    <a:pt x="288" y="8874"/>
                    <a:pt x="274" y="9173"/>
                    <a:pt x="283" y="9266"/>
                  </a:cubicBezTo>
                  <a:cubicBezTo>
                    <a:pt x="303" y="9473"/>
                    <a:pt x="335" y="9550"/>
                    <a:pt x="426" y="9653"/>
                  </a:cubicBezTo>
                  <a:cubicBezTo>
                    <a:pt x="670" y="9931"/>
                    <a:pt x="855" y="10377"/>
                    <a:pt x="923" y="10930"/>
                  </a:cubicBezTo>
                  <a:cubicBezTo>
                    <a:pt x="975" y="11355"/>
                    <a:pt x="930" y="11974"/>
                    <a:pt x="830" y="12356"/>
                  </a:cubicBezTo>
                  <a:cubicBezTo>
                    <a:pt x="768" y="12590"/>
                    <a:pt x="647" y="12906"/>
                    <a:pt x="510" y="13088"/>
                  </a:cubicBezTo>
                  <a:cubicBezTo>
                    <a:pt x="592" y="13157"/>
                    <a:pt x="675" y="13233"/>
                    <a:pt x="760" y="13261"/>
                  </a:cubicBezTo>
                  <a:cubicBezTo>
                    <a:pt x="928" y="13317"/>
                    <a:pt x="1142" y="13275"/>
                    <a:pt x="1313" y="13259"/>
                  </a:cubicBezTo>
                  <a:close/>
                  <a:moveTo>
                    <a:pt x="1313" y="13259"/>
                  </a:moveTo>
                </a:path>
              </a:pathLst>
            </a:custGeom>
            <a:solidFill>
              <a:srgbClr val="C0C0C0"/>
            </a:solidFill>
            <a:ln w="3175">
              <a:solidFill>
                <a:schemeClr val="bg1">
                  <a:lumMod val="85000"/>
                </a:schemeClr>
              </a:solidFill>
            </a:ln>
          </p:spPr>
          <p:txBody>
            <a:bodyPr lIns="0" tIns="0" rIns="0" bIns="0"/>
            <a:lstStyle/>
            <a:p>
              <a:endParaRPr lang="en-US"/>
            </a:p>
          </p:txBody>
        </p:sp>
        <p:sp>
          <p:nvSpPr>
            <p:cNvPr id="151" name="AutoShape 72">
              <a:extLst>
                <a:ext uri="{FF2B5EF4-FFF2-40B4-BE49-F238E27FC236}">
                  <a16:creationId xmlns:a16="http://schemas.microsoft.com/office/drawing/2014/main" id="{DB9B7EE4-4AB2-3F4C-B5BD-981B25E97108}"/>
                </a:ext>
              </a:extLst>
            </p:cNvPr>
            <p:cNvSpPr>
              <a:spLocks/>
            </p:cNvSpPr>
            <p:nvPr/>
          </p:nvSpPr>
          <p:spPr bwMode="auto">
            <a:xfrm>
              <a:off x="5138838" y="1447673"/>
              <a:ext cx="617894" cy="407133"/>
            </a:xfrm>
            <a:custGeom>
              <a:avLst/>
              <a:gdLst/>
              <a:ahLst/>
              <a:cxnLst/>
              <a:rect l="0" t="0" r="r" b="b"/>
              <a:pathLst>
                <a:path w="21586" h="21600">
                  <a:moveTo>
                    <a:pt x="21573" y="8691"/>
                  </a:moveTo>
                  <a:lnTo>
                    <a:pt x="21586" y="292"/>
                  </a:lnTo>
                  <a:lnTo>
                    <a:pt x="218" y="0"/>
                  </a:lnTo>
                  <a:lnTo>
                    <a:pt x="2" y="5579"/>
                  </a:lnTo>
                  <a:cubicBezTo>
                    <a:pt x="-14" y="5835"/>
                    <a:pt x="68" y="6038"/>
                    <a:pt x="111" y="6275"/>
                  </a:cubicBezTo>
                  <a:cubicBezTo>
                    <a:pt x="300" y="7304"/>
                    <a:pt x="186" y="8552"/>
                    <a:pt x="186" y="9611"/>
                  </a:cubicBezTo>
                  <a:cubicBezTo>
                    <a:pt x="186" y="11295"/>
                    <a:pt x="186" y="12978"/>
                    <a:pt x="186" y="14662"/>
                  </a:cubicBezTo>
                  <a:cubicBezTo>
                    <a:pt x="186" y="16975"/>
                    <a:pt x="186" y="19287"/>
                    <a:pt x="186" y="21600"/>
                  </a:cubicBezTo>
                  <a:lnTo>
                    <a:pt x="21573" y="21600"/>
                  </a:lnTo>
                  <a:cubicBezTo>
                    <a:pt x="21573" y="21600"/>
                    <a:pt x="21573" y="8691"/>
                    <a:pt x="21573" y="8691"/>
                  </a:cubicBezTo>
                  <a:close/>
                  <a:moveTo>
                    <a:pt x="21573" y="8691"/>
                  </a:moveTo>
                </a:path>
              </a:pathLst>
            </a:custGeom>
            <a:solidFill>
              <a:srgbClr val="C0C0C0"/>
            </a:solidFill>
            <a:ln w="3175">
              <a:solidFill>
                <a:schemeClr val="bg1">
                  <a:lumMod val="85000"/>
                </a:schemeClr>
              </a:solidFill>
            </a:ln>
          </p:spPr>
          <p:txBody>
            <a:bodyPr lIns="0" tIns="0" rIns="0" bIns="0"/>
            <a:lstStyle/>
            <a:p>
              <a:endParaRPr lang="en-US"/>
            </a:p>
          </p:txBody>
        </p:sp>
        <p:sp>
          <p:nvSpPr>
            <p:cNvPr id="152" name="AutoShape 92">
              <a:extLst>
                <a:ext uri="{FF2B5EF4-FFF2-40B4-BE49-F238E27FC236}">
                  <a16:creationId xmlns:a16="http://schemas.microsoft.com/office/drawing/2014/main" id="{2253C07F-02F7-3443-84E9-1FCF38095653}"/>
                </a:ext>
              </a:extLst>
            </p:cNvPr>
            <p:cNvSpPr>
              <a:spLocks/>
            </p:cNvSpPr>
            <p:nvPr/>
          </p:nvSpPr>
          <p:spPr bwMode="auto">
            <a:xfrm>
              <a:off x="3901920" y="1714017"/>
              <a:ext cx="414470" cy="743449"/>
            </a:xfrm>
            <a:custGeom>
              <a:avLst/>
              <a:gdLst/>
              <a:ahLst/>
              <a:cxnLst/>
              <a:rect l="0" t="0" r="r" b="b"/>
              <a:pathLst>
                <a:path w="21289" h="21576">
                  <a:moveTo>
                    <a:pt x="12732" y="21576"/>
                  </a:moveTo>
                  <a:lnTo>
                    <a:pt x="15746" y="21532"/>
                  </a:lnTo>
                  <a:lnTo>
                    <a:pt x="18161" y="21554"/>
                  </a:lnTo>
                  <a:cubicBezTo>
                    <a:pt x="18345" y="21553"/>
                    <a:pt x="18410" y="21559"/>
                    <a:pt x="18484" y="21467"/>
                  </a:cubicBezTo>
                  <a:cubicBezTo>
                    <a:pt x="18657" y="21252"/>
                    <a:pt x="18602" y="20956"/>
                    <a:pt x="18615" y="20725"/>
                  </a:cubicBezTo>
                  <a:lnTo>
                    <a:pt x="18644" y="19742"/>
                  </a:lnTo>
                  <a:lnTo>
                    <a:pt x="18615" y="18612"/>
                  </a:lnTo>
                  <a:lnTo>
                    <a:pt x="18702" y="17138"/>
                  </a:lnTo>
                  <a:lnTo>
                    <a:pt x="18702" y="12897"/>
                  </a:lnTo>
                  <a:cubicBezTo>
                    <a:pt x="18702" y="12016"/>
                    <a:pt x="18561" y="11119"/>
                    <a:pt x="18356" y="10256"/>
                  </a:cubicBezTo>
                  <a:cubicBezTo>
                    <a:pt x="18276" y="9919"/>
                    <a:pt x="18078" y="9597"/>
                    <a:pt x="17860" y="9290"/>
                  </a:cubicBezTo>
                  <a:cubicBezTo>
                    <a:pt x="17630" y="8965"/>
                    <a:pt x="17182" y="8666"/>
                    <a:pt x="17032" y="8334"/>
                  </a:cubicBezTo>
                  <a:cubicBezTo>
                    <a:pt x="16826" y="7882"/>
                    <a:pt x="17225" y="7600"/>
                    <a:pt x="18048" y="7745"/>
                  </a:cubicBezTo>
                  <a:cubicBezTo>
                    <a:pt x="18603" y="7844"/>
                    <a:pt x="19208" y="8230"/>
                    <a:pt x="19831" y="8057"/>
                  </a:cubicBezTo>
                  <a:cubicBezTo>
                    <a:pt x="20298" y="7927"/>
                    <a:pt x="20812" y="7310"/>
                    <a:pt x="21027" y="7041"/>
                  </a:cubicBezTo>
                  <a:cubicBezTo>
                    <a:pt x="21314" y="6684"/>
                    <a:pt x="21246" y="6303"/>
                    <a:pt x="20829" y="5992"/>
                  </a:cubicBezTo>
                  <a:cubicBezTo>
                    <a:pt x="20640" y="5852"/>
                    <a:pt x="20403" y="5800"/>
                    <a:pt x="20479" y="5583"/>
                  </a:cubicBezTo>
                  <a:cubicBezTo>
                    <a:pt x="20533" y="5431"/>
                    <a:pt x="20798" y="5278"/>
                    <a:pt x="20914" y="5125"/>
                  </a:cubicBezTo>
                  <a:cubicBezTo>
                    <a:pt x="21130" y="4839"/>
                    <a:pt x="21156" y="4527"/>
                    <a:pt x="21289" y="4229"/>
                  </a:cubicBezTo>
                  <a:cubicBezTo>
                    <a:pt x="21104" y="4133"/>
                    <a:pt x="20939" y="4006"/>
                    <a:pt x="20788" y="3832"/>
                  </a:cubicBezTo>
                  <a:cubicBezTo>
                    <a:pt x="20404" y="3388"/>
                    <a:pt x="20689" y="2888"/>
                    <a:pt x="20373" y="2438"/>
                  </a:cubicBezTo>
                  <a:cubicBezTo>
                    <a:pt x="20173" y="2154"/>
                    <a:pt x="20011" y="1655"/>
                    <a:pt x="19639" y="1431"/>
                  </a:cubicBezTo>
                  <a:cubicBezTo>
                    <a:pt x="19250" y="1197"/>
                    <a:pt x="18287" y="1355"/>
                    <a:pt x="17767" y="1370"/>
                  </a:cubicBezTo>
                  <a:cubicBezTo>
                    <a:pt x="17378" y="1381"/>
                    <a:pt x="16889" y="1409"/>
                    <a:pt x="16506" y="1371"/>
                  </a:cubicBezTo>
                  <a:cubicBezTo>
                    <a:pt x="16313" y="1351"/>
                    <a:pt x="16124" y="1299"/>
                    <a:pt x="15937" y="1252"/>
                  </a:cubicBezTo>
                  <a:cubicBezTo>
                    <a:pt x="15791" y="1310"/>
                    <a:pt x="15638" y="1349"/>
                    <a:pt x="15486" y="1353"/>
                  </a:cubicBezTo>
                  <a:cubicBezTo>
                    <a:pt x="15032" y="1366"/>
                    <a:pt x="14148" y="1411"/>
                    <a:pt x="13782" y="1235"/>
                  </a:cubicBezTo>
                  <a:cubicBezTo>
                    <a:pt x="13479" y="1090"/>
                    <a:pt x="13680" y="679"/>
                    <a:pt x="13659" y="453"/>
                  </a:cubicBezTo>
                  <a:cubicBezTo>
                    <a:pt x="13649" y="335"/>
                    <a:pt x="13627" y="145"/>
                    <a:pt x="13451" y="60"/>
                  </a:cubicBezTo>
                  <a:cubicBezTo>
                    <a:pt x="13278" y="-24"/>
                    <a:pt x="12915" y="2"/>
                    <a:pt x="12682" y="10"/>
                  </a:cubicBezTo>
                  <a:cubicBezTo>
                    <a:pt x="11823" y="39"/>
                    <a:pt x="10972" y="76"/>
                    <a:pt x="10096" y="96"/>
                  </a:cubicBezTo>
                  <a:cubicBezTo>
                    <a:pt x="9084" y="119"/>
                    <a:pt x="8065" y="113"/>
                    <a:pt x="7048" y="110"/>
                  </a:cubicBezTo>
                  <a:cubicBezTo>
                    <a:pt x="7055" y="144"/>
                    <a:pt x="7061" y="179"/>
                    <a:pt x="7071" y="213"/>
                  </a:cubicBezTo>
                  <a:cubicBezTo>
                    <a:pt x="7165" y="568"/>
                    <a:pt x="7223" y="950"/>
                    <a:pt x="7187" y="1326"/>
                  </a:cubicBezTo>
                  <a:cubicBezTo>
                    <a:pt x="7155" y="1667"/>
                    <a:pt x="6946" y="2003"/>
                    <a:pt x="6811" y="2330"/>
                  </a:cubicBezTo>
                  <a:cubicBezTo>
                    <a:pt x="6665" y="2683"/>
                    <a:pt x="6472" y="3012"/>
                    <a:pt x="6375" y="3378"/>
                  </a:cubicBezTo>
                  <a:cubicBezTo>
                    <a:pt x="6289" y="3702"/>
                    <a:pt x="6199" y="3962"/>
                    <a:pt x="5913" y="4251"/>
                  </a:cubicBezTo>
                  <a:cubicBezTo>
                    <a:pt x="5660" y="4508"/>
                    <a:pt x="5271" y="4810"/>
                    <a:pt x="5215" y="5103"/>
                  </a:cubicBezTo>
                  <a:cubicBezTo>
                    <a:pt x="5161" y="5385"/>
                    <a:pt x="5143" y="5799"/>
                    <a:pt x="5380" y="6041"/>
                  </a:cubicBezTo>
                  <a:cubicBezTo>
                    <a:pt x="5527" y="6191"/>
                    <a:pt x="5793" y="6203"/>
                    <a:pt x="5962" y="6346"/>
                  </a:cubicBezTo>
                  <a:cubicBezTo>
                    <a:pt x="6385" y="6706"/>
                    <a:pt x="5777" y="7309"/>
                    <a:pt x="5556" y="7657"/>
                  </a:cubicBezTo>
                  <a:cubicBezTo>
                    <a:pt x="5332" y="8011"/>
                    <a:pt x="5341" y="8377"/>
                    <a:pt x="5062" y="8726"/>
                  </a:cubicBezTo>
                  <a:cubicBezTo>
                    <a:pt x="4782" y="9078"/>
                    <a:pt x="4296" y="9365"/>
                    <a:pt x="4048" y="9732"/>
                  </a:cubicBezTo>
                  <a:cubicBezTo>
                    <a:pt x="3915" y="9928"/>
                    <a:pt x="3899" y="10138"/>
                    <a:pt x="3757" y="10326"/>
                  </a:cubicBezTo>
                  <a:cubicBezTo>
                    <a:pt x="3601" y="10534"/>
                    <a:pt x="3194" y="10623"/>
                    <a:pt x="2965" y="10802"/>
                  </a:cubicBezTo>
                  <a:cubicBezTo>
                    <a:pt x="2690" y="11018"/>
                    <a:pt x="2400" y="11265"/>
                    <a:pt x="2154" y="11495"/>
                  </a:cubicBezTo>
                  <a:cubicBezTo>
                    <a:pt x="1973" y="11663"/>
                    <a:pt x="1969" y="11816"/>
                    <a:pt x="1895" y="12002"/>
                  </a:cubicBezTo>
                  <a:cubicBezTo>
                    <a:pt x="1746" y="12378"/>
                    <a:pt x="1238" y="12737"/>
                    <a:pt x="976" y="13099"/>
                  </a:cubicBezTo>
                  <a:cubicBezTo>
                    <a:pt x="679" y="13510"/>
                    <a:pt x="652" y="13874"/>
                    <a:pt x="503" y="14295"/>
                  </a:cubicBezTo>
                  <a:cubicBezTo>
                    <a:pt x="369" y="14672"/>
                    <a:pt x="-286" y="14959"/>
                    <a:pt x="145" y="15347"/>
                  </a:cubicBezTo>
                  <a:cubicBezTo>
                    <a:pt x="276" y="15465"/>
                    <a:pt x="477" y="15530"/>
                    <a:pt x="591" y="15653"/>
                  </a:cubicBezTo>
                  <a:cubicBezTo>
                    <a:pt x="728" y="15801"/>
                    <a:pt x="663" y="15926"/>
                    <a:pt x="696" y="16086"/>
                  </a:cubicBezTo>
                  <a:cubicBezTo>
                    <a:pt x="751" y="16345"/>
                    <a:pt x="1111" y="16457"/>
                    <a:pt x="1160" y="16696"/>
                  </a:cubicBezTo>
                  <a:cubicBezTo>
                    <a:pt x="1222" y="17001"/>
                    <a:pt x="839" y="17233"/>
                    <a:pt x="812" y="17504"/>
                  </a:cubicBezTo>
                  <a:cubicBezTo>
                    <a:pt x="790" y="17730"/>
                    <a:pt x="1048" y="17852"/>
                    <a:pt x="1342" y="17973"/>
                  </a:cubicBezTo>
                  <a:cubicBezTo>
                    <a:pt x="1667" y="18107"/>
                    <a:pt x="1905" y="18303"/>
                    <a:pt x="2240" y="18427"/>
                  </a:cubicBezTo>
                  <a:cubicBezTo>
                    <a:pt x="2506" y="18526"/>
                    <a:pt x="2885" y="18543"/>
                    <a:pt x="3170" y="18635"/>
                  </a:cubicBezTo>
                  <a:cubicBezTo>
                    <a:pt x="3734" y="18817"/>
                    <a:pt x="4063" y="19216"/>
                    <a:pt x="4562" y="19458"/>
                  </a:cubicBezTo>
                  <a:cubicBezTo>
                    <a:pt x="5065" y="19703"/>
                    <a:pt x="5748" y="19701"/>
                    <a:pt x="6307" y="19880"/>
                  </a:cubicBezTo>
                  <a:cubicBezTo>
                    <a:pt x="6949" y="20085"/>
                    <a:pt x="6958" y="20441"/>
                    <a:pt x="6956" y="20843"/>
                  </a:cubicBezTo>
                  <a:cubicBezTo>
                    <a:pt x="6955" y="21072"/>
                    <a:pt x="6986" y="21284"/>
                    <a:pt x="7458" y="21325"/>
                  </a:cubicBezTo>
                  <a:cubicBezTo>
                    <a:pt x="7884" y="21362"/>
                    <a:pt x="8071" y="21298"/>
                    <a:pt x="8306" y="21525"/>
                  </a:cubicBezTo>
                  <a:lnTo>
                    <a:pt x="9834" y="21532"/>
                  </a:lnTo>
                  <a:cubicBezTo>
                    <a:pt x="9834" y="21532"/>
                    <a:pt x="12732" y="21576"/>
                    <a:pt x="12732" y="21576"/>
                  </a:cubicBezTo>
                  <a:close/>
                  <a:moveTo>
                    <a:pt x="12732" y="21576"/>
                  </a:moveTo>
                </a:path>
              </a:pathLst>
            </a:custGeom>
            <a:solidFill>
              <a:srgbClr val="C0C0C0"/>
            </a:solidFill>
            <a:ln w="3175">
              <a:solidFill>
                <a:schemeClr val="bg1">
                  <a:lumMod val="85000"/>
                </a:schemeClr>
              </a:solidFill>
            </a:ln>
          </p:spPr>
          <p:txBody>
            <a:bodyPr lIns="0" tIns="0" rIns="0" bIns="0"/>
            <a:lstStyle/>
            <a:p>
              <a:endParaRPr lang="en-US"/>
            </a:p>
          </p:txBody>
        </p:sp>
        <p:sp>
          <p:nvSpPr>
            <p:cNvPr id="153" name="AutoShape 114">
              <a:extLst>
                <a:ext uri="{FF2B5EF4-FFF2-40B4-BE49-F238E27FC236}">
                  <a16:creationId xmlns:a16="http://schemas.microsoft.com/office/drawing/2014/main" id="{25DE550A-8DF0-6A44-B226-A6E57911B23B}"/>
                </a:ext>
              </a:extLst>
            </p:cNvPr>
            <p:cNvSpPr>
              <a:spLocks/>
            </p:cNvSpPr>
            <p:nvPr/>
          </p:nvSpPr>
          <p:spPr bwMode="auto">
            <a:xfrm>
              <a:off x="4233439" y="1756903"/>
              <a:ext cx="491495" cy="708745"/>
            </a:xfrm>
            <a:custGeom>
              <a:avLst/>
              <a:gdLst/>
              <a:ahLst/>
              <a:cxnLst/>
              <a:rect l="0" t="0" r="r" b="b"/>
              <a:pathLst>
                <a:path w="21438" h="21269">
                  <a:moveTo>
                    <a:pt x="1793" y="21256"/>
                  </a:moveTo>
                  <a:cubicBezTo>
                    <a:pt x="3224" y="21255"/>
                    <a:pt x="4655" y="21253"/>
                    <a:pt x="6086" y="21252"/>
                  </a:cubicBezTo>
                  <a:cubicBezTo>
                    <a:pt x="7206" y="21250"/>
                    <a:pt x="8326" y="21249"/>
                    <a:pt x="9447" y="21248"/>
                  </a:cubicBezTo>
                  <a:cubicBezTo>
                    <a:pt x="10235" y="21247"/>
                    <a:pt x="11047" y="21207"/>
                    <a:pt x="11834" y="21245"/>
                  </a:cubicBezTo>
                  <a:cubicBezTo>
                    <a:pt x="12039" y="21255"/>
                    <a:pt x="12329" y="21330"/>
                    <a:pt x="12399" y="21146"/>
                  </a:cubicBezTo>
                  <a:cubicBezTo>
                    <a:pt x="12454" y="21001"/>
                    <a:pt x="12194" y="20780"/>
                    <a:pt x="12124" y="20649"/>
                  </a:cubicBezTo>
                  <a:cubicBezTo>
                    <a:pt x="11934" y="20294"/>
                    <a:pt x="11856" y="19925"/>
                    <a:pt x="11804" y="19557"/>
                  </a:cubicBezTo>
                  <a:cubicBezTo>
                    <a:pt x="11752" y="19186"/>
                    <a:pt x="11779" y="18799"/>
                    <a:pt x="11779" y="18423"/>
                  </a:cubicBezTo>
                  <a:cubicBezTo>
                    <a:pt x="11779" y="18101"/>
                    <a:pt x="11882" y="17687"/>
                    <a:pt x="11675" y="17394"/>
                  </a:cubicBezTo>
                  <a:cubicBezTo>
                    <a:pt x="11299" y="16863"/>
                    <a:pt x="9887" y="16987"/>
                    <a:pt x="10007" y="16290"/>
                  </a:cubicBezTo>
                  <a:cubicBezTo>
                    <a:pt x="10067" y="15940"/>
                    <a:pt x="10453" y="15611"/>
                    <a:pt x="10790" y="15354"/>
                  </a:cubicBezTo>
                  <a:cubicBezTo>
                    <a:pt x="10921" y="15254"/>
                    <a:pt x="11079" y="15144"/>
                    <a:pt x="11169" y="15020"/>
                  </a:cubicBezTo>
                  <a:cubicBezTo>
                    <a:pt x="11265" y="14887"/>
                    <a:pt x="11284" y="14746"/>
                    <a:pt x="11508" y="14684"/>
                  </a:cubicBezTo>
                  <a:cubicBezTo>
                    <a:pt x="11787" y="14608"/>
                    <a:pt x="12117" y="14600"/>
                    <a:pt x="12346" y="14448"/>
                  </a:cubicBezTo>
                  <a:cubicBezTo>
                    <a:pt x="12528" y="14327"/>
                    <a:pt x="12502" y="14272"/>
                    <a:pt x="12764" y="14241"/>
                  </a:cubicBezTo>
                  <a:cubicBezTo>
                    <a:pt x="12959" y="14218"/>
                    <a:pt x="13133" y="14217"/>
                    <a:pt x="13306" y="14135"/>
                  </a:cubicBezTo>
                  <a:cubicBezTo>
                    <a:pt x="13492" y="14047"/>
                    <a:pt x="13506" y="13918"/>
                    <a:pt x="13643" y="13797"/>
                  </a:cubicBezTo>
                  <a:cubicBezTo>
                    <a:pt x="13860" y="13605"/>
                    <a:pt x="14094" y="13313"/>
                    <a:pt x="14438" y="13221"/>
                  </a:cubicBezTo>
                  <a:cubicBezTo>
                    <a:pt x="14644" y="13165"/>
                    <a:pt x="14954" y="13169"/>
                    <a:pt x="15109" y="13043"/>
                  </a:cubicBezTo>
                  <a:cubicBezTo>
                    <a:pt x="15240" y="12936"/>
                    <a:pt x="15225" y="12778"/>
                    <a:pt x="15366" y="12662"/>
                  </a:cubicBezTo>
                  <a:cubicBezTo>
                    <a:pt x="15605" y="12466"/>
                    <a:pt x="16103" y="12448"/>
                    <a:pt x="16426" y="12350"/>
                  </a:cubicBezTo>
                  <a:cubicBezTo>
                    <a:pt x="17008" y="12173"/>
                    <a:pt x="16829" y="11961"/>
                    <a:pt x="16554" y="11651"/>
                  </a:cubicBezTo>
                  <a:cubicBezTo>
                    <a:pt x="16438" y="11519"/>
                    <a:pt x="16385" y="11338"/>
                    <a:pt x="16315" y="11194"/>
                  </a:cubicBezTo>
                  <a:cubicBezTo>
                    <a:pt x="16212" y="10979"/>
                    <a:pt x="15762" y="10551"/>
                    <a:pt x="16110" y="10363"/>
                  </a:cubicBezTo>
                  <a:cubicBezTo>
                    <a:pt x="16297" y="10262"/>
                    <a:pt x="16461" y="10358"/>
                    <a:pt x="16530" y="10160"/>
                  </a:cubicBezTo>
                  <a:cubicBezTo>
                    <a:pt x="16584" y="10006"/>
                    <a:pt x="16444" y="9834"/>
                    <a:pt x="16506" y="9686"/>
                  </a:cubicBezTo>
                  <a:cubicBezTo>
                    <a:pt x="16571" y="9529"/>
                    <a:pt x="16837" y="9486"/>
                    <a:pt x="17047" y="9411"/>
                  </a:cubicBezTo>
                  <a:cubicBezTo>
                    <a:pt x="17590" y="9218"/>
                    <a:pt x="17637" y="8881"/>
                    <a:pt x="17762" y="8514"/>
                  </a:cubicBezTo>
                  <a:cubicBezTo>
                    <a:pt x="17818" y="8350"/>
                    <a:pt x="17859" y="8201"/>
                    <a:pt x="17934" y="8044"/>
                  </a:cubicBezTo>
                  <a:cubicBezTo>
                    <a:pt x="18060" y="7778"/>
                    <a:pt x="18324" y="7510"/>
                    <a:pt x="18402" y="7231"/>
                  </a:cubicBezTo>
                  <a:cubicBezTo>
                    <a:pt x="18487" y="6926"/>
                    <a:pt x="18391" y="6609"/>
                    <a:pt x="18690" y="6350"/>
                  </a:cubicBezTo>
                  <a:cubicBezTo>
                    <a:pt x="18992" y="6088"/>
                    <a:pt x="19488" y="5948"/>
                    <a:pt x="19736" y="5657"/>
                  </a:cubicBezTo>
                  <a:cubicBezTo>
                    <a:pt x="19982" y="5368"/>
                    <a:pt x="19750" y="5007"/>
                    <a:pt x="19995" y="4724"/>
                  </a:cubicBezTo>
                  <a:cubicBezTo>
                    <a:pt x="20237" y="4446"/>
                    <a:pt x="20640" y="4472"/>
                    <a:pt x="21009" y="4348"/>
                  </a:cubicBezTo>
                  <a:cubicBezTo>
                    <a:pt x="21386" y="4221"/>
                    <a:pt x="21471" y="3940"/>
                    <a:pt x="21429" y="3658"/>
                  </a:cubicBezTo>
                  <a:cubicBezTo>
                    <a:pt x="21381" y="3335"/>
                    <a:pt x="20907" y="3322"/>
                    <a:pt x="20697" y="3065"/>
                  </a:cubicBezTo>
                  <a:cubicBezTo>
                    <a:pt x="20668" y="3029"/>
                    <a:pt x="20646" y="2995"/>
                    <a:pt x="20628" y="2963"/>
                  </a:cubicBezTo>
                  <a:cubicBezTo>
                    <a:pt x="19901" y="2948"/>
                    <a:pt x="19993" y="1822"/>
                    <a:pt x="20197" y="1535"/>
                  </a:cubicBezTo>
                  <a:cubicBezTo>
                    <a:pt x="20499" y="1112"/>
                    <a:pt x="20847" y="886"/>
                    <a:pt x="20206" y="526"/>
                  </a:cubicBezTo>
                  <a:cubicBezTo>
                    <a:pt x="19909" y="358"/>
                    <a:pt x="19416" y="-270"/>
                    <a:pt x="19116" y="132"/>
                  </a:cubicBezTo>
                  <a:cubicBezTo>
                    <a:pt x="19012" y="271"/>
                    <a:pt x="19141" y="562"/>
                    <a:pt x="18985" y="674"/>
                  </a:cubicBezTo>
                  <a:cubicBezTo>
                    <a:pt x="18775" y="825"/>
                    <a:pt x="18508" y="649"/>
                    <a:pt x="18303" y="655"/>
                  </a:cubicBezTo>
                  <a:cubicBezTo>
                    <a:pt x="17618" y="676"/>
                    <a:pt x="17877" y="1498"/>
                    <a:pt x="17122" y="1559"/>
                  </a:cubicBezTo>
                  <a:cubicBezTo>
                    <a:pt x="16795" y="1586"/>
                    <a:pt x="16549" y="1583"/>
                    <a:pt x="16326" y="1761"/>
                  </a:cubicBezTo>
                  <a:cubicBezTo>
                    <a:pt x="16229" y="1839"/>
                    <a:pt x="16204" y="1968"/>
                    <a:pt x="16079" y="2034"/>
                  </a:cubicBezTo>
                  <a:cubicBezTo>
                    <a:pt x="15968" y="2093"/>
                    <a:pt x="15851" y="2075"/>
                    <a:pt x="15742" y="2121"/>
                  </a:cubicBezTo>
                  <a:cubicBezTo>
                    <a:pt x="15509" y="2222"/>
                    <a:pt x="15338" y="2405"/>
                    <a:pt x="15119" y="2511"/>
                  </a:cubicBezTo>
                  <a:cubicBezTo>
                    <a:pt x="14830" y="2651"/>
                    <a:pt x="14617" y="2685"/>
                    <a:pt x="14266" y="2688"/>
                  </a:cubicBezTo>
                  <a:cubicBezTo>
                    <a:pt x="13945" y="2690"/>
                    <a:pt x="13683" y="2742"/>
                    <a:pt x="13380" y="2783"/>
                  </a:cubicBezTo>
                  <a:cubicBezTo>
                    <a:pt x="13036" y="2831"/>
                    <a:pt x="12646" y="2822"/>
                    <a:pt x="12329" y="2952"/>
                  </a:cubicBezTo>
                  <a:cubicBezTo>
                    <a:pt x="11844" y="3152"/>
                    <a:pt x="11966" y="3645"/>
                    <a:pt x="11845" y="3976"/>
                  </a:cubicBezTo>
                  <a:cubicBezTo>
                    <a:pt x="11633" y="4561"/>
                    <a:pt x="12389" y="4360"/>
                    <a:pt x="12790" y="4737"/>
                  </a:cubicBezTo>
                  <a:cubicBezTo>
                    <a:pt x="13029" y="4962"/>
                    <a:pt x="13319" y="5738"/>
                    <a:pt x="12822" y="5911"/>
                  </a:cubicBezTo>
                  <a:cubicBezTo>
                    <a:pt x="12534" y="6012"/>
                    <a:pt x="12193" y="5810"/>
                    <a:pt x="11994" y="5712"/>
                  </a:cubicBezTo>
                  <a:cubicBezTo>
                    <a:pt x="11703" y="5570"/>
                    <a:pt x="11590" y="5533"/>
                    <a:pt x="11246" y="5622"/>
                  </a:cubicBezTo>
                  <a:cubicBezTo>
                    <a:pt x="10977" y="5692"/>
                    <a:pt x="10734" y="5786"/>
                    <a:pt x="10483" y="5629"/>
                  </a:cubicBezTo>
                  <a:cubicBezTo>
                    <a:pt x="10298" y="5513"/>
                    <a:pt x="10201" y="5283"/>
                    <a:pt x="10063" y="5143"/>
                  </a:cubicBezTo>
                  <a:cubicBezTo>
                    <a:pt x="9669" y="4745"/>
                    <a:pt x="9062" y="4647"/>
                    <a:pt x="8356" y="4696"/>
                  </a:cubicBezTo>
                  <a:cubicBezTo>
                    <a:pt x="8002" y="4721"/>
                    <a:pt x="7721" y="4774"/>
                    <a:pt x="7364" y="4686"/>
                  </a:cubicBezTo>
                  <a:cubicBezTo>
                    <a:pt x="7018" y="4601"/>
                    <a:pt x="6734" y="4400"/>
                    <a:pt x="6459" y="4245"/>
                  </a:cubicBezTo>
                  <a:cubicBezTo>
                    <a:pt x="6192" y="4094"/>
                    <a:pt x="5895" y="3933"/>
                    <a:pt x="5674" y="3749"/>
                  </a:cubicBezTo>
                  <a:cubicBezTo>
                    <a:pt x="5454" y="3566"/>
                    <a:pt x="5330" y="3431"/>
                    <a:pt x="4976" y="3382"/>
                  </a:cubicBezTo>
                  <a:cubicBezTo>
                    <a:pt x="4420" y="3306"/>
                    <a:pt x="4001" y="3240"/>
                    <a:pt x="3663" y="3026"/>
                  </a:cubicBezTo>
                  <a:cubicBezTo>
                    <a:pt x="3550" y="3334"/>
                    <a:pt x="3527" y="3656"/>
                    <a:pt x="3343" y="3952"/>
                  </a:cubicBezTo>
                  <a:cubicBezTo>
                    <a:pt x="3245" y="4110"/>
                    <a:pt x="3020" y="4269"/>
                    <a:pt x="2974" y="4426"/>
                  </a:cubicBezTo>
                  <a:cubicBezTo>
                    <a:pt x="2910" y="4649"/>
                    <a:pt x="3111" y="4704"/>
                    <a:pt x="3271" y="4849"/>
                  </a:cubicBezTo>
                  <a:cubicBezTo>
                    <a:pt x="3626" y="5170"/>
                    <a:pt x="3684" y="5564"/>
                    <a:pt x="3440" y="5933"/>
                  </a:cubicBezTo>
                  <a:cubicBezTo>
                    <a:pt x="3257" y="6211"/>
                    <a:pt x="2820" y="6849"/>
                    <a:pt x="2424" y="6984"/>
                  </a:cubicBezTo>
                  <a:cubicBezTo>
                    <a:pt x="1895" y="7163"/>
                    <a:pt x="1381" y="6763"/>
                    <a:pt x="909" y="6662"/>
                  </a:cubicBezTo>
                  <a:cubicBezTo>
                    <a:pt x="210" y="6511"/>
                    <a:pt x="-129" y="6803"/>
                    <a:pt x="46" y="7270"/>
                  </a:cubicBezTo>
                  <a:cubicBezTo>
                    <a:pt x="174" y="7614"/>
                    <a:pt x="554" y="7922"/>
                    <a:pt x="750" y="8259"/>
                  </a:cubicBezTo>
                  <a:cubicBezTo>
                    <a:pt x="935" y="8577"/>
                    <a:pt x="1103" y="8909"/>
                    <a:pt x="1171" y="9257"/>
                  </a:cubicBezTo>
                  <a:cubicBezTo>
                    <a:pt x="1345" y="10150"/>
                    <a:pt x="1464" y="11078"/>
                    <a:pt x="1464" y="11989"/>
                  </a:cubicBezTo>
                  <a:lnTo>
                    <a:pt x="1464" y="16374"/>
                  </a:lnTo>
                  <a:lnTo>
                    <a:pt x="1391" y="17898"/>
                  </a:lnTo>
                  <a:lnTo>
                    <a:pt x="1415" y="19066"/>
                  </a:lnTo>
                  <a:lnTo>
                    <a:pt x="1391" y="20082"/>
                  </a:lnTo>
                  <a:cubicBezTo>
                    <a:pt x="1380" y="20321"/>
                    <a:pt x="1426" y="20628"/>
                    <a:pt x="1280" y="20850"/>
                  </a:cubicBezTo>
                  <a:cubicBezTo>
                    <a:pt x="1264" y="20874"/>
                    <a:pt x="1248" y="20892"/>
                    <a:pt x="1231" y="20905"/>
                  </a:cubicBezTo>
                  <a:cubicBezTo>
                    <a:pt x="1378" y="21060"/>
                    <a:pt x="1426" y="21290"/>
                    <a:pt x="1793" y="21256"/>
                  </a:cubicBezTo>
                  <a:close/>
                  <a:moveTo>
                    <a:pt x="1793" y="21256"/>
                  </a:moveTo>
                </a:path>
              </a:pathLst>
            </a:custGeom>
            <a:solidFill>
              <a:srgbClr val="C0C0C0"/>
            </a:solidFill>
            <a:ln w="3175">
              <a:solidFill>
                <a:schemeClr val="bg1">
                  <a:lumMod val="85000"/>
                </a:schemeClr>
              </a:solidFill>
            </a:ln>
          </p:spPr>
          <p:txBody>
            <a:bodyPr lIns="0" tIns="0" rIns="0" bIns="0"/>
            <a:lstStyle/>
            <a:p>
              <a:endParaRPr lang="en-US"/>
            </a:p>
          </p:txBody>
        </p:sp>
        <p:sp>
          <p:nvSpPr>
            <p:cNvPr id="154" name="AutoShape 140">
              <a:extLst>
                <a:ext uri="{FF2B5EF4-FFF2-40B4-BE49-F238E27FC236}">
                  <a16:creationId xmlns:a16="http://schemas.microsoft.com/office/drawing/2014/main" id="{7673AD58-C674-DF49-B803-E758AD367C0F}"/>
                </a:ext>
              </a:extLst>
            </p:cNvPr>
            <p:cNvSpPr>
              <a:spLocks/>
            </p:cNvSpPr>
            <p:nvPr/>
          </p:nvSpPr>
          <p:spPr bwMode="auto">
            <a:xfrm>
              <a:off x="4461693" y="1856218"/>
              <a:ext cx="734985" cy="464127"/>
            </a:xfrm>
            <a:custGeom>
              <a:avLst/>
              <a:gdLst/>
              <a:ahLst/>
              <a:cxnLst/>
              <a:rect l="0" t="0" r="r" b="b"/>
              <a:pathLst>
                <a:path w="21567" h="21600">
                  <a:moveTo>
                    <a:pt x="793" y="20693"/>
                  </a:moveTo>
                  <a:cubicBezTo>
                    <a:pt x="1127" y="20433"/>
                    <a:pt x="1461" y="20941"/>
                    <a:pt x="1787" y="20729"/>
                  </a:cubicBezTo>
                  <a:cubicBezTo>
                    <a:pt x="2138" y="20500"/>
                    <a:pt x="2257" y="19797"/>
                    <a:pt x="2626" y="19574"/>
                  </a:cubicBezTo>
                  <a:cubicBezTo>
                    <a:pt x="2972" y="19365"/>
                    <a:pt x="3566" y="19083"/>
                    <a:pt x="3933" y="19293"/>
                  </a:cubicBezTo>
                  <a:cubicBezTo>
                    <a:pt x="4308" y="19506"/>
                    <a:pt x="4621" y="20101"/>
                    <a:pt x="5078" y="19969"/>
                  </a:cubicBezTo>
                  <a:cubicBezTo>
                    <a:pt x="5530" y="19838"/>
                    <a:pt x="5987" y="19206"/>
                    <a:pt x="6402" y="18907"/>
                  </a:cubicBezTo>
                  <a:cubicBezTo>
                    <a:pt x="6838" y="18594"/>
                    <a:pt x="7333" y="18747"/>
                    <a:pt x="7770" y="18980"/>
                  </a:cubicBezTo>
                  <a:cubicBezTo>
                    <a:pt x="8246" y="19234"/>
                    <a:pt x="8669" y="19371"/>
                    <a:pt x="9188" y="19303"/>
                  </a:cubicBezTo>
                  <a:cubicBezTo>
                    <a:pt x="9511" y="19261"/>
                    <a:pt x="9835" y="19096"/>
                    <a:pt x="10154" y="19022"/>
                  </a:cubicBezTo>
                  <a:cubicBezTo>
                    <a:pt x="10563" y="18927"/>
                    <a:pt x="10981" y="19025"/>
                    <a:pt x="11392" y="18917"/>
                  </a:cubicBezTo>
                  <a:cubicBezTo>
                    <a:pt x="11794" y="18811"/>
                    <a:pt x="12150" y="18466"/>
                    <a:pt x="12538" y="18287"/>
                  </a:cubicBezTo>
                  <a:cubicBezTo>
                    <a:pt x="13117" y="18020"/>
                    <a:pt x="13727" y="17880"/>
                    <a:pt x="14326" y="17763"/>
                  </a:cubicBezTo>
                  <a:cubicBezTo>
                    <a:pt x="14821" y="17666"/>
                    <a:pt x="15241" y="17371"/>
                    <a:pt x="15761" y="17447"/>
                  </a:cubicBezTo>
                  <a:cubicBezTo>
                    <a:pt x="15982" y="17480"/>
                    <a:pt x="16200" y="17561"/>
                    <a:pt x="16423" y="17491"/>
                  </a:cubicBezTo>
                  <a:cubicBezTo>
                    <a:pt x="16628" y="17427"/>
                    <a:pt x="16813" y="17276"/>
                    <a:pt x="17020" y="17246"/>
                  </a:cubicBezTo>
                  <a:cubicBezTo>
                    <a:pt x="17305" y="17205"/>
                    <a:pt x="17513" y="17442"/>
                    <a:pt x="17775" y="17561"/>
                  </a:cubicBezTo>
                  <a:cubicBezTo>
                    <a:pt x="18023" y="17674"/>
                    <a:pt x="18300" y="17755"/>
                    <a:pt x="18565" y="17693"/>
                  </a:cubicBezTo>
                  <a:cubicBezTo>
                    <a:pt x="18789" y="17640"/>
                    <a:pt x="18989" y="17413"/>
                    <a:pt x="19217" y="17335"/>
                  </a:cubicBezTo>
                  <a:cubicBezTo>
                    <a:pt x="19479" y="17245"/>
                    <a:pt x="19673" y="17205"/>
                    <a:pt x="19933" y="17273"/>
                  </a:cubicBezTo>
                  <a:lnTo>
                    <a:pt x="21567" y="17378"/>
                  </a:lnTo>
                  <a:lnTo>
                    <a:pt x="21567" y="0"/>
                  </a:lnTo>
                  <a:lnTo>
                    <a:pt x="20022" y="0"/>
                  </a:lnTo>
                  <a:cubicBezTo>
                    <a:pt x="20022" y="6"/>
                    <a:pt x="20022" y="12"/>
                    <a:pt x="20022" y="17"/>
                  </a:cubicBezTo>
                  <a:lnTo>
                    <a:pt x="7218" y="17"/>
                  </a:lnTo>
                  <a:cubicBezTo>
                    <a:pt x="7193" y="24"/>
                    <a:pt x="7170" y="25"/>
                    <a:pt x="7148" y="24"/>
                  </a:cubicBezTo>
                  <a:cubicBezTo>
                    <a:pt x="7160" y="75"/>
                    <a:pt x="7175" y="127"/>
                    <a:pt x="7195" y="182"/>
                  </a:cubicBezTo>
                  <a:cubicBezTo>
                    <a:pt x="7336" y="581"/>
                    <a:pt x="7654" y="602"/>
                    <a:pt x="7687" y="1103"/>
                  </a:cubicBezTo>
                  <a:cubicBezTo>
                    <a:pt x="7715" y="1539"/>
                    <a:pt x="7658" y="1975"/>
                    <a:pt x="7405" y="2172"/>
                  </a:cubicBezTo>
                  <a:cubicBezTo>
                    <a:pt x="7156" y="2364"/>
                    <a:pt x="6885" y="2323"/>
                    <a:pt x="6722" y="2755"/>
                  </a:cubicBezTo>
                  <a:cubicBezTo>
                    <a:pt x="6558" y="3193"/>
                    <a:pt x="6714" y="3753"/>
                    <a:pt x="6548" y="4201"/>
                  </a:cubicBezTo>
                  <a:cubicBezTo>
                    <a:pt x="6382" y="4652"/>
                    <a:pt x="6048" y="4870"/>
                    <a:pt x="5845" y="5276"/>
                  </a:cubicBezTo>
                  <a:cubicBezTo>
                    <a:pt x="5644" y="5677"/>
                    <a:pt x="5708" y="6169"/>
                    <a:pt x="5651" y="6641"/>
                  </a:cubicBezTo>
                  <a:cubicBezTo>
                    <a:pt x="5599" y="7075"/>
                    <a:pt x="5421" y="7490"/>
                    <a:pt x="5336" y="7901"/>
                  </a:cubicBezTo>
                  <a:cubicBezTo>
                    <a:pt x="5286" y="8145"/>
                    <a:pt x="5258" y="8377"/>
                    <a:pt x="5221" y="8631"/>
                  </a:cubicBezTo>
                  <a:cubicBezTo>
                    <a:pt x="5137" y="9199"/>
                    <a:pt x="5105" y="9722"/>
                    <a:pt x="4740" y="10022"/>
                  </a:cubicBezTo>
                  <a:cubicBezTo>
                    <a:pt x="4598" y="10138"/>
                    <a:pt x="4420" y="10205"/>
                    <a:pt x="4376" y="10448"/>
                  </a:cubicBezTo>
                  <a:cubicBezTo>
                    <a:pt x="4334" y="10678"/>
                    <a:pt x="4428" y="10943"/>
                    <a:pt x="4392" y="11183"/>
                  </a:cubicBezTo>
                  <a:cubicBezTo>
                    <a:pt x="4346" y="11489"/>
                    <a:pt x="4236" y="11341"/>
                    <a:pt x="4110" y="11498"/>
                  </a:cubicBezTo>
                  <a:cubicBezTo>
                    <a:pt x="3876" y="11789"/>
                    <a:pt x="4178" y="12453"/>
                    <a:pt x="4248" y="12785"/>
                  </a:cubicBezTo>
                  <a:cubicBezTo>
                    <a:pt x="4294" y="13009"/>
                    <a:pt x="4330" y="13289"/>
                    <a:pt x="4408" y="13493"/>
                  </a:cubicBezTo>
                  <a:cubicBezTo>
                    <a:pt x="4593" y="13975"/>
                    <a:pt x="4714" y="14304"/>
                    <a:pt x="4322" y="14578"/>
                  </a:cubicBezTo>
                  <a:cubicBezTo>
                    <a:pt x="4105" y="14730"/>
                    <a:pt x="3770" y="14758"/>
                    <a:pt x="3609" y="15062"/>
                  </a:cubicBezTo>
                  <a:cubicBezTo>
                    <a:pt x="3514" y="15242"/>
                    <a:pt x="3525" y="15487"/>
                    <a:pt x="3436" y="15652"/>
                  </a:cubicBezTo>
                  <a:cubicBezTo>
                    <a:pt x="3332" y="15848"/>
                    <a:pt x="3124" y="15842"/>
                    <a:pt x="2985" y="15928"/>
                  </a:cubicBezTo>
                  <a:cubicBezTo>
                    <a:pt x="2754" y="16071"/>
                    <a:pt x="2596" y="16523"/>
                    <a:pt x="2450" y="16821"/>
                  </a:cubicBezTo>
                  <a:cubicBezTo>
                    <a:pt x="2358" y="17009"/>
                    <a:pt x="2348" y="17208"/>
                    <a:pt x="2224" y="17345"/>
                  </a:cubicBezTo>
                  <a:cubicBezTo>
                    <a:pt x="2108" y="17472"/>
                    <a:pt x="1991" y="17473"/>
                    <a:pt x="1859" y="17509"/>
                  </a:cubicBezTo>
                  <a:cubicBezTo>
                    <a:pt x="1683" y="17557"/>
                    <a:pt x="1700" y="17643"/>
                    <a:pt x="1578" y="17830"/>
                  </a:cubicBezTo>
                  <a:cubicBezTo>
                    <a:pt x="1424" y="18066"/>
                    <a:pt x="1202" y="18078"/>
                    <a:pt x="1014" y="18197"/>
                  </a:cubicBezTo>
                  <a:cubicBezTo>
                    <a:pt x="864" y="18292"/>
                    <a:pt x="851" y="18511"/>
                    <a:pt x="786" y="18717"/>
                  </a:cubicBezTo>
                  <a:cubicBezTo>
                    <a:pt x="726" y="18910"/>
                    <a:pt x="619" y="19080"/>
                    <a:pt x="532" y="19235"/>
                  </a:cubicBezTo>
                  <a:cubicBezTo>
                    <a:pt x="305" y="19634"/>
                    <a:pt x="45" y="20143"/>
                    <a:pt x="5" y="20686"/>
                  </a:cubicBezTo>
                  <a:cubicBezTo>
                    <a:pt x="-33" y="21190"/>
                    <a:pt x="154" y="21417"/>
                    <a:pt x="390" y="21600"/>
                  </a:cubicBezTo>
                  <a:cubicBezTo>
                    <a:pt x="464" y="21219"/>
                    <a:pt x="605" y="20839"/>
                    <a:pt x="793" y="20693"/>
                  </a:cubicBezTo>
                  <a:close/>
                  <a:moveTo>
                    <a:pt x="793" y="20693"/>
                  </a:moveTo>
                </a:path>
              </a:pathLst>
            </a:custGeom>
            <a:solidFill>
              <a:srgbClr val="C0C0C0"/>
            </a:solidFill>
            <a:ln w="3175">
              <a:solidFill>
                <a:schemeClr val="bg1">
                  <a:lumMod val="85000"/>
                </a:schemeClr>
              </a:solidFill>
            </a:ln>
          </p:spPr>
          <p:txBody>
            <a:bodyPr lIns="0" tIns="0" rIns="0" bIns="0"/>
            <a:lstStyle/>
            <a:p>
              <a:endParaRPr lang="en-US"/>
            </a:p>
          </p:txBody>
        </p:sp>
        <p:sp>
          <p:nvSpPr>
            <p:cNvPr id="155" name="AutoShape 161">
              <a:extLst>
                <a:ext uri="{FF2B5EF4-FFF2-40B4-BE49-F238E27FC236}">
                  <a16:creationId xmlns:a16="http://schemas.microsoft.com/office/drawing/2014/main" id="{77A7D922-18C3-3A4C-A7AB-6B6334FEA06D}"/>
                </a:ext>
              </a:extLst>
            </p:cNvPr>
            <p:cNvSpPr>
              <a:spLocks/>
            </p:cNvSpPr>
            <p:nvPr/>
          </p:nvSpPr>
          <p:spPr bwMode="auto">
            <a:xfrm>
              <a:off x="5197524" y="1856218"/>
              <a:ext cx="559773" cy="746552"/>
            </a:xfrm>
            <a:custGeom>
              <a:avLst/>
              <a:gdLst/>
              <a:ahLst/>
              <a:cxnLst/>
              <a:rect l="0" t="0" r="r" b="b"/>
              <a:pathLst>
                <a:path w="21600" h="21498">
                  <a:moveTo>
                    <a:pt x="4352" y="11891"/>
                  </a:moveTo>
                  <a:cubicBezTo>
                    <a:pt x="4373" y="12384"/>
                    <a:pt x="4297" y="12978"/>
                    <a:pt x="4461" y="13439"/>
                  </a:cubicBezTo>
                  <a:cubicBezTo>
                    <a:pt x="4476" y="13481"/>
                    <a:pt x="4472" y="13589"/>
                    <a:pt x="4499" y="13634"/>
                  </a:cubicBezTo>
                  <a:cubicBezTo>
                    <a:pt x="4577" y="13768"/>
                    <a:pt x="4767" y="13737"/>
                    <a:pt x="4935" y="13747"/>
                  </a:cubicBezTo>
                  <a:cubicBezTo>
                    <a:pt x="5218" y="13765"/>
                    <a:pt x="5147" y="13830"/>
                    <a:pt x="5299" y="13963"/>
                  </a:cubicBezTo>
                  <a:cubicBezTo>
                    <a:pt x="5441" y="14086"/>
                    <a:pt x="5584" y="14015"/>
                    <a:pt x="5784" y="14024"/>
                  </a:cubicBezTo>
                  <a:cubicBezTo>
                    <a:pt x="6013" y="14033"/>
                    <a:pt x="6136" y="14093"/>
                    <a:pt x="6267" y="14219"/>
                  </a:cubicBezTo>
                  <a:cubicBezTo>
                    <a:pt x="6437" y="14381"/>
                    <a:pt x="6515" y="14416"/>
                    <a:pt x="6806" y="14426"/>
                  </a:cubicBezTo>
                  <a:cubicBezTo>
                    <a:pt x="7020" y="14434"/>
                    <a:pt x="7252" y="14418"/>
                    <a:pt x="7331" y="14251"/>
                  </a:cubicBezTo>
                  <a:cubicBezTo>
                    <a:pt x="7387" y="14132"/>
                    <a:pt x="7246" y="13917"/>
                    <a:pt x="7350" y="13812"/>
                  </a:cubicBezTo>
                  <a:cubicBezTo>
                    <a:pt x="7405" y="13756"/>
                    <a:pt x="7515" y="13787"/>
                    <a:pt x="7564" y="13744"/>
                  </a:cubicBezTo>
                  <a:cubicBezTo>
                    <a:pt x="7635" y="13680"/>
                    <a:pt x="7553" y="13622"/>
                    <a:pt x="7660" y="13572"/>
                  </a:cubicBezTo>
                  <a:cubicBezTo>
                    <a:pt x="7746" y="13531"/>
                    <a:pt x="7855" y="13602"/>
                    <a:pt x="7935" y="13537"/>
                  </a:cubicBezTo>
                  <a:cubicBezTo>
                    <a:pt x="7999" y="13484"/>
                    <a:pt x="7936" y="13340"/>
                    <a:pt x="8004" y="13276"/>
                  </a:cubicBezTo>
                  <a:cubicBezTo>
                    <a:pt x="8104" y="13180"/>
                    <a:pt x="8366" y="13156"/>
                    <a:pt x="8489" y="13049"/>
                  </a:cubicBezTo>
                  <a:cubicBezTo>
                    <a:pt x="8565" y="12983"/>
                    <a:pt x="8563" y="12938"/>
                    <a:pt x="8657" y="12902"/>
                  </a:cubicBezTo>
                  <a:cubicBezTo>
                    <a:pt x="8744" y="12869"/>
                    <a:pt x="8825" y="12900"/>
                    <a:pt x="8918" y="12846"/>
                  </a:cubicBezTo>
                  <a:cubicBezTo>
                    <a:pt x="9072" y="12757"/>
                    <a:pt x="9101" y="12582"/>
                    <a:pt x="9354" y="12626"/>
                  </a:cubicBezTo>
                  <a:cubicBezTo>
                    <a:pt x="9537" y="12658"/>
                    <a:pt x="9604" y="12789"/>
                    <a:pt x="9832" y="12805"/>
                  </a:cubicBezTo>
                  <a:cubicBezTo>
                    <a:pt x="10068" y="12821"/>
                    <a:pt x="10293" y="12782"/>
                    <a:pt x="10531" y="12789"/>
                  </a:cubicBezTo>
                  <a:cubicBezTo>
                    <a:pt x="10807" y="12796"/>
                    <a:pt x="10769" y="12885"/>
                    <a:pt x="10970" y="12980"/>
                  </a:cubicBezTo>
                  <a:cubicBezTo>
                    <a:pt x="11073" y="13029"/>
                    <a:pt x="11219" y="13014"/>
                    <a:pt x="11331" y="13036"/>
                  </a:cubicBezTo>
                  <a:cubicBezTo>
                    <a:pt x="11470" y="13062"/>
                    <a:pt x="11494" y="13125"/>
                    <a:pt x="11596" y="13159"/>
                  </a:cubicBezTo>
                  <a:cubicBezTo>
                    <a:pt x="11753" y="13211"/>
                    <a:pt x="12003" y="13177"/>
                    <a:pt x="12119" y="13296"/>
                  </a:cubicBezTo>
                  <a:cubicBezTo>
                    <a:pt x="12276" y="13458"/>
                    <a:pt x="12144" y="13512"/>
                    <a:pt x="12488" y="13556"/>
                  </a:cubicBezTo>
                  <a:cubicBezTo>
                    <a:pt x="12732" y="13587"/>
                    <a:pt x="12947" y="13609"/>
                    <a:pt x="13164" y="13703"/>
                  </a:cubicBezTo>
                  <a:cubicBezTo>
                    <a:pt x="13360" y="13787"/>
                    <a:pt x="13330" y="13871"/>
                    <a:pt x="13452" y="14007"/>
                  </a:cubicBezTo>
                  <a:cubicBezTo>
                    <a:pt x="13587" y="14158"/>
                    <a:pt x="13825" y="14192"/>
                    <a:pt x="14013" y="14299"/>
                  </a:cubicBezTo>
                  <a:cubicBezTo>
                    <a:pt x="14211" y="14413"/>
                    <a:pt x="14148" y="14506"/>
                    <a:pt x="14237" y="14657"/>
                  </a:cubicBezTo>
                  <a:cubicBezTo>
                    <a:pt x="14357" y="14863"/>
                    <a:pt x="14652" y="14815"/>
                    <a:pt x="14862" y="14949"/>
                  </a:cubicBezTo>
                  <a:cubicBezTo>
                    <a:pt x="15198" y="15163"/>
                    <a:pt x="15238" y="15439"/>
                    <a:pt x="15694" y="15547"/>
                  </a:cubicBezTo>
                  <a:cubicBezTo>
                    <a:pt x="16098" y="15642"/>
                    <a:pt x="16513" y="15557"/>
                    <a:pt x="16908" y="15636"/>
                  </a:cubicBezTo>
                  <a:cubicBezTo>
                    <a:pt x="17162" y="15687"/>
                    <a:pt x="17503" y="15876"/>
                    <a:pt x="17632" y="16055"/>
                  </a:cubicBezTo>
                  <a:cubicBezTo>
                    <a:pt x="17733" y="16194"/>
                    <a:pt x="17703" y="16280"/>
                    <a:pt x="17909" y="16367"/>
                  </a:cubicBezTo>
                  <a:cubicBezTo>
                    <a:pt x="18286" y="16526"/>
                    <a:pt x="18119" y="16666"/>
                    <a:pt x="18213" y="16933"/>
                  </a:cubicBezTo>
                  <a:cubicBezTo>
                    <a:pt x="18259" y="17062"/>
                    <a:pt x="18396" y="17049"/>
                    <a:pt x="18497" y="17130"/>
                  </a:cubicBezTo>
                  <a:cubicBezTo>
                    <a:pt x="18608" y="17218"/>
                    <a:pt x="18623" y="17362"/>
                    <a:pt x="18693" y="17467"/>
                  </a:cubicBezTo>
                  <a:cubicBezTo>
                    <a:pt x="18811" y="17643"/>
                    <a:pt x="18914" y="17718"/>
                    <a:pt x="19129" y="17830"/>
                  </a:cubicBezTo>
                  <a:cubicBezTo>
                    <a:pt x="19256" y="17897"/>
                    <a:pt x="19221" y="17888"/>
                    <a:pt x="19319" y="17973"/>
                  </a:cubicBezTo>
                  <a:cubicBezTo>
                    <a:pt x="19425" y="18064"/>
                    <a:pt x="19438" y="18056"/>
                    <a:pt x="19591" y="18106"/>
                  </a:cubicBezTo>
                  <a:cubicBezTo>
                    <a:pt x="19783" y="18168"/>
                    <a:pt x="19901" y="18290"/>
                    <a:pt x="19891" y="18472"/>
                  </a:cubicBezTo>
                  <a:cubicBezTo>
                    <a:pt x="19883" y="18611"/>
                    <a:pt x="19759" y="18727"/>
                    <a:pt x="19738" y="18866"/>
                  </a:cubicBezTo>
                  <a:cubicBezTo>
                    <a:pt x="19716" y="19019"/>
                    <a:pt x="19738" y="19184"/>
                    <a:pt x="19738" y="19337"/>
                  </a:cubicBezTo>
                  <a:cubicBezTo>
                    <a:pt x="19738" y="19641"/>
                    <a:pt x="19803" y="19927"/>
                    <a:pt x="19804" y="20231"/>
                  </a:cubicBezTo>
                  <a:cubicBezTo>
                    <a:pt x="19804" y="20364"/>
                    <a:pt x="19808" y="20492"/>
                    <a:pt x="19700" y="20606"/>
                  </a:cubicBezTo>
                  <a:cubicBezTo>
                    <a:pt x="19599" y="20712"/>
                    <a:pt x="19430" y="20764"/>
                    <a:pt x="19346" y="20881"/>
                  </a:cubicBezTo>
                  <a:cubicBezTo>
                    <a:pt x="19264" y="20997"/>
                    <a:pt x="19284" y="21144"/>
                    <a:pt x="19260" y="21271"/>
                  </a:cubicBezTo>
                  <a:cubicBezTo>
                    <a:pt x="19235" y="21404"/>
                    <a:pt x="19192" y="21448"/>
                    <a:pt x="19390" y="21482"/>
                  </a:cubicBezTo>
                  <a:cubicBezTo>
                    <a:pt x="20009" y="21471"/>
                    <a:pt x="21032" y="21600"/>
                    <a:pt x="21523" y="21280"/>
                  </a:cubicBezTo>
                  <a:cubicBezTo>
                    <a:pt x="21552" y="21262"/>
                    <a:pt x="21577" y="21245"/>
                    <a:pt x="21600" y="21229"/>
                  </a:cubicBezTo>
                  <a:lnTo>
                    <a:pt x="21596" y="20876"/>
                  </a:lnTo>
                  <a:lnTo>
                    <a:pt x="21596" y="6532"/>
                  </a:lnTo>
                  <a:lnTo>
                    <a:pt x="21596" y="0"/>
                  </a:lnTo>
                  <a:lnTo>
                    <a:pt x="0" y="0"/>
                  </a:lnTo>
                  <a:lnTo>
                    <a:pt x="0" y="10753"/>
                  </a:lnTo>
                  <a:lnTo>
                    <a:pt x="4303" y="10717"/>
                  </a:lnTo>
                  <a:cubicBezTo>
                    <a:pt x="4320" y="11108"/>
                    <a:pt x="4336" y="11500"/>
                    <a:pt x="4352" y="11891"/>
                  </a:cubicBezTo>
                  <a:close/>
                  <a:moveTo>
                    <a:pt x="4352" y="11891"/>
                  </a:moveTo>
                </a:path>
              </a:pathLst>
            </a:custGeom>
            <a:solidFill>
              <a:srgbClr val="C0C0C0"/>
            </a:solidFill>
            <a:ln w="3175">
              <a:solidFill>
                <a:schemeClr val="bg1">
                  <a:lumMod val="85000"/>
                </a:schemeClr>
              </a:solidFill>
            </a:ln>
          </p:spPr>
          <p:txBody>
            <a:bodyPr lIns="0" tIns="0" rIns="0" bIns="0"/>
            <a:lstStyle/>
            <a:p>
              <a:endParaRPr lang="en-US"/>
            </a:p>
          </p:txBody>
        </p:sp>
        <p:sp>
          <p:nvSpPr>
            <p:cNvPr id="156" name="AutoShape 185">
              <a:extLst>
                <a:ext uri="{FF2B5EF4-FFF2-40B4-BE49-F238E27FC236}">
                  <a16:creationId xmlns:a16="http://schemas.microsoft.com/office/drawing/2014/main" id="{EC9B9F75-F28E-BE49-B405-71533441F696}"/>
                </a:ext>
              </a:extLst>
            </p:cNvPr>
            <p:cNvSpPr>
              <a:spLocks/>
            </p:cNvSpPr>
            <p:nvPr/>
          </p:nvSpPr>
          <p:spPr bwMode="auto">
            <a:xfrm>
              <a:off x="4064435" y="2454362"/>
              <a:ext cx="500241" cy="632566"/>
            </a:xfrm>
            <a:custGeom>
              <a:avLst/>
              <a:gdLst/>
              <a:ahLst/>
              <a:cxnLst/>
              <a:rect l="0" t="0" r="r" b="b"/>
              <a:pathLst>
                <a:path w="21241" h="21600">
                  <a:moveTo>
                    <a:pt x="10994" y="21162"/>
                  </a:moveTo>
                  <a:cubicBezTo>
                    <a:pt x="11433" y="21163"/>
                    <a:pt x="11576" y="21025"/>
                    <a:pt x="11599" y="20678"/>
                  </a:cubicBezTo>
                  <a:cubicBezTo>
                    <a:pt x="11859" y="20550"/>
                    <a:pt x="12025" y="20379"/>
                    <a:pt x="12360" y="20366"/>
                  </a:cubicBezTo>
                  <a:cubicBezTo>
                    <a:pt x="12772" y="20350"/>
                    <a:pt x="13150" y="20536"/>
                    <a:pt x="13544" y="20599"/>
                  </a:cubicBezTo>
                  <a:cubicBezTo>
                    <a:pt x="13830" y="20645"/>
                    <a:pt x="14139" y="20622"/>
                    <a:pt x="14430" y="20622"/>
                  </a:cubicBezTo>
                  <a:cubicBezTo>
                    <a:pt x="14890" y="20622"/>
                    <a:pt x="15350" y="20622"/>
                    <a:pt x="15809" y="20622"/>
                  </a:cubicBezTo>
                  <a:lnTo>
                    <a:pt x="15809" y="20083"/>
                  </a:lnTo>
                  <a:lnTo>
                    <a:pt x="16703" y="20083"/>
                  </a:lnTo>
                  <a:lnTo>
                    <a:pt x="16703" y="19775"/>
                  </a:lnTo>
                  <a:lnTo>
                    <a:pt x="20631" y="19929"/>
                  </a:lnTo>
                  <a:cubicBezTo>
                    <a:pt x="21008" y="19929"/>
                    <a:pt x="21600" y="19796"/>
                    <a:pt x="20951" y="19641"/>
                  </a:cubicBezTo>
                  <a:cubicBezTo>
                    <a:pt x="20597" y="19557"/>
                    <a:pt x="20275" y="19502"/>
                    <a:pt x="20048" y="19268"/>
                  </a:cubicBezTo>
                  <a:cubicBezTo>
                    <a:pt x="19967" y="19186"/>
                    <a:pt x="19869" y="18986"/>
                    <a:pt x="19739" y="18952"/>
                  </a:cubicBezTo>
                  <a:cubicBezTo>
                    <a:pt x="19552" y="18903"/>
                    <a:pt x="19406" y="19061"/>
                    <a:pt x="19226" y="18979"/>
                  </a:cubicBezTo>
                  <a:cubicBezTo>
                    <a:pt x="19023" y="18885"/>
                    <a:pt x="19129" y="18686"/>
                    <a:pt x="19036" y="18542"/>
                  </a:cubicBezTo>
                  <a:cubicBezTo>
                    <a:pt x="18941" y="18394"/>
                    <a:pt x="18791" y="18355"/>
                    <a:pt x="18707" y="18189"/>
                  </a:cubicBezTo>
                  <a:cubicBezTo>
                    <a:pt x="18567" y="17916"/>
                    <a:pt x="18505" y="17278"/>
                    <a:pt x="18108" y="17181"/>
                  </a:cubicBezTo>
                  <a:cubicBezTo>
                    <a:pt x="18003" y="17156"/>
                    <a:pt x="17847" y="17249"/>
                    <a:pt x="17725" y="17209"/>
                  </a:cubicBezTo>
                  <a:cubicBezTo>
                    <a:pt x="17602" y="17168"/>
                    <a:pt x="17601" y="17055"/>
                    <a:pt x="17510" y="16994"/>
                  </a:cubicBezTo>
                  <a:cubicBezTo>
                    <a:pt x="17422" y="16934"/>
                    <a:pt x="17320" y="16980"/>
                    <a:pt x="17222" y="16892"/>
                  </a:cubicBezTo>
                  <a:cubicBezTo>
                    <a:pt x="17141" y="16819"/>
                    <a:pt x="17138" y="16708"/>
                    <a:pt x="17119" y="16616"/>
                  </a:cubicBezTo>
                  <a:cubicBezTo>
                    <a:pt x="17058" y="16337"/>
                    <a:pt x="17033" y="16306"/>
                    <a:pt x="16737" y="16154"/>
                  </a:cubicBezTo>
                  <a:cubicBezTo>
                    <a:pt x="16507" y="16036"/>
                    <a:pt x="16341" y="15979"/>
                    <a:pt x="16383" y="15717"/>
                  </a:cubicBezTo>
                  <a:cubicBezTo>
                    <a:pt x="16440" y="15363"/>
                    <a:pt x="16761" y="15087"/>
                    <a:pt x="16864" y="14745"/>
                  </a:cubicBezTo>
                  <a:cubicBezTo>
                    <a:pt x="16902" y="14620"/>
                    <a:pt x="16852" y="14391"/>
                    <a:pt x="16947" y="14285"/>
                  </a:cubicBezTo>
                  <a:cubicBezTo>
                    <a:pt x="17032" y="14189"/>
                    <a:pt x="17209" y="14204"/>
                    <a:pt x="17310" y="14120"/>
                  </a:cubicBezTo>
                  <a:cubicBezTo>
                    <a:pt x="17403" y="14044"/>
                    <a:pt x="17364" y="13921"/>
                    <a:pt x="17446" y="13848"/>
                  </a:cubicBezTo>
                  <a:cubicBezTo>
                    <a:pt x="17514" y="13787"/>
                    <a:pt x="17609" y="13791"/>
                    <a:pt x="17669" y="13746"/>
                  </a:cubicBezTo>
                  <a:cubicBezTo>
                    <a:pt x="17850" y="13608"/>
                    <a:pt x="17816" y="13454"/>
                    <a:pt x="17987" y="13283"/>
                  </a:cubicBezTo>
                  <a:cubicBezTo>
                    <a:pt x="18141" y="13128"/>
                    <a:pt x="18348" y="13175"/>
                    <a:pt x="18261" y="12899"/>
                  </a:cubicBezTo>
                  <a:cubicBezTo>
                    <a:pt x="18214" y="12750"/>
                    <a:pt x="18033" y="12633"/>
                    <a:pt x="17983" y="12482"/>
                  </a:cubicBezTo>
                  <a:cubicBezTo>
                    <a:pt x="17916" y="12285"/>
                    <a:pt x="17963" y="12061"/>
                    <a:pt x="17879" y="11866"/>
                  </a:cubicBezTo>
                  <a:cubicBezTo>
                    <a:pt x="17720" y="11499"/>
                    <a:pt x="17447" y="11310"/>
                    <a:pt x="17381" y="10908"/>
                  </a:cubicBezTo>
                  <a:cubicBezTo>
                    <a:pt x="17340" y="10655"/>
                    <a:pt x="17299" y="10523"/>
                    <a:pt x="17126" y="10318"/>
                  </a:cubicBezTo>
                  <a:cubicBezTo>
                    <a:pt x="16971" y="10134"/>
                    <a:pt x="16854" y="10030"/>
                    <a:pt x="16894" y="9785"/>
                  </a:cubicBezTo>
                  <a:cubicBezTo>
                    <a:pt x="16925" y="9597"/>
                    <a:pt x="17050" y="9416"/>
                    <a:pt x="17094" y="9221"/>
                  </a:cubicBezTo>
                  <a:cubicBezTo>
                    <a:pt x="17149" y="8978"/>
                    <a:pt x="17104" y="8818"/>
                    <a:pt x="17341" y="8630"/>
                  </a:cubicBezTo>
                  <a:cubicBezTo>
                    <a:pt x="17812" y="8259"/>
                    <a:pt x="18401" y="8479"/>
                    <a:pt x="18971" y="8368"/>
                  </a:cubicBezTo>
                  <a:cubicBezTo>
                    <a:pt x="19227" y="8318"/>
                    <a:pt x="19346" y="8104"/>
                    <a:pt x="19579" y="8064"/>
                  </a:cubicBezTo>
                  <a:cubicBezTo>
                    <a:pt x="19771" y="8030"/>
                    <a:pt x="20002" y="8198"/>
                    <a:pt x="20181" y="8074"/>
                  </a:cubicBezTo>
                  <a:cubicBezTo>
                    <a:pt x="20313" y="7982"/>
                    <a:pt x="20241" y="7761"/>
                    <a:pt x="20235" y="7641"/>
                  </a:cubicBezTo>
                  <a:cubicBezTo>
                    <a:pt x="20218" y="7344"/>
                    <a:pt x="20205" y="7047"/>
                    <a:pt x="20190" y="6750"/>
                  </a:cubicBezTo>
                  <a:cubicBezTo>
                    <a:pt x="20167" y="6290"/>
                    <a:pt x="20144" y="5829"/>
                    <a:pt x="20120" y="5369"/>
                  </a:cubicBezTo>
                  <a:cubicBezTo>
                    <a:pt x="20120" y="5257"/>
                    <a:pt x="20156" y="5106"/>
                    <a:pt x="20080" y="5008"/>
                  </a:cubicBezTo>
                  <a:cubicBezTo>
                    <a:pt x="20002" y="4908"/>
                    <a:pt x="19861" y="4936"/>
                    <a:pt x="19777" y="4829"/>
                  </a:cubicBezTo>
                  <a:cubicBezTo>
                    <a:pt x="19642" y="4655"/>
                    <a:pt x="19813" y="4474"/>
                    <a:pt x="19611" y="4314"/>
                  </a:cubicBezTo>
                  <a:cubicBezTo>
                    <a:pt x="19528" y="4249"/>
                    <a:pt x="19405" y="4291"/>
                    <a:pt x="19323" y="4188"/>
                  </a:cubicBezTo>
                  <a:cubicBezTo>
                    <a:pt x="19271" y="4122"/>
                    <a:pt x="19261" y="3957"/>
                    <a:pt x="19250" y="3879"/>
                  </a:cubicBezTo>
                  <a:cubicBezTo>
                    <a:pt x="19220" y="3656"/>
                    <a:pt x="19268" y="3410"/>
                    <a:pt x="19226" y="3186"/>
                  </a:cubicBezTo>
                  <a:cubicBezTo>
                    <a:pt x="19188" y="2980"/>
                    <a:pt x="19050" y="2816"/>
                    <a:pt x="18964" y="2620"/>
                  </a:cubicBezTo>
                  <a:cubicBezTo>
                    <a:pt x="18753" y="2147"/>
                    <a:pt x="18961" y="1753"/>
                    <a:pt x="19345" y="1381"/>
                  </a:cubicBezTo>
                  <a:cubicBezTo>
                    <a:pt x="19496" y="1235"/>
                    <a:pt x="19680" y="1085"/>
                    <a:pt x="19673" y="875"/>
                  </a:cubicBezTo>
                  <a:cubicBezTo>
                    <a:pt x="19664" y="605"/>
                    <a:pt x="19372" y="510"/>
                    <a:pt x="19142" y="383"/>
                  </a:cubicBezTo>
                  <a:cubicBezTo>
                    <a:pt x="19024" y="445"/>
                    <a:pt x="18829" y="396"/>
                    <a:pt x="18680" y="387"/>
                  </a:cubicBezTo>
                  <a:cubicBezTo>
                    <a:pt x="17915" y="344"/>
                    <a:pt x="17125" y="389"/>
                    <a:pt x="16358" y="390"/>
                  </a:cubicBezTo>
                  <a:cubicBezTo>
                    <a:pt x="15268" y="391"/>
                    <a:pt x="14178" y="393"/>
                    <a:pt x="13088" y="394"/>
                  </a:cubicBezTo>
                  <a:cubicBezTo>
                    <a:pt x="11696" y="396"/>
                    <a:pt x="10304" y="398"/>
                    <a:pt x="8911" y="399"/>
                  </a:cubicBezTo>
                  <a:cubicBezTo>
                    <a:pt x="8554" y="437"/>
                    <a:pt x="8508" y="176"/>
                    <a:pt x="8365" y="0"/>
                  </a:cubicBezTo>
                  <a:cubicBezTo>
                    <a:pt x="8317" y="43"/>
                    <a:pt x="8258" y="39"/>
                    <a:pt x="8145" y="40"/>
                  </a:cubicBezTo>
                  <a:lnTo>
                    <a:pt x="6149" y="14"/>
                  </a:lnTo>
                  <a:lnTo>
                    <a:pt x="3658" y="66"/>
                  </a:lnTo>
                  <a:lnTo>
                    <a:pt x="1263" y="14"/>
                  </a:lnTo>
                  <a:lnTo>
                    <a:pt x="0" y="5"/>
                  </a:lnTo>
                  <a:cubicBezTo>
                    <a:pt x="11" y="20"/>
                    <a:pt x="22" y="36"/>
                    <a:pt x="33" y="53"/>
                  </a:cubicBezTo>
                  <a:cubicBezTo>
                    <a:pt x="455" y="495"/>
                    <a:pt x="877" y="937"/>
                    <a:pt x="1299" y="1379"/>
                  </a:cubicBezTo>
                  <a:cubicBezTo>
                    <a:pt x="1582" y="1675"/>
                    <a:pt x="1864" y="1971"/>
                    <a:pt x="2147" y="2267"/>
                  </a:cubicBezTo>
                  <a:cubicBezTo>
                    <a:pt x="2230" y="2354"/>
                    <a:pt x="2345" y="2445"/>
                    <a:pt x="2408" y="2543"/>
                  </a:cubicBezTo>
                  <a:cubicBezTo>
                    <a:pt x="2472" y="2644"/>
                    <a:pt x="2439" y="2735"/>
                    <a:pt x="2537" y="2833"/>
                  </a:cubicBezTo>
                  <a:cubicBezTo>
                    <a:pt x="2616" y="2913"/>
                    <a:pt x="2777" y="2944"/>
                    <a:pt x="2874" y="3011"/>
                  </a:cubicBezTo>
                  <a:cubicBezTo>
                    <a:pt x="3110" y="3177"/>
                    <a:pt x="3119" y="3389"/>
                    <a:pt x="3131" y="3622"/>
                  </a:cubicBezTo>
                  <a:cubicBezTo>
                    <a:pt x="3156" y="4120"/>
                    <a:pt x="3138" y="4432"/>
                    <a:pt x="3410" y="4882"/>
                  </a:cubicBezTo>
                  <a:cubicBezTo>
                    <a:pt x="3622" y="5232"/>
                    <a:pt x="4042" y="5612"/>
                    <a:pt x="4114" y="5985"/>
                  </a:cubicBezTo>
                  <a:cubicBezTo>
                    <a:pt x="4157" y="6210"/>
                    <a:pt x="4097" y="6450"/>
                    <a:pt x="4121" y="6678"/>
                  </a:cubicBezTo>
                  <a:cubicBezTo>
                    <a:pt x="4147" y="6929"/>
                    <a:pt x="4292" y="7122"/>
                    <a:pt x="4415" y="7340"/>
                  </a:cubicBezTo>
                  <a:cubicBezTo>
                    <a:pt x="4794" y="8010"/>
                    <a:pt x="4127" y="8635"/>
                    <a:pt x="3842" y="9248"/>
                  </a:cubicBezTo>
                  <a:cubicBezTo>
                    <a:pt x="3658" y="9642"/>
                    <a:pt x="3513" y="10026"/>
                    <a:pt x="3514" y="10458"/>
                  </a:cubicBezTo>
                  <a:cubicBezTo>
                    <a:pt x="3518" y="11554"/>
                    <a:pt x="4040" y="12776"/>
                    <a:pt x="4536" y="13795"/>
                  </a:cubicBezTo>
                  <a:cubicBezTo>
                    <a:pt x="5012" y="14773"/>
                    <a:pt x="5750" y="15711"/>
                    <a:pt x="5750" y="16776"/>
                  </a:cubicBezTo>
                  <a:cubicBezTo>
                    <a:pt x="5750" y="17186"/>
                    <a:pt x="5795" y="17494"/>
                    <a:pt x="5428" y="17797"/>
                  </a:cubicBezTo>
                  <a:cubicBezTo>
                    <a:pt x="5288" y="17913"/>
                    <a:pt x="5100" y="18003"/>
                    <a:pt x="5024" y="18157"/>
                  </a:cubicBezTo>
                  <a:cubicBezTo>
                    <a:pt x="4842" y="18527"/>
                    <a:pt x="5703" y="19131"/>
                    <a:pt x="5935" y="19417"/>
                  </a:cubicBezTo>
                  <a:cubicBezTo>
                    <a:pt x="6095" y="19615"/>
                    <a:pt x="6220" y="19841"/>
                    <a:pt x="6429" y="20000"/>
                  </a:cubicBezTo>
                  <a:cubicBezTo>
                    <a:pt x="6671" y="20184"/>
                    <a:pt x="6972" y="20213"/>
                    <a:pt x="7243" y="20346"/>
                  </a:cubicBezTo>
                  <a:cubicBezTo>
                    <a:pt x="7564" y="20504"/>
                    <a:pt x="7807" y="20796"/>
                    <a:pt x="8018" y="21032"/>
                  </a:cubicBezTo>
                  <a:cubicBezTo>
                    <a:pt x="8206" y="21242"/>
                    <a:pt x="8387" y="21428"/>
                    <a:pt x="8582" y="21600"/>
                  </a:cubicBezTo>
                  <a:cubicBezTo>
                    <a:pt x="8971" y="21329"/>
                    <a:pt x="9322" y="21110"/>
                    <a:pt x="9999" y="21110"/>
                  </a:cubicBezTo>
                  <a:cubicBezTo>
                    <a:pt x="10345" y="21110"/>
                    <a:pt x="10664" y="21161"/>
                    <a:pt x="10994" y="21162"/>
                  </a:cubicBezTo>
                  <a:close/>
                  <a:moveTo>
                    <a:pt x="10994" y="21162"/>
                  </a:moveTo>
                </a:path>
              </a:pathLst>
            </a:custGeom>
            <a:solidFill>
              <a:srgbClr val="C0C0C0"/>
            </a:solidFill>
            <a:ln w="3175">
              <a:solidFill>
                <a:schemeClr val="bg1">
                  <a:lumMod val="85000"/>
                </a:schemeClr>
              </a:solidFill>
            </a:ln>
          </p:spPr>
          <p:txBody>
            <a:bodyPr lIns="0" tIns="0" rIns="0" bIns="0"/>
            <a:lstStyle/>
            <a:p>
              <a:endParaRPr lang="en-US"/>
            </a:p>
          </p:txBody>
        </p:sp>
        <p:sp>
          <p:nvSpPr>
            <p:cNvPr id="157" name="AutoShape 207">
              <a:extLst>
                <a:ext uri="{FF2B5EF4-FFF2-40B4-BE49-F238E27FC236}">
                  <a16:creationId xmlns:a16="http://schemas.microsoft.com/office/drawing/2014/main" id="{04480EDE-1433-6842-A43C-90E0E4F69594}"/>
                </a:ext>
              </a:extLst>
            </p:cNvPr>
            <p:cNvSpPr>
              <a:spLocks/>
            </p:cNvSpPr>
            <p:nvPr/>
          </p:nvSpPr>
          <p:spPr bwMode="auto">
            <a:xfrm>
              <a:off x="4475237" y="2226390"/>
              <a:ext cx="713259" cy="333212"/>
            </a:xfrm>
            <a:custGeom>
              <a:avLst/>
              <a:gdLst/>
              <a:ahLst/>
              <a:cxnLst/>
              <a:rect l="0" t="0" r="r" b="b"/>
              <a:pathLst>
                <a:path w="21427" h="21423">
                  <a:moveTo>
                    <a:pt x="6960" y="21404"/>
                  </a:moveTo>
                  <a:cubicBezTo>
                    <a:pt x="8261" y="21404"/>
                    <a:pt x="9562" y="21404"/>
                    <a:pt x="10863" y="21404"/>
                  </a:cubicBezTo>
                  <a:cubicBezTo>
                    <a:pt x="11159" y="21404"/>
                    <a:pt x="11455" y="21404"/>
                    <a:pt x="11752" y="21404"/>
                  </a:cubicBezTo>
                  <a:cubicBezTo>
                    <a:pt x="11942" y="21404"/>
                    <a:pt x="12413" y="21550"/>
                    <a:pt x="12420" y="21041"/>
                  </a:cubicBezTo>
                  <a:cubicBezTo>
                    <a:pt x="12424" y="20753"/>
                    <a:pt x="12326" y="20489"/>
                    <a:pt x="12369" y="20170"/>
                  </a:cubicBezTo>
                  <a:cubicBezTo>
                    <a:pt x="12414" y="19831"/>
                    <a:pt x="12583" y="19754"/>
                    <a:pt x="12589" y="19373"/>
                  </a:cubicBezTo>
                  <a:cubicBezTo>
                    <a:pt x="12595" y="19063"/>
                    <a:pt x="12471" y="18820"/>
                    <a:pt x="12490" y="18508"/>
                  </a:cubicBezTo>
                  <a:cubicBezTo>
                    <a:pt x="12519" y="18502"/>
                    <a:pt x="12560" y="18487"/>
                    <a:pt x="12589" y="18502"/>
                  </a:cubicBezTo>
                  <a:cubicBezTo>
                    <a:pt x="13100" y="18502"/>
                    <a:pt x="13611" y="18502"/>
                    <a:pt x="14122" y="18502"/>
                  </a:cubicBezTo>
                  <a:cubicBezTo>
                    <a:pt x="14494" y="18502"/>
                    <a:pt x="14866" y="18502"/>
                    <a:pt x="15238" y="18502"/>
                  </a:cubicBezTo>
                  <a:cubicBezTo>
                    <a:pt x="15567" y="18502"/>
                    <a:pt x="15891" y="18599"/>
                    <a:pt x="16152" y="18066"/>
                  </a:cubicBezTo>
                  <a:cubicBezTo>
                    <a:pt x="16261" y="17845"/>
                    <a:pt x="16322" y="17623"/>
                    <a:pt x="16391" y="17342"/>
                  </a:cubicBezTo>
                  <a:cubicBezTo>
                    <a:pt x="16544" y="16714"/>
                    <a:pt x="16622" y="16004"/>
                    <a:pt x="16822" y="15449"/>
                  </a:cubicBezTo>
                  <a:cubicBezTo>
                    <a:pt x="17019" y="14904"/>
                    <a:pt x="17314" y="15608"/>
                    <a:pt x="17594" y="15358"/>
                  </a:cubicBezTo>
                  <a:cubicBezTo>
                    <a:pt x="17872" y="15110"/>
                    <a:pt x="17844" y="14043"/>
                    <a:pt x="17992" y="13571"/>
                  </a:cubicBezTo>
                  <a:cubicBezTo>
                    <a:pt x="18081" y="13290"/>
                    <a:pt x="18289" y="13125"/>
                    <a:pt x="18336" y="12845"/>
                  </a:cubicBezTo>
                  <a:cubicBezTo>
                    <a:pt x="18398" y="12471"/>
                    <a:pt x="18209" y="12070"/>
                    <a:pt x="18237" y="11655"/>
                  </a:cubicBezTo>
                  <a:cubicBezTo>
                    <a:pt x="18391" y="11539"/>
                    <a:pt x="18551" y="11625"/>
                    <a:pt x="18708" y="11589"/>
                  </a:cubicBezTo>
                  <a:cubicBezTo>
                    <a:pt x="18852" y="11557"/>
                    <a:pt x="19005" y="11469"/>
                    <a:pt x="19147" y="11405"/>
                  </a:cubicBezTo>
                  <a:cubicBezTo>
                    <a:pt x="19460" y="11266"/>
                    <a:pt x="19778" y="11066"/>
                    <a:pt x="20021" y="10598"/>
                  </a:cubicBezTo>
                  <a:cubicBezTo>
                    <a:pt x="20138" y="10373"/>
                    <a:pt x="20194" y="10230"/>
                    <a:pt x="20231" y="9908"/>
                  </a:cubicBezTo>
                  <a:cubicBezTo>
                    <a:pt x="20254" y="9702"/>
                    <a:pt x="20279" y="9595"/>
                    <a:pt x="20307" y="9408"/>
                  </a:cubicBezTo>
                  <a:cubicBezTo>
                    <a:pt x="20370" y="8986"/>
                    <a:pt x="20290" y="8708"/>
                    <a:pt x="20522" y="8484"/>
                  </a:cubicBezTo>
                  <a:cubicBezTo>
                    <a:pt x="20984" y="8039"/>
                    <a:pt x="21342" y="7340"/>
                    <a:pt x="21370" y="6165"/>
                  </a:cubicBezTo>
                  <a:cubicBezTo>
                    <a:pt x="21379" y="5781"/>
                    <a:pt x="21313" y="5685"/>
                    <a:pt x="21231" y="5381"/>
                  </a:cubicBezTo>
                  <a:cubicBezTo>
                    <a:pt x="21207" y="5294"/>
                    <a:pt x="21113" y="5269"/>
                    <a:pt x="21187" y="5092"/>
                  </a:cubicBezTo>
                  <a:cubicBezTo>
                    <a:pt x="21223" y="5007"/>
                    <a:pt x="21334" y="5101"/>
                    <a:pt x="21374" y="5023"/>
                  </a:cubicBezTo>
                  <a:cubicBezTo>
                    <a:pt x="21600" y="4590"/>
                    <a:pt x="21043" y="3680"/>
                    <a:pt x="20879" y="3570"/>
                  </a:cubicBezTo>
                  <a:cubicBezTo>
                    <a:pt x="20544" y="3345"/>
                    <a:pt x="20228" y="3560"/>
                    <a:pt x="20001" y="2871"/>
                  </a:cubicBezTo>
                  <a:cubicBezTo>
                    <a:pt x="19834" y="2361"/>
                    <a:pt x="19852" y="1850"/>
                    <a:pt x="19781" y="1277"/>
                  </a:cubicBezTo>
                  <a:cubicBezTo>
                    <a:pt x="19708" y="689"/>
                    <a:pt x="19471" y="469"/>
                    <a:pt x="19289" y="124"/>
                  </a:cubicBezTo>
                  <a:cubicBezTo>
                    <a:pt x="19284" y="126"/>
                    <a:pt x="19279" y="128"/>
                    <a:pt x="19274" y="130"/>
                  </a:cubicBezTo>
                  <a:cubicBezTo>
                    <a:pt x="19041" y="238"/>
                    <a:pt x="18836" y="552"/>
                    <a:pt x="18607" y="625"/>
                  </a:cubicBezTo>
                  <a:cubicBezTo>
                    <a:pt x="18335" y="711"/>
                    <a:pt x="18053" y="598"/>
                    <a:pt x="17798" y="442"/>
                  </a:cubicBezTo>
                  <a:cubicBezTo>
                    <a:pt x="17531" y="278"/>
                    <a:pt x="17317" y="-50"/>
                    <a:pt x="17025" y="7"/>
                  </a:cubicBezTo>
                  <a:cubicBezTo>
                    <a:pt x="16814" y="48"/>
                    <a:pt x="16624" y="257"/>
                    <a:pt x="16415" y="345"/>
                  </a:cubicBezTo>
                  <a:cubicBezTo>
                    <a:pt x="16186" y="442"/>
                    <a:pt x="15963" y="330"/>
                    <a:pt x="15737" y="285"/>
                  </a:cubicBezTo>
                  <a:cubicBezTo>
                    <a:pt x="15204" y="179"/>
                    <a:pt x="14774" y="587"/>
                    <a:pt x="14267" y="721"/>
                  </a:cubicBezTo>
                  <a:cubicBezTo>
                    <a:pt x="13655" y="884"/>
                    <a:pt x="13030" y="1076"/>
                    <a:pt x="12437" y="1445"/>
                  </a:cubicBezTo>
                  <a:cubicBezTo>
                    <a:pt x="12039" y="1693"/>
                    <a:pt x="11675" y="2170"/>
                    <a:pt x="11263" y="2315"/>
                  </a:cubicBezTo>
                  <a:cubicBezTo>
                    <a:pt x="10843" y="2464"/>
                    <a:pt x="10415" y="2330"/>
                    <a:pt x="9997" y="2461"/>
                  </a:cubicBezTo>
                  <a:cubicBezTo>
                    <a:pt x="9670" y="2563"/>
                    <a:pt x="9338" y="2790"/>
                    <a:pt x="9007" y="2849"/>
                  </a:cubicBezTo>
                  <a:cubicBezTo>
                    <a:pt x="8476" y="2943"/>
                    <a:pt x="8043" y="2754"/>
                    <a:pt x="7556" y="2403"/>
                  </a:cubicBezTo>
                  <a:cubicBezTo>
                    <a:pt x="7108" y="2081"/>
                    <a:pt x="6602" y="1870"/>
                    <a:pt x="6155" y="2302"/>
                  </a:cubicBezTo>
                  <a:cubicBezTo>
                    <a:pt x="5730" y="2714"/>
                    <a:pt x="5262" y="3588"/>
                    <a:pt x="4799" y="3768"/>
                  </a:cubicBezTo>
                  <a:cubicBezTo>
                    <a:pt x="4331" y="3951"/>
                    <a:pt x="4011" y="3130"/>
                    <a:pt x="3628" y="2835"/>
                  </a:cubicBezTo>
                  <a:cubicBezTo>
                    <a:pt x="3251" y="2545"/>
                    <a:pt x="2643" y="2935"/>
                    <a:pt x="2289" y="3224"/>
                  </a:cubicBezTo>
                  <a:cubicBezTo>
                    <a:pt x="1912" y="3532"/>
                    <a:pt x="1789" y="4503"/>
                    <a:pt x="1430" y="4819"/>
                  </a:cubicBezTo>
                  <a:cubicBezTo>
                    <a:pt x="1097" y="5112"/>
                    <a:pt x="755" y="4410"/>
                    <a:pt x="412" y="4769"/>
                  </a:cubicBezTo>
                  <a:cubicBezTo>
                    <a:pt x="220" y="4971"/>
                    <a:pt x="76" y="5496"/>
                    <a:pt x="0" y="6022"/>
                  </a:cubicBezTo>
                  <a:cubicBezTo>
                    <a:pt x="276" y="6310"/>
                    <a:pt x="616" y="6518"/>
                    <a:pt x="754" y="7124"/>
                  </a:cubicBezTo>
                  <a:cubicBezTo>
                    <a:pt x="897" y="7751"/>
                    <a:pt x="826" y="8639"/>
                    <a:pt x="826" y="9328"/>
                  </a:cubicBezTo>
                  <a:cubicBezTo>
                    <a:pt x="826" y="10134"/>
                    <a:pt x="807" y="10963"/>
                    <a:pt x="843" y="11757"/>
                  </a:cubicBezTo>
                  <a:cubicBezTo>
                    <a:pt x="879" y="12545"/>
                    <a:pt x="932" y="13336"/>
                    <a:pt x="1064" y="14096"/>
                  </a:cubicBezTo>
                  <a:cubicBezTo>
                    <a:pt x="1112" y="14376"/>
                    <a:pt x="1291" y="14849"/>
                    <a:pt x="1253" y="15161"/>
                  </a:cubicBezTo>
                  <a:cubicBezTo>
                    <a:pt x="1240" y="15261"/>
                    <a:pt x="1218" y="15325"/>
                    <a:pt x="1190" y="15365"/>
                  </a:cubicBezTo>
                  <a:cubicBezTo>
                    <a:pt x="1352" y="15603"/>
                    <a:pt x="1559" y="15783"/>
                    <a:pt x="1566" y="16290"/>
                  </a:cubicBezTo>
                  <a:cubicBezTo>
                    <a:pt x="1571" y="16687"/>
                    <a:pt x="1441" y="16970"/>
                    <a:pt x="1334" y="17244"/>
                  </a:cubicBezTo>
                  <a:cubicBezTo>
                    <a:pt x="1062" y="17944"/>
                    <a:pt x="915" y="18686"/>
                    <a:pt x="1064" y="19577"/>
                  </a:cubicBezTo>
                  <a:cubicBezTo>
                    <a:pt x="1125" y="19945"/>
                    <a:pt x="1223" y="20254"/>
                    <a:pt x="1249" y="20642"/>
                  </a:cubicBezTo>
                  <a:cubicBezTo>
                    <a:pt x="1267" y="20888"/>
                    <a:pt x="1262" y="21147"/>
                    <a:pt x="1260" y="21404"/>
                  </a:cubicBezTo>
                  <a:cubicBezTo>
                    <a:pt x="1783" y="21404"/>
                    <a:pt x="2306" y="21404"/>
                    <a:pt x="2829" y="21404"/>
                  </a:cubicBezTo>
                  <a:cubicBezTo>
                    <a:pt x="4206" y="21404"/>
                    <a:pt x="5583" y="21404"/>
                    <a:pt x="6960" y="21404"/>
                  </a:cubicBezTo>
                  <a:close/>
                  <a:moveTo>
                    <a:pt x="6960" y="21404"/>
                  </a:moveTo>
                </a:path>
              </a:pathLst>
            </a:custGeom>
            <a:solidFill>
              <a:srgbClr val="C0C0C0"/>
            </a:solidFill>
            <a:ln w="3175">
              <a:solidFill>
                <a:schemeClr val="bg1">
                  <a:lumMod val="85000"/>
                </a:schemeClr>
              </a:solidFill>
            </a:ln>
          </p:spPr>
          <p:txBody>
            <a:bodyPr lIns="0" tIns="0" rIns="0" bIns="0"/>
            <a:lstStyle/>
            <a:p>
              <a:endParaRPr lang="en-US"/>
            </a:p>
          </p:txBody>
        </p:sp>
        <p:sp>
          <p:nvSpPr>
            <p:cNvPr id="158" name="AutoShape 229">
              <a:extLst>
                <a:ext uri="{FF2B5EF4-FFF2-40B4-BE49-F238E27FC236}">
                  <a16:creationId xmlns:a16="http://schemas.microsoft.com/office/drawing/2014/main" id="{42399486-87D9-6542-9D81-23673C72B0AF}"/>
                </a:ext>
              </a:extLst>
            </p:cNvPr>
            <p:cNvSpPr>
              <a:spLocks/>
            </p:cNvSpPr>
            <p:nvPr/>
          </p:nvSpPr>
          <p:spPr bwMode="auto">
            <a:xfrm>
              <a:off x="5118524" y="2226390"/>
              <a:ext cx="595042" cy="431962"/>
            </a:xfrm>
            <a:custGeom>
              <a:avLst/>
              <a:gdLst/>
              <a:ahLst/>
              <a:cxnLst/>
              <a:rect l="0" t="0" r="r" b="b"/>
              <a:pathLst>
                <a:path w="21591" h="21478">
                  <a:moveTo>
                    <a:pt x="1449" y="7544"/>
                  </a:moveTo>
                  <a:cubicBezTo>
                    <a:pt x="1553" y="7814"/>
                    <a:pt x="1459" y="8161"/>
                    <a:pt x="1529" y="8450"/>
                  </a:cubicBezTo>
                  <a:cubicBezTo>
                    <a:pt x="1595" y="8724"/>
                    <a:pt x="1773" y="8889"/>
                    <a:pt x="1913" y="9083"/>
                  </a:cubicBezTo>
                  <a:cubicBezTo>
                    <a:pt x="1974" y="9168"/>
                    <a:pt x="2108" y="9347"/>
                    <a:pt x="2125" y="9458"/>
                  </a:cubicBezTo>
                  <a:cubicBezTo>
                    <a:pt x="2167" y="9741"/>
                    <a:pt x="2022" y="9701"/>
                    <a:pt x="1964" y="9908"/>
                  </a:cubicBezTo>
                  <a:cubicBezTo>
                    <a:pt x="1927" y="10041"/>
                    <a:pt x="1987" y="10221"/>
                    <a:pt x="1928" y="10349"/>
                  </a:cubicBezTo>
                  <a:cubicBezTo>
                    <a:pt x="1843" y="10533"/>
                    <a:pt x="1715" y="10465"/>
                    <a:pt x="1605" y="10543"/>
                  </a:cubicBezTo>
                  <a:cubicBezTo>
                    <a:pt x="1268" y="10781"/>
                    <a:pt x="1389" y="10989"/>
                    <a:pt x="1477" y="11357"/>
                  </a:cubicBezTo>
                  <a:cubicBezTo>
                    <a:pt x="1556" y="11689"/>
                    <a:pt x="1493" y="12053"/>
                    <a:pt x="1530" y="12405"/>
                  </a:cubicBezTo>
                  <a:cubicBezTo>
                    <a:pt x="1556" y="12655"/>
                    <a:pt x="1722" y="13017"/>
                    <a:pt x="1688" y="13274"/>
                  </a:cubicBezTo>
                  <a:cubicBezTo>
                    <a:pt x="1645" y="13598"/>
                    <a:pt x="1403" y="13619"/>
                    <a:pt x="1441" y="14021"/>
                  </a:cubicBezTo>
                  <a:cubicBezTo>
                    <a:pt x="1464" y="14258"/>
                    <a:pt x="1596" y="14468"/>
                    <a:pt x="1708" y="14650"/>
                  </a:cubicBezTo>
                  <a:cubicBezTo>
                    <a:pt x="1826" y="14840"/>
                    <a:pt x="1811" y="14773"/>
                    <a:pt x="1966" y="14881"/>
                  </a:cubicBezTo>
                  <a:cubicBezTo>
                    <a:pt x="2274" y="15097"/>
                    <a:pt x="2261" y="15320"/>
                    <a:pt x="2444" y="15712"/>
                  </a:cubicBezTo>
                  <a:cubicBezTo>
                    <a:pt x="2501" y="15834"/>
                    <a:pt x="2573" y="15881"/>
                    <a:pt x="2636" y="15975"/>
                  </a:cubicBezTo>
                  <a:cubicBezTo>
                    <a:pt x="2705" y="16078"/>
                    <a:pt x="2778" y="16238"/>
                    <a:pt x="2854" y="16341"/>
                  </a:cubicBezTo>
                  <a:cubicBezTo>
                    <a:pt x="3041" y="16591"/>
                    <a:pt x="3242" y="16534"/>
                    <a:pt x="3386" y="16855"/>
                  </a:cubicBezTo>
                  <a:cubicBezTo>
                    <a:pt x="3527" y="17169"/>
                    <a:pt x="3601" y="17367"/>
                    <a:pt x="3844" y="17602"/>
                  </a:cubicBezTo>
                  <a:cubicBezTo>
                    <a:pt x="4025" y="17777"/>
                    <a:pt x="4313" y="17860"/>
                    <a:pt x="4464" y="18107"/>
                  </a:cubicBezTo>
                  <a:cubicBezTo>
                    <a:pt x="4611" y="18347"/>
                    <a:pt x="4525" y="18729"/>
                    <a:pt x="4662" y="18930"/>
                  </a:cubicBezTo>
                  <a:cubicBezTo>
                    <a:pt x="4744" y="19051"/>
                    <a:pt x="4879" y="18992"/>
                    <a:pt x="4958" y="19106"/>
                  </a:cubicBezTo>
                  <a:cubicBezTo>
                    <a:pt x="5018" y="19193"/>
                    <a:pt x="5019" y="19378"/>
                    <a:pt x="5098" y="19483"/>
                  </a:cubicBezTo>
                  <a:cubicBezTo>
                    <a:pt x="5118" y="19509"/>
                    <a:pt x="5225" y="19488"/>
                    <a:pt x="5264" y="19526"/>
                  </a:cubicBezTo>
                  <a:cubicBezTo>
                    <a:pt x="5315" y="19575"/>
                    <a:pt x="5325" y="19689"/>
                    <a:pt x="5371" y="19745"/>
                  </a:cubicBezTo>
                  <a:cubicBezTo>
                    <a:pt x="5458" y="19850"/>
                    <a:pt x="5550" y="19921"/>
                    <a:pt x="5645" y="20005"/>
                  </a:cubicBezTo>
                  <a:cubicBezTo>
                    <a:pt x="5732" y="20081"/>
                    <a:pt x="5843" y="20092"/>
                    <a:pt x="5892" y="20227"/>
                  </a:cubicBezTo>
                  <a:cubicBezTo>
                    <a:pt x="5937" y="20354"/>
                    <a:pt x="5839" y="20591"/>
                    <a:pt x="5890" y="20715"/>
                  </a:cubicBezTo>
                  <a:cubicBezTo>
                    <a:pt x="5992" y="20964"/>
                    <a:pt x="6254" y="20811"/>
                    <a:pt x="6415" y="21003"/>
                  </a:cubicBezTo>
                  <a:cubicBezTo>
                    <a:pt x="6600" y="21223"/>
                    <a:pt x="6509" y="21565"/>
                    <a:pt x="6852" y="21456"/>
                  </a:cubicBezTo>
                  <a:cubicBezTo>
                    <a:pt x="7142" y="21365"/>
                    <a:pt x="7503" y="20909"/>
                    <a:pt x="7774" y="20706"/>
                  </a:cubicBezTo>
                  <a:cubicBezTo>
                    <a:pt x="7980" y="20551"/>
                    <a:pt x="8275" y="20438"/>
                    <a:pt x="8456" y="20261"/>
                  </a:cubicBezTo>
                  <a:cubicBezTo>
                    <a:pt x="8688" y="20033"/>
                    <a:pt x="8722" y="19628"/>
                    <a:pt x="8791" y="19265"/>
                  </a:cubicBezTo>
                  <a:cubicBezTo>
                    <a:pt x="8903" y="18677"/>
                    <a:pt x="9012" y="18043"/>
                    <a:pt x="9329" y="17574"/>
                  </a:cubicBezTo>
                  <a:cubicBezTo>
                    <a:pt x="9641" y="17110"/>
                    <a:pt x="10106" y="16894"/>
                    <a:pt x="10394" y="17498"/>
                  </a:cubicBezTo>
                  <a:cubicBezTo>
                    <a:pt x="10510" y="17742"/>
                    <a:pt x="10553" y="18051"/>
                    <a:pt x="10667" y="18285"/>
                  </a:cubicBezTo>
                  <a:cubicBezTo>
                    <a:pt x="11036" y="19044"/>
                    <a:pt x="11948" y="18399"/>
                    <a:pt x="12379" y="19032"/>
                  </a:cubicBezTo>
                  <a:cubicBezTo>
                    <a:pt x="12566" y="19307"/>
                    <a:pt x="12733" y="19652"/>
                    <a:pt x="13015" y="19331"/>
                  </a:cubicBezTo>
                  <a:cubicBezTo>
                    <a:pt x="13115" y="19218"/>
                    <a:pt x="13089" y="19029"/>
                    <a:pt x="13232" y="18929"/>
                  </a:cubicBezTo>
                  <a:cubicBezTo>
                    <a:pt x="13453" y="18774"/>
                    <a:pt x="13891" y="18923"/>
                    <a:pt x="14133" y="18929"/>
                  </a:cubicBezTo>
                  <a:cubicBezTo>
                    <a:pt x="14506" y="18940"/>
                    <a:pt x="14879" y="18957"/>
                    <a:pt x="15252" y="18957"/>
                  </a:cubicBezTo>
                  <a:cubicBezTo>
                    <a:pt x="15438" y="18957"/>
                    <a:pt x="15757" y="19042"/>
                    <a:pt x="15928" y="18949"/>
                  </a:cubicBezTo>
                  <a:cubicBezTo>
                    <a:pt x="16150" y="18827"/>
                    <a:pt x="16186" y="18623"/>
                    <a:pt x="16480" y="18658"/>
                  </a:cubicBezTo>
                  <a:lnTo>
                    <a:pt x="21120" y="18658"/>
                  </a:lnTo>
                  <a:cubicBezTo>
                    <a:pt x="20934" y="18598"/>
                    <a:pt x="20974" y="18523"/>
                    <a:pt x="20997" y="18294"/>
                  </a:cubicBezTo>
                  <a:cubicBezTo>
                    <a:pt x="21020" y="18075"/>
                    <a:pt x="21001" y="17820"/>
                    <a:pt x="21078" y="17621"/>
                  </a:cubicBezTo>
                  <a:cubicBezTo>
                    <a:pt x="21157" y="17418"/>
                    <a:pt x="21316" y="17329"/>
                    <a:pt x="21411" y="17145"/>
                  </a:cubicBezTo>
                  <a:cubicBezTo>
                    <a:pt x="21512" y="16950"/>
                    <a:pt x="21509" y="16728"/>
                    <a:pt x="21509" y="16499"/>
                  </a:cubicBezTo>
                  <a:cubicBezTo>
                    <a:pt x="21508" y="15974"/>
                    <a:pt x="21447" y="15481"/>
                    <a:pt x="21447" y="14956"/>
                  </a:cubicBezTo>
                  <a:cubicBezTo>
                    <a:pt x="21447" y="14691"/>
                    <a:pt x="21426" y="14406"/>
                    <a:pt x="21447" y="14143"/>
                  </a:cubicBezTo>
                  <a:cubicBezTo>
                    <a:pt x="21467" y="13902"/>
                    <a:pt x="21583" y="13703"/>
                    <a:pt x="21590" y="13464"/>
                  </a:cubicBezTo>
                  <a:cubicBezTo>
                    <a:pt x="21600" y="13149"/>
                    <a:pt x="21489" y="12938"/>
                    <a:pt x="21308" y="12831"/>
                  </a:cubicBezTo>
                  <a:cubicBezTo>
                    <a:pt x="21164" y="12745"/>
                    <a:pt x="21153" y="12759"/>
                    <a:pt x="21053" y="12601"/>
                  </a:cubicBezTo>
                  <a:cubicBezTo>
                    <a:pt x="20961" y="12454"/>
                    <a:pt x="20994" y="12471"/>
                    <a:pt x="20874" y="12356"/>
                  </a:cubicBezTo>
                  <a:cubicBezTo>
                    <a:pt x="20672" y="12161"/>
                    <a:pt x="20575" y="12032"/>
                    <a:pt x="20464" y="11728"/>
                  </a:cubicBezTo>
                  <a:cubicBezTo>
                    <a:pt x="20398" y="11547"/>
                    <a:pt x="20384" y="11298"/>
                    <a:pt x="20280" y="11146"/>
                  </a:cubicBezTo>
                  <a:cubicBezTo>
                    <a:pt x="20185" y="11008"/>
                    <a:pt x="20056" y="11029"/>
                    <a:pt x="20013" y="10807"/>
                  </a:cubicBezTo>
                  <a:cubicBezTo>
                    <a:pt x="19925" y="10346"/>
                    <a:pt x="20082" y="10105"/>
                    <a:pt x="19727" y="9830"/>
                  </a:cubicBezTo>
                  <a:cubicBezTo>
                    <a:pt x="19534" y="9680"/>
                    <a:pt x="19561" y="9532"/>
                    <a:pt x="19467" y="9292"/>
                  </a:cubicBezTo>
                  <a:cubicBezTo>
                    <a:pt x="19345" y="8982"/>
                    <a:pt x="19024" y="8656"/>
                    <a:pt x="18786" y="8569"/>
                  </a:cubicBezTo>
                  <a:cubicBezTo>
                    <a:pt x="18415" y="8432"/>
                    <a:pt x="18024" y="8578"/>
                    <a:pt x="17644" y="8414"/>
                  </a:cubicBezTo>
                  <a:cubicBezTo>
                    <a:pt x="17216" y="8228"/>
                    <a:pt x="17178" y="7751"/>
                    <a:pt x="16862" y="7382"/>
                  </a:cubicBezTo>
                  <a:cubicBezTo>
                    <a:pt x="16665" y="7151"/>
                    <a:pt x="16387" y="7234"/>
                    <a:pt x="16274" y="6879"/>
                  </a:cubicBezTo>
                  <a:cubicBezTo>
                    <a:pt x="16191" y="6617"/>
                    <a:pt x="16250" y="6458"/>
                    <a:pt x="16064" y="6261"/>
                  </a:cubicBezTo>
                  <a:cubicBezTo>
                    <a:pt x="15888" y="6075"/>
                    <a:pt x="15663" y="6016"/>
                    <a:pt x="15537" y="5757"/>
                  </a:cubicBezTo>
                  <a:cubicBezTo>
                    <a:pt x="15422" y="5522"/>
                    <a:pt x="15449" y="5377"/>
                    <a:pt x="15265" y="5231"/>
                  </a:cubicBezTo>
                  <a:cubicBezTo>
                    <a:pt x="15062" y="5070"/>
                    <a:pt x="14860" y="5032"/>
                    <a:pt x="14630" y="4979"/>
                  </a:cubicBezTo>
                  <a:cubicBezTo>
                    <a:pt x="14307" y="4903"/>
                    <a:pt x="14431" y="4809"/>
                    <a:pt x="14283" y="4529"/>
                  </a:cubicBezTo>
                  <a:cubicBezTo>
                    <a:pt x="14174" y="4324"/>
                    <a:pt x="13939" y="4383"/>
                    <a:pt x="13792" y="4293"/>
                  </a:cubicBezTo>
                  <a:cubicBezTo>
                    <a:pt x="13695" y="4234"/>
                    <a:pt x="13672" y="4126"/>
                    <a:pt x="13542" y="4081"/>
                  </a:cubicBezTo>
                  <a:cubicBezTo>
                    <a:pt x="13437" y="4043"/>
                    <a:pt x="13300" y="4068"/>
                    <a:pt x="13203" y="3984"/>
                  </a:cubicBezTo>
                  <a:cubicBezTo>
                    <a:pt x="13014" y="3820"/>
                    <a:pt x="13049" y="3667"/>
                    <a:pt x="12790" y="3654"/>
                  </a:cubicBezTo>
                  <a:cubicBezTo>
                    <a:pt x="12567" y="3642"/>
                    <a:pt x="12354" y="3710"/>
                    <a:pt x="12133" y="3682"/>
                  </a:cubicBezTo>
                  <a:cubicBezTo>
                    <a:pt x="11919" y="3654"/>
                    <a:pt x="11856" y="3428"/>
                    <a:pt x="11683" y="3373"/>
                  </a:cubicBezTo>
                  <a:cubicBezTo>
                    <a:pt x="11445" y="3297"/>
                    <a:pt x="11418" y="3598"/>
                    <a:pt x="11273" y="3753"/>
                  </a:cubicBezTo>
                  <a:cubicBezTo>
                    <a:pt x="11186" y="3846"/>
                    <a:pt x="11110" y="3793"/>
                    <a:pt x="11028" y="3850"/>
                  </a:cubicBezTo>
                  <a:cubicBezTo>
                    <a:pt x="10939" y="3912"/>
                    <a:pt x="10941" y="3989"/>
                    <a:pt x="10870" y="4102"/>
                  </a:cubicBezTo>
                  <a:cubicBezTo>
                    <a:pt x="10754" y="4287"/>
                    <a:pt x="10508" y="4330"/>
                    <a:pt x="10414" y="4495"/>
                  </a:cubicBezTo>
                  <a:cubicBezTo>
                    <a:pt x="10350" y="4605"/>
                    <a:pt x="10410" y="4855"/>
                    <a:pt x="10349" y="4945"/>
                  </a:cubicBezTo>
                  <a:cubicBezTo>
                    <a:pt x="10273" y="5058"/>
                    <a:pt x="10171" y="4935"/>
                    <a:pt x="10090" y="5005"/>
                  </a:cubicBezTo>
                  <a:cubicBezTo>
                    <a:pt x="9990" y="5093"/>
                    <a:pt x="10067" y="5192"/>
                    <a:pt x="10000" y="5303"/>
                  </a:cubicBezTo>
                  <a:cubicBezTo>
                    <a:pt x="9955" y="5378"/>
                    <a:pt x="9850" y="5323"/>
                    <a:pt x="9799" y="5419"/>
                  </a:cubicBezTo>
                  <a:cubicBezTo>
                    <a:pt x="9701" y="5601"/>
                    <a:pt x="9834" y="5972"/>
                    <a:pt x="9781" y="6178"/>
                  </a:cubicBezTo>
                  <a:cubicBezTo>
                    <a:pt x="9707" y="6465"/>
                    <a:pt x="9489" y="6493"/>
                    <a:pt x="9288" y="6480"/>
                  </a:cubicBezTo>
                  <a:cubicBezTo>
                    <a:pt x="9014" y="6462"/>
                    <a:pt x="8941" y="6402"/>
                    <a:pt x="8781" y="6122"/>
                  </a:cubicBezTo>
                  <a:cubicBezTo>
                    <a:pt x="8658" y="5905"/>
                    <a:pt x="8542" y="5802"/>
                    <a:pt x="8326" y="5785"/>
                  </a:cubicBezTo>
                  <a:cubicBezTo>
                    <a:pt x="8138" y="5771"/>
                    <a:pt x="8004" y="5893"/>
                    <a:pt x="7871" y="5680"/>
                  </a:cubicBezTo>
                  <a:cubicBezTo>
                    <a:pt x="7728" y="5451"/>
                    <a:pt x="7795" y="5338"/>
                    <a:pt x="7528" y="5308"/>
                  </a:cubicBezTo>
                  <a:cubicBezTo>
                    <a:pt x="7370" y="5291"/>
                    <a:pt x="7192" y="5344"/>
                    <a:pt x="7118" y="5113"/>
                  </a:cubicBezTo>
                  <a:cubicBezTo>
                    <a:pt x="7093" y="5035"/>
                    <a:pt x="7097" y="4849"/>
                    <a:pt x="7083" y="4776"/>
                  </a:cubicBezTo>
                  <a:cubicBezTo>
                    <a:pt x="6928" y="3981"/>
                    <a:pt x="7000" y="2955"/>
                    <a:pt x="6980" y="2105"/>
                  </a:cubicBezTo>
                  <a:cubicBezTo>
                    <a:pt x="6965" y="1429"/>
                    <a:pt x="6950" y="753"/>
                    <a:pt x="6934" y="78"/>
                  </a:cubicBezTo>
                  <a:lnTo>
                    <a:pt x="2888" y="141"/>
                  </a:lnTo>
                  <a:lnTo>
                    <a:pt x="2888" y="148"/>
                  </a:lnTo>
                  <a:lnTo>
                    <a:pt x="869" y="36"/>
                  </a:lnTo>
                  <a:cubicBezTo>
                    <a:pt x="553" y="-35"/>
                    <a:pt x="315" y="5"/>
                    <a:pt x="0" y="97"/>
                  </a:cubicBezTo>
                  <a:cubicBezTo>
                    <a:pt x="220" y="364"/>
                    <a:pt x="506" y="534"/>
                    <a:pt x="594" y="989"/>
                  </a:cubicBezTo>
                  <a:cubicBezTo>
                    <a:pt x="679" y="1432"/>
                    <a:pt x="658" y="1827"/>
                    <a:pt x="860" y="2222"/>
                  </a:cubicBezTo>
                  <a:cubicBezTo>
                    <a:pt x="1133" y="2755"/>
                    <a:pt x="1516" y="2588"/>
                    <a:pt x="1920" y="2763"/>
                  </a:cubicBezTo>
                  <a:cubicBezTo>
                    <a:pt x="2118" y="2848"/>
                    <a:pt x="2791" y="3551"/>
                    <a:pt x="2518" y="3886"/>
                  </a:cubicBezTo>
                  <a:cubicBezTo>
                    <a:pt x="2469" y="3946"/>
                    <a:pt x="2335" y="3874"/>
                    <a:pt x="2292" y="3940"/>
                  </a:cubicBezTo>
                  <a:cubicBezTo>
                    <a:pt x="2203" y="4077"/>
                    <a:pt x="2316" y="4096"/>
                    <a:pt x="2345" y="4163"/>
                  </a:cubicBezTo>
                  <a:cubicBezTo>
                    <a:pt x="2445" y="4398"/>
                    <a:pt x="2524" y="4473"/>
                    <a:pt x="2513" y="4769"/>
                  </a:cubicBezTo>
                  <a:cubicBezTo>
                    <a:pt x="2479" y="5678"/>
                    <a:pt x="2046" y="6218"/>
                    <a:pt x="1489" y="6563"/>
                  </a:cubicBezTo>
                  <a:cubicBezTo>
                    <a:pt x="1209" y="6736"/>
                    <a:pt x="1305" y="6951"/>
                    <a:pt x="1229" y="7278"/>
                  </a:cubicBezTo>
                  <a:cubicBezTo>
                    <a:pt x="1227" y="7284"/>
                    <a:pt x="1226" y="7290"/>
                    <a:pt x="1225" y="7296"/>
                  </a:cubicBezTo>
                  <a:cubicBezTo>
                    <a:pt x="1314" y="7324"/>
                    <a:pt x="1391" y="7392"/>
                    <a:pt x="1449" y="7544"/>
                  </a:cubicBezTo>
                  <a:close/>
                  <a:moveTo>
                    <a:pt x="1449" y="7544"/>
                  </a:moveTo>
                </a:path>
              </a:pathLst>
            </a:custGeom>
            <a:solidFill>
              <a:srgbClr val="C0C0C0"/>
            </a:solidFill>
            <a:ln w="3175">
              <a:solidFill>
                <a:schemeClr val="bg1">
                  <a:lumMod val="85000"/>
                </a:schemeClr>
              </a:solidFill>
            </a:ln>
          </p:spPr>
          <p:txBody>
            <a:bodyPr lIns="0" tIns="0" rIns="0" bIns="0"/>
            <a:lstStyle/>
            <a:p>
              <a:endParaRPr lang="en-US"/>
            </a:p>
          </p:txBody>
        </p:sp>
        <p:sp>
          <p:nvSpPr>
            <p:cNvPr id="159" name="AutoShape 249">
              <a:extLst>
                <a:ext uri="{FF2B5EF4-FFF2-40B4-BE49-F238E27FC236}">
                  <a16:creationId xmlns:a16="http://schemas.microsoft.com/office/drawing/2014/main" id="{6CCE47B3-253D-7342-887B-8B5A755840CB}"/>
                </a:ext>
              </a:extLst>
            </p:cNvPr>
            <p:cNvSpPr>
              <a:spLocks/>
            </p:cNvSpPr>
            <p:nvPr/>
          </p:nvSpPr>
          <p:spPr bwMode="auto">
            <a:xfrm>
              <a:off x="4450408" y="2666534"/>
              <a:ext cx="310076" cy="459048"/>
            </a:xfrm>
            <a:custGeom>
              <a:avLst/>
              <a:gdLst/>
              <a:ahLst/>
              <a:cxnLst/>
              <a:rect l="0" t="0" r="r" b="b"/>
              <a:pathLst>
                <a:path w="21438" h="21491">
                  <a:moveTo>
                    <a:pt x="10534" y="19168"/>
                  </a:moveTo>
                  <a:cubicBezTo>
                    <a:pt x="10756" y="19476"/>
                    <a:pt x="10957" y="19756"/>
                    <a:pt x="11226" y="20047"/>
                  </a:cubicBezTo>
                  <a:cubicBezTo>
                    <a:pt x="11412" y="20246"/>
                    <a:pt x="11573" y="20479"/>
                    <a:pt x="11841" y="20626"/>
                  </a:cubicBezTo>
                  <a:cubicBezTo>
                    <a:pt x="12149" y="20794"/>
                    <a:pt x="12496" y="20815"/>
                    <a:pt x="12862" y="20889"/>
                  </a:cubicBezTo>
                  <a:cubicBezTo>
                    <a:pt x="13479" y="21015"/>
                    <a:pt x="13614" y="21600"/>
                    <a:pt x="14266" y="21473"/>
                  </a:cubicBezTo>
                  <a:cubicBezTo>
                    <a:pt x="14702" y="21388"/>
                    <a:pt x="14816" y="21211"/>
                    <a:pt x="15319" y="21207"/>
                  </a:cubicBezTo>
                  <a:cubicBezTo>
                    <a:pt x="15709" y="21205"/>
                    <a:pt x="16108" y="21219"/>
                    <a:pt x="16490" y="21182"/>
                  </a:cubicBezTo>
                  <a:cubicBezTo>
                    <a:pt x="17399" y="21091"/>
                    <a:pt x="18149" y="20809"/>
                    <a:pt x="18709" y="20311"/>
                  </a:cubicBezTo>
                  <a:cubicBezTo>
                    <a:pt x="19040" y="20018"/>
                    <a:pt x="19409" y="19723"/>
                    <a:pt x="19723" y="19431"/>
                  </a:cubicBezTo>
                  <a:cubicBezTo>
                    <a:pt x="19970" y="19202"/>
                    <a:pt x="19909" y="18971"/>
                    <a:pt x="20102" y="18723"/>
                  </a:cubicBezTo>
                  <a:cubicBezTo>
                    <a:pt x="20302" y="18468"/>
                    <a:pt x="20737" y="18548"/>
                    <a:pt x="20924" y="18329"/>
                  </a:cubicBezTo>
                  <a:cubicBezTo>
                    <a:pt x="21096" y="18125"/>
                    <a:pt x="20843" y="17867"/>
                    <a:pt x="20708" y="17689"/>
                  </a:cubicBezTo>
                  <a:cubicBezTo>
                    <a:pt x="20503" y="17417"/>
                    <a:pt x="20571" y="17214"/>
                    <a:pt x="20542" y="16901"/>
                  </a:cubicBezTo>
                  <a:cubicBezTo>
                    <a:pt x="20514" y="16605"/>
                    <a:pt x="20178" y="16439"/>
                    <a:pt x="20112" y="16162"/>
                  </a:cubicBezTo>
                  <a:cubicBezTo>
                    <a:pt x="19936" y="15424"/>
                    <a:pt x="21303" y="15889"/>
                    <a:pt x="21430" y="15509"/>
                  </a:cubicBezTo>
                  <a:cubicBezTo>
                    <a:pt x="21542" y="15172"/>
                    <a:pt x="20508" y="14710"/>
                    <a:pt x="20231" y="14512"/>
                  </a:cubicBezTo>
                  <a:cubicBezTo>
                    <a:pt x="19938" y="14303"/>
                    <a:pt x="19824" y="14083"/>
                    <a:pt x="19801" y="13792"/>
                  </a:cubicBezTo>
                  <a:cubicBezTo>
                    <a:pt x="19778" y="13497"/>
                    <a:pt x="19852" y="13326"/>
                    <a:pt x="19411" y="13178"/>
                  </a:cubicBezTo>
                  <a:cubicBezTo>
                    <a:pt x="18724" y="12947"/>
                    <a:pt x="18120" y="13029"/>
                    <a:pt x="17706" y="12492"/>
                  </a:cubicBezTo>
                  <a:cubicBezTo>
                    <a:pt x="17451" y="12161"/>
                    <a:pt x="17486" y="11756"/>
                    <a:pt x="17508" y="11395"/>
                  </a:cubicBezTo>
                  <a:cubicBezTo>
                    <a:pt x="17523" y="11143"/>
                    <a:pt x="17473" y="10622"/>
                    <a:pt x="17716" y="10419"/>
                  </a:cubicBezTo>
                  <a:cubicBezTo>
                    <a:pt x="17896" y="10268"/>
                    <a:pt x="18105" y="10260"/>
                    <a:pt x="18151" y="10041"/>
                  </a:cubicBezTo>
                  <a:cubicBezTo>
                    <a:pt x="18199" y="9810"/>
                    <a:pt x="18097" y="9677"/>
                    <a:pt x="17871" y="9516"/>
                  </a:cubicBezTo>
                  <a:cubicBezTo>
                    <a:pt x="17483" y="9239"/>
                    <a:pt x="16912" y="8945"/>
                    <a:pt x="16363" y="8843"/>
                  </a:cubicBezTo>
                  <a:cubicBezTo>
                    <a:pt x="15445" y="8673"/>
                    <a:pt x="14411" y="8806"/>
                    <a:pt x="13467" y="8689"/>
                  </a:cubicBezTo>
                  <a:cubicBezTo>
                    <a:pt x="12712" y="8595"/>
                    <a:pt x="12056" y="8139"/>
                    <a:pt x="11477" y="7825"/>
                  </a:cubicBezTo>
                  <a:cubicBezTo>
                    <a:pt x="11195" y="7672"/>
                    <a:pt x="10907" y="7511"/>
                    <a:pt x="10669" y="7333"/>
                  </a:cubicBezTo>
                  <a:cubicBezTo>
                    <a:pt x="10461" y="7178"/>
                    <a:pt x="10319" y="6992"/>
                    <a:pt x="10095" y="6850"/>
                  </a:cubicBezTo>
                  <a:cubicBezTo>
                    <a:pt x="9778" y="6648"/>
                    <a:pt x="9253" y="6263"/>
                    <a:pt x="9471" y="5926"/>
                  </a:cubicBezTo>
                  <a:cubicBezTo>
                    <a:pt x="9585" y="5749"/>
                    <a:pt x="9883" y="5705"/>
                    <a:pt x="9973" y="5497"/>
                  </a:cubicBezTo>
                  <a:cubicBezTo>
                    <a:pt x="10053" y="5315"/>
                    <a:pt x="10059" y="5089"/>
                    <a:pt x="9935" y="4921"/>
                  </a:cubicBezTo>
                  <a:cubicBezTo>
                    <a:pt x="9850" y="4806"/>
                    <a:pt x="9598" y="4619"/>
                    <a:pt x="9887" y="4533"/>
                  </a:cubicBezTo>
                  <a:cubicBezTo>
                    <a:pt x="10117" y="4465"/>
                    <a:pt x="10378" y="4620"/>
                    <a:pt x="10606" y="4615"/>
                  </a:cubicBezTo>
                  <a:cubicBezTo>
                    <a:pt x="10602" y="4388"/>
                    <a:pt x="10679" y="4171"/>
                    <a:pt x="10680" y="3942"/>
                  </a:cubicBezTo>
                  <a:cubicBezTo>
                    <a:pt x="10684" y="2628"/>
                    <a:pt x="10680" y="1314"/>
                    <a:pt x="10680" y="0"/>
                  </a:cubicBezTo>
                  <a:lnTo>
                    <a:pt x="6247" y="45"/>
                  </a:lnTo>
                  <a:cubicBezTo>
                    <a:pt x="6257" y="227"/>
                    <a:pt x="6267" y="408"/>
                    <a:pt x="6279" y="590"/>
                  </a:cubicBezTo>
                  <a:cubicBezTo>
                    <a:pt x="6290" y="754"/>
                    <a:pt x="6406" y="1057"/>
                    <a:pt x="6191" y="1183"/>
                  </a:cubicBezTo>
                  <a:cubicBezTo>
                    <a:pt x="5901" y="1353"/>
                    <a:pt x="5524" y="1123"/>
                    <a:pt x="5213" y="1169"/>
                  </a:cubicBezTo>
                  <a:cubicBezTo>
                    <a:pt x="4834" y="1225"/>
                    <a:pt x="4640" y="1518"/>
                    <a:pt x="4222" y="1586"/>
                  </a:cubicBezTo>
                  <a:cubicBezTo>
                    <a:pt x="3294" y="1738"/>
                    <a:pt x="2336" y="1437"/>
                    <a:pt x="1570" y="1946"/>
                  </a:cubicBezTo>
                  <a:cubicBezTo>
                    <a:pt x="1184" y="2203"/>
                    <a:pt x="1258" y="2424"/>
                    <a:pt x="1169" y="2755"/>
                  </a:cubicBezTo>
                  <a:cubicBezTo>
                    <a:pt x="1097" y="3023"/>
                    <a:pt x="893" y="3272"/>
                    <a:pt x="843" y="3529"/>
                  </a:cubicBezTo>
                  <a:cubicBezTo>
                    <a:pt x="777" y="3866"/>
                    <a:pt x="967" y="4008"/>
                    <a:pt x="1221" y="4261"/>
                  </a:cubicBezTo>
                  <a:cubicBezTo>
                    <a:pt x="1501" y="4542"/>
                    <a:pt x="1568" y="4723"/>
                    <a:pt x="1635" y="5070"/>
                  </a:cubicBezTo>
                  <a:cubicBezTo>
                    <a:pt x="1742" y="5621"/>
                    <a:pt x="2187" y="5880"/>
                    <a:pt x="2445" y="6382"/>
                  </a:cubicBezTo>
                  <a:cubicBezTo>
                    <a:pt x="2582" y="6650"/>
                    <a:pt x="2505" y="6957"/>
                    <a:pt x="2614" y="7227"/>
                  </a:cubicBezTo>
                  <a:cubicBezTo>
                    <a:pt x="2697" y="7434"/>
                    <a:pt x="2991" y="7595"/>
                    <a:pt x="3067" y="7799"/>
                  </a:cubicBezTo>
                  <a:cubicBezTo>
                    <a:pt x="3208" y="8177"/>
                    <a:pt x="2872" y="8114"/>
                    <a:pt x="2621" y="8326"/>
                  </a:cubicBezTo>
                  <a:cubicBezTo>
                    <a:pt x="2344" y="8561"/>
                    <a:pt x="2399" y="8772"/>
                    <a:pt x="2103" y="8961"/>
                  </a:cubicBezTo>
                  <a:cubicBezTo>
                    <a:pt x="2006" y="9022"/>
                    <a:pt x="1851" y="9018"/>
                    <a:pt x="1740" y="9101"/>
                  </a:cubicBezTo>
                  <a:cubicBezTo>
                    <a:pt x="1607" y="9201"/>
                    <a:pt x="1670" y="9369"/>
                    <a:pt x="1520" y="9474"/>
                  </a:cubicBezTo>
                  <a:cubicBezTo>
                    <a:pt x="1355" y="9589"/>
                    <a:pt x="1067" y="9568"/>
                    <a:pt x="928" y="9700"/>
                  </a:cubicBezTo>
                  <a:cubicBezTo>
                    <a:pt x="774" y="9846"/>
                    <a:pt x="855" y="10159"/>
                    <a:pt x="793" y="10331"/>
                  </a:cubicBezTo>
                  <a:cubicBezTo>
                    <a:pt x="626" y="10799"/>
                    <a:pt x="104" y="11179"/>
                    <a:pt x="11" y="11664"/>
                  </a:cubicBezTo>
                  <a:cubicBezTo>
                    <a:pt x="-58" y="12024"/>
                    <a:pt x="212" y="12101"/>
                    <a:pt x="587" y="12263"/>
                  </a:cubicBezTo>
                  <a:cubicBezTo>
                    <a:pt x="1069" y="12472"/>
                    <a:pt x="1110" y="12514"/>
                    <a:pt x="1208" y="12897"/>
                  </a:cubicBezTo>
                  <a:cubicBezTo>
                    <a:pt x="1240" y="13023"/>
                    <a:pt x="1244" y="13175"/>
                    <a:pt x="1377" y="13275"/>
                  </a:cubicBezTo>
                  <a:cubicBezTo>
                    <a:pt x="1536" y="13396"/>
                    <a:pt x="1701" y="13333"/>
                    <a:pt x="1845" y="13415"/>
                  </a:cubicBezTo>
                  <a:cubicBezTo>
                    <a:pt x="1993" y="13498"/>
                    <a:pt x="1994" y="13654"/>
                    <a:pt x="2194" y="13710"/>
                  </a:cubicBezTo>
                  <a:cubicBezTo>
                    <a:pt x="2394" y="13765"/>
                    <a:pt x="2647" y="13637"/>
                    <a:pt x="2819" y="13672"/>
                  </a:cubicBezTo>
                  <a:cubicBezTo>
                    <a:pt x="3464" y="13804"/>
                    <a:pt x="3566" y="14680"/>
                    <a:pt x="3792" y="15053"/>
                  </a:cubicBezTo>
                  <a:cubicBezTo>
                    <a:pt x="3930" y="15281"/>
                    <a:pt x="4175" y="15335"/>
                    <a:pt x="4329" y="15537"/>
                  </a:cubicBezTo>
                  <a:cubicBezTo>
                    <a:pt x="4480" y="15735"/>
                    <a:pt x="4308" y="16008"/>
                    <a:pt x="4638" y="16137"/>
                  </a:cubicBezTo>
                  <a:cubicBezTo>
                    <a:pt x="4930" y="16250"/>
                    <a:pt x="5168" y="16032"/>
                    <a:pt x="5472" y="16100"/>
                  </a:cubicBezTo>
                  <a:cubicBezTo>
                    <a:pt x="5684" y="16147"/>
                    <a:pt x="5844" y="16421"/>
                    <a:pt x="5975" y="16534"/>
                  </a:cubicBezTo>
                  <a:cubicBezTo>
                    <a:pt x="6345" y="16854"/>
                    <a:pt x="6869" y="16929"/>
                    <a:pt x="7445" y="17044"/>
                  </a:cubicBezTo>
                  <a:cubicBezTo>
                    <a:pt x="8204" y="17197"/>
                    <a:pt x="7920" y="17335"/>
                    <a:pt x="7473" y="17400"/>
                  </a:cubicBezTo>
                  <a:cubicBezTo>
                    <a:pt x="8274" y="17604"/>
                    <a:pt x="9072" y="17812"/>
                    <a:pt x="9745" y="18202"/>
                  </a:cubicBezTo>
                  <a:cubicBezTo>
                    <a:pt x="10147" y="18434"/>
                    <a:pt x="10307" y="18854"/>
                    <a:pt x="10534" y="19168"/>
                  </a:cubicBezTo>
                  <a:close/>
                  <a:moveTo>
                    <a:pt x="10534" y="19168"/>
                  </a:moveTo>
                </a:path>
              </a:pathLst>
            </a:custGeom>
            <a:solidFill>
              <a:srgbClr val="C0C0C0"/>
            </a:solidFill>
            <a:ln w="3175">
              <a:solidFill>
                <a:schemeClr val="bg1">
                  <a:lumMod val="85000"/>
                </a:schemeClr>
              </a:solidFill>
            </a:ln>
          </p:spPr>
          <p:txBody>
            <a:bodyPr lIns="0" tIns="0" rIns="0" bIns="0"/>
            <a:lstStyle/>
            <a:p>
              <a:endParaRPr lang="en-US"/>
            </a:p>
          </p:txBody>
        </p:sp>
        <p:sp>
          <p:nvSpPr>
            <p:cNvPr id="160" name="AutoShape 269">
              <a:extLst>
                <a:ext uri="{FF2B5EF4-FFF2-40B4-BE49-F238E27FC236}">
                  <a16:creationId xmlns:a16="http://schemas.microsoft.com/office/drawing/2014/main" id="{761821F2-E7CF-3B4D-B330-8EBEDA03299B}"/>
                </a:ext>
              </a:extLst>
            </p:cNvPr>
            <p:cNvSpPr>
              <a:spLocks/>
            </p:cNvSpPr>
            <p:nvPr/>
          </p:nvSpPr>
          <p:spPr bwMode="auto">
            <a:xfrm>
              <a:off x="4518122" y="2558191"/>
              <a:ext cx="466666" cy="208504"/>
            </a:xfrm>
            <a:custGeom>
              <a:avLst/>
              <a:gdLst/>
              <a:ahLst/>
              <a:cxnLst/>
              <a:rect l="0" t="0" r="r" b="b"/>
              <a:pathLst>
                <a:path w="21598" h="21543">
                  <a:moveTo>
                    <a:pt x="10516" y="21304"/>
                  </a:moveTo>
                  <a:cubicBezTo>
                    <a:pt x="11857" y="21301"/>
                    <a:pt x="13198" y="21298"/>
                    <a:pt x="14540" y="21296"/>
                  </a:cubicBezTo>
                  <a:cubicBezTo>
                    <a:pt x="14749" y="21295"/>
                    <a:pt x="14958" y="21295"/>
                    <a:pt x="15167" y="21294"/>
                  </a:cubicBezTo>
                  <a:cubicBezTo>
                    <a:pt x="15384" y="21294"/>
                    <a:pt x="15791" y="21600"/>
                    <a:pt x="15786" y="20905"/>
                  </a:cubicBezTo>
                  <a:cubicBezTo>
                    <a:pt x="15784" y="20633"/>
                    <a:pt x="15643" y="20255"/>
                    <a:pt x="15681" y="20010"/>
                  </a:cubicBezTo>
                  <a:cubicBezTo>
                    <a:pt x="15763" y="19479"/>
                    <a:pt x="16516" y="19597"/>
                    <a:pt x="16708" y="19584"/>
                  </a:cubicBezTo>
                  <a:cubicBezTo>
                    <a:pt x="16870" y="19573"/>
                    <a:pt x="17024" y="19567"/>
                    <a:pt x="17178" y="19516"/>
                  </a:cubicBezTo>
                  <a:cubicBezTo>
                    <a:pt x="17322" y="19468"/>
                    <a:pt x="17516" y="19400"/>
                    <a:pt x="17666" y="19465"/>
                  </a:cubicBezTo>
                  <a:cubicBezTo>
                    <a:pt x="17717" y="19487"/>
                    <a:pt x="17794" y="19571"/>
                    <a:pt x="17839" y="19631"/>
                  </a:cubicBezTo>
                  <a:cubicBezTo>
                    <a:pt x="17956" y="19788"/>
                    <a:pt x="17899" y="19787"/>
                    <a:pt x="17961" y="19972"/>
                  </a:cubicBezTo>
                  <a:cubicBezTo>
                    <a:pt x="18047" y="20228"/>
                    <a:pt x="18169" y="20434"/>
                    <a:pt x="18171" y="20827"/>
                  </a:cubicBezTo>
                  <a:cubicBezTo>
                    <a:pt x="18174" y="21457"/>
                    <a:pt x="18099" y="21424"/>
                    <a:pt x="18417" y="21468"/>
                  </a:cubicBezTo>
                  <a:cubicBezTo>
                    <a:pt x="19115" y="21566"/>
                    <a:pt x="19824" y="21558"/>
                    <a:pt x="20524" y="21501"/>
                  </a:cubicBezTo>
                  <a:cubicBezTo>
                    <a:pt x="20544" y="20658"/>
                    <a:pt x="20565" y="19771"/>
                    <a:pt x="20631" y="18943"/>
                  </a:cubicBezTo>
                  <a:cubicBezTo>
                    <a:pt x="20724" y="17776"/>
                    <a:pt x="20672" y="16331"/>
                    <a:pt x="20998" y="15331"/>
                  </a:cubicBezTo>
                  <a:cubicBezTo>
                    <a:pt x="21190" y="14740"/>
                    <a:pt x="21444" y="14258"/>
                    <a:pt x="21598" y="13592"/>
                  </a:cubicBezTo>
                  <a:cubicBezTo>
                    <a:pt x="21186" y="13537"/>
                    <a:pt x="20765" y="13580"/>
                    <a:pt x="20352" y="13580"/>
                  </a:cubicBezTo>
                  <a:cubicBezTo>
                    <a:pt x="20117" y="13580"/>
                    <a:pt x="19880" y="13555"/>
                    <a:pt x="19646" y="13580"/>
                  </a:cubicBezTo>
                  <a:cubicBezTo>
                    <a:pt x="19409" y="13606"/>
                    <a:pt x="19310" y="13788"/>
                    <a:pt x="19099" y="13988"/>
                  </a:cubicBezTo>
                  <a:cubicBezTo>
                    <a:pt x="18642" y="14421"/>
                    <a:pt x="18498" y="13580"/>
                    <a:pt x="18420" y="12648"/>
                  </a:cubicBezTo>
                  <a:cubicBezTo>
                    <a:pt x="18274" y="10910"/>
                    <a:pt x="18940" y="9341"/>
                    <a:pt x="18601" y="7634"/>
                  </a:cubicBezTo>
                  <a:cubicBezTo>
                    <a:pt x="18532" y="7283"/>
                    <a:pt x="18345" y="6706"/>
                    <a:pt x="18543" y="6397"/>
                  </a:cubicBezTo>
                  <a:cubicBezTo>
                    <a:pt x="18709" y="6139"/>
                    <a:pt x="18985" y="6423"/>
                    <a:pt x="19177" y="6133"/>
                  </a:cubicBezTo>
                  <a:cubicBezTo>
                    <a:pt x="19582" y="5520"/>
                    <a:pt x="19359" y="4144"/>
                    <a:pt x="19092" y="3452"/>
                  </a:cubicBezTo>
                  <a:cubicBezTo>
                    <a:pt x="18792" y="2673"/>
                    <a:pt x="18149" y="2896"/>
                    <a:pt x="17911" y="1998"/>
                  </a:cubicBezTo>
                  <a:cubicBezTo>
                    <a:pt x="17783" y="1518"/>
                    <a:pt x="17977" y="739"/>
                    <a:pt x="17788" y="334"/>
                  </a:cubicBezTo>
                  <a:cubicBezTo>
                    <a:pt x="17692" y="125"/>
                    <a:pt x="17419" y="169"/>
                    <a:pt x="17293" y="118"/>
                  </a:cubicBezTo>
                  <a:cubicBezTo>
                    <a:pt x="17216" y="87"/>
                    <a:pt x="17147" y="49"/>
                    <a:pt x="17081" y="0"/>
                  </a:cubicBezTo>
                  <a:cubicBezTo>
                    <a:pt x="16867" y="313"/>
                    <a:pt x="16385" y="175"/>
                    <a:pt x="16158" y="175"/>
                  </a:cubicBezTo>
                  <a:cubicBezTo>
                    <a:pt x="15702" y="175"/>
                    <a:pt x="15245" y="175"/>
                    <a:pt x="14789" y="175"/>
                  </a:cubicBezTo>
                  <a:cubicBezTo>
                    <a:pt x="12786" y="175"/>
                    <a:pt x="10783" y="175"/>
                    <a:pt x="8779" y="175"/>
                  </a:cubicBezTo>
                  <a:cubicBezTo>
                    <a:pt x="6659" y="175"/>
                    <a:pt x="4539" y="175"/>
                    <a:pt x="2419" y="175"/>
                  </a:cubicBezTo>
                  <a:cubicBezTo>
                    <a:pt x="1613" y="175"/>
                    <a:pt x="807" y="175"/>
                    <a:pt x="2" y="175"/>
                  </a:cubicBezTo>
                  <a:cubicBezTo>
                    <a:pt x="-1" y="472"/>
                    <a:pt x="-2" y="767"/>
                    <a:pt x="12" y="1049"/>
                  </a:cubicBezTo>
                  <a:cubicBezTo>
                    <a:pt x="24" y="1286"/>
                    <a:pt x="34" y="1783"/>
                    <a:pt x="91" y="1984"/>
                  </a:cubicBezTo>
                  <a:cubicBezTo>
                    <a:pt x="180" y="2297"/>
                    <a:pt x="315" y="2167"/>
                    <a:pt x="405" y="2366"/>
                  </a:cubicBezTo>
                  <a:cubicBezTo>
                    <a:pt x="625" y="2848"/>
                    <a:pt x="438" y="3397"/>
                    <a:pt x="586" y="3922"/>
                  </a:cubicBezTo>
                  <a:cubicBezTo>
                    <a:pt x="677" y="4247"/>
                    <a:pt x="831" y="4162"/>
                    <a:pt x="917" y="4467"/>
                  </a:cubicBezTo>
                  <a:cubicBezTo>
                    <a:pt x="999" y="4763"/>
                    <a:pt x="960" y="5218"/>
                    <a:pt x="960" y="5557"/>
                  </a:cubicBezTo>
                  <a:cubicBezTo>
                    <a:pt x="985" y="6950"/>
                    <a:pt x="1011" y="8344"/>
                    <a:pt x="1036" y="9738"/>
                  </a:cubicBezTo>
                  <a:cubicBezTo>
                    <a:pt x="1045" y="10236"/>
                    <a:pt x="1054" y="10734"/>
                    <a:pt x="1063" y="11232"/>
                  </a:cubicBezTo>
                  <a:lnTo>
                    <a:pt x="4032" y="11132"/>
                  </a:lnTo>
                  <a:cubicBezTo>
                    <a:pt x="4032" y="14032"/>
                    <a:pt x="4034" y="16933"/>
                    <a:pt x="4032" y="19833"/>
                  </a:cubicBezTo>
                  <a:cubicBezTo>
                    <a:pt x="4031" y="20337"/>
                    <a:pt x="3980" y="20817"/>
                    <a:pt x="3982" y="21317"/>
                  </a:cubicBezTo>
                  <a:cubicBezTo>
                    <a:pt x="4680" y="21316"/>
                    <a:pt x="5378" y="21314"/>
                    <a:pt x="6076" y="21313"/>
                  </a:cubicBezTo>
                  <a:cubicBezTo>
                    <a:pt x="7556" y="21310"/>
                    <a:pt x="9036" y="21307"/>
                    <a:pt x="10516" y="21304"/>
                  </a:cubicBezTo>
                  <a:close/>
                  <a:moveTo>
                    <a:pt x="10516" y="21304"/>
                  </a:moveTo>
                </a:path>
              </a:pathLst>
            </a:custGeom>
            <a:solidFill>
              <a:srgbClr val="C0C0C0"/>
            </a:solidFill>
            <a:ln w="3175">
              <a:solidFill>
                <a:schemeClr val="bg1">
                  <a:lumMod val="85000"/>
                </a:schemeClr>
              </a:solidFill>
            </a:ln>
          </p:spPr>
          <p:txBody>
            <a:bodyPr lIns="0" tIns="0" rIns="0" bIns="0"/>
            <a:lstStyle/>
            <a:p>
              <a:endParaRPr lang="en-US"/>
            </a:p>
          </p:txBody>
        </p:sp>
        <p:sp>
          <p:nvSpPr>
            <p:cNvPr id="161" name="AutoShape 289">
              <a:extLst>
                <a:ext uri="{FF2B5EF4-FFF2-40B4-BE49-F238E27FC236}">
                  <a16:creationId xmlns:a16="http://schemas.microsoft.com/office/drawing/2014/main" id="{58147142-0242-A64E-9B4C-82B0ACBE1EF8}"/>
                </a:ext>
              </a:extLst>
            </p:cNvPr>
            <p:cNvSpPr>
              <a:spLocks/>
            </p:cNvSpPr>
            <p:nvPr/>
          </p:nvSpPr>
          <p:spPr bwMode="auto">
            <a:xfrm>
              <a:off x="4886037" y="2373104"/>
              <a:ext cx="419266" cy="436194"/>
            </a:xfrm>
            <a:custGeom>
              <a:avLst/>
              <a:gdLst/>
              <a:ahLst/>
              <a:cxnLst/>
              <a:rect l="0" t="0" r="r" b="b"/>
              <a:pathLst>
                <a:path w="21557" h="21568">
                  <a:moveTo>
                    <a:pt x="3744" y="20555"/>
                  </a:moveTo>
                  <a:cubicBezTo>
                    <a:pt x="3692" y="20752"/>
                    <a:pt x="3505" y="21048"/>
                    <a:pt x="3541" y="21252"/>
                  </a:cubicBezTo>
                  <a:cubicBezTo>
                    <a:pt x="3588" y="21517"/>
                    <a:pt x="3801" y="21476"/>
                    <a:pt x="4033" y="21510"/>
                  </a:cubicBezTo>
                  <a:cubicBezTo>
                    <a:pt x="4652" y="21600"/>
                    <a:pt x="5298" y="21559"/>
                    <a:pt x="5927" y="21559"/>
                  </a:cubicBezTo>
                  <a:cubicBezTo>
                    <a:pt x="6535" y="21559"/>
                    <a:pt x="7134" y="21579"/>
                    <a:pt x="7718" y="21470"/>
                  </a:cubicBezTo>
                  <a:cubicBezTo>
                    <a:pt x="8278" y="21366"/>
                    <a:pt x="8882" y="21311"/>
                    <a:pt x="9465" y="21286"/>
                  </a:cubicBezTo>
                  <a:cubicBezTo>
                    <a:pt x="9778" y="21273"/>
                    <a:pt x="10117" y="21215"/>
                    <a:pt x="10430" y="21257"/>
                  </a:cubicBezTo>
                  <a:cubicBezTo>
                    <a:pt x="10785" y="21305"/>
                    <a:pt x="11072" y="21509"/>
                    <a:pt x="11432" y="21531"/>
                  </a:cubicBezTo>
                  <a:cubicBezTo>
                    <a:pt x="11798" y="21554"/>
                    <a:pt x="11976" y="21551"/>
                    <a:pt x="12244" y="21328"/>
                  </a:cubicBezTo>
                  <a:cubicBezTo>
                    <a:pt x="12489" y="21124"/>
                    <a:pt x="12661" y="20883"/>
                    <a:pt x="12976" y="20806"/>
                  </a:cubicBezTo>
                  <a:cubicBezTo>
                    <a:pt x="13636" y="20644"/>
                    <a:pt x="14329" y="20869"/>
                    <a:pt x="14776" y="20255"/>
                  </a:cubicBezTo>
                  <a:cubicBezTo>
                    <a:pt x="15080" y="19837"/>
                    <a:pt x="15200" y="19283"/>
                    <a:pt x="15414" y="18819"/>
                  </a:cubicBezTo>
                  <a:cubicBezTo>
                    <a:pt x="15652" y="18305"/>
                    <a:pt x="15880" y="17785"/>
                    <a:pt x="16103" y="17263"/>
                  </a:cubicBezTo>
                  <a:cubicBezTo>
                    <a:pt x="16231" y="16965"/>
                    <a:pt x="16359" y="16353"/>
                    <a:pt x="16590" y="16122"/>
                  </a:cubicBezTo>
                  <a:cubicBezTo>
                    <a:pt x="16757" y="15955"/>
                    <a:pt x="16953" y="16288"/>
                    <a:pt x="17133" y="16323"/>
                  </a:cubicBezTo>
                  <a:cubicBezTo>
                    <a:pt x="17354" y="16366"/>
                    <a:pt x="17776" y="16288"/>
                    <a:pt x="17991" y="16226"/>
                  </a:cubicBezTo>
                  <a:cubicBezTo>
                    <a:pt x="18288" y="16140"/>
                    <a:pt x="18605" y="15942"/>
                    <a:pt x="18913" y="15986"/>
                  </a:cubicBezTo>
                  <a:cubicBezTo>
                    <a:pt x="18963" y="16294"/>
                    <a:pt x="19757" y="16127"/>
                    <a:pt x="19847" y="15898"/>
                  </a:cubicBezTo>
                  <a:cubicBezTo>
                    <a:pt x="20012" y="15479"/>
                    <a:pt x="19630" y="15058"/>
                    <a:pt x="20319" y="15034"/>
                  </a:cubicBezTo>
                  <a:cubicBezTo>
                    <a:pt x="20462" y="15029"/>
                    <a:pt x="20805" y="15129"/>
                    <a:pt x="20921" y="15057"/>
                  </a:cubicBezTo>
                  <a:cubicBezTo>
                    <a:pt x="21099" y="14946"/>
                    <a:pt x="20926" y="14667"/>
                    <a:pt x="21036" y="14531"/>
                  </a:cubicBezTo>
                  <a:cubicBezTo>
                    <a:pt x="21156" y="14381"/>
                    <a:pt x="21359" y="14491"/>
                    <a:pt x="21470" y="14359"/>
                  </a:cubicBezTo>
                  <a:cubicBezTo>
                    <a:pt x="21521" y="14299"/>
                    <a:pt x="21546" y="14198"/>
                    <a:pt x="21557" y="14085"/>
                  </a:cubicBezTo>
                  <a:cubicBezTo>
                    <a:pt x="21107" y="14172"/>
                    <a:pt x="21224" y="13843"/>
                    <a:pt x="20967" y="13629"/>
                  </a:cubicBezTo>
                  <a:cubicBezTo>
                    <a:pt x="20739" y="13438"/>
                    <a:pt x="20368" y="13590"/>
                    <a:pt x="20223" y="13342"/>
                  </a:cubicBezTo>
                  <a:cubicBezTo>
                    <a:pt x="20151" y="13219"/>
                    <a:pt x="20290" y="12983"/>
                    <a:pt x="20226" y="12857"/>
                  </a:cubicBezTo>
                  <a:cubicBezTo>
                    <a:pt x="20157" y="12722"/>
                    <a:pt x="19999" y="12712"/>
                    <a:pt x="19876" y="12636"/>
                  </a:cubicBezTo>
                  <a:cubicBezTo>
                    <a:pt x="19742" y="12553"/>
                    <a:pt x="19610" y="12482"/>
                    <a:pt x="19488" y="12377"/>
                  </a:cubicBezTo>
                  <a:cubicBezTo>
                    <a:pt x="19423" y="12322"/>
                    <a:pt x="19408" y="12208"/>
                    <a:pt x="19336" y="12160"/>
                  </a:cubicBezTo>
                  <a:cubicBezTo>
                    <a:pt x="19280" y="12122"/>
                    <a:pt x="19128" y="12144"/>
                    <a:pt x="19100" y="12117"/>
                  </a:cubicBezTo>
                  <a:cubicBezTo>
                    <a:pt x="18988" y="12013"/>
                    <a:pt x="18988" y="11829"/>
                    <a:pt x="18903" y="11743"/>
                  </a:cubicBezTo>
                  <a:cubicBezTo>
                    <a:pt x="18791" y="11629"/>
                    <a:pt x="18599" y="11688"/>
                    <a:pt x="18482" y="11568"/>
                  </a:cubicBezTo>
                  <a:cubicBezTo>
                    <a:pt x="18288" y="11368"/>
                    <a:pt x="18411" y="10988"/>
                    <a:pt x="18203" y="10749"/>
                  </a:cubicBezTo>
                  <a:cubicBezTo>
                    <a:pt x="17988" y="10503"/>
                    <a:pt x="17580" y="10421"/>
                    <a:pt x="17323" y="10247"/>
                  </a:cubicBezTo>
                  <a:cubicBezTo>
                    <a:pt x="16979" y="10013"/>
                    <a:pt x="16875" y="9816"/>
                    <a:pt x="16674" y="9504"/>
                  </a:cubicBezTo>
                  <a:cubicBezTo>
                    <a:pt x="16470" y="9185"/>
                    <a:pt x="16185" y="9242"/>
                    <a:pt x="15920" y="8993"/>
                  </a:cubicBezTo>
                  <a:cubicBezTo>
                    <a:pt x="15812" y="8891"/>
                    <a:pt x="15709" y="8732"/>
                    <a:pt x="15611" y="8630"/>
                  </a:cubicBezTo>
                  <a:cubicBezTo>
                    <a:pt x="15522" y="8536"/>
                    <a:pt x="15419" y="8489"/>
                    <a:pt x="15339" y="8368"/>
                  </a:cubicBezTo>
                  <a:cubicBezTo>
                    <a:pt x="15079" y="7979"/>
                    <a:pt x="15098" y="7757"/>
                    <a:pt x="14662" y="7542"/>
                  </a:cubicBezTo>
                  <a:cubicBezTo>
                    <a:pt x="14442" y="7434"/>
                    <a:pt x="14463" y="7501"/>
                    <a:pt x="14296" y="7312"/>
                  </a:cubicBezTo>
                  <a:cubicBezTo>
                    <a:pt x="14138" y="7131"/>
                    <a:pt x="13949" y="6922"/>
                    <a:pt x="13918" y="6686"/>
                  </a:cubicBezTo>
                  <a:cubicBezTo>
                    <a:pt x="13864" y="6287"/>
                    <a:pt x="14206" y="6266"/>
                    <a:pt x="14267" y="5944"/>
                  </a:cubicBezTo>
                  <a:cubicBezTo>
                    <a:pt x="14316" y="5688"/>
                    <a:pt x="14080" y="5328"/>
                    <a:pt x="14043" y="5080"/>
                  </a:cubicBezTo>
                  <a:cubicBezTo>
                    <a:pt x="13991" y="4730"/>
                    <a:pt x="14080" y="4368"/>
                    <a:pt x="13968" y="4038"/>
                  </a:cubicBezTo>
                  <a:cubicBezTo>
                    <a:pt x="13843" y="3672"/>
                    <a:pt x="13673" y="3465"/>
                    <a:pt x="14150" y="3228"/>
                  </a:cubicBezTo>
                  <a:cubicBezTo>
                    <a:pt x="14305" y="3151"/>
                    <a:pt x="14487" y="3218"/>
                    <a:pt x="14607" y="3036"/>
                  </a:cubicBezTo>
                  <a:cubicBezTo>
                    <a:pt x="14691" y="2908"/>
                    <a:pt x="14607" y="2729"/>
                    <a:pt x="14659" y="2597"/>
                  </a:cubicBezTo>
                  <a:cubicBezTo>
                    <a:pt x="14741" y="2392"/>
                    <a:pt x="14946" y="2432"/>
                    <a:pt x="14886" y="2150"/>
                  </a:cubicBezTo>
                  <a:cubicBezTo>
                    <a:pt x="14863" y="2040"/>
                    <a:pt x="14672" y="1862"/>
                    <a:pt x="14586" y="1777"/>
                  </a:cubicBezTo>
                  <a:cubicBezTo>
                    <a:pt x="14388" y="1584"/>
                    <a:pt x="14136" y="1420"/>
                    <a:pt x="14042" y="1148"/>
                  </a:cubicBezTo>
                  <a:cubicBezTo>
                    <a:pt x="13943" y="860"/>
                    <a:pt x="14076" y="515"/>
                    <a:pt x="13929" y="247"/>
                  </a:cubicBezTo>
                  <a:cubicBezTo>
                    <a:pt x="13846" y="95"/>
                    <a:pt x="13738" y="28"/>
                    <a:pt x="13611" y="0"/>
                  </a:cubicBezTo>
                  <a:cubicBezTo>
                    <a:pt x="13565" y="133"/>
                    <a:pt x="13525" y="215"/>
                    <a:pt x="13487" y="366"/>
                  </a:cubicBezTo>
                  <a:cubicBezTo>
                    <a:pt x="13425" y="614"/>
                    <a:pt x="13328" y="724"/>
                    <a:pt x="13128" y="897"/>
                  </a:cubicBezTo>
                  <a:cubicBezTo>
                    <a:pt x="12712" y="1256"/>
                    <a:pt x="12168" y="1410"/>
                    <a:pt x="11632" y="1518"/>
                  </a:cubicBezTo>
                  <a:cubicBezTo>
                    <a:pt x="11389" y="1566"/>
                    <a:pt x="11126" y="1634"/>
                    <a:pt x="10881" y="1659"/>
                  </a:cubicBezTo>
                  <a:cubicBezTo>
                    <a:pt x="10613" y="1687"/>
                    <a:pt x="10338" y="1620"/>
                    <a:pt x="10074" y="1710"/>
                  </a:cubicBezTo>
                  <a:cubicBezTo>
                    <a:pt x="10026" y="2029"/>
                    <a:pt x="10349" y="2337"/>
                    <a:pt x="10243" y="2625"/>
                  </a:cubicBezTo>
                  <a:cubicBezTo>
                    <a:pt x="10164" y="2840"/>
                    <a:pt x="9807" y="2967"/>
                    <a:pt x="9656" y="3183"/>
                  </a:cubicBezTo>
                  <a:cubicBezTo>
                    <a:pt x="9402" y="3546"/>
                    <a:pt x="9450" y="4366"/>
                    <a:pt x="8973" y="4557"/>
                  </a:cubicBezTo>
                  <a:cubicBezTo>
                    <a:pt x="8494" y="4749"/>
                    <a:pt x="7990" y="4208"/>
                    <a:pt x="7653" y="4627"/>
                  </a:cubicBezTo>
                  <a:cubicBezTo>
                    <a:pt x="7311" y="5054"/>
                    <a:pt x="7176" y="5600"/>
                    <a:pt x="6914" y="6083"/>
                  </a:cubicBezTo>
                  <a:cubicBezTo>
                    <a:pt x="6797" y="6299"/>
                    <a:pt x="6692" y="6470"/>
                    <a:pt x="6506" y="6640"/>
                  </a:cubicBezTo>
                  <a:cubicBezTo>
                    <a:pt x="6058" y="7050"/>
                    <a:pt x="5504" y="6975"/>
                    <a:pt x="4941" y="6975"/>
                  </a:cubicBezTo>
                  <a:cubicBezTo>
                    <a:pt x="4305" y="6975"/>
                    <a:pt x="3668" y="6975"/>
                    <a:pt x="3032" y="6975"/>
                  </a:cubicBezTo>
                  <a:cubicBezTo>
                    <a:pt x="2157" y="6975"/>
                    <a:pt x="1283" y="6975"/>
                    <a:pt x="408" y="6975"/>
                  </a:cubicBezTo>
                  <a:cubicBezTo>
                    <a:pt x="358" y="6964"/>
                    <a:pt x="287" y="6975"/>
                    <a:pt x="238" y="6979"/>
                  </a:cubicBezTo>
                  <a:cubicBezTo>
                    <a:pt x="206" y="7219"/>
                    <a:pt x="417" y="7406"/>
                    <a:pt x="408" y="7644"/>
                  </a:cubicBezTo>
                  <a:cubicBezTo>
                    <a:pt x="397" y="7938"/>
                    <a:pt x="108" y="7997"/>
                    <a:pt x="30" y="8257"/>
                  </a:cubicBezTo>
                  <a:cubicBezTo>
                    <a:pt x="-43" y="8502"/>
                    <a:pt x="125" y="8706"/>
                    <a:pt x="118" y="8927"/>
                  </a:cubicBezTo>
                  <a:cubicBezTo>
                    <a:pt x="115" y="9016"/>
                    <a:pt x="70" y="9078"/>
                    <a:pt x="0" y="9122"/>
                  </a:cubicBezTo>
                  <a:cubicBezTo>
                    <a:pt x="73" y="9146"/>
                    <a:pt x="150" y="9164"/>
                    <a:pt x="235" y="9179"/>
                  </a:cubicBezTo>
                  <a:cubicBezTo>
                    <a:pt x="376" y="9203"/>
                    <a:pt x="679" y="9182"/>
                    <a:pt x="787" y="9282"/>
                  </a:cubicBezTo>
                  <a:cubicBezTo>
                    <a:pt x="996" y="9476"/>
                    <a:pt x="781" y="9848"/>
                    <a:pt x="922" y="10078"/>
                  </a:cubicBezTo>
                  <a:cubicBezTo>
                    <a:pt x="1187" y="10508"/>
                    <a:pt x="1902" y="10401"/>
                    <a:pt x="2236" y="10774"/>
                  </a:cubicBezTo>
                  <a:cubicBezTo>
                    <a:pt x="2532" y="11105"/>
                    <a:pt x="2781" y="11763"/>
                    <a:pt x="2330" y="12057"/>
                  </a:cubicBezTo>
                  <a:cubicBezTo>
                    <a:pt x="2117" y="12195"/>
                    <a:pt x="1810" y="12059"/>
                    <a:pt x="1626" y="12183"/>
                  </a:cubicBezTo>
                  <a:cubicBezTo>
                    <a:pt x="1405" y="12331"/>
                    <a:pt x="1613" y="12607"/>
                    <a:pt x="1690" y="12775"/>
                  </a:cubicBezTo>
                  <a:cubicBezTo>
                    <a:pt x="2067" y="13591"/>
                    <a:pt x="1326" y="14342"/>
                    <a:pt x="1488" y="15173"/>
                  </a:cubicBezTo>
                  <a:cubicBezTo>
                    <a:pt x="1575" y="15620"/>
                    <a:pt x="1735" y="16022"/>
                    <a:pt x="2243" y="15815"/>
                  </a:cubicBezTo>
                  <a:cubicBezTo>
                    <a:pt x="2478" y="15719"/>
                    <a:pt x="2588" y="15632"/>
                    <a:pt x="2852" y="15620"/>
                  </a:cubicBezTo>
                  <a:cubicBezTo>
                    <a:pt x="3112" y="15607"/>
                    <a:pt x="3375" y="15620"/>
                    <a:pt x="3636" y="15620"/>
                  </a:cubicBezTo>
                  <a:cubicBezTo>
                    <a:pt x="4095" y="15620"/>
                    <a:pt x="4563" y="15599"/>
                    <a:pt x="5021" y="15625"/>
                  </a:cubicBezTo>
                  <a:cubicBezTo>
                    <a:pt x="4850" y="15944"/>
                    <a:pt x="4568" y="16174"/>
                    <a:pt x="4354" y="16457"/>
                  </a:cubicBezTo>
                  <a:cubicBezTo>
                    <a:pt x="3991" y="16935"/>
                    <a:pt x="4050" y="17627"/>
                    <a:pt x="3946" y="18185"/>
                  </a:cubicBezTo>
                  <a:cubicBezTo>
                    <a:pt x="3872" y="18581"/>
                    <a:pt x="3849" y="19006"/>
                    <a:pt x="3828" y="19409"/>
                  </a:cubicBezTo>
                  <a:cubicBezTo>
                    <a:pt x="3793" y="19410"/>
                    <a:pt x="3758" y="19410"/>
                    <a:pt x="3723" y="19412"/>
                  </a:cubicBezTo>
                  <a:cubicBezTo>
                    <a:pt x="3831" y="19775"/>
                    <a:pt x="3799" y="20343"/>
                    <a:pt x="3744" y="20555"/>
                  </a:cubicBezTo>
                  <a:close/>
                  <a:moveTo>
                    <a:pt x="3744" y="20555"/>
                  </a:moveTo>
                </a:path>
              </a:pathLst>
            </a:custGeom>
            <a:solidFill>
              <a:srgbClr val="C0C0C0"/>
            </a:solidFill>
            <a:ln w="3175">
              <a:solidFill>
                <a:schemeClr val="bg1">
                  <a:lumMod val="85000"/>
                </a:schemeClr>
              </a:solidFill>
            </a:ln>
          </p:spPr>
          <p:txBody>
            <a:bodyPr lIns="0" tIns="0" rIns="0" bIns="0"/>
            <a:lstStyle/>
            <a:p>
              <a:endParaRPr lang="en-US"/>
            </a:p>
          </p:txBody>
        </p:sp>
        <p:sp>
          <p:nvSpPr>
            <p:cNvPr id="162" name="AutoShape 307">
              <a:extLst>
                <a:ext uri="{FF2B5EF4-FFF2-40B4-BE49-F238E27FC236}">
                  <a16:creationId xmlns:a16="http://schemas.microsoft.com/office/drawing/2014/main" id="{EAF961EA-0A02-CE4E-B113-64A5DABE4F2F}"/>
                </a:ext>
              </a:extLst>
            </p:cNvPr>
            <p:cNvSpPr>
              <a:spLocks/>
            </p:cNvSpPr>
            <p:nvPr/>
          </p:nvSpPr>
          <p:spPr bwMode="auto">
            <a:xfrm>
              <a:off x="4585837" y="2745534"/>
              <a:ext cx="406851" cy="251390"/>
            </a:xfrm>
            <a:custGeom>
              <a:avLst/>
              <a:gdLst/>
              <a:ahLst/>
              <a:cxnLst/>
              <a:rect l="0" t="0" r="r" b="b"/>
              <a:pathLst>
                <a:path w="21407" h="21330">
                  <a:moveTo>
                    <a:pt x="9772" y="21302"/>
                  </a:moveTo>
                  <a:cubicBezTo>
                    <a:pt x="11664" y="21297"/>
                    <a:pt x="13556" y="21291"/>
                    <a:pt x="15448" y="21285"/>
                  </a:cubicBezTo>
                  <a:cubicBezTo>
                    <a:pt x="16466" y="21282"/>
                    <a:pt x="17484" y="21279"/>
                    <a:pt x="18502" y="21276"/>
                  </a:cubicBezTo>
                  <a:cubicBezTo>
                    <a:pt x="18913" y="21275"/>
                    <a:pt x="20618" y="21568"/>
                    <a:pt x="20691" y="20792"/>
                  </a:cubicBezTo>
                  <a:cubicBezTo>
                    <a:pt x="20727" y="20410"/>
                    <a:pt x="20585" y="19969"/>
                    <a:pt x="20661" y="19596"/>
                  </a:cubicBezTo>
                  <a:cubicBezTo>
                    <a:pt x="20764" y="19090"/>
                    <a:pt x="21020" y="19321"/>
                    <a:pt x="21227" y="19072"/>
                  </a:cubicBezTo>
                  <a:cubicBezTo>
                    <a:pt x="21474" y="18773"/>
                    <a:pt x="21431" y="18176"/>
                    <a:pt x="21313" y="17812"/>
                  </a:cubicBezTo>
                  <a:cubicBezTo>
                    <a:pt x="21177" y="17389"/>
                    <a:pt x="21009" y="17155"/>
                    <a:pt x="20958" y="16675"/>
                  </a:cubicBezTo>
                  <a:cubicBezTo>
                    <a:pt x="20899" y="16119"/>
                    <a:pt x="20967" y="15706"/>
                    <a:pt x="20572" y="15527"/>
                  </a:cubicBezTo>
                  <a:cubicBezTo>
                    <a:pt x="20329" y="15416"/>
                    <a:pt x="20105" y="15695"/>
                    <a:pt x="19890" y="15480"/>
                  </a:cubicBezTo>
                  <a:cubicBezTo>
                    <a:pt x="19661" y="15252"/>
                    <a:pt x="19651" y="14805"/>
                    <a:pt x="19616" y="14428"/>
                  </a:cubicBezTo>
                  <a:cubicBezTo>
                    <a:pt x="19594" y="14185"/>
                    <a:pt x="19609" y="13809"/>
                    <a:pt x="19557" y="13577"/>
                  </a:cubicBezTo>
                  <a:cubicBezTo>
                    <a:pt x="19461" y="13150"/>
                    <a:pt x="19301" y="13221"/>
                    <a:pt x="19059" y="13135"/>
                  </a:cubicBezTo>
                  <a:cubicBezTo>
                    <a:pt x="18539" y="12950"/>
                    <a:pt x="18577" y="12555"/>
                    <a:pt x="18814" y="11938"/>
                  </a:cubicBezTo>
                  <a:cubicBezTo>
                    <a:pt x="18908" y="11696"/>
                    <a:pt x="18990" y="11433"/>
                    <a:pt x="18942" y="11126"/>
                  </a:cubicBezTo>
                  <a:cubicBezTo>
                    <a:pt x="18894" y="10821"/>
                    <a:pt x="18691" y="10730"/>
                    <a:pt x="18637" y="10468"/>
                  </a:cubicBezTo>
                  <a:cubicBezTo>
                    <a:pt x="18576" y="10177"/>
                    <a:pt x="18731" y="9838"/>
                    <a:pt x="18717" y="9524"/>
                  </a:cubicBezTo>
                  <a:cubicBezTo>
                    <a:pt x="18700" y="9119"/>
                    <a:pt x="18526" y="8784"/>
                    <a:pt x="18464" y="8400"/>
                  </a:cubicBezTo>
                  <a:cubicBezTo>
                    <a:pt x="18384" y="7901"/>
                    <a:pt x="18452" y="7428"/>
                    <a:pt x="18562" y="6962"/>
                  </a:cubicBezTo>
                  <a:cubicBezTo>
                    <a:pt x="18741" y="6208"/>
                    <a:pt x="19021" y="5418"/>
                    <a:pt x="19422" y="4907"/>
                  </a:cubicBezTo>
                  <a:cubicBezTo>
                    <a:pt x="19420" y="4891"/>
                    <a:pt x="19417" y="4875"/>
                    <a:pt x="19415" y="4857"/>
                  </a:cubicBezTo>
                  <a:cubicBezTo>
                    <a:pt x="19378" y="4506"/>
                    <a:pt x="19570" y="3999"/>
                    <a:pt x="19622" y="3660"/>
                  </a:cubicBezTo>
                  <a:cubicBezTo>
                    <a:pt x="19679" y="3296"/>
                    <a:pt x="19711" y="2322"/>
                    <a:pt x="19601" y="1698"/>
                  </a:cubicBezTo>
                  <a:cubicBezTo>
                    <a:pt x="18839" y="1739"/>
                    <a:pt x="18071" y="1743"/>
                    <a:pt x="17313" y="1667"/>
                  </a:cubicBezTo>
                  <a:cubicBezTo>
                    <a:pt x="16951" y="1630"/>
                    <a:pt x="17036" y="1657"/>
                    <a:pt x="17032" y="1140"/>
                  </a:cubicBezTo>
                  <a:cubicBezTo>
                    <a:pt x="17030" y="817"/>
                    <a:pt x="16892" y="648"/>
                    <a:pt x="16794" y="438"/>
                  </a:cubicBezTo>
                  <a:cubicBezTo>
                    <a:pt x="16723" y="286"/>
                    <a:pt x="16788" y="287"/>
                    <a:pt x="16655" y="158"/>
                  </a:cubicBezTo>
                  <a:cubicBezTo>
                    <a:pt x="16604" y="109"/>
                    <a:pt x="16517" y="40"/>
                    <a:pt x="16459" y="22"/>
                  </a:cubicBezTo>
                  <a:cubicBezTo>
                    <a:pt x="16288" y="-32"/>
                    <a:pt x="16068" y="24"/>
                    <a:pt x="15904" y="64"/>
                  </a:cubicBezTo>
                  <a:cubicBezTo>
                    <a:pt x="15729" y="105"/>
                    <a:pt x="15554" y="110"/>
                    <a:pt x="15370" y="119"/>
                  </a:cubicBezTo>
                  <a:cubicBezTo>
                    <a:pt x="15152" y="130"/>
                    <a:pt x="14295" y="33"/>
                    <a:pt x="14202" y="469"/>
                  </a:cubicBezTo>
                  <a:cubicBezTo>
                    <a:pt x="14159" y="671"/>
                    <a:pt x="14320" y="981"/>
                    <a:pt x="14322" y="1204"/>
                  </a:cubicBezTo>
                  <a:cubicBezTo>
                    <a:pt x="14327" y="1775"/>
                    <a:pt x="13865" y="1523"/>
                    <a:pt x="13618" y="1524"/>
                  </a:cubicBezTo>
                  <a:cubicBezTo>
                    <a:pt x="13380" y="1524"/>
                    <a:pt x="13143" y="1524"/>
                    <a:pt x="12905" y="1525"/>
                  </a:cubicBezTo>
                  <a:cubicBezTo>
                    <a:pt x="11380" y="1527"/>
                    <a:pt x="9856" y="1529"/>
                    <a:pt x="8331" y="1531"/>
                  </a:cubicBezTo>
                  <a:cubicBezTo>
                    <a:pt x="6649" y="1534"/>
                    <a:pt x="4966" y="1536"/>
                    <a:pt x="3284" y="1539"/>
                  </a:cubicBezTo>
                  <a:cubicBezTo>
                    <a:pt x="2491" y="1540"/>
                    <a:pt x="1697" y="1541"/>
                    <a:pt x="904" y="1542"/>
                  </a:cubicBezTo>
                  <a:cubicBezTo>
                    <a:pt x="730" y="1551"/>
                    <a:pt x="532" y="1271"/>
                    <a:pt x="357" y="1395"/>
                  </a:cubicBezTo>
                  <a:cubicBezTo>
                    <a:pt x="137" y="1550"/>
                    <a:pt x="328" y="1889"/>
                    <a:pt x="393" y="2097"/>
                  </a:cubicBezTo>
                  <a:cubicBezTo>
                    <a:pt x="487" y="2401"/>
                    <a:pt x="482" y="2811"/>
                    <a:pt x="422" y="3141"/>
                  </a:cubicBezTo>
                  <a:cubicBezTo>
                    <a:pt x="353" y="3517"/>
                    <a:pt x="126" y="3597"/>
                    <a:pt x="40" y="3917"/>
                  </a:cubicBezTo>
                  <a:cubicBezTo>
                    <a:pt x="-126" y="4529"/>
                    <a:pt x="273" y="5227"/>
                    <a:pt x="515" y="5592"/>
                  </a:cubicBezTo>
                  <a:cubicBezTo>
                    <a:pt x="685" y="5849"/>
                    <a:pt x="793" y="6187"/>
                    <a:pt x="951" y="6468"/>
                  </a:cubicBezTo>
                  <a:cubicBezTo>
                    <a:pt x="1133" y="6790"/>
                    <a:pt x="1352" y="7082"/>
                    <a:pt x="1566" y="7360"/>
                  </a:cubicBezTo>
                  <a:cubicBezTo>
                    <a:pt x="2007" y="7928"/>
                    <a:pt x="2507" y="8754"/>
                    <a:pt x="3081" y="8924"/>
                  </a:cubicBezTo>
                  <a:cubicBezTo>
                    <a:pt x="3800" y="9137"/>
                    <a:pt x="4587" y="8895"/>
                    <a:pt x="5286" y="9204"/>
                  </a:cubicBezTo>
                  <a:cubicBezTo>
                    <a:pt x="5703" y="9389"/>
                    <a:pt x="6138" y="9922"/>
                    <a:pt x="6434" y="10423"/>
                  </a:cubicBezTo>
                  <a:cubicBezTo>
                    <a:pt x="6606" y="10715"/>
                    <a:pt x="6683" y="10955"/>
                    <a:pt x="6647" y="11374"/>
                  </a:cubicBezTo>
                  <a:cubicBezTo>
                    <a:pt x="6612" y="11771"/>
                    <a:pt x="6452" y="11786"/>
                    <a:pt x="6316" y="12058"/>
                  </a:cubicBezTo>
                  <a:cubicBezTo>
                    <a:pt x="6130" y="12428"/>
                    <a:pt x="6169" y="13371"/>
                    <a:pt x="6157" y="13827"/>
                  </a:cubicBezTo>
                  <a:cubicBezTo>
                    <a:pt x="6140" y="14482"/>
                    <a:pt x="6114" y="15215"/>
                    <a:pt x="6308" y="15815"/>
                  </a:cubicBezTo>
                  <a:cubicBezTo>
                    <a:pt x="6623" y="16789"/>
                    <a:pt x="7083" y="16640"/>
                    <a:pt x="7606" y="17058"/>
                  </a:cubicBezTo>
                  <a:cubicBezTo>
                    <a:pt x="7941" y="17326"/>
                    <a:pt x="7885" y="17637"/>
                    <a:pt x="7903" y="18171"/>
                  </a:cubicBezTo>
                  <a:cubicBezTo>
                    <a:pt x="7920" y="18697"/>
                    <a:pt x="8007" y="19097"/>
                    <a:pt x="8230" y="19476"/>
                  </a:cubicBezTo>
                  <a:cubicBezTo>
                    <a:pt x="8438" y="19829"/>
                    <a:pt x="9206" y="20650"/>
                    <a:pt x="9144" y="21257"/>
                  </a:cubicBezTo>
                  <a:cubicBezTo>
                    <a:pt x="9356" y="21296"/>
                    <a:pt x="9569" y="21337"/>
                    <a:pt x="9772" y="21302"/>
                  </a:cubicBezTo>
                  <a:close/>
                  <a:moveTo>
                    <a:pt x="9772" y="21302"/>
                  </a:moveTo>
                </a:path>
              </a:pathLst>
            </a:custGeom>
            <a:solidFill>
              <a:srgbClr val="C0C0C0"/>
            </a:solidFill>
            <a:ln w="3175">
              <a:solidFill>
                <a:schemeClr val="bg1">
                  <a:lumMod val="85000"/>
                </a:schemeClr>
              </a:solidFill>
            </a:ln>
          </p:spPr>
          <p:txBody>
            <a:bodyPr lIns="0" tIns="0" rIns="0" bIns="0"/>
            <a:lstStyle/>
            <a:p>
              <a:endParaRPr lang="en-US"/>
            </a:p>
          </p:txBody>
        </p:sp>
        <p:sp>
          <p:nvSpPr>
            <p:cNvPr id="163" name="AutoShape 327">
              <a:extLst>
                <a:ext uri="{FF2B5EF4-FFF2-40B4-BE49-F238E27FC236}">
                  <a16:creationId xmlns:a16="http://schemas.microsoft.com/office/drawing/2014/main" id="{0524CA83-2A4C-8F49-ADAD-A31857CCD6FE}"/>
                </a:ext>
              </a:extLst>
            </p:cNvPr>
            <p:cNvSpPr>
              <a:spLocks/>
            </p:cNvSpPr>
            <p:nvPr/>
          </p:nvSpPr>
          <p:spPr bwMode="auto">
            <a:xfrm>
              <a:off x="4937952" y="2804220"/>
              <a:ext cx="224022" cy="289480"/>
            </a:xfrm>
            <a:custGeom>
              <a:avLst/>
              <a:gdLst/>
              <a:ahLst/>
              <a:cxnLst/>
              <a:rect l="0" t="0" r="r" b="b"/>
              <a:pathLst>
                <a:path w="21454" h="21505">
                  <a:moveTo>
                    <a:pt x="5779" y="14954"/>
                  </a:moveTo>
                  <a:cubicBezTo>
                    <a:pt x="6095" y="15617"/>
                    <a:pt x="5193" y="16175"/>
                    <a:pt x="5354" y="16844"/>
                  </a:cubicBezTo>
                  <a:cubicBezTo>
                    <a:pt x="6393" y="17133"/>
                    <a:pt x="7740" y="16014"/>
                    <a:pt x="8352" y="16966"/>
                  </a:cubicBezTo>
                  <a:cubicBezTo>
                    <a:pt x="8661" y="17445"/>
                    <a:pt x="8570" y="18126"/>
                    <a:pt x="8783" y="18641"/>
                  </a:cubicBezTo>
                  <a:cubicBezTo>
                    <a:pt x="8999" y="19165"/>
                    <a:pt x="9438" y="19183"/>
                    <a:pt x="9739" y="19646"/>
                  </a:cubicBezTo>
                  <a:cubicBezTo>
                    <a:pt x="10340" y="20571"/>
                    <a:pt x="11415" y="20788"/>
                    <a:pt x="12686" y="20360"/>
                  </a:cubicBezTo>
                  <a:cubicBezTo>
                    <a:pt x="13100" y="20221"/>
                    <a:pt x="13760" y="19757"/>
                    <a:pt x="14189" y="20216"/>
                  </a:cubicBezTo>
                  <a:cubicBezTo>
                    <a:pt x="14538" y="20591"/>
                    <a:pt x="13791" y="21169"/>
                    <a:pt x="14346" y="21435"/>
                  </a:cubicBezTo>
                  <a:cubicBezTo>
                    <a:pt x="14690" y="21600"/>
                    <a:pt x="15800" y="21422"/>
                    <a:pt x="16220" y="21434"/>
                  </a:cubicBezTo>
                  <a:cubicBezTo>
                    <a:pt x="16853" y="21451"/>
                    <a:pt x="17437" y="21509"/>
                    <a:pt x="18080" y="21480"/>
                  </a:cubicBezTo>
                  <a:cubicBezTo>
                    <a:pt x="18226" y="21086"/>
                    <a:pt x="18268" y="20937"/>
                    <a:pt x="18685" y="20665"/>
                  </a:cubicBezTo>
                  <a:cubicBezTo>
                    <a:pt x="19073" y="20413"/>
                    <a:pt x="19440" y="20422"/>
                    <a:pt x="19389" y="19926"/>
                  </a:cubicBezTo>
                  <a:lnTo>
                    <a:pt x="19461" y="14564"/>
                  </a:lnTo>
                  <a:cubicBezTo>
                    <a:pt x="20561" y="14486"/>
                    <a:pt x="21160" y="14685"/>
                    <a:pt x="21372" y="13729"/>
                  </a:cubicBezTo>
                  <a:cubicBezTo>
                    <a:pt x="21518" y="13074"/>
                    <a:pt x="21434" y="12385"/>
                    <a:pt x="21397" y="11724"/>
                  </a:cubicBezTo>
                  <a:cubicBezTo>
                    <a:pt x="20000" y="11676"/>
                    <a:pt x="18682" y="12132"/>
                    <a:pt x="17373" y="12455"/>
                  </a:cubicBezTo>
                  <a:cubicBezTo>
                    <a:pt x="16240" y="12736"/>
                    <a:pt x="15447" y="13477"/>
                    <a:pt x="14725" y="14116"/>
                  </a:cubicBezTo>
                  <a:cubicBezTo>
                    <a:pt x="13481" y="12167"/>
                    <a:pt x="14210" y="10051"/>
                    <a:pt x="14203" y="7960"/>
                  </a:cubicBezTo>
                  <a:cubicBezTo>
                    <a:pt x="14198" y="6481"/>
                    <a:pt x="13377" y="5311"/>
                    <a:pt x="12689" y="3962"/>
                  </a:cubicBezTo>
                  <a:cubicBezTo>
                    <a:pt x="12059" y="2727"/>
                    <a:pt x="12479" y="1950"/>
                    <a:pt x="13035" y="767"/>
                  </a:cubicBezTo>
                  <a:cubicBezTo>
                    <a:pt x="13152" y="516"/>
                    <a:pt x="13214" y="259"/>
                    <a:pt x="13265" y="0"/>
                  </a:cubicBezTo>
                  <a:cubicBezTo>
                    <a:pt x="13117" y="10"/>
                    <a:pt x="12970" y="19"/>
                    <a:pt x="12826" y="24"/>
                  </a:cubicBezTo>
                  <a:cubicBezTo>
                    <a:pt x="11741" y="62"/>
                    <a:pt x="10615" y="143"/>
                    <a:pt x="9572" y="300"/>
                  </a:cubicBezTo>
                  <a:cubicBezTo>
                    <a:pt x="8486" y="463"/>
                    <a:pt x="7369" y="434"/>
                    <a:pt x="6238" y="434"/>
                  </a:cubicBezTo>
                  <a:cubicBezTo>
                    <a:pt x="5066" y="434"/>
                    <a:pt x="3863" y="495"/>
                    <a:pt x="2712" y="359"/>
                  </a:cubicBezTo>
                  <a:cubicBezTo>
                    <a:pt x="2296" y="310"/>
                    <a:pt x="1915" y="364"/>
                    <a:pt x="1808" y="17"/>
                  </a:cubicBezTo>
                  <a:cubicBezTo>
                    <a:pt x="1078" y="464"/>
                    <a:pt x="569" y="1156"/>
                    <a:pt x="243" y="1816"/>
                  </a:cubicBezTo>
                  <a:cubicBezTo>
                    <a:pt x="41" y="2223"/>
                    <a:pt x="-82" y="2637"/>
                    <a:pt x="64" y="3075"/>
                  </a:cubicBezTo>
                  <a:cubicBezTo>
                    <a:pt x="177" y="3411"/>
                    <a:pt x="493" y="3704"/>
                    <a:pt x="525" y="4058"/>
                  </a:cubicBezTo>
                  <a:cubicBezTo>
                    <a:pt x="550" y="4333"/>
                    <a:pt x="268" y="4630"/>
                    <a:pt x="378" y="4884"/>
                  </a:cubicBezTo>
                  <a:cubicBezTo>
                    <a:pt x="477" y="5114"/>
                    <a:pt x="848" y="5193"/>
                    <a:pt x="934" y="5460"/>
                  </a:cubicBezTo>
                  <a:cubicBezTo>
                    <a:pt x="1022" y="5729"/>
                    <a:pt x="872" y="5959"/>
                    <a:pt x="702" y="6171"/>
                  </a:cubicBezTo>
                  <a:cubicBezTo>
                    <a:pt x="269" y="6711"/>
                    <a:pt x="200" y="7057"/>
                    <a:pt x="1148" y="7219"/>
                  </a:cubicBezTo>
                  <a:cubicBezTo>
                    <a:pt x="1587" y="7295"/>
                    <a:pt x="1879" y="7232"/>
                    <a:pt x="2054" y="7606"/>
                  </a:cubicBezTo>
                  <a:cubicBezTo>
                    <a:pt x="2149" y="7809"/>
                    <a:pt x="2122" y="8138"/>
                    <a:pt x="2162" y="8350"/>
                  </a:cubicBezTo>
                  <a:cubicBezTo>
                    <a:pt x="2225" y="8681"/>
                    <a:pt x="2242" y="9072"/>
                    <a:pt x="2660" y="9272"/>
                  </a:cubicBezTo>
                  <a:cubicBezTo>
                    <a:pt x="3052" y="9460"/>
                    <a:pt x="3459" y="9216"/>
                    <a:pt x="3903" y="9313"/>
                  </a:cubicBezTo>
                  <a:cubicBezTo>
                    <a:pt x="4622" y="9470"/>
                    <a:pt x="4498" y="9831"/>
                    <a:pt x="4605" y="10318"/>
                  </a:cubicBezTo>
                  <a:cubicBezTo>
                    <a:pt x="4697" y="10738"/>
                    <a:pt x="5003" y="10943"/>
                    <a:pt x="5252" y="11313"/>
                  </a:cubicBezTo>
                  <a:cubicBezTo>
                    <a:pt x="5466" y="11632"/>
                    <a:pt x="5544" y="12155"/>
                    <a:pt x="5094" y="12416"/>
                  </a:cubicBezTo>
                  <a:cubicBezTo>
                    <a:pt x="4718" y="12634"/>
                    <a:pt x="4252" y="12432"/>
                    <a:pt x="4064" y="12874"/>
                  </a:cubicBezTo>
                  <a:cubicBezTo>
                    <a:pt x="3925" y="13201"/>
                    <a:pt x="4185" y="13587"/>
                    <a:pt x="4119" y="13922"/>
                  </a:cubicBezTo>
                  <a:cubicBezTo>
                    <a:pt x="4109" y="13970"/>
                    <a:pt x="4083" y="14013"/>
                    <a:pt x="4045" y="14053"/>
                  </a:cubicBezTo>
                  <a:cubicBezTo>
                    <a:pt x="4726" y="14264"/>
                    <a:pt x="5513" y="14395"/>
                    <a:pt x="5779" y="14954"/>
                  </a:cubicBezTo>
                  <a:close/>
                  <a:moveTo>
                    <a:pt x="5779" y="14954"/>
                  </a:moveTo>
                </a:path>
              </a:pathLst>
            </a:custGeom>
            <a:solidFill>
              <a:srgbClr val="C0C0C0"/>
            </a:solidFill>
            <a:ln w="3175">
              <a:solidFill>
                <a:schemeClr val="bg1">
                  <a:lumMod val="85000"/>
                </a:schemeClr>
              </a:solidFill>
            </a:ln>
          </p:spPr>
          <p:txBody>
            <a:bodyPr lIns="0" tIns="0" rIns="0" bIns="0"/>
            <a:lstStyle/>
            <a:p>
              <a:endParaRPr lang="en-US"/>
            </a:p>
          </p:txBody>
        </p:sp>
        <p:sp>
          <p:nvSpPr>
            <p:cNvPr id="164" name="AutoShape 349">
              <a:extLst>
                <a:ext uri="{FF2B5EF4-FFF2-40B4-BE49-F238E27FC236}">
                  <a16:creationId xmlns:a16="http://schemas.microsoft.com/office/drawing/2014/main" id="{2F0BBA4B-BA66-3F4E-A043-EF2B9C0B3434}"/>
                </a:ext>
              </a:extLst>
            </p:cNvPr>
            <p:cNvSpPr>
              <a:spLocks/>
            </p:cNvSpPr>
            <p:nvPr/>
          </p:nvSpPr>
          <p:spPr bwMode="auto">
            <a:xfrm>
              <a:off x="5066609" y="2641705"/>
              <a:ext cx="271986" cy="351551"/>
            </a:xfrm>
            <a:custGeom>
              <a:avLst/>
              <a:gdLst/>
              <a:ahLst/>
              <a:cxnLst/>
              <a:rect l="0" t="0" r="r" b="b"/>
              <a:pathLst>
                <a:path w="21147" h="21600">
                  <a:moveTo>
                    <a:pt x="8954" y="18701"/>
                  </a:moveTo>
                  <a:cubicBezTo>
                    <a:pt x="9404" y="18348"/>
                    <a:pt x="9596" y="18145"/>
                    <a:pt x="10269" y="18146"/>
                  </a:cubicBezTo>
                  <a:cubicBezTo>
                    <a:pt x="10627" y="18146"/>
                    <a:pt x="11457" y="18273"/>
                    <a:pt x="11585" y="17972"/>
                  </a:cubicBezTo>
                  <a:cubicBezTo>
                    <a:pt x="11598" y="17239"/>
                    <a:pt x="11611" y="16507"/>
                    <a:pt x="11625" y="15774"/>
                  </a:cubicBezTo>
                  <a:cubicBezTo>
                    <a:pt x="11643" y="14770"/>
                    <a:pt x="11398" y="13481"/>
                    <a:pt x="11881" y="12582"/>
                  </a:cubicBezTo>
                  <a:cubicBezTo>
                    <a:pt x="12041" y="12285"/>
                    <a:pt x="12052" y="11955"/>
                    <a:pt x="12111" y="11628"/>
                  </a:cubicBezTo>
                  <a:cubicBezTo>
                    <a:pt x="12238" y="10927"/>
                    <a:pt x="12824" y="11089"/>
                    <a:pt x="13514" y="10892"/>
                  </a:cubicBezTo>
                  <a:cubicBezTo>
                    <a:pt x="14305" y="10666"/>
                    <a:pt x="14303" y="10168"/>
                    <a:pt x="14556" y="9625"/>
                  </a:cubicBezTo>
                  <a:cubicBezTo>
                    <a:pt x="14681" y="9355"/>
                    <a:pt x="14765" y="9188"/>
                    <a:pt x="15136" y="9174"/>
                  </a:cubicBezTo>
                  <a:cubicBezTo>
                    <a:pt x="15525" y="9159"/>
                    <a:pt x="15625" y="9242"/>
                    <a:pt x="15922" y="9007"/>
                  </a:cubicBezTo>
                  <a:cubicBezTo>
                    <a:pt x="16252" y="8747"/>
                    <a:pt x="16303" y="8356"/>
                    <a:pt x="16585" y="8071"/>
                  </a:cubicBezTo>
                  <a:cubicBezTo>
                    <a:pt x="16840" y="7814"/>
                    <a:pt x="17250" y="7628"/>
                    <a:pt x="17636" y="7502"/>
                  </a:cubicBezTo>
                  <a:cubicBezTo>
                    <a:pt x="18029" y="7374"/>
                    <a:pt x="18414" y="7346"/>
                    <a:pt x="18840" y="7363"/>
                  </a:cubicBezTo>
                  <a:cubicBezTo>
                    <a:pt x="19170" y="7377"/>
                    <a:pt x="19665" y="7543"/>
                    <a:pt x="19978" y="7412"/>
                  </a:cubicBezTo>
                  <a:cubicBezTo>
                    <a:pt x="20451" y="7216"/>
                    <a:pt x="20209" y="6427"/>
                    <a:pt x="20195" y="6085"/>
                  </a:cubicBezTo>
                  <a:cubicBezTo>
                    <a:pt x="20163" y="5323"/>
                    <a:pt x="20388" y="4324"/>
                    <a:pt x="19863" y="3661"/>
                  </a:cubicBezTo>
                  <a:cubicBezTo>
                    <a:pt x="19625" y="3361"/>
                    <a:pt x="19257" y="3090"/>
                    <a:pt x="19827" y="2787"/>
                  </a:cubicBezTo>
                  <a:cubicBezTo>
                    <a:pt x="20256" y="2558"/>
                    <a:pt x="20665" y="2575"/>
                    <a:pt x="20926" y="2154"/>
                  </a:cubicBezTo>
                  <a:cubicBezTo>
                    <a:pt x="21344" y="1482"/>
                    <a:pt x="21093" y="697"/>
                    <a:pt x="20783" y="0"/>
                  </a:cubicBezTo>
                  <a:cubicBezTo>
                    <a:pt x="20743" y="16"/>
                    <a:pt x="20701" y="31"/>
                    <a:pt x="20663" y="48"/>
                  </a:cubicBezTo>
                  <a:cubicBezTo>
                    <a:pt x="20082" y="299"/>
                    <a:pt x="19308" y="862"/>
                    <a:pt x="18687" y="976"/>
                  </a:cubicBezTo>
                  <a:cubicBezTo>
                    <a:pt x="18671" y="979"/>
                    <a:pt x="18658" y="980"/>
                    <a:pt x="18643" y="982"/>
                  </a:cubicBezTo>
                  <a:cubicBezTo>
                    <a:pt x="18626" y="1123"/>
                    <a:pt x="18588" y="1249"/>
                    <a:pt x="18512" y="1323"/>
                  </a:cubicBezTo>
                  <a:cubicBezTo>
                    <a:pt x="18343" y="1488"/>
                    <a:pt x="18037" y="1351"/>
                    <a:pt x="17855" y="1538"/>
                  </a:cubicBezTo>
                  <a:cubicBezTo>
                    <a:pt x="17690" y="1707"/>
                    <a:pt x="17951" y="2053"/>
                    <a:pt x="17682" y="2191"/>
                  </a:cubicBezTo>
                  <a:cubicBezTo>
                    <a:pt x="17507" y="2281"/>
                    <a:pt x="16988" y="2156"/>
                    <a:pt x="16771" y="2163"/>
                  </a:cubicBezTo>
                  <a:cubicBezTo>
                    <a:pt x="15730" y="2193"/>
                    <a:pt x="16307" y="2717"/>
                    <a:pt x="16059" y="3237"/>
                  </a:cubicBezTo>
                  <a:cubicBezTo>
                    <a:pt x="15923" y="3522"/>
                    <a:pt x="14722" y="3729"/>
                    <a:pt x="14647" y="3347"/>
                  </a:cubicBezTo>
                  <a:cubicBezTo>
                    <a:pt x="14181" y="3291"/>
                    <a:pt x="13701" y="3538"/>
                    <a:pt x="13253" y="3645"/>
                  </a:cubicBezTo>
                  <a:cubicBezTo>
                    <a:pt x="12928" y="3722"/>
                    <a:pt x="12290" y="3819"/>
                    <a:pt x="11955" y="3765"/>
                  </a:cubicBezTo>
                  <a:cubicBezTo>
                    <a:pt x="11684" y="3722"/>
                    <a:pt x="11388" y="3308"/>
                    <a:pt x="11136" y="3515"/>
                  </a:cubicBezTo>
                  <a:cubicBezTo>
                    <a:pt x="10786" y="3803"/>
                    <a:pt x="10592" y="4563"/>
                    <a:pt x="10399" y="4935"/>
                  </a:cubicBezTo>
                  <a:cubicBezTo>
                    <a:pt x="10063" y="5583"/>
                    <a:pt x="9718" y="6230"/>
                    <a:pt x="9358" y="6869"/>
                  </a:cubicBezTo>
                  <a:cubicBezTo>
                    <a:pt x="9034" y="7446"/>
                    <a:pt x="8853" y="8135"/>
                    <a:pt x="8393" y="8654"/>
                  </a:cubicBezTo>
                  <a:cubicBezTo>
                    <a:pt x="7718" y="9418"/>
                    <a:pt x="6670" y="9138"/>
                    <a:pt x="5674" y="9339"/>
                  </a:cubicBezTo>
                  <a:cubicBezTo>
                    <a:pt x="5198" y="9436"/>
                    <a:pt x="4937" y="9735"/>
                    <a:pt x="4566" y="9989"/>
                  </a:cubicBezTo>
                  <a:cubicBezTo>
                    <a:pt x="4162" y="10265"/>
                    <a:pt x="3892" y="10269"/>
                    <a:pt x="3340" y="10241"/>
                  </a:cubicBezTo>
                  <a:cubicBezTo>
                    <a:pt x="2795" y="10213"/>
                    <a:pt x="2361" y="9960"/>
                    <a:pt x="1825" y="9900"/>
                  </a:cubicBezTo>
                  <a:cubicBezTo>
                    <a:pt x="1468" y="9860"/>
                    <a:pt x="1090" y="9892"/>
                    <a:pt x="723" y="9917"/>
                  </a:cubicBezTo>
                  <a:cubicBezTo>
                    <a:pt x="681" y="10131"/>
                    <a:pt x="631" y="10344"/>
                    <a:pt x="536" y="10552"/>
                  </a:cubicBezTo>
                  <a:cubicBezTo>
                    <a:pt x="85" y="11531"/>
                    <a:pt x="-256" y="12174"/>
                    <a:pt x="255" y="13196"/>
                  </a:cubicBezTo>
                  <a:cubicBezTo>
                    <a:pt x="814" y="14312"/>
                    <a:pt x="1480" y="15281"/>
                    <a:pt x="1484" y="16505"/>
                  </a:cubicBezTo>
                  <a:cubicBezTo>
                    <a:pt x="1490" y="18236"/>
                    <a:pt x="898" y="19987"/>
                    <a:pt x="1908" y="21600"/>
                  </a:cubicBezTo>
                  <a:cubicBezTo>
                    <a:pt x="2494" y="21071"/>
                    <a:pt x="3138" y="20458"/>
                    <a:pt x="4057" y="20226"/>
                  </a:cubicBezTo>
                  <a:cubicBezTo>
                    <a:pt x="5116" y="19959"/>
                    <a:pt x="6181" y="19584"/>
                    <a:pt x="7310" y="19620"/>
                  </a:cubicBezTo>
                  <a:cubicBezTo>
                    <a:pt x="7458" y="19512"/>
                    <a:pt x="7607" y="19407"/>
                    <a:pt x="7770" y="19325"/>
                  </a:cubicBezTo>
                  <a:cubicBezTo>
                    <a:pt x="8166" y="19123"/>
                    <a:pt x="8616" y="18967"/>
                    <a:pt x="8954" y="18701"/>
                  </a:cubicBezTo>
                  <a:close/>
                  <a:moveTo>
                    <a:pt x="8954" y="18701"/>
                  </a:moveTo>
                </a:path>
              </a:pathLst>
            </a:custGeom>
            <a:solidFill>
              <a:srgbClr val="C0C0C0"/>
            </a:solidFill>
            <a:ln w="3175">
              <a:solidFill>
                <a:schemeClr val="bg1">
                  <a:lumMod val="85000"/>
                </a:schemeClr>
              </a:solidFill>
            </a:ln>
          </p:spPr>
          <p:txBody>
            <a:bodyPr lIns="0" tIns="0" rIns="0" bIns="0"/>
            <a:lstStyle/>
            <a:p>
              <a:endParaRPr lang="en-US"/>
            </a:p>
          </p:txBody>
        </p:sp>
        <p:sp>
          <p:nvSpPr>
            <p:cNvPr id="165" name="AutoShape 371">
              <a:extLst>
                <a:ext uri="{FF2B5EF4-FFF2-40B4-BE49-F238E27FC236}">
                  <a16:creationId xmlns:a16="http://schemas.microsoft.com/office/drawing/2014/main" id="{11C0DA9C-0630-424B-BA78-AEF480571983}"/>
                </a:ext>
              </a:extLst>
            </p:cNvPr>
            <p:cNvSpPr>
              <a:spLocks/>
            </p:cNvSpPr>
            <p:nvPr/>
          </p:nvSpPr>
          <p:spPr bwMode="auto">
            <a:xfrm>
              <a:off x="5317153" y="2571734"/>
              <a:ext cx="440709" cy="190729"/>
            </a:xfrm>
            <a:custGeom>
              <a:avLst/>
              <a:gdLst/>
              <a:ahLst/>
              <a:cxnLst/>
              <a:rect l="0" t="0" r="r" b="b"/>
              <a:pathLst>
                <a:path w="21433" h="20999">
                  <a:moveTo>
                    <a:pt x="1736" y="20077"/>
                  </a:moveTo>
                  <a:cubicBezTo>
                    <a:pt x="2306" y="19437"/>
                    <a:pt x="2815" y="18841"/>
                    <a:pt x="3456" y="18698"/>
                  </a:cubicBezTo>
                  <a:cubicBezTo>
                    <a:pt x="4082" y="18558"/>
                    <a:pt x="4748" y="18470"/>
                    <a:pt x="5356" y="18114"/>
                  </a:cubicBezTo>
                  <a:cubicBezTo>
                    <a:pt x="6085" y="17689"/>
                    <a:pt x="6322" y="16529"/>
                    <a:pt x="6792" y="15317"/>
                  </a:cubicBezTo>
                  <a:cubicBezTo>
                    <a:pt x="7143" y="14413"/>
                    <a:pt x="7622" y="14142"/>
                    <a:pt x="8136" y="13973"/>
                  </a:cubicBezTo>
                  <a:cubicBezTo>
                    <a:pt x="8566" y="13831"/>
                    <a:pt x="9220" y="13350"/>
                    <a:pt x="9608" y="14037"/>
                  </a:cubicBezTo>
                  <a:cubicBezTo>
                    <a:pt x="10321" y="15300"/>
                    <a:pt x="10455" y="18578"/>
                    <a:pt x="11609" y="18280"/>
                  </a:cubicBezTo>
                  <a:lnTo>
                    <a:pt x="21433" y="18050"/>
                  </a:lnTo>
                  <a:lnTo>
                    <a:pt x="21378" y="2420"/>
                  </a:lnTo>
                  <a:cubicBezTo>
                    <a:pt x="21349" y="2479"/>
                    <a:pt x="21317" y="2543"/>
                    <a:pt x="21281" y="2614"/>
                  </a:cubicBezTo>
                  <a:cubicBezTo>
                    <a:pt x="20716" y="3730"/>
                    <a:pt x="19593" y="3415"/>
                    <a:pt x="18808" y="3385"/>
                  </a:cubicBezTo>
                  <a:lnTo>
                    <a:pt x="18594" y="3385"/>
                  </a:lnTo>
                  <a:lnTo>
                    <a:pt x="12377" y="3385"/>
                  </a:lnTo>
                  <a:cubicBezTo>
                    <a:pt x="11984" y="3308"/>
                    <a:pt x="11936" y="3760"/>
                    <a:pt x="11638" y="4029"/>
                  </a:cubicBezTo>
                  <a:cubicBezTo>
                    <a:pt x="11409" y="4235"/>
                    <a:pt x="10981" y="4048"/>
                    <a:pt x="10732" y="4048"/>
                  </a:cubicBezTo>
                  <a:cubicBezTo>
                    <a:pt x="10232" y="4048"/>
                    <a:pt x="9732" y="4008"/>
                    <a:pt x="9233" y="3985"/>
                  </a:cubicBezTo>
                  <a:cubicBezTo>
                    <a:pt x="8909" y="3970"/>
                    <a:pt x="8321" y="3642"/>
                    <a:pt x="8026" y="3983"/>
                  </a:cubicBezTo>
                  <a:cubicBezTo>
                    <a:pt x="7833" y="4206"/>
                    <a:pt x="7869" y="4624"/>
                    <a:pt x="7735" y="4875"/>
                  </a:cubicBezTo>
                  <a:cubicBezTo>
                    <a:pt x="7357" y="5584"/>
                    <a:pt x="7133" y="4820"/>
                    <a:pt x="6883" y="4213"/>
                  </a:cubicBezTo>
                  <a:cubicBezTo>
                    <a:pt x="6305" y="2811"/>
                    <a:pt x="5083" y="4240"/>
                    <a:pt x="4588" y="2559"/>
                  </a:cubicBezTo>
                  <a:cubicBezTo>
                    <a:pt x="4436" y="2041"/>
                    <a:pt x="4378" y="1357"/>
                    <a:pt x="4222" y="818"/>
                  </a:cubicBezTo>
                  <a:cubicBezTo>
                    <a:pt x="3837" y="-518"/>
                    <a:pt x="3214" y="-40"/>
                    <a:pt x="2795" y="986"/>
                  </a:cubicBezTo>
                  <a:cubicBezTo>
                    <a:pt x="2371" y="2024"/>
                    <a:pt x="2225" y="3428"/>
                    <a:pt x="2075" y="4728"/>
                  </a:cubicBezTo>
                  <a:cubicBezTo>
                    <a:pt x="1982" y="5531"/>
                    <a:pt x="1937" y="6427"/>
                    <a:pt x="1626" y="6931"/>
                  </a:cubicBezTo>
                  <a:cubicBezTo>
                    <a:pt x="1405" y="7289"/>
                    <a:pt x="1057" y="7531"/>
                    <a:pt x="787" y="7830"/>
                  </a:cubicBezTo>
                  <a:cubicBezTo>
                    <a:pt x="981" y="9078"/>
                    <a:pt x="1138" y="10483"/>
                    <a:pt x="877" y="11686"/>
                  </a:cubicBezTo>
                  <a:cubicBezTo>
                    <a:pt x="713" y="12439"/>
                    <a:pt x="457" y="12409"/>
                    <a:pt x="189" y="12819"/>
                  </a:cubicBezTo>
                  <a:cubicBezTo>
                    <a:pt x="-167" y="13361"/>
                    <a:pt x="63" y="13846"/>
                    <a:pt x="212" y="14384"/>
                  </a:cubicBezTo>
                  <a:cubicBezTo>
                    <a:pt x="540" y="15570"/>
                    <a:pt x="399" y="17359"/>
                    <a:pt x="419" y="18722"/>
                  </a:cubicBezTo>
                  <a:cubicBezTo>
                    <a:pt x="428" y="19285"/>
                    <a:pt x="555" y="20519"/>
                    <a:pt x="347" y="20989"/>
                  </a:cubicBezTo>
                  <a:cubicBezTo>
                    <a:pt x="816" y="21082"/>
                    <a:pt x="1391" y="20464"/>
                    <a:pt x="1736" y="20077"/>
                  </a:cubicBezTo>
                  <a:close/>
                  <a:moveTo>
                    <a:pt x="1736" y="20077"/>
                  </a:moveTo>
                </a:path>
              </a:pathLst>
            </a:custGeom>
            <a:solidFill>
              <a:srgbClr val="C0C0C0"/>
            </a:solidFill>
            <a:ln w="3175">
              <a:solidFill>
                <a:schemeClr val="bg1">
                  <a:lumMod val="85000"/>
                </a:schemeClr>
              </a:solidFill>
            </a:ln>
          </p:spPr>
          <p:txBody>
            <a:bodyPr lIns="0" tIns="0" rIns="0" bIns="0"/>
            <a:lstStyle/>
            <a:p>
              <a:endParaRPr lang="en-US"/>
            </a:p>
          </p:txBody>
        </p:sp>
        <p:sp>
          <p:nvSpPr>
            <p:cNvPr id="166" name="AutoShape 396">
              <a:extLst>
                <a:ext uri="{FF2B5EF4-FFF2-40B4-BE49-F238E27FC236}">
                  <a16:creationId xmlns:a16="http://schemas.microsoft.com/office/drawing/2014/main" id="{390B37B5-3F84-8741-88D6-5E7FD9A85CCF}"/>
                </a:ext>
              </a:extLst>
            </p:cNvPr>
            <p:cNvSpPr>
              <a:spLocks/>
            </p:cNvSpPr>
            <p:nvPr/>
          </p:nvSpPr>
          <p:spPr bwMode="auto">
            <a:xfrm>
              <a:off x="5211067" y="2695877"/>
              <a:ext cx="548206" cy="262112"/>
            </a:xfrm>
            <a:custGeom>
              <a:avLst/>
              <a:gdLst/>
              <a:ahLst/>
              <a:cxnLst/>
              <a:rect l="0" t="0" r="r" b="b"/>
              <a:pathLst>
                <a:path w="21600" h="21211">
                  <a:moveTo>
                    <a:pt x="1019" y="20692"/>
                  </a:moveTo>
                  <a:cubicBezTo>
                    <a:pt x="1447" y="20915"/>
                    <a:pt x="1782" y="20697"/>
                    <a:pt x="2158" y="20324"/>
                  </a:cubicBezTo>
                  <a:cubicBezTo>
                    <a:pt x="2551" y="19936"/>
                    <a:pt x="2727" y="20447"/>
                    <a:pt x="3091" y="20782"/>
                  </a:cubicBezTo>
                  <a:cubicBezTo>
                    <a:pt x="3462" y="21123"/>
                    <a:pt x="3936" y="21360"/>
                    <a:pt x="4337" y="21101"/>
                  </a:cubicBezTo>
                  <a:cubicBezTo>
                    <a:pt x="4784" y="20814"/>
                    <a:pt x="4825" y="19924"/>
                    <a:pt x="4976" y="19128"/>
                  </a:cubicBezTo>
                  <a:cubicBezTo>
                    <a:pt x="5125" y="18344"/>
                    <a:pt x="5161" y="17402"/>
                    <a:pt x="5360" y="16663"/>
                  </a:cubicBezTo>
                  <a:cubicBezTo>
                    <a:pt x="5574" y="15871"/>
                    <a:pt x="5961" y="15376"/>
                    <a:pt x="6317" y="14882"/>
                  </a:cubicBezTo>
                  <a:cubicBezTo>
                    <a:pt x="6510" y="14614"/>
                    <a:pt x="6692" y="14336"/>
                    <a:pt x="6877" y="14061"/>
                  </a:cubicBezTo>
                  <a:cubicBezTo>
                    <a:pt x="7264" y="13487"/>
                    <a:pt x="7710" y="12969"/>
                    <a:pt x="8118" y="12454"/>
                  </a:cubicBezTo>
                  <a:cubicBezTo>
                    <a:pt x="8295" y="12232"/>
                    <a:pt x="8491" y="11955"/>
                    <a:pt x="8634" y="11645"/>
                  </a:cubicBezTo>
                  <a:cubicBezTo>
                    <a:pt x="8953" y="10953"/>
                    <a:pt x="9133" y="10163"/>
                    <a:pt x="9541" y="9634"/>
                  </a:cubicBezTo>
                  <a:cubicBezTo>
                    <a:pt x="9851" y="9233"/>
                    <a:pt x="10223" y="8733"/>
                    <a:pt x="10584" y="8586"/>
                  </a:cubicBezTo>
                  <a:cubicBezTo>
                    <a:pt x="10862" y="8473"/>
                    <a:pt x="11282" y="8525"/>
                    <a:pt x="11563" y="8587"/>
                  </a:cubicBezTo>
                  <a:lnTo>
                    <a:pt x="21600" y="8676"/>
                  </a:lnTo>
                  <a:lnTo>
                    <a:pt x="21579" y="3216"/>
                  </a:lnTo>
                  <a:lnTo>
                    <a:pt x="13616" y="3385"/>
                  </a:lnTo>
                  <a:cubicBezTo>
                    <a:pt x="12680" y="3604"/>
                    <a:pt x="12571" y="1194"/>
                    <a:pt x="11993" y="265"/>
                  </a:cubicBezTo>
                  <a:cubicBezTo>
                    <a:pt x="11679" y="-240"/>
                    <a:pt x="11149" y="114"/>
                    <a:pt x="10800" y="218"/>
                  </a:cubicBezTo>
                  <a:cubicBezTo>
                    <a:pt x="10384" y="343"/>
                    <a:pt x="9995" y="542"/>
                    <a:pt x="9711" y="1207"/>
                  </a:cubicBezTo>
                  <a:cubicBezTo>
                    <a:pt x="9330" y="2097"/>
                    <a:pt x="9137" y="2950"/>
                    <a:pt x="8547" y="3263"/>
                  </a:cubicBezTo>
                  <a:cubicBezTo>
                    <a:pt x="8054" y="3524"/>
                    <a:pt x="7514" y="3589"/>
                    <a:pt x="7007" y="3692"/>
                  </a:cubicBezTo>
                  <a:cubicBezTo>
                    <a:pt x="6487" y="3798"/>
                    <a:pt x="6074" y="4235"/>
                    <a:pt x="5612" y="4707"/>
                  </a:cubicBezTo>
                  <a:cubicBezTo>
                    <a:pt x="5333" y="4991"/>
                    <a:pt x="4867" y="5445"/>
                    <a:pt x="4486" y="5377"/>
                  </a:cubicBezTo>
                  <a:cubicBezTo>
                    <a:pt x="4471" y="5408"/>
                    <a:pt x="4455" y="5436"/>
                    <a:pt x="4435" y="5457"/>
                  </a:cubicBezTo>
                  <a:cubicBezTo>
                    <a:pt x="4276" y="5629"/>
                    <a:pt x="4026" y="5410"/>
                    <a:pt x="3858" y="5393"/>
                  </a:cubicBezTo>
                  <a:cubicBezTo>
                    <a:pt x="3642" y="5370"/>
                    <a:pt x="3447" y="5407"/>
                    <a:pt x="3248" y="5575"/>
                  </a:cubicBezTo>
                  <a:cubicBezTo>
                    <a:pt x="3052" y="5741"/>
                    <a:pt x="2844" y="5985"/>
                    <a:pt x="2715" y="6324"/>
                  </a:cubicBezTo>
                  <a:cubicBezTo>
                    <a:pt x="2572" y="6699"/>
                    <a:pt x="2546" y="7214"/>
                    <a:pt x="2379" y="7557"/>
                  </a:cubicBezTo>
                  <a:cubicBezTo>
                    <a:pt x="2228" y="7865"/>
                    <a:pt x="2177" y="7756"/>
                    <a:pt x="1980" y="7776"/>
                  </a:cubicBezTo>
                  <a:cubicBezTo>
                    <a:pt x="1792" y="7795"/>
                    <a:pt x="1750" y="8015"/>
                    <a:pt x="1686" y="8369"/>
                  </a:cubicBezTo>
                  <a:cubicBezTo>
                    <a:pt x="1558" y="9085"/>
                    <a:pt x="1559" y="9739"/>
                    <a:pt x="1158" y="10037"/>
                  </a:cubicBezTo>
                  <a:cubicBezTo>
                    <a:pt x="808" y="10297"/>
                    <a:pt x="511" y="10083"/>
                    <a:pt x="447" y="11005"/>
                  </a:cubicBezTo>
                  <a:cubicBezTo>
                    <a:pt x="417" y="11436"/>
                    <a:pt x="411" y="11870"/>
                    <a:pt x="330" y="12262"/>
                  </a:cubicBezTo>
                  <a:cubicBezTo>
                    <a:pt x="85" y="13445"/>
                    <a:pt x="209" y="15141"/>
                    <a:pt x="200" y="16462"/>
                  </a:cubicBezTo>
                  <a:cubicBezTo>
                    <a:pt x="193" y="17427"/>
                    <a:pt x="187" y="18391"/>
                    <a:pt x="180" y="19356"/>
                  </a:cubicBezTo>
                  <a:cubicBezTo>
                    <a:pt x="156" y="19498"/>
                    <a:pt x="87" y="19566"/>
                    <a:pt x="0" y="19597"/>
                  </a:cubicBezTo>
                  <a:cubicBezTo>
                    <a:pt x="225" y="20186"/>
                    <a:pt x="739" y="20546"/>
                    <a:pt x="1019" y="20692"/>
                  </a:cubicBezTo>
                  <a:close/>
                  <a:moveTo>
                    <a:pt x="1019" y="20692"/>
                  </a:moveTo>
                </a:path>
              </a:pathLst>
            </a:custGeom>
            <a:solidFill>
              <a:srgbClr val="C0C0C0"/>
            </a:solidFill>
            <a:ln w="3175">
              <a:solidFill>
                <a:schemeClr val="bg1">
                  <a:lumMod val="85000"/>
                </a:schemeClr>
              </a:solidFill>
            </a:ln>
          </p:spPr>
          <p:txBody>
            <a:bodyPr lIns="0" tIns="0" rIns="0" bIns="0"/>
            <a:lstStyle/>
            <a:p>
              <a:endParaRPr lang="en-US"/>
            </a:p>
          </p:txBody>
        </p:sp>
        <p:sp>
          <p:nvSpPr>
            <p:cNvPr id="167" name="AutoShape 417">
              <a:extLst>
                <a:ext uri="{FF2B5EF4-FFF2-40B4-BE49-F238E27FC236}">
                  <a16:creationId xmlns:a16="http://schemas.microsoft.com/office/drawing/2014/main" id="{1326F51F-82BC-5B41-9672-58C08F4383BA}"/>
                </a:ext>
              </a:extLst>
            </p:cNvPr>
            <p:cNvSpPr>
              <a:spLocks/>
            </p:cNvSpPr>
            <p:nvPr/>
          </p:nvSpPr>
          <p:spPr bwMode="auto">
            <a:xfrm>
              <a:off x="4482008" y="3303050"/>
              <a:ext cx="245465" cy="254776"/>
            </a:xfrm>
            <a:custGeom>
              <a:avLst/>
              <a:gdLst/>
              <a:ahLst/>
              <a:cxnLst/>
              <a:rect l="0" t="0" r="r" b="b"/>
              <a:pathLst>
                <a:path w="20943" h="21438">
                  <a:moveTo>
                    <a:pt x="17307" y="6679"/>
                  </a:moveTo>
                  <a:cubicBezTo>
                    <a:pt x="15607" y="5675"/>
                    <a:pt x="13627" y="5908"/>
                    <a:pt x="11779" y="5358"/>
                  </a:cubicBezTo>
                  <a:cubicBezTo>
                    <a:pt x="10578" y="5001"/>
                    <a:pt x="9811" y="4284"/>
                    <a:pt x="8793" y="3660"/>
                  </a:cubicBezTo>
                  <a:cubicBezTo>
                    <a:pt x="7811" y="3059"/>
                    <a:pt x="6847" y="2387"/>
                    <a:pt x="5909" y="1737"/>
                  </a:cubicBezTo>
                  <a:cubicBezTo>
                    <a:pt x="5141" y="1205"/>
                    <a:pt x="4575" y="101"/>
                    <a:pt x="3588" y="6"/>
                  </a:cubicBezTo>
                  <a:cubicBezTo>
                    <a:pt x="2969" y="-54"/>
                    <a:pt x="2545" y="330"/>
                    <a:pt x="2073" y="648"/>
                  </a:cubicBezTo>
                  <a:cubicBezTo>
                    <a:pt x="1765" y="855"/>
                    <a:pt x="1419" y="1046"/>
                    <a:pt x="1090" y="1256"/>
                  </a:cubicBezTo>
                  <a:cubicBezTo>
                    <a:pt x="1239" y="1464"/>
                    <a:pt x="1388" y="1994"/>
                    <a:pt x="1438" y="2209"/>
                  </a:cubicBezTo>
                  <a:cubicBezTo>
                    <a:pt x="1636" y="3054"/>
                    <a:pt x="1271" y="3842"/>
                    <a:pt x="1566" y="4683"/>
                  </a:cubicBezTo>
                  <a:cubicBezTo>
                    <a:pt x="1822" y="5413"/>
                    <a:pt x="2462" y="6017"/>
                    <a:pt x="2461" y="6823"/>
                  </a:cubicBezTo>
                  <a:cubicBezTo>
                    <a:pt x="2460" y="7729"/>
                    <a:pt x="1949" y="8555"/>
                    <a:pt x="1796" y="9439"/>
                  </a:cubicBezTo>
                  <a:cubicBezTo>
                    <a:pt x="1606" y="10537"/>
                    <a:pt x="1135" y="11559"/>
                    <a:pt x="584" y="12523"/>
                  </a:cubicBezTo>
                  <a:cubicBezTo>
                    <a:pt x="362" y="12911"/>
                    <a:pt x="-218" y="13645"/>
                    <a:pt x="87" y="14093"/>
                  </a:cubicBezTo>
                  <a:cubicBezTo>
                    <a:pt x="339" y="14464"/>
                    <a:pt x="1720" y="14464"/>
                    <a:pt x="2131" y="14413"/>
                  </a:cubicBezTo>
                  <a:cubicBezTo>
                    <a:pt x="2218" y="13816"/>
                    <a:pt x="1627" y="13453"/>
                    <a:pt x="1692" y="13030"/>
                  </a:cubicBezTo>
                  <a:cubicBezTo>
                    <a:pt x="1767" y="12542"/>
                    <a:pt x="2532" y="12751"/>
                    <a:pt x="2719" y="12144"/>
                  </a:cubicBezTo>
                  <a:cubicBezTo>
                    <a:pt x="2851" y="11716"/>
                    <a:pt x="2442" y="10833"/>
                    <a:pt x="3052" y="10637"/>
                  </a:cubicBezTo>
                  <a:cubicBezTo>
                    <a:pt x="3709" y="10426"/>
                    <a:pt x="3693" y="11420"/>
                    <a:pt x="3679" y="11827"/>
                  </a:cubicBezTo>
                  <a:cubicBezTo>
                    <a:pt x="3654" y="12569"/>
                    <a:pt x="3718" y="12578"/>
                    <a:pt x="4513" y="12587"/>
                  </a:cubicBezTo>
                  <a:cubicBezTo>
                    <a:pt x="5092" y="12593"/>
                    <a:pt x="5565" y="12608"/>
                    <a:pt x="6088" y="12856"/>
                  </a:cubicBezTo>
                  <a:cubicBezTo>
                    <a:pt x="6893" y="13238"/>
                    <a:pt x="7792" y="13967"/>
                    <a:pt x="8218" y="14801"/>
                  </a:cubicBezTo>
                  <a:cubicBezTo>
                    <a:pt x="8793" y="15926"/>
                    <a:pt x="9636" y="16289"/>
                    <a:pt x="10412" y="17207"/>
                  </a:cubicBezTo>
                  <a:cubicBezTo>
                    <a:pt x="10801" y="17667"/>
                    <a:pt x="11270" y="18110"/>
                    <a:pt x="11887" y="18222"/>
                  </a:cubicBezTo>
                  <a:cubicBezTo>
                    <a:pt x="12854" y="18397"/>
                    <a:pt x="12216" y="17674"/>
                    <a:pt x="12782" y="17458"/>
                  </a:cubicBezTo>
                  <a:cubicBezTo>
                    <a:pt x="13119" y="17329"/>
                    <a:pt x="13577" y="18129"/>
                    <a:pt x="13795" y="18345"/>
                  </a:cubicBezTo>
                  <a:cubicBezTo>
                    <a:pt x="14214" y="18760"/>
                    <a:pt x="14673" y="19005"/>
                    <a:pt x="15222" y="19249"/>
                  </a:cubicBezTo>
                  <a:cubicBezTo>
                    <a:pt x="15782" y="19498"/>
                    <a:pt x="16177" y="19702"/>
                    <a:pt x="16615" y="20133"/>
                  </a:cubicBezTo>
                  <a:cubicBezTo>
                    <a:pt x="16996" y="20508"/>
                    <a:pt x="17329" y="21109"/>
                    <a:pt x="17837" y="21311"/>
                  </a:cubicBezTo>
                  <a:cubicBezTo>
                    <a:pt x="18426" y="21546"/>
                    <a:pt x="19661" y="21493"/>
                    <a:pt x="19906" y="20816"/>
                  </a:cubicBezTo>
                  <a:cubicBezTo>
                    <a:pt x="20182" y="20051"/>
                    <a:pt x="19205" y="19202"/>
                    <a:pt x="19013" y="18546"/>
                  </a:cubicBezTo>
                  <a:cubicBezTo>
                    <a:pt x="19828" y="18425"/>
                    <a:pt x="20090" y="19258"/>
                    <a:pt x="20853" y="19160"/>
                  </a:cubicBezTo>
                  <a:cubicBezTo>
                    <a:pt x="21382" y="17708"/>
                    <a:pt x="19427" y="17562"/>
                    <a:pt x="19148" y="16560"/>
                  </a:cubicBezTo>
                  <a:cubicBezTo>
                    <a:pt x="19083" y="16327"/>
                    <a:pt x="19329" y="15148"/>
                    <a:pt x="19454" y="14929"/>
                  </a:cubicBezTo>
                  <a:cubicBezTo>
                    <a:pt x="19690" y="14517"/>
                    <a:pt x="20665" y="14895"/>
                    <a:pt x="20481" y="14038"/>
                  </a:cubicBezTo>
                  <a:cubicBezTo>
                    <a:pt x="20349" y="13420"/>
                    <a:pt x="19329" y="13371"/>
                    <a:pt x="18923" y="12970"/>
                  </a:cubicBezTo>
                  <a:cubicBezTo>
                    <a:pt x="18235" y="12289"/>
                    <a:pt x="19009" y="12203"/>
                    <a:pt x="19374" y="11686"/>
                  </a:cubicBezTo>
                  <a:cubicBezTo>
                    <a:pt x="19979" y="10829"/>
                    <a:pt x="18813" y="9499"/>
                    <a:pt x="19432" y="8982"/>
                  </a:cubicBezTo>
                  <a:cubicBezTo>
                    <a:pt x="19214" y="8801"/>
                    <a:pt x="18997" y="8616"/>
                    <a:pt x="18806" y="8409"/>
                  </a:cubicBezTo>
                  <a:cubicBezTo>
                    <a:pt x="18261" y="7820"/>
                    <a:pt x="18014" y="7096"/>
                    <a:pt x="17307" y="6679"/>
                  </a:cubicBezTo>
                  <a:close/>
                  <a:moveTo>
                    <a:pt x="17307" y="6679"/>
                  </a:moveTo>
                </a:path>
              </a:pathLst>
            </a:custGeom>
            <a:solidFill>
              <a:srgbClr val="3B4A54"/>
            </a:solidFill>
            <a:ln w="3175">
              <a:solidFill>
                <a:schemeClr val="bg1">
                  <a:lumMod val="85000"/>
                </a:schemeClr>
              </a:solidFill>
            </a:ln>
          </p:spPr>
          <p:txBody>
            <a:bodyPr lIns="0" tIns="0" rIns="0" bIns="0"/>
            <a:lstStyle/>
            <a:p>
              <a:endParaRPr lang="en-US"/>
            </a:p>
          </p:txBody>
        </p:sp>
        <p:sp>
          <p:nvSpPr>
            <p:cNvPr id="168" name="AutoShape 440">
              <a:extLst>
                <a:ext uri="{FF2B5EF4-FFF2-40B4-BE49-F238E27FC236}">
                  <a16:creationId xmlns:a16="http://schemas.microsoft.com/office/drawing/2014/main" id="{90C849B6-4B6C-FF4D-A0C2-CA15BD4C9C6F}"/>
                </a:ext>
              </a:extLst>
            </p:cNvPr>
            <p:cNvSpPr>
              <a:spLocks/>
            </p:cNvSpPr>
            <p:nvPr/>
          </p:nvSpPr>
          <p:spPr bwMode="auto">
            <a:xfrm>
              <a:off x="4267579" y="3034449"/>
              <a:ext cx="494034" cy="376097"/>
            </a:xfrm>
            <a:custGeom>
              <a:avLst/>
              <a:gdLst/>
              <a:ahLst/>
              <a:cxnLst/>
              <a:rect l="0" t="0" r="r" b="b"/>
              <a:pathLst>
                <a:path w="21297" h="21506">
                  <a:moveTo>
                    <a:pt x="21054" y="18968"/>
                  </a:moveTo>
                  <a:cubicBezTo>
                    <a:pt x="21600" y="18619"/>
                    <a:pt x="21087" y="16966"/>
                    <a:pt x="20860" y="16472"/>
                  </a:cubicBezTo>
                  <a:cubicBezTo>
                    <a:pt x="20580" y="15864"/>
                    <a:pt x="20338" y="15260"/>
                    <a:pt x="20025" y="14699"/>
                  </a:cubicBezTo>
                  <a:cubicBezTo>
                    <a:pt x="19627" y="13987"/>
                    <a:pt x="19190" y="13471"/>
                    <a:pt x="19077" y="12561"/>
                  </a:cubicBezTo>
                  <a:cubicBezTo>
                    <a:pt x="19030" y="12179"/>
                    <a:pt x="19092" y="11849"/>
                    <a:pt x="18889" y="11571"/>
                  </a:cubicBezTo>
                  <a:cubicBezTo>
                    <a:pt x="18678" y="11281"/>
                    <a:pt x="18391" y="11325"/>
                    <a:pt x="18200" y="10967"/>
                  </a:cubicBezTo>
                  <a:cubicBezTo>
                    <a:pt x="17670" y="9978"/>
                    <a:pt x="17616" y="8867"/>
                    <a:pt x="16709" y="8355"/>
                  </a:cubicBezTo>
                  <a:cubicBezTo>
                    <a:pt x="15886" y="7891"/>
                    <a:pt x="16132" y="7454"/>
                    <a:pt x="16377" y="6580"/>
                  </a:cubicBezTo>
                  <a:cubicBezTo>
                    <a:pt x="16485" y="6195"/>
                    <a:pt x="16592" y="5681"/>
                    <a:pt x="16644" y="5196"/>
                  </a:cubicBezTo>
                  <a:cubicBezTo>
                    <a:pt x="16374" y="5127"/>
                    <a:pt x="16262" y="4600"/>
                    <a:pt x="15938" y="4471"/>
                  </a:cubicBezTo>
                  <a:cubicBezTo>
                    <a:pt x="15710" y="4380"/>
                    <a:pt x="15494" y="4355"/>
                    <a:pt x="15301" y="4149"/>
                  </a:cubicBezTo>
                  <a:cubicBezTo>
                    <a:pt x="15134" y="3971"/>
                    <a:pt x="15033" y="3686"/>
                    <a:pt x="14918" y="3442"/>
                  </a:cubicBezTo>
                  <a:cubicBezTo>
                    <a:pt x="14749" y="3088"/>
                    <a:pt x="14624" y="2745"/>
                    <a:pt x="14485" y="2369"/>
                  </a:cubicBezTo>
                  <a:cubicBezTo>
                    <a:pt x="14344" y="1986"/>
                    <a:pt x="14244" y="1473"/>
                    <a:pt x="13994" y="1189"/>
                  </a:cubicBezTo>
                  <a:cubicBezTo>
                    <a:pt x="13574" y="713"/>
                    <a:pt x="13076" y="459"/>
                    <a:pt x="12576" y="209"/>
                  </a:cubicBezTo>
                  <a:cubicBezTo>
                    <a:pt x="12467" y="240"/>
                    <a:pt x="12342" y="258"/>
                    <a:pt x="12234" y="258"/>
                  </a:cubicBezTo>
                  <a:lnTo>
                    <a:pt x="8246" y="0"/>
                  </a:lnTo>
                  <a:lnTo>
                    <a:pt x="8246" y="516"/>
                  </a:lnTo>
                  <a:lnTo>
                    <a:pt x="7338" y="516"/>
                  </a:lnTo>
                  <a:lnTo>
                    <a:pt x="7338" y="1419"/>
                  </a:lnTo>
                  <a:cubicBezTo>
                    <a:pt x="6871" y="1419"/>
                    <a:pt x="6405" y="1419"/>
                    <a:pt x="5938" y="1419"/>
                  </a:cubicBezTo>
                  <a:cubicBezTo>
                    <a:pt x="5642" y="1419"/>
                    <a:pt x="5329" y="1457"/>
                    <a:pt x="5038" y="1380"/>
                  </a:cubicBezTo>
                  <a:cubicBezTo>
                    <a:pt x="4638" y="1274"/>
                    <a:pt x="4255" y="962"/>
                    <a:pt x="3836" y="989"/>
                  </a:cubicBezTo>
                  <a:cubicBezTo>
                    <a:pt x="3496" y="1011"/>
                    <a:pt x="3328" y="1297"/>
                    <a:pt x="3063" y="1513"/>
                  </a:cubicBezTo>
                  <a:cubicBezTo>
                    <a:pt x="3040" y="2093"/>
                    <a:pt x="2895" y="2325"/>
                    <a:pt x="2449" y="2322"/>
                  </a:cubicBezTo>
                  <a:cubicBezTo>
                    <a:pt x="2113" y="2321"/>
                    <a:pt x="1790" y="2236"/>
                    <a:pt x="1438" y="2236"/>
                  </a:cubicBezTo>
                  <a:cubicBezTo>
                    <a:pt x="751" y="2236"/>
                    <a:pt x="394" y="2603"/>
                    <a:pt x="0" y="3057"/>
                  </a:cubicBezTo>
                  <a:cubicBezTo>
                    <a:pt x="230" y="3391"/>
                    <a:pt x="480" y="3696"/>
                    <a:pt x="788" y="4001"/>
                  </a:cubicBezTo>
                  <a:cubicBezTo>
                    <a:pt x="1341" y="4547"/>
                    <a:pt x="1843" y="5202"/>
                    <a:pt x="2275" y="5921"/>
                  </a:cubicBezTo>
                  <a:cubicBezTo>
                    <a:pt x="2654" y="6552"/>
                    <a:pt x="3073" y="7133"/>
                    <a:pt x="3375" y="7837"/>
                  </a:cubicBezTo>
                  <a:cubicBezTo>
                    <a:pt x="3560" y="8270"/>
                    <a:pt x="3713" y="8790"/>
                    <a:pt x="4013" y="9111"/>
                  </a:cubicBezTo>
                  <a:cubicBezTo>
                    <a:pt x="4288" y="9405"/>
                    <a:pt x="4639" y="9632"/>
                    <a:pt x="4938" y="9900"/>
                  </a:cubicBezTo>
                  <a:cubicBezTo>
                    <a:pt x="5265" y="10195"/>
                    <a:pt x="5623" y="10433"/>
                    <a:pt x="5975" y="10657"/>
                  </a:cubicBezTo>
                  <a:cubicBezTo>
                    <a:pt x="6312" y="10871"/>
                    <a:pt x="6677" y="10992"/>
                    <a:pt x="7014" y="11171"/>
                  </a:cubicBezTo>
                  <a:cubicBezTo>
                    <a:pt x="7353" y="11352"/>
                    <a:pt x="7356" y="11543"/>
                    <a:pt x="7403" y="11997"/>
                  </a:cubicBezTo>
                  <a:cubicBezTo>
                    <a:pt x="7479" y="12738"/>
                    <a:pt x="7902" y="13142"/>
                    <a:pt x="8117" y="13839"/>
                  </a:cubicBezTo>
                  <a:cubicBezTo>
                    <a:pt x="8296" y="14419"/>
                    <a:pt x="8173" y="15664"/>
                    <a:pt x="8570" y="16096"/>
                  </a:cubicBezTo>
                  <a:cubicBezTo>
                    <a:pt x="8668" y="16202"/>
                    <a:pt x="8745" y="16262"/>
                    <a:pt x="8889" y="16207"/>
                  </a:cubicBezTo>
                  <a:cubicBezTo>
                    <a:pt x="8926" y="16077"/>
                    <a:pt x="8940" y="15936"/>
                    <a:pt x="8932" y="15790"/>
                  </a:cubicBezTo>
                  <a:cubicBezTo>
                    <a:pt x="9167" y="15728"/>
                    <a:pt x="9362" y="15954"/>
                    <a:pt x="9550" y="16075"/>
                  </a:cubicBezTo>
                  <a:cubicBezTo>
                    <a:pt x="9687" y="16163"/>
                    <a:pt x="9718" y="16064"/>
                    <a:pt x="9835" y="16223"/>
                  </a:cubicBezTo>
                  <a:cubicBezTo>
                    <a:pt x="9842" y="16231"/>
                    <a:pt x="9848" y="16245"/>
                    <a:pt x="9855" y="16257"/>
                  </a:cubicBezTo>
                  <a:cubicBezTo>
                    <a:pt x="10021" y="16115"/>
                    <a:pt x="10196" y="15985"/>
                    <a:pt x="10352" y="15844"/>
                  </a:cubicBezTo>
                  <a:cubicBezTo>
                    <a:pt x="10591" y="15628"/>
                    <a:pt x="10805" y="15367"/>
                    <a:pt x="11118" y="15408"/>
                  </a:cubicBezTo>
                  <a:cubicBezTo>
                    <a:pt x="11617" y="15472"/>
                    <a:pt x="11903" y="16223"/>
                    <a:pt x="12292" y="16584"/>
                  </a:cubicBezTo>
                  <a:cubicBezTo>
                    <a:pt x="12766" y="17025"/>
                    <a:pt x="13253" y="17482"/>
                    <a:pt x="13750" y="17890"/>
                  </a:cubicBezTo>
                  <a:cubicBezTo>
                    <a:pt x="14265" y="18314"/>
                    <a:pt x="14652" y="18802"/>
                    <a:pt x="15260" y="19044"/>
                  </a:cubicBezTo>
                  <a:cubicBezTo>
                    <a:pt x="16194" y="19418"/>
                    <a:pt x="17196" y="19260"/>
                    <a:pt x="18055" y="19941"/>
                  </a:cubicBezTo>
                  <a:cubicBezTo>
                    <a:pt x="18412" y="20225"/>
                    <a:pt x="18537" y="20717"/>
                    <a:pt x="18813" y="21117"/>
                  </a:cubicBezTo>
                  <a:cubicBezTo>
                    <a:pt x="18910" y="21257"/>
                    <a:pt x="19019" y="21383"/>
                    <a:pt x="19129" y="21506"/>
                  </a:cubicBezTo>
                  <a:cubicBezTo>
                    <a:pt x="19186" y="21443"/>
                    <a:pt x="19272" y="21397"/>
                    <a:pt x="19398" y="21375"/>
                  </a:cubicBezTo>
                  <a:cubicBezTo>
                    <a:pt x="19656" y="21330"/>
                    <a:pt x="19944" y="21600"/>
                    <a:pt x="20172" y="21365"/>
                  </a:cubicBezTo>
                  <a:cubicBezTo>
                    <a:pt x="20380" y="21150"/>
                    <a:pt x="20303" y="20601"/>
                    <a:pt x="20526" y="20386"/>
                  </a:cubicBezTo>
                  <a:cubicBezTo>
                    <a:pt x="20587" y="20328"/>
                    <a:pt x="20619" y="20287"/>
                    <a:pt x="20653" y="20273"/>
                  </a:cubicBezTo>
                  <a:cubicBezTo>
                    <a:pt x="20639" y="20039"/>
                    <a:pt x="20589" y="19818"/>
                    <a:pt x="20504" y="19612"/>
                  </a:cubicBezTo>
                  <a:cubicBezTo>
                    <a:pt x="20219" y="18917"/>
                    <a:pt x="20698" y="19194"/>
                    <a:pt x="21054" y="18968"/>
                  </a:cubicBezTo>
                  <a:close/>
                  <a:moveTo>
                    <a:pt x="21054" y="18968"/>
                  </a:moveTo>
                </a:path>
              </a:pathLst>
            </a:custGeom>
            <a:solidFill>
              <a:srgbClr val="C0C0C0"/>
            </a:solidFill>
            <a:ln w="3175">
              <a:solidFill>
                <a:schemeClr val="bg1">
                  <a:lumMod val="85000"/>
                </a:schemeClr>
              </a:solidFill>
            </a:ln>
          </p:spPr>
          <p:txBody>
            <a:bodyPr lIns="0" tIns="0" rIns="0" bIns="0"/>
            <a:lstStyle/>
            <a:p>
              <a:endParaRPr lang="en-US"/>
            </a:p>
          </p:txBody>
        </p:sp>
        <p:sp>
          <p:nvSpPr>
            <p:cNvPr id="169" name="AutoShape 463">
              <a:extLst>
                <a:ext uri="{FF2B5EF4-FFF2-40B4-BE49-F238E27FC236}">
                  <a16:creationId xmlns:a16="http://schemas.microsoft.com/office/drawing/2014/main" id="{074749FE-C6DB-AB41-8C6B-6ECA01B93CE7}"/>
                </a:ext>
              </a:extLst>
            </p:cNvPr>
            <p:cNvSpPr>
              <a:spLocks/>
            </p:cNvSpPr>
            <p:nvPr/>
          </p:nvSpPr>
          <p:spPr bwMode="auto">
            <a:xfrm>
              <a:off x="4642265" y="3036706"/>
              <a:ext cx="244054" cy="352115"/>
            </a:xfrm>
            <a:custGeom>
              <a:avLst/>
              <a:gdLst/>
              <a:ahLst/>
              <a:cxnLst/>
              <a:rect l="0" t="0" r="r" b="b"/>
              <a:pathLst>
                <a:path w="21085" h="21067">
                  <a:moveTo>
                    <a:pt x="16081" y="20605"/>
                  </a:moveTo>
                  <a:cubicBezTo>
                    <a:pt x="16142" y="20180"/>
                    <a:pt x="15670" y="20013"/>
                    <a:pt x="16015" y="19525"/>
                  </a:cubicBezTo>
                  <a:cubicBezTo>
                    <a:pt x="16307" y="19112"/>
                    <a:pt x="16573" y="18996"/>
                    <a:pt x="16391" y="18488"/>
                  </a:cubicBezTo>
                  <a:cubicBezTo>
                    <a:pt x="16284" y="18191"/>
                    <a:pt x="15760" y="17835"/>
                    <a:pt x="15832" y="17542"/>
                  </a:cubicBezTo>
                  <a:cubicBezTo>
                    <a:pt x="15880" y="17347"/>
                    <a:pt x="16296" y="17427"/>
                    <a:pt x="16276" y="17092"/>
                  </a:cubicBezTo>
                  <a:cubicBezTo>
                    <a:pt x="16264" y="16879"/>
                    <a:pt x="15954" y="16795"/>
                    <a:pt x="15952" y="16554"/>
                  </a:cubicBezTo>
                  <a:cubicBezTo>
                    <a:pt x="15946" y="15826"/>
                    <a:pt x="18748" y="16183"/>
                    <a:pt x="19531" y="16103"/>
                  </a:cubicBezTo>
                  <a:cubicBezTo>
                    <a:pt x="20282" y="16026"/>
                    <a:pt x="21083" y="15940"/>
                    <a:pt x="21085" y="15340"/>
                  </a:cubicBezTo>
                  <a:cubicBezTo>
                    <a:pt x="21087" y="14760"/>
                    <a:pt x="20426" y="14207"/>
                    <a:pt x="19850" y="13809"/>
                  </a:cubicBezTo>
                  <a:cubicBezTo>
                    <a:pt x="19344" y="13459"/>
                    <a:pt x="18873" y="13283"/>
                    <a:pt x="18876" y="12730"/>
                  </a:cubicBezTo>
                  <a:cubicBezTo>
                    <a:pt x="18880" y="11911"/>
                    <a:pt x="19685" y="11221"/>
                    <a:pt x="19714" y="10389"/>
                  </a:cubicBezTo>
                  <a:cubicBezTo>
                    <a:pt x="19736" y="9734"/>
                    <a:pt x="19600" y="8837"/>
                    <a:pt x="18946" y="8321"/>
                  </a:cubicBezTo>
                  <a:cubicBezTo>
                    <a:pt x="18511" y="7978"/>
                    <a:pt x="18025" y="7688"/>
                    <a:pt x="17753" y="7248"/>
                  </a:cubicBezTo>
                  <a:cubicBezTo>
                    <a:pt x="17522" y="6875"/>
                    <a:pt x="17733" y="6490"/>
                    <a:pt x="17579" y="6113"/>
                  </a:cubicBezTo>
                  <a:cubicBezTo>
                    <a:pt x="17412" y="5703"/>
                    <a:pt x="16687" y="5376"/>
                    <a:pt x="16329" y="5033"/>
                  </a:cubicBezTo>
                  <a:cubicBezTo>
                    <a:pt x="15875" y="4598"/>
                    <a:pt x="15503" y="4087"/>
                    <a:pt x="15172" y="3593"/>
                  </a:cubicBezTo>
                  <a:cubicBezTo>
                    <a:pt x="14551" y="2665"/>
                    <a:pt x="14097" y="1577"/>
                    <a:pt x="13273" y="758"/>
                  </a:cubicBezTo>
                  <a:cubicBezTo>
                    <a:pt x="12260" y="-250"/>
                    <a:pt x="10730" y="28"/>
                    <a:pt x="9229" y="56"/>
                  </a:cubicBezTo>
                  <a:cubicBezTo>
                    <a:pt x="9252" y="182"/>
                    <a:pt x="9299" y="307"/>
                    <a:pt x="9402" y="446"/>
                  </a:cubicBezTo>
                  <a:cubicBezTo>
                    <a:pt x="9570" y="673"/>
                    <a:pt x="9887" y="1004"/>
                    <a:pt x="9671" y="1264"/>
                  </a:cubicBezTo>
                  <a:cubicBezTo>
                    <a:pt x="9438" y="1544"/>
                    <a:pt x="8894" y="1443"/>
                    <a:pt x="8645" y="1768"/>
                  </a:cubicBezTo>
                  <a:cubicBezTo>
                    <a:pt x="8403" y="2085"/>
                    <a:pt x="8479" y="2380"/>
                    <a:pt x="8171" y="2672"/>
                  </a:cubicBezTo>
                  <a:cubicBezTo>
                    <a:pt x="7777" y="3046"/>
                    <a:pt x="7316" y="3422"/>
                    <a:pt x="6902" y="3798"/>
                  </a:cubicBezTo>
                  <a:cubicBezTo>
                    <a:pt x="6202" y="4434"/>
                    <a:pt x="5265" y="4795"/>
                    <a:pt x="4128" y="4910"/>
                  </a:cubicBezTo>
                  <a:cubicBezTo>
                    <a:pt x="3650" y="4959"/>
                    <a:pt x="3152" y="4939"/>
                    <a:pt x="2664" y="4943"/>
                  </a:cubicBezTo>
                  <a:cubicBezTo>
                    <a:pt x="2036" y="4948"/>
                    <a:pt x="1893" y="5173"/>
                    <a:pt x="1348" y="5282"/>
                  </a:cubicBezTo>
                  <a:cubicBezTo>
                    <a:pt x="1220" y="5308"/>
                    <a:pt x="1109" y="5309"/>
                    <a:pt x="1008" y="5295"/>
                  </a:cubicBezTo>
                  <a:cubicBezTo>
                    <a:pt x="904" y="5802"/>
                    <a:pt x="689" y="6340"/>
                    <a:pt x="473" y="6743"/>
                  </a:cubicBezTo>
                  <a:cubicBezTo>
                    <a:pt x="-19" y="7657"/>
                    <a:pt x="-513" y="8114"/>
                    <a:pt x="1137" y="8601"/>
                  </a:cubicBezTo>
                  <a:cubicBezTo>
                    <a:pt x="2954" y="9137"/>
                    <a:pt x="3063" y="10299"/>
                    <a:pt x="4124" y="11334"/>
                  </a:cubicBezTo>
                  <a:cubicBezTo>
                    <a:pt x="4508" y="11708"/>
                    <a:pt x="5084" y="11662"/>
                    <a:pt x="5506" y="11965"/>
                  </a:cubicBezTo>
                  <a:cubicBezTo>
                    <a:pt x="5912" y="12256"/>
                    <a:pt x="5789" y="12602"/>
                    <a:pt x="5884" y="13001"/>
                  </a:cubicBezTo>
                  <a:cubicBezTo>
                    <a:pt x="6108" y="13954"/>
                    <a:pt x="6985" y="14493"/>
                    <a:pt x="7782" y="15239"/>
                  </a:cubicBezTo>
                  <a:cubicBezTo>
                    <a:pt x="8410" y="15826"/>
                    <a:pt x="8894" y="16458"/>
                    <a:pt x="9456" y="17094"/>
                  </a:cubicBezTo>
                  <a:cubicBezTo>
                    <a:pt x="9911" y="17611"/>
                    <a:pt x="10939" y="19341"/>
                    <a:pt x="9844" y="19706"/>
                  </a:cubicBezTo>
                  <a:cubicBezTo>
                    <a:pt x="9132" y="19943"/>
                    <a:pt x="8170" y="19653"/>
                    <a:pt x="8742" y="20380"/>
                  </a:cubicBezTo>
                  <a:cubicBezTo>
                    <a:pt x="8860" y="20529"/>
                    <a:pt x="8941" y="20685"/>
                    <a:pt x="8991" y="20848"/>
                  </a:cubicBezTo>
                  <a:cubicBezTo>
                    <a:pt x="11058" y="21008"/>
                    <a:pt x="15975" y="21350"/>
                    <a:pt x="16081" y="20605"/>
                  </a:cubicBezTo>
                  <a:close/>
                  <a:moveTo>
                    <a:pt x="16081" y="20605"/>
                  </a:moveTo>
                </a:path>
              </a:pathLst>
            </a:custGeom>
            <a:solidFill>
              <a:srgbClr val="C0C0C0"/>
            </a:solidFill>
            <a:ln w="3175">
              <a:solidFill>
                <a:schemeClr val="bg1">
                  <a:lumMod val="85000"/>
                </a:schemeClr>
              </a:solidFill>
            </a:ln>
          </p:spPr>
          <p:txBody>
            <a:bodyPr lIns="0" tIns="0" rIns="0" bIns="0"/>
            <a:lstStyle/>
            <a:p>
              <a:endParaRPr lang="en-US"/>
            </a:p>
          </p:txBody>
        </p:sp>
        <p:sp>
          <p:nvSpPr>
            <p:cNvPr id="170" name="AutoShape 479">
              <a:extLst>
                <a:ext uri="{FF2B5EF4-FFF2-40B4-BE49-F238E27FC236}">
                  <a16:creationId xmlns:a16="http://schemas.microsoft.com/office/drawing/2014/main" id="{4BBE0C34-B6A1-8546-AA8E-C7710193A7C0}"/>
                </a:ext>
              </a:extLst>
            </p:cNvPr>
            <p:cNvSpPr>
              <a:spLocks/>
            </p:cNvSpPr>
            <p:nvPr/>
          </p:nvSpPr>
          <p:spPr bwMode="auto">
            <a:xfrm>
              <a:off x="4741580" y="2993821"/>
              <a:ext cx="414470" cy="310076"/>
            </a:xfrm>
            <a:custGeom>
              <a:avLst/>
              <a:gdLst/>
              <a:ahLst/>
              <a:cxnLst/>
              <a:rect l="0" t="0" r="r" b="b"/>
              <a:pathLst>
                <a:path w="21274" h="21498">
                  <a:moveTo>
                    <a:pt x="9073" y="15656"/>
                  </a:moveTo>
                  <a:cubicBezTo>
                    <a:pt x="9510" y="15218"/>
                    <a:pt x="9704" y="14500"/>
                    <a:pt x="10230" y="14170"/>
                  </a:cubicBezTo>
                  <a:cubicBezTo>
                    <a:pt x="10646" y="13910"/>
                    <a:pt x="11148" y="13889"/>
                    <a:pt x="11621" y="13953"/>
                  </a:cubicBezTo>
                  <a:cubicBezTo>
                    <a:pt x="12572" y="14083"/>
                    <a:pt x="13576" y="14109"/>
                    <a:pt x="14575" y="14109"/>
                  </a:cubicBezTo>
                  <a:cubicBezTo>
                    <a:pt x="15100" y="14110"/>
                    <a:pt x="15450" y="13970"/>
                    <a:pt x="15620" y="14735"/>
                  </a:cubicBezTo>
                  <a:cubicBezTo>
                    <a:pt x="15750" y="15321"/>
                    <a:pt x="15588" y="16188"/>
                    <a:pt x="15546" y="16768"/>
                  </a:cubicBezTo>
                  <a:cubicBezTo>
                    <a:pt x="15452" y="18079"/>
                    <a:pt x="15267" y="18865"/>
                    <a:pt x="15564" y="20120"/>
                  </a:cubicBezTo>
                  <a:cubicBezTo>
                    <a:pt x="15774" y="21006"/>
                    <a:pt x="15886" y="21385"/>
                    <a:pt x="16581" y="21483"/>
                  </a:cubicBezTo>
                  <a:cubicBezTo>
                    <a:pt x="17418" y="21600"/>
                    <a:pt x="18359" y="21054"/>
                    <a:pt x="18729" y="19955"/>
                  </a:cubicBezTo>
                  <a:cubicBezTo>
                    <a:pt x="18923" y="19379"/>
                    <a:pt x="18624" y="18580"/>
                    <a:pt x="18812" y="18020"/>
                  </a:cubicBezTo>
                  <a:cubicBezTo>
                    <a:pt x="18985" y="17501"/>
                    <a:pt x="19743" y="17475"/>
                    <a:pt x="19557" y="16764"/>
                  </a:cubicBezTo>
                  <a:cubicBezTo>
                    <a:pt x="19402" y="16171"/>
                    <a:pt x="18497" y="16348"/>
                    <a:pt x="18263" y="15771"/>
                  </a:cubicBezTo>
                  <a:cubicBezTo>
                    <a:pt x="17908" y="14893"/>
                    <a:pt x="18771" y="14975"/>
                    <a:pt x="18975" y="14579"/>
                  </a:cubicBezTo>
                  <a:cubicBezTo>
                    <a:pt x="19386" y="13780"/>
                    <a:pt x="18880" y="13496"/>
                    <a:pt x="19832" y="13484"/>
                  </a:cubicBezTo>
                  <a:cubicBezTo>
                    <a:pt x="20239" y="13479"/>
                    <a:pt x="21047" y="13672"/>
                    <a:pt x="21236" y="13018"/>
                  </a:cubicBezTo>
                  <a:cubicBezTo>
                    <a:pt x="21480" y="12177"/>
                    <a:pt x="20467" y="11934"/>
                    <a:pt x="20075" y="11842"/>
                  </a:cubicBezTo>
                  <a:cubicBezTo>
                    <a:pt x="19631" y="11737"/>
                    <a:pt x="18904" y="11883"/>
                    <a:pt x="18512" y="11591"/>
                  </a:cubicBezTo>
                  <a:cubicBezTo>
                    <a:pt x="18153" y="11324"/>
                    <a:pt x="18146" y="10943"/>
                    <a:pt x="18032" y="10450"/>
                  </a:cubicBezTo>
                  <a:cubicBezTo>
                    <a:pt x="17905" y="9902"/>
                    <a:pt x="17866" y="9943"/>
                    <a:pt x="17586" y="9554"/>
                  </a:cubicBezTo>
                  <a:cubicBezTo>
                    <a:pt x="16841" y="8524"/>
                    <a:pt x="17236" y="7711"/>
                    <a:pt x="17668" y="6802"/>
                  </a:cubicBezTo>
                  <a:cubicBezTo>
                    <a:pt x="17521" y="6530"/>
                    <a:pt x="17823" y="6066"/>
                    <a:pt x="17655" y="5753"/>
                  </a:cubicBezTo>
                  <a:cubicBezTo>
                    <a:pt x="17425" y="5324"/>
                    <a:pt x="17071" y="5757"/>
                    <a:pt x="16850" y="5887"/>
                  </a:cubicBezTo>
                  <a:cubicBezTo>
                    <a:pt x="16169" y="6287"/>
                    <a:pt x="15592" y="6084"/>
                    <a:pt x="15270" y="5221"/>
                  </a:cubicBezTo>
                  <a:cubicBezTo>
                    <a:pt x="15109" y="4788"/>
                    <a:pt x="14874" y="4771"/>
                    <a:pt x="14758" y="4282"/>
                  </a:cubicBezTo>
                  <a:cubicBezTo>
                    <a:pt x="14644" y="3802"/>
                    <a:pt x="14693" y="3167"/>
                    <a:pt x="14527" y="2719"/>
                  </a:cubicBezTo>
                  <a:cubicBezTo>
                    <a:pt x="14199" y="1831"/>
                    <a:pt x="13477" y="2875"/>
                    <a:pt x="12920" y="2605"/>
                  </a:cubicBezTo>
                  <a:cubicBezTo>
                    <a:pt x="12834" y="1981"/>
                    <a:pt x="13317" y="1460"/>
                    <a:pt x="13148" y="841"/>
                  </a:cubicBezTo>
                  <a:cubicBezTo>
                    <a:pt x="13006" y="319"/>
                    <a:pt x="12584" y="197"/>
                    <a:pt x="12219" y="0"/>
                  </a:cubicBezTo>
                  <a:cubicBezTo>
                    <a:pt x="11955" y="478"/>
                    <a:pt x="10495" y="272"/>
                    <a:pt x="10122" y="273"/>
                  </a:cubicBezTo>
                  <a:cubicBezTo>
                    <a:pt x="9129" y="275"/>
                    <a:pt x="8136" y="278"/>
                    <a:pt x="7143" y="280"/>
                  </a:cubicBezTo>
                  <a:cubicBezTo>
                    <a:pt x="5296" y="285"/>
                    <a:pt x="3450" y="290"/>
                    <a:pt x="1604" y="294"/>
                  </a:cubicBezTo>
                  <a:cubicBezTo>
                    <a:pt x="1406" y="323"/>
                    <a:pt x="1198" y="289"/>
                    <a:pt x="991" y="257"/>
                  </a:cubicBezTo>
                  <a:cubicBezTo>
                    <a:pt x="990" y="264"/>
                    <a:pt x="991" y="270"/>
                    <a:pt x="990" y="277"/>
                  </a:cubicBezTo>
                  <a:cubicBezTo>
                    <a:pt x="895" y="840"/>
                    <a:pt x="-120" y="151"/>
                    <a:pt x="11" y="1245"/>
                  </a:cubicBezTo>
                  <a:cubicBezTo>
                    <a:pt x="60" y="1654"/>
                    <a:pt x="310" y="1900"/>
                    <a:pt x="330" y="2339"/>
                  </a:cubicBezTo>
                  <a:cubicBezTo>
                    <a:pt x="343" y="2616"/>
                    <a:pt x="331" y="2835"/>
                    <a:pt x="351" y="3053"/>
                  </a:cubicBezTo>
                  <a:cubicBezTo>
                    <a:pt x="1243" y="3020"/>
                    <a:pt x="2152" y="2698"/>
                    <a:pt x="2754" y="3865"/>
                  </a:cubicBezTo>
                  <a:cubicBezTo>
                    <a:pt x="3243" y="4815"/>
                    <a:pt x="3512" y="6075"/>
                    <a:pt x="3882" y="7150"/>
                  </a:cubicBezTo>
                  <a:cubicBezTo>
                    <a:pt x="4078" y="7722"/>
                    <a:pt x="4299" y="8314"/>
                    <a:pt x="4569" y="8818"/>
                  </a:cubicBezTo>
                  <a:cubicBezTo>
                    <a:pt x="4782" y="9215"/>
                    <a:pt x="5212" y="9594"/>
                    <a:pt x="5312" y="10069"/>
                  </a:cubicBezTo>
                  <a:cubicBezTo>
                    <a:pt x="5403" y="10506"/>
                    <a:pt x="5278" y="10952"/>
                    <a:pt x="5415" y="11384"/>
                  </a:cubicBezTo>
                  <a:cubicBezTo>
                    <a:pt x="5577" y="11893"/>
                    <a:pt x="5865" y="12229"/>
                    <a:pt x="6124" y="12626"/>
                  </a:cubicBezTo>
                  <a:cubicBezTo>
                    <a:pt x="6476" y="13169"/>
                    <a:pt x="6575" y="14073"/>
                    <a:pt x="6580" y="14802"/>
                  </a:cubicBezTo>
                  <a:cubicBezTo>
                    <a:pt x="7417" y="15267"/>
                    <a:pt x="8120" y="16613"/>
                    <a:pt x="9073" y="15656"/>
                  </a:cubicBezTo>
                  <a:close/>
                  <a:moveTo>
                    <a:pt x="9073" y="15656"/>
                  </a:moveTo>
                </a:path>
              </a:pathLst>
            </a:custGeom>
            <a:solidFill>
              <a:srgbClr val="C0C0C0"/>
            </a:solidFill>
            <a:ln w="3175">
              <a:solidFill>
                <a:schemeClr val="bg1">
                  <a:lumMod val="85000"/>
                </a:schemeClr>
              </a:solidFill>
            </a:ln>
          </p:spPr>
          <p:txBody>
            <a:bodyPr lIns="0" tIns="0" rIns="0" bIns="0"/>
            <a:lstStyle/>
            <a:p>
              <a:endParaRPr lang="en-US"/>
            </a:p>
          </p:txBody>
        </p:sp>
        <p:sp>
          <p:nvSpPr>
            <p:cNvPr id="171" name="AutoShape 499">
              <a:extLst>
                <a:ext uri="{FF2B5EF4-FFF2-40B4-BE49-F238E27FC236}">
                  <a16:creationId xmlns:a16="http://schemas.microsoft.com/office/drawing/2014/main" id="{B36F2F21-CB77-4B4E-BAB9-7B3234AB7DD3}"/>
                </a:ext>
              </a:extLst>
            </p:cNvPr>
            <p:cNvSpPr>
              <a:spLocks/>
            </p:cNvSpPr>
            <p:nvPr/>
          </p:nvSpPr>
          <p:spPr bwMode="auto">
            <a:xfrm>
              <a:off x="5125295" y="2801963"/>
              <a:ext cx="635106" cy="305844"/>
            </a:xfrm>
            <a:custGeom>
              <a:avLst/>
              <a:gdLst/>
              <a:ahLst/>
              <a:cxnLst/>
              <a:rect l="0" t="0" r="r" b="b"/>
              <a:pathLst>
                <a:path w="21513" h="21461">
                  <a:moveTo>
                    <a:pt x="4507" y="21289"/>
                  </a:moveTo>
                  <a:cubicBezTo>
                    <a:pt x="4631" y="21312"/>
                    <a:pt x="4858" y="21560"/>
                    <a:pt x="4976" y="21417"/>
                  </a:cubicBezTo>
                  <a:cubicBezTo>
                    <a:pt x="5059" y="21318"/>
                    <a:pt x="5155" y="20586"/>
                    <a:pt x="5214" y="20396"/>
                  </a:cubicBezTo>
                  <a:cubicBezTo>
                    <a:pt x="5423" y="19724"/>
                    <a:pt x="5476" y="18975"/>
                    <a:pt x="5644" y="18261"/>
                  </a:cubicBezTo>
                  <a:cubicBezTo>
                    <a:pt x="5723" y="17928"/>
                    <a:pt x="5829" y="17595"/>
                    <a:pt x="5959" y="17351"/>
                  </a:cubicBezTo>
                  <a:cubicBezTo>
                    <a:pt x="6146" y="17000"/>
                    <a:pt x="6173" y="16891"/>
                    <a:pt x="6184" y="16352"/>
                  </a:cubicBezTo>
                  <a:cubicBezTo>
                    <a:pt x="6204" y="15408"/>
                    <a:pt x="6284" y="14812"/>
                    <a:pt x="6719" y="14393"/>
                  </a:cubicBezTo>
                  <a:cubicBezTo>
                    <a:pt x="6992" y="14131"/>
                    <a:pt x="7290" y="14230"/>
                    <a:pt x="7556" y="13936"/>
                  </a:cubicBezTo>
                  <a:cubicBezTo>
                    <a:pt x="7820" y="13644"/>
                    <a:pt x="7942" y="13037"/>
                    <a:pt x="8257" y="12915"/>
                  </a:cubicBezTo>
                  <a:cubicBezTo>
                    <a:pt x="8537" y="12806"/>
                    <a:pt x="8862" y="13162"/>
                    <a:pt x="9113" y="12771"/>
                  </a:cubicBezTo>
                  <a:cubicBezTo>
                    <a:pt x="9443" y="12256"/>
                    <a:pt x="9471" y="11459"/>
                    <a:pt x="9912" y="11166"/>
                  </a:cubicBezTo>
                  <a:cubicBezTo>
                    <a:pt x="10089" y="11049"/>
                    <a:pt x="10337" y="10995"/>
                    <a:pt x="10518" y="11109"/>
                  </a:cubicBezTo>
                  <a:cubicBezTo>
                    <a:pt x="10675" y="11207"/>
                    <a:pt x="10745" y="11458"/>
                    <a:pt x="10867" y="11652"/>
                  </a:cubicBezTo>
                  <a:cubicBezTo>
                    <a:pt x="11019" y="11893"/>
                    <a:pt x="11124" y="11850"/>
                    <a:pt x="11307" y="11761"/>
                  </a:cubicBezTo>
                  <a:cubicBezTo>
                    <a:pt x="11552" y="11641"/>
                    <a:pt x="11534" y="11679"/>
                    <a:pt x="11611" y="12129"/>
                  </a:cubicBezTo>
                  <a:cubicBezTo>
                    <a:pt x="11734" y="12843"/>
                    <a:pt x="12162" y="12895"/>
                    <a:pt x="12453" y="13273"/>
                  </a:cubicBezTo>
                  <a:cubicBezTo>
                    <a:pt x="12890" y="13842"/>
                    <a:pt x="13097" y="14491"/>
                    <a:pt x="13638" y="13938"/>
                  </a:cubicBezTo>
                  <a:cubicBezTo>
                    <a:pt x="13897" y="13674"/>
                    <a:pt x="14150" y="13338"/>
                    <a:pt x="14357" y="12920"/>
                  </a:cubicBezTo>
                  <a:cubicBezTo>
                    <a:pt x="14450" y="12731"/>
                    <a:pt x="14505" y="12637"/>
                    <a:pt x="14605" y="12525"/>
                  </a:cubicBezTo>
                  <a:cubicBezTo>
                    <a:pt x="14681" y="12441"/>
                    <a:pt x="14744" y="12430"/>
                    <a:pt x="14814" y="12297"/>
                  </a:cubicBezTo>
                  <a:cubicBezTo>
                    <a:pt x="15072" y="11802"/>
                    <a:pt x="15046" y="10839"/>
                    <a:pt x="15320" y="10396"/>
                  </a:cubicBezTo>
                  <a:cubicBezTo>
                    <a:pt x="15669" y="9833"/>
                    <a:pt x="16157" y="10418"/>
                    <a:pt x="16541" y="10429"/>
                  </a:cubicBezTo>
                  <a:cubicBezTo>
                    <a:pt x="17087" y="10443"/>
                    <a:pt x="17659" y="10292"/>
                    <a:pt x="18202" y="10147"/>
                  </a:cubicBezTo>
                  <a:cubicBezTo>
                    <a:pt x="18465" y="10076"/>
                    <a:pt x="18731" y="10035"/>
                    <a:pt x="18971" y="9808"/>
                  </a:cubicBezTo>
                  <a:cubicBezTo>
                    <a:pt x="19229" y="9564"/>
                    <a:pt x="19445" y="9358"/>
                    <a:pt x="19734" y="9294"/>
                  </a:cubicBezTo>
                  <a:cubicBezTo>
                    <a:pt x="20015" y="9231"/>
                    <a:pt x="20298" y="9263"/>
                    <a:pt x="20579" y="9298"/>
                  </a:cubicBezTo>
                  <a:cubicBezTo>
                    <a:pt x="20776" y="9323"/>
                    <a:pt x="21222" y="9547"/>
                    <a:pt x="21394" y="9312"/>
                  </a:cubicBezTo>
                  <a:cubicBezTo>
                    <a:pt x="21600" y="9030"/>
                    <a:pt x="21480" y="8115"/>
                    <a:pt x="21459" y="7691"/>
                  </a:cubicBezTo>
                  <a:cubicBezTo>
                    <a:pt x="21416" y="6797"/>
                    <a:pt x="21442" y="5979"/>
                    <a:pt x="21477" y="5104"/>
                  </a:cubicBezTo>
                  <a:cubicBezTo>
                    <a:pt x="21517" y="4079"/>
                    <a:pt x="21456" y="3036"/>
                    <a:pt x="21452" y="2010"/>
                  </a:cubicBezTo>
                  <a:cubicBezTo>
                    <a:pt x="21452" y="1888"/>
                    <a:pt x="21447" y="136"/>
                    <a:pt x="21445" y="136"/>
                  </a:cubicBezTo>
                  <a:cubicBezTo>
                    <a:pt x="21445" y="136"/>
                    <a:pt x="12816" y="59"/>
                    <a:pt x="12816" y="59"/>
                  </a:cubicBezTo>
                  <a:cubicBezTo>
                    <a:pt x="12575" y="5"/>
                    <a:pt x="12214" y="-40"/>
                    <a:pt x="11975" y="58"/>
                  </a:cubicBezTo>
                  <a:cubicBezTo>
                    <a:pt x="11664" y="185"/>
                    <a:pt x="11345" y="619"/>
                    <a:pt x="11079" y="967"/>
                  </a:cubicBezTo>
                  <a:cubicBezTo>
                    <a:pt x="10728" y="1425"/>
                    <a:pt x="10573" y="2110"/>
                    <a:pt x="10298" y="2711"/>
                  </a:cubicBezTo>
                  <a:cubicBezTo>
                    <a:pt x="10176" y="2979"/>
                    <a:pt x="10007" y="3219"/>
                    <a:pt x="9855" y="3412"/>
                  </a:cubicBezTo>
                  <a:cubicBezTo>
                    <a:pt x="9504" y="3858"/>
                    <a:pt x="9120" y="4307"/>
                    <a:pt x="8788" y="4806"/>
                  </a:cubicBezTo>
                  <a:cubicBezTo>
                    <a:pt x="8629" y="5044"/>
                    <a:pt x="8473" y="5285"/>
                    <a:pt x="8307" y="5517"/>
                  </a:cubicBezTo>
                  <a:cubicBezTo>
                    <a:pt x="8001" y="5945"/>
                    <a:pt x="7668" y="6375"/>
                    <a:pt x="7484" y="7061"/>
                  </a:cubicBezTo>
                  <a:cubicBezTo>
                    <a:pt x="7313" y="7702"/>
                    <a:pt x="7282" y="8519"/>
                    <a:pt x="7154" y="9199"/>
                  </a:cubicBezTo>
                  <a:cubicBezTo>
                    <a:pt x="7024" y="9890"/>
                    <a:pt x="6988" y="10661"/>
                    <a:pt x="6605" y="10910"/>
                  </a:cubicBezTo>
                  <a:cubicBezTo>
                    <a:pt x="6260" y="11134"/>
                    <a:pt x="5852" y="10929"/>
                    <a:pt x="5533" y="10633"/>
                  </a:cubicBezTo>
                  <a:cubicBezTo>
                    <a:pt x="5220" y="10343"/>
                    <a:pt x="5069" y="9899"/>
                    <a:pt x="4732" y="10236"/>
                  </a:cubicBezTo>
                  <a:cubicBezTo>
                    <a:pt x="4408" y="10560"/>
                    <a:pt x="4120" y="10749"/>
                    <a:pt x="3752" y="10555"/>
                  </a:cubicBezTo>
                  <a:cubicBezTo>
                    <a:pt x="3512" y="10428"/>
                    <a:pt x="3070" y="10117"/>
                    <a:pt x="2876" y="9606"/>
                  </a:cubicBezTo>
                  <a:cubicBezTo>
                    <a:pt x="2742" y="9654"/>
                    <a:pt x="2557" y="9595"/>
                    <a:pt x="2457" y="9595"/>
                  </a:cubicBezTo>
                  <a:cubicBezTo>
                    <a:pt x="2164" y="9594"/>
                    <a:pt x="2080" y="9825"/>
                    <a:pt x="1884" y="10229"/>
                  </a:cubicBezTo>
                  <a:cubicBezTo>
                    <a:pt x="1737" y="10531"/>
                    <a:pt x="1540" y="10710"/>
                    <a:pt x="1368" y="10940"/>
                  </a:cubicBezTo>
                  <a:cubicBezTo>
                    <a:pt x="1297" y="11035"/>
                    <a:pt x="1232" y="11154"/>
                    <a:pt x="1168" y="11277"/>
                  </a:cubicBezTo>
                  <a:cubicBezTo>
                    <a:pt x="1170" y="11278"/>
                    <a:pt x="1171" y="11277"/>
                    <a:pt x="1173" y="11278"/>
                  </a:cubicBezTo>
                  <a:cubicBezTo>
                    <a:pt x="1186" y="11902"/>
                    <a:pt x="1216" y="12552"/>
                    <a:pt x="1165" y="13172"/>
                  </a:cubicBezTo>
                  <a:cubicBezTo>
                    <a:pt x="1090" y="14075"/>
                    <a:pt x="878" y="13887"/>
                    <a:pt x="489" y="13960"/>
                  </a:cubicBezTo>
                  <a:lnTo>
                    <a:pt x="463" y="19025"/>
                  </a:lnTo>
                  <a:cubicBezTo>
                    <a:pt x="481" y="19494"/>
                    <a:pt x="351" y="19485"/>
                    <a:pt x="214" y="19724"/>
                  </a:cubicBezTo>
                  <a:cubicBezTo>
                    <a:pt x="67" y="19980"/>
                    <a:pt x="52" y="20121"/>
                    <a:pt x="0" y="20493"/>
                  </a:cubicBezTo>
                  <a:cubicBezTo>
                    <a:pt x="1331" y="20742"/>
                    <a:pt x="2663" y="20991"/>
                    <a:pt x="3994" y="21241"/>
                  </a:cubicBezTo>
                  <a:cubicBezTo>
                    <a:pt x="4165" y="21273"/>
                    <a:pt x="4339" y="21259"/>
                    <a:pt x="4507" y="21289"/>
                  </a:cubicBezTo>
                  <a:close/>
                  <a:moveTo>
                    <a:pt x="4507" y="21289"/>
                  </a:moveTo>
                </a:path>
              </a:pathLst>
            </a:custGeom>
            <a:solidFill>
              <a:srgbClr val="C0C0C0"/>
            </a:solidFill>
            <a:ln w="3175">
              <a:solidFill>
                <a:schemeClr val="bg1">
                  <a:lumMod val="85000"/>
                </a:schemeClr>
              </a:solidFill>
            </a:ln>
          </p:spPr>
          <p:txBody>
            <a:bodyPr lIns="0" tIns="0" rIns="0" bIns="0"/>
            <a:lstStyle/>
            <a:p>
              <a:endParaRPr lang="en-US"/>
            </a:p>
          </p:txBody>
        </p:sp>
        <p:sp>
          <p:nvSpPr>
            <p:cNvPr id="172" name="AutoShape 519">
              <a:extLst>
                <a:ext uri="{FF2B5EF4-FFF2-40B4-BE49-F238E27FC236}">
                  <a16:creationId xmlns:a16="http://schemas.microsoft.com/office/drawing/2014/main" id="{C22CEBF4-B996-9244-BC79-784327904B78}"/>
                </a:ext>
              </a:extLst>
            </p:cNvPr>
            <p:cNvSpPr>
              <a:spLocks/>
            </p:cNvSpPr>
            <p:nvPr/>
          </p:nvSpPr>
          <p:spPr bwMode="auto">
            <a:xfrm>
              <a:off x="5274267" y="2928363"/>
              <a:ext cx="534098" cy="281016"/>
            </a:xfrm>
            <a:custGeom>
              <a:avLst/>
              <a:gdLst/>
              <a:ahLst/>
              <a:cxnLst/>
              <a:rect l="0" t="0" r="r" b="b"/>
              <a:pathLst>
                <a:path w="21582" h="21498">
                  <a:moveTo>
                    <a:pt x="652" y="14062"/>
                  </a:moveTo>
                  <a:cubicBezTo>
                    <a:pt x="789" y="14323"/>
                    <a:pt x="833" y="14893"/>
                    <a:pt x="898" y="15229"/>
                  </a:cubicBezTo>
                  <a:cubicBezTo>
                    <a:pt x="1078" y="16169"/>
                    <a:pt x="1258" y="17109"/>
                    <a:pt x="1439" y="18049"/>
                  </a:cubicBezTo>
                  <a:cubicBezTo>
                    <a:pt x="1597" y="18876"/>
                    <a:pt x="1744" y="19717"/>
                    <a:pt x="1915" y="20535"/>
                  </a:cubicBezTo>
                  <a:cubicBezTo>
                    <a:pt x="2139" y="21600"/>
                    <a:pt x="2818" y="21306"/>
                    <a:pt x="3293" y="21139"/>
                  </a:cubicBezTo>
                  <a:cubicBezTo>
                    <a:pt x="3847" y="20943"/>
                    <a:pt x="4311" y="20609"/>
                    <a:pt x="4821" y="20169"/>
                  </a:cubicBezTo>
                  <a:cubicBezTo>
                    <a:pt x="5711" y="19401"/>
                    <a:pt x="6669" y="19919"/>
                    <a:pt x="7540" y="20480"/>
                  </a:cubicBezTo>
                  <a:cubicBezTo>
                    <a:pt x="7937" y="20736"/>
                    <a:pt x="8336" y="21115"/>
                    <a:pt x="8747" y="21335"/>
                  </a:cubicBezTo>
                  <a:cubicBezTo>
                    <a:pt x="9208" y="21583"/>
                    <a:pt x="9741" y="21474"/>
                    <a:pt x="10228" y="21474"/>
                  </a:cubicBezTo>
                  <a:cubicBezTo>
                    <a:pt x="10568" y="21474"/>
                    <a:pt x="10893" y="21295"/>
                    <a:pt x="11232" y="21265"/>
                  </a:cubicBezTo>
                  <a:cubicBezTo>
                    <a:pt x="11578" y="21235"/>
                    <a:pt x="11936" y="21123"/>
                    <a:pt x="12257" y="20871"/>
                  </a:cubicBezTo>
                  <a:cubicBezTo>
                    <a:pt x="12457" y="20715"/>
                    <a:pt x="12651" y="20402"/>
                    <a:pt x="12850" y="20253"/>
                  </a:cubicBezTo>
                  <a:cubicBezTo>
                    <a:pt x="13056" y="20098"/>
                    <a:pt x="13329" y="20137"/>
                    <a:pt x="13557" y="20137"/>
                  </a:cubicBezTo>
                  <a:cubicBezTo>
                    <a:pt x="14032" y="20137"/>
                    <a:pt x="14275" y="19992"/>
                    <a:pt x="14679" y="19543"/>
                  </a:cubicBezTo>
                  <a:cubicBezTo>
                    <a:pt x="15114" y="19060"/>
                    <a:pt x="15519" y="18521"/>
                    <a:pt x="15905" y="17893"/>
                  </a:cubicBezTo>
                  <a:cubicBezTo>
                    <a:pt x="16329" y="17204"/>
                    <a:pt x="16823" y="16656"/>
                    <a:pt x="17136" y="15778"/>
                  </a:cubicBezTo>
                  <a:cubicBezTo>
                    <a:pt x="17285" y="15360"/>
                    <a:pt x="17439" y="14927"/>
                    <a:pt x="17638" y="14613"/>
                  </a:cubicBezTo>
                  <a:cubicBezTo>
                    <a:pt x="17844" y="14290"/>
                    <a:pt x="18131" y="14283"/>
                    <a:pt x="18354" y="14018"/>
                  </a:cubicBezTo>
                  <a:cubicBezTo>
                    <a:pt x="18596" y="13728"/>
                    <a:pt x="18741" y="13228"/>
                    <a:pt x="18965" y="12898"/>
                  </a:cubicBezTo>
                  <a:cubicBezTo>
                    <a:pt x="19223" y="12517"/>
                    <a:pt x="19511" y="12249"/>
                    <a:pt x="19769" y="11875"/>
                  </a:cubicBezTo>
                  <a:cubicBezTo>
                    <a:pt x="20224" y="11213"/>
                    <a:pt x="20553" y="10468"/>
                    <a:pt x="20925" y="9652"/>
                  </a:cubicBezTo>
                  <a:cubicBezTo>
                    <a:pt x="21239" y="8965"/>
                    <a:pt x="21600" y="8308"/>
                    <a:pt x="21582" y="7320"/>
                  </a:cubicBezTo>
                  <a:cubicBezTo>
                    <a:pt x="21574" y="6886"/>
                    <a:pt x="21448" y="6583"/>
                    <a:pt x="21370" y="6200"/>
                  </a:cubicBezTo>
                  <a:cubicBezTo>
                    <a:pt x="21307" y="5889"/>
                    <a:pt x="21315" y="5594"/>
                    <a:pt x="21366" y="5314"/>
                  </a:cubicBezTo>
                  <a:cubicBezTo>
                    <a:pt x="21296" y="5207"/>
                    <a:pt x="21225" y="5104"/>
                    <a:pt x="21149" y="5011"/>
                  </a:cubicBezTo>
                  <a:cubicBezTo>
                    <a:pt x="21002" y="4830"/>
                    <a:pt x="20846" y="4737"/>
                    <a:pt x="20719" y="4488"/>
                  </a:cubicBezTo>
                  <a:cubicBezTo>
                    <a:pt x="20562" y="4178"/>
                    <a:pt x="20509" y="3723"/>
                    <a:pt x="20329" y="3451"/>
                  </a:cubicBezTo>
                  <a:cubicBezTo>
                    <a:pt x="20112" y="3124"/>
                    <a:pt x="19657" y="3171"/>
                    <a:pt x="19659" y="2487"/>
                  </a:cubicBezTo>
                  <a:cubicBezTo>
                    <a:pt x="19660" y="2070"/>
                    <a:pt x="19645" y="1650"/>
                    <a:pt x="19654" y="1233"/>
                  </a:cubicBezTo>
                  <a:cubicBezTo>
                    <a:pt x="19662" y="827"/>
                    <a:pt x="19719" y="404"/>
                    <a:pt x="19650" y="0"/>
                  </a:cubicBezTo>
                  <a:cubicBezTo>
                    <a:pt x="19612" y="43"/>
                    <a:pt x="19604" y="130"/>
                    <a:pt x="19583" y="200"/>
                  </a:cubicBezTo>
                  <a:cubicBezTo>
                    <a:pt x="19452" y="643"/>
                    <a:pt x="19098" y="496"/>
                    <a:pt x="18878" y="456"/>
                  </a:cubicBezTo>
                  <a:cubicBezTo>
                    <a:pt x="18763" y="435"/>
                    <a:pt x="18648" y="354"/>
                    <a:pt x="18534" y="330"/>
                  </a:cubicBezTo>
                  <a:cubicBezTo>
                    <a:pt x="18423" y="307"/>
                    <a:pt x="18301" y="315"/>
                    <a:pt x="18185" y="315"/>
                  </a:cubicBezTo>
                  <a:cubicBezTo>
                    <a:pt x="17910" y="315"/>
                    <a:pt x="17656" y="363"/>
                    <a:pt x="17395" y="431"/>
                  </a:cubicBezTo>
                  <a:cubicBezTo>
                    <a:pt x="17257" y="466"/>
                    <a:pt x="17151" y="561"/>
                    <a:pt x="17022" y="657"/>
                  </a:cubicBezTo>
                  <a:cubicBezTo>
                    <a:pt x="16924" y="730"/>
                    <a:pt x="16834" y="838"/>
                    <a:pt x="16736" y="914"/>
                  </a:cubicBezTo>
                  <a:cubicBezTo>
                    <a:pt x="16639" y="991"/>
                    <a:pt x="16536" y="1016"/>
                    <a:pt x="16436" y="1075"/>
                  </a:cubicBezTo>
                  <a:cubicBezTo>
                    <a:pt x="16211" y="1209"/>
                    <a:pt x="15974" y="1263"/>
                    <a:pt x="15740" y="1320"/>
                  </a:cubicBezTo>
                  <a:cubicBezTo>
                    <a:pt x="15093" y="1479"/>
                    <a:pt x="14411" y="1643"/>
                    <a:pt x="13759" y="1627"/>
                  </a:cubicBezTo>
                  <a:cubicBezTo>
                    <a:pt x="13301" y="1616"/>
                    <a:pt x="12719" y="978"/>
                    <a:pt x="12303" y="1592"/>
                  </a:cubicBezTo>
                  <a:cubicBezTo>
                    <a:pt x="11976" y="2075"/>
                    <a:pt x="12006" y="3126"/>
                    <a:pt x="11699" y="3665"/>
                  </a:cubicBezTo>
                  <a:cubicBezTo>
                    <a:pt x="11616" y="3810"/>
                    <a:pt x="11540" y="3822"/>
                    <a:pt x="11450" y="3914"/>
                  </a:cubicBezTo>
                  <a:cubicBezTo>
                    <a:pt x="11331" y="4036"/>
                    <a:pt x="11265" y="4138"/>
                    <a:pt x="11154" y="4344"/>
                  </a:cubicBezTo>
                  <a:cubicBezTo>
                    <a:pt x="10907" y="4801"/>
                    <a:pt x="10605" y="5167"/>
                    <a:pt x="10297" y="5455"/>
                  </a:cubicBezTo>
                  <a:cubicBezTo>
                    <a:pt x="9651" y="6058"/>
                    <a:pt x="9404" y="5350"/>
                    <a:pt x="8883" y="4730"/>
                  </a:cubicBezTo>
                  <a:cubicBezTo>
                    <a:pt x="8536" y="4318"/>
                    <a:pt x="8026" y="4260"/>
                    <a:pt x="7879" y="3482"/>
                  </a:cubicBezTo>
                  <a:cubicBezTo>
                    <a:pt x="7787" y="2991"/>
                    <a:pt x="7809" y="2950"/>
                    <a:pt x="7516" y="3081"/>
                  </a:cubicBezTo>
                  <a:cubicBezTo>
                    <a:pt x="7298" y="3178"/>
                    <a:pt x="7172" y="3225"/>
                    <a:pt x="6991" y="2962"/>
                  </a:cubicBezTo>
                  <a:cubicBezTo>
                    <a:pt x="6846" y="2751"/>
                    <a:pt x="6762" y="2477"/>
                    <a:pt x="6576" y="2370"/>
                  </a:cubicBezTo>
                  <a:cubicBezTo>
                    <a:pt x="6359" y="2245"/>
                    <a:pt x="6063" y="2304"/>
                    <a:pt x="5852" y="2432"/>
                  </a:cubicBezTo>
                  <a:cubicBezTo>
                    <a:pt x="5326" y="2751"/>
                    <a:pt x="5293" y="3620"/>
                    <a:pt x="4899" y="4182"/>
                  </a:cubicBezTo>
                  <a:cubicBezTo>
                    <a:pt x="4599" y="4609"/>
                    <a:pt x="4212" y="4220"/>
                    <a:pt x="3878" y="4339"/>
                  </a:cubicBezTo>
                  <a:cubicBezTo>
                    <a:pt x="3502" y="4472"/>
                    <a:pt x="3357" y="5134"/>
                    <a:pt x="3042" y="5453"/>
                  </a:cubicBezTo>
                  <a:cubicBezTo>
                    <a:pt x="2725" y="5773"/>
                    <a:pt x="2369" y="5665"/>
                    <a:pt x="2044" y="5951"/>
                  </a:cubicBezTo>
                  <a:cubicBezTo>
                    <a:pt x="1525" y="6408"/>
                    <a:pt x="1429" y="7058"/>
                    <a:pt x="1406" y="8087"/>
                  </a:cubicBezTo>
                  <a:cubicBezTo>
                    <a:pt x="1392" y="8675"/>
                    <a:pt x="1360" y="8794"/>
                    <a:pt x="1137" y="9177"/>
                  </a:cubicBezTo>
                  <a:cubicBezTo>
                    <a:pt x="982" y="9444"/>
                    <a:pt x="856" y="9807"/>
                    <a:pt x="762" y="10170"/>
                  </a:cubicBezTo>
                  <a:cubicBezTo>
                    <a:pt x="560" y="10948"/>
                    <a:pt x="498" y="11764"/>
                    <a:pt x="249" y="12498"/>
                  </a:cubicBezTo>
                  <a:cubicBezTo>
                    <a:pt x="186" y="12681"/>
                    <a:pt x="89" y="13324"/>
                    <a:pt x="0" y="13547"/>
                  </a:cubicBezTo>
                  <a:cubicBezTo>
                    <a:pt x="54" y="13647"/>
                    <a:pt x="112" y="13733"/>
                    <a:pt x="180" y="13784"/>
                  </a:cubicBezTo>
                  <a:cubicBezTo>
                    <a:pt x="346" y="13908"/>
                    <a:pt x="516" y="13804"/>
                    <a:pt x="652" y="14062"/>
                  </a:cubicBezTo>
                  <a:close/>
                  <a:moveTo>
                    <a:pt x="652" y="14062"/>
                  </a:moveTo>
                </a:path>
              </a:pathLst>
            </a:custGeom>
            <a:solidFill>
              <a:srgbClr val="C0C0C0"/>
            </a:solidFill>
            <a:ln w="3175">
              <a:solidFill>
                <a:schemeClr val="bg1">
                  <a:lumMod val="85000"/>
                </a:schemeClr>
              </a:solidFill>
            </a:ln>
          </p:spPr>
          <p:txBody>
            <a:bodyPr lIns="0" tIns="0" rIns="0" bIns="0"/>
            <a:lstStyle/>
            <a:p>
              <a:endParaRPr lang="en-US"/>
            </a:p>
          </p:txBody>
        </p:sp>
        <p:sp>
          <p:nvSpPr>
            <p:cNvPr id="173" name="AutoShape 549">
              <a:extLst>
                <a:ext uri="{FF2B5EF4-FFF2-40B4-BE49-F238E27FC236}">
                  <a16:creationId xmlns:a16="http://schemas.microsoft.com/office/drawing/2014/main" id="{D59FD5AF-EAAE-1A48-AB7D-3E566163E466}"/>
                </a:ext>
              </a:extLst>
            </p:cNvPr>
            <p:cNvSpPr>
              <a:spLocks/>
            </p:cNvSpPr>
            <p:nvPr/>
          </p:nvSpPr>
          <p:spPr bwMode="auto">
            <a:xfrm>
              <a:off x="4746094" y="3194707"/>
              <a:ext cx="342523" cy="248286"/>
            </a:xfrm>
            <a:custGeom>
              <a:avLst/>
              <a:gdLst/>
              <a:ahLst/>
              <a:cxnLst/>
              <a:rect l="0" t="0" r="r" b="b"/>
              <a:pathLst>
                <a:path w="21466" h="21194">
                  <a:moveTo>
                    <a:pt x="7737" y="20619"/>
                  </a:moveTo>
                  <a:cubicBezTo>
                    <a:pt x="8352" y="19767"/>
                    <a:pt x="8549" y="18483"/>
                    <a:pt x="9090" y="17582"/>
                  </a:cubicBezTo>
                  <a:cubicBezTo>
                    <a:pt x="9427" y="17020"/>
                    <a:pt x="10346" y="16828"/>
                    <a:pt x="10838" y="17098"/>
                  </a:cubicBezTo>
                  <a:cubicBezTo>
                    <a:pt x="10851" y="17393"/>
                    <a:pt x="10873" y="17717"/>
                    <a:pt x="10800" y="17986"/>
                  </a:cubicBezTo>
                  <a:cubicBezTo>
                    <a:pt x="10734" y="18227"/>
                    <a:pt x="10483" y="18431"/>
                    <a:pt x="10431" y="18644"/>
                  </a:cubicBezTo>
                  <a:cubicBezTo>
                    <a:pt x="10264" y="19320"/>
                    <a:pt x="10681" y="19117"/>
                    <a:pt x="11081" y="19219"/>
                  </a:cubicBezTo>
                  <a:cubicBezTo>
                    <a:pt x="11482" y="19321"/>
                    <a:pt x="11932" y="19511"/>
                    <a:pt x="12307" y="19737"/>
                  </a:cubicBezTo>
                  <a:cubicBezTo>
                    <a:pt x="12762" y="20013"/>
                    <a:pt x="12641" y="20460"/>
                    <a:pt x="13108" y="20554"/>
                  </a:cubicBezTo>
                  <a:cubicBezTo>
                    <a:pt x="13664" y="20668"/>
                    <a:pt x="13629" y="20111"/>
                    <a:pt x="13955" y="19911"/>
                  </a:cubicBezTo>
                  <a:cubicBezTo>
                    <a:pt x="14268" y="19720"/>
                    <a:pt x="14826" y="19999"/>
                    <a:pt x="15134" y="20041"/>
                  </a:cubicBezTo>
                  <a:cubicBezTo>
                    <a:pt x="15563" y="20099"/>
                    <a:pt x="16114" y="20127"/>
                    <a:pt x="16491" y="19898"/>
                  </a:cubicBezTo>
                  <a:cubicBezTo>
                    <a:pt x="16931" y="19631"/>
                    <a:pt x="17206" y="18948"/>
                    <a:pt x="17584" y="18514"/>
                  </a:cubicBezTo>
                  <a:cubicBezTo>
                    <a:pt x="18124" y="17895"/>
                    <a:pt x="18407" y="17281"/>
                    <a:pt x="18776" y="16443"/>
                  </a:cubicBezTo>
                  <a:cubicBezTo>
                    <a:pt x="19150" y="15590"/>
                    <a:pt x="19752" y="15394"/>
                    <a:pt x="20273" y="14759"/>
                  </a:cubicBezTo>
                  <a:cubicBezTo>
                    <a:pt x="20935" y="13952"/>
                    <a:pt x="21600" y="13431"/>
                    <a:pt x="21442" y="12062"/>
                  </a:cubicBezTo>
                  <a:cubicBezTo>
                    <a:pt x="21368" y="11420"/>
                    <a:pt x="21083" y="10851"/>
                    <a:pt x="20978" y="10214"/>
                  </a:cubicBezTo>
                  <a:cubicBezTo>
                    <a:pt x="20925" y="9893"/>
                    <a:pt x="20902" y="9564"/>
                    <a:pt x="20892" y="9232"/>
                  </a:cubicBezTo>
                  <a:cubicBezTo>
                    <a:pt x="20594" y="9325"/>
                    <a:pt x="20286" y="9355"/>
                    <a:pt x="19988" y="9313"/>
                  </a:cubicBezTo>
                  <a:cubicBezTo>
                    <a:pt x="19139" y="9193"/>
                    <a:pt x="19003" y="8725"/>
                    <a:pt x="18746" y="7634"/>
                  </a:cubicBezTo>
                  <a:cubicBezTo>
                    <a:pt x="18384" y="6089"/>
                    <a:pt x="18609" y="5120"/>
                    <a:pt x="18725" y="3505"/>
                  </a:cubicBezTo>
                  <a:cubicBezTo>
                    <a:pt x="18775" y="2790"/>
                    <a:pt x="18974" y="1723"/>
                    <a:pt x="18815" y="1001"/>
                  </a:cubicBezTo>
                  <a:cubicBezTo>
                    <a:pt x="18607" y="59"/>
                    <a:pt x="18180" y="230"/>
                    <a:pt x="17538" y="230"/>
                  </a:cubicBezTo>
                  <a:cubicBezTo>
                    <a:pt x="16319" y="230"/>
                    <a:pt x="15094" y="198"/>
                    <a:pt x="13933" y="38"/>
                  </a:cubicBezTo>
                  <a:cubicBezTo>
                    <a:pt x="13355" y="-42"/>
                    <a:pt x="12742" y="-16"/>
                    <a:pt x="12235" y="305"/>
                  </a:cubicBezTo>
                  <a:cubicBezTo>
                    <a:pt x="11592" y="711"/>
                    <a:pt x="11355" y="1595"/>
                    <a:pt x="10822" y="2135"/>
                  </a:cubicBezTo>
                  <a:cubicBezTo>
                    <a:pt x="9657" y="3314"/>
                    <a:pt x="8799" y="1656"/>
                    <a:pt x="7778" y="1084"/>
                  </a:cubicBezTo>
                  <a:cubicBezTo>
                    <a:pt x="7779" y="1176"/>
                    <a:pt x="7779" y="1267"/>
                    <a:pt x="7777" y="1355"/>
                  </a:cubicBezTo>
                  <a:cubicBezTo>
                    <a:pt x="7757" y="2542"/>
                    <a:pt x="7173" y="3526"/>
                    <a:pt x="7170" y="4695"/>
                  </a:cubicBezTo>
                  <a:cubicBezTo>
                    <a:pt x="7168" y="5483"/>
                    <a:pt x="7509" y="5735"/>
                    <a:pt x="7877" y="6234"/>
                  </a:cubicBezTo>
                  <a:cubicBezTo>
                    <a:pt x="8294" y="6802"/>
                    <a:pt x="8773" y="7592"/>
                    <a:pt x="8772" y="8419"/>
                  </a:cubicBezTo>
                  <a:cubicBezTo>
                    <a:pt x="8771" y="9275"/>
                    <a:pt x="8190" y="9398"/>
                    <a:pt x="7645" y="9507"/>
                  </a:cubicBezTo>
                  <a:cubicBezTo>
                    <a:pt x="7077" y="9621"/>
                    <a:pt x="5044" y="9112"/>
                    <a:pt x="5049" y="10151"/>
                  </a:cubicBezTo>
                  <a:cubicBezTo>
                    <a:pt x="5050" y="10495"/>
                    <a:pt x="5275" y="10615"/>
                    <a:pt x="5284" y="10919"/>
                  </a:cubicBezTo>
                  <a:cubicBezTo>
                    <a:pt x="5299" y="11396"/>
                    <a:pt x="4997" y="11283"/>
                    <a:pt x="4962" y="11561"/>
                  </a:cubicBezTo>
                  <a:cubicBezTo>
                    <a:pt x="4910" y="11979"/>
                    <a:pt x="5290" y="12487"/>
                    <a:pt x="5367" y="12911"/>
                  </a:cubicBezTo>
                  <a:cubicBezTo>
                    <a:pt x="5499" y="13635"/>
                    <a:pt x="5306" y="13801"/>
                    <a:pt x="5095" y="14390"/>
                  </a:cubicBezTo>
                  <a:cubicBezTo>
                    <a:pt x="4844" y="15087"/>
                    <a:pt x="5187" y="15325"/>
                    <a:pt x="5143" y="15931"/>
                  </a:cubicBezTo>
                  <a:cubicBezTo>
                    <a:pt x="5066" y="16994"/>
                    <a:pt x="1499" y="16506"/>
                    <a:pt x="0" y="16279"/>
                  </a:cubicBezTo>
                  <a:cubicBezTo>
                    <a:pt x="16" y="16383"/>
                    <a:pt x="29" y="16489"/>
                    <a:pt x="36" y="16597"/>
                  </a:cubicBezTo>
                  <a:cubicBezTo>
                    <a:pt x="87" y="16576"/>
                    <a:pt x="142" y="16598"/>
                    <a:pt x="251" y="16683"/>
                  </a:cubicBezTo>
                  <a:cubicBezTo>
                    <a:pt x="519" y="16891"/>
                    <a:pt x="344" y="17312"/>
                    <a:pt x="474" y="17475"/>
                  </a:cubicBezTo>
                  <a:cubicBezTo>
                    <a:pt x="738" y="17805"/>
                    <a:pt x="1349" y="17506"/>
                    <a:pt x="1690" y="17729"/>
                  </a:cubicBezTo>
                  <a:cubicBezTo>
                    <a:pt x="2097" y="17996"/>
                    <a:pt x="2451" y="18668"/>
                    <a:pt x="2739" y="19142"/>
                  </a:cubicBezTo>
                  <a:cubicBezTo>
                    <a:pt x="3008" y="19582"/>
                    <a:pt x="3375" y="19875"/>
                    <a:pt x="3621" y="20312"/>
                  </a:cubicBezTo>
                  <a:cubicBezTo>
                    <a:pt x="3717" y="20484"/>
                    <a:pt x="3791" y="20634"/>
                    <a:pt x="3835" y="20768"/>
                  </a:cubicBezTo>
                  <a:cubicBezTo>
                    <a:pt x="4335" y="20792"/>
                    <a:pt x="4828" y="20841"/>
                    <a:pt x="5328" y="20938"/>
                  </a:cubicBezTo>
                  <a:cubicBezTo>
                    <a:pt x="6170" y="21102"/>
                    <a:pt x="7060" y="21558"/>
                    <a:pt x="7737" y="20619"/>
                  </a:cubicBezTo>
                  <a:close/>
                  <a:moveTo>
                    <a:pt x="7737" y="20619"/>
                  </a:moveTo>
                </a:path>
              </a:pathLst>
            </a:custGeom>
            <a:solidFill>
              <a:srgbClr val="C0C0C0"/>
            </a:solidFill>
            <a:ln w="3175">
              <a:solidFill>
                <a:schemeClr val="bg1">
                  <a:lumMod val="85000"/>
                </a:schemeClr>
              </a:solidFill>
            </a:ln>
          </p:spPr>
          <p:txBody>
            <a:bodyPr lIns="0" tIns="0" rIns="0" bIns="0"/>
            <a:lstStyle/>
            <a:p>
              <a:endParaRPr lang="en-US"/>
            </a:p>
          </p:txBody>
        </p:sp>
        <p:sp>
          <p:nvSpPr>
            <p:cNvPr id="174" name="AutoShape 572">
              <a:extLst>
                <a:ext uri="{FF2B5EF4-FFF2-40B4-BE49-F238E27FC236}">
                  <a16:creationId xmlns:a16="http://schemas.microsoft.com/office/drawing/2014/main" id="{102BBEC9-21A1-A547-A664-95A2851B92F3}"/>
                </a:ext>
              </a:extLst>
            </p:cNvPr>
            <p:cNvSpPr>
              <a:spLocks/>
            </p:cNvSpPr>
            <p:nvPr/>
          </p:nvSpPr>
          <p:spPr bwMode="auto">
            <a:xfrm>
              <a:off x="5003410" y="3090878"/>
              <a:ext cx="325312" cy="357194"/>
            </a:xfrm>
            <a:custGeom>
              <a:avLst/>
              <a:gdLst/>
              <a:ahLst/>
              <a:cxnLst/>
              <a:rect l="0" t="0" r="r" b="b"/>
              <a:pathLst>
                <a:path w="21563" h="21523">
                  <a:moveTo>
                    <a:pt x="77" y="21010"/>
                  </a:moveTo>
                  <a:cubicBezTo>
                    <a:pt x="229" y="21380"/>
                    <a:pt x="856" y="21479"/>
                    <a:pt x="1215" y="21511"/>
                  </a:cubicBezTo>
                  <a:cubicBezTo>
                    <a:pt x="2216" y="21600"/>
                    <a:pt x="2665" y="21182"/>
                    <a:pt x="2960" y="20423"/>
                  </a:cubicBezTo>
                  <a:cubicBezTo>
                    <a:pt x="3366" y="19380"/>
                    <a:pt x="4134" y="19904"/>
                    <a:pt x="5057" y="19552"/>
                  </a:cubicBezTo>
                  <a:cubicBezTo>
                    <a:pt x="5508" y="19380"/>
                    <a:pt x="5785" y="18957"/>
                    <a:pt x="6052" y="18597"/>
                  </a:cubicBezTo>
                  <a:cubicBezTo>
                    <a:pt x="6418" y="18102"/>
                    <a:pt x="6917" y="17730"/>
                    <a:pt x="7287" y="17249"/>
                  </a:cubicBezTo>
                  <a:cubicBezTo>
                    <a:pt x="7576" y="16875"/>
                    <a:pt x="7553" y="16381"/>
                    <a:pt x="7796" y="16023"/>
                  </a:cubicBezTo>
                  <a:cubicBezTo>
                    <a:pt x="8014" y="15702"/>
                    <a:pt x="8414" y="15607"/>
                    <a:pt x="8654" y="15322"/>
                  </a:cubicBezTo>
                  <a:cubicBezTo>
                    <a:pt x="8922" y="15002"/>
                    <a:pt x="9098" y="14509"/>
                    <a:pt x="9594" y="14756"/>
                  </a:cubicBezTo>
                  <a:cubicBezTo>
                    <a:pt x="9976" y="14946"/>
                    <a:pt x="10073" y="15332"/>
                    <a:pt x="10550" y="15495"/>
                  </a:cubicBezTo>
                  <a:cubicBezTo>
                    <a:pt x="11127" y="15693"/>
                    <a:pt x="11763" y="15668"/>
                    <a:pt x="12375" y="15663"/>
                  </a:cubicBezTo>
                  <a:cubicBezTo>
                    <a:pt x="12988" y="15658"/>
                    <a:pt x="13251" y="15453"/>
                    <a:pt x="13731" y="15143"/>
                  </a:cubicBezTo>
                  <a:cubicBezTo>
                    <a:pt x="14747" y="14487"/>
                    <a:pt x="15357" y="15518"/>
                    <a:pt x="16439" y="15108"/>
                  </a:cubicBezTo>
                  <a:cubicBezTo>
                    <a:pt x="16941" y="14918"/>
                    <a:pt x="17340" y="14537"/>
                    <a:pt x="17870" y="14357"/>
                  </a:cubicBezTo>
                  <a:cubicBezTo>
                    <a:pt x="18273" y="14220"/>
                    <a:pt x="18746" y="14126"/>
                    <a:pt x="19167" y="14032"/>
                  </a:cubicBezTo>
                  <a:cubicBezTo>
                    <a:pt x="19814" y="13886"/>
                    <a:pt x="20931" y="13913"/>
                    <a:pt x="21211" y="13261"/>
                  </a:cubicBezTo>
                  <a:lnTo>
                    <a:pt x="21563" y="6848"/>
                  </a:lnTo>
                  <a:cubicBezTo>
                    <a:pt x="21355" y="6757"/>
                    <a:pt x="21182" y="6605"/>
                    <a:pt x="21075" y="6359"/>
                  </a:cubicBezTo>
                  <a:cubicBezTo>
                    <a:pt x="20793" y="5715"/>
                    <a:pt x="20553" y="5053"/>
                    <a:pt x="20293" y="4401"/>
                  </a:cubicBezTo>
                  <a:cubicBezTo>
                    <a:pt x="19997" y="3661"/>
                    <a:pt x="19701" y="2920"/>
                    <a:pt x="19406" y="2180"/>
                  </a:cubicBezTo>
                  <a:cubicBezTo>
                    <a:pt x="19300" y="1916"/>
                    <a:pt x="19226" y="1467"/>
                    <a:pt x="19001" y="1262"/>
                  </a:cubicBezTo>
                  <a:cubicBezTo>
                    <a:pt x="18779" y="1058"/>
                    <a:pt x="18500" y="1140"/>
                    <a:pt x="18228" y="1042"/>
                  </a:cubicBezTo>
                  <a:cubicBezTo>
                    <a:pt x="18117" y="1002"/>
                    <a:pt x="18022" y="934"/>
                    <a:pt x="17933" y="856"/>
                  </a:cubicBezTo>
                  <a:cubicBezTo>
                    <a:pt x="17913" y="879"/>
                    <a:pt x="17894" y="897"/>
                    <a:pt x="17875" y="907"/>
                  </a:cubicBezTo>
                  <a:cubicBezTo>
                    <a:pt x="17644" y="1029"/>
                    <a:pt x="17199" y="816"/>
                    <a:pt x="16957" y="797"/>
                  </a:cubicBezTo>
                  <a:cubicBezTo>
                    <a:pt x="16628" y="770"/>
                    <a:pt x="16287" y="782"/>
                    <a:pt x="15953" y="755"/>
                  </a:cubicBezTo>
                  <a:cubicBezTo>
                    <a:pt x="13348" y="541"/>
                    <a:pt x="10743" y="327"/>
                    <a:pt x="8138" y="113"/>
                  </a:cubicBezTo>
                  <a:cubicBezTo>
                    <a:pt x="7692" y="136"/>
                    <a:pt x="7288" y="90"/>
                    <a:pt x="6850" y="75"/>
                  </a:cubicBezTo>
                  <a:cubicBezTo>
                    <a:pt x="6559" y="66"/>
                    <a:pt x="5791" y="210"/>
                    <a:pt x="5552" y="77"/>
                  </a:cubicBezTo>
                  <a:cubicBezTo>
                    <a:pt x="5512" y="54"/>
                    <a:pt x="5483" y="28"/>
                    <a:pt x="5461" y="0"/>
                  </a:cubicBezTo>
                  <a:cubicBezTo>
                    <a:pt x="4903" y="790"/>
                    <a:pt x="4393" y="1496"/>
                    <a:pt x="5354" y="2392"/>
                  </a:cubicBezTo>
                  <a:cubicBezTo>
                    <a:pt x="5716" y="2730"/>
                    <a:pt x="5767" y="2694"/>
                    <a:pt x="5930" y="3170"/>
                  </a:cubicBezTo>
                  <a:cubicBezTo>
                    <a:pt x="6077" y="3599"/>
                    <a:pt x="6087" y="3930"/>
                    <a:pt x="6551" y="4162"/>
                  </a:cubicBezTo>
                  <a:cubicBezTo>
                    <a:pt x="7056" y="4416"/>
                    <a:pt x="7997" y="4290"/>
                    <a:pt x="8570" y="4380"/>
                  </a:cubicBezTo>
                  <a:cubicBezTo>
                    <a:pt x="9076" y="4460"/>
                    <a:pt x="10385" y="4672"/>
                    <a:pt x="10070" y="5403"/>
                  </a:cubicBezTo>
                  <a:cubicBezTo>
                    <a:pt x="9825" y="5971"/>
                    <a:pt x="8782" y="5803"/>
                    <a:pt x="8256" y="5807"/>
                  </a:cubicBezTo>
                  <a:cubicBezTo>
                    <a:pt x="7026" y="5818"/>
                    <a:pt x="7680" y="6065"/>
                    <a:pt x="7149" y="6759"/>
                  </a:cubicBezTo>
                  <a:cubicBezTo>
                    <a:pt x="6885" y="7103"/>
                    <a:pt x="5770" y="7033"/>
                    <a:pt x="6229" y="7795"/>
                  </a:cubicBezTo>
                  <a:cubicBezTo>
                    <a:pt x="6531" y="8297"/>
                    <a:pt x="7700" y="8144"/>
                    <a:pt x="7900" y="8659"/>
                  </a:cubicBezTo>
                  <a:cubicBezTo>
                    <a:pt x="8141" y="9276"/>
                    <a:pt x="7161" y="9299"/>
                    <a:pt x="6938" y="9750"/>
                  </a:cubicBezTo>
                  <a:cubicBezTo>
                    <a:pt x="6696" y="10237"/>
                    <a:pt x="7082" y="10932"/>
                    <a:pt x="6831" y="11432"/>
                  </a:cubicBezTo>
                  <a:cubicBezTo>
                    <a:pt x="6492" y="12109"/>
                    <a:pt x="5782" y="12544"/>
                    <a:pt x="5013" y="12704"/>
                  </a:cubicBezTo>
                  <a:cubicBezTo>
                    <a:pt x="5023" y="12937"/>
                    <a:pt x="5047" y="13170"/>
                    <a:pt x="5103" y="13396"/>
                  </a:cubicBezTo>
                  <a:cubicBezTo>
                    <a:pt x="5215" y="13846"/>
                    <a:pt x="5516" y="14247"/>
                    <a:pt x="5594" y="14700"/>
                  </a:cubicBezTo>
                  <a:cubicBezTo>
                    <a:pt x="5762" y="15666"/>
                    <a:pt x="5058" y="16034"/>
                    <a:pt x="4358" y="16603"/>
                  </a:cubicBezTo>
                  <a:cubicBezTo>
                    <a:pt x="3806" y="17052"/>
                    <a:pt x="3170" y="17190"/>
                    <a:pt x="2773" y="17792"/>
                  </a:cubicBezTo>
                  <a:cubicBezTo>
                    <a:pt x="2384" y="18383"/>
                    <a:pt x="2084" y="18816"/>
                    <a:pt x="1513" y="19253"/>
                  </a:cubicBezTo>
                  <a:cubicBezTo>
                    <a:pt x="1112" y="19559"/>
                    <a:pt x="822" y="20041"/>
                    <a:pt x="356" y="20229"/>
                  </a:cubicBezTo>
                  <a:cubicBezTo>
                    <a:pt x="252" y="20272"/>
                    <a:pt x="135" y="20301"/>
                    <a:pt x="11" y="20321"/>
                  </a:cubicBezTo>
                  <a:cubicBezTo>
                    <a:pt x="10" y="20530"/>
                    <a:pt x="-37" y="20734"/>
                    <a:pt x="77" y="21010"/>
                  </a:cubicBezTo>
                  <a:close/>
                  <a:moveTo>
                    <a:pt x="77" y="21010"/>
                  </a:moveTo>
                </a:path>
              </a:pathLst>
            </a:custGeom>
            <a:solidFill>
              <a:srgbClr val="C0C0C0"/>
            </a:solidFill>
            <a:ln w="3175">
              <a:solidFill>
                <a:schemeClr val="bg1">
                  <a:lumMod val="85000"/>
                </a:schemeClr>
              </a:solidFill>
            </a:ln>
          </p:spPr>
          <p:txBody>
            <a:bodyPr lIns="0" tIns="0" rIns="0" bIns="0"/>
            <a:lstStyle/>
            <a:p>
              <a:endParaRPr lang="en-US"/>
            </a:p>
          </p:txBody>
        </p:sp>
        <p:sp>
          <p:nvSpPr>
            <p:cNvPr id="175" name="AutoShape 600">
              <a:extLst>
                <a:ext uri="{FF2B5EF4-FFF2-40B4-BE49-F238E27FC236}">
                  <a16:creationId xmlns:a16="http://schemas.microsoft.com/office/drawing/2014/main" id="{73D9DBC5-38B3-B342-96E0-46B075D5DC4E}"/>
                </a:ext>
              </a:extLst>
            </p:cNvPr>
            <p:cNvSpPr>
              <a:spLocks/>
            </p:cNvSpPr>
            <p:nvPr/>
          </p:nvSpPr>
          <p:spPr bwMode="auto">
            <a:xfrm>
              <a:off x="4831584" y="3729651"/>
              <a:ext cx="413341" cy="296815"/>
            </a:xfrm>
            <a:custGeom>
              <a:avLst/>
              <a:gdLst/>
              <a:ahLst/>
              <a:cxnLst/>
              <a:rect l="0" t="0" r="r" b="b"/>
              <a:pathLst>
                <a:path w="21177" h="21405">
                  <a:moveTo>
                    <a:pt x="14197" y="21047"/>
                  </a:moveTo>
                  <a:cubicBezTo>
                    <a:pt x="14550" y="20555"/>
                    <a:pt x="14679" y="19690"/>
                    <a:pt x="14920" y="19081"/>
                  </a:cubicBezTo>
                  <a:cubicBezTo>
                    <a:pt x="15200" y="18375"/>
                    <a:pt x="15473" y="18038"/>
                    <a:pt x="16068" y="17954"/>
                  </a:cubicBezTo>
                  <a:cubicBezTo>
                    <a:pt x="16322" y="17918"/>
                    <a:pt x="16524" y="17874"/>
                    <a:pt x="16683" y="18158"/>
                  </a:cubicBezTo>
                  <a:cubicBezTo>
                    <a:pt x="16829" y="18416"/>
                    <a:pt x="16675" y="18966"/>
                    <a:pt x="17040" y="18918"/>
                  </a:cubicBezTo>
                  <a:cubicBezTo>
                    <a:pt x="18355" y="18938"/>
                    <a:pt x="19691" y="19060"/>
                    <a:pt x="21005" y="18964"/>
                  </a:cubicBezTo>
                  <a:cubicBezTo>
                    <a:pt x="21091" y="18432"/>
                    <a:pt x="20754" y="18237"/>
                    <a:pt x="20672" y="17780"/>
                  </a:cubicBezTo>
                  <a:cubicBezTo>
                    <a:pt x="20566" y="17188"/>
                    <a:pt x="20852" y="16682"/>
                    <a:pt x="21021" y="16218"/>
                  </a:cubicBezTo>
                  <a:cubicBezTo>
                    <a:pt x="21239" y="15617"/>
                    <a:pt x="21237" y="15473"/>
                    <a:pt x="20961" y="14958"/>
                  </a:cubicBezTo>
                  <a:cubicBezTo>
                    <a:pt x="20708" y="14484"/>
                    <a:pt x="20724" y="14397"/>
                    <a:pt x="20885" y="13913"/>
                  </a:cubicBezTo>
                  <a:cubicBezTo>
                    <a:pt x="21259" y="12788"/>
                    <a:pt x="20943" y="12495"/>
                    <a:pt x="20401" y="11700"/>
                  </a:cubicBezTo>
                  <a:cubicBezTo>
                    <a:pt x="20183" y="11379"/>
                    <a:pt x="20092" y="11082"/>
                    <a:pt x="19738" y="11226"/>
                  </a:cubicBezTo>
                  <a:cubicBezTo>
                    <a:pt x="19630" y="11270"/>
                    <a:pt x="19531" y="11488"/>
                    <a:pt x="19393" y="11542"/>
                  </a:cubicBezTo>
                  <a:cubicBezTo>
                    <a:pt x="19187" y="11623"/>
                    <a:pt x="18987" y="11488"/>
                    <a:pt x="18811" y="11415"/>
                  </a:cubicBezTo>
                  <a:cubicBezTo>
                    <a:pt x="18605" y="11328"/>
                    <a:pt x="18074" y="10918"/>
                    <a:pt x="17848" y="11157"/>
                  </a:cubicBezTo>
                  <a:cubicBezTo>
                    <a:pt x="17603" y="11415"/>
                    <a:pt x="17969" y="12093"/>
                    <a:pt x="17464" y="12082"/>
                  </a:cubicBezTo>
                  <a:cubicBezTo>
                    <a:pt x="16790" y="12068"/>
                    <a:pt x="16831" y="10253"/>
                    <a:pt x="16568" y="9692"/>
                  </a:cubicBezTo>
                  <a:cubicBezTo>
                    <a:pt x="16218" y="8946"/>
                    <a:pt x="15608" y="8164"/>
                    <a:pt x="16143" y="7241"/>
                  </a:cubicBezTo>
                  <a:cubicBezTo>
                    <a:pt x="16381" y="6831"/>
                    <a:pt x="16673" y="6782"/>
                    <a:pt x="16732" y="6222"/>
                  </a:cubicBezTo>
                  <a:cubicBezTo>
                    <a:pt x="16784" y="5720"/>
                    <a:pt x="16639" y="5198"/>
                    <a:pt x="16616" y="4700"/>
                  </a:cubicBezTo>
                  <a:cubicBezTo>
                    <a:pt x="16577" y="3856"/>
                    <a:pt x="16582" y="3739"/>
                    <a:pt x="16115" y="3253"/>
                  </a:cubicBezTo>
                  <a:cubicBezTo>
                    <a:pt x="15836" y="2964"/>
                    <a:pt x="15799" y="2643"/>
                    <a:pt x="15730" y="2195"/>
                  </a:cubicBezTo>
                  <a:cubicBezTo>
                    <a:pt x="15630" y="1545"/>
                    <a:pt x="15509" y="749"/>
                    <a:pt x="15326" y="32"/>
                  </a:cubicBezTo>
                  <a:cubicBezTo>
                    <a:pt x="15149" y="230"/>
                    <a:pt x="14861" y="109"/>
                    <a:pt x="14639" y="91"/>
                  </a:cubicBezTo>
                  <a:cubicBezTo>
                    <a:pt x="12077" y="-115"/>
                    <a:pt x="9468" y="91"/>
                    <a:pt x="6902" y="91"/>
                  </a:cubicBezTo>
                  <a:cubicBezTo>
                    <a:pt x="6533" y="92"/>
                    <a:pt x="6419" y="568"/>
                    <a:pt x="6130" y="783"/>
                  </a:cubicBezTo>
                  <a:cubicBezTo>
                    <a:pt x="5872" y="974"/>
                    <a:pt x="5362" y="981"/>
                    <a:pt x="5072" y="865"/>
                  </a:cubicBezTo>
                  <a:cubicBezTo>
                    <a:pt x="4882" y="790"/>
                    <a:pt x="4749" y="579"/>
                    <a:pt x="4551" y="524"/>
                  </a:cubicBezTo>
                  <a:cubicBezTo>
                    <a:pt x="4337" y="464"/>
                    <a:pt x="4074" y="485"/>
                    <a:pt x="3856" y="471"/>
                  </a:cubicBezTo>
                  <a:cubicBezTo>
                    <a:pt x="3683" y="460"/>
                    <a:pt x="3513" y="428"/>
                    <a:pt x="3343" y="395"/>
                  </a:cubicBezTo>
                  <a:cubicBezTo>
                    <a:pt x="3347" y="420"/>
                    <a:pt x="3353" y="444"/>
                    <a:pt x="3356" y="469"/>
                  </a:cubicBezTo>
                  <a:cubicBezTo>
                    <a:pt x="3456" y="1289"/>
                    <a:pt x="2721" y="1224"/>
                    <a:pt x="2220" y="861"/>
                  </a:cubicBezTo>
                  <a:cubicBezTo>
                    <a:pt x="2109" y="1002"/>
                    <a:pt x="1981" y="1112"/>
                    <a:pt x="1805" y="1164"/>
                  </a:cubicBezTo>
                  <a:cubicBezTo>
                    <a:pt x="1458" y="1266"/>
                    <a:pt x="1023" y="1033"/>
                    <a:pt x="695" y="1229"/>
                  </a:cubicBezTo>
                  <a:cubicBezTo>
                    <a:pt x="-341" y="1851"/>
                    <a:pt x="-48" y="5385"/>
                    <a:pt x="473" y="6371"/>
                  </a:cubicBezTo>
                  <a:cubicBezTo>
                    <a:pt x="595" y="6602"/>
                    <a:pt x="697" y="6839"/>
                    <a:pt x="776" y="7084"/>
                  </a:cubicBezTo>
                  <a:cubicBezTo>
                    <a:pt x="1420" y="7704"/>
                    <a:pt x="1947" y="8721"/>
                    <a:pt x="2498" y="9380"/>
                  </a:cubicBezTo>
                  <a:cubicBezTo>
                    <a:pt x="2810" y="9753"/>
                    <a:pt x="2932" y="9502"/>
                    <a:pt x="3279" y="9693"/>
                  </a:cubicBezTo>
                  <a:cubicBezTo>
                    <a:pt x="3523" y="9828"/>
                    <a:pt x="3695" y="10400"/>
                    <a:pt x="3828" y="10725"/>
                  </a:cubicBezTo>
                  <a:cubicBezTo>
                    <a:pt x="4141" y="11487"/>
                    <a:pt x="4582" y="12423"/>
                    <a:pt x="5206" y="12721"/>
                  </a:cubicBezTo>
                  <a:cubicBezTo>
                    <a:pt x="6085" y="13141"/>
                    <a:pt x="7122" y="13404"/>
                    <a:pt x="7951" y="13995"/>
                  </a:cubicBezTo>
                  <a:cubicBezTo>
                    <a:pt x="8616" y="14468"/>
                    <a:pt x="9048" y="15313"/>
                    <a:pt x="9570" y="16029"/>
                  </a:cubicBezTo>
                  <a:cubicBezTo>
                    <a:pt x="10078" y="16727"/>
                    <a:pt x="10518" y="17299"/>
                    <a:pt x="10902" y="18159"/>
                  </a:cubicBezTo>
                  <a:cubicBezTo>
                    <a:pt x="11215" y="18859"/>
                    <a:pt x="11547" y="19878"/>
                    <a:pt x="12134" y="20235"/>
                  </a:cubicBezTo>
                  <a:cubicBezTo>
                    <a:pt x="12411" y="20405"/>
                    <a:pt x="12791" y="20423"/>
                    <a:pt x="13070" y="20641"/>
                  </a:cubicBezTo>
                  <a:cubicBezTo>
                    <a:pt x="13285" y="20809"/>
                    <a:pt x="13455" y="21151"/>
                    <a:pt x="13278" y="21333"/>
                  </a:cubicBezTo>
                  <a:cubicBezTo>
                    <a:pt x="13585" y="21485"/>
                    <a:pt x="13945" y="21397"/>
                    <a:pt x="14197" y="21047"/>
                  </a:cubicBezTo>
                  <a:close/>
                  <a:moveTo>
                    <a:pt x="14197" y="21047"/>
                  </a:moveTo>
                </a:path>
              </a:pathLst>
            </a:custGeom>
            <a:solidFill>
              <a:schemeClr val="accent1"/>
            </a:solidFill>
            <a:ln w="3175">
              <a:solidFill>
                <a:schemeClr val="bg1">
                  <a:lumMod val="85000"/>
                </a:schemeClr>
              </a:solidFill>
            </a:ln>
          </p:spPr>
          <p:txBody>
            <a:bodyPr lIns="0" tIns="0" rIns="0" bIns="0"/>
            <a:lstStyle/>
            <a:p>
              <a:endParaRPr lang="en-US"/>
            </a:p>
          </p:txBody>
        </p:sp>
        <p:sp>
          <p:nvSpPr>
            <p:cNvPr id="176" name="AutoShape 625">
              <a:extLst>
                <a:ext uri="{FF2B5EF4-FFF2-40B4-BE49-F238E27FC236}">
                  <a16:creationId xmlns:a16="http://schemas.microsoft.com/office/drawing/2014/main" id="{A3292989-DBFE-C545-8A5C-469D2B96209C}"/>
                </a:ext>
              </a:extLst>
            </p:cNvPr>
            <p:cNvSpPr>
              <a:spLocks/>
            </p:cNvSpPr>
            <p:nvPr/>
          </p:nvSpPr>
          <p:spPr bwMode="auto">
            <a:xfrm>
              <a:off x="5725697" y="2998335"/>
              <a:ext cx="220354" cy="296251"/>
            </a:xfrm>
            <a:custGeom>
              <a:avLst/>
              <a:gdLst/>
              <a:ahLst/>
              <a:cxnLst/>
              <a:rect l="0" t="0" r="r" b="b"/>
              <a:pathLst>
                <a:path w="21599" h="21438">
                  <a:moveTo>
                    <a:pt x="78" y="17575"/>
                  </a:moveTo>
                  <a:cubicBezTo>
                    <a:pt x="1138" y="17595"/>
                    <a:pt x="1820" y="17547"/>
                    <a:pt x="2701" y="18058"/>
                  </a:cubicBezTo>
                  <a:cubicBezTo>
                    <a:pt x="3461" y="18498"/>
                    <a:pt x="4185" y="18954"/>
                    <a:pt x="5015" y="19323"/>
                  </a:cubicBezTo>
                  <a:cubicBezTo>
                    <a:pt x="5667" y="19613"/>
                    <a:pt x="6354" y="19910"/>
                    <a:pt x="7007" y="20222"/>
                  </a:cubicBezTo>
                  <a:cubicBezTo>
                    <a:pt x="7555" y="20485"/>
                    <a:pt x="7979" y="20734"/>
                    <a:pt x="8664" y="20733"/>
                  </a:cubicBezTo>
                  <a:cubicBezTo>
                    <a:pt x="9512" y="20731"/>
                    <a:pt x="9947" y="20254"/>
                    <a:pt x="10580" y="19923"/>
                  </a:cubicBezTo>
                  <a:cubicBezTo>
                    <a:pt x="11224" y="19587"/>
                    <a:pt x="11774" y="19231"/>
                    <a:pt x="12499" y="18991"/>
                  </a:cubicBezTo>
                  <a:cubicBezTo>
                    <a:pt x="13092" y="18793"/>
                    <a:pt x="13744" y="18583"/>
                    <a:pt x="14413" y="18637"/>
                  </a:cubicBezTo>
                  <a:cubicBezTo>
                    <a:pt x="15152" y="18696"/>
                    <a:pt x="15409" y="19470"/>
                    <a:pt x="15628" y="19947"/>
                  </a:cubicBezTo>
                  <a:cubicBezTo>
                    <a:pt x="15907" y="20554"/>
                    <a:pt x="16005" y="20965"/>
                    <a:pt x="16815" y="21241"/>
                  </a:cubicBezTo>
                  <a:cubicBezTo>
                    <a:pt x="17451" y="21459"/>
                    <a:pt x="18086" y="21600"/>
                    <a:pt x="18476" y="21086"/>
                  </a:cubicBezTo>
                  <a:cubicBezTo>
                    <a:pt x="18644" y="20865"/>
                    <a:pt x="18894" y="20725"/>
                    <a:pt x="19065" y="20513"/>
                  </a:cubicBezTo>
                  <a:cubicBezTo>
                    <a:pt x="19273" y="20256"/>
                    <a:pt x="19202" y="20182"/>
                    <a:pt x="18985" y="19964"/>
                  </a:cubicBezTo>
                  <a:cubicBezTo>
                    <a:pt x="18435" y="19416"/>
                    <a:pt x="19387" y="19261"/>
                    <a:pt x="20006" y="19133"/>
                  </a:cubicBezTo>
                  <a:cubicBezTo>
                    <a:pt x="20672" y="18995"/>
                    <a:pt x="20984" y="18675"/>
                    <a:pt x="21165" y="18174"/>
                  </a:cubicBezTo>
                  <a:cubicBezTo>
                    <a:pt x="21383" y="17570"/>
                    <a:pt x="21600" y="16987"/>
                    <a:pt x="21599" y="16357"/>
                  </a:cubicBezTo>
                  <a:cubicBezTo>
                    <a:pt x="21598" y="15633"/>
                    <a:pt x="21472" y="15002"/>
                    <a:pt x="21049" y="14344"/>
                  </a:cubicBezTo>
                  <a:cubicBezTo>
                    <a:pt x="20606" y="13655"/>
                    <a:pt x="19950" y="13062"/>
                    <a:pt x="19528" y="12371"/>
                  </a:cubicBezTo>
                  <a:cubicBezTo>
                    <a:pt x="19118" y="11699"/>
                    <a:pt x="18547" y="11131"/>
                    <a:pt x="18649" y="10358"/>
                  </a:cubicBezTo>
                  <a:cubicBezTo>
                    <a:pt x="18708" y="9913"/>
                    <a:pt x="19014" y="9438"/>
                    <a:pt x="19312" y="9057"/>
                  </a:cubicBezTo>
                  <a:cubicBezTo>
                    <a:pt x="19610" y="8678"/>
                    <a:pt x="19901" y="8291"/>
                    <a:pt x="20193" y="7903"/>
                  </a:cubicBezTo>
                  <a:cubicBezTo>
                    <a:pt x="19256" y="7319"/>
                    <a:pt x="18320" y="6734"/>
                    <a:pt x="17383" y="6149"/>
                  </a:cubicBezTo>
                  <a:cubicBezTo>
                    <a:pt x="15139" y="4748"/>
                    <a:pt x="12896" y="3347"/>
                    <a:pt x="10652" y="1947"/>
                  </a:cubicBezTo>
                  <a:cubicBezTo>
                    <a:pt x="9825" y="1430"/>
                    <a:pt x="8998" y="914"/>
                    <a:pt x="8171" y="397"/>
                  </a:cubicBezTo>
                  <a:cubicBezTo>
                    <a:pt x="7959" y="265"/>
                    <a:pt x="7749" y="129"/>
                    <a:pt x="7533" y="0"/>
                  </a:cubicBezTo>
                  <a:cubicBezTo>
                    <a:pt x="7411" y="265"/>
                    <a:pt x="7389" y="544"/>
                    <a:pt x="7542" y="837"/>
                  </a:cubicBezTo>
                  <a:cubicBezTo>
                    <a:pt x="7731" y="1201"/>
                    <a:pt x="8036" y="1487"/>
                    <a:pt x="8056" y="1898"/>
                  </a:cubicBezTo>
                  <a:cubicBezTo>
                    <a:pt x="8101" y="2832"/>
                    <a:pt x="7225" y="3453"/>
                    <a:pt x="6464" y="4103"/>
                  </a:cubicBezTo>
                  <a:cubicBezTo>
                    <a:pt x="5561" y="4876"/>
                    <a:pt x="4764" y="5581"/>
                    <a:pt x="3660" y="6207"/>
                  </a:cubicBezTo>
                  <a:cubicBezTo>
                    <a:pt x="3036" y="6561"/>
                    <a:pt x="2338" y="6814"/>
                    <a:pt x="1712" y="7175"/>
                  </a:cubicBezTo>
                  <a:cubicBezTo>
                    <a:pt x="1168" y="7487"/>
                    <a:pt x="817" y="7960"/>
                    <a:pt x="229" y="8234"/>
                  </a:cubicBezTo>
                  <a:cubicBezTo>
                    <a:pt x="223" y="8237"/>
                    <a:pt x="216" y="8239"/>
                    <a:pt x="210" y="8242"/>
                  </a:cubicBezTo>
                  <a:lnTo>
                    <a:pt x="41" y="15126"/>
                  </a:lnTo>
                  <a:cubicBezTo>
                    <a:pt x="31" y="15154"/>
                    <a:pt x="16" y="15179"/>
                    <a:pt x="0" y="15203"/>
                  </a:cubicBezTo>
                  <a:lnTo>
                    <a:pt x="4" y="15207"/>
                  </a:lnTo>
                  <a:cubicBezTo>
                    <a:pt x="4" y="15207"/>
                    <a:pt x="78" y="17575"/>
                    <a:pt x="78" y="17575"/>
                  </a:cubicBezTo>
                  <a:close/>
                  <a:moveTo>
                    <a:pt x="78" y="17575"/>
                  </a:moveTo>
                </a:path>
              </a:pathLst>
            </a:custGeom>
            <a:solidFill>
              <a:srgbClr val="C0C0C0"/>
            </a:solidFill>
            <a:ln w="3175">
              <a:solidFill>
                <a:schemeClr val="bg1">
                  <a:lumMod val="85000"/>
                </a:schemeClr>
              </a:solidFill>
            </a:ln>
          </p:spPr>
          <p:txBody>
            <a:bodyPr lIns="0" tIns="0" rIns="0" bIns="0"/>
            <a:lstStyle/>
            <a:p>
              <a:endParaRPr lang="en-US"/>
            </a:p>
          </p:txBody>
        </p:sp>
        <p:sp>
          <p:nvSpPr>
            <p:cNvPr id="177" name="AutoShape 651">
              <a:extLst>
                <a:ext uri="{FF2B5EF4-FFF2-40B4-BE49-F238E27FC236}">
                  <a16:creationId xmlns:a16="http://schemas.microsoft.com/office/drawing/2014/main" id="{B58EC4C3-34AE-F843-ACC0-5E06581CFC0D}"/>
                </a:ext>
              </a:extLst>
            </p:cNvPr>
            <p:cNvSpPr>
              <a:spLocks/>
            </p:cNvSpPr>
            <p:nvPr/>
          </p:nvSpPr>
          <p:spPr bwMode="auto">
            <a:xfrm>
              <a:off x="3827434" y="3535537"/>
              <a:ext cx="516888" cy="431962"/>
            </a:xfrm>
            <a:custGeom>
              <a:avLst/>
              <a:gdLst/>
              <a:ahLst/>
              <a:cxnLst/>
              <a:rect l="0" t="0" r="r" b="b"/>
              <a:pathLst>
                <a:path w="21144" h="21600">
                  <a:moveTo>
                    <a:pt x="16041" y="21515"/>
                  </a:moveTo>
                  <a:cubicBezTo>
                    <a:pt x="16266" y="21551"/>
                    <a:pt x="16356" y="21299"/>
                    <a:pt x="16595" y="21296"/>
                  </a:cubicBezTo>
                  <a:cubicBezTo>
                    <a:pt x="16800" y="21294"/>
                    <a:pt x="16972" y="21191"/>
                    <a:pt x="17171" y="21205"/>
                  </a:cubicBezTo>
                  <a:cubicBezTo>
                    <a:pt x="17384" y="21220"/>
                    <a:pt x="17602" y="21497"/>
                    <a:pt x="17819" y="21432"/>
                  </a:cubicBezTo>
                  <a:cubicBezTo>
                    <a:pt x="18106" y="21346"/>
                    <a:pt x="17958" y="21037"/>
                    <a:pt x="18001" y="20782"/>
                  </a:cubicBezTo>
                  <a:cubicBezTo>
                    <a:pt x="18084" y="20295"/>
                    <a:pt x="18712" y="19957"/>
                    <a:pt x="18137" y="19483"/>
                  </a:cubicBezTo>
                  <a:cubicBezTo>
                    <a:pt x="17913" y="19299"/>
                    <a:pt x="17722" y="19367"/>
                    <a:pt x="17661" y="19012"/>
                  </a:cubicBezTo>
                  <a:cubicBezTo>
                    <a:pt x="17599" y="18646"/>
                    <a:pt x="17791" y="18774"/>
                    <a:pt x="18003" y="18584"/>
                  </a:cubicBezTo>
                  <a:cubicBezTo>
                    <a:pt x="18131" y="18468"/>
                    <a:pt x="18206" y="18249"/>
                    <a:pt x="18392" y="18311"/>
                  </a:cubicBezTo>
                  <a:cubicBezTo>
                    <a:pt x="18446" y="18640"/>
                    <a:pt x="18450" y="19032"/>
                    <a:pt x="18696" y="19253"/>
                  </a:cubicBezTo>
                  <a:cubicBezTo>
                    <a:pt x="18921" y="19455"/>
                    <a:pt x="19169" y="19284"/>
                    <a:pt x="19406" y="19406"/>
                  </a:cubicBezTo>
                  <a:cubicBezTo>
                    <a:pt x="19594" y="19504"/>
                    <a:pt x="19645" y="19768"/>
                    <a:pt x="19872" y="19796"/>
                  </a:cubicBezTo>
                  <a:cubicBezTo>
                    <a:pt x="20184" y="19834"/>
                    <a:pt x="20244" y="19401"/>
                    <a:pt x="20219" y="19088"/>
                  </a:cubicBezTo>
                  <a:cubicBezTo>
                    <a:pt x="20196" y="18791"/>
                    <a:pt x="20079" y="18544"/>
                    <a:pt x="20241" y="18272"/>
                  </a:cubicBezTo>
                  <a:cubicBezTo>
                    <a:pt x="20434" y="17948"/>
                    <a:pt x="20789" y="18172"/>
                    <a:pt x="21003" y="17934"/>
                  </a:cubicBezTo>
                  <a:cubicBezTo>
                    <a:pt x="21558" y="17317"/>
                    <a:pt x="20303" y="17062"/>
                    <a:pt x="20143" y="16869"/>
                  </a:cubicBezTo>
                  <a:cubicBezTo>
                    <a:pt x="20032" y="16736"/>
                    <a:pt x="19983" y="16489"/>
                    <a:pt x="19825" y="16407"/>
                  </a:cubicBezTo>
                  <a:cubicBezTo>
                    <a:pt x="19703" y="16344"/>
                    <a:pt x="19510" y="16474"/>
                    <a:pt x="19386" y="16406"/>
                  </a:cubicBezTo>
                  <a:cubicBezTo>
                    <a:pt x="19225" y="16316"/>
                    <a:pt x="19236" y="16033"/>
                    <a:pt x="18994" y="16148"/>
                  </a:cubicBezTo>
                  <a:cubicBezTo>
                    <a:pt x="18814" y="16234"/>
                    <a:pt x="18845" y="16520"/>
                    <a:pt x="18644" y="16327"/>
                  </a:cubicBezTo>
                  <a:cubicBezTo>
                    <a:pt x="18529" y="16216"/>
                    <a:pt x="18490" y="15848"/>
                    <a:pt x="18533" y="15683"/>
                  </a:cubicBezTo>
                  <a:cubicBezTo>
                    <a:pt x="18591" y="15462"/>
                    <a:pt x="18657" y="15545"/>
                    <a:pt x="18770" y="15403"/>
                  </a:cubicBezTo>
                  <a:cubicBezTo>
                    <a:pt x="18895" y="15246"/>
                    <a:pt x="18852" y="15079"/>
                    <a:pt x="19036" y="14994"/>
                  </a:cubicBezTo>
                  <a:cubicBezTo>
                    <a:pt x="19280" y="14880"/>
                    <a:pt x="19439" y="15028"/>
                    <a:pt x="19446" y="14627"/>
                  </a:cubicBezTo>
                  <a:cubicBezTo>
                    <a:pt x="19450" y="14398"/>
                    <a:pt x="19361" y="14007"/>
                    <a:pt x="19198" y="13871"/>
                  </a:cubicBezTo>
                  <a:cubicBezTo>
                    <a:pt x="19048" y="13747"/>
                    <a:pt x="18880" y="13850"/>
                    <a:pt x="18728" y="13704"/>
                  </a:cubicBezTo>
                  <a:cubicBezTo>
                    <a:pt x="18661" y="13639"/>
                    <a:pt x="18663" y="13525"/>
                    <a:pt x="18572" y="13455"/>
                  </a:cubicBezTo>
                  <a:cubicBezTo>
                    <a:pt x="18496" y="13396"/>
                    <a:pt x="18371" y="13402"/>
                    <a:pt x="18275" y="13386"/>
                  </a:cubicBezTo>
                  <a:cubicBezTo>
                    <a:pt x="18146" y="13365"/>
                    <a:pt x="18052" y="13400"/>
                    <a:pt x="18002" y="13252"/>
                  </a:cubicBezTo>
                  <a:cubicBezTo>
                    <a:pt x="17942" y="13074"/>
                    <a:pt x="18032" y="13009"/>
                    <a:pt x="18136" y="12947"/>
                  </a:cubicBezTo>
                  <a:cubicBezTo>
                    <a:pt x="18221" y="12896"/>
                    <a:pt x="18333" y="12981"/>
                    <a:pt x="18420" y="12907"/>
                  </a:cubicBezTo>
                  <a:cubicBezTo>
                    <a:pt x="18479" y="12858"/>
                    <a:pt x="18601" y="12515"/>
                    <a:pt x="18581" y="12430"/>
                  </a:cubicBezTo>
                  <a:cubicBezTo>
                    <a:pt x="18504" y="12105"/>
                    <a:pt x="17279" y="12403"/>
                    <a:pt x="17516" y="11840"/>
                  </a:cubicBezTo>
                  <a:cubicBezTo>
                    <a:pt x="17571" y="11711"/>
                    <a:pt x="17727" y="11793"/>
                    <a:pt x="17773" y="11724"/>
                  </a:cubicBezTo>
                  <a:cubicBezTo>
                    <a:pt x="17826" y="11647"/>
                    <a:pt x="17799" y="11434"/>
                    <a:pt x="17795" y="11334"/>
                  </a:cubicBezTo>
                  <a:cubicBezTo>
                    <a:pt x="17786" y="11117"/>
                    <a:pt x="17779" y="10880"/>
                    <a:pt x="17731" y="10679"/>
                  </a:cubicBezTo>
                  <a:cubicBezTo>
                    <a:pt x="17693" y="10515"/>
                    <a:pt x="17693" y="10180"/>
                    <a:pt x="17562" y="10071"/>
                  </a:cubicBezTo>
                  <a:cubicBezTo>
                    <a:pt x="17451" y="9977"/>
                    <a:pt x="17270" y="10118"/>
                    <a:pt x="17170" y="9988"/>
                  </a:cubicBezTo>
                  <a:cubicBezTo>
                    <a:pt x="17017" y="9789"/>
                    <a:pt x="17248" y="9377"/>
                    <a:pt x="17304" y="9190"/>
                  </a:cubicBezTo>
                  <a:cubicBezTo>
                    <a:pt x="17421" y="8800"/>
                    <a:pt x="17285" y="8630"/>
                    <a:pt x="17178" y="8287"/>
                  </a:cubicBezTo>
                  <a:cubicBezTo>
                    <a:pt x="17156" y="8215"/>
                    <a:pt x="17094" y="8032"/>
                    <a:pt x="17124" y="7948"/>
                  </a:cubicBezTo>
                  <a:cubicBezTo>
                    <a:pt x="17160" y="7847"/>
                    <a:pt x="17263" y="7903"/>
                    <a:pt x="17310" y="7781"/>
                  </a:cubicBezTo>
                  <a:cubicBezTo>
                    <a:pt x="17420" y="7492"/>
                    <a:pt x="17143" y="7344"/>
                    <a:pt x="17061" y="7137"/>
                  </a:cubicBezTo>
                  <a:cubicBezTo>
                    <a:pt x="16956" y="6871"/>
                    <a:pt x="17030" y="6537"/>
                    <a:pt x="17005" y="6249"/>
                  </a:cubicBezTo>
                  <a:cubicBezTo>
                    <a:pt x="16992" y="6101"/>
                    <a:pt x="16940" y="5953"/>
                    <a:pt x="16942" y="5805"/>
                  </a:cubicBezTo>
                  <a:cubicBezTo>
                    <a:pt x="16946" y="5561"/>
                    <a:pt x="16924" y="5697"/>
                    <a:pt x="17056" y="5559"/>
                  </a:cubicBezTo>
                  <a:cubicBezTo>
                    <a:pt x="17269" y="5336"/>
                    <a:pt x="17284" y="5236"/>
                    <a:pt x="17132" y="4876"/>
                  </a:cubicBezTo>
                  <a:cubicBezTo>
                    <a:pt x="17041" y="4662"/>
                    <a:pt x="16898" y="4525"/>
                    <a:pt x="16785" y="4339"/>
                  </a:cubicBezTo>
                  <a:cubicBezTo>
                    <a:pt x="16673" y="4156"/>
                    <a:pt x="16630" y="3932"/>
                    <a:pt x="16516" y="3760"/>
                  </a:cubicBezTo>
                  <a:cubicBezTo>
                    <a:pt x="16400" y="3586"/>
                    <a:pt x="16247" y="3447"/>
                    <a:pt x="16132" y="3265"/>
                  </a:cubicBezTo>
                  <a:cubicBezTo>
                    <a:pt x="15897" y="2892"/>
                    <a:pt x="15716" y="2474"/>
                    <a:pt x="15493" y="2091"/>
                  </a:cubicBezTo>
                  <a:cubicBezTo>
                    <a:pt x="15387" y="1908"/>
                    <a:pt x="15241" y="1718"/>
                    <a:pt x="15164" y="1519"/>
                  </a:cubicBezTo>
                  <a:cubicBezTo>
                    <a:pt x="15090" y="1326"/>
                    <a:pt x="15123" y="1102"/>
                    <a:pt x="15004" y="948"/>
                  </a:cubicBezTo>
                  <a:cubicBezTo>
                    <a:pt x="14858" y="760"/>
                    <a:pt x="14617" y="784"/>
                    <a:pt x="14425" y="785"/>
                  </a:cubicBezTo>
                  <a:cubicBezTo>
                    <a:pt x="14200" y="787"/>
                    <a:pt x="14078" y="732"/>
                    <a:pt x="13872" y="623"/>
                  </a:cubicBezTo>
                  <a:cubicBezTo>
                    <a:pt x="13633" y="497"/>
                    <a:pt x="13389" y="414"/>
                    <a:pt x="13162" y="256"/>
                  </a:cubicBezTo>
                  <a:cubicBezTo>
                    <a:pt x="12985" y="132"/>
                    <a:pt x="12813" y="3"/>
                    <a:pt x="12606" y="0"/>
                  </a:cubicBezTo>
                  <a:cubicBezTo>
                    <a:pt x="12591" y="242"/>
                    <a:pt x="12664" y="381"/>
                    <a:pt x="12716" y="589"/>
                  </a:cubicBezTo>
                  <a:cubicBezTo>
                    <a:pt x="12602" y="646"/>
                    <a:pt x="12454" y="699"/>
                    <a:pt x="12352" y="785"/>
                  </a:cubicBezTo>
                  <a:cubicBezTo>
                    <a:pt x="12252" y="871"/>
                    <a:pt x="12212" y="1053"/>
                    <a:pt x="12135" y="1124"/>
                  </a:cubicBezTo>
                  <a:cubicBezTo>
                    <a:pt x="11871" y="1371"/>
                    <a:pt x="11649" y="946"/>
                    <a:pt x="11452" y="783"/>
                  </a:cubicBezTo>
                  <a:cubicBezTo>
                    <a:pt x="11213" y="584"/>
                    <a:pt x="11015" y="676"/>
                    <a:pt x="10808" y="877"/>
                  </a:cubicBezTo>
                  <a:cubicBezTo>
                    <a:pt x="10569" y="1109"/>
                    <a:pt x="10379" y="1107"/>
                    <a:pt x="10086" y="970"/>
                  </a:cubicBezTo>
                  <a:cubicBezTo>
                    <a:pt x="9735" y="806"/>
                    <a:pt x="9597" y="803"/>
                    <a:pt x="9234" y="933"/>
                  </a:cubicBezTo>
                  <a:cubicBezTo>
                    <a:pt x="8851" y="1069"/>
                    <a:pt x="8410" y="946"/>
                    <a:pt x="8037" y="1131"/>
                  </a:cubicBezTo>
                  <a:cubicBezTo>
                    <a:pt x="7910" y="1194"/>
                    <a:pt x="7855" y="1305"/>
                    <a:pt x="7751" y="1378"/>
                  </a:cubicBezTo>
                  <a:cubicBezTo>
                    <a:pt x="7591" y="1489"/>
                    <a:pt x="7318" y="1494"/>
                    <a:pt x="7134" y="1464"/>
                  </a:cubicBezTo>
                  <a:cubicBezTo>
                    <a:pt x="6789" y="1407"/>
                    <a:pt x="6567" y="1124"/>
                    <a:pt x="6302" y="922"/>
                  </a:cubicBezTo>
                  <a:cubicBezTo>
                    <a:pt x="6136" y="796"/>
                    <a:pt x="5951" y="513"/>
                    <a:pt x="5772" y="446"/>
                  </a:cubicBezTo>
                  <a:cubicBezTo>
                    <a:pt x="5686" y="414"/>
                    <a:pt x="5582" y="459"/>
                    <a:pt x="5494" y="426"/>
                  </a:cubicBezTo>
                  <a:cubicBezTo>
                    <a:pt x="5357" y="377"/>
                    <a:pt x="5262" y="206"/>
                    <a:pt x="5130" y="164"/>
                  </a:cubicBezTo>
                  <a:cubicBezTo>
                    <a:pt x="4795" y="56"/>
                    <a:pt x="4815" y="697"/>
                    <a:pt x="4754" y="993"/>
                  </a:cubicBezTo>
                  <a:cubicBezTo>
                    <a:pt x="4675" y="1380"/>
                    <a:pt x="4566" y="1745"/>
                    <a:pt x="4455" y="2110"/>
                  </a:cubicBezTo>
                  <a:cubicBezTo>
                    <a:pt x="4352" y="2449"/>
                    <a:pt x="4341" y="2806"/>
                    <a:pt x="4197" y="3132"/>
                  </a:cubicBezTo>
                  <a:cubicBezTo>
                    <a:pt x="4029" y="3510"/>
                    <a:pt x="3925" y="3761"/>
                    <a:pt x="3855" y="4170"/>
                  </a:cubicBezTo>
                  <a:cubicBezTo>
                    <a:pt x="3800" y="4493"/>
                    <a:pt x="3634" y="4634"/>
                    <a:pt x="3389" y="4699"/>
                  </a:cubicBezTo>
                  <a:cubicBezTo>
                    <a:pt x="3274" y="4730"/>
                    <a:pt x="3163" y="4711"/>
                    <a:pt x="3047" y="4767"/>
                  </a:cubicBezTo>
                  <a:cubicBezTo>
                    <a:pt x="2900" y="4839"/>
                    <a:pt x="2784" y="5008"/>
                    <a:pt x="2633" y="5068"/>
                  </a:cubicBezTo>
                  <a:cubicBezTo>
                    <a:pt x="2404" y="5161"/>
                    <a:pt x="2243" y="5042"/>
                    <a:pt x="2033" y="4939"/>
                  </a:cubicBezTo>
                  <a:cubicBezTo>
                    <a:pt x="1761" y="4807"/>
                    <a:pt x="1675" y="4906"/>
                    <a:pt x="1409" y="4981"/>
                  </a:cubicBezTo>
                  <a:cubicBezTo>
                    <a:pt x="1178" y="5047"/>
                    <a:pt x="1012" y="5025"/>
                    <a:pt x="809" y="5214"/>
                  </a:cubicBezTo>
                  <a:cubicBezTo>
                    <a:pt x="650" y="5362"/>
                    <a:pt x="381" y="5546"/>
                    <a:pt x="276" y="5747"/>
                  </a:cubicBezTo>
                  <a:cubicBezTo>
                    <a:pt x="177" y="5937"/>
                    <a:pt x="188" y="6230"/>
                    <a:pt x="162" y="6446"/>
                  </a:cubicBezTo>
                  <a:cubicBezTo>
                    <a:pt x="117" y="6818"/>
                    <a:pt x="75" y="7201"/>
                    <a:pt x="47" y="7577"/>
                  </a:cubicBezTo>
                  <a:cubicBezTo>
                    <a:pt x="-3" y="8236"/>
                    <a:pt x="-42" y="9028"/>
                    <a:pt x="90" y="9664"/>
                  </a:cubicBezTo>
                  <a:cubicBezTo>
                    <a:pt x="391" y="11123"/>
                    <a:pt x="687" y="12601"/>
                    <a:pt x="786" y="14110"/>
                  </a:cubicBezTo>
                  <a:cubicBezTo>
                    <a:pt x="850" y="15100"/>
                    <a:pt x="724" y="16096"/>
                    <a:pt x="694" y="17082"/>
                  </a:cubicBezTo>
                  <a:cubicBezTo>
                    <a:pt x="662" y="18099"/>
                    <a:pt x="824" y="19158"/>
                    <a:pt x="1010" y="20145"/>
                  </a:cubicBezTo>
                  <a:cubicBezTo>
                    <a:pt x="1104" y="20643"/>
                    <a:pt x="1336" y="21283"/>
                    <a:pt x="1663" y="21600"/>
                  </a:cubicBezTo>
                  <a:cubicBezTo>
                    <a:pt x="1663" y="21600"/>
                    <a:pt x="16041" y="21515"/>
                    <a:pt x="16041" y="21515"/>
                  </a:cubicBezTo>
                  <a:close/>
                  <a:moveTo>
                    <a:pt x="16041" y="21515"/>
                  </a:moveTo>
                </a:path>
              </a:pathLst>
            </a:custGeom>
            <a:solidFill>
              <a:srgbClr val="C0C0C0"/>
            </a:solidFill>
            <a:ln w="3175">
              <a:solidFill>
                <a:schemeClr val="bg1">
                  <a:lumMod val="85000"/>
                </a:schemeClr>
              </a:solidFill>
            </a:ln>
          </p:spPr>
          <p:txBody>
            <a:bodyPr lIns="0" tIns="0" rIns="0" bIns="0"/>
            <a:lstStyle/>
            <a:p>
              <a:endParaRPr lang="en-US"/>
            </a:p>
          </p:txBody>
        </p:sp>
        <p:sp>
          <p:nvSpPr>
            <p:cNvPr id="178" name="AutoShape 652">
              <a:extLst>
                <a:ext uri="{FF2B5EF4-FFF2-40B4-BE49-F238E27FC236}">
                  <a16:creationId xmlns:a16="http://schemas.microsoft.com/office/drawing/2014/main" id="{FB57505C-6219-AA41-A231-D94EC0A3FF8A}"/>
                </a:ext>
              </a:extLst>
            </p:cNvPr>
            <p:cNvSpPr>
              <a:spLocks/>
            </p:cNvSpPr>
            <p:nvPr/>
          </p:nvSpPr>
          <p:spPr bwMode="auto">
            <a:xfrm>
              <a:off x="4698694" y="3562622"/>
              <a:ext cx="62071" cy="54172"/>
            </a:xfrm>
            <a:custGeom>
              <a:avLst/>
              <a:gdLst/>
              <a:ahLst/>
              <a:cxnLst/>
              <a:rect l="0" t="0" r="r" b="b"/>
              <a:pathLst>
                <a:path w="20401" h="20788">
                  <a:moveTo>
                    <a:pt x="19745" y="19517"/>
                  </a:moveTo>
                  <a:cubicBezTo>
                    <a:pt x="20920" y="14944"/>
                    <a:pt x="20566" y="8266"/>
                    <a:pt x="18276" y="3837"/>
                  </a:cubicBezTo>
                  <a:cubicBezTo>
                    <a:pt x="15872" y="-812"/>
                    <a:pt x="10130" y="-505"/>
                    <a:pt x="6240" y="961"/>
                  </a:cubicBezTo>
                  <a:cubicBezTo>
                    <a:pt x="-680" y="3570"/>
                    <a:pt x="-473" y="11565"/>
                    <a:pt x="496" y="19077"/>
                  </a:cubicBezTo>
                  <a:cubicBezTo>
                    <a:pt x="569" y="19651"/>
                    <a:pt x="658" y="20221"/>
                    <a:pt x="755" y="20788"/>
                  </a:cubicBezTo>
                  <a:lnTo>
                    <a:pt x="19404" y="20788"/>
                  </a:lnTo>
                  <a:cubicBezTo>
                    <a:pt x="19522" y="20360"/>
                    <a:pt x="19637" y="19935"/>
                    <a:pt x="19745" y="19517"/>
                  </a:cubicBezTo>
                  <a:close/>
                  <a:moveTo>
                    <a:pt x="19745" y="19517"/>
                  </a:moveTo>
                </a:path>
              </a:pathLst>
            </a:custGeom>
            <a:solidFill>
              <a:srgbClr val="3B4A54"/>
            </a:solidFill>
            <a:ln w="3175">
              <a:solidFill>
                <a:schemeClr val="bg1">
                  <a:lumMod val="85000"/>
                </a:schemeClr>
              </a:solidFill>
            </a:ln>
          </p:spPr>
          <p:txBody>
            <a:bodyPr lIns="0" tIns="0" rIns="0" bIns="0"/>
            <a:lstStyle/>
            <a:p>
              <a:endParaRPr lang="en-US"/>
            </a:p>
          </p:txBody>
        </p:sp>
        <p:sp>
          <p:nvSpPr>
            <p:cNvPr id="179" name="Line 683">
              <a:extLst>
                <a:ext uri="{FF2B5EF4-FFF2-40B4-BE49-F238E27FC236}">
                  <a16:creationId xmlns:a16="http://schemas.microsoft.com/office/drawing/2014/main" id="{94FE5302-70E9-FF4C-ACCE-252D3A33589D}"/>
                </a:ext>
              </a:extLst>
            </p:cNvPr>
            <p:cNvSpPr>
              <a:spLocks noChangeShapeType="1"/>
            </p:cNvSpPr>
            <p:nvPr/>
          </p:nvSpPr>
          <p:spPr bwMode="auto">
            <a:xfrm rot="10800000" flipH="1">
              <a:off x="4280275" y="3588298"/>
              <a:ext cx="442402" cy="119629"/>
            </a:xfrm>
            <a:prstGeom prst="line">
              <a:avLst/>
            </a:prstGeom>
            <a:noFill/>
            <a:ln w="3175" cap="flat" cmpd="sng">
              <a:solidFill>
                <a:schemeClr val="bg1">
                  <a:lumMod val="85000"/>
                </a:schemeClr>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endParaRPr lang="en-US" dirty="0"/>
            </a:p>
          </p:txBody>
        </p:sp>
        <p:sp>
          <p:nvSpPr>
            <p:cNvPr id="180" name="AutoShape 684">
              <a:extLst>
                <a:ext uri="{FF2B5EF4-FFF2-40B4-BE49-F238E27FC236}">
                  <a16:creationId xmlns:a16="http://schemas.microsoft.com/office/drawing/2014/main" id="{73484703-FDF2-F04A-BE7A-EBFF462477B5}"/>
                </a:ext>
              </a:extLst>
            </p:cNvPr>
            <p:cNvSpPr>
              <a:spLocks/>
            </p:cNvSpPr>
            <p:nvPr/>
          </p:nvSpPr>
          <p:spPr bwMode="auto">
            <a:xfrm>
              <a:off x="4696437" y="3616794"/>
              <a:ext cx="179444" cy="303022"/>
            </a:xfrm>
            <a:custGeom>
              <a:avLst/>
              <a:gdLst/>
              <a:ahLst/>
              <a:cxnLst/>
              <a:rect l="0" t="0" r="r" b="b"/>
              <a:pathLst>
                <a:path w="21455" h="21600">
                  <a:moveTo>
                    <a:pt x="11172" y="19459"/>
                  </a:moveTo>
                  <a:cubicBezTo>
                    <a:pt x="10775" y="18616"/>
                    <a:pt x="11738" y="18761"/>
                    <a:pt x="12860" y="18762"/>
                  </a:cubicBezTo>
                  <a:cubicBezTo>
                    <a:pt x="14235" y="18762"/>
                    <a:pt x="14332" y="18671"/>
                    <a:pt x="14401" y="17858"/>
                  </a:cubicBezTo>
                  <a:cubicBezTo>
                    <a:pt x="15837" y="17812"/>
                    <a:pt x="17712" y="17955"/>
                    <a:pt x="18257" y="16990"/>
                  </a:cubicBezTo>
                  <a:cubicBezTo>
                    <a:pt x="18826" y="15983"/>
                    <a:pt x="18380" y="15099"/>
                    <a:pt x="17380" y="14297"/>
                  </a:cubicBezTo>
                  <a:cubicBezTo>
                    <a:pt x="16163" y="13322"/>
                    <a:pt x="15479" y="9829"/>
                    <a:pt x="17897" y="9215"/>
                  </a:cubicBezTo>
                  <a:cubicBezTo>
                    <a:pt x="18662" y="9020"/>
                    <a:pt x="19678" y="9251"/>
                    <a:pt x="20485" y="9150"/>
                  </a:cubicBezTo>
                  <a:cubicBezTo>
                    <a:pt x="20898" y="9099"/>
                    <a:pt x="21195" y="8990"/>
                    <a:pt x="21455" y="8851"/>
                  </a:cubicBezTo>
                  <a:cubicBezTo>
                    <a:pt x="21019" y="8717"/>
                    <a:pt x="20659" y="8543"/>
                    <a:pt x="20503" y="8358"/>
                  </a:cubicBezTo>
                  <a:cubicBezTo>
                    <a:pt x="20214" y="8014"/>
                    <a:pt x="20240" y="7430"/>
                    <a:pt x="19718" y="7165"/>
                  </a:cubicBezTo>
                  <a:cubicBezTo>
                    <a:pt x="18940" y="6770"/>
                    <a:pt x="18549" y="7324"/>
                    <a:pt x="17807" y="7232"/>
                  </a:cubicBezTo>
                  <a:cubicBezTo>
                    <a:pt x="16889" y="7118"/>
                    <a:pt x="17560" y="6518"/>
                    <a:pt x="17159" y="6160"/>
                  </a:cubicBezTo>
                  <a:cubicBezTo>
                    <a:pt x="16710" y="5757"/>
                    <a:pt x="15797" y="6045"/>
                    <a:pt x="15109" y="5881"/>
                  </a:cubicBezTo>
                  <a:cubicBezTo>
                    <a:pt x="14116" y="5643"/>
                    <a:pt x="14347" y="5149"/>
                    <a:pt x="13874" y="4710"/>
                  </a:cubicBezTo>
                  <a:cubicBezTo>
                    <a:pt x="13362" y="4235"/>
                    <a:pt x="12723" y="4426"/>
                    <a:pt x="11871" y="4446"/>
                  </a:cubicBezTo>
                  <a:cubicBezTo>
                    <a:pt x="10794" y="4471"/>
                    <a:pt x="10390" y="4241"/>
                    <a:pt x="9626" y="3843"/>
                  </a:cubicBezTo>
                  <a:cubicBezTo>
                    <a:pt x="8897" y="3463"/>
                    <a:pt x="7692" y="3063"/>
                    <a:pt x="7192" y="2565"/>
                  </a:cubicBezTo>
                  <a:cubicBezTo>
                    <a:pt x="6377" y="1753"/>
                    <a:pt x="6957" y="832"/>
                    <a:pt x="7405" y="0"/>
                  </a:cubicBezTo>
                  <a:lnTo>
                    <a:pt x="608" y="0"/>
                  </a:lnTo>
                  <a:cubicBezTo>
                    <a:pt x="844" y="708"/>
                    <a:pt x="1233" y="1395"/>
                    <a:pt x="1350" y="2137"/>
                  </a:cubicBezTo>
                  <a:cubicBezTo>
                    <a:pt x="1464" y="2857"/>
                    <a:pt x="1843" y="3563"/>
                    <a:pt x="464" y="3755"/>
                  </a:cubicBezTo>
                  <a:cubicBezTo>
                    <a:pt x="-145" y="4305"/>
                    <a:pt x="-48" y="5941"/>
                    <a:pt x="154" y="6586"/>
                  </a:cubicBezTo>
                  <a:cubicBezTo>
                    <a:pt x="340" y="7177"/>
                    <a:pt x="502" y="7482"/>
                    <a:pt x="1530" y="7489"/>
                  </a:cubicBezTo>
                  <a:cubicBezTo>
                    <a:pt x="2925" y="7499"/>
                    <a:pt x="3430" y="7876"/>
                    <a:pt x="3629" y="8748"/>
                  </a:cubicBezTo>
                  <a:cubicBezTo>
                    <a:pt x="3849" y="9710"/>
                    <a:pt x="4675" y="10456"/>
                    <a:pt x="5055" y="11403"/>
                  </a:cubicBezTo>
                  <a:cubicBezTo>
                    <a:pt x="5413" y="12295"/>
                    <a:pt x="5665" y="13198"/>
                    <a:pt x="5665" y="14162"/>
                  </a:cubicBezTo>
                  <a:cubicBezTo>
                    <a:pt x="5665" y="15085"/>
                    <a:pt x="5560" y="15990"/>
                    <a:pt x="5485" y="16885"/>
                  </a:cubicBezTo>
                  <a:cubicBezTo>
                    <a:pt x="5379" y="18162"/>
                    <a:pt x="6483" y="18760"/>
                    <a:pt x="7916" y="19619"/>
                  </a:cubicBezTo>
                  <a:cubicBezTo>
                    <a:pt x="9146" y="20358"/>
                    <a:pt x="9939" y="21126"/>
                    <a:pt x="11509" y="21507"/>
                  </a:cubicBezTo>
                  <a:cubicBezTo>
                    <a:pt x="11619" y="21534"/>
                    <a:pt x="11724" y="21565"/>
                    <a:pt x="11825" y="21600"/>
                  </a:cubicBezTo>
                  <a:cubicBezTo>
                    <a:pt x="11875" y="21463"/>
                    <a:pt x="11917" y="21326"/>
                    <a:pt x="11941" y="21187"/>
                  </a:cubicBezTo>
                  <a:cubicBezTo>
                    <a:pt x="12069" y="20443"/>
                    <a:pt x="11477" y="20107"/>
                    <a:pt x="11172" y="19459"/>
                  </a:cubicBezTo>
                  <a:close/>
                  <a:moveTo>
                    <a:pt x="11172" y="19459"/>
                  </a:moveTo>
                </a:path>
              </a:pathLst>
            </a:custGeom>
            <a:solidFill>
              <a:srgbClr val="3B4A54"/>
            </a:solidFill>
            <a:ln w="3175">
              <a:solidFill>
                <a:schemeClr val="bg1">
                  <a:lumMod val="85000"/>
                </a:schemeClr>
              </a:solidFill>
            </a:ln>
          </p:spPr>
          <p:txBody>
            <a:bodyPr lIns="0" tIns="0" rIns="0" bIns="0"/>
            <a:lstStyle/>
            <a:p>
              <a:endParaRPr lang="en-US"/>
            </a:p>
          </p:txBody>
        </p:sp>
        <p:sp>
          <p:nvSpPr>
            <p:cNvPr id="181" name="AutoShape 708">
              <a:extLst>
                <a:ext uri="{FF2B5EF4-FFF2-40B4-BE49-F238E27FC236}">
                  <a16:creationId xmlns:a16="http://schemas.microsoft.com/office/drawing/2014/main" id="{E2F299E1-4F9B-F842-BECE-829360DD3082}"/>
                </a:ext>
              </a:extLst>
            </p:cNvPr>
            <p:cNvSpPr>
              <a:spLocks/>
            </p:cNvSpPr>
            <p:nvPr/>
          </p:nvSpPr>
          <p:spPr bwMode="auto">
            <a:xfrm>
              <a:off x="4732551" y="3393337"/>
              <a:ext cx="373840" cy="214147"/>
            </a:xfrm>
            <a:custGeom>
              <a:avLst/>
              <a:gdLst/>
              <a:ahLst/>
              <a:cxnLst/>
              <a:rect l="0" t="0" r="r" b="b"/>
              <a:pathLst>
                <a:path w="20856" h="21403">
                  <a:moveTo>
                    <a:pt x="4497" y="13287"/>
                  </a:moveTo>
                  <a:cubicBezTo>
                    <a:pt x="5206" y="14344"/>
                    <a:pt x="5439" y="15954"/>
                    <a:pt x="6227" y="16799"/>
                  </a:cubicBezTo>
                  <a:cubicBezTo>
                    <a:pt x="7017" y="17646"/>
                    <a:pt x="7779" y="17484"/>
                    <a:pt x="8669" y="17720"/>
                  </a:cubicBezTo>
                  <a:cubicBezTo>
                    <a:pt x="9545" y="17953"/>
                    <a:pt x="9856" y="19149"/>
                    <a:pt x="10232" y="20424"/>
                  </a:cubicBezTo>
                  <a:cubicBezTo>
                    <a:pt x="10449" y="21160"/>
                    <a:pt x="10515" y="21372"/>
                    <a:pt x="10976" y="21401"/>
                  </a:cubicBezTo>
                  <a:cubicBezTo>
                    <a:pt x="11351" y="21425"/>
                    <a:pt x="11633" y="21235"/>
                    <a:pt x="11985" y="21101"/>
                  </a:cubicBezTo>
                  <a:cubicBezTo>
                    <a:pt x="12804" y="20789"/>
                    <a:pt x="13600" y="20241"/>
                    <a:pt x="14408" y="19768"/>
                  </a:cubicBezTo>
                  <a:cubicBezTo>
                    <a:pt x="15361" y="19210"/>
                    <a:pt x="16368" y="18814"/>
                    <a:pt x="17319" y="18150"/>
                  </a:cubicBezTo>
                  <a:cubicBezTo>
                    <a:pt x="17774" y="17833"/>
                    <a:pt x="18191" y="17420"/>
                    <a:pt x="18664" y="17210"/>
                  </a:cubicBezTo>
                  <a:cubicBezTo>
                    <a:pt x="19097" y="17019"/>
                    <a:pt x="19512" y="17073"/>
                    <a:pt x="19953" y="16966"/>
                  </a:cubicBezTo>
                  <a:cubicBezTo>
                    <a:pt x="20546" y="16823"/>
                    <a:pt x="21299" y="15543"/>
                    <a:pt x="20530" y="14728"/>
                  </a:cubicBezTo>
                  <a:cubicBezTo>
                    <a:pt x="20199" y="14377"/>
                    <a:pt x="19911" y="14568"/>
                    <a:pt x="19911" y="13659"/>
                  </a:cubicBezTo>
                  <a:cubicBezTo>
                    <a:pt x="19910" y="13057"/>
                    <a:pt x="20098" y="12467"/>
                    <a:pt x="20214" y="11932"/>
                  </a:cubicBezTo>
                  <a:cubicBezTo>
                    <a:pt x="20396" y="11089"/>
                    <a:pt x="20499" y="10405"/>
                    <a:pt x="20317" y="9519"/>
                  </a:cubicBezTo>
                  <a:cubicBezTo>
                    <a:pt x="20185" y="8875"/>
                    <a:pt x="19857" y="8300"/>
                    <a:pt x="19953" y="7570"/>
                  </a:cubicBezTo>
                  <a:cubicBezTo>
                    <a:pt x="20027" y="7008"/>
                    <a:pt x="20412" y="6680"/>
                    <a:pt x="20324" y="5990"/>
                  </a:cubicBezTo>
                  <a:cubicBezTo>
                    <a:pt x="20289" y="5719"/>
                    <a:pt x="20072" y="5442"/>
                    <a:pt x="20035" y="5090"/>
                  </a:cubicBezTo>
                  <a:cubicBezTo>
                    <a:pt x="19997" y="4714"/>
                    <a:pt x="20067" y="4430"/>
                    <a:pt x="20121" y="4109"/>
                  </a:cubicBezTo>
                  <a:cubicBezTo>
                    <a:pt x="20299" y="3070"/>
                    <a:pt x="20246" y="2213"/>
                    <a:pt x="19915" y="1359"/>
                  </a:cubicBezTo>
                  <a:cubicBezTo>
                    <a:pt x="19755" y="1751"/>
                    <a:pt x="19571" y="2111"/>
                    <a:pt x="19326" y="2295"/>
                  </a:cubicBezTo>
                  <a:cubicBezTo>
                    <a:pt x="18549" y="2879"/>
                    <a:pt x="17903" y="2010"/>
                    <a:pt x="17562" y="3740"/>
                  </a:cubicBezTo>
                  <a:cubicBezTo>
                    <a:pt x="17313" y="5000"/>
                    <a:pt x="16936" y="5693"/>
                    <a:pt x="16094" y="5544"/>
                  </a:cubicBezTo>
                  <a:cubicBezTo>
                    <a:pt x="15792" y="5491"/>
                    <a:pt x="15264" y="5328"/>
                    <a:pt x="15136" y="4714"/>
                  </a:cubicBezTo>
                  <a:cubicBezTo>
                    <a:pt x="15041" y="4256"/>
                    <a:pt x="15080" y="3918"/>
                    <a:pt x="15081" y="3571"/>
                  </a:cubicBezTo>
                  <a:cubicBezTo>
                    <a:pt x="14787" y="3667"/>
                    <a:pt x="14445" y="3636"/>
                    <a:pt x="14163" y="3586"/>
                  </a:cubicBezTo>
                  <a:cubicBezTo>
                    <a:pt x="13889" y="3537"/>
                    <a:pt x="13393" y="3210"/>
                    <a:pt x="13115" y="3434"/>
                  </a:cubicBezTo>
                  <a:cubicBezTo>
                    <a:pt x="12824" y="3668"/>
                    <a:pt x="12855" y="4320"/>
                    <a:pt x="12360" y="4188"/>
                  </a:cubicBezTo>
                  <a:cubicBezTo>
                    <a:pt x="11945" y="4076"/>
                    <a:pt x="12053" y="3553"/>
                    <a:pt x="11647" y="3231"/>
                  </a:cubicBezTo>
                  <a:cubicBezTo>
                    <a:pt x="11314" y="2966"/>
                    <a:pt x="10913" y="2744"/>
                    <a:pt x="10556" y="2624"/>
                  </a:cubicBezTo>
                  <a:cubicBezTo>
                    <a:pt x="10201" y="2505"/>
                    <a:pt x="9829" y="2743"/>
                    <a:pt x="9978" y="1951"/>
                  </a:cubicBezTo>
                  <a:cubicBezTo>
                    <a:pt x="10025" y="1702"/>
                    <a:pt x="10247" y="1463"/>
                    <a:pt x="10306" y="1181"/>
                  </a:cubicBezTo>
                  <a:cubicBezTo>
                    <a:pt x="10372" y="866"/>
                    <a:pt x="10351" y="487"/>
                    <a:pt x="10340" y="142"/>
                  </a:cubicBezTo>
                  <a:cubicBezTo>
                    <a:pt x="9902" y="-175"/>
                    <a:pt x="9084" y="51"/>
                    <a:pt x="8785" y="708"/>
                  </a:cubicBezTo>
                  <a:cubicBezTo>
                    <a:pt x="8303" y="1763"/>
                    <a:pt x="8127" y="3266"/>
                    <a:pt x="7581" y="4263"/>
                  </a:cubicBezTo>
                  <a:cubicBezTo>
                    <a:pt x="6978" y="5362"/>
                    <a:pt x="6186" y="4828"/>
                    <a:pt x="5436" y="4637"/>
                  </a:cubicBezTo>
                  <a:cubicBezTo>
                    <a:pt x="4991" y="4523"/>
                    <a:pt x="4552" y="4466"/>
                    <a:pt x="4108" y="4438"/>
                  </a:cubicBezTo>
                  <a:cubicBezTo>
                    <a:pt x="4206" y="4826"/>
                    <a:pt x="4146" y="5102"/>
                    <a:pt x="3834" y="5374"/>
                  </a:cubicBezTo>
                  <a:cubicBezTo>
                    <a:pt x="3481" y="5681"/>
                    <a:pt x="3273" y="6067"/>
                    <a:pt x="2956" y="6424"/>
                  </a:cubicBezTo>
                  <a:cubicBezTo>
                    <a:pt x="2623" y="6799"/>
                    <a:pt x="2210" y="6597"/>
                    <a:pt x="1884" y="6908"/>
                  </a:cubicBezTo>
                  <a:cubicBezTo>
                    <a:pt x="1544" y="7233"/>
                    <a:pt x="1389" y="8029"/>
                    <a:pt x="1164" y="8544"/>
                  </a:cubicBezTo>
                  <a:cubicBezTo>
                    <a:pt x="1038" y="8828"/>
                    <a:pt x="925" y="9076"/>
                    <a:pt x="742" y="9207"/>
                  </a:cubicBezTo>
                  <a:cubicBezTo>
                    <a:pt x="576" y="9326"/>
                    <a:pt x="265" y="9103"/>
                    <a:pt x="122" y="9314"/>
                  </a:cubicBezTo>
                  <a:cubicBezTo>
                    <a:pt x="-301" y="9939"/>
                    <a:pt x="500" y="10461"/>
                    <a:pt x="688" y="10951"/>
                  </a:cubicBezTo>
                  <a:cubicBezTo>
                    <a:pt x="950" y="11633"/>
                    <a:pt x="865" y="12217"/>
                    <a:pt x="1371" y="12385"/>
                  </a:cubicBezTo>
                  <a:cubicBezTo>
                    <a:pt x="1698" y="12494"/>
                    <a:pt x="2129" y="12198"/>
                    <a:pt x="2411" y="12625"/>
                  </a:cubicBezTo>
                  <a:cubicBezTo>
                    <a:pt x="2449" y="12682"/>
                    <a:pt x="2482" y="12750"/>
                    <a:pt x="2513" y="12824"/>
                  </a:cubicBezTo>
                  <a:cubicBezTo>
                    <a:pt x="2735" y="12673"/>
                    <a:pt x="2961" y="12497"/>
                    <a:pt x="3174" y="12456"/>
                  </a:cubicBezTo>
                  <a:cubicBezTo>
                    <a:pt x="3697" y="12356"/>
                    <a:pt x="4112" y="12714"/>
                    <a:pt x="4497" y="13287"/>
                  </a:cubicBezTo>
                  <a:close/>
                  <a:moveTo>
                    <a:pt x="4497" y="13287"/>
                  </a:moveTo>
                </a:path>
              </a:pathLst>
            </a:custGeom>
            <a:solidFill>
              <a:srgbClr val="3B4A54"/>
            </a:solidFill>
            <a:ln w="3175">
              <a:solidFill>
                <a:schemeClr val="bg1">
                  <a:lumMod val="85000"/>
                </a:schemeClr>
              </a:solidFill>
            </a:ln>
          </p:spPr>
          <p:txBody>
            <a:bodyPr lIns="0" tIns="0" rIns="0" bIns="0"/>
            <a:lstStyle/>
            <a:p>
              <a:endParaRPr lang="en-US"/>
            </a:p>
          </p:txBody>
        </p:sp>
        <p:sp>
          <p:nvSpPr>
            <p:cNvPr id="182" name="AutoShape 735">
              <a:extLst>
                <a:ext uri="{FF2B5EF4-FFF2-40B4-BE49-F238E27FC236}">
                  <a16:creationId xmlns:a16="http://schemas.microsoft.com/office/drawing/2014/main" id="{C4946AAD-2FD3-944D-B935-6FC55A51058D}"/>
                </a:ext>
              </a:extLst>
            </p:cNvPr>
            <p:cNvSpPr>
              <a:spLocks/>
            </p:cNvSpPr>
            <p:nvPr/>
          </p:nvSpPr>
          <p:spPr bwMode="auto">
            <a:xfrm>
              <a:off x="4777694" y="3517479"/>
              <a:ext cx="356066" cy="224869"/>
            </a:xfrm>
            <a:custGeom>
              <a:avLst/>
              <a:gdLst/>
              <a:ahLst/>
              <a:cxnLst/>
              <a:rect l="0" t="0" r="r" b="b"/>
              <a:pathLst>
                <a:path w="21321" h="21468">
                  <a:moveTo>
                    <a:pt x="8580" y="20915"/>
                  </a:moveTo>
                  <a:cubicBezTo>
                    <a:pt x="8812" y="20989"/>
                    <a:pt x="8967" y="21267"/>
                    <a:pt x="9189" y="21367"/>
                  </a:cubicBezTo>
                  <a:cubicBezTo>
                    <a:pt x="9527" y="21520"/>
                    <a:pt x="10123" y="21511"/>
                    <a:pt x="10424" y="21258"/>
                  </a:cubicBezTo>
                  <a:cubicBezTo>
                    <a:pt x="10762" y="20974"/>
                    <a:pt x="10895" y="20344"/>
                    <a:pt x="11326" y="20342"/>
                  </a:cubicBezTo>
                  <a:cubicBezTo>
                    <a:pt x="14323" y="20342"/>
                    <a:pt x="17370" y="20069"/>
                    <a:pt x="20362" y="20342"/>
                  </a:cubicBezTo>
                  <a:cubicBezTo>
                    <a:pt x="20678" y="20371"/>
                    <a:pt x="21108" y="20606"/>
                    <a:pt x="21279" y="20030"/>
                  </a:cubicBezTo>
                  <a:cubicBezTo>
                    <a:pt x="21452" y="19449"/>
                    <a:pt x="21050" y="18687"/>
                    <a:pt x="20734" y="18495"/>
                  </a:cubicBezTo>
                  <a:cubicBezTo>
                    <a:pt x="20177" y="18154"/>
                    <a:pt x="19297" y="18447"/>
                    <a:pt x="19384" y="17038"/>
                  </a:cubicBezTo>
                  <a:lnTo>
                    <a:pt x="19300" y="3976"/>
                  </a:lnTo>
                  <a:cubicBezTo>
                    <a:pt x="19132" y="4158"/>
                    <a:pt x="18936" y="4286"/>
                    <a:pt x="18754" y="4325"/>
                  </a:cubicBezTo>
                  <a:cubicBezTo>
                    <a:pt x="18281" y="4427"/>
                    <a:pt x="17835" y="4375"/>
                    <a:pt x="17371" y="4558"/>
                  </a:cubicBezTo>
                  <a:cubicBezTo>
                    <a:pt x="16863" y="4759"/>
                    <a:pt x="16416" y="5153"/>
                    <a:pt x="15928" y="5456"/>
                  </a:cubicBezTo>
                  <a:cubicBezTo>
                    <a:pt x="14906" y="6091"/>
                    <a:pt x="13826" y="6469"/>
                    <a:pt x="12802" y="7003"/>
                  </a:cubicBezTo>
                  <a:cubicBezTo>
                    <a:pt x="11935" y="7454"/>
                    <a:pt x="11082" y="7978"/>
                    <a:pt x="10202" y="8276"/>
                  </a:cubicBezTo>
                  <a:cubicBezTo>
                    <a:pt x="9824" y="8404"/>
                    <a:pt x="9522" y="8586"/>
                    <a:pt x="9120" y="8563"/>
                  </a:cubicBezTo>
                  <a:cubicBezTo>
                    <a:pt x="8625" y="8535"/>
                    <a:pt x="8553" y="8332"/>
                    <a:pt x="8320" y="7629"/>
                  </a:cubicBezTo>
                  <a:cubicBezTo>
                    <a:pt x="7917" y="6410"/>
                    <a:pt x="7584" y="5268"/>
                    <a:pt x="6644" y="5045"/>
                  </a:cubicBezTo>
                  <a:cubicBezTo>
                    <a:pt x="5689" y="4819"/>
                    <a:pt x="4870" y="4975"/>
                    <a:pt x="4023" y="4165"/>
                  </a:cubicBezTo>
                  <a:cubicBezTo>
                    <a:pt x="3176" y="3358"/>
                    <a:pt x="2927" y="1819"/>
                    <a:pt x="2165" y="809"/>
                  </a:cubicBezTo>
                  <a:cubicBezTo>
                    <a:pt x="1752" y="262"/>
                    <a:pt x="1308" y="-80"/>
                    <a:pt x="746" y="16"/>
                  </a:cubicBezTo>
                  <a:cubicBezTo>
                    <a:pt x="517" y="55"/>
                    <a:pt x="274" y="223"/>
                    <a:pt x="36" y="367"/>
                  </a:cubicBezTo>
                  <a:cubicBezTo>
                    <a:pt x="448" y="1232"/>
                    <a:pt x="355" y="3216"/>
                    <a:pt x="171" y="4055"/>
                  </a:cubicBezTo>
                  <a:cubicBezTo>
                    <a:pt x="32" y="4690"/>
                    <a:pt x="-148" y="5042"/>
                    <a:pt x="205" y="5614"/>
                  </a:cubicBezTo>
                  <a:cubicBezTo>
                    <a:pt x="531" y="6142"/>
                    <a:pt x="1111" y="6244"/>
                    <a:pt x="1523" y="6534"/>
                  </a:cubicBezTo>
                  <a:cubicBezTo>
                    <a:pt x="1651" y="6624"/>
                    <a:pt x="1985" y="6765"/>
                    <a:pt x="2054" y="6963"/>
                  </a:cubicBezTo>
                  <a:cubicBezTo>
                    <a:pt x="2196" y="7372"/>
                    <a:pt x="1902" y="7524"/>
                    <a:pt x="1925" y="7845"/>
                  </a:cubicBezTo>
                  <a:cubicBezTo>
                    <a:pt x="1971" y="8513"/>
                    <a:pt x="2515" y="8199"/>
                    <a:pt x="2328" y="9121"/>
                  </a:cubicBezTo>
                  <a:cubicBezTo>
                    <a:pt x="2710" y="9424"/>
                    <a:pt x="3148" y="9113"/>
                    <a:pt x="3483" y="9656"/>
                  </a:cubicBezTo>
                  <a:cubicBezTo>
                    <a:pt x="3754" y="10095"/>
                    <a:pt x="3989" y="10958"/>
                    <a:pt x="4180" y="11508"/>
                  </a:cubicBezTo>
                  <a:cubicBezTo>
                    <a:pt x="4391" y="12114"/>
                    <a:pt x="4526" y="12691"/>
                    <a:pt x="4528" y="13391"/>
                  </a:cubicBezTo>
                  <a:cubicBezTo>
                    <a:pt x="4530" y="14140"/>
                    <a:pt x="4404" y="14895"/>
                    <a:pt x="4570" y="15602"/>
                  </a:cubicBezTo>
                  <a:cubicBezTo>
                    <a:pt x="4714" y="16210"/>
                    <a:pt x="5007" y="16790"/>
                    <a:pt x="5147" y="17410"/>
                  </a:cubicBezTo>
                  <a:cubicBezTo>
                    <a:pt x="5273" y="17969"/>
                    <a:pt x="5221" y="18783"/>
                    <a:pt x="5383" y="19265"/>
                  </a:cubicBezTo>
                  <a:cubicBezTo>
                    <a:pt x="5625" y="19985"/>
                    <a:pt x="5996" y="19518"/>
                    <a:pt x="6431" y="19624"/>
                  </a:cubicBezTo>
                  <a:cubicBezTo>
                    <a:pt x="6783" y="19711"/>
                    <a:pt x="7082" y="20180"/>
                    <a:pt x="7170" y="20745"/>
                  </a:cubicBezTo>
                  <a:cubicBezTo>
                    <a:pt x="7368" y="20788"/>
                    <a:pt x="7567" y="20831"/>
                    <a:pt x="7769" y="20845"/>
                  </a:cubicBezTo>
                  <a:cubicBezTo>
                    <a:pt x="8024" y="20863"/>
                    <a:pt x="8331" y="20836"/>
                    <a:pt x="8580" y="20915"/>
                  </a:cubicBezTo>
                  <a:close/>
                  <a:moveTo>
                    <a:pt x="8580" y="20915"/>
                  </a:moveTo>
                </a:path>
              </a:pathLst>
            </a:custGeom>
            <a:solidFill>
              <a:srgbClr val="3B4A54"/>
            </a:solidFill>
            <a:ln w="3175">
              <a:solidFill>
                <a:schemeClr val="bg1">
                  <a:lumMod val="85000"/>
                </a:schemeClr>
              </a:solidFill>
            </a:ln>
          </p:spPr>
          <p:txBody>
            <a:bodyPr lIns="0" tIns="0" rIns="0" bIns="0"/>
            <a:lstStyle/>
            <a:p>
              <a:endParaRPr lang="en-US"/>
            </a:p>
          </p:txBody>
        </p:sp>
        <p:sp>
          <p:nvSpPr>
            <p:cNvPr id="183" name="AutoShape 757">
              <a:extLst>
                <a:ext uri="{FF2B5EF4-FFF2-40B4-BE49-F238E27FC236}">
                  <a16:creationId xmlns:a16="http://schemas.microsoft.com/office/drawing/2014/main" id="{36B54AC9-A25A-A541-85E3-DA09FBFEE41C}"/>
                </a:ext>
              </a:extLst>
            </p:cNvPr>
            <p:cNvSpPr>
              <a:spLocks/>
            </p:cNvSpPr>
            <p:nvPr/>
          </p:nvSpPr>
          <p:spPr bwMode="auto">
            <a:xfrm>
              <a:off x="5089181" y="3314336"/>
              <a:ext cx="277065" cy="415034"/>
            </a:xfrm>
            <a:custGeom>
              <a:avLst/>
              <a:gdLst/>
              <a:ahLst/>
              <a:cxnLst/>
              <a:rect l="0" t="0" r="r" b="b"/>
              <a:pathLst>
                <a:path w="21428" h="21591">
                  <a:moveTo>
                    <a:pt x="3548" y="21545"/>
                  </a:moveTo>
                  <a:cubicBezTo>
                    <a:pt x="5807" y="20119"/>
                    <a:pt x="8066" y="18692"/>
                    <a:pt x="10326" y="17266"/>
                  </a:cubicBezTo>
                  <a:cubicBezTo>
                    <a:pt x="10808" y="16961"/>
                    <a:pt x="11416" y="16279"/>
                    <a:pt x="12078" y="16264"/>
                  </a:cubicBezTo>
                  <a:cubicBezTo>
                    <a:pt x="12227" y="16260"/>
                    <a:pt x="12463" y="16338"/>
                    <a:pt x="12577" y="16324"/>
                  </a:cubicBezTo>
                  <a:cubicBezTo>
                    <a:pt x="12926" y="16279"/>
                    <a:pt x="12727" y="16213"/>
                    <a:pt x="12891" y="16087"/>
                  </a:cubicBezTo>
                  <a:cubicBezTo>
                    <a:pt x="13032" y="15980"/>
                    <a:pt x="13255" y="15977"/>
                    <a:pt x="13366" y="15883"/>
                  </a:cubicBezTo>
                  <a:cubicBezTo>
                    <a:pt x="13525" y="15749"/>
                    <a:pt x="13368" y="15546"/>
                    <a:pt x="13582" y="15418"/>
                  </a:cubicBezTo>
                  <a:cubicBezTo>
                    <a:pt x="13861" y="15252"/>
                    <a:pt x="14497" y="15404"/>
                    <a:pt x="14845" y="15311"/>
                  </a:cubicBezTo>
                  <a:cubicBezTo>
                    <a:pt x="15538" y="15125"/>
                    <a:pt x="16288" y="14398"/>
                    <a:pt x="17082" y="14649"/>
                  </a:cubicBezTo>
                  <a:cubicBezTo>
                    <a:pt x="17472" y="14772"/>
                    <a:pt x="17586" y="14945"/>
                    <a:pt x="18077" y="14773"/>
                  </a:cubicBezTo>
                  <a:cubicBezTo>
                    <a:pt x="18376" y="14669"/>
                    <a:pt x="18573" y="14416"/>
                    <a:pt x="18934" y="14413"/>
                  </a:cubicBezTo>
                  <a:cubicBezTo>
                    <a:pt x="19414" y="14409"/>
                    <a:pt x="19731" y="14807"/>
                    <a:pt x="20211" y="14883"/>
                  </a:cubicBezTo>
                  <a:cubicBezTo>
                    <a:pt x="20810" y="14977"/>
                    <a:pt x="21348" y="14607"/>
                    <a:pt x="21345" y="14210"/>
                  </a:cubicBezTo>
                  <a:cubicBezTo>
                    <a:pt x="21359" y="12939"/>
                    <a:pt x="21373" y="11667"/>
                    <a:pt x="21386" y="10396"/>
                  </a:cubicBezTo>
                  <a:cubicBezTo>
                    <a:pt x="21396" y="9497"/>
                    <a:pt x="21406" y="8597"/>
                    <a:pt x="21416" y="7698"/>
                  </a:cubicBezTo>
                  <a:cubicBezTo>
                    <a:pt x="21427" y="6761"/>
                    <a:pt x="21525" y="5842"/>
                    <a:pt x="20901" y="4978"/>
                  </a:cubicBezTo>
                  <a:cubicBezTo>
                    <a:pt x="20716" y="4722"/>
                    <a:pt x="20497" y="4477"/>
                    <a:pt x="20301" y="4225"/>
                  </a:cubicBezTo>
                  <a:cubicBezTo>
                    <a:pt x="19761" y="3532"/>
                    <a:pt x="19637" y="2894"/>
                    <a:pt x="19609" y="2161"/>
                  </a:cubicBezTo>
                  <a:cubicBezTo>
                    <a:pt x="19454" y="2136"/>
                    <a:pt x="19314" y="2097"/>
                    <a:pt x="19203" y="2035"/>
                  </a:cubicBezTo>
                  <a:cubicBezTo>
                    <a:pt x="18909" y="1871"/>
                    <a:pt x="18764" y="1384"/>
                    <a:pt x="18622" y="1151"/>
                  </a:cubicBezTo>
                  <a:cubicBezTo>
                    <a:pt x="18390" y="767"/>
                    <a:pt x="18157" y="384"/>
                    <a:pt x="17924" y="0"/>
                  </a:cubicBezTo>
                  <a:cubicBezTo>
                    <a:pt x="17484" y="430"/>
                    <a:pt x="16336" y="421"/>
                    <a:pt x="15645" y="536"/>
                  </a:cubicBezTo>
                  <a:cubicBezTo>
                    <a:pt x="15154" y="618"/>
                    <a:pt x="14603" y="698"/>
                    <a:pt x="14133" y="817"/>
                  </a:cubicBezTo>
                  <a:cubicBezTo>
                    <a:pt x="13515" y="972"/>
                    <a:pt x="13049" y="1301"/>
                    <a:pt x="12463" y="1465"/>
                  </a:cubicBezTo>
                  <a:cubicBezTo>
                    <a:pt x="11201" y="1819"/>
                    <a:pt x="10490" y="929"/>
                    <a:pt x="9305" y="1496"/>
                  </a:cubicBezTo>
                  <a:cubicBezTo>
                    <a:pt x="8745" y="1764"/>
                    <a:pt x="8439" y="1940"/>
                    <a:pt x="7723" y="1945"/>
                  </a:cubicBezTo>
                  <a:cubicBezTo>
                    <a:pt x="7010" y="1949"/>
                    <a:pt x="6268" y="1971"/>
                    <a:pt x="5594" y="1800"/>
                  </a:cubicBezTo>
                  <a:cubicBezTo>
                    <a:pt x="5038" y="1659"/>
                    <a:pt x="4925" y="1325"/>
                    <a:pt x="4480" y="1161"/>
                  </a:cubicBezTo>
                  <a:cubicBezTo>
                    <a:pt x="3901" y="948"/>
                    <a:pt x="3696" y="1374"/>
                    <a:pt x="3383" y="1650"/>
                  </a:cubicBezTo>
                  <a:cubicBezTo>
                    <a:pt x="3103" y="1897"/>
                    <a:pt x="2637" y="1979"/>
                    <a:pt x="2383" y="2256"/>
                  </a:cubicBezTo>
                  <a:cubicBezTo>
                    <a:pt x="2100" y="2564"/>
                    <a:pt x="2126" y="2991"/>
                    <a:pt x="1790" y="3314"/>
                  </a:cubicBezTo>
                  <a:cubicBezTo>
                    <a:pt x="1358" y="3729"/>
                    <a:pt x="776" y="4051"/>
                    <a:pt x="349" y="4478"/>
                  </a:cubicBezTo>
                  <a:cubicBezTo>
                    <a:pt x="239" y="4587"/>
                    <a:pt x="127" y="4704"/>
                    <a:pt x="6" y="4815"/>
                  </a:cubicBezTo>
                  <a:cubicBezTo>
                    <a:pt x="465" y="5259"/>
                    <a:pt x="538" y="5705"/>
                    <a:pt x="292" y="6246"/>
                  </a:cubicBezTo>
                  <a:cubicBezTo>
                    <a:pt x="216" y="6413"/>
                    <a:pt x="119" y="6561"/>
                    <a:pt x="173" y="6757"/>
                  </a:cubicBezTo>
                  <a:cubicBezTo>
                    <a:pt x="223" y="6940"/>
                    <a:pt x="525" y="7084"/>
                    <a:pt x="572" y="7225"/>
                  </a:cubicBezTo>
                  <a:cubicBezTo>
                    <a:pt x="694" y="7584"/>
                    <a:pt x="160" y="7755"/>
                    <a:pt x="58" y="8048"/>
                  </a:cubicBezTo>
                  <a:cubicBezTo>
                    <a:pt x="-75" y="8427"/>
                    <a:pt x="380" y="8727"/>
                    <a:pt x="564" y="9062"/>
                  </a:cubicBezTo>
                  <a:cubicBezTo>
                    <a:pt x="816" y="9523"/>
                    <a:pt x="673" y="9879"/>
                    <a:pt x="420" y="10318"/>
                  </a:cubicBezTo>
                  <a:cubicBezTo>
                    <a:pt x="259" y="10596"/>
                    <a:pt x="-1" y="10903"/>
                    <a:pt x="0" y="11217"/>
                  </a:cubicBezTo>
                  <a:cubicBezTo>
                    <a:pt x="0" y="11690"/>
                    <a:pt x="400" y="11590"/>
                    <a:pt x="859" y="11773"/>
                  </a:cubicBezTo>
                  <a:cubicBezTo>
                    <a:pt x="1620" y="12076"/>
                    <a:pt x="1305" y="12502"/>
                    <a:pt x="764" y="12748"/>
                  </a:cubicBezTo>
                  <a:lnTo>
                    <a:pt x="872" y="19863"/>
                  </a:lnTo>
                  <a:cubicBezTo>
                    <a:pt x="759" y="20630"/>
                    <a:pt x="1897" y="20470"/>
                    <a:pt x="2617" y="20656"/>
                  </a:cubicBezTo>
                  <a:cubicBezTo>
                    <a:pt x="3024" y="20761"/>
                    <a:pt x="3544" y="21176"/>
                    <a:pt x="3321" y="21492"/>
                  </a:cubicBezTo>
                  <a:cubicBezTo>
                    <a:pt x="3297" y="21526"/>
                    <a:pt x="3269" y="21553"/>
                    <a:pt x="3238" y="21578"/>
                  </a:cubicBezTo>
                  <a:cubicBezTo>
                    <a:pt x="3332" y="21600"/>
                    <a:pt x="3434" y="21597"/>
                    <a:pt x="3548" y="21545"/>
                  </a:cubicBezTo>
                  <a:close/>
                  <a:moveTo>
                    <a:pt x="3548" y="21545"/>
                  </a:moveTo>
                </a:path>
              </a:pathLst>
            </a:custGeom>
            <a:solidFill>
              <a:srgbClr val="C0C0C0"/>
            </a:solidFill>
            <a:ln w="3175">
              <a:solidFill>
                <a:schemeClr val="bg1">
                  <a:lumMod val="85000"/>
                </a:schemeClr>
              </a:solidFill>
            </a:ln>
          </p:spPr>
          <p:txBody>
            <a:bodyPr lIns="0" tIns="0" rIns="0" bIns="0"/>
            <a:lstStyle/>
            <a:p>
              <a:endParaRPr lang="en-US"/>
            </a:p>
          </p:txBody>
        </p:sp>
        <p:sp>
          <p:nvSpPr>
            <p:cNvPr id="184" name="AutoShape 780">
              <a:extLst>
                <a:ext uri="{FF2B5EF4-FFF2-40B4-BE49-F238E27FC236}">
                  <a16:creationId xmlns:a16="http://schemas.microsoft.com/office/drawing/2014/main" id="{B16B14C8-9185-7F47-87AC-0E38F2983941}"/>
                </a:ext>
              </a:extLst>
            </p:cNvPr>
            <p:cNvSpPr>
              <a:spLocks/>
            </p:cNvSpPr>
            <p:nvPr/>
          </p:nvSpPr>
          <p:spPr bwMode="auto">
            <a:xfrm>
              <a:off x="5344239" y="3208250"/>
              <a:ext cx="404312" cy="346190"/>
            </a:xfrm>
            <a:custGeom>
              <a:avLst/>
              <a:gdLst/>
              <a:ahLst/>
              <a:cxnLst/>
              <a:rect l="0" t="0" r="r" b="b"/>
              <a:pathLst>
                <a:path w="21600" h="21475">
                  <a:moveTo>
                    <a:pt x="2439" y="14998"/>
                  </a:moveTo>
                  <a:cubicBezTo>
                    <a:pt x="3321" y="16134"/>
                    <a:pt x="4202" y="17270"/>
                    <a:pt x="5083" y="18406"/>
                  </a:cubicBezTo>
                  <a:cubicBezTo>
                    <a:pt x="5784" y="19309"/>
                    <a:pt x="6484" y="20212"/>
                    <a:pt x="7184" y="21115"/>
                  </a:cubicBezTo>
                  <a:cubicBezTo>
                    <a:pt x="7315" y="21283"/>
                    <a:pt x="7398" y="21600"/>
                    <a:pt x="7624" y="21424"/>
                  </a:cubicBezTo>
                  <a:cubicBezTo>
                    <a:pt x="7833" y="21260"/>
                    <a:pt x="7861" y="20931"/>
                    <a:pt x="7930" y="20672"/>
                  </a:cubicBezTo>
                  <a:cubicBezTo>
                    <a:pt x="8123" y="19936"/>
                    <a:pt x="8702" y="19569"/>
                    <a:pt x="9172" y="19083"/>
                  </a:cubicBezTo>
                  <a:cubicBezTo>
                    <a:pt x="9416" y="18832"/>
                    <a:pt x="9673" y="18591"/>
                    <a:pt x="9911" y="18338"/>
                  </a:cubicBezTo>
                  <a:cubicBezTo>
                    <a:pt x="10030" y="18212"/>
                    <a:pt x="10278" y="18065"/>
                    <a:pt x="10344" y="17890"/>
                  </a:cubicBezTo>
                  <a:cubicBezTo>
                    <a:pt x="10534" y="17390"/>
                    <a:pt x="9842" y="16922"/>
                    <a:pt x="10250" y="16422"/>
                  </a:cubicBezTo>
                  <a:cubicBezTo>
                    <a:pt x="10374" y="16270"/>
                    <a:pt x="10561" y="16182"/>
                    <a:pt x="10737" y="16174"/>
                  </a:cubicBezTo>
                  <a:cubicBezTo>
                    <a:pt x="11037" y="16160"/>
                    <a:pt x="11289" y="16043"/>
                    <a:pt x="11524" y="15825"/>
                  </a:cubicBezTo>
                  <a:cubicBezTo>
                    <a:pt x="11747" y="15617"/>
                    <a:pt x="11799" y="15249"/>
                    <a:pt x="11910" y="14960"/>
                  </a:cubicBezTo>
                  <a:cubicBezTo>
                    <a:pt x="12106" y="14450"/>
                    <a:pt x="12368" y="13953"/>
                    <a:pt x="12609" y="13466"/>
                  </a:cubicBezTo>
                  <a:cubicBezTo>
                    <a:pt x="13121" y="12431"/>
                    <a:pt x="13718" y="11460"/>
                    <a:pt x="14255" y="10457"/>
                  </a:cubicBezTo>
                  <a:cubicBezTo>
                    <a:pt x="14596" y="9821"/>
                    <a:pt x="14996" y="9288"/>
                    <a:pt x="15421" y="8725"/>
                  </a:cubicBezTo>
                  <a:cubicBezTo>
                    <a:pt x="15715" y="8336"/>
                    <a:pt x="16012" y="7951"/>
                    <a:pt x="16289" y="7541"/>
                  </a:cubicBezTo>
                  <a:cubicBezTo>
                    <a:pt x="16602" y="7076"/>
                    <a:pt x="16902" y="6645"/>
                    <a:pt x="17169" y="6146"/>
                  </a:cubicBezTo>
                  <a:cubicBezTo>
                    <a:pt x="17305" y="5892"/>
                    <a:pt x="17456" y="5659"/>
                    <a:pt x="17618" y="5425"/>
                  </a:cubicBezTo>
                  <a:cubicBezTo>
                    <a:pt x="17960" y="4934"/>
                    <a:pt x="18323" y="4209"/>
                    <a:pt x="18815" y="3917"/>
                  </a:cubicBezTo>
                  <a:cubicBezTo>
                    <a:pt x="19665" y="3410"/>
                    <a:pt x="21271" y="3530"/>
                    <a:pt x="21600" y="2241"/>
                  </a:cubicBezTo>
                  <a:cubicBezTo>
                    <a:pt x="21238" y="2024"/>
                    <a:pt x="20907" y="2047"/>
                    <a:pt x="20442" y="2034"/>
                  </a:cubicBezTo>
                  <a:lnTo>
                    <a:pt x="20402" y="4"/>
                  </a:lnTo>
                  <a:lnTo>
                    <a:pt x="20400" y="0"/>
                  </a:lnTo>
                  <a:cubicBezTo>
                    <a:pt x="20296" y="239"/>
                    <a:pt x="19966" y="234"/>
                    <a:pt x="19760" y="237"/>
                  </a:cubicBezTo>
                  <a:cubicBezTo>
                    <a:pt x="19179" y="244"/>
                    <a:pt x="18669" y="464"/>
                    <a:pt x="18096" y="494"/>
                  </a:cubicBezTo>
                  <a:cubicBezTo>
                    <a:pt x="17634" y="517"/>
                    <a:pt x="17154" y="485"/>
                    <a:pt x="16707" y="610"/>
                  </a:cubicBezTo>
                  <a:cubicBezTo>
                    <a:pt x="16170" y="760"/>
                    <a:pt x="15636" y="940"/>
                    <a:pt x="15119" y="1176"/>
                  </a:cubicBezTo>
                  <a:cubicBezTo>
                    <a:pt x="14673" y="1380"/>
                    <a:pt x="14104" y="1415"/>
                    <a:pt x="13634" y="1321"/>
                  </a:cubicBezTo>
                  <a:cubicBezTo>
                    <a:pt x="13155" y="1224"/>
                    <a:pt x="12695" y="951"/>
                    <a:pt x="12246" y="1328"/>
                  </a:cubicBezTo>
                  <a:cubicBezTo>
                    <a:pt x="12048" y="1494"/>
                    <a:pt x="11904" y="1699"/>
                    <a:pt x="11684" y="1823"/>
                  </a:cubicBezTo>
                  <a:cubicBezTo>
                    <a:pt x="11437" y="1963"/>
                    <a:pt x="11159" y="2010"/>
                    <a:pt x="10900" y="2074"/>
                  </a:cubicBezTo>
                  <a:cubicBezTo>
                    <a:pt x="10478" y="2180"/>
                    <a:pt x="10216" y="2432"/>
                    <a:pt x="9877" y="2728"/>
                  </a:cubicBezTo>
                  <a:cubicBezTo>
                    <a:pt x="9484" y="3071"/>
                    <a:pt x="9018" y="3268"/>
                    <a:pt x="8712" y="3737"/>
                  </a:cubicBezTo>
                  <a:cubicBezTo>
                    <a:pt x="8400" y="4215"/>
                    <a:pt x="8177" y="4755"/>
                    <a:pt x="7868" y="5248"/>
                  </a:cubicBezTo>
                  <a:cubicBezTo>
                    <a:pt x="7731" y="5466"/>
                    <a:pt x="7616" y="5676"/>
                    <a:pt x="7406" y="5796"/>
                  </a:cubicBezTo>
                  <a:cubicBezTo>
                    <a:pt x="7152" y="5941"/>
                    <a:pt x="6875" y="5997"/>
                    <a:pt x="6618" y="6111"/>
                  </a:cubicBezTo>
                  <a:cubicBezTo>
                    <a:pt x="5931" y="6416"/>
                    <a:pt x="5264" y="6729"/>
                    <a:pt x="4566" y="6991"/>
                  </a:cubicBezTo>
                  <a:cubicBezTo>
                    <a:pt x="3933" y="7229"/>
                    <a:pt x="3377" y="7598"/>
                    <a:pt x="2872" y="8094"/>
                  </a:cubicBezTo>
                  <a:cubicBezTo>
                    <a:pt x="2607" y="8355"/>
                    <a:pt x="2266" y="8640"/>
                    <a:pt x="1968" y="8849"/>
                  </a:cubicBezTo>
                  <a:cubicBezTo>
                    <a:pt x="1736" y="9012"/>
                    <a:pt x="1514" y="9002"/>
                    <a:pt x="1254" y="9056"/>
                  </a:cubicBezTo>
                  <a:cubicBezTo>
                    <a:pt x="939" y="9121"/>
                    <a:pt x="393" y="9261"/>
                    <a:pt x="0" y="9152"/>
                  </a:cubicBezTo>
                  <a:cubicBezTo>
                    <a:pt x="20" y="10026"/>
                    <a:pt x="105" y="10787"/>
                    <a:pt x="478" y="11613"/>
                  </a:cubicBezTo>
                  <a:cubicBezTo>
                    <a:pt x="614" y="11914"/>
                    <a:pt x="765" y="12206"/>
                    <a:pt x="893" y="12512"/>
                  </a:cubicBezTo>
                  <a:cubicBezTo>
                    <a:pt x="1004" y="12779"/>
                    <a:pt x="1082" y="13050"/>
                    <a:pt x="1136" y="13324"/>
                  </a:cubicBezTo>
                  <a:lnTo>
                    <a:pt x="1139" y="13321"/>
                  </a:lnTo>
                  <a:cubicBezTo>
                    <a:pt x="1572" y="13880"/>
                    <a:pt x="2006" y="14439"/>
                    <a:pt x="2439" y="14998"/>
                  </a:cubicBezTo>
                  <a:close/>
                  <a:moveTo>
                    <a:pt x="2439" y="14998"/>
                  </a:moveTo>
                </a:path>
              </a:pathLst>
            </a:custGeom>
            <a:solidFill>
              <a:srgbClr val="C0C0C0"/>
            </a:solidFill>
            <a:ln w="3175">
              <a:solidFill>
                <a:schemeClr val="bg1">
                  <a:lumMod val="85000"/>
                </a:schemeClr>
              </a:solidFill>
            </a:ln>
          </p:spPr>
          <p:txBody>
            <a:bodyPr lIns="0" tIns="0" rIns="0" bIns="0"/>
            <a:lstStyle/>
            <a:p>
              <a:endParaRPr lang="en-US"/>
            </a:p>
          </p:txBody>
        </p:sp>
        <p:sp>
          <p:nvSpPr>
            <p:cNvPr id="185" name="AutoShape 803">
              <a:extLst>
                <a:ext uri="{FF2B5EF4-FFF2-40B4-BE49-F238E27FC236}">
                  <a16:creationId xmlns:a16="http://schemas.microsoft.com/office/drawing/2014/main" id="{974A8AA0-AE13-2441-9424-9568AC4774FA}"/>
                </a:ext>
              </a:extLst>
            </p:cNvPr>
            <p:cNvSpPr>
              <a:spLocks/>
            </p:cNvSpPr>
            <p:nvPr/>
          </p:nvSpPr>
          <p:spPr bwMode="auto">
            <a:xfrm>
              <a:off x="5321668" y="3111193"/>
              <a:ext cx="405722" cy="244336"/>
            </a:xfrm>
            <a:custGeom>
              <a:avLst/>
              <a:gdLst/>
              <a:ahLst/>
              <a:cxnLst/>
              <a:rect l="0" t="0" r="r" b="b"/>
              <a:pathLst>
                <a:path w="21600" h="21387">
                  <a:moveTo>
                    <a:pt x="880" y="21116"/>
                  </a:moveTo>
                  <a:cubicBezTo>
                    <a:pt x="1234" y="21600"/>
                    <a:pt x="2009" y="21310"/>
                    <a:pt x="2409" y="21193"/>
                  </a:cubicBezTo>
                  <a:cubicBezTo>
                    <a:pt x="2668" y="21117"/>
                    <a:pt x="2888" y="21132"/>
                    <a:pt x="3121" y="20901"/>
                  </a:cubicBezTo>
                  <a:cubicBezTo>
                    <a:pt x="3417" y="20606"/>
                    <a:pt x="3756" y="20205"/>
                    <a:pt x="4021" y="19837"/>
                  </a:cubicBezTo>
                  <a:cubicBezTo>
                    <a:pt x="4524" y="19137"/>
                    <a:pt x="5078" y="18616"/>
                    <a:pt x="5709" y="18281"/>
                  </a:cubicBezTo>
                  <a:cubicBezTo>
                    <a:pt x="6405" y="17911"/>
                    <a:pt x="7069" y="17470"/>
                    <a:pt x="7753" y="17039"/>
                  </a:cubicBezTo>
                  <a:cubicBezTo>
                    <a:pt x="8010" y="16878"/>
                    <a:pt x="8286" y="16800"/>
                    <a:pt x="8539" y="16595"/>
                  </a:cubicBezTo>
                  <a:cubicBezTo>
                    <a:pt x="8748" y="16425"/>
                    <a:pt x="8862" y="16129"/>
                    <a:pt x="8998" y="15822"/>
                  </a:cubicBezTo>
                  <a:cubicBezTo>
                    <a:pt x="9307" y="15127"/>
                    <a:pt x="9529" y="14364"/>
                    <a:pt x="9840" y="13690"/>
                  </a:cubicBezTo>
                  <a:cubicBezTo>
                    <a:pt x="10145" y="13028"/>
                    <a:pt x="10609" y="12751"/>
                    <a:pt x="11000" y="12267"/>
                  </a:cubicBezTo>
                  <a:cubicBezTo>
                    <a:pt x="11339" y="11849"/>
                    <a:pt x="11600" y="11493"/>
                    <a:pt x="12020" y="11345"/>
                  </a:cubicBezTo>
                  <a:cubicBezTo>
                    <a:pt x="12278" y="11254"/>
                    <a:pt x="12555" y="11187"/>
                    <a:pt x="12802" y="10990"/>
                  </a:cubicBezTo>
                  <a:cubicBezTo>
                    <a:pt x="13021" y="10815"/>
                    <a:pt x="13164" y="10527"/>
                    <a:pt x="13361" y="10292"/>
                  </a:cubicBezTo>
                  <a:cubicBezTo>
                    <a:pt x="13809" y="9759"/>
                    <a:pt x="14267" y="10145"/>
                    <a:pt x="14744" y="10281"/>
                  </a:cubicBezTo>
                  <a:cubicBezTo>
                    <a:pt x="15213" y="10415"/>
                    <a:pt x="15780" y="10365"/>
                    <a:pt x="16224" y="10077"/>
                  </a:cubicBezTo>
                  <a:cubicBezTo>
                    <a:pt x="16739" y="9745"/>
                    <a:pt x="17271" y="9490"/>
                    <a:pt x="17806" y="9278"/>
                  </a:cubicBezTo>
                  <a:cubicBezTo>
                    <a:pt x="18251" y="9103"/>
                    <a:pt x="18730" y="9148"/>
                    <a:pt x="19190" y="9115"/>
                  </a:cubicBezTo>
                  <a:cubicBezTo>
                    <a:pt x="19762" y="9073"/>
                    <a:pt x="20269" y="8763"/>
                    <a:pt x="20848" y="8753"/>
                  </a:cubicBezTo>
                  <a:cubicBezTo>
                    <a:pt x="21071" y="8749"/>
                    <a:pt x="21440" y="8758"/>
                    <a:pt x="21508" y="8325"/>
                  </a:cubicBezTo>
                  <a:lnTo>
                    <a:pt x="21600" y="0"/>
                  </a:lnTo>
                  <a:cubicBezTo>
                    <a:pt x="21309" y="294"/>
                    <a:pt x="20936" y="306"/>
                    <a:pt x="20668" y="672"/>
                  </a:cubicBezTo>
                  <a:cubicBezTo>
                    <a:pt x="20406" y="1031"/>
                    <a:pt x="20203" y="1526"/>
                    <a:pt x="20006" y="2005"/>
                  </a:cubicBezTo>
                  <a:cubicBezTo>
                    <a:pt x="19594" y="3009"/>
                    <a:pt x="18944" y="3636"/>
                    <a:pt x="18386" y="4424"/>
                  </a:cubicBezTo>
                  <a:cubicBezTo>
                    <a:pt x="17877" y="5143"/>
                    <a:pt x="17345" y="5759"/>
                    <a:pt x="16771" y="6313"/>
                  </a:cubicBezTo>
                  <a:cubicBezTo>
                    <a:pt x="16239" y="6826"/>
                    <a:pt x="15919" y="6992"/>
                    <a:pt x="15294" y="6992"/>
                  </a:cubicBezTo>
                  <a:cubicBezTo>
                    <a:pt x="14994" y="6992"/>
                    <a:pt x="14634" y="6948"/>
                    <a:pt x="14362" y="7125"/>
                  </a:cubicBezTo>
                  <a:cubicBezTo>
                    <a:pt x="14101" y="7295"/>
                    <a:pt x="13845" y="7653"/>
                    <a:pt x="13582" y="7832"/>
                  </a:cubicBezTo>
                  <a:cubicBezTo>
                    <a:pt x="13159" y="8120"/>
                    <a:pt x="12687" y="8248"/>
                    <a:pt x="12232" y="8283"/>
                  </a:cubicBezTo>
                  <a:cubicBezTo>
                    <a:pt x="11786" y="8317"/>
                    <a:pt x="11358" y="8522"/>
                    <a:pt x="10910" y="8522"/>
                  </a:cubicBezTo>
                  <a:cubicBezTo>
                    <a:pt x="10268" y="8522"/>
                    <a:pt x="9567" y="8646"/>
                    <a:pt x="8959" y="8363"/>
                  </a:cubicBezTo>
                  <a:cubicBezTo>
                    <a:pt x="8418" y="8112"/>
                    <a:pt x="7893" y="7677"/>
                    <a:pt x="7369" y="7384"/>
                  </a:cubicBezTo>
                  <a:cubicBezTo>
                    <a:pt x="6223" y="6742"/>
                    <a:pt x="4962" y="6150"/>
                    <a:pt x="3789" y="7029"/>
                  </a:cubicBezTo>
                  <a:cubicBezTo>
                    <a:pt x="3118" y="7532"/>
                    <a:pt x="2506" y="7915"/>
                    <a:pt x="1777" y="8138"/>
                  </a:cubicBezTo>
                  <a:cubicBezTo>
                    <a:pt x="1334" y="8274"/>
                    <a:pt x="759" y="8479"/>
                    <a:pt x="355" y="8158"/>
                  </a:cubicBezTo>
                  <a:lnTo>
                    <a:pt x="72" y="17475"/>
                  </a:lnTo>
                  <a:cubicBezTo>
                    <a:pt x="53" y="17555"/>
                    <a:pt x="28" y="17626"/>
                    <a:pt x="0" y="17692"/>
                  </a:cubicBezTo>
                  <a:cubicBezTo>
                    <a:pt x="160" y="18338"/>
                    <a:pt x="320" y="18984"/>
                    <a:pt x="480" y="19629"/>
                  </a:cubicBezTo>
                  <a:cubicBezTo>
                    <a:pt x="578" y="20022"/>
                    <a:pt x="678" y="20840"/>
                    <a:pt x="880" y="21116"/>
                  </a:cubicBezTo>
                  <a:close/>
                  <a:moveTo>
                    <a:pt x="880" y="21116"/>
                  </a:moveTo>
                </a:path>
              </a:pathLst>
            </a:custGeom>
            <a:solidFill>
              <a:srgbClr val="C0C0C0"/>
            </a:solidFill>
            <a:ln w="3175">
              <a:solidFill>
                <a:schemeClr val="bg1">
                  <a:lumMod val="85000"/>
                </a:schemeClr>
              </a:solidFill>
            </a:ln>
          </p:spPr>
          <p:txBody>
            <a:bodyPr lIns="0" tIns="0" rIns="0" bIns="0"/>
            <a:lstStyle/>
            <a:p>
              <a:endParaRPr lang="en-US"/>
            </a:p>
          </p:txBody>
        </p:sp>
        <p:sp>
          <p:nvSpPr>
            <p:cNvPr id="186" name="AutoShape 824">
              <a:extLst>
                <a:ext uri="{FF2B5EF4-FFF2-40B4-BE49-F238E27FC236}">
                  <a16:creationId xmlns:a16="http://schemas.microsoft.com/office/drawing/2014/main" id="{CBE07FD5-4476-0E43-AEEB-B1D82B67CFF6}"/>
                </a:ext>
              </a:extLst>
            </p:cNvPr>
            <p:cNvSpPr>
              <a:spLocks/>
            </p:cNvSpPr>
            <p:nvPr/>
          </p:nvSpPr>
          <p:spPr bwMode="auto">
            <a:xfrm>
              <a:off x="4788697" y="3826709"/>
              <a:ext cx="304151" cy="218097"/>
            </a:xfrm>
            <a:custGeom>
              <a:avLst/>
              <a:gdLst/>
              <a:ahLst/>
              <a:cxnLst/>
              <a:rect l="0" t="0" r="r" b="b"/>
              <a:pathLst>
                <a:path w="21198" h="21600">
                  <a:moveTo>
                    <a:pt x="16027" y="19209"/>
                  </a:moveTo>
                  <a:cubicBezTo>
                    <a:pt x="16743" y="18668"/>
                    <a:pt x="17884" y="18292"/>
                    <a:pt x="18664" y="18761"/>
                  </a:cubicBezTo>
                  <a:cubicBezTo>
                    <a:pt x="19070" y="19006"/>
                    <a:pt x="19249" y="19055"/>
                    <a:pt x="19710" y="19153"/>
                  </a:cubicBezTo>
                  <a:cubicBezTo>
                    <a:pt x="20032" y="19221"/>
                    <a:pt x="20597" y="19791"/>
                    <a:pt x="20916" y="19676"/>
                  </a:cubicBezTo>
                  <a:cubicBezTo>
                    <a:pt x="21422" y="19492"/>
                    <a:pt x="21158" y="18885"/>
                    <a:pt x="20813" y="18613"/>
                  </a:cubicBezTo>
                  <a:cubicBezTo>
                    <a:pt x="20433" y="18313"/>
                    <a:pt x="19916" y="18288"/>
                    <a:pt x="19538" y="18056"/>
                  </a:cubicBezTo>
                  <a:cubicBezTo>
                    <a:pt x="18741" y="17565"/>
                    <a:pt x="18289" y="16166"/>
                    <a:pt x="17863" y="15205"/>
                  </a:cubicBezTo>
                  <a:cubicBezTo>
                    <a:pt x="17340" y="14024"/>
                    <a:pt x="16742" y="13238"/>
                    <a:pt x="16050" y="12281"/>
                  </a:cubicBezTo>
                  <a:cubicBezTo>
                    <a:pt x="15340" y="11297"/>
                    <a:pt x="14753" y="10138"/>
                    <a:pt x="13847" y="9488"/>
                  </a:cubicBezTo>
                  <a:cubicBezTo>
                    <a:pt x="12719" y="8677"/>
                    <a:pt x="11308" y="8316"/>
                    <a:pt x="10112" y="7739"/>
                  </a:cubicBezTo>
                  <a:cubicBezTo>
                    <a:pt x="9263" y="7330"/>
                    <a:pt x="8663" y="6045"/>
                    <a:pt x="8238" y="4998"/>
                  </a:cubicBezTo>
                  <a:cubicBezTo>
                    <a:pt x="8057" y="4552"/>
                    <a:pt x="7822" y="3767"/>
                    <a:pt x="7490" y="3582"/>
                  </a:cubicBezTo>
                  <a:cubicBezTo>
                    <a:pt x="7018" y="3319"/>
                    <a:pt x="6853" y="3665"/>
                    <a:pt x="6427" y="3152"/>
                  </a:cubicBezTo>
                  <a:cubicBezTo>
                    <a:pt x="5678" y="2247"/>
                    <a:pt x="4961" y="851"/>
                    <a:pt x="4085" y="0"/>
                  </a:cubicBezTo>
                  <a:cubicBezTo>
                    <a:pt x="4356" y="847"/>
                    <a:pt x="4423" y="1761"/>
                    <a:pt x="4185" y="2763"/>
                  </a:cubicBezTo>
                  <a:cubicBezTo>
                    <a:pt x="3867" y="4103"/>
                    <a:pt x="2774" y="3904"/>
                    <a:pt x="1936" y="3968"/>
                  </a:cubicBezTo>
                  <a:cubicBezTo>
                    <a:pt x="1896" y="5097"/>
                    <a:pt x="1840" y="5224"/>
                    <a:pt x="1038" y="5223"/>
                  </a:cubicBezTo>
                  <a:cubicBezTo>
                    <a:pt x="383" y="5222"/>
                    <a:pt x="-178" y="5021"/>
                    <a:pt x="53" y="6191"/>
                  </a:cubicBezTo>
                  <a:cubicBezTo>
                    <a:pt x="231" y="7092"/>
                    <a:pt x="576" y="7558"/>
                    <a:pt x="502" y="8592"/>
                  </a:cubicBezTo>
                  <a:cubicBezTo>
                    <a:pt x="488" y="8785"/>
                    <a:pt x="463" y="8976"/>
                    <a:pt x="434" y="9166"/>
                  </a:cubicBezTo>
                  <a:cubicBezTo>
                    <a:pt x="1296" y="9872"/>
                    <a:pt x="1579" y="11687"/>
                    <a:pt x="2193" y="12763"/>
                  </a:cubicBezTo>
                  <a:cubicBezTo>
                    <a:pt x="3038" y="14242"/>
                    <a:pt x="3790" y="15383"/>
                    <a:pt x="5038" y="16155"/>
                  </a:cubicBezTo>
                  <a:cubicBezTo>
                    <a:pt x="5780" y="16613"/>
                    <a:pt x="6998" y="17760"/>
                    <a:pt x="7856" y="17365"/>
                  </a:cubicBezTo>
                  <a:cubicBezTo>
                    <a:pt x="8253" y="17182"/>
                    <a:pt x="8363" y="16367"/>
                    <a:pt x="8853" y="16412"/>
                  </a:cubicBezTo>
                  <a:cubicBezTo>
                    <a:pt x="9256" y="16448"/>
                    <a:pt x="9523" y="17131"/>
                    <a:pt x="10007" y="16923"/>
                  </a:cubicBezTo>
                  <a:cubicBezTo>
                    <a:pt x="10410" y="16750"/>
                    <a:pt x="10558" y="16029"/>
                    <a:pt x="11056" y="15948"/>
                  </a:cubicBezTo>
                  <a:cubicBezTo>
                    <a:pt x="11488" y="15878"/>
                    <a:pt x="11968" y="16365"/>
                    <a:pt x="12274" y="16748"/>
                  </a:cubicBezTo>
                  <a:cubicBezTo>
                    <a:pt x="13017" y="17681"/>
                    <a:pt x="13555" y="18970"/>
                    <a:pt x="14030" y="20192"/>
                  </a:cubicBezTo>
                  <a:cubicBezTo>
                    <a:pt x="14223" y="20689"/>
                    <a:pt x="14364" y="21169"/>
                    <a:pt x="14527" y="21600"/>
                  </a:cubicBezTo>
                  <a:cubicBezTo>
                    <a:pt x="14992" y="20754"/>
                    <a:pt x="15344" y="19724"/>
                    <a:pt x="16027" y="19209"/>
                  </a:cubicBezTo>
                  <a:close/>
                  <a:moveTo>
                    <a:pt x="16027" y="19209"/>
                  </a:moveTo>
                </a:path>
              </a:pathLst>
            </a:custGeom>
            <a:solidFill>
              <a:schemeClr val="accent1"/>
            </a:solidFill>
            <a:ln w="3175">
              <a:solidFill>
                <a:schemeClr val="bg1">
                  <a:lumMod val="85000"/>
                </a:schemeClr>
              </a:solidFill>
            </a:ln>
          </p:spPr>
          <p:txBody>
            <a:bodyPr lIns="0" tIns="0" rIns="0" bIns="0"/>
            <a:lstStyle/>
            <a:p>
              <a:endParaRPr lang="en-US"/>
            </a:p>
          </p:txBody>
        </p:sp>
        <p:sp>
          <p:nvSpPr>
            <p:cNvPr id="187" name="AutoShape 850">
              <a:extLst>
                <a:ext uri="{FF2B5EF4-FFF2-40B4-BE49-F238E27FC236}">
                  <a16:creationId xmlns:a16="http://schemas.microsoft.com/office/drawing/2014/main" id="{52CC7A47-4F1C-F240-A3D7-415416F8ED17}"/>
                </a:ext>
              </a:extLst>
            </p:cNvPr>
            <p:cNvSpPr>
              <a:spLocks/>
            </p:cNvSpPr>
            <p:nvPr/>
          </p:nvSpPr>
          <p:spPr bwMode="auto">
            <a:xfrm>
              <a:off x="5132067" y="3422679"/>
              <a:ext cx="459330" cy="482183"/>
            </a:xfrm>
            <a:custGeom>
              <a:avLst/>
              <a:gdLst/>
              <a:ahLst/>
              <a:cxnLst/>
              <a:rect l="0" t="0" r="r" b="b"/>
              <a:pathLst>
                <a:path w="21213" h="21600">
                  <a:moveTo>
                    <a:pt x="9807" y="16490"/>
                  </a:moveTo>
                  <a:cubicBezTo>
                    <a:pt x="9750" y="16270"/>
                    <a:pt x="9446" y="15857"/>
                    <a:pt x="9788" y="15707"/>
                  </a:cubicBezTo>
                  <a:cubicBezTo>
                    <a:pt x="11133" y="15109"/>
                    <a:pt x="12479" y="14511"/>
                    <a:pt x="13825" y="13914"/>
                  </a:cubicBezTo>
                  <a:cubicBezTo>
                    <a:pt x="15900" y="12992"/>
                    <a:pt x="17975" y="12071"/>
                    <a:pt x="20051" y="11149"/>
                  </a:cubicBezTo>
                  <a:cubicBezTo>
                    <a:pt x="20653" y="10881"/>
                    <a:pt x="21600" y="10618"/>
                    <a:pt x="21046" y="9813"/>
                  </a:cubicBezTo>
                  <a:cubicBezTo>
                    <a:pt x="20809" y="9469"/>
                    <a:pt x="20366" y="9229"/>
                    <a:pt x="20028" y="8979"/>
                  </a:cubicBezTo>
                  <a:cubicBezTo>
                    <a:pt x="19652" y="8700"/>
                    <a:pt x="19255" y="8427"/>
                    <a:pt x="18868" y="8150"/>
                  </a:cubicBezTo>
                  <a:cubicBezTo>
                    <a:pt x="18432" y="7838"/>
                    <a:pt x="18166" y="7419"/>
                    <a:pt x="17815" y="7058"/>
                  </a:cubicBezTo>
                  <a:cubicBezTo>
                    <a:pt x="17350" y="6581"/>
                    <a:pt x="16801" y="6324"/>
                    <a:pt x="16423" y="5841"/>
                  </a:cubicBezTo>
                  <a:cubicBezTo>
                    <a:pt x="16419" y="5844"/>
                    <a:pt x="16416" y="5848"/>
                    <a:pt x="16412" y="5850"/>
                  </a:cubicBezTo>
                  <a:cubicBezTo>
                    <a:pt x="16217" y="5978"/>
                    <a:pt x="16145" y="5749"/>
                    <a:pt x="16032" y="5627"/>
                  </a:cubicBezTo>
                  <a:cubicBezTo>
                    <a:pt x="15426" y="4975"/>
                    <a:pt x="14821" y="4324"/>
                    <a:pt x="14215" y="3672"/>
                  </a:cubicBezTo>
                  <a:cubicBezTo>
                    <a:pt x="13453" y="2851"/>
                    <a:pt x="12691" y="2031"/>
                    <a:pt x="11929" y="1211"/>
                  </a:cubicBezTo>
                  <a:cubicBezTo>
                    <a:pt x="11554" y="807"/>
                    <a:pt x="11179" y="404"/>
                    <a:pt x="10804" y="0"/>
                  </a:cubicBezTo>
                  <a:lnTo>
                    <a:pt x="10802" y="2"/>
                  </a:lnTo>
                  <a:cubicBezTo>
                    <a:pt x="10936" y="570"/>
                    <a:pt x="10903" y="1160"/>
                    <a:pt x="10899" y="1758"/>
                  </a:cubicBezTo>
                  <a:cubicBezTo>
                    <a:pt x="10893" y="2533"/>
                    <a:pt x="10887" y="3308"/>
                    <a:pt x="10881" y="4083"/>
                  </a:cubicBezTo>
                  <a:cubicBezTo>
                    <a:pt x="10873" y="5177"/>
                    <a:pt x="10864" y="6272"/>
                    <a:pt x="10856" y="7367"/>
                  </a:cubicBezTo>
                  <a:cubicBezTo>
                    <a:pt x="10858" y="7709"/>
                    <a:pt x="10536" y="8028"/>
                    <a:pt x="10179" y="7947"/>
                  </a:cubicBezTo>
                  <a:cubicBezTo>
                    <a:pt x="9892" y="7881"/>
                    <a:pt x="9703" y="7539"/>
                    <a:pt x="9416" y="7542"/>
                  </a:cubicBezTo>
                  <a:cubicBezTo>
                    <a:pt x="9200" y="7545"/>
                    <a:pt x="9083" y="7762"/>
                    <a:pt x="8904" y="7852"/>
                  </a:cubicBezTo>
                  <a:cubicBezTo>
                    <a:pt x="8611" y="8000"/>
                    <a:pt x="8543" y="7851"/>
                    <a:pt x="8309" y="7745"/>
                  </a:cubicBezTo>
                  <a:cubicBezTo>
                    <a:pt x="7835" y="7529"/>
                    <a:pt x="7387" y="8155"/>
                    <a:pt x="6973" y="8315"/>
                  </a:cubicBezTo>
                  <a:cubicBezTo>
                    <a:pt x="6765" y="8395"/>
                    <a:pt x="6386" y="8264"/>
                    <a:pt x="6219" y="8408"/>
                  </a:cubicBezTo>
                  <a:cubicBezTo>
                    <a:pt x="6091" y="8518"/>
                    <a:pt x="6185" y="8693"/>
                    <a:pt x="6090" y="8808"/>
                  </a:cubicBezTo>
                  <a:cubicBezTo>
                    <a:pt x="6024" y="8889"/>
                    <a:pt x="5890" y="8891"/>
                    <a:pt x="5806" y="8984"/>
                  </a:cubicBezTo>
                  <a:cubicBezTo>
                    <a:pt x="5708" y="9092"/>
                    <a:pt x="5827" y="9149"/>
                    <a:pt x="5618" y="9188"/>
                  </a:cubicBezTo>
                  <a:cubicBezTo>
                    <a:pt x="5550" y="9200"/>
                    <a:pt x="5409" y="9133"/>
                    <a:pt x="5320" y="9136"/>
                  </a:cubicBezTo>
                  <a:cubicBezTo>
                    <a:pt x="4925" y="9149"/>
                    <a:pt x="4562" y="9737"/>
                    <a:pt x="4274" y="9999"/>
                  </a:cubicBezTo>
                  <a:cubicBezTo>
                    <a:pt x="2924" y="11228"/>
                    <a:pt x="1574" y="12456"/>
                    <a:pt x="225" y="13685"/>
                  </a:cubicBezTo>
                  <a:cubicBezTo>
                    <a:pt x="157" y="13729"/>
                    <a:pt x="96" y="13732"/>
                    <a:pt x="40" y="13713"/>
                  </a:cubicBezTo>
                  <a:cubicBezTo>
                    <a:pt x="27" y="13727"/>
                    <a:pt x="14" y="13738"/>
                    <a:pt x="0" y="13749"/>
                  </a:cubicBezTo>
                  <a:cubicBezTo>
                    <a:pt x="165" y="14194"/>
                    <a:pt x="274" y="14689"/>
                    <a:pt x="364" y="15093"/>
                  </a:cubicBezTo>
                  <a:cubicBezTo>
                    <a:pt x="426" y="15371"/>
                    <a:pt x="460" y="15570"/>
                    <a:pt x="711" y="15749"/>
                  </a:cubicBezTo>
                  <a:cubicBezTo>
                    <a:pt x="1132" y="16051"/>
                    <a:pt x="1127" y="16124"/>
                    <a:pt x="1163" y="16648"/>
                  </a:cubicBezTo>
                  <a:cubicBezTo>
                    <a:pt x="1183" y="16957"/>
                    <a:pt x="1314" y="17282"/>
                    <a:pt x="1267" y="17594"/>
                  </a:cubicBezTo>
                  <a:cubicBezTo>
                    <a:pt x="1214" y="17941"/>
                    <a:pt x="950" y="17971"/>
                    <a:pt x="736" y="18226"/>
                  </a:cubicBezTo>
                  <a:cubicBezTo>
                    <a:pt x="254" y="18799"/>
                    <a:pt x="804" y="19285"/>
                    <a:pt x="1119" y="19748"/>
                  </a:cubicBezTo>
                  <a:cubicBezTo>
                    <a:pt x="1356" y="20097"/>
                    <a:pt x="1320" y="21224"/>
                    <a:pt x="1927" y="21233"/>
                  </a:cubicBezTo>
                  <a:cubicBezTo>
                    <a:pt x="2382" y="21239"/>
                    <a:pt x="2052" y="20819"/>
                    <a:pt x="2273" y="20658"/>
                  </a:cubicBezTo>
                  <a:cubicBezTo>
                    <a:pt x="2476" y="20510"/>
                    <a:pt x="2955" y="20765"/>
                    <a:pt x="3141" y="20818"/>
                  </a:cubicBezTo>
                  <a:cubicBezTo>
                    <a:pt x="3300" y="20864"/>
                    <a:pt x="3480" y="20947"/>
                    <a:pt x="3665" y="20897"/>
                  </a:cubicBezTo>
                  <a:cubicBezTo>
                    <a:pt x="3790" y="20864"/>
                    <a:pt x="3879" y="20729"/>
                    <a:pt x="3977" y="20701"/>
                  </a:cubicBezTo>
                  <a:cubicBezTo>
                    <a:pt x="4296" y="20612"/>
                    <a:pt x="4378" y="20796"/>
                    <a:pt x="4574" y="20995"/>
                  </a:cubicBezTo>
                  <a:cubicBezTo>
                    <a:pt x="4816" y="21240"/>
                    <a:pt x="5007" y="21408"/>
                    <a:pt x="5099" y="21600"/>
                  </a:cubicBezTo>
                  <a:cubicBezTo>
                    <a:pt x="6353" y="20422"/>
                    <a:pt x="7608" y="19244"/>
                    <a:pt x="8862" y="18066"/>
                  </a:cubicBezTo>
                  <a:cubicBezTo>
                    <a:pt x="9319" y="17637"/>
                    <a:pt x="9994" y="17202"/>
                    <a:pt x="9807" y="16490"/>
                  </a:cubicBezTo>
                  <a:close/>
                  <a:moveTo>
                    <a:pt x="9807" y="16490"/>
                  </a:moveTo>
                </a:path>
              </a:pathLst>
            </a:custGeom>
            <a:solidFill>
              <a:srgbClr val="C0C0C0"/>
            </a:solidFill>
            <a:ln w="3175">
              <a:solidFill>
                <a:schemeClr val="bg1">
                  <a:lumMod val="85000"/>
                </a:schemeClr>
              </a:solidFill>
            </a:ln>
          </p:spPr>
          <p:txBody>
            <a:bodyPr lIns="0" tIns="0" rIns="0" bIns="0"/>
            <a:lstStyle/>
            <a:p>
              <a:endParaRPr lang="en-US"/>
            </a:p>
          </p:txBody>
        </p:sp>
        <p:sp>
          <p:nvSpPr>
            <p:cNvPr id="188" name="AutoShape 875">
              <a:extLst>
                <a:ext uri="{FF2B5EF4-FFF2-40B4-BE49-F238E27FC236}">
                  <a16:creationId xmlns:a16="http://schemas.microsoft.com/office/drawing/2014/main" id="{D910168D-BC9A-7E4D-8132-425E616FC544}"/>
                </a:ext>
              </a:extLst>
            </p:cNvPr>
            <p:cNvSpPr>
              <a:spLocks/>
            </p:cNvSpPr>
            <p:nvPr/>
          </p:nvSpPr>
          <p:spPr bwMode="auto">
            <a:xfrm>
              <a:off x="5486439" y="3244364"/>
              <a:ext cx="610841" cy="401772"/>
            </a:xfrm>
            <a:custGeom>
              <a:avLst/>
              <a:gdLst/>
              <a:ahLst/>
              <a:cxnLst/>
              <a:rect l="0" t="0" r="r" b="b"/>
              <a:pathLst>
                <a:path w="21543" h="21600">
                  <a:moveTo>
                    <a:pt x="4190" y="20861"/>
                  </a:moveTo>
                  <a:cubicBezTo>
                    <a:pt x="4346" y="20986"/>
                    <a:pt x="4580" y="21400"/>
                    <a:pt x="4794" y="21258"/>
                  </a:cubicBezTo>
                  <a:cubicBezTo>
                    <a:pt x="5059" y="21083"/>
                    <a:pt x="4886" y="20693"/>
                    <a:pt x="4774" y="20486"/>
                  </a:cubicBezTo>
                  <a:cubicBezTo>
                    <a:pt x="4637" y="20230"/>
                    <a:pt x="4418" y="19965"/>
                    <a:pt x="4503" y="19556"/>
                  </a:cubicBezTo>
                  <a:cubicBezTo>
                    <a:pt x="4582" y="19174"/>
                    <a:pt x="4858" y="19230"/>
                    <a:pt x="5086" y="19152"/>
                  </a:cubicBezTo>
                  <a:cubicBezTo>
                    <a:pt x="5340" y="19064"/>
                    <a:pt x="5539" y="18880"/>
                    <a:pt x="5776" y="18736"/>
                  </a:cubicBezTo>
                  <a:cubicBezTo>
                    <a:pt x="6012" y="18594"/>
                    <a:pt x="6275" y="18642"/>
                    <a:pt x="6460" y="18382"/>
                  </a:cubicBezTo>
                  <a:cubicBezTo>
                    <a:pt x="6643" y="18126"/>
                    <a:pt x="6635" y="17868"/>
                    <a:pt x="6916" y="17858"/>
                  </a:cubicBezTo>
                  <a:cubicBezTo>
                    <a:pt x="7180" y="17848"/>
                    <a:pt x="7382" y="18110"/>
                    <a:pt x="7659" y="17980"/>
                  </a:cubicBezTo>
                  <a:cubicBezTo>
                    <a:pt x="7952" y="17842"/>
                    <a:pt x="8118" y="17376"/>
                    <a:pt x="8375" y="17200"/>
                  </a:cubicBezTo>
                  <a:cubicBezTo>
                    <a:pt x="8672" y="16995"/>
                    <a:pt x="8863" y="17285"/>
                    <a:pt x="9118" y="17485"/>
                  </a:cubicBezTo>
                  <a:cubicBezTo>
                    <a:pt x="10210" y="18343"/>
                    <a:pt x="11478" y="18604"/>
                    <a:pt x="12705" y="18505"/>
                  </a:cubicBezTo>
                  <a:cubicBezTo>
                    <a:pt x="13338" y="18454"/>
                    <a:pt x="13854" y="17801"/>
                    <a:pt x="14343" y="17260"/>
                  </a:cubicBezTo>
                  <a:cubicBezTo>
                    <a:pt x="14578" y="17000"/>
                    <a:pt x="14625" y="16820"/>
                    <a:pt x="14767" y="16481"/>
                  </a:cubicBezTo>
                  <a:cubicBezTo>
                    <a:pt x="14933" y="16087"/>
                    <a:pt x="15162" y="16146"/>
                    <a:pt x="15404" y="15918"/>
                  </a:cubicBezTo>
                  <a:cubicBezTo>
                    <a:pt x="15822" y="15522"/>
                    <a:pt x="15874" y="14520"/>
                    <a:pt x="16525" y="14895"/>
                  </a:cubicBezTo>
                  <a:cubicBezTo>
                    <a:pt x="16802" y="15055"/>
                    <a:pt x="17024" y="15383"/>
                    <a:pt x="17261" y="15635"/>
                  </a:cubicBezTo>
                  <a:cubicBezTo>
                    <a:pt x="17494" y="15885"/>
                    <a:pt x="17733" y="15886"/>
                    <a:pt x="18004" y="15957"/>
                  </a:cubicBezTo>
                  <a:cubicBezTo>
                    <a:pt x="18477" y="16080"/>
                    <a:pt x="19174" y="16682"/>
                    <a:pt x="19469" y="17292"/>
                  </a:cubicBezTo>
                  <a:cubicBezTo>
                    <a:pt x="19699" y="17768"/>
                    <a:pt x="19806" y="19279"/>
                    <a:pt x="20283" y="19233"/>
                  </a:cubicBezTo>
                  <a:cubicBezTo>
                    <a:pt x="20570" y="19205"/>
                    <a:pt x="20547" y="18743"/>
                    <a:pt x="20682" y="18424"/>
                  </a:cubicBezTo>
                  <a:cubicBezTo>
                    <a:pt x="20865" y="17994"/>
                    <a:pt x="21013" y="18124"/>
                    <a:pt x="21266" y="17938"/>
                  </a:cubicBezTo>
                  <a:cubicBezTo>
                    <a:pt x="21518" y="17754"/>
                    <a:pt x="21394" y="17545"/>
                    <a:pt x="21325" y="17242"/>
                  </a:cubicBezTo>
                  <a:cubicBezTo>
                    <a:pt x="21190" y="16652"/>
                    <a:pt x="21457" y="16980"/>
                    <a:pt x="21533" y="16564"/>
                  </a:cubicBezTo>
                  <a:cubicBezTo>
                    <a:pt x="21600" y="16201"/>
                    <a:pt x="21322" y="16255"/>
                    <a:pt x="21216" y="16073"/>
                  </a:cubicBezTo>
                  <a:cubicBezTo>
                    <a:pt x="21028" y="15749"/>
                    <a:pt x="21281" y="15599"/>
                    <a:pt x="21244" y="15229"/>
                  </a:cubicBezTo>
                  <a:cubicBezTo>
                    <a:pt x="21182" y="14619"/>
                    <a:pt x="20569" y="14373"/>
                    <a:pt x="20279" y="14087"/>
                  </a:cubicBezTo>
                  <a:cubicBezTo>
                    <a:pt x="19663" y="13480"/>
                    <a:pt x="19422" y="12337"/>
                    <a:pt x="19649" y="11278"/>
                  </a:cubicBezTo>
                  <a:cubicBezTo>
                    <a:pt x="19903" y="10090"/>
                    <a:pt x="19306" y="9470"/>
                    <a:pt x="18586" y="9374"/>
                  </a:cubicBezTo>
                  <a:cubicBezTo>
                    <a:pt x="18317" y="9337"/>
                    <a:pt x="17994" y="9650"/>
                    <a:pt x="17736" y="9445"/>
                  </a:cubicBezTo>
                  <a:cubicBezTo>
                    <a:pt x="17471" y="9235"/>
                    <a:pt x="17622" y="8654"/>
                    <a:pt x="17521" y="8277"/>
                  </a:cubicBezTo>
                  <a:cubicBezTo>
                    <a:pt x="17454" y="8025"/>
                    <a:pt x="17198" y="7429"/>
                    <a:pt x="16969" y="7453"/>
                  </a:cubicBezTo>
                  <a:cubicBezTo>
                    <a:pt x="16751" y="7476"/>
                    <a:pt x="16872" y="7739"/>
                    <a:pt x="16811" y="8030"/>
                  </a:cubicBezTo>
                  <a:cubicBezTo>
                    <a:pt x="16669" y="8700"/>
                    <a:pt x="16263" y="8159"/>
                    <a:pt x="16094" y="7765"/>
                  </a:cubicBezTo>
                  <a:cubicBezTo>
                    <a:pt x="15942" y="7411"/>
                    <a:pt x="16047" y="6735"/>
                    <a:pt x="15690" y="6815"/>
                  </a:cubicBezTo>
                  <a:cubicBezTo>
                    <a:pt x="15545" y="6848"/>
                    <a:pt x="15393" y="7169"/>
                    <a:pt x="15219" y="6991"/>
                  </a:cubicBezTo>
                  <a:cubicBezTo>
                    <a:pt x="14992" y="6759"/>
                    <a:pt x="15230" y="5903"/>
                    <a:pt x="15271" y="5603"/>
                  </a:cubicBezTo>
                  <a:cubicBezTo>
                    <a:pt x="15351" y="5009"/>
                    <a:pt x="15091" y="4724"/>
                    <a:pt x="14873" y="4279"/>
                  </a:cubicBezTo>
                  <a:cubicBezTo>
                    <a:pt x="14690" y="3903"/>
                    <a:pt x="14743" y="3737"/>
                    <a:pt x="14866" y="3307"/>
                  </a:cubicBezTo>
                  <a:cubicBezTo>
                    <a:pt x="14922" y="3114"/>
                    <a:pt x="14986" y="2842"/>
                    <a:pt x="14998" y="2580"/>
                  </a:cubicBezTo>
                  <a:cubicBezTo>
                    <a:pt x="14859" y="2772"/>
                    <a:pt x="14668" y="2678"/>
                    <a:pt x="14478" y="2544"/>
                  </a:cubicBezTo>
                  <a:cubicBezTo>
                    <a:pt x="14187" y="2338"/>
                    <a:pt x="14151" y="2033"/>
                    <a:pt x="14051" y="1582"/>
                  </a:cubicBezTo>
                  <a:cubicBezTo>
                    <a:pt x="13972" y="1228"/>
                    <a:pt x="13879" y="653"/>
                    <a:pt x="13614" y="609"/>
                  </a:cubicBezTo>
                  <a:cubicBezTo>
                    <a:pt x="13373" y="569"/>
                    <a:pt x="13138" y="725"/>
                    <a:pt x="12925" y="872"/>
                  </a:cubicBezTo>
                  <a:cubicBezTo>
                    <a:pt x="12664" y="1050"/>
                    <a:pt x="12466" y="1315"/>
                    <a:pt x="12234" y="1564"/>
                  </a:cubicBezTo>
                  <a:cubicBezTo>
                    <a:pt x="12006" y="1810"/>
                    <a:pt x="11850" y="2165"/>
                    <a:pt x="11545" y="2166"/>
                  </a:cubicBezTo>
                  <a:cubicBezTo>
                    <a:pt x="11298" y="2167"/>
                    <a:pt x="11146" y="1982"/>
                    <a:pt x="10948" y="1787"/>
                  </a:cubicBezTo>
                  <a:cubicBezTo>
                    <a:pt x="10713" y="1554"/>
                    <a:pt x="10466" y="1334"/>
                    <a:pt x="10231" y="1119"/>
                  </a:cubicBezTo>
                  <a:cubicBezTo>
                    <a:pt x="9933" y="845"/>
                    <a:pt x="9672" y="506"/>
                    <a:pt x="9399" y="179"/>
                  </a:cubicBezTo>
                  <a:cubicBezTo>
                    <a:pt x="9337" y="104"/>
                    <a:pt x="9277" y="46"/>
                    <a:pt x="9219" y="0"/>
                  </a:cubicBezTo>
                  <a:cubicBezTo>
                    <a:pt x="9002" y="1117"/>
                    <a:pt x="7942" y="1013"/>
                    <a:pt x="7380" y="1452"/>
                  </a:cubicBezTo>
                  <a:cubicBezTo>
                    <a:pt x="7056" y="1706"/>
                    <a:pt x="6816" y="2334"/>
                    <a:pt x="6590" y="2759"/>
                  </a:cubicBezTo>
                  <a:cubicBezTo>
                    <a:pt x="6483" y="2962"/>
                    <a:pt x="6383" y="3164"/>
                    <a:pt x="6293" y="3384"/>
                  </a:cubicBezTo>
                  <a:cubicBezTo>
                    <a:pt x="6117" y="3817"/>
                    <a:pt x="5919" y="4190"/>
                    <a:pt x="5712" y="4593"/>
                  </a:cubicBezTo>
                  <a:cubicBezTo>
                    <a:pt x="5530" y="4948"/>
                    <a:pt x="5333" y="5282"/>
                    <a:pt x="5139" y="5619"/>
                  </a:cubicBezTo>
                  <a:cubicBezTo>
                    <a:pt x="4859" y="6107"/>
                    <a:pt x="4595" y="6569"/>
                    <a:pt x="4370" y="7120"/>
                  </a:cubicBezTo>
                  <a:cubicBezTo>
                    <a:pt x="4015" y="7989"/>
                    <a:pt x="3621" y="8831"/>
                    <a:pt x="3283" y="9728"/>
                  </a:cubicBezTo>
                  <a:cubicBezTo>
                    <a:pt x="3124" y="10150"/>
                    <a:pt x="2951" y="10580"/>
                    <a:pt x="2821" y="11023"/>
                  </a:cubicBezTo>
                  <a:cubicBezTo>
                    <a:pt x="2748" y="11273"/>
                    <a:pt x="2714" y="11592"/>
                    <a:pt x="2566" y="11772"/>
                  </a:cubicBezTo>
                  <a:cubicBezTo>
                    <a:pt x="2412" y="11961"/>
                    <a:pt x="2245" y="12063"/>
                    <a:pt x="2047" y="12074"/>
                  </a:cubicBezTo>
                  <a:cubicBezTo>
                    <a:pt x="1931" y="12081"/>
                    <a:pt x="1807" y="12158"/>
                    <a:pt x="1725" y="12290"/>
                  </a:cubicBezTo>
                  <a:cubicBezTo>
                    <a:pt x="1456" y="12723"/>
                    <a:pt x="1913" y="13128"/>
                    <a:pt x="1788" y="13562"/>
                  </a:cubicBezTo>
                  <a:cubicBezTo>
                    <a:pt x="1744" y="13714"/>
                    <a:pt x="1580" y="13841"/>
                    <a:pt x="1502" y="13950"/>
                  </a:cubicBezTo>
                  <a:cubicBezTo>
                    <a:pt x="1344" y="14169"/>
                    <a:pt x="1175" y="14378"/>
                    <a:pt x="1014" y="14596"/>
                  </a:cubicBezTo>
                  <a:cubicBezTo>
                    <a:pt x="703" y="15017"/>
                    <a:pt x="321" y="15335"/>
                    <a:pt x="193" y="15972"/>
                  </a:cubicBezTo>
                  <a:cubicBezTo>
                    <a:pt x="149" y="16192"/>
                    <a:pt x="130" y="16468"/>
                    <a:pt x="0" y="16613"/>
                  </a:cubicBezTo>
                  <a:cubicBezTo>
                    <a:pt x="288" y="17193"/>
                    <a:pt x="707" y="17501"/>
                    <a:pt x="1062" y="18073"/>
                  </a:cubicBezTo>
                  <a:cubicBezTo>
                    <a:pt x="1330" y="18506"/>
                    <a:pt x="1534" y="19009"/>
                    <a:pt x="1866" y="19384"/>
                  </a:cubicBezTo>
                  <a:cubicBezTo>
                    <a:pt x="2162" y="19716"/>
                    <a:pt x="2465" y="20044"/>
                    <a:pt x="2752" y="20379"/>
                  </a:cubicBezTo>
                  <a:cubicBezTo>
                    <a:pt x="3010" y="20679"/>
                    <a:pt x="3348" y="20967"/>
                    <a:pt x="3529" y="21380"/>
                  </a:cubicBezTo>
                  <a:cubicBezTo>
                    <a:pt x="3563" y="21457"/>
                    <a:pt x="3589" y="21530"/>
                    <a:pt x="3609" y="21600"/>
                  </a:cubicBezTo>
                  <a:cubicBezTo>
                    <a:pt x="3635" y="21534"/>
                    <a:pt x="3658" y="21439"/>
                    <a:pt x="3681" y="21295"/>
                  </a:cubicBezTo>
                  <a:cubicBezTo>
                    <a:pt x="3760" y="20800"/>
                    <a:pt x="3836" y="20576"/>
                    <a:pt x="4190" y="20861"/>
                  </a:cubicBezTo>
                  <a:close/>
                  <a:moveTo>
                    <a:pt x="4190" y="20861"/>
                  </a:moveTo>
                </a:path>
              </a:pathLst>
            </a:custGeom>
            <a:solidFill>
              <a:srgbClr val="C0C0C0"/>
            </a:solidFill>
            <a:ln w="3175">
              <a:solidFill>
                <a:schemeClr val="bg1">
                  <a:lumMod val="85000"/>
                </a:schemeClr>
              </a:solidFill>
            </a:ln>
          </p:spPr>
          <p:txBody>
            <a:bodyPr lIns="0" tIns="0" rIns="0" bIns="0"/>
            <a:lstStyle/>
            <a:p>
              <a:endParaRPr lang="en-US"/>
            </a:p>
          </p:txBody>
        </p:sp>
        <p:sp>
          <p:nvSpPr>
            <p:cNvPr id="189" name="AutoShape 897">
              <a:extLst>
                <a:ext uri="{FF2B5EF4-FFF2-40B4-BE49-F238E27FC236}">
                  <a16:creationId xmlns:a16="http://schemas.microsoft.com/office/drawing/2014/main" id="{390E39B3-7FED-7E48-BB41-0C4FB0DA3460}"/>
                </a:ext>
              </a:extLst>
            </p:cNvPr>
            <p:cNvSpPr>
              <a:spLocks/>
            </p:cNvSpPr>
            <p:nvPr/>
          </p:nvSpPr>
          <p:spPr bwMode="auto">
            <a:xfrm>
              <a:off x="5906269" y="3106678"/>
              <a:ext cx="763481" cy="635106"/>
            </a:xfrm>
            <a:custGeom>
              <a:avLst/>
              <a:gdLst/>
              <a:ahLst/>
              <a:cxnLst/>
              <a:rect l="0" t="0" r="r" b="b"/>
              <a:pathLst>
                <a:path w="21549" h="21373">
                  <a:moveTo>
                    <a:pt x="5011" y="17007"/>
                  </a:moveTo>
                  <a:cubicBezTo>
                    <a:pt x="5405" y="17081"/>
                    <a:pt x="5390" y="16698"/>
                    <a:pt x="5696" y="16566"/>
                  </a:cubicBezTo>
                  <a:cubicBezTo>
                    <a:pt x="5967" y="16449"/>
                    <a:pt x="6191" y="16726"/>
                    <a:pt x="6369" y="16932"/>
                  </a:cubicBezTo>
                  <a:cubicBezTo>
                    <a:pt x="6606" y="17208"/>
                    <a:pt x="6749" y="17515"/>
                    <a:pt x="6879" y="17881"/>
                  </a:cubicBezTo>
                  <a:cubicBezTo>
                    <a:pt x="7047" y="18354"/>
                    <a:pt x="7199" y="18949"/>
                    <a:pt x="7484" y="19343"/>
                  </a:cubicBezTo>
                  <a:cubicBezTo>
                    <a:pt x="7702" y="19645"/>
                    <a:pt x="8088" y="19634"/>
                    <a:pt x="8375" y="19779"/>
                  </a:cubicBezTo>
                  <a:cubicBezTo>
                    <a:pt x="8732" y="19960"/>
                    <a:pt x="8943" y="20323"/>
                    <a:pt x="9204" y="20647"/>
                  </a:cubicBezTo>
                  <a:cubicBezTo>
                    <a:pt x="9320" y="20792"/>
                    <a:pt x="9411" y="20960"/>
                    <a:pt x="9582" y="21009"/>
                  </a:cubicBezTo>
                  <a:cubicBezTo>
                    <a:pt x="9749" y="21056"/>
                    <a:pt x="9822" y="20992"/>
                    <a:pt x="9963" y="21122"/>
                  </a:cubicBezTo>
                  <a:cubicBezTo>
                    <a:pt x="10484" y="21600"/>
                    <a:pt x="10953" y="21201"/>
                    <a:pt x="11541" y="21202"/>
                  </a:cubicBezTo>
                  <a:cubicBezTo>
                    <a:pt x="12216" y="21204"/>
                    <a:pt x="12892" y="21159"/>
                    <a:pt x="13568" y="21189"/>
                  </a:cubicBezTo>
                  <a:cubicBezTo>
                    <a:pt x="13834" y="21201"/>
                    <a:pt x="14041" y="21325"/>
                    <a:pt x="14298" y="21358"/>
                  </a:cubicBezTo>
                  <a:cubicBezTo>
                    <a:pt x="14556" y="21392"/>
                    <a:pt x="14817" y="21354"/>
                    <a:pt x="15076" y="21354"/>
                  </a:cubicBezTo>
                  <a:lnTo>
                    <a:pt x="21549" y="21354"/>
                  </a:lnTo>
                  <a:lnTo>
                    <a:pt x="21350" y="21152"/>
                  </a:lnTo>
                  <a:lnTo>
                    <a:pt x="13621" y="12951"/>
                  </a:lnTo>
                  <a:lnTo>
                    <a:pt x="3005" y="2270"/>
                  </a:lnTo>
                  <a:cubicBezTo>
                    <a:pt x="2254" y="1513"/>
                    <a:pt x="1503" y="757"/>
                    <a:pt x="753" y="0"/>
                  </a:cubicBezTo>
                  <a:cubicBezTo>
                    <a:pt x="668" y="180"/>
                    <a:pt x="585" y="360"/>
                    <a:pt x="499" y="537"/>
                  </a:cubicBezTo>
                  <a:cubicBezTo>
                    <a:pt x="413" y="713"/>
                    <a:pt x="325" y="935"/>
                    <a:pt x="308" y="1141"/>
                  </a:cubicBezTo>
                  <a:cubicBezTo>
                    <a:pt x="278" y="1501"/>
                    <a:pt x="443" y="1765"/>
                    <a:pt x="561" y="2077"/>
                  </a:cubicBezTo>
                  <a:cubicBezTo>
                    <a:pt x="683" y="2399"/>
                    <a:pt x="871" y="2674"/>
                    <a:pt x="999" y="2995"/>
                  </a:cubicBezTo>
                  <a:cubicBezTo>
                    <a:pt x="1121" y="3300"/>
                    <a:pt x="1157" y="3594"/>
                    <a:pt x="1158" y="3931"/>
                  </a:cubicBezTo>
                  <a:cubicBezTo>
                    <a:pt x="1158" y="4224"/>
                    <a:pt x="1095" y="4495"/>
                    <a:pt x="1033" y="4776"/>
                  </a:cubicBezTo>
                  <a:cubicBezTo>
                    <a:pt x="980" y="5008"/>
                    <a:pt x="891" y="5157"/>
                    <a:pt x="699" y="5221"/>
                  </a:cubicBezTo>
                  <a:cubicBezTo>
                    <a:pt x="520" y="5281"/>
                    <a:pt x="246" y="5353"/>
                    <a:pt x="404" y="5608"/>
                  </a:cubicBezTo>
                  <a:cubicBezTo>
                    <a:pt x="467" y="5709"/>
                    <a:pt x="487" y="5743"/>
                    <a:pt x="427" y="5863"/>
                  </a:cubicBezTo>
                  <a:cubicBezTo>
                    <a:pt x="378" y="5962"/>
                    <a:pt x="306" y="6027"/>
                    <a:pt x="258" y="6129"/>
                  </a:cubicBezTo>
                  <a:cubicBezTo>
                    <a:pt x="239" y="6170"/>
                    <a:pt x="218" y="6200"/>
                    <a:pt x="196" y="6225"/>
                  </a:cubicBezTo>
                  <a:cubicBezTo>
                    <a:pt x="186" y="6388"/>
                    <a:pt x="134" y="6559"/>
                    <a:pt x="90" y="6679"/>
                  </a:cubicBezTo>
                  <a:cubicBezTo>
                    <a:pt x="-9" y="6948"/>
                    <a:pt x="-51" y="7053"/>
                    <a:pt x="96" y="7288"/>
                  </a:cubicBezTo>
                  <a:cubicBezTo>
                    <a:pt x="270" y="7566"/>
                    <a:pt x="478" y="7745"/>
                    <a:pt x="414" y="8117"/>
                  </a:cubicBezTo>
                  <a:cubicBezTo>
                    <a:pt x="382" y="8304"/>
                    <a:pt x="191" y="8840"/>
                    <a:pt x="372" y="8985"/>
                  </a:cubicBezTo>
                  <a:cubicBezTo>
                    <a:pt x="512" y="9096"/>
                    <a:pt x="633" y="8895"/>
                    <a:pt x="750" y="8875"/>
                  </a:cubicBezTo>
                  <a:cubicBezTo>
                    <a:pt x="1035" y="8824"/>
                    <a:pt x="951" y="9248"/>
                    <a:pt x="1073" y="9469"/>
                  </a:cubicBezTo>
                  <a:cubicBezTo>
                    <a:pt x="1208" y="9716"/>
                    <a:pt x="1533" y="10055"/>
                    <a:pt x="1647" y="9635"/>
                  </a:cubicBezTo>
                  <a:cubicBezTo>
                    <a:pt x="1696" y="9453"/>
                    <a:pt x="1599" y="9289"/>
                    <a:pt x="1773" y="9274"/>
                  </a:cubicBezTo>
                  <a:cubicBezTo>
                    <a:pt x="1956" y="9259"/>
                    <a:pt x="2162" y="9632"/>
                    <a:pt x="2215" y="9790"/>
                  </a:cubicBezTo>
                  <a:cubicBezTo>
                    <a:pt x="2296" y="10026"/>
                    <a:pt x="2175" y="10389"/>
                    <a:pt x="2388" y="10521"/>
                  </a:cubicBezTo>
                  <a:cubicBezTo>
                    <a:pt x="2594" y="10649"/>
                    <a:pt x="2852" y="10453"/>
                    <a:pt x="3068" y="10476"/>
                  </a:cubicBezTo>
                  <a:cubicBezTo>
                    <a:pt x="3644" y="10537"/>
                    <a:pt x="4122" y="10925"/>
                    <a:pt x="3918" y="11668"/>
                  </a:cubicBezTo>
                  <a:cubicBezTo>
                    <a:pt x="3737" y="12331"/>
                    <a:pt x="3930" y="13046"/>
                    <a:pt x="4423" y="13426"/>
                  </a:cubicBezTo>
                  <a:cubicBezTo>
                    <a:pt x="4655" y="13605"/>
                    <a:pt x="5146" y="13759"/>
                    <a:pt x="5195" y="14141"/>
                  </a:cubicBezTo>
                  <a:cubicBezTo>
                    <a:pt x="5226" y="14372"/>
                    <a:pt x="5022" y="14466"/>
                    <a:pt x="5174" y="14669"/>
                  </a:cubicBezTo>
                  <a:cubicBezTo>
                    <a:pt x="5258" y="14783"/>
                    <a:pt x="5481" y="14749"/>
                    <a:pt x="5427" y="14976"/>
                  </a:cubicBezTo>
                  <a:cubicBezTo>
                    <a:pt x="5366" y="15236"/>
                    <a:pt x="5153" y="15031"/>
                    <a:pt x="5260" y="15400"/>
                  </a:cubicBezTo>
                  <a:cubicBezTo>
                    <a:pt x="5316" y="15590"/>
                    <a:pt x="5415" y="15721"/>
                    <a:pt x="5213" y="15836"/>
                  </a:cubicBezTo>
                  <a:cubicBezTo>
                    <a:pt x="5010" y="15952"/>
                    <a:pt x="4892" y="15871"/>
                    <a:pt x="4746" y="16140"/>
                  </a:cubicBezTo>
                  <a:cubicBezTo>
                    <a:pt x="4638" y="16338"/>
                    <a:pt x="4656" y="16623"/>
                    <a:pt x="4433" y="16645"/>
                  </a:cubicBezTo>
                  <a:cubicBezTo>
                    <a:pt x="4586" y="16835"/>
                    <a:pt x="4801" y="16967"/>
                    <a:pt x="5011" y="17007"/>
                  </a:cubicBezTo>
                  <a:close/>
                  <a:moveTo>
                    <a:pt x="5011" y="17007"/>
                  </a:moveTo>
                </a:path>
              </a:pathLst>
            </a:custGeom>
            <a:solidFill>
              <a:srgbClr val="C0C0C0"/>
            </a:solidFill>
            <a:ln w="3175">
              <a:solidFill>
                <a:schemeClr val="bg1">
                  <a:lumMod val="85000"/>
                </a:schemeClr>
              </a:solidFill>
            </a:ln>
          </p:spPr>
          <p:txBody>
            <a:bodyPr lIns="0" tIns="0" rIns="0" bIns="0"/>
            <a:lstStyle/>
            <a:p>
              <a:endParaRPr lang="en-US"/>
            </a:p>
          </p:txBody>
        </p:sp>
        <p:sp>
          <p:nvSpPr>
            <p:cNvPr id="190" name="AutoShape 921">
              <a:extLst>
                <a:ext uri="{FF2B5EF4-FFF2-40B4-BE49-F238E27FC236}">
                  <a16:creationId xmlns:a16="http://schemas.microsoft.com/office/drawing/2014/main" id="{F0B49284-C7D8-ED4F-B0FB-1304420E5D04}"/>
                </a:ext>
              </a:extLst>
            </p:cNvPr>
            <p:cNvSpPr>
              <a:spLocks/>
            </p:cNvSpPr>
            <p:nvPr/>
          </p:nvSpPr>
          <p:spPr bwMode="auto">
            <a:xfrm>
              <a:off x="4931181" y="4014052"/>
              <a:ext cx="741192" cy="568802"/>
            </a:xfrm>
            <a:custGeom>
              <a:avLst/>
              <a:gdLst/>
              <a:ahLst/>
              <a:cxnLst/>
              <a:rect l="0" t="0" r="r" b="b"/>
              <a:pathLst>
                <a:path w="21459" h="21502">
                  <a:moveTo>
                    <a:pt x="21457" y="21441"/>
                  </a:moveTo>
                  <a:cubicBezTo>
                    <a:pt x="21482" y="21151"/>
                    <a:pt x="21321" y="20944"/>
                    <a:pt x="21199" y="20741"/>
                  </a:cubicBezTo>
                  <a:cubicBezTo>
                    <a:pt x="21010" y="20428"/>
                    <a:pt x="20999" y="20211"/>
                    <a:pt x="20981" y="19824"/>
                  </a:cubicBezTo>
                  <a:cubicBezTo>
                    <a:pt x="20963" y="19427"/>
                    <a:pt x="20838" y="19316"/>
                    <a:pt x="20546" y="19284"/>
                  </a:cubicBezTo>
                  <a:cubicBezTo>
                    <a:pt x="20257" y="19252"/>
                    <a:pt x="20029" y="19147"/>
                    <a:pt x="19864" y="18829"/>
                  </a:cubicBezTo>
                  <a:cubicBezTo>
                    <a:pt x="19737" y="18583"/>
                    <a:pt x="19630" y="18343"/>
                    <a:pt x="19391" y="18259"/>
                  </a:cubicBezTo>
                  <a:cubicBezTo>
                    <a:pt x="19171" y="18181"/>
                    <a:pt x="18993" y="18238"/>
                    <a:pt x="18803" y="18008"/>
                  </a:cubicBezTo>
                  <a:cubicBezTo>
                    <a:pt x="18604" y="17767"/>
                    <a:pt x="18393" y="17614"/>
                    <a:pt x="18176" y="17385"/>
                  </a:cubicBezTo>
                  <a:cubicBezTo>
                    <a:pt x="18082" y="17286"/>
                    <a:pt x="18023" y="17154"/>
                    <a:pt x="17910" y="17087"/>
                  </a:cubicBezTo>
                  <a:cubicBezTo>
                    <a:pt x="17818" y="17033"/>
                    <a:pt x="17743" y="17073"/>
                    <a:pt x="17649" y="17037"/>
                  </a:cubicBezTo>
                  <a:cubicBezTo>
                    <a:pt x="17507" y="16985"/>
                    <a:pt x="17522" y="16881"/>
                    <a:pt x="17426" y="16781"/>
                  </a:cubicBezTo>
                  <a:cubicBezTo>
                    <a:pt x="17356" y="16709"/>
                    <a:pt x="17275" y="16724"/>
                    <a:pt x="17210" y="16666"/>
                  </a:cubicBezTo>
                  <a:cubicBezTo>
                    <a:pt x="16957" y="16442"/>
                    <a:pt x="17010" y="15968"/>
                    <a:pt x="16755" y="15757"/>
                  </a:cubicBezTo>
                  <a:cubicBezTo>
                    <a:pt x="16649" y="15669"/>
                    <a:pt x="16501" y="15671"/>
                    <a:pt x="16401" y="15560"/>
                  </a:cubicBezTo>
                  <a:cubicBezTo>
                    <a:pt x="16311" y="15460"/>
                    <a:pt x="16287" y="15324"/>
                    <a:pt x="16187" y="15214"/>
                  </a:cubicBezTo>
                  <a:cubicBezTo>
                    <a:pt x="16009" y="15020"/>
                    <a:pt x="15841" y="14885"/>
                    <a:pt x="15893" y="14553"/>
                  </a:cubicBezTo>
                  <a:cubicBezTo>
                    <a:pt x="15939" y="14263"/>
                    <a:pt x="16161" y="14126"/>
                    <a:pt x="16239" y="13854"/>
                  </a:cubicBezTo>
                  <a:cubicBezTo>
                    <a:pt x="16378" y="13369"/>
                    <a:pt x="15984" y="13415"/>
                    <a:pt x="15862" y="13056"/>
                  </a:cubicBezTo>
                  <a:cubicBezTo>
                    <a:pt x="15805" y="12889"/>
                    <a:pt x="15856" y="12663"/>
                    <a:pt x="15819" y="12480"/>
                  </a:cubicBezTo>
                  <a:cubicBezTo>
                    <a:pt x="15769" y="12238"/>
                    <a:pt x="15724" y="12258"/>
                    <a:pt x="15579" y="12118"/>
                  </a:cubicBezTo>
                  <a:cubicBezTo>
                    <a:pt x="15392" y="11938"/>
                    <a:pt x="15217" y="11424"/>
                    <a:pt x="14951" y="11496"/>
                  </a:cubicBezTo>
                  <a:cubicBezTo>
                    <a:pt x="14939" y="11630"/>
                    <a:pt x="14965" y="11717"/>
                    <a:pt x="14995" y="11840"/>
                  </a:cubicBezTo>
                  <a:cubicBezTo>
                    <a:pt x="15079" y="12176"/>
                    <a:pt x="15689" y="13307"/>
                    <a:pt x="15275" y="13598"/>
                  </a:cubicBezTo>
                  <a:cubicBezTo>
                    <a:pt x="14973" y="13810"/>
                    <a:pt x="14403" y="13216"/>
                    <a:pt x="14224" y="12972"/>
                  </a:cubicBezTo>
                  <a:cubicBezTo>
                    <a:pt x="13974" y="12630"/>
                    <a:pt x="13508" y="11944"/>
                    <a:pt x="13139" y="11861"/>
                  </a:cubicBezTo>
                  <a:cubicBezTo>
                    <a:pt x="12981" y="11825"/>
                    <a:pt x="12730" y="11874"/>
                    <a:pt x="12596" y="11954"/>
                  </a:cubicBezTo>
                  <a:cubicBezTo>
                    <a:pt x="12483" y="12022"/>
                    <a:pt x="12460" y="12101"/>
                    <a:pt x="12334" y="12119"/>
                  </a:cubicBezTo>
                  <a:cubicBezTo>
                    <a:pt x="12262" y="12129"/>
                    <a:pt x="12187" y="12017"/>
                    <a:pt x="12093" y="12060"/>
                  </a:cubicBezTo>
                  <a:cubicBezTo>
                    <a:pt x="11917" y="12142"/>
                    <a:pt x="11941" y="12526"/>
                    <a:pt x="11680" y="12489"/>
                  </a:cubicBezTo>
                  <a:cubicBezTo>
                    <a:pt x="11467" y="12459"/>
                    <a:pt x="11404" y="12129"/>
                    <a:pt x="11326" y="11919"/>
                  </a:cubicBezTo>
                  <a:cubicBezTo>
                    <a:pt x="11121" y="11361"/>
                    <a:pt x="10932" y="10842"/>
                    <a:pt x="10585" y="10418"/>
                  </a:cubicBezTo>
                  <a:cubicBezTo>
                    <a:pt x="10238" y="9993"/>
                    <a:pt x="9941" y="9535"/>
                    <a:pt x="9642" y="9051"/>
                  </a:cubicBezTo>
                  <a:cubicBezTo>
                    <a:pt x="9371" y="8611"/>
                    <a:pt x="8967" y="7732"/>
                    <a:pt x="8478" y="7853"/>
                  </a:cubicBezTo>
                  <a:cubicBezTo>
                    <a:pt x="8252" y="7909"/>
                    <a:pt x="8100" y="8056"/>
                    <a:pt x="8016" y="7710"/>
                  </a:cubicBezTo>
                  <a:cubicBezTo>
                    <a:pt x="7940" y="7398"/>
                    <a:pt x="8001" y="7214"/>
                    <a:pt x="7873" y="6914"/>
                  </a:cubicBezTo>
                  <a:cubicBezTo>
                    <a:pt x="7671" y="6440"/>
                    <a:pt x="7801" y="6014"/>
                    <a:pt x="7695" y="5520"/>
                  </a:cubicBezTo>
                  <a:cubicBezTo>
                    <a:pt x="7572" y="4946"/>
                    <a:pt x="7051" y="4884"/>
                    <a:pt x="6669" y="4759"/>
                  </a:cubicBezTo>
                  <a:cubicBezTo>
                    <a:pt x="6402" y="4671"/>
                    <a:pt x="5856" y="4313"/>
                    <a:pt x="5955" y="3847"/>
                  </a:cubicBezTo>
                  <a:cubicBezTo>
                    <a:pt x="6097" y="3772"/>
                    <a:pt x="6223" y="3880"/>
                    <a:pt x="6278" y="3644"/>
                  </a:cubicBezTo>
                  <a:cubicBezTo>
                    <a:pt x="6318" y="3474"/>
                    <a:pt x="6188" y="3213"/>
                    <a:pt x="6105" y="3094"/>
                  </a:cubicBezTo>
                  <a:cubicBezTo>
                    <a:pt x="5852" y="2735"/>
                    <a:pt x="5383" y="2593"/>
                    <a:pt x="5064" y="2329"/>
                  </a:cubicBezTo>
                  <a:cubicBezTo>
                    <a:pt x="4716" y="2040"/>
                    <a:pt x="4457" y="1727"/>
                    <a:pt x="4230" y="1276"/>
                  </a:cubicBezTo>
                  <a:cubicBezTo>
                    <a:pt x="4062" y="942"/>
                    <a:pt x="4040" y="577"/>
                    <a:pt x="3975" y="214"/>
                  </a:cubicBezTo>
                  <a:cubicBezTo>
                    <a:pt x="3840" y="186"/>
                    <a:pt x="3764" y="160"/>
                    <a:pt x="3621" y="81"/>
                  </a:cubicBezTo>
                  <a:cubicBezTo>
                    <a:pt x="3298" y="-98"/>
                    <a:pt x="2824" y="46"/>
                    <a:pt x="2526" y="252"/>
                  </a:cubicBezTo>
                  <a:cubicBezTo>
                    <a:pt x="2243" y="449"/>
                    <a:pt x="2096" y="842"/>
                    <a:pt x="1903" y="1165"/>
                  </a:cubicBezTo>
                  <a:cubicBezTo>
                    <a:pt x="2005" y="1412"/>
                    <a:pt x="2128" y="1615"/>
                    <a:pt x="2380" y="1731"/>
                  </a:cubicBezTo>
                  <a:cubicBezTo>
                    <a:pt x="2569" y="1818"/>
                    <a:pt x="2564" y="1811"/>
                    <a:pt x="2684" y="1599"/>
                  </a:cubicBezTo>
                  <a:cubicBezTo>
                    <a:pt x="2824" y="2059"/>
                    <a:pt x="2270" y="2080"/>
                    <a:pt x="2118" y="2339"/>
                  </a:cubicBezTo>
                  <a:cubicBezTo>
                    <a:pt x="1821" y="2843"/>
                    <a:pt x="1916" y="3626"/>
                    <a:pt x="1856" y="4211"/>
                  </a:cubicBezTo>
                  <a:cubicBezTo>
                    <a:pt x="1816" y="4612"/>
                    <a:pt x="1684" y="5374"/>
                    <a:pt x="1401" y="5613"/>
                  </a:cubicBezTo>
                  <a:cubicBezTo>
                    <a:pt x="914" y="6024"/>
                    <a:pt x="803" y="4896"/>
                    <a:pt x="353" y="5212"/>
                  </a:cubicBezTo>
                  <a:cubicBezTo>
                    <a:pt x="191" y="5326"/>
                    <a:pt x="-118" y="6405"/>
                    <a:pt x="48" y="6596"/>
                  </a:cubicBezTo>
                  <a:cubicBezTo>
                    <a:pt x="217" y="6790"/>
                    <a:pt x="403" y="6567"/>
                    <a:pt x="527" y="6900"/>
                  </a:cubicBezTo>
                  <a:cubicBezTo>
                    <a:pt x="648" y="7223"/>
                    <a:pt x="538" y="7356"/>
                    <a:pt x="380" y="7575"/>
                  </a:cubicBezTo>
                  <a:cubicBezTo>
                    <a:pt x="84" y="7989"/>
                    <a:pt x="480" y="8611"/>
                    <a:pt x="609" y="9046"/>
                  </a:cubicBezTo>
                  <a:cubicBezTo>
                    <a:pt x="815" y="9742"/>
                    <a:pt x="971" y="10393"/>
                    <a:pt x="941" y="11145"/>
                  </a:cubicBezTo>
                  <a:cubicBezTo>
                    <a:pt x="929" y="11438"/>
                    <a:pt x="853" y="11697"/>
                    <a:pt x="1049" y="11891"/>
                  </a:cubicBezTo>
                  <a:cubicBezTo>
                    <a:pt x="1240" y="12080"/>
                    <a:pt x="1396" y="11975"/>
                    <a:pt x="1442" y="12367"/>
                  </a:cubicBezTo>
                  <a:cubicBezTo>
                    <a:pt x="1470" y="12607"/>
                    <a:pt x="1407" y="12711"/>
                    <a:pt x="1571" y="12887"/>
                  </a:cubicBezTo>
                  <a:cubicBezTo>
                    <a:pt x="1715" y="13041"/>
                    <a:pt x="1911" y="13011"/>
                    <a:pt x="2063" y="13130"/>
                  </a:cubicBezTo>
                  <a:cubicBezTo>
                    <a:pt x="2154" y="13202"/>
                    <a:pt x="2230" y="13343"/>
                    <a:pt x="2327" y="13423"/>
                  </a:cubicBezTo>
                  <a:cubicBezTo>
                    <a:pt x="2574" y="13623"/>
                    <a:pt x="2859" y="13731"/>
                    <a:pt x="3104" y="13931"/>
                  </a:cubicBezTo>
                  <a:cubicBezTo>
                    <a:pt x="3418" y="14186"/>
                    <a:pt x="3676" y="14474"/>
                    <a:pt x="3887" y="14876"/>
                  </a:cubicBezTo>
                  <a:cubicBezTo>
                    <a:pt x="4170" y="15414"/>
                    <a:pt x="4199" y="16105"/>
                    <a:pt x="4443" y="16669"/>
                  </a:cubicBezTo>
                  <a:cubicBezTo>
                    <a:pt x="4542" y="16900"/>
                    <a:pt x="4682" y="17138"/>
                    <a:pt x="4874" y="17245"/>
                  </a:cubicBezTo>
                  <a:cubicBezTo>
                    <a:pt x="5072" y="17355"/>
                    <a:pt x="5333" y="17271"/>
                    <a:pt x="5538" y="17371"/>
                  </a:cubicBezTo>
                  <a:cubicBezTo>
                    <a:pt x="6008" y="17599"/>
                    <a:pt x="5954" y="18706"/>
                    <a:pt x="6033" y="19250"/>
                  </a:cubicBezTo>
                  <a:cubicBezTo>
                    <a:pt x="6073" y="19531"/>
                    <a:pt x="6114" y="19782"/>
                    <a:pt x="6278" y="19996"/>
                  </a:cubicBezTo>
                  <a:cubicBezTo>
                    <a:pt x="6409" y="20166"/>
                    <a:pt x="6613" y="20191"/>
                    <a:pt x="6757" y="20343"/>
                  </a:cubicBezTo>
                  <a:cubicBezTo>
                    <a:pt x="6910" y="20503"/>
                    <a:pt x="6962" y="20761"/>
                    <a:pt x="7106" y="20925"/>
                  </a:cubicBezTo>
                  <a:cubicBezTo>
                    <a:pt x="7282" y="21128"/>
                    <a:pt x="7378" y="21213"/>
                    <a:pt x="7481" y="21446"/>
                  </a:cubicBezTo>
                  <a:lnTo>
                    <a:pt x="21286" y="21502"/>
                  </a:lnTo>
                  <a:cubicBezTo>
                    <a:pt x="21345" y="21492"/>
                    <a:pt x="21398" y="21452"/>
                    <a:pt x="21457" y="21441"/>
                  </a:cubicBezTo>
                  <a:close/>
                  <a:moveTo>
                    <a:pt x="21457" y="21441"/>
                  </a:moveTo>
                </a:path>
              </a:pathLst>
            </a:custGeom>
            <a:solidFill>
              <a:srgbClr val="3B4A54"/>
            </a:solidFill>
            <a:ln w="3175">
              <a:solidFill>
                <a:schemeClr val="bg1">
                  <a:lumMod val="85000"/>
                </a:schemeClr>
              </a:solidFill>
            </a:ln>
          </p:spPr>
          <p:txBody>
            <a:bodyPr lIns="0" tIns="0" rIns="0" bIns="0"/>
            <a:lstStyle/>
            <a:p>
              <a:endParaRPr lang="en-US"/>
            </a:p>
          </p:txBody>
        </p:sp>
        <p:sp>
          <p:nvSpPr>
            <p:cNvPr id="191" name="AutoShape 944">
              <a:extLst>
                <a:ext uri="{FF2B5EF4-FFF2-40B4-BE49-F238E27FC236}">
                  <a16:creationId xmlns:a16="http://schemas.microsoft.com/office/drawing/2014/main" id="{E31386F6-BD21-7243-81B4-1B56F660A34F}"/>
                </a:ext>
              </a:extLst>
            </p:cNvPr>
            <p:cNvSpPr>
              <a:spLocks/>
            </p:cNvSpPr>
            <p:nvPr/>
          </p:nvSpPr>
          <p:spPr bwMode="auto">
            <a:xfrm>
              <a:off x="5068866" y="3977938"/>
              <a:ext cx="442120" cy="397823"/>
            </a:xfrm>
            <a:custGeom>
              <a:avLst/>
              <a:gdLst/>
              <a:ahLst/>
              <a:cxnLst/>
              <a:rect l="0" t="0" r="r" b="b"/>
              <a:pathLst>
                <a:path w="21565" h="21323">
                  <a:moveTo>
                    <a:pt x="19730" y="18595"/>
                  </a:moveTo>
                  <a:cubicBezTo>
                    <a:pt x="19866" y="18240"/>
                    <a:pt x="20149" y="18220"/>
                    <a:pt x="20454" y="18153"/>
                  </a:cubicBezTo>
                  <a:cubicBezTo>
                    <a:pt x="21152" y="17999"/>
                    <a:pt x="21447" y="17656"/>
                    <a:pt x="21527" y="16813"/>
                  </a:cubicBezTo>
                  <a:cubicBezTo>
                    <a:pt x="21600" y="16054"/>
                    <a:pt x="21549" y="15207"/>
                    <a:pt x="21527" y="14442"/>
                  </a:cubicBezTo>
                  <a:cubicBezTo>
                    <a:pt x="21505" y="13684"/>
                    <a:pt x="20972" y="12999"/>
                    <a:pt x="20499" y="12467"/>
                  </a:cubicBezTo>
                  <a:cubicBezTo>
                    <a:pt x="20118" y="12038"/>
                    <a:pt x="19626" y="11805"/>
                    <a:pt x="19215" y="11422"/>
                  </a:cubicBezTo>
                  <a:cubicBezTo>
                    <a:pt x="18879" y="11108"/>
                    <a:pt x="18590" y="10760"/>
                    <a:pt x="18263" y="10451"/>
                  </a:cubicBezTo>
                  <a:cubicBezTo>
                    <a:pt x="17417" y="9650"/>
                    <a:pt x="16614" y="8928"/>
                    <a:pt x="15943" y="7954"/>
                  </a:cubicBezTo>
                  <a:cubicBezTo>
                    <a:pt x="15428" y="7205"/>
                    <a:pt x="15031" y="6576"/>
                    <a:pt x="14299" y="6088"/>
                  </a:cubicBezTo>
                  <a:cubicBezTo>
                    <a:pt x="13663" y="5665"/>
                    <a:pt x="12875" y="5495"/>
                    <a:pt x="12207" y="5133"/>
                  </a:cubicBezTo>
                  <a:cubicBezTo>
                    <a:pt x="11678" y="4845"/>
                    <a:pt x="10878" y="4588"/>
                    <a:pt x="10417" y="4193"/>
                  </a:cubicBezTo>
                  <a:cubicBezTo>
                    <a:pt x="9959" y="3801"/>
                    <a:pt x="10019" y="3023"/>
                    <a:pt x="9592" y="2559"/>
                  </a:cubicBezTo>
                  <a:cubicBezTo>
                    <a:pt x="9350" y="2297"/>
                    <a:pt x="8446" y="1878"/>
                    <a:pt x="8399" y="1494"/>
                  </a:cubicBezTo>
                  <a:cubicBezTo>
                    <a:pt x="8352" y="1115"/>
                    <a:pt x="8911" y="1150"/>
                    <a:pt x="8565" y="706"/>
                  </a:cubicBezTo>
                  <a:cubicBezTo>
                    <a:pt x="8539" y="673"/>
                    <a:pt x="8507" y="640"/>
                    <a:pt x="8470" y="607"/>
                  </a:cubicBezTo>
                  <a:cubicBezTo>
                    <a:pt x="8474" y="657"/>
                    <a:pt x="8472" y="710"/>
                    <a:pt x="8459" y="770"/>
                  </a:cubicBezTo>
                  <a:cubicBezTo>
                    <a:pt x="7209" y="841"/>
                    <a:pt x="5937" y="751"/>
                    <a:pt x="4686" y="736"/>
                  </a:cubicBezTo>
                  <a:cubicBezTo>
                    <a:pt x="4339" y="771"/>
                    <a:pt x="4484" y="363"/>
                    <a:pt x="4346" y="171"/>
                  </a:cubicBezTo>
                  <a:cubicBezTo>
                    <a:pt x="4195" y="-40"/>
                    <a:pt x="4002" y="-7"/>
                    <a:pt x="3760" y="19"/>
                  </a:cubicBezTo>
                  <a:cubicBezTo>
                    <a:pt x="3194" y="82"/>
                    <a:pt x="2934" y="332"/>
                    <a:pt x="2668" y="857"/>
                  </a:cubicBezTo>
                  <a:cubicBezTo>
                    <a:pt x="2438" y="1309"/>
                    <a:pt x="2316" y="1952"/>
                    <a:pt x="1980" y="2317"/>
                  </a:cubicBezTo>
                  <a:cubicBezTo>
                    <a:pt x="1740" y="2578"/>
                    <a:pt x="1397" y="2643"/>
                    <a:pt x="1105" y="2530"/>
                  </a:cubicBezTo>
                  <a:cubicBezTo>
                    <a:pt x="1075" y="2555"/>
                    <a:pt x="1034" y="2576"/>
                    <a:pt x="980" y="2591"/>
                  </a:cubicBezTo>
                  <a:cubicBezTo>
                    <a:pt x="757" y="2654"/>
                    <a:pt x="361" y="2345"/>
                    <a:pt x="136" y="2308"/>
                  </a:cubicBezTo>
                  <a:cubicBezTo>
                    <a:pt x="86" y="2300"/>
                    <a:pt x="42" y="2293"/>
                    <a:pt x="0" y="2285"/>
                  </a:cubicBezTo>
                  <a:cubicBezTo>
                    <a:pt x="110" y="2799"/>
                    <a:pt x="146" y="3316"/>
                    <a:pt x="429" y="3791"/>
                  </a:cubicBezTo>
                  <a:cubicBezTo>
                    <a:pt x="811" y="4430"/>
                    <a:pt x="1247" y="4873"/>
                    <a:pt x="1834" y="5283"/>
                  </a:cubicBezTo>
                  <a:cubicBezTo>
                    <a:pt x="2371" y="5658"/>
                    <a:pt x="3162" y="5859"/>
                    <a:pt x="3587" y="6368"/>
                  </a:cubicBezTo>
                  <a:cubicBezTo>
                    <a:pt x="3727" y="6536"/>
                    <a:pt x="3946" y="6907"/>
                    <a:pt x="3879" y="7147"/>
                  </a:cubicBezTo>
                  <a:cubicBezTo>
                    <a:pt x="3787" y="7482"/>
                    <a:pt x="3574" y="7329"/>
                    <a:pt x="3335" y="7436"/>
                  </a:cubicBezTo>
                  <a:cubicBezTo>
                    <a:pt x="3169" y="8096"/>
                    <a:pt x="4088" y="8603"/>
                    <a:pt x="4537" y="8728"/>
                  </a:cubicBezTo>
                  <a:cubicBezTo>
                    <a:pt x="5180" y="8906"/>
                    <a:pt x="6058" y="8993"/>
                    <a:pt x="6265" y="9807"/>
                  </a:cubicBezTo>
                  <a:cubicBezTo>
                    <a:pt x="6444" y="10507"/>
                    <a:pt x="6225" y="11111"/>
                    <a:pt x="6565" y="11783"/>
                  </a:cubicBezTo>
                  <a:cubicBezTo>
                    <a:pt x="6781" y="12209"/>
                    <a:pt x="6678" y="12470"/>
                    <a:pt x="6806" y="12912"/>
                  </a:cubicBezTo>
                  <a:cubicBezTo>
                    <a:pt x="6947" y="13402"/>
                    <a:pt x="7203" y="13193"/>
                    <a:pt x="7584" y="13114"/>
                  </a:cubicBezTo>
                  <a:cubicBezTo>
                    <a:pt x="8407" y="12943"/>
                    <a:pt x="9089" y="14189"/>
                    <a:pt x="9546" y="14813"/>
                  </a:cubicBezTo>
                  <a:cubicBezTo>
                    <a:pt x="10048" y="15500"/>
                    <a:pt x="10548" y="16149"/>
                    <a:pt x="11133" y="16751"/>
                  </a:cubicBezTo>
                  <a:cubicBezTo>
                    <a:pt x="11718" y="17353"/>
                    <a:pt x="12036" y="18088"/>
                    <a:pt x="12382" y="18878"/>
                  </a:cubicBezTo>
                  <a:cubicBezTo>
                    <a:pt x="12513" y="19177"/>
                    <a:pt x="12619" y="19644"/>
                    <a:pt x="12978" y="19687"/>
                  </a:cubicBezTo>
                  <a:cubicBezTo>
                    <a:pt x="13417" y="19739"/>
                    <a:pt x="13377" y="19195"/>
                    <a:pt x="13674" y="19079"/>
                  </a:cubicBezTo>
                  <a:cubicBezTo>
                    <a:pt x="13831" y="19017"/>
                    <a:pt x="13958" y="19177"/>
                    <a:pt x="14079" y="19162"/>
                  </a:cubicBezTo>
                  <a:cubicBezTo>
                    <a:pt x="14291" y="19137"/>
                    <a:pt x="14330" y="19025"/>
                    <a:pt x="14521" y="18929"/>
                  </a:cubicBezTo>
                  <a:cubicBezTo>
                    <a:pt x="14747" y="18815"/>
                    <a:pt x="15170" y="18746"/>
                    <a:pt x="15436" y="18797"/>
                  </a:cubicBezTo>
                  <a:cubicBezTo>
                    <a:pt x="16057" y="18915"/>
                    <a:pt x="16842" y="19888"/>
                    <a:pt x="17262" y="20371"/>
                  </a:cubicBezTo>
                  <a:cubicBezTo>
                    <a:pt x="17564" y="20718"/>
                    <a:pt x="18525" y="21560"/>
                    <a:pt x="19033" y="21259"/>
                  </a:cubicBezTo>
                  <a:cubicBezTo>
                    <a:pt x="19730" y="20847"/>
                    <a:pt x="18704" y="19243"/>
                    <a:pt x="18562" y="18767"/>
                  </a:cubicBezTo>
                  <a:cubicBezTo>
                    <a:pt x="18511" y="18593"/>
                    <a:pt x="18467" y="18469"/>
                    <a:pt x="18487" y="18280"/>
                  </a:cubicBezTo>
                  <a:cubicBezTo>
                    <a:pt x="18936" y="18177"/>
                    <a:pt x="19230" y="18906"/>
                    <a:pt x="19545" y="19161"/>
                  </a:cubicBezTo>
                  <a:cubicBezTo>
                    <a:pt x="19598" y="19203"/>
                    <a:pt x="19642" y="19236"/>
                    <a:pt x="19681" y="19263"/>
                  </a:cubicBezTo>
                  <a:cubicBezTo>
                    <a:pt x="19682" y="19035"/>
                    <a:pt x="19652" y="18798"/>
                    <a:pt x="19730" y="18595"/>
                  </a:cubicBezTo>
                  <a:close/>
                  <a:moveTo>
                    <a:pt x="19730" y="18595"/>
                  </a:moveTo>
                </a:path>
              </a:pathLst>
            </a:custGeom>
            <a:solidFill>
              <a:schemeClr val="accent1"/>
            </a:solidFill>
            <a:ln w="3175">
              <a:solidFill>
                <a:schemeClr val="bg1">
                  <a:lumMod val="85000"/>
                </a:schemeClr>
              </a:solidFill>
            </a:ln>
          </p:spPr>
          <p:txBody>
            <a:bodyPr lIns="0" tIns="0" rIns="0" bIns="0"/>
            <a:lstStyle/>
            <a:p>
              <a:endParaRPr lang="en-US"/>
            </a:p>
          </p:txBody>
        </p:sp>
        <p:sp>
          <p:nvSpPr>
            <p:cNvPr id="192" name="AutoShape 970">
              <a:extLst>
                <a:ext uri="{FF2B5EF4-FFF2-40B4-BE49-F238E27FC236}">
                  <a16:creationId xmlns:a16="http://schemas.microsoft.com/office/drawing/2014/main" id="{53A070D3-8C0E-8247-A468-A9BD62EE5FF1}"/>
                </a:ext>
              </a:extLst>
            </p:cNvPr>
            <p:cNvSpPr>
              <a:spLocks/>
            </p:cNvSpPr>
            <p:nvPr/>
          </p:nvSpPr>
          <p:spPr bwMode="auto">
            <a:xfrm>
              <a:off x="5235895" y="3657423"/>
              <a:ext cx="500805" cy="444094"/>
            </a:xfrm>
            <a:custGeom>
              <a:avLst/>
              <a:gdLst/>
              <a:ahLst/>
              <a:cxnLst/>
              <a:rect l="0" t="0" r="r" b="b"/>
              <a:pathLst>
                <a:path w="21456" h="21600">
                  <a:moveTo>
                    <a:pt x="12586" y="14515"/>
                  </a:moveTo>
                  <a:cubicBezTo>
                    <a:pt x="12858" y="14221"/>
                    <a:pt x="13129" y="13927"/>
                    <a:pt x="13401" y="13634"/>
                  </a:cubicBezTo>
                  <a:cubicBezTo>
                    <a:pt x="13509" y="13517"/>
                    <a:pt x="13608" y="13387"/>
                    <a:pt x="13710" y="13269"/>
                  </a:cubicBezTo>
                  <a:cubicBezTo>
                    <a:pt x="13966" y="12977"/>
                    <a:pt x="14101" y="13060"/>
                    <a:pt x="14457" y="12975"/>
                  </a:cubicBezTo>
                  <a:cubicBezTo>
                    <a:pt x="14769" y="12901"/>
                    <a:pt x="14985" y="12592"/>
                    <a:pt x="15295" y="12516"/>
                  </a:cubicBezTo>
                  <a:cubicBezTo>
                    <a:pt x="15618" y="12437"/>
                    <a:pt x="15992" y="12601"/>
                    <a:pt x="16310" y="12511"/>
                  </a:cubicBezTo>
                  <a:cubicBezTo>
                    <a:pt x="16708" y="12398"/>
                    <a:pt x="16992" y="11911"/>
                    <a:pt x="17360" y="11702"/>
                  </a:cubicBezTo>
                  <a:cubicBezTo>
                    <a:pt x="17701" y="11509"/>
                    <a:pt x="18236" y="11554"/>
                    <a:pt x="18607" y="11562"/>
                  </a:cubicBezTo>
                  <a:cubicBezTo>
                    <a:pt x="19252" y="11575"/>
                    <a:pt x="19897" y="11619"/>
                    <a:pt x="20541" y="11557"/>
                  </a:cubicBezTo>
                  <a:cubicBezTo>
                    <a:pt x="20884" y="11523"/>
                    <a:pt x="21358" y="11401"/>
                    <a:pt x="21444" y="10964"/>
                  </a:cubicBezTo>
                  <a:cubicBezTo>
                    <a:pt x="21530" y="10529"/>
                    <a:pt x="21113" y="9977"/>
                    <a:pt x="20775" y="9846"/>
                  </a:cubicBezTo>
                  <a:cubicBezTo>
                    <a:pt x="20276" y="9653"/>
                    <a:pt x="19588" y="9925"/>
                    <a:pt x="19170" y="9457"/>
                  </a:cubicBezTo>
                  <a:cubicBezTo>
                    <a:pt x="18750" y="8986"/>
                    <a:pt x="18726" y="7949"/>
                    <a:pt x="18519" y="7343"/>
                  </a:cubicBezTo>
                  <a:cubicBezTo>
                    <a:pt x="18417" y="7041"/>
                    <a:pt x="18249" y="6803"/>
                    <a:pt x="18156" y="6509"/>
                  </a:cubicBezTo>
                  <a:cubicBezTo>
                    <a:pt x="18030" y="6112"/>
                    <a:pt x="17972" y="5670"/>
                    <a:pt x="17867" y="5265"/>
                  </a:cubicBezTo>
                  <a:cubicBezTo>
                    <a:pt x="17464" y="3720"/>
                    <a:pt x="16549" y="2321"/>
                    <a:pt x="15803" y="945"/>
                  </a:cubicBezTo>
                  <a:cubicBezTo>
                    <a:pt x="15632" y="629"/>
                    <a:pt x="15400" y="272"/>
                    <a:pt x="15127" y="0"/>
                  </a:cubicBezTo>
                  <a:cubicBezTo>
                    <a:pt x="14931" y="298"/>
                    <a:pt x="14483" y="470"/>
                    <a:pt x="14148" y="644"/>
                  </a:cubicBezTo>
                  <a:cubicBezTo>
                    <a:pt x="12223" y="1645"/>
                    <a:pt x="10298" y="2645"/>
                    <a:pt x="8373" y="3646"/>
                  </a:cubicBezTo>
                  <a:cubicBezTo>
                    <a:pt x="7125" y="4295"/>
                    <a:pt x="5877" y="4944"/>
                    <a:pt x="4628" y="5593"/>
                  </a:cubicBezTo>
                  <a:cubicBezTo>
                    <a:pt x="4312" y="5756"/>
                    <a:pt x="4593" y="6205"/>
                    <a:pt x="4646" y="6444"/>
                  </a:cubicBezTo>
                  <a:cubicBezTo>
                    <a:pt x="4820" y="7217"/>
                    <a:pt x="4194" y="7689"/>
                    <a:pt x="3770" y="8155"/>
                  </a:cubicBezTo>
                  <a:cubicBezTo>
                    <a:pt x="2606" y="9434"/>
                    <a:pt x="1442" y="10713"/>
                    <a:pt x="279" y="11992"/>
                  </a:cubicBezTo>
                  <a:cubicBezTo>
                    <a:pt x="365" y="12205"/>
                    <a:pt x="355" y="12445"/>
                    <a:pt x="197" y="12828"/>
                  </a:cubicBezTo>
                  <a:cubicBezTo>
                    <a:pt x="62" y="13155"/>
                    <a:pt x="49" y="13213"/>
                    <a:pt x="260" y="13533"/>
                  </a:cubicBezTo>
                  <a:cubicBezTo>
                    <a:pt x="491" y="13880"/>
                    <a:pt x="493" y="13977"/>
                    <a:pt x="310" y="14382"/>
                  </a:cubicBezTo>
                  <a:cubicBezTo>
                    <a:pt x="169" y="14695"/>
                    <a:pt x="-70" y="15037"/>
                    <a:pt x="19" y="15436"/>
                  </a:cubicBezTo>
                  <a:cubicBezTo>
                    <a:pt x="77" y="15697"/>
                    <a:pt x="288" y="15832"/>
                    <a:pt x="306" y="16086"/>
                  </a:cubicBezTo>
                  <a:cubicBezTo>
                    <a:pt x="338" y="16116"/>
                    <a:pt x="367" y="16146"/>
                    <a:pt x="389" y="16176"/>
                  </a:cubicBezTo>
                  <a:cubicBezTo>
                    <a:pt x="693" y="16579"/>
                    <a:pt x="203" y="16547"/>
                    <a:pt x="244" y="16891"/>
                  </a:cubicBezTo>
                  <a:cubicBezTo>
                    <a:pt x="285" y="17240"/>
                    <a:pt x="1079" y="17620"/>
                    <a:pt x="1292" y="17858"/>
                  </a:cubicBezTo>
                  <a:cubicBezTo>
                    <a:pt x="1667" y="18279"/>
                    <a:pt x="1614" y="18985"/>
                    <a:pt x="2016" y="19341"/>
                  </a:cubicBezTo>
                  <a:cubicBezTo>
                    <a:pt x="2421" y="19700"/>
                    <a:pt x="3124" y="19933"/>
                    <a:pt x="3589" y="20194"/>
                  </a:cubicBezTo>
                  <a:cubicBezTo>
                    <a:pt x="4175" y="20522"/>
                    <a:pt x="4868" y="20676"/>
                    <a:pt x="5426" y="21061"/>
                  </a:cubicBezTo>
                  <a:cubicBezTo>
                    <a:pt x="5662" y="21224"/>
                    <a:pt x="5858" y="21404"/>
                    <a:pt x="6035" y="21600"/>
                  </a:cubicBezTo>
                  <a:cubicBezTo>
                    <a:pt x="7453" y="20066"/>
                    <a:pt x="8871" y="18533"/>
                    <a:pt x="10289" y="16999"/>
                  </a:cubicBezTo>
                  <a:cubicBezTo>
                    <a:pt x="11055" y="16171"/>
                    <a:pt x="11821" y="15343"/>
                    <a:pt x="12586" y="14515"/>
                  </a:cubicBezTo>
                  <a:close/>
                  <a:moveTo>
                    <a:pt x="12586" y="14515"/>
                  </a:moveTo>
                </a:path>
              </a:pathLst>
            </a:custGeom>
            <a:solidFill>
              <a:srgbClr val="C0C0C0"/>
            </a:solidFill>
            <a:ln w="3175">
              <a:solidFill>
                <a:schemeClr val="bg1">
                  <a:lumMod val="85000"/>
                </a:schemeClr>
              </a:solidFill>
            </a:ln>
          </p:spPr>
          <p:txBody>
            <a:bodyPr lIns="0" tIns="0" rIns="0" bIns="0"/>
            <a:lstStyle/>
            <a:p>
              <a:endParaRPr lang="en-US"/>
            </a:p>
          </p:txBody>
        </p:sp>
        <p:sp>
          <p:nvSpPr>
            <p:cNvPr id="193" name="AutoShape 990">
              <a:extLst>
                <a:ext uri="{FF2B5EF4-FFF2-40B4-BE49-F238E27FC236}">
                  <a16:creationId xmlns:a16="http://schemas.microsoft.com/office/drawing/2014/main" id="{AD3A079F-6D9E-CC40-BC86-B1C366A41E9A}"/>
                </a:ext>
              </a:extLst>
            </p:cNvPr>
            <p:cNvSpPr>
              <a:spLocks/>
            </p:cNvSpPr>
            <p:nvPr/>
          </p:nvSpPr>
          <p:spPr bwMode="auto">
            <a:xfrm>
              <a:off x="5588011" y="3519736"/>
              <a:ext cx="459048" cy="363966"/>
            </a:xfrm>
            <a:custGeom>
              <a:avLst/>
              <a:gdLst/>
              <a:ahLst/>
              <a:cxnLst/>
              <a:rect l="0" t="0" r="r" b="b"/>
              <a:pathLst>
                <a:path w="21600" h="21282">
                  <a:moveTo>
                    <a:pt x="12431" y="14833"/>
                  </a:moveTo>
                  <a:cubicBezTo>
                    <a:pt x="12635" y="14646"/>
                    <a:pt x="12947" y="14466"/>
                    <a:pt x="13203" y="14433"/>
                  </a:cubicBezTo>
                  <a:cubicBezTo>
                    <a:pt x="13491" y="14395"/>
                    <a:pt x="13799" y="14433"/>
                    <a:pt x="14088" y="14433"/>
                  </a:cubicBezTo>
                  <a:cubicBezTo>
                    <a:pt x="14948" y="14433"/>
                    <a:pt x="14905" y="14012"/>
                    <a:pt x="14943" y="13076"/>
                  </a:cubicBezTo>
                  <a:cubicBezTo>
                    <a:pt x="15490" y="13115"/>
                    <a:pt x="15444" y="12841"/>
                    <a:pt x="15575" y="12322"/>
                  </a:cubicBezTo>
                  <a:cubicBezTo>
                    <a:pt x="15701" y="11827"/>
                    <a:pt x="15989" y="11945"/>
                    <a:pt x="16384" y="11920"/>
                  </a:cubicBezTo>
                  <a:cubicBezTo>
                    <a:pt x="16384" y="11335"/>
                    <a:pt x="16237" y="9915"/>
                    <a:pt x="16743" y="9641"/>
                  </a:cubicBezTo>
                  <a:lnTo>
                    <a:pt x="21600" y="3861"/>
                  </a:lnTo>
                  <a:cubicBezTo>
                    <a:pt x="21462" y="3418"/>
                    <a:pt x="21355" y="2935"/>
                    <a:pt x="21212" y="2695"/>
                  </a:cubicBezTo>
                  <a:cubicBezTo>
                    <a:pt x="20819" y="2032"/>
                    <a:pt x="19889" y="1377"/>
                    <a:pt x="19258" y="1244"/>
                  </a:cubicBezTo>
                  <a:cubicBezTo>
                    <a:pt x="18896" y="1167"/>
                    <a:pt x="18577" y="1166"/>
                    <a:pt x="18266" y="895"/>
                  </a:cubicBezTo>
                  <a:cubicBezTo>
                    <a:pt x="17950" y="620"/>
                    <a:pt x="17654" y="264"/>
                    <a:pt x="17284" y="90"/>
                  </a:cubicBezTo>
                  <a:cubicBezTo>
                    <a:pt x="16415" y="-318"/>
                    <a:pt x="16345" y="772"/>
                    <a:pt x="15788" y="1201"/>
                  </a:cubicBezTo>
                  <a:cubicBezTo>
                    <a:pt x="15465" y="1450"/>
                    <a:pt x="15159" y="1385"/>
                    <a:pt x="14938" y="1813"/>
                  </a:cubicBezTo>
                  <a:cubicBezTo>
                    <a:pt x="14747" y="2182"/>
                    <a:pt x="14686" y="2378"/>
                    <a:pt x="14372" y="2661"/>
                  </a:cubicBezTo>
                  <a:cubicBezTo>
                    <a:pt x="13719" y="3249"/>
                    <a:pt x="13030" y="3958"/>
                    <a:pt x="12186" y="4014"/>
                  </a:cubicBezTo>
                  <a:cubicBezTo>
                    <a:pt x="10548" y="4121"/>
                    <a:pt x="8856" y="3837"/>
                    <a:pt x="7398" y="2905"/>
                  </a:cubicBezTo>
                  <a:cubicBezTo>
                    <a:pt x="7058" y="2687"/>
                    <a:pt x="6803" y="2372"/>
                    <a:pt x="6406" y="2595"/>
                  </a:cubicBezTo>
                  <a:cubicBezTo>
                    <a:pt x="6063" y="2787"/>
                    <a:pt x="5842" y="3293"/>
                    <a:pt x="5451" y="3443"/>
                  </a:cubicBezTo>
                  <a:cubicBezTo>
                    <a:pt x="5081" y="3585"/>
                    <a:pt x="4812" y="3300"/>
                    <a:pt x="4460" y="3310"/>
                  </a:cubicBezTo>
                  <a:cubicBezTo>
                    <a:pt x="4084" y="3321"/>
                    <a:pt x="4095" y="3602"/>
                    <a:pt x="3851" y="3880"/>
                  </a:cubicBezTo>
                  <a:cubicBezTo>
                    <a:pt x="3603" y="4163"/>
                    <a:pt x="3253" y="4110"/>
                    <a:pt x="2938" y="4265"/>
                  </a:cubicBezTo>
                  <a:cubicBezTo>
                    <a:pt x="2622" y="4421"/>
                    <a:pt x="2357" y="4622"/>
                    <a:pt x="2016" y="4717"/>
                  </a:cubicBezTo>
                  <a:cubicBezTo>
                    <a:pt x="1713" y="4802"/>
                    <a:pt x="1345" y="4741"/>
                    <a:pt x="1238" y="5157"/>
                  </a:cubicBezTo>
                  <a:cubicBezTo>
                    <a:pt x="1125" y="5601"/>
                    <a:pt x="1418" y="5889"/>
                    <a:pt x="1601" y="6168"/>
                  </a:cubicBezTo>
                  <a:cubicBezTo>
                    <a:pt x="1749" y="6392"/>
                    <a:pt x="1981" y="6816"/>
                    <a:pt x="1628" y="7006"/>
                  </a:cubicBezTo>
                  <a:cubicBezTo>
                    <a:pt x="1341" y="7160"/>
                    <a:pt x="1029" y="6711"/>
                    <a:pt x="821" y="6574"/>
                  </a:cubicBezTo>
                  <a:cubicBezTo>
                    <a:pt x="348" y="6265"/>
                    <a:pt x="248" y="6509"/>
                    <a:pt x="142" y="7047"/>
                  </a:cubicBezTo>
                  <a:cubicBezTo>
                    <a:pt x="111" y="7203"/>
                    <a:pt x="80" y="7306"/>
                    <a:pt x="45" y="7378"/>
                  </a:cubicBezTo>
                  <a:cubicBezTo>
                    <a:pt x="152" y="7681"/>
                    <a:pt x="116" y="7916"/>
                    <a:pt x="0" y="8108"/>
                  </a:cubicBezTo>
                  <a:cubicBezTo>
                    <a:pt x="300" y="8435"/>
                    <a:pt x="555" y="8864"/>
                    <a:pt x="743" y="9244"/>
                  </a:cubicBezTo>
                  <a:cubicBezTo>
                    <a:pt x="1562" y="10898"/>
                    <a:pt x="2567" y="12578"/>
                    <a:pt x="3009" y="14435"/>
                  </a:cubicBezTo>
                  <a:cubicBezTo>
                    <a:pt x="3125" y="14921"/>
                    <a:pt x="3189" y="15452"/>
                    <a:pt x="3327" y="15930"/>
                  </a:cubicBezTo>
                  <a:cubicBezTo>
                    <a:pt x="3429" y="16282"/>
                    <a:pt x="3613" y="16569"/>
                    <a:pt x="3726" y="16931"/>
                  </a:cubicBezTo>
                  <a:cubicBezTo>
                    <a:pt x="3952" y="17660"/>
                    <a:pt x="3979" y="18906"/>
                    <a:pt x="4440" y="19471"/>
                  </a:cubicBezTo>
                  <a:cubicBezTo>
                    <a:pt x="4900" y="20034"/>
                    <a:pt x="5656" y="19707"/>
                    <a:pt x="6204" y="19939"/>
                  </a:cubicBezTo>
                  <a:cubicBezTo>
                    <a:pt x="6575" y="20096"/>
                    <a:pt x="7033" y="20759"/>
                    <a:pt x="6938" y="21282"/>
                  </a:cubicBezTo>
                  <a:cubicBezTo>
                    <a:pt x="7706" y="20383"/>
                    <a:pt x="8473" y="19484"/>
                    <a:pt x="9240" y="18585"/>
                  </a:cubicBezTo>
                  <a:cubicBezTo>
                    <a:pt x="10277" y="17371"/>
                    <a:pt x="11285" y="15882"/>
                    <a:pt x="12431" y="14833"/>
                  </a:cubicBezTo>
                  <a:close/>
                  <a:moveTo>
                    <a:pt x="12431" y="14833"/>
                  </a:moveTo>
                </a:path>
              </a:pathLst>
            </a:custGeom>
            <a:solidFill>
              <a:srgbClr val="C0C0C0"/>
            </a:solidFill>
            <a:ln w="3175">
              <a:solidFill>
                <a:schemeClr val="bg1">
                  <a:lumMod val="85000"/>
                </a:schemeClr>
              </a:solidFill>
            </a:ln>
          </p:spPr>
          <p:txBody>
            <a:bodyPr lIns="0" tIns="0" rIns="0" bIns="0"/>
            <a:lstStyle/>
            <a:p>
              <a:endParaRPr lang="en-US"/>
            </a:p>
          </p:txBody>
        </p:sp>
        <p:sp>
          <p:nvSpPr>
            <p:cNvPr id="194" name="AutoShape 1014">
              <a:extLst>
                <a:ext uri="{FF2B5EF4-FFF2-40B4-BE49-F238E27FC236}">
                  <a16:creationId xmlns:a16="http://schemas.microsoft.com/office/drawing/2014/main" id="{C58F9A40-A4BE-6E43-9ACB-68498FA6A416}"/>
                </a:ext>
              </a:extLst>
            </p:cNvPr>
            <p:cNvSpPr>
              <a:spLocks/>
            </p:cNvSpPr>
            <p:nvPr/>
          </p:nvSpPr>
          <p:spPr bwMode="auto">
            <a:xfrm>
              <a:off x="5533840" y="3585194"/>
              <a:ext cx="635388" cy="503909"/>
            </a:xfrm>
            <a:custGeom>
              <a:avLst/>
              <a:gdLst/>
              <a:ahLst/>
              <a:cxnLst/>
              <a:rect l="0" t="0" r="r" b="b"/>
              <a:pathLst>
                <a:path w="21600" h="21571">
                  <a:moveTo>
                    <a:pt x="258" y="16270"/>
                  </a:moveTo>
                  <a:cubicBezTo>
                    <a:pt x="356" y="16564"/>
                    <a:pt x="515" y="16795"/>
                    <a:pt x="609" y="17083"/>
                  </a:cubicBezTo>
                  <a:cubicBezTo>
                    <a:pt x="795" y="17653"/>
                    <a:pt x="1215" y="18124"/>
                    <a:pt x="1166" y="18775"/>
                  </a:cubicBezTo>
                  <a:cubicBezTo>
                    <a:pt x="1142" y="19090"/>
                    <a:pt x="1072" y="19310"/>
                    <a:pt x="1243" y="19603"/>
                  </a:cubicBezTo>
                  <a:cubicBezTo>
                    <a:pt x="1361" y="19807"/>
                    <a:pt x="1568" y="20062"/>
                    <a:pt x="1744" y="20173"/>
                  </a:cubicBezTo>
                  <a:cubicBezTo>
                    <a:pt x="2192" y="20458"/>
                    <a:pt x="2478" y="20930"/>
                    <a:pt x="2911" y="21237"/>
                  </a:cubicBezTo>
                  <a:cubicBezTo>
                    <a:pt x="3115" y="21382"/>
                    <a:pt x="3267" y="21524"/>
                    <a:pt x="3499" y="21559"/>
                  </a:cubicBezTo>
                  <a:cubicBezTo>
                    <a:pt x="3776" y="21600"/>
                    <a:pt x="4052" y="21523"/>
                    <a:pt x="4318" y="21469"/>
                  </a:cubicBezTo>
                  <a:cubicBezTo>
                    <a:pt x="4552" y="21422"/>
                    <a:pt x="4791" y="21381"/>
                    <a:pt x="5007" y="21263"/>
                  </a:cubicBezTo>
                  <a:cubicBezTo>
                    <a:pt x="5270" y="21118"/>
                    <a:pt x="5327" y="20847"/>
                    <a:pt x="5545" y="20681"/>
                  </a:cubicBezTo>
                  <a:cubicBezTo>
                    <a:pt x="5742" y="20531"/>
                    <a:pt x="6071" y="20524"/>
                    <a:pt x="6292" y="20496"/>
                  </a:cubicBezTo>
                  <a:cubicBezTo>
                    <a:pt x="6617" y="20455"/>
                    <a:pt x="6939" y="20458"/>
                    <a:pt x="7260" y="20400"/>
                  </a:cubicBezTo>
                  <a:cubicBezTo>
                    <a:pt x="7525" y="20351"/>
                    <a:pt x="7808" y="20266"/>
                    <a:pt x="8073" y="20181"/>
                  </a:cubicBezTo>
                  <a:cubicBezTo>
                    <a:pt x="8367" y="20088"/>
                    <a:pt x="8600" y="19854"/>
                    <a:pt x="8891" y="19762"/>
                  </a:cubicBezTo>
                  <a:cubicBezTo>
                    <a:pt x="9400" y="19600"/>
                    <a:pt x="9961" y="19867"/>
                    <a:pt x="10456" y="19602"/>
                  </a:cubicBezTo>
                  <a:cubicBezTo>
                    <a:pt x="11134" y="19239"/>
                    <a:pt x="11098" y="18344"/>
                    <a:pt x="11275" y="17541"/>
                  </a:cubicBezTo>
                  <a:cubicBezTo>
                    <a:pt x="11349" y="17202"/>
                    <a:pt x="11473" y="16816"/>
                    <a:pt x="11709" y="16625"/>
                  </a:cubicBezTo>
                  <a:cubicBezTo>
                    <a:pt x="11960" y="16421"/>
                    <a:pt x="12258" y="16361"/>
                    <a:pt x="12504" y="16124"/>
                  </a:cubicBezTo>
                  <a:cubicBezTo>
                    <a:pt x="12719" y="15915"/>
                    <a:pt x="12909" y="15646"/>
                    <a:pt x="13122" y="15448"/>
                  </a:cubicBezTo>
                  <a:cubicBezTo>
                    <a:pt x="13349" y="15236"/>
                    <a:pt x="13543" y="15335"/>
                    <a:pt x="13807" y="15215"/>
                  </a:cubicBezTo>
                  <a:cubicBezTo>
                    <a:pt x="14540" y="14880"/>
                    <a:pt x="13648" y="14181"/>
                    <a:pt x="13992" y="13806"/>
                  </a:cubicBezTo>
                  <a:cubicBezTo>
                    <a:pt x="14094" y="13695"/>
                    <a:pt x="14133" y="13837"/>
                    <a:pt x="14209" y="13838"/>
                  </a:cubicBezTo>
                  <a:cubicBezTo>
                    <a:pt x="14398" y="13842"/>
                    <a:pt x="14270" y="13953"/>
                    <a:pt x="14440" y="13766"/>
                  </a:cubicBezTo>
                  <a:cubicBezTo>
                    <a:pt x="14666" y="13516"/>
                    <a:pt x="14631" y="13306"/>
                    <a:pt x="14824" y="13734"/>
                  </a:cubicBezTo>
                  <a:cubicBezTo>
                    <a:pt x="14941" y="13992"/>
                    <a:pt x="15044" y="14144"/>
                    <a:pt x="15316" y="14152"/>
                  </a:cubicBezTo>
                  <a:cubicBezTo>
                    <a:pt x="15672" y="14163"/>
                    <a:pt x="15562" y="13992"/>
                    <a:pt x="15623" y="13669"/>
                  </a:cubicBezTo>
                  <a:cubicBezTo>
                    <a:pt x="15653" y="13507"/>
                    <a:pt x="15767" y="13196"/>
                    <a:pt x="15916" y="13175"/>
                  </a:cubicBezTo>
                  <a:cubicBezTo>
                    <a:pt x="16077" y="13153"/>
                    <a:pt x="16160" y="13413"/>
                    <a:pt x="16313" y="13445"/>
                  </a:cubicBezTo>
                  <a:cubicBezTo>
                    <a:pt x="16580" y="13501"/>
                    <a:pt x="16642" y="13227"/>
                    <a:pt x="16766" y="13011"/>
                  </a:cubicBezTo>
                  <a:cubicBezTo>
                    <a:pt x="16893" y="12789"/>
                    <a:pt x="17145" y="12662"/>
                    <a:pt x="17254" y="12469"/>
                  </a:cubicBezTo>
                  <a:cubicBezTo>
                    <a:pt x="17369" y="12267"/>
                    <a:pt x="17297" y="11937"/>
                    <a:pt x="17253" y="11714"/>
                  </a:cubicBezTo>
                  <a:cubicBezTo>
                    <a:pt x="17139" y="11127"/>
                    <a:pt x="16875" y="10279"/>
                    <a:pt x="17158" y="9741"/>
                  </a:cubicBezTo>
                  <a:cubicBezTo>
                    <a:pt x="17438" y="9208"/>
                    <a:pt x="17821" y="8812"/>
                    <a:pt x="18129" y="8324"/>
                  </a:cubicBezTo>
                  <a:lnTo>
                    <a:pt x="21600" y="4074"/>
                  </a:lnTo>
                  <a:cubicBezTo>
                    <a:pt x="21277" y="3573"/>
                    <a:pt x="21100" y="2845"/>
                    <a:pt x="20903" y="2263"/>
                  </a:cubicBezTo>
                  <a:cubicBezTo>
                    <a:pt x="20746" y="1796"/>
                    <a:pt x="20574" y="1406"/>
                    <a:pt x="20289" y="1055"/>
                  </a:cubicBezTo>
                  <a:cubicBezTo>
                    <a:pt x="20075" y="792"/>
                    <a:pt x="19804" y="440"/>
                    <a:pt x="19478" y="589"/>
                  </a:cubicBezTo>
                  <a:cubicBezTo>
                    <a:pt x="19110" y="757"/>
                    <a:pt x="19127" y="1245"/>
                    <a:pt x="18653" y="1150"/>
                  </a:cubicBezTo>
                  <a:cubicBezTo>
                    <a:pt x="18400" y="1099"/>
                    <a:pt x="18141" y="932"/>
                    <a:pt x="17956" y="690"/>
                  </a:cubicBezTo>
                  <a:cubicBezTo>
                    <a:pt x="17954" y="691"/>
                    <a:pt x="17951" y="691"/>
                    <a:pt x="17949" y="692"/>
                  </a:cubicBezTo>
                  <a:cubicBezTo>
                    <a:pt x="17702" y="711"/>
                    <a:pt x="17558" y="375"/>
                    <a:pt x="17444" y="0"/>
                  </a:cubicBezTo>
                  <a:lnTo>
                    <a:pt x="13935" y="4234"/>
                  </a:lnTo>
                  <a:cubicBezTo>
                    <a:pt x="13569" y="4435"/>
                    <a:pt x="13675" y="5475"/>
                    <a:pt x="13675" y="5904"/>
                  </a:cubicBezTo>
                  <a:cubicBezTo>
                    <a:pt x="13389" y="5922"/>
                    <a:pt x="13181" y="5835"/>
                    <a:pt x="13090" y="6198"/>
                  </a:cubicBezTo>
                  <a:cubicBezTo>
                    <a:pt x="12995" y="6578"/>
                    <a:pt x="13029" y="6778"/>
                    <a:pt x="12634" y="6751"/>
                  </a:cubicBezTo>
                  <a:cubicBezTo>
                    <a:pt x="12606" y="7436"/>
                    <a:pt x="12638" y="7744"/>
                    <a:pt x="12016" y="7744"/>
                  </a:cubicBezTo>
                  <a:cubicBezTo>
                    <a:pt x="11807" y="7744"/>
                    <a:pt x="11585" y="7716"/>
                    <a:pt x="11377" y="7744"/>
                  </a:cubicBezTo>
                  <a:cubicBezTo>
                    <a:pt x="11192" y="7769"/>
                    <a:pt x="10966" y="7900"/>
                    <a:pt x="10819" y="8037"/>
                  </a:cubicBezTo>
                  <a:cubicBezTo>
                    <a:pt x="9991" y="8806"/>
                    <a:pt x="9262" y="9896"/>
                    <a:pt x="8513" y="10786"/>
                  </a:cubicBezTo>
                  <a:cubicBezTo>
                    <a:pt x="7959" y="11444"/>
                    <a:pt x="7405" y="12103"/>
                    <a:pt x="6850" y="12761"/>
                  </a:cubicBezTo>
                  <a:cubicBezTo>
                    <a:pt x="6782" y="13146"/>
                    <a:pt x="6406" y="13253"/>
                    <a:pt x="6134" y="13283"/>
                  </a:cubicBezTo>
                  <a:cubicBezTo>
                    <a:pt x="5623" y="13338"/>
                    <a:pt x="5110" y="13299"/>
                    <a:pt x="4599" y="13287"/>
                  </a:cubicBezTo>
                  <a:cubicBezTo>
                    <a:pt x="4304" y="13281"/>
                    <a:pt x="3880" y="13240"/>
                    <a:pt x="3609" y="13411"/>
                  </a:cubicBezTo>
                  <a:cubicBezTo>
                    <a:pt x="3317" y="13595"/>
                    <a:pt x="3092" y="14023"/>
                    <a:pt x="2776" y="14122"/>
                  </a:cubicBezTo>
                  <a:cubicBezTo>
                    <a:pt x="2523" y="14202"/>
                    <a:pt x="2227" y="14058"/>
                    <a:pt x="1970" y="14127"/>
                  </a:cubicBezTo>
                  <a:cubicBezTo>
                    <a:pt x="1724" y="14194"/>
                    <a:pt x="1553" y="14466"/>
                    <a:pt x="1305" y="14532"/>
                  </a:cubicBezTo>
                  <a:cubicBezTo>
                    <a:pt x="1023" y="14606"/>
                    <a:pt x="915" y="14533"/>
                    <a:pt x="712" y="14790"/>
                  </a:cubicBezTo>
                  <a:cubicBezTo>
                    <a:pt x="631" y="14894"/>
                    <a:pt x="553" y="15008"/>
                    <a:pt x="467" y="15111"/>
                  </a:cubicBezTo>
                  <a:cubicBezTo>
                    <a:pt x="311" y="15297"/>
                    <a:pt x="156" y="15484"/>
                    <a:pt x="0" y="15671"/>
                  </a:cubicBezTo>
                  <a:cubicBezTo>
                    <a:pt x="140" y="15819"/>
                    <a:pt x="187" y="16058"/>
                    <a:pt x="258" y="16270"/>
                  </a:cubicBezTo>
                  <a:close/>
                  <a:moveTo>
                    <a:pt x="258" y="16270"/>
                  </a:moveTo>
                </a:path>
              </a:pathLst>
            </a:custGeom>
            <a:solidFill>
              <a:srgbClr val="C0C0C0"/>
            </a:solidFill>
            <a:ln w="3175">
              <a:solidFill>
                <a:schemeClr val="bg1">
                  <a:lumMod val="85000"/>
                </a:schemeClr>
              </a:solidFill>
            </a:ln>
          </p:spPr>
          <p:txBody>
            <a:bodyPr lIns="0" tIns="0" rIns="0" bIns="0"/>
            <a:lstStyle/>
            <a:p>
              <a:endParaRPr lang="en-US"/>
            </a:p>
          </p:txBody>
        </p:sp>
        <p:sp>
          <p:nvSpPr>
            <p:cNvPr id="195" name="AutoShape 1034">
              <a:extLst>
                <a:ext uri="{FF2B5EF4-FFF2-40B4-BE49-F238E27FC236}">
                  <a16:creationId xmlns:a16="http://schemas.microsoft.com/office/drawing/2014/main" id="{8AE97703-71F7-7040-8B30-9664DDDC6513}"/>
                </a:ext>
              </a:extLst>
            </p:cNvPr>
            <p:cNvSpPr>
              <a:spLocks/>
            </p:cNvSpPr>
            <p:nvPr/>
          </p:nvSpPr>
          <p:spPr bwMode="auto">
            <a:xfrm>
              <a:off x="5375839" y="3679995"/>
              <a:ext cx="1075250" cy="841917"/>
            </a:xfrm>
            <a:custGeom>
              <a:avLst/>
              <a:gdLst/>
              <a:ahLst/>
              <a:cxnLst/>
              <a:rect l="0" t="0" r="r" b="b"/>
              <a:pathLst>
                <a:path w="21572" h="21600">
                  <a:moveTo>
                    <a:pt x="7924" y="18202"/>
                  </a:moveTo>
                  <a:cubicBezTo>
                    <a:pt x="8056" y="18079"/>
                    <a:pt x="8112" y="18038"/>
                    <a:pt x="8106" y="17811"/>
                  </a:cubicBezTo>
                  <a:lnTo>
                    <a:pt x="8106" y="15206"/>
                  </a:lnTo>
                  <a:cubicBezTo>
                    <a:pt x="8356" y="15200"/>
                    <a:pt x="8606" y="15194"/>
                    <a:pt x="8855" y="15188"/>
                  </a:cubicBezTo>
                  <a:cubicBezTo>
                    <a:pt x="9154" y="15181"/>
                    <a:pt x="9703" y="15297"/>
                    <a:pt x="9965" y="15109"/>
                  </a:cubicBezTo>
                  <a:cubicBezTo>
                    <a:pt x="10039" y="15056"/>
                    <a:pt x="10087" y="14986"/>
                    <a:pt x="10171" y="14955"/>
                  </a:cubicBezTo>
                  <a:cubicBezTo>
                    <a:pt x="10301" y="14907"/>
                    <a:pt x="10502" y="14999"/>
                    <a:pt x="10612" y="14897"/>
                  </a:cubicBezTo>
                  <a:lnTo>
                    <a:pt x="12227" y="13102"/>
                  </a:lnTo>
                  <a:lnTo>
                    <a:pt x="13479" y="13045"/>
                  </a:lnTo>
                  <a:lnTo>
                    <a:pt x="13585" y="11983"/>
                  </a:lnTo>
                  <a:cubicBezTo>
                    <a:pt x="13987" y="11990"/>
                    <a:pt x="14388" y="11996"/>
                    <a:pt x="14790" y="12002"/>
                  </a:cubicBezTo>
                  <a:cubicBezTo>
                    <a:pt x="15066" y="12007"/>
                    <a:pt x="15342" y="12011"/>
                    <a:pt x="15619" y="12016"/>
                  </a:cubicBezTo>
                  <a:cubicBezTo>
                    <a:pt x="15771" y="12018"/>
                    <a:pt x="16272" y="12137"/>
                    <a:pt x="16226" y="11810"/>
                  </a:cubicBezTo>
                  <a:lnTo>
                    <a:pt x="16317" y="10864"/>
                  </a:lnTo>
                  <a:cubicBezTo>
                    <a:pt x="17330" y="10860"/>
                    <a:pt x="18344" y="10857"/>
                    <a:pt x="19358" y="10853"/>
                  </a:cubicBezTo>
                  <a:cubicBezTo>
                    <a:pt x="20090" y="10850"/>
                    <a:pt x="20838" y="10903"/>
                    <a:pt x="21567" y="10861"/>
                  </a:cubicBezTo>
                  <a:cubicBezTo>
                    <a:pt x="21600" y="10726"/>
                    <a:pt x="21466" y="10606"/>
                    <a:pt x="21429" y="10478"/>
                  </a:cubicBezTo>
                  <a:cubicBezTo>
                    <a:pt x="21391" y="10345"/>
                    <a:pt x="21369" y="10193"/>
                    <a:pt x="21343" y="10054"/>
                  </a:cubicBezTo>
                  <a:cubicBezTo>
                    <a:pt x="21321" y="9932"/>
                    <a:pt x="21283" y="9768"/>
                    <a:pt x="21338" y="9647"/>
                  </a:cubicBezTo>
                  <a:cubicBezTo>
                    <a:pt x="21391" y="9534"/>
                    <a:pt x="21549" y="9537"/>
                    <a:pt x="21524" y="9378"/>
                  </a:cubicBezTo>
                  <a:cubicBezTo>
                    <a:pt x="21430" y="8969"/>
                    <a:pt x="21336" y="8560"/>
                    <a:pt x="21242" y="8152"/>
                  </a:cubicBezTo>
                  <a:cubicBezTo>
                    <a:pt x="21121" y="7628"/>
                    <a:pt x="21057" y="6878"/>
                    <a:pt x="20625" y="6618"/>
                  </a:cubicBezTo>
                  <a:cubicBezTo>
                    <a:pt x="20409" y="6487"/>
                    <a:pt x="20191" y="6384"/>
                    <a:pt x="19985" y="6227"/>
                  </a:cubicBezTo>
                  <a:cubicBezTo>
                    <a:pt x="19803" y="6089"/>
                    <a:pt x="19642" y="5878"/>
                    <a:pt x="19433" y="5789"/>
                  </a:cubicBezTo>
                  <a:cubicBezTo>
                    <a:pt x="19337" y="5748"/>
                    <a:pt x="19237" y="5752"/>
                    <a:pt x="19139" y="5702"/>
                  </a:cubicBezTo>
                  <a:cubicBezTo>
                    <a:pt x="19011" y="5636"/>
                    <a:pt x="19005" y="5561"/>
                    <a:pt x="18991" y="5386"/>
                  </a:cubicBezTo>
                  <a:cubicBezTo>
                    <a:pt x="18977" y="5197"/>
                    <a:pt x="18963" y="5054"/>
                    <a:pt x="18899" y="4877"/>
                  </a:cubicBezTo>
                  <a:cubicBezTo>
                    <a:pt x="18862" y="4777"/>
                    <a:pt x="18788" y="4640"/>
                    <a:pt x="18788" y="4529"/>
                  </a:cubicBezTo>
                  <a:cubicBezTo>
                    <a:pt x="18787" y="4359"/>
                    <a:pt x="18897" y="4429"/>
                    <a:pt x="18924" y="4269"/>
                  </a:cubicBezTo>
                  <a:cubicBezTo>
                    <a:pt x="18952" y="4109"/>
                    <a:pt x="18870" y="3953"/>
                    <a:pt x="18800" y="3834"/>
                  </a:cubicBezTo>
                  <a:cubicBezTo>
                    <a:pt x="18739" y="3731"/>
                    <a:pt x="18671" y="3593"/>
                    <a:pt x="18599" y="3498"/>
                  </a:cubicBezTo>
                  <a:cubicBezTo>
                    <a:pt x="18512" y="3385"/>
                    <a:pt x="18421" y="3394"/>
                    <a:pt x="18309" y="3354"/>
                  </a:cubicBezTo>
                  <a:cubicBezTo>
                    <a:pt x="18219" y="3322"/>
                    <a:pt x="18016" y="3279"/>
                    <a:pt x="17973" y="3155"/>
                  </a:cubicBezTo>
                  <a:cubicBezTo>
                    <a:pt x="17930" y="3034"/>
                    <a:pt x="18034" y="2899"/>
                    <a:pt x="18030" y="2778"/>
                  </a:cubicBezTo>
                  <a:cubicBezTo>
                    <a:pt x="18020" y="2521"/>
                    <a:pt x="17833" y="2391"/>
                    <a:pt x="17973" y="2116"/>
                  </a:cubicBezTo>
                  <a:cubicBezTo>
                    <a:pt x="18082" y="1902"/>
                    <a:pt x="18122" y="1768"/>
                    <a:pt x="18077" y="1564"/>
                  </a:cubicBezTo>
                  <a:cubicBezTo>
                    <a:pt x="17953" y="1557"/>
                    <a:pt x="17829" y="1511"/>
                    <a:pt x="17701" y="1385"/>
                  </a:cubicBezTo>
                  <a:cubicBezTo>
                    <a:pt x="17600" y="1286"/>
                    <a:pt x="17548" y="1336"/>
                    <a:pt x="17430" y="1299"/>
                  </a:cubicBezTo>
                  <a:cubicBezTo>
                    <a:pt x="17308" y="1262"/>
                    <a:pt x="17244" y="1134"/>
                    <a:pt x="17161" y="1023"/>
                  </a:cubicBezTo>
                  <a:cubicBezTo>
                    <a:pt x="16976" y="776"/>
                    <a:pt x="16826" y="500"/>
                    <a:pt x="16572" y="362"/>
                  </a:cubicBezTo>
                  <a:cubicBezTo>
                    <a:pt x="16368" y="251"/>
                    <a:pt x="16094" y="260"/>
                    <a:pt x="15938" y="29"/>
                  </a:cubicBezTo>
                  <a:cubicBezTo>
                    <a:pt x="15932" y="20"/>
                    <a:pt x="15926" y="10"/>
                    <a:pt x="15920" y="0"/>
                  </a:cubicBezTo>
                  <a:lnTo>
                    <a:pt x="13872" y="2547"/>
                  </a:lnTo>
                  <a:cubicBezTo>
                    <a:pt x="13690" y="2839"/>
                    <a:pt x="13464" y="3077"/>
                    <a:pt x="13299" y="3396"/>
                  </a:cubicBezTo>
                  <a:cubicBezTo>
                    <a:pt x="13132" y="3719"/>
                    <a:pt x="13287" y="4227"/>
                    <a:pt x="13355" y="4578"/>
                  </a:cubicBezTo>
                  <a:cubicBezTo>
                    <a:pt x="13381" y="4712"/>
                    <a:pt x="13423" y="4910"/>
                    <a:pt x="13356" y="5031"/>
                  </a:cubicBezTo>
                  <a:cubicBezTo>
                    <a:pt x="13291" y="5146"/>
                    <a:pt x="13142" y="5222"/>
                    <a:pt x="13067" y="5356"/>
                  </a:cubicBezTo>
                  <a:cubicBezTo>
                    <a:pt x="12994" y="5485"/>
                    <a:pt x="12958" y="5649"/>
                    <a:pt x="12800" y="5616"/>
                  </a:cubicBezTo>
                  <a:cubicBezTo>
                    <a:pt x="12710" y="5596"/>
                    <a:pt x="12661" y="5441"/>
                    <a:pt x="12566" y="5454"/>
                  </a:cubicBezTo>
                  <a:cubicBezTo>
                    <a:pt x="12478" y="5466"/>
                    <a:pt x="12411" y="5653"/>
                    <a:pt x="12393" y="5750"/>
                  </a:cubicBezTo>
                  <a:cubicBezTo>
                    <a:pt x="12357" y="5943"/>
                    <a:pt x="12422" y="6046"/>
                    <a:pt x="12212" y="6040"/>
                  </a:cubicBezTo>
                  <a:cubicBezTo>
                    <a:pt x="12051" y="6035"/>
                    <a:pt x="11990" y="5944"/>
                    <a:pt x="11921" y="5789"/>
                  </a:cubicBezTo>
                  <a:cubicBezTo>
                    <a:pt x="11808" y="5532"/>
                    <a:pt x="11828" y="5658"/>
                    <a:pt x="11695" y="5808"/>
                  </a:cubicBezTo>
                  <a:cubicBezTo>
                    <a:pt x="11595" y="5920"/>
                    <a:pt x="11670" y="5854"/>
                    <a:pt x="11558" y="5851"/>
                  </a:cubicBezTo>
                  <a:cubicBezTo>
                    <a:pt x="11514" y="5850"/>
                    <a:pt x="11491" y="5766"/>
                    <a:pt x="11431" y="5832"/>
                  </a:cubicBezTo>
                  <a:cubicBezTo>
                    <a:pt x="11228" y="6057"/>
                    <a:pt x="11754" y="6476"/>
                    <a:pt x="11321" y="6676"/>
                  </a:cubicBezTo>
                  <a:cubicBezTo>
                    <a:pt x="11165" y="6749"/>
                    <a:pt x="11051" y="6689"/>
                    <a:pt x="10917" y="6816"/>
                  </a:cubicBezTo>
                  <a:cubicBezTo>
                    <a:pt x="10792" y="6935"/>
                    <a:pt x="10679" y="7096"/>
                    <a:pt x="10552" y="7221"/>
                  </a:cubicBezTo>
                  <a:cubicBezTo>
                    <a:pt x="10407" y="7363"/>
                    <a:pt x="10231" y="7399"/>
                    <a:pt x="10083" y="7521"/>
                  </a:cubicBezTo>
                  <a:cubicBezTo>
                    <a:pt x="9944" y="7636"/>
                    <a:pt x="9871" y="7867"/>
                    <a:pt x="9827" y="8070"/>
                  </a:cubicBezTo>
                  <a:cubicBezTo>
                    <a:pt x="9723" y="8552"/>
                    <a:pt x="9744" y="9088"/>
                    <a:pt x="9344" y="9305"/>
                  </a:cubicBezTo>
                  <a:cubicBezTo>
                    <a:pt x="9052" y="9464"/>
                    <a:pt x="8720" y="9304"/>
                    <a:pt x="8420" y="9401"/>
                  </a:cubicBezTo>
                  <a:cubicBezTo>
                    <a:pt x="8249" y="9457"/>
                    <a:pt x="8111" y="9596"/>
                    <a:pt x="7938" y="9653"/>
                  </a:cubicBezTo>
                  <a:cubicBezTo>
                    <a:pt x="7781" y="9703"/>
                    <a:pt x="7614" y="9754"/>
                    <a:pt x="7458" y="9783"/>
                  </a:cubicBezTo>
                  <a:cubicBezTo>
                    <a:pt x="7268" y="9819"/>
                    <a:pt x="7079" y="9817"/>
                    <a:pt x="6887" y="9841"/>
                  </a:cubicBezTo>
                  <a:cubicBezTo>
                    <a:pt x="6756" y="9858"/>
                    <a:pt x="6562" y="9862"/>
                    <a:pt x="6446" y="9952"/>
                  </a:cubicBezTo>
                  <a:cubicBezTo>
                    <a:pt x="6317" y="10051"/>
                    <a:pt x="6284" y="10214"/>
                    <a:pt x="6128" y="10300"/>
                  </a:cubicBezTo>
                  <a:cubicBezTo>
                    <a:pt x="6001" y="10371"/>
                    <a:pt x="5860" y="10396"/>
                    <a:pt x="5722" y="10424"/>
                  </a:cubicBezTo>
                  <a:cubicBezTo>
                    <a:pt x="5565" y="10457"/>
                    <a:pt x="5402" y="10503"/>
                    <a:pt x="5239" y="10478"/>
                  </a:cubicBezTo>
                  <a:cubicBezTo>
                    <a:pt x="5102" y="10457"/>
                    <a:pt x="5012" y="10372"/>
                    <a:pt x="4892" y="10285"/>
                  </a:cubicBezTo>
                  <a:cubicBezTo>
                    <a:pt x="4636" y="10101"/>
                    <a:pt x="4468" y="9818"/>
                    <a:pt x="4203" y="9648"/>
                  </a:cubicBezTo>
                  <a:cubicBezTo>
                    <a:pt x="4099" y="9581"/>
                    <a:pt x="3977" y="9428"/>
                    <a:pt x="3907" y="9306"/>
                  </a:cubicBezTo>
                  <a:cubicBezTo>
                    <a:pt x="3807" y="9130"/>
                    <a:pt x="3848" y="8998"/>
                    <a:pt x="3862" y="8810"/>
                  </a:cubicBezTo>
                  <a:cubicBezTo>
                    <a:pt x="3891" y="8420"/>
                    <a:pt x="3643" y="8138"/>
                    <a:pt x="3533" y="7796"/>
                  </a:cubicBezTo>
                  <a:cubicBezTo>
                    <a:pt x="3478" y="7623"/>
                    <a:pt x="3384" y="7485"/>
                    <a:pt x="3326" y="7309"/>
                  </a:cubicBezTo>
                  <a:cubicBezTo>
                    <a:pt x="3284" y="7182"/>
                    <a:pt x="3256" y="7038"/>
                    <a:pt x="3174" y="6950"/>
                  </a:cubicBezTo>
                  <a:cubicBezTo>
                    <a:pt x="3139" y="6993"/>
                    <a:pt x="3103" y="7036"/>
                    <a:pt x="3068" y="7079"/>
                  </a:cubicBezTo>
                  <a:cubicBezTo>
                    <a:pt x="2709" y="7515"/>
                    <a:pt x="2351" y="7952"/>
                    <a:pt x="1992" y="8389"/>
                  </a:cubicBezTo>
                  <a:cubicBezTo>
                    <a:pt x="1328" y="9198"/>
                    <a:pt x="664" y="10007"/>
                    <a:pt x="0" y="10816"/>
                  </a:cubicBezTo>
                  <a:cubicBezTo>
                    <a:pt x="142" y="10994"/>
                    <a:pt x="257" y="11197"/>
                    <a:pt x="391" y="11424"/>
                  </a:cubicBezTo>
                  <a:cubicBezTo>
                    <a:pt x="667" y="11890"/>
                    <a:pt x="998" y="12236"/>
                    <a:pt x="1345" y="12620"/>
                  </a:cubicBezTo>
                  <a:cubicBezTo>
                    <a:pt x="1480" y="12768"/>
                    <a:pt x="1599" y="12934"/>
                    <a:pt x="1737" y="13084"/>
                  </a:cubicBezTo>
                  <a:cubicBezTo>
                    <a:pt x="1906" y="13267"/>
                    <a:pt x="2108" y="13379"/>
                    <a:pt x="2265" y="13584"/>
                  </a:cubicBezTo>
                  <a:cubicBezTo>
                    <a:pt x="2460" y="13839"/>
                    <a:pt x="2679" y="14167"/>
                    <a:pt x="2688" y="14530"/>
                  </a:cubicBezTo>
                  <a:cubicBezTo>
                    <a:pt x="2697" y="14896"/>
                    <a:pt x="2718" y="15301"/>
                    <a:pt x="2688" y="15665"/>
                  </a:cubicBezTo>
                  <a:cubicBezTo>
                    <a:pt x="2655" y="16068"/>
                    <a:pt x="2534" y="16232"/>
                    <a:pt x="2247" y="16306"/>
                  </a:cubicBezTo>
                  <a:cubicBezTo>
                    <a:pt x="2121" y="16338"/>
                    <a:pt x="2005" y="16347"/>
                    <a:pt x="1949" y="16518"/>
                  </a:cubicBezTo>
                  <a:cubicBezTo>
                    <a:pt x="1917" y="16614"/>
                    <a:pt x="1929" y="16728"/>
                    <a:pt x="1929" y="16837"/>
                  </a:cubicBezTo>
                  <a:cubicBezTo>
                    <a:pt x="1987" y="16886"/>
                    <a:pt x="2012" y="16905"/>
                    <a:pt x="2039" y="17034"/>
                  </a:cubicBezTo>
                  <a:cubicBezTo>
                    <a:pt x="2065" y="17159"/>
                    <a:pt x="2029" y="17311"/>
                    <a:pt x="2069" y="17425"/>
                  </a:cubicBezTo>
                  <a:cubicBezTo>
                    <a:pt x="2154" y="17668"/>
                    <a:pt x="2426" y="17638"/>
                    <a:pt x="2330" y="17966"/>
                  </a:cubicBezTo>
                  <a:cubicBezTo>
                    <a:pt x="2276" y="18151"/>
                    <a:pt x="2123" y="18244"/>
                    <a:pt x="2091" y="18441"/>
                  </a:cubicBezTo>
                  <a:cubicBezTo>
                    <a:pt x="2054" y="18666"/>
                    <a:pt x="2171" y="18757"/>
                    <a:pt x="2294" y="18890"/>
                  </a:cubicBezTo>
                  <a:cubicBezTo>
                    <a:pt x="2364" y="18964"/>
                    <a:pt x="2380" y="19056"/>
                    <a:pt x="2442" y="19124"/>
                  </a:cubicBezTo>
                  <a:cubicBezTo>
                    <a:pt x="2512" y="19200"/>
                    <a:pt x="2614" y="19198"/>
                    <a:pt x="2688" y="19258"/>
                  </a:cubicBezTo>
                  <a:cubicBezTo>
                    <a:pt x="2865" y="19401"/>
                    <a:pt x="2828" y="19723"/>
                    <a:pt x="3003" y="19875"/>
                  </a:cubicBezTo>
                  <a:cubicBezTo>
                    <a:pt x="3048" y="19914"/>
                    <a:pt x="3104" y="19904"/>
                    <a:pt x="3152" y="19952"/>
                  </a:cubicBezTo>
                  <a:cubicBezTo>
                    <a:pt x="3219" y="20020"/>
                    <a:pt x="3209" y="20091"/>
                    <a:pt x="3307" y="20127"/>
                  </a:cubicBezTo>
                  <a:cubicBezTo>
                    <a:pt x="3373" y="20151"/>
                    <a:pt x="3424" y="20124"/>
                    <a:pt x="3488" y="20160"/>
                  </a:cubicBezTo>
                  <a:cubicBezTo>
                    <a:pt x="3566" y="20206"/>
                    <a:pt x="3607" y="20295"/>
                    <a:pt x="3672" y="20362"/>
                  </a:cubicBezTo>
                  <a:cubicBezTo>
                    <a:pt x="3822" y="20518"/>
                    <a:pt x="3969" y="20622"/>
                    <a:pt x="4107" y="20785"/>
                  </a:cubicBezTo>
                  <a:cubicBezTo>
                    <a:pt x="4239" y="20942"/>
                    <a:pt x="4362" y="20902"/>
                    <a:pt x="4514" y="20955"/>
                  </a:cubicBezTo>
                  <a:cubicBezTo>
                    <a:pt x="4680" y="21013"/>
                    <a:pt x="4754" y="21175"/>
                    <a:pt x="4842" y="21342"/>
                  </a:cubicBezTo>
                  <a:cubicBezTo>
                    <a:pt x="4913" y="21477"/>
                    <a:pt x="5001" y="21555"/>
                    <a:pt x="5105" y="21600"/>
                  </a:cubicBezTo>
                  <a:cubicBezTo>
                    <a:pt x="5875" y="20685"/>
                    <a:pt x="6645" y="19769"/>
                    <a:pt x="7415" y="18854"/>
                  </a:cubicBezTo>
                  <a:cubicBezTo>
                    <a:pt x="7587" y="18649"/>
                    <a:pt x="7738" y="18377"/>
                    <a:pt x="7924" y="18202"/>
                  </a:cubicBezTo>
                  <a:close/>
                  <a:moveTo>
                    <a:pt x="7924" y="18202"/>
                  </a:moveTo>
                </a:path>
              </a:pathLst>
            </a:custGeom>
            <a:solidFill>
              <a:srgbClr val="C0C0C0"/>
            </a:solidFill>
            <a:ln w="3175">
              <a:solidFill>
                <a:schemeClr val="bg1">
                  <a:lumMod val="85000"/>
                </a:schemeClr>
              </a:solidFill>
            </a:ln>
          </p:spPr>
          <p:txBody>
            <a:bodyPr lIns="0" tIns="0" rIns="0" bIns="0"/>
            <a:lstStyle/>
            <a:p>
              <a:endParaRPr lang="en-US"/>
            </a:p>
          </p:txBody>
        </p:sp>
        <p:sp>
          <p:nvSpPr>
            <p:cNvPr id="196" name="AutoShape 1054">
              <a:extLst>
                <a:ext uri="{FF2B5EF4-FFF2-40B4-BE49-F238E27FC236}">
                  <a16:creationId xmlns:a16="http://schemas.microsoft.com/office/drawing/2014/main" id="{C885E803-FEF8-6041-AFBC-AE28555039BD}"/>
                </a:ext>
              </a:extLst>
            </p:cNvPr>
            <p:cNvSpPr>
              <a:spLocks/>
            </p:cNvSpPr>
            <p:nvPr/>
          </p:nvSpPr>
          <p:spPr bwMode="auto">
            <a:xfrm>
              <a:off x="5630897" y="4226224"/>
              <a:ext cx="351833" cy="356912"/>
            </a:xfrm>
            <a:custGeom>
              <a:avLst/>
              <a:gdLst/>
              <a:ahLst/>
              <a:cxnLst/>
              <a:rect l="0" t="0" r="r" b="b"/>
              <a:pathLst>
                <a:path w="21600" h="21600">
                  <a:moveTo>
                    <a:pt x="19892" y="6764"/>
                  </a:moveTo>
                  <a:lnTo>
                    <a:pt x="21600" y="6764"/>
                  </a:lnTo>
                  <a:lnTo>
                    <a:pt x="21600" y="2907"/>
                  </a:lnTo>
                  <a:lnTo>
                    <a:pt x="20250" y="2907"/>
                  </a:lnTo>
                  <a:cubicBezTo>
                    <a:pt x="20250" y="1979"/>
                    <a:pt x="20510" y="904"/>
                    <a:pt x="19687" y="270"/>
                  </a:cubicBezTo>
                  <a:cubicBezTo>
                    <a:pt x="19566" y="177"/>
                    <a:pt x="19465" y="88"/>
                    <a:pt x="19375" y="0"/>
                  </a:cubicBezTo>
                  <a:lnTo>
                    <a:pt x="16845" y="2168"/>
                  </a:lnTo>
                  <a:cubicBezTo>
                    <a:pt x="16509" y="2409"/>
                    <a:pt x="15894" y="2192"/>
                    <a:pt x="15497" y="2305"/>
                  </a:cubicBezTo>
                  <a:cubicBezTo>
                    <a:pt x="15239" y="2378"/>
                    <a:pt x="15094" y="2543"/>
                    <a:pt x="14867" y="2669"/>
                  </a:cubicBezTo>
                  <a:cubicBezTo>
                    <a:pt x="14066" y="3110"/>
                    <a:pt x="12386" y="2838"/>
                    <a:pt x="11471" y="2855"/>
                  </a:cubicBezTo>
                  <a:cubicBezTo>
                    <a:pt x="10708" y="2868"/>
                    <a:pt x="9944" y="2882"/>
                    <a:pt x="9181" y="2896"/>
                  </a:cubicBezTo>
                  <a:lnTo>
                    <a:pt x="9181" y="9040"/>
                  </a:lnTo>
                  <a:cubicBezTo>
                    <a:pt x="9198" y="9574"/>
                    <a:pt x="9026" y="9673"/>
                    <a:pt x="8624" y="9962"/>
                  </a:cubicBezTo>
                  <a:cubicBezTo>
                    <a:pt x="8053" y="10374"/>
                    <a:pt x="7593" y="11017"/>
                    <a:pt x="7067" y="11499"/>
                  </a:cubicBezTo>
                  <a:cubicBezTo>
                    <a:pt x="4711" y="13658"/>
                    <a:pt x="2356" y="15816"/>
                    <a:pt x="0" y="17975"/>
                  </a:cubicBezTo>
                  <a:cubicBezTo>
                    <a:pt x="194" y="18040"/>
                    <a:pt x="408" y="18077"/>
                    <a:pt x="640" y="18096"/>
                  </a:cubicBezTo>
                  <a:cubicBezTo>
                    <a:pt x="1260" y="18147"/>
                    <a:pt x="1524" y="18324"/>
                    <a:pt x="1563" y="18960"/>
                  </a:cubicBezTo>
                  <a:cubicBezTo>
                    <a:pt x="1600" y="19579"/>
                    <a:pt x="1623" y="19927"/>
                    <a:pt x="2023" y="20428"/>
                  </a:cubicBezTo>
                  <a:cubicBezTo>
                    <a:pt x="2282" y="20752"/>
                    <a:pt x="2624" y="21083"/>
                    <a:pt x="2572" y="21548"/>
                  </a:cubicBezTo>
                  <a:cubicBezTo>
                    <a:pt x="2506" y="21557"/>
                    <a:pt x="2443" y="21579"/>
                    <a:pt x="2381" y="21600"/>
                  </a:cubicBezTo>
                  <a:lnTo>
                    <a:pt x="19892" y="21600"/>
                  </a:lnTo>
                  <a:cubicBezTo>
                    <a:pt x="19892" y="21600"/>
                    <a:pt x="19892" y="6764"/>
                    <a:pt x="19892" y="6764"/>
                  </a:cubicBezTo>
                  <a:close/>
                  <a:moveTo>
                    <a:pt x="19892" y="6764"/>
                  </a:moveTo>
                </a:path>
              </a:pathLst>
            </a:custGeom>
            <a:solidFill>
              <a:srgbClr val="C0C0C0"/>
            </a:solidFill>
            <a:ln w="3175">
              <a:solidFill>
                <a:schemeClr val="bg1">
                  <a:lumMod val="85000"/>
                </a:schemeClr>
              </a:solidFill>
            </a:ln>
          </p:spPr>
          <p:txBody>
            <a:bodyPr lIns="0" tIns="0" rIns="0" bIns="0"/>
            <a:lstStyle/>
            <a:p>
              <a:endParaRPr lang="en-US"/>
            </a:p>
          </p:txBody>
        </p:sp>
        <p:sp>
          <p:nvSpPr>
            <p:cNvPr id="197" name="AutoShape 1073">
              <a:extLst>
                <a:ext uri="{FF2B5EF4-FFF2-40B4-BE49-F238E27FC236}">
                  <a16:creationId xmlns:a16="http://schemas.microsoft.com/office/drawing/2014/main" id="{D37E88B1-FB86-EF42-9AD5-6ECFB0CFD1D3}"/>
                </a:ext>
              </a:extLst>
            </p:cNvPr>
            <p:cNvSpPr>
              <a:spLocks/>
            </p:cNvSpPr>
            <p:nvPr/>
          </p:nvSpPr>
          <p:spPr bwMode="auto">
            <a:xfrm>
              <a:off x="5946898" y="4104339"/>
              <a:ext cx="662191" cy="479362"/>
            </a:xfrm>
            <a:custGeom>
              <a:avLst/>
              <a:gdLst/>
              <a:ahLst/>
              <a:cxnLst/>
              <a:rect l="0" t="0" r="r" b="b"/>
              <a:pathLst>
                <a:path w="21539" h="21600">
                  <a:moveTo>
                    <a:pt x="5103" y="21572"/>
                  </a:moveTo>
                  <a:cubicBezTo>
                    <a:pt x="6639" y="21564"/>
                    <a:pt x="8175" y="21555"/>
                    <a:pt x="9711" y="21546"/>
                  </a:cubicBezTo>
                  <a:cubicBezTo>
                    <a:pt x="11310" y="21537"/>
                    <a:pt x="12909" y="21528"/>
                    <a:pt x="14508" y="21519"/>
                  </a:cubicBezTo>
                  <a:cubicBezTo>
                    <a:pt x="15854" y="21511"/>
                    <a:pt x="17199" y="21504"/>
                    <a:pt x="18544" y="21496"/>
                  </a:cubicBezTo>
                  <a:cubicBezTo>
                    <a:pt x="19312" y="21492"/>
                    <a:pt x="20096" y="21549"/>
                    <a:pt x="20864" y="21483"/>
                  </a:cubicBezTo>
                  <a:cubicBezTo>
                    <a:pt x="21291" y="21446"/>
                    <a:pt x="21041" y="20825"/>
                    <a:pt x="21106" y="20409"/>
                  </a:cubicBezTo>
                  <a:cubicBezTo>
                    <a:pt x="21181" y="19923"/>
                    <a:pt x="21600" y="20014"/>
                    <a:pt x="21532" y="19403"/>
                  </a:cubicBezTo>
                  <a:cubicBezTo>
                    <a:pt x="21477" y="18909"/>
                    <a:pt x="21279" y="18407"/>
                    <a:pt x="21146" y="17949"/>
                  </a:cubicBezTo>
                  <a:cubicBezTo>
                    <a:pt x="21069" y="17687"/>
                    <a:pt x="21100" y="17462"/>
                    <a:pt x="21073" y="17185"/>
                  </a:cubicBezTo>
                  <a:cubicBezTo>
                    <a:pt x="21043" y="16860"/>
                    <a:pt x="20890" y="16557"/>
                    <a:pt x="20779" y="16275"/>
                  </a:cubicBezTo>
                  <a:cubicBezTo>
                    <a:pt x="20375" y="15251"/>
                    <a:pt x="20465" y="14339"/>
                    <a:pt x="20467" y="13220"/>
                  </a:cubicBezTo>
                  <a:cubicBezTo>
                    <a:pt x="20468" y="12839"/>
                    <a:pt x="20334" y="12756"/>
                    <a:pt x="20138" y="12529"/>
                  </a:cubicBezTo>
                  <a:cubicBezTo>
                    <a:pt x="19877" y="12227"/>
                    <a:pt x="19682" y="11586"/>
                    <a:pt x="19604" y="11137"/>
                  </a:cubicBezTo>
                  <a:cubicBezTo>
                    <a:pt x="19567" y="10927"/>
                    <a:pt x="19545" y="10660"/>
                    <a:pt x="19531" y="10449"/>
                  </a:cubicBezTo>
                  <a:cubicBezTo>
                    <a:pt x="19499" y="9938"/>
                    <a:pt x="19813" y="9718"/>
                    <a:pt x="19825" y="9255"/>
                  </a:cubicBezTo>
                  <a:cubicBezTo>
                    <a:pt x="19839" y="8727"/>
                    <a:pt x="19435" y="8590"/>
                    <a:pt x="19215" y="8270"/>
                  </a:cubicBezTo>
                  <a:cubicBezTo>
                    <a:pt x="19175" y="8211"/>
                    <a:pt x="19113" y="8118"/>
                    <a:pt x="19108" y="8036"/>
                  </a:cubicBezTo>
                  <a:cubicBezTo>
                    <a:pt x="19099" y="7857"/>
                    <a:pt x="19160" y="7913"/>
                    <a:pt x="19202" y="7806"/>
                  </a:cubicBezTo>
                  <a:cubicBezTo>
                    <a:pt x="19265" y="7644"/>
                    <a:pt x="19360" y="7424"/>
                    <a:pt x="19238" y="7240"/>
                  </a:cubicBezTo>
                  <a:cubicBezTo>
                    <a:pt x="19109" y="7047"/>
                    <a:pt x="18704" y="7154"/>
                    <a:pt x="18527" y="7118"/>
                  </a:cubicBezTo>
                  <a:cubicBezTo>
                    <a:pt x="18177" y="7048"/>
                    <a:pt x="18083" y="6268"/>
                    <a:pt x="18032" y="5863"/>
                  </a:cubicBezTo>
                  <a:cubicBezTo>
                    <a:pt x="17985" y="5491"/>
                    <a:pt x="17966" y="5140"/>
                    <a:pt x="17830" y="4799"/>
                  </a:cubicBezTo>
                  <a:cubicBezTo>
                    <a:pt x="17708" y="4496"/>
                    <a:pt x="17069" y="4075"/>
                    <a:pt x="17296" y="3669"/>
                  </a:cubicBezTo>
                  <a:cubicBezTo>
                    <a:pt x="17394" y="3494"/>
                    <a:pt x="17605" y="3503"/>
                    <a:pt x="17496" y="3178"/>
                  </a:cubicBezTo>
                  <a:cubicBezTo>
                    <a:pt x="17420" y="2952"/>
                    <a:pt x="17175" y="2806"/>
                    <a:pt x="17057" y="2619"/>
                  </a:cubicBezTo>
                  <a:cubicBezTo>
                    <a:pt x="16925" y="2407"/>
                    <a:pt x="16877" y="2167"/>
                    <a:pt x="16797" y="1934"/>
                  </a:cubicBezTo>
                  <a:cubicBezTo>
                    <a:pt x="16711" y="1681"/>
                    <a:pt x="16533" y="1695"/>
                    <a:pt x="16434" y="1501"/>
                  </a:cubicBezTo>
                  <a:cubicBezTo>
                    <a:pt x="16222" y="1085"/>
                    <a:pt x="16882" y="1181"/>
                    <a:pt x="16816" y="713"/>
                  </a:cubicBezTo>
                  <a:cubicBezTo>
                    <a:pt x="16771" y="398"/>
                    <a:pt x="16612" y="185"/>
                    <a:pt x="16426" y="0"/>
                  </a:cubicBezTo>
                  <a:cubicBezTo>
                    <a:pt x="16425" y="13"/>
                    <a:pt x="16423" y="27"/>
                    <a:pt x="16420" y="40"/>
                  </a:cubicBezTo>
                  <a:cubicBezTo>
                    <a:pt x="15239" y="114"/>
                    <a:pt x="14025" y="21"/>
                    <a:pt x="12839" y="25"/>
                  </a:cubicBezTo>
                  <a:cubicBezTo>
                    <a:pt x="11195" y="32"/>
                    <a:pt x="9552" y="38"/>
                    <a:pt x="7908" y="45"/>
                  </a:cubicBezTo>
                  <a:lnTo>
                    <a:pt x="7762" y="1705"/>
                  </a:lnTo>
                  <a:cubicBezTo>
                    <a:pt x="7835" y="2281"/>
                    <a:pt x="7023" y="2072"/>
                    <a:pt x="6776" y="2067"/>
                  </a:cubicBezTo>
                  <a:cubicBezTo>
                    <a:pt x="6328" y="2060"/>
                    <a:pt x="5881" y="2052"/>
                    <a:pt x="5433" y="2044"/>
                  </a:cubicBezTo>
                  <a:cubicBezTo>
                    <a:pt x="4782" y="2033"/>
                    <a:pt x="4130" y="2022"/>
                    <a:pt x="3479" y="2010"/>
                  </a:cubicBezTo>
                  <a:lnTo>
                    <a:pt x="3308" y="3874"/>
                  </a:lnTo>
                  <a:lnTo>
                    <a:pt x="1277" y="3976"/>
                  </a:lnTo>
                  <a:lnTo>
                    <a:pt x="0" y="5513"/>
                  </a:lnTo>
                  <a:cubicBezTo>
                    <a:pt x="48" y="5579"/>
                    <a:pt x="101" y="5645"/>
                    <a:pt x="165" y="5714"/>
                  </a:cubicBezTo>
                  <a:cubicBezTo>
                    <a:pt x="601" y="6187"/>
                    <a:pt x="463" y="6987"/>
                    <a:pt x="463" y="7679"/>
                  </a:cubicBezTo>
                  <a:lnTo>
                    <a:pt x="1179" y="7679"/>
                  </a:lnTo>
                  <a:lnTo>
                    <a:pt x="1179" y="10551"/>
                  </a:lnTo>
                  <a:lnTo>
                    <a:pt x="274" y="10551"/>
                  </a:lnTo>
                  <a:lnTo>
                    <a:pt x="274" y="21600"/>
                  </a:lnTo>
                  <a:cubicBezTo>
                    <a:pt x="729" y="21597"/>
                    <a:pt x="1185" y="21595"/>
                    <a:pt x="1640" y="21592"/>
                  </a:cubicBezTo>
                  <a:cubicBezTo>
                    <a:pt x="2794" y="21586"/>
                    <a:pt x="3949" y="21579"/>
                    <a:pt x="5103" y="21572"/>
                  </a:cubicBezTo>
                  <a:close/>
                  <a:moveTo>
                    <a:pt x="5103" y="21572"/>
                  </a:moveTo>
                </a:path>
              </a:pathLst>
            </a:custGeom>
            <a:solidFill>
              <a:srgbClr val="C0C0C0"/>
            </a:solidFill>
            <a:ln w="3175">
              <a:solidFill>
                <a:schemeClr val="bg1">
                  <a:lumMod val="85000"/>
                </a:schemeClr>
              </a:solidFill>
            </a:ln>
          </p:spPr>
          <p:txBody>
            <a:bodyPr lIns="0" tIns="0" rIns="0" bIns="0"/>
            <a:lstStyle/>
            <a:p>
              <a:endParaRPr lang="en-US"/>
            </a:p>
          </p:txBody>
        </p:sp>
        <p:sp>
          <p:nvSpPr>
            <p:cNvPr id="198" name="AutoShape 1094">
              <a:extLst>
                <a:ext uri="{FF2B5EF4-FFF2-40B4-BE49-F238E27FC236}">
                  <a16:creationId xmlns:a16="http://schemas.microsoft.com/office/drawing/2014/main" id="{B873C537-B805-774A-A32D-86B9C11C64A2}"/>
                </a:ext>
              </a:extLst>
            </p:cNvPr>
            <p:cNvSpPr>
              <a:spLocks/>
            </p:cNvSpPr>
            <p:nvPr/>
          </p:nvSpPr>
          <p:spPr bwMode="auto">
            <a:xfrm>
              <a:off x="6269671" y="3736423"/>
              <a:ext cx="1332848" cy="844738"/>
            </a:xfrm>
            <a:custGeom>
              <a:avLst/>
              <a:gdLst/>
              <a:ahLst/>
              <a:cxnLst/>
              <a:rect l="0" t="0" r="r" b="b"/>
              <a:pathLst>
                <a:path w="21529" h="21585">
                  <a:moveTo>
                    <a:pt x="21529" y="21585"/>
                  </a:moveTo>
                  <a:lnTo>
                    <a:pt x="21467" y="21489"/>
                  </a:lnTo>
                  <a:lnTo>
                    <a:pt x="14516" y="11398"/>
                  </a:lnTo>
                  <a:lnTo>
                    <a:pt x="8089" y="2344"/>
                  </a:lnTo>
                  <a:lnTo>
                    <a:pt x="6453" y="133"/>
                  </a:lnTo>
                  <a:lnTo>
                    <a:pt x="2749" y="133"/>
                  </a:lnTo>
                  <a:cubicBezTo>
                    <a:pt x="2601" y="133"/>
                    <a:pt x="2452" y="162"/>
                    <a:pt x="2304" y="137"/>
                  </a:cubicBezTo>
                  <a:cubicBezTo>
                    <a:pt x="2156" y="111"/>
                    <a:pt x="2038" y="17"/>
                    <a:pt x="1886" y="8"/>
                  </a:cubicBezTo>
                  <a:cubicBezTo>
                    <a:pt x="1499" y="-15"/>
                    <a:pt x="1112" y="20"/>
                    <a:pt x="726" y="18"/>
                  </a:cubicBezTo>
                  <a:cubicBezTo>
                    <a:pt x="506" y="17"/>
                    <a:pt x="315" y="147"/>
                    <a:pt x="126" y="135"/>
                  </a:cubicBezTo>
                  <a:cubicBezTo>
                    <a:pt x="162" y="338"/>
                    <a:pt x="130" y="472"/>
                    <a:pt x="42" y="685"/>
                  </a:cubicBezTo>
                  <a:cubicBezTo>
                    <a:pt x="-71" y="958"/>
                    <a:pt x="80" y="1088"/>
                    <a:pt x="88" y="1344"/>
                  </a:cubicBezTo>
                  <a:cubicBezTo>
                    <a:pt x="91" y="1465"/>
                    <a:pt x="8" y="1599"/>
                    <a:pt x="42" y="1720"/>
                  </a:cubicBezTo>
                  <a:cubicBezTo>
                    <a:pt x="77" y="1843"/>
                    <a:pt x="240" y="1886"/>
                    <a:pt x="313" y="1918"/>
                  </a:cubicBezTo>
                  <a:cubicBezTo>
                    <a:pt x="403" y="1958"/>
                    <a:pt x="476" y="1949"/>
                    <a:pt x="546" y="2061"/>
                  </a:cubicBezTo>
                  <a:cubicBezTo>
                    <a:pt x="604" y="2156"/>
                    <a:pt x="658" y="2293"/>
                    <a:pt x="707" y="2396"/>
                  </a:cubicBezTo>
                  <a:cubicBezTo>
                    <a:pt x="764" y="2514"/>
                    <a:pt x="830" y="2670"/>
                    <a:pt x="808" y="2829"/>
                  </a:cubicBezTo>
                  <a:cubicBezTo>
                    <a:pt x="786" y="2989"/>
                    <a:pt x="698" y="2919"/>
                    <a:pt x="698" y="3089"/>
                  </a:cubicBezTo>
                  <a:cubicBezTo>
                    <a:pt x="698" y="3199"/>
                    <a:pt x="758" y="3335"/>
                    <a:pt x="787" y="3435"/>
                  </a:cubicBezTo>
                  <a:cubicBezTo>
                    <a:pt x="839" y="3611"/>
                    <a:pt x="850" y="3754"/>
                    <a:pt x="862" y="3942"/>
                  </a:cubicBezTo>
                  <a:cubicBezTo>
                    <a:pt x="873" y="4116"/>
                    <a:pt x="878" y="4191"/>
                    <a:pt x="981" y="4257"/>
                  </a:cubicBezTo>
                  <a:cubicBezTo>
                    <a:pt x="1060" y="4306"/>
                    <a:pt x="1140" y="4302"/>
                    <a:pt x="1218" y="4343"/>
                  </a:cubicBezTo>
                  <a:cubicBezTo>
                    <a:pt x="1386" y="4432"/>
                    <a:pt x="1515" y="4642"/>
                    <a:pt x="1662" y="4780"/>
                  </a:cubicBezTo>
                  <a:cubicBezTo>
                    <a:pt x="1827" y="4936"/>
                    <a:pt x="2003" y="5039"/>
                    <a:pt x="2177" y="5169"/>
                  </a:cubicBezTo>
                  <a:cubicBezTo>
                    <a:pt x="2525" y="5429"/>
                    <a:pt x="2577" y="6175"/>
                    <a:pt x="2673" y="6697"/>
                  </a:cubicBezTo>
                  <a:cubicBezTo>
                    <a:pt x="2749" y="7104"/>
                    <a:pt x="2825" y="7511"/>
                    <a:pt x="2901" y="7918"/>
                  </a:cubicBezTo>
                  <a:cubicBezTo>
                    <a:pt x="2921" y="8077"/>
                    <a:pt x="2794" y="8073"/>
                    <a:pt x="2751" y="8187"/>
                  </a:cubicBezTo>
                  <a:cubicBezTo>
                    <a:pt x="2707" y="8307"/>
                    <a:pt x="2737" y="8471"/>
                    <a:pt x="2755" y="8592"/>
                  </a:cubicBezTo>
                  <a:cubicBezTo>
                    <a:pt x="2776" y="8731"/>
                    <a:pt x="2794" y="8882"/>
                    <a:pt x="2824" y="9014"/>
                  </a:cubicBezTo>
                  <a:cubicBezTo>
                    <a:pt x="2852" y="9134"/>
                    <a:pt x="2950" y="9247"/>
                    <a:pt x="2938" y="9373"/>
                  </a:cubicBezTo>
                  <a:cubicBezTo>
                    <a:pt x="3030" y="9478"/>
                    <a:pt x="3110" y="9599"/>
                    <a:pt x="3132" y="9778"/>
                  </a:cubicBezTo>
                  <a:cubicBezTo>
                    <a:pt x="3165" y="10043"/>
                    <a:pt x="2837" y="9988"/>
                    <a:pt x="2942" y="10225"/>
                  </a:cubicBezTo>
                  <a:cubicBezTo>
                    <a:pt x="2991" y="10335"/>
                    <a:pt x="3080" y="10326"/>
                    <a:pt x="3123" y="10470"/>
                  </a:cubicBezTo>
                  <a:cubicBezTo>
                    <a:pt x="3162" y="10602"/>
                    <a:pt x="3186" y="10739"/>
                    <a:pt x="3252" y="10859"/>
                  </a:cubicBezTo>
                  <a:cubicBezTo>
                    <a:pt x="3310" y="10965"/>
                    <a:pt x="3431" y="11048"/>
                    <a:pt x="3469" y="11176"/>
                  </a:cubicBezTo>
                  <a:cubicBezTo>
                    <a:pt x="3523" y="11360"/>
                    <a:pt x="3419" y="11355"/>
                    <a:pt x="3370" y="11454"/>
                  </a:cubicBezTo>
                  <a:cubicBezTo>
                    <a:pt x="3258" y="11684"/>
                    <a:pt x="3575" y="11923"/>
                    <a:pt x="3635" y="12095"/>
                  </a:cubicBezTo>
                  <a:cubicBezTo>
                    <a:pt x="3703" y="12289"/>
                    <a:pt x="3712" y="12488"/>
                    <a:pt x="3735" y="12698"/>
                  </a:cubicBezTo>
                  <a:cubicBezTo>
                    <a:pt x="3761" y="12928"/>
                    <a:pt x="3807" y="13371"/>
                    <a:pt x="3981" y="13410"/>
                  </a:cubicBezTo>
                  <a:cubicBezTo>
                    <a:pt x="4069" y="13430"/>
                    <a:pt x="4270" y="13370"/>
                    <a:pt x="4334" y="13480"/>
                  </a:cubicBezTo>
                  <a:cubicBezTo>
                    <a:pt x="4395" y="13584"/>
                    <a:pt x="4348" y="13708"/>
                    <a:pt x="4317" y="13800"/>
                  </a:cubicBezTo>
                  <a:cubicBezTo>
                    <a:pt x="4296" y="13861"/>
                    <a:pt x="4266" y="13829"/>
                    <a:pt x="4270" y="13931"/>
                  </a:cubicBezTo>
                  <a:cubicBezTo>
                    <a:pt x="4272" y="13978"/>
                    <a:pt x="4303" y="14030"/>
                    <a:pt x="4323" y="14064"/>
                  </a:cubicBezTo>
                  <a:cubicBezTo>
                    <a:pt x="4432" y="14245"/>
                    <a:pt x="4633" y="14322"/>
                    <a:pt x="4626" y="14622"/>
                  </a:cubicBezTo>
                  <a:cubicBezTo>
                    <a:pt x="4620" y="14885"/>
                    <a:pt x="4464" y="15009"/>
                    <a:pt x="4480" y="15300"/>
                  </a:cubicBezTo>
                  <a:cubicBezTo>
                    <a:pt x="4487" y="15419"/>
                    <a:pt x="4498" y="15571"/>
                    <a:pt x="4516" y="15689"/>
                  </a:cubicBezTo>
                  <a:cubicBezTo>
                    <a:pt x="4555" y="15944"/>
                    <a:pt x="4652" y="16308"/>
                    <a:pt x="4781" y="16479"/>
                  </a:cubicBezTo>
                  <a:cubicBezTo>
                    <a:pt x="4879" y="16608"/>
                    <a:pt x="4945" y="16655"/>
                    <a:pt x="4945" y="16871"/>
                  </a:cubicBezTo>
                  <a:cubicBezTo>
                    <a:pt x="4944" y="17506"/>
                    <a:pt x="4899" y="18023"/>
                    <a:pt x="5100" y="18603"/>
                  </a:cubicBezTo>
                  <a:cubicBezTo>
                    <a:pt x="5155" y="18764"/>
                    <a:pt x="5231" y="18935"/>
                    <a:pt x="5246" y="19120"/>
                  </a:cubicBezTo>
                  <a:cubicBezTo>
                    <a:pt x="5259" y="19277"/>
                    <a:pt x="5244" y="19404"/>
                    <a:pt x="5282" y="19553"/>
                  </a:cubicBezTo>
                  <a:cubicBezTo>
                    <a:pt x="5348" y="19813"/>
                    <a:pt x="5446" y="20097"/>
                    <a:pt x="5473" y="20377"/>
                  </a:cubicBezTo>
                  <a:cubicBezTo>
                    <a:pt x="5507" y="20724"/>
                    <a:pt x="5299" y="20672"/>
                    <a:pt x="5262" y="20948"/>
                  </a:cubicBezTo>
                  <a:cubicBezTo>
                    <a:pt x="5230" y="21184"/>
                    <a:pt x="5354" y="21536"/>
                    <a:pt x="5142" y="21557"/>
                  </a:cubicBezTo>
                  <a:cubicBezTo>
                    <a:pt x="5132" y="21558"/>
                    <a:pt x="5123" y="21558"/>
                    <a:pt x="5113" y="21559"/>
                  </a:cubicBezTo>
                  <a:lnTo>
                    <a:pt x="5113" y="21578"/>
                  </a:lnTo>
                  <a:cubicBezTo>
                    <a:pt x="5113" y="21578"/>
                    <a:pt x="21529" y="21585"/>
                    <a:pt x="21529" y="21585"/>
                  </a:cubicBezTo>
                  <a:close/>
                  <a:moveTo>
                    <a:pt x="21529" y="21585"/>
                  </a:moveTo>
                </a:path>
              </a:pathLst>
            </a:custGeom>
            <a:solidFill>
              <a:srgbClr val="C0C0C0"/>
            </a:solidFill>
            <a:ln w="3175">
              <a:solidFill>
                <a:schemeClr val="bg1">
                  <a:lumMod val="85000"/>
                </a:schemeClr>
              </a:solidFill>
            </a:ln>
          </p:spPr>
          <p:txBody>
            <a:bodyPr lIns="0" tIns="0" rIns="0" bIns="0"/>
            <a:lstStyle/>
            <a:p>
              <a:endParaRPr lang="en-US"/>
            </a:p>
          </p:txBody>
        </p:sp>
        <p:sp>
          <p:nvSpPr>
            <p:cNvPr id="199" name="AutoShape 1112">
              <a:extLst>
                <a:ext uri="{FF2B5EF4-FFF2-40B4-BE49-F238E27FC236}">
                  <a16:creationId xmlns:a16="http://schemas.microsoft.com/office/drawing/2014/main" id="{88580B51-58E8-1F45-A1C1-E4DF941CBADA}"/>
                </a:ext>
              </a:extLst>
            </p:cNvPr>
            <p:cNvSpPr>
              <a:spLocks/>
            </p:cNvSpPr>
            <p:nvPr/>
          </p:nvSpPr>
          <p:spPr bwMode="auto">
            <a:xfrm>
              <a:off x="5188496" y="4582855"/>
              <a:ext cx="788028" cy="458483"/>
            </a:xfrm>
            <a:custGeom>
              <a:avLst/>
              <a:gdLst/>
              <a:ahLst/>
              <a:cxnLst/>
              <a:rect l="0" t="0" r="r" b="b"/>
              <a:pathLst>
                <a:path w="21546" h="21201">
                  <a:moveTo>
                    <a:pt x="8527" y="19366"/>
                  </a:moveTo>
                  <a:cubicBezTo>
                    <a:pt x="8869" y="19339"/>
                    <a:pt x="9177" y="19112"/>
                    <a:pt x="9497" y="18986"/>
                  </a:cubicBezTo>
                  <a:cubicBezTo>
                    <a:pt x="10022" y="18779"/>
                    <a:pt x="10774" y="18547"/>
                    <a:pt x="11209" y="19287"/>
                  </a:cubicBezTo>
                  <a:cubicBezTo>
                    <a:pt x="11327" y="19488"/>
                    <a:pt x="11806" y="20986"/>
                    <a:pt x="12007" y="20341"/>
                  </a:cubicBezTo>
                  <a:cubicBezTo>
                    <a:pt x="12058" y="20177"/>
                    <a:pt x="12020" y="19531"/>
                    <a:pt x="11991" y="19366"/>
                  </a:cubicBezTo>
                  <a:cubicBezTo>
                    <a:pt x="11945" y="19104"/>
                    <a:pt x="11821" y="18905"/>
                    <a:pt x="11734" y="18679"/>
                  </a:cubicBezTo>
                  <a:cubicBezTo>
                    <a:pt x="11585" y="18291"/>
                    <a:pt x="11639" y="18183"/>
                    <a:pt x="11925" y="18184"/>
                  </a:cubicBezTo>
                  <a:cubicBezTo>
                    <a:pt x="12065" y="18185"/>
                    <a:pt x="12122" y="18192"/>
                    <a:pt x="12234" y="18071"/>
                  </a:cubicBezTo>
                  <a:cubicBezTo>
                    <a:pt x="12319" y="17981"/>
                    <a:pt x="12304" y="17830"/>
                    <a:pt x="12439" y="17835"/>
                  </a:cubicBezTo>
                  <a:cubicBezTo>
                    <a:pt x="12644" y="17841"/>
                    <a:pt x="12740" y="18146"/>
                    <a:pt x="12972" y="18018"/>
                  </a:cubicBezTo>
                  <a:cubicBezTo>
                    <a:pt x="13603" y="17671"/>
                    <a:pt x="13707" y="15724"/>
                    <a:pt x="14475" y="15889"/>
                  </a:cubicBezTo>
                  <a:cubicBezTo>
                    <a:pt x="14793" y="15957"/>
                    <a:pt x="15011" y="16523"/>
                    <a:pt x="15295" y="16759"/>
                  </a:cubicBezTo>
                  <a:cubicBezTo>
                    <a:pt x="15605" y="17018"/>
                    <a:pt x="16024" y="16920"/>
                    <a:pt x="16325" y="17183"/>
                  </a:cubicBezTo>
                  <a:cubicBezTo>
                    <a:pt x="16495" y="17332"/>
                    <a:pt x="16540" y="17689"/>
                    <a:pt x="16757" y="17663"/>
                  </a:cubicBezTo>
                  <a:cubicBezTo>
                    <a:pt x="16865" y="17651"/>
                    <a:pt x="16883" y="17529"/>
                    <a:pt x="17003" y="17558"/>
                  </a:cubicBezTo>
                  <a:cubicBezTo>
                    <a:pt x="17100" y="17582"/>
                    <a:pt x="17177" y="17692"/>
                    <a:pt x="17246" y="17775"/>
                  </a:cubicBezTo>
                  <a:cubicBezTo>
                    <a:pt x="17465" y="18036"/>
                    <a:pt x="17580" y="18448"/>
                    <a:pt x="17808" y="18682"/>
                  </a:cubicBezTo>
                  <a:cubicBezTo>
                    <a:pt x="17983" y="18862"/>
                    <a:pt x="18180" y="19041"/>
                    <a:pt x="18378" y="19151"/>
                  </a:cubicBezTo>
                  <a:cubicBezTo>
                    <a:pt x="19138" y="19573"/>
                    <a:pt x="19993" y="19892"/>
                    <a:pt x="20644" y="20731"/>
                  </a:cubicBezTo>
                  <a:cubicBezTo>
                    <a:pt x="20885" y="21041"/>
                    <a:pt x="21384" y="21600"/>
                    <a:pt x="21508" y="20757"/>
                  </a:cubicBezTo>
                  <a:cubicBezTo>
                    <a:pt x="21600" y="20136"/>
                    <a:pt x="21499" y="19231"/>
                    <a:pt x="21467" y="18608"/>
                  </a:cubicBezTo>
                  <a:cubicBezTo>
                    <a:pt x="21436" y="18008"/>
                    <a:pt x="21568" y="16930"/>
                    <a:pt x="21241" y="16515"/>
                  </a:cubicBezTo>
                  <a:cubicBezTo>
                    <a:pt x="20922" y="16110"/>
                    <a:pt x="20457" y="16637"/>
                    <a:pt x="20439" y="15681"/>
                  </a:cubicBezTo>
                  <a:cubicBezTo>
                    <a:pt x="20427" y="15032"/>
                    <a:pt x="20732" y="14325"/>
                    <a:pt x="20131" y="14324"/>
                  </a:cubicBezTo>
                  <a:cubicBezTo>
                    <a:pt x="19935" y="14324"/>
                    <a:pt x="19748" y="14377"/>
                    <a:pt x="19555" y="14359"/>
                  </a:cubicBezTo>
                  <a:cubicBezTo>
                    <a:pt x="19299" y="14337"/>
                    <a:pt x="19224" y="14363"/>
                    <a:pt x="19225" y="13905"/>
                  </a:cubicBezTo>
                  <a:cubicBezTo>
                    <a:pt x="19226" y="13584"/>
                    <a:pt x="19277" y="13140"/>
                    <a:pt x="19226" y="12829"/>
                  </a:cubicBezTo>
                  <a:cubicBezTo>
                    <a:pt x="19166" y="12456"/>
                    <a:pt x="19017" y="12510"/>
                    <a:pt x="18830" y="12559"/>
                  </a:cubicBezTo>
                  <a:cubicBezTo>
                    <a:pt x="18530" y="12637"/>
                    <a:pt x="18168" y="12794"/>
                    <a:pt x="17870" y="12636"/>
                  </a:cubicBezTo>
                  <a:cubicBezTo>
                    <a:pt x="17507" y="12444"/>
                    <a:pt x="17570" y="11751"/>
                    <a:pt x="17600" y="11229"/>
                  </a:cubicBezTo>
                  <a:cubicBezTo>
                    <a:pt x="17625" y="10783"/>
                    <a:pt x="17622" y="10277"/>
                    <a:pt x="17290" y="10304"/>
                  </a:cubicBezTo>
                  <a:cubicBezTo>
                    <a:pt x="17204" y="10311"/>
                    <a:pt x="17057" y="10354"/>
                    <a:pt x="16976" y="10304"/>
                  </a:cubicBezTo>
                  <a:cubicBezTo>
                    <a:pt x="16869" y="10239"/>
                    <a:pt x="16854" y="9990"/>
                    <a:pt x="16839" y="9821"/>
                  </a:cubicBezTo>
                  <a:cubicBezTo>
                    <a:pt x="16807" y="9460"/>
                    <a:pt x="16884" y="9051"/>
                    <a:pt x="16827" y="8690"/>
                  </a:cubicBezTo>
                  <a:cubicBezTo>
                    <a:pt x="16746" y="8178"/>
                    <a:pt x="16521" y="8311"/>
                    <a:pt x="16284" y="8361"/>
                  </a:cubicBezTo>
                  <a:cubicBezTo>
                    <a:pt x="16089" y="8402"/>
                    <a:pt x="15859" y="8450"/>
                    <a:pt x="15688" y="8291"/>
                  </a:cubicBezTo>
                  <a:cubicBezTo>
                    <a:pt x="15594" y="8204"/>
                    <a:pt x="15526" y="8136"/>
                    <a:pt x="15472" y="7974"/>
                  </a:cubicBezTo>
                  <a:cubicBezTo>
                    <a:pt x="15409" y="7788"/>
                    <a:pt x="15453" y="7382"/>
                    <a:pt x="15338" y="7261"/>
                  </a:cubicBezTo>
                  <a:cubicBezTo>
                    <a:pt x="15281" y="7200"/>
                    <a:pt x="15201" y="7269"/>
                    <a:pt x="15137" y="7196"/>
                  </a:cubicBezTo>
                  <a:cubicBezTo>
                    <a:pt x="15085" y="7136"/>
                    <a:pt x="15083" y="7106"/>
                    <a:pt x="15071" y="7005"/>
                  </a:cubicBezTo>
                  <a:cubicBezTo>
                    <a:pt x="15049" y="6828"/>
                    <a:pt x="15096" y="6546"/>
                    <a:pt x="14978" y="6487"/>
                  </a:cubicBezTo>
                  <a:cubicBezTo>
                    <a:pt x="14929" y="6463"/>
                    <a:pt x="14871" y="6537"/>
                    <a:pt x="14822" y="6467"/>
                  </a:cubicBezTo>
                  <a:cubicBezTo>
                    <a:pt x="14779" y="6406"/>
                    <a:pt x="14789" y="6330"/>
                    <a:pt x="14773" y="6254"/>
                  </a:cubicBezTo>
                  <a:cubicBezTo>
                    <a:pt x="14736" y="6085"/>
                    <a:pt x="14665" y="6170"/>
                    <a:pt x="14612" y="6069"/>
                  </a:cubicBezTo>
                  <a:cubicBezTo>
                    <a:pt x="14573" y="5996"/>
                    <a:pt x="14592" y="5866"/>
                    <a:pt x="14593" y="5775"/>
                  </a:cubicBezTo>
                  <a:cubicBezTo>
                    <a:pt x="14595" y="5535"/>
                    <a:pt x="14593" y="5295"/>
                    <a:pt x="14593" y="5055"/>
                  </a:cubicBezTo>
                  <a:cubicBezTo>
                    <a:pt x="14593" y="4705"/>
                    <a:pt x="14593" y="4355"/>
                    <a:pt x="14593" y="4006"/>
                  </a:cubicBezTo>
                  <a:lnTo>
                    <a:pt x="13266" y="4006"/>
                  </a:lnTo>
                  <a:lnTo>
                    <a:pt x="13266" y="33"/>
                  </a:lnTo>
                  <a:lnTo>
                    <a:pt x="13111" y="33"/>
                  </a:lnTo>
                  <a:cubicBezTo>
                    <a:pt x="13086" y="48"/>
                    <a:pt x="13061" y="62"/>
                    <a:pt x="13035" y="68"/>
                  </a:cubicBezTo>
                  <a:lnTo>
                    <a:pt x="0" y="0"/>
                  </a:lnTo>
                  <a:cubicBezTo>
                    <a:pt x="12" y="35"/>
                    <a:pt x="24" y="71"/>
                    <a:pt x="36" y="111"/>
                  </a:cubicBezTo>
                  <a:cubicBezTo>
                    <a:pt x="120" y="390"/>
                    <a:pt x="295" y="601"/>
                    <a:pt x="366" y="866"/>
                  </a:cubicBezTo>
                  <a:cubicBezTo>
                    <a:pt x="488" y="1318"/>
                    <a:pt x="342" y="1876"/>
                    <a:pt x="442" y="2333"/>
                  </a:cubicBezTo>
                  <a:cubicBezTo>
                    <a:pt x="542" y="2795"/>
                    <a:pt x="890" y="3162"/>
                    <a:pt x="1167" y="3230"/>
                  </a:cubicBezTo>
                  <a:cubicBezTo>
                    <a:pt x="1407" y="3290"/>
                    <a:pt x="1493" y="3227"/>
                    <a:pt x="1661" y="3537"/>
                  </a:cubicBezTo>
                  <a:cubicBezTo>
                    <a:pt x="1714" y="3636"/>
                    <a:pt x="1779" y="3821"/>
                    <a:pt x="1862" y="3868"/>
                  </a:cubicBezTo>
                  <a:cubicBezTo>
                    <a:pt x="1975" y="3933"/>
                    <a:pt x="2016" y="3750"/>
                    <a:pt x="2093" y="3761"/>
                  </a:cubicBezTo>
                  <a:cubicBezTo>
                    <a:pt x="2376" y="3802"/>
                    <a:pt x="2709" y="5076"/>
                    <a:pt x="2849" y="5465"/>
                  </a:cubicBezTo>
                  <a:cubicBezTo>
                    <a:pt x="3047" y="6016"/>
                    <a:pt x="3224" y="6646"/>
                    <a:pt x="3486" y="7136"/>
                  </a:cubicBezTo>
                  <a:cubicBezTo>
                    <a:pt x="3986" y="8069"/>
                    <a:pt x="4811" y="7846"/>
                    <a:pt x="5281" y="8699"/>
                  </a:cubicBezTo>
                  <a:cubicBezTo>
                    <a:pt x="5495" y="9086"/>
                    <a:pt x="5679" y="9700"/>
                    <a:pt x="5816" y="10187"/>
                  </a:cubicBezTo>
                  <a:cubicBezTo>
                    <a:pt x="5898" y="10477"/>
                    <a:pt x="6001" y="11436"/>
                    <a:pt x="5634" y="11259"/>
                  </a:cubicBezTo>
                  <a:cubicBezTo>
                    <a:pt x="5575" y="10868"/>
                    <a:pt x="5659" y="10658"/>
                    <a:pt x="5648" y="10261"/>
                  </a:cubicBezTo>
                  <a:cubicBezTo>
                    <a:pt x="5381" y="10208"/>
                    <a:pt x="5359" y="11379"/>
                    <a:pt x="5307" y="11681"/>
                  </a:cubicBezTo>
                  <a:cubicBezTo>
                    <a:pt x="5199" y="12305"/>
                    <a:pt x="5179" y="12992"/>
                    <a:pt x="5471" y="13482"/>
                  </a:cubicBezTo>
                  <a:cubicBezTo>
                    <a:pt x="5599" y="13697"/>
                    <a:pt x="5739" y="13847"/>
                    <a:pt x="5898" y="13993"/>
                  </a:cubicBezTo>
                  <a:cubicBezTo>
                    <a:pt x="6114" y="14192"/>
                    <a:pt x="6274" y="14516"/>
                    <a:pt x="6486" y="14721"/>
                  </a:cubicBezTo>
                  <a:cubicBezTo>
                    <a:pt x="6780" y="15004"/>
                    <a:pt x="6774" y="14736"/>
                    <a:pt x="7014" y="14507"/>
                  </a:cubicBezTo>
                  <a:cubicBezTo>
                    <a:pt x="7189" y="14341"/>
                    <a:pt x="7459" y="14555"/>
                    <a:pt x="7627" y="14674"/>
                  </a:cubicBezTo>
                  <a:cubicBezTo>
                    <a:pt x="7990" y="14932"/>
                    <a:pt x="8122" y="15598"/>
                    <a:pt x="8207" y="16212"/>
                  </a:cubicBezTo>
                  <a:cubicBezTo>
                    <a:pt x="8362" y="17334"/>
                    <a:pt x="8201" y="18318"/>
                    <a:pt x="8037" y="19340"/>
                  </a:cubicBezTo>
                  <a:cubicBezTo>
                    <a:pt x="8186" y="19404"/>
                    <a:pt x="8376" y="19378"/>
                    <a:pt x="8527" y="19366"/>
                  </a:cubicBezTo>
                  <a:close/>
                  <a:moveTo>
                    <a:pt x="8527" y="19366"/>
                  </a:moveTo>
                </a:path>
              </a:pathLst>
            </a:custGeom>
            <a:solidFill>
              <a:srgbClr val="C0C0C0"/>
            </a:solidFill>
            <a:ln w="3175">
              <a:solidFill>
                <a:schemeClr val="bg1">
                  <a:lumMod val="85000"/>
                </a:schemeClr>
              </a:solidFill>
            </a:ln>
          </p:spPr>
          <p:txBody>
            <a:bodyPr lIns="0" tIns="0" rIns="0" bIns="0"/>
            <a:lstStyle/>
            <a:p>
              <a:endParaRPr lang="en-US"/>
            </a:p>
          </p:txBody>
        </p:sp>
        <p:sp>
          <p:nvSpPr>
            <p:cNvPr id="200" name="AutoShape 1146">
              <a:extLst>
                <a:ext uri="{FF2B5EF4-FFF2-40B4-BE49-F238E27FC236}">
                  <a16:creationId xmlns:a16="http://schemas.microsoft.com/office/drawing/2014/main" id="{12AA0E8E-108E-8A4E-A781-2F6A08219916}"/>
                </a:ext>
              </a:extLst>
            </p:cNvPr>
            <p:cNvSpPr>
              <a:spLocks/>
            </p:cNvSpPr>
            <p:nvPr/>
          </p:nvSpPr>
          <p:spPr bwMode="auto">
            <a:xfrm>
              <a:off x="5565440" y="5449599"/>
              <a:ext cx="60378" cy="33293"/>
            </a:xfrm>
            <a:custGeom>
              <a:avLst/>
              <a:gdLst/>
              <a:ahLst/>
              <a:cxnLst/>
              <a:rect l="0" t="0" r="r" b="b"/>
              <a:pathLst>
                <a:path w="20053" h="20941">
                  <a:moveTo>
                    <a:pt x="13889" y="7680"/>
                  </a:moveTo>
                  <a:cubicBezTo>
                    <a:pt x="12838" y="4304"/>
                    <a:pt x="12692" y="297"/>
                    <a:pt x="10175" y="0"/>
                  </a:cubicBezTo>
                  <a:cubicBezTo>
                    <a:pt x="9822" y="5214"/>
                    <a:pt x="9191" y="8736"/>
                    <a:pt x="6181" y="9098"/>
                  </a:cubicBezTo>
                  <a:cubicBezTo>
                    <a:pt x="4198" y="9336"/>
                    <a:pt x="-758" y="9345"/>
                    <a:pt x="98" y="15734"/>
                  </a:cubicBezTo>
                  <a:cubicBezTo>
                    <a:pt x="2729" y="17242"/>
                    <a:pt x="5775" y="13443"/>
                    <a:pt x="8052" y="16844"/>
                  </a:cubicBezTo>
                  <a:cubicBezTo>
                    <a:pt x="9031" y="18305"/>
                    <a:pt x="8944" y="19823"/>
                    <a:pt x="10522" y="20371"/>
                  </a:cubicBezTo>
                  <a:cubicBezTo>
                    <a:pt x="12390" y="21017"/>
                    <a:pt x="17570" y="21600"/>
                    <a:pt x="19123" y="19227"/>
                  </a:cubicBezTo>
                  <a:cubicBezTo>
                    <a:pt x="20842" y="16596"/>
                    <a:pt x="19911" y="13050"/>
                    <a:pt x="18486" y="11908"/>
                  </a:cubicBezTo>
                  <a:cubicBezTo>
                    <a:pt x="16706" y="10481"/>
                    <a:pt x="15048" y="11400"/>
                    <a:pt x="13889" y="7680"/>
                  </a:cubicBezTo>
                  <a:close/>
                  <a:moveTo>
                    <a:pt x="13889" y="7680"/>
                  </a:moveTo>
                </a:path>
              </a:pathLst>
            </a:custGeom>
            <a:solidFill>
              <a:srgbClr val="C0C0C0"/>
            </a:solidFill>
            <a:ln w="3175">
              <a:solidFill>
                <a:schemeClr val="bg1">
                  <a:lumMod val="85000"/>
                </a:schemeClr>
              </a:solidFill>
            </a:ln>
          </p:spPr>
          <p:txBody>
            <a:bodyPr lIns="0" tIns="0" rIns="0" bIns="0"/>
            <a:lstStyle/>
            <a:p>
              <a:endParaRPr lang="en-US"/>
            </a:p>
          </p:txBody>
        </p:sp>
        <p:sp>
          <p:nvSpPr>
            <p:cNvPr id="201" name="AutoShape 1147">
              <a:extLst>
                <a:ext uri="{FF2B5EF4-FFF2-40B4-BE49-F238E27FC236}">
                  <a16:creationId xmlns:a16="http://schemas.microsoft.com/office/drawing/2014/main" id="{C71EBECB-5977-BB48-84DC-96588D91E480}"/>
                </a:ext>
              </a:extLst>
            </p:cNvPr>
            <p:cNvSpPr>
              <a:spLocks/>
            </p:cNvSpPr>
            <p:nvPr/>
          </p:nvSpPr>
          <p:spPr bwMode="auto">
            <a:xfrm>
              <a:off x="5646697" y="5467657"/>
              <a:ext cx="122733" cy="75615"/>
            </a:xfrm>
            <a:custGeom>
              <a:avLst/>
              <a:gdLst/>
              <a:ahLst/>
              <a:cxnLst/>
              <a:rect l="0" t="0" r="r" b="b"/>
              <a:pathLst>
                <a:path w="20786" h="20280">
                  <a:moveTo>
                    <a:pt x="11349" y="919"/>
                  </a:moveTo>
                  <a:cubicBezTo>
                    <a:pt x="10509" y="1368"/>
                    <a:pt x="9939" y="1220"/>
                    <a:pt x="9073" y="1409"/>
                  </a:cubicBezTo>
                  <a:cubicBezTo>
                    <a:pt x="7633" y="1725"/>
                    <a:pt x="7770" y="3455"/>
                    <a:pt x="6747" y="4730"/>
                  </a:cubicBezTo>
                  <a:cubicBezTo>
                    <a:pt x="4793" y="7164"/>
                    <a:pt x="2050" y="1159"/>
                    <a:pt x="301" y="4848"/>
                  </a:cubicBezTo>
                  <a:cubicBezTo>
                    <a:pt x="-724" y="7009"/>
                    <a:pt x="1136" y="7190"/>
                    <a:pt x="1872" y="8192"/>
                  </a:cubicBezTo>
                  <a:cubicBezTo>
                    <a:pt x="2689" y="9303"/>
                    <a:pt x="2580" y="10740"/>
                    <a:pt x="3576" y="11664"/>
                  </a:cubicBezTo>
                  <a:cubicBezTo>
                    <a:pt x="5514" y="13460"/>
                    <a:pt x="5956" y="18436"/>
                    <a:pt x="8249" y="19773"/>
                  </a:cubicBezTo>
                  <a:cubicBezTo>
                    <a:pt x="10507" y="21090"/>
                    <a:pt x="12742" y="19687"/>
                    <a:pt x="14376" y="17357"/>
                  </a:cubicBezTo>
                  <a:cubicBezTo>
                    <a:pt x="15956" y="15104"/>
                    <a:pt x="17784" y="14696"/>
                    <a:pt x="19792" y="13930"/>
                  </a:cubicBezTo>
                  <a:cubicBezTo>
                    <a:pt x="20740" y="13568"/>
                    <a:pt x="20876" y="12964"/>
                    <a:pt x="20743" y="11360"/>
                  </a:cubicBezTo>
                  <a:cubicBezTo>
                    <a:pt x="20660" y="10364"/>
                    <a:pt x="20405" y="8780"/>
                    <a:pt x="19866" y="8310"/>
                  </a:cubicBezTo>
                  <a:cubicBezTo>
                    <a:pt x="18995" y="7550"/>
                    <a:pt x="18341" y="8882"/>
                    <a:pt x="17597" y="8915"/>
                  </a:cubicBezTo>
                  <a:cubicBezTo>
                    <a:pt x="16209" y="8977"/>
                    <a:pt x="15793" y="6573"/>
                    <a:pt x="15870" y="4825"/>
                  </a:cubicBezTo>
                  <a:cubicBezTo>
                    <a:pt x="15931" y="3430"/>
                    <a:pt x="16375" y="1292"/>
                    <a:pt x="15407" y="346"/>
                  </a:cubicBezTo>
                  <a:cubicBezTo>
                    <a:pt x="14531" y="-510"/>
                    <a:pt x="12257" y="434"/>
                    <a:pt x="11349" y="919"/>
                  </a:cubicBezTo>
                  <a:close/>
                  <a:moveTo>
                    <a:pt x="11349" y="919"/>
                  </a:moveTo>
                </a:path>
              </a:pathLst>
            </a:custGeom>
            <a:solidFill>
              <a:srgbClr val="C0C0C0"/>
            </a:solidFill>
            <a:ln w="3175">
              <a:solidFill>
                <a:schemeClr val="bg1">
                  <a:lumMod val="85000"/>
                </a:schemeClr>
              </a:solidFill>
            </a:ln>
          </p:spPr>
          <p:txBody>
            <a:bodyPr lIns="0" tIns="0" rIns="0" bIns="0"/>
            <a:lstStyle/>
            <a:p>
              <a:endParaRPr lang="en-US"/>
            </a:p>
          </p:txBody>
        </p:sp>
        <p:sp>
          <p:nvSpPr>
            <p:cNvPr id="202" name="AutoShape 1148">
              <a:extLst>
                <a:ext uri="{FF2B5EF4-FFF2-40B4-BE49-F238E27FC236}">
                  <a16:creationId xmlns:a16="http://schemas.microsoft.com/office/drawing/2014/main" id="{7E2B0297-DF9D-B54F-BF65-3283B0E70909}"/>
                </a:ext>
              </a:extLst>
            </p:cNvPr>
            <p:cNvSpPr>
              <a:spLocks/>
            </p:cNvSpPr>
            <p:nvPr/>
          </p:nvSpPr>
          <p:spPr bwMode="auto">
            <a:xfrm>
              <a:off x="5786640" y="5449599"/>
              <a:ext cx="168722" cy="59814"/>
            </a:xfrm>
            <a:custGeom>
              <a:avLst/>
              <a:gdLst/>
              <a:ahLst/>
              <a:cxnLst/>
              <a:rect l="0" t="0" r="r" b="b"/>
              <a:pathLst>
                <a:path w="21326" h="20414">
                  <a:moveTo>
                    <a:pt x="9383" y="2770"/>
                  </a:moveTo>
                  <a:cubicBezTo>
                    <a:pt x="8312" y="2449"/>
                    <a:pt x="7268" y="3985"/>
                    <a:pt x="6151" y="3545"/>
                  </a:cubicBezTo>
                  <a:cubicBezTo>
                    <a:pt x="5478" y="3281"/>
                    <a:pt x="5378" y="2257"/>
                    <a:pt x="4863" y="1611"/>
                  </a:cubicBezTo>
                  <a:cubicBezTo>
                    <a:pt x="4312" y="918"/>
                    <a:pt x="3731" y="1505"/>
                    <a:pt x="3162" y="1236"/>
                  </a:cubicBezTo>
                  <a:cubicBezTo>
                    <a:pt x="2322" y="839"/>
                    <a:pt x="1533" y="-859"/>
                    <a:pt x="617" y="550"/>
                  </a:cubicBezTo>
                  <a:cubicBezTo>
                    <a:pt x="231" y="1142"/>
                    <a:pt x="-91" y="2261"/>
                    <a:pt x="24" y="3567"/>
                  </a:cubicBezTo>
                  <a:cubicBezTo>
                    <a:pt x="174" y="5269"/>
                    <a:pt x="907" y="5309"/>
                    <a:pt x="1519" y="5894"/>
                  </a:cubicBezTo>
                  <a:cubicBezTo>
                    <a:pt x="2061" y="6412"/>
                    <a:pt x="2638" y="6833"/>
                    <a:pt x="2805" y="8139"/>
                  </a:cubicBezTo>
                  <a:cubicBezTo>
                    <a:pt x="2982" y="9531"/>
                    <a:pt x="2665" y="10433"/>
                    <a:pt x="2500" y="11588"/>
                  </a:cubicBezTo>
                  <a:cubicBezTo>
                    <a:pt x="1734" y="16962"/>
                    <a:pt x="4438" y="19008"/>
                    <a:pt x="5995" y="19798"/>
                  </a:cubicBezTo>
                  <a:cubicBezTo>
                    <a:pt x="7850" y="20741"/>
                    <a:pt x="9857" y="20715"/>
                    <a:pt x="11574" y="18916"/>
                  </a:cubicBezTo>
                  <a:cubicBezTo>
                    <a:pt x="13674" y="16716"/>
                    <a:pt x="15983" y="15885"/>
                    <a:pt x="18214" y="14890"/>
                  </a:cubicBezTo>
                  <a:cubicBezTo>
                    <a:pt x="19852" y="14159"/>
                    <a:pt x="20942" y="13318"/>
                    <a:pt x="21281" y="8335"/>
                  </a:cubicBezTo>
                  <a:cubicBezTo>
                    <a:pt x="21509" y="4968"/>
                    <a:pt x="20858" y="5824"/>
                    <a:pt x="19995" y="5453"/>
                  </a:cubicBezTo>
                  <a:cubicBezTo>
                    <a:pt x="19270" y="5142"/>
                    <a:pt x="18805" y="3168"/>
                    <a:pt x="17998" y="3720"/>
                  </a:cubicBezTo>
                  <a:cubicBezTo>
                    <a:pt x="16598" y="4678"/>
                    <a:pt x="17083" y="9217"/>
                    <a:pt x="15986" y="10054"/>
                  </a:cubicBezTo>
                  <a:cubicBezTo>
                    <a:pt x="14974" y="10825"/>
                    <a:pt x="13643" y="10383"/>
                    <a:pt x="12730" y="8994"/>
                  </a:cubicBezTo>
                  <a:cubicBezTo>
                    <a:pt x="11577" y="7240"/>
                    <a:pt x="10849" y="3210"/>
                    <a:pt x="9383" y="2770"/>
                  </a:cubicBezTo>
                  <a:close/>
                  <a:moveTo>
                    <a:pt x="9383" y="2770"/>
                  </a:moveTo>
                </a:path>
              </a:pathLst>
            </a:custGeom>
            <a:solidFill>
              <a:srgbClr val="C0C0C0"/>
            </a:solidFill>
            <a:ln w="3175">
              <a:solidFill>
                <a:schemeClr val="bg1">
                  <a:lumMod val="85000"/>
                </a:schemeClr>
              </a:solidFill>
            </a:ln>
          </p:spPr>
          <p:txBody>
            <a:bodyPr lIns="0" tIns="0" rIns="0" bIns="0"/>
            <a:lstStyle/>
            <a:p>
              <a:endParaRPr lang="en-US"/>
            </a:p>
          </p:txBody>
        </p:sp>
        <p:sp>
          <p:nvSpPr>
            <p:cNvPr id="203" name="AutoShape 1149">
              <a:extLst>
                <a:ext uri="{FF2B5EF4-FFF2-40B4-BE49-F238E27FC236}">
                  <a16:creationId xmlns:a16="http://schemas.microsoft.com/office/drawing/2014/main" id="{061B8DDA-6B1F-9F44-921C-D74C37C976AD}"/>
                </a:ext>
              </a:extLst>
            </p:cNvPr>
            <p:cNvSpPr>
              <a:spLocks/>
            </p:cNvSpPr>
            <p:nvPr/>
          </p:nvSpPr>
          <p:spPr bwMode="auto">
            <a:xfrm>
              <a:off x="5477411" y="4925941"/>
              <a:ext cx="514348" cy="374969"/>
            </a:xfrm>
            <a:custGeom>
              <a:avLst/>
              <a:gdLst/>
              <a:ahLst/>
              <a:cxnLst/>
              <a:rect l="0" t="0" r="r" b="b"/>
              <a:pathLst>
                <a:path w="21499" h="21409">
                  <a:moveTo>
                    <a:pt x="21473" y="14690"/>
                  </a:moveTo>
                  <a:cubicBezTo>
                    <a:pt x="21452" y="11944"/>
                    <a:pt x="21431" y="9198"/>
                    <a:pt x="21410" y="6453"/>
                  </a:cubicBezTo>
                  <a:lnTo>
                    <a:pt x="20815" y="6148"/>
                  </a:lnTo>
                  <a:cubicBezTo>
                    <a:pt x="20588" y="7003"/>
                    <a:pt x="19875" y="6356"/>
                    <a:pt x="19524" y="5991"/>
                  </a:cubicBezTo>
                  <a:cubicBezTo>
                    <a:pt x="18527" y="4955"/>
                    <a:pt x="17221" y="4561"/>
                    <a:pt x="16059" y="4040"/>
                  </a:cubicBezTo>
                  <a:cubicBezTo>
                    <a:pt x="15757" y="3904"/>
                    <a:pt x="15455" y="3683"/>
                    <a:pt x="15188" y="3461"/>
                  </a:cubicBezTo>
                  <a:cubicBezTo>
                    <a:pt x="14840" y="3172"/>
                    <a:pt x="14665" y="2663"/>
                    <a:pt x="14330" y="2340"/>
                  </a:cubicBezTo>
                  <a:cubicBezTo>
                    <a:pt x="14224" y="2239"/>
                    <a:pt x="14106" y="2102"/>
                    <a:pt x="13958" y="2073"/>
                  </a:cubicBezTo>
                  <a:cubicBezTo>
                    <a:pt x="13774" y="2038"/>
                    <a:pt x="13748" y="2187"/>
                    <a:pt x="13582" y="2203"/>
                  </a:cubicBezTo>
                  <a:cubicBezTo>
                    <a:pt x="13249" y="2234"/>
                    <a:pt x="13181" y="1794"/>
                    <a:pt x="12921" y="1610"/>
                  </a:cubicBezTo>
                  <a:cubicBezTo>
                    <a:pt x="12462" y="1285"/>
                    <a:pt x="11822" y="1406"/>
                    <a:pt x="11347" y="1087"/>
                  </a:cubicBezTo>
                  <a:cubicBezTo>
                    <a:pt x="10913" y="795"/>
                    <a:pt x="10580" y="97"/>
                    <a:pt x="10094" y="13"/>
                  </a:cubicBezTo>
                  <a:cubicBezTo>
                    <a:pt x="8919" y="-191"/>
                    <a:pt x="8761" y="2212"/>
                    <a:pt x="7797" y="2641"/>
                  </a:cubicBezTo>
                  <a:cubicBezTo>
                    <a:pt x="7441" y="2800"/>
                    <a:pt x="7296" y="2423"/>
                    <a:pt x="6982" y="2415"/>
                  </a:cubicBezTo>
                  <a:cubicBezTo>
                    <a:pt x="6775" y="2409"/>
                    <a:pt x="6798" y="2595"/>
                    <a:pt x="6669" y="2707"/>
                  </a:cubicBezTo>
                  <a:cubicBezTo>
                    <a:pt x="6497" y="2855"/>
                    <a:pt x="6410" y="2847"/>
                    <a:pt x="6196" y="2846"/>
                  </a:cubicBezTo>
                  <a:cubicBezTo>
                    <a:pt x="5758" y="2844"/>
                    <a:pt x="5677" y="2978"/>
                    <a:pt x="5905" y="3457"/>
                  </a:cubicBezTo>
                  <a:cubicBezTo>
                    <a:pt x="6037" y="3736"/>
                    <a:pt x="6227" y="3981"/>
                    <a:pt x="6298" y="4306"/>
                  </a:cubicBezTo>
                  <a:cubicBezTo>
                    <a:pt x="6342" y="4509"/>
                    <a:pt x="6399" y="5307"/>
                    <a:pt x="6321" y="5509"/>
                  </a:cubicBezTo>
                  <a:cubicBezTo>
                    <a:pt x="6014" y="6305"/>
                    <a:pt x="5283" y="4457"/>
                    <a:pt x="5102" y="4208"/>
                  </a:cubicBezTo>
                  <a:cubicBezTo>
                    <a:pt x="4437" y="3294"/>
                    <a:pt x="3288" y="3581"/>
                    <a:pt x="2485" y="3836"/>
                  </a:cubicBezTo>
                  <a:cubicBezTo>
                    <a:pt x="1995" y="3991"/>
                    <a:pt x="1525" y="4272"/>
                    <a:pt x="1002" y="4306"/>
                  </a:cubicBezTo>
                  <a:cubicBezTo>
                    <a:pt x="772" y="4321"/>
                    <a:pt x="481" y="4353"/>
                    <a:pt x="254" y="4274"/>
                  </a:cubicBezTo>
                  <a:cubicBezTo>
                    <a:pt x="173" y="4678"/>
                    <a:pt x="92" y="5087"/>
                    <a:pt x="26" y="5508"/>
                  </a:cubicBezTo>
                  <a:cubicBezTo>
                    <a:pt x="-92" y="6266"/>
                    <a:pt x="212" y="6415"/>
                    <a:pt x="575" y="6914"/>
                  </a:cubicBezTo>
                  <a:cubicBezTo>
                    <a:pt x="965" y="7450"/>
                    <a:pt x="908" y="8041"/>
                    <a:pt x="734" y="8716"/>
                  </a:cubicBezTo>
                  <a:cubicBezTo>
                    <a:pt x="584" y="9295"/>
                    <a:pt x="357" y="9911"/>
                    <a:pt x="503" y="10543"/>
                  </a:cubicBezTo>
                  <a:cubicBezTo>
                    <a:pt x="661" y="11228"/>
                    <a:pt x="972" y="11673"/>
                    <a:pt x="796" y="12464"/>
                  </a:cubicBezTo>
                  <a:cubicBezTo>
                    <a:pt x="699" y="12898"/>
                    <a:pt x="582" y="13300"/>
                    <a:pt x="450" y="13710"/>
                  </a:cubicBezTo>
                  <a:cubicBezTo>
                    <a:pt x="275" y="14251"/>
                    <a:pt x="-73" y="15298"/>
                    <a:pt x="324" y="15760"/>
                  </a:cubicBezTo>
                  <a:cubicBezTo>
                    <a:pt x="752" y="16258"/>
                    <a:pt x="1475" y="15921"/>
                    <a:pt x="1949" y="16283"/>
                  </a:cubicBezTo>
                  <a:cubicBezTo>
                    <a:pt x="2549" y="16740"/>
                    <a:pt x="2829" y="17801"/>
                    <a:pt x="3058" y="18648"/>
                  </a:cubicBezTo>
                  <a:cubicBezTo>
                    <a:pt x="3266" y="19414"/>
                    <a:pt x="3542" y="19304"/>
                    <a:pt x="4015" y="19119"/>
                  </a:cubicBezTo>
                  <a:cubicBezTo>
                    <a:pt x="4708" y="18848"/>
                    <a:pt x="5474" y="18646"/>
                    <a:pt x="6195" y="18646"/>
                  </a:cubicBezTo>
                  <a:cubicBezTo>
                    <a:pt x="6899" y="18646"/>
                    <a:pt x="7603" y="18636"/>
                    <a:pt x="8307" y="18646"/>
                  </a:cubicBezTo>
                  <a:cubicBezTo>
                    <a:pt x="9035" y="18657"/>
                    <a:pt x="9762" y="18768"/>
                    <a:pt x="10482" y="18860"/>
                  </a:cubicBezTo>
                  <a:cubicBezTo>
                    <a:pt x="11315" y="18966"/>
                    <a:pt x="11986" y="19300"/>
                    <a:pt x="12740" y="19817"/>
                  </a:cubicBezTo>
                  <a:cubicBezTo>
                    <a:pt x="13274" y="20182"/>
                    <a:pt x="13743" y="20767"/>
                    <a:pt x="14353" y="20406"/>
                  </a:cubicBezTo>
                  <a:cubicBezTo>
                    <a:pt x="14627" y="20244"/>
                    <a:pt x="14821" y="19907"/>
                    <a:pt x="15146" y="19975"/>
                  </a:cubicBezTo>
                  <a:cubicBezTo>
                    <a:pt x="15555" y="20061"/>
                    <a:pt x="15740" y="20693"/>
                    <a:pt x="16137" y="20796"/>
                  </a:cubicBezTo>
                  <a:cubicBezTo>
                    <a:pt x="16827" y="20976"/>
                    <a:pt x="17328" y="20276"/>
                    <a:pt x="18006" y="20278"/>
                  </a:cubicBezTo>
                  <a:cubicBezTo>
                    <a:pt x="18668" y="20280"/>
                    <a:pt x="19146" y="20419"/>
                    <a:pt x="19711" y="20878"/>
                  </a:cubicBezTo>
                  <a:cubicBezTo>
                    <a:pt x="19926" y="21052"/>
                    <a:pt x="20126" y="21254"/>
                    <a:pt x="20368" y="21348"/>
                  </a:cubicBezTo>
                  <a:cubicBezTo>
                    <a:pt x="20438" y="21376"/>
                    <a:pt x="20502" y="21393"/>
                    <a:pt x="20561" y="21409"/>
                  </a:cubicBezTo>
                  <a:cubicBezTo>
                    <a:pt x="21109" y="20442"/>
                    <a:pt x="21508" y="19212"/>
                    <a:pt x="21499" y="18103"/>
                  </a:cubicBezTo>
                  <a:cubicBezTo>
                    <a:pt x="21491" y="16965"/>
                    <a:pt x="21482" y="15827"/>
                    <a:pt x="21473" y="14690"/>
                  </a:cubicBezTo>
                  <a:close/>
                  <a:moveTo>
                    <a:pt x="21473" y="14690"/>
                  </a:moveTo>
                </a:path>
              </a:pathLst>
            </a:custGeom>
            <a:solidFill>
              <a:srgbClr val="C0C0C0"/>
            </a:solidFill>
            <a:ln w="3175">
              <a:solidFill>
                <a:schemeClr val="bg1">
                  <a:lumMod val="85000"/>
                </a:schemeClr>
              </a:solidFill>
            </a:ln>
          </p:spPr>
          <p:txBody>
            <a:bodyPr lIns="0" tIns="0" rIns="0" bIns="0"/>
            <a:lstStyle/>
            <a:p>
              <a:endParaRPr lang="en-US"/>
            </a:p>
          </p:txBody>
        </p:sp>
        <p:sp>
          <p:nvSpPr>
            <p:cNvPr id="204" name="AutoShape 1181">
              <a:extLst>
                <a:ext uri="{FF2B5EF4-FFF2-40B4-BE49-F238E27FC236}">
                  <a16:creationId xmlns:a16="http://schemas.microsoft.com/office/drawing/2014/main" id="{5F1E352B-54EA-2A4A-B159-1EAF65496F7E}"/>
                </a:ext>
              </a:extLst>
            </p:cNvPr>
            <p:cNvSpPr>
              <a:spLocks/>
            </p:cNvSpPr>
            <p:nvPr/>
          </p:nvSpPr>
          <p:spPr bwMode="auto">
            <a:xfrm>
              <a:off x="5673783" y="4580597"/>
              <a:ext cx="1083432" cy="499677"/>
            </a:xfrm>
            <a:custGeom>
              <a:avLst/>
              <a:gdLst/>
              <a:ahLst/>
              <a:cxnLst/>
              <a:rect l="0" t="0" r="r" b="b"/>
              <a:pathLst>
                <a:path w="21591" h="21578">
                  <a:moveTo>
                    <a:pt x="6774" y="19987"/>
                  </a:moveTo>
                  <a:cubicBezTo>
                    <a:pt x="6827" y="20201"/>
                    <a:pt x="6803" y="20237"/>
                    <a:pt x="6946" y="20278"/>
                  </a:cubicBezTo>
                  <a:cubicBezTo>
                    <a:pt x="7097" y="20322"/>
                    <a:pt x="7331" y="20133"/>
                    <a:pt x="7463" y="20258"/>
                  </a:cubicBezTo>
                  <a:cubicBezTo>
                    <a:pt x="7553" y="20343"/>
                    <a:pt x="7539" y="20510"/>
                    <a:pt x="7658" y="20538"/>
                  </a:cubicBezTo>
                  <a:cubicBezTo>
                    <a:pt x="7742" y="20558"/>
                    <a:pt x="7842" y="20433"/>
                    <a:pt x="7899" y="20570"/>
                  </a:cubicBezTo>
                  <a:cubicBezTo>
                    <a:pt x="7973" y="20754"/>
                    <a:pt x="7819" y="21600"/>
                    <a:pt x="8033" y="21513"/>
                  </a:cubicBezTo>
                  <a:lnTo>
                    <a:pt x="10252" y="21578"/>
                  </a:lnTo>
                  <a:lnTo>
                    <a:pt x="10387" y="21513"/>
                  </a:lnTo>
                  <a:lnTo>
                    <a:pt x="10432" y="21480"/>
                  </a:lnTo>
                  <a:lnTo>
                    <a:pt x="10567" y="21350"/>
                  </a:lnTo>
                  <a:cubicBezTo>
                    <a:pt x="11117" y="21347"/>
                    <a:pt x="11668" y="21344"/>
                    <a:pt x="12218" y="21340"/>
                  </a:cubicBezTo>
                  <a:cubicBezTo>
                    <a:pt x="13432" y="21333"/>
                    <a:pt x="14645" y="21325"/>
                    <a:pt x="15858" y="21318"/>
                  </a:cubicBezTo>
                  <a:cubicBezTo>
                    <a:pt x="17078" y="21311"/>
                    <a:pt x="18298" y="21303"/>
                    <a:pt x="19517" y="21296"/>
                  </a:cubicBezTo>
                  <a:cubicBezTo>
                    <a:pt x="19893" y="21293"/>
                    <a:pt x="20269" y="21291"/>
                    <a:pt x="20645" y="21289"/>
                  </a:cubicBezTo>
                  <a:cubicBezTo>
                    <a:pt x="20765" y="21288"/>
                    <a:pt x="20885" y="21283"/>
                    <a:pt x="21005" y="21287"/>
                  </a:cubicBezTo>
                  <a:cubicBezTo>
                    <a:pt x="21218" y="21293"/>
                    <a:pt x="21417" y="21491"/>
                    <a:pt x="21407" y="20831"/>
                  </a:cubicBezTo>
                  <a:cubicBezTo>
                    <a:pt x="21407" y="19733"/>
                    <a:pt x="21407" y="18635"/>
                    <a:pt x="21407" y="17537"/>
                  </a:cubicBezTo>
                  <a:cubicBezTo>
                    <a:pt x="21407" y="17149"/>
                    <a:pt x="21407" y="16761"/>
                    <a:pt x="21407" y="16373"/>
                  </a:cubicBezTo>
                  <a:cubicBezTo>
                    <a:pt x="21407" y="16237"/>
                    <a:pt x="21408" y="16101"/>
                    <a:pt x="21407" y="15966"/>
                  </a:cubicBezTo>
                  <a:cubicBezTo>
                    <a:pt x="21405" y="15776"/>
                    <a:pt x="21337" y="15520"/>
                    <a:pt x="21386" y="15341"/>
                  </a:cubicBezTo>
                  <a:cubicBezTo>
                    <a:pt x="21418" y="15223"/>
                    <a:pt x="21532" y="15259"/>
                    <a:pt x="21527" y="15098"/>
                  </a:cubicBezTo>
                  <a:lnTo>
                    <a:pt x="21542" y="14984"/>
                  </a:lnTo>
                  <a:cubicBezTo>
                    <a:pt x="21538" y="14337"/>
                    <a:pt x="21535" y="13689"/>
                    <a:pt x="21532" y="13041"/>
                  </a:cubicBezTo>
                  <a:cubicBezTo>
                    <a:pt x="21524" y="11644"/>
                    <a:pt x="21517" y="10247"/>
                    <a:pt x="21510" y="8850"/>
                  </a:cubicBezTo>
                  <a:cubicBezTo>
                    <a:pt x="21503" y="7524"/>
                    <a:pt x="21496" y="6197"/>
                    <a:pt x="21489" y="4870"/>
                  </a:cubicBezTo>
                  <a:cubicBezTo>
                    <a:pt x="21488" y="4612"/>
                    <a:pt x="21486" y="4353"/>
                    <a:pt x="21485" y="4095"/>
                  </a:cubicBezTo>
                  <a:cubicBezTo>
                    <a:pt x="21485" y="4005"/>
                    <a:pt x="21489" y="3908"/>
                    <a:pt x="21484" y="3819"/>
                  </a:cubicBezTo>
                  <a:cubicBezTo>
                    <a:pt x="21473" y="3631"/>
                    <a:pt x="21349" y="3305"/>
                    <a:pt x="21459" y="3174"/>
                  </a:cubicBezTo>
                  <a:cubicBezTo>
                    <a:pt x="21491" y="3135"/>
                    <a:pt x="21553" y="3183"/>
                    <a:pt x="21578" y="3114"/>
                  </a:cubicBezTo>
                  <a:cubicBezTo>
                    <a:pt x="21600" y="3055"/>
                    <a:pt x="21591" y="2866"/>
                    <a:pt x="21580" y="2802"/>
                  </a:cubicBezTo>
                  <a:cubicBezTo>
                    <a:pt x="21482" y="2209"/>
                    <a:pt x="21274" y="3048"/>
                    <a:pt x="21184" y="2622"/>
                  </a:cubicBezTo>
                  <a:cubicBezTo>
                    <a:pt x="21164" y="2528"/>
                    <a:pt x="21168" y="2191"/>
                    <a:pt x="21195" y="2102"/>
                  </a:cubicBezTo>
                  <a:cubicBezTo>
                    <a:pt x="21233" y="1982"/>
                    <a:pt x="21328" y="2009"/>
                    <a:pt x="21384" y="1928"/>
                  </a:cubicBezTo>
                  <a:cubicBezTo>
                    <a:pt x="21459" y="1820"/>
                    <a:pt x="21452" y="1626"/>
                    <a:pt x="21452" y="1441"/>
                  </a:cubicBezTo>
                  <a:cubicBezTo>
                    <a:pt x="21452" y="970"/>
                    <a:pt x="21424" y="495"/>
                    <a:pt x="21380" y="33"/>
                  </a:cubicBezTo>
                  <a:lnTo>
                    <a:pt x="18155" y="32"/>
                  </a:lnTo>
                  <a:lnTo>
                    <a:pt x="18155" y="0"/>
                  </a:lnTo>
                  <a:cubicBezTo>
                    <a:pt x="17696" y="56"/>
                    <a:pt x="17228" y="5"/>
                    <a:pt x="16768" y="9"/>
                  </a:cubicBezTo>
                  <a:cubicBezTo>
                    <a:pt x="15944" y="16"/>
                    <a:pt x="15120" y="24"/>
                    <a:pt x="14296" y="31"/>
                  </a:cubicBezTo>
                  <a:cubicBezTo>
                    <a:pt x="13316" y="40"/>
                    <a:pt x="12336" y="49"/>
                    <a:pt x="11356" y="57"/>
                  </a:cubicBezTo>
                  <a:cubicBezTo>
                    <a:pt x="10415" y="66"/>
                    <a:pt x="9474" y="74"/>
                    <a:pt x="8533" y="82"/>
                  </a:cubicBezTo>
                  <a:cubicBezTo>
                    <a:pt x="7826" y="89"/>
                    <a:pt x="7118" y="95"/>
                    <a:pt x="6411" y="101"/>
                  </a:cubicBezTo>
                  <a:cubicBezTo>
                    <a:pt x="6132" y="104"/>
                    <a:pt x="5853" y="106"/>
                    <a:pt x="5574" y="109"/>
                  </a:cubicBezTo>
                  <a:lnTo>
                    <a:pt x="0" y="109"/>
                  </a:lnTo>
                  <a:lnTo>
                    <a:pt x="0" y="3819"/>
                  </a:lnTo>
                  <a:lnTo>
                    <a:pt x="967" y="3819"/>
                  </a:lnTo>
                  <a:cubicBezTo>
                    <a:pt x="967" y="4146"/>
                    <a:pt x="967" y="4473"/>
                    <a:pt x="967" y="4799"/>
                  </a:cubicBezTo>
                  <a:cubicBezTo>
                    <a:pt x="967" y="5023"/>
                    <a:pt x="969" y="5248"/>
                    <a:pt x="967" y="5472"/>
                  </a:cubicBezTo>
                  <a:cubicBezTo>
                    <a:pt x="967" y="5557"/>
                    <a:pt x="953" y="5678"/>
                    <a:pt x="981" y="5747"/>
                  </a:cubicBezTo>
                  <a:cubicBezTo>
                    <a:pt x="1020" y="5841"/>
                    <a:pt x="1071" y="5761"/>
                    <a:pt x="1098" y="5919"/>
                  </a:cubicBezTo>
                  <a:cubicBezTo>
                    <a:pt x="1110" y="5991"/>
                    <a:pt x="1103" y="6061"/>
                    <a:pt x="1134" y="6118"/>
                  </a:cubicBezTo>
                  <a:cubicBezTo>
                    <a:pt x="1170" y="6183"/>
                    <a:pt x="1213" y="6114"/>
                    <a:pt x="1248" y="6137"/>
                  </a:cubicBezTo>
                  <a:cubicBezTo>
                    <a:pt x="1334" y="6192"/>
                    <a:pt x="1300" y="6455"/>
                    <a:pt x="1316" y="6621"/>
                  </a:cubicBezTo>
                  <a:cubicBezTo>
                    <a:pt x="1325" y="6715"/>
                    <a:pt x="1326" y="6743"/>
                    <a:pt x="1364" y="6799"/>
                  </a:cubicBezTo>
                  <a:cubicBezTo>
                    <a:pt x="1411" y="6867"/>
                    <a:pt x="1469" y="6803"/>
                    <a:pt x="1511" y="6860"/>
                  </a:cubicBezTo>
                  <a:cubicBezTo>
                    <a:pt x="1594" y="6973"/>
                    <a:pt x="1562" y="7352"/>
                    <a:pt x="1608" y="7526"/>
                  </a:cubicBezTo>
                  <a:cubicBezTo>
                    <a:pt x="1648" y="7678"/>
                    <a:pt x="1697" y="7741"/>
                    <a:pt x="1766" y="7823"/>
                  </a:cubicBezTo>
                  <a:cubicBezTo>
                    <a:pt x="1890" y="7970"/>
                    <a:pt x="2058" y="7926"/>
                    <a:pt x="2200" y="7888"/>
                  </a:cubicBezTo>
                  <a:cubicBezTo>
                    <a:pt x="2373" y="7841"/>
                    <a:pt x="2537" y="7716"/>
                    <a:pt x="2596" y="8195"/>
                  </a:cubicBezTo>
                  <a:cubicBezTo>
                    <a:pt x="2638" y="8532"/>
                    <a:pt x="2582" y="8914"/>
                    <a:pt x="2605" y="9251"/>
                  </a:cubicBezTo>
                  <a:cubicBezTo>
                    <a:pt x="2616" y="9409"/>
                    <a:pt x="2627" y="9642"/>
                    <a:pt x="2704" y="9703"/>
                  </a:cubicBezTo>
                  <a:cubicBezTo>
                    <a:pt x="2763" y="9749"/>
                    <a:pt x="2871" y="9709"/>
                    <a:pt x="2933" y="9703"/>
                  </a:cubicBezTo>
                  <a:cubicBezTo>
                    <a:pt x="3176" y="9677"/>
                    <a:pt x="3178" y="10150"/>
                    <a:pt x="3159" y="10566"/>
                  </a:cubicBezTo>
                  <a:cubicBezTo>
                    <a:pt x="3138" y="11053"/>
                    <a:pt x="3092" y="11702"/>
                    <a:pt x="3356" y="11881"/>
                  </a:cubicBezTo>
                  <a:cubicBezTo>
                    <a:pt x="3574" y="12028"/>
                    <a:pt x="3838" y="11881"/>
                    <a:pt x="4056" y="11809"/>
                  </a:cubicBezTo>
                  <a:cubicBezTo>
                    <a:pt x="4192" y="11763"/>
                    <a:pt x="4301" y="11712"/>
                    <a:pt x="4345" y="12061"/>
                  </a:cubicBezTo>
                  <a:cubicBezTo>
                    <a:pt x="4382" y="12351"/>
                    <a:pt x="4345" y="12766"/>
                    <a:pt x="4344" y="13066"/>
                  </a:cubicBezTo>
                  <a:cubicBezTo>
                    <a:pt x="4344" y="13494"/>
                    <a:pt x="4398" y="13469"/>
                    <a:pt x="4585" y="13490"/>
                  </a:cubicBezTo>
                  <a:cubicBezTo>
                    <a:pt x="4725" y="13506"/>
                    <a:pt x="4862" y="13458"/>
                    <a:pt x="5005" y="13458"/>
                  </a:cubicBezTo>
                  <a:cubicBezTo>
                    <a:pt x="5443" y="13458"/>
                    <a:pt x="5220" y="14119"/>
                    <a:pt x="5229" y="14724"/>
                  </a:cubicBezTo>
                  <a:cubicBezTo>
                    <a:pt x="5242" y="15617"/>
                    <a:pt x="5582" y="15126"/>
                    <a:pt x="5814" y="15504"/>
                  </a:cubicBezTo>
                  <a:cubicBezTo>
                    <a:pt x="6052" y="15892"/>
                    <a:pt x="5956" y="16898"/>
                    <a:pt x="5979" y="17459"/>
                  </a:cubicBezTo>
                  <a:cubicBezTo>
                    <a:pt x="6002" y="18041"/>
                    <a:pt x="6076" y="18886"/>
                    <a:pt x="6009" y="19466"/>
                  </a:cubicBezTo>
                  <a:cubicBezTo>
                    <a:pt x="6005" y="19501"/>
                    <a:pt x="6000" y="19532"/>
                    <a:pt x="5995" y="19561"/>
                  </a:cubicBezTo>
                  <a:lnTo>
                    <a:pt x="6279" y="19791"/>
                  </a:lnTo>
                  <a:cubicBezTo>
                    <a:pt x="6279" y="19806"/>
                    <a:pt x="6279" y="19822"/>
                    <a:pt x="6279" y="19837"/>
                  </a:cubicBezTo>
                  <a:cubicBezTo>
                    <a:pt x="6342" y="19800"/>
                    <a:pt x="6406" y="19764"/>
                    <a:pt x="6469" y="19728"/>
                  </a:cubicBezTo>
                  <a:cubicBezTo>
                    <a:pt x="6653" y="19623"/>
                    <a:pt x="6684" y="19626"/>
                    <a:pt x="6774" y="19987"/>
                  </a:cubicBezTo>
                  <a:close/>
                  <a:moveTo>
                    <a:pt x="6774" y="19987"/>
                  </a:moveTo>
                </a:path>
              </a:pathLst>
            </a:custGeom>
            <a:solidFill>
              <a:srgbClr val="C0C0C0"/>
            </a:solidFill>
            <a:ln w="3175">
              <a:solidFill>
                <a:schemeClr val="bg1">
                  <a:lumMod val="85000"/>
                </a:schemeClr>
              </a:solidFill>
            </a:ln>
          </p:spPr>
          <p:txBody>
            <a:bodyPr lIns="0" tIns="0" rIns="0" bIns="0"/>
            <a:lstStyle/>
            <a:p>
              <a:endParaRPr lang="en-US"/>
            </a:p>
          </p:txBody>
        </p:sp>
        <p:sp>
          <p:nvSpPr>
            <p:cNvPr id="205" name="AutoShape 1204">
              <a:extLst>
                <a:ext uri="{FF2B5EF4-FFF2-40B4-BE49-F238E27FC236}">
                  <a16:creationId xmlns:a16="http://schemas.microsoft.com/office/drawing/2014/main" id="{9713BB88-5D6A-2D4E-AD2C-20E62B6D4C78}"/>
                </a:ext>
              </a:extLst>
            </p:cNvPr>
            <p:cNvSpPr>
              <a:spLocks/>
            </p:cNvSpPr>
            <p:nvPr/>
          </p:nvSpPr>
          <p:spPr bwMode="auto">
            <a:xfrm>
              <a:off x="5969469" y="5036541"/>
              <a:ext cx="361709" cy="433937"/>
            </a:xfrm>
            <a:custGeom>
              <a:avLst/>
              <a:gdLst/>
              <a:ahLst/>
              <a:cxnLst/>
              <a:rect l="0" t="0" r="r" b="b"/>
              <a:pathLst>
                <a:path w="21600" h="21548">
                  <a:moveTo>
                    <a:pt x="16504" y="18812"/>
                  </a:moveTo>
                  <a:cubicBezTo>
                    <a:pt x="17277" y="18294"/>
                    <a:pt x="17674" y="17924"/>
                    <a:pt x="18729" y="17989"/>
                  </a:cubicBezTo>
                  <a:cubicBezTo>
                    <a:pt x="19308" y="18025"/>
                    <a:pt x="20415" y="18418"/>
                    <a:pt x="20658" y="17766"/>
                  </a:cubicBezTo>
                  <a:cubicBezTo>
                    <a:pt x="20816" y="17342"/>
                    <a:pt x="20657" y="16683"/>
                    <a:pt x="20657" y="16234"/>
                  </a:cubicBezTo>
                  <a:lnTo>
                    <a:pt x="21600" y="16160"/>
                  </a:lnTo>
                  <a:lnTo>
                    <a:pt x="21375" y="14741"/>
                  </a:lnTo>
                  <a:lnTo>
                    <a:pt x="15153" y="1931"/>
                  </a:lnTo>
                  <a:cubicBezTo>
                    <a:pt x="14787" y="1932"/>
                    <a:pt x="14421" y="1933"/>
                    <a:pt x="14056" y="1934"/>
                  </a:cubicBezTo>
                  <a:lnTo>
                    <a:pt x="13651" y="2083"/>
                  </a:lnTo>
                  <a:lnTo>
                    <a:pt x="13517" y="2121"/>
                  </a:lnTo>
                  <a:lnTo>
                    <a:pt x="13113" y="2195"/>
                  </a:lnTo>
                  <a:lnTo>
                    <a:pt x="6466" y="2121"/>
                  </a:lnTo>
                  <a:cubicBezTo>
                    <a:pt x="5826" y="2221"/>
                    <a:pt x="6288" y="1248"/>
                    <a:pt x="6064" y="1037"/>
                  </a:cubicBezTo>
                  <a:cubicBezTo>
                    <a:pt x="5896" y="879"/>
                    <a:pt x="5597" y="1024"/>
                    <a:pt x="5344" y="1000"/>
                  </a:cubicBezTo>
                  <a:cubicBezTo>
                    <a:pt x="4987" y="968"/>
                    <a:pt x="5031" y="776"/>
                    <a:pt x="4761" y="678"/>
                  </a:cubicBezTo>
                  <a:cubicBezTo>
                    <a:pt x="4366" y="535"/>
                    <a:pt x="3663" y="752"/>
                    <a:pt x="3211" y="702"/>
                  </a:cubicBezTo>
                  <a:cubicBezTo>
                    <a:pt x="2783" y="654"/>
                    <a:pt x="2854" y="612"/>
                    <a:pt x="2695" y="366"/>
                  </a:cubicBezTo>
                  <a:cubicBezTo>
                    <a:pt x="2426" y="-48"/>
                    <a:pt x="2335" y="-52"/>
                    <a:pt x="1783" y="69"/>
                  </a:cubicBezTo>
                  <a:cubicBezTo>
                    <a:pt x="1593" y="110"/>
                    <a:pt x="1403" y="152"/>
                    <a:pt x="1213" y="194"/>
                  </a:cubicBezTo>
                  <a:cubicBezTo>
                    <a:pt x="1243" y="2564"/>
                    <a:pt x="1273" y="4935"/>
                    <a:pt x="1303" y="7305"/>
                  </a:cubicBezTo>
                  <a:cubicBezTo>
                    <a:pt x="1315" y="8294"/>
                    <a:pt x="1328" y="9284"/>
                    <a:pt x="1340" y="10274"/>
                  </a:cubicBezTo>
                  <a:cubicBezTo>
                    <a:pt x="1353" y="11238"/>
                    <a:pt x="782" y="12307"/>
                    <a:pt x="0" y="13148"/>
                  </a:cubicBezTo>
                  <a:cubicBezTo>
                    <a:pt x="234" y="13186"/>
                    <a:pt x="425" y="13210"/>
                    <a:pt x="650" y="13353"/>
                  </a:cubicBezTo>
                  <a:cubicBezTo>
                    <a:pt x="1258" y="13741"/>
                    <a:pt x="1921" y="14175"/>
                    <a:pt x="2514" y="14600"/>
                  </a:cubicBezTo>
                  <a:cubicBezTo>
                    <a:pt x="2890" y="14869"/>
                    <a:pt x="3170" y="15215"/>
                    <a:pt x="3526" y="15450"/>
                  </a:cubicBezTo>
                  <a:cubicBezTo>
                    <a:pt x="3848" y="15663"/>
                    <a:pt x="4235" y="15662"/>
                    <a:pt x="4625" y="15674"/>
                  </a:cubicBezTo>
                  <a:cubicBezTo>
                    <a:pt x="4810" y="15680"/>
                    <a:pt x="5196" y="15610"/>
                    <a:pt x="5348" y="15701"/>
                  </a:cubicBezTo>
                  <a:cubicBezTo>
                    <a:pt x="5493" y="15788"/>
                    <a:pt x="5448" y="16074"/>
                    <a:pt x="5523" y="16189"/>
                  </a:cubicBezTo>
                  <a:cubicBezTo>
                    <a:pt x="5736" y="16513"/>
                    <a:pt x="6036" y="16432"/>
                    <a:pt x="6005" y="16867"/>
                  </a:cubicBezTo>
                  <a:cubicBezTo>
                    <a:pt x="5976" y="17265"/>
                    <a:pt x="5942" y="17441"/>
                    <a:pt x="6108" y="17838"/>
                  </a:cubicBezTo>
                  <a:cubicBezTo>
                    <a:pt x="6249" y="18177"/>
                    <a:pt x="6318" y="18454"/>
                    <a:pt x="6734" y="18626"/>
                  </a:cubicBezTo>
                  <a:cubicBezTo>
                    <a:pt x="6931" y="18708"/>
                    <a:pt x="7046" y="18661"/>
                    <a:pt x="7230" y="18811"/>
                  </a:cubicBezTo>
                  <a:cubicBezTo>
                    <a:pt x="7361" y="18918"/>
                    <a:pt x="7427" y="19132"/>
                    <a:pt x="7555" y="19258"/>
                  </a:cubicBezTo>
                  <a:cubicBezTo>
                    <a:pt x="7921" y="19617"/>
                    <a:pt x="9071" y="20269"/>
                    <a:pt x="9682" y="20118"/>
                  </a:cubicBezTo>
                  <a:cubicBezTo>
                    <a:pt x="10072" y="20021"/>
                    <a:pt x="9839" y="19804"/>
                    <a:pt x="10306" y="20041"/>
                  </a:cubicBezTo>
                  <a:cubicBezTo>
                    <a:pt x="10713" y="20249"/>
                    <a:pt x="11064" y="20581"/>
                    <a:pt x="11452" y="20817"/>
                  </a:cubicBezTo>
                  <a:cubicBezTo>
                    <a:pt x="11816" y="21040"/>
                    <a:pt x="12256" y="21210"/>
                    <a:pt x="12664" y="21378"/>
                  </a:cubicBezTo>
                  <a:cubicBezTo>
                    <a:pt x="13032" y="21529"/>
                    <a:pt x="13418" y="21547"/>
                    <a:pt x="13804" y="21548"/>
                  </a:cubicBezTo>
                  <a:cubicBezTo>
                    <a:pt x="13922" y="21009"/>
                    <a:pt x="13909" y="20408"/>
                    <a:pt x="14338" y="20004"/>
                  </a:cubicBezTo>
                  <a:cubicBezTo>
                    <a:pt x="14904" y="19469"/>
                    <a:pt x="15856" y="19246"/>
                    <a:pt x="16504" y="18812"/>
                  </a:cubicBezTo>
                  <a:close/>
                  <a:moveTo>
                    <a:pt x="16504" y="18812"/>
                  </a:moveTo>
                </a:path>
              </a:pathLst>
            </a:custGeom>
            <a:solidFill>
              <a:srgbClr val="C0C0C0"/>
            </a:solidFill>
            <a:ln w="3175">
              <a:solidFill>
                <a:schemeClr val="bg1">
                  <a:lumMod val="85000"/>
                </a:schemeClr>
              </a:solidFill>
            </a:ln>
          </p:spPr>
          <p:txBody>
            <a:bodyPr lIns="0" tIns="0" rIns="0" bIns="0"/>
            <a:lstStyle/>
            <a:p>
              <a:endParaRPr lang="en-US"/>
            </a:p>
          </p:txBody>
        </p:sp>
        <p:sp>
          <p:nvSpPr>
            <p:cNvPr id="206" name="AutoShape 1205">
              <a:extLst>
                <a:ext uri="{FF2B5EF4-FFF2-40B4-BE49-F238E27FC236}">
                  <a16:creationId xmlns:a16="http://schemas.microsoft.com/office/drawing/2014/main" id="{A45ED3A0-925A-C541-A3A7-6DFD73721131}"/>
                </a:ext>
              </a:extLst>
            </p:cNvPr>
            <p:cNvSpPr>
              <a:spLocks/>
            </p:cNvSpPr>
            <p:nvPr/>
          </p:nvSpPr>
          <p:spPr bwMode="auto">
            <a:xfrm>
              <a:off x="5931098" y="5853630"/>
              <a:ext cx="67997" cy="35832"/>
            </a:xfrm>
            <a:custGeom>
              <a:avLst/>
              <a:gdLst/>
              <a:ahLst/>
              <a:cxnLst/>
              <a:rect l="0" t="0" r="r" b="b"/>
              <a:pathLst>
                <a:path w="18663" h="20408">
                  <a:moveTo>
                    <a:pt x="7506" y="351"/>
                  </a:moveTo>
                  <a:cubicBezTo>
                    <a:pt x="5558" y="-652"/>
                    <a:pt x="-479" y="325"/>
                    <a:pt x="30" y="5562"/>
                  </a:cubicBezTo>
                  <a:cubicBezTo>
                    <a:pt x="293" y="8260"/>
                    <a:pt x="3362" y="13882"/>
                    <a:pt x="4375" y="15644"/>
                  </a:cubicBezTo>
                  <a:cubicBezTo>
                    <a:pt x="5498" y="17598"/>
                    <a:pt x="6781" y="18725"/>
                    <a:pt x="8123" y="19661"/>
                  </a:cubicBezTo>
                  <a:cubicBezTo>
                    <a:pt x="9970" y="20948"/>
                    <a:pt x="11753" y="20272"/>
                    <a:pt x="13632" y="19853"/>
                  </a:cubicBezTo>
                  <a:cubicBezTo>
                    <a:pt x="14635" y="19629"/>
                    <a:pt x="17443" y="20507"/>
                    <a:pt x="18201" y="18830"/>
                  </a:cubicBezTo>
                  <a:cubicBezTo>
                    <a:pt x="21121" y="12366"/>
                    <a:pt x="9306" y="1277"/>
                    <a:pt x="7506" y="351"/>
                  </a:cubicBezTo>
                  <a:close/>
                  <a:moveTo>
                    <a:pt x="7506" y="351"/>
                  </a:moveTo>
                </a:path>
              </a:pathLst>
            </a:custGeom>
            <a:solidFill>
              <a:srgbClr val="C0C0C0"/>
            </a:solidFill>
            <a:ln w="3175">
              <a:solidFill>
                <a:schemeClr val="bg1">
                  <a:lumMod val="85000"/>
                </a:schemeClr>
              </a:solidFill>
            </a:ln>
          </p:spPr>
          <p:txBody>
            <a:bodyPr lIns="0" tIns="0" rIns="0" bIns="0"/>
            <a:lstStyle/>
            <a:p>
              <a:endParaRPr lang="en-US"/>
            </a:p>
          </p:txBody>
        </p:sp>
        <p:sp>
          <p:nvSpPr>
            <p:cNvPr id="207" name="AutoShape 1230">
              <a:extLst>
                <a:ext uri="{FF2B5EF4-FFF2-40B4-BE49-F238E27FC236}">
                  <a16:creationId xmlns:a16="http://schemas.microsoft.com/office/drawing/2014/main" id="{E079253A-0CF8-924E-8505-B1F3F772CA2F}"/>
                </a:ext>
              </a:extLst>
            </p:cNvPr>
            <p:cNvSpPr>
              <a:spLocks/>
            </p:cNvSpPr>
            <p:nvPr/>
          </p:nvSpPr>
          <p:spPr bwMode="auto">
            <a:xfrm>
              <a:off x="6201956" y="5072655"/>
              <a:ext cx="546513" cy="562312"/>
            </a:xfrm>
            <a:custGeom>
              <a:avLst/>
              <a:gdLst/>
              <a:ahLst/>
              <a:cxnLst/>
              <a:rect l="0" t="0" r="r" b="b"/>
              <a:pathLst>
                <a:path w="21600" h="21545">
                  <a:moveTo>
                    <a:pt x="14768" y="19024"/>
                  </a:moveTo>
                  <a:cubicBezTo>
                    <a:pt x="14817" y="18892"/>
                    <a:pt x="14795" y="18607"/>
                    <a:pt x="14864" y="18503"/>
                  </a:cubicBezTo>
                  <a:cubicBezTo>
                    <a:pt x="14973" y="18338"/>
                    <a:pt x="15232" y="18240"/>
                    <a:pt x="15402" y="18125"/>
                  </a:cubicBezTo>
                  <a:cubicBezTo>
                    <a:pt x="15884" y="17798"/>
                    <a:pt x="15599" y="17763"/>
                    <a:pt x="15802" y="17295"/>
                  </a:cubicBezTo>
                  <a:cubicBezTo>
                    <a:pt x="15986" y="16870"/>
                    <a:pt x="16547" y="16891"/>
                    <a:pt x="16973" y="16853"/>
                  </a:cubicBezTo>
                  <a:cubicBezTo>
                    <a:pt x="17631" y="16794"/>
                    <a:pt x="18895" y="16922"/>
                    <a:pt x="19224" y="16300"/>
                  </a:cubicBezTo>
                  <a:cubicBezTo>
                    <a:pt x="19418" y="15934"/>
                    <a:pt x="19363" y="15834"/>
                    <a:pt x="19718" y="15555"/>
                  </a:cubicBezTo>
                  <a:cubicBezTo>
                    <a:pt x="20653" y="14820"/>
                    <a:pt x="20755" y="13743"/>
                    <a:pt x="21052" y="12667"/>
                  </a:cubicBezTo>
                  <a:cubicBezTo>
                    <a:pt x="21235" y="12004"/>
                    <a:pt x="21417" y="11342"/>
                    <a:pt x="21600" y="10680"/>
                  </a:cubicBezTo>
                  <a:lnTo>
                    <a:pt x="21258" y="28"/>
                  </a:lnTo>
                  <a:cubicBezTo>
                    <a:pt x="21139" y="23"/>
                    <a:pt x="21003" y="3"/>
                    <a:pt x="20863" y="1"/>
                  </a:cubicBezTo>
                  <a:cubicBezTo>
                    <a:pt x="20625" y="-2"/>
                    <a:pt x="20387" y="2"/>
                    <a:pt x="20150" y="3"/>
                  </a:cubicBezTo>
                  <a:cubicBezTo>
                    <a:pt x="19404" y="5"/>
                    <a:pt x="18658" y="7"/>
                    <a:pt x="17913" y="9"/>
                  </a:cubicBezTo>
                  <a:cubicBezTo>
                    <a:pt x="15495" y="16"/>
                    <a:pt x="13076" y="22"/>
                    <a:pt x="10658" y="29"/>
                  </a:cubicBezTo>
                  <a:cubicBezTo>
                    <a:pt x="8253" y="35"/>
                    <a:pt x="5847" y="42"/>
                    <a:pt x="3441" y="48"/>
                  </a:cubicBezTo>
                  <a:cubicBezTo>
                    <a:pt x="2592" y="51"/>
                    <a:pt x="1742" y="53"/>
                    <a:pt x="893" y="55"/>
                  </a:cubicBezTo>
                  <a:lnTo>
                    <a:pt x="5012" y="9944"/>
                  </a:lnTo>
                  <a:lnTo>
                    <a:pt x="5161" y="11040"/>
                  </a:lnTo>
                  <a:lnTo>
                    <a:pt x="4536" y="11097"/>
                  </a:lnTo>
                  <a:cubicBezTo>
                    <a:pt x="4536" y="11444"/>
                    <a:pt x="4642" y="11952"/>
                    <a:pt x="4537" y="12280"/>
                  </a:cubicBezTo>
                  <a:cubicBezTo>
                    <a:pt x="4376" y="12783"/>
                    <a:pt x="3644" y="12480"/>
                    <a:pt x="3260" y="12452"/>
                  </a:cubicBezTo>
                  <a:cubicBezTo>
                    <a:pt x="2562" y="12402"/>
                    <a:pt x="2299" y="12687"/>
                    <a:pt x="1787" y="13087"/>
                  </a:cubicBezTo>
                  <a:cubicBezTo>
                    <a:pt x="1358" y="13422"/>
                    <a:pt x="728" y="13595"/>
                    <a:pt x="353" y="14007"/>
                  </a:cubicBezTo>
                  <a:cubicBezTo>
                    <a:pt x="69" y="14319"/>
                    <a:pt x="78" y="14784"/>
                    <a:pt x="0" y="15200"/>
                  </a:cubicBezTo>
                  <a:cubicBezTo>
                    <a:pt x="401" y="15201"/>
                    <a:pt x="801" y="15169"/>
                    <a:pt x="1150" y="15451"/>
                  </a:cubicBezTo>
                  <a:cubicBezTo>
                    <a:pt x="1418" y="15668"/>
                    <a:pt x="1605" y="15909"/>
                    <a:pt x="1980" y="15940"/>
                  </a:cubicBezTo>
                  <a:cubicBezTo>
                    <a:pt x="2321" y="15969"/>
                    <a:pt x="2439" y="15762"/>
                    <a:pt x="2693" y="15593"/>
                  </a:cubicBezTo>
                  <a:cubicBezTo>
                    <a:pt x="3294" y="15193"/>
                    <a:pt x="3851" y="15366"/>
                    <a:pt x="4543" y="15335"/>
                  </a:cubicBezTo>
                  <a:cubicBezTo>
                    <a:pt x="5125" y="15309"/>
                    <a:pt x="5710" y="15065"/>
                    <a:pt x="6294" y="15177"/>
                  </a:cubicBezTo>
                  <a:cubicBezTo>
                    <a:pt x="6714" y="15257"/>
                    <a:pt x="6931" y="15516"/>
                    <a:pt x="7253" y="15746"/>
                  </a:cubicBezTo>
                  <a:cubicBezTo>
                    <a:pt x="7515" y="15933"/>
                    <a:pt x="7727" y="16028"/>
                    <a:pt x="7911" y="16312"/>
                  </a:cubicBezTo>
                  <a:cubicBezTo>
                    <a:pt x="8145" y="16674"/>
                    <a:pt x="8251" y="17091"/>
                    <a:pt x="8416" y="17484"/>
                  </a:cubicBezTo>
                  <a:cubicBezTo>
                    <a:pt x="8590" y="17898"/>
                    <a:pt x="8856" y="18260"/>
                    <a:pt x="9028" y="18680"/>
                  </a:cubicBezTo>
                  <a:cubicBezTo>
                    <a:pt x="9142" y="18959"/>
                    <a:pt x="9153" y="19266"/>
                    <a:pt x="9004" y="19537"/>
                  </a:cubicBezTo>
                  <a:cubicBezTo>
                    <a:pt x="8884" y="19755"/>
                    <a:pt x="8651" y="19922"/>
                    <a:pt x="8608" y="20177"/>
                  </a:cubicBezTo>
                  <a:cubicBezTo>
                    <a:pt x="8481" y="20941"/>
                    <a:pt x="9907" y="21449"/>
                    <a:pt x="10482" y="21511"/>
                  </a:cubicBezTo>
                  <a:cubicBezTo>
                    <a:pt x="10690" y="21534"/>
                    <a:pt x="11043" y="21598"/>
                    <a:pt x="11225" y="21454"/>
                  </a:cubicBezTo>
                  <a:cubicBezTo>
                    <a:pt x="11515" y="21224"/>
                    <a:pt x="11247" y="21020"/>
                    <a:pt x="11158" y="20782"/>
                  </a:cubicBezTo>
                  <a:cubicBezTo>
                    <a:pt x="11058" y="20516"/>
                    <a:pt x="11176" y="20389"/>
                    <a:pt x="11463" y="20315"/>
                  </a:cubicBezTo>
                  <a:cubicBezTo>
                    <a:pt x="11832" y="20218"/>
                    <a:pt x="11963" y="20459"/>
                    <a:pt x="12237" y="20633"/>
                  </a:cubicBezTo>
                  <a:cubicBezTo>
                    <a:pt x="12537" y="20823"/>
                    <a:pt x="12665" y="20672"/>
                    <a:pt x="12949" y="20674"/>
                  </a:cubicBezTo>
                  <a:cubicBezTo>
                    <a:pt x="13228" y="20676"/>
                    <a:pt x="13326" y="20889"/>
                    <a:pt x="13633" y="20898"/>
                  </a:cubicBezTo>
                  <a:cubicBezTo>
                    <a:pt x="13677" y="20899"/>
                    <a:pt x="13718" y="20895"/>
                    <a:pt x="13757" y="20889"/>
                  </a:cubicBezTo>
                  <a:cubicBezTo>
                    <a:pt x="13918" y="20608"/>
                    <a:pt x="14023" y="20306"/>
                    <a:pt x="14141" y="20009"/>
                  </a:cubicBezTo>
                  <a:cubicBezTo>
                    <a:pt x="14289" y="19637"/>
                    <a:pt x="14627" y="19399"/>
                    <a:pt x="14768" y="19024"/>
                  </a:cubicBezTo>
                  <a:close/>
                  <a:moveTo>
                    <a:pt x="14768" y="19024"/>
                  </a:moveTo>
                </a:path>
              </a:pathLst>
            </a:custGeom>
            <a:solidFill>
              <a:srgbClr val="C0C0C0"/>
            </a:solidFill>
            <a:ln w="3175">
              <a:solidFill>
                <a:schemeClr val="bg1">
                  <a:lumMod val="85000"/>
                </a:schemeClr>
              </a:solidFill>
            </a:ln>
          </p:spPr>
          <p:txBody>
            <a:bodyPr lIns="0" tIns="0" rIns="0" bIns="0"/>
            <a:lstStyle/>
            <a:p>
              <a:endParaRPr lang="en-US"/>
            </a:p>
          </p:txBody>
        </p:sp>
        <p:sp>
          <p:nvSpPr>
            <p:cNvPr id="208" name="AutoShape 1231">
              <a:extLst>
                <a:ext uri="{FF2B5EF4-FFF2-40B4-BE49-F238E27FC236}">
                  <a16:creationId xmlns:a16="http://schemas.microsoft.com/office/drawing/2014/main" id="{4D0A13AC-F916-434C-9297-F40CF24E161A}"/>
                </a:ext>
              </a:extLst>
            </p:cNvPr>
            <p:cNvSpPr>
              <a:spLocks/>
            </p:cNvSpPr>
            <p:nvPr/>
          </p:nvSpPr>
          <p:spPr bwMode="auto">
            <a:xfrm>
              <a:off x="6337385" y="5749801"/>
              <a:ext cx="133736" cy="93390"/>
            </a:xfrm>
            <a:custGeom>
              <a:avLst/>
              <a:gdLst/>
              <a:ahLst/>
              <a:cxnLst/>
              <a:rect l="0" t="0" r="r" b="b"/>
              <a:pathLst>
                <a:path w="17451" h="21142">
                  <a:moveTo>
                    <a:pt x="9571" y="5894"/>
                  </a:moveTo>
                  <a:cubicBezTo>
                    <a:pt x="8633" y="5341"/>
                    <a:pt x="7438" y="5182"/>
                    <a:pt x="6632" y="4201"/>
                  </a:cubicBezTo>
                  <a:cubicBezTo>
                    <a:pt x="5879" y="3283"/>
                    <a:pt x="5491" y="1658"/>
                    <a:pt x="4694" y="891"/>
                  </a:cubicBezTo>
                  <a:cubicBezTo>
                    <a:pt x="3743" y="-27"/>
                    <a:pt x="2407" y="-129"/>
                    <a:pt x="1328" y="111"/>
                  </a:cubicBezTo>
                  <a:cubicBezTo>
                    <a:pt x="-2276" y="913"/>
                    <a:pt x="2448" y="5105"/>
                    <a:pt x="3807" y="5727"/>
                  </a:cubicBezTo>
                  <a:cubicBezTo>
                    <a:pt x="5902" y="6687"/>
                    <a:pt x="7812" y="7233"/>
                    <a:pt x="7633" y="11936"/>
                  </a:cubicBezTo>
                  <a:cubicBezTo>
                    <a:pt x="7553" y="14032"/>
                    <a:pt x="6806" y="16849"/>
                    <a:pt x="7906" y="18454"/>
                  </a:cubicBezTo>
                  <a:cubicBezTo>
                    <a:pt x="9282" y="20462"/>
                    <a:pt x="10522" y="18883"/>
                    <a:pt x="11928" y="18396"/>
                  </a:cubicBezTo>
                  <a:cubicBezTo>
                    <a:pt x="13576" y="17823"/>
                    <a:pt x="14848" y="21471"/>
                    <a:pt x="16401" y="21118"/>
                  </a:cubicBezTo>
                  <a:cubicBezTo>
                    <a:pt x="19324" y="20455"/>
                    <a:pt x="15280" y="12556"/>
                    <a:pt x="14677" y="11045"/>
                  </a:cubicBezTo>
                  <a:cubicBezTo>
                    <a:pt x="13524" y="8162"/>
                    <a:pt x="11430" y="6989"/>
                    <a:pt x="9571" y="5894"/>
                  </a:cubicBezTo>
                  <a:close/>
                  <a:moveTo>
                    <a:pt x="9571" y="5894"/>
                  </a:moveTo>
                </a:path>
              </a:pathLst>
            </a:custGeom>
            <a:solidFill>
              <a:srgbClr val="C0C0C0"/>
            </a:solidFill>
            <a:ln w="3175">
              <a:solidFill>
                <a:schemeClr val="bg1">
                  <a:lumMod val="85000"/>
                </a:schemeClr>
              </a:solidFill>
            </a:ln>
          </p:spPr>
          <p:txBody>
            <a:bodyPr lIns="0" tIns="0" rIns="0" bIns="0"/>
            <a:lstStyle/>
            <a:p>
              <a:endParaRPr lang="en-US"/>
            </a:p>
          </p:txBody>
        </p:sp>
        <p:sp>
          <p:nvSpPr>
            <p:cNvPr id="209" name="AutoShape 1232">
              <a:extLst>
                <a:ext uri="{FF2B5EF4-FFF2-40B4-BE49-F238E27FC236}">
                  <a16:creationId xmlns:a16="http://schemas.microsoft.com/office/drawing/2014/main" id="{A8C75E2E-1DA5-9A45-8A65-7FD93367C67D}"/>
                </a:ext>
              </a:extLst>
            </p:cNvPr>
            <p:cNvSpPr>
              <a:spLocks/>
            </p:cNvSpPr>
            <p:nvPr/>
          </p:nvSpPr>
          <p:spPr bwMode="auto">
            <a:xfrm>
              <a:off x="6346414" y="5977772"/>
              <a:ext cx="105522" cy="115114"/>
            </a:xfrm>
            <a:custGeom>
              <a:avLst/>
              <a:gdLst/>
              <a:ahLst/>
              <a:cxnLst/>
              <a:rect l="0" t="0" r="r" b="b"/>
              <a:pathLst>
                <a:path w="19990" h="21047">
                  <a:moveTo>
                    <a:pt x="6278" y="5940"/>
                  </a:moveTo>
                  <a:cubicBezTo>
                    <a:pt x="5564" y="4296"/>
                    <a:pt x="5321" y="2558"/>
                    <a:pt x="3951" y="1250"/>
                  </a:cubicBezTo>
                  <a:cubicBezTo>
                    <a:pt x="3275" y="605"/>
                    <a:pt x="1807" y="-379"/>
                    <a:pt x="752" y="152"/>
                  </a:cubicBezTo>
                  <a:cubicBezTo>
                    <a:pt x="-880" y="972"/>
                    <a:pt x="572" y="2319"/>
                    <a:pt x="1110" y="3354"/>
                  </a:cubicBezTo>
                  <a:cubicBezTo>
                    <a:pt x="2780" y="6562"/>
                    <a:pt x="2156" y="10431"/>
                    <a:pt x="4881" y="12923"/>
                  </a:cubicBezTo>
                  <a:cubicBezTo>
                    <a:pt x="6082" y="14022"/>
                    <a:pt x="6366" y="15677"/>
                    <a:pt x="7441" y="16754"/>
                  </a:cubicBezTo>
                  <a:cubicBezTo>
                    <a:pt x="8543" y="17860"/>
                    <a:pt x="10660" y="17882"/>
                    <a:pt x="11865" y="18965"/>
                  </a:cubicBezTo>
                  <a:cubicBezTo>
                    <a:pt x="12624" y="19647"/>
                    <a:pt x="12998" y="21221"/>
                    <a:pt x="14278" y="21032"/>
                  </a:cubicBezTo>
                  <a:cubicBezTo>
                    <a:pt x="15344" y="20875"/>
                    <a:pt x="15717" y="19040"/>
                    <a:pt x="17102" y="19405"/>
                  </a:cubicBezTo>
                  <a:cubicBezTo>
                    <a:pt x="17411" y="20325"/>
                    <a:pt x="19327" y="20642"/>
                    <a:pt x="19842" y="19796"/>
                  </a:cubicBezTo>
                  <a:cubicBezTo>
                    <a:pt x="20720" y="18355"/>
                    <a:pt x="17442" y="14900"/>
                    <a:pt x="16462" y="13958"/>
                  </a:cubicBezTo>
                  <a:cubicBezTo>
                    <a:pt x="13385" y="11000"/>
                    <a:pt x="8054" y="10028"/>
                    <a:pt x="6278" y="5940"/>
                  </a:cubicBezTo>
                  <a:close/>
                  <a:moveTo>
                    <a:pt x="6278" y="5940"/>
                  </a:moveTo>
                </a:path>
              </a:pathLst>
            </a:custGeom>
            <a:solidFill>
              <a:srgbClr val="C0C0C0"/>
            </a:solidFill>
            <a:ln w="3175">
              <a:solidFill>
                <a:schemeClr val="bg1">
                  <a:lumMod val="85000"/>
                </a:schemeClr>
              </a:solidFill>
            </a:ln>
          </p:spPr>
          <p:txBody>
            <a:bodyPr lIns="0" tIns="0" rIns="0" bIns="0"/>
            <a:lstStyle/>
            <a:p>
              <a:endParaRPr lang="en-US"/>
            </a:p>
          </p:txBody>
        </p:sp>
        <p:sp>
          <p:nvSpPr>
            <p:cNvPr id="210" name="AutoShape 1260">
              <a:extLst>
                <a:ext uri="{FF2B5EF4-FFF2-40B4-BE49-F238E27FC236}">
                  <a16:creationId xmlns:a16="http://schemas.microsoft.com/office/drawing/2014/main" id="{94A52729-8734-E542-9982-2949B672C401}"/>
                </a:ext>
              </a:extLst>
            </p:cNvPr>
            <p:cNvSpPr>
              <a:spLocks/>
            </p:cNvSpPr>
            <p:nvPr/>
          </p:nvSpPr>
          <p:spPr bwMode="auto">
            <a:xfrm>
              <a:off x="6682729" y="4580597"/>
              <a:ext cx="1546430" cy="961263"/>
            </a:xfrm>
            <a:custGeom>
              <a:avLst/>
              <a:gdLst/>
              <a:ahLst/>
              <a:cxnLst/>
              <a:rect l="0" t="0" r="r" b="b"/>
              <a:pathLst>
                <a:path w="21543" h="21579">
                  <a:moveTo>
                    <a:pt x="21426" y="16673"/>
                  </a:moveTo>
                  <a:cubicBezTo>
                    <a:pt x="21295" y="16415"/>
                    <a:pt x="21227" y="16110"/>
                    <a:pt x="21048" y="15930"/>
                  </a:cubicBezTo>
                  <a:cubicBezTo>
                    <a:pt x="20907" y="15788"/>
                    <a:pt x="20734" y="15717"/>
                    <a:pt x="20616" y="15525"/>
                  </a:cubicBezTo>
                  <a:cubicBezTo>
                    <a:pt x="20558" y="15430"/>
                    <a:pt x="20528" y="15291"/>
                    <a:pt x="20472" y="15200"/>
                  </a:cubicBezTo>
                  <a:cubicBezTo>
                    <a:pt x="20403" y="15089"/>
                    <a:pt x="20322" y="15098"/>
                    <a:pt x="20230" y="15068"/>
                  </a:cubicBezTo>
                  <a:cubicBezTo>
                    <a:pt x="20139" y="15039"/>
                    <a:pt x="20090" y="15022"/>
                    <a:pt x="20065" y="14852"/>
                  </a:cubicBezTo>
                  <a:cubicBezTo>
                    <a:pt x="20039" y="14675"/>
                    <a:pt x="20123" y="14539"/>
                    <a:pt x="20094" y="14349"/>
                  </a:cubicBezTo>
                  <a:cubicBezTo>
                    <a:pt x="20069" y="14184"/>
                    <a:pt x="20005" y="14016"/>
                    <a:pt x="19934" y="13891"/>
                  </a:cubicBezTo>
                  <a:cubicBezTo>
                    <a:pt x="19863" y="13763"/>
                    <a:pt x="19836" y="13743"/>
                    <a:pt x="19832" y="13566"/>
                  </a:cubicBezTo>
                  <a:cubicBezTo>
                    <a:pt x="19829" y="13380"/>
                    <a:pt x="19840" y="13294"/>
                    <a:pt x="19772" y="13142"/>
                  </a:cubicBezTo>
                  <a:cubicBezTo>
                    <a:pt x="19634" y="12835"/>
                    <a:pt x="19680" y="12334"/>
                    <a:pt x="19507" y="12067"/>
                  </a:cubicBezTo>
                  <a:cubicBezTo>
                    <a:pt x="19417" y="11928"/>
                    <a:pt x="19270" y="11975"/>
                    <a:pt x="19184" y="11827"/>
                  </a:cubicBezTo>
                  <a:cubicBezTo>
                    <a:pt x="19112" y="11703"/>
                    <a:pt x="19041" y="11351"/>
                    <a:pt x="19004" y="11189"/>
                  </a:cubicBezTo>
                  <a:cubicBezTo>
                    <a:pt x="18963" y="11009"/>
                    <a:pt x="18973" y="10826"/>
                    <a:pt x="18869" y="10707"/>
                  </a:cubicBezTo>
                  <a:cubicBezTo>
                    <a:pt x="18789" y="10617"/>
                    <a:pt x="18637" y="10611"/>
                    <a:pt x="18585" y="10475"/>
                  </a:cubicBezTo>
                  <a:lnTo>
                    <a:pt x="18606" y="9057"/>
                  </a:lnTo>
                  <a:lnTo>
                    <a:pt x="12822" y="5"/>
                  </a:lnTo>
                  <a:lnTo>
                    <a:pt x="917" y="0"/>
                  </a:lnTo>
                  <a:cubicBezTo>
                    <a:pt x="948" y="240"/>
                    <a:pt x="967" y="487"/>
                    <a:pt x="967" y="732"/>
                  </a:cubicBezTo>
                  <a:cubicBezTo>
                    <a:pt x="967" y="828"/>
                    <a:pt x="973" y="929"/>
                    <a:pt x="920" y="985"/>
                  </a:cubicBezTo>
                  <a:cubicBezTo>
                    <a:pt x="881" y="1027"/>
                    <a:pt x="814" y="1013"/>
                    <a:pt x="788" y="1076"/>
                  </a:cubicBezTo>
                  <a:cubicBezTo>
                    <a:pt x="769" y="1122"/>
                    <a:pt x="766" y="1297"/>
                    <a:pt x="780" y="1346"/>
                  </a:cubicBezTo>
                  <a:cubicBezTo>
                    <a:pt x="843" y="1567"/>
                    <a:pt x="988" y="1131"/>
                    <a:pt x="1057" y="1439"/>
                  </a:cubicBezTo>
                  <a:cubicBezTo>
                    <a:pt x="1064" y="1473"/>
                    <a:pt x="1071" y="1571"/>
                    <a:pt x="1056" y="1602"/>
                  </a:cubicBezTo>
                  <a:cubicBezTo>
                    <a:pt x="1038" y="1637"/>
                    <a:pt x="995" y="1613"/>
                    <a:pt x="972" y="1633"/>
                  </a:cubicBezTo>
                  <a:cubicBezTo>
                    <a:pt x="895" y="1701"/>
                    <a:pt x="982" y="1871"/>
                    <a:pt x="990" y="1968"/>
                  </a:cubicBezTo>
                  <a:cubicBezTo>
                    <a:pt x="993" y="2015"/>
                    <a:pt x="990" y="2065"/>
                    <a:pt x="991" y="2112"/>
                  </a:cubicBezTo>
                  <a:cubicBezTo>
                    <a:pt x="992" y="2246"/>
                    <a:pt x="993" y="2380"/>
                    <a:pt x="993" y="2515"/>
                  </a:cubicBezTo>
                  <a:cubicBezTo>
                    <a:pt x="998" y="3204"/>
                    <a:pt x="1003" y="3894"/>
                    <a:pt x="1008" y="4584"/>
                  </a:cubicBezTo>
                  <a:cubicBezTo>
                    <a:pt x="1013" y="5311"/>
                    <a:pt x="1018" y="6037"/>
                    <a:pt x="1023" y="6763"/>
                  </a:cubicBezTo>
                  <a:cubicBezTo>
                    <a:pt x="1026" y="7100"/>
                    <a:pt x="1028" y="7437"/>
                    <a:pt x="1030" y="7773"/>
                  </a:cubicBezTo>
                  <a:lnTo>
                    <a:pt x="1020" y="7833"/>
                  </a:lnTo>
                  <a:cubicBezTo>
                    <a:pt x="1023" y="7916"/>
                    <a:pt x="944" y="7898"/>
                    <a:pt x="921" y="7959"/>
                  </a:cubicBezTo>
                  <a:cubicBezTo>
                    <a:pt x="887" y="8052"/>
                    <a:pt x="935" y="8185"/>
                    <a:pt x="936" y="8284"/>
                  </a:cubicBezTo>
                  <a:cubicBezTo>
                    <a:pt x="937" y="8354"/>
                    <a:pt x="936" y="8425"/>
                    <a:pt x="936" y="8495"/>
                  </a:cubicBezTo>
                  <a:cubicBezTo>
                    <a:pt x="936" y="8697"/>
                    <a:pt x="936" y="8899"/>
                    <a:pt x="936" y="9101"/>
                  </a:cubicBezTo>
                  <a:cubicBezTo>
                    <a:pt x="936" y="9671"/>
                    <a:pt x="936" y="10242"/>
                    <a:pt x="936" y="10813"/>
                  </a:cubicBezTo>
                  <a:cubicBezTo>
                    <a:pt x="941" y="11043"/>
                    <a:pt x="880" y="11073"/>
                    <a:pt x="794" y="11066"/>
                  </a:cubicBezTo>
                  <a:lnTo>
                    <a:pt x="915" y="17306"/>
                  </a:lnTo>
                  <a:cubicBezTo>
                    <a:pt x="851" y="17694"/>
                    <a:pt x="786" y="18082"/>
                    <a:pt x="722" y="18470"/>
                  </a:cubicBezTo>
                  <a:cubicBezTo>
                    <a:pt x="617" y="19101"/>
                    <a:pt x="581" y="19732"/>
                    <a:pt x="252" y="20162"/>
                  </a:cubicBezTo>
                  <a:cubicBezTo>
                    <a:pt x="126" y="20326"/>
                    <a:pt x="146" y="20385"/>
                    <a:pt x="77" y="20599"/>
                  </a:cubicBezTo>
                  <a:cubicBezTo>
                    <a:pt x="59" y="20657"/>
                    <a:pt x="33" y="20703"/>
                    <a:pt x="0" y="20741"/>
                  </a:cubicBezTo>
                  <a:cubicBezTo>
                    <a:pt x="91" y="20846"/>
                    <a:pt x="180" y="21029"/>
                    <a:pt x="241" y="21128"/>
                  </a:cubicBezTo>
                  <a:cubicBezTo>
                    <a:pt x="307" y="21237"/>
                    <a:pt x="383" y="21329"/>
                    <a:pt x="451" y="21435"/>
                  </a:cubicBezTo>
                  <a:cubicBezTo>
                    <a:pt x="497" y="21507"/>
                    <a:pt x="570" y="21600"/>
                    <a:pt x="640" y="21574"/>
                  </a:cubicBezTo>
                  <a:cubicBezTo>
                    <a:pt x="723" y="21544"/>
                    <a:pt x="711" y="21369"/>
                    <a:pt x="781" y="21282"/>
                  </a:cubicBezTo>
                  <a:cubicBezTo>
                    <a:pt x="843" y="21208"/>
                    <a:pt x="905" y="21193"/>
                    <a:pt x="978" y="21182"/>
                  </a:cubicBezTo>
                  <a:cubicBezTo>
                    <a:pt x="1096" y="21164"/>
                    <a:pt x="1121" y="21068"/>
                    <a:pt x="1135" y="20888"/>
                  </a:cubicBezTo>
                  <a:cubicBezTo>
                    <a:pt x="1145" y="20765"/>
                    <a:pt x="1131" y="20646"/>
                    <a:pt x="1214" y="20586"/>
                  </a:cubicBezTo>
                  <a:cubicBezTo>
                    <a:pt x="1287" y="20534"/>
                    <a:pt x="1339" y="20594"/>
                    <a:pt x="1381" y="20457"/>
                  </a:cubicBezTo>
                  <a:cubicBezTo>
                    <a:pt x="1414" y="20351"/>
                    <a:pt x="1375" y="19991"/>
                    <a:pt x="1473" y="20004"/>
                  </a:cubicBezTo>
                  <a:lnTo>
                    <a:pt x="2361" y="19966"/>
                  </a:lnTo>
                  <a:cubicBezTo>
                    <a:pt x="2477" y="20032"/>
                    <a:pt x="2594" y="20134"/>
                    <a:pt x="2716" y="20161"/>
                  </a:cubicBezTo>
                  <a:cubicBezTo>
                    <a:pt x="2878" y="20197"/>
                    <a:pt x="3041" y="20138"/>
                    <a:pt x="3202" y="20118"/>
                  </a:cubicBezTo>
                  <a:cubicBezTo>
                    <a:pt x="3249" y="20112"/>
                    <a:pt x="3284" y="20112"/>
                    <a:pt x="3321" y="20160"/>
                  </a:cubicBezTo>
                  <a:cubicBezTo>
                    <a:pt x="3353" y="20200"/>
                    <a:pt x="3345" y="20276"/>
                    <a:pt x="3369" y="20309"/>
                  </a:cubicBezTo>
                  <a:cubicBezTo>
                    <a:pt x="3408" y="20365"/>
                    <a:pt x="3531" y="20333"/>
                    <a:pt x="3580" y="20333"/>
                  </a:cubicBezTo>
                  <a:cubicBezTo>
                    <a:pt x="3712" y="20333"/>
                    <a:pt x="3845" y="20333"/>
                    <a:pt x="3977" y="20333"/>
                  </a:cubicBezTo>
                  <a:cubicBezTo>
                    <a:pt x="4248" y="20333"/>
                    <a:pt x="4519" y="20333"/>
                    <a:pt x="4790" y="20333"/>
                  </a:cubicBezTo>
                  <a:cubicBezTo>
                    <a:pt x="4865" y="20333"/>
                    <a:pt x="4955" y="20354"/>
                    <a:pt x="5026" y="20321"/>
                  </a:cubicBezTo>
                  <a:cubicBezTo>
                    <a:pt x="5108" y="20282"/>
                    <a:pt x="5112" y="20238"/>
                    <a:pt x="5120" y="20118"/>
                  </a:cubicBezTo>
                  <a:cubicBezTo>
                    <a:pt x="5125" y="20053"/>
                    <a:pt x="5106" y="19971"/>
                    <a:pt x="5167" y="19991"/>
                  </a:cubicBezTo>
                  <a:lnTo>
                    <a:pt x="14550" y="19949"/>
                  </a:lnTo>
                  <a:lnTo>
                    <a:pt x="14613" y="19510"/>
                  </a:lnTo>
                  <a:lnTo>
                    <a:pt x="19803" y="19575"/>
                  </a:lnTo>
                  <a:cubicBezTo>
                    <a:pt x="19884" y="19231"/>
                    <a:pt x="20002" y="19002"/>
                    <a:pt x="20261" y="18855"/>
                  </a:cubicBezTo>
                  <a:cubicBezTo>
                    <a:pt x="20385" y="18785"/>
                    <a:pt x="20424" y="18786"/>
                    <a:pt x="20505" y="18603"/>
                  </a:cubicBezTo>
                  <a:cubicBezTo>
                    <a:pt x="20619" y="18345"/>
                    <a:pt x="20851" y="18458"/>
                    <a:pt x="20975" y="18156"/>
                  </a:cubicBezTo>
                  <a:cubicBezTo>
                    <a:pt x="21040" y="17997"/>
                    <a:pt x="21050" y="17873"/>
                    <a:pt x="21140" y="17750"/>
                  </a:cubicBezTo>
                  <a:cubicBezTo>
                    <a:pt x="21228" y="17628"/>
                    <a:pt x="21322" y="17507"/>
                    <a:pt x="21415" y="17394"/>
                  </a:cubicBezTo>
                  <a:cubicBezTo>
                    <a:pt x="21600" y="17170"/>
                    <a:pt x="21568" y="16954"/>
                    <a:pt x="21426" y="16673"/>
                  </a:cubicBezTo>
                  <a:close/>
                  <a:moveTo>
                    <a:pt x="21426" y="16673"/>
                  </a:moveTo>
                </a:path>
              </a:pathLst>
            </a:custGeom>
            <a:solidFill>
              <a:srgbClr val="C0C0C0"/>
            </a:solidFill>
            <a:ln w="3175">
              <a:solidFill>
                <a:schemeClr val="bg1">
                  <a:lumMod val="85000"/>
                </a:schemeClr>
              </a:solidFill>
            </a:ln>
          </p:spPr>
          <p:txBody>
            <a:bodyPr lIns="0" tIns="0" rIns="0" bIns="0"/>
            <a:lstStyle/>
            <a:p>
              <a:endParaRPr lang="en-US"/>
            </a:p>
          </p:txBody>
        </p:sp>
        <p:sp>
          <p:nvSpPr>
            <p:cNvPr id="211" name="AutoShape 1294">
              <a:extLst>
                <a:ext uri="{FF2B5EF4-FFF2-40B4-BE49-F238E27FC236}">
                  <a16:creationId xmlns:a16="http://schemas.microsoft.com/office/drawing/2014/main" id="{2620A7ED-7AFD-CB40-903B-0F0717CA8155}"/>
                </a:ext>
              </a:extLst>
            </p:cNvPr>
            <p:cNvSpPr>
              <a:spLocks/>
            </p:cNvSpPr>
            <p:nvPr/>
          </p:nvSpPr>
          <p:spPr bwMode="auto">
            <a:xfrm>
              <a:off x="6549557" y="5506029"/>
              <a:ext cx="290326" cy="292865"/>
            </a:xfrm>
            <a:custGeom>
              <a:avLst/>
              <a:gdLst/>
              <a:ahLst/>
              <a:cxnLst/>
              <a:rect l="0" t="0" r="r" b="b"/>
              <a:pathLst>
                <a:path w="20860" h="21600">
                  <a:moveTo>
                    <a:pt x="17760" y="18358"/>
                  </a:moveTo>
                  <a:cubicBezTo>
                    <a:pt x="18306" y="17686"/>
                    <a:pt x="18134" y="16850"/>
                    <a:pt x="18225" y="16008"/>
                  </a:cubicBezTo>
                  <a:cubicBezTo>
                    <a:pt x="18317" y="15157"/>
                    <a:pt x="18722" y="14704"/>
                    <a:pt x="19282" y="14097"/>
                  </a:cubicBezTo>
                  <a:cubicBezTo>
                    <a:pt x="20086" y="13225"/>
                    <a:pt x="21600" y="11835"/>
                    <a:pt x="20435" y="10577"/>
                  </a:cubicBezTo>
                  <a:cubicBezTo>
                    <a:pt x="19417" y="9478"/>
                    <a:pt x="17816" y="10020"/>
                    <a:pt x="17335" y="8437"/>
                  </a:cubicBezTo>
                  <a:cubicBezTo>
                    <a:pt x="17055" y="7514"/>
                    <a:pt x="16870" y="7766"/>
                    <a:pt x="16137" y="7168"/>
                  </a:cubicBezTo>
                  <a:cubicBezTo>
                    <a:pt x="15602" y="6731"/>
                    <a:pt x="15378" y="6083"/>
                    <a:pt x="15005" y="5504"/>
                  </a:cubicBezTo>
                  <a:cubicBezTo>
                    <a:pt x="14518" y="4750"/>
                    <a:pt x="13755" y="3404"/>
                    <a:pt x="13039" y="2629"/>
                  </a:cubicBezTo>
                  <a:cubicBezTo>
                    <a:pt x="12986" y="2680"/>
                    <a:pt x="12921" y="2718"/>
                    <a:pt x="12837" y="2738"/>
                  </a:cubicBezTo>
                  <a:cubicBezTo>
                    <a:pt x="12474" y="2822"/>
                    <a:pt x="12100" y="2516"/>
                    <a:pt x="11864" y="2281"/>
                  </a:cubicBezTo>
                  <a:cubicBezTo>
                    <a:pt x="11513" y="1931"/>
                    <a:pt x="11122" y="1628"/>
                    <a:pt x="10780" y="1271"/>
                  </a:cubicBezTo>
                  <a:cubicBezTo>
                    <a:pt x="10468" y="945"/>
                    <a:pt x="10007" y="345"/>
                    <a:pt x="9538" y="0"/>
                  </a:cubicBezTo>
                  <a:cubicBezTo>
                    <a:pt x="8641" y="662"/>
                    <a:pt x="6852" y="502"/>
                    <a:pt x="5845" y="598"/>
                  </a:cubicBezTo>
                  <a:cubicBezTo>
                    <a:pt x="5070" y="671"/>
                    <a:pt x="4051" y="631"/>
                    <a:pt x="3717" y="1448"/>
                  </a:cubicBezTo>
                  <a:cubicBezTo>
                    <a:pt x="3348" y="2348"/>
                    <a:pt x="3866" y="2417"/>
                    <a:pt x="2989" y="3045"/>
                  </a:cubicBezTo>
                  <a:cubicBezTo>
                    <a:pt x="2681" y="3266"/>
                    <a:pt x="2209" y="3456"/>
                    <a:pt x="2011" y="3773"/>
                  </a:cubicBezTo>
                  <a:cubicBezTo>
                    <a:pt x="1886" y="3973"/>
                    <a:pt x="1927" y="4521"/>
                    <a:pt x="1836" y="4776"/>
                  </a:cubicBezTo>
                  <a:cubicBezTo>
                    <a:pt x="1581" y="5497"/>
                    <a:pt x="967" y="5954"/>
                    <a:pt x="697" y="6671"/>
                  </a:cubicBezTo>
                  <a:cubicBezTo>
                    <a:pt x="483" y="7242"/>
                    <a:pt x="293" y="7823"/>
                    <a:pt x="0" y="8363"/>
                  </a:cubicBezTo>
                  <a:cubicBezTo>
                    <a:pt x="175" y="8337"/>
                    <a:pt x="334" y="8301"/>
                    <a:pt x="530" y="8406"/>
                  </a:cubicBezTo>
                  <a:cubicBezTo>
                    <a:pt x="1137" y="8733"/>
                    <a:pt x="1700" y="9534"/>
                    <a:pt x="2163" y="10048"/>
                  </a:cubicBezTo>
                  <a:cubicBezTo>
                    <a:pt x="2800" y="10755"/>
                    <a:pt x="3402" y="11494"/>
                    <a:pt x="4029" y="12209"/>
                  </a:cubicBezTo>
                  <a:cubicBezTo>
                    <a:pt x="4894" y="13194"/>
                    <a:pt x="5283" y="13880"/>
                    <a:pt x="6635" y="14095"/>
                  </a:cubicBezTo>
                  <a:cubicBezTo>
                    <a:pt x="7739" y="14270"/>
                    <a:pt x="8475" y="15300"/>
                    <a:pt x="9337" y="16005"/>
                  </a:cubicBezTo>
                  <a:cubicBezTo>
                    <a:pt x="9933" y="16493"/>
                    <a:pt x="10615" y="16906"/>
                    <a:pt x="11190" y="17427"/>
                  </a:cubicBezTo>
                  <a:cubicBezTo>
                    <a:pt x="11583" y="17783"/>
                    <a:pt x="11791" y="18197"/>
                    <a:pt x="12147" y="18576"/>
                  </a:cubicBezTo>
                  <a:cubicBezTo>
                    <a:pt x="12542" y="18999"/>
                    <a:pt x="13132" y="19087"/>
                    <a:pt x="13607" y="19349"/>
                  </a:cubicBezTo>
                  <a:cubicBezTo>
                    <a:pt x="14090" y="19615"/>
                    <a:pt x="14495" y="20067"/>
                    <a:pt x="14864" y="20472"/>
                  </a:cubicBezTo>
                  <a:cubicBezTo>
                    <a:pt x="15164" y="20800"/>
                    <a:pt x="15354" y="21213"/>
                    <a:pt x="15576" y="21600"/>
                  </a:cubicBezTo>
                  <a:cubicBezTo>
                    <a:pt x="15861" y="21023"/>
                    <a:pt x="16004" y="20308"/>
                    <a:pt x="16120" y="19835"/>
                  </a:cubicBezTo>
                  <a:cubicBezTo>
                    <a:pt x="16390" y="18734"/>
                    <a:pt x="17120" y="19148"/>
                    <a:pt x="17760" y="18358"/>
                  </a:cubicBezTo>
                  <a:close/>
                  <a:moveTo>
                    <a:pt x="17760" y="18358"/>
                  </a:moveTo>
                </a:path>
              </a:pathLst>
            </a:custGeom>
            <a:solidFill>
              <a:srgbClr val="C0C0C0"/>
            </a:solidFill>
            <a:ln w="3175">
              <a:solidFill>
                <a:schemeClr val="bg1">
                  <a:lumMod val="85000"/>
                </a:schemeClr>
              </a:solidFill>
            </a:ln>
          </p:spPr>
          <p:txBody>
            <a:bodyPr lIns="0" tIns="0" rIns="0" bIns="0"/>
            <a:lstStyle/>
            <a:p>
              <a:endParaRPr lang="en-US"/>
            </a:p>
          </p:txBody>
        </p:sp>
        <p:sp>
          <p:nvSpPr>
            <p:cNvPr id="212" name="AutoShape 1316">
              <a:extLst>
                <a:ext uri="{FF2B5EF4-FFF2-40B4-BE49-F238E27FC236}">
                  <a16:creationId xmlns:a16="http://schemas.microsoft.com/office/drawing/2014/main" id="{4967B5CA-3A24-0146-BA7A-29297057E32F}"/>
                </a:ext>
              </a:extLst>
            </p:cNvPr>
            <p:cNvSpPr>
              <a:spLocks/>
            </p:cNvSpPr>
            <p:nvPr/>
          </p:nvSpPr>
          <p:spPr bwMode="auto">
            <a:xfrm>
              <a:off x="6730129" y="5449599"/>
              <a:ext cx="1372629" cy="332648"/>
            </a:xfrm>
            <a:custGeom>
              <a:avLst/>
              <a:gdLst/>
              <a:ahLst/>
              <a:cxnLst/>
              <a:rect l="0" t="0" r="r" b="b"/>
              <a:pathLst>
                <a:path w="21600" h="21527">
                  <a:moveTo>
                    <a:pt x="21234" y="3212"/>
                  </a:moveTo>
                  <a:cubicBezTo>
                    <a:pt x="21386" y="2680"/>
                    <a:pt x="21487" y="1726"/>
                    <a:pt x="21538" y="973"/>
                  </a:cubicBezTo>
                  <a:cubicBezTo>
                    <a:pt x="21557" y="691"/>
                    <a:pt x="21578" y="430"/>
                    <a:pt x="21600" y="188"/>
                  </a:cubicBezTo>
                  <a:lnTo>
                    <a:pt x="15738" y="0"/>
                  </a:lnTo>
                  <a:lnTo>
                    <a:pt x="15667" y="1265"/>
                  </a:lnTo>
                  <a:lnTo>
                    <a:pt x="5070" y="1386"/>
                  </a:lnTo>
                  <a:cubicBezTo>
                    <a:pt x="5000" y="1328"/>
                    <a:pt x="5021" y="1566"/>
                    <a:pt x="5016" y="1751"/>
                  </a:cubicBezTo>
                  <a:cubicBezTo>
                    <a:pt x="5007" y="2096"/>
                    <a:pt x="5002" y="2224"/>
                    <a:pt x="4910" y="2335"/>
                  </a:cubicBezTo>
                  <a:cubicBezTo>
                    <a:pt x="4830" y="2432"/>
                    <a:pt x="4728" y="2372"/>
                    <a:pt x="4644" y="2372"/>
                  </a:cubicBezTo>
                  <a:cubicBezTo>
                    <a:pt x="4337" y="2372"/>
                    <a:pt x="4031" y="2372"/>
                    <a:pt x="3725" y="2372"/>
                  </a:cubicBezTo>
                  <a:cubicBezTo>
                    <a:pt x="3575" y="2372"/>
                    <a:pt x="3426" y="2372"/>
                    <a:pt x="3277" y="2372"/>
                  </a:cubicBezTo>
                  <a:cubicBezTo>
                    <a:pt x="3221" y="2372"/>
                    <a:pt x="3082" y="2462"/>
                    <a:pt x="3038" y="2302"/>
                  </a:cubicBezTo>
                  <a:cubicBezTo>
                    <a:pt x="3011" y="2206"/>
                    <a:pt x="3020" y="1989"/>
                    <a:pt x="2984" y="1872"/>
                  </a:cubicBezTo>
                  <a:cubicBezTo>
                    <a:pt x="2942" y="1735"/>
                    <a:pt x="2903" y="1734"/>
                    <a:pt x="2850" y="1751"/>
                  </a:cubicBezTo>
                  <a:cubicBezTo>
                    <a:pt x="2668" y="1810"/>
                    <a:pt x="2483" y="1979"/>
                    <a:pt x="2301" y="1875"/>
                  </a:cubicBezTo>
                  <a:cubicBezTo>
                    <a:pt x="2163" y="1798"/>
                    <a:pt x="2031" y="1504"/>
                    <a:pt x="1900" y="1313"/>
                  </a:cubicBezTo>
                  <a:lnTo>
                    <a:pt x="897" y="1423"/>
                  </a:lnTo>
                  <a:cubicBezTo>
                    <a:pt x="786" y="1385"/>
                    <a:pt x="829" y="2422"/>
                    <a:pt x="792" y="2728"/>
                  </a:cubicBezTo>
                  <a:cubicBezTo>
                    <a:pt x="745" y="3122"/>
                    <a:pt x="687" y="2951"/>
                    <a:pt x="604" y="3100"/>
                  </a:cubicBezTo>
                  <a:cubicBezTo>
                    <a:pt x="510" y="3272"/>
                    <a:pt x="526" y="3617"/>
                    <a:pt x="515" y="3969"/>
                  </a:cubicBezTo>
                  <a:cubicBezTo>
                    <a:pt x="499" y="4488"/>
                    <a:pt x="470" y="4764"/>
                    <a:pt x="337" y="4816"/>
                  </a:cubicBezTo>
                  <a:cubicBezTo>
                    <a:pt x="255" y="4848"/>
                    <a:pt x="185" y="4892"/>
                    <a:pt x="115" y="5106"/>
                  </a:cubicBezTo>
                  <a:cubicBezTo>
                    <a:pt x="51" y="5306"/>
                    <a:pt x="48" y="5671"/>
                    <a:pt x="0" y="5852"/>
                  </a:cubicBezTo>
                  <a:cubicBezTo>
                    <a:pt x="157" y="6532"/>
                    <a:pt x="324" y="7712"/>
                    <a:pt x="431" y="8374"/>
                  </a:cubicBezTo>
                  <a:cubicBezTo>
                    <a:pt x="512" y="8882"/>
                    <a:pt x="561" y="9450"/>
                    <a:pt x="679" y="9833"/>
                  </a:cubicBezTo>
                  <a:cubicBezTo>
                    <a:pt x="839" y="10358"/>
                    <a:pt x="880" y="10136"/>
                    <a:pt x="941" y="10946"/>
                  </a:cubicBezTo>
                  <a:cubicBezTo>
                    <a:pt x="1046" y="12335"/>
                    <a:pt x="1397" y="11859"/>
                    <a:pt x="1620" y="12824"/>
                  </a:cubicBezTo>
                  <a:cubicBezTo>
                    <a:pt x="1876" y="13927"/>
                    <a:pt x="1544" y="15146"/>
                    <a:pt x="1368" y="15910"/>
                  </a:cubicBezTo>
                  <a:cubicBezTo>
                    <a:pt x="1245" y="16443"/>
                    <a:pt x="1156" y="16840"/>
                    <a:pt x="1136" y="17587"/>
                  </a:cubicBezTo>
                  <a:cubicBezTo>
                    <a:pt x="1128" y="17906"/>
                    <a:pt x="1130" y="18223"/>
                    <a:pt x="1125" y="18529"/>
                  </a:cubicBezTo>
                  <a:lnTo>
                    <a:pt x="2101" y="18487"/>
                  </a:lnTo>
                  <a:lnTo>
                    <a:pt x="2101" y="19071"/>
                  </a:lnTo>
                  <a:lnTo>
                    <a:pt x="2906" y="20530"/>
                  </a:lnTo>
                  <a:lnTo>
                    <a:pt x="2989" y="20822"/>
                  </a:lnTo>
                  <a:lnTo>
                    <a:pt x="3013" y="21163"/>
                  </a:lnTo>
                  <a:lnTo>
                    <a:pt x="3723" y="21163"/>
                  </a:lnTo>
                  <a:lnTo>
                    <a:pt x="4303" y="21163"/>
                  </a:lnTo>
                  <a:lnTo>
                    <a:pt x="5096" y="21065"/>
                  </a:lnTo>
                  <a:lnTo>
                    <a:pt x="5451" y="21260"/>
                  </a:lnTo>
                  <a:lnTo>
                    <a:pt x="12507" y="21309"/>
                  </a:lnTo>
                  <a:cubicBezTo>
                    <a:pt x="13038" y="21285"/>
                    <a:pt x="13569" y="21262"/>
                    <a:pt x="14100" y="21239"/>
                  </a:cubicBezTo>
                  <a:cubicBezTo>
                    <a:pt x="15126" y="21195"/>
                    <a:pt x="16152" y="21151"/>
                    <a:pt x="17177" y="21106"/>
                  </a:cubicBezTo>
                  <a:cubicBezTo>
                    <a:pt x="17922" y="21074"/>
                    <a:pt x="18672" y="21033"/>
                    <a:pt x="19412" y="20950"/>
                  </a:cubicBezTo>
                  <a:cubicBezTo>
                    <a:pt x="19586" y="20930"/>
                    <a:pt x="19746" y="21187"/>
                    <a:pt x="19901" y="21506"/>
                  </a:cubicBezTo>
                  <a:cubicBezTo>
                    <a:pt x="20045" y="21537"/>
                    <a:pt x="20196" y="21600"/>
                    <a:pt x="20299" y="21128"/>
                  </a:cubicBezTo>
                  <a:cubicBezTo>
                    <a:pt x="20355" y="20872"/>
                    <a:pt x="20342" y="20362"/>
                    <a:pt x="20364" y="20044"/>
                  </a:cubicBezTo>
                  <a:cubicBezTo>
                    <a:pt x="20396" y="19576"/>
                    <a:pt x="20462" y="19243"/>
                    <a:pt x="20542" y="18887"/>
                  </a:cubicBezTo>
                  <a:cubicBezTo>
                    <a:pt x="20682" y="18264"/>
                    <a:pt x="20810" y="17703"/>
                    <a:pt x="20885" y="16879"/>
                  </a:cubicBezTo>
                  <a:cubicBezTo>
                    <a:pt x="20922" y="16466"/>
                    <a:pt x="20862" y="16241"/>
                    <a:pt x="20841" y="15861"/>
                  </a:cubicBezTo>
                  <a:cubicBezTo>
                    <a:pt x="20799" y="15105"/>
                    <a:pt x="20989" y="14508"/>
                    <a:pt x="20945" y="13781"/>
                  </a:cubicBezTo>
                  <a:cubicBezTo>
                    <a:pt x="20919" y="13375"/>
                    <a:pt x="20834" y="13137"/>
                    <a:pt x="20900" y="12698"/>
                  </a:cubicBezTo>
                  <a:cubicBezTo>
                    <a:pt x="20994" y="12072"/>
                    <a:pt x="21310" y="12139"/>
                    <a:pt x="21125" y="11045"/>
                  </a:cubicBezTo>
                  <a:cubicBezTo>
                    <a:pt x="21048" y="10593"/>
                    <a:pt x="21010" y="10658"/>
                    <a:pt x="21006" y="10072"/>
                  </a:cubicBezTo>
                  <a:cubicBezTo>
                    <a:pt x="21003" y="9573"/>
                    <a:pt x="21030" y="9114"/>
                    <a:pt x="21030" y="8611"/>
                  </a:cubicBezTo>
                  <a:cubicBezTo>
                    <a:pt x="21030" y="8146"/>
                    <a:pt x="21006" y="7749"/>
                    <a:pt x="20992" y="7297"/>
                  </a:cubicBezTo>
                  <a:cubicBezTo>
                    <a:pt x="20969" y="6558"/>
                    <a:pt x="21165" y="6188"/>
                    <a:pt x="21137" y="5450"/>
                  </a:cubicBezTo>
                  <a:cubicBezTo>
                    <a:pt x="21120" y="4999"/>
                    <a:pt x="21037" y="4979"/>
                    <a:pt x="20982" y="4661"/>
                  </a:cubicBezTo>
                  <a:cubicBezTo>
                    <a:pt x="20817" y="3702"/>
                    <a:pt x="21111" y="3644"/>
                    <a:pt x="21234" y="3212"/>
                  </a:cubicBezTo>
                  <a:close/>
                  <a:moveTo>
                    <a:pt x="21234" y="3212"/>
                  </a:moveTo>
                </a:path>
              </a:pathLst>
            </a:custGeom>
            <a:solidFill>
              <a:srgbClr val="C0C0C0"/>
            </a:solidFill>
            <a:ln w="3175">
              <a:solidFill>
                <a:schemeClr val="bg1">
                  <a:lumMod val="85000"/>
                </a:schemeClr>
              </a:solidFill>
            </a:ln>
          </p:spPr>
          <p:txBody>
            <a:bodyPr lIns="0" tIns="0" rIns="0" bIns="0"/>
            <a:lstStyle/>
            <a:p>
              <a:endParaRPr lang="en-US"/>
            </a:p>
          </p:txBody>
        </p:sp>
        <p:sp>
          <p:nvSpPr>
            <p:cNvPr id="213" name="AutoShape 1342">
              <a:extLst>
                <a:ext uri="{FF2B5EF4-FFF2-40B4-BE49-F238E27FC236}">
                  <a16:creationId xmlns:a16="http://schemas.microsoft.com/office/drawing/2014/main" id="{42BDC20D-D59B-D04E-87D4-88D35D61E6CD}"/>
                </a:ext>
              </a:extLst>
            </p:cNvPr>
            <p:cNvSpPr>
              <a:spLocks/>
            </p:cNvSpPr>
            <p:nvPr/>
          </p:nvSpPr>
          <p:spPr bwMode="auto">
            <a:xfrm>
              <a:off x="6766243" y="5736257"/>
              <a:ext cx="643852" cy="495163"/>
            </a:xfrm>
            <a:custGeom>
              <a:avLst/>
              <a:gdLst/>
              <a:ahLst/>
              <a:cxnLst/>
              <a:rect l="0" t="0" r="r" b="b"/>
              <a:pathLst>
                <a:path w="21600" h="21529">
                  <a:moveTo>
                    <a:pt x="21305" y="9651"/>
                  </a:moveTo>
                  <a:cubicBezTo>
                    <a:pt x="21597" y="9416"/>
                    <a:pt x="21504" y="8582"/>
                    <a:pt x="21510" y="8173"/>
                  </a:cubicBezTo>
                  <a:cubicBezTo>
                    <a:pt x="21520" y="7461"/>
                    <a:pt x="21530" y="6750"/>
                    <a:pt x="21540" y="6039"/>
                  </a:cubicBezTo>
                  <a:cubicBezTo>
                    <a:pt x="21560" y="4656"/>
                    <a:pt x="21580" y="3272"/>
                    <a:pt x="21600" y="1889"/>
                  </a:cubicBezTo>
                  <a:lnTo>
                    <a:pt x="10439" y="1865"/>
                  </a:lnTo>
                  <a:lnTo>
                    <a:pt x="9681" y="1734"/>
                  </a:lnTo>
                  <a:lnTo>
                    <a:pt x="7990" y="1799"/>
                  </a:lnTo>
                  <a:lnTo>
                    <a:pt x="6753" y="1799"/>
                  </a:lnTo>
                  <a:lnTo>
                    <a:pt x="5239" y="1799"/>
                  </a:lnTo>
                  <a:lnTo>
                    <a:pt x="5188" y="1570"/>
                  </a:lnTo>
                  <a:lnTo>
                    <a:pt x="5012" y="1374"/>
                  </a:lnTo>
                  <a:lnTo>
                    <a:pt x="3295" y="393"/>
                  </a:lnTo>
                  <a:lnTo>
                    <a:pt x="3295" y="0"/>
                  </a:lnTo>
                  <a:lnTo>
                    <a:pt x="1214" y="28"/>
                  </a:lnTo>
                  <a:cubicBezTo>
                    <a:pt x="1202" y="299"/>
                    <a:pt x="1165" y="555"/>
                    <a:pt x="1020" y="781"/>
                  </a:cubicBezTo>
                  <a:cubicBezTo>
                    <a:pt x="721" y="1247"/>
                    <a:pt x="380" y="1002"/>
                    <a:pt x="254" y="1652"/>
                  </a:cubicBezTo>
                  <a:cubicBezTo>
                    <a:pt x="200" y="1931"/>
                    <a:pt x="133" y="2353"/>
                    <a:pt x="0" y="2693"/>
                  </a:cubicBezTo>
                  <a:cubicBezTo>
                    <a:pt x="58" y="2819"/>
                    <a:pt x="119" y="2942"/>
                    <a:pt x="197" y="3047"/>
                  </a:cubicBezTo>
                  <a:cubicBezTo>
                    <a:pt x="388" y="3308"/>
                    <a:pt x="672" y="3604"/>
                    <a:pt x="903" y="3811"/>
                  </a:cubicBezTo>
                  <a:cubicBezTo>
                    <a:pt x="1160" y="4041"/>
                    <a:pt x="1338" y="4300"/>
                    <a:pt x="1527" y="4626"/>
                  </a:cubicBezTo>
                  <a:cubicBezTo>
                    <a:pt x="1939" y="5336"/>
                    <a:pt x="2397" y="6014"/>
                    <a:pt x="2785" y="6741"/>
                  </a:cubicBezTo>
                  <a:cubicBezTo>
                    <a:pt x="3466" y="8018"/>
                    <a:pt x="4047" y="9255"/>
                    <a:pt x="4310" y="10796"/>
                  </a:cubicBezTo>
                  <a:cubicBezTo>
                    <a:pt x="4460" y="11677"/>
                    <a:pt x="4619" y="12568"/>
                    <a:pt x="4778" y="13453"/>
                  </a:cubicBezTo>
                  <a:cubicBezTo>
                    <a:pt x="4814" y="13653"/>
                    <a:pt x="4916" y="13929"/>
                    <a:pt x="4875" y="14136"/>
                  </a:cubicBezTo>
                  <a:cubicBezTo>
                    <a:pt x="4817" y="14425"/>
                    <a:pt x="4631" y="14369"/>
                    <a:pt x="4513" y="14585"/>
                  </a:cubicBezTo>
                  <a:cubicBezTo>
                    <a:pt x="4332" y="14913"/>
                    <a:pt x="4444" y="15831"/>
                    <a:pt x="4733" y="16023"/>
                  </a:cubicBezTo>
                  <a:cubicBezTo>
                    <a:pt x="4906" y="16138"/>
                    <a:pt x="5054" y="15787"/>
                    <a:pt x="5183" y="15903"/>
                  </a:cubicBezTo>
                  <a:cubicBezTo>
                    <a:pt x="5364" y="16065"/>
                    <a:pt x="5081" y="16466"/>
                    <a:pt x="5018" y="16583"/>
                  </a:cubicBezTo>
                  <a:cubicBezTo>
                    <a:pt x="4853" y="16889"/>
                    <a:pt x="4616" y="18537"/>
                    <a:pt x="5138" y="18547"/>
                  </a:cubicBezTo>
                  <a:cubicBezTo>
                    <a:pt x="5489" y="18554"/>
                    <a:pt x="5070" y="17399"/>
                    <a:pt x="5542" y="17305"/>
                  </a:cubicBezTo>
                  <a:cubicBezTo>
                    <a:pt x="5859" y="17241"/>
                    <a:pt x="6343" y="18107"/>
                    <a:pt x="6526" y="18416"/>
                  </a:cubicBezTo>
                  <a:cubicBezTo>
                    <a:pt x="6803" y="18886"/>
                    <a:pt x="7039" y="19358"/>
                    <a:pt x="6978" y="19982"/>
                  </a:cubicBezTo>
                  <a:cubicBezTo>
                    <a:pt x="6673" y="20021"/>
                    <a:pt x="6590" y="19373"/>
                    <a:pt x="6501" y="19104"/>
                  </a:cubicBezTo>
                  <a:cubicBezTo>
                    <a:pt x="6374" y="18719"/>
                    <a:pt x="6218" y="18397"/>
                    <a:pt x="5989" y="18099"/>
                  </a:cubicBezTo>
                  <a:cubicBezTo>
                    <a:pt x="5857" y="17926"/>
                    <a:pt x="5403" y="17523"/>
                    <a:pt x="5484" y="18064"/>
                  </a:cubicBezTo>
                  <a:cubicBezTo>
                    <a:pt x="5534" y="18398"/>
                    <a:pt x="5779" y="18543"/>
                    <a:pt x="5928" y="18784"/>
                  </a:cubicBezTo>
                  <a:cubicBezTo>
                    <a:pt x="6051" y="18981"/>
                    <a:pt x="6203" y="19275"/>
                    <a:pt x="6293" y="19504"/>
                  </a:cubicBezTo>
                  <a:cubicBezTo>
                    <a:pt x="6400" y="19773"/>
                    <a:pt x="6494" y="20071"/>
                    <a:pt x="6521" y="20371"/>
                  </a:cubicBezTo>
                  <a:cubicBezTo>
                    <a:pt x="6542" y="20614"/>
                    <a:pt x="6456" y="21600"/>
                    <a:pt x="6779" y="21524"/>
                  </a:cubicBezTo>
                  <a:lnTo>
                    <a:pt x="15638" y="20445"/>
                  </a:lnTo>
                  <a:lnTo>
                    <a:pt x="21065" y="19692"/>
                  </a:lnTo>
                  <a:lnTo>
                    <a:pt x="21152" y="19681"/>
                  </a:lnTo>
                  <a:lnTo>
                    <a:pt x="21134" y="10067"/>
                  </a:lnTo>
                  <a:cubicBezTo>
                    <a:pt x="21111" y="9769"/>
                    <a:pt x="21156" y="9769"/>
                    <a:pt x="21305" y="9651"/>
                  </a:cubicBezTo>
                  <a:close/>
                  <a:moveTo>
                    <a:pt x="21305" y="9651"/>
                  </a:moveTo>
                </a:path>
              </a:pathLst>
            </a:custGeom>
            <a:solidFill>
              <a:srgbClr val="C0C0C0"/>
            </a:solidFill>
            <a:ln w="3175">
              <a:solidFill>
                <a:schemeClr val="bg1">
                  <a:lumMod val="85000"/>
                </a:schemeClr>
              </a:solidFill>
            </a:ln>
          </p:spPr>
          <p:txBody>
            <a:bodyPr lIns="0" tIns="0" rIns="0" bIns="0"/>
            <a:lstStyle/>
            <a:p>
              <a:endParaRPr lang="en-US"/>
            </a:p>
          </p:txBody>
        </p:sp>
        <p:sp>
          <p:nvSpPr>
            <p:cNvPr id="214" name="AutoShape 1366">
              <a:extLst>
                <a:ext uri="{FF2B5EF4-FFF2-40B4-BE49-F238E27FC236}">
                  <a16:creationId xmlns:a16="http://schemas.microsoft.com/office/drawing/2014/main" id="{FD48E4A5-34FF-DB43-88DD-45D6C0B9B0C1}"/>
                </a:ext>
              </a:extLst>
            </p:cNvPr>
            <p:cNvSpPr>
              <a:spLocks/>
            </p:cNvSpPr>
            <p:nvPr/>
          </p:nvSpPr>
          <p:spPr bwMode="auto">
            <a:xfrm>
              <a:off x="7395988" y="5774630"/>
              <a:ext cx="692098" cy="414470"/>
            </a:xfrm>
            <a:custGeom>
              <a:avLst/>
              <a:gdLst/>
              <a:ahLst/>
              <a:cxnLst/>
              <a:rect l="0" t="0" r="r" b="b"/>
              <a:pathLst>
                <a:path w="21534" h="21585">
                  <a:moveTo>
                    <a:pt x="21316" y="13099"/>
                  </a:moveTo>
                  <a:cubicBezTo>
                    <a:pt x="21381" y="12805"/>
                    <a:pt x="21584" y="12468"/>
                    <a:pt x="21523" y="12118"/>
                  </a:cubicBezTo>
                  <a:cubicBezTo>
                    <a:pt x="21479" y="11868"/>
                    <a:pt x="21215" y="11597"/>
                    <a:pt x="21123" y="11367"/>
                  </a:cubicBezTo>
                  <a:cubicBezTo>
                    <a:pt x="20842" y="10666"/>
                    <a:pt x="20602" y="10047"/>
                    <a:pt x="20023" y="10346"/>
                  </a:cubicBezTo>
                  <a:cubicBezTo>
                    <a:pt x="19744" y="10490"/>
                    <a:pt x="19632" y="10637"/>
                    <a:pt x="19374" y="10385"/>
                  </a:cubicBezTo>
                  <a:cubicBezTo>
                    <a:pt x="19164" y="10181"/>
                    <a:pt x="18881" y="10241"/>
                    <a:pt x="18718" y="9956"/>
                  </a:cubicBezTo>
                  <a:cubicBezTo>
                    <a:pt x="18568" y="9691"/>
                    <a:pt x="18362" y="9100"/>
                    <a:pt x="18273" y="8780"/>
                  </a:cubicBezTo>
                  <a:cubicBezTo>
                    <a:pt x="18091" y="8126"/>
                    <a:pt x="18552" y="7472"/>
                    <a:pt x="18642" y="6871"/>
                  </a:cubicBezTo>
                  <a:cubicBezTo>
                    <a:pt x="18703" y="6464"/>
                    <a:pt x="18724" y="6052"/>
                    <a:pt x="18736" y="5626"/>
                  </a:cubicBezTo>
                  <a:cubicBezTo>
                    <a:pt x="18744" y="5320"/>
                    <a:pt x="18809" y="4906"/>
                    <a:pt x="18759" y="4599"/>
                  </a:cubicBezTo>
                  <a:cubicBezTo>
                    <a:pt x="18698" y="4217"/>
                    <a:pt x="18544" y="4237"/>
                    <a:pt x="18339" y="4100"/>
                  </a:cubicBezTo>
                  <a:cubicBezTo>
                    <a:pt x="17713" y="3682"/>
                    <a:pt x="18228" y="2972"/>
                    <a:pt x="18221" y="2249"/>
                  </a:cubicBezTo>
                  <a:cubicBezTo>
                    <a:pt x="18216" y="1764"/>
                    <a:pt x="17793" y="1030"/>
                    <a:pt x="18089" y="629"/>
                  </a:cubicBezTo>
                  <a:cubicBezTo>
                    <a:pt x="18239" y="425"/>
                    <a:pt x="18445" y="430"/>
                    <a:pt x="18658" y="449"/>
                  </a:cubicBezTo>
                  <a:cubicBezTo>
                    <a:pt x="18352" y="192"/>
                    <a:pt x="18035" y="-15"/>
                    <a:pt x="17690" y="1"/>
                  </a:cubicBezTo>
                  <a:cubicBezTo>
                    <a:pt x="16226" y="68"/>
                    <a:pt x="14744" y="101"/>
                    <a:pt x="13272" y="127"/>
                  </a:cubicBezTo>
                  <a:cubicBezTo>
                    <a:pt x="11244" y="163"/>
                    <a:pt x="9216" y="198"/>
                    <a:pt x="7188" y="234"/>
                  </a:cubicBezTo>
                  <a:cubicBezTo>
                    <a:pt x="6138" y="253"/>
                    <a:pt x="5087" y="271"/>
                    <a:pt x="4037" y="290"/>
                  </a:cubicBezTo>
                  <a:lnTo>
                    <a:pt x="437" y="280"/>
                  </a:lnTo>
                  <a:cubicBezTo>
                    <a:pt x="419" y="1936"/>
                    <a:pt x="400" y="3593"/>
                    <a:pt x="382" y="5250"/>
                  </a:cubicBezTo>
                  <a:cubicBezTo>
                    <a:pt x="373" y="6101"/>
                    <a:pt x="363" y="6953"/>
                    <a:pt x="354" y="7804"/>
                  </a:cubicBezTo>
                  <a:cubicBezTo>
                    <a:pt x="348" y="8295"/>
                    <a:pt x="434" y="9294"/>
                    <a:pt x="164" y="9574"/>
                  </a:cubicBezTo>
                  <a:cubicBezTo>
                    <a:pt x="26" y="9716"/>
                    <a:pt x="-16" y="9716"/>
                    <a:pt x="6" y="10073"/>
                  </a:cubicBezTo>
                  <a:lnTo>
                    <a:pt x="22" y="21585"/>
                  </a:lnTo>
                  <a:lnTo>
                    <a:pt x="6822" y="20424"/>
                  </a:lnTo>
                  <a:lnTo>
                    <a:pt x="11948" y="19679"/>
                  </a:lnTo>
                  <a:cubicBezTo>
                    <a:pt x="11948" y="19679"/>
                    <a:pt x="14944" y="19405"/>
                    <a:pt x="15014" y="19405"/>
                  </a:cubicBezTo>
                  <a:cubicBezTo>
                    <a:pt x="15351" y="19405"/>
                    <a:pt x="15691" y="19340"/>
                    <a:pt x="16026" y="19305"/>
                  </a:cubicBezTo>
                  <a:cubicBezTo>
                    <a:pt x="16545" y="19252"/>
                    <a:pt x="17008" y="19063"/>
                    <a:pt x="17519" y="18937"/>
                  </a:cubicBezTo>
                  <a:cubicBezTo>
                    <a:pt x="17681" y="18897"/>
                    <a:pt x="17946" y="18963"/>
                    <a:pt x="18086" y="18829"/>
                  </a:cubicBezTo>
                  <a:cubicBezTo>
                    <a:pt x="18305" y="18620"/>
                    <a:pt x="18233" y="18373"/>
                    <a:pt x="18525" y="18348"/>
                  </a:cubicBezTo>
                  <a:cubicBezTo>
                    <a:pt x="18766" y="18327"/>
                    <a:pt x="18912" y="18518"/>
                    <a:pt x="19134" y="18613"/>
                  </a:cubicBezTo>
                  <a:cubicBezTo>
                    <a:pt x="19591" y="18809"/>
                    <a:pt x="19856" y="18461"/>
                    <a:pt x="20192" y="18034"/>
                  </a:cubicBezTo>
                  <a:cubicBezTo>
                    <a:pt x="20356" y="17826"/>
                    <a:pt x="20511" y="17729"/>
                    <a:pt x="20580" y="17369"/>
                  </a:cubicBezTo>
                  <a:cubicBezTo>
                    <a:pt x="20646" y="17022"/>
                    <a:pt x="20555" y="16659"/>
                    <a:pt x="20730" y="16399"/>
                  </a:cubicBezTo>
                  <a:cubicBezTo>
                    <a:pt x="21086" y="15870"/>
                    <a:pt x="21563" y="16252"/>
                    <a:pt x="21521" y="15175"/>
                  </a:cubicBezTo>
                  <a:cubicBezTo>
                    <a:pt x="21492" y="14448"/>
                    <a:pt x="21151" y="13844"/>
                    <a:pt x="21316" y="13099"/>
                  </a:cubicBezTo>
                  <a:close/>
                  <a:moveTo>
                    <a:pt x="21316" y="13099"/>
                  </a:moveTo>
                </a:path>
              </a:pathLst>
            </a:custGeom>
            <a:solidFill>
              <a:srgbClr val="C0C0C0"/>
            </a:solidFill>
            <a:ln w="3175">
              <a:solidFill>
                <a:schemeClr val="bg1">
                  <a:lumMod val="85000"/>
                </a:schemeClr>
              </a:solidFill>
            </a:ln>
          </p:spPr>
          <p:txBody>
            <a:bodyPr lIns="0" tIns="0" rIns="0" bIns="0"/>
            <a:lstStyle/>
            <a:p>
              <a:endParaRPr lang="en-US"/>
            </a:p>
          </p:txBody>
        </p:sp>
      </p:grpSp>
    </p:spTree>
    <p:extLst>
      <p:ext uri="{BB962C8B-B14F-4D97-AF65-F5344CB8AC3E}">
        <p14:creationId xmlns:p14="http://schemas.microsoft.com/office/powerpoint/2010/main" val="24103250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lifornia Regions</a:t>
            </a:r>
          </a:p>
        </p:txBody>
      </p:sp>
      <p:grpSp>
        <p:nvGrpSpPr>
          <p:cNvPr id="14" name="Group 13"/>
          <p:cNvGrpSpPr>
            <a:grpSpLocks noChangeAspect="1"/>
          </p:cNvGrpSpPr>
          <p:nvPr/>
        </p:nvGrpSpPr>
        <p:grpSpPr>
          <a:xfrm>
            <a:off x="2002728" y="1126260"/>
            <a:ext cx="4778261" cy="5029200"/>
            <a:chOff x="1638602" y="891077"/>
            <a:chExt cx="7221785" cy="7601050"/>
          </a:xfrm>
          <a:solidFill>
            <a:schemeClr val="bg1">
              <a:lumMod val="75000"/>
            </a:schemeClr>
          </a:solidFill>
        </p:grpSpPr>
        <p:sp>
          <p:nvSpPr>
            <p:cNvPr id="3" name="San Diego &amp; Imperial"/>
            <p:cNvSpPr>
              <a:spLocks/>
            </p:cNvSpPr>
            <p:nvPr/>
          </p:nvSpPr>
          <p:spPr bwMode="auto">
            <a:xfrm>
              <a:off x="6415967" y="7706571"/>
              <a:ext cx="2206810" cy="785556"/>
            </a:xfrm>
            <a:custGeom>
              <a:avLst/>
              <a:gdLst/>
              <a:ahLst/>
              <a:cxnLst/>
              <a:rect l="l" t="t" r="r" b="b"/>
              <a:pathLst>
                <a:path w="2206810" h="785556">
                  <a:moveTo>
                    <a:pt x="166163" y="0"/>
                  </a:moveTo>
                  <a:cubicBezTo>
                    <a:pt x="165416" y="4713"/>
                    <a:pt x="164776" y="9348"/>
                    <a:pt x="164030" y="14061"/>
                  </a:cubicBezTo>
                  <a:lnTo>
                    <a:pt x="223008" y="40063"/>
                  </a:lnTo>
                  <a:lnTo>
                    <a:pt x="252443" y="52082"/>
                  </a:lnTo>
                  <a:cubicBezTo>
                    <a:pt x="253190" y="52789"/>
                    <a:pt x="253830" y="53418"/>
                    <a:pt x="254576" y="54125"/>
                  </a:cubicBezTo>
                  <a:lnTo>
                    <a:pt x="254576" y="58131"/>
                  </a:lnTo>
                  <a:lnTo>
                    <a:pt x="254576" y="60095"/>
                  </a:lnTo>
                  <a:lnTo>
                    <a:pt x="254576" y="62137"/>
                  </a:lnTo>
                  <a:lnTo>
                    <a:pt x="269294" y="64101"/>
                  </a:lnTo>
                  <a:lnTo>
                    <a:pt x="286039" y="68108"/>
                  </a:lnTo>
                  <a:lnTo>
                    <a:pt x="321873" y="68108"/>
                  </a:lnTo>
                  <a:lnTo>
                    <a:pt x="357601" y="62137"/>
                  </a:lnTo>
                  <a:lnTo>
                    <a:pt x="389170" y="62137"/>
                  </a:lnTo>
                  <a:lnTo>
                    <a:pt x="475451" y="64101"/>
                  </a:lnTo>
                  <a:lnTo>
                    <a:pt x="570157" y="68108"/>
                  </a:lnTo>
                  <a:lnTo>
                    <a:pt x="1066511" y="68108"/>
                  </a:lnTo>
                  <a:lnTo>
                    <a:pt x="1066641" y="68396"/>
                  </a:lnTo>
                  <a:lnTo>
                    <a:pt x="1066638" y="68135"/>
                  </a:lnTo>
                  <a:lnTo>
                    <a:pt x="1068741" y="68135"/>
                  </a:lnTo>
                  <a:lnTo>
                    <a:pt x="1321178" y="68135"/>
                  </a:lnTo>
                  <a:lnTo>
                    <a:pt x="1575718" y="62123"/>
                  </a:lnTo>
                  <a:lnTo>
                    <a:pt x="1830259" y="62123"/>
                  </a:lnTo>
                  <a:lnTo>
                    <a:pt x="1956477" y="62123"/>
                  </a:lnTo>
                  <a:lnTo>
                    <a:pt x="2082696" y="64127"/>
                  </a:lnTo>
                  <a:lnTo>
                    <a:pt x="2078488" y="70139"/>
                  </a:lnTo>
                  <a:lnTo>
                    <a:pt x="2067970" y="72143"/>
                  </a:lnTo>
                  <a:lnTo>
                    <a:pt x="2042726" y="74147"/>
                  </a:lnTo>
                  <a:lnTo>
                    <a:pt x="2032208" y="74147"/>
                  </a:lnTo>
                  <a:lnTo>
                    <a:pt x="2028001" y="78155"/>
                  </a:lnTo>
                  <a:lnTo>
                    <a:pt x="2021690" y="80159"/>
                  </a:lnTo>
                  <a:lnTo>
                    <a:pt x="2019586" y="84167"/>
                  </a:lnTo>
                  <a:lnTo>
                    <a:pt x="2021690" y="90178"/>
                  </a:lnTo>
                  <a:lnTo>
                    <a:pt x="2021690" y="92182"/>
                  </a:lnTo>
                  <a:lnTo>
                    <a:pt x="2021690" y="100198"/>
                  </a:lnTo>
                  <a:lnTo>
                    <a:pt x="2025897" y="110218"/>
                  </a:lnTo>
                  <a:lnTo>
                    <a:pt x="2030105" y="118234"/>
                  </a:lnTo>
                  <a:lnTo>
                    <a:pt x="2030105" y="124246"/>
                  </a:lnTo>
                  <a:lnTo>
                    <a:pt x="2028001" y="138274"/>
                  </a:lnTo>
                  <a:lnTo>
                    <a:pt x="2028001" y="140278"/>
                  </a:lnTo>
                  <a:lnTo>
                    <a:pt x="2019586" y="148293"/>
                  </a:lnTo>
                  <a:lnTo>
                    <a:pt x="2015379" y="156309"/>
                  </a:lnTo>
                  <a:lnTo>
                    <a:pt x="2015379" y="162321"/>
                  </a:lnTo>
                  <a:lnTo>
                    <a:pt x="2017483" y="172341"/>
                  </a:lnTo>
                  <a:lnTo>
                    <a:pt x="2046934" y="184365"/>
                  </a:lnTo>
                  <a:lnTo>
                    <a:pt x="2049037" y="186369"/>
                  </a:lnTo>
                  <a:lnTo>
                    <a:pt x="2051141" y="192381"/>
                  </a:lnTo>
                  <a:lnTo>
                    <a:pt x="2051141" y="210416"/>
                  </a:lnTo>
                  <a:lnTo>
                    <a:pt x="2051141" y="232460"/>
                  </a:lnTo>
                  <a:lnTo>
                    <a:pt x="2051141" y="252500"/>
                  </a:lnTo>
                  <a:lnTo>
                    <a:pt x="2051141" y="256507"/>
                  </a:lnTo>
                  <a:lnTo>
                    <a:pt x="2049037" y="270535"/>
                  </a:lnTo>
                  <a:lnTo>
                    <a:pt x="2042726" y="282559"/>
                  </a:lnTo>
                  <a:lnTo>
                    <a:pt x="2032208" y="306607"/>
                  </a:lnTo>
                  <a:lnTo>
                    <a:pt x="2030105" y="320634"/>
                  </a:lnTo>
                  <a:lnTo>
                    <a:pt x="2032208" y="330654"/>
                  </a:lnTo>
                  <a:lnTo>
                    <a:pt x="2032208" y="334662"/>
                  </a:lnTo>
                  <a:lnTo>
                    <a:pt x="2036415" y="336666"/>
                  </a:lnTo>
                  <a:lnTo>
                    <a:pt x="2040623" y="340674"/>
                  </a:lnTo>
                  <a:lnTo>
                    <a:pt x="2042726" y="350694"/>
                  </a:lnTo>
                  <a:lnTo>
                    <a:pt x="2049037" y="356706"/>
                  </a:lnTo>
                  <a:lnTo>
                    <a:pt x="2059555" y="374741"/>
                  </a:lnTo>
                  <a:lnTo>
                    <a:pt x="2070074" y="376745"/>
                  </a:lnTo>
                  <a:lnTo>
                    <a:pt x="2078488" y="374741"/>
                  </a:lnTo>
                  <a:lnTo>
                    <a:pt x="2084799" y="378749"/>
                  </a:lnTo>
                  <a:lnTo>
                    <a:pt x="2095317" y="384761"/>
                  </a:lnTo>
                  <a:lnTo>
                    <a:pt x="2105836" y="386765"/>
                  </a:lnTo>
                  <a:lnTo>
                    <a:pt x="2126872" y="382757"/>
                  </a:lnTo>
                  <a:lnTo>
                    <a:pt x="2139494" y="378749"/>
                  </a:lnTo>
                  <a:lnTo>
                    <a:pt x="2150012" y="378749"/>
                  </a:lnTo>
                  <a:lnTo>
                    <a:pt x="2160530" y="382757"/>
                  </a:lnTo>
                  <a:lnTo>
                    <a:pt x="2171048" y="388769"/>
                  </a:lnTo>
                  <a:lnTo>
                    <a:pt x="2179463" y="404801"/>
                  </a:lnTo>
                  <a:lnTo>
                    <a:pt x="2189981" y="418828"/>
                  </a:lnTo>
                  <a:lnTo>
                    <a:pt x="2198396" y="424840"/>
                  </a:lnTo>
                  <a:lnTo>
                    <a:pt x="2200499" y="428848"/>
                  </a:lnTo>
                  <a:lnTo>
                    <a:pt x="2200499" y="432856"/>
                  </a:lnTo>
                  <a:lnTo>
                    <a:pt x="2200499" y="434860"/>
                  </a:lnTo>
                  <a:lnTo>
                    <a:pt x="2198396" y="446884"/>
                  </a:lnTo>
                  <a:lnTo>
                    <a:pt x="2196292" y="458908"/>
                  </a:lnTo>
                  <a:lnTo>
                    <a:pt x="2196292" y="474939"/>
                  </a:lnTo>
                  <a:lnTo>
                    <a:pt x="2198396" y="488967"/>
                  </a:lnTo>
                  <a:lnTo>
                    <a:pt x="2206810" y="519027"/>
                  </a:lnTo>
                  <a:lnTo>
                    <a:pt x="2206810" y="527042"/>
                  </a:lnTo>
                  <a:lnTo>
                    <a:pt x="2200499" y="535058"/>
                  </a:lnTo>
                  <a:lnTo>
                    <a:pt x="2192085" y="543074"/>
                  </a:lnTo>
                  <a:lnTo>
                    <a:pt x="2175256" y="553094"/>
                  </a:lnTo>
                  <a:lnTo>
                    <a:pt x="2164737" y="559106"/>
                  </a:lnTo>
                  <a:lnTo>
                    <a:pt x="2158427" y="567122"/>
                  </a:lnTo>
                  <a:lnTo>
                    <a:pt x="2154219" y="575138"/>
                  </a:lnTo>
                  <a:lnTo>
                    <a:pt x="2154219" y="587161"/>
                  </a:lnTo>
                  <a:lnTo>
                    <a:pt x="2156323" y="595177"/>
                  </a:lnTo>
                  <a:lnTo>
                    <a:pt x="2147908" y="595177"/>
                  </a:lnTo>
                  <a:lnTo>
                    <a:pt x="2147908" y="601189"/>
                  </a:lnTo>
                  <a:lnTo>
                    <a:pt x="2135286" y="601189"/>
                  </a:lnTo>
                  <a:lnTo>
                    <a:pt x="2135286" y="611209"/>
                  </a:lnTo>
                  <a:lnTo>
                    <a:pt x="2126872" y="611209"/>
                  </a:lnTo>
                  <a:lnTo>
                    <a:pt x="2126872" y="615217"/>
                  </a:lnTo>
                  <a:lnTo>
                    <a:pt x="2124768" y="619225"/>
                  </a:lnTo>
                  <a:lnTo>
                    <a:pt x="2120561" y="621229"/>
                  </a:lnTo>
                  <a:lnTo>
                    <a:pt x="2112146" y="625237"/>
                  </a:lnTo>
                  <a:lnTo>
                    <a:pt x="2103732" y="627241"/>
                  </a:lnTo>
                  <a:lnTo>
                    <a:pt x="2089006" y="625237"/>
                  </a:lnTo>
                  <a:lnTo>
                    <a:pt x="2072177" y="625237"/>
                  </a:lnTo>
                  <a:lnTo>
                    <a:pt x="2070074" y="621229"/>
                  </a:lnTo>
                  <a:lnTo>
                    <a:pt x="2053245" y="619225"/>
                  </a:lnTo>
                  <a:lnTo>
                    <a:pt x="2040623" y="617221"/>
                  </a:lnTo>
                  <a:lnTo>
                    <a:pt x="2036415" y="619225"/>
                  </a:lnTo>
                  <a:lnTo>
                    <a:pt x="2030105" y="621229"/>
                  </a:lnTo>
                  <a:lnTo>
                    <a:pt x="2025897" y="627241"/>
                  </a:lnTo>
                  <a:lnTo>
                    <a:pt x="2021690" y="635257"/>
                  </a:lnTo>
                  <a:lnTo>
                    <a:pt x="1051931" y="717417"/>
                  </a:lnTo>
                  <a:lnTo>
                    <a:pt x="1051900" y="717448"/>
                  </a:lnTo>
                  <a:lnTo>
                    <a:pt x="872940" y="735438"/>
                  </a:lnTo>
                  <a:lnTo>
                    <a:pt x="692059" y="755469"/>
                  </a:lnTo>
                  <a:lnTo>
                    <a:pt x="513312" y="771495"/>
                  </a:lnTo>
                  <a:lnTo>
                    <a:pt x="420739" y="779507"/>
                  </a:lnTo>
                  <a:lnTo>
                    <a:pt x="332325" y="785556"/>
                  </a:lnTo>
                  <a:cubicBezTo>
                    <a:pt x="330192" y="770159"/>
                    <a:pt x="328166" y="754841"/>
                    <a:pt x="326033" y="739444"/>
                  </a:cubicBezTo>
                  <a:cubicBezTo>
                    <a:pt x="324646" y="732138"/>
                    <a:pt x="323260" y="724754"/>
                    <a:pt x="321873" y="717448"/>
                  </a:cubicBezTo>
                  <a:cubicBezTo>
                    <a:pt x="320487" y="714070"/>
                    <a:pt x="318994" y="710771"/>
                    <a:pt x="317607" y="707393"/>
                  </a:cubicBezTo>
                  <a:cubicBezTo>
                    <a:pt x="316221" y="704094"/>
                    <a:pt x="314834" y="700716"/>
                    <a:pt x="313448" y="697417"/>
                  </a:cubicBezTo>
                  <a:lnTo>
                    <a:pt x="283906" y="669294"/>
                  </a:lnTo>
                  <a:lnTo>
                    <a:pt x="269294" y="657275"/>
                  </a:lnTo>
                  <a:cubicBezTo>
                    <a:pt x="267908" y="655311"/>
                    <a:pt x="266415" y="653268"/>
                    <a:pt x="265028" y="651305"/>
                  </a:cubicBezTo>
                  <a:cubicBezTo>
                    <a:pt x="264388" y="649969"/>
                    <a:pt x="263642" y="648634"/>
                    <a:pt x="263002" y="647298"/>
                  </a:cubicBezTo>
                  <a:lnTo>
                    <a:pt x="269294" y="641249"/>
                  </a:lnTo>
                  <a:cubicBezTo>
                    <a:pt x="269934" y="640621"/>
                    <a:pt x="270681" y="639914"/>
                    <a:pt x="271321" y="639285"/>
                  </a:cubicBezTo>
                  <a:cubicBezTo>
                    <a:pt x="272067" y="638579"/>
                    <a:pt x="272707" y="637950"/>
                    <a:pt x="273454" y="637243"/>
                  </a:cubicBezTo>
                  <a:lnTo>
                    <a:pt x="279746" y="637243"/>
                  </a:lnTo>
                  <a:lnTo>
                    <a:pt x="290305" y="641249"/>
                  </a:lnTo>
                  <a:cubicBezTo>
                    <a:pt x="292438" y="644627"/>
                    <a:pt x="294571" y="647927"/>
                    <a:pt x="296704" y="651305"/>
                  </a:cubicBezTo>
                  <a:lnTo>
                    <a:pt x="315581" y="675343"/>
                  </a:lnTo>
                  <a:cubicBezTo>
                    <a:pt x="319100" y="680684"/>
                    <a:pt x="322513" y="686026"/>
                    <a:pt x="326033" y="691368"/>
                  </a:cubicBezTo>
                  <a:cubicBezTo>
                    <a:pt x="331685" y="703387"/>
                    <a:pt x="337231" y="715406"/>
                    <a:pt x="342884" y="727425"/>
                  </a:cubicBezTo>
                  <a:cubicBezTo>
                    <a:pt x="343524" y="728132"/>
                    <a:pt x="344270" y="728760"/>
                    <a:pt x="344910" y="729467"/>
                  </a:cubicBezTo>
                  <a:lnTo>
                    <a:pt x="347150" y="729467"/>
                  </a:lnTo>
                  <a:lnTo>
                    <a:pt x="347150" y="725461"/>
                  </a:lnTo>
                  <a:lnTo>
                    <a:pt x="347150" y="709436"/>
                  </a:lnTo>
                  <a:cubicBezTo>
                    <a:pt x="346296" y="706058"/>
                    <a:pt x="345657" y="702758"/>
                    <a:pt x="344910" y="699381"/>
                  </a:cubicBezTo>
                  <a:cubicBezTo>
                    <a:pt x="344270" y="696081"/>
                    <a:pt x="343524" y="692703"/>
                    <a:pt x="342884" y="689404"/>
                  </a:cubicBezTo>
                  <a:cubicBezTo>
                    <a:pt x="341497" y="686733"/>
                    <a:pt x="340004" y="683984"/>
                    <a:pt x="338618" y="681313"/>
                  </a:cubicBezTo>
                  <a:cubicBezTo>
                    <a:pt x="337231" y="679349"/>
                    <a:pt x="335845" y="677306"/>
                    <a:pt x="334458" y="675343"/>
                  </a:cubicBezTo>
                  <a:cubicBezTo>
                    <a:pt x="330299" y="670629"/>
                    <a:pt x="326033" y="665994"/>
                    <a:pt x="321873" y="661281"/>
                  </a:cubicBezTo>
                  <a:lnTo>
                    <a:pt x="302996" y="649262"/>
                  </a:lnTo>
                  <a:cubicBezTo>
                    <a:pt x="299477" y="644627"/>
                    <a:pt x="295957" y="639914"/>
                    <a:pt x="292331" y="635279"/>
                  </a:cubicBezTo>
                  <a:cubicBezTo>
                    <a:pt x="288172" y="631901"/>
                    <a:pt x="283906" y="628602"/>
                    <a:pt x="279746" y="625224"/>
                  </a:cubicBezTo>
                  <a:cubicBezTo>
                    <a:pt x="277613" y="623889"/>
                    <a:pt x="275587" y="622553"/>
                    <a:pt x="273454" y="621218"/>
                  </a:cubicBezTo>
                  <a:lnTo>
                    <a:pt x="269294" y="625224"/>
                  </a:lnTo>
                  <a:lnTo>
                    <a:pt x="263002" y="631273"/>
                  </a:lnTo>
                  <a:cubicBezTo>
                    <a:pt x="261615" y="635908"/>
                    <a:pt x="260122" y="640621"/>
                    <a:pt x="258736" y="645256"/>
                  </a:cubicBezTo>
                  <a:lnTo>
                    <a:pt x="258736" y="665287"/>
                  </a:lnTo>
                  <a:cubicBezTo>
                    <a:pt x="257349" y="668665"/>
                    <a:pt x="255963" y="671965"/>
                    <a:pt x="254576" y="675343"/>
                  </a:cubicBezTo>
                  <a:lnTo>
                    <a:pt x="254576" y="677306"/>
                  </a:lnTo>
                  <a:cubicBezTo>
                    <a:pt x="253190" y="676678"/>
                    <a:pt x="251804" y="675971"/>
                    <a:pt x="250417" y="675343"/>
                  </a:cubicBezTo>
                  <a:cubicBezTo>
                    <a:pt x="248284" y="670629"/>
                    <a:pt x="246151" y="665994"/>
                    <a:pt x="244018" y="661281"/>
                  </a:cubicBezTo>
                  <a:lnTo>
                    <a:pt x="244018" y="651305"/>
                  </a:lnTo>
                  <a:cubicBezTo>
                    <a:pt x="243378" y="643292"/>
                    <a:pt x="242632" y="635279"/>
                    <a:pt x="241992" y="627267"/>
                  </a:cubicBezTo>
                  <a:cubicBezTo>
                    <a:pt x="242632" y="624596"/>
                    <a:pt x="243378" y="621925"/>
                    <a:pt x="244018" y="619254"/>
                  </a:cubicBezTo>
                  <a:cubicBezTo>
                    <a:pt x="245404" y="616583"/>
                    <a:pt x="246898" y="613912"/>
                    <a:pt x="248284" y="611241"/>
                  </a:cubicBezTo>
                  <a:cubicBezTo>
                    <a:pt x="250417" y="607235"/>
                    <a:pt x="252443" y="603229"/>
                    <a:pt x="254576" y="599222"/>
                  </a:cubicBezTo>
                  <a:cubicBezTo>
                    <a:pt x="257349" y="595216"/>
                    <a:pt x="260229" y="591131"/>
                    <a:pt x="263002" y="587125"/>
                  </a:cubicBezTo>
                  <a:lnTo>
                    <a:pt x="263002" y="581154"/>
                  </a:lnTo>
                  <a:lnTo>
                    <a:pt x="263002" y="575106"/>
                  </a:lnTo>
                  <a:cubicBezTo>
                    <a:pt x="261615" y="577148"/>
                    <a:pt x="260122" y="579112"/>
                    <a:pt x="258736" y="581154"/>
                  </a:cubicBezTo>
                  <a:lnTo>
                    <a:pt x="254576" y="581154"/>
                  </a:lnTo>
                  <a:cubicBezTo>
                    <a:pt x="253830" y="580447"/>
                    <a:pt x="253190" y="579819"/>
                    <a:pt x="252443" y="579112"/>
                  </a:cubicBezTo>
                  <a:cubicBezTo>
                    <a:pt x="251057" y="578483"/>
                    <a:pt x="249671" y="577776"/>
                    <a:pt x="248284" y="577148"/>
                  </a:cubicBezTo>
                  <a:lnTo>
                    <a:pt x="248284" y="587125"/>
                  </a:lnTo>
                  <a:cubicBezTo>
                    <a:pt x="246898" y="590502"/>
                    <a:pt x="245404" y="593802"/>
                    <a:pt x="244018" y="597180"/>
                  </a:cubicBezTo>
                  <a:cubicBezTo>
                    <a:pt x="239005" y="587125"/>
                    <a:pt x="234206" y="577148"/>
                    <a:pt x="229300" y="567093"/>
                  </a:cubicBezTo>
                  <a:cubicBezTo>
                    <a:pt x="227167" y="559787"/>
                    <a:pt x="225141" y="552403"/>
                    <a:pt x="223008" y="545097"/>
                  </a:cubicBezTo>
                  <a:cubicBezTo>
                    <a:pt x="222261" y="542426"/>
                    <a:pt x="221621" y="539756"/>
                    <a:pt x="220875" y="537085"/>
                  </a:cubicBezTo>
                  <a:lnTo>
                    <a:pt x="220875" y="533078"/>
                  </a:lnTo>
                  <a:cubicBezTo>
                    <a:pt x="221621" y="531036"/>
                    <a:pt x="222261" y="529072"/>
                    <a:pt x="223008" y="527030"/>
                  </a:cubicBezTo>
                  <a:cubicBezTo>
                    <a:pt x="224394" y="526401"/>
                    <a:pt x="225781" y="525694"/>
                    <a:pt x="227167" y="525066"/>
                  </a:cubicBezTo>
                  <a:lnTo>
                    <a:pt x="233460" y="525066"/>
                  </a:lnTo>
                  <a:lnTo>
                    <a:pt x="239752" y="523023"/>
                  </a:lnTo>
                  <a:cubicBezTo>
                    <a:pt x="240605" y="521688"/>
                    <a:pt x="241245" y="520352"/>
                    <a:pt x="241992" y="519017"/>
                  </a:cubicBezTo>
                  <a:lnTo>
                    <a:pt x="241992" y="515011"/>
                  </a:lnTo>
                  <a:lnTo>
                    <a:pt x="241992" y="502992"/>
                  </a:lnTo>
                  <a:cubicBezTo>
                    <a:pt x="241245" y="496314"/>
                    <a:pt x="240605" y="489637"/>
                    <a:pt x="239752" y="482960"/>
                  </a:cubicBezTo>
                  <a:cubicBezTo>
                    <a:pt x="237619" y="476911"/>
                    <a:pt x="235593" y="470941"/>
                    <a:pt x="233460" y="464892"/>
                  </a:cubicBezTo>
                  <a:cubicBezTo>
                    <a:pt x="229300" y="451538"/>
                    <a:pt x="225034" y="438183"/>
                    <a:pt x="220875" y="424829"/>
                  </a:cubicBezTo>
                  <a:cubicBezTo>
                    <a:pt x="217355" y="411474"/>
                    <a:pt x="213942" y="398120"/>
                    <a:pt x="210423" y="384765"/>
                  </a:cubicBezTo>
                  <a:cubicBezTo>
                    <a:pt x="209036" y="378088"/>
                    <a:pt x="207543" y="371411"/>
                    <a:pt x="206157" y="364734"/>
                  </a:cubicBezTo>
                  <a:cubicBezTo>
                    <a:pt x="204770" y="358685"/>
                    <a:pt x="203384" y="352715"/>
                    <a:pt x="201997" y="346666"/>
                  </a:cubicBezTo>
                  <a:cubicBezTo>
                    <a:pt x="200611" y="342031"/>
                    <a:pt x="199118" y="337318"/>
                    <a:pt x="197731" y="332683"/>
                  </a:cubicBezTo>
                  <a:cubicBezTo>
                    <a:pt x="195598" y="326634"/>
                    <a:pt x="193572" y="320664"/>
                    <a:pt x="191439" y="314615"/>
                  </a:cubicBezTo>
                  <a:lnTo>
                    <a:pt x="170322" y="276516"/>
                  </a:lnTo>
                  <a:lnTo>
                    <a:pt x="147285" y="242501"/>
                  </a:lnTo>
                  <a:cubicBezTo>
                    <a:pt x="143766" y="238495"/>
                    <a:pt x="140353" y="234488"/>
                    <a:pt x="136834" y="230482"/>
                  </a:cubicBezTo>
                  <a:cubicBezTo>
                    <a:pt x="133208" y="227104"/>
                    <a:pt x="129688" y="223805"/>
                    <a:pt x="126169" y="220427"/>
                  </a:cubicBezTo>
                  <a:lnTo>
                    <a:pt x="111451" y="202438"/>
                  </a:lnTo>
                  <a:lnTo>
                    <a:pt x="94706" y="182328"/>
                  </a:lnTo>
                  <a:cubicBezTo>
                    <a:pt x="89800" y="175650"/>
                    <a:pt x="84788" y="168973"/>
                    <a:pt x="79882" y="162296"/>
                  </a:cubicBezTo>
                  <a:cubicBezTo>
                    <a:pt x="74336" y="155619"/>
                    <a:pt x="68684" y="148941"/>
                    <a:pt x="63138" y="142264"/>
                  </a:cubicBezTo>
                  <a:cubicBezTo>
                    <a:pt x="58872" y="138258"/>
                    <a:pt x="54712" y="134252"/>
                    <a:pt x="50446" y="130245"/>
                  </a:cubicBezTo>
                  <a:lnTo>
                    <a:pt x="35835" y="118226"/>
                  </a:lnTo>
                  <a:lnTo>
                    <a:pt x="0" y="92146"/>
                  </a:lnTo>
                  <a:cubicBezTo>
                    <a:pt x="2773" y="81462"/>
                    <a:pt x="5653" y="70779"/>
                    <a:pt x="8426" y="60095"/>
                  </a:cubicBezTo>
                  <a:cubicBezTo>
                    <a:pt x="9066" y="57424"/>
                    <a:pt x="9812" y="54753"/>
                    <a:pt x="10452" y="52082"/>
                  </a:cubicBezTo>
                  <a:cubicBezTo>
                    <a:pt x="11839" y="49411"/>
                    <a:pt x="13332" y="46741"/>
                    <a:pt x="14718" y="44070"/>
                  </a:cubicBezTo>
                  <a:lnTo>
                    <a:pt x="18877" y="40063"/>
                  </a:lnTo>
                  <a:lnTo>
                    <a:pt x="27410" y="40063"/>
                  </a:lnTo>
                  <a:lnTo>
                    <a:pt x="42127" y="34093"/>
                  </a:lnTo>
                  <a:lnTo>
                    <a:pt x="56739" y="30087"/>
                  </a:lnTo>
                  <a:cubicBezTo>
                    <a:pt x="58125" y="28044"/>
                    <a:pt x="59618" y="26080"/>
                    <a:pt x="61005" y="24038"/>
                  </a:cubicBezTo>
                  <a:cubicBezTo>
                    <a:pt x="61751" y="22074"/>
                    <a:pt x="62391" y="20032"/>
                    <a:pt x="63138" y="18068"/>
                  </a:cubicBezTo>
                  <a:lnTo>
                    <a:pt x="63138" y="10055"/>
                  </a:lnTo>
                  <a:lnTo>
                    <a:pt x="63138" y="2042"/>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 Diego &amp; Imperial</a:t>
              </a:r>
            </a:p>
          </p:txBody>
        </p:sp>
        <p:sp>
          <p:nvSpPr>
            <p:cNvPr id="4" name="San Joaquin Valley"/>
            <p:cNvSpPr>
              <a:spLocks/>
            </p:cNvSpPr>
            <p:nvPr/>
          </p:nvSpPr>
          <p:spPr bwMode="auto">
            <a:xfrm>
              <a:off x="3620228" y="3860961"/>
              <a:ext cx="2785217" cy="2805553"/>
            </a:xfrm>
            <a:custGeom>
              <a:avLst/>
              <a:gdLst/>
              <a:ahLst/>
              <a:cxnLst/>
              <a:rect l="l" t="t" r="r" b="b"/>
              <a:pathLst>
                <a:path w="2785217" h="2805553">
                  <a:moveTo>
                    <a:pt x="1439064" y="2005967"/>
                  </a:moveTo>
                  <a:lnTo>
                    <a:pt x="1439064" y="2005968"/>
                  </a:lnTo>
                  <a:lnTo>
                    <a:pt x="1439145" y="2005968"/>
                  </a:lnTo>
                  <a:lnTo>
                    <a:pt x="1439145" y="2005967"/>
                  </a:lnTo>
                  <a:close/>
                  <a:moveTo>
                    <a:pt x="44176" y="206408"/>
                  </a:moveTo>
                  <a:lnTo>
                    <a:pt x="48384" y="208412"/>
                  </a:lnTo>
                  <a:lnTo>
                    <a:pt x="47542" y="208412"/>
                  </a:lnTo>
                  <a:close/>
                  <a:moveTo>
                    <a:pt x="391276" y="0"/>
                  </a:moveTo>
                  <a:lnTo>
                    <a:pt x="397587" y="16031"/>
                  </a:lnTo>
                  <a:lnTo>
                    <a:pt x="401794" y="30059"/>
                  </a:lnTo>
                  <a:lnTo>
                    <a:pt x="414416" y="64127"/>
                  </a:lnTo>
                  <a:lnTo>
                    <a:pt x="433349" y="124246"/>
                  </a:lnTo>
                  <a:lnTo>
                    <a:pt x="445971" y="154305"/>
                  </a:lnTo>
                  <a:lnTo>
                    <a:pt x="452282" y="166329"/>
                  </a:lnTo>
                  <a:lnTo>
                    <a:pt x="460696" y="178353"/>
                  </a:lnTo>
                  <a:lnTo>
                    <a:pt x="460696" y="208412"/>
                  </a:lnTo>
                  <a:lnTo>
                    <a:pt x="460696" y="240476"/>
                  </a:lnTo>
                  <a:lnTo>
                    <a:pt x="460794" y="243349"/>
                  </a:lnTo>
                  <a:lnTo>
                    <a:pt x="460867" y="243420"/>
                  </a:lnTo>
                  <a:lnTo>
                    <a:pt x="460699" y="238472"/>
                  </a:lnTo>
                  <a:lnTo>
                    <a:pt x="460699" y="206408"/>
                  </a:lnTo>
                  <a:lnTo>
                    <a:pt x="460699" y="176349"/>
                  </a:lnTo>
                  <a:lnTo>
                    <a:pt x="656338" y="378749"/>
                  </a:lnTo>
                  <a:lnTo>
                    <a:pt x="753106" y="462915"/>
                  </a:lnTo>
                  <a:lnTo>
                    <a:pt x="774142" y="478947"/>
                  </a:lnTo>
                  <a:lnTo>
                    <a:pt x="799386" y="492975"/>
                  </a:lnTo>
                  <a:lnTo>
                    <a:pt x="820422" y="513015"/>
                  </a:lnTo>
                  <a:lnTo>
                    <a:pt x="826733" y="523034"/>
                  </a:lnTo>
                  <a:lnTo>
                    <a:pt x="835148" y="533054"/>
                  </a:lnTo>
                  <a:lnTo>
                    <a:pt x="835148" y="543074"/>
                  </a:lnTo>
                  <a:lnTo>
                    <a:pt x="824054" y="548100"/>
                  </a:lnTo>
                  <a:lnTo>
                    <a:pt x="873012" y="611192"/>
                  </a:lnTo>
                  <a:cubicBezTo>
                    <a:pt x="878650" y="621194"/>
                    <a:pt x="884204" y="631268"/>
                    <a:pt x="889841" y="641271"/>
                  </a:cubicBezTo>
                  <a:lnTo>
                    <a:pt x="908774" y="673336"/>
                  </a:lnTo>
                  <a:cubicBezTo>
                    <a:pt x="911551" y="676670"/>
                    <a:pt x="914412" y="680004"/>
                    <a:pt x="917189" y="683339"/>
                  </a:cubicBezTo>
                  <a:cubicBezTo>
                    <a:pt x="918619" y="687382"/>
                    <a:pt x="919966" y="691355"/>
                    <a:pt x="921396" y="695398"/>
                  </a:cubicBezTo>
                  <a:cubicBezTo>
                    <a:pt x="924173" y="704763"/>
                    <a:pt x="927034" y="714056"/>
                    <a:pt x="929811" y="723420"/>
                  </a:cubicBezTo>
                  <a:cubicBezTo>
                    <a:pt x="932588" y="732784"/>
                    <a:pt x="935449" y="742148"/>
                    <a:pt x="938225" y="751512"/>
                  </a:cubicBezTo>
                  <a:lnTo>
                    <a:pt x="946640" y="763501"/>
                  </a:lnTo>
                  <a:lnTo>
                    <a:pt x="957158" y="775561"/>
                  </a:lnTo>
                  <a:cubicBezTo>
                    <a:pt x="958589" y="778896"/>
                    <a:pt x="959935" y="782230"/>
                    <a:pt x="961365" y="785564"/>
                  </a:cubicBezTo>
                  <a:cubicBezTo>
                    <a:pt x="964142" y="788898"/>
                    <a:pt x="967003" y="792232"/>
                    <a:pt x="969780" y="795567"/>
                  </a:cubicBezTo>
                  <a:cubicBezTo>
                    <a:pt x="971884" y="804221"/>
                    <a:pt x="973987" y="812947"/>
                    <a:pt x="976091" y="821602"/>
                  </a:cubicBezTo>
                  <a:cubicBezTo>
                    <a:pt x="978868" y="828980"/>
                    <a:pt x="981729" y="836287"/>
                    <a:pt x="984505" y="843664"/>
                  </a:cubicBezTo>
                  <a:cubicBezTo>
                    <a:pt x="987282" y="846999"/>
                    <a:pt x="990143" y="850333"/>
                    <a:pt x="992920" y="853667"/>
                  </a:cubicBezTo>
                  <a:lnTo>
                    <a:pt x="1001335" y="859697"/>
                  </a:lnTo>
                  <a:cubicBezTo>
                    <a:pt x="1004869" y="861683"/>
                    <a:pt x="1008319" y="863741"/>
                    <a:pt x="1011853" y="865727"/>
                  </a:cubicBezTo>
                  <a:lnTo>
                    <a:pt x="1022371" y="865727"/>
                  </a:lnTo>
                  <a:lnTo>
                    <a:pt x="1034993" y="867713"/>
                  </a:lnTo>
                  <a:lnTo>
                    <a:pt x="1047615" y="869700"/>
                  </a:lnTo>
                  <a:cubicBezTo>
                    <a:pt x="1051149" y="871686"/>
                    <a:pt x="1054599" y="873743"/>
                    <a:pt x="1058133" y="875730"/>
                  </a:cubicBezTo>
                  <a:cubicBezTo>
                    <a:pt x="1060910" y="878425"/>
                    <a:pt x="1063771" y="881050"/>
                    <a:pt x="1066547" y="883746"/>
                  </a:cubicBezTo>
                  <a:lnTo>
                    <a:pt x="1074962" y="889776"/>
                  </a:lnTo>
                  <a:lnTo>
                    <a:pt x="1084899" y="897349"/>
                  </a:lnTo>
                  <a:lnTo>
                    <a:pt x="1085481" y="896613"/>
                  </a:lnTo>
                  <a:lnTo>
                    <a:pt x="1163315" y="830646"/>
                  </a:lnTo>
                  <a:lnTo>
                    <a:pt x="1239046" y="756683"/>
                  </a:lnTo>
                  <a:lnTo>
                    <a:pt x="1268497" y="730696"/>
                  </a:lnTo>
                  <a:lnTo>
                    <a:pt x="1285326" y="720701"/>
                  </a:lnTo>
                  <a:lnTo>
                    <a:pt x="1295844" y="716703"/>
                  </a:lnTo>
                  <a:lnTo>
                    <a:pt x="1302155" y="714704"/>
                  </a:lnTo>
                  <a:lnTo>
                    <a:pt x="1333709" y="716703"/>
                  </a:lnTo>
                  <a:lnTo>
                    <a:pt x="1350539" y="714704"/>
                  </a:lnTo>
                  <a:lnTo>
                    <a:pt x="1354746" y="714704"/>
                  </a:lnTo>
                  <a:lnTo>
                    <a:pt x="1356849" y="712705"/>
                  </a:lnTo>
                  <a:lnTo>
                    <a:pt x="1356849" y="692715"/>
                  </a:lnTo>
                  <a:lnTo>
                    <a:pt x="1361057" y="682720"/>
                  </a:lnTo>
                  <a:lnTo>
                    <a:pt x="1363160" y="680721"/>
                  </a:lnTo>
                  <a:lnTo>
                    <a:pt x="1367368" y="676723"/>
                  </a:lnTo>
                  <a:lnTo>
                    <a:pt x="1375782" y="676723"/>
                  </a:lnTo>
                  <a:lnTo>
                    <a:pt x="1377886" y="672725"/>
                  </a:lnTo>
                  <a:lnTo>
                    <a:pt x="1382093" y="670726"/>
                  </a:lnTo>
                  <a:lnTo>
                    <a:pt x="1382093" y="664729"/>
                  </a:lnTo>
                  <a:lnTo>
                    <a:pt x="1382093" y="662730"/>
                  </a:lnTo>
                  <a:lnTo>
                    <a:pt x="1384197" y="656733"/>
                  </a:lnTo>
                  <a:lnTo>
                    <a:pt x="1386300" y="654734"/>
                  </a:lnTo>
                  <a:lnTo>
                    <a:pt x="1394715" y="652735"/>
                  </a:lnTo>
                  <a:lnTo>
                    <a:pt x="1405233" y="652735"/>
                  </a:lnTo>
                  <a:lnTo>
                    <a:pt x="1407337" y="650736"/>
                  </a:lnTo>
                  <a:lnTo>
                    <a:pt x="1409440" y="646738"/>
                  </a:lnTo>
                  <a:lnTo>
                    <a:pt x="1409440" y="626748"/>
                  </a:lnTo>
                  <a:lnTo>
                    <a:pt x="1413648" y="612755"/>
                  </a:lnTo>
                  <a:lnTo>
                    <a:pt x="1415751" y="602760"/>
                  </a:lnTo>
                  <a:lnTo>
                    <a:pt x="1419958" y="592765"/>
                  </a:lnTo>
                  <a:lnTo>
                    <a:pt x="1426269" y="584769"/>
                  </a:lnTo>
                  <a:lnTo>
                    <a:pt x="1440995" y="570776"/>
                  </a:lnTo>
                  <a:lnTo>
                    <a:pt x="1462031" y="550786"/>
                  </a:lnTo>
                  <a:lnTo>
                    <a:pt x="1598767" y="428848"/>
                  </a:lnTo>
                  <a:lnTo>
                    <a:pt x="1602975" y="440842"/>
                  </a:lnTo>
                  <a:lnTo>
                    <a:pt x="1607182" y="450837"/>
                  </a:lnTo>
                  <a:lnTo>
                    <a:pt x="1615596" y="458833"/>
                  </a:lnTo>
                  <a:lnTo>
                    <a:pt x="1624011" y="458833"/>
                  </a:lnTo>
                  <a:lnTo>
                    <a:pt x="1628218" y="460832"/>
                  </a:lnTo>
                  <a:lnTo>
                    <a:pt x="1640840" y="464830"/>
                  </a:lnTo>
                  <a:lnTo>
                    <a:pt x="1649254" y="470827"/>
                  </a:lnTo>
                  <a:lnTo>
                    <a:pt x="1653462" y="472826"/>
                  </a:lnTo>
                  <a:lnTo>
                    <a:pt x="1661876" y="470827"/>
                  </a:lnTo>
                  <a:lnTo>
                    <a:pt x="1668187" y="464830"/>
                  </a:lnTo>
                  <a:lnTo>
                    <a:pt x="1674498" y="460832"/>
                  </a:lnTo>
                  <a:lnTo>
                    <a:pt x="1680809" y="458833"/>
                  </a:lnTo>
                  <a:lnTo>
                    <a:pt x="1699742" y="454835"/>
                  </a:lnTo>
                  <a:lnTo>
                    <a:pt x="1716571" y="458833"/>
                  </a:lnTo>
                  <a:lnTo>
                    <a:pt x="1735503" y="464830"/>
                  </a:lnTo>
                  <a:lnTo>
                    <a:pt x="1748125" y="478823"/>
                  </a:lnTo>
                  <a:lnTo>
                    <a:pt x="1752333" y="478823"/>
                  </a:lnTo>
                  <a:lnTo>
                    <a:pt x="1756540" y="490817"/>
                  </a:lnTo>
                  <a:lnTo>
                    <a:pt x="1764954" y="502811"/>
                  </a:lnTo>
                  <a:lnTo>
                    <a:pt x="1777576" y="530796"/>
                  </a:lnTo>
                  <a:lnTo>
                    <a:pt x="1788094" y="558782"/>
                  </a:lnTo>
                  <a:lnTo>
                    <a:pt x="1794405" y="570776"/>
                  </a:lnTo>
                  <a:lnTo>
                    <a:pt x="1800128" y="581652"/>
                  </a:lnTo>
                  <a:lnTo>
                    <a:pt x="1800683" y="581150"/>
                  </a:lnTo>
                  <a:lnTo>
                    <a:pt x="1825893" y="597190"/>
                  </a:lnTo>
                  <a:lnTo>
                    <a:pt x="1851283" y="607214"/>
                  </a:lnTo>
                  <a:lnTo>
                    <a:pt x="1874333" y="621249"/>
                  </a:lnTo>
                  <a:cubicBezTo>
                    <a:pt x="1877754" y="623922"/>
                    <a:pt x="1881355" y="626596"/>
                    <a:pt x="1884777" y="629269"/>
                  </a:cubicBezTo>
                  <a:cubicBezTo>
                    <a:pt x="1888378" y="632611"/>
                    <a:pt x="1891799" y="635952"/>
                    <a:pt x="1895401" y="639294"/>
                  </a:cubicBezTo>
                  <a:cubicBezTo>
                    <a:pt x="1900263" y="643304"/>
                    <a:pt x="1905305" y="647314"/>
                    <a:pt x="1910167" y="651324"/>
                  </a:cubicBezTo>
                  <a:cubicBezTo>
                    <a:pt x="1912328" y="653997"/>
                    <a:pt x="1914308" y="656670"/>
                    <a:pt x="1916469" y="659344"/>
                  </a:cubicBezTo>
                  <a:cubicBezTo>
                    <a:pt x="1918630" y="660680"/>
                    <a:pt x="1920611" y="662017"/>
                    <a:pt x="1922772" y="663354"/>
                  </a:cubicBezTo>
                  <a:lnTo>
                    <a:pt x="1937538" y="665359"/>
                  </a:lnTo>
                  <a:lnTo>
                    <a:pt x="1947982" y="665359"/>
                  </a:lnTo>
                  <a:lnTo>
                    <a:pt x="1958426" y="669369"/>
                  </a:lnTo>
                  <a:cubicBezTo>
                    <a:pt x="1962567" y="672710"/>
                    <a:pt x="1966889" y="676052"/>
                    <a:pt x="1971031" y="679393"/>
                  </a:cubicBezTo>
                  <a:cubicBezTo>
                    <a:pt x="1973192" y="681398"/>
                    <a:pt x="1975172" y="683403"/>
                    <a:pt x="1977333" y="685408"/>
                  </a:cubicBezTo>
                  <a:lnTo>
                    <a:pt x="1979494" y="691423"/>
                  </a:lnTo>
                  <a:lnTo>
                    <a:pt x="1979494" y="693428"/>
                  </a:lnTo>
                  <a:lnTo>
                    <a:pt x="1977333" y="699443"/>
                  </a:lnTo>
                  <a:cubicBezTo>
                    <a:pt x="1975172" y="701448"/>
                    <a:pt x="1973192" y="703453"/>
                    <a:pt x="1971031" y="705458"/>
                  </a:cubicBezTo>
                  <a:cubicBezTo>
                    <a:pt x="1969590" y="708800"/>
                    <a:pt x="1968330" y="712008"/>
                    <a:pt x="1966889" y="715349"/>
                  </a:cubicBezTo>
                  <a:lnTo>
                    <a:pt x="1966889" y="729384"/>
                  </a:lnTo>
                  <a:lnTo>
                    <a:pt x="1966889" y="735399"/>
                  </a:lnTo>
                  <a:cubicBezTo>
                    <a:pt x="1970311" y="743419"/>
                    <a:pt x="1973912" y="751439"/>
                    <a:pt x="1977333" y="759459"/>
                  </a:cubicBezTo>
                  <a:lnTo>
                    <a:pt x="1977333" y="769483"/>
                  </a:lnTo>
                  <a:cubicBezTo>
                    <a:pt x="1976613" y="770820"/>
                    <a:pt x="1976073" y="772157"/>
                    <a:pt x="1975353" y="773493"/>
                  </a:cubicBezTo>
                  <a:lnTo>
                    <a:pt x="1975353" y="775498"/>
                  </a:lnTo>
                  <a:cubicBezTo>
                    <a:pt x="1976073" y="776835"/>
                    <a:pt x="1976613" y="778172"/>
                    <a:pt x="1977333" y="779508"/>
                  </a:cubicBezTo>
                  <a:cubicBezTo>
                    <a:pt x="1980214" y="781513"/>
                    <a:pt x="1982916" y="783518"/>
                    <a:pt x="1985797" y="785523"/>
                  </a:cubicBezTo>
                  <a:lnTo>
                    <a:pt x="1998402" y="791538"/>
                  </a:lnTo>
                  <a:lnTo>
                    <a:pt x="2009026" y="793543"/>
                  </a:lnTo>
                  <a:lnTo>
                    <a:pt x="2017309" y="795548"/>
                  </a:lnTo>
                  <a:cubicBezTo>
                    <a:pt x="2020911" y="798221"/>
                    <a:pt x="2024332" y="800895"/>
                    <a:pt x="2027933" y="803568"/>
                  </a:cubicBezTo>
                  <a:cubicBezTo>
                    <a:pt x="2032075" y="810251"/>
                    <a:pt x="2036397" y="816934"/>
                    <a:pt x="2040538" y="823618"/>
                  </a:cubicBezTo>
                  <a:cubicBezTo>
                    <a:pt x="2043420" y="828296"/>
                    <a:pt x="2046121" y="832974"/>
                    <a:pt x="2049002" y="837652"/>
                  </a:cubicBezTo>
                  <a:lnTo>
                    <a:pt x="2049002" y="847677"/>
                  </a:lnTo>
                  <a:lnTo>
                    <a:pt x="2049002" y="851687"/>
                  </a:lnTo>
                  <a:cubicBezTo>
                    <a:pt x="2046841" y="852356"/>
                    <a:pt x="2044860" y="853024"/>
                    <a:pt x="2042699" y="853692"/>
                  </a:cubicBezTo>
                  <a:lnTo>
                    <a:pt x="2040538" y="853692"/>
                  </a:lnTo>
                  <a:lnTo>
                    <a:pt x="2038378" y="855697"/>
                  </a:lnTo>
                  <a:lnTo>
                    <a:pt x="2038378" y="863717"/>
                  </a:lnTo>
                  <a:lnTo>
                    <a:pt x="2040538" y="867727"/>
                  </a:lnTo>
                  <a:lnTo>
                    <a:pt x="2042699" y="871737"/>
                  </a:lnTo>
                  <a:cubicBezTo>
                    <a:pt x="2043420" y="873074"/>
                    <a:pt x="2043960" y="874410"/>
                    <a:pt x="2044680" y="875747"/>
                  </a:cubicBezTo>
                  <a:cubicBezTo>
                    <a:pt x="2046841" y="881762"/>
                    <a:pt x="2048822" y="887777"/>
                    <a:pt x="2050983" y="893792"/>
                  </a:cubicBezTo>
                  <a:lnTo>
                    <a:pt x="2055304" y="907827"/>
                  </a:lnTo>
                  <a:cubicBezTo>
                    <a:pt x="2056745" y="913173"/>
                    <a:pt x="2058005" y="918520"/>
                    <a:pt x="2059446" y="923866"/>
                  </a:cubicBezTo>
                  <a:lnTo>
                    <a:pt x="2061607" y="931886"/>
                  </a:lnTo>
                  <a:cubicBezTo>
                    <a:pt x="2063047" y="932555"/>
                    <a:pt x="2064308" y="933223"/>
                    <a:pt x="2065748" y="933891"/>
                  </a:cubicBezTo>
                  <a:lnTo>
                    <a:pt x="2082675" y="937901"/>
                  </a:lnTo>
                  <a:lnTo>
                    <a:pt x="2112027" y="951936"/>
                  </a:lnTo>
                  <a:lnTo>
                    <a:pt x="2139398" y="963966"/>
                  </a:lnTo>
                  <a:lnTo>
                    <a:pt x="2166768" y="982010"/>
                  </a:lnTo>
                  <a:lnTo>
                    <a:pt x="2196120" y="993907"/>
                  </a:lnTo>
                  <a:cubicBezTo>
                    <a:pt x="2198281" y="995243"/>
                    <a:pt x="2200262" y="996580"/>
                    <a:pt x="2202423" y="997917"/>
                  </a:cubicBezTo>
                  <a:cubicBezTo>
                    <a:pt x="2206024" y="1002595"/>
                    <a:pt x="2209445" y="1007273"/>
                    <a:pt x="2213047" y="1011951"/>
                  </a:cubicBezTo>
                  <a:cubicBezTo>
                    <a:pt x="2215928" y="1015961"/>
                    <a:pt x="2218629" y="1019971"/>
                    <a:pt x="2221510" y="1023981"/>
                  </a:cubicBezTo>
                  <a:cubicBezTo>
                    <a:pt x="2223671" y="1028659"/>
                    <a:pt x="2225652" y="1033338"/>
                    <a:pt x="2227813" y="1038016"/>
                  </a:cubicBezTo>
                  <a:cubicBezTo>
                    <a:pt x="2231234" y="1048709"/>
                    <a:pt x="2234835" y="1059402"/>
                    <a:pt x="2238257" y="1070096"/>
                  </a:cubicBezTo>
                  <a:cubicBezTo>
                    <a:pt x="2240418" y="1078784"/>
                    <a:pt x="2242398" y="1087472"/>
                    <a:pt x="2244559" y="1096160"/>
                  </a:cubicBezTo>
                  <a:cubicBezTo>
                    <a:pt x="2247440" y="1104180"/>
                    <a:pt x="2250142" y="1112200"/>
                    <a:pt x="2253023" y="1120220"/>
                  </a:cubicBezTo>
                  <a:cubicBezTo>
                    <a:pt x="2255904" y="1128240"/>
                    <a:pt x="2258605" y="1136260"/>
                    <a:pt x="2261486" y="1144280"/>
                  </a:cubicBezTo>
                  <a:cubicBezTo>
                    <a:pt x="2262206" y="1147621"/>
                    <a:pt x="2262747" y="1150963"/>
                    <a:pt x="2263467" y="1154304"/>
                  </a:cubicBezTo>
                  <a:lnTo>
                    <a:pt x="2265628" y="1160319"/>
                  </a:lnTo>
                  <a:lnTo>
                    <a:pt x="2265628" y="1164329"/>
                  </a:lnTo>
                  <a:cubicBezTo>
                    <a:pt x="2264187" y="1165666"/>
                    <a:pt x="2262927" y="1167003"/>
                    <a:pt x="2261486" y="1168339"/>
                  </a:cubicBezTo>
                  <a:cubicBezTo>
                    <a:pt x="2259325" y="1170344"/>
                    <a:pt x="2257344" y="1172349"/>
                    <a:pt x="2255184" y="1174354"/>
                  </a:cubicBezTo>
                  <a:lnTo>
                    <a:pt x="2248701" y="1176359"/>
                  </a:lnTo>
                  <a:lnTo>
                    <a:pt x="2248701" y="1184379"/>
                  </a:lnTo>
                  <a:lnTo>
                    <a:pt x="2248701" y="1194404"/>
                  </a:lnTo>
                  <a:lnTo>
                    <a:pt x="2253023" y="1216459"/>
                  </a:lnTo>
                  <a:cubicBezTo>
                    <a:pt x="2255904" y="1223810"/>
                    <a:pt x="2258605" y="1231162"/>
                    <a:pt x="2261486" y="1238513"/>
                  </a:cubicBezTo>
                  <a:cubicBezTo>
                    <a:pt x="2262927" y="1241855"/>
                    <a:pt x="2264187" y="1245196"/>
                    <a:pt x="2265628" y="1248538"/>
                  </a:cubicBezTo>
                  <a:lnTo>
                    <a:pt x="2271930" y="1252414"/>
                  </a:lnTo>
                  <a:lnTo>
                    <a:pt x="2270036" y="1252454"/>
                  </a:lnTo>
                  <a:lnTo>
                    <a:pt x="2282470" y="1262474"/>
                  </a:lnTo>
                  <a:cubicBezTo>
                    <a:pt x="2283920" y="1265140"/>
                    <a:pt x="2285258" y="1267805"/>
                    <a:pt x="2286707" y="1270470"/>
                  </a:cubicBezTo>
                  <a:lnTo>
                    <a:pt x="2286707" y="1278466"/>
                  </a:lnTo>
                  <a:lnTo>
                    <a:pt x="2286707" y="1288442"/>
                  </a:lnTo>
                  <a:cubicBezTo>
                    <a:pt x="2286038" y="1289813"/>
                    <a:pt x="2285258" y="1291107"/>
                    <a:pt x="2284589" y="1292478"/>
                  </a:cubicBezTo>
                  <a:cubicBezTo>
                    <a:pt x="2281801" y="1293163"/>
                    <a:pt x="2278902" y="1293772"/>
                    <a:pt x="2276115" y="1294458"/>
                  </a:cubicBezTo>
                  <a:cubicBezTo>
                    <a:pt x="2274777" y="1295752"/>
                    <a:pt x="2273328" y="1297123"/>
                    <a:pt x="2271990" y="1298418"/>
                  </a:cubicBezTo>
                  <a:lnTo>
                    <a:pt x="2271990" y="1302454"/>
                  </a:lnTo>
                  <a:lnTo>
                    <a:pt x="2271990" y="1304433"/>
                  </a:lnTo>
                  <a:cubicBezTo>
                    <a:pt x="2273328" y="1306413"/>
                    <a:pt x="2274777" y="1308469"/>
                    <a:pt x="2276115" y="1310449"/>
                  </a:cubicBezTo>
                  <a:cubicBezTo>
                    <a:pt x="2278234" y="1311135"/>
                    <a:pt x="2280352" y="1311744"/>
                    <a:pt x="2282470" y="1312429"/>
                  </a:cubicBezTo>
                  <a:cubicBezTo>
                    <a:pt x="2283139" y="1313115"/>
                    <a:pt x="2283920" y="1313724"/>
                    <a:pt x="2284589" y="1314409"/>
                  </a:cubicBezTo>
                  <a:lnTo>
                    <a:pt x="2292951" y="1330401"/>
                  </a:lnTo>
                  <a:lnTo>
                    <a:pt x="2303542" y="1342433"/>
                  </a:lnTo>
                  <a:cubicBezTo>
                    <a:pt x="2310566" y="1351723"/>
                    <a:pt x="2317479" y="1361090"/>
                    <a:pt x="2324503" y="1370380"/>
                  </a:cubicBezTo>
                  <a:lnTo>
                    <a:pt x="2324503" y="1372436"/>
                  </a:lnTo>
                  <a:lnTo>
                    <a:pt x="2324503" y="1374416"/>
                  </a:lnTo>
                  <a:cubicBezTo>
                    <a:pt x="2323054" y="1376396"/>
                    <a:pt x="2321716" y="1378452"/>
                    <a:pt x="2320266" y="1380432"/>
                  </a:cubicBezTo>
                  <a:cubicBezTo>
                    <a:pt x="2318928" y="1383097"/>
                    <a:pt x="2317479" y="1385763"/>
                    <a:pt x="2316141" y="1388428"/>
                  </a:cubicBezTo>
                  <a:lnTo>
                    <a:pt x="2316141" y="1390408"/>
                  </a:lnTo>
                  <a:lnTo>
                    <a:pt x="2316141" y="1392388"/>
                  </a:lnTo>
                  <a:cubicBezTo>
                    <a:pt x="2317479" y="1395738"/>
                    <a:pt x="2318928" y="1399013"/>
                    <a:pt x="2320266" y="1402363"/>
                  </a:cubicBezTo>
                  <a:cubicBezTo>
                    <a:pt x="2322385" y="1404343"/>
                    <a:pt x="2324503" y="1406399"/>
                    <a:pt x="2326621" y="1408379"/>
                  </a:cubicBezTo>
                  <a:lnTo>
                    <a:pt x="2335095" y="1414395"/>
                  </a:lnTo>
                  <a:cubicBezTo>
                    <a:pt x="2337213" y="1416375"/>
                    <a:pt x="2339220" y="1418355"/>
                    <a:pt x="2341339" y="1420335"/>
                  </a:cubicBezTo>
                  <a:cubicBezTo>
                    <a:pt x="2343457" y="1424371"/>
                    <a:pt x="2345575" y="1428331"/>
                    <a:pt x="2347694" y="1432367"/>
                  </a:cubicBezTo>
                  <a:cubicBezTo>
                    <a:pt x="2348363" y="1435718"/>
                    <a:pt x="2349143" y="1438992"/>
                    <a:pt x="2349812" y="1442343"/>
                  </a:cubicBezTo>
                  <a:lnTo>
                    <a:pt x="2349812" y="1452319"/>
                  </a:lnTo>
                  <a:cubicBezTo>
                    <a:pt x="2350481" y="1456355"/>
                    <a:pt x="2351150" y="1460315"/>
                    <a:pt x="2351819" y="1464351"/>
                  </a:cubicBezTo>
                  <a:cubicBezTo>
                    <a:pt x="2354606" y="1470976"/>
                    <a:pt x="2357505" y="1477677"/>
                    <a:pt x="2360292" y="1484302"/>
                  </a:cubicBezTo>
                  <a:lnTo>
                    <a:pt x="2368654" y="1494354"/>
                  </a:lnTo>
                  <a:cubicBezTo>
                    <a:pt x="2371442" y="1497019"/>
                    <a:pt x="2374340" y="1499685"/>
                    <a:pt x="2377128" y="1502350"/>
                  </a:cubicBezTo>
                  <a:cubicBezTo>
                    <a:pt x="2379246" y="1503645"/>
                    <a:pt x="2381364" y="1505015"/>
                    <a:pt x="2383483" y="1506310"/>
                  </a:cubicBezTo>
                  <a:lnTo>
                    <a:pt x="2389726" y="1506310"/>
                  </a:lnTo>
                  <a:lnTo>
                    <a:pt x="2402325" y="1506310"/>
                  </a:lnTo>
                  <a:cubicBezTo>
                    <a:pt x="2404443" y="1507681"/>
                    <a:pt x="2406562" y="1508975"/>
                    <a:pt x="2408680" y="1510346"/>
                  </a:cubicBezTo>
                  <a:lnTo>
                    <a:pt x="2412917" y="1512326"/>
                  </a:lnTo>
                  <a:cubicBezTo>
                    <a:pt x="2415035" y="1513620"/>
                    <a:pt x="2417042" y="1514991"/>
                    <a:pt x="2419161" y="1516286"/>
                  </a:cubicBezTo>
                  <a:cubicBezTo>
                    <a:pt x="2419830" y="1519636"/>
                    <a:pt x="2420610" y="1522987"/>
                    <a:pt x="2421279" y="1526337"/>
                  </a:cubicBezTo>
                  <a:lnTo>
                    <a:pt x="2419161" y="1526337"/>
                  </a:lnTo>
                  <a:cubicBezTo>
                    <a:pt x="2417823" y="1527632"/>
                    <a:pt x="2416373" y="1529003"/>
                    <a:pt x="2415035" y="1530297"/>
                  </a:cubicBezTo>
                  <a:lnTo>
                    <a:pt x="2410799" y="1532277"/>
                  </a:lnTo>
                  <a:cubicBezTo>
                    <a:pt x="2410130" y="1532963"/>
                    <a:pt x="2409349" y="1533648"/>
                    <a:pt x="2408680" y="1534333"/>
                  </a:cubicBezTo>
                  <a:cubicBezTo>
                    <a:pt x="2409349" y="1536313"/>
                    <a:pt x="2410130" y="1538293"/>
                    <a:pt x="2410799" y="1540273"/>
                  </a:cubicBezTo>
                  <a:cubicBezTo>
                    <a:pt x="2412248" y="1540958"/>
                    <a:pt x="2413586" y="1541644"/>
                    <a:pt x="2415035" y="1542329"/>
                  </a:cubicBezTo>
                  <a:cubicBezTo>
                    <a:pt x="2417154" y="1543624"/>
                    <a:pt x="2419161" y="1544994"/>
                    <a:pt x="2421279" y="1546289"/>
                  </a:cubicBezTo>
                  <a:cubicBezTo>
                    <a:pt x="2425516" y="1550934"/>
                    <a:pt x="2429641" y="1555656"/>
                    <a:pt x="2433878" y="1560301"/>
                  </a:cubicBezTo>
                  <a:lnTo>
                    <a:pt x="2440233" y="1566240"/>
                  </a:lnTo>
                  <a:cubicBezTo>
                    <a:pt x="2440902" y="1568906"/>
                    <a:pt x="2441682" y="1571571"/>
                    <a:pt x="2442351" y="1574236"/>
                  </a:cubicBezTo>
                  <a:lnTo>
                    <a:pt x="2442351" y="1584288"/>
                  </a:lnTo>
                  <a:cubicBezTo>
                    <a:pt x="2440233" y="1588248"/>
                    <a:pt x="2438114" y="1592284"/>
                    <a:pt x="2435996" y="1596244"/>
                  </a:cubicBezTo>
                  <a:cubicBezTo>
                    <a:pt x="2433878" y="1600889"/>
                    <a:pt x="2431871" y="1605610"/>
                    <a:pt x="2429752" y="1610256"/>
                  </a:cubicBezTo>
                  <a:lnTo>
                    <a:pt x="2429752" y="1620231"/>
                  </a:lnTo>
                  <a:lnTo>
                    <a:pt x="2429752" y="1632263"/>
                  </a:lnTo>
                  <a:cubicBezTo>
                    <a:pt x="2431090" y="1636908"/>
                    <a:pt x="2432540" y="1641554"/>
                    <a:pt x="2433878" y="1646199"/>
                  </a:cubicBezTo>
                  <a:cubicBezTo>
                    <a:pt x="2437445" y="1655565"/>
                    <a:pt x="2440902" y="1664856"/>
                    <a:pt x="2444469" y="1674222"/>
                  </a:cubicBezTo>
                  <a:cubicBezTo>
                    <a:pt x="2446588" y="1677573"/>
                    <a:pt x="2448595" y="1680847"/>
                    <a:pt x="2450713" y="1684198"/>
                  </a:cubicBezTo>
                  <a:cubicBezTo>
                    <a:pt x="2452162" y="1686863"/>
                    <a:pt x="2453500" y="1689529"/>
                    <a:pt x="2454950" y="1692194"/>
                  </a:cubicBezTo>
                  <a:lnTo>
                    <a:pt x="2465430" y="1698210"/>
                  </a:lnTo>
                  <a:cubicBezTo>
                    <a:pt x="2468217" y="1701561"/>
                    <a:pt x="2471116" y="1704835"/>
                    <a:pt x="2473904" y="1708186"/>
                  </a:cubicBezTo>
                  <a:cubicBezTo>
                    <a:pt x="2474573" y="1710166"/>
                    <a:pt x="2475353" y="1712222"/>
                    <a:pt x="2476022" y="1714202"/>
                  </a:cubicBezTo>
                  <a:lnTo>
                    <a:pt x="2476022" y="1722197"/>
                  </a:lnTo>
                  <a:lnTo>
                    <a:pt x="2476022" y="1734153"/>
                  </a:lnTo>
                  <a:cubicBezTo>
                    <a:pt x="2475353" y="1740169"/>
                    <a:pt x="2474573" y="1746109"/>
                    <a:pt x="2473904" y="1752125"/>
                  </a:cubicBezTo>
                  <a:lnTo>
                    <a:pt x="2473904" y="1764156"/>
                  </a:lnTo>
                  <a:cubicBezTo>
                    <a:pt x="2475353" y="1771467"/>
                    <a:pt x="2476691" y="1778854"/>
                    <a:pt x="2478140" y="1786164"/>
                  </a:cubicBezTo>
                  <a:lnTo>
                    <a:pt x="2492857" y="1822107"/>
                  </a:lnTo>
                  <a:cubicBezTo>
                    <a:pt x="2498432" y="1837414"/>
                    <a:pt x="2504118" y="1852796"/>
                    <a:pt x="2509693" y="1868102"/>
                  </a:cubicBezTo>
                  <a:cubicBezTo>
                    <a:pt x="2509024" y="1869397"/>
                    <a:pt x="2508243" y="1870768"/>
                    <a:pt x="2507574" y="1872062"/>
                  </a:cubicBezTo>
                  <a:cubicBezTo>
                    <a:pt x="2508243" y="1874042"/>
                    <a:pt x="2509024" y="1876098"/>
                    <a:pt x="2509693" y="1878078"/>
                  </a:cubicBezTo>
                  <a:cubicBezTo>
                    <a:pt x="2513149" y="1885389"/>
                    <a:pt x="2516717" y="1892775"/>
                    <a:pt x="2520173" y="1900086"/>
                  </a:cubicBezTo>
                  <a:cubicBezTo>
                    <a:pt x="2523629" y="1908767"/>
                    <a:pt x="2527197" y="1917372"/>
                    <a:pt x="2530653" y="1926053"/>
                  </a:cubicBezTo>
                  <a:cubicBezTo>
                    <a:pt x="2532103" y="1929404"/>
                    <a:pt x="2533441" y="1932678"/>
                    <a:pt x="2534890" y="1936029"/>
                  </a:cubicBezTo>
                  <a:lnTo>
                    <a:pt x="2534890" y="1946005"/>
                  </a:lnTo>
                  <a:lnTo>
                    <a:pt x="2530653" y="1946005"/>
                  </a:lnTo>
                  <a:cubicBezTo>
                    <a:pt x="2529984" y="1947375"/>
                    <a:pt x="2529204" y="1948670"/>
                    <a:pt x="2528535" y="1950041"/>
                  </a:cubicBezTo>
                  <a:cubicBezTo>
                    <a:pt x="2527197" y="1952021"/>
                    <a:pt x="2525748" y="1954077"/>
                    <a:pt x="2524410" y="1956057"/>
                  </a:cubicBezTo>
                  <a:cubicBezTo>
                    <a:pt x="2522291" y="1956742"/>
                    <a:pt x="2520173" y="1957351"/>
                    <a:pt x="2518055" y="1958036"/>
                  </a:cubicBezTo>
                  <a:cubicBezTo>
                    <a:pt x="2517386" y="1960016"/>
                    <a:pt x="2516605" y="1962072"/>
                    <a:pt x="2515936" y="1964052"/>
                  </a:cubicBezTo>
                  <a:cubicBezTo>
                    <a:pt x="2515267" y="1967403"/>
                    <a:pt x="2514487" y="1970678"/>
                    <a:pt x="2513818" y="1974028"/>
                  </a:cubicBezTo>
                  <a:lnTo>
                    <a:pt x="2513818" y="1985984"/>
                  </a:lnTo>
                  <a:cubicBezTo>
                    <a:pt x="2512480" y="1993980"/>
                    <a:pt x="2511031" y="2001976"/>
                    <a:pt x="2509693" y="2009971"/>
                  </a:cubicBezTo>
                  <a:lnTo>
                    <a:pt x="2508704" y="2009971"/>
                  </a:lnTo>
                  <a:lnTo>
                    <a:pt x="2509641" y="2009978"/>
                  </a:lnTo>
                  <a:lnTo>
                    <a:pt x="2513848" y="2009978"/>
                  </a:lnTo>
                  <a:lnTo>
                    <a:pt x="2640066" y="2007974"/>
                  </a:lnTo>
                  <a:lnTo>
                    <a:pt x="2768388" y="2007974"/>
                  </a:lnTo>
                  <a:lnTo>
                    <a:pt x="2772595" y="2048054"/>
                  </a:lnTo>
                  <a:lnTo>
                    <a:pt x="2772595" y="2074105"/>
                  </a:lnTo>
                  <a:lnTo>
                    <a:pt x="2768388" y="2080117"/>
                  </a:lnTo>
                  <a:lnTo>
                    <a:pt x="2766284" y="2084125"/>
                  </a:lnTo>
                  <a:lnTo>
                    <a:pt x="2755766" y="2084125"/>
                  </a:lnTo>
                  <a:lnTo>
                    <a:pt x="2751559" y="2088133"/>
                  </a:lnTo>
                  <a:lnTo>
                    <a:pt x="2751559" y="2094145"/>
                  </a:lnTo>
                  <a:lnTo>
                    <a:pt x="2753663" y="2106169"/>
                  </a:lnTo>
                  <a:lnTo>
                    <a:pt x="2753663" y="2108173"/>
                  </a:lnTo>
                  <a:lnTo>
                    <a:pt x="2757870" y="2110177"/>
                  </a:lnTo>
                  <a:lnTo>
                    <a:pt x="2768388" y="2108173"/>
                  </a:lnTo>
                  <a:lnTo>
                    <a:pt x="2778906" y="2108173"/>
                  </a:lnTo>
                  <a:lnTo>
                    <a:pt x="2783114" y="2110177"/>
                  </a:lnTo>
                  <a:lnTo>
                    <a:pt x="2785217" y="2116188"/>
                  </a:lnTo>
                  <a:lnTo>
                    <a:pt x="2783114" y="2122200"/>
                  </a:lnTo>
                  <a:lnTo>
                    <a:pt x="2778906" y="2122200"/>
                  </a:lnTo>
                  <a:lnTo>
                    <a:pt x="2774699" y="2126208"/>
                  </a:lnTo>
                  <a:lnTo>
                    <a:pt x="2774699" y="2130216"/>
                  </a:lnTo>
                  <a:lnTo>
                    <a:pt x="2774699" y="2188331"/>
                  </a:lnTo>
                  <a:lnTo>
                    <a:pt x="2776803" y="2242438"/>
                  </a:lnTo>
                  <a:lnTo>
                    <a:pt x="2778906" y="2408768"/>
                  </a:lnTo>
                  <a:lnTo>
                    <a:pt x="2778906" y="2490930"/>
                  </a:lnTo>
                  <a:lnTo>
                    <a:pt x="2778906" y="2573093"/>
                  </a:lnTo>
                  <a:lnTo>
                    <a:pt x="2768388" y="2571089"/>
                  </a:lnTo>
                  <a:lnTo>
                    <a:pt x="2772595" y="2671287"/>
                  </a:lnTo>
                  <a:lnTo>
                    <a:pt x="2772595" y="2757458"/>
                  </a:lnTo>
                  <a:lnTo>
                    <a:pt x="2774699" y="2757458"/>
                  </a:lnTo>
                  <a:lnTo>
                    <a:pt x="2774699" y="2773490"/>
                  </a:lnTo>
                  <a:lnTo>
                    <a:pt x="2774699" y="2785514"/>
                  </a:lnTo>
                  <a:lnTo>
                    <a:pt x="2772595" y="2789521"/>
                  </a:lnTo>
                  <a:lnTo>
                    <a:pt x="2768388" y="2793529"/>
                  </a:lnTo>
                  <a:lnTo>
                    <a:pt x="2762077" y="2793529"/>
                  </a:lnTo>
                  <a:lnTo>
                    <a:pt x="2753663" y="2793529"/>
                  </a:lnTo>
                  <a:lnTo>
                    <a:pt x="2322417" y="2795533"/>
                  </a:lnTo>
                  <a:lnTo>
                    <a:pt x="1893275" y="2797537"/>
                  </a:lnTo>
                  <a:lnTo>
                    <a:pt x="1855409" y="2797537"/>
                  </a:lnTo>
                  <a:lnTo>
                    <a:pt x="1851202" y="2803549"/>
                  </a:lnTo>
                  <a:lnTo>
                    <a:pt x="1840684" y="2805553"/>
                  </a:lnTo>
                  <a:lnTo>
                    <a:pt x="1813336" y="2805553"/>
                  </a:lnTo>
                  <a:lnTo>
                    <a:pt x="1760745" y="2803549"/>
                  </a:lnTo>
                  <a:lnTo>
                    <a:pt x="1699740" y="2805553"/>
                  </a:lnTo>
                  <a:lnTo>
                    <a:pt x="1666082" y="2805553"/>
                  </a:lnTo>
                  <a:lnTo>
                    <a:pt x="1653460" y="2803549"/>
                  </a:lnTo>
                  <a:lnTo>
                    <a:pt x="1645045" y="2799541"/>
                  </a:lnTo>
                  <a:lnTo>
                    <a:pt x="1642942" y="2793529"/>
                  </a:lnTo>
                  <a:lnTo>
                    <a:pt x="1642942" y="2785514"/>
                  </a:lnTo>
                  <a:lnTo>
                    <a:pt x="1642942" y="2769482"/>
                  </a:lnTo>
                  <a:lnTo>
                    <a:pt x="1642942" y="2767478"/>
                  </a:lnTo>
                  <a:lnTo>
                    <a:pt x="1640838" y="2765474"/>
                  </a:lnTo>
                  <a:lnTo>
                    <a:pt x="1634527" y="2765474"/>
                  </a:lnTo>
                  <a:lnTo>
                    <a:pt x="1628216" y="2765474"/>
                  </a:lnTo>
                  <a:lnTo>
                    <a:pt x="1621905" y="2765474"/>
                  </a:lnTo>
                  <a:lnTo>
                    <a:pt x="1619802" y="2763470"/>
                  </a:lnTo>
                  <a:lnTo>
                    <a:pt x="1619802" y="2757458"/>
                  </a:lnTo>
                  <a:lnTo>
                    <a:pt x="1611387" y="2755454"/>
                  </a:lnTo>
                  <a:lnTo>
                    <a:pt x="1579833" y="2755454"/>
                  </a:lnTo>
                  <a:lnTo>
                    <a:pt x="1565107" y="2755454"/>
                  </a:lnTo>
                  <a:lnTo>
                    <a:pt x="1556693" y="2755454"/>
                  </a:lnTo>
                  <a:lnTo>
                    <a:pt x="1554589" y="2753450"/>
                  </a:lnTo>
                  <a:lnTo>
                    <a:pt x="1550382" y="2749442"/>
                  </a:lnTo>
                  <a:lnTo>
                    <a:pt x="1548278" y="2737418"/>
                  </a:lnTo>
                  <a:lnTo>
                    <a:pt x="1546174" y="2733410"/>
                  </a:lnTo>
                  <a:lnTo>
                    <a:pt x="1544071" y="2733410"/>
                  </a:lnTo>
                  <a:lnTo>
                    <a:pt x="1529345" y="2731406"/>
                  </a:lnTo>
                  <a:lnTo>
                    <a:pt x="1504102" y="2733410"/>
                  </a:lnTo>
                  <a:lnTo>
                    <a:pt x="1483065" y="2731406"/>
                  </a:lnTo>
                  <a:lnTo>
                    <a:pt x="1480962" y="2661268"/>
                  </a:lnTo>
                  <a:lnTo>
                    <a:pt x="1480962" y="2591129"/>
                  </a:lnTo>
                  <a:lnTo>
                    <a:pt x="1476754" y="2585117"/>
                  </a:lnTo>
                  <a:lnTo>
                    <a:pt x="1474651" y="2581109"/>
                  </a:lnTo>
                  <a:lnTo>
                    <a:pt x="1462029" y="2577101"/>
                  </a:lnTo>
                  <a:lnTo>
                    <a:pt x="1445200" y="2575097"/>
                  </a:lnTo>
                  <a:lnTo>
                    <a:pt x="1430474" y="2575097"/>
                  </a:lnTo>
                  <a:lnTo>
                    <a:pt x="1424163" y="2573093"/>
                  </a:lnTo>
                  <a:lnTo>
                    <a:pt x="1419956" y="2567081"/>
                  </a:lnTo>
                  <a:lnTo>
                    <a:pt x="1417852" y="2557061"/>
                  </a:lnTo>
                  <a:lnTo>
                    <a:pt x="1417852" y="2547041"/>
                  </a:lnTo>
                  <a:lnTo>
                    <a:pt x="1419956" y="2524998"/>
                  </a:lnTo>
                  <a:lnTo>
                    <a:pt x="1419956" y="2508966"/>
                  </a:lnTo>
                  <a:lnTo>
                    <a:pt x="1344225" y="2508966"/>
                  </a:lnTo>
                  <a:lnTo>
                    <a:pt x="1346329" y="2440831"/>
                  </a:lnTo>
                  <a:lnTo>
                    <a:pt x="1295841" y="2444839"/>
                  </a:lnTo>
                  <a:lnTo>
                    <a:pt x="1264287" y="2444839"/>
                  </a:lnTo>
                  <a:lnTo>
                    <a:pt x="1253769" y="2442835"/>
                  </a:lnTo>
                  <a:lnTo>
                    <a:pt x="1247458" y="2440831"/>
                  </a:lnTo>
                  <a:lnTo>
                    <a:pt x="1243251" y="2434819"/>
                  </a:lnTo>
                  <a:lnTo>
                    <a:pt x="1243251" y="2430811"/>
                  </a:lnTo>
                  <a:lnTo>
                    <a:pt x="1243251" y="2412776"/>
                  </a:lnTo>
                  <a:lnTo>
                    <a:pt x="1243251" y="2384720"/>
                  </a:lnTo>
                  <a:lnTo>
                    <a:pt x="1243251" y="2372696"/>
                  </a:lnTo>
                  <a:lnTo>
                    <a:pt x="1241147" y="2370692"/>
                  </a:lnTo>
                  <a:lnTo>
                    <a:pt x="1236940" y="2368688"/>
                  </a:lnTo>
                  <a:lnTo>
                    <a:pt x="1226421" y="2368688"/>
                  </a:lnTo>
                  <a:lnTo>
                    <a:pt x="1211696" y="2370692"/>
                  </a:lnTo>
                  <a:lnTo>
                    <a:pt x="1207489" y="2368688"/>
                  </a:lnTo>
                  <a:lnTo>
                    <a:pt x="1201178" y="2364680"/>
                  </a:lnTo>
                  <a:lnTo>
                    <a:pt x="1196970" y="2358669"/>
                  </a:lnTo>
                  <a:lnTo>
                    <a:pt x="1196970" y="2348649"/>
                  </a:lnTo>
                  <a:lnTo>
                    <a:pt x="1196970" y="2334621"/>
                  </a:lnTo>
                  <a:lnTo>
                    <a:pt x="1196970" y="2322597"/>
                  </a:lnTo>
                  <a:lnTo>
                    <a:pt x="1196970" y="2312577"/>
                  </a:lnTo>
                  <a:lnTo>
                    <a:pt x="1194867" y="2308569"/>
                  </a:lnTo>
                  <a:lnTo>
                    <a:pt x="1188556" y="2302557"/>
                  </a:lnTo>
                  <a:lnTo>
                    <a:pt x="1186452" y="2302557"/>
                  </a:lnTo>
                  <a:lnTo>
                    <a:pt x="1178038" y="2300553"/>
                  </a:lnTo>
                  <a:lnTo>
                    <a:pt x="1146483" y="2302557"/>
                  </a:lnTo>
                  <a:lnTo>
                    <a:pt x="1131758" y="2302557"/>
                  </a:lnTo>
                  <a:lnTo>
                    <a:pt x="1117032" y="2298549"/>
                  </a:lnTo>
                  <a:lnTo>
                    <a:pt x="1114929" y="2292538"/>
                  </a:lnTo>
                  <a:lnTo>
                    <a:pt x="1112825" y="2282518"/>
                  </a:lnTo>
                  <a:lnTo>
                    <a:pt x="1106514" y="2268490"/>
                  </a:lnTo>
                  <a:lnTo>
                    <a:pt x="1102307" y="2266486"/>
                  </a:lnTo>
                  <a:lnTo>
                    <a:pt x="1095996" y="2260474"/>
                  </a:lnTo>
                  <a:lnTo>
                    <a:pt x="1085478" y="2256466"/>
                  </a:lnTo>
                  <a:lnTo>
                    <a:pt x="1083374" y="2250454"/>
                  </a:lnTo>
                  <a:lnTo>
                    <a:pt x="1083374" y="2246446"/>
                  </a:lnTo>
                  <a:lnTo>
                    <a:pt x="1083374" y="2238430"/>
                  </a:lnTo>
                  <a:lnTo>
                    <a:pt x="1083374" y="2236427"/>
                  </a:lnTo>
                  <a:lnTo>
                    <a:pt x="1079167" y="2230415"/>
                  </a:lnTo>
                  <a:lnTo>
                    <a:pt x="1074959" y="2230415"/>
                  </a:lnTo>
                  <a:lnTo>
                    <a:pt x="1072856" y="2230415"/>
                  </a:lnTo>
                  <a:lnTo>
                    <a:pt x="1070752" y="2222399"/>
                  </a:lnTo>
                  <a:lnTo>
                    <a:pt x="1068649" y="2222399"/>
                  </a:lnTo>
                  <a:lnTo>
                    <a:pt x="1062338" y="2222399"/>
                  </a:lnTo>
                  <a:lnTo>
                    <a:pt x="1060234" y="2222399"/>
                  </a:lnTo>
                  <a:lnTo>
                    <a:pt x="1060234" y="2220395"/>
                  </a:lnTo>
                  <a:lnTo>
                    <a:pt x="1058130" y="2186327"/>
                  </a:lnTo>
                  <a:lnTo>
                    <a:pt x="1058130" y="2162280"/>
                  </a:lnTo>
                  <a:lnTo>
                    <a:pt x="1053923" y="2156268"/>
                  </a:lnTo>
                  <a:lnTo>
                    <a:pt x="1051819" y="2152260"/>
                  </a:lnTo>
                  <a:lnTo>
                    <a:pt x="1047612" y="2152260"/>
                  </a:lnTo>
                  <a:lnTo>
                    <a:pt x="1016058" y="2156268"/>
                  </a:lnTo>
                  <a:lnTo>
                    <a:pt x="995021" y="2156268"/>
                  </a:lnTo>
                  <a:lnTo>
                    <a:pt x="988710" y="2152260"/>
                  </a:lnTo>
                  <a:lnTo>
                    <a:pt x="984503" y="2152260"/>
                  </a:lnTo>
                  <a:lnTo>
                    <a:pt x="980296" y="2142240"/>
                  </a:lnTo>
                  <a:lnTo>
                    <a:pt x="980296" y="2130216"/>
                  </a:lnTo>
                  <a:lnTo>
                    <a:pt x="980296" y="2106169"/>
                  </a:lnTo>
                  <a:lnTo>
                    <a:pt x="980296" y="2061710"/>
                  </a:lnTo>
                  <a:lnTo>
                    <a:pt x="978192" y="2061710"/>
                  </a:lnTo>
                  <a:lnTo>
                    <a:pt x="978192" y="2013986"/>
                  </a:lnTo>
                  <a:lnTo>
                    <a:pt x="978192" y="2012268"/>
                  </a:lnTo>
                  <a:lnTo>
                    <a:pt x="973986" y="2011982"/>
                  </a:lnTo>
                  <a:lnTo>
                    <a:pt x="967675" y="2011982"/>
                  </a:lnTo>
                  <a:lnTo>
                    <a:pt x="969778" y="2001962"/>
                  </a:lnTo>
                  <a:lnTo>
                    <a:pt x="967675" y="1995951"/>
                  </a:lnTo>
                  <a:lnTo>
                    <a:pt x="961364" y="1991943"/>
                  </a:lnTo>
                  <a:lnTo>
                    <a:pt x="957156" y="1985931"/>
                  </a:lnTo>
                  <a:lnTo>
                    <a:pt x="946638" y="1971903"/>
                  </a:lnTo>
                  <a:lnTo>
                    <a:pt x="940327" y="1955871"/>
                  </a:lnTo>
                  <a:lnTo>
                    <a:pt x="940327" y="1947855"/>
                  </a:lnTo>
                  <a:lnTo>
                    <a:pt x="940327" y="1943847"/>
                  </a:lnTo>
                  <a:lnTo>
                    <a:pt x="940327" y="1937835"/>
                  </a:lnTo>
                  <a:lnTo>
                    <a:pt x="936120" y="1931824"/>
                  </a:lnTo>
                  <a:lnTo>
                    <a:pt x="930668" y="1926630"/>
                  </a:lnTo>
                  <a:lnTo>
                    <a:pt x="900326" y="1917798"/>
                  </a:lnTo>
                  <a:cubicBezTo>
                    <a:pt x="898165" y="1916461"/>
                    <a:pt x="896184" y="1915125"/>
                    <a:pt x="894023" y="1913788"/>
                  </a:cubicBezTo>
                  <a:cubicBezTo>
                    <a:pt x="891142" y="1911115"/>
                    <a:pt x="888441" y="1908442"/>
                    <a:pt x="885560" y="1905768"/>
                  </a:cubicBezTo>
                  <a:cubicBezTo>
                    <a:pt x="882139" y="1901758"/>
                    <a:pt x="878537" y="1897748"/>
                    <a:pt x="875116" y="1893738"/>
                  </a:cubicBezTo>
                  <a:cubicBezTo>
                    <a:pt x="870974" y="1889729"/>
                    <a:pt x="866653" y="1885719"/>
                    <a:pt x="862511" y="1881709"/>
                  </a:cubicBezTo>
                  <a:cubicBezTo>
                    <a:pt x="859630" y="1879704"/>
                    <a:pt x="856929" y="1877699"/>
                    <a:pt x="854048" y="1875694"/>
                  </a:cubicBezTo>
                  <a:cubicBezTo>
                    <a:pt x="851167" y="1874357"/>
                    <a:pt x="848465" y="1873020"/>
                    <a:pt x="845584" y="1871684"/>
                  </a:cubicBezTo>
                  <a:lnTo>
                    <a:pt x="820374" y="1863664"/>
                  </a:lnTo>
                  <a:cubicBezTo>
                    <a:pt x="816953" y="1861659"/>
                    <a:pt x="813352" y="1859654"/>
                    <a:pt x="809930" y="1857649"/>
                  </a:cubicBezTo>
                  <a:lnTo>
                    <a:pt x="795164" y="1851634"/>
                  </a:lnTo>
                  <a:lnTo>
                    <a:pt x="757349" y="1823564"/>
                  </a:lnTo>
                  <a:lnTo>
                    <a:pt x="753028" y="1823564"/>
                  </a:lnTo>
                  <a:lnTo>
                    <a:pt x="748886" y="1823564"/>
                  </a:lnTo>
                  <a:lnTo>
                    <a:pt x="742583" y="1823564"/>
                  </a:lnTo>
                  <a:cubicBezTo>
                    <a:pt x="741143" y="1821559"/>
                    <a:pt x="739882" y="1819555"/>
                    <a:pt x="738442" y="1817550"/>
                  </a:cubicBezTo>
                  <a:lnTo>
                    <a:pt x="736281" y="1811535"/>
                  </a:lnTo>
                  <a:cubicBezTo>
                    <a:pt x="733400" y="1809530"/>
                    <a:pt x="730699" y="1807525"/>
                    <a:pt x="727818" y="1805520"/>
                  </a:cubicBezTo>
                  <a:cubicBezTo>
                    <a:pt x="725657" y="1804851"/>
                    <a:pt x="723676" y="1804183"/>
                    <a:pt x="721515" y="1803515"/>
                  </a:cubicBezTo>
                  <a:cubicBezTo>
                    <a:pt x="719354" y="1801510"/>
                    <a:pt x="717373" y="1799505"/>
                    <a:pt x="715213" y="1797500"/>
                  </a:cubicBezTo>
                  <a:cubicBezTo>
                    <a:pt x="713052" y="1793490"/>
                    <a:pt x="711071" y="1789480"/>
                    <a:pt x="708910" y="1785470"/>
                  </a:cubicBezTo>
                  <a:cubicBezTo>
                    <a:pt x="707470" y="1782128"/>
                    <a:pt x="706209" y="1778920"/>
                    <a:pt x="704768" y="1775579"/>
                  </a:cubicBezTo>
                  <a:lnTo>
                    <a:pt x="694144" y="1771569"/>
                  </a:lnTo>
                  <a:cubicBezTo>
                    <a:pt x="691443" y="1770232"/>
                    <a:pt x="688562" y="1768896"/>
                    <a:pt x="685861" y="1767559"/>
                  </a:cubicBezTo>
                  <a:cubicBezTo>
                    <a:pt x="680279" y="1763549"/>
                    <a:pt x="674516" y="1759539"/>
                    <a:pt x="668934" y="1755529"/>
                  </a:cubicBezTo>
                  <a:cubicBezTo>
                    <a:pt x="665513" y="1752187"/>
                    <a:pt x="661911" y="1748846"/>
                    <a:pt x="658490" y="1745504"/>
                  </a:cubicBezTo>
                  <a:lnTo>
                    <a:pt x="654168" y="1737484"/>
                  </a:lnTo>
                  <a:cubicBezTo>
                    <a:pt x="653448" y="1736148"/>
                    <a:pt x="652908" y="1734811"/>
                    <a:pt x="652188" y="1733474"/>
                  </a:cubicBezTo>
                  <a:lnTo>
                    <a:pt x="647866" y="1723450"/>
                  </a:lnTo>
                  <a:lnTo>
                    <a:pt x="652188" y="1715430"/>
                  </a:lnTo>
                  <a:cubicBezTo>
                    <a:pt x="652908" y="1712756"/>
                    <a:pt x="653448" y="1710083"/>
                    <a:pt x="654168" y="1707410"/>
                  </a:cubicBezTo>
                  <a:lnTo>
                    <a:pt x="658490" y="1703400"/>
                  </a:lnTo>
                  <a:cubicBezTo>
                    <a:pt x="661191" y="1700058"/>
                    <a:pt x="664072" y="1696717"/>
                    <a:pt x="666773" y="1693375"/>
                  </a:cubicBezTo>
                  <a:lnTo>
                    <a:pt x="668934" y="1687360"/>
                  </a:lnTo>
                  <a:cubicBezTo>
                    <a:pt x="670375" y="1686023"/>
                    <a:pt x="671635" y="1684687"/>
                    <a:pt x="673076" y="1683350"/>
                  </a:cubicBezTo>
                  <a:cubicBezTo>
                    <a:pt x="671635" y="1681345"/>
                    <a:pt x="670375" y="1679340"/>
                    <a:pt x="668934" y="1677335"/>
                  </a:cubicBezTo>
                  <a:cubicBezTo>
                    <a:pt x="667494" y="1675330"/>
                    <a:pt x="666233" y="1673325"/>
                    <a:pt x="664793" y="1671320"/>
                  </a:cubicBezTo>
                  <a:cubicBezTo>
                    <a:pt x="661191" y="1667979"/>
                    <a:pt x="657770" y="1664637"/>
                    <a:pt x="654168" y="1661295"/>
                  </a:cubicBezTo>
                  <a:cubicBezTo>
                    <a:pt x="652008" y="1660627"/>
                    <a:pt x="650027" y="1659959"/>
                    <a:pt x="647866" y="1659290"/>
                  </a:cubicBezTo>
                  <a:cubicBezTo>
                    <a:pt x="646425" y="1656617"/>
                    <a:pt x="645165" y="1653944"/>
                    <a:pt x="643724" y="1651271"/>
                  </a:cubicBezTo>
                  <a:lnTo>
                    <a:pt x="641563" y="1643251"/>
                  </a:lnTo>
                  <a:lnTo>
                    <a:pt x="643724" y="1639241"/>
                  </a:lnTo>
                  <a:lnTo>
                    <a:pt x="643724" y="1631221"/>
                  </a:lnTo>
                  <a:lnTo>
                    <a:pt x="641563" y="1623201"/>
                  </a:lnTo>
                  <a:cubicBezTo>
                    <a:pt x="640843" y="1619859"/>
                    <a:pt x="640303" y="1616518"/>
                    <a:pt x="639583" y="1613176"/>
                  </a:cubicBezTo>
                  <a:cubicBezTo>
                    <a:pt x="640303" y="1610503"/>
                    <a:pt x="640843" y="1607830"/>
                    <a:pt x="641563" y="1605156"/>
                  </a:cubicBezTo>
                  <a:lnTo>
                    <a:pt x="643724" y="1601146"/>
                  </a:lnTo>
                  <a:cubicBezTo>
                    <a:pt x="646605" y="1599141"/>
                    <a:pt x="649306" y="1597136"/>
                    <a:pt x="652188" y="1595131"/>
                  </a:cubicBezTo>
                  <a:lnTo>
                    <a:pt x="666773" y="1591121"/>
                  </a:lnTo>
                  <a:lnTo>
                    <a:pt x="683700" y="1585106"/>
                  </a:lnTo>
                  <a:cubicBezTo>
                    <a:pt x="685141" y="1584438"/>
                    <a:pt x="686401" y="1583770"/>
                    <a:pt x="687842" y="1583102"/>
                  </a:cubicBezTo>
                  <a:lnTo>
                    <a:pt x="690003" y="1579092"/>
                  </a:lnTo>
                  <a:cubicBezTo>
                    <a:pt x="692884" y="1574413"/>
                    <a:pt x="695585" y="1569735"/>
                    <a:pt x="698466" y="1565057"/>
                  </a:cubicBezTo>
                  <a:cubicBezTo>
                    <a:pt x="699186" y="1559710"/>
                    <a:pt x="699726" y="1554364"/>
                    <a:pt x="700447" y="1549017"/>
                  </a:cubicBezTo>
                  <a:lnTo>
                    <a:pt x="704768" y="1528967"/>
                  </a:lnTo>
                  <a:cubicBezTo>
                    <a:pt x="705489" y="1522284"/>
                    <a:pt x="706029" y="1515734"/>
                    <a:pt x="706749" y="1509051"/>
                  </a:cubicBezTo>
                  <a:cubicBezTo>
                    <a:pt x="706029" y="1502368"/>
                    <a:pt x="705489" y="1495685"/>
                    <a:pt x="704768" y="1489002"/>
                  </a:cubicBezTo>
                  <a:lnTo>
                    <a:pt x="700447" y="1470957"/>
                  </a:lnTo>
                  <a:cubicBezTo>
                    <a:pt x="699726" y="1466947"/>
                    <a:pt x="699186" y="1462937"/>
                    <a:pt x="698466" y="1458927"/>
                  </a:cubicBezTo>
                  <a:cubicBezTo>
                    <a:pt x="695585" y="1454917"/>
                    <a:pt x="692884" y="1450907"/>
                    <a:pt x="690003" y="1446897"/>
                  </a:cubicBezTo>
                  <a:cubicBezTo>
                    <a:pt x="686581" y="1442218"/>
                    <a:pt x="682980" y="1437540"/>
                    <a:pt x="679558" y="1432862"/>
                  </a:cubicBezTo>
                  <a:lnTo>
                    <a:pt x="647866" y="1406797"/>
                  </a:lnTo>
                  <a:lnTo>
                    <a:pt x="614193" y="1380733"/>
                  </a:lnTo>
                  <a:lnTo>
                    <a:pt x="588983" y="1360683"/>
                  </a:lnTo>
                  <a:lnTo>
                    <a:pt x="472339" y="1253447"/>
                  </a:lnTo>
                  <a:lnTo>
                    <a:pt x="471217" y="1254482"/>
                  </a:lnTo>
                  <a:cubicBezTo>
                    <a:pt x="468440" y="1251786"/>
                    <a:pt x="465579" y="1249161"/>
                    <a:pt x="462802" y="1246465"/>
                  </a:cubicBezTo>
                  <a:lnTo>
                    <a:pt x="450181" y="1238449"/>
                  </a:lnTo>
                  <a:lnTo>
                    <a:pt x="420730" y="1222417"/>
                  </a:lnTo>
                  <a:lnTo>
                    <a:pt x="361828" y="1200354"/>
                  </a:lnTo>
                  <a:lnTo>
                    <a:pt x="338688" y="1190351"/>
                  </a:lnTo>
                  <a:lnTo>
                    <a:pt x="317651" y="1178362"/>
                  </a:lnTo>
                  <a:cubicBezTo>
                    <a:pt x="316978" y="1176376"/>
                    <a:pt x="316221" y="1174319"/>
                    <a:pt x="315548" y="1172332"/>
                  </a:cubicBezTo>
                  <a:cubicBezTo>
                    <a:pt x="314874" y="1170985"/>
                    <a:pt x="314117" y="1169637"/>
                    <a:pt x="313444" y="1168289"/>
                  </a:cubicBezTo>
                  <a:cubicBezTo>
                    <a:pt x="312771" y="1165593"/>
                    <a:pt x="312014" y="1162968"/>
                    <a:pt x="311340" y="1160273"/>
                  </a:cubicBezTo>
                  <a:lnTo>
                    <a:pt x="307133" y="1156300"/>
                  </a:lnTo>
                  <a:cubicBezTo>
                    <a:pt x="302253" y="1148284"/>
                    <a:pt x="297288" y="1140267"/>
                    <a:pt x="292408" y="1132251"/>
                  </a:cubicBezTo>
                  <a:lnTo>
                    <a:pt x="271371" y="1112175"/>
                  </a:lnTo>
                  <a:lnTo>
                    <a:pt x="269268" y="1112175"/>
                  </a:lnTo>
                  <a:cubicBezTo>
                    <a:pt x="267164" y="1110827"/>
                    <a:pt x="265060" y="1109550"/>
                    <a:pt x="262957" y="1108202"/>
                  </a:cubicBezTo>
                  <a:cubicBezTo>
                    <a:pt x="259423" y="1106216"/>
                    <a:pt x="255973" y="1104159"/>
                    <a:pt x="252438" y="1102172"/>
                  </a:cubicBezTo>
                  <a:lnTo>
                    <a:pt x="250335" y="1100186"/>
                  </a:lnTo>
                  <a:lnTo>
                    <a:pt x="250335" y="1096142"/>
                  </a:lnTo>
                  <a:cubicBezTo>
                    <a:pt x="251008" y="1093446"/>
                    <a:pt x="251765" y="1090822"/>
                    <a:pt x="252438" y="1088126"/>
                  </a:cubicBezTo>
                  <a:cubicBezTo>
                    <a:pt x="255215" y="1085430"/>
                    <a:pt x="258076" y="1082805"/>
                    <a:pt x="260853" y="1080110"/>
                  </a:cubicBezTo>
                  <a:lnTo>
                    <a:pt x="250335" y="1066134"/>
                  </a:lnTo>
                  <a:lnTo>
                    <a:pt x="244024" y="1052088"/>
                  </a:lnTo>
                  <a:lnTo>
                    <a:pt x="244024" y="1040028"/>
                  </a:lnTo>
                  <a:cubicBezTo>
                    <a:pt x="245454" y="1036694"/>
                    <a:pt x="246801" y="1033360"/>
                    <a:pt x="248231" y="1030026"/>
                  </a:cubicBezTo>
                  <a:cubicBezTo>
                    <a:pt x="249662" y="1026691"/>
                    <a:pt x="251008" y="1023357"/>
                    <a:pt x="252438" y="1020023"/>
                  </a:cubicBezTo>
                  <a:lnTo>
                    <a:pt x="258749" y="1010020"/>
                  </a:lnTo>
                  <a:cubicBezTo>
                    <a:pt x="259423" y="1008034"/>
                    <a:pt x="260180" y="1005977"/>
                    <a:pt x="260853" y="1003990"/>
                  </a:cubicBezTo>
                  <a:cubicBezTo>
                    <a:pt x="260180" y="1001295"/>
                    <a:pt x="259423" y="998670"/>
                    <a:pt x="258749" y="995974"/>
                  </a:cubicBezTo>
                  <a:cubicBezTo>
                    <a:pt x="257319" y="993278"/>
                    <a:pt x="255973" y="990653"/>
                    <a:pt x="254542" y="987958"/>
                  </a:cubicBezTo>
                  <a:cubicBezTo>
                    <a:pt x="252438" y="985262"/>
                    <a:pt x="250335" y="982637"/>
                    <a:pt x="248231" y="979941"/>
                  </a:cubicBezTo>
                  <a:lnTo>
                    <a:pt x="248231" y="975898"/>
                  </a:lnTo>
                  <a:cubicBezTo>
                    <a:pt x="246801" y="975259"/>
                    <a:pt x="245454" y="974550"/>
                    <a:pt x="244024" y="973911"/>
                  </a:cubicBezTo>
                  <a:cubicBezTo>
                    <a:pt x="246128" y="971216"/>
                    <a:pt x="248231" y="968591"/>
                    <a:pt x="250335" y="965895"/>
                  </a:cubicBezTo>
                  <a:cubicBezTo>
                    <a:pt x="251765" y="963199"/>
                    <a:pt x="253112" y="960575"/>
                    <a:pt x="254542" y="957879"/>
                  </a:cubicBezTo>
                  <a:cubicBezTo>
                    <a:pt x="255973" y="954545"/>
                    <a:pt x="257319" y="951210"/>
                    <a:pt x="258749" y="947876"/>
                  </a:cubicBezTo>
                  <a:lnTo>
                    <a:pt x="258749" y="943833"/>
                  </a:lnTo>
                  <a:cubicBezTo>
                    <a:pt x="257319" y="941846"/>
                    <a:pt x="255973" y="939860"/>
                    <a:pt x="254542" y="937874"/>
                  </a:cubicBezTo>
                  <a:cubicBezTo>
                    <a:pt x="254560" y="937184"/>
                    <a:pt x="254577" y="936494"/>
                    <a:pt x="254596" y="935804"/>
                  </a:cubicBezTo>
                  <a:lnTo>
                    <a:pt x="254542" y="935851"/>
                  </a:lnTo>
                  <a:lnTo>
                    <a:pt x="222987" y="907795"/>
                  </a:lnTo>
                  <a:lnTo>
                    <a:pt x="220884" y="903787"/>
                  </a:lnTo>
                  <a:lnTo>
                    <a:pt x="216676" y="903787"/>
                  </a:lnTo>
                  <a:lnTo>
                    <a:pt x="210365" y="905791"/>
                  </a:lnTo>
                  <a:lnTo>
                    <a:pt x="206158" y="907795"/>
                  </a:lnTo>
                  <a:lnTo>
                    <a:pt x="197744" y="907795"/>
                  </a:lnTo>
                  <a:lnTo>
                    <a:pt x="180914" y="905791"/>
                  </a:lnTo>
                  <a:lnTo>
                    <a:pt x="159878" y="903787"/>
                  </a:lnTo>
                  <a:lnTo>
                    <a:pt x="153567" y="903787"/>
                  </a:lnTo>
                  <a:lnTo>
                    <a:pt x="145152" y="905791"/>
                  </a:lnTo>
                  <a:lnTo>
                    <a:pt x="143049" y="911803"/>
                  </a:lnTo>
                  <a:lnTo>
                    <a:pt x="145152" y="921823"/>
                  </a:lnTo>
                  <a:lnTo>
                    <a:pt x="134634" y="921823"/>
                  </a:lnTo>
                  <a:lnTo>
                    <a:pt x="128323" y="915811"/>
                  </a:lnTo>
                  <a:lnTo>
                    <a:pt x="124116" y="907795"/>
                  </a:lnTo>
                  <a:lnTo>
                    <a:pt x="122012" y="901783"/>
                  </a:lnTo>
                  <a:lnTo>
                    <a:pt x="113598" y="881744"/>
                  </a:lnTo>
                  <a:lnTo>
                    <a:pt x="111494" y="871724"/>
                  </a:lnTo>
                  <a:lnTo>
                    <a:pt x="103080" y="865712"/>
                  </a:lnTo>
                  <a:lnTo>
                    <a:pt x="94665" y="857696"/>
                  </a:lnTo>
                  <a:lnTo>
                    <a:pt x="90458" y="851684"/>
                  </a:lnTo>
                  <a:lnTo>
                    <a:pt x="86250" y="841665"/>
                  </a:lnTo>
                  <a:lnTo>
                    <a:pt x="86250" y="829641"/>
                  </a:lnTo>
                  <a:lnTo>
                    <a:pt x="90458" y="815613"/>
                  </a:lnTo>
                  <a:lnTo>
                    <a:pt x="94665" y="811605"/>
                  </a:lnTo>
                  <a:lnTo>
                    <a:pt x="100976" y="809601"/>
                  </a:lnTo>
                  <a:lnTo>
                    <a:pt x="107287" y="803589"/>
                  </a:lnTo>
                  <a:lnTo>
                    <a:pt x="113598" y="795573"/>
                  </a:lnTo>
                  <a:lnTo>
                    <a:pt x="115701" y="791565"/>
                  </a:lnTo>
                  <a:lnTo>
                    <a:pt x="113598" y="775534"/>
                  </a:lnTo>
                  <a:lnTo>
                    <a:pt x="111494" y="761506"/>
                  </a:lnTo>
                  <a:lnTo>
                    <a:pt x="111494" y="753490"/>
                  </a:lnTo>
                  <a:lnTo>
                    <a:pt x="111494" y="745474"/>
                  </a:lnTo>
                  <a:lnTo>
                    <a:pt x="113598" y="741466"/>
                  </a:lnTo>
                  <a:lnTo>
                    <a:pt x="111494" y="735454"/>
                  </a:lnTo>
                  <a:lnTo>
                    <a:pt x="107287" y="733450"/>
                  </a:lnTo>
                  <a:lnTo>
                    <a:pt x="103080" y="731447"/>
                  </a:lnTo>
                  <a:lnTo>
                    <a:pt x="92561" y="729443"/>
                  </a:lnTo>
                  <a:lnTo>
                    <a:pt x="86250" y="725435"/>
                  </a:lnTo>
                  <a:lnTo>
                    <a:pt x="84147" y="723431"/>
                  </a:lnTo>
                  <a:lnTo>
                    <a:pt x="79939" y="715415"/>
                  </a:lnTo>
                  <a:lnTo>
                    <a:pt x="75732" y="709403"/>
                  </a:lnTo>
                  <a:lnTo>
                    <a:pt x="79939" y="701387"/>
                  </a:lnTo>
                  <a:lnTo>
                    <a:pt x="79939" y="693371"/>
                  </a:lnTo>
                  <a:lnTo>
                    <a:pt x="73629" y="675336"/>
                  </a:lnTo>
                  <a:lnTo>
                    <a:pt x="71525" y="669324"/>
                  </a:lnTo>
                  <a:lnTo>
                    <a:pt x="71525" y="661308"/>
                  </a:lnTo>
                  <a:lnTo>
                    <a:pt x="71524" y="661309"/>
                  </a:lnTo>
                  <a:lnTo>
                    <a:pt x="71524" y="651289"/>
                  </a:lnTo>
                  <a:lnTo>
                    <a:pt x="65213" y="641269"/>
                  </a:lnTo>
                  <a:lnTo>
                    <a:pt x="58902" y="635257"/>
                  </a:lnTo>
                  <a:lnTo>
                    <a:pt x="48384" y="631249"/>
                  </a:lnTo>
                  <a:lnTo>
                    <a:pt x="27347" y="621229"/>
                  </a:lnTo>
                  <a:lnTo>
                    <a:pt x="18933" y="615218"/>
                  </a:lnTo>
                  <a:lnTo>
                    <a:pt x="16829" y="609206"/>
                  </a:lnTo>
                  <a:lnTo>
                    <a:pt x="16829" y="500991"/>
                  </a:lnTo>
                  <a:lnTo>
                    <a:pt x="16829" y="448888"/>
                  </a:lnTo>
                  <a:lnTo>
                    <a:pt x="18933" y="392777"/>
                  </a:lnTo>
                  <a:lnTo>
                    <a:pt x="23140" y="382757"/>
                  </a:lnTo>
                  <a:lnTo>
                    <a:pt x="29451" y="372738"/>
                  </a:lnTo>
                  <a:lnTo>
                    <a:pt x="27347" y="368730"/>
                  </a:lnTo>
                  <a:lnTo>
                    <a:pt x="23140" y="366726"/>
                  </a:lnTo>
                  <a:lnTo>
                    <a:pt x="18933" y="362718"/>
                  </a:lnTo>
                  <a:lnTo>
                    <a:pt x="10518" y="360714"/>
                  </a:lnTo>
                  <a:lnTo>
                    <a:pt x="6311" y="356706"/>
                  </a:lnTo>
                  <a:lnTo>
                    <a:pt x="2104" y="342678"/>
                  </a:lnTo>
                  <a:lnTo>
                    <a:pt x="6311" y="330654"/>
                  </a:lnTo>
                  <a:lnTo>
                    <a:pt x="10518" y="318630"/>
                  </a:lnTo>
                  <a:lnTo>
                    <a:pt x="10518" y="308611"/>
                  </a:lnTo>
                  <a:lnTo>
                    <a:pt x="10518" y="298591"/>
                  </a:lnTo>
                  <a:lnTo>
                    <a:pt x="8414" y="286567"/>
                  </a:lnTo>
                  <a:lnTo>
                    <a:pt x="2104" y="262519"/>
                  </a:lnTo>
                  <a:lnTo>
                    <a:pt x="0" y="250496"/>
                  </a:lnTo>
                  <a:lnTo>
                    <a:pt x="2104" y="240476"/>
                  </a:lnTo>
                  <a:lnTo>
                    <a:pt x="6311" y="232460"/>
                  </a:lnTo>
                  <a:lnTo>
                    <a:pt x="12622" y="228452"/>
                  </a:lnTo>
                  <a:lnTo>
                    <a:pt x="10518" y="212420"/>
                  </a:lnTo>
                  <a:lnTo>
                    <a:pt x="2104" y="220436"/>
                  </a:lnTo>
                  <a:lnTo>
                    <a:pt x="2104" y="218432"/>
                  </a:lnTo>
                  <a:lnTo>
                    <a:pt x="2104" y="206408"/>
                  </a:lnTo>
                  <a:lnTo>
                    <a:pt x="2104" y="190377"/>
                  </a:lnTo>
                  <a:lnTo>
                    <a:pt x="10518" y="190377"/>
                  </a:lnTo>
                  <a:lnTo>
                    <a:pt x="18933" y="194385"/>
                  </a:lnTo>
                  <a:lnTo>
                    <a:pt x="23140" y="200396"/>
                  </a:lnTo>
                  <a:lnTo>
                    <a:pt x="31554" y="206408"/>
                  </a:lnTo>
                  <a:lnTo>
                    <a:pt x="37865" y="208412"/>
                  </a:lnTo>
                  <a:lnTo>
                    <a:pt x="42073" y="208412"/>
                  </a:lnTo>
                  <a:lnTo>
                    <a:pt x="47542" y="208412"/>
                  </a:lnTo>
                  <a:lnTo>
                    <a:pt x="61005" y="216428"/>
                  </a:lnTo>
                  <a:lnTo>
                    <a:pt x="71524" y="228452"/>
                  </a:lnTo>
                  <a:lnTo>
                    <a:pt x="84145" y="238472"/>
                  </a:lnTo>
                  <a:lnTo>
                    <a:pt x="96767" y="248492"/>
                  </a:lnTo>
                  <a:lnTo>
                    <a:pt x="96767" y="238472"/>
                  </a:lnTo>
                  <a:lnTo>
                    <a:pt x="92560" y="230456"/>
                  </a:lnTo>
                  <a:lnTo>
                    <a:pt x="86249" y="222440"/>
                  </a:lnTo>
                  <a:lnTo>
                    <a:pt x="79938" y="216428"/>
                  </a:lnTo>
                  <a:lnTo>
                    <a:pt x="63109" y="208412"/>
                  </a:lnTo>
                  <a:lnTo>
                    <a:pt x="48384" y="200396"/>
                  </a:lnTo>
                  <a:lnTo>
                    <a:pt x="27347" y="190377"/>
                  </a:lnTo>
                  <a:lnTo>
                    <a:pt x="16829" y="186369"/>
                  </a:lnTo>
                  <a:lnTo>
                    <a:pt x="10518" y="178353"/>
                  </a:lnTo>
                  <a:lnTo>
                    <a:pt x="27347" y="178353"/>
                  </a:lnTo>
                  <a:lnTo>
                    <a:pt x="33658" y="176349"/>
                  </a:lnTo>
                  <a:lnTo>
                    <a:pt x="39969" y="174345"/>
                  </a:lnTo>
                  <a:lnTo>
                    <a:pt x="29451" y="174345"/>
                  </a:lnTo>
                  <a:lnTo>
                    <a:pt x="21036" y="170337"/>
                  </a:lnTo>
                  <a:lnTo>
                    <a:pt x="12622" y="168333"/>
                  </a:lnTo>
                  <a:lnTo>
                    <a:pt x="6311" y="160317"/>
                  </a:lnTo>
                  <a:lnTo>
                    <a:pt x="2104" y="154305"/>
                  </a:lnTo>
                  <a:lnTo>
                    <a:pt x="6311" y="146289"/>
                  </a:lnTo>
                  <a:lnTo>
                    <a:pt x="8414" y="140277"/>
                  </a:lnTo>
                  <a:lnTo>
                    <a:pt x="16829" y="130258"/>
                  </a:lnTo>
                  <a:lnTo>
                    <a:pt x="21036" y="124246"/>
                  </a:lnTo>
                  <a:lnTo>
                    <a:pt x="27347" y="114226"/>
                  </a:lnTo>
                  <a:lnTo>
                    <a:pt x="37865" y="88174"/>
                  </a:lnTo>
                  <a:lnTo>
                    <a:pt x="42073" y="78154"/>
                  </a:lnTo>
                  <a:lnTo>
                    <a:pt x="50487" y="68135"/>
                  </a:lnTo>
                  <a:lnTo>
                    <a:pt x="54694" y="60119"/>
                  </a:lnTo>
                  <a:lnTo>
                    <a:pt x="65213" y="58115"/>
                  </a:lnTo>
                  <a:lnTo>
                    <a:pt x="69420" y="48095"/>
                  </a:lnTo>
                  <a:lnTo>
                    <a:pt x="71524" y="40079"/>
                  </a:lnTo>
                  <a:lnTo>
                    <a:pt x="79938" y="36071"/>
                  </a:lnTo>
                  <a:lnTo>
                    <a:pt x="86249" y="34067"/>
                  </a:lnTo>
                  <a:lnTo>
                    <a:pt x="94664" y="34067"/>
                  </a:lnTo>
                  <a:lnTo>
                    <a:pt x="103078" y="34067"/>
                  </a:lnTo>
                  <a:lnTo>
                    <a:pt x="105182" y="36071"/>
                  </a:lnTo>
                  <a:lnTo>
                    <a:pt x="107285" y="38075"/>
                  </a:lnTo>
                  <a:lnTo>
                    <a:pt x="111493" y="46091"/>
                  </a:lnTo>
                  <a:lnTo>
                    <a:pt x="115700" y="50099"/>
                  </a:lnTo>
                  <a:lnTo>
                    <a:pt x="138840" y="56111"/>
                  </a:lnTo>
                  <a:lnTo>
                    <a:pt x="166187" y="56111"/>
                  </a:lnTo>
                  <a:lnTo>
                    <a:pt x="178809" y="56111"/>
                  </a:lnTo>
                  <a:lnTo>
                    <a:pt x="191431" y="50099"/>
                  </a:lnTo>
                  <a:lnTo>
                    <a:pt x="216674" y="40079"/>
                  </a:lnTo>
                  <a:lnTo>
                    <a:pt x="222985" y="38075"/>
                  </a:lnTo>
                  <a:lnTo>
                    <a:pt x="237711" y="40079"/>
                  </a:lnTo>
                  <a:lnTo>
                    <a:pt x="248229" y="44087"/>
                  </a:lnTo>
                  <a:lnTo>
                    <a:pt x="258747" y="46091"/>
                  </a:lnTo>
                  <a:lnTo>
                    <a:pt x="271369" y="44087"/>
                  </a:lnTo>
                  <a:lnTo>
                    <a:pt x="281887" y="38075"/>
                  </a:lnTo>
                  <a:lnTo>
                    <a:pt x="300820" y="26051"/>
                  </a:lnTo>
                  <a:lnTo>
                    <a:pt x="323960" y="16031"/>
                  </a:lnTo>
                  <a:lnTo>
                    <a:pt x="347100" y="8016"/>
                  </a:lnTo>
                  <a:lnTo>
                    <a:pt x="370240" y="4008"/>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 Joaquin Valley</a:t>
              </a:r>
            </a:p>
          </p:txBody>
        </p:sp>
        <p:sp>
          <p:nvSpPr>
            <p:cNvPr id="6" name="Sacramento Metro"/>
            <p:cNvSpPr>
              <a:spLocks/>
            </p:cNvSpPr>
            <p:nvPr/>
          </p:nvSpPr>
          <p:spPr bwMode="auto">
            <a:xfrm>
              <a:off x="3035416" y="3047348"/>
              <a:ext cx="1781784" cy="1028032"/>
            </a:xfrm>
            <a:custGeom>
              <a:avLst/>
              <a:gdLst/>
              <a:ahLst/>
              <a:cxnLst/>
              <a:rect l="l" t="t" r="r" b="b"/>
              <a:pathLst>
                <a:path w="1781784" h="1028032">
                  <a:moveTo>
                    <a:pt x="1251671" y="0"/>
                  </a:moveTo>
                  <a:lnTo>
                    <a:pt x="1272707" y="0"/>
                  </a:lnTo>
                  <a:lnTo>
                    <a:pt x="1314780" y="0"/>
                  </a:lnTo>
                  <a:lnTo>
                    <a:pt x="1695538" y="0"/>
                  </a:lnTo>
                  <a:lnTo>
                    <a:pt x="1695538" y="13969"/>
                  </a:lnTo>
                  <a:lnTo>
                    <a:pt x="1695538" y="71843"/>
                  </a:lnTo>
                  <a:lnTo>
                    <a:pt x="1697642" y="93796"/>
                  </a:lnTo>
                  <a:lnTo>
                    <a:pt x="1695538" y="123730"/>
                  </a:lnTo>
                  <a:lnTo>
                    <a:pt x="1695538" y="133709"/>
                  </a:lnTo>
                  <a:lnTo>
                    <a:pt x="1695538" y="147678"/>
                  </a:lnTo>
                  <a:lnTo>
                    <a:pt x="1695538" y="165639"/>
                  </a:lnTo>
                  <a:lnTo>
                    <a:pt x="1695538" y="199565"/>
                  </a:lnTo>
                  <a:lnTo>
                    <a:pt x="1686874" y="199565"/>
                  </a:lnTo>
                  <a:lnTo>
                    <a:pt x="1686874" y="200392"/>
                  </a:lnTo>
                  <a:lnTo>
                    <a:pt x="1695508" y="200392"/>
                  </a:lnTo>
                  <a:lnTo>
                    <a:pt x="1695508" y="222432"/>
                  </a:lnTo>
                  <a:lnTo>
                    <a:pt x="1695508" y="254483"/>
                  </a:lnTo>
                  <a:lnTo>
                    <a:pt x="1771234" y="314634"/>
                  </a:lnTo>
                  <a:cubicBezTo>
                    <a:pt x="1770519" y="315307"/>
                    <a:pt x="1769893" y="315936"/>
                    <a:pt x="1769178" y="316609"/>
                  </a:cubicBezTo>
                  <a:lnTo>
                    <a:pt x="1769178" y="322624"/>
                  </a:lnTo>
                  <a:cubicBezTo>
                    <a:pt x="1769893" y="325946"/>
                    <a:pt x="1770519" y="329313"/>
                    <a:pt x="1771234" y="332635"/>
                  </a:cubicBezTo>
                  <a:cubicBezTo>
                    <a:pt x="1773380" y="336001"/>
                    <a:pt x="1775436" y="339323"/>
                    <a:pt x="1777582" y="342690"/>
                  </a:cubicBezTo>
                  <a:cubicBezTo>
                    <a:pt x="1779013" y="346011"/>
                    <a:pt x="1780354" y="349378"/>
                    <a:pt x="1781784" y="352700"/>
                  </a:cubicBezTo>
                  <a:lnTo>
                    <a:pt x="1781784" y="356695"/>
                  </a:lnTo>
                  <a:cubicBezTo>
                    <a:pt x="1781069" y="358715"/>
                    <a:pt x="1780354" y="360690"/>
                    <a:pt x="1779638" y="362710"/>
                  </a:cubicBezTo>
                  <a:cubicBezTo>
                    <a:pt x="1778208" y="366032"/>
                    <a:pt x="1776867" y="369399"/>
                    <a:pt x="1775436" y="372720"/>
                  </a:cubicBezTo>
                  <a:cubicBezTo>
                    <a:pt x="1772665" y="376087"/>
                    <a:pt x="1769804" y="379409"/>
                    <a:pt x="1767032" y="382775"/>
                  </a:cubicBezTo>
                  <a:cubicBezTo>
                    <a:pt x="1764976" y="384751"/>
                    <a:pt x="1762830" y="386771"/>
                    <a:pt x="1760774" y="388746"/>
                  </a:cubicBezTo>
                  <a:cubicBezTo>
                    <a:pt x="1757287" y="394087"/>
                    <a:pt x="1753711" y="399474"/>
                    <a:pt x="1750224" y="404816"/>
                  </a:cubicBezTo>
                  <a:lnTo>
                    <a:pt x="1737618" y="418821"/>
                  </a:lnTo>
                  <a:lnTo>
                    <a:pt x="1708115" y="444857"/>
                  </a:lnTo>
                  <a:lnTo>
                    <a:pt x="1676644" y="468918"/>
                  </a:lnTo>
                  <a:lnTo>
                    <a:pt x="1645084" y="494998"/>
                  </a:lnTo>
                  <a:lnTo>
                    <a:pt x="1632389" y="496973"/>
                  </a:lnTo>
                  <a:lnTo>
                    <a:pt x="1619783" y="502988"/>
                  </a:lnTo>
                  <a:cubicBezTo>
                    <a:pt x="1617011" y="505008"/>
                    <a:pt x="1614150" y="506984"/>
                    <a:pt x="1611379" y="509004"/>
                  </a:cubicBezTo>
                  <a:cubicBezTo>
                    <a:pt x="1609948" y="511697"/>
                    <a:pt x="1608607" y="514345"/>
                    <a:pt x="1607176" y="517039"/>
                  </a:cubicBezTo>
                  <a:lnTo>
                    <a:pt x="1592425" y="533064"/>
                  </a:lnTo>
                  <a:cubicBezTo>
                    <a:pt x="1590368" y="536386"/>
                    <a:pt x="1588223" y="539753"/>
                    <a:pt x="1586166" y="543074"/>
                  </a:cubicBezTo>
                  <a:cubicBezTo>
                    <a:pt x="1582680" y="545094"/>
                    <a:pt x="1579103" y="547069"/>
                    <a:pt x="1575617" y="549089"/>
                  </a:cubicBezTo>
                  <a:lnTo>
                    <a:pt x="1554606" y="565115"/>
                  </a:lnTo>
                  <a:cubicBezTo>
                    <a:pt x="1548259" y="569783"/>
                    <a:pt x="1542000" y="574497"/>
                    <a:pt x="1535653" y="579165"/>
                  </a:cubicBezTo>
                  <a:lnTo>
                    <a:pt x="1499891" y="609196"/>
                  </a:lnTo>
                  <a:cubicBezTo>
                    <a:pt x="1496404" y="611216"/>
                    <a:pt x="1492828" y="613191"/>
                    <a:pt x="1489341" y="615211"/>
                  </a:cubicBezTo>
                  <a:lnTo>
                    <a:pt x="1474679" y="619206"/>
                  </a:lnTo>
                  <a:lnTo>
                    <a:pt x="1451523" y="621226"/>
                  </a:lnTo>
                  <a:lnTo>
                    <a:pt x="1428367" y="621226"/>
                  </a:lnTo>
                  <a:cubicBezTo>
                    <a:pt x="1424880" y="622573"/>
                    <a:pt x="1421304" y="623874"/>
                    <a:pt x="1417817" y="625221"/>
                  </a:cubicBezTo>
                  <a:lnTo>
                    <a:pt x="1407357" y="629261"/>
                  </a:lnTo>
                  <a:cubicBezTo>
                    <a:pt x="1403870" y="631281"/>
                    <a:pt x="1400294" y="633256"/>
                    <a:pt x="1396807" y="635276"/>
                  </a:cubicBezTo>
                  <a:lnTo>
                    <a:pt x="1379999" y="637251"/>
                  </a:lnTo>
                  <a:lnTo>
                    <a:pt x="1354787" y="641246"/>
                  </a:lnTo>
                  <a:lnTo>
                    <a:pt x="1323227" y="645286"/>
                  </a:lnTo>
                  <a:lnTo>
                    <a:pt x="1293723" y="649282"/>
                  </a:lnTo>
                  <a:lnTo>
                    <a:pt x="1281117" y="649282"/>
                  </a:lnTo>
                  <a:lnTo>
                    <a:pt x="1270567" y="649282"/>
                  </a:lnTo>
                  <a:lnTo>
                    <a:pt x="1243209" y="641246"/>
                  </a:lnTo>
                  <a:lnTo>
                    <a:pt x="1217997" y="635276"/>
                  </a:lnTo>
                  <a:lnTo>
                    <a:pt x="1192785" y="625221"/>
                  </a:lnTo>
                  <a:lnTo>
                    <a:pt x="1167484" y="615211"/>
                  </a:lnTo>
                  <a:lnTo>
                    <a:pt x="1144417" y="609196"/>
                  </a:lnTo>
                  <a:lnTo>
                    <a:pt x="1131722" y="609196"/>
                  </a:lnTo>
                  <a:lnTo>
                    <a:pt x="1121261" y="611216"/>
                  </a:lnTo>
                  <a:cubicBezTo>
                    <a:pt x="1117774" y="612562"/>
                    <a:pt x="1114198" y="613864"/>
                    <a:pt x="1110711" y="615211"/>
                  </a:cubicBezTo>
                  <a:lnTo>
                    <a:pt x="1098105" y="619206"/>
                  </a:lnTo>
                  <a:lnTo>
                    <a:pt x="1081297" y="627241"/>
                  </a:lnTo>
                  <a:lnTo>
                    <a:pt x="1066545" y="635276"/>
                  </a:lnTo>
                  <a:lnTo>
                    <a:pt x="1037131" y="639271"/>
                  </a:lnTo>
                  <a:lnTo>
                    <a:pt x="1034986" y="639271"/>
                  </a:lnTo>
                  <a:lnTo>
                    <a:pt x="1020234" y="639271"/>
                  </a:lnTo>
                  <a:lnTo>
                    <a:pt x="1005571" y="639271"/>
                  </a:lnTo>
                  <a:lnTo>
                    <a:pt x="988674" y="641246"/>
                  </a:lnTo>
                  <a:cubicBezTo>
                    <a:pt x="987243" y="642593"/>
                    <a:pt x="985902" y="643940"/>
                    <a:pt x="984472" y="645286"/>
                  </a:cubicBezTo>
                  <a:cubicBezTo>
                    <a:pt x="982403" y="646292"/>
                    <a:pt x="980285" y="647272"/>
                    <a:pt x="978194" y="648271"/>
                  </a:cubicBezTo>
                  <a:lnTo>
                    <a:pt x="978194" y="1028032"/>
                  </a:lnTo>
                  <a:lnTo>
                    <a:pt x="441765" y="1028032"/>
                  </a:lnTo>
                  <a:lnTo>
                    <a:pt x="441765" y="628419"/>
                  </a:lnTo>
                  <a:lnTo>
                    <a:pt x="427040" y="629244"/>
                  </a:lnTo>
                  <a:lnTo>
                    <a:pt x="406003" y="631248"/>
                  </a:lnTo>
                  <a:lnTo>
                    <a:pt x="378656" y="629244"/>
                  </a:lnTo>
                  <a:lnTo>
                    <a:pt x="353412" y="631248"/>
                  </a:lnTo>
                  <a:lnTo>
                    <a:pt x="330272" y="639264"/>
                  </a:lnTo>
                  <a:lnTo>
                    <a:pt x="307132" y="649283"/>
                  </a:lnTo>
                  <a:lnTo>
                    <a:pt x="286095" y="661307"/>
                  </a:lnTo>
                  <a:lnTo>
                    <a:pt x="275577" y="663311"/>
                  </a:lnTo>
                  <a:lnTo>
                    <a:pt x="269266" y="663311"/>
                  </a:lnTo>
                  <a:lnTo>
                    <a:pt x="262955" y="661307"/>
                  </a:lnTo>
                  <a:lnTo>
                    <a:pt x="241919" y="651287"/>
                  </a:lnTo>
                  <a:lnTo>
                    <a:pt x="229297" y="649283"/>
                  </a:lnTo>
                  <a:lnTo>
                    <a:pt x="214572" y="649283"/>
                  </a:lnTo>
                  <a:lnTo>
                    <a:pt x="214572" y="639264"/>
                  </a:lnTo>
                  <a:lnTo>
                    <a:pt x="212468" y="627240"/>
                  </a:lnTo>
                  <a:lnTo>
                    <a:pt x="201950" y="603192"/>
                  </a:lnTo>
                  <a:lnTo>
                    <a:pt x="180913" y="561109"/>
                  </a:lnTo>
                  <a:lnTo>
                    <a:pt x="176706" y="559105"/>
                  </a:lnTo>
                  <a:lnTo>
                    <a:pt x="170395" y="555097"/>
                  </a:lnTo>
                  <a:lnTo>
                    <a:pt x="172499" y="549085"/>
                  </a:lnTo>
                  <a:lnTo>
                    <a:pt x="172499" y="541069"/>
                  </a:lnTo>
                  <a:lnTo>
                    <a:pt x="161980" y="527041"/>
                  </a:lnTo>
                  <a:lnTo>
                    <a:pt x="149359" y="509005"/>
                  </a:lnTo>
                  <a:lnTo>
                    <a:pt x="128322" y="466922"/>
                  </a:lnTo>
                  <a:lnTo>
                    <a:pt x="107286" y="424838"/>
                  </a:lnTo>
                  <a:lnTo>
                    <a:pt x="98871" y="408806"/>
                  </a:lnTo>
                  <a:lnTo>
                    <a:pt x="92560" y="396782"/>
                  </a:lnTo>
                  <a:lnTo>
                    <a:pt x="82042" y="386763"/>
                  </a:lnTo>
                  <a:lnTo>
                    <a:pt x="67317" y="378747"/>
                  </a:lnTo>
                  <a:lnTo>
                    <a:pt x="54695" y="376743"/>
                  </a:lnTo>
                  <a:lnTo>
                    <a:pt x="39969" y="376743"/>
                  </a:lnTo>
                  <a:lnTo>
                    <a:pt x="25244" y="376743"/>
                  </a:lnTo>
                  <a:lnTo>
                    <a:pt x="18933" y="374739"/>
                  </a:lnTo>
                  <a:lnTo>
                    <a:pt x="10518" y="372735"/>
                  </a:lnTo>
                  <a:lnTo>
                    <a:pt x="10518" y="356703"/>
                  </a:lnTo>
                  <a:lnTo>
                    <a:pt x="8415" y="346683"/>
                  </a:lnTo>
                  <a:lnTo>
                    <a:pt x="0" y="328647"/>
                  </a:lnTo>
                  <a:lnTo>
                    <a:pt x="0" y="322636"/>
                  </a:lnTo>
                  <a:lnTo>
                    <a:pt x="4207" y="316624"/>
                  </a:lnTo>
                  <a:lnTo>
                    <a:pt x="18933" y="314620"/>
                  </a:lnTo>
                  <a:lnTo>
                    <a:pt x="39969" y="314620"/>
                  </a:lnTo>
                  <a:lnTo>
                    <a:pt x="220883" y="312616"/>
                  </a:lnTo>
                  <a:lnTo>
                    <a:pt x="401796" y="308608"/>
                  </a:lnTo>
                  <a:lnTo>
                    <a:pt x="406003" y="316624"/>
                  </a:lnTo>
                  <a:lnTo>
                    <a:pt x="412314" y="318628"/>
                  </a:lnTo>
                  <a:lnTo>
                    <a:pt x="416521" y="322636"/>
                  </a:lnTo>
                  <a:lnTo>
                    <a:pt x="424936" y="322636"/>
                  </a:lnTo>
                  <a:lnTo>
                    <a:pt x="422832" y="328647"/>
                  </a:lnTo>
                  <a:lnTo>
                    <a:pt x="427040" y="328647"/>
                  </a:lnTo>
                  <a:lnTo>
                    <a:pt x="433350" y="328647"/>
                  </a:lnTo>
                  <a:lnTo>
                    <a:pt x="424936" y="338667"/>
                  </a:lnTo>
                  <a:lnTo>
                    <a:pt x="422832" y="346683"/>
                  </a:lnTo>
                  <a:lnTo>
                    <a:pt x="420729" y="354699"/>
                  </a:lnTo>
                  <a:lnTo>
                    <a:pt x="420729" y="362715"/>
                  </a:lnTo>
                  <a:lnTo>
                    <a:pt x="422832" y="364719"/>
                  </a:lnTo>
                  <a:lnTo>
                    <a:pt x="433350" y="366723"/>
                  </a:lnTo>
                  <a:lnTo>
                    <a:pt x="445973" y="366723"/>
                  </a:lnTo>
                  <a:lnTo>
                    <a:pt x="456491" y="362715"/>
                  </a:lnTo>
                  <a:lnTo>
                    <a:pt x="464905" y="358707"/>
                  </a:lnTo>
                  <a:lnTo>
                    <a:pt x="467009" y="358707"/>
                  </a:lnTo>
                  <a:lnTo>
                    <a:pt x="469113" y="362715"/>
                  </a:lnTo>
                  <a:lnTo>
                    <a:pt x="477527" y="376743"/>
                  </a:lnTo>
                  <a:lnTo>
                    <a:pt x="479631" y="386763"/>
                  </a:lnTo>
                  <a:lnTo>
                    <a:pt x="479631" y="394779"/>
                  </a:lnTo>
                  <a:lnTo>
                    <a:pt x="483838" y="404798"/>
                  </a:lnTo>
                  <a:lnTo>
                    <a:pt x="485942" y="414818"/>
                  </a:lnTo>
                  <a:lnTo>
                    <a:pt x="496460" y="416822"/>
                  </a:lnTo>
                  <a:lnTo>
                    <a:pt x="506978" y="424838"/>
                  </a:lnTo>
                  <a:lnTo>
                    <a:pt x="506978" y="428846"/>
                  </a:lnTo>
                  <a:lnTo>
                    <a:pt x="506978" y="436862"/>
                  </a:lnTo>
                  <a:lnTo>
                    <a:pt x="511185" y="440870"/>
                  </a:lnTo>
                  <a:lnTo>
                    <a:pt x="517496" y="444878"/>
                  </a:lnTo>
                  <a:lnTo>
                    <a:pt x="532222" y="444878"/>
                  </a:lnTo>
                  <a:lnTo>
                    <a:pt x="538533" y="444878"/>
                  </a:lnTo>
                  <a:lnTo>
                    <a:pt x="542740" y="440870"/>
                  </a:lnTo>
                  <a:lnTo>
                    <a:pt x="551155" y="434858"/>
                  </a:lnTo>
                  <a:lnTo>
                    <a:pt x="559569" y="428846"/>
                  </a:lnTo>
                  <a:lnTo>
                    <a:pt x="563777" y="428846"/>
                  </a:lnTo>
                  <a:lnTo>
                    <a:pt x="567984" y="430850"/>
                  </a:lnTo>
                  <a:lnTo>
                    <a:pt x="574295" y="438866"/>
                  </a:lnTo>
                  <a:lnTo>
                    <a:pt x="574295" y="446882"/>
                  </a:lnTo>
                  <a:lnTo>
                    <a:pt x="572191" y="456902"/>
                  </a:lnTo>
                  <a:lnTo>
                    <a:pt x="570088" y="464917"/>
                  </a:lnTo>
                  <a:lnTo>
                    <a:pt x="659086" y="464917"/>
                  </a:lnTo>
                  <a:lnTo>
                    <a:pt x="647926" y="462992"/>
                  </a:lnTo>
                  <a:lnTo>
                    <a:pt x="647926" y="443035"/>
                  </a:lnTo>
                  <a:lnTo>
                    <a:pt x="654237" y="443035"/>
                  </a:lnTo>
                  <a:lnTo>
                    <a:pt x="656341" y="441040"/>
                  </a:lnTo>
                  <a:lnTo>
                    <a:pt x="660548" y="431061"/>
                  </a:lnTo>
                  <a:lnTo>
                    <a:pt x="664755" y="413100"/>
                  </a:lnTo>
                  <a:lnTo>
                    <a:pt x="666859" y="395140"/>
                  </a:lnTo>
                  <a:lnTo>
                    <a:pt x="664755" y="355226"/>
                  </a:lnTo>
                  <a:lnTo>
                    <a:pt x="664755" y="331279"/>
                  </a:lnTo>
                  <a:lnTo>
                    <a:pt x="664755" y="315313"/>
                  </a:lnTo>
                  <a:lnTo>
                    <a:pt x="666859" y="311322"/>
                  </a:lnTo>
                  <a:lnTo>
                    <a:pt x="668963" y="309326"/>
                  </a:lnTo>
                  <a:lnTo>
                    <a:pt x="679481" y="309326"/>
                  </a:lnTo>
                  <a:lnTo>
                    <a:pt x="696310" y="309326"/>
                  </a:lnTo>
                  <a:lnTo>
                    <a:pt x="698413" y="305335"/>
                  </a:lnTo>
                  <a:lnTo>
                    <a:pt x="700517" y="301344"/>
                  </a:lnTo>
                  <a:lnTo>
                    <a:pt x="700517" y="283383"/>
                  </a:lnTo>
                  <a:lnTo>
                    <a:pt x="700517" y="251452"/>
                  </a:lnTo>
                  <a:lnTo>
                    <a:pt x="711035" y="245465"/>
                  </a:lnTo>
                  <a:lnTo>
                    <a:pt x="721553" y="239478"/>
                  </a:lnTo>
                  <a:lnTo>
                    <a:pt x="748901" y="223513"/>
                  </a:lnTo>
                  <a:lnTo>
                    <a:pt x="759419" y="215531"/>
                  </a:lnTo>
                  <a:lnTo>
                    <a:pt x="769937" y="213535"/>
                  </a:lnTo>
                  <a:lnTo>
                    <a:pt x="782559" y="215531"/>
                  </a:lnTo>
                  <a:lnTo>
                    <a:pt x="784663" y="219522"/>
                  </a:lnTo>
                  <a:lnTo>
                    <a:pt x="790974" y="223513"/>
                  </a:lnTo>
                  <a:lnTo>
                    <a:pt x="816217" y="231496"/>
                  </a:lnTo>
                  <a:lnTo>
                    <a:pt x="839357" y="235487"/>
                  </a:lnTo>
                  <a:lnTo>
                    <a:pt x="849875" y="235487"/>
                  </a:lnTo>
                  <a:lnTo>
                    <a:pt x="860394" y="233491"/>
                  </a:lnTo>
                  <a:lnTo>
                    <a:pt x="875119" y="231496"/>
                  </a:lnTo>
                  <a:lnTo>
                    <a:pt x="887741" y="225509"/>
                  </a:lnTo>
                  <a:lnTo>
                    <a:pt x="891948" y="225509"/>
                  </a:lnTo>
                  <a:lnTo>
                    <a:pt x="902466" y="229500"/>
                  </a:lnTo>
                  <a:lnTo>
                    <a:pt x="931917" y="241474"/>
                  </a:lnTo>
                  <a:lnTo>
                    <a:pt x="944539" y="243470"/>
                  </a:lnTo>
                  <a:lnTo>
                    <a:pt x="957161" y="245465"/>
                  </a:lnTo>
                  <a:lnTo>
                    <a:pt x="963472" y="243470"/>
                  </a:lnTo>
                  <a:lnTo>
                    <a:pt x="967679" y="241474"/>
                  </a:lnTo>
                  <a:lnTo>
                    <a:pt x="967679" y="239478"/>
                  </a:lnTo>
                  <a:lnTo>
                    <a:pt x="971887" y="233491"/>
                  </a:lnTo>
                  <a:lnTo>
                    <a:pt x="971887" y="225509"/>
                  </a:lnTo>
                  <a:lnTo>
                    <a:pt x="973990" y="221518"/>
                  </a:lnTo>
                  <a:lnTo>
                    <a:pt x="982405" y="211539"/>
                  </a:lnTo>
                  <a:lnTo>
                    <a:pt x="992923" y="203557"/>
                  </a:lnTo>
                  <a:lnTo>
                    <a:pt x="999234" y="193578"/>
                  </a:lnTo>
                  <a:lnTo>
                    <a:pt x="999234" y="183600"/>
                  </a:lnTo>
                  <a:lnTo>
                    <a:pt x="1003441" y="175617"/>
                  </a:lnTo>
                  <a:lnTo>
                    <a:pt x="1009752" y="165639"/>
                  </a:lnTo>
                  <a:lnTo>
                    <a:pt x="1020270" y="151670"/>
                  </a:lnTo>
                  <a:lnTo>
                    <a:pt x="1034996" y="137700"/>
                  </a:lnTo>
                  <a:lnTo>
                    <a:pt x="1047618" y="123730"/>
                  </a:lnTo>
                  <a:lnTo>
                    <a:pt x="1062343" y="111756"/>
                  </a:lnTo>
                  <a:lnTo>
                    <a:pt x="1114934" y="79826"/>
                  </a:lnTo>
                  <a:lnTo>
                    <a:pt x="1142281" y="59870"/>
                  </a:lnTo>
                  <a:lnTo>
                    <a:pt x="1165421" y="39913"/>
                  </a:lnTo>
                  <a:lnTo>
                    <a:pt x="1182251" y="23948"/>
                  </a:lnTo>
                  <a:lnTo>
                    <a:pt x="1199080" y="13969"/>
                  </a:lnTo>
                  <a:lnTo>
                    <a:pt x="1215909" y="7982"/>
                  </a:lnTo>
                  <a:lnTo>
                    <a:pt x="1232738" y="1996"/>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cramento Metro</a:t>
              </a:r>
            </a:p>
          </p:txBody>
        </p:sp>
        <p:sp>
          <p:nvSpPr>
            <p:cNvPr id="8" name="North Coast and North State"/>
            <p:cNvSpPr>
              <a:spLocks/>
            </p:cNvSpPr>
            <p:nvPr/>
          </p:nvSpPr>
          <p:spPr bwMode="auto">
            <a:xfrm>
              <a:off x="1638602" y="891077"/>
              <a:ext cx="3096558" cy="2669288"/>
            </a:xfrm>
            <a:custGeom>
              <a:avLst/>
              <a:gdLst/>
              <a:ahLst/>
              <a:cxnLst/>
              <a:rect l="l" t="t" r="r" b="b"/>
              <a:pathLst>
                <a:path w="3096558" h="2669288">
                  <a:moveTo>
                    <a:pt x="271443" y="1603177"/>
                  </a:moveTo>
                  <a:lnTo>
                    <a:pt x="317619" y="1605366"/>
                  </a:lnTo>
                  <a:lnTo>
                    <a:pt x="317619" y="1604305"/>
                  </a:lnTo>
                  <a:close/>
                  <a:moveTo>
                    <a:pt x="881425" y="0"/>
                  </a:moveTo>
                  <a:lnTo>
                    <a:pt x="986607" y="0"/>
                  </a:lnTo>
                  <a:lnTo>
                    <a:pt x="1196971" y="0"/>
                  </a:lnTo>
                  <a:lnTo>
                    <a:pt x="1205385" y="0"/>
                  </a:lnTo>
                  <a:lnTo>
                    <a:pt x="1495687" y="2004"/>
                  </a:lnTo>
                  <a:lnTo>
                    <a:pt x="1642942" y="2004"/>
                  </a:lnTo>
                  <a:lnTo>
                    <a:pt x="1788093" y="2004"/>
                  </a:lnTo>
                  <a:lnTo>
                    <a:pt x="1790196" y="2004"/>
                  </a:lnTo>
                  <a:lnTo>
                    <a:pt x="1897482" y="2004"/>
                  </a:lnTo>
                  <a:lnTo>
                    <a:pt x="1899586" y="2004"/>
                  </a:lnTo>
                  <a:lnTo>
                    <a:pt x="1939555" y="6012"/>
                  </a:lnTo>
                  <a:lnTo>
                    <a:pt x="2068742" y="9799"/>
                  </a:lnTo>
                  <a:lnTo>
                    <a:pt x="2074203" y="8019"/>
                  </a:lnTo>
                  <a:lnTo>
                    <a:pt x="2465410" y="10026"/>
                  </a:lnTo>
                  <a:lnTo>
                    <a:pt x="2919880" y="10026"/>
                  </a:lnTo>
                  <a:lnTo>
                    <a:pt x="3092390" y="8019"/>
                  </a:lnTo>
                  <a:lnTo>
                    <a:pt x="3094447" y="8019"/>
                  </a:lnTo>
                  <a:lnTo>
                    <a:pt x="3094447" y="170357"/>
                  </a:lnTo>
                  <a:lnTo>
                    <a:pt x="3094447" y="206410"/>
                  </a:lnTo>
                  <a:cubicBezTo>
                    <a:pt x="3093727" y="244470"/>
                    <a:pt x="3093110" y="282595"/>
                    <a:pt x="3092390" y="320655"/>
                  </a:cubicBezTo>
                  <a:lnTo>
                    <a:pt x="3092390" y="394769"/>
                  </a:lnTo>
                  <a:lnTo>
                    <a:pt x="3092390" y="488948"/>
                  </a:lnTo>
                  <a:lnTo>
                    <a:pt x="3092390" y="655300"/>
                  </a:lnTo>
                  <a:lnTo>
                    <a:pt x="3087796" y="657226"/>
                  </a:lnTo>
                  <a:lnTo>
                    <a:pt x="3096558" y="657301"/>
                  </a:lnTo>
                  <a:lnTo>
                    <a:pt x="3096558" y="659305"/>
                  </a:lnTo>
                  <a:lnTo>
                    <a:pt x="3096558" y="733452"/>
                  </a:lnTo>
                  <a:lnTo>
                    <a:pt x="3094455" y="809602"/>
                  </a:lnTo>
                  <a:lnTo>
                    <a:pt x="3096558" y="971924"/>
                  </a:lnTo>
                  <a:lnTo>
                    <a:pt x="3096558" y="1016011"/>
                  </a:lnTo>
                  <a:lnTo>
                    <a:pt x="3094455" y="1082142"/>
                  </a:lnTo>
                  <a:lnTo>
                    <a:pt x="3096558" y="1112201"/>
                  </a:lnTo>
                  <a:lnTo>
                    <a:pt x="3094455" y="1136249"/>
                  </a:lnTo>
                  <a:lnTo>
                    <a:pt x="3096558" y="1246467"/>
                  </a:lnTo>
                  <a:lnTo>
                    <a:pt x="3096558" y="1304582"/>
                  </a:lnTo>
                  <a:lnTo>
                    <a:pt x="3096558" y="1358689"/>
                  </a:lnTo>
                  <a:lnTo>
                    <a:pt x="3096558" y="1567102"/>
                  </a:lnTo>
                  <a:lnTo>
                    <a:pt x="3096558" y="1769502"/>
                  </a:lnTo>
                  <a:lnTo>
                    <a:pt x="3096558" y="1795554"/>
                  </a:lnTo>
                  <a:lnTo>
                    <a:pt x="3096558" y="1829621"/>
                  </a:lnTo>
                  <a:lnTo>
                    <a:pt x="3092351" y="1825613"/>
                  </a:lnTo>
                  <a:lnTo>
                    <a:pt x="3086040" y="1829621"/>
                  </a:lnTo>
                  <a:lnTo>
                    <a:pt x="3083936" y="1831625"/>
                  </a:lnTo>
                  <a:lnTo>
                    <a:pt x="3083936" y="1835633"/>
                  </a:lnTo>
                  <a:lnTo>
                    <a:pt x="3039760" y="1835633"/>
                  </a:lnTo>
                  <a:lnTo>
                    <a:pt x="2993480" y="1835633"/>
                  </a:lnTo>
                  <a:lnTo>
                    <a:pt x="2997687" y="1823609"/>
                  </a:lnTo>
                  <a:lnTo>
                    <a:pt x="3001895" y="1811586"/>
                  </a:lnTo>
                  <a:lnTo>
                    <a:pt x="3010309" y="1799562"/>
                  </a:lnTo>
                  <a:lnTo>
                    <a:pt x="3012413" y="1795554"/>
                  </a:lnTo>
                  <a:lnTo>
                    <a:pt x="3014516" y="1793550"/>
                  </a:lnTo>
                  <a:lnTo>
                    <a:pt x="3018724" y="1791546"/>
                  </a:lnTo>
                  <a:lnTo>
                    <a:pt x="3020827" y="1781526"/>
                  </a:lnTo>
                  <a:lnTo>
                    <a:pt x="3020827" y="1753471"/>
                  </a:lnTo>
                  <a:lnTo>
                    <a:pt x="3018724" y="1705375"/>
                  </a:lnTo>
                  <a:lnTo>
                    <a:pt x="3020827" y="1679324"/>
                  </a:lnTo>
                  <a:lnTo>
                    <a:pt x="3020827" y="1661288"/>
                  </a:lnTo>
                  <a:lnTo>
                    <a:pt x="3014516" y="1657280"/>
                  </a:lnTo>
                  <a:lnTo>
                    <a:pt x="3012413" y="1653272"/>
                  </a:lnTo>
                  <a:lnTo>
                    <a:pt x="3003998" y="1651268"/>
                  </a:lnTo>
                  <a:lnTo>
                    <a:pt x="2999791" y="1643252"/>
                  </a:lnTo>
                  <a:lnTo>
                    <a:pt x="2991376" y="1639244"/>
                  </a:lnTo>
                  <a:lnTo>
                    <a:pt x="2982962" y="1633233"/>
                  </a:lnTo>
                  <a:lnTo>
                    <a:pt x="2982962" y="1627221"/>
                  </a:lnTo>
                  <a:lnTo>
                    <a:pt x="2978755" y="1629225"/>
                  </a:lnTo>
                  <a:lnTo>
                    <a:pt x="2978755" y="1617201"/>
                  </a:lnTo>
                  <a:lnTo>
                    <a:pt x="2972444" y="1617201"/>
                  </a:lnTo>
                  <a:lnTo>
                    <a:pt x="2972444" y="1603173"/>
                  </a:lnTo>
                  <a:lnTo>
                    <a:pt x="2961925" y="1603173"/>
                  </a:lnTo>
                  <a:lnTo>
                    <a:pt x="2961925" y="1593153"/>
                  </a:lnTo>
                  <a:lnTo>
                    <a:pt x="2955615" y="1597161"/>
                  </a:lnTo>
                  <a:lnTo>
                    <a:pt x="2955615" y="1587141"/>
                  </a:lnTo>
                  <a:lnTo>
                    <a:pt x="2953511" y="1577122"/>
                  </a:lnTo>
                  <a:lnTo>
                    <a:pt x="2949304" y="1567102"/>
                  </a:lnTo>
                  <a:lnTo>
                    <a:pt x="2945096" y="1557082"/>
                  </a:lnTo>
                  <a:lnTo>
                    <a:pt x="2934578" y="1557082"/>
                  </a:lnTo>
                  <a:lnTo>
                    <a:pt x="2934578" y="1541050"/>
                  </a:lnTo>
                  <a:lnTo>
                    <a:pt x="2928267" y="1539046"/>
                  </a:lnTo>
                  <a:lnTo>
                    <a:pt x="2926164" y="1541050"/>
                  </a:lnTo>
                  <a:lnTo>
                    <a:pt x="2924060" y="1541050"/>
                  </a:lnTo>
                  <a:lnTo>
                    <a:pt x="2921956" y="1537042"/>
                  </a:lnTo>
                  <a:lnTo>
                    <a:pt x="2917749" y="1527022"/>
                  </a:lnTo>
                  <a:lnTo>
                    <a:pt x="2913542" y="1521010"/>
                  </a:lnTo>
                  <a:lnTo>
                    <a:pt x="2903024" y="1517003"/>
                  </a:lnTo>
                  <a:lnTo>
                    <a:pt x="2890402" y="1517003"/>
                  </a:lnTo>
                  <a:lnTo>
                    <a:pt x="2863055" y="1512995"/>
                  </a:lnTo>
                  <a:lnTo>
                    <a:pt x="2842018" y="1510991"/>
                  </a:lnTo>
                  <a:lnTo>
                    <a:pt x="2842018" y="1508987"/>
                  </a:lnTo>
                  <a:lnTo>
                    <a:pt x="2833604" y="1502975"/>
                  </a:lnTo>
                  <a:lnTo>
                    <a:pt x="2827293" y="1498967"/>
                  </a:lnTo>
                  <a:lnTo>
                    <a:pt x="2820982" y="1488947"/>
                  </a:lnTo>
                  <a:lnTo>
                    <a:pt x="2810464" y="1480931"/>
                  </a:lnTo>
                  <a:lnTo>
                    <a:pt x="2799945" y="1472915"/>
                  </a:lnTo>
                  <a:lnTo>
                    <a:pt x="2789427" y="1466903"/>
                  </a:lnTo>
                  <a:lnTo>
                    <a:pt x="2781013" y="1466903"/>
                  </a:lnTo>
                  <a:lnTo>
                    <a:pt x="2778909" y="1454880"/>
                  </a:lnTo>
                  <a:lnTo>
                    <a:pt x="2768391" y="1444860"/>
                  </a:lnTo>
                  <a:lnTo>
                    <a:pt x="2757873" y="1434840"/>
                  </a:lnTo>
                  <a:lnTo>
                    <a:pt x="2747355" y="1428828"/>
                  </a:lnTo>
                  <a:lnTo>
                    <a:pt x="2745251" y="1420812"/>
                  </a:lnTo>
                  <a:lnTo>
                    <a:pt x="2738940" y="1414800"/>
                  </a:lnTo>
                  <a:lnTo>
                    <a:pt x="2734733" y="1408788"/>
                  </a:lnTo>
                  <a:lnTo>
                    <a:pt x="2726318" y="1404780"/>
                  </a:lnTo>
                  <a:lnTo>
                    <a:pt x="2705282" y="1398769"/>
                  </a:lnTo>
                  <a:lnTo>
                    <a:pt x="2690556" y="1396765"/>
                  </a:lnTo>
                  <a:lnTo>
                    <a:pt x="2690556" y="1386745"/>
                  </a:lnTo>
                  <a:lnTo>
                    <a:pt x="2686349" y="1384741"/>
                  </a:lnTo>
                  <a:lnTo>
                    <a:pt x="2682142" y="1380733"/>
                  </a:lnTo>
                  <a:lnTo>
                    <a:pt x="2675831" y="1380733"/>
                  </a:lnTo>
                  <a:lnTo>
                    <a:pt x="2665313" y="1378729"/>
                  </a:lnTo>
                  <a:lnTo>
                    <a:pt x="2661106" y="1376725"/>
                  </a:lnTo>
                  <a:lnTo>
                    <a:pt x="2659002" y="1370713"/>
                  </a:lnTo>
                  <a:lnTo>
                    <a:pt x="2650587" y="1370713"/>
                  </a:lnTo>
                  <a:lnTo>
                    <a:pt x="2642173" y="1368709"/>
                  </a:lnTo>
                  <a:lnTo>
                    <a:pt x="2633758" y="1366705"/>
                  </a:lnTo>
                  <a:lnTo>
                    <a:pt x="2631655" y="1360693"/>
                  </a:lnTo>
                  <a:lnTo>
                    <a:pt x="2629551" y="1358689"/>
                  </a:lnTo>
                  <a:lnTo>
                    <a:pt x="2625344" y="1358689"/>
                  </a:lnTo>
                  <a:lnTo>
                    <a:pt x="2608515" y="1356685"/>
                  </a:lnTo>
                  <a:lnTo>
                    <a:pt x="2579064" y="1358689"/>
                  </a:lnTo>
                  <a:lnTo>
                    <a:pt x="2583271" y="1350673"/>
                  </a:lnTo>
                  <a:lnTo>
                    <a:pt x="2555924" y="1350673"/>
                  </a:lnTo>
                  <a:lnTo>
                    <a:pt x="2553820" y="1358689"/>
                  </a:lnTo>
                  <a:lnTo>
                    <a:pt x="2551716" y="1364701"/>
                  </a:lnTo>
                  <a:lnTo>
                    <a:pt x="2545406" y="1364701"/>
                  </a:lnTo>
                  <a:lnTo>
                    <a:pt x="2541198" y="1364701"/>
                  </a:lnTo>
                  <a:lnTo>
                    <a:pt x="2532784" y="1370713"/>
                  </a:lnTo>
                  <a:lnTo>
                    <a:pt x="2524369" y="1380733"/>
                  </a:lnTo>
                  <a:lnTo>
                    <a:pt x="2515955" y="1384741"/>
                  </a:lnTo>
                  <a:lnTo>
                    <a:pt x="2509644" y="1384741"/>
                  </a:lnTo>
                  <a:lnTo>
                    <a:pt x="2509644" y="1398769"/>
                  </a:lnTo>
                  <a:lnTo>
                    <a:pt x="2494918" y="1396765"/>
                  </a:lnTo>
                  <a:lnTo>
                    <a:pt x="2494918" y="1410792"/>
                  </a:lnTo>
                  <a:lnTo>
                    <a:pt x="2482296" y="1410792"/>
                  </a:lnTo>
                  <a:lnTo>
                    <a:pt x="2484400" y="1440852"/>
                  </a:lnTo>
                  <a:lnTo>
                    <a:pt x="2461260" y="1448868"/>
                  </a:lnTo>
                  <a:lnTo>
                    <a:pt x="2448638" y="1448868"/>
                  </a:lnTo>
                  <a:lnTo>
                    <a:pt x="2446535" y="1446864"/>
                  </a:lnTo>
                  <a:lnTo>
                    <a:pt x="2442327" y="1440852"/>
                  </a:lnTo>
                  <a:lnTo>
                    <a:pt x="2440224" y="1436844"/>
                  </a:lnTo>
                  <a:lnTo>
                    <a:pt x="2438120" y="1434840"/>
                  </a:lnTo>
                  <a:lnTo>
                    <a:pt x="2425498" y="1428828"/>
                  </a:lnTo>
                  <a:lnTo>
                    <a:pt x="2408669" y="1426824"/>
                  </a:lnTo>
                  <a:lnTo>
                    <a:pt x="2393944" y="1426824"/>
                  </a:lnTo>
                  <a:lnTo>
                    <a:pt x="2393944" y="1414800"/>
                  </a:lnTo>
                  <a:lnTo>
                    <a:pt x="2379218" y="1414800"/>
                  </a:lnTo>
                  <a:lnTo>
                    <a:pt x="2368700" y="1414800"/>
                  </a:lnTo>
                  <a:lnTo>
                    <a:pt x="2364493" y="1410792"/>
                  </a:lnTo>
                  <a:lnTo>
                    <a:pt x="2362389" y="1408788"/>
                  </a:lnTo>
                  <a:lnTo>
                    <a:pt x="2362389" y="1400772"/>
                  </a:lnTo>
                  <a:lnTo>
                    <a:pt x="2362389" y="1394761"/>
                  </a:lnTo>
                  <a:lnTo>
                    <a:pt x="2353975" y="1394761"/>
                  </a:lnTo>
                  <a:lnTo>
                    <a:pt x="2351871" y="1310594"/>
                  </a:lnTo>
                  <a:lnTo>
                    <a:pt x="2351871" y="1264503"/>
                  </a:lnTo>
                  <a:lnTo>
                    <a:pt x="2347664" y="1244463"/>
                  </a:lnTo>
                  <a:lnTo>
                    <a:pt x="2162544" y="1244463"/>
                  </a:lnTo>
                  <a:lnTo>
                    <a:pt x="2162544" y="1212400"/>
                  </a:lnTo>
                  <a:lnTo>
                    <a:pt x="2166751" y="1212400"/>
                  </a:lnTo>
                  <a:lnTo>
                    <a:pt x="2170958" y="1068114"/>
                  </a:lnTo>
                  <a:lnTo>
                    <a:pt x="2166751" y="931844"/>
                  </a:lnTo>
                  <a:lnTo>
                    <a:pt x="2164647" y="793571"/>
                  </a:lnTo>
                  <a:lnTo>
                    <a:pt x="2160496" y="655141"/>
                  </a:lnTo>
                  <a:lnTo>
                    <a:pt x="2156189" y="651286"/>
                  </a:lnTo>
                  <a:lnTo>
                    <a:pt x="2074188" y="651286"/>
                  </a:lnTo>
                  <a:lnTo>
                    <a:pt x="2074188" y="653293"/>
                  </a:lnTo>
                  <a:lnTo>
                    <a:pt x="1706051" y="653293"/>
                  </a:lnTo>
                  <a:lnTo>
                    <a:pt x="1344652" y="653293"/>
                  </a:lnTo>
                  <a:lnTo>
                    <a:pt x="1358913" y="665305"/>
                  </a:lnTo>
                  <a:lnTo>
                    <a:pt x="1369496" y="677334"/>
                  </a:lnTo>
                  <a:lnTo>
                    <a:pt x="1373680" y="683405"/>
                  </a:lnTo>
                  <a:lnTo>
                    <a:pt x="1373680" y="693411"/>
                  </a:lnTo>
                  <a:lnTo>
                    <a:pt x="1373680" y="703416"/>
                  </a:lnTo>
                  <a:cubicBezTo>
                    <a:pt x="1372285" y="708138"/>
                    <a:pt x="1370891" y="712748"/>
                    <a:pt x="1369496" y="717469"/>
                  </a:cubicBezTo>
                  <a:cubicBezTo>
                    <a:pt x="1367363" y="719493"/>
                    <a:pt x="1365230" y="721404"/>
                    <a:pt x="1363097" y="723428"/>
                  </a:cubicBezTo>
                  <a:lnTo>
                    <a:pt x="1358913" y="725451"/>
                  </a:lnTo>
                  <a:lnTo>
                    <a:pt x="1346278" y="727475"/>
                  </a:lnTo>
                  <a:lnTo>
                    <a:pt x="1331511" y="729498"/>
                  </a:lnTo>
                  <a:lnTo>
                    <a:pt x="1320927" y="735457"/>
                  </a:lnTo>
                  <a:cubicBezTo>
                    <a:pt x="1320271" y="736131"/>
                    <a:pt x="1319533" y="736806"/>
                    <a:pt x="1318876" y="737480"/>
                  </a:cubicBezTo>
                  <a:cubicBezTo>
                    <a:pt x="1318138" y="740179"/>
                    <a:pt x="1317481" y="742764"/>
                    <a:pt x="1316743" y="745462"/>
                  </a:cubicBezTo>
                  <a:lnTo>
                    <a:pt x="1316743" y="759515"/>
                  </a:lnTo>
                  <a:lnTo>
                    <a:pt x="1316743" y="777503"/>
                  </a:lnTo>
                  <a:cubicBezTo>
                    <a:pt x="1316005" y="780201"/>
                    <a:pt x="1315348" y="782899"/>
                    <a:pt x="1314610" y="785597"/>
                  </a:cubicBezTo>
                  <a:cubicBezTo>
                    <a:pt x="1313215" y="786946"/>
                    <a:pt x="1311821" y="788183"/>
                    <a:pt x="1310426" y="789532"/>
                  </a:cubicBezTo>
                  <a:lnTo>
                    <a:pt x="1304109" y="799538"/>
                  </a:lnTo>
                  <a:lnTo>
                    <a:pt x="1293525" y="807632"/>
                  </a:lnTo>
                  <a:cubicBezTo>
                    <a:pt x="1289341" y="811005"/>
                    <a:pt x="1285075" y="814265"/>
                    <a:pt x="1280891" y="817638"/>
                  </a:cubicBezTo>
                  <a:lnTo>
                    <a:pt x="1270307" y="827643"/>
                  </a:lnTo>
                  <a:lnTo>
                    <a:pt x="1263990" y="837649"/>
                  </a:lnTo>
                  <a:cubicBezTo>
                    <a:pt x="1262596" y="841696"/>
                    <a:pt x="1261201" y="845631"/>
                    <a:pt x="1259806" y="849678"/>
                  </a:cubicBezTo>
                  <a:cubicBezTo>
                    <a:pt x="1258411" y="856986"/>
                    <a:pt x="1256935" y="864405"/>
                    <a:pt x="1255540" y="871713"/>
                  </a:cubicBezTo>
                  <a:cubicBezTo>
                    <a:pt x="1254884" y="876435"/>
                    <a:pt x="1254145" y="881044"/>
                    <a:pt x="1253489" y="885766"/>
                  </a:cubicBezTo>
                  <a:cubicBezTo>
                    <a:pt x="1252094" y="890487"/>
                    <a:pt x="1250617" y="895097"/>
                    <a:pt x="1249223" y="899819"/>
                  </a:cubicBezTo>
                  <a:cubicBezTo>
                    <a:pt x="1245695" y="909150"/>
                    <a:pt x="1242249" y="918481"/>
                    <a:pt x="1238721" y="927812"/>
                  </a:cubicBezTo>
                  <a:cubicBezTo>
                    <a:pt x="1235932" y="935794"/>
                    <a:pt x="1233060" y="943888"/>
                    <a:pt x="1230271" y="951870"/>
                  </a:cubicBezTo>
                  <a:cubicBezTo>
                    <a:pt x="1229533" y="957266"/>
                    <a:pt x="1228876" y="962550"/>
                    <a:pt x="1228138" y="967947"/>
                  </a:cubicBezTo>
                  <a:lnTo>
                    <a:pt x="1221821" y="977952"/>
                  </a:lnTo>
                  <a:lnTo>
                    <a:pt x="1211319" y="987958"/>
                  </a:lnTo>
                  <a:lnTo>
                    <a:pt x="1200736" y="992005"/>
                  </a:lnTo>
                  <a:lnTo>
                    <a:pt x="1190153" y="999987"/>
                  </a:lnTo>
                  <a:cubicBezTo>
                    <a:pt x="1189496" y="1002011"/>
                    <a:pt x="1188758" y="1003922"/>
                    <a:pt x="1188102" y="1005945"/>
                  </a:cubicBezTo>
                  <a:lnTo>
                    <a:pt x="1181784" y="1012016"/>
                  </a:lnTo>
                  <a:lnTo>
                    <a:pt x="1181784" y="1022022"/>
                  </a:lnTo>
                  <a:lnTo>
                    <a:pt x="1181784" y="1032027"/>
                  </a:lnTo>
                  <a:lnTo>
                    <a:pt x="1181784" y="1038098"/>
                  </a:lnTo>
                  <a:cubicBezTo>
                    <a:pt x="1181046" y="1038773"/>
                    <a:pt x="1180390" y="1039335"/>
                    <a:pt x="1179651" y="1040009"/>
                  </a:cubicBezTo>
                  <a:cubicBezTo>
                    <a:pt x="1178913" y="1040684"/>
                    <a:pt x="1178257" y="1041359"/>
                    <a:pt x="1177518" y="1042033"/>
                  </a:cubicBezTo>
                  <a:lnTo>
                    <a:pt x="1169068" y="1046080"/>
                  </a:lnTo>
                  <a:lnTo>
                    <a:pt x="1167017" y="1046080"/>
                  </a:lnTo>
                  <a:cubicBezTo>
                    <a:pt x="1166278" y="1046755"/>
                    <a:pt x="1165622" y="1047429"/>
                    <a:pt x="1164884" y="1048104"/>
                  </a:cubicBezTo>
                  <a:lnTo>
                    <a:pt x="1164884" y="1054062"/>
                  </a:lnTo>
                  <a:cubicBezTo>
                    <a:pt x="1165622" y="1057435"/>
                    <a:pt x="1166278" y="1060695"/>
                    <a:pt x="1167017" y="1064068"/>
                  </a:cubicBezTo>
                  <a:cubicBezTo>
                    <a:pt x="1168412" y="1068790"/>
                    <a:pt x="1169806" y="1073399"/>
                    <a:pt x="1171201" y="1078121"/>
                  </a:cubicBezTo>
                  <a:lnTo>
                    <a:pt x="1190153" y="1112185"/>
                  </a:lnTo>
                  <a:cubicBezTo>
                    <a:pt x="1192942" y="1118255"/>
                    <a:pt x="1195813" y="1124214"/>
                    <a:pt x="1198603" y="1130285"/>
                  </a:cubicBezTo>
                  <a:lnTo>
                    <a:pt x="1198603" y="1134219"/>
                  </a:lnTo>
                  <a:lnTo>
                    <a:pt x="1198603" y="1138267"/>
                  </a:lnTo>
                  <a:lnTo>
                    <a:pt x="1188102" y="1140290"/>
                  </a:lnTo>
                  <a:lnTo>
                    <a:pt x="1171201" y="1144225"/>
                  </a:lnTo>
                  <a:lnTo>
                    <a:pt x="1150116" y="1160302"/>
                  </a:lnTo>
                  <a:lnTo>
                    <a:pt x="1139615" y="1170307"/>
                  </a:lnTo>
                  <a:cubicBezTo>
                    <a:pt x="1138220" y="1171656"/>
                    <a:pt x="1136743" y="1173005"/>
                    <a:pt x="1135349" y="1174354"/>
                  </a:cubicBezTo>
                  <a:cubicBezTo>
                    <a:pt x="1134610" y="1177052"/>
                    <a:pt x="1133954" y="1179638"/>
                    <a:pt x="1133216" y="1182336"/>
                  </a:cubicBezTo>
                  <a:lnTo>
                    <a:pt x="1126898" y="1188407"/>
                  </a:lnTo>
                  <a:cubicBezTo>
                    <a:pt x="1125504" y="1189082"/>
                    <a:pt x="1124109" y="1189644"/>
                    <a:pt x="1122714" y="1190318"/>
                  </a:cubicBezTo>
                  <a:lnTo>
                    <a:pt x="1114264" y="1192342"/>
                  </a:lnTo>
                  <a:lnTo>
                    <a:pt x="1101629" y="1198413"/>
                  </a:lnTo>
                  <a:lnTo>
                    <a:pt x="1095312" y="1200436"/>
                  </a:lnTo>
                  <a:cubicBezTo>
                    <a:pt x="1093918" y="1203134"/>
                    <a:pt x="1092441" y="1205720"/>
                    <a:pt x="1091046" y="1208418"/>
                  </a:cubicBezTo>
                  <a:lnTo>
                    <a:pt x="1084729" y="1218424"/>
                  </a:lnTo>
                  <a:lnTo>
                    <a:pt x="1074228" y="1228430"/>
                  </a:lnTo>
                  <a:lnTo>
                    <a:pt x="1055194" y="1248441"/>
                  </a:lnTo>
                  <a:cubicBezTo>
                    <a:pt x="1053799" y="1247092"/>
                    <a:pt x="1052404" y="1245855"/>
                    <a:pt x="1051010" y="1244506"/>
                  </a:cubicBezTo>
                  <a:lnTo>
                    <a:pt x="1044692" y="1244506"/>
                  </a:lnTo>
                  <a:lnTo>
                    <a:pt x="1038375" y="1248441"/>
                  </a:lnTo>
                  <a:lnTo>
                    <a:pt x="1023608" y="1260470"/>
                  </a:lnTo>
                  <a:lnTo>
                    <a:pt x="1013024" y="1266541"/>
                  </a:lnTo>
                  <a:lnTo>
                    <a:pt x="1000390" y="1270476"/>
                  </a:lnTo>
                  <a:lnTo>
                    <a:pt x="989807" y="1272499"/>
                  </a:lnTo>
                  <a:lnTo>
                    <a:pt x="989807" y="1274523"/>
                  </a:lnTo>
                  <a:cubicBezTo>
                    <a:pt x="989150" y="1276546"/>
                    <a:pt x="988412" y="1278570"/>
                    <a:pt x="987755" y="1280594"/>
                  </a:cubicBezTo>
                  <a:lnTo>
                    <a:pt x="981438" y="1286552"/>
                  </a:lnTo>
                  <a:lnTo>
                    <a:pt x="964538" y="1306563"/>
                  </a:lnTo>
                  <a:lnTo>
                    <a:pt x="953954" y="1322640"/>
                  </a:lnTo>
                  <a:lnTo>
                    <a:pt x="945504" y="1340627"/>
                  </a:lnTo>
                  <a:cubicBezTo>
                    <a:pt x="944109" y="1345349"/>
                    <a:pt x="942715" y="1349958"/>
                    <a:pt x="941320" y="1354680"/>
                  </a:cubicBezTo>
                  <a:cubicBezTo>
                    <a:pt x="939925" y="1357378"/>
                    <a:pt x="938530" y="1359964"/>
                    <a:pt x="937136" y="1362662"/>
                  </a:cubicBezTo>
                  <a:lnTo>
                    <a:pt x="941320" y="1370756"/>
                  </a:lnTo>
                  <a:cubicBezTo>
                    <a:pt x="942058" y="1372780"/>
                    <a:pt x="942715" y="1374691"/>
                    <a:pt x="943453" y="1376715"/>
                  </a:cubicBezTo>
                  <a:lnTo>
                    <a:pt x="947637" y="1382786"/>
                  </a:lnTo>
                  <a:lnTo>
                    <a:pt x="953954" y="1386720"/>
                  </a:lnTo>
                  <a:lnTo>
                    <a:pt x="964538" y="1390768"/>
                  </a:lnTo>
                  <a:lnTo>
                    <a:pt x="966671" y="1390768"/>
                  </a:lnTo>
                  <a:lnTo>
                    <a:pt x="981438" y="1396726"/>
                  </a:lnTo>
                  <a:lnTo>
                    <a:pt x="991940" y="1406844"/>
                  </a:lnTo>
                  <a:lnTo>
                    <a:pt x="998257" y="1416850"/>
                  </a:lnTo>
                  <a:cubicBezTo>
                    <a:pt x="998995" y="1421459"/>
                    <a:pt x="999652" y="1426181"/>
                    <a:pt x="1000390" y="1430790"/>
                  </a:cubicBezTo>
                  <a:lnTo>
                    <a:pt x="1000390" y="1456872"/>
                  </a:lnTo>
                  <a:cubicBezTo>
                    <a:pt x="999652" y="1462268"/>
                    <a:pt x="998995" y="1467552"/>
                    <a:pt x="998257" y="1472948"/>
                  </a:cubicBezTo>
                  <a:lnTo>
                    <a:pt x="998257" y="1487001"/>
                  </a:lnTo>
                  <a:cubicBezTo>
                    <a:pt x="999652" y="1497681"/>
                    <a:pt x="1001128" y="1508362"/>
                    <a:pt x="1002523" y="1519042"/>
                  </a:cubicBezTo>
                  <a:cubicBezTo>
                    <a:pt x="1004656" y="1530396"/>
                    <a:pt x="1006707" y="1541751"/>
                    <a:pt x="1008840" y="1553106"/>
                  </a:cubicBezTo>
                  <a:lnTo>
                    <a:pt x="1027792" y="1615163"/>
                  </a:lnTo>
                  <a:lnTo>
                    <a:pt x="1021959" y="1615610"/>
                  </a:lnTo>
                  <a:cubicBezTo>
                    <a:pt x="1031259" y="1628969"/>
                    <a:pt x="1038150" y="1639106"/>
                    <a:pt x="1039176" y="1641296"/>
                  </a:cubicBezTo>
                  <a:lnTo>
                    <a:pt x="1039176" y="1649280"/>
                  </a:lnTo>
                  <a:lnTo>
                    <a:pt x="1039176" y="1657264"/>
                  </a:lnTo>
                  <a:lnTo>
                    <a:pt x="1032849" y="1671335"/>
                  </a:lnTo>
                  <a:cubicBezTo>
                    <a:pt x="1029390" y="1677323"/>
                    <a:pt x="1025847" y="1683311"/>
                    <a:pt x="1022389" y="1689299"/>
                  </a:cubicBezTo>
                  <a:cubicBezTo>
                    <a:pt x="1021714" y="1692692"/>
                    <a:pt x="1020955" y="1695985"/>
                    <a:pt x="1020280" y="1699378"/>
                  </a:cubicBezTo>
                  <a:cubicBezTo>
                    <a:pt x="1019605" y="1702672"/>
                    <a:pt x="1018846" y="1706065"/>
                    <a:pt x="1018171" y="1709358"/>
                  </a:cubicBezTo>
                  <a:cubicBezTo>
                    <a:pt x="1018846" y="1716045"/>
                    <a:pt x="1019605" y="1722731"/>
                    <a:pt x="1020280" y="1729417"/>
                  </a:cubicBezTo>
                  <a:lnTo>
                    <a:pt x="1032849" y="1765544"/>
                  </a:lnTo>
                  <a:lnTo>
                    <a:pt x="1032849" y="1791592"/>
                  </a:lnTo>
                  <a:lnTo>
                    <a:pt x="1032849" y="1801571"/>
                  </a:lnTo>
                  <a:cubicBezTo>
                    <a:pt x="1033524" y="1802869"/>
                    <a:pt x="1034283" y="1804266"/>
                    <a:pt x="1034958" y="1805563"/>
                  </a:cubicBezTo>
                  <a:lnTo>
                    <a:pt x="1039176" y="1805563"/>
                  </a:lnTo>
                  <a:cubicBezTo>
                    <a:pt x="1041284" y="1806861"/>
                    <a:pt x="1043393" y="1808258"/>
                    <a:pt x="1045502" y="1809555"/>
                  </a:cubicBezTo>
                  <a:cubicBezTo>
                    <a:pt x="1046936" y="1810254"/>
                    <a:pt x="1048286" y="1810852"/>
                    <a:pt x="1049720" y="1811551"/>
                  </a:cubicBezTo>
                  <a:cubicBezTo>
                    <a:pt x="1050395" y="1812948"/>
                    <a:pt x="1051154" y="1814246"/>
                    <a:pt x="1051829" y="1815643"/>
                  </a:cubicBezTo>
                  <a:lnTo>
                    <a:pt x="1051829" y="1821631"/>
                  </a:lnTo>
                  <a:lnTo>
                    <a:pt x="1051829" y="1831610"/>
                  </a:lnTo>
                  <a:lnTo>
                    <a:pt x="1051829" y="1833606"/>
                  </a:lnTo>
                  <a:cubicBezTo>
                    <a:pt x="1053263" y="1834305"/>
                    <a:pt x="1054613" y="1834904"/>
                    <a:pt x="1056047" y="1835602"/>
                  </a:cubicBezTo>
                  <a:lnTo>
                    <a:pt x="1060265" y="1835602"/>
                  </a:lnTo>
                  <a:cubicBezTo>
                    <a:pt x="1060939" y="1837598"/>
                    <a:pt x="1061699" y="1839694"/>
                    <a:pt x="1062373" y="1841690"/>
                  </a:cubicBezTo>
                  <a:cubicBezTo>
                    <a:pt x="1063048" y="1844983"/>
                    <a:pt x="1063723" y="1848376"/>
                    <a:pt x="1064398" y="1851670"/>
                  </a:cubicBezTo>
                  <a:cubicBezTo>
                    <a:pt x="1065073" y="1862348"/>
                    <a:pt x="1065832" y="1873026"/>
                    <a:pt x="1066507" y="1883705"/>
                  </a:cubicBezTo>
                  <a:lnTo>
                    <a:pt x="1066507" y="1939842"/>
                  </a:lnTo>
                  <a:lnTo>
                    <a:pt x="1155827" y="1939842"/>
                  </a:lnTo>
                  <a:lnTo>
                    <a:pt x="1164279" y="1939842"/>
                  </a:lnTo>
                  <a:lnTo>
                    <a:pt x="1168505" y="1941812"/>
                  </a:lnTo>
                  <a:cubicBezTo>
                    <a:pt x="1169235" y="1942468"/>
                    <a:pt x="1169913" y="1943198"/>
                    <a:pt x="1170644" y="1943854"/>
                  </a:cubicBezTo>
                  <a:lnTo>
                    <a:pt x="1170644" y="1945824"/>
                  </a:lnTo>
                  <a:lnTo>
                    <a:pt x="1170644" y="1955890"/>
                  </a:lnTo>
                  <a:lnTo>
                    <a:pt x="1170644" y="1971938"/>
                  </a:lnTo>
                  <a:cubicBezTo>
                    <a:pt x="1172052" y="1981931"/>
                    <a:pt x="1173461" y="1991998"/>
                    <a:pt x="1174869" y="2001991"/>
                  </a:cubicBezTo>
                  <a:lnTo>
                    <a:pt x="1174869" y="2034014"/>
                  </a:lnTo>
                  <a:lnTo>
                    <a:pt x="1170644" y="2096162"/>
                  </a:lnTo>
                  <a:lnTo>
                    <a:pt x="1155827" y="2094120"/>
                  </a:lnTo>
                  <a:lnTo>
                    <a:pt x="1149515" y="2094120"/>
                  </a:lnTo>
                  <a:cubicBezTo>
                    <a:pt x="1148784" y="2094776"/>
                    <a:pt x="1148106" y="2095506"/>
                    <a:pt x="1147376" y="2096162"/>
                  </a:cubicBezTo>
                  <a:cubicBezTo>
                    <a:pt x="1148106" y="2098132"/>
                    <a:pt x="1148784" y="2100174"/>
                    <a:pt x="1149515" y="2102144"/>
                  </a:cubicBezTo>
                  <a:lnTo>
                    <a:pt x="1157966" y="2116222"/>
                  </a:lnTo>
                  <a:lnTo>
                    <a:pt x="1157966" y="2124173"/>
                  </a:lnTo>
                  <a:cubicBezTo>
                    <a:pt x="1156558" y="2125486"/>
                    <a:pt x="1155149" y="2126872"/>
                    <a:pt x="1153740" y="2128185"/>
                  </a:cubicBezTo>
                  <a:lnTo>
                    <a:pt x="1145289" y="2138251"/>
                  </a:lnTo>
                  <a:cubicBezTo>
                    <a:pt x="1144558" y="2140950"/>
                    <a:pt x="1143880" y="2143576"/>
                    <a:pt x="1143150" y="2146275"/>
                  </a:cubicBezTo>
                  <a:cubicBezTo>
                    <a:pt x="1143880" y="2149631"/>
                    <a:pt x="1144558" y="2152913"/>
                    <a:pt x="1145289" y="2156269"/>
                  </a:cubicBezTo>
                  <a:cubicBezTo>
                    <a:pt x="1145967" y="2159624"/>
                    <a:pt x="1146697" y="2162907"/>
                    <a:pt x="1147376" y="2166262"/>
                  </a:cubicBezTo>
                  <a:lnTo>
                    <a:pt x="1155827" y="2174286"/>
                  </a:lnTo>
                  <a:lnTo>
                    <a:pt x="1164279" y="2184352"/>
                  </a:lnTo>
                  <a:lnTo>
                    <a:pt x="1181182" y="2196315"/>
                  </a:lnTo>
                  <a:lnTo>
                    <a:pt x="1198085" y="2212363"/>
                  </a:lnTo>
                  <a:lnTo>
                    <a:pt x="1212901" y="2222430"/>
                  </a:lnTo>
                  <a:lnTo>
                    <a:pt x="1231891" y="2228411"/>
                  </a:lnTo>
                  <a:lnTo>
                    <a:pt x="1253020" y="2232423"/>
                  </a:lnTo>
                  <a:lnTo>
                    <a:pt x="1291052" y="2236435"/>
                  </a:lnTo>
                  <a:lnTo>
                    <a:pt x="1310042" y="2238404"/>
                  </a:lnTo>
                  <a:lnTo>
                    <a:pt x="1326945" y="2244459"/>
                  </a:lnTo>
                  <a:lnTo>
                    <a:pt x="1341709" y="2256495"/>
                  </a:lnTo>
                  <a:lnTo>
                    <a:pt x="1352300" y="2264519"/>
                  </a:lnTo>
                  <a:cubicBezTo>
                    <a:pt x="1353708" y="2267145"/>
                    <a:pt x="1355117" y="2269844"/>
                    <a:pt x="1356526" y="2272470"/>
                  </a:cubicBezTo>
                  <a:lnTo>
                    <a:pt x="1356526" y="2282536"/>
                  </a:lnTo>
                  <a:cubicBezTo>
                    <a:pt x="1354387" y="2283849"/>
                    <a:pt x="1352300" y="2285235"/>
                    <a:pt x="1350161" y="2286548"/>
                  </a:cubicBezTo>
                  <a:lnTo>
                    <a:pt x="1345935" y="2288517"/>
                  </a:lnTo>
                  <a:cubicBezTo>
                    <a:pt x="1344527" y="2290560"/>
                    <a:pt x="1343118" y="2292529"/>
                    <a:pt x="1341709" y="2294572"/>
                  </a:cubicBezTo>
                  <a:cubicBezTo>
                    <a:pt x="1341031" y="2299240"/>
                    <a:pt x="1340301" y="2303909"/>
                    <a:pt x="1339623" y="2308577"/>
                  </a:cubicBezTo>
                  <a:lnTo>
                    <a:pt x="1339623" y="2328637"/>
                  </a:lnTo>
                  <a:cubicBezTo>
                    <a:pt x="1340301" y="2336004"/>
                    <a:pt x="1341031" y="2343299"/>
                    <a:pt x="1341709" y="2350666"/>
                  </a:cubicBezTo>
                  <a:cubicBezTo>
                    <a:pt x="1343848" y="2355991"/>
                    <a:pt x="1345935" y="2361389"/>
                    <a:pt x="1348074" y="2366714"/>
                  </a:cubicBezTo>
                  <a:cubicBezTo>
                    <a:pt x="1348752" y="2367371"/>
                    <a:pt x="1349483" y="2368027"/>
                    <a:pt x="1350161" y="2368684"/>
                  </a:cubicBezTo>
                  <a:lnTo>
                    <a:pt x="1358612" y="2374738"/>
                  </a:lnTo>
                  <a:lnTo>
                    <a:pt x="1373377" y="2380719"/>
                  </a:lnTo>
                  <a:lnTo>
                    <a:pt x="1390280" y="2386701"/>
                  </a:lnTo>
                  <a:lnTo>
                    <a:pt x="1398731" y="2388743"/>
                  </a:lnTo>
                  <a:cubicBezTo>
                    <a:pt x="1399462" y="2392099"/>
                    <a:pt x="1400140" y="2395381"/>
                    <a:pt x="1400870" y="2398737"/>
                  </a:cubicBezTo>
                  <a:cubicBezTo>
                    <a:pt x="1400140" y="2402092"/>
                    <a:pt x="1399462" y="2405448"/>
                    <a:pt x="1398731" y="2408803"/>
                  </a:cubicBezTo>
                  <a:lnTo>
                    <a:pt x="1398731" y="2420766"/>
                  </a:lnTo>
                  <a:lnTo>
                    <a:pt x="1398731" y="2426820"/>
                  </a:lnTo>
                  <a:cubicBezTo>
                    <a:pt x="1399462" y="2428133"/>
                    <a:pt x="1400140" y="2429519"/>
                    <a:pt x="1400870" y="2430832"/>
                  </a:cubicBezTo>
                  <a:lnTo>
                    <a:pt x="1411409" y="2438856"/>
                  </a:lnTo>
                  <a:lnTo>
                    <a:pt x="1421999" y="2448850"/>
                  </a:lnTo>
                  <a:lnTo>
                    <a:pt x="1432538" y="2456874"/>
                  </a:lnTo>
                  <a:lnTo>
                    <a:pt x="1440989" y="2466867"/>
                  </a:lnTo>
                  <a:lnTo>
                    <a:pt x="1436763" y="2466867"/>
                  </a:lnTo>
                  <a:lnTo>
                    <a:pt x="1419860" y="2466867"/>
                  </a:lnTo>
                  <a:lnTo>
                    <a:pt x="1405096" y="2468909"/>
                  </a:lnTo>
                  <a:cubicBezTo>
                    <a:pt x="1403687" y="2470879"/>
                    <a:pt x="1402279" y="2472921"/>
                    <a:pt x="1400870" y="2474891"/>
                  </a:cubicBezTo>
                  <a:lnTo>
                    <a:pt x="1400870" y="2480945"/>
                  </a:lnTo>
                  <a:lnTo>
                    <a:pt x="1409322" y="2498963"/>
                  </a:lnTo>
                  <a:cubicBezTo>
                    <a:pt x="1410000" y="2502318"/>
                    <a:pt x="1410730" y="2505601"/>
                    <a:pt x="1411409" y="2508956"/>
                  </a:cubicBezTo>
                  <a:lnTo>
                    <a:pt x="1411409" y="2525004"/>
                  </a:lnTo>
                  <a:cubicBezTo>
                    <a:pt x="1412139" y="2526973"/>
                    <a:pt x="1412817" y="2529016"/>
                    <a:pt x="1413548" y="2530985"/>
                  </a:cubicBezTo>
                  <a:cubicBezTo>
                    <a:pt x="1415634" y="2533684"/>
                    <a:pt x="1417773" y="2536310"/>
                    <a:pt x="1419860" y="2539009"/>
                  </a:cubicBezTo>
                  <a:cubicBezTo>
                    <a:pt x="1421269" y="2541708"/>
                    <a:pt x="1422677" y="2544334"/>
                    <a:pt x="1424086" y="2547033"/>
                  </a:cubicBezTo>
                  <a:lnTo>
                    <a:pt x="1424086" y="2553087"/>
                  </a:lnTo>
                  <a:cubicBezTo>
                    <a:pt x="1423408" y="2555714"/>
                    <a:pt x="1422677" y="2558412"/>
                    <a:pt x="1421999" y="2561038"/>
                  </a:cubicBezTo>
                  <a:lnTo>
                    <a:pt x="1415634" y="2563081"/>
                  </a:lnTo>
                  <a:lnTo>
                    <a:pt x="1411409" y="2563081"/>
                  </a:lnTo>
                  <a:lnTo>
                    <a:pt x="1409322" y="2567093"/>
                  </a:lnTo>
                  <a:cubicBezTo>
                    <a:pt x="1407183" y="2571761"/>
                    <a:pt x="1405096" y="2576430"/>
                    <a:pt x="1402957" y="2581098"/>
                  </a:cubicBezTo>
                  <a:cubicBezTo>
                    <a:pt x="1402279" y="2583797"/>
                    <a:pt x="1401548" y="2586423"/>
                    <a:pt x="1400870" y="2589122"/>
                  </a:cubicBezTo>
                  <a:cubicBezTo>
                    <a:pt x="1400140" y="2591821"/>
                    <a:pt x="1399462" y="2594447"/>
                    <a:pt x="1398731" y="2597146"/>
                  </a:cubicBezTo>
                  <a:lnTo>
                    <a:pt x="1373377" y="2621218"/>
                  </a:lnTo>
                  <a:lnTo>
                    <a:pt x="1362838" y="2633181"/>
                  </a:lnTo>
                  <a:lnTo>
                    <a:pt x="1348074" y="2643247"/>
                  </a:lnTo>
                  <a:lnTo>
                    <a:pt x="1326945" y="2653240"/>
                  </a:lnTo>
                  <a:lnTo>
                    <a:pt x="1301591" y="2659295"/>
                  </a:lnTo>
                  <a:lnTo>
                    <a:pt x="1248794" y="2669288"/>
                  </a:lnTo>
                  <a:lnTo>
                    <a:pt x="1240343" y="2657252"/>
                  </a:lnTo>
                  <a:lnTo>
                    <a:pt x="1229752" y="2649228"/>
                  </a:lnTo>
                  <a:lnTo>
                    <a:pt x="1219214" y="2647259"/>
                  </a:lnTo>
                  <a:lnTo>
                    <a:pt x="1206537" y="2639235"/>
                  </a:lnTo>
                  <a:lnTo>
                    <a:pt x="1198085" y="2631211"/>
                  </a:lnTo>
                  <a:cubicBezTo>
                    <a:pt x="1195998" y="2627856"/>
                    <a:pt x="1193859" y="2624573"/>
                    <a:pt x="1191772" y="2621218"/>
                  </a:cubicBezTo>
                  <a:lnTo>
                    <a:pt x="1181182" y="2603127"/>
                  </a:lnTo>
                  <a:lnTo>
                    <a:pt x="1157966" y="2561038"/>
                  </a:lnTo>
                  <a:lnTo>
                    <a:pt x="1153740" y="2557099"/>
                  </a:lnTo>
                  <a:lnTo>
                    <a:pt x="1147376" y="2551045"/>
                  </a:lnTo>
                  <a:lnTo>
                    <a:pt x="1134750" y="2547033"/>
                  </a:lnTo>
                  <a:lnTo>
                    <a:pt x="1122073" y="2539009"/>
                  </a:lnTo>
                  <a:lnTo>
                    <a:pt x="1063269" y="2530162"/>
                  </a:lnTo>
                  <a:lnTo>
                    <a:pt x="990840" y="2528997"/>
                  </a:lnTo>
                  <a:lnTo>
                    <a:pt x="936093" y="2527001"/>
                  </a:lnTo>
                  <a:cubicBezTo>
                    <a:pt x="933309" y="2527700"/>
                    <a:pt x="930525" y="2528299"/>
                    <a:pt x="927741" y="2528997"/>
                  </a:cubicBezTo>
                  <a:lnTo>
                    <a:pt x="927741" y="2530993"/>
                  </a:lnTo>
                  <a:lnTo>
                    <a:pt x="927741" y="2534985"/>
                  </a:lnTo>
                  <a:lnTo>
                    <a:pt x="925632" y="2534985"/>
                  </a:lnTo>
                  <a:lnTo>
                    <a:pt x="910870" y="2539077"/>
                  </a:lnTo>
                  <a:lnTo>
                    <a:pt x="894083" y="2539077"/>
                  </a:lnTo>
                  <a:lnTo>
                    <a:pt x="891974" y="2539077"/>
                  </a:lnTo>
                  <a:lnTo>
                    <a:pt x="891974" y="2541073"/>
                  </a:lnTo>
                  <a:lnTo>
                    <a:pt x="891974" y="2549057"/>
                  </a:lnTo>
                  <a:lnTo>
                    <a:pt x="891974" y="2555045"/>
                  </a:lnTo>
                  <a:cubicBezTo>
                    <a:pt x="891300" y="2556342"/>
                    <a:pt x="890540" y="2557739"/>
                    <a:pt x="889866" y="2559037"/>
                  </a:cubicBezTo>
                  <a:lnTo>
                    <a:pt x="889866" y="2561032"/>
                  </a:lnTo>
                  <a:lnTo>
                    <a:pt x="820441" y="2561032"/>
                  </a:lnTo>
                  <a:lnTo>
                    <a:pt x="791000" y="2559037"/>
                  </a:lnTo>
                  <a:lnTo>
                    <a:pt x="757342" y="2555045"/>
                  </a:lnTo>
                  <a:lnTo>
                    <a:pt x="742580" y="2559037"/>
                  </a:lnTo>
                  <a:cubicBezTo>
                    <a:pt x="739037" y="2560334"/>
                    <a:pt x="735579" y="2561731"/>
                    <a:pt x="732036" y="2563028"/>
                  </a:cubicBezTo>
                  <a:cubicBezTo>
                    <a:pt x="729927" y="2565024"/>
                    <a:pt x="727902" y="2567120"/>
                    <a:pt x="725793" y="2569116"/>
                  </a:cubicBezTo>
                  <a:lnTo>
                    <a:pt x="725793" y="2573108"/>
                  </a:lnTo>
                  <a:cubicBezTo>
                    <a:pt x="725118" y="2575104"/>
                    <a:pt x="724359" y="2577100"/>
                    <a:pt x="723684" y="2579096"/>
                  </a:cubicBezTo>
                  <a:cubicBezTo>
                    <a:pt x="724359" y="2581092"/>
                    <a:pt x="725118" y="2583088"/>
                    <a:pt x="725793" y="2585084"/>
                  </a:cubicBezTo>
                  <a:lnTo>
                    <a:pt x="723684" y="2585084"/>
                  </a:lnTo>
                  <a:lnTo>
                    <a:pt x="694160" y="2585084"/>
                  </a:lnTo>
                  <a:lnTo>
                    <a:pt x="664720" y="2585084"/>
                  </a:lnTo>
                  <a:lnTo>
                    <a:pt x="639497" y="2591171"/>
                  </a:lnTo>
                  <a:lnTo>
                    <a:pt x="626844" y="2595163"/>
                  </a:lnTo>
                  <a:lnTo>
                    <a:pt x="614275" y="2601151"/>
                  </a:lnTo>
                  <a:lnTo>
                    <a:pt x="582726" y="2573108"/>
                  </a:lnTo>
                  <a:lnTo>
                    <a:pt x="565855" y="2559037"/>
                  </a:lnTo>
                  <a:lnTo>
                    <a:pt x="546959" y="2549057"/>
                  </a:lnTo>
                  <a:lnTo>
                    <a:pt x="530088" y="2530993"/>
                  </a:lnTo>
                  <a:lnTo>
                    <a:pt x="504865" y="2508938"/>
                  </a:lnTo>
                  <a:lnTo>
                    <a:pt x="483861" y="2480895"/>
                  </a:lnTo>
                  <a:lnTo>
                    <a:pt x="477534" y="2468919"/>
                  </a:lnTo>
                  <a:cubicBezTo>
                    <a:pt x="476100" y="2466225"/>
                    <a:pt x="474750" y="2463530"/>
                    <a:pt x="473316" y="2460836"/>
                  </a:cubicBezTo>
                  <a:cubicBezTo>
                    <a:pt x="472641" y="2457542"/>
                    <a:pt x="471882" y="2454149"/>
                    <a:pt x="471207" y="2450856"/>
                  </a:cubicBezTo>
                  <a:lnTo>
                    <a:pt x="471207" y="2446864"/>
                  </a:lnTo>
                  <a:cubicBezTo>
                    <a:pt x="471882" y="2445566"/>
                    <a:pt x="472641" y="2444169"/>
                    <a:pt x="473316" y="2442872"/>
                  </a:cubicBezTo>
                  <a:cubicBezTo>
                    <a:pt x="474750" y="2442173"/>
                    <a:pt x="476100" y="2441575"/>
                    <a:pt x="477534" y="2440876"/>
                  </a:cubicBezTo>
                  <a:cubicBezTo>
                    <a:pt x="479643" y="2439479"/>
                    <a:pt x="481752" y="2438181"/>
                    <a:pt x="483861" y="2436784"/>
                  </a:cubicBezTo>
                  <a:cubicBezTo>
                    <a:pt x="485295" y="2434788"/>
                    <a:pt x="486644" y="2432792"/>
                    <a:pt x="488078" y="2430796"/>
                  </a:cubicBezTo>
                  <a:cubicBezTo>
                    <a:pt x="488753" y="2428102"/>
                    <a:pt x="489512" y="2425507"/>
                    <a:pt x="490187" y="2422813"/>
                  </a:cubicBezTo>
                  <a:lnTo>
                    <a:pt x="498538" y="2390777"/>
                  </a:lnTo>
                  <a:lnTo>
                    <a:pt x="498538" y="2372714"/>
                  </a:lnTo>
                  <a:lnTo>
                    <a:pt x="498538" y="2356647"/>
                  </a:lnTo>
                  <a:cubicBezTo>
                    <a:pt x="495755" y="2347266"/>
                    <a:pt x="492971" y="2337984"/>
                    <a:pt x="490187" y="2328603"/>
                  </a:cubicBezTo>
                  <a:lnTo>
                    <a:pt x="479643" y="2300560"/>
                  </a:lnTo>
                  <a:lnTo>
                    <a:pt x="452311" y="2250462"/>
                  </a:lnTo>
                  <a:cubicBezTo>
                    <a:pt x="446660" y="2235791"/>
                    <a:pt x="441092" y="2221021"/>
                    <a:pt x="435440" y="2206351"/>
                  </a:cubicBezTo>
                  <a:cubicBezTo>
                    <a:pt x="429873" y="2190982"/>
                    <a:pt x="424221" y="2175613"/>
                    <a:pt x="418653" y="2160245"/>
                  </a:cubicBezTo>
                  <a:cubicBezTo>
                    <a:pt x="417219" y="2148868"/>
                    <a:pt x="415870" y="2137590"/>
                    <a:pt x="414436" y="2126213"/>
                  </a:cubicBezTo>
                  <a:lnTo>
                    <a:pt x="414436" y="2088091"/>
                  </a:lnTo>
                  <a:cubicBezTo>
                    <a:pt x="415110" y="2080805"/>
                    <a:pt x="415870" y="2073420"/>
                    <a:pt x="416545" y="2066135"/>
                  </a:cubicBezTo>
                  <a:cubicBezTo>
                    <a:pt x="417219" y="2059449"/>
                    <a:pt x="417979" y="2052762"/>
                    <a:pt x="418653" y="2046076"/>
                  </a:cubicBezTo>
                  <a:cubicBezTo>
                    <a:pt x="424221" y="2032004"/>
                    <a:pt x="429873" y="2018033"/>
                    <a:pt x="435440" y="2003961"/>
                  </a:cubicBezTo>
                  <a:cubicBezTo>
                    <a:pt x="438983" y="1993981"/>
                    <a:pt x="442442" y="1983902"/>
                    <a:pt x="445985" y="1973922"/>
                  </a:cubicBezTo>
                  <a:cubicBezTo>
                    <a:pt x="446660" y="1968533"/>
                    <a:pt x="447419" y="1963244"/>
                    <a:pt x="448094" y="1957855"/>
                  </a:cubicBezTo>
                  <a:cubicBezTo>
                    <a:pt x="447419" y="1955859"/>
                    <a:pt x="446660" y="1953863"/>
                    <a:pt x="445985" y="1951867"/>
                  </a:cubicBezTo>
                  <a:cubicBezTo>
                    <a:pt x="444551" y="1949172"/>
                    <a:pt x="443201" y="1946577"/>
                    <a:pt x="441767" y="1943883"/>
                  </a:cubicBezTo>
                  <a:cubicBezTo>
                    <a:pt x="440333" y="1938494"/>
                    <a:pt x="438983" y="1933205"/>
                    <a:pt x="437549" y="1927815"/>
                  </a:cubicBezTo>
                  <a:cubicBezTo>
                    <a:pt x="436874" y="1922426"/>
                    <a:pt x="436115" y="1917137"/>
                    <a:pt x="435440" y="1911748"/>
                  </a:cubicBezTo>
                  <a:lnTo>
                    <a:pt x="435440" y="1893784"/>
                  </a:lnTo>
                  <a:lnTo>
                    <a:pt x="435440" y="1875721"/>
                  </a:lnTo>
                  <a:cubicBezTo>
                    <a:pt x="434006" y="1872428"/>
                    <a:pt x="432657" y="1869035"/>
                    <a:pt x="431222" y="1865741"/>
                  </a:cubicBezTo>
                  <a:cubicBezTo>
                    <a:pt x="429788" y="1862348"/>
                    <a:pt x="428439" y="1859055"/>
                    <a:pt x="427005" y="1855662"/>
                  </a:cubicBezTo>
                  <a:cubicBezTo>
                    <a:pt x="424221" y="1850971"/>
                    <a:pt x="421437" y="1846380"/>
                    <a:pt x="418653" y="1841690"/>
                  </a:cubicBezTo>
                  <a:lnTo>
                    <a:pt x="408109" y="1825623"/>
                  </a:lnTo>
                  <a:cubicBezTo>
                    <a:pt x="407434" y="1823627"/>
                    <a:pt x="406675" y="1821631"/>
                    <a:pt x="406000" y="1819635"/>
                  </a:cubicBezTo>
                  <a:cubicBezTo>
                    <a:pt x="405325" y="1816242"/>
                    <a:pt x="404566" y="1812948"/>
                    <a:pt x="403891" y="1809555"/>
                  </a:cubicBezTo>
                  <a:cubicBezTo>
                    <a:pt x="402457" y="1800873"/>
                    <a:pt x="401107" y="1792190"/>
                    <a:pt x="399673" y="1783508"/>
                  </a:cubicBezTo>
                  <a:lnTo>
                    <a:pt x="399673" y="1769536"/>
                  </a:lnTo>
                  <a:cubicBezTo>
                    <a:pt x="398999" y="1764846"/>
                    <a:pt x="398239" y="1760155"/>
                    <a:pt x="397564" y="1755465"/>
                  </a:cubicBezTo>
                  <a:cubicBezTo>
                    <a:pt x="396130" y="1752171"/>
                    <a:pt x="394781" y="1748778"/>
                    <a:pt x="393347" y="1745485"/>
                  </a:cubicBezTo>
                  <a:cubicBezTo>
                    <a:pt x="390563" y="1744188"/>
                    <a:pt x="387779" y="1742790"/>
                    <a:pt x="384995" y="1741493"/>
                  </a:cubicBezTo>
                  <a:cubicBezTo>
                    <a:pt x="382887" y="1739497"/>
                    <a:pt x="380778" y="1737401"/>
                    <a:pt x="378669" y="1735405"/>
                  </a:cubicBezTo>
                  <a:lnTo>
                    <a:pt x="372342" y="1729417"/>
                  </a:lnTo>
                  <a:lnTo>
                    <a:pt x="323922" y="1667343"/>
                  </a:lnTo>
                  <a:lnTo>
                    <a:pt x="271368" y="1603173"/>
                  </a:lnTo>
                  <a:lnTo>
                    <a:pt x="271368" y="1603173"/>
                  </a:lnTo>
                  <a:lnTo>
                    <a:pt x="265059" y="1595159"/>
                  </a:lnTo>
                  <a:lnTo>
                    <a:pt x="262955" y="1589147"/>
                  </a:lnTo>
                  <a:lnTo>
                    <a:pt x="256644" y="1589147"/>
                  </a:lnTo>
                  <a:lnTo>
                    <a:pt x="252437" y="1589147"/>
                  </a:lnTo>
                  <a:lnTo>
                    <a:pt x="241919" y="1589147"/>
                  </a:lnTo>
                  <a:lnTo>
                    <a:pt x="239815" y="1587144"/>
                  </a:lnTo>
                  <a:lnTo>
                    <a:pt x="233504" y="1585140"/>
                  </a:lnTo>
                  <a:lnTo>
                    <a:pt x="231400" y="1579128"/>
                  </a:lnTo>
                  <a:lnTo>
                    <a:pt x="229297" y="1575120"/>
                  </a:lnTo>
                  <a:lnTo>
                    <a:pt x="229297" y="1563096"/>
                  </a:lnTo>
                  <a:lnTo>
                    <a:pt x="229297" y="1549068"/>
                  </a:lnTo>
                  <a:lnTo>
                    <a:pt x="225089" y="1537044"/>
                  </a:lnTo>
                  <a:lnTo>
                    <a:pt x="220882" y="1529028"/>
                  </a:lnTo>
                  <a:lnTo>
                    <a:pt x="212468" y="1523017"/>
                  </a:lnTo>
                  <a:lnTo>
                    <a:pt x="193535" y="1512997"/>
                  </a:lnTo>
                  <a:lnTo>
                    <a:pt x="176706" y="1502977"/>
                  </a:lnTo>
                  <a:lnTo>
                    <a:pt x="157773" y="1494961"/>
                  </a:lnTo>
                  <a:lnTo>
                    <a:pt x="140944" y="1478929"/>
                  </a:lnTo>
                  <a:lnTo>
                    <a:pt x="124115" y="1462898"/>
                  </a:lnTo>
                  <a:lnTo>
                    <a:pt x="105182" y="1446866"/>
                  </a:lnTo>
                  <a:lnTo>
                    <a:pt x="94664" y="1442858"/>
                  </a:lnTo>
                  <a:lnTo>
                    <a:pt x="86249" y="1436846"/>
                  </a:lnTo>
                  <a:lnTo>
                    <a:pt x="71524" y="1430834"/>
                  </a:lnTo>
                  <a:lnTo>
                    <a:pt x="52591" y="1414802"/>
                  </a:lnTo>
                  <a:lnTo>
                    <a:pt x="39969" y="1400775"/>
                  </a:lnTo>
                  <a:lnTo>
                    <a:pt x="33658" y="1392759"/>
                  </a:lnTo>
                  <a:lnTo>
                    <a:pt x="31555" y="1386747"/>
                  </a:lnTo>
                  <a:lnTo>
                    <a:pt x="31555" y="1376727"/>
                  </a:lnTo>
                  <a:lnTo>
                    <a:pt x="33658" y="1366707"/>
                  </a:lnTo>
                  <a:lnTo>
                    <a:pt x="39969" y="1360695"/>
                  </a:lnTo>
                  <a:lnTo>
                    <a:pt x="42073" y="1350675"/>
                  </a:lnTo>
                  <a:lnTo>
                    <a:pt x="39969" y="1340656"/>
                  </a:lnTo>
                  <a:lnTo>
                    <a:pt x="35762" y="1330636"/>
                  </a:lnTo>
                  <a:lnTo>
                    <a:pt x="25244" y="1310596"/>
                  </a:lnTo>
                  <a:lnTo>
                    <a:pt x="25244" y="1304584"/>
                  </a:lnTo>
                  <a:lnTo>
                    <a:pt x="25244" y="1296568"/>
                  </a:lnTo>
                  <a:lnTo>
                    <a:pt x="23140" y="1290556"/>
                  </a:lnTo>
                  <a:lnTo>
                    <a:pt x="21036" y="1282541"/>
                  </a:lnTo>
                  <a:lnTo>
                    <a:pt x="10518" y="1270517"/>
                  </a:lnTo>
                  <a:lnTo>
                    <a:pt x="4207" y="1264505"/>
                  </a:lnTo>
                  <a:lnTo>
                    <a:pt x="2104" y="1258493"/>
                  </a:lnTo>
                  <a:lnTo>
                    <a:pt x="0" y="1252481"/>
                  </a:lnTo>
                  <a:lnTo>
                    <a:pt x="0" y="1244465"/>
                  </a:lnTo>
                  <a:lnTo>
                    <a:pt x="2104" y="1234445"/>
                  </a:lnTo>
                  <a:lnTo>
                    <a:pt x="10518" y="1224426"/>
                  </a:lnTo>
                  <a:lnTo>
                    <a:pt x="12622" y="1214406"/>
                  </a:lnTo>
                  <a:lnTo>
                    <a:pt x="14725" y="1198374"/>
                  </a:lnTo>
                  <a:lnTo>
                    <a:pt x="21036" y="1180338"/>
                  </a:lnTo>
                  <a:lnTo>
                    <a:pt x="31555" y="1150279"/>
                  </a:lnTo>
                  <a:lnTo>
                    <a:pt x="46280" y="1122223"/>
                  </a:lnTo>
                  <a:lnTo>
                    <a:pt x="52591" y="1108196"/>
                  </a:lnTo>
                  <a:lnTo>
                    <a:pt x="61006" y="1100180"/>
                  </a:lnTo>
                  <a:lnTo>
                    <a:pt x="65213" y="1094168"/>
                  </a:lnTo>
                  <a:lnTo>
                    <a:pt x="82042" y="1092164"/>
                  </a:lnTo>
                  <a:lnTo>
                    <a:pt x="73627" y="1090160"/>
                  </a:lnTo>
                  <a:lnTo>
                    <a:pt x="63109" y="1088156"/>
                  </a:lnTo>
                  <a:lnTo>
                    <a:pt x="73627" y="1064108"/>
                  </a:lnTo>
                  <a:lnTo>
                    <a:pt x="86249" y="1038057"/>
                  </a:lnTo>
                  <a:lnTo>
                    <a:pt x="103078" y="1016013"/>
                  </a:lnTo>
                  <a:lnTo>
                    <a:pt x="119907" y="995973"/>
                  </a:lnTo>
                  <a:lnTo>
                    <a:pt x="119907" y="1001985"/>
                  </a:lnTo>
                  <a:lnTo>
                    <a:pt x="117804" y="1007997"/>
                  </a:lnTo>
                  <a:lnTo>
                    <a:pt x="109389" y="1018017"/>
                  </a:lnTo>
                  <a:lnTo>
                    <a:pt x="103078" y="1028037"/>
                  </a:lnTo>
                  <a:lnTo>
                    <a:pt x="98871" y="1032045"/>
                  </a:lnTo>
                  <a:lnTo>
                    <a:pt x="103078" y="1040061"/>
                  </a:lnTo>
                  <a:lnTo>
                    <a:pt x="105182" y="1042065"/>
                  </a:lnTo>
                  <a:lnTo>
                    <a:pt x="107286" y="1046073"/>
                  </a:lnTo>
                  <a:lnTo>
                    <a:pt x="115700" y="1048077"/>
                  </a:lnTo>
                  <a:lnTo>
                    <a:pt x="124115" y="1046073"/>
                  </a:lnTo>
                  <a:lnTo>
                    <a:pt x="128322" y="1042065"/>
                  </a:lnTo>
                  <a:lnTo>
                    <a:pt x="134633" y="1032045"/>
                  </a:lnTo>
                  <a:lnTo>
                    <a:pt x="130426" y="1026033"/>
                  </a:lnTo>
                  <a:lnTo>
                    <a:pt x="130426" y="1016013"/>
                  </a:lnTo>
                  <a:lnTo>
                    <a:pt x="130426" y="1005993"/>
                  </a:lnTo>
                  <a:lnTo>
                    <a:pt x="140944" y="985954"/>
                  </a:lnTo>
                  <a:lnTo>
                    <a:pt x="155669" y="961906"/>
                  </a:lnTo>
                  <a:lnTo>
                    <a:pt x="159877" y="957898"/>
                  </a:lnTo>
                  <a:lnTo>
                    <a:pt x="166188" y="951886"/>
                  </a:lnTo>
                  <a:lnTo>
                    <a:pt x="176706" y="949882"/>
                  </a:lnTo>
                  <a:lnTo>
                    <a:pt x="187224" y="951886"/>
                  </a:lnTo>
                  <a:lnTo>
                    <a:pt x="191431" y="949882"/>
                  </a:lnTo>
                  <a:lnTo>
                    <a:pt x="199846" y="947878"/>
                  </a:lnTo>
                  <a:lnTo>
                    <a:pt x="210364" y="941866"/>
                  </a:lnTo>
                  <a:lnTo>
                    <a:pt x="218779" y="937858"/>
                  </a:lnTo>
                  <a:lnTo>
                    <a:pt x="220882" y="931847"/>
                  </a:lnTo>
                  <a:lnTo>
                    <a:pt x="220882" y="927839"/>
                  </a:lnTo>
                  <a:lnTo>
                    <a:pt x="220882" y="925835"/>
                  </a:lnTo>
                  <a:lnTo>
                    <a:pt x="214571" y="919823"/>
                  </a:lnTo>
                  <a:lnTo>
                    <a:pt x="210364" y="917819"/>
                  </a:lnTo>
                  <a:lnTo>
                    <a:pt x="199846" y="915815"/>
                  </a:lnTo>
                  <a:lnTo>
                    <a:pt x="191431" y="915815"/>
                  </a:lnTo>
                  <a:lnTo>
                    <a:pt x="183017" y="915815"/>
                  </a:lnTo>
                  <a:lnTo>
                    <a:pt x="178809" y="917819"/>
                  </a:lnTo>
                  <a:lnTo>
                    <a:pt x="172499" y="919823"/>
                  </a:lnTo>
                  <a:lnTo>
                    <a:pt x="166188" y="931847"/>
                  </a:lnTo>
                  <a:lnTo>
                    <a:pt x="157773" y="945874"/>
                  </a:lnTo>
                  <a:lnTo>
                    <a:pt x="145151" y="969922"/>
                  </a:lnTo>
                  <a:lnTo>
                    <a:pt x="128322" y="989962"/>
                  </a:lnTo>
                  <a:lnTo>
                    <a:pt x="128322" y="985954"/>
                  </a:lnTo>
                  <a:lnTo>
                    <a:pt x="128322" y="975934"/>
                  </a:lnTo>
                  <a:lnTo>
                    <a:pt x="138840" y="951886"/>
                  </a:lnTo>
                  <a:lnTo>
                    <a:pt x="151462" y="927839"/>
                  </a:lnTo>
                  <a:lnTo>
                    <a:pt x="161980" y="911807"/>
                  </a:lnTo>
                  <a:lnTo>
                    <a:pt x="172499" y="895775"/>
                  </a:lnTo>
                  <a:lnTo>
                    <a:pt x="178809" y="877739"/>
                  </a:lnTo>
                  <a:lnTo>
                    <a:pt x="183017" y="857700"/>
                  </a:lnTo>
                  <a:lnTo>
                    <a:pt x="189328" y="839664"/>
                  </a:lnTo>
                  <a:lnTo>
                    <a:pt x="197742" y="825636"/>
                  </a:lnTo>
                  <a:lnTo>
                    <a:pt x="201949" y="805597"/>
                  </a:lnTo>
                  <a:lnTo>
                    <a:pt x="201949" y="787561"/>
                  </a:lnTo>
                  <a:lnTo>
                    <a:pt x="201949" y="777541"/>
                  </a:lnTo>
                  <a:lnTo>
                    <a:pt x="199846" y="769525"/>
                  </a:lnTo>
                  <a:lnTo>
                    <a:pt x="193535" y="763513"/>
                  </a:lnTo>
                  <a:lnTo>
                    <a:pt x="187224" y="759505"/>
                  </a:lnTo>
                  <a:lnTo>
                    <a:pt x="176706" y="757502"/>
                  </a:lnTo>
                  <a:lnTo>
                    <a:pt x="172499" y="747482"/>
                  </a:lnTo>
                  <a:lnTo>
                    <a:pt x="172499" y="733454"/>
                  </a:lnTo>
                  <a:lnTo>
                    <a:pt x="170395" y="705398"/>
                  </a:lnTo>
                  <a:lnTo>
                    <a:pt x="172499" y="693375"/>
                  </a:lnTo>
                  <a:lnTo>
                    <a:pt x="180913" y="683355"/>
                  </a:lnTo>
                  <a:lnTo>
                    <a:pt x="189328" y="665319"/>
                  </a:lnTo>
                  <a:lnTo>
                    <a:pt x="199846" y="643275"/>
                  </a:lnTo>
                  <a:lnTo>
                    <a:pt x="208260" y="621232"/>
                  </a:lnTo>
                  <a:lnTo>
                    <a:pt x="210364" y="603196"/>
                  </a:lnTo>
                  <a:lnTo>
                    <a:pt x="210364" y="585160"/>
                  </a:lnTo>
                  <a:lnTo>
                    <a:pt x="214571" y="571133"/>
                  </a:lnTo>
                  <a:lnTo>
                    <a:pt x="229297" y="535061"/>
                  </a:lnTo>
                  <a:lnTo>
                    <a:pt x="233504" y="511014"/>
                  </a:lnTo>
                  <a:lnTo>
                    <a:pt x="235608" y="482958"/>
                  </a:lnTo>
                  <a:lnTo>
                    <a:pt x="235608" y="430855"/>
                  </a:lnTo>
                  <a:lnTo>
                    <a:pt x="236918" y="430801"/>
                  </a:lnTo>
                  <a:lnTo>
                    <a:pt x="236133" y="428852"/>
                  </a:lnTo>
                  <a:cubicBezTo>
                    <a:pt x="235420" y="423484"/>
                    <a:pt x="234759" y="418166"/>
                    <a:pt x="234046" y="412799"/>
                  </a:cubicBezTo>
                  <a:lnTo>
                    <a:pt x="225595" y="396796"/>
                  </a:lnTo>
                  <a:cubicBezTo>
                    <a:pt x="224883" y="391428"/>
                    <a:pt x="224170" y="386111"/>
                    <a:pt x="223457" y="380743"/>
                  </a:cubicBezTo>
                  <a:lnTo>
                    <a:pt x="223457" y="372742"/>
                  </a:lnTo>
                  <a:lnTo>
                    <a:pt x="223457" y="364740"/>
                  </a:lnTo>
                  <a:lnTo>
                    <a:pt x="236133" y="366728"/>
                  </a:lnTo>
                  <a:lnTo>
                    <a:pt x="242497" y="366728"/>
                  </a:lnTo>
                  <a:cubicBezTo>
                    <a:pt x="243209" y="366082"/>
                    <a:pt x="243871" y="365386"/>
                    <a:pt x="244584" y="364740"/>
                  </a:cubicBezTo>
                  <a:lnTo>
                    <a:pt x="234046" y="362703"/>
                  </a:lnTo>
                  <a:lnTo>
                    <a:pt x="225595" y="356689"/>
                  </a:lnTo>
                  <a:cubicBezTo>
                    <a:pt x="224170" y="354701"/>
                    <a:pt x="222795" y="352664"/>
                    <a:pt x="221370" y="350676"/>
                  </a:cubicBezTo>
                  <a:cubicBezTo>
                    <a:pt x="219944" y="348688"/>
                    <a:pt x="218570" y="346650"/>
                    <a:pt x="217144" y="344662"/>
                  </a:cubicBezTo>
                  <a:cubicBezTo>
                    <a:pt x="215719" y="338649"/>
                    <a:pt x="214345" y="332685"/>
                    <a:pt x="212919" y="326671"/>
                  </a:cubicBezTo>
                  <a:cubicBezTo>
                    <a:pt x="212206" y="321304"/>
                    <a:pt x="211494" y="315986"/>
                    <a:pt x="210781" y="310619"/>
                  </a:cubicBezTo>
                  <a:lnTo>
                    <a:pt x="204468" y="300580"/>
                  </a:lnTo>
                  <a:cubicBezTo>
                    <a:pt x="201668" y="295908"/>
                    <a:pt x="198818" y="291236"/>
                    <a:pt x="196018" y="286565"/>
                  </a:cubicBezTo>
                  <a:cubicBezTo>
                    <a:pt x="194592" y="283235"/>
                    <a:pt x="193218" y="279905"/>
                    <a:pt x="191792" y="276575"/>
                  </a:cubicBezTo>
                  <a:lnTo>
                    <a:pt x="185429" y="264548"/>
                  </a:lnTo>
                  <a:cubicBezTo>
                    <a:pt x="184716" y="260523"/>
                    <a:pt x="184054" y="256547"/>
                    <a:pt x="183342" y="252521"/>
                  </a:cubicBezTo>
                  <a:cubicBezTo>
                    <a:pt x="182629" y="248495"/>
                    <a:pt x="181916" y="244520"/>
                    <a:pt x="181203" y="240494"/>
                  </a:cubicBezTo>
                  <a:lnTo>
                    <a:pt x="181203" y="226429"/>
                  </a:lnTo>
                  <a:lnTo>
                    <a:pt x="174891" y="214452"/>
                  </a:lnTo>
                  <a:cubicBezTo>
                    <a:pt x="173465" y="213110"/>
                    <a:pt x="172091" y="211768"/>
                    <a:pt x="170665" y="210426"/>
                  </a:cubicBezTo>
                  <a:cubicBezTo>
                    <a:pt x="168527" y="208438"/>
                    <a:pt x="166440" y="206401"/>
                    <a:pt x="164302" y="204413"/>
                  </a:cubicBezTo>
                  <a:lnTo>
                    <a:pt x="149539" y="198399"/>
                  </a:lnTo>
                  <a:lnTo>
                    <a:pt x="130499" y="192386"/>
                  </a:lnTo>
                  <a:cubicBezTo>
                    <a:pt x="129074" y="191044"/>
                    <a:pt x="127699" y="189702"/>
                    <a:pt x="126274" y="188360"/>
                  </a:cubicBezTo>
                  <a:cubicBezTo>
                    <a:pt x="123474" y="185677"/>
                    <a:pt x="120623" y="183043"/>
                    <a:pt x="117823" y="180359"/>
                  </a:cubicBezTo>
                  <a:cubicBezTo>
                    <a:pt x="115736" y="177675"/>
                    <a:pt x="113598" y="175041"/>
                    <a:pt x="111510" y="172357"/>
                  </a:cubicBezTo>
                  <a:lnTo>
                    <a:pt x="107285" y="170320"/>
                  </a:lnTo>
                  <a:cubicBezTo>
                    <a:pt x="107998" y="169674"/>
                    <a:pt x="108660" y="168978"/>
                    <a:pt x="109372" y="168332"/>
                  </a:cubicBezTo>
                  <a:cubicBezTo>
                    <a:pt x="111510" y="165002"/>
                    <a:pt x="113598" y="161623"/>
                    <a:pt x="115736" y="158293"/>
                  </a:cubicBezTo>
                  <a:cubicBezTo>
                    <a:pt x="117823" y="151633"/>
                    <a:pt x="119961" y="144924"/>
                    <a:pt x="122048" y="138264"/>
                  </a:cubicBezTo>
                  <a:cubicBezTo>
                    <a:pt x="124848" y="130263"/>
                    <a:pt x="127699" y="122212"/>
                    <a:pt x="130499" y="114210"/>
                  </a:cubicBezTo>
                  <a:lnTo>
                    <a:pt x="128412" y="114210"/>
                  </a:lnTo>
                  <a:cubicBezTo>
                    <a:pt x="129837" y="103525"/>
                    <a:pt x="131212" y="92840"/>
                    <a:pt x="132637" y="82155"/>
                  </a:cubicBezTo>
                  <a:cubicBezTo>
                    <a:pt x="134724" y="70823"/>
                    <a:pt x="136863" y="59442"/>
                    <a:pt x="138950" y="48111"/>
                  </a:cubicBezTo>
                  <a:lnTo>
                    <a:pt x="147401" y="52087"/>
                  </a:lnTo>
                  <a:cubicBezTo>
                    <a:pt x="144601" y="44086"/>
                    <a:pt x="141750" y="36084"/>
                    <a:pt x="138950" y="28083"/>
                  </a:cubicBezTo>
                  <a:cubicBezTo>
                    <a:pt x="136863" y="18739"/>
                    <a:pt x="134724" y="9346"/>
                    <a:pt x="132637" y="3"/>
                  </a:cubicBezTo>
                  <a:lnTo>
                    <a:pt x="160077" y="3"/>
                  </a:lnTo>
                  <a:lnTo>
                    <a:pt x="181203" y="1991"/>
                  </a:lnTo>
                  <a:lnTo>
                    <a:pt x="202330" y="1991"/>
                  </a:lnTo>
                  <a:lnTo>
                    <a:pt x="246722" y="1991"/>
                  </a:lnTo>
                  <a:lnTo>
                    <a:pt x="381883" y="4029"/>
                  </a:lnTo>
                  <a:lnTo>
                    <a:pt x="519182" y="8004"/>
                  </a:lnTo>
                  <a:lnTo>
                    <a:pt x="544534" y="3"/>
                  </a:lnTo>
                  <a:lnTo>
                    <a:pt x="552985" y="3"/>
                  </a:lnTo>
                  <a:lnTo>
                    <a:pt x="616365" y="3"/>
                  </a:lnTo>
                  <a:lnTo>
                    <a:pt x="614786" y="2004"/>
                  </a:lnTo>
                  <a:lnTo>
                    <a:pt x="618470" y="2004"/>
                  </a:lnTo>
                  <a:lnTo>
                    <a:pt x="753103" y="4008"/>
                  </a:lnTo>
                  <a:lnTo>
                    <a:pt x="776243" y="2004"/>
                  </a:lnTo>
                  <a:close/>
                </a:path>
              </a:pathLst>
            </a:custGeom>
            <a:grpFill/>
            <a:ln w="3175" cmpd="sng">
              <a:solidFill>
                <a:schemeClr val="bg1"/>
              </a:solidFill>
              <a:prstDash val="solid"/>
              <a:round/>
              <a:headEnd/>
              <a:tailEnd/>
            </a:ln>
          </p:spPr>
          <p:txBody>
            <a:bodyPr wrap="none" tIns="274320" anchor="t"/>
            <a:lstStyle/>
            <a:p>
              <a:pPr algn="ctr"/>
              <a:r>
                <a:rPr lang="en-US" sz="800" dirty="0">
                  <a:solidFill>
                    <a:prstClr val="black"/>
                  </a:solidFill>
                  <a:latin typeface="Franklin Gothic Book"/>
                  <a:ea typeface="MS PGothic" charset="0"/>
                  <a:cs typeface="MS PGothic" charset="0"/>
                </a:rPr>
                <a:t>North Coast and North State</a:t>
              </a:r>
            </a:p>
          </p:txBody>
        </p:sp>
        <p:sp>
          <p:nvSpPr>
            <p:cNvPr id="9" name="Inland Empire"/>
            <p:cNvSpPr>
              <a:spLocks/>
            </p:cNvSpPr>
            <p:nvPr/>
          </p:nvSpPr>
          <p:spPr bwMode="auto">
            <a:xfrm>
              <a:off x="6277122" y="5866928"/>
              <a:ext cx="2583265" cy="1907778"/>
            </a:xfrm>
            <a:custGeom>
              <a:avLst/>
              <a:gdLst/>
              <a:ahLst/>
              <a:cxnLst/>
              <a:rect l="l" t="t" r="r" b="b"/>
              <a:pathLst>
                <a:path w="2583265" h="1907778">
                  <a:moveTo>
                    <a:pt x="2292906" y="1384738"/>
                  </a:moveTo>
                  <a:lnTo>
                    <a:pt x="2292902" y="1384740"/>
                  </a:lnTo>
                  <a:lnTo>
                    <a:pt x="2292967" y="1384741"/>
                  </a:lnTo>
                  <a:lnTo>
                    <a:pt x="2326944" y="1385640"/>
                  </a:lnTo>
                  <a:close/>
                  <a:moveTo>
                    <a:pt x="107206" y="0"/>
                  </a:moveTo>
                  <a:lnTo>
                    <a:pt x="462921" y="2006"/>
                  </a:lnTo>
                  <a:lnTo>
                    <a:pt x="816312" y="2006"/>
                  </a:lnTo>
                  <a:lnTo>
                    <a:pt x="1171769" y="2006"/>
                  </a:lnTo>
                  <a:lnTo>
                    <a:pt x="1525160" y="6018"/>
                  </a:lnTo>
                  <a:lnTo>
                    <a:pt x="1874417" y="322653"/>
                  </a:lnTo>
                  <a:lnTo>
                    <a:pt x="2051113" y="482977"/>
                  </a:lnTo>
                  <a:lnTo>
                    <a:pt x="2221350" y="645306"/>
                  </a:lnTo>
                  <a:lnTo>
                    <a:pt x="2223416" y="645306"/>
                  </a:lnTo>
                  <a:lnTo>
                    <a:pt x="2223416" y="669378"/>
                  </a:lnTo>
                  <a:lnTo>
                    <a:pt x="2223416" y="699313"/>
                  </a:lnTo>
                  <a:lnTo>
                    <a:pt x="2223416" y="729402"/>
                  </a:lnTo>
                  <a:cubicBezTo>
                    <a:pt x="2224966" y="733414"/>
                    <a:pt x="2226258" y="737426"/>
                    <a:pt x="2227808" y="741438"/>
                  </a:cubicBezTo>
                  <a:cubicBezTo>
                    <a:pt x="2229100" y="744061"/>
                    <a:pt x="2230650" y="746839"/>
                    <a:pt x="2231941" y="749462"/>
                  </a:cubicBezTo>
                  <a:lnTo>
                    <a:pt x="2238141" y="755480"/>
                  </a:lnTo>
                  <a:lnTo>
                    <a:pt x="2240466" y="755480"/>
                  </a:lnTo>
                  <a:cubicBezTo>
                    <a:pt x="2243824" y="757486"/>
                    <a:pt x="2247441" y="759492"/>
                    <a:pt x="2250799" y="761498"/>
                  </a:cubicBezTo>
                  <a:lnTo>
                    <a:pt x="2259324" y="767516"/>
                  </a:lnTo>
                  <a:cubicBezTo>
                    <a:pt x="2261390" y="770139"/>
                    <a:pt x="2263457" y="772917"/>
                    <a:pt x="2265524" y="775540"/>
                  </a:cubicBezTo>
                  <a:cubicBezTo>
                    <a:pt x="2267590" y="778935"/>
                    <a:pt x="2269915" y="782175"/>
                    <a:pt x="2271982" y="785570"/>
                  </a:cubicBezTo>
                  <a:cubicBezTo>
                    <a:pt x="2272757" y="789582"/>
                    <a:pt x="2273273" y="793594"/>
                    <a:pt x="2274048" y="797605"/>
                  </a:cubicBezTo>
                  <a:cubicBezTo>
                    <a:pt x="2276890" y="805012"/>
                    <a:pt x="2279732" y="812265"/>
                    <a:pt x="2282573" y="819671"/>
                  </a:cubicBezTo>
                  <a:cubicBezTo>
                    <a:pt x="2283865" y="823066"/>
                    <a:pt x="2285415" y="826306"/>
                    <a:pt x="2286706" y="829701"/>
                  </a:cubicBezTo>
                  <a:cubicBezTo>
                    <a:pt x="2289548" y="833096"/>
                    <a:pt x="2292131" y="836336"/>
                    <a:pt x="2294973" y="839731"/>
                  </a:cubicBezTo>
                  <a:cubicBezTo>
                    <a:pt x="2295748" y="840348"/>
                    <a:pt x="2296523" y="841120"/>
                    <a:pt x="2297298" y="841737"/>
                  </a:cubicBezTo>
                  <a:lnTo>
                    <a:pt x="2305564" y="845749"/>
                  </a:lnTo>
                  <a:cubicBezTo>
                    <a:pt x="2306856" y="846983"/>
                    <a:pt x="2308406" y="848372"/>
                    <a:pt x="2309697" y="849606"/>
                  </a:cubicBezTo>
                  <a:cubicBezTo>
                    <a:pt x="2312539" y="850224"/>
                    <a:pt x="2315381" y="850995"/>
                    <a:pt x="2318222" y="851612"/>
                  </a:cubicBezTo>
                  <a:lnTo>
                    <a:pt x="2326747" y="857630"/>
                  </a:lnTo>
                  <a:lnTo>
                    <a:pt x="2335013" y="861642"/>
                  </a:lnTo>
                  <a:cubicBezTo>
                    <a:pt x="2336305" y="863648"/>
                    <a:pt x="2337855" y="865654"/>
                    <a:pt x="2339147" y="867660"/>
                  </a:cubicBezTo>
                  <a:cubicBezTo>
                    <a:pt x="2341213" y="872289"/>
                    <a:pt x="2343538" y="877073"/>
                    <a:pt x="2345605" y="881702"/>
                  </a:cubicBezTo>
                  <a:cubicBezTo>
                    <a:pt x="2346380" y="886331"/>
                    <a:pt x="2346896" y="891115"/>
                    <a:pt x="2347671" y="895744"/>
                  </a:cubicBezTo>
                  <a:cubicBezTo>
                    <a:pt x="2348963" y="900373"/>
                    <a:pt x="2350513" y="905156"/>
                    <a:pt x="2351805" y="909786"/>
                  </a:cubicBezTo>
                  <a:cubicBezTo>
                    <a:pt x="2355421" y="916421"/>
                    <a:pt x="2358779" y="923210"/>
                    <a:pt x="2362396" y="929845"/>
                  </a:cubicBezTo>
                  <a:cubicBezTo>
                    <a:pt x="2366013" y="937252"/>
                    <a:pt x="2369371" y="944504"/>
                    <a:pt x="2372987" y="951911"/>
                  </a:cubicBezTo>
                  <a:lnTo>
                    <a:pt x="2372987" y="953917"/>
                  </a:lnTo>
                  <a:lnTo>
                    <a:pt x="2372987" y="957929"/>
                  </a:lnTo>
                  <a:cubicBezTo>
                    <a:pt x="2371437" y="958546"/>
                    <a:pt x="2370146" y="959318"/>
                    <a:pt x="2368596" y="959935"/>
                  </a:cubicBezTo>
                  <a:lnTo>
                    <a:pt x="2366529" y="959935"/>
                  </a:lnTo>
                  <a:lnTo>
                    <a:pt x="2366529" y="961941"/>
                  </a:lnTo>
                  <a:cubicBezTo>
                    <a:pt x="2368596" y="964564"/>
                    <a:pt x="2370921" y="967342"/>
                    <a:pt x="2372987" y="969965"/>
                  </a:cubicBezTo>
                  <a:lnTo>
                    <a:pt x="2377121" y="969965"/>
                  </a:lnTo>
                  <a:cubicBezTo>
                    <a:pt x="2382029" y="976600"/>
                    <a:pt x="2386937" y="983389"/>
                    <a:pt x="2391845" y="990024"/>
                  </a:cubicBezTo>
                  <a:cubicBezTo>
                    <a:pt x="2393912" y="992648"/>
                    <a:pt x="2395978" y="995425"/>
                    <a:pt x="2398045" y="998048"/>
                  </a:cubicBezTo>
                  <a:cubicBezTo>
                    <a:pt x="2399595" y="1002060"/>
                    <a:pt x="2400887" y="1005918"/>
                    <a:pt x="2402437" y="1009930"/>
                  </a:cubicBezTo>
                  <a:cubicBezTo>
                    <a:pt x="2403212" y="1013942"/>
                    <a:pt x="2403728" y="1017954"/>
                    <a:pt x="2404503" y="1021966"/>
                  </a:cubicBezTo>
                  <a:lnTo>
                    <a:pt x="2404503" y="1023972"/>
                  </a:lnTo>
                  <a:cubicBezTo>
                    <a:pt x="2403728" y="1028601"/>
                    <a:pt x="2403212" y="1033384"/>
                    <a:pt x="2402437" y="1038013"/>
                  </a:cubicBezTo>
                  <a:lnTo>
                    <a:pt x="2402437" y="1048043"/>
                  </a:lnTo>
                  <a:cubicBezTo>
                    <a:pt x="2401662" y="1052055"/>
                    <a:pt x="2401145" y="1056067"/>
                    <a:pt x="2400370" y="1060079"/>
                  </a:cubicBezTo>
                  <a:cubicBezTo>
                    <a:pt x="2401145" y="1064091"/>
                    <a:pt x="2401662" y="1068103"/>
                    <a:pt x="2402437" y="1072115"/>
                  </a:cubicBezTo>
                  <a:cubicBezTo>
                    <a:pt x="2404503" y="1072732"/>
                    <a:pt x="2406570" y="1073504"/>
                    <a:pt x="2408636" y="1074121"/>
                  </a:cubicBezTo>
                  <a:lnTo>
                    <a:pt x="2431886" y="1074121"/>
                  </a:lnTo>
                  <a:cubicBezTo>
                    <a:pt x="2435244" y="1076127"/>
                    <a:pt x="2438861" y="1078133"/>
                    <a:pt x="2442219" y="1080139"/>
                  </a:cubicBezTo>
                  <a:cubicBezTo>
                    <a:pt x="2442994" y="1080756"/>
                    <a:pt x="2443769" y="1081528"/>
                    <a:pt x="2444544" y="1082145"/>
                  </a:cubicBezTo>
                  <a:cubicBezTo>
                    <a:pt x="2447385" y="1084768"/>
                    <a:pt x="2449969" y="1087546"/>
                    <a:pt x="2452810" y="1090169"/>
                  </a:cubicBezTo>
                  <a:cubicBezTo>
                    <a:pt x="2454102" y="1090786"/>
                    <a:pt x="2455652" y="1091557"/>
                    <a:pt x="2456944" y="1092175"/>
                  </a:cubicBezTo>
                  <a:lnTo>
                    <a:pt x="2465468" y="1104211"/>
                  </a:lnTo>
                  <a:cubicBezTo>
                    <a:pt x="2469085" y="1107605"/>
                    <a:pt x="2472443" y="1110846"/>
                    <a:pt x="2476060" y="1114240"/>
                  </a:cubicBezTo>
                  <a:cubicBezTo>
                    <a:pt x="2478126" y="1115629"/>
                    <a:pt x="2480193" y="1116864"/>
                    <a:pt x="2482260" y="1118252"/>
                  </a:cubicBezTo>
                  <a:lnTo>
                    <a:pt x="2488718" y="1118252"/>
                  </a:lnTo>
                  <a:cubicBezTo>
                    <a:pt x="2495693" y="1123653"/>
                    <a:pt x="2502667" y="1128899"/>
                    <a:pt x="2509642" y="1134300"/>
                  </a:cubicBezTo>
                  <a:cubicBezTo>
                    <a:pt x="2512484" y="1135689"/>
                    <a:pt x="2515325" y="1136923"/>
                    <a:pt x="2518167" y="1138312"/>
                  </a:cubicBezTo>
                  <a:cubicBezTo>
                    <a:pt x="2521525" y="1141707"/>
                    <a:pt x="2525142" y="1144947"/>
                    <a:pt x="2528500" y="1148342"/>
                  </a:cubicBezTo>
                  <a:cubicBezTo>
                    <a:pt x="2532633" y="1148959"/>
                    <a:pt x="2537025" y="1149731"/>
                    <a:pt x="2541158" y="1150348"/>
                  </a:cubicBezTo>
                  <a:lnTo>
                    <a:pt x="2566474" y="1180283"/>
                  </a:lnTo>
                  <a:cubicBezTo>
                    <a:pt x="2570607" y="1186918"/>
                    <a:pt x="2574999" y="1193708"/>
                    <a:pt x="2579132" y="1200343"/>
                  </a:cubicBezTo>
                  <a:cubicBezTo>
                    <a:pt x="2580424" y="1203738"/>
                    <a:pt x="2581974" y="1206978"/>
                    <a:pt x="2583265" y="1210373"/>
                  </a:cubicBezTo>
                  <a:lnTo>
                    <a:pt x="2583265" y="1216391"/>
                  </a:lnTo>
                  <a:lnTo>
                    <a:pt x="2583265" y="1222409"/>
                  </a:lnTo>
                  <a:cubicBezTo>
                    <a:pt x="2582490" y="1223026"/>
                    <a:pt x="2581974" y="1223797"/>
                    <a:pt x="2581199" y="1224415"/>
                  </a:cubicBezTo>
                  <a:cubicBezTo>
                    <a:pt x="2580424" y="1225032"/>
                    <a:pt x="2579907" y="1225803"/>
                    <a:pt x="2579132" y="1226421"/>
                  </a:cubicBezTo>
                  <a:lnTo>
                    <a:pt x="2570607" y="1226421"/>
                  </a:lnTo>
                  <a:cubicBezTo>
                    <a:pt x="2569832" y="1227809"/>
                    <a:pt x="2569316" y="1229044"/>
                    <a:pt x="2568541" y="1230432"/>
                  </a:cubicBezTo>
                  <a:cubicBezTo>
                    <a:pt x="2566474" y="1231050"/>
                    <a:pt x="2564407" y="1231821"/>
                    <a:pt x="2562341" y="1232438"/>
                  </a:cubicBezTo>
                  <a:cubicBezTo>
                    <a:pt x="2558208" y="1236450"/>
                    <a:pt x="2553816" y="1240462"/>
                    <a:pt x="2549683" y="1244474"/>
                  </a:cubicBezTo>
                  <a:lnTo>
                    <a:pt x="2534958" y="1256510"/>
                  </a:lnTo>
                  <a:cubicBezTo>
                    <a:pt x="2526433" y="1266540"/>
                    <a:pt x="2518167" y="1276570"/>
                    <a:pt x="2509642" y="1286600"/>
                  </a:cubicBezTo>
                  <a:cubicBezTo>
                    <a:pt x="2504734" y="1291229"/>
                    <a:pt x="2499826" y="1296012"/>
                    <a:pt x="2494918" y="1300641"/>
                  </a:cubicBezTo>
                  <a:cubicBezTo>
                    <a:pt x="2488718" y="1302030"/>
                    <a:pt x="2482260" y="1303265"/>
                    <a:pt x="2476060" y="1304653"/>
                  </a:cubicBezTo>
                  <a:cubicBezTo>
                    <a:pt x="2472443" y="1306659"/>
                    <a:pt x="2469085" y="1308665"/>
                    <a:pt x="2465468" y="1310671"/>
                  </a:cubicBezTo>
                  <a:lnTo>
                    <a:pt x="2454877" y="1316535"/>
                  </a:lnTo>
                  <a:cubicBezTo>
                    <a:pt x="2448677" y="1321936"/>
                    <a:pt x="2442219" y="1327182"/>
                    <a:pt x="2436019" y="1332583"/>
                  </a:cubicBezTo>
                  <a:cubicBezTo>
                    <a:pt x="2428269" y="1335977"/>
                    <a:pt x="2420520" y="1339218"/>
                    <a:pt x="2412770" y="1342613"/>
                  </a:cubicBezTo>
                  <a:cubicBezTo>
                    <a:pt x="2405020" y="1347242"/>
                    <a:pt x="2397528" y="1352025"/>
                    <a:pt x="2389779" y="1356654"/>
                  </a:cubicBezTo>
                  <a:cubicBezTo>
                    <a:pt x="2386937" y="1359278"/>
                    <a:pt x="2384095" y="1362055"/>
                    <a:pt x="2381254" y="1364678"/>
                  </a:cubicBezTo>
                  <a:cubicBezTo>
                    <a:pt x="2379962" y="1366067"/>
                    <a:pt x="2378412" y="1367301"/>
                    <a:pt x="2377121" y="1368690"/>
                  </a:cubicBezTo>
                  <a:cubicBezTo>
                    <a:pt x="2375054" y="1371313"/>
                    <a:pt x="2372987" y="1374091"/>
                    <a:pt x="2370921" y="1376714"/>
                  </a:cubicBezTo>
                  <a:cubicBezTo>
                    <a:pt x="2370146" y="1380108"/>
                    <a:pt x="2369372" y="1383348"/>
                    <a:pt x="2368597" y="1386743"/>
                  </a:cubicBezTo>
                  <a:lnTo>
                    <a:pt x="2368698" y="1386745"/>
                  </a:lnTo>
                  <a:lnTo>
                    <a:pt x="2368698" y="1398769"/>
                  </a:lnTo>
                  <a:lnTo>
                    <a:pt x="2366595" y="1408789"/>
                  </a:lnTo>
                  <a:lnTo>
                    <a:pt x="2360284" y="1418809"/>
                  </a:lnTo>
                  <a:lnTo>
                    <a:pt x="2356076" y="1428829"/>
                  </a:lnTo>
                  <a:lnTo>
                    <a:pt x="2339247" y="1446864"/>
                  </a:lnTo>
                  <a:lnTo>
                    <a:pt x="2320315" y="1462896"/>
                  </a:lnTo>
                  <a:lnTo>
                    <a:pt x="2309796" y="1466904"/>
                  </a:lnTo>
                  <a:lnTo>
                    <a:pt x="2303486" y="1476924"/>
                  </a:lnTo>
                  <a:lnTo>
                    <a:pt x="2299278" y="1478928"/>
                  </a:lnTo>
                  <a:lnTo>
                    <a:pt x="2297175" y="1484940"/>
                  </a:lnTo>
                  <a:lnTo>
                    <a:pt x="2299278" y="1488948"/>
                  </a:lnTo>
                  <a:lnTo>
                    <a:pt x="2305589" y="1494959"/>
                  </a:lnTo>
                  <a:lnTo>
                    <a:pt x="2309796" y="1498967"/>
                  </a:lnTo>
                  <a:lnTo>
                    <a:pt x="2314004" y="1502975"/>
                  </a:lnTo>
                  <a:lnTo>
                    <a:pt x="2314004" y="1506983"/>
                  </a:lnTo>
                  <a:lnTo>
                    <a:pt x="2314004" y="1508987"/>
                  </a:lnTo>
                  <a:lnTo>
                    <a:pt x="2309796" y="1514999"/>
                  </a:lnTo>
                  <a:lnTo>
                    <a:pt x="2309796" y="1517003"/>
                  </a:lnTo>
                  <a:lnTo>
                    <a:pt x="2314004" y="1523015"/>
                  </a:lnTo>
                  <a:lnTo>
                    <a:pt x="2316107" y="1527023"/>
                  </a:lnTo>
                  <a:lnTo>
                    <a:pt x="2316107" y="1533035"/>
                  </a:lnTo>
                  <a:lnTo>
                    <a:pt x="2314004" y="1537043"/>
                  </a:lnTo>
                  <a:lnTo>
                    <a:pt x="2305589" y="1545059"/>
                  </a:lnTo>
                  <a:lnTo>
                    <a:pt x="2303486" y="1549067"/>
                  </a:lnTo>
                  <a:lnTo>
                    <a:pt x="2303486" y="1563095"/>
                  </a:lnTo>
                  <a:lnTo>
                    <a:pt x="2305589" y="1577122"/>
                  </a:lnTo>
                  <a:lnTo>
                    <a:pt x="2307693" y="1617202"/>
                  </a:lnTo>
                  <a:lnTo>
                    <a:pt x="2307693" y="1641250"/>
                  </a:lnTo>
                  <a:lnTo>
                    <a:pt x="2309796" y="1651269"/>
                  </a:lnTo>
                  <a:lnTo>
                    <a:pt x="2314004" y="1657281"/>
                  </a:lnTo>
                  <a:lnTo>
                    <a:pt x="2318211" y="1667301"/>
                  </a:lnTo>
                  <a:lnTo>
                    <a:pt x="2318211" y="1671309"/>
                  </a:lnTo>
                  <a:lnTo>
                    <a:pt x="2309796" y="1685337"/>
                  </a:lnTo>
                  <a:lnTo>
                    <a:pt x="2307693" y="1689345"/>
                  </a:lnTo>
                  <a:lnTo>
                    <a:pt x="2303486" y="1691349"/>
                  </a:lnTo>
                  <a:lnTo>
                    <a:pt x="2295071" y="1695357"/>
                  </a:lnTo>
                  <a:lnTo>
                    <a:pt x="2292967" y="1699365"/>
                  </a:lnTo>
                  <a:lnTo>
                    <a:pt x="2295071" y="1707381"/>
                  </a:lnTo>
                  <a:lnTo>
                    <a:pt x="2297175" y="1717401"/>
                  </a:lnTo>
                  <a:lnTo>
                    <a:pt x="2295071" y="1717401"/>
                  </a:lnTo>
                  <a:lnTo>
                    <a:pt x="2292967" y="1749464"/>
                  </a:lnTo>
                  <a:lnTo>
                    <a:pt x="2286656" y="1781528"/>
                  </a:lnTo>
                  <a:lnTo>
                    <a:pt x="2286656" y="1783532"/>
                  </a:lnTo>
                  <a:lnTo>
                    <a:pt x="2288760" y="1789544"/>
                  </a:lnTo>
                  <a:lnTo>
                    <a:pt x="2292967" y="1791548"/>
                  </a:lnTo>
                  <a:lnTo>
                    <a:pt x="2295071" y="1793552"/>
                  </a:lnTo>
                  <a:lnTo>
                    <a:pt x="2295071" y="1799563"/>
                  </a:lnTo>
                  <a:lnTo>
                    <a:pt x="2288760" y="1801567"/>
                  </a:lnTo>
                  <a:lnTo>
                    <a:pt x="2282449" y="1811587"/>
                  </a:lnTo>
                  <a:lnTo>
                    <a:pt x="2276138" y="1817599"/>
                  </a:lnTo>
                  <a:lnTo>
                    <a:pt x="2267724" y="1827619"/>
                  </a:lnTo>
                  <a:lnTo>
                    <a:pt x="2261413" y="1839643"/>
                  </a:lnTo>
                  <a:lnTo>
                    <a:pt x="2248791" y="1859683"/>
                  </a:lnTo>
                  <a:lnTo>
                    <a:pt x="2231962" y="1879722"/>
                  </a:lnTo>
                  <a:lnTo>
                    <a:pt x="2223547" y="1901766"/>
                  </a:lnTo>
                  <a:lnTo>
                    <a:pt x="2221444" y="1903770"/>
                  </a:lnTo>
                  <a:lnTo>
                    <a:pt x="2095226" y="1901766"/>
                  </a:lnTo>
                  <a:lnTo>
                    <a:pt x="1969007" y="1901766"/>
                  </a:lnTo>
                  <a:lnTo>
                    <a:pt x="1714467" y="1901766"/>
                  </a:lnTo>
                  <a:lnTo>
                    <a:pt x="1459927" y="1907778"/>
                  </a:lnTo>
                  <a:lnTo>
                    <a:pt x="1205387" y="1907778"/>
                  </a:lnTo>
                  <a:lnTo>
                    <a:pt x="708929" y="1907778"/>
                  </a:lnTo>
                  <a:lnTo>
                    <a:pt x="614265" y="1903770"/>
                  </a:lnTo>
                  <a:lnTo>
                    <a:pt x="528016" y="1901766"/>
                  </a:lnTo>
                  <a:lnTo>
                    <a:pt x="496462" y="1901766"/>
                  </a:lnTo>
                  <a:lnTo>
                    <a:pt x="460700" y="1907778"/>
                  </a:lnTo>
                  <a:lnTo>
                    <a:pt x="424938" y="1907778"/>
                  </a:lnTo>
                  <a:lnTo>
                    <a:pt x="408109" y="1903770"/>
                  </a:lnTo>
                  <a:lnTo>
                    <a:pt x="393383" y="1901766"/>
                  </a:lnTo>
                  <a:lnTo>
                    <a:pt x="393383" y="1899762"/>
                  </a:lnTo>
                  <a:lnTo>
                    <a:pt x="393383" y="1897758"/>
                  </a:lnTo>
                  <a:lnTo>
                    <a:pt x="393383" y="1893750"/>
                  </a:lnTo>
                  <a:lnTo>
                    <a:pt x="391280" y="1891746"/>
                  </a:lnTo>
                  <a:lnTo>
                    <a:pt x="361829" y="1879722"/>
                  </a:lnTo>
                  <a:lnTo>
                    <a:pt x="302927" y="1853671"/>
                  </a:lnTo>
                  <a:lnTo>
                    <a:pt x="305031" y="1839643"/>
                  </a:lnTo>
                  <a:lnTo>
                    <a:pt x="201953" y="1841647"/>
                  </a:lnTo>
                  <a:lnTo>
                    <a:pt x="201953" y="1827619"/>
                  </a:lnTo>
                  <a:lnTo>
                    <a:pt x="206160" y="1813591"/>
                  </a:lnTo>
                  <a:lnTo>
                    <a:pt x="210367" y="1799563"/>
                  </a:lnTo>
                  <a:lnTo>
                    <a:pt x="220885" y="1783532"/>
                  </a:lnTo>
                  <a:lnTo>
                    <a:pt x="241922" y="1757480"/>
                  </a:lnTo>
                  <a:lnTo>
                    <a:pt x="260854" y="1735436"/>
                  </a:lnTo>
                  <a:lnTo>
                    <a:pt x="265062" y="1727420"/>
                  </a:lnTo>
                  <a:lnTo>
                    <a:pt x="265062" y="1717401"/>
                  </a:lnTo>
                  <a:lnTo>
                    <a:pt x="260854" y="1707381"/>
                  </a:lnTo>
                  <a:lnTo>
                    <a:pt x="252440" y="1699365"/>
                  </a:lnTo>
                  <a:lnTo>
                    <a:pt x="244025" y="1691349"/>
                  </a:lnTo>
                  <a:lnTo>
                    <a:pt x="233507" y="1687341"/>
                  </a:lnTo>
                  <a:lnTo>
                    <a:pt x="222989" y="1681329"/>
                  </a:lnTo>
                  <a:lnTo>
                    <a:pt x="210367" y="1679325"/>
                  </a:lnTo>
                  <a:lnTo>
                    <a:pt x="195642" y="1679325"/>
                  </a:lnTo>
                  <a:lnTo>
                    <a:pt x="189331" y="1677321"/>
                  </a:lnTo>
                  <a:lnTo>
                    <a:pt x="187227" y="1675317"/>
                  </a:lnTo>
                  <a:lnTo>
                    <a:pt x="187227" y="1665297"/>
                  </a:lnTo>
                  <a:lnTo>
                    <a:pt x="187227" y="1647261"/>
                  </a:lnTo>
                  <a:lnTo>
                    <a:pt x="185123" y="1641250"/>
                  </a:lnTo>
                  <a:lnTo>
                    <a:pt x="180916" y="1641250"/>
                  </a:lnTo>
                  <a:lnTo>
                    <a:pt x="174605" y="1639246"/>
                  </a:lnTo>
                  <a:lnTo>
                    <a:pt x="166191" y="1637242"/>
                  </a:lnTo>
                  <a:lnTo>
                    <a:pt x="157776" y="1631230"/>
                  </a:lnTo>
                  <a:lnTo>
                    <a:pt x="85470" y="1544637"/>
                  </a:lnTo>
                  <a:cubicBezTo>
                    <a:pt x="82772" y="1544108"/>
                    <a:pt x="80324" y="1543155"/>
                    <a:pt x="82642" y="1541855"/>
                  </a:cubicBezTo>
                  <a:lnTo>
                    <a:pt x="84142" y="1543000"/>
                  </a:lnTo>
                  <a:lnTo>
                    <a:pt x="83972" y="1541535"/>
                  </a:lnTo>
                  <a:lnTo>
                    <a:pt x="82642" y="1541855"/>
                  </a:lnTo>
                  <a:lnTo>
                    <a:pt x="10592" y="1486888"/>
                  </a:lnTo>
                  <a:cubicBezTo>
                    <a:pt x="9042" y="1483493"/>
                    <a:pt x="7750" y="1480253"/>
                    <a:pt x="6200" y="1476858"/>
                  </a:cubicBezTo>
                  <a:cubicBezTo>
                    <a:pt x="4908" y="1474235"/>
                    <a:pt x="3358" y="1471458"/>
                    <a:pt x="2067" y="1468834"/>
                  </a:cubicBezTo>
                  <a:cubicBezTo>
                    <a:pt x="1292" y="1467600"/>
                    <a:pt x="775" y="1466211"/>
                    <a:pt x="0" y="1464977"/>
                  </a:cubicBezTo>
                  <a:cubicBezTo>
                    <a:pt x="775" y="1462971"/>
                    <a:pt x="1292" y="1460965"/>
                    <a:pt x="2067" y="1458959"/>
                  </a:cubicBezTo>
                  <a:cubicBezTo>
                    <a:pt x="4908" y="1455564"/>
                    <a:pt x="7750" y="1452324"/>
                    <a:pt x="10592" y="1448929"/>
                  </a:cubicBezTo>
                  <a:cubicBezTo>
                    <a:pt x="13950" y="1444917"/>
                    <a:pt x="17566" y="1440905"/>
                    <a:pt x="20925" y="1436893"/>
                  </a:cubicBezTo>
                  <a:cubicBezTo>
                    <a:pt x="22991" y="1435505"/>
                    <a:pt x="25316" y="1434270"/>
                    <a:pt x="27383" y="1432881"/>
                  </a:cubicBezTo>
                  <a:lnTo>
                    <a:pt x="31516" y="1432881"/>
                  </a:lnTo>
                  <a:lnTo>
                    <a:pt x="33583" y="1432881"/>
                  </a:lnTo>
                  <a:lnTo>
                    <a:pt x="40041" y="1432881"/>
                  </a:lnTo>
                  <a:cubicBezTo>
                    <a:pt x="42882" y="1430258"/>
                    <a:pt x="45466" y="1427481"/>
                    <a:pt x="48307" y="1424857"/>
                  </a:cubicBezTo>
                  <a:cubicBezTo>
                    <a:pt x="50374" y="1419457"/>
                    <a:pt x="52699" y="1414210"/>
                    <a:pt x="54765" y="1408810"/>
                  </a:cubicBezTo>
                  <a:cubicBezTo>
                    <a:pt x="60449" y="1394768"/>
                    <a:pt x="65874" y="1380726"/>
                    <a:pt x="71557" y="1366684"/>
                  </a:cubicBezTo>
                  <a:cubicBezTo>
                    <a:pt x="75690" y="1352025"/>
                    <a:pt x="80081" y="1337212"/>
                    <a:pt x="84215" y="1322553"/>
                  </a:cubicBezTo>
                  <a:cubicBezTo>
                    <a:pt x="89898" y="1305271"/>
                    <a:pt x="95323" y="1287834"/>
                    <a:pt x="101006" y="1270552"/>
                  </a:cubicBezTo>
                  <a:cubicBezTo>
                    <a:pt x="103073" y="1261139"/>
                    <a:pt x="105139" y="1251881"/>
                    <a:pt x="107206" y="1242468"/>
                  </a:cubicBezTo>
                  <a:cubicBezTo>
                    <a:pt x="108756" y="1237068"/>
                    <a:pt x="110047" y="1231821"/>
                    <a:pt x="111597" y="1226421"/>
                  </a:cubicBezTo>
                  <a:lnTo>
                    <a:pt x="111597" y="1214385"/>
                  </a:lnTo>
                  <a:cubicBezTo>
                    <a:pt x="107981" y="1142941"/>
                    <a:pt x="104622" y="1071498"/>
                    <a:pt x="101006" y="1000054"/>
                  </a:cubicBezTo>
                  <a:cubicBezTo>
                    <a:pt x="98939" y="965336"/>
                    <a:pt x="96614" y="930463"/>
                    <a:pt x="94548" y="895744"/>
                  </a:cubicBezTo>
                  <a:cubicBezTo>
                    <a:pt x="93773" y="859019"/>
                    <a:pt x="93256" y="822294"/>
                    <a:pt x="92481" y="785570"/>
                  </a:cubicBezTo>
                  <a:lnTo>
                    <a:pt x="101006" y="785570"/>
                  </a:lnTo>
                  <a:lnTo>
                    <a:pt x="107206" y="785570"/>
                  </a:lnTo>
                  <a:cubicBezTo>
                    <a:pt x="108756" y="784181"/>
                    <a:pt x="110047" y="782946"/>
                    <a:pt x="111597" y="781558"/>
                  </a:cubicBezTo>
                  <a:cubicBezTo>
                    <a:pt x="112372" y="780169"/>
                    <a:pt x="112889" y="778935"/>
                    <a:pt x="113664" y="777546"/>
                  </a:cubicBezTo>
                  <a:lnTo>
                    <a:pt x="113664" y="765510"/>
                  </a:lnTo>
                  <a:cubicBezTo>
                    <a:pt x="112889" y="760109"/>
                    <a:pt x="112372" y="754863"/>
                    <a:pt x="111597" y="749462"/>
                  </a:cubicBezTo>
                  <a:lnTo>
                    <a:pt x="111597" y="663360"/>
                  </a:lnTo>
                  <a:cubicBezTo>
                    <a:pt x="110047" y="629875"/>
                    <a:pt x="108756" y="596545"/>
                    <a:pt x="107206" y="563061"/>
                  </a:cubicBezTo>
                  <a:cubicBezTo>
                    <a:pt x="110822" y="563678"/>
                    <a:pt x="114181" y="564450"/>
                    <a:pt x="117797" y="565067"/>
                  </a:cubicBezTo>
                  <a:lnTo>
                    <a:pt x="117797" y="482977"/>
                  </a:lnTo>
                  <a:lnTo>
                    <a:pt x="117797" y="400732"/>
                  </a:lnTo>
                  <a:cubicBezTo>
                    <a:pt x="117022" y="345336"/>
                    <a:pt x="116506" y="289786"/>
                    <a:pt x="115731" y="234390"/>
                  </a:cubicBezTo>
                  <a:cubicBezTo>
                    <a:pt x="114956" y="216337"/>
                    <a:pt x="114439" y="198437"/>
                    <a:pt x="113664" y="180383"/>
                  </a:cubicBezTo>
                  <a:lnTo>
                    <a:pt x="113664" y="122210"/>
                  </a:lnTo>
                  <a:lnTo>
                    <a:pt x="113664" y="118198"/>
                  </a:lnTo>
                  <a:cubicBezTo>
                    <a:pt x="114956" y="116810"/>
                    <a:pt x="116506" y="115575"/>
                    <a:pt x="117797" y="114186"/>
                  </a:cubicBezTo>
                  <a:lnTo>
                    <a:pt x="121930" y="114186"/>
                  </a:lnTo>
                  <a:cubicBezTo>
                    <a:pt x="122705" y="112180"/>
                    <a:pt x="123222" y="110174"/>
                    <a:pt x="123997" y="108168"/>
                  </a:cubicBezTo>
                  <a:cubicBezTo>
                    <a:pt x="123222" y="106162"/>
                    <a:pt x="122705" y="104156"/>
                    <a:pt x="121930" y="102151"/>
                  </a:cubicBezTo>
                  <a:cubicBezTo>
                    <a:pt x="120639" y="101533"/>
                    <a:pt x="119089" y="100762"/>
                    <a:pt x="117797" y="100145"/>
                  </a:cubicBezTo>
                  <a:lnTo>
                    <a:pt x="107206" y="100145"/>
                  </a:lnTo>
                  <a:cubicBezTo>
                    <a:pt x="103848" y="100762"/>
                    <a:pt x="100231" y="101533"/>
                    <a:pt x="96873" y="102151"/>
                  </a:cubicBezTo>
                  <a:cubicBezTo>
                    <a:pt x="95323" y="101533"/>
                    <a:pt x="94031" y="100762"/>
                    <a:pt x="92481" y="100145"/>
                  </a:cubicBezTo>
                  <a:lnTo>
                    <a:pt x="92481" y="98139"/>
                  </a:lnTo>
                  <a:cubicBezTo>
                    <a:pt x="91706" y="94127"/>
                    <a:pt x="91190" y="90115"/>
                    <a:pt x="90415" y="86103"/>
                  </a:cubicBezTo>
                  <a:lnTo>
                    <a:pt x="90415" y="80085"/>
                  </a:lnTo>
                  <a:cubicBezTo>
                    <a:pt x="91706" y="78850"/>
                    <a:pt x="93256" y="77462"/>
                    <a:pt x="94548" y="76227"/>
                  </a:cubicBezTo>
                  <a:lnTo>
                    <a:pt x="105139" y="76227"/>
                  </a:lnTo>
                  <a:cubicBezTo>
                    <a:pt x="105914" y="74838"/>
                    <a:pt x="106431" y="73604"/>
                    <a:pt x="107206" y="72215"/>
                  </a:cubicBezTo>
                  <a:cubicBezTo>
                    <a:pt x="108756" y="70209"/>
                    <a:pt x="110047" y="68203"/>
                    <a:pt x="111597" y="66197"/>
                  </a:cubicBezTo>
                  <a:lnTo>
                    <a:pt x="111597" y="40120"/>
                  </a:lnTo>
                  <a:cubicBezTo>
                    <a:pt x="110047" y="26695"/>
                    <a:pt x="108756" y="13425"/>
                    <a:pt x="107206" y="0"/>
                  </a:cubicBez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Inland Empire</a:t>
              </a:r>
            </a:p>
          </p:txBody>
        </p:sp>
        <p:sp>
          <p:nvSpPr>
            <p:cNvPr id="10" name="Bay Area"/>
            <p:cNvSpPr>
              <a:spLocks/>
            </p:cNvSpPr>
            <p:nvPr/>
          </p:nvSpPr>
          <p:spPr bwMode="auto">
            <a:xfrm>
              <a:off x="2248660" y="3414072"/>
              <a:ext cx="1632422" cy="1579127"/>
            </a:xfrm>
            <a:custGeom>
              <a:avLst/>
              <a:gdLst/>
              <a:ahLst/>
              <a:cxnLst/>
              <a:rect l="l" t="t" r="r" b="b"/>
              <a:pathLst>
                <a:path w="1632422" h="1579127">
                  <a:moveTo>
                    <a:pt x="875087" y="769532"/>
                  </a:moveTo>
                  <a:lnTo>
                    <a:pt x="854104" y="771524"/>
                  </a:lnTo>
                  <a:lnTo>
                    <a:pt x="900296" y="773508"/>
                  </a:lnTo>
                  <a:lnTo>
                    <a:pt x="889856" y="769532"/>
                  </a:lnTo>
                  <a:close/>
                  <a:moveTo>
                    <a:pt x="1358948" y="611212"/>
                  </a:moveTo>
                  <a:lnTo>
                    <a:pt x="1367388" y="611212"/>
                  </a:lnTo>
                  <a:cubicBezTo>
                    <a:pt x="1368753" y="611878"/>
                    <a:pt x="1370181" y="612544"/>
                    <a:pt x="1371546" y="613209"/>
                  </a:cubicBezTo>
                  <a:cubicBezTo>
                    <a:pt x="1372229" y="615872"/>
                    <a:pt x="1372973" y="618565"/>
                    <a:pt x="1373656" y="621228"/>
                  </a:cubicBezTo>
                  <a:lnTo>
                    <a:pt x="1373656" y="633241"/>
                  </a:lnTo>
                  <a:lnTo>
                    <a:pt x="1373656" y="649279"/>
                  </a:lnTo>
                  <a:lnTo>
                    <a:pt x="1373656" y="663320"/>
                  </a:lnTo>
                  <a:lnTo>
                    <a:pt x="1382096" y="655301"/>
                  </a:lnTo>
                  <a:cubicBezTo>
                    <a:pt x="1382778" y="660657"/>
                    <a:pt x="1383523" y="665983"/>
                    <a:pt x="1384206" y="671339"/>
                  </a:cubicBezTo>
                  <a:lnTo>
                    <a:pt x="1377876" y="675333"/>
                  </a:lnTo>
                  <a:cubicBezTo>
                    <a:pt x="1376448" y="677996"/>
                    <a:pt x="1375083" y="680689"/>
                    <a:pt x="1373656" y="683352"/>
                  </a:cubicBezTo>
                  <a:cubicBezTo>
                    <a:pt x="1372973" y="686680"/>
                    <a:pt x="1372229" y="690039"/>
                    <a:pt x="1371546" y="693368"/>
                  </a:cubicBezTo>
                  <a:cubicBezTo>
                    <a:pt x="1372229" y="697392"/>
                    <a:pt x="1372973" y="701387"/>
                    <a:pt x="1373656" y="705411"/>
                  </a:cubicBezTo>
                  <a:lnTo>
                    <a:pt x="1379986" y="729437"/>
                  </a:lnTo>
                  <a:cubicBezTo>
                    <a:pt x="1380668" y="733462"/>
                    <a:pt x="1381413" y="737456"/>
                    <a:pt x="1382096" y="741481"/>
                  </a:cubicBezTo>
                  <a:lnTo>
                    <a:pt x="1382096" y="751497"/>
                  </a:lnTo>
                  <a:lnTo>
                    <a:pt x="1382096" y="761513"/>
                  </a:lnTo>
                  <a:cubicBezTo>
                    <a:pt x="1380668" y="765507"/>
                    <a:pt x="1379303" y="769532"/>
                    <a:pt x="1377876" y="773526"/>
                  </a:cubicBezTo>
                  <a:cubicBezTo>
                    <a:pt x="1376448" y="777551"/>
                    <a:pt x="1375083" y="781545"/>
                    <a:pt x="1373656" y="785569"/>
                  </a:cubicBezTo>
                  <a:cubicBezTo>
                    <a:pt x="1375083" y="790229"/>
                    <a:pt x="1376448" y="794920"/>
                    <a:pt x="1377876" y="799580"/>
                  </a:cubicBezTo>
                  <a:cubicBezTo>
                    <a:pt x="1379303" y="800911"/>
                    <a:pt x="1380668" y="802273"/>
                    <a:pt x="1382096" y="803604"/>
                  </a:cubicBezTo>
                  <a:lnTo>
                    <a:pt x="1390535" y="805601"/>
                  </a:lnTo>
                  <a:cubicBezTo>
                    <a:pt x="1391901" y="806933"/>
                    <a:pt x="1393328" y="808264"/>
                    <a:pt x="1394693" y="809596"/>
                  </a:cubicBezTo>
                  <a:cubicBezTo>
                    <a:pt x="1396121" y="810261"/>
                    <a:pt x="1397486" y="810957"/>
                    <a:pt x="1398913" y="811623"/>
                  </a:cubicBezTo>
                  <a:cubicBezTo>
                    <a:pt x="1399596" y="812955"/>
                    <a:pt x="1400341" y="814286"/>
                    <a:pt x="1401023" y="815617"/>
                  </a:cubicBezTo>
                  <a:lnTo>
                    <a:pt x="1394693" y="825633"/>
                  </a:lnTo>
                  <a:cubicBezTo>
                    <a:pt x="1393328" y="828962"/>
                    <a:pt x="1391901" y="832321"/>
                    <a:pt x="1390535" y="835649"/>
                  </a:cubicBezTo>
                  <a:lnTo>
                    <a:pt x="1390528" y="835653"/>
                  </a:lnTo>
                  <a:cubicBezTo>
                    <a:pt x="1389813" y="854376"/>
                    <a:pt x="1389099" y="873099"/>
                    <a:pt x="1388384" y="891787"/>
                  </a:cubicBezTo>
                  <a:lnTo>
                    <a:pt x="1388384" y="943848"/>
                  </a:lnTo>
                  <a:lnTo>
                    <a:pt x="1388384" y="1052083"/>
                  </a:lnTo>
                  <a:cubicBezTo>
                    <a:pt x="1389099" y="1054071"/>
                    <a:pt x="1389813" y="1056128"/>
                    <a:pt x="1390528" y="1058116"/>
                  </a:cubicBezTo>
                  <a:lnTo>
                    <a:pt x="1398922" y="1064113"/>
                  </a:lnTo>
                  <a:lnTo>
                    <a:pt x="1419937" y="1074121"/>
                  </a:lnTo>
                  <a:lnTo>
                    <a:pt x="1430474" y="1078131"/>
                  </a:lnTo>
                  <a:lnTo>
                    <a:pt x="1436785" y="1084129"/>
                  </a:lnTo>
                  <a:cubicBezTo>
                    <a:pt x="1438868" y="1087476"/>
                    <a:pt x="1441012" y="1090824"/>
                    <a:pt x="1443095" y="1094171"/>
                  </a:cubicBezTo>
                  <a:lnTo>
                    <a:pt x="1443095" y="1104179"/>
                  </a:lnTo>
                  <a:lnTo>
                    <a:pt x="1443084" y="1104186"/>
                  </a:lnTo>
                  <a:lnTo>
                    <a:pt x="1443095" y="1104186"/>
                  </a:lnTo>
                  <a:lnTo>
                    <a:pt x="1443095" y="1114206"/>
                  </a:lnTo>
                  <a:lnTo>
                    <a:pt x="1445198" y="1120218"/>
                  </a:lnTo>
                  <a:lnTo>
                    <a:pt x="1451509" y="1138254"/>
                  </a:lnTo>
                  <a:lnTo>
                    <a:pt x="1451509" y="1146270"/>
                  </a:lnTo>
                  <a:lnTo>
                    <a:pt x="1447302" y="1154286"/>
                  </a:lnTo>
                  <a:lnTo>
                    <a:pt x="1451509" y="1160297"/>
                  </a:lnTo>
                  <a:lnTo>
                    <a:pt x="1455716" y="1168313"/>
                  </a:lnTo>
                  <a:lnTo>
                    <a:pt x="1457820" y="1170317"/>
                  </a:lnTo>
                  <a:lnTo>
                    <a:pt x="1464131" y="1174325"/>
                  </a:lnTo>
                  <a:lnTo>
                    <a:pt x="1474649" y="1176329"/>
                  </a:lnTo>
                  <a:lnTo>
                    <a:pt x="1478856" y="1178333"/>
                  </a:lnTo>
                  <a:lnTo>
                    <a:pt x="1483064" y="1180337"/>
                  </a:lnTo>
                  <a:lnTo>
                    <a:pt x="1485167" y="1186349"/>
                  </a:lnTo>
                  <a:lnTo>
                    <a:pt x="1483064" y="1190357"/>
                  </a:lnTo>
                  <a:lnTo>
                    <a:pt x="1483064" y="1198373"/>
                  </a:lnTo>
                  <a:lnTo>
                    <a:pt x="1483064" y="1206389"/>
                  </a:lnTo>
                  <a:lnTo>
                    <a:pt x="1485167" y="1220417"/>
                  </a:lnTo>
                  <a:lnTo>
                    <a:pt x="1487271" y="1236448"/>
                  </a:lnTo>
                  <a:lnTo>
                    <a:pt x="1485167" y="1240456"/>
                  </a:lnTo>
                  <a:lnTo>
                    <a:pt x="1478856" y="1248472"/>
                  </a:lnTo>
                  <a:lnTo>
                    <a:pt x="1472546" y="1254484"/>
                  </a:lnTo>
                  <a:lnTo>
                    <a:pt x="1466235" y="1256488"/>
                  </a:lnTo>
                  <a:lnTo>
                    <a:pt x="1462027" y="1260496"/>
                  </a:lnTo>
                  <a:lnTo>
                    <a:pt x="1457820" y="1274524"/>
                  </a:lnTo>
                  <a:lnTo>
                    <a:pt x="1457820" y="1286548"/>
                  </a:lnTo>
                  <a:lnTo>
                    <a:pt x="1462027" y="1296567"/>
                  </a:lnTo>
                  <a:lnTo>
                    <a:pt x="1466235" y="1302579"/>
                  </a:lnTo>
                  <a:lnTo>
                    <a:pt x="1474649" y="1310595"/>
                  </a:lnTo>
                  <a:lnTo>
                    <a:pt x="1483064" y="1316607"/>
                  </a:lnTo>
                  <a:lnTo>
                    <a:pt x="1485167" y="1326627"/>
                  </a:lnTo>
                  <a:lnTo>
                    <a:pt x="1493582" y="1346667"/>
                  </a:lnTo>
                  <a:lnTo>
                    <a:pt x="1495686" y="1352679"/>
                  </a:lnTo>
                  <a:lnTo>
                    <a:pt x="1499893" y="1360694"/>
                  </a:lnTo>
                  <a:lnTo>
                    <a:pt x="1506204" y="1366706"/>
                  </a:lnTo>
                  <a:lnTo>
                    <a:pt x="1516722" y="1366706"/>
                  </a:lnTo>
                  <a:lnTo>
                    <a:pt x="1514618" y="1356687"/>
                  </a:lnTo>
                  <a:lnTo>
                    <a:pt x="1516722" y="1350675"/>
                  </a:lnTo>
                  <a:lnTo>
                    <a:pt x="1525137" y="1348671"/>
                  </a:lnTo>
                  <a:lnTo>
                    <a:pt x="1531447" y="1348671"/>
                  </a:lnTo>
                  <a:lnTo>
                    <a:pt x="1552484" y="1350675"/>
                  </a:lnTo>
                  <a:lnTo>
                    <a:pt x="1569313" y="1352679"/>
                  </a:lnTo>
                  <a:lnTo>
                    <a:pt x="1577728" y="1352679"/>
                  </a:lnTo>
                  <a:lnTo>
                    <a:pt x="1581935" y="1350675"/>
                  </a:lnTo>
                  <a:lnTo>
                    <a:pt x="1588246" y="1348671"/>
                  </a:lnTo>
                  <a:lnTo>
                    <a:pt x="1592453" y="1348671"/>
                  </a:lnTo>
                  <a:lnTo>
                    <a:pt x="1594557" y="1352679"/>
                  </a:lnTo>
                  <a:lnTo>
                    <a:pt x="1626111" y="1380734"/>
                  </a:lnTo>
                  <a:lnTo>
                    <a:pt x="1630319" y="1386746"/>
                  </a:lnTo>
                  <a:lnTo>
                    <a:pt x="1630319" y="1390754"/>
                  </a:lnTo>
                  <a:lnTo>
                    <a:pt x="1626111" y="1400774"/>
                  </a:lnTo>
                  <a:lnTo>
                    <a:pt x="1621904" y="1408790"/>
                  </a:lnTo>
                  <a:lnTo>
                    <a:pt x="1615593" y="1416806"/>
                  </a:lnTo>
                  <a:lnTo>
                    <a:pt x="1619800" y="1418810"/>
                  </a:lnTo>
                  <a:lnTo>
                    <a:pt x="1619800" y="1422818"/>
                  </a:lnTo>
                  <a:lnTo>
                    <a:pt x="1626111" y="1430833"/>
                  </a:lnTo>
                  <a:lnTo>
                    <a:pt x="1630319" y="1438849"/>
                  </a:lnTo>
                  <a:lnTo>
                    <a:pt x="1632422" y="1446865"/>
                  </a:lnTo>
                  <a:lnTo>
                    <a:pt x="1630319" y="1452877"/>
                  </a:lnTo>
                  <a:lnTo>
                    <a:pt x="1624008" y="1462897"/>
                  </a:lnTo>
                  <a:lnTo>
                    <a:pt x="1619800" y="1472917"/>
                  </a:lnTo>
                  <a:lnTo>
                    <a:pt x="1615593" y="1482937"/>
                  </a:lnTo>
                  <a:lnTo>
                    <a:pt x="1615593" y="1494960"/>
                  </a:lnTo>
                  <a:lnTo>
                    <a:pt x="1621904" y="1508988"/>
                  </a:lnTo>
                  <a:lnTo>
                    <a:pt x="1632422" y="1523016"/>
                  </a:lnTo>
                  <a:lnTo>
                    <a:pt x="1506204" y="1521012"/>
                  </a:lnTo>
                  <a:lnTo>
                    <a:pt x="1497789" y="1521012"/>
                  </a:lnTo>
                  <a:lnTo>
                    <a:pt x="1493582" y="1519008"/>
                  </a:lnTo>
                  <a:lnTo>
                    <a:pt x="1483064" y="1508988"/>
                  </a:lnTo>
                  <a:lnTo>
                    <a:pt x="1474649" y="1502976"/>
                  </a:lnTo>
                  <a:lnTo>
                    <a:pt x="1466235" y="1502976"/>
                  </a:lnTo>
                  <a:lnTo>
                    <a:pt x="1457820" y="1504980"/>
                  </a:lnTo>
                  <a:lnTo>
                    <a:pt x="1447302" y="1504980"/>
                  </a:lnTo>
                  <a:lnTo>
                    <a:pt x="1443095" y="1504980"/>
                  </a:lnTo>
                  <a:lnTo>
                    <a:pt x="1436784" y="1508988"/>
                  </a:lnTo>
                  <a:lnTo>
                    <a:pt x="1426265" y="1521012"/>
                  </a:lnTo>
                  <a:lnTo>
                    <a:pt x="1422058" y="1533036"/>
                  </a:lnTo>
                  <a:lnTo>
                    <a:pt x="1413644" y="1545060"/>
                  </a:lnTo>
                  <a:lnTo>
                    <a:pt x="1398918" y="1565099"/>
                  </a:lnTo>
                  <a:lnTo>
                    <a:pt x="1384193" y="1575119"/>
                  </a:lnTo>
                  <a:lnTo>
                    <a:pt x="1379985" y="1579127"/>
                  </a:lnTo>
                  <a:lnTo>
                    <a:pt x="1373674" y="1579127"/>
                  </a:lnTo>
                  <a:lnTo>
                    <a:pt x="1373674" y="1571111"/>
                  </a:lnTo>
                  <a:lnTo>
                    <a:pt x="1371571" y="1565099"/>
                  </a:lnTo>
                  <a:lnTo>
                    <a:pt x="1367364" y="1561091"/>
                  </a:lnTo>
                  <a:lnTo>
                    <a:pt x="1361053" y="1559088"/>
                  </a:lnTo>
                  <a:lnTo>
                    <a:pt x="1348431" y="1553076"/>
                  </a:lnTo>
                  <a:lnTo>
                    <a:pt x="1335809" y="1549068"/>
                  </a:lnTo>
                  <a:lnTo>
                    <a:pt x="1325291" y="1539048"/>
                  </a:lnTo>
                  <a:lnTo>
                    <a:pt x="1314773" y="1523016"/>
                  </a:lnTo>
                  <a:lnTo>
                    <a:pt x="1304254" y="1510992"/>
                  </a:lnTo>
                  <a:lnTo>
                    <a:pt x="1295840" y="1500972"/>
                  </a:lnTo>
                  <a:lnTo>
                    <a:pt x="1245352" y="1450873"/>
                  </a:lnTo>
                  <a:lnTo>
                    <a:pt x="1230627" y="1438849"/>
                  </a:lnTo>
                  <a:lnTo>
                    <a:pt x="1218005" y="1426825"/>
                  </a:lnTo>
                  <a:lnTo>
                    <a:pt x="1201176" y="1418810"/>
                  </a:lnTo>
                  <a:lnTo>
                    <a:pt x="1182243" y="1410794"/>
                  </a:lnTo>
                  <a:lnTo>
                    <a:pt x="1144378" y="1396766"/>
                  </a:lnTo>
                  <a:lnTo>
                    <a:pt x="1106512" y="1378730"/>
                  </a:lnTo>
                  <a:lnTo>
                    <a:pt x="1087579" y="1368710"/>
                  </a:lnTo>
                  <a:lnTo>
                    <a:pt x="1072854" y="1356687"/>
                  </a:lnTo>
                  <a:lnTo>
                    <a:pt x="1060232" y="1342659"/>
                  </a:lnTo>
                  <a:lnTo>
                    <a:pt x="1045507" y="1326627"/>
                  </a:lnTo>
                  <a:lnTo>
                    <a:pt x="1043403" y="1322619"/>
                  </a:lnTo>
                  <a:lnTo>
                    <a:pt x="1039196" y="1320615"/>
                  </a:lnTo>
                  <a:lnTo>
                    <a:pt x="1028678" y="1316607"/>
                  </a:lnTo>
                  <a:lnTo>
                    <a:pt x="1018159" y="1312599"/>
                  </a:lnTo>
                  <a:lnTo>
                    <a:pt x="1016056" y="1312599"/>
                  </a:lnTo>
                  <a:lnTo>
                    <a:pt x="1011848" y="1310595"/>
                  </a:lnTo>
                  <a:lnTo>
                    <a:pt x="1007641" y="1302579"/>
                  </a:lnTo>
                  <a:lnTo>
                    <a:pt x="1005538" y="1296567"/>
                  </a:lnTo>
                  <a:lnTo>
                    <a:pt x="990812" y="1286548"/>
                  </a:lnTo>
                  <a:lnTo>
                    <a:pt x="980294" y="1274524"/>
                  </a:lnTo>
                  <a:lnTo>
                    <a:pt x="970406" y="1261336"/>
                  </a:lnTo>
                  <a:lnTo>
                    <a:pt x="969779" y="1264506"/>
                  </a:lnTo>
                  <a:lnTo>
                    <a:pt x="969779" y="1288549"/>
                  </a:lnTo>
                  <a:cubicBezTo>
                    <a:pt x="969092" y="1291902"/>
                    <a:pt x="968375" y="1295207"/>
                    <a:pt x="967688" y="1298559"/>
                  </a:cubicBezTo>
                  <a:lnTo>
                    <a:pt x="967688" y="1306606"/>
                  </a:lnTo>
                  <a:cubicBezTo>
                    <a:pt x="966971" y="1308617"/>
                    <a:pt x="966284" y="1310581"/>
                    <a:pt x="965567" y="1312592"/>
                  </a:cubicBezTo>
                  <a:lnTo>
                    <a:pt x="957143" y="1316616"/>
                  </a:lnTo>
                  <a:lnTo>
                    <a:pt x="946628" y="1318627"/>
                  </a:lnTo>
                  <a:lnTo>
                    <a:pt x="934022" y="1318627"/>
                  </a:lnTo>
                  <a:lnTo>
                    <a:pt x="915084" y="1320639"/>
                  </a:lnTo>
                  <a:lnTo>
                    <a:pt x="915084" y="1322602"/>
                  </a:lnTo>
                  <a:lnTo>
                    <a:pt x="915084" y="1326626"/>
                  </a:lnTo>
                  <a:cubicBezTo>
                    <a:pt x="915771" y="1327967"/>
                    <a:pt x="916488" y="1329308"/>
                    <a:pt x="917175" y="1330649"/>
                  </a:cubicBezTo>
                  <a:cubicBezTo>
                    <a:pt x="916488" y="1332660"/>
                    <a:pt x="915771" y="1334624"/>
                    <a:pt x="915084" y="1336636"/>
                  </a:cubicBezTo>
                  <a:lnTo>
                    <a:pt x="912993" y="1338647"/>
                  </a:lnTo>
                  <a:lnTo>
                    <a:pt x="910872" y="1338647"/>
                  </a:lnTo>
                  <a:lnTo>
                    <a:pt x="900357" y="1340659"/>
                  </a:lnTo>
                  <a:lnTo>
                    <a:pt x="885630" y="1340659"/>
                  </a:lnTo>
                  <a:lnTo>
                    <a:pt x="860389" y="1340659"/>
                  </a:lnTo>
                  <a:cubicBezTo>
                    <a:pt x="861076" y="1346023"/>
                    <a:pt x="861793" y="1351339"/>
                    <a:pt x="862480" y="1356703"/>
                  </a:cubicBezTo>
                  <a:lnTo>
                    <a:pt x="870904" y="1370737"/>
                  </a:lnTo>
                  <a:lnTo>
                    <a:pt x="875116" y="1388745"/>
                  </a:lnTo>
                  <a:lnTo>
                    <a:pt x="879328" y="1402778"/>
                  </a:lnTo>
                  <a:lnTo>
                    <a:pt x="868813" y="1398755"/>
                  </a:lnTo>
                  <a:lnTo>
                    <a:pt x="860389" y="1392768"/>
                  </a:lnTo>
                  <a:lnTo>
                    <a:pt x="849874" y="1380747"/>
                  </a:lnTo>
                  <a:lnTo>
                    <a:pt x="839359" y="1368725"/>
                  </a:lnTo>
                  <a:lnTo>
                    <a:pt x="826724" y="1352680"/>
                  </a:lnTo>
                  <a:lnTo>
                    <a:pt x="805694" y="1332660"/>
                  </a:lnTo>
                  <a:lnTo>
                    <a:pt x="797270" y="1322602"/>
                  </a:lnTo>
                  <a:lnTo>
                    <a:pt x="788876" y="1312592"/>
                  </a:lnTo>
                  <a:cubicBezTo>
                    <a:pt x="788159" y="1309240"/>
                    <a:pt x="787472" y="1305935"/>
                    <a:pt x="786755" y="1302582"/>
                  </a:cubicBezTo>
                  <a:lnTo>
                    <a:pt x="786755" y="1290561"/>
                  </a:lnTo>
                  <a:lnTo>
                    <a:pt x="786755" y="1278539"/>
                  </a:lnTo>
                  <a:cubicBezTo>
                    <a:pt x="787472" y="1272504"/>
                    <a:pt x="788159" y="1266518"/>
                    <a:pt x="788876" y="1260483"/>
                  </a:cubicBezTo>
                  <a:cubicBezTo>
                    <a:pt x="790967" y="1255789"/>
                    <a:pt x="793088" y="1251143"/>
                    <a:pt x="795179" y="1246450"/>
                  </a:cubicBezTo>
                  <a:lnTo>
                    <a:pt x="795179" y="1230453"/>
                  </a:lnTo>
                  <a:lnTo>
                    <a:pt x="795179" y="1218431"/>
                  </a:lnTo>
                  <a:lnTo>
                    <a:pt x="790967" y="1206410"/>
                  </a:lnTo>
                  <a:lnTo>
                    <a:pt x="784664" y="1178343"/>
                  </a:lnTo>
                  <a:lnTo>
                    <a:pt x="774150" y="1150277"/>
                  </a:lnTo>
                  <a:cubicBezTo>
                    <a:pt x="772029" y="1143620"/>
                    <a:pt x="769938" y="1136914"/>
                    <a:pt x="767817" y="1130257"/>
                  </a:cubicBezTo>
                  <a:cubicBezTo>
                    <a:pt x="765009" y="1121588"/>
                    <a:pt x="762231" y="1112871"/>
                    <a:pt x="759423" y="1104202"/>
                  </a:cubicBezTo>
                  <a:lnTo>
                    <a:pt x="755211" y="1094144"/>
                  </a:lnTo>
                  <a:lnTo>
                    <a:pt x="746787" y="1086145"/>
                  </a:lnTo>
                  <a:lnTo>
                    <a:pt x="742575" y="1086145"/>
                  </a:lnTo>
                  <a:lnTo>
                    <a:pt x="736272" y="1086145"/>
                  </a:lnTo>
                  <a:lnTo>
                    <a:pt x="732061" y="1086145"/>
                  </a:lnTo>
                  <a:lnTo>
                    <a:pt x="725758" y="1090169"/>
                  </a:lnTo>
                  <a:lnTo>
                    <a:pt x="721546" y="1074124"/>
                  </a:lnTo>
                  <a:lnTo>
                    <a:pt x="713122" y="1046058"/>
                  </a:lnTo>
                  <a:cubicBezTo>
                    <a:pt x="712435" y="1038059"/>
                    <a:pt x="711718" y="1030013"/>
                    <a:pt x="711031" y="1022014"/>
                  </a:cubicBezTo>
                  <a:cubicBezTo>
                    <a:pt x="711718" y="1019332"/>
                    <a:pt x="712435" y="1016698"/>
                    <a:pt x="713122" y="1014016"/>
                  </a:cubicBezTo>
                  <a:cubicBezTo>
                    <a:pt x="713839" y="1012004"/>
                    <a:pt x="714526" y="1009993"/>
                    <a:pt x="715243" y="1007981"/>
                  </a:cubicBezTo>
                  <a:lnTo>
                    <a:pt x="721546" y="1007981"/>
                  </a:lnTo>
                  <a:lnTo>
                    <a:pt x="723667" y="1005970"/>
                  </a:lnTo>
                  <a:lnTo>
                    <a:pt x="727849" y="995960"/>
                  </a:lnTo>
                  <a:lnTo>
                    <a:pt x="732061" y="985950"/>
                  </a:lnTo>
                  <a:lnTo>
                    <a:pt x="727849" y="971916"/>
                  </a:lnTo>
                  <a:cubicBezTo>
                    <a:pt x="726445" y="962577"/>
                    <a:pt x="725071" y="953190"/>
                    <a:pt x="723667" y="943850"/>
                  </a:cubicBezTo>
                  <a:lnTo>
                    <a:pt x="721585" y="926170"/>
                  </a:lnTo>
                  <a:cubicBezTo>
                    <a:pt x="718966" y="917104"/>
                    <a:pt x="715873" y="906748"/>
                    <a:pt x="715037" y="903157"/>
                  </a:cubicBezTo>
                  <a:lnTo>
                    <a:pt x="715037" y="883116"/>
                  </a:lnTo>
                  <a:lnTo>
                    <a:pt x="715037" y="867090"/>
                  </a:lnTo>
                  <a:lnTo>
                    <a:pt x="721345" y="851053"/>
                  </a:lnTo>
                  <a:lnTo>
                    <a:pt x="721345" y="853061"/>
                  </a:lnTo>
                  <a:lnTo>
                    <a:pt x="723448" y="853061"/>
                  </a:lnTo>
                  <a:lnTo>
                    <a:pt x="729767" y="849057"/>
                  </a:lnTo>
                  <a:lnTo>
                    <a:pt x="733972" y="845053"/>
                  </a:lnTo>
                  <a:cubicBezTo>
                    <a:pt x="734673" y="843715"/>
                    <a:pt x="735364" y="842377"/>
                    <a:pt x="736075" y="841038"/>
                  </a:cubicBezTo>
                  <a:lnTo>
                    <a:pt x="736075" y="839031"/>
                  </a:lnTo>
                  <a:lnTo>
                    <a:pt x="740281" y="837035"/>
                  </a:lnTo>
                  <a:lnTo>
                    <a:pt x="746589" y="837035"/>
                  </a:lnTo>
                  <a:lnTo>
                    <a:pt x="755011" y="837035"/>
                  </a:lnTo>
                  <a:lnTo>
                    <a:pt x="763422" y="837035"/>
                  </a:lnTo>
                  <a:lnTo>
                    <a:pt x="773936" y="837035"/>
                  </a:lnTo>
                  <a:lnTo>
                    <a:pt x="786563" y="835027"/>
                  </a:lnTo>
                  <a:lnTo>
                    <a:pt x="794974" y="837035"/>
                  </a:lnTo>
                  <a:lnTo>
                    <a:pt x="803385" y="841038"/>
                  </a:lnTo>
                  <a:cubicBezTo>
                    <a:pt x="804096" y="843715"/>
                    <a:pt x="804787" y="846380"/>
                    <a:pt x="805498" y="849057"/>
                  </a:cubicBezTo>
                  <a:cubicBezTo>
                    <a:pt x="806890" y="855737"/>
                    <a:pt x="808302" y="862417"/>
                    <a:pt x="809704" y="869086"/>
                  </a:cubicBezTo>
                  <a:cubicBezTo>
                    <a:pt x="811095" y="875767"/>
                    <a:pt x="812508" y="882458"/>
                    <a:pt x="813909" y="889138"/>
                  </a:cubicBezTo>
                  <a:lnTo>
                    <a:pt x="816012" y="897146"/>
                  </a:lnTo>
                  <a:lnTo>
                    <a:pt x="818115" y="899153"/>
                  </a:lnTo>
                  <a:lnTo>
                    <a:pt x="818115" y="901149"/>
                  </a:lnTo>
                  <a:lnTo>
                    <a:pt x="817396" y="903157"/>
                  </a:lnTo>
                  <a:lnTo>
                    <a:pt x="813909" y="903157"/>
                  </a:lnTo>
                  <a:lnTo>
                    <a:pt x="809704" y="909179"/>
                  </a:lnTo>
                  <a:lnTo>
                    <a:pt x="809704" y="913183"/>
                  </a:lnTo>
                  <a:lnTo>
                    <a:pt x="809704" y="919194"/>
                  </a:lnTo>
                  <a:lnTo>
                    <a:pt x="809403" y="919270"/>
                  </a:lnTo>
                  <a:lnTo>
                    <a:pt x="810140" y="923408"/>
                  </a:lnTo>
                  <a:lnTo>
                    <a:pt x="817396" y="903157"/>
                  </a:lnTo>
                  <a:lnTo>
                    <a:pt x="818115" y="903157"/>
                  </a:lnTo>
                  <a:lnTo>
                    <a:pt x="818115" y="907172"/>
                  </a:lnTo>
                  <a:lnTo>
                    <a:pt x="810536" y="925632"/>
                  </a:lnTo>
                  <a:lnTo>
                    <a:pt x="811997" y="933840"/>
                  </a:lnTo>
                  <a:cubicBezTo>
                    <a:pt x="811310" y="937863"/>
                    <a:pt x="810593" y="941839"/>
                    <a:pt x="809906" y="945862"/>
                  </a:cubicBezTo>
                  <a:cubicBezTo>
                    <a:pt x="809189" y="949214"/>
                    <a:pt x="808502" y="952519"/>
                    <a:pt x="807785" y="955872"/>
                  </a:cubicBezTo>
                  <a:cubicBezTo>
                    <a:pt x="808502" y="957883"/>
                    <a:pt x="809189" y="959895"/>
                    <a:pt x="809906" y="961906"/>
                  </a:cubicBezTo>
                  <a:lnTo>
                    <a:pt x="811997" y="963918"/>
                  </a:lnTo>
                  <a:lnTo>
                    <a:pt x="807785" y="963918"/>
                  </a:lnTo>
                  <a:lnTo>
                    <a:pt x="801482" y="965930"/>
                  </a:lnTo>
                  <a:lnTo>
                    <a:pt x="807785" y="975940"/>
                  </a:lnTo>
                  <a:lnTo>
                    <a:pt x="816209" y="985950"/>
                  </a:lnTo>
                  <a:lnTo>
                    <a:pt x="828845" y="997971"/>
                  </a:lnTo>
                  <a:lnTo>
                    <a:pt x="843571" y="1012004"/>
                  </a:lnTo>
                  <a:lnTo>
                    <a:pt x="860389" y="1024026"/>
                  </a:lnTo>
                  <a:lnTo>
                    <a:pt x="868813" y="1028049"/>
                  </a:lnTo>
                  <a:lnTo>
                    <a:pt x="873025" y="1028049"/>
                  </a:lnTo>
                  <a:lnTo>
                    <a:pt x="881419" y="1026038"/>
                  </a:lnTo>
                  <a:lnTo>
                    <a:pt x="889842" y="1026038"/>
                  </a:lnTo>
                  <a:lnTo>
                    <a:pt x="891933" y="1026038"/>
                  </a:lnTo>
                  <a:lnTo>
                    <a:pt x="894054" y="1024026"/>
                  </a:lnTo>
                  <a:lnTo>
                    <a:pt x="896145" y="1024026"/>
                  </a:lnTo>
                  <a:lnTo>
                    <a:pt x="900357" y="1026038"/>
                  </a:lnTo>
                  <a:lnTo>
                    <a:pt x="904569" y="1038059"/>
                  </a:lnTo>
                  <a:cubicBezTo>
                    <a:pt x="905256" y="1040071"/>
                    <a:pt x="905973" y="1042034"/>
                    <a:pt x="906660" y="1044046"/>
                  </a:cubicBezTo>
                  <a:lnTo>
                    <a:pt x="912993" y="1052092"/>
                  </a:lnTo>
                  <a:lnTo>
                    <a:pt x="917175" y="1054104"/>
                  </a:lnTo>
                  <a:lnTo>
                    <a:pt x="925599" y="1056115"/>
                  </a:lnTo>
                  <a:lnTo>
                    <a:pt x="942416" y="1062102"/>
                  </a:lnTo>
                  <a:lnTo>
                    <a:pt x="936113" y="1068137"/>
                  </a:lnTo>
                  <a:lnTo>
                    <a:pt x="927720" y="1078147"/>
                  </a:lnTo>
                  <a:lnTo>
                    <a:pt x="936113" y="1074124"/>
                  </a:lnTo>
                  <a:lnTo>
                    <a:pt x="942416" y="1070101"/>
                  </a:lnTo>
                  <a:lnTo>
                    <a:pt x="946628" y="1074124"/>
                  </a:lnTo>
                  <a:lnTo>
                    <a:pt x="952961" y="1076135"/>
                  </a:lnTo>
                  <a:lnTo>
                    <a:pt x="957143" y="1086145"/>
                  </a:lnTo>
                  <a:lnTo>
                    <a:pt x="963476" y="1088157"/>
                  </a:lnTo>
                  <a:lnTo>
                    <a:pt x="965567" y="1088157"/>
                  </a:lnTo>
                  <a:lnTo>
                    <a:pt x="969779" y="1088157"/>
                  </a:lnTo>
                  <a:lnTo>
                    <a:pt x="976082" y="1084134"/>
                  </a:lnTo>
                  <a:lnTo>
                    <a:pt x="980294" y="1080159"/>
                  </a:lnTo>
                  <a:lnTo>
                    <a:pt x="986597" y="1084134"/>
                  </a:lnTo>
                  <a:lnTo>
                    <a:pt x="990808" y="1090169"/>
                  </a:lnTo>
                  <a:cubicBezTo>
                    <a:pt x="992899" y="1094862"/>
                    <a:pt x="995020" y="1099508"/>
                    <a:pt x="997111" y="1104202"/>
                  </a:cubicBezTo>
                  <a:lnTo>
                    <a:pt x="1001323" y="1114212"/>
                  </a:lnTo>
                  <a:lnTo>
                    <a:pt x="1009747" y="1124222"/>
                  </a:lnTo>
                  <a:lnTo>
                    <a:pt x="1005066" y="1125340"/>
                  </a:lnTo>
                  <a:lnTo>
                    <a:pt x="1009745" y="1124226"/>
                  </a:lnTo>
                  <a:lnTo>
                    <a:pt x="1030781" y="1130238"/>
                  </a:lnTo>
                  <a:lnTo>
                    <a:pt x="1043403" y="1130238"/>
                  </a:lnTo>
                  <a:lnTo>
                    <a:pt x="1049714" y="1130238"/>
                  </a:lnTo>
                  <a:lnTo>
                    <a:pt x="1051818" y="1128234"/>
                  </a:lnTo>
                  <a:lnTo>
                    <a:pt x="1056025" y="1124226"/>
                  </a:lnTo>
                  <a:lnTo>
                    <a:pt x="1060232" y="1120218"/>
                  </a:lnTo>
                  <a:lnTo>
                    <a:pt x="1070750" y="1118214"/>
                  </a:lnTo>
                  <a:lnTo>
                    <a:pt x="1081269" y="1118214"/>
                  </a:lnTo>
                  <a:lnTo>
                    <a:pt x="1087576" y="1116211"/>
                  </a:lnTo>
                  <a:lnTo>
                    <a:pt x="1087564" y="1116209"/>
                  </a:lnTo>
                  <a:lnTo>
                    <a:pt x="1077086" y="1114222"/>
                  </a:lnTo>
                  <a:lnTo>
                    <a:pt x="1064465" y="1114222"/>
                  </a:lnTo>
                  <a:lnTo>
                    <a:pt x="1051844" y="1110177"/>
                  </a:lnTo>
                  <a:lnTo>
                    <a:pt x="1039223" y="1108189"/>
                  </a:lnTo>
                  <a:lnTo>
                    <a:pt x="1039223" y="1104179"/>
                  </a:lnTo>
                  <a:lnTo>
                    <a:pt x="1039223" y="1100203"/>
                  </a:lnTo>
                  <a:cubicBezTo>
                    <a:pt x="1037794" y="1098181"/>
                    <a:pt x="1036425" y="1096159"/>
                    <a:pt x="1034996" y="1094171"/>
                  </a:cubicBezTo>
                  <a:cubicBezTo>
                    <a:pt x="1034282" y="1092149"/>
                    <a:pt x="1033627" y="1090161"/>
                    <a:pt x="1032913" y="1088173"/>
                  </a:cubicBezTo>
                  <a:lnTo>
                    <a:pt x="1020292" y="1084129"/>
                  </a:lnTo>
                  <a:cubicBezTo>
                    <a:pt x="1018863" y="1085454"/>
                    <a:pt x="1017494" y="1086848"/>
                    <a:pt x="1016065" y="1088173"/>
                  </a:cubicBezTo>
                  <a:lnTo>
                    <a:pt x="1009754" y="1088173"/>
                  </a:lnTo>
                  <a:lnTo>
                    <a:pt x="1007671" y="1088173"/>
                  </a:lnTo>
                  <a:cubicBezTo>
                    <a:pt x="1006956" y="1087511"/>
                    <a:pt x="1006242" y="1086814"/>
                    <a:pt x="1005528" y="1086151"/>
                  </a:cubicBezTo>
                  <a:cubicBezTo>
                    <a:pt x="1003444" y="1080119"/>
                    <a:pt x="1001301" y="1074121"/>
                    <a:pt x="999217" y="1068089"/>
                  </a:cubicBezTo>
                  <a:cubicBezTo>
                    <a:pt x="997788" y="1062788"/>
                    <a:pt x="996419" y="1057418"/>
                    <a:pt x="994990" y="1052083"/>
                  </a:cubicBezTo>
                  <a:lnTo>
                    <a:pt x="978202" y="1024013"/>
                  </a:lnTo>
                  <a:cubicBezTo>
                    <a:pt x="976773" y="1018678"/>
                    <a:pt x="975404" y="1013343"/>
                    <a:pt x="973975" y="1008008"/>
                  </a:cubicBezTo>
                  <a:lnTo>
                    <a:pt x="973975" y="991968"/>
                  </a:lnTo>
                  <a:lnTo>
                    <a:pt x="973975" y="975928"/>
                  </a:lnTo>
                  <a:cubicBezTo>
                    <a:pt x="971891" y="971953"/>
                    <a:pt x="969748" y="967908"/>
                    <a:pt x="967665" y="963898"/>
                  </a:cubicBezTo>
                  <a:cubicBezTo>
                    <a:pt x="966236" y="960585"/>
                    <a:pt x="964866" y="957203"/>
                    <a:pt x="963438" y="953890"/>
                  </a:cubicBezTo>
                  <a:lnTo>
                    <a:pt x="955044" y="941860"/>
                  </a:lnTo>
                  <a:lnTo>
                    <a:pt x="944506" y="923833"/>
                  </a:lnTo>
                  <a:lnTo>
                    <a:pt x="934028" y="921845"/>
                  </a:lnTo>
                  <a:cubicBezTo>
                    <a:pt x="931945" y="920485"/>
                    <a:pt x="929801" y="919160"/>
                    <a:pt x="927718" y="917835"/>
                  </a:cubicBezTo>
                  <a:lnTo>
                    <a:pt x="927718" y="921845"/>
                  </a:lnTo>
                  <a:lnTo>
                    <a:pt x="925575" y="921845"/>
                  </a:lnTo>
                  <a:lnTo>
                    <a:pt x="921407" y="921845"/>
                  </a:lnTo>
                  <a:lnTo>
                    <a:pt x="915097" y="921845"/>
                  </a:lnTo>
                  <a:cubicBezTo>
                    <a:pt x="914382" y="920520"/>
                    <a:pt x="913668" y="919160"/>
                    <a:pt x="912954" y="917835"/>
                  </a:cubicBezTo>
                  <a:lnTo>
                    <a:pt x="912954" y="915813"/>
                  </a:lnTo>
                  <a:cubicBezTo>
                    <a:pt x="913668" y="915150"/>
                    <a:pt x="914382" y="914453"/>
                    <a:pt x="915097" y="913790"/>
                  </a:cubicBezTo>
                  <a:cubicBezTo>
                    <a:pt x="915811" y="913128"/>
                    <a:pt x="916466" y="912465"/>
                    <a:pt x="917180" y="911803"/>
                  </a:cubicBezTo>
                  <a:lnTo>
                    <a:pt x="921407" y="911803"/>
                  </a:lnTo>
                  <a:lnTo>
                    <a:pt x="921407" y="905805"/>
                  </a:lnTo>
                  <a:cubicBezTo>
                    <a:pt x="919978" y="905142"/>
                    <a:pt x="918609" y="904480"/>
                    <a:pt x="917180" y="903817"/>
                  </a:cubicBezTo>
                  <a:cubicBezTo>
                    <a:pt x="916466" y="903155"/>
                    <a:pt x="915811" y="902423"/>
                    <a:pt x="915097" y="901760"/>
                  </a:cubicBezTo>
                  <a:lnTo>
                    <a:pt x="906643" y="901760"/>
                  </a:lnTo>
                  <a:cubicBezTo>
                    <a:pt x="905929" y="900435"/>
                    <a:pt x="905274" y="899110"/>
                    <a:pt x="904559" y="897785"/>
                  </a:cubicBezTo>
                  <a:lnTo>
                    <a:pt x="902476" y="897785"/>
                  </a:lnTo>
                  <a:cubicBezTo>
                    <a:pt x="903190" y="896425"/>
                    <a:pt x="903845" y="895100"/>
                    <a:pt x="904559" y="893775"/>
                  </a:cubicBezTo>
                  <a:cubicBezTo>
                    <a:pt x="905274" y="893112"/>
                    <a:pt x="905929" y="892450"/>
                    <a:pt x="906643" y="891787"/>
                  </a:cubicBezTo>
                  <a:lnTo>
                    <a:pt x="917180" y="893775"/>
                  </a:lnTo>
                  <a:lnTo>
                    <a:pt x="931885" y="895762"/>
                  </a:lnTo>
                  <a:lnTo>
                    <a:pt x="931885" y="893775"/>
                  </a:lnTo>
                  <a:lnTo>
                    <a:pt x="925575" y="891787"/>
                  </a:lnTo>
                  <a:lnTo>
                    <a:pt x="915097" y="883732"/>
                  </a:lnTo>
                  <a:lnTo>
                    <a:pt x="879317" y="871702"/>
                  </a:lnTo>
                  <a:lnTo>
                    <a:pt x="860386" y="863717"/>
                  </a:lnTo>
                  <a:lnTo>
                    <a:pt x="849849" y="855697"/>
                  </a:lnTo>
                  <a:cubicBezTo>
                    <a:pt x="849134" y="854372"/>
                    <a:pt x="848479" y="853012"/>
                    <a:pt x="847765" y="851687"/>
                  </a:cubicBezTo>
                  <a:lnTo>
                    <a:pt x="847765" y="849700"/>
                  </a:lnTo>
                  <a:cubicBezTo>
                    <a:pt x="848479" y="847677"/>
                    <a:pt x="849134" y="845655"/>
                    <a:pt x="849849" y="843667"/>
                  </a:cubicBezTo>
                  <a:lnTo>
                    <a:pt x="858302" y="839657"/>
                  </a:lnTo>
                  <a:lnTo>
                    <a:pt x="851992" y="833660"/>
                  </a:lnTo>
                  <a:cubicBezTo>
                    <a:pt x="851277" y="832997"/>
                    <a:pt x="850563" y="832300"/>
                    <a:pt x="849849" y="831637"/>
                  </a:cubicBezTo>
                  <a:cubicBezTo>
                    <a:pt x="850563" y="828987"/>
                    <a:pt x="851277" y="826302"/>
                    <a:pt x="851992" y="823652"/>
                  </a:cubicBezTo>
                  <a:lnTo>
                    <a:pt x="860386" y="819642"/>
                  </a:lnTo>
                  <a:cubicBezTo>
                    <a:pt x="861100" y="817654"/>
                    <a:pt x="861755" y="815597"/>
                    <a:pt x="862470" y="813609"/>
                  </a:cubicBezTo>
                  <a:lnTo>
                    <a:pt x="862470" y="809599"/>
                  </a:lnTo>
                  <a:cubicBezTo>
                    <a:pt x="861755" y="802904"/>
                    <a:pt x="861100" y="796244"/>
                    <a:pt x="860386" y="789549"/>
                  </a:cubicBezTo>
                  <a:lnTo>
                    <a:pt x="854076" y="771526"/>
                  </a:lnTo>
                  <a:lnTo>
                    <a:pt x="854049" y="771529"/>
                  </a:lnTo>
                  <a:cubicBezTo>
                    <a:pt x="853367" y="769532"/>
                    <a:pt x="852684" y="767504"/>
                    <a:pt x="852001" y="765507"/>
                  </a:cubicBezTo>
                  <a:cubicBezTo>
                    <a:pt x="850574" y="764176"/>
                    <a:pt x="849209" y="762844"/>
                    <a:pt x="847781" y="761513"/>
                  </a:cubicBezTo>
                  <a:lnTo>
                    <a:pt x="839342" y="759516"/>
                  </a:lnTo>
                  <a:lnTo>
                    <a:pt x="828854" y="761513"/>
                  </a:lnTo>
                  <a:lnTo>
                    <a:pt x="818304" y="759516"/>
                  </a:lnTo>
                  <a:lnTo>
                    <a:pt x="805706" y="753494"/>
                  </a:lnTo>
                  <a:cubicBezTo>
                    <a:pt x="802169" y="749500"/>
                    <a:pt x="798694" y="745475"/>
                    <a:pt x="795157" y="741481"/>
                  </a:cubicBezTo>
                  <a:lnTo>
                    <a:pt x="786779" y="729437"/>
                  </a:lnTo>
                  <a:lnTo>
                    <a:pt x="780449" y="715427"/>
                  </a:lnTo>
                  <a:lnTo>
                    <a:pt x="786779" y="719421"/>
                  </a:lnTo>
                  <a:lnTo>
                    <a:pt x="790937" y="719421"/>
                  </a:lnTo>
                  <a:lnTo>
                    <a:pt x="805706" y="713400"/>
                  </a:lnTo>
                  <a:cubicBezTo>
                    <a:pt x="807816" y="710071"/>
                    <a:pt x="809864" y="706712"/>
                    <a:pt x="811974" y="703384"/>
                  </a:cubicBezTo>
                  <a:lnTo>
                    <a:pt x="818304" y="693368"/>
                  </a:lnTo>
                  <a:cubicBezTo>
                    <a:pt x="818987" y="690705"/>
                    <a:pt x="819731" y="688012"/>
                    <a:pt x="820414" y="685349"/>
                  </a:cubicBezTo>
                  <a:cubicBezTo>
                    <a:pt x="821097" y="684017"/>
                    <a:pt x="821841" y="682686"/>
                    <a:pt x="822524" y="681355"/>
                  </a:cubicBezTo>
                  <a:lnTo>
                    <a:pt x="828854" y="679357"/>
                  </a:lnTo>
                  <a:cubicBezTo>
                    <a:pt x="830219" y="678026"/>
                    <a:pt x="831646" y="676664"/>
                    <a:pt x="833012" y="675333"/>
                  </a:cubicBezTo>
                  <a:lnTo>
                    <a:pt x="847781" y="675333"/>
                  </a:lnTo>
                  <a:lnTo>
                    <a:pt x="858269" y="673336"/>
                  </a:lnTo>
                  <a:lnTo>
                    <a:pt x="864599" y="671339"/>
                  </a:lnTo>
                  <a:lnTo>
                    <a:pt x="875087" y="665317"/>
                  </a:lnTo>
                  <a:lnTo>
                    <a:pt x="881416" y="661323"/>
                  </a:lnTo>
                  <a:lnTo>
                    <a:pt x="891966" y="649279"/>
                  </a:lnTo>
                  <a:cubicBezTo>
                    <a:pt x="893331" y="647282"/>
                    <a:pt x="894759" y="645285"/>
                    <a:pt x="896124" y="643288"/>
                  </a:cubicBezTo>
                  <a:lnTo>
                    <a:pt x="904564" y="641260"/>
                  </a:lnTo>
                  <a:lnTo>
                    <a:pt x="913004" y="639263"/>
                  </a:lnTo>
                  <a:lnTo>
                    <a:pt x="925601" y="639263"/>
                  </a:lnTo>
                  <a:lnTo>
                    <a:pt x="934041" y="641260"/>
                  </a:lnTo>
                  <a:lnTo>
                    <a:pt x="942419" y="643288"/>
                  </a:lnTo>
                  <a:cubicBezTo>
                    <a:pt x="945956" y="646616"/>
                    <a:pt x="949431" y="649975"/>
                    <a:pt x="952969" y="653304"/>
                  </a:cubicBezTo>
                  <a:cubicBezTo>
                    <a:pt x="957189" y="655967"/>
                    <a:pt x="961346" y="658660"/>
                    <a:pt x="965566" y="661323"/>
                  </a:cubicBezTo>
                  <a:lnTo>
                    <a:pt x="974006" y="663320"/>
                  </a:lnTo>
                  <a:lnTo>
                    <a:pt x="980274" y="663320"/>
                  </a:lnTo>
                  <a:lnTo>
                    <a:pt x="1001311" y="659295"/>
                  </a:lnTo>
                  <a:lnTo>
                    <a:pt x="1022349" y="649279"/>
                  </a:lnTo>
                  <a:lnTo>
                    <a:pt x="1045496" y="641260"/>
                  </a:lnTo>
                  <a:lnTo>
                    <a:pt x="1056046" y="639263"/>
                  </a:lnTo>
                  <a:lnTo>
                    <a:pt x="1070754" y="639263"/>
                  </a:lnTo>
                  <a:lnTo>
                    <a:pt x="1098121" y="641260"/>
                  </a:lnTo>
                  <a:lnTo>
                    <a:pt x="1129646" y="649279"/>
                  </a:lnTo>
                  <a:lnTo>
                    <a:pt x="1171721" y="661323"/>
                  </a:lnTo>
                  <a:lnTo>
                    <a:pt x="1218016" y="669341"/>
                  </a:lnTo>
                  <a:lnTo>
                    <a:pt x="1260091" y="675333"/>
                  </a:lnTo>
                  <a:lnTo>
                    <a:pt x="1283238" y="679357"/>
                  </a:lnTo>
                  <a:lnTo>
                    <a:pt x="1293726" y="675333"/>
                  </a:lnTo>
                  <a:lnTo>
                    <a:pt x="1302166" y="673336"/>
                  </a:lnTo>
                  <a:lnTo>
                    <a:pt x="1295836" y="669341"/>
                  </a:lnTo>
                  <a:cubicBezTo>
                    <a:pt x="1294408" y="668010"/>
                    <a:pt x="1293043" y="666648"/>
                    <a:pt x="1291616" y="665317"/>
                  </a:cubicBezTo>
                  <a:lnTo>
                    <a:pt x="1283238" y="665317"/>
                  </a:lnTo>
                  <a:lnTo>
                    <a:pt x="1274798" y="665317"/>
                  </a:lnTo>
                  <a:lnTo>
                    <a:pt x="1295836" y="653304"/>
                  </a:lnTo>
                  <a:cubicBezTo>
                    <a:pt x="1298628" y="649975"/>
                    <a:pt x="1301483" y="646616"/>
                    <a:pt x="1304276" y="643288"/>
                  </a:cubicBezTo>
                  <a:lnTo>
                    <a:pt x="1308433" y="641260"/>
                  </a:lnTo>
                  <a:lnTo>
                    <a:pt x="1308433" y="637266"/>
                  </a:lnTo>
                  <a:cubicBezTo>
                    <a:pt x="1307751" y="634603"/>
                    <a:pt x="1307068" y="631910"/>
                    <a:pt x="1306386" y="629247"/>
                  </a:cubicBezTo>
                  <a:lnTo>
                    <a:pt x="1306386" y="621228"/>
                  </a:lnTo>
                  <a:cubicBezTo>
                    <a:pt x="1308496" y="619897"/>
                    <a:pt x="1310543" y="618565"/>
                    <a:pt x="1312653" y="617234"/>
                  </a:cubicBezTo>
                  <a:cubicBezTo>
                    <a:pt x="1314081" y="615903"/>
                    <a:pt x="1315446" y="614541"/>
                    <a:pt x="1316873" y="613209"/>
                  </a:cubicBezTo>
                  <a:cubicBezTo>
                    <a:pt x="1317556" y="614541"/>
                    <a:pt x="1318301" y="615903"/>
                    <a:pt x="1318983" y="617234"/>
                  </a:cubicBezTo>
                  <a:lnTo>
                    <a:pt x="1329471" y="617234"/>
                  </a:lnTo>
                  <a:lnTo>
                    <a:pt x="1337911" y="613209"/>
                  </a:lnTo>
                  <a:close/>
                  <a:moveTo>
                    <a:pt x="784662" y="533057"/>
                  </a:moveTo>
                  <a:lnTo>
                    <a:pt x="784658" y="533058"/>
                  </a:lnTo>
                  <a:lnTo>
                    <a:pt x="784663" y="533058"/>
                  </a:lnTo>
                  <a:close/>
                  <a:moveTo>
                    <a:pt x="816192" y="490916"/>
                  </a:moveTo>
                  <a:lnTo>
                    <a:pt x="816213" y="490975"/>
                  </a:lnTo>
                  <a:lnTo>
                    <a:pt x="824393" y="507675"/>
                  </a:lnTo>
                  <a:lnTo>
                    <a:pt x="816248" y="490975"/>
                  </a:lnTo>
                  <a:close/>
                  <a:moveTo>
                    <a:pt x="637054" y="154313"/>
                  </a:moveTo>
                  <a:lnTo>
                    <a:pt x="637403" y="156310"/>
                  </a:lnTo>
                  <a:lnTo>
                    <a:pt x="637401" y="156330"/>
                  </a:lnTo>
                  <a:lnTo>
                    <a:pt x="637408" y="156323"/>
                  </a:lnTo>
                  <a:close/>
                  <a:moveTo>
                    <a:pt x="321857" y="0"/>
                  </a:moveTo>
                  <a:lnTo>
                    <a:pt x="376552" y="2004"/>
                  </a:lnTo>
                  <a:lnTo>
                    <a:pt x="500666" y="4008"/>
                  </a:lnTo>
                  <a:lnTo>
                    <a:pt x="502770" y="8016"/>
                  </a:lnTo>
                  <a:lnTo>
                    <a:pt x="509081" y="14028"/>
                  </a:lnTo>
                  <a:lnTo>
                    <a:pt x="521703" y="22044"/>
                  </a:lnTo>
                  <a:lnTo>
                    <a:pt x="534325" y="26051"/>
                  </a:lnTo>
                  <a:lnTo>
                    <a:pt x="540636" y="32063"/>
                  </a:lnTo>
                  <a:lnTo>
                    <a:pt x="544843" y="36071"/>
                  </a:lnTo>
                  <a:lnTo>
                    <a:pt x="567983" y="78155"/>
                  </a:lnTo>
                  <a:lnTo>
                    <a:pt x="578501" y="96191"/>
                  </a:lnTo>
                  <a:lnTo>
                    <a:pt x="584812" y="106211"/>
                  </a:lnTo>
                  <a:lnTo>
                    <a:pt x="593227" y="114227"/>
                  </a:lnTo>
                  <a:lnTo>
                    <a:pt x="605848" y="122243"/>
                  </a:lnTo>
                  <a:lnTo>
                    <a:pt x="616367" y="124247"/>
                  </a:lnTo>
                  <a:lnTo>
                    <a:pt x="626885" y="132262"/>
                  </a:lnTo>
                  <a:lnTo>
                    <a:pt x="635299" y="144286"/>
                  </a:lnTo>
                  <a:lnTo>
                    <a:pt x="687921" y="134262"/>
                  </a:lnTo>
                  <a:lnTo>
                    <a:pt x="713138" y="128245"/>
                  </a:lnTo>
                  <a:lnTo>
                    <a:pt x="734145" y="118217"/>
                  </a:lnTo>
                  <a:lnTo>
                    <a:pt x="748898" y="108189"/>
                  </a:lnTo>
                  <a:lnTo>
                    <a:pt x="759401" y="96211"/>
                  </a:lnTo>
                  <a:lnTo>
                    <a:pt x="784658" y="72145"/>
                  </a:lnTo>
                  <a:cubicBezTo>
                    <a:pt x="785327" y="69470"/>
                    <a:pt x="786074" y="66796"/>
                    <a:pt x="786743" y="64122"/>
                  </a:cubicBezTo>
                  <a:cubicBezTo>
                    <a:pt x="787490" y="61448"/>
                    <a:pt x="788159" y="58774"/>
                    <a:pt x="788906" y="56100"/>
                  </a:cubicBezTo>
                  <a:lnTo>
                    <a:pt x="795201" y="42061"/>
                  </a:lnTo>
                  <a:cubicBezTo>
                    <a:pt x="795870" y="40724"/>
                    <a:pt x="796617" y="39387"/>
                    <a:pt x="797286" y="38050"/>
                  </a:cubicBezTo>
                  <a:lnTo>
                    <a:pt x="801495" y="38050"/>
                  </a:lnTo>
                  <a:lnTo>
                    <a:pt x="807790" y="36044"/>
                  </a:lnTo>
                  <a:cubicBezTo>
                    <a:pt x="808458" y="33370"/>
                    <a:pt x="809206" y="30752"/>
                    <a:pt x="809875" y="28078"/>
                  </a:cubicBezTo>
                  <a:lnTo>
                    <a:pt x="809875" y="22061"/>
                  </a:lnTo>
                  <a:cubicBezTo>
                    <a:pt x="808458" y="19387"/>
                    <a:pt x="807121" y="16713"/>
                    <a:pt x="805705" y="14039"/>
                  </a:cubicBezTo>
                  <a:lnTo>
                    <a:pt x="799371" y="6016"/>
                  </a:lnTo>
                  <a:cubicBezTo>
                    <a:pt x="798702" y="4011"/>
                    <a:pt x="797994" y="2005"/>
                    <a:pt x="797286" y="0"/>
                  </a:cubicBezTo>
                  <a:lnTo>
                    <a:pt x="805705" y="2005"/>
                  </a:lnTo>
                  <a:lnTo>
                    <a:pt x="811999" y="4011"/>
                  </a:lnTo>
                  <a:lnTo>
                    <a:pt x="826751" y="4011"/>
                  </a:lnTo>
                  <a:lnTo>
                    <a:pt x="841465" y="4011"/>
                  </a:lnTo>
                  <a:lnTo>
                    <a:pt x="854093" y="6016"/>
                  </a:lnTo>
                  <a:lnTo>
                    <a:pt x="868806" y="14039"/>
                  </a:lnTo>
                  <a:lnTo>
                    <a:pt x="879310" y="24067"/>
                  </a:lnTo>
                  <a:cubicBezTo>
                    <a:pt x="881395" y="28078"/>
                    <a:pt x="883519" y="32033"/>
                    <a:pt x="885604" y="36044"/>
                  </a:cubicBezTo>
                  <a:lnTo>
                    <a:pt x="894062" y="52089"/>
                  </a:lnTo>
                  <a:lnTo>
                    <a:pt x="915109" y="94206"/>
                  </a:lnTo>
                  <a:lnTo>
                    <a:pt x="936116" y="136267"/>
                  </a:lnTo>
                  <a:lnTo>
                    <a:pt x="948744" y="154317"/>
                  </a:lnTo>
                  <a:lnTo>
                    <a:pt x="959248" y="168356"/>
                  </a:lnTo>
                  <a:lnTo>
                    <a:pt x="959248" y="176323"/>
                  </a:lnTo>
                  <a:cubicBezTo>
                    <a:pt x="958579" y="178328"/>
                    <a:pt x="957832" y="180334"/>
                    <a:pt x="957163" y="182340"/>
                  </a:cubicBezTo>
                  <a:lnTo>
                    <a:pt x="963458" y="186351"/>
                  </a:lnTo>
                  <a:lnTo>
                    <a:pt x="967706" y="188356"/>
                  </a:lnTo>
                  <a:lnTo>
                    <a:pt x="988714" y="230473"/>
                  </a:lnTo>
                  <a:lnTo>
                    <a:pt x="999257" y="254484"/>
                  </a:lnTo>
                  <a:cubicBezTo>
                    <a:pt x="999926" y="258496"/>
                    <a:pt x="1000634" y="262507"/>
                    <a:pt x="1001342" y="266518"/>
                  </a:cubicBezTo>
                  <a:lnTo>
                    <a:pt x="1001342" y="276541"/>
                  </a:lnTo>
                  <a:cubicBezTo>
                    <a:pt x="1001344" y="276538"/>
                    <a:pt x="1001345" y="276535"/>
                    <a:pt x="1001346" y="276532"/>
                  </a:cubicBezTo>
                  <a:lnTo>
                    <a:pt x="1016055" y="276532"/>
                  </a:lnTo>
                  <a:lnTo>
                    <a:pt x="1028683" y="278546"/>
                  </a:lnTo>
                  <a:lnTo>
                    <a:pt x="1049730" y="288573"/>
                  </a:lnTo>
                  <a:lnTo>
                    <a:pt x="1056020" y="290587"/>
                  </a:lnTo>
                  <a:lnTo>
                    <a:pt x="1062358" y="290587"/>
                  </a:lnTo>
                  <a:lnTo>
                    <a:pt x="1072857" y="288573"/>
                  </a:lnTo>
                  <a:lnTo>
                    <a:pt x="1093904" y="276532"/>
                  </a:lnTo>
                  <a:lnTo>
                    <a:pt x="1117032" y="266545"/>
                  </a:lnTo>
                  <a:lnTo>
                    <a:pt x="1140159" y="258531"/>
                  </a:lnTo>
                  <a:lnTo>
                    <a:pt x="1165415" y="256517"/>
                  </a:lnTo>
                  <a:lnTo>
                    <a:pt x="1192752" y="258531"/>
                  </a:lnTo>
                  <a:lnTo>
                    <a:pt x="1213799" y="256517"/>
                  </a:lnTo>
                  <a:lnTo>
                    <a:pt x="1249554" y="254504"/>
                  </a:lnTo>
                  <a:lnTo>
                    <a:pt x="1264311" y="254504"/>
                  </a:lnTo>
                  <a:lnTo>
                    <a:pt x="1276891" y="256517"/>
                  </a:lnTo>
                  <a:lnTo>
                    <a:pt x="1287439" y="258531"/>
                  </a:lnTo>
                  <a:cubicBezTo>
                    <a:pt x="1288842" y="260544"/>
                    <a:pt x="1290245" y="262518"/>
                    <a:pt x="1291648" y="264531"/>
                  </a:cubicBezTo>
                  <a:lnTo>
                    <a:pt x="1291648" y="266545"/>
                  </a:lnTo>
                  <a:cubicBezTo>
                    <a:pt x="1292325" y="319958"/>
                    <a:pt x="1293051" y="373411"/>
                    <a:pt x="1293729" y="426825"/>
                  </a:cubicBezTo>
                  <a:lnTo>
                    <a:pt x="1327404" y="426825"/>
                  </a:lnTo>
                  <a:lnTo>
                    <a:pt x="1363159" y="426825"/>
                  </a:lnTo>
                  <a:cubicBezTo>
                    <a:pt x="1361756" y="430181"/>
                    <a:pt x="1360353" y="433497"/>
                    <a:pt x="1358950" y="436853"/>
                  </a:cubicBezTo>
                  <a:cubicBezTo>
                    <a:pt x="1358272" y="440208"/>
                    <a:pt x="1357547" y="443524"/>
                    <a:pt x="1356869" y="446880"/>
                  </a:cubicBezTo>
                  <a:cubicBezTo>
                    <a:pt x="1357547" y="453552"/>
                    <a:pt x="1358272" y="460263"/>
                    <a:pt x="1358950" y="466935"/>
                  </a:cubicBezTo>
                  <a:lnTo>
                    <a:pt x="1358950" y="486950"/>
                  </a:lnTo>
                  <a:lnTo>
                    <a:pt x="1358950" y="496978"/>
                  </a:lnTo>
                  <a:lnTo>
                    <a:pt x="1358950" y="507005"/>
                  </a:lnTo>
                  <a:lnTo>
                    <a:pt x="1356869" y="507005"/>
                  </a:lnTo>
                  <a:cubicBezTo>
                    <a:pt x="1356144" y="510361"/>
                    <a:pt x="1355466" y="513677"/>
                    <a:pt x="1354740" y="517032"/>
                  </a:cubicBezTo>
                  <a:cubicBezTo>
                    <a:pt x="1352660" y="518375"/>
                    <a:pt x="1350531" y="519677"/>
                    <a:pt x="1348451" y="521020"/>
                  </a:cubicBezTo>
                  <a:lnTo>
                    <a:pt x="1335822" y="529034"/>
                  </a:lnTo>
                  <a:lnTo>
                    <a:pt x="1318985" y="537048"/>
                  </a:lnTo>
                  <a:lnTo>
                    <a:pt x="1314775" y="541075"/>
                  </a:lnTo>
                  <a:lnTo>
                    <a:pt x="1306357" y="549089"/>
                  </a:lnTo>
                  <a:lnTo>
                    <a:pt x="1306357" y="547075"/>
                  </a:lnTo>
                  <a:cubicBezTo>
                    <a:pt x="1305679" y="548417"/>
                    <a:pt x="1304954" y="549760"/>
                    <a:pt x="1304276" y="551102"/>
                  </a:cubicBezTo>
                  <a:cubicBezTo>
                    <a:pt x="1303550" y="553115"/>
                    <a:pt x="1302873" y="555089"/>
                    <a:pt x="1302147" y="557103"/>
                  </a:cubicBezTo>
                  <a:cubicBezTo>
                    <a:pt x="1300067" y="560458"/>
                    <a:pt x="1297938" y="563774"/>
                    <a:pt x="1295857" y="567130"/>
                  </a:cubicBezTo>
                  <a:cubicBezTo>
                    <a:pt x="1294454" y="571117"/>
                    <a:pt x="1293051" y="575144"/>
                    <a:pt x="1291648" y="579131"/>
                  </a:cubicBezTo>
                  <a:lnTo>
                    <a:pt x="1285310" y="583158"/>
                  </a:lnTo>
                  <a:cubicBezTo>
                    <a:pt x="1283907" y="585171"/>
                    <a:pt x="1282504" y="587145"/>
                    <a:pt x="1281100" y="589159"/>
                  </a:cubicBezTo>
                  <a:lnTo>
                    <a:pt x="1272682" y="597173"/>
                  </a:lnTo>
                  <a:lnTo>
                    <a:pt x="1264311" y="603173"/>
                  </a:lnTo>
                  <a:lnTo>
                    <a:pt x="1255893" y="611227"/>
                  </a:lnTo>
                  <a:lnTo>
                    <a:pt x="1245345" y="619241"/>
                  </a:lnTo>
                  <a:lnTo>
                    <a:pt x="1234846" y="623229"/>
                  </a:lnTo>
                  <a:lnTo>
                    <a:pt x="1224298" y="627256"/>
                  </a:lnTo>
                  <a:lnTo>
                    <a:pt x="1213799" y="627256"/>
                  </a:lnTo>
                  <a:lnTo>
                    <a:pt x="1203300" y="627256"/>
                  </a:lnTo>
                  <a:lnTo>
                    <a:pt x="1182253" y="623229"/>
                  </a:lnTo>
                  <a:lnTo>
                    <a:pt x="1169625" y="623229"/>
                  </a:lnTo>
                  <a:lnTo>
                    <a:pt x="1159125" y="623229"/>
                  </a:lnTo>
                  <a:cubicBezTo>
                    <a:pt x="1161206" y="625242"/>
                    <a:pt x="1163335" y="627216"/>
                    <a:pt x="1165415" y="629229"/>
                  </a:cubicBezTo>
                  <a:lnTo>
                    <a:pt x="1165415" y="633256"/>
                  </a:lnTo>
                  <a:cubicBezTo>
                    <a:pt x="1164012" y="634598"/>
                    <a:pt x="1162609" y="635901"/>
                    <a:pt x="1161206" y="637243"/>
                  </a:cubicBezTo>
                  <a:lnTo>
                    <a:pt x="1154916" y="639257"/>
                  </a:lnTo>
                  <a:lnTo>
                    <a:pt x="1138078" y="641270"/>
                  </a:lnTo>
                  <a:lnTo>
                    <a:pt x="1125450" y="641270"/>
                  </a:lnTo>
                  <a:lnTo>
                    <a:pt x="1138078" y="629229"/>
                  </a:lnTo>
                  <a:lnTo>
                    <a:pt x="1138078" y="627256"/>
                  </a:lnTo>
                  <a:lnTo>
                    <a:pt x="1138078" y="623229"/>
                  </a:lnTo>
                  <a:lnTo>
                    <a:pt x="1129660" y="621215"/>
                  </a:lnTo>
                  <a:lnTo>
                    <a:pt x="1117032" y="621215"/>
                  </a:lnTo>
                  <a:lnTo>
                    <a:pt x="1102323" y="619241"/>
                  </a:lnTo>
                  <a:lnTo>
                    <a:pt x="1085485" y="619241"/>
                  </a:lnTo>
                  <a:lnTo>
                    <a:pt x="1081276" y="617228"/>
                  </a:lnTo>
                  <a:lnTo>
                    <a:pt x="1074938" y="613201"/>
                  </a:lnTo>
                  <a:cubicBezTo>
                    <a:pt x="1074260" y="611859"/>
                    <a:pt x="1073535" y="610556"/>
                    <a:pt x="1072857" y="609214"/>
                  </a:cubicBezTo>
                  <a:cubicBezTo>
                    <a:pt x="1072180" y="607200"/>
                    <a:pt x="1071454" y="605187"/>
                    <a:pt x="1070777" y="603173"/>
                  </a:cubicBezTo>
                  <a:cubicBezTo>
                    <a:pt x="1072857" y="601831"/>
                    <a:pt x="1074986" y="600528"/>
                    <a:pt x="1077067" y="599186"/>
                  </a:cubicBezTo>
                  <a:lnTo>
                    <a:pt x="1087566" y="591172"/>
                  </a:lnTo>
                  <a:lnTo>
                    <a:pt x="1091775" y="587145"/>
                  </a:lnTo>
                  <a:cubicBezTo>
                    <a:pt x="1092501" y="584461"/>
                    <a:pt x="1093178" y="581816"/>
                    <a:pt x="1093904" y="579131"/>
                  </a:cubicBezTo>
                  <a:lnTo>
                    <a:pt x="1087566" y="577157"/>
                  </a:lnTo>
                  <a:lnTo>
                    <a:pt x="1081276" y="571117"/>
                  </a:lnTo>
                  <a:lnTo>
                    <a:pt x="1070777" y="569143"/>
                  </a:lnTo>
                  <a:lnTo>
                    <a:pt x="1056020" y="571117"/>
                  </a:lnTo>
                  <a:lnTo>
                    <a:pt x="1034973" y="571117"/>
                  </a:lnTo>
                  <a:cubicBezTo>
                    <a:pt x="1034296" y="573802"/>
                    <a:pt x="1033570" y="576447"/>
                    <a:pt x="1032893" y="579131"/>
                  </a:cubicBezTo>
                  <a:cubicBezTo>
                    <a:pt x="1032167" y="580474"/>
                    <a:pt x="1031489" y="581816"/>
                    <a:pt x="1030764" y="583158"/>
                  </a:cubicBezTo>
                  <a:cubicBezTo>
                    <a:pt x="1030086" y="586514"/>
                    <a:pt x="1029361" y="589830"/>
                    <a:pt x="1028683" y="593186"/>
                  </a:cubicBezTo>
                  <a:cubicBezTo>
                    <a:pt x="1026603" y="597844"/>
                    <a:pt x="1024474" y="602542"/>
                    <a:pt x="1022393" y="607200"/>
                  </a:cubicBezTo>
                  <a:lnTo>
                    <a:pt x="1016055" y="613201"/>
                  </a:lnTo>
                  <a:lnTo>
                    <a:pt x="997137" y="631243"/>
                  </a:lnTo>
                  <a:lnTo>
                    <a:pt x="984509" y="643284"/>
                  </a:lnTo>
                  <a:cubicBezTo>
                    <a:pt x="983106" y="643955"/>
                    <a:pt x="981703" y="644586"/>
                    <a:pt x="980300" y="645257"/>
                  </a:cubicBezTo>
                  <a:lnTo>
                    <a:pt x="976090" y="649284"/>
                  </a:lnTo>
                  <a:lnTo>
                    <a:pt x="965591" y="643284"/>
                  </a:lnTo>
                  <a:lnTo>
                    <a:pt x="946625" y="637243"/>
                  </a:lnTo>
                  <a:lnTo>
                    <a:pt x="931916" y="631243"/>
                  </a:lnTo>
                  <a:lnTo>
                    <a:pt x="917207" y="629229"/>
                  </a:lnTo>
                  <a:lnTo>
                    <a:pt x="906660" y="623229"/>
                  </a:lnTo>
                  <a:lnTo>
                    <a:pt x="896160" y="609214"/>
                  </a:lnTo>
                  <a:cubicBezTo>
                    <a:pt x="895435" y="607200"/>
                    <a:pt x="894757" y="605187"/>
                    <a:pt x="894032" y="603173"/>
                  </a:cubicBezTo>
                  <a:cubicBezTo>
                    <a:pt x="893354" y="601160"/>
                    <a:pt x="892628" y="599186"/>
                    <a:pt x="891951" y="597173"/>
                  </a:cubicBezTo>
                  <a:lnTo>
                    <a:pt x="891951" y="581145"/>
                  </a:lnTo>
                  <a:cubicBezTo>
                    <a:pt x="891225" y="576486"/>
                    <a:pt x="890548" y="571788"/>
                    <a:pt x="889822" y="567130"/>
                  </a:cubicBezTo>
                  <a:lnTo>
                    <a:pt x="883532" y="561090"/>
                  </a:lnTo>
                  <a:cubicBezTo>
                    <a:pt x="882129" y="559748"/>
                    <a:pt x="880726" y="558445"/>
                    <a:pt x="879323" y="557103"/>
                  </a:cubicBezTo>
                  <a:lnTo>
                    <a:pt x="879310" y="557103"/>
                  </a:lnTo>
                  <a:lnTo>
                    <a:pt x="879310" y="557044"/>
                  </a:lnTo>
                  <a:lnTo>
                    <a:pt x="876079" y="542958"/>
                  </a:lnTo>
                  <a:lnTo>
                    <a:pt x="873015" y="539053"/>
                  </a:lnTo>
                  <a:cubicBezTo>
                    <a:pt x="871599" y="536379"/>
                    <a:pt x="870222" y="533704"/>
                    <a:pt x="868806" y="531030"/>
                  </a:cubicBezTo>
                  <a:lnTo>
                    <a:pt x="860387" y="523008"/>
                  </a:lnTo>
                  <a:lnTo>
                    <a:pt x="854093" y="531030"/>
                  </a:lnTo>
                  <a:cubicBezTo>
                    <a:pt x="853385" y="527019"/>
                    <a:pt x="852676" y="523064"/>
                    <a:pt x="851968" y="519053"/>
                  </a:cubicBezTo>
                  <a:lnTo>
                    <a:pt x="833046" y="527019"/>
                  </a:lnTo>
                  <a:lnTo>
                    <a:pt x="833046" y="529025"/>
                  </a:lnTo>
                  <a:lnTo>
                    <a:pt x="843589" y="533036"/>
                  </a:lnTo>
                  <a:lnTo>
                    <a:pt x="858263" y="539053"/>
                  </a:lnTo>
                  <a:lnTo>
                    <a:pt x="864636" y="547075"/>
                  </a:lnTo>
                  <a:lnTo>
                    <a:pt x="868806" y="551086"/>
                  </a:lnTo>
                  <a:lnTo>
                    <a:pt x="870930" y="557103"/>
                  </a:lnTo>
                  <a:lnTo>
                    <a:pt x="828836" y="553092"/>
                  </a:lnTo>
                  <a:lnTo>
                    <a:pt x="809875" y="553092"/>
                  </a:lnTo>
                  <a:lnTo>
                    <a:pt x="788906" y="553092"/>
                  </a:lnTo>
                  <a:lnTo>
                    <a:pt x="788824" y="552700"/>
                  </a:lnTo>
                  <a:lnTo>
                    <a:pt x="788865" y="553098"/>
                  </a:lnTo>
                  <a:lnTo>
                    <a:pt x="788865" y="563118"/>
                  </a:lnTo>
                  <a:lnTo>
                    <a:pt x="786762" y="573138"/>
                  </a:lnTo>
                  <a:lnTo>
                    <a:pt x="780451" y="583158"/>
                  </a:lnTo>
                  <a:lnTo>
                    <a:pt x="774140" y="591174"/>
                  </a:lnTo>
                  <a:lnTo>
                    <a:pt x="767829" y="591174"/>
                  </a:lnTo>
                  <a:lnTo>
                    <a:pt x="763621" y="591174"/>
                  </a:lnTo>
                  <a:lnTo>
                    <a:pt x="757311" y="589170"/>
                  </a:lnTo>
                  <a:lnTo>
                    <a:pt x="753103" y="591174"/>
                  </a:lnTo>
                  <a:lnTo>
                    <a:pt x="742585" y="597186"/>
                  </a:lnTo>
                  <a:lnTo>
                    <a:pt x="736274" y="593178"/>
                  </a:lnTo>
                  <a:lnTo>
                    <a:pt x="727954" y="591196"/>
                  </a:lnTo>
                  <a:lnTo>
                    <a:pt x="732080" y="601174"/>
                  </a:lnTo>
                  <a:cubicBezTo>
                    <a:pt x="733467" y="606515"/>
                    <a:pt x="734896" y="611857"/>
                    <a:pt x="736283" y="617199"/>
                  </a:cubicBezTo>
                  <a:lnTo>
                    <a:pt x="736283" y="631260"/>
                  </a:lnTo>
                  <a:cubicBezTo>
                    <a:pt x="735589" y="635934"/>
                    <a:pt x="734855" y="640608"/>
                    <a:pt x="734161" y="645282"/>
                  </a:cubicBezTo>
                  <a:lnTo>
                    <a:pt x="725754" y="661307"/>
                  </a:lnTo>
                  <a:lnTo>
                    <a:pt x="721551" y="665313"/>
                  </a:lnTo>
                  <a:lnTo>
                    <a:pt x="715225" y="669320"/>
                  </a:lnTo>
                  <a:lnTo>
                    <a:pt x="721551" y="671323"/>
                  </a:lnTo>
                  <a:lnTo>
                    <a:pt x="732080" y="675368"/>
                  </a:lnTo>
                  <a:lnTo>
                    <a:pt x="746812" y="685384"/>
                  </a:lnTo>
                  <a:lnTo>
                    <a:pt x="757301" y="695360"/>
                  </a:lnTo>
                  <a:cubicBezTo>
                    <a:pt x="756607" y="696735"/>
                    <a:pt x="755913" y="698031"/>
                    <a:pt x="755219" y="699406"/>
                  </a:cubicBezTo>
                  <a:lnTo>
                    <a:pt x="748894" y="699406"/>
                  </a:lnTo>
                  <a:lnTo>
                    <a:pt x="742568" y="699406"/>
                  </a:lnTo>
                  <a:lnTo>
                    <a:pt x="736283" y="701409"/>
                  </a:lnTo>
                  <a:cubicBezTo>
                    <a:pt x="735589" y="702744"/>
                    <a:pt x="734855" y="704040"/>
                    <a:pt x="734161" y="705376"/>
                  </a:cubicBezTo>
                  <a:cubicBezTo>
                    <a:pt x="733467" y="707379"/>
                    <a:pt x="732774" y="709421"/>
                    <a:pt x="732080" y="711424"/>
                  </a:cubicBezTo>
                  <a:lnTo>
                    <a:pt x="734161" y="723443"/>
                  </a:lnTo>
                  <a:lnTo>
                    <a:pt x="742568" y="733459"/>
                  </a:lnTo>
                  <a:lnTo>
                    <a:pt x="732080" y="733459"/>
                  </a:lnTo>
                  <a:lnTo>
                    <a:pt x="727876" y="735462"/>
                  </a:lnTo>
                  <a:lnTo>
                    <a:pt x="727876" y="739468"/>
                  </a:lnTo>
                  <a:lnTo>
                    <a:pt x="732080" y="743475"/>
                  </a:lnTo>
                  <a:lnTo>
                    <a:pt x="738365" y="751487"/>
                  </a:lnTo>
                  <a:lnTo>
                    <a:pt x="757301" y="765509"/>
                  </a:lnTo>
                  <a:lnTo>
                    <a:pt x="765708" y="773521"/>
                  </a:lnTo>
                  <a:cubicBezTo>
                    <a:pt x="766402" y="774228"/>
                    <a:pt x="767136" y="774857"/>
                    <a:pt x="767830" y="775525"/>
                  </a:cubicBezTo>
                  <a:lnTo>
                    <a:pt x="767830" y="783537"/>
                  </a:lnTo>
                  <a:cubicBezTo>
                    <a:pt x="767136" y="784244"/>
                    <a:pt x="766402" y="784872"/>
                    <a:pt x="765708" y="785540"/>
                  </a:cubicBezTo>
                  <a:lnTo>
                    <a:pt x="757301" y="785540"/>
                  </a:lnTo>
                  <a:lnTo>
                    <a:pt x="748894" y="783537"/>
                  </a:lnTo>
                  <a:lnTo>
                    <a:pt x="734161" y="779570"/>
                  </a:lnTo>
                  <a:lnTo>
                    <a:pt x="725754" y="779570"/>
                  </a:lnTo>
                  <a:lnTo>
                    <a:pt x="721551" y="779570"/>
                  </a:lnTo>
                  <a:lnTo>
                    <a:pt x="736283" y="793553"/>
                  </a:lnTo>
                  <a:lnTo>
                    <a:pt x="742568" y="799562"/>
                  </a:lnTo>
                  <a:cubicBezTo>
                    <a:pt x="743262" y="801565"/>
                    <a:pt x="743996" y="803608"/>
                    <a:pt x="744690" y="805611"/>
                  </a:cubicBezTo>
                  <a:lnTo>
                    <a:pt x="744690" y="811620"/>
                  </a:lnTo>
                  <a:cubicBezTo>
                    <a:pt x="743996" y="812956"/>
                    <a:pt x="743262" y="814291"/>
                    <a:pt x="742568" y="815626"/>
                  </a:cubicBezTo>
                  <a:lnTo>
                    <a:pt x="736283" y="823639"/>
                  </a:lnTo>
                  <a:lnTo>
                    <a:pt x="727876" y="829648"/>
                  </a:lnTo>
                  <a:lnTo>
                    <a:pt x="717347" y="829648"/>
                  </a:lnTo>
                  <a:lnTo>
                    <a:pt x="706818" y="829648"/>
                  </a:lnTo>
                  <a:cubicBezTo>
                    <a:pt x="705430" y="826977"/>
                    <a:pt x="704002" y="824307"/>
                    <a:pt x="702614" y="821636"/>
                  </a:cubicBezTo>
                  <a:lnTo>
                    <a:pt x="692085" y="811620"/>
                  </a:lnTo>
                  <a:lnTo>
                    <a:pt x="679475" y="801565"/>
                  </a:lnTo>
                  <a:lnTo>
                    <a:pt x="662661" y="791550"/>
                  </a:lnTo>
                  <a:lnTo>
                    <a:pt x="650009" y="785540"/>
                  </a:lnTo>
                  <a:lnTo>
                    <a:pt x="639521" y="781573"/>
                  </a:lnTo>
                  <a:lnTo>
                    <a:pt x="628992" y="773521"/>
                  </a:lnTo>
                  <a:lnTo>
                    <a:pt x="618463" y="765509"/>
                  </a:lnTo>
                  <a:lnTo>
                    <a:pt x="607934" y="761503"/>
                  </a:lnTo>
                  <a:lnTo>
                    <a:pt x="614259" y="755493"/>
                  </a:lnTo>
                  <a:lnTo>
                    <a:pt x="614259" y="751487"/>
                  </a:lnTo>
                  <a:lnTo>
                    <a:pt x="605852" y="743475"/>
                  </a:lnTo>
                  <a:lnTo>
                    <a:pt x="599527" y="741471"/>
                  </a:lnTo>
                  <a:lnTo>
                    <a:pt x="599527" y="751487"/>
                  </a:lnTo>
                  <a:lnTo>
                    <a:pt x="597445" y="761503"/>
                  </a:lnTo>
                  <a:cubicBezTo>
                    <a:pt x="596751" y="762838"/>
                    <a:pt x="596017" y="764173"/>
                    <a:pt x="595323" y="765509"/>
                  </a:cubicBezTo>
                  <a:lnTo>
                    <a:pt x="589038" y="765509"/>
                  </a:lnTo>
                  <a:lnTo>
                    <a:pt x="582713" y="765509"/>
                  </a:lnTo>
                  <a:lnTo>
                    <a:pt x="574306" y="763545"/>
                  </a:lnTo>
                  <a:lnTo>
                    <a:pt x="563776" y="751487"/>
                  </a:lnTo>
                  <a:lnTo>
                    <a:pt x="551166" y="739468"/>
                  </a:lnTo>
                  <a:lnTo>
                    <a:pt x="536433" y="731456"/>
                  </a:lnTo>
                  <a:lnTo>
                    <a:pt x="530108" y="725446"/>
                  </a:lnTo>
                  <a:cubicBezTo>
                    <a:pt x="528720" y="723443"/>
                    <a:pt x="527292" y="721440"/>
                    <a:pt x="525904" y="719437"/>
                  </a:cubicBezTo>
                  <a:cubicBezTo>
                    <a:pt x="524517" y="714763"/>
                    <a:pt x="523088" y="710050"/>
                    <a:pt x="521701" y="705376"/>
                  </a:cubicBezTo>
                  <a:lnTo>
                    <a:pt x="513294" y="695360"/>
                  </a:lnTo>
                  <a:lnTo>
                    <a:pt x="502764" y="685384"/>
                  </a:lnTo>
                  <a:lnTo>
                    <a:pt x="490154" y="675368"/>
                  </a:lnTo>
                  <a:lnTo>
                    <a:pt x="477543" y="671323"/>
                  </a:lnTo>
                  <a:lnTo>
                    <a:pt x="460689" y="665313"/>
                  </a:lnTo>
                  <a:lnTo>
                    <a:pt x="448078" y="663310"/>
                  </a:lnTo>
                  <a:lnTo>
                    <a:pt x="435468" y="663310"/>
                  </a:lnTo>
                  <a:lnTo>
                    <a:pt x="435468" y="659343"/>
                  </a:lnTo>
                  <a:lnTo>
                    <a:pt x="431264" y="653295"/>
                  </a:lnTo>
                  <a:cubicBezTo>
                    <a:pt x="429836" y="650624"/>
                    <a:pt x="428448" y="647953"/>
                    <a:pt x="427020" y="645282"/>
                  </a:cubicBezTo>
                  <a:lnTo>
                    <a:pt x="427020" y="641276"/>
                  </a:lnTo>
                  <a:lnTo>
                    <a:pt x="427020" y="639273"/>
                  </a:lnTo>
                  <a:cubicBezTo>
                    <a:pt x="427714" y="637270"/>
                    <a:pt x="428448" y="635227"/>
                    <a:pt x="429142" y="633224"/>
                  </a:cubicBezTo>
                  <a:cubicBezTo>
                    <a:pt x="429836" y="631889"/>
                    <a:pt x="430570" y="630592"/>
                    <a:pt x="431264" y="629257"/>
                  </a:cubicBezTo>
                  <a:lnTo>
                    <a:pt x="427020" y="629257"/>
                  </a:lnTo>
                  <a:lnTo>
                    <a:pt x="420735" y="631260"/>
                  </a:lnTo>
                  <a:lnTo>
                    <a:pt x="420735" y="629257"/>
                  </a:lnTo>
                  <a:lnTo>
                    <a:pt x="418613" y="629257"/>
                  </a:lnTo>
                  <a:lnTo>
                    <a:pt x="414409" y="629257"/>
                  </a:lnTo>
                  <a:cubicBezTo>
                    <a:pt x="413022" y="630592"/>
                    <a:pt x="411593" y="631889"/>
                    <a:pt x="410206" y="633224"/>
                  </a:cubicBezTo>
                  <a:cubicBezTo>
                    <a:pt x="409512" y="635227"/>
                    <a:pt x="408818" y="637270"/>
                    <a:pt x="408124" y="639273"/>
                  </a:cubicBezTo>
                  <a:lnTo>
                    <a:pt x="408124" y="645282"/>
                  </a:lnTo>
                  <a:lnTo>
                    <a:pt x="414409" y="653295"/>
                  </a:lnTo>
                  <a:cubicBezTo>
                    <a:pt x="416531" y="655298"/>
                    <a:pt x="418613" y="657340"/>
                    <a:pt x="420735" y="659343"/>
                  </a:cubicBezTo>
                  <a:lnTo>
                    <a:pt x="416531" y="659343"/>
                  </a:lnTo>
                  <a:lnTo>
                    <a:pt x="408124" y="659343"/>
                  </a:lnTo>
                  <a:lnTo>
                    <a:pt x="399677" y="663310"/>
                  </a:lnTo>
                  <a:cubicBezTo>
                    <a:pt x="398289" y="665313"/>
                    <a:pt x="396861" y="667316"/>
                    <a:pt x="395473" y="669320"/>
                  </a:cubicBezTo>
                  <a:lnTo>
                    <a:pt x="389188" y="673326"/>
                  </a:lnTo>
                  <a:lnTo>
                    <a:pt x="389188" y="679335"/>
                  </a:lnTo>
                  <a:cubicBezTo>
                    <a:pt x="390576" y="680710"/>
                    <a:pt x="392004" y="682006"/>
                    <a:pt x="393392" y="683381"/>
                  </a:cubicBezTo>
                  <a:cubicBezTo>
                    <a:pt x="395473" y="685384"/>
                    <a:pt x="397595" y="687348"/>
                    <a:pt x="399677" y="689351"/>
                  </a:cubicBezTo>
                  <a:lnTo>
                    <a:pt x="389188" y="693396"/>
                  </a:lnTo>
                  <a:lnTo>
                    <a:pt x="378659" y="693396"/>
                  </a:lnTo>
                  <a:lnTo>
                    <a:pt x="359723" y="689351"/>
                  </a:lnTo>
                  <a:lnTo>
                    <a:pt x="374456" y="663310"/>
                  </a:lnTo>
                  <a:lnTo>
                    <a:pt x="384985" y="639273"/>
                  </a:lnTo>
                  <a:lnTo>
                    <a:pt x="399677" y="587191"/>
                  </a:lnTo>
                  <a:cubicBezTo>
                    <a:pt x="401799" y="582517"/>
                    <a:pt x="403880" y="577804"/>
                    <a:pt x="406002" y="573130"/>
                  </a:cubicBezTo>
                  <a:cubicBezTo>
                    <a:pt x="406696" y="569123"/>
                    <a:pt x="407431" y="565117"/>
                    <a:pt x="408124" y="561111"/>
                  </a:cubicBezTo>
                  <a:lnTo>
                    <a:pt x="408124" y="549092"/>
                  </a:lnTo>
                  <a:cubicBezTo>
                    <a:pt x="406696" y="543751"/>
                    <a:pt x="405308" y="538409"/>
                    <a:pt x="403880" y="533067"/>
                  </a:cubicBezTo>
                  <a:lnTo>
                    <a:pt x="387066" y="511033"/>
                  </a:lnTo>
                  <a:cubicBezTo>
                    <a:pt x="385679" y="507655"/>
                    <a:pt x="384250" y="504356"/>
                    <a:pt x="382863" y="501017"/>
                  </a:cubicBezTo>
                  <a:lnTo>
                    <a:pt x="382863" y="496972"/>
                  </a:lnTo>
                  <a:cubicBezTo>
                    <a:pt x="383556" y="495636"/>
                    <a:pt x="384291" y="494340"/>
                    <a:pt x="384985" y="493005"/>
                  </a:cubicBezTo>
                  <a:lnTo>
                    <a:pt x="387066" y="493005"/>
                  </a:lnTo>
                  <a:cubicBezTo>
                    <a:pt x="389188" y="494301"/>
                    <a:pt x="391270" y="495676"/>
                    <a:pt x="393392" y="496972"/>
                  </a:cubicBezTo>
                  <a:lnTo>
                    <a:pt x="403880" y="511033"/>
                  </a:lnTo>
                  <a:lnTo>
                    <a:pt x="439671" y="553098"/>
                  </a:lnTo>
                  <a:lnTo>
                    <a:pt x="477543" y="601174"/>
                  </a:lnTo>
                  <a:lnTo>
                    <a:pt x="490154" y="619241"/>
                  </a:lnTo>
                  <a:lnTo>
                    <a:pt x="500683" y="629257"/>
                  </a:lnTo>
                  <a:cubicBezTo>
                    <a:pt x="499989" y="623915"/>
                    <a:pt x="499255" y="618574"/>
                    <a:pt x="498561" y="613232"/>
                  </a:cubicBezTo>
                  <a:cubicBezTo>
                    <a:pt x="495745" y="609225"/>
                    <a:pt x="492970" y="605180"/>
                    <a:pt x="490154" y="601174"/>
                  </a:cubicBezTo>
                  <a:lnTo>
                    <a:pt x="479625" y="589194"/>
                  </a:lnTo>
                  <a:lnTo>
                    <a:pt x="462811" y="573130"/>
                  </a:lnTo>
                  <a:lnTo>
                    <a:pt x="450159" y="561111"/>
                  </a:lnTo>
                  <a:lnTo>
                    <a:pt x="439671" y="547089"/>
                  </a:lnTo>
                  <a:cubicBezTo>
                    <a:pt x="436855" y="542454"/>
                    <a:pt x="434080" y="537741"/>
                    <a:pt x="431264" y="533067"/>
                  </a:cubicBezTo>
                  <a:cubicBezTo>
                    <a:pt x="429836" y="528393"/>
                    <a:pt x="428448" y="523680"/>
                    <a:pt x="427020" y="519045"/>
                  </a:cubicBezTo>
                  <a:cubicBezTo>
                    <a:pt x="426326" y="517042"/>
                    <a:pt x="425632" y="515000"/>
                    <a:pt x="424938" y="512997"/>
                  </a:cubicBezTo>
                  <a:cubicBezTo>
                    <a:pt x="423551" y="512329"/>
                    <a:pt x="422122" y="511701"/>
                    <a:pt x="420735" y="511033"/>
                  </a:cubicBezTo>
                  <a:lnTo>
                    <a:pt x="414409" y="509030"/>
                  </a:lnTo>
                  <a:lnTo>
                    <a:pt x="406002" y="502981"/>
                  </a:lnTo>
                  <a:lnTo>
                    <a:pt x="397595" y="499014"/>
                  </a:lnTo>
                  <a:cubicBezTo>
                    <a:pt x="394779" y="495676"/>
                    <a:pt x="392004" y="492298"/>
                    <a:pt x="389188" y="488959"/>
                  </a:cubicBezTo>
                  <a:cubicBezTo>
                    <a:pt x="387801" y="483617"/>
                    <a:pt x="386372" y="478276"/>
                    <a:pt x="384985" y="472934"/>
                  </a:cubicBezTo>
                  <a:lnTo>
                    <a:pt x="377448" y="440448"/>
                  </a:lnTo>
                  <a:lnTo>
                    <a:pt x="376552" y="440875"/>
                  </a:lnTo>
                  <a:lnTo>
                    <a:pt x="374448" y="446887"/>
                  </a:lnTo>
                  <a:lnTo>
                    <a:pt x="363930" y="440875"/>
                  </a:lnTo>
                  <a:lnTo>
                    <a:pt x="355515" y="438871"/>
                  </a:lnTo>
                  <a:lnTo>
                    <a:pt x="338686" y="436867"/>
                  </a:lnTo>
                  <a:lnTo>
                    <a:pt x="342893" y="430855"/>
                  </a:lnTo>
                  <a:lnTo>
                    <a:pt x="342893" y="426847"/>
                  </a:lnTo>
                  <a:lnTo>
                    <a:pt x="340790" y="424843"/>
                  </a:lnTo>
                  <a:lnTo>
                    <a:pt x="332375" y="420836"/>
                  </a:lnTo>
                  <a:lnTo>
                    <a:pt x="334479" y="448891"/>
                  </a:lnTo>
                  <a:lnTo>
                    <a:pt x="330271" y="442879"/>
                  </a:lnTo>
                  <a:lnTo>
                    <a:pt x="328168" y="438871"/>
                  </a:lnTo>
                  <a:lnTo>
                    <a:pt x="321857" y="424843"/>
                  </a:lnTo>
                  <a:lnTo>
                    <a:pt x="319753" y="408812"/>
                  </a:lnTo>
                  <a:lnTo>
                    <a:pt x="317650" y="394784"/>
                  </a:lnTo>
                  <a:lnTo>
                    <a:pt x="309235" y="378752"/>
                  </a:lnTo>
                  <a:lnTo>
                    <a:pt x="296613" y="360716"/>
                  </a:lnTo>
                  <a:lnTo>
                    <a:pt x="286095" y="344684"/>
                  </a:lnTo>
                  <a:lnTo>
                    <a:pt x="281888" y="336668"/>
                  </a:lnTo>
                  <a:lnTo>
                    <a:pt x="281888" y="328652"/>
                  </a:lnTo>
                  <a:lnTo>
                    <a:pt x="288199" y="328652"/>
                  </a:lnTo>
                  <a:lnTo>
                    <a:pt x="275577" y="316629"/>
                  </a:lnTo>
                  <a:lnTo>
                    <a:pt x="250333" y="304605"/>
                  </a:lnTo>
                  <a:lnTo>
                    <a:pt x="208260" y="284565"/>
                  </a:lnTo>
                  <a:lnTo>
                    <a:pt x="191431" y="274545"/>
                  </a:lnTo>
                  <a:lnTo>
                    <a:pt x="166188" y="256509"/>
                  </a:lnTo>
                  <a:lnTo>
                    <a:pt x="143048" y="238473"/>
                  </a:lnTo>
                  <a:lnTo>
                    <a:pt x="134633" y="230457"/>
                  </a:lnTo>
                  <a:lnTo>
                    <a:pt x="132529" y="224446"/>
                  </a:lnTo>
                  <a:lnTo>
                    <a:pt x="130426" y="214426"/>
                  </a:lnTo>
                  <a:lnTo>
                    <a:pt x="122011" y="204406"/>
                  </a:lnTo>
                  <a:lnTo>
                    <a:pt x="103078" y="178354"/>
                  </a:lnTo>
                  <a:lnTo>
                    <a:pt x="82042" y="156310"/>
                  </a:lnTo>
                  <a:lnTo>
                    <a:pt x="67316" y="136270"/>
                  </a:lnTo>
                  <a:lnTo>
                    <a:pt x="58902" y="126250"/>
                  </a:lnTo>
                  <a:lnTo>
                    <a:pt x="50487" y="118235"/>
                  </a:lnTo>
                  <a:lnTo>
                    <a:pt x="33658" y="106211"/>
                  </a:lnTo>
                  <a:lnTo>
                    <a:pt x="14725" y="92183"/>
                  </a:lnTo>
                  <a:lnTo>
                    <a:pt x="6311" y="84167"/>
                  </a:lnTo>
                  <a:lnTo>
                    <a:pt x="0" y="74147"/>
                  </a:lnTo>
                  <a:lnTo>
                    <a:pt x="12622" y="68135"/>
                  </a:lnTo>
                  <a:lnTo>
                    <a:pt x="25244" y="64127"/>
                  </a:lnTo>
                  <a:lnTo>
                    <a:pt x="50487" y="58115"/>
                  </a:lnTo>
                  <a:lnTo>
                    <a:pt x="79938" y="58115"/>
                  </a:lnTo>
                  <a:lnTo>
                    <a:pt x="111493" y="58115"/>
                  </a:lnTo>
                  <a:lnTo>
                    <a:pt x="109389" y="52103"/>
                  </a:lnTo>
                  <a:lnTo>
                    <a:pt x="111493" y="46091"/>
                  </a:lnTo>
                  <a:lnTo>
                    <a:pt x="111493" y="42083"/>
                  </a:lnTo>
                  <a:lnTo>
                    <a:pt x="117804" y="36071"/>
                  </a:lnTo>
                  <a:lnTo>
                    <a:pt x="128322" y="32063"/>
                  </a:lnTo>
                  <a:lnTo>
                    <a:pt x="143048" y="28055"/>
                  </a:lnTo>
                  <a:lnTo>
                    <a:pt x="176706" y="32063"/>
                  </a:lnTo>
                  <a:lnTo>
                    <a:pt x="206157" y="34067"/>
                  </a:lnTo>
                  <a:lnTo>
                    <a:pt x="275577" y="34067"/>
                  </a:lnTo>
                  <a:lnTo>
                    <a:pt x="275577" y="32063"/>
                  </a:lnTo>
                  <a:lnTo>
                    <a:pt x="277680" y="28055"/>
                  </a:lnTo>
                  <a:lnTo>
                    <a:pt x="277680" y="22044"/>
                  </a:lnTo>
                  <a:lnTo>
                    <a:pt x="277680" y="14028"/>
                  </a:lnTo>
                  <a:lnTo>
                    <a:pt x="277680" y="12024"/>
                  </a:lnTo>
                  <a:lnTo>
                    <a:pt x="279784" y="12024"/>
                  </a:lnTo>
                  <a:lnTo>
                    <a:pt x="296613" y="12024"/>
                  </a:lnTo>
                  <a:lnTo>
                    <a:pt x="311339" y="8016"/>
                  </a:lnTo>
                  <a:lnTo>
                    <a:pt x="313442" y="8016"/>
                  </a:lnTo>
                  <a:lnTo>
                    <a:pt x="313442" y="4008"/>
                  </a:lnTo>
                  <a:lnTo>
                    <a:pt x="313442" y="2004"/>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Bay Area</a:t>
              </a:r>
            </a:p>
          </p:txBody>
        </p:sp>
        <p:sp>
          <p:nvSpPr>
            <p:cNvPr id="11" name="Sierra"/>
            <p:cNvSpPr>
              <a:spLocks/>
            </p:cNvSpPr>
            <p:nvPr/>
          </p:nvSpPr>
          <p:spPr bwMode="auto">
            <a:xfrm>
              <a:off x="3677028" y="2137546"/>
              <a:ext cx="4125234" cy="3739403"/>
            </a:xfrm>
            <a:custGeom>
              <a:avLst/>
              <a:gdLst/>
              <a:ahLst/>
              <a:cxnLst/>
              <a:rect l="l" t="t" r="r" b="b"/>
              <a:pathLst>
                <a:path w="4125234" h="3739403">
                  <a:moveTo>
                    <a:pt x="821462" y="2183328"/>
                  </a:moveTo>
                  <a:lnTo>
                    <a:pt x="820420" y="2184321"/>
                  </a:lnTo>
                  <a:lnTo>
                    <a:pt x="820418" y="2184328"/>
                  </a:lnTo>
                  <a:lnTo>
                    <a:pt x="821488" y="2183328"/>
                  </a:lnTo>
                  <a:close/>
                  <a:moveTo>
                    <a:pt x="1133193" y="1222419"/>
                  </a:moveTo>
                  <a:lnTo>
                    <a:pt x="1137390" y="1224444"/>
                  </a:lnTo>
                  <a:lnTo>
                    <a:pt x="1244665" y="1312603"/>
                  </a:lnTo>
                  <a:lnTo>
                    <a:pt x="1354075" y="1396759"/>
                  </a:lnTo>
                  <a:lnTo>
                    <a:pt x="1349569" y="1401766"/>
                  </a:lnTo>
                  <a:lnTo>
                    <a:pt x="1371561" y="1414763"/>
                  </a:lnTo>
                  <a:lnTo>
                    <a:pt x="1562977" y="1565059"/>
                  </a:lnTo>
                  <a:lnTo>
                    <a:pt x="1584034" y="1581155"/>
                  </a:lnTo>
                  <a:lnTo>
                    <a:pt x="1834435" y="1783561"/>
                  </a:lnTo>
                  <a:lnTo>
                    <a:pt x="1975365" y="1899753"/>
                  </a:lnTo>
                  <a:lnTo>
                    <a:pt x="2231981" y="2114231"/>
                  </a:lnTo>
                  <a:lnTo>
                    <a:pt x="2278281" y="2152258"/>
                  </a:lnTo>
                  <a:lnTo>
                    <a:pt x="2322425" y="2188373"/>
                  </a:lnTo>
                  <a:lnTo>
                    <a:pt x="2406526" y="2258491"/>
                  </a:lnTo>
                  <a:cubicBezTo>
                    <a:pt x="2413503" y="2264527"/>
                    <a:pt x="2420606" y="2270462"/>
                    <a:pt x="2427583" y="2276498"/>
                  </a:cubicBezTo>
                  <a:lnTo>
                    <a:pt x="2534898" y="2368648"/>
                  </a:lnTo>
                  <a:cubicBezTo>
                    <a:pt x="2539084" y="2371968"/>
                    <a:pt x="2543270" y="2375388"/>
                    <a:pt x="2547456" y="2378708"/>
                  </a:cubicBezTo>
                  <a:lnTo>
                    <a:pt x="2574855" y="2400739"/>
                  </a:lnTo>
                  <a:lnTo>
                    <a:pt x="2574640" y="2400739"/>
                  </a:lnTo>
                  <a:lnTo>
                    <a:pt x="2574864" y="2400772"/>
                  </a:lnTo>
                  <a:lnTo>
                    <a:pt x="2608534" y="2424867"/>
                  </a:lnTo>
                  <a:cubicBezTo>
                    <a:pt x="2618945" y="2432899"/>
                    <a:pt x="2629578" y="2440797"/>
                    <a:pt x="2639989" y="2448829"/>
                  </a:cubicBezTo>
                  <a:lnTo>
                    <a:pt x="2701127" y="2498894"/>
                  </a:lnTo>
                  <a:cubicBezTo>
                    <a:pt x="2719955" y="2517635"/>
                    <a:pt x="2739005" y="2536242"/>
                    <a:pt x="2757834" y="2554982"/>
                  </a:cubicBezTo>
                  <a:lnTo>
                    <a:pt x="2818971" y="2603173"/>
                  </a:lnTo>
                  <a:lnTo>
                    <a:pt x="3033396" y="2789511"/>
                  </a:lnTo>
                  <a:lnTo>
                    <a:pt x="3262662" y="2977856"/>
                  </a:lnTo>
                  <a:lnTo>
                    <a:pt x="3487941" y="3174233"/>
                  </a:lnTo>
                  <a:lnTo>
                    <a:pt x="3576103" y="3248393"/>
                  </a:lnTo>
                  <a:lnTo>
                    <a:pt x="3855874" y="3490819"/>
                  </a:lnTo>
                  <a:lnTo>
                    <a:pt x="3992769" y="3613170"/>
                  </a:lnTo>
                  <a:lnTo>
                    <a:pt x="4125234" y="3739403"/>
                  </a:lnTo>
                  <a:lnTo>
                    <a:pt x="3771921" y="3735387"/>
                  </a:lnTo>
                  <a:lnTo>
                    <a:pt x="3416392" y="3735387"/>
                  </a:lnTo>
                  <a:lnTo>
                    <a:pt x="3062857" y="3735387"/>
                  </a:lnTo>
                  <a:lnTo>
                    <a:pt x="2707329" y="3733379"/>
                  </a:lnTo>
                  <a:lnTo>
                    <a:pt x="2579073" y="3733379"/>
                  </a:lnTo>
                  <a:lnTo>
                    <a:pt x="2452810" y="3735387"/>
                  </a:lnTo>
                  <a:cubicBezTo>
                    <a:pt x="2454139" y="3727355"/>
                    <a:pt x="2455690" y="3719458"/>
                    <a:pt x="2457019" y="3711292"/>
                  </a:cubicBezTo>
                  <a:lnTo>
                    <a:pt x="2457019" y="3699244"/>
                  </a:lnTo>
                  <a:cubicBezTo>
                    <a:pt x="2457684" y="3695898"/>
                    <a:pt x="2458570" y="3692685"/>
                    <a:pt x="2459234" y="3689338"/>
                  </a:cubicBezTo>
                  <a:lnTo>
                    <a:pt x="2461228" y="3683314"/>
                  </a:lnTo>
                  <a:cubicBezTo>
                    <a:pt x="2463443" y="3682645"/>
                    <a:pt x="2465437" y="3681976"/>
                    <a:pt x="2467652" y="3681307"/>
                  </a:cubicBezTo>
                  <a:cubicBezTo>
                    <a:pt x="2468981" y="3679299"/>
                    <a:pt x="2470531" y="3677291"/>
                    <a:pt x="2471860" y="3675283"/>
                  </a:cubicBezTo>
                  <a:cubicBezTo>
                    <a:pt x="2473854" y="3673944"/>
                    <a:pt x="2476069" y="3672739"/>
                    <a:pt x="2478063" y="3671267"/>
                  </a:cubicBezTo>
                  <a:lnTo>
                    <a:pt x="2478063" y="3661227"/>
                  </a:lnTo>
                  <a:cubicBezTo>
                    <a:pt x="2476734" y="3657880"/>
                    <a:pt x="2475183" y="3654534"/>
                    <a:pt x="2473854" y="3651187"/>
                  </a:cubicBezTo>
                  <a:cubicBezTo>
                    <a:pt x="2470310" y="3642486"/>
                    <a:pt x="2466987" y="3633919"/>
                    <a:pt x="2463443" y="3625084"/>
                  </a:cubicBezTo>
                  <a:cubicBezTo>
                    <a:pt x="2459899" y="3617722"/>
                    <a:pt x="2456355" y="3610493"/>
                    <a:pt x="2452810" y="3603130"/>
                  </a:cubicBezTo>
                  <a:lnTo>
                    <a:pt x="2450817" y="3597107"/>
                  </a:lnTo>
                  <a:lnTo>
                    <a:pt x="2452810" y="3593091"/>
                  </a:lnTo>
                  <a:cubicBezTo>
                    <a:pt x="2447273" y="3577696"/>
                    <a:pt x="2441513" y="3562302"/>
                    <a:pt x="2435975" y="3547042"/>
                  </a:cubicBezTo>
                  <a:cubicBezTo>
                    <a:pt x="2431102" y="3534994"/>
                    <a:pt x="2426229" y="3522946"/>
                    <a:pt x="2421355" y="3511033"/>
                  </a:cubicBezTo>
                  <a:cubicBezTo>
                    <a:pt x="2420026" y="3503670"/>
                    <a:pt x="2418476" y="3496308"/>
                    <a:pt x="2417147" y="3488811"/>
                  </a:cubicBezTo>
                  <a:lnTo>
                    <a:pt x="2417147" y="3476898"/>
                  </a:lnTo>
                  <a:lnTo>
                    <a:pt x="2419140" y="3458826"/>
                  </a:lnTo>
                  <a:lnTo>
                    <a:pt x="2419140" y="3446778"/>
                  </a:lnTo>
                  <a:lnTo>
                    <a:pt x="2419140" y="3438747"/>
                  </a:lnTo>
                  <a:lnTo>
                    <a:pt x="2417147" y="3432723"/>
                  </a:lnTo>
                  <a:cubicBezTo>
                    <a:pt x="2414267" y="3429376"/>
                    <a:pt x="2411609" y="3426163"/>
                    <a:pt x="2408729" y="3422817"/>
                  </a:cubicBezTo>
                  <a:lnTo>
                    <a:pt x="2398097" y="3416793"/>
                  </a:lnTo>
                  <a:cubicBezTo>
                    <a:pt x="2396768" y="3414116"/>
                    <a:pt x="2395217" y="3411439"/>
                    <a:pt x="2393888" y="3408761"/>
                  </a:cubicBezTo>
                  <a:cubicBezTo>
                    <a:pt x="2391894" y="3405415"/>
                    <a:pt x="2389679" y="3402068"/>
                    <a:pt x="2387685" y="3398722"/>
                  </a:cubicBezTo>
                  <a:cubicBezTo>
                    <a:pt x="2384141" y="3389351"/>
                    <a:pt x="2380597" y="3380115"/>
                    <a:pt x="2377053" y="3370744"/>
                  </a:cubicBezTo>
                  <a:cubicBezTo>
                    <a:pt x="2375724" y="3366059"/>
                    <a:pt x="2374173" y="3361374"/>
                    <a:pt x="2372844" y="3356555"/>
                  </a:cubicBezTo>
                  <a:lnTo>
                    <a:pt x="2372844" y="3344641"/>
                  </a:lnTo>
                  <a:lnTo>
                    <a:pt x="2372844" y="3334601"/>
                  </a:lnTo>
                  <a:cubicBezTo>
                    <a:pt x="2375059" y="3329916"/>
                    <a:pt x="2377053" y="3325365"/>
                    <a:pt x="2379268" y="3320679"/>
                  </a:cubicBezTo>
                  <a:cubicBezTo>
                    <a:pt x="2381262" y="3316663"/>
                    <a:pt x="2383477" y="3312514"/>
                    <a:pt x="2385470" y="3308498"/>
                  </a:cubicBezTo>
                  <a:lnTo>
                    <a:pt x="2385470" y="3298458"/>
                  </a:lnTo>
                  <a:cubicBezTo>
                    <a:pt x="2384806" y="3295781"/>
                    <a:pt x="2384141" y="3293237"/>
                    <a:pt x="2383477" y="3290560"/>
                  </a:cubicBezTo>
                  <a:cubicBezTo>
                    <a:pt x="2381262" y="3288552"/>
                    <a:pt x="2379268" y="3286544"/>
                    <a:pt x="2377053" y="3284536"/>
                  </a:cubicBezTo>
                  <a:cubicBezTo>
                    <a:pt x="2372844" y="3279851"/>
                    <a:pt x="2368635" y="3275032"/>
                    <a:pt x="2364427" y="3270347"/>
                  </a:cubicBezTo>
                  <a:cubicBezTo>
                    <a:pt x="2362433" y="3269008"/>
                    <a:pt x="2360218" y="3267803"/>
                    <a:pt x="2358224" y="3266465"/>
                  </a:cubicBezTo>
                  <a:cubicBezTo>
                    <a:pt x="2356895" y="3265795"/>
                    <a:pt x="2355345" y="3265126"/>
                    <a:pt x="2354016" y="3264457"/>
                  </a:cubicBezTo>
                  <a:cubicBezTo>
                    <a:pt x="2353351" y="3262449"/>
                    <a:pt x="2352465" y="3260441"/>
                    <a:pt x="2351800" y="3258433"/>
                  </a:cubicBezTo>
                  <a:cubicBezTo>
                    <a:pt x="2352465" y="3257764"/>
                    <a:pt x="2353351" y="3257094"/>
                    <a:pt x="2354016" y="3256425"/>
                  </a:cubicBezTo>
                  <a:cubicBezTo>
                    <a:pt x="2355345" y="3255756"/>
                    <a:pt x="2356895" y="3255086"/>
                    <a:pt x="2358224" y="3254417"/>
                  </a:cubicBezTo>
                  <a:cubicBezTo>
                    <a:pt x="2359553" y="3253078"/>
                    <a:pt x="2361104" y="3251740"/>
                    <a:pt x="2362433" y="3250401"/>
                  </a:cubicBezTo>
                  <a:lnTo>
                    <a:pt x="2364427" y="3250401"/>
                  </a:lnTo>
                  <a:cubicBezTo>
                    <a:pt x="2363762" y="3247055"/>
                    <a:pt x="2363098" y="3243842"/>
                    <a:pt x="2362433" y="3240495"/>
                  </a:cubicBezTo>
                  <a:cubicBezTo>
                    <a:pt x="2360218" y="3239157"/>
                    <a:pt x="2358224" y="3237818"/>
                    <a:pt x="2356009" y="3236479"/>
                  </a:cubicBezTo>
                  <a:cubicBezTo>
                    <a:pt x="2354680" y="3235810"/>
                    <a:pt x="2353129" y="3235141"/>
                    <a:pt x="2351800" y="3234472"/>
                  </a:cubicBezTo>
                  <a:cubicBezTo>
                    <a:pt x="2349807" y="3233133"/>
                    <a:pt x="2347592" y="3231794"/>
                    <a:pt x="2345598" y="3230456"/>
                  </a:cubicBezTo>
                  <a:lnTo>
                    <a:pt x="2332972" y="3230456"/>
                  </a:lnTo>
                  <a:lnTo>
                    <a:pt x="2326548" y="3230456"/>
                  </a:lnTo>
                  <a:cubicBezTo>
                    <a:pt x="2324554" y="3229117"/>
                    <a:pt x="2322339" y="3227778"/>
                    <a:pt x="2320346" y="3226440"/>
                  </a:cubicBezTo>
                  <a:cubicBezTo>
                    <a:pt x="2317466" y="3223629"/>
                    <a:pt x="2314808" y="3220951"/>
                    <a:pt x="2311928" y="3218274"/>
                  </a:cubicBezTo>
                  <a:cubicBezTo>
                    <a:pt x="2309048" y="3214927"/>
                    <a:pt x="2306390" y="3211715"/>
                    <a:pt x="2303511" y="3208368"/>
                  </a:cubicBezTo>
                  <a:cubicBezTo>
                    <a:pt x="2300631" y="3201675"/>
                    <a:pt x="2297973" y="3195116"/>
                    <a:pt x="2295093" y="3188423"/>
                  </a:cubicBezTo>
                  <a:cubicBezTo>
                    <a:pt x="2294428" y="3184407"/>
                    <a:pt x="2293542" y="3180257"/>
                    <a:pt x="2292878" y="3176241"/>
                  </a:cubicBezTo>
                  <a:lnTo>
                    <a:pt x="2292878" y="3166201"/>
                  </a:lnTo>
                  <a:cubicBezTo>
                    <a:pt x="2292213" y="3162855"/>
                    <a:pt x="2291549" y="3159642"/>
                    <a:pt x="2290884" y="3156295"/>
                  </a:cubicBezTo>
                  <a:cubicBezTo>
                    <a:pt x="2288669" y="3152280"/>
                    <a:pt x="2286676" y="3148264"/>
                    <a:pt x="2284460" y="3144248"/>
                  </a:cubicBezTo>
                  <a:cubicBezTo>
                    <a:pt x="2282467" y="3142240"/>
                    <a:pt x="2280252" y="3140232"/>
                    <a:pt x="2278258" y="3138224"/>
                  </a:cubicBezTo>
                  <a:cubicBezTo>
                    <a:pt x="2275378" y="3136216"/>
                    <a:pt x="2272720" y="3134208"/>
                    <a:pt x="2269841" y="3132200"/>
                  </a:cubicBezTo>
                  <a:cubicBezTo>
                    <a:pt x="2267625" y="3130192"/>
                    <a:pt x="2265632" y="3128184"/>
                    <a:pt x="2263417" y="3126176"/>
                  </a:cubicBezTo>
                  <a:cubicBezTo>
                    <a:pt x="2262088" y="3122830"/>
                    <a:pt x="2260537" y="3119483"/>
                    <a:pt x="2259208" y="3116137"/>
                  </a:cubicBezTo>
                  <a:lnTo>
                    <a:pt x="2259208" y="3114129"/>
                  </a:lnTo>
                  <a:lnTo>
                    <a:pt x="2259208" y="3112121"/>
                  </a:lnTo>
                  <a:cubicBezTo>
                    <a:pt x="2260537" y="3109443"/>
                    <a:pt x="2262088" y="3106900"/>
                    <a:pt x="2263417" y="3104223"/>
                  </a:cubicBezTo>
                  <a:cubicBezTo>
                    <a:pt x="2264746" y="3102215"/>
                    <a:pt x="2266296" y="3100207"/>
                    <a:pt x="2267625" y="3098199"/>
                  </a:cubicBezTo>
                  <a:lnTo>
                    <a:pt x="2267625" y="3096191"/>
                  </a:lnTo>
                  <a:lnTo>
                    <a:pt x="2267625" y="3094183"/>
                  </a:lnTo>
                  <a:cubicBezTo>
                    <a:pt x="2260537" y="3084679"/>
                    <a:pt x="2253670" y="3075442"/>
                    <a:pt x="2246582" y="3066072"/>
                  </a:cubicBezTo>
                  <a:cubicBezTo>
                    <a:pt x="2243037" y="3062056"/>
                    <a:pt x="2239715" y="3058174"/>
                    <a:pt x="2236171" y="3054158"/>
                  </a:cubicBezTo>
                  <a:cubicBezTo>
                    <a:pt x="2233291" y="3048803"/>
                    <a:pt x="2230633" y="3043315"/>
                    <a:pt x="2227753" y="3037960"/>
                  </a:cubicBezTo>
                  <a:lnTo>
                    <a:pt x="2225759" y="3035953"/>
                  </a:lnTo>
                  <a:cubicBezTo>
                    <a:pt x="2223544" y="3035283"/>
                    <a:pt x="2221551" y="3034614"/>
                    <a:pt x="2219336" y="3033945"/>
                  </a:cubicBezTo>
                  <a:cubicBezTo>
                    <a:pt x="2218006" y="3031937"/>
                    <a:pt x="2216456" y="3029929"/>
                    <a:pt x="2215127" y="3027921"/>
                  </a:cubicBezTo>
                  <a:lnTo>
                    <a:pt x="2215127" y="3026047"/>
                  </a:lnTo>
                  <a:lnTo>
                    <a:pt x="2215127" y="3022031"/>
                  </a:lnTo>
                  <a:cubicBezTo>
                    <a:pt x="2216456" y="3020692"/>
                    <a:pt x="2218006" y="3019353"/>
                    <a:pt x="2219336" y="3018015"/>
                  </a:cubicBezTo>
                  <a:cubicBezTo>
                    <a:pt x="2222215" y="3017346"/>
                    <a:pt x="2224873" y="3016676"/>
                    <a:pt x="2227753" y="3016007"/>
                  </a:cubicBezTo>
                  <a:lnTo>
                    <a:pt x="2229747" y="3011991"/>
                  </a:lnTo>
                  <a:lnTo>
                    <a:pt x="2229747" y="3001817"/>
                  </a:lnTo>
                  <a:lnTo>
                    <a:pt x="2229747" y="2993919"/>
                  </a:lnTo>
                  <a:lnTo>
                    <a:pt x="2225759" y="2985888"/>
                  </a:lnTo>
                  <a:lnTo>
                    <a:pt x="2215127" y="2977856"/>
                  </a:lnTo>
                  <a:cubicBezTo>
                    <a:pt x="2213133" y="2976517"/>
                    <a:pt x="2210918" y="2975313"/>
                    <a:pt x="2208924" y="2973974"/>
                  </a:cubicBezTo>
                  <a:cubicBezTo>
                    <a:pt x="2207595" y="2970627"/>
                    <a:pt x="2206045" y="2967281"/>
                    <a:pt x="2204716" y="2963934"/>
                  </a:cubicBezTo>
                  <a:cubicBezTo>
                    <a:pt x="2201836" y="2956438"/>
                    <a:pt x="2199178" y="2949209"/>
                    <a:pt x="2196298" y="2941847"/>
                  </a:cubicBezTo>
                  <a:cubicBezTo>
                    <a:pt x="2194969" y="2934484"/>
                    <a:pt x="2193418" y="2927256"/>
                    <a:pt x="2192089" y="2919893"/>
                  </a:cubicBezTo>
                  <a:lnTo>
                    <a:pt x="2192089" y="2909720"/>
                  </a:lnTo>
                  <a:lnTo>
                    <a:pt x="2192089" y="2901688"/>
                  </a:lnTo>
                  <a:cubicBezTo>
                    <a:pt x="2194083" y="2901018"/>
                    <a:pt x="2196298" y="2900349"/>
                    <a:pt x="2198292" y="2899680"/>
                  </a:cubicBezTo>
                  <a:cubicBezTo>
                    <a:pt x="2200507" y="2897672"/>
                    <a:pt x="2202501" y="2895664"/>
                    <a:pt x="2204716" y="2893656"/>
                  </a:cubicBezTo>
                  <a:cubicBezTo>
                    <a:pt x="2206045" y="2892317"/>
                    <a:pt x="2207595" y="2891113"/>
                    <a:pt x="2208924" y="2889774"/>
                  </a:cubicBezTo>
                  <a:lnTo>
                    <a:pt x="2208924" y="2885758"/>
                  </a:lnTo>
                  <a:cubicBezTo>
                    <a:pt x="2208260" y="2883750"/>
                    <a:pt x="2207374" y="2881742"/>
                    <a:pt x="2206709" y="2879734"/>
                  </a:cubicBezTo>
                  <a:lnTo>
                    <a:pt x="2204716" y="2869695"/>
                  </a:lnTo>
                  <a:cubicBezTo>
                    <a:pt x="2201836" y="2861529"/>
                    <a:pt x="2199178" y="2853631"/>
                    <a:pt x="2196298" y="2845599"/>
                  </a:cubicBezTo>
                  <a:cubicBezTo>
                    <a:pt x="2193418" y="2837567"/>
                    <a:pt x="2190760" y="2829669"/>
                    <a:pt x="2187881" y="2821504"/>
                  </a:cubicBezTo>
                  <a:cubicBezTo>
                    <a:pt x="2185666" y="2812803"/>
                    <a:pt x="2183672" y="2804235"/>
                    <a:pt x="2181457" y="2795534"/>
                  </a:cubicBezTo>
                  <a:cubicBezTo>
                    <a:pt x="2177913" y="2784825"/>
                    <a:pt x="2174590" y="2774116"/>
                    <a:pt x="2171046" y="2763407"/>
                  </a:cubicBezTo>
                  <a:cubicBezTo>
                    <a:pt x="2168831" y="2758722"/>
                    <a:pt x="2166837" y="2754171"/>
                    <a:pt x="2164622" y="2749485"/>
                  </a:cubicBezTo>
                  <a:cubicBezTo>
                    <a:pt x="2161742" y="2745470"/>
                    <a:pt x="2159084" y="2741454"/>
                    <a:pt x="2156204" y="2737438"/>
                  </a:cubicBezTo>
                  <a:cubicBezTo>
                    <a:pt x="2152660" y="2732619"/>
                    <a:pt x="2149337" y="2728067"/>
                    <a:pt x="2145793" y="2723382"/>
                  </a:cubicBezTo>
                  <a:cubicBezTo>
                    <a:pt x="2143578" y="2722044"/>
                    <a:pt x="2141584" y="2720705"/>
                    <a:pt x="2139369" y="2719366"/>
                  </a:cubicBezTo>
                  <a:lnTo>
                    <a:pt x="2109908" y="2707319"/>
                  </a:lnTo>
                  <a:lnTo>
                    <a:pt x="2082662" y="2689247"/>
                  </a:lnTo>
                  <a:cubicBezTo>
                    <a:pt x="2073580" y="2685231"/>
                    <a:pt x="2064276" y="2681349"/>
                    <a:pt x="2055194" y="2677333"/>
                  </a:cubicBezTo>
                  <a:lnTo>
                    <a:pt x="2025733" y="2663278"/>
                  </a:lnTo>
                  <a:lnTo>
                    <a:pt x="2008898" y="2659262"/>
                  </a:lnTo>
                  <a:cubicBezTo>
                    <a:pt x="2007569" y="2658592"/>
                    <a:pt x="2006018" y="2657923"/>
                    <a:pt x="2004689" y="2657254"/>
                  </a:cubicBezTo>
                  <a:cubicBezTo>
                    <a:pt x="2004025" y="2654577"/>
                    <a:pt x="2003360" y="2652033"/>
                    <a:pt x="2002696" y="2649356"/>
                  </a:cubicBezTo>
                  <a:cubicBezTo>
                    <a:pt x="2001367" y="2643867"/>
                    <a:pt x="1999816" y="2638513"/>
                    <a:pt x="1998487" y="2633158"/>
                  </a:cubicBezTo>
                  <a:cubicBezTo>
                    <a:pt x="1997158" y="2628473"/>
                    <a:pt x="1995607" y="2623922"/>
                    <a:pt x="1994278" y="2619237"/>
                  </a:cubicBezTo>
                  <a:cubicBezTo>
                    <a:pt x="1992063" y="2613213"/>
                    <a:pt x="1990069" y="2607189"/>
                    <a:pt x="1987854" y="2601031"/>
                  </a:cubicBezTo>
                  <a:cubicBezTo>
                    <a:pt x="1987190" y="2599693"/>
                    <a:pt x="1986525" y="2598488"/>
                    <a:pt x="1985861" y="2597149"/>
                  </a:cubicBezTo>
                  <a:cubicBezTo>
                    <a:pt x="1985196" y="2595811"/>
                    <a:pt x="1984310" y="2594472"/>
                    <a:pt x="1983645" y="2593133"/>
                  </a:cubicBezTo>
                  <a:lnTo>
                    <a:pt x="1981652" y="2589117"/>
                  </a:lnTo>
                  <a:lnTo>
                    <a:pt x="1981652" y="2581086"/>
                  </a:lnTo>
                  <a:lnTo>
                    <a:pt x="1983645" y="2579078"/>
                  </a:lnTo>
                  <a:lnTo>
                    <a:pt x="1985861" y="2579078"/>
                  </a:lnTo>
                  <a:cubicBezTo>
                    <a:pt x="1987854" y="2578408"/>
                    <a:pt x="1990069" y="2577739"/>
                    <a:pt x="1992063" y="2577070"/>
                  </a:cubicBezTo>
                  <a:lnTo>
                    <a:pt x="1992063" y="2573054"/>
                  </a:lnTo>
                  <a:lnTo>
                    <a:pt x="1992063" y="2563148"/>
                  </a:lnTo>
                  <a:cubicBezTo>
                    <a:pt x="1989183" y="2558463"/>
                    <a:pt x="1986525" y="2553644"/>
                    <a:pt x="1983645" y="2548959"/>
                  </a:cubicBezTo>
                  <a:cubicBezTo>
                    <a:pt x="1979437" y="2542265"/>
                    <a:pt x="1975228" y="2535706"/>
                    <a:pt x="1971019" y="2529013"/>
                  </a:cubicBezTo>
                  <a:cubicBezTo>
                    <a:pt x="1967475" y="2526336"/>
                    <a:pt x="1964152" y="2523658"/>
                    <a:pt x="1960608" y="2520981"/>
                  </a:cubicBezTo>
                  <a:cubicBezTo>
                    <a:pt x="1957728" y="2520312"/>
                    <a:pt x="1955070" y="2519642"/>
                    <a:pt x="1952191" y="2518973"/>
                  </a:cubicBezTo>
                  <a:cubicBezTo>
                    <a:pt x="1948646" y="2518304"/>
                    <a:pt x="1945102" y="2517768"/>
                    <a:pt x="1941558" y="2517099"/>
                  </a:cubicBezTo>
                  <a:cubicBezTo>
                    <a:pt x="1937349" y="2515091"/>
                    <a:pt x="1933140" y="2512949"/>
                    <a:pt x="1928932" y="2510941"/>
                  </a:cubicBezTo>
                  <a:cubicBezTo>
                    <a:pt x="1926052" y="2508933"/>
                    <a:pt x="1923394" y="2506926"/>
                    <a:pt x="1920514" y="2504918"/>
                  </a:cubicBezTo>
                  <a:lnTo>
                    <a:pt x="1918521" y="2500902"/>
                  </a:lnTo>
                  <a:lnTo>
                    <a:pt x="1918521" y="2498894"/>
                  </a:lnTo>
                  <a:lnTo>
                    <a:pt x="1920514" y="2494878"/>
                  </a:lnTo>
                  <a:lnTo>
                    <a:pt x="1920514" y="2484972"/>
                  </a:lnTo>
                  <a:cubicBezTo>
                    <a:pt x="1916970" y="2476940"/>
                    <a:pt x="1913647" y="2469042"/>
                    <a:pt x="1910103" y="2460877"/>
                  </a:cubicBezTo>
                  <a:lnTo>
                    <a:pt x="1910103" y="2454853"/>
                  </a:lnTo>
                  <a:lnTo>
                    <a:pt x="1910103" y="2440797"/>
                  </a:lnTo>
                  <a:cubicBezTo>
                    <a:pt x="1911432" y="2437451"/>
                    <a:pt x="1912983" y="2434238"/>
                    <a:pt x="1914312" y="2430891"/>
                  </a:cubicBezTo>
                  <a:cubicBezTo>
                    <a:pt x="1916305" y="2428883"/>
                    <a:pt x="1918521" y="2426875"/>
                    <a:pt x="1920514" y="2424867"/>
                  </a:cubicBezTo>
                  <a:cubicBezTo>
                    <a:pt x="1921179" y="2422726"/>
                    <a:pt x="1922065" y="2420718"/>
                    <a:pt x="1922729" y="2418710"/>
                  </a:cubicBezTo>
                  <a:lnTo>
                    <a:pt x="1922729" y="2416702"/>
                  </a:lnTo>
                  <a:cubicBezTo>
                    <a:pt x="1922065" y="2414694"/>
                    <a:pt x="1921179" y="2412686"/>
                    <a:pt x="1920514" y="2410678"/>
                  </a:cubicBezTo>
                  <a:cubicBezTo>
                    <a:pt x="1918521" y="2408670"/>
                    <a:pt x="1916305" y="2406796"/>
                    <a:pt x="1914312" y="2404788"/>
                  </a:cubicBezTo>
                  <a:lnTo>
                    <a:pt x="1914497" y="2404741"/>
                  </a:lnTo>
                  <a:lnTo>
                    <a:pt x="1914350" y="2404763"/>
                  </a:lnTo>
                  <a:lnTo>
                    <a:pt x="1901665" y="2394703"/>
                  </a:lnTo>
                  <a:lnTo>
                    <a:pt x="1891137" y="2390780"/>
                  </a:lnTo>
                  <a:lnTo>
                    <a:pt x="1880608" y="2390780"/>
                  </a:lnTo>
                  <a:lnTo>
                    <a:pt x="1865894" y="2388768"/>
                  </a:lnTo>
                  <a:lnTo>
                    <a:pt x="1859678" y="2384744"/>
                  </a:lnTo>
                  <a:cubicBezTo>
                    <a:pt x="1857522" y="2382028"/>
                    <a:pt x="1855492" y="2379412"/>
                    <a:pt x="1853335" y="2376696"/>
                  </a:cubicBezTo>
                  <a:lnTo>
                    <a:pt x="1838621" y="2364725"/>
                  </a:lnTo>
                  <a:cubicBezTo>
                    <a:pt x="1835069" y="2361405"/>
                    <a:pt x="1831644" y="2357984"/>
                    <a:pt x="1828092" y="2354665"/>
                  </a:cubicBezTo>
                  <a:lnTo>
                    <a:pt x="1817564" y="2346617"/>
                  </a:lnTo>
                  <a:lnTo>
                    <a:pt x="1794351" y="2332633"/>
                  </a:lnTo>
                  <a:lnTo>
                    <a:pt x="1769107" y="2322573"/>
                  </a:lnTo>
                  <a:lnTo>
                    <a:pt x="1743864" y="2306578"/>
                  </a:lnTo>
                  <a:cubicBezTo>
                    <a:pt x="1741835" y="2302554"/>
                    <a:pt x="1739678" y="2298530"/>
                    <a:pt x="1737649" y="2294506"/>
                  </a:cubicBezTo>
                  <a:cubicBezTo>
                    <a:pt x="1735492" y="2290482"/>
                    <a:pt x="1733463" y="2286558"/>
                    <a:pt x="1731306" y="2282534"/>
                  </a:cubicBezTo>
                  <a:cubicBezTo>
                    <a:pt x="1727755" y="2273179"/>
                    <a:pt x="1724330" y="2263823"/>
                    <a:pt x="1720778" y="2254467"/>
                  </a:cubicBezTo>
                  <a:cubicBezTo>
                    <a:pt x="1716592" y="2245111"/>
                    <a:pt x="1712279" y="2235756"/>
                    <a:pt x="1708093" y="2226400"/>
                  </a:cubicBezTo>
                  <a:cubicBezTo>
                    <a:pt x="1705302" y="2222376"/>
                    <a:pt x="1702512" y="2218453"/>
                    <a:pt x="1699721" y="2214429"/>
                  </a:cubicBezTo>
                  <a:lnTo>
                    <a:pt x="1691349" y="2202357"/>
                  </a:lnTo>
                  <a:lnTo>
                    <a:pt x="1678664" y="2188373"/>
                  </a:lnTo>
                  <a:lnTo>
                    <a:pt x="1659763" y="2182337"/>
                  </a:lnTo>
                  <a:lnTo>
                    <a:pt x="1642892" y="2178313"/>
                  </a:lnTo>
                  <a:lnTo>
                    <a:pt x="1623992" y="2182337"/>
                  </a:lnTo>
                  <a:cubicBezTo>
                    <a:pt x="1621835" y="2183041"/>
                    <a:pt x="1619806" y="2183645"/>
                    <a:pt x="1617649" y="2184349"/>
                  </a:cubicBezTo>
                  <a:lnTo>
                    <a:pt x="1611434" y="2188373"/>
                  </a:lnTo>
                  <a:lnTo>
                    <a:pt x="1605091" y="2194309"/>
                  </a:lnTo>
                  <a:cubicBezTo>
                    <a:pt x="1602301" y="2195013"/>
                    <a:pt x="1599510" y="2195616"/>
                    <a:pt x="1596719" y="2196321"/>
                  </a:cubicBezTo>
                  <a:cubicBezTo>
                    <a:pt x="1595324" y="2195616"/>
                    <a:pt x="1593802" y="2195013"/>
                    <a:pt x="1592406" y="2194309"/>
                  </a:cubicBezTo>
                  <a:cubicBezTo>
                    <a:pt x="1589616" y="2192297"/>
                    <a:pt x="1586825" y="2190385"/>
                    <a:pt x="1584034" y="2188373"/>
                  </a:cubicBezTo>
                  <a:cubicBezTo>
                    <a:pt x="1579848" y="2187065"/>
                    <a:pt x="1575662" y="2185657"/>
                    <a:pt x="1571476" y="2184349"/>
                  </a:cubicBezTo>
                  <a:lnTo>
                    <a:pt x="1571353" y="2182289"/>
                  </a:lnTo>
                  <a:lnTo>
                    <a:pt x="1567208" y="2180314"/>
                  </a:lnTo>
                  <a:lnTo>
                    <a:pt x="1558794" y="2180314"/>
                  </a:lnTo>
                  <a:lnTo>
                    <a:pt x="1550379" y="2172298"/>
                  </a:lnTo>
                  <a:lnTo>
                    <a:pt x="1546172" y="2162279"/>
                  </a:lnTo>
                  <a:lnTo>
                    <a:pt x="1541965" y="2150255"/>
                  </a:lnTo>
                  <a:lnTo>
                    <a:pt x="1541957" y="2150237"/>
                  </a:lnTo>
                  <a:lnTo>
                    <a:pt x="1405199" y="2272510"/>
                  </a:lnTo>
                  <a:lnTo>
                    <a:pt x="1384200" y="2292557"/>
                  </a:lnTo>
                  <a:cubicBezTo>
                    <a:pt x="1379313" y="2297240"/>
                    <a:pt x="1374349" y="2301866"/>
                    <a:pt x="1369462" y="2306550"/>
                  </a:cubicBezTo>
                  <a:cubicBezTo>
                    <a:pt x="1367324" y="2309234"/>
                    <a:pt x="1365262" y="2311918"/>
                    <a:pt x="1363124" y="2314603"/>
                  </a:cubicBezTo>
                  <a:cubicBezTo>
                    <a:pt x="1361749" y="2317915"/>
                    <a:pt x="1360298" y="2321285"/>
                    <a:pt x="1358924" y="2324597"/>
                  </a:cubicBezTo>
                  <a:cubicBezTo>
                    <a:pt x="1358237" y="2327967"/>
                    <a:pt x="1357549" y="2331280"/>
                    <a:pt x="1356862" y="2334649"/>
                  </a:cubicBezTo>
                  <a:cubicBezTo>
                    <a:pt x="1355488" y="2339333"/>
                    <a:pt x="1354037" y="2343959"/>
                    <a:pt x="1352662" y="2348642"/>
                  </a:cubicBezTo>
                  <a:lnTo>
                    <a:pt x="1352662" y="2368689"/>
                  </a:lnTo>
                  <a:cubicBezTo>
                    <a:pt x="1351975" y="2370003"/>
                    <a:pt x="1351211" y="2371373"/>
                    <a:pt x="1350524" y="2372687"/>
                  </a:cubicBezTo>
                  <a:cubicBezTo>
                    <a:pt x="1349837" y="2373372"/>
                    <a:pt x="1349150" y="2374001"/>
                    <a:pt x="1348462" y="2374686"/>
                  </a:cubicBezTo>
                  <a:lnTo>
                    <a:pt x="1337924" y="2374686"/>
                  </a:lnTo>
                  <a:lnTo>
                    <a:pt x="1329524" y="2376685"/>
                  </a:lnTo>
                  <a:cubicBezTo>
                    <a:pt x="1328837" y="2377370"/>
                    <a:pt x="1328074" y="2377999"/>
                    <a:pt x="1327386" y="2378684"/>
                  </a:cubicBezTo>
                  <a:cubicBezTo>
                    <a:pt x="1326699" y="2380683"/>
                    <a:pt x="1326012" y="2382739"/>
                    <a:pt x="1325325" y="2384738"/>
                  </a:cubicBezTo>
                  <a:lnTo>
                    <a:pt x="1325325" y="2386737"/>
                  </a:lnTo>
                  <a:lnTo>
                    <a:pt x="1325325" y="2392734"/>
                  </a:lnTo>
                  <a:lnTo>
                    <a:pt x="1321048" y="2394733"/>
                  </a:lnTo>
                  <a:cubicBezTo>
                    <a:pt x="1320361" y="2396046"/>
                    <a:pt x="1319674" y="2397417"/>
                    <a:pt x="1318987" y="2398731"/>
                  </a:cubicBezTo>
                  <a:lnTo>
                    <a:pt x="1310587" y="2398731"/>
                  </a:lnTo>
                  <a:cubicBezTo>
                    <a:pt x="1309212" y="2400101"/>
                    <a:pt x="1307761" y="2401415"/>
                    <a:pt x="1306387" y="2402786"/>
                  </a:cubicBezTo>
                  <a:cubicBezTo>
                    <a:pt x="1305700" y="2403471"/>
                    <a:pt x="1304936" y="2404099"/>
                    <a:pt x="1304249" y="2404785"/>
                  </a:cubicBezTo>
                  <a:cubicBezTo>
                    <a:pt x="1302874" y="2408097"/>
                    <a:pt x="1301423" y="2411467"/>
                    <a:pt x="1300049" y="2414779"/>
                  </a:cubicBezTo>
                  <a:lnTo>
                    <a:pt x="1300049" y="2434826"/>
                  </a:lnTo>
                  <a:cubicBezTo>
                    <a:pt x="1299361" y="2435511"/>
                    <a:pt x="1298598" y="2436140"/>
                    <a:pt x="1297911" y="2436825"/>
                  </a:cubicBezTo>
                  <a:lnTo>
                    <a:pt x="1293711" y="2436825"/>
                  </a:lnTo>
                  <a:lnTo>
                    <a:pt x="1276911" y="2438824"/>
                  </a:lnTo>
                  <a:lnTo>
                    <a:pt x="1245373" y="2436825"/>
                  </a:lnTo>
                  <a:lnTo>
                    <a:pt x="1243235" y="2436825"/>
                  </a:lnTo>
                  <a:cubicBezTo>
                    <a:pt x="1241861" y="2437510"/>
                    <a:pt x="1240410" y="2438139"/>
                    <a:pt x="1239035" y="2438824"/>
                  </a:cubicBezTo>
                  <a:lnTo>
                    <a:pt x="1228497" y="2442822"/>
                  </a:lnTo>
                  <a:lnTo>
                    <a:pt x="1211698" y="2452874"/>
                  </a:lnTo>
                  <a:lnTo>
                    <a:pt x="1182222" y="2478917"/>
                  </a:lnTo>
                  <a:lnTo>
                    <a:pt x="1106547" y="2553050"/>
                  </a:lnTo>
                  <a:lnTo>
                    <a:pt x="1028658" y="2619187"/>
                  </a:lnTo>
                  <a:lnTo>
                    <a:pt x="1018120" y="2611191"/>
                  </a:lnTo>
                  <a:cubicBezTo>
                    <a:pt x="1015295" y="2609192"/>
                    <a:pt x="1012545" y="2607136"/>
                    <a:pt x="1009720" y="2605137"/>
                  </a:cubicBezTo>
                  <a:lnTo>
                    <a:pt x="1001320" y="2597142"/>
                  </a:lnTo>
                  <a:lnTo>
                    <a:pt x="990782" y="2591145"/>
                  </a:lnTo>
                  <a:lnTo>
                    <a:pt x="978183" y="2589146"/>
                  </a:lnTo>
                  <a:lnTo>
                    <a:pt x="965583" y="2587147"/>
                  </a:lnTo>
                  <a:lnTo>
                    <a:pt x="955045" y="2587147"/>
                  </a:lnTo>
                  <a:lnTo>
                    <a:pt x="944507" y="2581093"/>
                  </a:lnTo>
                  <a:lnTo>
                    <a:pt x="936107" y="2575096"/>
                  </a:lnTo>
                  <a:cubicBezTo>
                    <a:pt x="933282" y="2571783"/>
                    <a:pt x="930533" y="2568414"/>
                    <a:pt x="927707" y="2565101"/>
                  </a:cubicBezTo>
                  <a:cubicBezTo>
                    <a:pt x="924882" y="2557734"/>
                    <a:pt x="922133" y="2550423"/>
                    <a:pt x="919307" y="2543055"/>
                  </a:cubicBezTo>
                  <a:cubicBezTo>
                    <a:pt x="917169" y="2534374"/>
                    <a:pt x="915107" y="2525693"/>
                    <a:pt x="912969" y="2517012"/>
                  </a:cubicBezTo>
                  <a:lnTo>
                    <a:pt x="904569" y="2506960"/>
                  </a:lnTo>
                  <a:cubicBezTo>
                    <a:pt x="903195" y="2503647"/>
                    <a:pt x="901744" y="2500278"/>
                    <a:pt x="900370" y="2496965"/>
                  </a:cubicBezTo>
                  <a:lnTo>
                    <a:pt x="889832" y="2484914"/>
                  </a:lnTo>
                  <a:cubicBezTo>
                    <a:pt x="887006" y="2480916"/>
                    <a:pt x="884257" y="2476918"/>
                    <a:pt x="881432" y="2472921"/>
                  </a:cubicBezTo>
                  <a:cubicBezTo>
                    <a:pt x="878606" y="2463554"/>
                    <a:pt x="875857" y="2454187"/>
                    <a:pt x="873032" y="2444821"/>
                  </a:cubicBezTo>
                  <a:lnTo>
                    <a:pt x="864556" y="2416778"/>
                  </a:lnTo>
                  <a:cubicBezTo>
                    <a:pt x="863181" y="2412780"/>
                    <a:pt x="861730" y="2408783"/>
                    <a:pt x="860356" y="2404785"/>
                  </a:cubicBezTo>
                  <a:lnTo>
                    <a:pt x="851956" y="2394733"/>
                  </a:lnTo>
                  <a:lnTo>
                    <a:pt x="833018" y="2362692"/>
                  </a:lnTo>
                  <a:cubicBezTo>
                    <a:pt x="827444" y="2352640"/>
                    <a:pt x="821793" y="2342646"/>
                    <a:pt x="816219" y="2332593"/>
                  </a:cubicBezTo>
                  <a:lnTo>
                    <a:pt x="778343" y="2266513"/>
                  </a:lnTo>
                  <a:lnTo>
                    <a:pt x="778343" y="2256461"/>
                  </a:lnTo>
                  <a:lnTo>
                    <a:pt x="769931" y="2246445"/>
                  </a:lnTo>
                  <a:lnTo>
                    <a:pt x="763620" y="2236425"/>
                  </a:lnTo>
                  <a:lnTo>
                    <a:pt x="742584" y="2216386"/>
                  </a:lnTo>
                  <a:lnTo>
                    <a:pt x="717340" y="2202358"/>
                  </a:lnTo>
                  <a:lnTo>
                    <a:pt x="696304" y="2186326"/>
                  </a:lnTo>
                  <a:lnTo>
                    <a:pt x="601153" y="2103565"/>
                  </a:lnTo>
                  <a:lnTo>
                    <a:pt x="599509" y="2106168"/>
                  </a:lnTo>
                  <a:lnTo>
                    <a:pt x="403907" y="1903747"/>
                  </a:lnTo>
                  <a:lnTo>
                    <a:pt x="395498" y="1891766"/>
                  </a:lnTo>
                  <a:cubicBezTo>
                    <a:pt x="393378" y="1887772"/>
                    <a:pt x="391327" y="1883724"/>
                    <a:pt x="389208" y="1879730"/>
                  </a:cubicBezTo>
                  <a:cubicBezTo>
                    <a:pt x="384969" y="1869719"/>
                    <a:pt x="380799" y="1859652"/>
                    <a:pt x="376560" y="1849641"/>
                  </a:cubicBezTo>
                  <a:cubicBezTo>
                    <a:pt x="370270" y="1829617"/>
                    <a:pt x="363912" y="1809539"/>
                    <a:pt x="357622" y="1789516"/>
                  </a:cubicBezTo>
                  <a:lnTo>
                    <a:pt x="358481" y="1785698"/>
                  </a:lnTo>
                  <a:lnTo>
                    <a:pt x="357619" y="1785534"/>
                  </a:lnTo>
                  <a:lnTo>
                    <a:pt x="344997" y="1751466"/>
                  </a:lnTo>
                  <a:lnTo>
                    <a:pt x="340790" y="1737439"/>
                  </a:lnTo>
                  <a:lnTo>
                    <a:pt x="334479" y="1721407"/>
                  </a:lnTo>
                  <a:lnTo>
                    <a:pt x="336583" y="1639244"/>
                  </a:lnTo>
                  <a:lnTo>
                    <a:pt x="336583" y="1597161"/>
                  </a:lnTo>
                  <a:lnTo>
                    <a:pt x="334479" y="1557082"/>
                  </a:lnTo>
                  <a:lnTo>
                    <a:pt x="342893" y="1553074"/>
                  </a:lnTo>
                  <a:lnTo>
                    <a:pt x="347101" y="1549066"/>
                  </a:lnTo>
                  <a:lnTo>
                    <a:pt x="363930" y="1547062"/>
                  </a:lnTo>
                  <a:lnTo>
                    <a:pt x="378655" y="1547062"/>
                  </a:lnTo>
                  <a:lnTo>
                    <a:pt x="395484" y="1547062"/>
                  </a:lnTo>
                  <a:lnTo>
                    <a:pt x="424935" y="1543054"/>
                  </a:lnTo>
                  <a:lnTo>
                    <a:pt x="439661" y="1535038"/>
                  </a:lnTo>
                  <a:lnTo>
                    <a:pt x="456490" y="1527022"/>
                  </a:lnTo>
                  <a:lnTo>
                    <a:pt x="469112" y="1523015"/>
                  </a:lnTo>
                  <a:lnTo>
                    <a:pt x="479630" y="1519007"/>
                  </a:lnTo>
                  <a:lnTo>
                    <a:pt x="490148" y="1517003"/>
                  </a:lnTo>
                  <a:lnTo>
                    <a:pt x="502770" y="1517003"/>
                  </a:lnTo>
                  <a:lnTo>
                    <a:pt x="525910" y="1523015"/>
                  </a:lnTo>
                  <a:lnTo>
                    <a:pt x="551154" y="1533034"/>
                  </a:lnTo>
                  <a:lnTo>
                    <a:pt x="576397" y="1543054"/>
                  </a:lnTo>
                  <a:lnTo>
                    <a:pt x="601641" y="1549066"/>
                  </a:lnTo>
                  <a:lnTo>
                    <a:pt x="628988" y="1557082"/>
                  </a:lnTo>
                  <a:lnTo>
                    <a:pt x="639506" y="1557082"/>
                  </a:lnTo>
                  <a:lnTo>
                    <a:pt x="652128" y="1557082"/>
                  </a:lnTo>
                  <a:lnTo>
                    <a:pt x="681579" y="1553074"/>
                  </a:lnTo>
                  <a:lnTo>
                    <a:pt x="713134" y="1549066"/>
                  </a:lnTo>
                  <a:lnTo>
                    <a:pt x="738377" y="1545058"/>
                  </a:lnTo>
                  <a:lnTo>
                    <a:pt x="755207" y="1543054"/>
                  </a:lnTo>
                  <a:lnTo>
                    <a:pt x="765725" y="1537042"/>
                  </a:lnTo>
                  <a:lnTo>
                    <a:pt x="776243" y="1533034"/>
                  </a:lnTo>
                  <a:lnTo>
                    <a:pt x="786761" y="1529026"/>
                  </a:lnTo>
                  <a:lnTo>
                    <a:pt x="809901" y="1529026"/>
                  </a:lnTo>
                  <a:lnTo>
                    <a:pt x="833041" y="1527022"/>
                  </a:lnTo>
                  <a:lnTo>
                    <a:pt x="847767" y="1523015"/>
                  </a:lnTo>
                  <a:lnTo>
                    <a:pt x="858285" y="1517003"/>
                  </a:lnTo>
                  <a:lnTo>
                    <a:pt x="894047" y="1486943"/>
                  </a:lnTo>
                  <a:lnTo>
                    <a:pt x="912979" y="1472915"/>
                  </a:lnTo>
                  <a:lnTo>
                    <a:pt x="934016" y="1456884"/>
                  </a:lnTo>
                  <a:lnTo>
                    <a:pt x="944534" y="1450872"/>
                  </a:lnTo>
                  <a:lnTo>
                    <a:pt x="950845" y="1440852"/>
                  </a:lnTo>
                  <a:lnTo>
                    <a:pt x="965570" y="1424820"/>
                  </a:lnTo>
                  <a:lnTo>
                    <a:pt x="969778" y="1416804"/>
                  </a:lnTo>
                  <a:lnTo>
                    <a:pt x="978192" y="1410793"/>
                  </a:lnTo>
                  <a:lnTo>
                    <a:pt x="990814" y="1404781"/>
                  </a:lnTo>
                  <a:lnTo>
                    <a:pt x="1003436" y="1402777"/>
                  </a:lnTo>
                  <a:lnTo>
                    <a:pt x="1003436" y="1408422"/>
                  </a:lnTo>
                  <a:lnTo>
                    <a:pt x="1006960" y="1402786"/>
                  </a:lnTo>
                  <a:lnTo>
                    <a:pt x="1038509" y="1376744"/>
                  </a:lnTo>
                  <a:lnTo>
                    <a:pt x="1070058" y="1352679"/>
                  </a:lnTo>
                  <a:lnTo>
                    <a:pt x="1099509" y="1326636"/>
                  </a:lnTo>
                  <a:lnTo>
                    <a:pt x="1112136" y="1312603"/>
                  </a:lnTo>
                  <a:lnTo>
                    <a:pt x="1122665" y="1296544"/>
                  </a:lnTo>
                  <a:lnTo>
                    <a:pt x="1128960" y="1290563"/>
                  </a:lnTo>
                  <a:lnTo>
                    <a:pt x="1137390" y="1280532"/>
                  </a:lnTo>
                  <a:lnTo>
                    <a:pt x="1141587" y="1270501"/>
                  </a:lnTo>
                  <a:cubicBezTo>
                    <a:pt x="1142286" y="1268523"/>
                    <a:pt x="1142986" y="1266498"/>
                    <a:pt x="1143685" y="1264520"/>
                  </a:cubicBezTo>
                  <a:lnTo>
                    <a:pt x="1143685" y="1260517"/>
                  </a:lnTo>
                  <a:lnTo>
                    <a:pt x="1141587" y="1260517"/>
                  </a:lnTo>
                  <a:lnTo>
                    <a:pt x="1139489" y="1250486"/>
                  </a:lnTo>
                  <a:lnTo>
                    <a:pt x="1133193" y="1240456"/>
                  </a:lnTo>
                  <a:lnTo>
                    <a:pt x="1131095" y="1230425"/>
                  </a:lnTo>
                  <a:lnTo>
                    <a:pt x="1131095" y="1224444"/>
                  </a:lnTo>
                  <a:cubicBezTo>
                    <a:pt x="1131794" y="1223784"/>
                    <a:pt x="1132494" y="1223078"/>
                    <a:pt x="1133193" y="1222419"/>
                  </a:cubicBezTo>
                  <a:close/>
                  <a:moveTo>
                    <a:pt x="69420" y="281414"/>
                  </a:moveTo>
                  <a:lnTo>
                    <a:pt x="69420" y="282559"/>
                  </a:lnTo>
                  <a:lnTo>
                    <a:pt x="65213" y="282559"/>
                  </a:lnTo>
                  <a:close/>
                  <a:moveTo>
                    <a:pt x="0" y="0"/>
                  </a:moveTo>
                  <a:lnTo>
                    <a:pt x="63109" y="0"/>
                  </a:lnTo>
                  <a:lnTo>
                    <a:pt x="94664" y="0"/>
                  </a:lnTo>
                  <a:lnTo>
                    <a:pt x="124115" y="0"/>
                  </a:lnTo>
                  <a:lnTo>
                    <a:pt x="309235" y="0"/>
                  </a:lnTo>
                  <a:lnTo>
                    <a:pt x="313442" y="20040"/>
                  </a:lnTo>
                  <a:lnTo>
                    <a:pt x="313442" y="66131"/>
                  </a:lnTo>
                  <a:lnTo>
                    <a:pt x="315546" y="150297"/>
                  </a:lnTo>
                  <a:lnTo>
                    <a:pt x="323960" y="150297"/>
                  </a:lnTo>
                  <a:lnTo>
                    <a:pt x="323960" y="156309"/>
                  </a:lnTo>
                  <a:lnTo>
                    <a:pt x="323960" y="164325"/>
                  </a:lnTo>
                  <a:lnTo>
                    <a:pt x="326064" y="166329"/>
                  </a:lnTo>
                  <a:lnTo>
                    <a:pt x="330271" y="170337"/>
                  </a:lnTo>
                  <a:lnTo>
                    <a:pt x="340789" y="170337"/>
                  </a:lnTo>
                  <a:lnTo>
                    <a:pt x="355515" y="170337"/>
                  </a:lnTo>
                  <a:lnTo>
                    <a:pt x="355515" y="182361"/>
                  </a:lnTo>
                  <a:lnTo>
                    <a:pt x="370240" y="182361"/>
                  </a:lnTo>
                  <a:lnTo>
                    <a:pt x="387069" y="184365"/>
                  </a:lnTo>
                  <a:lnTo>
                    <a:pt x="399691" y="190377"/>
                  </a:lnTo>
                  <a:lnTo>
                    <a:pt x="401795" y="192381"/>
                  </a:lnTo>
                  <a:lnTo>
                    <a:pt x="403898" y="196388"/>
                  </a:lnTo>
                  <a:lnTo>
                    <a:pt x="408106" y="202400"/>
                  </a:lnTo>
                  <a:lnTo>
                    <a:pt x="410209" y="204404"/>
                  </a:lnTo>
                  <a:lnTo>
                    <a:pt x="422831" y="204404"/>
                  </a:lnTo>
                  <a:lnTo>
                    <a:pt x="445971" y="196388"/>
                  </a:lnTo>
                  <a:lnTo>
                    <a:pt x="443868" y="166329"/>
                  </a:lnTo>
                  <a:lnTo>
                    <a:pt x="456489" y="166329"/>
                  </a:lnTo>
                  <a:lnTo>
                    <a:pt x="456489" y="152301"/>
                  </a:lnTo>
                  <a:lnTo>
                    <a:pt x="471215" y="154305"/>
                  </a:lnTo>
                  <a:lnTo>
                    <a:pt x="471215" y="140277"/>
                  </a:lnTo>
                  <a:lnTo>
                    <a:pt x="477526" y="140277"/>
                  </a:lnTo>
                  <a:lnTo>
                    <a:pt x="485940" y="136269"/>
                  </a:lnTo>
                  <a:lnTo>
                    <a:pt x="494355" y="126250"/>
                  </a:lnTo>
                  <a:lnTo>
                    <a:pt x="502769" y="120238"/>
                  </a:lnTo>
                  <a:lnTo>
                    <a:pt x="506977" y="120238"/>
                  </a:lnTo>
                  <a:lnTo>
                    <a:pt x="513288" y="120238"/>
                  </a:lnTo>
                  <a:lnTo>
                    <a:pt x="515391" y="114226"/>
                  </a:lnTo>
                  <a:lnTo>
                    <a:pt x="517495" y="106210"/>
                  </a:lnTo>
                  <a:lnTo>
                    <a:pt x="544842" y="106210"/>
                  </a:lnTo>
                  <a:lnTo>
                    <a:pt x="540635" y="114226"/>
                  </a:lnTo>
                  <a:lnTo>
                    <a:pt x="570086" y="112222"/>
                  </a:lnTo>
                  <a:lnTo>
                    <a:pt x="586915" y="114226"/>
                  </a:lnTo>
                  <a:lnTo>
                    <a:pt x="591122" y="114226"/>
                  </a:lnTo>
                  <a:lnTo>
                    <a:pt x="593226" y="116230"/>
                  </a:lnTo>
                  <a:lnTo>
                    <a:pt x="595329" y="122242"/>
                  </a:lnTo>
                  <a:lnTo>
                    <a:pt x="603744" y="124246"/>
                  </a:lnTo>
                  <a:lnTo>
                    <a:pt x="612159" y="126250"/>
                  </a:lnTo>
                  <a:lnTo>
                    <a:pt x="620573" y="126250"/>
                  </a:lnTo>
                  <a:lnTo>
                    <a:pt x="622677" y="132262"/>
                  </a:lnTo>
                  <a:lnTo>
                    <a:pt x="626884" y="134266"/>
                  </a:lnTo>
                  <a:lnTo>
                    <a:pt x="637402" y="136269"/>
                  </a:lnTo>
                  <a:lnTo>
                    <a:pt x="643713" y="136269"/>
                  </a:lnTo>
                  <a:lnTo>
                    <a:pt x="647920" y="140277"/>
                  </a:lnTo>
                  <a:lnTo>
                    <a:pt x="652128" y="142281"/>
                  </a:lnTo>
                  <a:lnTo>
                    <a:pt x="652128" y="152301"/>
                  </a:lnTo>
                  <a:lnTo>
                    <a:pt x="666853" y="154305"/>
                  </a:lnTo>
                  <a:lnTo>
                    <a:pt x="687890" y="160317"/>
                  </a:lnTo>
                  <a:lnTo>
                    <a:pt x="696304" y="164325"/>
                  </a:lnTo>
                  <a:lnTo>
                    <a:pt x="700511" y="170337"/>
                  </a:lnTo>
                  <a:lnTo>
                    <a:pt x="706822" y="176349"/>
                  </a:lnTo>
                  <a:lnTo>
                    <a:pt x="708926" y="184365"/>
                  </a:lnTo>
                  <a:lnTo>
                    <a:pt x="719444" y="190377"/>
                  </a:lnTo>
                  <a:lnTo>
                    <a:pt x="729962" y="200396"/>
                  </a:lnTo>
                  <a:lnTo>
                    <a:pt x="740480" y="210416"/>
                  </a:lnTo>
                  <a:lnTo>
                    <a:pt x="742584" y="222440"/>
                  </a:lnTo>
                  <a:lnTo>
                    <a:pt x="750999" y="222440"/>
                  </a:lnTo>
                  <a:lnTo>
                    <a:pt x="761517" y="228452"/>
                  </a:lnTo>
                  <a:lnTo>
                    <a:pt x="772035" y="236468"/>
                  </a:lnTo>
                  <a:lnTo>
                    <a:pt x="782553" y="244484"/>
                  </a:lnTo>
                  <a:lnTo>
                    <a:pt x="788864" y="254503"/>
                  </a:lnTo>
                  <a:lnTo>
                    <a:pt x="795175" y="258511"/>
                  </a:lnTo>
                  <a:lnTo>
                    <a:pt x="803590" y="264523"/>
                  </a:lnTo>
                  <a:lnTo>
                    <a:pt x="803590" y="266527"/>
                  </a:lnTo>
                  <a:lnTo>
                    <a:pt x="824626" y="268531"/>
                  </a:lnTo>
                  <a:lnTo>
                    <a:pt x="851973" y="272539"/>
                  </a:lnTo>
                  <a:lnTo>
                    <a:pt x="864595" y="272539"/>
                  </a:lnTo>
                  <a:lnTo>
                    <a:pt x="875113" y="276547"/>
                  </a:lnTo>
                  <a:lnTo>
                    <a:pt x="879321" y="282559"/>
                  </a:lnTo>
                  <a:lnTo>
                    <a:pt x="883528" y="292579"/>
                  </a:lnTo>
                  <a:lnTo>
                    <a:pt x="885632" y="296587"/>
                  </a:lnTo>
                  <a:lnTo>
                    <a:pt x="887735" y="296587"/>
                  </a:lnTo>
                  <a:lnTo>
                    <a:pt x="889839" y="294583"/>
                  </a:lnTo>
                  <a:lnTo>
                    <a:pt x="896150" y="296587"/>
                  </a:lnTo>
                  <a:lnTo>
                    <a:pt x="896150" y="312618"/>
                  </a:lnTo>
                  <a:lnTo>
                    <a:pt x="906668" y="312618"/>
                  </a:lnTo>
                  <a:lnTo>
                    <a:pt x="910875" y="322638"/>
                  </a:lnTo>
                  <a:lnTo>
                    <a:pt x="915082" y="332658"/>
                  </a:lnTo>
                  <a:lnTo>
                    <a:pt x="917186" y="342678"/>
                  </a:lnTo>
                  <a:lnTo>
                    <a:pt x="917186" y="352698"/>
                  </a:lnTo>
                  <a:lnTo>
                    <a:pt x="923497" y="348690"/>
                  </a:lnTo>
                  <a:lnTo>
                    <a:pt x="923497" y="358710"/>
                  </a:lnTo>
                  <a:lnTo>
                    <a:pt x="934015" y="358710"/>
                  </a:lnTo>
                  <a:lnTo>
                    <a:pt x="934015" y="372737"/>
                  </a:lnTo>
                  <a:lnTo>
                    <a:pt x="940326" y="372737"/>
                  </a:lnTo>
                  <a:lnTo>
                    <a:pt x="940326" y="384761"/>
                  </a:lnTo>
                  <a:lnTo>
                    <a:pt x="944533" y="382757"/>
                  </a:lnTo>
                  <a:lnTo>
                    <a:pt x="944533" y="388769"/>
                  </a:lnTo>
                  <a:lnTo>
                    <a:pt x="952948" y="394781"/>
                  </a:lnTo>
                  <a:lnTo>
                    <a:pt x="961362" y="398789"/>
                  </a:lnTo>
                  <a:lnTo>
                    <a:pt x="965570" y="406805"/>
                  </a:lnTo>
                  <a:lnTo>
                    <a:pt x="973984" y="408809"/>
                  </a:lnTo>
                  <a:lnTo>
                    <a:pt x="976088" y="412817"/>
                  </a:lnTo>
                  <a:lnTo>
                    <a:pt x="982399" y="416825"/>
                  </a:lnTo>
                  <a:lnTo>
                    <a:pt x="982399" y="434860"/>
                  </a:lnTo>
                  <a:lnTo>
                    <a:pt x="980295" y="460912"/>
                  </a:lnTo>
                  <a:lnTo>
                    <a:pt x="982399" y="509007"/>
                  </a:lnTo>
                  <a:lnTo>
                    <a:pt x="982399" y="537062"/>
                  </a:lnTo>
                  <a:lnTo>
                    <a:pt x="980295" y="547082"/>
                  </a:lnTo>
                  <a:lnTo>
                    <a:pt x="976088" y="549086"/>
                  </a:lnTo>
                  <a:lnTo>
                    <a:pt x="973984" y="551090"/>
                  </a:lnTo>
                  <a:lnTo>
                    <a:pt x="971881" y="555098"/>
                  </a:lnTo>
                  <a:lnTo>
                    <a:pt x="963466" y="567122"/>
                  </a:lnTo>
                  <a:lnTo>
                    <a:pt x="959259" y="579146"/>
                  </a:lnTo>
                  <a:lnTo>
                    <a:pt x="955056" y="591157"/>
                  </a:lnTo>
                  <a:lnTo>
                    <a:pt x="999217" y="591157"/>
                  </a:lnTo>
                  <a:lnTo>
                    <a:pt x="1043434" y="591157"/>
                  </a:lnTo>
                  <a:lnTo>
                    <a:pt x="1043434" y="589151"/>
                  </a:lnTo>
                  <a:lnTo>
                    <a:pt x="1043434" y="587175"/>
                  </a:lnTo>
                  <a:cubicBezTo>
                    <a:pt x="1044093" y="586496"/>
                    <a:pt x="1044825" y="585848"/>
                    <a:pt x="1045484" y="585169"/>
                  </a:cubicBezTo>
                  <a:cubicBezTo>
                    <a:pt x="1047607" y="583842"/>
                    <a:pt x="1049730" y="582485"/>
                    <a:pt x="1051853" y="581158"/>
                  </a:cubicBezTo>
                  <a:cubicBezTo>
                    <a:pt x="1053244" y="582485"/>
                    <a:pt x="1054635" y="583842"/>
                    <a:pt x="1056026" y="585169"/>
                  </a:cubicBezTo>
                  <a:lnTo>
                    <a:pt x="1056026" y="617234"/>
                  </a:lnTo>
                  <a:lnTo>
                    <a:pt x="1056026" y="657292"/>
                  </a:lnTo>
                  <a:lnTo>
                    <a:pt x="1056026" y="729446"/>
                  </a:lnTo>
                  <a:lnTo>
                    <a:pt x="1056026" y="783545"/>
                  </a:lnTo>
                  <a:lnTo>
                    <a:pt x="1056026" y="807586"/>
                  </a:lnTo>
                  <a:lnTo>
                    <a:pt x="1053922" y="807586"/>
                  </a:lnTo>
                  <a:lnTo>
                    <a:pt x="1053922" y="815272"/>
                  </a:lnTo>
                  <a:lnTo>
                    <a:pt x="1053922" y="849173"/>
                  </a:lnTo>
                  <a:lnTo>
                    <a:pt x="1053922" y="877092"/>
                  </a:lnTo>
                  <a:lnTo>
                    <a:pt x="1053922" y="908999"/>
                  </a:lnTo>
                  <a:lnTo>
                    <a:pt x="673164" y="908999"/>
                  </a:lnTo>
                  <a:lnTo>
                    <a:pt x="631091" y="908999"/>
                  </a:lnTo>
                  <a:lnTo>
                    <a:pt x="610055" y="908999"/>
                  </a:lnTo>
                  <a:lnTo>
                    <a:pt x="591122" y="910993"/>
                  </a:lnTo>
                  <a:lnTo>
                    <a:pt x="574293" y="916976"/>
                  </a:lnTo>
                  <a:lnTo>
                    <a:pt x="557464" y="922959"/>
                  </a:lnTo>
                  <a:lnTo>
                    <a:pt x="540635" y="932930"/>
                  </a:lnTo>
                  <a:lnTo>
                    <a:pt x="523806" y="948883"/>
                  </a:lnTo>
                  <a:lnTo>
                    <a:pt x="500666" y="968825"/>
                  </a:lnTo>
                  <a:lnTo>
                    <a:pt x="473319" y="988767"/>
                  </a:lnTo>
                  <a:lnTo>
                    <a:pt x="420728" y="1020674"/>
                  </a:lnTo>
                  <a:lnTo>
                    <a:pt x="406002" y="1032640"/>
                  </a:lnTo>
                  <a:lnTo>
                    <a:pt x="393380" y="1046599"/>
                  </a:lnTo>
                  <a:lnTo>
                    <a:pt x="378655" y="1060558"/>
                  </a:lnTo>
                  <a:lnTo>
                    <a:pt x="368137" y="1074518"/>
                  </a:lnTo>
                  <a:lnTo>
                    <a:pt x="361826" y="1084489"/>
                  </a:lnTo>
                  <a:lnTo>
                    <a:pt x="357619" y="1092466"/>
                  </a:lnTo>
                  <a:lnTo>
                    <a:pt x="357619" y="1102437"/>
                  </a:lnTo>
                  <a:lnTo>
                    <a:pt x="351308" y="1112408"/>
                  </a:lnTo>
                  <a:lnTo>
                    <a:pt x="340790" y="1120384"/>
                  </a:lnTo>
                  <a:lnTo>
                    <a:pt x="332375" y="1130355"/>
                  </a:lnTo>
                  <a:lnTo>
                    <a:pt x="330271" y="1134344"/>
                  </a:lnTo>
                  <a:lnTo>
                    <a:pt x="330271" y="1142321"/>
                  </a:lnTo>
                  <a:lnTo>
                    <a:pt x="326064" y="1148303"/>
                  </a:lnTo>
                  <a:lnTo>
                    <a:pt x="326064" y="1150297"/>
                  </a:lnTo>
                  <a:lnTo>
                    <a:pt x="321857" y="1152292"/>
                  </a:lnTo>
                  <a:lnTo>
                    <a:pt x="315546" y="1154286"/>
                  </a:lnTo>
                  <a:lnTo>
                    <a:pt x="302924" y="1152292"/>
                  </a:lnTo>
                  <a:lnTo>
                    <a:pt x="290302" y="1150297"/>
                  </a:lnTo>
                  <a:lnTo>
                    <a:pt x="260852" y="1138332"/>
                  </a:lnTo>
                  <a:lnTo>
                    <a:pt x="250333" y="1134344"/>
                  </a:lnTo>
                  <a:lnTo>
                    <a:pt x="246126" y="1134344"/>
                  </a:lnTo>
                  <a:lnTo>
                    <a:pt x="233504" y="1140326"/>
                  </a:lnTo>
                  <a:lnTo>
                    <a:pt x="218779" y="1142321"/>
                  </a:lnTo>
                  <a:lnTo>
                    <a:pt x="208261" y="1144315"/>
                  </a:lnTo>
                  <a:lnTo>
                    <a:pt x="197742" y="1144315"/>
                  </a:lnTo>
                  <a:lnTo>
                    <a:pt x="174602" y="1140326"/>
                  </a:lnTo>
                  <a:lnTo>
                    <a:pt x="149359" y="1132350"/>
                  </a:lnTo>
                  <a:lnTo>
                    <a:pt x="151463" y="1088477"/>
                  </a:lnTo>
                  <a:lnTo>
                    <a:pt x="151463" y="1042611"/>
                  </a:lnTo>
                  <a:lnTo>
                    <a:pt x="151463" y="1008709"/>
                  </a:lnTo>
                  <a:lnTo>
                    <a:pt x="151463" y="988767"/>
                  </a:lnTo>
                  <a:lnTo>
                    <a:pt x="153566" y="982785"/>
                  </a:lnTo>
                  <a:lnTo>
                    <a:pt x="155670" y="978796"/>
                  </a:lnTo>
                  <a:lnTo>
                    <a:pt x="161981" y="968825"/>
                  </a:lnTo>
                  <a:lnTo>
                    <a:pt x="164084" y="956860"/>
                  </a:lnTo>
                  <a:lnTo>
                    <a:pt x="166188" y="946889"/>
                  </a:lnTo>
                  <a:lnTo>
                    <a:pt x="170395" y="940906"/>
                  </a:lnTo>
                  <a:lnTo>
                    <a:pt x="172499" y="938912"/>
                  </a:lnTo>
                  <a:lnTo>
                    <a:pt x="185121" y="938912"/>
                  </a:lnTo>
                  <a:lnTo>
                    <a:pt x="195639" y="932930"/>
                  </a:lnTo>
                  <a:lnTo>
                    <a:pt x="201950" y="930935"/>
                  </a:lnTo>
                  <a:lnTo>
                    <a:pt x="208261" y="922959"/>
                  </a:lnTo>
                  <a:lnTo>
                    <a:pt x="212468" y="916976"/>
                  </a:lnTo>
                  <a:lnTo>
                    <a:pt x="214572" y="903017"/>
                  </a:lnTo>
                  <a:lnTo>
                    <a:pt x="216675" y="899028"/>
                  </a:lnTo>
                  <a:lnTo>
                    <a:pt x="218779" y="893046"/>
                  </a:lnTo>
                  <a:lnTo>
                    <a:pt x="225090" y="891051"/>
                  </a:lnTo>
                  <a:lnTo>
                    <a:pt x="233504" y="893046"/>
                  </a:lnTo>
                  <a:lnTo>
                    <a:pt x="235608" y="893046"/>
                  </a:lnTo>
                  <a:lnTo>
                    <a:pt x="239815" y="891051"/>
                  </a:lnTo>
                  <a:lnTo>
                    <a:pt x="246126" y="883075"/>
                  </a:lnTo>
                  <a:lnTo>
                    <a:pt x="250333" y="873104"/>
                  </a:lnTo>
                  <a:lnTo>
                    <a:pt x="258748" y="867121"/>
                  </a:lnTo>
                  <a:lnTo>
                    <a:pt x="267162" y="859144"/>
                  </a:lnTo>
                  <a:lnTo>
                    <a:pt x="273473" y="855156"/>
                  </a:lnTo>
                  <a:lnTo>
                    <a:pt x="283991" y="851167"/>
                  </a:lnTo>
                  <a:lnTo>
                    <a:pt x="294510" y="849173"/>
                  </a:lnTo>
                  <a:lnTo>
                    <a:pt x="313442" y="847179"/>
                  </a:lnTo>
                  <a:lnTo>
                    <a:pt x="336582" y="847179"/>
                  </a:lnTo>
                  <a:lnTo>
                    <a:pt x="338555" y="846556"/>
                  </a:lnTo>
                  <a:cubicBezTo>
                    <a:pt x="337868" y="828896"/>
                    <a:pt x="337242" y="811235"/>
                    <a:pt x="336551" y="793575"/>
                  </a:cubicBezTo>
                  <a:lnTo>
                    <a:pt x="336551" y="779533"/>
                  </a:lnTo>
                  <a:cubicBezTo>
                    <a:pt x="335892" y="774194"/>
                    <a:pt x="335160" y="768855"/>
                    <a:pt x="334501" y="763516"/>
                  </a:cubicBezTo>
                  <a:lnTo>
                    <a:pt x="328132" y="751481"/>
                  </a:lnTo>
                  <a:cubicBezTo>
                    <a:pt x="326741" y="750153"/>
                    <a:pt x="325350" y="748796"/>
                    <a:pt x="323959" y="747469"/>
                  </a:cubicBezTo>
                  <a:lnTo>
                    <a:pt x="323959" y="739475"/>
                  </a:lnTo>
                  <a:cubicBezTo>
                    <a:pt x="324691" y="737470"/>
                    <a:pt x="325350" y="735464"/>
                    <a:pt x="326082" y="733458"/>
                  </a:cubicBezTo>
                  <a:cubicBezTo>
                    <a:pt x="326741" y="732779"/>
                    <a:pt x="327473" y="732131"/>
                    <a:pt x="328132" y="731452"/>
                  </a:cubicBezTo>
                  <a:cubicBezTo>
                    <a:pt x="330255" y="730773"/>
                    <a:pt x="332378" y="730125"/>
                    <a:pt x="334501" y="729446"/>
                  </a:cubicBezTo>
                  <a:cubicBezTo>
                    <a:pt x="337283" y="727440"/>
                    <a:pt x="340138" y="725434"/>
                    <a:pt x="342920" y="723428"/>
                  </a:cubicBezTo>
                  <a:cubicBezTo>
                    <a:pt x="344311" y="722749"/>
                    <a:pt x="345701" y="722101"/>
                    <a:pt x="347092" y="721422"/>
                  </a:cubicBezTo>
                  <a:cubicBezTo>
                    <a:pt x="347824" y="720095"/>
                    <a:pt x="348483" y="718737"/>
                    <a:pt x="349215" y="717410"/>
                  </a:cubicBezTo>
                  <a:cubicBezTo>
                    <a:pt x="350606" y="712750"/>
                    <a:pt x="351997" y="708059"/>
                    <a:pt x="353388" y="703399"/>
                  </a:cubicBezTo>
                  <a:lnTo>
                    <a:pt x="353388" y="687351"/>
                  </a:lnTo>
                  <a:lnTo>
                    <a:pt x="359508" y="650756"/>
                  </a:lnTo>
                  <a:lnTo>
                    <a:pt x="349204" y="657300"/>
                  </a:lnTo>
                  <a:lnTo>
                    <a:pt x="302924" y="683352"/>
                  </a:lnTo>
                  <a:lnTo>
                    <a:pt x="294509" y="687360"/>
                  </a:lnTo>
                  <a:lnTo>
                    <a:pt x="292406" y="669324"/>
                  </a:lnTo>
                  <a:lnTo>
                    <a:pt x="273473" y="671328"/>
                  </a:lnTo>
                  <a:lnTo>
                    <a:pt x="273473" y="667320"/>
                  </a:lnTo>
                  <a:lnTo>
                    <a:pt x="271369" y="663312"/>
                  </a:lnTo>
                  <a:lnTo>
                    <a:pt x="265058" y="661308"/>
                  </a:lnTo>
                  <a:lnTo>
                    <a:pt x="260851" y="663312"/>
                  </a:lnTo>
                  <a:lnTo>
                    <a:pt x="260851" y="653292"/>
                  </a:lnTo>
                  <a:lnTo>
                    <a:pt x="260851" y="647281"/>
                  </a:lnTo>
                  <a:lnTo>
                    <a:pt x="254540" y="639265"/>
                  </a:lnTo>
                  <a:lnTo>
                    <a:pt x="248229" y="639265"/>
                  </a:lnTo>
                  <a:lnTo>
                    <a:pt x="248229" y="635257"/>
                  </a:lnTo>
                  <a:lnTo>
                    <a:pt x="241918" y="631249"/>
                  </a:lnTo>
                  <a:lnTo>
                    <a:pt x="239815" y="631249"/>
                  </a:lnTo>
                  <a:lnTo>
                    <a:pt x="239815" y="627241"/>
                  </a:lnTo>
                  <a:lnTo>
                    <a:pt x="233504" y="629245"/>
                  </a:lnTo>
                  <a:lnTo>
                    <a:pt x="233504" y="617221"/>
                  </a:lnTo>
                  <a:lnTo>
                    <a:pt x="220882" y="617221"/>
                  </a:lnTo>
                  <a:lnTo>
                    <a:pt x="220882" y="611209"/>
                  </a:lnTo>
                  <a:lnTo>
                    <a:pt x="218778" y="607201"/>
                  </a:lnTo>
                  <a:lnTo>
                    <a:pt x="216675" y="605197"/>
                  </a:lnTo>
                  <a:lnTo>
                    <a:pt x="208260" y="607201"/>
                  </a:lnTo>
                  <a:lnTo>
                    <a:pt x="210364" y="597181"/>
                  </a:lnTo>
                  <a:lnTo>
                    <a:pt x="208260" y="589166"/>
                  </a:lnTo>
                  <a:lnTo>
                    <a:pt x="201949" y="585158"/>
                  </a:lnTo>
                  <a:lnTo>
                    <a:pt x="191431" y="585158"/>
                  </a:lnTo>
                  <a:lnTo>
                    <a:pt x="189327" y="577142"/>
                  </a:lnTo>
                  <a:lnTo>
                    <a:pt x="187224" y="571130"/>
                  </a:lnTo>
                  <a:lnTo>
                    <a:pt x="170395" y="559106"/>
                  </a:lnTo>
                  <a:lnTo>
                    <a:pt x="157773" y="549086"/>
                  </a:lnTo>
                  <a:lnTo>
                    <a:pt x="145151" y="539066"/>
                  </a:lnTo>
                  <a:lnTo>
                    <a:pt x="143047" y="531051"/>
                  </a:lnTo>
                  <a:lnTo>
                    <a:pt x="136736" y="525039"/>
                  </a:lnTo>
                  <a:lnTo>
                    <a:pt x="128322" y="527043"/>
                  </a:lnTo>
                  <a:lnTo>
                    <a:pt x="122011" y="515019"/>
                  </a:lnTo>
                  <a:lnTo>
                    <a:pt x="115700" y="509007"/>
                  </a:lnTo>
                  <a:lnTo>
                    <a:pt x="105182" y="507003"/>
                  </a:lnTo>
                  <a:lnTo>
                    <a:pt x="105182" y="494979"/>
                  </a:lnTo>
                  <a:lnTo>
                    <a:pt x="100975" y="494979"/>
                  </a:lnTo>
                  <a:lnTo>
                    <a:pt x="100975" y="484959"/>
                  </a:lnTo>
                  <a:lnTo>
                    <a:pt x="96767" y="476944"/>
                  </a:lnTo>
                  <a:lnTo>
                    <a:pt x="90456" y="474940"/>
                  </a:lnTo>
                  <a:lnTo>
                    <a:pt x="79938" y="476944"/>
                  </a:lnTo>
                  <a:lnTo>
                    <a:pt x="82042" y="468928"/>
                  </a:lnTo>
                  <a:lnTo>
                    <a:pt x="69420" y="470932"/>
                  </a:lnTo>
                  <a:lnTo>
                    <a:pt x="65213" y="458908"/>
                  </a:lnTo>
                  <a:lnTo>
                    <a:pt x="63109" y="448888"/>
                  </a:lnTo>
                  <a:lnTo>
                    <a:pt x="58902" y="444880"/>
                  </a:lnTo>
                  <a:lnTo>
                    <a:pt x="54694" y="438868"/>
                  </a:lnTo>
                  <a:lnTo>
                    <a:pt x="58902" y="432856"/>
                  </a:lnTo>
                  <a:lnTo>
                    <a:pt x="63109" y="432856"/>
                  </a:lnTo>
                  <a:lnTo>
                    <a:pt x="65213" y="432856"/>
                  </a:lnTo>
                  <a:lnTo>
                    <a:pt x="69420" y="426844"/>
                  </a:lnTo>
                  <a:lnTo>
                    <a:pt x="65213" y="422836"/>
                  </a:lnTo>
                  <a:lnTo>
                    <a:pt x="63109" y="418829"/>
                  </a:lnTo>
                  <a:lnTo>
                    <a:pt x="63109" y="402797"/>
                  </a:lnTo>
                  <a:lnTo>
                    <a:pt x="63109" y="386765"/>
                  </a:lnTo>
                  <a:lnTo>
                    <a:pt x="61005" y="374741"/>
                  </a:lnTo>
                  <a:lnTo>
                    <a:pt x="63109" y="358710"/>
                  </a:lnTo>
                  <a:lnTo>
                    <a:pt x="54694" y="358710"/>
                  </a:lnTo>
                  <a:lnTo>
                    <a:pt x="58902" y="352698"/>
                  </a:lnTo>
                  <a:lnTo>
                    <a:pt x="58902" y="344682"/>
                  </a:lnTo>
                  <a:lnTo>
                    <a:pt x="65213" y="334662"/>
                  </a:lnTo>
                  <a:lnTo>
                    <a:pt x="71524" y="328650"/>
                  </a:lnTo>
                  <a:lnTo>
                    <a:pt x="79938" y="324642"/>
                  </a:lnTo>
                  <a:lnTo>
                    <a:pt x="84145" y="318630"/>
                  </a:lnTo>
                  <a:lnTo>
                    <a:pt x="86249" y="314622"/>
                  </a:lnTo>
                  <a:lnTo>
                    <a:pt x="84145" y="306606"/>
                  </a:lnTo>
                  <a:lnTo>
                    <a:pt x="92560" y="306606"/>
                  </a:lnTo>
                  <a:lnTo>
                    <a:pt x="90456" y="296587"/>
                  </a:lnTo>
                  <a:lnTo>
                    <a:pt x="84145" y="288571"/>
                  </a:lnTo>
                  <a:lnTo>
                    <a:pt x="75731" y="288571"/>
                  </a:lnTo>
                  <a:lnTo>
                    <a:pt x="79938" y="278551"/>
                  </a:lnTo>
                  <a:lnTo>
                    <a:pt x="69420" y="281414"/>
                  </a:lnTo>
                  <a:lnTo>
                    <a:pt x="69420" y="266527"/>
                  </a:lnTo>
                  <a:lnTo>
                    <a:pt x="69420" y="252499"/>
                  </a:lnTo>
                  <a:lnTo>
                    <a:pt x="69420" y="244484"/>
                  </a:lnTo>
                  <a:lnTo>
                    <a:pt x="65213" y="238472"/>
                  </a:lnTo>
                  <a:lnTo>
                    <a:pt x="61005" y="234464"/>
                  </a:lnTo>
                  <a:lnTo>
                    <a:pt x="52591" y="234464"/>
                  </a:lnTo>
                  <a:lnTo>
                    <a:pt x="48384" y="226448"/>
                  </a:lnTo>
                  <a:lnTo>
                    <a:pt x="48384" y="220436"/>
                  </a:lnTo>
                  <a:lnTo>
                    <a:pt x="52591" y="212420"/>
                  </a:lnTo>
                  <a:lnTo>
                    <a:pt x="58902" y="210416"/>
                  </a:lnTo>
                  <a:lnTo>
                    <a:pt x="73627" y="202400"/>
                  </a:lnTo>
                  <a:lnTo>
                    <a:pt x="86249" y="194384"/>
                  </a:lnTo>
                  <a:lnTo>
                    <a:pt x="96767" y="182361"/>
                  </a:lnTo>
                  <a:lnTo>
                    <a:pt x="105182" y="172341"/>
                  </a:lnTo>
                  <a:lnTo>
                    <a:pt x="105182" y="160317"/>
                  </a:lnTo>
                  <a:lnTo>
                    <a:pt x="103078" y="142281"/>
                  </a:lnTo>
                  <a:lnTo>
                    <a:pt x="100975" y="134266"/>
                  </a:lnTo>
                  <a:lnTo>
                    <a:pt x="94664" y="126250"/>
                  </a:lnTo>
                  <a:lnTo>
                    <a:pt x="94664" y="124246"/>
                  </a:lnTo>
                  <a:lnTo>
                    <a:pt x="96767" y="124246"/>
                  </a:lnTo>
                  <a:lnTo>
                    <a:pt x="111493" y="124246"/>
                  </a:lnTo>
                  <a:lnTo>
                    <a:pt x="107285" y="112222"/>
                  </a:lnTo>
                  <a:lnTo>
                    <a:pt x="103078" y="102202"/>
                  </a:lnTo>
                  <a:lnTo>
                    <a:pt x="92560" y="96190"/>
                  </a:lnTo>
                  <a:lnTo>
                    <a:pt x="82042" y="92182"/>
                  </a:lnTo>
                  <a:lnTo>
                    <a:pt x="58902" y="86170"/>
                  </a:lnTo>
                  <a:lnTo>
                    <a:pt x="44176" y="82162"/>
                  </a:lnTo>
                  <a:lnTo>
                    <a:pt x="37865" y="76151"/>
                  </a:lnTo>
                  <a:lnTo>
                    <a:pt x="27347" y="66131"/>
                  </a:lnTo>
                  <a:lnTo>
                    <a:pt x="21036" y="54107"/>
                  </a:lnTo>
                  <a:lnTo>
                    <a:pt x="18933" y="30059"/>
                  </a:lnTo>
                  <a:lnTo>
                    <a:pt x="16829" y="22043"/>
                  </a:lnTo>
                  <a:lnTo>
                    <a:pt x="8414" y="14028"/>
                  </a:lnTo>
                  <a:lnTo>
                    <a:pt x="2104" y="8016"/>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ierra                                         </a:t>
              </a:r>
            </a:p>
          </p:txBody>
        </p:sp>
        <p:sp>
          <p:nvSpPr>
            <p:cNvPr id="12" name="Central Coast"/>
            <p:cNvSpPr>
              <a:spLocks/>
            </p:cNvSpPr>
            <p:nvPr/>
          </p:nvSpPr>
          <p:spPr bwMode="auto">
            <a:xfrm>
              <a:off x="3109048" y="4674571"/>
              <a:ext cx="2019488" cy="2336627"/>
            </a:xfrm>
            <a:custGeom>
              <a:avLst/>
              <a:gdLst/>
              <a:ahLst/>
              <a:cxnLst/>
              <a:rect l="l" t="t" r="r" b="b"/>
              <a:pathLst>
                <a:path w="2019488" h="2336627">
                  <a:moveTo>
                    <a:pt x="109381" y="0"/>
                  </a:moveTo>
                  <a:cubicBezTo>
                    <a:pt x="112872" y="4687"/>
                    <a:pt x="116413" y="9341"/>
                    <a:pt x="119904" y="14028"/>
                  </a:cubicBezTo>
                  <a:lnTo>
                    <a:pt x="130426" y="26058"/>
                  </a:lnTo>
                  <a:lnTo>
                    <a:pt x="145157" y="36088"/>
                  </a:lnTo>
                  <a:cubicBezTo>
                    <a:pt x="145876" y="38087"/>
                    <a:pt x="146543" y="40086"/>
                    <a:pt x="147262" y="42085"/>
                  </a:cubicBezTo>
                  <a:cubicBezTo>
                    <a:pt x="148648" y="44739"/>
                    <a:pt x="150085" y="47428"/>
                    <a:pt x="151471" y="50082"/>
                  </a:cubicBezTo>
                  <a:cubicBezTo>
                    <a:pt x="152857" y="50771"/>
                    <a:pt x="154294" y="51426"/>
                    <a:pt x="155680" y="52115"/>
                  </a:cubicBezTo>
                  <a:lnTo>
                    <a:pt x="157784" y="52115"/>
                  </a:lnTo>
                  <a:lnTo>
                    <a:pt x="168307" y="56114"/>
                  </a:lnTo>
                  <a:lnTo>
                    <a:pt x="178829" y="60112"/>
                  </a:lnTo>
                  <a:lnTo>
                    <a:pt x="183038" y="62111"/>
                  </a:lnTo>
                  <a:cubicBezTo>
                    <a:pt x="183757" y="63455"/>
                    <a:pt x="184424" y="64800"/>
                    <a:pt x="185143" y="66144"/>
                  </a:cubicBezTo>
                  <a:lnTo>
                    <a:pt x="199823" y="82172"/>
                  </a:lnTo>
                  <a:lnTo>
                    <a:pt x="212449" y="96200"/>
                  </a:lnTo>
                  <a:lnTo>
                    <a:pt x="227181" y="108229"/>
                  </a:lnTo>
                  <a:lnTo>
                    <a:pt x="246121" y="118225"/>
                  </a:lnTo>
                  <a:lnTo>
                    <a:pt x="284002" y="136252"/>
                  </a:lnTo>
                  <a:lnTo>
                    <a:pt x="321831" y="150280"/>
                  </a:lnTo>
                  <a:lnTo>
                    <a:pt x="340771" y="158312"/>
                  </a:lnTo>
                  <a:lnTo>
                    <a:pt x="357607" y="166343"/>
                  </a:lnTo>
                  <a:lnTo>
                    <a:pt x="370234" y="178337"/>
                  </a:lnTo>
                  <a:lnTo>
                    <a:pt x="384965" y="190367"/>
                  </a:lnTo>
                  <a:lnTo>
                    <a:pt x="435473" y="240483"/>
                  </a:lnTo>
                  <a:lnTo>
                    <a:pt x="443891" y="250479"/>
                  </a:lnTo>
                  <a:lnTo>
                    <a:pt x="454362" y="262509"/>
                  </a:lnTo>
                  <a:cubicBezTo>
                    <a:pt x="457852" y="267851"/>
                    <a:pt x="461394" y="273194"/>
                    <a:pt x="464884" y="278536"/>
                  </a:cubicBezTo>
                  <a:lnTo>
                    <a:pt x="475406" y="288566"/>
                  </a:lnTo>
                  <a:lnTo>
                    <a:pt x="488033" y="292565"/>
                  </a:lnTo>
                  <a:lnTo>
                    <a:pt x="500660" y="298597"/>
                  </a:lnTo>
                  <a:lnTo>
                    <a:pt x="506973" y="300596"/>
                  </a:lnTo>
                  <a:cubicBezTo>
                    <a:pt x="508359" y="301940"/>
                    <a:pt x="509797" y="303250"/>
                    <a:pt x="511182" y="304594"/>
                  </a:cubicBezTo>
                  <a:cubicBezTo>
                    <a:pt x="511901" y="306593"/>
                    <a:pt x="512568" y="308627"/>
                    <a:pt x="513287" y="310626"/>
                  </a:cubicBezTo>
                  <a:lnTo>
                    <a:pt x="513287" y="318623"/>
                  </a:lnTo>
                  <a:lnTo>
                    <a:pt x="502764" y="312625"/>
                  </a:lnTo>
                  <a:lnTo>
                    <a:pt x="494347" y="308592"/>
                  </a:lnTo>
                  <a:lnTo>
                    <a:pt x="479615" y="304594"/>
                  </a:lnTo>
                  <a:lnTo>
                    <a:pt x="473956" y="308781"/>
                  </a:lnTo>
                  <a:lnTo>
                    <a:pt x="479594" y="306629"/>
                  </a:lnTo>
                  <a:lnTo>
                    <a:pt x="494348" y="310630"/>
                  </a:lnTo>
                  <a:lnTo>
                    <a:pt x="502735" y="314632"/>
                  </a:lnTo>
                  <a:lnTo>
                    <a:pt x="513295" y="320634"/>
                  </a:lnTo>
                  <a:lnTo>
                    <a:pt x="519585" y="320634"/>
                  </a:lnTo>
                  <a:cubicBezTo>
                    <a:pt x="521008" y="319321"/>
                    <a:pt x="522356" y="317945"/>
                    <a:pt x="523779" y="316632"/>
                  </a:cubicBezTo>
                  <a:lnTo>
                    <a:pt x="538532" y="306629"/>
                  </a:lnTo>
                  <a:lnTo>
                    <a:pt x="553286" y="286558"/>
                  </a:lnTo>
                  <a:cubicBezTo>
                    <a:pt x="556056" y="282557"/>
                    <a:pt x="558902" y="278555"/>
                    <a:pt x="561673" y="274554"/>
                  </a:cubicBezTo>
                  <a:cubicBezTo>
                    <a:pt x="563096" y="270552"/>
                    <a:pt x="564444" y="266488"/>
                    <a:pt x="565867" y="262487"/>
                  </a:cubicBezTo>
                  <a:lnTo>
                    <a:pt x="576426" y="250482"/>
                  </a:lnTo>
                  <a:cubicBezTo>
                    <a:pt x="578523" y="249169"/>
                    <a:pt x="580620" y="247794"/>
                    <a:pt x="582717" y="246481"/>
                  </a:cubicBezTo>
                  <a:lnTo>
                    <a:pt x="586911" y="246481"/>
                  </a:lnTo>
                  <a:lnTo>
                    <a:pt x="597395" y="246481"/>
                  </a:lnTo>
                  <a:lnTo>
                    <a:pt x="605858" y="244480"/>
                  </a:lnTo>
                  <a:lnTo>
                    <a:pt x="614246" y="244480"/>
                  </a:lnTo>
                  <a:lnTo>
                    <a:pt x="622708" y="250482"/>
                  </a:lnTo>
                  <a:cubicBezTo>
                    <a:pt x="626228" y="253796"/>
                    <a:pt x="629673" y="257172"/>
                    <a:pt x="633193" y="260486"/>
                  </a:cubicBezTo>
                  <a:lnTo>
                    <a:pt x="637386" y="262487"/>
                  </a:lnTo>
                  <a:lnTo>
                    <a:pt x="645849" y="262487"/>
                  </a:lnTo>
                  <a:lnTo>
                    <a:pt x="772038" y="264550"/>
                  </a:lnTo>
                  <a:cubicBezTo>
                    <a:pt x="769267" y="267238"/>
                    <a:pt x="766421" y="269864"/>
                    <a:pt x="763650" y="272553"/>
                  </a:cubicBezTo>
                  <a:cubicBezTo>
                    <a:pt x="762901" y="275242"/>
                    <a:pt x="762227" y="277868"/>
                    <a:pt x="761478" y="280556"/>
                  </a:cubicBezTo>
                  <a:lnTo>
                    <a:pt x="761478" y="284558"/>
                  </a:lnTo>
                  <a:lnTo>
                    <a:pt x="763650" y="286558"/>
                  </a:lnTo>
                  <a:lnTo>
                    <a:pt x="774135" y="292561"/>
                  </a:lnTo>
                  <a:lnTo>
                    <a:pt x="782522" y="296562"/>
                  </a:lnTo>
                  <a:lnTo>
                    <a:pt x="803566" y="316632"/>
                  </a:lnTo>
                  <a:lnTo>
                    <a:pt x="818320" y="340642"/>
                  </a:lnTo>
                  <a:lnTo>
                    <a:pt x="822513" y="344706"/>
                  </a:lnTo>
                  <a:cubicBezTo>
                    <a:pt x="823187" y="347394"/>
                    <a:pt x="823936" y="350020"/>
                    <a:pt x="824610" y="352709"/>
                  </a:cubicBezTo>
                  <a:cubicBezTo>
                    <a:pt x="825284" y="354022"/>
                    <a:pt x="826033" y="355397"/>
                    <a:pt x="826707" y="356710"/>
                  </a:cubicBezTo>
                  <a:cubicBezTo>
                    <a:pt x="827381" y="358711"/>
                    <a:pt x="828130" y="360712"/>
                    <a:pt x="828804" y="362713"/>
                  </a:cubicBezTo>
                  <a:lnTo>
                    <a:pt x="849848" y="374717"/>
                  </a:lnTo>
                  <a:lnTo>
                    <a:pt x="872989" y="384784"/>
                  </a:lnTo>
                  <a:lnTo>
                    <a:pt x="931927" y="406792"/>
                  </a:lnTo>
                  <a:lnTo>
                    <a:pt x="961358" y="422861"/>
                  </a:lnTo>
                  <a:cubicBezTo>
                    <a:pt x="965552" y="425549"/>
                    <a:pt x="969821" y="428175"/>
                    <a:pt x="974015" y="430864"/>
                  </a:cubicBezTo>
                  <a:cubicBezTo>
                    <a:pt x="976786" y="433552"/>
                    <a:pt x="979632" y="436178"/>
                    <a:pt x="982402" y="438867"/>
                  </a:cubicBezTo>
                  <a:lnTo>
                    <a:pt x="1100204" y="547096"/>
                  </a:lnTo>
                  <a:lnTo>
                    <a:pt x="1125441" y="567104"/>
                  </a:lnTo>
                  <a:lnTo>
                    <a:pt x="1159067" y="593176"/>
                  </a:lnTo>
                  <a:lnTo>
                    <a:pt x="1190670" y="619249"/>
                  </a:lnTo>
                  <a:lnTo>
                    <a:pt x="1201155" y="633254"/>
                  </a:lnTo>
                  <a:cubicBezTo>
                    <a:pt x="1204001" y="637256"/>
                    <a:pt x="1206772" y="641257"/>
                    <a:pt x="1209618" y="645259"/>
                  </a:cubicBezTo>
                  <a:cubicBezTo>
                    <a:pt x="1210292" y="649260"/>
                    <a:pt x="1211040" y="653324"/>
                    <a:pt x="1211714" y="657326"/>
                  </a:cubicBezTo>
                  <a:cubicBezTo>
                    <a:pt x="1213137" y="663328"/>
                    <a:pt x="1214485" y="669330"/>
                    <a:pt x="1215908" y="675333"/>
                  </a:cubicBezTo>
                  <a:cubicBezTo>
                    <a:pt x="1216582" y="682023"/>
                    <a:pt x="1217331" y="688713"/>
                    <a:pt x="1218005" y="695403"/>
                  </a:cubicBezTo>
                  <a:cubicBezTo>
                    <a:pt x="1217331" y="702093"/>
                    <a:pt x="1216582" y="708720"/>
                    <a:pt x="1215908" y="715411"/>
                  </a:cubicBezTo>
                  <a:cubicBezTo>
                    <a:pt x="1214485" y="722101"/>
                    <a:pt x="1213137" y="728791"/>
                    <a:pt x="1211714" y="735481"/>
                  </a:cubicBezTo>
                  <a:cubicBezTo>
                    <a:pt x="1211040" y="740795"/>
                    <a:pt x="1210292" y="746172"/>
                    <a:pt x="1209618" y="751487"/>
                  </a:cubicBezTo>
                  <a:lnTo>
                    <a:pt x="1201155" y="765492"/>
                  </a:lnTo>
                  <a:cubicBezTo>
                    <a:pt x="1200481" y="766805"/>
                    <a:pt x="1199732" y="768181"/>
                    <a:pt x="1199058" y="769494"/>
                  </a:cubicBezTo>
                  <a:lnTo>
                    <a:pt x="1194864" y="771495"/>
                  </a:lnTo>
                  <a:lnTo>
                    <a:pt x="1190670" y="771495"/>
                  </a:lnTo>
                  <a:lnTo>
                    <a:pt x="1178014" y="777559"/>
                  </a:lnTo>
                  <a:lnTo>
                    <a:pt x="1163336" y="781561"/>
                  </a:lnTo>
                  <a:lnTo>
                    <a:pt x="1154873" y="787563"/>
                  </a:lnTo>
                  <a:cubicBezTo>
                    <a:pt x="1154199" y="788876"/>
                    <a:pt x="1153450" y="790252"/>
                    <a:pt x="1152776" y="791565"/>
                  </a:cubicBezTo>
                  <a:cubicBezTo>
                    <a:pt x="1152102" y="794253"/>
                    <a:pt x="1151353" y="796879"/>
                    <a:pt x="1150679" y="799568"/>
                  </a:cubicBezTo>
                  <a:cubicBezTo>
                    <a:pt x="1151353" y="802882"/>
                    <a:pt x="1152102" y="806258"/>
                    <a:pt x="1152776" y="809572"/>
                  </a:cubicBezTo>
                  <a:lnTo>
                    <a:pt x="1140195" y="801569"/>
                  </a:lnTo>
                  <a:lnTo>
                    <a:pt x="1139114" y="800836"/>
                  </a:lnTo>
                  <a:lnTo>
                    <a:pt x="1139114" y="800865"/>
                  </a:lnTo>
                  <a:lnTo>
                    <a:pt x="1140169" y="801583"/>
                  </a:lnTo>
                  <a:lnTo>
                    <a:pt x="1152791" y="809599"/>
                  </a:lnTo>
                  <a:lnTo>
                    <a:pt x="1154895" y="817615"/>
                  </a:lnTo>
                  <a:lnTo>
                    <a:pt x="1154895" y="825631"/>
                  </a:lnTo>
                  <a:lnTo>
                    <a:pt x="1152791" y="829639"/>
                  </a:lnTo>
                  <a:lnTo>
                    <a:pt x="1154895" y="837655"/>
                  </a:lnTo>
                  <a:lnTo>
                    <a:pt x="1159102" y="845671"/>
                  </a:lnTo>
                  <a:lnTo>
                    <a:pt x="1165413" y="847674"/>
                  </a:lnTo>
                  <a:lnTo>
                    <a:pt x="1175932" y="857694"/>
                  </a:lnTo>
                  <a:lnTo>
                    <a:pt x="1180139" y="863706"/>
                  </a:lnTo>
                  <a:lnTo>
                    <a:pt x="1184346" y="869718"/>
                  </a:lnTo>
                  <a:lnTo>
                    <a:pt x="1180139" y="873726"/>
                  </a:lnTo>
                  <a:lnTo>
                    <a:pt x="1178035" y="879738"/>
                  </a:lnTo>
                  <a:lnTo>
                    <a:pt x="1169621" y="889758"/>
                  </a:lnTo>
                  <a:lnTo>
                    <a:pt x="1165413" y="893766"/>
                  </a:lnTo>
                  <a:lnTo>
                    <a:pt x="1163310" y="901782"/>
                  </a:lnTo>
                  <a:lnTo>
                    <a:pt x="1159102" y="909798"/>
                  </a:lnTo>
                  <a:lnTo>
                    <a:pt x="1163310" y="919818"/>
                  </a:lnTo>
                  <a:lnTo>
                    <a:pt x="1165413" y="923825"/>
                  </a:lnTo>
                  <a:lnTo>
                    <a:pt x="1169621" y="931841"/>
                  </a:lnTo>
                  <a:lnTo>
                    <a:pt x="1180139" y="941861"/>
                  </a:lnTo>
                  <a:lnTo>
                    <a:pt x="1196968" y="953885"/>
                  </a:lnTo>
                  <a:lnTo>
                    <a:pt x="1205383" y="957893"/>
                  </a:lnTo>
                  <a:lnTo>
                    <a:pt x="1215901" y="961901"/>
                  </a:lnTo>
                  <a:lnTo>
                    <a:pt x="1220108" y="971921"/>
                  </a:lnTo>
                  <a:lnTo>
                    <a:pt x="1226419" y="983945"/>
                  </a:lnTo>
                  <a:lnTo>
                    <a:pt x="1232730" y="989957"/>
                  </a:lnTo>
                  <a:lnTo>
                    <a:pt x="1239041" y="991961"/>
                  </a:lnTo>
                  <a:lnTo>
                    <a:pt x="1247455" y="997972"/>
                  </a:lnTo>
                  <a:lnTo>
                    <a:pt x="1249559" y="1003984"/>
                  </a:lnTo>
                  <a:lnTo>
                    <a:pt x="1253766" y="1009996"/>
                  </a:lnTo>
                  <a:lnTo>
                    <a:pt x="1260077" y="1009996"/>
                  </a:lnTo>
                  <a:lnTo>
                    <a:pt x="1264284" y="1009996"/>
                  </a:lnTo>
                  <a:lnTo>
                    <a:pt x="1268492" y="1009996"/>
                  </a:lnTo>
                  <a:lnTo>
                    <a:pt x="1306357" y="1038052"/>
                  </a:lnTo>
                  <a:lnTo>
                    <a:pt x="1321083" y="1044064"/>
                  </a:lnTo>
                  <a:lnTo>
                    <a:pt x="1331601" y="1050076"/>
                  </a:lnTo>
                  <a:lnTo>
                    <a:pt x="1356845" y="1058092"/>
                  </a:lnTo>
                  <a:lnTo>
                    <a:pt x="1365259" y="1062100"/>
                  </a:lnTo>
                  <a:lnTo>
                    <a:pt x="1373674" y="1068112"/>
                  </a:lnTo>
                  <a:lnTo>
                    <a:pt x="1386295" y="1080135"/>
                  </a:lnTo>
                  <a:lnTo>
                    <a:pt x="1396814" y="1092159"/>
                  </a:lnTo>
                  <a:lnTo>
                    <a:pt x="1405228" y="1100175"/>
                  </a:lnTo>
                  <a:lnTo>
                    <a:pt x="1411539" y="1104183"/>
                  </a:lnTo>
                  <a:lnTo>
                    <a:pt x="1430472" y="1110195"/>
                  </a:lnTo>
                  <a:lnTo>
                    <a:pt x="1438886" y="1112199"/>
                  </a:lnTo>
                  <a:lnTo>
                    <a:pt x="1447301" y="1120215"/>
                  </a:lnTo>
                  <a:lnTo>
                    <a:pt x="1451508" y="1126227"/>
                  </a:lnTo>
                  <a:lnTo>
                    <a:pt x="1451508" y="1132239"/>
                  </a:lnTo>
                  <a:lnTo>
                    <a:pt x="1451508" y="1136247"/>
                  </a:lnTo>
                  <a:lnTo>
                    <a:pt x="1451508" y="1144263"/>
                  </a:lnTo>
                  <a:lnTo>
                    <a:pt x="1457819" y="1160294"/>
                  </a:lnTo>
                  <a:lnTo>
                    <a:pt x="1468337" y="1174322"/>
                  </a:lnTo>
                  <a:lnTo>
                    <a:pt x="1472545" y="1180334"/>
                  </a:lnTo>
                  <a:lnTo>
                    <a:pt x="1478856" y="1184342"/>
                  </a:lnTo>
                  <a:lnTo>
                    <a:pt x="1480959" y="1190354"/>
                  </a:lnTo>
                  <a:lnTo>
                    <a:pt x="1478856" y="1200374"/>
                  </a:lnTo>
                  <a:lnTo>
                    <a:pt x="1476320" y="1200374"/>
                  </a:lnTo>
                  <a:lnTo>
                    <a:pt x="1478889" y="1202388"/>
                  </a:lnTo>
                  <a:lnTo>
                    <a:pt x="1485189" y="1202388"/>
                  </a:lnTo>
                  <a:cubicBezTo>
                    <a:pt x="1485846" y="1217049"/>
                    <a:pt x="1486633" y="1231638"/>
                    <a:pt x="1487290" y="1246300"/>
                  </a:cubicBezTo>
                  <a:lnTo>
                    <a:pt x="1487290" y="1294298"/>
                  </a:lnTo>
                  <a:lnTo>
                    <a:pt x="1487290" y="1318297"/>
                  </a:lnTo>
                  <a:lnTo>
                    <a:pt x="1487290" y="1330259"/>
                  </a:lnTo>
                  <a:cubicBezTo>
                    <a:pt x="1488734" y="1333615"/>
                    <a:pt x="1490046" y="1336897"/>
                    <a:pt x="1491490" y="1340253"/>
                  </a:cubicBezTo>
                  <a:lnTo>
                    <a:pt x="1495691" y="1340253"/>
                  </a:lnTo>
                  <a:cubicBezTo>
                    <a:pt x="1497791" y="1341566"/>
                    <a:pt x="1499891" y="1342952"/>
                    <a:pt x="1501992" y="1344265"/>
                  </a:cubicBezTo>
                  <a:lnTo>
                    <a:pt x="1522994" y="1344265"/>
                  </a:lnTo>
                  <a:lnTo>
                    <a:pt x="1554630" y="1340253"/>
                  </a:lnTo>
                  <a:lnTo>
                    <a:pt x="1558830" y="1340253"/>
                  </a:lnTo>
                  <a:cubicBezTo>
                    <a:pt x="1559487" y="1341566"/>
                    <a:pt x="1560274" y="1342952"/>
                    <a:pt x="1560931" y="1344265"/>
                  </a:cubicBezTo>
                  <a:cubicBezTo>
                    <a:pt x="1562375" y="1346234"/>
                    <a:pt x="1563687" y="1348277"/>
                    <a:pt x="1565131" y="1350246"/>
                  </a:cubicBezTo>
                  <a:lnTo>
                    <a:pt x="1565131" y="1374245"/>
                  </a:lnTo>
                  <a:cubicBezTo>
                    <a:pt x="1565788" y="1385552"/>
                    <a:pt x="1566575" y="1396931"/>
                    <a:pt x="1567231" y="1408237"/>
                  </a:cubicBezTo>
                  <a:lnTo>
                    <a:pt x="1567231" y="1410207"/>
                  </a:lnTo>
                  <a:lnTo>
                    <a:pt x="1569332" y="1410207"/>
                  </a:lnTo>
                  <a:lnTo>
                    <a:pt x="1575633" y="1410207"/>
                  </a:lnTo>
                  <a:lnTo>
                    <a:pt x="1577733" y="1410207"/>
                  </a:lnTo>
                  <a:cubicBezTo>
                    <a:pt x="1578389" y="1412833"/>
                    <a:pt x="1579177" y="1415532"/>
                    <a:pt x="1579833" y="1418158"/>
                  </a:cubicBezTo>
                  <a:lnTo>
                    <a:pt x="1581933" y="1418158"/>
                  </a:lnTo>
                  <a:lnTo>
                    <a:pt x="1586134" y="1418158"/>
                  </a:lnTo>
                  <a:cubicBezTo>
                    <a:pt x="1587578" y="1420200"/>
                    <a:pt x="1588891" y="1422170"/>
                    <a:pt x="1590335" y="1424212"/>
                  </a:cubicBezTo>
                  <a:lnTo>
                    <a:pt x="1590335" y="1426182"/>
                  </a:lnTo>
                  <a:lnTo>
                    <a:pt x="1590335" y="1434206"/>
                  </a:lnTo>
                  <a:lnTo>
                    <a:pt x="1590335" y="1438145"/>
                  </a:lnTo>
                  <a:cubicBezTo>
                    <a:pt x="1590991" y="1440187"/>
                    <a:pt x="1591778" y="1442157"/>
                    <a:pt x="1592435" y="1444199"/>
                  </a:cubicBezTo>
                  <a:lnTo>
                    <a:pt x="1602936" y="1448138"/>
                  </a:lnTo>
                  <a:cubicBezTo>
                    <a:pt x="1605036" y="1450180"/>
                    <a:pt x="1607137" y="1452150"/>
                    <a:pt x="1609237" y="1454192"/>
                  </a:cubicBezTo>
                  <a:cubicBezTo>
                    <a:pt x="1610681" y="1454849"/>
                    <a:pt x="1611994" y="1455505"/>
                    <a:pt x="1613438" y="1456162"/>
                  </a:cubicBezTo>
                  <a:lnTo>
                    <a:pt x="1619738" y="1470167"/>
                  </a:lnTo>
                  <a:cubicBezTo>
                    <a:pt x="1620526" y="1473523"/>
                    <a:pt x="1621182" y="1476805"/>
                    <a:pt x="1621970" y="1480161"/>
                  </a:cubicBezTo>
                  <a:cubicBezTo>
                    <a:pt x="1622626" y="1482130"/>
                    <a:pt x="1623414" y="1484173"/>
                    <a:pt x="1624070" y="1486142"/>
                  </a:cubicBezTo>
                  <a:lnTo>
                    <a:pt x="1638772" y="1490154"/>
                  </a:lnTo>
                  <a:lnTo>
                    <a:pt x="1653474" y="1490154"/>
                  </a:lnTo>
                  <a:lnTo>
                    <a:pt x="1684978" y="1488112"/>
                  </a:lnTo>
                  <a:lnTo>
                    <a:pt x="1693379" y="1490154"/>
                  </a:lnTo>
                  <a:lnTo>
                    <a:pt x="1695480" y="1490154"/>
                  </a:lnTo>
                  <a:cubicBezTo>
                    <a:pt x="1697580" y="1492124"/>
                    <a:pt x="1699680" y="1494166"/>
                    <a:pt x="1701780" y="1496136"/>
                  </a:cubicBezTo>
                  <a:cubicBezTo>
                    <a:pt x="1702568" y="1497449"/>
                    <a:pt x="1703224" y="1498834"/>
                    <a:pt x="1704012" y="1500147"/>
                  </a:cubicBezTo>
                  <a:lnTo>
                    <a:pt x="1704012" y="1510141"/>
                  </a:lnTo>
                  <a:lnTo>
                    <a:pt x="1704012" y="1522104"/>
                  </a:lnTo>
                  <a:lnTo>
                    <a:pt x="1704012" y="1536109"/>
                  </a:lnTo>
                  <a:lnTo>
                    <a:pt x="1704012" y="1546103"/>
                  </a:lnTo>
                  <a:cubicBezTo>
                    <a:pt x="1705456" y="1548072"/>
                    <a:pt x="1706769" y="1550115"/>
                    <a:pt x="1708212" y="1552084"/>
                  </a:cubicBezTo>
                  <a:cubicBezTo>
                    <a:pt x="1710313" y="1553397"/>
                    <a:pt x="1712413" y="1554783"/>
                    <a:pt x="1714513" y="1556096"/>
                  </a:cubicBezTo>
                  <a:cubicBezTo>
                    <a:pt x="1715957" y="1556752"/>
                    <a:pt x="1717270" y="1557409"/>
                    <a:pt x="1718714" y="1558065"/>
                  </a:cubicBezTo>
                  <a:lnTo>
                    <a:pt x="1733416" y="1556096"/>
                  </a:lnTo>
                  <a:lnTo>
                    <a:pt x="1743917" y="1556096"/>
                  </a:lnTo>
                  <a:cubicBezTo>
                    <a:pt x="1745361" y="1556752"/>
                    <a:pt x="1746674" y="1557409"/>
                    <a:pt x="1748118" y="1558065"/>
                  </a:cubicBezTo>
                  <a:cubicBezTo>
                    <a:pt x="1748774" y="1558722"/>
                    <a:pt x="1749562" y="1559451"/>
                    <a:pt x="1750218" y="1560108"/>
                  </a:cubicBezTo>
                  <a:lnTo>
                    <a:pt x="1750218" y="1572071"/>
                  </a:lnTo>
                  <a:lnTo>
                    <a:pt x="1750218" y="1600082"/>
                  </a:lnTo>
                  <a:lnTo>
                    <a:pt x="1750218" y="1618026"/>
                  </a:lnTo>
                  <a:lnTo>
                    <a:pt x="1750218" y="1622038"/>
                  </a:lnTo>
                  <a:cubicBezTo>
                    <a:pt x="1751662" y="1624007"/>
                    <a:pt x="1752975" y="1626050"/>
                    <a:pt x="1754419" y="1628019"/>
                  </a:cubicBezTo>
                  <a:cubicBezTo>
                    <a:pt x="1756519" y="1628676"/>
                    <a:pt x="1758619" y="1629405"/>
                    <a:pt x="1760719" y="1630062"/>
                  </a:cubicBezTo>
                  <a:lnTo>
                    <a:pt x="1771221" y="1632031"/>
                  </a:lnTo>
                  <a:lnTo>
                    <a:pt x="1802856" y="1632031"/>
                  </a:lnTo>
                  <a:lnTo>
                    <a:pt x="1853263" y="1628019"/>
                  </a:lnTo>
                  <a:cubicBezTo>
                    <a:pt x="1852606" y="1650705"/>
                    <a:pt x="1851819" y="1673318"/>
                    <a:pt x="1851162" y="1696004"/>
                  </a:cubicBezTo>
                  <a:lnTo>
                    <a:pt x="1926904" y="1696004"/>
                  </a:lnTo>
                  <a:lnTo>
                    <a:pt x="1926904" y="1711979"/>
                  </a:lnTo>
                  <a:cubicBezTo>
                    <a:pt x="1926247" y="1719273"/>
                    <a:pt x="1925460" y="1726640"/>
                    <a:pt x="1924803" y="1733935"/>
                  </a:cubicBezTo>
                  <a:lnTo>
                    <a:pt x="1924803" y="1743929"/>
                  </a:lnTo>
                  <a:cubicBezTo>
                    <a:pt x="1925460" y="1747284"/>
                    <a:pt x="1926247" y="1750567"/>
                    <a:pt x="1926904" y="1753922"/>
                  </a:cubicBezTo>
                  <a:cubicBezTo>
                    <a:pt x="1928348" y="1755892"/>
                    <a:pt x="1929660" y="1757934"/>
                    <a:pt x="1931104" y="1759904"/>
                  </a:cubicBezTo>
                  <a:cubicBezTo>
                    <a:pt x="1933204" y="1760560"/>
                    <a:pt x="1935305" y="1761290"/>
                    <a:pt x="1937405" y="1761946"/>
                  </a:cubicBezTo>
                  <a:lnTo>
                    <a:pt x="1952238" y="1761946"/>
                  </a:lnTo>
                  <a:lnTo>
                    <a:pt x="1969040" y="1763916"/>
                  </a:lnTo>
                  <a:cubicBezTo>
                    <a:pt x="1973241" y="1765229"/>
                    <a:pt x="1977442" y="1766615"/>
                    <a:pt x="1981642" y="1767928"/>
                  </a:cubicBezTo>
                  <a:cubicBezTo>
                    <a:pt x="1982298" y="1769241"/>
                    <a:pt x="1983086" y="1770627"/>
                    <a:pt x="1983742" y="1771940"/>
                  </a:cubicBezTo>
                  <a:cubicBezTo>
                    <a:pt x="1985186" y="1773909"/>
                    <a:pt x="1986499" y="1775951"/>
                    <a:pt x="1987943" y="1777921"/>
                  </a:cubicBezTo>
                  <a:lnTo>
                    <a:pt x="1987943" y="1847875"/>
                  </a:lnTo>
                  <a:cubicBezTo>
                    <a:pt x="1988595" y="1871074"/>
                    <a:pt x="1989377" y="1894200"/>
                    <a:pt x="1990030" y="1917399"/>
                  </a:cubicBezTo>
                  <a:lnTo>
                    <a:pt x="1994244" y="1915793"/>
                  </a:lnTo>
                  <a:lnTo>
                    <a:pt x="2015281" y="1917797"/>
                  </a:lnTo>
                  <a:lnTo>
                    <a:pt x="2017384" y="2196349"/>
                  </a:lnTo>
                  <a:lnTo>
                    <a:pt x="2019488" y="2196349"/>
                  </a:lnTo>
                  <a:lnTo>
                    <a:pt x="2019488" y="2236429"/>
                  </a:lnTo>
                  <a:lnTo>
                    <a:pt x="2019488" y="2256468"/>
                  </a:lnTo>
                  <a:lnTo>
                    <a:pt x="2017384" y="2274504"/>
                  </a:lnTo>
                  <a:lnTo>
                    <a:pt x="2015281" y="2292540"/>
                  </a:lnTo>
                  <a:lnTo>
                    <a:pt x="2008970" y="2310576"/>
                  </a:lnTo>
                  <a:lnTo>
                    <a:pt x="1998452" y="2324603"/>
                  </a:lnTo>
                  <a:lnTo>
                    <a:pt x="1985830" y="2336627"/>
                  </a:lnTo>
                  <a:lnTo>
                    <a:pt x="1973208" y="2334623"/>
                  </a:lnTo>
                  <a:lnTo>
                    <a:pt x="1964794" y="2330615"/>
                  </a:lnTo>
                  <a:lnTo>
                    <a:pt x="1945861" y="2316587"/>
                  </a:lnTo>
                  <a:lnTo>
                    <a:pt x="1935343" y="2314584"/>
                  </a:lnTo>
                  <a:lnTo>
                    <a:pt x="1924824" y="2312580"/>
                  </a:lnTo>
                  <a:lnTo>
                    <a:pt x="1907995" y="2306568"/>
                  </a:lnTo>
                  <a:lnTo>
                    <a:pt x="1893270" y="2304564"/>
                  </a:lnTo>
                  <a:lnTo>
                    <a:pt x="1882752" y="2304564"/>
                  </a:lnTo>
                  <a:lnTo>
                    <a:pt x="1872234" y="2304564"/>
                  </a:lnTo>
                  <a:lnTo>
                    <a:pt x="1861715" y="2310576"/>
                  </a:lnTo>
                  <a:lnTo>
                    <a:pt x="1840679" y="2316587"/>
                  </a:lnTo>
                  <a:lnTo>
                    <a:pt x="1830161" y="2320595"/>
                  </a:lnTo>
                  <a:lnTo>
                    <a:pt x="1819643" y="2320595"/>
                  </a:lnTo>
                  <a:lnTo>
                    <a:pt x="1813332" y="2320595"/>
                  </a:lnTo>
                  <a:lnTo>
                    <a:pt x="1804917" y="2316587"/>
                  </a:lnTo>
                  <a:lnTo>
                    <a:pt x="1790192" y="2310576"/>
                  </a:lnTo>
                  <a:lnTo>
                    <a:pt x="1773363" y="2304564"/>
                  </a:lnTo>
                  <a:lnTo>
                    <a:pt x="1764948" y="2302560"/>
                  </a:lnTo>
                  <a:lnTo>
                    <a:pt x="1758637" y="2302560"/>
                  </a:lnTo>
                  <a:lnTo>
                    <a:pt x="1748119" y="2304564"/>
                  </a:lnTo>
                  <a:lnTo>
                    <a:pt x="1739704" y="2310576"/>
                  </a:lnTo>
                  <a:lnTo>
                    <a:pt x="1729186" y="2312580"/>
                  </a:lnTo>
                  <a:lnTo>
                    <a:pt x="1718668" y="2312580"/>
                  </a:lnTo>
                  <a:lnTo>
                    <a:pt x="1710254" y="2310576"/>
                  </a:lnTo>
                  <a:lnTo>
                    <a:pt x="1699735" y="2304564"/>
                  </a:lnTo>
                  <a:lnTo>
                    <a:pt x="1680803" y="2294544"/>
                  </a:lnTo>
                  <a:lnTo>
                    <a:pt x="1670284" y="2290536"/>
                  </a:lnTo>
                  <a:lnTo>
                    <a:pt x="1657663" y="2286528"/>
                  </a:lnTo>
                  <a:lnTo>
                    <a:pt x="1632419" y="2280516"/>
                  </a:lnTo>
                  <a:lnTo>
                    <a:pt x="1613486" y="2272500"/>
                  </a:lnTo>
                  <a:lnTo>
                    <a:pt x="1596657" y="2270496"/>
                  </a:lnTo>
                  <a:lnTo>
                    <a:pt x="1558792" y="2264484"/>
                  </a:lnTo>
                  <a:lnTo>
                    <a:pt x="1520926" y="2262480"/>
                  </a:lnTo>
                  <a:lnTo>
                    <a:pt x="1485164" y="2262480"/>
                  </a:lnTo>
                  <a:lnTo>
                    <a:pt x="1440988" y="2262480"/>
                  </a:lnTo>
                  <a:lnTo>
                    <a:pt x="1390501" y="2264484"/>
                  </a:lnTo>
                  <a:lnTo>
                    <a:pt x="1363154" y="2266488"/>
                  </a:lnTo>
                  <a:lnTo>
                    <a:pt x="1340014" y="2270496"/>
                  </a:lnTo>
                  <a:lnTo>
                    <a:pt x="1318977" y="2274504"/>
                  </a:lnTo>
                  <a:lnTo>
                    <a:pt x="1300044" y="2282520"/>
                  </a:lnTo>
                  <a:lnTo>
                    <a:pt x="1289526" y="2270496"/>
                  </a:lnTo>
                  <a:lnTo>
                    <a:pt x="1283215" y="2256468"/>
                  </a:lnTo>
                  <a:lnTo>
                    <a:pt x="1266386" y="2230417"/>
                  </a:lnTo>
                  <a:lnTo>
                    <a:pt x="1255868" y="2216389"/>
                  </a:lnTo>
                  <a:lnTo>
                    <a:pt x="1245350" y="2206369"/>
                  </a:lnTo>
                  <a:lnTo>
                    <a:pt x="1232728" y="2196349"/>
                  </a:lnTo>
                  <a:lnTo>
                    <a:pt x="1213795" y="2192341"/>
                  </a:lnTo>
                  <a:lnTo>
                    <a:pt x="1194863" y="2190337"/>
                  </a:lnTo>
                  <a:lnTo>
                    <a:pt x="1184344" y="2186329"/>
                  </a:lnTo>
                  <a:lnTo>
                    <a:pt x="1178033" y="2184325"/>
                  </a:lnTo>
                  <a:lnTo>
                    <a:pt x="1171723" y="2180317"/>
                  </a:lnTo>
                  <a:lnTo>
                    <a:pt x="1169619" y="2174305"/>
                  </a:lnTo>
                  <a:lnTo>
                    <a:pt x="1169619" y="2164286"/>
                  </a:lnTo>
                  <a:lnTo>
                    <a:pt x="1171723" y="2150258"/>
                  </a:lnTo>
                  <a:lnTo>
                    <a:pt x="1182241" y="2114186"/>
                  </a:lnTo>
                  <a:lnTo>
                    <a:pt x="1194863" y="2080119"/>
                  </a:lnTo>
                  <a:lnTo>
                    <a:pt x="1199070" y="2072103"/>
                  </a:lnTo>
                  <a:lnTo>
                    <a:pt x="1199070" y="2062083"/>
                  </a:lnTo>
                  <a:lnTo>
                    <a:pt x="1190655" y="2048055"/>
                  </a:lnTo>
                  <a:lnTo>
                    <a:pt x="1182241" y="2030019"/>
                  </a:lnTo>
                  <a:lnTo>
                    <a:pt x="1180137" y="2022003"/>
                  </a:lnTo>
                  <a:lnTo>
                    <a:pt x="1182241" y="2011984"/>
                  </a:lnTo>
                  <a:lnTo>
                    <a:pt x="1190655" y="1979920"/>
                  </a:lnTo>
                  <a:lnTo>
                    <a:pt x="1192759" y="1961884"/>
                  </a:lnTo>
                  <a:lnTo>
                    <a:pt x="1192759" y="1953868"/>
                  </a:lnTo>
                  <a:lnTo>
                    <a:pt x="1190655" y="1947856"/>
                  </a:lnTo>
                  <a:lnTo>
                    <a:pt x="1188552" y="1939841"/>
                  </a:lnTo>
                  <a:lnTo>
                    <a:pt x="1182241" y="1933829"/>
                  </a:lnTo>
                  <a:lnTo>
                    <a:pt x="1169619" y="1923809"/>
                  </a:lnTo>
                  <a:lnTo>
                    <a:pt x="1159101" y="1915793"/>
                  </a:lnTo>
                  <a:lnTo>
                    <a:pt x="1156997" y="1907777"/>
                  </a:lnTo>
                  <a:lnTo>
                    <a:pt x="1156997" y="1901765"/>
                  </a:lnTo>
                  <a:lnTo>
                    <a:pt x="1161204" y="1891745"/>
                  </a:lnTo>
                  <a:lnTo>
                    <a:pt x="1163308" y="1879721"/>
                  </a:lnTo>
                  <a:lnTo>
                    <a:pt x="1168013" y="1858805"/>
                  </a:lnTo>
                  <a:lnTo>
                    <a:pt x="1165423" y="1853856"/>
                  </a:lnTo>
                  <a:cubicBezTo>
                    <a:pt x="1168179" y="1847218"/>
                    <a:pt x="1171067" y="1840507"/>
                    <a:pt x="1173824" y="1833869"/>
                  </a:cubicBezTo>
                  <a:cubicBezTo>
                    <a:pt x="1175924" y="1825846"/>
                    <a:pt x="1178024" y="1817895"/>
                    <a:pt x="1180125" y="1809871"/>
                  </a:cubicBezTo>
                  <a:cubicBezTo>
                    <a:pt x="1181568" y="1802576"/>
                    <a:pt x="1182881" y="1795209"/>
                    <a:pt x="1184325" y="1787914"/>
                  </a:cubicBezTo>
                  <a:cubicBezTo>
                    <a:pt x="1182881" y="1779890"/>
                    <a:pt x="1181568" y="1771940"/>
                    <a:pt x="1180125" y="1763916"/>
                  </a:cubicBezTo>
                  <a:cubicBezTo>
                    <a:pt x="1178681" y="1757278"/>
                    <a:pt x="1177368" y="1750567"/>
                    <a:pt x="1175924" y="1743929"/>
                  </a:cubicBezTo>
                  <a:cubicBezTo>
                    <a:pt x="1172380" y="1738603"/>
                    <a:pt x="1168967" y="1733278"/>
                    <a:pt x="1165423" y="1727953"/>
                  </a:cubicBezTo>
                  <a:cubicBezTo>
                    <a:pt x="1162666" y="1724598"/>
                    <a:pt x="1159778" y="1721316"/>
                    <a:pt x="1157021" y="1717960"/>
                  </a:cubicBezTo>
                  <a:cubicBezTo>
                    <a:pt x="1154921" y="1715991"/>
                    <a:pt x="1152821" y="1713948"/>
                    <a:pt x="1150720" y="1711979"/>
                  </a:cubicBezTo>
                  <a:cubicBezTo>
                    <a:pt x="1147176" y="1710009"/>
                    <a:pt x="1143763" y="1707967"/>
                    <a:pt x="1140219" y="1705997"/>
                  </a:cubicBezTo>
                  <a:cubicBezTo>
                    <a:pt x="1135231" y="1704028"/>
                    <a:pt x="1130374" y="1701985"/>
                    <a:pt x="1125386" y="1700016"/>
                  </a:cubicBezTo>
                  <a:cubicBezTo>
                    <a:pt x="1121185" y="1699359"/>
                    <a:pt x="1116985" y="1698630"/>
                    <a:pt x="1112784" y="1697973"/>
                  </a:cubicBezTo>
                  <a:lnTo>
                    <a:pt x="1104383" y="1697973"/>
                  </a:lnTo>
                  <a:cubicBezTo>
                    <a:pt x="1102939" y="1699286"/>
                    <a:pt x="1101626" y="1700672"/>
                    <a:pt x="1100182" y="1701985"/>
                  </a:cubicBezTo>
                  <a:cubicBezTo>
                    <a:pt x="1099526" y="1703298"/>
                    <a:pt x="1098739" y="1704684"/>
                    <a:pt x="1098082" y="1705997"/>
                  </a:cubicBezTo>
                  <a:cubicBezTo>
                    <a:pt x="1096638" y="1707310"/>
                    <a:pt x="1095326" y="1708623"/>
                    <a:pt x="1093882" y="1709936"/>
                  </a:cubicBezTo>
                  <a:lnTo>
                    <a:pt x="1091781" y="1709936"/>
                  </a:lnTo>
                  <a:cubicBezTo>
                    <a:pt x="1090337" y="1709280"/>
                    <a:pt x="1089025" y="1708623"/>
                    <a:pt x="1087581" y="1707967"/>
                  </a:cubicBezTo>
                  <a:cubicBezTo>
                    <a:pt x="1084037" y="1705997"/>
                    <a:pt x="1080624" y="1703955"/>
                    <a:pt x="1077079" y="1701985"/>
                  </a:cubicBezTo>
                  <a:cubicBezTo>
                    <a:pt x="1072223" y="1698630"/>
                    <a:pt x="1067234" y="1695347"/>
                    <a:pt x="1062378" y="1691992"/>
                  </a:cubicBezTo>
                  <a:lnTo>
                    <a:pt x="1041244" y="1681998"/>
                  </a:lnTo>
                  <a:lnTo>
                    <a:pt x="1024441" y="1672005"/>
                  </a:lnTo>
                  <a:cubicBezTo>
                    <a:pt x="1020897" y="1670692"/>
                    <a:pt x="1017484" y="1669306"/>
                    <a:pt x="1013940" y="1667993"/>
                  </a:cubicBezTo>
                  <a:cubicBezTo>
                    <a:pt x="1010396" y="1661355"/>
                    <a:pt x="1006983" y="1654644"/>
                    <a:pt x="1003439" y="1648006"/>
                  </a:cubicBezTo>
                  <a:cubicBezTo>
                    <a:pt x="1001338" y="1643994"/>
                    <a:pt x="999238" y="1640055"/>
                    <a:pt x="997138" y="1636043"/>
                  </a:cubicBezTo>
                  <a:lnTo>
                    <a:pt x="997138" y="1622038"/>
                  </a:lnTo>
                  <a:cubicBezTo>
                    <a:pt x="1000682" y="1608689"/>
                    <a:pt x="1004095" y="1595413"/>
                    <a:pt x="1007639" y="1582064"/>
                  </a:cubicBezTo>
                  <a:cubicBezTo>
                    <a:pt x="1011840" y="1570101"/>
                    <a:pt x="1016040" y="1558065"/>
                    <a:pt x="1020241" y="1546103"/>
                  </a:cubicBezTo>
                  <a:lnTo>
                    <a:pt x="1020241" y="1552084"/>
                  </a:lnTo>
                  <a:lnTo>
                    <a:pt x="1020241" y="1562077"/>
                  </a:lnTo>
                  <a:lnTo>
                    <a:pt x="1020241" y="1586076"/>
                  </a:lnTo>
                  <a:lnTo>
                    <a:pt x="1034943" y="1580095"/>
                  </a:lnTo>
                  <a:cubicBezTo>
                    <a:pt x="1035599" y="1578782"/>
                    <a:pt x="1036387" y="1577396"/>
                    <a:pt x="1037043" y="1576083"/>
                  </a:cubicBezTo>
                  <a:lnTo>
                    <a:pt x="1037043" y="1570101"/>
                  </a:lnTo>
                  <a:cubicBezTo>
                    <a:pt x="1036387" y="1565433"/>
                    <a:pt x="1035599" y="1560764"/>
                    <a:pt x="1034943" y="1556096"/>
                  </a:cubicBezTo>
                  <a:lnTo>
                    <a:pt x="1016040" y="1520134"/>
                  </a:lnTo>
                  <a:cubicBezTo>
                    <a:pt x="1013284" y="1516122"/>
                    <a:pt x="1010396" y="1512110"/>
                    <a:pt x="1007639" y="1508098"/>
                  </a:cubicBezTo>
                  <a:cubicBezTo>
                    <a:pt x="1004883" y="1504743"/>
                    <a:pt x="1001995" y="1501460"/>
                    <a:pt x="999238" y="1498105"/>
                  </a:cubicBezTo>
                  <a:cubicBezTo>
                    <a:pt x="995694" y="1495479"/>
                    <a:pt x="992281" y="1492780"/>
                    <a:pt x="988737" y="1490154"/>
                  </a:cubicBezTo>
                  <a:cubicBezTo>
                    <a:pt x="985192" y="1489498"/>
                    <a:pt x="981779" y="1488768"/>
                    <a:pt x="978235" y="1488112"/>
                  </a:cubicBezTo>
                  <a:lnTo>
                    <a:pt x="955001" y="1480161"/>
                  </a:lnTo>
                  <a:cubicBezTo>
                    <a:pt x="950800" y="1479504"/>
                    <a:pt x="946600" y="1478775"/>
                    <a:pt x="942399" y="1478118"/>
                  </a:cubicBezTo>
                  <a:cubicBezTo>
                    <a:pt x="938199" y="1475492"/>
                    <a:pt x="933998" y="1472793"/>
                    <a:pt x="929798" y="1470167"/>
                  </a:cubicBezTo>
                  <a:lnTo>
                    <a:pt x="908795" y="1458131"/>
                  </a:lnTo>
                  <a:lnTo>
                    <a:pt x="887792" y="1440187"/>
                  </a:lnTo>
                  <a:lnTo>
                    <a:pt x="868758" y="1420200"/>
                  </a:lnTo>
                  <a:cubicBezTo>
                    <a:pt x="866002" y="1416845"/>
                    <a:pt x="863114" y="1413562"/>
                    <a:pt x="860357" y="1410207"/>
                  </a:cubicBezTo>
                  <a:cubicBezTo>
                    <a:pt x="858913" y="1406195"/>
                    <a:pt x="857601" y="1402256"/>
                    <a:pt x="856157" y="1398244"/>
                  </a:cubicBezTo>
                  <a:cubicBezTo>
                    <a:pt x="852613" y="1391606"/>
                    <a:pt x="849200" y="1384895"/>
                    <a:pt x="845655" y="1378257"/>
                  </a:cubicBezTo>
                  <a:cubicBezTo>
                    <a:pt x="838698" y="1368264"/>
                    <a:pt x="831610" y="1358270"/>
                    <a:pt x="824653" y="1348277"/>
                  </a:cubicBezTo>
                  <a:cubicBezTo>
                    <a:pt x="821108" y="1344265"/>
                    <a:pt x="817696" y="1340253"/>
                    <a:pt x="814151" y="1336241"/>
                  </a:cubicBezTo>
                  <a:cubicBezTo>
                    <a:pt x="810607" y="1333615"/>
                    <a:pt x="807194" y="1330916"/>
                    <a:pt x="803650" y="1328290"/>
                  </a:cubicBezTo>
                  <a:cubicBezTo>
                    <a:pt x="802994" y="1327633"/>
                    <a:pt x="802206" y="1326904"/>
                    <a:pt x="801550" y="1326248"/>
                  </a:cubicBezTo>
                  <a:lnTo>
                    <a:pt x="795118" y="1326248"/>
                  </a:lnTo>
                  <a:cubicBezTo>
                    <a:pt x="794461" y="1326904"/>
                    <a:pt x="793674" y="1327633"/>
                    <a:pt x="793017" y="1328290"/>
                  </a:cubicBezTo>
                  <a:cubicBezTo>
                    <a:pt x="792361" y="1330259"/>
                    <a:pt x="791573" y="1332302"/>
                    <a:pt x="790917" y="1334271"/>
                  </a:cubicBezTo>
                  <a:lnTo>
                    <a:pt x="780416" y="1324278"/>
                  </a:lnTo>
                  <a:lnTo>
                    <a:pt x="765714" y="1318297"/>
                  </a:lnTo>
                  <a:lnTo>
                    <a:pt x="742611" y="1308303"/>
                  </a:lnTo>
                  <a:cubicBezTo>
                    <a:pt x="739066" y="1306990"/>
                    <a:pt x="735654" y="1305604"/>
                    <a:pt x="732109" y="1304291"/>
                  </a:cubicBezTo>
                  <a:lnTo>
                    <a:pt x="721608" y="1296267"/>
                  </a:lnTo>
                  <a:cubicBezTo>
                    <a:pt x="718064" y="1293641"/>
                    <a:pt x="714519" y="1290942"/>
                    <a:pt x="710975" y="1288316"/>
                  </a:cubicBezTo>
                  <a:cubicBezTo>
                    <a:pt x="708219" y="1283648"/>
                    <a:pt x="705331" y="1278979"/>
                    <a:pt x="702574" y="1274311"/>
                  </a:cubicBezTo>
                  <a:cubicBezTo>
                    <a:pt x="701130" y="1268986"/>
                    <a:pt x="699818" y="1263661"/>
                    <a:pt x="698374" y="1258336"/>
                  </a:cubicBezTo>
                  <a:lnTo>
                    <a:pt x="698374" y="1248343"/>
                  </a:lnTo>
                  <a:cubicBezTo>
                    <a:pt x="699030" y="1246373"/>
                    <a:pt x="699818" y="1244331"/>
                    <a:pt x="700474" y="1242361"/>
                  </a:cubicBezTo>
                  <a:lnTo>
                    <a:pt x="700474" y="1238349"/>
                  </a:lnTo>
                  <a:cubicBezTo>
                    <a:pt x="699818" y="1236380"/>
                    <a:pt x="699030" y="1234337"/>
                    <a:pt x="698374" y="1232368"/>
                  </a:cubicBezTo>
                  <a:lnTo>
                    <a:pt x="692073" y="1218362"/>
                  </a:lnTo>
                  <a:cubicBezTo>
                    <a:pt x="687216" y="1210995"/>
                    <a:pt x="682228" y="1203701"/>
                    <a:pt x="677371" y="1196333"/>
                  </a:cubicBezTo>
                  <a:lnTo>
                    <a:pt x="677914" y="1194362"/>
                  </a:lnTo>
                  <a:lnTo>
                    <a:pt x="677369" y="1194362"/>
                  </a:lnTo>
                  <a:lnTo>
                    <a:pt x="658436" y="1176326"/>
                  </a:lnTo>
                  <a:lnTo>
                    <a:pt x="647918" y="1170314"/>
                  </a:lnTo>
                  <a:lnTo>
                    <a:pt x="643711" y="1160294"/>
                  </a:lnTo>
                  <a:lnTo>
                    <a:pt x="635296" y="1152278"/>
                  </a:lnTo>
                  <a:lnTo>
                    <a:pt x="624778" y="1146266"/>
                  </a:lnTo>
                  <a:lnTo>
                    <a:pt x="614260" y="1140255"/>
                  </a:lnTo>
                  <a:lnTo>
                    <a:pt x="603741" y="1134243"/>
                  </a:lnTo>
                  <a:lnTo>
                    <a:pt x="597431" y="1126227"/>
                  </a:lnTo>
                  <a:lnTo>
                    <a:pt x="595327" y="1116207"/>
                  </a:lnTo>
                  <a:lnTo>
                    <a:pt x="591120" y="1096167"/>
                  </a:lnTo>
                  <a:lnTo>
                    <a:pt x="586912" y="1074123"/>
                  </a:lnTo>
                  <a:lnTo>
                    <a:pt x="584809" y="1058092"/>
                  </a:lnTo>
                  <a:lnTo>
                    <a:pt x="580601" y="1048072"/>
                  </a:lnTo>
                  <a:lnTo>
                    <a:pt x="576394" y="1040056"/>
                  </a:lnTo>
                  <a:lnTo>
                    <a:pt x="570083" y="1034044"/>
                  </a:lnTo>
                  <a:lnTo>
                    <a:pt x="563772" y="1030036"/>
                  </a:lnTo>
                  <a:lnTo>
                    <a:pt x="549047" y="1024024"/>
                  </a:lnTo>
                  <a:lnTo>
                    <a:pt x="530114" y="1020016"/>
                  </a:lnTo>
                  <a:lnTo>
                    <a:pt x="521700" y="1020016"/>
                  </a:lnTo>
                  <a:lnTo>
                    <a:pt x="517492" y="1012000"/>
                  </a:lnTo>
                  <a:lnTo>
                    <a:pt x="502767" y="993965"/>
                  </a:lnTo>
                  <a:lnTo>
                    <a:pt x="496456" y="973925"/>
                  </a:lnTo>
                  <a:lnTo>
                    <a:pt x="490145" y="959897"/>
                  </a:lnTo>
                  <a:lnTo>
                    <a:pt x="483834" y="943865"/>
                  </a:lnTo>
                  <a:lnTo>
                    <a:pt x="473316" y="929837"/>
                  </a:lnTo>
                  <a:lnTo>
                    <a:pt x="458590" y="913806"/>
                  </a:lnTo>
                  <a:lnTo>
                    <a:pt x="443865" y="901782"/>
                  </a:lnTo>
                  <a:lnTo>
                    <a:pt x="412310" y="877734"/>
                  </a:lnTo>
                  <a:lnTo>
                    <a:pt x="380756" y="857694"/>
                  </a:lnTo>
                  <a:lnTo>
                    <a:pt x="359719" y="847674"/>
                  </a:lnTo>
                  <a:lnTo>
                    <a:pt x="336579" y="835651"/>
                  </a:lnTo>
                  <a:lnTo>
                    <a:pt x="332372" y="829639"/>
                  </a:lnTo>
                  <a:lnTo>
                    <a:pt x="332372" y="825631"/>
                  </a:lnTo>
                  <a:lnTo>
                    <a:pt x="336579" y="819619"/>
                  </a:lnTo>
                  <a:lnTo>
                    <a:pt x="332372" y="815611"/>
                  </a:lnTo>
                  <a:lnTo>
                    <a:pt x="326061" y="807595"/>
                  </a:lnTo>
                  <a:lnTo>
                    <a:pt x="317647" y="801583"/>
                  </a:lnTo>
                  <a:lnTo>
                    <a:pt x="305025" y="791563"/>
                  </a:lnTo>
                  <a:lnTo>
                    <a:pt x="298714" y="785551"/>
                  </a:lnTo>
                  <a:lnTo>
                    <a:pt x="298714" y="765512"/>
                  </a:lnTo>
                  <a:lnTo>
                    <a:pt x="294507" y="721424"/>
                  </a:lnTo>
                  <a:lnTo>
                    <a:pt x="288196" y="705392"/>
                  </a:lnTo>
                  <a:lnTo>
                    <a:pt x="279781" y="687357"/>
                  </a:lnTo>
                  <a:lnTo>
                    <a:pt x="273470" y="669321"/>
                  </a:lnTo>
                  <a:lnTo>
                    <a:pt x="267159" y="651285"/>
                  </a:lnTo>
                  <a:lnTo>
                    <a:pt x="262952" y="627237"/>
                  </a:lnTo>
                  <a:lnTo>
                    <a:pt x="262952" y="615214"/>
                  </a:lnTo>
                  <a:lnTo>
                    <a:pt x="265056" y="613210"/>
                  </a:lnTo>
                  <a:lnTo>
                    <a:pt x="269263" y="609202"/>
                  </a:lnTo>
                  <a:lnTo>
                    <a:pt x="275574" y="609202"/>
                  </a:lnTo>
                  <a:lnTo>
                    <a:pt x="277678" y="607198"/>
                  </a:lnTo>
                  <a:lnTo>
                    <a:pt x="277678" y="603190"/>
                  </a:lnTo>
                  <a:lnTo>
                    <a:pt x="277678" y="595174"/>
                  </a:lnTo>
                  <a:lnTo>
                    <a:pt x="273470" y="585154"/>
                  </a:lnTo>
                  <a:lnTo>
                    <a:pt x="267159" y="579142"/>
                  </a:lnTo>
                  <a:lnTo>
                    <a:pt x="262952" y="579142"/>
                  </a:lnTo>
                  <a:lnTo>
                    <a:pt x="252434" y="579142"/>
                  </a:lnTo>
                  <a:lnTo>
                    <a:pt x="248227" y="577138"/>
                  </a:lnTo>
                  <a:lnTo>
                    <a:pt x="246123" y="575134"/>
                  </a:lnTo>
                  <a:lnTo>
                    <a:pt x="246123" y="567118"/>
                  </a:lnTo>
                  <a:lnTo>
                    <a:pt x="246123" y="557098"/>
                  </a:lnTo>
                  <a:lnTo>
                    <a:pt x="252434" y="547078"/>
                  </a:lnTo>
                  <a:lnTo>
                    <a:pt x="256641" y="537059"/>
                  </a:lnTo>
                  <a:lnTo>
                    <a:pt x="265056" y="529043"/>
                  </a:lnTo>
                  <a:lnTo>
                    <a:pt x="269263" y="525035"/>
                  </a:lnTo>
                  <a:lnTo>
                    <a:pt x="277678" y="523031"/>
                  </a:lnTo>
                  <a:lnTo>
                    <a:pt x="283988" y="525035"/>
                  </a:lnTo>
                  <a:lnTo>
                    <a:pt x="290299" y="529043"/>
                  </a:lnTo>
                  <a:lnTo>
                    <a:pt x="294507" y="535055"/>
                  </a:lnTo>
                  <a:lnTo>
                    <a:pt x="298714" y="537059"/>
                  </a:lnTo>
                  <a:lnTo>
                    <a:pt x="307128" y="539063"/>
                  </a:lnTo>
                  <a:lnTo>
                    <a:pt x="315543" y="539063"/>
                  </a:lnTo>
                  <a:lnTo>
                    <a:pt x="326061" y="533051"/>
                  </a:lnTo>
                  <a:lnTo>
                    <a:pt x="338683" y="523031"/>
                  </a:lnTo>
                  <a:lnTo>
                    <a:pt x="342890" y="509003"/>
                  </a:lnTo>
                  <a:lnTo>
                    <a:pt x="349201" y="496979"/>
                  </a:lnTo>
                  <a:lnTo>
                    <a:pt x="351305" y="484955"/>
                  </a:lnTo>
                  <a:lnTo>
                    <a:pt x="357616" y="458904"/>
                  </a:lnTo>
                  <a:lnTo>
                    <a:pt x="359719" y="446880"/>
                  </a:lnTo>
                  <a:lnTo>
                    <a:pt x="363927" y="436860"/>
                  </a:lnTo>
                  <a:lnTo>
                    <a:pt x="363927" y="438864"/>
                  </a:lnTo>
                  <a:lnTo>
                    <a:pt x="363927" y="442872"/>
                  </a:lnTo>
                  <a:lnTo>
                    <a:pt x="372341" y="444876"/>
                  </a:lnTo>
                  <a:lnTo>
                    <a:pt x="378652" y="446880"/>
                  </a:lnTo>
                  <a:lnTo>
                    <a:pt x="382859" y="452892"/>
                  </a:lnTo>
                  <a:lnTo>
                    <a:pt x="384963" y="458904"/>
                  </a:lnTo>
                  <a:lnTo>
                    <a:pt x="389170" y="452892"/>
                  </a:lnTo>
                  <a:lnTo>
                    <a:pt x="389170" y="444876"/>
                  </a:lnTo>
                  <a:lnTo>
                    <a:pt x="380756" y="430848"/>
                  </a:lnTo>
                  <a:lnTo>
                    <a:pt x="372341" y="432852"/>
                  </a:lnTo>
                  <a:lnTo>
                    <a:pt x="368134" y="432852"/>
                  </a:lnTo>
                  <a:lnTo>
                    <a:pt x="361823" y="426840"/>
                  </a:lnTo>
                  <a:lnTo>
                    <a:pt x="361823" y="422832"/>
                  </a:lnTo>
                  <a:lnTo>
                    <a:pt x="363927" y="412812"/>
                  </a:lnTo>
                  <a:lnTo>
                    <a:pt x="370238" y="400788"/>
                  </a:lnTo>
                  <a:lnTo>
                    <a:pt x="372341" y="384757"/>
                  </a:lnTo>
                  <a:lnTo>
                    <a:pt x="374445" y="382753"/>
                  </a:lnTo>
                  <a:lnTo>
                    <a:pt x="378652" y="382753"/>
                  </a:lnTo>
                  <a:lnTo>
                    <a:pt x="382859" y="382753"/>
                  </a:lnTo>
                  <a:lnTo>
                    <a:pt x="389170" y="382753"/>
                  </a:lnTo>
                  <a:lnTo>
                    <a:pt x="393378" y="376741"/>
                  </a:lnTo>
                  <a:lnTo>
                    <a:pt x="403896" y="370729"/>
                  </a:lnTo>
                  <a:lnTo>
                    <a:pt x="403896" y="364717"/>
                  </a:lnTo>
                  <a:lnTo>
                    <a:pt x="401792" y="356701"/>
                  </a:lnTo>
                  <a:lnTo>
                    <a:pt x="399689" y="366721"/>
                  </a:lnTo>
                  <a:lnTo>
                    <a:pt x="393378" y="372733"/>
                  </a:lnTo>
                  <a:lnTo>
                    <a:pt x="389170" y="374737"/>
                  </a:lnTo>
                  <a:lnTo>
                    <a:pt x="380756" y="374737"/>
                  </a:lnTo>
                  <a:lnTo>
                    <a:pt x="372341" y="370729"/>
                  </a:lnTo>
                  <a:lnTo>
                    <a:pt x="363927" y="364717"/>
                  </a:lnTo>
                  <a:lnTo>
                    <a:pt x="359719" y="356701"/>
                  </a:lnTo>
                  <a:lnTo>
                    <a:pt x="357616" y="346681"/>
                  </a:lnTo>
                  <a:lnTo>
                    <a:pt x="363927" y="334657"/>
                  </a:lnTo>
                  <a:lnTo>
                    <a:pt x="365838" y="333096"/>
                  </a:lnTo>
                  <a:lnTo>
                    <a:pt x="363920" y="332651"/>
                  </a:lnTo>
                  <a:lnTo>
                    <a:pt x="357607" y="344680"/>
                  </a:lnTo>
                  <a:cubicBezTo>
                    <a:pt x="352679" y="337339"/>
                    <a:pt x="347803" y="329962"/>
                    <a:pt x="342876" y="322621"/>
                  </a:cubicBezTo>
                  <a:lnTo>
                    <a:pt x="328144" y="294598"/>
                  </a:lnTo>
                  <a:lnTo>
                    <a:pt x="319778" y="282569"/>
                  </a:lnTo>
                  <a:lnTo>
                    <a:pt x="309255" y="272539"/>
                  </a:lnTo>
                  <a:lnTo>
                    <a:pt x="298733" y="262509"/>
                  </a:lnTo>
                  <a:lnTo>
                    <a:pt x="286106" y="254512"/>
                  </a:lnTo>
                  <a:lnTo>
                    <a:pt x="277688" y="252513"/>
                  </a:lnTo>
                  <a:cubicBezTo>
                    <a:pt x="276302" y="251823"/>
                    <a:pt x="274865" y="251169"/>
                    <a:pt x="273479" y="250479"/>
                  </a:cubicBezTo>
                  <a:lnTo>
                    <a:pt x="267166" y="252513"/>
                  </a:lnTo>
                  <a:lnTo>
                    <a:pt x="262957" y="254512"/>
                  </a:lnTo>
                  <a:lnTo>
                    <a:pt x="254539" y="260509"/>
                  </a:lnTo>
                  <a:lnTo>
                    <a:pt x="248226" y="262509"/>
                  </a:lnTo>
                  <a:lnTo>
                    <a:pt x="241912" y="264508"/>
                  </a:lnTo>
                  <a:lnTo>
                    <a:pt x="235599" y="264508"/>
                  </a:lnTo>
                  <a:lnTo>
                    <a:pt x="231390" y="264508"/>
                  </a:lnTo>
                  <a:lnTo>
                    <a:pt x="222972" y="260509"/>
                  </a:lnTo>
                  <a:lnTo>
                    <a:pt x="220867" y="260509"/>
                  </a:lnTo>
                  <a:lnTo>
                    <a:pt x="214554" y="260509"/>
                  </a:lnTo>
                  <a:lnTo>
                    <a:pt x="210345" y="262509"/>
                  </a:lnTo>
                  <a:lnTo>
                    <a:pt x="204032" y="268540"/>
                  </a:lnTo>
                  <a:lnTo>
                    <a:pt x="195614" y="272539"/>
                  </a:lnTo>
                  <a:lnTo>
                    <a:pt x="183038" y="272539"/>
                  </a:lnTo>
                  <a:lnTo>
                    <a:pt x="170411" y="270540"/>
                  </a:lnTo>
                  <a:lnTo>
                    <a:pt x="157784" y="264508"/>
                  </a:lnTo>
                  <a:lnTo>
                    <a:pt x="130426" y="252513"/>
                  </a:lnTo>
                  <a:lnTo>
                    <a:pt x="109381" y="242483"/>
                  </a:lnTo>
                  <a:lnTo>
                    <a:pt x="96755" y="232452"/>
                  </a:lnTo>
                  <a:lnTo>
                    <a:pt x="84128" y="220423"/>
                  </a:lnTo>
                  <a:lnTo>
                    <a:pt x="61030" y="196399"/>
                  </a:lnTo>
                  <a:lnTo>
                    <a:pt x="18940" y="142284"/>
                  </a:lnTo>
                  <a:cubicBezTo>
                    <a:pt x="17554" y="137596"/>
                    <a:pt x="16117" y="132943"/>
                    <a:pt x="14731" y="128255"/>
                  </a:cubicBezTo>
                  <a:cubicBezTo>
                    <a:pt x="13345" y="122258"/>
                    <a:pt x="11908" y="116226"/>
                    <a:pt x="10522" y="110229"/>
                  </a:cubicBezTo>
                  <a:lnTo>
                    <a:pt x="2104" y="96200"/>
                  </a:lnTo>
                  <a:cubicBezTo>
                    <a:pt x="1386" y="90858"/>
                    <a:pt x="719" y="85515"/>
                    <a:pt x="0" y="80172"/>
                  </a:cubicBezTo>
                  <a:lnTo>
                    <a:pt x="25254" y="80172"/>
                  </a:lnTo>
                  <a:lnTo>
                    <a:pt x="39985" y="80172"/>
                  </a:lnTo>
                  <a:lnTo>
                    <a:pt x="52612" y="78139"/>
                  </a:lnTo>
                  <a:cubicBezTo>
                    <a:pt x="53330" y="77484"/>
                    <a:pt x="53998" y="76795"/>
                    <a:pt x="54716" y="76140"/>
                  </a:cubicBezTo>
                  <a:cubicBezTo>
                    <a:pt x="55435" y="74141"/>
                    <a:pt x="56102" y="72141"/>
                    <a:pt x="56821" y="70142"/>
                  </a:cubicBezTo>
                  <a:cubicBezTo>
                    <a:pt x="56102" y="68798"/>
                    <a:pt x="55435" y="67488"/>
                    <a:pt x="54716" y="66144"/>
                  </a:cubicBezTo>
                  <a:lnTo>
                    <a:pt x="54716" y="62111"/>
                  </a:lnTo>
                  <a:lnTo>
                    <a:pt x="54716" y="60112"/>
                  </a:lnTo>
                  <a:lnTo>
                    <a:pt x="73605" y="58113"/>
                  </a:lnTo>
                  <a:lnTo>
                    <a:pt x="86232" y="58113"/>
                  </a:lnTo>
                  <a:lnTo>
                    <a:pt x="96755" y="56114"/>
                  </a:lnTo>
                  <a:lnTo>
                    <a:pt x="105172" y="52115"/>
                  </a:lnTo>
                  <a:cubicBezTo>
                    <a:pt x="105891" y="50116"/>
                    <a:pt x="106558" y="48083"/>
                    <a:pt x="107277" y="46084"/>
                  </a:cubicBezTo>
                  <a:lnTo>
                    <a:pt x="107277" y="38087"/>
                  </a:lnTo>
                  <a:cubicBezTo>
                    <a:pt x="107996" y="34744"/>
                    <a:pt x="108663" y="31400"/>
                    <a:pt x="109381" y="28057"/>
                  </a:cubicBezTo>
                  <a:lnTo>
                    <a:pt x="109381" y="3998"/>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Central</a:t>
              </a:r>
            </a:p>
            <a:p>
              <a:pPr algn="ctr"/>
              <a:r>
                <a:rPr lang="en-US" sz="800" dirty="0">
                  <a:solidFill>
                    <a:prstClr val="black"/>
                  </a:solidFill>
                  <a:latin typeface="Franklin Gothic Book"/>
                  <a:ea typeface="MS PGothic" charset="0"/>
                  <a:cs typeface="MS PGothic" charset="0"/>
                </a:rPr>
                <a:t>Coast</a:t>
              </a:r>
            </a:p>
          </p:txBody>
        </p:sp>
        <p:sp>
          <p:nvSpPr>
            <p:cNvPr id="5" name="Northern Valley"/>
            <p:cNvSpPr>
              <a:spLocks/>
            </p:cNvSpPr>
            <p:nvPr/>
          </p:nvSpPr>
          <p:spPr bwMode="auto">
            <a:xfrm>
              <a:off x="2572619" y="1546373"/>
              <a:ext cx="1459924" cy="1965895"/>
            </a:xfrm>
            <a:custGeom>
              <a:avLst/>
              <a:gdLst/>
              <a:ahLst/>
              <a:cxnLst/>
              <a:rect l="l" t="t" r="r" b="b"/>
              <a:pathLst>
                <a:path w="1459924" h="1965895">
                  <a:moveTo>
                    <a:pt x="1390471" y="1285217"/>
                  </a:moveTo>
                  <a:lnTo>
                    <a:pt x="1392579" y="1291180"/>
                  </a:lnTo>
                  <a:lnTo>
                    <a:pt x="1392579" y="1296597"/>
                  </a:lnTo>
                  <a:lnTo>
                    <a:pt x="1392608" y="1296570"/>
                  </a:lnTo>
                  <a:lnTo>
                    <a:pt x="1392608" y="1290558"/>
                  </a:lnTo>
                  <a:lnTo>
                    <a:pt x="1390739" y="1285217"/>
                  </a:lnTo>
                  <a:close/>
                  <a:moveTo>
                    <a:pt x="1138708" y="844805"/>
                  </a:moveTo>
                  <a:lnTo>
                    <a:pt x="1135965" y="845676"/>
                  </a:lnTo>
                  <a:lnTo>
                    <a:pt x="1138389" y="850296"/>
                  </a:lnTo>
                  <a:lnTo>
                    <a:pt x="1142308" y="851593"/>
                  </a:lnTo>
                  <a:close/>
                  <a:moveTo>
                    <a:pt x="1142276" y="825637"/>
                  </a:moveTo>
                  <a:lnTo>
                    <a:pt x="1144379" y="833653"/>
                  </a:lnTo>
                  <a:lnTo>
                    <a:pt x="1144379" y="839665"/>
                  </a:lnTo>
                  <a:lnTo>
                    <a:pt x="1143167" y="841974"/>
                  </a:lnTo>
                  <a:lnTo>
                    <a:pt x="1144345" y="841587"/>
                  </a:lnTo>
                  <a:cubicBezTo>
                    <a:pt x="1145048" y="840285"/>
                    <a:pt x="1145751" y="838914"/>
                    <a:pt x="1146453" y="837612"/>
                  </a:cubicBezTo>
                  <a:lnTo>
                    <a:pt x="1146453" y="831649"/>
                  </a:lnTo>
                  <a:lnTo>
                    <a:pt x="1144873" y="825637"/>
                  </a:lnTo>
                  <a:close/>
                  <a:moveTo>
                    <a:pt x="401747" y="0"/>
                  </a:moveTo>
                  <a:lnTo>
                    <a:pt x="769965" y="0"/>
                  </a:lnTo>
                  <a:lnTo>
                    <a:pt x="1138058" y="0"/>
                  </a:lnTo>
                  <a:lnTo>
                    <a:pt x="1222254" y="0"/>
                  </a:lnTo>
                  <a:cubicBezTo>
                    <a:pt x="1223610" y="46787"/>
                    <a:pt x="1225089" y="93499"/>
                    <a:pt x="1226445" y="140286"/>
                  </a:cubicBezTo>
                  <a:cubicBezTo>
                    <a:pt x="1227185" y="186405"/>
                    <a:pt x="1227801" y="232450"/>
                    <a:pt x="1228541" y="278570"/>
                  </a:cubicBezTo>
                  <a:cubicBezTo>
                    <a:pt x="1229897" y="324022"/>
                    <a:pt x="1231376" y="369400"/>
                    <a:pt x="1232732" y="414852"/>
                  </a:cubicBezTo>
                  <a:cubicBezTo>
                    <a:pt x="1231376" y="462973"/>
                    <a:pt x="1229897" y="511020"/>
                    <a:pt x="1228541" y="559142"/>
                  </a:cubicBezTo>
                  <a:lnTo>
                    <a:pt x="1224350" y="559142"/>
                  </a:lnTo>
                  <a:lnTo>
                    <a:pt x="1224350" y="591173"/>
                  </a:lnTo>
                  <a:lnTo>
                    <a:pt x="1222254" y="591173"/>
                  </a:lnTo>
                  <a:lnTo>
                    <a:pt x="1194887" y="591173"/>
                  </a:lnTo>
                  <a:lnTo>
                    <a:pt x="1163329" y="591173"/>
                  </a:lnTo>
                  <a:lnTo>
                    <a:pt x="1108125" y="602727"/>
                  </a:lnTo>
                  <a:lnTo>
                    <a:pt x="1110721" y="605200"/>
                  </a:lnTo>
                  <a:lnTo>
                    <a:pt x="1119136" y="613216"/>
                  </a:lnTo>
                  <a:lnTo>
                    <a:pt x="1121239" y="621231"/>
                  </a:lnTo>
                  <a:lnTo>
                    <a:pt x="1123343" y="645279"/>
                  </a:lnTo>
                  <a:lnTo>
                    <a:pt x="1129654" y="657303"/>
                  </a:lnTo>
                  <a:lnTo>
                    <a:pt x="1140172" y="667323"/>
                  </a:lnTo>
                  <a:lnTo>
                    <a:pt x="1146483" y="673335"/>
                  </a:lnTo>
                  <a:lnTo>
                    <a:pt x="1161208" y="677343"/>
                  </a:lnTo>
                  <a:lnTo>
                    <a:pt x="1184348" y="683355"/>
                  </a:lnTo>
                  <a:lnTo>
                    <a:pt x="1194866" y="687363"/>
                  </a:lnTo>
                  <a:lnTo>
                    <a:pt x="1205385" y="693375"/>
                  </a:lnTo>
                  <a:lnTo>
                    <a:pt x="1209592" y="703394"/>
                  </a:lnTo>
                  <a:lnTo>
                    <a:pt x="1213799" y="715418"/>
                  </a:lnTo>
                  <a:lnTo>
                    <a:pt x="1199074" y="715418"/>
                  </a:lnTo>
                  <a:lnTo>
                    <a:pt x="1196970" y="715418"/>
                  </a:lnTo>
                  <a:lnTo>
                    <a:pt x="1196970" y="717422"/>
                  </a:lnTo>
                  <a:lnTo>
                    <a:pt x="1203281" y="725438"/>
                  </a:lnTo>
                  <a:lnTo>
                    <a:pt x="1205385" y="733454"/>
                  </a:lnTo>
                  <a:lnTo>
                    <a:pt x="1207488" y="751490"/>
                  </a:lnTo>
                  <a:lnTo>
                    <a:pt x="1207488" y="763514"/>
                  </a:lnTo>
                  <a:lnTo>
                    <a:pt x="1199074" y="773533"/>
                  </a:lnTo>
                  <a:lnTo>
                    <a:pt x="1188556" y="785557"/>
                  </a:lnTo>
                  <a:lnTo>
                    <a:pt x="1175934" y="793573"/>
                  </a:lnTo>
                  <a:lnTo>
                    <a:pt x="1161208" y="801589"/>
                  </a:lnTo>
                  <a:lnTo>
                    <a:pt x="1154897" y="803593"/>
                  </a:lnTo>
                  <a:lnTo>
                    <a:pt x="1150690" y="811609"/>
                  </a:lnTo>
                  <a:lnTo>
                    <a:pt x="1150690" y="817621"/>
                  </a:lnTo>
                  <a:lnTo>
                    <a:pt x="1153844" y="823631"/>
                  </a:lnTo>
                  <a:lnTo>
                    <a:pt x="1156992" y="823631"/>
                  </a:lnTo>
                  <a:lnTo>
                    <a:pt x="1165424" y="823631"/>
                  </a:lnTo>
                  <a:cubicBezTo>
                    <a:pt x="1166829" y="824933"/>
                    <a:pt x="1168234" y="826303"/>
                    <a:pt x="1169639" y="827606"/>
                  </a:cubicBezTo>
                  <a:cubicBezTo>
                    <a:pt x="1171045" y="829593"/>
                    <a:pt x="1172450" y="831649"/>
                    <a:pt x="1173855" y="833637"/>
                  </a:cubicBezTo>
                  <a:lnTo>
                    <a:pt x="1173855" y="841587"/>
                  </a:lnTo>
                  <a:lnTo>
                    <a:pt x="1173855" y="855568"/>
                  </a:lnTo>
                  <a:lnTo>
                    <a:pt x="1169639" y="871605"/>
                  </a:lnTo>
                  <a:lnTo>
                    <a:pt x="1184324" y="867562"/>
                  </a:lnTo>
                  <a:cubicBezTo>
                    <a:pt x="1182919" y="870920"/>
                    <a:pt x="1181514" y="874210"/>
                    <a:pt x="1180108" y="877568"/>
                  </a:cubicBezTo>
                  <a:lnTo>
                    <a:pt x="1188540" y="877568"/>
                  </a:lnTo>
                  <a:lnTo>
                    <a:pt x="1194863" y="885587"/>
                  </a:lnTo>
                  <a:cubicBezTo>
                    <a:pt x="1195566" y="888945"/>
                    <a:pt x="1196269" y="892235"/>
                    <a:pt x="1196971" y="895593"/>
                  </a:cubicBezTo>
                  <a:lnTo>
                    <a:pt x="1188540" y="895593"/>
                  </a:lnTo>
                  <a:cubicBezTo>
                    <a:pt x="1189242" y="898266"/>
                    <a:pt x="1189945" y="900870"/>
                    <a:pt x="1190648" y="903543"/>
                  </a:cubicBezTo>
                  <a:cubicBezTo>
                    <a:pt x="1189945" y="904845"/>
                    <a:pt x="1189242" y="906216"/>
                    <a:pt x="1188540" y="907518"/>
                  </a:cubicBezTo>
                  <a:cubicBezTo>
                    <a:pt x="1187135" y="909505"/>
                    <a:pt x="1185729" y="911562"/>
                    <a:pt x="1184324" y="913549"/>
                  </a:cubicBezTo>
                  <a:cubicBezTo>
                    <a:pt x="1181514" y="914851"/>
                    <a:pt x="1178773" y="916222"/>
                    <a:pt x="1175963" y="917524"/>
                  </a:cubicBezTo>
                  <a:cubicBezTo>
                    <a:pt x="1173855" y="919512"/>
                    <a:pt x="1171747" y="921568"/>
                    <a:pt x="1169639" y="923555"/>
                  </a:cubicBezTo>
                  <a:cubicBezTo>
                    <a:pt x="1167532" y="926845"/>
                    <a:pt x="1165424" y="930203"/>
                    <a:pt x="1163316" y="933493"/>
                  </a:cubicBezTo>
                  <a:lnTo>
                    <a:pt x="1163316" y="941512"/>
                  </a:lnTo>
                  <a:cubicBezTo>
                    <a:pt x="1161911" y="943499"/>
                    <a:pt x="1160505" y="945555"/>
                    <a:pt x="1159100" y="947543"/>
                  </a:cubicBezTo>
                  <a:lnTo>
                    <a:pt x="1167532" y="947543"/>
                  </a:lnTo>
                  <a:cubicBezTo>
                    <a:pt x="1166829" y="952888"/>
                    <a:pt x="1166126" y="958166"/>
                    <a:pt x="1165424" y="963511"/>
                  </a:cubicBezTo>
                  <a:cubicBezTo>
                    <a:pt x="1166126" y="967487"/>
                    <a:pt x="1166829" y="971530"/>
                    <a:pt x="1167532" y="975505"/>
                  </a:cubicBezTo>
                  <a:lnTo>
                    <a:pt x="1167532" y="991474"/>
                  </a:lnTo>
                  <a:lnTo>
                    <a:pt x="1167532" y="1007443"/>
                  </a:lnTo>
                  <a:cubicBezTo>
                    <a:pt x="1168234" y="1008813"/>
                    <a:pt x="1168937" y="1010116"/>
                    <a:pt x="1169639" y="1011486"/>
                  </a:cubicBezTo>
                  <a:cubicBezTo>
                    <a:pt x="1171045" y="1012788"/>
                    <a:pt x="1172450" y="1014159"/>
                    <a:pt x="1173855" y="1015461"/>
                  </a:cubicBezTo>
                  <a:lnTo>
                    <a:pt x="1169639" y="1021424"/>
                  </a:lnTo>
                  <a:lnTo>
                    <a:pt x="1167532" y="1021424"/>
                  </a:lnTo>
                  <a:lnTo>
                    <a:pt x="1163316" y="1021424"/>
                  </a:lnTo>
                  <a:cubicBezTo>
                    <a:pt x="1161911" y="1023411"/>
                    <a:pt x="1160505" y="1025468"/>
                    <a:pt x="1159100" y="1027455"/>
                  </a:cubicBezTo>
                  <a:lnTo>
                    <a:pt x="1163316" y="1033418"/>
                  </a:lnTo>
                  <a:cubicBezTo>
                    <a:pt x="1164721" y="1034788"/>
                    <a:pt x="1166126" y="1036091"/>
                    <a:pt x="1167532" y="1037461"/>
                  </a:cubicBezTo>
                  <a:cubicBezTo>
                    <a:pt x="1168234" y="1040751"/>
                    <a:pt x="1168937" y="1044109"/>
                    <a:pt x="1169639" y="1047399"/>
                  </a:cubicBezTo>
                  <a:cubicBezTo>
                    <a:pt x="1171045" y="1051374"/>
                    <a:pt x="1172450" y="1055418"/>
                    <a:pt x="1173855" y="1059393"/>
                  </a:cubicBezTo>
                  <a:lnTo>
                    <a:pt x="1186432" y="1057405"/>
                  </a:lnTo>
                  <a:lnTo>
                    <a:pt x="1184324" y="1065424"/>
                  </a:lnTo>
                  <a:lnTo>
                    <a:pt x="1194863" y="1063436"/>
                  </a:lnTo>
                  <a:cubicBezTo>
                    <a:pt x="1196971" y="1064122"/>
                    <a:pt x="1199079" y="1064738"/>
                    <a:pt x="1201187" y="1065424"/>
                  </a:cubicBezTo>
                  <a:cubicBezTo>
                    <a:pt x="1202592" y="1068097"/>
                    <a:pt x="1203997" y="1070701"/>
                    <a:pt x="1205403" y="1073374"/>
                  </a:cubicBezTo>
                  <a:lnTo>
                    <a:pt x="1205403" y="1083380"/>
                  </a:lnTo>
                  <a:lnTo>
                    <a:pt x="1209618" y="1083380"/>
                  </a:lnTo>
                  <a:lnTo>
                    <a:pt x="1209618" y="1095374"/>
                  </a:lnTo>
                  <a:lnTo>
                    <a:pt x="1220087" y="1097361"/>
                  </a:lnTo>
                  <a:cubicBezTo>
                    <a:pt x="1222195" y="1099349"/>
                    <a:pt x="1224303" y="1101405"/>
                    <a:pt x="1226411" y="1103392"/>
                  </a:cubicBezTo>
                  <a:cubicBezTo>
                    <a:pt x="1228519" y="1107367"/>
                    <a:pt x="1230626" y="1111411"/>
                    <a:pt x="1232734" y="1115386"/>
                  </a:cubicBezTo>
                  <a:lnTo>
                    <a:pt x="1241166" y="1113330"/>
                  </a:lnTo>
                  <a:cubicBezTo>
                    <a:pt x="1243274" y="1115318"/>
                    <a:pt x="1245381" y="1117374"/>
                    <a:pt x="1247489" y="1119361"/>
                  </a:cubicBezTo>
                  <a:cubicBezTo>
                    <a:pt x="1248192" y="1122034"/>
                    <a:pt x="1248824" y="1124638"/>
                    <a:pt x="1249527" y="1127311"/>
                  </a:cubicBezTo>
                  <a:lnTo>
                    <a:pt x="1262174" y="1137317"/>
                  </a:lnTo>
                  <a:lnTo>
                    <a:pt x="1274821" y="1147324"/>
                  </a:lnTo>
                  <a:lnTo>
                    <a:pt x="1291613" y="1159317"/>
                  </a:lnTo>
                  <a:lnTo>
                    <a:pt x="1293721" y="1165280"/>
                  </a:lnTo>
                  <a:lnTo>
                    <a:pt x="1295829" y="1173299"/>
                  </a:lnTo>
                  <a:lnTo>
                    <a:pt x="1306368" y="1173299"/>
                  </a:lnTo>
                  <a:cubicBezTo>
                    <a:pt x="1308476" y="1174601"/>
                    <a:pt x="1310584" y="1175972"/>
                    <a:pt x="1312692" y="1177274"/>
                  </a:cubicBezTo>
                  <a:lnTo>
                    <a:pt x="1314800" y="1185292"/>
                  </a:lnTo>
                  <a:cubicBezTo>
                    <a:pt x="1314097" y="1188651"/>
                    <a:pt x="1313395" y="1191940"/>
                    <a:pt x="1312692" y="1195299"/>
                  </a:cubicBezTo>
                  <a:lnTo>
                    <a:pt x="1321053" y="1193311"/>
                  </a:lnTo>
                  <a:cubicBezTo>
                    <a:pt x="1321756" y="1193996"/>
                    <a:pt x="1322458" y="1194613"/>
                    <a:pt x="1323161" y="1195299"/>
                  </a:cubicBezTo>
                  <a:cubicBezTo>
                    <a:pt x="1323863" y="1196601"/>
                    <a:pt x="1324566" y="1197971"/>
                    <a:pt x="1325269" y="1199274"/>
                  </a:cubicBezTo>
                  <a:lnTo>
                    <a:pt x="1325269" y="1205305"/>
                  </a:lnTo>
                  <a:lnTo>
                    <a:pt x="1337916" y="1205305"/>
                  </a:lnTo>
                  <a:lnTo>
                    <a:pt x="1337916" y="1217230"/>
                  </a:lnTo>
                  <a:cubicBezTo>
                    <a:pt x="1340024" y="1216545"/>
                    <a:pt x="1342131" y="1215928"/>
                    <a:pt x="1344239" y="1215242"/>
                  </a:cubicBezTo>
                  <a:lnTo>
                    <a:pt x="1344239" y="1219286"/>
                  </a:lnTo>
                  <a:lnTo>
                    <a:pt x="1346347" y="1219286"/>
                  </a:lnTo>
                  <a:cubicBezTo>
                    <a:pt x="1348455" y="1220588"/>
                    <a:pt x="1350563" y="1221959"/>
                    <a:pt x="1352671" y="1223261"/>
                  </a:cubicBezTo>
                  <a:lnTo>
                    <a:pt x="1352671" y="1227236"/>
                  </a:lnTo>
                  <a:lnTo>
                    <a:pt x="1358924" y="1227236"/>
                  </a:lnTo>
                  <a:lnTo>
                    <a:pt x="1365247" y="1235255"/>
                  </a:lnTo>
                  <a:lnTo>
                    <a:pt x="1365247" y="1241217"/>
                  </a:lnTo>
                  <a:lnTo>
                    <a:pt x="1365247" y="1251223"/>
                  </a:lnTo>
                  <a:cubicBezTo>
                    <a:pt x="1366653" y="1250538"/>
                    <a:pt x="1368058" y="1249921"/>
                    <a:pt x="1369463" y="1249236"/>
                  </a:cubicBezTo>
                  <a:cubicBezTo>
                    <a:pt x="1371571" y="1249921"/>
                    <a:pt x="1373679" y="1250538"/>
                    <a:pt x="1375787" y="1251223"/>
                  </a:cubicBezTo>
                  <a:cubicBezTo>
                    <a:pt x="1376489" y="1252526"/>
                    <a:pt x="1377192" y="1253896"/>
                    <a:pt x="1377895" y="1255199"/>
                  </a:cubicBezTo>
                  <a:lnTo>
                    <a:pt x="1377895" y="1259242"/>
                  </a:lnTo>
                  <a:lnTo>
                    <a:pt x="1396795" y="1257255"/>
                  </a:lnTo>
                  <a:cubicBezTo>
                    <a:pt x="1397498" y="1263217"/>
                    <a:pt x="1398200" y="1269248"/>
                    <a:pt x="1398903" y="1275211"/>
                  </a:cubicBezTo>
                  <a:lnTo>
                    <a:pt x="1407333" y="1271236"/>
                  </a:lnTo>
                  <a:lnTo>
                    <a:pt x="1407333" y="1270518"/>
                  </a:lnTo>
                  <a:lnTo>
                    <a:pt x="1453613" y="1244467"/>
                  </a:lnTo>
                  <a:lnTo>
                    <a:pt x="1459924" y="1274526"/>
                  </a:lnTo>
                  <a:lnTo>
                    <a:pt x="1459924" y="1290558"/>
                  </a:lnTo>
                  <a:lnTo>
                    <a:pt x="1455717" y="1304586"/>
                  </a:lnTo>
                  <a:lnTo>
                    <a:pt x="1453613" y="1308594"/>
                  </a:lnTo>
                  <a:lnTo>
                    <a:pt x="1449406" y="1310598"/>
                  </a:lnTo>
                  <a:lnTo>
                    <a:pt x="1440991" y="1316610"/>
                  </a:lnTo>
                  <a:lnTo>
                    <a:pt x="1434680" y="1318614"/>
                  </a:lnTo>
                  <a:lnTo>
                    <a:pt x="1432577" y="1320618"/>
                  </a:lnTo>
                  <a:lnTo>
                    <a:pt x="1430473" y="1326630"/>
                  </a:lnTo>
                  <a:lnTo>
                    <a:pt x="1430473" y="1334645"/>
                  </a:lnTo>
                  <a:lnTo>
                    <a:pt x="1434680" y="1338653"/>
                  </a:lnTo>
                  <a:lnTo>
                    <a:pt x="1440991" y="1350677"/>
                  </a:lnTo>
                  <a:lnTo>
                    <a:pt x="1443095" y="1366709"/>
                  </a:lnTo>
                  <a:lnTo>
                    <a:pt x="1443095" y="1380737"/>
                  </a:lnTo>
                  <a:lnTo>
                    <a:pt x="1445199" y="1436848"/>
                  </a:lnTo>
                  <a:lnTo>
                    <a:pt x="1422059" y="1436848"/>
                  </a:lnTo>
                  <a:lnTo>
                    <a:pt x="1403126" y="1438852"/>
                  </a:lnTo>
                  <a:lnTo>
                    <a:pt x="1392608" y="1440856"/>
                  </a:lnTo>
                  <a:lnTo>
                    <a:pt x="1382089" y="1444864"/>
                  </a:lnTo>
                  <a:lnTo>
                    <a:pt x="1375779" y="1448872"/>
                  </a:lnTo>
                  <a:lnTo>
                    <a:pt x="1367364" y="1456888"/>
                  </a:lnTo>
                  <a:lnTo>
                    <a:pt x="1358949" y="1462900"/>
                  </a:lnTo>
                  <a:lnTo>
                    <a:pt x="1354742" y="1472920"/>
                  </a:lnTo>
                  <a:lnTo>
                    <a:pt x="1348431" y="1480935"/>
                  </a:lnTo>
                  <a:lnTo>
                    <a:pt x="1344224" y="1482939"/>
                  </a:lnTo>
                  <a:lnTo>
                    <a:pt x="1342120" y="1482939"/>
                  </a:lnTo>
                  <a:lnTo>
                    <a:pt x="1333706" y="1480935"/>
                  </a:lnTo>
                  <a:lnTo>
                    <a:pt x="1327395" y="1482939"/>
                  </a:lnTo>
                  <a:lnTo>
                    <a:pt x="1325291" y="1488951"/>
                  </a:lnTo>
                  <a:lnTo>
                    <a:pt x="1323188" y="1492959"/>
                  </a:lnTo>
                  <a:lnTo>
                    <a:pt x="1321084" y="1506987"/>
                  </a:lnTo>
                  <a:lnTo>
                    <a:pt x="1316877" y="1512999"/>
                  </a:lnTo>
                  <a:lnTo>
                    <a:pt x="1310566" y="1521015"/>
                  </a:lnTo>
                  <a:lnTo>
                    <a:pt x="1304255" y="1523019"/>
                  </a:lnTo>
                  <a:lnTo>
                    <a:pt x="1293737" y="1529031"/>
                  </a:lnTo>
                  <a:lnTo>
                    <a:pt x="1281115" y="1529031"/>
                  </a:lnTo>
                  <a:lnTo>
                    <a:pt x="1279011" y="1531035"/>
                  </a:lnTo>
                  <a:lnTo>
                    <a:pt x="1274804" y="1537046"/>
                  </a:lnTo>
                  <a:lnTo>
                    <a:pt x="1272700" y="1547066"/>
                  </a:lnTo>
                  <a:lnTo>
                    <a:pt x="1270597" y="1559090"/>
                  </a:lnTo>
                  <a:lnTo>
                    <a:pt x="1264286" y="1569110"/>
                  </a:lnTo>
                  <a:lnTo>
                    <a:pt x="1262182" y="1569110"/>
                  </a:lnTo>
                  <a:lnTo>
                    <a:pt x="1262182" y="1573118"/>
                  </a:lnTo>
                  <a:lnTo>
                    <a:pt x="1260078" y="1579130"/>
                  </a:lnTo>
                  <a:lnTo>
                    <a:pt x="1260078" y="1599170"/>
                  </a:lnTo>
                  <a:lnTo>
                    <a:pt x="1260078" y="1633237"/>
                  </a:lnTo>
                  <a:lnTo>
                    <a:pt x="1260078" y="1679328"/>
                  </a:lnTo>
                  <a:lnTo>
                    <a:pt x="1257975" y="1723416"/>
                  </a:lnTo>
                  <a:lnTo>
                    <a:pt x="1251664" y="1719408"/>
                  </a:lnTo>
                  <a:lnTo>
                    <a:pt x="1249560" y="1715400"/>
                  </a:lnTo>
                  <a:lnTo>
                    <a:pt x="1236938" y="1713396"/>
                  </a:lnTo>
                  <a:lnTo>
                    <a:pt x="1226420" y="1715400"/>
                  </a:lnTo>
                  <a:lnTo>
                    <a:pt x="1215902" y="1723416"/>
                  </a:lnTo>
                  <a:lnTo>
                    <a:pt x="1188555" y="1739447"/>
                  </a:lnTo>
                  <a:lnTo>
                    <a:pt x="1178036" y="1745459"/>
                  </a:lnTo>
                  <a:lnTo>
                    <a:pt x="1167518" y="1751471"/>
                  </a:lnTo>
                  <a:lnTo>
                    <a:pt x="1163102" y="1752578"/>
                  </a:lnTo>
                  <a:lnTo>
                    <a:pt x="1163317" y="1753461"/>
                  </a:lnTo>
                  <a:lnTo>
                    <a:pt x="1163317" y="1785541"/>
                  </a:lnTo>
                  <a:lnTo>
                    <a:pt x="1163317" y="1803562"/>
                  </a:lnTo>
                  <a:lnTo>
                    <a:pt x="1161260" y="1807572"/>
                  </a:lnTo>
                  <a:cubicBezTo>
                    <a:pt x="1160506" y="1808909"/>
                    <a:pt x="1159820" y="1810245"/>
                    <a:pt x="1159065" y="1811582"/>
                  </a:cubicBezTo>
                  <a:lnTo>
                    <a:pt x="1142298" y="1811582"/>
                  </a:lnTo>
                  <a:lnTo>
                    <a:pt x="1131771" y="1811582"/>
                  </a:lnTo>
                  <a:cubicBezTo>
                    <a:pt x="1131085" y="1812273"/>
                    <a:pt x="1130365" y="1812919"/>
                    <a:pt x="1129679" y="1813610"/>
                  </a:cubicBezTo>
                  <a:cubicBezTo>
                    <a:pt x="1128925" y="1814947"/>
                    <a:pt x="1128308" y="1816283"/>
                    <a:pt x="1127588" y="1817620"/>
                  </a:cubicBezTo>
                  <a:lnTo>
                    <a:pt x="1127588" y="1833614"/>
                  </a:lnTo>
                  <a:lnTo>
                    <a:pt x="1127588" y="1857673"/>
                  </a:lnTo>
                  <a:cubicBezTo>
                    <a:pt x="1128308" y="1871040"/>
                    <a:pt x="1128925" y="1884406"/>
                    <a:pt x="1129679" y="1897773"/>
                  </a:cubicBezTo>
                  <a:cubicBezTo>
                    <a:pt x="1128925" y="1903764"/>
                    <a:pt x="1128308" y="1909802"/>
                    <a:pt x="1127588" y="1915794"/>
                  </a:cubicBezTo>
                  <a:cubicBezTo>
                    <a:pt x="1126148" y="1921786"/>
                    <a:pt x="1124776" y="1927824"/>
                    <a:pt x="1123370" y="1933816"/>
                  </a:cubicBezTo>
                  <a:cubicBezTo>
                    <a:pt x="1121964" y="1937180"/>
                    <a:pt x="1120524" y="1940499"/>
                    <a:pt x="1119118" y="1943864"/>
                  </a:cubicBezTo>
                  <a:cubicBezTo>
                    <a:pt x="1118432" y="1944509"/>
                    <a:pt x="1117747" y="1945200"/>
                    <a:pt x="1117061" y="1945846"/>
                  </a:cubicBezTo>
                  <a:lnTo>
                    <a:pt x="1110717" y="1945846"/>
                  </a:lnTo>
                  <a:lnTo>
                    <a:pt x="1110717" y="1947874"/>
                  </a:lnTo>
                  <a:lnTo>
                    <a:pt x="1110717" y="1965895"/>
                  </a:lnTo>
                  <a:lnTo>
                    <a:pt x="1070736" y="1963913"/>
                  </a:lnTo>
                  <a:lnTo>
                    <a:pt x="1032880" y="1963913"/>
                  </a:lnTo>
                  <a:lnTo>
                    <a:pt x="1035040" y="1955893"/>
                  </a:lnTo>
                  <a:cubicBezTo>
                    <a:pt x="1035726" y="1952529"/>
                    <a:pt x="1036378" y="1949210"/>
                    <a:pt x="1037098" y="1945846"/>
                  </a:cubicBezTo>
                  <a:lnTo>
                    <a:pt x="1037098" y="1937826"/>
                  </a:lnTo>
                  <a:lnTo>
                    <a:pt x="1030823" y="1929806"/>
                  </a:lnTo>
                  <a:cubicBezTo>
                    <a:pt x="1029417" y="1929161"/>
                    <a:pt x="1028045" y="1928469"/>
                    <a:pt x="1026571" y="1927824"/>
                  </a:cubicBezTo>
                  <a:lnTo>
                    <a:pt x="1022422" y="1927824"/>
                  </a:lnTo>
                  <a:lnTo>
                    <a:pt x="1013952" y="1933816"/>
                  </a:lnTo>
                  <a:lnTo>
                    <a:pt x="1005551" y="1939854"/>
                  </a:lnTo>
                  <a:lnTo>
                    <a:pt x="1001334" y="1943864"/>
                  </a:lnTo>
                  <a:lnTo>
                    <a:pt x="995024" y="1943864"/>
                  </a:lnTo>
                  <a:lnTo>
                    <a:pt x="980280" y="1943864"/>
                  </a:lnTo>
                  <a:lnTo>
                    <a:pt x="973971" y="1939854"/>
                  </a:lnTo>
                  <a:lnTo>
                    <a:pt x="969787" y="1935844"/>
                  </a:lnTo>
                  <a:lnTo>
                    <a:pt x="969787" y="1927824"/>
                  </a:lnTo>
                  <a:lnTo>
                    <a:pt x="969787" y="1923814"/>
                  </a:lnTo>
                  <a:lnTo>
                    <a:pt x="959260" y="1915794"/>
                  </a:lnTo>
                  <a:lnTo>
                    <a:pt x="948734" y="1913812"/>
                  </a:lnTo>
                  <a:cubicBezTo>
                    <a:pt x="948013" y="1910448"/>
                    <a:pt x="947328" y="1907129"/>
                    <a:pt x="946642" y="1903764"/>
                  </a:cubicBezTo>
                  <a:cubicBezTo>
                    <a:pt x="945236" y="1900446"/>
                    <a:pt x="943864" y="1897081"/>
                    <a:pt x="942424" y="1893763"/>
                  </a:cubicBezTo>
                  <a:lnTo>
                    <a:pt x="942424" y="1885743"/>
                  </a:lnTo>
                  <a:cubicBezTo>
                    <a:pt x="941738" y="1882378"/>
                    <a:pt x="941018" y="1879060"/>
                    <a:pt x="940333" y="1875695"/>
                  </a:cubicBezTo>
                  <a:cubicBezTo>
                    <a:pt x="937487" y="1871040"/>
                    <a:pt x="934743" y="1866338"/>
                    <a:pt x="931932" y="1861683"/>
                  </a:cubicBezTo>
                  <a:cubicBezTo>
                    <a:pt x="931177" y="1860346"/>
                    <a:pt x="930560" y="1859010"/>
                    <a:pt x="929840" y="1857673"/>
                  </a:cubicBezTo>
                  <a:lnTo>
                    <a:pt x="927680" y="1857673"/>
                  </a:lnTo>
                  <a:lnTo>
                    <a:pt x="919279" y="1861683"/>
                  </a:lnTo>
                  <a:lnTo>
                    <a:pt x="908786" y="1865693"/>
                  </a:lnTo>
                  <a:lnTo>
                    <a:pt x="896168" y="1865693"/>
                  </a:lnTo>
                  <a:lnTo>
                    <a:pt x="885607" y="1863711"/>
                  </a:lnTo>
                  <a:cubicBezTo>
                    <a:pt x="884955" y="1863020"/>
                    <a:pt x="884201" y="1862375"/>
                    <a:pt x="883515" y="1861683"/>
                  </a:cubicBezTo>
                  <a:lnTo>
                    <a:pt x="883515" y="1853663"/>
                  </a:lnTo>
                  <a:cubicBezTo>
                    <a:pt x="884235" y="1850990"/>
                    <a:pt x="884921" y="1848317"/>
                    <a:pt x="885607" y="1845643"/>
                  </a:cubicBezTo>
                  <a:cubicBezTo>
                    <a:pt x="886327" y="1842970"/>
                    <a:pt x="887012" y="1840297"/>
                    <a:pt x="887732" y="1837624"/>
                  </a:cubicBezTo>
                  <a:lnTo>
                    <a:pt x="896168" y="1827622"/>
                  </a:lnTo>
                  <a:lnTo>
                    <a:pt x="889824" y="1827622"/>
                  </a:lnTo>
                  <a:lnTo>
                    <a:pt x="885607" y="1827622"/>
                  </a:lnTo>
                  <a:cubicBezTo>
                    <a:pt x="886327" y="1825640"/>
                    <a:pt x="887012" y="1823612"/>
                    <a:pt x="887732" y="1821630"/>
                  </a:cubicBezTo>
                  <a:lnTo>
                    <a:pt x="879332" y="1821630"/>
                  </a:lnTo>
                  <a:lnTo>
                    <a:pt x="875080" y="1817620"/>
                  </a:lnTo>
                  <a:lnTo>
                    <a:pt x="868770" y="1815592"/>
                  </a:lnTo>
                  <a:cubicBezTo>
                    <a:pt x="867730" y="1813613"/>
                    <a:pt x="866707" y="1811634"/>
                    <a:pt x="865697" y="1809651"/>
                  </a:cubicBezTo>
                  <a:lnTo>
                    <a:pt x="687263" y="1813592"/>
                  </a:lnTo>
                  <a:lnTo>
                    <a:pt x="505790" y="1815596"/>
                  </a:lnTo>
                  <a:lnTo>
                    <a:pt x="497349" y="1805576"/>
                  </a:lnTo>
                  <a:lnTo>
                    <a:pt x="486799" y="1797561"/>
                  </a:lnTo>
                  <a:lnTo>
                    <a:pt x="476248" y="1787541"/>
                  </a:lnTo>
                  <a:lnTo>
                    <a:pt x="465697" y="1779525"/>
                  </a:lnTo>
                  <a:lnTo>
                    <a:pt x="463587" y="1775517"/>
                  </a:lnTo>
                  <a:lnTo>
                    <a:pt x="463587" y="1769505"/>
                  </a:lnTo>
                  <a:lnTo>
                    <a:pt x="463587" y="1757481"/>
                  </a:lnTo>
                  <a:lnTo>
                    <a:pt x="465697" y="1747461"/>
                  </a:lnTo>
                  <a:lnTo>
                    <a:pt x="463587" y="1737442"/>
                  </a:lnTo>
                  <a:lnTo>
                    <a:pt x="455146" y="1735438"/>
                  </a:lnTo>
                  <a:lnTo>
                    <a:pt x="438265" y="1729426"/>
                  </a:lnTo>
                  <a:lnTo>
                    <a:pt x="423494" y="1723414"/>
                  </a:lnTo>
                  <a:lnTo>
                    <a:pt x="415054" y="1717402"/>
                  </a:lnTo>
                  <a:lnTo>
                    <a:pt x="412943" y="1715398"/>
                  </a:lnTo>
                  <a:lnTo>
                    <a:pt x="406613" y="1699366"/>
                  </a:lnTo>
                  <a:lnTo>
                    <a:pt x="404503" y="1677323"/>
                  </a:lnTo>
                  <a:lnTo>
                    <a:pt x="404503" y="1657283"/>
                  </a:lnTo>
                  <a:lnTo>
                    <a:pt x="406613" y="1643255"/>
                  </a:lnTo>
                  <a:lnTo>
                    <a:pt x="410833" y="1637243"/>
                  </a:lnTo>
                  <a:lnTo>
                    <a:pt x="415054" y="1635239"/>
                  </a:lnTo>
                  <a:lnTo>
                    <a:pt x="421384" y="1631231"/>
                  </a:lnTo>
                  <a:lnTo>
                    <a:pt x="421384" y="1621212"/>
                  </a:lnTo>
                  <a:lnTo>
                    <a:pt x="417164" y="1613196"/>
                  </a:lnTo>
                  <a:lnTo>
                    <a:pt x="406613" y="1605180"/>
                  </a:lnTo>
                  <a:lnTo>
                    <a:pt x="391842" y="1593156"/>
                  </a:lnTo>
                  <a:lnTo>
                    <a:pt x="374961" y="1587144"/>
                  </a:lnTo>
                  <a:lnTo>
                    <a:pt x="355969" y="1585140"/>
                  </a:lnTo>
                  <a:lnTo>
                    <a:pt x="317987" y="1581132"/>
                  </a:lnTo>
                  <a:lnTo>
                    <a:pt x="296885" y="1577124"/>
                  </a:lnTo>
                  <a:lnTo>
                    <a:pt x="277894" y="1571112"/>
                  </a:lnTo>
                  <a:lnTo>
                    <a:pt x="263123" y="1561093"/>
                  </a:lnTo>
                  <a:lnTo>
                    <a:pt x="246242" y="1545061"/>
                  </a:lnTo>
                  <a:lnTo>
                    <a:pt x="229361" y="1533037"/>
                  </a:lnTo>
                  <a:lnTo>
                    <a:pt x="220920" y="1523017"/>
                  </a:lnTo>
                  <a:lnTo>
                    <a:pt x="212479" y="1515001"/>
                  </a:lnTo>
                  <a:lnTo>
                    <a:pt x="210369" y="1504982"/>
                  </a:lnTo>
                  <a:lnTo>
                    <a:pt x="208259" y="1494962"/>
                  </a:lnTo>
                  <a:lnTo>
                    <a:pt x="210369" y="1486946"/>
                  </a:lnTo>
                  <a:lnTo>
                    <a:pt x="218810" y="1476926"/>
                  </a:lnTo>
                  <a:lnTo>
                    <a:pt x="223030" y="1472918"/>
                  </a:lnTo>
                  <a:lnTo>
                    <a:pt x="223030" y="1464902"/>
                  </a:lnTo>
                  <a:lnTo>
                    <a:pt x="214590" y="1450874"/>
                  </a:lnTo>
                  <a:lnTo>
                    <a:pt x="212479" y="1444863"/>
                  </a:lnTo>
                  <a:lnTo>
                    <a:pt x="214590" y="1442859"/>
                  </a:lnTo>
                  <a:lnTo>
                    <a:pt x="220920" y="1442859"/>
                  </a:lnTo>
                  <a:lnTo>
                    <a:pt x="235691" y="1444863"/>
                  </a:lnTo>
                  <a:lnTo>
                    <a:pt x="242685" y="1444830"/>
                  </a:lnTo>
                  <a:lnTo>
                    <a:pt x="239592" y="1442715"/>
                  </a:lnTo>
                  <a:cubicBezTo>
                    <a:pt x="239947" y="1442060"/>
                    <a:pt x="240302" y="1441409"/>
                    <a:pt x="240798" y="1440839"/>
                  </a:cubicBezTo>
                  <a:lnTo>
                    <a:pt x="237706" y="1440853"/>
                  </a:lnTo>
                  <a:cubicBezTo>
                    <a:pt x="239038" y="1420162"/>
                    <a:pt x="240519" y="1399437"/>
                    <a:pt x="241926" y="1378746"/>
                  </a:cubicBezTo>
                  <a:lnTo>
                    <a:pt x="241926" y="1346677"/>
                  </a:lnTo>
                  <a:cubicBezTo>
                    <a:pt x="240519" y="1336664"/>
                    <a:pt x="239038" y="1326618"/>
                    <a:pt x="237706" y="1316605"/>
                  </a:cubicBezTo>
                  <a:lnTo>
                    <a:pt x="237706" y="1314609"/>
                  </a:lnTo>
                  <a:lnTo>
                    <a:pt x="237706" y="1300571"/>
                  </a:lnTo>
                  <a:lnTo>
                    <a:pt x="237706" y="1290558"/>
                  </a:lnTo>
                  <a:lnTo>
                    <a:pt x="237706" y="1288562"/>
                  </a:lnTo>
                  <a:cubicBezTo>
                    <a:pt x="237039" y="1287897"/>
                    <a:pt x="236225" y="1287198"/>
                    <a:pt x="235558" y="1286533"/>
                  </a:cubicBezTo>
                  <a:cubicBezTo>
                    <a:pt x="234225" y="1285867"/>
                    <a:pt x="232744" y="1285202"/>
                    <a:pt x="231412" y="1284537"/>
                  </a:cubicBezTo>
                  <a:lnTo>
                    <a:pt x="223044" y="1284537"/>
                  </a:lnTo>
                  <a:lnTo>
                    <a:pt x="132485" y="1284537"/>
                  </a:lnTo>
                  <a:lnTo>
                    <a:pt x="132485" y="1226421"/>
                  </a:lnTo>
                  <a:cubicBezTo>
                    <a:pt x="131819" y="1215743"/>
                    <a:pt x="131152" y="1205031"/>
                    <a:pt x="130486" y="1194353"/>
                  </a:cubicBezTo>
                  <a:cubicBezTo>
                    <a:pt x="129745" y="1191026"/>
                    <a:pt x="128931" y="1187667"/>
                    <a:pt x="128264" y="1184340"/>
                  </a:cubicBezTo>
                  <a:cubicBezTo>
                    <a:pt x="127598" y="1182344"/>
                    <a:pt x="126858" y="1180315"/>
                    <a:pt x="126191" y="1178319"/>
                  </a:cubicBezTo>
                  <a:lnTo>
                    <a:pt x="122045" y="1178319"/>
                  </a:lnTo>
                  <a:cubicBezTo>
                    <a:pt x="120638" y="1177654"/>
                    <a:pt x="119157" y="1176988"/>
                    <a:pt x="117750" y="1176323"/>
                  </a:cubicBezTo>
                  <a:lnTo>
                    <a:pt x="117750" y="1174327"/>
                  </a:lnTo>
                  <a:lnTo>
                    <a:pt x="117750" y="1164314"/>
                  </a:lnTo>
                  <a:lnTo>
                    <a:pt x="117750" y="1158293"/>
                  </a:lnTo>
                  <a:lnTo>
                    <a:pt x="115751" y="1154301"/>
                  </a:lnTo>
                  <a:cubicBezTo>
                    <a:pt x="114270" y="1153636"/>
                    <a:pt x="112937" y="1152937"/>
                    <a:pt x="111456" y="1152272"/>
                  </a:cubicBezTo>
                  <a:cubicBezTo>
                    <a:pt x="109383" y="1150941"/>
                    <a:pt x="107309" y="1149610"/>
                    <a:pt x="105162" y="1148280"/>
                  </a:cubicBezTo>
                  <a:lnTo>
                    <a:pt x="100941" y="1148280"/>
                  </a:lnTo>
                  <a:cubicBezTo>
                    <a:pt x="100201" y="1146949"/>
                    <a:pt x="99534" y="1145585"/>
                    <a:pt x="98868" y="1144255"/>
                  </a:cubicBezTo>
                  <a:lnTo>
                    <a:pt x="98868" y="1134242"/>
                  </a:lnTo>
                  <a:lnTo>
                    <a:pt x="98868" y="1112205"/>
                  </a:lnTo>
                  <a:lnTo>
                    <a:pt x="96768" y="1112205"/>
                  </a:lnTo>
                  <a:lnTo>
                    <a:pt x="84146" y="1076133"/>
                  </a:lnTo>
                  <a:lnTo>
                    <a:pt x="82042" y="1056094"/>
                  </a:lnTo>
                  <a:lnTo>
                    <a:pt x="84146" y="1046074"/>
                  </a:lnTo>
                  <a:lnTo>
                    <a:pt x="86250" y="1036054"/>
                  </a:lnTo>
                  <a:lnTo>
                    <a:pt x="96768" y="1018018"/>
                  </a:lnTo>
                  <a:lnTo>
                    <a:pt x="103079" y="1003990"/>
                  </a:lnTo>
                  <a:lnTo>
                    <a:pt x="103079" y="995974"/>
                  </a:lnTo>
                  <a:lnTo>
                    <a:pt x="103079" y="987959"/>
                  </a:lnTo>
                  <a:lnTo>
                    <a:pt x="92561" y="965915"/>
                  </a:lnTo>
                  <a:lnTo>
                    <a:pt x="73628" y="903792"/>
                  </a:lnTo>
                  <a:lnTo>
                    <a:pt x="67317" y="869724"/>
                  </a:lnTo>
                  <a:lnTo>
                    <a:pt x="63110" y="837661"/>
                  </a:lnTo>
                  <a:lnTo>
                    <a:pt x="63110" y="823633"/>
                  </a:lnTo>
                  <a:lnTo>
                    <a:pt x="65213" y="807601"/>
                  </a:lnTo>
                  <a:lnTo>
                    <a:pt x="65213" y="781549"/>
                  </a:lnTo>
                  <a:lnTo>
                    <a:pt x="63110" y="767522"/>
                  </a:lnTo>
                  <a:lnTo>
                    <a:pt x="56799" y="757502"/>
                  </a:lnTo>
                  <a:lnTo>
                    <a:pt x="46281" y="747482"/>
                  </a:lnTo>
                  <a:lnTo>
                    <a:pt x="29452" y="741470"/>
                  </a:lnTo>
                  <a:lnTo>
                    <a:pt x="27348" y="733454"/>
                  </a:lnTo>
                  <a:lnTo>
                    <a:pt x="29452" y="725438"/>
                  </a:lnTo>
                  <a:lnTo>
                    <a:pt x="31555" y="717422"/>
                  </a:lnTo>
                  <a:lnTo>
                    <a:pt x="39970" y="711410"/>
                  </a:lnTo>
                  <a:lnTo>
                    <a:pt x="46281" y="705398"/>
                  </a:lnTo>
                  <a:lnTo>
                    <a:pt x="52880" y="703827"/>
                  </a:lnTo>
                  <a:cubicBezTo>
                    <a:pt x="52800" y="703670"/>
                    <a:pt x="52719" y="703514"/>
                    <a:pt x="52638" y="703357"/>
                  </a:cubicBezTo>
                  <a:cubicBezTo>
                    <a:pt x="49802" y="704025"/>
                    <a:pt x="46967" y="704766"/>
                    <a:pt x="44132" y="705433"/>
                  </a:cubicBezTo>
                  <a:lnTo>
                    <a:pt x="37845" y="711439"/>
                  </a:lnTo>
                  <a:cubicBezTo>
                    <a:pt x="35010" y="713441"/>
                    <a:pt x="32298" y="715443"/>
                    <a:pt x="29462" y="717445"/>
                  </a:cubicBezTo>
                  <a:cubicBezTo>
                    <a:pt x="28723" y="720115"/>
                    <a:pt x="28106" y="722784"/>
                    <a:pt x="27367" y="725453"/>
                  </a:cubicBezTo>
                  <a:cubicBezTo>
                    <a:pt x="26627" y="728122"/>
                    <a:pt x="26011" y="730792"/>
                    <a:pt x="25271" y="733461"/>
                  </a:cubicBezTo>
                  <a:cubicBezTo>
                    <a:pt x="26011" y="736130"/>
                    <a:pt x="26627" y="738800"/>
                    <a:pt x="27367" y="741469"/>
                  </a:cubicBezTo>
                  <a:lnTo>
                    <a:pt x="16888" y="737465"/>
                  </a:lnTo>
                  <a:cubicBezTo>
                    <a:pt x="14793" y="736130"/>
                    <a:pt x="12574" y="734796"/>
                    <a:pt x="10478" y="733461"/>
                  </a:cubicBezTo>
                  <a:cubicBezTo>
                    <a:pt x="9122" y="731459"/>
                    <a:pt x="7643" y="729457"/>
                    <a:pt x="6287" y="727455"/>
                  </a:cubicBezTo>
                  <a:cubicBezTo>
                    <a:pt x="5547" y="725453"/>
                    <a:pt x="4931" y="723451"/>
                    <a:pt x="4191" y="721449"/>
                  </a:cubicBezTo>
                  <a:cubicBezTo>
                    <a:pt x="2835" y="718780"/>
                    <a:pt x="1356" y="716111"/>
                    <a:pt x="0" y="713441"/>
                  </a:cubicBezTo>
                  <a:cubicBezTo>
                    <a:pt x="1356" y="710772"/>
                    <a:pt x="2835" y="708103"/>
                    <a:pt x="4191" y="705433"/>
                  </a:cubicBezTo>
                  <a:cubicBezTo>
                    <a:pt x="5547" y="700762"/>
                    <a:pt x="7027" y="696017"/>
                    <a:pt x="8383" y="691346"/>
                  </a:cubicBezTo>
                  <a:lnTo>
                    <a:pt x="16888" y="673328"/>
                  </a:lnTo>
                  <a:cubicBezTo>
                    <a:pt x="20340" y="667989"/>
                    <a:pt x="23915" y="662651"/>
                    <a:pt x="27367" y="657312"/>
                  </a:cubicBezTo>
                  <a:cubicBezTo>
                    <a:pt x="32914" y="650639"/>
                    <a:pt x="38584" y="643966"/>
                    <a:pt x="44132" y="637292"/>
                  </a:cubicBezTo>
                  <a:cubicBezTo>
                    <a:pt x="46227" y="635290"/>
                    <a:pt x="48446" y="633288"/>
                    <a:pt x="50542" y="631287"/>
                  </a:cubicBezTo>
                  <a:cubicBezTo>
                    <a:pt x="51282" y="629285"/>
                    <a:pt x="51898" y="627208"/>
                    <a:pt x="52638" y="625206"/>
                  </a:cubicBezTo>
                  <a:lnTo>
                    <a:pt x="52638" y="623205"/>
                  </a:lnTo>
                  <a:lnTo>
                    <a:pt x="63116" y="621203"/>
                  </a:lnTo>
                  <a:lnTo>
                    <a:pt x="75690" y="617199"/>
                  </a:lnTo>
                  <a:cubicBezTo>
                    <a:pt x="79265" y="615197"/>
                    <a:pt x="82716" y="613195"/>
                    <a:pt x="86291" y="611193"/>
                  </a:cubicBezTo>
                  <a:cubicBezTo>
                    <a:pt x="91222" y="607189"/>
                    <a:pt x="96030" y="603185"/>
                    <a:pt x="100961" y="599181"/>
                  </a:cubicBezTo>
                  <a:lnTo>
                    <a:pt x="107248" y="595177"/>
                  </a:lnTo>
                  <a:lnTo>
                    <a:pt x="113658" y="595177"/>
                  </a:lnTo>
                  <a:cubicBezTo>
                    <a:pt x="115014" y="596512"/>
                    <a:pt x="116493" y="597846"/>
                    <a:pt x="117849" y="599181"/>
                  </a:cubicBezTo>
                  <a:lnTo>
                    <a:pt x="136710" y="579161"/>
                  </a:lnTo>
                  <a:cubicBezTo>
                    <a:pt x="140285" y="575825"/>
                    <a:pt x="143736" y="572488"/>
                    <a:pt x="147311" y="569151"/>
                  </a:cubicBezTo>
                  <a:lnTo>
                    <a:pt x="153598" y="559142"/>
                  </a:lnTo>
                  <a:cubicBezTo>
                    <a:pt x="154954" y="556472"/>
                    <a:pt x="156434" y="553729"/>
                    <a:pt x="157790" y="551060"/>
                  </a:cubicBezTo>
                  <a:lnTo>
                    <a:pt x="164077" y="549058"/>
                  </a:lnTo>
                  <a:lnTo>
                    <a:pt x="176650" y="543052"/>
                  </a:lnTo>
                  <a:lnTo>
                    <a:pt x="185156" y="541050"/>
                  </a:lnTo>
                  <a:cubicBezTo>
                    <a:pt x="186512" y="540382"/>
                    <a:pt x="187992" y="539715"/>
                    <a:pt x="189348" y="539048"/>
                  </a:cubicBezTo>
                  <a:lnTo>
                    <a:pt x="195634" y="533042"/>
                  </a:lnTo>
                  <a:cubicBezTo>
                    <a:pt x="196374" y="530373"/>
                    <a:pt x="196991" y="527703"/>
                    <a:pt x="197730" y="525034"/>
                  </a:cubicBezTo>
                  <a:cubicBezTo>
                    <a:pt x="199086" y="523699"/>
                    <a:pt x="200565" y="522365"/>
                    <a:pt x="201921" y="521030"/>
                  </a:cubicBezTo>
                  <a:cubicBezTo>
                    <a:pt x="205496" y="517693"/>
                    <a:pt x="208948" y="514357"/>
                    <a:pt x="212523" y="511020"/>
                  </a:cubicBezTo>
                  <a:lnTo>
                    <a:pt x="233480" y="495005"/>
                  </a:lnTo>
                  <a:lnTo>
                    <a:pt x="250368" y="491001"/>
                  </a:lnTo>
                  <a:lnTo>
                    <a:pt x="260846" y="488999"/>
                  </a:lnTo>
                  <a:lnTo>
                    <a:pt x="260846" y="484995"/>
                  </a:lnTo>
                  <a:lnTo>
                    <a:pt x="260846" y="480917"/>
                  </a:lnTo>
                  <a:cubicBezTo>
                    <a:pt x="258011" y="474911"/>
                    <a:pt x="255299" y="468905"/>
                    <a:pt x="252464" y="462899"/>
                  </a:cubicBezTo>
                  <a:cubicBezTo>
                    <a:pt x="246177" y="451554"/>
                    <a:pt x="239766" y="440210"/>
                    <a:pt x="233480" y="428866"/>
                  </a:cubicBezTo>
                  <a:cubicBezTo>
                    <a:pt x="232124" y="424194"/>
                    <a:pt x="230644" y="419523"/>
                    <a:pt x="229288" y="414852"/>
                  </a:cubicBezTo>
                  <a:cubicBezTo>
                    <a:pt x="228549" y="411515"/>
                    <a:pt x="227932" y="408104"/>
                    <a:pt x="227193" y="404768"/>
                  </a:cubicBezTo>
                  <a:lnTo>
                    <a:pt x="227193" y="398762"/>
                  </a:lnTo>
                  <a:cubicBezTo>
                    <a:pt x="227932" y="398095"/>
                    <a:pt x="228549" y="397427"/>
                    <a:pt x="229288" y="396760"/>
                  </a:cubicBezTo>
                  <a:lnTo>
                    <a:pt x="231384" y="396760"/>
                  </a:lnTo>
                  <a:cubicBezTo>
                    <a:pt x="234219" y="395425"/>
                    <a:pt x="236931" y="394091"/>
                    <a:pt x="239766" y="392756"/>
                  </a:cubicBezTo>
                  <a:cubicBezTo>
                    <a:pt x="240506" y="392089"/>
                    <a:pt x="241122" y="391421"/>
                    <a:pt x="241862" y="390754"/>
                  </a:cubicBezTo>
                  <a:lnTo>
                    <a:pt x="244081" y="388752"/>
                  </a:lnTo>
                  <a:lnTo>
                    <a:pt x="244081" y="382746"/>
                  </a:lnTo>
                  <a:lnTo>
                    <a:pt x="244081" y="372736"/>
                  </a:lnTo>
                  <a:lnTo>
                    <a:pt x="244081" y="362726"/>
                  </a:lnTo>
                  <a:lnTo>
                    <a:pt x="250368" y="356721"/>
                  </a:lnTo>
                  <a:cubicBezTo>
                    <a:pt x="251108" y="354719"/>
                    <a:pt x="251724" y="352717"/>
                    <a:pt x="252464" y="350715"/>
                  </a:cubicBezTo>
                  <a:cubicBezTo>
                    <a:pt x="255915" y="348045"/>
                    <a:pt x="259490" y="345376"/>
                    <a:pt x="262942" y="342707"/>
                  </a:cubicBezTo>
                  <a:lnTo>
                    <a:pt x="273420" y="338703"/>
                  </a:lnTo>
                  <a:cubicBezTo>
                    <a:pt x="276995" y="335366"/>
                    <a:pt x="280447" y="331956"/>
                    <a:pt x="284022" y="328619"/>
                  </a:cubicBezTo>
                  <a:lnTo>
                    <a:pt x="290308" y="318609"/>
                  </a:lnTo>
                  <a:cubicBezTo>
                    <a:pt x="291048" y="313270"/>
                    <a:pt x="291664" y="307932"/>
                    <a:pt x="292404" y="302593"/>
                  </a:cubicBezTo>
                  <a:cubicBezTo>
                    <a:pt x="295239" y="294585"/>
                    <a:pt x="297951" y="286578"/>
                    <a:pt x="300787" y="278570"/>
                  </a:cubicBezTo>
                  <a:cubicBezTo>
                    <a:pt x="304362" y="269227"/>
                    <a:pt x="307813" y="259811"/>
                    <a:pt x="311388" y="250468"/>
                  </a:cubicBezTo>
                  <a:cubicBezTo>
                    <a:pt x="312744" y="245797"/>
                    <a:pt x="314223" y="241126"/>
                    <a:pt x="315579" y="236454"/>
                  </a:cubicBezTo>
                  <a:cubicBezTo>
                    <a:pt x="316319" y="231783"/>
                    <a:pt x="316935" y="227112"/>
                    <a:pt x="317675" y="222441"/>
                  </a:cubicBezTo>
                  <a:cubicBezTo>
                    <a:pt x="319031" y="215100"/>
                    <a:pt x="320510" y="207759"/>
                    <a:pt x="321866" y="200419"/>
                  </a:cubicBezTo>
                  <a:cubicBezTo>
                    <a:pt x="323222" y="196415"/>
                    <a:pt x="324702" y="192411"/>
                    <a:pt x="326058" y="188407"/>
                  </a:cubicBezTo>
                  <a:cubicBezTo>
                    <a:pt x="328153" y="185071"/>
                    <a:pt x="330249" y="181660"/>
                    <a:pt x="332345" y="178323"/>
                  </a:cubicBezTo>
                  <a:cubicBezTo>
                    <a:pt x="335920" y="174987"/>
                    <a:pt x="339371" y="171650"/>
                    <a:pt x="342946" y="168313"/>
                  </a:cubicBezTo>
                  <a:lnTo>
                    <a:pt x="355520" y="158303"/>
                  </a:lnTo>
                  <a:cubicBezTo>
                    <a:pt x="358972" y="155634"/>
                    <a:pt x="362547" y="152965"/>
                    <a:pt x="365998" y="150296"/>
                  </a:cubicBezTo>
                  <a:lnTo>
                    <a:pt x="372285" y="140286"/>
                  </a:lnTo>
                  <a:cubicBezTo>
                    <a:pt x="373764" y="138951"/>
                    <a:pt x="375120" y="137617"/>
                    <a:pt x="376600" y="136282"/>
                  </a:cubicBezTo>
                  <a:cubicBezTo>
                    <a:pt x="377339" y="133613"/>
                    <a:pt x="377956" y="130943"/>
                    <a:pt x="378695" y="128274"/>
                  </a:cubicBezTo>
                  <a:lnTo>
                    <a:pt x="378695" y="110182"/>
                  </a:lnTo>
                  <a:lnTo>
                    <a:pt x="378695" y="96168"/>
                  </a:lnTo>
                  <a:cubicBezTo>
                    <a:pt x="379435" y="93499"/>
                    <a:pt x="380051" y="90830"/>
                    <a:pt x="380791" y="88161"/>
                  </a:cubicBezTo>
                  <a:cubicBezTo>
                    <a:pt x="381531" y="87493"/>
                    <a:pt x="382147" y="86826"/>
                    <a:pt x="382887" y="86159"/>
                  </a:cubicBezTo>
                  <a:cubicBezTo>
                    <a:pt x="386338" y="84157"/>
                    <a:pt x="389913" y="82155"/>
                    <a:pt x="393365" y="80153"/>
                  </a:cubicBezTo>
                  <a:lnTo>
                    <a:pt x="408158" y="78151"/>
                  </a:lnTo>
                  <a:lnTo>
                    <a:pt x="420732" y="76149"/>
                  </a:lnTo>
                  <a:cubicBezTo>
                    <a:pt x="422088" y="75481"/>
                    <a:pt x="423567" y="74814"/>
                    <a:pt x="424923" y="74147"/>
                  </a:cubicBezTo>
                  <a:lnTo>
                    <a:pt x="431210" y="68141"/>
                  </a:lnTo>
                  <a:cubicBezTo>
                    <a:pt x="432566" y="63470"/>
                    <a:pt x="434045" y="58798"/>
                    <a:pt x="435401" y="54127"/>
                  </a:cubicBezTo>
                  <a:lnTo>
                    <a:pt x="435401" y="44117"/>
                  </a:lnTo>
                  <a:lnTo>
                    <a:pt x="435401" y="34033"/>
                  </a:lnTo>
                  <a:cubicBezTo>
                    <a:pt x="434045" y="32031"/>
                    <a:pt x="432566" y="30029"/>
                    <a:pt x="431210" y="28027"/>
                  </a:cubicBezTo>
                  <a:cubicBezTo>
                    <a:pt x="427758" y="24023"/>
                    <a:pt x="424183" y="20020"/>
                    <a:pt x="420732" y="16016"/>
                  </a:cubicBezTo>
                  <a:close/>
                </a:path>
              </a:pathLst>
            </a:custGeom>
            <a:grpFill/>
            <a:ln w="3175" cmpd="sng">
              <a:solidFill>
                <a:schemeClr val="bg1"/>
              </a:solidFill>
              <a:prstDash val="solid"/>
              <a:round/>
              <a:headEnd/>
              <a:tailEnd/>
            </a:ln>
          </p:spPr>
          <p:txBody>
            <a:bodyPr wrap="none" anchor="ctr"/>
            <a:lstStyle/>
            <a:p>
              <a:r>
                <a:rPr lang="en-US" sz="800" dirty="0">
                  <a:solidFill>
                    <a:prstClr val="black"/>
                  </a:solidFill>
                  <a:latin typeface="Franklin Gothic Book"/>
                  <a:ea typeface="MS PGothic" charset="0"/>
                  <a:cs typeface="MS PGothic" charset="0"/>
                </a:rPr>
                <a:t>      Northern Valley</a:t>
              </a:r>
            </a:p>
          </p:txBody>
        </p:sp>
        <p:sp>
          <p:nvSpPr>
            <p:cNvPr id="7" name="Los Angeles Metro"/>
            <p:cNvSpPr>
              <a:spLocks/>
            </p:cNvSpPr>
            <p:nvPr/>
          </p:nvSpPr>
          <p:spPr bwMode="auto">
            <a:xfrm>
              <a:off x="5094882" y="6590365"/>
              <a:ext cx="1447301" cy="1208387"/>
            </a:xfrm>
            <a:custGeom>
              <a:avLst/>
              <a:gdLst/>
              <a:ahLst/>
              <a:cxnLst/>
              <a:rect l="l" t="t" r="r" b="b"/>
              <a:pathLst>
                <a:path w="1447301" h="1208387">
                  <a:moveTo>
                    <a:pt x="403898" y="639264"/>
                  </a:moveTo>
                  <a:lnTo>
                    <a:pt x="398637" y="645278"/>
                  </a:lnTo>
                  <a:cubicBezTo>
                    <a:pt x="401093" y="643283"/>
                    <a:pt x="403550" y="641287"/>
                    <a:pt x="405983" y="639269"/>
                  </a:cubicBezTo>
                  <a:lnTo>
                    <a:pt x="405983" y="639264"/>
                  </a:lnTo>
                  <a:close/>
                  <a:moveTo>
                    <a:pt x="54694" y="0"/>
                  </a:moveTo>
                  <a:lnTo>
                    <a:pt x="69420" y="2004"/>
                  </a:lnTo>
                  <a:lnTo>
                    <a:pt x="71524" y="2004"/>
                  </a:lnTo>
                  <a:lnTo>
                    <a:pt x="73627" y="6012"/>
                  </a:lnTo>
                  <a:lnTo>
                    <a:pt x="75731" y="18035"/>
                  </a:lnTo>
                  <a:lnTo>
                    <a:pt x="79938" y="22043"/>
                  </a:lnTo>
                  <a:lnTo>
                    <a:pt x="82042" y="24047"/>
                  </a:lnTo>
                  <a:lnTo>
                    <a:pt x="90456" y="24047"/>
                  </a:lnTo>
                  <a:lnTo>
                    <a:pt x="105182" y="24047"/>
                  </a:lnTo>
                  <a:lnTo>
                    <a:pt x="136736" y="24047"/>
                  </a:lnTo>
                  <a:lnTo>
                    <a:pt x="145151" y="26051"/>
                  </a:lnTo>
                  <a:lnTo>
                    <a:pt x="145151" y="32063"/>
                  </a:lnTo>
                  <a:lnTo>
                    <a:pt x="147254" y="34067"/>
                  </a:lnTo>
                  <a:lnTo>
                    <a:pt x="153565" y="34067"/>
                  </a:lnTo>
                  <a:lnTo>
                    <a:pt x="159876" y="34067"/>
                  </a:lnTo>
                  <a:lnTo>
                    <a:pt x="166187" y="34067"/>
                  </a:lnTo>
                  <a:lnTo>
                    <a:pt x="168291" y="36071"/>
                  </a:lnTo>
                  <a:lnTo>
                    <a:pt x="168291" y="38075"/>
                  </a:lnTo>
                  <a:lnTo>
                    <a:pt x="168291" y="54107"/>
                  </a:lnTo>
                  <a:lnTo>
                    <a:pt x="168291" y="62123"/>
                  </a:lnTo>
                  <a:lnTo>
                    <a:pt x="170394" y="68134"/>
                  </a:lnTo>
                  <a:lnTo>
                    <a:pt x="178809" y="72142"/>
                  </a:lnTo>
                  <a:lnTo>
                    <a:pt x="191431" y="74146"/>
                  </a:lnTo>
                  <a:lnTo>
                    <a:pt x="225089" y="74146"/>
                  </a:lnTo>
                  <a:lnTo>
                    <a:pt x="286094" y="72142"/>
                  </a:lnTo>
                  <a:lnTo>
                    <a:pt x="338685" y="74146"/>
                  </a:lnTo>
                  <a:lnTo>
                    <a:pt x="366033" y="74146"/>
                  </a:lnTo>
                  <a:lnTo>
                    <a:pt x="376551" y="72142"/>
                  </a:lnTo>
                  <a:lnTo>
                    <a:pt x="380758" y="66131"/>
                  </a:lnTo>
                  <a:lnTo>
                    <a:pt x="418624" y="66131"/>
                  </a:lnTo>
                  <a:lnTo>
                    <a:pt x="418629" y="66144"/>
                  </a:lnTo>
                  <a:lnTo>
                    <a:pt x="845682" y="64093"/>
                  </a:lnTo>
                  <a:lnTo>
                    <a:pt x="1276943" y="62123"/>
                  </a:lnTo>
                  <a:cubicBezTo>
                    <a:pt x="1277677" y="98849"/>
                    <a:pt x="1278319" y="135576"/>
                    <a:pt x="1279053" y="172303"/>
                  </a:cubicBezTo>
                  <a:cubicBezTo>
                    <a:pt x="1281162" y="207059"/>
                    <a:pt x="1283180" y="241815"/>
                    <a:pt x="1285290" y="276571"/>
                  </a:cubicBezTo>
                  <a:cubicBezTo>
                    <a:pt x="1288775" y="348054"/>
                    <a:pt x="1292352" y="419447"/>
                    <a:pt x="1295837" y="490929"/>
                  </a:cubicBezTo>
                  <a:lnTo>
                    <a:pt x="1295837" y="503022"/>
                  </a:lnTo>
                  <a:cubicBezTo>
                    <a:pt x="1294461" y="508397"/>
                    <a:pt x="1292994" y="513682"/>
                    <a:pt x="1291618" y="519057"/>
                  </a:cubicBezTo>
                  <a:cubicBezTo>
                    <a:pt x="1289509" y="528373"/>
                    <a:pt x="1287399" y="537778"/>
                    <a:pt x="1285290" y="547094"/>
                  </a:cubicBezTo>
                  <a:lnTo>
                    <a:pt x="1268505" y="599228"/>
                  </a:lnTo>
                  <a:lnTo>
                    <a:pt x="1255848" y="643300"/>
                  </a:lnTo>
                  <a:lnTo>
                    <a:pt x="1239063" y="685312"/>
                  </a:lnTo>
                  <a:cubicBezTo>
                    <a:pt x="1236954" y="690687"/>
                    <a:pt x="1234844" y="695972"/>
                    <a:pt x="1232735" y="701346"/>
                  </a:cubicBezTo>
                  <a:cubicBezTo>
                    <a:pt x="1229892" y="704034"/>
                    <a:pt x="1227140" y="706721"/>
                    <a:pt x="1224297" y="709408"/>
                  </a:cubicBezTo>
                  <a:lnTo>
                    <a:pt x="1217968" y="709408"/>
                  </a:lnTo>
                  <a:lnTo>
                    <a:pt x="1215859" y="709408"/>
                  </a:lnTo>
                  <a:lnTo>
                    <a:pt x="1211731" y="709408"/>
                  </a:lnTo>
                  <a:lnTo>
                    <a:pt x="1205403" y="713439"/>
                  </a:lnTo>
                  <a:cubicBezTo>
                    <a:pt x="1201917" y="717470"/>
                    <a:pt x="1198340" y="721412"/>
                    <a:pt x="1194855" y="725443"/>
                  </a:cubicBezTo>
                  <a:cubicBezTo>
                    <a:pt x="1192012" y="728757"/>
                    <a:pt x="1189260" y="732161"/>
                    <a:pt x="1186417" y="735475"/>
                  </a:cubicBezTo>
                  <a:cubicBezTo>
                    <a:pt x="1185683" y="737446"/>
                    <a:pt x="1185041" y="739506"/>
                    <a:pt x="1184307" y="741477"/>
                  </a:cubicBezTo>
                  <a:cubicBezTo>
                    <a:pt x="1185041" y="742821"/>
                    <a:pt x="1185683" y="744164"/>
                    <a:pt x="1186417" y="745508"/>
                  </a:cubicBezTo>
                  <a:cubicBezTo>
                    <a:pt x="1187793" y="748195"/>
                    <a:pt x="1189260" y="750793"/>
                    <a:pt x="1190636" y="753480"/>
                  </a:cubicBezTo>
                  <a:cubicBezTo>
                    <a:pt x="1192012" y="756795"/>
                    <a:pt x="1193479" y="760199"/>
                    <a:pt x="1194855" y="763513"/>
                  </a:cubicBezTo>
                  <a:cubicBezTo>
                    <a:pt x="1194491" y="763753"/>
                    <a:pt x="1194114" y="763999"/>
                    <a:pt x="1193714" y="764233"/>
                  </a:cubicBezTo>
                  <a:lnTo>
                    <a:pt x="1266388" y="819617"/>
                  </a:lnTo>
                  <a:lnTo>
                    <a:pt x="1340015" y="907792"/>
                  </a:lnTo>
                  <a:lnTo>
                    <a:pt x="1348430" y="913804"/>
                  </a:lnTo>
                  <a:lnTo>
                    <a:pt x="1356845" y="915808"/>
                  </a:lnTo>
                  <a:lnTo>
                    <a:pt x="1363156" y="917812"/>
                  </a:lnTo>
                  <a:lnTo>
                    <a:pt x="1367363" y="917812"/>
                  </a:lnTo>
                  <a:lnTo>
                    <a:pt x="1369466" y="923823"/>
                  </a:lnTo>
                  <a:lnTo>
                    <a:pt x="1369466" y="941859"/>
                  </a:lnTo>
                  <a:lnTo>
                    <a:pt x="1369466" y="951879"/>
                  </a:lnTo>
                  <a:lnTo>
                    <a:pt x="1371570" y="953883"/>
                  </a:lnTo>
                  <a:lnTo>
                    <a:pt x="1377881" y="955887"/>
                  </a:lnTo>
                  <a:lnTo>
                    <a:pt x="1392607" y="955887"/>
                  </a:lnTo>
                  <a:lnTo>
                    <a:pt x="1405228" y="957891"/>
                  </a:lnTo>
                  <a:lnTo>
                    <a:pt x="1415747" y="963903"/>
                  </a:lnTo>
                  <a:lnTo>
                    <a:pt x="1426265" y="967911"/>
                  </a:lnTo>
                  <a:lnTo>
                    <a:pt x="1434679" y="975927"/>
                  </a:lnTo>
                  <a:lnTo>
                    <a:pt x="1443094" y="983943"/>
                  </a:lnTo>
                  <a:lnTo>
                    <a:pt x="1447301" y="993962"/>
                  </a:lnTo>
                  <a:lnTo>
                    <a:pt x="1447301" y="1003982"/>
                  </a:lnTo>
                  <a:lnTo>
                    <a:pt x="1443094" y="1011998"/>
                  </a:lnTo>
                  <a:lnTo>
                    <a:pt x="1424161" y="1034042"/>
                  </a:lnTo>
                  <a:lnTo>
                    <a:pt x="1403125" y="1060093"/>
                  </a:lnTo>
                  <a:lnTo>
                    <a:pt x="1392607" y="1076125"/>
                  </a:lnTo>
                  <a:lnTo>
                    <a:pt x="1388399" y="1090153"/>
                  </a:lnTo>
                  <a:lnTo>
                    <a:pt x="1384192" y="1104181"/>
                  </a:lnTo>
                  <a:lnTo>
                    <a:pt x="1384192" y="1118208"/>
                  </a:lnTo>
                  <a:lnTo>
                    <a:pt x="1384192" y="1126224"/>
                  </a:lnTo>
                  <a:lnTo>
                    <a:pt x="1384192" y="1134240"/>
                  </a:lnTo>
                  <a:lnTo>
                    <a:pt x="1382088" y="1140252"/>
                  </a:lnTo>
                  <a:lnTo>
                    <a:pt x="1377881" y="1146264"/>
                  </a:lnTo>
                  <a:lnTo>
                    <a:pt x="1363156" y="1150272"/>
                  </a:lnTo>
                  <a:lnTo>
                    <a:pt x="1348430" y="1156284"/>
                  </a:lnTo>
                  <a:lnTo>
                    <a:pt x="1346326" y="1156284"/>
                  </a:lnTo>
                  <a:lnTo>
                    <a:pt x="1340015" y="1156284"/>
                  </a:lnTo>
                  <a:lnTo>
                    <a:pt x="1335808" y="1160292"/>
                  </a:lnTo>
                  <a:lnTo>
                    <a:pt x="1331601" y="1168308"/>
                  </a:lnTo>
                  <a:lnTo>
                    <a:pt x="1329497" y="1176323"/>
                  </a:lnTo>
                  <a:lnTo>
                    <a:pt x="1321083" y="1208387"/>
                  </a:lnTo>
                  <a:lnTo>
                    <a:pt x="1314772" y="1194359"/>
                  </a:lnTo>
                  <a:lnTo>
                    <a:pt x="1304254" y="1184339"/>
                  </a:lnTo>
                  <a:lnTo>
                    <a:pt x="1289528" y="1174320"/>
                  </a:lnTo>
                  <a:lnTo>
                    <a:pt x="1274803" y="1164300"/>
                  </a:lnTo>
                  <a:lnTo>
                    <a:pt x="1247455" y="1148268"/>
                  </a:lnTo>
                  <a:lnTo>
                    <a:pt x="1234833" y="1138248"/>
                  </a:lnTo>
                  <a:lnTo>
                    <a:pt x="1222212" y="1128228"/>
                  </a:lnTo>
                  <a:lnTo>
                    <a:pt x="1203279" y="1108189"/>
                  </a:lnTo>
                  <a:lnTo>
                    <a:pt x="1184346" y="1094161"/>
                  </a:lnTo>
                  <a:lnTo>
                    <a:pt x="1163310" y="1078129"/>
                  </a:lnTo>
                  <a:lnTo>
                    <a:pt x="1146480" y="1064101"/>
                  </a:lnTo>
                  <a:lnTo>
                    <a:pt x="1127548" y="1046066"/>
                  </a:lnTo>
                  <a:lnTo>
                    <a:pt x="1119133" y="1038050"/>
                  </a:lnTo>
                  <a:lnTo>
                    <a:pt x="1117029" y="1026026"/>
                  </a:lnTo>
                  <a:lnTo>
                    <a:pt x="1117029" y="1024022"/>
                  </a:lnTo>
                  <a:lnTo>
                    <a:pt x="1119133" y="1016006"/>
                  </a:lnTo>
                  <a:lnTo>
                    <a:pt x="1125444" y="1011998"/>
                  </a:lnTo>
                  <a:lnTo>
                    <a:pt x="1125444" y="1003982"/>
                  </a:lnTo>
                  <a:lnTo>
                    <a:pt x="1119133" y="1014002"/>
                  </a:lnTo>
                  <a:lnTo>
                    <a:pt x="1112822" y="1024022"/>
                  </a:lnTo>
                  <a:lnTo>
                    <a:pt x="1108615" y="1028030"/>
                  </a:lnTo>
                  <a:lnTo>
                    <a:pt x="1104408" y="1032038"/>
                  </a:lnTo>
                  <a:lnTo>
                    <a:pt x="1098097" y="1034042"/>
                  </a:lnTo>
                  <a:lnTo>
                    <a:pt x="1091786" y="1032038"/>
                  </a:lnTo>
                  <a:lnTo>
                    <a:pt x="1098097" y="1036046"/>
                  </a:lnTo>
                  <a:lnTo>
                    <a:pt x="1106511" y="1042058"/>
                  </a:lnTo>
                  <a:lnTo>
                    <a:pt x="1114926" y="1044062"/>
                  </a:lnTo>
                  <a:lnTo>
                    <a:pt x="1123340" y="1048069"/>
                  </a:lnTo>
                  <a:lnTo>
                    <a:pt x="1108615" y="1048069"/>
                  </a:lnTo>
                  <a:lnTo>
                    <a:pt x="1095993" y="1044062"/>
                  </a:lnTo>
                  <a:lnTo>
                    <a:pt x="1085475" y="1038050"/>
                  </a:lnTo>
                  <a:lnTo>
                    <a:pt x="1074957" y="1032038"/>
                  </a:lnTo>
                  <a:lnTo>
                    <a:pt x="1053920" y="1016006"/>
                  </a:lnTo>
                  <a:lnTo>
                    <a:pt x="1034987" y="995966"/>
                  </a:lnTo>
                  <a:lnTo>
                    <a:pt x="1001329" y="955887"/>
                  </a:lnTo>
                  <a:lnTo>
                    <a:pt x="982396" y="937851"/>
                  </a:lnTo>
                  <a:lnTo>
                    <a:pt x="965567" y="925827"/>
                  </a:lnTo>
                  <a:lnTo>
                    <a:pt x="966907" y="925189"/>
                  </a:lnTo>
                  <a:lnTo>
                    <a:pt x="950883" y="911764"/>
                  </a:lnTo>
                  <a:lnTo>
                    <a:pt x="950883" y="915795"/>
                  </a:lnTo>
                  <a:cubicBezTo>
                    <a:pt x="951525" y="916511"/>
                    <a:pt x="952259" y="917138"/>
                    <a:pt x="952901" y="917855"/>
                  </a:cubicBezTo>
                  <a:cubicBezTo>
                    <a:pt x="954277" y="920542"/>
                    <a:pt x="955744" y="923140"/>
                    <a:pt x="957120" y="925827"/>
                  </a:cubicBezTo>
                  <a:lnTo>
                    <a:pt x="940335" y="921796"/>
                  </a:lnTo>
                  <a:lnTo>
                    <a:pt x="921350" y="915795"/>
                  </a:lnTo>
                  <a:cubicBezTo>
                    <a:pt x="919240" y="915168"/>
                    <a:pt x="917222" y="914451"/>
                    <a:pt x="915113" y="913824"/>
                  </a:cubicBezTo>
                  <a:cubicBezTo>
                    <a:pt x="912270" y="914451"/>
                    <a:pt x="909518" y="915168"/>
                    <a:pt x="906675" y="915795"/>
                  </a:cubicBezTo>
                  <a:cubicBezTo>
                    <a:pt x="904565" y="916511"/>
                    <a:pt x="902456" y="917138"/>
                    <a:pt x="900346" y="917855"/>
                  </a:cubicBezTo>
                  <a:cubicBezTo>
                    <a:pt x="898970" y="920542"/>
                    <a:pt x="897503" y="923140"/>
                    <a:pt x="896127" y="925827"/>
                  </a:cubicBezTo>
                  <a:cubicBezTo>
                    <a:pt x="895393" y="921796"/>
                    <a:pt x="894751" y="917855"/>
                    <a:pt x="894018" y="913824"/>
                  </a:cubicBezTo>
                  <a:cubicBezTo>
                    <a:pt x="892642" y="911137"/>
                    <a:pt x="891174" y="908449"/>
                    <a:pt x="889799" y="905762"/>
                  </a:cubicBezTo>
                  <a:lnTo>
                    <a:pt x="883562" y="905762"/>
                  </a:lnTo>
                  <a:lnTo>
                    <a:pt x="866685" y="903791"/>
                  </a:lnTo>
                  <a:cubicBezTo>
                    <a:pt x="865310" y="906479"/>
                    <a:pt x="863842" y="909076"/>
                    <a:pt x="862466" y="911764"/>
                  </a:cubicBezTo>
                  <a:lnTo>
                    <a:pt x="856138" y="915795"/>
                  </a:lnTo>
                  <a:cubicBezTo>
                    <a:pt x="854762" y="915168"/>
                    <a:pt x="853386" y="914451"/>
                    <a:pt x="852010" y="913824"/>
                  </a:cubicBezTo>
                  <a:lnTo>
                    <a:pt x="847791" y="913824"/>
                  </a:lnTo>
                  <a:cubicBezTo>
                    <a:pt x="847058" y="916511"/>
                    <a:pt x="846416" y="919109"/>
                    <a:pt x="845682" y="921796"/>
                  </a:cubicBezTo>
                  <a:cubicBezTo>
                    <a:pt x="846416" y="923140"/>
                    <a:pt x="847058" y="924484"/>
                    <a:pt x="847791" y="925827"/>
                  </a:cubicBezTo>
                  <a:cubicBezTo>
                    <a:pt x="849167" y="928515"/>
                    <a:pt x="850635" y="931202"/>
                    <a:pt x="852010" y="933889"/>
                  </a:cubicBezTo>
                  <a:lnTo>
                    <a:pt x="852010" y="943832"/>
                  </a:lnTo>
                  <a:cubicBezTo>
                    <a:pt x="850635" y="946520"/>
                    <a:pt x="849167" y="949207"/>
                    <a:pt x="847791" y="951894"/>
                  </a:cubicBezTo>
                  <a:cubicBezTo>
                    <a:pt x="846416" y="953238"/>
                    <a:pt x="844948" y="954582"/>
                    <a:pt x="843572" y="955925"/>
                  </a:cubicBezTo>
                  <a:cubicBezTo>
                    <a:pt x="842839" y="956552"/>
                    <a:pt x="842197" y="957269"/>
                    <a:pt x="841463" y="957896"/>
                  </a:cubicBezTo>
                  <a:lnTo>
                    <a:pt x="824587" y="955925"/>
                  </a:lnTo>
                  <a:lnTo>
                    <a:pt x="812021" y="953865"/>
                  </a:lnTo>
                  <a:cubicBezTo>
                    <a:pt x="808536" y="951178"/>
                    <a:pt x="804959" y="948580"/>
                    <a:pt x="801473" y="945893"/>
                  </a:cubicBezTo>
                  <a:lnTo>
                    <a:pt x="778360" y="933889"/>
                  </a:lnTo>
                  <a:lnTo>
                    <a:pt x="765703" y="931829"/>
                  </a:lnTo>
                  <a:lnTo>
                    <a:pt x="757265" y="927798"/>
                  </a:lnTo>
                  <a:lnTo>
                    <a:pt x="755247" y="927798"/>
                  </a:lnTo>
                  <a:cubicBezTo>
                    <a:pt x="753872" y="926454"/>
                    <a:pt x="752404" y="925200"/>
                    <a:pt x="751028" y="923857"/>
                  </a:cubicBezTo>
                  <a:cubicBezTo>
                    <a:pt x="749652" y="919826"/>
                    <a:pt x="748185" y="915795"/>
                    <a:pt x="746809" y="911764"/>
                  </a:cubicBezTo>
                  <a:cubicBezTo>
                    <a:pt x="746075" y="909793"/>
                    <a:pt x="745433" y="907733"/>
                    <a:pt x="744700" y="905762"/>
                  </a:cubicBezTo>
                  <a:cubicBezTo>
                    <a:pt x="745433" y="904418"/>
                    <a:pt x="746075" y="903164"/>
                    <a:pt x="746809" y="901821"/>
                  </a:cubicBezTo>
                  <a:cubicBezTo>
                    <a:pt x="749652" y="896446"/>
                    <a:pt x="752404" y="891161"/>
                    <a:pt x="755247" y="885786"/>
                  </a:cubicBezTo>
                  <a:lnTo>
                    <a:pt x="765703" y="867692"/>
                  </a:lnTo>
                  <a:lnTo>
                    <a:pt x="765703" y="861690"/>
                  </a:lnTo>
                  <a:cubicBezTo>
                    <a:pt x="764327" y="856315"/>
                    <a:pt x="762860" y="851030"/>
                    <a:pt x="761484" y="845656"/>
                  </a:cubicBezTo>
                  <a:lnTo>
                    <a:pt x="751028" y="811616"/>
                  </a:lnTo>
                  <a:cubicBezTo>
                    <a:pt x="746075" y="800957"/>
                    <a:pt x="741214" y="790207"/>
                    <a:pt x="736262" y="779548"/>
                  </a:cubicBezTo>
                  <a:lnTo>
                    <a:pt x="723604" y="755451"/>
                  </a:lnTo>
                  <a:lnTo>
                    <a:pt x="706820" y="733415"/>
                  </a:lnTo>
                  <a:lnTo>
                    <a:pt x="687926" y="711379"/>
                  </a:lnTo>
                  <a:lnTo>
                    <a:pt x="677378" y="701346"/>
                  </a:lnTo>
                  <a:lnTo>
                    <a:pt x="666831" y="695345"/>
                  </a:lnTo>
                  <a:lnTo>
                    <a:pt x="654265" y="693374"/>
                  </a:lnTo>
                  <a:lnTo>
                    <a:pt x="641608" y="691403"/>
                  </a:lnTo>
                  <a:lnTo>
                    <a:pt x="614276" y="693374"/>
                  </a:lnTo>
                  <a:lnTo>
                    <a:pt x="565849" y="699376"/>
                  </a:lnTo>
                  <a:lnTo>
                    <a:pt x="538516" y="699376"/>
                  </a:lnTo>
                  <a:lnTo>
                    <a:pt x="525951" y="701346"/>
                  </a:lnTo>
                  <a:lnTo>
                    <a:pt x="513294" y="703407"/>
                  </a:lnTo>
                  <a:lnTo>
                    <a:pt x="492290" y="711379"/>
                  </a:lnTo>
                  <a:lnTo>
                    <a:pt x="475414" y="721412"/>
                  </a:lnTo>
                  <a:lnTo>
                    <a:pt x="464866" y="715410"/>
                  </a:lnTo>
                  <a:lnTo>
                    <a:pt x="452301" y="711379"/>
                  </a:lnTo>
                  <a:lnTo>
                    <a:pt x="439644" y="703407"/>
                  </a:lnTo>
                  <a:lnTo>
                    <a:pt x="427078" y="699376"/>
                  </a:lnTo>
                  <a:lnTo>
                    <a:pt x="378651" y="691403"/>
                  </a:lnTo>
                  <a:lnTo>
                    <a:pt x="378723" y="690720"/>
                  </a:lnTo>
                  <a:lnTo>
                    <a:pt x="361825" y="685355"/>
                  </a:lnTo>
                  <a:lnTo>
                    <a:pt x="344996" y="675335"/>
                  </a:lnTo>
                  <a:lnTo>
                    <a:pt x="307131" y="659303"/>
                  </a:lnTo>
                  <a:lnTo>
                    <a:pt x="292405" y="645276"/>
                  </a:lnTo>
                  <a:lnTo>
                    <a:pt x="281887" y="639264"/>
                  </a:lnTo>
                  <a:lnTo>
                    <a:pt x="273473" y="637260"/>
                  </a:lnTo>
                  <a:lnTo>
                    <a:pt x="262954" y="633252"/>
                  </a:lnTo>
                  <a:lnTo>
                    <a:pt x="254540" y="633252"/>
                  </a:lnTo>
                  <a:lnTo>
                    <a:pt x="250333" y="629244"/>
                  </a:lnTo>
                  <a:lnTo>
                    <a:pt x="252436" y="637260"/>
                  </a:lnTo>
                  <a:lnTo>
                    <a:pt x="256644" y="641268"/>
                  </a:lnTo>
                  <a:lnTo>
                    <a:pt x="273473" y="645276"/>
                  </a:lnTo>
                  <a:lnTo>
                    <a:pt x="262954" y="645276"/>
                  </a:lnTo>
                  <a:lnTo>
                    <a:pt x="252436" y="643272"/>
                  </a:lnTo>
                  <a:lnTo>
                    <a:pt x="239814" y="639264"/>
                  </a:lnTo>
                  <a:lnTo>
                    <a:pt x="229296" y="633252"/>
                  </a:lnTo>
                  <a:lnTo>
                    <a:pt x="218778" y="627240"/>
                  </a:lnTo>
                  <a:lnTo>
                    <a:pt x="208260" y="617220"/>
                  </a:lnTo>
                  <a:lnTo>
                    <a:pt x="201949" y="609204"/>
                  </a:lnTo>
                  <a:lnTo>
                    <a:pt x="197742" y="601188"/>
                  </a:lnTo>
                  <a:lnTo>
                    <a:pt x="189327" y="603192"/>
                  </a:lnTo>
                  <a:lnTo>
                    <a:pt x="183016" y="601188"/>
                  </a:lnTo>
                  <a:lnTo>
                    <a:pt x="178809" y="593173"/>
                  </a:lnTo>
                  <a:lnTo>
                    <a:pt x="172498" y="587161"/>
                  </a:lnTo>
                  <a:lnTo>
                    <a:pt x="166187" y="567121"/>
                  </a:lnTo>
                  <a:lnTo>
                    <a:pt x="159876" y="549085"/>
                  </a:lnTo>
                  <a:lnTo>
                    <a:pt x="159876" y="543074"/>
                  </a:lnTo>
                  <a:lnTo>
                    <a:pt x="161980" y="541070"/>
                  </a:lnTo>
                  <a:lnTo>
                    <a:pt x="168291" y="539066"/>
                  </a:lnTo>
                  <a:lnTo>
                    <a:pt x="176705" y="537062"/>
                  </a:lnTo>
                  <a:lnTo>
                    <a:pt x="191431" y="537062"/>
                  </a:lnTo>
                  <a:lnTo>
                    <a:pt x="201949" y="533054"/>
                  </a:lnTo>
                  <a:lnTo>
                    <a:pt x="170394" y="533054"/>
                  </a:lnTo>
                  <a:lnTo>
                    <a:pt x="155669" y="531050"/>
                  </a:lnTo>
                  <a:lnTo>
                    <a:pt x="153565" y="527042"/>
                  </a:lnTo>
                  <a:lnTo>
                    <a:pt x="153565" y="523034"/>
                  </a:lnTo>
                  <a:lnTo>
                    <a:pt x="155669" y="517022"/>
                  </a:lnTo>
                  <a:lnTo>
                    <a:pt x="153565" y="511010"/>
                  </a:lnTo>
                  <a:lnTo>
                    <a:pt x="149358" y="507002"/>
                  </a:lnTo>
                  <a:lnTo>
                    <a:pt x="145151" y="502994"/>
                  </a:lnTo>
                  <a:lnTo>
                    <a:pt x="128322" y="500990"/>
                  </a:lnTo>
                  <a:lnTo>
                    <a:pt x="117804" y="500990"/>
                  </a:lnTo>
                  <a:lnTo>
                    <a:pt x="111493" y="498986"/>
                  </a:lnTo>
                  <a:lnTo>
                    <a:pt x="103078" y="492974"/>
                  </a:lnTo>
                  <a:lnTo>
                    <a:pt x="86249" y="478947"/>
                  </a:lnTo>
                  <a:lnTo>
                    <a:pt x="71524" y="466923"/>
                  </a:lnTo>
                  <a:lnTo>
                    <a:pt x="58902" y="456903"/>
                  </a:lnTo>
                  <a:lnTo>
                    <a:pt x="29451" y="436864"/>
                  </a:lnTo>
                  <a:lnTo>
                    <a:pt x="12622" y="426844"/>
                  </a:lnTo>
                  <a:lnTo>
                    <a:pt x="0" y="420832"/>
                  </a:lnTo>
                  <a:lnTo>
                    <a:pt x="12622" y="408808"/>
                  </a:lnTo>
                  <a:lnTo>
                    <a:pt x="23140" y="394780"/>
                  </a:lnTo>
                  <a:lnTo>
                    <a:pt x="29451" y="376745"/>
                  </a:lnTo>
                  <a:lnTo>
                    <a:pt x="31554" y="358709"/>
                  </a:lnTo>
                  <a:lnTo>
                    <a:pt x="33658" y="340673"/>
                  </a:lnTo>
                  <a:lnTo>
                    <a:pt x="33658" y="320634"/>
                  </a:lnTo>
                  <a:lnTo>
                    <a:pt x="31554" y="280554"/>
                  </a:lnTo>
                  <a:lnTo>
                    <a:pt x="29451" y="2004"/>
                  </a:lnTo>
                  <a:close/>
                </a:path>
              </a:pathLst>
            </a:custGeom>
            <a:grpFill/>
            <a:ln w="3175" cmpd="sng">
              <a:solidFill>
                <a:schemeClr val="bg1"/>
              </a:solidFill>
              <a:prstDash val="solid"/>
              <a:round/>
              <a:headEnd/>
              <a:tailEnd/>
            </a:ln>
          </p:spPr>
          <p:txBody>
            <a:bodyPr wrap="none" bIns="457200" anchor="ctr"/>
            <a:lstStyle/>
            <a:p>
              <a:pPr algn="ctr"/>
              <a:r>
                <a:rPr lang="en-US" sz="800" dirty="0">
                  <a:solidFill>
                    <a:prstClr val="black"/>
                  </a:solidFill>
                  <a:latin typeface="Franklin Gothic Book"/>
                  <a:ea typeface="MS PGothic" charset="0"/>
                  <a:cs typeface="MS PGothic" charset="0"/>
                </a:rPr>
                <a:t>Los Angeles Metro</a:t>
              </a:r>
            </a:p>
          </p:txBody>
        </p:sp>
      </p:grpSp>
      <p:grpSp>
        <p:nvGrpSpPr>
          <p:cNvPr id="15" name="Group 14"/>
          <p:cNvGrpSpPr>
            <a:grpSpLocks noChangeAspect="1"/>
          </p:cNvGrpSpPr>
          <p:nvPr/>
        </p:nvGrpSpPr>
        <p:grpSpPr>
          <a:xfrm>
            <a:off x="5746227" y="1126260"/>
            <a:ext cx="4778261" cy="5029200"/>
            <a:chOff x="1638602" y="891077"/>
            <a:chExt cx="7221785" cy="7601050"/>
          </a:xfrm>
          <a:solidFill>
            <a:schemeClr val="bg1">
              <a:lumMod val="75000"/>
            </a:schemeClr>
          </a:solidFill>
        </p:grpSpPr>
        <p:sp>
          <p:nvSpPr>
            <p:cNvPr id="16" name="San Diego &amp; Imperial"/>
            <p:cNvSpPr>
              <a:spLocks/>
            </p:cNvSpPr>
            <p:nvPr/>
          </p:nvSpPr>
          <p:spPr bwMode="auto">
            <a:xfrm>
              <a:off x="6415967" y="7706571"/>
              <a:ext cx="2206810" cy="785556"/>
            </a:xfrm>
            <a:custGeom>
              <a:avLst/>
              <a:gdLst/>
              <a:ahLst/>
              <a:cxnLst/>
              <a:rect l="l" t="t" r="r" b="b"/>
              <a:pathLst>
                <a:path w="2206810" h="785556">
                  <a:moveTo>
                    <a:pt x="166163" y="0"/>
                  </a:moveTo>
                  <a:cubicBezTo>
                    <a:pt x="165416" y="4713"/>
                    <a:pt x="164776" y="9348"/>
                    <a:pt x="164030" y="14061"/>
                  </a:cubicBezTo>
                  <a:lnTo>
                    <a:pt x="223008" y="40063"/>
                  </a:lnTo>
                  <a:lnTo>
                    <a:pt x="252443" y="52082"/>
                  </a:lnTo>
                  <a:cubicBezTo>
                    <a:pt x="253190" y="52789"/>
                    <a:pt x="253830" y="53418"/>
                    <a:pt x="254576" y="54125"/>
                  </a:cubicBezTo>
                  <a:lnTo>
                    <a:pt x="254576" y="58131"/>
                  </a:lnTo>
                  <a:lnTo>
                    <a:pt x="254576" y="60095"/>
                  </a:lnTo>
                  <a:lnTo>
                    <a:pt x="254576" y="62137"/>
                  </a:lnTo>
                  <a:lnTo>
                    <a:pt x="269294" y="64101"/>
                  </a:lnTo>
                  <a:lnTo>
                    <a:pt x="286039" y="68108"/>
                  </a:lnTo>
                  <a:lnTo>
                    <a:pt x="321873" y="68108"/>
                  </a:lnTo>
                  <a:lnTo>
                    <a:pt x="357601" y="62137"/>
                  </a:lnTo>
                  <a:lnTo>
                    <a:pt x="389170" y="62137"/>
                  </a:lnTo>
                  <a:lnTo>
                    <a:pt x="475451" y="64101"/>
                  </a:lnTo>
                  <a:lnTo>
                    <a:pt x="570157" y="68108"/>
                  </a:lnTo>
                  <a:lnTo>
                    <a:pt x="1066511" y="68108"/>
                  </a:lnTo>
                  <a:lnTo>
                    <a:pt x="1066641" y="68396"/>
                  </a:lnTo>
                  <a:lnTo>
                    <a:pt x="1066638" y="68135"/>
                  </a:lnTo>
                  <a:lnTo>
                    <a:pt x="1068741" y="68135"/>
                  </a:lnTo>
                  <a:lnTo>
                    <a:pt x="1321178" y="68135"/>
                  </a:lnTo>
                  <a:lnTo>
                    <a:pt x="1575718" y="62123"/>
                  </a:lnTo>
                  <a:lnTo>
                    <a:pt x="1830259" y="62123"/>
                  </a:lnTo>
                  <a:lnTo>
                    <a:pt x="1956477" y="62123"/>
                  </a:lnTo>
                  <a:lnTo>
                    <a:pt x="2082696" y="64127"/>
                  </a:lnTo>
                  <a:lnTo>
                    <a:pt x="2078488" y="70139"/>
                  </a:lnTo>
                  <a:lnTo>
                    <a:pt x="2067970" y="72143"/>
                  </a:lnTo>
                  <a:lnTo>
                    <a:pt x="2042726" y="74147"/>
                  </a:lnTo>
                  <a:lnTo>
                    <a:pt x="2032208" y="74147"/>
                  </a:lnTo>
                  <a:lnTo>
                    <a:pt x="2028001" y="78155"/>
                  </a:lnTo>
                  <a:lnTo>
                    <a:pt x="2021690" y="80159"/>
                  </a:lnTo>
                  <a:lnTo>
                    <a:pt x="2019586" y="84167"/>
                  </a:lnTo>
                  <a:lnTo>
                    <a:pt x="2021690" y="90178"/>
                  </a:lnTo>
                  <a:lnTo>
                    <a:pt x="2021690" y="92182"/>
                  </a:lnTo>
                  <a:lnTo>
                    <a:pt x="2021690" y="100198"/>
                  </a:lnTo>
                  <a:lnTo>
                    <a:pt x="2025897" y="110218"/>
                  </a:lnTo>
                  <a:lnTo>
                    <a:pt x="2030105" y="118234"/>
                  </a:lnTo>
                  <a:lnTo>
                    <a:pt x="2030105" y="124246"/>
                  </a:lnTo>
                  <a:lnTo>
                    <a:pt x="2028001" y="138274"/>
                  </a:lnTo>
                  <a:lnTo>
                    <a:pt x="2028001" y="140278"/>
                  </a:lnTo>
                  <a:lnTo>
                    <a:pt x="2019586" y="148293"/>
                  </a:lnTo>
                  <a:lnTo>
                    <a:pt x="2015379" y="156309"/>
                  </a:lnTo>
                  <a:lnTo>
                    <a:pt x="2015379" y="162321"/>
                  </a:lnTo>
                  <a:lnTo>
                    <a:pt x="2017483" y="172341"/>
                  </a:lnTo>
                  <a:lnTo>
                    <a:pt x="2046934" y="184365"/>
                  </a:lnTo>
                  <a:lnTo>
                    <a:pt x="2049037" y="186369"/>
                  </a:lnTo>
                  <a:lnTo>
                    <a:pt x="2051141" y="192381"/>
                  </a:lnTo>
                  <a:lnTo>
                    <a:pt x="2051141" y="210416"/>
                  </a:lnTo>
                  <a:lnTo>
                    <a:pt x="2051141" y="232460"/>
                  </a:lnTo>
                  <a:lnTo>
                    <a:pt x="2051141" y="252500"/>
                  </a:lnTo>
                  <a:lnTo>
                    <a:pt x="2051141" y="256507"/>
                  </a:lnTo>
                  <a:lnTo>
                    <a:pt x="2049037" y="270535"/>
                  </a:lnTo>
                  <a:lnTo>
                    <a:pt x="2042726" y="282559"/>
                  </a:lnTo>
                  <a:lnTo>
                    <a:pt x="2032208" y="306607"/>
                  </a:lnTo>
                  <a:lnTo>
                    <a:pt x="2030105" y="320634"/>
                  </a:lnTo>
                  <a:lnTo>
                    <a:pt x="2032208" y="330654"/>
                  </a:lnTo>
                  <a:lnTo>
                    <a:pt x="2032208" y="334662"/>
                  </a:lnTo>
                  <a:lnTo>
                    <a:pt x="2036415" y="336666"/>
                  </a:lnTo>
                  <a:lnTo>
                    <a:pt x="2040623" y="340674"/>
                  </a:lnTo>
                  <a:lnTo>
                    <a:pt x="2042726" y="350694"/>
                  </a:lnTo>
                  <a:lnTo>
                    <a:pt x="2049037" y="356706"/>
                  </a:lnTo>
                  <a:lnTo>
                    <a:pt x="2059555" y="374741"/>
                  </a:lnTo>
                  <a:lnTo>
                    <a:pt x="2070074" y="376745"/>
                  </a:lnTo>
                  <a:lnTo>
                    <a:pt x="2078488" y="374741"/>
                  </a:lnTo>
                  <a:lnTo>
                    <a:pt x="2084799" y="378749"/>
                  </a:lnTo>
                  <a:lnTo>
                    <a:pt x="2095317" y="384761"/>
                  </a:lnTo>
                  <a:lnTo>
                    <a:pt x="2105836" y="386765"/>
                  </a:lnTo>
                  <a:lnTo>
                    <a:pt x="2126872" y="382757"/>
                  </a:lnTo>
                  <a:lnTo>
                    <a:pt x="2139494" y="378749"/>
                  </a:lnTo>
                  <a:lnTo>
                    <a:pt x="2150012" y="378749"/>
                  </a:lnTo>
                  <a:lnTo>
                    <a:pt x="2160530" y="382757"/>
                  </a:lnTo>
                  <a:lnTo>
                    <a:pt x="2171048" y="388769"/>
                  </a:lnTo>
                  <a:lnTo>
                    <a:pt x="2179463" y="404801"/>
                  </a:lnTo>
                  <a:lnTo>
                    <a:pt x="2189981" y="418828"/>
                  </a:lnTo>
                  <a:lnTo>
                    <a:pt x="2198396" y="424840"/>
                  </a:lnTo>
                  <a:lnTo>
                    <a:pt x="2200499" y="428848"/>
                  </a:lnTo>
                  <a:lnTo>
                    <a:pt x="2200499" y="432856"/>
                  </a:lnTo>
                  <a:lnTo>
                    <a:pt x="2200499" y="434860"/>
                  </a:lnTo>
                  <a:lnTo>
                    <a:pt x="2198396" y="446884"/>
                  </a:lnTo>
                  <a:lnTo>
                    <a:pt x="2196292" y="458908"/>
                  </a:lnTo>
                  <a:lnTo>
                    <a:pt x="2196292" y="474939"/>
                  </a:lnTo>
                  <a:lnTo>
                    <a:pt x="2198396" y="488967"/>
                  </a:lnTo>
                  <a:lnTo>
                    <a:pt x="2206810" y="519027"/>
                  </a:lnTo>
                  <a:lnTo>
                    <a:pt x="2206810" y="527042"/>
                  </a:lnTo>
                  <a:lnTo>
                    <a:pt x="2200499" y="535058"/>
                  </a:lnTo>
                  <a:lnTo>
                    <a:pt x="2192085" y="543074"/>
                  </a:lnTo>
                  <a:lnTo>
                    <a:pt x="2175256" y="553094"/>
                  </a:lnTo>
                  <a:lnTo>
                    <a:pt x="2164737" y="559106"/>
                  </a:lnTo>
                  <a:lnTo>
                    <a:pt x="2158427" y="567122"/>
                  </a:lnTo>
                  <a:lnTo>
                    <a:pt x="2154219" y="575138"/>
                  </a:lnTo>
                  <a:lnTo>
                    <a:pt x="2154219" y="587161"/>
                  </a:lnTo>
                  <a:lnTo>
                    <a:pt x="2156323" y="595177"/>
                  </a:lnTo>
                  <a:lnTo>
                    <a:pt x="2147908" y="595177"/>
                  </a:lnTo>
                  <a:lnTo>
                    <a:pt x="2147908" y="601189"/>
                  </a:lnTo>
                  <a:lnTo>
                    <a:pt x="2135286" y="601189"/>
                  </a:lnTo>
                  <a:lnTo>
                    <a:pt x="2135286" y="611209"/>
                  </a:lnTo>
                  <a:lnTo>
                    <a:pt x="2126872" y="611209"/>
                  </a:lnTo>
                  <a:lnTo>
                    <a:pt x="2126872" y="615217"/>
                  </a:lnTo>
                  <a:lnTo>
                    <a:pt x="2124768" y="619225"/>
                  </a:lnTo>
                  <a:lnTo>
                    <a:pt x="2120561" y="621229"/>
                  </a:lnTo>
                  <a:lnTo>
                    <a:pt x="2112146" y="625237"/>
                  </a:lnTo>
                  <a:lnTo>
                    <a:pt x="2103732" y="627241"/>
                  </a:lnTo>
                  <a:lnTo>
                    <a:pt x="2089006" y="625237"/>
                  </a:lnTo>
                  <a:lnTo>
                    <a:pt x="2072177" y="625237"/>
                  </a:lnTo>
                  <a:lnTo>
                    <a:pt x="2070074" y="621229"/>
                  </a:lnTo>
                  <a:lnTo>
                    <a:pt x="2053245" y="619225"/>
                  </a:lnTo>
                  <a:lnTo>
                    <a:pt x="2040623" y="617221"/>
                  </a:lnTo>
                  <a:lnTo>
                    <a:pt x="2036415" y="619225"/>
                  </a:lnTo>
                  <a:lnTo>
                    <a:pt x="2030105" y="621229"/>
                  </a:lnTo>
                  <a:lnTo>
                    <a:pt x="2025897" y="627241"/>
                  </a:lnTo>
                  <a:lnTo>
                    <a:pt x="2021690" y="635257"/>
                  </a:lnTo>
                  <a:lnTo>
                    <a:pt x="1051931" y="717417"/>
                  </a:lnTo>
                  <a:lnTo>
                    <a:pt x="1051900" y="717448"/>
                  </a:lnTo>
                  <a:lnTo>
                    <a:pt x="872940" y="735438"/>
                  </a:lnTo>
                  <a:lnTo>
                    <a:pt x="692059" y="755469"/>
                  </a:lnTo>
                  <a:lnTo>
                    <a:pt x="513312" y="771495"/>
                  </a:lnTo>
                  <a:lnTo>
                    <a:pt x="420739" y="779507"/>
                  </a:lnTo>
                  <a:lnTo>
                    <a:pt x="332325" y="785556"/>
                  </a:lnTo>
                  <a:cubicBezTo>
                    <a:pt x="330192" y="770159"/>
                    <a:pt x="328166" y="754841"/>
                    <a:pt x="326033" y="739444"/>
                  </a:cubicBezTo>
                  <a:cubicBezTo>
                    <a:pt x="324646" y="732138"/>
                    <a:pt x="323260" y="724754"/>
                    <a:pt x="321873" y="717448"/>
                  </a:cubicBezTo>
                  <a:cubicBezTo>
                    <a:pt x="320487" y="714070"/>
                    <a:pt x="318994" y="710771"/>
                    <a:pt x="317607" y="707393"/>
                  </a:cubicBezTo>
                  <a:cubicBezTo>
                    <a:pt x="316221" y="704094"/>
                    <a:pt x="314834" y="700716"/>
                    <a:pt x="313448" y="697417"/>
                  </a:cubicBezTo>
                  <a:lnTo>
                    <a:pt x="283906" y="669294"/>
                  </a:lnTo>
                  <a:lnTo>
                    <a:pt x="269294" y="657275"/>
                  </a:lnTo>
                  <a:cubicBezTo>
                    <a:pt x="267908" y="655311"/>
                    <a:pt x="266415" y="653268"/>
                    <a:pt x="265028" y="651305"/>
                  </a:cubicBezTo>
                  <a:cubicBezTo>
                    <a:pt x="264388" y="649969"/>
                    <a:pt x="263642" y="648634"/>
                    <a:pt x="263002" y="647298"/>
                  </a:cubicBezTo>
                  <a:lnTo>
                    <a:pt x="269294" y="641249"/>
                  </a:lnTo>
                  <a:cubicBezTo>
                    <a:pt x="269934" y="640621"/>
                    <a:pt x="270681" y="639914"/>
                    <a:pt x="271321" y="639285"/>
                  </a:cubicBezTo>
                  <a:cubicBezTo>
                    <a:pt x="272067" y="638579"/>
                    <a:pt x="272707" y="637950"/>
                    <a:pt x="273454" y="637243"/>
                  </a:cubicBezTo>
                  <a:lnTo>
                    <a:pt x="279746" y="637243"/>
                  </a:lnTo>
                  <a:lnTo>
                    <a:pt x="290305" y="641249"/>
                  </a:lnTo>
                  <a:cubicBezTo>
                    <a:pt x="292438" y="644627"/>
                    <a:pt x="294571" y="647927"/>
                    <a:pt x="296704" y="651305"/>
                  </a:cubicBezTo>
                  <a:lnTo>
                    <a:pt x="315581" y="675343"/>
                  </a:lnTo>
                  <a:cubicBezTo>
                    <a:pt x="319100" y="680684"/>
                    <a:pt x="322513" y="686026"/>
                    <a:pt x="326033" y="691368"/>
                  </a:cubicBezTo>
                  <a:cubicBezTo>
                    <a:pt x="331685" y="703387"/>
                    <a:pt x="337231" y="715406"/>
                    <a:pt x="342884" y="727425"/>
                  </a:cubicBezTo>
                  <a:cubicBezTo>
                    <a:pt x="343524" y="728132"/>
                    <a:pt x="344270" y="728760"/>
                    <a:pt x="344910" y="729467"/>
                  </a:cubicBezTo>
                  <a:lnTo>
                    <a:pt x="347150" y="729467"/>
                  </a:lnTo>
                  <a:lnTo>
                    <a:pt x="347150" y="725461"/>
                  </a:lnTo>
                  <a:lnTo>
                    <a:pt x="347150" y="709436"/>
                  </a:lnTo>
                  <a:cubicBezTo>
                    <a:pt x="346296" y="706058"/>
                    <a:pt x="345657" y="702758"/>
                    <a:pt x="344910" y="699381"/>
                  </a:cubicBezTo>
                  <a:cubicBezTo>
                    <a:pt x="344270" y="696081"/>
                    <a:pt x="343524" y="692703"/>
                    <a:pt x="342884" y="689404"/>
                  </a:cubicBezTo>
                  <a:cubicBezTo>
                    <a:pt x="341497" y="686733"/>
                    <a:pt x="340004" y="683984"/>
                    <a:pt x="338618" y="681313"/>
                  </a:cubicBezTo>
                  <a:cubicBezTo>
                    <a:pt x="337231" y="679349"/>
                    <a:pt x="335845" y="677306"/>
                    <a:pt x="334458" y="675343"/>
                  </a:cubicBezTo>
                  <a:cubicBezTo>
                    <a:pt x="330299" y="670629"/>
                    <a:pt x="326033" y="665994"/>
                    <a:pt x="321873" y="661281"/>
                  </a:cubicBezTo>
                  <a:lnTo>
                    <a:pt x="302996" y="649262"/>
                  </a:lnTo>
                  <a:cubicBezTo>
                    <a:pt x="299477" y="644627"/>
                    <a:pt x="295957" y="639914"/>
                    <a:pt x="292331" y="635279"/>
                  </a:cubicBezTo>
                  <a:cubicBezTo>
                    <a:pt x="288172" y="631901"/>
                    <a:pt x="283906" y="628602"/>
                    <a:pt x="279746" y="625224"/>
                  </a:cubicBezTo>
                  <a:cubicBezTo>
                    <a:pt x="277613" y="623889"/>
                    <a:pt x="275587" y="622553"/>
                    <a:pt x="273454" y="621218"/>
                  </a:cubicBezTo>
                  <a:lnTo>
                    <a:pt x="269294" y="625224"/>
                  </a:lnTo>
                  <a:lnTo>
                    <a:pt x="263002" y="631273"/>
                  </a:lnTo>
                  <a:cubicBezTo>
                    <a:pt x="261615" y="635908"/>
                    <a:pt x="260122" y="640621"/>
                    <a:pt x="258736" y="645256"/>
                  </a:cubicBezTo>
                  <a:lnTo>
                    <a:pt x="258736" y="665287"/>
                  </a:lnTo>
                  <a:cubicBezTo>
                    <a:pt x="257349" y="668665"/>
                    <a:pt x="255963" y="671965"/>
                    <a:pt x="254576" y="675343"/>
                  </a:cubicBezTo>
                  <a:lnTo>
                    <a:pt x="254576" y="677306"/>
                  </a:lnTo>
                  <a:cubicBezTo>
                    <a:pt x="253190" y="676678"/>
                    <a:pt x="251804" y="675971"/>
                    <a:pt x="250417" y="675343"/>
                  </a:cubicBezTo>
                  <a:cubicBezTo>
                    <a:pt x="248284" y="670629"/>
                    <a:pt x="246151" y="665994"/>
                    <a:pt x="244018" y="661281"/>
                  </a:cubicBezTo>
                  <a:lnTo>
                    <a:pt x="244018" y="651305"/>
                  </a:lnTo>
                  <a:cubicBezTo>
                    <a:pt x="243378" y="643292"/>
                    <a:pt x="242632" y="635279"/>
                    <a:pt x="241992" y="627267"/>
                  </a:cubicBezTo>
                  <a:cubicBezTo>
                    <a:pt x="242632" y="624596"/>
                    <a:pt x="243378" y="621925"/>
                    <a:pt x="244018" y="619254"/>
                  </a:cubicBezTo>
                  <a:cubicBezTo>
                    <a:pt x="245404" y="616583"/>
                    <a:pt x="246898" y="613912"/>
                    <a:pt x="248284" y="611241"/>
                  </a:cubicBezTo>
                  <a:cubicBezTo>
                    <a:pt x="250417" y="607235"/>
                    <a:pt x="252443" y="603229"/>
                    <a:pt x="254576" y="599222"/>
                  </a:cubicBezTo>
                  <a:cubicBezTo>
                    <a:pt x="257349" y="595216"/>
                    <a:pt x="260229" y="591131"/>
                    <a:pt x="263002" y="587125"/>
                  </a:cubicBezTo>
                  <a:lnTo>
                    <a:pt x="263002" y="581154"/>
                  </a:lnTo>
                  <a:lnTo>
                    <a:pt x="263002" y="575106"/>
                  </a:lnTo>
                  <a:cubicBezTo>
                    <a:pt x="261615" y="577148"/>
                    <a:pt x="260122" y="579112"/>
                    <a:pt x="258736" y="581154"/>
                  </a:cubicBezTo>
                  <a:lnTo>
                    <a:pt x="254576" y="581154"/>
                  </a:lnTo>
                  <a:cubicBezTo>
                    <a:pt x="253830" y="580447"/>
                    <a:pt x="253190" y="579819"/>
                    <a:pt x="252443" y="579112"/>
                  </a:cubicBezTo>
                  <a:cubicBezTo>
                    <a:pt x="251057" y="578483"/>
                    <a:pt x="249671" y="577776"/>
                    <a:pt x="248284" y="577148"/>
                  </a:cubicBezTo>
                  <a:lnTo>
                    <a:pt x="248284" y="587125"/>
                  </a:lnTo>
                  <a:cubicBezTo>
                    <a:pt x="246898" y="590502"/>
                    <a:pt x="245404" y="593802"/>
                    <a:pt x="244018" y="597180"/>
                  </a:cubicBezTo>
                  <a:cubicBezTo>
                    <a:pt x="239005" y="587125"/>
                    <a:pt x="234206" y="577148"/>
                    <a:pt x="229300" y="567093"/>
                  </a:cubicBezTo>
                  <a:cubicBezTo>
                    <a:pt x="227167" y="559787"/>
                    <a:pt x="225141" y="552403"/>
                    <a:pt x="223008" y="545097"/>
                  </a:cubicBezTo>
                  <a:cubicBezTo>
                    <a:pt x="222261" y="542426"/>
                    <a:pt x="221621" y="539756"/>
                    <a:pt x="220875" y="537085"/>
                  </a:cubicBezTo>
                  <a:lnTo>
                    <a:pt x="220875" y="533078"/>
                  </a:lnTo>
                  <a:cubicBezTo>
                    <a:pt x="221621" y="531036"/>
                    <a:pt x="222261" y="529072"/>
                    <a:pt x="223008" y="527030"/>
                  </a:cubicBezTo>
                  <a:cubicBezTo>
                    <a:pt x="224394" y="526401"/>
                    <a:pt x="225781" y="525694"/>
                    <a:pt x="227167" y="525066"/>
                  </a:cubicBezTo>
                  <a:lnTo>
                    <a:pt x="233460" y="525066"/>
                  </a:lnTo>
                  <a:lnTo>
                    <a:pt x="239752" y="523023"/>
                  </a:lnTo>
                  <a:cubicBezTo>
                    <a:pt x="240605" y="521688"/>
                    <a:pt x="241245" y="520352"/>
                    <a:pt x="241992" y="519017"/>
                  </a:cubicBezTo>
                  <a:lnTo>
                    <a:pt x="241992" y="515011"/>
                  </a:lnTo>
                  <a:lnTo>
                    <a:pt x="241992" y="502992"/>
                  </a:lnTo>
                  <a:cubicBezTo>
                    <a:pt x="241245" y="496314"/>
                    <a:pt x="240605" y="489637"/>
                    <a:pt x="239752" y="482960"/>
                  </a:cubicBezTo>
                  <a:cubicBezTo>
                    <a:pt x="237619" y="476911"/>
                    <a:pt x="235593" y="470941"/>
                    <a:pt x="233460" y="464892"/>
                  </a:cubicBezTo>
                  <a:cubicBezTo>
                    <a:pt x="229300" y="451538"/>
                    <a:pt x="225034" y="438183"/>
                    <a:pt x="220875" y="424829"/>
                  </a:cubicBezTo>
                  <a:cubicBezTo>
                    <a:pt x="217355" y="411474"/>
                    <a:pt x="213942" y="398120"/>
                    <a:pt x="210423" y="384765"/>
                  </a:cubicBezTo>
                  <a:cubicBezTo>
                    <a:pt x="209036" y="378088"/>
                    <a:pt x="207543" y="371411"/>
                    <a:pt x="206157" y="364734"/>
                  </a:cubicBezTo>
                  <a:cubicBezTo>
                    <a:pt x="204770" y="358685"/>
                    <a:pt x="203384" y="352715"/>
                    <a:pt x="201997" y="346666"/>
                  </a:cubicBezTo>
                  <a:cubicBezTo>
                    <a:pt x="200611" y="342031"/>
                    <a:pt x="199118" y="337318"/>
                    <a:pt x="197731" y="332683"/>
                  </a:cubicBezTo>
                  <a:cubicBezTo>
                    <a:pt x="195598" y="326634"/>
                    <a:pt x="193572" y="320664"/>
                    <a:pt x="191439" y="314615"/>
                  </a:cubicBezTo>
                  <a:lnTo>
                    <a:pt x="170322" y="276516"/>
                  </a:lnTo>
                  <a:lnTo>
                    <a:pt x="147285" y="242501"/>
                  </a:lnTo>
                  <a:cubicBezTo>
                    <a:pt x="143766" y="238495"/>
                    <a:pt x="140353" y="234488"/>
                    <a:pt x="136834" y="230482"/>
                  </a:cubicBezTo>
                  <a:cubicBezTo>
                    <a:pt x="133208" y="227104"/>
                    <a:pt x="129688" y="223805"/>
                    <a:pt x="126169" y="220427"/>
                  </a:cubicBezTo>
                  <a:lnTo>
                    <a:pt x="111451" y="202438"/>
                  </a:lnTo>
                  <a:lnTo>
                    <a:pt x="94706" y="182328"/>
                  </a:lnTo>
                  <a:cubicBezTo>
                    <a:pt x="89800" y="175650"/>
                    <a:pt x="84788" y="168973"/>
                    <a:pt x="79882" y="162296"/>
                  </a:cubicBezTo>
                  <a:cubicBezTo>
                    <a:pt x="74336" y="155619"/>
                    <a:pt x="68684" y="148941"/>
                    <a:pt x="63138" y="142264"/>
                  </a:cubicBezTo>
                  <a:cubicBezTo>
                    <a:pt x="58872" y="138258"/>
                    <a:pt x="54712" y="134252"/>
                    <a:pt x="50446" y="130245"/>
                  </a:cubicBezTo>
                  <a:lnTo>
                    <a:pt x="35835" y="118226"/>
                  </a:lnTo>
                  <a:lnTo>
                    <a:pt x="0" y="92146"/>
                  </a:lnTo>
                  <a:cubicBezTo>
                    <a:pt x="2773" y="81462"/>
                    <a:pt x="5653" y="70779"/>
                    <a:pt x="8426" y="60095"/>
                  </a:cubicBezTo>
                  <a:cubicBezTo>
                    <a:pt x="9066" y="57424"/>
                    <a:pt x="9812" y="54753"/>
                    <a:pt x="10452" y="52082"/>
                  </a:cubicBezTo>
                  <a:cubicBezTo>
                    <a:pt x="11839" y="49411"/>
                    <a:pt x="13332" y="46741"/>
                    <a:pt x="14718" y="44070"/>
                  </a:cubicBezTo>
                  <a:lnTo>
                    <a:pt x="18877" y="40063"/>
                  </a:lnTo>
                  <a:lnTo>
                    <a:pt x="27410" y="40063"/>
                  </a:lnTo>
                  <a:lnTo>
                    <a:pt x="42127" y="34093"/>
                  </a:lnTo>
                  <a:lnTo>
                    <a:pt x="56739" y="30087"/>
                  </a:lnTo>
                  <a:cubicBezTo>
                    <a:pt x="58125" y="28044"/>
                    <a:pt x="59618" y="26080"/>
                    <a:pt x="61005" y="24038"/>
                  </a:cubicBezTo>
                  <a:cubicBezTo>
                    <a:pt x="61751" y="22074"/>
                    <a:pt x="62391" y="20032"/>
                    <a:pt x="63138" y="18068"/>
                  </a:cubicBezTo>
                  <a:lnTo>
                    <a:pt x="63138" y="10055"/>
                  </a:lnTo>
                  <a:lnTo>
                    <a:pt x="63138" y="2042"/>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an Diego &amp; Imperial</a:t>
              </a:r>
            </a:p>
          </p:txBody>
        </p:sp>
        <p:sp>
          <p:nvSpPr>
            <p:cNvPr id="18" name="North Coast and North State"/>
            <p:cNvSpPr>
              <a:spLocks/>
            </p:cNvSpPr>
            <p:nvPr/>
          </p:nvSpPr>
          <p:spPr bwMode="auto">
            <a:xfrm>
              <a:off x="1638602" y="891077"/>
              <a:ext cx="3096558" cy="2669288"/>
            </a:xfrm>
            <a:custGeom>
              <a:avLst/>
              <a:gdLst/>
              <a:ahLst/>
              <a:cxnLst/>
              <a:rect l="l" t="t" r="r" b="b"/>
              <a:pathLst>
                <a:path w="3096558" h="2669288">
                  <a:moveTo>
                    <a:pt x="271443" y="1603177"/>
                  </a:moveTo>
                  <a:lnTo>
                    <a:pt x="317619" y="1605366"/>
                  </a:lnTo>
                  <a:lnTo>
                    <a:pt x="317619" y="1604305"/>
                  </a:lnTo>
                  <a:close/>
                  <a:moveTo>
                    <a:pt x="881425" y="0"/>
                  </a:moveTo>
                  <a:lnTo>
                    <a:pt x="986607" y="0"/>
                  </a:lnTo>
                  <a:lnTo>
                    <a:pt x="1196971" y="0"/>
                  </a:lnTo>
                  <a:lnTo>
                    <a:pt x="1205385" y="0"/>
                  </a:lnTo>
                  <a:lnTo>
                    <a:pt x="1495687" y="2004"/>
                  </a:lnTo>
                  <a:lnTo>
                    <a:pt x="1642942" y="2004"/>
                  </a:lnTo>
                  <a:lnTo>
                    <a:pt x="1788093" y="2004"/>
                  </a:lnTo>
                  <a:lnTo>
                    <a:pt x="1790196" y="2004"/>
                  </a:lnTo>
                  <a:lnTo>
                    <a:pt x="1897482" y="2004"/>
                  </a:lnTo>
                  <a:lnTo>
                    <a:pt x="1899586" y="2004"/>
                  </a:lnTo>
                  <a:lnTo>
                    <a:pt x="1939555" y="6012"/>
                  </a:lnTo>
                  <a:lnTo>
                    <a:pt x="2068742" y="9799"/>
                  </a:lnTo>
                  <a:lnTo>
                    <a:pt x="2074203" y="8019"/>
                  </a:lnTo>
                  <a:lnTo>
                    <a:pt x="2465410" y="10026"/>
                  </a:lnTo>
                  <a:lnTo>
                    <a:pt x="2919880" y="10026"/>
                  </a:lnTo>
                  <a:lnTo>
                    <a:pt x="3092390" y="8019"/>
                  </a:lnTo>
                  <a:lnTo>
                    <a:pt x="3094447" y="8019"/>
                  </a:lnTo>
                  <a:lnTo>
                    <a:pt x="3094447" y="170357"/>
                  </a:lnTo>
                  <a:lnTo>
                    <a:pt x="3094447" y="206410"/>
                  </a:lnTo>
                  <a:cubicBezTo>
                    <a:pt x="3093727" y="244470"/>
                    <a:pt x="3093110" y="282595"/>
                    <a:pt x="3092390" y="320655"/>
                  </a:cubicBezTo>
                  <a:lnTo>
                    <a:pt x="3092390" y="394769"/>
                  </a:lnTo>
                  <a:lnTo>
                    <a:pt x="3092390" y="488948"/>
                  </a:lnTo>
                  <a:lnTo>
                    <a:pt x="3092390" y="655300"/>
                  </a:lnTo>
                  <a:lnTo>
                    <a:pt x="3087796" y="657226"/>
                  </a:lnTo>
                  <a:lnTo>
                    <a:pt x="3096558" y="657301"/>
                  </a:lnTo>
                  <a:lnTo>
                    <a:pt x="3096558" y="659305"/>
                  </a:lnTo>
                  <a:lnTo>
                    <a:pt x="3096558" y="733452"/>
                  </a:lnTo>
                  <a:lnTo>
                    <a:pt x="3094455" y="809602"/>
                  </a:lnTo>
                  <a:lnTo>
                    <a:pt x="3096558" y="971924"/>
                  </a:lnTo>
                  <a:lnTo>
                    <a:pt x="3096558" y="1016011"/>
                  </a:lnTo>
                  <a:lnTo>
                    <a:pt x="3094455" y="1082142"/>
                  </a:lnTo>
                  <a:lnTo>
                    <a:pt x="3096558" y="1112201"/>
                  </a:lnTo>
                  <a:lnTo>
                    <a:pt x="3094455" y="1136249"/>
                  </a:lnTo>
                  <a:lnTo>
                    <a:pt x="3096558" y="1246467"/>
                  </a:lnTo>
                  <a:lnTo>
                    <a:pt x="3096558" y="1304582"/>
                  </a:lnTo>
                  <a:lnTo>
                    <a:pt x="3096558" y="1358689"/>
                  </a:lnTo>
                  <a:lnTo>
                    <a:pt x="3096558" y="1567102"/>
                  </a:lnTo>
                  <a:lnTo>
                    <a:pt x="3096558" y="1769502"/>
                  </a:lnTo>
                  <a:lnTo>
                    <a:pt x="3096558" y="1795554"/>
                  </a:lnTo>
                  <a:lnTo>
                    <a:pt x="3096558" y="1829621"/>
                  </a:lnTo>
                  <a:lnTo>
                    <a:pt x="3092351" y="1825613"/>
                  </a:lnTo>
                  <a:lnTo>
                    <a:pt x="3086040" y="1829621"/>
                  </a:lnTo>
                  <a:lnTo>
                    <a:pt x="3083936" y="1831625"/>
                  </a:lnTo>
                  <a:lnTo>
                    <a:pt x="3083936" y="1835633"/>
                  </a:lnTo>
                  <a:lnTo>
                    <a:pt x="3039760" y="1835633"/>
                  </a:lnTo>
                  <a:lnTo>
                    <a:pt x="2993480" y="1835633"/>
                  </a:lnTo>
                  <a:lnTo>
                    <a:pt x="2997687" y="1823609"/>
                  </a:lnTo>
                  <a:lnTo>
                    <a:pt x="3001895" y="1811586"/>
                  </a:lnTo>
                  <a:lnTo>
                    <a:pt x="3010309" y="1799562"/>
                  </a:lnTo>
                  <a:lnTo>
                    <a:pt x="3012413" y="1795554"/>
                  </a:lnTo>
                  <a:lnTo>
                    <a:pt x="3014516" y="1793550"/>
                  </a:lnTo>
                  <a:lnTo>
                    <a:pt x="3018724" y="1791546"/>
                  </a:lnTo>
                  <a:lnTo>
                    <a:pt x="3020827" y="1781526"/>
                  </a:lnTo>
                  <a:lnTo>
                    <a:pt x="3020827" y="1753471"/>
                  </a:lnTo>
                  <a:lnTo>
                    <a:pt x="3018724" y="1705375"/>
                  </a:lnTo>
                  <a:lnTo>
                    <a:pt x="3020827" y="1679324"/>
                  </a:lnTo>
                  <a:lnTo>
                    <a:pt x="3020827" y="1661288"/>
                  </a:lnTo>
                  <a:lnTo>
                    <a:pt x="3014516" y="1657280"/>
                  </a:lnTo>
                  <a:lnTo>
                    <a:pt x="3012413" y="1653272"/>
                  </a:lnTo>
                  <a:lnTo>
                    <a:pt x="3003998" y="1651268"/>
                  </a:lnTo>
                  <a:lnTo>
                    <a:pt x="2999791" y="1643252"/>
                  </a:lnTo>
                  <a:lnTo>
                    <a:pt x="2991376" y="1639244"/>
                  </a:lnTo>
                  <a:lnTo>
                    <a:pt x="2982962" y="1633233"/>
                  </a:lnTo>
                  <a:lnTo>
                    <a:pt x="2982962" y="1627221"/>
                  </a:lnTo>
                  <a:lnTo>
                    <a:pt x="2978755" y="1629225"/>
                  </a:lnTo>
                  <a:lnTo>
                    <a:pt x="2978755" y="1617201"/>
                  </a:lnTo>
                  <a:lnTo>
                    <a:pt x="2972444" y="1617201"/>
                  </a:lnTo>
                  <a:lnTo>
                    <a:pt x="2972444" y="1603173"/>
                  </a:lnTo>
                  <a:lnTo>
                    <a:pt x="2961925" y="1603173"/>
                  </a:lnTo>
                  <a:lnTo>
                    <a:pt x="2961925" y="1593153"/>
                  </a:lnTo>
                  <a:lnTo>
                    <a:pt x="2955615" y="1597161"/>
                  </a:lnTo>
                  <a:lnTo>
                    <a:pt x="2955615" y="1587141"/>
                  </a:lnTo>
                  <a:lnTo>
                    <a:pt x="2953511" y="1577122"/>
                  </a:lnTo>
                  <a:lnTo>
                    <a:pt x="2949304" y="1567102"/>
                  </a:lnTo>
                  <a:lnTo>
                    <a:pt x="2945096" y="1557082"/>
                  </a:lnTo>
                  <a:lnTo>
                    <a:pt x="2934578" y="1557082"/>
                  </a:lnTo>
                  <a:lnTo>
                    <a:pt x="2934578" y="1541050"/>
                  </a:lnTo>
                  <a:lnTo>
                    <a:pt x="2928267" y="1539046"/>
                  </a:lnTo>
                  <a:lnTo>
                    <a:pt x="2926164" y="1541050"/>
                  </a:lnTo>
                  <a:lnTo>
                    <a:pt x="2924060" y="1541050"/>
                  </a:lnTo>
                  <a:lnTo>
                    <a:pt x="2921956" y="1537042"/>
                  </a:lnTo>
                  <a:lnTo>
                    <a:pt x="2917749" y="1527022"/>
                  </a:lnTo>
                  <a:lnTo>
                    <a:pt x="2913542" y="1521010"/>
                  </a:lnTo>
                  <a:lnTo>
                    <a:pt x="2903024" y="1517003"/>
                  </a:lnTo>
                  <a:lnTo>
                    <a:pt x="2890402" y="1517003"/>
                  </a:lnTo>
                  <a:lnTo>
                    <a:pt x="2863055" y="1512995"/>
                  </a:lnTo>
                  <a:lnTo>
                    <a:pt x="2842018" y="1510991"/>
                  </a:lnTo>
                  <a:lnTo>
                    <a:pt x="2842018" y="1508987"/>
                  </a:lnTo>
                  <a:lnTo>
                    <a:pt x="2833604" y="1502975"/>
                  </a:lnTo>
                  <a:lnTo>
                    <a:pt x="2827293" y="1498967"/>
                  </a:lnTo>
                  <a:lnTo>
                    <a:pt x="2820982" y="1488947"/>
                  </a:lnTo>
                  <a:lnTo>
                    <a:pt x="2810464" y="1480931"/>
                  </a:lnTo>
                  <a:lnTo>
                    <a:pt x="2799945" y="1472915"/>
                  </a:lnTo>
                  <a:lnTo>
                    <a:pt x="2789427" y="1466903"/>
                  </a:lnTo>
                  <a:lnTo>
                    <a:pt x="2781013" y="1466903"/>
                  </a:lnTo>
                  <a:lnTo>
                    <a:pt x="2778909" y="1454880"/>
                  </a:lnTo>
                  <a:lnTo>
                    <a:pt x="2768391" y="1444860"/>
                  </a:lnTo>
                  <a:lnTo>
                    <a:pt x="2757873" y="1434840"/>
                  </a:lnTo>
                  <a:lnTo>
                    <a:pt x="2747355" y="1428828"/>
                  </a:lnTo>
                  <a:lnTo>
                    <a:pt x="2745251" y="1420812"/>
                  </a:lnTo>
                  <a:lnTo>
                    <a:pt x="2738940" y="1414800"/>
                  </a:lnTo>
                  <a:lnTo>
                    <a:pt x="2734733" y="1408788"/>
                  </a:lnTo>
                  <a:lnTo>
                    <a:pt x="2726318" y="1404780"/>
                  </a:lnTo>
                  <a:lnTo>
                    <a:pt x="2705282" y="1398769"/>
                  </a:lnTo>
                  <a:lnTo>
                    <a:pt x="2690556" y="1396765"/>
                  </a:lnTo>
                  <a:lnTo>
                    <a:pt x="2690556" y="1386745"/>
                  </a:lnTo>
                  <a:lnTo>
                    <a:pt x="2686349" y="1384741"/>
                  </a:lnTo>
                  <a:lnTo>
                    <a:pt x="2682142" y="1380733"/>
                  </a:lnTo>
                  <a:lnTo>
                    <a:pt x="2675831" y="1380733"/>
                  </a:lnTo>
                  <a:lnTo>
                    <a:pt x="2665313" y="1378729"/>
                  </a:lnTo>
                  <a:lnTo>
                    <a:pt x="2661106" y="1376725"/>
                  </a:lnTo>
                  <a:lnTo>
                    <a:pt x="2659002" y="1370713"/>
                  </a:lnTo>
                  <a:lnTo>
                    <a:pt x="2650587" y="1370713"/>
                  </a:lnTo>
                  <a:lnTo>
                    <a:pt x="2642173" y="1368709"/>
                  </a:lnTo>
                  <a:lnTo>
                    <a:pt x="2633758" y="1366705"/>
                  </a:lnTo>
                  <a:lnTo>
                    <a:pt x="2631655" y="1360693"/>
                  </a:lnTo>
                  <a:lnTo>
                    <a:pt x="2629551" y="1358689"/>
                  </a:lnTo>
                  <a:lnTo>
                    <a:pt x="2625344" y="1358689"/>
                  </a:lnTo>
                  <a:lnTo>
                    <a:pt x="2608515" y="1356685"/>
                  </a:lnTo>
                  <a:lnTo>
                    <a:pt x="2579064" y="1358689"/>
                  </a:lnTo>
                  <a:lnTo>
                    <a:pt x="2583271" y="1350673"/>
                  </a:lnTo>
                  <a:lnTo>
                    <a:pt x="2555924" y="1350673"/>
                  </a:lnTo>
                  <a:lnTo>
                    <a:pt x="2553820" y="1358689"/>
                  </a:lnTo>
                  <a:lnTo>
                    <a:pt x="2551716" y="1364701"/>
                  </a:lnTo>
                  <a:lnTo>
                    <a:pt x="2545406" y="1364701"/>
                  </a:lnTo>
                  <a:lnTo>
                    <a:pt x="2541198" y="1364701"/>
                  </a:lnTo>
                  <a:lnTo>
                    <a:pt x="2532784" y="1370713"/>
                  </a:lnTo>
                  <a:lnTo>
                    <a:pt x="2524369" y="1380733"/>
                  </a:lnTo>
                  <a:lnTo>
                    <a:pt x="2515955" y="1384741"/>
                  </a:lnTo>
                  <a:lnTo>
                    <a:pt x="2509644" y="1384741"/>
                  </a:lnTo>
                  <a:lnTo>
                    <a:pt x="2509644" y="1398769"/>
                  </a:lnTo>
                  <a:lnTo>
                    <a:pt x="2494918" y="1396765"/>
                  </a:lnTo>
                  <a:lnTo>
                    <a:pt x="2494918" y="1410792"/>
                  </a:lnTo>
                  <a:lnTo>
                    <a:pt x="2482296" y="1410792"/>
                  </a:lnTo>
                  <a:lnTo>
                    <a:pt x="2484400" y="1440852"/>
                  </a:lnTo>
                  <a:lnTo>
                    <a:pt x="2461260" y="1448868"/>
                  </a:lnTo>
                  <a:lnTo>
                    <a:pt x="2448638" y="1448868"/>
                  </a:lnTo>
                  <a:lnTo>
                    <a:pt x="2446535" y="1446864"/>
                  </a:lnTo>
                  <a:lnTo>
                    <a:pt x="2442327" y="1440852"/>
                  </a:lnTo>
                  <a:lnTo>
                    <a:pt x="2440224" y="1436844"/>
                  </a:lnTo>
                  <a:lnTo>
                    <a:pt x="2438120" y="1434840"/>
                  </a:lnTo>
                  <a:lnTo>
                    <a:pt x="2425498" y="1428828"/>
                  </a:lnTo>
                  <a:lnTo>
                    <a:pt x="2408669" y="1426824"/>
                  </a:lnTo>
                  <a:lnTo>
                    <a:pt x="2393944" y="1426824"/>
                  </a:lnTo>
                  <a:lnTo>
                    <a:pt x="2393944" y="1414800"/>
                  </a:lnTo>
                  <a:lnTo>
                    <a:pt x="2379218" y="1414800"/>
                  </a:lnTo>
                  <a:lnTo>
                    <a:pt x="2368700" y="1414800"/>
                  </a:lnTo>
                  <a:lnTo>
                    <a:pt x="2364493" y="1410792"/>
                  </a:lnTo>
                  <a:lnTo>
                    <a:pt x="2362389" y="1408788"/>
                  </a:lnTo>
                  <a:lnTo>
                    <a:pt x="2362389" y="1400772"/>
                  </a:lnTo>
                  <a:lnTo>
                    <a:pt x="2362389" y="1394761"/>
                  </a:lnTo>
                  <a:lnTo>
                    <a:pt x="2353975" y="1394761"/>
                  </a:lnTo>
                  <a:lnTo>
                    <a:pt x="2351871" y="1310594"/>
                  </a:lnTo>
                  <a:lnTo>
                    <a:pt x="2351871" y="1264503"/>
                  </a:lnTo>
                  <a:lnTo>
                    <a:pt x="2347664" y="1244463"/>
                  </a:lnTo>
                  <a:lnTo>
                    <a:pt x="2162544" y="1244463"/>
                  </a:lnTo>
                  <a:lnTo>
                    <a:pt x="2162544" y="1212400"/>
                  </a:lnTo>
                  <a:lnTo>
                    <a:pt x="2166751" y="1212400"/>
                  </a:lnTo>
                  <a:lnTo>
                    <a:pt x="2170958" y="1068114"/>
                  </a:lnTo>
                  <a:lnTo>
                    <a:pt x="2166751" y="931844"/>
                  </a:lnTo>
                  <a:lnTo>
                    <a:pt x="2164647" y="793571"/>
                  </a:lnTo>
                  <a:lnTo>
                    <a:pt x="2160496" y="655141"/>
                  </a:lnTo>
                  <a:lnTo>
                    <a:pt x="2156189" y="651286"/>
                  </a:lnTo>
                  <a:lnTo>
                    <a:pt x="2074188" y="651286"/>
                  </a:lnTo>
                  <a:lnTo>
                    <a:pt x="2074188" y="653293"/>
                  </a:lnTo>
                  <a:lnTo>
                    <a:pt x="1706051" y="653293"/>
                  </a:lnTo>
                  <a:lnTo>
                    <a:pt x="1344652" y="653293"/>
                  </a:lnTo>
                  <a:lnTo>
                    <a:pt x="1358913" y="665305"/>
                  </a:lnTo>
                  <a:lnTo>
                    <a:pt x="1369496" y="677334"/>
                  </a:lnTo>
                  <a:lnTo>
                    <a:pt x="1373680" y="683405"/>
                  </a:lnTo>
                  <a:lnTo>
                    <a:pt x="1373680" y="693411"/>
                  </a:lnTo>
                  <a:lnTo>
                    <a:pt x="1373680" y="703416"/>
                  </a:lnTo>
                  <a:cubicBezTo>
                    <a:pt x="1372285" y="708138"/>
                    <a:pt x="1370891" y="712748"/>
                    <a:pt x="1369496" y="717469"/>
                  </a:cubicBezTo>
                  <a:cubicBezTo>
                    <a:pt x="1367363" y="719493"/>
                    <a:pt x="1365230" y="721404"/>
                    <a:pt x="1363097" y="723428"/>
                  </a:cubicBezTo>
                  <a:lnTo>
                    <a:pt x="1358913" y="725451"/>
                  </a:lnTo>
                  <a:lnTo>
                    <a:pt x="1346278" y="727475"/>
                  </a:lnTo>
                  <a:lnTo>
                    <a:pt x="1331511" y="729498"/>
                  </a:lnTo>
                  <a:lnTo>
                    <a:pt x="1320927" y="735457"/>
                  </a:lnTo>
                  <a:cubicBezTo>
                    <a:pt x="1320271" y="736131"/>
                    <a:pt x="1319533" y="736806"/>
                    <a:pt x="1318876" y="737480"/>
                  </a:cubicBezTo>
                  <a:cubicBezTo>
                    <a:pt x="1318138" y="740179"/>
                    <a:pt x="1317481" y="742764"/>
                    <a:pt x="1316743" y="745462"/>
                  </a:cubicBezTo>
                  <a:lnTo>
                    <a:pt x="1316743" y="759515"/>
                  </a:lnTo>
                  <a:lnTo>
                    <a:pt x="1316743" y="777503"/>
                  </a:lnTo>
                  <a:cubicBezTo>
                    <a:pt x="1316005" y="780201"/>
                    <a:pt x="1315348" y="782899"/>
                    <a:pt x="1314610" y="785597"/>
                  </a:cubicBezTo>
                  <a:cubicBezTo>
                    <a:pt x="1313215" y="786946"/>
                    <a:pt x="1311821" y="788183"/>
                    <a:pt x="1310426" y="789532"/>
                  </a:cubicBezTo>
                  <a:lnTo>
                    <a:pt x="1304109" y="799538"/>
                  </a:lnTo>
                  <a:lnTo>
                    <a:pt x="1293525" y="807632"/>
                  </a:lnTo>
                  <a:cubicBezTo>
                    <a:pt x="1289341" y="811005"/>
                    <a:pt x="1285075" y="814265"/>
                    <a:pt x="1280891" y="817638"/>
                  </a:cubicBezTo>
                  <a:lnTo>
                    <a:pt x="1270307" y="827643"/>
                  </a:lnTo>
                  <a:lnTo>
                    <a:pt x="1263990" y="837649"/>
                  </a:lnTo>
                  <a:cubicBezTo>
                    <a:pt x="1262596" y="841696"/>
                    <a:pt x="1261201" y="845631"/>
                    <a:pt x="1259806" y="849678"/>
                  </a:cubicBezTo>
                  <a:cubicBezTo>
                    <a:pt x="1258411" y="856986"/>
                    <a:pt x="1256935" y="864405"/>
                    <a:pt x="1255540" y="871713"/>
                  </a:cubicBezTo>
                  <a:cubicBezTo>
                    <a:pt x="1254884" y="876435"/>
                    <a:pt x="1254145" y="881044"/>
                    <a:pt x="1253489" y="885766"/>
                  </a:cubicBezTo>
                  <a:cubicBezTo>
                    <a:pt x="1252094" y="890487"/>
                    <a:pt x="1250617" y="895097"/>
                    <a:pt x="1249223" y="899819"/>
                  </a:cubicBezTo>
                  <a:cubicBezTo>
                    <a:pt x="1245695" y="909150"/>
                    <a:pt x="1242249" y="918481"/>
                    <a:pt x="1238721" y="927812"/>
                  </a:cubicBezTo>
                  <a:cubicBezTo>
                    <a:pt x="1235932" y="935794"/>
                    <a:pt x="1233060" y="943888"/>
                    <a:pt x="1230271" y="951870"/>
                  </a:cubicBezTo>
                  <a:cubicBezTo>
                    <a:pt x="1229533" y="957266"/>
                    <a:pt x="1228876" y="962550"/>
                    <a:pt x="1228138" y="967947"/>
                  </a:cubicBezTo>
                  <a:lnTo>
                    <a:pt x="1221821" y="977952"/>
                  </a:lnTo>
                  <a:lnTo>
                    <a:pt x="1211319" y="987958"/>
                  </a:lnTo>
                  <a:lnTo>
                    <a:pt x="1200736" y="992005"/>
                  </a:lnTo>
                  <a:lnTo>
                    <a:pt x="1190153" y="999987"/>
                  </a:lnTo>
                  <a:cubicBezTo>
                    <a:pt x="1189496" y="1002011"/>
                    <a:pt x="1188758" y="1003922"/>
                    <a:pt x="1188102" y="1005945"/>
                  </a:cubicBezTo>
                  <a:lnTo>
                    <a:pt x="1181784" y="1012016"/>
                  </a:lnTo>
                  <a:lnTo>
                    <a:pt x="1181784" y="1022022"/>
                  </a:lnTo>
                  <a:lnTo>
                    <a:pt x="1181784" y="1032027"/>
                  </a:lnTo>
                  <a:lnTo>
                    <a:pt x="1181784" y="1038098"/>
                  </a:lnTo>
                  <a:cubicBezTo>
                    <a:pt x="1181046" y="1038773"/>
                    <a:pt x="1180390" y="1039335"/>
                    <a:pt x="1179651" y="1040009"/>
                  </a:cubicBezTo>
                  <a:cubicBezTo>
                    <a:pt x="1178913" y="1040684"/>
                    <a:pt x="1178257" y="1041359"/>
                    <a:pt x="1177518" y="1042033"/>
                  </a:cubicBezTo>
                  <a:lnTo>
                    <a:pt x="1169068" y="1046080"/>
                  </a:lnTo>
                  <a:lnTo>
                    <a:pt x="1167017" y="1046080"/>
                  </a:lnTo>
                  <a:cubicBezTo>
                    <a:pt x="1166278" y="1046755"/>
                    <a:pt x="1165622" y="1047429"/>
                    <a:pt x="1164884" y="1048104"/>
                  </a:cubicBezTo>
                  <a:lnTo>
                    <a:pt x="1164884" y="1054062"/>
                  </a:lnTo>
                  <a:cubicBezTo>
                    <a:pt x="1165622" y="1057435"/>
                    <a:pt x="1166278" y="1060695"/>
                    <a:pt x="1167017" y="1064068"/>
                  </a:cubicBezTo>
                  <a:cubicBezTo>
                    <a:pt x="1168412" y="1068790"/>
                    <a:pt x="1169806" y="1073399"/>
                    <a:pt x="1171201" y="1078121"/>
                  </a:cubicBezTo>
                  <a:lnTo>
                    <a:pt x="1190153" y="1112185"/>
                  </a:lnTo>
                  <a:cubicBezTo>
                    <a:pt x="1192942" y="1118255"/>
                    <a:pt x="1195813" y="1124214"/>
                    <a:pt x="1198603" y="1130285"/>
                  </a:cubicBezTo>
                  <a:lnTo>
                    <a:pt x="1198603" y="1134219"/>
                  </a:lnTo>
                  <a:lnTo>
                    <a:pt x="1198603" y="1138267"/>
                  </a:lnTo>
                  <a:lnTo>
                    <a:pt x="1188102" y="1140290"/>
                  </a:lnTo>
                  <a:lnTo>
                    <a:pt x="1171201" y="1144225"/>
                  </a:lnTo>
                  <a:lnTo>
                    <a:pt x="1150116" y="1160302"/>
                  </a:lnTo>
                  <a:lnTo>
                    <a:pt x="1139615" y="1170307"/>
                  </a:lnTo>
                  <a:cubicBezTo>
                    <a:pt x="1138220" y="1171656"/>
                    <a:pt x="1136743" y="1173005"/>
                    <a:pt x="1135349" y="1174354"/>
                  </a:cubicBezTo>
                  <a:cubicBezTo>
                    <a:pt x="1134610" y="1177052"/>
                    <a:pt x="1133954" y="1179638"/>
                    <a:pt x="1133216" y="1182336"/>
                  </a:cubicBezTo>
                  <a:lnTo>
                    <a:pt x="1126898" y="1188407"/>
                  </a:lnTo>
                  <a:cubicBezTo>
                    <a:pt x="1125504" y="1189082"/>
                    <a:pt x="1124109" y="1189644"/>
                    <a:pt x="1122714" y="1190318"/>
                  </a:cubicBezTo>
                  <a:lnTo>
                    <a:pt x="1114264" y="1192342"/>
                  </a:lnTo>
                  <a:lnTo>
                    <a:pt x="1101629" y="1198413"/>
                  </a:lnTo>
                  <a:lnTo>
                    <a:pt x="1095312" y="1200436"/>
                  </a:lnTo>
                  <a:cubicBezTo>
                    <a:pt x="1093918" y="1203134"/>
                    <a:pt x="1092441" y="1205720"/>
                    <a:pt x="1091046" y="1208418"/>
                  </a:cubicBezTo>
                  <a:lnTo>
                    <a:pt x="1084729" y="1218424"/>
                  </a:lnTo>
                  <a:lnTo>
                    <a:pt x="1074228" y="1228430"/>
                  </a:lnTo>
                  <a:lnTo>
                    <a:pt x="1055194" y="1248441"/>
                  </a:lnTo>
                  <a:cubicBezTo>
                    <a:pt x="1053799" y="1247092"/>
                    <a:pt x="1052404" y="1245855"/>
                    <a:pt x="1051010" y="1244506"/>
                  </a:cubicBezTo>
                  <a:lnTo>
                    <a:pt x="1044692" y="1244506"/>
                  </a:lnTo>
                  <a:lnTo>
                    <a:pt x="1038375" y="1248441"/>
                  </a:lnTo>
                  <a:lnTo>
                    <a:pt x="1023608" y="1260470"/>
                  </a:lnTo>
                  <a:lnTo>
                    <a:pt x="1013024" y="1266541"/>
                  </a:lnTo>
                  <a:lnTo>
                    <a:pt x="1000390" y="1270476"/>
                  </a:lnTo>
                  <a:lnTo>
                    <a:pt x="989807" y="1272499"/>
                  </a:lnTo>
                  <a:lnTo>
                    <a:pt x="989807" y="1274523"/>
                  </a:lnTo>
                  <a:cubicBezTo>
                    <a:pt x="989150" y="1276546"/>
                    <a:pt x="988412" y="1278570"/>
                    <a:pt x="987755" y="1280594"/>
                  </a:cubicBezTo>
                  <a:lnTo>
                    <a:pt x="981438" y="1286552"/>
                  </a:lnTo>
                  <a:lnTo>
                    <a:pt x="964538" y="1306563"/>
                  </a:lnTo>
                  <a:lnTo>
                    <a:pt x="953954" y="1322640"/>
                  </a:lnTo>
                  <a:lnTo>
                    <a:pt x="945504" y="1340627"/>
                  </a:lnTo>
                  <a:cubicBezTo>
                    <a:pt x="944109" y="1345349"/>
                    <a:pt x="942715" y="1349958"/>
                    <a:pt x="941320" y="1354680"/>
                  </a:cubicBezTo>
                  <a:cubicBezTo>
                    <a:pt x="939925" y="1357378"/>
                    <a:pt x="938530" y="1359964"/>
                    <a:pt x="937136" y="1362662"/>
                  </a:cubicBezTo>
                  <a:lnTo>
                    <a:pt x="941320" y="1370756"/>
                  </a:lnTo>
                  <a:cubicBezTo>
                    <a:pt x="942058" y="1372780"/>
                    <a:pt x="942715" y="1374691"/>
                    <a:pt x="943453" y="1376715"/>
                  </a:cubicBezTo>
                  <a:lnTo>
                    <a:pt x="947637" y="1382786"/>
                  </a:lnTo>
                  <a:lnTo>
                    <a:pt x="953954" y="1386720"/>
                  </a:lnTo>
                  <a:lnTo>
                    <a:pt x="964538" y="1390768"/>
                  </a:lnTo>
                  <a:lnTo>
                    <a:pt x="966671" y="1390768"/>
                  </a:lnTo>
                  <a:lnTo>
                    <a:pt x="981438" y="1396726"/>
                  </a:lnTo>
                  <a:lnTo>
                    <a:pt x="991940" y="1406844"/>
                  </a:lnTo>
                  <a:lnTo>
                    <a:pt x="998257" y="1416850"/>
                  </a:lnTo>
                  <a:cubicBezTo>
                    <a:pt x="998995" y="1421459"/>
                    <a:pt x="999652" y="1426181"/>
                    <a:pt x="1000390" y="1430790"/>
                  </a:cubicBezTo>
                  <a:lnTo>
                    <a:pt x="1000390" y="1456872"/>
                  </a:lnTo>
                  <a:cubicBezTo>
                    <a:pt x="999652" y="1462268"/>
                    <a:pt x="998995" y="1467552"/>
                    <a:pt x="998257" y="1472948"/>
                  </a:cubicBezTo>
                  <a:lnTo>
                    <a:pt x="998257" y="1487001"/>
                  </a:lnTo>
                  <a:cubicBezTo>
                    <a:pt x="999652" y="1497681"/>
                    <a:pt x="1001128" y="1508362"/>
                    <a:pt x="1002523" y="1519042"/>
                  </a:cubicBezTo>
                  <a:cubicBezTo>
                    <a:pt x="1004656" y="1530396"/>
                    <a:pt x="1006707" y="1541751"/>
                    <a:pt x="1008840" y="1553106"/>
                  </a:cubicBezTo>
                  <a:lnTo>
                    <a:pt x="1027792" y="1615163"/>
                  </a:lnTo>
                  <a:lnTo>
                    <a:pt x="1021959" y="1615610"/>
                  </a:lnTo>
                  <a:cubicBezTo>
                    <a:pt x="1031259" y="1628969"/>
                    <a:pt x="1038150" y="1639106"/>
                    <a:pt x="1039176" y="1641296"/>
                  </a:cubicBezTo>
                  <a:lnTo>
                    <a:pt x="1039176" y="1649280"/>
                  </a:lnTo>
                  <a:lnTo>
                    <a:pt x="1039176" y="1657264"/>
                  </a:lnTo>
                  <a:lnTo>
                    <a:pt x="1032849" y="1671335"/>
                  </a:lnTo>
                  <a:cubicBezTo>
                    <a:pt x="1029390" y="1677323"/>
                    <a:pt x="1025847" y="1683311"/>
                    <a:pt x="1022389" y="1689299"/>
                  </a:cubicBezTo>
                  <a:cubicBezTo>
                    <a:pt x="1021714" y="1692692"/>
                    <a:pt x="1020955" y="1695985"/>
                    <a:pt x="1020280" y="1699378"/>
                  </a:cubicBezTo>
                  <a:cubicBezTo>
                    <a:pt x="1019605" y="1702672"/>
                    <a:pt x="1018846" y="1706065"/>
                    <a:pt x="1018171" y="1709358"/>
                  </a:cubicBezTo>
                  <a:cubicBezTo>
                    <a:pt x="1018846" y="1716045"/>
                    <a:pt x="1019605" y="1722731"/>
                    <a:pt x="1020280" y="1729417"/>
                  </a:cubicBezTo>
                  <a:lnTo>
                    <a:pt x="1032849" y="1765544"/>
                  </a:lnTo>
                  <a:lnTo>
                    <a:pt x="1032849" y="1791592"/>
                  </a:lnTo>
                  <a:lnTo>
                    <a:pt x="1032849" y="1801571"/>
                  </a:lnTo>
                  <a:cubicBezTo>
                    <a:pt x="1033524" y="1802869"/>
                    <a:pt x="1034283" y="1804266"/>
                    <a:pt x="1034958" y="1805563"/>
                  </a:cubicBezTo>
                  <a:lnTo>
                    <a:pt x="1039176" y="1805563"/>
                  </a:lnTo>
                  <a:cubicBezTo>
                    <a:pt x="1041284" y="1806861"/>
                    <a:pt x="1043393" y="1808258"/>
                    <a:pt x="1045502" y="1809555"/>
                  </a:cubicBezTo>
                  <a:cubicBezTo>
                    <a:pt x="1046936" y="1810254"/>
                    <a:pt x="1048286" y="1810852"/>
                    <a:pt x="1049720" y="1811551"/>
                  </a:cubicBezTo>
                  <a:cubicBezTo>
                    <a:pt x="1050395" y="1812948"/>
                    <a:pt x="1051154" y="1814246"/>
                    <a:pt x="1051829" y="1815643"/>
                  </a:cubicBezTo>
                  <a:lnTo>
                    <a:pt x="1051829" y="1821631"/>
                  </a:lnTo>
                  <a:lnTo>
                    <a:pt x="1051829" y="1831610"/>
                  </a:lnTo>
                  <a:lnTo>
                    <a:pt x="1051829" y="1833606"/>
                  </a:lnTo>
                  <a:cubicBezTo>
                    <a:pt x="1053263" y="1834305"/>
                    <a:pt x="1054613" y="1834904"/>
                    <a:pt x="1056047" y="1835602"/>
                  </a:cubicBezTo>
                  <a:lnTo>
                    <a:pt x="1060265" y="1835602"/>
                  </a:lnTo>
                  <a:cubicBezTo>
                    <a:pt x="1060939" y="1837598"/>
                    <a:pt x="1061699" y="1839694"/>
                    <a:pt x="1062373" y="1841690"/>
                  </a:cubicBezTo>
                  <a:cubicBezTo>
                    <a:pt x="1063048" y="1844983"/>
                    <a:pt x="1063723" y="1848376"/>
                    <a:pt x="1064398" y="1851670"/>
                  </a:cubicBezTo>
                  <a:cubicBezTo>
                    <a:pt x="1065073" y="1862348"/>
                    <a:pt x="1065832" y="1873026"/>
                    <a:pt x="1066507" y="1883705"/>
                  </a:cubicBezTo>
                  <a:lnTo>
                    <a:pt x="1066507" y="1939842"/>
                  </a:lnTo>
                  <a:lnTo>
                    <a:pt x="1155827" y="1939842"/>
                  </a:lnTo>
                  <a:lnTo>
                    <a:pt x="1164279" y="1939842"/>
                  </a:lnTo>
                  <a:lnTo>
                    <a:pt x="1168505" y="1941812"/>
                  </a:lnTo>
                  <a:cubicBezTo>
                    <a:pt x="1169235" y="1942468"/>
                    <a:pt x="1169913" y="1943198"/>
                    <a:pt x="1170644" y="1943854"/>
                  </a:cubicBezTo>
                  <a:lnTo>
                    <a:pt x="1170644" y="1945824"/>
                  </a:lnTo>
                  <a:lnTo>
                    <a:pt x="1170644" y="1955890"/>
                  </a:lnTo>
                  <a:lnTo>
                    <a:pt x="1170644" y="1971938"/>
                  </a:lnTo>
                  <a:cubicBezTo>
                    <a:pt x="1172052" y="1981931"/>
                    <a:pt x="1173461" y="1991998"/>
                    <a:pt x="1174869" y="2001991"/>
                  </a:cubicBezTo>
                  <a:lnTo>
                    <a:pt x="1174869" y="2034014"/>
                  </a:lnTo>
                  <a:lnTo>
                    <a:pt x="1170644" y="2096162"/>
                  </a:lnTo>
                  <a:lnTo>
                    <a:pt x="1155827" y="2094120"/>
                  </a:lnTo>
                  <a:lnTo>
                    <a:pt x="1149515" y="2094120"/>
                  </a:lnTo>
                  <a:cubicBezTo>
                    <a:pt x="1148784" y="2094776"/>
                    <a:pt x="1148106" y="2095506"/>
                    <a:pt x="1147376" y="2096162"/>
                  </a:cubicBezTo>
                  <a:cubicBezTo>
                    <a:pt x="1148106" y="2098132"/>
                    <a:pt x="1148784" y="2100174"/>
                    <a:pt x="1149515" y="2102144"/>
                  </a:cubicBezTo>
                  <a:lnTo>
                    <a:pt x="1157966" y="2116222"/>
                  </a:lnTo>
                  <a:lnTo>
                    <a:pt x="1157966" y="2124173"/>
                  </a:lnTo>
                  <a:cubicBezTo>
                    <a:pt x="1156558" y="2125486"/>
                    <a:pt x="1155149" y="2126872"/>
                    <a:pt x="1153740" y="2128185"/>
                  </a:cubicBezTo>
                  <a:lnTo>
                    <a:pt x="1145289" y="2138251"/>
                  </a:lnTo>
                  <a:cubicBezTo>
                    <a:pt x="1144558" y="2140950"/>
                    <a:pt x="1143880" y="2143576"/>
                    <a:pt x="1143150" y="2146275"/>
                  </a:cubicBezTo>
                  <a:cubicBezTo>
                    <a:pt x="1143880" y="2149631"/>
                    <a:pt x="1144558" y="2152913"/>
                    <a:pt x="1145289" y="2156269"/>
                  </a:cubicBezTo>
                  <a:cubicBezTo>
                    <a:pt x="1145967" y="2159624"/>
                    <a:pt x="1146697" y="2162907"/>
                    <a:pt x="1147376" y="2166262"/>
                  </a:cubicBezTo>
                  <a:lnTo>
                    <a:pt x="1155827" y="2174286"/>
                  </a:lnTo>
                  <a:lnTo>
                    <a:pt x="1164279" y="2184352"/>
                  </a:lnTo>
                  <a:lnTo>
                    <a:pt x="1181182" y="2196315"/>
                  </a:lnTo>
                  <a:lnTo>
                    <a:pt x="1198085" y="2212363"/>
                  </a:lnTo>
                  <a:lnTo>
                    <a:pt x="1212901" y="2222430"/>
                  </a:lnTo>
                  <a:lnTo>
                    <a:pt x="1231891" y="2228411"/>
                  </a:lnTo>
                  <a:lnTo>
                    <a:pt x="1253020" y="2232423"/>
                  </a:lnTo>
                  <a:lnTo>
                    <a:pt x="1291052" y="2236435"/>
                  </a:lnTo>
                  <a:lnTo>
                    <a:pt x="1310042" y="2238404"/>
                  </a:lnTo>
                  <a:lnTo>
                    <a:pt x="1326945" y="2244459"/>
                  </a:lnTo>
                  <a:lnTo>
                    <a:pt x="1341709" y="2256495"/>
                  </a:lnTo>
                  <a:lnTo>
                    <a:pt x="1352300" y="2264519"/>
                  </a:lnTo>
                  <a:cubicBezTo>
                    <a:pt x="1353708" y="2267145"/>
                    <a:pt x="1355117" y="2269844"/>
                    <a:pt x="1356526" y="2272470"/>
                  </a:cubicBezTo>
                  <a:lnTo>
                    <a:pt x="1356526" y="2282536"/>
                  </a:lnTo>
                  <a:cubicBezTo>
                    <a:pt x="1354387" y="2283849"/>
                    <a:pt x="1352300" y="2285235"/>
                    <a:pt x="1350161" y="2286548"/>
                  </a:cubicBezTo>
                  <a:lnTo>
                    <a:pt x="1345935" y="2288517"/>
                  </a:lnTo>
                  <a:cubicBezTo>
                    <a:pt x="1344527" y="2290560"/>
                    <a:pt x="1343118" y="2292529"/>
                    <a:pt x="1341709" y="2294572"/>
                  </a:cubicBezTo>
                  <a:cubicBezTo>
                    <a:pt x="1341031" y="2299240"/>
                    <a:pt x="1340301" y="2303909"/>
                    <a:pt x="1339623" y="2308577"/>
                  </a:cubicBezTo>
                  <a:lnTo>
                    <a:pt x="1339623" y="2328637"/>
                  </a:lnTo>
                  <a:cubicBezTo>
                    <a:pt x="1340301" y="2336004"/>
                    <a:pt x="1341031" y="2343299"/>
                    <a:pt x="1341709" y="2350666"/>
                  </a:cubicBezTo>
                  <a:cubicBezTo>
                    <a:pt x="1343848" y="2355991"/>
                    <a:pt x="1345935" y="2361389"/>
                    <a:pt x="1348074" y="2366714"/>
                  </a:cubicBezTo>
                  <a:cubicBezTo>
                    <a:pt x="1348752" y="2367371"/>
                    <a:pt x="1349483" y="2368027"/>
                    <a:pt x="1350161" y="2368684"/>
                  </a:cubicBezTo>
                  <a:lnTo>
                    <a:pt x="1358612" y="2374738"/>
                  </a:lnTo>
                  <a:lnTo>
                    <a:pt x="1373377" y="2380719"/>
                  </a:lnTo>
                  <a:lnTo>
                    <a:pt x="1390280" y="2386701"/>
                  </a:lnTo>
                  <a:lnTo>
                    <a:pt x="1398731" y="2388743"/>
                  </a:lnTo>
                  <a:cubicBezTo>
                    <a:pt x="1399462" y="2392099"/>
                    <a:pt x="1400140" y="2395381"/>
                    <a:pt x="1400870" y="2398737"/>
                  </a:cubicBezTo>
                  <a:cubicBezTo>
                    <a:pt x="1400140" y="2402092"/>
                    <a:pt x="1399462" y="2405448"/>
                    <a:pt x="1398731" y="2408803"/>
                  </a:cubicBezTo>
                  <a:lnTo>
                    <a:pt x="1398731" y="2420766"/>
                  </a:lnTo>
                  <a:lnTo>
                    <a:pt x="1398731" y="2426820"/>
                  </a:lnTo>
                  <a:cubicBezTo>
                    <a:pt x="1399462" y="2428133"/>
                    <a:pt x="1400140" y="2429519"/>
                    <a:pt x="1400870" y="2430832"/>
                  </a:cubicBezTo>
                  <a:lnTo>
                    <a:pt x="1411409" y="2438856"/>
                  </a:lnTo>
                  <a:lnTo>
                    <a:pt x="1421999" y="2448850"/>
                  </a:lnTo>
                  <a:lnTo>
                    <a:pt x="1432538" y="2456874"/>
                  </a:lnTo>
                  <a:lnTo>
                    <a:pt x="1440989" y="2466867"/>
                  </a:lnTo>
                  <a:lnTo>
                    <a:pt x="1436763" y="2466867"/>
                  </a:lnTo>
                  <a:lnTo>
                    <a:pt x="1419860" y="2466867"/>
                  </a:lnTo>
                  <a:lnTo>
                    <a:pt x="1405096" y="2468909"/>
                  </a:lnTo>
                  <a:cubicBezTo>
                    <a:pt x="1403687" y="2470879"/>
                    <a:pt x="1402279" y="2472921"/>
                    <a:pt x="1400870" y="2474891"/>
                  </a:cubicBezTo>
                  <a:lnTo>
                    <a:pt x="1400870" y="2480945"/>
                  </a:lnTo>
                  <a:lnTo>
                    <a:pt x="1409322" y="2498963"/>
                  </a:lnTo>
                  <a:cubicBezTo>
                    <a:pt x="1410000" y="2502318"/>
                    <a:pt x="1410730" y="2505601"/>
                    <a:pt x="1411409" y="2508956"/>
                  </a:cubicBezTo>
                  <a:lnTo>
                    <a:pt x="1411409" y="2525004"/>
                  </a:lnTo>
                  <a:cubicBezTo>
                    <a:pt x="1412139" y="2526973"/>
                    <a:pt x="1412817" y="2529016"/>
                    <a:pt x="1413548" y="2530985"/>
                  </a:cubicBezTo>
                  <a:cubicBezTo>
                    <a:pt x="1415634" y="2533684"/>
                    <a:pt x="1417773" y="2536310"/>
                    <a:pt x="1419860" y="2539009"/>
                  </a:cubicBezTo>
                  <a:cubicBezTo>
                    <a:pt x="1421269" y="2541708"/>
                    <a:pt x="1422677" y="2544334"/>
                    <a:pt x="1424086" y="2547033"/>
                  </a:cubicBezTo>
                  <a:lnTo>
                    <a:pt x="1424086" y="2553087"/>
                  </a:lnTo>
                  <a:cubicBezTo>
                    <a:pt x="1423408" y="2555714"/>
                    <a:pt x="1422677" y="2558412"/>
                    <a:pt x="1421999" y="2561038"/>
                  </a:cubicBezTo>
                  <a:lnTo>
                    <a:pt x="1415634" y="2563081"/>
                  </a:lnTo>
                  <a:lnTo>
                    <a:pt x="1411409" y="2563081"/>
                  </a:lnTo>
                  <a:lnTo>
                    <a:pt x="1409322" y="2567093"/>
                  </a:lnTo>
                  <a:cubicBezTo>
                    <a:pt x="1407183" y="2571761"/>
                    <a:pt x="1405096" y="2576430"/>
                    <a:pt x="1402957" y="2581098"/>
                  </a:cubicBezTo>
                  <a:cubicBezTo>
                    <a:pt x="1402279" y="2583797"/>
                    <a:pt x="1401548" y="2586423"/>
                    <a:pt x="1400870" y="2589122"/>
                  </a:cubicBezTo>
                  <a:cubicBezTo>
                    <a:pt x="1400140" y="2591821"/>
                    <a:pt x="1399462" y="2594447"/>
                    <a:pt x="1398731" y="2597146"/>
                  </a:cubicBezTo>
                  <a:lnTo>
                    <a:pt x="1373377" y="2621218"/>
                  </a:lnTo>
                  <a:lnTo>
                    <a:pt x="1362838" y="2633181"/>
                  </a:lnTo>
                  <a:lnTo>
                    <a:pt x="1348074" y="2643247"/>
                  </a:lnTo>
                  <a:lnTo>
                    <a:pt x="1326945" y="2653240"/>
                  </a:lnTo>
                  <a:lnTo>
                    <a:pt x="1301591" y="2659295"/>
                  </a:lnTo>
                  <a:lnTo>
                    <a:pt x="1248794" y="2669288"/>
                  </a:lnTo>
                  <a:lnTo>
                    <a:pt x="1240343" y="2657252"/>
                  </a:lnTo>
                  <a:lnTo>
                    <a:pt x="1229752" y="2649228"/>
                  </a:lnTo>
                  <a:lnTo>
                    <a:pt x="1219214" y="2647259"/>
                  </a:lnTo>
                  <a:lnTo>
                    <a:pt x="1206537" y="2639235"/>
                  </a:lnTo>
                  <a:lnTo>
                    <a:pt x="1198085" y="2631211"/>
                  </a:lnTo>
                  <a:cubicBezTo>
                    <a:pt x="1195998" y="2627856"/>
                    <a:pt x="1193859" y="2624573"/>
                    <a:pt x="1191772" y="2621218"/>
                  </a:cubicBezTo>
                  <a:lnTo>
                    <a:pt x="1181182" y="2603127"/>
                  </a:lnTo>
                  <a:lnTo>
                    <a:pt x="1157966" y="2561038"/>
                  </a:lnTo>
                  <a:lnTo>
                    <a:pt x="1153740" y="2557099"/>
                  </a:lnTo>
                  <a:lnTo>
                    <a:pt x="1147376" y="2551045"/>
                  </a:lnTo>
                  <a:lnTo>
                    <a:pt x="1134750" y="2547033"/>
                  </a:lnTo>
                  <a:lnTo>
                    <a:pt x="1122073" y="2539009"/>
                  </a:lnTo>
                  <a:lnTo>
                    <a:pt x="1063269" y="2530162"/>
                  </a:lnTo>
                  <a:lnTo>
                    <a:pt x="990840" y="2528997"/>
                  </a:lnTo>
                  <a:lnTo>
                    <a:pt x="936093" y="2527001"/>
                  </a:lnTo>
                  <a:cubicBezTo>
                    <a:pt x="933309" y="2527700"/>
                    <a:pt x="930525" y="2528299"/>
                    <a:pt x="927741" y="2528997"/>
                  </a:cubicBezTo>
                  <a:lnTo>
                    <a:pt x="927741" y="2530993"/>
                  </a:lnTo>
                  <a:lnTo>
                    <a:pt x="927741" y="2534985"/>
                  </a:lnTo>
                  <a:lnTo>
                    <a:pt x="925632" y="2534985"/>
                  </a:lnTo>
                  <a:lnTo>
                    <a:pt x="910870" y="2539077"/>
                  </a:lnTo>
                  <a:lnTo>
                    <a:pt x="894083" y="2539077"/>
                  </a:lnTo>
                  <a:lnTo>
                    <a:pt x="891974" y="2539077"/>
                  </a:lnTo>
                  <a:lnTo>
                    <a:pt x="891974" y="2541073"/>
                  </a:lnTo>
                  <a:lnTo>
                    <a:pt x="891974" y="2549057"/>
                  </a:lnTo>
                  <a:lnTo>
                    <a:pt x="891974" y="2555045"/>
                  </a:lnTo>
                  <a:cubicBezTo>
                    <a:pt x="891300" y="2556342"/>
                    <a:pt x="890540" y="2557739"/>
                    <a:pt x="889866" y="2559037"/>
                  </a:cubicBezTo>
                  <a:lnTo>
                    <a:pt x="889866" y="2561032"/>
                  </a:lnTo>
                  <a:lnTo>
                    <a:pt x="820441" y="2561032"/>
                  </a:lnTo>
                  <a:lnTo>
                    <a:pt x="791000" y="2559037"/>
                  </a:lnTo>
                  <a:lnTo>
                    <a:pt x="757342" y="2555045"/>
                  </a:lnTo>
                  <a:lnTo>
                    <a:pt x="742580" y="2559037"/>
                  </a:lnTo>
                  <a:cubicBezTo>
                    <a:pt x="739037" y="2560334"/>
                    <a:pt x="735579" y="2561731"/>
                    <a:pt x="732036" y="2563028"/>
                  </a:cubicBezTo>
                  <a:cubicBezTo>
                    <a:pt x="729927" y="2565024"/>
                    <a:pt x="727902" y="2567120"/>
                    <a:pt x="725793" y="2569116"/>
                  </a:cubicBezTo>
                  <a:lnTo>
                    <a:pt x="725793" y="2573108"/>
                  </a:lnTo>
                  <a:cubicBezTo>
                    <a:pt x="725118" y="2575104"/>
                    <a:pt x="724359" y="2577100"/>
                    <a:pt x="723684" y="2579096"/>
                  </a:cubicBezTo>
                  <a:cubicBezTo>
                    <a:pt x="724359" y="2581092"/>
                    <a:pt x="725118" y="2583088"/>
                    <a:pt x="725793" y="2585084"/>
                  </a:cubicBezTo>
                  <a:lnTo>
                    <a:pt x="723684" y="2585084"/>
                  </a:lnTo>
                  <a:lnTo>
                    <a:pt x="694160" y="2585084"/>
                  </a:lnTo>
                  <a:lnTo>
                    <a:pt x="664720" y="2585084"/>
                  </a:lnTo>
                  <a:lnTo>
                    <a:pt x="639497" y="2591171"/>
                  </a:lnTo>
                  <a:lnTo>
                    <a:pt x="626844" y="2595163"/>
                  </a:lnTo>
                  <a:lnTo>
                    <a:pt x="614275" y="2601151"/>
                  </a:lnTo>
                  <a:lnTo>
                    <a:pt x="582726" y="2573108"/>
                  </a:lnTo>
                  <a:lnTo>
                    <a:pt x="565855" y="2559037"/>
                  </a:lnTo>
                  <a:lnTo>
                    <a:pt x="546959" y="2549057"/>
                  </a:lnTo>
                  <a:lnTo>
                    <a:pt x="530088" y="2530993"/>
                  </a:lnTo>
                  <a:lnTo>
                    <a:pt x="504865" y="2508938"/>
                  </a:lnTo>
                  <a:lnTo>
                    <a:pt x="483861" y="2480895"/>
                  </a:lnTo>
                  <a:lnTo>
                    <a:pt x="477534" y="2468919"/>
                  </a:lnTo>
                  <a:cubicBezTo>
                    <a:pt x="476100" y="2466225"/>
                    <a:pt x="474750" y="2463530"/>
                    <a:pt x="473316" y="2460836"/>
                  </a:cubicBezTo>
                  <a:cubicBezTo>
                    <a:pt x="472641" y="2457542"/>
                    <a:pt x="471882" y="2454149"/>
                    <a:pt x="471207" y="2450856"/>
                  </a:cubicBezTo>
                  <a:lnTo>
                    <a:pt x="471207" y="2446864"/>
                  </a:lnTo>
                  <a:cubicBezTo>
                    <a:pt x="471882" y="2445566"/>
                    <a:pt x="472641" y="2444169"/>
                    <a:pt x="473316" y="2442872"/>
                  </a:cubicBezTo>
                  <a:cubicBezTo>
                    <a:pt x="474750" y="2442173"/>
                    <a:pt x="476100" y="2441575"/>
                    <a:pt x="477534" y="2440876"/>
                  </a:cubicBezTo>
                  <a:cubicBezTo>
                    <a:pt x="479643" y="2439479"/>
                    <a:pt x="481752" y="2438181"/>
                    <a:pt x="483861" y="2436784"/>
                  </a:cubicBezTo>
                  <a:cubicBezTo>
                    <a:pt x="485295" y="2434788"/>
                    <a:pt x="486644" y="2432792"/>
                    <a:pt x="488078" y="2430796"/>
                  </a:cubicBezTo>
                  <a:cubicBezTo>
                    <a:pt x="488753" y="2428102"/>
                    <a:pt x="489512" y="2425507"/>
                    <a:pt x="490187" y="2422813"/>
                  </a:cubicBezTo>
                  <a:lnTo>
                    <a:pt x="498538" y="2390777"/>
                  </a:lnTo>
                  <a:lnTo>
                    <a:pt x="498538" y="2372714"/>
                  </a:lnTo>
                  <a:lnTo>
                    <a:pt x="498538" y="2356647"/>
                  </a:lnTo>
                  <a:cubicBezTo>
                    <a:pt x="495755" y="2347266"/>
                    <a:pt x="492971" y="2337984"/>
                    <a:pt x="490187" y="2328603"/>
                  </a:cubicBezTo>
                  <a:lnTo>
                    <a:pt x="479643" y="2300560"/>
                  </a:lnTo>
                  <a:lnTo>
                    <a:pt x="452311" y="2250462"/>
                  </a:lnTo>
                  <a:cubicBezTo>
                    <a:pt x="446660" y="2235791"/>
                    <a:pt x="441092" y="2221021"/>
                    <a:pt x="435440" y="2206351"/>
                  </a:cubicBezTo>
                  <a:cubicBezTo>
                    <a:pt x="429873" y="2190982"/>
                    <a:pt x="424221" y="2175613"/>
                    <a:pt x="418653" y="2160245"/>
                  </a:cubicBezTo>
                  <a:cubicBezTo>
                    <a:pt x="417219" y="2148868"/>
                    <a:pt x="415870" y="2137590"/>
                    <a:pt x="414436" y="2126213"/>
                  </a:cubicBezTo>
                  <a:lnTo>
                    <a:pt x="414436" y="2088091"/>
                  </a:lnTo>
                  <a:cubicBezTo>
                    <a:pt x="415110" y="2080805"/>
                    <a:pt x="415870" y="2073420"/>
                    <a:pt x="416545" y="2066135"/>
                  </a:cubicBezTo>
                  <a:cubicBezTo>
                    <a:pt x="417219" y="2059449"/>
                    <a:pt x="417979" y="2052762"/>
                    <a:pt x="418653" y="2046076"/>
                  </a:cubicBezTo>
                  <a:cubicBezTo>
                    <a:pt x="424221" y="2032004"/>
                    <a:pt x="429873" y="2018033"/>
                    <a:pt x="435440" y="2003961"/>
                  </a:cubicBezTo>
                  <a:cubicBezTo>
                    <a:pt x="438983" y="1993981"/>
                    <a:pt x="442442" y="1983902"/>
                    <a:pt x="445985" y="1973922"/>
                  </a:cubicBezTo>
                  <a:cubicBezTo>
                    <a:pt x="446660" y="1968533"/>
                    <a:pt x="447419" y="1963244"/>
                    <a:pt x="448094" y="1957855"/>
                  </a:cubicBezTo>
                  <a:cubicBezTo>
                    <a:pt x="447419" y="1955859"/>
                    <a:pt x="446660" y="1953863"/>
                    <a:pt x="445985" y="1951867"/>
                  </a:cubicBezTo>
                  <a:cubicBezTo>
                    <a:pt x="444551" y="1949172"/>
                    <a:pt x="443201" y="1946577"/>
                    <a:pt x="441767" y="1943883"/>
                  </a:cubicBezTo>
                  <a:cubicBezTo>
                    <a:pt x="440333" y="1938494"/>
                    <a:pt x="438983" y="1933205"/>
                    <a:pt x="437549" y="1927815"/>
                  </a:cubicBezTo>
                  <a:cubicBezTo>
                    <a:pt x="436874" y="1922426"/>
                    <a:pt x="436115" y="1917137"/>
                    <a:pt x="435440" y="1911748"/>
                  </a:cubicBezTo>
                  <a:lnTo>
                    <a:pt x="435440" y="1893784"/>
                  </a:lnTo>
                  <a:lnTo>
                    <a:pt x="435440" y="1875721"/>
                  </a:lnTo>
                  <a:cubicBezTo>
                    <a:pt x="434006" y="1872428"/>
                    <a:pt x="432657" y="1869035"/>
                    <a:pt x="431222" y="1865741"/>
                  </a:cubicBezTo>
                  <a:cubicBezTo>
                    <a:pt x="429788" y="1862348"/>
                    <a:pt x="428439" y="1859055"/>
                    <a:pt x="427005" y="1855662"/>
                  </a:cubicBezTo>
                  <a:cubicBezTo>
                    <a:pt x="424221" y="1850971"/>
                    <a:pt x="421437" y="1846380"/>
                    <a:pt x="418653" y="1841690"/>
                  </a:cubicBezTo>
                  <a:lnTo>
                    <a:pt x="408109" y="1825623"/>
                  </a:lnTo>
                  <a:cubicBezTo>
                    <a:pt x="407434" y="1823627"/>
                    <a:pt x="406675" y="1821631"/>
                    <a:pt x="406000" y="1819635"/>
                  </a:cubicBezTo>
                  <a:cubicBezTo>
                    <a:pt x="405325" y="1816242"/>
                    <a:pt x="404566" y="1812948"/>
                    <a:pt x="403891" y="1809555"/>
                  </a:cubicBezTo>
                  <a:cubicBezTo>
                    <a:pt x="402457" y="1800873"/>
                    <a:pt x="401107" y="1792190"/>
                    <a:pt x="399673" y="1783508"/>
                  </a:cubicBezTo>
                  <a:lnTo>
                    <a:pt x="399673" y="1769536"/>
                  </a:lnTo>
                  <a:cubicBezTo>
                    <a:pt x="398999" y="1764846"/>
                    <a:pt x="398239" y="1760155"/>
                    <a:pt x="397564" y="1755465"/>
                  </a:cubicBezTo>
                  <a:cubicBezTo>
                    <a:pt x="396130" y="1752171"/>
                    <a:pt x="394781" y="1748778"/>
                    <a:pt x="393347" y="1745485"/>
                  </a:cubicBezTo>
                  <a:cubicBezTo>
                    <a:pt x="390563" y="1744188"/>
                    <a:pt x="387779" y="1742790"/>
                    <a:pt x="384995" y="1741493"/>
                  </a:cubicBezTo>
                  <a:cubicBezTo>
                    <a:pt x="382887" y="1739497"/>
                    <a:pt x="380778" y="1737401"/>
                    <a:pt x="378669" y="1735405"/>
                  </a:cubicBezTo>
                  <a:lnTo>
                    <a:pt x="372342" y="1729417"/>
                  </a:lnTo>
                  <a:lnTo>
                    <a:pt x="323922" y="1667343"/>
                  </a:lnTo>
                  <a:lnTo>
                    <a:pt x="271368" y="1603173"/>
                  </a:lnTo>
                  <a:lnTo>
                    <a:pt x="271368" y="1603173"/>
                  </a:lnTo>
                  <a:lnTo>
                    <a:pt x="265059" y="1595159"/>
                  </a:lnTo>
                  <a:lnTo>
                    <a:pt x="262955" y="1589147"/>
                  </a:lnTo>
                  <a:lnTo>
                    <a:pt x="256644" y="1589147"/>
                  </a:lnTo>
                  <a:lnTo>
                    <a:pt x="252437" y="1589147"/>
                  </a:lnTo>
                  <a:lnTo>
                    <a:pt x="241919" y="1589147"/>
                  </a:lnTo>
                  <a:lnTo>
                    <a:pt x="239815" y="1587144"/>
                  </a:lnTo>
                  <a:lnTo>
                    <a:pt x="233504" y="1585140"/>
                  </a:lnTo>
                  <a:lnTo>
                    <a:pt x="231400" y="1579128"/>
                  </a:lnTo>
                  <a:lnTo>
                    <a:pt x="229297" y="1575120"/>
                  </a:lnTo>
                  <a:lnTo>
                    <a:pt x="229297" y="1563096"/>
                  </a:lnTo>
                  <a:lnTo>
                    <a:pt x="229297" y="1549068"/>
                  </a:lnTo>
                  <a:lnTo>
                    <a:pt x="225089" y="1537044"/>
                  </a:lnTo>
                  <a:lnTo>
                    <a:pt x="220882" y="1529028"/>
                  </a:lnTo>
                  <a:lnTo>
                    <a:pt x="212468" y="1523017"/>
                  </a:lnTo>
                  <a:lnTo>
                    <a:pt x="193535" y="1512997"/>
                  </a:lnTo>
                  <a:lnTo>
                    <a:pt x="176706" y="1502977"/>
                  </a:lnTo>
                  <a:lnTo>
                    <a:pt x="157773" y="1494961"/>
                  </a:lnTo>
                  <a:lnTo>
                    <a:pt x="140944" y="1478929"/>
                  </a:lnTo>
                  <a:lnTo>
                    <a:pt x="124115" y="1462898"/>
                  </a:lnTo>
                  <a:lnTo>
                    <a:pt x="105182" y="1446866"/>
                  </a:lnTo>
                  <a:lnTo>
                    <a:pt x="94664" y="1442858"/>
                  </a:lnTo>
                  <a:lnTo>
                    <a:pt x="86249" y="1436846"/>
                  </a:lnTo>
                  <a:lnTo>
                    <a:pt x="71524" y="1430834"/>
                  </a:lnTo>
                  <a:lnTo>
                    <a:pt x="52591" y="1414802"/>
                  </a:lnTo>
                  <a:lnTo>
                    <a:pt x="39969" y="1400775"/>
                  </a:lnTo>
                  <a:lnTo>
                    <a:pt x="33658" y="1392759"/>
                  </a:lnTo>
                  <a:lnTo>
                    <a:pt x="31555" y="1386747"/>
                  </a:lnTo>
                  <a:lnTo>
                    <a:pt x="31555" y="1376727"/>
                  </a:lnTo>
                  <a:lnTo>
                    <a:pt x="33658" y="1366707"/>
                  </a:lnTo>
                  <a:lnTo>
                    <a:pt x="39969" y="1360695"/>
                  </a:lnTo>
                  <a:lnTo>
                    <a:pt x="42073" y="1350675"/>
                  </a:lnTo>
                  <a:lnTo>
                    <a:pt x="39969" y="1340656"/>
                  </a:lnTo>
                  <a:lnTo>
                    <a:pt x="35762" y="1330636"/>
                  </a:lnTo>
                  <a:lnTo>
                    <a:pt x="25244" y="1310596"/>
                  </a:lnTo>
                  <a:lnTo>
                    <a:pt x="25244" y="1304584"/>
                  </a:lnTo>
                  <a:lnTo>
                    <a:pt x="25244" y="1296568"/>
                  </a:lnTo>
                  <a:lnTo>
                    <a:pt x="23140" y="1290556"/>
                  </a:lnTo>
                  <a:lnTo>
                    <a:pt x="21036" y="1282541"/>
                  </a:lnTo>
                  <a:lnTo>
                    <a:pt x="10518" y="1270517"/>
                  </a:lnTo>
                  <a:lnTo>
                    <a:pt x="4207" y="1264505"/>
                  </a:lnTo>
                  <a:lnTo>
                    <a:pt x="2104" y="1258493"/>
                  </a:lnTo>
                  <a:lnTo>
                    <a:pt x="0" y="1252481"/>
                  </a:lnTo>
                  <a:lnTo>
                    <a:pt x="0" y="1244465"/>
                  </a:lnTo>
                  <a:lnTo>
                    <a:pt x="2104" y="1234445"/>
                  </a:lnTo>
                  <a:lnTo>
                    <a:pt x="10518" y="1224426"/>
                  </a:lnTo>
                  <a:lnTo>
                    <a:pt x="12622" y="1214406"/>
                  </a:lnTo>
                  <a:lnTo>
                    <a:pt x="14725" y="1198374"/>
                  </a:lnTo>
                  <a:lnTo>
                    <a:pt x="21036" y="1180338"/>
                  </a:lnTo>
                  <a:lnTo>
                    <a:pt x="31555" y="1150279"/>
                  </a:lnTo>
                  <a:lnTo>
                    <a:pt x="46280" y="1122223"/>
                  </a:lnTo>
                  <a:lnTo>
                    <a:pt x="52591" y="1108196"/>
                  </a:lnTo>
                  <a:lnTo>
                    <a:pt x="61006" y="1100180"/>
                  </a:lnTo>
                  <a:lnTo>
                    <a:pt x="65213" y="1094168"/>
                  </a:lnTo>
                  <a:lnTo>
                    <a:pt x="82042" y="1092164"/>
                  </a:lnTo>
                  <a:lnTo>
                    <a:pt x="73627" y="1090160"/>
                  </a:lnTo>
                  <a:lnTo>
                    <a:pt x="63109" y="1088156"/>
                  </a:lnTo>
                  <a:lnTo>
                    <a:pt x="73627" y="1064108"/>
                  </a:lnTo>
                  <a:lnTo>
                    <a:pt x="86249" y="1038057"/>
                  </a:lnTo>
                  <a:lnTo>
                    <a:pt x="103078" y="1016013"/>
                  </a:lnTo>
                  <a:lnTo>
                    <a:pt x="119907" y="995973"/>
                  </a:lnTo>
                  <a:lnTo>
                    <a:pt x="119907" y="1001985"/>
                  </a:lnTo>
                  <a:lnTo>
                    <a:pt x="117804" y="1007997"/>
                  </a:lnTo>
                  <a:lnTo>
                    <a:pt x="109389" y="1018017"/>
                  </a:lnTo>
                  <a:lnTo>
                    <a:pt x="103078" y="1028037"/>
                  </a:lnTo>
                  <a:lnTo>
                    <a:pt x="98871" y="1032045"/>
                  </a:lnTo>
                  <a:lnTo>
                    <a:pt x="103078" y="1040061"/>
                  </a:lnTo>
                  <a:lnTo>
                    <a:pt x="105182" y="1042065"/>
                  </a:lnTo>
                  <a:lnTo>
                    <a:pt x="107286" y="1046073"/>
                  </a:lnTo>
                  <a:lnTo>
                    <a:pt x="115700" y="1048077"/>
                  </a:lnTo>
                  <a:lnTo>
                    <a:pt x="124115" y="1046073"/>
                  </a:lnTo>
                  <a:lnTo>
                    <a:pt x="128322" y="1042065"/>
                  </a:lnTo>
                  <a:lnTo>
                    <a:pt x="134633" y="1032045"/>
                  </a:lnTo>
                  <a:lnTo>
                    <a:pt x="130426" y="1026033"/>
                  </a:lnTo>
                  <a:lnTo>
                    <a:pt x="130426" y="1016013"/>
                  </a:lnTo>
                  <a:lnTo>
                    <a:pt x="130426" y="1005993"/>
                  </a:lnTo>
                  <a:lnTo>
                    <a:pt x="140944" y="985954"/>
                  </a:lnTo>
                  <a:lnTo>
                    <a:pt x="155669" y="961906"/>
                  </a:lnTo>
                  <a:lnTo>
                    <a:pt x="159877" y="957898"/>
                  </a:lnTo>
                  <a:lnTo>
                    <a:pt x="166188" y="951886"/>
                  </a:lnTo>
                  <a:lnTo>
                    <a:pt x="176706" y="949882"/>
                  </a:lnTo>
                  <a:lnTo>
                    <a:pt x="187224" y="951886"/>
                  </a:lnTo>
                  <a:lnTo>
                    <a:pt x="191431" y="949882"/>
                  </a:lnTo>
                  <a:lnTo>
                    <a:pt x="199846" y="947878"/>
                  </a:lnTo>
                  <a:lnTo>
                    <a:pt x="210364" y="941866"/>
                  </a:lnTo>
                  <a:lnTo>
                    <a:pt x="218779" y="937858"/>
                  </a:lnTo>
                  <a:lnTo>
                    <a:pt x="220882" y="931847"/>
                  </a:lnTo>
                  <a:lnTo>
                    <a:pt x="220882" y="927839"/>
                  </a:lnTo>
                  <a:lnTo>
                    <a:pt x="220882" y="925835"/>
                  </a:lnTo>
                  <a:lnTo>
                    <a:pt x="214571" y="919823"/>
                  </a:lnTo>
                  <a:lnTo>
                    <a:pt x="210364" y="917819"/>
                  </a:lnTo>
                  <a:lnTo>
                    <a:pt x="199846" y="915815"/>
                  </a:lnTo>
                  <a:lnTo>
                    <a:pt x="191431" y="915815"/>
                  </a:lnTo>
                  <a:lnTo>
                    <a:pt x="183017" y="915815"/>
                  </a:lnTo>
                  <a:lnTo>
                    <a:pt x="178809" y="917819"/>
                  </a:lnTo>
                  <a:lnTo>
                    <a:pt x="172499" y="919823"/>
                  </a:lnTo>
                  <a:lnTo>
                    <a:pt x="166188" y="931847"/>
                  </a:lnTo>
                  <a:lnTo>
                    <a:pt x="157773" y="945874"/>
                  </a:lnTo>
                  <a:lnTo>
                    <a:pt x="145151" y="969922"/>
                  </a:lnTo>
                  <a:lnTo>
                    <a:pt x="128322" y="989962"/>
                  </a:lnTo>
                  <a:lnTo>
                    <a:pt x="128322" y="985954"/>
                  </a:lnTo>
                  <a:lnTo>
                    <a:pt x="128322" y="975934"/>
                  </a:lnTo>
                  <a:lnTo>
                    <a:pt x="138840" y="951886"/>
                  </a:lnTo>
                  <a:lnTo>
                    <a:pt x="151462" y="927839"/>
                  </a:lnTo>
                  <a:lnTo>
                    <a:pt x="161980" y="911807"/>
                  </a:lnTo>
                  <a:lnTo>
                    <a:pt x="172499" y="895775"/>
                  </a:lnTo>
                  <a:lnTo>
                    <a:pt x="178809" y="877739"/>
                  </a:lnTo>
                  <a:lnTo>
                    <a:pt x="183017" y="857700"/>
                  </a:lnTo>
                  <a:lnTo>
                    <a:pt x="189328" y="839664"/>
                  </a:lnTo>
                  <a:lnTo>
                    <a:pt x="197742" y="825636"/>
                  </a:lnTo>
                  <a:lnTo>
                    <a:pt x="201949" y="805597"/>
                  </a:lnTo>
                  <a:lnTo>
                    <a:pt x="201949" y="787561"/>
                  </a:lnTo>
                  <a:lnTo>
                    <a:pt x="201949" y="777541"/>
                  </a:lnTo>
                  <a:lnTo>
                    <a:pt x="199846" y="769525"/>
                  </a:lnTo>
                  <a:lnTo>
                    <a:pt x="193535" y="763513"/>
                  </a:lnTo>
                  <a:lnTo>
                    <a:pt x="187224" y="759505"/>
                  </a:lnTo>
                  <a:lnTo>
                    <a:pt x="176706" y="757502"/>
                  </a:lnTo>
                  <a:lnTo>
                    <a:pt x="172499" y="747482"/>
                  </a:lnTo>
                  <a:lnTo>
                    <a:pt x="172499" y="733454"/>
                  </a:lnTo>
                  <a:lnTo>
                    <a:pt x="170395" y="705398"/>
                  </a:lnTo>
                  <a:lnTo>
                    <a:pt x="172499" y="693375"/>
                  </a:lnTo>
                  <a:lnTo>
                    <a:pt x="180913" y="683355"/>
                  </a:lnTo>
                  <a:lnTo>
                    <a:pt x="189328" y="665319"/>
                  </a:lnTo>
                  <a:lnTo>
                    <a:pt x="199846" y="643275"/>
                  </a:lnTo>
                  <a:lnTo>
                    <a:pt x="208260" y="621232"/>
                  </a:lnTo>
                  <a:lnTo>
                    <a:pt x="210364" y="603196"/>
                  </a:lnTo>
                  <a:lnTo>
                    <a:pt x="210364" y="585160"/>
                  </a:lnTo>
                  <a:lnTo>
                    <a:pt x="214571" y="571133"/>
                  </a:lnTo>
                  <a:lnTo>
                    <a:pt x="229297" y="535061"/>
                  </a:lnTo>
                  <a:lnTo>
                    <a:pt x="233504" y="511014"/>
                  </a:lnTo>
                  <a:lnTo>
                    <a:pt x="235608" y="482958"/>
                  </a:lnTo>
                  <a:lnTo>
                    <a:pt x="235608" y="430855"/>
                  </a:lnTo>
                  <a:lnTo>
                    <a:pt x="236918" y="430801"/>
                  </a:lnTo>
                  <a:lnTo>
                    <a:pt x="236133" y="428852"/>
                  </a:lnTo>
                  <a:cubicBezTo>
                    <a:pt x="235420" y="423484"/>
                    <a:pt x="234759" y="418166"/>
                    <a:pt x="234046" y="412799"/>
                  </a:cubicBezTo>
                  <a:lnTo>
                    <a:pt x="225595" y="396796"/>
                  </a:lnTo>
                  <a:cubicBezTo>
                    <a:pt x="224883" y="391428"/>
                    <a:pt x="224170" y="386111"/>
                    <a:pt x="223457" y="380743"/>
                  </a:cubicBezTo>
                  <a:lnTo>
                    <a:pt x="223457" y="372742"/>
                  </a:lnTo>
                  <a:lnTo>
                    <a:pt x="223457" y="364740"/>
                  </a:lnTo>
                  <a:lnTo>
                    <a:pt x="236133" y="366728"/>
                  </a:lnTo>
                  <a:lnTo>
                    <a:pt x="242497" y="366728"/>
                  </a:lnTo>
                  <a:cubicBezTo>
                    <a:pt x="243209" y="366082"/>
                    <a:pt x="243871" y="365386"/>
                    <a:pt x="244584" y="364740"/>
                  </a:cubicBezTo>
                  <a:lnTo>
                    <a:pt x="234046" y="362703"/>
                  </a:lnTo>
                  <a:lnTo>
                    <a:pt x="225595" y="356689"/>
                  </a:lnTo>
                  <a:cubicBezTo>
                    <a:pt x="224170" y="354701"/>
                    <a:pt x="222795" y="352664"/>
                    <a:pt x="221370" y="350676"/>
                  </a:cubicBezTo>
                  <a:cubicBezTo>
                    <a:pt x="219944" y="348688"/>
                    <a:pt x="218570" y="346650"/>
                    <a:pt x="217144" y="344662"/>
                  </a:cubicBezTo>
                  <a:cubicBezTo>
                    <a:pt x="215719" y="338649"/>
                    <a:pt x="214345" y="332685"/>
                    <a:pt x="212919" y="326671"/>
                  </a:cubicBezTo>
                  <a:cubicBezTo>
                    <a:pt x="212206" y="321304"/>
                    <a:pt x="211494" y="315986"/>
                    <a:pt x="210781" y="310619"/>
                  </a:cubicBezTo>
                  <a:lnTo>
                    <a:pt x="204468" y="300580"/>
                  </a:lnTo>
                  <a:cubicBezTo>
                    <a:pt x="201668" y="295908"/>
                    <a:pt x="198818" y="291236"/>
                    <a:pt x="196018" y="286565"/>
                  </a:cubicBezTo>
                  <a:cubicBezTo>
                    <a:pt x="194592" y="283235"/>
                    <a:pt x="193218" y="279905"/>
                    <a:pt x="191792" y="276575"/>
                  </a:cubicBezTo>
                  <a:lnTo>
                    <a:pt x="185429" y="264548"/>
                  </a:lnTo>
                  <a:cubicBezTo>
                    <a:pt x="184716" y="260523"/>
                    <a:pt x="184054" y="256547"/>
                    <a:pt x="183342" y="252521"/>
                  </a:cubicBezTo>
                  <a:cubicBezTo>
                    <a:pt x="182629" y="248495"/>
                    <a:pt x="181916" y="244520"/>
                    <a:pt x="181203" y="240494"/>
                  </a:cubicBezTo>
                  <a:lnTo>
                    <a:pt x="181203" y="226429"/>
                  </a:lnTo>
                  <a:lnTo>
                    <a:pt x="174891" y="214452"/>
                  </a:lnTo>
                  <a:cubicBezTo>
                    <a:pt x="173465" y="213110"/>
                    <a:pt x="172091" y="211768"/>
                    <a:pt x="170665" y="210426"/>
                  </a:cubicBezTo>
                  <a:cubicBezTo>
                    <a:pt x="168527" y="208438"/>
                    <a:pt x="166440" y="206401"/>
                    <a:pt x="164302" y="204413"/>
                  </a:cubicBezTo>
                  <a:lnTo>
                    <a:pt x="149539" y="198399"/>
                  </a:lnTo>
                  <a:lnTo>
                    <a:pt x="130499" y="192386"/>
                  </a:lnTo>
                  <a:cubicBezTo>
                    <a:pt x="129074" y="191044"/>
                    <a:pt x="127699" y="189702"/>
                    <a:pt x="126274" y="188360"/>
                  </a:cubicBezTo>
                  <a:cubicBezTo>
                    <a:pt x="123474" y="185677"/>
                    <a:pt x="120623" y="183043"/>
                    <a:pt x="117823" y="180359"/>
                  </a:cubicBezTo>
                  <a:cubicBezTo>
                    <a:pt x="115736" y="177675"/>
                    <a:pt x="113598" y="175041"/>
                    <a:pt x="111510" y="172357"/>
                  </a:cubicBezTo>
                  <a:lnTo>
                    <a:pt x="107285" y="170320"/>
                  </a:lnTo>
                  <a:cubicBezTo>
                    <a:pt x="107998" y="169674"/>
                    <a:pt x="108660" y="168978"/>
                    <a:pt x="109372" y="168332"/>
                  </a:cubicBezTo>
                  <a:cubicBezTo>
                    <a:pt x="111510" y="165002"/>
                    <a:pt x="113598" y="161623"/>
                    <a:pt x="115736" y="158293"/>
                  </a:cubicBezTo>
                  <a:cubicBezTo>
                    <a:pt x="117823" y="151633"/>
                    <a:pt x="119961" y="144924"/>
                    <a:pt x="122048" y="138264"/>
                  </a:cubicBezTo>
                  <a:cubicBezTo>
                    <a:pt x="124848" y="130263"/>
                    <a:pt x="127699" y="122212"/>
                    <a:pt x="130499" y="114210"/>
                  </a:cubicBezTo>
                  <a:lnTo>
                    <a:pt x="128412" y="114210"/>
                  </a:lnTo>
                  <a:cubicBezTo>
                    <a:pt x="129837" y="103525"/>
                    <a:pt x="131212" y="92840"/>
                    <a:pt x="132637" y="82155"/>
                  </a:cubicBezTo>
                  <a:cubicBezTo>
                    <a:pt x="134724" y="70823"/>
                    <a:pt x="136863" y="59442"/>
                    <a:pt x="138950" y="48111"/>
                  </a:cubicBezTo>
                  <a:lnTo>
                    <a:pt x="147401" y="52087"/>
                  </a:lnTo>
                  <a:cubicBezTo>
                    <a:pt x="144601" y="44086"/>
                    <a:pt x="141750" y="36084"/>
                    <a:pt x="138950" y="28083"/>
                  </a:cubicBezTo>
                  <a:cubicBezTo>
                    <a:pt x="136863" y="18739"/>
                    <a:pt x="134724" y="9346"/>
                    <a:pt x="132637" y="3"/>
                  </a:cubicBezTo>
                  <a:lnTo>
                    <a:pt x="160077" y="3"/>
                  </a:lnTo>
                  <a:lnTo>
                    <a:pt x="181203" y="1991"/>
                  </a:lnTo>
                  <a:lnTo>
                    <a:pt x="202330" y="1991"/>
                  </a:lnTo>
                  <a:lnTo>
                    <a:pt x="246722" y="1991"/>
                  </a:lnTo>
                  <a:lnTo>
                    <a:pt x="381883" y="4029"/>
                  </a:lnTo>
                  <a:lnTo>
                    <a:pt x="519182" y="8004"/>
                  </a:lnTo>
                  <a:lnTo>
                    <a:pt x="544534" y="3"/>
                  </a:lnTo>
                  <a:lnTo>
                    <a:pt x="552985" y="3"/>
                  </a:lnTo>
                  <a:lnTo>
                    <a:pt x="616365" y="3"/>
                  </a:lnTo>
                  <a:lnTo>
                    <a:pt x="614786" y="2004"/>
                  </a:lnTo>
                  <a:lnTo>
                    <a:pt x="618470" y="2004"/>
                  </a:lnTo>
                  <a:lnTo>
                    <a:pt x="753103" y="4008"/>
                  </a:lnTo>
                  <a:lnTo>
                    <a:pt x="776243" y="2004"/>
                  </a:lnTo>
                  <a:close/>
                </a:path>
              </a:pathLst>
            </a:custGeom>
            <a:grpFill/>
            <a:ln w="3175" cmpd="sng">
              <a:solidFill>
                <a:schemeClr val="bg1"/>
              </a:solidFill>
              <a:prstDash val="solid"/>
              <a:round/>
              <a:headEnd/>
              <a:tailEnd/>
            </a:ln>
          </p:spPr>
          <p:txBody>
            <a:bodyPr wrap="none" tIns="274320" anchor="t"/>
            <a:lstStyle/>
            <a:p>
              <a:pPr algn="ctr"/>
              <a:r>
                <a:rPr lang="en-US" sz="800" dirty="0">
                  <a:solidFill>
                    <a:prstClr val="black"/>
                  </a:solidFill>
                  <a:latin typeface="Franklin Gothic Book"/>
                  <a:ea typeface="MS PGothic" charset="0"/>
                  <a:cs typeface="MS PGothic" charset="0"/>
                </a:rPr>
                <a:t>North Coast and North State</a:t>
              </a:r>
            </a:p>
          </p:txBody>
        </p:sp>
        <p:sp>
          <p:nvSpPr>
            <p:cNvPr id="19" name="Inland Empire"/>
            <p:cNvSpPr>
              <a:spLocks/>
            </p:cNvSpPr>
            <p:nvPr/>
          </p:nvSpPr>
          <p:spPr bwMode="auto">
            <a:xfrm>
              <a:off x="6277122" y="5866928"/>
              <a:ext cx="2583265" cy="1907778"/>
            </a:xfrm>
            <a:custGeom>
              <a:avLst/>
              <a:gdLst>
                <a:gd name="connsiteX0" fmla="*/ 2326944 w 2583265"/>
                <a:gd name="connsiteY0" fmla="*/ 1385640 h 1907778"/>
                <a:gd name="connsiteX1" fmla="*/ 2292902 w 2583265"/>
                <a:gd name="connsiteY1" fmla="*/ 1384740 h 1907778"/>
                <a:gd name="connsiteX2" fmla="*/ 2292967 w 2583265"/>
                <a:gd name="connsiteY2" fmla="*/ 1384741 h 1907778"/>
                <a:gd name="connsiteX3" fmla="*/ 2326944 w 2583265"/>
                <a:gd name="connsiteY3" fmla="*/ 1385640 h 1907778"/>
                <a:gd name="connsiteX4" fmla="*/ 107206 w 2583265"/>
                <a:gd name="connsiteY4" fmla="*/ 0 h 1907778"/>
                <a:gd name="connsiteX5" fmla="*/ 462921 w 2583265"/>
                <a:gd name="connsiteY5" fmla="*/ 2006 h 1907778"/>
                <a:gd name="connsiteX6" fmla="*/ 816312 w 2583265"/>
                <a:gd name="connsiteY6" fmla="*/ 2006 h 1907778"/>
                <a:gd name="connsiteX7" fmla="*/ 1171769 w 2583265"/>
                <a:gd name="connsiteY7" fmla="*/ 2006 h 1907778"/>
                <a:gd name="connsiteX8" fmla="*/ 1525160 w 2583265"/>
                <a:gd name="connsiteY8" fmla="*/ 6018 h 1907778"/>
                <a:gd name="connsiteX9" fmla="*/ 1874417 w 2583265"/>
                <a:gd name="connsiteY9" fmla="*/ 322653 h 1907778"/>
                <a:gd name="connsiteX10" fmla="*/ 2051113 w 2583265"/>
                <a:gd name="connsiteY10" fmla="*/ 482977 h 1907778"/>
                <a:gd name="connsiteX11" fmla="*/ 2221350 w 2583265"/>
                <a:gd name="connsiteY11" fmla="*/ 645306 h 1907778"/>
                <a:gd name="connsiteX12" fmla="*/ 2223416 w 2583265"/>
                <a:gd name="connsiteY12" fmla="*/ 645306 h 1907778"/>
                <a:gd name="connsiteX13" fmla="*/ 2223416 w 2583265"/>
                <a:gd name="connsiteY13" fmla="*/ 669378 h 1907778"/>
                <a:gd name="connsiteX14" fmla="*/ 2223416 w 2583265"/>
                <a:gd name="connsiteY14" fmla="*/ 699313 h 1907778"/>
                <a:gd name="connsiteX15" fmla="*/ 2223416 w 2583265"/>
                <a:gd name="connsiteY15" fmla="*/ 729402 h 1907778"/>
                <a:gd name="connsiteX16" fmla="*/ 2227808 w 2583265"/>
                <a:gd name="connsiteY16" fmla="*/ 741438 h 1907778"/>
                <a:gd name="connsiteX17" fmla="*/ 2231941 w 2583265"/>
                <a:gd name="connsiteY17" fmla="*/ 749462 h 1907778"/>
                <a:gd name="connsiteX18" fmla="*/ 2238141 w 2583265"/>
                <a:gd name="connsiteY18" fmla="*/ 755480 h 1907778"/>
                <a:gd name="connsiteX19" fmla="*/ 2240466 w 2583265"/>
                <a:gd name="connsiteY19" fmla="*/ 755480 h 1907778"/>
                <a:gd name="connsiteX20" fmla="*/ 2250799 w 2583265"/>
                <a:gd name="connsiteY20" fmla="*/ 761498 h 1907778"/>
                <a:gd name="connsiteX21" fmla="*/ 2259324 w 2583265"/>
                <a:gd name="connsiteY21" fmla="*/ 767516 h 1907778"/>
                <a:gd name="connsiteX22" fmla="*/ 2265524 w 2583265"/>
                <a:gd name="connsiteY22" fmla="*/ 775540 h 1907778"/>
                <a:gd name="connsiteX23" fmla="*/ 2271982 w 2583265"/>
                <a:gd name="connsiteY23" fmla="*/ 785570 h 1907778"/>
                <a:gd name="connsiteX24" fmla="*/ 2274048 w 2583265"/>
                <a:gd name="connsiteY24" fmla="*/ 797605 h 1907778"/>
                <a:gd name="connsiteX25" fmla="*/ 2282573 w 2583265"/>
                <a:gd name="connsiteY25" fmla="*/ 819671 h 1907778"/>
                <a:gd name="connsiteX26" fmla="*/ 2286706 w 2583265"/>
                <a:gd name="connsiteY26" fmla="*/ 829701 h 1907778"/>
                <a:gd name="connsiteX27" fmla="*/ 2294973 w 2583265"/>
                <a:gd name="connsiteY27" fmla="*/ 839731 h 1907778"/>
                <a:gd name="connsiteX28" fmla="*/ 2297298 w 2583265"/>
                <a:gd name="connsiteY28" fmla="*/ 841737 h 1907778"/>
                <a:gd name="connsiteX29" fmla="*/ 2305564 w 2583265"/>
                <a:gd name="connsiteY29" fmla="*/ 845749 h 1907778"/>
                <a:gd name="connsiteX30" fmla="*/ 2309697 w 2583265"/>
                <a:gd name="connsiteY30" fmla="*/ 849606 h 1907778"/>
                <a:gd name="connsiteX31" fmla="*/ 2318222 w 2583265"/>
                <a:gd name="connsiteY31" fmla="*/ 851612 h 1907778"/>
                <a:gd name="connsiteX32" fmla="*/ 2326747 w 2583265"/>
                <a:gd name="connsiteY32" fmla="*/ 857630 h 1907778"/>
                <a:gd name="connsiteX33" fmla="*/ 2335013 w 2583265"/>
                <a:gd name="connsiteY33" fmla="*/ 861642 h 1907778"/>
                <a:gd name="connsiteX34" fmla="*/ 2339147 w 2583265"/>
                <a:gd name="connsiteY34" fmla="*/ 867660 h 1907778"/>
                <a:gd name="connsiteX35" fmla="*/ 2345605 w 2583265"/>
                <a:gd name="connsiteY35" fmla="*/ 881702 h 1907778"/>
                <a:gd name="connsiteX36" fmla="*/ 2347671 w 2583265"/>
                <a:gd name="connsiteY36" fmla="*/ 895744 h 1907778"/>
                <a:gd name="connsiteX37" fmla="*/ 2351805 w 2583265"/>
                <a:gd name="connsiteY37" fmla="*/ 909786 h 1907778"/>
                <a:gd name="connsiteX38" fmla="*/ 2362396 w 2583265"/>
                <a:gd name="connsiteY38" fmla="*/ 929845 h 1907778"/>
                <a:gd name="connsiteX39" fmla="*/ 2372987 w 2583265"/>
                <a:gd name="connsiteY39" fmla="*/ 951911 h 1907778"/>
                <a:gd name="connsiteX40" fmla="*/ 2372987 w 2583265"/>
                <a:gd name="connsiteY40" fmla="*/ 953917 h 1907778"/>
                <a:gd name="connsiteX41" fmla="*/ 2372987 w 2583265"/>
                <a:gd name="connsiteY41" fmla="*/ 957929 h 1907778"/>
                <a:gd name="connsiteX42" fmla="*/ 2368596 w 2583265"/>
                <a:gd name="connsiteY42" fmla="*/ 959935 h 1907778"/>
                <a:gd name="connsiteX43" fmla="*/ 2366529 w 2583265"/>
                <a:gd name="connsiteY43" fmla="*/ 959935 h 1907778"/>
                <a:gd name="connsiteX44" fmla="*/ 2366529 w 2583265"/>
                <a:gd name="connsiteY44" fmla="*/ 961941 h 1907778"/>
                <a:gd name="connsiteX45" fmla="*/ 2372987 w 2583265"/>
                <a:gd name="connsiteY45" fmla="*/ 969965 h 1907778"/>
                <a:gd name="connsiteX46" fmla="*/ 2377121 w 2583265"/>
                <a:gd name="connsiteY46" fmla="*/ 969965 h 1907778"/>
                <a:gd name="connsiteX47" fmla="*/ 2391845 w 2583265"/>
                <a:gd name="connsiteY47" fmla="*/ 990024 h 1907778"/>
                <a:gd name="connsiteX48" fmla="*/ 2398045 w 2583265"/>
                <a:gd name="connsiteY48" fmla="*/ 998048 h 1907778"/>
                <a:gd name="connsiteX49" fmla="*/ 2402437 w 2583265"/>
                <a:gd name="connsiteY49" fmla="*/ 1009930 h 1907778"/>
                <a:gd name="connsiteX50" fmla="*/ 2404503 w 2583265"/>
                <a:gd name="connsiteY50" fmla="*/ 1021966 h 1907778"/>
                <a:gd name="connsiteX51" fmla="*/ 2404503 w 2583265"/>
                <a:gd name="connsiteY51" fmla="*/ 1023972 h 1907778"/>
                <a:gd name="connsiteX52" fmla="*/ 2402437 w 2583265"/>
                <a:gd name="connsiteY52" fmla="*/ 1038013 h 1907778"/>
                <a:gd name="connsiteX53" fmla="*/ 2402437 w 2583265"/>
                <a:gd name="connsiteY53" fmla="*/ 1048043 h 1907778"/>
                <a:gd name="connsiteX54" fmla="*/ 2400370 w 2583265"/>
                <a:gd name="connsiteY54" fmla="*/ 1060079 h 1907778"/>
                <a:gd name="connsiteX55" fmla="*/ 2402437 w 2583265"/>
                <a:gd name="connsiteY55" fmla="*/ 1072115 h 1907778"/>
                <a:gd name="connsiteX56" fmla="*/ 2408636 w 2583265"/>
                <a:gd name="connsiteY56" fmla="*/ 1074121 h 1907778"/>
                <a:gd name="connsiteX57" fmla="*/ 2431886 w 2583265"/>
                <a:gd name="connsiteY57" fmla="*/ 1074121 h 1907778"/>
                <a:gd name="connsiteX58" fmla="*/ 2442219 w 2583265"/>
                <a:gd name="connsiteY58" fmla="*/ 1080139 h 1907778"/>
                <a:gd name="connsiteX59" fmla="*/ 2444544 w 2583265"/>
                <a:gd name="connsiteY59" fmla="*/ 1082145 h 1907778"/>
                <a:gd name="connsiteX60" fmla="*/ 2452810 w 2583265"/>
                <a:gd name="connsiteY60" fmla="*/ 1090169 h 1907778"/>
                <a:gd name="connsiteX61" fmla="*/ 2456944 w 2583265"/>
                <a:gd name="connsiteY61" fmla="*/ 1092175 h 1907778"/>
                <a:gd name="connsiteX62" fmla="*/ 2465468 w 2583265"/>
                <a:gd name="connsiteY62" fmla="*/ 1104211 h 1907778"/>
                <a:gd name="connsiteX63" fmla="*/ 2476060 w 2583265"/>
                <a:gd name="connsiteY63" fmla="*/ 1114240 h 1907778"/>
                <a:gd name="connsiteX64" fmla="*/ 2482260 w 2583265"/>
                <a:gd name="connsiteY64" fmla="*/ 1118252 h 1907778"/>
                <a:gd name="connsiteX65" fmla="*/ 2488718 w 2583265"/>
                <a:gd name="connsiteY65" fmla="*/ 1118252 h 1907778"/>
                <a:gd name="connsiteX66" fmla="*/ 2509642 w 2583265"/>
                <a:gd name="connsiteY66" fmla="*/ 1134300 h 1907778"/>
                <a:gd name="connsiteX67" fmla="*/ 2518167 w 2583265"/>
                <a:gd name="connsiteY67" fmla="*/ 1138312 h 1907778"/>
                <a:gd name="connsiteX68" fmla="*/ 2528500 w 2583265"/>
                <a:gd name="connsiteY68" fmla="*/ 1148342 h 1907778"/>
                <a:gd name="connsiteX69" fmla="*/ 2541158 w 2583265"/>
                <a:gd name="connsiteY69" fmla="*/ 1150348 h 1907778"/>
                <a:gd name="connsiteX70" fmla="*/ 2566474 w 2583265"/>
                <a:gd name="connsiteY70" fmla="*/ 1180283 h 1907778"/>
                <a:gd name="connsiteX71" fmla="*/ 2579132 w 2583265"/>
                <a:gd name="connsiteY71" fmla="*/ 1200343 h 1907778"/>
                <a:gd name="connsiteX72" fmla="*/ 2583265 w 2583265"/>
                <a:gd name="connsiteY72" fmla="*/ 1210373 h 1907778"/>
                <a:gd name="connsiteX73" fmla="*/ 2583265 w 2583265"/>
                <a:gd name="connsiteY73" fmla="*/ 1216391 h 1907778"/>
                <a:gd name="connsiteX74" fmla="*/ 2583265 w 2583265"/>
                <a:gd name="connsiteY74" fmla="*/ 1222409 h 1907778"/>
                <a:gd name="connsiteX75" fmla="*/ 2581199 w 2583265"/>
                <a:gd name="connsiteY75" fmla="*/ 1224415 h 1907778"/>
                <a:gd name="connsiteX76" fmla="*/ 2579132 w 2583265"/>
                <a:gd name="connsiteY76" fmla="*/ 1226421 h 1907778"/>
                <a:gd name="connsiteX77" fmla="*/ 2570607 w 2583265"/>
                <a:gd name="connsiteY77" fmla="*/ 1226421 h 1907778"/>
                <a:gd name="connsiteX78" fmla="*/ 2568541 w 2583265"/>
                <a:gd name="connsiteY78" fmla="*/ 1230432 h 1907778"/>
                <a:gd name="connsiteX79" fmla="*/ 2562341 w 2583265"/>
                <a:gd name="connsiteY79" fmla="*/ 1232438 h 1907778"/>
                <a:gd name="connsiteX80" fmla="*/ 2549683 w 2583265"/>
                <a:gd name="connsiteY80" fmla="*/ 1244474 h 1907778"/>
                <a:gd name="connsiteX81" fmla="*/ 2534958 w 2583265"/>
                <a:gd name="connsiteY81" fmla="*/ 1256510 h 1907778"/>
                <a:gd name="connsiteX82" fmla="*/ 2509642 w 2583265"/>
                <a:gd name="connsiteY82" fmla="*/ 1286600 h 1907778"/>
                <a:gd name="connsiteX83" fmla="*/ 2494918 w 2583265"/>
                <a:gd name="connsiteY83" fmla="*/ 1300641 h 1907778"/>
                <a:gd name="connsiteX84" fmla="*/ 2476060 w 2583265"/>
                <a:gd name="connsiteY84" fmla="*/ 1304653 h 1907778"/>
                <a:gd name="connsiteX85" fmla="*/ 2465468 w 2583265"/>
                <a:gd name="connsiteY85" fmla="*/ 1310671 h 1907778"/>
                <a:gd name="connsiteX86" fmla="*/ 2454877 w 2583265"/>
                <a:gd name="connsiteY86" fmla="*/ 1316535 h 1907778"/>
                <a:gd name="connsiteX87" fmla="*/ 2436019 w 2583265"/>
                <a:gd name="connsiteY87" fmla="*/ 1332583 h 1907778"/>
                <a:gd name="connsiteX88" fmla="*/ 2412770 w 2583265"/>
                <a:gd name="connsiteY88" fmla="*/ 1342613 h 1907778"/>
                <a:gd name="connsiteX89" fmla="*/ 2389779 w 2583265"/>
                <a:gd name="connsiteY89" fmla="*/ 1356654 h 1907778"/>
                <a:gd name="connsiteX90" fmla="*/ 2381254 w 2583265"/>
                <a:gd name="connsiteY90" fmla="*/ 1364678 h 1907778"/>
                <a:gd name="connsiteX91" fmla="*/ 2377121 w 2583265"/>
                <a:gd name="connsiteY91" fmla="*/ 1368690 h 1907778"/>
                <a:gd name="connsiteX92" fmla="*/ 2370921 w 2583265"/>
                <a:gd name="connsiteY92" fmla="*/ 1376714 h 1907778"/>
                <a:gd name="connsiteX93" fmla="*/ 2368597 w 2583265"/>
                <a:gd name="connsiteY93" fmla="*/ 1386743 h 1907778"/>
                <a:gd name="connsiteX94" fmla="*/ 2368698 w 2583265"/>
                <a:gd name="connsiteY94" fmla="*/ 1386745 h 1907778"/>
                <a:gd name="connsiteX95" fmla="*/ 2368698 w 2583265"/>
                <a:gd name="connsiteY95" fmla="*/ 1398769 h 1907778"/>
                <a:gd name="connsiteX96" fmla="*/ 2366595 w 2583265"/>
                <a:gd name="connsiteY96" fmla="*/ 1408789 h 1907778"/>
                <a:gd name="connsiteX97" fmla="*/ 2360284 w 2583265"/>
                <a:gd name="connsiteY97" fmla="*/ 1418809 h 1907778"/>
                <a:gd name="connsiteX98" fmla="*/ 2356076 w 2583265"/>
                <a:gd name="connsiteY98" fmla="*/ 1428829 h 1907778"/>
                <a:gd name="connsiteX99" fmla="*/ 2339247 w 2583265"/>
                <a:gd name="connsiteY99" fmla="*/ 1446864 h 1907778"/>
                <a:gd name="connsiteX100" fmla="*/ 2320315 w 2583265"/>
                <a:gd name="connsiteY100" fmla="*/ 1462896 h 1907778"/>
                <a:gd name="connsiteX101" fmla="*/ 2309796 w 2583265"/>
                <a:gd name="connsiteY101" fmla="*/ 1466904 h 1907778"/>
                <a:gd name="connsiteX102" fmla="*/ 2303486 w 2583265"/>
                <a:gd name="connsiteY102" fmla="*/ 1476924 h 1907778"/>
                <a:gd name="connsiteX103" fmla="*/ 2299278 w 2583265"/>
                <a:gd name="connsiteY103" fmla="*/ 1478928 h 1907778"/>
                <a:gd name="connsiteX104" fmla="*/ 2297175 w 2583265"/>
                <a:gd name="connsiteY104" fmla="*/ 1484940 h 1907778"/>
                <a:gd name="connsiteX105" fmla="*/ 2299278 w 2583265"/>
                <a:gd name="connsiteY105" fmla="*/ 1488948 h 1907778"/>
                <a:gd name="connsiteX106" fmla="*/ 2305589 w 2583265"/>
                <a:gd name="connsiteY106" fmla="*/ 1494959 h 1907778"/>
                <a:gd name="connsiteX107" fmla="*/ 2309796 w 2583265"/>
                <a:gd name="connsiteY107" fmla="*/ 1498967 h 1907778"/>
                <a:gd name="connsiteX108" fmla="*/ 2314004 w 2583265"/>
                <a:gd name="connsiteY108" fmla="*/ 1502975 h 1907778"/>
                <a:gd name="connsiteX109" fmla="*/ 2314004 w 2583265"/>
                <a:gd name="connsiteY109" fmla="*/ 1506983 h 1907778"/>
                <a:gd name="connsiteX110" fmla="*/ 2314004 w 2583265"/>
                <a:gd name="connsiteY110" fmla="*/ 1508987 h 1907778"/>
                <a:gd name="connsiteX111" fmla="*/ 2309796 w 2583265"/>
                <a:gd name="connsiteY111" fmla="*/ 1514999 h 1907778"/>
                <a:gd name="connsiteX112" fmla="*/ 2309796 w 2583265"/>
                <a:gd name="connsiteY112" fmla="*/ 1517003 h 1907778"/>
                <a:gd name="connsiteX113" fmla="*/ 2314004 w 2583265"/>
                <a:gd name="connsiteY113" fmla="*/ 1523015 h 1907778"/>
                <a:gd name="connsiteX114" fmla="*/ 2316107 w 2583265"/>
                <a:gd name="connsiteY114" fmla="*/ 1527023 h 1907778"/>
                <a:gd name="connsiteX115" fmla="*/ 2316107 w 2583265"/>
                <a:gd name="connsiteY115" fmla="*/ 1533035 h 1907778"/>
                <a:gd name="connsiteX116" fmla="*/ 2314004 w 2583265"/>
                <a:gd name="connsiteY116" fmla="*/ 1537043 h 1907778"/>
                <a:gd name="connsiteX117" fmla="*/ 2305589 w 2583265"/>
                <a:gd name="connsiteY117" fmla="*/ 1545059 h 1907778"/>
                <a:gd name="connsiteX118" fmla="*/ 2303486 w 2583265"/>
                <a:gd name="connsiteY118" fmla="*/ 1549067 h 1907778"/>
                <a:gd name="connsiteX119" fmla="*/ 2303486 w 2583265"/>
                <a:gd name="connsiteY119" fmla="*/ 1563095 h 1907778"/>
                <a:gd name="connsiteX120" fmla="*/ 2305589 w 2583265"/>
                <a:gd name="connsiteY120" fmla="*/ 1577122 h 1907778"/>
                <a:gd name="connsiteX121" fmla="*/ 2307693 w 2583265"/>
                <a:gd name="connsiteY121" fmla="*/ 1617202 h 1907778"/>
                <a:gd name="connsiteX122" fmla="*/ 2307693 w 2583265"/>
                <a:gd name="connsiteY122" fmla="*/ 1641250 h 1907778"/>
                <a:gd name="connsiteX123" fmla="*/ 2309796 w 2583265"/>
                <a:gd name="connsiteY123" fmla="*/ 1651269 h 1907778"/>
                <a:gd name="connsiteX124" fmla="*/ 2314004 w 2583265"/>
                <a:gd name="connsiteY124" fmla="*/ 1657281 h 1907778"/>
                <a:gd name="connsiteX125" fmla="*/ 2318211 w 2583265"/>
                <a:gd name="connsiteY125" fmla="*/ 1667301 h 1907778"/>
                <a:gd name="connsiteX126" fmla="*/ 2318211 w 2583265"/>
                <a:gd name="connsiteY126" fmla="*/ 1671309 h 1907778"/>
                <a:gd name="connsiteX127" fmla="*/ 2309796 w 2583265"/>
                <a:gd name="connsiteY127" fmla="*/ 1685337 h 1907778"/>
                <a:gd name="connsiteX128" fmla="*/ 2307693 w 2583265"/>
                <a:gd name="connsiteY128" fmla="*/ 1689345 h 1907778"/>
                <a:gd name="connsiteX129" fmla="*/ 2303486 w 2583265"/>
                <a:gd name="connsiteY129" fmla="*/ 1691349 h 1907778"/>
                <a:gd name="connsiteX130" fmla="*/ 2295071 w 2583265"/>
                <a:gd name="connsiteY130" fmla="*/ 1695357 h 1907778"/>
                <a:gd name="connsiteX131" fmla="*/ 2292967 w 2583265"/>
                <a:gd name="connsiteY131" fmla="*/ 1699365 h 1907778"/>
                <a:gd name="connsiteX132" fmla="*/ 2295071 w 2583265"/>
                <a:gd name="connsiteY132" fmla="*/ 1707381 h 1907778"/>
                <a:gd name="connsiteX133" fmla="*/ 2297175 w 2583265"/>
                <a:gd name="connsiteY133" fmla="*/ 1717401 h 1907778"/>
                <a:gd name="connsiteX134" fmla="*/ 2295071 w 2583265"/>
                <a:gd name="connsiteY134" fmla="*/ 1717401 h 1907778"/>
                <a:gd name="connsiteX135" fmla="*/ 2292967 w 2583265"/>
                <a:gd name="connsiteY135" fmla="*/ 1749464 h 1907778"/>
                <a:gd name="connsiteX136" fmla="*/ 2286656 w 2583265"/>
                <a:gd name="connsiteY136" fmla="*/ 1781528 h 1907778"/>
                <a:gd name="connsiteX137" fmla="*/ 2286656 w 2583265"/>
                <a:gd name="connsiteY137" fmla="*/ 1783532 h 1907778"/>
                <a:gd name="connsiteX138" fmla="*/ 2288760 w 2583265"/>
                <a:gd name="connsiteY138" fmla="*/ 1789544 h 1907778"/>
                <a:gd name="connsiteX139" fmla="*/ 2292967 w 2583265"/>
                <a:gd name="connsiteY139" fmla="*/ 1791548 h 1907778"/>
                <a:gd name="connsiteX140" fmla="*/ 2295071 w 2583265"/>
                <a:gd name="connsiteY140" fmla="*/ 1793552 h 1907778"/>
                <a:gd name="connsiteX141" fmla="*/ 2295071 w 2583265"/>
                <a:gd name="connsiteY141" fmla="*/ 1799563 h 1907778"/>
                <a:gd name="connsiteX142" fmla="*/ 2288760 w 2583265"/>
                <a:gd name="connsiteY142" fmla="*/ 1801567 h 1907778"/>
                <a:gd name="connsiteX143" fmla="*/ 2282449 w 2583265"/>
                <a:gd name="connsiteY143" fmla="*/ 1811587 h 1907778"/>
                <a:gd name="connsiteX144" fmla="*/ 2276138 w 2583265"/>
                <a:gd name="connsiteY144" fmla="*/ 1817599 h 1907778"/>
                <a:gd name="connsiteX145" fmla="*/ 2267724 w 2583265"/>
                <a:gd name="connsiteY145" fmla="*/ 1827619 h 1907778"/>
                <a:gd name="connsiteX146" fmla="*/ 2261413 w 2583265"/>
                <a:gd name="connsiteY146" fmla="*/ 1839643 h 1907778"/>
                <a:gd name="connsiteX147" fmla="*/ 2248791 w 2583265"/>
                <a:gd name="connsiteY147" fmla="*/ 1859683 h 1907778"/>
                <a:gd name="connsiteX148" fmla="*/ 2231962 w 2583265"/>
                <a:gd name="connsiteY148" fmla="*/ 1879722 h 1907778"/>
                <a:gd name="connsiteX149" fmla="*/ 2223547 w 2583265"/>
                <a:gd name="connsiteY149" fmla="*/ 1901766 h 1907778"/>
                <a:gd name="connsiteX150" fmla="*/ 2221444 w 2583265"/>
                <a:gd name="connsiteY150" fmla="*/ 1903770 h 1907778"/>
                <a:gd name="connsiteX151" fmla="*/ 2095226 w 2583265"/>
                <a:gd name="connsiteY151" fmla="*/ 1901766 h 1907778"/>
                <a:gd name="connsiteX152" fmla="*/ 1969007 w 2583265"/>
                <a:gd name="connsiteY152" fmla="*/ 1901766 h 1907778"/>
                <a:gd name="connsiteX153" fmla="*/ 1714467 w 2583265"/>
                <a:gd name="connsiteY153" fmla="*/ 1901766 h 1907778"/>
                <a:gd name="connsiteX154" fmla="*/ 1459927 w 2583265"/>
                <a:gd name="connsiteY154" fmla="*/ 1907778 h 1907778"/>
                <a:gd name="connsiteX155" fmla="*/ 1205387 w 2583265"/>
                <a:gd name="connsiteY155" fmla="*/ 1907778 h 1907778"/>
                <a:gd name="connsiteX156" fmla="*/ 708929 w 2583265"/>
                <a:gd name="connsiteY156" fmla="*/ 1907778 h 1907778"/>
                <a:gd name="connsiteX157" fmla="*/ 614265 w 2583265"/>
                <a:gd name="connsiteY157" fmla="*/ 1903770 h 1907778"/>
                <a:gd name="connsiteX158" fmla="*/ 528016 w 2583265"/>
                <a:gd name="connsiteY158" fmla="*/ 1901766 h 1907778"/>
                <a:gd name="connsiteX159" fmla="*/ 496462 w 2583265"/>
                <a:gd name="connsiteY159" fmla="*/ 1901766 h 1907778"/>
                <a:gd name="connsiteX160" fmla="*/ 460700 w 2583265"/>
                <a:gd name="connsiteY160" fmla="*/ 1907778 h 1907778"/>
                <a:gd name="connsiteX161" fmla="*/ 424938 w 2583265"/>
                <a:gd name="connsiteY161" fmla="*/ 1907778 h 1907778"/>
                <a:gd name="connsiteX162" fmla="*/ 408109 w 2583265"/>
                <a:gd name="connsiteY162" fmla="*/ 1903770 h 1907778"/>
                <a:gd name="connsiteX163" fmla="*/ 393383 w 2583265"/>
                <a:gd name="connsiteY163" fmla="*/ 1901766 h 1907778"/>
                <a:gd name="connsiteX164" fmla="*/ 393383 w 2583265"/>
                <a:gd name="connsiteY164" fmla="*/ 1899762 h 1907778"/>
                <a:gd name="connsiteX165" fmla="*/ 393383 w 2583265"/>
                <a:gd name="connsiteY165" fmla="*/ 1897758 h 1907778"/>
                <a:gd name="connsiteX166" fmla="*/ 393383 w 2583265"/>
                <a:gd name="connsiteY166" fmla="*/ 1893750 h 1907778"/>
                <a:gd name="connsiteX167" fmla="*/ 391280 w 2583265"/>
                <a:gd name="connsiteY167" fmla="*/ 1891746 h 1907778"/>
                <a:gd name="connsiteX168" fmla="*/ 361829 w 2583265"/>
                <a:gd name="connsiteY168" fmla="*/ 1879722 h 1907778"/>
                <a:gd name="connsiteX169" fmla="*/ 302927 w 2583265"/>
                <a:gd name="connsiteY169" fmla="*/ 1853671 h 1907778"/>
                <a:gd name="connsiteX170" fmla="*/ 305031 w 2583265"/>
                <a:gd name="connsiteY170" fmla="*/ 1839643 h 1907778"/>
                <a:gd name="connsiteX171" fmla="*/ 201953 w 2583265"/>
                <a:gd name="connsiteY171" fmla="*/ 1841647 h 1907778"/>
                <a:gd name="connsiteX172" fmla="*/ 201953 w 2583265"/>
                <a:gd name="connsiteY172" fmla="*/ 1827619 h 1907778"/>
                <a:gd name="connsiteX173" fmla="*/ 206160 w 2583265"/>
                <a:gd name="connsiteY173" fmla="*/ 1813591 h 1907778"/>
                <a:gd name="connsiteX174" fmla="*/ 210367 w 2583265"/>
                <a:gd name="connsiteY174" fmla="*/ 1799563 h 1907778"/>
                <a:gd name="connsiteX175" fmla="*/ 220885 w 2583265"/>
                <a:gd name="connsiteY175" fmla="*/ 1783532 h 1907778"/>
                <a:gd name="connsiteX176" fmla="*/ 241922 w 2583265"/>
                <a:gd name="connsiteY176" fmla="*/ 1757480 h 1907778"/>
                <a:gd name="connsiteX177" fmla="*/ 260854 w 2583265"/>
                <a:gd name="connsiteY177" fmla="*/ 1735436 h 1907778"/>
                <a:gd name="connsiteX178" fmla="*/ 265062 w 2583265"/>
                <a:gd name="connsiteY178" fmla="*/ 1727420 h 1907778"/>
                <a:gd name="connsiteX179" fmla="*/ 265062 w 2583265"/>
                <a:gd name="connsiteY179" fmla="*/ 1717401 h 1907778"/>
                <a:gd name="connsiteX180" fmla="*/ 260854 w 2583265"/>
                <a:gd name="connsiteY180" fmla="*/ 1707381 h 1907778"/>
                <a:gd name="connsiteX181" fmla="*/ 252440 w 2583265"/>
                <a:gd name="connsiteY181" fmla="*/ 1699365 h 1907778"/>
                <a:gd name="connsiteX182" fmla="*/ 244025 w 2583265"/>
                <a:gd name="connsiteY182" fmla="*/ 1691349 h 1907778"/>
                <a:gd name="connsiteX183" fmla="*/ 233507 w 2583265"/>
                <a:gd name="connsiteY183" fmla="*/ 1687341 h 1907778"/>
                <a:gd name="connsiteX184" fmla="*/ 222989 w 2583265"/>
                <a:gd name="connsiteY184" fmla="*/ 1681329 h 1907778"/>
                <a:gd name="connsiteX185" fmla="*/ 210367 w 2583265"/>
                <a:gd name="connsiteY185" fmla="*/ 1679325 h 1907778"/>
                <a:gd name="connsiteX186" fmla="*/ 195642 w 2583265"/>
                <a:gd name="connsiteY186" fmla="*/ 1679325 h 1907778"/>
                <a:gd name="connsiteX187" fmla="*/ 189331 w 2583265"/>
                <a:gd name="connsiteY187" fmla="*/ 1677321 h 1907778"/>
                <a:gd name="connsiteX188" fmla="*/ 187227 w 2583265"/>
                <a:gd name="connsiteY188" fmla="*/ 1675317 h 1907778"/>
                <a:gd name="connsiteX189" fmla="*/ 187227 w 2583265"/>
                <a:gd name="connsiteY189" fmla="*/ 1665297 h 1907778"/>
                <a:gd name="connsiteX190" fmla="*/ 187227 w 2583265"/>
                <a:gd name="connsiteY190" fmla="*/ 1647261 h 1907778"/>
                <a:gd name="connsiteX191" fmla="*/ 185123 w 2583265"/>
                <a:gd name="connsiteY191" fmla="*/ 1641250 h 1907778"/>
                <a:gd name="connsiteX192" fmla="*/ 180916 w 2583265"/>
                <a:gd name="connsiteY192" fmla="*/ 1641250 h 1907778"/>
                <a:gd name="connsiteX193" fmla="*/ 174605 w 2583265"/>
                <a:gd name="connsiteY193" fmla="*/ 1639246 h 1907778"/>
                <a:gd name="connsiteX194" fmla="*/ 166191 w 2583265"/>
                <a:gd name="connsiteY194" fmla="*/ 1637242 h 1907778"/>
                <a:gd name="connsiteX195" fmla="*/ 157776 w 2583265"/>
                <a:gd name="connsiteY195" fmla="*/ 1631230 h 1907778"/>
                <a:gd name="connsiteX196" fmla="*/ 85470 w 2583265"/>
                <a:gd name="connsiteY196" fmla="*/ 1544637 h 1907778"/>
                <a:gd name="connsiteX197" fmla="*/ 82642 w 2583265"/>
                <a:gd name="connsiteY197" fmla="*/ 1541855 h 1907778"/>
                <a:gd name="connsiteX198" fmla="*/ 84142 w 2583265"/>
                <a:gd name="connsiteY198" fmla="*/ 1543000 h 1907778"/>
                <a:gd name="connsiteX199" fmla="*/ 83972 w 2583265"/>
                <a:gd name="connsiteY199" fmla="*/ 1541535 h 1907778"/>
                <a:gd name="connsiteX200" fmla="*/ 82642 w 2583265"/>
                <a:gd name="connsiteY200" fmla="*/ 1541855 h 1907778"/>
                <a:gd name="connsiteX201" fmla="*/ 10592 w 2583265"/>
                <a:gd name="connsiteY201" fmla="*/ 1486888 h 1907778"/>
                <a:gd name="connsiteX202" fmla="*/ 6200 w 2583265"/>
                <a:gd name="connsiteY202" fmla="*/ 1476858 h 1907778"/>
                <a:gd name="connsiteX203" fmla="*/ 2067 w 2583265"/>
                <a:gd name="connsiteY203" fmla="*/ 1468834 h 1907778"/>
                <a:gd name="connsiteX204" fmla="*/ 0 w 2583265"/>
                <a:gd name="connsiteY204" fmla="*/ 1464977 h 1907778"/>
                <a:gd name="connsiteX205" fmla="*/ 2067 w 2583265"/>
                <a:gd name="connsiteY205" fmla="*/ 1458959 h 1907778"/>
                <a:gd name="connsiteX206" fmla="*/ 10592 w 2583265"/>
                <a:gd name="connsiteY206" fmla="*/ 1448929 h 1907778"/>
                <a:gd name="connsiteX207" fmla="*/ 20925 w 2583265"/>
                <a:gd name="connsiteY207" fmla="*/ 1436893 h 1907778"/>
                <a:gd name="connsiteX208" fmla="*/ 27383 w 2583265"/>
                <a:gd name="connsiteY208" fmla="*/ 1432881 h 1907778"/>
                <a:gd name="connsiteX209" fmla="*/ 31516 w 2583265"/>
                <a:gd name="connsiteY209" fmla="*/ 1432881 h 1907778"/>
                <a:gd name="connsiteX210" fmla="*/ 33583 w 2583265"/>
                <a:gd name="connsiteY210" fmla="*/ 1432881 h 1907778"/>
                <a:gd name="connsiteX211" fmla="*/ 40041 w 2583265"/>
                <a:gd name="connsiteY211" fmla="*/ 1432881 h 1907778"/>
                <a:gd name="connsiteX212" fmla="*/ 48307 w 2583265"/>
                <a:gd name="connsiteY212" fmla="*/ 1424857 h 1907778"/>
                <a:gd name="connsiteX213" fmla="*/ 54765 w 2583265"/>
                <a:gd name="connsiteY213" fmla="*/ 1408810 h 1907778"/>
                <a:gd name="connsiteX214" fmla="*/ 71557 w 2583265"/>
                <a:gd name="connsiteY214" fmla="*/ 1366684 h 1907778"/>
                <a:gd name="connsiteX215" fmla="*/ 84215 w 2583265"/>
                <a:gd name="connsiteY215" fmla="*/ 1322553 h 1907778"/>
                <a:gd name="connsiteX216" fmla="*/ 101006 w 2583265"/>
                <a:gd name="connsiteY216" fmla="*/ 1270552 h 1907778"/>
                <a:gd name="connsiteX217" fmla="*/ 107206 w 2583265"/>
                <a:gd name="connsiteY217" fmla="*/ 1242468 h 1907778"/>
                <a:gd name="connsiteX218" fmla="*/ 111597 w 2583265"/>
                <a:gd name="connsiteY218" fmla="*/ 1226421 h 1907778"/>
                <a:gd name="connsiteX219" fmla="*/ 111597 w 2583265"/>
                <a:gd name="connsiteY219" fmla="*/ 1214385 h 1907778"/>
                <a:gd name="connsiteX220" fmla="*/ 101006 w 2583265"/>
                <a:gd name="connsiteY220" fmla="*/ 1000054 h 1907778"/>
                <a:gd name="connsiteX221" fmla="*/ 94548 w 2583265"/>
                <a:gd name="connsiteY221" fmla="*/ 895744 h 1907778"/>
                <a:gd name="connsiteX222" fmla="*/ 92481 w 2583265"/>
                <a:gd name="connsiteY222" fmla="*/ 785570 h 1907778"/>
                <a:gd name="connsiteX223" fmla="*/ 101006 w 2583265"/>
                <a:gd name="connsiteY223" fmla="*/ 785570 h 1907778"/>
                <a:gd name="connsiteX224" fmla="*/ 107206 w 2583265"/>
                <a:gd name="connsiteY224" fmla="*/ 785570 h 1907778"/>
                <a:gd name="connsiteX225" fmla="*/ 111597 w 2583265"/>
                <a:gd name="connsiteY225" fmla="*/ 781558 h 1907778"/>
                <a:gd name="connsiteX226" fmla="*/ 113664 w 2583265"/>
                <a:gd name="connsiteY226" fmla="*/ 777546 h 1907778"/>
                <a:gd name="connsiteX227" fmla="*/ 113664 w 2583265"/>
                <a:gd name="connsiteY227" fmla="*/ 765510 h 1907778"/>
                <a:gd name="connsiteX228" fmla="*/ 111597 w 2583265"/>
                <a:gd name="connsiteY228" fmla="*/ 749462 h 1907778"/>
                <a:gd name="connsiteX229" fmla="*/ 111597 w 2583265"/>
                <a:gd name="connsiteY229" fmla="*/ 663360 h 1907778"/>
                <a:gd name="connsiteX230" fmla="*/ 107206 w 2583265"/>
                <a:gd name="connsiteY230" fmla="*/ 563061 h 1907778"/>
                <a:gd name="connsiteX231" fmla="*/ 117797 w 2583265"/>
                <a:gd name="connsiteY231" fmla="*/ 565067 h 1907778"/>
                <a:gd name="connsiteX232" fmla="*/ 117797 w 2583265"/>
                <a:gd name="connsiteY232" fmla="*/ 482977 h 1907778"/>
                <a:gd name="connsiteX233" fmla="*/ 117797 w 2583265"/>
                <a:gd name="connsiteY233" fmla="*/ 400732 h 1907778"/>
                <a:gd name="connsiteX234" fmla="*/ 115731 w 2583265"/>
                <a:gd name="connsiteY234" fmla="*/ 234390 h 1907778"/>
                <a:gd name="connsiteX235" fmla="*/ 113664 w 2583265"/>
                <a:gd name="connsiteY235" fmla="*/ 180383 h 1907778"/>
                <a:gd name="connsiteX236" fmla="*/ 113664 w 2583265"/>
                <a:gd name="connsiteY236" fmla="*/ 122210 h 1907778"/>
                <a:gd name="connsiteX237" fmla="*/ 113664 w 2583265"/>
                <a:gd name="connsiteY237" fmla="*/ 118198 h 1907778"/>
                <a:gd name="connsiteX238" fmla="*/ 117797 w 2583265"/>
                <a:gd name="connsiteY238" fmla="*/ 114186 h 1907778"/>
                <a:gd name="connsiteX239" fmla="*/ 121930 w 2583265"/>
                <a:gd name="connsiteY239" fmla="*/ 114186 h 1907778"/>
                <a:gd name="connsiteX240" fmla="*/ 123997 w 2583265"/>
                <a:gd name="connsiteY240" fmla="*/ 108168 h 1907778"/>
                <a:gd name="connsiteX241" fmla="*/ 121930 w 2583265"/>
                <a:gd name="connsiteY241" fmla="*/ 102151 h 1907778"/>
                <a:gd name="connsiteX242" fmla="*/ 117797 w 2583265"/>
                <a:gd name="connsiteY242" fmla="*/ 100145 h 1907778"/>
                <a:gd name="connsiteX243" fmla="*/ 107206 w 2583265"/>
                <a:gd name="connsiteY243" fmla="*/ 100145 h 1907778"/>
                <a:gd name="connsiteX244" fmla="*/ 96873 w 2583265"/>
                <a:gd name="connsiteY244" fmla="*/ 102151 h 1907778"/>
                <a:gd name="connsiteX245" fmla="*/ 92481 w 2583265"/>
                <a:gd name="connsiteY245" fmla="*/ 100145 h 1907778"/>
                <a:gd name="connsiteX246" fmla="*/ 92481 w 2583265"/>
                <a:gd name="connsiteY246" fmla="*/ 98139 h 1907778"/>
                <a:gd name="connsiteX247" fmla="*/ 90415 w 2583265"/>
                <a:gd name="connsiteY247" fmla="*/ 86103 h 1907778"/>
                <a:gd name="connsiteX248" fmla="*/ 90415 w 2583265"/>
                <a:gd name="connsiteY248" fmla="*/ 80085 h 1907778"/>
                <a:gd name="connsiteX249" fmla="*/ 94548 w 2583265"/>
                <a:gd name="connsiteY249" fmla="*/ 76227 h 1907778"/>
                <a:gd name="connsiteX250" fmla="*/ 105139 w 2583265"/>
                <a:gd name="connsiteY250" fmla="*/ 76227 h 1907778"/>
                <a:gd name="connsiteX251" fmla="*/ 107206 w 2583265"/>
                <a:gd name="connsiteY251" fmla="*/ 72215 h 1907778"/>
                <a:gd name="connsiteX252" fmla="*/ 111597 w 2583265"/>
                <a:gd name="connsiteY252" fmla="*/ 66197 h 1907778"/>
                <a:gd name="connsiteX253" fmla="*/ 111597 w 2583265"/>
                <a:gd name="connsiteY253" fmla="*/ 40120 h 1907778"/>
                <a:gd name="connsiteX254" fmla="*/ 107206 w 2583265"/>
                <a:gd name="connsiteY254" fmla="*/ 0 h 1907778"/>
                <a:gd name="connsiteX0" fmla="*/ 2292967 w 2583265"/>
                <a:gd name="connsiteY0" fmla="*/ 1384741 h 1907778"/>
                <a:gd name="connsiteX1" fmla="*/ 2292902 w 2583265"/>
                <a:gd name="connsiteY1" fmla="*/ 1384740 h 1907778"/>
                <a:gd name="connsiteX2" fmla="*/ 2292967 w 2583265"/>
                <a:gd name="connsiteY2" fmla="*/ 1384741 h 1907778"/>
                <a:gd name="connsiteX3" fmla="*/ 107206 w 2583265"/>
                <a:gd name="connsiteY3" fmla="*/ 0 h 1907778"/>
                <a:gd name="connsiteX4" fmla="*/ 462921 w 2583265"/>
                <a:gd name="connsiteY4" fmla="*/ 2006 h 1907778"/>
                <a:gd name="connsiteX5" fmla="*/ 816312 w 2583265"/>
                <a:gd name="connsiteY5" fmla="*/ 2006 h 1907778"/>
                <a:gd name="connsiteX6" fmla="*/ 1171769 w 2583265"/>
                <a:gd name="connsiteY6" fmla="*/ 2006 h 1907778"/>
                <a:gd name="connsiteX7" fmla="*/ 1525160 w 2583265"/>
                <a:gd name="connsiteY7" fmla="*/ 6018 h 1907778"/>
                <a:gd name="connsiteX8" fmla="*/ 1874417 w 2583265"/>
                <a:gd name="connsiteY8" fmla="*/ 322653 h 1907778"/>
                <a:gd name="connsiteX9" fmla="*/ 2051113 w 2583265"/>
                <a:gd name="connsiteY9" fmla="*/ 482977 h 1907778"/>
                <a:gd name="connsiteX10" fmla="*/ 2221350 w 2583265"/>
                <a:gd name="connsiteY10" fmla="*/ 645306 h 1907778"/>
                <a:gd name="connsiteX11" fmla="*/ 2223416 w 2583265"/>
                <a:gd name="connsiteY11" fmla="*/ 645306 h 1907778"/>
                <a:gd name="connsiteX12" fmla="*/ 2223416 w 2583265"/>
                <a:gd name="connsiteY12" fmla="*/ 669378 h 1907778"/>
                <a:gd name="connsiteX13" fmla="*/ 2223416 w 2583265"/>
                <a:gd name="connsiteY13" fmla="*/ 699313 h 1907778"/>
                <a:gd name="connsiteX14" fmla="*/ 2223416 w 2583265"/>
                <a:gd name="connsiteY14" fmla="*/ 729402 h 1907778"/>
                <a:gd name="connsiteX15" fmla="*/ 2227808 w 2583265"/>
                <a:gd name="connsiteY15" fmla="*/ 741438 h 1907778"/>
                <a:gd name="connsiteX16" fmla="*/ 2231941 w 2583265"/>
                <a:gd name="connsiteY16" fmla="*/ 749462 h 1907778"/>
                <a:gd name="connsiteX17" fmla="*/ 2238141 w 2583265"/>
                <a:gd name="connsiteY17" fmla="*/ 755480 h 1907778"/>
                <a:gd name="connsiteX18" fmla="*/ 2240466 w 2583265"/>
                <a:gd name="connsiteY18" fmla="*/ 755480 h 1907778"/>
                <a:gd name="connsiteX19" fmla="*/ 2250799 w 2583265"/>
                <a:gd name="connsiteY19" fmla="*/ 761498 h 1907778"/>
                <a:gd name="connsiteX20" fmla="*/ 2259324 w 2583265"/>
                <a:gd name="connsiteY20" fmla="*/ 767516 h 1907778"/>
                <a:gd name="connsiteX21" fmla="*/ 2265524 w 2583265"/>
                <a:gd name="connsiteY21" fmla="*/ 775540 h 1907778"/>
                <a:gd name="connsiteX22" fmla="*/ 2271982 w 2583265"/>
                <a:gd name="connsiteY22" fmla="*/ 785570 h 1907778"/>
                <a:gd name="connsiteX23" fmla="*/ 2274048 w 2583265"/>
                <a:gd name="connsiteY23" fmla="*/ 797605 h 1907778"/>
                <a:gd name="connsiteX24" fmla="*/ 2282573 w 2583265"/>
                <a:gd name="connsiteY24" fmla="*/ 819671 h 1907778"/>
                <a:gd name="connsiteX25" fmla="*/ 2286706 w 2583265"/>
                <a:gd name="connsiteY25" fmla="*/ 829701 h 1907778"/>
                <a:gd name="connsiteX26" fmla="*/ 2294973 w 2583265"/>
                <a:gd name="connsiteY26" fmla="*/ 839731 h 1907778"/>
                <a:gd name="connsiteX27" fmla="*/ 2297298 w 2583265"/>
                <a:gd name="connsiteY27" fmla="*/ 841737 h 1907778"/>
                <a:gd name="connsiteX28" fmla="*/ 2305564 w 2583265"/>
                <a:gd name="connsiteY28" fmla="*/ 845749 h 1907778"/>
                <a:gd name="connsiteX29" fmla="*/ 2309697 w 2583265"/>
                <a:gd name="connsiteY29" fmla="*/ 849606 h 1907778"/>
                <a:gd name="connsiteX30" fmla="*/ 2318222 w 2583265"/>
                <a:gd name="connsiteY30" fmla="*/ 851612 h 1907778"/>
                <a:gd name="connsiteX31" fmla="*/ 2326747 w 2583265"/>
                <a:gd name="connsiteY31" fmla="*/ 857630 h 1907778"/>
                <a:gd name="connsiteX32" fmla="*/ 2335013 w 2583265"/>
                <a:gd name="connsiteY32" fmla="*/ 861642 h 1907778"/>
                <a:gd name="connsiteX33" fmla="*/ 2339147 w 2583265"/>
                <a:gd name="connsiteY33" fmla="*/ 867660 h 1907778"/>
                <a:gd name="connsiteX34" fmla="*/ 2345605 w 2583265"/>
                <a:gd name="connsiteY34" fmla="*/ 881702 h 1907778"/>
                <a:gd name="connsiteX35" fmla="*/ 2347671 w 2583265"/>
                <a:gd name="connsiteY35" fmla="*/ 895744 h 1907778"/>
                <a:gd name="connsiteX36" fmla="*/ 2351805 w 2583265"/>
                <a:gd name="connsiteY36" fmla="*/ 909786 h 1907778"/>
                <a:gd name="connsiteX37" fmla="*/ 2362396 w 2583265"/>
                <a:gd name="connsiteY37" fmla="*/ 929845 h 1907778"/>
                <a:gd name="connsiteX38" fmla="*/ 2372987 w 2583265"/>
                <a:gd name="connsiteY38" fmla="*/ 951911 h 1907778"/>
                <a:gd name="connsiteX39" fmla="*/ 2372987 w 2583265"/>
                <a:gd name="connsiteY39" fmla="*/ 953917 h 1907778"/>
                <a:gd name="connsiteX40" fmla="*/ 2372987 w 2583265"/>
                <a:gd name="connsiteY40" fmla="*/ 957929 h 1907778"/>
                <a:gd name="connsiteX41" fmla="*/ 2368596 w 2583265"/>
                <a:gd name="connsiteY41" fmla="*/ 959935 h 1907778"/>
                <a:gd name="connsiteX42" fmla="*/ 2366529 w 2583265"/>
                <a:gd name="connsiteY42" fmla="*/ 959935 h 1907778"/>
                <a:gd name="connsiteX43" fmla="*/ 2366529 w 2583265"/>
                <a:gd name="connsiteY43" fmla="*/ 961941 h 1907778"/>
                <a:gd name="connsiteX44" fmla="*/ 2372987 w 2583265"/>
                <a:gd name="connsiteY44" fmla="*/ 969965 h 1907778"/>
                <a:gd name="connsiteX45" fmla="*/ 2377121 w 2583265"/>
                <a:gd name="connsiteY45" fmla="*/ 969965 h 1907778"/>
                <a:gd name="connsiteX46" fmla="*/ 2391845 w 2583265"/>
                <a:gd name="connsiteY46" fmla="*/ 990024 h 1907778"/>
                <a:gd name="connsiteX47" fmla="*/ 2398045 w 2583265"/>
                <a:gd name="connsiteY47" fmla="*/ 998048 h 1907778"/>
                <a:gd name="connsiteX48" fmla="*/ 2402437 w 2583265"/>
                <a:gd name="connsiteY48" fmla="*/ 1009930 h 1907778"/>
                <a:gd name="connsiteX49" fmla="*/ 2404503 w 2583265"/>
                <a:gd name="connsiteY49" fmla="*/ 1021966 h 1907778"/>
                <a:gd name="connsiteX50" fmla="*/ 2404503 w 2583265"/>
                <a:gd name="connsiteY50" fmla="*/ 1023972 h 1907778"/>
                <a:gd name="connsiteX51" fmla="*/ 2402437 w 2583265"/>
                <a:gd name="connsiteY51" fmla="*/ 1038013 h 1907778"/>
                <a:gd name="connsiteX52" fmla="*/ 2402437 w 2583265"/>
                <a:gd name="connsiteY52" fmla="*/ 1048043 h 1907778"/>
                <a:gd name="connsiteX53" fmla="*/ 2400370 w 2583265"/>
                <a:gd name="connsiteY53" fmla="*/ 1060079 h 1907778"/>
                <a:gd name="connsiteX54" fmla="*/ 2402437 w 2583265"/>
                <a:gd name="connsiteY54" fmla="*/ 1072115 h 1907778"/>
                <a:gd name="connsiteX55" fmla="*/ 2408636 w 2583265"/>
                <a:gd name="connsiteY55" fmla="*/ 1074121 h 1907778"/>
                <a:gd name="connsiteX56" fmla="*/ 2431886 w 2583265"/>
                <a:gd name="connsiteY56" fmla="*/ 1074121 h 1907778"/>
                <a:gd name="connsiteX57" fmla="*/ 2442219 w 2583265"/>
                <a:gd name="connsiteY57" fmla="*/ 1080139 h 1907778"/>
                <a:gd name="connsiteX58" fmla="*/ 2444544 w 2583265"/>
                <a:gd name="connsiteY58" fmla="*/ 1082145 h 1907778"/>
                <a:gd name="connsiteX59" fmla="*/ 2452810 w 2583265"/>
                <a:gd name="connsiteY59" fmla="*/ 1090169 h 1907778"/>
                <a:gd name="connsiteX60" fmla="*/ 2456944 w 2583265"/>
                <a:gd name="connsiteY60" fmla="*/ 1092175 h 1907778"/>
                <a:gd name="connsiteX61" fmla="*/ 2465468 w 2583265"/>
                <a:gd name="connsiteY61" fmla="*/ 1104211 h 1907778"/>
                <a:gd name="connsiteX62" fmla="*/ 2476060 w 2583265"/>
                <a:gd name="connsiteY62" fmla="*/ 1114240 h 1907778"/>
                <a:gd name="connsiteX63" fmla="*/ 2482260 w 2583265"/>
                <a:gd name="connsiteY63" fmla="*/ 1118252 h 1907778"/>
                <a:gd name="connsiteX64" fmla="*/ 2488718 w 2583265"/>
                <a:gd name="connsiteY64" fmla="*/ 1118252 h 1907778"/>
                <a:gd name="connsiteX65" fmla="*/ 2509642 w 2583265"/>
                <a:gd name="connsiteY65" fmla="*/ 1134300 h 1907778"/>
                <a:gd name="connsiteX66" fmla="*/ 2518167 w 2583265"/>
                <a:gd name="connsiteY66" fmla="*/ 1138312 h 1907778"/>
                <a:gd name="connsiteX67" fmla="*/ 2528500 w 2583265"/>
                <a:gd name="connsiteY67" fmla="*/ 1148342 h 1907778"/>
                <a:gd name="connsiteX68" fmla="*/ 2541158 w 2583265"/>
                <a:gd name="connsiteY68" fmla="*/ 1150348 h 1907778"/>
                <a:gd name="connsiteX69" fmla="*/ 2566474 w 2583265"/>
                <a:gd name="connsiteY69" fmla="*/ 1180283 h 1907778"/>
                <a:gd name="connsiteX70" fmla="*/ 2579132 w 2583265"/>
                <a:gd name="connsiteY70" fmla="*/ 1200343 h 1907778"/>
                <a:gd name="connsiteX71" fmla="*/ 2583265 w 2583265"/>
                <a:gd name="connsiteY71" fmla="*/ 1210373 h 1907778"/>
                <a:gd name="connsiteX72" fmla="*/ 2583265 w 2583265"/>
                <a:gd name="connsiteY72" fmla="*/ 1216391 h 1907778"/>
                <a:gd name="connsiteX73" fmla="*/ 2583265 w 2583265"/>
                <a:gd name="connsiteY73" fmla="*/ 1222409 h 1907778"/>
                <a:gd name="connsiteX74" fmla="*/ 2581199 w 2583265"/>
                <a:gd name="connsiteY74" fmla="*/ 1224415 h 1907778"/>
                <a:gd name="connsiteX75" fmla="*/ 2579132 w 2583265"/>
                <a:gd name="connsiteY75" fmla="*/ 1226421 h 1907778"/>
                <a:gd name="connsiteX76" fmla="*/ 2570607 w 2583265"/>
                <a:gd name="connsiteY76" fmla="*/ 1226421 h 1907778"/>
                <a:gd name="connsiteX77" fmla="*/ 2568541 w 2583265"/>
                <a:gd name="connsiteY77" fmla="*/ 1230432 h 1907778"/>
                <a:gd name="connsiteX78" fmla="*/ 2562341 w 2583265"/>
                <a:gd name="connsiteY78" fmla="*/ 1232438 h 1907778"/>
                <a:gd name="connsiteX79" fmla="*/ 2549683 w 2583265"/>
                <a:gd name="connsiteY79" fmla="*/ 1244474 h 1907778"/>
                <a:gd name="connsiteX80" fmla="*/ 2534958 w 2583265"/>
                <a:gd name="connsiteY80" fmla="*/ 1256510 h 1907778"/>
                <a:gd name="connsiteX81" fmla="*/ 2509642 w 2583265"/>
                <a:gd name="connsiteY81" fmla="*/ 1286600 h 1907778"/>
                <a:gd name="connsiteX82" fmla="*/ 2494918 w 2583265"/>
                <a:gd name="connsiteY82" fmla="*/ 1300641 h 1907778"/>
                <a:gd name="connsiteX83" fmla="*/ 2476060 w 2583265"/>
                <a:gd name="connsiteY83" fmla="*/ 1304653 h 1907778"/>
                <a:gd name="connsiteX84" fmla="*/ 2465468 w 2583265"/>
                <a:gd name="connsiteY84" fmla="*/ 1310671 h 1907778"/>
                <a:gd name="connsiteX85" fmla="*/ 2454877 w 2583265"/>
                <a:gd name="connsiteY85" fmla="*/ 1316535 h 1907778"/>
                <a:gd name="connsiteX86" fmla="*/ 2436019 w 2583265"/>
                <a:gd name="connsiteY86" fmla="*/ 1332583 h 1907778"/>
                <a:gd name="connsiteX87" fmla="*/ 2412770 w 2583265"/>
                <a:gd name="connsiteY87" fmla="*/ 1342613 h 1907778"/>
                <a:gd name="connsiteX88" fmla="*/ 2389779 w 2583265"/>
                <a:gd name="connsiteY88" fmla="*/ 1356654 h 1907778"/>
                <a:gd name="connsiteX89" fmla="*/ 2381254 w 2583265"/>
                <a:gd name="connsiteY89" fmla="*/ 1364678 h 1907778"/>
                <a:gd name="connsiteX90" fmla="*/ 2377121 w 2583265"/>
                <a:gd name="connsiteY90" fmla="*/ 1368690 h 1907778"/>
                <a:gd name="connsiteX91" fmla="*/ 2370921 w 2583265"/>
                <a:gd name="connsiteY91" fmla="*/ 1376714 h 1907778"/>
                <a:gd name="connsiteX92" fmla="*/ 2368597 w 2583265"/>
                <a:gd name="connsiteY92" fmla="*/ 1386743 h 1907778"/>
                <a:gd name="connsiteX93" fmla="*/ 2368698 w 2583265"/>
                <a:gd name="connsiteY93" fmla="*/ 1386745 h 1907778"/>
                <a:gd name="connsiteX94" fmla="*/ 2368698 w 2583265"/>
                <a:gd name="connsiteY94" fmla="*/ 1398769 h 1907778"/>
                <a:gd name="connsiteX95" fmla="*/ 2366595 w 2583265"/>
                <a:gd name="connsiteY95" fmla="*/ 1408789 h 1907778"/>
                <a:gd name="connsiteX96" fmla="*/ 2360284 w 2583265"/>
                <a:gd name="connsiteY96" fmla="*/ 1418809 h 1907778"/>
                <a:gd name="connsiteX97" fmla="*/ 2356076 w 2583265"/>
                <a:gd name="connsiteY97" fmla="*/ 1428829 h 1907778"/>
                <a:gd name="connsiteX98" fmla="*/ 2339247 w 2583265"/>
                <a:gd name="connsiteY98" fmla="*/ 1446864 h 1907778"/>
                <a:gd name="connsiteX99" fmla="*/ 2320315 w 2583265"/>
                <a:gd name="connsiteY99" fmla="*/ 1462896 h 1907778"/>
                <a:gd name="connsiteX100" fmla="*/ 2309796 w 2583265"/>
                <a:gd name="connsiteY100" fmla="*/ 1466904 h 1907778"/>
                <a:gd name="connsiteX101" fmla="*/ 2303486 w 2583265"/>
                <a:gd name="connsiteY101" fmla="*/ 1476924 h 1907778"/>
                <a:gd name="connsiteX102" fmla="*/ 2299278 w 2583265"/>
                <a:gd name="connsiteY102" fmla="*/ 1478928 h 1907778"/>
                <a:gd name="connsiteX103" fmla="*/ 2297175 w 2583265"/>
                <a:gd name="connsiteY103" fmla="*/ 1484940 h 1907778"/>
                <a:gd name="connsiteX104" fmla="*/ 2299278 w 2583265"/>
                <a:gd name="connsiteY104" fmla="*/ 1488948 h 1907778"/>
                <a:gd name="connsiteX105" fmla="*/ 2305589 w 2583265"/>
                <a:gd name="connsiteY105" fmla="*/ 1494959 h 1907778"/>
                <a:gd name="connsiteX106" fmla="*/ 2309796 w 2583265"/>
                <a:gd name="connsiteY106" fmla="*/ 1498967 h 1907778"/>
                <a:gd name="connsiteX107" fmla="*/ 2314004 w 2583265"/>
                <a:gd name="connsiteY107" fmla="*/ 1502975 h 1907778"/>
                <a:gd name="connsiteX108" fmla="*/ 2314004 w 2583265"/>
                <a:gd name="connsiteY108" fmla="*/ 1506983 h 1907778"/>
                <a:gd name="connsiteX109" fmla="*/ 2314004 w 2583265"/>
                <a:gd name="connsiteY109" fmla="*/ 1508987 h 1907778"/>
                <a:gd name="connsiteX110" fmla="*/ 2309796 w 2583265"/>
                <a:gd name="connsiteY110" fmla="*/ 1514999 h 1907778"/>
                <a:gd name="connsiteX111" fmla="*/ 2309796 w 2583265"/>
                <a:gd name="connsiteY111" fmla="*/ 1517003 h 1907778"/>
                <a:gd name="connsiteX112" fmla="*/ 2314004 w 2583265"/>
                <a:gd name="connsiteY112" fmla="*/ 1523015 h 1907778"/>
                <a:gd name="connsiteX113" fmla="*/ 2316107 w 2583265"/>
                <a:gd name="connsiteY113" fmla="*/ 1527023 h 1907778"/>
                <a:gd name="connsiteX114" fmla="*/ 2316107 w 2583265"/>
                <a:gd name="connsiteY114" fmla="*/ 1533035 h 1907778"/>
                <a:gd name="connsiteX115" fmla="*/ 2314004 w 2583265"/>
                <a:gd name="connsiteY115" fmla="*/ 1537043 h 1907778"/>
                <a:gd name="connsiteX116" fmla="*/ 2305589 w 2583265"/>
                <a:gd name="connsiteY116" fmla="*/ 1545059 h 1907778"/>
                <a:gd name="connsiteX117" fmla="*/ 2303486 w 2583265"/>
                <a:gd name="connsiteY117" fmla="*/ 1549067 h 1907778"/>
                <a:gd name="connsiteX118" fmla="*/ 2303486 w 2583265"/>
                <a:gd name="connsiteY118" fmla="*/ 1563095 h 1907778"/>
                <a:gd name="connsiteX119" fmla="*/ 2305589 w 2583265"/>
                <a:gd name="connsiteY119" fmla="*/ 1577122 h 1907778"/>
                <a:gd name="connsiteX120" fmla="*/ 2307693 w 2583265"/>
                <a:gd name="connsiteY120" fmla="*/ 1617202 h 1907778"/>
                <a:gd name="connsiteX121" fmla="*/ 2307693 w 2583265"/>
                <a:gd name="connsiteY121" fmla="*/ 1641250 h 1907778"/>
                <a:gd name="connsiteX122" fmla="*/ 2309796 w 2583265"/>
                <a:gd name="connsiteY122" fmla="*/ 1651269 h 1907778"/>
                <a:gd name="connsiteX123" fmla="*/ 2314004 w 2583265"/>
                <a:gd name="connsiteY123" fmla="*/ 1657281 h 1907778"/>
                <a:gd name="connsiteX124" fmla="*/ 2318211 w 2583265"/>
                <a:gd name="connsiteY124" fmla="*/ 1667301 h 1907778"/>
                <a:gd name="connsiteX125" fmla="*/ 2318211 w 2583265"/>
                <a:gd name="connsiteY125" fmla="*/ 1671309 h 1907778"/>
                <a:gd name="connsiteX126" fmla="*/ 2309796 w 2583265"/>
                <a:gd name="connsiteY126" fmla="*/ 1685337 h 1907778"/>
                <a:gd name="connsiteX127" fmla="*/ 2307693 w 2583265"/>
                <a:gd name="connsiteY127" fmla="*/ 1689345 h 1907778"/>
                <a:gd name="connsiteX128" fmla="*/ 2303486 w 2583265"/>
                <a:gd name="connsiteY128" fmla="*/ 1691349 h 1907778"/>
                <a:gd name="connsiteX129" fmla="*/ 2295071 w 2583265"/>
                <a:gd name="connsiteY129" fmla="*/ 1695357 h 1907778"/>
                <a:gd name="connsiteX130" fmla="*/ 2292967 w 2583265"/>
                <a:gd name="connsiteY130" fmla="*/ 1699365 h 1907778"/>
                <a:gd name="connsiteX131" fmla="*/ 2295071 w 2583265"/>
                <a:gd name="connsiteY131" fmla="*/ 1707381 h 1907778"/>
                <a:gd name="connsiteX132" fmla="*/ 2297175 w 2583265"/>
                <a:gd name="connsiteY132" fmla="*/ 1717401 h 1907778"/>
                <a:gd name="connsiteX133" fmla="*/ 2295071 w 2583265"/>
                <a:gd name="connsiteY133" fmla="*/ 1717401 h 1907778"/>
                <a:gd name="connsiteX134" fmla="*/ 2292967 w 2583265"/>
                <a:gd name="connsiteY134" fmla="*/ 1749464 h 1907778"/>
                <a:gd name="connsiteX135" fmla="*/ 2286656 w 2583265"/>
                <a:gd name="connsiteY135" fmla="*/ 1781528 h 1907778"/>
                <a:gd name="connsiteX136" fmla="*/ 2286656 w 2583265"/>
                <a:gd name="connsiteY136" fmla="*/ 1783532 h 1907778"/>
                <a:gd name="connsiteX137" fmla="*/ 2288760 w 2583265"/>
                <a:gd name="connsiteY137" fmla="*/ 1789544 h 1907778"/>
                <a:gd name="connsiteX138" fmla="*/ 2292967 w 2583265"/>
                <a:gd name="connsiteY138" fmla="*/ 1791548 h 1907778"/>
                <a:gd name="connsiteX139" fmla="*/ 2295071 w 2583265"/>
                <a:gd name="connsiteY139" fmla="*/ 1793552 h 1907778"/>
                <a:gd name="connsiteX140" fmla="*/ 2295071 w 2583265"/>
                <a:gd name="connsiteY140" fmla="*/ 1799563 h 1907778"/>
                <a:gd name="connsiteX141" fmla="*/ 2288760 w 2583265"/>
                <a:gd name="connsiteY141" fmla="*/ 1801567 h 1907778"/>
                <a:gd name="connsiteX142" fmla="*/ 2282449 w 2583265"/>
                <a:gd name="connsiteY142" fmla="*/ 1811587 h 1907778"/>
                <a:gd name="connsiteX143" fmla="*/ 2276138 w 2583265"/>
                <a:gd name="connsiteY143" fmla="*/ 1817599 h 1907778"/>
                <a:gd name="connsiteX144" fmla="*/ 2267724 w 2583265"/>
                <a:gd name="connsiteY144" fmla="*/ 1827619 h 1907778"/>
                <a:gd name="connsiteX145" fmla="*/ 2261413 w 2583265"/>
                <a:gd name="connsiteY145" fmla="*/ 1839643 h 1907778"/>
                <a:gd name="connsiteX146" fmla="*/ 2248791 w 2583265"/>
                <a:gd name="connsiteY146" fmla="*/ 1859683 h 1907778"/>
                <a:gd name="connsiteX147" fmla="*/ 2231962 w 2583265"/>
                <a:gd name="connsiteY147" fmla="*/ 1879722 h 1907778"/>
                <a:gd name="connsiteX148" fmla="*/ 2223547 w 2583265"/>
                <a:gd name="connsiteY148" fmla="*/ 1901766 h 1907778"/>
                <a:gd name="connsiteX149" fmla="*/ 2221444 w 2583265"/>
                <a:gd name="connsiteY149" fmla="*/ 1903770 h 1907778"/>
                <a:gd name="connsiteX150" fmla="*/ 2095226 w 2583265"/>
                <a:gd name="connsiteY150" fmla="*/ 1901766 h 1907778"/>
                <a:gd name="connsiteX151" fmla="*/ 1969007 w 2583265"/>
                <a:gd name="connsiteY151" fmla="*/ 1901766 h 1907778"/>
                <a:gd name="connsiteX152" fmla="*/ 1714467 w 2583265"/>
                <a:gd name="connsiteY152" fmla="*/ 1901766 h 1907778"/>
                <a:gd name="connsiteX153" fmla="*/ 1459927 w 2583265"/>
                <a:gd name="connsiteY153" fmla="*/ 1907778 h 1907778"/>
                <a:gd name="connsiteX154" fmla="*/ 1205387 w 2583265"/>
                <a:gd name="connsiteY154" fmla="*/ 1907778 h 1907778"/>
                <a:gd name="connsiteX155" fmla="*/ 708929 w 2583265"/>
                <a:gd name="connsiteY155" fmla="*/ 1907778 h 1907778"/>
                <a:gd name="connsiteX156" fmla="*/ 614265 w 2583265"/>
                <a:gd name="connsiteY156" fmla="*/ 1903770 h 1907778"/>
                <a:gd name="connsiteX157" fmla="*/ 528016 w 2583265"/>
                <a:gd name="connsiteY157" fmla="*/ 1901766 h 1907778"/>
                <a:gd name="connsiteX158" fmla="*/ 496462 w 2583265"/>
                <a:gd name="connsiteY158" fmla="*/ 1901766 h 1907778"/>
                <a:gd name="connsiteX159" fmla="*/ 460700 w 2583265"/>
                <a:gd name="connsiteY159" fmla="*/ 1907778 h 1907778"/>
                <a:gd name="connsiteX160" fmla="*/ 424938 w 2583265"/>
                <a:gd name="connsiteY160" fmla="*/ 1907778 h 1907778"/>
                <a:gd name="connsiteX161" fmla="*/ 408109 w 2583265"/>
                <a:gd name="connsiteY161" fmla="*/ 1903770 h 1907778"/>
                <a:gd name="connsiteX162" fmla="*/ 393383 w 2583265"/>
                <a:gd name="connsiteY162" fmla="*/ 1901766 h 1907778"/>
                <a:gd name="connsiteX163" fmla="*/ 393383 w 2583265"/>
                <a:gd name="connsiteY163" fmla="*/ 1899762 h 1907778"/>
                <a:gd name="connsiteX164" fmla="*/ 393383 w 2583265"/>
                <a:gd name="connsiteY164" fmla="*/ 1897758 h 1907778"/>
                <a:gd name="connsiteX165" fmla="*/ 393383 w 2583265"/>
                <a:gd name="connsiteY165" fmla="*/ 1893750 h 1907778"/>
                <a:gd name="connsiteX166" fmla="*/ 391280 w 2583265"/>
                <a:gd name="connsiteY166" fmla="*/ 1891746 h 1907778"/>
                <a:gd name="connsiteX167" fmla="*/ 361829 w 2583265"/>
                <a:gd name="connsiteY167" fmla="*/ 1879722 h 1907778"/>
                <a:gd name="connsiteX168" fmla="*/ 302927 w 2583265"/>
                <a:gd name="connsiteY168" fmla="*/ 1853671 h 1907778"/>
                <a:gd name="connsiteX169" fmla="*/ 305031 w 2583265"/>
                <a:gd name="connsiteY169" fmla="*/ 1839643 h 1907778"/>
                <a:gd name="connsiteX170" fmla="*/ 201953 w 2583265"/>
                <a:gd name="connsiteY170" fmla="*/ 1841647 h 1907778"/>
                <a:gd name="connsiteX171" fmla="*/ 201953 w 2583265"/>
                <a:gd name="connsiteY171" fmla="*/ 1827619 h 1907778"/>
                <a:gd name="connsiteX172" fmla="*/ 206160 w 2583265"/>
                <a:gd name="connsiteY172" fmla="*/ 1813591 h 1907778"/>
                <a:gd name="connsiteX173" fmla="*/ 210367 w 2583265"/>
                <a:gd name="connsiteY173" fmla="*/ 1799563 h 1907778"/>
                <a:gd name="connsiteX174" fmla="*/ 220885 w 2583265"/>
                <a:gd name="connsiteY174" fmla="*/ 1783532 h 1907778"/>
                <a:gd name="connsiteX175" fmla="*/ 241922 w 2583265"/>
                <a:gd name="connsiteY175" fmla="*/ 1757480 h 1907778"/>
                <a:gd name="connsiteX176" fmla="*/ 260854 w 2583265"/>
                <a:gd name="connsiteY176" fmla="*/ 1735436 h 1907778"/>
                <a:gd name="connsiteX177" fmla="*/ 265062 w 2583265"/>
                <a:gd name="connsiteY177" fmla="*/ 1727420 h 1907778"/>
                <a:gd name="connsiteX178" fmla="*/ 265062 w 2583265"/>
                <a:gd name="connsiteY178" fmla="*/ 1717401 h 1907778"/>
                <a:gd name="connsiteX179" fmla="*/ 260854 w 2583265"/>
                <a:gd name="connsiteY179" fmla="*/ 1707381 h 1907778"/>
                <a:gd name="connsiteX180" fmla="*/ 252440 w 2583265"/>
                <a:gd name="connsiteY180" fmla="*/ 1699365 h 1907778"/>
                <a:gd name="connsiteX181" fmla="*/ 244025 w 2583265"/>
                <a:gd name="connsiteY181" fmla="*/ 1691349 h 1907778"/>
                <a:gd name="connsiteX182" fmla="*/ 233507 w 2583265"/>
                <a:gd name="connsiteY182" fmla="*/ 1687341 h 1907778"/>
                <a:gd name="connsiteX183" fmla="*/ 222989 w 2583265"/>
                <a:gd name="connsiteY183" fmla="*/ 1681329 h 1907778"/>
                <a:gd name="connsiteX184" fmla="*/ 210367 w 2583265"/>
                <a:gd name="connsiteY184" fmla="*/ 1679325 h 1907778"/>
                <a:gd name="connsiteX185" fmla="*/ 195642 w 2583265"/>
                <a:gd name="connsiteY185" fmla="*/ 1679325 h 1907778"/>
                <a:gd name="connsiteX186" fmla="*/ 189331 w 2583265"/>
                <a:gd name="connsiteY186" fmla="*/ 1677321 h 1907778"/>
                <a:gd name="connsiteX187" fmla="*/ 187227 w 2583265"/>
                <a:gd name="connsiteY187" fmla="*/ 1675317 h 1907778"/>
                <a:gd name="connsiteX188" fmla="*/ 187227 w 2583265"/>
                <a:gd name="connsiteY188" fmla="*/ 1665297 h 1907778"/>
                <a:gd name="connsiteX189" fmla="*/ 187227 w 2583265"/>
                <a:gd name="connsiteY189" fmla="*/ 1647261 h 1907778"/>
                <a:gd name="connsiteX190" fmla="*/ 185123 w 2583265"/>
                <a:gd name="connsiteY190" fmla="*/ 1641250 h 1907778"/>
                <a:gd name="connsiteX191" fmla="*/ 180916 w 2583265"/>
                <a:gd name="connsiteY191" fmla="*/ 1641250 h 1907778"/>
                <a:gd name="connsiteX192" fmla="*/ 174605 w 2583265"/>
                <a:gd name="connsiteY192" fmla="*/ 1639246 h 1907778"/>
                <a:gd name="connsiteX193" fmla="*/ 166191 w 2583265"/>
                <a:gd name="connsiteY193" fmla="*/ 1637242 h 1907778"/>
                <a:gd name="connsiteX194" fmla="*/ 157776 w 2583265"/>
                <a:gd name="connsiteY194" fmla="*/ 1631230 h 1907778"/>
                <a:gd name="connsiteX195" fmla="*/ 85470 w 2583265"/>
                <a:gd name="connsiteY195" fmla="*/ 1544637 h 1907778"/>
                <a:gd name="connsiteX196" fmla="*/ 82642 w 2583265"/>
                <a:gd name="connsiteY196" fmla="*/ 1541855 h 1907778"/>
                <a:gd name="connsiteX197" fmla="*/ 84142 w 2583265"/>
                <a:gd name="connsiteY197" fmla="*/ 1543000 h 1907778"/>
                <a:gd name="connsiteX198" fmla="*/ 83972 w 2583265"/>
                <a:gd name="connsiteY198" fmla="*/ 1541535 h 1907778"/>
                <a:gd name="connsiteX199" fmla="*/ 82642 w 2583265"/>
                <a:gd name="connsiteY199" fmla="*/ 1541855 h 1907778"/>
                <a:gd name="connsiteX200" fmla="*/ 10592 w 2583265"/>
                <a:gd name="connsiteY200" fmla="*/ 1486888 h 1907778"/>
                <a:gd name="connsiteX201" fmla="*/ 6200 w 2583265"/>
                <a:gd name="connsiteY201" fmla="*/ 1476858 h 1907778"/>
                <a:gd name="connsiteX202" fmla="*/ 2067 w 2583265"/>
                <a:gd name="connsiteY202" fmla="*/ 1468834 h 1907778"/>
                <a:gd name="connsiteX203" fmla="*/ 0 w 2583265"/>
                <a:gd name="connsiteY203" fmla="*/ 1464977 h 1907778"/>
                <a:gd name="connsiteX204" fmla="*/ 2067 w 2583265"/>
                <a:gd name="connsiteY204" fmla="*/ 1458959 h 1907778"/>
                <a:gd name="connsiteX205" fmla="*/ 10592 w 2583265"/>
                <a:gd name="connsiteY205" fmla="*/ 1448929 h 1907778"/>
                <a:gd name="connsiteX206" fmla="*/ 20925 w 2583265"/>
                <a:gd name="connsiteY206" fmla="*/ 1436893 h 1907778"/>
                <a:gd name="connsiteX207" fmla="*/ 27383 w 2583265"/>
                <a:gd name="connsiteY207" fmla="*/ 1432881 h 1907778"/>
                <a:gd name="connsiteX208" fmla="*/ 31516 w 2583265"/>
                <a:gd name="connsiteY208" fmla="*/ 1432881 h 1907778"/>
                <a:gd name="connsiteX209" fmla="*/ 33583 w 2583265"/>
                <a:gd name="connsiteY209" fmla="*/ 1432881 h 1907778"/>
                <a:gd name="connsiteX210" fmla="*/ 40041 w 2583265"/>
                <a:gd name="connsiteY210" fmla="*/ 1432881 h 1907778"/>
                <a:gd name="connsiteX211" fmla="*/ 48307 w 2583265"/>
                <a:gd name="connsiteY211" fmla="*/ 1424857 h 1907778"/>
                <a:gd name="connsiteX212" fmla="*/ 54765 w 2583265"/>
                <a:gd name="connsiteY212" fmla="*/ 1408810 h 1907778"/>
                <a:gd name="connsiteX213" fmla="*/ 71557 w 2583265"/>
                <a:gd name="connsiteY213" fmla="*/ 1366684 h 1907778"/>
                <a:gd name="connsiteX214" fmla="*/ 84215 w 2583265"/>
                <a:gd name="connsiteY214" fmla="*/ 1322553 h 1907778"/>
                <a:gd name="connsiteX215" fmla="*/ 101006 w 2583265"/>
                <a:gd name="connsiteY215" fmla="*/ 1270552 h 1907778"/>
                <a:gd name="connsiteX216" fmla="*/ 107206 w 2583265"/>
                <a:gd name="connsiteY216" fmla="*/ 1242468 h 1907778"/>
                <a:gd name="connsiteX217" fmla="*/ 111597 w 2583265"/>
                <a:gd name="connsiteY217" fmla="*/ 1226421 h 1907778"/>
                <a:gd name="connsiteX218" fmla="*/ 111597 w 2583265"/>
                <a:gd name="connsiteY218" fmla="*/ 1214385 h 1907778"/>
                <a:gd name="connsiteX219" fmla="*/ 101006 w 2583265"/>
                <a:gd name="connsiteY219" fmla="*/ 1000054 h 1907778"/>
                <a:gd name="connsiteX220" fmla="*/ 94548 w 2583265"/>
                <a:gd name="connsiteY220" fmla="*/ 895744 h 1907778"/>
                <a:gd name="connsiteX221" fmla="*/ 92481 w 2583265"/>
                <a:gd name="connsiteY221" fmla="*/ 785570 h 1907778"/>
                <a:gd name="connsiteX222" fmla="*/ 101006 w 2583265"/>
                <a:gd name="connsiteY222" fmla="*/ 785570 h 1907778"/>
                <a:gd name="connsiteX223" fmla="*/ 107206 w 2583265"/>
                <a:gd name="connsiteY223" fmla="*/ 785570 h 1907778"/>
                <a:gd name="connsiteX224" fmla="*/ 111597 w 2583265"/>
                <a:gd name="connsiteY224" fmla="*/ 781558 h 1907778"/>
                <a:gd name="connsiteX225" fmla="*/ 113664 w 2583265"/>
                <a:gd name="connsiteY225" fmla="*/ 777546 h 1907778"/>
                <a:gd name="connsiteX226" fmla="*/ 113664 w 2583265"/>
                <a:gd name="connsiteY226" fmla="*/ 765510 h 1907778"/>
                <a:gd name="connsiteX227" fmla="*/ 111597 w 2583265"/>
                <a:gd name="connsiteY227" fmla="*/ 749462 h 1907778"/>
                <a:gd name="connsiteX228" fmla="*/ 111597 w 2583265"/>
                <a:gd name="connsiteY228" fmla="*/ 663360 h 1907778"/>
                <a:gd name="connsiteX229" fmla="*/ 107206 w 2583265"/>
                <a:gd name="connsiteY229" fmla="*/ 563061 h 1907778"/>
                <a:gd name="connsiteX230" fmla="*/ 117797 w 2583265"/>
                <a:gd name="connsiteY230" fmla="*/ 565067 h 1907778"/>
                <a:gd name="connsiteX231" fmla="*/ 117797 w 2583265"/>
                <a:gd name="connsiteY231" fmla="*/ 482977 h 1907778"/>
                <a:gd name="connsiteX232" fmla="*/ 117797 w 2583265"/>
                <a:gd name="connsiteY232" fmla="*/ 400732 h 1907778"/>
                <a:gd name="connsiteX233" fmla="*/ 115731 w 2583265"/>
                <a:gd name="connsiteY233" fmla="*/ 234390 h 1907778"/>
                <a:gd name="connsiteX234" fmla="*/ 113664 w 2583265"/>
                <a:gd name="connsiteY234" fmla="*/ 180383 h 1907778"/>
                <a:gd name="connsiteX235" fmla="*/ 113664 w 2583265"/>
                <a:gd name="connsiteY235" fmla="*/ 122210 h 1907778"/>
                <a:gd name="connsiteX236" fmla="*/ 113664 w 2583265"/>
                <a:gd name="connsiteY236" fmla="*/ 118198 h 1907778"/>
                <a:gd name="connsiteX237" fmla="*/ 117797 w 2583265"/>
                <a:gd name="connsiteY237" fmla="*/ 114186 h 1907778"/>
                <a:gd name="connsiteX238" fmla="*/ 121930 w 2583265"/>
                <a:gd name="connsiteY238" fmla="*/ 114186 h 1907778"/>
                <a:gd name="connsiteX239" fmla="*/ 123997 w 2583265"/>
                <a:gd name="connsiteY239" fmla="*/ 108168 h 1907778"/>
                <a:gd name="connsiteX240" fmla="*/ 121930 w 2583265"/>
                <a:gd name="connsiteY240" fmla="*/ 102151 h 1907778"/>
                <a:gd name="connsiteX241" fmla="*/ 117797 w 2583265"/>
                <a:gd name="connsiteY241" fmla="*/ 100145 h 1907778"/>
                <a:gd name="connsiteX242" fmla="*/ 107206 w 2583265"/>
                <a:gd name="connsiteY242" fmla="*/ 100145 h 1907778"/>
                <a:gd name="connsiteX243" fmla="*/ 96873 w 2583265"/>
                <a:gd name="connsiteY243" fmla="*/ 102151 h 1907778"/>
                <a:gd name="connsiteX244" fmla="*/ 92481 w 2583265"/>
                <a:gd name="connsiteY244" fmla="*/ 100145 h 1907778"/>
                <a:gd name="connsiteX245" fmla="*/ 92481 w 2583265"/>
                <a:gd name="connsiteY245" fmla="*/ 98139 h 1907778"/>
                <a:gd name="connsiteX246" fmla="*/ 90415 w 2583265"/>
                <a:gd name="connsiteY246" fmla="*/ 86103 h 1907778"/>
                <a:gd name="connsiteX247" fmla="*/ 90415 w 2583265"/>
                <a:gd name="connsiteY247" fmla="*/ 80085 h 1907778"/>
                <a:gd name="connsiteX248" fmla="*/ 94548 w 2583265"/>
                <a:gd name="connsiteY248" fmla="*/ 76227 h 1907778"/>
                <a:gd name="connsiteX249" fmla="*/ 105139 w 2583265"/>
                <a:gd name="connsiteY249" fmla="*/ 76227 h 1907778"/>
                <a:gd name="connsiteX250" fmla="*/ 107206 w 2583265"/>
                <a:gd name="connsiteY250" fmla="*/ 72215 h 1907778"/>
                <a:gd name="connsiteX251" fmla="*/ 111597 w 2583265"/>
                <a:gd name="connsiteY251" fmla="*/ 66197 h 1907778"/>
                <a:gd name="connsiteX252" fmla="*/ 111597 w 2583265"/>
                <a:gd name="connsiteY252" fmla="*/ 40120 h 1907778"/>
                <a:gd name="connsiteX253" fmla="*/ 107206 w 2583265"/>
                <a:gd name="connsiteY253" fmla="*/ 0 h 1907778"/>
                <a:gd name="connsiteX0" fmla="*/ 107206 w 2583265"/>
                <a:gd name="connsiteY0" fmla="*/ 0 h 1907778"/>
                <a:gd name="connsiteX1" fmla="*/ 462921 w 2583265"/>
                <a:gd name="connsiteY1" fmla="*/ 2006 h 1907778"/>
                <a:gd name="connsiteX2" fmla="*/ 816312 w 2583265"/>
                <a:gd name="connsiteY2" fmla="*/ 2006 h 1907778"/>
                <a:gd name="connsiteX3" fmla="*/ 1171769 w 2583265"/>
                <a:gd name="connsiteY3" fmla="*/ 2006 h 1907778"/>
                <a:gd name="connsiteX4" fmla="*/ 1525160 w 2583265"/>
                <a:gd name="connsiteY4" fmla="*/ 6018 h 1907778"/>
                <a:gd name="connsiteX5" fmla="*/ 1874417 w 2583265"/>
                <a:gd name="connsiteY5" fmla="*/ 322653 h 1907778"/>
                <a:gd name="connsiteX6" fmla="*/ 2051113 w 2583265"/>
                <a:gd name="connsiteY6" fmla="*/ 482977 h 1907778"/>
                <a:gd name="connsiteX7" fmla="*/ 2221350 w 2583265"/>
                <a:gd name="connsiteY7" fmla="*/ 645306 h 1907778"/>
                <a:gd name="connsiteX8" fmla="*/ 2223416 w 2583265"/>
                <a:gd name="connsiteY8" fmla="*/ 645306 h 1907778"/>
                <a:gd name="connsiteX9" fmla="*/ 2223416 w 2583265"/>
                <a:gd name="connsiteY9" fmla="*/ 669378 h 1907778"/>
                <a:gd name="connsiteX10" fmla="*/ 2223416 w 2583265"/>
                <a:gd name="connsiteY10" fmla="*/ 699313 h 1907778"/>
                <a:gd name="connsiteX11" fmla="*/ 2223416 w 2583265"/>
                <a:gd name="connsiteY11" fmla="*/ 729402 h 1907778"/>
                <a:gd name="connsiteX12" fmla="*/ 2227808 w 2583265"/>
                <a:gd name="connsiteY12" fmla="*/ 741438 h 1907778"/>
                <a:gd name="connsiteX13" fmla="*/ 2231941 w 2583265"/>
                <a:gd name="connsiteY13" fmla="*/ 749462 h 1907778"/>
                <a:gd name="connsiteX14" fmla="*/ 2238141 w 2583265"/>
                <a:gd name="connsiteY14" fmla="*/ 755480 h 1907778"/>
                <a:gd name="connsiteX15" fmla="*/ 2240466 w 2583265"/>
                <a:gd name="connsiteY15" fmla="*/ 755480 h 1907778"/>
                <a:gd name="connsiteX16" fmla="*/ 2250799 w 2583265"/>
                <a:gd name="connsiteY16" fmla="*/ 761498 h 1907778"/>
                <a:gd name="connsiteX17" fmla="*/ 2259324 w 2583265"/>
                <a:gd name="connsiteY17" fmla="*/ 767516 h 1907778"/>
                <a:gd name="connsiteX18" fmla="*/ 2265524 w 2583265"/>
                <a:gd name="connsiteY18" fmla="*/ 775540 h 1907778"/>
                <a:gd name="connsiteX19" fmla="*/ 2271982 w 2583265"/>
                <a:gd name="connsiteY19" fmla="*/ 785570 h 1907778"/>
                <a:gd name="connsiteX20" fmla="*/ 2274048 w 2583265"/>
                <a:gd name="connsiteY20" fmla="*/ 797605 h 1907778"/>
                <a:gd name="connsiteX21" fmla="*/ 2282573 w 2583265"/>
                <a:gd name="connsiteY21" fmla="*/ 819671 h 1907778"/>
                <a:gd name="connsiteX22" fmla="*/ 2286706 w 2583265"/>
                <a:gd name="connsiteY22" fmla="*/ 829701 h 1907778"/>
                <a:gd name="connsiteX23" fmla="*/ 2294973 w 2583265"/>
                <a:gd name="connsiteY23" fmla="*/ 839731 h 1907778"/>
                <a:gd name="connsiteX24" fmla="*/ 2297298 w 2583265"/>
                <a:gd name="connsiteY24" fmla="*/ 841737 h 1907778"/>
                <a:gd name="connsiteX25" fmla="*/ 2305564 w 2583265"/>
                <a:gd name="connsiteY25" fmla="*/ 845749 h 1907778"/>
                <a:gd name="connsiteX26" fmla="*/ 2309697 w 2583265"/>
                <a:gd name="connsiteY26" fmla="*/ 849606 h 1907778"/>
                <a:gd name="connsiteX27" fmla="*/ 2318222 w 2583265"/>
                <a:gd name="connsiteY27" fmla="*/ 851612 h 1907778"/>
                <a:gd name="connsiteX28" fmla="*/ 2326747 w 2583265"/>
                <a:gd name="connsiteY28" fmla="*/ 857630 h 1907778"/>
                <a:gd name="connsiteX29" fmla="*/ 2335013 w 2583265"/>
                <a:gd name="connsiteY29" fmla="*/ 861642 h 1907778"/>
                <a:gd name="connsiteX30" fmla="*/ 2339147 w 2583265"/>
                <a:gd name="connsiteY30" fmla="*/ 867660 h 1907778"/>
                <a:gd name="connsiteX31" fmla="*/ 2345605 w 2583265"/>
                <a:gd name="connsiteY31" fmla="*/ 881702 h 1907778"/>
                <a:gd name="connsiteX32" fmla="*/ 2347671 w 2583265"/>
                <a:gd name="connsiteY32" fmla="*/ 895744 h 1907778"/>
                <a:gd name="connsiteX33" fmla="*/ 2351805 w 2583265"/>
                <a:gd name="connsiteY33" fmla="*/ 909786 h 1907778"/>
                <a:gd name="connsiteX34" fmla="*/ 2362396 w 2583265"/>
                <a:gd name="connsiteY34" fmla="*/ 929845 h 1907778"/>
                <a:gd name="connsiteX35" fmla="*/ 2372987 w 2583265"/>
                <a:gd name="connsiteY35" fmla="*/ 951911 h 1907778"/>
                <a:gd name="connsiteX36" fmla="*/ 2372987 w 2583265"/>
                <a:gd name="connsiteY36" fmla="*/ 953917 h 1907778"/>
                <a:gd name="connsiteX37" fmla="*/ 2372987 w 2583265"/>
                <a:gd name="connsiteY37" fmla="*/ 957929 h 1907778"/>
                <a:gd name="connsiteX38" fmla="*/ 2368596 w 2583265"/>
                <a:gd name="connsiteY38" fmla="*/ 959935 h 1907778"/>
                <a:gd name="connsiteX39" fmla="*/ 2366529 w 2583265"/>
                <a:gd name="connsiteY39" fmla="*/ 959935 h 1907778"/>
                <a:gd name="connsiteX40" fmla="*/ 2366529 w 2583265"/>
                <a:gd name="connsiteY40" fmla="*/ 961941 h 1907778"/>
                <a:gd name="connsiteX41" fmla="*/ 2372987 w 2583265"/>
                <a:gd name="connsiteY41" fmla="*/ 969965 h 1907778"/>
                <a:gd name="connsiteX42" fmla="*/ 2377121 w 2583265"/>
                <a:gd name="connsiteY42" fmla="*/ 969965 h 1907778"/>
                <a:gd name="connsiteX43" fmla="*/ 2391845 w 2583265"/>
                <a:gd name="connsiteY43" fmla="*/ 990024 h 1907778"/>
                <a:gd name="connsiteX44" fmla="*/ 2398045 w 2583265"/>
                <a:gd name="connsiteY44" fmla="*/ 998048 h 1907778"/>
                <a:gd name="connsiteX45" fmla="*/ 2402437 w 2583265"/>
                <a:gd name="connsiteY45" fmla="*/ 1009930 h 1907778"/>
                <a:gd name="connsiteX46" fmla="*/ 2404503 w 2583265"/>
                <a:gd name="connsiteY46" fmla="*/ 1021966 h 1907778"/>
                <a:gd name="connsiteX47" fmla="*/ 2404503 w 2583265"/>
                <a:gd name="connsiteY47" fmla="*/ 1023972 h 1907778"/>
                <a:gd name="connsiteX48" fmla="*/ 2402437 w 2583265"/>
                <a:gd name="connsiteY48" fmla="*/ 1038013 h 1907778"/>
                <a:gd name="connsiteX49" fmla="*/ 2402437 w 2583265"/>
                <a:gd name="connsiteY49" fmla="*/ 1048043 h 1907778"/>
                <a:gd name="connsiteX50" fmla="*/ 2400370 w 2583265"/>
                <a:gd name="connsiteY50" fmla="*/ 1060079 h 1907778"/>
                <a:gd name="connsiteX51" fmla="*/ 2402437 w 2583265"/>
                <a:gd name="connsiteY51" fmla="*/ 1072115 h 1907778"/>
                <a:gd name="connsiteX52" fmla="*/ 2408636 w 2583265"/>
                <a:gd name="connsiteY52" fmla="*/ 1074121 h 1907778"/>
                <a:gd name="connsiteX53" fmla="*/ 2431886 w 2583265"/>
                <a:gd name="connsiteY53" fmla="*/ 1074121 h 1907778"/>
                <a:gd name="connsiteX54" fmla="*/ 2442219 w 2583265"/>
                <a:gd name="connsiteY54" fmla="*/ 1080139 h 1907778"/>
                <a:gd name="connsiteX55" fmla="*/ 2444544 w 2583265"/>
                <a:gd name="connsiteY55" fmla="*/ 1082145 h 1907778"/>
                <a:gd name="connsiteX56" fmla="*/ 2452810 w 2583265"/>
                <a:gd name="connsiteY56" fmla="*/ 1090169 h 1907778"/>
                <a:gd name="connsiteX57" fmla="*/ 2456944 w 2583265"/>
                <a:gd name="connsiteY57" fmla="*/ 1092175 h 1907778"/>
                <a:gd name="connsiteX58" fmla="*/ 2465468 w 2583265"/>
                <a:gd name="connsiteY58" fmla="*/ 1104211 h 1907778"/>
                <a:gd name="connsiteX59" fmla="*/ 2476060 w 2583265"/>
                <a:gd name="connsiteY59" fmla="*/ 1114240 h 1907778"/>
                <a:gd name="connsiteX60" fmla="*/ 2482260 w 2583265"/>
                <a:gd name="connsiteY60" fmla="*/ 1118252 h 1907778"/>
                <a:gd name="connsiteX61" fmla="*/ 2488718 w 2583265"/>
                <a:gd name="connsiteY61" fmla="*/ 1118252 h 1907778"/>
                <a:gd name="connsiteX62" fmla="*/ 2509642 w 2583265"/>
                <a:gd name="connsiteY62" fmla="*/ 1134300 h 1907778"/>
                <a:gd name="connsiteX63" fmla="*/ 2518167 w 2583265"/>
                <a:gd name="connsiteY63" fmla="*/ 1138312 h 1907778"/>
                <a:gd name="connsiteX64" fmla="*/ 2528500 w 2583265"/>
                <a:gd name="connsiteY64" fmla="*/ 1148342 h 1907778"/>
                <a:gd name="connsiteX65" fmla="*/ 2541158 w 2583265"/>
                <a:gd name="connsiteY65" fmla="*/ 1150348 h 1907778"/>
                <a:gd name="connsiteX66" fmla="*/ 2566474 w 2583265"/>
                <a:gd name="connsiteY66" fmla="*/ 1180283 h 1907778"/>
                <a:gd name="connsiteX67" fmla="*/ 2579132 w 2583265"/>
                <a:gd name="connsiteY67" fmla="*/ 1200343 h 1907778"/>
                <a:gd name="connsiteX68" fmla="*/ 2583265 w 2583265"/>
                <a:gd name="connsiteY68" fmla="*/ 1210373 h 1907778"/>
                <a:gd name="connsiteX69" fmla="*/ 2583265 w 2583265"/>
                <a:gd name="connsiteY69" fmla="*/ 1216391 h 1907778"/>
                <a:gd name="connsiteX70" fmla="*/ 2583265 w 2583265"/>
                <a:gd name="connsiteY70" fmla="*/ 1222409 h 1907778"/>
                <a:gd name="connsiteX71" fmla="*/ 2581199 w 2583265"/>
                <a:gd name="connsiteY71" fmla="*/ 1224415 h 1907778"/>
                <a:gd name="connsiteX72" fmla="*/ 2579132 w 2583265"/>
                <a:gd name="connsiteY72" fmla="*/ 1226421 h 1907778"/>
                <a:gd name="connsiteX73" fmla="*/ 2570607 w 2583265"/>
                <a:gd name="connsiteY73" fmla="*/ 1226421 h 1907778"/>
                <a:gd name="connsiteX74" fmla="*/ 2568541 w 2583265"/>
                <a:gd name="connsiteY74" fmla="*/ 1230432 h 1907778"/>
                <a:gd name="connsiteX75" fmla="*/ 2562341 w 2583265"/>
                <a:gd name="connsiteY75" fmla="*/ 1232438 h 1907778"/>
                <a:gd name="connsiteX76" fmla="*/ 2549683 w 2583265"/>
                <a:gd name="connsiteY76" fmla="*/ 1244474 h 1907778"/>
                <a:gd name="connsiteX77" fmla="*/ 2534958 w 2583265"/>
                <a:gd name="connsiteY77" fmla="*/ 1256510 h 1907778"/>
                <a:gd name="connsiteX78" fmla="*/ 2509642 w 2583265"/>
                <a:gd name="connsiteY78" fmla="*/ 1286600 h 1907778"/>
                <a:gd name="connsiteX79" fmla="*/ 2494918 w 2583265"/>
                <a:gd name="connsiteY79" fmla="*/ 1300641 h 1907778"/>
                <a:gd name="connsiteX80" fmla="*/ 2476060 w 2583265"/>
                <a:gd name="connsiteY80" fmla="*/ 1304653 h 1907778"/>
                <a:gd name="connsiteX81" fmla="*/ 2465468 w 2583265"/>
                <a:gd name="connsiteY81" fmla="*/ 1310671 h 1907778"/>
                <a:gd name="connsiteX82" fmla="*/ 2454877 w 2583265"/>
                <a:gd name="connsiteY82" fmla="*/ 1316535 h 1907778"/>
                <a:gd name="connsiteX83" fmla="*/ 2436019 w 2583265"/>
                <a:gd name="connsiteY83" fmla="*/ 1332583 h 1907778"/>
                <a:gd name="connsiteX84" fmla="*/ 2412770 w 2583265"/>
                <a:gd name="connsiteY84" fmla="*/ 1342613 h 1907778"/>
                <a:gd name="connsiteX85" fmla="*/ 2389779 w 2583265"/>
                <a:gd name="connsiteY85" fmla="*/ 1356654 h 1907778"/>
                <a:gd name="connsiteX86" fmla="*/ 2381254 w 2583265"/>
                <a:gd name="connsiteY86" fmla="*/ 1364678 h 1907778"/>
                <a:gd name="connsiteX87" fmla="*/ 2377121 w 2583265"/>
                <a:gd name="connsiteY87" fmla="*/ 1368690 h 1907778"/>
                <a:gd name="connsiteX88" fmla="*/ 2370921 w 2583265"/>
                <a:gd name="connsiteY88" fmla="*/ 1376714 h 1907778"/>
                <a:gd name="connsiteX89" fmla="*/ 2368597 w 2583265"/>
                <a:gd name="connsiteY89" fmla="*/ 1386743 h 1907778"/>
                <a:gd name="connsiteX90" fmla="*/ 2368698 w 2583265"/>
                <a:gd name="connsiteY90" fmla="*/ 1386745 h 1907778"/>
                <a:gd name="connsiteX91" fmla="*/ 2368698 w 2583265"/>
                <a:gd name="connsiteY91" fmla="*/ 1398769 h 1907778"/>
                <a:gd name="connsiteX92" fmla="*/ 2366595 w 2583265"/>
                <a:gd name="connsiteY92" fmla="*/ 1408789 h 1907778"/>
                <a:gd name="connsiteX93" fmla="*/ 2360284 w 2583265"/>
                <a:gd name="connsiteY93" fmla="*/ 1418809 h 1907778"/>
                <a:gd name="connsiteX94" fmla="*/ 2356076 w 2583265"/>
                <a:gd name="connsiteY94" fmla="*/ 1428829 h 1907778"/>
                <a:gd name="connsiteX95" fmla="*/ 2339247 w 2583265"/>
                <a:gd name="connsiteY95" fmla="*/ 1446864 h 1907778"/>
                <a:gd name="connsiteX96" fmla="*/ 2320315 w 2583265"/>
                <a:gd name="connsiteY96" fmla="*/ 1462896 h 1907778"/>
                <a:gd name="connsiteX97" fmla="*/ 2309796 w 2583265"/>
                <a:gd name="connsiteY97" fmla="*/ 1466904 h 1907778"/>
                <a:gd name="connsiteX98" fmla="*/ 2303486 w 2583265"/>
                <a:gd name="connsiteY98" fmla="*/ 1476924 h 1907778"/>
                <a:gd name="connsiteX99" fmla="*/ 2299278 w 2583265"/>
                <a:gd name="connsiteY99" fmla="*/ 1478928 h 1907778"/>
                <a:gd name="connsiteX100" fmla="*/ 2297175 w 2583265"/>
                <a:gd name="connsiteY100" fmla="*/ 1484940 h 1907778"/>
                <a:gd name="connsiteX101" fmla="*/ 2299278 w 2583265"/>
                <a:gd name="connsiteY101" fmla="*/ 1488948 h 1907778"/>
                <a:gd name="connsiteX102" fmla="*/ 2305589 w 2583265"/>
                <a:gd name="connsiteY102" fmla="*/ 1494959 h 1907778"/>
                <a:gd name="connsiteX103" fmla="*/ 2309796 w 2583265"/>
                <a:gd name="connsiteY103" fmla="*/ 1498967 h 1907778"/>
                <a:gd name="connsiteX104" fmla="*/ 2314004 w 2583265"/>
                <a:gd name="connsiteY104" fmla="*/ 1502975 h 1907778"/>
                <a:gd name="connsiteX105" fmla="*/ 2314004 w 2583265"/>
                <a:gd name="connsiteY105" fmla="*/ 1506983 h 1907778"/>
                <a:gd name="connsiteX106" fmla="*/ 2314004 w 2583265"/>
                <a:gd name="connsiteY106" fmla="*/ 1508987 h 1907778"/>
                <a:gd name="connsiteX107" fmla="*/ 2309796 w 2583265"/>
                <a:gd name="connsiteY107" fmla="*/ 1514999 h 1907778"/>
                <a:gd name="connsiteX108" fmla="*/ 2309796 w 2583265"/>
                <a:gd name="connsiteY108" fmla="*/ 1517003 h 1907778"/>
                <a:gd name="connsiteX109" fmla="*/ 2314004 w 2583265"/>
                <a:gd name="connsiteY109" fmla="*/ 1523015 h 1907778"/>
                <a:gd name="connsiteX110" fmla="*/ 2316107 w 2583265"/>
                <a:gd name="connsiteY110" fmla="*/ 1527023 h 1907778"/>
                <a:gd name="connsiteX111" fmla="*/ 2316107 w 2583265"/>
                <a:gd name="connsiteY111" fmla="*/ 1533035 h 1907778"/>
                <a:gd name="connsiteX112" fmla="*/ 2314004 w 2583265"/>
                <a:gd name="connsiteY112" fmla="*/ 1537043 h 1907778"/>
                <a:gd name="connsiteX113" fmla="*/ 2305589 w 2583265"/>
                <a:gd name="connsiteY113" fmla="*/ 1545059 h 1907778"/>
                <a:gd name="connsiteX114" fmla="*/ 2303486 w 2583265"/>
                <a:gd name="connsiteY114" fmla="*/ 1549067 h 1907778"/>
                <a:gd name="connsiteX115" fmla="*/ 2303486 w 2583265"/>
                <a:gd name="connsiteY115" fmla="*/ 1563095 h 1907778"/>
                <a:gd name="connsiteX116" fmla="*/ 2305589 w 2583265"/>
                <a:gd name="connsiteY116" fmla="*/ 1577122 h 1907778"/>
                <a:gd name="connsiteX117" fmla="*/ 2307693 w 2583265"/>
                <a:gd name="connsiteY117" fmla="*/ 1617202 h 1907778"/>
                <a:gd name="connsiteX118" fmla="*/ 2307693 w 2583265"/>
                <a:gd name="connsiteY118" fmla="*/ 1641250 h 1907778"/>
                <a:gd name="connsiteX119" fmla="*/ 2309796 w 2583265"/>
                <a:gd name="connsiteY119" fmla="*/ 1651269 h 1907778"/>
                <a:gd name="connsiteX120" fmla="*/ 2314004 w 2583265"/>
                <a:gd name="connsiteY120" fmla="*/ 1657281 h 1907778"/>
                <a:gd name="connsiteX121" fmla="*/ 2318211 w 2583265"/>
                <a:gd name="connsiteY121" fmla="*/ 1667301 h 1907778"/>
                <a:gd name="connsiteX122" fmla="*/ 2318211 w 2583265"/>
                <a:gd name="connsiteY122" fmla="*/ 1671309 h 1907778"/>
                <a:gd name="connsiteX123" fmla="*/ 2309796 w 2583265"/>
                <a:gd name="connsiteY123" fmla="*/ 1685337 h 1907778"/>
                <a:gd name="connsiteX124" fmla="*/ 2307693 w 2583265"/>
                <a:gd name="connsiteY124" fmla="*/ 1689345 h 1907778"/>
                <a:gd name="connsiteX125" fmla="*/ 2303486 w 2583265"/>
                <a:gd name="connsiteY125" fmla="*/ 1691349 h 1907778"/>
                <a:gd name="connsiteX126" fmla="*/ 2295071 w 2583265"/>
                <a:gd name="connsiteY126" fmla="*/ 1695357 h 1907778"/>
                <a:gd name="connsiteX127" fmla="*/ 2292967 w 2583265"/>
                <a:gd name="connsiteY127" fmla="*/ 1699365 h 1907778"/>
                <a:gd name="connsiteX128" fmla="*/ 2295071 w 2583265"/>
                <a:gd name="connsiteY128" fmla="*/ 1707381 h 1907778"/>
                <a:gd name="connsiteX129" fmla="*/ 2297175 w 2583265"/>
                <a:gd name="connsiteY129" fmla="*/ 1717401 h 1907778"/>
                <a:gd name="connsiteX130" fmla="*/ 2295071 w 2583265"/>
                <a:gd name="connsiteY130" fmla="*/ 1717401 h 1907778"/>
                <a:gd name="connsiteX131" fmla="*/ 2292967 w 2583265"/>
                <a:gd name="connsiteY131" fmla="*/ 1749464 h 1907778"/>
                <a:gd name="connsiteX132" fmla="*/ 2286656 w 2583265"/>
                <a:gd name="connsiteY132" fmla="*/ 1781528 h 1907778"/>
                <a:gd name="connsiteX133" fmla="*/ 2286656 w 2583265"/>
                <a:gd name="connsiteY133" fmla="*/ 1783532 h 1907778"/>
                <a:gd name="connsiteX134" fmla="*/ 2288760 w 2583265"/>
                <a:gd name="connsiteY134" fmla="*/ 1789544 h 1907778"/>
                <a:gd name="connsiteX135" fmla="*/ 2292967 w 2583265"/>
                <a:gd name="connsiteY135" fmla="*/ 1791548 h 1907778"/>
                <a:gd name="connsiteX136" fmla="*/ 2295071 w 2583265"/>
                <a:gd name="connsiteY136" fmla="*/ 1793552 h 1907778"/>
                <a:gd name="connsiteX137" fmla="*/ 2295071 w 2583265"/>
                <a:gd name="connsiteY137" fmla="*/ 1799563 h 1907778"/>
                <a:gd name="connsiteX138" fmla="*/ 2288760 w 2583265"/>
                <a:gd name="connsiteY138" fmla="*/ 1801567 h 1907778"/>
                <a:gd name="connsiteX139" fmla="*/ 2282449 w 2583265"/>
                <a:gd name="connsiteY139" fmla="*/ 1811587 h 1907778"/>
                <a:gd name="connsiteX140" fmla="*/ 2276138 w 2583265"/>
                <a:gd name="connsiteY140" fmla="*/ 1817599 h 1907778"/>
                <a:gd name="connsiteX141" fmla="*/ 2267724 w 2583265"/>
                <a:gd name="connsiteY141" fmla="*/ 1827619 h 1907778"/>
                <a:gd name="connsiteX142" fmla="*/ 2261413 w 2583265"/>
                <a:gd name="connsiteY142" fmla="*/ 1839643 h 1907778"/>
                <a:gd name="connsiteX143" fmla="*/ 2248791 w 2583265"/>
                <a:gd name="connsiteY143" fmla="*/ 1859683 h 1907778"/>
                <a:gd name="connsiteX144" fmla="*/ 2231962 w 2583265"/>
                <a:gd name="connsiteY144" fmla="*/ 1879722 h 1907778"/>
                <a:gd name="connsiteX145" fmla="*/ 2223547 w 2583265"/>
                <a:gd name="connsiteY145" fmla="*/ 1901766 h 1907778"/>
                <a:gd name="connsiteX146" fmla="*/ 2221444 w 2583265"/>
                <a:gd name="connsiteY146" fmla="*/ 1903770 h 1907778"/>
                <a:gd name="connsiteX147" fmla="*/ 2095226 w 2583265"/>
                <a:gd name="connsiteY147" fmla="*/ 1901766 h 1907778"/>
                <a:gd name="connsiteX148" fmla="*/ 1969007 w 2583265"/>
                <a:gd name="connsiteY148" fmla="*/ 1901766 h 1907778"/>
                <a:gd name="connsiteX149" fmla="*/ 1714467 w 2583265"/>
                <a:gd name="connsiteY149" fmla="*/ 1901766 h 1907778"/>
                <a:gd name="connsiteX150" fmla="*/ 1459927 w 2583265"/>
                <a:gd name="connsiteY150" fmla="*/ 1907778 h 1907778"/>
                <a:gd name="connsiteX151" fmla="*/ 1205387 w 2583265"/>
                <a:gd name="connsiteY151" fmla="*/ 1907778 h 1907778"/>
                <a:gd name="connsiteX152" fmla="*/ 708929 w 2583265"/>
                <a:gd name="connsiteY152" fmla="*/ 1907778 h 1907778"/>
                <a:gd name="connsiteX153" fmla="*/ 614265 w 2583265"/>
                <a:gd name="connsiteY153" fmla="*/ 1903770 h 1907778"/>
                <a:gd name="connsiteX154" fmla="*/ 528016 w 2583265"/>
                <a:gd name="connsiteY154" fmla="*/ 1901766 h 1907778"/>
                <a:gd name="connsiteX155" fmla="*/ 496462 w 2583265"/>
                <a:gd name="connsiteY155" fmla="*/ 1901766 h 1907778"/>
                <a:gd name="connsiteX156" fmla="*/ 460700 w 2583265"/>
                <a:gd name="connsiteY156" fmla="*/ 1907778 h 1907778"/>
                <a:gd name="connsiteX157" fmla="*/ 424938 w 2583265"/>
                <a:gd name="connsiteY157" fmla="*/ 1907778 h 1907778"/>
                <a:gd name="connsiteX158" fmla="*/ 408109 w 2583265"/>
                <a:gd name="connsiteY158" fmla="*/ 1903770 h 1907778"/>
                <a:gd name="connsiteX159" fmla="*/ 393383 w 2583265"/>
                <a:gd name="connsiteY159" fmla="*/ 1901766 h 1907778"/>
                <a:gd name="connsiteX160" fmla="*/ 393383 w 2583265"/>
                <a:gd name="connsiteY160" fmla="*/ 1899762 h 1907778"/>
                <a:gd name="connsiteX161" fmla="*/ 393383 w 2583265"/>
                <a:gd name="connsiteY161" fmla="*/ 1897758 h 1907778"/>
                <a:gd name="connsiteX162" fmla="*/ 393383 w 2583265"/>
                <a:gd name="connsiteY162" fmla="*/ 1893750 h 1907778"/>
                <a:gd name="connsiteX163" fmla="*/ 391280 w 2583265"/>
                <a:gd name="connsiteY163" fmla="*/ 1891746 h 1907778"/>
                <a:gd name="connsiteX164" fmla="*/ 361829 w 2583265"/>
                <a:gd name="connsiteY164" fmla="*/ 1879722 h 1907778"/>
                <a:gd name="connsiteX165" fmla="*/ 302927 w 2583265"/>
                <a:gd name="connsiteY165" fmla="*/ 1853671 h 1907778"/>
                <a:gd name="connsiteX166" fmla="*/ 305031 w 2583265"/>
                <a:gd name="connsiteY166" fmla="*/ 1839643 h 1907778"/>
                <a:gd name="connsiteX167" fmla="*/ 201953 w 2583265"/>
                <a:gd name="connsiteY167" fmla="*/ 1841647 h 1907778"/>
                <a:gd name="connsiteX168" fmla="*/ 201953 w 2583265"/>
                <a:gd name="connsiteY168" fmla="*/ 1827619 h 1907778"/>
                <a:gd name="connsiteX169" fmla="*/ 206160 w 2583265"/>
                <a:gd name="connsiteY169" fmla="*/ 1813591 h 1907778"/>
                <a:gd name="connsiteX170" fmla="*/ 210367 w 2583265"/>
                <a:gd name="connsiteY170" fmla="*/ 1799563 h 1907778"/>
                <a:gd name="connsiteX171" fmla="*/ 220885 w 2583265"/>
                <a:gd name="connsiteY171" fmla="*/ 1783532 h 1907778"/>
                <a:gd name="connsiteX172" fmla="*/ 241922 w 2583265"/>
                <a:gd name="connsiteY172" fmla="*/ 1757480 h 1907778"/>
                <a:gd name="connsiteX173" fmla="*/ 260854 w 2583265"/>
                <a:gd name="connsiteY173" fmla="*/ 1735436 h 1907778"/>
                <a:gd name="connsiteX174" fmla="*/ 265062 w 2583265"/>
                <a:gd name="connsiteY174" fmla="*/ 1727420 h 1907778"/>
                <a:gd name="connsiteX175" fmla="*/ 265062 w 2583265"/>
                <a:gd name="connsiteY175" fmla="*/ 1717401 h 1907778"/>
                <a:gd name="connsiteX176" fmla="*/ 260854 w 2583265"/>
                <a:gd name="connsiteY176" fmla="*/ 1707381 h 1907778"/>
                <a:gd name="connsiteX177" fmla="*/ 252440 w 2583265"/>
                <a:gd name="connsiteY177" fmla="*/ 1699365 h 1907778"/>
                <a:gd name="connsiteX178" fmla="*/ 244025 w 2583265"/>
                <a:gd name="connsiteY178" fmla="*/ 1691349 h 1907778"/>
                <a:gd name="connsiteX179" fmla="*/ 233507 w 2583265"/>
                <a:gd name="connsiteY179" fmla="*/ 1687341 h 1907778"/>
                <a:gd name="connsiteX180" fmla="*/ 222989 w 2583265"/>
                <a:gd name="connsiteY180" fmla="*/ 1681329 h 1907778"/>
                <a:gd name="connsiteX181" fmla="*/ 210367 w 2583265"/>
                <a:gd name="connsiteY181" fmla="*/ 1679325 h 1907778"/>
                <a:gd name="connsiteX182" fmla="*/ 195642 w 2583265"/>
                <a:gd name="connsiteY182" fmla="*/ 1679325 h 1907778"/>
                <a:gd name="connsiteX183" fmla="*/ 189331 w 2583265"/>
                <a:gd name="connsiteY183" fmla="*/ 1677321 h 1907778"/>
                <a:gd name="connsiteX184" fmla="*/ 187227 w 2583265"/>
                <a:gd name="connsiteY184" fmla="*/ 1675317 h 1907778"/>
                <a:gd name="connsiteX185" fmla="*/ 187227 w 2583265"/>
                <a:gd name="connsiteY185" fmla="*/ 1665297 h 1907778"/>
                <a:gd name="connsiteX186" fmla="*/ 187227 w 2583265"/>
                <a:gd name="connsiteY186" fmla="*/ 1647261 h 1907778"/>
                <a:gd name="connsiteX187" fmla="*/ 185123 w 2583265"/>
                <a:gd name="connsiteY187" fmla="*/ 1641250 h 1907778"/>
                <a:gd name="connsiteX188" fmla="*/ 180916 w 2583265"/>
                <a:gd name="connsiteY188" fmla="*/ 1641250 h 1907778"/>
                <a:gd name="connsiteX189" fmla="*/ 174605 w 2583265"/>
                <a:gd name="connsiteY189" fmla="*/ 1639246 h 1907778"/>
                <a:gd name="connsiteX190" fmla="*/ 166191 w 2583265"/>
                <a:gd name="connsiteY190" fmla="*/ 1637242 h 1907778"/>
                <a:gd name="connsiteX191" fmla="*/ 157776 w 2583265"/>
                <a:gd name="connsiteY191" fmla="*/ 1631230 h 1907778"/>
                <a:gd name="connsiteX192" fmla="*/ 85470 w 2583265"/>
                <a:gd name="connsiteY192" fmla="*/ 1544637 h 1907778"/>
                <a:gd name="connsiteX193" fmla="*/ 82642 w 2583265"/>
                <a:gd name="connsiteY193" fmla="*/ 1541855 h 1907778"/>
                <a:gd name="connsiteX194" fmla="*/ 84142 w 2583265"/>
                <a:gd name="connsiteY194" fmla="*/ 1543000 h 1907778"/>
                <a:gd name="connsiteX195" fmla="*/ 83972 w 2583265"/>
                <a:gd name="connsiteY195" fmla="*/ 1541535 h 1907778"/>
                <a:gd name="connsiteX196" fmla="*/ 82642 w 2583265"/>
                <a:gd name="connsiteY196" fmla="*/ 1541855 h 1907778"/>
                <a:gd name="connsiteX197" fmla="*/ 10592 w 2583265"/>
                <a:gd name="connsiteY197" fmla="*/ 1486888 h 1907778"/>
                <a:gd name="connsiteX198" fmla="*/ 6200 w 2583265"/>
                <a:gd name="connsiteY198" fmla="*/ 1476858 h 1907778"/>
                <a:gd name="connsiteX199" fmla="*/ 2067 w 2583265"/>
                <a:gd name="connsiteY199" fmla="*/ 1468834 h 1907778"/>
                <a:gd name="connsiteX200" fmla="*/ 0 w 2583265"/>
                <a:gd name="connsiteY200" fmla="*/ 1464977 h 1907778"/>
                <a:gd name="connsiteX201" fmla="*/ 2067 w 2583265"/>
                <a:gd name="connsiteY201" fmla="*/ 1458959 h 1907778"/>
                <a:gd name="connsiteX202" fmla="*/ 10592 w 2583265"/>
                <a:gd name="connsiteY202" fmla="*/ 1448929 h 1907778"/>
                <a:gd name="connsiteX203" fmla="*/ 20925 w 2583265"/>
                <a:gd name="connsiteY203" fmla="*/ 1436893 h 1907778"/>
                <a:gd name="connsiteX204" fmla="*/ 27383 w 2583265"/>
                <a:gd name="connsiteY204" fmla="*/ 1432881 h 1907778"/>
                <a:gd name="connsiteX205" fmla="*/ 31516 w 2583265"/>
                <a:gd name="connsiteY205" fmla="*/ 1432881 h 1907778"/>
                <a:gd name="connsiteX206" fmla="*/ 33583 w 2583265"/>
                <a:gd name="connsiteY206" fmla="*/ 1432881 h 1907778"/>
                <a:gd name="connsiteX207" fmla="*/ 40041 w 2583265"/>
                <a:gd name="connsiteY207" fmla="*/ 1432881 h 1907778"/>
                <a:gd name="connsiteX208" fmla="*/ 48307 w 2583265"/>
                <a:gd name="connsiteY208" fmla="*/ 1424857 h 1907778"/>
                <a:gd name="connsiteX209" fmla="*/ 54765 w 2583265"/>
                <a:gd name="connsiteY209" fmla="*/ 1408810 h 1907778"/>
                <a:gd name="connsiteX210" fmla="*/ 71557 w 2583265"/>
                <a:gd name="connsiteY210" fmla="*/ 1366684 h 1907778"/>
                <a:gd name="connsiteX211" fmla="*/ 84215 w 2583265"/>
                <a:gd name="connsiteY211" fmla="*/ 1322553 h 1907778"/>
                <a:gd name="connsiteX212" fmla="*/ 101006 w 2583265"/>
                <a:gd name="connsiteY212" fmla="*/ 1270552 h 1907778"/>
                <a:gd name="connsiteX213" fmla="*/ 107206 w 2583265"/>
                <a:gd name="connsiteY213" fmla="*/ 1242468 h 1907778"/>
                <a:gd name="connsiteX214" fmla="*/ 111597 w 2583265"/>
                <a:gd name="connsiteY214" fmla="*/ 1226421 h 1907778"/>
                <a:gd name="connsiteX215" fmla="*/ 111597 w 2583265"/>
                <a:gd name="connsiteY215" fmla="*/ 1214385 h 1907778"/>
                <a:gd name="connsiteX216" fmla="*/ 101006 w 2583265"/>
                <a:gd name="connsiteY216" fmla="*/ 1000054 h 1907778"/>
                <a:gd name="connsiteX217" fmla="*/ 94548 w 2583265"/>
                <a:gd name="connsiteY217" fmla="*/ 895744 h 1907778"/>
                <a:gd name="connsiteX218" fmla="*/ 92481 w 2583265"/>
                <a:gd name="connsiteY218" fmla="*/ 785570 h 1907778"/>
                <a:gd name="connsiteX219" fmla="*/ 101006 w 2583265"/>
                <a:gd name="connsiteY219" fmla="*/ 785570 h 1907778"/>
                <a:gd name="connsiteX220" fmla="*/ 107206 w 2583265"/>
                <a:gd name="connsiteY220" fmla="*/ 785570 h 1907778"/>
                <a:gd name="connsiteX221" fmla="*/ 111597 w 2583265"/>
                <a:gd name="connsiteY221" fmla="*/ 781558 h 1907778"/>
                <a:gd name="connsiteX222" fmla="*/ 113664 w 2583265"/>
                <a:gd name="connsiteY222" fmla="*/ 777546 h 1907778"/>
                <a:gd name="connsiteX223" fmla="*/ 113664 w 2583265"/>
                <a:gd name="connsiteY223" fmla="*/ 765510 h 1907778"/>
                <a:gd name="connsiteX224" fmla="*/ 111597 w 2583265"/>
                <a:gd name="connsiteY224" fmla="*/ 749462 h 1907778"/>
                <a:gd name="connsiteX225" fmla="*/ 111597 w 2583265"/>
                <a:gd name="connsiteY225" fmla="*/ 663360 h 1907778"/>
                <a:gd name="connsiteX226" fmla="*/ 107206 w 2583265"/>
                <a:gd name="connsiteY226" fmla="*/ 563061 h 1907778"/>
                <a:gd name="connsiteX227" fmla="*/ 117797 w 2583265"/>
                <a:gd name="connsiteY227" fmla="*/ 565067 h 1907778"/>
                <a:gd name="connsiteX228" fmla="*/ 117797 w 2583265"/>
                <a:gd name="connsiteY228" fmla="*/ 482977 h 1907778"/>
                <a:gd name="connsiteX229" fmla="*/ 117797 w 2583265"/>
                <a:gd name="connsiteY229" fmla="*/ 400732 h 1907778"/>
                <a:gd name="connsiteX230" fmla="*/ 115731 w 2583265"/>
                <a:gd name="connsiteY230" fmla="*/ 234390 h 1907778"/>
                <a:gd name="connsiteX231" fmla="*/ 113664 w 2583265"/>
                <a:gd name="connsiteY231" fmla="*/ 180383 h 1907778"/>
                <a:gd name="connsiteX232" fmla="*/ 113664 w 2583265"/>
                <a:gd name="connsiteY232" fmla="*/ 122210 h 1907778"/>
                <a:gd name="connsiteX233" fmla="*/ 113664 w 2583265"/>
                <a:gd name="connsiteY233" fmla="*/ 118198 h 1907778"/>
                <a:gd name="connsiteX234" fmla="*/ 117797 w 2583265"/>
                <a:gd name="connsiteY234" fmla="*/ 114186 h 1907778"/>
                <a:gd name="connsiteX235" fmla="*/ 121930 w 2583265"/>
                <a:gd name="connsiteY235" fmla="*/ 114186 h 1907778"/>
                <a:gd name="connsiteX236" fmla="*/ 123997 w 2583265"/>
                <a:gd name="connsiteY236" fmla="*/ 108168 h 1907778"/>
                <a:gd name="connsiteX237" fmla="*/ 121930 w 2583265"/>
                <a:gd name="connsiteY237" fmla="*/ 102151 h 1907778"/>
                <a:gd name="connsiteX238" fmla="*/ 117797 w 2583265"/>
                <a:gd name="connsiteY238" fmla="*/ 100145 h 1907778"/>
                <a:gd name="connsiteX239" fmla="*/ 107206 w 2583265"/>
                <a:gd name="connsiteY239" fmla="*/ 100145 h 1907778"/>
                <a:gd name="connsiteX240" fmla="*/ 96873 w 2583265"/>
                <a:gd name="connsiteY240" fmla="*/ 102151 h 1907778"/>
                <a:gd name="connsiteX241" fmla="*/ 92481 w 2583265"/>
                <a:gd name="connsiteY241" fmla="*/ 100145 h 1907778"/>
                <a:gd name="connsiteX242" fmla="*/ 92481 w 2583265"/>
                <a:gd name="connsiteY242" fmla="*/ 98139 h 1907778"/>
                <a:gd name="connsiteX243" fmla="*/ 90415 w 2583265"/>
                <a:gd name="connsiteY243" fmla="*/ 86103 h 1907778"/>
                <a:gd name="connsiteX244" fmla="*/ 90415 w 2583265"/>
                <a:gd name="connsiteY244" fmla="*/ 80085 h 1907778"/>
                <a:gd name="connsiteX245" fmla="*/ 94548 w 2583265"/>
                <a:gd name="connsiteY245" fmla="*/ 76227 h 1907778"/>
                <a:gd name="connsiteX246" fmla="*/ 105139 w 2583265"/>
                <a:gd name="connsiteY246" fmla="*/ 76227 h 1907778"/>
                <a:gd name="connsiteX247" fmla="*/ 107206 w 2583265"/>
                <a:gd name="connsiteY247" fmla="*/ 72215 h 1907778"/>
                <a:gd name="connsiteX248" fmla="*/ 111597 w 2583265"/>
                <a:gd name="connsiteY248" fmla="*/ 66197 h 1907778"/>
                <a:gd name="connsiteX249" fmla="*/ 111597 w 2583265"/>
                <a:gd name="connsiteY249" fmla="*/ 40120 h 1907778"/>
                <a:gd name="connsiteX250" fmla="*/ 107206 w 2583265"/>
                <a:gd name="connsiteY250" fmla="*/ 0 h 1907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2583265" h="1907778">
                  <a:moveTo>
                    <a:pt x="107206" y="0"/>
                  </a:moveTo>
                  <a:lnTo>
                    <a:pt x="462921" y="2006"/>
                  </a:lnTo>
                  <a:lnTo>
                    <a:pt x="816312" y="2006"/>
                  </a:lnTo>
                  <a:lnTo>
                    <a:pt x="1171769" y="2006"/>
                  </a:lnTo>
                  <a:lnTo>
                    <a:pt x="1525160" y="6018"/>
                  </a:lnTo>
                  <a:lnTo>
                    <a:pt x="1874417" y="322653"/>
                  </a:lnTo>
                  <a:lnTo>
                    <a:pt x="2051113" y="482977"/>
                  </a:lnTo>
                  <a:lnTo>
                    <a:pt x="2221350" y="645306"/>
                  </a:lnTo>
                  <a:lnTo>
                    <a:pt x="2223416" y="645306"/>
                  </a:lnTo>
                  <a:lnTo>
                    <a:pt x="2223416" y="669378"/>
                  </a:lnTo>
                  <a:lnTo>
                    <a:pt x="2223416" y="699313"/>
                  </a:lnTo>
                  <a:lnTo>
                    <a:pt x="2223416" y="729402"/>
                  </a:lnTo>
                  <a:cubicBezTo>
                    <a:pt x="2224966" y="733414"/>
                    <a:pt x="2226258" y="737426"/>
                    <a:pt x="2227808" y="741438"/>
                  </a:cubicBezTo>
                  <a:cubicBezTo>
                    <a:pt x="2229100" y="744061"/>
                    <a:pt x="2230650" y="746839"/>
                    <a:pt x="2231941" y="749462"/>
                  </a:cubicBezTo>
                  <a:lnTo>
                    <a:pt x="2238141" y="755480"/>
                  </a:lnTo>
                  <a:lnTo>
                    <a:pt x="2240466" y="755480"/>
                  </a:lnTo>
                  <a:cubicBezTo>
                    <a:pt x="2243824" y="757486"/>
                    <a:pt x="2247441" y="759492"/>
                    <a:pt x="2250799" y="761498"/>
                  </a:cubicBezTo>
                  <a:lnTo>
                    <a:pt x="2259324" y="767516"/>
                  </a:lnTo>
                  <a:cubicBezTo>
                    <a:pt x="2261390" y="770139"/>
                    <a:pt x="2263457" y="772917"/>
                    <a:pt x="2265524" y="775540"/>
                  </a:cubicBezTo>
                  <a:cubicBezTo>
                    <a:pt x="2267590" y="778935"/>
                    <a:pt x="2269915" y="782175"/>
                    <a:pt x="2271982" y="785570"/>
                  </a:cubicBezTo>
                  <a:cubicBezTo>
                    <a:pt x="2272757" y="789582"/>
                    <a:pt x="2273273" y="793594"/>
                    <a:pt x="2274048" y="797605"/>
                  </a:cubicBezTo>
                  <a:cubicBezTo>
                    <a:pt x="2276890" y="805012"/>
                    <a:pt x="2279732" y="812265"/>
                    <a:pt x="2282573" y="819671"/>
                  </a:cubicBezTo>
                  <a:cubicBezTo>
                    <a:pt x="2283865" y="823066"/>
                    <a:pt x="2285415" y="826306"/>
                    <a:pt x="2286706" y="829701"/>
                  </a:cubicBezTo>
                  <a:cubicBezTo>
                    <a:pt x="2289548" y="833096"/>
                    <a:pt x="2292131" y="836336"/>
                    <a:pt x="2294973" y="839731"/>
                  </a:cubicBezTo>
                  <a:cubicBezTo>
                    <a:pt x="2295748" y="840348"/>
                    <a:pt x="2296523" y="841120"/>
                    <a:pt x="2297298" y="841737"/>
                  </a:cubicBezTo>
                  <a:lnTo>
                    <a:pt x="2305564" y="845749"/>
                  </a:lnTo>
                  <a:cubicBezTo>
                    <a:pt x="2306856" y="846983"/>
                    <a:pt x="2308406" y="848372"/>
                    <a:pt x="2309697" y="849606"/>
                  </a:cubicBezTo>
                  <a:cubicBezTo>
                    <a:pt x="2312539" y="850224"/>
                    <a:pt x="2315381" y="850995"/>
                    <a:pt x="2318222" y="851612"/>
                  </a:cubicBezTo>
                  <a:lnTo>
                    <a:pt x="2326747" y="857630"/>
                  </a:lnTo>
                  <a:lnTo>
                    <a:pt x="2335013" y="861642"/>
                  </a:lnTo>
                  <a:cubicBezTo>
                    <a:pt x="2336305" y="863648"/>
                    <a:pt x="2337855" y="865654"/>
                    <a:pt x="2339147" y="867660"/>
                  </a:cubicBezTo>
                  <a:cubicBezTo>
                    <a:pt x="2341213" y="872289"/>
                    <a:pt x="2343538" y="877073"/>
                    <a:pt x="2345605" y="881702"/>
                  </a:cubicBezTo>
                  <a:cubicBezTo>
                    <a:pt x="2346380" y="886331"/>
                    <a:pt x="2346896" y="891115"/>
                    <a:pt x="2347671" y="895744"/>
                  </a:cubicBezTo>
                  <a:cubicBezTo>
                    <a:pt x="2348963" y="900373"/>
                    <a:pt x="2350513" y="905156"/>
                    <a:pt x="2351805" y="909786"/>
                  </a:cubicBezTo>
                  <a:cubicBezTo>
                    <a:pt x="2355421" y="916421"/>
                    <a:pt x="2358779" y="923210"/>
                    <a:pt x="2362396" y="929845"/>
                  </a:cubicBezTo>
                  <a:cubicBezTo>
                    <a:pt x="2366013" y="937252"/>
                    <a:pt x="2369371" y="944504"/>
                    <a:pt x="2372987" y="951911"/>
                  </a:cubicBezTo>
                  <a:lnTo>
                    <a:pt x="2372987" y="953917"/>
                  </a:lnTo>
                  <a:lnTo>
                    <a:pt x="2372987" y="957929"/>
                  </a:lnTo>
                  <a:cubicBezTo>
                    <a:pt x="2371437" y="958546"/>
                    <a:pt x="2370146" y="959318"/>
                    <a:pt x="2368596" y="959935"/>
                  </a:cubicBezTo>
                  <a:lnTo>
                    <a:pt x="2366529" y="959935"/>
                  </a:lnTo>
                  <a:lnTo>
                    <a:pt x="2366529" y="961941"/>
                  </a:lnTo>
                  <a:cubicBezTo>
                    <a:pt x="2368596" y="964564"/>
                    <a:pt x="2370921" y="967342"/>
                    <a:pt x="2372987" y="969965"/>
                  </a:cubicBezTo>
                  <a:lnTo>
                    <a:pt x="2377121" y="969965"/>
                  </a:lnTo>
                  <a:cubicBezTo>
                    <a:pt x="2382029" y="976600"/>
                    <a:pt x="2386937" y="983389"/>
                    <a:pt x="2391845" y="990024"/>
                  </a:cubicBezTo>
                  <a:cubicBezTo>
                    <a:pt x="2393912" y="992648"/>
                    <a:pt x="2395978" y="995425"/>
                    <a:pt x="2398045" y="998048"/>
                  </a:cubicBezTo>
                  <a:cubicBezTo>
                    <a:pt x="2399595" y="1002060"/>
                    <a:pt x="2400887" y="1005918"/>
                    <a:pt x="2402437" y="1009930"/>
                  </a:cubicBezTo>
                  <a:cubicBezTo>
                    <a:pt x="2403212" y="1013942"/>
                    <a:pt x="2403728" y="1017954"/>
                    <a:pt x="2404503" y="1021966"/>
                  </a:cubicBezTo>
                  <a:lnTo>
                    <a:pt x="2404503" y="1023972"/>
                  </a:lnTo>
                  <a:cubicBezTo>
                    <a:pt x="2403728" y="1028601"/>
                    <a:pt x="2403212" y="1033384"/>
                    <a:pt x="2402437" y="1038013"/>
                  </a:cubicBezTo>
                  <a:lnTo>
                    <a:pt x="2402437" y="1048043"/>
                  </a:lnTo>
                  <a:cubicBezTo>
                    <a:pt x="2401662" y="1052055"/>
                    <a:pt x="2401145" y="1056067"/>
                    <a:pt x="2400370" y="1060079"/>
                  </a:cubicBezTo>
                  <a:cubicBezTo>
                    <a:pt x="2401145" y="1064091"/>
                    <a:pt x="2401662" y="1068103"/>
                    <a:pt x="2402437" y="1072115"/>
                  </a:cubicBezTo>
                  <a:cubicBezTo>
                    <a:pt x="2404503" y="1072732"/>
                    <a:pt x="2406570" y="1073504"/>
                    <a:pt x="2408636" y="1074121"/>
                  </a:cubicBezTo>
                  <a:lnTo>
                    <a:pt x="2431886" y="1074121"/>
                  </a:lnTo>
                  <a:cubicBezTo>
                    <a:pt x="2435244" y="1076127"/>
                    <a:pt x="2438861" y="1078133"/>
                    <a:pt x="2442219" y="1080139"/>
                  </a:cubicBezTo>
                  <a:cubicBezTo>
                    <a:pt x="2442994" y="1080756"/>
                    <a:pt x="2443769" y="1081528"/>
                    <a:pt x="2444544" y="1082145"/>
                  </a:cubicBezTo>
                  <a:cubicBezTo>
                    <a:pt x="2447385" y="1084768"/>
                    <a:pt x="2449969" y="1087546"/>
                    <a:pt x="2452810" y="1090169"/>
                  </a:cubicBezTo>
                  <a:lnTo>
                    <a:pt x="2456944" y="1092175"/>
                  </a:lnTo>
                  <a:lnTo>
                    <a:pt x="2465468" y="1104211"/>
                  </a:lnTo>
                  <a:lnTo>
                    <a:pt x="2476060" y="1114240"/>
                  </a:lnTo>
                  <a:cubicBezTo>
                    <a:pt x="2478126" y="1115629"/>
                    <a:pt x="2480193" y="1116864"/>
                    <a:pt x="2482260" y="1118252"/>
                  </a:cubicBezTo>
                  <a:lnTo>
                    <a:pt x="2488718" y="1118252"/>
                  </a:lnTo>
                  <a:lnTo>
                    <a:pt x="2509642" y="1134300"/>
                  </a:lnTo>
                  <a:cubicBezTo>
                    <a:pt x="2512484" y="1135689"/>
                    <a:pt x="2515325" y="1136923"/>
                    <a:pt x="2518167" y="1138312"/>
                  </a:cubicBezTo>
                  <a:cubicBezTo>
                    <a:pt x="2521525" y="1141707"/>
                    <a:pt x="2525142" y="1144947"/>
                    <a:pt x="2528500" y="1148342"/>
                  </a:cubicBezTo>
                  <a:lnTo>
                    <a:pt x="2541158" y="1150348"/>
                  </a:lnTo>
                  <a:lnTo>
                    <a:pt x="2566474" y="1180283"/>
                  </a:lnTo>
                  <a:cubicBezTo>
                    <a:pt x="2570607" y="1186918"/>
                    <a:pt x="2574999" y="1193708"/>
                    <a:pt x="2579132" y="1200343"/>
                  </a:cubicBezTo>
                  <a:cubicBezTo>
                    <a:pt x="2580424" y="1203738"/>
                    <a:pt x="2581974" y="1206978"/>
                    <a:pt x="2583265" y="1210373"/>
                  </a:cubicBezTo>
                  <a:lnTo>
                    <a:pt x="2583265" y="1216391"/>
                  </a:lnTo>
                  <a:lnTo>
                    <a:pt x="2583265" y="1222409"/>
                  </a:lnTo>
                  <a:cubicBezTo>
                    <a:pt x="2582490" y="1223026"/>
                    <a:pt x="2581974" y="1223797"/>
                    <a:pt x="2581199" y="1224415"/>
                  </a:cubicBezTo>
                  <a:cubicBezTo>
                    <a:pt x="2580424" y="1225032"/>
                    <a:pt x="2579907" y="1225803"/>
                    <a:pt x="2579132" y="1226421"/>
                  </a:cubicBezTo>
                  <a:lnTo>
                    <a:pt x="2570607" y="1226421"/>
                  </a:lnTo>
                  <a:cubicBezTo>
                    <a:pt x="2569832" y="1227809"/>
                    <a:pt x="2569316" y="1229044"/>
                    <a:pt x="2568541" y="1230432"/>
                  </a:cubicBezTo>
                  <a:cubicBezTo>
                    <a:pt x="2566474" y="1231050"/>
                    <a:pt x="2564407" y="1231821"/>
                    <a:pt x="2562341" y="1232438"/>
                  </a:cubicBezTo>
                  <a:cubicBezTo>
                    <a:pt x="2558208" y="1236450"/>
                    <a:pt x="2553816" y="1240462"/>
                    <a:pt x="2549683" y="1244474"/>
                  </a:cubicBezTo>
                  <a:lnTo>
                    <a:pt x="2534958" y="1256510"/>
                  </a:lnTo>
                  <a:cubicBezTo>
                    <a:pt x="2526433" y="1266540"/>
                    <a:pt x="2518167" y="1276570"/>
                    <a:pt x="2509642" y="1286600"/>
                  </a:cubicBezTo>
                  <a:cubicBezTo>
                    <a:pt x="2504734" y="1291229"/>
                    <a:pt x="2499826" y="1296012"/>
                    <a:pt x="2494918" y="1300641"/>
                  </a:cubicBezTo>
                  <a:cubicBezTo>
                    <a:pt x="2488718" y="1302030"/>
                    <a:pt x="2482260" y="1303265"/>
                    <a:pt x="2476060" y="1304653"/>
                  </a:cubicBezTo>
                  <a:cubicBezTo>
                    <a:pt x="2472443" y="1306659"/>
                    <a:pt x="2469085" y="1308665"/>
                    <a:pt x="2465468" y="1310671"/>
                  </a:cubicBezTo>
                  <a:lnTo>
                    <a:pt x="2454877" y="1316535"/>
                  </a:lnTo>
                  <a:cubicBezTo>
                    <a:pt x="2448677" y="1321936"/>
                    <a:pt x="2442219" y="1327182"/>
                    <a:pt x="2436019" y="1332583"/>
                  </a:cubicBezTo>
                  <a:lnTo>
                    <a:pt x="2412770" y="1342613"/>
                  </a:lnTo>
                  <a:cubicBezTo>
                    <a:pt x="2405020" y="1347242"/>
                    <a:pt x="2397528" y="1352025"/>
                    <a:pt x="2389779" y="1356654"/>
                  </a:cubicBezTo>
                  <a:cubicBezTo>
                    <a:pt x="2386937" y="1359278"/>
                    <a:pt x="2384095" y="1362055"/>
                    <a:pt x="2381254" y="1364678"/>
                  </a:cubicBezTo>
                  <a:cubicBezTo>
                    <a:pt x="2379962" y="1366067"/>
                    <a:pt x="2378412" y="1367301"/>
                    <a:pt x="2377121" y="1368690"/>
                  </a:cubicBezTo>
                  <a:cubicBezTo>
                    <a:pt x="2375054" y="1371313"/>
                    <a:pt x="2372987" y="1374091"/>
                    <a:pt x="2370921" y="1376714"/>
                  </a:cubicBezTo>
                  <a:cubicBezTo>
                    <a:pt x="2370146" y="1380108"/>
                    <a:pt x="2369372" y="1383348"/>
                    <a:pt x="2368597" y="1386743"/>
                  </a:cubicBezTo>
                  <a:lnTo>
                    <a:pt x="2368698" y="1386745"/>
                  </a:lnTo>
                  <a:lnTo>
                    <a:pt x="2368698" y="1398769"/>
                  </a:lnTo>
                  <a:lnTo>
                    <a:pt x="2366595" y="1408789"/>
                  </a:lnTo>
                  <a:lnTo>
                    <a:pt x="2360284" y="1418809"/>
                  </a:lnTo>
                  <a:lnTo>
                    <a:pt x="2356076" y="1428829"/>
                  </a:lnTo>
                  <a:lnTo>
                    <a:pt x="2339247" y="1446864"/>
                  </a:lnTo>
                  <a:lnTo>
                    <a:pt x="2320315" y="1462896"/>
                  </a:lnTo>
                  <a:lnTo>
                    <a:pt x="2309796" y="1466904"/>
                  </a:lnTo>
                  <a:lnTo>
                    <a:pt x="2303486" y="1476924"/>
                  </a:lnTo>
                  <a:lnTo>
                    <a:pt x="2299278" y="1478928"/>
                  </a:lnTo>
                  <a:lnTo>
                    <a:pt x="2297175" y="1484940"/>
                  </a:lnTo>
                  <a:lnTo>
                    <a:pt x="2299278" y="1488948"/>
                  </a:lnTo>
                  <a:lnTo>
                    <a:pt x="2305589" y="1494959"/>
                  </a:lnTo>
                  <a:lnTo>
                    <a:pt x="2309796" y="1498967"/>
                  </a:lnTo>
                  <a:lnTo>
                    <a:pt x="2314004" y="1502975"/>
                  </a:lnTo>
                  <a:lnTo>
                    <a:pt x="2314004" y="1506983"/>
                  </a:lnTo>
                  <a:lnTo>
                    <a:pt x="2314004" y="1508987"/>
                  </a:lnTo>
                  <a:lnTo>
                    <a:pt x="2309796" y="1514999"/>
                  </a:lnTo>
                  <a:lnTo>
                    <a:pt x="2309796" y="1517003"/>
                  </a:lnTo>
                  <a:lnTo>
                    <a:pt x="2314004" y="1523015"/>
                  </a:lnTo>
                  <a:lnTo>
                    <a:pt x="2316107" y="1527023"/>
                  </a:lnTo>
                  <a:lnTo>
                    <a:pt x="2316107" y="1533035"/>
                  </a:lnTo>
                  <a:lnTo>
                    <a:pt x="2314004" y="1537043"/>
                  </a:lnTo>
                  <a:lnTo>
                    <a:pt x="2305589" y="1545059"/>
                  </a:lnTo>
                  <a:lnTo>
                    <a:pt x="2303486" y="1549067"/>
                  </a:lnTo>
                  <a:lnTo>
                    <a:pt x="2303486" y="1563095"/>
                  </a:lnTo>
                  <a:lnTo>
                    <a:pt x="2305589" y="1577122"/>
                  </a:lnTo>
                  <a:lnTo>
                    <a:pt x="2307693" y="1617202"/>
                  </a:lnTo>
                  <a:lnTo>
                    <a:pt x="2307693" y="1641250"/>
                  </a:lnTo>
                  <a:lnTo>
                    <a:pt x="2309796" y="1651269"/>
                  </a:lnTo>
                  <a:lnTo>
                    <a:pt x="2314004" y="1657281"/>
                  </a:lnTo>
                  <a:lnTo>
                    <a:pt x="2318211" y="1667301"/>
                  </a:lnTo>
                  <a:lnTo>
                    <a:pt x="2318211" y="1671309"/>
                  </a:lnTo>
                  <a:lnTo>
                    <a:pt x="2309796" y="1685337"/>
                  </a:lnTo>
                  <a:lnTo>
                    <a:pt x="2307693" y="1689345"/>
                  </a:lnTo>
                  <a:lnTo>
                    <a:pt x="2303486" y="1691349"/>
                  </a:lnTo>
                  <a:lnTo>
                    <a:pt x="2295071" y="1695357"/>
                  </a:lnTo>
                  <a:lnTo>
                    <a:pt x="2292967" y="1699365"/>
                  </a:lnTo>
                  <a:lnTo>
                    <a:pt x="2295071" y="1707381"/>
                  </a:lnTo>
                  <a:lnTo>
                    <a:pt x="2297175" y="1717401"/>
                  </a:lnTo>
                  <a:lnTo>
                    <a:pt x="2295071" y="1717401"/>
                  </a:lnTo>
                  <a:lnTo>
                    <a:pt x="2292967" y="1749464"/>
                  </a:lnTo>
                  <a:lnTo>
                    <a:pt x="2286656" y="1781528"/>
                  </a:lnTo>
                  <a:lnTo>
                    <a:pt x="2286656" y="1783532"/>
                  </a:lnTo>
                  <a:lnTo>
                    <a:pt x="2288760" y="1789544"/>
                  </a:lnTo>
                  <a:lnTo>
                    <a:pt x="2292967" y="1791548"/>
                  </a:lnTo>
                  <a:lnTo>
                    <a:pt x="2295071" y="1793552"/>
                  </a:lnTo>
                  <a:lnTo>
                    <a:pt x="2295071" y="1799563"/>
                  </a:lnTo>
                  <a:lnTo>
                    <a:pt x="2288760" y="1801567"/>
                  </a:lnTo>
                  <a:lnTo>
                    <a:pt x="2282449" y="1811587"/>
                  </a:lnTo>
                  <a:lnTo>
                    <a:pt x="2276138" y="1817599"/>
                  </a:lnTo>
                  <a:lnTo>
                    <a:pt x="2267724" y="1827619"/>
                  </a:lnTo>
                  <a:lnTo>
                    <a:pt x="2261413" y="1839643"/>
                  </a:lnTo>
                  <a:lnTo>
                    <a:pt x="2248791" y="1859683"/>
                  </a:lnTo>
                  <a:lnTo>
                    <a:pt x="2231962" y="1879722"/>
                  </a:lnTo>
                  <a:lnTo>
                    <a:pt x="2223547" y="1901766"/>
                  </a:lnTo>
                  <a:lnTo>
                    <a:pt x="2221444" y="1903770"/>
                  </a:lnTo>
                  <a:lnTo>
                    <a:pt x="2095226" y="1901766"/>
                  </a:lnTo>
                  <a:lnTo>
                    <a:pt x="1969007" y="1901766"/>
                  </a:lnTo>
                  <a:lnTo>
                    <a:pt x="1714467" y="1901766"/>
                  </a:lnTo>
                  <a:lnTo>
                    <a:pt x="1459927" y="1907778"/>
                  </a:lnTo>
                  <a:lnTo>
                    <a:pt x="1205387" y="1907778"/>
                  </a:lnTo>
                  <a:lnTo>
                    <a:pt x="708929" y="1907778"/>
                  </a:lnTo>
                  <a:lnTo>
                    <a:pt x="614265" y="1903770"/>
                  </a:lnTo>
                  <a:lnTo>
                    <a:pt x="528016" y="1901766"/>
                  </a:lnTo>
                  <a:lnTo>
                    <a:pt x="496462" y="1901766"/>
                  </a:lnTo>
                  <a:lnTo>
                    <a:pt x="460700" y="1907778"/>
                  </a:lnTo>
                  <a:lnTo>
                    <a:pt x="424938" y="1907778"/>
                  </a:lnTo>
                  <a:lnTo>
                    <a:pt x="408109" y="1903770"/>
                  </a:lnTo>
                  <a:lnTo>
                    <a:pt x="393383" y="1901766"/>
                  </a:lnTo>
                  <a:lnTo>
                    <a:pt x="393383" y="1899762"/>
                  </a:lnTo>
                  <a:lnTo>
                    <a:pt x="393383" y="1897758"/>
                  </a:lnTo>
                  <a:lnTo>
                    <a:pt x="393383" y="1893750"/>
                  </a:lnTo>
                  <a:lnTo>
                    <a:pt x="391280" y="1891746"/>
                  </a:lnTo>
                  <a:lnTo>
                    <a:pt x="361829" y="1879722"/>
                  </a:lnTo>
                  <a:lnTo>
                    <a:pt x="302927" y="1853671"/>
                  </a:lnTo>
                  <a:lnTo>
                    <a:pt x="305031" y="1839643"/>
                  </a:lnTo>
                  <a:lnTo>
                    <a:pt x="201953" y="1841647"/>
                  </a:lnTo>
                  <a:lnTo>
                    <a:pt x="201953" y="1827619"/>
                  </a:lnTo>
                  <a:lnTo>
                    <a:pt x="206160" y="1813591"/>
                  </a:lnTo>
                  <a:lnTo>
                    <a:pt x="210367" y="1799563"/>
                  </a:lnTo>
                  <a:lnTo>
                    <a:pt x="220885" y="1783532"/>
                  </a:lnTo>
                  <a:lnTo>
                    <a:pt x="241922" y="1757480"/>
                  </a:lnTo>
                  <a:lnTo>
                    <a:pt x="260854" y="1735436"/>
                  </a:lnTo>
                  <a:lnTo>
                    <a:pt x="265062" y="1727420"/>
                  </a:lnTo>
                  <a:lnTo>
                    <a:pt x="265062" y="1717401"/>
                  </a:lnTo>
                  <a:lnTo>
                    <a:pt x="260854" y="1707381"/>
                  </a:lnTo>
                  <a:lnTo>
                    <a:pt x="252440" y="1699365"/>
                  </a:lnTo>
                  <a:lnTo>
                    <a:pt x="244025" y="1691349"/>
                  </a:lnTo>
                  <a:lnTo>
                    <a:pt x="233507" y="1687341"/>
                  </a:lnTo>
                  <a:lnTo>
                    <a:pt x="222989" y="1681329"/>
                  </a:lnTo>
                  <a:lnTo>
                    <a:pt x="210367" y="1679325"/>
                  </a:lnTo>
                  <a:lnTo>
                    <a:pt x="195642" y="1679325"/>
                  </a:lnTo>
                  <a:lnTo>
                    <a:pt x="189331" y="1677321"/>
                  </a:lnTo>
                  <a:lnTo>
                    <a:pt x="187227" y="1675317"/>
                  </a:lnTo>
                  <a:lnTo>
                    <a:pt x="187227" y="1665297"/>
                  </a:lnTo>
                  <a:lnTo>
                    <a:pt x="187227" y="1647261"/>
                  </a:lnTo>
                  <a:lnTo>
                    <a:pt x="185123" y="1641250"/>
                  </a:lnTo>
                  <a:lnTo>
                    <a:pt x="180916" y="1641250"/>
                  </a:lnTo>
                  <a:lnTo>
                    <a:pt x="174605" y="1639246"/>
                  </a:lnTo>
                  <a:lnTo>
                    <a:pt x="166191" y="1637242"/>
                  </a:lnTo>
                  <a:lnTo>
                    <a:pt x="157776" y="1631230"/>
                  </a:lnTo>
                  <a:lnTo>
                    <a:pt x="85470" y="1544637"/>
                  </a:lnTo>
                  <a:cubicBezTo>
                    <a:pt x="82772" y="1544108"/>
                    <a:pt x="80324" y="1543155"/>
                    <a:pt x="82642" y="1541855"/>
                  </a:cubicBezTo>
                  <a:lnTo>
                    <a:pt x="84142" y="1543000"/>
                  </a:lnTo>
                  <a:cubicBezTo>
                    <a:pt x="84085" y="1542512"/>
                    <a:pt x="84029" y="1542023"/>
                    <a:pt x="83972" y="1541535"/>
                  </a:cubicBezTo>
                  <a:lnTo>
                    <a:pt x="82642" y="1541855"/>
                  </a:lnTo>
                  <a:lnTo>
                    <a:pt x="10592" y="1486888"/>
                  </a:lnTo>
                  <a:cubicBezTo>
                    <a:pt x="9042" y="1483493"/>
                    <a:pt x="7750" y="1480253"/>
                    <a:pt x="6200" y="1476858"/>
                  </a:cubicBezTo>
                  <a:cubicBezTo>
                    <a:pt x="4908" y="1474235"/>
                    <a:pt x="3358" y="1471458"/>
                    <a:pt x="2067" y="1468834"/>
                  </a:cubicBezTo>
                  <a:cubicBezTo>
                    <a:pt x="1292" y="1467600"/>
                    <a:pt x="775" y="1466211"/>
                    <a:pt x="0" y="1464977"/>
                  </a:cubicBezTo>
                  <a:cubicBezTo>
                    <a:pt x="775" y="1462971"/>
                    <a:pt x="1292" y="1460965"/>
                    <a:pt x="2067" y="1458959"/>
                  </a:cubicBezTo>
                  <a:cubicBezTo>
                    <a:pt x="4908" y="1455564"/>
                    <a:pt x="7750" y="1452324"/>
                    <a:pt x="10592" y="1448929"/>
                  </a:cubicBezTo>
                  <a:cubicBezTo>
                    <a:pt x="13950" y="1444917"/>
                    <a:pt x="17566" y="1440905"/>
                    <a:pt x="20925" y="1436893"/>
                  </a:cubicBezTo>
                  <a:cubicBezTo>
                    <a:pt x="22991" y="1435505"/>
                    <a:pt x="25316" y="1434270"/>
                    <a:pt x="27383" y="1432881"/>
                  </a:cubicBezTo>
                  <a:lnTo>
                    <a:pt x="31516" y="1432881"/>
                  </a:lnTo>
                  <a:lnTo>
                    <a:pt x="33583" y="1432881"/>
                  </a:lnTo>
                  <a:lnTo>
                    <a:pt x="40041" y="1432881"/>
                  </a:lnTo>
                  <a:cubicBezTo>
                    <a:pt x="42882" y="1430258"/>
                    <a:pt x="45466" y="1427481"/>
                    <a:pt x="48307" y="1424857"/>
                  </a:cubicBezTo>
                  <a:cubicBezTo>
                    <a:pt x="50374" y="1419457"/>
                    <a:pt x="52699" y="1414210"/>
                    <a:pt x="54765" y="1408810"/>
                  </a:cubicBezTo>
                  <a:cubicBezTo>
                    <a:pt x="60449" y="1394768"/>
                    <a:pt x="65874" y="1380726"/>
                    <a:pt x="71557" y="1366684"/>
                  </a:cubicBezTo>
                  <a:cubicBezTo>
                    <a:pt x="75690" y="1352025"/>
                    <a:pt x="80081" y="1337212"/>
                    <a:pt x="84215" y="1322553"/>
                  </a:cubicBezTo>
                  <a:cubicBezTo>
                    <a:pt x="89898" y="1305271"/>
                    <a:pt x="95323" y="1287834"/>
                    <a:pt x="101006" y="1270552"/>
                  </a:cubicBezTo>
                  <a:cubicBezTo>
                    <a:pt x="103073" y="1261139"/>
                    <a:pt x="105139" y="1251881"/>
                    <a:pt x="107206" y="1242468"/>
                  </a:cubicBezTo>
                  <a:cubicBezTo>
                    <a:pt x="108756" y="1237068"/>
                    <a:pt x="110047" y="1231821"/>
                    <a:pt x="111597" y="1226421"/>
                  </a:cubicBezTo>
                  <a:lnTo>
                    <a:pt x="111597" y="1214385"/>
                  </a:lnTo>
                  <a:cubicBezTo>
                    <a:pt x="107981" y="1142941"/>
                    <a:pt x="104622" y="1071498"/>
                    <a:pt x="101006" y="1000054"/>
                  </a:cubicBezTo>
                  <a:cubicBezTo>
                    <a:pt x="98939" y="965336"/>
                    <a:pt x="96614" y="930463"/>
                    <a:pt x="94548" y="895744"/>
                  </a:cubicBezTo>
                  <a:cubicBezTo>
                    <a:pt x="93773" y="859019"/>
                    <a:pt x="93256" y="822294"/>
                    <a:pt x="92481" y="785570"/>
                  </a:cubicBezTo>
                  <a:lnTo>
                    <a:pt x="101006" y="785570"/>
                  </a:lnTo>
                  <a:lnTo>
                    <a:pt x="107206" y="785570"/>
                  </a:lnTo>
                  <a:cubicBezTo>
                    <a:pt x="108756" y="784181"/>
                    <a:pt x="110047" y="782946"/>
                    <a:pt x="111597" y="781558"/>
                  </a:cubicBezTo>
                  <a:cubicBezTo>
                    <a:pt x="112372" y="780169"/>
                    <a:pt x="112889" y="778935"/>
                    <a:pt x="113664" y="777546"/>
                  </a:cubicBezTo>
                  <a:lnTo>
                    <a:pt x="113664" y="765510"/>
                  </a:lnTo>
                  <a:cubicBezTo>
                    <a:pt x="112889" y="760109"/>
                    <a:pt x="112372" y="754863"/>
                    <a:pt x="111597" y="749462"/>
                  </a:cubicBezTo>
                  <a:lnTo>
                    <a:pt x="111597" y="663360"/>
                  </a:lnTo>
                  <a:cubicBezTo>
                    <a:pt x="110047" y="629875"/>
                    <a:pt x="108756" y="596545"/>
                    <a:pt x="107206" y="563061"/>
                  </a:cubicBezTo>
                  <a:cubicBezTo>
                    <a:pt x="110822" y="563678"/>
                    <a:pt x="114181" y="564450"/>
                    <a:pt x="117797" y="565067"/>
                  </a:cubicBezTo>
                  <a:lnTo>
                    <a:pt x="117797" y="482977"/>
                  </a:lnTo>
                  <a:lnTo>
                    <a:pt x="117797" y="400732"/>
                  </a:lnTo>
                  <a:cubicBezTo>
                    <a:pt x="117022" y="345336"/>
                    <a:pt x="116506" y="289786"/>
                    <a:pt x="115731" y="234390"/>
                  </a:cubicBezTo>
                  <a:cubicBezTo>
                    <a:pt x="114956" y="216337"/>
                    <a:pt x="114439" y="198437"/>
                    <a:pt x="113664" y="180383"/>
                  </a:cubicBezTo>
                  <a:lnTo>
                    <a:pt x="113664" y="122210"/>
                  </a:lnTo>
                  <a:lnTo>
                    <a:pt x="113664" y="118198"/>
                  </a:lnTo>
                  <a:cubicBezTo>
                    <a:pt x="114956" y="116810"/>
                    <a:pt x="116506" y="115575"/>
                    <a:pt x="117797" y="114186"/>
                  </a:cubicBezTo>
                  <a:lnTo>
                    <a:pt x="121930" y="114186"/>
                  </a:lnTo>
                  <a:cubicBezTo>
                    <a:pt x="122705" y="112180"/>
                    <a:pt x="123222" y="110174"/>
                    <a:pt x="123997" y="108168"/>
                  </a:cubicBezTo>
                  <a:cubicBezTo>
                    <a:pt x="123222" y="106162"/>
                    <a:pt x="122705" y="104156"/>
                    <a:pt x="121930" y="102151"/>
                  </a:cubicBezTo>
                  <a:lnTo>
                    <a:pt x="117797" y="100145"/>
                  </a:lnTo>
                  <a:lnTo>
                    <a:pt x="107206" y="100145"/>
                  </a:lnTo>
                  <a:cubicBezTo>
                    <a:pt x="103848" y="100762"/>
                    <a:pt x="100231" y="101533"/>
                    <a:pt x="96873" y="102151"/>
                  </a:cubicBezTo>
                  <a:cubicBezTo>
                    <a:pt x="95323" y="101533"/>
                    <a:pt x="94031" y="100762"/>
                    <a:pt x="92481" y="100145"/>
                  </a:cubicBezTo>
                  <a:lnTo>
                    <a:pt x="92481" y="98139"/>
                  </a:lnTo>
                  <a:cubicBezTo>
                    <a:pt x="91706" y="94127"/>
                    <a:pt x="91190" y="90115"/>
                    <a:pt x="90415" y="86103"/>
                  </a:cubicBezTo>
                  <a:lnTo>
                    <a:pt x="90415" y="80085"/>
                  </a:lnTo>
                  <a:cubicBezTo>
                    <a:pt x="91706" y="78850"/>
                    <a:pt x="93256" y="77462"/>
                    <a:pt x="94548" y="76227"/>
                  </a:cubicBezTo>
                  <a:lnTo>
                    <a:pt x="105139" y="76227"/>
                  </a:lnTo>
                  <a:cubicBezTo>
                    <a:pt x="105914" y="74838"/>
                    <a:pt x="106431" y="73604"/>
                    <a:pt x="107206" y="72215"/>
                  </a:cubicBezTo>
                  <a:cubicBezTo>
                    <a:pt x="108756" y="70209"/>
                    <a:pt x="110047" y="68203"/>
                    <a:pt x="111597" y="66197"/>
                  </a:cubicBezTo>
                  <a:lnTo>
                    <a:pt x="111597" y="40120"/>
                  </a:lnTo>
                  <a:cubicBezTo>
                    <a:pt x="110047" y="26695"/>
                    <a:pt x="108756" y="13425"/>
                    <a:pt x="107206" y="0"/>
                  </a:cubicBez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Riverside &amp; San Bernardino</a:t>
              </a:r>
            </a:p>
          </p:txBody>
        </p:sp>
        <p:sp>
          <p:nvSpPr>
            <p:cNvPr id="20" name="Bay Area"/>
            <p:cNvSpPr>
              <a:spLocks/>
            </p:cNvSpPr>
            <p:nvPr/>
          </p:nvSpPr>
          <p:spPr bwMode="auto">
            <a:xfrm>
              <a:off x="2248660" y="3414072"/>
              <a:ext cx="1632422" cy="1579127"/>
            </a:xfrm>
            <a:custGeom>
              <a:avLst/>
              <a:gdLst/>
              <a:ahLst/>
              <a:cxnLst/>
              <a:rect l="l" t="t" r="r" b="b"/>
              <a:pathLst>
                <a:path w="1632422" h="1579127">
                  <a:moveTo>
                    <a:pt x="875087" y="769532"/>
                  </a:moveTo>
                  <a:lnTo>
                    <a:pt x="854104" y="771524"/>
                  </a:lnTo>
                  <a:lnTo>
                    <a:pt x="900296" y="773508"/>
                  </a:lnTo>
                  <a:lnTo>
                    <a:pt x="889856" y="769532"/>
                  </a:lnTo>
                  <a:close/>
                  <a:moveTo>
                    <a:pt x="1358948" y="611212"/>
                  </a:moveTo>
                  <a:lnTo>
                    <a:pt x="1367388" y="611212"/>
                  </a:lnTo>
                  <a:cubicBezTo>
                    <a:pt x="1368753" y="611878"/>
                    <a:pt x="1370181" y="612544"/>
                    <a:pt x="1371546" y="613209"/>
                  </a:cubicBezTo>
                  <a:cubicBezTo>
                    <a:pt x="1372229" y="615872"/>
                    <a:pt x="1372973" y="618565"/>
                    <a:pt x="1373656" y="621228"/>
                  </a:cubicBezTo>
                  <a:lnTo>
                    <a:pt x="1373656" y="633241"/>
                  </a:lnTo>
                  <a:lnTo>
                    <a:pt x="1373656" y="649279"/>
                  </a:lnTo>
                  <a:lnTo>
                    <a:pt x="1373656" y="663320"/>
                  </a:lnTo>
                  <a:lnTo>
                    <a:pt x="1382096" y="655301"/>
                  </a:lnTo>
                  <a:cubicBezTo>
                    <a:pt x="1382778" y="660657"/>
                    <a:pt x="1383523" y="665983"/>
                    <a:pt x="1384206" y="671339"/>
                  </a:cubicBezTo>
                  <a:lnTo>
                    <a:pt x="1377876" y="675333"/>
                  </a:lnTo>
                  <a:cubicBezTo>
                    <a:pt x="1376448" y="677996"/>
                    <a:pt x="1375083" y="680689"/>
                    <a:pt x="1373656" y="683352"/>
                  </a:cubicBezTo>
                  <a:cubicBezTo>
                    <a:pt x="1372973" y="686680"/>
                    <a:pt x="1372229" y="690039"/>
                    <a:pt x="1371546" y="693368"/>
                  </a:cubicBezTo>
                  <a:cubicBezTo>
                    <a:pt x="1372229" y="697392"/>
                    <a:pt x="1372973" y="701387"/>
                    <a:pt x="1373656" y="705411"/>
                  </a:cubicBezTo>
                  <a:lnTo>
                    <a:pt x="1379986" y="729437"/>
                  </a:lnTo>
                  <a:cubicBezTo>
                    <a:pt x="1380668" y="733462"/>
                    <a:pt x="1381413" y="737456"/>
                    <a:pt x="1382096" y="741481"/>
                  </a:cubicBezTo>
                  <a:lnTo>
                    <a:pt x="1382096" y="751497"/>
                  </a:lnTo>
                  <a:lnTo>
                    <a:pt x="1382096" y="761513"/>
                  </a:lnTo>
                  <a:cubicBezTo>
                    <a:pt x="1380668" y="765507"/>
                    <a:pt x="1379303" y="769532"/>
                    <a:pt x="1377876" y="773526"/>
                  </a:cubicBezTo>
                  <a:cubicBezTo>
                    <a:pt x="1376448" y="777551"/>
                    <a:pt x="1375083" y="781545"/>
                    <a:pt x="1373656" y="785569"/>
                  </a:cubicBezTo>
                  <a:cubicBezTo>
                    <a:pt x="1375083" y="790229"/>
                    <a:pt x="1376448" y="794920"/>
                    <a:pt x="1377876" y="799580"/>
                  </a:cubicBezTo>
                  <a:cubicBezTo>
                    <a:pt x="1379303" y="800911"/>
                    <a:pt x="1380668" y="802273"/>
                    <a:pt x="1382096" y="803604"/>
                  </a:cubicBezTo>
                  <a:lnTo>
                    <a:pt x="1390535" y="805601"/>
                  </a:lnTo>
                  <a:cubicBezTo>
                    <a:pt x="1391901" y="806933"/>
                    <a:pt x="1393328" y="808264"/>
                    <a:pt x="1394693" y="809596"/>
                  </a:cubicBezTo>
                  <a:cubicBezTo>
                    <a:pt x="1396121" y="810261"/>
                    <a:pt x="1397486" y="810957"/>
                    <a:pt x="1398913" y="811623"/>
                  </a:cubicBezTo>
                  <a:cubicBezTo>
                    <a:pt x="1399596" y="812955"/>
                    <a:pt x="1400341" y="814286"/>
                    <a:pt x="1401023" y="815617"/>
                  </a:cubicBezTo>
                  <a:lnTo>
                    <a:pt x="1394693" y="825633"/>
                  </a:lnTo>
                  <a:cubicBezTo>
                    <a:pt x="1393328" y="828962"/>
                    <a:pt x="1391901" y="832321"/>
                    <a:pt x="1390535" y="835649"/>
                  </a:cubicBezTo>
                  <a:lnTo>
                    <a:pt x="1390528" y="835653"/>
                  </a:lnTo>
                  <a:cubicBezTo>
                    <a:pt x="1389813" y="854376"/>
                    <a:pt x="1389099" y="873099"/>
                    <a:pt x="1388384" y="891787"/>
                  </a:cubicBezTo>
                  <a:lnTo>
                    <a:pt x="1388384" y="943848"/>
                  </a:lnTo>
                  <a:lnTo>
                    <a:pt x="1388384" y="1052083"/>
                  </a:lnTo>
                  <a:cubicBezTo>
                    <a:pt x="1389099" y="1054071"/>
                    <a:pt x="1389813" y="1056128"/>
                    <a:pt x="1390528" y="1058116"/>
                  </a:cubicBezTo>
                  <a:lnTo>
                    <a:pt x="1398922" y="1064113"/>
                  </a:lnTo>
                  <a:lnTo>
                    <a:pt x="1419937" y="1074121"/>
                  </a:lnTo>
                  <a:lnTo>
                    <a:pt x="1430474" y="1078131"/>
                  </a:lnTo>
                  <a:lnTo>
                    <a:pt x="1436785" y="1084129"/>
                  </a:lnTo>
                  <a:cubicBezTo>
                    <a:pt x="1438868" y="1087476"/>
                    <a:pt x="1441012" y="1090824"/>
                    <a:pt x="1443095" y="1094171"/>
                  </a:cubicBezTo>
                  <a:lnTo>
                    <a:pt x="1443095" y="1104179"/>
                  </a:lnTo>
                  <a:lnTo>
                    <a:pt x="1443084" y="1104186"/>
                  </a:lnTo>
                  <a:lnTo>
                    <a:pt x="1443095" y="1104186"/>
                  </a:lnTo>
                  <a:lnTo>
                    <a:pt x="1443095" y="1114206"/>
                  </a:lnTo>
                  <a:lnTo>
                    <a:pt x="1445198" y="1120218"/>
                  </a:lnTo>
                  <a:lnTo>
                    <a:pt x="1451509" y="1138254"/>
                  </a:lnTo>
                  <a:lnTo>
                    <a:pt x="1451509" y="1146270"/>
                  </a:lnTo>
                  <a:lnTo>
                    <a:pt x="1447302" y="1154286"/>
                  </a:lnTo>
                  <a:lnTo>
                    <a:pt x="1451509" y="1160297"/>
                  </a:lnTo>
                  <a:lnTo>
                    <a:pt x="1455716" y="1168313"/>
                  </a:lnTo>
                  <a:lnTo>
                    <a:pt x="1457820" y="1170317"/>
                  </a:lnTo>
                  <a:lnTo>
                    <a:pt x="1464131" y="1174325"/>
                  </a:lnTo>
                  <a:lnTo>
                    <a:pt x="1474649" y="1176329"/>
                  </a:lnTo>
                  <a:lnTo>
                    <a:pt x="1478856" y="1178333"/>
                  </a:lnTo>
                  <a:lnTo>
                    <a:pt x="1483064" y="1180337"/>
                  </a:lnTo>
                  <a:lnTo>
                    <a:pt x="1485167" y="1186349"/>
                  </a:lnTo>
                  <a:lnTo>
                    <a:pt x="1483064" y="1190357"/>
                  </a:lnTo>
                  <a:lnTo>
                    <a:pt x="1483064" y="1198373"/>
                  </a:lnTo>
                  <a:lnTo>
                    <a:pt x="1483064" y="1206389"/>
                  </a:lnTo>
                  <a:lnTo>
                    <a:pt x="1485167" y="1220417"/>
                  </a:lnTo>
                  <a:lnTo>
                    <a:pt x="1487271" y="1236448"/>
                  </a:lnTo>
                  <a:lnTo>
                    <a:pt x="1485167" y="1240456"/>
                  </a:lnTo>
                  <a:lnTo>
                    <a:pt x="1478856" y="1248472"/>
                  </a:lnTo>
                  <a:lnTo>
                    <a:pt x="1472546" y="1254484"/>
                  </a:lnTo>
                  <a:lnTo>
                    <a:pt x="1466235" y="1256488"/>
                  </a:lnTo>
                  <a:lnTo>
                    <a:pt x="1462027" y="1260496"/>
                  </a:lnTo>
                  <a:lnTo>
                    <a:pt x="1457820" y="1274524"/>
                  </a:lnTo>
                  <a:lnTo>
                    <a:pt x="1457820" y="1286548"/>
                  </a:lnTo>
                  <a:lnTo>
                    <a:pt x="1462027" y="1296567"/>
                  </a:lnTo>
                  <a:lnTo>
                    <a:pt x="1466235" y="1302579"/>
                  </a:lnTo>
                  <a:lnTo>
                    <a:pt x="1474649" y="1310595"/>
                  </a:lnTo>
                  <a:lnTo>
                    <a:pt x="1483064" y="1316607"/>
                  </a:lnTo>
                  <a:lnTo>
                    <a:pt x="1485167" y="1326627"/>
                  </a:lnTo>
                  <a:lnTo>
                    <a:pt x="1493582" y="1346667"/>
                  </a:lnTo>
                  <a:lnTo>
                    <a:pt x="1495686" y="1352679"/>
                  </a:lnTo>
                  <a:lnTo>
                    <a:pt x="1499893" y="1360694"/>
                  </a:lnTo>
                  <a:lnTo>
                    <a:pt x="1506204" y="1366706"/>
                  </a:lnTo>
                  <a:lnTo>
                    <a:pt x="1516722" y="1366706"/>
                  </a:lnTo>
                  <a:lnTo>
                    <a:pt x="1514618" y="1356687"/>
                  </a:lnTo>
                  <a:lnTo>
                    <a:pt x="1516722" y="1350675"/>
                  </a:lnTo>
                  <a:lnTo>
                    <a:pt x="1525137" y="1348671"/>
                  </a:lnTo>
                  <a:lnTo>
                    <a:pt x="1531447" y="1348671"/>
                  </a:lnTo>
                  <a:lnTo>
                    <a:pt x="1552484" y="1350675"/>
                  </a:lnTo>
                  <a:lnTo>
                    <a:pt x="1569313" y="1352679"/>
                  </a:lnTo>
                  <a:lnTo>
                    <a:pt x="1577728" y="1352679"/>
                  </a:lnTo>
                  <a:lnTo>
                    <a:pt x="1581935" y="1350675"/>
                  </a:lnTo>
                  <a:lnTo>
                    <a:pt x="1588246" y="1348671"/>
                  </a:lnTo>
                  <a:lnTo>
                    <a:pt x="1592453" y="1348671"/>
                  </a:lnTo>
                  <a:lnTo>
                    <a:pt x="1594557" y="1352679"/>
                  </a:lnTo>
                  <a:lnTo>
                    <a:pt x="1626111" y="1380734"/>
                  </a:lnTo>
                  <a:lnTo>
                    <a:pt x="1630319" y="1386746"/>
                  </a:lnTo>
                  <a:lnTo>
                    <a:pt x="1630319" y="1390754"/>
                  </a:lnTo>
                  <a:lnTo>
                    <a:pt x="1626111" y="1400774"/>
                  </a:lnTo>
                  <a:lnTo>
                    <a:pt x="1621904" y="1408790"/>
                  </a:lnTo>
                  <a:lnTo>
                    <a:pt x="1615593" y="1416806"/>
                  </a:lnTo>
                  <a:lnTo>
                    <a:pt x="1619800" y="1418810"/>
                  </a:lnTo>
                  <a:lnTo>
                    <a:pt x="1619800" y="1422818"/>
                  </a:lnTo>
                  <a:lnTo>
                    <a:pt x="1626111" y="1430833"/>
                  </a:lnTo>
                  <a:lnTo>
                    <a:pt x="1630319" y="1438849"/>
                  </a:lnTo>
                  <a:lnTo>
                    <a:pt x="1632422" y="1446865"/>
                  </a:lnTo>
                  <a:lnTo>
                    <a:pt x="1630319" y="1452877"/>
                  </a:lnTo>
                  <a:lnTo>
                    <a:pt x="1624008" y="1462897"/>
                  </a:lnTo>
                  <a:lnTo>
                    <a:pt x="1619800" y="1472917"/>
                  </a:lnTo>
                  <a:lnTo>
                    <a:pt x="1615593" y="1482937"/>
                  </a:lnTo>
                  <a:lnTo>
                    <a:pt x="1615593" y="1494960"/>
                  </a:lnTo>
                  <a:lnTo>
                    <a:pt x="1621904" y="1508988"/>
                  </a:lnTo>
                  <a:lnTo>
                    <a:pt x="1632422" y="1523016"/>
                  </a:lnTo>
                  <a:lnTo>
                    <a:pt x="1506204" y="1521012"/>
                  </a:lnTo>
                  <a:lnTo>
                    <a:pt x="1497789" y="1521012"/>
                  </a:lnTo>
                  <a:lnTo>
                    <a:pt x="1493582" y="1519008"/>
                  </a:lnTo>
                  <a:lnTo>
                    <a:pt x="1483064" y="1508988"/>
                  </a:lnTo>
                  <a:lnTo>
                    <a:pt x="1474649" y="1502976"/>
                  </a:lnTo>
                  <a:lnTo>
                    <a:pt x="1466235" y="1502976"/>
                  </a:lnTo>
                  <a:lnTo>
                    <a:pt x="1457820" y="1504980"/>
                  </a:lnTo>
                  <a:lnTo>
                    <a:pt x="1447302" y="1504980"/>
                  </a:lnTo>
                  <a:lnTo>
                    <a:pt x="1443095" y="1504980"/>
                  </a:lnTo>
                  <a:lnTo>
                    <a:pt x="1436784" y="1508988"/>
                  </a:lnTo>
                  <a:lnTo>
                    <a:pt x="1426265" y="1521012"/>
                  </a:lnTo>
                  <a:lnTo>
                    <a:pt x="1422058" y="1533036"/>
                  </a:lnTo>
                  <a:lnTo>
                    <a:pt x="1413644" y="1545060"/>
                  </a:lnTo>
                  <a:lnTo>
                    <a:pt x="1398918" y="1565099"/>
                  </a:lnTo>
                  <a:lnTo>
                    <a:pt x="1384193" y="1575119"/>
                  </a:lnTo>
                  <a:lnTo>
                    <a:pt x="1379985" y="1579127"/>
                  </a:lnTo>
                  <a:lnTo>
                    <a:pt x="1373674" y="1579127"/>
                  </a:lnTo>
                  <a:lnTo>
                    <a:pt x="1373674" y="1571111"/>
                  </a:lnTo>
                  <a:lnTo>
                    <a:pt x="1371571" y="1565099"/>
                  </a:lnTo>
                  <a:lnTo>
                    <a:pt x="1367364" y="1561091"/>
                  </a:lnTo>
                  <a:lnTo>
                    <a:pt x="1361053" y="1559088"/>
                  </a:lnTo>
                  <a:lnTo>
                    <a:pt x="1348431" y="1553076"/>
                  </a:lnTo>
                  <a:lnTo>
                    <a:pt x="1335809" y="1549068"/>
                  </a:lnTo>
                  <a:lnTo>
                    <a:pt x="1325291" y="1539048"/>
                  </a:lnTo>
                  <a:lnTo>
                    <a:pt x="1314773" y="1523016"/>
                  </a:lnTo>
                  <a:lnTo>
                    <a:pt x="1304254" y="1510992"/>
                  </a:lnTo>
                  <a:lnTo>
                    <a:pt x="1295840" y="1500972"/>
                  </a:lnTo>
                  <a:lnTo>
                    <a:pt x="1245352" y="1450873"/>
                  </a:lnTo>
                  <a:lnTo>
                    <a:pt x="1230627" y="1438849"/>
                  </a:lnTo>
                  <a:lnTo>
                    <a:pt x="1218005" y="1426825"/>
                  </a:lnTo>
                  <a:lnTo>
                    <a:pt x="1201176" y="1418810"/>
                  </a:lnTo>
                  <a:lnTo>
                    <a:pt x="1182243" y="1410794"/>
                  </a:lnTo>
                  <a:lnTo>
                    <a:pt x="1144378" y="1396766"/>
                  </a:lnTo>
                  <a:lnTo>
                    <a:pt x="1106512" y="1378730"/>
                  </a:lnTo>
                  <a:lnTo>
                    <a:pt x="1087579" y="1368710"/>
                  </a:lnTo>
                  <a:lnTo>
                    <a:pt x="1072854" y="1356687"/>
                  </a:lnTo>
                  <a:lnTo>
                    <a:pt x="1060232" y="1342659"/>
                  </a:lnTo>
                  <a:lnTo>
                    <a:pt x="1045507" y="1326627"/>
                  </a:lnTo>
                  <a:lnTo>
                    <a:pt x="1043403" y="1322619"/>
                  </a:lnTo>
                  <a:lnTo>
                    <a:pt x="1039196" y="1320615"/>
                  </a:lnTo>
                  <a:lnTo>
                    <a:pt x="1028678" y="1316607"/>
                  </a:lnTo>
                  <a:lnTo>
                    <a:pt x="1018159" y="1312599"/>
                  </a:lnTo>
                  <a:lnTo>
                    <a:pt x="1016056" y="1312599"/>
                  </a:lnTo>
                  <a:lnTo>
                    <a:pt x="1011848" y="1310595"/>
                  </a:lnTo>
                  <a:lnTo>
                    <a:pt x="1007641" y="1302579"/>
                  </a:lnTo>
                  <a:lnTo>
                    <a:pt x="1005538" y="1296567"/>
                  </a:lnTo>
                  <a:lnTo>
                    <a:pt x="990812" y="1286548"/>
                  </a:lnTo>
                  <a:lnTo>
                    <a:pt x="980294" y="1274524"/>
                  </a:lnTo>
                  <a:lnTo>
                    <a:pt x="970406" y="1261336"/>
                  </a:lnTo>
                  <a:lnTo>
                    <a:pt x="969779" y="1264506"/>
                  </a:lnTo>
                  <a:lnTo>
                    <a:pt x="969779" y="1288549"/>
                  </a:lnTo>
                  <a:cubicBezTo>
                    <a:pt x="969092" y="1291902"/>
                    <a:pt x="968375" y="1295207"/>
                    <a:pt x="967688" y="1298559"/>
                  </a:cubicBezTo>
                  <a:lnTo>
                    <a:pt x="967688" y="1306606"/>
                  </a:lnTo>
                  <a:cubicBezTo>
                    <a:pt x="966971" y="1308617"/>
                    <a:pt x="966284" y="1310581"/>
                    <a:pt x="965567" y="1312592"/>
                  </a:cubicBezTo>
                  <a:lnTo>
                    <a:pt x="957143" y="1316616"/>
                  </a:lnTo>
                  <a:lnTo>
                    <a:pt x="946628" y="1318627"/>
                  </a:lnTo>
                  <a:lnTo>
                    <a:pt x="934022" y="1318627"/>
                  </a:lnTo>
                  <a:lnTo>
                    <a:pt x="915084" y="1320639"/>
                  </a:lnTo>
                  <a:lnTo>
                    <a:pt x="915084" y="1322602"/>
                  </a:lnTo>
                  <a:lnTo>
                    <a:pt x="915084" y="1326626"/>
                  </a:lnTo>
                  <a:cubicBezTo>
                    <a:pt x="915771" y="1327967"/>
                    <a:pt x="916488" y="1329308"/>
                    <a:pt x="917175" y="1330649"/>
                  </a:cubicBezTo>
                  <a:cubicBezTo>
                    <a:pt x="916488" y="1332660"/>
                    <a:pt x="915771" y="1334624"/>
                    <a:pt x="915084" y="1336636"/>
                  </a:cubicBezTo>
                  <a:lnTo>
                    <a:pt x="912993" y="1338647"/>
                  </a:lnTo>
                  <a:lnTo>
                    <a:pt x="910872" y="1338647"/>
                  </a:lnTo>
                  <a:lnTo>
                    <a:pt x="900357" y="1340659"/>
                  </a:lnTo>
                  <a:lnTo>
                    <a:pt x="885630" y="1340659"/>
                  </a:lnTo>
                  <a:lnTo>
                    <a:pt x="860389" y="1340659"/>
                  </a:lnTo>
                  <a:cubicBezTo>
                    <a:pt x="861076" y="1346023"/>
                    <a:pt x="861793" y="1351339"/>
                    <a:pt x="862480" y="1356703"/>
                  </a:cubicBezTo>
                  <a:lnTo>
                    <a:pt x="870904" y="1370737"/>
                  </a:lnTo>
                  <a:lnTo>
                    <a:pt x="875116" y="1388745"/>
                  </a:lnTo>
                  <a:lnTo>
                    <a:pt x="879328" y="1402778"/>
                  </a:lnTo>
                  <a:lnTo>
                    <a:pt x="868813" y="1398755"/>
                  </a:lnTo>
                  <a:lnTo>
                    <a:pt x="860389" y="1392768"/>
                  </a:lnTo>
                  <a:lnTo>
                    <a:pt x="849874" y="1380747"/>
                  </a:lnTo>
                  <a:lnTo>
                    <a:pt x="839359" y="1368725"/>
                  </a:lnTo>
                  <a:lnTo>
                    <a:pt x="826724" y="1352680"/>
                  </a:lnTo>
                  <a:lnTo>
                    <a:pt x="805694" y="1332660"/>
                  </a:lnTo>
                  <a:lnTo>
                    <a:pt x="797270" y="1322602"/>
                  </a:lnTo>
                  <a:lnTo>
                    <a:pt x="788876" y="1312592"/>
                  </a:lnTo>
                  <a:cubicBezTo>
                    <a:pt x="788159" y="1309240"/>
                    <a:pt x="787472" y="1305935"/>
                    <a:pt x="786755" y="1302582"/>
                  </a:cubicBezTo>
                  <a:lnTo>
                    <a:pt x="786755" y="1290561"/>
                  </a:lnTo>
                  <a:lnTo>
                    <a:pt x="786755" y="1278539"/>
                  </a:lnTo>
                  <a:cubicBezTo>
                    <a:pt x="787472" y="1272504"/>
                    <a:pt x="788159" y="1266518"/>
                    <a:pt x="788876" y="1260483"/>
                  </a:cubicBezTo>
                  <a:cubicBezTo>
                    <a:pt x="790967" y="1255789"/>
                    <a:pt x="793088" y="1251143"/>
                    <a:pt x="795179" y="1246450"/>
                  </a:cubicBezTo>
                  <a:lnTo>
                    <a:pt x="795179" y="1230453"/>
                  </a:lnTo>
                  <a:lnTo>
                    <a:pt x="795179" y="1218431"/>
                  </a:lnTo>
                  <a:lnTo>
                    <a:pt x="790967" y="1206410"/>
                  </a:lnTo>
                  <a:lnTo>
                    <a:pt x="784664" y="1178343"/>
                  </a:lnTo>
                  <a:lnTo>
                    <a:pt x="774150" y="1150277"/>
                  </a:lnTo>
                  <a:cubicBezTo>
                    <a:pt x="772029" y="1143620"/>
                    <a:pt x="769938" y="1136914"/>
                    <a:pt x="767817" y="1130257"/>
                  </a:cubicBezTo>
                  <a:cubicBezTo>
                    <a:pt x="765009" y="1121588"/>
                    <a:pt x="762231" y="1112871"/>
                    <a:pt x="759423" y="1104202"/>
                  </a:cubicBezTo>
                  <a:lnTo>
                    <a:pt x="755211" y="1094144"/>
                  </a:lnTo>
                  <a:lnTo>
                    <a:pt x="746787" y="1086145"/>
                  </a:lnTo>
                  <a:lnTo>
                    <a:pt x="742575" y="1086145"/>
                  </a:lnTo>
                  <a:lnTo>
                    <a:pt x="736272" y="1086145"/>
                  </a:lnTo>
                  <a:lnTo>
                    <a:pt x="732061" y="1086145"/>
                  </a:lnTo>
                  <a:lnTo>
                    <a:pt x="725758" y="1090169"/>
                  </a:lnTo>
                  <a:lnTo>
                    <a:pt x="721546" y="1074124"/>
                  </a:lnTo>
                  <a:lnTo>
                    <a:pt x="713122" y="1046058"/>
                  </a:lnTo>
                  <a:cubicBezTo>
                    <a:pt x="712435" y="1038059"/>
                    <a:pt x="711718" y="1030013"/>
                    <a:pt x="711031" y="1022014"/>
                  </a:cubicBezTo>
                  <a:cubicBezTo>
                    <a:pt x="711718" y="1019332"/>
                    <a:pt x="712435" y="1016698"/>
                    <a:pt x="713122" y="1014016"/>
                  </a:cubicBezTo>
                  <a:cubicBezTo>
                    <a:pt x="713839" y="1012004"/>
                    <a:pt x="714526" y="1009993"/>
                    <a:pt x="715243" y="1007981"/>
                  </a:cubicBezTo>
                  <a:lnTo>
                    <a:pt x="721546" y="1007981"/>
                  </a:lnTo>
                  <a:lnTo>
                    <a:pt x="723667" y="1005970"/>
                  </a:lnTo>
                  <a:lnTo>
                    <a:pt x="727849" y="995960"/>
                  </a:lnTo>
                  <a:lnTo>
                    <a:pt x="732061" y="985950"/>
                  </a:lnTo>
                  <a:lnTo>
                    <a:pt x="727849" y="971916"/>
                  </a:lnTo>
                  <a:cubicBezTo>
                    <a:pt x="726445" y="962577"/>
                    <a:pt x="725071" y="953190"/>
                    <a:pt x="723667" y="943850"/>
                  </a:cubicBezTo>
                  <a:lnTo>
                    <a:pt x="721585" y="926170"/>
                  </a:lnTo>
                  <a:cubicBezTo>
                    <a:pt x="718966" y="917104"/>
                    <a:pt x="715873" y="906748"/>
                    <a:pt x="715037" y="903157"/>
                  </a:cubicBezTo>
                  <a:lnTo>
                    <a:pt x="715037" y="883116"/>
                  </a:lnTo>
                  <a:lnTo>
                    <a:pt x="715037" y="867090"/>
                  </a:lnTo>
                  <a:lnTo>
                    <a:pt x="721345" y="851053"/>
                  </a:lnTo>
                  <a:lnTo>
                    <a:pt x="721345" y="853061"/>
                  </a:lnTo>
                  <a:lnTo>
                    <a:pt x="723448" y="853061"/>
                  </a:lnTo>
                  <a:lnTo>
                    <a:pt x="729767" y="849057"/>
                  </a:lnTo>
                  <a:lnTo>
                    <a:pt x="733972" y="845053"/>
                  </a:lnTo>
                  <a:cubicBezTo>
                    <a:pt x="734673" y="843715"/>
                    <a:pt x="735364" y="842377"/>
                    <a:pt x="736075" y="841038"/>
                  </a:cubicBezTo>
                  <a:lnTo>
                    <a:pt x="736075" y="839031"/>
                  </a:lnTo>
                  <a:lnTo>
                    <a:pt x="740281" y="837035"/>
                  </a:lnTo>
                  <a:lnTo>
                    <a:pt x="746589" y="837035"/>
                  </a:lnTo>
                  <a:lnTo>
                    <a:pt x="755011" y="837035"/>
                  </a:lnTo>
                  <a:lnTo>
                    <a:pt x="763422" y="837035"/>
                  </a:lnTo>
                  <a:lnTo>
                    <a:pt x="773936" y="837035"/>
                  </a:lnTo>
                  <a:lnTo>
                    <a:pt x="786563" y="835027"/>
                  </a:lnTo>
                  <a:lnTo>
                    <a:pt x="794974" y="837035"/>
                  </a:lnTo>
                  <a:lnTo>
                    <a:pt x="803385" y="841038"/>
                  </a:lnTo>
                  <a:cubicBezTo>
                    <a:pt x="804096" y="843715"/>
                    <a:pt x="804787" y="846380"/>
                    <a:pt x="805498" y="849057"/>
                  </a:cubicBezTo>
                  <a:cubicBezTo>
                    <a:pt x="806890" y="855737"/>
                    <a:pt x="808302" y="862417"/>
                    <a:pt x="809704" y="869086"/>
                  </a:cubicBezTo>
                  <a:cubicBezTo>
                    <a:pt x="811095" y="875767"/>
                    <a:pt x="812508" y="882458"/>
                    <a:pt x="813909" y="889138"/>
                  </a:cubicBezTo>
                  <a:lnTo>
                    <a:pt x="816012" y="897146"/>
                  </a:lnTo>
                  <a:lnTo>
                    <a:pt x="818115" y="899153"/>
                  </a:lnTo>
                  <a:lnTo>
                    <a:pt x="818115" y="901149"/>
                  </a:lnTo>
                  <a:lnTo>
                    <a:pt x="817396" y="903157"/>
                  </a:lnTo>
                  <a:lnTo>
                    <a:pt x="813909" y="903157"/>
                  </a:lnTo>
                  <a:lnTo>
                    <a:pt x="809704" y="909179"/>
                  </a:lnTo>
                  <a:lnTo>
                    <a:pt x="809704" y="913183"/>
                  </a:lnTo>
                  <a:lnTo>
                    <a:pt x="809704" y="919194"/>
                  </a:lnTo>
                  <a:lnTo>
                    <a:pt x="809403" y="919270"/>
                  </a:lnTo>
                  <a:lnTo>
                    <a:pt x="810140" y="923408"/>
                  </a:lnTo>
                  <a:lnTo>
                    <a:pt x="817396" y="903157"/>
                  </a:lnTo>
                  <a:lnTo>
                    <a:pt x="818115" y="903157"/>
                  </a:lnTo>
                  <a:lnTo>
                    <a:pt x="818115" y="907172"/>
                  </a:lnTo>
                  <a:lnTo>
                    <a:pt x="810536" y="925632"/>
                  </a:lnTo>
                  <a:lnTo>
                    <a:pt x="811997" y="933840"/>
                  </a:lnTo>
                  <a:cubicBezTo>
                    <a:pt x="811310" y="937863"/>
                    <a:pt x="810593" y="941839"/>
                    <a:pt x="809906" y="945862"/>
                  </a:cubicBezTo>
                  <a:cubicBezTo>
                    <a:pt x="809189" y="949214"/>
                    <a:pt x="808502" y="952519"/>
                    <a:pt x="807785" y="955872"/>
                  </a:cubicBezTo>
                  <a:cubicBezTo>
                    <a:pt x="808502" y="957883"/>
                    <a:pt x="809189" y="959895"/>
                    <a:pt x="809906" y="961906"/>
                  </a:cubicBezTo>
                  <a:lnTo>
                    <a:pt x="811997" y="963918"/>
                  </a:lnTo>
                  <a:lnTo>
                    <a:pt x="807785" y="963918"/>
                  </a:lnTo>
                  <a:lnTo>
                    <a:pt x="801482" y="965930"/>
                  </a:lnTo>
                  <a:lnTo>
                    <a:pt x="807785" y="975940"/>
                  </a:lnTo>
                  <a:lnTo>
                    <a:pt x="816209" y="985950"/>
                  </a:lnTo>
                  <a:lnTo>
                    <a:pt x="828845" y="997971"/>
                  </a:lnTo>
                  <a:lnTo>
                    <a:pt x="843571" y="1012004"/>
                  </a:lnTo>
                  <a:lnTo>
                    <a:pt x="860389" y="1024026"/>
                  </a:lnTo>
                  <a:lnTo>
                    <a:pt x="868813" y="1028049"/>
                  </a:lnTo>
                  <a:lnTo>
                    <a:pt x="873025" y="1028049"/>
                  </a:lnTo>
                  <a:lnTo>
                    <a:pt x="881419" y="1026038"/>
                  </a:lnTo>
                  <a:lnTo>
                    <a:pt x="889842" y="1026038"/>
                  </a:lnTo>
                  <a:lnTo>
                    <a:pt x="891933" y="1026038"/>
                  </a:lnTo>
                  <a:lnTo>
                    <a:pt x="894054" y="1024026"/>
                  </a:lnTo>
                  <a:lnTo>
                    <a:pt x="896145" y="1024026"/>
                  </a:lnTo>
                  <a:lnTo>
                    <a:pt x="900357" y="1026038"/>
                  </a:lnTo>
                  <a:lnTo>
                    <a:pt x="904569" y="1038059"/>
                  </a:lnTo>
                  <a:cubicBezTo>
                    <a:pt x="905256" y="1040071"/>
                    <a:pt x="905973" y="1042034"/>
                    <a:pt x="906660" y="1044046"/>
                  </a:cubicBezTo>
                  <a:lnTo>
                    <a:pt x="912993" y="1052092"/>
                  </a:lnTo>
                  <a:lnTo>
                    <a:pt x="917175" y="1054104"/>
                  </a:lnTo>
                  <a:lnTo>
                    <a:pt x="925599" y="1056115"/>
                  </a:lnTo>
                  <a:lnTo>
                    <a:pt x="942416" y="1062102"/>
                  </a:lnTo>
                  <a:lnTo>
                    <a:pt x="936113" y="1068137"/>
                  </a:lnTo>
                  <a:lnTo>
                    <a:pt x="927720" y="1078147"/>
                  </a:lnTo>
                  <a:lnTo>
                    <a:pt x="936113" y="1074124"/>
                  </a:lnTo>
                  <a:lnTo>
                    <a:pt x="942416" y="1070101"/>
                  </a:lnTo>
                  <a:lnTo>
                    <a:pt x="946628" y="1074124"/>
                  </a:lnTo>
                  <a:lnTo>
                    <a:pt x="952961" y="1076135"/>
                  </a:lnTo>
                  <a:lnTo>
                    <a:pt x="957143" y="1086145"/>
                  </a:lnTo>
                  <a:lnTo>
                    <a:pt x="963476" y="1088157"/>
                  </a:lnTo>
                  <a:lnTo>
                    <a:pt x="965567" y="1088157"/>
                  </a:lnTo>
                  <a:lnTo>
                    <a:pt x="969779" y="1088157"/>
                  </a:lnTo>
                  <a:lnTo>
                    <a:pt x="976082" y="1084134"/>
                  </a:lnTo>
                  <a:lnTo>
                    <a:pt x="980294" y="1080159"/>
                  </a:lnTo>
                  <a:lnTo>
                    <a:pt x="986597" y="1084134"/>
                  </a:lnTo>
                  <a:lnTo>
                    <a:pt x="990808" y="1090169"/>
                  </a:lnTo>
                  <a:cubicBezTo>
                    <a:pt x="992899" y="1094862"/>
                    <a:pt x="995020" y="1099508"/>
                    <a:pt x="997111" y="1104202"/>
                  </a:cubicBezTo>
                  <a:lnTo>
                    <a:pt x="1001323" y="1114212"/>
                  </a:lnTo>
                  <a:lnTo>
                    <a:pt x="1009747" y="1124222"/>
                  </a:lnTo>
                  <a:lnTo>
                    <a:pt x="1005066" y="1125340"/>
                  </a:lnTo>
                  <a:lnTo>
                    <a:pt x="1009745" y="1124226"/>
                  </a:lnTo>
                  <a:lnTo>
                    <a:pt x="1030781" y="1130238"/>
                  </a:lnTo>
                  <a:lnTo>
                    <a:pt x="1043403" y="1130238"/>
                  </a:lnTo>
                  <a:lnTo>
                    <a:pt x="1049714" y="1130238"/>
                  </a:lnTo>
                  <a:lnTo>
                    <a:pt x="1051818" y="1128234"/>
                  </a:lnTo>
                  <a:lnTo>
                    <a:pt x="1056025" y="1124226"/>
                  </a:lnTo>
                  <a:lnTo>
                    <a:pt x="1060232" y="1120218"/>
                  </a:lnTo>
                  <a:lnTo>
                    <a:pt x="1070750" y="1118214"/>
                  </a:lnTo>
                  <a:lnTo>
                    <a:pt x="1081269" y="1118214"/>
                  </a:lnTo>
                  <a:lnTo>
                    <a:pt x="1087576" y="1116211"/>
                  </a:lnTo>
                  <a:lnTo>
                    <a:pt x="1087564" y="1116209"/>
                  </a:lnTo>
                  <a:lnTo>
                    <a:pt x="1077086" y="1114222"/>
                  </a:lnTo>
                  <a:lnTo>
                    <a:pt x="1064465" y="1114222"/>
                  </a:lnTo>
                  <a:lnTo>
                    <a:pt x="1051844" y="1110177"/>
                  </a:lnTo>
                  <a:lnTo>
                    <a:pt x="1039223" y="1108189"/>
                  </a:lnTo>
                  <a:lnTo>
                    <a:pt x="1039223" y="1104179"/>
                  </a:lnTo>
                  <a:lnTo>
                    <a:pt x="1039223" y="1100203"/>
                  </a:lnTo>
                  <a:cubicBezTo>
                    <a:pt x="1037794" y="1098181"/>
                    <a:pt x="1036425" y="1096159"/>
                    <a:pt x="1034996" y="1094171"/>
                  </a:cubicBezTo>
                  <a:cubicBezTo>
                    <a:pt x="1034282" y="1092149"/>
                    <a:pt x="1033627" y="1090161"/>
                    <a:pt x="1032913" y="1088173"/>
                  </a:cubicBezTo>
                  <a:lnTo>
                    <a:pt x="1020292" y="1084129"/>
                  </a:lnTo>
                  <a:cubicBezTo>
                    <a:pt x="1018863" y="1085454"/>
                    <a:pt x="1017494" y="1086848"/>
                    <a:pt x="1016065" y="1088173"/>
                  </a:cubicBezTo>
                  <a:lnTo>
                    <a:pt x="1009754" y="1088173"/>
                  </a:lnTo>
                  <a:lnTo>
                    <a:pt x="1007671" y="1088173"/>
                  </a:lnTo>
                  <a:cubicBezTo>
                    <a:pt x="1006956" y="1087511"/>
                    <a:pt x="1006242" y="1086814"/>
                    <a:pt x="1005528" y="1086151"/>
                  </a:cubicBezTo>
                  <a:cubicBezTo>
                    <a:pt x="1003444" y="1080119"/>
                    <a:pt x="1001301" y="1074121"/>
                    <a:pt x="999217" y="1068089"/>
                  </a:cubicBezTo>
                  <a:cubicBezTo>
                    <a:pt x="997788" y="1062788"/>
                    <a:pt x="996419" y="1057418"/>
                    <a:pt x="994990" y="1052083"/>
                  </a:cubicBezTo>
                  <a:lnTo>
                    <a:pt x="978202" y="1024013"/>
                  </a:lnTo>
                  <a:cubicBezTo>
                    <a:pt x="976773" y="1018678"/>
                    <a:pt x="975404" y="1013343"/>
                    <a:pt x="973975" y="1008008"/>
                  </a:cubicBezTo>
                  <a:lnTo>
                    <a:pt x="973975" y="991968"/>
                  </a:lnTo>
                  <a:lnTo>
                    <a:pt x="973975" y="975928"/>
                  </a:lnTo>
                  <a:cubicBezTo>
                    <a:pt x="971891" y="971953"/>
                    <a:pt x="969748" y="967908"/>
                    <a:pt x="967665" y="963898"/>
                  </a:cubicBezTo>
                  <a:cubicBezTo>
                    <a:pt x="966236" y="960585"/>
                    <a:pt x="964866" y="957203"/>
                    <a:pt x="963438" y="953890"/>
                  </a:cubicBezTo>
                  <a:lnTo>
                    <a:pt x="955044" y="941860"/>
                  </a:lnTo>
                  <a:lnTo>
                    <a:pt x="944506" y="923833"/>
                  </a:lnTo>
                  <a:lnTo>
                    <a:pt x="934028" y="921845"/>
                  </a:lnTo>
                  <a:cubicBezTo>
                    <a:pt x="931945" y="920485"/>
                    <a:pt x="929801" y="919160"/>
                    <a:pt x="927718" y="917835"/>
                  </a:cubicBezTo>
                  <a:lnTo>
                    <a:pt x="927718" y="921845"/>
                  </a:lnTo>
                  <a:lnTo>
                    <a:pt x="925575" y="921845"/>
                  </a:lnTo>
                  <a:lnTo>
                    <a:pt x="921407" y="921845"/>
                  </a:lnTo>
                  <a:lnTo>
                    <a:pt x="915097" y="921845"/>
                  </a:lnTo>
                  <a:cubicBezTo>
                    <a:pt x="914382" y="920520"/>
                    <a:pt x="913668" y="919160"/>
                    <a:pt x="912954" y="917835"/>
                  </a:cubicBezTo>
                  <a:lnTo>
                    <a:pt x="912954" y="915813"/>
                  </a:lnTo>
                  <a:cubicBezTo>
                    <a:pt x="913668" y="915150"/>
                    <a:pt x="914382" y="914453"/>
                    <a:pt x="915097" y="913790"/>
                  </a:cubicBezTo>
                  <a:cubicBezTo>
                    <a:pt x="915811" y="913128"/>
                    <a:pt x="916466" y="912465"/>
                    <a:pt x="917180" y="911803"/>
                  </a:cubicBezTo>
                  <a:lnTo>
                    <a:pt x="921407" y="911803"/>
                  </a:lnTo>
                  <a:lnTo>
                    <a:pt x="921407" y="905805"/>
                  </a:lnTo>
                  <a:cubicBezTo>
                    <a:pt x="919978" y="905142"/>
                    <a:pt x="918609" y="904480"/>
                    <a:pt x="917180" y="903817"/>
                  </a:cubicBezTo>
                  <a:cubicBezTo>
                    <a:pt x="916466" y="903155"/>
                    <a:pt x="915811" y="902423"/>
                    <a:pt x="915097" y="901760"/>
                  </a:cubicBezTo>
                  <a:lnTo>
                    <a:pt x="906643" y="901760"/>
                  </a:lnTo>
                  <a:cubicBezTo>
                    <a:pt x="905929" y="900435"/>
                    <a:pt x="905274" y="899110"/>
                    <a:pt x="904559" y="897785"/>
                  </a:cubicBezTo>
                  <a:lnTo>
                    <a:pt x="902476" y="897785"/>
                  </a:lnTo>
                  <a:cubicBezTo>
                    <a:pt x="903190" y="896425"/>
                    <a:pt x="903845" y="895100"/>
                    <a:pt x="904559" y="893775"/>
                  </a:cubicBezTo>
                  <a:cubicBezTo>
                    <a:pt x="905274" y="893112"/>
                    <a:pt x="905929" y="892450"/>
                    <a:pt x="906643" y="891787"/>
                  </a:cubicBezTo>
                  <a:lnTo>
                    <a:pt x="917180" y="893775"/>
                  </a:lnTo>
                  <a:lnTo>
                    <a:pt x="931885" y="895762"/>
                  </a:lnTo>
                  <a:lnTo>
                    <a:pt x="931885" y="893775"/>
                  </a:lnTo>
                  <a:lnTo>
                    <a:pt x="925575" y="891787"/>
                  </a:lnTo>
                  <a:lnTo>
                    <a:pt x="915097" y="883732"/>
                  </a:lnTo>
                  <a:lnTo>
                    <a:pt x="879317" y="871702"/>
                  </a:lnTo>
                  <a:lnTo>
                    <a:pt x="860386" y="863717"/>
                  </a:lnTo>
                  <a:lnTo>
                    <a:pt x="849849" y="855697"/>
                  </a:lnTo>
                  <a:cubicBezTo>
                    <a:pt x="849134" y="854372"/>
                    <a:pt x="848479" y="853012"/>
                    <a:pt x="847765" y="851687"/>
                  </a:cubicBezTo>
                  <a:lnTo>
                    <a:pt x="847765" y="849700"/>
                  </a:lnTo>
                  <a:cubicBezTo>
                    <a:pt x="848479" y="847677"/>
                    <a:pt x="849134" y="845655"/>
                    <a:pt x="849849" y="843667"/>
                  </a:cubicBezTo>
                  <a:lnTo>
                    <a:pt x="858302" y="839657"/>
                  </a:lnTo>
                  <a:lnTo>
                    <a:pt x="851992" y="833660"/>
                  </a:lnTo>
                  <a:cubicBezTo>
                    <a:pt x="851277" y="832997"/>
                    <a:pt x="850563" y="832300"/>
                    <a:pt x="849849" y="831637"/>
                  </a:cubicBezTo>
                  <a:cubicBezTo>
                    <a:pt x="850563" y="828987"/>
                    <a:pt x="851277" y="826302"/>
                    <a:pt x="851992" y="823652"/>
                  </a:cubicBezTo>
                  <a:lnTo>
                    <a:pt x="860386" y="819642"/>
                  </a:lnTo>
                  <a:cubicBezTo>
                    <a:pt x="861100" y="817654"/>
                    <a:pt x="861755" y="815597"/>
                    <a:pt x="862470" y="813609"/>
                  </a:cubicBezTo>
                  <a:lnTo>
                    <a:pt x="862470" y="809599"/>
                  </a:lnTo>
                  <a:cubicBezTo>
                    <a:pt x="861755" y="802904"/>
                    <a:pt x="861100" y="796244"/>
                    <a:pt x="860386" y="789549"/>
                  </a:cubicBezTo>
                  <a:lnTo>
                    <a:pt x="854076" y="771526"/>
                  </a:lnTo>
                  <a:lnTo>
                    <a:pt x="854049" y="771529"/>
                  </a:lnTo>
                  <a:cubicBezTo>
                    <a:pt x="853367" y="769532"/>
                    <a:pt x="852684" y="767504"/>
                    <a:pt x="852001" y="765507"/>
                  </a:cubicBezTo>
                  <a:cubicBezTo>
                    <a:pt x="850574" y="764176"/>
                    <a:pt x="849209" y="762844"/>
                    <a:pt x="847781" y="761513"/>
                  </a:cubicBezTo>
                  <a:lnTo>
                    <a:pt x="839342" y="759516"/>
                  </a:lnTo>
                  <a:lnTo>
                    <a:pt x="828854" y="761513"/>
                  </a:lnTo>
                  <a:lnTo>
                    <a:pt x="818304" y="759516"/>
                  </a:lnTo>
                  <a:lnTo>
                    <a:pt x="805706" y="753494"/>
                  </a:lnTo>
                  <a:cubicBezTo>
                    <a:pt x="802169" y="749500"/>
                    <a:pt x="798694" y="745475"/>
                    <a:pt x="795157" y="741481"/>
                  </a:cubicBezTo>
                  <a:lnTo>
                    <a:pt x="786779" y="729437"/>
                  </a:lnTo>
                  <a:lnTo>
                    <a:pt x="780449" y="715427"/>
                  </a:lnTo>
                  <a:lnTo>
                    <a:pt x="786779" y="719421"/>
                  </a:lnTo>
                  <a:lnTo>
                    <a:pt x="790937" y="719421"/>
                  </a:lnTo>
                  <a:lnTo>
                    <a:pt x="805706" y="713400"/>
                  </a:lnTo>
                  <a:cubicBezTo>
                    <a:pt x="807816" y="710071"/>
                    <a:pt x="809864" y="706712"/>
                    <a:pt x="811974" y="703384"/>
                  </a:cubicBezTo>
                  <a:lnTo>
                    <a:pt x="818304" y="693368"/>
                  </a:lnTo>
                  <a:cubicBezTo>
                    <a:pt x="818987" y="690705"/>
                    <a:pt x="819731" y="688012"/>
                    <a:pt x="820414" y="685349"/>
                  </a:cubicBezTo>
                  <a:cubicBezTo>
                    <a:pt x="821097" y="684017"/>
                    <a:pt x="821841" y="682686"/>
                    <a:pt x="822524" y="681355"/>
                  </a:cubicBezTo>
                  <a:lnTo>
                    <a:pt x="828854" y="679357"/>
                  </a:lnTo>
                  <a:cubicBezTo>
                    <a:pt x="830219" y="678026"/>
                    <a:pt x="831646" y="676664"/>
                    <a:pt x="833012" y="675333"/>
                  </a:cubicBezTo>
                  <a:lnTo>
                    <a:pt x="847781" y="675333"/>
                  </a:lnTo>
                  <a:lnTo>
                    <a:pt x="858269" y="673336"/>
                  </a:lnTo>
                  <a:lnTo>
                    <a:pt x="864599" y="671339"/>
                  </a:lnTo>
                  <a:lnTo>
                    <a:pt x="875087" y="665317"/>
                  </a:lnTo>
                  <a:lnTo>
                    <a:pt x="881416" y="661323"/>
                  </a:lnTo>
                  <a:lnTo>
                    <a:pt x="891966" y="649279"/>
                  </a:lnTo>
                  <a:cubicBezTo>
                    <a:pt x="893331" y="647282"/>
                    <a:pt x="894759" y="645285"/>
                    <a:pt x="896124" y="643288"/>
                  </a:cubicBezTo>
                  <a:lnTo>
                    <a:pt x="904564" y="641260"/>
                  </a:lnTo>
                  <a:lnTo>
                    <a:pt x="913004" y="639263"/>
                  </a:lnTo>
                  <a:lnTo>
                    <a:pt x="925601" y="639263"/>
                  </a:lnTo>
                  <a:lnTo>
                    <a:pt x="934041" y="641260"/>
                  </a:lnTo>
                  <a:lnTo>
                    <a:pt x="942419" y="643288"/>
                  </a:lnTo>
                  <a:cubicBezTo>
                    <a:pt x="945956" y="646616"/>
                    <a:pt x="949431" y="649975"/>
                    <a:pt x="952969" y="653304"/>
                  </a:cubicBezTo>
                  <a:cubicBezTo>
                    <a:pt x="957189" y="655967"/>
                    <a:pt x="961346" y="658660"/>
                    <a:pt x="965566" y="661323"/>
                  </a:cubicBezTo>
                  <a:lnTo>
                    <a:pt x="974006" y="663320"/>
                  </a:lnTo>
                  <a:lnTo>
                    <a:pt x="980274" y="663320"/>
                  </a:lnTo>
                  <a:lnTo>
                    <a:pt x="1001311" y="659295"/>
                  </a:lnTo>
                  <a:lnTo>
                    <a:pt x="1022349" y="649279"/>
                  </a:lnTo>
                  <a:lnTo>
                    <a:pt x="1045496" y="641260"/>
                  </a:lnTo>
                  <a:lnTo>
                    <a:pt x="1056046" y="639263"/>
                  </a:lnTo>
                  <a:lnTo>
                    <a:pt x="1070754" y="639263"/>
                  </a:lnTo>
                  <a:lnTo>
                    <a:pt x="1098121" y="641260"/>
                  </a:lnTo>
                  <a:lnTo>
                    <a:pt x="1129646" y="649279"/>
                  </a:lnTo>
                  <a:lnTo>
                    <a:pt x="1171721" y="661323"/>
                  </a:lnTo>
                  <a:lnTo>
                    <a:pt x="1218016" y="669341"/>
                  </a:lnTo>
                  <a:lnTo>
                    <a:pt x="1260091" y="675333"/>
                  </a:lnTo>
                  <a:lnTo>
                    <a:pt x="1283238" y="679357"/>
                  </a:lnTo>
                  <a:lnTo>
                    <a:pt x="1293726" y="675333"/>
                  </a:lnTo>
                  <a:lnTo>
                    <a:pt x="1302166" y="673336"/>
                  </a:lnTo>
                  <a:lnTo>
                    <a:pt x="1295836" y="669341"/>
                  </a:lnTo>
                  <a:cubicBezTo>
                    <a:pt x="1294408" y="668010"/>
                    <a:pt x="1293043" y="666648"/>
                    <a:pt x="1291616" y="665317"/>
                  </a:cubicBezTo>
                  <a:lnTo>
                    <a:pt x="1283238" y="665317"/>
                  </a:lnTo>
                  <a:lnTo>
                    <a:pt x="1274798" y="665317"/>
                  </a:lnTo>
                  <a:lnTo>
                    <a:pt x="1295836" y="653304"/>
                  </a:lnTo>
                  <a:cubicBezTo>
                    <a:pt x="1298628" y="649975"/>
                    <a:pt x="1301483" y="646616"/>
                    <a:pt x="1304276" y="643288"/>
                  </a:cubicBezTo>
                  <a:lnTo>
                    <a:pt x="1308433" y="641260"/>
                  </a:lnTo>
                  <a:lnTo>
                    <a:pt x="1308433" y="637266"/>
                  </a:lnTo>
                  <a:cubicBezTo>
                    <a:pt x="1307751" y="634603"/>
                    <a:pt x="1307068" y="631910"/>
                    <a:pt x="1306386" y="629247"/>
                  </a:cubicBezTo>
                  <a:lnTo>
                    <a:pt x="1306386" y="621228"/>
                  </a:lnTo>
                  <a:cubicBezTo>
                    <a:pt x="1308496" y="619897"/>
                    <a:pt x="1310543" y="618565"/>
                    <a:pt x="1312653" y="617234"/>
                  </a:cubicBezTo>
                  <a:cubicBezTo>
                    <a:pt x="1314081" y="615903"/>
                    <a:pt x="1315446" y="614541"/>
                    <a:pt x="1316873" y="613209"/>
                  </a:cubicBezTo>
                  <a:cubicBezTo>
                    <a:pt x="1317556" y="614541"/>
                    <a:pt x="1318301" y="615903"/>
                    <a:pt x="1318983" y="617234"/>
                  </a:cubicBezTo>
                  <a:lnTo>
                    <a:pt x="1329471" y="617234"/>
                  </a:lnTo>
                  <a:lnTo>
                    <a:pt x="1337911" y="613209"/>
                  </a:lnTo>
                  <a:close/>
                  <a:moveTo>
                    <a:pt x="784662" y="533057"/>
                  </a:moveTo>
                  <a:lnTo>
                    <a:pt x="784658" y="533058"/>
                  </a:lnTo>
                  <a:lnTo>
                    <a:pt x="784663" y="533058"/>
                  </a:lnTo>
                  <a:close/>
                  <a:moveTo>
                    <a:pt x="816192" y="490916"/>
                  </a:moveTo>
                  <a:lnTo>
                    <a:pt x="816213" y="490975"/>
                  </a:lnTo>
                  <a:lnTo>
                    <a:pt x="824393" y="507675"/>
                  </a:lnTo>
                  <a:lnTo>
                    <a:pt x="816248" y="490975"/>
                  </a:lnTo>
                  <a:close/>
                  <a:moveTo>
                    <a:pt x="637054" y="154313"/>
                  </a:moveTo>
                  <a:lnTo>
                    <a:pt x="637403" y="156310"/>
                  </a:lnTo>
                  <a:lnTo>
                    <a:pt x="637401" y="156330"/>
                  </a:lnTo>
                  <a:lnTo>
                    <a:pt x="637408" y="156323"/>
                  </a:lnTo>
                  <a:close/>
                  <a:moveTo>
                    <a:pt x="321857" y="0"/>
                  </a:moveTo>
                  <a:lnTo>
                    <a:pt x="376552" y="2004"/>
                  </a:lnTo>
                  <a:lnTo>
                    <a:pt x="500666" y="4008"/>
                  </a:lnTo>
                  <a:lnTo>
                    <a:pt x="502770" y="8016"/>
                  </a:lnTo>
                  <a:lnTo>
                    <a:pt x="509081" y="14028"/>
                  </a:lnTo>
                  <a:lnTo>
                    <a:pt x="521703" y="22044"/>
                  </a:lnTo>
                  <a:lnTo>
                    <a:pt x="534325" y="26051"/>
                  </a:lnTo>
                  <a:lnTo>
                    <a:pt x="540636" y="32063"/>
                  </a:lnTo>
                  <a:lnTo>
                    <a:pt x="544843" y="36071"/>
                  </a:lnTo>
                  <a:lnTo>
                    <a:pt x="567983" y="78155"/>
                  </a:lnTo>
                  <a:lnTo>
                    <a:pt x="578501" y="96191"/>
                  </a:lnTo>
                  <a:lnTo>
                    <a:pt x="584812" y="106211"/>
                  </a:lnTo>
                  <a:lnTo>
                    <a:pt x="593227" y="114227"/>
                  </a:lnTo>
                  <a:lnTo>
                    <a:pt x="605848" y="122243"/>
                  </a:lnTo>
                  <a:lnTo>
                    <a:pt x="616367" y="124247"/>
                  </a:lnTo>
                  <a:lnTo>
                    <a:pt x="626885" y="132262"/>
                  </a:lnTo>
                  <a:lnTo>
                    <a:pt x="635299" y="144286"/>
                  </a:lnTo>
                  <a:lnTo>
                    <a:pt x="687921" y="134262"/>
                  </a:lnTo>
                  <a:lnTo>
                    <a:pt x="713138" y="128245"/>
                  </a:lnTo>
                  <a:lnTo>
                    <a:pt x="734145" y="118217"/>
                  </a:lnTo>
                  <a:lnTo>
                    <a:pt x="748898" y="108189"/>
                  </a:lnTo>
                  <a:lnTo>
                    <a:pt x="759401" y="96211"/>
                  </a:lnTo>
                  <a:lnTo>
                    <a:pt x="784658" y="72145"/>
                  </a:lnTo>
                  <a:cubicBezTo>
                    <a:pt x="785327" y="69470"/>
                    <a:pt x="786074" y="66796"/>
                    <a:pt x="786743" y="64122"/>
                  </a:cubicBezTo>
                  <a:cubicBezTo>
                    <a:pt x="787490" y="61448"/>
                    <a:pt x="788159" y="58774"/>
                    <a:pt x="788906" y="56100"/>
                  </a:cubicBezTo>
                  <a:lnTo>
                    <a:pt x="795201" y="42061"/>
                  </a:lnTo>
                  <a:cubicBezTo>
                    <a:pt x="795870" y="40724"/>
                    <a:pt x="796617" y="39387"/>
                    <a:pt x="797286" y="38050"/>
                  </a:cubicBezTo>
                  <a:lnTo>
                    <a:pt x="801495" y="38050"/>
                  </a:lnTo>
                  <a:lnTo>
                    <a:pt x="807790" y="36044"/>
                  </a:lnTo>
                  <a:cubicBezTo>
                    <a:pt x="808458" y="33370"/>
                    <a:pt x="809206" y="30752"/>
                    <a:pt x="809875" y="28078"/>
                  </a:cubicBezTo>
                  <a:lnTo>
                    <a:pt x="809875" y="22061"/>
                  </a:lnTo>
                  <a:cubicBezTo>
                    <a:pt x="808458" y="19387"/>
                    <a:pt x="807121" y="16713"/>
                    <a:pt x="805705" y="14039"/>
                  </a:cubicBezTo>
                  <a:lnTo>
                    <a:pt x="799371" y="6016"/>
                  </a:lnTo>
                  <a:cubicBezTo>
                    <a:pt x="798702" y="4011"/>
                    <a:pt x="797994" y="2005"/>
                    <a:pt x="797286" y="0"/>
                  </a:cubicBezTo>
                  <a:lnTo>
                    <a:pt x="805705" y="2005"/>
                  </a:lnTo>
                  <a:lnTo>
                    <a:pt x="811999" y="4011"/>
                  </a:lnTo>
                  <a:lnTo>
                    <a:pt x="826751" y="4011"/>
                  </a:lnTo>
                  <a:lnTo>
                    <a:pt x="841465" y="4011"/>
                  </a:lnTo>
                  <a:lnTo>
                    <a:pt x="854093" y="6016"/>
                  </a:lnTo>
                  <a:lnTo>
                    <a:pt x="868806" y="14039"/>
                  </a:lnTo>
                  <a:lnTo>
                    <a:pt x="879310" y="24067"/>
                  </a:lnTo>
                  <a:cubicBezTo>
                    <a:pt x="881395" y="28078"/>
                    <a:pt x="883519" y="32033"/>
                    <a:pt x="885604" y="36044"/>
                  </a:cubicBezTo>
                  <a:lnTo>
                    <a:pt x="894062" y="52089"/>
                  </a:lnTo>
                  <a:lnTo>
                    <a:pt x="915109" y="94206"/>
                  </a:lnTo>
                  <a:lnTo>
                    <a:pt x="936116" y="136267"/>
                  </a:lnTo>
                  <a:lnTo>
                    <a:pt x="948744" y="154317"/>
                  </a:lnTo>
                  <a:lnTo>
                    <a:pt x="959248" y="168356"/>
                  </a:lnTo>
                  <a:lnTo>
                    <a:pt x="959248" y="176323"/>
                  </a:lnTo>
                  <a:cubicBezTo>
                    <a:pt x="958579" y="178328"/>
                    <a:pt x="957832" y="180334"/>
                    <a:pt x="957163" y="182340"/>
                  </a:cubicBezTo>
                  <a:lnTo>
                    <a:pt x="963458" y="186351"/>
                  </a:lnTo>
                  <a:lnTo>
                    <a:pt x="967706" y="188356"/>
                  </a:lnTo>
                  <a:lnTo>
                    <a:pt x="988714" y="230473"/>
                  </a:lnTo>
                  <a:lnTo>
                    <a:pt x="999257" y="254484"/>
                  </a:lnTo>
                  <a:cubicBezTo>
                    <a:pt x="999926" y="258496"/>
                    <a:pt x="1000634" y="262507"/>
                    <a:pt x="1001342" y="266518"/>
                  </a:cubicBezTo>
                  <a:lnTo>
                    <a:pt x="1001342" y="276541"/>
                  </a:lnTo>
                  <a:cubicBezTo>
                    <a:pt x="1001344" y="276538"/>
                    <a:pt x="1001345" y="276535"/>
                    <a:pt x="1001346" y="276532"/>
                  </a:cubicBezTo>
                  <a:lnTo>
                    <a:pt x="1016055" y="276532"/>
                  </a:lnTo>
                  <a:lnTo>
                    <a:pt x="1028683" y="278546"/>
                  </a:lnTo>
                  <a:lnTo>
                    <a:pt x="1049730" y="288573"/>
                  </a:lnTo>
                  <a:lnTo>
                    <a:pt x="1056020" y="290587"/>
                  </a:lnTo>
                  <a:lnTo>
                    <a:pt x="1062358" y="290587"/>
                  </a:lnTo>
                  <a:lnTo>
                    <a:pt x="1072857" y="288573"/>
                  </a:lnTo>
                  <a:lnTo>
                    <a:pt x="1093904" y="276532"/>
                  </a:lnTo>
                  <a:lnTo>
                    <a:pt x="1117032" y="266545"/>
                  </a:lnTo>
                  <a:lnTo>
                    <a:pt x="1140159" y="258531"/>
                  </a:lnTo>
                  <a:lnTo>
                    <a:pt x="1165415" y="256517"/>
                  </a:lnTo>
                  <a:lnTo>
                    <a:pt x="1192752" y="258531"/>
                  </a:lnTo>
                  <a:lnTo>
                    <a:pt x="1213799" y="256517"/>
                  </a:lnTo>
                  <a:lnTo>
                    <a:pt x="1249554" y="254504"/>
                  </a:lnTo>
                  <a:lnTo>
                    <a:pt x="1264311" y="254504"/>
                  </a:lnTo>
                  <a:lnTo>
                    <a:pt x="1276891" y="256517"/>
                  </a:lnTo>
                  <a:lnTo>
                    <a:pt x="1287439" y="258531"/>
                  </a:lnTo>
                  <a:cubicBezTo>
                    <a:pt x="1288842" y="260544"/>
                    <a:pt x="1290245" y="262518"/>
                    <a:pt x="1291648" y="264531"/>
                  </a:cubicBezTo>
                  <a:lnTo>
                    <a:pt x="1291648" y="266545"/>
                  </a:lnTo>
                  <a:cubicBezTo>
                    <a:pt x="1292325" y="319958"/>
                    <a:pt x="1293051" y="373411"/>
                    <a:pt x="1293729" y="426825"/>
                  </a:cubicBezTo>
                  <a:lnTo>
                    <a:pt x="1327404" y="426825"/>
                  </a:lnTo>
                  <a:lnTo>
                    <a:pt x="1363159" y="426825"/>
                  </a:lnTo>
                  <a:cubicBezTo>
                    <a:pt x="1361756" y="430181"/>
                    <a:pt x="1360353" y="433497"/>
                    <a:pt x="1358950" y="436853"/>
                  </a:cubicBezTo>
                  <a:cubicBezTo>
                    <a:pt x="1358272" y="440208"/>
                    <a:pt x="1357547" y="443524"/>
                    <a:pt x="1356869" y="446880"/>
                  </a:cubicBezTo>
                  <a:cubicBezTo>
                    <a:pt x="1357547" y="453552"/>
                    <a:pt x="1358272" y="460263"/>
                    <a:pt x="1358950" y="466935"/>
                  </a:cubicBezTo>
                  <a:lnTo>
                    <a:pt x="1358950" y="486950"/>
                  </a:lnTo>
                  <a:lnTo>
                    <a:pt x="1358950" y="496978"/>
                  </a:lnTo>
                  <a:lnTo>
                    <a:pt x="1358950" y="507005"/>
                  </a:lnTo>
                  <a:lnTo>
                    <a:pt x="1356869" y="507005"/>
                  </a:lnTo>
                  <a:cubicBezTo>
                    <a:pt x="1356144" y="510361"/>
                    <a:pt x="1355466" y="513677"/>
                    <a:pt x="1354740" y="517032"/>
                  </a:cubicBezTo>
                  <a:cubicBezTo>
                    <a:pt x="1352660" y="518375"/>
                    <a:pt x="1350531" y="519677"/>
                    <a:pt x="1348451" y="521020"/>
                  </a:cubicBezTo>
                  <a:lnTo>
                    <a:pt x="1335822" y="529034"/>
                  </a:lnTo>
                  <a:lnTo>
                    <a:pt x="1318985" y="537048"/>
                  </a:lnTo>
                  <a:lnTo>
                    <a:pt x="1314775" y="541075"/>
                  </a:lnTo>
                  <a:lnTo>
                    <a:pt x="1306357" y="549089"/>
                  </a:lnTo>
                  <a:lnTo>
                    <a:pt x="1306357" y="547075"/>
                  </a:lnTo>
                  <a:cubicBezTo>
                    <a:pt x="1305679" y="548417"/>
                    <a:pt x="1304954" y="549760"/>
                    <a:pt x="1304276" y="551102"/>
                  </a:cubicBezTo>
                  <a:cubicBezTo>
                    <a:pt x="1303550" y="553115"/>
                    <a:pt x="1302873" y="555089"/>
                    <a:pt x="1302147" y="557103"/>
                  </a:cubicBezTo>
                  <a:cubicBezTo>
                    <a:pt x="1300067" y="560458"/>
                    <a:pt x="1297938" y="563774"/>
                    <a:pt x="1295857" y="567130"/>
                  </a:cubicBezTo>
                  <a:cubicBezTo>
                    <a:pt x="1294454" y="571117"/>
                    <a:pt x="1293051" y="575144"/>
                    <a:pt x="1291648" y="579131"/>
                  </a:cubicBezTo>
                  <a:lnTo>
                    <a:pt x="1285310" y="583158"/>
                  </a:lnTo>
                  <a:cubicBezTo>
                    <a:pt x="1283907" y="585171"/>
                    <a:pt x="1282504" y="587145"/>
                    <a:pt x="1281100" y="589159"/>
                  </a:cubicBezTo>
                  <a:lnTo>
                    <a:pt x="1272682" y="597173"/>
                  </a:lnTo>
                  <a:lnTo>
                    <a:pt x="1264311" y="603173"/>
                  </a:lnTo>
                  <a:lnTo>
                    <a:pt x="1255893" y="611227"/>
                  </a:lnTo>
                  <a:lnTo>
                    <a:pt x="1245345" y="619241"/>
                  </a:lnTo>
                  <a:lnTo>
                    <a:pt x="1234846" y="623229"/>
                  </a:lnTo>
                  <a:lnTo>
                    <a:pt x="1224298" y="627256"/>
                  </a:lnTo>
                  <a:lnTo>
                    <a:pt x="1213799" y="627256"/>
                  </a:lnTo>
                  <a:lnTo>
                    <a:pt x="1203300" y="627256"/>
                  </a:lnTo>
                  <a:lnTo>
                    <a:pt x="1182253" y="623229"/>
                  </a:lnTo>
                  <a:lnTo>
                    <a:pt x="1169625" y="623229"/>
                  </a:lnTo>
                  <a:lnTo>
                    <a:pt x="1159125" y="623229"/>
                  </a:lnTo>
                  <a:cubicBezTo>
                    <a:pt x="1161206" y="625242"/>
                    <a:pt x="1163335" y="627216"/>
                    <a:pt x="1165415" y="629229"/>
                  </a:cubicBezTo>
                  <a:lnTo>
                    <a:pt x="1165415" y="633256"/>
                  </a:lnTo>
                  <a:cubicBezTo>
                    <a:pt x="1164012" y="634598"/>
                    <a:pt x="1162609" y="635901"/>
                    <a:pt x="1161206" y="637243"/>
                  </a:cubicBezTo>
                  <a:lnTo>
                    <a:pt x="1154916" y="639257"/>
                  </a:lnTo>
                  <a:lnTo>
                    <a:pt x="1138078" y="641270"/>
                  </a:lnTo>
                  <a:lnTo>
                    <a:pt x="1125450" y="641270"/>
                  </a:lnTo>
                  <a:lnTo>
                    <a:pt x="1138078" y="629229"/>
                  </a:lnTo>
                  <a:lnTo>
                    <a:pt x="1138078" y="627256"/>
                  </a:lnTo>
                  <a:lnTo>
                    <a:pt x="1138078" y="623229"/>
                  </a:lnTo>
                  <a:lnTo>
                    <a:pt x="1129660" y="621215"/>
                  </a:lnTo>
                  <a:lnTo>
                    <a:pt x="1117032" y="621215"/>
                  </a:lnTo>
                  <a:lnTo>
                    <a:pt x="1102323" y="619241"/>
                  </a:lnTo>
                  <a:lnTo>
                    <a:pt x="1085485" y="619241"/>
                  </a:lnTo>
                  <a:lnTo>
                    <a:pt x="1081276" y="617228"/>
                  </a:lnTo>
                  <a:lnTo>
                    <a:pt x="1074938" y="613201"/>
                  </a:lnTo>
                  <a:cubicBezTo>
                    <a:pt x="1074260" y="611859"/>
                    <a:pt x="1073535" y="610556"/>
                    <a:pt x="1072857" y="609214"/>
                  </a:cubicBezTo>
                  <a:cubicBezTo>
                    <a:pt x="1072180" y="607200"/>
                    <a:pt x="1071454" y="605187"/>
                    <a:pt x="1070777" y="603173"/>
                  </a:cubicBezTo>
                  <a:cubicBezTo>
                    <a:pt x="1072857" y="601831"/>
                    <a:pt x="1074986" y="600528"/>
                    <a:pt x="1077067" y="599186"/>
                  </a:cubicBezTo>
                  <a:lnTo>
                    <a:pt x="1087566" y="591172"/>
                  </a:lnTo>
                  <a:lnTo>
                    <a:pt x="1091775" y="587145"/>
                  </a:lnTo>
                  <a:cubicBezTo>
                    <a:pt x="1092501" y="584461"/>
                    <a:pt x="1093178" y="581816"/>
                    <a:pt x="1093904" y="579131"/>
                  </a:cubicBezTo>
                  <a:lnTo>
                    <a:pt x="1087566" y="577157"/>
                  </a:lnTo>
                  <a:lnTo>
                    <a:pt x="1081276" y="571117"/>
                  </a:lnTo>
                  <a:lnTo>
                    <a:pt x="1070777" y="569143"/>
                  </a:lnTo>
                  <a:lnTo>
                    <a:pt x="1056020" y="571117"/>
                  </a:lnTo>
                  <a:lnTo>
                    <a:pt x="1034973" y="571117"/>
                  </a:lnTo>
                  <a:cubicBezTo>
                    <a:pt x="1034296" y="573802"/>
                    <a:pt x="1033570" y="576447"/>
                    <a:pt x="1032893" y="579131"/>
                  </a:cubicBezTo>
                  <a:cubicBezTo>
                    <a:pt x="1032167" y="580474"/>
                    <a:pt x="1031489" y="581816"/>
                    <a:pt x="1030764" y="583158"/>
                  </a:cubicBezTo>
                  <a:cubicBezTo>
                    <a:pt x="1030086" y="586514"/>
                    <a:pt x="1029361" y="589830"/>
                    <a:pt x="1028683" y="593186"/>
                  </a:cubicBezTo>
                  <a:cubicBezTo>
                    <a:pt x="1026603" y="597844"/>
                    <a:pt x="1024474" y="602542"/>
                    <a:pt x="1022393" y="607200"/>
                  </a:cubicBezTo>
                  <a:lnTo>
                    <a:pt x="1016055" y="613201"/>
                  </a:lnTo>
                  <a:lnTo>
                    <a:pt x="997137" y="631243"/>
                  </a:lnTo>
                  <a:lnTo>
                    <a:pt x="984509" y="643284"/>
                  </a:lnTo>
                  <a:cubicBezTo>
                    <a:pt x="983106" y="643955"/>
                    <a:pt x="981703" y="644586"/>
                    <a:pt x="980300" y="645257"/>
                  </a:cubicBezTo>
                  <a:lnTo>
                    <a:pt x="976090" y="649284"/>
                  </a:lnTo>
                  <a:lnTo>
                    <a:pt x="965591" y="643284"/>
                  </a:lnTo>
                  <a:lnTo>
                    <a:pt x="946625" y="637243"/>
                  </a:lnTo>
                  <a:lnTo>
                    <a:pt x="931916" y="631243"/>
                  </a:lnTo>
                  <a:lnTo>
                    <a:pt x="917207" y="629229"/>
                  </a:lnTo>
                  <a:lnTo>
                    <a:pt x="906660" y="623229"/>
                  </a:lnTo>
                  <a:lnTo>
                    <a:pt x="896160" y="609214"/>
                  </a:lnTo>
                  <a:cubicBezTo>
                    <a:pt x="895435" y="607200"/>
                    <a:pt x="894757" y="605187"/>
                    <a:pt x="894032" y="603173"/>
                  </a:cubicBezTo>
                  <a:cubicBezTo>
                    <a:pt x="893354" y="601160"/>
                    <a:pt x="892628" y="599186"/>
                    <a:pt x="891951" y="597173"/>
                  </a:cubicBezTo>
                  <a:lnTo>
                    <a:pt x="891951" y="581145"/>
                  </a:lnTo>
                  <a:cubicBezTo>
                    <a:pt x="891225" y="576486"/>
                    <a:pt x="890548" y="571788"/>
                    <a:pt x="889822" y="567130"/>
                  </a:cubicBezTo>
                  <a:lnTo>
                    <a:pt x="883532" y="561090"/>
                  </a:lnTo>
                  <a:cubicBezTo>
                    <a:pt x="882129" y="559748"/>
                    <a:pt x="880726" y="558445"/>
                    <a:pt x="879323" y="557103"/>
                  </a:cubicBezTo>
                  <a:lnTo>
                    <a:pt x="879310" y="557103"/>
                  </a:lnTo>
                  <a:lnTo>
                    <a:pt x="879310" y="557044"/>
                  </a:lnTo>
                  <a:lnTo>
                    <a:pt x="876079" y="542958"/>
                  </a:lnTo>
                  <a:lnTo>
                    <a:pt x="873015" y="539053"/>
                  </a:lnTo>
                  <a:cubicBezTo>
                    <a:pt x="871599" y="536379"/>
                    <a:pt x="870222" y="533704"/>
                    <a:pt x="868806" y="531030"/>
                  </a:cubicBezTo>
                  <a:lnTo>
                    <a:pt x="860387" y="523008"/>
                  </a:lnTo>
                  <a:lnTo>
                    <a:pt x="854093" y="531030"/>
                  </a:lnTo>
                  <a:cubicBezTo>
                    <a:pt x="853385" y="527019"/>
                    <a:pt x="852676" y="523064"/>
                    <a:pt x="851968" y="519053"/>
                  </a:cubicBezTo>
                  <a:lnTo>
                    <a:pt x="833046" y="527019"/>
                  </a:lnTo>
                  <a:lnTo>
                    <a:pt x="833046" y="529025"/>
                  </a:lnTo>
                  <a:lnTo>
                    <a:pt x="843589" y="533036"/>
                  </a:lnTo>
                  <a:lnTo>
                    <a:pt x="858263" y="539053"/>
                  </a:lnTo>
                  <a:lnTo>
                    <a:pt x="864636" y="547075"/>
                  </a:lnTo>
                  <a:lnTo>
                    <a:pt x="868806" y="551086"/>
                  </a:lnTo>
                  <a:lnTo>
                    <a:pt x="870930" y="557103"/>
                  </a:lnTo>
                  <a:lnTo>
                    <a:pt x="828836" y="553092"/>
                  </a:lnTo>
                  <a:lnTo>
                    <a:pt x="809875" y="553092"/>
                  </a:lnTo>
                  <a:lnTo>
                    <a:pt x="788906" y="553092"/>
                  </a:lnTo>
                  <a:lnTo>
                    <a:pt x="788824" y="552700"/>
                  </a:lnTo>
                  <a:lnTo>
                    <a:pt x="788865" y="553098"/>
                  </a:lnTo>
                  <a:lnTo>
                    <a:pt x="788865" y="563118"/>
                  </a:lnTo>
                  <a:lnTo>
                    <a:pt x="786762" y="573138"/>
                  </a:lnTo>
                  <a:lnTo>
                    <a:pt x="780451" y="583158"/>
                  </a:lnTo>
                  <a:lnTo>
                    <a:pt x="774140" y="591174"/>
                  </a:lnTo>
                  <a:lnTo>
                    <a:pt x="767829" y="591174"/>
                  </a:lnTo>
                  <a:lnTo>
                    <a:pt x="763621" y="591174"/>
                  </a:lnTo>
                  <a:lnTo>
                    <a:pt x="757311" y="589170"/>
                  </a:lnTo>
                  <a:lnTo>
                    <a:pt x="753103" y="591174"/>
                  </a:lnTo>
                  <a:lnTo>
                    <a:pt x="742585" y="597186"/>
                  </a:lnTo>
                  <a:lnTo>
                    <a:pt x="736274" y="593178"/>
                  </a:lnTo>
                  <a:lnTo>
                    <a:pt x="727954" y="591196"/>
                  </a:lnTo>
                  <a:lnTo>
                    <a:pt x="732080" y="601174"/>
                  </a:lnTo>
                  <a:cubicBezTo>
                    <a:pt x="733467" y="606515"/>
                    <a:pt x="734896" y="611857"/>
                    <a:pt x="736283" y="617199"/>
                  </a:cubicBezTo>
                  <a:lnTo>
                    <a:pt x="736283" y="631260"/>
                  </a:lnTo>
                  <a:cubicBezTo>
                    <a:pt x="735589" y="635934"/>
                    <a:pt x="734855" y="640608"/>
                    <a:pt x="734161" y="645282"/>
                  </a:cubicBezTo>
                  <a:lnTo>
                    <a:pt x="725754" y="661307"/>
                  </a:lnTo>
                  <a:lnTo>
                    <a:pt x="721551" y="665313"/>
                  </a:lnTo>
                  <a:lnTo>
                    <a:pt x="715225" y="669320"/>
                  </a:lnTo>
                  <a:lnTo>
                    <a:pt x="721551" y="671323"/>
                  </a:lnTo>
                  <a:lnTo>
                    <a:pt x="732080" y="675368"/>
                  </a:lnTo>
                  <a:lnTo>
                    <a:pt x="746812" y="685384"/>
                  </a:lnTo>
                  <a:lnTo>
                    <a:pt x="757301" y="695360"/>
                  </a:lnTo>
                  <a:cubicBezTo>
                    <a:pt x="756607" y="696735"/>
                    <a:pt x="755913" y="698031"/>
                    <a:pt x="755219" y="699406"/>
                  </a:cubicBezTo>
                  <a:lnTo>
                    <a:pt x="748894" y="699406"/>
                  </a:lnTo>
                  <a:lnTo>
                    <a:pt x="742568" y="699406"/>
                  </a:lnTo>
                  <a:lnTo>
                    <a:pt x="736283" y="701409"/>
                  </a:lnTo>
                  <a:cubicBezTo>
                    <a:pt x="735589" y="702744"/>
                    <a:pt x="734855" y="704040"/>
                    <a:pt x="734161" y="705376"/>
                  </a:cubicBezTo>
                  <a:cubicBezTo>
                    <a:pt x="733467" y="707379"/>
                    <a:pt x="732774" y="709421"/>
                    <a:pt x="732080" y="711424"/>
                  </a:cubicBezTo>
                  <a:lnTo>
                    <a:pt x="734161" y="723443"/>
                  </a:lnTo>
                  <a:lnTo>
                    <a:pt x="742568" y="733459"/>
                  </a:lnTo>
                  <a:lnTo>
                    <a:pt x="732080" y="733459"/>
                  </a:lnTo>
                  <a:lnTo>
                    <a:pt x="727876" y="735462"/>
                  </a:lnTo>
                  <a:lnTo>
                    <a:pt x="727876" y="739468"/>
                  </a:lnTo>
                  <a:lnTo>
                    <a:pt x="732080" y="743475"/>
                  </a:lnTo>
                  <a:lnTo>
                    <a:pt x="738365" y="751487"/>
                  </a:lnTo>
                  <a:lnTo>
                    <a:pt x="757301" y="765509"/>
                  </a:lnTo>
                  <a:lnTo>
                    <a:pt x="765708" y="773521"/>
                  </a:lnTo>
                  <a:cubicBezTo>
                    <a:pt x="766402" y="774228"/>
                    <a:pt x="767136" y="774857"/>
                    <a:pt x="767830" y="775525"/>
                  </a:cubicBezTo>
                  <a:lnTo>
                    <a:pt x="767830" y="783537"/>
                  </a:lnTo>
                  <a:cubicBezTo>
                    <a:pt x="767136" y="784244"/>
                    <a:pt x="766402" y="784872"/>
                    <a:pt x="765708" y="785540"/>
                  </a:cubicBezTo>
                  <a:lnTo>
                    <a:pt x="757301" y="785540"/>
                  </a:lnTo>
                  <a:lnTo>
                    <a:pt x="748894" y="783537"/>
                  </a:lnTo>
                  <a:lnTo>
                    <a:pt x="734161" y="779570"/>
                  </a:lnTo>
                  <a:lnTo>
                    <a:pt x="725754" y="779570"/>
                  </a:lnTo>
                  <a:lnTo>
                    <a:pt x="721551" y="779570"/>
                  </a:lnTo>
                  <a:lnTo>
                    <a:pt x="736283" y="793553"/>
                  </a:lnTo>
                  <a:lnTo>
                    <a:pt x="742568" y="799562"/>
                  </a:lnTo>
                  <a:cubicBezTo>
                    <a:pt x="743262" y="801565"/>
                    <a:pt x="743996" y="803608"/>
                    <a:pt x="744690" y="805611"/>
                  </a:cubicBezTo>
                  <a:lnTo>
                    <a:pt x="744690" y="811620"/>
                  </a:lnTo>
                  <a:cubicBezTo>
                    <a:pt x="743996" y="812956"/>
                    <a:pt x="743262" y="814291"/>
                    <a:pt x="742568" y="815626"/>
                  </a:cubicBezTo>
                  <a:lnTo>
                    <a:pt x="736283" y="823639"/>
                  </a:lnTo>
                  <a:lnTo>
                    <a:pt x="727876" y="829648"/>
                  </a:lnTo>
                  <a:lnTo>
                    <a:pt x="717347" y="829648"/>
                  </a:lnTo>
                  <a:lnTo>
                    <a:pt x="706818" y="829648"/>
                  </a:lnTo>
                  <a:cubicBezTo>
                    <a:pt x="705430" y="826977"/>
                    <a:pt x="704002" y="824307"/>
                    <a:pt x="702614" y="821636"/>
                  </a:cubicBezTo>
                  <a:lnTo>
                    <a:pt x="692085" y="811620"/>
                  </a:lnTo>
                  <a:lnTo>
                    <a:pt x="679475" y="801565"/>
                  </a:lnTo>
                  <a:lnTo>
                    <a:pt x="662661" y="791550"/>
                  </a:lnTo>
                  <a:lnTo>
                    <a:pt x="650009" y="785540"/>
                  </a:lnTo>
                  <a:lnTo>
                    <a:pt x="639521" y="781573"/>
                  </a:lnTo>
                  <a:lnTo>
                    <a:pt x="628992" y="773521"/>
                  </a:lnTo>
                  <a:lnTo>
                    <a:pt x="618463" y="765509"/>
                  </a:lnTo>
                  <a:lnTo>
                    <a:pt x="607934" y="761503"/>
                  </a:lnTo>
                  <a:lnTo>
                    <a:pt x="614259" y="755493"/>
                  </a:lnTo>
                  <a:lnTo>
                    <a:pt x="614259" y="751487"/>
                  </a:lnTo>
                  <a:lnTo>
                    <a:pt x="605852" y="743475"/>
                  </a:lnTo>
                  <a:lnTo>
                    <a:pt x="599527" y="741471"/>
                  </a:lnTo>
                  <a:lnTo>
                    <a:pt x="599527" y="751487"/>
                  </a:lnTo>
                  <a:lnTo>
                    <a:pt x="597445" y="761503"/>
                  </a:lnTo>
                  <a:cubicBezTo>
                    <a:pt x="596751" y="762838"/>
                    <a:pt x="596017" y="764173"/>
                    <a:pt x="595323" y="765509"/>
                  </a:cubicBezTo>
                  <a:lnTo>
                    <a:pt x="589038" y="765509"/>
                  </a:lnTo>
                  <a:lnTo>
                    <a:pt x="582713" y="765509"/>
                  </a:lnTo>
                  <a:lnTo>
                    <a:pt x="574306" y="763545"/>
                  </a:lnTo>
                  <a:lnTo>
                    <a:pt x="563776" y="751487"/>
                  </a:lnTo>
                  <a:lnTo>
                    <a:pt x="551166" y="739468"/>
                  </a:lnTo>
                  <a:lnTo>
                    <a:pt x="536433" y="731456"/>
                  </a:lnTo>
                  <a:lnTo>
                    <a:pt x="530108" y="725446"/>
                  </a:lnTo>
                  <a:cubicBezTo>
                    <a:pt x="528720" y="723443"/>
                    <a:pt x="527292" y="721440"/>
                    <a:pt x="525904" y="719437"/>
                  </a:cubicBezTo>
                  <a:cubicBezTo>
                    <a:pt x="524517" y="714763"/>
                    <a:pt x="523088" y="710050"/>
                    <a:pt x="521701" y="705376"/>
                  </a:cubicBezTo>
                  <a:lnTo>
                    <a:pt x="513294" y="695360"/>
                  </a:lnTo>
                  <a:lnTo>
                    <a:pt x="502764" y="685384"/>
                  </a:lnTo>
                  <a:lnTo>
                    <a:pt x="490154" y="675368"/>
                  </a:lnTo>
                  <a:lnTo>
                    <a:pt x="477543" y="671323"/>
                  </a:lnTo>
                  <a:lnTo>
                    <a:pt x="460689" y="665313"/>
                  </a:lnTo>
                  <a:lnTo>
                    <a:pt x="448078" y="663310"/>
                  </a:lnTo>
                  <a:lnTo>
                    <a:pt x="435468" y="663310"/>
                  </a:lnTo>
                  <a:lnTo>
                    <a:pt x="435468" y="659343"/>
                  </a:lnTo>
                  <a:lnTo>
                    <a:pt x="431264" y="653295"/>
                  </a:lnTo>
                  <a:cubicBezTo>
                    <a:pt x="429836" y="650624"/>
                    <a:pt x="428448" y="647953"/>
                    <a:pt x="427020" y="645282"/>
                  </a:cubicBezTo>
                  <a:lnTo>
                    <a:pt x="427020" y="641276"/>
                  </a:lnTo>
                  <a:lnTo>
                    <a:pt x="427020" y="639273"/>
                  </a:lnTo>
                  <a:cubicBezTo>
                    <a:pt x="427714" y="637270"/>
                    <a:pt x="428448" y="635227"/>
                    <a:pt x="429142" y="633224"/>
                  </a:cubicBezTo>
                  <a:cubicBezTo>
                    <a:pt x="429836" y="631889"/>
                    <a:pt x="430570" y="630592"/>
                    <a:pt x="431264" y="629257"/>
                  </a:cubicBezTo>
                  <a:lnTo>
                    <a:pt x="427020" y="629257"/>
                  </a:lnTo>
                  <a:lnTo>
                    <a:pt x="420735" y="631260"/>
                  </a:lnTo>
                  <a:lnTo>
                    <a:pt x="420735" y="629257"/>
                  </a:lnTo>
                  <a:lnTo>
                    <a:pt x="418613" y="629257"/>
                  </a:lnTo>
                  <a:lnTo>
                    <a:pt x="414409" y="629257"/>
                  </a:lnTo>
                  <a:cubicBezTo>
                    <a:pt x="413022" y="630592"/>
                    <a:pt x="411593" y="631889"/>
                    <a:pt x="410206" y="633224"/>
                  </a:cubicBezTo>
                  <a:cubicBezTo>
                    <a:pt x="409512" y="635227"/>
                    <a:pt x="408818" y="637270"/>
                    <a:pt x="408124" y="639273"/>
                  </a:cubicBezTo>
                  <a:lnTo>
                    <a:pt x="408124" y="645282"/>
                  </a:lnTo>
                  <a:lnTo>
                    <a:pt x="414409" y="653295"/>
                  </a:lnTo>
                  <a:cubicBezTo>
                    <a:pt x="416531" y="655298"/>
                    <a:pt x="418613" y="657340"/>
                    <a:pt x="420735" y="659343"/>
                  </a:cubicBezTo>
                  <a:lnTo>
                    <a:pt x="416531" y="659343"/>
                  </a:lnTo>
                  <a:lnTo>
                    <a:pt x="408124" y="659343"/>
                  </a:lnTo>
                  <a:lnTo>
                    <a:pt x="399677" y="663310"/>
                  </a:lnTo>
                  <a:cubicBezTo>
                    <a:pt x="398289" y="665313"/>
                    <a:pt x="396861" y="667316"/>
                    <a:pt x="395473" y="669320"/>
                  </a:cubicBezTo>
                  <a:lnTo>
                    <a:pt x="389188" y="673326"/>
                  </a:lnTo>
                  <a:lnTo>
                    <a:pt x="389188" y="679335"/>
                  </a:lnTo>
                  <a:cubicBezTo>
                    <a:pt x="390576" y="680710"/>
                    <a:pt x="392004" y="682006"/>
                    <a:pt x="393392" y="683381"/>
                  </a:cubicBezTo>
                  <a:cubicBezTo>
                    <a:pt x="395473" y="685384"/>
                    <a:pt x="397595" y="687348"/>
                    <a:pt x="399677" y="689351"/>
                  </a:cubicBezTo>
                  <a:lnTo>
                    <a:pt x="389188" y="693396"/>
                  </a:lnTo>
                  <a:lnTo>
                    <a:pt x="378659" y="693396"/>
                  </a:lnTo>
                  <a:lnTo>
                    <a:pt x="359723" y="689351"/>
                  </a:lnTo>
                  <a:lnTo>
                    <a:pt x="374456" y="663310"/>
                  </a:lnTo>
                  <a:lnTo>
                    <a:pt x="384985" y="639273"/>
                  </a:lnTo>
                  <a:lnTo>
                    <a:pt x="399677" y="587191"/>
                  </a:lnTo>
                  <a:cubicBezTo>
                    <a:pt x="401799" y="582517"/>
                    <a:pt x="403880" y="577804"/>
                    <a:pt x="406002" y="573130"/>
                  </a:cubicBezTo>
                  <a:cubicBezTo>
                    <a:pt x="406696" y="569123"/>
                    <a:pt x="407431" y="565117"/>
                    <a:pt x="408124" y="561111"/>
                  </a:cubicBezTo>
                  <a:lnTo>
                    <a:pt x="408124" y="549092"/>
                  </a:lnTo>
                  <a:cubicBezTo>
                    <a:pt x="406696" y="543751"/>
                    <a:pt x="405308" y="538409"/>
                    <a:pt x="403880" y="533067"/>
                  </a:cubicBezTo>
                  <a:lnTo>
                    <a:pt x="387066" y="511033"/>
                  </a:lnTo>
                  <a:cubicBezTo>
                    <a:pt x="385679" y="507655"/>
                    <a:pt x="384250" y="504356"/>
                    <a:pt x="382863" y="501017"/>
                  </a:cubicBezTo>
                  <a:lnTo>
                    <a:pt x="382863" y="496972"/>
                  </a:lnTo>
                  <a:cubicBezTo>
                    <a:pt x="383556" y="495636"/>
                    <a:pt x="384291" y="494340"/>
                    <a:pt x="384985" y="493005"/>
                  </a:cubicBezTo>
                  <a:lnTo>
                    <a:pt x="387066" y="493005"/>
                  </a:lnTo>
                  <a:cubicBezTo>
                    <a:pt x="389188" y="494301"/>
                    <a:pt x="391270" y="495676"/>
                    <a:pt x="393392" y="496972"/>
                  </a:cubicBezTo>
                  <a:lnTo>
                    <a:pt x="403880" y="511033"/>
                  </a:lnTo>
                  <a:lnTo>
                    <a:pt x="439671" y="553098"/>
                  </a:lnTo>
                  <a:lnTo>
                    <a:pt x="477543" y="601174"/>
                  </a:lnTo>
                  <a:lnTo>
                    <a:pt x="490154" y="619241"/>
                  </a:lnTo>
                  <a:lnTo>
                    <a:pt x="500683" y="629257"/>
                  </a:lnTo>
                  <a:cubicBezTo>
                    <a:pt x="499989" y="623915"/>
                    <a:pt x="499255" y="618574"/>
                    <a:pt x="498561" y="613232"/>
                  </a:cubicBezTo>
                  <a:cubicBezTo>
                    <a:pt x="495745" y="609225"/>
                    <a:pt x="492970" y="605180"/>
                    <a:pt x="490154" y="601174"/>
                  </a:cubicBezTo>
                  <a:lnTo>
                    <a:pt x="479625" y="589194"/>
                  </a:lnTo>
                  <a:lnTo>
                    <a:pt x="462811" y="573130"/>
                  </a:lnTo>
                  <a:lnTo>
                    <a:pt x="450159" y="561111"/>
                  </a:lnTo>
                  <a:lnTo>
                    <a:pt x="439671" y="547089"/>
                  </a:lnTo>
                  <a:cubicBezTo>
                    <a:pt x="436855" y="542454"/>
                    <a:pt x="434080" y="537741"/>
                    <a:pt x="431264" y="533067"/>
                  </a:cubicBezTo>
                  <a:cubicBezTo>
                    <a:pt x="429836" y="528393"/>
                    <a:pt x="428448" y="523680"/>
                    <a:pt x="427020" y="519045"/>
                  </a:cubicBezTo>
                  <a:cubicBezTo>
                    <a:pt x="426326" y="517042"/>
                    <a:pt x="425632" y="515000"/>
                    <a:pt x="424938" y="512997"/>
                  </a:cubicBezTo>
                  <a:cubicBezTo>
                    <a:pt x="423551" y="512329"/>
                    <a:pt x="422122" y="511701"/>
                    <a:pt x="420735" y="511033"/>
                  </a:cubicBezTo>
                  <a:lnTo>
                    <a:pt x="414409" y="509030"/>
                  </a:lnTo>
                  <a:lnTo>
                    <a:pt x="406002" y="502981"/>
                  </a:lnTo>
                  <a:lnTo>
                    <a:pt x="397595" y="499014"/>
                  </a:lnTo>
                  <a:cubicBezTo>
                    <a:pt x="394779" y="495676"/>
                    <a:pt x="392004" y="492298"/>
                    <a:pt x="389188" y="488959"/>
                  </a:cubicBezTo>
                  <a:cubicBezTo>
                    <a:pt x="387801" y="483617"/>
                    <a:pt x="386372" y="478276"/>
                    <a:pt x="384985" y="472934"/>
                  </a:cubicBezTo>
                  <a:lnTo>
                    <a:pt x="377448" y="440448"/>
                  </a:lnTo>
                  <a:lnTo>
                    <a:pt x="376552" y="440875"/>
                  </a:lnTo>
                  <a:lnTo>
                    <a:pt x="374448" y="446887"/>
                  </a:lnTo>
                  <a:lnTo>
                    <a:pt x="363930" y="440875"/>
                  </a:lnTo>
                  <a:lnTo>
                    <a:pt x="355515" y="438871"/>
                  </a:lnTo>
                  <a:lnTo>
                    <a:pt x="338686" y="436867"/>
                  </a:lnTo>
                  <a:lnTo>
                    <a:pt x="342893" y="430855"/>
                  </a:lnTo>
                  <a:lnTo>
                    <a:pt x="342893" y="426847"/>
                  </a:lnTo>
                  <a:lnTo>
                    <a:pt x="340790" y="424843"/>
                  </a:lnTo>
                  <a:lnTo>
                    <a:pt x="332375" y="420836"/>
                  </a:lnTo>
                  <a:lnTo>
                    <a:pt x="334479" y="448891"/>
                  </a:lnTo>
                  <a:lnTo>
                    <a:pt x="330271" y="442879"/>
                  </a:lnTo>
                  <a:lnTo>
                    <a:pt x="328168" y="438871"/>
                  </a:lnTo>
                  <a:lnTo>
                    <a:pt x="321857" y="424843"/>
                  </a:lnTo>
                  <a:lnTo>
                    <a:pt x="319753" y="408812"/>
                  </a:lnTo>
                  <a:lnTo>
                    <a:pt x="317650" y="394784"/>
                  </a:lnTo>
                  <a:lnTo>
                    <a:pt x="309235" y="378752"/>
                  </a:lnTo>
                  <a:lnTo>
                    <a:pt x="296613" y="360716"/>
                  </a:lnTo>
                  <a:lnTo>
                    <a:pt x="286095" y="344684"/>
                  </a:lnTo>
                  <a:lnTo>
                    <a:pt x="281888" y="336668"/>
                  </a:lnTo>
                  <a:lnTo>
                    <a:pt x="281888" y="328652"/>
                  </a:lnTo>
                  <a:lnTo>
                    <a:pt x="288199" y="328652"/>
                  </a:lnTo>
                  <a:lnTo>
                    <a:pt x="275577" y="316629"/>
                  </a:lnTo>
                  <a:lnTo>
                    <a:pt x="250333" y="304605"/>
                  </a:lnTo>
                  <a:lnTo>
                    <a:pt x="208260" y="284565"/>
                  </a:lnTo>
                  <a:lnTo>
                    <a:pt x="191431" y="274545"/>
                  </a:lnTo>
                  <a:lnTo>
                    <a:pt x="166188" y="256509"/>
                  </a:lnTo>
                  <a:lnTo>
                    <a:pt x="143048" y="238473"/>
                  </a:lnTo>
                  <a:lnTo>
                    <a:pt x="134633" y="230457"/>
                  </a:lnTo>
                  <a:lnTo>
                    <a:pt x="132529" y="224446"/>
                  </a:lnTo>
                  <a:lnTo>
                    <a:pt x="130426" y="214426"/>
                  </a:lnTo>
                  <a:lnTo>
                    <a:pt x="122011" y="204406"/>
                  </a:lnTo>
                  <a:lnTo>
                    <a:pt x="103078" y="178354"/>
                  </a:lnTo>
                  <a:lnTo>
                    <a:pt x="82042" y="156310"/>
                  </a:lnTo>
                  <a:lnTo>
                    <a:pt x="67316" y="136270"/>
                  </a:lnTo>
                  <a:lnTo>
                    <a:pt x="58902" y="126250"/>
                  </a:lnTo>
                  <a:lnTo>
                    <a:pt x="50487" y="118235"/>
                  </a:lnTo>
                  <a:lnTo>
                    <a:pt x="33658" y="106211"/>
                  </a:lnTo>
                  <a:lnTo>
                    <a:pt x="14725" y="92183"/>
                  </a:lnTo>
                  <a:lnTo>
                    <a:pt x="6311" y="84167"/>
                  </a:lnTo>
                  <a:lnTo>
                    <a:pt x="0" y="74147"/>
                  </a:lnTo>
                  <a:lnTo>
                    <a:pt x="12622" y="68135"/>
                  </a:lnTo>
                  <a:lnTo>
                    <a:pt x="25244" y="64127"/>
                  </a:lnTo>
                  <a:lnTo>
                    <a:pt x="50487" y="58115"/>
                  </a:lnTo>
                  <a:lnTo>
                    <a:pt x="79938" y="58115"/>
                  </a:lnTo>
                  <a:lnTo>
                    <a:pt x="111493" y="58115"/>
                  </a:lnTo>
                  <a:lnTo>
                    <a:pt x="109389" y="52103"/>
                  </a:lnTo>
                  <a:lnTo>
                    <a:pt x="111493" y="46091"/>
                  </a:lnTo>
                  <a:lnTo>
                    <a:pt x="111493" y="42083"/>
                  </a:lnTo>
                  <a:lnTo>
                    <a:pt x="117804" y="36071"/>
                  </a:lnTo>
                  <a:lnTo>
                    <a:pt x="128322" y="32063"/>
                  </a:lnTo>
                  <a:lnTo>
                    <a:pt x="143048" y="28055"/>
                  </a:lnTo>
                  <a:lnTo>
                    <a:pt x="176706" y="32063"/>
                  </a:lnTo>
                  <a:lnTo>
                    <a:pt x="206157" y="34067"/>
                  </a:lnTo>
                  <a:lnTo>
                    <a:pt x="275577" y="34067"/>
                  </a:lnTo>
                  <a:lnTo>
                    <a:pt x="275577" y="32063"/>
                  </a:lnTo>
                  <a:lnTo>
                    <a:pt x="277680" y="28055"/>
                  </a:lnTo>
                  <a:lnTo>
                    <a:pt x="277680" y="22044"/>
                  </a:lnTo>
                  <a:lnTo>
                    <a:pt x="277680" y="14028"/>
                  </a:lnTo>
                  <a:lnTo>
                    <a:pt x="277680" y="12024"/>
                  </a:lnTo>
                  <a:lnTo>
                    <a:pt x="279784" y="12024"/>
                  </a:lnTo>
                  <a:lnTo>
                    <a:pt x="296613" y="12024"/>
                  </a:lnTo>
                  <a:lnTo>
                    <a:pt x="311339" y="8016"/>
                  </a:lnTo>
                  <a:lnTo>
                    <a:pt x="313442" y="8016"/>
                  </a:lnTo>
                  <a:lnTo>
                    <a:pt x="313442" y="4008"/>
                  </a:lnTo>
                  <a:lnTo>
                    <a:pt x="313442" y="2004"/>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Bay Area</a:t>
              </a:r>
            </a:p>
          </p:txBody>
        </p:sp>
        <p:sp>
          <p:nvSpPr>
            <p:cNvPr id="21" name="Sierra"/>
            <p:cNvSpPr>
              <a:spLocks/>
            </p:cNvSpPr>
            <p:nvPr/>
          </p:nvSpPr>
          <p:spPr bwMode="auto">
            <a:xfrm>
              <a:off x="3677028" y="2137546"/>
              <a:ext cx="4125234" cy="3739403"/>
            </a:xfrm>
            <a:custGeom>
              <a:avLst/>
              <a:gdLst>
                <a:gd name="connsiteX0" fmla="*/ 821488 w 4125234"/>
                <a:gd name="connsiteY0" fmla="*/ 2183328 h 3739403"/>
                <a:gd name="connsiteX1" fmla="*/ 820420 w 4125234"/>
                <a:gd name="connsiteY1" fmla="*/ 2184321 h 3739403"/>
                <a:gd name="connsiteX2" fmla="*/ 820418 w 4125234"/>
                <a:gd name="connsiteY2" fmla="*/ 2184328 h 3739403"/>
                <a:gd name="connsiteX3" fmla="*/ 821488 w 4125234"/>
                <a:gd name="connsiteY3" fmla="*/ 2183328 h 3739403"/>
                <a:gd name="connsiteX4" fmla="*/ 1133193 w 4125234"/>
                <a:gd name="connsiteY4" fmla="*/ 1222419 h 3739403"/>
                <a:gd name="connsiteX5" fmla="*/ 1137390 w 4125234"/>
                <a:gd name="connsiteY5" fmla="*/ 1224444 h 3739403"/>
                <a:gd name="connsiteX6" fmla="*/ 1244665 w 4125234"/>
                <a:gd name="connsiteY6" fmla="*/ 1312603 h 3739403"/>
                <a:gd name="connsiteX7" fmla="*/ 1354075 w 4125234"/>
                <a:gd name="connsiteY7" fmla="*/ 1396759 h 3739403"/>
                <a:gd name="connsiteX8" fmla="*/ 1349569 w 4125234"/>
                <a:gd name="connsiteY8" fmla="*/ 1401766 h 3739403"/>
                <a:gd name="connsiteX9" fmla="*/ 1371561 w 4125234"/>
                <a:gd name="connsiteY9" fmla="*/ 1414763 h 3739403"/>
                <a:gd name="connsiteX10" fmla="*/ 1562977 w 4125234"/>
                <a:gd name="connsiteY10" fmla="*/ 1565059 h 3739403"/>
                <a:gd name="connsiteX11" fmla="*/ 1584034 w 4125234"/>
                <a:gd name="connsiteY11" fmla="*/ 1581155 h 3739403"/>
                <a:gd name="connsiteX12" fmla="*/ 1834435 w 4125234"/>
                <a:gd name="connsiteY12" fmla="*/ 1783561 h 3739403"/>
                <a:gd name="connsiteX13" fmla="*/ 1975365 w 4125234"/>
                <a:gd name="connsiteY13" fmla="*/ 1899753 h 3739403"/>
                <a:gd name="connsiteX14" fmla="*/ 2231981 w 4125234"/>
                <a:gd name="connsiteY14" fmla="*/ 2114231 h 3739403"/>
                <a:gd name="connsiteX15" fmla="*/ 2278281 w 4125234"/>
                <a:gd name="connsiteY15" fmla="*/ 2152258 h 3739403"/>
                <a:gd name="connsiteX16" fmla="*/ 2322425 w 4125234"/>
                <a:gd name="connsiteY16" fmla="*/ 2188373 h 3739403"/>
                <a:gd name="connsiteX17" fmla="*/ 2406526 w 4125234"/>
                <a:gd name="connsiteY17" fmla="*/ 2258491 h 3739403"/>
                <a:gd name="connsiteX18" fmla="*/ 2427583 w 4125234"/>
                <a:gd name="connsiteY18" fmla="*/ 2276498 h 3739403"/>
                <a:gd name="connsiteX19" fmla="*/ 2534898 w 4125234"/>
                <a:gd name="connsiteY19" fmla="*/ 2368648 h 3739403"/>
                <a:gd name="connsiteX20" fmla="*/ 2547456 w 4125234"/>
                <a:gd name="connsiteY20" fmla="*/ 2378708 h 3739403"/>
                <a:gd name="connsiteX21" fmla="*/ 2574855 w 4125234"/>
                <a:gd name="connsiteY21" fmla="*/ 2400739 h 3739403"/>
                <a:gd name="connsiteX22" fmla="*/ 2574640 w 4125234"/>
                <a:gd name="connsiteY22" fmla="*/ 2400739 h 3739403"/>
                <a:gd name="connsiteX23" fmla="*/ 2574864 w 4125234"/>
                <a:gd name="connsiteY23" fmla="*/ 2400772 h 3739403"/>
                <a:gd name="connsiteX24" fmla="*/ 2608534 w 4125234"/>
                <a:gd name="connsiteY24" fmla="*/ 2424867 h 3739403"/>
                <a:gd name="connsiteX25" fmla="*/ 2639989 w 4125234"/>
                <a:gd name="connsiteY25" fmla="*/ 2448829 h 3739403"/>
                <a:gd name="connsiteX26" fmla="*/ 2701127 w 4125234"/>
                <a:gd name="connsiteY26" fmla="*/ 2498894 h 3739403"/>
                <a:gd name="connsiteX27" fmla="*/ 2757834 w 4125234"/>
                <a:gd name="connsiteY27" fmla="*/ 2554982 h 3739403"/>
                <a:gd name="connsiteX28" fmla="*/ 2818971 w 4125234"/>
                <a:gd name="connsiteY28" fmla="*/ 2603173 h 3739403"/>
                <a:gd name="connsiteX29" fmla="*/ 3033396 w 4125234"/>
                <a:gd name="connsiteY29" fmla="*/ 2789511 h 3739403"/>
                <a:gd name="connsiteX30" fmla="*/ 3262662 w 4125234"/>
                <a:gd name="connsiteY30" fmla="*/ 2977856 h 3739403"/>
                <a:gd name="connsiteX31" fmla="*/ 3487941 w 4125234"/>
                <a:gd name="connsiteY31" fmla="*/ 3174233 h 3739403"/>
                <a:gd name="connsiteX32" fmla="*/ 3576103 w 4125234"/>
                <a:gd name="connsiteY32" fmla="*/ 3248393 h 3739403"/>
                <a:gd name="connsiteX33" fmla="*/ 3855874 w 4125234"/>
                <a:gd name="connsiteY33" fmla="*/ 3490819 h 3739403"/>
                <a:gd name="connsiteX34" fmla="*/ 3992769 w 4125234"/>
                <a:gd name="connsiteY34" fmla="*/ 3613170 h 3739403"/>
                <a:gd name="connsiteX35" fmla="*/ 4125234 w 4125234"/>
                <a:gd name="connsiteY35" fmla="*/ 3739403 h 3739403"/>
                <a:gd name="connsiteX36" fmla="*/ 3771921 w 4125234"/>
                <a:gd name="connsiteY36" fmla="*/ 3735387 h 3739403"/>
                <a:gd name="connsiteX37" fmla="*/ 3416392 w 4125234"/>
                <a:gd name="connsiteY37" fmla="*/ 3735387 h 3739403"/>
                <a:gd name="connsiteX38" fmla="*/ 3062857 w 4125234"/>
                <a:gd name="connsiteY38" fmla="*/ 3735387 h 3739403"/>
                <a:gd name="connsiteX39" fmla="*/ 2707329 w 4125234"/>
                <a:gd name="connsiteY39" fmla="*/ 3733379 h 3739403"/>
                <a:gd name="connsiteX40" fmla="*/ 2579073 w 4125234"/>
                <a:gd name="connsiteY40" fmla="*/ 3733379 h 3739403"/>
                <a:gd name="connsiteX41" fmla="*/ 2452810 w 4125234"/>
                <a:gd name="connsiteY41" fmla="*/ 3735387 h 3739403"/>
                <a:gd name="connsiteX42" fmla="*/ 2457019 w 4125234"/>
                <a:gd name="connsiteY42" fmla="*/ 3711292 h 3739403"/>
                <a:gd name="connsiteX43" fmla="*/ 2457019 w 4125234"/>
                <a:gd name="connsiteY43" fmla="*/ 3699244 h 3739403"/>
                <a:gd name="connsiteX44" fmla="*/ 2459234 w 4125234"/>
                <a:gd name="connsiteY44" fmla="*/ 3689338 h 3739403"/>
                <a:gd name="connsiteX45" fmla="*/ 2461228 w 4125234"/>
                <a:gd name="connsiteY45" fmla="*/ 3683314 h 3739403"/>
                <a:gd name="connsiteX46" fmla="*/ 2467652 w 4125234"/>
                <a:gd name="connsiteY46" fmla="*/ 3681307 h 3739403"/>
                <a:gd name="connsiteX47" fmla="*/ 2471860 w 4125234"/>
                <a:gd name="connsiteY47" fmla="*/ 3675283 h 3739403"/>
                <a:gd name="connsiteX48" fmla="*/ 2478063 w 4125234"/>
                <a:gd name="connsiteY48" fmla="*/ 3671267 h 3739403"/>
                <a:gd name="connsiteX49" fmla="*/ 2478063 w 4125234"/>
                <a:gd name="connsiteY49" fmla="*/ 3661227 h 3739403"/>
                <a:gd name="connsiteX50" fmla="*/ 2473854 w 4125234"/>
                <a:gd name="connsiteY50" fmla="*/ 3651187 h 3739403"/>
                <a:gd name="connsiteX51" fmla="*/ 2463443 w 4125234"/>
                <a:gd name="connsiteY51" fmla="*/ 3625084 h 3739403"/>
                <a:gd name="connsiteX52" fmla="*/ 2452810 w 4125234"/>
                <a:gd name="connsiteY52" fmla="*/ 3603130 h 3739403"/>
                <a:gd name="connsiteX53" fmla="*/ 2450817 w 4125234"/>
                <a:gd name="connsiteY53" fmla="*/ 3597107 h 3739403"/>
                <a:gd name="connsiteX54" fmla="*/ 2452810 w 4125234"/>
                <a:gd name="connsiteY54" fmla="*/ 3593091 h 3739403"/>
                <a:gd name="connsiteX55" fmla="*/ 2435975 w 4125234"/>
                <a:gd name="connsiteY55" fmla="*/ 3547042 h 3739403"/>
                <a:gd name="connsiteX56" fmla="*/ 2421355 w 4125234"/>
                <a:gd name="connsiteY56" fmla="*/ 3511033 h 3739403"/>
                <a:gd name="connsiteX57" fmla="*/ 2417147 w 4125234"/>
                <a:gd name="connsiteY57" fmla="*/ 3488811 h 3739403"/>
                <a:gd name="connsiteX58" fmla="*/ 2417147 w 4125234"/>
                <a:gd name="connsiteY58" fmla="*/ 3476898 h 3739403"/>
                <a:gd name="connsiteX59" fmla="*/ 2419140 w 4125234"/>
                <a:gd name="connsiteY59" fmla="*/ 3458826 h 3739403"/>
                <a:gd name="connsiteX60" fmla="*/ 2419140 w 4125234"/>
                <a:gd name="connsiteY60" fmla="*/ 3446778 h 3739403"/>
                <a:gd name="connsiteX61" fmla="*/ 2419140 w 4125234"/>
                <a:gd name="connsiteY61" fmla="*/ 3438747 h 3739403"/>
                <a:gd name="connsiteX62" fmla="*/ 2417147 w 4125234"/>
                <a:gd name="connsiteY62" fmla="*/ 3432723 h 3739403"/>
                <a:gd name="connsiteX63" fmla="*/ 2408729 w 4125234"/>
                <a:gd name="connsiteY63" fmla="*/ 3422817 h 3739403"/>
                <a:gd name="connsiteX64" fmla="*/ 2398097 w 4125234"/>
                <a:gd name="connsiteY64" fmla="*/ 3416793 h 3739403"/>
                <a:gd name="connsiteX65" fmla="*/ 2393888 w 4125234"/>
                <a:gd name="connsiteY65" fmla="*/ 3408761 h 3739403"/>
                <a:gd name="connsiteX66" fmla="*/ 2387685 w 4125234"/>
                <a:gd name="connsiteY66" fmla="*/ 3398722 h 3739403"/>
                <a:gd name="connsiteX67" fmla="*/ 2377053 w 4125234"/>
                <a:gd name="connsiteY67" fmla="*/ 3370744 h 3739403"/>
                <a:gd name="connsiteX68" fmla="*/ 2372844 w 4125234"/>
                <a:gd name="connsiteY68" fmla="*/ 3356555 h 3739403"/>
                <a:gd name="connsiteX69" fmla="*/ 2372844 w 4125234"/>
                <a:gd name="connsiteY69" fmla="*/ 3344641 h 3739403"/>
                <a:gd name="connsiteX70" fmla="*/ 2372844 w 4125234"/>
                <a:gd name="connsiteY70" fmla="*/ 3334601 h 3739403"/>
                <a:gd name="connsiteX71" fmla="*/ 2379268 w 4125234"/>
                <a:gd name="connsiteY71" fmla="*/ 3320679 h 3739403"/>
                <a:gd name="connsiteX72" fmla="*/ 2385470 w 4125234"/>
                <a:gd name="connsiteY72" fmla="*/ 3308498 h 3739403"/>
                <a:gd name="connsiteX73" fmla="*/ 2385470 w 4125234"/>
                <a:gd name="connsiteY73" fmla="*/ 3298458 h 3739403"/>
                <a:gd name="connsiteX74" fmla="*/ 2383477 w 4125234"/>
                <a:gd name="connsiteY74" fmla="*/ 3290560 h 3739403"/>
                <a:gd name="connsiteX75" fmla="*/ 2377053 w 4125234"/>
                <a:gd name="connsiteY75" fmla="*/ 3284536 h 3739403"/>
                <a:gd name="connsiteX76" fmla="*/ 2364427 w 4125234"/>
                <a:gd name="connsiteY76" fmla="*/ 3270347 h 3739403"/>
                <a:gd name="connsiteX77" fmla="*/ 2358224 w 4125234"/>
                <a:gd name="connsiteY77" fmla="*/ 3266465 h 3739403"/>
                <a:gd name="connsiteX78" fmla="*/ 2354016 w 4125234"/>
                <a:gd name="connsiteY78" fmla="*/ 3264457 h 3739403"/>
                <a:gd name="connsiteX79" fmla="*/ 2351800 w 4125234"/>
                <a:gd name="connsiteY79" fmla="*/ 3258433 h 3739403"/>
                <a:gd name="connsiteX80" fmla="*/ 2354016 w 4125234"/>
                <a:gd name="connsiteY80" fmla="*/ 3256425 h 3739403"/>
                <a:gd name="connsiteX81" fmla="*/ 2358224 w 4125234"/>
                <a:gd name="connsiteY81" fmla="*/ 3254417 h 3739403"/>
                <a:gd name="connsiteX82" fmla="*/ 2362433 w 4125234"/>
                <a:gd name="connsiteY82" fmla="*/ 3250401 h 3739403"/>
                <a:gd name="connsiteX83" fmla="*/ 2364427 w 4125234"/>
                <a:gd name="connsiteY83" fmla="*/ 3250401 h 3739403"/>
                <a:gd name="connsiteX84" fmla="*/ 2362433 w 4125234"/>
                <a:gd name="connsiteY84" fmla="*/ 3240495 h 3739403"/>
                <a:gd name="connsiteX85" fmla="*/ 2356009 w 4125234"/>
                <a:gd name="connsiteY85" fmla="*/ 3236479 h 3739403"/>
                <a:gd name="connsiteX86" fmla="*/ 2351800 w 4125234"/>
                <a:gd name="connsiteY86" fmla="*/ 3234472 h 3739403"/>
                <a:gd name="connsiteX87" fmla="*/ 2345598 w 4125234"/>
                <a:gd name="connsiteY87" fmla="*/ 3230456 h 3739403"/>
                <a:gd name="connsiteX88" fmla="*/ 2332972 w 4125234"/>
                <a:gd name="connsiteY88" fmla="*/ 3230456 h 3739403"/>
                <a:gd name="connsiteX89" fmla="*/ 2326548 w 4125234"/>
                <a:gd name="connsiteY89" fmla="*/ 3230456 h 3739403"/>
                <a:gd name="connsiteX90" fmla="*/ 2320346 w 4125234"/>
                <a:gd name="connsiteY90" fmla="*/ 3226440 h 3739403"/>
                <a:gd name="connsiteX91" fmla="*/ 2311928 w 4125234"/>
                <a:gd name="connsiteY91" fmla="*/ 3218274 h 3739403"/>
                <a:gd name="connsiteX92" fmla="*/ 2303511 w 4125234"/>
                <a:gd name="connsiteY92" fmla="*/ 3208368 h 3739403"/>
                <a:gd name="connsiteX93" fmla="*/ 2295093 w 4125234"/>
                <a:gd name="connsiteY93" fmla="*/ 3188423 h 3739403"/>
                <a:gd name="connsiteX94" fmla="*/ 2292878 w 4125234"/>
                <a:gd name="connsiteY94" fmla="*/ 3176241 h 3739403"/>
                <a:gd name="connsiteX95" fmla="*/ 2292878 w 4125234"/>
                <a:gd name="connsiteY95" fmla="*/ 3166201 h 3739403"/>
                <a:gd name="connsiteX96" fmla="*/ 2290884 w 4125234"/>
                <a:gd name="connsiteY96" fmla="*/ 3156295 h 3739403"/>
                <a:gd name="connsiteX97" fmla="*/ 2284460 w 4125234"/>
                <a:gd name="connsiteY97" fmla="*/ 3144248 h 3739403"/>
                <a:gd name="connsiteX98" fmla="*/ 2278258 w 4125234"/>
                <a:gd name="connsiteY98" fmla="*/ 3138224 h 3739403"/>
                <a:gd name="connsiteX99" fmla="*/ 2269841 w 4125234"/>
                <a:gd name="connsiteY99" fmla="*/ 3132200 h 3739403"/>
                <a:gd name="connsiteX100" fmla="*/ 2263417 w 4125234"/>
                <a:gd name="connsiteY100" fmla="*/ 3126176 h 3739403"/>
                <a:gd name="connsiteX101" fmla="*/ 2259208 w 4125234"/>
                <a:gd name="connsiteY101" fmla="*/ 3116137 h 3739403"/>
                <a:gd name="connsiteX102" fmla="*/ 2259208 w 4125234"/>
                <a:gd name="connsiteY102" fmla="*/ 3114129 h 3739403"/>
                <a:gd name="connsiteX103" fmla="*/ 2259208 w 4125234"/>
                <a:gd name="connsiteY103" fmla="*/ 3112121 h 3739403"/>
                <a:gd name="connsiteX104" fmla="*/ 2263417 w 4125234"/>
                <a:gd name="connsiteY104" fmla="*/ 3104223 h 3739403"/>
                <a:gd name="connsiteX105" fmla="*/ 2267625 w 4125234"/>
                <a:gd name="connsiteY105" fmla="*/ 3098199 h 3739403"/>
                <a:gd name="connsiteX106" fmla="*/ 2267625 w 4125234"/>
                <a:gd name="connsiteY106" fmla="*/ 3096191 h 3739403"/>
                <a:gd name="connsiteX107" fmla="*/ 2267625 w 4125234"/>
                <a:gd name="connsiteY107" fmla="*/ 3094183 h 3739403"/>
                <a:gd name="connsiteX108" fmla="*/ 2246582 w 4125234"/>
                <a:gd name="connsiteY108" fmla="*/ 3066072 h 3739403"/>
                <a:gd name="connsiteX109" fmla="*/ 2236171 w 4125234"/>
                <a:gd name="connsiteY109" fmla="*/ 3054158 h 3739403"/>
                <a:gd name="connsiteX110" fmla="*/ 2227753 w 4125234"/>
                <a:gd name="connsiteY110" fmla="*/ 3037960 h 3739403"/>
                <a:gd name="connsiteX111" fmla="*/ 2225759 w 4125234"/>
                <a:gd name="connsiteY111" fmla="*/ 3035953 h 3739403"/>
                <a:gd name="connsiteX112" fmla="*/ 2219336 w 4125234"/>
                <a:gd name="connsiteY112" fmla="*/ 3033945 h 3739403"/>
                <a:gd name="connsiteX113" fmla="*/ 2215127 w 4125234"/>
                <a:gd name="connsiteY113" fmla="*/ 3027921 h 3739403"/>
                <a:gd name="connsiteX114" fmla="*/ 2215127 w 4125234"/>
                <a:gd name="connsiteY114" fmla="*/ 3026047 h 3739403"/>
                <a:gd name="connsiteX115" fmla="*/ 2215127 w 4125234"/>
                <a:gd name="connsiteY115" fmla="*/ 3022031 h 3739403"/>
                <a:gd name="connsiteX116" fmla="*/ 2219336 w 4125234"/>
                <a:gd name="connsiteY116" fmla="*/ 3018015 h 3739403"/>
                <a:gd name="connsiteX117" fmla="*/ 2227753 w 4125234"/>
                <a:gd name="connsiteY117" fmla="*/ 3016007 h 3739403"/>
                <a:gd name="connsiteX118" fmla="*/ 2229747 w 4125234"/>
                <a:gd name="connsiteY118" fmla="*/ 3011991 h 3739403"/>
                <a:gd name="connsiteX119" fmla="*/ 2229747 w 4125234"/>
                <a:gd name="connsiteY119" fmla="*/ 3001817 h 3739403"/>
                <a:gd name="connsiteX120" fmla="*/ 2229747 w 4125234"/>
                <a:gd name="connsiteY120" fmla="*/ 2993919 h 3739403"/>
                <a:gd name="connsiteX121" fmla="*/ 2225759 w 4125234"/>
                <a:gd name="connsiteY121" fmla="*/ 2985888 h 3739403"/>
                <a:gd name="connsiteX122" fmla="*/ 2215127 w 4125234"/>
                <a:gd name="connsiteY122" fmla="*/ 2977856 h 3739403"/>
                <a:gd name="connsiteX123" fmla="*/ 2208924 w 4125234"/>
                <a:gd name="connsiteY123" fmla="*/ 2973974 h 3739403"/>
                <a:gd name="connsiteX124" fmla="*/ 2204716 w 4125234"/>
                <a:gd name="connsiteY124" fmla="*/ 2963934 h 3739403"/>
                <a:gd name="connsiteX125" fmla="*/ 2196298 w 4125234"/>
                <a:gd name="connsiteY125" fmla="*/ 2941847 h 3739403"/>
                <a:gd name="connsiteX126" fmla="*/ 2192089 w 4125234"/>
                <a:gd name="connsiteY126" fmla="*/ 2919893 h 3739403"/>
                <a:gd name="connsiteX127" fmla="*/ 2192089 w 4125234"/>
                <a:gd name="connsiteY127" fmla="*/ 2909720 h 3739403"/>
                <a:gd name="connsiteX128" fmla="*/ 2192089 w 4125234"/>
                <a:gd name="connsiteY128" fmla="*/ 2901688 h 3739403"/>
                <a:gd name="connsiteX129" fmla="*/ 2198292 w 4125234"/>
                <a:gd name="connsiteY129" fmla="*/ 2899680 h 3739403"/>
                <a:gd name="connsiteX130" fmla="*/ 2204716 w 4125234"/>
                <a:gd name="connsiteY130" fmla="*/ 2893656 h 3739403"/>
                <a:gd name="connsiteX131" fmla="*/ 2208924 w 4125234"/>
                <a:gd name="connsiteY131" fmla="*/ 2889774 h 3739403"/>
                <a:gd name="connsiteX132" fmla="*/ 2208924 w 4125234"/>
                <a:gd name="connsiteY132" fmla="*/ 2885758 h 3739403"/>
                <a:gd name="connsiteX133" fmla="*/ 2206709 w 4125234"/>
                <a:gd name="connsiteY133" fmla="*/ 2879734 h 3739403"/>
                <a:gd name="connsiteX134" fmla="*/ 2204716 w 4125234"/>
                <a:gd name="connsiteY134" fmla="*/ 2869695 h 3739403"/>
                <a:gd name="connsiteX135" fmla="*/ 2196298 w 4125234"/>
                <a:gd name="connsiteY135" fmla="*/ 2845599 h 3739403"/>
                <a:gd name="connsiteX136" fmla="*/ 2187881 w 4125234"/>
                <a:gd name="connsiteY136" fmla="*/ 2821504 h 3739403"/>
                <a:gd name="connsiteX137" fmla="*/ 2181457 w 4125234"/>
                <a:gd name="connsiteY137" fmla="*/ 2795534 h 3739403"/>
                <a:gd name="connsiteX138" fmla="*/ 2171046 w 4125234"/>
                <a:gd name="connsiteY138" fmla="*/ 2763407 h 3739403"/>
                <a:gd name="connsiteX139" fmla="*/ 2164622 w 4125234"/>
                <a:gd name="connsiteY139" fmla="*/ 2749485 h 3739403"/>
                <a:gd name="connsiteX140" fmla="*/ 2156204 w 4125234"/>
                <a:gd name="connsiteY140" fmla="*/ 2737438 h 3739403"/>
                <a:gd name="connsiteX141" fmla="*/ 2145793 w 4125234"/>
                <a:gd name="connsiteY141" fmla="*/ 2723382 h 3739403"/>
                <a:gd name="connsiteX142" fmla="*/ 2139369 w 4125234"/>
                <a:gd name="connsiteY142" fmla="*/ 2719366 h 3739403"/>
                <a:gd name="connsiteX143" fmla="*/ 2109908 w 4125234"/>
                <a:gd name="connsiteY143" fmla="*/ 2707319 h 3739403"/>
                <a:gd name="connsiteX144" fmla="*/ 2082662 w 4125234"/>
                <a:gd name="connsiteY144" fmla="*/ 2689247 h 3739403"/>
                <a:gd name="connsiteX145" fmla="*/ 2055194 w 4125234"/>
                <a:gd name="connsiteY145" fmla="*/ 2677333 h 3739403"/>
                <a:gd name="connsiteX146" fmla="*/ 2025733 w 4125234"/>
                <a:gd name="connsiteY146" fmla="*/ 2663278 h 3739403"/>
                <a:gd name="connsiteX147" fmla="*/ 2008898 w 4125234"/>
                <a:gd name="connsiteY147" fmla="*/ 2659262 h 3739403"/>
                <a:gd name="connsiteX148" fmla="*/ 2004689 w 4125234"/>
                <a:gd name="connsiteY148" fmla="*/ 2657254 h 3739403"/>
                <a:gd name="connsiteX149" fmla="*/ 2002696 w 4125234"/>
                <a:gd name="connsiteY149" fmla="*/ 2649356 h 3739403"/>
                <a:gd name="connsiteX150" fmla="*/ 1998487 w 4125234"/>
                <a:gd name="connsiteY150" fmla="*/ 2633158 h 3739403"/>
                <a:gd name="connsiteX151" fmla="*/ 1994278 w 4125234"/>
                <a:gd name="connsiteY151" fmla="*/ 2619237 h 3739403"/>
                <a:gd name="connsiteX152" fmla="*/ 1987854 w 4125234"/>
                <a:gd name="connsiteY152" fmla="*/ 2601031 h 3739403"/>
                <a:gd name="connsiteX153" fmla="*/ 1985861 w 4125234"/>
                <a:gd name="connsiteY153" fmla="*/ 2597149 h 3739403"/>
                <a:gd name="connsiteX154" fmla="*/ 1983645 w 4125234"/>
                <a:gd name="connsiteY154" fmla="*/ 2593133 h 3739403"/>
                <a:gd name="connsiteX155" fmla="*/ 1981652 w 4125234"/>
                <a:gd name="connsiteY155" fmla="*/ 2589117 h 3739403"/>
                <a:gd name="connsiteX156" fmla="*/ 1981652 w 4125234"/>
                <a:gd name="connsiteY156" fmla="*/ 2581086 h 3739403"/>
                <a:gd name="connsiteX157" fmla="*/ 1983645 w 4125234"/>
                <a:gd name="connsiteY157" fmla="*/ 2579078 h 3739403"/>
                <a:gd name="connsiteX158" fmla="*/ 1985861 w 4125234"/>
                <a:gd name="connsiteY158" fmla="*/ 2579078 h 3739403"/>
                <a:gd name="connsiteX159" fmla="*/ 1992063 w 4125234"/>
                <a:gd name="connsiteY159" fmla="*/ 2577070 h 3739403"/>
                <a:gd name="connsiteX160" fmla="*/ 1992063 w 4125234"/>
                <a:gd name="connsiteY160" fmla="*/ 2573054 h 3739403"/>
                <a:gd name="connsiteX161" fmla="*/ 1992063 w 4125234"/>
                <a:gd name="connsiteY161" fmla="*/ 2563148 h 3739403"/>
                <a:gd name="connsiteX162" fmla="*/ 1983645 w 4125234"/>
                <a:gd name="connsiteY162" fmla="*/ 2548959 h 3739403"/>
                <a:gd name="connsiteX163" fmla="*/ 1971019 w 4125234"/>
                <a:gd name="connsiteY163" fmla="*/ 2529013 h 3739403"/>
                <a:gd name="connsiteX164" fmla="*/ 1960608 w 4125234"/>
                <a:gd name="connsiteY164" fmla="*/ 2520981 h 3739403"/>
                <a:gd name="connsiteX165" fmla="*/ 1952191 w 4125234"/>
                <a:gd name="connsiteY165" fmla="*/ 2518973 h 3739403"/>
                <a:gd name="connsiteX166" fmla="*/ 1941558 w 4125234"/>
                <a:gd name="connsiteY166" fmla="*/ 2517099 h 3739403"/>
                <a:gd name="connsiteX167" fmla="*/ 1928932 w 4125234"/>
                <a:gd name="connsiteY167" fmla="*/ 2510941 h 3739403"/>
                <a:gd name="connsiteX168" fmla="*/ 1920514 w 4125234"/>
                <a:gd name="connsiteY168" fmla="*/ 2504918 h 3739403"/>
                <a:gd name="connsiteX169" fmla="*/ 1918521 w 4125234"/>
                <a:gd name="connsiteY169" fmla="*/ 2500902 h 3739403"/>
                <a:gd name="connsiteX170" fmla="*/ 1918521 w 4125234"/>
                <a:gd name="connsiteY170" fmla="*/ 2498894 h 3739403"/>
                <a:gd name="connsiteX171" fmla="*/ 1920514 w 4125234"/>
                <a:gd name="connsiteY171" fmla="*/ 2494878 h 3739403"/>
                <a:gd name="connsiteX172" fmla="*/ 1920514 w 4125234"/>
                <a:gd name="connsiteY172" fmla="*/ 2484972 h 3739403"/>
                <a:gd name="connsiteX173" fmla="*/ 1910103 w 4125234"/>
                <a:gd name="connsiteY173" fmla="*/ 2460877 h 3739403"/>
                <a:gd name="connsiteX174" fmla="*/ 1910103 w 4125234"/>
                <a:gd name="connsiteY174" fmla="*/ 2454853 h 3739403"/>
                <a:gd name="connsiteX175" fmla="*/ 1910103 w 4125234"/>
                <a:gd name="connsiteY175" fmla="*/ 2440797 h 3739403"/>
                <a:gd name="connsiteX176" fmla="*/ 1914312 w 4125234"/>
                <a:gd name="connsiteY176" fmla="*/ 2430891 h 3739403"/>
                <a:gd name="connsiteX177" fmla="*/ 1920514 w 4125234"/>
                <a:gd name="connsiteY177" fmla="*/ 2424867 h 3739403"/>
                <a:gd name="connsiteX178" fmla="*/ 1922729 w 4125234"/>
                <a:gd name="connsiteY178" fmla="*/ 2418710 h 3739403"/>
                <a:gd name="connsiteX179" fmla="*/ 1922729 w 4125234"/>
                <a:gd name="connsiteY179" fmla="*/ 2416702 h 3739403"/>
                <a:gd name="connsiteX180" fmla="*/ 1920514 w 4125234"/>
                <a:gd name="connsiteY180" fmla="*/ 2410678 h 3739403"/>
                <a:gd name="connsiteX181" fmla="*/ 1914312 w 4125234"/>
                <a:gd name="connsiteY181" fmla="*/ 2404788 h 3739403"/>
                <a:gd name="connsiteX182" fmla="*/ 1914497 w 4125234"/>
                <a:gd name="connsiteY182" fmla="*/ 2404741 h 3739403"/>
                <a:gd name="connsiteX183" fmla="*/ 1914350 w 4125234"/>
                <a:gd name="connsiteY183" fmla="*/ 2404763 h 3739403"/>
                <a:gd name="connsiteX184" fmla="*/ 1901665 w 4125234"/>
                <a:gd name="connsiteY184" fmla="*/ 2394703 h 3739403"/>
                <a:gd name="connsiteX185" fmla="*/ 1891137 w 4125234"/>
                <a:gd name="connsiteY185" fmla="*/ 2390780 h 3739403"/>
                <a:gd name="connsiteX186" fmla="*/ 1880608 w 4125234"/>
                <a:gd name="connsiteY186" fmla="*/ 2390780 h 3739403"/>
                <a:gd name="connsiteX187" fmla="*/ 1865894 w 4125234"/>
                <a:gd name="connsiteY187" fmla="*/ 2388768 h 3739403"/>
                <a:gd name="connsiteX188" fmla="*/ 1859678 w 4125234"/>
                <a:gd name="connsiteY188" fmla="*/ 2384744 h 3739403"/>
                <a:gd name="connsiteX189" fmla="*/ 1853335 w 4125234"/>
                <a:gd name="connsiteY189" fmla="*/ 2376696 h 3739403"/>
                <a:gd name="connsiteX190" fmla="*/ 1838621 w 4125234"/>
                <a:gd name="connsiteY190" fmla="*/ 2364725 h 3739403"/>
                <a:gd name="connsiteX191" fmla="*/ 1828092 w 4125234"/>
                <a:gd name="connsiteY191" fmla="*/ 2354665 h 3739403"/>
                <a:gd name="connsiteX192" fmla="*/ 1817564 w 4125234"/>
                <a:gd name="connsiteY192" fmla="*/ 2346617 h 3739403"/>
                <a:gd name="connsiteX193" fmla="*/ 1794351 w 4125234"/>
                <a:gd name="connsiteY193" fmla="*/ 2332633 h 3739403"/>
                <a:gd name="connsiteX194" fmla="*/ 1769107 w 4125234"/>
                <a:gd name="connsiteY194" fmla="*/ 2322573 h 3739403"/>
                <a:gd name="connsiteX195" fmla="*/ 1743864 w 4125234"/>
                <a:gd name="connsiteY195" fmla="*/ 2306578 h 3739403"/>
                <a:gd name="connsiteX196" fmla="*/ 1737649 w 4125234"/>
                <a:gd name="connsiteY196" fmla="*/ 2294506 h 3739403"/>
                <a:gd name="connsiteX197" fmla="*/ 1731306 w 4125234"/>
                <a:gd name="connsiteY197" fmla="*/ 2282534 h 3739403"/>
                <a:gd name="connsiteX198" fmla="*/ 1720778 w 4125234"/>
                <a:gd name="connsiteY198" fmla="*/ 2254467 h 3739403"/>
                <a:gd name="connsiteX199" fmla="*/ 1708093 w 4125234"/>
                <a:gd name="connsiteY199" fmla="*/ 2226400 h 3739403"/>
                <a:gd name="connsiteX200" fmla="*/ 1699721 w 4125234"/>
                <a:gd name="connsiteY200" fmla="*/ 2214429 h 3739403"/>
                <a:gd name="connsiteX201" fmla="*/ 1691349 w 4125234"/>
                <a:gd name="connsiteY201" fmla="*/ 2202357 h 3739403"/>
                <a:gd name="connsiteX202" fmla="*/ 1678664 w 4125234"/>
                <a:gd name="connsiteY202" fmla="*/ 2188373 h 3739403"/>
                <a:gd name="connsiteX203" fmla="*/ 1659763 w 4125234"/>
                <a:gd name="connsiteY203" fmla="*/ 2182337 h 3739403"/>
                <a:gd name="connsiteX204" fmla="*/ 1642892 w 4125234"/>
                <a:gd name="connsiteY204" fmla="*/ 2178313 h 3739403"/>
                <a:gd name="connsiteX205" fmla="*/ 1623992 w 4125234"/>
                <a:gd name="connsiteY205" fmla="*/ 2182337 h 3739403"/>
                <a:gd name="connsiteX206" fmla="*/ 1617649 w 4125234"/>
                <a:gd name="connsiteY206" fmla="*/ 2184349 h 3739403"/>
                <a:gd name="connsiteX207" fmla="*/ 1611434 w 4125234"/>
                <a:gd name="connsiteY207" fmla="*/ 2188373 h 3739403"/>
                <a:gd name="connsiteX208" fmla="*/ 1605091 w 4125234"/>
                <a:gd name="connsiteY208" fmla="*/ 2194309 h 3739403"/>
                <a:gd name="connsiteX209" fmla="*/ 1596719 w 4125234"/>
                <a:gd name="connsiteY209" fmla="*/ 2196321 h 3739403"/>
                <a:gd name="connsiteX210" fmla="*/ 1592406 w 4125234"/>
                <a:gd name="connsiteY210" fmla="*/ 2194309 h 3739403"/>
                <a:gd name="connsiteX211" fmla="*/ 1584034 w 4125234"/>
                <a:gd name="connsiteY211" fmla="*/ 2188373 h 3739403"/>
                <a:gd name="connsiteX212" fmla="*/ 1571476 w 4125234"/>
                <a:gd name="connsiteY212" fmla="*/ 2184349 h 3739403"/>
                <a:gd name="connsiteX213" fmla="*/ 1571353 w 4125234"/>
                <a:gd name="connsiteY213" fmla="*/ 2182289 h 3739403"/>
                <a:gd name="connsiteX214" fmla="*/ 1567208 w 4125234"/>
                <a:gd name="connsiteY214" fmla="*/ 2180314 h 3739403"/>
                <a:gd name="connsiteX215" fmla="*/ 1558794 w 4125234"/>
                <a:gd name="connsiteY215" fmla="*/ 2180314 h 3739403"/>
                <a:gd name="connsiteX216" fmla="*/ 1550379 w 4125234"/>
                <a:gd name="connsiteY216" fmla="*/ 2172298 h 3739403"/>
                <a:gd name="connsiteX217" fmla="*/ 1546172 w 4125234"/>
                <a:gd name="connsiteY217" fmla="*/ 2162279 h 3739403"/>
                <a:gd name="connsiteX218" fmla="*/ 1541965 w 4125234"/>
                <a:gd name="connsiteY218" fmla="*/ 2150255 h 3739403"/>
                <a:gd name="connsiteX219" fmla="*/ 1541957 w 4125234"/>
                <a:gd name="connsiteY219" fmla="*/ 2150237 h 3739403"/>
                <a:gd name="connsiteX220" fmla="*/ 1405199 w 4125234"/>
                <a:gd name="connsiteY220" fmla="*/ 2272510 h 3739403"/>
                <a:gd name="connsiteX221" fmla="*/ 1384200 w 4125234"/>
                <a:gd name="connsiteY221" fmla="*/ 2292557 h 3739403"/>
                <a:gd name="connsiteX222" fmla="*/ 1369462 w 4125234"/>
                <a:gd name="connsiteY222" fmla="*/ 2306550 h 3739403"/>
                <a:gd name="connsiteX223" fmla="*/ 1363124 w 4125234"/>
                <a:gd name="connsiteY223" fmla="*/ 2314603 h 3739403"/>
                <a:gd name="connsiteX224" fmla="*/ 1358924 w 4125234"/>
                <a:gd name="connsiteY224" fmla="*/ 2324597 h 3739403"/>
                <a:gd name="connsiteX225" fmla="*/ 1356862 w 4125234"/>
                <a:gd name="connsiteY225" fmla="*/ 2334649 h 3739403"/>
                <a:gd name="connsiteX226" fmla="*/ 1352662 w 4125234"/>
                <a:gd name="connsiteY226" fmla="*/ 2348642 h 3739403"/>
                <a:gd name="connsiteX227" fmla="*/ 1352662 w 4125234"/>
                <a:gd name="connsiteY227" fmla="*/ 2368689 h 3739403"/>
                <a:gd name="connsiteX228" fmla="*/ 1350524 w 4125234"/>
                <a:gd name="connsiteY228" fmla="*/ 2372687 h 3739403"/>
                <a:gd name="connsiteX229" fmla="*/ 1348462 w 4125234"/>
                <a:gd name="connsiteY229" fmla="*/ 2374686 h 3739403"/>
                <a:gd name="connsiteX230" fmla="*/ 1337924 w 4125234"/>
                <a:gd name="connsiteY230" fmla="*/ 2374686 h 3739403"/>
                <a:gd name="connsiteX231" fmla="*/ 1329524 w 4125234"/>
                <a:gd name="connsiteY231" fmla="*/ 2376685 h 3739403"/>
                <a:gd name="connsiteX232" fmla="*/ 1327386 w 4125234"/>
                <a:gd name="connsiteY232" fmla="*/ 2378684 h 3739403"/>
                <a:gd name="connsiteX233" fmla="*/ 1325325 w 4125234"/>
                <a:gd name="connsiteY233" fmla="*/ 2384738 h 3739403"/>
                <a:gd name="connsiteX234" fmla="*/ 1325325 w 4125234"/>
                <a:gd name="connsiteY234" fmla="*/ 2386737 h 3739403"/>
                <a:gd name="connsiteX235" fmla="*/ 1325325 w 4125234"/>
                <a:gd name="connsiteY235" fmla="*/ 2392734 h 3739403"/>
                <a:gd name="connsiteX236" fmla="*/ 1321048 w 4125234"/>
                <a:gd name="connsiteY236" fmla="*/ 2394733 h 3739403"/>
                <a:gd name="connsiteX237" fmla="*/ 1318987 w 4125234"/>
                <a:gd name="connsiteY237" fmla="*/ 2398731 h 3739403"/>
                <a:gd name="connsiteX238" fmla="*/ 1310587 w 4125234"/>
                <a:gd name="connsiteY238" fmla="*/ 2398731 h 3739403"/>
                <a:gd name="connsiteX239" fmla="*/ 1306387 w 4125234"/>
                <a:gd name="connsiteY239" fmla="*/ 2402786 h 3739403"/>
                <a:gd name="connsiteX240" fmla="*/ 1304249 w 4125234"/>
                <a:gd name="connsiteY240" fmla="*/ 2404785 h 3739403"/>
                <a:gd name="connsiteX241" fmla="*/ 1300049 w 4125234"/>
                <a:gd name="connsiteY241" fmla="*/ 2414779 h 3739403"/>
                <a:gd name="connsiteX242" fmla="*/ 1300049 w 4125234"/>
                <a:gd name="connsiteY242" fmla="*/ 2434826 h 3739403"/>
                <a:gd name="connsiteX243" fmla="*/ 1297911 w 4125234"/>
                <a:gd name="connsiteY243" fmla="*/ 2436825 h 3739403"/>
                <a:gd name="connsiteX244" fmla="*/ 1293711 w 4125234"/>
                <a:gd name="connsiteY244" fmla="*/ 2436825 h 3739403"/>
                <a:gd name="connsiteX245" fmla="*/ 1276911 w 4125234"/>
                <a:gd name="connsiteY245" fmla="*/ 2438824 h 3739403"/>
                <a:gd name="connsiteX246" fmla="*/ 1245373 w 4125234"/>
                <a:gd name="connsiteY246" fmla="*/ 2436825 h 3739403"/>
                <a:gd name="connsiteX247" fmla="*/ 1243235 w 4125234"/>
                <a:gd name="connsiteY247" fmla="*/ 2436825 h 3739403"/>
                <a:gd name="connsiteX248" fmla="*/ 1239035 w 4125234"/>
                <a:gd name="connsiteY248" fmla="*/ 2438824 h 3739403"/>
                <a:gd name="connsiteX249" fmla="*/ 1228497 w 4125234"/>
                <a:gd name="connsiteY249" fmla="*/ 2442822 h 3739403"/>
                <a:gd name="connsiteX250" fmla="*/ 1211698 w 4125234"/>
                <a:gd name="connsiteY250" fmla="*/ 2452874 h 3739403"/>
                <a:gd name="connsiteX251" fmla="*/ 1182222 w 4125234"/>
                <a:gd name="connsiteY251" fmla="*/ 2478917 h 3739403"/>
                <a:gd name="connsiteX252" fmla="*/ 1106547 w 4125234"/>
                <a:gd name="connsiteY252" fmla="*/ 2553050 h 3739403"/>
                <a:gd name="connsiteX253" fmla="*/ 1028658 w 4125234"/>
                <a:gd name="connsiteY253" fmla="*/ 2619187 h 3739403"/>
                <a:gd name="connsiteX254" fmla="*/ 1018120 w 4125234"/>
                <a:gd name="connsiteY254" fmla="*/ 2611191 h 3739403"/>
                <a:gd name="connsiteX255" fmla="*/ 1009720 w 4125234"/>
                <a:gd name="connsiteY255" fmla="*/ 2605137 h 3739403"/>
                <a:gd name="connsiteX256" fmla="*/ 1001320 w 4125234"/>
                <a:gd name="connsiteY256" fmla="*/ 2597142 h 3739403"/>
                <a:gd name="connsiteX257" fmla="*/ 990782 w 4125234"/>
                <a:gd name="connsiteY257" fmla="*/ 2591145 h 3739403"/>
                <a:gd name="connsiteX258" fmla="*/ 978183 w 4125234"/>
                <a:gd name="connsiteY258" fmla="*/ 2589146 h 3739403"/>
                <a:gd name="connsiteX259" fmla="*/ 965583 w 4125234"/>
                <a:gd name="connsiteY259" fmla="*/ 2587147 h 3739403"/>
                <a:gd name="connsiteX260" fmla="*/ 955045 w 4125234"/>
                <a:gd name="connsiteY260" fmla="*/ 2587147 h 3739403"/>
                <a:gd name="connsiteX261" fmla="*/ 944507 w 4125234"/>
                <a:gd name="connsiteY261" fmla="*/ 2581093 h 3739403"/>
                <a:gd name="connsiteX262" fmla="*/ 936107 w 4125234"/>
                <a:gd name="connsiteY262" fmla="*/ 2575096 h 3739403"/>
                <a:gd name="connsiteX263" fmla="*/ 927707 w 4125234"/>
                <a:gd name="connsiteY263" fmla="*/ 2565101 h 3739403"/>
                <a:gd name="connsiteX264" fmla="*/ 919307 w 4125234"/>
                <a:gd name="connsiteY264" fmla="*/ 2543055 h 3739403"/>
                <a:gd name="connsiteX265" fmla="*/ 912969 w 4125234"/>
                <a:gd name="connsiteY265" fmla="*/ 2517012 h 3739403"/>
                <a:gd name="connsiteX266" fmla="*/ 904569 w 4125234"/>
                <a:gd name="connsiteY266" fmla="*/ 2506960 h 3739403"/>
                <a:gd name="connsiteX267" fmla="*/ 900370 w 4125234"/>
                <a:gd name="connsiteY267" fmla="*/ 2496965 h 3739403"/>
                <a:gd name="connsiteX268" fmla="*/ 889832 w 4125234"/>
                <a:gd name="connsiteY268" fmla="*/ 2484914 h 3739403"/>
                <a:gd name="connsiteX269" fmla="*/ 881432 w 4125234"/>
                <a:gd name="connsiteY269" fmla="*/ 2472921 h 3739403"/>
                <a:gd name="connsiteX270" fmla="*/ 873032 w 4125234"/>
                <a:gd name="connsiteY270" fmla="*/ 2444821 h 3739403"/>
                <a:gd name="connsiteX271" fmla="*/ 864556 w 4125234"/>
                <a:gd name="connsiteY271" fmla="*/ 2416778 h 3739403"/>
                <a:gd name="connsiteX272" fmla="*/ 860356 w 4125234"/>
                <a:gd name="connsiteY272" fmla="*/ 2404785 h 3739403"/>
                <a:gd name="connsiteX273" fmla="*/ 851956 w 4125234"/>
                <a:gd name="connsiteY273" fmla="*/ 2394733 h 3739403"/>
                <a:gd name="connsiteX274" fmla="*/ 833018 w 4125234"/>
                <a:gd name="connsiteY274" fmla="*/ 2362692 h 3739403"/>
                <a:gd name="connsiteX275" fmla="*/ 816219 w 4125234"/>
                <a:gd name="connsiteY275" fmla="*/ 2332593 h 3739403"/>
                <a:gd name="connsiteX276" fmla="*/ 778343 w 4125234"/>
                <a:gd name="connsiteY276" fmla="*/ 2266513 h 3739403"/>
                <a:gd name="connsiteX277" fmla="*/ 778343 w 4125234"/>
                <a:gd name="connsiteY277" fmla="*/ 2256461 h 3739403"/>
                <a:gd name="connsiteX278" fmla="*/ 769931 w 4125234"/>
                <a:gd name="connsiteY278" fmla="*/ 2246445 h 3739403"/>
                <a:gd name="connsiteX279" fmla="*/ 763620 w 4125234"/>
                <a:gd name="connsiteY279" fmla="*/ 2236425 h 3739403"/>
                <a:gd name="connsiteX280" fmla="*/ 742584 w 4125234"/>
                <a:gd name="connsiteY280" fmla="*/ 2216386 h 3739403"/>
                <a:gd name="connsiteX281" fmla="*/ 717340 w 4125234"/>
                <a:gd name="connsiteY281" fmla="*/ 2202358 h 3739403"/>
                <a:gd name="connsiteX282" fmla="*/ 696304 w 4125234"/>
                <a:gd name="connsiteY282" fmla="*/ 2186326 h 3739403"/>
                <a:gd name="connsiteX283" fmla="*/ 601153 w 4125234"/>
                <a:gd name="connsiteY283" fmla="*/ 2103565 h 3739403"/>
                <a:gd name="connsiteX284" fmla="*/ 599509 w 4125234"/>
                <a:gd name="connsiteY284" fmla="*/ 2106168 h 3739403"/>
                <a:gd name="connsiteX285" fmla="*/ 403907 w 4125234"/>
                <a:gd name="connsiteY285" fmla="*/ 1903747 h 3739403"/>
                <a:gd name="connsiteX286" fmla="*/ 395498 w 4125234"/>
                <a:gd name="connsiteY286" fmla="*/ 1891766 h 3739403"/>
                <a:gd name="connsiteX287" fmla="*/ 389208 w 4125234"/>
                <a:gd name="connsiteY287" fmla="*/ 1879730 h 3739403"/>
                <a:gd name="connsiteX288" fmla="*/ 376560 w 4125234"/>
                <a:gd name="connsiteY288" fmla="*/ 1849641 h 3739403"/>
                <a:gd name="connsiteX289" fmla="*/ 357622 w 4125234"/>
                <a:gd name="connsiteY289" fmla="*/ 1789516 h 3739403"/>
                <a:gd name="connsiteX290" fmla="*/ 358481 w 4125234"/>
                <a:gd name="connsiteY290" fmla="*/ 1785698 h 3739403"/>
                <a:gd name="connsiteX291" fmla="*/ 357619 w 4125234"/>
                <a:gd name="connsiteY291" fmla="*/ 1785534 h 3739403"/>
                <a:gd name="connsiteX292" fmla="*/ 344997 w 4125234"/>
                <a:gd name="connsiteY292" fmla="*/ 1751466 h 3739403"/>
                <a:gd name="connsiteX293" fmla="*/ 340790 w 4125234"/>
                <a:gd name="connsiteY293" fmla="*/ 1737439 h 3739403"/>
                <a:gd name="connsiteX294" fmla="*/ 334479 w 4125234"/>
                <a:gd name="connsiteY294" fmla="*/ 1721407 h 3739403"/>
                <a:gd name="connsiteX295" fmla="*/ 336583 w 4125234"/>
                <a:gd name="connsiteY295" fmla="*/ 1639244 h 3739403"/>
                <a:gd name="connsiteX296" fmla="*/ 336583 w 4125234"/>
                <a:gd name="connsiteY296" fmla="*/ 1597161 h 3739403"/>
                <a:gd name="connsiteX297" fmla="*/ 334479 w 4125234"/>
                <a:gd name="connsiteY297" fmla="*/ 1557082 h 3739403"/>
                <a:gd name="connsiteX298" fmla="*/ 342893 w 4125234"/>
                <a:gd name="connsiteY298" fmla="*/ 1553074 h 3739403"/>
                <a:gd name="connsiteX299" fmla="*/ 347101 w 4125234"/>
                <a:gd name="connsiteY299" fmla="*/ 1549066 h 3739403"/>
                <a:gd name="connsiteX300" fmla="*/ 363930 w 4125234"/>
                <a:gd name="connsiteY300" fmla="*/ 1547062 h 3739403"/>
                <a:gd name="connsiteX301" fmla="*/ 378655 w 4125234"/>
                <a:gd name="connsiteY301" fmla="*/ 1547062 h 3739403"/>
                <a:gd name="connsiteX302" fmla="*/ 395484 w 4125234"/>
                <a:gd name="connsiteY302" fmla="*/ 1547062 h 3739403"/>
                <a:gd name="connsiteX303" fmla="*/ 424935 w 4125234"/>
                <a:gd name="connsiteY303" fmla="*/ 1543054 h 3739403"/>
                <a:gd name="connsiteX304" fmla="*/ 439661 w 4125234"/>
                <a:gd name="connsiteY304" fmla="*/ 1535038 h 3739403"/>
                <a:gd name="connsiteX305" fmla="*/ 456490 w 4125234"/>
                <a:gd name="connsiteY305" fmla="*/ 1527022 h 3739403"/>
                <a:gd name="connsiteX306" fmla="*/ 469112 w 4125234"/>
                <a:gd name="connsiteY306" fmla="*/ 1523015 h 3739403"/>
                <a:gd name="connsiteX307" fmla="*/ 479630 w 4125234"/>
                <a:gd name="connsiteY307" fmla="*/ 1519007 h 3739403"/>
                <a:gd name="connsiteX308" fmla="*/ 490148 w 4125234"/>
                <a:gd name="connsiteY308" fmla="*/ 1517003 h 3739403"/>
                <a:gd name="connsiteX309" fmla="*/ 502770 w 4125234"/>
                <a:gd name="connsiteY309" fmla="*/ 1517003 h 3739403"/>
                <a:gd name="connsiteX310" fmla="*/ 525910 w 4125234"/>
                <a:gd name="connsiteY310" fmla="*/ 1523015 h 3739403"/>
                <a:gd name="connsiteX311" fmla="*/ 551154 w 4125234"/>
                <a:gd name="connsiteY311" fmla="*/ 1533034 h 3739403"/>
                <a:gd name="connsiteX312" fmla="*/ 576397 w 4125234"/>
                <a:gd name="connsiteY312" fmla="*/ 1543054 h 3739403"/>
                <a:gd name="connsiteX313" fmla="*/ 601641 w 4125234"/>
                <a:gd name="connsiteY313" fmla="*/ 1549066 h 3739403"/>
                <a:gd name="connsiteX314" fmla="*/ 628988 w 4125234"/>
                <a:gd name="connsiteY314" fmla="*/ 1557082 h 3739403"/>
                <a:gd name="connsiteX315" fmla="*/ 639506 w 4125234"/>
                <a:gd name="connsiteY315" fmla="*/ 1557082 h 3739403"/>
                <a:gd name="connsiteX316" fmla="*/ 652128 w 4125234"/>
                <a:gd name="connsiteY316" fmla="*/ 1557082 h 3739403"/>
                <a:gd name="connsiteX317" fmla="*/ 681579 w 4125234"/>
                <a:gd name="connsiteY317" fmla="*/ 1553074 h 3739403"/>
                <a:gd name="connsiteX318" fmla="*/ 713134 w 4125234"/>
                <a:gd name="connsiteY318" fmla="*/ 1549066 h 3739403"/>
                <a:gd name="connsiteX319" fmla="*/ 738377 w 4125234"/>
                <a:gd name="connsiteY319" fmla="*/ 1545058 h 3739403"/>
                <a:gd name="connsiteX320" fmla="*/ 755207 w 4125234"/>
                <a:gd name="connsiteY320" fmla="*/ 1543054 h 3739403"/>
                <a:gd name="connsiteX321" fmla="*/ 765725 w 4125234"/>
                <a:gd name="connsiteY321" fmla="*/ 1537042 h 3739403"/>
                <a:gd name="connsiteX322" fmla="*/ 776243 w 4125234"/>
                <a:gd name="connsiteY322" fmla="*/ 1533034 h 3739403"/>
                <a:gd name="connsiteX323" fmla="*/ 786761 w 4125234"/>
                <a:gd name="connsiteY323" fmla="*/ 1529026 h 3739403"/>
                <a:gd name="connsiteX324" fmla="*/ 809901 w 4125234"/>
                <a:gd name="connsiteY324" fmla="*/ 1529026 h 3739403"/>
                <a:gd name="connsiteX325" fmla="*/ 833041 w 4125234"/>
                <a:gd name="connsiteY325" fmla="*/ 1527022 h 3739403"/>
                <a:gd name="connsiteX326" fmla="*/ 847767 w 4125234"/>
                <a:gd name="connsiteY326" fmla="*/ 1523015 h 3739403"/>
                <a:gd name="connsiteX327" fmla="*/ 858285 w 4125234"/>
                <a:gd name="connsiteY327" fmla="*/ 1517003 h 3739403"/>
                <a:gd name="connsiteX328" fmla="*/ 894047 w 4125234"/>
                <a:gd name="connsiteY328" fmla="*/ 1486943 h 3739403"/>
                <a:gd name="connsiteX329" fmla="*/ 912979 w 4125234"/>
                <a:gd name="connsiteY329" fmla="*/ 1472915 h 3739403"/>
                <a:gd name="connsiteX330" fmla="*/ 934016 w 4125234"/>
                <a:gd name="connsiteY330" fmla="*/ 1456884 h 3739403"/>
                <a:gd name="connsiteX331" fmla="*/ 944534 w 4125234"/>
                <a:gd name="connsiteY331" fmla="*/ 1450872 h 3739403"/>
                <a:gd name="connsiteX332" fmla="*/ 950845 w 4125234"/>
                <a:gd name="connsiteY332" fmla="*/ 1440852 h 3739403"/>
                <a:gd name="connsiteX333" fmla="*/ 965570 w 4125234"/>
                <a:gd name="connsiteY333" fmla="*/ 1424820 h 3739403"/>
                <a:gd name="connsiteX334" fmla="*/ 969778 w 4125234"/>
                <a:gd name="connsiteY334" fmla="*/ 1416804 h 3739403"/>
                <a:gd name="connsiteX335" fmla="*/ 978192 w 4125234"/>
                <a:gd name="connsiteY335" fmla="*/ 1410793 h 3739403"/>
                <a:gd name="connsiteX336" fmla="*/ 990814 w 4125234"/>
                <a:gd name="connsiteY336" fmla="*/ 1404781 h 3739403"/>
                <a:gd name="connsiteX337" fmla="*/ 1003436 w 4125234"/>
                <a:gd name="connsiteY337" fmla="*/ 1402777 h 3739403"/>
                <a:gd name="connsiteX338" fmla="*/ 1003436 w 4125234"/>
                <a:gd name="connsiteY338" fmla="*/ 1408422 h 3739403"/>
                <a:gd name="connsiteX339" fmla="*/ 1006960 w 4125234"/>
                <a:gd name="connsiteY339" fmla="*/ 1402786 h 3739403"/>
                <a:gd name="connsiteX340" fmla="*/ 1038509 w 4125234"/>
                <a:gd name="connsiteY340" fmla="*/ 1376744 h 3739403"/>
                <a:gd name="connsiteX341" fmla="*/ 1070058 w 4125234"/>
                <a:gd name="connsiteY341" fmla="*/ 1352679 h 3739403"/>
                <a:gd name="connsiteX342" fmla="*/ 1099509 w 4125234"/>
                <a:gd name="connsiteY342" fmla="*/ 1326636 h 3739403"/>
                <a:gd name="connsiteX343" fmla="*/ 1112136 w 4125234"/>
                <a:gd name="connsiteY343" fmla="*/ 1312603 h 3739403"/>
                <a:gd name="connsiteX344" fmla="*/ 1122665 w 4125234"/>
                <a:gd name="connsiteY344" fmla="*/ 1296544 h 3739403"/>
                <a:gd name="connsiteX345" fmla="*/ 1128960 w 4125234"/>
                <a:gd name="connsiteY345" fmla="*/ 1290563 h 3739403"/>
                <a:gd name="connsiteX346" fmla="*/ 1137390 w 4125234"/>
                <a:gd name="connsiteY346" fmla="*/ 1280532 h 3739403"/>
                <a:gd name="connsiteX347" fmla="*/ 1141587 w 4125234"/>
                <a:gd name="connsiteY347" fmla="*/ 1270501 h 3739403"/>
                <a:gd name="connsiteX348" fmla="*/ 1143685 w 4125234"/>
                <a:gd name="connsiteY348" fmla="*/ 1264520 h 3739403"/>
                <a:gd name="connsiteX349" fmla="*/ 1143685 w 4125234"/>
                <a:gd name="connsiteY349" fmla="*/ 1260517 h 3739403"/>
                <a:gd name="connsiteX350" fmla="*/ 1141587 w 4125234"/>
                <a:gd name="connsiteY350" fmla="*/ 1260517 h 3739403"/>
                <a:gd name="connsiteX351" fmla="*/ 1139489 w 4125234"/>
                <a:gd name="connsiteY351" fmla="*/ 1250486 h 3739403"/>
                <a:gd name="connsiteX352" fmla="*/ 1133193 w 4125234"/>
                <a:gd name="connsiteY352" fmla="*/ 1240456 h 3739403"/>
                <a:gd name="connsiteX353" fmla="*/ 1131095 w 4125234"/>
                <a:gd name="connsiteY353" fmla="*/ 1230425 h 3739403"/>
                <a:gd name="connsiteX354" fmla="*/ 1131095 w 4125234"/>
                <a:gd name="connsiteY354" fmla="*/ 1224444 h 3739403"/>
                <a:gd name="connsiteX355" fmla="*/ 1133193 w 4125234"/>
                <a:gd name="connsiteY355" fmla="*/ 1222419 h 3739403"/>
                <a:gd name="connsiteX356" fmla="*/ 69420 w 4125234"/>
                <a:gd name="connsiteY356" fmla="*/ 281414 h 3739403"/>
                <a:gd name="connsiteX357" fmla="*/ 69420 w 4125234"/>
                <a:gd name="connsiteY357" fmla="*/ 282559 h 3739403"/>
                <a:gd name="connsiteX358" fmla="*/ 65213 w 4125234"/>
                <a:gd name="connsiteY358" fmla="*/ 282559 h 3739403"/>
                <a:gd name="connsiteX359" fmla="*/ 69420 w 4125234"/>
                <a:gd name="connsiteY359" fmla="*/ 281414 h 3739403"/>
                <a:gd name="connsiteX360" fmla="*/ 0 w 4125234"/>
                <a:gd name="connsiteY360" fmla="*/ 0 h 3739403"/>
                <a:gd name="connsiteX361" fmla="*/ 63109 w 4125234"/>
                <a:gd name="connsiteY361" fmla="*/ 0 h 3739403"/>
                <a:gd name="connsiteX362" fmla="*/ 94664 w 4125234"/>
                <a:gd name="connsiteY362" fmla="*/ 0 h 3739403"/>
                <a:gd name="connsiteX363" fmla="*/ 124115 w 4125234"/>
                <a:gd name="connsiteY363" fmla="*/ 0 h 3739403"/>
                <a:gd name="connsiteX364" fmla="*/ 309235 w 4125234"/>
                <a:gd name="connsiteY364" fmla="*/ 0 h 3739403"/>
                <a:gd name="connsiteX365" fmla="*/ 313442 w 4125234"/>
                <a:gd name="connsiteY365" fmla="*/ 20040 h 3739403"/>
                <a:gd name="connsiteX366" fmla="*/ 313442 w 4125234"/>
                <a:gd name="connsiteY366" fmla="*/ 66131 h 3739403"/>
                <a:gd name="connsiteX367" fmla="*/ 315546 w 4125234"/>
                <a:gd name="connsiteY367" fmla="*/ 150297 h 3739403"/>
                <a:gd name="connsiteX368" fmla="*/ 323960 w 4125234"/>
                <a:gd name="connsiteY368" fmla="*/ 150297 h 3739403"/>
                <a:gd name="connsiteX369" fmla="*/ 323960 w 4125234"/>
                <a:gd name="connsiteY369" fmla="*/ 156309 h 3739403"/>
                <a:gd name="connsiteX370" fmla="*/ 323960 w 4125234"/>
                <a:gd name="connsiteY370" fmla="*/ 164325 h 3739403"/>
                <a:gd name="connsiteX371" fmla="*/ 326064 w 4125234"/>
                <a:gd name="connsiteY371" fmla="*/ 166329 h 3739403"/>
                <a:gd name="connsiteX372" fmla="*/ 330271 w 4125234"/>
                <a:gd name="connsiteY372" fmla="*/ 170337 h 3739403"/>
                <a:gd name="connsiteX373" fmla="*/ 340789 w 4125234"/>
                <a:gd name="connsiteY373" fmla="*/ 170337 h 3739403"/>
                <a:gd name="connsiteX374" fmla="*/ 355515 w 4125234"/>
                <a:gd name="connsiteY374" fmla="*/ 170337 h 3739403"/>
                <a:gd name="connsiteX375" fmla="*/ 355515 w 4125234"/>
                <a:gd name="connsiteY375" fmla="*/ 182361 h 3739403"/>
                <a:gd name="connsiteX376" fmla="*/ 370240 w 4125234"/>
                <a:gd name="connsiteY376" fmla="*/ 182361 h 3739403"/>
                <a:gd name="connsiteX377" fmla="*/ 387069 w 4125234"/>
                <a:gd name="connsiteY377" fmla="*/ 184365 h 3739403"/>
                <a:gd name="connsiteX378" fmla="*/ 399691 w 4125234"/>
                <a:gd name="connsiteY378" fmla="*/ 190377 h 3739403"/>
                <a:gd name="connsiteX379" fmla="*/ 401795 w 4125234"/>
                <a:gd name="connsiteY379" fmla="*/ 192381 h 3739403"/>
                <a:gd name="connsiteX380" fmla="*/ 403898 w 4125234"/>
                <a:gd name="connsiteY380" fmla="*/ 196388 h 3739403"/>
                <a:gd name="connsiteX381" fmla="*/ 408106 w 4125234"/>
                <a:gd name="connsiteY381" fmla="*/ 202400 h 3739403"/>
                <a:gd name="connsiteX382" fmla="*/ 410209 w 4125234"/>
                <a:gd name="connsiteY382" fmla="*/ 204404 h 3739403"/>
                <a:gd name="connsiteX383" fmla="*/ 422831 w 4125234"/>
                <a:gd name="connsiteY383" fmla="*/ 204404 h 3739403"/>
                <a:gd name="connsiteX384" fmla="*/ 445971 w 4125234"/>
                <a:gd name="connsiteY384" fmla="*/ 196388 h 3739403"/>
                <a:gd name="connsiteX385" fmla="*/ 443868 w 4125234"/>
                <a:gd name="connsiteY385" fmla="*/ 166329 h 3739403"/>
                <a:gd name="connsiteX386" fmla="*/ 456489 w 4125234"/>
                <a:gd name="connsiteY386" fmla="*/ 166329 h 3739403"/>
                <a:gd name="connsiteX387" fmla="*/ 456489 w 4125234"/>
                <a:gd name="connsiteY387" fmla="*/ 152301 h 3739403"/>
                <a:gd name="connsiteX388" fmla="*/ 471215 w 4125234"/>
                <a:gd name="connsiteY388" fmla="*/ 154305 h 3739403"/>
                <a:gd name="connsiteX389" fmla="*/ 471215 w 4125234"/>
                <a:gd name="connsiteY389" fmla="*/ 140277 h 3739403"/>
                <a:gd name="connsiteX390" fmla="*/ 477526 w 4125234"/>
                <a:gd name="connsiteY390" fmla="*/ 140277 h 3739403"/>
                <a:gd name="connsiteX391" fmla="*/ 485940 w 4125234"/>
                <a:gd name="connsiteY391" fmla="*/ 136269 h 3739403"/>
                <a:gd name="connsiteX392" fmla="*/ 494355 w 4125234"/>
                <a:gd name="connsiteY392" fmla="*/ 126250 h 3739403"/>
                <a:gd name="connsiteX393" fmla="*/ 502769 w 4125234"/>
                <a:gd name="connsiteY393" fmla="*/ 120238 h 3739403"/>
                <a:gd name="connsiteX394" fmla="*/ 506977 w 4125234"/>
                <a:gd name="connsiteY394" fmla="*/ 120238 h 3739403"/>
                <a:gd name="connsiteX395" fmla="*/ 513288 w 4125234"/>
                <a:gd name="connsiteY395" fmla="*/ 120238 h 3739403"/>
                <a:gd name="connsiteX396" fmla="*/ 515391 w 4125234"/>
                <a:gd name="connsiteY396" fmla="*/ 114226 h 3739403"/>
                <a:gd name="connsiteX397" fmla="*/ 517495 w 4125234"/>
                <a:gd name="connsiteY397" fmla="*/ 106210 h 3739403"/>
                <a:gd name="connsiteX398" fmla="*/ 544842 w 4125234"/>
                <a:gd name="connsiteY398" fmla="*/ 106210 h 3739403"/>
                <a:gd name="connsiteX399" fmla="*/ 540635 w 4125234"/>
                <a:gd name="connsiteY399" fmla="*/ 114226 h 3739403"/>
                <a:gd name="connsiteX400" fmla="*/ 570086 w 4125234"/>
                <a:gd name="connsiteY400" fmla="*/ 112222 h 3739403"/>
                <a:gd name="connsiteX401" fmla="*/ 586915 w 4125234"/>
                <a:gd name="connsiteY401" fmla="*/ 114226 h 3739403"/>
                <a:gd name="connsiteX402" fmla="*/ 591122 w 4125234"/>
                <a:gd name="connsiteY402" fmla="*/ 114226 h 3739403"/>
                <a:gd name="connsiteX403" fmla="*/ 593226 w 4125234"/>
                <a:gd name="connsiteY403" fmla="*/ 116230 h 3739403"/>
                <a:gd name="connsiteX404" fmla="*/ 595329 w 4125234"/>
                <a:gd name="connsiteY404" fmla="*/ 122242 h 3739403"/>
                <a:gd name="connsiteX405" fmla="*/ 603744 w 4125234"/>
                <a:gd name="connsiteY405" fmla="*/ 124246 h 3739403"/>
                <a:gd name="connsiteX406" fmla="*/ 612159 w 4125234"/>
                <a:gd name="connsiteY406" fmla="*/ 126250 h 3739403"/>
                <a:gd name="connsiteX407" fmla="*/ 620573 w 4125234"/>
                <a:gd name="connsiteY407" fmla="*/ 126250 h 3739403"/>
                <a:gd name="connsiteX408" fmla="*/ 622677 w 4125234"/>
                <a:gd name="connsiteY408" fmla="*/ 132262 h 3739403"/>
                <a:gd name="connsiteX409" fmla="*/ 626884 w 4125234"/>
                <a:gd name="connsiteY409" fmla="*/ 134266 h 3739403"/>
                <a:gd name="connsiteX410" fmla="*/ 637402 w 4125234"/>
                <a:gd name="connsiteY410" fmla="*/ 136269 h 3739403"/>
                <a:gd name="connsiteX411" fmla="*/ 643713 w 4125234"/>
                <a:gd name="connsiteY411" fmla="*/ 136269 h 3739403"/>
                <a:gd name="connsiteX412" fmla="*/ 647920 w 4125234"/>
                <a:gd name="connsiteY412" fmla="*/ 140277 h 3739403"/>
                <a:gd name="connsiteX413" fmla="*/ 652128 w 4125234"/>
                <a:gd name="connsiteY413" fmla="*/ 142281 h 3739403"/>
                <a:gd name="connsiteX414" fmla="*/ 652128 w 4125234"/>
                <a:gd name="connsiteY414" fmla="*/ 152301 h 3739403"/>
                <a:gd name="connsiteX415" fmla="*/ 666853 w 4125234"/>
                <a:gd name="connsiteY415" fmla="*/ 154305 h 3739403"/>
                <a:gd name="connsiteX416" fmla="*/ 687890 w 4125234"/>
                <a:gd name="connsiteY416" fmla="*/ 160317 h 3739403"/>
                <a:gd name="connsiteX417" fmla="*/ 696304 w 4125234"/>
                <a:gd name="connsiteY417" fmla="*/ 164325 h 3739403"/>
                <a:gd name="connsiteX418" fmla="*/ 700511 w 4125234"/>
                <a:gd name="connsiteY418" fmla="*/ 170337 h 3739403"/>
                <a:gd name="connsiteX419" fmla="*/ 706822 w 4125234"/>
                <a:gd name="connsiteY419" fmla="*/ 176349 h 3739403"/>
                <a:gd name="connsiteX420" fmla="*/ 708926 w 4125234"/>
                <a:gd name="connsiteY420" fmla="*/ 184365 h 3739403"/>
                <a:gd name="connsiteX421" fmla="*/ 719444 w 4125234"/>
                <a:gd name="connsiteY421" fmla="*/ 190377 h 3739403"/>
                <a:gd name="connsiteX422" fmla="*/ 729962 w 4125234"/>
                <a:gd name="connsiteY422" fmla="*/ 200396 h 3739403"/>
                <a:gd name="connsiteX423" fmla="*/ 740480 w 4125234"/>
                <a:gd name="connsiteY423" fmla="*/ 210416 h 3739403"/>
                <a:gd name="connsiteX424" fmla="*/ 742584 w 4125234"/>
                <a:gd name="connsiteY424" fmla="*/ 222440 h 3739403"/>
                <a:gd name="connsiteX425" fmla="*/ 750999 w 4125234"/>
                <a:gd name="connsiteY425" fmla="*/ 222440 h 3739403"/>
                <a:gd name="connsiteX426" fmla="*/ 761517 w 4125234"/>
                <a:gd name="connsiteY426" fmla="*/ 228452 h 3739403"/>
                <a:gd name="connsiteX427" fmla="*/ 772035 w 4125234"/>
                <a:gd name="connsiteY427" fmla="*/ 236468 h 3739403"/>
                <a:gd name="connsiteX428" fmla="*/ 782553 w 4125234"/>
                <a:gd name="connsiteY428" fmla="*/ 244484 h 3739403"/>
                <a:gd name="connsiteX429" fmla="*/ 788864 w 4125234"/>
                <a:gd name="connsiteY429" fmla="*/ 254503 h 3739403"/>
                <a:gd name="connsiteX430" fmla="*/ 795175 w 4125234"/>
                <a:gd name="connsiteY430" fmla="*/ 258511 h 3739403"/>
                <a:gd name="connsiteX431" fmla="*/ 803590 w 4125234"/>
                <a:gd name="connsiteY431" fmla="*/ 264523 h 3739403"/>
                <a:gd name="connsiteX432" fmla="*/ 803590 w 4125234"/>
                <a:gd name="connsiteY432" fmla="*/ 266527 h 3739403"/>
                <a:gd name="connsiteX433" fmla="*/ 824626 w 4125234"/>
                <a:gd name="connsiteY433" fmla="*/ 268531 h 3739403"/>
                <a:gd name="connsiteX434" fmla="*/ 851973 w 4125234"/>
                <a:gd name="connsiteY434" fmla="*/ 272539 h 3739403"/>
                <a:gd name="connsiteX435" fmla="*/ 864595 w 4125234"/>
                <a:gd name="connsiteY435" fmla="*/ 272539 h 3739403"/>
                <a:gd name="connsiteX436" fmla="*/ 875113 w 4125234"/>
                <a:gd name="connsiteY436" fmla="*/ 276547 h 3739403"/>
                <a:gd name="connsiteX437" fmla="*/ 879321 w 4125234"/>
                <a:gd name="connsiteY437" fmla="*/ 282559 h 3739403"/>
                <a:gd name="connsiteX438" fmla="*/ 883528 w 4125234"/>
                <a:gd name="connsiteY438" fmla="*/ 292579 h 3739403"/>
                <a:gd name="connsiteX439" fmla="*/ 885632 w 4125234"/>
                <a:gd name="connsiteY439" fmla="*/ 296587 h 3739403"/>
                <a:gd name="connsiteX440" fmla="*/ 887735 w 4125234"/>
                <a:gd name="connsiteY440" fmla="*/ 296587 h 3739403"/>
                <a:gd name="connsiteX441" fmla="*/ 889839 w 4125234"/>
                <a:gd name="connsiteY441" fmla="*/ 294583 h 3739403"/>
                <a:gd name="connsiteX442" fmla="*/ 896150 w 4125234"/>
                <a:gd name="connsiteY442" fmla="*/ 296587 h 3739403"/>
                <a:gd name="connsiteX443" fmla="*/ 896150 w 4125234"/>
                <a:gd name="connsiteY443" fmla="*/ 312618 h 3739403"/>
                <a:gd name="connsiteX444" fmla="*/ 906668 w 4125234"/>
                <a:gd name="connsiteY444" fmla="*/ 312618 h 3739403"/>
                <a:gd name="connsiteX445" fmla="*/ 910875 w 4125234"/>
                <a:gd name="connsiteY445" fmla="*/ 322638 h 3739403"/>
                <a:gd name="connsiteX446" fmla="*/ 915082 w 4125234"/>
                <a:gd name="connsiteY446" fmla="*/ 332658 h 3739403"/>
                <a:gd name="connsiteX447" fmla="*/ 917186 w 4125234"/>
                <a:gd name="connsiteY447" fmla="*/ 342678 h 3739403"/>
                <a:gd name="connsiteX448" fmla="*/ 917186 w 4125234"/>
                <a:gd name="connsiteY448" fmla="*/ 352698 h 3739403"/>
                <a:gd name="connsiteX449" fmla="*/ 923497 w 4125234"/>
                <a:gd name="connsiteY449" fmla="*/ 348690 h 3739403"/>
                <a:gd name="connsiteX450" fmla="*/ 923497 w 4125234"/>
                <a:gd name="connsiteY450" fmla="*/ 358710 h 3739403"/>
                <a:gd name="connsiteX451" fmla="*/ 934015 w 4125234"/>
                <a:gd name="connsiteY451" fmla="*/ 358710 h 3739403"/>
                <a:gd name="connsiteX452" fmla="*/ 934015 w 4125234"/>
                <a:gd name="connsiteY452" fmla="*/ 372737 h 3739403"/>
                <a:gd name="connsiteX453" fmla="*/ 940326 w 4125234"/>
                <a:gd name="connsiteY453" fmla="*/ 372737 h 3739403"/>
                <a:gd name="connsiteX454" fmla="*/ 940326 w 4125234"/>
                <a:gd name="connsiteY454" fmla="*/ 384761 h 3739403"/>
                <a:gd name="connsiteX455" fmla="*/ 944533 w 4125234"/>
                <a:gd name="connsiteY455" fmla="*/ 382757 h 3739403"/>
                <a:gd name="connsiteX456" fmla="*/ 944533 w 4125234"/>
                <a:gd name="connsiteY456" fmla="*/ 388769 h 3739403"/>
                <a:gd name="connsiteX457" fmla="*/ 952948 w 4125234"/>
                <a:gd name="connsiteY457" fmla="*/ 394781 h 3739403"/>
                <a:gd name="connsiteX458" fmla="*/ 961362 w 4125234"/>
                <a:gd name="connsiteY458" fmla="*/ 398789 h 3739403"/>
                <a:gd name="connsiteX459" fmla="*/ 965570 w 4125234"/>
                <a:gd name="connsiteY459" fmla="*/ 406805 h 3739403"/>
                <a:gd name="connsiteX460" fmla="*/ 973984 w 4125234"/>
                <a:gd name="connsiteY460" fmla="*/ 408809 h 3739403"/>
                <a:gd name="connsiteX461" fmla="*/ 976088 w 4125234"/>
                <a:gd name="connsiteY461" fmla="*/ 412817 h 3739403"/>
                <a:gd name="connsiteX462" fmla="*/ 982399 w 4125234"/>
                <a:gd name="connsiteY462" fmla="*/ 416825 h 3739403"/>
                <a:gd name="connsiteX463" fmla="*/ 982399 w 4125234"/>
                <a:gd name="connsiteY463" fmla="*/ 434860 h 3739403"/>
                <a:gd name="connsiteX464" fmla="*/ 980295 w 4125234"/>
                <a:gd name="connsiteY464" fmla="*/ 460912 h 3739403"/>
                <a:gd name="connsiteX465" fmla="*/ 982399 w 4125234"/>
                <a:gd name="connsiteY465" fmla="*/ 509007 h 3739403"/>
                <a:gd name="connsiteX466" fmla="*/ 982399 w 4125234"/>
                <a:gd name="connsiteY466" fmla="*/ 537062 h 3739403"/>
                <a:gd name="connsiteX467" fmla="*/ 980295 w 4125234"/>
                <a:gd name="connsiteY467" fmla="*/ 547082 h 3739403"/>
                <a:gd name="connsiteX468" fmla="*/ 976088 w 4125234"/>
                <a:gd name="connsiteY468" fmla="*/ 549086 h 3739403"/>
                <a:gd name="connsiteX469" fmla="*/ 973984 w 4125234"/>
                <a:gd name="connsiteY469" fmla="*/ 551090 h 3739403"/>
                <a:gd name="connsiteX470" fmla="*/ 971881 w 4125234"/>
                <a:gd name="connsiteY470" fmla="*/ 555098 h 3739403"/>
                <a:gd name="connsiteX471" fmla="*/ 963466 w 4125234"/>
                <a:gd name="connsiteY471" fmla="*/ 567122 h 3739403"/>
                <a:gd name="connsiteX472" fmla="*/ 959259 w 4125234"/>
                <a:gd name="connsiteY472" fmla="*/ 579146 h 3739403"/>
                <a:gd name="connsiteX473" fmla="*/ 955056 w 4125234"/>
                <a:gd name="connsiteY473" fmla="*/ 591157 h 3739403"/>
                <a:gd name="connsiteX474" fmla="*/ 999217 w 4125234"/>
                <a:gd name="connsiteY474" fmla="*/ 591157 h 3739403"/>
                <a:gd name="connsiteX475" fmla="*/ 1043434 w 4125234"/>
                <a:gd name="connsiteY475" fmla="*/ 591157 h 3739403"/>
                <a:gd name="connsiteX476" fmla="*/ 1043434 w 4125234"/>
                <a:gd name="connsiteY476" fmla="*/ 589151 h 3739403"/>
                <a:gd name="connsiteX477" fmla="*/ 1043434 w 4125234"/>
                <a:gd name="connsiteY477" fmla="*/ 587175 h 3739403"/>
                <a:gd name="connsiteX478" fmla="*/ 1045484 w 4125234"/>
                <a:gd name="connsiteY478" fmla="*/ 585169 h 3739403"/>
                <a:gd name="connsiteX479" fmla="*/ 1051853 w 4125234"/>
                <a:gd name="connsiteY479" fmla="*/ 581158 h 3739403"/>
                <a:gd name="connsiteX480" fmla="*/ 1056026 w 4125234"/>
                <a:gd name="connsiteY480" fmla="*/ 585169 h 3739403"/>
                <a:gd name="connsiteX481" fmla="*/ 1056026 w 4125234"/>
                <a:gd name="connsiteY481" fmla="*/ 617234 h 3739403"/>
                <a:gd name="connsiteX482" fmla="*/ 1056026 w 4125234"/>
                <a:gd name="connsiteY482" fmla="*/ 657292 h 3739403"/>
                <a:gd name="connsiteX483" fmla="*/ 1056026 w 4125234"/>
                <a:gd name="connsiteY483" fmla="*/ 729446 h 3739403"/>
                <a:gd name="connsiteX484" fmla="*/ 1056026 w 4125234"/>
                <a:gd name="connsiteY484" fmla="*/ 783545 h 3739403"/>
                <a:gd name="connsiteX485" fmla="*/ 1056026 w 4125234"/>
                <a:gd name="connsiteY485" fmla="*/ 807586 h 3739403"/>
                <a:gd name="connsiteX486" fmla="*/ 1053922 w 4125234"/>
                <a:gd name="connsiteY486" fmla="*/ 807586 h 3739403"/>
                <a:gd name="connsiteX487" fmla="*/ 1053922 w 4125234"/>
                <a:gd name="connsiteY487" fmla="*/ 815272 h 3739403"/>
                <a:gd name="connsiteX488" fmla="*/ 1053922 w 4125234"/>
                <a:gd name="connsiteY488" fmla="*/ 849173 h 3739403"/>
                <a:gd name="connsiteX489" fmla="*/ 1053922 w 4125234"/>
                <a:gd name="connsiteY489" fmla="*/ 877092 h 3739403"/>
                <a:gd name="connsiteX490" fmla="*/ 1053922 w 4125234"/>
                <a:gd name="connsiteY490" fmla="*/ 908999 h 3739403"/>
                <a:gd name="connsiteX491" fmla="*/ 673164 w 4125234"/>
                <a:gd name="connsiteY491" fmla="*/ 908999 h 3739403"/>
                <a:gd name="connsiteX492" fmla="*/ 631091 w 4125234"/>
                <a:gd name="connsiteY492" fmla="*/ 908999 h 3739403"/>
                <a:gd name="connsiteX493" fmla="*/ 610055 w 4125234"/>
                <a:gd name="connsiteY493" fmla="*/ 908999 h 3739403"/>
                <a:gd name="connsiteX494" fmla="*/ 591122 w 4125234"/>
                <a:gd name="connsiteY494" fmla="*/ 910993 h 3739403"/>
                <a:gd name="connsiteX495" fmla="*/ 574293 w 4125234"/>
                <a:gd name="connsiteY495" fmla="*/ 916976 h 3739403"/>
                <a:gd name="connsiteX496" fmla="*/ 557464 w 4125234"/>
                <a:gd name="connsiteY496" fmla="*/ 922959 h 3739403"/>
                <a:gd name="connsiteX497" fmla="*/ 540635 w 4125234"/>
                <a:gd name="connsiteY497" fmla="*/ 932930 h 3739403"/>
                <a:gd name="connsiteX498" fmla="*/ 523806 w 4125234"/>
                <a:gd name="connsiteY498" fmla="*/ 948883 h 3739403"/>
                <a:gd name="connsiteX499" fmla="*/ 500666 w 4125234"/>
                <a:gd name="connsiteY499" fmla="*/ 968825 h 3739403"/>
                <a:gd name="connsiteX500" fmla="*/ 473319 w 4125234"/>
                <a:gd name="connsiteY500" fmla="*/ 988767 h 3739403"/>
                <a:gd name="connsiteX501" fmla="*/ 420728 w 4125234"/>
                <a:gd name="connsiteY501" fmla="*/ 1020674 h 3739403"/>
                <a:gd name="connsiteX502" fmla="*/ 406002 w 4125234"/>
                <a:gd name="connsiteY502" fmla="*/ 1032640 h 3739403"/>
                <a:gd name="connsiteX503" fmla="*/ 393380 w 4125234"/>
                <a:gd name="connsiteY503" fmla="*/ 1046599 h 3739403"/>
                <a:gd name="connsiteX504" fmla="*/ 378655 w 4125234"/>
                <a:gd name="connsiteY504" fmla="*/ 1060558 h 3739403"/>
                <a:gd name="connsiteX505" fmla="*/ 368137 w 4125234"/>
                <a:gd name="connsiteY505" fmla="*/ 1074518 h 3739403"/>
                <a:gd name="connsiteX506" fmla="*/ 361826 w 4125234"/>
                <a:gd name="connsiteY506" fmla="*/ 1084489 h 3739403"/>
                <a:gd name="connsiteX507" fmla="*/ 357619 w 4125234"/>
                <a:gd name="connsiteY507" fmla="*/ 1092466 h 3739403"/>
                <a:gd name="connsiteX508" fmla="*/ 357619 w 4125234"/>
                <a:gd name="connsiteY508" fmla="*/ 1102437 h 3739403"/>
                <a:gd name="connsiteX509" fmla="*/ 351308 w 4125234"/>
                <a:gd name="connsiteY509" fmla="*/ 1112408 h 3739403"/>
                <a:gd name="connsiteX510" fmla="*/ 340790 w 4125234"/>
                <a:gd name="connsiteY510" fmla="*/ 1120384 h 3739403"/>
                <a:gd name="connsiteX511" fmla="*/ 332375 w 4125234"/>
                <a:gd name="connsiteY511" fmla="*/ 1130355 h 3739403"/>
                <a:gd name="connsiteX512" fmla="*/ 330271 w 4125234"/>
                <a:gd name="connsiteY512" fmla="*/ 1134344 h 3739403"/>
                <a:gd name="connsiteX513" fmla="*/ 330271 w 4125234"/>
                <a:gd name="connsiteY513" fmla="*/ 1142321 h 3739403"/>
                <a:gd name="connsiteX514" fmla="*/ 326064 w 4125234"/>
                <a:gd name="connsiteY514" fmla="*/ 1148303 h 3739403"/>
                <a:gd name="connsiteX515" fmla="*/ 326064 w 4125234"/>
                <a:gd name="connsiteY515" fmla="*/ 1150297 h 3739403"/>
                <a:gd name="connsiteX516" fmla="*/ 321857 w 4125234"/>
                <a:gd name="connsiteY516" fmla="*/ 1152292 h 3739403"/>
                <a:gd name="connsiteX517" fmla="*/ 315546 w 4125234"/>
                <a:gd name="connsiteY517" fmla="*/ 1154286 h 3739403"/>
                <a:gd name="connsiteX518" fmla="*/ 302924 w 4125234"/>
                <a:gd name="connsiteY518" fmla="*/ 1152292 h 3739403"/>
                <a:gd name="connsiteX519" fmla="*/ 290302 w 4125234"/>
                <a:gd name="connsiteY519" fmla="*/ 1150297 h 3739403"/>
                <a:gd name="connsiteX520" fmla="*/ 260852 w 4125234"/>
                <a:gd name="connsiteY520" fmla="*/ 1138332 h 3739403"/>
                <a:gd name="connsiteX521" fmla="*/ 250333 w 4125234"/>
                <a:gd name="connsiteY521" fmla="*/ 1134344 h 3739403"/>
                <a:gd name="connsiteX522" fmla="*/ 246126 w 4125234"/>
                <a:gd name="connsiteY522" fmla="*/ 1134344 h 3739403"/>
                <a:gd name="connsiteX523" fmla="*/ 233504 w 4125234"/>
                <a:gd name="connsiteY523" fmla="*/ 1140326 h 3739403"/>
                <a:gd name="connsiteX524" fmla="*/ 218779 w 4125234"/>
                <a:gd name="connsiteY524" fmla="*/ 1142321 h 3739403"/>
                <a:gd name="connsiteX525" fmla="*/ 208261 w 4125234"/>
                <a:gd name="connsiteY525" fmla="*/ 1144315 h 3739403"/>
                <a:gd name="connsiteX526" fmla="*/ 197742 w 4125234"/>
                <a:gd name="connsiteY526" fmla="*/ 1144315 h 3739403"/>
                <a:gd name="connsiteX527" fmla="*/ 174602 w 4125234"/>
                <a:gd name="connsiteY527" fmla="*/ 1140326 h 3739403"/>
                <a:gd name="connsiteX528" fmla="*/ 149359 w 4125234"/>
                <a:gd name="connsiteY528" fmla="*/ 1132350 h 3739403"/>
                <a:gd name="connsiteX529" fmla="*/ 151463 w 4125234"/>
                <a:gd name="connsiteY529" fmla="*/ 1088477 h 3739403"/>
                <a:gd name="connsiteX530" fmla="*/ 151463 w 4125234"/>
                <a:gd name="connsiteY530" fmla="*/ 1042611 h 3739403"/>
                <a:gd name="connsiteX531" fmla="*/ 151463 w 4125234"/>
                <a:gd name="connsiteY531" fmla="*/ 1008709 h 3739403"/>
                <a:gd name="connsiteX532" fmla="*/ 151463 w 4125234"/>
                <a:gd name="connsiteY532" fmla="*/ 988767 h 3739403"/>
                <a:gd name="connsiteX533" fmla="*/ 153566 w 4125234"/>
                <a:gd name="connsiteY533" fmla="*/ 982785 h 3739403"/>
                <a:gd name="connsiteX534" fmla="*/ 155670 w 4125234"/>
                <a:gd name="connsiteY534" fmla="*/ 978796 h 3739403"/>
                <a:gd name="connsiteX535" fmla="*/ 161981 w 4125234"/>
                <a:gd name="connsiteY535" fmla="*/ 968825 h 3739403"/>
                <a:gd name="connsiteX536" fmla="*/ 164084 w 4125234"/>
                <a:gd name="connsiteY536" fmla="*/ 956860 h 3739403"/>
                <a:gd name="connsiteX537" fmla="*/ 166188 w 4125234"/>
                <a:gd name="connsiteY537" fmla="*/ 946889 h 3739403"/>
                <a:gd name="connsiteX538" fmla="*/ 170395 w 4125234"/>
                <a:gd name="connsiteY538" fmla="*/ 940906 h 3739403"/>
                <a:gd name="connsiteX539" fmla="*/ 172499 w 4125234"/>
                <a:gd name="connsiteY539" fmla="*/ 938912 h 3739403"/>
                <a:gd name="connsiteX540" fmla="*/ 185121 w 4125234"/>
                <a:gd name="connsiteY540" fmla="*/ 938912 h 3739403"/>
                <a:gd name="connsiteX541" fmla="*/ 195639 w 4125234"/>
                <a:gd name="connsiteY541" fmla="*/ 932930 h 3739403"/>
                <a:gd name="connsiteX542" fmla="*/ 201950 w 4125234"/>
                <a:gd name="connsiteY542" fmla="*/ 930935 h 3739403"/>
                <a:gd name="connsiteX543" fmla="*/ 208261 w 4125234"/>
                <a:gd name="connsiteY543" fmla="*/ 922959 h 3739403"/>
                <a:gd name="connsiteX544" fmla="*/ 212468 w 4125234"/>
                <a:gd name="connsiteY544" fmla="*/ 916976 h 3739403"/>
                <a:gd name="connsiteX545" fmla="*/ 214572 w 4125234"/>
                <a:gd name="connsiteY545" fmla="*/ 903017 h 3739403"/>
                <a:gd name="connsiteX546" fmla="*/ 216675 w 4125234"/>
                <a:gd name="connsiteY546" fmla="*/ 899028 h 3739403"/>
                <a:gd name="connsiteX547" fmla="*/ 218779 w 4125234"/>
                <a:gd name="connsiteY547" fmla="*/ 893046 h 3739403"/>
                <a:gd name="connsiteX548" fmla="*/ 225090 w 4125234"/>
                <a:gd name="connsiteY548" fmla="*/ 891051 h 3739403"/>
                <a:gd name="connsiteX549" fmla="*/ 233504 w 4125234"/>
                <a:gd name="connsiteY549" fmla="*/ 893046 h 3739403"/>
                <a:gd name="connsiteX550" fmla="*/ 235608 w 4125234"/>
                <a:gd name="connsiteY550" fmla="*/ 893046 h 3739403"/>
                <a:gd name="connsiteX551" fmla="*/ 239815 w 4125234"/>
                <a:gd name="connsiteY551" fmla="*/ 891051 h 3739403"/>
                <a:gd name="connsiteX552" fmla="*/ 246126 w 4125234"/>
                <a:gd name="connsiteY552" fmla="*/ 883075 h 3739403"/>
                <a:gd name="connsiteX553" fmla="*/ 250333 w 4125234"/>
                <a:gd name="connsiteY553" fmla="*/ 873104 h 3739403"/>
                <a:gd name="connsiteX554" fmla="*/ 258748 w 4125234"/>
                <a:gd name="connsiteY554" fmla="*/ 867121 h 3739403"/>
                <a:gd name="connsiteX555" fmla="*/ 267162 w 4125234"/>
                <a:gd name="connsiteY555" fmla="*/ 859144 h 3739403"/>
                <a:gd name="connsiteX556" fmla="*/ 273473 w 4125234"/>
                <a:gd name="connsiteY556" fmla="*/ 855156 h 3739403"/>
                <a:gd name="connsiteX557" fmla="*/ 283991 w 4125234"/>
                <a:gd name="connsiteY557" fmla="*/ 851167 h 3739403"/>
                <a:gd name="connsiteX558" fmla="*/ 294510 w 4125234"/>
                <a:gd name="connsiteY558" fmla="*/ 849173 h 3739403"/>
                <a:gd name="connsiteX559" fmla="*/ 313442 w 4125234"/>
                <a:gd name="connsiteY559" fmla="*/ 847179 h 3739403"/>
                <a:gd name="connsiteX560" fmla="*/ 336582 w 4125234"/>
                <a:gd name="connsiteY560" fmla="*/ 847179 h 3739403"/>
                <a:gd name="connsiteX561" fmla="*/ 338555 w 4125234"/>
                <a:gd name="connsiteY561" fmla="*/ 846556 h 3739403"/>
                <a:gd name="connsiteX562" fmla="*/ 336551 w 4125234"/>
                <a:gd name="connsiteY562" fmla="*/ 793575 h 3739403"/>
                <a:gd name="connsiteX563" fmla="*/ 336551 w 4125234"/>
                <a:gd name="connsiteY563" fmla="*/ 779533 h 3739403"/>
                <a:gd name="connsiteX564" fmla="*/ 334501 w 4125234"/>
                <a:gd name="connsiteY564" fmla="*/ 763516 h 3739403"/>
                <a:gd name="connsiteX565" fmla="*/ 328132 w 4125234"/>
                <a:gd name="connsiteY565" fmla="*/ 751481 h 3739403"/>
                <a:gd name="connsiteX566" fmla="*/ 323959 w 4125234"/>
                <a:gd name="connsiteY566" fmla="*/ 747469 h 3739403"/>
                <a:gd name="connsiteX567" fmla="*/ 323959 w 4125234"/>
                <a:gd name="connsiteY567" fmla="*/ 739475 h 3739403"/>
                <a:gd name="connsiteX568" fmla="*/ 326082 w 4125234"/>
                <a:gd name="connsiteY568" fmla="*/ 733458 h 3739403"/>
                <a:gd name="connsiteX569" fmla="*/ 328132 w 4125234"/>
                <a:gd name="connsiteY569" fmla="*/ 731452 h 3739403"/>
                <a:gd name="connsiteX570" fmla="*/ 334501 w 4125234"/>
                <a:gd name="connsiteY570" fmla="*/ 729446 h 3739403"/>
                <a:gd name="connsiteX571" fmla="*/ 342920 w 4125234"/>
                <a:gd name="connsiteY571" fmla="*/ 723428 h 3739403"/>
                <a:gd name="connsiteX572" fmla="*/ 347092 w 4125234"/>
                <a:gd name="connsiteY572" fmla="*/ 721422 h 3739403"/>
                <a:gd name="connsiteX573" fmla="*/ 349215 w 4125234"/>
                <a:gd name="connsiteY573" fmla="*/ 717410 h 3739403"/>
                <a:gd name="connsiteX574" fmla="*/ 353388 w 4125234"/>
                <a:gd name="connsiteY574" fmla="*/ 703399 h 3739403"/>
                <a:gd name="connsiteX575" fmla="*/ 353388 w 4125234"/>
                <a:gd name="connsiteY575" fmla="*/ 687351 h 3739403"/>
                <a:gd name="connsiteX576" fmla="*/ 359508 w 4125234"/>
                <a:gd name="connsiteY576" fmla="*/ 650756 h 3739403"/>
                <a:gd name="connsiteX577" fmla="*/ 349204 w 4125234"/>
                <a:gd name="connsiteY577" fmla="*/ 657300 h 3739403"/>
                <a:gd name="connsiteX578" fmla="*/ 302924 w 4125234"/>
                <a:gd name="connsiteY578" fmla="*/ 683352 h 3739403"/>
                <a:gd name="connsiteX579" fmla="*/ 294509 w 4125234"/>
                <a:gd name="connsiteY579" fmla="*/ 687360 h 3739403"/>
                <a:gd name="connsiteX580" fmla="*/ 292406 w 4125234"/>
                <a:gd name="connsiteY580" fmla="*/ 669324 h 3739403"/>
                <a:gd name="connsiteX581" fmla="*/ 273473 w 4125234"/>
                <a:gd name="connsiteY581" fmla="*/ 671328 h 3739403"/>
                <a:gd name="connsiteX582" fmla="*/ 273473 w 4125234"/>
                <a:gd name="connsiteY582" fmla="*/ 667320 h 3739403"/>
                <a:gd name="connsiteX583" fmla="*/ 271369 w 4125234"/>
                <a:gd name="connsiteY583" fmla="*/ 663312 h 3739403"/>
                <a:gd name="connsiteX584" fmla="*/ 265058 w 4125234"/>
                <a:gd name="connsiteY584" fmla="*/ 661308 h 3739403"/>
                <a:gd name="connsiteX585" fmla="*/ 260851 w 4125234"/>
                <a:gd name="connsiteY585" fmla="*/ 663312 h 3739403"/>
                <a:gd name="connsiteX586" fmla="*/ 260851 w 4125234"/>
                <a:gd name="connsiteY586" fmla="*/ 653292 h 3739403"/>
                <a:gd name="connsiteX587" fmla="*/ 260851 w 4125234"/>
                <a:gd name="connsiteY587" fmla="*/ 647281 h 3739403"/>
                <a:gd name="connsiteX588" fmla="*/ 254540 w 4125234"/>
                <a:gd name="connsiteY588" fmla="*/ 639265 h 3739403"/>
                <a:gd name="connsiteX589" fmla="*/ 248229 w 4125234"/>
                <a:gd name="connsiteY589" fmla="*/ 639265 h 3739403"/>
                <a:gd name="connsiteX590" fmla="*/ 248229 w 4125234"/>
                <a:gd name="connsiteY590" fmla="*/ 635257 h 3739403"/>
                <a:gd name="connsiteX591" fmla="*/ 241918 w 4125234"/>
                <a:gd name="connsiteY591" fmla="*/ 631249 h 3739403"/>
                <a:gd name="connsiteX592" fmla="*/ 239815 w 4125234"/>
                <a:gd name="connsiteY592" fmla="*/ 631249 h 3739403"/>
                <a:gd name="connsiteX593" fmla="*/ 239815 w 4125234"/>
                <a:gd name="connsiteY593" fmla="*/ 627241 h 3739403"/>
                <a:gd name="connsiteX594" fmla="*/ 233504 w 4125234"/>
                <a:gd name="connsiteY594" fmla="*/ 629245 h 3739403"/>
                <a:gd name="connsiteX595" fmla="*/ 233504 w 4125234"/>
                <a:gd name="connsiteY595" fmla="*/ 617221 h 3739403"/>
                <a:gd name="connsiteX596" fmla="*/ 220882 w 4125234"/>
                <a:gd name="connsiteY596" fmla="*/ 617221 h 3739403"/>
                <a:gd name="connsiteX597" fmla="*/ 220882 w 4125234"/>
                <a:gd name="connsiteY597" fmla="*/ 611209 h 3739403"/>
                <a:gd name="connsiteX598" fmla="*/ 218778 w 4125234"/>
                <a:gd name="connsiteY598" fmla="*/ 607201 h 3739403"/>
                <a:gd name="connsiteX599" fmla="*/ 216675 w 4125234"/>
                <a:gd name="connsiteY599" fmla="*/ 605197 h 3739403"/>
                <a:gd name="connsiteX600" fmla="*/ 208260 w 4125234"/>
                <a:gd name="connsiteY600" fmla="*/ 607201 h 3739403"/>
                <a:gd name="connsiteX601" fmla="*/ 210364 w 4125234"/>
                <a:gd name="connsiteY601" fmla="*/ 597181 h 3739403"/>
                <a:gd name="connsiteX602" fmla="*/ 208260 w 4125234"/>
                <a:gd name="connsiteY602" fmla="*/ 589166 h 3739403"/>
                <a:gd name="connsiteX603" fmla="*/ 201949 w 4125234"/>
                <a:gd name="connsiteY603" fmla="*/ 585158 h 3739403"/>
                <a:gd name="connsiteX604" fmla="*/ 191431 w 4125234"/>
                <a:gd name="connsiteY604" fmla="*/ 585158 h 3739403"/>
                <a:gd name="connsiteX605" fmla="*/ 189327 w 4125234"/>
                <a:gd name="connsiteY605" fmla="*/ 577142 h 3739403"/>
                <a:gd name="connsiteX606" fmla="*/ 187224 w 4125234"/>
                <a:gd name="connsiteY606" fmla="*/ 571130 h 3739403"/>
                <a:gd name="connsiteX607" fmla="*/ 170395 w 4125234"/>
                <a:gd name="connsiteY607" fmla="*/ 559106 h 3739403"/>
                <a:gd name="connsiteX608" fmla="*/ 157773 w 4125234"/>
                <a:gd name="connsiteY608" fmla="*/ 549086 h 3739403"/>
                <a:gd name="connsiteX609" fmla="*/ 145151 w 4125234"/>
                <a:gd name="connsiteY609" fmla="*/ 539066 h 3739403"/>
                <a:gd name="connsiteX610" fmla="*/ 143047 w 4125234"/>
                <a:gd name="connsiteY610" fmla="*/ 531051 h 3739403"/>
                <a:gd name="connsiteX611" fmla="*/ 136736 w 4125234"/>
                <a:gd name="connsiteY611" fmla="*/ 525039 h 3739403"/>
                <a:gd name="connsiteX612" fmla="*/ 128322 w 4125234"/>
                <a:gd name="connsiteY612" fmla="*/ 527043 h 3739403"/>
                <a:gd name="connsiteX613" fmla="*/ 122011 w 4125234"/>
                <a:gd name="connsiteY613" fmla="*/ 515019 h 3739403"/>
                <a:gd name="connsiteX614" fmla="*/ 115700 w 4125234"/>
                <a:gd name="connsiteY614" fmla="*/ 509007 h 3739403"/>
                <a:gd name="connsiteX615" fmla="*/ 105182 w 4125234"/>
                <a:gd name="connsiteY615" fmla="*/ 507003 h 3739403"/>
                <a:gd name="connsiteX616" fmla="*/ 105182 w 4125234"/>
                <a:gd name="connsiteY616" fmla="*/ 494979 h 3739403"/>
                <a:gd name="connsiteX617" fmla="*/ 100975 w 4125234"/>
                <a:gd name="connsiteY617" fmla="*/ 494979 h 3739403"/>
                <a:gd name="connsiteX618" fmla="*/ 100975 w 4125234"/>
                <a:gd name="connsiteY618" fmla="*/ 484959 h 3739403"/>
                <a:gd name="connsiteX619" fmla="*/ 96767 w 4125234"/>
                <a:gd name="connsiteY619" fmla="*/ 476944 h 3739403"/>
                <a:gd name="connsiteX620" fmla="*/ 90456 w 4125234"/>
                <a:gd name="connsiteY620" fmla="*/ 474940 h 3739403"/>
                <a:gd name="connsiteX621" fmla="*/ 79938 w 4125234"/>
                <a:gd name="connsiteY621" fmla="*/ 476944 h 3739403"/>
                <a:gd name="connsiteX622" fmla="*/ 82042 w 4125234"/>
                <a:gd name="connsiteY622" fmla="*/ 468928 h 3739403"/>
                <a:gd name="connsiteX623" fmla="*/ 69420 w 4125234"/>
                <a:gd name="connsiteY623" fmla="*/ 470932 h 3739403"/>
                <a:gd name="connsiteX624" fmla="*/ 65213 w 4125234"/>
                <a:gd name="connsiteY624" fmla="*/ 458908 h 3739403"/>
                <a:gd name="connsiteX625" fmla="*/ 63109 w 4125234"/>
                <a:gd name="connsiteY625" fmla="*/ 448888 h 3739403"/>
                <a:gd name="connsiteX626" fmla="*/ 58902 w 4125234"/>
                <a:gd name="connsiteY626" fmla="*/ 444880 h 3739403"/>
                <a:gd name="connsiteX627" fmla="*/ 54694 w 4125234"/>
                <a:gd name="connsiteY627" fmla="*/ 438868 h 3739403"/>
                <a:gd name="connsiteX628" fmla="*/ 58902 w 4125234"/>
                <a:gd name="connsiteY628" fmla="*/ 432856 h 3739403"/>
                <a:gd name="connsiteX629" fmla="*/ 63109 w 4125234"/>
                <a:gd name="connsiteY629" fmla="*/ 432856 h 3739403"/>
                <a:gd name="connsiteX630" fmla="*/ 65213 w 4125234"/>
                <a:gd name="connsiteY630" fmla="*/ 432856 h 3739403"/>
                <a:gd name="connsiteX631" fmla="*/ 69420 w 4125234"/>
                <a:gd name="connsiteY631" fmla="*/ 426844 h 3739403"/>
                <a:gd name="connsiteX632" fmla="*/ 65213 w 4125234"/>
                <a:gd name="connsiteY632" fmla="*/ 422836 h 3739403"/>
                <a:gd name="connsiteX633" fmla="*/ 63109 w 4125234"/>
                <a:gd name="connsiteY633" fmla="*/ 418829 h 3739403"/>
                <a:gd name="connsiteX634" fmla="*/ 63109 w 4125234"/>
                <a:gd name="connsiteY634" fmla="*/ 402797 h 3739403"/>
                <a:gd name="connsiteX635" fmla="*/ 63109 w 4125234"/>
                <a:gd name="connsiteY635" fmla="*/ 386765 h 3739403"/>
                <a:gd name="connsiteX636" fmla="*/ 61005 w 4125234"/>
                <a:gd name="connsiteY636" fmla="*/ 374741 h 3739403"/>
                <a:gd name="connsiteX637" fmla="*/ 63109 w 4125234"/>
                <a:gd name="connsiteY637" fmla="*/ 358710 h 3739403"/>
                <a:gd name="connsiteX638" fmla="*/ 54694 w 4125234"/>
                <a:gd name="connsiteY638" fmla="*/ 358710 h 3739403"/>
                <a:gd name="connsiteX639" fmla="*/ 58902 w 4125234"/>
                <a:gd name="connsiteY639" fmla="*/ 352698 h 3739403"/>
                <a:gd name="connsiteX640" fmla="*/ 58902 w 4125234"/>
                <a:gd name="connsiteY640" fmla="*/ 344682 h 3739403"/>
                <a:gd name="connsiteX641" fmla="*/ 65213 w 4125234"/>
                <a:gd name="connsiteY641" fmla="*/ 334662 h 3739403"/>
                <a:gd name="connsiteX642" fmla="*/ 71524 w 4125234"/>
                <a:gd name="connsiteY642" fmla="*/ 328650 h 3739403"/>
                <a:gd name="connsiteX643" fmla="*/ 79938 w 4125234"/>
                <a:gd name="connsiteY643" fmla="*/ 324642 h 3739403"/>
                <a:gd name="connsiteX644" fmla="*/ 84145 w 4125234"/>
                <a:gd name="connsiteY644" fmla="*/ 318630 h 3739403"/>
                <a:gd name="connsiteX645" fmla="*/ 86249 w 4125234"/>
                <a:gd name="connsiteY645" fmla="*/ 314622 h 3739403"/>
                <a:gd name="connsiteX646" fmla="*/ 84145 w 4125234"/>
                <a:gd name="connsiteY646" fmla="*/ 306606 h 3739403"/>
                <a:gd name="connsiteX647" fmla="*/ 92560 w 4125234"/>
                <a:gd name="connsiteY647" fmla="*/ 306606 h 3739403"/>
                <a:gd name="connsiteX648" fmla="*/ 90456 w 4125234"/>
                <a:gd name="connsiteY648" fmla="*/ 296587 h 3739403"/>
                <a:gd name="connsiteX649" fmla="*/ 84145 w 4125234"/>
                <a:gd name="connsiteY649" fmla="*/ 288571 h 3739403"/>
                <a:gd name="connsiteX650" fmla="*/ 75731 w 4125234"/>
                <a:gd name="connsiteY650" fmla="*/ 288571 h 3739403"/>
                <a:gd name="connsiteX651" fmla="*/ 79938 w 4125234"/>
                <a:gd name="connsiteY651" fmla="*/ 278551 h 3739403"/>
                <a:gd name="connsiteX652" fmla="*/ 69420 w 4125234"/>
                <a:gd name="connsiteY652" fmla="*/ 281414 h 3739403"/>
                <a:gd name="connsiteX653" fmla="*/ 69420 w 4125234"/>
                <a:gd name="connsiteY653" fmla="*/ 266527 h 3739403"/>
                <a:gd name="connsiteX654" fmla="*/ 69420 w 4125234"/>
                <a:gd name="connsiteY654" fmla="*/ 252499 h 3739403"/>
                <a:gd name="connsiteX655" fmla="*/ 69420 w 4125234"/>
                <a:gd name="connsiteY655" fmla="*/ 244484 h 3739403"/>
                <a:gd name="connsiteX656" fmla="*/ 65213 w 4125234"/>
                <a:gd name="connsiteY656" fmla="*/ 238472 h 3739403"/>
                <a:gd name="connsiteX657" fmla="*/ 61005 w 4125234"/>
                <a:gd name="connsiteY657" fmla="*/ 234464 h 3739403"/>
                <a:gd name="connsiteX658" fmla="*/ 52591 w 4125234"/>
                <a:gd name="connsiteY658" fmla="*/ 234464 h 3739403"/>
                <a:gd name="connsiteX659" fmla="*/ 48384 w 4125234"/>
                <a:gd name="connsiteY659" fmla="*/ 226448 h 3739403"/>
                <a:gd name="connsiteX660" fmla="*/ 48384 w 4125234"/>
                <a:gd name="connsiteY660" fmla="*/ 220436 h 3739403"/>
                <a:gd name="connsiteX661" fmla="*/ 52591 w 4125234"/>
                <a:gd name="connsiteY661" fmla="*/ 212420 h 3739403"/>
                <a:gd name="connsiteX662" fmla="*/ 58902 w 4125234"/>
                <a:gd name="connsiteY662" fmla="*/ 210416 h 3739403"/>
                <a:gd name="connsiteX663" fmla="*/ 73627 w 4125234"/>
                <a:gd name="connsiteY663" fmla="*/ 202400 h 3739403"/>
                <a:gd name="connsiteX664" fmla="*/ 86249 w 4125234"/>
                <a:gd name="connsiteY664" fmla="*/ 194384 h 3739403"/>
                <a:gd name="connsiteX665" fmla="*/ 96767 w 4125234"/>
                <a:gd name="connsiteY665" fmla="*/ 182361 h 3739403"/>
                <a:gd name="connsiteX666" fmla="*/ 105182 w 4125234"/>
                <a:gd name="connsiteY666" fmla="*/ 172341 h 3739403"/>
                <a:gd name="connsiteX667" fmla="*/ 105182 w 4125234"/>
                <a:gd name="connsiteY667" fmla="*/ 160317 h 3739403"/>
                <a:gd name="connsiteX668" fmla="*/ 103078 w 4125234"/>
                <a:gd name="connsiteY668" fmla="*/ 142281 h 3739403"/>
                <a:gd name="connsiteX669" fmla="*/ 100975 w 4125234"/>
                <a:gd name="connsiteY669" fmla="*/ 134266 h 3739403"/>
                <a:gd name="connsiteX670" fmla="*/ 94664 w 4125234"/>
                <a:gd name="connsiteY670" fmla="*/ 126250 h 3739403"/>
                <a:gd name="connsiteX671" fmla="*/ 94664 w 4125234"/>
                <a:gd name="connsiteY671" fmla="*/ 124246 h 3739403"/>
                <a:gd name="connsiteX672" fmla="*/ 96767 w 4125234"/>
                <a:gd name="connsiteY672" fmla="*/ 124246 h 3739403"/>
                <a:gd name="connsiteX673" fmla="*/ 111493 w 4125234"/>
                <a:gd name="connsiteY673" fmla="*/ 124246 h 3739403"/>
                <a:gd name="connsiteX674" fmla="*/ 107285 w 4125234"/>
                <a:gd name="connsiteY674" fmla="*/ 112222 h 3739403"/>
                <a:gd name="connsiteX675" fmla="*/ 103078 w 4125234"/>
                <a:gd name="connsiteY675" fmla="*/ 102202 h 3739403"/>
                <a:gd name="connsiteX676" fmla="*/ 92560 w 4125234"/>
                <a:gd name="connsiteY676" fmla="*/ 96190 h 3739403"/>
                <a:gd name="connsiteX677" fmla="*/ 82042 w 4125234"/>
                <a:gd name="connsiteY677" fmla="*/ 92182 h 3739403"/>
                <a:gd name="connsiteX678" fmla="*/ 58902 w 4125234"/>
                <a:gd name="connsiteY678" fmla="*/ 86170 h 3739403"/>
                <a:gd name="connsiteX679" fmla="*/ 44176 w 4125234"/>
                <a:gd name="connsiteY679" fmla="*/ 82162 h 3739403"/>
                <a:gd name="connsiteX680" fmla="*/ 37865 w 4125234"/>
                <a:gd name="connsiteY680" fmla="*/ 76151 h 3739403"/>
                <a:gd name="connsiteX681" fmla="*/ 27347 w 4125234"/>
                <a:gd name="connsiteY681" fmla="*/ 66131 h 3739403"/>
                <a:gd name="connsiteX682" fmla="*/ 21036 w 4125234"/>
                <a:gd name="connsiteY682" fmla="*/ 54107 h 3739403"/>
                <a:gd name="connsiteX683" fmla="*/ 18933 w 4125234"/>
                <a:gd name="connsiteY683" fmla="*/ 30059 h 3739403"/>
                <a:gd name="connsiteX684" fmla="*/ 16829 w 4125234"/>
                <a:gd name="connsiteY684" fmla="*/ 22043 h 3739403"/>
                <a:gd name="connsiteX685" fmla="*/ 8414 w 4125234"/>
                <a:gd name="connsiteY685" fmla="*/ 14028 h 3739403"/>
                <a:gd name="connsiteX686" fmla="*/ 2104 w 4125234"/>
                <a:gd name="connsiteY686" fmla="*/ 8016 h 3739403"/>
                <a:gd name="connsiteX687" fmla="*/ 0 w 4125234"/>
                <a:gd name="connsiteY687" fmla="*/ 0 h 3739403"/>
                <a:gd name="connsiteX0" fmla="*/ 820418 w 4125234"/>
                <a:gd name="connsiteY0" fmla="*/ 2184328 h 3739403"/>
                <a:gd name="connsiteX1" fmla="*/ 820420 w 4125234"/>
                <a:gd name="connsiteY1" fmla="*/ 2184321 h 3739403"/>
                <a:gd name="connsiteX2" fmla="*/ 820418 w 4125234"/>
                <a:gd name="connsiteY2" fmla="*/ 2184328 h 3739403"/>
                <a:gd name="connsiteX3" fmla="*/ 1133193 w 4125234"/>
                <a:gd name="connsiteY3" fmla="*/ 1222419 h 3739403"/>
                <a:gd name="connsiteX4" fmla="*/ 1137390 w 4125234"/>
                <a:gd name="connsiteY4" fmla="*/ 1224444 h 3739403"/>
                <a:gd name="connsiteX5" fmla="*/ 1244665 w 4125234"/>
                <a:gd name="connsiteY5" fmla="*/ 1312603 h 3739403"/>
                <a:gd name="connsiteX6" fmla="*/ 1354075 w 4125234"/>
                <a:gd name="connsiteY6" fmla="*/ 1396759 h 3739403"/>
                <a:gd name="connsiteX7" fmla="*/ 1349569 w 4125234"/>
                <a:gd name="connsiteY7" fmla="*/ 1401766 h 3739403"/>
                <a:gd name="connsiteX8" fmla="*/ 1371561 w 4125234"/>
                <a:gd name="connsiteY8" fmla="*/ 1414763 h 3739403"/>
                <a:gd name="connsiteX9" fmla="*/ 1562977 w 4125234"/>
                <a:gd name="connsiteY9" fmla="*/ 1565059 h 3739403"/>
                <a:gd name="connsiteX10" fmla="*/ 1584034 w 4125234"/>
                <a:gd name="connsiteY10" fmla="*/ 1581155 h 3739403"/>
                <a:gd name="connsiteX11" fmla="*/ 1834435 w 4125234"/>
                <a:gd name="connsiteY11" fmla="*/ 1783561 h 3739403"/>
                <a:gd name="connsiteX12" fmla="*/ 1975365 w 4125234"/>
                <a:gd name="connsiteY12" fmla="*/ 1899753 h 3739403"/>
                <a:gd name="connsiteX13" fmla="*/ 2231981 w 4125234"/>
                <a:gd name="connsiteY13" fmla="*/ 2114231 h 3739403"/>
                <a:gd name="connsiteX14" fmla="*/ 2278281 w 4125234"/>
                <a:gd name="connsiteY14" fmla="*/ 2152258 h 3739403"/>
                <a:gd name="connsiteX15" fmla="*/ 2322425 w 4125234"/>
                <a:gd name="connsiteY15" fmla="*/ 2188373 h 3739403"/>
                <a:gd name="connsiteX16" fmla="*/ 2406526 w 4125234"/>
                <a:gd name="connsiteY16" fmla="*/ 2258491 h 3739403"/>
                <a:gd name="connsiteX17" fmla="*/ 2427583 w 4125234"/>
                <a:gd name="connsiteY17" fmla="*/ 2276498 h 3739403"/>
                <a:gd name="connsiteX18" fmla="*/ 2534898 w 4125234"/>
                <a:gd name="connsiteY18" fmla="*/ 2368648 h 3739403"/>
                <a:gd name="connsiteX19" fmla="*/ 2547456 w 4125234"/>
                <a:gd name="connsiteY19" fmla="*/ 2378708 h 3739403"/>
                <a:gd name="connsiteX20" fmla="*/ 2574855 w 4125234"/>
                <a:gd name="connsiteY20" fmla="*/ 2400739 h 3739403"/>
                <a:gd name="connsiteX21" fmla="*/ 2574640 w 4125234"/>
                <a:gd name="connsiteY21" fmla="*/ 2400739 h 3739403"/>
                <a:gd name="connsiteX22" fmla="*/ 2574864 w 4125234"/>
                <a:gd name="connsiteY22" fmla="*/ 2400772 h 3739403"/>
                <a:gd name="connsiteX23" fmla="*/ 2608534 w 4125234"/>
                <a:gd name="connsiteY23" fmla="*/ 2424867 h 3739403"/>
                <a:gd name="connsiteX24" fmla="*/ 2639989 w 4125234"/>
                <a:gd name="connsiteY24" fmla="*/ 2448829 h 3739403"/>
                <a:gd name="connsiteX25" fmla="*/ 2701127 w 4125234"/>
                <a:gd name="connsiteY25" fmla="*/ 2498894 h 3739403"/>
                <a:gd name="connsiteX26" fmla="*/ 2757834 w 4125234"/>
                <a:gd name="connsiteY26" fmla="*/ 2554982 h 3739403"/>
                <a:gd name="connsiteX27" fmla="*/ 2818971 w 4125234"/>
                <a:gd name="connsiteY27" fmla="*/ 2603173 h 3739403"/>
                <a:gd name="connsiteX28" fmla="*/ 3033396 w 4125234"/>
                <a:gd name="connsiteY28" fmla="*/ 2789511 h 3739403"/>
                <a:gd name="connsiteX29" fmla="*/ 3262662 w 4125234"/>
                <a:gd name="connsiteY29" fmla="*/ 2977856 h 3739403"/>
                <a:gd name="connsiteX30" fmla="*/ 3487941 w 4125234"/>
                <a:gd name="connsiteY30" fmla="*/ 3174233 h 3739403"/>
                <a:gd name="connsiteX31" fmla="*/ 3576103 w 4125234"/>
                <a:gd name="connsiteY31" fmla="*/ 3248393 h 3739403"/>
                <a:gd name="connsiteX32" fmla="*/ 3855874 w 4125234"/>
                <a:gd name="connsiteY32" fmla="*/ 3490819 h 3739403"/>
                <a:gd name="connsiteX33" fmla="*/ 3992769 w 4125234"/>
                <a:gd name="connsiteY33" fmla="*/ 3613170 h 3739403"/>
                <a:gd name="connsiteX34" fmla="*/ 4125234 w 4125234"/>
                <a:gd name="connsiteY34" fmla="*/ 3739403 h 3739403"/>
                <a:gd name="connsiteX35" fmla="*/ 3771921 w 4125234"/>
                <a:gd name="connsiteY35" fmla="*/ 3735387 h 3739403"/>
                <a:gd name="connsiteX36" fmla="*/ 3416392 w 4125234"/>
                <a:gd name="connsiteY36" fmla="*/ 3735387 h 3739403"/>
                <a:gd name="connsiteX37" fmla="*/ 3062857 w 4125234"/>
                <a:gd name="connsiteY37" fmla="*/ 3735387 h 3739403"/>
                <a:gd name="connsiteX38" fmla="*/ 2707329 w 4125234"/>
                <a:gd name="connsiteY38" fmla="*/ 3733379 h 3739403"/>
                <a:gd name="connsiteX39" fmla="*/ 2579073 w 4125234"/>
                <a:gd name="connsiteY39" fmla="*/ 3733379 h 3739403"/>
                <a:gd name="connsiteX40" fmla="*/ 2452810 w 4125234"/>
                <a:gd name="connsiteY40" fmla="*/ 3735387 h 3739403"/>
                <a:gd name="connsiteX41" fmla="*/ 2457019 w 4125234"/>
                <a:gd name="connsiteY41" fmla="*/ 3711292 h 3739403"/>
                <a:gd name="connsiteX42" fmla="*/ 2457019 w 4125234"/>
                <a:gd name="connsiteY42" fmla="*/ 3699244 h 3739403"/>
                <a:gd name="connsiteX43" fmla="*/ 2459234 w 4125234"/>
                <a:gd name="connsiteY43" fmla="*/ 3689338 h 3739403"/>
                <a:gd name="connsiteX44" fmla="*/ 2461228 w 4125234"/>
                <a:gd name="connsiteY44" fmla="*/ 3683314 h 3739403"/>
                <a:gd name="connsiteX45" fmla="*/ 2467652 w 4125234"/>
                <a:gd name="connsiteY45" fmla="*/ 3681307 h 3739403"/>
                <a:gd name="connsiteX46" fmla="*/ 2471860 w 4125234"/>
                <a:gd name="connsiteY46" fmla="*/ 3675283 h 3739403"/>
                <a:gd name="connsiteX47" fmla="*/ 2478063 w 4125234"/>
                <a:gd name="connsiteY47" fmla="*/ 3671267 h 3739403"/>
                <a:gd name="connsiteX48" fmla="*/ 2478063 w 4125234"/>
                <a:gd name="connsiteY48" fmla="*/ 3661227 h 3739403"/>
                <a:gd name="connsiteX49" fmla="*/ 2473854 w 4125234"/>
                <a:gd name="connsiteY49" fmla="*/ 3651187 h 3739403"/>
                <a:gd name="connsiteX50" fmla="*/ 2463443 w 4125234"/>
                <a:gd name="connsiteY50" fmla="*/ 3625084 h 3739403"/>
                <a:gd name="connsiteX51" fmla="*/ 2452810 w 4125234"/>
                <a:gd name="connsiteY51" fmla="*/ 3603130 h 3739403"/>
                <a:gd name="connsiteX52" fmla="*/ 2450817 w 4125234"/>
                <a:gd name="connsiteY52" fmla="*/ 3597107 h 3739403"/>
                <a:gd name="connsiteX53" fmla="*/ 2452810 w 4125234"/>
                <a:gd name="connsiteY53" fmla="*/ 3593091 h 3739403"/>
                <a:gd name="connsiteX54" fmla="*/ 2435975 w 4125234"/>
                <a:gd name="connsiteY54" fmla="*/ 3547042 h 3739403"/>
                <a:gd name="connsiteX55" fmla="*/ 2421355 w 4125234"/>
                <a:gd name="connsiteY55" fmla="*/ 3511033 h 3739403"/>
                <a:gd name="connsiteX56" fmla="*/ 2417147 w 4125234"/>
                <a:gd name="connsiteY56" fmla="*/ 3488811 h 3739403"/>
                <a:gd name="connsiteX57" fmla="*/ 2417147 w 4125234"/>
                <a:gd name="connsiteY57" fmla="*/ 3476898 h 3739403"/>
                <a:gd name="connsiteX58" fmla="*/ 2419140 w 4125234"/>
                <a:gd name="connsiteY58" fmla="*/ 3458826 h 3739403"/>
                <a:gd name="connsiteX59" fmla="*/ 2419140 w 4125234"/>
                <a:gd name="connsiteY59" fmla="*/ 3446778 h 3739403"/>
                <a:gd name="connsiteX60" fmla="*/ 2419140 w 4125234"/>
                <a:gd name="connsiteY60" fmla="*/ 3438747 h 3739403"/>
                <a:gd name="connsiteX61" fmla="*/ 2417147 w 4125234"/>
                <a:gd name="connsiteY61" fmla="*/ 3432723 h 3739403"/>
                <a:gd name="connsiteX62" fmla="*/ 2408729 w 4125234"/>
                <a:gd name="connsiteY62" fmla="*/ 3422817 h 3739403"/>
                <a:gd name="connsiteX63" fmla="*/ 2398097 w 4125234"/>
                <a:gd name="connsiteY63" fmla="*/ 3416793 h 3739403"/>
                <a:gd name="connsiteX64" fmla="*/ 2393888 w 4125234"/>
                <a:gd name="connsiteY64" fmla="*/ 3408761 h 3739403"/>
                <a:gd name="connsiteX65" fmla="*/ 2387685 w 4125234"/>
                <a:gd name="connsiteY65" fmla="*/ 3398722 h 3739403"/>
                <a:gd name="connsiteX66" fmla="*/ 2377053 w 4125234"/>
                <a:gd name="connsiteY66" fmla="*/ 3370744 h 3739403"/>
                <a:gd name="connsiteX67" fmla="*/ 2372844 w 4125234"/>
                <a:gd name="connsiteY67" fmla="*/ 3356555 h 3739403"/>
                <a:gd name="connsiteX68" fmla="*/ 2372844 w 4125234"/>
                <a:gd name="connsiteY68" fmla="*/ 3344641 h 3739403"/>
                <a:gd name="connsiteX69" fmla="*/ 2372844 w 4125234"/>
                <a:gd name="connsiteY69" fmla="*/ 3334601 h 3739403"/>
                <a:gd name="connsiteX70" fmla="*/ 2379268 w 4125234"/>
                <a:gd name="connsiteY70" fmla="*/ 3320679 h 3739403"/>
                <a:gd name="connsiteX71" fmla="*/ 2385470 w 4125234"/>
                <a:gd name="connsiteY71" fmla="*/ 3308498 h 3739403"/>
                <a:gd name="connsiteX72" fmla="*/ 2385470 w 4125234"/>
                <a:gd name="connsiteY72" fmla="*/ 3298458 h 3739403"/>
                <a:gd name="connsiteX73" fmla="*/ 2383477 w 4125234"/>
                <a:gd name="connsiteY73" fmla="*/ 3290560 h 3739403"/>
                <a:gd name="connsiteX74" fmla="*/ 2377053 w 4125234"/>
                <a:gd name="connsiteY74" fmla="*/ 3284536 h 3739403"/>
                <a:gd name="connsiteX75" fmla="*/ 2364427 w 4125234"/>
                <a:gd name="connsiteY75" fmla="*/ 3270347 h 3739403"/>
                <a:gd name="connsiteX76" fmla="*/ 2358224 w 4125234"/>
                <a:gd name="connsiteY76" fmla="*/ 3266465 h 3739403"/>
                <a:gd name="connsiteX77" fmla="*/ 2354016 w 4125234"/>
                <a:gd name="connsiteY77" fmla="*/ 3264457 h 3739403"/>
                <a:gd name="connsiteX78" fmla="*/ 2351800 w 4125234"/>
                <a:gd name="connsiteY78" fmla="*/ 3258433 h 3739403"/>
                <a:gd name="connsiteX79" fmla="*/ 2354016 w 4125234"/>
                <a:gd name="connsiteY79" fmla="*/ 3256425 h 3739403"/>
                <a:gd name="connsiteX80" fmla="*/ 2358224 w 4125234"/>
                <a:gd name="connsiteY80" fmla="*/ 3254417 h 3739403"/>
                <a:gd name="connsiteX81" fmla="*/ 2362433 w 4125234"/>
                <a:gd name="connsiteY81" fmla="*/ 3250401 h 3739403"/>
                <a:gd name="connsiteX82" fmla="*/ 2364427 w 4125234"/>
                <a:gd name="connsiteY82" fmla="*/ 3250401 h 3739403"/>
                <a:gd name="connsiteX83" fmla="*/ 2362433 w 4125234"/>
                <a:gd name="connsiteY83" fmla="*/ 3240495 h 3739403"/>
                <a:gd name="connsiteX84" fmla="*/ 2356009 w 4125234"/>
                <a:gd name="connsiteY84" fmla="*/ 3236479 h 3739403"/>
                <a:gd name="connsiteX85" fmla="*/ 2351800 w 4125234"/>
                <a:gd name="connsiteY85" fmla="*/ 3234472 h 3739403"/>
                <a:gd name="connsiteX86" fmla="*/ 2345598 w 4125234"/>
                <a:gd name="connsiteY86" fmla="*/ 3230456 h 3739403"/>
                <a:gd name="connsiteX87" fmla="*/ 2332972 w 4125234"/>
                <a:gd name="connsiteY87" fmla="*/ 3230456 h 3739403"/>
                <a:gd name="connsiteX88" fmla="*/ 2326548 w 4125234"/>
                <a:gd name="connsiteY88" fmla="*/ 3230456 h 3739403"/>
                <a:gd name="connsiteX89" fmla="*/ 2320346 w 4125234"/>
                <a:gd name="connsiteY89" fmla="*/ 3226440 h 3739403"/>
                <a:gd name="connsiteX90" fmla="*/ 2311928 w 4125234"/>
                <a:gd name="connsiteY90" fmla="*/ 3218274 h 3739403"/>
                <a:gd name="connsiteX91" fmla="*/ 2303511 w 4125234"/>
                <a:gd name="connsiteY91" fmla="*/ 3208368 h 3739403"/>
                <a:gd name="connsiteX92" fmla="*/ 2295093 w 4125234"/>
                <a:gd name="connsiteY92" fmla="*/ 3188423 h 3739403"/>
                <a:gd name="connsiteX93" fmla="*/ 2292878 w 4125234"/>
                <a:gd name="connsiteY93" fmla="*/ 3176241 h 3739403"/>
                <a:gd name="connsiteX94" fmla="*/ 2292878 w 4125234"/>
                <a:gd name="connsiteY94" fmla="*/ 3166201 h 3739403"/>
                <a:gd name="connsiteX95" fmla="*/ 2290884 w 4125234"/>
                <a:gd name="connsiteY95" fmla="*/ 3156295 h 3739403"/>
                <a:gd name="connsiteX96" fmla="*/ 2284460 w 4125234"/>
                <a:gd name="connsiteY96" fmla="*/ 3144248 h 3739403"/>
                <a:gd name="connsiteX97" fmla="*/ 2278258 w 4125234"/>
                <a:gd name="connsiteY97" fmla="*/ 3138224 h 3739403"/>
                <a:gd name="connsiteX98" fmla="*/ 2269841 w 4125234"/>
                <a:gd name="connsiteY98" fmla="*/ 3132200 h 3739403"/>
                <a:gd name="connsiteX99" fmla="*/ 2263417 w 4125234"/>
                <a:gd name="connsiteY99" fmla="*/ 3126176 h 3739403"/>
                <a:gd name="connsiteX100" fmla="*/ 2259208 w 4125234"/>
                <a:gd name="connsiteY100" fmla="*/ 3116137 h 3739403"/>
                <a:gd name="connsiteX101" fmla="*/ 2259208 w 4125234"/>
                <a:gd name="connsiteY101" fmla="*/ 3114129 h 3739403"/>
                <a:gd name="connsiteX102" fmla="*/ 2259208 w 4125234"/>
                <a:gd name="connsiteY102" fmla="*/ 3112121 h 3739403"/>
                <a:gd name="connsiteX103" fmla="*/ 2263417 w 4125234"/>
                <a:gd name="connsiteY103" fmla="*/ 3104223 h 3739403"/>
                <a:gd name="connsiteX104" fmla="*/ 2267625 w 4125234"/>
                <a:gd name="connsiteY104" fmla="*/ 3098199 h 3739403"/>
                <a:gd name="connsiteX105" fmla="*/ 2267625 w 4125234"/>
                <a:gd name="connsiteY105" fmla="*/ 3096191 h 3739403"/>
                <a:gd name="connsiteX106" fmla="*/ 2267625 w 4125234"/>
                <a:gd name="connsiteY106" fmla="*/ 3094183 h 3739403"/>
                <a:gd name="connsiteX107" fmla="*/ 2246582 w 4125234"/>
                <a:gd name="connsiteY107" fmla="*/ 3066072 h 3739403"/>
                <a:gd name="connsiteX108" fmla="*/ 2236171 w 4125234"/>
                <a:gd name="connsiteY108" fmla="*/ 3054158 h 3739403"/>
                <a:gd name="connsiteX109" fmla="*/ 2227753 w 4125234"/>
                <a:gd name="connsiteY109" fmla="*/ 3037960 h 3739403"/>
                <a:gd name="connsiteX110" fmla="*/ 2225759 w 4125234"/>
                <a:gd name="connsiteY110" fmla="*/ 3035953 h 3739403"/>
                <a:gd name="connsiteX111" fmla="*/ 2219336 w 4125234"/>
                <a:gd name="connsiteY111" fmla="*/ 3033945 h 3739403"/>
                <a:gd name="connsiteX112" fmla="*/ 2215127 w 4125234"/>
                <a:gd name="connsiteY112" fmla="*/ 3027921 h 3739403"/>
                <a:gd name="connsiteX113" fmla="*/ 2215127 w 4125234"/>
                <a:gd name="connsiteY113" fmla="*/ 3026047 h 3739403"/>
                <a:gd name="connsiteX114" fmla="*/ 2215127 w 4125234"/>
                <a:gd name="connsiteY114" fmla="*/ 3022031 h 3739403"/>
                <a:gd name="connsiteX115" fmla="*/ 2219336 w 4125234"/>
                <a:gd name="connsiteY115" fmla="*/ 3018015 h 3739403"/>
                <a:gd name="connsiteX116" fmla="*/ 2227753 w 4125234"/>
                <a:gd name="connsiteY116" fmla="*/ 3016007 h 3739403"/>
                <a:gd name="connsiteX117" fmla="*/ 2229747 w 4125234"/>
                <a:gd name="connsiteY117" fmla="*/ 3011991 h 3739403"/>
                <a:gd name="connsiteX118" fmla="*/ 2229747 w 4125234"/>
                <a:gd name="connsiteY118" fmla="*/ 3001817 h 3739403"/>
                <a:gd name="connsiteX119" fmla="*/ 2229747 w 4125234"/>
                <a:gd name="connsiteY119" fmla="*/ 2993919 h 3739403"/>
                <a:gd name="connsiteX120" fmla="*/ 2225759 w 4125234"/>
                <a:gd name="connsiteY120" fmla="*/ 2985888 h 3739403"/>
                <a:gd name="connsiteX121" fmla="*/ 2215127 w 4125234"/>
                <a:gd name="connsiteY121" fmla="*/ 2977856 h 3739403"/>
                <a:gd name="connsiteX122" fmla="*/ 2208924 w 4125234"/>
                <a:gd name="connsiteY122" fmla="*/ 2973974 h 3739403"/>
                <a:gd name="connsiteX123" fmla="*/ 2204716 w 4125234"/>
                <a:gd name="connsiteY123" fmla="*/ 2963934 h 3739403"/>
                <a:gd name="connsiteX124" fmla="*/ 2196298 w 4125234"/>
                <a:gd name="connsiteY124" fmla="*/ 2941847 h 3739403"/>
                <a:gd name="connsiteX125" fmla="*/ 2192089 w 4125234"/>
                <a:gd name="connsiteY125" fmla="*/ 2919893 h 3739403"/>
                <a:gd name="connsiteX126" fmla="*/ 2192089 w 4125234"/>
                <a:gd name="connsiteY126" fmla="*/ 2909720 h 3739403"/>
                <a:gd name="connsiteX127" fmla="*/ 2192089 w 4125234"/>
                <a:gd name="connsiteY127" fmla="*/ 2901688 h 3739403"/>
                <a:gd name="connsiteX128" fmla="*/ 2198292 w 4125234"/>
                <a:gd name="connsiteY128" fmla="*/ 2899680 h 3739403"/>
                <a:gd name="connsiteX129" fmla="*/ 2204716 w 4125234"/>
                <a:gd name="connsiteY129" fmla="*/ 2893656 h 3739403"/>
                <a:gd name="connsiteX130" fmla="*/ 2208924 w 4125234"/>
                <a:gd name="connsiteY130" fmla="*/ 2889774 h 3739403"/>
                <a:gd name="connsiteX131" fmla="*/ 2208924 w 4125234"/>
                <a:gd name="connsiteY131" fmla="*/ 2885758 h 3739403"/>
                <a:gd name="connsiteX132" fmla="*/ 2206709 w 4125234"/>
                <a:gd name="connsiteY132" fmla="*/ 2879734 h 3739403"/>
                <a:gd name="connsiteX133" fmla="*/ 2204716 w 4125234"/>
                <a:gd name="connsiteY133" fmla="*/ 2869695 h 3739403"/>
                <a:gd name="connsiteX134" fmla="*/ 2196298 w 4125234"/>
                <a:gd name="connsiteY134" fmla="*/ 2845599 h 3739403"/>
                <a:gd name="connsiteX135" fmla="*/ 2187881 w 4125234"/>
                <a:gd name="connsiteY135" fmla="*/ 2821504 h 3739403"/>
                <a:gd name="connsiteX136" fmla="*/ 2181457 w 4125234"/>
                <a:gd name="connsiteY136" fmla="*/ 2795534 h 3739403"/>
                <a:gd name="connsiteX137" fmla="*/ 2171046 w 4125234"/>
                <a:gd name="connsiteY137" fmla="*/ 2763407 h 3739403"/>
                <a:gd name="connsiteX138" fmla="*/ 2164622 w 4125234"/>
                <a:gd name="connsiteY138" fmla="*/ 2749485 h 3739403"/>
                <a:gd name="connsiteX139" fmla="*/ 2156204 w 4125234"/>
                <a:gd name="connsiteY139" fmla="*/ 2737438 h 3739403"/>
                <a:gd name="connsiteX140" fmla="*/ 2145793 w 4125234"/>
                <a:gd name="connsiteY140" fmla="*/ 2723382 h 3739403"/>
                <a:gd name="connsiteX141" fmla="*/ 2139369 w 4125234"/>
                <a:gd name="connsiteY141" fmla="*/ 2719366 h 3739403"/>
                <a:gd name="connsiteX142" fmla="*/ 2109908 w 4125234"/>
                <a:gd name="connsiteY142" fmla="*/ 2707319 h 3739403"/>
                <a:gd name="connsiteX143" fmla="*/ 2082662 w 4125234"/>
                <a:gd name="connsiteY143" fmla="*/ 2689247 h 3739403"/>
                <a:gd name="connsiteX144" fmla="*/ 2055194 w 4125234"/>
                <a:gd name="connsiteY144" fmla="*/ 2677333 h 3739403"/>
                <a:gd name="connsiteX145" fmla="*/ 2025733 w 4125234"/>
                <a:gd name="connsiteY145" fmla="*/ 2663278 h 3739403"/>
                <a:gd name="connsiteX146" fmla="*/ 2008898 w 4125234"/>
                <a:gd name="connsiteY146" fmla="*/ 2659262 h 3739403"/>
                <a:gd name="connsiteX147" fmla="*/ 2004689 w 4125234"/>
                <a:gd name="connsiteY147" fmla="*/ 2657254 h 3739403"/>
                <a:gd name="connsiteX148" fmla="*/ 2002696 w 4125234"/>
                <a:gd name="connsiteY148" fmla="*/ 2649356 h 3739403"/>
                <a:gd name="connsiteX149" fmla="*/ 1998487 w 4125234"/>
                <a:gd name="connsiteY149" fmla="*/ 2633158 h 3739403"/>
                <a:gd name="connsiteX150" fmla="*/ 1994278 w 4125234"/>
                <a:gd name="connsiteY150" fmla="*/ 2619237 h 3739403"/>
                <a:gd name="connsiteX151" fmla="*/ 1987854 w 4125234"/>
                <a:gd name="connsiteY151" fmla="*/ 2601031 h 3739403"/>
                <a:gd name="connsiteX152" fmla="*/ 1985861 w 4125234"/>
                <a:gd name="connsiteY152" fmla="*/ 2597149 h 3739403"/>
                <a:gd name="connsiteX153" fmla="*/ 1983645 w 4125234"/>
                <a:gd name="connsiteY153" fmla="*/ 2593133 h 3739403"/>
                <a:gd name="connsiteX154" fmla="*/ 1981652 w 4125234"/>
                <a:gd name="connsiteY154" fmla="*/ 2589117 h 3739403"/>
                <a:gd name="connsiteX155" fmla="*/ 1981652 w 4125234"/>
                <a:gd name="connsiteY155" fmla="*/ 2581086 h 3739403"/>
                <a:gd name="connsiteX156" fmla="*/ 1983645 w 4125234"/>
                <a:gd name="connsiteY156" fmla="*/ 2579078 h 3739403"/>
                <a:gd name="connsiteX157" fmla="*/ 1985861 w 4125234"/>
                <a:gd name="connsiteY157" fmla="*/ 2579078 h 3739403"/>
                <a:gd name="connsiteX158" fmla="*/ 1992063 w 4125234"/>
                <a:gd name="connsiteY158" fmla="*/ 2577070 h 3739403"/>
                <a:gd name="connsiteX159" fmla="*/ 1992063 w 4125234"/>
                <a:gd name="connsiteY159" fmla="*/ 2573054 h 3739403"/>
                <a:gd name="connsiteX160" fmla="*/ 1992063 w 4125234"/>
                <a:gd name="connsiteY160" fmla="*/ 2563148 h 3739403"/>
                <a:gd name="connsiteX161" fmla="*/ 1983645 w 4125234"/>
                <a:gd name="connsiteY161" fmla="*/ 2548959 h 3739403"/>
                <a:gd name="connsiteX162" fmla="*/ 1971019 w 4125234"/>
                <a:gd name="connsiteY162" fmla="*/ 2529013 h 3739403"/>
                <a:gd name="connsiteX163" fmla="*/ 1960608 w 4125234"/>
                <a:gd name="connsiteY163" fmla="*/ 2520981 h 3739403"/>
                <a:gd name="connsiteX164" fmla="*/ 1952191 w 4125234"/>
                <a:gd name="connsiteY164" fmla="*/ 2518973 h 3739403"/>
                <a:gd name="connsiteX165" fmla="*/ 1941558 w 4125234"/>
                <a:gd name="connsiteY165" fmla="*/ 2517099 h 3739403"/>
                <a:gd name="connsiteX166" fmla="*/ 1928932 w 4125234"/>
                <a:gd name="connsiteY166" fmla="*/ 2510941 h 3739403"/>
                <a:gd name="connsiteX167" fmla="*/ 1920514 w 4125234"/>
                <a:gd name="connsiteY167" fmla="*/ 2504918 h 3739403"/>
                <a:gd name="connsiteX168" fmla="*/ 1918521 w 4125234"/>
                <a:gd name="connsiteY168" fmla="*/ 2500902 h 3739403"/>
                <a:gd name="connsiteX169" fmla="*/ 1918521 w 4125234"/>
                <a:gd name="connsiteY169" fmla="*/ 2498894 h 3739403"/>
                <a:gd name="connsiteX170" fmla="*/ 1920514 w 4125234"/>
                <a:gd name="connsiteY170" fmla="*/ 2494878 h 3739403"/>
                <a:gd name="connsiteX171" fmla="*/ 1920514 w 4125234"/>
                <a:gd name="connsiteY171" fmla="*/ 2484972 h 3739403"/>
                <a:gd name="connsiteX172" fmla="*/ 1910103 w 4125234"/>
                <a:gd name="connsiteY172" fmla="*/ 2460877 h 3739403"/>
                <a:gd name="connsiteX173" fmla="*/ 1910103 w 4125234"/>
                <a:gd name="connsiteY173" fmla="*/ 2454853 h 3739403"/>
                <a:gd name="connsiteX174" fmla="*/ 1910103 w 4125234"/>
                <a:gd name="connsiteY174" fmla="*/ 2440797 h 3739403"/>
                <a:gd name="connsiteX175" fmla="*/ 1914312 w 4125234"/>
                <a:gd name="connsiteY175" fmla="*/ 2430891 h 3739403"/>
                <a:gd name="connsiteX176" fmla="*/ 1920514 w 4125234"/>
                <a:gd name="connsiteY176" fmla="*/ 2424867 h 3739403"/>
                <a:gd name="connsiteX177" fmla="*/ 1922729 w 4125234"/>
                <a:gd name="connsiteY177" fmla="*/ 2418710 h 3739403"/>
                <a:gd name="connsiteX178" fmla="*/ 1922729 w 4125234"/>
                <a:gd name="connsiteY178" fmla="*/ 2416702 h 3739403"/>
                <a:gd name="connsiteX179" fmla="*/ 1920514 w 4125234"/>
                <a:gd name="connsiteY179" fmla="*/ 2410678 h 3739403"/>
                <a:gd name="connsiteX180" fmla="*/ 1914312 w 4125234"/>
                <a:gd name="connsiteY180" fmla="*/ 2404788 h 3739403"/>
                <a:gd name="connsiteX181" fmla="*/ 1914497 w 4125234"/>
                <a:gd name="connsiteY181" fmla="*/ 2404741 h 3739403"/>
                <a:gd name="connsiteX182" fmla="*/ 1914350 w 4125234"/>
                <a:gd name="connsiteY182" fmla="*/ 2404763 h 3739403"/>
                <a:gd name="connsiteX183" fmla="*/ 1901665 w 4125234"/>
                <a:gd name="connsiteY183" fmla="*/ 2394703 h 3739403"/>
                <a:gd name="connsiteX184" fmla="*/ 1891137 w 4125234"/>
                <a:gd name="connsiteY184" fmla="*/ 2390780 h 3739403"/>
                <a:gd name="connsiteX185" fmla="*/ 1880608 w 4125234"/>
                <a:gd name="connsiteY185" fmla="*/ 2390780 h 3739403"/>
                <a:gd name="connsiteX186" fmla="*/ 1865894 w 4125234"/>
                <a:gd name="connsiteY186" fmla="*/ 2388768 h 3739403"/>
                <a:gd name="connsiteX187" fmla="*/ 1859678 w 4125234"/>
                <a:gd name="connsiteY187" fmla="*/ 2384744 h 3739403"/>
                <a:gd name="connsiteX188" fmla="*/ 1853335 w 4125234"/>
                <a:gd name="connsiteY188" fmla="*/ 2376696 h 3739403"/>
                <a:gd name="connsiteX189" fmla="*/ 1838621 w 4125234"/>
                <a:gd name="connsiteY189" fmla="*/ 2364725 h 3739403"/>
                <a:gd name="connsiteX190" fmla="*/ 1828092 w 4125234"/>
                <a:gd name="connsiteY190" fmla="*/ 2354665 h 3739403"/>
                <a:gd name="connsiteX191" fmla="*/ 1817564 w 4125234"/>
                <a:gd name="connsiteY191" fmla="*/ 2346617 h 3739403"/>
                <a:gd name="connsiteX192" fmla="*/ 1794351 w 4125234"/>
                <a:gd name="connsiteY192" fmla="*/ 2332633 h 3739403"/>
                <a:gd name="connsiteX193" fmla="*/ 1769107 w 4125234"/>
                <a:gd name="connsiteY193" fmla="*/ 2322573 h 3739403"/>
                <a:gd name="connsiteX194" fmla="*/ 1743864 w 4125234"/>
                <a:gd name="connsiteY194" fmla="*/ 2306578 h 3739403"/>
                <a:gd name="connsiteX195" fmla="*/ 1737649 w 4125234"/>
                <a:gd name="connsiteY195" fmla="*/ 2294506 h 3739403"/>
                <a:gd name="connsiteX196" fmla="*/ 1731306 w 4125234"/>
                <a:gd name="connsiteY196" fmla="*/ 2282534 h 3739403"/>
                <a:gd name="connsiteX197" fmla="*/ 1720778 w 4125234"/>
                <a:gd name="connsiteY197" fmla="*/ 2254467 h 3739403"/>
                <a:gd name="connsiteX198" fmla="*/ 1708093 w 4125234"/>
                <a:gd name="connsiteY198" fmla="*/ 2226400 h 3739403"/>
                <a:gd name="connsiteX199" fmla="*/ 1699721 w 4125234"/>
                <a:gd name="connsiteY199" fmla="*/ 2214429 h 3739403"/>
                <a:gd name="connsiteX200" fmla="*/ 1691349 w 4125234"/>
                <a:gd name="connsiteY200" fmla="*/ 2202357 h 3739403"/>
                <a:gd name="connsiteX201" fmla="*/ 1678664 w 4125234"/>
                <a:gd name="connsiteY201" fmla="*/ 2188373 h 3739403"/>
                <a:gd name="connsiteX202" fmla="*/ 1659763 w 4125234"/>
                <a:gd name="connsiteY202" fmla="*/ 2182337 h 3739403"/>
                <a:gd name="connsiteX203" fmla="*/ 1642892 w 4125234"/>
                <a:gd name="connsiteY203" fmla="*/ 2178313 h 3739403"/>
                <a:gd name="connsiteX204" fmla="*/ 1623992 w 4125234"/>
                <a:gd name="connsiteY204" fmla="*/ 2182337 h 3739403"/>
                <a:gd name="connsiteX205" fmla="*/ 1617649 w 4125234"/>
                <a:gd name="connsiteY205" fmla="*/ 2184349 h 3739403"/>
                <a:gd name="connsiteX206" fmla="*/ 1611434 w 4125234"/>
                <a:gd name="connsiteY206" fmla="*/ 2188373 h 3739403"/>
                <a:gd name="connsiteX207" fmla="*/ 1605091 w 4125234"/>
                <a:gd name="connsiteY207" fmla="*/ 2194309 h 3739403"/>
                <a:gd name="connsiteX208" fmla="*/ 1596719 w 4125234"/>
                <a:gd name="connsiteY208" fmla="*/ 2196321 h 3739403"/>
                <a:gd name="connsiteX209" fmla="*/ 1592406 w 4125234"/>
                <a:gd name="connsiteY209" fmla="*/ 2194309 h 3739403"/>
                <a:gd name="connsiteX210" fmla="*/ 1584034 w 4125234"/>
                <a:gd name="connsiteY210" fmla="*/ 2188373 h 3739403"/>
                <a:gd name="connsiteX211" fmla="*/ 1571476 w 4125234"/>
                <a:gd name="connsiteY211" fmla="*/ 2184349 h 3739403"/>
                <a:gd name="connsiteX212" fmla="*/ 1571353 w 4125234"/>
                <a:gd name="connsiteY212" fmla="*/ 2182289 h 3739403"/>
                <a:gd name="connsiteX213" fmla="*/ 1567208 w 4125234"/>
                <a:gd name="connsiteY213" fmla="*/ 2180314 h 3739403"/>
                <a:gd name="connsiteX214" fmla="*/ 1558794 w 4125234"/>
                <a:gd name="connsiteY214" fmla="*/ 2180314 h 3739403"/>
                <a:gd name="connsiteX215" fmla="*/ 1550379 w 4125234"/>
                <a:gd name="connsiteY215" fmla="*/ 2172298 h 3739403"/>
                <a:gd name="connsiteX216" fmla="*/ 1546172 w 4125234"/>
                <a:gd name="connsiteY216" fmla="*/ 2162279 h 3739403"/>
                <a:gd name="connsiteX217" fmla="*/ 1541965 w 4125234"/>
                <a:gd name="connsiteY217" fmla="*/ 2150255 h 3739403"/>
                <a:gd name="connsiteX218" fmla="*/ 1541957 w 4125234"/>
                <a:gd name="connsiteY218" fmla="*/ 2150237 h 3739403"/>
                <a:gd name="connsiteX219" fmla="*/ 1405199 w 4125234"/>
                <a:gd name="connsiteY219" fmla="*/ 2272510 h 3739403"/>
                <a:gd name="connsiteX220" fmla="*/ 1384200 w 4125234"/>
                <a:gd name="connsiteY220" fmla="*/ 2292557 h 3739403"/>
                <a:gd name="connsiteX221" fmla="*/ 1369462 w 4125234"/>
                <a:gd name="connsiteY221" fmla="*/ 2306550 h 3739403"/>
                <a:gd name="connsiteX222" fmla="*/ 1363124 w 4125234"/>
                <a:gd name="connsiteY222" fmla="*/ 2314603 h 3739403"/>
                <a:gd name="connsiteX223" fmla="*/ 1358924 w 4125234"/>
                <a:gd name="connsiteY223" fmla="*/ 2324597 h 3739403"/>
                <a:gd name="connsiteX224" fmla="*/ 1356862 w 4125234"/>
                <a:gd name="connsiteY224" fmla="*/ 2334649 h 3739403"/>
                <a:gd name="connsiteX225" fmla="*/ 1352662 w 4125234"/>
                <a:gd name="connsiteY225" fmla="*/ 2348642 h 3739403"/>
                <a:gd name="connsiteX226" fmla="*/ 1352662 w 4125234"/>
                <a:gd name="connsiteY226" fmla="*/ 2368689 h 3739403"/>
                <a:gd name="connsiteX227" fmla="*/ 1350524 w 4125234"/>
                <a:gd name="connsiteY227" fmla="*/ 2372687 h 3739403"/>
                <a:gd name="connsiteX228" fmla="*/ 1348462 w 4125234"/>
                <a:gd name="connsiteY228" fmla="*/ 2374686 h 3739403"/>
                <a:gd name="connsiteX229" fmla="*/ 1337924 w 4125234"/>
                <a:gd name="connsiteY229" fmla="*/ 2374686 h 3739403"/>
                <a:gd name="connsiteX230" fmla="*/ 1329524 w 4125234"/>
                <a:gd name="connsiteY230" fmla="*/ 2376685 h 3739403"/>
                <a:gd name="connsiteX231" fmla="*/ 1327386 w 4125234"/>
                <a:gd name="connsiteY231" fmla="*/ 2378684 h 3739403"/>
                <a:gd name="connsiteX232" fmla="*/ 1325325 w 4125234"/>
                <a:gd name="connsiteY232" fmla="*/ 2384738 h 3739403"/>
                <a:gd name="connsiteX233" fmla="*/ 1325325 w 4125234"/>
                <a:gd name="connsiteY233" fmla="*/ 2386737 h 3739403"/>
                <a:gd name="connsiteX234" fmla="*/ 1325325 w 4125234"/>
                <a:gd name="connsiteY234" fmla="*/ 2392734 h 3739403"/>
                <a:gd name="connsiteX235" fmla="*/ 1321048 w 4125234"/>
                <a:gd name="connsiteY235" fmla="*/ 2394733 h 3739403"/>
                <a:gd name="connsiteX236" fmla="*/ 1318987 w 4125234"/>
                <a:gd name="connsiteY236" fmla="*/ 2398731 h 3739403"/>
                <a:gd name="connsiteX237" fmla="*/ 1310587 w 4125234"/>
                <a:gd name="connsiteY237" fmla="*/ 2398731 h 3739403"/>
                <a:gd name="connsiteX238" fmla="*/ 1306387 w 4125234"/>
                <a:gd name="connsiteY238" fmla="*/ 2402786 h 3739403"/>
                <a:gd name="connsiteX239" fmla="*/ 1304249 w 4125234"/>
                <a:gd name="connsiteY239" fmla="*/ 2404785 h 3739403"/>
                <a:gd name="connsiteX240" fmla="*/ 1300049 w 4125234"/>
                <a:gd name="connsiteY240" fmla="*/ 2414779 h 3739403"/>
                <a:gd name="connsiteX241" fmla="*/ 1300049 w 4125234"/>
                <a:gd name="connsiteY241" fmla="*/ 2434826 h 3739403"/>
                <a:gd name="connsiteX242" fmla="*/ 1297911 w 4125234"/>
                <a:gd name="connsiteY242" fmla="*/ 2436825 h 3739403"/>
                <a:gd name="connsiteX243" fmla="*/ 1293711 w 4125234"/>
                <a:gd name="connsiteY243" fmla="*/ 2436825 h 3739403"/>
                <a:gd name="connsiteX244" fmla="*/ 1276911 w 4125234"/>
                <a:gd name="connsiteY244" fmla="*/ 2438824 h 3739403"/>
                <a:gd name="connsiteX245" fmla="*/ 1245373 w 4125234"/>
                <a:gd name="connsiteY245" fmla="*/ 2436825 h 3739403"/>
                <a:gd name="connsiteX246" fmla="*/ 1243235 w 4125234"/>
                <a:gd name="connsiteY246" fmla="*/ 2436825 h 3739403"/>
                <a:gd name="connsiteX247" fmla="*/ 1239035 w 4125234"/>
                <a:gd name="connsiteY247" fmla="*/ 2438824 h 3739403"/>
                <a:gd name="connsiteX248" fmla="*/ 1228497 w 4125234"/>
                <a:gd name="connsiteY248" fmla="*/ 2442822 h 3739403"/>
                <a:gd name="connsiteX249" fmla="*/ 1211698 w 4125234"/>
                <a:gd name="connsiteY249" fmla="*/ 2452874 h 3739403"/>
                <a:gd name="connsiteX250" fmla="*/ 1182222 w 4125234"/>
                <a:gd name="connsiteY250" fmla="*/ 2478917 h 3739403"/>
                <a:gd name="connsiteX251" fmla="*/ 1106547 w 4125234"/>
                <a:gd name="connsiteY251" fmla="*/ 2553050 h 3739403"/>
                <a:gd name="connsiteX252" fmla="*/ 1028658 w 4125234"/>
                <a:gd name="connsiteY252" fmla="*/ 2619187 h 3739403"/>
                <a:gd name="connsiteX253" fmla="*/ 1018120 w 4125234"/>
                <a:gd name="connsiteY253" fmla="*/ 2611191 h 3739403"/>
                <a:gd name="connsiteX254" fmla="*/ 1009720 w 4125234"/>
                <a:gd name="connsiteY254" fmla="*/ 2605137 h 3739403"/>
                <a:gd name="connsiteX255" fmla="*/ 1001320 w 4125234"/>
                <a:gd name="connsiteY255" fmla="*/ 2597142 h 3739403"/>
                <a:gd name="connsiteX256" fmla="*/ 990782 w 4125234"/>
                <a:gd name="connsiteY256" fmla="*/ 2591145 h 3739403"/>
                <a:gd name="connsiteX257" fmla="*/ 978183 w 4125234"/>
                <a:gd name="connsiteY257" fmla="*/ 2589146 h 3739403"/>
                <a:gd name="connsiteX258" fmla="*/ 965583 w 4125234"/>
                <a:gd name="connsiteY258" fmla="*/ 2587147 h 3739403"/>
                <a:gd name="connsiteX259" fmla="*/ 955045 w 4125234"/>
                <a:gd name="connsiteY259" fmla="*/ 2587147 h 3739403"/>
                <a:gd name="connsiteX260" fmla="*/ 944507 w 4125234"/>
                <a:gd name="connsiteY260" fmla="*/ 2581093 h 3739403"/>
                <a:gd name="connsiteX261" fmla="*/ 936107 w 4125234"/>
                <a:gd name="connsiteY261" fmla="*/ 2575096 h 3739403"/>
                <a:gd name="connsiteX262" fmla="*/ 927707 w 4125234"/>
                <a:gd name="connsiteY262" fmla="*/ 2565101 h 3739403"/>
                <a:gd name="connsiteX263" fmla="*/ 919307 w 4125234"/>
                <a:gd name="connsiteY263" fmla="*/ 2543055 h 3739403"/>
                <a:gd name="connsiteX264" fmla="*/ 912969 w 4125234"/>
                <a:gd name="connsiteY264" fmla="*/ 2517012 h 3739403"/>
                <a:gd name="connsiteX265" fmla="*/ 904569 w 4125234"/>
                <a:gd name="connsiteY265" fmla="*/ 2506960 h 3739403"/>
                <a:gd name="connsiteX266" fmla="*/ 900370 w 4125234"/>
                <a:gd name="connsiteY266" fmla="*/ 2496965 h 3739403"/>
                <a:gd name="connsiteX267" fmla="*/ 889832 w 4125234"/>
                <a:gd name="connsiteY267" fmla="*/ 2484914 h 3739403"/>
                <a:gd name="connsiteX268" fmla="*/ 881432 w 4125234"/>
                <a:gd name="connsiteY268" fmla="*/ 2472921 h 3739403"/>
                <a:gd name="connsiteX269" fmla="*/ 873032 w 4125234"/>
                <a:gd name="connsiteY269" fmla="*/ 2444821 h 3739403"/>
                <a:gd name="connsiteX270" fmla="*/ 864556 w 4125234"/>
                <a:gd name="connsiteY270" fmla="*/ 2416778 h 3739403"/>
                <a:gd name="connsiteX271" fmla="*/ 860356 w 4125234"/>
                <a:gd name="connsiteY271" fmla="*/ 2404785 h 3739403"/>
                <a:gd name="connsiteX272" fmla="*/ 851956 w 4125234"/>
                <a:gd name="connsiteY272" fmla="*/ 2394733 h 3739403"/>
                <a:gd name="connsiteX273" fmla="*/ 833018 w 4125234"/>
                <a:gd name="connsiteY273" fmla="*/ 2362692 h 3739403"/>
                <a:gd name="connsiteX274" fmla="*/ 816219 w 4125234"/>
                <a:gd name="connsiteY274" fmla="*/ 2332593 h 3739403"/>
                <a:gd name="connsiteX275" fmla="*/ 778343 w 4125234"/>
                <a:gd name="connsiteY275" fmla="*/ 2266513 h 3739403"/>
                <a:gd name="connsiteX276" fmla="*/ 778343 w 4125234"/>
                <a:gd name="connsiteY276" fmla="*/ 2256461 h 3739403"/>
                <a:gd name="connsiteX277" fmla="*/ 769931 w 4125234"/>
                <a:gd name="connsiteY277" fmla="*/ 2246445 h 3739403"/>
                <a:gd name="connsiteX278" fmla="*/ 763620 w 4125234"/>
                <a:gd name="connsiteY278" fmla="*/ 2236425 h 3739403"/>
                <a:gd name="connsiteX279" fmla="*/ 742584 w 4125234"/>
                <a:gd name="connsiteY279" fmla="*/ 2216386 h 3739403"/>
                <a:gd name="connsiteX280" fmla="*/ 717340 w 4125234"/>
                <a:gd name="connsiteY280" fmla="*/ 2202358 h 3739403"/>
                <a:gd name="connsiteX281" fmla="*/ 696304 w 4125234"/>
                <a:gd name="connsiteY281" fmla="*/ 2186326 h 3739403"/>
                <a:gd name="connsiteX282" fmla="*/ 601153 w 4125234"/>
                <a:gd name="connsiteY282" fmla="*/ 2103565 h 3739403"/>
                <a:gd name="connsiteX283" fmla="*/ 599509 w 4125234"/>
                <a:gd name="connsiteY283" fmla="*/ 2106168 h 3739403"/>
                <a:gd name="connsiteX284" fmla="*/ 403907 w 4125234"/>
                <a:gd name="connsiteY284" fmla="*/ 1903747 h 3739403"/>
                <a:gd name="connsiteX285" fmla="*/ 395498 w 4125234"/>
                <a:gd name="connsiteY285" fmla="*/ 1891766 h 3739403"/>
                <a:gd name="connsiteX286" fmla="*/ 389208 w 4125234"/>
                <a:gd name="connsiteY286" fmla="*/ 1879730 h 3739403"/>
                <a:gd name="connsiteX287" fmla="*/ 376560 w 4125234"/>
                <a:gd name="connsiteY287" fmla="*/ 1849641 h 3739403"/>
                <a:gd name="connsiteX288" fmla="*/ 357622 w 4125234"/>
                <a:gd name="connsiteY288" fmla="*/ 1789516 h 3739403"/>
                <a:gd name="connsiteX289" fmla="*/ 358481 w 4125234"/>
                <a:gd name="connsiteY289" fmla="*/ 1785698 h 3739403"/>
                <a:gd name="connsiteX290" fmla="*/ 357619 w 4125234"/>
                <a:gd name="connsiteY290" fmla="*/ 1785534 h 3739403"/>
                <a:gd name="connsiteX291" fmla="*/ 344997 w 4125234"/>
                <a:gd name="connsiteY291" fmla="*/ 1751466 h 3739403"/>
                <a:gd name="connsiteX292" fmla="*/ 340790 w 4125234"/>
                <a:gd name="connsiteY292" fmla="*/ 1737439 h 3739403"/>
                <a:gd name="connsiteX293" fmla="*/ 334479 w 4125234"/>
                <a:gd name="connsiteY293" fmla="*/ 1721407 h 3739403"/>
                <a:gd name="connsiteX294" fmla="*/ 336583 w 4125234"/>
                <a:gd name="connsiteY294" fmla="*/ 1639244 h 3739403"/>
                <a:gd name="connsiteX295" fmla="*/ 336583 w 4125234"/>
                <a:gd name="connsiteY295" fmla="*/ 1597161 h 3739403"/>
                <a:gd name="connsiteX296" fmla="*/ 334479 w 4125234"/>
                <a:gd name="connsiteY296" fmla="*/ 1557082 h 3739403"/>
                <a:gd name="connsiteX297" fmla="*/ 342893 w 4125234"/>
                <a:gd name="connsiteY297" fmla="*/ 1553074 h 3739403"/>
                <a:gd name="connsiteX298" fmla="*/ 347101 w 4125234"/>
                <a:gd name="connsiteY298" fmla="*/ 1549066 h 3739403"/>
                <a:gd name="connsiteX299" fmla="*/ 363930 w 4125234"/>
                <a:gd name="connsiteY299" fmla="*/ 1547062 h 3739403"/>
                <a:gd name="connsiteX300" fmla="*/ 378655 w 4125234"/>
                <a:gd name="connsiteY300" fmla="*/ 1547062 h 3739403"/>
                <a:gd name="connsiteX301" fmla="*/ 395484 w 4125234"/>
                <a:gd name="connsiteY301" fmla="*/ 1547062 h 3739403"/>
                <a:gd name="connsiteX302" fmla="*/ 424935 w 4125234"/>
                <a:gd name="connsiteY302" fmla="*/ 1543054 h 3739403"/>
                <a:gd name="connsiteX303" fmla="*/ 439661 w 4125234"/>
                <a:gd name="connsiteY303" fmla="*/ 1535038 h 3739403"/>
                <a:gd name="connsiteX304" fmla="*/ 456490 w 4125234"/>
                <a:gd name="connsiteY304" fmla="*/ 1527022 h 3739403"/>
                <a:gd name="connsiteX305" fmla="*/ 469112 w 4125234"/>
                <a:gd name="connsiteY305" fmla="*/ 1523015 h 3739403"/>
                <a:gd name="connsiteX306" fmla="*/ 479630 w 4125234"/>
                <a:gd name="connsiteY306" fmla="*/ 1519007 h 3739403"/>
                <a:gd name="connsiteX307" fmla="*/ 490148 w 4125234"/>
                <a:gd name="connsiteY307" fmla="*/ 1517003 h 3739403"/>
                <a:gd name="connsiteX308" fmla="*/ 502770 w 4125234"/>
                <a:gd name="connsiteY308" fmla="*/ 1517003 h 3739403"/>
                <a:gd name="connsiteX309" fmla="*/ 525910 w 4125234"/>
                <a:gd name="connsiteY309" fmla="*/ 1523015 h 3739403"/>
                <a:gd name="connsiteX310" fmla="*/ 551154 w 4125234"/>
                <a:gd name="connsiteY310" fmla="*/ 1533034 h 3739403"/>
                <a:gd name="connsiteX311" fmla="*/ 576397 w 4125234"/>
                <a:gd name="connsiteY311" fmla="*/ 1543054 h 3739403"/>
                <a:gd name="connsiteX312" fmla="*/ 601641 w 4125234"/>
                <a:gd name="connsiteY312" fmla="*/ 1549066 h 3739403"/>
                <a:gd name="connsiteX313" fmla="*/ 628988 w 4125234"/>
                <a:gd name="connsiteY313" fmla="*/ 1557082 h 3739403"/>
                <a:gd name="connsiteX314" fmla="*/ 639506 w 4125234"/>
                <a:gd name="connsiteY314" fmla="*/ 1557082 h 3739403"/>
                <a:gd name="connsiteX315" fmla="*/ 652128 w 4125234"/>
                <a:gd name="connsiteY315" fmla="*/ 1557082 h 3739403"/>
                <a:gd name="connsiteX316" fmla="*/ 681579 w 4125234"/>
                <a:gd name="connsiteY316" fmla="*/ 1553074 h 3739403"/>
                <a:gd name="connsiteX317" fmla="*/ 713134 w 4125234"/>
                <a:gd name="connsiteY317" fmla="*/ 1549066 h 3739403"/>
                <a:gd name="connsiteX318" fmla="*/ 738377 w 4125234"/>
                <a:gd name="connsiteY318" fmla="*/ 1545058 h 3739403"/>
                <a:gd name="connsiteX319" fmla="*/ 755207 w 4125234"/>
                <a:gd name="connsiteY319" fmla="*/ 1543054 h 3739403"/>
                <a:gd name="connsiteX320" fmla="*/ 765725 w 4125234"/>
                <a:gd name="connsiteY320" fmla="*/ 1537042 h 3739403"/>
                <a:gd name="connsiteX321" fmla="*/ 776243 w 4125234"/>
                <a:gd name="connsiteY321" fmla="*/ 1533034 h 3739403"/>
                <a:gd name="connsiteX322" fmla="*/ 786761 w 4125234"/>
                <a:gd name="connsiteY322" fmla="*/ 1529026 h 3739403"/>
                <a:gd name="connsiteX323" fmla="*/ 809901 w 4125234"/>
                <a:gd name="connsiteY323" fmla="*/ 1529026 h 3739403"/>
                <a:gd name="connsiteX324" fmla="*/ 833041 w 4125234"/>
                <a:gd name="connsiteY324" fmla="*/ 1527022 h 3739403"/>
                <a:gd name="connsiteX325" fmla="*/ 847767 w 4125234"/>
                <a:gd name="connsiteY325" fmla="*/ 1523015 h 3739403"/>
                <a:gd name="connsiteX326" fmla="*/ 858285 w 4125234"/>
                <a:gd name="connsiteY326" fmla="*/ 1517003 h 3739403"/>
                <a:gd name="connsiteX327" fmla="*/ 894047 w 4125234"/>
                <a:gd name="connsiteY327" fmla="*/ 1486943 h 3739403"/>
                <a:gd name="connsiteX328" fmla="*/ 912979 w 4125234"/>
                <a:gd name="connsiteY328" fmla="*/ 1472915 h 3739403"/>
                <a:gd name="connsiteX329" fmla="*/ 934016 w 4125234"/>
                <a:gd name="connsiteY329" fmla="*/ 1456884 h 3739403"/>
                <a:gd name="connsiteX330" fmla="*/ 944534 w 4125234"/>
                <a:gd name="connsiteY330" fmla="*/ 1450872 h 3739403"/>
                <a:gd name="connsiteX331" fmla="*/ 950845 w 4125234"/>
                <a:gd name="connsiteY331" fmla="*/ 1440852 h 3739403"/>
                <a:gd name="connsiteX332" fmla="*/ 965570 w 4125234"/>
                <a:gd name="connsiteY332" fmla="*/ 1424820 h 3739403"/>
                <a:gd name="connsiteX333" fmla="*/ 969778 w 4125234"/>
                <a:gd name="connsiteY333" fmla="*/ 1416804 h 3739403"/>
                <a:gd name="connsiteX334" fmla="*/ 978192 w 4125234"/>
                <a:gd name="connsiteY334" fmla="*/ 1410793 h 3739403"/>
                <a:gd name="connsiteX335" fmla="*/ 990814 w 4125234"/>
                <a:gd name="connsiteY335" fmla="*/ 1404781 h 3739403"/>
                <a:gd name="connsiteX336" fmla="*/ 1003436 w 4125234"/>
                <a:gd name="connsiteY336" fmla="*/ 1402777 h 3739403"/>
                <a:gd name="connsiteX337" fmla="*/ 1003436 w 4125234"/>
                <a:gd name="connsiteY337" fmla="*/ 1408422 h 3739403"/>
                <a:gd name="connsiteX338" fmla="*/ 1006960 w 4125234"/>
                <a:gd name="connsiteY338" fmla="*/ 1402786 h 3739403"/>
                <a:gd name="connsiteX339" fmla="*/ 1038509 w 4125234"/>
                <a:gd name="connsiteY339" fmla="*/ 1376744 h 3739403"/>
                <a:gd name="connsiteX340" fmla="*/ 1070058 w 4125234"/>
                <a:gd name="connsiteY340" fmla="*/ 1352679 h 3739403"/>
                <a:gd name="connsiteX341" fmla="*/ 1099509 w 4125234"/>
                <a:gd name="connsiteY341" fmla="*/ 1326636 h 3739403"/>
                <a:gd name="connsiteX342" fmla="*/ 1112136 w 4125234"/>
                <a:gd name="connsiteY342" fmla="*/ 1312603 h 3739403"/>
                <a:gd name="connsiteX343" fmla="*/ 1122665 w 4125234"/>
                <a:gd name="connsiteY343" fmla="*/ 1296544 h 3739403"/>
                <a:gd name="connsiteX344" fmla="*/ 1128960 w 4125234"/>
                <a:gd name="connsiteY344" fmla="*/ 1290563 h 3739403"/>
                <a:gd name="connsiteX345" fmla="*/ 1137390 w 4125234"/>
                <a:gd name="connsiteY345" fmla="*/ 1280532 h 3739403"/>
                <a:gd name="connsiteX346" fmla="*/ 1141587 w 4125234"/>
                <a:gd name="connsiteY346" fmla="*/ 1270501 h 3739403"/>
                <a:gd name="connsiteX347" fmla="*/ 1143685 w 4125234"/>
                <a:gd name="connsiteY347" fmla="*/ 1264520 h 3739403"/>
                <a:gd name="connsiteX348" fmla="*/ 1143685 w 4125234"/>
                <a:gd name="connsiteY348" fmla="*/ 1260517 h 3739403"/>
                <a:gd name="connsiteX349" fmla="*/ 1141587 w 4125234"/>
                <a:gd name="connsiteY349" fmla="*/ 1260517 h 3739403"/>
                <a:gd name="connsiteX350" fmla="*/ 1139489 w 4125234"/>
                <a:gd name="connsiteY350" fmla="*/ 1250486 h 3739403"/>
                <a:gd name="connsiteX351" fmla="*/ 1133193 w 4125234"/>
                <a:gd name="connsiteY351" fmla="*/ 1240456 h 3739403"/>
                <a:gd name="connsiteX352" fmla="*/ 1131095 w 4125234"/>
                <a:gd name="connsiteY352" fmla="*/ 1230425 h 3739403"/>
                <a:gd name="connsiteX353" fmla="*/ 1131095 w 4125234"/>
                <a:gd name="connsiteY353" fmla="*/ 1224444 h 3739403"/>
                <a:gd name="connsiteX354" fmla="*/ 1133193 w 4125234"/>
                <a:gd name="connsiteY354" fmla="*/ 1222419 h 3739403"/>
                <a:gd name="connsiteX355" fmla="*/ 69420 w 4125234"/>
                <a:gd name="connsiteY355" fmla="*/ 281414 h 3739403"/>
                <a:gd name="connsiteX356" fmla="*/ 69420 w 4125234"/>
                <a:gd name="connsiteY356" fmla="*/ 282559 h 3739403"/>
                <a:gd name="connsiteX357" fmla="*/ 65213 w 4125234"/>
                <a:gd name="connsiteY357" fmla="*/ 282559 h 3739403"/>
                <a:gd name="connsiteX358" fmla="*/ 69420 w 4125234"/>
                <a:gd name="connsiteY358" fmla="*/ 281414 h 3739403"/>
                <a:gd name="connsiteX359" fmla="*/ 0 w 4125234"/>
                <a:gd name="connsiteY359" fmla="*/ 0 h 3739403"/>
                <a:gd name="connsiteX360" fmla="*/ 63109 w 4125234"/>
                <a:gd name="connsiteY360" fmla="*/ 0 h 3739403"/>
                <a:gd name="connsiteX361" fmla="*/ 94664 w 4125234"/>
                <a:gd name="connsiteY361" fmla="*/ 0 h 3739403"/>
                <a:gd name="connsiteX362" fmla="*/ 124115 w 4125234"/>
                <a:gd name="connsiteY362" fmla="*/ 0 h 3739403"/>
                <a:gd name="connsiteX363" fmla="*/ 309235 w 4125234"/>
                <a:gd name="connsiteY363" fmla="*/ 0 h 3739403"/>
                <a:gd name="connsiteX364" fmla="*/ 313442 w 4125234"/>
                <a:gd name="connsiteY364" fmla="*/ 20040 h 3739403"/>
                <a:gd name="connsiteX365" fmla="*/ 313442 w 4125234"/>
                <a:gd name="connsiteY365" fmla="*/ 66131 h 3739403"/>
                <a:gd name="connsiteX366" fmla="*/ 315546 w 4125234"/>
                <a:gd name="connsiteY366" fmla="*/ 150297 h 3739403"/>
                <a:gd name="connsiteX367" fmla="*/ 323960 w 4125234"/>
                <a:gd name="connsiteY367" fmla="*/ 150297 h 3739403"/>
                <a:gd name="connsiteX368" fmla="*/ 323960 w 4125234"/>
                <a:gd name="connsiteY368" fmla="*/ 156309 h 3739403"/>
                <a:gd name="connsiteX369" fmla="*/ 323960 w 4125234"/>
                <a:gd name="connsiteY369" fmla="*/ 164325 h 3739403"/>
                <a:gd name="connsiteX370" fmla="*/ 326064 w 4125234"/>
                <a:gd name="connsiteY370" fmla="*/ 166329 h 3739403"/>
                <a:gd name="connsiteX371" fmla="*/ 330271 w 4125234"/>
                <a:gd name="connsiteY371" fmla="*/ 170337 h 3739403"/>
                <a:gd name="connsiteX372" fmla="*/ 340789 w 4125234"/>
                <a:gd name="connsiteY372" fmla="*/ 170337 h 3739403"/>
                <a:gd name="connsiteX373" fmla="*/ 355515 w 4125234"/>
                <a:gd name="connsiteY373" fmla="*/ 170337 h 3739403"/>
                <a:gd name="connsiteX374" fmla="*/ 355515 w 4125234"/>
                <a:gd name="connsiteY374" fmla="*/ 182361 h 3739403"/>
                <a:gd name="connsiteX375" fmla="*/ 370240 w 4125234"/>
                <a:gd name="connsiteY375" fmla="*/ 182361 h 3739403"/>
                <a:gd name="connsiteX376" fmla="*/ 387069 w 4125234"/>
                <a:gd name="connsiteY376" fmla="*/ 184365 h 3739403"/>
                <a:gd name="connsiteX377" fmla="*/ 399691 w 4125234"/>
                <a:gd name="connsiteY377" fmla="*/ 190377 h 3739403"/>
                <a:gd name="connsiteX378" fmla="*/ 401795 w 4125234"/>
                <a:gd name="connsiteY378" fmla="*/ 192381 h 3739403"/>
                <a:gd name="connsiteX379" fmla="*/ 403898 w 4125234"/>
                <a:gd name="connsiteY379" fmla="*/ 196388 h 3739403"/>
                <a:gd name="connsiteX380" fmla="*/ 408106 w 4125234"/>
                <a:gd name="connsiteY380" fmla="*/ 202400 h 3739403"/>
                <a:gd name="connsiteX381" fmla="*/ 410209 w 4125234"/>
                <a:gd name="connsiteY381" fmla="*/ 204404 h 3739403"/>
                <a:gd name="connsiteX382" fmla="*/ 422831 w 4125234"/>
                <a:gd name="connsiteY382" fmla="*/ 204404 h 3739403"/>
                <a:gd name="connsiteX383" fmla="*/ 445971 w 4125234"/>
                <a:gd name="connsiteY383" fmla="*/ 196388 h 3739403"/>
                <a:gd name="connsiteX384" fmla="*/ 443868 w 4125234"/>
                <a:gd name="connsiteY384" fmla="*/ 166329 h 3739403"/>
                <a:gd name="connsiteX385" fmla="*/ 456489 w 4125234"/>
                <a:gd name="connsiteY385" fmla="*/ 166329 h 3739403"/>
                <a:gd name="connsiteX386" fmla="*/ 456489 w 4125234"/>
                <a:gd name="connsiteY386" fmla="*/ 152301 h 3739403"/>
                <a:gd name="connsiteX387" fmla="*/ 471215 w 4125234"/>
                <a:gd name="connsiteY387" fmla="*/ 154305 h 3739403"/>
                <a:gd name="connsiteX388" fmla="*/ 471215 w 4125234"/>
                <a:gd name="connsiteY388" fmla="*/ 140277 h 3739403"/>
                <a:gd name="connsiteX389" fmla="*/ 477526 w 4125234"/>
                <a:gd name="connsiteY389" fmla="*/ 140277 h 3739403"/>
                <a:gd name="connsiteX390" fmla="*/ 485940 w 4125234"/>
                <a:gd name="connsiteY390" fmla="*/ 136269 h 3739403"/>
                <a:gd name="connsiteX391" fmla="*/ 494355 w 4125234"/>
                <a:gd name="connsiteY391" fmla="*/ 126250 h 3739403"/>
                <a:gd name="connsiteX392" fmla="*/ 502769 w 4125234"/>
                <a:gd name="connsiteY392" fmla="*/ 120238 h 3739403"/>
                <a:gd name="connsiteX393" fmla="*/ 506977 w 4125234"/>
                <a:gd name="connsiteY393" fmla="*/ 120238 h 3739403"/>
                <a:gd name="connsiteX394" fmla="*/ 513288 w 4125234"/>
                <a:gd name="connsiteY394" fmla="*/ 120238 h 3739403"/>
                <a:gd name="connsiteX395" fmla="*/ 515391 w 4125234"/>
                <a:gd name="connsiteY395" fmla="*/ 114226 h 3739403"/>
                <a:gd name="connsiteX396" fmla="*/ 517495 w 4125234"/>
                <a:gd name="connsiteY396" fmla="*/ 106210 h 3739403"/>
                <a:gd name="connsiteX397" fmla="*/ 544842 w 4125234"/>
                <a:gd name="connsiteY397" fmla="*/ 106210 h 3739403"/>
                <a:gd name="connsiteX398" fmla="*/ 540635 w 4125234"/>
                <a:gd name="connsiteY398" fmla="*/ 114226 h 3739403"/>
                <a:gd name="connsiteX399" fmla="*/ 570086 w 4125234"/>
                <a:gd name="connsiteY399" fmla="*/ 112222 h 3739403"/>
                <a:gd name="connsiteX400" fmla="*/ 586915 w 4125234"/>
                <a:gd name="connsiteY400" fmla="*/ 114226 h 3739403"/>
                <a:gd name="connsiteX401" fmla="*/ 591122 w 4125234"/>
                <a:gd name="connsiteY401" fmla="*/ 114226 h 3739403"/>
                <a:gd name="connsiteX402" fmla="*/ 593226 w 4125234"/>
                <a:gd name="connsiteY402" fmla="*/ 116230 h 3739403"/>
                <a:gd name="connsiteX403" fmla="*/ 595329 w 4125234"/>
                <a:gd name="connsiteY403" fmla="*/ 122242 h 3739403"/>
                <a:gd name="connsiteX404" fmla="*/ 603744 w 4125234"/>
                <a:gd name="connsiteY404" fmla="*/ 124246 h 3739403"/>
                <a:gd name="connsiteX405" fmla="*/ 612159 w 4125234"/>
                <a:gd name="connsiteY405" fmla="*/ 126250 h 3739403"/>
                <a:gd name="connsiteX406" fmla="*/ 620573 w 4125234"/>
                <a:gd name="connsiteY406" fmla="*/ 126250 h 3739403"/>
                <a:gd name="connsiteX407" fmla="*/ 622677 w 4125234"/>
                <a:gd name="connsiteY407" fmla="*/ 132262 h 3739403"/>
                <a:gd name="connsiteX408" fmla="*/ 626884 w 4125234"/>
                <a:gd name="connsiteY408" fmla="*/ 134266 h 3739403"/>
                <a:gd name="connsiteX409" fmla="*/ 637402 w 4125234"/>
                <a:gd name="connsiteY409" fmla="*/ 136269 h 3739403"/>
                <a:gd name="connsiteX410" fmla="*/ 643713 w 4125234"/>
                <a:gd name="connsiteY410" fmla="*/ 136269 h 3739403"/>
                <a:gd name="connsiteX411" fmla="*/ 647920 w 4125234"/>
                <a:gd name="connsiteY411" fmla="*/ 140277 h 3739403"/>
                <a:gd name="connsiteX412" fmla="*/ 652128 w 4125234"/>
                <a:gd name="connsiteY412" fmla="*/ 142281 h 3739403"/>
                <a:gd name="connsiteX413" fmla="*/ 652128 w 4125234"/>
                <a:gd name="connsiteY413" fmla="*/ 152301 h 3739403"/>
                <a:gd name="connsiteX414" fmla="*/ 666853 w 4125234"/>
                <a:gd name="connsiteY414" fmla="*/ 154305 h 3739403"/>
                <a:gd name="connsiteX415" fmla="*/ 687890 w 4125234"/>
                <a:gd name="connsiteY415" fmla="*/ 160317 h 3739403"/>
                <a:gd name="connsiteX416" fmla="*/ 696304 w 4125234"/>
                <a:gd name="connsiteY416" fmla="*/ 164325 h 3739403"/>
                <a:gd name="connsiteX417" fmla="*/ 700511 w 4125234"/>
                <a:gd name="connsiteY417" fmla="*/ 170337 h 3739403"/>
                <a:gd name="connsiteX418" fmla="*/ 706822 w 4125234"/>
                <a:gd name="connsiteY418" fmla="*/ 176349 h 3739403"/>
                <a:gd name="connsiteX419" fmla="*/ 708926 w 4125234"/>
                <a:gd name="connsiteY419" fmla="*/ 184365 h 3739403"/>
                <a:gd name="connsiteX420" fmla="*/ 719444 w 4125234"/>
                <a:gd name="connsiteY420" fmla="*/ 190377 h 3739403"/>
                <a:gd name="connsiteX421" fmla="*/ 729962 w 4125234"/>
                <a:gd name="connsiteY421" fmla="*/ 200396 h 3739403"/>
                <a:gd name="connsiteX422" fmla="*/ 740480 w 4125234"/>
                <a:gd name="connsiteY422" fmla="*/ 210416 h 3739403"/>
                <a:gd name="connsiteX423" fmla="*/ 742584 w 4125234"/>
                <a:gd name="connsiteY423" fmla="*/ 222440 h 3739403"/>
                <a:gd name="connsiteX424" fmla="*/ 750999 w 4125234"/>
                <a:gd name="connsiteY424" fmla="*/ 222440 h 3739403"/>
                <a:gd name="connsiteX425" fmla="*/ 761517 w 4125234"/>
                <a:gd name="connsiteY425" fmla="*/ 228452 h 3739403"/>
                <a:gd name="connsiteX426" fmla="*/ 772035 w 4125234"/>
                <a:gd name="connsiteY426" fmla="*/ 236468 h 3739403"/>
                <a:gd name="connsiteX427" fmla="*/ 782553 w 4125234"/>
                <a:gd name="connsiteY427" fmla="*/ 244484 h 3739403"/>
                <a:gd name="connsiteX428" fmla="*/ 788864 w 4125234"/>
                <a:gd name="connsiteY428" fmla="*/ 254503 h 3739403"/>
                <a:gd name="connsiteX429" fmla="*/ 795175 w 4125234"/>
                <a:gd name="connsiteY429" fmla="*/ 258511 h 3739403"/>
                <a:gd name="connsiteX430" fmla="*/ 803590 w 4125234"/>
                <a:gd name="connsiteY430" fmla="*/ 264523 h 3739403"/>
                <a:gd name="connsiteX431" fmla="*/ 803590 w 4125234"/>
                <a:gd name="connsiteY431" fmla="*/ 266527 h 3739403"/>
                <a:gd name="connsiteX432" fmla="*/ 824626 w 4125234"/>
                <a:gd name="connsiteY432" fmla="*/ 268531 h 3739403"/>
                <a:gd name="connsiteX433" fmla="*/ 851973 w 4125234"/>
                <a:gd name="connsiteY433" fmla="*/ 272539 h 3739403"/>
                <a:gd name="connsiteX434" fmla="*/ 864595 w 4125234"/>
                <a:gd name="connsiteY434" fmla="*/ 272539 h 3739403"/>
                <a:gd name="connsiteX435" fmla="*/ 875113 w 4125234"/>
                <a:gd name="connsiteY435" fmla="*/ 276547 h 3739403"/>
                <a:gd name="connsiteX436" fmla="*/ 879321 w 4125234"/>
                <a:gd name="connsiteY436" fmla="*/ 282559 h 3739403"/>
                <a:gd name="connsiteX437" fmla="*/ 883528 w 4125234"/>
                <a:gd name="connsiteY437" fmla="*/ 292579 h 3739403"/>
                <a:gd name="connsiteX438" fmla="*/ 885632 w 4125234"/>
                <a:gd name="connsiteY438" fmla="*/ 296587 h 3739403"/>
                <a:gd name="connsiteX439" fmla="*/ 887735 w 4125234"/>
                <a:gd name="connsiteY439" fmla="*/ 296587 h 3739403"/>
                <a:gd name="connsiteX440" fmla="*/ 889839 w 4125234"/>
                <a:gd name="connsiteY440" fmla="*/ 294583 h 3739403"/>
                <a:gd name="connsiteX441" fmla="*/ 896150 w 4125234"/>
                <a:gd name="connsiteY441" fmla="*/ 296587 h 3739403"/>
                <a:gd name="connsiteX442" fmla="*/ 896150 w 4125234"/>
                <a:gd name="connsiteY442" fmla="*/ 312618 h 3739403"/>
                <a:gd name="connsiteX443" fmla="*/ 906668 w 4125234"/>
                <a:gd name="connsiteY443" fmla="*/ 312618 h 3739403"/>
                <a:gd name="connsiteX444" fmla="*/ 910875 w 4125234"/>
                <a:gd name="connsiteY444" fmla="*/ 322638 h 3739403"/>
                <a:gd name="connsiteX445" fmla="*/ 915082 w 4125234"/>
                <a:gd name="connsiteY445" fmla="*/ 332658 h 3739403"/>
                <a:gd name="connsiteX446" fmla="*/ 917186 w 4125234"/>
                <a:gd name="connsiteY446" fmla="*/ 342678 h 3739403"/>
                <a:gd name="connsiteX447" fmla="*/ 917186 w 4125234"/>
                <a:gd name="connsiteY447" fmla="*/ 352698 h 3739403"/>
                <a:gd name="connsiteX448" fmla="*/ 923497 w 4125234"/>
                <a:gd name="connsiteY448" fmla="*/ 348690 h 3739403"/>
                <a:gd name="connsiteX449" fmla="*/ 923497 w 4125234"/>
                <a:gd name="connsiteY449" fmla="*/ 358710 h 3739403"/>
                <a:gd name="connsiteX450" fmla="*/ 934015 w 4125234"/>
                <a:gd name="connsiteY450" fmla="*/ 358710 h 3739403"/>
                <a:gd name="connsiteX451" fmla="*/ 934015 w 4125234"/>
                <a:gd name="connsiteY451" fmla="*/ 372737 h 3739403"/>
                <a:gd name="connsiteX452" fmla="*/ 940326 w 4125234"/>
                <a:gd name="connsiteY452" fmla="*/ 372737 h 3739403"/>
                <a:gd name="connsiteX453" fmla="*/ 940326 w 4125234"/>
                <a:gd name="connsiteY453" fmla="*/ 384761 h 3739403"/>
                <a:gd name="connsiteX454" fmla="*/ 944533 w 4125234"/>
                <a:gd name="connsiteY454" fmla="*/ 382757 h 3739403"/>
                <a:gd name="connsiteX455" fmla="*/ 944533 w 4125234"/>
                <a:gd name="connsiteY455" fmla="*/ 388769 h 3739403"/>
                <a:gd name="connsiteX456" fmla="*/ 952948 w 4125234"/>
                <a:gd name="connsiteY456" fmla="*/ 394781 h 3739403"/>
                <a:gd name="connsiteX457" fmla="*/ 961362 w 4125234"/>
                <a:gd name="connsiteY457" fmla="*/ 398789 h 3739403"/>
                <a:gd name="connsiteX458" fmla="*/ 965570 w 4125234"/>
                <a:gd name="connsiteY458" fmla="*/ 406805 h 3739403"/>
                <a:gd name="connsiteX459" fmla="*/ 973984 w 4125234"/>
                <a:gd name="connsiteY459" fmla="*/ 408809 h 3739403"/>
                <a:gd name="connsiteX460" fmla="*/ 976088 w 4125234"/>
                <a:gd name="connsiteY460" fmla="*/ 412817 h 3739403"/>
                <a:gd name="connsiteX461" fmla="*/ 982399 w 4125234"/>
                <a:gd name="connsiteY461" fmla="*/ 416825 h 3739403"/>
                <a:gd name="connsiteX462" fmla="*/ 982399 w 4125234"/>
                <a:gd name="connsiteY462" fmla="*/ 434860 h 3739403"/>
                <a:gd name="connsiteX463" fmla="*/ 980295 w 4125234"/>
                <a:gd name="connsiteY463" fmla="*/ 460912 h 3739403"/>
                <a:gd name="connsiteX464" fmla="*/ 982399 w 4125234"/>
                <a:gd name="connsiteY464" fmla="*/ 509007 h 3739403"/>
                <a:gd name="connsiteX465" fmla="*/ 982399 w 4125234"/>
                <a:gd name="connsiteY465" fmla="*/ 537062 h 3739403"/>
                <a:gd name="connsiteX466" fmla="*/ 980295 w 4125234"/>
                <a:gd name="connsiteY466" fmla="*/ 547082 h 3739403"/>
                <a:gd name="connsiteX467" fmla="*/ 976088 w 4125234"/>
                <a:gd name="connsiteY467" fmla="*/ 549086 h 3739403"/>
                <a:gd name="connsiteX468" fmla="*/ 973984 w 4125234"/>
                <a:gd name="connsiteY468" fmla="*/ 551090 h 3739403"/>
                <a:gd name="connsiteX469" fmla="*/ 971881 w 4125234"/>
                <a:gd name="connsiteY469" fmla="*/ 555098 h 3739403"/>
                <a:gd name="connsiteX470" fmla="*/ 963466 w 4125234"/>
                <a:gd name="connsiteY470" fmla="*/ 567122 h 3739403"/>
                <a:gd name="connsiteX471" fmla="*/ 959259 w 4125234"/>
                <a:gd name="connsiteY471" fmla="*/ 579146 h 3739403"/>
                <a:gd name="connsiteX472" fmla="*/ 955056 w 4125234"/>
                <a:gd name="connsiteY472" fmla="*/ 591157 h 3739403"/>
                <a:gd name="connsiteX473" fmla="*/ 999217 w 4125234"/>
                <a:gd name="connsiteY473" fmla="*/ 591157 h 3739403"/>
                <a:gd name="connsiteX474" fmla="*/ 1043434 w 4125234"/>
                <a:gd name="connsiteY474" fmla="*/ 591157 h 3739403"/>
                <a:gd name="connsiteX475" fmla="*/ 1043434 w 4125234"/>
                <a:gd name="connsiteY475" fmla="*/ 589151 h 3739403"/>
                <a:gd name="connsiteX476" fmla="*/ 1043434 w 4125234"/>
                <a:gd name="connsiteY476" fmla="*/ 587175 h 3739403"/>
                <a:gd name="connsiteX477" fmla="*/ 1045484 w 4125234"/>
                <a:gd name="connsiteY477" fmla="*/ 585169 h 3739403"/>
                <a:gd name="connsiteX478" fmla="*/ 1051853 w 4125234"/>
                <a:gd name="connsiteY478" fmla="*/ 581158 h 3739403"/>
                <a:gd name="connsiteX479" fmla="*/ 1056026 w 4125234"/>
                <a:gd name="connsiteY479" fmla="*/ 585169 h 3739403"/>
                <a:gd name="connsiteX480" fmla="*/ 1056026 w 4125234"/>
                <a:gd name="connsiteY480" fmla="*/ 617234 h 3739403"/>
                <a:gd name="connsiteX481" fmla="*/ 1056026 w 4125234"/>
                <a:gd name="connsiteY481" fmla="*/ 657292 h 3739403"/>
                <a:gd name="connsiteX482" fmla="*/ 1056026 w 4125234"/>
                <a:gd name="connsiteY482" fmla="*/ 729446 h 3739403"/>
                <a:gd name="connsiteX483" fmla="*/ 1056026 w 4125234"/>
                <a:gd name="connsiteY483" fmla="*/ 783545 h 3739403"/>
                <a:gd name="connsiteX484" fmla="*/ 1056026 w 4125234"/>
                <a:gd name="connsiteY484" fmla="*/ 807586 h 3739403"/>
                <a:gd name="connsiteX485" fmla="*/ 1053922 w 4125234"/>
                <a:gd name="connsiteY485" fmla="*/ 807586 h 3739403"/>
                <a:gd name="connsiteX486" fmla="*/ 1053922 w 4125234"/>
                <a:gd name="connsiteY486" fmla="*/ 815272 h 3739403"/>
                <a:gd name="connsiteX487" fmla="*/ 1053922 w 4125234"/>
                <a:gd name="connsiteY487" fmla="*/ 849173 h 3739403"/>
                <a:gd name="connsiteX488" fmla="*/ 1053922 w 4125234"/>
                <a:gd name="connsiteY488" fmla="*/ 877092 h 3739403"/>
                <a:gd name="connsiteX489" fmla="*/ 1053922 w 4125234"/>
                <a:gd name="connsiteY489" fmla="*/ 908999 h 3739403"/>
                <a:gd name="connsiteX490" fmla="*/ 673164 w 4125234"/>
                <a:gd name="connsiteY490" fmla="*/ 908999 h 3739403"/>
                <a:gd name="connsiteX491" fmla="*/ 631091 w 4125234"/>
                <a:gd name="connsiteY491" fmla="*/ 908999 h 3739403"/>
                <a:gd name="connsiteX492" fmla="*/ 610055 w 4125234"/>
                <a:gd name="connsiteY492" fmla="*/ 908999 h 3739403"/>
                <a:gd name="connsiteX493" fmla="*/ 591122 w 4125234"/>
                <a:gd name="connsiteY493" fmla="*/ 910993 h 3739403"/>
                <a:gd name="connsiteX494" fmla="*/ 574293 w 4125234"/>
                <a:gd name="connsiteY494" fmla="*/ 916976 h 3739403"/>
                <a:gd name="connsiteX495" fmla="*/ 557464 w 4125234"/>
                <a:gd name="connsiteY495" fmla="*/ 922959 h 3739403"/>
                <a:gd name="connsiteX496" fmla="*/ 540635 w 4125234"/>
                <a:gd name="connsiteY496" fmla="*/ 932930 h 3739403"/>
                <a:gd name="connsiteX497" fmla="*/ 523806 w 4125234"/>
                <a:gd name="connsiteY497" fmla="*/ 948883 h 3739403"/>
                <a:gd name="connsiteX498" fmla="*/ 500666 w 4125234"/>
                <a:gd name="connsiteY498" fmla="*/ 968825 h 3739403"/>
                <a:gd name="connsiteX499" fmla="*/ 473319 w 4125234"/>
                <a:gd name="connsiteY499" fmla="*/ 988767 h 3739403"/>
                <a:gd name="connsiteX500" fmla="*/ 420728 w 4125234"/>
                <a:gd name="connsiteY500" fmla="*/ 1020674 h 3739403"/>
                <a:gd name="connsiteX501" fmla="*/ 406002 w 4125234"/>
                <a:gd name="connsiteY501" fmla="*/ 1032640 h 3739403"/>
                <a:gd name="connsiteX502" fmla="*/ 393380 w 4125234"/>
                <a:gd name="connsiteY502" fmla="*/ 1046599 h 3739403"/>
                <a:gd name="connsiteX503" fmla="*/ 378655 w 4125234"/>
                <a:gd name="connsiteY503" fmla="*/ 1060558 h 3739403"/>
                <a:gd name="connsiteX504" fmla="*/ 368137 w 4125234"/>
                <a:gd name="connsiteY504" fmla="*/ 1074518 h 3739403"/>
                <a:gd name="connsiteX505" fmla="*/ 361826 w 4125234"/>
                <a:gd name="connsiteY505" fmla="*/ 1084489 h 3739403"/>
                <a:gd name="connsiteX506" fmla="*/ 357619 w 4125234"/>
                <a:gd name="connsiteY506" fmla="*/ 1092466 h 3739403"/>
                <a:gd name="connsiteX507" fmla="*/ 357619 w 4125234"/>
                <a:gd name="connsiteY507" fmla="*/ 1102437 h 3739403"/>
                <a:gd name="connsiteX508" fmla="*/ 351308 w 4125234"/>
                <a:gd name="connsiteY508" fmla="*/ 1112408 h 3739403"/>
                <a:gd name="connsiteX509" fmla="*/ 340790 w 4125234"/>
                <a:gd name="connsiteY509" fmla="*/ 1120384 h 3739403"/>
                <a:gd name="connsiteX510" fmla="*/ 332375 w 4125234"/>
                <a:gd name="connsiteY510" fmla="*/ 1130355 h 3739403"/>
                <a:gd name="connsiteX511" fmla="*/ 330271 w 4125234"/>
                <a:gd name="connsiteY511" fmla="*/ 1134344 h 3739403"/>
                <a:gd name="connsiteX512" fmla="*/ 330271 w 4125234"/>
                <a:gd name="connsiteY512" fmla="*/ 1142321 h 3739403"/>
                <a:gd name="connsiteX513" fmla="*/ 326064 w 4125234"/>
                <a:gd name="connsiteY513" fmla="*/ 1148303 h 3739403"/>
                <a:gd name="connsiteX514" fmla="*/ 326064 w 4125234"/>
                <a:gd name="connsiteY514" fmla="*/ 1150297 h 3739403"/>
                <a:gd name="connsiteX515" fmla="*/ 321857 w 4125234"/>
                <a:gd name="connsiteY515" fmla="*/ 1152292 h 3739403"/>
                <a:gd name="connsiteX516" fmla="*/ 315546 w 4125234"/>
                <a:gd name="connsiteY516" fmla="*/ 1154286 h 3739403"/>
                <a:gd name="connsiteX517" fmla="*/ 302924 w 4125234"/>
                <a:gd name="connsiteY517" fmla="*/ 1152292 h 3739403"/>
                <a:gd name="connsiteX518" fmla="*/ 290302 w 4125234"/>
                <a:gd name="connsiteY518" fmla="*/ 1150297 h 3739403"/>
                <a:gd name="connsiteX519" fmla="*/ 260852 w 4125234"/>
                <a:gd name="connsiteY519" fmla="*/ 1138332 h 3739403"/>
                <a:gd name="connsiteX520" fmla="*/ 250333 w 4125234"/>
                <a:gd name="connsiteY520" fmla="*/ 1134344 h 3739403"/>
                <a:gd name="connsiteX521" fmla="*/ 246126 w 4125234"/>
                <a:gd name="connsiteY521" fmla="*/ 1134344 h 3739403"/>
                <a:gd name="connsiteX522" fmla="*/ 233504 w 4125234"/>
                <a:gd name="connsiteY522" fmla="*/ 1140326 h 3739403"/>
                <a:gd name="connsiteX523" fmla="*/ 218779 w 4125234"/>
                <a:gd name="connsiteY523" fmla="*/ 1142321 h 3739403"/>
                <a:gd name="connsiteX524" fmla="*/ 208261 w 4125234"/>
                <a:gd name="connsiteY524" fmla="*/ 1144315 h 3739403"/>
                <a:gd name="connsiteX525" fmla="*/ 197742 w 4125234"/>
                <a:gd name="connsiteY525" fmla="*/ 1144315 h 3739403"/>
                <a:gd name="connsiteX526" fmla="*/ 174602 w 4125234"/>
                <a:gd name="connsiteY526" fmla="*/ 1140326 h 3739403"/>
                <a:gd name="connsiteX527" fmla="*/ 149359 w 4125234"/>
                <a:gd name="connsiteY527" fmla="*/ 1132350 h 3739403"/>
                <a:gd name="connsiteX528" fmla="*/ 151463 w 4125234"/>
                <a:gd name="connsiteY528" fmla="*/ 1088477 h 3739403"/>
                <a:gd name="connsiteX529" fmla="*/ 151463 w 4125234"/>
                <a:gd name="connsiteY529" fmla="*/ 1042611 h 3739403"/>
                <a:gd name="connsiteX530" fmla="*/ 151463 w 4125234"/>
                <a:gd name="connsiteY530" fmla="*/ 1008709 h 3739403"/>
                <a:gd name="connsiteX531" fmla="*/ 151463 w 4125234"/>
                <a:gd name="connsiteY531" fmla="*/ 988767 h 3739403"/>
                <a:gd name="connsiteX532" fmla="*/ 153566 w 4125234"/>
                <a:gd name="connsiteY532" fmla="*/ 982785 h 3739403"/>
                <a:gd name="connsiteX533" fmla="*/ 155670 w 4125234"/>
                <a:gd name="connsiteY533" fmla="*/ 978796 h 3739403"/>
                <a:gd name="connsiteX534" fmla="*/ 161981 w 4125234"/>
                <a:gd name="connsiteY534" fmla="*/ 968825 h 3739403"/>
                <a:gd name="connsiteX535" fmla="*/ 164084 w 4125234"/>
                <a:gd name="connsiteY535" fmla="*/ 956860 h 3739403"/>
                <a:gd name="connsiteX536" fmla="*/ 166188 w 4125234"/>
                <a:gd name="connsiteY536" fmla="*/ 946889 h 3739403"/>
                <a:gd name="connsiteX537" fmla="*/ 170395 w 4125234"/>
                <a:gd name="connsiteY537" fmla="*/ 940906 h 3739403"/>
                <a:gd name="connsiteX538" fmla="*/ 172499 w 4125234"/>
                <a:gd name="connsiteY538" fmla="*/ 938912 h 3739403"/>
                <a:gd name="connsiteX539" fmla="*/ 185121 w 4125234"/>
                <a:gd name="connsiteY539" fmla="*/ 938912 h 3739403"/>
                <a:gd name="connsiteX540" fmla="*/ 195639 w 4125234"/>
                <a:gd name="connsiteY540" fmla="*/ 932930 h 3739403"/>
                <a:gd name="connsiteX541" fmla="*/ 201950 w 4125234"/>
                <a:gd name="connsiteY541" fmla="*/ 930935 h 3739403"/>
                <a:gd name="connsiteX542" fmla="*/ 208261 w 4125234"/>
                <a:gd name="connsiteY542" fmla="*/ 922959 h 3739403"/>
                <a:gd name="connsiteX543" fmla="*/ 212468 w 4125234"/>
                <a:gd name="connsiteY543" fmla="*/ 916976 h 3739403"/>
                <a:gd name="connsiteX544" fmla="*/ 214572 w 4125234"/>
                <a:gd name="connsiteY544" fmla="*/ 903017 h 3739403"/>
                <a:gd name="connsiteX545" fmla="*/ 216675 w 4125234"/>
                <a:gd name="connsiteY545" fmla="*/ 899028 h 3739403"/>
                <a:gd name="connsiteX546" fmla="*/ 218779 w 4125234"/>
                <a:gd name="connsiteY546" fmla="*/ 893046 h 3739403"/>
                <a:gd name="connsiteX547" fmla="*/ 225090 w 4125234"/>
                <a:gd name="connsiteY547" fmla="*/ 891051 h 3739403"/>
                <a:gd name="connsiteX548" fmla="*/ 233504 w 4125234"/>
                <a:gd name="connsiteY548" fmla="*/ 893046 h 3739403"/>
                <a:gd name="connsiteX549" fmla="*/ 235608 w 4125234"/>
                <a:gd name="connsiteY549" fmla="*/ 893046 h 3739403"/>
                <a:gd name="connsiteX550" fmla="*/ 239815 w 4125234"/>
                <a:gd name="connsiteY550" fmla="*/ 891051 h 3739403"/>
                <a:gd name="connsiteX551" fmla="*/ 246126 w 4125234"/>
                <a:gd name="connsiteY551" fmla="*/ 883075 h 3739403"/>
                <a:gd name="connsiteX552" fmla="*/ 250333 w 4125234"/>
                <a:gd name="connsiteY552" fmla="*/ 873104 h 3739403"/>
                <a:gd name="connsiteX553" fmla="*/ 258748 w 4125234"/>
                <a:gd name="connsiteY553" fmla="*/ 867121 h 3739403"/>
                <a:gd name="connsiteX554" fmla="*/ 267162 w 4125234"/>
                <a:gd name="connsiteY554" fmla="*/ 859144 h 3739403"/>
                <a:gd name="connsiteX555" fmla="*/ 273473 w 4125234"/>
                <a:gd name="connsiteY555" fmla="*/ 855156 h 3739403"/>
                <a:gd name="connsiteX556" fmla="*/ 283991 w 4125234"/>
                <a:gd name="connsiteY556" fmla="*/ 851167 h 3739403"/>
                <a:gd name="connsiteX557" fmla="*/ 294510 w 4125234"/>
                <a:gd name="connsiteY557" fmla="*/ 849173 h 3739403"/>
                <a:gd name="connsiteX558" fmla="*/ 313442 w 4125234"/>
                <a:gd name="connsiteY558" fmla="*/ 847179 h 3739403"/>
                <a:gd name="connsiteX559" fmla="*/ 336582 w 4125234"/>
                <a:gd name="connsiteY559" fmla="*/ 847179 h 3739403"/>
                <a:gd name="connsiteX560" fmla="*/ 338555 w 4125234"/>
                <a:gd name="connsiteY560" fmla="*/ 846556 h 3739403"/>
                <a:gd name="connsiteX561" fmla="*/ 336551 w 4125234"/>
                <a:gd name="connsiteY561" fmla="*/ 793575 h 3739403"/>
                <a:gd name="connsiteX562" fmla="*/ 336551 w 4125234"/>
                <a:gd name="connsiteY562" fmla="*/ 779533 h 3739403"/>
                <a:gd name="connsiteX563" fmla="*/ 334501 w 4125234"/>
                <a:gd name="connsiteY563" fmla="*/ 763516 h 3739403"/>
                <a:gd name="connsiteX564" fmla="*/ 328132 w 4125234"/>
                <a:gd name="connsiteY564" fmla="*/ 751481 h 3739403"/>
                <a:gd name="connsiteX565" fmla="*/ 323959 w 4125234"/>
                <a:gd name="connsiteY565" fmla="*/ 747469 h 3739403"/>
                <a:gd name="connsiteX566" fmla="*/ 323959 w 4125234"/>
                <a:gd name="connsiteY566" fmla="*/ 739475 h 3739403"/>
                <a:gd name="connsiteX567" fmla="*/ 326082 w 4125234"/>
                <a:gd name="connsiteY567" fmla="*/ 733458 h 3739403"/>
                <a:gd name="connsiteX568" fmla="*/ 328132 w 4125234"/>
                <a:gd name="connsiteY568" fmla="*/ 731452 h 3739403"/>
                <a:gd name="connsiteX569" fmla="*/ 334501 w 4125234"/>
                <a:gd name="connsiteY569" fmla="*/ 729446 h 3739403"/>
                <a:gd name="connsiteX570" fmla="*/ 342920 w 4125234"/>
                <a:gd name="connsiteY570" fmla="*/ 723428 h 3739403"/>
                <a:gd name="connsiteX571" fmla="*/ 347092 w 4125234"/>
                <a:gd name="connsiteY571" fmla="*/ 721422 h 3739403"/>
                <a:gd name="connsiteX572" fmla="*/ 349215 w 4125234"/>
                <a:gd name="connsiteY572" fmla="*/ 717410 h 3739403"/>
                <a:gd name="connsiteX573" fmla="*/ 353388 w 4125234"/>
                <a:gd name="connsiteY573" fmla="*/ 703399 h 3739403"/>
                <a:gd name="connsiteX574" fmla="*/ 353388 w 4125234"/>
                <a:gd name="connsiteY574" fmla="*/ 687351 h 3739403"/>
                <a:gd name="connsiteX575" fmla="*/ 359508 w 4125234"/>
                <a:gd name="connsiteY575" fmla="*/ 650756 h 3739403"/>
                <a:gd name="connsiteX576" fmla="*/ 349204 w 4125234"/>
                <a:gd name="connsiteY576" fmla="*/ 657300 h 3739403"/>
                <a:gd name="connsiteX577" fmla="*/ 302924 w 4125234"/>
                <a:gd name="connsiteY577" fmla="*/ 683352 h 3739403"/>
                <a:gd name="connsiteX578" fmla="*/ 294509 w 4125234"/>
                <a:gd name="connsiteY578" fmla="*/ 687360 h 3739403"/>
                <a:gd name="connsiteX579" fmla="*/ 292406 w 4125234"/>
                <a:gd name="connsiteY579" fmla="*/ 669324 h 3739403"/>
                <a:gd name="connsiteX580" fmla="*/ 273473 w 4125234"/>
                <a:gd name="connsiteY580" fmla="*/ 671328 h 3739403"/>
                <a:gd name="connsiteX581" fmla="*/ 273473 w 4125234"/>
                <a:gd name="connsiteY581" fmla="*/ 667320 h 3739403"/>
                <a:gd name="connsiteX582" fmla="*/ 271369 w 4125234"/>
                <a:gd name="connsiteY582" fmla="*/ 663312 h 3739403"/>
                <a:gd name="connsiteX583" fmla="*/ 265058 w 4125234"/>
                <a:gd name="connsiteY583" fmla="*/ 661308 h 3739403"/>
                <a:gd name="connsiteX584" fmla="*/ 260851 w 4125234"/>
                <a:gd name="connsiteY584" fmla="*/ 663312 h 3739403"/>
                <a:gd name="connsiteX585" fmla="*/ 260851 w 4125234"/>
                <a:gd name="connsiteY585" fmla="*/ 653292 h 3739403"/>
                <a:gd name="connsiteX586" fmla="*/ 260851 w 4125234"/>
                <a:gd name="connsiteY586" fmla="*/ 647281 h 3739403"/>
                <a:gd name="connsiteX587" fmla="*/ 254540 w 4125234"/>
                <a:gd name="connsiteY587" fmla="*/ 639265 h 3739403"/>
                <a:gd name="connsiteX588" fmla="*/ 248229 w 4125234"/>
                <a:gd name="connsiteY588" fmla="*/ 639265 h 3739403"/>
                <a:gd name="connsiteX589" fmla="*/ 248229 w 4125234"/>
                <a:gd name="connsiteY589" fmla="*/ 635257 h 3739403"/>
                <a:gd name="connsiteX590" fmla="*/ 241918 w 4125234"/>
                <a:gd name="connsiteY590" fmla="*/ 631249 h 3739403"/>
                <a:gd name="connsiteX591" fmla="*/ 239815 w 4125234"/>
                <a:gd name="connsiteY591" fmla="*/ 631249 h 3739403"/>
                <a:gd name="connsiteX592" fmla="*/ 239815 w 4125234"/>
                <a:gd name="connsiteY592" fmla="*/ 627241 h 3739403"/>
                <a:gd name="connsiteX593" fmla="*/ 233504 w 4125234"/>
                <a:gd name="connsiteY593" fmla="*/ 629245 h 3739403"/>
                <a:gd name="connsiteX594" fmla="*/ 233504 w 4125234"/>
                <a:gd name="connsiteY594" fmla="*/ 617221 h 3739403"/>
                <a:gd name="connsiteX595" fmla="*/ 220882 w 4125234"/>
                <a:gd name="connsiteY595" fmla="*/ 617221 h 3739403"/>
                <a:gd name="connsiteX596" fmla="*/ 220882 w 4125234"/>
                <a:gd name="connsiteY596" fmla="*/ 611209 h 3739403"/>
                <a:gd name="connsiteX597" fmla="*/ 218778 w 4125234"/>
                <a:gd name="connsiteY597" fmla="*/ 607201 h 3739403"/>
                <a:gd name="connsiteX598" fmla="*/ 216675 w 4125234"/>
                <a:gd name="connsiteY598" fmla="*/ 605197 h 3739403"/>
                <a:gd name="connsiteX599" fmla="*/ 208260 w 4125234"/>
                <a:gd name="connsiteY599" fmla="*/ 607201 h 3739403"/>
                <a:gd name="connsiteX600" fmla="*/ 210364 w 4125234"/>
                <a:gd name="connsiteY600" fmla="*/ 597181 h 3739403"/>
                <a:gd name="connsiteX601" fmla="*/ 208260 w 4125234"/>
                <a:gd name="connsiteY601" fmla="*/ 589166 h 3739403"/>
                <a:gd name="connsiteX602" fmla="*/ 201949 w 4125234"/>
                <a:gd name="connsiteY602" fmla="*/ 585158 h 3739403"/>
                <a:gd name="connsiteX603" fmla="*/ 191431 w 4125234"/>
                <a:gd name="connsiteY603" fmla="*/ 585158 h 3739403"/>
                <a:gd name="connsiteX604" fmla="*/ 189327 w 4125234"/>
                <a:gd name="connsiteY604" fmla="*/ 577142 h 3739403"/>
                <a:gd name="connsiteX605" fmla="*/ 187224 w 4125234"/>
                <a:gd name="connsiteY605" fmla="*/ 571130 h 3739403"/>
                <a:gd name="connsiteX606" fmla="*/ 170395 w 4125234"/>
                <a:gd name="connsiteY606" fmla="*/ 559106 h 3739403"/>
                <a:gd name="connsiteX607" fmla="*/ 157773 w 4125234"/>
                <a:gd name="connsiteY607" fmla="*/ 549086 h 3739403"/>
                <a:gd name="connsiteX608" fmla="*/ 145151 w 4125234"/>
                <a:gd name="connsiteY608" fmla="*/ 539066 h 3739403"/>
                <a:gd name="connsiteX609" fmla="*/ 143047 w 4125234"/>
                <a:gd name="connsiteY609" fmla="*/ 531051 h 3739403"/>
                <a:gd name="connsiteX610" fmla="*/ 136736 w 4125234"/>
                <a:gd name="connsiteY610" fmla="*/ 525039 h 3739403"/>
                <a:gd name="connsiteX611" fmla="*/ 128322 w 4125234"/>
                <a:gd name="connsiteY611" fmla="*/ 527043 h 3739403"/>
                <a:gd name="connsiteX612" fmla="*/ 122011 w 4125234"/>
                <a:gd name="connsiteY612" fmla="*/ 515019 h 3739403"/>
                <a:gd name="connsiteX613" fmla="*/ 115700 w 4125234"/>
                <a:gd name="connsiteY613" fmla="*/ 509007 h 3739403"/>
                <a:gd name="connsiteX614" fmla="*/ 105182 w 4125234"/>
                <a:gd name="connsiteY614" fmla="*/ 507003 h 3739403"/>
                <a:gd name="connsiteX615" fmla="*/ 105182 w 4125234"/>
                <a:gd name="connsiteY615" fmla="*/ 494979 h 3739403"/>
                <a:gd name="connsiteX616" fmla="*/ 100975 w 4125234"/>
                <a:gd name="connsiteY616" fmla="*/ 494979 h 3739403"/>
                <a:gd name="connsiteX617" fmla="*/ 100975 w 4125234"/>
                <a:gd name="connsiteY617" fmla="*/ 484959 h 3739403"/>
                <a:gd name="connsiteX618" fmla="*/ 96767 w 4125234"/>
                <a:gd name="connsiteY618" fmla="*/ 476944 h 3739403"/>
                <a:gd name="connsiteX619" fmla="*/ 90456 w 4125234"/>
                <a:gd name="connsiteY619" fmla="*/ 474940 h 3739403"/>
                <a:gd name="connsiteX620" fmla="*/ 79938 w 4125234"/>
                <a:gd name="connsiteY620" fmla="*/ 476944 h 3739403"/>
                <a:gd name="connsiteX621" fmla="*/ 82042 w 4125234"/>
                <a:gd name="connsiteY621" fmla="*/ 468928 h 3739403"/>
                <a:gd name="connsiteX622" fmla="*/ 69420 w 4125234"/>
                <a:gd name="connsiteY622" fmla="*/ 470932 h 3739403"/>
                <a:gd name="connsiteX623" fmla="*/ 65213 w 4125234"/>
                <a:gd name="connsiteY623" fmla="*/ 458908 h 3739403"/>
                <a:gd name="connsiteX624" fmla="*/ 63109 w 4125234"/>
                <a:gd name="connsiteY624" fmla="*/ 448888 h 3739403"/>
                <a:gd name="connsiteX625" fmla="*/ 58902 w 4125234"/>
                <a:gd name="connsiteY625" fmla="*/ 444880 h 3739403"/>
                <a:gd name="connsiteX626" fmla="*/ 54694 w 4125234"/>
                <a:gd name="connsiteY626" fmla="*/ 438868 h 3739403"/>
                <a:gd name="connsiteX627" fmla="*/ 58902 w 4125234"/>
                <a:gd name="connsiteY627" fmla="*/ 432856 h 3739403"/>
                <a:gd name="connsiteX628" fmla="*/ 63109 w 4125234"/>
                <a:gd name="connsiteY628" fmla="*/ 432856 h 3739403"/>
                <a:gd name="connsiteX629" fmla="*/ 65213 w 4125234"/>
                <a:gd name="connsiteY629" fmla="*/ 432856 h 3739403"/>
                <a:gd name="connsiteX630" fmla="*/ 69420 w 4125234"/>
                <a:gd name="connsiteY630" fmla="*/ 426844 h 3739403"/>
                <a:gd name="connsiteX631" fmla="*/ 65213 w 4125234"/>
                <a:gd name="connsiteY631" fmla="*/ 422836 h 3739403"/>
                <a:gd name="connsiteX632" fmla="*/ 63109 w 4125234"/>
                <a:gd name="connsiteY632" fmla="*/ 418829 h 3739403"/>
                <a:gd name="connsiteX633" fmla="*/ 63109 w 4125234"/>
                <a:gd name="connsiteY633" fmla="*/ 402797 h 3739403"/>
                <a:gd name="connsiteX634" fmla="*/ 63109 w 4125234"/>
                <a:gd name="connsiteY634" fmla="*/ 386765 h 3739403"/>
                <a:gd name="connsiteX635" fmla="*/ 61005 w 4125234"/>
                <a:gd name="connsiteY635" fmla="*/ 374741 h 3739403"/>
                <a:gd name="connsiteX636" fmla="*/ 63109 w 4125234"/>
                <a:gd name="connsiteY636" fmla="*/ 358710 h 3739403"/>
                <a:gd name="connsiteX637" fmla="*/ 54694 w 4125234"/>
                <a:gd name="connsiteY637" fmla="*/ 358710 h 3739403"/>
                <a:gd name="connsiteX638" fmla="*/ 58902 w 4125234"/>
                <a:gd name="connsiteY638" fmla="*/ 352698 h 3739403"/>
                <a:gd name="connsiteX639" fmla="*/ 58902 w 4125234"/>
                <a:gd name="connsiteY639" fmla="*/ 344682 h 3739403"/>
                <a:gd name="connsiteX640" fmla="*/ 65213 w 4125234"/>
                <a:gd name="connsiteY640" fmla="*/ 334662 h 3739403"/>
                <a:gd name="connsiteX641" fmla="*/ 71524 w 4125234"/>
                <a:gd name="connsiteY641" fmla="*/ 328650 h 3739403"/>
                <a:gd name="connsiteX642" fmla="*/ 79938 w 4125234"/>
                <a:gd name="connsiteY642" fmla="*/ 324642 h 3739403"/>
                <a:gd name="connsiteX643" fmla="*/ 84145 w 4125234"/>
                <a:gd name="connsiteY643" fmla="*/ 318630 h 3739403"/>
                <a:gd name="connsiteX644" fmla="*/ 86249 w 4125234"/>
                <a:gd name="connsiteY644" fmla="*/ 314622 h 3739403"/>
                <a:gd name="connsiteX645" fmla="*/ 84145 w 4125234"/>
                <a:gd name="connsiteY645" fmla="*/ 306606 h 3739403"/>
                <a:gd name="connsiteX646" fmla="*/ 92560 w 4125234"/>
                <a:gd name="connsiteY646" fmla="*/ 306606 h 3739403"/>
                <a:gd name="connsiteX647" fmla="*/ 90456 w 4125234"/>
                <a:gd name="connsiteY647" fmla="*/ 296587 h 3739403"/>
                <a:gd name="connsiteX648" fmla="*/ 84145 w 4125234"/>
                <a:gd name="connsiteY648" fmla="*/ 288571 h 3739403"/>
                <a:gd name="connsiteX649" fmla="*/ 75731 w 4125234"/>
                <a:gd name="connsiteY649" fmla="*/ 288571 h 3739403"/>
                <a:gd name="connsiteX650" fmla="*/ 79938 w 4125234"/>
                <a:gd name="connsiteY650" fmla="*/ 278551 h 3739403"/>
                <a:gd name="connsiteX651" fmla="*/ 69420 w 4125234"/>
                <a:gd name="connsiteY651" fmla="*/ 281414 h 3739403"/>
                <a:gd name="connsiteX652" fmla="*/ 69420 w 4125234"/>
                <a:gd name="connsiteY652" fmla="*/ 266527 h 3739403"/>
                <a:gd name="connsiteX653" fmla="*/ 69420 w 4125234"/>
                <a:gd name="connsiteY653" fmla="*/ 252499 h 3739403"/>
                <a:gd name="connsiteX654" fmla="*/ 69420 w 4125234"/>
                <a:gd name="connsiteY654" fmla="*/ 244484 h 3739403"/>
                <a:gd name="connsiteX655" fmla="*/ 65213 w 4125234"/>
                <a:gd name="connsiteY655" fmla="*/ 238472 h 3739403"/>
                <a:gd name="connsiteX656" fmla="*/ 61005 w 4125234"/>
                <a:gd name="connsiteY656" fmla="*/ 234464 h 3739403"/>
                <a:gd name="connsiteX657" fmla="*/ 52591 w 4125234"/>
                <a:gd name="connsiteY657" fmla="*/ 234464 h 3739403"/>
                <a:gd name="connsiteX658" fmla="*/ 48384 w 4125234"/>
                <a:gd name="connsiteY658" fmla="*/ 226448 h 3739403"/>
                <a:gd name="connsiteX659" fmla="*/ 48384 w 4125234"/>
                <a:gd name="connsiteY659" fmla="*/ 220436 h 3739403"/>
                <a:gd name="connsiteX660" fmla="*/ 52591 w 4125234"/>
                <a:gd name="connsiteY660" fmla="*/ 212420 h 3739403"/>
                <a:gd name="connsiteX661" fmla="*/ 58902 w 4125234"/>
                <a:gd name="connsiteY661" fmla="*/ 210416 h 3739403"/>
                <a:gd name="connsiteX662" fmla="*/ 73627 w 4125234"/>
                <a:gd name="connsiteY662" fmla="*/ 202400 h 3739403"/>
                <a:gd name="connsiteX663" fmla="*/ 86249 w 4125234"/>
                <a:gd name="connsiteY663" fmla="*/ 194384 h 3739403"/>
                <a:gd name="connsiteX664" fmla="*/ 96767 w 4125234"/>
                <a:gd name="connsiteY664" fmla="*/ 182361 h 3739403"/>
                <a:gd name="connsiteX665" fmla="*/ 105182 w 4125234"/>
                <a:gd name="connsiteY665" fmla="*/ 172341 h 3739403"/>
                <a:gd name="connsiteX666" fmla="*/ 105182 w 4125234"/>
                <a:gd name="connsiteY666" fmla="*/ 160317 h 3739403"/>
                <a:gd name="connsiteX667" fmla="*/ 103078 w 4125234"/>
                <a:gd name="connsiteY667" fmla="*/ 142281 h 3739403"/>
                <a:gd name="connsiteX668" fmla="*/ 100975 w 4125234"/>
                <a:gd name="connsiteY668" fmla="*/ 134266 h 3739403"/>
                <a:gd name="connsiteX669" fmla="*/ 94664 w 4125234"/>
                <a:gd name="connsiteY669" fmla="*/ 126250 h 3739403"/>
                <a:gd name="connsiteX670" fmla="*/ 94664 w 4125234"/>
                <a:gd name="connsiteY670" fmla="*/ 124246 h 3739403"/>
                <a:gd name="connsiteX671" fmla="*/ 96767 w 4125234"/>
                <a:gd name="connsiteY671" fmla="*/ 124246 h 3739403"/>
                <a:gd name="connsiteX672" fmla="*/ 111493 w 4125234"/>
                <a:gd name="connsiteY672" fmla="*/ 124246 h 3739403"/>
                <a:gd name="connsiteX673" fmla="*/ 107285 w 4125234"/>
                <a:gd name="connsiteY673" fmla="*/ 112222 h 3739403"/>
                <a:gd name="connsiteX674" fmla="*/ 103078 w 4125234"/>
                <a:gd name="connsiteY674" fmla="*/ 102202 h 3739403"/>
                <a:gd name="connsiteX675" fmla="*/ 92560 w 4125234"/>
                <a:gd name="connsiteY675" fmla="*/ 96190 h 3739403"/>
                <a:gd name="connsiteX676" fmla="*/ 82042 w 4125234"/>
                <a:gd name="connsiteY676" fmla="*/ 92182 h 3739403"/>
                <a:gd name="connsiteX677" fmla="*/ 58902 w 4125234"/>
                <a:gd name="connsiteY677" fmla="*/ 86170 h 3739403"/>
                <a:gd name="connsiteX678" fmla="*/ 44176 w 4125234"/>
                <a:gd name="connsiteY678" fmla="*/ 82162 h 3739403"/>
                <a:gd name="connsiteX679" fmla="*/ 37865 w 4125234"/>
                <a:gd name="connsiteY679" fmla="*/ 76151 h 3739403"/>
                <a:gd name="connsiteX680" fmla="*/ 27347 w 4125234"/>
                <a:gd name="connsiteY680" fmla="*/ 66131 h 3739403"/>
                <a:gd name="connsiteX681" fmla="*/ 21036 w 4125234"/>
                <a:gd name="connsiteY681" fmla="*/ 54107 h 3739403"/>
                <a:gd name="connsiteX682" fmla="*/ 18933 w 4125234"/>
                <a:gd name="connsiteY682" fmla="*/ 30059 h 3739403"/>
                <a:gd name="connsiteX683" fmla="*/ 16829 w 4125234"/>
                <a:gd name="connsiteY683" fmla="*/ 22043 h 3739403"/>
                <a:gd name="connsiteX684" fmla="*/ 8414 w 4125234"/>
                <a:gd name="connsiteY684" fmla="*/ 14028 h 3739403"/>
                <a:gd name="connsiteX685" fmla="*/ 2104 w 4125234"/>
                <a:gd name="connsiteY685" fmla="*/ 8016 h 3739403"/>
                <a:gd name="connsiteX686" fmla="*/ 0 w 4125234"/>
                <a:gd name="connsiteY686" fmla="*/ 0 h 3739403"/>
                <a:gd name="connsiteX0" fmla="*/ 1133193 w 4125234"/>
                <a:gd name="connsiteY0" fmla="*/ 1222419 h 3739403"/>
                <a:gd name="connsiteX1" fmla="*/ 1137390 w 4125234"/>
                <a:gd name="connsiteY1" fmla="*/ 1224444 h 3739403"/>
                <a:gd name="connsiteX2" fmla="*/ 1244665 w 4125234"/>
                <a:gd name="connsiteY2" fmla="*/ 1312603 h 3739403"/>
                <a:gd name="connsiteX3" fmla="*/ 1354075 w 4125234"/>
                <a:gd name="connsiteY3" fmla="*/ 1396759 h 3739403"/>
                <a:gd name="connsiteX4" fmla="*/ 1349569 w 4125234"/>
                <a:gd name="connsiteY4" fmla="*/ 1401766 h 3739403"/>
                <a:gd name="connsiteX5" fmla="*/ 1371561 w 4125234"/>
                <a:gd name="connsiteY5" fmla="*/ 1414763 h 3739403"/>
                <a:gd name="connsiteX6" fmla="*/ 1562977 w 4125234"/>
                <a:gd name="connsiteY6" fmla="*/ 1565059 h 3739403"/>
                <a:gd name="connsiteX7" fmla="*/ 1584034 w 4125234"/>
                <a:gd name="connsiteY7" fmla="*/ 1581155 h 3739403"/>
                <a:gd name="connsiteX8" fmla="*/ 1834435 w 4125234"/>
                <a:gd name="connsiteY8" fmla="*/ 1783561 h 3739403"/>
                <a:gd name="connsiteX9" fmla="*/ 1975365 w 4125234"/>
                <a:gd name="connsiteY9" fmla="*/ 1899753 h 3739403"/>
                <a:gd name="connsiteX10" fmla="*/ 2231981 w 4125234"/>
                <a:gd name="connsiteY10" fmla="*/ 2114231 h 3739403"/>
                <a:gd name="connsiteX11" fmla="*/ 2278281 w 4125234"/>
                <a:gd name="connsiteY11" fmla="*/ 2152258 h 3739403"/>
                <a:gd name="connsiteX12" fmla="*/ 2322425 w 4125234"/>
                <a:gd name="connsiteY12" fmla="*/ 2188373 h 3739403"/>
                <a:gd name="connsiteX13" fmla="*/ 2406526 w 4125234"/>
                <a:gd name="connsiteY13" fmla="*/ 2258491 h 3739403"/>
                <a:gd name="connsiteX14" fmla="*/ 2427583 w 4125234"/>
                <a:gd name="connsiteY14" fmla="*/ 2276498 h 3739403"/>
                <a:gd name="connsiteX15" fmla="*/ 2534898 w 4125234"/>
                <a:gd name="connsiteY15" fmla="*/ 2368648 h 3739403"/>
                <a:gd name="connsiteX16" fmla="*/ 2547456 w 4125234"/>
                <a:gd name="connsiteY16" fmla="*/ 2378708 h 3739403"/>
                <a:gd name="connsiteX17" fmla="*/ 2574855 w 4125234"/>
                <a:gd name="connsiteY17" fmla="*/ 2400739 h 3739403"/>
                <a:gd name="connsiteX18" fmla="*/ 2574640 w 4125234"/>
                <a:gd name="connsiteY18" fmla="*/ 2400739 h 3739403"/>
                <a:gd name="connsiteX19" fmla="*/ 2574864 w 4125234"/>
                <a:gd name="connsiteY19" fmla="*/ 2400772 h 3739403"/>
                <a:gd name="connsiteX20" fmla="*/ 2608534 w 4125234"/>
                <a:gd name="connsiteY20" fmla="*/ 2424867 h 3739403"/>
                <a:gd name="connsiteX21" fmla="*/ 2639989 w 4125234"/>
                <a:gd name="connsiteY21" fmla="*/ 2448829 h 3739403"/>
                <a:gd name="connsiteX22" fmla="*/ 2701127 w 4125234"/>
                <a:gd name="connsiteY22" fmla="*/ 2498894 h 3739403"/>
                <a:gd name="connsiteX23" fmla="*/ 2757834 w 4125234"/>
                <a:gd name="connsiteY23" fmla="*/ 2554982 h 3739403"/>
                <a:gd name="connsiteX24" fmla="*/ 2818971 w 4125234"/>
                <a:gd name="connsiteY24" fmla="*/ 2603173 h 3739403"/>
                <a:gd name="connsiteX25" fmla="*/ 3033396 w 4125234"/>
                <a:gd name="connsiteY25" fmla="*/ 2789511 h 3739403"/>
                <a:gd name="connsiteX26" fmla="*/ 3262662 w 4125234"/>
                <a:gd name="connsiteY26" fmla="*/ 2977856 h 3739403"/>
                <a:gd name="connsiteX27" fmla="*/ 3487941 w 4125234"/>
                <a:gd name="connsiteY27" fmla="*/ 3174233 h 3739403"/>
                <a:gd name="connsiteX28" fmla="*/ 3576103 w 4125234"/>
                <a:gd name="connsiteY28" fmla="*/ 3248393 h 3739403"/>
                <a:gd name="connsiteX29" fmla="*/ 3855874 w 4125234"/>
                <a:gd name="connsiteY29" fmla="*/ 3490819 h 3739403"/>
                <a:gd name="connsiteX30" fmla="*/ 3992769 w 4125234"/>
                <a:gd name="connsiteY30" fmla="*/ 3613170 h 3739403"/>
                <a:gd name="connsiteX31" fmla="*/ 4125234 w 4125234"/>
                <a:gd name="connsiteY31" fmla="*/ 3739403 h 3739403"/>
                <a:gd name="connsiteX32" fmla="*/ 3771921 w 4125234"/>
                <a:gd name="connsiteY32" fmla="*/ 3735387 h 3739403"/>
                <a:gd name="connsiteX33" fmla="*/ 3416392 w 4125234"/>
                <a:gd name="connsiteY33" fmla="*/ 3735387 h 3739403"/>
                <a:gd name="connsiteX34" fmla="*/ 3062857 w 4125234"/>
                <a:gd name="connsiteY34" fmla="*/ 3735387 h 3739403"/>
                <a:gd name="connsiteX35" fmla="*/ 2707329 w 4125234"/>
                <a:gd name="connsiteY35" fmla="*/ 3733379 h 3739403"/>
                <a:gd name="connsiteX36" fmla="*/ 2579073 w 4125234"/>
                <a:gd name="connsiteY36" fmla="*/ 3733379 h 3739403"/>
                <a:gd name="connsiteX37" fmla="*/ 2452810 w 4125234"/>
                <a:gd name="connsiteY37" fmla="*/ 3735387 h 3739403"/>
                <a:gd name="connsiteX38" fmla="*/ 2457019 w 4125234"/>
                <a:gd name="connsiteY38" fmla="*/ 3711292 h 3739403"/>
                <a:gd name="connsiteX39" fmla="*/ 2457019 w 4125234"/>
                <a:gd name="connsiteY39" fmla="*/ 3699244 h 3739403"/>
                <a:gd name="connsiteX40" fmla="*/ 2459234 w 4125234"/>
                <a:gd name="connsiteY40" fmla="*/ 3689338 h 3739403"/>
                <a:gd name="connsiteX41" fmla="*/ 2461228 w 4125234"/>
                <a:gd name="connsiteY41" fmla="*/ 3683314 h 3739403"/>
                <a:gd name="connsiteX42" fmla="*/ 2467652 w 4125234"/>
                <a:gd name="connsiteY42" fmla="*/ 3681307 h 3739403"/>
                <a:gd name="connsiteX43" fmla="*/ 2471860 w 4125234"/>
                <a:gd name="connsiteY43" fmla="*/ 3675283 h 3739403"/>
                <a:gd name="connsiteX44" fmla="*/ 2478063 w 4125234"/>
                <a:gd name="connsiteY44" fmla="*/ 3671267 h 3739403"/>
                <a:gd name="connsiteX45" fmla="*/ 2478063 w 4125234"/>
                <a:gd name="connsiteY45" fmla="*/ 3661227 h 3739403"/>
                <a:gd name="connsiteX46" fmla="*/ 2473854 w 4125234"/>
                <a:gd name="connsiteY46" fmla="*/ 3651187 h 3739403"/>
                <a:gd name="connsiteX47" fmla="*/ 2463443 w 4125234"/>
                <a:gd name="connsiteY47" fmla="*/ 3625084 h 3739403"/>
                <a:gd name="connsiteX48" fmla="*/ 2452810 w 4125234"/>
                <a:gd name="connsiteY48" fmla="*/ 3603130 h 3739403"/>
                <a:gd name="connsiteX49" fmla="*/ 2450817 w 4125234"/>
                <a:gd name="connsiteY49" fmla="*/ 3597107 h 3739403"/>
                <a:gd name="connsiteX50" fmla="*/ 2452810 w 4125234"/>
                <a:gd name="connsiteY50" fmla="*/ 3593091 h 3739403"/>
                <a:gd name="connsiteX51" fmla="*/ 2435975 w 4125234"/>
                <a:gd name="connsiteY51" fmla="*/ 3547042 h 3739403"/>
                <a:gd name="connsiteX52" fmla="*/ 2421355 w 4125234"/>
                <a:gd name="connsiteY52" fmla="*/ 3511033 h 3739403"/>
                <a:gd name="connsiteX53" fmla="*/ 2417147 w 4125234"/>
                <a:gd name="connsiteY53" fmla="*/ 3488811 h 3739403"/>
                <a:gd name="connsiteX54" fmla="*/ 2417147 w 4125234"/>
                <a:gd name="connsiteY54" fmla="*/ 3476898 h 3739403"/>
                <a:gd name="connsiteX55" fmla="*/ 2419140 w 4125234"/>
                <a:gd name="connsiteY55" fmla="*/ 3458826 h 3739403"/>
                <a:gd name="connsiteX56" fmla="*/ 2419140 w 4125234"/>
                <a:gd name="connsiteY56" fmla="*/ 3446778 h 3739403"/>
                <a:gd name="connsiteX57" fmla="*/ 2419140 w 4125234"/>
                <a:gd name="connsiteY57" fmla="*/ 3438747 h 3739403"/>
                <a:gd name="connsiteX58" fmla="*/ 2417147 w 4125234"/>
                <a:gd name="connsiteY58" fmla="*/ 3432723 h 3739403"/>
                <a:gd name="connsiteX59" fmla="*/ 2408729 w 4125234"/>
                <a:gd name="connsiteY59" fmla="*/ 3422817 h 3739403"/>
                <a:gd name="connsiteX60" fmla="*/ 2398097 w 4125234"/>
                <a:gd name="connsiteY60" fmla="*/ 3416793 h 3739403"/>
                <a:gd name="connsiteX61" fmla="*/ 2393888 w 4125234"/>
                <a:gd name="connsiteY61" fmla="*/ 3408761 h 3739403"/>
                <a:gd name="connsiteX62" fmla="*/ 2387685 w 4125234"/>
                <a:gd name="connsiteY62" fmla="*/ 3398722 h 3739403"/>
                <a:gd name="connsiteX63" fmla="*/ 2377053 w 4125234"/>
                <a:gd name="connsiteY63" fmla="*/ 3370744 h 3739403"/>
                <a:gd name="connsiteX64" fmla="*/ 2372844 w 4125234"/>
                <a:gd name="connsiteY64" fmla="*/ 3356555 h 3739403"/>
                <a:gd name="connsiteX65" fmla="*/ 2372844 w 4125234"/>
                <a:gd name="connsiteY65" fmla="*/ 3344641 h 3739403"/>
                <a:gd name="connsiteX66" fmla="*/ 2372844 w 4125234"/>
                <a:gd name="connsiteY66" fmla="*/ 3334601 h 3739403"/>
                <a:gd name="connsiteX67" fmla="*/ 2379268 w 4125234"/>
                <a:gd name="connsiteY67" fmla="*/ 3320679 h 3739403"/>
                <a:gd name="connsiteX68" fmla="*/ 2385470 w 4125234"/>
                <a:gd name="connsiteY68" fmla="*/ 3308498 h 3739403"/>
                <a:gd name="connsiteX69" fmla="*/ 2385470 w 4125234"/>
                <a:gd name="connsiteY69" fmla="*/ 3298458 h 3739403"/>
                <a:gd name="connsiteX70" fmla="*/ 2383477 w 4125234"/>
                <a:gd name="connsiteY70" fmla="*/ 3290560 h 3739403"/>
                <a:gd name="connsiteX71" fmla="*/ 2377053 w 4125234"/>
                <a:gd name="connsiteY71" fmla="*/ 3284536 h 3739403"/>
                <a:gd name="connsiteX72" fmla="*/ 2364427 w 4125234"/>
                <a:gd name="connsiteY72" fmla="*/ 3270347 h 3739403"/>
                <a:gd name="connsiteX73" fmla="*/ 2358224 w 4125234"/>
                <a:gd name="connsiteY73" fmla="*/ 3266465 h 3739403"/>
                <a:gd name="connsiteX74" fmla="*/ 2354016 w 4125234"/>
                <a:gd name="connsiteY74" fmla="*/ 3264457 h 3739403"/>
                <a:gd name="connsiteX75" fmla="*/ 2351800 w 4125234"/>
                <a:gd name="connsiteY75" fmla="*/ 3258433 h 3739403"/>
                <a:gd name="connsiteX76" fmla="*/ 2354016 w 4125234"/>
                <a:gd name="connsiteY76" fmla="*/ 3256425 h 3739403"/>
                <a:gd name="connsiteX77" fmla="*/ 2358224 w 4125234"/>
                <a:gd name="connsiteY77" fmla="*/ 3254417 h 3739403"/>
                <a:gd name="connsiteX78" fmla="*/ 2362433 w 4125234"/>
                <a:gd name="connsiteY78" fmla="*/ 3250401 h 3739403"/>
                <a:gd name="connsiteX79" fmla="*/ 2364427 w 4125234"/>
                <a:gd name="connsiteY79" fmla="*/ 3250401 h 3739403"/>
                <a:gd name="connsiteX80" fmla="*/ 2362433 w 4125234"/>
                <a:gd name="connsiteY80" fmla="*/ 3240495 h 3739403"/>
                <a:gd name="connsiteX81" fmla="*/ 2356009 w 4125234"/>
                <a:gd name="connsiteY81" fmla="*/ 3236479 h 3739403"/>
                <a:gd name="connsiteX82" fmla="*/ 2351800 w 4125234"/>
                <a:gd name="connsiteY82" fmla="*/ 3234472 h 3739403"/>
                <a:gd name="connsiteX83" fmla="*/ 2345598 w 4125234"/>
                <a:gd name="connsiteY83" fmla="*/ 3230456 h 3739403"/>
                <a:gd name="connsiteX84" fmla="*/ 2332972 w 4125234"/>
                <a:gd name="connsiteY84" fmla="*/ 3230456 h 3739403"/>
                <a:gd name="connsiteX85" fmla="*/ 2326548 w 4125234"/>
                <a:gd name="connsiteY85" fmla="*/ 3230456 h 3739403"/>
                <a:gd name="connsiteX86" fmla="*/ 2320346 w 4125234"/>
                <a:gd name="connsiteY86" fmla="*/ 3226440 h 3739403"/>
                <a:gd name="connsiteX87" fmla="*/ 2311928 w 4125234"/>
                <a:gd name="connsiteY87" fmla="*/ 3218274 h 3739403"/>
                <a:gd name="connsiteX88" fmla="*/ 2303511 w 4125234"/>
                <a:gd name="connsiteY88" fmla="*/ 3208368 h 3739403"/>
                <a:gd name="connsiteX89" fmla="*/ 2295093 w 4125234"/>
                <a:gd name="connsiteY89" fmla="*/ 3188423 h 3739403"/>
                <a:gd name="connsiteX90" fmla="*/ 2292878 w 4125234"/>
                <a:gd name="connsiteY90" fmla="*/ 3176241 h 3739403"/>
                <a:gd name="connsiteX91" fmla="*/ 2292878 w 4125234"/>
                <a:gd name="connsiteY91" fmla="*/ 3166201 h 3739403"/>
                <a:gd name="connsiteX92" fmla="*/ 2290884 w 4125234"/>
                <a:gd name="connsiteY92" fmla="*/ 3156295 h 3739403"/>
                <a:gd name="connsiteX93" fmla="*/ 2284460 w 4125234"/>
                <a:gd name="connsiteY93" fmla="*/ 3144248 h 3739403"/>
                <a:gd name="connsiteX94" fmla="*/ 2278258 w 4125234"/>
                <a:gd name="connsiteY94" fmla="*/ 3138224 h 3739403"/>
                <a:gd name="connsiteX95" fmla="*/ 2269841 w 4125234"/>
                <a:gd name="connsiteY95" fmla="*/ 3132200 h 3739403"/>
                <a:gd name="connsiteX96" fmla="*/ 2263417 w 4125234"/>
                <a:gd name="connsiteY96" fmla="*/ 3126176 h 3739403"/>
                <a:gd name="connsiteX97" fmla="*/ 2259208 w 4125234"/>
                <a:gd name="connsiteY97" fmla="*/ 3116137 h 3739403"/>
                <a:gd name="connsiteX98" fmla="*/ 2259208 w 4125234"/>
                <a:gd name="connsiteY98" fmla="*/ 3114129 h 3739403"/>
                <a:gd name="connsiteX99" fmla="*/ 2259208 w 4125234"/>
                <a:gd name="connsiteY99" fmla="*/ 3112121 h 3739403"/>
                <a:gd name="connsiteX100" fmla="*/ 2263417 w 4125234"/>
                <a:gd name="connsiteY100" fmla="*/ 3104223 h 3739403"/>
                <a:gd name="connsiteX101" fmla="*/ 2267625 w 4125234"/>
                <a:gd name="connsiteY101" fmla="*/ 3098199 h 3739403"/>
                <a:gd name="connsiteX102" fmla="*/ 2267625 w 4125234"/>
                <a:gd name="connsiteY102" fmla="*/ 3096191 h 3739403"/>
                <a:gd name="connsiteX103" fmla="*/ 2267625 w 4125234"/>
                <a:gd name="connsiteY103" fmla="*/ 3094183 h 3739403"/>
                <a:gd name="connsiteX104" fmla="*/ 2246582 w 4125234"/>
                <a:gd name="connsiteY104" fmla="*/ 3066072 h 3739403"/>
                <a:gd name="connsiteX105" fmla="*/ 2236171 w 4125234"/>
                <a:gd name="connsiteY105" fmla="*/ 3054158 h 3739403"/>
                <a:gd name="connsiteX106" fmla="*/ 2227753 w 4125234"/>
                <a:gd name="connsiteY106" fmla="*/ 3037960 h 3739403"/>
                <a:gd name="connsiteX107" fmla="*/ 2225759 w 4125234"/>
                <a:gd name="connsiteY107" fmla="*/ 3035953 h 3739403"/>
                <a:gd name="connsiteX108" fmla="*/ 2219336 w 4125234"/>
                <a:gd name="connsiteY108" fmla="*/ 3033945 h 3739403"/>
                <a:gd name="connsiteX109" fmla="*/ 2215127 w 4125234"/>
                <a:gd name="connsiteY109" fmla="*/ 3027921 h 3739403"/>
                <a:gd name="connsiteX110" fmla="*/ 2215127 w 4125234"/>
                <a:gd name="connsiteY110" fmla="*/ 3026047 h 3739403"/>
                <a:gd name="connsiteX111" fmla="*/ 2215127 w 4125234"/>
                <a:gd name="connsiteY111" fmla="*/ 3022031 h 3739403"/>
                <a:gd name="connsiteX112" fmla="*/ 2219336 w 4125234"/>
                <a:gd name="connsiteY112" fmla="*/ 3018015 h 3739403"/>
                <a:gd name="connsiteX113" fmla="*/ 2227753 w 4125234"/>
                <a:gd name="connsiteY113" fmla="*/ 3016007 h 3739403"/>
                <a:gd name="connsiteX114" fmla="*/ 2229747 w 4125234"/>
                <a:gd name="connsiteY114" fmla="*/ 3011991 h 3739403"/>
                <a:gd name="connsiteX115" fmla="*/ 2229747 w 4125234"/>
                <a:gd name="connsiteY115" fmla="*/ 3001817 h 3739403"/>
                <a:gd name="connsiteX116" fmla="*/ 2229747 w 4125234"/>
                <a:gd name="connsiteY116" fmla="*/ 2993919 h 3739403"/>
                <a:gd name="connsiteX117" fmla="*/ 2225759 w 4125234"/>
                <a:gd name="connsiteY117" fmla="*/ 2985888 h 3739403"/>
                <a:gd name="connsiteX118" fmla="*/ 2215127 w 4125234"/>
                <a:gd name="connsiteY118" fmla="*/ 2977856 h 3739403"/>
                <a:gd name="connsiteX119" fmla="*/ 2208924 w 4125234"/>
                <a:gd name="connsiteY119" fmla="*/ 2973974 h 3739403"/>
                <a:gd name="connsiteX120" fmla="*/ 2204716 w 4125234"/>
                <a:gd name="connsiteY120" fmla="*/ 2963934 h 3739403"/>
                <a:gd name="connsiteX121" fmla="*/ 2196298 w 4125234"/>
                <a:gd name="connsiteY121" fmla="*/ 2941847 h 3739403"/>
                <a:gd name="connsiteX122" fmla="*/ 2192089 w 4125234"/>
                <a:gd name="connsiteY122" fmla="*/ 2919893 h 3739403"/>
                <a:gd name="connsiteX123" fmla="*/ 2192089 w 4125234"/>
                <a:gd name="connsiteY123" fmla="*/ 2909720 h 3739403"/>
                <a:gd name="connsiteX124" fmla="*/ 2192089 w 4125234"/>
                <a:gd name="connsiteY124" fmla="*/ 2901688 h 3739403"/>
                <a:gd name="connsiteX125" fmla="*/ 2198292 w 4125234"/>
                <a:gd name="connsiteY125" fmla="*/ 2899680 h 3739403"/>
                <a:gd name="connsiteX126" fmla="*/ 2204716 w 4125234"/>
                <a:gd name="connsiteY126" fmla="*/ 2893656 h 3739403"/>
                <a:gd name="connsiteX127" fmla="*/ 2208924 w 4125234"/>
                <a:gd name="connsiteY127" fmla="*/ 2889774 h 3739403"/>
                <a:gd name="connsiteX128" fmla="*/ 2208924 w 4125234"/>
                <a:gd name="connsiteY128" fmla="*/ 2885758 h 3739403"/>
                <a:gd name="connsiteX129" fmla="*/ 2206709 w 4125234"/>
                <a:gd name="connsiteY129" fmla="*/ 2879734 h 3739403"/>
                <a:gd name="connsiteX130" fmla="*/ 2204716 w 4125234"/>
                <a:gd name="connsiteY130" fmla="*/ 2869695 h 3739403"/>
                <a:gd name="connsiteX131" fmla="*/ 2196298 w 4125234"/>
                <a:gd name="connsiteY131" fmla="*/ 2845599 h 3739403"/>
                <a:gd name="connsiteX132" fmla="*/ 2187881 w 4125234"/>
                <a:gd name="connsiteY132" fmla="*/ 2821504 h 3739403"/>
                <a:gd name="connsiteX133" fmla="*/ 2181457 w 4125234"/>
                <a:gd name="connsiteY133" fmla="*/ 2795534 h 3739403"/>
                <a:gd name="connsiteX134" fmla="*/ 2171046 w 4125234"/>
                <a:gd name="connsiteY134" fmla="*/ 2763407 h 3739403"/>
                <a:gd name="connsiteX135" fmla="*/ 2164622 w 4125234"/>
                <a:gd name="connsiteY135" fmla="*/ 2749485 h 3739403"/>
                <a:gd name="connsiteX136" fmla="*/ 2156204 w 4125234"/>
                <a:gd name="connsiteY136" fmla="*/ 2737438 h 3739403"/>
                <a:gd name="connsiteX137" fmla="*/ 2145793 w 4125234"/>
                <a:gd name="connsiteY137" fmla="*/ 2723382 h 3739403"/>
                <a:gd name="connsiteX138" fmla="*/ 2139369 w 4125234"/>
                <a:gd name="connsiteY138" fmla="*/ 2719366 h 3739403"/>
                <a:gd name="connsiteX139" fmla="*/ 2109908 w 4125234"/>
                <a:gd name="connsiteY139" fmla="*/ 2707319 h 3739403"/>
                <a:gd name="connsiteX140" fmla="*/ 2082662 w 4125234"/>
                <a:gd name="connsiteY140" fmla="*/ 2689247 h 3739403"/>
                <a:gd name="connsiteX141" fmla="*/ 2055194 w 4125234"/>
                <a:gd name="connsiteY141" fmla="*/ 2677333 h 3739403"/>
                <a:gd name="connsiteX142" fmla="*/ 2025733 w 4125234"/>
                <a:gd name="connsiteY142" fmla="*/ 2663278 h 3739403"/>
                <a:gd name="connsiteX143" fmla="*/ 2008898 w 4125234"/>
                <a:gd name="connsiteY143" fmla="*/ 2659262 h 3739403"/>
                <a:gd name="connsiteX144" fmla="*/ 2004689 w 4125234"/>
                <a:gd name="connsiteY144" fmla="*/ 2657254 h 3739403"/>
                <a:gd name="connsiteX145" fmla="*/ 2002696 w 4125234"/>
                <a:gd name="connsiteY145" fmla="*/ 2649356 h 3739403"/>
                <a:gd name="connsiteX146" fmla="*/ 1998487 w 4125234"/>
                <a:gd name="connsiteY146" fmla="*/ 2633158 h 3739403"/>
                <a:gd name="connsiteX147" fmla="*/ 1994278 w 4125234"/>
                <a:gd name="connsiteY147" fmla="*/ 2619237 h 3739403"/>
                <a:gd name="connsiteX148" fmla="*/ 1987854 w 4125234"/>
                <a:gd name="connsiteY148" fmla="*/ 2601031 h 3739403"/>
                <a:gd name="connsiteX149" fmla="*/ 1985861 w 4125234"/>
                <a:gd name="connsiteY149" fmla="*/ 2597149 h 3739403"/>
                <a:gd name="connsiteX150" fmla="*/ 1983645 w 4125234"/>
                <a:gd name="connsiteY150" fmla="*/ 2593133 h 3739403"/>
                <a:gd name="connsiteX151" fmla="*/ 1981652 w 4125234"/>
                <a:gd name="connsiteY151" fmla="*/ 2589117 h 3739403"/>
                <a:gd name="connsiteX152" fmla="*/ 1981652 w 4125234"/>
                <a:gd name="connsiteY152" fmla="*/ 2581086 h 3739403"/>
                <a:gd name="connsiteX153" fmla="*/ 1983645 w 4125234"/>
                <a:gd name="connsiteY153" fmla="*/ 2579078 h 3739403"/>
                <a:gd name="connsiteX154" fmla="*/ 1985861 w 4125234"/>
                <a:gd name="connsiteY154" fmla="*/ 2579078 h 3739403"/>
                <a:gd name="connsiteX155" fmla="*/ 1992063 w 4125234"/>
                <a:gd name="connsiteY155" fmla="*/ 2577070 h 3739403"/>
                <a:gd name="connsiteX156" fmla="*/ 1992063 w 4125234"/>
                <a:gd name="connsiteY156" fmla="*/ 2573054 h 3739403"/>
                <a:gd name="connsiteX157" fmla="*/ 1992063 w 4125234"/>
                <a:gd name="connsiteY157" fmla="*/ 2563148 h 3739403"/>
                <a:gd name="connsiteX158" fmla="*/ 1983645 w 4125234"/>
                <a:gd name="connsiteY158" fmla="*/ 2548959 h 3739403"/>
                <a:gd name="connsiteX159" fmla="*/ 1971019 w 4125234"/>
                <a:gd name="connsiteY159" fmla="*/ 2529013 h 3739403"/>
                <a:gd name="connsiteX160" fmla="*/ 1960608 w 4125234"/>
                <a:gd name="connsiteY160" fmla="*/ 2520981 h 3739403"/>
                <a:gd name="connsiteX161" fmla="*/ 1952191 w 4125234"/>
                <a:gd name="connsiteY161" fmla="*/ 2518973 h 3739403"/>
                <a:gd name="connsiteX162" fmla="*/ 1941558 w 4125234"/>
                <a:gd name="connsiteY162" fmla="*/ 2517099 h 3739403"/>
                <a:gd name="connsiteX163" fmla="*/ 1928932 w 4125234"/>
                <a:gd name="connsiteY163" fmla="*/ 2510941 h 3739403"/>
                <a:gd name="connsiteX164" fmla="*/ 1920514 w 4125234"/>
                <a:gd name="connsiteY164" fmla="*/ 2504918 h 3739403"/>
                <a:gd name="connsiteX165" fmla="*/ 1918521 w 4125234"/>
                <a:gd name="connsiteY165" fmla="*/ 2500902 h 3739403"/>
                <a:gd name="connsiteX166" fmla="*/ 1918521 w 4125234"/>
                <a:gd name="connsiteY166" fmla="*/ 2498894 h 3739403"/>
                <a:gd name="connsiteX167" fmla="*/ 1920514 w 4125234"/>
                <a:gd name="connsiteY167" fmla="*/ 2494878 h 3739403"/>
                <a:gd name="connsiteX168" fmla="*/ 1920514 w 4125234"/>
                <a:gd name="connsiteY168" fmla="*/ 2484972 h 3739403"/>
                <a:gd name="connsiteX169" fmla="*/ 1910103 w 4125234"/>
                <a:gd name="connsiteY169" fmla="*/ 2460877 h 3739403"/>
                <a:gd name="connsiteX170" fmla="*/ 1910103 w 4125234"/>
                <a:gd name="connsiteY170" fmla="*/ 2454853 h 3739403"/>
                <a:gd name="connsiteX171" fmla="*/ 1910103 w 4125234"/>
                <a:gd name="connsiteY171" fmla="*/ 2440797 h 3739403"/>
                <a:gd name="connsiteX172" fmla="*/ 1914312 w 4125234"/>
                <a:gd name="connsiteY172" fmla="*/ 2430891 h 3739403"/>
                <a:gd name="connsiteX173" fmla="*/ 1920514 w 4125234"/>
                <a:gd name="connsiteY173" fmla="*/ 2424867 h 3739403"/>
                <a:gd name="connsiteX174" fmla="*/ 1922729 w 4125234"/>
                <a:gd name="connsiteY174" fmla="*/ 2418710 h 3739403"/>
                <a:gd name="connsiteX175" fmla="*/ 1922729 w 4125234"/>
                <a:gd name="connsiteY175" fmla="*/ 2416702 h 3739403"/>
                <a:gd name="connsiteX176" fmla="*/ 1920514 w 4125234"/>
                <a:gd name="connsiteY176" fmla="*/ 2410678 h 3739403"/>
                <a:gd name="connsiteX177" fmla="*/ 1914312 w 4125234"/>
                <a:gd name="connsiteY177" fmla="*/ 2404788 h 3739403"/>
                <a:gd name="connsiteX178" fmla="*/ 1914497 w 4125234"/>
                <a:gd name="connsiteY178" fmla="*/ 2404741 h 3739403"/>
                <a:gd name="connsiteX179" fmla="*/ 1914350 w 4125234"/>
                <a:gd name="connsiteY179" fmla="*/ 2404763 h 3739403"/>
                <a:gd name="connsiteX180" fmla="*/ 1901665 w 4125234"/>
                <a:gd name="connsiteY180" fmla="*/ 2394703 h 3739403"/>
                <a:gd name="connsiteX181" fmla="*/ 1891137 w 4125234"/>
                <a:gd name="connsiteY181" fmla="*/ 2390780 h 3739403"/>
                <a:gd name="connsiteX182" fmla="*/ 1880608 w 4125234"/>
                <a:gd name="connsiteY182" fmla="*/ 2390780 h 3739403"/>
                <a:gd name="connsiteX183" fmla="*/ 1865894 w 4125234"/>
                <a:gd name="connsiteY183" fmla="*/ 2388768 h 3739403"/>
                <a:gd name="connsiteX184" fmla="*/ 1859678 w 4125234"/>
                <a:gd name="connsiteY184" fmla="*/ 2384744 h 3739403"/>
                <a:gd name="connsiteX185" fmla="*/ 1853335 w 4125234"/>
                <a:gd name="connsiteY185" fmla="*/ 2376696 h 3739403"/>
                <a:gd name="connsiteX186" fmla="*/ 1838621 w 4125234"/>
                <a:gd name="connsiteY186" fmla="*/ 2364725 h 3739403"/>
                <a:gd name="connsiteX187" fmla="*/ 1828092 w 4125234"/>
                <a:gd name="connsiteY187" fmla="*/ 2354665 h 3739403"/>
                <a:gd name="connsiteX188" fmla="*/ 1817564 w 4125234"/>
                <a:gd name="connsiteY188" fmla="*/ 2346617 h 3739403"/>
                <a:gd name="connsiteX189" fmla="*/ 1794351 w 4125234"/>
                <a:gd name="connsiteY189" fmla="*/ 2332633 h 3739403"/>
                <a:gd name="connsiteX190" fmla="*/ 1769107 w 4125234"/>
                <a:gd name="connsiteY190" fmla="*/ 2322573 h 3739403"/>
                <a:gd name="connsiteX191" fmla="*/ 1743864 w 4125234"/>
                <a:gd name="connsiteY191" fmla="*/ 2306578 h 3739403"/>
                <a:gd name="connsiteX192" fmla="*/ 1737649 w 4125234"/>
                <a:gd name="connsiteY192" fmla="*/ 2294506 h 3739403"/>
                <a:gd name="connsiteX193" fmla="*/ 1731306 w 4125234"/>
                <a:gd name="connsiteY193" fmla="*/ 2282534 h 3739403"/>
                <a:gd name="connsiteX194" fmla="*/ 1720778 w 4125234"/>
                <a:gd name="connsiteY194" fmla="*/ 2254467 h 3739403"/>
                <a:gd name="connsiteX195" fmla="*/ 1708093 w 4125234"/>
                <a:gd name="connsiteY195" fmla="*/ 2226400 h 3739403"/>
                <a:gd name="connsiteX196" fmla="*/ 1699721 w 4125234"/>
                <a:gd name="connsiteY196" fmla="*/ 2214429 h 3739403"/>
                <a:gd name="connsiteX197" fmla="*/ 1691349 w 4125234"/>
                <a:gd name="connsiteY197" fmla="*/ 2202357 h 3739403"/>
                <a:gd name="connsiteX198" fmla="*/ 1678664 w 4125234"/>
                <a:gd name="connsiteY198" fmla="*/ 2188373 h 3739403"/>
                <a:gd name="connsiteX199" fmla="*/ 1659763 w 4125234"/>
                <a:gd name="connsiteY199" fmla="*/ 2182337 h 3739403"/>
                <a:gd name="connsiteX200" fmla="*/ 1642892 w 4125234"/>
                <a:gd name="connsiteY200" fmla="*/ 2178313 h 3739403"/>
                <a:gd name="connsiteX201" fmla="*/ 1623992 w 4125234"/>
                <a:gd name="connsiteY201" fmla="*/ 2182337 h 3739403"/>
                <a:gd name="connsiteX202" fmla="*/ 1617649 w 4125234"/>
                <a:gd name="connsiteY202" fmla="*/ 2184349 h 3739403"/>
                <a:gd name="connsiteX203" fmla="*/ 1611434 w 4125234"/>
                <a:gd name="connsiteY203" fmla="*/ 2188373 h 3739403"/>
                <a:gd name="connsiteX204" fmla="*/ 1605091 w 4125234"/>
                <a:gd name="connsiteY204" fmla="*/ 2194309 h 3739403"/>
                <a:gd name="connsiteX205" fmla="*/ 1596719 w 4125234"/>
                <a:gd name="connsiteY205" fmla="*/ 2196321 h 3739403"/>
                <a:gd name="connsiteX206" fmla="*/ 1592406 w 4125234"/>
                <a:gd name="connsiteY206" fmla="*/ 2194309 h 3739403"/>
                <a:gd name="connsiteX207" fmla="*/ 1584034 w 4125234"/>
                <a:gd name="connsiteY207" fmla="*/ 2188373 h 3739403"/>
                <a:gd name="connsiteX208" fmla="*/ 1571476 w 4125234"/>
                <a:gd name="connsiteY208" fmla="*/ 2184349 h 3739403"/>
                <a:gd name="connsiteX209" fmla="*/ 1571353 w 4125234"/>
                <a:gd name="connsiteY209" fmla="*/ 2182289 h 3739403"/>
                <a:gd name="connsiteX210" fmla="*/ 1567208 w 4125234"/>
                <a:gd name="connsiteY210" fmla="*/ 2180314 h 3739403"/>
                <a:gd name="connsiteX211" fmla="*/ 1558794 w 4125234"/>
                <a:gd name="connsiteY211" fmla="*/ 2180314 h 3739403"/>
                <a:gd name="connsiteX212" fmla="*/ 1550379 w 4125234"/>
                <a:gd name="connsiteY212" fmla="*/ 2172298 h 3739403"/>
                <a:gd name="connsiteX213" fmla="*/ 1546172 w 4125234"/>
                <a:gd name="connsiteY213" fmla="*/ 2162279 h 3739403"/>
                <a:gd name="connsiteX214" fmla="*/ 1541965 w 4125234"/>
                <a:gd name="connsiteY214" fmla="*/ 2150255 h 3739403"/>
                <a:gd name="connsiteX215" fmla="*/ 1541957 w 4125234"/>
                <a:gd name="connsiteY215" fmla="*/ 2150237 h 3739403"/>
                <a:gd name="connsiteX216" fmla="*/ 1405199 w 4125234"/>
                <a:gd name="connsiteY216" fmla="*/ 2272510 h 3739403"/>
                <a:gd name="connsiteX217" fmla="*/ 1384200 w 4125234"/>
                <a:gd name="connsiteY217" fmla="*/ 2292557 h 3739403"/>
                <a:gd name="connsiteX218" fmla="*/ 1369462 w 4125234"/>
                <a:gd name="connsiteY218" fmla="*/ 2306550 h 3739403"/>
                <a:gd name="connsiteX219" fmla="*/ 1363124 w 4125234"/>
                <a:gd name="connsiteY219" fmla="*/ 2314603 h 3739403"/>
                <a:gd name="connsiteX220" fmla="*/ 1358924 w 4125234"/>
                <a:gd name="connsiteY220" fmla="*/ 2324597 h 3739403"/>
                <a:gd name="connsiteX221" fmla="*/ 1356862 w 4125234"/>
                <a:gd name="connsiteY221" fmla="*/ 2334649 h 3739403"/>
                <a:gd name="connsiteX222" fmla="*/ 1352662 w 4125234"/>
                <a:gd name="connsiteY222" fmla="*/ 2348642 h 3739403"/>
                <a:gd name="connsiteX223" fmla="*/ 1352662 w 4125234"/>
                <a:gd name="connsiteY223" fmla="*/ 2368689 h 3739403"/>
                <a:gd name="connsiteX224" fmla="*/ 1350524 w 4125234"/>
                <a:gd name="connsiteY224" fmla="*/ 2372687 h 3739403"/>
                <a:gd name="connsiteX225" fmla="*/ 1348462 w 4125234"/>
                <a:gd name="connsiteY225" fmla="*/ 2374686 h 3739403"/>
                <a:gd name="connsiteX226" fmla="*/ 1337924 w 4125234"/>
                <a:gd name="connsiteY226" fmla="*/ 2374686 h 3739403"/>
                <a:gd name="connsiteX227" fmla="*/ 1329524 w 4125234"/>
                <a:gd name="connsiteY227" fmla="*/ 2376685 h 3739403"/>
                <a:gd name="connsiteX228" fmla="*/ 1327386 w 4125234"/>
                <a:gd name="connsiteY228" fmla="*/ 2378684 h 3739403"/>
                <a:gd name="connsiteX229" fmla="*/ 1325325 w 4125234"/>
                <a:gd name="connsiteY229" fmla="*/ 2384738 h 3739403"/>
                <a:gd name="connsiteX230" fmla="*/ 1325325 w 4125234"/>
                <a:gd name="connsiteY230" fmla="*/ 2386737 h 3739403"/>
                <a:gd name="connsiteX231" fmla="*/ 1325325 w 4125234"/>
                <a:gd name="connsiteY231" fmla="*/ 2392734 h 3739403"/>
                <a:gd name="connsiteX232" fmla="*/ 1321048 w 4125234"/>
                <a:gd name="connsiteY232" fmla="*/ 2394733 h 3739403"/>
                <a:gd name="connsiteX233" fmla="*/ 1318987 w 4125234"/>
                <a:gd name="connsiteY233" fmla="*/ 2398731 h 3739403"/>
                <a:gd name="connsiteX234" fmla="*/ 1310587 w 4125234"/>
                <a:gd name="connsiteY234" fmla="*/ 2398731 h 3739403"/>
                <a:gd name="connsiteX235" fmla="*/ 1306387 w 4125234"/>
                <a:gd name="connsiteY235" fmla="*/ 2402786 h 3739403"/>
                <a:gd name="connsiteX236" fmla="*/ 1304249 w 4125234"/>
                <a:gd name="connsiteY236" fmla="*/ 2404785 h 3739403"/>
                <a:gd name="connsiteX237" fmla="*/ 1300049 w 4125234"/>
                <a:gd name="connsiteY237" fmla="*/ 2414779 h 3739403"/>
                <a:gd name="connsiteX238" fmla="*/ 1300049 w 4125234"/>
                <a:gd name="connsiteY238" fmla="*/ 2434826 h 3739403"/>
                <a:gd name="connsiteX239" fmla="*/ 1297911 w 4125234"/>
                <a:gd name="connsiteY239" fmla="*/ 2436825 h 3739403"/>
                <a:gd name="connsiteX240" fmla="*/ 1293711 w 4125234"/>
                <a:gd name="connsiteY240" fmla="*/ 2436825 h 3739403"/>
                <a:gd name="connsiteX241" fmla="*/ 1276911 w 4125234"/>
                <a:gd name="connsiteY241" fmla="*/ 2438824 h 3739403"/>
                <a:gd name="connsiteX242" fmla="*/ 1245373 w 4125234"/>
                <a:gd name="connsiteY242" fmla="*/ 2436825 h 3739403"/>
                <a:gd name="connsiteX243" fmla="*/ 1243235 w 4125234"/>
                <a:gd name="connsiteY243" fmla="*/ 2436825 h 3739403"/>
                <a:gd name="connsiteX244" fmla="*/ 1239035 w 4125234"/>
                <a:gd name="connsiteY244" fmla="*/ 2438824 h 3739403"/>
                <a:gd name="connsiteX245" fmla="*/ 1228497 w 4125234"/>
                <a:gd name="connsiteY245" fmla="*/ 2442822 h 3739403"/>
                <a:gd name="connsiteX246" fmla="*/ 1211698 w 4125234"/>
                <a:gd name="connsiteY246" fmla="*/ 2452874 h 3739403"/>
                <a:gd name="connsiteX247" fmla="*/ 1182222 w 4125234"/>
                <a:gd name="connsiteY247" fmla="*/ 2478917 h 3739403"/>
                <a:gd name="connsiteX248" fmla="*/ 1106547 w 4125234"/>
                <a:gd name="connsiteY248" fmla="*/ 2553050 h 3739403"/>
                <a:gd name="connsiteX249" fmla="*/ 1028658 w 4125234"/>
                <a:gd name="connsiteY249" fmla="*/ 2619187 h 3739403"/>
                <a:gd name="connsiteX250" fmla="*/ 1018120 w 4125234"/>
                <a:gd name="connsiteY250" fmla="*/ 2611191 h 3739403"/>
                <a:gd name="connsiteX251" fmla="*/ 1009720 w 4125234"/>
                <a:gd name="connsiteY251" fmla="*/ 2605137 h 3739403"/>
                <a:gd name="connsiteX252" fmla="*/ 1001320 w 4125234"/>
                <a:gd name="connsiteY252" fmla="*/ 2597142 h 3739403"/>
                <a:gd name="connsiteX253" fmla="*/ 990782 w 4125234"/>
                <a:gd name="connsiteY253" fmla="*/ 2591145 h 3739403"/>
                <a:gd name="connsiteX254" fmla="*/ 978183 w 4125234"/>
                <a:gd name="connsiteY254" fmla="*/ 2589146 h 3739403"/>
                <a:gd name="connsiteX255" fmla="*/ 965583 w 4125234"/>
                <a:gd name="connsiteY255" fmla="*/ 2587147 h 3739403"/>
                <a:gd name="connsiteX256" fmla="*/ 955045 w 4125234"/>
                <a:gd name="connsiteY256" fmla="*/ 2587147 h 3739403"/>
                <a:gd name="connsiteX257" fmla="*/ 944507 w 4125234"/>
                <a:gd name="connsiteY257" fmla="*/ 2581093 h 3739403"/>
                <a:gd name="connsiteX258" fmla="*/ 936107 w 4125234"/>
                <a:gd name="connsiteY258" fmla="*/ 2575096 h 3739403"/>
                <a:gd name="connsiteX259" fmla="*/ 927707 w 4125234"/>
                <a:gd name="connsiteY259" fmla="*/ 2565101 h 3739403"/>
                <a:gd name="connsiteX260" fmla="*/ 919307 w 4125234"/>
                <a:gd name="connsiteY260" fmla="*/ 2543055 h 3739403"/>
                <a:gd name="connsiteX261" fmla="*/ 912969 w 4125234"/>
                <a:gd name="connsiteY261" fmla="*/ 2517012 h 3739403"/>
                <a:gd name="connsiteX262" fmla="*/ 904569 w 4125234"/>
                <a:gd name="connsiteY262" fmla="*/ 2506960 h 3739403"/>
                <a:gd name="connsiteX263" fmla="*/ 900370 w 4125234"/>
                <a:gd name="connsiteY263" fmla="*/ 2496965 h 3739403"/>
                <a:gd name="connsiteX264" fmla="*/ 889832 w 4125234"/>
                <a:gd name="connsiteY264" fmla="*/ 2484914 h 3739403"/>
                <a:gd name="connsiteX265" fmla="*/ 881432 w 4125234"/>
                <a:gd name="connsiteY265" fmla="*/ 2472921 h 3739403"/>
                <a:gd name="connsiteX266" fmla="*/ 873032 w 4125234"/>
                <a:gd name="connsiteY266" fmla="*/ 2444821 h 3739403"/>
                <a:gd name="connsiteX267" fmla="*/ 864556 w 4125234"/>
                <a:gd name="connsiteY267" fmla="*/ 2416778 h 3739403"/>
                <a:gd name="connsiteX268" fmla="*/ 860356 w 4125234"/>
                <a:gd name="connsiteY268" fmla="*/ 2404785 h 3739403"/>
                <a:gd name="connsiteX269" fmla="*/ 851956 w 4125234"/>
                <a:gd name="connsiteY269" fmla="*/ 2394733 h 3739403"/>
                <a:gd name="connsiteX270" fmla="*/ 833018 w 4125234"/>
                <a:gd name="connsiteY270" fmla="*/ 2362692 h 3739403"/>
                <a:gd name="connsiteX271" fmla="*/ 816219 w 4125234"/>
                <a:gd name="connsiteY271" fmla="*/ 2332593 h 3739403"/>
                <a:gd name="connsiteX272" fmla="*/ 778343 w 4125234"/>
                <a:gd name="connsiteY272" fmla="*/ 2266513 h 3739403"/>
                <a:gd name="connsiteX273" fmla="*/ 778343 w 4125234"/>
                <a:gd name="connsiteY273" fmla="*/ 2256461 h 3739403"/>
                <a:gd name="connsiteX274" fmla="*/ 769931 w 4125234"/>
                <a:gd name="connsiteY274" fmla="*/ 2246445 h 3739403"/>
                <a:gd name="connsiteX275" fmla="*/ 763620 w 4125234"/>
                <a:gd name="connsiteY275" fmla="*/ 2236425 h 3739403"/>
                <a:gd name="connsiteX276" fmla="*/ 742584 w 4125234"/>
                <a:gd name="connsiteY276" fmla="*/ 2216386 h 3739403"/>
                <a:gd name="connsiteX277" fmla="*/ 717340 w 4125234"/>
                <a:gd name="connsiteY277" fmla="*/ 2202358 h 3739403"/>
                <a:gd name="connsiteX278" fmla="*/ 696304 w 4125234"/>
                <a:gd name="connsiteY278" fmla="*/ 2186326 h 3739403"/>
                <a:gd name="connsiteX279" fmla="*/ 601153 w 4125234"/>
                <a:gd name="connsiteY279" fmla="*/ 2103565 h 3739403"/>
                <a:gd name="connsiteX280" fmla="*/ 599509 w 4125234"/>
                <a:gd name="connsiteY280" fmla="*/ 2106168 h 3739403"/>
                <a:gd name="connsiteX281" fmla="*/ 403907 w 4125234"/>
                <a:gd name="connsiteY281" fmla="*/ 1903747 h 3739403"/>
                <a:gd name="connsiteX282" fmla="*/ 395498 w 4125234"/>
                <a:gd name="connsiteY282" fmla="*/ 1891766 h 3739403"/>
                <a:gd name="connsiteX283" fmla="*/ 389208 w 4125234"/>
                <a:gd name="connsiteY283" fmla="*/ 1879730 h 3739403"/>
                <a:gd name="connsiteX284" fmla="*/ 376560 w 4125234"/>
                <a:gd name="connsiteY284" fmla="*/ 1849641 h 3739403"/>
                <a:gd name="connsiteX285" fmla="*/ 357622 w 4125234"/>
                <a:gd name="connsiteY285" fmla="*/ 1789516 h 3739403"/>
                <a:gd name="connsiteX286" fmla="*/ 358481 w 4125234"/>
                <a:gd name="connsiteY286" fmla="*/ 1785698 h 3739403"/>
                <a:gd name="connsiteX287" fmla="*/ 357619 w 4125234"/>
                <a:gd name="connsiteY287" fmla="*/ 1785534 h 3739403"/>
                <a:gd name="connsiteX288" fmla="*/ 344997 w 4125234"/>
                <a:gd name="connsiteY288" fmla="*/ 1751466 h 3739403"/>
                <a:gd name="connsiteX289" fmla="*/ 340790 w 4125234"/>
                <a:gd name="connsiteY289" fmla="*/ 1737439 h 3739403"/>
                <a:gd name="connsiteX290" fmla="*/ 334479 w 4125234"/>
                <a:gd name="connsiteY290" fmla="*/ 1721407 h 3739403"/>
                <a:gd name="connsiteX291" fmla="*/ 336583 w 4125234"/>
                <a:gd name="connsiteY291" fmla="*/ 1639244 h 3739403"/>
                <a:gd name="connsiteX292" fmla="*/ 336583 w 4125234"/>
                <a:gd name="connsiteY292" fmla="*/ 1597161 h 3739403"/>
                <a:gd name="connsiteX293" fmla="*/ 334479 w 4125234"/>
                <a:gd name="connsiteY293" fmla="*/ 1557082 h 3739403"/>
                <a:gd name="connsiteX294" fmla="*/ 342893 w 4125234"/>
                <a:gd name="connsiteY294" fmla="*/ 1553074 h 3739403"/>
                <a:gd name="connsiteX295" fmla="*/ 347101 w 4125234"/>
                <a:gd name="connsiteY295" fmla="*/ 1549066 h 3739403"/>
                <a:gd name="connsiteX296" fmla="*/ 363930 w 4125234"/>
                <a:gd name="connsiteY296" fmla="*/ 1547062 h 3739403"/>
                <a:gd name="connsiteX297" fmla="*/ 378655 w 4125234"/>
                <a:gd name="connsiteY297" fmla="*/ 1547062 h 3739403"/>
                <a:gd name="connsiteX298" fmla="*/ 395484 w 4125234"/>
                <a:gd name="connsiteY298" fmla="*/ 1547062 h 3739403"/>
                <a:gd name="connsiteX299" fmla="*/ 424935 w 4125234"/>
                <a:gd name="connsiteY299" fmla="*/ 1543054 h 3739403"/>
                <a:gd name="connsiteX300" fmla="*/ 439661 w 4125234"/>
                <a:gd name="connsiteY300" fmla="*/ 1535038 h 3739403"/>
                <a:gd name="connsiteX301" fmla="*/ 456490 w 4125234"/>
                <a:gd name="connsiteY301" fmla="*/ 1527022 h 3739403"/>
                <a:gd name="connsiteX302" fmla="*/ 469112 w 4125234"/>
                <a:gd name="connsiteY302" fmla="*/ 1523015 h 3739403"/>
                <a:gd name="connsiteX303" fmla="*/ 479630 w 4125234"/>
                <a:gd name="connsiteY303" fmla="*/ 1519007 h 3739403"/>
                <a:gd name="connsiteX304" fmla="*/ 490148 w 4125234"/>
                <a:gd name="connsiteY304" fmla="*/ 1517003 h 3739403"/>
                <a:gd name="connsiteX305" fmla="*/ 502770 w 4125234"/>
                <a:gd name="connsiteY305" fmla="*/ 1517003 h 3739403"/>
                <a:gd name="connsiteX306" fmla="*/ 525910 w 4125234"/>
                <a:gd name="connsiteY306" fmla="*/ 1523015 h 3739403"/>
                <a:gd name="connsiteX307" fmla="*/ 551154 w 4125234"/>
                <a:gd name="connsiteY307" fmla="*/ 1533034 h 3739403"/>
                <a:gd name="connsiteX308" fmla="*/ 576397 w 4125234"/>
                <a:gd name="connsiteY308" fmla="*/ 1543054 h 3739403"/>
                <a:gd name="connsiteX309" fmla="*/ 601641 w 4125234"/>
                <a:gd name="connsiteY309" fmla="*/ 1549066 h 3739403"/>
                <a:gd name="connsiteX310" fmla="*/ 628988 w 4125234"/>
                <a:gd name="connsiteY310" fmla="*/ 1557082 h 3739403"/>
                <a:gd name="connsiteX311" fmla="*/ 639506 w 4125234"/>
                <a:gd name="connsiteY311" fmla="*/ 1557082 h 3739403"/>
                <a:gd name="connsiteX312" fmla="*/ 652128 w 4125234"/>
                <a:gd name="connsiteY312" fmla="*/ 1557082 h 3739403"/>
                <a:gd name="connsiteX313" fmla="*/ 681579 w 4125234"/>
                <a:gd name="connsiteY313" fmla="*/ 1553074 h 3739403"/>
                <a:gd name="connsiteX314" fmla="*/ 713134 w 4125234"/>
                <a:gd name="connsiteY314" fmla="*/ 1549066 h 3739403"/>
                <a:gd name="connsiteX315" fmla="*/ 738377 w 4125234"/>
                <a:gd name="connsiteY315" fmla="*/ 1545058 h 3739403"/>
                <a:gd name="connsiteX316" fmla="*/ 755207 w 4125234"/>
                <a:gd name="connsiteY316" fmla="*/ 1543054 h 3739403"/>
                <a:gd name="connsiteX317" fmla="*/ 765725 w 4125234"/>
                <a:gd name="connsiteY317" fmla="*/ 1537042 h 3739403"/>
                <a:gd name="connsiteX318" fmla="*/ 776243 w 4125234"/>
                <a:gd name="connsiteY318" fmla="*/ 1533034 h 3739403"/>
                <a:gd name="connsiteX319" fmla="*/ 786761 w 4125234"/>
                <a:gd name="connsiteY319" fmla="*/ 1529026 h 3739403"/>
                <a:gd name="connsiteX320" fmla="*/ 809901 w 4125234"/>
                <a:gd name="connsiteY320" fmla="*/ 1529026 h 3739403"/>
                <a:gd name="connsiteX321" fmla="*/ 833041 w 4125234"/>
                <a:gd name="connsiteY321" fmla="*/ 1527022 h 3739403"/>
                <a:gd name="connsiteX322" fmla="*/ 847767 w 4125234"/>
                <a:gd name="connsiteY322" fmla="*/ 1523015 h 3739403"/>
                <a:gd name="connsiteX323" fmla="*/ 858285 w 4125234"/>
                <a:gd name="connsiteY323" fmla="*/ 1517003 h 3739403"/>
                <a:gd name="connsiteX324" fmla="*/ 894047 w 4125234"/>
                <a:gd name="connsiteY324" fmla="*/ 1486943 h 3739403"/>
                <a:gd name="connsiteX325" fmla="*/ 912979 w 4125234"/>
                <a:gd name="connsiteY325" fmla="*/ 1472915 h 3739403"/>
                <a:gd name="connsiteX326" fmla="*/ 934016 w 4125234"/>
                <a:gd name="connsiteY326" fmla="*/ 1456884 h 3739403"/>
                <a:gd name="connsiteX327" fmla="*/ 944534 w 4125234"/>
                <a:gd name="connsiteY327" fmla="*/ 1450872 h 3739403"/>
                <a:gd name="connsiteX328" fmla="*/ 950845 w 4125234"/>
                <a:gd name="connsiteY328" fmla="*/ 1440852 h 3739403"/>
                <a:gd name="connsiteX329" fmla="*/ 965570 w 4125234"/>
                <a:gd name="connsiteY329" fmla="*/ 1424820 h 3739403"/>
                <a:gd name="connsiteX330" fmla="*/ 969778 w 4125234"/>
                <a:gd name="connsiteY330" fmla="*/ 1416804 h 3739403"/>
                <a:gd name="connsiteX331" fmla="*/ 978192 w 4125234"/>
                <a:gd name="connsiteY331" fmla="*/ 1410793 h 3739403"/>
                <a:gd name="connsiteX332" fmla="*/ 990814 w 4125234"/>
                <a:gd name="connsiteY332" fmla="*/ 1404781 h 3739403"/>
                <a:gd name="connsiteX333" fmla="*/ 1003436 w 4125234"/>
                <a:gd name="connsiteY333" fmla="*/ 1402777 h 3739403"/>
                <a:gd name="connsiteX334" fmla="*/ 1003436 w 4125234"/>
                <a:gd name="connsiteY334" fmla="*/ 1408422 h 3739403"/>
                <a:gd name="connsiteX335" fmla="*/ 1006960 w 4125234"/>
                <a:gd name="connsiteY335" fmla="*/ 1402786 h 3739403"/>
                <a:gd name="connsiteX336" fmla="*/ 1038509 w 4125234"/>
                <a:gd name="connsiteY336" fmla="*/ 1376744 h 3739403"/>
                <a:gd name="connsiteX337" fmla="*/ 1070058 w 4125234"/>
                <a:gd name="connsiteY337" fmla="*/ 1352679 h 3739403"/>
                <a:gd name="connsiteX338" fmla="*/ 1099509 w 4125234"/>
                <a:gd name="connsiteY338" fmla="*/ 1326636 h 3739403"/>
                <a:gd name="connsiteX339" fmla="*/ 1112136 w 4125234"/>
                <a:gd name="connsiteY339" fmla="*/ 1312603 h 3739403"/>
                <a:gd name="connsiteX340" fmla="*/ 1122665 w 4125234"/>
                <a:gd name="connsiteY340" fmla="*/ 1296544 h 3739403"/>
                <a:gd name="connsiteX341" fmla="*/ 1128960 w 4125234"/>
                <a:gd name="connsiteY341" fmla="*/ 1290563 h 3739403"/>
                <a:gd name="connsiteX342" fmla="*/ 1137390 w 4125234"/>
                <a:gd name="connsiteY342" fmla="*/ 1280532 h 3739403"/>
                <a:gd name="connsiteX343" fmla="*/ 1141587 w 4125234"/>
                <a:gd name="connsiteY343" fmla="*/ 1270501 h 3739403"/>
                <a:gd name="connsiteX344" fmla="*/ 1143685 w 4125234"/>
                <a:gd name="connsiteY344" fmla="*/ 1264520 h 3739403"/>
                <a:gd name="connsiteX345" fmla="*/ 1143685 w 4125234"/>
                <a:gd name="connsiteY345" fmla="*/ 1260517 h 3739403"/>
                <a:gd name="connsiteX346" fmla="*/ 1141587 w 4125234"/>
                <a:gd name="connsiteY346" fmla="*/ 1260517 h 3739403"/>
                <a:gd name="connsiteX347" fmla="*/ 1139489 w 4125234"/>
                <a:gd name="connsiteY347" fmla="*/ 1250486 h 3739403"/>
                <a:gd name="connsiteX348" fmla="*/ 1133193 w 4125234"/>
                <a:gd name="connsiteY348" fmla="*/ 1240456 h 3739403"/>
                <a:gd name="connsiteX349" fmla="*/ 1131095 w 4125234"/>
                <a:gd name="connsiteY349" fmla="*/ 1230425 h 3739403"/>
                <a:gd name="connsiteX350" fmla="*/ 1131095 w 4125234"/>
                <a:gd name="connsiteY350" fmla="*/ 1224444 h 3739403"/>
                <a:gd name="connsiteX351" fmla="*/ 1133193 w 4125234"/>
                <a:gd name="connsiteY351" fmla="*/ 1222419 h 3739403"/>
                <a:gd name="connsiteX352" fmla="*/ 69420 w 4125234"/>
                <a:gd name="connsiteY352" fmla="*/ 281414 h 3739403"/>
                <a:gd name="connsiteX353" fmla="*/ 69420 w 4125234"/>
                <a:gd name="connsiteY353" fmla="*/ 282559 h 3739403"/>
                <a:gd name="connsiteX354" fmla="*/ 65213 w 4125234"/>
                <a:gd name="connsiteY354" fmla="*/ 282559 h 3739403"/>
                <a:gd name="connsiteX355" fmla="*/ 69420 w 4125234"/>
                <a:gd name="connsiteY355" fmla="*/ 281414 h 3739403"/>
                <a:gd name="connsiteX356" fmla="*/ 0 w 4125234"/>
                <a:gd name="connsiteY356" fmla="*/ 0 h 3739403"/>
                <a:gd name="connsiteX357" fmla="*/ 63109 w 4125234"/>
                <a:gd name="connsiteY357" fmla="*/ 0 h 3739403"/>
                <a:gd name="connsiteX358" fmla="*/ 94664 w 4125234"/>
                <a:gd name="connsiteY358" fmla="*/ 0 h 3739403"/>
                <a:gd name="connsiteX359" fmla="*/ 124115 w 4125234"/>
                <a:gd name="connsiteY359" fmla="*/ 0 h 3739403"/>
                <a:gd name="connsiteX360" fmla="*/ 309235 w 4125234"/>
                <a:gd name="connsiteY360" fmla="*/ 0 h 3739403"/>
                <a:gd name="connsiteX361" fmla="*/ 313442 w 4125234"/>
                <a:gd name="connsiteY361" fmla="*/ 20040 h 3739403"/>
                <a:gd name="connsiteX362" fmla="*/ 313442 w 4125234"/>
                <a:gd name="connsiteY362" fmla="*/ 66131 h 3739403"/>
                <a:gd name="connsiteX363" fmla="*/ 315546 w 4125234"/>
                <a:gd name="connsiteY363" fmla="*/ 150297 h 3739403"/>
                <a:gd name="connsiteX364" fmla="*/ 323960 w 4125234"/>
                <a:gd name="connsiteY364" fmla="*/ 150297 h 3739403"/>
                <a:gd name="connsiteX365" fmla="*/ 323960 w 4125234"/>
                <a:gd name="connsiteY365" fmla="*/ 156309 h 3739403"/>
                <a:gd name="connsiteX366" fmla="*/ 323960 w 4125234"/>
                <a:gd name="connsiteY366" fmla="*/ 164325 h 3739403"/>
                <a:gd name="connsiteX367" fmla="*/ 326064 w 4125234"/>
                <a:gd name="connsiteY367" fmla="*/ 166329 h 3739403"/>
                <a:gd name="connsiteX368" fmla="*/ 330271 w 4125234"/>
                <a:gd name="connsiteY368" fmla="*/ 170337 h 3739403"/>
                <a:gd name="connsiteX369" fmla="*/ 340789 w 4125234"/>
                <a:gd name="connsiteY369" fmla="*/ 170337 h 3739403"/>
                <a:gd name="connsiteX370" fmla="*/ 355515 w 4125234"/>
                <a:gd name="connsiteY370" fmla="*/ 170337 h 3739403"/>
                <a:gd name="connsiteX371" fmla="*/ 355515 w 4125234"/>
                <a:gd name="connsiteY371" fmla="*/ 182361 h 3739403"/>
                <a:gd name="connsiteX372" fmla="*/ 370240 w 4125234"/>
                <a:gd name="connsiteY372" fmla="*/ 182361 h 3739403"/>
                <a:gd name="connsiteX373" fmla="*/ 387069 w 4125234"/>
                <a:gd name="connsiteY373" fmla="*/ 184365 h 3739403"/>
                <a:gd name="connsiteX374" fmla="*/ 399691 w 4125234"/>
                <a:gd name="connsiteY374" fmla="*/ 190377 h 3739403"/>
                <a:gd name="connsiteX375" fmla="*/ 401795 w 4125234"/>
                <a:gd name="connsiteY375" fmla="*/ 192381 h 3739403"/>
                <a:gd name="connsiteX376" fmla="*/ 403898 w 4125234"/>
                <a:gd name="connsiteY376" fmla="*/ 196388 h 3739403"/>
                <a:gd name="connsiteX377" fmla="*/ 408106 w 4125234"/>
                <a:gd name="connsiteY377" fmla="*/ 202400 h 3739403"/>
                <a:gd name="connsiteX378" fmla="*/ 410209 w 4125234"/>
                <a:gd name="connsiteY378" fmla="*/ 204404 h 3739403"/>
                <a:gd name="connsiteX379" fmla="*/ 422831 w 4125234"/>
                <a:gd name="connsiteY379" fmla="*/ 204404 h 3739403"/>
                <a:gd name="connsiteX380" fmla="*/ 445971 w 4125234"/>
                <a:gd name="connsiteY380" fmla="*/ 196388 h 3739403"/>
                <a:gd name="connsiteX381" fmla="*/ 443868 w 4125234"/>
                <a:gd name="connsiteY381" fmla="*/ 166329 h 3739403"/>
                <a:gd name="connsiteX382" fmla="*/ 456489 w 4125234"/>
                <a:gd name="connsiteY382" fmla="*/ 166329 h 3739403"/>
                <a:gd name="connsiteX383" fmla="*/ 456489 w 4125234"/>
                <a:gd name="connsiteY383" fmla="*/ 152301 h 3739403"/>
                <a:gd name="connsiteX384" fmla="*/ 471215 w 4125234"/>
                <a:gd name="connsiteY384" fmla="*/ 154305 h 3739403"/>
                <a:gd name="connsiteX385" fmla="*/ 471215 w 4125234"/>
                <a:gd name="connsiteY385" fmla="*/ 140277 h 3739403"/>
                <a:gd name="connsiteX386" fmla="*/ 477526 w 4125234"/>
                <a:gd name="connsiteY386" fmla="*/ 140277 h 3739403"/>
                <a:gd name="connsiteX387" fmla="*/ 485940 w 4125234"/>
                <a:gd name="connsiteY387" fmla="*/ 136269 h 3739403"/>
                <a:gd name="connsiteX388" fmla="*/ 494355 w 4125234"/>
                <a:gd name="connsiteY388" fmla="*/ 126250 h 3739403"/>
                <a:gd name="connsiteX389" fmla="*/ 502769 w 4125234"/>
                <a:gd name="connsiteY389" fmla="*/ 120238 h 3739403"/>
                <a:gd name="connsiteX390" fmla="*/ 506977 w 4125234"/>
                <a:gd name="connsiteY390" fmla="*/ 120238 h 3739403"/>
                <a:gd name="connsiteX391" fmla="*/ 513288 w 4125234"/>
                <a:gd name="connsiteY391" fmla="*/ 120238 h 3739403"/>
                <a:gd name="connsiteX392" fmla="*/ 515391 w 4125234"/>
                <a:gd name="connsiteY392" fmla="*/ 114226 h 3739403"/>
                <a:gd name="connsiteX393" fmla="*/ 517495 w 4125234"/>
                <a:gd name="connsiteY393" fmla="*/ 106210 h 3739403"/>
                <a:gd name="connsiteX394" fmla="*/ 544842 w 4125234"/>
                <a:gd name="connsiteY394" fmla="*/ 106210 h 3739403"/>
                <a:gd name="connsiteX395" fmla="*/ 540635 w 4125234"/>
                <a:gd name="connsiteY395" fmla="*/ 114226 h 3739403"/>
                <a:gd name="connsiteX396" fmla="*/ 570086 w 4125234"/>
                <a:gd name="connsiteY396" fmla="*/ 112222 h 3739403"/>
                <a:gd name="connsiteX397" fmla="*/ 586915 w 4125234"/>
                <a:gd name="connsiteY397" fmla="*/ 114226 h 3739403"/>
                <a:gd name="connsiteX398" fmla="*/ 591122 w 4125234"/>
                <a:gd name="connsiteY398" fmla="*/ 114226 h 3739403"/>
                <a:gd name="connsiteX399" fmla="*/ 593226 w 4125234"/>
                <a:gd name="connsiteY399" fmla="*/ 116230 h 3739403"/>
                <a:gd name="connsiteX400" fmla="*/ 595329 w 4125234"/>
                <a:gd name="connsiteY400" fmla="*/ 122242 h 3739403"/>
                <a:gd name="connsiteX401" fmla="*/ 603744 w 4125234"/>
                <a:gd name="connsiteY401" fmla="*/ 124246 h 3739403"/>
                <a:gd name="connsiteX402" fmla="*/ 612159 w 4125234"/>
                <a:gd name="connsiteY402" fmla="*/ 126250 h 3739403"/>
                <a:gd name="connsiteX403" fmla="*/ 620573 w 4125234"/>
                <a:gd name="connsiteY403" fmla="*/ 126250 h 3739403"/>
                <a:gd name="connsiteX404" fmla="*/ 622677 w 4125234"/>
                <a:gd name="connsiteY404" fmla="*/ 132262 h 3739403"/>
                <a:gd name="connsiteX405" fmla="*/ 626884 w 4125234"/>
                <a:gd name="connsiteY405" fmla="*/ 134266 h 3739403"/>
                <a:gd name="connsiteX406" fmla="*/ 637402 w 4125234"/>
                <a:gd name="connsiteY406" fmla="*/ 136269 h 3739403"/>
                <a:gd name="connsiteX407" fmla="*/ 643713 w 4125234"/>
                <a:gd name="connsiteY407" fmla="*/ 136269 h 3739403"/>
                <a:gd name="connsiteX408" fmla="*/ 647920 w 4125234"/>
                <a:gd name="connsiteY408" fmla="*/ 140277 h 3739403"/>
                <a:gd name="connsiteX409" fmla="*/ 652128 w 4125234"/>
                <a:gd name="connsiteY409" fmla="*/ 142281 h 3739403"/>
                <a:gd name="connsiteX410" fmla="*/ 652128 w 4125234"/>
                <a:gd name="connsiteY410" fmla="*/ 152301 h 3739403"/>
                <a:gd name="connsiteX411" fmla="*/ 666853 w 4125234"/>
                <a:gd name="connsiteY411" fmla="*/ 154305 h 3739403"/>
                <a:gd name="connsiteX412" fmla="*/ 687890 w 4125234"/>
                <a:gd name="connsiteY412" fmla="*/ 160317 h 3739403"/>
                <a:gd name="connsiteX413" fmla="*/ 696304 w 4125234"/>
                <a:gd name="connsiteY413" fmla="*/ 164325 h 3739403"/>
                <a:gd name="connsiteX414" fmla="*/ 700511 w 4125234"/>
                <a:gd name="connsiteY414" fmla="*/ 170337 h 3739403"/>
                <a:gd name="connsiteX415" fmla="*/ 706822 w 4125234"/>
                <a:gd name="connsiteY415" fmla="*/ 176349 h 3739403"/>
                <a:gd name="connsiteX416" fmla="*/ 708926 w 4125234"/>
                <a:gd name="connsiteY416" fmla="*/ 184365 h 3739403"/>
                <a:gd name="connsiteX417" fmla="*/ 719444 w 4125234"/>
                <a:gd name="connsiteY417" fmla="*/ 190377 h 3739403"/>
                <a:gd name="connsiteX418" fmla="*/ 729962 w 4125234"/>
                <a:gd name="connsiteY418" fmla="*/ 200396 h 3739403"/>
                <a:gd name="connsiteX419" fmla="*/ 740480 w 4125234"/>
                <a:gd name="connsiteY419" fmla="*/ 210416 h 3739403"/>
                <a:gd name="connsiteX420" fmla="*/ 742584 w 4125234"/>
                <a:gd name="connsiteY420" fmla="*/ 222440 h 3739403"/>
                <a:gd name="connsiteX421" fmla="*/ 750999 w 4125234"/>
                <a:gd name="connsiteY421" fmla="*/ 222440 h 3739403"/>
                <a:gd name="connsiteX422" fmla="*/ 761517 w 4125234"/>
                <a:gd name="connsiteY422" fmla="*/ 228452 h 3739403"/>
                <a:gd name="connsiteX423" fmla="*/ 772035 w 4125234"/>
                <a:gd name="connsiteY423" fmla="*/ 236468 h 3739403"/>
                <a:gd name="connsiteX424" fmla="*/ 782553 w 4125234"/>
                <a:gd name="connsiteY424" fmla="*/ 244484 h 3739403"/>
                <a:gd name="connsiteX425" fmla="*/ 788864 w 4125234"/>
                <a:gd name="connsiteY425" fmla="*/ 254503 h 3739403"/>
                <a:gd name="connsiteX426" fmla="*/ 795175 w 4125234"/>
                <a:gd name="connsiteY426" fmla="*/ 258511 h 3739403"/>
                <a:gd name="connsiteX427" fmla="*/ 803590 w 4125234"/>
                <a:gd name="connsiteY427" fmla="*/ 264523 h 3739403"/>
                <a:gd name="connsiteX428" fmla="*/ 803590 w 4125234"/>
                <a:gd name="connsiteY428" fmla="*/ 266527 h 3739403"/>
                <a:gd name="connsiteX429" fmla="*/ 824626 w 4125234"/>
                <a:gd name="connsiteY429" fmla="*/ 268531 h 3739403"/>
                <a:gd name="connsiteX430" fmla="*/ 851973 w 4125234"/>
                <a:gd name="connsiteY430" fmla="*/ 272539 h 3739403"/>
                <a:gd name="connsiteX431" fmla="*/ 864595 w 4125234"/>
                <a:gd name="connsiteY431" fmla="*/ 272539 h 3739403"/>
                <a:gd name="connsiteX432" fmla="*/ 875113 w 4125234"/>
                <a:gd name="connsiteY432" fmla="*/ 276547 h 3739403"/>
                <a:gd name="connsiteX433" fmla="*/ 879321 w 4125234"/>
                <a:gd name="connsiteY433" fmla="*/ 282559 h 3739403"/>
                <a:gd name="connsiteX434" fmla="*/ 883528 w 4125234"/>
                <a:gd name="connsiteY434" fmla="*/ 292579 h 3739403"/>
                <a:gd name="connsiteX435" fmla="*/ 885632 w 4125234"/>
                <a:gd name="connsiteY435" fmla="*/ 296587 h 3739403"/>
                <a:gd name="connsiteX436" fmla="*/ 887735 w 4125234"/>
                <a:gd name="connsiteY436" fmla="*/ 296587 h 3739403"/>
                <a:gd name="connsiteX437" fmla="*/ 889839 w 4125234"/>
                <a:gd name="connsiteY437" fmla="*/ 294583 h 3739403"/>
                <a:gd name="connsiteX438" fmla="*/ 896150 w 4125234"/>
                <a:gd name="connsiteY438" fmla="*/ 296587 h 3739403"/>
                <a:gd name="connsiteX439" fmla="*/ 896150 w 4125234"/>
                <a:gd name="connsiteY439" fmla="*/ 312618 h 3739403"/>
                <a:gd name="connsiteX440" fmla="*/ 906668 w 4125234"/>
                <a:gd name="connsiteY440" fmla="*/ 312618 h 3739403"/>
                <a:gd name="connsiteX441" fmla="*/ 910875 w 4125234"/>
                <a:gd name="connsiteY441" fmla="*/ 322638 h 3739403"/>
                <a:gd name="connsiteX442" fmla="*/ 915082 w 4125234"/>
                <a:gd name="connsiteY442" fmla="*/ 332658 h 3739403"/>
                <a:gd name="connsiteX443" fmla="*/ 917186 w 4125234"/>
                <a:gd name="connsiteY443" fmla="*/ 342678 h 3739403"/>
                <a:gd name="connsiteX444" fmla="*/ 917186 w 4125234"/>
                <a:gd name="connsiteY444" fmla="*/ 352698 h 3739403"/>
                <a:gd name="connsiteX445" fmla="*/ 923497 w 4125234"/>
                <a:gd name="connsiteY445" fmla="*/ 348690 h 3739403"/>
                <a:gd name="connsiteX446" fmla="*/ 923497 w 4125234"/>
                <a:gd name="connsiteY446" fmla="*/ 358710 h 3739403"/>
                <a:gd name="connsiteX447" fmla="*/ 934015 w 4125234"/>
                <a:gd name="connsiteY447" fmla="*/ 358710 h 3739403"/>
                <a:gd name="connsiteX448" fmla="*/ 934015 w 4125234"/>
                <a:gd name="connsiteY448" fmla="*/ 372737 h 3739403"/>
                <a:gd name="connsiteX449" fmla="*/ 940326 w 4125234"/>
                <a:gd name="connsiteY449" fmla="*/ 372737 h 3739403"/>
                <a:gd name="connsiteX450" fmla="*/ 940326 w 4125234"/>
                <a:gd name="connsiteY450" fmla="*/ 384761 h 3739403"/>
                <a:gd name="connsiteX451" fmla="*/ 944533 w 4125234"/>
                <a:gd name="connsiteY451" fmla="*/ 382757 h 3739403"/>
                <a:gd name="connsiteX452" fmla="*/ 944533 w 4125234"/>
                <a:gd name="connsiteY452" fmla="*/ 388769 h 3739403"/>
                <a:gd name="connsiteX453" fmla="*/ 952948 w 4125234"/>
                <a:gd name="connsiteY453" fmla="*/ 394781 h 3739403"/>
                <a:gd name="connsiteX454" fmla="*/ 961362 w 4125234"/>
                <a:gd name="connsiteY454" fmla="*/ 398789 h 3739403"/>
                <a:gd name="connsiteX455" fmla="*/ 965570 w 4125234"/>
                <a:gd name="connsiteY455" fmla="*/ 406805 h 3739403"/>
                <a:gd name="connsiteX456" fmla="*/ 973984 w 4125234"/>
                <a:gd name="connsiteY456" fmla="*/ 408809 h 3739403"/>
                <a:gd name="connsiteX457" fmla="*/ 976088 w 4125234"/>
                <a:gd name="connsiteY457" fmla="*/ 412817 h 3739403"/>
                <a:gd name="connsiteX458" fmla="*/ 982399 w 4125234"/>
                <a:gd name="connsiteY458" fmla="*/ 416825 h 3739403"/>
                <a:gd name="connsiteX459" fmla="*/ 982399 w 4125234"/>
                <a:gd name="connsiteY459" fmla="*/ 434860 h 3739403"/>
                <a:gd name="connsiteX460" fmla="*/ 980295 w 4125234"/>
                <a:gd name="connsiteY460" fmla="*/ 460912 h 3739403"/>
                <a:gd name="connsiteX461" fmla="*/ 982399 w 4125234"/>
                <a:gd name="connsiteY461" fmla="*/ 509007 h 3739403"/>
                <a:gd name="connsiteX462" fmla="*/ 982399 w 4125234"/>
                <a:gd name="connsiteY462" fmla="*/ 537062 h 3739403"/>
                <a:gd name="connsiteX463" fmla="*/ 980295 w 4125234"/>
                <a:gd name="connsiteY463" fmla="*/ 547082 h 3739403"/>
                <a:gd name="connsiteX464" fmla="*/ 976088 w 4125234"/>
                <a:gd name="connsiteY464" fmla="*/ 549086 h 3739403"/>
                <a:gd name="connsiteX465" fmla="*/ 973984 w 4125234"/>
                <a:gd name="connsiteY465" fmla="*/ 551090 h 3739403"/>
                <a:gd name="connsiteX466" fmla="*/ 971881 w 4125234"/>
                <a:gd name="connsiteY466" fmla="*/ 555098 h 3739403"/>
                <a:gd name="connsiteX467" fmla="*/ 963466 w 4125234"/>
                <a:gd name="connsiteY467" fmla="*/ 567122 h 3739403"/>
                <a:gd name="connsiteX468" fmla="*/ 959259 w 4125234"/>
                <a:gd name="connsiteY468" fmla="*/ 579146 h 3739403"/>
                <a:gd name="connsiteX469" fmla="*/ 955056 w 4125234"/>
                <a:gd name="connsiteY469" fmla="*/ 591157 h 3739403"/>
                <a:gd name="connsiteX470" fmla="*/ 999217 w 4125234"/>
                <a:gd name="connsiteY470" fmla="*/ 591157 h 3739403"/>
                <a:gd name="connsiteX471" fmla="*/ 1043434 w 4125234"/>
                <a:gd name="connsiteY471" fmla="*/ 591157 h 3739403"/>
                <a:gd name="connsiteX472" fmla="*/ 1043434 w 4125234"/>
                <a:gd name="connsiteY472" fmla="*/ 589151 h 3739403"/>
                <a:gd name="connsiteX473" fmla="*/ 1043434 w 4125234"/>
                <a:gd name="connsiteY473" fmla="*/ 587175 h 3739403"/>
                <a:gd name="connsiteX474" fmla="*/ 1045484 w 4125234"/>
                <a:gd name="connsiteY474" fmla="*/ 585169 h 3739403"/>
                <a:gd name="connsiteX475" fmla="*/ 1051853 w 4125234"/>
                <a:gd name="connsiteY475" fmla="*/ 581158 h 3739403"/>
                <a:gd name="connsiteX476" fmla="*/ 1056026 w 4125234"/>
                <a:gd name="connsiteY476" fmla="*/ 585169 h 3739403"/>
                <a:gd name="connsiteX477" fmla="*/ 1056026 w 4125234"/>
                <a:gd name="connsiteY477" fmla="*/ 617234 h 3739403"/>
                <a:gd name="connsiteX478" fmla="*/ 1056026 w 4125234"/>
                <a:gd name="connsiteY478" fmla="*/ 657292 h 3739403"/>
                <a:gd name="connsiteX479" fmla="*/ 1056026 w 4125234"/>
                <a:gd name="connsiteY479" fmla="*/ 729446 h 3739403"/>
                <a:gd name="connsiteX480" fmla="*/ 1056026 w 4125234"/>
                <a:gd name="connsiteY480" fmla="*/ 783545 h 3739403"/>
                <a:gd name="connsiteX481" fmla="*/ 1056026 w 4125234"/>
                <a:gd name="connsiteY481" fmla="*/ 807586 h 3739403"/>
                <a:gd name="connsiteX482" fmla="*/ 1053922 w 4125234"/>
                <a:gd name="connsiteY482" fmla="*/ 807586 h 3739403"/>
                <a:gd name="connsiteX483" fmla="*/ 1053922 w 4125234"/>
                <a:gd name="connsiteY483" fmla="*/ 815272 h 3739403"/>
                <a:gd name="connsiteX484" fmla="*/ 1053922 w 4125234"/>
                <a:gd name="connsiteY484" fmla="*/ 849173 h 3739403"/>
                <a:gd name="connsiteX485" fmla="*/ 1053922 w 4125234"/>
                <a:gd name="connsiteY485" fmla="*/ 877092 h 3739403"/>
                <a:gd name="connsiteX486" fmla="*/ 1053922 w 4125234"/>
                <a:gd name="connsiteY486" fmla="*/ 908999 h 3739403"/>
                <a:gd name="connsiteX487" fmla="*/ 673164 w 4125234"/>
                <a:gd name="connsiteY487" fmla="*/ 908999 h 3739403"/>
                <a:gd name="connsiteX488" fmla="*/ 631091 w 4125234"/>
                <a:gd name="connsiteY488" fmla="*/ 908999 h 3739403"/>
                <a:gd name="connsiteX489" fmla="*/ 610055 w 4125234"/>
                <a:gd name="connsiteY489" fmla="*/ 908999 h 3739403"/>
                <a:gd name="connsiteX490" fmla="*/ 591122 w 4125234"/>
                <a:gd name="connsiteY490" fmla="*/ 910993 h 3739403"/>
                <a:gd name="connsiteX491" fmla="*/ 574293 w 4125234"/>
                <a:gd name="connsiteY491" fmla="*/ 916976 h 3739403"/>
                <a:gd name="connsiteX492" fmla="*/ 557464 w 4125234"/>
                <a:gd name="connsiteY492" fmla="*/ 922959 h 3739403"/>
                <a:gd name="connsiteX493" fmla="*/ 540635 w 4125234"/>
                <a:gd name="connsiteY493" fmla="*/ 932930 h 3739403"/>
                <a:gd name="connsiteX494" fmla="*/ 523806 w 4125234"/>
                <a:gd name="connsiteY494" fmla="*/ 948883 h 3739403"/>
                <a:gd name="connsiteX495" fmla="*/ 500666 w 4125234"/>
                <a:gd name="connsiteY495" fmla="*/ 968825 h 3739403"/>
                <a:gd name="connsiteX496" fmla="*/ 473319 w 4125234"/>
                <a:gd name="connsiteY496" fmla="*/ 988767 h 3739403"/>
                <a:gd name="connsiteX497" fmla="*/ 420728 w 4125234"/>
                <a:gd name="connsiteY497" fmla="*/ 1020674 h 3739403"/>
                <a:gd name="connsiteX498" fmla="*/ 406002 w 4125234"/>
                <a:gd name="connsiteY498" fmla="*/ 1032640 h 3739403"/>
                <a:gd name="connsiteX499" fmla="*/ 393380 w 4125234"/>
                <a:gd name="connsiteY499" fmla="*/ 1046599 h 3739403"/>
                <a:gd name="connsiteX500" fmla="*/ 378655 w 4125234"/>
                <a:gd name="connsiteY500" fmla="*/ 1060558 h 3739403"/>
                <a:gd name="connsiteX501" fmla="*/ 368137 w 4125234"/>
                <a:gd name="connsiteY501" fmla="*/ 1074518 h 3739403"/>
                <a:gd name="connsiteX502" fmla="*/ 361826 w 4125234"/>
                <a:gd name="connsiteY502" fmla="*/ 1084489 h 3739403"/>
                <a:gd name="connsiteX503" fmla="*/ 357619 w 4125234"/>
                <a:gd name="connsiteY503" fmla="*/ 1092466 h 3739403"/>
                <a:gd name="connsiteX504" fmla="*/ 357619 w 4125234"/>
                <a:gd name="connsiteY504" fmla="*/ 1102437 h 3739403"/>
                <a:gd name="connsiteX505" fmla="*/ 351308 w 4125234"/>
                <a:gd name="connsiteY505" fmla="*/ 1112408 h 3739403"/>
                <a:gd name="connsiteX506" fmla="*/ 340790 w 4125234"/>
                <a:gd name="connsiteY506" fmla="*/ 1120384 h 3739403"/>
                <a:gd name="connsiteX507" fmla="*/ 332375 w 4125234"/>
                <a:gd name="connsiteY507" fmla="*/ 1130355 h 3739403"/>
                <a:gd name="connsiteX508" fmla="*/ 330271 w 4125234"/>
                <a:gd name="connsiteY508" fmla="*/ 1134344 h 3739403"/>
                <a:gd name="connsiteX509" fmla="*/ 330271 w 4125234"/>
                <a:gd name="connsiteY509" fmla="*/ 1142321 h 3739403"/>
                <a:gd name="connsiteX510" fmla="*/ 326064 w 4125234"/>
                <a:gd name="connsiteY510" fmla="*/ 1148303 h 3739403"/>
                <a:gd name="connsiteX511" fmla="*/ 326064 w 4125234"/>
                <a:gd name="connsiteY511" fmla="*/ 1150297 h 3739403"/>
                <a:gd name="connsiteX512" fmla="*/ 321857 w 4125234"/>
                <a:gd name="connsiteY512" fmla="*/ 1152292 h 3739403"/>
                <a:gd name="connsiteX513" fmla="*/ 315546 w 4125234"/>
                <a:gd name="connsiteY513" fmla="*/ 1154286 h 3739403"/>
                <a:gd name="connsiteX514" fmla="*/ 302924 w 4125234"/>
                <a:gd name="connsiteY514" fmla="*/ 1152292 h 3739403"/>
                <a:gd name="connsiteX515" fmla="*/ 290302 w 4125234"/>
                <a:gd name="connsiteY515" fmla="*/ 1150297 h 3739403"/>
                <a:gd name="connsiteX516" fmla="*/ 260852 w 4125234"/>
                <a:gd name="connsiteY516" fmla="*/ 1138332 h 3739403"/>
                <a:gd name="connsiteX517" fmla="*/ 250333 w 4125234"/>
                <a:gd name="connsiteY517" fmla="*/ 1134344 h 3739403"/>
                <a:gd name="connsiteX518" fmla="*/ 246126 w 4125234"/>
                <a:gd name="connsiteY518" fmla="*/ 1134344 h 3739403"/>
                <a:gd name="connsiteX519" fmla="*/ 233504 w 4125234"/>
                <a:gd name="connsiteY519" fmla="*/ 1140326 h 3739403"/>
                <a:gd name="connsiteX520" fmla="*/ 218779 w 4125234"/>
                <a:gd name="connsiteY520" fmla="*/ 1142321 h 3739403"/>
                <a:gd name="connsiteX521" fmla="*/ 208261 w 4125234"/>
                <a:gd name="connsiteY521" fmla="*/ 1144315 h 3739403"/>
                <a:gd name="connsiteX522" fmla="*/ 197742 w 4125234"/>
                <a:gd name="connsiteY522" fmla="*/ 1144315 h 3739403"/>
                <a:gd name="connsiteX523" fmla="*/ 174602 w 4125234"/>
                <a:gd name="connsiteY523" fmla="*/ 1140326 h 3739403"/>
                <a:gd name="connsiteX524" fmla="*/ 149359 w 4125234"/>
                <a:gd name="connsiteY524" fmla="*/ 1132350 h 3739403"/>
                <a:gd name="connsiteX525" fmla="*/ 151463 w 4125234"/>
                <a:gd name="connsiteY525" fmla="*/ 1088477 h 3739403"/>
                <a:gd name="connsiteX526" fmla="*/ 151463 w 4125234"/>
                <a:gd name="connsiteY526" fmla="*/ 1042611 h 3739403"/>
                <a:gd name="connsiteX527" fmla="*/ 151463 w 4125234"/>
                <a:gd name="connsiteY527" fmla="*/ 1008709 h 3739403"/>
                <a:gd name="connsiteX528" fmla="*/ 151463 w 4125234"/>
                <a:gd name="connsiteY528" fmla="*/ 988767 h 3739403"/>
                <a:gd name="connsiteX529" fmla="*/ 153566 w 4125234"/>
                <a:gd name="connsiteY529" fmla="*/ 982785 h 3739403"/>
                <a:gd name="connsiteX530" fmla="*/ 155670 w 4125234"/>
                <a:gd name="connsiteY530" fmla="*/ 978796 h 3739403"/>
                <a:gd name="connsiteX531" fmla="*/ 161981 w 4125234"/>
                <a:gd name="connsiteY531" fmla="*/ 968825 h 3739403"/>
                <a:gd name="connsiteX532" fmla="*/ 164084 w 4125234"/>
                <a:gd name="connsiteY532" fmla="*/ 956860 h 3739403"/>
                <a:gd name="connsiteX533" fmla="*/ 166188 w 4125234"/>
                <a:gd name="connsiteY533" fmla="*/ 946889 h 3739403"/>
                <a:gd name="connsiteX534" fmla="*/ 170395 w 4125234"/>
                <a:gd name="connsiteY534" fmla="*/ 940906 h 3739403"/>
                <a:gd name="connsiteX535" fmla="*/ 172499 w 4125234"/>
                <a:gd name="connsiteY535" fmla="*/ 938912 h 3739403"/>
                <a:gd name="connsiteX536" fmla="*/ 185121 w 4125234"/>
                <a:gd name="connsiteY536" fmla="*/ 938912 h 3739403"/>
                <a:gd name="connsiteX537" fmla="*/ 195639 w 4125234"/>
                <a:gd name="connsiteY537" fmla="*/ 932930 h 3739403"/>
                <a:gd name="connsiteX538" fmla="*/ 201950 w 4125234"/>
                <a:gd name="connsiteY538" fmla="*/ 930935 h 3739403"/>
                <a:gd name="connsiteX539" fmla="*/ 208261 w 4125234"/>
                <a:gd name="connsiteY539" fmla="*/ 922959 h 3739403"/>
                <a:gd name="connsiteX540" fmla="*/ 212468 w 4125234"/>
                <a:gd name="connsiteY540" fmla="*/ 916976 h 3739403"/>
                <a:gd name="connsiteX541" fmla="*/ 214572 w 4125234"/>
                <a:gd name="connsiteY541" fmla="*/ 903017 h 3739403"/>
                <a:gd name="connsiteX542" fmla="*/ 216675 w 4125234"/>
                <a:gd name="connsiteY542" fmla="*/ 899028 h 3739403"/>
                <a:gd name="connsiteX543" fmla="*/ 218779 w 4125234"/>
                <a:gd name="connsiteY543" fmla="*/ 893046 h 3739403"/>
                <a:gd name="connsiteX544" fmla="*/ 225090 w 4125234"/>
                <a:gd name="connsiteY544" fmla="*/ 891051 h 3739403"/>
                <a:gd name="connsiteX545" fmla="*/ 233504 w 4125234"/>
                <a:gd name="connsiteY545" fmla="*/ 893046 h 3739403"/>
                <a:gd name="connsiteX546" fmla="*/ 235608 w 4125234"/>
                <a:gd name="connsiteY546" fmla="*/ 893046 h 3739403"/>
                <a:gd name="connsiteX547" fmla="*/ 239815 w 4125234"/>
                <a:gd name="connsiteY547" fmla="*/ 891051 h 3739403"/>
                <a:gd name="connsiteX548" fmla="*/ 246126 w 4125234"/>
                <a:gd name="connsiteY548" fmla="*/ 883075 h 3739403"/>
                <a:gd name="connsiteX549" fmla="*/ 250333 w 4125234"/>
                <a:gd name="connsiteY549" fmla="*/ 873104 h 3739403"/>
                <a:gd name="connsiteX550" fmla="*/ 258748 w 4125234"/>
                <a:gd name="connsiteY550" fmla="*/ 867121 h 3739403"/>
                <a:gd name="connsiteX551" fmla="*/ 267162 w 4125234"/>
                <a:gd name="connsiteY551" fmla="*/ 859144 h 3739403"/>
                <a:gd name="connsiteX552" fmla="*/ 273473 w 4125234"/>
                <a:gd name="connsiteY552" fmla="*/ 855156 h 3739403"/>
                <a:gd name="connsiteX553" fmla="*/ 283991 w 4125234"/>
                <a:gd name="connsiteY553" fmla="*/ 851167 h 3739403"/>
                <a:gd name="connsiteX554" fmla="*/ 294510 w 4125234"/>
                <a:gd name="connsiteY554" fmla="*/ 849173 h 3739403"/>
                <a:gd name="connsiteX555" fmla="*/ 313442 w 4125234"/>
                <a:gd name="connsiteY555" fmla="*/ 847179 h 3739403"/>
                <a:gd name="connsiteX556" fmla="*/ 336582 w 4125234"/>
                <a:gd name="connsiteY556" fmla="*/ 847179 h 3739403"/>
                <a:gd name="connsiteX557" fmla="*/ 338555 w 4125234"/>
                <a:gd name="connsiteY557" fmla="*/ 846556 h 3739403"/>
                <a:gd name="connsiteX558" fmla="*/ 336551 w 4125234"/>
                <a:gd name="connsiteY558" fmla="*/ 793575 h 3739403"/>
                <a:gd name="connsiteX559" fmla="*/ 336551 w 4125234"/>
                <a:gd name="connsiteY559" fmla="*/ 779533 h 3739403"/>
                <a:gd name="connsiteX560" fmla="*/ 334501 w 4125234"/>
                <a:gd name="connsiteY560" fmla="*/ 763516 h 3739403"/>
                <a:gd name="connsiteX561" fmla="*/ 328132 w 4125234"/>
                <a:gd name="connsiteY561" fmla="*/ 751481 h 3739403"/>
                <a:gd name="connsiteX562" fmla="*/ 323959 w 4125234"/>
                <a:gd name="connsiteY562" fmla="*/ 747469 h 3739403"/>
                <a:gd name="connsiteX563" fmla="*/ 323959 w 4125234"/>
                <a:gd name="connsiteY563" fmla="*/ 739475 h 3739403"/>
                <a:gd name="connsiteX564" fmla="*/ 326082 w 4125234"/>
                <a:gd name="connsiteY564" fmla="*/ 733458 h 3739403"/>
                <a:gd name="connsiteX565" fmla="*/ 328132 w 4125234"/>
                <a:gd name="connsiteY565" fmla="*/ 731452 h 3739403"/>
                <a:gd name="connsiteX566" fmla="*/ 334501 w 4125234"/>
                <a:gd name="connsiteY566" fmla="*/ 729446 h 3739403"/>
                <a:gd name="connsiteX567" fmla="*/ 342920 w 4125234"/>
                <a:gd name="connsiteY567" fmla="*/ 723428 h 3739403"/>
                <a:gd name="connsiteX568" fmla="*/ 347092 w 4125234"/>
                <a:gd name="connsiteY568" fmla="*/ 721422 h 3739403"/>
                <a:gd name="connsiteX569" fmla="*/ 349215 w 4125234"/>
                <a:gd name="connsiteY569" fmla="*/ 717410 h 3739403"/>
                <a:gd name="connsiteX570" fmla="*/ 353388 w 4125234"/>
                <a:gd name="connsiteY570" fmla="*/ 703399 h 3739403"/>
                <a:gd name="connsiteX571" fmla="*/ 353388 w 4125234"/>
                <a:gd name="connsiteY571" fmla="*/ 687351 h 3739403"/>
                <a:gd name="connsiteX572" fmla="*/ 359508 w 4125234"/>
                <a:gd name="connsiteY572" fmla="*/ 650756 h 3739403"/>
                <a:gd name="connsiteX573" fmla="*/ 349204 w 4125234"/>
                <a:gd name="connsiteY573" fmla="*/ 657300 h 3739403"/>
                <a:gd name="connsiteX574" fmla="*/ 302924 w 4125234"/>
                <a:gd name="connsiteY574" fmla="*/ 683352 h 3739403"/>
                <a:gd name="connsiteX575" fmla="*/ 294509 w 4125234"/>
                <a:gd name="connsiteY575" fmla="*/ 687360 h 3739403"/>
                <a:gd name="connsiteX576" fmla="*/ 292406 w 4125234"/>
                <a:gd name="connsiteY576" fmla="*/ 669324 h 3739403"/>
                <a:gd name="connsiteX577" fmla="*/ 273473 w 4125234"/>
                <a:gd name="connsiteY577" fmla="*/ 671328 h 3739403"/>
                <a:gd name="connsiteX578" fmla="*/ 273473 w 4125234"/>
                <a:gd name="connsiteY578" fmla="*/ 667320 h 3739403"/>
                <a:gd name="connsiteX579" fmla="*/ 271369 w 4125234"/>
                <a:gd name="connsiteY579" fmla="*/ 663312 h 3739403"/>
                <a:gd name="connsiteX580" fmla="*/ 265058 w 4125234"/>
                <a:gd name="connsiteY580" fmla="*/ 661308 h 3739403"/>
                <a:gd name="connsiteX581" fmla="*/ 260851 w 4125234"/>
                <a:gd name="connsiteY581" fmla="*/ 663312 h 3739403"/>
                <a:gd name="connsiteX582" fmla="*/ 260851 w 4125234"/>
                <a:gd name="connsiteY582" fmla="*/ 653292 h 3739403"/>
                <a:gd name="connsiteX583" fmla="*/ 260851 w 4125234"/>
                <a:gd name="connsiteY583" fmla="*/ 647281 h 3739403"/>
                <a:gd name="connsiteX584" fmla="*/ 254540 w 4125234"/>
                <a:gd name="connsiteY584" fmla="*/ 639265 h 3739403"/>
                <a:gd name="connsiteX585" fmla="*/ 248229 w 4125234"/>
                <a:gd name="connsiteY585" fmla="*/ 639265 h 3739403"/>
                <a:gd name="connsiteX586" fmla="*/ 248229 w 4125234"/>
                <a:gd name="connsiteY586" fmla="*/ 635257 h 3739403"/>
                <a:gd name="connsiteX587" fmla="*/ 241918 w 4125234"/>
                <a:gd name="connsiteY587" fmla="*/ 631249 h 3739403"/>
                <a:gd name="connsiteX588" fmla="*/ 239815 w 4125234"/>
                <a:gd name="connsiteY588" fmla="*/ 631249 h 3739403"/>
                <a:gd name="connsiteX589" fmla="*/ 239815 w 4125234"/>
                <a:gd name="connsiteY589" fmla="*/ 627241 h 3739403"/>
                <a:gd name="connsiteX590" fmla="*/ 233504 w 4125234"/>
                <a:gd name="connsiteY590" fmla="*/ 629245 h 3739403"/>
                <a:gd name="connsiteX591" fmla="*/ 233504 w 4125234"/>
                <a:gd name="connsiteY591" fmla="*/ 617221 h 3739403"/>
                <a:gd name="connsiteX592" fmla="*/ 220882 w 4125234"/>
                <a:gd name="connsiteY592" fmla="*/ 617221 h 3739403"/>
                <a:gd name="connsiteX593" fmla="*/ 220882 w 4125234"/>
                <a:gd name="connsiteY593" fmla="*/ 611209 h 3739403"/>
                <a:gd name="connsiteX594" fmla="*/ 218778 w 4125234"/>
                <a:gd name="connsiteY594" fmla="*/ 607201 h 3739403"/>
                <a:gd name="connsiteX595" fmla="*/ 216675 w 4125234"/>
                <a:gd name="connsiteY595" fmla="*/ 605197 h 3739403"/>
                <a:gd name="connsiteX596" fmla="*/ 208260 w 4125234"/>
                <a:gd name="connsiteY596" fmla="*/ 607201 h 3739403"/>
                <a:gd name="connsiteX597" fmla="*/ 210364 w 4125234"/>
                <a:gd name="connsiteY597" fmla="*/ 597181 h 3739403"/>
                <a:gd name="connsiteX598" fmla="*/ 208260 w 4125234"/>
                <a:gd name="connsiteY598" fmla="*/ 589166 h 3739403"/>
                <a:gd name="connsiteX599" fmla="*/ 201949 w 4125234"/>
                <a:gd name="connsiteY599" fmla="*/ 585158 h 3739403"/>
                <a:gd name="connsiteX600" fmla="*/ 191431 w 4125234"/>
                <a:gd name="connsiteY600" fmla="*/ 585158 h 3739403"/>
                <a:gd name="connsiteX601" fmla="*/ 189327 w 4125234"/>
                <a:gd name="connsiteY601" fmla="*/ 577142 h 3739403"/>
                <a:gd name="connsiteX602" fmla="*/ 187224 w 4125234"/>
                <a:gd name="connsiteY602" fmla="*/ 571130 h 3739403"/>
                <a:gd name="connsiteX603" fmla="*/ 170395 w 4125234"/>
                <a:gd name="connsiteY603" fmla="*/ 559106 h 3739403"/>
                <a:gd name="connsiteX604" fmla="*/ 157773 w 4125234"/>
                <a:gd name="connsiteY604" fmla="*/ 549086 h 3739403"/>
                <a:gd name="connsiteX605" fmla="*/ 145151 w 4125234"/>
                <a:gd name="connsiteY605" fmla="*/ 539066 h 3739403"/>
                <a:gd name="connsiteX606" fmla="*/ 143047 w 4125234"/>
                <a:gd name="connsiteY606" fmla="*/ 531051 h 3739403"/>
                <a:gd name="connsiteX607" fmla="*/ 136736 w 4125234"/>
                <a:gd name="connsiteY607" fmla="*/ 525039 h 3739403"/>
                <a:gd name="connsiteX608" fmla="*/ 128322 w 4125234"/>
                <a:gd name="connsiteY608" fmla="*/ 527043 h 3739403"/>
                <a:gd name="connsiteX609" fmla="*/ 122011 w 4125234"/>
                <a:gd name="connsiteY609" fmla="*/ 515019 h 3739403"/>
                <a:gd name="connsiteX610" fmla="*/ 115700 w 4125234"/>
                <a:gd name="connsiteY610" fmla="*/ 509007 h 3739403"/>
                <a:gd name="connsiteX611" fmla="*/ 105182 w 4125234"/>
                <a:gd name="connsiteY611" fmla="*/ 507003 h 3739403"/>
                <a:gd name="connsiteX612" fmla="*/ 105182 w 4125234"/>
                <a:gd name="connsiteY612" fmla="*/ 494979 h 3739403"/>
                <a:gd name="connsiteX613" fmla="*/ 100975 w 4125234"/>
                <a:gd name="connsiteY613" fmla="*/ 494979 h 3739403"/>
                <a:gd name="connsiteX614" fmla="*/ 100975 w 4125234"/>
                <a:gd name="connsiteY614" fmla="*/ 484959 h 3739403"/>
                <a:gd name="connsiteX615" fmla="*/ 96767 w 4125234"/>
                <a:gd name="connsiteY615" fmla="*/ 476944 h 3739403"/>
                <a:gd name="connsiteX616" fmla="*/ 90456 w 4125234"/>
                <a:gd name="connsiteY616" fmla="*/ 474940 h 3739403"/>
                <a:gd name="connsiteX617" fmla="*/ 79938 w 4125234"/>
                <a:gd name="connsiteY617" fmla="*/ 476944 h 3739403"/>
                <a:gd name="connsiteX618" fmla="*/ 82042 w 4125234"/>
                <a:gd name="connsiteY618" fmla="*/ 468928 h 3739403"/>
                <a:gd name="connsiteX619" fmla="*/ 69420 w 4125234"/>
                <a:gd name="connsiteY619" fmla="*/ 470932 h 3739403"/>
                <a:gd name="connsiteX620" fmla="*/ 65213 w 4125234"/>
                <a:gd name="connsiteY620" fmla="*/ 458908 h 3739403"/>
                <a:gd name="connsiteX621" fmla="*/ 63109 w 4125234"/>
                <a:gd name="connsiteY621" fmla="*/ 448888 h 3739403"/>
                <a:gd name="connsiteX622" fmla="*/ 58902 w 4125234"/>
                <a:gd name="connsiteY622" fmla="*/ 444880 h 3739403"/>
                <a:gd name="connsiteX623" fmla="*/ 54694 w 4125234"/>
                <a:gd name="connsiteY623" fmla="*/ 438868 h 3739403"/>
                <a:gd name="connsiteX624" fmla="*/ 58902 w 4125234"/>
                <a:gd name="connsiteY624" fmla="*/ 432856 h 3739403"/>
                <a:gd name="connsiteX625" fmla="*/ 63109 w 4125234"/>
                <a:gd name="connsiteY625" fmla="*/ 432856 h 3739403"/>
                <a:gd name="connsiteX626" fmla="*/ 65213 w 4125234"/>
                <a:gd name="connsiteY626" fmla="*/ 432856 h 3739403"/>
                <a:gd name="connsiteX627" fmla="*/ 69420 w 4125234"/>
                <a:gd name="connsiteY627" fmla="*/ 426844 h 3739403"/>
                <a:gd name="connsiteX628" fmla="*/ 65213 w 4125234"/>
                <a:gd name="connsiteY628" fmla="*/ 422836 h 3739403"/>
                <a:gd name="connsiteX629" fmla="*/ 63109 w 4125234"/>
                <a:gd name="connsiteY629" fmla="*/ 418829 h 3739403"/>
                <a:gd name="connsiteX630" fmla="*/ 63109 w 4125234"/>
                <a:gd name="connsiteY630" fmla="*/ 402797 h 3739403"/>
                <a:gd name="connsiteX631" fmla="*/ 63109 w 4125234"/>
                <a:gd name="connsiteY631" fmla="*/ 386765 h 3739403"/>
                <a:gd name="connsiteX632" fmla="*/ 61005 w 4125234"/>
                <a:gd name="connsiteY632" fmla="*/ 374741 h 3739403"/>
                <a:gd name="connsiteX633" fmla="*/ 63109 w 4125234"/>
                <a:gd name="connsiteY633" fmla="*/ 358710 h 3739403"/>
                <a:gd name="connsiteX634" fmla="*/ 54694 w 4125234"/>
                <a:gd name="connsiteY634" fmla="*/ 358710 h 3739403"/>
                <a:gd name="connsiteX635" fmla="*/ 58902 w 4125234"/>
                <a:gd name="connsiteY635" fmla="*/ 352698 h 3739403"/>
                <a:gd name="connsiteX636" fmla="*/ 58902 w 4125234"/>
                <a:gd name="connsiteY636" fmla="*/ 344682 h 3739403"/>
                <a:gd name="connsiteX637" fmla="*/ 65213 w 4125234"/>
                <a:gd name="connsiteY637" fmla="*/ 334662 h 3739403"/>
                <a:gd name="connsiteX638" fmla="*/ 71524 w 4125234"/>
                <a:gd name="connsiteY638" fmla="*/ 328650 h 3739403"/>
                <a:gd name="connsiteX639" fmla="*/ 79938 w 4125234"/>
                <a:gd name="connsiteY639" fmla="*/ 324642 h 3739403"/>
                <a:gd name="connsiteX640" fmla="*/ 84145 w 4125234"/>
                <a:gd name="connsiteY640" fmla="*/ 318630 h 3739403"/>
                <a:gd name="connsiteX641" fmla="*/ 86249 w 4125234"/>
                <a:gd name="connsiteY641" fmla="*/ 314622 h 3739403"/>
                <a:gd name="connsiteX642" fmla="*/ 84145 w 4125234"/>
                <a:gd name="connsiteY642" fmla="*/ 306606 h 3739403"/>
                <a:gd name="connsiteX643" fmla="*/ 92560 w 4125234"/>
                <a:gd name="connsiteY643" fmla="*/ 306606 h 3739403"/>
                <a:gd name="connsiteX644" fmla="*/ 90456 w 4125234"/>
                <a:gd name="connsiteY644" fmla="*/ 296587 h 3739403"/>
                <a:gd name="connsiteX645" fmla="*/ 84145 w 4125234"/>
                <a:gd name="connsiteY645" fmla="*/ 288571 h 3739403"/>
                <a:gd name="connsiteX646" fmla="*/ 75731 w 4125234"/>
                <a:gd name="connsiteY646" fmla="*/ 288571 h 3739403"/>
                <a:gd name="connsiteX647" fmla="*/ 79938 w 4125234"/>
                <a:gd name="connsiteY647" fmla="*/ 278551 h 3739403"/>
                <a:gd name="connsiteX648" fmla="*/ 69420 w 4125234"/>
                <a:gd name="connsiteY648" fmla="*/ 281414 h 3739403"/>
                <a:gd name="connsiteX649" fmla="*/ 69420 w 4125234"/>
                <a:gd name="connsiteY649" fmla="*/ 266527 h 3739403"/>
                <a:gd name="connsiteX650" fmla="*/ 69420 w 4125234"/>
                <a:gd name="connsiteY650" fmla="*/ 252499 h 3739403"/>
                <a:gd name="connsiteX651" fmla="*/ 69420 w 4125234"/>
                <a:gd name="connsiteY651" fmla="*/ 244484 h 3739403"/>
                <a:gd name="connsiteX652" fmla="*/ 65213 w 4125234"/>
                <a:gd name="connsiteY652" fmla="*/ 238472 h 3739403"/>
                <a:gd name="connsiteX653" fmla="*/ 61005 w 4125234"/>
                <a:gd name="connsiteY653" fmla="*/ 234464 h 3739403"/>
                <a:gd name="connsiteX654" fmla="*/ 52591 w 4125234"/>
                <a:gd name="connsiteY654" fmla="*/ 234464 h 3739403"/>
                <a:gd name="connsiteX655" fmla="*/ 48384 w 4125234"/>
                <a:gd name="connsiteY655" fmla="*/ 226448 h 3739403"/>
                <a:gd name="connsiteX656" fmla="*/ 48384 w 4125234"/>
                <a:gd name="connsiteY656" fmla="*/ 220436 h 3739403"/>
                <a:gd name="connsiteX657" fmla="*/ 52591 w 4125234"/>
                <a:gd name="connsiteY657" fmla="*/ 212420 h 3739403"/>
                <a:gd name="connsiteX658" fmla="*/ 58902 w 4125234"/>
                <a:gd name="connsiteY658" fmla="*/ 210416 h 3739403"/>
                <a:gd name="connsiteX659" fmla="*/ 73627 w 4125234"/>
                <a:gd name="connsiteY659" fmla="*/ 202400 h 3739403"/>
                <a:gd name="connsiteX660" fmla="*/ 86249 w 4125234"/>
                <a:gd name="connsiteY660" fmla="*/ 194384 h 3739403"/>
                <a:gd name="connsiteX661" fmla="*/ 96767 w 4125234"/>
                <a:gd name="connsiteY661" fmla="*/ 182361 h 3739403"/>
                <a:gd name="connsiteX662" fmla="*/ 105182 w 4125234"/>
                <a:gd name="connsiteY662" fmla="*/ 172341 h 3739403"/>
                <a:gd name="connsiteX663" fmla="*/ 105182 w 4125234"/>
                <a:gd name="connsiteY663" fmla="*/ 160317 h 3739403"/>
                <a:gd name="connsiteX664" fmla="*/ 103078 w 4125234"/>
                <a:gd name="connsiteY664" fmla="*/ 142281 h 3739403"/>
                <a:gd name="connsiteX665" fmla="*/ 100975 w 4125234"/>
                <a:gd name="connsiteY665" fmla="*/ 134266 h 3739403"/>
                <a:gd name="connsiteX666" fmla="*/ 94664 w 4125234"/>
                <a:gd name="connsiteY666" fmla="*/ 126250 h 3739403"/>
                <a:gd name="connsiteX667" fmla="*/ 94664 w 4125234"/>
                <a:gd name="connsiteY667" fmla="*/ 124246 h 3739403"/>
                <a:gd name="connsiteX668" fmla="*/ 96767 w 4125234"/>
                <a:gd name="connsiteY668" fmla="*/ 124246 h 3739403"/>
                <a:gd name="connsiteX669" fmla="*/ 111493 w 4125234"/>
                <a:gd name="connsiteY669" fmla="*/ 124246 h 3739403"/>
                <a:gd name="connsiteX670" fmla="*/ 107285 w 4125234"/>
                <a:gd name="connsiteY670" fmla="*/ 112222 h 3739403"/>
                <a:gd name="connsiteX671" fmla="*/ 103078 w 4125234"/>
                <a:gd name="connsiteY671" fmla="*/ 102202 h 3739403"/>
                <a:gd name="connsiteX672" fmla="*/ 92560 w 4125234"/>
                <a:gd name="connsiteY672" fmla="*/ 96190 h 3739403"/>
                <a:gd name="connsiteX673" fmla="*/ 82042 w 4125234"/>
                <a:gd name="connsiteY673" fmla="*/ 92182 h 3739403"/>
                <a:gd name="connsiteX674" fmla="*/ 58902 w 4125234"/>
                <a:gd name="connsiteY674" fmla="*/ 86170 h 3739403"/>
                <a:gd name="connsiteX675" fmla="*/ 44176 w 4125234"/>
                <a:gd name="connsiteY675" fmla="*/ 82162 h 3739403"/>
                <a:gd name="connsiteX676" fmla="*/ 37865 w 4125234"/>
                <a:gd name="connsiteY676" fmla="*/ 76151 h 3739403"/>
                <a:gd name="connsiteX677" fmla="*/ 27347 w 4125234"/>
                <a:gd name="connsiteY677" fmla="*/ 66131 h 3739403"/>
                <a:gd name="connsiteX678" fmla="*/ 21036 w 4125234"/>
                <a:gd name="connsiteY678" fmla="*/ 54107 h 3739403"/>
                <a:gd name="connsiteX679" fmla="*/ 18933 w 4125234"/>
                <a:gd name="connsiteY679" fmla="*/ 30059 h 3739403"/>
                <a:gd name="connsiteX680" fmla="*/ 16829 w 4125234"/>
                <a:gd name="connsiteY680" fmla="*/ 22043 h 3739403"/>
                <a:gd name="connsiteX681" fmla="*/ 8414 w 4125234"/>
                <a:gd name="connsiteY681" fmla="*/ 14028 h 3739403"/>
                <a:gd name="connsiteX682" fmla="*/ 2104 w 4125234"/>
                <a:gd name="connsiteY682" fmla="*/ 8016 h 3739403"/>
                <a:gd name="connsiteX683" fmla="*/ 0 w 4125234"/>
                <a:gd name="connsiteY683" fmla="*/ 0 h 373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Lst>
              <a:rect l="l" t="t" r="r" b="b"/>
              <a:pathLst>
                <a:path w="4125234" h="3739403">
                  <a:moveTo>
                    <a:pt x="1133193" y="1222419"/>
                  </a:moveTo>
                  <a:lnTo>
                    <a:pt x="1137390" y="1224444"/>
                  </a:lnTo>
                  <a:lnTo>
                    <a:pt x="1244665" y="1312603"/>
                  </a:lnTo>
                  <a:lnTo>
                    <a:pt x="1354075" y="1396759"/>
                  </a:lnTo>
                  <a:lnTo>
                    <a:pt x="1349569" y="1401766"/>
                  </a:lnTo>
                  <a:lnTo>
                    <a:pt x="1371561" y="1414763"/>
                  </a:lnTo>
                  <a:lnTo>
                    <a:pt x="1562977" y="1565059"/>
                  </a:lnTo>
                  <a:lnTo>
                    <a:pt x="1584034" y="1581155"/>
                  </a:lnTo>
                  <a:lnTo>
                    <a:pt x="1834435" y="1783561"/>
                  </a:lnTo>
                  <a:lnTo>
                    <a:pt x="1975365" y="1899753"/>
                  </a:lnTo>
                  <a:lnTo>
                    <a:pt x="2231981" y="2114231"/>
                  </a:lnTo>
                  <a:lnTo>
                    <a:pt x="2278281" y="2152258"/>
                  </a:lnTo>
                  <a:lnTo>
                    <a:pt x="2322425" y="2188373"/>
                  </a:lnTo>
                  <a:lnTo>
                    <a:pt x="2406526" y="2258491"/>
                  </a:lnTo>
                  <a:lnTo>
                    <a:pt x="2427583" y="2276498"/>
                  </a:lnTo>
                  <a:lnTo>
                    <a:pt x="2534898" y="2368648"/>
                  </a:lnTo>
                  <a:lnTo>
                    <a:pt x="2547456" y="2378708"/>
                  </a:lnTo>
                  <a:lnTo>
                    <a:pt x="2574855" y="2400739"/>
                  </a:lnTo>
                  <a:lnTo>
                    <a:pt x="2574640" y="2400739"/>
                  </a:lnTo>
                  <a:lnTo>
                    <a:pt x="2574864" y="2400772"/>
                  </a:lnTo>
                  <a:lnTo>
                    <a:pt x="2608534" y="2424867"/>
                  </a:lnTo>
                  <a:lnTo>
                    <a:pt x="2639989" y="2448829"/>
                  </a:lnTo>
                  <a:lnTo>
                    <a:pt x="2701127" y="2498894"/>
                  </a:lnTo>
                  <a:lnTo>
                    <a:pt x="2757834" y="2554982"/>
                  </a:lnTo>
                  <a:lnTo>
                    <a:pt x="2818971" y="2603173"/>
                  </a:lnTo>
                  <a:lnTo>
                    <a:pt x="3033396" y="2789511"/>
                  </a:lnTo>
                  <a:lnTo>
                    <a:pt x="3262662" y="2977856"/>
                  </a:lnTo>
                  <a:lnTo>
                    <a:pt x="3487941" y="3174233"/>
                  </a:lnTo>
                  <a:lnTo>
                    <a:pt x="3576103" y="3248393"/>
                  </a:lnTo>
                  <a:lnTo>
                    <a:pt x="3855874" y="3490819"/>
                  </a:lnTo>
                  <a:lnTo>
                    <a:pt x="3992769" y="3613170"/>
                  </a:lnTo>
                  <a:lnTo>
                    <a:pt x="4125234" y="3739403"/>
                  </a:lnTo>
                  <a:lnTo>
                    <a:pt x="3771921" y="3735387"/>
                  </a:lnTo>
                  <a:lnTo>
                    <a:pt x="3416392" y="3735387"/>
                  </a:lnTo>
                  <a:lnTo>
                    <a:pt x="3062857" y="3735387"/>
                  </a:lnTo>
                  <a:lnTo>
                    <a:pt x="2707329" y="3733379"/>
                  </a:lnTo>
                  <a:lnTo>
                    <a:pt x="2579073" y="3733379"/>
                  </a:lnTo>
                  <a:lnTo>
                    <a:pt x="2452810" y="3735387"/>
                  </a:lnTo>
                  <a:cubicBezTo>
                    <a:pt x="2454139" y="3727355"/>
                    <a:pt x="2455690" y="3719458"/>
                    <a:pt x="2457019" y="3711292"/>
                  </a:cubicBezTo>
                  <a:lnTo>
                    <a:pt x="2457019" y="3699244"/>
                  </a:lnTo>
                  <a:cubicBezTo>
                    <a:pt x="2457684" y="3695898"/>
                    <a:pt x="2458570" y="3692685"/>
                    <a:pt x="2459234" y="3689338"/>
                  </a:cubicBezTo>
                  <a:lnTo>
                    <a:pt x="2461228" y="3683314"/>
                  </a:lnTo>
                  <a:cubicBezTo>
                    <a:pt x="2463443" y="3682645"/>
                    <a:pt x="2465437" y="3681976"/>
                    <a:pt x="2467652" y="3681307"/>
                  </a:cubicBezTo>
                  <a:cubicBezTo>
                    <a:pt x="2468981" y="3679299"/>
                    <a:pt x="2470531" y="3677291"/>
                    <a:pt x="2471860" y="3675283"/>
                  </a:cubicBezTo>
                  <a:cubicBezTo>
                    <a:pt x="2473854" y="3673944"/>
                    <a:pt x="2476069" y="3672739"/>
                    <a:pt x="2478063" y="3671267"/>
                  </a:cubicBezTo>
                  <a:lnTo>
                    <a:pt x="2478063" y="3661227"/>
                  </a:lnTo>
                  <a:cubicBezTo>
                    <a:pt x="2476734" y="3657880"/>
                    <a:pt x="2475183" y="3654534"/>
                    <a:pt x="2473854" y="3651187"/>
                  </a:cubicBezTo>
                  <a:cubicBezTo>
                    <a:pt x="2470310" y="3642486"/>
                    <a:pt x="2466987" y="3633919"/>
                    <a:pt x="2463443" y="3625084"/>
                  </a:cubicBezTo>
                  <a:cubicBezTo>
                    <a:pt x="2459899" y="3617722"/>
                    <a:pt x="2456355" y="3610493"/>
                    <a:pt x="2452810" y="3603130"/>
                  </a:cubicBezTo>
                  <a:lnTo>
                    <a:pt x="2450817" y="3597107"/>
                  </a:lnTo>
                  <a:lnTo>
                    <a:pt x="2452810" y="3593091"/>
                  </a:lnTo>
                  <a:cubicBezTo>
                    <a:pt x="2447273" y="3577696"/>
                    <a:pt x="2441513" y="3562302"/>
                    <a:pt x="2435975" y="3547042"/>
                  </a:cubicBezTo>
                  <a:lnTo>
                    <a:pt x="2421355" y="3511033"/>
                  </a:lnTo>
                  <a:cubicBezTo>
                    <a:pt x="2420026" y="3503670"/>
                    <a:pt x="2418476" y="3496308"/>
                    <a:pt x="2417147" y="3488811"/>
                  </a:cubicBezTo>
                  <a:lnTo>
                    <a:pt x="2417147" y="3476898"/>
                  </a:lnTo>
                  <a:lnTo>
                    <a:pt x="2419140" y="3458826"/>
                  </a:lnTo>
                  <a:lnTo>
                    <a:pt x="2419140" y="3446778"/>
                  </a:lnTo>
                  <a:lnTo>
                    <a:pt x="2419140" y="3438747"/>
                  </a:lnTo>
                  <a:lnTo>
                    <a:pt x="2417147" y="3432723"/>
                  </a:lnTo>
                  <a:cubicBezTo>
                    <a:pt x="2414267" y="3429376"/>
                    <a:pt x="2411609" y="3426163"/>
                    <a:pt x="2408729" y="3422817"/>
                  </a:cubicBezTo>
                  <a:lnTo>
                    <a:pt x="2398097" y="3416793"/>
                  </a:lnTo>
                  <a:cubicBezTo>
                    <a:pt x="2396768" y="3414116"/>
                    <a:pt x="2395217" y="3411439"/>
                    <a:pt x="2393888" y="3408761"/>
                  </a:cubicBezTo>
                  <a:cubicBezTo>
                    <a:pt x="2391894" y="3405415"/>
                    <a:pt x="2389679" y="3402068"/>
                    <a:pt x="2387685" y="3398722"/>
                  </a:cubicBezTo>
                  <a:cubicBezTo>
                    <a:pt x="2384141" y="3389351"/>
                    <a:pt x="2380597" y="3380115"/>
                    <a:pt x="2377053" y="3370744"/>
                  </a:cubicBezTo>
                  <a:cubicBezTo>
                    <a:pt x="2375724" y="3366059"/>
                    <a:pt x="2374173" y="3361374"/>
                    <a:pt x="2372844" y="3356555"/>
                  </a:cubicBezTo>
                  <a:lnTo>
                    <a:pt x="2372844" y="3344641"/>
                  </a:lnTo>
                  <a:lnTo>
                    <a:pt x="2372844" y="3334601"/>
                  </a:lnTo>
                  <a:cubicBezTo>
                    <a:pt x="2375059" y="3329916"/>
                    <a:pt x="2377053" y="3325365"/>
                    <a:pt x="2379268" y="3320679"/>
                  </a:cubicBezTo>
                  <a:cubicBezTo>
                    <a:pt x="2381262" y="3316663"/>
                    <a:pt x="2383477" y="3312514"/>
                    <a:pt x="2385470" y="3308498"/>
                  </a:cubicBezTo>
                  <a:lnTo>
                    <a:pt x="2385470" y="3298458"/>
                  </a:lnTo>
                  <a:cubicBezTo>
                    <a:pt x="2384806" y="3295781"/>
                    <a:pt x="2384141" y="3293237"/>
                    <a:pt x="2383477" y="3290560"/>
                  </a:cubicBezTo>
                  <a:cubicBezTo>
                    <a:pt x="2381262" y="3288552"/>
                    <a:pt x="2379268" y="3286544"/>
                    <a:pt x="2377053" y="3284536"/>
                  </a:cubicBezTo>
                  <a:cubicBezTo>
                    <a:pt x="2372844" y="3279851"/>
                    <a:pt x="2368635" y="3275032"/>
                    <a:pt x="2364427" y="3270347"/>
                  </a:cubicBezTo>
                  <a:cubicBezTo>
                    <a:pt x="2362433" y="3269008"/>
                    <a:pt x="2360218" y="3267803"/>
                    <a:pt x="2358224" y="3266465"/>
                  </a:cubicBezTo>
                  <a:cubicBezTo>
                    <a:pt x="2356895" y="3265795"/>
                    <a:pt x="2355345" y="3265126"/>
                    <a:pt x="2354016" y="3264457"/>
                  </a:cubicBezTo>
                  <a:cubicBezTo>
                    <a:pt x="2353351" y="3262449"/>
                    <a:pt x="2352465" y="3260441"/>
                    <a:pt x="2351800" y="3258433"/>
                  </a:cubicBezTo>
                  <a:cubicBezTo>
                    <a:pt x="2352465" y="3257764"/>
                    <a:pt x="2353351" y="3257094"/>
                    <a:pt x="2354016" y="3256425"/>
                  </a:cubicBezTo>
                  <a:cubicBezTo>
                    <a:pt x="2355345" y="3255756"/>
                    <a:pt x="2356895" y="3255086"/>
                    <a:pt x="2358224" y="3254417"/>
                  </a:cubicBezTo>
                  <a:cubicBezTo>
                    <a:pt x="2359553" y="3253078"/>
                    <a:pt x="2361104" y="3251740"/>
                    <a:pt x="2362433" y="3250401"/>
                  </a:cubicBezTo>
                  <a:lnTo>
                    <a:pt x="2364427" y="3250401"/>
                  </a:lnTo>
                  <a:cubicBezTo>
                    <a:pt x="2363762" y="3247055"/>
                    <a:pt x="2363098" y="3243842"/>
                    <a:pt x="2362433" y="3240495"/>
                  </a:cubicBezTo>
                  <a:cubicBezTo>
                    <a:pt x="2360218" y="3239157"/>
                    <a:pt x="2358224" y="3237818"/>
                    <a:pt x="2356009" y="3236479"/>
                  </a:cubicBezTo>
                  <a:cubicBezTo>
                    <a:pt x="2354680" y="3235810"/>
                    <a:pt x="2353129" y="3235141"/>
                    <a:pt x="2351800" y="3234472"/>
                  </a:cubicBezTo>
                  <a:cubicBezTo>
                    <a:pt x="2349807" y="3233133"/>
                    <a:pt x="2347592" y="3231794"/>
                    <a:pt x="2345598" y="3230456"/>
                  </a:cubicBezTo>
                  <a:lnTo>
                    <a:pt x="2332972" y="3230456"/>
                  </a:lnTo>
                  <a:lnTo>
                    <a:pt x="2326548" y="3230456"/>
                  </a:lnTo>
                  <a:cubicBezTo>
                    <a:pt x="2324554" y="3229117"/>
                    <a:pt x="2322339" y="3227778"/>
                    <a:pt x="2320346" y="3226440"/>
                  </a:cubicBezTo>
                  <a:cubicBezTo>
                    <a:pt x="2317466" y="3223629"/>
                    <a:pt x="2314808" y="3220951"/>
                    <a:pt x="2311928" y="3218274"/>
                  </a:cubicBezTo>
                  <a:cubicBezTo>
                    <a:pt x="2309048" y="3214927"/>
                    <a:pt x="2306390" y="3211715"/>
                    <a:pt x="2303511" y="3208368"/>
                  </a:cubicBezTo>
                  <a:cubicBezTo>
                    <a:pt x="2300631" y="3201675"/>
                    <a:pt x="2297973" y="3195116"/>
                    <a:pt x="2295093" y="3188423"/>
                  </a:cubicBezTo>
                  <a:cubicBezTo>
                    <a:pt x="2294428" y="3184407"/>
                    <a:pt x="2293542" y="3180257"/>
                    <a:pt x="2292878" y="3176241"/>
                  </a:cubicBezTo>
                  <a:lnTo>
                    <a:pt x="2292878" y="3166201"/>
                  </a:lnTo>
                  <a:cubicBezTo>
                    <a:pt x="2292213" y="3162855"/>
                    <a:pt x="2291549" y="3159642"/>
                    <a:pt x="2290884" y="3156295"/>
                  </a:cubicBezTo>
                  <a:cubicBezTo>
                    <a:pt x="2288669" y="3152280"/>
                    <a:pt x="2286676" y="3148264"/>
                    <a:pt x="2284460" y="3144248"/>
                  </a:cubicBezTo>
                  <a:cubicBezTo>
                    <a:pt x="2282467" y="3142240"/>
                    <a:pt x="2280252" y="3140232"/>
                    <a:pt x="2278258" y="3138224"/>
                  </a:cubicBezTo>
                  <a:cubicBezTo>
                    <a:pt x="2275378" y="3136216"/>
                    <a:pt x="2272720" y="3134208"/>
                    <a:pt x="2269841" y="3132200"/>
                  </a:cubicBezTo>
                  <a:cubicBezTo>
                    <a:pt x="2267625" y="3130192"/>
                    <a:pt x="2265632" y="3128184"/>
                    <a:pt x="2263417" y="3126176"/>
                  </a:cubicBezTo>
                  <a:cubicBezTo>
                    <a:pt x="2262088" y="3122830"/>
                    <a:pt x="2260537" y="3119483"/>
                    <a:pt x="2259208" y="3116137"/>
                  </a:cubicBezTo>
                  <a:lnTo>
                    <a:pt x="2259208" y="3114129"/>
                  </a:lnTo>
                  <a:lnTo>
                    <a:pt x="2259208" y="3112121"/>
                  </a:lnTo>
                  <a:cubicBezTo>
                    <a:pt x="2260537" y="3109443"/>
                    <a:pt x="2262088" y="3106900"/>
                    <a:pt x="2263417" y="3104223"/>
                  </a:cubicBezTo>
                  <a:cubicBezTo>
                    <a:pt x="2264746" y="3102215"/>
                    <a:pt x="2266296" y="3100207"/>
                    <a:pt x="2267625" y="3098199"/>
                  </a:cubicBezTo>
                  <a:lnTo>
                    <a:pt x="2267625" y="3096191"/>
                  </a:lnTo>
                  <a:lnTo>
                    <a:pt x="2267625" y="3094183"/>
                  </a:lnTo>
                  <a:lnTo>
                    <a:pt x="2246582" y="3066072"/>
                  </a:lnTo>
                  <a:cubicBezTo>
                    <a:pt x="2243037" y="3062056"/>
                    <a:pt x="2239715" y="3058174"/>
                    <a:pt x="2236171" y="3054158"/>
                  </a:cubicBezTo>
                  <a:cubicBezTo>
                    <a:pt x="2233291" y="3048803"/>
                    <a:pt x="2230633" y="3043315"/>
                    <a:pt x="2227753" y="3037960"/>
                  </a:cubicBezTo>
                  <a:lnTo>
                    <a:pt x="2225759" y="3035953"/>
                  </a:lnTo>
                  <a:cubicBezTo>
                    <a:pt x="2223544" y="3035283"/>
                    <a:pt x="2221551" y="3034614"/>
                    <a:pt x="2219336" y="3033945"/>
                  </a:cubicBezTo>
                  <a:cubicBezTo>
                    <a:pt x="2218006" y="3031937"/>
                    <a:pt x="2216456" y="3029929"/>
                    <a:pt x="2215127" y="3027921"/>
                  </a:cubicBezTo>
                  <a:lnTo>
                    <a:pt x="2215127" y="3026047"/>
                  </a:lnTo>
                  <a:lnTo>
                    <a:pt x="2215127" y="3022031"/>
                  </a:lnTo>
                  <a:cubicBezTo>
                    <a:pt x="2216456" y="3020692"/>
                    <a:pt x="2218006" y="3019353"/>
                    <a:pt x="2219336" y="3018015"/>
                  </a:cubicBezTo>
                  <a:lnTo>
                    <a:pt x="2227753" y="3016007"/>
                  </a:lnTo>
                  <a:lnTo>
                    <a:pt x="2229747" y="3011991"/>
                  </a:lnTo>
                  <a:lnTo>
                    <a:pt x="2229747" y="3001817"/>
                  </a:lnTo>
                  <a:lnTo>
                    <a:pt x="2229747" y="2993919"/>
                  </a:lnTo>
                  <a:lnTo>
                    <a:pt x="2225759" y="2985888"/>
                  </a:lnTo>
                  <a:lnTo>
                    <a:pt x="2215127" y="2977856"/>
                  </a:lnTo>
                  <a:cubicBezTo>
                    <a:pt x="2213133" y="2976517"/>
                    <a:pt x="2210918" y="2975313"/>
                    <a:pt x="2208924" y="2973974"/>
                  </a:cubicBezTo>
                  <a:cubicBezTo>
                    <a:pt x="2207595" y="2970627"/>
                    <a:pt x="2206045" y="2967281"/>
                    <a:pt x="2204716" y="2963934"/>
                  </a:cubicBezTo>
                  <a:cubicBezTo>
                    <a:pt x="2201836" y="2956438"/>
                    <a:pt x="2199178" y="2949209"/>
                    <a:pt x="2196298" y="2941847"/>
                  </a:cubicBezTo>
                  <a:cubicBezTo>
                    <a:pt x="2194969" y="2934484"/>
                    <a:pt x="2193418" y="2927256"/>
                    <a:pt x="2192089" y="2919893"/>
                  </a:cubicBezTo>
                  <a:lnTo>
                    <a:pt x="2192089" y="2909720"/>
                  </a:lnTo>
                  <a:lnTo>
                    <a:pt x="2192089" y="2901688"/>
                  </a:lnTo>
                  <a:cubicBezTo>
                    <a:pt x="2194083" y="2901018"/>
                    <a:pt x="2196298" y="2900349"/>
                    <a:pt x="2198292" y="2899680"/>
                  </a:cubicBezTo>
                  <a:cubicBezTo>
                    <a:pt x="2200507" y="2897672"/>
                    <a:pt x="2202501" y="2895664"/>
                    <a:pt x="2204716" y="2893656"/>
                  </a:cubicBezTo>
                  <a:cubicBezTo>
                    <a:pt x="2206045" y="2892317"/>
                    <a:pt x="2207595" y="2891113"/>
                    <a:pt x="2208924" y="2889774"/>
                  </a:cubicBezTo>
                  <a:lnTo>
                    <a:pt x="2208924" y="2885758"/>
                  </a:lnTo>
                  <a:cubicBezTo>
                    <a:pt x="2208260" y="2883750"/>
                    <a:pt x="2207374" y="2881742"/>
                    <a:pt x="2206709" y="2879734"/>
                  </a:cubicBezTo>
                  <a:lnTo>
                    <a:pt x="2204716" y="2869695"/>
                  </a:lnTo>
                  <a:cubicBezTo>
                    <a:pt x="2201836" y="2861529"/>
                    <a:pt x="2199178" y="2853631"/>
                    <a:pt x="2196298" y="2845599"/>
                  </a:cubicBezTo>
                  <a:cubicBezTo>
                    <a:pt x="2193418" y="2837567"/>
                    <a:pt x="2190760" y="2829669"/>
                    <a:pt x="2187881" y="2821504"/>
                  </a:cubicBezTo>
                  <a:cubicBezTo>
                    <a:pt x="2185666" y="2812803"/>
                    <a:pt x="2183672" y="2804235"/>
                    <a:pt x="2181457" y="2795534"/>
                  </a:cubicBezTo>
                  <a:cubicBezTo>
                    <a:pt x="2177913" y="2784825"/>
                    <a:pt x="2174590" y="2774116"/>
                    <a:pt x="2171046" y="2763407"/>
                  </a:cubicBezTo>
                  <a:cubicBezTo>
                    <a:pt x="2168831" y="2758722"/>
                    <a:pt x="2166837" y="2754171"/>
                    <a:pt x="2164622" y="2749485"/>
                  </a:cubicBezTo>
                  <a:cubicBezTo>
                    <a:pt x="2161742" y="2745470"/>
                    <a:pt x="2159084" y="2741454"/>
                    <a:pt x="2156204" y="2737438"/>
                  </a:cubicBezTo>
                  <a:cubicBezTo>
                    <a:pt x="2152660" y="2732619"/>
                    <a:pt x="2149337" y="2728067"/>
                    <a:pt x="2145793" y="2723382"/>
                  </a:cubicBezTo>
                  <a:cubicBezTo>
                    <a:pt x="2143578" y="2722044"/>
                    <a:pt x="2141584" y="2720705"/>
                    <a:pt x="2139369" y="2719366"/>
                  </a:cubicBezTo>
                  <a:lnTo>
                    <a:pt x="2109908" y="2707319"/>
                  </a:lnTo>
                  <a:lnTo>
                    <a:pt x="2082662" y="2689247"/>
                  </a:lnTo>
                  <a:lnTo>
                    <a:pt x="2055194" y="2677333"/>
                  </a:lnTo>
                  <a:lnTo>
                    <a:pt x="2025733" y="2663278"/>
                  </a:lnTo>
                  <a:lnTo>
                    <a:pt x="2008898" y="2659262"/>
                  </a:lnTo>
                  <a:cubicBezTo>
                    <a:pt x="2007569" y="2658592"/>
                    <a:pt x="2006018" y="2657923"/>
                    <a:pt x="2004689" y="2657254"/>
                  </a:cubicBezTo>
                  <a:cubicBezTo>
                    <a:pt x="2004025" y="2654577"/>
                    <a:pt x="2003360" y="2652033"/>
                    <a:pt x="2002696" y="2649356"/>
                  </a:cubicBezTo>
                  <a:cubicBezTo>
                    <a:pt x="2001367" y="2643867"/>
                    <a:pt x="1999816" y="2638513"/>
                    <a:pt x="1998487" y="2633158"/>
                  </a:cubicBezTo>
                  <a:cubicBezTo>
                    <a:pt x="1997158" y="2628473"/>
                    <a:pt x="1995607" y="2623922"/>
                    <a:pt x="1994278" y="2619237"/>
                  </a:cubicBezTo>
                  <a:cubicBezTo>
                    <a:pt x="1992063" y="2613213"/>
                    <a:pt x="1990069" y="2607189"/>
                    <a:pt x="1987854" y="2601031"/>
                  </a:cubicBezTo>
                  <a:cubicBezTo>
                    <a:pt x="1987190" y="2599693"/>
                    <a:pt x="1986525" y="2598488"/>
                    <a:pt x="1985861" y="2597149"/>
                  </a:cubicBezTo>
                  <a:cubicBezTo>
                    <a:pt x="1985196" y="2595811"/>
                    <a:pt x="1984310" y="2594472"/>
                    <a:pt x="1983645" y="2593133"/>
                  </a:cubicBezTo>
                  <a:lnTo>
                    <a:pt x="1981652" y="2589117"/>
                  </a:lnTo>
                  <a:lnTo>
                    <a:pt x="1981652" y="2581086"/>
                  </a:lnTo>
                  <a:lnTo>
                    <a:pt x="1983645" y="2579078"/>
                  </a:lnTo>
                  <a:lnTo>
                    <a:pt x="1985861" y="2579078"/>
                  </a:lnTo>
                  <a:cubicBezTo>
                    <a:pt x="1987854" y="2578408"/>
                    <a:pt x="1990069" y="2577739"/>
                    <a:pt x="1992063" y="2577070"/>
                  </a:cubicBezTo>
                  <a:lnTo>
                    <a:pt x="1992063" y="2573054"/>
                  </a:lnTo>
                  <a:lnTo>
                    <a:pt x="1992063" y="2563148"/>
                  </a:lnTo>
                  <a:cubicBezTo>
                    <a:pt x="1989183" y="2558463"/>
                    <a:pt x="1986525" y="2553644"/>
                    <a:pt x="1983645" y="2548959"/>
                  </a:cubicBezTo>
                  <a:cubicBezTo>
                    <a:pt x="1979437" y="2542265"/>
                    <a:pt x="1975228" y="2535706"/>
                    <a:pt x="1971019" y="2529013"/>
                  </a:cubicBezTo>
                  <a:cubicBezTo>
                    <a:pt x="1967475" y="2526336"/>
                    <a:pt x="1964152" y="2523658"/>
                    <a:pt x="1960608" y="2520981"/>
                  </a:cubicBezTo>
                  <a:lnTo>
                    <a:pt x="1952191" y="2518973"/>
                  </a:lnTo>
                  <a:cubicBezTo>
                    <a:pt x="1948646" y="2518304"/>
                    <a:pt x="1945102" y="2517768"/>
                    <a:pt x="1941558" y="2517099"/>
                  </a:cubicBezTo>
                  <a:cubicBezTo>
                    <a:pt x="1937349" y="2515091"/>
                    <a:pt x="1933140" y="2512949"/>
                    <a:pt x="1928932" y="2510941"/>
                  </a:cubicBezTo>
                  <a:cubicBezTo>
                    <a:pt x="1926052" y="2508933"/>
                    <a:pt x="1923394" y="2506926"/>
                    <a:pt x="1920514" y="2504918"/>
                  </a:cubicBezTo>
                  <a:lnTo>
                    <a:pt x="1918521" y="2500902"/>
                  </a:lnTo>
                  <a:lnTo>
                    <a:pt x="1918521" y="2498894"/>
                  </a:lnTo>
                  <a:lnTo>
                    <a:pt x="1920514" y="2494878"/>
                  </a:lnTo>
                  <a:lnTo>
                    <a:pt x="1920514" y="2484972"/>
                  </a:lnTo>
                  <a:cubicBezTo>
                    <a:pt x="1916970" y="2476940"/>
                    <a:pt x="1913647" y="2469042"/>
                    <a:pt x="1910103" y="2460877"/>
                  </a:cubicBezTo>
                  <a:lnTo>
                    <a:pt x="1910103" y="2454853"/>
                  </a:lnTo>
                  <a:lnTo>
                    <a:pt x="1910103" y="2440797"/>
                  </a:lnTo>
                  <a:cubicBezTo>
                    <a:pt x="1911432" y="2437451"/>
                    <a:pt x="1912983" y="2434238"/>
                    <a:pt x="1914312" y="2430891"/>
                  </a:cubicBezTo>
                  <a:cubicBezTo>
                    <a:pt x="1916305" y="2428883"/>
                    <a:pt x="1918521" y="2426875"/>
                    <a:pt x="1920514" y="2424867"/>
                  </a:cubicBezTo>
                  <a:cubicBezTo>
                    <a:pt x="1921179" y="2422726"/>
                    <a:pt x="1922065" y="2420718"/>
                    <a:pt x="1922729" y="2418710"/>
                  </a:cubicBezTo>
                  <a:lnTo>
                    <a:pt x="1922729" y="2416702"/>
                  </a:lnTo>
                  <a:cubicBezTo>
                    <a:pt x="1922065" y="2414694"/>
                    <a:pt x="1921179" y="2412686"/>
                    <a:pt x="1920514" y="2410678"/>
                  </a:cubicBezTo>
                  <a:cubicBezTo>
                    <a:pt x="1918521" y="2408670"/>
                    <a:pt x="1916305" y="2406796"/>
                    <a:pt x="1914312" y="2404788"/>
                  </a:cubicBezTo>
                  <a:lnTo>
                    <a:pt x="1914497" y="2404741"/>
                  </a:lnTo>
                  <a:lnTo>
                    <a:pt x="1914350" y="2404763"/>
                  </a:lnTo>
                  <a:lnTo>
                    <a:pt x="1901665" y="2394703"/>
                  </a:lnTo>
                  <a:lnTo>
                    <a:pt x="1891137" y="2390780"/>
                  </a:lnTo>
                  <a:lnTo>
                    <a:pt x="1880608" y="2390780"/>
                  </a:lnTo>
                  <a:lnTo>
                    <a:pt x="1865894" y="2388768"/>
                  </a:lnTo>
                  <a:lnTo>
                    <a:pt x="1859678" y="2384744"/>
                  </a:lnTo>
                  <a:lnTo>
                    <a:pt x="1853335" y="2376696"/>
                  </a:lnTo>
                  <a:lnTo>
                    <a:pt x="1838621" y="2364725"/>
                  </a:lnTo>
                  <a:cubicBezTo>
                    <a:pt x="1835069" y="2361405"/>
                    <a:pt x="1831644" y="2357984"/>
                    <a:pt x="1828092" y="2354665"/>
                  </a:cubicBezTo>
                  <a:lnTo>
                    <a:pt x="1817564" y="2346617"/>
                  </a:lnTo>
                  <a:lnTo>
                    <a:pt x="1794351" y="2332633"/>
                  </a:lnTo>
                  <a:lnTo>
                    <a:pt x="1769107" y="2322573"/>
                  </a:lnTo>
                  <a:lnTo>
                    <a:pt x="1743864" y="2306578"/>
                  </a:lnTo>
                  <a:cubicBezTo>
                    <a:pt x="1741835" y="2302554"/>
                    <a:pt x="1739678" y="2298530"/>
                    <a:pt x="1737649" y="2294506"/>
                  </a:cubicBezTo>
                  <a:cubicBezTo>
                    <a:pt x="1735492" y="2290482"/>
                    <a:pt x="1733463" y="2286558"/>
                    <a:pt x="1731306" y="2282534"/>
                  </a:cubicBezTo>
                  <a:cubicBezTo>
                    <a:pt x="1727755" y="2273179"/>
                    <a:pt x="1724330" y="2263823"/>
                    <a:pt x="1720778" y="2254467"/>
                  </a:cubicBezTo>
                  <a:cubicBezTo>
                    <a:pt x="1716592" y="2245111"/>
                    <a:pt x="1712279" y="2235756"/>
                    <a:pt x="1708093" y="2226400"/>
                  </a:cubicBezTo>
                  <a:cubicBezTo>
                    <a:pt x="1705302" y="2222376"/>
                    <a:pt x="1702512" y="2218453"/>
                    <a:pt x="1699721" y="2214429"/>
                  </a:cubicBezTo>
                  <a:lnTo>
                    <a:pt x="1691349" y="2202357"/>
                  </a:lnTo>
                  <a:lnTo>
                    <a:pt x="1678664" y="2188373"/>
                  </a:lnTo>
                  <a:lnTo>
                    <a:pt x="1659763" y="2182337"/>
                  </a:lnTo>
                  <a:lnTo>
                    <a:pt x="1642892" y="2178313"/>
                  </a:lnTo>
                  <a:lnTo>
                    <a:pt x="1623992" y="2182337"/>
                  </a:lnTo>
                  <a:lnTo>
                    <a:pt x="1617649" y="2184349"/>
                  </a:lnTo>
                  <a:lnTo>
                    <a:pt x="1611434" y="2188373"/>
                  </a:lnTo>
                  <a:lnTo>
                    <a:pt x="1605091" y="2194309"/>
                  </a:lnTo>
                  <a:cubicBezTo>
                    <a:pt x="1602301" y="2195013"/>
                    <a:pt x="1599510" y="2195616"/>
                    <a:pt x="1596719" y="2196321"/>
                  </a:cubicBezTo>
                  <a:cubicBezTo>
                    <a:pt x="1595324" y="2195616"/>
                    <a:pt x="1593802" y="2195013"/>
                    <a:pt x="1592406" y="2194309"/>
                  </a:cubicBezTo>
                  <a:cubicBezTo>
                    <a:pt x="1589616" y="2192297"/>
                    <a:pt x="1586825" y="2190385"/>
                    <a:pt x="1584034" y="2188373"/>
                  </a:cubicBezTo>
                  <a:lnTo>
                    <a:pt x="1571476" y="2184349"/>
                  </a:lnTo>
                  <a:lnTo>
                    <a:pt x="1571353" y="2182289"/>
                  </a:lnTo>
                  <a:lnTo>
                    <a:pt x="1567208" y="2180314"/>
                  </a:lnTo>
                  <a:lnTo>
                    <a:pt x="1558794" y="2180314"/>
                  </a:lnTo>
                  <a:lnTo>
                    <a:pt x="1550379" y="2172298"/>
                  </a:lnTo>
                  <a:lnTo>
                    <a:pt x="1546172" y="2162279"/>
                  </a:lnTo>
                  <a:lnTo>
                    <a:pt x="1541965" y="2150255"/>
                  </a:lnTo>
                  <a:cubicBezTo>
                    <a:pt x="1541962" y="2150249"/>
                    <a:pt x="1541960" y="2150243"/>
                    <a:pt x="1541957" y="2150237"/>
                  </a:cubicBezTo>
                  <a:lnTo>
                    <a:pt x="1405199" y="2272510"/>
                  </a:lnTo>
                  <a:lnTo>
                    <a:pt x="1384200" y="2292557"/>
                  </a:lnTo>
                  <a:lnTo>
                    <a:pt x="1369462" y="2306550"/>
                  </a:lnTo>
                  <a:cubicBezTo>
                    <a:pt x="1367324" y="2309234"/>
                    <a:pt x="1365262" y="2311918"/>
                    <a:pt x="1363124" y="2314603"/>
                  </a:cubicBezTo>
                  <a:cubicBezTo>
                    <a:pt x="1361749" y="2317915"/>
                    <a:pt x="1360298" y="2321285"/>
                    <a:pt x="1358924" y="2324597"/>
                  </a:cubicBezTo>
                  <a:cubicBezTo>
                    <a:pt x="1358237" y="2327967"/>
                    <a:pt x="1357549" y="2331280"/>
                    <a:pt x="1356862" y="2334649"/>
                  </a:cubicBezTo>
                  <a:cubicBezTo>
                    <a:pt x="1355488" y="2339333"/>
                    <a:pt x="1354037" y="2343959"/>
                    <a:pt x="1352662" y="2348642"/>
                  </a:cubicBezTo>
                  <a:lnTo>
                    <a:pt x="1352662" y="2368689"/>
                  </a:lnTo>
                  <a:cubicBezTo>
                    <a:pt x="1351975" y="2370003"/>
                    <a:pt x="1351211" y="2371373"/>
                    <a:pt x="1350524" y="2372687"/>
                  </a:cubicBezTo>
                  <a:cubicBezTo>
                    <a:pt x="1349837" y="2373372"/>
                    <a:pt x="1349150" y="2374001"/>
                    <a:pt x="1348462" y="2374686"/>
                  </a:cubicBezTo>
                  <a:lnTo>
                    <a:pt x="1337924" y="2374686"/>
                  </a:lnTo>
                  <a:lnTo>
                    <a:pt x="1329524" y="2376685"/>
                  </a:lnTo>
                  <a:cubicBezTo>
                    <a:pt x="1328837" y="2377370"/>
                    <a:pt x="1328074" y="2377999"/>
                    <a:pt x="1327386" y="2378684"/>
                  </a:cubicBezTo>
                  <a:cubicBezTo>
                    <a:pt x="1326699" y="2380683"/>
                    <a:pt x="1326012" y="2382739"/>
                    <a:pt x="1325325" y="2384738"/>
                  </a:cubicBezTo>
                  <a:lnTo>
                    <a:pt x="1325325" y="2386737"/>
                  </a:lnTo>
                  <a:lnTo>
                    <a:pt x="1325325" y="2392734"/>
                  </a:lnTo>
                  <a:lnTo>
                    <a:pt x="1321048" y="2394733"/>
                  </a:lnTo>
                  <a:cubicBezTo>
                    <a:pt x="1320361" y="2396046"/>
                    <a:pt x="1319674" y="2397417"/>
                    <a:pt x="1318987" y="2398731"/>
                  </a:cubicBezTo>
                  <a:lnTo>
                    <a:pt x="1310587" y="2398731"/>
                  </a:lnTo>
                  <a:cubicBezTo>
                    <a:pt x="1309212" y="2400101"/>
                    <a:pt x="1307761" y="2401415"/>
                    <a:pt x="1306387" y="2402786"/>
                  </a:cubicBezTo>
                  <a:cubicBezTo>
                    <a:pt x="1305700" y="2403471"/>
                    <a:pt x="1304936" y="2404099"/>
                    <a:pt x="1304249" y="2404785"/>
                  </a:cubicBezTo>
                  <a:cubicBezTo>
                    <a:pt x="1302874" y="2408097"/>
                    <a:pt x="1301423" y="2411467"/>
                    <a:pt x="1300049" y="2414779"/>
                  </a:cubicBezTo>
                  <a:lnTo>
                    <a:pt x="1300049" y="2434826"/>
                  </a:lnTo>
                  <a:cubicBezTo>
                    <a:pt x="1299361" y="2435511"/>
                    <a:pt x="1298598" y="2436140"/>
                    <a:pt x="1297911" y="2436825"/>
                  </a:cubicBezTo>
                  <a:lnTo>
                    <a:pt x="1293711" y="2436825"/>
                  </a:lnTo>
                  <a:lnTo>
                    <a:pt x="1276911" y="2438824"/>
                  </a:lnTo>
                  <a:lnTo>
                    <a:pt x="1245373" y="2436825"/>
                  </a:lnTo>
                  <a:lnTo>
                    <a:pt x="1243235" y="2436825"/>
                  </a:lnTo>
                  <a:cubicBezTo>
                    <a:pt x="1241861" y="2437510"/>
                    <a:pt x="1240410" y="2438139"/>
                    <a:pt x="1239035" y="2438824"/>
                  </a:cubicBezTo>
                  <a:lnTo>
                    <a:pt x="1228497" y="2442822"/>
                  </a:lnTo>
                  <a:lnTo>
                    <a:pt x="1211698" y="2452874"/>
                  </a:lnTo>
                  <a:lnTo>
                    <a:pt x="1182222" y="2478917"/>
                  </a:lnTo>
                  <a:lnTo>
                    <a:pt x="1106547" y="2553050"/>
                  </a:lnTo>
                  <a:lnTo>
                    <a:pt x="1028658" y="2619187"/>
                  </a:lnTo>
                  <a:lnTo>
                    <a:pt x="1018120" y="2611191"/>
                  </a:lnTo>
                  <a:cubicBezTo>
                    <a:pt x="1015295" y="2609192"/>
                    <a:pt x="1012545" y="2607136"/>
                    <a:pt x="1009720" y="2605137"/>
                  </a:cubicBezTo>
                  <a:lnTo>
                    <a:pt x="1001320" y="2597142"/>
                  </a:lnTo>
                  <a:lnTo>
                    <a:pt x="990782" y="2591145"/>
                  </a:lnTo>
                  <a:lnTo>
                    <a:pt x="978183" y="2589146"/>
                  </a:lnTo>
                  <a:lnTo>
                    <a:pt x="965583" y="2587147"/>
                  </a:lnTo>
                  <a:lnTo>
                    <a:pt x="955045" y="2587147"/>
                  </a:lnTo>
                  <a:lnTo>
                    <a:pt x="944507" y="2581093"/>
                  </a:lnTo>
                  <a:lnTo>
                    <a:pt x="936107" y="2575096"/>
                  </a:lnTo>
                  <a:cubicBezTo>
                    <a:pt x="933282" y="2571783"/>
                    <a:pt x="930533" y="2568414"/>
                    <a:pt x="927707" y="2565101"/>
                  </a:cubicBezTo>
                  <a:cubicBezTo>
                    <a:pt x="924882" y="2557734"/>
                    <a:pt x="922133" y="2550423"/>
                    <a:pt x="919307" y="2543055"/>
                  </a:cubicBezTo>
                  <a:cubicBezTo>
                    <a:pt x="917169" y="2534374"/>
                    <a:pt x="915107" y="2525693"/>
                    <a:pt x="912969" y="2517012"/>
                  </a:cubicBezTo>
                  <a:lnTo>
                    <a:pt x="904569" y="2506960"/>
                  </a:lnTo>
                  <a:cubicBezTo>
                    <a:pt x="903195" y="2503647"/>
                    <a:pt x="901744" y="2500278"/>
                    <a:pt x="900370" y="2496965"/>
                  </a:cubicBezTo>
                  <a:lnTo>
                    <a:pt x="889832" y="2484914"/>
                  </a:lnTo>
                  <a:cubicBezTo>
                    <a:pt x="887006" y="2480916"/>
                    <a:pt x="884257" y="2476918"/>
                    <a:pt x="881432" y="2472921"/>
                  </a:cubicBezTo>
                  <a:cubicBezTo>
                    <a:pt x="878606" y="2463554"/>
                    <a:pt x="875857" y="2454187"/>
                    <a:pt x="873032" y="2444821"/>
                  </a:cubicBezTo>
                  <a:lnTo>
                    <a:pt x="864556" y="2416778"/>
                  </a:lnTo>
                  <a:cubicBezTo>
                    <a:pt x="863181" y="2412780"/>
                    <a:pt x="861730" y="2408783"/>
                    <a:pt x="860356" y="2404785"/>
                  </a:cubicBezTo>
                  <a:lnTo>
                    <a:pt x="851956" y="2394733"/>
                  </a:lnTo>
                  <a:lnTo>
                    <a:pt x="833018" y="2362692"/>
                  </a:lnTo>
                  <a:cubicBezTo>
                    <a:pt x="827444" y="2352640"/>
                    <a:pt x="821793" y="2342646"/>
                    <a:pt x="816219" y="2332593"/>
                  </a:cubicBezTo>
                  <a:lnTo>
                    <a:pt x="778343" y="2266513"/>
                  </a:lnTo>
                  <a:lnTo>
                    <a:pt x="778343" y="2256461"/>
                  </a:lnTo>
                  <a:lnTo>
                    <a:pt x="769931" y="2246445"/>
                  </a:lnTo>
                  <a:lnTo>
                    <a:pt x="763620" y="2236425"/>
                  </a:lnTo>
                  <a:lnTo>
                    <a:pt x="742584" y="2216386"/>
                  </a:lnTo>
                  <a:lnTo>
                    <a:pt x="717340" y="2202358"/>
                  </a:lnTo>
                  <a:lnTo>
                    <a:pt x="696304" y="2186326"/>
                  </a:lnTo>
                  <a:lnTo>
                    <a:pt x="601153" y="2103565"/>
                  </a:lnTo>
                  <a:lnTo>
                    <a:pt x="599509" y="2106168"/>
                  </a:lnTo>
                  <a:lnTo>
                    <a:pt x="403907" y="1903747"/>
                  </a:lnTo>
                  <a:lnTo>
                    <a:pt x="395498" y="1891766"/>
                  </a:lnTo>
                  <a:cubicBezTo>
                    <a:pt x="393378" y="1887772"/>
                    <a:pt x="391327" y="1883724"/>
                    <a:pt x="389208" y="1879730"/>
                  </a:cubicBezTo>
                  <a:cubicBezTo>
                    <a:pt x="384969" y="1869719"/>
                    <a:pt x="380799" y="1859652"/>
                    <a:pt x="376560" y="1849641"/>
                  </a:cubicBezTo>
                  <a:lnTo>
                    <a:pt x="357622" y="1789516"/>
                  </a:lnTo>
                  <a:lnTo>
                    <a:pt x="358481" y="1785698"/>
                  </a:lnTo>
                  <a:lnTo>
                    <a:pt x="357619" y="1785534"/>
                  </a:lnTo>
                  <a:lnTo>
                    <a:pt x="344997" y="1751466"/>
                  </a:lnTo>
                  <a:lnTo>
                    <a:pt x="340790" y="1737439"/>
                  </a:lnTo>
                  <a:lnTo>
                    <a:pt x="334479" y="1721407"/>
                  </a:lnTo>
                  <a:cubicBezTo>
                    <a:pt x="335180" y="1694019"/>
                    <a:pt x="335882" y="1666632"/>
                    <a:pt x="336583" y="1639244"/>
                  </a:cubicBezTo>
                  <a:lnTo>
                    <a:pt x="336583" y="1597161"/>
                  </a:lnTo>
                  <a:lnTo>
                    <a:pt x="334479" y="1557082"/>
                  </a:lnTo>
                  <a:lnTo>
                    <a:pt x="342893" y="1553074"/>
                  </a:lnTo>
                  <a:lnTo>
                    <a:pt x="347101" y="1549066"/>
                  </a:lnTo>
                  <a:lnTo>
                    <a:pt x="363930" y="1547062"/>
                  </a:lnTo>
                  <a:lnTo>
                    <a:pt x="378655" y="1547062"/>
                  </a:lnTo>
                  <a:lnTo>
                    <a:pt x="395484" y="1547062"/>
                  </a:lnTo>
                  <a:lnTo>
                    <a:pt x="424935" y="1543054"/>
                  </a:lnTo>
                  <a:lnTo>
                    <a:pt x="439661" y="1535038"/>
                  </a:lnTo>
                  <a:lnTo>
                    <a:pt x="456490" y="1527022"/>
                  </a:lnTo>
                  <a:lnTo>
                    <a:pt x="469112" y="1523015"/>
                  </a:lnTo>
                  <a:lnTo>
                    <a:pt x="479630" y="1519007"/>
                  </a:lnTo>
                  <a:lnTo>
                    <a:pt x="490148" y="1517003"/>
                  </a:lnTo>
                  <a:lnTo>
                    <a:pt x="502770" y="1517003"/>
                  </a:lnTo>
                  <a:lnTo>
                    <a:pt x="525910" y="1523015"/>
                  </a:lnTo>
                  <a:lnTo>
                    <a:pt x="551154" y="1533034"/>
                  </a:lnTo>
                  <a:lnTo>
                    <a:pt x="576397" y="1543054"/>
                  </a:lnTo>
                  <a:lnTo>
                    <a:pt x="601641" y="1549066"/>
                  </a:lnTo>
                  <a:lnTo>
                    <a:pt x="628988" y="1557082"/>
                  </a:lnTo>
                  <a:lnTo>
                    <a:pt x="639506" y="1557082"/>
                  </a:lnTo>
                  <a:lnTo>
                    <a:pt x="652128" y="1557082"/>
                  </a:lnTo>
                  <a:lnTo>
                    <a:pt x="681579" y="1553074"/>
                  </a:lnTo>
                  <a:lnTo>
                    <a:pt x="713134" y="1549066"/>
                  </a:lnTo>
                  <a:lnTo>
                    <a:pt x="738377" y="1545058"/>
                  </a:lnTo>
                  <a:lnTo>
                    <a:pt x="755207" y="1543054"/>
                  </a:lnTo>
                  <a:lnTo>
                    <a:pt x="765725" y="1537042"/>
                  </a:lnTo>
                  <a:lnTo>
                    <a:pt x="776243" y="1533034"/>
                  </a:lnTo>
                  <a:lnTo>
                    <a:pt x="786761" y="1529026"/>
                  </a:lnTo>
                  <a:lnTo>
                    <a:pt x="809901" y="1529026"/>
                  </a:lnTo>
                  <a:lnTo>
                    <a:pt x="833041" y="1527022"/>
                  </a:lnTo>
                  <a:lnTo>
                    <a:pt x="847767" y="1523015"/>
                  </a:lnTo>
                  <a:lnTo>
                    <a:pt x="858285" y="1517003"/>
                  </a:lnTo>
                  <a:lnTo>
                    <a:pt x="894047" y="1486943"/>
                  </a:lnTo>
                  <a:lnTo>
                    <a:pt x="912979" y="1472915"/>
                  </a:lnTo>
                  <a:lnTo>
                    <a:pt x="934016" y="1456884"/>
                  </a:lnTo>
                  <a:lnTo>
                    <a:pt x="944534" y="1450872"/>
                  </a:lnTo>
                  <a:lnTo>
                    <a:pt x="950845" y="1440852"/>
                  </a:lnTo>
                  <a:lnTo>
                    <a:pt x="965570" y="1424820"/>
                  </a:lnTo>
                  <a:lnTo>
                    <a:pt x="969778" y="1416804"/>
                  </a:lnTo>
                  <a:lnTo>
                    <a:pt x="978192" y="1410793"/>
                  </a:lnTo>
                  <a:lnTo>
                    <a:pt x="990814" y="1404781"/>
                  </a:lnTo>
                  <a:lnTo>
                    <a:pt x="1003436" y="1402777"/>
                  </a:lnTo>
                  <a:lnTo>
                    <a:pt x="1003436" y="1408422"/>
                  </a:lnTo>
                  <a:lnTo>
                    <a:pt x="1006960" y="1402786"/>
                  </a:lnTo>
                  <a:lnTo>
                    <a:pt x="1038509" y="1376744"/>
                  </a:lnTo>
                  <a:lnTo>
                    <a:pt x="1070058" y="1352679"/>
                  </a:lnTo>
                  <a:lnTo>
                    <a:pt x="1099509" y="1326636"/>
                  </a:lnTo>
                  <a:lnTo>
                    <a:pt x="1112136" y="1312603"/>
                  </a:lnTo>
                  <a:lnTo>
                    <a:pt x="1122665" y="1296544"/>
                  </a:lnTo>
                  <a:lnTo>
                    <a:pt x="1128960" y="1290563"/>
                  </a:lnTo>
                  <a:lnTo>
                    <a:pt x="1137390" y="1280532"/>
                  </a:lnTo>
                  <a:lnTo>
                    <a:pt x="1141587" y="1270501"/>
                  </a:lnTo>
                  <a:cubicBezTo>
                    <a:pt x="1142286" y="1268523"/>
                    <a:pt x="1142986" y="1266498"/>
                    <a:pt x="1143685" y="1264520"/>
                  </a:cubicBezTo>
                  <a:lnTo>
                    <a:pt x="1143685" y="1260517"/>
                  </a:lnTo>
                  <a:lnTo>
                    <a:pt x="1141587" y="1260517"/>
                  </a:lnTo>
                  <a:lnTo>
                    <a:pt x="1139489" y="1250486"/>
                  </a:lnTo>
                  <a:lnTo>
                    <a:pt x="1133193" y="1240456"/>
                  </a:lnTo>
                  <a:lnTo>
                    <a:pt x="1131095" y="1230425"/>
                  </a:lnTo>
                  <a:lnTo>
                    <a:pt x="1131095" y="1224444"/>
                  </a:lnTo>
                  <a:cubicBezTo>
                    <a:pt x="1131794" y="1223784"/>
                    <a:pt x="1132494" y="1223078"/>
                    <a:pt x="1133193" y="1222419"/>
                  </a:cubicBezTo>
                  <a:close/>
                  <a:moveTo>
                    <a:pt x="69420" y="281414"/>
                  </a:moveTo>
                  <a:lnTo>
                    <a:pt x="69420" y="282559"/>
                  </a:lnTo>
                  <a:lnTo>
                    <a:pt x="65213" y="282559"/>
                  </a:lnTo>
                  <a:lnTo>
                    <a:pt x="69420" y="281414"/>
                  </a:lnTo>
                  <a:close/>
                  <a:moveTo>
                    <a:pt x="0" y="0"/>
                  </a:moveTo>
                  <a:lnTo>
                    <a:pt x="63109" y="0"/>
                  </a:lnTo>
                  <a:lnTo>
                    <a:pt x="94664" y="0"/>
                  </a:lnTo>
                  <a:lnTo>
                    <a:pt x="124115" y="0"/>
                  </a:lnTo>
                  <a:lnTo>
                    <a:pt x="309235" y="0"/>
                  </a:lnTo>
                  <a:lnTo>
                    <a:pt x="313442" y="20040"/>
                  </a:lnTo>
                  <a:lnTo>
                    <a:pt x="313442" y="66131"/>
                  </a:lnTo>
                  <a:cubicBezTo>
                    <a:pt x="314143" y="94186"/>
                    <a:pt x="314845" y="122242"/>
                    <a:pt x="315546" y="150297"/>
                  </a:cubicBezTo>
                  <a:lnTo>
                    <a:pt x="323960" y="150297"/>
                  </a:lnTo>
                  <a:lnTo>
                    <a:pt x="323960" y="156309"/>
                  </a:lnTo>
                  <a:lnTo>
                    <a:pt x="323960" y="164325"/>
                  </a:lnTo>
                  <a:lnTo>
                    <a:pt x="326064" y="166329"/>
                  </a:lnTo>
                  <a:lnTo>
                    <a:pt x="330271" y="170337"/>
                  </a:lnTo>
                  <a:lnTo>
                    <a:pt x="340789" y="170337"/>
                  </a:lnTo>
                  <a:lnTo>
                    <a:pt x="355515" y="170337"/>
                  </a:lnTo>
                  <a:lnTo>
                    <a:pt x="355515" y="182361"/>
                  </a:lnTo>
                  <a:lnTo>
                    <a:pt x="370240" y="182361"/>
                  </a:lnTo>
                  <a:lnTo>
                    <a:pt x="387069" y="184365"/>
                  </a:lnTo>
                  <a:lnTo>
                    <a:pt x="399691" y="190377"/>
                  </a:lnTo>
                  <a:lnTo>
                    <a:pt x="401795" y="192381"/>
                  </a:lnTo>
                  <a:lnTo>
                    <a:pt x="403898" y="196388"/>
                  </a:lnTo>
                  <a:lnTo>
                    <a:pt x="408106" y="202400"/>
                  </a:lnTo>
                  <a:lnTo>
                    <a:pt x="410209" y="204404"/>
                  </a:lnTo>
                  <a:lnTo>
                    <a:pt x="422831" y="204404"/>
                  </a:lnTo>
                  <a:lnTo>
                    <a:pt x="445971" y="196388"/>
                  </a:lnTo>
                  <a:lnTo>
                    <a:pt x="443868" y="166329"/>
                  </a:lnTo>
                  <a:lnTo>
                    <a:pt x="456489" y="166329"/>
                  </a:lnTo>
                  <a:lnTo>
                    <a:pt x="456489" y="152301"/>
                  </a:lnTo>
                  <a:lnTo>
                    <a:pt x="471215" y="154305"/>
                  </a:lnTo>
                  <a:lnTo>
                    <a:pt x="471215" y="140277"/>
                  </a:lnTo>
                  <a:lnTo>
                    <a:pt x="477526" y="140277"/>
                  </a:lnTo>
                  <a:lnTo>
                    <a:pt x="485940" y="136269"/>
                  </a:lnTo>
                  <a:lnTo>
                    <a:pt x="494355" y="126250"/>
                  </a:lnTo>
                  <a:lnTo>
                    <a:pt x="502769" y="120238"/>
                  </a:lnTo>
                  <a:lnTo>
                    <a:pt x="506977" y="120238"/>
                  </a:lnTo>
                  <a:lnTo>
                    <a:pt x="513288" y="120238"/>
                  </a:lnTo>
                  <a:lnTo>
                    <a:pt x="515391" y="114226"/>
                  </a:lnTo>
                  <a:lnTo>
                    <a:pt x="517495" y="106210"/>
                  </a:lnTo>
                  <a:lnTo>
                    <a:pt x="544842" y="106210"/>
                  </a:lnTo>
                  <a:lnTo>
                    <a:pt x="540635" y="114226"/>
                  </a:lnTo>
                  <a:lnTo>
                    <a:pt x="570086" y="112222"/>
                  </a:lnTo>
                  <a:lnTo>
                    <a:pt x="586915" y="114226"/>
                  </a:lnTo>
                  <a:lnTo>
                    <a:pt x="591122" y="114226"/>
                  </a:lnTo>
                  <a:lnTo>
                    <a:pt x="593226" y="116230"/>
                  </a:lnTo>
                  <a:lnTo>
                    <a:pt x="595329" y="122242"/>
                  </a:lnTo>
                  <a:lnTo>
                    <a:pt x="603744" y="124246"/>
                  </a:lnTo>
                  <a:lnTo>
                    <a:pt x="612159" y="126250"/>
                  </a:lnTo>
                  <a:lnTo>
                    <a:pt x="620573" y="126250"/>
                  </a:lnTo>
                  <a:lnTo>
                    <a:pt x="622677" y="132262"/>
                  </a:lnTo>
                  <a:lnTo>
                    <a:pt x="626884" y="134266"/>
                  </a:lnTo>
                  <a:lnTo>
                    <a:pt x="637402" y="136269"/>
                  </a:lnTo>
                  <a:lnTo>
                    <a:pt x="643713" y="136269"/>
                  </a:lnTo>
                  <a:lnTo>
                    <a:pt x="647920" y="140277"/>
                  </a:lnTo>
                  <a:lnTo>
                    <a:pt x="652128" y="142281"/>
                  </a:lnTo>
                  <a:lnTo>
                    <a:pt x="652128" y="152301"/>
                  </a:lnTo>
                  <a:lnTo>
                    <a:pt x="666853" y="154305"/>
                  </a:lnTo>
                  <a:lnTo>
                    <a:pt x="687890" y="160317"/>
                  </a:lnTo>
                  <a:lnTo>
                    <a:pt x="696304" y="164325"/>
                  </a:lnTo>
                  <a:lnTo>
                    <a:pt x="700511" y="170337"/>
                  </a:lnTo>
                  <a:lnTo>
                    <a:pt x="706822" y="176349"/>
                  </a:lnTo>
                  <a:lnTo>
                    <a:pt x="708926" y="184365"/>
                  </a:lnTo>
                  <a:lnTo>
                    <a:pt x="719444" y="190377"/>
                  </a:lnTo>
                  <a:lnTo>
                    <a:pt x="729962" y="200396"/>
                  </a:lnTo>
                  <a:lnTo>
                    <a:pt x="740480" y="210416"/>
                  </a:lnTo>
                  <a:lnTo>
                    <a:pt x="742584" y="222440"/>
                  </a:lnTo>
                  <a:lnTo>
                    <a:pt x="750999" y="222440"/>
                  </a:lnTo>
                  <a:lnTo>
                    <a:pt x="761517" y="228452"/>
                  </a:lnTo>
                  <a:lnTo>
                    <a:pt x="772035" y="236468"/>
                  </a:lnTo>
                  <a:lnTo>
                    <a:pt x="782553" y="244484"/>
                  </a:lnTo>
                  <a:lnTo>
                    <a:pt x="788864" y="254503"/>
                  </a:lnTo>
                  <a:lnTo>
                    <a:pt x="795175" y="258511"/>
                  </a:lnTo>
                  <a:lnTo>
                    <a:pt x="803590" y="264523"/>
                  </a:lnTo>
                  <a:lnTo>
                    <a:pt x="803590" y="266527"/>
                  </a:lnTo>
                  <a:lnTo>
                    <a:pt x="824626" y="268531"/>
                  </a:lnTo>
                  <a:lnTo>
                    <a:pt x="851973" y="272539"/>
                  </a:lnTo>
                  <a:lnTo>
                    <a:pt x="864595" y="272539"/>
                  </a:lnTo>
                  <a:lnTo>
                    <a:pt x="875113" y="276547"/>
                  </a:lnTo>
                  <a:lnTo>
                    <a:pt x="879321" y="282559"/>
                  </a:lnTo>
                  <a:lnTo>
                    <a:pt x="883528" y="292579"/>
                  </a:lnTo>
                  <a:lnTo>
                    <a:pt x="885632" y="296587"/>
                  </a:lnTo>
                  <a:lnTo>
                    <a:pt x="887735" y="296587"/>
                  </a:lnTo>
                  <a:lnTo>
                    <a:pt x="889839" y="294583"/>
                  </a:lnTo>
                  <a:lnTo>
                    <a:pt x="896150" y="296587"/>
                  </a:lnTo>
                  <a:lnTo>
                    <a:pt x="896150" y="312618"/>
                  </a:lnTo>
                  <a:lnTo>
                    <a:pt x="906668" y="312618"/>
                  </a:lnTo>
                  <a:lnTo>
                    <a:pt x="910875" y="322638"/>
                  </a:lnTo>
                  <a:lnTo>
                    <a:pt x="915082" y="332658"/>
                  </a:lnTo>
                  <a:lnTo>
                    <a:pt x="917186" y="342678"/>
                  </a:lnTo>
                  <a:lnTo>
                    <a:pt x="917186" y="352698"/>
                  </a:lnTo>
                  <a:lnTo>
                    <a:pt x="923497" y="348690"/>
                  </a:lnTo>
                  <a:lnTo>
                    <a:pt x="923497" y="358710"/>
                  </a:lnTo>
                  <a:lnTo>
                    <a:pt x="934015" y="358710"/>
                  </a:lnTo>
                  <a:lnTo>
                    <a:pt x="934015" y="372737"/>
                  </a:lnTo>
                  <a:lnTo>
                    <a:pt x="940326" y="372737"/>
                  </a:lnTo>
                  <a:lnTo>
                    <a:pt x="940326" y="384761"/>
                  </a:lnTo>
                  <a:lnTo>
                    <a:pt x="944533" y="382757"/>
                  </a:lnTo>
                  <a:lnTo>
                    <a:pt x="944533" y="388769"/>
                  </a:lnTo>
                  <a:lnTo>
                    <a:pt x="952948" y="394781"/>
                  </a:lnTo>
                  <a:lnTo>
                    <a:pt x="961362" y="398789"/>
                  </a:lnTo>
                  <a:lnTo>
                    <a:pt x="965570" y="406805"/>
                  </a:lnTo>
                  <a:lnTo>
                    <a:pt x="973984" y="408809"/>
                  </a:lnTo>
                  <a:lnTo>
                    <a:pt x="976088" y="412817"/>
                  </a:lnTo>
                  <a:lnTo>
                    <a:pt x="982399" y="416825"/>
                  </a:lnTo>
                  <a:lnTo>
                    <a:pt x="982399" y="434860"/>
                  </a:lnTo>
                  <a:lnTo>
                    <a:pt x="980295" y="460912"/>
                  </a:lnTo>
                  <a:cubicBezTo>
                    <a:pt x="980996" y="476944"/>
                    <a:pt x="981698" y="492975"/>
                    <a:pt x="982399" y="509007"/>
                  </a:cubicBezTo>
                  <a:lnTo>
                    <a:pt x="982399" y="537062"/>
                  </a:lnTo>
                  <a:lnTo>
                    <a:pt x="980295" y="547082"/>
                  </a:lnTo>
                  <a:lnTo>
                    <a:pt x="976088" y="549086"/>
                  </a:lnTo>
                  <a:lnTo>
                    <a:pt x="973984" y="551090"/>
                  </a:lnTo>
                  <a:lnTo>
                    <a:pt x="971881" y="555098"/>
                  </a:lnTo>
                  <a:lnTo>
                    <a:pt x="963466" y="567122"/>
                  </a:lnTo>
                  <a:lnTo>
                    <a:pt x="959259" y="579146"/>
                  </a:lnTo>
                  <a:lnTo>
                    <a:pt x="955056" y="591157"/>
                  </a:lnTo>
                  <a:lnTo>
                    <a:pt x="999217" y="591157"/>
                  </a:lnTo>
                  <a:lnTo>
                    <a:pt x="1043434" y="591157"/>
                  </a:lnTo>
                  <a:lnTo>
                    <a:pt x="1043434" y="589151"/>
                  </a:lnTo>
                  <a:lnTo>
                    <a:pt x="1043434" y="587175"/>
                  </a:lnTo>
                  <a:cubicBezTo>
                    <a:pt x="1044093" y="586496"/>
                    <a:pt x="1044825" y="585848"/>
                    <a:pt x="1045484" y="585169"/>
                  </a:cubicBezTo>
                  <a:lnTo>
                    <a:pt x="1051853" y="581158"/>
                  </a:lnTo>
                  <a:lnTo>
                    <a:pt x="1056026" y="585169"/>
                  </a:lnTo>
                  <a:lnTo>
                    <a:pt x="1056026" y="617234"/>
                  </a:lnTo>
                  <a:lnTo>
                    <a:pt x="1056026" y="657292"/>
                  </a:lnTo>
                  <a:lnTo>
                    <a:pt x="1056026" y="729446"/>
                  </a:lnTo>
                  <a:lnTo>
                    <a:pt x="1056026" y="783545"/>
                  </a:lnTo>
                  <a:lnTo>
                    <a:pt x="1056026" y="807586"/>
                  </a:lnTo>
                  <a:lnTo>
                    <a:pt x="1053922" y="807586"/>
                  </a:lnTo>
                  <a:lnTo>
                    <a:pt x="1053922" y="815272"/>
                  </a:lnTo>
                  <a:lnTo>
                    <a:pt x="1053922" y="849173"/>
                  </a:lnTo>
                  <a:lnTo>
                    <a:pt x="1053922" y="877092"/>
                  </a:lnTo>
                  <a:lnTo>
                    <a:pt x="1053922" y="908999"/>
                  </a:lnTo>
                  <a:lnTo>
                    <a:pt x="673164" y="908999"/>
                  </a:lnTo>
                  <a:lnTo>
                    <a:pt x="631091" y="908999"/>
                  </a:lnTo>
                  <a:lnTo>
                    <a:pt x="610055" y="908999"/>
                  </a:lnTo>
                  <a:lnTo>
                    <a:pt x="591122" y="910993"/>
                  </a:lnTo>
                  <a:lnTo>
                    <a:pt x="574293" y="916976"/>
                  </a:lnTo>
                  <a:lnTo>
                    <a:pt x="557464" y="922959"/>
                  </a:lnTo>
                  <a:lnTo>
                    <a:pt x="540635" y="932930"/>
                  </a:lnTo>
                  <a:lnTo>
                    <a:pt x="523806" y="948883"/>
                  </a:lnTo>
                  <a:lnTo>
                    <a:pt x="500666" y="968825"/>
                  </a:lnTo>
                  <a:lnTo>
                    <a:pt x="473319" y="988767"/>
                  </a:lnTo>
                  <a:lnTo>
                    <a:pt x="420728" y="1020674"/>
                  </a:lnTo>
                  <a:lnTo>
                    <a:pt x="406002" y="1032640"/>
                  </a:lnTo>
                  <a:lnTo>
                    <a:pt x="393380" y="1046599"/>
                  </a:lnTo>
                  <a:lnTo>
                    <a:pt x="378655" y="1060558"/>
                  </a:lnTo>
                  <a:lnTo>
                    <a:pt x="368137" y="1074518"/>
                  </a:lnTo>
                  <a:lnTo>
                    <a:pt x="361826" y="1084489"/>
                  </a:lnTo>
                  <a:lnTo>
                    <a:pt x="357619" y="1092466"/>
                  </a:lnTo>
                  <a:lnTo>
                    <a:pt x="357619" y="1102437"/>
                  </a:lnTo>
                  <a:lnTo>
                    <a:pt x="351308" y="1112408"/>
                  </a:lnTo>
                  <a:lnTo>
                    <a:pt x="340790" y="1120384"/>
                  </a:lnTo>
                  <a:lnTo>
                    <a:pt x="332375" y="1130355"/>
                  </a:lnTo>
                  <a:lnTo>
                    <a:pt x="330271" y="1134344"/>
                  </a:lnTo>
                  <a:lnTo>
                    <a:pt x="330271" y="1142321"/>
                  </a:lnTo>
                  <a:lnTo>
                    <a:pt x="326064" y="1148303"/>
                  </a:lnTo>
                  <a:lnTo>
                    <a:pt x="326064" y="1150297"/>
                  </a:lnTo>
                  <a:lnTo>
                    <a:pt x="321857" y="1152292"/>
                  </a:lnTo>
                  <a:lnTo>
                    <a:pt x="315546" y="1154286"/>
                  </a:lnTo>
                  <a:lnTo>
                    <a:pt x="302924" y="1152292"/>
                  </a:lnTo>
                  <a:lnTo>
                    <a:pt x="290302" y="1150297"/>
                  </a:lnTo>
                  <a:lnTo>
                    <a:pt x="260852" y="1138332"/>
                  </a:lnTo>
                  <a:lnTo>
                    <a:pt x="250333" y="1134344"/>
                  </a:lnTo>
                  <a:lnTo>
                    <a:pt x="246126" y="1134344"/>
                  </a:lnTo>
                  <a:lnTo>
                    <a:pt x="233504" y="1140326"/>
                  </a:lnTo>
                  <a:lnTo>
                    <a:pt x="218779" y="1142321"/>
                  </a:lnTo>
                  <a:lnTo>
                    <a:pt x="208261" y="1144315"/>
                  </a:lnTo>
                  <a:lnTo>
                    <a:pt x="197742" y="1144315"/>
                  </a:lnTo>
                  <a:lnTo>
                    <a:pt x="174602" y="1140326"/>
                  </a:lnTo>
                  <a:lnTo>
                    <a:pt x="149359" y="1132350"/>
                  </a:lnTo>
                  <a:lnTo>
                    <a:pt x="151463" y="1088477"/>
                  </a:lnTo>
                  <a:lnTo>
                    <a:pt x="151463" y="1042611"/>
                  </a:lnTo>
                  <a:lnTo>
                    <a:pt x="151463" y="1008709"/>
                  </a:lnTo>
                  <a:lnTo>
                    <a:pt x="151463" y="988767"/>
                  </a:lnTo>
                  <a:lnTo>
                    <a:pt x="153566" y="982785"/>
                  </a:lnTo>
                  <a:lnTo>
                    <a:pt x="155670" y="978796"/>
                  </a:lnTo>
                  <a:lnTo>
                    <a:pt x="161981" y="968825"/>
                  </a:lnTo>
                  <a:lnTo>
                    <a:pt x="164084" y="956860"/>
                  </a:lnTo>
                  <a:lnTo>
                    <a:pt x="166188" y="946889"/>
                  </a:lnTo>
                  <a:lnTo>
                    <a:pt x="170395" y="940906"/>
                  </a:lnTo>
                  <a:lnTo>
                    <a:pt x="172499" y="938912"/>
                  </a:lnTo>
                  <a:lnTo>
                    <a:pt x="185121" y="938912"/>
                  </a:lnTo>
                  <a:lnTo>
                    <a:pt x="195639" y="932930"/>
                  </a:lnTo>
                  <a:lnTo>
                    <a:pt x="201950" y="930935"/>
                  </a:lnTo>
                  <a:lnTo>
                    <a:pt x="208261" y="922959"/>
                  </a:lnTo>
                  <a:lnTo>
                    <a:pt x="212468" y="916976"/>
                  </a:lnTo>
                  <a:lnTo>
                    <a:pt x="214572" y="903017"/>
                  </a:lnTo>
                  <a:lnTo>
                    <a:pt x="216675" y="899028"/>
                  </a:lnTo>
                  <a:lnTo>
                    <a:pt x="218779" y="893046"/>
                  </a:lnTo>
                  <a:lnTo>
                    <a:pt x="225090" y="891051"/>
                  </a:lnTo>
                  <a:lnTo>
                    <a:pt x="233504" y="893046"/>
                  </a:lnTo>
                  <a:lnTo>
                    <a:pt x="235608" y="893046"/>
                  </a:lnTo>
                  <a:lnTo>
                    <a:pt x="239815" y="891051"/>
                  </a:lnTo>
                  <a:lnTo>
                    <a:pt x="246126" y="883075"/>
                  </a:lnTo>
                  <a:lnTo>
                    <a:pt x="250333" y="873104"/>
                  </a:lnTo>
                  <a:lnTo>
                    <a:pt x="258748" y="867121"/>
                  </a:lnTo>
                  <a:lnTo>
                    <a:pt x="267162" y="859144"/>
                  </a:lnTo>
                  <a:lnTo>
                    <a:pt x="273473" y="855156"/>
                  </a:lnTo>
                  <a:lnTo>
                    <a:pt x="283991" y="851167"/>
                  </a:lnTo>
                  <a:lnTo>
                    <a:pt x="294510" y="849173"/>
                  </a:lnTo>
                  <a:lnTo>
                    <a:pt x="313442" y="847179"/>
                  </a:lnTo>
                  <a:lnTo>
                    <a:pt x="336582" y="847179"/>
                  </a:lnTo>
                  <a:lnTo>
                    <a:pt x="338555" y="846556"/>
                  </a:lnTo>
                  <a:cubicBezTo>
                    <a:pt x="337868" y="828896"/>
                    <a:pt x="337242" y="811235"/>
                    <a:pt x="336551" y="793575"/>
                  </a:cubicBezTo>
                  <a:lnTo>
                    <a:pt x="336551" y="779533"/>
                  </a:lnTo>
                  <a:cubicBezTo>
                    <a:pt x="335892" y="774194"/>
                    <a:pt x="335160" y="768855"/>
                    <a:pt x="334501" y="763516"/>
                  </a:cubicBezTo>
                  <a:lnTo>
                    <a:pt x="328132" y="751481"/>
                  </a:lnTo>
                  <a:lnTo>
                    <a:pt x="323959" y="747469"/>
                  </a:lnTo>
                  <a:lnTo>
                    <a:pt x="323959" y="739475"/>
                  </a:lnTo>
                  <a:cubicBezTo>
                    <a:pt x="324691" y="737470"/>
                    <a:pt x="325350" y="735464"/>
                    <a:pt x="326082" y="733458"/>
                  </a:cubicBezTo>
                  <a:cubicBezTo>
                    <a:pt x="326741" y="732779"/>
                    <a:pt x="327473" y="732131"/>
                    <a:pt x="328132" y="731452"/>
                  </a:cubicBezTo>
                  <a:lnTo>
                    <a:pt x="334501" y="729446"/>
                  </a:lnTo>
                  <a:lnTo>
                    <a:pt x="342920" y="723428"/>
                  </a:lnTo>
                  <a:lnTo>
                    <a:pt x="347092" y="721422"/>
                  </a:lnTo>
                  <a:cubicBezTo>
                    <a:pt x="347824" y="720095"/>
                    <a:pt x="348483" y="718737"/>
                    <a:pt x="349215" y="717410"/>
                  </a:cubicBezTo>
                  <a:lnTo>
                    <a:pt x="353388" y="703399"/>
                  </a:lnTo>
                  <a:lnTo>
                    <a:pt x="353388" y="687351"/>
                  </a:lnTo>
                  <a:lnTo>
                    <a:pt x="359508" y="650756"/>
                  </a:lnTo>
                  <a:lnTo>
                    <a:pt x="349204" y="657300"/>
                  </a:lnTo>
                  <a:lnTo>
                    <a:pt x="302924" y="683352"/>
                  </a:lnTo>
                  <a:lnTo>
                    <a:pt x="294509" y="687360"/>
                  </a:lnTo>
                  <a:lnTo>
                    <a:pt x="292406" y="669324"/>
                  </a:lnTo>
                  <a:lnTo>
                    <a:pt x="273473" y="671328"/>
                  </a:lnTo>
                  <a:lnTo>
                    <a:pt x="273473" y="667320"/>
                  </a:lnTo>
                  <a:lnTo>
                    <a:pt x="271369" y="663312"/>
                  </a:lnTo>
                  <a:lnTo>
                    <a:pt x="265058" y="661308"/>
                  </a:lnTo>
                  <a:lnTo>
                    <a:pt x="260851" y="663312"/>
                  </a:lnTo>
                  <a:lnTo>
                    <a:pt x="260851" y="653292"/>
                  </a:lnTo>
                  <a:lnTo>
                    <a:pt x="260851" y="647281"/>
                  </a:lnTo>
                  <a:lnTo>
                    <a:pt x="254540" y="639265"/>
                  </a:lnTo>
                  <a:lnTo>
                    <a:pt x="248229" y="639265"/>
                  </a:lnTo>
                  <a:lnTo>
                    <a:pt x="248229" y="635257"/>
                  </a:lnTo>
                  <a:lnTo>
                    <a:pt x="241918" y="631249"/>
                  </a:lnTo>
                  <a:lnTo>
                    <a:pt x="239815" y="631249"/>
                  </a:lnTo>
                  <a:lnTo>
                    <a:pt x="239815" y="627241"/>
                  </a:lnTo>
                  <a:lnTo>
                    <a:pt x="233504" y="629245"/>
                  </a:lnTo>
                  <a:lnTo>
                    <a:pt x="233504" y="617221"/>
                  </a:lnTo>
                  <a:lnTo>
                    <a:pt x="220882" y="617221"/>
                  </a:lnTo>
                  <a:lnTo>
                    <a:pt x="220882" y="611209"/>
                  </a:lnTo>
                  <a:lnTo>
                    <a:pt x="218778" y="607201"/>
                  </a:lnTo>
                  <a:lnTo>
                    <a:pt x="216675" y="605197"/>
                  </a:lnTo>
                  <a:lnTo>
                    <a:pt x="208260" y="607201"/>
                  </a:lnTo>
                  <a:lnTo>
                    <a:pt x="210364" y="597181"/>
                  </a:lnTo>
                  <a:lnTo>
                    <a:pt x="208260" y="589166"/>
                  </a:lnTo>
                  <a:lnTo>
                    <a:pt x="201949" y="585158"/>
                  </a:lnTo>
                  <a:lnTo>
                    <a:pt x="191431" y="585158"/>
                  </a:lnTo>
                  <a:lnTo>
                    <a:pt x="189327" y="577142"/>
                  </a:lnTo>
                  <a:lnTo>
                    <a:pt x="187224" y="571130"/>
                  </a:lnTo>
                  <a:lnTo>
                    <a:pt x="170395" y="559106"/>
                  </a:lnTo>
                  <a:lnTo>
                    <a:pt x="157773" y="549086"/>
                  </a:lnTo>
                  <a:lnTo>
                    <a:pt x="145151" y="539066"/>
                  </a:lnTo>
                  <a:lnTo>
                    <a:pt x="143047" y="531051"/>
                  </a:lnTo>
                  <a:lnTo>
                    <a:pt x="136736" y="525039"/>
                  </a:lnTo>
                  <a:lnTo>
                    <a:pt x="128322" y="527043"/>
                  </a:lnTo>
                  <a:lnTo>
                    <a:pt x="122011" y="515019"/>
                  </a:lnTo>
                  <a:lnTo>
                    <a:pt x="115700" y="509007"/>
                  </a:lnTo>
                  <a:lnTo>
                    <a:pt x="105182" y="507003"/>
                  </a:lnTo>
                  <a:lnTo>
                    <a:pt x="105182" y="494979"/>
                  </a:lnTo>
                  <a:lnTo>
                    <a:pt x="100975" y="494979"/>
                  </a:lnTo>
                  <a:lnTo>
                    <a:pt x="100975" y="484959"/>
                  </a:lnTo>
                  <a:lnTo>
                    <a:pt x="96767" y="476944"/>
                  </a:lnTo>
                  <a:lnTo>
                    <a:pt x="90456" y="474940"/>
                  </a:lnTo>
                  <a:lnTo>
                    <a:pt x="79938" y="476944"/>
                  </a:lnTo>
                  <a:lnTo>
                    <a:pt x="82042" y="468928"/>
                  </a:lnTo>
                  <a:lnTo>
                    <a:pt x="69420" y="470932"/>
                  </a:lnTo>
                  <a:lnTo>
                    <a:pt x="65213" y="458908"/>
                  </a:lnTo>
                  <a:lnTo>
                    <a:pt x="63109" y="448888"/>
                  </a:lnTo>
                  <a:lnTo>
                    <a:pt x="58902" y="444880"/>
                  </a:lnTo>
                  <a:lnTo>
                    <a:pt x="54694" y="438868"/>
                  </a:lnTo>
                  <a:lnTo>
                    <a:pt x="58902" y="432856"/>
                  </a:lnTo>
                  <a:lnTo>
                    <a:pt x="63109" y="432856"/>
                  </a:lnTo>
                  <a:lnTo>
                    <a:pt x="65213" y="432856"/>
                  </a:lnTo>
                  <a:lnTo>
                    <a:pt x="69420" y="426844"/>
                  </a:lnTo>
                  <a:lnTo>
                    <a:pt x="65213" y="422836"/>
                  </a:lnTo>
                  <a:lnTo>
                    <a:pt x="63109" y="418829"/>
                  </a:lnTo>
                  <a:lnTo>
                    <a:pt x="63109" y="402797"/>
                  </a:lnTo>
                  <a:lnTo>
                    <a:pt x="63109" y="386765"/>
                  </a:lnTo>
                  <a:lnTo>
                    <a:pt x="61005" y="374741"/>
                  </a:lnTo>
                  <a:lnTo>
                    <a:pt x="63109" y="358710"/>
                  </a:lnTo>
                  <a:lnTo>
                    <a:pt x="54694" y="358710"/>
                  </a:lnTo>
                  <a:lnTo>
                    <a:pt x="58902" y="352698"/>
                  </a:lnTo>
                  <a:lnTo>
                    <a:pt x="58902" y="344682"/>
                  </a:lnTo>
                  <a:lnTo>
                    <a:pt x="65213" y="334662"/>
                  </a:lnTo>
                  <a:lnTo>
                    <a:pt x="71524" y="328650"/>
                  </a:lnTo>
                  <a:lnTo>
                    <a:pt x="79938" y="324642"/>
                  </a:lnTo>
                  <a:lnTo>
                    <a:pt x="84145" y="318630"/>
                  </a:lnTo>
                  <a:lnTo>
                    <a:pt x="86249" y="314622"/>
                  </a:lnTo>
                  <a:lnTo>
                    <a:pt x="84145" y="306606"/>
                  </a:lnTo>
                  <a:lnTo>
                    <a:pt x="92560" y="306606"/>
                  </a:lnTo>
                  <a:lnTo>
                    <a:pt x="90456" y="296587"/>
                  </a:lnTo>
                  <a:lnTo>
                    <a:pt x="84145" y="288571"/>
                  </a:lnTo>
                  <a:lnTo>
                    <a:pt x="75731" y="288571"/>
                  </a:lnTo>
                  <a:lnTo>
                    <a:pt x="79938" y="278551"/>
                  </a:lnTo>
                  <a:lnTo>
                    <a:pt x="69420" y="281414"/>
                  </a:lnTo>
                  <a:lnTo>
                    <a:pt x="69420" y="266527"/>
                  </a:lnTo>
                  <a:lnTo>
                    <a:pt x="69420" y="252499"/>
                  </a:lnTo>
                  <a:lnTo>
                    <a:pt x="69420" y="244484"/>
                  </a:lnTo>
                  <a:lnTo>
                    <a:pt x="65213" y="238472"/>
                  </a:lnTo>
                  <a:lnTo>
                    <a:pt x="61005" y="234464"/>
                  </a:lnTo>
                  <a:lnTo>
                    <a:pt x="52591" y="234464"/>
                  </a:lnTo>
                  <a:lnTo>
                    <a:pt x="48384" y="226448"/>
                  </a:lnTo>
                  <a:lnTo>
                    <a:pt x="48384" y="220436"/>
                  </a:lnTo>
                  <a:lnTo>
                    <a:pt x="52591" y="212420"/>
                  </a:lnTo>
                  <a:lnTo>
                    <a:pt x="58902" y="210416"/>
                  </a:lnTo>
                  <a:lnTo>
                    <a:pt x="73627" y="202400"/>
                  </a:lnTo>
                  <a:lnTo>
                    <a:pt x="86249" y="194384"/>
                  </a:lnTo>
                  <a:lnTo>
                    <a:pt x="96767" y="182361"/>
                  </a:lnTo>
                  <a:lnTo>
                    <a:pt x="105182" y="172341"/>
                  </a:lnTo>
                  <a:lnTo>
                    <a:pt x="105182" y="160317"/>
                  </a:lnTo>
                  <a:lnTo>
                    <a:pt x="103078" y="142281"/>
                  </a:lnTo>
                  <a:lnTo>
                    <a:pt x="100975" y="134266"/>
                  </a:lnTo>
                  <a:lnTo>
                    <a:pt x="94664" y="126250"/>
                  </a:lnTo>
                  <a:lnTo>
                    <a:pt x="94664" y="124246"/>
                  </a:lnTo>
                  <a:lnTo>
                    <a:pt x="96767" y="124246"/>
                  </a:lnTo>
                  <a:lnTo>
                    <a:pt x="111493" y="124246"/>
                  </a:lnTo>
                  <a:lnTo>
                    <a:pt x="107285" y="112222"/>
                  </a:lnTo>
                  <a:lnTo>
                    <a:pt x="103078" y="102202"/>
                  </a:lnTo>
                  <a:lnTo>
                    <a:pt x="92560" y="96190"/>
                  </a:lnTo>
                  <a:lnTo>
                    <a:pt x="82042" y="92182"/>
                  </a:lnTo>
                  <a:lnTo>
                    <a:pt x="58902" y="86170"/>
                  </a:lnTo>
                  <a:lnTo>
                    <a:pt x="44176" y="82162"/>
                  </a:lnTo>
                  <a:lnTo>
                    <a:pt x="37865" y="76151"/>
                  </a:lnTo>
                  <a:lnTo>
                    <a:pt x="27347" y="66131"/>
                  </a:lnTo>
                  <a:lnTo>
                    <a:pt x="21036" y="54107"/>
                  </a:lnTo>
                  <a:lnTo>
                    <a:pt x="18933" y="30059"/>
                  </a:lnTo>
                  <a:lnTo>
                    <a:pt x="16829" y="22043"/>
                  </a:lnTo>
                  <a:lnTo>
                    <a:pt x="8414" y="14028"/>
                  </a:lnTo>
                  <a:lnTo>
                    <a:pt x="2104" y="8016"/>
                  </a:lnTo>
                  <a:lnTo>
                    <a:pt x="0" y="0"/>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Sierra                                         </a:t>
              </a:r>
            </a:p>
          </p:txBody>
        </p:sp>
        <p:sp>
          <p:nvSpPr>
            <p:cNvPr id="22" name="Central Coast"/>
            <p:cNvSpPr>
              <a:spLocks/>
            </p:cNvSpPr>
            <p:nvPr/>
          </p:nvSpPr>
          <p:spPr bwMode="auto">
            <a:xfrm>
              <a:off x="3109048" y="4674571"/>
              <a:ext cx="2019488" cy="2336627"/>
            </a:xfrm>
            <a:custGeom>
              <a:avLst/>
              <a:gdLst/>
              <a:ahLst/>
              <a:cxnLst/>
              <a:rect l="l" t="t" r="r" b="b"/>
              <a:pathLst>
                <a:path w="2019488" h="2336627">
                  <a:moveTo>
                    <a:pt x="109381" y="0"/>
                  </a:moveTo>
                  <a:cubicBezTo>
                    <a:pt x="112872" y="4687"/>
                    <a:pt x="116413" y="9341"/>
                    <a:pt x="119904" y="14028"/>
                  </a:cubicBezTo>
                  <a:lnTo>
                    <a:pt x="130426" y="26058"/>
                  </a:lnTo>
                  <a:lnTo>
                    <a:pt x="145157" y="36088"/>
                  </a:lnTo>
                  <a:cubicBezTo>
                    <a:pt x="145876" y="38087"/>
                    <a:pt x="146543" y="40086"/>
                    <a:pt x="147262" y="42085"/>
                  </a:cubicBezTo>
                  <a:cubicBezTo>
                    <a:pt x="148648" y="44739"/>
                    <a:pt x="150085" y="47428"/>
                    <a:pt x="151471" y="50082"/>
                  </a:cubicBezTo>
                  <a:cubicBezTo>
                    <a:pt x="152857" y="50771"/>
                    <a:pt x="154294" y="51426"/>
                    <a:pt x="155680" y="52115"/>
                  </a:cubicBezTo>
                  <a:lnTo>
                    <a:pt x="157784" y="52115"/>
                  </a:lnTo>
                  <a:lnTo>
                    <a:pt x="168307" y="56114"/>
                  </a:lnTo>
                  <a:lnTo>
                    <a:pt x="178829" y="60112"/>
                  </a:lnTo>
                  <a:lnTo>
                    <a:pt x="183038" y="62111"/>
                  </a:lnTo>
                  <a:cubicBezTo>
                    <a:pt x="183757" y="63455"/>
                    <a:pt x="184424" y="64800"/>
                    <a:pt x="185143" y="66144"/>
                  </a:cubicBezTo>
                  <a:lnTo>
                    <a:pt x="199823" y="82172"/>
                  </a:lnTo>
                  <a:lnTo>
                    <a:pt x="212449" y="96200"/>
                  </a:lnTo>
                  <a:lnTo>
                    <a:pt x="227181" y="108229"/>
                  </a:lnTo>
                  <a:lnTo>
                    <a:pt x="246121" y="118225"/>
                  </a:lnTo>
                  <a:lnTo>
                    <a:pt x="284002" y="136252"/>
                  </a:lnTo>
                  <a:lnTo>
                    <a:pt x="321831" y="150280"/>
                  </a:lnTo>
                  <a:lnTo>
                    <a:pt x="340771" y="158312"/>
                  </a:lnTo>
                  <a:lnTo>
                    <a:pt x="357607" y="166343"/>
                  </a:lnTo>
                  <a:lnTo>
                    <a:pt x="370234" y="178337"/>
                  </a:lnTo>
                  <a:lnTo>
                    <a:pt x="384965" y="190367"/>
                  </a:lnTo>
                  <a:lnTo>
                    <a:pt x="435473" y="240483"/>
                  </a:lnTo>
                  <a:lnTo>
                    <a:pt x="443891" y="250479"/>
                  </a:lnTo>
                  <a:lnTo>
                    <a:pt x="454362" y="262509"/>
                  </a:lnTo>
                  <a:cubicBezTo>
                    <a:pt x="457852" y="267851"/>
                    <a:pt x="461394" y="273194"/>
                    <a:pt x="464884" y="278536"/>
                  </a:cubicBezTo>
                  <a:lnTo>
                    <a:pt x="475406" y="288566"/>
                  </a:lnTo>
                  <a:lnTo>
                    <a:pt x="488033" y="292565"/>
                  </a:lnTo>
                  <a:lnTo>
                    <a:pt x="500660" y="298597"/>
                  </a:lnTo>
                  <a:lnTo>
                    <a:pt x="506973" y="300596"/>
                  </a:lnTo>
                  <a:cubicBezTo>
                    <a:pt x="508359" y="301940"/>
                    <a:pt x="509797" y="303250"/>
                    <a:pt x="511182" y="304594"/>
                  </a:cubicBezTo>
                  <a:cubicBezTo>
                    <a:pt x="511901" y="306593"/>
                    <a:pt x="512568" y="308627"/>
                    <a:pt x="513287" y="310626"/>
                  </a:cubicBezTo>
                  <a:lnTo>
                    <a:pt x="513287" y="318623"/>
                  </a:lnTo>
                  <a:lnTo>
                    <a:pt x="502764" y="312625"/>
                  </a:lnTo>
                  <a:lnTo>
                    <a:pt x="494347" y="308592"/>
                  </a:lnTo>
                  <a:lnTo>
                    <a:pt x="479615" y="304594"/>
                  </a:lnTo>
                  <a:lnTo>
                    <a:pt x="473956" y="308781"/>
                  </a:lnTo>
                  <a:lnTo>
                    <a:pt x="479594" y="306629"/>
                  </a:lnTo>
                  <a:lnTo>
                    <a:pt x="494348" y="310630"/>
                  </a:lnTo>
                  <a:lnTo>
                    <a:pt x="502735" y="314632"/>
                  </a:lnTo>
                  <a:lnTo>
                    <a:pt x="513295" y="320634"/>
                  </a:lnTo>
                  <a:lnTo>
                    <a:pt x="519585" y="320634"/>
                  </a:lnTo>
                  <a:cubicBezTo>
                    <a:pt x="521008" y="319321"/>
                    <a:pt x="522356" y="317945"/>
                    <a:pt x="523779" y="316632"/>
                  </a:cubicBezTo>
                  <a:lnTo>
                    <a:pt x="538532" y="306629"/>
                  </a:lnTo>
                  <a:lnTo>
                    <a:pt x="553286" y="286558"/>
                  </a:lnTo>
                  <a:cubicBezTo>
                    <a:pt x="556056" y="282557"/>
                    <a:pt x="558902" y="278555"/>
                    <a:pt x="561673" y="274554"/>
                  </a:cubicBezTo>
                  <a:cubicBezTo>
                    <a:pt x="563096" y="270552"/>
                    <a:pt x="564444" y="266488"/>
                    <a:pt x="565867" y="262487"/>
                  </a:cubicBezTo>
                  <a:lnTo>
                    <a:pt x="576426" y="250482"/>
                  </a:lnTo>
                  <a:cubicBezTo>
                    <a:pt x="578523" y="249169"/>
                    <a:pt x="580620" y="247794"/>
                    <a:pt x="582717" y="246481"/>
                  </a:cubicBezTo>
                  <a:lnTo>
                    <a:pt x="586911" y="246481"/>
                  </a:lnTo>
                  <a:lnTo>
                    <a:pt x="597395" y="246481"/>
                  </a:lnTo>
                  <a:lnTo>
                    <a:pt x="605858" y="244480"/>
                  </a:lnTo>
                  <a:lnTo>
                    <a:pt x="614246" y="244480"/>
                  </a:lnTo>
                  <a:lnTo>
                    <a:pt x="622708" y="250482"/>
                  </a:lnTo>
                  <a:cubicBezTo>
                    <a:pt x="626228" y="253796"/>
                    <a:pt x="629673" y="257172"/>
                    <a:pt x="633193" y="260486"/>
                  </a:cubicBezTo>
                  <a:lnTo>
                    <a:pt x="637386" y="262487"/>
                  </a:lnTo>
                  <a:lnTo>
                    <a:pt x="645849" y="262487"/>
                  </a:lnTo>
                  <a:lnTo>
                    <a:pt x="772038" y="264550"/>
                  </a:lnTo>
                  <a:cubicBezTo>
                    <a:pt x="769267" y="267238"/>
                    <a:pt x="766421" y="269864"/>
                    <a:pt x="763650" y="272553"/>
                  </a:cubicBezTo>
                  <a:cubicBezTo>
                    <a:pt x="762901" y="275242"/>
                    <a:pt x="762227" y="277868"/>
                    <a:pt x="761478" y="280556"/>
                  </a:cubicBezTo>
                  <a:lnTo>
                    <a:pt x="761478" y="284558"/>
                  </a:lnTo>
                  <a:lnTo>
                    <a:pt x="763650" y="286558"/>
                  </a:lnTo>
                  <a:lnTo>
                    <a:pt x="774135" y="292561"/>
                  </a:lnTo>
                  <a:lnTo>
                    <a:pt x="782522" y="296562"/>
                  </a:lnTo>
                  <a:lnTo>
                    <a:pt x="803566" y="316632"/>
                  </a:lnTo>
                  <a:lnTo>
                    <a:pt x="818320" y="340642"/>
                  </a:lnTo>
                  <a:lnTo>
                    <a:pt x="822513" y="344706"/>
                  </a:lnTo>
                  <a:cubicBezTo>
                    <a:pt x="823187" y="347394"/>
                    <a:pt x="823936" y="350020"/>
                    <a:pt x="824610" y="352709"/>
                  </a:cubicBezTo>
                  <a:cubicBezTo>
                    <a:pt x="825284" y="354022"/>
                    <a:pt x="826033" y="355397"/>
                    <a:pt x="826707" y="356710"/>
                  </a:cubicBezTo>
                  <a:cubicBezTo>
                    <a:pt x="827381" y="358711"/>
                    <a:pt x="828130" y="360712"/>
                    <a:pt x="828804" y="362713"/>
                  </a:cubicBezTo>
                  <a:lnTo>
                    <a:pt x="849848" y="374717"/>
                  </a:lnTo>
                  <a:lnTo>
                    <a:pt x="872989" y="384784"/>
                  </a:lnTo>
                  <a:lnTo>
                    <a:pt x="931927" y="406792"/>
                  </a:lnTo>
                  <a:lnTo>
                    <a:pt x="961358" y="422861"/>
                  </a:lnTo>
                  <a:cubicBezTo>
                    <a:pt x="965552" y="425549"/>
                    <a:pt x="969821" y="428175"/>
                    <a:pt x="974015" y="430864"/>
                  </a:cubicBezTo>
                  <a:cubicBezTo>
                    <a:pt x="976786" y="433552"/>
                    <a:pt x="979632" y="436178"/>
                    <a:pt x="982402" y="438867"/>
                  </a:cubicBezTo>
                  <a:lnTo>
                    <a:pt x="1100204" y="547096"/>
                  </a:lnTo>
                  <a:lnTo>
                    <a:pt x="1125441" y="567104"/>
                  </a:lnTo>
                  <a:lnTo>
                    <a:pt x="1159067" y="593176"/>
                  </a:lnTo>
                  <a:lnTo>
                    <a:pt x="1190670" y="619249"/>
                  </a:lnTo>
                  <a:lnTo>
                    <a:pt x="1201155" y="633254"/>
                  </a:lnTo>
                  <a:cubicBezTo>
                    <a:pt x="1204001" y="637256"/>
                    <a:pt x="1206772" y="641257"/>
                    <a:pt x="1209618" y="645259"/>
                  </a:cubicBezTo>
                  <a:cubicBezTo>
                    <a:pt x="1210292" y="649260"/>
                    <a:pt x="1211040" y="653324"/>
                    <a:pt x="1211714" y="657326"/>
                  </a:cubicBezTo>
                  <a:cubicBezTo>
                    <a:pt x="1213137" y="663328"/>
                    <a:pt x="1214485" y="669330"/>
                    <a:pt x="1215908" y="675333"/>
                  </a:cubicBezTo>
                  <a:cubicBezTo>
                    <a:pt x="1216582" y="682023"/>
                    <a:pt x="1217331" y="688713"/>
                    <a:pt x="1218005" y="695403"/>
                  </a:cubicBezTo>
                  <a:cubicBezTo>
                    <a:pt x="1217331" y="702093"/>
                    <a:pt x="1216582" y="708720"/>
                    <a:pt x="1215908" y="715411"/>
                  </a:cubicBezTo>
                  <a:cubicBezTo>
                    <a:pt x="1214485" y="722101"/>
                    <a:pt x="1213137" y="728791"/>
                    <a:pt x="1211714" y="735481"/>
                  </a:cubicBezTo>
                  <a:cubicBezTo>
                    <a:pt x="1211040" y="740795"/>
                    <a:pt x="1210292" y="746172"/>
                    <a:pt x="1209618" y="751487"/>
                  </a:cubicBezTo>
                  <a:lnTo>
                    <a:pt x="1201155" y="765492"/>
                  </a:lnTo>
                  <a:cubicBezTo>
                    <a:pt x="1200481" y="766805"/>
                    <a:pt x="1199732" y="768181"/>
                    <a:pt x="1199058" y="769494"/>
                  </a:cubicBezTo>
                  <a:lnTo>
                    <a:pt x="1194864" y="771495"/>
                  </a:lnTo>
                  <a:lnTo>
                    <a:pt x="1190670" y="771495"/>
                  </a:lnTo>
                  <a:lnTo>
                    <a:pt x="1178014" y="777559"/>
                  </a:lnTo>
                  <a:lnTo>
                    <a:pt x="1163336" y="781561"/>
                  </a:lnTo>
                  <a:lnTo>
                    <a:pt x="1154873" y="787563"/>
                  </a:lnTo>
                  <a:cubicBezTo>
                    <a:pt x="1154199" y="788876"/>
                    <a:pt x="1153450" y="790252"/>
                    <a:pt x="1152776" y="791565"/>
                  </a:cubicBezTo>
                  <a:cubicBezTo>
                    <a:pt x="1152102" y="794253"/>
                    <a:pt x="1151353" y="796879"/>
                    <a:pt x="1150679" y="799568"/>
                  </a:cubicBezTo>
                  <a:cubicBezTo>
                    <a:pt x="1151353" y="802882"/>
                    <a:pt x="1152102" y="806258"/>
                    <a:pt x="1152776" y="809572"/>
                  </a:cubicBezTo>
                  <a:lnTo>
                    <a:pt x="1140195" y="801569"/>
                  </a:lnTo>
                  <a:lnTo>
                    <a:pt x="1139114" y="800836"/>
                  </a:lnTo>
                  <a:lnTo>
                    <a:pt x="1139114" y="800865"/>
                  </a:lnTo>
                  <a:lnTo>
                    <a:pt x="1140169" y="801583"/>
                  </a:lnTo>
                  <a:lnTo>
                    <a:pt x="1152791" y="809599"/>
                  </a:lnTo>
                  <a:lnTo>
                    <a:pt x="1154895" y="817615"/>
                  </a:lnTo>
                  <a:lnTo>
                    <a:pt x="1154895" y="825631"/>
                  </a:lnTo>
                  <a:lnTo>
                    <a:pt x="1152791" y="829639"/>
                  </a:lnTo>
                  <a:lnTo>
                    <a:pt x="1154895" y="837655"/>
                  </a:lnTo>
                  <a:lnTo>
                    <a:pt x="1159102" y="845671"/>
                  </a:lnTo>
                  <a:lnTo>
                    <a:pt x="1165413" y="847674"/>
                  </a:lnTo>
                  <a:lnTo>
                    <a:pt x="1175932" y="857694"/>
                  </a:lnTo>
                  <a:lnTo>
                    <a:pt x="1180139" y="863706"/>
                  </a:lnTo>
                  <a:lnTo>
                    <a:pt x="1184346" y="869718"/>
                  </a:lnTo>
                  <a:lnTo>
                    <a:pt x="1180139" y="873726"/>
                  </a:lnTo>
                  <a:lnTo>
                    <a:pt x="1178035" y="879738"/>
                  </a:lnTo>
                  <a:lnTo>
                    <a:pt x="1169621" y="889758"/>
                  </a:lnTo>
                  <a:lnTo>
                    <a:pt x="1165413" y="893766"/>
                  </a:lnTo>
                  <a:lnTo>
                    <a:pt x="1163310" y="901782"/>
                  </a:lnTo>
                  <a:lnTo>
                    <a:pt x="1159102" y="909798"/>
                  </a:lnTo>
                  <a:lnTo>
                    <a:pt x="1163310" y="919818"/>
                  </a:lnTo>
                  <a:lnTo>
                    <a:pt x="1165413" y="923825"/>
                  </a:lnTo>
                  <a:lnTo>
                    <a:pt x="1169621" y="931841"/>
                  </a:lnTo>
                  <a:lnTo>
                    <a:pt x="1180139" y="941861"/>
                  </a:lnTo>
                  <a:lnTo>
                    <a:pt x="1196968" y="953885"/>
                  </a:lnTo>
                  <a:lnTo>
                    <a:pt x="1205383" y="957893"/>
                  </a:lnTo>
                  <a:lnTo>
                    <a:pt x="1215901" y="961901"/>
                  </a:lnTo>
                  <a:lnTo>
                    <a:pt x="1220108" y="971921"/>
                  </a:lnTo>
                  <a:lnTo>
                    <a:pt x="1226419" y="983945"/>
                  </a:lnTo>
                  <a:lnTo>
                    <a:pt x="1232730" y="989957"/>
                  </a:lnTo>
                  <a:lnTo>
                    <a:pt x="1239041" y="991961"/>
                  </a:lnTo>
                  <a:lnTo>
                    <a:pt x="1247455" y="997972"/>
                  </a:lnTo>
                  <a:lnTo>
                    <a:pt x="1249559" y="1003984"/>
                  </a:lnTo>
                  <a:lnTo>
                    <a:pt x="1253766" y="1009996"/>
                  </a:lnTo>
                  <a:lnTo>
                    <a:pt x="1260077" y="1009996"/>
                  </a:lnTo>
                  <a:lnTo>
                    <a:pt x="1264284" y="1009996"/>
                  </a:lnTo>
                  <a:lnTo>
                    <a:pt x="1268492" y="1009996"/>
                  </a:lnTo>
                  <a:lnTo>
                    <a:pt x="1306357" y="1038052"/>
                  </a:lnTo>
                  <a:lnTo>
                    <a:pt x="1321083" y="1044064"/>
                  </a:lnTo>
                  <a:lnTo>
                    <a:pt x="1331601" y="1050076"/>
                  </a:lnTo>
                  <a:lnTo>
                    <a:pt x="1356845" y="1058092"/>
                  </a:lnTo>
                  <a:lnTo>
                    <a:pt x="1365259" y="1062100"/>
                  </a:lnTo>
                  <a:lnTo>
                    <a:pt x="1373674" y="1068112"/>
                  </a:lnTo>
                  <a:lnTo>
                    <a:pt x="1386295" y="1080135"/>
                  </a:lnTo>
                  <a:lnTo>
                    <a:pt x="1396814" y="1092159"/>
                  </a:lnTo>
                  <a:lnTo>
                    <a:pt x="1405228" y="1100175"/>
                  </a:lnTo>
                  <a:lnTo>
                    <a:pt x="1411539" y="1104183"/>
                  </a:lnTo>
                  <a:lnTo>
                    <a:pt x="1430472" y="1110195"/>
                  </a:lnTo>
                  <a:lnTo>
                    <a:pt x="1438886" y="1112199"/>
                  </a:lnTo>
                  <a:lnTo>
                    <a:pt x="1447301" y="1120215"/>
                  </a:lnTo>
                  <a:lnTo>
                    <a:pt x="1451508" y="1126227"/>
                  </a:lnTo>
                  <a:lnTo>
                    <a:pt x="1451508" y="1132239"/>
                  </a:lnTo>
                  <a:lnTo>
                    <a:pt x="1451508" y="1136247"/>
                  </a:lnTo>
                  <a:lnTo>
                    <a:pt x="1451508" y="1144263"/>
                  </a:lnTo>
                  <a:lnTo>
                    <a:pt x="1457819" y="1160294"/>
                  </a:lnTo>
                  <a:lnTo>
                    <a:pt x="1468337" y="1174322"/>
                  </a:lnTo>
                  <a:lnTo>
                    <a:pt x="1472545" y="1180334"/>
                  </a:lnTo>
                  <a:lnTo>
                    <a:pt x="1478856" y="1184342"/>
                  </a:lnTo>
                  <a:lnTo>
                    <a:pt x="1480959" y="1190354"/>
                  </a:lnTo>
                  <a:lnTo>
                    <a:pt x="1478856" y="1200374"/>
                  </a:lnTo>
                  <a:lnTo>
                    <a:pt x="1476320" y="1200374"/>
                  </a:lnTo>
                  <a:lnTo>
                    <a:pt x="1478889" y="1202388"/>
                  </a:lnTo>
                  <a:lnTo>
                    <a:pt x="1485189" y="1202388"/>
                  </a:lnTo>
                  <a:cubicBezTo>
                    <a:pt x="1485846" y="1217049"/>
                    <a:pt x="1486633" y="1231638"/>
                    <a:pt x="1487290" y="1246300"/>
                  </a:cubicBezTo>
                  <a:lnTo>
                    <a:pt x="1487290" y="1294298"/>
                  </a:lnTo>
                  <a:lnTo>
                    <a:pt x="1487290" y="1318297"/>
                  </a:lnTo>
                  <a:lnTo>
                    <a:pt x="1487290" y="1330259"/>
                  </a:lnTo>
                  <a:cubicBezTo>
                    <a:pt x="1488734" y="1333615"/>
                    <a:pt x="1490046" y="1336897"/>
                    <a:pt x="1491490" y="1340253"/>
                  </a:cubicBezTo>
                  <a:lnTo>
                    <a:pt x="1495691" y="1340253"/>
                  </a:lnTo>
                  <a:cubicBezTo>
                    <a:pt x="1497791" y="1341566"/>
                    <a:pt x="1499891" y="1342952"/>
                    <a:pt x="1501992" y="1344265"/>
                  </a:cubicBezTo>
                  <a:lnTo>
                    <a:pt x="1522994" y="1344265"/>
                  </a:lnTo>
                  <a:lnTo>
                    <a:pt x="1554630" y="1340253"/>
                  </a:lnTo>
                  <a:lnTo>
                    <a:pt x="1558830" y="1340253"/>
                  </a:lnTo>
                  <a:cubicBezTo>
                    <a:pt x="1559487" y="1341566"/>
                    <a:pt x="1560274" y="1342952"/>
                    <a:pt x="1560931" y="1344265"/>
                  </a:cubicBezTo>
                  <a:cubicBezTo>
                    <a:pt x="1562375" y="1346234"/>
                    <a:pt x="1563687" y="1348277"/>
                    <a:pt x="1565131" y="1350246"/>
                  </a:cubicBezTo>
                  <a:lnTo>
                    <a:pt x="1565131" y="1374245"/>
                  </a:lnTo>
                  <a:cubicBezTo>
                    <a:pt x="1565788" y="1385552"/>
                    <a:pt x="1566575" y="1396931"/>
                    <a:pt x="1567231" y="1408237"/>
                  </a:cubicBezTo>
                  <a:lnTo>
                    <a:pt x="1567231" y="1410207"/>
                  </a:lnTo>
                  <a:lnTo>
                    <a:pt x="1569332" y="1410207"/>
                  </a:lnTo>
                  <a:lnTo>
                    <a:pt x="1575633" y="1410207"/>
                  </a:lnTo>
                  <a:lnTo>
                    <a:pt x="1577733" y="1410207"/>
                  </a:lnTo>
                  <a:cubicBezTo>
                    <a:pt x="1578389" y="1412833"/>
                    <a:pt x="1579177" y="1415532"/>
                    <a:pt x="1579833" y="1418158"/>
                  </a:cubicBezTo>
                  <a:lnTo>
                    <a:pt x="1581933" y="1418158"/>
                  </a:lnTo>
                  <a:lnTo>
                    <a:pt x="1586134" y="1418158"/>
                  </a:lnTo>
                  <a:cubicBezTo>
                    <a:pt x="1587578" y="1420200"/>
                    <a:pt x="1588891" y="1422170"/>
                    <a:pt x="1590335" y="1424212"/>
                  </a:cubicBezTo>
                  <a:lnTo>
                    <a:pt x="1590335" y="1426182"/>
                  </a:lnTo>
                  <a:lnTo>
                    <a:pt x="1590335" y="1434206"/>
                  </a:lnTo>
                  <a:lnTo>
                    <a:pt x="1590335" y="1438145"/>
                  </a:lnTo>
                  <a:cubicBezTo>
                    <a:pt x="1590991" y="1440187"/>
                    <a:pt x="1591778" y="1442157"/>
                    <a:pt x="1592435" y="1444199"/>
                  </a:cubicBezTo>
                  <a:lnTo>
                    <a:pt x="1602936" y="1448138"/>
                  </a:lnTo>
                  <a:cubicBezTo>
                    <a:pt x="1605036" y="1450180"/>
                    <a:pt x="1607137" y="1452150"/>
                    <a:pt x="1609237" y="1454192"/>
                  </a:cubicBezTo>
                  <a:cubicBezTo>
                    <a:pt x="1610681" y="1454849"/>
                    <a:pt x="1611994" y="1455505"/>
                    <a:pt x="1613438" y="1456162"/>
                  </a:cubicBezTo>
                  <a:lnTo>
                    <a:pt x="1619738" y="1470167"/>
                  </a:lnTo>
                  <a:cubicBezTo>
                    <a:pt x="1620526" y="1473523"/>
                    <a:pt x="1621182" y="1476805"/>
                    <a:pt x="1621970" y="1480161"/>
                  </a:cubicBezTo>
                  <a:cubicBezTo>
                    <a:pt x="1622626" y="1482130"/>
                    <a:pt x="1623414" y="1484173"/>
                    <a:pt x="1624070" y="1486142"/>
                  </a:cubicBezTo>
                  <a:lnTo>
                    <a:pt x="1638772" y="1490154"/>
                  </a:lnTo>
                  <a:lnTo>
                    <a:pt x="1653474" y="1490154"/>
                  </a:lnTo>
                  <a:lnTo>
                    <a:pt x="1684978" y="1488112"/>
                  </a:lnTo>
                  <a:lnTo>
                    <a:pt x="1693379" y="1490154"/>
                  </a:lnTo>
                  <a:lnTo>
                    <a:pt x="1695480" y="1490154"/>
                  </a:lnTo>
                  <a:cubicBezTo>
                    <a:pt x="1697580" y="1492124"/>
                    <a:pt x="1699680" y="1494166"/>
                    <a:pt x="1701780" y="1496136"/>
                  </a:cubicBezTo>
                  <a:cubicBezTo>
                    <a:pt x="1702568" y="1497449"/>
                    <a:pt x="1703224" y="1498834"/>
                    <a:pt x="1704012" y="1500147"/>
                  </a:cubicBezTo>
                  <a:lnTo>
                    <a:pt x="1704012" y="1510141"/>
                  </a:lnTo>
                  <a:lnTo>
                    <a:pt x="1704012" y="1522104"/>
                  </a:lnTo>
                  <a:lnTo>
                    <a:pt x="1704012" y="1536109"/>
                  </a:lnTo>
                  <a:lnTo>
                    <a:pt x="1704012" y="1546103"/>
                  </a:lnTo>
                  <a:cubicBezTo>
                    <a:pt x="1705456" y="1548072"/>
                    <a:pt x="1706769" y="1550115"/>
                    <a:pt x="1708212" y="1552084"/>
                  </a:cubicBezTo>
                  <a:cubicBezTo>
                    <a:pt x="1710313" y="1553397"/>
                    <a:pt x="1712413" y="1554783"/>
                    <a:pt x="1714513" y="1556096"/>
                  </a:cubicBezTo>
                  <a:cubicBezTo>
                    <a:pt x="1715957" y="1556752"/>
                    <a:pt x="1717270" y="1557409"/>
                    <a:pt x="1718714" y="1558065"/>
                  </a:cubicBezTo>
                  <a:lnTo>
                    <a:pt x="1733416" y="1556096"/>
                  </a:lnTo>
                  <a:lnTo>
                    <a:pt x="1743917" y="1556096"/>
                  </a:lnTo>
                  <a:cubicBezTo>
                    <a:pt x="1745361" y="1556752"/>
                    <a:pt x="1746674" y="1557409"/>
                    <a:pt x="1748118" y="1558065"/>
                  </a:cubicBezTo>
                  <a:cubicBezTo>
                    <a:pt x="1748774" y="1558722"/>
                    <a:pt x="1749562" y="1559451"/>
                    <a:pt x="1750218" y="1560108"/>
                  </a:cubicBezTo>
                  <a:lnTo>
                    <a:pt x="1750218" y="1572071"/>
                  </a:lnTo>
                  <a:lnTo>
                    <a:pt x="1750218" y="1600082"/>
                  </a:lnTo>
                  <a:lnTo>
                    <a:pt x="1750218" y="1618026"/>
                  </a:lnTo>
                  <a:lnTo>
                    <a:pt x="1750218" y="1622038"/>
                  </a:lnTo>
                  <a:cubicBezTo>
                    <a:pt x="1751662" y="1624007"/>
                    <a:pt x="1752975" y="1626050"/>
                    <a:pt x="1754419" y="1628019"/>
                  </a:cubicBezTo>
                  <a:cubicBezTo>
                    <a:pt x="1756519" y="1628676"/>
                    <a:pt x="1758619" y="1629405"/>
                    <a:pt x="1760719" y="1630062"/>
                  </a:cubicBezTo>
                  <a:lnTo>
                    <a:pt x="1771221" y="1632031"/>
                  </a:lnTo>
                  <a:lnTo>
                    <a:pt x="1802856" y="1632031"/>
                  </a:lnTo>
                  <a:lnTo>
                    <a:pt x="1853263" y="1628019"/>
                  </a:lnTo>
                  <a:cubicBezTo>
                    <a:pt x="1852606" y="1650705"/>
                    <a:pt x="1851819" y="1673318"/>
                    <a:pt x="1851162" y="1696004"/>
                  </a:cubicBezTo>
                  <a:lnTo>
                    <a:pt x="1926904" y="1696004"/>
                  </a:lnTo>
                  <a:lnTo>
                    <a:pt x="1926904" y="1711979"/>
                  </a:lnTo>
                  <a:cubicBezTo>
                    <a:pt x="1926247" y="1719273"/>
                    <a:pt x="1925460" y="1726640"/>
                    <a:pt x="1924803" y="1733935"/>
                  </a:cubicBezTo>
                  <a:lnTo>
                    <a:pt x="1924803" y="1743929"/>
                  </a:lnTo>
                  <a:cubicBezTo>
                    <a:pt x="1925460" y="1747284"/>
                    <a:pt x="1926247" y="1750567"/>
                    <a:pt x="1926904" y="1753922"/>
                  </a:cubicBezTo>
                  <a:cubicBezTo>
                    <a:pt x="1928348" y="1755892"/>
                    <a:pt x="1929660" y="1757934"/>
                    <a:pt x="1931104" y="1759904"/>
                  </a:cubicBezTo>
                  <a:cubicBezTo>
                    <a:pt x="1933204" y="1760560"/>
                    <a:pt x="1935305" y="1761290"/>
                    <a:pt x="1937405" y="1761946"/>
                  </a:cubicBezTo>
                  <a:lnTo>
                    <a:pt x="1952238" y="1761946"/>
                  </a:lnTo>
                  <a:lnTo>
                    <a:pt x="1969040" y="1763916"/>
                  </a:lnTo>
                  <a:cubicBezTo>
                    <a:pt x="1973241" y="1765229"/>
                    <a:pt x="1977442" y="1766615"/>
                    <a:pt x="1981642" y="1767928"/>
                  </a:cubicBezTo>
                  <a:cubicBezTo>
                    <a:pt x="1982298" y="1769241"/>
                    <a:pt x="1983086" y="1770627"/>
                    <a:pt x="1983742" y="1771940"/>
                  </a:cubicBezTo>
                  <a:cubicBezTo>
                    <a:pt x="1985186" y="1773909"/>
                    <a:pt x="1986499" y="1775951"/>
                    <a:pt x="1987943" y="1777921"/>
                  </a:cubicBezTo>
                  <a:lnTo>
                    <a:pt x="1987943" y="1847875"/>
                  </a:lnTo>
                  <a:cubicBezTo>
                    <a:pt x="1988595" y="1871074"/>
                    <a:pt x="1989377" y="1894200"/>
                    <a:pt x="1990030" y="1917399"/>
                  </a:cubicBezTo>
                  <a:lnTo>
                    <a:pt x="1994244" y="1915793"/>
                  </a:lnTo>
                  <a:lnTo>
                    <a:pt x="2015281" y="1917797"/>
                  </a:lnTo>
                  <a:lnTo>
                    <a:pt x="2017384" y="2196349"/>
                  </a:lnTo>
                  <a:lnTo>
                    <a:pt x="2019488" y="2196349"/>
                  </a:lnTo>
                  <a:lnTo>
                    <a:pt x="2019488" y="2236429"/>
                  </a:lnTo>
                  <a:lnTo>
                    <a:pt x="2019488" y="2256468"/>
                  </a:lnTo>
                  <a:lnTo>
                    <a:pt x="2017384" y="2274504"/>
                  </a:lnTo>
                  <a:lnTo>
                    <a:pt x="2015281" y="2292540"/>
                  </a:lnTo>
                  <a:lnTo>
                    <a:pt x="2008970" y="2310576"/>
                  </a:lnTo>
                  <a:lnTo>
                    <a:pt x="1998452" y="2324603"/>
                  </a:lnTo>
                  <a:lnTo>
                    <a:pt x="1985830" y="2336627"/>
                  </a:lnTo>
                  <a:lnTo>
                    <a:pt x="1973208" y="2334623"/>
                  </a:lnTo>
                  <a:lnTo>
                    <a:pt x="1964794" y="2330615"/>
                  </a:lnTo>
                  <a:lnTo>
                    <a:pt x="1945861" y="2316587"/>
                  </a:lnTo>
                  <a:lnTo>
                    <a:pt x="1935343" y="2314584"/>
                  </a:lnTo>
                  <a:lnTo>
                    <a:pt x="1924824" y="2312580"/>
                  </a:lnTo>
                  <a:lnTo>
                    <a:pt x="1907995" y="2306568"/>
                  </a:lnTo>
                  <a:lnTo>
                    <a:pt x="1893270" y="2304564"/>
                  </a:lnTo>
                  <a:lnTo>
                    <a:pt x="1882752" y="2304564"/>
                  </a:lnTo>
                  <a:lnTo>
                    <a:pt x="1872234" y="2304564"/>
                  </a:lnTo>
                  <a:lnTo>
                    <a:pt x="1861715" y="2310576"/>
                  </a:lnTo>
                  <a:lnTo>
                    <a:pt x="1840679" y="2316587"/>
                  </a:lnTo>
                  <a:lnTo>
                    <a:pt x="1830161" y="2320595"/>
                  </a:lnTo>
                  <a:lnTo>
                    <a:pt x="1819643" y="2320595"/>
                  </a:lnTo>
                  <a:lnTo>
                    <a:pt x="1813332" y="2320595"/>
                  </a:lnTo>
                  <a:lnTo>
                    <a:pt x="1804917" y="2316587"/>
                  </a:lnTo>
                  <a:lnTo>
                    <a:pt x="1790192" y="2310576"/>
                  </a:lnTo>
                  <a:lnTo>
                    <a:pt x="1773363" y="2304564"/>
                  </a:lnTo>
                  <a:lnTo>
                    <a:pt x="1764948" y="2302560"/>
                  </a:lnTo>
                  <a:lnTo>
                    <a:pt x="1758637" y="2302560"/>
                  </a:lnTo>
                  <a:lnTo>
                    <a:pt x="1748119" y="2304564"/>
                  </a:lnTo>
                  <a:lnTo>
                    <a:pt x="1739704" y="2310576"/>
                  </a:lnTo>
                  <a:lnTo>
                    <a:pt x="1729186" y="2312580"/>
                  </a:lnTo>
                  <a:lnTo>
                    <a:pt x="1718668" y="2312580"/>
                  </a:lnTo>
                  <a:lnTo>
                    <a:pt x="1710254" y="2310576"/>
                  </a:lnTo>
                  <a:lnTo>
                    <a:pt x="1699735" y="2304564"/>
                  </a:lnTo>
                  <a:lnTo>
                    <a:pt x="1680803" y="2294544"/>
                  </a:lnTo>
                  <a:lnTo>
                    <a:pt x="1670284" y="2290536"/>
                  </a:lnTo>
                  <a:lnTo>
                    <a:pt x="1657663" y="2286528"/>
                  </a:lnTo>
                  <a:lnTo>
                    <a:pt x="1632419" y="2280516"/>
                  </a:lnTo>
                  <a:lnTo>
                    <a:pt x="1613486" y="2272500"/>
                  </a:lnTo>
                  <a:lnTo>
                    <a:pt x="1596657" y="2270496"/>
                  </a:lnTo>
                  <a:lnTo>
                    <a:pt x="1558792" y="2264484"/>
                  </a:lnTo>
                  <a:lnTo>
                    <a:pt x="1520926" y="2262480"/>
                  </a:lnTo>
                  <a:lnTo>
                    <a:pt x="1485164" y="2262480"/>
                  </a:lnTo>
                  <a:lnTo>
                    <a:pt x="1440988" y="2262480"/>
                  </a:lnTo>
                  <a:lnTo>
                    <a:pt x="1390501" y="2264484"/>
                  </a:lnTo>
                  <a:lnTo>
                    <a:pt x="1363154" y="2266488"/>
                  </a:lnTo>
                  <a:lnTo>
                    <a:pt x="1340014" y="2270496"/>
                  </a:lnTo>
                  <a:lnTo>
                    <a:pt x="1318977" y="2274504"/>
                  </a:lnTo>
                  <a:lnTo>
                    <a:pt x="1300044" y="2282520"/>
                  </a:lnTo>
                  <a:lnTo>
                    <a:pt x="1289526" y="2270496"/>
                  </a:lnTo>
                  <a:lnTo>
                    <a:pt x="1283215" y="2256468"/>
                  </a:lnTo>
                  <a:lnTo>
                    <a:pt x="1266386" y="2230417"/>
                  </a:lnTo>
                  <a:lnTo>
                    <a:pt x="1255868" y="2216389"/>
                  </a:lnTo>
                  <a:lnTo>
                    <a:pt x="1245350" y="2206369"/>
                  </a:lnTo>
                  <a:lnTo>
                    <a:pt x="1232728" y="2196349"/>
                  </a:lnTo>
                  <a:lnTo>
                    <a:pt x="1213795" y="2192341"/>
                  </a:lnTo>
                  <a:lnTo>
                    <a:pt x="1194863" y="2190337"/>
                  </a:lnTo>
                  <a:lnTo>
                    <a:pt x="1184344" y="2186329"/>
                  </a:lnTo>
                  <a:lnTo>
                    <a:pt x="1178033" y="2184325"/>
                  </a:lnTo>
                  <a:lnTo>
                    <a:pt x="1171723" y="2180317"/>
                  </a:lnTo>
                  <a:lnTo>
                    <a:pt x="1169619" y="2174305"/>
                  </a:lnTo>
                  <a:lnTo>
                    <a:pt x="1169619" y="2164286"/>
                  </a:lnTo>
                  <a:lnTo>
                    <a:pt x="1171723" y="2150258"/>
                  </a:lnTo>
                  <a:lnTo>
                    <a:pt x="1182241" y="2114186"/>
                  </a:lnTo>
                  <a:lnTo>
                    <a:pt x="1194863" y="2080119"/>
                  </a:lnTo>
                  <a:lnTo>
                    <a:pt x="1199070" y="2072103"/>
                  </a:lnTo>
                  <a:lnTo>
                    <a:pt x="1199070" y="2062083"/>
                  </a:lnTo>
                  <a:lnTo>
                    <a:pt x="1190655" y="2048055"/>
                  </a:lnTo>
                  <a:lnTo>
                    <a:pt x="1182241" y="2030019"/>
                  </a:lnTo>
                  <a:lnTo>
                    <a:pt x="1180137" y="2022003"/>
                  </a:lnTo>
                  <a:lnTo>
                    <a:pt x="1182241" y="2011984"/>
                  </a:lnTo>
                  <a:lnTo>
                    <a:pt x="1190655" y="1979920"/>
                  </a:lnTo>
                  <a:lnTo>
                    <a:pt x="1192759" y="1961884"/>
                  </a:lnTo>
                  <a:lnTo>
                    <a:pt x="1192759" y="1953868"/>
                  </a:lnTo>
                  <a:lnTo>
                    <a:pt x="1190655" y="1947856"/>
                  </a:lnTo>
                  <a:lnTo>
                    <a:pt x="1188552" y="1939841"/>
                  </a:lnTo>
                  <a:lnTo>
                    <a:pt x="1182241" y="1933829"/>
                  </a:lnTo>
                  <a:lnTo>
                    <a:pt x="1169619" y="1923809"/>
                  </a:lnTo>
                  <a:lnTo>
                    <a:pt x="1159101" y="1915793"/>
                  </a:lnTo>
                  <a:lnTo>
                    <a:pt x="1156997" y="1907777"/>
                  </a:lnTo>
                  <a:lnTo>
                    <a:pt x="1156997" y="1901765"/>
                  </a:lnTo>
                  <a:lnTo>
                    <a:pt x="1161204" y="1891745"/>
                  </a:lnTo>
                  <a:lnTo>
                    <a:pt x="1163308" y="1879721"/>
                  </a:lnTo>
                  <a:lnTo>
                    <a:pt x="1168013" y="1858805"/>
                  </a:lnTo>
                  <a:lnTo>
                    <a:pt x="1165423" y="1853856"/>
                  </a:lnTo>
                  <a:cubicBezTo>
                    <a:pt x="1168179" y="1847218"/>
                    <a:pt x="1171067" y="1840507"/>
                    <a:pt x="1173824" y="1833869"/>
                  </a:cubicBezTo>
                  <a:cubicBezTo>
                    <a:pt x="1175924" y="1825846"/>
                    <a:pt x="1178024" y="1817895"/>
                    <a:pt x="1180125" y="1809871"/>
                  </a:cubicBezTo>
                  <a:cubicBezTo>
                    <a:pt x="1181568" y="1802576"/>
                    <a:pt x="1182881" y="1795209"/>
                    <a:pt x="1184325" y="1787914"/>
                  </a:cubicBezTo>
                  <a:cubicBezTo>
                    <a:pt x="1182881" y="1779890"/>
                    <a:pt x="1181568" y="1771940"/>
                    <a:pt x="1180125" y="1763916"/>
                  </a:cubicBezTo>
                  <a:cubicBezTo>
                    <a:pt x="1178681" y="1757278"/>
                    <a:pt x="1177368" y="1750567"/>
                    <a:pt x="1175924" y="1743929"/>
                  </a:cubicBezTo>
                  <a:cubicBezTo>
                    <a:pt x="1172380" y="1738603"/>
                    <a:pt x="1168967" y="1733278"/>
                    <a:pt x="1165423" y="1727953"/>
                  </a:cubicBezTo>
                  <a:cubicBezTo>
                    <a:pt x="1162666" y="1724598"/>
                    <a:pt x="1159778" y="1721316"/>
                    <a:pt x="1157021" y="1717960"/>
                  </a:cubicBezTo>
                  <a:cubicBezTo>
                    <a:pt x="1154921" y="1715991"/>
                    <a:pt x="1152821" y="1713948"/>
                    <a:pt x="1150720" y="1711979"/>
                  </a:cubicBezTo>
                  <a:cubicBezTo>
                    <a:pt x="1147176" y="1710009"/>
                    <a:pt x="1143763" y="1707967"/>
                    <a:pt x="1140219" y="1705997"/>
                  </a:cubicBezTo>
                  <a:cubicBezTo>
                    <a:pt x="1135231" y="1704028"/>
                    <a:pt x="1130374" y="1701985"/>
                    <a:pt x="1125386" y="1700016"/>
                  </a:cubicBezTo>
                  <a:cubicBezTo>
                    <a:pt x="1121185" y="1699359"/>
                    <a:pt x="1116985" y="1698630"/>
                    <a:pt x="1112784" y="1697973"/>
                  </a:cubicBezTo>
                  <a:lnTo>
                    <a:pt x="1104383" y="1697973"/>
                  </a:lnTo>
                  <a:cubicBezTo>
                    <a:pt x="1102939" y="1699286"/>
                    <a:pt x="1101626" y="1700672"/>
                    <a:pt x="1100182" y="1701985"/>
                  </a:cubicBezTo>
                  <a:cubicBezTo>
                    <a:pt x="1099526" y="1703298"/>
                    <a:pt x="1098739" y="1704684"/>
                    <a:pt x="1098082" y="1705997"/>
                  </a:cubicBezTo>
                  <a:cubicBezTo>
                    <a:pt x="1096638" y="1707310"/>
                    <a:pt x="1095326" y="1708623"/>
                    <a:pt x="1093882" y="1709936"/>
                  </a:cubicBezTo>
                  <a:lnTo>
                    <a:pt x="1091781" y="1709936"/>
                  </a:lnTo>
                  <a:cubicBezTo>
                    <a:pt x="1090337" y="1709280"/>
                    <a:pt x="1089025" y="1708623"/>
                    <a:pt x="1087581" y="1707967"/>
                  </a:cubicBezTo>
                  <a:cubicBezTo>
                    <a:pt x="1084037" y="1705997"/>
                    <a:pt x="1080624" y="1703955"/>
                    <a:pt x="1077079" y="1701985"/>
                  </a:cubicBezTo>
                  <a:cubicBezTo>
                    <a:pt x="1072223" y="1698630"/>
                    <a:pt x="1067234" y="1695347"/>
                    <a:pt x="1062378" y="1691992"/>
                  </a:cubicBezTo>
                  <a:lnTo>
                    <a:pt x="1041244" y="1681998"/>
                  </a:lnTo>
                  <a:lnTo>
                    <a:pt x="1024441" y="1672005"/>
                  </a:lnTo>
                  <a:cubicBezTo>
                    <a:pt x="1020897" y="1670692"/>
                    <a:pt x="1017484" y="1669306"/>
                    <a:pt x="1013940" y="1667993"/>
                  </a:cubicBezTo>
                  <a:cubicBezTo>
                    <a:pt x="1010396" y="1661355"/>
                    <a:pt x="1006983" y="1654644"/>
                    <a:pt x="1003439" y="1648006"/>
                  </a:cubicBezTo>
                  <a:cubicBezTo>
                    <a:pt x="1001338" y="1643994"/>
                    <a:pt x="999238" y="1640055"/>
                    <a:pt x="997138" y="1636043"/>
                  </a:cubicBezTo>
                  <a:lnTo>
                    <a:pt x="997138" y="1622038"/>
                  </a:lnTo>
                  <a:cubicBezTo>
                    <a:pt x="1000682" y="1608689"/>
                    <a:pt x="1004095" y="1595413"/>
                    <a:pt x="1007639" y="1582064"/>
                  </a:cubicBezTo>
                  <a:cubicBezTo>
                    <a:pt x="1011840" y="1570101"/>
                    <a:pt x="1016040" y="1558065"/>
                    <a:pt x="1020241" y="1546103"/>
                  </a:cubicBezTo>
                  <a:lnTo>
                    <a:pt x="1020241" y="1552084"/>
                  </a:lnTo>
                  <a:lnTo>
                    <a:pt x="1020241" y="1562077"/>
                  </a:lnTo>
                  <a:lnTo>
                    <a:pt x="1020241" y="1586076"/>
                  </a:lnTo>
                  <a:lnTo>
                    <a:pt x="1034943" y="1580095"/>
                  </a:lnTo>
                  <a:cubicBezTo>
                    <a:pt x="1035599" y="1578782"/>
                    <a:pt x="1036387" y="1577396"/>
                    <a:pt x="1037043" y="1576083"/>
                  </a:cubicBezTo>
                  <a:lnTo>
                    <a:pt x="1037043" y="1570101"/>
                  </a:lnTo>
                  <a:cubicBezTo>
                    <a:pt x="1036387" y="1565433"/>
                    <a:pt x="1035599" y="1560764"/>
                    <a:pt x="1034943" y="1556096"/>
                  </a:cubicBezTo>
                  <a:lnTo>
                    <a:pt x="1016040" y="1520134"/>
                  </a:lnTo>
                  <a:cubicBezTo>
                    <a:pt x="1013284" y="1516122"/>
                    <a:pt x="1010396" y="1512110"/>
                    <a:pt x="1007639" y="1508098"/>
                  </a:cubicBezTo>
                  <a:cubicBezTo>
                    <a:pt x="1004883" y="1504743"/>
                    <a:pt x="1001995" y="1501460"/>
                    <a:pt x="999238" y="1498105"/>
                  </a:cubicBezTo>
                  <a:cubicBezTo>
                    <a:pt x="995694" y="1495479"/>
                    <a:pt x="992281" y="1492780"/>
                    <a:pt x="988737" y="1490154"/>
                  </a:cubicBezTo>
                  <a:cubicBezTo>
                    <a:pt x="985192" y="1489498"/>
                    <a:pt x="981779" y="1488768"/>
                    <a:pt x="978235" y="1488112"/>
                  </a:cubicBezTo>
                  <a:lnTo>
                    <a:pt x="955001" y="1480161"/>
                  </a:lnTo>
                  <a:cubicBezTo>
                    <a:pt x="950800" y="1479504"/>
                    <a:pt x="946600" y="1478775"/>
                    <a:pt x="942399" y="1478118"/>
                  </a:cubicBezTo>
                  <a:cubicBezTo>
                    <a:pt x="938199" y="1475492"/>
                    <a:pt x="933998" y="1472793"/>
                    <a:pt x="929798" y="1470167"/>
                  </a:cubicBezTo>
                  <a:lnTo>
                    <a:pt x="908795" y="1458131"/>
                  </a:lnTo>
                  <a:lnTo>
                    <a:pt x="887792" y="1440187"/>
                  </a:lnTo>
                  <a:lnTo>
                    <a:pt x="868758" y="1420200"/>
                  </a:lnTo>
                  <a:cubicBezTo>
                    <a:pt x="866002" y="1416845"/>
                    <a:pt x="863114" y="1413562"/>
                    <a:pt x="860357" y="1410207"/>
                  </a:cubicBezTo>
                  <a:cubicBezTo>
                    <a:pt x="858913" y="1406195"/>
                    <a:pt x="857601" y="1402256"/>
                    <a:pt x="856157" y="1398244"/>
                  </a:cubicBezTo>
                  <a:cubicBezTo>
                    <a:pt x="852613" y="1391606"/>
                    <a:pt x="849200" y="1384895"/>
                    <a:pt x="845655" y="1378257"/>
                  </a:cubicBezTo>
                  <a:cubicBezTo>
                    <a:pt x="838698" y="1368264"/>
                    <a:pt x="831610" y="1358270"/>
                    <a:pt x="824653" y="1348277"/>
                  </a:cubicBezTo>
                  <a:cubicBezTo>
                    <a:pt x="821108" y="1344265"/>
                    <a:pt x="817696" y="1340253"/>
                    <a:pt x="814151" y="1336241"/>
                  </a:cubicBezTo>
                  <a:cubicBezTo>
                    <a:pt x="810607" y="1333615"/>
                    <a:pt x="807194" y="1330916"/>
                    <a:pt x="803650" y="1328290"/>
                  </a:cubicBezTo>
                  <a:cubicBezTo>
                    <a:pt x="802994" y="1327633"/>
                    <a:pt x="802206" y="1326904"/>
                    <a:pt x="801550" y="1326248"/>
                  </a:cubicBezTo>
                  <a:lnTo>
                    <a:pt x="795118" y="1326248"/>
                  </a:lnTo>
                  <a:cubicBezTo>
                    <a:pt x="794461" y="1326904"/>
                    <a:pt x="793674" y="1327633"/>
                    <a:pt x="793017" y="1328290"/>
                  </a:cubicBezTo>
                  <a:cubicBezTo>
                    <a:pt x="792361" y="1330259"/>
                    <a:pt x="791573" y="1332302"/>
                    <a:pt x="790917" y="1334271"/>
                  </a:cubicBezTo>
                  <a:lnTo>
                    <a:pt x="780416" y="1324278"/>
                  </a:lnTo>
                  <a:lnTo>
                    <a:pt x="765714" y="1318297"/>
                  </a:lnTo>
                  <a:lnTo>
                    <a:pt x="742611" y="1308303"/>
                  </a:lnTo>
                  <a:cubicBezTo>
                    <a:pt x="739066" y="1306990"/>
                    <a:pt x="735654" y="1305604"/>
                    <a:pt x="732109" y="1304291"/>
                  </a:cubicBezTo>
                  <a:lnTo>
                    <a:pt x="721608" y="1296267"/>
                  </a:lnTo>
                  <a:cubicBezTo>
                    <a:pt x="718064" y="1293641"/>
                    <a:pt x="714519" y="1290942"/>
                    <a:pt x="710975" y="1288316"/>
                  </a:cubicBezTo>
                  <a:cubicBezTo>
                    <a:pt x="708219" y="1283648"/>
                    <a:pt x="705331" y="1278979"/>
                    <a:pt x="702574" y="1274311"/>
                  </a:cubicBezTo>
                  <a:cubicBezTo>
                    <a:pt x="701130" y="1268986"/>
                    <a:pt x="699818" y="1263661"/>
                    <a:pt x="698374" y="1258336"/>
                  </a:cubicBezTo>
                  <a:lnTo>
                    <a:pt x="698374" y="1248343"/>
                  </a:lnTo>
                  <a:cubicBezTo>
                    <a:pt x="699030" y="1246373"/>
                    <a:pt x="699818" y="1244331"/>
                    <a:pt x="700474" y="1242361"/>
                  </a:cubicBezTo>
                  <a:lnTo>
                    <a:pt x="700474" y="1238349"/>
                  </a:lnTo>
                  <a:cubicBezTo>
                    <a:pt x="699818" y="1236380"/>
                    <a:pt x="699030" y="1234337"/>
                    <a:pt x="698374" y="1232368"/>
                  </a:cubicBezTo>
                  <a:lnTo>
                    <a:pt x="692073" y="1218362"/>
                  </a:lnTo>
                  <a:cubicBezTo>
                    <a:pt x="687216" y="1210995"/>
                    <a:pt x="682228" y="1203701"/>
                    <a:pt x="677371" y="1196333"/>
                  </a:cubicBezTo>
                  <a:lnTo>
                    <a:pt x="677914" y="1194362"/>
                  </a:lnTo>
                  <a:lnTo>
                    <a:pt x="677369" y="1194362"/>
                  </a:lnTo>
                  <a:lnTo>
                    <a:pt x="658436" y="1176326"/>
                  </a:lnTo>
                  <a:lnTo>
                    <a:pt x="647918" y="1170314"/>
                  </a:lnTo>
                  <a:lnTo>
                    <a:pt x="643711" y="1160294"/>
                  </a:lnTo>
                  <a:lnTo>
                    <a:pt x="635296" y="1152278"/>
                  </a:lnTo>
                  <a:lnTo>
                    <a:pt x="624778" y="1146266"/>
                  </a:lnTo>
                  <a:lnTo>
                    <a:pt x="614260" y="1140255"/>
                  </a:lnTo>
                  <a:lnTo>
                    <a:pt x="603741" y="1134243"/>
                  </a:lnTo>
                  <a:lnTo>
                    <a:pt x="597431" y="1126227"/>
                  </a:lnTo>
                  <a:lnTo>
                    <a:pt x="595327" y="1116207"/>
                  </a:lnTo>
                  <a:lnTo>
                    <a:pt x="591120" y="1096167"/>
                  </a:lnTo>
                  <a:lnTo>
                    <a:pt x="586912" y="1074123"/>
                  </a:lnTo>
                  <a:lnTo>
                    <a:pt x="584809" y="1058092"/>
                  </a:lnTo>
                  <a:lnTo>
                    <a:pt x="580601" y="1048072"/>
                  </a:lnTo>
                  <a:lnTo>
                    <a:pt x="576394" y="1040056"/>
                  </a:lnTo>
                  <a:lnTo>
                    <a:pt x="570083" y="1034044"/>
                  </a:lnTo>
                  <a:lnTo>
                    <a:pt x="563772" y="1030036"/>
                  </a:lnTo>
                  <a:lnTo>
                    <a:pt x="549047" y="1024024"/>
                  </a:lnTo>
                  <a:lnTo>
                    <a:pt x="530114" y="1020016"/>
                  </a:lnTo>
                  <a:lnTo>
                    <a:pt x="521700" y="1020016"/>
                  </a:lnTo>
                  <a:lnTo>
                    <a:pt x="517492" y="1012000"/>
                  </a:lnTo>
                  <a:lnTo>
                    <a:pt x="502767" y="993965"/>
                  </a:lnTo>
                  <a:lnTo>
                    <a:pt x="496456" y="973925"/>
                  </a:lnTo>
                  <a:lnTo>
                    <a:pt x="490145" y="959897"/>
                  </a:lnTo>
                  <a:lnTo>
                    <a:pt x="483834" y="943865"/>
                  </a:lnTo>
                  <a:lnTo>
                    <a:pt x="473316" y="929837"/>
                  </a:lnTo>
                  <a:lnTo>
                    <a:pt x="458590" y="913806"/>
                  </a:lnTo>
                  <a:lnTo>
                    <a:pt x="443865" y="901782"/>
                  </a:lnTo>
                  <a:lnTo>
                    <a:pt x="412310" y="877734"/>
                  </a:lnTo>
                  <a:lnTo>
                    <a:pt x="380756" y="857694"/>
                  </a:lnTo>
                  <a:lnTo>
                    <a:pt x="359719" y="847674"/>
                  </a:lnTo>
                  <a:lnTo>
                    <a:pt x="336579" y="835651"/>
                  </a:lnTo>
                  <a:lnTo>
                    <a:pt x="332372" y="829639"/>
                  </a:lnTo>
                  <a:lnTo>
                    <a:pt x="332372" y="825631"/>
                  </a:lnTo>
                  <a:lnTo>
                    <a:pt x="336579" y="819619"/>
                  </a:lnTo>
                  <a:lnTo>
                    <a:pt x="332372" y="815611"/>
                  </a:lnTo>
                  <a:lnTo>
                    <a:pt x="326061" y="807595"/>
                  </a:lnTo>
                  <a:lnTo>
                    <a:pt x="317647" y="801583"/>
                  </a:lnTo>
                  <a:lnTo>
                    <a:pt x="305025" y="791563"/>
                  </a:lnTo>
                  <a:lnTo>
                    <a:pt x="298714" y="785551"/>
                  </a:lnTo>
                  <a:lnTo>
                    <a:pt x="298714" y="765512"/>
                  </a:lnTo>
                  <a:lnTo>
                    <a:pt x="294507" y="721424"/>
                  </a:lnTo>
                  <a:lnTo>
                    <a:pt x="288196" y="705392"/>
                  </a:lnTo>
                  <a:lnTo>
                    <a:pt x="279781" y="687357"/>
                  </a:lnTo>
                  <a:lnTo>
                    <a:pt x="273470" y="669321"/>
                  </a:lnTo>
                  <a:lnTo>
                    <a:pt x="267159" y="651285"/>
                  </a:lnTo>
                  <a:lnTo>
                    <a:pt x="262952" y="627237"/>
                  </a:lnTo>
                  <a:lnTo>
                    <a:pt x="262952" y="615214"/>
                  </a:lnTo>
                  <a:lnTo>
                    <a:pt x="265056" y="613210"/>
                  </a:lnTo>
                  <a:lnTo>
                    <a:pt x="269263" y="609202"/>
                  </a:lnTo>
                  <a:lnTo>
                    <a:pt x="275574" y="609202"/>
                  </a:lnTo>
                  <a:lnTo>
                    <a:pt x="277678" y="607198"/>
                  </a:lnTo>
                  <a:lnTo>
                    <a:pt x="277678" y="603190"/>
                  </a:lnTo>
                  <a:lnTo>
                    <a:pt x="277678" y="595174"/>
                  </a:lnTo>
                  <a:lnTo>
                    <a:pt x="273470" y="585154"/>
                  </a:lnTo>
                  <a:lnTo>
                    <a:pt x="267159" y="579142"/>
                  </a:lnTo>
                  <a:lnTo>
                    <a:pt x="262952" y="579142"/>
                  </a:lnTo>
                  <a:lnTo>
                    <a:pt x="252434" y="579142"/>
                  </a:lnTo>
                  <a:lnTo>
                    <a:pt x="248227" y="577138"/>
                  </a:lnTo>
                  <a:lnTo>
                    <a:pt x="246123" y="575134"/>
                  </a:lnTo>
                  <a:lnTo>
                    <a:pt x="246123" y="567118"/>
                  </a:lnTo>
                  <a:lnTo>
                    <a:pt x="246123" y="557098"/>
                  </a:lnTo>
                  <a:lnTo>
                    <a:pt x="252434" y="547078"/>
                  </a:lnTo>
                  <a:lnTo>
                    <a:pt x="256641" y="537059"/>
                  </a:lnTo>
                  <a:lnTo>
                    <a:pt x="265056" y="529043"/>
                  </a:lnTo>
                  <a:lnTo>
                    <a:pt x="269263" y="525035"/>
                  </a:lnTo>
                  <a:lnTo>
                    <a:pt x="277678" y="523031"/>
                  </a:lnTo>
                  <a:lnTo>
                    <a:pt x="283988" y="525035"/>
                  </a:lnTo>
                  <a:lnTo>
                    <a:pt x="290299" y="529043"/>
                  </a:lnTo>
                  <a:lnTo>
                    <a:pt x="294507" y="535055"/>
                  </a:lnTo>
                  <a:lnTo>
                    <a:pt x="298714" y="537059"/>
                  </a:lnTo>
                  <a:lnTo>
                    <a:pt x="307128" y="539063"/>
                  </a:lnTo>
                  <a:lnTo>
                    <a:pt x="315543" y="539063"/>
                  </a:lnTo>
                  <a:lnTo>
                    <a:pt x="326061" y="533051"/>
                  </a:lnTo>
                  <a:lnTo>
                    <a:pt x="338683" y="523031"/>
                  </a:lnTo>
                  <a:lnTo>
                    <a:pt x="342890" y="509003"/>
                  </a:lnTo>
                  <a:lnTo>
                    <a:pt x="349201" y="496979"/>
                  </a:lnTo>
                  <a:lnTo>
                    <a:pt x="351305" y="484955"/>
                  </a:lnTo>
                  <a:lnTo>
                    <a:pt x="357616" y="458904"/>
                  </a:lnTo>
                  <a:lnTo>
                    <a:pt x="359719" y="446880"/>
                  </a:lnTo>
                  <a:lnTo>
                    <a:pt x="363927" y="436860"/>
                  </a:lnTo>
                  <a:lnTo>
                    <a:pt x="363927" y="438864"/>
                  </a:lnTo>
                  <a:lnTo>
                    <a:pt x="363927" y="442872"/>
                  </a:lnTo>
                  <a:lnTo>
                    <a:pt x="372341" y="444876"/>
                  </a:lnTo>
                  <a:lnTo>
                    <a:pt x="378652" y="446880"/>
                  </a:lnTo>
                  <a:lnTo>
                    <a:pt x="382859" y="452892"/>
                  </a:lnTo>
                  <a:lnTo>
                    <a:pt x="384963" y="458904"/>
                  </a:lnTo>
                  <a:lnTo>
                    <a:pt x="389170" y="452892"/>
                  </a:lnTo>
                  <a:lnTo>
                    <a:pt x="389170" y="444876"/>
                  </a:lnTo>
                  <a:lnTo>
                    <a:pt x="380756" y="430848"/>
                  </a:lnTo>
                  <a:lnTo>
                    <a:pt x="372341" y="432852"/>
                  </a:lnTo>
                  <a:lnTo>
                    <a:pt x="368134" y="432852"/>
                  </a:lnTo>
                  <a:lnTo>
                    <a:pt x="361823" y="426840"/>
                  </a:lnTo>
                  <a:lnTo>
                    <a:pt x="361823" y="422832"/>
                  </a:lnTo>
                  <a:lnTo>
                    <a:pt x="363927" y="412812"/>
                  </a:lnTo>
                  <a:lnTo>
                    <a:pt x="370238" y="400788"/>
                  </a:lnTo>
                  <a:lnTo>
                    <a:pt x="372341" y="384757"/>
                  </a:lnTo>
                  <a:lnTo>
                    <a:pt x="374445" y="382753"/>
                  </a:lnTo>
                  <a:lnTo>
                    <a:pt x="378652" y="382753"/>
                  </a:lnTo>
                  <a:lnTo>
                    <a:pt x="382859" y="382753"/>
                  </a:lnTo>
                  <a:lnTo>
                    <a:pt x="389170" y="382753"/>
                  </a:lnTo>
                  <a:lnTo>
                    <a:pt x="393378" y="376741"/>
                  </a:lnTo>
                  <a:lnTo>
                    <a:pt x="403896" y="370729"/>
                  </a:lnTo>
                  <a:lnTo>
                    <a:pt x="403896" y="364717"/>
                  </a:lnTo>
                  <a:lnTo>
                    <a:pt x="401792" y="356701"/>
                  </a:lnTo>
                  <a:lnTo>
                    <a:pt x="399689" y="366721"/>
                  </a:lnTo>
                  <a:lnTo>
                    <a:pt x="393378" y="372733"/>
                  </a:lnTo>
                  <a:lnTo>
                    <a:pt x="389170" y="374737"/>
                  </a:lnTo>
                  <a:lnTo>
                    <a:pt x="380756" y="374737"/>
                  </a:lnTo>
                  <a:lnTo>
                    <a:pt x="372341" y="370729"/>
                  </a:lnTo>
                  <a:lnTo>
                    <a:pt x="363927" y="364717"/>
                  </a:lnTo>
                  <a:lnTo>
                    <a:pt x="359719" y="356701"/>
                  </a:lnTo>
                  <a:lnTo>
                    <a:pt x="357616" y="346681"/>
                  </a:lnTo>
                  <a:lnTo>
                    <a:pt x="363927" y="334657"/>
                  </a:lnTo>
                  <a:lnTo>
                    <a:pt x="365838" y="333096"/>
                  </a:lnTo>
                  <a:lnTo>
                    <a:pt x="363920" y="332651"/>
                  </a:lnTo>
                  <a:lnTo>
                    <a:pt x="357607" y="344680"/>
                  </a:lnTo>
                  <a:cubicBezTo>
                    <a:pt x="352679" y="337339"/>
                    <a:pt x="347803" y="329962"/>
                    <a:pt x="342876" y="322621"/>
                  </a:cubicBezTo>
                  <a:lnTo>
                    <a:pt x="328144" y="294598"/>
                  </a:lnTo>
                  <a:lnTo>
                    <a:pt x="319778" y="282569"/>
                  </a:lnTo>
                  <a:lnTo>
                    <a:pt x="309255" y="272539"/>
                  </a:lnTo>
                  <a:lnTo>
                    <a:pt x="298733" y="262509"/>
                  </a:lnTo>
                  <a:lnTo>
                    <a:pt x="286106" y="254512"/>
                  </a:lnTo>
                  <a:lnTo>
                    <a:pt x="277688" y="252513"/>
                  </a:lnTo>
                  <a:cubicBezTo>
                    <a:pt x="276302" y="251823"/>
                    <a:pt x="274865" y="251169"/>
                    <a:pt x="273479" y="250479"/>
                  </a:cubicBezTo>
                  <a:lnTo>
                    <a:pt x="267166" y="252513"/>
                  </a:lnTo>
                  <a:lnTo>
                    <a:pt x="262957" y="254512"/>
                  </a:lnTo>
                  <a:lnTo>
                    <a:pt x="254539" y="260509"/>
                  </a:lnTo>
                  <a:lnTo>
                    <a:pt x="248226" y="262509"/>
                  </a:lnTo>
                  <a:lnTo>
                    <a:pt x="241912" y="264508"/>
                  </a:lnTo>
                  <a:lnTo>
                    <a:pt x="235599" y="264508"/>
                  </a:lnTo>
                  <a:lnTo>
                    <a:pt x="231390" y="264508"/>
                  </a:lnTo>
                  <a:lnTo>
                    <a:pt x="222972" y="260509"/>
                  </a:lnTo>
                  <a:lnTo>
                    <a:pt x="220867" y="260509"/>
                  </a:lnTo>
                  <a:lnTo>
                    <a:pt x="214554" y="260509"/>
                  </a:lnTo>
                  <a:lnTo>
                    <a:pt x="210345" y="262509"/>
                  </a:lnTo>
                  <a:lnTo>
                    <a:pt x="204032" y="268540"/>
                  </a:lnTo>
                  <a:lnTo>
                    <a:pt x="195614" y="272539"/>
                  </a:lnTo>
                  <a:lnTo>
                    <a:pt x="183038" y="272539"/>
                  </a:lnTo>
                  <a:lnTo>
                    <a:pt x="170411" y="270540"/>
                  </a:lnTo>
                  <a:lnTo>
                    <a:pt x="157784" y="264508"/>
                  </a:lnTo>
                  <a:lnTo>
                    <a:pt x="130426" y="252513"/>
                  </a:lnTo>
                  <a:lnTo>
                    <a:pt x="109381" y="242483"/>
                  </a:lnTo>
                  <a:lnTo>
                    <a:pt x="96755" y="232452"/>
                  </a:lnTo>
                  <a:lnTo>
                    <a:pt x="84128" y="220423"/>
                  </a:lnTo>
                  <a:lnTo>
                    <a:pt x="61030" y="196399"/>
                  </a:lnTo>
                  <a:lnTo>
                    <a:pt x="18940" y="142284"/>
                  </a:lnTo>
                  <a:cubicBezTo>
                    <a:pt x="17554" y="137596"/>
                    <a:pt x="16117" y="132943"/>
                    <a:pt x="14731" y="128255"/>
                  </a:cubicBezTo>
                  <a:cubicBezTo>
                    <a:pt x="13345" y="122258"/>
                    <a:pt x="11908" y="116226"/>
                    <a:pt x="10522" y="110229"/>
                  </a:cubicBezTo>
                  <a:lnTo>
                    <a:pt x="2104" y="96200"/>
                  </a:lnTo>
                  <a:cubicBezTo>
                    <a:pt x="1386" y="90858"/>
                    <a:pt x="719" y="85515"/>
                    <a:pt x="0" y="80172"/>
                  </a:cubicBezTo>
                  <a:lnTo>
                    <a:pt x="25254" y="80172"/>
                  </a:lnTo>
                  <a:lnTo>
                    <a:pt x="39985" y="80172"/>
                  </a:lnTo>
                  <a:lnTo>
                    <a:pt x="52612" y="78139"/>
                  </a:lnTo>
                  <a:cubicBezTo>
                    <a:pt x="53330" y="77484"/>
                    <a:pt x="53998" y="76795"/>
                    <a:pt x="54716" y="76140"/>
                  </a:cubicBezTo>
                  <a:cubicBezTo>
                    <a:pt x="55435" y="74141"/>
                    <a:pt x="56102" y="72141"/>
                    <a:pt x="56821" y="70142"/>
                  </a:cubicBezTo>
                  <a:cubicBezTo>
                    <a:pt x="56102" y="68798"/>
                    <a:pt x="55435" y="67488"/>
                    <a:pt x="54716" y="66144"/>
                  </a:cubicBezTo>
                  <a:lnTo>
                    <a:pt x="54716" y="62111"/>
                  </a:lnTo>
                  <a:lnTo>
                    <a:pt x="54716" y="60112"/>
                  </a:lnTo>
                  <a:lnTo>
                    <a:pt x="73605" y="58113"/>
                  </a:lnTo>
                  <a:lnTo>
                    <a:pt x="86232" y="58113"/>
                  </a:lnTo>
                  <a:lnTo>
                    <a:pt x="96755" y="56114"/>
                  </a:lnTo>
                  <a:lnTo>
                    <a:pt x="105172" y="52115"/>
                  </a:lnTo>
                  <a:cubicBezTo>
                    <a:pt x="105891" y="50116"/>
                    <a:pt x="106558" y="48083"/>
                    <a:pt x="107277" y="46084"/>
                  </a:cubicBezTo>
                  <a:lnTo>
                    <a:pt x="107277" y="38087"/>
                  </a:lnTo>
                  <a:cubicBezTo>
                    <a:pt x="107996" y="34744"/>
                    <a:pt x="108663" y="31400"/>
                    <a:pt x="109381" y="28057"/>
                  </a:cubicBezTo>
                  <a:lnTo>
                    <a:pt x="109381" y="3998"/>
                  </a:lnTo>
                  <a:close/>
                </a:path>
              </a:pathLst>
            </a:custGeom>
            <a:grpFill/>
            <a:ln w="3175" cmpd="sng">
              <a:solidFill>
                <a:schemeClr val="bg1"/>
              </a:solidFill>
              <a:prstDash val="solid"/>
              <a:round/>
              <a:headEnd/>
              <a:tailEnd/>
            </a:ln>
          </p:spPr>
          <p:txBody>
            <a:bodyPr wrap="none" anchor="ctr"/>
            <a:lstStyle/>
            <a:p>
              <a:pPr algn="ctr"/>
              <a:r>
                <a:rPr lang="en-US" sz="800" dirty="0">
                  <a:solidFill>
                    <a:prstClr val="black"/>
                  </a:solidFill>
                  <a:latin typeface="Franklin Gothic Book"/>
                  <a:ea typeface="MS PGothic" charset="0"/>
                  <a:cs typeface="MS PGothic" charset="0"/>
                </a:rPr>
                <a:t>Central</a:t>
              </a:r>
            </a:p>
            <a:p>
              <a:pPr algn="ctr"/>
              <a:r>
                <a:rPr lang="en-US" sz="800" dirty="0">
                  <a:solidFill>
                    <a:prstClr val="black"/>
                  </a:solidFill>
                  <a:latin typeface="Franklin Gothic Book"/>
                  <a:ea typeface="MS PGothic" charset="0"/>
                  <a:cs typeface="MS PGothic" charset="0"/>
                </a:rPr>
                <a:t>Coast</a:t>
              </a:r>
            </a:p>
          </p:txBody>
        </p:sp>
        <p:sp>
          <p:nvSpPr>
            <p:cNvPr id="23" name="Rectangle 14"/>
            <p:cNvSpPr/>
            <p:nvPr/>
          </p:nvSpPr>
          <p:spPr bwMode="auto">
            <a:xfrm>
              <a:off x="2572619" y="1546373"/>
              <a:ext cx="3832826" cy="5120141"/>
            </a:xfrm>
            <a:custGeom>
              <a:avLst/>
              <a:gdLst>
                <a:gd name="connsiteX0" fmla="*/ 2486754 w 3832826"/>
                <a:gd name="connsiteY0" fmla="*/ 4320555 h 5120141"/>
                <a:gd name="connsiteX1" fmla="*/ 2486673 w 3832826"/>
                <a:gd name="connsiteY1" fmla="*/ 4320556 h 5120141"/>
                <a:gd name="connsiteX2" fmla="*/ 2486754 w 3832826"/>
                <a:gd name="connsiteY2" fmla="*/ 4320556 h 5120141"/>
                <a:gd name="connsiteX3" fmla="*/ 2486754 w 3832826"/>
                <a:gd name="connsiteY3" fmla="*/ 4320555 h 5120141"/>
                <a:gd name="connsiteX4" fmla="*/ 1390471 w 3832826"/>
                <a:gd name="connsiteY4" fmla="*/ 1285217 h 5120141"/>
                <a:gd name="connsiteX5" fmla="*/ 1392579 w 3832826"/>
                <a:gd name="connsiteY5" fmla="*/ 1291180 h 5120141"/>
                <a:gd name="connsiteX6" fmla="*/ 1392579 w 3832826"/>
                <a:gd name="connsiteY6" fmla="*/ 1296597 h 5120141"/>
                <a:gd name="connsiteX7" fmla="*/ 1392608 w 3832826"/>
                <a:gd name="connsiteY7" fmla="*/ 1296570 h 5120141"/>
                <a:gd name="connsiteX8" fmla="*/ 1392608 w 3832826"/>
                <a:gd name="connsiteY8" fmla="*/ 1290558 h 5120141"/>
                <a:gd name="connsiteX9" fmla="*/ 1390739 w 3832826"/>
                <a:gd name="connsiteY9" fmla="*/ 1285217 h 5120141"/>
                <a:gd name="connsiteX10" fmla="*/ 1390471 w 3832826"/>
                <a:gd name="connsiteY10" fmla="*/ 1285217 h 5120141"/>
                <a:gd name="connsiteX11" fmla="*/ 1138708 w 3832826"/>
                <a:gd name="connsiteY11" fmla="*/ 844805 h 5120141"/>
                <a:gd name="connsiteX12" fmla="*/ 1135965 w 3832826"/>
                <a:gd name="connsiteY12" fmla="*/ 845676 h 5120141"/>
                <a:gd name="connsiteX13" fmla="*/ 1138389 w 3832826"/>
                <a:gd name="connsiteY13" fmla="*/ 850296 h 5120141"/>
                <a:gd name="connsiteX14" fmla="*/ 1142308 w 3832826"/>
                <a:gd name="connsiteY14" fmla="*/ 851593 h 5120141"/>
                <a:gd name="connsiteX15" fmla="*/ 1138708 w 3832826"/>
                <a:gd name="connsiteY15" fmla="*/ 844805 h 5120141"/>
                <a:gd name="connsiteX16" fmla="*/ 1142276 w 3832826"/>
                <a:gd name="connsiteY16" fmla="*/ 825637 h 5120141"/>
                <a:gd name="connsiteX17" fmla="*/ 1144379 w 3832826"/>
                <a:gd name="connsiteY17" fmla="*/ 833653 h 5120141"/>
                <a:gd name="connsiteX18" fmla="*/ 1144379 w 3832826"/>
                <a:gd name="connsiteY18" fmla="*/ 839665 h 5120141"/>
                <a:gd name="connsiteX19" fmla="*/ 1143167 w 3832826"/>
                <a:gd name="connsiteY19" fmla="*/ 841974 h 5120141"/>
                <a:gd name="connsiteX20" fmla="*/ 1144345 w 3832826"/>
                <a:gd name="connsiteY20" fmla="*/ 841587 h 5120141"/>
                <a:gd name="connsiteX21" fmla="*/ 1146453 w 3832826"/>
                <a:gd name="connsiteY21" fmla="*/ 837612 h 5120141"/>
                <a:gd name="connsiteX22" fmla="*/ 1146453 w 3832826"/>
                <a:gd name="connsiteY22" fmla="*/ 831649 h 5120141"/>
                <a:gd name="connsiteX23" fmla="*/ 1144873 w 3832826"/>
                <a:gd name="connsiteY23" fmla="*/ 825637 h 5120141"/>
                <a:gd name="connsiteX24" fmla="*/ 1142276 w 3832826"/>
                <a:gd name="connsiteY24" fmla="*/ 825637 h 5120141"/>
                <a:gd name="connsiteX25" fmla="*/ 401747 w 3832826"/>
                <a:gd name="connsiteY25" fmla="*/ 0 h 5120141"/>
                <a:gd name="connsiteX26" fmla="*/ 769965 w 3832826"/>
                <a:gd name="connsiteY26" fmla="*/ 0 h 5120141"/>
                <a:gd name="connsiteX27" fmla="*/ 1138058 w 3832826"/>
                <a:gd name="connsiteY27" fmla="*/ 0 h 5120141"/>
                <a:gd name="connsiteX28" fmla="*/ 1222254 w 3832826"/>
                <a:gd name="connsiteY28" fmla="*/ 0 h 5120141"/>
                <a:gd name="connsiteX29" fmla="*/ 1226445 w 3832826"/>
                <a:gd name="connsiteY29" fmla="*/ 140286 h 5120141"/>
                <a:gd name="connsiteX30" fmla="*/ 1228541 w 3832826"/>
                <a:gd name="connsiteY30" fmla="*/ 278570 h 5120141"/>
                <a:gd name="connsiteX31" fmla="*/ 1232732 w 3832826"/>
                <a:gd name="connsiteY31" fmla="*/ 414852 h 5120141"/>
                <a:gd name="connsiteX32" fmla="*/ 1228541 w 3832826"/>
                <a:gd name="connsiteY32" fmla="*/ 559142 h 5120141"/>
                <a:gd name="connsiteX33" fmla="*/ 1224350 w 3832826"/>
                <a:gd name="connsiteY33" fmla="*/ 559142 h 5120141"/>
                <a:gd name="connsiteX34" fmla="*/ 1224350 w 3832826"/>
                <a:gd name="connsiteY34" fmla="*/ 591173 h 5120141"/>
                <a:gd name="connsiteX35" fmla="*/ 1222254 w 3832826"/>
                <a:gd name="connsiteY35" fmla="*/ 591173 h 5120141"/>
                <a:gd name="connsiteX36" fmla="*/ 1194887 w 3832826"/>
                <a:gd name="connsiteY36" fmla="*/ 591173 h 5120141"/>
                <a:gd name="connsiteX37" fmla="*/ 1163329 w 3832826"/>
                <a:gd name="connsiteY37" fmla="*/ 591173 h 5120141"/>
                <a:gd name="connsiteX38" fmla="*/ 1108125 w 3832826"/>
                <a:gd name="connsiteY38" fmla="*/ 602727 h 5120141"/>
                <a:gd name="connsiteX39" fmla="*/ 1110721 w 3832826"/>
                <a:gd name="connsiteY39" fmla="*/ 605200 h 5120141"/>
                <a:gd name="connsiteX40" fmla="*/ 1119136 w 3832826"/>
                <a:gd name="connsiteY40" fmla="*/ 613216 h 5120141"/>
                <a:gd name="connsiteX41" fmla="*/ 1121239 w 3832826"/>
                <a:gd name="connsiteY41" fmla="*/ 621231 h 5120141"/>
                <a:gd name="connsiteX42" fmla="*/ 1123343 w 3832826"/>
                <a:gd name="connsiteY42" fmla="*/ 645279 h 5120141"/>
                <a:gd name="connsiteX43" fmla="*/ 1129654 w 3832826"/>
                <a:gd name="connsiteY43" fmla="*/ 657303 h 5120141"/>
                <a:gd name="connsiteX44" fmla="*/ 1140172 w 3832826"/>
                <a:gd name="connsiteY44" fmla="*/ 667323 h 5120141"/>
                <a:gd name="connsiteX45" fmla="*/ 1146483 w 3832826"/>
                <a:gd name="connsiteY45" fmla="*/ 673335 h 5120141"/>
                <a:gd name="connsiteX46" fmla="*/ 1161208 w 3832826"/>
                <a:gd name="connsiteY46" fmla="*/ 677343 h 5120141"/>
                <a:gd name="connsiteX47" fmla="*/ 1184348 w 3832826"/>
                <a:gd name="connsiteY47" fmla="*/ 683355 h 5120141"/>
                <a:gd name="connsiteX48" fmla="*/ 1194866 w 3832826"/>
                <a:gd name="connsiteY48" fmla="*/ 687363 h 5120141"/>
                <a:gd name="connsiteX49" fmla="*/ 1205385 w 3832826"/>
                <a:gd name="connsiteY49" fmla="*/ 693375 h 5120141"/>
                <a:gd name="connsiteX50" fmla="*/ 1209592 w 3832826"/>
                <a:gd name="connsiteY50" fmla="*/ 703394 h 5120141"/>
                <a:gd name="connsiteX51" fmla="*/ 1213799 w 3832826"/>
                <a:gd name="connsiteY51" fmla="*/ 715418 h 5120141"/>
                <a:gd name="connsiteX52" fmla="*/ 1199074 w 3832826"/>
                <a:gd name="connsiteY52" fmla="*/ 715418 h 5120141"/>
                <a:gd name="connsiteX53" fmla="*/ 1196970 w 3832826"/>
                <a:gd name="connsiteY53" fmla="*/ 715418 h 5120141"/>
                <a:gd name="connsiteX54" fmla="*/ 1196970 w 3832826"/>
                <a:gd name="connsiteY54" fmla="*/ 717422 h 5120141"/>
                <a:gd name="connsiteX55" fmla="*/ 1203281 w 3832826"/>
                <a:gd name="connsiteY55" fmla="*/ 725438 h 5120141"/>
                <a:gd name="connsiteX56" fmla="*/ 1205385 w 3832826"/>
                <a:gd name="connsiteY56" fmla="*/ 733454 h 5120141"/>
                <a:gd name="connsiteX57" fmla="*/ 1207488 w 3832826"/>
                <a:gd name="connsiteY57" fmla="*/ 751490 h 5120141"/>
                <a:gd name="connsiteX58" fmla="*/ 1207488 w 3832826"/>
                <a:gd name="connsiteY58" fmla="*/ 763514 h 5120141"/>
                <a:gd name="connsiteX59" fmla="*/ 1199074 w 3832826"/>
                <a:gd name="connsiteY59" fmla="*/ 773533 h 5120141"/>
                <a:gd name="connsiteX60" fmla="*/ 1188556 w 3832826"/>
                <a:gd name="connsiteY60" fmla="*/ 785557 h 5120141"/>
                <a:gd name="connsiteX61" fmla="*/ 1175934 w 3832826"/>
                <a:gd name="connsiteY61" fmla="*/ 793573 h 5120141"/>
                <a:gd name="connsiteX62" fmla="*/ 1161208 w 3832826"/>
                <a:gd name="connsiteY62" fmla="*/ 801589 h 5120141"/>
                <a:gd name="connsiteX63" fmla="*/ 1154897 w 3832826"/>
                <a:gd name="connsiteY63" fmla="*/ 803593 h 5120141"/>
                <a:gd name="connsiteX64" fmla="*/ 1150690 w 3832826"/>
                <a:gd name="connsiteY64" fmla="*/ 811609 h 5120141"/>
                <a:gd name="connsiteX65" fmla="*/ 1150690 w 3832826"/>
                <a:gd name="connsiteY65" fmla="*/ 817621 h 5120141"/>
                <a:gd name="connsiteX66" fmla="*/ 1153844 w 3832826"/>
                <a:gd name="connsiteY66" fmla="*/ 823631 h 5120141"/>
                <a:gd name="connsiteX67" fmla="*/ 1156992 w 3832826"/>
                <a:gd name="connsiteY67" fmla="*/ 823631 h 5120141"/>
                <a:gd name="connsiteX68" fmla="*/ 1165424 w 3832826"/>
                <a:gd name="connsiteY68" fmla="*/ 823631 h 5120141"/>
                <a:gd name="connsiteX69" fmla="*/ 1169639 w 3832826"/>
                <a:gd name="connsiteY69" fmla="*/ 827606 h 5120141"/>
                <a:gd name="connsiteX70" fmla="*/ 1173855 w 3832826"/>
                <a:gd name="connsiteY70" fmla="*/ 833637 h 5120141"/>
                <a:gd name="connsiteX71" fmla="*/ 1173855 w 3832826"/>
                <a:gd name="connsiteY71" fmla="*/ 841587 h 5120141"/>
                <a:gd name="connsiteX72" fmla="*/ 1173855 w 3832826"/>
                <a:gd name="connsiteY72" fmla="*/ 855568 h 5120141"/>
                <a:gd name="connsiteX73" fmla="*/ 1169639 w 3832826"/>
                <a:gd name="connsiteY73" fmla="*/ 871605 h 5120141"/>
                <a:gd name="connsiteX74" fmla="*/ 1184324 w 3832826"/>
                <a:gd name="connsiteY74" fmla="*/ 867562 h 5120141"/>
                <a:gd name="connsiteX75" fmla="*/ 1180108 w 3832826"/>
                <a:gd name="connsiteY75" fmla="*/ 877568 h 5120141"/>
                <a:gd name="connsiteX76" fmla="*/ 1188540 w 3832826"/>
                <a:gd name="connsiteY76" fmla="*/ 877568 h 5120141"/>
                <a:gd name="connsiteX77" fmla="*/ 1194863 w 3832826"/>
                <a:gd name="connsiteY77" fmla="*/ 885587 h 5120141"/>
                <a:gd name="connsiteX78" fmla="*/ 1196971 w 3832826"/>
                <a:gd name="connsiteY78" fmla="*/ 895593 h 5120141"/>
                <a:gd name="connsiteX79" fmla="*/ 1188540 w 3832826"/>
                <a:gd name="connsiteY79" fmla="*/ 895593 h 5120141"/>
                <a:gd name="connsiteX80" fmla="*/ 1190648 w 3832826"/>
                <a:gd name="connsiteY80" fmla="*/ 903543 h 5120141"/>
                <a:gd name="connsiteX81" fmla="*/ 1188540 w 3832826"/>
                <a:gd name="connsiteY81" fmla="*/ 907518 h 5120141"/>
                <a:gd name="connsiteX82" fmla="*/ 1184324 w 3832826"/>
                <a:gd name="connsiteY82" fmla="*/ 913549 h 5120141"/>
                <a:gd name="connsiteX83" fmla="*/ 1175963 w 3832826"/>
                <a:gd name="connsiteY83" fmla="*/ 917524 h 5120141"/>
                <a:gd name="connsiteX84" fmla="*/ 1169639 w 3832826"/>
                <a:gd name="connsiteY84" fmla="*/ 923555 h 5120141"/>
                <a:gd name="connsiteX85" fmla="*/ 1163316 w 3832826"/>
                <a:gd name="connsiteY85" fmla="*/ 933493 h 5120141"/>
                <a:gd name="connsiteX86" fmla="*/ 1163316 w 3832826"/>
                <a:gd name="connsiteY86" fmla="*/ 941512 h 5120141"/>
                <a:gd name="connsiteX87" fmla="*/ 1159100 w 3832826"/>
                <a:gd name="connsiteY87" fmla="*/ 947543 h 5120141"/>
                <a:gd name="connsiteX88" fmla="*/ 1167532 w 3832826"/>
                <a:gd name="connsiteY88" fmla="*/ 947543 h 5120141"/>
                <a:gd name="connsiteX89" fmla="*/ 1165424 w 3832826"/>
                <a:gd name="connsiteY89" fmla="*/ 963511 h 5120141"/>
                <a:gd name="connsiteX90" fmla="*/ 1167532 w 3832826"/>
                <a:gd name="connsiteY90" fmla="*/ 975505 h 5120141"/>
                <a:gd name="connsiteX91" fmla="*/ 1167532 w 3832826"/>
                <a:gd name="connsiteY91" fmla="*/ 991474 h 5120141"/>
                <a:gd name="connsiteX92" fmla="*/ 1167532 w 3832826"/>
                <a:gd name="connsiteY92" fmla="*/ 1007443 h 5120141"/>
                <a:gd name="connsiteX93" fmla="*/ 1169639 w 3832826"/>
                <a:gd name="connsiteY93" fmla="*/ 1011486 h 5120141"/>
                <a:gd name="connsiteX94" fmla="*/ 1173855 w 3832826"/>
                <a:gd name="connsiteY94" fmla="*/ 1015461 h 5120141"/>
                <a:gd name="connsiteX95" fmla="*/ 1169639 w 3832826"/>
                <a:gd name="connsiteY95" fmla="*/ 1021424 h 5120141"/>
                <a:gd name="connsiteX96" fmla="*/ 1167532 w 3832826"/>
                <a:gd name="connsiteY96" fmla="*/ 1021424 h 5120141"/>
                <a:gd name="connsiteX97" fmla="*/ 1163316 w 3832826"/>
                <a:gd name="connsiteY97" fmla="*/ 1021424 h 5120141"/>
                <a:gd name="connsiteX98" fmla="*/ 1159100 w 3832826"/>
                <a:gd name="connsiteY98" fmla="*/ 1027455 h 5120141"/>
                <a:gd name="connsiteX99" fmla="*/ 1163316 w 3832826"/>
                <a:gd name="connsiteY99" fmla="*/ 1033418 h 5120141"/>
                <a:gd name="connsiteX100" fmla="*/ 1167532 w 3832826"/>
                <a:gd name="connsiteY100" fmla="*/ 1037461 h 5120141"/>
                <a:gd name="connsiteX101" fmla="*/ 1169639 w 3832826"/>
                <a:gd name="connsiteY101" fmla="*/ 1047399 h 5120141"/>
                <a:gd name="connsiteX102" fmla="*/ 1173855 w 3832826"/>
                <a:gd name="connsiteY102" fmla="*/ 1059393 h 5120141"/>
                <a:gd name="connsiteX103" fmla="*/ 1186432 w 3832826"/>
                <a:gd name="connsiteY103" fmla="*/ 1057405 h 5120141"/>
                <a:gd name="connsiteX104" fmla="*/ 1184324 w 3832826"/>
                <a:gd name="connsiteY104" fmla="*/ 1065424 h 5120141"/>
                <a:gd name="connsiteX105" fmla="*/ 1194863 w 3832826"/>
                <a:gd name="connsiteY105" fmla="*/ 1063436 h 5120141"/>
                <a:gd name="connsiteX106" fmla="*/ 1201187 w 3832826"/>
                <a:gd name="connsiteY106" fmla="*/ 1065424 h 5120141"/>
                <a:gd name="connsiteX107" fmla="*/ 1205403 w 3832826"/>
                <a:gd name="connsiteY107" fmla="*/ 1073374 h 5120141"/>
                <a:gd name="connsiteX108" fmla="*/ 1205403 w 3832826"/>
                <a:gd name="connsiteY108" fmla="*/ 1083380 h 5120141"/>
                <a:gd name="connsiteX109" fmla="*/ 1209618 w 3832826"/>
                <a:gd name="connsiteY109" fmla="*/ 1083380 h 5120141"/>
                <a:gd name="connsiteX110" fmla="*/ 1209618 w 3832826"/>
                <a:gd name="connsiteY110" fmla="*/ 1095374 h 5120141"/>
                <a:gd name="connsiteX111" fmla="*/ 1220087 w 3832826"/>
                <a:gd name="connsiteY111" fmla="*/ 1097361 h 5120141"/>
                <a:gd name="connsiteX112" fmla="*/ 1226411 w 3832826"/>
                <a:gd name="connsiteY112" fmla="*/ 1103392 h 5120141"/>
                <a:gd name="connsiteX113" fmla="*/ 1232734 w 3832826"/>
                <a:gd name="connsiteY113" fmla="*/ 1115386 h 5120141"/>
                <a:gd name="connsiteX114" fmla="*/ 1241166 w 3832826"/>
                <a:gd name="connsiteY114" fmla="*/ 1113330 h 5120141"/>
                <a:gd name="connsiteX115" fmla="*/ 1247489 w 3832826"/>
                <a:gd name="connsiteY115" fmla="*/ 1119361 h 5120141"/>
                <a:gd name="connsiteX116" fmla="*/ 1249527 w 3832826"/>
                <a:gd name="connsiteY116" fmla="*/ 1127311 h 5120141"/>
                <a:gd name="connsiteX117" fmla="*/ 1262174 w 3832826"/>
                <a:gd name="connsiteY117" fmla="*/ 1137317 h 5120141"/>
                <a:gd name="connsiteX118" fmla="*/ 1274821 w 3832826"/>
                <a:gd name="connsiteY118" fmla="*/ 1147324 h 5120141"/>
                <a:gd name="connsiteX119" fmla="*/ 1291613 w 3832826"/>
                <a:gd name="connsiteY119" fmla="*/ 1159317 h 5120141"/>
                <a:gd name="connsiteX120" fmla="*/ 1293721 w 3832826"/>
                <a:gd name="connsiteY120" fmla="*/ 1165280 h 5120141"/>
                <a:gd name="connsiteX121" fmla="*/ 1295829 w 3832826"/>
                <a:gd name="connsiteY121" fmla="*/ 1173299 h 5120141"/>
                <a:gd name="connsiteX122" fmla="*/ 1306368 w 3832826"/>
                <a:gd name="connsiteY122" fmla="*/ 1173299 h 5120141"/>
                <a:gd name="connsiteX123" fmla="*/ 1312692 w 3832826"/>
                <a:gd name="connsiteY123" fmla="*/ 1177274 h 5120141"/>
                <a:gd name="connsiteX124" fmla="*/ 1314800 w 3832826"/>
                <a:gd name="connsiteY124" fmla="*/ 1185292 h 5120141"/>
                <a:gd name="connsiteX125" fmla="*/ 1312692 w 3832826"/>
                <a:gd name="connsiteY125" fmla="*/ 1195299 h 5120141"/>
                <a:gd name="connsiteX126" fmla="*/ 1321053 w 3832826"/>
                <a:gd name="connsiteY126" fmla="*/ 1193311 h 5120141"/>
                <a:gd name="connsiteX127" fmla="*/ 1323161 w 3832826"/>
                <a:gd name="connsiteY127" fmla="*/ 1195299 h 5120141"/>
                <a:gd name="connsiteX128" fmla="*/ 1325269 w 3832826"/>
                <a:gd name="connsiteY128" fmla="*/ 1199274 h 5120141"/>
                <a:gd name="connsiteX129" fmla="*/ 1325269 w 3832826"/>
                <a:gd name="connsiteY129" fmla="*/ 1205305 h 5120141"/>
                <a:gd name="connsiteX130" fmla="*/ 1337916 w 3832826"/>
                <a:gd name="connsiteY130" fmla="*/ 1205305 h 5120141"/>
                <a:gd name="connsiteX131" fmla="*/ 1337916 w 3832826"/>
                <a:gd name="connsiteY131" fmla="*/ 1217230 h 5120141"/>
                <a:gd name="connsiteX132" fmla="*/ 1344239 w 3832826"/>
                <a:gd name="connsiteY132" fmla="*/ 1215242 h 5120141"/>
                <a:gd name="connsiteX133" fmla="*/ 1344239 w 3832826"/>
                <a:gd name="connsiteY133" fmla="*/ 1219286 h 5120141"/>
                <a:gd name="connsiteX134" fmla="*/ 1346347 w 3832826"/>
                <a:gd name="connsiteY134" fmla="*/ 1219286 h 5120141"/>
                <a:gd name="connsiteX135" fmla="*/ 1352671 w 3832826"/>
                <a:gd name="connsiteY135" fmla="*/ 1223261 h 5120141"/>
                <a:gd name="connsiteX136" fmla="*/ 1352671 w 3832826"/>
                <a:gd name="connsiteY136" fmla="*/ 1227236 h 5120141"/>
                <a:gd name="connsiteX137" fmla="*/ 1358924 w 3832826"/>
                <a:gd name="connsiteY137" fmla="*/ 1227236 h 5120141"/>
                <a:gd name="connsiteX138" fmla="*/ 1365247 w 3832826"/>
                <a:gd name="connsiteY138" fmla="*/ 1235255 h 5120141"/>
                <a:gd name="connsiteX139" fmla="*/ 1365247 w 3832826"/>
                <a:gd name="connsiteY139" fmla="*/ 1241217 h 5120141"/>
                <a:gd name="connsiteX140" fmla="*/ 1365247 w 3832826"/>
                <a:gd name="connsiteY140" fmla="*/ 1251223 h 5120141"/>
                <a:gd name="connsiteX141" fmla="*/ 1369463 w 3832826"/>
                <a:gd name="connsiteY141" fmla="*/ 1249236 h 5120141"/>
                <a:gd name="connsiteX142" fmla="*/ 1375787 w 3832826"/>
                <a:gd name="connsiteY142" fmla="*/ 1251223 h 5120141"/>
                <a:gd name="connsiteX143" fmla="*/ 1377895 w 3832826"/>
                <a:gd name="connsiteY143" fmla="*/ 1255199 h 5120141"/>
                <a:gd name="connsiteX144" fmla="*/ 1377895 w 3832826"/>
                <a:gd name="connsiteY144" fmla="*/ 1259242 h 5120141"/>
                <a:gd name="connsiteX145" fmla="*/ 1396795 w 3832826"/>
                <a:gd name="connsiteY145" fmla="*/ 1257255 h 5120141"/>
                <a:gd name="connsiteX146" fmla="*/ 1398903 w 3832826"/>
                <a:gd name="connsiteY146" fmla="*/ 1275211 h 5120141"/>
                <a:gd name="connsiteX147" fmla="*/ 1407333 w 3832826"/>
                <a:gd name="connsiteY147" fmla="*/ 1271236 h 5120141"/>
                <a:gd name="connsiteX148" fmla="*/ 1407333 w 3832826"/>
                <a:gd name="connsiteY148" fmla="*/ 1270518 h 5120141"/>
                <a:gd name="connsiteX149" fmla="*/ 1453613 w 3832826"/>
                <a:gd name="connsiteY149" fmla="*/ 1244467 h 5120141"/>
                <a:gd name="connsiteX150" fmla="*/ 1459924 w 3832826"/>
                <a:gd name="connsiteY150" fmla="*/ 1274526 h 5120141"/>
                <a:gd name="connsiteX151" fmla="*/ 1459924 w 3832826"/>
                <a:gd name="connsiteY151" fmla="*/ 1290558 h 5120141"/>
                <a:gd name="connsiteX152" fmla="*/ 1455717 w 3832826"/>
                <a:gd name="connsiteY152" fmla="*/ 1304586 h 5120141"/>
                <a:gd name="connsiteX153" fmla="*/ 1453613 w 3832826"/>
                <a:gd name="connsiteY153" fmla="*/ 1308594 h 5120141"/>
                <a:gd name="connsiteX154" fmla="*/ 1449406 w 3832826"/>
                <a:gd name="connsiteY154" fmla="*/ 1310598 h 5120141"/>
                <a:gd name="connsiteX155" fmla="*/ 1440991 w 3832826"/>
                <a:gd name="connsiteY155" fmla="*/ 1316610 h 5120141"/>
                <a:gd name="connsiteX156" fmla="*/ 1434680 w 3832826"/>
                <a:gd name="connsiteY156" fmla="*/ 1318614 h 5120141"/>
                <a:gd name="connsiteX157" fmla="*/ 1432577 w 3832826"/>
                <a:gd name="connsiteY157" fmla="*/ 1320618 h 5120141"/>
                <a:gd name="connsiteX158" fmla="*/ 1430473 w 3832826"/>
                <a:gd name="connsiteY158" fmla="*/ 1326630 h 5120141"/>
                <a:gd name="connsiteX159" fmla="*/ 1430473 w 3832826"/>
                <a:gd name="connsiteY159" fmla="*/ 1334645 h 5120141"/>
                <a:gd name="connsiteX160" fmla="*/ 1434680 w 3832826"/>
                <a:gd name="connsiteY160" fmla="*/ 1338653 h 5120141"/>
                <a:gd name="connsiteX161" fmla="*/ 1440991 w 3832826"/>
                <a:gd name="connsiteY161" fmla="*/ 1350677 h 5120141"/>
                <a:gd name="connsiteX162" fmla="*/ 1443095 w 3832826"/>
                <a:gd name="connsiteY162" fmla="*/ 1366709 h 5120141"/>
                <a:gd name="connsiteX163" fmla="*/ 1443095 w 3832826"/>
                <a:gd name="connsiteY163" fmla="*/ 1380737 h 5120141"/>
                <a:gd name="connsiteX164" fmla="*/ 1445199 w 3832826"/>
                <a:gd name="connsiteY164" fmla="*/ 1436848 h 5120141"/>
                <a:gd name="connsiteX165" fmla="*/ 1422059 w 3832826"/>
                <a:gd name="connsiteY165" fmla="*/ 1436848 h 5120141"/>
                <a:gd name="connsiteX166" fmla="*/ 1403126 w 3832826"/>
                <a:gd name="connsiteY166" fmla="*/ 1438852 h 5120141"/>
                <a:gd name="connsiteX167" fmla="*/ 1392608 w 3832826"/>
                <a:gd name="connsiteY167" fmla="*/ 1440856 h 5120141"/>
                <a:gd name="connsiteX168" fmla="*/ 1382089 w 3832826"/>
                <a:gd name="connsiteY168" fmla="*/ 1444864 h 5120141"/>
                <a:gd name="connsiteX169" fmla="*/ 1375779 w 3832826"/>
                <a:gd name="connsiteY169" fmla="*/ 1448872 h 5120141"/>
                <a:gd name="connsiteX170" fmla="*/ 1367364 w 3832826"/>
                <a:gd name="connsiteY170" fmla="*/ 1456888 h 5120141"/>
                <a:gd name="connsiteX171" fmla="*/ 1358949 w 3832826"/>
                <a:gd name="connsiteY171" fmla="*/ 1462900 h 5120141"/>
                <a:gd name="connsiteX172" fmla="*/ 1354742 w 3832826"/>
                <a:gd name="connsiteY172" fmla="*/ 1472920 h 5120141"/>
                <a:gd name="connsiteX173" fmla="*/ 1348431 w 3832826"/>
                <a:gd name="connsiteY173" fmla="*/ 1480935 h 5120141"/>
                <a:gd name="connsiteX174" fmla="*/ 1344224 w 3832826"/>
                <a:gd name="connsiteY174" fmla="*/ 1482939 h 5120141"/>
                <a:gd name="connsiteX175" fmla="*/ 1342120 w 3832826"/>
                <a:gd name="connsiteY175" fmla="*/ 1482939 h 5120141"/>
                <a:gd name="connsiteX176" fmla="*/ 1333706 w 3832826"/>
                <a:gd name="connsiteY176" fmla="*/ 1480935 h 5120141"/>
                <a:gd name="connsiteX177" fmla="*/ 1327395 w 3832826"/>
                <a:gd name="connsiteY177" fmla="*/ 1482939 h 5120141"/>
                <a:gd name="connsiteX178" fmla="*/ 1325291 w 3832826"/>
                <a:gd name="connsiteY178" fmla="*/ 1488951 h 5120141"/>
                <a:gd name="connsiteX179" fmla="*/ 1323188 w 3832826"/>
                <a:gd name="connsiteY179" fmla="*/ 1492959 h 5120141"/>
                <a:gd name="connsiteX180" fmla="*/ 1321084 w 3832826"/>
                <a:gd name="connsiteY180" fmla="*/ 1506987 h 5120141"/>
                <a:gd name="connsiteX181" fmla="*/ 1316877 w 3832826"/>
                <a:gd name="connsiteY181" fmla="*/ 1512999 h 5120141"/>
                <a:gd name="connsiteX182" fmla="*/ 1310566 w 3832826"/>
                <a:gd name="connsiteY182" fmla="*/ 1521015 h 5120141"/>
                <a:gd name="connsiteX183" fmla="*/ 1304255 w 3832826"/>
                <a:gd name="connsiteY183" fmla="*/ 1523019 h 5120141"/>
                <a:gd name="connsiteX184" fmla="*/ 1293737 w 3832826"/>
                <a:gd name="connsiteY184" fmla="*/ 1529031 h 5120141"/>
                <a:gd name="connsiteX185" fmla="*/ 1281115 w 3832826"/>
                <a:gd name="connsiteY185" fmla="*/ 1529031 h 5120141"/>
                <a:gd name="connsiteX186" fmla="*/ 1279011 w 3832826"/>
                <a:gd name="connsiteY186" fmla="*/ 1531035 h 5120141"/>
                <a:gd name="connsiteX187" fmla="*/ 1274804 w 3832826"/>
                <a:gd name="connsiteY187" fmla="*/ 1537046 h 5120141"/>
                <a:gd name="connsiteX188" fmla="*/ 1272700 w 3832826"/>
                <a:gd name="connsiteY188" fmla="*/ 1547066 h 5120141"/>
                <a:gd name="connsiteX189" fmla="*/ 1270597 w 3832826"/>
                <a:gd name="connsiteY189" fmla="*/ 1559090 h 5120141"/>
                <a:gd name="connsiteX190" fmla="*/ 1264286 w 3832826"/>
                <a:gd name="connsiteY190" fmla="*/ 1569110 h 5120141"/>
                <a:gd name="connsiteX191" fmla="*/ 1262182 w 3832826"/>
                <a:gd name="connsiteY191" fmla="*/ 1569110 h 5120141"/>
                <a:gd name="connsiteX192" fmla="*/ 1262182 w 3832826"/>
                <a:gd name="connsiteY192" fmla="*/ 1573118 h 5120141"/>
                <a:gd name="connsiteX193" fmla="*/ 1260078 w 3832826"/>
                <a:gd name="connsiteY193" fmla="*/ 1579130 h 5120141"/>
                <a:gd name="connsiteX194" fmla="*/ 1260078 w 3832826"/>
                <a:gd name="connsiteY194" fmla="*/ 1599170 h 5120141"/>
                <a:gd name="connsiteX195" fmla="*/ 1260078 w 3832826"/>
                <a:gd name="connsiteY195" fmla="*/ 1633237 h 5120141"/>
                <a:gd name="connsiteX196" fmla="*/ 1260078 w 3832826"/>
                <a:gd name="connsiteY196" fmla="*/ 1679328 h 5120141"/>
                <a:gd name="connsiteX197" fmla="*/ 1258254 w 3832826"/>
                <a:gd name="connsiteY197" fmla="*/ 1717574 h 5120141"/>
                <a:gd name="connsiteX198" fmla="*/ 1279014 w 3832826"/>
                <a:gd name="connsiteY198" fmla="*/ 1732471 h 5120141"/>
                <a:gd name="connsiteX199" fmla="*/ 1302154 w 3832826"/>
                <a:gd name="connsiteY199" fmla="*/ 1736462 h 5120141"/>
                <a:gd name="connsiteX200" fmla="*/ 1312672 w 3832826"/>
                <a:gd name="connsiteY200" fmla="*/ 1736462 h 5120141"/>
                <a:gd name="connsiteX201" fmla="*/ 1323191 w 3832826"/>
                <a:gd name="connsiteY201" fmla="*/ 1734466 h 5120141"/>
                <a:gd name="connsiteX202" fmla="*/ 1337916 w 3832826"/>
                <a:gd name="connsiteY202" fmla="*/ 1732471 h 5120141"/>
                <a:gd name="connsiteX203" fmla="*/ 1350538 w 3832826"/>
                <a:gd name="connsiteY203" fmla="*/ 1726484 h 5120141"/>
                <a:gd name="connsiteX204" fmla="*/ 1354745 w 3832826"/>
                <a:gd name="connsiteY204" fmla="*/ 1726484 h 5120141"/>
                <a:gd name="connsiteX205" fmla="*/ 1365263 w 3832826"/>
                <a:gd name="connsiteY205" fmla="*/ 1730475 h 5120141"/>
                <a:gd name="connsiteX206" fmla="*/ 1394714 w 3832826"/>
                <a:gd name="connsiteY206" fmla="*/ 1742449 h 5120141"/>
                <a:gd name="connsiteX207" fmla="*/ 1407336 w 3832826"/>
                <a:gd name="connsiteY207" fmla="*/ 1744445 h 5120141"/>
                <a:gd name="connsiteX208" fmla="*/ 1419958 w 3832826"/>
                <a:gd name="connsiteY208" fmla="*/ 1746440 h 5120141"/>
                <a:gd name="connsiteX209" fmla="*/ 1426269 w 3832826"/>
                <a:gd name="connsiteY209" fmla="*/ 1744445 h 5120141"/>
                <a:gd name="connsiteX210" fmla="*/ 1430476 w 3832826"/>
                <a:gd name="connsiteY210" fmla="*/ 1742449 h 5120141"/>
                <a:gd name="connsiteX211" fmla="*/ 1430476 w 3832826"/>
                <a:gd name="connsiteY211" fmla="*/ 1740453 h 5120141"/>
                <a:gd name="connsiteX212" fmla="*/ 1434684 w 3832826"/>
                <a:gd name="connsiteY212" fmla="*/ 1734466 h 5120141"/>
                <a:gd name="connsiteX213" fmla="*/ 1434684 w 3832826"/>
                <a:gd name="connsiteY213" fmla="*/ 1726484 h 5120141"/>
                <a:gd name="connsiteX214" fmla="*/ 1436787 w 3832826"/>
                <a:gd name="connsiteY214" fmla="*/ 1722493 h 5120141"/>
                <a:gd name="connsiteX215" fmla="*/ 1445202 w 3832826"/>
                <a:gd name="connsiteY215" fmla="*/ 1712514 h 5120141"/>
                <a:gd name="connsiteX216" fmla="*/ 1455720 w 3832826"/>
                <a:gd name="connsiteY216" fmla="*/ 1704532 h 5120141"/>
                <a:gd name="connsiteX217" fmla="*/ 1462031 w 3832826"/>
                <a:gd name="connsiteY217" fmla="*/ 1694553 h 5120141"/>
                <a:gd name="connsiteX218" fmla="*/ 1462031 w 3832826"/>
                <a:gd name="connsiteY218" fmla="*/ 1684575 h 5120141"/>
                <a:gd name="connsiteX219" fmla="*/ 1466238 w 3832826"/>
                <a:gd name="connsiteY219" fmla="*/ 1676592 h 5120141"/>
                <a:gd name="connsiteX220" fmla="*/ 1472549 w 3832826"/>
                <a:gd name="connsiteY220" fmla="*/ 1666614 h 5120141"/>
                <a:gd name="connsiteX221" fmla="*/ 1483067 w 3832826"/>
                <a:gd name="connsiteY221" fmla="*/ 1652645 h 5120141"/>
                <a:gd name="connsiteX222" fmla="*/ 1497793 w 3832826"/>
                <a:gd name="connsiteY222" fmla="*/ 1638675 h 5120141"/>
                <a:gd name="connsiteX223" fmla="*/ 1510415 w 3832826"/>
                <a:gd name="connsiteY223" fmla="*/ 1624705 h 5120141"/>
                <a:gd name="connsiteX224" fmla="*/ 1525140 w 3832826"/>
                <a:gd name="connsiteY224" fmla="*/ 1612731 h 5120141"/>
                <a:gd name="connsiteX225" fmla="*/ 1577731 w 3832826"/>
                <a:gd name="connsiteY225" fmla="*/ 1580801 h 5120141"/>
                <a:gd name="connsiteX226" fmla="*/ 1605078 w 3832826"/>
                <a:gd name="connsiteY226" fmla="*/ 1560845 h 5120141"/>
                <a:gd name="connsiteX227" fmla="*/ 1628218 w 3832826"/>
                <a:gd name="connsiteY227" fmla="*/ 1540888 h 5120141"/>
                <a:gd name="connsiteX228" fmla="*/ 1645048 w 3832826"/>
                <a:gd name="connsiteY228" fmla="*/ 1524923 h 5120141"/>
                <a:gd name="connsiteX229" fmla="*/ 1661877 w 3832826"/>
                <a:gd name="connsiteY229" fmla="*/ 1514944 h 5120141"/>
                <a:gd name="connsiteX230" fmla="*/ 1678706 w 3832826"/>
                <a:gd name="connsiteY230" fmla="*/ 1508957 h 5120141"/>
                <a:gd name="connsiteX231" fmla="*/ 1695535 w 3832826"/>
                <a:gd name="connsiteY231" fmla="*/ 1502971 h 5120141"/>
                <a:gd name="connsiteX232" fmla="*/ 1714468 w 3832826"/>
                <a:gd name="connsiteY232" fmla="*/ 1500975 h 5120141"/>
                <a:gd name="connsiteX233" fmla="*/ 1735504 w 3832826"/>
                <a:gd name="connsiteY233" fmla="*/ 1500975 h 5120141"/>
                <a:gd name="connsiteX234" fmla="*/ 1777577 w 3832826"/>
                <a:gd name="connsiteY234" fmla="*/ 1500975 h 5120141"/>
                <a:gd name="connsiteX235" fmla="*/ 2158335 w 3832826"/>
                <a:gd name="connsiteY235" fmla="*/ 1500975 h 5120141"/>
                <a:gd name="connsiteX236" fmla="*/ 2158335 w 3832826"/>
                <a:gd name="connsiteY236" fmla="*/ 1514944 h 5120141"/>
                <a:gd name="connsiteX237" fmla="*/ 2158335 w 3832826"/>
                <a:gd name="connsiteY237" fmla="*/ 1572818 h 5120141"/>
                <a:gd name="connsiteX238" fmla="*/ 2160439 w 3832826"/>
                <a:gd name="connsiteY238" fmla="*/ 1594771 h 5120141"/>
                <a:gd name="connsiteX239" fmla="*/ 2158335 w 3832826"/>
                <a:gd name="connsiteY239" fmla="*/ 1624705 h 5120141"/>
                <a:gd name="connsiteX240" fmla="*/ 2158335 w 3832826"/>
                <a:gd name="connsiteY240" fmla="*/ 1634684 h 5120141"/>
                <a:gd name="connsiteX241" fmla="*/ 2158335 w 3832826"/>
                <a:gd name="connsiteY241" fmla="*/ 1648653 h 5120141"/>
                <a:gd name="connsiteX242" fmla="*/ 2158335 w 3832826"/>
                <a:gd name="connsiteY242" fmla="*/ 1666614 h 5120141"/>
                <a:gd name="connsiteX243" fmla="*/ 2158335 w 3832826"/>
                <a:gd name="connsiteY243" fmla="*/ 1700540 h 5120141"/>
                <a:gd name="connsiteX244" fmla="*/ 2149671 w 3832826"/>
                <a:gd name="connsiteY244" fmla="*/ 1700540 h 5120141"/>
                <a:gd name="connsiteX245" fmla="*/ 2149671 w 3832826"/>
                <a:gd name="connsiteY245" fmla="*/ 1701367 h 5120141"/>
                <a:gd name="connsiteX246" fmla="*/ 2158305 w 3832826"/>
                <a:gd name="connsiteY246" fmla="*/ 1701367 h 5120141"/>
                <a:gd name="connsiteX247" fmla="*/ 2158305 w 3832826"/>
                <a:gd name="connsiteY247" fmla="*/ 1723407 h 5120141"/>
                <a:gd name="connsiteX248" fmla="*/ 2158305 w 3832826"/>
                <a:gd name="connsiteY248" fmla="*/ 1755458 h 5120141"/>
                <a:gd name="connsiteX249" fmla="*/ 2234031 w 3832826"/>
                <a:gd name="connsiteY249" fmla="*/ 1815609 h 5120141"/>
                <a:gd name="connsiteX250" fmla="*/ 2231975 w 3832826"/>
                <a:gd name="connsiteY250" fmla="*/ 1817584 h 5120141"/>
                <a:gd name="connsiteX251" fmla="*/ 2231975 w 3832826"/>
                <a:gd name="connsiteY251" fmla="*/ 1823599 h 5120141"/>
                <a:gd name="connsiteX252" fmla="*/ 2234031 w 3832826"/>
                <a:gd name="connsiteY252" fmla="*/ 1833610 h 5120141"/>
                <a:gd name="connsiteX253" fmla="*/ 2240379 w 3832826"/>
                <a:gd name="connsiteY253" fmla="*/ 1843665 h 5120141"/>
                <a:gd name="connsiteX254" fmla="*/ 2244581 w 3832826"/>
                <a:gd name="connsiteY254" fmla="*/ 1853675 h 5120141"/>
                <a:gd name="connsiteX255" fmla="*/ 2244581 w 3832826"/>
                <a:gd name="connsiteY255" fmla="*/ 1857670 h 5120141"/>
                <a:gd name="connsiteX256" fmla="*/ 2242435 w 3832826"/>
                <a:gd name="connsiteY256" fmla="*/ 1863685 h 5120141"/>
                <a:gd name="connsiteX257" fmla="*/ 2238233 w 3832826"/>
                <a:gd name="connsiteY257" fmla="*/ 1873695 h 5120141"/>
                <a:gd name="connsiteX258" fmla="*/ 2229829 w 3832826"/>
                <a:gd name="connsiteY258" fmla="*/ 1883750 h 5120141"/>
                <a:gd name="connsiteX259" fmla="*/ 2223571 w 3832826"/>
                <a:gd name="connsiteY259" fmla="*/ 1889721 h 5120141"/>
                <a:gd name="connsiteX260" fmla="*/ 2213021 w 3832826"/>
                <a:gd name="connsiteY260" fmla="*/ 1905791 h 5120141"/>
                <a:gd name="connsiteX261" fmla="*/ 2200415 w 3832826"/>
                <a:gd name="connsiteY261" fmla="*/ 1919796 h 5120141"/>
                <a:gd name="connsiteX262" fmla="*/ 2170912 w 3832826"/>
                <a:gd name="connsiteY262" fmla="*/ 1945832 h 5120141"/>
                <a:gd name="connsiteX263" fmla="*/ 2139441 w 3832826"/>
                <a:gd name="connsiteY263" fmla="*/ 1969893 h 5120141"/>
                <a:gd name="connsiteX264" fmla="*/ 2107881 w 3832826"/>
                <a:gd name="connsiteY264" fmla="*/ 1995973 h 5120141"/>
                <a:gd name="connsiteX265" fmla="*/ 2095186 w 3832826"/>
                <a:gd name="connsiteY265" fmla="*/ 1997948 h 5120141"/>
                <a:gd name="connsiteX266" fmla="*/ 2082580 w 3832826"/>
                <a:gd name="connsiteY266" fmla="*/ 2003963 h 5120141"/>
                <a:gd name="connsiteX267" fmla="*/ 2074176 w 3832826"/>
                <a:gd name="connsiteY267" fmla="*/ 2009979 h 5120141"/>
                <a:gd name="connsiteX268" fmla="*/ 2069973 w 3832826"/>
                <a:gd name="connsiteY268" fmla="*/ 2018014 h 5120141"/>
                <a:gd name="connsiteX269" fmla="*/ 2055222 w 3832826"/>
                <a:gd name="connsiteY269" fmla="*/ 2034039 h 5120141"/>
                <a:gd name="connsiteX270" fmla="*/ 2048963 w 3832826"/>
                <a:gd name="connsiteY270" fmla="*/ 2044049 h 5120141"/>
                <a:gd name="connsiteX271" fmla="*/ 2038414 w 3832826"/>
                <a:gd name="connsiteY271" fmla="*/ 2050064 h 5120141"/>
                <a:gd name="connsiteX272" fmla="*/ 2017403 w 3832826"/>
                <a:gd name="connsiteY272" fmla="*/ 2066090 h 5120141"/>
                <a:gd name="connsiteX273" fmla="*/ 1998450 w 3832826"/>
                <a:gd name="connsiteY273" fmla="*/ 2080140 h 5120141"/>
                <a:gd name="connsiteX274" fmla="*/ 1962688 w 3832826"/>
                <a:gd name="connsiteY274" fmla="*/ 2110171 h 5120141"/>
                <a:gd name="connsiteX275" fmla="*/ 1952138 w 3832826"/>
                <a:gd name="connsiteY275" fmla="*/ 2116186 h 5120141"/>
                <a:gd name="connsiteX276" fmla="*/ 1937476 w 3832826"/>
                <a:gd name="connsiteY276" fmla="*/ 2120181 h 5120141"/>
                <a:gd name="connsiteX277" fmla="*/ 1914320 w 3832826"/>
                <a:gd name="connsiteY277" fmla="*/ 2122201 h 5120141"/>
                <a:gd name="connsiteX278" fmla="*/ 1891164 w 3832826"/>
                <a:gd name="connsiteY278" fmla="*/ 2122201 h 5120141"/>
                <a:gd name="connsiteX279" fmla="*/ 1880614 w 3832826"/>
                <a:gd name="connsiteY279" fmla="*/ 2126196 h 5120141"/>
                <a:gd name="connsiteX280" fmla="*/ 1870154 w 3832826"/>
                <a:gd name="connsiteY280" fmla="*/ 2130236 h 5120141"/>
                <a:gd name="connsiteX281" fmla="*/ 1859604 w 3832826"/>
                <a:gd name="connsiteY281" fmla="*/ 2136251 h 5120141"/>
                <a:gd name="connsiteX282" fmla="*/ 1842796 w 3832826"/>
                <a:gd name="connsiteY282" fmla="*/ 2138226 h 5120141"/>
                <a:gd name="connsiteX283" fmla="*/ 1817584 w 3832826"/>
                <a:gd name="connsiteY283" fmla="*/ 2142221 h 5120141"/>
                <a:gd name="connsiteX284" fmla="*/ 1786024 w 3832826"/>
                <a:gd name="connsiteY284" fmla="*/ 2146261 h 5120141"/>
                <a:gd name="connsiteX285" fmla="*/ 1756520 w 3832826"/>
                <a:gd name="connsiteY285" fmla="*/ 2150257 h 5120141"/>
                <a:gd name="connsiteX286" fmla="*/ 1743914 w 3832826"/>
                <a:gd name="connsiteY286" fmla="*/ 2150257 h 5120141"/>
                <a:gd name="connsiteX287" fmla="*/ 1733364 w 3832826"/>
                <a:gd name="connsiteY287" fmla="*/ 2150257 h 5120141"/>
                <a:gd name="connsiteX288" fmla="*/ 1706006 w 3832826"/>
                <a:gd name="connsiteY288" fmla="*/ 2142221 h 5120141"/>
                <a:gd name="connsiteX289" fmla="*/ 1680794 w 3832826"/>
                <a:gd name="connsiteY289" fmla="*/ 2136251 h 5120141"/>
                <a:gd name="connsiteX290" fmla="*/ 1655582 w 3832826"/>
                <a:gd name="connsiteY290" fmla="*/ 2126196 h 5120141"/>
                <a:gd name="connsiteX291" fmla="*/ 1630281 w 3832826"/>
                <a:gd name="connsiteY291" fmla="*/ 2116186 h 5120141"/>
                <a:gd name="connsiteX292" fmla="*/ 1607214 w 3832826"/>
                <a:gd name="connsiteY292" fmla="*/ 2110171 h 5120141"/>
                <a:gd name="connsiteX293" fmla="*/ 1594519 w 3832826"/>
                <a:gd name="connsiteY293" fmla="*/ 2110171 h 5120141"/>
                <a:gd name="connsiteX294" fmla="*/ 1584058 w 3832826"/>
                <a:gd name="connsiteY294" fmla="*/ 2112191 h 5120141"/>
                <a:gd name="connsiteX295" fmla="*/ 1573508 w 3832826"/>
                <a:gd name="connsiteY295" fmla="*/ 2116186 h 5120141"/>
                <a:gd name="connsiteX296" fmla="*/ 1560902 w 3832826"/>
                <a:gd name="connsiteY296" fmla="*/ 2120181 h 5120141"/>
                <a:gd name="connsiteX297" fmla="*/ 1544094 w 3832826"/>
                <a:gd name="connsiteY297" fmla="*/ 2128216 h 5120141"/>
                <a:gd name="connsiteX298" fmla="*/ 1529342 w 3832826"/>
                <a:gd name="connsiteY298" fmla="*/ 2136251 h 5120141"/>
                <a:gd name="connsiteX299" fmla="*/ 1499928 w 3832826"/>
                <a:gd name="connsiteY299" fmla="*/ 2140246 h 5120141"/>
                <a:gd name="connsiteX300" fmla="*/ 1497783 w 3832826"/>
                <a:gd name="connsiteY300" fmla="*/ 2140246 h 5120141"/>
                <a:gd name="connsiteX301" fmla="*/ 1483031 w 3832826"/>
                <a:gd name="connsiteY301" fmla="*/ 2140246 h 5120141"/>
                <a:gd name="connsiteX302" fmla="*/ 1468368 w 3832826"/>
                <a:gd name="connsiteY302" fmla="*/ 2140246 h 5120141"/>
                <a:gd name="connsiteX303" fmla="*/ 1451471 w 3832826"/>
                <a:gd name="connsiteY303" fmla="*/ 2142221 h 5120141"/>
                <a:gd name="connsiteX304" fmla="*/ 1447269 w 3832826"/>
                <a:gd name="connsiteY304" fmla="*/ 2146261 h 5120141"/>
                <a:gd name="connsiteX305" fmla="*/ 1440991 w 3832826"/>
                <a:gd name="connsiteY305" fmla="*/ 2149246 h 5120141"/>
                <a:gd name="connsiteX306" fmla="*/ 1440991 w 3832826"/>
                <a:gd name="connsiteY306" fmla="*/ 2319937 h 5120141"/>
                <a:gd name="connsiteX307" fmla="*/ 1445196 w 3832826"/>
                <a:gd name="connsiteY307" fmla="*/ 2330619 h 5120141"/>
                <a:gd name="connsiteX308" fmla="*/ 1449403 w 3832826"/>
                <a:gd name="connsiteY308" fmla="*/ 2344647 h 5120141"/>
                <a:gd name="connsiteX309" fmla="*/ 1462025 w 3832826"/>
                <a:gd name="connsiteY309" fmla="*/ 2378715 h 5120141"/>
                <a:gd name="connsiteX310" fmla="*/ 1480958 w 3832826"/>
                <a:gd name="connsiteY310" fmla="*/ 2438834 h 5120141"/>
                <a:gd name="connsiteX311" fmla="*/ 1493580 w 3832826"/>
                <a:gd name="connsiteY311" fmla="*/ 2468893 h 5120141"/>
                <a:gd name="connsiteX312" fmla="*/ 1499891 w 3832826"/>
                <a:gd name="connsiteY312" fmla="*/ 2480917 h 5120141"/>
                <a:gd name="connsiteX313" fmla="*/ 1508305 w 3832826"/>
                <a:gd name="connsiteY313" fmla="*/ 2492941 h 5120141"/>
                <a:gd name="connsiteX314" fmla="*/ 1508305 w 3832826"/>
                <a:gd name="connsiteY314" fmla="*/ 2523000 h 5120141"/>
                <a:gd name="connsiteX315" fmla="*/ 1508305 w 3832826"/>
                <a:gd name="connsiteY315" fmla="*/ 2555064 h 5120141"/>
                <a:gd name="connsiteX316" fmla="*/ 1508403 w 3832826"/>
                <a:gd name="connsiteY316" fmla="*/ 2557937 h 5120141"/>
                <a:gd name="connsiteX317" fmla="*/ 1508476 w 3832826"/>
                <a:gd name="connsiteY317" fmla="*/ 2558008 h 5120141"/>
                <a:gd name="connsiteX318" fmla="*/ 1508308 w 3832826"/>
                <a:gd name="connsiteY318" fmla="*/ 2553060 h 5120141"/>
                <a:gd name="connsiteX319" fmla="*/ 1508308 w 3832826"/>
                <a:gd name="connsiteY319" fmla="*/ 2520996 h 5120141"/>
                <a:gd name="connsiteX320" fmla="*/ 1508308 w 3832826"/>
                <a:gd name="connsiteY320" fmla="*/ 2490937 h 5120141"/>
                <a:gd name="connsiteX321" fmla="*/ 1703947 w 3832826"/>
                <a:gd name="connsiteY321" fmla="*/ 2693337 h 5120141"/>
                <a:gd name="connsiteX322" fmla="*/ 1800715 w 3832826"/>
                <a:gd name="connsiteY322" fmla="*/ 2777503 h 5120141"/>
                <a:gd name="connsiteX323" fmla="*/ 1821751 w 3832826"/>
                <a:gd name="connsiteY323" fmla="*/ 2793535 h 5120141"/>
                <a:gd name="connsiteX324" fmla="*/ 1846995 w 3832826"/>
                <a:gd name="connsiteY324" fmla="*/ 2807563 h 5120141"/>
                <a:gd name="connsiteX325" fmla="*/ 1868031 w 3832826"/>
                <a:gd name="connsiteY325" fmla="*/ 2827603 h 5120141"/>
                <a:gd name="connsiteX326" fmla="*/ 1874342 w 3832826"/>
                <a:gd name="connsiteY326" fmla="*/ 2837622 h 5120141"/>
                <a:gd name="connsiteX327" fmla="*/ 1882757 w 3832826"/>
                <a:gd name="connsiteY327" fmla="*/ 2847642 h 5120141"/>
                <a:gd name="connsiteX328" fmla="*/ 1882757 w 3832826"/>
                <a:gd name="connsiteY328" fmla="*/ 2857662 h 5120141"/>
                <a:gd name="connsiteX329" fmla="*/ 1871663 w 3832826"/>
                <a:gd name="connsiteY329" fmla="*/ 2862688 h 5120141"/>
                <a:gd name="connsiteX330" fmla="*/ 1920621 w 3832826"/>
                <a:gd name="connsiteY330" fmla="*/ 2925780 h 5120141"/>
                <a:gd name="connsiteX331" fmla="*/ 1937450 w 3832826"/>
                <a:gd name="connsiteY331" fmla="*/ 2955859 h 5120141"/>
                <a:gd name="connsiteX332" fmla="*/ 1956383 w 3832826"/>
                <a:gd name="connsiteY332" fmla="*/ 2987924 h 5120141"/>
                <a:gd name="connsiteX333" fmla="*/ 1964798 w 3832826"/>
                <a:gd name="connsiteY333" fmla="*/ 2997927 h 5120141"/>
                <a:gd name="connsiteX334" fmla="*/ 1969005 w 3832826"/>
                <a:gd name="connsiteY334" fmla="*/ 3009986 h 5120141"/>
                <a:gd name="connsiteX335" fmla="*/ 1977420 w 3832826"/>
                <a:gd name="connsiteY335" fmla="*/ 3038008 h 5120141"/>
                <a:gd name="connsiteX336" fmla="*/ 1985834 w 3832826"/>
                <a:gd name="connsiteY336" fmla="*/ 3066100 h 5120141"/>
                <a:gd name="connsiteX337" fmla="*/ 1994249 w 3832826"/>
                <a:gd name="connsiteY337" fmla="*/ 3078089 h 5120141"/>
                <a:gd name="connsiteX338" fmla="*/ 2004767 w 3832826"/>
                <a:gd name="connsiteY338" fmla="*/ 3090149 h 5120141"/>
                <a:gd name="connsiteX339" fmla="*/ 2008974 w 3832826"/>
                <a:gd name="connsiteY339" fmla="*/ 3100152 h 5120141"/>
                <a:gd name="connsiteX340" fmla="*/ 2017389 w 3832826"/>
                <a:gd name="connsiteY340" fmla="*/ 3110155 h 5120141"/>
                <a:gd name="connsiteX341" fmla="*/ 2023700 w 3832826"/>
                <a:gd name="connsiteY341" fmla="*/ 3136190 h 5120141"/>
                <a:gd name="connsiteX342" fmla="*/ 2032114 w 3832826"/>
                <a:gd name="connsiteY342" fmla="*/ 3158252 h 5120141"/>
                <a:gd name="connsiteX343" fmla="*/ 2040529 w 3832826"/>
                <a:gd name="connsiteY343" fmla="*/ 3168255 h 5120141"/>
                <a:gd name="connsiteX344" fmla="*/ 2048944 w 3832826"/>
                <a:gd name="connsiteY344" fmla="*/ 3174285 h 5120141"/>
                <a:gd name="connsiteX345" fmla="*/ 2059462 w 3832826"/>
                <a:gd name="connsiteY345" fmla="*/ 3180315 h 5120141"/>
                <a:gd name="connsiteX346" fmla="*/ 2069980 w 3832826"/>
                <a:gd name="connsiteY346" fmla="*/ 3180315 h 5120141"/>
                <a:gd name="connsiteX347" fmla="*/ 2082602 w 3832826"/>
                <a:gd name="connsiteY347" fmla="*/ 3182301 h 5120141"/>
                <a:gd name="connsiteX348" fmla="*/ 2095224 w 3832826"/>
                <a:gd name="connsiteY348" fmla="*/ 3184288 h 5120141"/>
                <a:gd name="connsiteX349" fmla="*/ 2105742 w 3832826"/>
                <a:gd name="connsiteY349" fmla="*/ 3190318 h 5120141"/>
                <a:gd name="connsiteX350" fmla="*/ 2114156 w 3832826"/>
                <a:gd name="connsiteY350" fmla="*/ 3198334 h 5120141"/>
                <a:gd name="connsiteX351" fmla="*/ 2122571 w 3832826"/>
                <a:gd name="connsiteY351" fmla="*/ 3204364 h 5120141"/>
                <a:gd name="connsiteX352" fmla="*/ 2132508 w 3832826"/>
                <a:gd name="connsiteY352" fmla="*/ 3211937 h 5120141"/>
                <a:gd name="connsiteX353" fmla="*/ 2133090 w 3832826"/>
                <a:gd name="connsiteY353" fmla="*/ 3211201 h 5120141"/>
                <a:gd name="connsiteX354" fmla="*/ 2210924 w 3832826"/>
                <a:gd name="connsiteY354" fmla="*/ 3145234 h 5120141"/>
                <a:gd name="connsiteX355" fmla="*/ 2286655 w 3832826"/>
                <a:gd name="connsiteY355" fmla="*/ 3071271 h 5120141"/>
                <a:gd name="connsiteX356" fmla="*/ 2316106 w 3832826"/>
                <a:gd name="connsiteY356" fmla="*/ 3045284 h 5120141"/>
                <a:gd name="connsiteX357" fmla="*/ 2332935 w 3832826"/>
                <a:gd name="connsiteY357" fmla="*/ 3035289 h 5120141"/>
                <a:gd name="connsiteX358" fmla="*/ 2343453 w 3832826"/>
                <a:gd name="connsiteY358" fmla="*/ 3031291 h 5120141"/>
                <a:gd name="connsiteX359" fmla="*/ 2349764 w 3832826"/>
                <a:gd name="connsiteY359" fmla="*/ 3029292 h 5120141"/>
                <a:gd name="connsiteX360" fmla="*/ 2381318 w 3832826"/>
                <a:gd name="connsiteY360" fmla="*/ 3031291 h 5120141"/>
                <a:gd name="connsiteX361" fmla="*/ 2398148 w 3832826"/>
                <a:gd name="connsiteY361" fmla="*/ 3029292 h 5120141"/>
                <a:gd name="connsiteX362" fmla="*/ 2402355 w 3832826"/>
                <a:gd name="connsiteY362" fmla="*/ 3029292 h 5120141"/>
                <a:gd name="connsiteX363" fmla="*/ 2404458 w 3832826"/>
                <a:gd name="connsiteY363" fmla="*/ 3027293 h 5120141"/>
                <a:gd name="connsiteX364" fmla="*/ 2404458 w 3832826"/>
                <a:gd name="connsiteY364" fmla="*/ 3007303 h 5120141"/>
                <a:gd name="connsiteX365" fmla="*/ 2408666 w 3832826"/>
                <a:gd name="connsiteY365" fmla="*/ 2997308 h 5120141"/>
                <a:gd name="connsiteX366" fmla="*/ 2410769 w 3832826"/>
                <a:gd name="connsiteY366" fmla="*/ 2995309 h 5120141"/>
                <a:gd name="connsiteX367" fmla="*/ 2414977 w 3832826"/>
                <a:gd name="connsiteY367" fmla="*/ 2991311 h 5120141"/>
                <a:gd name="connsiteX368" fmla="*/ 2423391 w 3832826"/>
                <a:gd name="connsiteY368" fmla="*/ 2991311 h 5120141"/>
                <a:gd name="connsiteX369" fmla="*/ 2425495 w 3832826"/>
                <a:gd name="connsiteY369" fmla="*/ 2987313 h 5120141"/>
                <a:gd name="connsiteX370" fmla="*/ 2429702 w 3832826"/>
                <a:gd name="connsiteY370" fmla="*/ 2985314 h 5120141"/>
                <a:gd name="connsiteX371" fmla="*/ 2429702 w 3832826"/>
                <a:gd name="connsiteY371" fmla="*/ 2979317 h 5120141"/>
                <a:gd name="connsiteX372" fmla="*/ 2429702 w 3832826"/>
                <a:gd name="connsiteY372" fmla="*/ 2977318 h 5120141"/>
                <a:gd name="connsiteX373" fmla="*/ 2431806 w 3832826"/>
                <a:gd name="connsiteY373" fmla="*/ 2971321 h 5120141"/>
                <a:gd name="connsiteX374" fmla="*/ 2433909 w 3832826"/>
                <a:gd name="connsiteY374" fmla="*/ 2969322 h 5120141"/>
                <a:gd name="connsiteX375" fmla="*/ 2442324 w 3832826"/>
                <a:gd name="connsiteY375" fmla="*/ 2967323 h 5120141"/>
                <a:gd name="connsiteX376" fmla="*/ 2452842 w 3832826"/>
                <a:gd name="connsiteY376" fmla="*/ 2967323 h 5120141"/>
                <a:gd name="connsiteX377" fmla="*/ 2454946 w 3832826"/>
                <a:gd name="connsiteY377" fmla="*/ 2965324 h 5120141"/>
                <a:gd name="connsiteX378" fmla="*/ 2457049 w 3832826"/>
                <a:gd name="connsiteY378" fmla="*/ 2961326 h 5120141"/>
                <a:gd name="connsiteX379" fmla="*/ 2457049 w 3832826"/>
                <a:gd name="connsiteY379" fmla="*/ 2941336 h 5120141"/>
                <a:gd name="connsiteX380" fmla="*/ 2461257 w 3832826"/>
                <a:gd name="connsiteY380" fmla="*/ 2927343 h 5120141"/>
                <a:gd name="connsiteX381" fmla="*/ 2463360 w 3832826"/>
                <a:gd name="connsiteY381" fmla="*/ 2917348 h 5120141"/>
                <a:gd name="connsiteX382" fmla="*/ 2467567 w 3832826"/>
                <a:gd name="connsiteY382" fmla="*/ 2907353 h 5120141"/>
                <a:gd name="connsiteX383" fmla="*/ 2473878 w 3832826"/>
                <a:gd name="connsiteY383" fmla="*/ 2899357 h 5120141"/>
                <a:gd name="connsiteX384" fmla="*/ 2488604 w 3832826"/>
                <a:gd name="connsiteY384" fmla="*/ 2885364 h 5120141"/>
                <a:gd name="connsiteX385" fmla="*/ 2509640 w 3832826"/>
                <a:gd name="connsiteY385" fmla="*/ 2865374 h 5120141"/>
                <a:gd name="connsiteX386" fmla="*/ 2646376 w 3832826"/>
                <a:gd name="connsiteY386" fmla="*/ 2743436 h 5120141"/>
                <a:gd name="connsiteX387" fmla="*/ 2650584 w 3832826"/>
                <a:gd name="connsiteY387" fmla="*/ 2755430 h 5120141"/>
                <a:gd name="connsiteX388" fmla="*/ 2654791 w 3832826"/>
                <a:gd name="connsiteY388" fmla="*/ 2765425 h 5120141"/>
                <a:gd name="connsiteX389" fmla="*/ 2663205 w 3832826"/>
                <a:gd name="connsiteY389" fmla="*/ 2773421 h 5120141"/>
                <a:gd name="connsiteX390" fmla="*/ 2671620 w 3832826"/>
                <a:gd name="connsiteY390" fmla="*/ 2773421 h 5120141"/>
                <a:gd name="connsiteX391" fmla="*/ 2675827 w 3832826"/>
                <a:gd name="connsiteY391" fmla="*/ 2775420 h 5120141"/>
                <a:gd name="connsiteX392" fmla="*/ 2688449 w 3832826"/>
                <a:gd name="connsiteY392" fmla="*/ 2779418 h 5120141"/>
                <a:gd name="connsiteX393" fmla="*/ 2696863 w 3832826"/>
                <a:gd name="connsiteY393" fmla="*/ 2785415 h 5120141"/>
                <a:gd name="connsiteX394" fmla="*/ 2701071 w 3832826"/>
                <a:gd name="connsiteY394" fmla="*/ 2787414 h 5120141"/>
                <a:gd name="connsiteX395" fmla="*/ 2709485 w 3832826"/>
                <a:gd name="connsiteY395" fmla="*/ 2785415 h 5120141"/>
                <a:gd name="connsiteX396" fmla="*/ 2715796 w 3832826"/>
                <a:gd name="connsiteY396" fmla="*/ 2779418 h 5120141"/>
                <a:gd name="connsiteX397" fmla="*/ 2722107 w 3832826"/>
                <a:gd name="connsiteY397" fmla="*/ 2775420 h 5120141"/>
                <a:gd name="connsiteX398" fmla="*/ 2728418 w 3832826"/>
                <a:gd name="connsiteY398" fmla="*/ 2773421 h 5120141"/>
                <a:gd name="connsiteX399" fmla="*/ 2747351 w 3832826"/>
                <a:gd name="connsiteY399" fmla="*/ 2769423 h 5120141"/>
                <a:gd name="connsiteX400" fmla="*/ 2764180 w 3832826"/>
                <a:gd name="connsiteY400" fmla="*/ 2773421 h 5120141"/>
                <a:gd name="connsiteX401" fmla="*/ 2783112 w 3832826"/>
                <a:gd name="connsiteY401" fmla="*/ 2779418 h 5120141"/>
                <a:gd name="connsiteX402" fmla="*/ 2795734 w 3832826"/>
                <a:gd name="connsiteY402" fmla="*/ 2793411 h 5120141"/>
                <a:gd name="connsiteX403" fmla="*/ 2799942 w 3832826"/>
                <a:gd name="connsiteY403" fmla="*/ 2793411 h 5120141"/>
                <a:gd name="connsiteX404" fmla="*/ 2804149 w 3832826"/>
                <a:gd name="connsiteY404" fmla="*/ 2805405 h 5120141"/>
                <a:gd name="connsiteX405" fmla="*/ 2812563 w 3832826"/>
                <a:gd name="connsiteY405" fmla="*/ 2817399 h 5120141"/>
                <a:gd name="connsiteX406" fmla="*/ 2825185 w 3832826"/>
                <a:gd name="connsiteY406" fmla="*/ 2845384 h 5120141"/>
                <a:gd name="connsiteX407" fmla="*/ 2835703 w 3832826"/>
                <a:gd name="connsiteY407" fmla="*/ 2873370 h 5120141"/>
                <a:gd name="connsiteX408" fmla="*/ 2842014 w 3832826"/>
                <a:gd name="connsiteY408" fmla="*/ 2885364 h 5120141"/>
                <a:gd name="connsiteX409" fmla="*/ 2847737 w 3832826"/>
                <a:gd name="connsiteY409" fmla="*/ 2896240 h 5120141"/>
                <a:gd name="connsiteX410" fmla="*/ 2848292 w 3832826"/>
                <a:gd name="connsiteY410" fmla="*/ 2895738 h 5120141"/>
                <a:gd name="connsiteX411" fmla="*/ 2873502 w 3832826"/>
                <a:gd name="connsiteY411" fmla="*/ 2911778 h 5120141"/>
                <a:gd name="connsiteX412" fmla="*/ 2898892 w 3832826"/>
                <a:gd name="connsiteY412" fmla="*/ 2921802 h 5120141"/>
                <a:gd name="connsiteX413" fmla="*/ 2921942 w 3832826"/>
                <a:gd name="connsiteY413" fmla="*/ 2935837 h 5120141"/>
                <a:gd name="connsiteX414" fmla="*/ 2932386 w 3832826"/>
                <a:gd name="connsiteY414" fmla="*/ 2943857 h 5120141"/>
                <a:gd name="connsiteX415" fmla="*/ 2943010 w 3832826"/>
                <a:gd name="connsiteY415" fmla="*/ 2953882 h 5120141"/>
                <a:gd name="connsiteX416" fmla="*/ 2957776 w 3832826"/>
                <a:gd name="connsiteY416" fmla="*/ 2965912 h 5120141"/>
                <a:gd name="connsiteX417" fmla="*/ 2964078 w 3832826"/>
                <a:gd name="connsiteY417" fmla="*/ 2973932 h 5120141"/>
                <a:gd name="connsiteX418" fmla="*/ 2970381 w 3832826"/>
                <a:gd name="connsiteY418" fmla="*/ 2977942 h 5120141"/>
                <a:gd name="connsiteX419" fmla="*/ 2985147 w 3832826"/>
                <a:gd name="connsiteY419" fmla="*/ 2979947 h 5120141"/>
                <a:gd name="connsiteX420" fmla="*/ 2995591 w 3832826"/>
                <a:gd name="connsiteY420" fmla="*/ 2979947 h 5120141"/>
                <a:gd name="connsiteX421" fmla="*/ 3006035 w 3832826"/>
                <a:gd name="connsiteY421" fmla="*/ 2983957 h 5120141"/>
                <a:gd name="connsiteX422" fmla="*/ 3018640 w 3832826"/>
                <a:gd name="connsiteY422" fmla="*/ 2993981 h 5120141"/>
                <a:gd name="connsiteX423" fmla="*/ 3024942 w 3832826"/>
                <a:gd name="connsiteY423" fmla="*/ 2999996 h 5120141"/>
                <a:gd name="connsiteX424" fmla="*/ 3027103 w 3832826"/>
                <a:gd name="connsiteY424" fmla="*/ 3006011 h 5120141"/>
                <a:gd name="connsiteX425" fmla="*/ 3027103 w 3832826"/>
                <a:gd name="connsiteY425" fmla="*/ 3008016 h 5120141"/>
                <a:gd name="connsiteX426" fmla="*/ 3024942 w 3832826"/>
                <a:gd name="connsiteY426" fmla="*/ 3014031 h 5120141"/>
                <a:gd name="connsiteX427" fmla="*/ 3018640 w 3832826"/>
                <a:gd name="connsiteY427" fmla="*/ 3020046 h 5120141"/>
                <a:gd name="connsiteX428" fmla="*/ 3014498 w 3832826"/>
                <a:gd name="connsiteY428" fmla="*/ 3029937 h 5120141"/>
                <a:gd name="connsiteX429" fmla="*/ 3014498 w 3832826"/>
                <a:gd name="connsiteY429" fmla="*/ 3043972 h 5120141"/>
                <a:gd name="connsiteX430" fmla="*/ 3014498 w 3832826"/>
                <a:gd name="connsiteY430" fmla="*/ 3049987 h 5120141"/>
                <a:gd name="connsiteX431" fmla="*/ 3024942 w 3832826"/>
                <a:gd name="connsiteY431" fmla="*/ 3074047 h 5120141"/>
                <a:gd name="connsiteX432" fmla="*/ 3024942 w 3832826"/>
                <a:gd name="connsiteY432" fmla="*/ 3084071 h 5120141"/>
                <a:gd name="connsiteX433" fmla="*/ 3022962 w 3832826"/>
                <a:gd name="connsiteY433" fmla="*/ 3088081 h 5120141"/>
                <a:gd name="connsiteX434" fmla="*/ 3022962 w 3832826"/>
                <a:gd name="connsiteY434" fmla="*/ 3090086 h 5120141"/>
                <a:gd name="connsiteX435" fmla="*/ 3024942 w 3832826"/>
                <a:gd name="connsiteY435" fmla="*/ 3094096 h 5120141"/>
                <a:gd name="connsiteX436" fmla="*/ 3033406 w 3832826"/>
                <a:gd name="connsiteY436" fmla="*/ 3100111 h 5120141"/>
                <a:gd name="connsiteX437" fmla="*/ 3046011 w 3832826"/>
                <a:gd name="connsiteY437" fmla="*/ 3106126 h 5120141"/>
                <a:gd name="connsiteX438" fmla="*/ 3056635 w 3832826"/>
                <a:gd name="connsiteY438" fmla="*/ 3108131 h 5120141"/>
                <a:gd name="connsiteX439" fmla="*/ 3064918 w 3832826"/>
                <a:gd name="connsiteY439" fmla="*/ 3110136 h 5120141"/>
                <a:gd name="connsiteX440" fmla="*/ 3075542 w 3832826"/>
                <a:gd name="connsiteY440" fmla="*/ 3118156 h 5120141"/>
                <a:gd name="connsiteX441" fmla="*/ 3088147 w 3832826"/>
                <a:gd name="connsiteY441" fmla="*/ 3138206 h 5120141"/>
                <a:gd name="connsiteX442" fmla="*/ 3096611 w 3832826"/>
                <a:gd name="connsiteY442" fmla="*/ 3152240 h 5120141"/>
                <a:gd name="connsiteX443" fmla="*/ 3096611 w 3832826"/>
                <a:gd name="connsiteY443" fmla="*/ 3162265 h 5120141"/>
                <a:gd name="connsiteX444" fmla="*/ 3096611 w 3832826"/>
                <a:gd name="connsiteY444" fmla="*/ 3166275 h 5120141"/>
                <a:gd name="connsiteX445" fmla="*/ 3090308 w 3832826"/>
                <a:gd name="connsiteY445" fmla="*/ 3168280 h 5120141"/>
                <a:gd name="connsiteX446" fmla="*/ 3088147 w 3832826"/>
                <a:gd name="connsiteY446" fmla="*/ 3168280 h 5120141"/>
                <a:gd name="connsiteX447" fmla="*/ 3085987 w 3832826"/>
                <a:gd name="connsiteY447" fmla="*/ 3170285 h 5120141"/>
                <a:gd name="connsiteX448" fmla="*/ 3085987 w 3832826"/>
                <a:gd name="connsiteY448" fmla="*/ 3178305 h 5120141"/>
                <a:gd name="connsiteX449" fmla="*/ 3088147 w 3832826"/>
                <a:gd name="connsiteY449" fmla="*/ 3182315 h 5120141"/>
                <a:gd name="connsiteX450" fmla="*/ 3090308 w 3832826"/>
                <a:gd name="connsiteY450" fmla="*/ 3186325 h 5120141"/>
                <a:gd name="connsiteX451" fmla="*/ 3092289 w 3832826"/>
                <a:gd name="connsiteY451" fmla="*/ 3190335 h 5120141"/>
                <a:gd name="connsiteX452" fmla="*/ 3098592 w 3832826"/>
                <a:gd name="connsiteY452" fmla="*/ 3208380 h 5120141"/>
                <a:gd name="connsiteX453" fmla="*/ 3102913 w 3832826"/>
                <a:gd name="connsiteY453" fmla="*/ 3222415 h 5120141"/>
                <a:gd name="connsiteX454" fmla="*/ 3107055 w 3832826"/>
                <a:gd name="connsiteY454" fmla="*/ 3238454 h 5120141"/>
                <a:gd name="connsiteX455" fmla="*/ 3109216 w 3832826"/>
                <a:gd name="connsiteY455" fmla="*/ 3246474 h 5120141"/>
                <a:gd name="connsiteX456" fmla="*/ 3113357 w 3832826"/>
                <a:gd name="connsiteY456" fmla="*/ 3248479 h 5120141"/>
                <a:gd name="connsiteX457" fmla="*/ 3130284 w 3832826"/>
                <a:gd name="connsiteY457" fmla="*/ 3252489 h 5120141"/>
                <a:gd name="connsiteX458" fmla="*/ 3159636 w 3832826"/>
                <a:gd name="connsiteY458" fmla="*/ 3266524 h 5120141"/>
                <a:gd name="connsiteX459" fmla="*/ 3187007 w 3832826"/>
                <a:gd name="connsiteY459" fmla="*/ 3278554 h 5120141"/>
                <a:gd name="connsiteX460" fmla="*/ 3214377 w 3832826"/>
                <a:gd name="connsiteY460" fmla="*/ 3296598 h 5120141"/>
                <a:gd name="connsiteX461" fmla="*/ 3243729 w 3832826"/>
                <a:gd name="connsiteY461" fmla="*/ 3308495 h 5120141"/>
                <a:gd name="connsiteX462" fmla="*/ 3250032 w 3832826"/>
                <a:gd name="connsiteY462" fmla="*/ 3312505 h 5120141"/>
                <a:gd name="connsiteX463" fmla="*/ 3260656 w 3832826"/>
                <a:gd name="connsiteY463" fmla="*/ 3326539 h 5120141"/>
                <a:gd name="connsiteX464" fmla="*/ 3269119 w 3832826"/>
                <a:gd name="connsiteY464" fmla="*/ 3338569 h 5120141"/>
                <a:gd name="connsiteX465" fmla="*/ 3275422 w 3832826"/>
                <a:gd name="connsiteY465" fmla="*/ 3352604 h 5120141"/>
                <a:gd name="connsiteX466" fmla="*/ 3285866 w 3832826"/>
                <a:gd name="connsiteY466" fmla="*/ 3384684 h 5120141"/>
                <a:gd name="connsiteX467" fmla="*/ 3292168 w 3832826"/>
                <a:gd name="connsiteY467" fmla="*/ 3410748 h 5120141"/>
                <a:gd name="connsiteX468" fmla="*/ 3300632 w 3832826"/>
                <a:gd name="connsiteY468" fmla="*/ 3434808 h 5120141"/>
                <a:gd name="connsiteX469" fmla="*/ 3309095 w 3832826"/>
                <a:gd name="connsiteY469" fmla="*/ 3458868 h 5120141"/>
                <a:gd name="connsiteX470" fmla="*/ 3311076 w 3832826"/>
                <a:gd name="connsiteY470" fmla="*/ 3468892 h 5120141"/>
                <a:gd name="connsiteX471" fmla="*/ 3313237 w 3832826"/>
                <a:gd name="connsiteY471" fmla="*/ 3474907 h 5120141"/>
                <a:gd name="connsiteX472" fmla="*/ 3313237 w 3832826"/>
                <a:gd name="connsiteY472" fmla="*/ 3478917 h 5120141"/>
                <a:gd name="connsiteX473" fmla="*/ 3309095 w 3832826"/>
                <a:gd name="connsiteY473" fmla="*/ 3482927 h 5120141"/>
                <a:gd name="connsiteX474" fmla="*/ 3302793 w 3832826"/>
                <a:gd name="connsiteY474" fmla="*/ 3488942 h 5120141"/>
                <a:gd name="connsiteX475" fmla="*/ 3296310 w 3832826"/>
                <a:gd name="connsiteY475" fmla="*/ 3490947 h 5120141"/>
                <a:gd name="connsiteX476" fmla="*/ 3296310 w 3832826"/>
                <a:gd name="connsiteY476" fmla="*/ 3498967 h 5120141"/>
                <a:gd name="connsiteX477" fmla="*/ 3296310 w 3832826"/>
                <a:gd name="connsiteY477" fmla="*/ 3508992 h 5120141"/>
                <a:gd name="connsiteX478" fmla="*/ 3300632 w 3832826"/>
                <a:gd name="connsiteY478" fmla="*/ 3531047 h 5120141"/>
                <a:gd name="connsiteX479" fmla="*/ 3309095 w 3832826"/>
                <a:gd name="connsiteY479" fmla="*/ 3553101 h 5120141"/>
                <a:gd name="connsiteX480" fmla="*/ 3313237 w 3832826"/>
                <a:gd name="connsiteY480" fmla="*/ 3563126 h 5120141"/>
                <a:gd name="connsiteX481" fmla="*/ 3319539 w 3832826"/>
                <a:gd name="connsiteY481" fmla="*/ 3567002 h 5120141"/>
                <a:gd name="connsiteX482" fmla="*/ 3317645 w 3832826"/>
                <a:gd name="connsiteY482" fmla="*/ 3567042 h 5120141"/>
                <a:gd name="connsiteX483" fmla="*/ 3330079 w 3832826"/>
                <a:gd name="connsiteY483" fmla="*/ 3577062 h 5120141"/>
                <a:gd name="connsiteX484" fmla="*/ 3334316 w 3832826"/>
                <a:gd name="connsiteY484" fmla="*/ 3585058 h 5120141"/>
                <a:gd name="connsiteX485" fmla="*/ 3334316 w 3832826"/>
                <a:gd name="connsiteY485" fmla="*/ 3593054 h 5120141"/>
                <a:gd name="connsiteX486" fmla="*/ 3334316 w 3832826"/>
                <a:gd name="connsiteY486" fmla="*/ 3603030 h 5120141"/>
                <a:gd name="connsiteX487" fmla="*/ 3332198 w 3832826"/>
                <a:gd name="connsiteY487" fmla="*/ 3607066 h 5120141"/>
                <a:gd name="connsiteX488" fmla="*/ 3323724 w 3832826"/>
                <a:gd name="connsiteY488" fmla="*/ 3609046 h 5120141"/>
                <a:gd name="connsiteX489" fmla="*/ 3319599 w 3832826"/>
                <a:gd name="connsiteY489" fmla="*/ 3613006 h 5120141"/>
                <a:gd name="connsiteX490" fmla="*/ 3319599 w 3832826"/>
                <a:gd name="connsiteY490" fmla="*/ 3617042 h 5120141"/>
                <a:gd name="connsiteX491" fmla="*/ 3319599 w 3832826"/>
                <a:gd name="connsiteY491" fmla="*/ 3619021 h 5120141"/>
                <a:gd name="connsiteX492" fmla="*/ 3323724 w 3832826"/>
                <a:gd name="connsiteY492" fmla="*/ 3625037 h 5120141"/>
                <a:gd name="connsiteX493" fmla="*/ 3330079 w 3832826"/>
                <a:gd name="connsiteY493" fmla="*/ 3627017 h 5120141"/>
                <a:gd name="connsiteX494" fmla="*/ 3332198 w 3832826"/>
                <a:gd name="connsiteY494" fmla="*/ 3628997 h 5120141"/>
                <a:gd name="connsiteX495" fmla="*/ 3340560 w 3832826"/>
                <a:gd name="connsiteY495" fmla="*/ 3644989 h 5120141"/>
                <a:gd name="connsiteX496" fmla="*/ 3351151 w 3832826"/>
                <a:gd name="connsiteY496" fmla="*/ 3657021 h 5120141"/>
                <a:gd name="connsiteX497" fmla="*/ 3372112 w 3832826"/>
                <a:gd name="connsiteY497" fmla="*/ 3684968 h 5120141"/>
                <a:gd name="connsiteX498" fmla="*/ 3372112 w 3832826"/>
                <a:gd name="connsiteY498" fmla="*/ 3687024 h 5120141"/>
                <a:gd name="connsiteX499" fmla="*/ 3372112 w 3832826"/>
                <a:gd name="connsiteY499" fmla="*/ 3689004 h 5120141"/>
                <a:gd name="connsiteX500" fmla="*/ 3367875 w 3832826"/>
                <a:gd name="connsiteY500" fmla="*/ 3695020 h 5120141"/>
                <a:gd name="connsiteX501" fmla="*/ 3363750 w 3832826"/>
                <a:gd name="connsiteY501" fmla="*/ 3703016 h 5120141"/>
                <a:gd name="connsiteX502" fmla="*/ 3363750 w 3832826"/>
                <a:gd name="connsiteY502" fmla="*/ 3704996 h 5120141"/>
                <a:gd name="connsiteX503" fmla="*/ 3363750 w 3832826"/>
                <a:gd name="connsiteY503" fmla="*/ 3706976 h 5120141"/>
                <a:gd name="connsiteX504" fmla="*/ 3367875 w 3832826"/>
                <a:gd name="connsiteY504" fmla="*/ 3716951 h 5120141"/>
                <a:gd name="connsiteX505" fmla="*/ 3374230 w 3832826"/>
                <a:gd name="connsiteY505" fmla="*/ 3722967 h 5120141"/>
                <a:gd name="connsiteX506" fmla="*/ 3382704 w 3832826"/>
                <a:gd name="connsiteY506" fmla="*/ 3728983 h 5120141"/>
                <a:gd name="connsiteX507" fmla="*/ 3388948 w 3832826"/>
                <a:gd name="connsiteY507" fmla="*/ 3734923 h 5120141"/>
                <a:gd name="connsiteX508" fmla="*/ 3395303 w 3832826"/>
                <a:gd name="connsiteY508" fmla="*/ 3746955 h 5120141"/>
                <a:gd name="connsiteX509" fmla="*/ 3397421 w 3832826"/>
                <a:gd name="connsiteY509" fmla="*/ 3756931 h 5120141"/>
                <a:gd name="connsiteX510" fmla="*/ 3397421 w 3832826"/>
                <a:gd name="connsiteY510" fmla="*/ 3766907 h 5120141"/>
                <a:gd name="connsiteX511" fmla="*/ 3399428 w 3832826"/>
                <a:gd name="connsiteY511" fmla="*/ 3778939 h 5120141"/>
                <a:gd name="connsiteX512" fmla="*/ 3407901 w 3832826"/>
                <a:gd name="connsiteY512" fmla="*/ 3798890 h 5120141"/>
                <a:gd name="connsiteX513" fmla="*/ 3416263 w 3832826"/>
                <a:gd name="connsiteY513" fmla="*/ 3808942 h 5120141"/>
                <a:gd name="connsiteX514" fmla="*/ 3424737 w 3832826"/>
                <a:gd name="connsiteY514" fmla="*/ 3816938 h 5120141"/>
                <a:gd name="connsiteX515" fmla="*/ 3431092 w 3832826"/>
                <a:gd name="connsiteY515" fmla="*/ 3820898 h 5120141"/>
                <a:gd name="connsiteX516" fmla="*/ 3437335 w 3832826"/>
                <a:gd name="connsiteY516" fmla="*/ 3820898 h 5120141"/>
                <a:gd name="connsiteX517" fmla="*/ 3449934 w 3832826"/>
                <a:gd name="connsiteY517" fmla="*/ 3820898 h 5120141"/>
                <a:gd name="connsiteX518" fmla="*/ 3456289 w 3832826"/>
                <a:gd name="connsiteY518" fmla="*/ 3824934 h 5120141"/>
                <a:gd name="connsiteX519" fmla="*/ 3460526 w 3832826"/>
                <a:gd name="connsiteY519" fmla="*/ 3826914 h 5120141"/>
                <a:gd name="connsiteX520" fmla="*/ 3466770 w 3832826"/>
                <a:gd name="connsiteY520" fmla="*/ 3830874 h 5120141"/>
                <a:gd name="connsiteX521" fmla="*/ 3468888 w 3832826"/>
                <a:gd name="connsiteY521" fmla="*/ 3840925 h 5120141"/>
                <a:gd name="connsiteX522" fmla="*/ 3466770 w 3832826"/>
                <a:gd name="connsiteY522" fmla="*/ 3840925 h 5120141"/>
                <a:gd name="connsiteX523" fmla="*/ 3462644 w 3832826"/>
                <a:gd name="connsiteY523" fmla="*/ 3844885 h 5120141"/>
                <a:gd name="connsiteX524" fmla="*/ 3458408 w 3832826"/>
                <a:gd name="connsiteY524" fmla="*/ 3846865 h 5120141"/>
                <a:gd name="connsiteX525" fmla="*/ 3456289 w 3832826"/>
                <a:gd name="connsiteY525" fmla="*/ 3848921 h 5120141"/>
                <a:gd name="connsiteX526" fmla="*/ 3458408 w 3832826"/>
                <a:gd name="connsiteY526" fmla="*/ 3854861 h 5120141"/>
                <a:gd name="connsiteX527" fmla="*/ 3462644 w 3832826"/>
                <a:gd name="connsiteY527" fmla="*/ 3856917 h 5120141"/>
                <a:gd name="connsiteX528" fmla="*/ 3468888 w 3832826"/>
                <a:gd name="connsiteY528" fmla="*/ 3860877 h 5120141"/>
                <a:gd name="connsiteX529" fmla="*/ 3481487 w 3832826"/>
                <a:gd name="connsiteY529" fmla="*/ 3874889 h 5120141"/>
                <a:gd name="connsiteX530" fmla="*/ 3487842 w 3832826"/>
                <a:gd name="connsiteY530" fmla="*/ 3880828 h 5120141"/>
                <a:gd name="connsiteX531" fmla="*/ 3489960 w 3832826"/>
                <a:gd name="connsiteY531" fmla="*/ 3888824 h 5120141"/>
                <a:gd name="connsiteX532" fmla="*/ 3489960 w 3832826"/>
                <a:gd name="connsiteY532" fmla="*/ 3898876 h 5120141"/>
                <a:gd name="connsiteX533" fmla="*/ 3483605 w 3832826"/>
                <a:gd name="connsiteY533" fmla="*/ 3910832 h 5120141"/>
                <a:gd name="connsiteX534" fmla="*/ 3477361 w 3832826"/>
                <a:gd name="connsiteY534" fmla="*/ 3924844 h 5120141"/>
                <a:gd name="connsiteX535" fmla="*/ 3477361 w 3832826"/>
                <a:gd name="connsiteY535" fmla="*/ 3934819 h 5120141"/>
                <a:gd name="connsiteX536" fmla="*/ 3477361 w 3832826"/>
                <a:gd name="connsiteY536" fmla="*/ 3946851 h 5120141"/>
                <a:gd name="connsiteX537" fmla="*/ 3481487 w 3832826"/>
                <a:gd name="connsiteY537" fmla="*/ 3960787 h 5120141"/>
                <a:gd name="connsiteX538" fmla="*/ 3492078 w 3832826"/>
                <a:gd name="connsiteY538" fmla="*/ 3988810 h 5120141"/>
                <a:gd name="connsiteX539" fmla="*/ 3498322 w 3832826"/>
                <a:gd name="connsiteY539" fmla="*/ 3998786 h 5120141"/>
                <a:gd name="connsiteX540" fmla="*/ 3502559 w 3832826"/>
                <a:gd name="connsiteY540" fmla="*/ 4006782 h 5120141"/>
                <a:gd name="connsiteX541" fmla="*/ 3513039 w 3832826"/>
                <a:gd name="connsiteY541" fmla="*/ 4012798 h 5120141"/>
                <a:gd name="connsiteX542" fmla="*/ 3521513 w 3832826"/>
                <a:gd name="connsiteY542" fmla="*/ 4022774 h 5120141"/>
                <a:gd name="connsiteX543" fmla="*/ 3523631 w 3832826"/>
                <a:gd name="connsiteY543" fmla="*/ 4028790 h 5120141"/>
                <a:gd name="connsiteX544" fmla="*/ 3523631 w 3832826"/>
                <a:gd name="connsiteY544" fmla="*/ 4036785 h 5120141"/>
                <a:gd name="connsiteX545" fmla="*/ 3523631 w 3832826"/>
                <a:gd name="connsiteY545" fmla="*/ 4048741 h 5120141"/>
                <a:gd name="connsiteX546" fmla="*/ 3521513 w 3832826"/>
                <a:gd name="connsiteY546" fmla="*/ 4066713 h 5120141"/>
                <a:gd name="connsiteX547" fmla="*/ 3521513 w 3832826"/>
                <a:gd name="connsiteY547" fmla="*/ 4078744 h 5120141"/>
                <a:gd name="connsiteX548" fmla="*/ 3525749 w 3832826"/>
                <a:gd name="connsiteY548" fmla="*/ 4100752 h 5120141"/>
                <a:gd name="connsiteX549" fmla="*/ 3540466 w 3832826"/>
                <a:gd name="connsiteY549" fmla="*/ 4136695 h 5120141"/>
                <a:gd name="connsiteX550" fmla="*/ 3557302 w 3832826"/>
                <a:gd name="connsiteY550" fmla="*/ 4182690 h 5120141"/>
                <a:gd name="connsiteX551" fmla="*/ 3555183 w 3832826"/>
                <a:gd name="connsiteY551" fmla="*/ 4186650 h 5120141"/>
                <a:gd name="connsiteX552" fmla="*/ 3557302 w 3832826"/>
                <a:gd name="connsiteY552" fmla="*/ 4192666 h 5120141"/>
                <a:gd name="connsiteX553" fmla="*/ 3567782 w 3832826"/>
                <a:gd name="connsiteY553" fmla="*/ 4214674 h 5120141"/>
                <a:gd name="connsiteX554" fmla="*/ 3578262 w 3832826"/>
                <a:gd name="connsiteY554" fmla="*/ 4240641 h 5120141"/>
                <a:gd name="connsiteX555" fmla="*/ 3582499 w 3832826"/>
                <a:gd name="connsiteY555" fmla="*/ 4250617 h 5120141"/>
                <a:gd name="connsiteX556" fmla="*/ 3582499 w 3832826"/>
                <a:gd name="connsiteY556" fmla="*/ 4260593 h 5120141"/>
                <a:gd name="connsiteX557" fmla="*/ 3578262 w 3832826"/>
                <a:gd name="connsiteY557" fmla="*/ 4260593 h 5120141"/>
                <a:gd name="connsiteX558" fmla="*/ 3576144 w 3832826"/>
                <a:gd name="connsiteY558" fmla="*/ 4264629 h 5120141"/>
                <a:gd name="connsiteX559" fmla="*/ 3572019 w 3832826"/>
                <a:gd name="connsiteY559" fmla="*/ 4270645 h 5120141"/>
                <a:gd name="connsiteX560" fmla="*/ 3565664 w 3832826"/>
                <a:gd name="connsiteY560" fmla="*/ 4272624 h 5120141"/>
                <a:gd name="connsiteX561" fmla="*/ 3563545 w 3832826"/>
                <a:gd name="connsiteY561" fmla="*/ 4278640 h 5120141"/>
                <a:gd name="connsiteX562" fmla="*/ 3561427 w 3832826"/>
                <a:gd name="connsiteY562" fmla="*/ 4288616 h 5120141"/>
                <a:gd name="connsiteX563" fmla="*/ 3561427 w 3832826"/>
                <a:gd name="connsiteY563" fmla="*/ 4300572 h 5120141"/>
                <a:gd name="connsiteX564" fmla="*/ 3557302 w 3832826"/>
                <a:gd name="connsiteY564" fmla="*/ 4324559 h 5120141"/>
                <a:gd name="connsiteX565" fmla="*/ 3556313 w 3832826"/>
                <a:gd name="connsiteY565" fmla="*/ 4324559 h 5120141"/>
                <a:gd name="connsiteX566" fmla="*/ 3557250 w 3832826"/>
                <a:gd name="connsiteY566" fmla="*/ 4324566 h 5120141"/>
                <a:gd name="connsiteX567" fmla="*/ 3561457 w 3832826"/>
                <a:gd name="connsiteY567" fmla="*/ 4324566 h 5120141"/>
                <a:gd name="connsiteX568" fmla="*/ 3687675 w 3832826"/>
                <a:gd name="connsiteY568" fmla="*/ 4322562 h 5120141"/>
                <a:gd name="connsiteX569" fmla="*/ 3815997 w 3832826"/>
                <a:gd name="connsiteY569" fmla="*/ 4322562 h 5120141"/>
                <a:gd name="connsiteX570" fmla="*/ 3820204 w 3832826"/>
                <a:gd name="connsiteY570" fmla="*/ 4362642 h 5120141"/>
                <a:gd name="connsiteX571" fmla="*/ 3820204 w 3832826"/>
                <a:gd name="connsiteY571" fmla="*/ 4388693 h 5120141"/>
                <a:gd name="connsiteX572" fmla="*/ 3815997 w 3832826"/>
                <a:gd name="connsiteY572" fmla="*/ 4394705 h 5120141"/>
                <a:gd name="connsiteX573" fmla="*/ 3813893 w 3832826"/>
                <a:gd name="connsiteY573" fmla="*/ 4398713 h 5120141"/>
                <a:gd name="connsiteX574" fmla="*/ 3803375 w 3832826"/>
                <a:gd name="connsiteY574" fmla="*/ 4398713 h 5120141"/>
                <a:gd name="connsiteX575" fmla="*/ 3799168 w 3832826"/>
                <a:gd name="connsiteY575" fmla="*/ 4402721 h 5120141"/>
                <a:gd name="connsiteX576" fmla="*/ 3799168 w 3832826"/>
                <a:gd name="connsiteY576" fmla="*/ 4408733 h 5120141"/>
                <a:gd name="connsiteX577" fmla="*/ 3801272 w 3832826"/>
                <a:gd name="connsiteY577" fmla="*/ 4420757 h 5120141"/>
                <a:gd name="connsiteX578" fmla="*/ 3801272 w 3832826"/>
                <a:gd name="connsiteY578" fmla="*/ 4422761 h 5120141"/>
                <a:gd name="connsiteX579" fmla="*/ 3805479 w 3832826"/>
                <a:gd name="connsiteY579" fmla="*/ 4424765 h 5120141"/>
                <a:gd name="connsiteX580" fmla="*/ 3815997 w 3832826"/>
                <a:gd name="connsiteY580" fmla="*/ 4422761 h 5120141"/>
                <a:gd name="connsiteX581" fmla="*/ 3826515 w 3832826"/>
                <a:gd name="connsiteY581" fmla="*/ 4422761 h 5120141"/>
                <a:gd name="connsiteX582" fmla="*/ 3830723 w 3832826"/>
                <a:gd name="connsiteY582" fmla="*/ 4424765 h 5120141"/>
                <a:gd name="connsiteX583" fmla="*/ 3832826 w 3832826"/>
                <a:gd name="connsiteY583" fmla="*/ 4430776 h 5120141"/>
                <a:gd name="connsiteX584" fmla="*/ 3830723 w 3832826"/>
                <a:gd name="connsiteY584" fmla="*/ 4436788 h 5120141"/>
                <a:gd name="connsiteX585" fmla="*/ 3826515 w 3832826"/>
                <a:gd name="connsiteY585" fmla="*/ 4436788 h 5120141"/>
                <a:gd name="connsiteX586" fmla="*/ 3822308 w 3832826"/>
                <a:gd name="connsiteY586" fmla="*/ 4440796 h 5120141"/>
                <a:gd name="connsiteX587" fmla="*/ 3822308 w 3832826"/>
                <a:gd name="connsiteY587" fmla="*/ 4444804 h 5120141"/>
                <a:gd name="connsiteX588" fmla="*/ 3822308 w 3832826"/>
                <a:gd name="connsiteY588" fmla="*/ 4502919 h 5120141"/>
                <a:gd name="connsiteX589" fmla="*/ 3824412 w 3832826"/>
                <a:gd name="connsiteY589" fmla="*/ 4557026 h 5120141"/>
                <a:gd name="connsiteX590" fmla="*/ 3826515 w 3832826"/>
                <a:gd name="connsiteY590" fmla="*/ 4723356 h 5120141"/>
                <a:gd name="connsiteX591" fmla="*/ 3826515 w 3832826"/>
                <a:gd name="connsiteY591" fmla="*/ 4805518 h 5120141"/>
                <a:gd name="connsiteX592" fmla="*/ 3826515 w 3832826"/>
                <a:gd name="connsiteY592" fmla="*/ 4887681 h 5120141"/>
                <a:gd name="connsiteX593" fmla="*/ 3815997 w 3832826"/>
                <a:gd name="connsiteY593" fmla="*/ 4885677 h 5120141"/>
                <a:gd name="connsiteX594" fmla="*/ 3820204 w 3832826"/>
                <a:gd name="connsiteY594" fmla="*/ 4985875 h 5120141"/>
                <a:gd name="connsiteX595" fmla="*/ 3820204 w 3832826"/>
                <a:gd name="connsiteY595" fmla="*/ 5072046 h 5120141"/>
                <a:gd name="connsiteX596" fmla="*/ 3822308 w 3832826"/>
                <a:gd name="connsiteY596" fmla="*/ 5072046 h 5120141"/>
                <a:gd name="connsiteX597" fmla="*/ 3822308 w 3832826"/>
                <a:gd name="connsiteY597" fmla="*/ 5088078 h 5120141"/>
                <a:gd name="connsiteX598" fmla="*/ 3822308 w 3832826"/>
                <a:gd name="connsiteY598" fmla="*/ 5100102 h 5120141"/>
                <a:gd name="connsiteX599" fmla="*/ 3820204 w 3832826"/>
                <a:gd name="connsiteY599" fmla="*/ 5104109 h 5120141"/>
                <a:gd name="connsiteX600" fmla="*/ 3815997 w 3832826"/>
                <a:gd name="connsiteY600" fmla="*/ 5108117 h 5120141"/>
                <a:gd name="connsiteX601" fmla="*/ 3809686 w 3832826"/>
                <a:gd name="connsiteY601" fmla="*/ 5108117 h 5120141"/>
                <a:gd name="connsiteX602" fmla="*/ 3801272 w 3832826"/>
                <a:gd name="connsiteY602" fmla="*/ 5108117 h 5120141"/>
                <a:gd name="connsiteX603" fmla="*/ 3370026 w 3832826"/>
                <a:gd name="connsiteY603" fmla="*/ 5110121 h 5120141"/>
                <a:gd name="connsiteX604" fmla="*/ 2940884 w 3832826"/>
                <a:gd name="connsiteY604" fmla="*/ 5112125 h 5120141"/>
                <a:gd name="connsiteX605" fmla="*/ 2903018 w 3832826"/>
                <a:gd name="connsiteY605" fmla="*/ 5112125 h 5120141"/>
                <a:gd name="connsiteX606" fmla="*/ 2898811 w 3832826"/>
                <a:gd name="connsiteY606" fmla="*/ 5118137 h 5120141"/>
                <a:gd name="connsiteX607" fmla="*/ 2888293 w 3832826"/>
                <a:gd name="connsiteY607" fmla="*/ 5120141 h 5120141"/>
                <a:gd name="connsiteX608" fmla="*/ 2860945 w 3832826"/>
                <a:gd name="connsiteY608" fmla="*/ 5120141 h 5120141"/>
                <a:gd name="connsiteX609" fmla="*/ 2808354 w 3832826"/>
                <a:gd name="connsiteY609" fmla="*/ 5118137 h 5120141"/>
                <a:gd name="connsiteX610" fmla="*/ 2747349 w 3832826"/>
                <a:gd name="connsiteY610" fmla="*/ 5120141 h 5120141"/>
                <a:gd name="connsiteX611" fmla="*/ 2713691 w 3832826"/>
                <a:gd name="connsiteY611" fmla="*/ 5120141 h 5120141"/>
                <a:gd name="connsiteX612" fmla="*/ 2701069 w 3832826"/>
                <a:gd name="connsiteY612" fmla="*/ 5118137 h 5120141"/>
                <a:gd name="connsiteX613" fmla="*/ 2692654 w 3832826"/>
                <a:gd name="connsiteY613" fmla="*/ 5114129 h 5120141"/>
                <a:gd name="connsiteX614" fmla="*/ 2690551 w 3832826"/>
                <a:gd name="connsiteY614" fmla="*/ 5108117 h 5120141"/>
                <a:gd name="connsiteX615" fmla="*/ 2690551 w 3832826"/>
                <a:gd name="connsiteY615" fmla="*/ 5100102 h 5120141"/>
                <a:gd name="connsiteX616" fmla="*/ 2690551 w 3832826"/>
                <a:gd name="connsiteY616" fmla="*/ 5084070 h 5120141"/>
                <a:gd name="connsiteX617" fmla="*/ 2690551 w 3832826"/>
                <a:gd name="connsiteY617" fmla="*/ 5082066 h 5120141"/>
                <a:gd name="connsiteX618" fmla="*/ 2688447 w 3832826"/>
                <a:gd name="connsiteY618" fmla="*/ 5080062 h 5120141"/>
                <a:gd name="connsiteX619" fmla="*/ 2682136 w 3832826"/>
                <a:gd name="connsiteY619" fmla="*/ 5080062 h 5120141"/>
                <a:gd name="connsiteX620" fmla="*/ 2675825 w 3832826"/>
                <a:gd name="connsiteY620" fmla="*/ 5080062 h 5120141"/>
                <a:gd name="connsiteX621" fmla="*/ 2669514 w 3832826"/>
                <a:gd name="connsiteY621" fmla="*/ 5080062 h 5120141"/>
                <a:gd name="connsiteX622" fmla="*/ 2667411 w 3832826"/>
                <a:gd name="connsiteY622" fmla="*/ 5078058 h 5120141"/>
                <a:gd name="connsiteX623" fmla="*/ 2667411 w 3832826"/>
                <a:gd name="connsiteY623" fmla="*/ 5072046 h 5120141"/>
                <a:gd name="connsiteX624" fmla="*/ 2658996 w 3832826"/>
                <a:gd name="connsiteY624" fmla="*/ 5070042 h 5120141"/>
                <a:gd name="connsiteX625" fmla="*/ 2627442 w 3832826"/>
                <a:gd name="connsiteY625" fmla="*/ 5070042 h 5120141"/>
                <a:gd name="connsiteX626" fmla="*/ 2612716 w 3832826"/>
                <a:gd name="connsiteY626" fmla="*/ 5070042 h 5120141"/>
                <a:gd name="connsiteX627" fmla="*/ 2604302 w 3832826"/>
                <a:gd name="connsiteY627" fmla="*/ 5070042 h 5120141"/>
                <a:gd name="connsiteX628" fmla="*/ 2602198 w 3832826"/>
                <a:gd name="connsiteY628" fmla="*/ 5068038 h 5120141"/>
                <a:gd name="connsiteX629" fmla="*/ 2597991 w 3832826"/>
                <a:gd name="connsiteY629" fmla="*/ 5064030 h 5120141"/>
                <a:gd name="connsiteX630" fmla="*/ 2595887 w 3832826"/>
                <a:gd name="connsiteY630" fmla="*/ 5052006 h 5120141"/>
                <a:gd name="connsiteX631" fmla="*/ 2593783 w 3832826"/>
                <a:gd name="connsiteY631" fmla="*/ 5047998 h 5120141"/>
                <a:gd name="connsiteX632" fmla="*/ 2591680 w 3832826"/>
                <a:gd name="connsiteY632" fmla="*/ 5047998 h 5120141"/>
                <a:gd name="connsiteX633" fmla="*/ 2576954 w 3832826"/>
                <a:gd name="connsiteY633" fmla="*/ 5045994 h 5120141"/>
                <a:gd name="connsiteX634" fmla="*/ 2551711 w 3832826"/>
                <a:gd name="connsiteY634" fmla="*/ 5047998 h 5120141"/>
                <a:gd name="connsiteX635" fmla="*/ 2530674 w 3832826"/>
                <a:gd name="connsiteY635" fmla="*/ 5045994 h 5120141"/>
                <a:gd name="connsiteX636" fmla="*/ 2528571 w 3832826"/>
                <a:gd name="connsiteY636" fmla="*/ 4975856 h 5120141"/>
                <a:gd name="connsiteX637" fmla="*/ 2528571 w 3832826"/>
                <a:gd name="connsiteY637" fmla="*/ 4905717 h 5120141"/>
                <a:gd name="connsiteX638" fmla="*/ 2524363 w 3832826"/>
                <a:gd name="connsiteY638" fmla="*/ 4899705 h 5120141"/>
                <a:gd name="connsiteX639" fmla="*/ 2522260 w 3832826"/>
                <a:gd name="connsiteY639" fmla="*/ 4895697 h 5120141"/>
                <a:gd name="connsiteX640" fmla="*/ 2509638 w 3832826"/>
                <a:gd name="connsiteY640" fmla="*/ 4891689 h 5120141"/>
                <a:gd name="connsiteX641" fmla="*/ 2492809 w 3832826"/>
                <a:gd name="connsiteY641" fmla="*/ 4889685 h 5120141"/>
                <a:gd name="connsiteX642" fmla="*/ 2478083 w 3832826"/>
                <a:gd name="connsiteY642" fmla="*/ 4889685 h 5120141"/>
                <a:gd name="connsiteX643" fmla="*/ 2471772 w 3832826"/>
                <a:gd name="connsiteY643" fmla="*/ 4887681 h 5120141"/>
                <a:gd name="connsiteX644" fmla="*/ 2467565 w 3832826"/>
                <a:gd name="connsiteY644" fmla="*/ 4881669 h 5120141"/>
                <a:gd name="connsiteX645" fmla="*/ 2465461 w 3832826"/>
                <a:gd name="connsiteY645" fmla="*/ 4871649 h 5120141"/>
                <a:gd name="connsiteX646" fmla="*/ 2465461 w 3832826"/>
                <a:gd name="connsiteY646" fmla="*/ 4861629 h 5120141"/>
                <a:gd name="connsiteX647" fmla="*/ 2467565 w 3832826"/>
                <a:gd name="connsiteY647" fmla="*/ 4839586 h 5120141"/>
                <a:gd name="connsiteX648" fmla="*/ 2467565 w 3832826"/>
                <a:gd name="connsiteY648" fmla="*/ 4823554 h 5120141"/>
                <a:gd name="connsiteX649" fmla="*/ 2391834 w 3832826"/>
                <a:gd name="connsiteY649" fmla="*/ 4823554 h 5120141"/>
                <a:gd name="connsiteX650" fmla="*/ 2393938 w 3832826"/>
                <a:gd name="connsiteY650" fmla="*/ 4755419 h 5120141"/>
                <a:gd name="connsiteX651" fmla="*/ 2343450 w 3832826"/>
                <a:gd name="connsiteY651" fmla="*/ 4759427 h 5120141"/>
                <a:gd name="connsiteX652" fmla="*/ 2311896 w 3832826"/>
                <a:gd name="connsiteY652" fmla="*/ 4759427 h 5120141"/>
                <a:gd name="connsiteX653" fmla="*/ 2301378 w 3832826"/>
                <a:gd name="connsiteY653" fmla="*/ 4757423 h 5120141"/>
                <a:gd name="connsiteX654" fmla="*/ 2295067 w 3832826"/>
                <a:gd name="connsiteY654" fmla="*/ 4755419 h 5120141"/>
                <a:gd name="connsiteX655" fmla="*/ 2290860 w 3832826"/>
                <a:gd name="connsiteY655" fmla="*/ 4749407 h 5120141"/>
                <a:gd name="connsiteX656" fmla="*/ 2290860 w 3832826"/>
                <a:gd name="connsiteY656" fmla="*/ 4745399 h 5120141"/>
                <a:gd name="connsiteX657" fmla="*/ 2290860 w 3832826"/>
                <a:gd name="connsiteY657" fmla="*/ 4727364 h 5120141"/>
                <a:gd name="connsiteX658" fmla="*/ 2290860 w 3832826"/>
                <a:gd name="connsiteY658" fmla="*/ 4699308 h 5120141"/>
                <a:gd name="connsiteX659" fmla="*/ 2290860 w 3832826"/>
                <a:gd name="connsiteY659" fmla="*/ 4687284 h 5120141"/>
                <a:gd name="connsiteX660" fmla="*/ 2288756 w 3832826"/>
                <a:gd name="connsiteY660" fmla="*/ 4685280 h 5120141"/>
                <a:gd name="connsiteX661" fmla="*/ 2284549 w 3832826"/>
                <a:gd name="connsiteY661" fmla="*/ 4683276 h 5120141"/>
                <a:gd name="connsiteX662" fmla="*/ 2274030 w 3832826"/>
                <a:gd name="connsiteY662" fmla="*/ 4683276 h 5120141"/>
                <a:gd name="connsiteX663" fmla="*/ 2259305 w 3832826"/>
                <a:gd name="connsiteY663" fmla="*/ 4685280 h 5120141"/>
                <a:gd name="connsiteX664" fmla="*/ 2255098 w 3832826"/>
                <a:gd name="connsiteY664" fmla="*/ 4683276 h 5120141"/>
                <a:gd name="connsiteX665" fmla="*/ 2248787 w 3832826"/>
                <a:gd name="connsiteY665" fmla="*/ 4679268 h 5120141"/>
                <a:gd name="connsiteX666" fmla="*/ 2244579 w 3832826"/>
                <a:gd name="connsiteY666" fmla="*/ 4673257 h 5120141"/>
                <a:gd name="connsiteX667" fmla="*/ 2244579 w 3832826"/>
                <a:gd name="connsiteY667" fmla="*/ 4663237 h 5120141"/>
                <a:gd name="connsiteX668" fmla="*/ 2244579 w 3832826"/>
                <a:gd name="connsiteY668" fmla="*/ 4649209 h 5120141"/>
                <a:gd name="connsiteX669" fmla="*/ 2244579 w 3832826"/>
                <a:gd name="connsiteY669" fmla="*/ 4637185 h 5120141"/>
                <a:gd name="connsiteX670" fmla="*/ 2244579 w 3832826"/>
                <a:gd name="connsiteY670" fmla="*/ 4627165 h 5120141"/>
                <a:gd name="connsiteX671" fmla="*/ 2242476 w 3832826"/>
                <a:gd name="connsiteY671" fmla="*/ 4623157 h 5120141"/>
                <a:gd name="connsiteX672" fmla="*/ 2236165 w 3832826"/>
                <a:gd name="connsiteY672" fmla="*/ 4617145 h 5120141"/>
                <a:gd name="connsiteX673" fmla="*/ 2234061 w 3832826"/>
                <a:gd name="connsiteY673" fmla="*/ 4617145 h 5120141"/>
                <a:gd name="connsiteX674" fmla="*/ 2225647 w 3832826"/>
                <a:gd name="connsiteY674" fmla="*/ 4615141 h 5120141"/>
                <a:gd name="connsiteX675" fmla="*/ 2194092 w 3832826"/>
                <a:gd name="connsiteY675" fmla="*/ 4617145 h 5120141"/>
                <a:gd name="connsiteX676" fmla="*/ 2179367 w 3832826"/>
                <a:gd name="connsiteY676" fmla="*/ 4617145 h 5120141"/>
                <a:gd name="connsiteX677" fmla="*/ 2164641 w 3832826"/>
                <a:gd name="connsiteY677" fmla="*/ 4613137 h 5120141"/>
                <a:gd name="connsiteX678" fmla="*/ 2162538 w 3832826"/>
                <a:gd name="connsiteY678" fmla="*/ 4607126 h 5120141"/>
                <a:gd name="connsiteX679" fmla="*/ 2160434 w 3832826"/>
                <a:gd name="connsiteY679" fmla="*/ 4597106 h 5120141"/>
                <a:gd name="connsiteX680" fmla="*/ 2154123 w 3832826"/>
                <a:gd name="connsiteY680" fmla="*/ 4583078 h 5120141"/>
                <a:gd name="connsiteX681" fmla="*/ 2149916 w 3832826"/>
                <a:gd name="connsiteY681" fmla="*/ 4581074 h 5120141"/>
                <a:gd name="connsiteX682" fmla="*/ 2143605 w 3832826"/>
                <a:gd name="connsiteY682" fmla="*/ 4575062 h 5120141"/>
                <a:gd name="connsiteX683" fmla="*/ 2133087 w 3832826"/>
                <a:gd name="connsiteY683" fmla="*/ 4571054 h 5120141"/>
                <a:gd name="connsiteX684" fmla="*/ 2130983 w 3832826"/>
                <a:gd name="connsiteY684" fmla="*/ 4565042 h 5120141"/>
                <a:gd name="connsiteX685" fmla="*/ 2130983 w 3832826"/>
                <a:gd name="connsiteY685" fmla="*/ 4561034 h 5120141"/>
                <a:gd name="connsiteX686" fmla="*/ 2130983 w 3832826"/>
                <a:gd name="connsiteY686" fmla="*/ 4553018 h 5120141"/>
                <a:gd name="connsiteX687" fmla="*/ 2130983 w 3832826"/>
                <a:gd name="connsiteY687" fmla="*/ 4551015 h 5120141"/>
                <a:gd name="connsiteX688" fmla="*/ 2126776 w 3832826"/>
                <a:gd name="connsiteY688" fmla="*/ 4545003 h 5120141"/>
                <a:gd name="connsiteX689" fmla="*/ 2122568 w 3832826"/>
                <a:gd name="connsiteY689" fmla="*/ 4545003 h 5120141"/>
                <a:gd name="connsiteX690" fmla="*/ 2120465 w 3832826"/>
                <a:gd name="connsiteY690" fmla="*/ 4545003 h 5120141"/>
                <a:gd name="connsiteX691" fmla="*/ 2118361 w 3832826"/>
                <a:gd name="connsiteY691" fmla="*/ 4536987 h 5120141"/>
                <a:gd name="connsiteX692" fmla="*/ 2116258 w 3832826"/>
                <a:gd name="connsiteY692" fmla="*/ 4536987 h 5120141"/>
                <a:gd name="connsiteX693" fmla="*/ 2109947 w 3832826"/>
                <a:gd name="connsiteY693" fmla="*/ 4536987 h 5120141"/>
                <a:gd name="connsiteX694" fmla="*/ 2107843 w 3832826"/>
                <a:gd name="connsiteY694" fmla="*/ 4536987 h 5120141"/>
                <a:gd name="connsiteX695" fmla="*/ 2107843 w 3832826"/>
                <a:gd name="connsiteY695" fmla="*/ 4534983 h 5120141"/>
                <a:gd name="connsiteX696" fmla="*/ 2105739 w 3832826"/>
                <a:gd name="connsiteY696" fmla="*/ 4500915 h 5120141"/>
                <a:gd name="connsiteX697" fmla="*/ 2105739 w 3832826"/>
                <a:gd name="connsiteY697" fmla="*/ 4476868 h 5120141"/>
                <a:gd name="connsiteX698" fmla="*/ 2101532 w 3832826"/>
                <a:gd name="connsiteY698" fmla="*/ 4470856 h 5120141"/>
                <a:gd name="connsiteX699" fmla="*/ 2099428 w 3832826"/>
                <a:gd name="connsiteY699" fmla="*/ 4466848 h 5120141"/>
                <a:gd name="connsiteX700" fmla="*/ 2095221 w 3832826"/>
                <a:gd name="connsiteY700" fmla="*/ 4466848 h 5120141"/>
                <a:gd name="connsiteX701" fmla="*/ 2063667 w 3832826"/>
                <a:gd name="connsiteY701" fmla="*/ 4470856 h 5120141"/>
                <a:gd name="connsiteX702" fmla="*/ 2042630 w 3832826"/>
                <a:gd name="connsiteY702" fmla="*/ 4470856 h 5120141"/>
                <a:gd name="connsiteX703" fmla="*/ 2036319 w 3832826"/>
                <a:gd name="connsiteY703" fmla="*/ 4466848 h 5120141"/>
                <a:gd name="connsiteX704" fmla="*/ 2032112 w 3832826"/>
                <a:gd name="connsiteY704" fmla="*/ 4466848 h 5120141"/>
                <a:gd name="connsiteX705" fmla="*/ 2027905 w 3832826"/>
                <a:gd name="connsiteY705" fmla="*/ 4456828 h 5120141"/>
                <a:gd name="connsiteX706" fmla="*/ 2027905 w 3832826"/>
                <a:gd name="connsiteY706" fmla="*/ 4444804 h 5120141"/>
                <a:gd name="connsiteX707" fmla="*/ 2027905 w 3832826"/>
                <a:gd name="connsiteY707" fmla="*/ 4420757 h 5120141"/>
                <a:gd name="connsiteX708" fmla="*/ 2027905 w 3832826"/>
                <a:gd name="connsiteY708" fmla="*/ 4376298 h 5120141"/>
                <a:gd name="connsiteX709" fmla="*/ 2025801 w 3832826"/>
                <a:gd name="connsiteY709" fmla="*/ 4376298 h 5120141"/>
                <a:gd name="connsiteX710" fmla="*/ 2025801 w 3832826"/>
                <a:gd name="connsiteY710" fmla="*/ 4328574 h 5120141"/>
                <a:gd name="connsiteX711" fmla="*/ 2025801 w 3832826"/>
                <a:gd name="connsiteY711" fmla="*/ 4326856 h 5120141"/>
                <a:gd name="connsiteX712" fmla="*/ 2021595 w 3832826"/>
                <a:gd name="connsiteY712" fmla="*/ 4326570 h 5120141"/>
                <a:gd name="connsiteX713" fmla="*/ 2015284 w 3832826"/>
                <a:gd name="connsiteY713" fmla="*/ 4326570 h 5120141"/>
                <a:gd name="connsiteX714" fmla="*/ 2017387 w 3832826"/>
                <a:gd name="connsiteY714" fmla="*/ 4316550 h 5120141"/>
                <a:gd name="connsiteX715" fmla="*/ 2015284 w 3832826"/>
                <a:gd name="connsiteY715" fmla="*/ 4310539 h 5120141"/>
                <a:gd name="connsiteX716" fmla="*/ 2008973 w 3832826"/>
                <a:gd name="connsiteY716" fmla="*/ 4306531 h 5120141"/>
                <a:gd name="connsiteX717" fmla="*/ 2004765 w 3832826"/>
                <a:gd name="connsiteY717" fmla="*/ 4300519 h 5120141"/>
                <a:gd name="connsiteX718" fmla="*/ 1994247 w 3832826"/>
                <a:gd name="connsiteY718" fmla="*/ 4286491 h 5120141"/>
                <a:gd name="connsiteX719" fmla="*/ 1987936 w 3832826"/>
                <a:gd name="connsiteY719" fmla="*/ 4270459 h 5120141"/>
                <a:gd name="connsiteX720" fmla="*/ 1987936 w 3832826"/>
                <a:gd name="connsiteY720" fmla="*/ 4262443 h 5120141"/>
                <a:gd name="connsiteX721" fmla="*/ 1987936 w 3832826"/>
                <a:gd name="connsiteY721" fmla="*/ 4258435 h 5120141"/>
                <a:gd name="connsiteX722" fmla="*/ 1987936 w 3832826"/>
                <a:gd name="connsiteY722" fmla="*/ 4252423 h 5120141"/>
                <a:gd name="connsiteX723" fmla="*/ 1983729 w 3832826"/>
                <a:gd name="connsiteY723" fmla="*/ 4246412 h 5120141"/>
                <a:gd name="connsiteX724" fmla="*/ 1978277 w 3832826"/>
                <a:gd name="connsiteY724" fmla="*/ 4241218 h 5120141"/>
                <a:gd name="connsiteX725" fmla="*/ 1947935 w 3832826"/>
                <a:gd name="connsiteY725" fmla="*/ 4232386 h 5120141"/>
                <a:gd name="connsiteX726" fmla="*/ 1941632 w 3832826"/>
                <a:gd name="connsiteY726" fmla="*/ 4228376 h 5120141"/>
                <a:gd name="connsiteX727" fmla="*/ 1933169 w 3832826"/>
                <a:gd name="connsiteY727" fmla="*/ 4220356 h 5120141"/>
                <a:gd name="connsiteX728" fmla="*/ 1922725 w 3832826"/>
                <a:gd name="connsiteY728" fmla="*/ 4208326 h 5120141"/>
                <a:gd name="connsiteX729" fmla="*/ 1910120 w 3832826"/>
                <a:gd name="connsiteY729" fmla="*/ 4196297 h 5120141"/>
                <a:gd name="connsiteX730" fmla="*/ 1901657 w 3832826"/>
                <a:gd name="connsiteY730" fmla="*/ 4190282 h 5120141"/>
                <a:gd name="connsiteX731" fmla="*/ 1893193 w 3832826"/>
                <a:gd name="connsiteY731" fmla="*/ 4186272 h 5120141"/>
                <a:gd name="connsiteX732" fmla="*/ 1867983 w 3832826"/>
                <a:gd name="connsiteY732" fmla="*/ 4178252 h 5120141"/>
                <a:gd name="connsiteX733" fmla="*/ 1857539 w 3832826"/>
                <a:gd name="connsiteY733" fmla="*/ 4172237 h 5120141"/>
                <a:gd name="connsiteX734" fmla="*/ 1842773 w 3832826"/>
                <a:gd name="connsiteY734" fmla="*/ 4166222 h 5120141"/>
                <a:gd name="connsiteX735" fmla="*/ 1804958 w 3832826"/>
                <a:gd name="connsiteY735" fmla="*/ 4138152 h 5120141"/>
                <a:gd name="connsiteX736" fmla="*/ 1800637 w 3832826"/>
                <a:gd name="connsiteY736" fmla="*/ 4138152 h 5120141"/>
                <a:gd name="connsiteX737" fmla="*/ 1796495 w 3832826"/>
                <a:gd name="connsiteY737" fmla="*/ 4138152 h 5120141"/>
                <a:gd name="connsiteX738" fmla="*/ 1790192 w 3832826"/>
                <a:gd name="connsiteY738" fmla="*/ 4138152 h 5120141"/>
                <a:gd name="connsiteX739" fmla="*/ 1786051 w 3832826"/>
                <a:gd name="connsiteY739" fmla="*/ 4132138 h 5120141"/>
                <a:gd name="connsiteX740" fmla="*/ 1783890 w 3832826"/>
                <a:gd name="connsiteY740" fmla="*/ 4126123 h 5120141"/>
                <a:gd name="connsiteX741" fmla="*/ 1775427 w 3832826"/>
                <a:gd name="connsiteY741" fmla="*/ 4120108 h 5120141"/>
                <a:gd name="connsiteX742" fmla="*/ 1769124 w 3832826"/>
                <a:gd name="connsiteY742" fmla="*/ 4118103 h 5120141"/>
                <a:gd name="connsiteX743" fmla="*/ 1762822 w 3832826"/>
                <a:gd name="connsiteY743" fmla="*/ 4112088 h 5120141"/>
                <a:gd name="connsiteX744" fmla="*/ 1756519 w 3832826"/>
                <a:gd name="connsiteY744" fmla="*/ 4100058 h 5120141"/>
                <a:gd name="connsiteX745" fmla="*/ 1752377 w 3832826"/>
                <a:gd name="connsiteY745" fmla="*/ 4090167 h 5120141"/>
                <a:gd name="connsiteX746" fmla="*/ 1741753 w 3832826"/>
                <a:gd name="connsiteY746" fmla="*/ 4086157 h 5120141"/>
                <a:gd name="connsiteX747" fmla="*/ 1733470 w 3832826"/>
                <a:gd name="connsiteY747" fmla="*/ 4082147 h 5120141"/>
                <a:gd name="connsiteX748" fmla="*/ 1716543 w 3832826"/>
                <a:gd name="connsiteY748" fmla="*/ 4070117 h 5120141"/>
                <a:gd name="connsiteX749" fmla="*/ 1706099 w 3832826"/>
                <a:gd name="connsiteY749" fmla="*/ 4060092 h 5120141"/>
                <a:gd name="connsiteX750" fmla="*/ 1701777 w 3832826"/>
                <a:gd name="connsiteY750" fmla="*/ 4052072 h 5120141"/>
                <a:gd name="connsiteX751" fmla="*/ 1699797 w 3832826"/>
                <a:gd name="connsiteY751" fmla="*/ 4048062 h 5120141"/>
                <a:gd name="connsiteX752" fmla="*/ 1695475 w 3832826"/>
                <a:gd name="connsiteY752" fmla="*/ 4038038 h 5120141"/>
                <a:gd name="connsiteX753" fmla="*/ 1699797 w 3832826"/>
                <a:gd name="connsiteY753" fmla="*/ 4030018 h 5120141"/>
                <a:gd name="connsiteX754" fmla="*/ 1701777 w 3832826"/>
                <a:gd name="connsiteY754" fmla="*/ 4021998 h 5120141"/>
                <a:gd name="connsiteX755" fmla="*/ 1706099 w 3832826"/>
                <a:gd name="connsiteY755" fmla="*/ 4017988 h 5120141"/>
                <a:gd name="connsiteX756" fmla="*/ 1714382 w 3832826"/>
                <a:gd name="connsiteY756" fmla="*/ 4007963 h 5120141"/>
                <a:gd name="connsiteX757" fmla="*/ 1716543 w 3832826"/>
                <a:gd name="connsiteY757" fmla="*/ 4001948 h 5120141"/>
                <a:gd name="connsiteX758" fmla="*/ 1720685 w 3832826"/>
                <a:gd name="connsiteY758" fmla="*/ 3997938 h 5120141"/>
                <a:gd name="connsiteX759" fmla="*/ 1716543 w 3832826"/>
                <a:gd name="connsiteY759" fmla="*/ 3991923 h 5120141"/>
                <a:gd name="connsiteX760" fmla="*/ 1712402 w 3832826"/>
                <a:gd name="connsiteY760" fmla="*/ 3985908 h 5120141"/>
                <a:gd name="connsiteX761" fmla="*/ 1701777 w 3832826"/>
                <a:gd name="connsiteY761" fmla="*/ 3975883 h 5120141"/>
                <a:gd name="connsiteX762" fmla="*/ 1695475 w 3832826"/>
                <a:gd name="connsiteY762" fmla="*/ 3973878 h 5120141"/>
                <a:gd name="connsiteX763" fmla="*/ 1691333 w 3832826"/>
                <a:gd name="connsiteY763" fmla="*/ 3965859 h 5120141"/>
                <a:gd name="connsiteX764" fmla="*/ 1689172 w 3832826"/>
                <a:gd name="connsiteY764" fmla="*/ 3957839 h 5120141"/>
                <a:gd name="connsiteX765" fmla="*/ 1691333 w 3832826"/>
                <a:gd name="connsiteY765" fmla="*/ 3953829 h 5120141"/>
                <a:gd name="connsiteX766" fmla="*/ 1691333 w 3832826"/>
                <a:gd name="connsiteY766" fmla="*/ 3945809 h 5120141"/>
                <a:gd name="connsiteX767" fmla="*/ 1689172 w 3832826"/>
                <a:gd name="connsiteY767" fmla="*/ 3937789 h 5120141"/>
                <a:gd name="connsiteX768" fmla="*/ 1687192 w 3832826"/>
                <a:gd name="connsiteY768" fmla="*/ 3927764 h 5120141"/>
                <a:gd name="connsiteX769" fmla="*/ 1689172 w 3832826"/>
                <a:gd name="connsiteY769" fmla="*/ 3919744 h 5120141"/>
                <a:gd name="connsiteX770" fmla="*/ 1691333 w 3832826"/>
                <a:gd name="connsiteY770" fmla="*/ 3915734 h 5120141"/>
                <a:gd name="connsiteX771" fmla="*/ 1699797 w 3832826"/>
                <a:gd name="connsiteY771" fmla="*/ 3909719 h 5120141"/>
                <a:gd name="connsiteX772" fmla="*/ 1714382 w 3832826"/>
                <a:gd name="connsiteY772" fmla="*/ 3905709 h 5120141"/>
                <a:gd name="connsiteX773" fmla="*/ 1731309 w 3832826"/>
                <a:gd name="connsiteY773" fmla="*/ 3899694 h 5120141"/>
                <a:gd name="connsiteX774" fmla="*/ 1735451 w 3832826"/>
                <a:gd name="connsiteY774" fmla="*/ 3897690 h 5120141"/>
                <a:gd name="connsiteX775" fmla="*/ 1737612 w 3832826"/>
                <a:gd name="connsiteY775" fmla="*/ 3893680 h 5120141"/>
                <a:gd name="connsiteX776" fmla="*/ 1746075 w 3832826"/>
                <a:gd name="connsiteY776" fmla="*/ 3879645 h 5120141"/>
                <a:gd name="connsiteX777" fmla="*/ 1748056 w 3832826"/>
                <a:gd name="connsiteY777" fmla="*/ 3863605 h 5120141"/>
                <a:gd name="connsiteX778" fmla="*/ 1752377 w 3832826"/>
                <a:gd name="connsiteY778" fmla="*/ 3843555 h 5120141"/>
                <a:gd name="connsiteX779" fmla="*/ 1754358 w 3832826"/>
                <a:gd name="connsiteY779" fmla="*/ 3823639 h 5120141"/>
                <a:gd name="connsiteX780" fmla="*/ 1752377 w 3832826"/>
                <a:gd name="connsiteY780" fmla="*/ 3803590 h 5120141"/>
                <a:gd name="connsiteX781" fmla="*/ 1748056 w 3832826"/>
                <a:gd name="connsiteY781" fmla="*/ 3785545 h 5120141"/>
                <a:gd name="connsiteX782" fmla="*/ 1746075 w 3832826"/>
                <a:gd name="connsiteY782" fmla="*/ 3773515 h 5120141"/>
                <a:gd name="connsiteX783" fmla="*/ 1737612 w 3832826"/>
                <a:gd name="connsiteY783" fmla="*/ 3761485 h 5120141"/>
                <a:gd name="connsiteX784" fmla="*/ 1727167 w 3832826"/>
                <a:gd name="connsiteY784" fmla="*/ 3747450 h 5120141"/>
                <a:gd name="connsiteX785" fmla="*/ 1695475 w 3832826"/>
                <a:gd name="connsiteY785" fmla="*/ 3721385 h 5120141"/>
                <a:gd name="connsiteX786" fmla="*/ 1661802 w 3832826"/>
                <a:gd name="connsiteY786" fmla="*/ 3695321 h 5120141"/>
                <a:gd name="connsiteX787" fmla="*/ 1636592 w 3832826"/>
                <a:gd name="connsiteY787" fmla="*/ 3675271 h 5120141"/>
                <a:gd name="connsiteX788" fmla="*/ 1519948 w 3832826"/>
                <a:gd name="connsiteY788" fmla="*/ 3568035 h 5120141"/>
                <a:gd name="connsiteX789" fmla="*/ 1518826 w 3832826"/>
                <a:gd name="connsiteY789" fmla="*/ 3569070 h 5120141"/>
                <a:gd name="connsiteX790" fmla="*/ 1510411 w 3832826"/>
                <a:gd name="connsiteY790" fmla="*/ 3561053 h 5120141"/>
                <a:gd name="connsiteX791" fmla="*/ 1497790 w 3832826"/>
                <a:gd name="connsiteY791" fmla="*/ 3553037 h 5120141"/>
                <a:gd name="connsiteX792" fmla="*/ 1468339 w 3832826"/>
                <a:gd name="connsiteY792" fmla="*/ 3537005 h 5120141"/>
                <a:gd name="connsiteX793" fmla="*/ 1409437 w 3832826"/>
                <a:gd name="connsiteY793" fmla="*/ 3514942 h 5120141"/>
                <a:gd name="connsiteX794" fmla="*/ 1386297 w 3832826"/>
                <a:gd name="connsiteY794" fmla="*/ 3504939 h 5120141"/>
                <a:gd name="connsiteX795" fmla="*/ 1365260 w 3832826"/>
                <a:gd name="connsiteY795" fmla="*/ 3492950 h 5120141"/>
                <a:gd name="connsiteX796" fmla="*/ 1363157 w 3832826"/>
                <a:gd name="connsiteY796" fmla="*/ 3486920 h 5120141"/>
                <a:gd name="connsiteX797" fmla="*/ 1361053 w 3832826"/>
                <a:gd name="connsiteY797" fmla="*/ 3482877 h 5120141"/>
                <a:gd name="connsiteX798" fmla="*/ 1358949 w 3832826"/>
                <a:gd name="connsiteY798" fmla="*/ 3474861 h 5120141"/>
                <a:gd name="connsiteX799" fmla="*/ 1354742 w 3832826"/>
                <a:gd name="connsiteY799" fmla="*/ 3470888 h 5120141"/>
                <a:gd name="connsiteX800" fmla="*/ 1340017 w 3832826"/>
                <a:gd name="connsiteY800" fmla="*/ 3446839 h 5120141"/>
                <a:gd name="connsiteX801" fmla="*/ 1318980 w 3832826"/>
                <a:gd name="connsiteY801" fmla="*/ 3426763 h 5120141"/>
                <a:gd name="connsiteX802" fmla="*/ 1316877 w 3832826"/>
                <a:gd name="connsiteY802" fmla="*/ 3426763 h 5120141"/>
                <a:gd name="connsiteX803" fmla="*/ 1310566 w 3832826"/>
                <a:gd name="connsiteY803" fmla="*/ 3422790 h 5120141"/>
                <a:gd name="connsiteX804" fmla="*/ 1300047 w 3832826"/>
                <a:gd name="connsiteY804" fmla="*/ 3416760 h 5120141"/>
                <a:gd name="connsiteX805" fmla="*/ 1297944 w 3832826"/>
                <a:gd name="connsiteY805" fmla="*/ 3414774 h 5120141"/>
                <a:gd name="connsiteX806" fmla="*/ 1297944 w 3832826"/>
                <a:gd name="connsiteY806" fmla="*/ 3410730 h 5120141"/>
                <a:gd name="connsiteX807" fmla="*/ 1300047 w 3832826"/>
                <a:gd name="connsiteY807" fmla="*/ 3402714 h 5120141"/>
                <a:gd name="connsiteX808" fmla="*/ 1308462 w 3832826"/>
                <a:gd name="connsiteY808" fmla="*/ 3394698 h 5120141"/>
                <a:gd name="connsiteX809" fmla="*/ 1297944 w 3832826"/>
                <a:gd name="connsiteY809" fmla="*/ 3380722 h 5120141"/>
                <a:gd name="connsiteX810" fmla="*/ 1291633 w 3832826"/>
                <a:gd name="connsiteY810" fmla="*/ 3366676 h 5120141"/>
                <a:gd name="connsiteX811" fmla="*/ 1291633 w 3832826"/>
                <a:gd name="connsiteY811" fmla="*/ 3354616 h 5120141"/>
                <a:gd name="connsiteX812" fmla="*/ 1295840 w 3832826"/>
                <a:gd name="connsiteY812" fmla="*/ 3344614 h 5120141"/>
                <a:gd name="connsiteX813" fmla="*/ 1300047 w 3832826"/>
                <a:gd name="connsiteY813" fmla="*/ 3334611 h 5120141"/>
                <a:gd name="connsiteX814" fmla="*/ 1306358 w 3832826"/>
                <a:gd name="connsiteY814" fmla="*/ 3324608 h 5120141"/>
                <a:gd name="connsiteX815" fmla="*/ 1308462 w 3832826"/>
                <a:gd name="connsiteY815" fmla="*/ 3318578 h 5120141"/>
                <a:gd name="connsiteX816" fmla="*/ 1306358 w 3832826"/>
                <a:gd name="connsiteY816" fmla="*/ 3310562 h 5120141"/>
                <a:gd name="connsiteX817" fmla="*/ 1302151 w 3832826"/>
                <a:gd name="connsiteY817" fmla="*/ 3302546 h 5120141"/>
                <a:gd name="connsiteX818" fmla="*/ 1295840 w 3832826"/>
                <a:gd name="connsiteY818" fmla="*/ 3294529 h 5120141"/>
                <a:gd name="connsiteX819" fmla="*/ 1295840 w 3832826"/>
                <a:gd name="connsiteY819" fmla="*/ 3290486 h 5120141"/>
                <a:gd name="connsiteX820" fmla="*/ 1291633 w 3832826"/>
                <a:gd name="connsiteY820" fmla="*/ 3288499 h 5120141"/>
                <a:gd name="connsiteX821" fmla="*/ 1297944 w 3832826"/>
                <a:gd name="connsiteY821" fmla="*/ 3280483 h 5120141"/>
                <a:gd name="connsiteX822" fmla="*/ 1302151 w 3832826"/>
                <a:gd name="connsiteY822" fmla="*/ 3272467 h 5120141"/>
                <a:gd name="connsiteX823" fmla="*/ 1306358 w 3832826"/>
                <a:gd name="connsiteY823" fmla="*/ 3262464 h 5120141"/>
                <a:gd name="connsiteX824" fmla="*/ 1306358 w 3832826"/>
                <a:gd name="connsiteY824" fmla="*/ 3258421 h 5120141"/>
                <a:gd name="connsiteX825" fmla="*/ 1302151 w 3832826"/>
                <a:gd name="connsiteY825" fmla="*/ 3252462 h 5120141"/>
                <a:gd name="connsiteX826" fmla="*/ 1302205 w 3832826"/>
                <a:gd name="connsiteY826" fmla="*/ 3250392 h 5120141"/>
                <a:gd name="connsiteX827" fmla="*/ 1302151 w 3832826"/>
                <a:gd name="connsiteY827" fmla="*/ 3250439 h 5120141"/>
                <a:gd name="connsiteX828" fmla="*/ 1270596 w 3832826"/>
                <a:gd name="connsiteY828" fmla="*/ 3222383 h 5120141"/>
                <a:gd name="connsiteX829" fmla="*/ 1268493 w 3832826"/>
                <a:gd name="connsiteY829" fmla="*/ 3218375 h 5120141"/>
                <a:gd name="connsiteX830" fmla="*/ 1264285 w 3832826"/>
                <a:gd name="connsiteY830" fmla="*/ 3218375 h 5120141"/>
                <a:gd name="connsiteX831" fmla="*/ 1257974 w 3832826"/>
                <a:gd name="connsiteY831" fmla="*/ 3220379 h 5120141"/>
                <a:gd name="connsiteX832" fmla="*/ 1253767 w 3832826"/>
                <a:gd name="connsiteY832" fmla="*/ 3222383 h 5120141"/>
                <a:gd name="connsiteX833" fmla="*/ 1245353 w 3832826"/>
                <a:gd name="connsiteY833" fmla="*/ 3222383 h 5120141"/>
                <a:gd name="connsiteX834" fmla="*/ 1228523 w 3832826"/>
                <a:gd name="connsiteY834" fmla="*/ 3220379 h 5120141"/>
                <a:gd name="connsiteX835" fmla="*/ 1207487 w 3832826"/>
                <a:gd name="connsiteY835" fmla="*/ 3218375 h 5120141"/>
                <a:gd name="connsiteX836" fmla="*/ 1201176 w 3832826"/>
                <a:gd name="connsiteY836" fmla="*/ 3218375 h 5120141"/>
                <a:gd name="connsiteX837" fmla="*/ 1192761 w 3832826"/>
                <a:gd name="connsiteY837" fmla="*/ 3220379 h 5120141"/>
                <a:gd name="connsiteX838" fmla="*/ 1190658 w 3832826"/>
                <a:gd name="connsiteY838" fmla="*/ 3226391 h 5120141"/>
                <a:gd name="connsiteX839" fmla="*/ 1192761 w 3832826"/>
                <a:gd name="connsiteY839" fmla="*/ 3236411 h 5120141"/>
                <a:gd name="connsiteX840" fmla="*/ 1182243 w 3832826"/>
                <a:gd name="connsiteY840" fmla="*/ 3236411 h 5120141"/>
                <a:gd name="connsiteX841" fmla="*/ 1175932 w 3832826"/>
                <a:gd name="connsiteY841" fmla="*/ 3230399 h 5120141"/>
                <a:gd name="connsiteX842" fmla="*/ 1171725 w 3832826"/>
                <a:gd name="connsiteY842" fmla="*/ 3222383 h 5120141"/>
                <a:gd name="connsiteX843" fmla="*/ 1169621 w 3832826"/>
                <a:gd name="connsiteY843" fmla="*/ 3216371 h 5120141"/>
                <a:gd name="connsiteX844" fmla="*/ 1161207 w 3832826"/>
                <a:gd name="connsiteY844" fmla="*/ 3196332 h 5120141"/>
                <a:gd name="connsiteX845" fmla="*/ 1159103 w 3832826"/>
                <a:gd name="connsiteY845" fmla="*/ 3186312 h 5120141"/>
                <a:gd name="connsiteX846" fmla="*/ 1150689 w 3832826"/>
                <a:gd name="connsiteY846" fmla="*/ 3180300 h 5120141"/>
                <a:gd name="connsiteX847" fmla="*/ 1142274 w 3832826"/>
                <a:gd name="connsiteY847" fmla="*/ 3172284 h 5120141"/>
                <a:gd name="connsiteX848" fmla="*/ 1138067 w 3832826"/>
                <a:gd name="connsiteY848" fmla="*/ 3166272 h 5120141"/>
                <a:gd name="connsiteX849" fmla="*/ 1133859 w 3832826"/>
                <a:gd name="connsiteY849" fmla="*/ 3156253 h 5120141"/>
                <a:gd name="connsiteX850" fmla="*/ 1133859 w 3832826"/>
                <a:gd name="connsiteY850" fmla="*/ 3144229 h 5120141"/>
                <a:gd name="connsiteX851" fmla="*/ 1138067 w 3832826"/>
                <a:gd name="connsiteY851" fmla="*/ 3130201 h 5120141"/>
                <a:gd name="connsiteX852" fmla="*/ 1142274 w 3832826"/>
                <a:gd name="connsiteY852" fmla="*/ 3126193 h 5120141"/>
                <a:gd name="connsiteX853" fmla="*/ 1148585 w 3832826"/>
                <a:gd name="connsiteY853" fmla="*/ 3124189 h 5120141"/>
                <a:gd name="connsiteX854" fmla="*/ 1154896 w 3832826"/>
                <a:gd name="connsiteY854" fmla="*/ 3118177 h 5120141"/>
                <a:gd name="connsiteX855" fmla="*/ 1161207 w 3832826"/>
                <a:gd name="connsiteY855" fmla="*/ 3110161 h 5120141"/>
                <a:gd name="connsiteX856" fmla="*/ 1163310 w 3832826"/>
                <a:gd name="connsiteY856" fmla="*/ 3106153 h 5120141"/>
                <a:gd name="connsiteX857" fmla="*/ 1161207 w 3832826"/>
                <a:gd name="connsiteY857" fmla="*/ 3090122 h 5120141"/>
                <a:gd name="connsiteX858" fmla="*/ 1159103 w 3832826"/>
                <a:gd name="connsiteY858" fmla="*/ 3076094 h 5120141"/>
                <a:gd name="connsiteX859" fmla="*/ 1159103 w 3832826"/>
                <a:gd name="connsiteY859" fmla="*/ 3068078 h 5120141"/>
                <a:gd name="connsiteX860" fmla="*/ 1159103 w 3832826"/>
                <a:gd name="connsiteY860" fmla="*/ 3060062 h 5120141"/>
                <a:gd name="connsiteX861" fmla="*/ 1161207 w 3832826"/>
                <a:gd name="connsiteY861" fmla="*/ 3056054 h 5120141"/>
                <a:gd name="connsiteX862" fmla="*/ 1159103 w 3832826"/>
                <a:gd name="connsiteY862" fmla="*/ 3050042 h 5120141"/>
                <a:gd name="connsiteX863" fmla="*/ 1154896 w 3832826"/>
                <a:gd name="connsiteY863" fmla="*/ 3048038 h 5120141"/>
                <a:gd name="connsiteX864" fmla="*/ 1150689 w 3832826"/>
                <a:gd name="connsiteY864" fmla="*/ 3046035 h 5120141"/>
                <a:gd name="connsiteX865" fmla="*/ 1140170 w 3832826"/>
                <a:gd name="connsiteY865" fmla="*/ 3044031 h 5120141"/>
                <a:gd name="connsiteX866" fmla="*/ 1133859 w 3832826"/>
                <a:gd name="connsiteY866" fmla="*/ 3040023 h 5120141"/>
                <a:gd name="connsiteX867" fmla="*/ 1131756 w 3832826"/>
                <a:gd name="connsiteY867" fmla="*/ 3038019 h 5120141"/>
                <a:gd name="connsiteX868" fmla="*/ 1127548 w 3832826"/>
                <a:gd name="connsiteY868" fmla="*/ 3030003 h 5120141"/>
                <a:gd name="connsiteX869" fmla="*/ 1123341 w 3832826"/>
                <a:gd name="connsiteY869" fmla="*/ 3023991 h 5120141"/>
                <a:gd name="connsiteX870" fmla="*/ 1127548 w 3832826"/>
                <a:gd name="connsiteY870" fmla="*/ 3015975 h 5120141"/>
                <a:gd name="connsiteX871" fmla="*/ 1127548 w 3832826"/>
                <a:gd name="connsiteY871" fmla="*/ 3007959 h 5120141"/>
                <a:gd name="connsiteX872" fmla="*/ 1121238 w 3832826"/>
                <a:gd name="connsiteY872" fmla="*/ 2989924 h 5120141"/>
                <a:gd name="connsiteX873" fmla="*/ 1119134 w 3832826"/>
                <a:gd name="connsiteY873" fmla="*/ 2983912 h 5120141"/>
                <a:gd name="connsiteX874" fmla="*/ 1119134 w 3832826"/>
                <a:gd name="connsiteY874" fmla="*/ 2975896 h 5120141"/>
                <a:gd name="connsiteX875" fmla="*/ 1119133 w 3832826"/>
                <a:gd name="connsiteY875" fmla="*/ 2975897 h 5120141"/>
                <a:gd name="connsiteX876" fmla="*/ 1119133 w 3832826"/>
                <a:gd name="connsiteY876" fmla="*/ 2965877 h 5120141"/>
                <a:gd name="connsiteX877" fmla="*/ 1112822 w 3832826"/>
                <a:gd name="connsiteY877" fmla="*/ 2955857 h 5120141"/>
                <a:gd name="connsiteX878" fmla="*/ 1106511 w 3832826"/>
                <a:gd name="connsiteY878" fmla="*/ 2949845 h 5120141"/>
                <a:gd name="connsiteX879" fmla="*/ 1095993 w 3832826"/>
                <a:gd name="connsiteY879" fmla="*/ 2945837 h 5120141"/>
                <a:gd name="connsiteX880" fmla="*/ 1074956 w 3832826"/>
                <a:gd name="connsiteY880" fmla="*/ 2935817 h 5120141"/>
                <a:gd name="connsiteX881" fmla="*/ 1066542 w 3832826"/>
                <a:gd name="connsiteY881" fmla="*/ 2929806 h 5120141"/>
                <a:gd name="connsiteX882" fmla="*/ 1064438 w 3832826"/>
                <a:gd name="connsiteY882" fmla="*/ 2923794 h 5120141"/>
                <a:gd name="connsiteX883" fmla="*/ 1064438 w 3832826"/>
                <a:gd name="connsiteY883" fmla="*/ 2815579 h 5120141"/>
                <a:gd name="connsiteX884" fmla="*/ 1064438 w 3832826"/>
                <a:gd name="connsiteY884" fmla="*/ 2763476 h 5120141"/>
                <a:gd name="connsiteX885" fmla="*/ 1066542 w 3832826"/>
                <a:gd name="connsiteY885" fmla="*/ 2707365 h 5120141"/>
                <a:gd name="connsiteX886" fmla="*/ 1070749 w 3832826"/>
                <a:gd name="connsiteY886" fmla="*/ 2697345 h 5120141"/>
                <a:gd name="connsiteX887" fmla="*/ 1077060 w 3832826"/>
                <a:gd name="connsiteY887" fmla="*/ 2687326 h 5120141"/>
                <a:gd name="connsiteX888" fmla="*/ 1074956 w 3832826"/>
                <a:gd name="connsiteY888" fmla="*/ 2683318 h 5120141"/>
                <a:gd name="connsiteX889" fmla="*/ 1070749 w 3832826"/>
                <a:gd name="connsiteY889" fmla="*/ 2681314 h 5120141"/>
                <a:gd name="connsiteX890" fmla="*/ 1066542 w 3832826"/>
                <a:gd name="connsiteY890" fmla="*/ 2677306 h 5120141"/>
                <a:gd name="connsiteX891" fmla="*/ 1058127 w 3832826"/>
                <a:gd name="connsiteY891" fmla="*/ 2675302 h 5120141"/>
                <a:gd name="connsiteX892" fmla="*/ 1053920 w 3832826"/>
                <a:gd name="connsiteY892" fmla="*/ 2671294 h 5120141"/>
                <a:gd name="connsiteX893" fmla="*/ 1049713 w 3832826"/>
                <a:gd name="connsiteY893" fmla="*/ 2657266 h 5120141"/>
                <a:gd name="connsiteX894" fmla="*/ 1053920 w 3832826"/>
                <a:gd name="connsiteY894" fmla="*/ 2645242 h 5120141"/>
                <a:gd name="connsiteX895" fmla="*/ 1058127 w 3832826"/>
                <a:gd name="connsiteY895" fmla="*/ 2633218 h 5120141"/>
                <a:gd name="connsiteX896" fmla="*/ 1058127 w 3832826"/>
                <a:gd name="connsiteY896" fmla="*/ 2623199 h 5120141"/>
                <a:gd name="connsiteX897" fmla="*/ 1058127 w 3832826"/>
                <a:gd name="connsiteY897" fmla="*/ 2613179 h 5120141"/>
                <a:gd name="connsiteX898" fmla="*/ 1056023 w 3832826"/>
                <a:gd name="connsiteY898" fmla="*/ 2601155 h 5120141"/>
                <a:gd name="connsiteX899" fmla="*/ 1049713 w 3832826"/>
                <a:gd name="connsiteY899" fmla="*/ 2577107 h 5120141"/>
                <a:gd name="connsiteX900" fmla="*/ 1047609 w 3832826"/>
                <a:gd name="connsiteY900" fmla="*/ 2565084 h 5120141"/>
                <a:gd name="connsiteX901" fmla="*/ 1049713 w 3832826"/>
                <a:gd name="connsiteY901" fmla="*/ 2555064 h 5120141"/>
                <a:gd name="connsiteX902" fmla="*/ 1053920 w 3832826"/>
                <a:gd name="connsiteY902" fmla="*/ 2547048 h 5120141"/>
                <a:gd name="connsiteX903" fmla="*/ 1060231 w 3832826"/>
                <a:gd name="connsiteY903" fmla="*/ 2543040 h 5120141"/>
                <a:gd name="connsiteX904" fmla="*/ 1058389 w 3832826"/>
                <a:gd name="connsiteY904" fmla="*/ 2529007 h 5120141"/>
                <a:gd name="connsiteX905" fmla="*/ 1056029 w 3832826"/>
                <a:gd name="connsiteY905" fmla="*/ 2529007 h 5120141"/>
                <a:gd name="connsiteX906" fmla="*/ 1049713 w 3832826"/>
                <a:gd name="connsiteY906" fmla="*/ 2535024 h 5120141"/>
                <a:gd name="connsiteX907" fmla="*/ 1049713 w 3832826"/>
                <a:gd name="connsiteY907" fmla="*/ 2533020 h 5120141"/>
                <a:gd name="connsiteX908" fmla="*/ 1049713 w 3832826"/>
                <a:gd name="connsiteY908" fmla="*/ 2529007 h 5120141"/>
                <a:gd name="connsiteX909" fmla="*/ 904562 w 3832826"/>
                <a:gd name="connsiteY909" fmla="*/ 2529007 h 5120141"/>
                <a:gd name="connsiteX910" fmla="*/ 904562 w 3832826"/>
                <a:gd name="connsiteY910" fmla="*/ 2129394 h 5120141"/>
                <a:gd name="connsiteX911" fmla="*/ 889837 w 3832826"/>
                <a:gd name="connsiteY911" fmla="*/ 2130219 h 5120141"/>
                <a:gd name="connsiteX912" fmla="*/ 868800 w 3832826"/>
                <a:gd name="connsiteY912" fmla="*/ 2132223 h 5120141"/>
                <a:gd name="connsiteX913" fmla="*/ 841453 w 3832826"/>
                <a:gd name="connsiteY913" fmla="*/ 2130219 h 5120141"/>
                <a:gd name="connsiteX914" fmla="*/ 816209 w 3832826"/>
                <a:gd name="connsiteY914" fmla="*/ 2132223 h 5120141"/>
                <a:gd name="connsiteX915" fmla="*/ 793069 w 3832826"/>
                <a:gd name="connsiteY915" fmla="*/ 2140239 h 5120141"/>
                <a:gd name="connsiteX916" fmla="*/ 769929 w 3832826"/>
                <a:gd name="connsiteY916" fmla="*/ 2150258 h 5120141"/>
                <a:gd name="connsiteX917" fmla="*/ 748892 w 3832826"/>
                <a:gd name="connsiteY917" fmla="*/ 2162282 h 5120141"/>
                <a:gd name="connsiteX918" fmla="*/ 738374 w 3832826"/>
                <a:gd name="connsiteY918" fmla="*/ 2164286 h 5120141"/>
                <a:gd name="connsiteX919" fmla="*/ 732063 w 3832826"/>
                <a:gd name="connsiteY919" fmla="*/ 2164286 h 5120141"/>
                <a:gd name="connsiteX920" fmla="*/ 725752 w 3832826"/>
                <a:gd name="connsiteY920" fmla="*/ 2162282 h 5120141"/>
                <a:gd name="connsiteX921" fmla="*/ 704716 w 3832826"/>
                <a:gd name="connsiteY921" fmla="*/ 2152262 h 5120141"/>
                <a:gd name="connsiteX922" fmla="*/ 692094 w 3832826"/>
                <a:gd name="connsiteY922" fmla="*/ 2150258 h 5120141"/>
                <a:gd name="connsiteX923" fmla="*/ 677369 w 3832826"/>
                <a:gd name="connsiteY923" fmla="*/ 2150258 h 5120141"/>
                <a:gd name="connsiteX924" fmla="*/ 677369 w 3832826"/>
                <a:gd name="connsiteY924" fmla="*/ 2140239 h 5120141"/>
                <a:gd name="connsiteX925" fmla="*/ 675265 w 3832826"/>
                <a:gd name="connsiteY925" fmla="*/ 2128215 h 5120141"/>
                <a:gd name="connsiteX926" fmla="*/ 664747 w 3832826"/>
                <a:gd name="connsiteY926" fmla="*/ 2104167 h 5120141"/>
                <a:gd name="connsiteX927" fmla="*/ 643710 w 3832826"/>
                <a:gd name="connsiteY927" fmla="*/ 2062084 h 5120141"/>
                <a:gd name="connsiteX928" fmla="*/ 639503 w 3832826"/>
                <a:gd name="connsiteY928" fmla="*/ 2060080 h 5120141"/>
                <a:gd name="connsiteX929" fmla="*/ 633192 w 3832826"/>
                <a:gd name="connsiteY929" fmla="*/ 2056072 h 5120141"/>
                <a:gd name="connsiteX930" fmla="*/ 635296 w 3832826"/>
                <a:gd name="connsiteY930" fmla="*/ 2050060 h 5120141"/>
                <a:gd name="connsiteX931" fmla="*/ 635296 w 3832826"/>
                <a:gd name="connsiteY931" fmla="*/ 2042044 h 5120141"/>
                <a:gd name="connsiteX932" fmla="*/ 624777 w 3832826"/>
                <a:gd name="connsiteY932" fmla="*/ 2028016 h 5120141"/>
                <a:gd name="connsiteX933" fmla="*/ 612156 w 3832826"/>
                <a:gd name="connsiteY933" fmla="*/ 2009980 h 5120141"/>
                <a:gd name="connsiteX934" fmla="*/ 591119 w 3832826"/>
                <a:gd name="connsiteY934" fmla="*/ 1967897 h 5120141"/>
                <a:gd name="connsiteX935" fmla="*/ 570083 w 3832826"/>
                <a:gd name="connsiteY935" fmla="*/ 1925813 h 5120141"/>
                <a:gd name="connsiteX936" fmla="*/ 561668 w 3832826"/>
                <a:gd name="connsiteY936" fmla="*/ 1909781 h 5120141"/>
                <a:gd name="connsiteX937" fmla="*/ 555357 w 3832826"/>
                <a:gd name="connsiteY937" fmla="*/ 1897757 h 5120141"/>
                <a:gd name="connsiteX938" fmla="*/ 544839 w 3832826"/>
                <a:gd name="connsiteY938" fmla="*/ 1887738 h 5120141"/>
                <a:gd name="connsiteX939" fmla="*/ 530114 w 3832826"/>
                <a:gd name="connsiteY939" fmla="*/ 1879722 h 5120141"/>
                <a:gd name="connsiteX940" fmla="*/ 517492 w 3832826"/>
                <a:gd name="connsiteY940" fmla="*/ 1877718 h 5120141"/>
                <a:gd name="connsiteX941" fmla="*/ 502766 w 3832826"/>
                <a:gd name="connsiteY941" fmla="*/ 1877718 h 5120141"/>
                <a:gd name="connsiteX942" fmla="*/ 488041 w 3832826"/>
                <a:gd name="connsiteY942" fmla="*/ 1877718 h 5120141"/>
                <a:gd name="connsiteX943" fmla="*/ 481730 w 3832826"/>
                <a:gd name="connsiteY943" fmla="*/ 1875714 h 5120141"/>
                <a:gd name="connsiteX944" fmla="*/ 473315 w 3832826"/>
                <a:gd name="connsiteY944" fmla="*/ 1873710 h 5120141"/>
                <a:gd name="connsiteX945" fmla="*/ 473315 w 3832826"/>
                <a:gd name="connsiteY945" fmla="*/ 1857678 h 5120141"/>
                <a:gd name="connsiteX946" fmla="*/ 471212 w 3832826"/>
                <a:gd name="connsiteY946" fmla="*/ 1847658 h 5120141"/>
                <a:gd name="connsiteX947" fmla="*/ 462797 w 3832826"/>
                <a:gd name="connsiteY947" fmla="*/ 1829622 h 5120141"/>
                <a:gd name="connsiteX948" fmla="*/ 462797 w 3832826"/>
                <a:gd name="connsiteY948" fmla="*/ 1823611 h 5120141"/>
                <a:gd name="connsiteX949" fmla="*/ 467004 w 3832826"/>
                <a:gd name="connsiteY949" fmla="*/ 1817599 h 5120141"/>
                <a:gd name="connsiteX950" fmla="*/ 481730 w 3832826"/>
                <a:gd name="connsiteY950" fmla="*/ 1815595 h 5120141"/>
                <a:gd name="connsiteX951" fmla="*/ 491767 w 3832826"/>
                <a:gd name="connsiteY951" fmla="*/ 1801335 h 5120141"/>
                <a:gd name="connsiteX952" fmla="*/ 486799 w 3832826"/>
                <a:gd name="connsiteY952" fmla="*/ 1797561 h 5120141"/>
                <a:gd name="connsiteX953" fmla="*/ 476248 w 3832826"/>
                <a:gd name="connsiteY953" fmla="*/ 1787541 h 5120141"/>
                <a:gd name="connsiteX954" fmla="*/ 465697 w 3832826"/>
                <a:gd name="connsiteY954" fmla="*/ 1779525 h 5120141"/>
                <a:gd name="connsiteX955" fmla="*/ 463587 w 3832826"/>
                <a:gd name="connsiteY955" fmla="*/ 1775517 h 5120141"/>
                <a:gd name="connsiteX956" fmla="*/ 463587 w 3832826"/>
                <a:gd name="connsiteY956" fmla="*/ 1769505 h 5120141"/>
                <a:gd name="connsiteX957" fmla="*/ 463587 w 3832826"/>
                <a:gd name="connsiteY957" fmla="*/ 1757481 h 5120141"/>
                <a:gd name="connsiteX958" fmla="*/ 465697 w 3832826"/>
                <a:gd name="connsiteY958" fmla="*/ 1747461 h 5120141"/>
                <a:gd name="connsiteX959" fmla="*/ 463587 w 3832826"/>
                <a:gd name="connsiteY959" fmla="*/ 1737442 h 5120141"/>
                <a:gd name="connsiteX960" fmla="*/ 455146 w 3832826"/>
                <a:gd name="connsiteY960" fmla="*/ 1735438 h 5120141"/>
                <a:gd name="connsiteX961" fmla="*/ 438265 w 3832826"/>
                <a:gd name="connsiteY961" fmla="*/ 1729426 h 5120141"/>
                <a:gd name="connsiteX962" fmla="*/ 423494 w 3832826"/>
                <a:gd name="connsiteY962" fmla="*/ 1723414 h 5120141"/>
                <a:gd name="connsiteX963" fmla="*/ 415054 w 3832826"/>
                <a:gd name="connsiteY963" fmla="*/ 1717402 h 5120141"/>
                <a:gd name="connsiteX964" fmla="*/ 412943 w 3832826"/>
                <a:gd name="connsiteY964" fmla="*/ 1715398 h 5120141"/>
                <a:gd name="connsiteX965" fmla="*/ 406613 w 3832826"/>
                <a:gd name="connsiteY965" fmla="*/ 1699366 h 5120141"/>
                <a:gd name="connsiteX966" fmla="*/ 404503 w 3832826"/>
                <a:gd name="connsiteY966" fmla="*/ 1677323 h 5120141"/>
                <a:gd name="connsiteX967" fmla="*/ 404503 w 3832826"/>
                <a:gd name="connsiteY967" fmla="*/ 1657283 h 5120141"/>
                <a:gd name="connsiteX968" fmla="*/ 406613 w 3832826"/>
                <a:gd name="connsiteY968" fmla="*/ 1643255 h 5120141"/>
                <a:gd name="connsiteX969" fmla="*/ 410833 w 3832826"/>
                <a:gd name="connsiteY969" fmla="*/ 1637243 h 5120141"/>
                <a:gd name="connsiteX970" fmla="*/ 415054 w 3832826"/>
                <a:gd name="connsiteY970" fmla="*/ 1635239 h 5120141"/>
                <a:gd name="connsiteX971" fmla="*/ 421384 w 3832826"/>
                <a:gd name="connsiteY971" fmla="*/ 1631231 h 5120141"/>
                <a:gd name="connsiteX972" fmla="*/ 421384 w 3832826"/>
                <a:gd name="connsiteY972" fmla="*/ 1621212 h 5120141"/>
                <a:gd name="connsiteX973" fmla="*/ 417164 w 3832826"/>
                <a:gd name="connsiteY973" fmla="*/ 1613196 h 5120141"/>
                <a:gd name="connsiteX974" fmla="*/ 406613 w 3832826"/>
                <a:gd name="connsiteY974" fmla="*/ 1605180 h 5120141"/>
                <a:gd name="connsiteX975" fmla="*/ 391842 w 3832826"/>
                <a:gd name="connsiteY975" fmla="*/ 1593156 h 5120141"/>
                <a:gd name="connsiteX976" fmla="*/ 374961 w 3832826"/>
                <a:gd name="connsiteY976" fmla="*/ 1587144 h 5120141"/>
                <a:gd name="connsiteX977" fmla="*/ 355969 w 3832826"/>
                <a:gd name="connsiteY977" fmla="*/ 1585140 h 5120141"/>
                <a:gd name="connsiteX978" fmla="*/ 317987 w 3832826"/>
                <a:gd name="connsiteY978" fmla="*/ 1581132 h 5120141"/>
                <a:gd name="connsiteX979" fmla="*/ 296885 w 3832826"/>
                <a:gd name="connsiteY979" fmla="*/ 1577124 h 5120141"/>
                <a:gd name="connsiteX980" fmla="*/ 277894 w 3832826"/>
                <a:gd name="connsiteY980" fmla="*/ 1571112 h 5120141"/>
                <a:gd name="connsiteX981" fmla="*/ 263123 w 3832826"/>
                <a:gd name="connsiteY981" fmla="*/ 1561093 h 5120141"/>
                <a:gd name="connsiteX982" fmla="*/ 246242 w 3832826"/>
                <a:gd name="connsiteY982" fmla="*/ 1545061 h 5120141"/>
                <a:gd name="connsiteX983" fmla="*/ 229361 w 3832826"/>
                <a:gd name="connsiteY983" fmla="*/ 1533037 h 5120141"/>
                <a:gd name="connsiteX984" fmla="*/ 220920 w 3832826"/>
                <a:gd name="connsiteY984" fmla="*/ 1523017 h 5120141"/>
                <a:gd name="connsiteX985" fmla="*/ 212479 w 3832826"/>
                <a:gd name="connsiteY985" fmla="*/ 1515001 h 5120141"/>
                <a:gd name="connsiteX986" fmla="*/ 210369 w 3832826"/>
                <a:gd name="connsiteY986" fmla="*/ 1504982 h 5120141"/>
                <a:gd name="connsiteX987" fmla="*/ 208259 w 3832826"/>
                <a:gd name="connsiteY987" fmla="*/ 1494962 h 5120141"/>
                <a:gd name="connsiteX988" fmla="*/ 210369 w 3832826"/>
                <a:gd name="connsiteY988" fmla="*/ 1486946 h 5120141"/>
                <a:gd name="connsiteX989" fmla="*/ 218810 w 3832826"/>
                <a:gd name="connsiteY989" fmla="*/ 1476926 h 5120141"/>
                <a:gd name="connsiteX990" fmla="*/ 223030 w 3832826"/>
                <a:gd name="connsiteY990" fmla="*/ 1472918 h 5120141"/>
                <a:gd name="connsiteX991" fmla="*/ 223030 w 3832826"/>
                <a:gd name="connsiteY991" fmla="*/ 1464902 h 5120141"/>
                <a:gd name="connsiteX992" fmla="*/ 214590 w 3832826"/>
                <a:gd name="connsiteY992" fmla="*/ 1450874 h 5120141"/>
                <a:gd name="connsiteX993" fmla="*/ 212479 w 3832826"/>
                <a:gd name="connsiteY993" fmla="*/ 1444863 h 5120141"/>
                <a:gd name="connsiteX994" fmla="*/ 214590 w 3832826"/>
                <a:gd name="connsiteY994" fmla="*/ 1442859 h 5120141"/>
                <a:gd name="connsiteX995" fmla="*/ 220920 w 3832826"/>
                <a:gd name="connsiteY995" fmla="*/ 1442859 h 5120141"/>
                <a:gd name="connsiteX996" fmla="*/ 235691 w 3832826"/>
                <a:gd name="connsiteY996" fmla="*/ 1444863 h 5120141"/>
                <a:gd name="connsiteX997" fmla="*/ 242685 w 3832826"/>
                <a:gd name="connsiteY997" fmla="*/ 1444830 h 5120141"/>
                <a:gd name="connsiteX998" fmla="*/ 239592 w 3832826"/>
                <a:gd name="connsiteY998" fmla="*/ 1442715 h 5120141"/>
                <a:gd name="connsiteX999" fmla="*/ 240798 w 3832826"/>
                <a:gd name="connsiteY999" fmla="*/ 1440839 h 5120141"/>
                <a:gd name="connsiteX1000" fmla="*/ 237706 w 3832826"/>
                <a:gd name="connsiteY1000" fmla="*/ 1440853 h 5120141"/>
                <a:gd name="connsiteX1001" fmla="*/ 241926 w 3832826"/>
                <a:gd name="connsiteY1001" fmla="*/ 1378746 h 5120141"/>
                <a:gd name="connsiteX1002" fmla="*/ 241926 w 3832826"/>
                <a:gd name="connsiteY1002" fmla="*/ 1346677 h 5120141"/>
                <a:gd name="connsiteX1003" fmla="*/ 237706 w 3832826"/>
                <a:gd name="connsiteY1003" fmla="*/ 1316605 h 5120141"/>
                <a:gd name="connsiteX1004" fmla="*/ 237706 w 3832826"/>
                <a:gd name="connsiteY1004" fmla="*/ 1314609 h 5120141"/>
                <a:gd name="connsiteX1005" fmla="*/ 237706 w 3832826"/>
                <a:gd name="connsiteY1005" fmla="*/ 1300571 h 5120141"/>
                <a:gd name="connsiteX1006" fmla="*/ 237706 w 3832826"/>
                <a:gd name="connsiteY1006" fmla="*/ 1290558 h 5120141"/>
                <a:gd name="connsiteX1007" fmla="*/ 237706 w 3832826"/>
                <a:gd name="connsiteY1007" fmla="*/ 1288562 h 5120141"/>
                <a:gd name="connsiteX1008" fmla="*/ 235558 w 3832826"/>
                <a:gd name="connsiteY1008" fmla="*/ 1286533 h 5120141"/>
                <a:gd name="connsiteX1009" fmla="*/ 231412 w 3832826"/>
                <a:gd name="connsiteY1009" fmla="*/ 1284537 h 5120141"/>
                <a:gd name="connsiteX1010" fmla="*/ 223044 w 3832826"/>
                <a:gd name="connsiteY1010" fmla="*/ 1284537 h 5120141"/>
                <a:gd name="connsiteX1011" fmla="*/ 132485 w 3832826"/>
                <a:gd name="connsiteY1011" fmla="*/ 1284537 h 5120141"/>
                <a:gd name="connsiteX1012" fmla="*/ 132485 w 3832826"/>
                <a:gd name="connsiteY1012" fmla="*/ 1226421 h 5120141"/>
                <a:gd name="connsiteX1013" fmla="*/ 130486 w 3832826"/>
                <a:gd name="connsiteY1013" fmla="*/ 1194353 h 5120141"/>
                <a:gd name="connsiteX1014" fmla="*/ 128264 w 3832826"/>
                <a:gd name="connsiteY1014" fmla="*/ 1184340 h 5120141"/>
                <a:gd name="connsiteX1015" fmla="*/ 126191 w 3832826"/>
                <a:gd name="connsiteY1015" fmla="*/ 1178319 h 5120141"/>
                <a:gd name="connsiteX1016" fmla="*/ 122045 w 3832826"/>
                <a:gd name="connsiteY1016" fmla="*/ 1178319 h 5120141"/>
                <a:gd name="connsiteX1017" fmla="*/ 117750 w 3832826"/>
                <a:gd name="connsiteY1017" fmla="*/ 1176323 h 5120141"/>
                <a:gd name="connsiteX1018" fmla="*/ 117750 w 3832826"/>
                <a:gd name="connsiteY1018" fmla="*/ 1174327 h 5120141"/>
                <a:gd name="connsiteX1019" fmla="*/ 117750 w 3832826"/>
                <a:gd name="connsiteY1019" fmla="*/ 1164314 h 5120141"/>
                <a:gd name="connsiteX1020" fmla="*/ 117750 w 3832826"/>
                <a:gd name="connsiteY1020" fmla="*/ 1158293 h 5120141"/>
                <a:gd name="connsiteX1021" fmla="*/ 115751 w 3832826"/>
                <a:gd name="connsiteY1021" fmla="*/ 1154301 h 5120141"/>
                <a:gd name="connsiteX1022" fmla="*/ 111456 w 3832826"/>
                <a:gd name="connsiteY1022" fmla="*/ 1152272 h 5120141"/>
                <a:gd name="connsiteX1023" fmla="*/ 105162 w 3832826"/>
                <a:gd name="connsiteY1023" fmla="*/ 1148280 h 5120141"/>
                <a:gd name="connsiteX1024" fmla="*/ 100941 w 3832826"/>
                <a:gd name="connsiteY1024" fmla="*/ 1148280 h 5120141"/>
                <a:gd name="connsiteX1025" fmla="*/ 98868 w 3832826"/>
                <a:gd name="connsiteY1025" fmla="*/ 1144255 h 5120141"/>
                <a:gd name="connsiteX1026" fmla="*/ 98868 w 3832826"/>
                <a:gd name="connsiteY1026" fmla="*/ 1134242 h 5120141"/>
                <a:gd name="connsiteX1027" fmla="*/ 98868 w 3832826"/>
                <a:gd name="connsiteY1027" fmla="*/ 1112205 h 5120141"/>
                <a:gd name="connsiteX1028" fmla="*/ 96768 w 3832826"/>
                <a:gd name="connsiteY1028" fmla="*/ 1112205 h 5120141"/>
                <a:gd name="connsiteX1029" fmla="*/ 84146 w 3832826"/>
                <a:gd name="connsiteY1029" fmla="*/ 1076133 h 5120141"/>
                <a:gd name="connsiteX1030" fmla="*/ 82042 w 3832826"/>
                <a:gd name="connsiteY1030" fmla="*/ 1056094 h 5120141"/>
                <a:gd name="connsiteX1031" fmla="*/ 84146 w 3832826"/>
                <a:gd name="connsiteY1031" fmla="*/ 1046074 h 5120141"/>
                <a:gd name="connsiteX1032" fmla="*/ 86250 w 3832826"/>
                <a:gd name="connsiteY1032" fmla="*/ 1036054 h 5120141"/>
                <a:gd name="connsiteX1033" fmla="*/ 96768 w 3832826"/>
                <a:gd name="connsiteY1033" fmla="*/ 1018018 h 5120141"/>
                <a:gd name="connsiteX1034" fmla="*/ 103079 w 3832826"/>
                <a:gd name="connsiteY1034" fmla="*/ 1003990 h 5120141"/>
                <a:gd name="connsiteX1035" fmla="*/ 103079 w 3832826"/>
                <a:gd name="connsiteY1035" fmla="*/ 995974 h 5120141"/>
                <a:gd name="connsiteX1036" fmla="*/ 103079 w 3832826"/>
                <a:gd name="connsiteY1036" fmla="*/ 987959 h 5120141"/>
                <a:gd name="connsiteX1037" fmla="*/ 92561 w 3832826"/>
                <a:gd name="connsiteY1037" fmla="*/ 965915 h 5120141"/>
                <a:gd name="connsiteX1038" fmla="*/ 73628 w 3832826"/>
                <a:gd name="connsiteY1038" fmla="*/ 903792 h 5120141"/>
                <a:gd name="connsiteX1039" fmla="*/ 67317 w 3832826"/>
                <a:gd name="connsiteY1039" fmla="*/ 869724 h 5120141"/>
                <a:gd name="connsiteX1040" fmla="*/ 63110 w 3832826"/>
                <a:gd name="connsiteY1040" fmla="*/ 837661 h 5120141"/>
                <a:gd name="connsiteX1041" fmla="*/ 63110 w 3832826"/>
                <a:gd name="connsiteY1041" fmla="*/ 823633 h 5120141"/>
                <a:gd name="connsiteX1042" fmla="*/ 65213 w 3832826"/>
                <a:gd name="connsiteY1042" fmla="*/ 807601 h 5120141"/>
                <a:gd name="connsiteX1043" fmla="*/ 65213 w 3832826"/>
                <a:gd name="connsiteY1043" fmla="*/ 781549 h 5120141"/>
                <a:gd name="connsiteX1044" fmla="*/ 63110 w 3832826"/>
                <a:gd name="connsiteY1044" fmla="*/ 767522 h 5120141"/>
                <a:gd name="connsiteX1045" fmla="*/ 56799 w 3832826"/>
                <a:gd name="connsiteY1045" fmla="*/ 757502 h 5120141"/>
                <a:gd name="connsiteX1046" fmla="*/ 46281 w 3832826"/>
                <a:gd name="connsiteY1046" fmla="*/ 747482 h 5120141"/>
                <a:gd name="connsiteX1047" fmla="*/ 29452 w 3832826"/>
                <a:gd name="connsiteY1047" fmla="*/ 741470 h 5120141"/>
                <a:gd name="connsiteX1048" fmla="*/ 27348 w 3832826"/>
                <a:gd name="connsiteY1048" fmla="*/ 733454 h 5120141"/>
                <a:gd name="connsiteX1049" fmla="*/ 29452 w 3832826"/>
                <a:gd name="connsiteY1049" fmla="*/ 725438 h 5120141"/>
                <a:gd name="connsiteX1050" fmla="*/ 31555 w 3832826"/>
                <a:gd name="connsiteY1050" fmla="*/ 717422 h 5120141"/>
                <a:gd name="connsiteX1051" fmla="*/ 39970 w 3832826"/>
                <a:gd name="connsiteY1051" fmla="*/ 711410 h 5120141"/>
                <a:gd name="connsiteX1052" fmla="*/ 46281 w 3832826"/>
                <a:gd name="connsiteY1052" fmla="*/ 705398 h 5120141"/>
                <a:gd name="connsiteX1053" fmla="*/ 52880 w 3832826"/>
                <a:gd name="connsiteY1053" fmla="*/ 703827 h 5120141"/>
                <a:gd name="connsiteX1054" fmla="*/ 52638 w 3832826"/>
                <a:gd name="connsiteY1054" fmla="*/ 703357 h 5120141"/>
                <a:gd name="connsiteX1055" fmla="*/ 44132 w 3832826"/>
                <a:gd name="connsiteY1055" fmla="*/ 705433 h 5120141"/>
                <a:gd name="connsiteX1056" fmla="*/ 37845 w 3832826"/>
                <a:gd name="connsiteY1056" fmla="*/ 711439 h 5120141"/>
                <a:gd name="connsiteX1057" fmla="*/ 29462 w 3832826"/>
                <a:gd name="connsiteY1057" fmla="*/ 717445 h 5120141"/>
                <a:gd name="connsiteX1058" fmla="*/ 27367 w 3832826"/>
                <a:gd name="connsiteY1058" fmla="*/ 725453 h 5120141"/>
                <a:gd name="connsiteX1059" fmla="*/ 25271 w 3832826"/>
                <a:gd name="connsiteY1059" fmla="*/ 733461 h 5120141"/>
                <a:gd name="connsiteX1060" fmla="*/ 27367 w 3832826"/>
                <a:gd name="connsiteY1060" fmla="*/ 741469 h 5120141"/>
                <a:gd name="connsiteX1061" fmla="*/ 16888 w 3832826"/>
                <a:gd name="connsiteY1061" fmla="*/ 737465 h 5120141"/>
                <a:gd name="connsiteX1062" fmla="*/ 10478 w 3832826"/>
                <a:gd name="connsiteY1062" fmla="*/ 733461 h 5120141"/>
                <a:gd name="connsiteX1063" fmla="*/ 6287 w 3832826"/>
                <a:gd name="connsiteY1063" fmla="*/ 727455 h 5120141"/>
                <a:gd name="connsiteX1064" fmla="*/ 4191 w 3832826"/>
                <a:gd name="connsiteY1064" fmla="*/ 721449 h 5120141"/>
                <a:gd name="connsiteX1065" fmla="*/ 0 w 3832826"/>
                <a:gd name="connsiteY1065" fmla="*/ 713441 h 5120141"/>
                <a:gd name="connsiteX1066" fmla="*/ 4191 w 3832826"/>
                <a:gd name="connsiteY1066" fmla="*/ 705433 h 5120141"/>
                <a:gd name="connsiteX1067" fmla="*/ 8383 w 3832826"/>
                <a:gd name="connsiteY1067" fmla="*/ 691346 h 5120141"/>
                <a:gd name="connsiteX1068" fmla="*/ 16888 w 3832826"/>
                <a:gd name="connsiteY1068" fmla="*/ 673328 h 5120141"/>
                <a:gd name="connsiteX1069" fmla="*/ 27367 w 3832826"/>
                <a:gd name="connsiteY1069" fmla="*/ 657312 h 5120141"/>
                <a:gd name="connsiteX1070" fmla="*/ 44132 w 3832826"/>
                <a:gd name="connsiteY1070" fmla="*/ 637292 h 5120141"/>
                <a:gd name="connsiteX1071" fmla="*/ 50542 w 3832826"/>
                <a:gd name="connsiteY1071" fmla="*/ 631287 h 5120141"/>
                <a:gd name="connsiteX1072" fmla="*/ 52638 w 3832826"/>
                <a:gd name="connsiteY1072" fmla="*/ 625206 h 5120141"/>
                <a:gd name="connsiteX1073" fmla="*/ 52638 w 3832826"/>
                <a:gd name="connsiteY1073" fmla="*/ 623205 h 5120141"/>
                <a:gd name="connsiteX1074" fmla="*/ 63116 w 3832826"/>
                <a:gd name="connsiteY1074" fmla="*/ 621203 h 5120141"/>
                <a:gd name="connsiteX1075" fmla="*/ 75690 w 3832826"/>
                <a:gd name="connsiteY1075" fmla="*/ 617199 h 5120141"/>
                <a:gd name="connsiteX1076" fmla="*/ 86291 w 3832826"/>
                <a:gd name="connsiteY1076" fmla="*/ 611193 h 5120141"/>
                <a:gd name="connsiteX1077" fmla="*/ 100961 w 3832826"/>
                <a:gd name="connsiteY1077" fmla="*/ 599181 h 5120141"/>
                <a:gd name="connsiteX1078" fmla="*/ 107248 w 3832826"/>
                <a:gd name="connsiteY1078" fmla="*/ 595177 h 5120141"/>
                <a:gd name="connsiteX1079" fmla="*/ 113658 w 3832826"/>
                <a:gd name="connsiteY1079" fmla="*/ 595177 h 5120141"/>
                <a:gd name="connsiteX1080" fmla="*/ 117849 w 3832826"/>
                <a:gd name="connsiteY1080" fmla="*/ 599181 h 5120141"/>
                <a:gd name="connsiteX1081" fmla="*/ 136710 w 3832826"/>
                <a:gd name="connsiteY1081" fmla="*/ 579161 h 5120141"/>
                <a:gd name="connsiteX1082" fmla="*/ 147311 w 3832826"/>
                <a:gd name="connsiteY1082" fmla="*/ 569151 h 5120141"/>
                <a:gd name="connsiteX1083" fmla="*/ 153598 w 3832826"/>
                <a:gd name="connsiteY1083" fmla="*/ 559142 h 5120141"/>
                <a:gd name="connsiteX1084" fmla="*/ 157790 w 3832826"/>
                <a:gd name="connsiteY1084" fmla="*/ 551060 h 5120141"/>
                <a:gd name="connsiteX1085" fmla="*/ 164077 w 3832826"/>
                <a:gd name="connsiteY1085" fmla="*/ 549058 h 5120141"/>
                <a:gd name="connsiteX1086" fmla="*/ 176650 w 3832826"/>
                <a:gd name="connsiteY1086" fmla="*/ 543052 h 5120141"/>
                <a:gd name="connsiteX1087" fmla="*/ 185156 w 3832826"/>
                <a:gd name="connsiteY1087" fmla="*/ 541050 h 5120141"/>
                <a:gd name="connsiteX1088" fmla="*/ 189348 w 3832826"/>
                <a:gd name="connsiteY1088" fmla="*/ 539048 h 5120141"/>
                <a:gd name="connsiteX1089" fmla="*/ 195634 w 3832826"/>
                <a:gd name="connsiteY1089" fmla="*/ 533042 h 5120141"/>
                <a:gd name="connsiteX1090" fmla="*/ 197730 w 3832826"/>
                <a:gd name="connsiteY1090" fmla="*/ 525034 h 5120141"/>
                <a:gd name="connsiteX1091" fmla="*/ 201921 w 3832826"/>
                <a:gd name="connsiteY1091" fmla="*/ 521030 h 5120141"/>
                <a:gd name="connsiteX1092" fmla="*/ 212523 w 3832826"/>
                <a:gd name="connsiteY1092" fmla="*/ 511020 h 5120141"/>
                <a:gd name="connsiteX1093" fmla="*/ 233480 w 3832826"/>
                <a:gd name="connsiteY1093" fmla="*/ 495005 h 5120141"/>
                <a:gd name="connsiteX1094" fmla="*/ 250368 w 3832826"/>
                <a:gd name="connsiteY1094" fmla="*/ 491001 h 5120141"/>
                <a:gd name="connsiteX1095" fmla="*/ 260846 w 3832826"/>
                <a:gd name="connsiteY1095" fmla="*/ 488999 h 5120141"/>
                <a:gd name="connsiteX1096" fmla="*/ 260846 w 3832826"/>
                <a:gd name="connsiteY1096" fmla="*/ 484995 h 5120141"/>
                <a:gd name="connsiteX1097" fmla="*/ 260846 w 3832826"/>
                <a:gd name="connsiteY1097" fmla="*/ 480917 h 5120141"/>
                <a:gd name="connsiteX1098" fmla="*/ 252464 w 3832826"/>
                <a:gd name="connsiteY1098" fmla="*/ 462899 h 5120141"/>
                <a:gd name="connsiteX1099" fmla="*/ 233480 w 3832826"/>
                <a:gd name="connsiteY1099" fmla="*/ 428866 h 5120141"/>
                <a:gd name="connsiteX1100" fmla="*/ 229288 w 3832826"/>
                <a:gd name="connsiteY1100" fmla="*/ 414852 h 5120141"/>
                <a:gd name="connsiteX1101" fmla="*/ 227193 w 3832826"/>
                <a:gd name="connsiteY1101" fmla="*/ 404768 h 5120141"/>
                <a:gd name="connsiteX1102" fmla="*/ 227193 w 3832826"/>
                <a:gd name="connsiteY1102" fmla="*/ 398762 h 5120141"/>
                <a:gd name="connsiteX1103" fmla="*/ 229288 w 3832826"/>
                <a:gd name="connsiteY1103" fmla="*/ 396760 h 5120141"/>
                <a:gd name="connsiteX1104" fmla="*/ 231384 w 3832826"/>
                <a:gd name="connsiteY1104" fmla="*/ 396760 h 5120141"/>
                <a:gd name="connsiteX1105" fmla="*/ 239766 w 3832826"/>
                <a:gd name="connsiteY1105" fmla="*/ 392756 h 5120141"/>
                <a:gd name="connsiteX1106" fmla="*/ 241862 w 3832826"/>
                <a:gd name="connsiteY1106" fmla="*/ 390754 h 5120141"/>
                <a:gd name="connsiteX1107" fmla="*/ 244081 w 3832826"/>
                <a:gd name="connsiteY1107" fmla="*/ 388752 h 5120141"/>
                <a:gd name="connsiteX1108" fmla="*/ 244081 w 3832826"/>
                <a:gd name="connsiteY1108" fmla="*/ 382746 h 5120141"/>
                <a:gd name="connsiteX1109" fmla="*/ 244081 w 3832826"/>
                <a:gd name="connsiteY1109" fmla="*/ 372736 h 5120141"/>
                <a:gd name="connsiteX1110" fmla="*/ 244081 w 3832826"/>
                <a:gd name="connsiteY1110" fmla="*/ 362726 h 5120141"/>
                <a:gd name="connsiteX1111" fmla="*/ 250368 w 3832826"/>
                <a:gd name="connsiteY1111" fmla="*/ 356721 h 5120141"/>
                <a:gd name="connsiteX1112" fmla="*/ 252464 w 3832826"/>
                <a:gd name="connsiteY1112" fmla="*/ 350715 h 5120141"/>
                <a:gd name="connsiteX1113" fmla="*/ 262942 w 3832826"/>
                <a:gd name="connsiteY1113" fmla="*/ 342707 h 5120141"/>
                <a:gd name="connsiteX1114" fmla="*/ 273420 w 3832826"/>
                <a:gd name="connsiteY1114" fmla="*/ 338703 h 5120141"/>
                <a:gd name="connsiteX1115" fmla="*/ 284022 w 3832826"/>
                <a:gd name="connsiteY1115" fmla="*/ 328619 h 5120141"/>
                <a:gd name="connsiteX1116" fmla="*/ 290308 w 3832826"/>
                <a:gd name="connsiteY1116" fmla="*/ 318609 h 5120141"/>
                <a:gd name="connsiteX1117" fmla="*/ 292404 w 3832826"/>
                <a:gd name="connsiteY1117" fmla="*/ 302593 h 5120141"/>
                <a:gd name="connsiteX1118" fmla="*/ 300787 w 3832826"/>
                <a:gd name="connsiteY1118" fmla="*/ 278570 h 5120141"/>
                <a:gd name="connsiteX1119" fmla="*/ 311388 w 3832826"/>
                <a:gd name="connsiteY1119" fmla="*/ 250468 h 5120141"/>
                <a:gd name="connsiteX1120" fmla="*/ 315579 w 3832826"/>
                <a:gd name="connsiteY1120" fmla="*/ 236454 h 5120141"/>
                <a:gd name="connsiteX1121" fmla="*/ 317675 w 3832826"/>
                <a:gd name="connsiteY1121" fmla="*/ 222441 h 5120141"/>
                <a:gd name="connsiteX1122" fmla="*/ 321866 w 3832826"/>
                <a:gd name="connsiteY1122" fmla="*/ 200419 h 5120141"/>
                <a:gd name="connsiteX1123" fmla="*/ 326058 w 3832826"/>
                <a:gd name="connsiteY1123" fmla="*/ 188407 h 5120141"/>
                <a:gd name="connsiteX1124" fmla="*/ 332345 w 3832826"/>
                <a:gd name="connsiteY1124" fmla="*/ 178323 h 5120141"/>
                <a:gd name="connsiteX1125" fmla="*/ 342946 w 3832826"/>
                <a:gd name="connsiteY1125" fmla="*/ 168313 h 5120141"/>
                <a:gd name="connsiteX1126" fmla="*/ 355520 w 3832826"/>
                <a:gd name="connsiteY1126" fmla="*/ 158303 h 5120141"/>
                <a:gd name="connsiteX1127" fmla="*/ 365998 w 3832826"/>
                <a:gd name="connsiteY1127" fmla="*/ 150296 h 5120141"/>
                <a:gd name="connsiteX1128" fmla="*/ 372285 w 3832826"/>
                <a:gd name="connsiteY1128" fmla="*/ 140286 h 5120141"/>
                <a:gd name="connsiteX1129" fmla="*/ 376600 w 3832826"/>
                <a:gd name="connsiteY1129" fmla="*/ 136282 h 5120141"/>
                <a:gd name="connsiteX1130" fmla="*/ 378695 w 3832826"/>
                <a:gd name="connsiteY1130" fmla="*/ 128274 h 5120141"/>
                <a:gd name="connsiteX1131" fmla="*/ 378695 w 3832826"/>
                <a:gd name="connsiteY1131" fmla="*/ 110182 h 5120141"/>
                <a:gd name="connsiteX1132" fmla="*/ 378695 w 3832826"/>
                <a:gd name="connsiteY1132" fmla="*/ 96168 h 5120141"/>
                <a:gd name="connsiteX1133" fmla="*/ 380791 w 3832826"/>
                <a:gd name="connsiteY1133" fmla="*/ 88161 h 5120141"/>
                <a:gd name="connsiteX1134" fmla="*/ 382887 w 3832826"/>
                <a:gd name="connsiteY1134" fmla="*/ 86159 h 5120141"/>
                <a:gd name="connsiteX1135" fmla="*/ 393365 w 3832826"/>
                <a:gd name="connsiteY1135" fmla="*/ 80153 h 5120141"/>
                <a:gd name="connsiteX1136" fmla="*/ 408158 w 3832826"/>
                <a:gd name="connsiteY1136" fmla="*/ 78151 h 5120141"/>
                <a:gd name="connsiteX1137" fmla="*/ 420732 w 3832826"/>
                <a:gd name="connsiteY1137" fmla="*/ 76149 h 5120141"/>
                <a:gd name="connsiteX1138" fmla="*/ 424923 w 3832826"/>
                <a:gd name="connsiteY1138" fmla="*/ 74147 h 5120141"/>
                <a:gd name="connsiteX1139" fmla="*/ 431210 w 3832826"/>
                <a:gd name="connsiteY1139" fmla="*/ 68141 h 5120141"/>
                <a:gd name="connsiteX1140" fmla="*/ 435401 w 3832826"/>
                <a:gd name="connsiteY1140" fmla="*/ 54127 h 5120141"/>
                <a:gd name="connsiteX1141" fmla="*/ 435401 w 3832826"/>
                <a:gd name="connsiteY1141" fmla="*/ 44117 h 5120141"/>
                <a:gd name="connsiteX1142" fmla="*/ 435401 w 3832826"/>
                <a:gd name="connsiteY1142" fmla="*/ 34033 h 5120141"/>
                <a:gd name="connsiteX1143" fmla="*/ 431210 w 3832826"/>
                <a:gd name="connsiteY1143" fmla="*/ 28027 h 5120141"/>
                <a:gd name="connsiteX1144" fmla="*/ 420732 w 3832826"/>
                <a:gd name="connsiteY1144" fmla="*/ 16016 h 5120141"/>
                <a:gd name="connsiteX1145" fmla="*/ 401747 w 3832826"/>
                <a:gd name="connsiteY1145" fmla="*/ 0 h 5120141"/>
                <a:gd name="connsiteX0" fmla="*/ 2486754 w 3832826"/>
                <a:gd name="connsiteY0" fmla="*/ 4320556 h 5120141"/>
                <a:gd name="connsiteX1" fmla="*/ 2486673 w 3832826"/>
                <a:gd name="connsiteY1" fmla="*/ 4320556 h 5120141"/>
                <a:gd name="connsiteX2" fmla="*/ 2486754 w 3832826"/>
                <a:gd name="connsiteY2" fmla="*/ 4320556 h 5120141"/>
                <a:gd name="connsiteX3" fmla="*/ 1390471 w 3832826"/>
                <a:gd name="connsiteY3" fmla="*/ 1285217 h 5120141"/>
                <a:gd name="connsiteX4" fmla="*/ 1392579 w 3832826"/>
                <a:gd name="connsiteY4" fmla="*/ 1291180 h 5120141"/>
                <a:gd name="connsiteX5" fmla="*/ 1392579 w 3832826"/>
                <a:gd name="connsiteY5" fmla="*/ 1296597 h 5120141"/>
                <a:gd name="connsiteX6" fmla="*/ 1392608 w 3832826"/>
                <a:gd name="connsiteY6" fmla="*/ 1296570 h 5120141"/>
                <a:gd name="connsiteX7" fmla="*/ 1392608 w 3832826"/>
                <a:gd name="connsiteY7" fmla="*/ 1290558 h 5120141"/>
                <a:gd name="connsiteX8" fmla="*/ 1390739 w 3832826"/>
                <a:gd name="connsiteY8" fmla="*/ 1285217 h 5120141"/>
                <a:gd name="connsiteX9" fmla="*/ 1390471 w 3832826"/>
                <a:gd name="connsiteY9" fmla="*/ 1285217 h 5120141"/>
                <a:gd name="connsiteX10" fmla="*/ 1138708 w 3832826"/>
                <a:gd name="connsiteY10" fmla="*/ 844805 h 5120141"/>
                <a:gd name="connsiteX11" fmla="*/ 1135965 w 3832826"/>
                <a:gd name="connsiteY11" fmla="*/ 845676 h 5120141"/>
                <a:gd name="connsiteX12" fmla="*/ 1138389 w 3832826"/>
                <a:gd name="connsiteY12" fmla="*/ 850296 h 5120141"/>
                <a:gd name="connsiteX13" fmla="*/ 1142308 w 3832826"/>
                <a:gd name="connsiteY13" fmla="*/ 851593 h 5120141"/>
                <a:gd name="connsiteX14" fmla="*/ 1138708 w 3832826"/>
                <a:gd name="connsiteY14" fmla="*/ 844805 h 5120141"/>
                <a:gd name="connsiteX15" fmla="*/ 1142276 w 3832826"/>
                <a:gd name="connsiteY15" fmla="*/ 825637 h 5120141"/>
                <a:gd name="connsiteX16" fmla="*/ 1144379 w 3832826"/>
                <a:gd name="connsiteY16" fmla="*/ 833653 h 5120141"/>
                <a:gd name="connsiteX17" fmla="*/ 1144379 w 3832826"/>
                <a:gd name="connsiteY17" fmla="*/ 839665 h 5120141"/>
                <a:gd name="connsiteX18" fmla="*/ 1143167 w 3832826"/>
                <a:gd name="connsiteY18" fmla="*/ 841974 h 5120141"/>
                <a:gd name="connsiteX19" fmla="*/ 1144345 w 3832826"/>
                <a:gd name="connsiteY19" fmla="*/ 841587 h 5120141"/>
                <a:gd name="connsiteX20" fmla="*/ 1146453 w 3832826"/>
                <a:gd name="connsiteY20" fmla="*/ 837612 h 5120141"/>
                <a:gd name="connsiteX21" fmla="*/ 1146453 w 3832826"/>
                <a:gd name="connsiteY21" fmla="*/ 831649 h 5120141"/>
                <a:gd name="connsiteX22" fmla="*/ 1144873 w 3832826"/>
                <a:gd name="connsiteY22" fmla="*/ 825637 h 5120141"/>
                <a:gd name="connsiteX23" fmla="*/ 1142276 w 3832826"/>
                <a:gd name="connsiteY23" fmla="*/ 825637 h 5120141"/>
                <a:gd name="connsiteX24" fmla="*/ 401747 w 3832826"/>
                <a:gd name="connsiteY24" fmla="*/ 0 h 5120141"/>
                <a:gd name="connsiteX25" fmla="*/ 769965 w 3832826"/>
                <a:gd name="connsiteY25" fmla="*/ 0 h 5120141"/>
                <a:gd name="connsiteX26" fmla="*/ 1138058 w 3832826"/>
                <a:gd name="connsiteY26" fmla="*/ 0 h 5120141"/>
                <a:gd name="connsiteX27" fmla="*/ 1222254 w 3832826"/>
                <a:gd name="connsiteY27" fmla="*/ 0 h 5120141"/>
                <a:gd name="connsiteX28" fmla="*/ 1226445 w 3832826"/>
                <a:gd name="connsiteY28" fmla="*/ 140286 h 5120141"/>
                <a:gd name="connsiteX29" fmla="*/ 1228541 w 3832826"/>
                <a:gd name="connsiteY29" fmla="*/ 278570 h 5120141"/>
                <a:gd name="connsiteX30" fmla="*/ 1232732 w 3832826"/>
                <a:gd name="connsiteY30" fmla="*/ 414852 h 5120141"/>
                <a:gd name="connsiteX31" fmla="*/ 1228541 w 3832826"/>
                <a:gd name="connsiteY31" fmla="*/ 559142 h 5120141"/>
                <a:gd name="connsiteX32" fmla="*/ 1224350 w 3832826"/>
                <a:gd name="connsiteY32" fmla="*/ 559142 h 5120141"/>
                <a:gd name="connsiteX33" fmla="*/ 1224350 w 3832826"/>
                <a:gd name="connsiteY33" fmla="*/ 591173 h 5120141"/>
                <a:gd name="connsiteX34" fmla="*/ 1222254 w 3832826"/>
                <a:gd name="connsiteY34" fmla="*/ 591173 h 5120141"/>
                <a:gd name="connsiteX35" fmla="*/ 1194887 w 3832826"/>
                <a:gd name="connsiteY35" fmla="*/ 591173 h 5120141"/>
                <a:gd name="connsiteX36" fmla="*/ 1163329 w 3832826"/>
                <a:gd name="connsiteY36" fmla="*/ 591173 h 5120141"/>
                <a:gd name="connsiteX37" fmla="*/ 1108125 w 3832826"/>
                <a:gd name="connsiteY37" fmla="*/ 602727 h 5120141"/>
                <a:gd name="connsiteX38" fmla="*/ 1110721 w 3832826"/>
                <a:gd name="connsiteY38" fmla="*/ 605200 h 5120141"/>
                <a:gd name="connsiteX39" fmla="*/ 1119136 w 3832826"/>
                <a:gd name="connsiteY39" fmla="*/ 613216 h 5120141"/>
                <a:gd name="connsiteX40" fmla="*/ 1121239 w 3832826"/>
                <a:gd name="connsiteY40" fmla="*/ 621231 h 5120141"/>
                <a:gd name="connsiteX41" fmla="*/ 1123343 w 3832826"/>
                <a:gd name="connsiteY41" fmla="*/ 645279 h 5120141"/>
                <a:gd name="connsiteX42" fmla="*/ 1129654 w 3832826"/>
                <a:gd name="connsiteY42" fmla="*/ 657303 h 5120141"/>
                <a:gd name="connsiteX43" fmla="*/ 1140172 w 3832826"/>
                <a:gd name="connsiteY43" fmla="*/ 667323 h 5120141"/>
                <a:gd name="connsiteX44" fmla="*/ 1146483 w 3832826"/>
                <a:gd name="connsiteY44" fmla="*/ 673335 h 5120141"/>
                <a:gd name="connsiteX45" fmla="*/ 1161208 w 3832826"/>
                <a:gd name="connsiteY45" fmla="*/ 677343 h 5120141"/>
                <a:gd name="connsiteX46" fmla="*/ 1184348 w 3832826"/>
                <a:gd name="connsiteY46" fmla="*/ 683355 h 5120141"/>
                <a:gd name="connsiteX47" fmla="*/ 1194866 w 3832826"/>
                <a:gd name="connsiteY47" fmla="*/ 687363 h 5120141"/>
                <a:gd name="connsiteX48" fmla="*/ 1205385 w 3832826"/>
                <a:gd name="connsiteY48" fmla="*/ 693375 h 5120141"/>
                <a:gd name="connsiteX49" fmla="*/ 1209592 w 3832826"/>
                <a:gd name="connsiteY49" fmla="*/ 703394 h 5120141"/>
                <a:gd name="connsiteX50" fmla="*/ 1213799 w 3832826"/>
                <a:gd name="connsiteY50" fmla="*/ 715418 h 5120141"/>
                <a:gd name="connsiteX51" fmla="*/ 1199074 w 3832826"/>
                <a:gd name="connsiteY51" fmla="*/ 715418 h 5120141"/>
                <a:gd name="connsiteX52" fmla="*/ 1196970 w 3832826"/>
                <a:gd name="connsiteY52" fmla="*/ 715418 h 5120141"/>
                <a:gd name="connsiteX53" fmla="*/ 1196970 w 3832826"/>
                <a:gd name="connsiteY53" fmla="*/ 717422 h 5120141"/>
                <a:gd name="connsiteX54" fmla="*/ 1203281 w 3832826"/>
                <a:gd name="connsiteY54" fmla="*/ 725438 h 5120141"/>
                <a:gd name="connsiteX55" fmla="*/ 1205385 w 3832826"/>
                <a:gd name="connsiteY55" fmla="*/ 733454 h 5120141"/>
                <a:gd name="connsiteX56" fmla="*/ 1207488 w 3832826"/>
                <a:gd name="connsiteY56" fmla="*/ 751490 h 5120141"/>
                <a:gd name="connsiteX57" fmla="*/ 1207488 w 3832826"/>
                <a:gd name="connsiteY57" fmla="*/ 763514 h 5120141"/>
                <a:gd name="connsiteX58" fmla="*/ 1199074 w 3832826"/>
                <a:gd name="connsiteY58" fmla="*/ 773533 h 5120141"/>
                <a:gd name="connsiteX59" fmla="*/ 1188556 w 3832826"/>
                <a:gd name="connsiteY59" fmla="*/ 785557 h 5120141"/>
                <a:gd name="connsiteX60" fmla="*/ 1175934 w 3832826"/>
                <a:gd name="connsiteY60" fmla="*/ 793573 h 5120141"/>
                <a:gd name="connsiteX61" fmla="*/ 1161208 w 3832826"/>
                <a:gd name="connsiteY61" fmla="*/ 801589 h 5120141"/>
                <a:gd name="connsiteX62" fmla="*/ 1154897 w 3832826"/>
                <a:gd name="connsiteY62" fmla="*/ 803593 h 5120141"/>
                <a:gd name="connsiteX63" fmla="*/ 1150690 w 3832826"/>
                <a:gd name="connsiteY63" fmla="*/ 811609 h 5120141"/>
                <a:gd name="connsiteX64" fmla="*/ 1150690 w 3832826"/>
                <a:gd name="connsiteY64" fmla="*/ 817621 h 5120141"/>
                <a:gd name="connsiteX65" fmla="*/ 1153844 w 3832826"/>
                <a:gd name="connsiteY65" fmla="*/ 823631 h 5120141"/>
                <a:gd name="connsiteX66" fmla="*/ 1156992 w 3832826"/>
                <a:gd name="connsiteY66" fmla="*/ 823631 h 5120141"/>
                <a:gd name="connsiteX67" fmla="*/ 1165424 w 3832826"/>
                <a:gd name="connsiteY67" fmla="*/ 823631 h 5120141"/>
                <a:gd name="connsiteX68" fmla="*/ 1169639 w 3832826"/>
                <a:gd name="connsiteY68" fmla="*/ 827606 h 5120141"/>
                <a:gd name="connsiteX69" fmla="*/ 1173855 w 3832826"/>
                <a:gd name="connsiteY69" fmla="*/ 833637 h 5120141"/>
                <a:gd name="connsiteX70" fmla="*/ 1173855 w 3832826"/>
                <a:gd name="connsiteY70" fmla="*/ 841587 h 5120141"/>
                <a:gd name="connsiteX71" fmla="*/ 1173855 w 3832826"/>
                <a:gd name="connsiteY71" fmla="*/ 855568 h 5120141"/>
                <a:gd name="connsiteX72" fmla="*/ 1169639 w 3832826"/>
                <a:gd name="connsiteY72" fmla="*/ 871605 h 5120141"/>
                <a:gd name="connsiteX73" fmla="*/ 1184324 w 3832826"/>
                <a:gd name="connsiteY73" fmla="*/ 867562 h 5120141"/>
                <a:gd name="connsiteX74" fmla="*/ 1180108 w 3832826"/>
                <a:gd name="connsiteY74" fmla="*/ 877568 h 5120141"/>
                <a:gd name="connsiteX75" fmla="*/ 1188540 w 3832826"/>
                <a:gd name="connsiteY75" fmla="*/ 877568 h 5120141"/>
                <a:gd name="connsiteX76" fmla="*/ 1194863 w 3832826"/>
                <a:gd name="connsiteY76" fmla="*/ 885587 h 5120141"/>
                <a:gd name="connsiteX77" fmla="*/ 1196971 w 3832826"/>
                <a:gd name="connsiteY77" fmla="*/ 895593 h 5120141"/>
                <a:gd name="connsiteX78" fmla="*/ 1188540 w 3832826"/>
                <a:gd name="connsiteY78" fmla="*/ 895593 h 5120141"/>
                <a:gd name="connsiteX79" fmla="*/ 1190648 w 3832826"/>
                <a:gd name="connsiteY79" fmla="*/ 903543 h 5120141"/>
                <a:gd name="connsiteX80" fmla="*/ 1188540 w 3832826"/>
                <a:gd name="connsiteY80" fmla="*/ 907518 h 5120141"/>
                <a:gd name="connsiteX81" fmla="*/ 1184324 w 3832826"/>
                <a:gd name="connsiteY81" fmla="*/ 913549 h 5120141"/>
                <a:gd name="connsiteX82" fmla="*/ 1175963 w 3832826"/>
                <a:gd name="connsiteY82" fmla="*/ 917524 h 5120141"/>
                <a:gd name="connsiteX83" fmla="*/ 1169639 w 3832826"/>
                <a:gd name="connsiteY83" fmla="*/ 923555 h 5120141"/>
                <a:gd name="connsiteX84" fmla="*/ 1163316 w 3832826"/>
                <a:gd name="connsiteY84" fmla="*/ 933493 h 5120141"/>
                <a:gd name="connsiteX85" fmla="*/ 1163316 w 3832826"/>
                <a:gd name="connsiteY85" fmla="*/ 941512 h 5120141"/>
                <a:gd name="connsiteX86" fmla="*/ 1159100 w 3832826"/>
                <a:gd name="connsiteY86" fmla="*/ 947543 h 5120141"/>
                <a:gd name="connsiteX87" fmla="*/ 1167532 w 3832826"/>
                <a:gd name="connsiteY87" fmla="*/ 947543 h 5120141"/>
                <a:gd name="connsiteX88" fmla="*/ 1165424 w 3832826"/>
                <a:gd name="connsiteY88" fmla="*/ 963511 h 5120141"/>
                <a:gd name="connsiteX89" fmla="*/ 1167532 w 3832826"/>
                <a:gd name="connsiteY89" fmla="*/ 975505 h 5120141"/>
                <a:gd name="connsiteX90" fmla="*/ 1167532 w 3832826"/>
                <a:gd name="connsiteY90" fmla="*/ 991474 h 5120141"/>
                <a:gd name="connsiteX91" fmla="*/ 1167532 w 3832826"/>
                <a:gd name="connsiteY91" fmla="*/ 1007443 h 5120141"/>
                <a:gd name="connsiteX92" fmla="*/ 1169639 w 3832826"/>
                <a:gd name="connsiteY92" fmla="*/ 1011486 h 5120141"/>
                <a:gd name="connsiteX93" fmla="*/ 1173855 w 3832826"/>
                <a:gd name="connsiteY93" fmla="*/ 1015461 h 5120141"/>
                <a:gd name="connsiteX94" fmla="*/ 1169639 w 3832826"/>
                <a:gd name="connsiteY94" fmla="*/ 1021424 h 5120141"/>
                <a:gd name="connsiteX95" fmla="*/ 1167532 w 3832826"/>
                <a:gd name="connsiteY95" fmla="*/ 1021424 h 5120141"/>
                <a:gd name="connsiteX96" fmla="*/ 1163316 w 3832826"/>
                <a:gd name="connsiteY96" fmla="*/ 1021424 h 5120141"/>
                <a:gd name="connsiteX97" fmla="*/ 1159100 w 3832826"/>
                <a:gd name="connsiteY97" fmla="*/ 1027455 h 5120141"/>
                <a:gd name="connsiteX98" fmla="*/ 1163316 w 3832826"/>
                <a:gd name="connsiteY98" fmla="*/ 1033418 h 5120141"/>
                <a:gd name="connsiteX99" fmla="*/ 1167532 w 3832826"/>
                <a:gd name="connsiteY99" fmla="*/ 1037461 h 5120141"/>
                <a:gd name="connsiteX100" fmla="*/ 1169639 w 3832826"/>
                <a:gd name="connsiteY100" fmla="*/ 1047399 h 5120141"/>
                <a:gd name="connsiteX101" fmla="*/ 1173855 w 3832826"/>
                <a:gd name="connsiteY101" fmla="*/ 1059393 h 5120141"/>
                <a:gd name="connsiteX102" fmla="*/ 1186432 w 3832826"/>
                <a:gd name="connsiteY102" fmla="*/ 1057405 h 5120141"/>
                <a:gd name="connsiteX103" fmla="*/ 1184324 w 3832826"/>
                <a:gd name="connsiteY103" fmla="*/ 1065424 h 5120141"/>
                <a:gd name="connsiteX104" fmla="*/ 1194863 w 3832826"/>
                <a:gd name="connsiteY104" fmla="*/ 1063436 h 5120141"/>
                <a:gd name="connsiteX105" fmla="*/ 1201187 w 3832826"/>
                <a:gd name="connsiteY105" fmla="*/ 1065424 h 5120141"/>
                <a:gd name="connsiteX106" fmla="*/ 1205403 w 3832826"/>
                <a:gd name="connsiteY106" fmla="*/ 1073374 h 5120141"/>
                <a:gd name="connsiteX107" fmla="*/ 1205403 w 3832826"/>
                <a:gd name="connsiteY107" fmla="*/ 1083380 h 5120141"/>
                <a:gd name="connsiteX108" fmla="*/ 1209618 w 3832826"/>
                <a:gd name="connsiteY108" fmla="*/ 1083380 h 5120141"/>
                <a:gd name="connsiteX109" fmla="*/ 1209618 w 3832826"/>
                <a:gd name="connsiteY109" fmla="*/ 1095374 h 5120141"/>
                <a:gd name="connsiteX110" fmla="*/ 1220087 w 3832826"/>
                <a:gd name="connsiteY110" fmla="*/ 1097361 h 5120141"/>
                <a:gd name="connsiteX111" fmla="*/ 1226411 w 3832826"/>
                <a:gd name="connsiteY111" fmla="*/ 1103392 h 5120141"/>
                <a:gd name="connsiteX112" fmla="*/ 1232734 w 3832826"/>
                <a:gd name="connsiteY112" fmla="*/ 1115386 h 5120141"/>
                <a:gd name="connsiteX113" fmla="*/ 1241166 w 3832826"/>
                <a:gd name="connsiteY113" fmla="*/ 1113330 h 5120141"/>
                <a:gd name="connsiteX114" fmla="*/ 1247489 w 3832826"/>
                <a:gd name="connsiteY114" fmla="*/ 1119361 h 5120141"/>
                <a:gd name="connsiteX115" fmla="*/ 1249527 w 3832826"/>
                <a:gd name="connsiteY115" fmla="*/ 1127311 h 5120141"/>
                <a:gd name="connsiteX116" fmla="*/ 1262174 w 3832826"/>
                <a:gd name="connsiteY116" fmla="*/ 1137317 h 5120141"/>
                <a:gd name="connsiteX117" fmla="*/ 1274821 w 3832826"/>
                <a:gd name="connsiteY117" fmla="*/ 1147324 h 5120141"/>
                <a:gd name="connsiteX118" fmla="*/ 1291613 w 3832826"/>
                <a:gd name="connsiteY118" fmla="*/ 1159317 h 5120141"/>
                <a:gd name="connsiteX119" fmla="*/ 1293721 w 3832826"/>
                <a:gd name="connsiteY119" fmla="*/ 1165280 h 5120141"/>
                <a:gd name="connsiteX120" fmla="*/ 1295829 w 3832826"/>
                <a:gd name="connsiteY120" fmla="*/ 1173299 h 5120141"/>
                <a:gd name="connsiteX121" fmla="*/ 1306368 w 3832826"/>
                <a:gd name="connsiteY121" fmla="*/ 1173299 h 5120141"/>
                <a:gd name="connsiteX122" fmla="*/ 1312692 w 3832826"/>
                <a:gd name="connsiteY122" fmla="*/ 1177274 h 5120141"/>
                <a:gd name="connsiteX123" fmla="*/ 1314800 w 3832826"/>
                <a:gd name="connsiteY123" fmla="*/ 1185292 h 5120141"/>
                <a:gd name="connsiteX124" fmla="*/ 1312692 w 3832826"/>
                <a:gd name="connsiteY124" fmla="*/ 1195299 h 5120141"/>
                <a:gd name="connsiteX125" fmla="*/ 1321053 w 3832826"/>
                <a:gd name="connsiteY125" fmla="*/ 1193311 h 5120141"/>
                <a:gd name="connsiteX126" fmla="*/ 1323161 w 3832826"/>
                <a:gd name="connsiteY126" fmla="*/ 1195299 h 5120141"/>
                <a:gd name="connsiteX127" fmla="*/ 1325269 w 3832826"/>
                <a:gd name="connsiteY127" fmla="*/ 1199274 h 5120141"/>
                <a:gd name="connsiteX128" fmla="*/ 1325269 w 3832826"/>
                <a:gd name="connsiteY128" fmla="*/ 1205305 h 5120141"/>
                <a:gd name="connsiteX129" fmla="*/ 1337916 w 3832826"/>
                <a:gd name="connsiteY129" fmla="*/ 1205305 h 5120141"/>
                <a:gd name="connsiteX130" fmla="*/ 1337916 w 3832826"/>
                <a:gd name="connsiteY130" fmla="*/ 1217230 h 5120141"/>
                <a:gd name="connsiteX131" fmla="*/ 1344239 w 3832826"/>
                <a:gd name="connsiteY131" fmla="*/ 1215242 h 5120141"/>
                <a:gd name="connsiteX132" fmla="*/ 1344239 w 3832826"/>
                <a:gd name="connsiteY132" fmla="*/ 1219286 h 5120141"/>
                <a:gd name="connsiteX133" fmla="*/ 1346347 w 3832826"/>
                <a:gd name="connsiteY133" fmla="*/ 1219286 h 5120141"/>
                <a:gd name="connsiteX134" fmla="*/ 1352671 w 3832826"/>
                <a:gd name="connsiteY134" fmla="*/ 1223261 h 5120141"/>
                <a:gd name="connsiteX135" fmla="*/ 1352671 w 3832826"/>
                <a:gd name="connsiteY135" fmla="*/ 1227236 h 5120141"/>
                <a:gd name="connsiteX136" fmla="*/ 1358924 w 3832826"/>
                <a:gd name="connsiteY136" fmla="*/ 1227236 h 5120141"/>
                <a:gd name="connsiteX137" fmla="*/ 1365247 w 3832826"/>
                <a:gd name="connsiteY137" fmla="*/ 1235255 h 5120141"/>
                <a:gd name="connsiteX138" fmla="*/ 1365247 w 3832826"/>
                <a:gd name="connsiteY138" fmla="*/ 1241217 h 5120141"/>
                <a:gd name="connsiteX139" fmla="*/ 1365247 w 3832826"/>
                <a:gd name="connsiteY139" fmla="*/ 1251223 h 5120141"/>
                <a:gd name="connsiteX140" fmla="*/ 1369463 w 3832826"/>
                <a:gd name="connsiteY140" fmla="*/ 1249236 h 5120141"/>
                <a:gd name="connsiteX141" fmla="*/ 1375787 w 3832826"/>
                <a:gd name="connsiteY141" fmla="*/ 1251223 h 5120141"/>
                <a:gd name="connsiteX142" fmla="*/ 1377895 w 3832826"/>
                <a:gd name="connsiteY142" fmla="*/ 1255199 h 5120141"/>
                <a:gd name="connsiteX143" fmla="*/ 1377895 w 3832826"/>
                <a:gd name="connsiteY143" fmla="*/ 1259242 h 5120141"/>
                <a:gd name="connsiteX144" fmla="*/ 1396795 w 3832826"/>
                <a:gd name="connsiteY144" fmla="*/ 1257255 h 5120141"/>
                <a:gd name="connsiteX145" fmla="*/ 1398903 w 3832826"/>
                <a:gd name="connsiteY145" fmla="*/ 1275211 h 5120141"/>
                <a:gd name="connsiteX146" fmla="*/ 1407333 w 3832826"/>
                <a:gd name="connsiteY146" fmla="*/ 1271236 h 5120141"/>
                <a:gd name="connsiteX147" fmla="*/ 1407333 w 3832826"/>
                <a:gd name="connsiteY147" fmla="*/ 1270518 h 5120141"/>
                <a:gd name="connsiteX148" fmla="*/ 1453613 w 3832826"/>
                <a:gd name="connsiteY148" fmla="*/ 1244467 h 5120141"/>
                <a:gd name="connsiteX149" fmla="*/ 1459924 w 3832826"/>
                <a:gd name="connsiteY149" fmla="*/ 1274526 h 5120141"/>
                <a:gd name="connsiteX150" fmla="*/ 1459924 w 3832826"/>
                <a:gd name="connsiteY150" fmla="*/ 1290558 h 5120141"/>
                <a:gd name="connsiteX151" fmla="*/ 1455717 w 3832826"/>
                <a:gd name="connsiteY151" fmla="*/ 1304586 h 5120141"/>
                <a:gd name="connsiteX152" fmla="*/ 1453613 w 3832826"/>
                <a:gd name="connsiteY152" fmla="*/ 1308594 h 5120141"/>
                <a:gd name="connsiteX153" fmla="*/ 1449406 w 3832826"/>
                <a:gd name="connsiteY153" fmla="*/ 1310598 h 5120141"/>
                <a:gd name="connsiteX154" fmla="*/ 1440991 w 3832826"/>
                <a:gd name="connsiteY154" fmla="*/ 1316610 h 5120141"/>
                <a:gd name="connsiteX155" fmla="*/ 1434680 w 3832826"/>
                <a:gd name="connsiteY155" fmla="*/ 1318614 h 5120141"/>
                <a:gd name="connsiteX156" fmla="*/ 1432577 w 3832826"/>
                <a:gd name="connsiteY156" fmla="*/ 1320618 h 5120141"/>
                <a:gd name="connsiteX157" fmla="*/ 1430473 w 3832826"/>
                <a:gd name="connsiteY157" fmla="*/ 1326630 h 5120141"/>
                <a:gd name="connsiteX158" fmla="*/ 1430473 w 3832826"/>
                <a:gd name="connsiteY158" fmla="*/ 1334645 h 5120141"/>
                <a:gd name="connsiteX159" fmla="*/ 1434680 w 3832826"/>
                <a:gd name="connsiteY159" fmla="*/ 1338653 h 5120141"/>
                <a:gd name="connsiteX160" fmla="*/ 1440991 w 3832826"/>
                <a:gd name="connsiteY160" fmla="*/ 1350677 h 5120141"/>
                <a:gd name="connsiteX161" fmla="*/ 1443095 w 3832826"/>
                <a:gd name="connsiteY161" fmla="*/ 1366709 h 5120141"/>
                <a:gd name="connsiteX162" fmla="*/ 1443095 w 3832826"/>
                <a:gd name="connsiteY162" fmla="*/ 1380737 h 5120141"/>
                <a:gd name="connsiteX163" fmla="*/ 1445199 w 3832826"/>
                <a:gd name="connsiteY163" fmla="*/ 1436848 h 5120141"/>
                <a:gd name="connsiteX164" fmla="*/ 1422059 w 3832826"/>
                <a:gd name="connsiteY164" fmla="*/ 1436848 h 5120141"/>
                <a:gd name="connsiteX165" fmla="*/ 1403126 w 3832826"/>
                <a:gd name="connsiteY165" fmla="*/ 1438852 h 5120141"/>
                <a:gd name="connsiteX166" fmla="*/ 1392608 w 3832826"/>
                <a:gd name="connsiteY166" fmla="*/ 1440856 h 5120141"/>
                <a:gd name="connsiteX167" fmla="*/ 1382089 w 3832826"/>
                <a:gd name="connsiteY167" fmla="*/ 1444864 h 5120141"/>
                <a:gd name="connsiteX168" fmla="*/ 1375779 w 3832826"/>
                <a:gd name="connsiteY168" fmla="*/ 1448872 h 5120141"/>
                <a:gd name="connsiteX169" fmla="*/ 1367364 w 3832826"/>
                <a:gd name="connsiteY169" fmla="*/ 1456888 h 5120141"/>
                <a:gd name="connsiteX170" fmla="*/ 1358949 w 3832826"/>
                <a:gd name="connsiteY170" fmla="*/ 1462900 h 5120141"/>
                <a:gd name="connsiteX171" fmla="*/ 1354742 w 3832826"/>
                <a:gd name="connsiteY171" fmla="*/ 1472920 h 5120141"/>
                <a:gd name="connsiteX172" fmla="*/ 1348431 w 3832826"/>
                <a:gd name="connsiteY172" fmla="*/ 1480935 h 5120141"/>
                <a:gd name="connsiteX173" fmla="*/ 1344224 w 3832826"/>
                <a:gd name="connsiteY173" fmla="*/ 1482939 h 5120141"/>
                <a:gd name="connsiteX174" fmla="*/ 1342120 w 3832826"/>
                <a:gd name="connsiteY174" fmla="*/ 1482939 h 5120141"/>
                <a:gd name="connsiteX175" fmla="*/ 1333706 w 3832826"/>
                <a:gd name="connsiteY175" fmla="*/ 1480935 h 5120141"/>
                <a:gd name="connsiteX176" fmla="*/ 1327395 w 3832826"/>
                <a:gd name="connsiteY176" fmla="*/ 1482939 h 5120141"/>
                <a:gd name="connsiteX177" fmla="*/ 1325291 w 3832826"/>
                <a:gd name="connsiteY177" fmla="*/ 1488951 h 5120141"/>
                <a:gd name="connsiteX178" fmla="*/ 1323188 w 3832826"/>
                <a:gd name="connsiteY178" fmla="*/ 1492959 h 5120141"/>
                <a:gd name="connsiteX179" fmla="*/ 1321084 w 3832826"/>
                <a:gd name="connsiteY179" fmla="*/ 1506987 h 5120141"/>
                <a:gd name="connsiteX180" fmla="*/ 1316877 w 3832826"/>
                <a:gd name="connsiteY180" fmla="*/ 1512999 h 5120141"/>
                <a:gd name="connsiteX181" fmla="*/ 1310566 w 3832826"/>
                <a:gd name="connsiteY181" fmla="*/ 1521015 h 5120141"/>
                <a:gd name="connsiteX182" fmla="*/ 1304255 w 3832826"/>
                <a:gd name="connsiteY182" fmla="*/ 1523019 h 5120141"/>
                <a:gd name="connsiteX183" fmla="*/ 1293737 w 3832826"/>
                <a:gd name="connsiteY183" fmla="*/ 1529031 h 5120141"/>
                <a:gd name="connsiteX184" fmla="*/ 1281115 w 3832826"/>
                <a:gd name="connsiteY184" fmla="*/ 1529031 h 5120141"/>
                <a:gd name="connsiteX185" fmla="*/ 1279011 w 3832826"/>
                <a:gd name="connsiteY185" fmla="*/ 1531035 h 5120141"/>
                <a:gd name="connsiteX186" fmla="*/ 1274804 w 3832826"/>
                <a:gd name="connsiteY186" fmla="*/ 1537046 h 5120141"/>
                <a:gd name="connsiteX187" fmla="*/ 1272700 w 3832826"/>
                <a:gd name="connsiteY187" fmla="*/ 1547066 h 5120141"/>
                <a:gd name="connsiteX188" fmla="*/ 1270597 w 3832826"/>
                <a:gd name="connsiteY188" fmla="*/ 1559090 h 5120141"/>
                <a:gd name="connsiteX189" fmla="*/ 1264286 w 3832826"/>
                <a:gd name="connsiteY189" fmla="*/ 1569110 h 5120141"/>
                <a:gd name="connsiteX190" fmla="*/ 1262182 w 3832826"/>
                <a:gd name="connsiteY190" fmla="*/ 1569110 h 5120141"/>
                <a:gd name="connsiteX191" fmla="*/ 1262182 w 3832826"/>
                <a:gd name="connsiteY191" fmla="*/ 1573118 h 5120141"/>
                <a:gd name="connsiteX192" fmla="*/ 1260078 w 3832826"/>
                <a:gd name="connsiteY192" fmla="*/ 1579130 h 5120141"/>
                <a:gd name="connsiteX193" fmla="*/ 1260078 w 3832826"/>
                <a:gd name="connsiteY193" fmla="*/ 1599170 h 5120141"/>
                <a:gd name="connsiteX194" fmla="*/ 1260078 w 3832826"/>
                <a:gd name="connsiteY194" fmla="*/ 1633237 h 5120141"/>
                <a:gd name="connsiteX195" fmla="*/ 1260078 w 3832826"/>
                <a:gd name="connsiteY195" fmla="*/ 1679328 h 5120141"/>
                <a:gd name="connsiteX196" fmla="*/ 1258254 w 3832826"/>
                <a:gd name="connsiteY196" fmla="*/ 1717574 h 5120141"/>
                <a:gd name="connsiteX197" fmla="*/ 1279014 w 3832826"/>
                <a:gd name="connsiteY197" fmla="*/ 1732471 h 5120141"/>
                <a:gd name="connsiteX198" fmla="*/ 1302154 w 3832826"/>
                <a:gd name="connsiteY198" fmla="*/ 1736462 h 5120141"/>
                <a:gd name="connsiteX199" fmla="*/ 1312672 w 3832826"/>
                <a:gd name="connsiteY199" fmla="*/ 1736462 h 5120141"/>
                <a:gd name="connsiteX200" fmla="*/ 1323191 w 3832826"/>
                <a:gd name="connsiteY200" fmla="*/ 1734466 h 5120141"/>
                <a:gd name="connsiteX201" fmla="*/ 1337916 w 3832826"/>
                <a:gd name="connsiteY201" fmla="*/ 1732471 h 5120141"/>
                <a:gd name="connsiteX202" fmla="*/ 1350538 w 3832826"/>
                <a:gd name="connsiteY202" fmla="*/ 1726484 h 5120141"/>
                <a:gd name="connsiteX203" fmla="*/ 1354745 w 3832826"/>
                <a:gd name="connsiteY203" fmla="*/ 1726484 h 5120141"/>
                <a:gd name="connsiteX204" fmla="*/ 1365263 w 3832826"/>
                <a:gd name="connsiteY204" fmla="*/ 1730475 h 5120141"/>
                <a:gd name="connsiteX205" fmla="*/ 1394714 w 3832826"/>
                <a:gd name="connsiteY205" fmla="*/ 1742449 h 5120141"/>
                <a:gd name="connsiteX206" fmla="*/ 1407336 w 3832826"/>
                <a:gd name="connsiteY206" fmla="*/ 1744445 h 5120141"/>
                <a:gd name="connsiteX207" fmla="*/ 1419958 w 3832826"/>
                <a:gd name="connsiteY207" fmla="*/ 1746440 h 5120141"/>
                <a:gd name="connsiteX208" fmla="*/ 1426269 w 3832826"/>
                <a:gd name="connsiteY208" fmla="*/ 1744445 h 5120141"/>
                <a:gd name="connsiteX209" fmla="*/ 1430476 w 3832826"/>
                <a:gd name="connsiteY209" fmla="*/ 1742449 h 5120141"/>
                <a:gd name="connsiteX210" fmla="*/ 1430476 w 3832826"/>
                <a:gd name="connsiteY210" fmla="*/ 1740453 h 5120141"/>
                <a:gd name="connsiteX211" fmla="*/ 1434684 w 3832826"/>
                <a:gd name="connsiteY211" fmla="*/ 1734466 h 5120141"/>
                <a:gd name="connsiteX212" fmla="*/ 1434684 w 3832826"/>
                <a:gd name="connsiteY212" fmla="*/ 1726484 h 5120141"/>
                <a:gd name="connsiteX213" fmla="*/ 1436787 w 3832826"/>
                <a:gd name="connsiteY213" fmla="*/ 1722493 h 5120141"/>
                <a:gd name="connsiteX214" fmla="*/ 1445202 w 3832826"/>
                <a:gd name="connsiteY214" fmla="*/ 1712514 h 5120141"/>
                <a:gd name="connsiteX215" fmla="*/ 1455720 w 3832826"/>
                <a:gd name="connsiteY215" fmla="*/ 1704532 h 5120141"/>
                <a:gd name="connsiteX216" fmla="*/ 1462031 w 3832826"/>
                <a:gd name="connsiteY216" fmla="*/ 1694553 h 5120141"/>
                <a:gd name="connsiteX217" fmla="*/ 1462031 w 3832826"/>
                <a:gd name="connsiteY217" fmla="*/ 1684575 h 5120141"/>
                <a:gd name="connsiteX218" fmla="*/ 1466238 w 3832826"/>
                <a:gd name="connsiteY218" fmla="*/ 1676592 h 5120141"/>
                <a:gd name="connsiteX219" fmla="*/ 1472549 w 3832826"/>
                <a:gd name="connsiteY219" fmla="*/ 1666614 h 5120141"/>
                <a:gd name="connsiteX220" fmla="*/ 1483067 w 3832826"/>
                <a:gd name="connsiteY220" fmla="*/ 1652645 h 5120141"/>
                <a:gd name="connsiteX221" fmla="*/ 1497793 w 3832826"/>
                <a:gd name="connsiteY221" fmla="*/ 1638675 h 5120141"/>
                <a:gd name="connsiteX222" fmla="*/ 1510415 w 3832826"/>
                <a:gd name="connsiteY222" fmla="*/ 1624705 h 5120141"/>
                <a:gd name="connsiteX223" fmla="*/ 1525140 w 3832826"/>
                <a:gd name="connsiteY223" fmla="*/ 1612731 h 5120141"/>
                <a:gd name="connsiteX224" fmla="*/ 1577731 w 3832826"/>
                <a:gd name="connsiteY224" fmla="*/ 1580801 h 5120141"/>
                <a:gd name="connsiteX225" fmla="*/ 1605078 w 3832826"/>
                <a:gd name="connsiteY225" fmla="*/ 1560845 h 5120141"/>
                <a:gd name="connsiteX226" fmla="*/ 1628218 w 3832826"/>
                <a:gd name="connsiteY226" fmla="*/ 1540888 h 5120141"/>
                <a:gd name="connsiteX227" fmla="*/ 1645048 w 3832826"/>
                <a:gd name="connsiteY227" fmla="*/ 1524923 h 5120141"/>
                <a:gd name="connsiteX228" fmla="*/ 1661877 w 3832826"/>
                <a:gd name="connsiteY228" fmla="*/ 1514944 h 5120141"/>
                <a:gd name="connsiteX229" fmla="*/ 1678706 w 3832826"/>
                <a:gd name="connsiteY229" fmla="*/ 1508957 h 5120141"/>
                <a:gd name="connsiteX230" fmla="*/ 1695535 w 3832826"/>
                <a:gd name="connsiteY230" fmla="*/ 1502971 h 5120141"/>
                <a:gd name="connsiteX231" fmla="*/ 1714468 w 3832826"/>
                <a:gd name="connsiteY231" fmla="*/ 1500975 h 5120141"/>
                <a:gd name="connsiteX232" fmla="*/ 1735504 w 3832826"/>
                <a:gd name="connsiteY232" fmla="*/ 1500975 h 5120141"/>
                <a:gd name="connsiteX233" fmla="*/ 1777577 w 3832826"/>
                <a:gd name="connsiteY233" fmla="*/ 1500975 h 5120141"/>
                <a:gd name="connsiteX234" fmla="*/ 2158335 w 3832826"/>
                <a:gd name="connsiteY234" fmla="*/ 1500975 h 5120141"/>
                <a:gd name="connsiteX235" fmla="*/ 2158335 w 3832826"/>
                <a:gd name="connsiteY235" fmla="*/ 1514944 h 5120141"/>
                <a:gd name="connsiteX236" fmla="*/ 2158335 w 3832826"/>
                <a:gd name="connsiteY236" fmla="*/ 1572818 h 5120141"/>
                <a:gd name="connsiteX237" fmla="*/ 2160439 w 3832826"/>
                <a:gd name="connsiteY237" fmla="*/ 1594771 h 5120141"/>
                <a:gd name="connsiteX238" fmla="*/ 2158335 w 3832826"/>
                <a:gd name="connsiteY238" fmla="*/ 1624705 h 5120141"/>
                <a:gd name="connsiteX239" fmla="*/ 2158335 w 3832826"/>
                <a:gd name="connsiteY239" fmla="*/ 1634684 h 5120141"/>
                <a:gd name="connsiteX240" fmla="*/ 2158335 w 3832826"/>
                <a:gd name="connsiteY240" fmla="*/ 1648653 h 5120141"/>
                <a:gd name="connsiteX241" fmla="*/ 2158335 w 3832826"/>
                <a:gd name="connsiteY241" fmla="*/ 1666614 h 5120141"/>
                <a:gd name="connsiteX242" fmla="*/ 2158335 w 3832826"/>
                <a:gd name="connsiteY242" fmla="*/ 1700540 h 5120141"/>
                <a:gd name="connsiteX243" fmla="*/ 2149671 w 3832826"/>
                <a:gd name="connsiteY243" fmla="*/ 1700540 h 5120141"/>
                <a:gd name="connsiteX244" fmla="*/ 2149671 w 3832826"/>
                <a:gd name="connsiteY244" fmla="*/ 1701367 h 5120141"/>
                <a:gd name="connsiteX245" fmla="*/ 2158305 w 3832826"/>
                <a:gd name="connsiteY245" fmla="*/ 1701367 h 5120141"/>
                <a:gd name="connsiteX246" fmla="*/ 2158305 w 3832826"/>
                <a:gd name="connsiteY246" fmla="*/ 1723407 h 5120141"/>
                <a:gd name="connsiteX247" fmla="*/ 2158305 w 3832826"/>
                <a:gd name="connsiteY247" fmla="*/ 1755458 h 5120141"/>
                <a:gd name="connsiteX248" fmla="*/ 2234031 w 3832826"/>
                <a:gd name="connsiteY248" fmla="*/ 1815609 h 5120141"/>
                <a:gd name="connsiteX249" fmla="*/ 2231975 w 3832826"/>
                <a:gd name="connsiteY249" fmla="*/ 1817584 h 5120141"/>
                <a:gd name="connsiteX250" fmla="*/ 2231975 w 3832826"/>
                <a:gd name="connsiteY250" fmla="*/ 1823599 h 5120141"/>
                <a:gd name="connsiteX251" fmla="*/ 2234031 w 3832826"/>
                <a:gd name="connsiteY251" fmla="*/ 1833610 h 5120141"/>
                <a:gd name="connsiteX252" fmla="*/ 2240379 w 3832826"/>
                <a:gd name="connsiteY252" fmla="*/ 1843665 h 5120141"/>
                <a:gd name="connsiteX253" fmla="*/ 2244581 w 3832826"/>
                <a:gd name="connsiteY253" fmla="*/ 1853675 h 5120141"/>
                <a:gd name="connsiteX254" fmla="*/ 2244581 w 3832826"/>
                <a:gd name="connsiteY254" fmla="*/ 1857670 h 5120141"/>
                <a:gd name="connsiteX255" fmla="*/ 2242435 w 3832826"/>
                <a:gd name="connsiteY255" fmla="*/ 1863685 h 5120141"/>
                <a:gd name="connsiteX256" fmla="*/ 2238233 w 3832826"/>
                <a:gd name="connsiteY256" fmla="*/ 1873695 h 5120141"/>
                <a:gd name="connsiteX257" fmla="*/ 2229829 w 3832826"/>
                <a:gd name="connsiteY257" fmla="*/ 1883750 h 5120141"/>
                <a:gd name="connsiteX258" fmla="*/ 2223571 w 3832826"/>
                <a:gd name="connsiteY258" fmla="*/ 1889721 h 5120141"/>
                <a:gd name="connsiteX259" fmla="*/ 2213021 w 3832826"/>
                <a:gd name="connsiteY259" fmla="*/ 1905791 h 5120141"/>
                <a:gd name="connsiteX260" fmla="*/ 2200415 w 3832826"/>
                <a:gd name="connsiteY260" fmla="*/ 1919796 h 5120141"/>
                <a:gd name="connsiteX261" fmla="*/ 2170912 w 3832826"/>
                <a:gd name="connsiteY261" fmla="*/ 1945832 h 5120141"/>
                <a:gd name="connsiteX262" fmla="*/ 2139441 w 3832826"/>
                <a:gd name="connsiteY262" fmla="*/ 1969893 h 5120141"/>
                <a:gd name="connsiteX263" fmla="*/ 2107881 w 3832826"/>
                <a:gd name="connsiteY263" fmla="*/ 1995973 h 5120141"/>
                <a:gd name="connsiteX264" fmla="*/ 2095186 w 3832826"/>
                <a:gd name="connsiteY264" fmla="*/ 1997948 h 5120141"/>
                <a:gd name="connsiteX265" fmla="*/ 2082580 w 3832826"/>
                <a:gd name="connsiteY265" fmla="*/ 2003963 h 5120141"/>
                <a:gd name="connsiteX266" fmla="*/ 2074176 w 3832826"/>
                <a:gd name="connsiteY266" fmla="*/ 2009979 h 5120141"/>
                <a:gd name="connsiteX267" fmla="*/ 2069973 w 3832826"/>
                <a:gd name="connsiteY267" fmla="*/ 2018014 h 5120141"/>
                <a:gd name="connsiteX268" fmla="*/ 2055222 w 3832826"/>
                <a:gd name="connsiteY268" fmla="*/ 2034039 h 5120141"/>
                <a:gd name="connsiteX269" fmla="*/ 2048963 w 3832826"/>
                <a:gd name="connsiteY269" fmla="*/ 2044049 h 5120141"/>
                <a:gd name="connsiteX270" fmla="*/ 2038414 w 3832826"/>
                <a:gd name="connsiteY270" fmla="*/ 2050064 h 5120141"/>
                <a:gd name="connsiteX271" fmla="*/ 2017403 w 3832826"/>
                <a:gd name="connsiteY271" fmla="*/ 2066090 h 5120141"/>
                <a:gd name="connsiteX272" fmla="*/ 1998450 w 3832826"/>
                <a:gd name="connsiteY272" fmla="*/ 2080140 h 5120141"/>
                <a:gd name="connsiteX273" fmla="*/ 1962688 w 3832826"/>
                <a:gd name="connsiteY273" fmla="*/ 2110171 h 5120141"/>
                <a:gd name="connsiteX274" fmla="*/ 1952138 w 3832826"/>
                <a:gd name="connsiteY274" fmla="*/ 2116186 h 5120141"/>
                <a:gd name="connsiteX275" fmla="*/ 1937476 w 3832826"/>
                <a:gd name="connsiteY275" fmla="*/ 2120181 h 5120141"/>
                <a:gd name="connsiteX276" fmla="*/ 1914320 w 3832826"/>
                <a:gd name="connsiteY276" fmla="*/ 2122201 h 5120141"/>
                <a:gd name="connsiteX277" fmla="*/ 1891164 w 3832826"/>
                <a:gd name="connsiteY277" fmla="*/ 2122201 h 5120141"/>
                <a:gd name="connsiteX278" fmla="*/ 1880614 w 3832826"/>
                <a:gd name="connsiteY278" fmla="*/ 2126196 h 5120141"/>
                <a:gd name="connsiteX279" fmla="*/ 1870154 w 3832826"/>
                <a:gd name="connsiteY279" fmla="*/ 2130236 h 5120141"/>
                <a:gd name="connsiteX280" fmla="*/ 1859604 w 3832826"/>
                <a:gd name="connsiteY280" fmla="*/ 2136251 h 5120141"/>
                <a:gd name="connsiteX281" fmla="*/ 1842796 w 3832826"/>
                <a:gd name="connsiteY281" fmla="*/ 2138226 h 5120141"/>
                <a:gd name="connsiteX282" fmla="*/ 1817584 w 3832826"/>
                <a:gd name="connsiteY282" fmla="*/ 2142221 h 5120141"/>
                <a:gd name="connsiteX283" fmla="*/ 1786024 w 3832826"/>
                <a:gd name="connsiteY283" fmla="*/ 2146261 h 5120141"/>
                <a:gd name="connsiteX284" fmla="*/ 1756520 w 3832826"/>
                <a:gd name="connsiteY284" fmla="*/ 2150257 h 5120141"/>
                <a:gd name="connsiteX285" fmla="*/ 1743914 w 3832826"/>
                <a:gd name="connsiteY285" fmla="*/ 2150257 h 5120141"/>
                <a:gd name="connsiteX286" fmla="*/ 1733364 w 3832826"/>
                <a:gd name="connsiteY286" fmla="*/ 2150257 h 5120141"/>
                <a:gd name="connsiteX287" fmla="*/ 1706006 w 3832826"/>
                <a:gd name="connsiteY287" fmla="*/ 2142221 h 5120141"/>
                <a:gd name="connsiteX288" fmla="*/ 1680794 w 3832826"/>
                <a:gd name="connsiteY288" fmla="*/ 2136251 h 5120141"/>
                <a:gd name="connsiteX289" fmla="*/ 1655582 w 3832826"/>
                <a:gd name="connsiteY289" fmla="*/ 2126196 h 5120141"/>
                <a:gd name="connsiteX290" fmla="*/ 1630281 w 3832826"/>
                <a:gd name="connsiteY290" fmla="*/ 2116186 h 5120141"/>
                <a:gd name="connsiteX291" fmla="*/ 1607214 w 3832826"/>
                <a:gd name="connsiteY291" fmla="*/ 2110171 h 5120141"/>
                <a:gd name="connsiteX292" fmla="*/ 1594519 w 3832826"/>
                <a:gd name="connsiteY292" fmla="*/ 2110171 h 5120141"/>
                <a:gd name="connsiteX293" fmla="*/ 1584058 w 3832826"/>
                <a:gd name="connsiteY293" fmla="*/ 2112191 h 5120141"/>
                <a:gd name="connsiteX294" fmla="*/ 1573508 w 3832826"/>
                <a:gd name="connsiteY294" fmla="*/ 2116186 h 5120141"/>
                <a:gd name="connsiteX295" fmla="*/ 1560902 w 3832826"/>
                <a:gd name="connsiteY295" fmla="*/ 2120181 h 5120141"/>
                <a:gd name="connsiteX296" fmla="*/ 1544094 w 3832826"/>
                <a:gd name="connsiteY296" fmla="*/ 2128216 h 5120141"/>
                <a:gd name="connsiteX297" fmla="*/ 1529342 w 3832826"/>
                <a:gd name="connsiteY297" fmla="*/ 2136251 h 5120141"/>
                <a:gd name="connsiteX298" fmla="*/ 1499928 w 3832826"/>
                <a:gd name="connsiteY298" fmla="*/ 2140246 h 5120141"/>
                <a:gd name="connsiteX299" fmla="*/ 1497783 w 3832826"/>
                <a:gd name="connsiteY299" fmla="*/ 2140246 h 5120141"/>
                <a:gd name="connsiteX300" fmla="*/ 1483031 w 3832826"/>
                <a:gd name="connsiteY300" fmla="*/ 2140246 h 5120141"/>
                <a:gd name="connsiteX301" fmla="*/ 1468368 w 3832826"/>
                <a:gd name="connsiteY301" fmla="*/ 2140246 h 5120141"/>
                <a:gd name="connsiteX302" fmla="*/ 1451471 w 3832826"/>
                <a:gd name="connsiteY302" fmla="*/ 2142221 h 5120141"/>
                <a:gd name="connsiteX303" fmla="*/ 1447269 w 3832826"/>
                <a:gd name="connsiteY303" fmla="*/ 2146261 h 5120141"/>
                <a:gd name="connsiteX304" fmla="*/ 1440991 w 3832826"/>
                <a:gd name="connsiteY304" fmla="*/ 2149246 h 5120141"/>
                <a:gd name="connsiteX305" fmla="*/ 1440991 w 3832826"/>
                <a:gd name="connsiteY305" fmla="*/ 2319937 h 5120141"/>
                <a:gd name="connsiteX306" fmla="*/ 1445196 w 3832826"/>
                <a:gd name="connsiteY306" fmla="*/ 2330619 h 5120141"/>
                <a:gd name="connsiteX307" fmla="*/ 1449403 w 3832826"/>
                <a:gd name="connsiteY307" fmla="*/ 2344647 h 5120141"/>
                <a:gd name="connsiteX308" fmla="*/ 1462025 w 3832826"/>
                <a:gd name="connsiteY308" fmla="*/ 2378715 h 5120141"/>
                <a:gd name="connsiteX309" fmla="*/ 1480958 w 3832826"/>
                <a:gd name="connsiteY309" fmla="*/ 2438834 h 5120141"/>
                <a:gd name="connsiteX310" fmla="*/ 1493580 w 3832826"/>
                <a:gd name="connsiteY310" fmla="*/ 2468893 h 5120141"/>
                <a:gd name="connsiteX311" fmla="*/ 1499891 w 3832826"/>
                <a:gd name="connsiteY311" fmla="*/ 2480917 h 5120141"/>
                <a:gd name="connsiteX312" fmla="*/ 1508305 w 3832826"/>
                <a:gd name="connsiteY312" fmla="*/ 2492941 h 5120141"/>
                <a:gd name="connsiteX313" fmla="*/ 1508305 w 3832826"/>
                <a:gd name="connsiteY313" fmla="*/ 2523000 h 5120141"/>
                <a:gd name="connsiteX314" fmla="*/ 1508305 w 3832826"/>
                <a:gd name="connsiteY314" fmla="*/ 2555064 h 5120141"/>
                <a:gd name="connsiteX315" fmla="*/ 1508403 w 3832826"/>
                <a:gd name="connsiteY315" fmla="*/ 2557937 h 5120141"/>
                <a:gd name="connsiteX316" fmla="*/ 1508476 w 3832826"/>
                <a:gd name="connsiteY316" fmla="*/ 2558008 h 5120141"/>
                <a:gd name="connsiteX317" fmla="*/ 1508308 w 3832826"/>
                <a:gd name="connsiteY317" fmla="*/ 2553060 h 5120141"/>
                <a:gd name="connsiteX318" fmla="*/ 1508308 w 3832826"/>
                <a:gd name="connsiteY318" fmla="*/ 2520996 h 5120141"/>
                <a:gd name="connsiteX319" fmla="*/ 1508308 w 3832826"/>
                <a:gd name="connsiteY319" fmla="*/ 2490937 h 5120141"/>
                <a:gd name="connsiteX320" fmla="*/ 1703947 w 3832826"/>
                <a:gd name="connsiteY320" fmla="*/ 2693337 h 5120141"/>
                <a:gd name="connsiteX321" fmla="*/ 1800715 w 3832826"/>
                <a:gd name="connsiteY321" fmla="*/ 2777503 h 5120141"/>
                <a:gd name="connsiteX322" fmla="*/ 1821751 w 3832826"/>
                <a:gd name="connsiteY322" fmla="*/ 2793535 h 5120141"/>
                <a:gd name="connsiteX323" fmla="*/ 1846995 w 3832826"/>
                <a:gd name="connsiteY323" fmla="*/ 2807563 h 5120141"/>
                <a:gd name="connsiteX324" fmla="*/ 1868031 w 3832826"/>
                <a:gd name="connsiteY324" fmla="*/ 2827603 h 5120141"/>
                <a:gd name="connsiteX325" fmla="*/ 1874342 w 3832826"/>
                <a:gd name="connsiteY325" fmla="*/ 2837622 h 5120141"/>
                <a:gd name="connsiteX326" fmla="*/ 1882757 w 3832826"/>
                <a:gd name="connsiteY326" fmla="*/ 2847642 h 5120141"/>
                <a:gd name="connsiteX327" fmla="*/ 1882757 w 3832826"/>
                <a:gd name="connsiteY327" fmla="*/ 2857662 h 5120141"/>
                <a:gd name="connsiteX328" fmla="*/ 1871663 w 3832826"/>
                <a:gd name="connsiteY328" fmla="*/ 2862688 h 5120141"/>
                <a:gd name="connsiteX329" fmla="*/ 1920621 w 3832826"/>
                <a:gd name="connsiteY329" fmla="*/ 2925780 h 5120141"/>
                <a:gd name="connsiteX330" fmla="*/ 1937450 w 3832826"/>
                <a:gd name="connsiteY330" fmla="*/ 2955859 h 5120141"/>
                <a:gd name="connsiteX331" fmla="*/ 1956383 w 3832826"/>
                <a:gd name="connsiteY331" fmla="*/ 2987924 h 5120141"/>
                <a:gd name="connsiteX332" fmla="*/ 1964798 w 3832826"/>
                <a:gd name="connsiteY332" fmla="*/ 2997927 h 5120141"/>
                <a:gd name="connsiteX333" fmla="*/ 1969005 w 3832826"/>
                <a:gd name="connsiteY333" fmla="*/ 3009986 h 5120141"/>
                <a:gd name="connsiteX334" fmla="*/ 1977420 w 3832826"/>
                <a:gd name="connsiteY334" fmla="*/ 3038008 h 5120141"/>
                <a:gd name="connsiteX335" fmla="*/ 1985834 w 3832826"/>
                <a:gd name="connsiteY335" fmla="*/ 3066100 h 5120141"/>
                <a:gd name="connsiteX336" fmla="*/ 1994249 w 3832826"/>
                <a:gd name="connsiteY336" fmla="*/ 3078089 h 5120141"/>
                <a:gd name="connsiteX337" fmla="*/ 2004767 w 3832826"/>
                <a:gd name="connsiteY337" fmla="*/ 3090149 h 5120141"/>
                <a:gd name="connsiteX338" fmla="*/ 2008974 w 3832826"/>
                <a:gd name="connsiteY338" fmla="*/ 3100152 h 5120141"/>
                <a:gd name="connsiteX339" fmla="*/ 2017389 w 3832826"/>
                <a:gd name="connsiteY339" fmla="*/ 3110155 h 5120141"/>
                <a:gd name="connsiteX340" fmla="*/ 2023700 w 3832826"/>
                <a:gd name="connsiteY340" fmla="*/ 3136190 h 5120141"/>
                <a:gd name="connsiteX341" fmla="*/ 2032114 w 3832826"/>
                <a:gd name="connsiteY341" fmla="*/ 3158252 h 5120141"/>
                <a:gd name="connsiteX342" fmla="*/ 2040529 w 3832826"/>
                <a:gd name="connsiteY342" fmla="*/ 3168255 h 5120141"/>
                <a:gd name="connsiteX343" fmla="*/ 2048944 w 3832826"/>
                <a:gd name="connsiteY343" fmla="*/ 3174285 h 5120141"/>
                <a:gd name="connsiteX344" fmla="*/ 2059462 w 3832826"/>
                <a:gd name="connsiteY344" fmla="*/ 3180315 h 5120141"/>
                <a:gd name="connsiteX345" fmla="*/ 2069980 w 3832826"/>
                <a:gd name="connsiteY345" fmla="*/ 3180315 h 5120141"/>
                <a:gd name="connsiteX346" fmla="*/ 2082602 w 3832826"/>
                <a:gd name="connsiteY346" fmla="*/ 3182301 h 5120141"/>
                <a:gd name="connsiteX347" fmla="*/ 2095224 w 3832826"/>
                <a:gd name="connsiteY347" fmla="*/ 3184288 h 5120141"/>
                <a:gd name="connsiteX348" fmla="*/ 2105742 w 3832826"/>
                <a:gd name="connsiteY348" fmla="*/ 3190318 h 5120141"/>
                <a:gd name="connsiteX349" fmla="*/ 2114156 w 3832826"/>
                <a:gd name="connsiteY349" fmla="*/ 3198334 h 5120141"/>
                <a:gd name="connsiteX350" fmla="*/ 2122571 w 3832826"/>
                <a:gd name="connsiteY350" fmla="*/ 3204364 h 5120141"/>
                <a:gd name="connsiteX351" fmla="*/ 2132508 w 3832826"/>
                <a:gd name="connsiteY351" fmla="*/ 3211937 h 5120141"/>
                <a:gd name="connsiteX352" fmla="*/ 2133090 w 3832826"/>
                <a:gd name="connsiteY352" fmla="*/ 3211201 h 5120141"/>
                <a:gd name="connsiteX353" fmla="*/ 2210924 w 3832826"/>
                <a:gd name="connsiteY353" fmla="*/ 3145234 h 5120141"/>
                <a:gd name="connsiteX354" fmla="*/ 2286655 w 3832826"/>
                <a:gd name="connsiteY354" fmla="*/ 3071271 h 5120141"/>
                <a:gd name="connsiteX355" fmla="*/ 2316106 w 3832826"/>
                <a:gd name="connsiteY355" fmla="*/ 3045284 h 5120141"/>
                <a:gd name="connsiteX356" fmla="*/ 2332935 w 3832826"/>
                <a:gd name="connsiteY356" fmla="*/ 3035289 h 5120141"/>
                <a:gd name="connsiteX357" fmla="*/ 2343453 w 3832826"/>
                <a:gd name="connsiteY357" fmla="*/ 3031291 h 5120141"/>
                <a:gd name="connsiteX358" fmla="*/ 2349764 w 3832826"/>
                <a:gd name="connsiteY358" fmla="*/ 3029292 h 5120141"/>
                <a:gd name="connsiteX359" fmla="*/ 2381318 w 3832826"/>
                <a:gd name="connsiteY359" fmla="*/ 3031291 h 5120141"/>
                <a:gd name="connsiteX360" fmla="*/ 2398148 w 3832826"/>
                <a:gd name="connsiteY360" fmla="*/ 3029292 h 5120141"/>
                <a:gd name="connsiteX361" fmla="*/ 2402355 w 3832826"/>
                <a:gd name="connsiteY361" fmla="*/ 3029292 h 5120141"/>
                <a:gd name="connsiteX362" fmla="*/ 2404458 w 3832826"/>
                <a:gd name="connsiteY362" fmla="*/ 3027293 h 5120141"/>
                <a:gd name="connsiteX363" fmla="*/ 2404458 w 3832826"/>
                <a:gd name="connsiteY363" fmla="*/ 3007303 h 5120141"/>
                <a:gd name="connsiteX364" fmla="*/ 2408666 w 3832826"/>
                <a:gd name="connsiteY364" fmla="*/ 2997308 h 5120141"/>
                <a:gd name="connsiteX365" fmla="*/ 2410769 w 3832826"/>
                <a:gd name="connsiteY365" fmla="*/ 2995309 h 5120141"/>
                <a:gd name="connsiteX366" fmla="*/ 2414977 w 3832826"/>
                <a:gd name="connsiteY366" fmla="*/ 2991311 h 5120141"/>
                <a:gd name="connsiteX367" fmla="*/ 2423391 w 3832826"/>
                <a:gd name="connsiteY367" fmla="*/ 2991311 h 5120141"/>
                <a:gd name="connsiteX368" fmla="*/ 2425495 w 3832826"/>
                <a:gd name="connsiteY368" fmla="*/ 2987313 h 5120141"/>
                <a:gd name="connsiteX369" fmla="*/ 2429702 w 3832826"/>
                <a:gd name="connsiteY369" fmla="*/ 2985314 h 5120141"/>
                <a:gd name="connsiteX370" fmla="*/ 2429702 w 3832826"/>
                <a:gd name="connsiteY370" fmla="*/ 2979317 h 5120141"/>
                <a:gd name="connsiteX371" fmla="*/ 2429702 w 3832826"/>
                <a:gd name="connsiteY371" fmla="*/ 2977318 h 5120141"/>
                <a:gd name="connsiteX372" fmla="*/ 2431806 w 3832826"/>
                <a:gd name="connsiteY372" fmla="*/ 2971321 h 5120141"/>
                <a:gd name="connsiteX373" fmla="*/ 2433909 w 3832826"/>
                <a:gd name="connsiteY373" fmla="*/ 2969322 h 5120141"/>
                <a:gd name="connsiteX374" fmla="*/ 2442324 w 3832826"/>
                <a:gd name="connsiteY374" fmla="*/ 2967323 h 5120141"/>
                <a:gd name="connsiteX375" fmla="*/ 2452842 w 3832826"/>
                <a:gd name="connsiteY375" fmla="*/ 2967323 h 5120141"/>
                <a:gd name="connsiteX376" fmla="*/ 2454946 w 3832826"/>
                <a:gd name="connsiteY376" fmla="*/ 2965324 h 5120141"/>
                <a:gd name="connsiteX377" fmla="*/ 2457049 w 3832826"/>
                <a:gd name="connsiteY377" fmla="*/ 2961326 h 5120141"/>
                <a:gd name="connsiteX378" fmla="*/ 2457049 w 3832826"/>
                <a:gd name="connsiteY378" fmla="*/ 2941336 h 5120141"/>
                <a:gd name="connsiteX379" fmla="*/ 2461257 w 3832826"/>
                <a:gd name="connsiteY379" fmla="*/ 2927343 h 5120141"/>
                <a:gd name="connsiteX380" fmla="*/ 2463360 w 3832826"/>
                <a:gd name="connsiteY380" fmla="*/ 2917348 h 5120141"/>
                <a:gd name="connsiteX381" fmla="*/ 2467567 w 3832826"/>
                <a:gd name="connsiteY381" fmla="*/ 2907353 h 5120141"/>
                <a:gd name="connsiteX382" fmla="*/ 2473878 w 3832826"/>
                <a:gd name="connsiteY382" fmla="*/ 2899357 h 5120141"/>
                <a:gd name="connsiteX383" fmla="*/ 2488604 w 3832826"/>
                <a:gd name="connsiteY383" fmla="*/ 2885364 h 5120141"/>
                <a:gd name="connsiteX384" fmla="*/ 2509640 w 3832826"/>
                <a:gd name="connsiteY384" fmla="*/ 2865374 h 5120141"/>
                <a:gd name="connsiteX385" fmla="*/ 2646376 w 3832826"/>
                <a:gd name="connsiteY385" fmla="*/ 2743436 h 5120141"/>
                <a:gd name="connsiteX386" fmla="*/ 2650584 w 3832826"/>
                <a:gd name="connsiteY386" fmla="*/ 2755430 h 5120141"/>
                <a:gd name="connsiteX387" fmla="*/ 2654791 w 3832826"/>
                <a:gd name="connsiteY387" fmla="*/ 2765425 h 5120141"/>
                <a:gd name="connsiteX388" fmla="*/ 2663205 w 3832826"/>
                <a:gd name="connsiteY388" fmla="*/ 2773421 h 5120141"/>
                <a:gd name="connsiteX389" fmla="*/ 2671620 w 3832826"/>
                <a:gd name="connsiteY389" fmla="*/ 2773421 h 5120141"/>
                <a:gd name="connsiteX390" fmla="*/ 2675827 w 3832826"/>
                <a:gd name="connsiteY390" fmla="*/ 2775420 h 5120141"/>
                <a:gd name="connsiteX391" fmla="*/ 2688449 w 3832826"/>
                <a:gd name="connsiteY391" fmla="*/ 2779418 h 5120141"/>
                <a:gd name="connsiteX392" fmla="*/ 2696863 w 3832826"/>
                <a:gd name="connsiteY392" fmla="*/ 2785415 h 5120141"/>
                <a:gd name="connsiteX393" fmla="*/ 2701071 w 3832826"/>
                <a:gd name="connsiteY393" fmla="*/ 2787414 h 5120141"/>
                <a:gd name="connsiteX394" fmla="*/ 2709485 w 3832826"/>
                <a:gd name="connsiteY394" fmla="*/ 2785415 h 5120141"/>
                <a:gd name="connsiteX395" fmla="*/ 2715796 w 3832826"/>
                <a:gd name="connsiteY395" fmla="*/ 2779418 h 5120141"/>
                <a:gd name="connsiteX396" fmla="*/ 2722107 w 3832826"/>
                <a:gd name="connsiteY396" fmla="*/ 2775420 h 5120141"/>
                <a:gd name="connsiteX397" fmla="*/ 2728418 w 3832826"/>
                <a:gd name="connsiteY397" fmla="*/ 2773421 h 5120141"/>
                <a:gd name="connsiteX398" fmla="*/ 2747351 w 3832826"/>
                <a:gd name="connsiteY398" fmla="*/ 2769423 h 5120141"/>
                <a:gd name="connsiteX399" fmla="*/ 2764180 w 3832826"/>
                <a:gd name="connsiteY399" fmla="*/ 2773421 h 5120141"/>
                <a:gd name="connsiteX400" fmla="*/ 2783112 w 3832826"/>
                <a:gd name="connsiteY400" fmla="*/ 2779418 h 5120141"/>
                <a:gd name="connsiteX401" fmla="*/ 2795734 w 3832826"/>
                <a:gd name="connsiteY401" fmla="*/ 2793411 h 5120141"/>
                <a:gd name="connsiteX402" fmla="*/ 2799942 w 3832826"/>
                <a:gd name="connsiteY402" fmla="*/ 2793411 h 5120141"/>
                <a:gd name="connsiteX403" fmla="*/ 2804149 w 3832826"/>
                <a:gd name="connsiteY403" fmla="*/ 2805405 h 5120141"/>
                <a:gd name="connsiteX404" fmla="*/ 2812563 w 3832826"/>
                <a:gd name="connsiteY404" fmla="*/ 2817399 h 5120141"/>
                <a:gd name="connsiteX405" fmla="*/ 2825185 w 3832826"/>
                <a:gd name="connsiteY405" fmla="*/ 2845384 h 5120141"/>
                <a:gd name="connsiteX406" fmla="*/ 2835703 w 3832826"/>
                <a:gd name="connsiteY406" fmla="*/ 2873370 h 5120141"/>
                <a:gd name="connsiteX407" fmla="*/ 2842014 w 3832826"/>
                <a:gd name="connsiteY407" fmla="*/ 2885364 h 5120141"/>
                <a:gd name="connsiteX408" fmla="*/ 2847737 w 3832826"/>
                <a:gd name="connsiteY408" fmla="*/ 2896240 h 5120141"/>
                <a:gd name="connsiteX409" fmla="*/ 2848292 w 3832826"/>
                <a:gd name="connsiteY409" fmla="*/ 2895738 h 5120141"/>
                <a:gd name="connsiteX410" fmla="*/ 2873502 w 3832826"/>
                <a:gd name="connsiteY410" fmla="*/ 2911778 h 5120141"/>
                <a:gd name="connsiteX411" fmla="*/ 2898892 w 3832826"/>
                <a:gd name="connsiteY411" fmla="*/ 2921802 h 5120141"/>
                <a:gd name="connsiteX412" fmla="*/ 2921942 w 3832826"/>
                <a:gd name="connsiteY412" fmla="*/ 2935837 h 5120141"/>
                <a:gd name="connsiteX413" fmla="*/ 2932386 w 3832826"/>
                <a:gd name="connsiteY413" fmla="*/ 2943857 h 5120141"/>
                <a:gd name="connsiteX414" fmla="*/ 2943010 w 3832826"/>
                <a:gd name="connsiteY414" fmla="*/ 2953882 h 5120141"/>
                <a:gd name="connsiteX415" fmla="*/ 2957776 w 3832826"/>
                <a:gd name="connsiteY415" fmla="*/ 2965912 h 5120141"/>
                <a:gd name="connsiteX416" fmla="*/ 2964078 w 3832826"/>
                <a:gd name="connsiteY416" fmla="*/ 2973932 h 5120141"/>
                <a:gd name="connsiteX417" fmla="*/ 2970381 w 3832826"/>
                <a:gd name="connsiteY417" fmla="*/ 2977942 h 5120141"/>
                <a:gd name="connsiteX418" fmla="*/ 2985147 w 3832826"/>
                <a:gd name="connsiteY418" fmla="*/ 2979947 h 5120141"/>
                <a:gd name="connsiteX419" fmla="*/ 2995591 w 3832826"/>
                <a:gd name="connsiteY419" fmla="*/ 2979947 h 5120141"/>
                <a:gd name="connsiteX420" fmla="*/ 3006035 w 3832826"/>
                <a:gd name="connsiteY420" fmla="*/ 2983957 h 5120141"/>
                <a:gd name="connsiteX421" fmla="*/ 3018640 w 3832826"/>
                <a:gd name="connsiteY421" fmla="*/ 2993981 h 5120141"/>
                <a:gd name="connsiteX422" fmla="*/ 3024942 w 3832826"/>
                <a:gd name="connsiteY422" fmla="*/ 2999996 h 5120141"/>
                <a:gd name="connsiteX423" fmla="*/ 3027103 w 3832826"/>
                <a:gd name="connsiteY423" fmla="*/ 3006011 h 5120141"/>
                <a:gd name="connsiteX424" fmla="*/ 3027103 w 3832826"/>
                <a:gd name="connsiteY424" fmla="*/ 3008016 h 5120141"/>
                <a:gd name="connsiteX425" fmla="*/ 3024942 w 3832826"/>
                <a:gd name="connsiteY425" fmla="*/ 3014031 h 5120141"/>
                <a:gd name="connsiteX426" fmla="*/ 3018640 w 3832826"/>
                <a:gd name="connsiteY426" fmla="*/ 3020046 h 5120141"/>
                <a:gd name="connsiteX427" fmla="*/ 3014498 w 3832826"/>
                <a:gd name="connsiteY427" fmla="*/ 3029937 h 5120141"/>
                <a:gd name="connsiteX428" fmla="*/ 3014498 w 3832826"/>
                <a:gd name="connsiteY428" fmla="*/ 3043972 h 5120141"/>
                <a:gd name="connsiteX429" fmla="*/ 3014498 w 3832826"/>
                <a:gd name="connsiteY429" fmla="*/ 3049987 h 5120141"/>
                <a:gd name="connsiteX430" fmla="*/ 3024942 w 3832826"/>
                <a:gd name="connsiteY430" fmla="*/ 3074047 h 5120141"/>
                <a:gd name="connsiteX431" fmla="*/ 3024942 w 3832826"/>
                <a:gd name="connsiteY431" fmla="*/ 3084071 h 5120141"/>
                <a:gd name="connsiteX432" fmla="*/ 3022962 w 3832826"/>
                <a:gd name="connsiteY432" fmla="*/ 3088081 h 5120141"/>
                <a:gd name="connsiteX433" fmla="*/ 3022962 w 3832826"/>
                <a:gd name="connsiteY433" fmla="*/ 3090086 h 5120141"/>
                <a:gd name="connsiteX434" fmla="*/ 3024942 w 3832826"/>
                <a:gd name="connsiteY434" fmla="*/ 3094096 h 5120141"/>
                <a:gd name="connsiteX435" fmla="*/ 3033406 w 3832826"/>
                <a:gd name="connsiteY435" fmla="*/ 3100111 h 5120141"/>
                <a:gd name="connsiteX436" fmla="*/ 3046011 w 3832826"/>
                <a:gd name="connsiteY436" fmla="*/ 3106126 h 5120141"/>
                <a:gd name="connsiteX437" fmla="*/ 3056635 w 3832826"/>
                <a:gd name="connsiteY437" fmla="*/ 3108131 h 5120141"/>
                <a:gd name="connsiteX438" fmla="*/ 3064918 w 3832826"/>
                <a:gd name="connsiteY438" fmla="*/ 3110136 h 5120141"/>
                <a:gd name="connsiteX439" fmla="*/ 3075542 w 3832826"/>
                <a:gd name="connsiteY439" fmla="*/ 3118156 h 5120141"/>
                <a:gd name="connsiteX440" fmla="*/ 3088147 w 3832826"/>
                <a:gd name="connsiteY440" fmla="*/ 3138206 h 5120141"/>
                <a:gd name="connsiteX441" fmla="*/ 3096611 w 3832826"/>
                <a:gd name="connsiteY441" fmla="*/ 3152240 h 5120141"/>
                <a:gd name="connsiteX442" fmla="*/ 3096611 w 3832826"/>
                <a:gd name="connsiteY442" fmla="*/ 3162265 h 5120141"/>
                <a:gd name="connsiteX443" fmla="*/ 3096611 w 3832826"/>
                <a:gd name="connsiteY443" fmla="*/ 3166275 h 5120141"/>
                <a:gd name="connsiteX444" fmla="*/ 3090308 w 3832826"/>
                <a:gd name="connsiteY444" fmla="*/ 3168280 h 5120141"/>
                <a:gd name="connsiteX445" fmla="*/ 3088147 w 3832826"/>
                <a:gd name="connsiteY445" fmla="*/ 3168280 h 5120141"/>
                <a:gd name="connsiteX446" fmla="*/ 3085987 w 3832826"/>
                <a:gd name="connsiteY446" fmla="*/ 3170285 h 5120141"/>
                <a:gd name="connsiteX447" fmla="*/ 3085987 w 3832826"/>
                <a:gd name="connsiteY447" fmla="*/ 3178305 h 5120141"/>
                <a:gd name="connsiteX448" fmla="*/ 3088147 w 3832826"/>
                <a:gd name="connsiteY448" fmla="*/ 3182315 h 5120141"/>
                <a:gd name="connsiteX449" fmla="*/ 3090308 w 3832826"/>
                <a:gd name="connsiteY449" fmla="*/ 3186325 h 5120141"/>
                <a:gd name="connsiteX450" fmla="*/ 3092289 w 3832826"/>
                <a:gd name="connsiteY450" fmla="*/ 3190335 h 5120141"/>
                <a:gd name="connsiteX451" fmla="*/ 3098592 w 3832826"/>
                <a:gd name="connsiteY451" fmla="*/ 3208380 h 5120141"/>
                <a:gd name="connsiteX452" fmla="*/ 3102913 w 3832826"/>
                <a:gd name="connsiteY452" fmla="*/ 3222415 h 5120141"/>
                <a:gd name="connsiteX453" fmla="*/ 3107055 w 3832826"/>
                <a:gd name="connsiteY453" fmla="*/ 3238454 h 5120141"/>
                <a:gd name="connsiteX454" fmla="*/ 3109216 w 3832826"/>
                <a:gd name="connsiteY454" fmla="*/ 3246474 h 5120141"/>
                <a:gd name="connsiteX455" fmla="*/ 3113357 w 3832826"/>
                <a:gd name="connsiteY455" fmla="*/ 3248479 h 5120141"/>
                <a:gd name="connsiteX456" fmla="*/ 3130284 w 3832826"/>
                <a:gd name="connsiteY456" fmla="*/ 3252489 h 5120141"/>
                <a:gd name="connsiteX457" fmla="*/ 3159636 w 3832826"/>
                <a:gd name="connsiteY457" fmla="*/ 3266524 h 5120141"/>
                <a:gd name="connsiteX458" fmla="*/ 3187007 w 3832826"/>
                <a:gd name="connsiteY458" fmla="*/ 3278554 h 5120141"/>
                <a:gd name="connsiteX459" fmla="*/ 3214377 w 3832826"/>
                <a:gd name="connsiteY459" fmla="*/ 3296598 h 5120141"/>
                <a:gd name="connsiteX460" fmla="*/ 3243729 w 3832826"/>
                <a:gd name="connsiteY460" fmla="*/ 3308495 h 5120141"/>
                <a:gd name="connsiteX461" fmla="*/ 3250032 w 3832826"/>
                <a:gd name="connsiteY461" fmla="*/ 3312505 h 5120141"/>
                <a:gd name="connsiteX462" fmla="*/ 3260656 w 3832826"/>
                <a:gd name="connsiteY462" fmla="*/ 3326539 h 5120141"/>
                <a:gd name="connsiteX463" fmla="*/ 3269119 w 3832826"/>
                <a:gd name="connsiteY463" fmla="*/ 3338569 h 5120141"/>
                <a:gd name="connsiteX464" fmla="*/ 3275422 w 3832826"/>
                <a:gd name="connsiteY464" fmla="*/ 3352604 h 5120141"/>
                <a:gd name="connsiteX465" fmla="*/ 3285866 w 3832826"/>
                <a:gd name="connsiteY465" fmla="*/ 3384684 h 5120141"/>
                <a:gd name="connsiteX466" fmla="*/ 3292168 w 3832826"/>
                <a:gd name="connsiteY466" fmla="*/ 3410748 h 5120141"/>
                <a:gd name="connsiteX467" fmla="*/ 3300632 w 3832826"/>
                <a:gd name="connsiteY467" fmla="*/ 3434808 h 5120141"/>
                <a:gd name="connsiteX468" fmla="*/ 3309095 w 3832826"/>
                <a:gd name="connsiteY468" fmla="*/ 3458868 h 5120141"/>
                <a:gd name="connsiteX469" fmla="*/ 3311076 w 3832826"/>
                <a:gd name="connsiteY469" fmla="*/ 3468892 h 5120141"/>
                <a:gd name="connsiteX470" fmla="*/ 3313237 w 3832826"/>
                <a:gd name="connsiteY470" fmla="*/ 3474907 h 5120141"/>
                <a:gd name="connsiteX471" fmla="*/ 3313237 w 3832826"/>
                <a:gd name="connsiteY471" fmla="*/ 3478917 h 5120141"/>
                <a:gd name="connsiteX472" fmla="*/ 3309095 w 3832826"/>
                <a:gd name="connsiteY472" fmla="*/ 3482927 h 5120141"/>
                <a:gd name="connsiteX473" fmla="*/ 3302793 w 3832826"/>
                <a:gd name="connsiteY473" fmla="*/ 3488942 h 5120141"/>
                <a:gd name="connsiteX474" fmla="*/ 3296310 w 3832826"/>
                <a:gd name="connsiteY474" fmla="*/ 3490947 h 5120141"/>
                <a:gd name="connsiteX475" fmla="*/ 3296310 w 3832826"/>
                <a:gd name="connsiteY475" fmla="*/ 3498967 h 5120141"/>
                <a:gd name="connsiteX476" fmla="*/ 3296310 w 3832826"/>
                <a:gd name="connsiteY476" fmla="*/ 3508992 h 5120141"/>
                <a:gd name="connsiteX477" fmla="*/ 3300632 w 3832826"/>
                <a:gd name="connsiteY477" fmla="*/ 3531047 h 5120141"/>
                <a:gd name="connsiteX478" fmla="*/ 3309095 w 3832826"/>
                <a:gd name="connsiteY478" fmla="*/ 3553101 h 5120141"/>
                <a:gd name="connsiteX479" fmla="*/ 3313237 w 3832826"/>
                <a:gd name="connsiteY479" fmla="*/ 3563126 h 5120141"/>
                <a:gd name="connsiteX480" fmla="*/ 3319539 w 3832826"/>
                <a:gd name="connsiteY480" fmla="*/ 3567002 h 5120141"/>
                <a:gd name="connsiteX481" fmla="*/ 3317645 w 3832826"/>
                <a:gd name="connsiteY481" fmla="*/ 3567042 h 5120141"/>
                <a:gd name="connsiteX482" fmla="*/ 3330079 w 3832826"/>
                <a:gd name="connsiteY482" fmla="*/ 3577062 h 5120141"/>
                <a:gd name="connsiteX483" fmla="*/ 3334316 w 3832826"/>
                <a:gd name="connsiteY483" fmla="*/ 3585058 h 5120141"/>
                <a:gd name="connsiteX484" fmla="*/ 3334316 w 3832826"/>
                <a:gd name="connsiteY484" fmla="*/ 3593054 h 5120141"/>
                <a:gd name="connsiteX485" fmla="*/ 3334316 w 3832826"/>
                <a:gd name="connsiteY485" fmla="*/ 3603030 h 5120141"/>
                <a:gd name="connsiteX486" fmla="*/ 3332198 w 3832826"/>
                <a:gd name="connsiteY486" fmla="*/ 3607066 h 5120141"/>
                <a:gd name="connsiteX487" fmla="*/ 3323724 w 3832826"/>
                <a:gd name="connsiteY487" fmla="*/ 3609046 h 5120141"/>
                <a:gd name="connsiteX488" fmla="*/ 3319599 w 3832826"/>
                <a:gd name="connsiteY488" fmla="*/ 3613006 h 5120141"/>
                <a:gd name="connsiteX489" fmla="*/ 3319599 w 3832826"/>
                <a:gd name="connsiteY489" fmla="*/ 3617042 h 5120141"/>
                <a:gd name="connsiteX490" fmla="*/ 3319599 w 3832826"/>
                <a:gd name="connsiteY490" fmla="*/ 3619021 h 5120141"/>
                <a:gd name="connsiteX491" fmla="*/ 3323724 w 3832826"/>
                <a:gd name="connsiteY491" fmla="*/ 3625037 h 5120141"/>
                <a:gd name="connsiteX492" fmla="*/ 3330079 w 3832826"/>
                <a:gd name="connsiteY492" fmla="*/ 3627017 h 5120141"/>
                <a:gd name="connsiteX493" fmla="*/ 3332198 w 3832826"/>
                <a:gd name="connsiteY493" fmla="*/ 3628997 h 5120141"/>
                <a:gd name="connsiteX494" fmla="*/ 3340560 w 3832826"/>
                <a:gd name="connsiteY494" fmla="*/ 3644989 h 5120141"/>
                <a:gd name="connsiteX495" fmla="*/ 3351151 w 3832826"/>
                <a:gd name="connsiteY495" fmla="*/ 3657021 h 5120141"/>
                <a:gd name="connsiteX496" fmla="*/ 3372112 w 3832826"/>
                <a:gd name="connsiteY496" fmla="*/ 3684968 h 5120141"/>
                <a:gd name="connsiteX497" fmla="*/ 3372112 w 3832826"/>
                <a:gd name="connsiteY497" fmla="*/ 3687024 h 5120141"/>
                <a:gd name="connsiteX498" fmla="*/ 3372112 w 3832826"/>
                <a:gd name="connsiteY498" fmla="*/ 3689004 h 5120141"/>
                <a:gd name="connsiteX499" fmla="*/ 3367875 w 3832826"/>
                <a:gd name="connsiteY499" fmla="*/ 3695020 h 5120141"/>
                <a:gd name="connsiteX500" fmla="*/ 3363750 w 3832826"/>
                <a:gd name="connsiteY500" fmla="*/ 3703016 h 5120141"/>
                <a:gd name="connsiteX501" fmla="*/ 3363750 w 3832826"/>
                <a:gd name="connsiteY501" fmla="*/ 3704996 h 5120141"/>
                <a:gd name="connsiteX502" fmla="*/ 3363750 w 3832826"/>
                <a:gd name="connsiteY502" fmla="*/ 3706976 h 5120141"/>
                <a:gd name="connsiteX503" fmla="*/ 3367875 w 3832826"/>
                <a:gd name="connsiteY503" fmla="*/ 3716951 h 5120141"/>
                <a:gd name="connsiteX504" fmla="*/ 3374230 w 3832826"/>
                <a:gd name="connsiteY504" fmla="*/ 3722967 h 5120141"/>
                <a:gd name="connsiteX505" fmla="*/ 3382704 w 3832826"/>
                <a:gd name="connsiteY505" fmla="*/ 3728983 h 5120141"/>
                <a:gd name="connsiteX506" fmla="*/ 3388948 w 3832826"/>
                <a:gd name="connsiteY506" fmla="*/ 3734923 h 5120141"/>
                <a:gd name="connsiteX507" fmla="*/ 3395303 w 3832826"/>
                <a:gd name="connsiteY507" fmla="*/ 3746955 h 5120141"/>
                <a:gd name="connsiteX508" fmla="*/ 3397421 w 3832826"/>
                <a:gd name="connsiteY508" fmla="*/ 3756931 h 5120141"/>
                <a:gd name="connsiteX509" fmla="*/ 3397421 w 3832826"/>
                <a:gd name="connsiteY509" fmla="*/ 3766907 h 5120141"/>
                <a:gd name="connsiteX510" fmla="*/ 3399428 w 3832826"/>
                <a:gd name="connsiteY510" fmla="*/ 3778939 h 5120141"/>
                <a:gd name="connsiteX511" fmla="*/ 3407901 w 3832826"/>
                <a:gd name="connsiteY511" fmla="*/ 3798890 h 5120141"/>
                <a:gd name="connsiteX512" fmla="*/ 3416263 w 3832826"/>
                <a:gd name="connsiteY512" fmla="*/ 3808942 h 5120141"/>
                <a:gd name="connsiteX513" fmla="*/ 3424737 w 3832826"/>
                <a:gd name="connsiteY513" fmla="*/ 3816938 h 5120141"/>
                <a:gd name="connsiteX514" fmla="*/ 3431092 w 3832826"/>
                <a:gd name="connsiteY514" fmla="*/ 3820898 h 5120141"/>
                <a:gd name="connsiteX515" fmla="*/ 3437335 w 3832826"/>
                <a:gd name="connsiteY515" fmla="*/ 3820898 h 5120141"/>
                <a:gd name="connsiteX516" fmla="*/ 3449934 w 3832826"/>
                <a:gd name="connsiteY516" fmla="*/ 3820898 h 5120141"/>
                <a:gd name="connsiteX517" fmla="*/ 3456289 w 3832826"/>
                <a:gd name="connsiteY517" fmla="*/ 3824934 h 5120141"/>
                <a:gd name="connsiteX518" fmla="*/ 3460526 w 3832826"/>
                <a:gd name="connsiteY518" fmla="*/ 3826914 h 5120141"/>
                <a:gd name="connsiteX519" fmla="*/ 3466770 w 3832826"/>
                <a:gd name="connsiteY519" fmla="*/ 3830874 h 5120141"/>
                <a:gd name="connsiteX520" fmla="*/ 3468888 w 3832826"/>
                <a:gd name="connsiteY520" fmla="*/ 3840925 h 5120141"/>
                <a:gd name="connsiteX521" fmla="*/ 3466770 w 3832826"/>
                <a:gd name="connsiteY521" fmla="*/ 3840925 h 5120141"/>
                <a:gd name="connsiteX522" fmla="*/ 3462644 w 3832826"/>
                <a:gd name="connsiteY522" fmla="*/ 3844885 h 5120141"/>
                <a:gd name="connsiteX523" fmla="*/ 3458408 w 3832826"/>
                <a:gd name="connsiteY523" fmla="*/ 3846865 h 5120141"/>
                <a:gd name="connsiteX524" fmla="*/ 3456289 w 3832826"/>
                <a:gd name="connsiteY524" fmla="*/ 3848921 h 5120141"/>
                <a:gd name="connsiteX525" fmla="*/ 3458408 w 3832826"/>
                <a:gd name="connsiteY525" fmla="*/ 3854861 h 5120141"/>
                <a:gd name="connsiteX526" fmla="*/ 3462644 w 3832826"/>
                <a:gd name="connsiteY526" fmla="*/ 3856917 h 5120141"/>
                <a:gd name="connsiteX527" fmla="*/ 3468888 w 3832826"/>
                <a:gd name="connsiteY527" fmla="*/ 3860877 h 5120141"/>
                <a:gd name="connsiteX528" fmla="*/ 3481487 w 3832826"/>
                <a:gd name="connsiteY528" fmla="*/ 3874889 h 5120141"/>
                <a:gd name="connsiteX529" fmla="*/ 3487842 w 3832826"/>
                <a:gd name="connsiteY529" fmla="*/ 3880828 h 5120141"/>
                <a:gd name="connsiteX530" fmla="*/ 3489960 w 3832826"/>
                <a:gd name="connsiteY530" fmla="*/ 3888824 h 5120141"/>
                <a:gd name="connsiteX531" fmla="*/ 3489960 w 3832826"/>
                <a:gd name="connsiteY531" fmla="*/ 3898876 h 5120141"/>
                <a:gd name="connsiteX532" fmla="*/ 3483605 w 3832826"/>
                <a:gd name="connsiteY532" fmla="*/ 3910832 h 5120141"/>
                <a:gd name="connsiteX533" fmla="*/ 3477361 w 3832826"/>
                <a:gd name="connsiteY533" fmla="*/ 3924844 h 5120141"/>
                <a:gd name="connsiteX534" fmla="*/ 3477361 w 3832826"/>
                <a:gd name="connsiteY534" fmla="*/ 3934819 h 5120141"/>
                <a:gd name="connsiteX535" fmla="*/ 3477361 w 3832826"/>
                <a:gd name="connsiteY535" fmla="*/ 3946851 h 5120141"/>
                <a:gd name="connsiteX536" fmla="*/ 3481487 w 3832826"/>
                <a:gd name="connsiteY536" fmla="*/ 3960787 h 5120141"/>
                <a:gd name="connsiteX537" fmla="*/ 3492078 w 3832826"/>
                <a:gd name="connsiteY537" fmla="*/ 3988810 h 5120141"/>
                <a:gd name="connsiteX538" fmla="*/ 3498322 w 3832826"/>
                <a:gd name="connsiteY538" fmla="*/ 3998786 h 5120141"/>
                <a:gd name="connsiteX539" fmla="*/ 3502559 w 3832826"/>
                <a:gd name="connsiteY539" fmla="*/ 4006782 h 5120141"/>
                <a:gd name="connsiteX540" fmla="*/ 3513039 w 3832826"/>
                <a:gd name="connsiteY540" fmla="*/ 4012798 h 5120141"/>
                <a:gd name="connsiteX541" fmla="*/ 3521513 w 3832826"/>
                <a:gd name="connsiteY541" fmla="*/ 4022774 h 5120141"/>
                <a:gd name="connsiteX542" fmla="*/ 3523631 w 3832826"/>
                <a:gd name="connsiteY542" fmla="*/ 4028790 h 5120141"/>
                <a:gd name="connsiteX543" fmla="*/ 3523631 w 3832826"/>
                <a:gd name="connsiteY543" fmla="*/ 4036785 h 5120141"/>
                <a:gd name="connsiteX544" fmla="*/ 3523631 w 3832826"/>
                <a:gd name="connsiteY544" fmla="*/ 4048741 h 5120141"/>
                <a:gd name="connsiteX545" fmla="*/ 3521513 w 3832826"/>
                <a:gd name="connsiteY545" fmla="*/ 4066713 h 5120141"/>
                <a:gd name="connsiteX546" fmla="*/ 3521513 w 3832826"/>
                <a:gd name="connsiteY546" fmla="*/ 4078744 h 5120141"/>
                <a:gd name="connsiteX547" fmla="*/ 3525749 w 3832826"/>
                <a:gd name="connsiteY547" fmla="*/ 4100752 h 5120141"/>
                <a:gd name="connsiteX548" fmla="*/ 3540466 w 3832826"/>
                <a:gd name="connsiteY548" fmla="*/ 4136695 h 5120141"/>
                <a:gd name="connsiteX549" fmla="*/ 3557302 w 3832826"/>
                <a:gd name="connsiteY549" fmla="*/ 4182690 h 5120141"/>
                <a:gd name="connsiteX550" fmla="*/ 3555183 w 3832826"/>
                <a:gd name="connsiteY550" fmla="*/ 4186650 h 5120141"/>
                <a:gd name="connsiteX551" fmla="*/ 3557302 w 3832826"/>
                <a:gd name="connsiteY551" fmla="*/ 4192666 h 5120141"/>
                <a:gd name="connsiteX552" fmla="*/ 3567782 w 3832826"/>
                <a:gd name="connsiteY552" fmla="*/ 4214674 h 5120141"/>
                <a:gd name="connsiteX553" fmla="*/ 3578262 w 3832826"/>
                <a:gd name="connsiteY553" fmla="*/ 4240641 h 5120141"/>
                <a:gd name="connsiteX554" fmla="*/ 3582499 w 3832826"/>
                <a:gd name="connsiteY554" fmla="*/ 4250617 h 5120141"/>
                <a:gd name="connsiteX555" fmla="*/ 3582499 w 3832826"/>
                <a:gd name="connsiteY555" fmla="*/ 4260593 h 5120141"/>
                <a:gd name="connsiteX556" fmla="*/ 3578262 w 3832826"/>
                <a:gd name="connsiteY556" fmla="*/ 4260593 h 5120141"/>
                <a:gd name="connsiteX557" fmla="*/ 3576144 w 3832826"/>
                <a:gd name="connsiteY557" fmla="*/ 4264629 h 5120141"/>
                <a:gd name="connsiteX558" fmla="*/ 3572019 w 3832826"/>
                <a:gd name="connsiteY558" fmla="*/ 4270645 h 5120141"/>
                <a:gd name="connsiteX559" fmla="*/ 3565664 w 3832826"/>
                <a:gd name="connsiteY559" fmla="*/ 4272624 h 5120141"/>
                <a:gd name="connsiteX560" fmla="*/ 3563545 w 3832826"/>
                <a:gd name="connsiteY560" fmla="*/ 4278640 h 5120141"/>
                <a:gd name="connsiteX561" fmla="*/ 3561427 w 3832826"/>
                <a:gd name="connsiteY561" fmla="*/ 4288616 h 5120141"/>
                <a:gd name="connsiteX562" fmla="*/ 3561427 w 3832826"/>
                <a:gd name="connsiteY562" fmla="*/ 4300572 h 5120141"/>
                <a:gd name="connsiteX563" fmla="*/ 3557302 w 3832826"/>
                <a:gd name="connsiteY563" fmla="*/ 4324559 h 5120141"/>
                <a:gd name="connsiteX564" fmla="*/ 3556313 w 3832826"/>
                <a:gd name="connsiteY564" fmla="*/ 4324559 h 5120141"/>
                <a:gd name="connsiteX565" fmla="*/ 3557250 w 3832826"/>
                <a:gd name="connsiteY565" fmla="*/ 4324566 h 5120141"/>
                <a:gd name="connsiteX566" fmla="*/ 3561457 w 3832826"/>
                <a:gd name="connsiteY566" fmla="*/ 4324566 h 5120141"/>
                <a:gd name="connsiteX567" fmla="*/ 3687675 w 3832826"/>
                <a:gd name="connsiteY567" fmla="*/ 4322562 h 5120141"/>
                <a:gd name="connsiteX568" fmla="*/ 3815997 w 3832826"/>
                <a:gd name="connsiteY568" fmla="*/ 4322562 h 5120141"/>
                <a:gd name="connsiteX569" fmla="*/ 3820204 w 3832826"/>
                <a:gd name="connsiteY569" fmla="*/ 4362642 h 5120141"/>
                <a:gd name="connsiteX570" fmla="*/ 3820204 w 3832826"/>
                <a:gd name="connsiteY570" fmla="*/ 4388693 h 5120141"/>
                <a:gd name="connsiteX571" fmla="*/ 3815997 w 3832826"/>
                <a:gd name="connsiteY571" fmla="*/ 4394705 h 5120141"/>
                <a:gd name="connsiteX572" fmla="*/ 3813893 w 3832826"/>
                <a:gd name="connsiteY572" fmla="*/ 4398713 h 5120141"/>
                <a:gd name="connsiteX573" fmla="*/ 3803375 w 3832826"/>
                <a:gd name="connsiteY573" fmla="*/ 4398713 h 5120141"/>
                <a:gd name="connsiteX574" fmla="*/ 3799168 w 3832826"/>
                <a:gd name="connsiteY574" fmla="*/ 4402721 h 5120141"/>
                <a:gd name="connsiteX575" fmla="*/ 3799168 w 3832826"/>
                <a:gd name="connsiteY575" fmla="*/ 4408733 h 5120141"/>
                <a:gd name="connsiteX576" fmla="*/ 3801272 w 3832826"/>
                <a:gd name="connsiteY576" fmla="*/ 4420757 h 5120141"/>
                <a:gd name="connsiteX577" fmla="*/ 3801272 w 3832826"/>
                <a:gd name="connsiteY577" fmla="*/ 4422761 h 5120141"/>
                <a:gd name="connsiteX578" fmla="*/ 3805479 w 3832826"/>
                <a:gd name="connsiteY578" fmla="*/ 4424765 h 5120141"/>
                <a:gd name="connsiteX579" fmla="*/ 3815997 w 3832826"/>
                <a:gd name="connsiteY579" fmla="*/ 4422761 h 5120141"/>
                <a:gd name="connsiteX580" fmla="*/ 3826515 w 3832826"/>
                <a:gd name="connsiteY580" fmla="*/ 4422761 h 5120141"/>
                <a:gd name="connsiteX581" fmla="*/ 3830723 w 3832826"/>
                <a:gd name="connsiteY581" fmla="*/ 4424765 h 5120141"/>
                <a:gd name="connsiteX582" fmla="*/ 3832826 w 3832826"/>
                <a:gd name="connsiteY582" fmla="*/ 4430776 h 5120141"/>
                <a:gd name="connsiteX583" fmla="*/ 3830723 w 3832826"/>
                <a:gd name="connsiteY583" fmla="*/ 4436788 h 5120141"/>
                <a:gd name="connsiteX584" fmla="*/ 3826515 w 3832826"/>
                <a:gd name="connsiteY584" fmla="*/ 4436788 h 5120141"/>
                <a:gd name="connsiteX585" fmla="*/ 3822308 w 3832826"/>
                <a:gd name="connsiteY585" fmla="*/ 4440796 h 5120141"/>
                <a:gd name="connsiteX586" fmla="*/ 3822308 w 3832826"/>
                <a:gd name="connsiteY586" fmla="*/ 4444804 h 5120141"/>
                <a:gd name="connsiteX587" fmla="*/ 3822308 w 3832826"/>
                <a:gd name="connsiteY587" fmla="*/ 4502919 h 5120141"/>
                <a:gd name="connsiteX588" fmla="*/ 3824412 w 3832826"/>
                <a:gd name="connsiteY588" fmla="*/ 4557026 h 5120141"/>
                <a:gd name="connsiteX589" fmla="*/ 3826515 w 3832826"/>
                <a:gd name="connsiteY589" fmla="*/ 4723356 h 5120141"/>
                <a:gd name="connsiteX590" fmla="*/ 3826515 w 3832826"/>
                <a:gd name="connsiteY590" fmla="*/ 4805518 h 5120141"/>
                <a:gd name="connsiteX591" fmla="*/ 3826515 w 3832826"/>
                <a:gd name="connsiteY591" fmla="*/ 4887681 h 5120141"/>
                <a:gd name="connsiteX592" fmla="*/ 3815997 w 3832826"/>
                <a:gd name="connsiteY592" fmla="*/ 4885677 h 5120141"/>
                <a:gd name="connsiteX593" fmla="*/ 3820204 w 3832826"/>
                <a:gd name="connsiteY593" fmla="*/ 4985875 h 5120141"/>
                <a:gd name="connsiteX594" fmla="*/ 3820204 w 3832826"/>
                <a:gd name="connsiteY594" fmla="*/ 5072046 h 5120141"/>
                <a:gd name="connsiteX595" fmla="*/ 3822308 w 3832826"/>
                <a:gd name="connsiteY595" fmla="*/ 5072046 h 5120141"/>
                <a:gd name="connsiteX596" fmla="*/ 3822308 w 3832826"/>
                <a:gd name="connsiteY596" fmla="*/ 5088078 h 5120141"/>
                <a:gd name="connsiteX597" fmla="*/ 3822308 w 3832826"/>
                <a:gd name="connsiteY597" fmla="*/ 5100102 h 5120141"/>
                <a:gd name="connsiteX598" fmla="*/ 3820204 w 3832826"/>
                <a:gd name="connsiteY598" fmla="*/ 5104109 h 5120141"/>
                <a:gd name="connsiteX599" fmla="*/ 3815997 w 3832826"/>
                <a:gd name="connsiteY599" fmla="*/ 5108117 h 5120141"/>
                <a:gd name="connsiteX600" fmla="*/ 3809686 w 3832826"/>
                <a:gd name="connsiteY600" fmla="*/ 5108117 h 5120141"/>
                <a:gd name="connsiteX601" fmla="*/ 3801272 w 3832826"/>
                <a:gd name="connsiteY601" fmla="*/ 5108117 h 5120141"/>
                <a:gd name="connsiteX602" fmla="*/ 3370026 w 3832826"/>
                <a:gd name="connsiteY602" fmla="*/ 5110121 h 5120141"/>
                <a:gd name="connsiteX603" fmla="*/ 2940884 w 3832826"/>
                <a:gd name="connsiteY603" fmla="*/ 5112125 h 5120141"/>
                <a:gd name="connsiteX604" fmla="*/ 2903018 w 3832826"/>
                <a:gd name="connsiteY604" fmla="*/ 5112125 h 5120141"/>
                <a:gd name="connsiteX605" fmla="*/ 2898811 w 3832826"/>
                <a:gd name="connsiteY605" fmla="*/ 5118137 h 5120141"/>
                <a:gd name="connsiteX606" fmla="*/ 2888293 w 3832826"/>
                <a:gd name="connsiteY606" fmla="*/ 5120141 h 5120141"/>
                <a:gd name="connsiteX607" fmla="*/ 2860945 w 3832826"/>
                <a:gd name="connsiteY607" fmla="*/ 5120141 h 5120141"/>
                <a:gd name="connsiteX608" fmla="*/ 2808354 w 3832826"/>
                <a:gd name="connsiteY608" fmla="*/ 5118137 h 5120141"/>
                <a:gd name="connsiteX609" fmla="*/ 2747349 w 3832826"/>
                <a:gd name="connsiteY609" fmla="*/ 5120141 h 5120141"/>
                <a:gd name="connsiteX610" fmla="*/ 2713691 w 3832826"/>
                <a:gd name="connsiteY610" fmla="*/ 5120141 h 5120141"/>
                <a:gd name="connsiteX611" fmla="*/ 2701069 w 3832826"/>
                <a:gd name="connsiteY611" fmla="*/ 5118137 h 5120141"/>
                <a:gd name="connsiteX612" fmla="*/ 2692654 w 3832826"/>
                <a:gd name="connsiteY612" fmla="*/ 5114129 h 5120141"/>
                <a:gd name="connsiteX613" fmla="*/ 2690551 w 3832826"/>
                <a:gd name="connsiteY613" fmla="*/ 5108117 h 5120141"/>
                <a:gd name="connsiteX614" fmla="*/ 2690551 w 3832826"/>
                <a:gd name="connsiteY614" fmla="*/ 5100102 h 5120141"/>
                <a:gd name="connsiteX615" fmla="*/ 2690551 w 3832826"/>
                <a:gd name="connsiteY615" fmla="*/ 5084070 h 5120141"/>
                <a:gd name="connsiteX616" fmla="*/ 2690551 w 3832826"/>
                <a:gd name="connsiteY616" fmla="*/ 5082066 h 5120141"/>
                <a:gd name="connsiteX617" fmla="*/ 2688447 w 3832826"/>
                <a:gd name="connsiteY617" fmla="*/ 5080062 h 5120141"/>
                <a:gd name="connsiteX618" fmla="*/ 2682136 w 3832826"/>
                <a:gd name="connsiteY618" fmla="*/ 5080062 h 5120141"/>
                <a:gd name="connsiteX619" fmla="*/ 2675825 w 3832826"/>
                <a:gd name="connsiteY619" fmla="*/ 5080062 h 5120141"/>
                <a:gd name="connsiteX620" fmla="*/ 2669514 w 3832826"/>
                <a:gd name="connsiteY620" fmla="*/ 5080062 h 5120141"/>
                <a:gd name="connsiteX621" fmla="*/ 2667411 w 3832826"/>
                <a:gd name="connsiteY621" fmla="*/ 5078058 h 5120141"/>
                <a:gd name="connsiteX622" fmla="*/ 2667411 w 3832826"/>
                <a:gd name="connsiteY622" fmla="*/ 5072046 h 5120141"/>
                <a:gd name="connsiteX623" fmla="*/ 2658996 w 3832826"/>
                <a:gd name="connsiteY623" fmla="*/ 5070042 h 5120141"/>
                <a:gd name="connsiteX624" fmla="*/ 2627442 w 3832826"/>
                <a:gd name="connsiteY624" fmla="*/ 5070042 h 5120141"/>
                <a:gd name="connsiteX625" fmla="*/ 2612716 w 3832826"/>
                <a:gd name="connsiteY625" fmla="*/ 5070042 h 5120141"/>
                <a:gd name="connsiteX626" fmla="*/ 2604302 w 3832826"/>
                <a:gd name="connsiteY626" fmla="*/ 5070042 h 5120141"/>
                <a:gd name="connsiteX627" fmla="*/ 2602198 w 3832826"/>
                <a:gd name="connsiteY627" fmla="*/ 5068038 h 5120141"/>
                <a:gd name="connsiteX628" fmla="*/ 2597991 w 3832826"/>
                <a:gd name="connsiteY628" fmla="*/ 5064030 h 5120141"/>
                <a:gd name="connsiteX629" fmla="*/ 2595887 w 3832826"/>
                <a:gd name="connsiteY629" fmla="*/ 5052006 h 5120141"/>
                <a:gd name="connsiteX630" fmla="*/ 2593783 w 3832826"/>
                <a:gd name="connsiteY630" fmla="*/ 5047998 h 5120141"/>
                <a:gd name="connsiteX631" fmla="*/ 2591680 w 3832826"/>
                <a:gd name="connsiteY631" fmla="*/ 5047998 h 5120141"/>
                <a:gd name="connsiteX632" fmla="*/ 2576954 w 3832826"/>
                <a:gd name="connsiteY632" fmla="*/ 5045994 h 5120141"/>
                <a:gd name="connsiteX633" fmla="*/ 2551711 w 3832826"/>
                <a:gd name="connsiteY633" fmla="*/ 5047998 h 5120141"/>
                <a:gd name="connsiteX634" fmla="*/ 2530674 w 3832826"/>
                <a:gd name="connsiteY634" fmla="*/ 5045994 h 5120141"/>
                <a:gd name="connsiteX635" fmla="*/ 2528571 w 3832826"/>
                <a:gd name="connsiteY635" fmla="*/ 4975856 h 5120141"/>
                <a:gd name="connsiteX636" fmla="*/ 2528571 w 3832826"/>
                <a:gd name="connsiteY636" fmla="*/ 4905717 h 5120141"/>
                <a:gd name="connsiteX637" fmla="*/ 2524363 w 3832826"/>
                <a:gd name="connsiteY637" fmla="*/ 4899705 h 5120141"/>
                <a:gd name="connsiteX638" fmla="*/ 2522260 w 3832826"/>
                <a:gd name="connsiteY638" fmla="*/ 4895697 h 5120141"/>
                <a:gd name="connsiteX639" fmla="*/ 2509638 w 3832826"/>
                <a:gd name="connsiteY639" fmla="*/ 4891689 h 5120141"/>
                <a:gd name="connsiteX640" fmla="*/ 2492809 w 3832826"/>
                <a:gd name="connsiteY640" fmla="*/ 4889685 h 5120141"/>
                <a:gd name="connsiteX641" fmla="*/ 2478083 w 3832826"/>
                <a:gd name="connsiteY641" fmla="*/ 4889685 h 5120141"/>
                <a:gd name="connsiteX642" fmla="*/ 2471772 w 3832826"/>
                <a:gd name="connsiteY642" fmla="*/ 4887681 h 5120141"/>
                <a:gd name="connsiteX643" fmla="*/ 2467565 w 3832826"/>
                <a:gd name="connsiteY643" fmla="*/ 4881669 h 5120141"/>
                <a:gd name="connsiteX644" fmla="*/ 2465461 w 3832826"/>
                <a:gd name="connsiteY644" fmla="*/ 4871649 h 5120141"/>
                <a:gd name="connsiteX645" fmla="*/ 2465461 w 3832826"/>
                <a:gd name="connsiteY645" fmla="*/ 4861629 h 5120141"/>
                <a:gd name="connsiteX646" fmla="*/ 2467565 w 3832826"/>
                <a:gd name="connsiteY646" fmla="*/ 4839586 h 5120141"/>
                <a:gd name="connsiteX647" fmla="*/ 2467565 w 3832826"/>
                <a:gd name="connsiteY647" fmla="*/ 4823554 h 5120141"/>
                <a:gd name="connsiteX648" fmla="*/ 2391834 w 3832826"/>
                <a:gd name="connsiteY648" fmla="*/ 4823554 h 5120141"/>
                <a:gd name="connsiteX649" fmla="*/ 2393938 w 3832826"/>
                <a:gd name="connsiteY649" fmla="*/ 4755419 h 5120141"/>
                <a:gd name="connsiteX650" fmla="*/ 2343450 w 3832826"/>
                <a:gd name="connsiteY650" fmla="*/ 4759427 h 5120141"/>
                <a:gd name="connsiteX651" fmla="*/ 2311896 w 3832826"/>
                <a:gd name="connsiteY651" fmla="*/ 4759427 h 5120141"/>
                <a:gd name="connsiteX652" fmla="*/ 2301378 w 3832826"/>
                <a:gd name="connsiteY652" fmla="*/ 4757423 h 5120141"/>
                <a:gd name="connsiteX653" fmla="*/ 2295067 w 3832826"/>
                <a:gd name="connsiteY653" fmla="*/ 4755419 h 5120141"/>
                <a:gd name="connsiteX654" fmla="*/ 2290860 w 3832826"/>
                <a:gd name="connsiteY654" fmla="*/ 4749407 h 5120141"/>
                <a:gd name="connsiteX655" fmla="*/ 2290860 w 3832826"/>
                <a:gd name="connsiteY655" fmla="*/ 4745399 h 5120141"/>
                <a:gd name="connsiteX656" fmla="*/ 2290860 w 3832826"/>
                <a:gd name="connsiteY656" fmla="*/ 4727364 h 5120141"/>
                <a:gd name="connsiteX657" fmla="*/ 2290860 w 3832826"/>
                <a:gd name="connsiteY657" fmla="*/ 4699308 h 5120141"/>
                <a:gd name="connsiteX658" fmla="*/ 2290860 w 3832826"/>
                <a:gd name="connsiteY658" fmla="*/ 4687284 h 5120141"/>
                <a:gd name="connsiteX659" fmla="*/ 2288756 w 3832826"/>
                <a:gd name="connsiteY659" fmla="*/ 4685280 h 5120141"/>
                <a:gd name="connsiteX660" fmla="*/ 2284549 w 3832826"/>
                <a:gd name="connsiteY660" fmla="*/ 4683276 h 5120141"/>
                <a:gd name="connsiteX661" fmla="*/ 2274030 w 3832826"/>
                <a:gd name="connsiteY661" fmla="*/ 4683276 h 5120141"/>
                <a:gd name="connsiteX662" fmla="*/ 2259305 w 3832826"/>
                <a:gd name="connsiteY662" fmla="*/ 4685280 h 5120141"/>
                <a:gd name="connsiteX663" fmla="*/ 2255098 w 3832826"/>
                <a:gd name="connsiteY663" fmla="*/ 4683276 h 5120141"/>
                <a:gd name="connsiteX664" fmla="*/ 2248787 w 3832826"/>
                <a:gd name="connsiteY664" fmla="*/ 4679268 h 5120141"/>
                <a:gd name="connsiteX665" fmla="*/ 2244579 w 3832826"/>
                <a:gd name="connsiteY665" fmla="*/ 4673257 h 5120141"/>
                <a:gd name="connsiteX666" fmla="*/ 2244579 w 3832826"/>
                <a:gd name="connsiteY666" fmla="*/ 4663237 h 5120141"/>
                <a:gd name="connsiteX667" fmla="*/ 2244579 w 3832826"/>
                <a:gd name="connsiteY667" fmla="*/ 4649209 h 5120141"/>
                <a:gd name="connsiteX668" fmla="*/ 2244579 w 3832826"/>
                <a:gd name="connsiteY668" fmla="*/ 4637185 h 5120141"/>
                <a:gd name="connsiteX669" fmla="*/ 2244579 w 3832826"/>
                <a:gd name="connsiteY669" fmla="*/ 4627165 h 5120141"/>
                <a:gd name="connsiteX670" fmla="*/ 2242476 w 3832826"/>
                <a:gd name="connsiteY670" fmla="*/ 4623157 h 5120141"/>
                <a:gd name="connsiteX671" fmla="*/ 2236165 w 3832826"/>
                <a:gd name="connsiteY671" fmla="*/ 4617145 h 5120141"/>
                <a:gd name="connsiteX672" fmla="*/ 2234061 w 3832826"/>
                <a:gd name="connsiteY672" fmla="*/ 4617145 h 5120141"/>
                <a:gd name="connsiteX673" fmla="*/ 2225647 w 3832826"/>
                <a:gd name="connsiteY673" fmla="*/ 4615141 h 5120141"/>
                <a:gd name="connsiteX674" fmla="*/ 2194092 w 3832826"/>
                <a:gd name="connsiteY674" fmla="*/ 4617145 h 5120141"/>
                <a:gd name="connsiteX675" fmla="*/ 2179367 w 3832826"/>
                <a:gd name="connsiteY675" fmla="*/ 4617145 h 5120141"/>
                <a:gd name="connsiteX676" fmla="*/ 2164641 w 3832826"/>
                <a:gd name="connsiteY676" fmla="*/ 4613137 h 5120141"/>
                <a:gd name="connsiteX677" fmla="*/ 2162538 w 3832826"/>
                <a:gd name="connsiteY677" fmla="*/ 4607126 h 5120141"/>
                <a:gd name="connsiteX678" fmla="*/ 2160434 w 3832826"/>
                <a:gd name="connsiteY678" fmla="*/ 4597106 h 5120141"/>
                <a:gd name="connsiteX679" fmla="*/ 2154123 w 3832826"/>
                <a:gd name="connsiteY679" fmla="*/ 4583078 h 5120141"/>
                <a:gd name="connsiteX680" fmla="*/ 2149916 w 3832826"/>
                <a:gd name="connsiteY680" fmla="*/ 4581074 h 5120141"/>
                <a:gd name="connsiteX681" fmla="*/ 2143605 w 3832826"/>
                <a:gd name="connsiteY681" fmla="*/ 4575062 h 5120141"/>
                <a:gd name="connsiteX682" fmla="*/ 2133087 w 3832826"/>
                <a:gd name="connsiteY682" fmla="*/ 4571054 h 5120141"/>
                <a:gd name="connsiteX683" fmla="*/ 2130983 w 3832826"/>
                <a:gd name="connsiteY683" fmla="*/ 4565042 h 5120141"/>
                <a:gd name="connsiteX684" fmla="*/ 2130983 w 3832826"/>
                <a:gd name="connsiteY684" fmla="*/ 4561034 h 5120141"/>
                <a:gd name="connsiteX685" fmla="*/ 2130983 w 3832826"/>
                <a:gd name="connsiteY685" fmla="*/ 4553018 h 5120141"/>
                <a:gd name="connsiteX686" fmla="*/ 2130983 w 3832826"/>
                <a:gd name="connsiteY686" fmla="*/ 4551015 h 5120141"/>
                <a:gd name="connsiteX687" fmla="*/ 2126776 w 3832826"/>
                <a:gd name="connsiteY687" fmla="*/ 4545003 h 5120141"/>
                <a:gd name="connsiteX688" fmla="*/ 2122568 w 3832826"/>
                <a:gd name="connsiteY688" fmla="*/ 4545003 h 5120141"/>
                <a:gd name="connsiteX689" fmla="*/ 2120465 w 3832826"/>
                <a:gd name="connsiteY689" fmla="*/ 4545003 h 5120141"/>
                <a:gd name="connsiteX690" fmla="*/ 2118361 w 3832826"/>
                <a:gd name="connsiteY690" fmla="*/ 4536987 h 5120141"/>
                <a:gd name="connsiteX691" fmla="*/ 2116258 w 3832826"/>
                <a:gd name="connsiteY691" fmla="*/ 4536987 h 5120141"/>
                <a:gd name="connsiteX692" fmla="*/ 2109947 w 3832826"/>
                <a:gd name="connsiteY692" fmla="*/ 4536987 h 5120141"/>
                <a:gd name="connsiteX693" fmla="*/ 2107843 w 3832826"/>
                <a:gd name="connsiteY693" fmla="*/ 4536987 h 5120141"/>
                <a:gd name="connsiteX694" fmla="*/ 2107843 w 3832826"/>
                <a:gd name="connsiteY694" fmla="*/ 4534983 h 5120141"/>
                <a:gd name="connsiteX695" fmla="*/ 2105739 w 3832826"/>
                <a:gd name="connsiteY695" fmla="*/ 4500915 h 5120141"/>
                <a:gd name="connsiteX696" fmla="*/ 2105739 w 3832826"/>
                <a:gd name="connsiteY696" fmla="*/ 4476868 h 5120141"/>
                <a:gd name="connsiteX697" fmla="*/ 2101532 w 3832826"/>
                <a:gd name="connsiteY697" fmla="*/ 4470856 h 5120141"/>
                <a:gd name="connsiteX698" fmla="*/ 2099428 w 3832826"/>
                <a:gd name="connsiteY698" fmla="*/ 4466848 h 5120141"/>
                <a:gd name="connsiteX699" fmla="*/ 2095221 w 3832826"/>
                <a:gd name="connsiteY699" fmla="*/ 4466848 h 5120141"/>
                <a:gd name="connsiteX700" fmla="*/ 2063667 w 3832826"/>
                <a:gd name="connsiteY700" fmla="*/ 4470856 h 5120141"/>
                <a:gd name="connsiteX701" fmla="*/ 2042630 w 3832826"/>
                <a:gd name="connsiteY701" fmla="*/ 4470856 h 5120141"/>
                <a:gd name="connsiteX702" fmla="*/ 2036319 w 3832826"/>
                <a:gd name="connsiteY702" fmla="*/ 4466848 h 5120141"/>
                <a:gd name="connsiteX703" fmla="*/ 2032112 w 3832826"/>
                <a:gd name="connsiteY703" fmla="*/ 4466848 h 5120141"/>
                <a:gd name="connsiteX704" fmla="*/ 2027905 w 3832826"/>
                <a:gd name="connsiteY704" fmla="*/ 4456828 h 5120141"/>
                <a:gd name="connsiteX705" fmla="*/ 2027905 w 3832826"/>
                <a:gd name="connsiteY705" fmla="*/ 4444804 h 5120141"/>
                <a:gd name="connsiteX706" fmla="*/ 2027905 w 3832826"/>
                <a:gd name="connsiteY706" fmla="*/ 4420757 h 5120141"/>
                <a:gd name="connsiteX707" fmla="*/ 2027905 w 3832826"/>
                <a:gd name="connsiteY707" fmla="*/ 4376298 h 5120141"/>
                <a:gd name="connsiteX708" fmla="*/ 2025801 w 3832826"/>
                <a:gd name="connsiteY708" fmla="*/ 4376298 h 5120141"/>
                <a:gd name="connsiteX709" fmla="*/ 2025801 w 3832826"/>
                <a:gd name="connsiteY709" fmla="*/ 4328574 h 5120141"/>
                <a:gd name="connsiteX710" fmla="*/ 2025801 w 3832826"/>
                <a:gd name="connsiteY710" fmla="*/ 4326856 h 5120141"/>
                <a:gd name="connsiteX711" fmla="*/ 2021595 w 3832826"/>
                <a:gd name="connsiteY711" fmla="*/ 4326570 h 5120141"/>
                <a:gd name="connsiteX712" fmla="*/ 2015284 w 3832826"/>
                <a:gd name="connsiteY712" fmla="*/ 4326570 h 5120141"/>
                <a:gd name="connsiteX713" fmla="*/ 2017387 w 3832826"/>
                <a:gd name="connsiteY713" fmla="*/ 4316550 h 5120141"/>
                <a:gd name="connsiteX714" fmla="*/ 2015284 w 3832826"/>
                <a:gd name="connsiteY714" fmla="*/ 4310539 h 5120141"/>
                <a:gd name="connsiteX715" fmla="*/ 2008973 w 3832826"/>
                <a:gd name="connsiteY715" fmla="*/ 4306531 h 5120141"/>
                <a:gd name="connsiteX716" fmla="*/ 2004765 w 3832826"/>
                <a:gd name="connsiteY716" fmla="*/ 4300519 h 5120141"/>
                <a:gd name="connsiteX717" fmla="*/ 1994247 w 3832826"/>
                <a:gd name="connsiteY717" fmla="*/ 4286491 h 5120141"/>
                <a:gd name="connsiteX718" fmla="*/ 1987936 w 3832826"/>
                <a:gd name="connsiteY718" fmla="*/ 4270459 h 5120141"/>
                <a:gd name="connsiteX719" fmla="*/ 1987936 w 3832826"/>
                <a:gd name="connsiteY719" fmla="*/ 4262443 h 5120141"/>
                <a:gd name="connsiteX720" fmla="*/ 1987936 w 3832826"/>
                <a:gd name="connsiteY720" fmla="*/ 4258435 h 5120141"/>
                <a:gd name="connsiteX721" fmla="*/ 1987936 w 3832826"/>
                <a:gd name="connsiteY721" fmla="*/ 4252423 h 5120141"/>
                <a:gd name="connsiteX722" fmla="*/ 1983729 w 3832826"/>
                <a:gd name="connsiteY722" fmla="*/ 4246412 h 5120141"/>
                <a:gd name="connsiteX723" fmla="*/ 1978277 w 3832826"/>
                <a:gd name="connsiteY723" fmla="*/ 4241218 h 5120141"/>
                <a:gd name="connsiteX724" fmla="*/ 1947935 w 3832826"/>
                <a:gd name="connsiteY724" fmla="*/ 4232386 h 5120141"/>
                <a:gd name="connsiteX725" fmla="*/ 1941632 w 3832826"/>
                <a:gd name="connsiteY725" fmla="*/ 4228376 h 5120141"/>
                <a:gd name="connsiteX726" fmla="*/ 1933169 w 3832826"/>
                <a:gd name="connsiteY726" fmla="*/ 4220356 h 5120141"/>
                <a:gd name="connsiteX727" fmla="*/ 1922725 w 3832826"/>
                <a:gd name="connsiteY727" fmla="*/ 4208326 h 5120141"/>
                <a:gd name="connsiteX728" fmla="*/ 1910120 w 3832826"/>
                <a:gd name="connsiteY728" fmla="*/ 4196297 h 5120141"/>
                <a:gd name="connsiteX729" fmla="*/ 1901657 w 3832826"/>
                <a:gd name="connsiteY729" fmla="*/ 4190282 h 5120141"/>
                <a:gd name="connsiteX730" fmla="*/ 1893193 w 3832826"/>
                <a:gd name="connsiteY730" fmla="*/ 4186272 h 5120141"/>
                <a:gd name="connsiteX731" fmla="*/ 1867983 w 3832826"/>
                <a:gd name="connsiteY731" fmla="*/ 4178252 h 5120141"/>
                <a:gd name="connsiteX732" fmla="*/ 1857539 w 3832826"/>
                <a:gd name="connsiteY732" fmla="*/ 4172237 h 5120141"/>
                <a:gd name="connsiteX733" fmla="*/ 1842773 w 3832826"/>
                <a:gd name="connsiteY733" fmla="*/ 4166222 h 5120141"/>
                <a:gd name="connsiteX734" fmla="*/ 1804958 w 3832826"/>
                <a:gd name="connsiteY734" fmla="*/ 4138152 h 5120141"/>
                <a:gd name="connsiteX735" fmla="*/ 1800637 w 3832826"/>
                <a:gd name="connsiteY735" fmla="*/ 4138152 h 5120141"/>
                <a:gd name="connsiteX736" fmla="*/ 1796495 w 3832826"/>
                <a:gd name="connsiteY736" fmla="*/ 4138152 h 5120141"/>
                <a:gd name="connsiteX737" fmla="*/ 1790192 w 3832826"/>
                <a:gd name="connsiteY737" fmla="*/ 4138152 h 5120141"/>
                <a:gd name="connsiteX738" fmla="*/ 1786051 w 3832826"/>
                <a:gd name="connsiteY738" fmla="*/ 4132138 h 5120141"/>
                <a:gd name="connsiteX739" fmla="*/ 1783890 w 3832826"/>
                <a:gd name="connsiteY739" fmla="*/ 4126123 h 5120141"/>
                <a:gd name="connsiteX740" fmla="*/ 1775427 w 3832826"/>
                <a:gd name="connsiteY740" fmla="*/ 4120108 h 5120141"/>
                <a:gd name="connsiteX741" fmla="*/ 1769124 w 3832826"/>
                <a:gd name="connsiteY741" fmla="*/ 4118103 h 5120141"/>
                <a:gd name="connsiteX742" fmla="*/ 1762822 w 3832826"/>
                <a:gd name="connsiteY742" fmla="*/ 4112088 h 5120141"/>
                <a:gd name="connsiteX743" fmla="*/ 1756519 w 3832826"/>
                <a:gd name="connsiteY743" fmla="*/ 4100058 h 5120141"/>
                <a:gd name="connsiteX744" fmla="*/ 1752377 w 3832826"/>
                <a:gd name="connsiteY744" fmla="*/ 4090167 h 5120141"/>
                <a:gd name="connsiteX745" fmla="*/ 1741753 w 3832826"/>
                <a:gd name="connsiteY745" fmla="*/ 4086157 h 5120141"/>
                <a:gd name="connsiteX746" fmla="*/ 1733470 w 3832826"/>
                <a:gd name="connsiteY746" fmla="*/ 4082147 h 5120141"/>
                <a:gd name="connsiteX747" fmla="*/ 1716543 w 3832826"/>
                <a:gd name="connsiteY747" fmla="*/ 4070117 h 5120141"/>
                <a:gd name="connsiteX748" fmla="*/ 1706099 w 3832826"/>
                <a:gd name="connsiteY748" fmla="*/ 4060092 h 5120141"/>
                <a:gd name="connsiteX749" fmla="*/ 1701777 w 3832826"/>
                <a:gd name="connsiteY749" fmla="*/ 4052072 h 5120141"/>
                <a:gd name="connsiteX750" fmla="*/ 1699797 w 3832826"/>
                <a:gd name="connsiteY750" fmla="*/ 4048062 h 5120141"/>
                <a:gd name="connsiteX751" fmla="*/ 1695475 w 3832826"/>
                <a:gd name="connsiteY751" fmla="*/ 4038038 h 5120141"/>
                <a:gd name="connsiteX752" fmla="*/ 1699797 w 3832826"/>
                <a:gd name="connsiteY752" fmla="*/ 4030018 h 5120141"/>
                <a:gd name="connsiteX753" fmla="*/ 1701777 w 3832826"/>
                <a:gd name="connsiteY753" fmla="*/ 4021998 h 5120141"/>
                <a:gd name="connsiteX754" fmla="*/ 1706099 w 3832826"/>
                <a:gd name="connsiteY754" fmla="*/ 4017988 h 5120141"/>
                <a:gd name="connsiteX755" fmla="*/ 1714382 w 3832826"/>
                <a:gd name="connsiteY755" fmla="*/ 4007963 h 5120141"/>
                <a:gd name="connsiteX756" fmla="*/ 1716543 w 3832826"/>
                <a:gd name="connsiteY756" fmla="*/ 4001948 h 5120141"/>
                <a:gd name="connsiteX757" fmla="*/ 1720685 w 3832826"/>
                <a:gd name="connsiteY757" fmla="*/ 3997938 h 5120141"/>
                <a:gd name="connsiteX758" fmla="*/ 1716543 w 3832826"/>
                <a:gd name="connsiteY758" fmla="*/ 3991923 h 5120141"/>
                <a:gd name="connsiteX759" fmla="*/ 1712402 w 3832826"/>
                <a:gd name="connsiteY759" fmla="*/ 3985908 h 5120141"/>
                <a:gd name="connsiteX760" fmla="*/ 1701777 w 3832826"/>
                <a:gd name="connsiteY760" fmla="*/ 3975883 h 5120141"/>
                <a:gd name="connsiteX761" fmla="*/ 1695475 w 3832826"/>
                <a:gd name="connsiteY761" fmla="*/ 3973878 h 5120141"/>
                <a:gd name="connsiteX762" fmla="*/ 1691333 w 3832826"/>
                <a:gd name="connsiteY762" fmla="*/ 3965859 h 5120141"/>
                <a:gd name="connsiteX763" fmla="*/ 1689172 w 3832826"/>
                <a:gd name="connsiteY763" fmla="*/ 3957839 h 5120141"/>
                <a:gd name="connsiteX764" fmla="*/ 1691333 w 3832826"/>
                <a:gd name="connsiteY764" fmla="*/ 3953829 h 5120141"/>
                <a:gd name="connsiteX765" fmla="*/ 1691333 w 3832826"/>
                <a:gd name="connsiteY765" fmla="*/ 3945809 h 5120141"/>
                <a:gd name="connsiteX766" fmla="*/ 1689172 w 3832826"/>
                <a:gd name="connsiteY766" fmla="*/ 3937789 h 5120141"/>
                <a:gd name="connsiteX767" fmla="*/ 1687192 w 3832826"/>
                <a:gd name="connsiteY767" fmla="*/ 3927764 h 5120141"/>
                <a:gd name="connsiteX768" fmla="*/ 1689172 w 3832826"/>
                <a:gd name="connsiteY768" fmla="*/ 3919744 h 5120141"/>
                <a:gd name="connsiteX769" fmla="*/ 1691333 w 3832826"/>
                <a:gd name="connsiteY769" fmla="*/ 3915734 h 5120141"/>
                <a:gd name="connsiteX770" fmla="*/ 1699797 w 3832826"/>
                <a:gd name="connsiteY770" fmla="*/ 3909719 h 5120141"/>
                <a:gd name="connsiteX771" fmla="*/ 1714382 w 3832826"/>
                <a:gd name="connsiteY771" fmla="*/ 3905709 h 5120141"/>
                <a:gd name="connsiteX772" fmla="*/ 1731309 w 3832826"/>
                <a:gd name="connsiteY772" fmla="*/ 3899694 h 5120141"/>
                <a:gd name="connsiteX773" fmla="*/ 1735451 w 3832826"/>
                <a:gd name="connsiteY773" fmla="*/ 3897690 h 5120141"/>
                <a:gd name="connsiteX774" fmla="*/ 1737612 w 3832826"/>
                <a:gd name="connsiteY774" fmla="*/ 3893680 h 5120141"/>
                <a:gd name="connsiteX775" fmla="*/ 1746075 w 3832826"/>
                <a:gd name="connsiteY775" fmla="*/ 3879645 h 5120141"/>
                <a:gd name="connsiteX776" fmla="*/ 1748056 w 3832826"/>
                <a:gd name="connsiteY776" fmla="*/ 3863605 h 5120141"/>
                <a:gd name="connsiteX777" fmla="*/ 1752377 w 3832826"/>
                <a:gd name="connsiteY777" fmla="*/ 3843555 h 5120141"/>
                <a:gd name="connsiteX778" fmla="*/ 1754358 w 3832826"/>
                <a:gd name="connsiteY778" fmla="*/ 3823639 h 5120141"/>
                <a:gd name="connsiteX779" fmla="*/ 1752377 w 3832826"/>
                <a:gd name="connsiteY779" fmla="*/ 3803590 h 5120141"/>
                <a:gd name="connsiteX780" fmla="*/ 1748056 w 3832826"/>
                <a:gd name="connsiteY780" fmla="*/ 3785545 h 5120141"/>
                <a:gd name="connsiteX781" fmla="*/ 1746075 w 3832826"/>
                <a:gd name="connsiteY781" fmla="*/ 3773515 h 5120141"/>
                <a:gd name="connsiteX782" fmla="*/ 1737612 w 3832826"/>
                <a:gd name="connsiteY782" fmla="*/ 3761485 h 5120141"/>
                <a:gd name="connsiteX783" fmla="*/ 1727167 w 3832826"/>
                <a:gd name="connsiteY783" fmla="*/ 3747450 h 5120141"/>
                <a:gd name="connsiteX784" fmla="*/ 1695475 w 3832826"/>
                <a:gd name="connsiteY784" fmla="*/ 3721385 h 5120141"/>
                <a:gd name="connsiteX785" fmla="*/ 1661802 w 3832826"/>
                <a:gd name="connsiteY785" fmla="*/ 3695321 h 5120141"/>
                <a:gd name="connsiteX786" fmla="*/ 1636592 w 3832826"/>
                <a:gd name="connsiteY786" fmla="*/ 3675271 h 5120141"/>
                <a:gd name="connsiteX787" fmla="*/ 1519948 w 3832826"/>
                <a:gd name="connsiteY787" fmla="*/ 3568035 h 5120141"/>
                <a:gd name="connsiteX788" fmla="*/ 1518826 w 3832826"/>
                <a:gd name="connsiteY788" fmla="*/ 3569070 h 5120141"/>
                <a:gd name="connsiteX789" fmla="*/ 1510411 w 3832826"/>
                <a:gd name="connsiteY789" fmla="*/ 3561053 h 5120141"/>
                <a:gd name="connsiteX790" fmla="*/ 1497790 w 3832826"/>
                <a:gd name="connsiteY790" fmla="*/ 3553037 h 5120141"/>
                <a:gd name="connsiteX791" fmla="*/ 1468339 w 3832826"/>
                <a:gd name="connsiteY791" fmla="*/ 3537005 h 5120141"/>
                <a:gd name="connsiteX792" fmla="*/ 1409437 w 3832826"/>
                <a:gd name="connsiteY792" fmla="*/ 3514942 h 5120141"/>
                <a:gd name="connsiteX793" fmla="*/ 1386297 w 3832826"/>
                <a:gd name="connsiteY793" fmla="*/ 3504939 h 5120141"/>
                <a:gd name="connsiteX794" fmla="*/ 1365260 w 3832826"/>
                <a:gd name="connsiteY794" fmla="*/ 3492950 h 5120141"/>
                <a:gd name="connsiteX795" fmla="*/ 1363157 w 3832826"/>
                <a:gd name="connsiteY795" fmla="*/ 3486920 h 5120141"/>
                <a:gd name="connsiteX796" fmla="*/ 1361053 w 3832826"/>
                <a:gd name="connsiteY796" fmla="*/ 3482877 h 5120141"/>
                <a:gd name="connsiteX797" fmla="*/ 1358949 w 3832826"/>
                <a:gd name="connsiteY797" fmla="*/ 3474861 h 5120141"/>
                <a:gd name="connsiteX798" fmla="*/ 1354742 w 3832826"/>
                <a:gd name="connsiteY798" fmla="*/ 3470888 h 5120141"/>
                <a:gd name="connsiteX799" fmla="*/ 1340017 w 3832826"/>
                <a:gd name="connsiteY799" fmla="*/ 3446839 h 5120141"/>
                <a:gd name="connsiteX800" fmla="*/ 1318980 w 3832826"/>
                <a:gd name="connsiteY800" fmla="*/ 3426763 h 5120141"/>
                <a:gd name="connsiteX801" fmla="*/ 1316877 w 3832826"/>
                <a:gd name="connsiteY801" fmla="*/ 3426763 h 5120141"/>
                <a:gd name="connsiteX802" fmla="*/ 1310566 w 3832826"/>
                <a:gd name="connsiteY802" fmla="*/ 3422790 h 5120141"/>
                <a:gd name="connsiteX803" fmla="*/ 1300047 w 3832826"/>
                <a:gd name="connsiteY803" fmla="*/ 3416760 h 5120141"/>
                <a:gd name="connsiteX804" fmla="*/ 1297944 w 3832826"/>
                <a:gd name="connsiteY804" fmla="*/ 3414774 h 5120141"/>
                <a:gd name="connsiteX805" fmla="*/ 1297944 w 3832826"/>
                <a:gd name="connsiteY805" fmla="*/ 3410730 h 5120141"/>
                <a:gd name="connsiteX806" fmla="*/ 1300047 w 3832826"/>
                <a:gd name="connsiteY806" fmla="*/ 3402714 h 5120141"/>
                <a:gd name="connsiteX807" fmla="*/ 1308462 w 3832826"/>
                <a:gd name="connsiteY807" fmla="*/ 3394698 h 5120141"/>
                <a:gd name="connsiteX808" fmla="*/ 1297944 w 3832826"/>
                <a:gd name="connsiteY808" fmla="*/ 3380722 h 5120141"/>
                <a:gd name="connsiteX809" fmla="*/ 1291633 w 3832826"/>
                <a:gd name="connsiteY809" fmla="*/ 3366676 h 5120141"/>
                <a:gd name="connsiteX810" fmla="*/ 1291633 w 3832826"/>
                <a:gd name="connsiteY810" fmla="*/ 3354616 h 5120141"/>
                <a:gd name="connsiteX811" fmla="*/ 1295840 w 3832826"/>
                <a:gd name="connsiteY811" fmla="*/ 3344614 h 5120141"/>
                <a:gd name="connsiteX812" fmla="*/ 1300047 w 3832826"/>
                <a:gd name="connsiteY812" fmla="*/ 3334611 h 5120141"/>
                <a:gd name="connsiteX813" fmla="*/ 1306358 w 3832826"/>
                <a:gd name="connsiteY813" fmla="*/ 3324608 h 5120141"/>
                <a:gd name="connsiteX814" fmla="*/ 1308462 w 3832826"/>
                <a:gd name="connsiteY814" fmla="*/ 3318578 h 5120141"/>
                <a:gd name="connsiteX815" fmla="*/ 1306358 w 3832826"/>
                <a:gd name="connsiteY815" fmla="*/ 3310562 h 5120141"/>
                <a:gd name="connsiteX816" fmla="*/ 1302151 w 3832826"/>
                <a:gd name="connsiteY816" fmla="*/ 3302546 h 5120141"/>
                <a:gd name="connsiteX817" fmla="*/ 1295840 w 3832826"/>
                <a:gd name="connsiteY817" fmla="*/ 3294529 h 5120141"/>
                <a:gd name="connsiteX818" fmla="*/ 1295840 w 3832826"/>
                <a:gd name="connsiteY818" fmla="*/ 3290486 h 5120141"/>
                <a:gd name="connsiteX819" fmla="*/ 1291633 w 3832826"/>
                <a:gd name="connsiteY819" fmla="*/ 3288499 h 5120141"/>
                <a:gd name="connsiteX820" fmla="*/ 1297944 w 3832826"/>
                <a:gd name="connsiteY820" fmla="*/ 3280483 h 5120141"/>
                <a:gd name="connsiteX821" fmla="*/ 1302151 w 3832826"/>
                <a:gd name="connsiteY821" fmla="*/ 3272467 h 5120141"/>
                <a:gd name="connsiteX822" fmla="*/ 1306358 w 3832826"/>
                <a:gd name="connsiteY822" fmla="*/ 3262464 h 5120141"/>
                <a:gd name="connsiteX823" fmla="*/ 1306358 w 3832826"/>
                <a:gd name="connsiteY823" fmla="*/ 3258421 h 5120141"/>
                <a:gd name="connsiteX824" fmla="*/ 1302151 w 3832826"/>
                <a:gd name="connsiteY824" fmla="*/ 3252462 h 5120141"/>
                <a:gd name="connsiteX825" fmla="*/ 1302205 w 3832826"/>
                <a:gd name="connsiteY825" fmla="*/ 3250392 h 5120141"/>
                <a:gd name="connsiteX826" fmla="*/ 1302151 w 3832826"/>
                <a:gd name="connsiteY826" fmla="*/ 3250439 h 5120141"/>
                <a:gd name="connsiteX827" fmla="*/ 1270596 w 3832826"/>
                <a:gd name="connsiteY827" fmla="*/ 3222383 h 5120141"/>
                <a:gd name="connsiteX828" fmla="*/ 1268493 w 3832826"/>
                <a:gd name="connsiteY828" fmla="*/ 3218375 h 5120141"/>
                <a:gd name="connsiteX829" fmla="*/ 1264285 w 3832826"/>
                <a:gd name="connsiteY829" fmla="*/ 3218375 h 5120141"/>
                <a:gd name="connsiteX830" fmla="*/ 1257974 w 3832826"/>
                <a:gd name="connsiteY830" fmla="*/ 3220379 h 5120141"/>
                <a:gd name="connsiteX831" fmla="*/ 1253767 w 3832826"/>
                <a:gd name="connsiteY831" fmla="*/ 3222383 h 5120141"/>
                <a:gd name="connsiteX832" fmla="*/ 1245353 w 3832826"/>
                <a:gd name="connsiteY832" fmla="*/ 3222383 h 5120141"/>
                <a:gd name="connsiteX833" fmla="*/ 1228523 w 3832826"/>
                <a:gd name="connsiteY833" fmla="*/ 3220379 h 5120141"/>
                <a:gd name="connsiteX834" fmla="*/ 1207487 w 3832826"/>
                <a:gd name="connsiteY834" fmla="*/ 3218375 h 5120141"/>
                <a:gd name="connsiteX835" fmla="*/ 1201176 w 3832826"/>
                <a:gd name="connsiteY835" fmla="*/ 3218375 h 5120141"/>
                <a:gd name="connsiteX836" fmla="*/ 1192761 w 3832826"/>
                <a:gd name="connsiteY836" fmla="*/ 3220379 h 5120141"/>
                <a:gd name="connsiteX837" fmla="*/ 1190658 w 3832826"/>
                <a:gd name="connsiteY837" fmla="*/ 3226391 h 5120141"/>
                <a:gd name="connsiteX838" fmla="*/ 1192761 w 3832826"/>
                <a:gd name="connsiteY838" fmla="*/ 3236411 h 5120141"/>
                <a:gd name="connsiteX839" fmla="*/ 1182243 w 3832826"/>
                <a:gd name="connsiteY839" fmla="*/ 3236411 h 5120141"/>
                <a:gd name="connsiteX840" fmla="*/ 1175932 w 3832826"/>
                <a:gd name="connsiteY840" fmla="*/ 3230399 h 5120141"/>
                <a:gd name="connsiteX841" fmla="*/ 1171725 w 3832826"/>
                <a:gd name="connsiteY841" fmla="*/ 3222383 h 5120141"/>
                <a:gd name="connsiteX842" fmla="*/ 1169621 w 3832826"/>
                <a:gd name="connsiteY842" fmla="*/ 3216371 h 5120141"/>
                <a:gd name="connsiteX843" fmla="*/ 1161207 w 3832826"/>
                <a:gd name="connsiteY843" fmla="*/ 3196332 h 5120141"/>
                <a:gd name="connsiteX844" fmla="*/ 1159103 w 3832826"/>
                <a:gd name="connsiteY844" fmla="*/ 3186312 h 5120141"/>
                <a:gd name="connsiteX845" fmla="*/ 1150689 w 3832826"/>
                <a:gd name="connsiteY845" fmla="*/ 3180300 h 5120141"/>
                <a:gd name="connsiteX846" fmla="*/ 1142274 w 3832826"/>
                <a:gd name="connsiteY846" fmla="*/ 3172284 h 5120141"/>
                <a:gd name="connsiteX847" fmla="*/ 1138067 w 3832826"/>
                <a:gd name="connsiteY847" fmla="*/ 3166272 h 5120141"/>
                <a:gd name="connsiteX848" fmla="*/ 1133859 w 3832826"/>
                <a:gd name="connsiteY848" fmla="*/ 3156253 h 5120141"/>
                <a:gd name="connsiteX849" fmla="*/ 1133859 w 3832826"/>
                <a:gd name="connsiteY849" fmla="*/ 3144229 h 5120141"/>
                <a:gd name="connsiteX850" fmla="*/ 1138067 w 3832826"/>
                <a:gd name="connsiteY850" fmla="*/ 3130201 h 5120141"/>
                <a:gd name="connsiteX851" fmla="*/ 1142274 w 3832826"/>
                <a:gd name="connsiteY851" fmla="*/ 3126193 h 5120141"/>
                <a:gd name="connsiteX852" fmla="*/ 1148585 w 3832826"/>
                <a:gd name="connsiteY852" fmla="*/ 3124189 h 5120141"/>
                <a:gd name="connsiteX853" fmla="*/ 1154896 w 3832826"/>
                <a:gd name="connsiteY853" fmla="*/ 3118177 h 5120141"/>
                <a:gd name="connsiteX854" fmla="*/ 1161207 w 3832826"/>
                <a:gd name="connsiteY854" fmla="*/ 3110161 h 5120141"/>
                <a:gd name="connsiteX855" fmla="*/ 1163310 w 3832826"/>
                <a:gd name="connsiteY855" fmla="*/ 3106153 h 5120141"/>
                <a:gd name="connsiteX856" fmla="*/ 1161207 w 3832826"/>
                <a:gd name="connsiteY856" fmla="*/ 3090122 h 5120141"/>
                <a:gd name="connsiteX857" fmla="*/ 1159103 w 3832826"/>
                <a:gd name="connsiteY857" fmla="*/ 3076094 h 5120141"/>
                <a:gd name="connsiteX858" fmla="*/ 1159103 w 3832826"/>
                <a:gd name="connsiteY858" fmla="*/ 3068078 h 5120141"/>
                <a:gd name="connsiteX859" fmla="*/ 1159103 w 3832826"/>
                <a:gd name="connsiteY859" fmla="*/ 3060062 h 5120141"/>
                <a:gd name="connsiteX860" fmla="*/ 1161207 w 3832826"/>
                <a:gd name="connsiteY860" fmla="*/ 3056054 h 5120141"/>
                <a:gd name="connsiteX861" fmla="*/ 1159103 w 3832826"/>
                <a:gd name="connsiteY861" fmla="*/ 3050042 h 5120141"/>
                <a:gd name="connsiteX862" fmla="*/ 1154896 w 3832826"/>
                <a:gd name="connsiteY862" fmla="*/ 3048038 h 5120141"/>
                <a:gd name="connsiteX863" fmla="*/ 1150689 w 3832826"/>
                <a:gd name="connsiteY863" fmla="*/ 3046035 h 5120141"/>
                <a:gd name="connsiteX864" fmla="*/ 1140170 w 3832826"/>
                <a:gd name="connsiteY864" fmla="*/ 3044031 h 5120141"/>
                <a:gd name="connsiteX865" fmla="*/ 1133859 w 3832826"/>
                <a:gd name="connsiteY865" fmla="*/ 3040023 h 5120141"/>
                <a:gd name="connsiteX866" fmla="*/ 1131756 w 3832826"/>
                <a:gd name="connsiteY866" fmla="*/ 3038019 h 5120141"/>
                <a:gd name="connsiteX867" fmla="*/ 1127548 w 3832826"/>
                <a:gd name="connsiteY867" fmla="*/ 3030003 h 5120141"/>
                <a:gd name="connsiteX868" fmla="*/ 1123341 w 3832826"/>
                <a:gd name="connsiteY868" fmla="*/ 3023991 h 5120141"/>
                <a:gd name="connsiteX869" fmla="*/ 1127548 w 3832826"/>
                <a:gd name="connsiteY869" fmla="*/ 3015975 h 5120141"/>
                <a:gd name="connsiteX870" fmla="*/ 1127548 w 3832826"/>
                <a:gd name="connsiteY870" fmla="*/ 3007959 h 5120141"/>
                <a:gd name="connsiteX871" fmla="*/ 1121238 w 3832826"/>
                <a:gd name="connsiteY871" fmla="*/ 2989924 h 5120141"/>
                <a:gd name="connsiteX872" fmla="*/ 1119134 w 3832826"/>
                <a:gd name="connsiteY872" fmla="*/ 2983912 h 5120141"/>
                <a:gd name="connsiteX873" fmla="*/ 1119134 w 3832826"/>
                <a:gd name="connsiteY873" fmla="*/ 2975896 h 5120141"/>
                <a:gd name="connsiteX874" fmla="*/ 1119133 w 3832826"/>
                <a:gd name="connsiteY874" fmla="*/ 2975897 h 5120141"/>
                <a:gd name="connsiteX875" fmla="*/ 1119133 w 3832826"/>
                <a:gd name="connsiteY875" fmla="*/ 2965877 h 5120141"/>
                <a:gd name="connsiteX876" fmla="*/ 1112822 w 3832826"/>
                <a:gd name="connsiteY876" fmla="*/ 2955857 h 5120141"/>
                <a:gd name="connsiteX877" fmla="*/ 1106511 w 3832826"/>
                <a:gd name="connsiteY877" fmla="*/ 2949845 h 5120141"/>
                <a:gd name="connsiteX878" fmla="*/ 1095993 w 3832826"/>
                <a:gd name="connsiteY878" fmla="*/ 2945837 h 5120141"/>
                <a:gd name="connsiteX879" fmla="*/ 1074956 w 3832826"/>
                <a:gd name="connsiteY879" fmla="*/ 2935817 h 5120141"/>
                <a:gd name="connsiteX880" fmla="*/ 1066542 w 3832826"/>
                <a:gd name="connsiteY880" fmla="*/ 2929806 h 5120141"/>
                <a:gd name="connsiteX881" fmla="*/ 1064438 w 3832826"/>
                <a:gd name="connsiteY881" fmla="*/ 2923794 h 5120141"/>
                <a:gd name="connsiteX882" fmla="*/ 1064438 w 3832826"/>
                <a:gd name="connsiteY882" fmla="*/ 2815579 h 5120141"/>
                <a:gd name="connsiteX883" fmla="*/ 1064438 w 3832826"/>
                <a:gd name="connsiteY883" fmla="*/ 2763476 h 5120141"/>
                <a:gd name="connsiteX884" fmla="*/ 1066542 w 3832826"/>
                <a:gd name="connsiteY884" fmla="*/ 2707365 h 5120141"/>
                <a:gd name="connsiteX885" fmla="*/ 1070749 w 3832826"/>
                <a:gd name="connsiteY885" fmla="*/ 2697345 h 5120141"/>
                <a:gd name="connsiteX886" fmla="*/ 1077060 w 3832826"/>
                <a:gd name="connsiteY886" fmla="*/ 2687326 h 5120141"/>
                <a:gd name="connsiteX887" fmla="*/ 1074956 w 3832826"/>
                <a:gd name="connsiteY887" fmla="*/ 2683318 h 5120141"/>
                <a:gd name="connsiteX888" fmla="*/ 1070749 w 3832826"/>
                <a:gd name="connsiteY888" fmla="*/ 2681314 h 5120141"/>
                <a:gd name="connsiteX889" fmla="*/ 1066542 w 3832826"/>
                <a:gd name="connsiteY889" fmla="*/ 2677306 h 5120141"/>
                <a:gd name="connsiteX890" fmla="*/ 1058127 w 3832826"/>
                <a:gd name="connsiteY890" fmla="*/ 2675302 h 5120141"/>
                <a:gd name="connsiteX891" fmla="*/ 1053920 w 3832826"/>
                <a:gd name="connsiteY891" fmla="*/ 2671294 h 5120141"/>
                <a:gd name="connsiteX892" fmla="*/ 1049713 w 3832826"/>
                <a:gd name="connsiteY892" fmla="*/ 2657266 h 5120141"/>
                <a:gd name="connsiteX893" fmla="*/ 1053920 w 3832826"/>
                <a:gd name="connsiteY893" fmla="*/ 2645242 h 5120141"/>
                <a:gd name="connsiteX894" fmla="*/ 1058127 w 3832826"/>
                <a:gd name="connsiteY894" fmla="*/ 2633218 h 5120141"/>
                <a:gd name="connsiteX895" fmla="*/ 1058127 w 3832826"/>
                <a:gd name="connsiteY895" fmla="*/ 2623199 h 5120141"/>
                <a:gd name="connsiteX896" fmla="*/ 1058127 w 3832826"/>
                <a:gd name="connsiteY896" fmla="*/ 2613179 h 5120141"/>
                <a:gd name="connsiteX897" fmla="*/ 1056023 w 3832826"/>
                <a:gd name="connsiteY897" fmla="*/ 2601155 h 5120141"/>
                <a:gd name="connsiteX898" fmla="*/ 1049713 w 3832826"/>
                <a:gd name="connsiteY898" fmla="*/ 2577107 h 5120141"/>
                <a:gd name="connsiteX899" fmla="*/ 1047609 w 3832826"/>
                <a:gd name="connsiteY899" fmla="*/ 2565084 h 5120141"/>
                <a:gd name="connsiteX900" fmla="*/ 1049713 w 3832826"/>
                <a:gd name="connsiteY900" fmla="*/ 2555064 h 5120141"/>
                <a:gd name="connsiteX901" fmla="*/ 1053920 w 3832826"/>
                <a:gd name="connsiteY901" fmla="*/ 2547048 h 5120141"/>
                <a:gd name="connsiteX902" fmla="*/ 1060231 w 3832826"/>
                <a:gd name="connsiteY902" fmla="*/ 2543040 h 5120141"/>
                <a:gd name="connsiteX903" fmla="*/ 1058389 w 3832826"/>
                <a:gd name="connsiteY903" fmla="*/ 2529007 h 5120141"/>
                <a:gd name="connsiteX904" fmla="*/ 1056029 w 3832826"/>
                <a:gd name="connsiteY904" fmla="*/ 2529007 h 5120141"/>
                <a:gd name="connsiteX905" fmla="*/ 1049713 w 3832826"/>
                <a:gd name="connsiteY905" fmla="*/ 2535024 h 5120141"/>
                <a:gd name="connsiteX906" fmla="*/ 1049713 w 3832826"/>
                <a:gd name="connsiteY906" fmla="*/ 2533020 h 5120141"/>
                <a:gd name="connsiteX907" fmla="*/ 1049713 w 3832826"/>
                <a:gd name="connsiteY907" fmla="*/ 2529007 h 5120141"/>
                <a:gd name="connsiteX908" fmla="*/ 904562 w 3832826"/>
                <a:gd name="connsiteY908" fmla="*/ 2529007 h 5120141"/>
                <a:gd name="connsiteX909" fmla="*/ 904562 w 3832826"/>
                <a:gd name="connsiteY909" fmla="*/ 2129394 h 5120141"/>
                <a:gd name="connsiteX910" fmla="*/ 889837 w 3832826"/>
                <a:gd name="connsiteY910" fmla="*/ 2130219 h 5120141"/>
                <a:gd name="connsiteX911" fmla="*/ 868800 w 3832826"/>
                <a:gd name="connsiteY911" fmla="*/ 2132223 h 5120141"/>
                <a:gd name="connsiteX912" fmla="*/ 841453 w 3832826"/>
                <a:gd name="connsiteY912" fmla="*/ 2130219 h 5120141"/>
                <a:gd name="connsiteX913" fmla="*/ 816209 w 3832826"/>
                <a:gd name="connsiteY913" fmla="*/ 2132223 h 5120141"/>
                <a:gd name="connsiteX914" fmla="*/ 793069 w 3832826"/>
                <a:gd name="connsiteY914" fmla="*/ 2140239 h 5120141"/>
                <a:gd name="connsiteX915" fmla="*/ 769929 w 3832826"/>
                <a:gd name="connsiteY915" fmla="*/ 2150258 h 5120141"/>
                <a:gd name="connsiteX916" fmla="*/ 748892 w 3832826"/>
                <a:gd name="connsiteY916" fmla="*/ 2162282 h 5120141"/>
                <a:gd name="connsiteX917" fmla="*/ 738374 w 3832826"/>
                <a:gd name="connsiteY917" fmla="*/ 2164286 h 5120141"/>
                <a:gd name="connsiteX918" fmla="*/ 732063 w 3832826"/>
                <a:gd name="connsiteY918" fmla="*/ 2164286 h 5120141"/>
                <a:gd name="connsiteX919" fmla="*/ 725752 w 3832826"/>
                <a:gd name="connsiteY919" fmla="*/ 2162282 h 5120141"/>
                <a:gd name="connsiteX920" fmla="*/ 704716 w 3832826"/>
                <a:gd name="connsiteY920" fmla="*/ 2152262 h 5120141"/>
                <a:gd name="connsiteX921" fmla="*/ 692094 w 3832826"/>
                <a:gd name="connsiteY921" fmla="*/ 2150258 h 5120141"/>
                <a:gd name="connsiteX922" fmla="*/ 677369 w 3832826"/>
                <a:gd name="connsiteY922" fmla="*/ 2150258 h 5120141"/>
                <a:gd name="connsiteX923" fmla="*/ 677369 w 3832826"/>
                <a:gd name="connsiteY923" fmla="*/ 2140239 h 5120141"/>
                <a:gd name="connsiteX924" fmla="*/ 675265 w 3832826"/>
                <a:gd name="connsiteY924" fmla="*/ 2128215 h 5120141"/>
                <a:gd name="connsiteX925" fmla="*/ 664747 w 3832826"/>
                <a:gd name="connsiteY925" fmla="*/ 2104167 h 5120141"/>
                <a:gd name="connsiteX926" fmla="*/ 643710 w 3832826"/>
                <a:gd name="connsiteY926" fmla="*/ 2062084 h 5120141"/>
                <a:gd name="connsiteX927" fmla="*/ 639503 w 3832826"/>
                <a:gd name="connsiteY927" fmla="*/ 2060080 h 5120141"/>
                <a:gd name="connsiteX928" fmla="*/ 633192 w 3832826"/>
                <a:gd name="connsiteY928" fmla="*/ 2056072 h 5120141"/>
                <a:gd name="connsiteX929" fmla="*/ 635296 w 3832826"/>
                <a:gd name="connsiteY929" fmla="*/ 2050060 h 5120141"/>
                <a:gd name="connsiteX930" fmla="*/ 635296 w 3832826"/>
                <a:gd name="connsiteY930" fmla="*/ 2042044 h 5120141"/>
                <a:gd name="connsiteX931" fmla="*/ 624777 w 3832826"/>
                <a:gd name="connsiteY931" fmla="*/ 2028016 h 5120141"/>
                <a:gd name="connsiteX932" fmla="*/ 612156 w 3832826"/>
                <a:gd name="connsiteY932" fmla="*/ 2009980 h 5120141"/>
                <a:gd name="connsiteX933" fmla="*/ 591119 w 3832826"/>
                <a:gd name="connsiteY933" fmla="*/ 1967897 h 5120141"/>
                <a:gd name="connsiteX934" fmla="*/ 570083 w 3832826"/>
                <a:gd name="connsiteY934" fmla="*/ 1925813 h 5120141"/>
                <a:gd name="connsiteX935" fmla="*/ 561668 w 3832826"/>
                <a:gd name="connsiteY935" fmla="*/ 1909781 h 5120141"/>
                <a:gd name="connsiteX936" fmla="*/ 555357 w 3832826"/>
                <a:gd name="connsiteY936" fmla="*/ 1897757 h 5120141"/>
                <a:gd name="connsiteX937" fmla="*/ 544839 w 3832826"/>
                <a:gd name="connsiteY937" fmla="*/ 1887738 h 5120141"/>
                <a:gd name="connsiteX938" fmla="*/ 530114 w 3832826"/>
                <a:gd name="connsiteY938" fmla="*/ 1879722 h 5120141"/>
                <a:gd name="connsiteX939" fmla="*/ 517492 w 3832826"/>
                <a:gd name="connsiteY939" fmla="*/ 1877718 h 5120141"/>
                <a:gd name="connsiteX940" fmla="*/ 502766 w 3832826"/>
                <a:gd name="connsiteY940" fmla="*/ 1877718 h 5120141"/>
                <a:gd name="connsiteX941" fmla="*/ 488041 w 3832826"/>
                <a:gd name="connsiteY941" fmla="*/ 1877718 h 5120141"/>
                <a:gd name="connsiteX942" fmla="*/ 481730 w 3832826"/>
                <a:gd name="connsiteY942" fmla="*/ 1875714 h 5120141"/>
                <a:gd name="connsiteX943" fmla="*/ 473315 w 3832826"/>
                <a:gd name="connsiteY943" fmla="*/ 1873710 h 5120141"/>
                <a:gd name="connsiteX944" fmla="*/ 473315 w 3832826"/>
                <a:gd name="connsiteY944" fmla="*/ 1857678 h 5120141"/>
                <a:gd name="connsiteX945" fmla="*/ 471212 w 3832826"/>
                <a:gd name="connsiteY945" fmla="*/ 1847658 h 5120141"/>
                <a:gd name="connsiteX946" fmla="*/ 462797 w 3832826"/>
                <a:gd name="connsiteY946" fmla="*/ 1829622 h 5120141"/>
                <a:gd name="connsiteX947" fmla="*/ 462797 w 3832826"/>
                <a:gd name="connsiteY947" fmla="*/ 1823611 h 5120141"/>
                <a:gd name="connsiteX948" fmla="*/ 467004 w 3832826"/>
                <a:gd name="connsiteY948" fmla="*/ 1817599 h 5120141"/>
                <a:gd name="connsiteX949" fmla="*/ 481730 w 3832826"/>
                <a:gd name="connsiteY949" fmla="*/ 1815595 h 5120141"/>
                <a:gd name="connsiteX950" fmla="*/ 491767 w 3832826"/>
                <a:gd name="connsiteY950" fmla="*/ 1801335 h 5120141"/>
                <a:gd name="connsiteX951" fmla="*/ 486799 w 3832826"/>
                <a:gd name="connsiteY951" fmla="*/ 1797561 h 5120141"/>
                <a:gd name="connsiteX952" fmla="*/ 476248 w 3832826"/>
                <a:gd name="connsiteY952" fmla="*/ 1787541 h 5120141"/>
                <a:gd name="connsiteX953" fmla="*/ 465697 w 3832826"/>
                <a:gd name="connsiteY953" fmla="*/ 1779525 h 5120141"/>
                <a:gd name="connsiteX954" fmla="*/ 463587 w 3832826"/>
                <a:gd name="connsiteY954" fmla="*/ 1775517 h 5120141"/>
                <a:gd name="connsiteX955" fmla="*/ 463587 w 3832826"/>
                <a:gd name="connsiteY955" fmla="*/ 1769505 h 5120141"/>
                <a:gd name="connsiteX956" fmla="*/ 463587 w 3832826"/>
                <a:gd name="connsiteY956" fmla="*/ 1757481 h 5120141"/>
                <a:gd name="connsiteX957" fmla="*/ 465697 w 3832826"/>
                <a:gd name="connsiteY957" fmla="*/ 1747461 h 5120141"/>
                <a:gd name="connsiteX958" fmla="*/ 463587 w 3832826"/>
                <a:gd name="connsiteY958" fmla="*/ 1737442 h 5120141"/>
                <a:gd name="connsiteX959" fmla="*/ 455146 w 3832826"/>
                <a:gd name="connsiteY959" fmla="*/ 1735438 h 5120141"/>
                <a:gd name="connsiteX960" fmla="*/ 438265 w 3832826"/>
                <a:gd name="connsiteY960" fmla="*/ 1729426 h 5120141"/>
                <a:gd name="connsiteX961" fmla="*/ 423494 w 3832826"/>
                <a:gd name="connsiteY961" fmla="*/ 1723414 h 5120141"/>
                <a:gd name="connsiteX962" fmla="*/ 415054 w 3832826"/>
                <a:gd name="connsiteY962" fmla="*/ 1717402 h 5120141"/>
                <a:gd name="connsiteX963" fmla="*/ 412943 w 3832826"/>
                <a:gd name="connsiteY963" fmla="*/ 1715398 h 5120141"/>
                <a:gd name="connsiteX964" fmla="*/ 406613 w 3832826"/>
                <a:gd name="connsiteY964" fmla="*/ 1699366 h 5120141"/>
                <a:gd name="connsiteX965" fmla="*/ 404503 w 3832826"/>
                <a:gd name="connsiteY965" fmla="*/ 1677323 h 5120141"/>
                <a:gd name="connsiteX966" fmla="*/ 404503 w 3832826"/>
                <a:gd name="connsiteY966" fmla="*/ 1657283 h 5120141"/>
                <a:gd name="connsiteX967" fmla="*/ 406613 w 3832826"/>
                <a:gd name="connsiteY967" fmla="*/ 1643255 h 5120141"/>
                <a:gd name="connsiteX968" fmla="*/ 410833 w 3832826"/>
                <a:gd name="connsiteY968" fmla="*/ 1637243 h 5120141"/>
                <a:gd name="connsiteX969" fmla="*/ 415054 w 3832826"/>
                <a:gd name="connsiteY969" fmla="*/ 1635239 h 5120141"/>
                <a:gd name="connsiteX970" fmla="*/ 421384 w 3832826"/>
                <a:gd name="connsiteY970" fmla="*/ 1631231 h 5120141"/>
                <a:gd name="connsiteX971" fmla="*/ 421384 w 3832826"/>
                <a:gd name="connsiteY971" fmla="*/ 1621212 h 5120141"/>
                <a:gd name="connsiteX972" fmla="*/ 417164 w 3832826"/>
                <a:gd name="connsiteY972" fmla="*/ 1613196 h 5120141"/>
                <a:gd name="connsiteX973" fmla="*/ 406613 w 3832826"/>
                <a:gd name="connsiteY973" fmla="*/ 1605180 h 5120141"/>
                <a:gd name="connsiteX974" fmla="*/ 391842 w 3832826"/>
                <a:gd name="connsiteY974" fmla="*/ 1593156 h 5120141"/>
                <a:gd name="connsiteX975" fmla="*/ 374961 w 3832826"/>
                <a:gd name="connsiteY975" fmla="*/ 1587144 h 5120141"/>
                <a:gd name="connsiteX976" fmla="*/ 355969 w 3832826"/>
                <a:gd name="connsiteY976" fmla="*/ 1585140 h 5120141"/>
                <a:gd name="connsiteX977" fmla="*/ 317987 w 3832826"/>
                <a:gd name="connsiteY977" fmla="*/ 1581132 h 5120141"/>
                <a:gd name="connsiteX978" fmla="*/ 296885 w 3832826"/>
                <a:gd name="connsiteY978" fmla="*/ 1577124 h 5120141"/>
                <a:gd name="connsiteX979" fmla="*/ 277894 w 3832826"/>
                <a:gd name="connsiteY979" fmla="*/ 1571112 h 5120141"/>
                <a:gd name="connsiteX980" fmla="*/ 263123 w 3832826"/>
                <a:gd name="connsiteY980" fmla="*/ 1561093 h 5120141"/>
                <a:gd name="connsiteX981" fmla="*/ 246242 w 3832826"/>
                <a:gd name="connsiteY981" fmla="*/ 1545061 h 5120141"/>
                <a:gd name="connsiteX982" fmla="*/ 229361 w 3832826"/>
                <a:gd name="connsiteY982" fmla="*/ 1533037 h 5120141"/>
                <a:gd name="connsiteX983" fmla="*/ 220920 w 3832826"/>
                <a:gd name="connsiteY983" fmla="*/ 1523017 h 5120141"/>
                <a:gd name="connsiteX984" fmla="*/ 212479 w 3832826"/>
                <a:gd name="connsiteY984" fmla="*/ 1515001 h 5120141"/>
                <a:gd name="connsiteX985" fmla="*/ 210369 w 3832826"/>
                <a:gd name="connsiteY985" fmla="*/ 1504982 h 5120141"/>
                <a:gd name="connsiteX986" fmla="*/ 208259 w 3832826"/>
                <a:gd name="connsiteY986" fmla="*/ 1494962 h 5120141"/>
                <a:gd name="connsiteX987" fmla="*/ 210369 w 3832826"/>
                <a:gd name="connsiteY987" fmla="*/ 1486946 h 5120141"/>
                <a:gd name="connsiteX988" fmla="*/ 218810 w 3832826"/>
                <a:gd name="connsiteY988" fmla="*/ 1476926 h 5120141"/>
                <a:gd name="connsiteX989" fmla="*/ 223030 w 3832826"/>
                <a:gd name="connsiteY989" fmla="*/ 1472918 h 5120141"/>
                <a:gd name="connsiteX990" fmla="*/ 223030 w 3832826"/>
                <a:gd name="connsiteY990" fmla="*/ 1464902 h 5120141"/>
                <a:gd name="connsiteX991" fmla="*/ 214590 w 3832826"/>
                <a:gd name="connsiteY991" fmla="*/ 1450874 h 5120141"/>
                <a:gd name="connsiteX992" fmla="*/ 212479 w 3832826"/>
                <a:gd name="connsiteY992" fmla="*/ 1444863 h 5120141"/>
                <a:gd name="connsiteX993" fmla="*/ 214590 w 3832826"/>
                <a:gd name="connsiteY993" fmla="*/ 1442859 h 5120141"/>
                <a:gd name="connsiteX994" fmla="*/ 220920 w 3832826"/>
                <a:gd name="connsiteY994" fmla="*/ 1442859 h 5120141"/>
                <a:gd name="connsiteX995" fmla="*/ 235691 w 3832826"/>
                <a:gd name="connsiteY995" fmla="*/ 1444863 h 5120141"/>
                <a:gd name="connsiteX996" fmla="*/ 242685 w 3832826"/>
                <a:gd name="connsiteY996" fmla="*/ 1444830 h 5120141"/>
                <a:gd name="connsiteX997" fmla="*/ 239592 w 3832826"/>
                <a:gd name="connsiteY997" fmla="*/ 1442715 h 5120141"/>
                <a:gd name="connsiteX998" fmla="*/ 240798 w 3832826"/>
                <a:gd name="connsiteY998" fmla="*/ 1440839 h 5120141"/>
                <a:gd name="connsiteX999" fmla="*/ 237706 w 3832826"/>
                <a:gd name="connsiteY999" fmla="*/ 1440853 h 5120141"/>
                <a:gd name="connsiteX1000" fmla="*/ 241926 w 3832826"/>
                <a:gd name="connsiteY1000" fmla="*/ 1378746 h 5120141"/>
                <a:gd name="connsiteX1001" fmla="*/ 241926 w 3832826"/>
                <a:gd name="connsiteY1001" fmla="*/ 1346677 h 5120141"/>
                <a:gd name="connsiteX1002" fmla="*/ 237706 w 3832826"/>
                <a:gd name="connsiteY1002" fmla="*/ 1316605 h 5120141"/>
                <a:gd name="connsiteX1003" fmla="*/ 237706 w 3832826"/>
                <a:gd name="connsiteY1003" fmla="*/ 1314609 h 5120141"/>
                <a:gd name="connsiteX1004" fmla="*/ 237706 w 3832826"/>
                <a:gd name="connsiteY1004" fmla="*/ 1300571 h 5120141"/>
                <a:gd name="connsiteX1005" fmla="*/ 237706 w 3832826"/>
                <a:gd name="connsiteY1005" fmla="*/ 1290558 h 5120141"/>
                <a:gd name="connsiteX1006" fmla="*/ 237706 w 3832826"/>
                <a:gd name="connsiteY1006" fmla="*/ 1288562 h 5120141"/>
                <a:gd name="connsiteX1007" fmla="*/ 235558 w 3832826"/>
                <a:gd name="connsiteY1007" fmla="*/ 1286533 h 5120141"/>
                <a:gd name="connsiteX1008" fmla="*/ 231412 w 3832826"/>
                <a:gd name="connsiteY1008" fmla="*/ 1284537 h 5120141"/>
                <a:gd name="connsiteX1009" fmla="*/ 223044 w 3832826"/>
                <a:gd name="connsiteY1009" fmla="*/ 1284537 h 5120141"/>
                <a:gd name="connsiteX1010" fmla="*/ 132485 w 3832826"/>
                <a:gd name="connsiteY1010" fmla="*/ 1284537 h 5120141"/>
                <a:gd name="connsiteX1011" fmla="*/ 132485 w 3832826"/>
                <a:gd name="connsiteY1011" fmla="*/ 1226421 h 5120141"/>
                <a:gd name="connsiteX1012" fmla="*/ 130486 w 3832826"/>
                <a:gd name="connsiteY1012" fmla="*/ 1194353 h 5120141"/>
                <a:gd name="connsiteX1013" fmla="*/ 128264 w 3832826"/>
                <a:gd name="connsiteY1013" fmla="*/ 1184340 h 5120141"/>
                <a:gd name="connsiteX1014" fmla="*/ 126191 w 3832826"/>
                <a:gd name="connsiteY1014" fmla="*/ 1178319 h 5120141"/>
                <a:gd name="connsiteX1015" fmla="*/ 122045 w 3832826"/>
                <a:gd name="connsiteY1015" fmla="*/ 1178319 h 5120141"/>
                <a:gd name="connsiteX1016" fmla="*/ 117750 w 3832826"/>
                <a:gd name="connsiteY1016" fmla="*/ 1176323 h 5120141"/>
                <a:gd name="connsiteX1017" fmla="*/ 117750 w 3832826"/>
                <a:gd name="connsiteY1017" fmla="*/ 1174327 h 5120141"/>
                <a:gd name="connsiteX1018" fmla="*/ 117750 w 3832826"/>
                <a:gd name="connsiteY1018" fmla="*/ 1164314 h 5120141"/>
                <a:gd name="connsiteX1019" fmla="*/ 117750 w 3832826"/>
                <a:gd name="connsiteY1019" fmla="*/ 1158293 h 5120141"/>
                <a:gd name="connsiteX1020" fmla="*/ 115751 w 3832826"/>
                <a:gd name="connsiteY1020" fmla="*/ 1154301 h 5120141"/>
                <a:gd name="connsiteX1021" fmla="*/ 111456 w 3832826"/>
                <a:gd name="connsiteY1021" fmla="*/ 1152272 h 5120141"/>
                <a:gd name="connsiteX1022" fmla="*/ 105162 w 3832826"/>
                <a:gd name="connsiteY1022" fmla="*/ 1148280 h 5120141"/>
                <a:gd name="connsiteX1023" fmla="*/ 100941 w 3832826"/>
                <a:gd name="connsiteY1023" fmla="*/ 1148280 h 5120141"/>
                <a:gd name="connsiteX1024" fmla="*/ 98868 w 3832826"/>
                <a:gd name="connsiteY1024" fmla="*/ 1144255 h 5120141"/>
                <a:gd name="connsiteX1025" fmla="*/ 98868 w 3832826"/>
                <a:gd name="connsiteY1025" fmla="*/ 1134242 h 5120141"/>
                <a:gd name="connsiteX1026" fmla="*/ 98868 w 3832826"/>
                <a:gd name="connsiteY1026" fmla="*/ 1112205 h 5120141"/>
                <a:gd name="connsiteX1027" fmla="*/ 96768 w 3832826"/>
                <a:gd name="connsiteY1027" fmla="*/ 1112205 h 5120141"/>
                <a:gd name="connsiteX1028" fmla="*/ 84146 w 3832826"/>
                <a:gd name="connsiteY1028" fmla="*/ 1076133 h 5120141"/>
                <a:gd name="connsiteX1029" fmla="*/ 82042 w 3832826"/>
                <a:gd name="connsiteY1029" fmla="*/ 1056094 h 5120141"/>
                <a:gd name="connsiteX1030" fmla="*/ 84146 w 3832826"/>
                <a:gd name="connsiteY1030" fmla="*/ 1046074 h 5120141"/>
                <a:gd name="connsiteX1031" fmla="*/ 86250 w 3832826"/>
                <a:gd name="connsiteY1031" fmla="*/ 1036054 h 5120141"/>
                <a:gd name="connsiteX1032" fmla="*/ 96768 w 3832826"/>
                <a:gd name="connsiteY1032" fmla="*/ 1018018 h 5120141"/>
                <a:gd name="connsiteX1033" fmla="*/ 103079 w 3832826"/>
                <a:gd name="connsiteY1033" fmla="*/ 1003990 h 5120141"/>
                <a:gd name="connsiteX1034" fmla="*/ 103079 w 3832826"/>
                <a:gd name="connsiteY1034" fmla="*/ 995974 h 5120141"/>
                <a:gd name="connsiteX1035" fmla="*/ 103079 w 3832826"/>
                <a:gd name="connsiteY1035" fmla="*/ 987959 h 5120141"/>
                <a:gd name="connsiteX1036" fmla="*/ 92561 w 3832826"/>
                <a:gd name="connsiteY1036" fmla="*/ 965915 h 5120141"/>
                <a:gd name="connsiteX1037" fmla="*/ 73628 w 3832826"/>
                <a:gd name="connsiteY1037" fmla="*/ 903792 h 5120141"/>
                <a:gd name="connsiteX1038" fmla="*/ 67317 w 3832826"/>
                <a:gd name="connsiteY1038" fmla="*/ 869724 h 5120141"/>
                <a:gd name="connsiteX1039" fmla="*/ 63110 w 3832826"/>
                <a:gd name="connsiteY1039" fmla="*/ 837661 h 5120141"/>
                <a:gd name="connsiteX1040" fmla="*/ 63110 w 3832826"/>
                <a:gd name="connsiteY1040" fmla="*/ 823633 h 5120141"/>
                <a:gd name="connsiteX1041" fmla="*/ 65213 w 3832826"/>
                <a:gd name="connsiteY1041" fmla="*/ 807601 h 5120141"/>
                <a:gd name="connsiteX1042" fmla="*/ 65213 w 3832826"/>
                <a:gd name="connsiteY1042" fmla="*/ 781549 h 5120141"/>
                <a:gd name="connsiteX1043" fmla="*/ 63110 w 3832826"/>
                <a:gd name="connsiteY1043" fmla="*/ 767522 h 5120141"/>
                <a:gd name="connsiteX1044" fmla="*/ 56799 w 3832826"/>
                <a:gd name="connsiteY1044" fmla="*/ 757502 h 5120141"/>
                <a:gd name="connsiteX1045" fmla="*/ 46281 w 3832826"/>
                <a:gd name="connsiteY1045" fmla="*/ 747482 h 5120141"/>
                <a:gd name="connsiteX1046" fmla="*/ 29452 w 3832826"/>
                <a:gd name="connsiteY1046" fmla="*/ 741470 h 5120141"/>
                <a:gd name="connsiteX1047" fmla="*/ 27348 w 3832826"/>
                <a:gd name="connsiteY1047" fmla="*/ 733454 h 5120141"/>
                <a:gd name="connsiteX1048" fmla="*/ 29452 w 3832826"/>
                <a:gd name="connsiteY1048" fmla="*/ 725438 h 5120141"/>
                <a:gd name="connsiteX1049" fmla="*/ 31555 w 3832826"/>
                <a:gd name="connsiteY1049" fmla="*/ 717422 h 5120141"/>
                <a:gd name="connsiteX1050" fmla="*/ 39970 w 3832826"/>
                <a:gd name="connsiteY1050" fmla="*/ 711410 h 5120141"/>
                <a:gd name="connsiteX1051" fmla="*/ 46281 w 3832826"/>
                <a:gd name="connsiteY1051" fmla="*/ 705398 h 5120141"/>
                <a:gd name="connsiteX1052" fmla="*/ 52880 w 3832826"/>
                <a:gd name="connsiteY1052" fmla="*/ 703827 h 5120141"/>
                <a:gd name="connsiteX1053" fmla="*/ 52638 w 3832826"/>
                <a:gd name="connsiteY1053" fmla="*/ 703357 h 5120141"/>
                <a:gd name="connsiteX1054" fmla="*/ 44132 w 3832826"/>
                <a:gd name="connsiteY1054" fmla="*/ 705433 h 5120141"/>
                <a:gd name="connsiteX1055" fmla="*/ 37845 w 3832826"/>
                <a:gd name="connsiteY1055" fmla="*/ 711439 h 5120141"/>
                <a:gd name="connsiteX1056" fmla="*/ 29462 w 3832826"/>
                <a:gd name="connsiteY1056" fmla="*/ 717445 h 5120141"/>
                <a:gd name="connsiteX1057" fmla="*/ 27367 w 3832826"/>
                <a:gd name="connsiteY1057" fmla="*/ 725453 h 5120141"/>
                <a:gd name="connsiteX1058" fmla="*/ 25271 w 3832826"/>
                <a:gd name="connsiteY1058" fmla="*/ 733461 h 5120141"/>
                <a:gd name="connsiteX1059" fmla="*/ 27367 w 3832826"/>
                <a:gd name="connsiteY1059" fmla="*/ 741469 h 5120141"/>
                <a:gd name="connsiteX1060" fmla="*/ 16888 w 3832826"/>
                <a:gd name="connsiteY1060" fmla="*/ 737465 h 5120141"/>
                <a:gd name="connsiteX1061" fmla="*/ 10478 w 3832826"/>
                <a:gd name="connsiteY1061" fmla="*/ 733461 h 5120141"/>
                <a:gd name="connsiteX1062" fmla="*/ 6287 w 3832826"/>
                <a:gd name="connsiteY1062" fmla="*/ 727455 h 5120141"/>
                <a:gd name="connsiteX1063" fmla="*/ 4191 w 3832826"/>
                <a:gd name="connsiteY1063" fmla="*/ 721449 h 5120141"/>
                <a:gd name="connsiteX1064" fmla="*/ 0 w 3832826"/>
                <a:gd name="connsiteY1064" fmla="*/ 713441 h 5120141"/>
                <a:gd name="connsiteX1065" fmla="*/ 4191 w 3832826"/>
                <a:gd name="connsiteY1065" fmla="*/ 705433 h 5120141"/>
                <a:gd name="connsiteX1066" fmla="*/ 8383 w 3832826"/>
                <a:gd name="connsiteY1066" fmla="*/ 691346 h 5120141"/>
                <a:gd name="connsiteX1067" fmla="*/ 16888 w 3832826"/>
                <a:gd name="connsiteY1067" fmla="*/ 673328 h 5120141"/>
                <a:gd name="connsiteX1068" fmla="*/ 27367 w 3832826"/>
                <a:gd name="connsiteY1068" fmla="*/ 657312 h 5120141"/>
                <a:gd name="connsiteX1069" fmla="*/ 44132 w 3832826"/>
                <a:gd name="connsiteY1069" fmla="*/ 637292 h 5120141"/>
                <a:gd name="connsiteX1070" fmla="*/ 50542 w 3832826"/>
                <a:gd name="connsiteY1070" fmla="*/ 631287 h 5120141"/>
                <a:gd name="connsiteX1071" fmla="*/ 52638 w 3832826"/>
                <a:gd name="connsiteY1071" fmla="*/ 625206 h 5120141"/>
                <a:gd name="connsiteX1072" fmla="*/ 52638 w 3832826"/>
                <a:gd name="connsiteY1072" fmla="*/ 623205 h 5120141"/>
                <a:gd name="connsiteX1073" fmla="*/ 63116 w 3832826"/>
                <a:gd name="connsiteY1073" fmla="*/ 621203 h 5120141"/>
                <a:gd name="connsiteX1074" fmla="*/ 75690 w 3832826"/>
                <a:gd name="connsiteY1074" fmla="*/ 617199 h 5120141"/>
                <a:gd name="connsiteX1075" fmla="*/ 86291 w 3832826"/>
                <a:gd name="connsiteY1075" fmla="*/ 611193 h 5120141"/>
                <a:gd name="connsiteX1076" fmla="*/ 100961 w 3832826"/>
                <a:gd name="connsiteY1076" fmla="*/ 599181 h 5120141"/>
                <a:gd name="connsiteX1077" fmla="*/ 107248 w 3832826"/>
                <a:gd name="connsiteY1077" fmla="*/ 595177 h 5120141"/>
                <a:gd name="connsiteX1078" fmla="*/ 113658 w 3832826"/>
                <a:gd name="connsiteY1078" fmla="*/ 595177 h 5120141"/>
                <a:gd name="connsiteX1079" fmla="*/ 117849 w 3832826"/>
                <a:gd name="connsiteY1079" fmla="*/ 599181 h 5120141"/>
                <a:gd name="connsiteX1080" fmla="*/ 136710 w 3832826"/>
                <a:gd name="connsiteY1080" fmla="*/ 579161 h 5120141"/>
                <a:gd name="connsiteX1081" fmla="*/ 147311 w 3832826"/>
                <a:gd name="connsiteY1081" fmla="*/ 569151 h 5120141"/>
                <a:gd name="connsiteX1082" fmla="*/ 153598 w 3832826"/>
                <a:gd name="connsiteY1082" fmla="*/ 559142 h 5120141"/>
                <a:gd name="connsiteX1083" fmla="*/ 157790 w 3832826"/>
                <a:gd name="connsiteY1083" fmla="*/ 551060 h 5120141"/>
                <a:gd name="connsiteX1084" fmla="*/ 164077 w 3832826"/>
                <a:gd name="connsiteY1084" fmla="*/ 549058 h 5120141"/>
                <a:gd name="connsiteX1085" fmla="*/ 176650 w 3832826"/>
                <a:gd name="connsiteY1085" fmla="*/ 543052 h 5120141"/>
                <a:gd name="connsiteX1086" fmla="*/ 185156 w 3832826"/>
                <a:gd name="connsiteY1086" fmla="*/ 541050 h 5120141"/>
                <a:gd name="connsiteX1087" fmla="*/ 189348 w 3832826"/>
                <a:gd name="connsiteY1087" fmla="*/ 539048 h 5120141"/>
                <a:gd name="connsiteX1088" fmla="*/ 195634 w 3832826"/>
                <a:gd name="connsiteY1088" fmla="*/ 533042 h 5120141"/>
                <a:gd name="connsiteX1089" fmla="*/ 197730 w 3832826"/>
                <a:gd name="connsiteY1089" fmla="*/ 525034 h 5120141"/>
                <a:gd name="connsiteX1090" fmla="*/ 201921 w 3832826"/>
                <a:gd name="connsiteY1090" fmla="*/ 521030 h 5120141"/>
                <a:gd name="connsiteX1091" fmla="*/ 212523 w 3832826"/>
                <a:gd name="connsiteY1091" fmla="*/ 511020 h 5120141"/>
                <a:gd name="connsiteX1092" fmla="*/ 233480 w 3832826"/>
                <a:gd name="connsiteY1092" fmla="*/ 495005 h 5120141"/>
                <a:gd name="connsiteX1093" fmla="*/ 250368 w 3832826"/>
                <a:gd name="connsiteY1093" fmla="*/ 491001 h 5120141"/>
                <a:gd name="connsiteX1094" fmla="*/ 260846 w 3832826"/>
                <a:gd name="connsiteY1094" fmla="*/ 488999 h 5120141"/>
                <a:gd name="connsiteX1095" fmla="*/ 260846 w 3832826"/>
                <a:gd name="connsiteY1095" fmla="*/ 484995 h 5120141"/>
                <a:gd name="connsiteX1096" fmla="*/ 260846 w 3832826"/>
                <a:gd name="connsiteY1096" fmla="*/ 480917 h 5120141"/>
                <a:gd name="connsiteX1097" fmla="*/ 252464 w 3832826"/>
                <a:gd name="connsiteY1097" fmla="*/ 462899 h 5120141"/>
                <a:gd name="connsiteX1098" fmla="*/ 233480 w 3832826"/>
                <a:gd name="connsiteY1098" fmla="*/ 428866 h 5120141"/>
                <a:gd name="connsiteX1099" fmla="*/ 229288 w 3832826"/>
                <a:gd name="connsiteY1099" fmla="*/ 414852 h 5120141"/>
                <a:gd name="connsiteX1100" fmla="*/ 227193 w 3832826"/>
                <a:gd name="connsiteY1100" fmla="*/ 404768 h 5120141"/>
                <a:gd name="connsiteX1101" fmla="*/ 227193 w 3832826"/>
                <a:gd name="connsiteY1101" fmla="*/ 398762 h 5120141"/>
                <a:gd name="connsiteX1102" fmla="*/ 229288 w 3832826"/>
                <a:gd name="connsiteY1102" fmla="*/ 396760 h 5120141"/>
                <a:gd name="connsiteX1103" fmla="*/ 231384 w 3832826"/>
                <a:gd name="connsiteY1103" fmla="*/ 396760 h 5120141"/>
                <a:gd name="connsiteX1104" fmla="*/ 239766 w 3832826"/>
                <a:gd name="connsiteY1104" fmla="*/ 392756 h 5120141"/>
                <a:gd name="connsiteX1105" fmla="*/ 241862 w 3832826"/>
                <a:gd name="connsiteY1105" fmla="*/ 390754 h 5120141"/>
                <a:gd name="connsiteX1106" fmla="*/ 244081 w 3832826"/>
                <a:gd name="connsiteY1106" fmla="*/ 388752 h 5120141"/>
                <a:gd name="connsiteX1107" fmla="*/ 244081 w 3832826"/>
                <a:gd name="connsiteY1107" fmla="*/ 382746 h 5120141"/>
                <a:gd name="connsiteX1108" fmla="*/ 244081 w 3832826"/>
                <a:gd name="connsiteY1108" fmla="*/ 372736 h 5120141"/>
                <a:gd name="connsiteX1109" fmla="*/ 244081 w 3832826"/>
                <a:gd name="connsiteY1109" fmla="*/ 362726 h 5120141"/>
                <a:gd name="connsiteX1110" fmla="*/ 250368 w 3832826"/>
                <a:gd name="connsiteY1110" fmla="*/ 356721 h 5120141"/>
                <a:gd name="connsiteX1111" fmla="*/ 252464 w 3832826"/>
                <a:gd name="connsiteY1111" fmla="*/ 350715 h 5120141"/>
                <a:gd name="connsiteX1112" fmla="*/ 262942 w 3832826"/>
                <a:gd name="connsiteY1112" fmla="*/ 342707 h 5120141"/>
                <a:gd name="connsiteX1113" fmla="*/ 273420 w 3832826"/>
                <a:gd name="connsiteY1113" fmla="*/ 338703 h 5120141"/>
                <a:gd name="connsiteX1114" fmla="*/ 284022 w 3832826"/>
                <a:gd name="connsiteY1114" fmla="*/ 328619 h 5120141"/>
                <a:gd name="connsiteX1115" fmla="*/ 290308 w 3832826"/>
                <a:gd name="connsiteY1115" fmla="*/ 318609 h 5120141"/>
                <a:gd name="connsiteX1116" fmla="*/ 292404 w 3832826"/>
                <a:gd name="connsiteY1116" fmla="*/ 302593 h 5120141"/>
                <a:gd name="connsiteX1117" fmla="*/ 300787 w 3832826"/>
                <a:gd name="connsiteY1117" fmla="*/ 278570 h 5120141"/>
                <a:gd name="connsiteX1118" fmla="*/ 311388 w 3832826"/>
                <a:gd name="connsiteY1118" fmla="*/ 250468 h 5120141"/>
                <a:gd name="connsiteX1119" fmla="*/ 315579 w 3832826"/>
                <a:gd name="connsiteY1119" fmla="*/ 236454 h 5120141"/>
                <a:gd name="connsiteX1120" fmla="*/ 317675 w 3832826"/>
                <a:gd name="connsiteY1120" fmla="*/ 222441 h 5120141"/>
                <a:gd name="connsiteX1121" fmla="*/ 321866 w 3832826"/>
                <a:gd name="connsiteY1121" fmla="*/ 200419 h 5120141"/>
                <a:gd name="connsiteX1122" fmla="*/ 326058 w 3832826"/>
                <a:gd name="connsiteY1122" fmla="*/ 188407 h 5120141"/>
                <a:gd name="connsiteX1123" fmla="*/ 332345 w 3832826"/>
                <a:gd name="connsiteY1123" fmla="*/ 178323 h 5120141"/>
                <a:gd name="connsiteX1124" fmla="*/ 342946 w 3832826"/>
                <a:gd name="connsiteY1124" fmla="*/ 168313 h 5120141"/>
                <a:gd name="connsiteX1125" fmla="*/ 355520 w 3832826"/>
                <a:gd name="connsiteY1125" fmla="*/ 158303 h 5120141"/>
                <a:gd name="connsiteX1126" fmla="*/ 365998 w 3832826"/>
                <a:gd name="connsiteY1126" fmla="*/ 150296 h 5120141"/>
                <a:gd name="connsiteX1127" fmla="*/ 372285 w 3832826"/>
                <a:gd name="connsiteY1127" fmla="*/ 140286 h 5120141"/>
                <a:gd name="connsiteX1128" fmla="*/ 376600 w 3832826"/>
                <a:gd name="connsiteY1128" fmla="*/ 136282 h 5120141"/>
                <a:gd name="connsiteX1129" fmla="*/ 378695 w 3832826"/>
                <a:gd name="connsiteY1129" fmla="*/ 128274 h 5120141"/>
                <a:gd name="connsiteX1130" fmla="*/ 378695 w 3832826"/>
                <a:gd name="connsiteY1130" fmla="*/ 110182 h 5120141"/>
                <a:gd name="connsiteX1131" fmla="*/ 378695 w 3832826"/>
                <a:gd name="connsiteY1131" fmla="*/ 96168 h 5120141"/>
                <a:gd name="connsiteX1132" fmla="*/ 380791 w 3832826"/>
                <a:gd name="connsiteY1132" fmla="*/ 88161 h 5120141"/>
                <a:gd name="connsiteX1133" fmla="*/ 382887 w 3832826"/>
                <a:gd name="connsiteY1133" fmla="*/ 86159 h 5120141"/>
                <a:gd name="connsiteX1134" fmla="*/ 393365 w 3832826"/>
                <a:gd name="connsiteY1134" fmla="*/ 80153 h 5120141"/>
                <a:gd name="connsiteX1135" fmla="*/ 408158 w 3832826"/>
                <a:gd name="connsiteY1135" fmla="*/ 78151 h 5120141"/>
                <a:gd name="connsiteX1136" fmla="*/ 420732 w 3832826"/>
                <a:gd name="connsiteY1136" fmla="*/ 76149 h 5120141"/>
                <a:gd name="connsiteX1137" fmla="*/ 424923 w 3832826"/>
                <a:gd name="connsiteY1137" fmla="*/ 74147 h 5120141"/>
                <a:gd name="connsiteX1138" fmla="*/ 431210 w 3832826"/>
                <a:gd name="connsiteY1138" fmla="*/ 68141 h 5120141"/>
                <a:gd name="connsiteX1139" fmla="*/ 435401 w 3832826"/>
                <a:gd name="connsiteY1139" fmla="*/ 54127 h 5120141"/>
                <a:gd name="connsiteX1140" fmla="*/ 435401 w 3832826"/>
                <a:gd name="connsiteY1140" fmla="*/ 44117 h 5120141"/>
                <a:gd name="connsiteX1141" fmla="*/ 435401 w 3832826"/>
                <a:gd name="connsiteY1141" fmla="*/ 34033 h 5120141"/>
                <a:gd name="connsiteX1142" fmla="*/ 431210 w 3832826"/>
                <a:gd name="connsiteY1142" fmla="*/ 28027 h 5120141"/>
                <a:gd name="connsiteX1143" fmla="*/ 420732 w 3832826"/>
                <a:gd name="connsiteY1143" fmla="*/ 16016 h 5120141"/>
                <a:gd name="connsiteX1144" fmla="*/ 401747 w 3832826"/>
                <a:gd name="connsiteY1144" fmla="*/ 0 h 5120141"/>
                <a:gd name="connsiteX0" fmla="*/ 1390471 w 3832826"/>
                <a:gd name="connsiteY0" fmla="*/ 1285217 h 5120141"/>
                <a:gd name="connsiteX1" fmla="*/ 1392579 w 3832826"/>
                <a:gd name="connsiteY1" fmla="*/ 1291180 h 5120141"/>
                <a:gd name="connsiteX2" fmla="*/ 1392579 w 3832826"/>
                <a:gd name="connsiteY2" fmla="*/ 1296597 h 5120141"/>
                <a:gd name="connsiteX3" fmla="*/ 1392608 w 3832826"/>
                <a:gd name="connsiteY3" fmla="*/ 1296570 h 5120141"/>
                <a:gd name="connsiteX4" fmla="*/ 1392608 w 3832826"/>
                <a:gd name="connsiteY4" fmla="*/ 1290558 h 5120141"/>
                <a:gd name="connsiteX5" fmla="*/ 1390739 w 3832826"/>
                <a:gd name="connsiteY5" fmla="*/ 1285217 h 5120141"/>
                <a:gd name="connsiteX6" fmla="*/ 1390471 w 3832826"/>
                <a:gd name="connsiteY6" fmla="*/ 1285217 h 5120141"/>
                <a:gd name="connsiteX7" fmla="*/ 1138708 w 3832826"/>
                <a:gd name="connsiteY7" fmla="*/ 844805 h 5120141"/>
                <a:gd name="connsiteX8" fmla="*/ 1135965 w 3832826"/>
                <a:gd name="connsiteY8" fmla="*/ 845676 h 5120141"/>
                <a:gd name="connsiteX9" fmla="*/ 1138389 w 3832826"/>
                <a:gd name="connsiteY9" fmla="*/ 850296 h 5120141"/>
                <a:gd name="connsiteX10" fmla="*/ 1142308 w 3832826"/>
                <a:gd name="connsiteY10" fmla="*/ 851593 h 5120141"/>
                <a:gd name="connsiteX11" fmla="*/ 1138708 w 3832826"/>
                <a:gd name="connsiteY11" fmla="*/ 844805 h 5120141"/>
                <a:gd name="connsiteX12" fmla="*/ 1142276 w 3832826"/>
                <a:gd name="connsiteY12" fmla="*/ 825637 h 5120141"/>
                <a:gd name="connsiteX13" fmla="*/ 1144379 w 3832826"/>
                <a:gd name="connsiteY13" fmla="*/ 833653 h 5120141"/>
                <a:gd name="connsiteX14" fmla="*/ 1144379 w 3832826"/>
                <a:gd name="connsiteY14" fmla="*/ 839665 h 5120141"/>
                <a:gd name="connsiteX15" fmla="*/ 1143167 w 3832826"/>
                <a:gd name="connsiteY15" fmla="*/ 841974 h 5120141"/>
                <a:gd name="connsiteX16" fmla="*/ 1144345 w 3832826"/>
                <a:gd name="connsiteY16" fmla="*/ 841587 h 5120141"/>
                <a:gd name="connsiteX17" fmla="*/ 1146453 w 3832826"/>
                <a:gd name="connsiteY17" fmla="*/ 837612 h 5120141"/>
                <a:gd name="connsiteX18" fmla="*/ 1146453 w 3832826"/>
                <a:gd name="connsiteY18" fmla="*/ 831649 h 5120141"/>
                <a:gd name="connsiteX19" fmla="*/ 1144873 w 3832826"/>
                <a:gd name="connsiteY19" fmla="*/ 825637 h 5120141"/>
                <a:gd name="connsiteX20" fmla="*/ 1142276 w 3832826"/>
                <a:gd name="connsiteY20" fmla="*/ 825637 h 5120141"/>
                <a:gd name="connsiteX21" fmla="*/ 401747 w 3832826"/>
                <a:gd name="connsiteY21" fmla="*/ 0 h 5120141"/>
                <a:gd name="connsiteX22" fmla="*/ 769965 w 3832826"/>
                <a:gd name="connsiteY22" fmla="*/ 0 h 5120141"/>
                <a:gd name="connsiteX23" fmla="*/ 1138058 w 3832826"/>
                <a:gd name="connsiteY23" fmla="*/ 0 h 5120141"/>
                <a:gd name="connsiteX24" fmla="*/ 1222254 w 3832826"/>
                <a:gd name="connsiteY24" fmla="*/ 0 h 5120141"/>
                <a:gd name="connsiteX25" fmla="*/ 1226445 w 3832826"/>
                <a:gd name="connsiteY25" fmla="*/ 140286 h 5120141"/>
                <a:gd name="connsiteX26" fmla="*/ 1228541 w 3832826"/>
                <a:gd name="connsiteY26" fmla="*/ 278570 h 5120141"/>
                <a:gd name="connsiteX27" fmla="*/ 1232732 w 3832826"/>
                <a:gd name="connsiteY27" fmla="*/ 414852 h 5120141"/>
                <a:gd name="connsiteX28" fmla="*/ 1228541 w 3832826"/>
                <a:gd name="connsiteY28" fmla="*/ 559142 h 5120141"/>
                <a:gd name="connsiteX29" fmla="*/ 1224350 w 3832826"/>
                <a:gd name="connsiteY29" fmla="*/ 559142 h 5120141"/>
                <a:gd name="connsiteX30" fmla="*/ 1224350 w 3832826"/>
                <a:gd name="connsiteY30" fmla="*/ 591173 h 5120141"/>
                <a:gd name="connsiteX31" fmla="*/ 1222254 w 3832826"/>
                <a:gd name="connsiteY31" fmla="*/ 591173 h 5120141"/>
                <a:gd name="connsiteX32" fmla="*/ 1194887 w 3832826"/>
                <a:gd name="connsiteY32" fmla="*/ 591173 h 5120141"/>
                <a:gd name="connsiteX33" fmla="*/ 1163329 w 3832826"/>
                <a:gd name="connsiteY33" fmla="*/ 591173 h 5120141"/>
                <a:gd name="connsiteX34" fmla="*/ 1108125 w 3832826"/>
                <a:gd name="connsiteY34" fmla="*/ 602727 h 5120141"/>
                <a:gd name="connsiteX35" fmla="*/ 1110721 w 3832826"/>
                <a:gd name="connsiteY35" fmla="*/ 605200 h 5120141"/>
                <a:gd name="connsiteX36" fmla="*/ 1119136 w 3832826"/>
                <a:gd name="connsiteY36" fmla="*/ 613216 h 5120141"/>
                <a:gd name="connsiteX37" fmla="*/ 1121239 w 3832826"/>
                <a:gd name="connsiteY37" fmla="*/ 621231 h 5120141"/>
                <a:gd name="connsiteX38" fmla="*/ 1123343 w 3832826"/>
                <a:gd name="connsiteY38" fmla="*/ 645279 h 5120141"/>
                <a:gd name="connsiteX39" fmla="*/ 1129654 w 3832826"/>
                <a:gd name="connsiteY39" fmla="*/ 657303 h 5120141"/>
                <a:gd name="connsiteX40" fmla="*/ 1140172 w 3832826"/>
                <a:gd name="connsiteY40" fmla="*/ 667323 h 5120141"/>
                <a:gd name="connsiteX41" fmla="*/ 1146483 w 3832826"/>
                <a:gd name="connsiteY41" fmla="*/ 673335 h 5120141"/>
                <a:gd name="connsiteX42" fmla="*/ 1161208 w 3832826"/>
                <a:gd name="connsiteY42" fmla="*/ 677343 h 5120141"/>
                <a:gd name="connsiteX43" fmla="*/ 1184348 w 3832826"/>
                <a:gd name="connsiteY43" fmla="*/ 683355 h 5120141"/>
                <a:gd name="connsiteX44" fmla="*/ 1194866 w 3832826"/>
                <a:gd name="connsiteY44" fmla="*/ 687363 h 5120141"/>
                <a:gd name="connsiteX45" fmla="*/ 1205385 w 3832826"/>
                <a:gd name="connsiteY45" fmla="*/ 693375 h 5120141"/>
                <a:gd name="connsiteX46" fmla="*/ 1209592 w 3832826"/>
                <a:gd name="connsiteY46" fmla="*/ 703394 h 5120141"/>
                <a:gd name="connsiteX47" fmla="*/ 1213799 w 3832826"/>
                <a:gd name="connsiteY47" fmla="*/ 715418 h 5120141"/>
                <a:gd name="connsiteX48" fmla="*/ 1199074 w 3832826"/>
                <a:gd name="connsiteY48" fmla="*/ 715418 h 5120141"/>
                <a:gd name="connsiteX49" fmla="*/ 1196970 w 3832826"/>
                <a:gd name="connsiteY49" fmla="*/ 715418 h 5120141"/>
                <a:gd name="connsiteX50" fmla="*/ 1196970 w 3832826"/>
                <a:gd name="connsiteY50" fmla="*/ 717422 h 5120141"/>
                <a:gd name="connsiteX51" fmla="*/ 1203281 w 3832826"/>
                <a:gd name="connsiteY51" fmla="*/ 725438 h 5120141"/>
                <a:gd name="connsiteX52" fmla="*/ 1205385 w 3832826"/>
                <a:gd name="connsiteY52" fmla="*/ 733454 h 5120141"/>
                <a:gd name="connsiteX53" fmla="*/ 1207488 w 3832826"/>
                <a:gd name="connsiteY53" fmla="*/ 751490 h 5120141"/>
                <a:gd name="connsiteX54" fmla="*/ 1207488 w 3832826"/>
                <a:gd name="connsiteY54" fmla="*/ 763514 h 5120141"/>
                <a:gd name="connsiteX55" fmla="*/ 1199074 w 3832826"/>
                <a:gd name="connsiteY55" fmla="*/ 773533 h 5120141"/>
                <a:gd name="connsiteX56" fmla="*/ 1188556 w 3832826"/>
                <a:gd name="connsiteY56" fmla="*/ 785557 h 5120141"/>
                <a:gd name="connsiteX57" fmla="*/ 1175934 w 3832826"/>
                <a:gd name="connsiteY57" fmla="*/ 793573 h 5120141"/>
                <a:gd name="connsiteX58" fmla="*/ 1161208 w 3832826"/>
                <a:gd name="connsiteY58" fmla="*/ 801589 h 5120141"/>
                <a:gd name="connsiteX59" fmla="*/ 1154897 w 3832826"/>
                <a:gd name="connsiteY59" fmla="*/ 803593 h 5120141"/>
                <a:gd name="connsiteX60" fmla="*/ 1150690 w 3832826"/>
                <a:gd name="connsiteY60" fmla="*/ 811609 h 5120141"/>
                <a:gd name="connsiteX61" fmla="*/ 1150690 w 3832826"/>
                <a:gd name="connsiteY61" fmla="*/ 817621 h 5120141"/>
                <a:gd name="connsiteX62" fmla="*/ 1153844 w 3832826"/>
                <a:gd name="connsiteY62" fmla="*/ 823631 h 5120141"/>
                <a:gd name="connsiteX63" fmla="*/ 1156992 w 3832826"/>
                <a:gd name="connsiteY63" fmla="*/ 823631 h 5120141"/>
                <a:gd name="connsiteX64" fmla="*/ 1165424 w 3832826"/>
                <a:gd name="connsiteY64" fmla="*/ 823631 h 5120141"/>
                <a:gd name="connsiteX65" fmla="*/ 1169639 w 3832826"/>
                <a:gd name="connsiteY65" fmla="*/ 827606 h 5120141"/>
                <a:gd name="connsiteX66" fmla="*/ 1173855 w 3832826"/>
                <a:gd name="connsiteY66" fmla="*/ 833637 h 5120141"/>
                <a:gd name="connsiteX67" fmla="*/ 1173855 w 3832826"/>
                <a:gd name="connsiteY67" fmla="*/ 841587 h 5120141"/>
                <a:gd name="connsiteX68" fmla="*/ 1173855 w 3832826"/>
                <a:gd name="connsiteY68" fmla="*/ 855568 h 5120141"/>
                <a:gd name="connsiteX69" fmla="*/ 1169639 w 3832826"/>
                <a:gd name="connsiteY69" fmla="*/ 871605 h 5120141"/>
                <a:gd name="connsiteX70" fmla="*/ 1184324 w 3832826"/>
                <a:gd name="connsiteY70" fmla="*/ 867562 h 5120141"/>
                <a:gd name="connsiteX71" fmla="*/ 1180108 w 3832826"/>
                <a:gd name="connsiteY71" fmla="*/ 877568 h 5120141"/>
                <a:gd name="connsiteX72" fmla="*/ 1188540 w 3832826"/>
                <a:gd name="connsiteY72" fmla="*/ 877568 h 5120141"/>
                <a:gd name="connsiteX73" fmla="*/ 1194863 w 3832826"/>
                <a:gd name="connsiteY73" fmla="*/ 885587 h 5120141"/>
                <a:gd name="connsiteX74" fmla="*/ 1196971 w 3832826"/>
                <a:gd name="connsiteY74" fmla="*/ 895593 h 5120141"/>
                <a:gd name="connsiteX75" fmla="*/ 1188540 w 3832826"/>
                <a:gd name="connsiteY75" fmla="*/ 895593 h 5120141"/>
                <a:gd name="connsiteX76" fmla="*/ 1190648 w 3832826"/>
                <a:gd name="connsiteY76" fmla="*/ 903543 h 5120141"/>
                <a:gd name="connsiteX77" fmla="*/ 1188540 w 3832826"/>
                <a:gd name="connsiteY77" fmla="*/ 907518 h 5120141"/>
                <a:gd name="connsiteX78" fmla="*/ 1184324 w 3832826"/>
                <a:gd name="connsiteY78" fmla="*/ 913549 h 5120141"/>
                <a:gd name="connsiteX79" fmla="*/ 1175963 w 3832826"/>
                <a:gd name="connsiteY79" fmla="*/ 917524 h 5120141"/>
                <a:gd name="connsiteX80" fmla="*/ 1169639 w 3832826"/>
                <a:gd name="connsiteY80" fmla="*/ 923555 h 5120141"/>
                <a:gd name="connsiteX81" fmla="*/ 1163316 w 3832826"/>
                <a:gd name="connsiteY81" fmla="*/ 933493 h 5120141"/>
                <a:gd name="connsiteX82" fmla="*/ 1163316 w 3832826"/>
                <a:gd name="connsiteY82" fmla="*/ 941512 h 5120141"/>
                <a:gd name="connsiteX83" fmla="*/ 1159100 w 3832826"/>
                <a:gd name="connsiteY83" fmla="*/ 947543 h 5120141"/>
                <a:gd name="connsiteX84" fmla="*/ 1167532 w 3832826"/>
                <a:gd name="connsiteY84" fmla="*/ 947543 h 5120141"/>
                <a:gd name="connsiteX85" fmla="*/ 1165424 w 3832826"/>
                <a:gd name="connsiteY85" fmla="*/ 963511 h 5120141"/>
                <a:gd name="connsiteX86" fmla="*/ 1167532 w 3832826"/>
                <a:gd name="connsiteY86" fmla="*/ 975505 h 5120141"/>
                <a:gd name="connsiteX87" fmla="*/ 1167532 w 3832826"/>
                <a:gd name="connsiteY87" fmla="*/ 991474 h 5120141"/>
                <a:gd name="connsiteX88" fmla="*/ 1167532 w 3832826"/>
                <a:gd name="connsiteY88" fmla="*/ 1007443 h 5120141"/>
                <a:gd name="connsiteX89" fmla="*/ 1169639 w 3832826"/>
                <a:gd name="connsiteY89" fmla="*/ 1011486 h 5120141"/>
                <a:gd name="connsiteX90" fmla="*/ 1173855 w 3832826"/>
                <a:gd name="connsiteY90" fmla="*/ 1015461 h 5120141"/>
                <a:gd name="connsiteX91" fmla="*/ 1169639 w 3832826"/>
                <a:gd name="connsiteY91" fmla="*/ 1021424 h 5120141"/>
                <a:gd name="connsiteX92" fmla="*/ 1167532 w 3832826"/>
                <a:gd name="connsiteY92" fmla="*/ 1021424 h 5120141"/>
                <a:gd name="connsiteX93" fmla="*/ 1163316 w 3832826"/>
                <a:gd name="connsiteY93" fmla="*/ 1021424 h 5120141"/>
                <a:gd name="connsiteX94" fmla="*/ 1159100 w 3832826"/>
                <a:gd name="connsiteY94" fmla="*/ 1027455 h 5120141"/>
                <a:gd name="connsiteX95" fmla="*/ 1163316 w 3832826"/>
                <a:gd name="connsiteY95" fmla="*/ 1033418 h 5120141"/>
                <a:gd name="connsiteX96" fmla="*/ 1167532 w 3832826"/>
                <a:gd name="connsiteY96" fmla="*/ 1037461 h 5120141"/>
                <a:gd name="connsiteX97" fmla="*/ 1169639 w 3832826"/>
                <a:gd name="connsiteY97" fmla="*/ 1047399 h 5120141"/>
                <a:gd name="connsiteX98" fmla="*/ 1173855 w 3832826"/>
                <a:gd name="connsiteY98" fmla="*/ 1059393 h 5120141"/>
                <a:gd name="connsiteX99" fmla="*/ 1186432 w 3832826"/>
                <a:gd name="connsiteY99" fmla="*/ 1057405 h 5120141"/>
                <a:gd name="connsiteX100" fmla="*/ 1184324 w 3832826"/>
                <a:gd name="connsiteY100" fmla="*/ 1065424 h 5120141"/>
                <a:gd name="connsiteX101" fmla="*/ 1194863 w 3832826"/>
                <a:gd name="connsiteY101" fmla="*/ 1063436 h 5120141"/>
                <a:gd name="connsiteX102" fmla="*/ 1201187 w 3832826"/>
                <a:gd name="connsiteY102" fmla="*/ 1065424 h 5120141"/>
                <a:gd name="connsiteX103" fmla="*/ 1205403 w 3832826"/>
                <a:gd name="connsiteY103" fmla="*/ 1073374 h 5120141"/>
                <a:gd name="connsiteX104" fmla="*/ 1205403 w 3832826"/>
                <a:gd name="connsiteY104" fmla="*/ 1083380 h 5120141"/>
                <a:gd name="connsiteX105" fmla="*/ 1209618 w 3832826"/>
                <a:gd name="connsiteY105" fmla="*/ 1083380 h 5120141"/>
                <a:gd name="connsiteX106" fmla="*/ 1209618 w 3832826"/>
                <a:gd name="connsiteY106" fmla="*/ 1095374 h 5120141"/>
                <a:gd name="connsiteX107" fmla="*/ 1220087 w 3832826"/>
                <a:gd name="connsiteY107" fmla="*/ 1097361 h 5120141"/>
                <a:gd name="connsiteX108" fmla="*/ 1226411 w 3832826"/>
                <a:gd name="connsiteY108" fmla="*/ 1103392 h 5120141"/>
                <a:gd name="connsiteX109" fmla="*/ 1232734 w 3832826"/>
                <a:gd name="connsiteY109" fmla="*/ 1115386 h 5120141"/>
                <a:gd name="connsiteX110" fmla="*/ 1241166 w 3832826"/>
                <a:gd name="connsiteY110" fmla="*/ 1113330 h 5120141"/>
                <a:gd name="connsiteX111" fmla="*/ 1247489 w 3832826"/>
                <a:gd name="connsiteY111" fmla="*/ 1119361 h 5120141"/>
                <a:gd name="connsiteX112" fmla="*/ 1249527 w 3832826"/>
                <a:gd name="connsiteY112" fmla="*/ 1127311 h 5120141"/>
                <a:gd name="connsiteX113" fmla="*/ 1262174 w 3832826"/>
                <a:gd name="connsiteY113" fmla="*/ 1137317 h 5120141"/>
                <a:gd name="connsiteX114" fmla="*/ 1274821 w 3832826"/>
                <a:gd name="connsiteY114" fmla="*/ 1147324 h 5120141"/>
                <a:gd name="connsiteX115" fmla="*/ 1291613 w 3832826"/>
                <a:gd name="connsiteY115" fmla="*/ 1159317 h 5120141"/>
                <a:gd name="connsiteX116" fmla="*/ 1293721 w 3832826"/>
                <a:gd name="connsiteY116" fmla="*/ 1165280 h 5120141"/>
                <a:gd name="connsiteX117" fmla="*/ 1295829 w 3832826"/>
                <a:gd name="connsiteY117" fmla="*/ 1173299 h 5120141"/>
                <a:gd name="connsiteX118" fmla="*/ 1306368 w 3832826"/>
                <a:gd name="connsiteY118" fmla="*/ 1173299 h 5120141"/>
                <a:gd name="connsiteX119" fmla="*/ 1312692 w 3832826"/>
                <a:gd name="connsiteY119" fmla="*/ 1177274 h 5120141"/>
                <a:gd name="connsiteX120" fmla="*/ 1314800 w 3832826"/>
                <a:gd name="connsiteY120" fmla="*/ 1185292 h 5120141"/>
                <a:gd name="connsiteX121" fmla="*/ 1312692 w 3832826"/>
                <a:gd name="connsiteY121" fmla="*/ 1195299 h 5120141"/>
                <a:gd name="connsiteX122" fmla="*/ 1321053 w 3832826"/>
                <a:gd name="connsiteY122" fmla="*/ 1193311 h 5120141"/>
                <a:gd name="connsiteX123" fmla="*/ 1323161 w 3832826"/>
                <a:gd name="connsiteY123" fmla="*/ 1195299 h 5120141"/>
                <a:gd name="connsiteX124" fmla="*/ 1325269 w 3832826"/>
                <a:gd name="connsiteY124" fmla="*/ 1199274 h 5120141"/>
                <a:gd name="connsiteX125" fmla="*/ 1325269 w 3832826"/>
                <a:gd name="connsiteY125" fmla="*/ 1205305 h 5120141"/>
                <a:gd name="connsiteX126" fmla="*/ 1337916 w 3832826"/>
                <a:gd name="connsiteY126" fmla="*/ 1205305 h 5120141"/>
                <a:gd name="connsiteX127" fmla="*/ 1337916 w 3832826"/>
                <a:gd name="connsiteY127" fmla="*/ 1217230 h 5120141"/>
                <a:gd name="connsiteX128" fmla="*/ 1344239 w 3832826"/>
                <a:gd name="connsiteY128" fmla="*/ 1215242 h 5120141"/>
                <a:gd name="connsiteX129" fmla="*/ 1344239 w 3832826"/>
                <a:gd name="connsiteY129" fmla="*/ 1219286 h 5120141"/>
                <a:gd name="connsiteX130" fmla="*/ 1346347 w 3832826"/>
                <a:gd name="connsiteY130" fmla="*/ 1219286 h 5120141"/>
                <a:gd name="connsiteX131" fmla="*/ 1352671 w 3832826"/>
                <a:gd name="connsiteY131" fmla="*/ 1223261 h 5120141"/>
                <a:gd name="connsiteX132" fmla="*/ 1352671 w 3832826"/>
                <a:gd name="connsiteY132" fmla="*/ 1227236 h 5120141"/>
                <a:gd name="connsiteX133" fmla="*/ 1358924 w 3832826"/>
                <a:gd name="connsiteY133" fmla="*/ 1227236 h 5120141"/>
                <a:gd name="connsiteX134" fmla="*/ 1365247 w 3832826"/>
                <a:gd name="connsiteY134" fmla="*/ 1235255 h 5120141"/>
                <a:gd name="connsiteX135" fmla="*/ 1365247 w 3832826"/>
                <a:gd name="connsiteY135" fmla="*/ 1241217 h 5120141"/>
                <a:gd name="connsiteX136" fmla="*/ 1365247 w 3832826"/>
                <a:gd name="connsiteY136" fmla="*/ 1251223 h 5120141"/>
                <a:gd name="connsiteX137" fmla="*/ 1369463 w 3832826"/>
                <a:gd name="connsiteY137" fmla="*/ 1249236 h 5120141"/>
                <a:gd name="connsiteX138" fmla="*/ 1375787 w 3832826"/>
                <a:gd name="connsiteY138" fmla="*/ 1251223 h 5120141"/>
                <a:gd name="connsiteX139" fmla="*/ 1377895 w 3832826"/>
                <a:gd name="connsiteY139" fmla="*/ 1255199 h 5120141"/>
                <a:gd name="connsiteX140" fmla="*/ 1377895 w 3832826"/>
                <a:gd name="connsiteY140" fmla="*/ 1259242 h 5120141"/>
                <a:gd name="connsiteX141" fmla="*/ 1396795 w 3832826"/>
                <a:gd name="connsiteY141" fmla="*/ 1257255 h 5120141"/>
                <a:gd name="connsiteX142" fmla="*/ 1398903 w 3832826"/>
                <a:gd name="connsiteY142" fmla="*/ 1275211 h 5120141"/>
                <a:gd name="connsiteX143" fmla="*/ 1407333 w 3832826"/>
                <a:gd name="connsiteY143" fmla="*/ 1271236 h 5120141"/>
                <a:gd name="connsiteX144" fmla="*/ 1407333 w 3832826"/>
                <a:gd name="connsiteY144" fmla="*/ 1270518 h 5120141"/>
                <a:gd name="connsiteX145" fmla="*/ 1453613 w 3832826"/>
                <a:gd name="connsiteY145" fmla="*/ 1244467 h 5120141"/>
                <a:gd name="connsiteX146" fmla="*/ 1459924 w 3832826"/>
                <a:gd name="connsiteY146" fmla="*/ 1274526 h 5120141"/>
                <a:gd name="connsiteX147" fmla="*/ 1459924 w 3832826"/>
                <a:gd name="connsiteY147" fmla="*/ 1290558 h 5120141"/>
                <a:gd name="connsiteX148" fmla="*/ 1455717 w 3832826"/>
                <a:gd name="connsiteY148" fmla="*/ 1304586 h 5120141"/>
                <a:gd name="connsiteX149" fmla="*/ 1453613 w 3832826"/>
                <a:gd name="connsiteY149" fmla="*/ 1308594 h 5120141"/>
                <a:gd name="connsiteX150" fmla="*/ 1449406 w 3832826"/>
                <a:gd name="connsiteY150" fmla="*/ 1310598 h 5120141"/>
                <a:gd name="connsiteX151" fmla="*/ 1440991 w 3832826"/>
                <a:gd name="connsiteY151" fmla="*/ 1316610 h 5120141"/>
                <a:gd name="connsiteX152" fmla="*/ 1434680 w 3832826"/>
                <a:gd name="connsiteY152" fmla="*/ 1318614 h 5120141"/>
                <a:gd name="connsiteX153" fmla="*/ 1432577 w 3832826"/>
                <a:gd name="connsiteY153" fmla="*/ 1320618 h 5120141"/>
                <a:gd name="connsiteX154" fmla="*/ 1430473 w 3832826"/>
                <a:gd name="connsiteY154" fmla="*/ 1326630 h 5120141"/>
                <a:gd name="connsiteX155" fmla="*/ 1430473 w 3832826"/>
                <a:gd name="connsiteY155" fmla="*/ 1334645 h 5120141"/>
                <a:gd name="connsiteX156" fmla="*/ 1434680 w 3832826"/>
                <a:gd name="connsiteY156" fmla="*/ 1338653 h 5120141"/>
                <a:gd name="connsiteX157" fmla="*/ 1440991 w 3832826"/>
                <a:gd name="connsiteY157" fmla="*/ 1350677 h 5120141"/>
                <a:gd name="connsiteX158" fmla="*/ 1443095 w 3832826"/>
                <a:gd name="connsiteY158" fmla="*/ 1366709 h 5120141"/>
                <a:gd name="connsiteX159" fmla="*/ 1443095 w 3832826"/>
                <a:gd name="connsiteY159" fmla="*/ 1380737 h 5120141"/>
                <a:gd name="connsiteX160" fmla="*/ 1445199 w 3832826"/>
                <a:gd name="connsiteY160" fmla="*/ 1436848 h 5120141"/>
                <a:gd name="connsiteX161" fmla="*/ 1422059 w 3832826"/>
                <a:gd name="connsiteY161" fmla="*/ 1436848 h 5120141"/>
                <a:gd name="connsiteX162" fmla="*/ 1403126 w 3832826"/>
                <a:gd name="connsiteY162" fmla="*/ 1438852 h 5120141"/>
                <a:gd name="connsiteX163" fmla="*/ 1392608 w 3832826"/>
                <a:gd name="connsiteY163" fmla="*/ 1440856 h 5120141"/>
                <a:gd name="connsiteX164" fmla="*/ 1382089 w 3832826"/>
                <a:gd name="connsiteY164" fmla="*/ 1444864 h 5120141"/>
                <a:gd name="connsiteX165" fmla="*/ 1375779 w 3832826"/>
                <a:gd name="connsiteY165" fmla="*/ 1448872 h 5120141"/>
                <a:gd name="connsiteX166" fmla="*/ 1367364 w 3832826"/>
                <a:gd name="connsiteY166" fmla="*/ 1456888 h 5120141"/>
                <a:gd name="connsiteX167" fmla="*/ 1358949 w 3832826"/>
                <a:gd name="connsiteY167" fmla="*/ 1462900 h 5120141"/>
                <a:gd name="connsiteX168" fmla="*/ 1354742 w 3832826"/>
                <a:gd name="connsiteY168" fmla="*/ 1472920 h 5120141"/>
                <a:gd name="connsiteX169" fmla="*/ 1348431 w 3832826"/>
                <a:gd name="connsiteY169" fmla="*/ 1480935 h 5120141"/>
                <a:gd name="connsiteX170" fmla="*/ 1344224 w 3832826"/>
                <a:gd name="connsiteY170" fmla="*/ 1482939 h 5120141"/>
                <a:gd name="connsiteX171" fmla="*/ 1342120 w 3832826"/>
                <a:gd name="connsiteY171" fmla="*/ 1482939 h 5120141"/>
                <a:gd name="connsiteX172" fmla="*/ 1333706 w 3832826"/>
                <a:gd name="connsiteY172" fmla="*/ 1480935 h 5120141"/>
                <a:gd name="connsiteX173" fmla="*/ 1327395 w 3832826"/>
                <a:gd name="connsiteY173" fmla="*/ 1482939 h 5120141"/>
                <a:gd name="connsiteX174" fmla="*/ 1325291 w 3832826"/>
                <a:gd name="connsiteY174" fmla="*/ 1488951 h 5120141"/>
                <a:gd name="connsiteX175" fmla="*/ 1323188 w 3832826"/>
                <a:gd name="connsiteY175" fmla="*/ 1492959 h 5120141"/>
                <a:gd name="connsiteX176" fmla="*/ 1321084 w 3832826"/>
                <a:gd name="connsiteY176" fmla="*/ 1506987 h 5120141"/>
                <a:gd name="connsiteX177" fmla="*/ 1316877 w 3832826"/>
                <a:gd name="connsiteY177" fmla="*/ 1512999 h 5120141"/>
                <a:gd name="connsiteX178" fmla="*/ 1310566 w 3832826"/>
                <a:gd name="connsiteY178" fmla="*/ 1521015 h 5120141"/>
                <a:gd name="connsiteX179" fmla="*/ 1304255 w 3832826"/>
                <a:gd name="connsiteY179" fmla="*/ 1523019 h 5120141"/>
                <a:gd name="connsiteX180" fmla="*/ 1293737 w 3832826"/>
                <a:gd name="connsiteY180" fmla="*/ 1529031 h 5120141"/>
                <a:gd name="connsiteX181" fmla="*/ 1281115 w 3832826"/>
                <a:gd name="connsiteY181" fmla="*/ 1529031 h 5120141"/>
                <a:gd name="connsiteX182" fmla="*/ 1279011 w 3832826"/>
                <a:gd name="connsiteY182" fmla="*/ 1531035 h 5120141"/>
                <a:gd name="connsiteX183" fmla="*/ 1274804 w 3832826"/>
                <a:gd name="connsiteY183" fmla="*/ 1537046 h 5120141"/>
                <a:gd name="connsiteX184" fmla="*/ 1272700 w 3832826"/>
                <a:gd name="connsiteY184" fmla="*/ 1547066 h 5120141"/>
                <a:gd name="connsiteX185" fmla="*/ 1270597 w 3832826"/>
                <a:gd name="connsiteY185" fmla="*/ 1559090 h 5120141"/>
                <a:gd name="connsiteX186" fmla="*/ 1264286 w 3832826"/>
                <a:gd name="connsiteY186" fmla="*/ 1569110 h 5120141"/>
                <a:gd name="connsiteX187" fmla="*/ 1262182 w 3832826"/>
                <a:gd name="connsiteY187" fmla="*/ 1569110 h 5120141"/>
                <a:gd name="connsiteX188" fmla="*/ 1262182 w 3832826"/>
                <a:gd name="connsiteY188" fmla="*/ 1573118 h 5120141"/>
                <a:gd name="connsiteX189" fmla="*/ 1260078 w 3832826"/>
                <a:gd name="connsiteY189" fmla="*/ 1579130 h 5120141"/>
                <a:gd name="connsiteX190" fmla="*/ 1260078 w 3832826"/>
                <a:gd name="connsiteY190" fmla="*/ 1599170 h 5120141"/>
                <a:gd name="connsiteX191" fmla="*/ 1260078 w 3832826"/>
                <a:gd name="connsiteY191" fmla="*/ 1633237 h 5120141"/>
                <a:gd name="connsiteX192" fmla="*/ 1260078 w 3832826"/>
                <a:gd name="connsiteY192" fmla="*/ 1679328 h 5120141"/>
                <a:gd name="connsiteX193" fmla="*/ 1258254 w 3832826"/>
                <a:gd name="connsiteY193" fmla="*/ 1717574 h 5120141"/>
                <a:gd name="connsiteX194" fmla="*/ 1279014 w 3832826"/>
                <a:gd name="connsiteY194" fmla="*/ 1732471 h 5120141"/>
                <a:gd name="connsiteX195" fmla="*/ 1302154 w 3832826"/>
                <a:gd name="connsiteY195" fmla="*/ 1736462 h 5120141"/>
                <a:gd name="connsiteX196" fmla="*/ 1312672 w 3832826"/>
                <a:gd name="connsiteY196" fmla="*/ 1736462 h 5120141"/>
                <a:gd name="connsiteX197" fmla="*/ 1323191 w 3832826"/>
                <a:gd name="connsiteY197" fmla="*/ 1734466 h 5120141"/>
                <a:gd name="connsiteX198" fmla="*/ 1337916 w 3832826"/>
                <a:gd name="connsiteY198" fmla="*/ 1732471 h 5120141"/>
                <a:gd name="connsiteX199" fmla="*/ 1350538 w 3832826"/>
                <a:gd name="connsiteY199" fmla="*/ 1726484 h 5120141"/>
                <a:gd name="connsiteX200" fmla="*/ 1354745 w 3832826"/>
                <a:gd name="connsiteY200" fmla="*/ 1726484 h 5120141"/>
                <a:gd name="connsiteX201" fmla="*/ 1365263 w 3832826"/>
                <a:gd name="connsiteY201" fmla="*/ 1730475 h 5120141"/>
                <a:gd name="connsiteX202" fmla="*/ 1394714 w 3832826"/>
                <a:gd name="connsiteY202" fmla="*/ 1742449 h 5120141"/>
                <a:gd name="connsiteX203" fmla="*/ 1407336 w 3832826"/>
                <a:gd name="connsiteY203" fmla="*/ 1744445 h 5120141"/>
                <a:gd name="connsiteX204" fmla="*/ 1419958 w 3832826"/>
                <a:gd name="connsiteY204" fmla="*/ 1746440 h 5120141"/>
                <a:gd name="connsiteX205" fmla="*/ 1426269 w 3832826"/>
                <a:gd name="connsiteY205" fmla="*/ 1744445 h 5120141"/>
                <a:gd name="connsiteX206" fmla="*/ 1430476 w 3832826"/>
                <a:gd name="connsiteY206" fmla="*/ 1742449 h 5120141"/>
                <a:gd name="connsiteX207" fmla="*/ 1430476 w 3832826"/>
                <a:gd name="connsiteY207" fmla="*/ 1740453 h 5120141"/>
                <a:gd name="connsiteX208" fmla="*/ 1434684 w 3832826"/>
                <a:gd name="connsiteY208" fmla="*/ 1734466 h 5120141"/>
                <a:gd name="connsiteX209" fmla="*/ 1434684 w 3832826"/>
                <a:gd name="connsiteY209" fmla="*/ 1726484 h 5120141"/>
                <a:gd name="connsiteX210" fmla="*/ 1436787 w 3832826"/>
                <a:gd name="connsiteY210" fmla="*/ 1722493 h 5120141"/>
                <a:gd name="connsiteX211" fmla="*/ 1445202 w 3832826"/>
                <a:gd name="connsiteY211" fmla="*/ 1712514 h 5120141"/>
                <a:gd name="connsiteX212" fmla="*/ 1455720 w 3832826"/>
                <a:gd name="connsiteY212" fmla="*/ 1704532 h 5120141"/>
                <a:gd name="connsiteX213" fmla="*/ 1462031 w 3832826"/>
                <a:gd name="connsiteY213" fmla="*/ 1694553 h 5120141"/>
                <a:gd name="connsiteX214" fmla="*/ 1462031 w 3832826"/>
                <a:gd name="connsiteY214" fmla="*/ 1684575 h 5120141"/>
                <a:gd name="connsiteX215" fmla="*/ 1466238 w 3832826"/>
                <a:gd name="connsiteY215" fmla="*/ 1676592 h 5120141"/>
                <a:gd name="connsiteX216" fmla="*/ 1472549 w 3832826"/>
                <a:gd name="connsiteY216" fmla="*/ 1666614 h 5120141"/>
                <a:gd name="connsiteX217" fmla="*/ 1483067 w 3832826"/>
                <a:gd name="connsiteY217" fmla="*/ 1652645 h 5120141"/>
                <a:gd name="connsiteX218" fmla="*/ 1497793 w 3832826"/>
                <a:gd name="connsiteY218" fmla="*/ 1638675 h 5120141"/>
                <a:gd name="connsiteX219" fmla="*/ 1510415 w 3832826"/>
                <a:gd name="connsiteY219" fmla="*/ 1624705 h 5120141"/>
                <a:gd name="connsiteX220" fmla="*/ 1525140 w 3832826"/>
                <a:gd name="connsiteY220" fmla="*/ 1612731 h 5120141"/>
                <a:gd name="connsiteX221" fmla="*/ 1577731 w 3832826"/>
                <a:gd name="connsiteY221" fmla="*/ 1580801 h 5120141"/>
                <a:gd name="connsiteX222" fmla="*/ 1605078 w 3832826"/>
                <a:gd name="connsiteY222" fmla="*/ 1560845 h 5120141"/>
                <a:gd name="connsiteX223" fmla="*/ 1628218 w 3832826"/>
                <a:gd name="connsiteY223" fmla="*/ 1540888 h 5120141"/>
                <a:gd name="connsiteX224" fmla="*/ 1645048 w 3832826"/>
                <a:gd name="connsiteY224" fmla="*/ 1524923 h 5120141"/>
                <a:gd name="connsiteX225" fmla="*/ 1661877 w 3832826"/>
                <a:gd name="connsiteY225" fmla="*/ 1514944 h 5120141"/>
                <a:gd name="connsiteX226" fmla="*/ 1678706 w 3832826"/>
                <a:gd name="connsiteY226" fmla="*/ 1508957 h 5120141"/>
                <a:gd name="connsiteX227" fmla="*/ 1695535 w 3832826"/>
                <a:gd name="connsiteY227" fmla="*/ 1502971 h 5120141"/>
                <a:gd name="connsiteX228" fmla="*/ 1714468 w 3832826"/>
                <a:gd name="connsiteY228" fmla="*/ 1500975 h 5120141"/>
                <a:gd name="connsiteX229" fmla="*/ 1735504 w 3832826"/>
                <a:gd name="connsiteY229" fmla="*/ 1500975 h 5120141"/>
                <a:gd name="connsiteX230" fmla="*/ 1777577 w 3832826"/>
                <a:gd name="connsiteY230" fmla="*/ 1500975 h 5120141"/>
                <a:gd name="connsiteX231" fmla="*/ 2158335 w 3832826"/>
                <a:gd name="connsiteY231" fmla="*/ 1500975 h 5120141"/>
                <a:gd name="connsiteX232" fmla="*/ 2158335 w 3832826"/>
                <a:gd name="connsiteY232" fmla="*/ 1514944 h 5120141"/>
                <a:gd name="connsiteX233" fmla="*/ 2158335 w 3832826"/>
                <a:gd name="connsiteY233" fmla="*/ 1572818 h 5120141"/>
                <a:gd name="connsiteX234" fmla="*/ 2160439 w 3832826"/>
                <a:gd name="connsiteY234" fmla="*/ 1594771 h 5120141"/>
                <a:gd name="connsiteX235" fmla="*/ 2158335 w 3832826"/>
                <a:gd name="connsiteY235" fmla="*/ 1624705 h 5120141"/>
                <a:gd name="connsiteX236" fmla="*/ 2158335 w 3832826"/>
                <a:gd name="connsiteY236" fmla="*/ 1634684 h 5120141"/>
                <a:gd name="connsiteX237" fmla="*/ 2158335 w 3832826"/>
                <a:gd name="connsiteY237" fmla="*/ 1648653 h 5120141"/>
                <a:gd name="connsiteX238" fmla="*/ 2158335 w 3832826"/>
                <a:gd name="connsiteY238" fmla="*/ 1666614 h 5120141"/>
                <a:gd name="connsiteX239" fmla="*/ 2158335 w 3832826"/>
                <a:gd name="connsiteY239" fmla="*/ 1700540 h 5120141"/>
                <a:gd name="connsiteX240" fmla="*/ 2149671 w 3832826"/>
                <a:gd name="connsiteY240" fmla="*/ 1700540 h 5120141"/>
                <a:gd name="connsiteX241" fmla="*/ 2149671 w 3832826"/>
                <a:gd name="connsiteY241" fmla="*/ 1701367 h 5120141"/>
                <a:gd name="connsiteX242" fmla="*/ 2158305 w 3832826"/>
                <a:gd name="connsiteY242" fmla="*/ 1701367 h 5120141"/>
                <a:gd name="connsiteX243" fmla="*/ 2158305 w 3832826"/>
                <a:gd name="connsiteY243" fmla="*/ 1723407 h 5120141"/>
                <a:gd name="connsiteX244" fmla="*/ 2158305 w 3832826"/>
                <a:gd name="connsiteY244" fmla="*/ 1755458 h 5120141"/>
                <a:gd name="connsiteX245" fmla="*/ 2234031 w 3832826"/>
                <a:gd name="connsiteY245" fmla="*/ 1815609 h 5120141"/>
                <a:gd name="connsiteX246" fmla="*/ 2231975 w 3832826"/>
                <a:gd name="connsiteY246" fmla="*/ 1817584 h 5120141"/>
                <a:gd name="connsiteX247" fmla="*/ 2231975 w 3832826"/>
                <a:gd name="connsiteY247" fmla="*/ 1823599 h 5120141"/>
                <a:gd name="connsiteX248" fmla="*/ 2234031 w 3832826"/>
                <a:gd name="connsiteY248" fmla="*/ 1833610 h 5120141"/>
                <a:gd name="connsiteX249" fmla="*/ 2240379 w 3832826"/>
                <a:gd name="connsiteY249" fmla="*/ 1843665 h 5120141"/>
                <a:gd name="connsiteX250" fmla="*/ 2244581 w 3832826"/>
                <a:gd name="connsiteY250" fmla="*/ 1853675 h 5120141"/>
                <a:gd name="connsiteX251" fmla="*/ 2244581 w 3832826"/>
                <a:gd name="connsiteY251" fmla="*/ 1857670 h 5120141"/>
                <a:gd name="connsiteX252" fmla="*/ 2242435 w 3832826"/>
                <a:gd name="connsiteY252" fmla="*/ 1863685 h 5120141"/>
                <a:gd name="connsiteX253" fmla="*/ 2238233 w 3832826"/>
                <a:gd name="connsiteY253" fmla="*/ 1873695 h 5120141"/>
                <a:gd name="connsiteX254" fmla="*/ 2229829 w 3832826"/>
                <a:gd name="connsiteY254" fmla="*/ 1883750 h 5120141"/>
                <a:gd name="connsiteX255" fmla="*/ 2223571 w 3832826"/>
                <a:gd name="connsiteY255" fmla="*/ 1889721 h 5120141"/>
                <a:gd name="connsiteX256" fmla="*/ 2213021 w 3832826"/>
                <a:gd name="connsiteY256" fmla="*/ 1905791 h 5120141"/>
                <a:gd name="connsiteX257" fmla="*/ 2200415 w 3832826"/>
                <a:gd name="connsiteY257" fmla="*/ 1919796 h 5120141"/>
                <a:gd name="connsiteX258" fmla="*/ 2170912 w 3832826"/>
                <a:gd name="connsiteY258" fmla="*/ 1945832 h 5120141"/>
                <a:gd name="connsiteX259" fmla="*/ 2139441 w 3832826"/>
                <a:gd name="connsiteY259" fmla="*/ 1969893 h 5120141"/>
                <a:gd name="connsiteX260" fmla="*/ 2107881 w 3832826"/>
                <a:gd name="connsiteY260" fmla="*/ 1995973 h 5120141"/>
                <a:gd name="connsiteX261" fmla="*/ 2095186 w 3832826"/>
                <a:gd name="connsiteY261" fmla="*/ 1997948 h 5120141"/>
                <a:gd name="connsiteX262" fmla="*/ 2082580 w 3832826"/>
                <a:gd name="connsiteY262" fmla="*/ 2003963 h 5120141"/>
                <a:gd name="connsiteX263" fmla="*/ 2074176 w 3832826"/>
                <a:gd name="connsiteY263" fmla="*/ 2009979 h 5120141"/>
                <a:gd name="connsiteX264" fmla="*/ 2069973 w 3832826"/>
                <a:gd name="connsiteY264" fmla="*/ 2018014 h 5120141"/>
                <a:gd name="connsiteX265" fmla="*/ 2055222 w 3832826"/>
                <a:gd name="connsiteY265" fmla="*/ 2034039 h 5120141"/>
                <a:gd name="connsiteX266" fmla="*/ 2048963 w 3832826"/>
                <a:gd name="connsiteY266" fmla="*/ 2044049 h 5120141"/>
                <a:gd name="connsiteX267" fmla="*/ 2038414 w 3832826"/>
                <a:gd name="connsiteY267" fmla="*/ 2050064 h 5120141"/>
                <a:gd name="connsiteX268" fmla="*/ 2017403 w 3832826"/>
                <a:gd name="connsiteY268" fmla="*/ 2066090 h 5120141"/>
                <a:gd name="connsiteX269" fmla="*/ 1998450 w 3832826"/>
                <a:gd name="connsiteY269" fmla="*/ 2080140 h 5120141"/>
                <a:gd name="connsiteX270" fmla="*/ 1962688 w 3832826"/>
                <a:gd name="connsiteY270" fmla="*/ 2110171 h 5120141"/>
                <a:gd name="connsiteX271" fmla="*/ 1952138 w 3832826"/>
                <a:gd name="connsiteY271" fmla="*/ 2116186 h 5120141"/>
                <a:gd name="connsiteX272" fmla="*/ 1937476 w 3832826"/>
                <a:gd name="connsiteY272" fmla="*/ 2120181 h 5120141"/>
                <a:gd name="connsiteX273" fmla="*/ 1914320 w 3832826"/>
                <a:gd name="connsiteY273" fmla="*/ 2122201 h 5120141"/>
                <a:gd name="connsiteX274" fmla="*/ 1891164 w 3832826"/>
                <a:gd name="connsiteY274" fmla="*/ 2122201 h 5120141"/>
                <a:gd name="connsiteX275" fmla="*/ 1880614 w 3832826"/>
                <a:gd name="connsiteY275" fmla="*/ 2126196 h 5120141"/>
                <a:gd name="connsiteX276" fmla="*/ 1870154 w 3832826"/>
                <a:gd name="connsiteY276" fmla="*/ 2130236 h 5120141"/>
                <a:gd name="connsiteX277" fmla="*/ 1859604 w 3832826"/>
                <a:gd name="connsiteY277" fmla="*/ 2136251 h 5120141"/>
                <a:gd name="connsiteX278" fmla="*/ 1842796 w 3832826"/>
                <a:gd name="connsiteY278" fmla="*/ 2138226 h 5120141"/>
                <a:gd name="connsiteX279" fmla="*/ 1817584 w 3832826"/>
                <a:gd name="connsiteY279" fmla="*/ 2142221 h 5120141"/>
                <a:gd name="connsiteX280" fmla="*/ 1786024 w 3832826"/>
                <a:gd name="connsiteY280" fmla="*/ 2146261 h 5120141"/>
                <a:gd name="connsiteX281" fmla="*/ 1756520 w 3832826"/>
                <a:gd name="connsiteY281" fmla="*/ 2150257 h 5120141"/>
                <a:gd name="connsiteX282" fmla="*/ 1743914 w 3832826"/>
                <a:gd name="connsiteY282" fmla="*/ 2150257 h 5120141"/>
                <a:gd name="connsiteX283" fmla="*/ 1733364 w 3832826"/>
                <a:gd name="connsiteY283" fmla="*/ 2150257 h 5120141"/>
                <a:gd name="connsiteX284" fmla="*/ 1706006 w 3832826"/>
                <a:gd name="connsiteY284" fmla="*/ 2142221 h 5120141"/>
                <a:gd name="connsiteX285" fmla="*/ 1680794 w 3832826"/>
                <a:gd name="connsiteY285" fmla="*/ 2136251 h 5120141"/>
                <a:gd name="connsiteX286" fmla="*/ 1655582 w 3832826"/>
                <a:gd name="connsiteY286" fmla="*/ 2126196 h 5120141"/>
                <a:gd name="connsiteX287" fmla="*/ 1630281 w 3832826"/>
                <a:gd name="connsiteY287" fmla="*/ 2116186 h 5120141"/>
                <a:gd name="connsiteX288" fmla="*/ 1607214 w 3832826"/>
                <a:gd name="connsiteY288" fmla="*/ 2110171 h 5120141"/>
                <a:gd name="connsiteX289" fmla="*/ 1594519 w 3832826"/>
                <a:gd name="connsiteY289" fmla="*/ 2110171 h 5120141"/>
                <a:gd name="connsiteX290" fmla="*/ 1584058 w 3832826"/>
                <a:gd name="connsiteY290" fmla="*/ 2112191 h 5120141"/>
                <a:gd name="connsiteX291" fmla="*/ 1573508 w 3832826"/>
                <a:gd name="connsiteY291" fmla="*/ 2116186 h 5120141"/>
                <a:gd name="connsiteX292" fmla="*/ 1560902 w 3832826"/>
                <a:gd name="connsiteY292" fmla="*/ 2120181 h 5120141"/>
                <a:gd name="connsiteX293" fmla="*/ 1544094 w 3832826"/>
                <a:gd name="connsiteY293" fmla="*/ 2128216 h 5120141"/>
                <a:gd name="connsiteX294" fmla="*/ 1529342 w 3832826"/>
                <a:gd name="connsiteY294" fmla="*/ 2136251 h 5120141"/>
                <a:gd name="connsiteX295" fmla="*/ 1499928 w 3832826"/>
                <a:gd name="connsiteY295" fmla="*/ 2140246 h 5120141"/>
                <a:gd name="connsiteX296" fmla="*/ 1497783 w 3832826"/>
                <a:gd name="connsiteY296" fmla="*/ 2140246 h 5120141"/>
                <a:gd name="connsiteX297" fmla="*/ 1483031 w 3832826"/>
                <a:gd name="connsiteY297" fmla="*/ 2140246 h 5120141"/>
                <a:gd name="connsiteX298" fmla="*/ 1468368 w 3832826"/>
                <a:gd name="connsiteY298" fmla="*/ 2140246 h 5120141"/>
                <a:gd name="connsiteX299" fmla="*/ 1451471 w 3832826"/>
                <a:gd name="connsiteY299" fmla="*/ 2142221 h 5120141"/>
                <a:gd name="connsiteX300" fmla="*/ 1447269 w 3832826"/>
                <a:gd name="connsiteY300" fmla="*/ 2146261 h 5120141"/>
                <a:gd name="connsiteX301" fmla="*/ 1440991 w 3832826"/>
                <a:gd name="connsiteY301" fmla="*/ 2149246 h 5120141"/>
                <a:gd name="connsiteX302" fmla="*/ 1440991 w 3832826"/>
                <a:gd name="connsiteY302" fmla="*/ 2319937 h 5120141"/>
                <a:gd name="connsiteX303" fmla="*/ 1445196 w 3832826"/>
                <a:gd name="connsiteY303" fmla="*/ 2330619 h 5120141"/>
                <a:gd name="connsiteX304" fmla="*/ 1449403 w 3832826"/>
                <a:gd name="connsiteY304" fmla="*/ 2344647 h 5120141"/>
                <a:gd name="connsiteX305" fmla="*/ 1462025 w 3832826"/>
                <a:gd name="connsiteY305" fmla="*/ 2378715 h 5120141"/>
                <a:gd name="connsiteX306" fmla="*/ 1480958 w 3832826"/>
                <a:gd name="connsiteY306" fmla="*/ 2438834 h 5120141"/>
                <a:gd name="connsiteX307" fmla="*/ 1493580 w 3832826"/>
                <a:gd name="connsiteY307" fmla="*/ 2468893 h 5120141"/>
                <a:gd name="connsiteX308" fmla="*/ 1499891 w 3832826"/>
                <a:gd name="connsiteY308" fmla="*/ 2480917 h 5120141"/>
                <a:gd name="connsiteX309" fmla="*/ 1508305 w 3832826"/>
                <a:gd name="connsiteY309" fmla="*/ 2492941 h 5120141"/>
                <a:gd name="connsiteX310" fmla="*/ 1508305 w 3832826"/>
                <a:gd name="connsiteY310" fmla="*/ 2523000 h 5120141"/>
                <a:gd name="connsiteX311" fmla="*/ 1508305 w 3832826"/>
                <a:gd name="connsiteY311" fmla="*/ 2555064 h 5120141"/>
                <a:gd name="connsiteX312" fmla="*/ 1508403 w 3832826"/>
                <a:gd name="connsiteY312" fmla="*/ 2557937 h 5120141"/>
                <a:gd name="connsiteX313" fmla="*/ 1508476 w 3832826"/>
                <a:gd name="connsiteY313" fmla="*/ 2558008 h 5120141"/>
                <a:gd name="connsiteX314" fmla="*/ 1508308 w 3832826"/>
                <a:gd name="connsiteY314" fmla="*/ 2553060 h 5120141"/>
                <a:gd name="connsiteX315" fmla="*/ 1508308 w 3832826"/>
                <a:gd name="connsiteY315" fmla="*/ 2520996 h 5120141"/>
                <a:gd name="connsiteX316" fmla="*/ 1508308 w 3832826"/>
                <a:gd name="connsiteY316" fmla="*/ 2490937 h 5120141"/>
                <a:gd name="connsiteX317" fmla="*/ 1703947 w 3832826"/>
                <a:gd name="connsiteY317" fmla="*/ 2693337 h 5120141"/>
                <a:gd name="connsiteX318" fmla="*/ 1800715 w 3832826"/>
                <a:gd name="connsiteY318" fmla="*/ 2777503 h 5120141"/>
                <a:gd name="connsiteX319" fmla="*/ 1821751 w 3832826"/>
                <a:gd name="connsiteY319" fmla="*/ 2793535 h 5120141"/>
                <a:gd name="connsiteX320" fmla="*/ 1846995 w 3832826"/>
                <a:gd name="connsiteY320" fmla="*/ 2807563 h 5120141"/>
                <a:gd name="connsiteX321" fmla="*/ 1868031 w 3832826"/>
                <a:gd name="connsiteY321" fmla="*/ 2827603 h 5120141"/>
                <a:gd name="connsiteX322" fmla="*/ 1874342 w 3832826"/>
                <a:gd name="connsiteY322" fmla="*/ 2837622 h 5120141"/>
                <a:gd name="connsiteX323" fmla="*/ 1882757 w 3832826"/>
                <a:gd name="connsiteY323" fmla="*/ 2847642 h 5120141"/>
                <a:gd name="connsiteX324" fmla="*/ 1882757 w 3832826"/>
                <a:gd name="connsiteY324" fmla="*/ 2857662 h 5120141"/>
                <a:gd name="connsiteX325" fmla="*/ 1871663 w 3832826"/>
                <a:gd name="connsiteY325" fmla="*/ 2862688 h 5120141"/>
                <a:gd name="connsiteX326" fmla="*/ 1920621 w 3832826"/>
                <a:gd name="connsiteY326" fmla="*/ 2925780 h 5120141"/>
                <a:gd name="connsiteX327" fmla="*/ 1937450 w 3832826"/>
                <a:gd name="connsiteY327" fmla="*/ 2955859 h 5120141"/>
                <a:gd name="connsiteX328" fmla="*/ 1956383 w 3832826"/>
                <a:gd name="connsiteY328" fmla="*/ 2987924 h 5120141"/>
                <a:gd name="connsiteX329" fmla="*/ 1964798 w 3832826"/>
                <a:gd name="connsiteY329" fmla="*/ 2997927 h 5120141"/>
                <a:gd name="connsiteX330" fmla="*/ 1969005 w 3832826"/>
                <a:gd name="connsiteY330" fmla="*/ 3009986 h 5120141"/>
                <a:gd name="connsiteX331" fmla="*/ 1977420 w 3832826"/>
                <a:gd name="connsiteY331" fmla="*/ 3038008 h 5120141"/>
                <a:gd name="connsiteX332" fmla="*/ 1985834 w 3832826"/>
                <a:gd name="connsiteY332" fmla="*/ 3066100 h 5120141"/>
                <a:gd name="connsiteX333" fmla="*/ 1994249 w 3832826"/>
                <a:gd name="connsiteY333" fmla="*/ 3078089 h 5120141"/>
                <a:gd name="connsiteX334" fmla="*/ 2004767 w 3832826"/>
                <a:gd name="connsiteY334" fmla="*/ 3090149 h 5120141"/>
                <a:gd name="connsiteX335" fmla="*/ 2008974 w 3832826"/>
                <a:gd name="connsiteY335" fmla="*/ 3100152 h 5120141"/>
                <a:gd name="connsiteX336" fmla="*/ 2017389 w 3832826"/>
                <a:gd name="connsiteY336" fmla="*/ 3110155 h 5120141"/>
                <a:gd name="connsiteX337" fmla="*/ 2023700 w 3832826"/>
                <a:gd name="connsiteY337" fmla="*/ 3136190 h 5120141"/>
                <a:gd name="connsiteX338" fmla="*/ 2032114 w 3832826"/>
                <a:gd name="connsiteY338" fmla="*/ 3158252 h 5120141"/>
                <a:gd name="connsiteX339" fmla="*/ 2040529 w 3832826"/>
                <a:gd name="connsiteY339" fmla="*/ 3168255 h 5120141"/>
                <a:gd name="connsiteX340" fmla="*/ 2048944 w 3832826"/>
                <a:gd name="connsiteY340" fmla="*/ 3174285 h 5120141"/>
                <a:gd name="connsiteX341" fmla="*/ 2059462 w 3832826"/>
                <a:gd name="connsiteY341" fmla="*/ 3180315 h 5120141"/>
                <a:gd name="connsiteX342" fmla="*/ 2069980 w 3832826"/>
                <a:gd name="connsiteY342" fmla="*/ 3180315 h 5120141"/>
                <a:gd name="connsiteX343" fmla="*/ 2082602 w 3832826"/>
                <a:gd name="connsiteY343" fmla="*/ 3182301 h 5120141"/>
                <a:gd name="connsiteX344" fmla="*/ 2095224 w 3832826"/>
                <a:gd name="connsiteY344" fmla="*/ 3184288 h 5120141"/>
                <a:gd name="connsiteX345" fmla="*/ 2105742 w 3832826"/>
                <a:gd name="connsiteY345" fmla="*/ 3190318 h 5120141"/>
                <a:gd name="connsiteX346" fmla="*/ 2114156 w 3832826"/>
                <a:gd name="connsiteY346" fmla="*/ 3198334 h 5120141"/>
                <a:gd name="connsiteX347" fmla="*/ 2122571 w 3832826"/>
                <a:gd name="connsiteY347" fmla="*/ 3204364 h 5120141"/>
                <a:gd name="connsiteX348" fmla="*/ 2132508 w 3832826"/>
                <a:gd name="connsiteY348" fmla="*/ 3211937 h 5120141"/>
                <a:gd name="connsiteX349" fmla="*/ 2133090 w 3832826"/>
                <a:gd name="connsiteY349" fmla="*/ 3211201 h 5120141"/>
                <a:gd name="connsiteX350" fmla="*/ 2210924 w 3832826"/>
                <a:gd name="connsiteY350" fmla="*/ 3145234 h 5120141"/>
                <a:gd name="connsiteX351" fmla="*/ 2286655 w 3832826"/>
                <a:gd name="connsiteY351" fmla="*/ 3071271 h 5120141"/>
                <a:gd name="connsiteX352" fmla="*/ 2316106 w 3832826"/>
                <a:gd name="connsiteY352" fmla="*/ 3045284 h 5120141"/>
                <a:gd name="connsiteX353" fmla="*/ 2332935 w 3832826"/>
                <a:gd name="connsiteY353" fmla="*/ 3035289 h 5120141"/>
                <a:gd name="connsiteX354" fmla="*/ 2343453 w 3832826"/>
                <a:gd name="connsiteY354" fmla="*/ 3031291 h 5120141"/>
                <a:gd name="connsiteX355" fmla="*/ 2349764 w 3832826"/>
                <a:gd name="connsiteY355" fmla="*/ 3029292 h 5120141"/>
                <a:gd name="connsiteX356" fmla="*/ 2381318 w 3832826"/>
                <a:gd name="connsiteY356" fmla="*/ 3031291 h 5120141"/>
                <a:gd name="connsiteX357" fmla="*/ 2398148 w 3832826"/>
                <a:gd name="connsiteY357" fmla="*/ 3029292 h 5120141"/>
                <a:gd name="connsiteX358" fmla="*/ 2402355 w 3832826"/>
                <a:gd name="connsiteY358" fmla="*/ 3029292 h 5120141"/>
                <a:gd name="connsiteX359" fmla="*/ 2404458 w 3832826"/>
                <a:gd name="connsiteY359" fmla="*/ 3027293 h 5120141"/>
                <a:gd name="connsiteX360" fmla="*/ 2404458 w 3832826"/>
                <a:gd name="connsiteY360" fmla="*/ 3007303 h 5120141"/>
                <a:gd name="connsiteX361" fmla="*/ 2408666 w 3832826"/>
                <a:gd name="connsiteY361" fmla="*/ 2997308 h 5120141"/>
                <a:gd name="connsiteX362" fmla="*/ 2410769 w 3832826"/>
                <a:gd name="connsiteY362" fmla="*/ 2995309 h 5120141"/>
                <a:gd name="connsiteX363" fmla="*/ 2414977 w 3832826"/>
                <a:gd name="connsiteY363" fmla="*/ 2991311 h 5120141"/>
                <a:gd name="connsiteX364" fmla="*/ 2423391 w 3832826"/>
                <a:gd name="connsiteY364" fmla="*/ 2991311 h 5120141"/>
                <a:gd name="connsiteX365" fmla="*/ 2425495 w 3832826"/>
                <a:gd name="connsiteY365" fmla="*/ 2987313 h 5120141"/>
                <a:gd name="connsiteX366" fmla="*/ 2429702 w 3832826"/>
                <a:gd name="connsiteY366" fmla="*/ 2985314 h 5120141"/>
                <a:gd name="connsiteX367" fmla="*/ 2429702 w 3832826"/>
                <a:gd name="connsiteY367" fmla="*/ 2979317 h 5120141"/>
                <a:gd name="connsiteX368" fmla="*/ 2429702 w 3832826"/>
                <a:gd name="connsiteY368" fmla="*/ 2977318 h 5120141"/>
                <a:gd name="connsiteX369" fmla="*/ 2431806 w 3832826"/>
                <a:gd name="connsiteY369" fmla="*/ 2971321 h 5120141"/>
                <a:gd name="connsiteX370" fmla="*/ 2433909 w 3832826"/>
                <a:gd name="connsiteY370" fmla="*/ 2969322 h 5120141"/>
                <a:gd name="connsiteX371" fmla="*/ 2442324 w 3832826"/>
                <a:gd name="connsiteY371" fmla="*/ 2967323 h 5120141"/>
                <a:gd name="connsiteX372" fmla="*/ 2452842 w 3832826"/>
                <a:gd name="connsiteY372" fmla="*/ 2967323 h 5120141"/>
                <a:gd name="connsiteX373" fmla="*/ 2454946 w 3832826"/>
                <a:gd name="connsiteY373" fmla="*/ 2965324 h 5120141"/>
                <a:gd name="connsiteX374" fmla="*/ 2457049 w 3832826"/>
                <a:gd name="connsiteY374" fmla="*/ 2961326 h 5120141"/>
                <a:gd name="connsiteX375" fmla="*/ 2457049 w 3832826"/>
                <a:gd name="connsiteY375" fmla="*/ 2941336 h 5120141"/>
                <a:gd name="connsiteX376" fmla="*/ 2461257 w 3832826"/>
                <a:gd name="connsiteY376" fmla="*/ 2927343 h 5120141"/>
                <a:gd name="connsiteX377" fmla="*/ 2463360 w 3832826"/>
                <a:gd name="connsiteY377" fmla="*/ 2917348 h 5120141"/>
                <a:gd name="connsiteX378" fmla="*/ 2467567 w 3832826"/>
                <a:gd name="connsiteY378" fmla="*/ 2907353 h 5120141"/>
                <a:gd name="connsiteX379" fmla="*/ 2473878 w 3832826"/>
                <a:gd name="connsiteY379" fmla="*/ 2899357 h 5120141"/>
                <a:gd name="connsiteX380" fmla="*/ 2488604 w 3832826"/>
                <a:gd name="connsiteY380" fmla="*/ 2885364 h 5120141"/>
                <a:gd name="connsiteX381" fmla="*/ 2509640 w 3832826"/>
                <a:gd name="connsiteY381" fmla="*/ 2865374 h 5120141"/>
                <a:gd name="connsiteX382" fmla="*/ 2646376 w 3832826"/>
                <a:gd name="connsiteY382" fmla="*/ 2743436 h 5120141"/>
                <a:gd name="connsiteX383" fmla="*/ 2650584 w 3832826"/>
                <a:gd name="connsiteY383" fmla="*/ 2755430 h 5120141"/>
                <a:gd name="connsiteX384" fmla="*/ 2654791 w 3832826"/>
                <a:gd name="connsiteY384" fmla="*/ 2765425 h 5120141"/>
                <a:gd name="connsiteX385" fmla="*/ 2663205 w 3832826"/>
                <a:gd name="connsiteY385" fmla="*/ 2773421 h 5120141"/>
                <a:gd name="connsiteX386" fmla="*/ 2671620 w 3832826"/>
                <a:gd name="connsiteY386" fmla="*/ 2773421 h 5120141"/>
                <a:gd name="connsiteX387" fmla="*/ 2675827 w 3832826"/>
                <a:gd name="connsiteY387" fmla="*/ 2775420 h 5120141"/>
                <a:gd name="connsiteX388" fmla="*/ 2688449 w 3832826"/>
                <a:gd name="connsiteY388" fmla="*/ 2779418 h 5120141"/>
                <a:gd name="connsiteX389" fmla="*/ 2696863 w 3832826"/>
                <a:gd name="connsiteY389" fmla="*/ 2785415 h 5120141"/>
                <a:gd name="connsiteX390" fmla="*/ 2701071 w 3832826"/>
                <a:gd name="connsiteY390" fmla="*/ 2787414 h 5120141"/>
                <a:gd name="connsiteX391" fmla="*/ 2709485 w 3832826"/>
                <a:gd name="connsiteY391" fmla="*/ 2785415 h 5120141"/>
                <a:gd name="connsiteX392" fmla="*/ 2715796 w 3832826"/>
                <a:gd name="connsiteY392" fmla="*/ 2779418 h 5120141"/>
                <a:gd name="connsiteX393" fmla="*/ 2722107 w 3832826"/>
                <a:gd name="connsiteY393" fmla="*/ 2775420 h 5120141"/>
                <a:gd name="connsiteX394" fmla="*/ 2728418 w 3832826"/>
                <a:gd name="connsiteY394" fmla="*/ 2773421 h 5120141"/>
                <a:gd name="connsiteX395" fmla="*/ 2747351 w 3832826"/>
                <a:gd name="connsiteY395" fmla="*/ 2769423 h 5120141"/>
                <a:gd name="connsiteX396" fmla="*/ 2764180 w 3832826"/>
                <a:gd name="connsiteY396" fmla="*/ 2773421 h 5120141"/>
                <a:gd name="connsiteX397" fmla="*/ 2783112 w 3832826"/>
                <a:gd name="connsiteY397" fmla="*/ 2779418 h 5120141"/>
                <a:gd name="connsiteX398" fmla="*/ 2795734 w 3832826"/>
                <a:gd name="connsiteY398" fmla="*/ 2793411 h 5120141"/>
                <a:gd name="connsiteX399" fmla="*/ 2799942 w 3832826"/>
                <a:gd name="connsiteY399" fmla="*/ 2793411 h 5120141"/>
                <a:gd name="connsiteX400" fmla="*/ 2804149 w 3832826"/>
                <a:gd name="connsiteY400" fmla="*/ 2805405 h 5120141"/>
                <a:gd name="connsiteX401" fmla="*/ 2812563 w 3832826"/>
                <a:gd name="connsiteY401" fmla="*/ 2817399 h 5120141"/>
                <a:gd name="connsiteX402" fmla="*/ 2825185 w 3832826"/>
                <a:gd name="connsiteY402" fmla="*/ 2845384 h 5120141"/>
                <a:gd name="connsiteX403" fmla="*/ 2835703 w 3832826"/>
                <a:gd name="connsiteY403" fmla="*/ 2873370 h 5120141"/>
                <a:gd name="connsiteX404" fmla="*/ 2842014 w 3832826"/>
                <a:gd name="connsiteY404" fmla="*/ 2885364 h 5120141"/>
                <a:gd name="connsiteX405" fmla="*/ 2847737 w 3832826"/>
                <a:gd name="connsiteY405" fmla="*/ 2896240 h 5120141"/>
                <a:gd name="connsiteX406" fmla="*/ 2848292 w 3832826"/>
                <a:gd name="connsiteY406" fmla="*/ 2895738 h 5120141"/>
                <a:gd name="connsiteX407" fmla="*/ 2873502 w 3832826"/>
                <a:gd name="connsiteY407" fmla="*/ 2911778 h 5120141"/>
                <a:gd name="connsiteX408" fmla="*/ 2898892 w 3832826"/>
                <a:gd name="connsiteY408" fmla="*/ 2921802 h 5120141"/>
                <a:gd name="connsiteX409" fmla="*/ 2921942 w 3832826"/>
                <a:gd name="connsiteY409" fmla="*/ 2935837 h 5120141"/>
                <a:gd name="connsiteX410" fmla="*/ 2932386 w 3832826"/>
                <a:gd name="connsiteY410" fmla="*/ 2943857 h 5120141"/>
                <a:gd name="connsiteX411" fmla="*/ 2943010 w 3832826"/>
                <a:gd name="connsiteY411" fmla="*/ 2953882 h 5120141"/>
                <a:gd name="connsiteX412" fmla="*/ 2957776 w 3832826"/>
                <a:gd name="connsiteY412" fmla="*/ 2965912 h 5120141"/>
                <a:gd name="connsiteX413" fmla="*/ 2964078 w 3832826"/>
                <a:gd name="connsiteY413" fmla="*/ 2973932 h 5120141"/>
                <a:gd name="connsiteX414" fmla="*/ 2970381 w 3832826"/>
                <a:gd name="connsiteY414" fmla="*/ 2977942 h 5120141"/>
                <a:gd name="connsiteX415" fmla="*/ 2985147 w 3832826"/>
                <a:gd name="connsiteY415" fmla="*/ 2979947 h 5120141"/>
                <a:gd name="connsiteX416" fmla="*/ 2995591 w 3832826"/>
                <a:gd name="connsiteY416" fmla="*/ 2979947 h 5120141"/>
                <a:gd name="connsiteX417" fmla="*/ 3006035 w 3832826"/>
                <a:gd name="connsiteY417" fmla="*/ 2983957 h 5120141"/>
                <a:gd name="connsiteX418" fmla="*/ 3018640 w 3832826"/>
                <a:gd name="connsiteY418" fmla="*/ 2993981 h 5120141"/>
                <a:gd name="connsiteX419" fmla="*/ 3024942 w 3832826"/>
                <a:gd name="connsiteY419" fmla="*/ 2999996 h 5120141"/>
                <a:gd name="connsiteX420" fmla="*/ 3027103 w 3832826"/>
                <a:gd name="connsiteY420" fmla="*/ 3006011 h 5120141"/>
                <a:gd name="connsiteX421" fmla="*/ 3027103 w 3832826"/>
                <a:gd name="connsiteY421" fmla="*/ 3008016 h 5120141"/>
                <a:gd name="connsiteX422" fmla="*/ 3024942 w 3832826"/>
                <a:gd name="connsiteY422" fmla="*/ 3014031 h 5120141"/>
                <a:gd name="connsiteX423" fmla="*/ 3018640 w 3832826"/>
                <a:gd name="connsiteY423" fmla="*/ 3020046 h 5120141"/>
                <a:gd name="connsiteX424" fmla="*/ 3014498 w 3832826"/>
                <a:gd name="connsiteY424" fmla="*/ 3029937 h 5120141"/>
                <a:gd name="connsiteX425" fmla="*/ 3014498 w 3832826"/>
                <a:gd name="connsiteY425" fmla="*/ 3043972 h 5120141"/>
                <a:gd name="connsiteX426" fmla="*/ 3014498 w 3832826"/>
                <a:gd name="connsiteY426" fmla="*/ 3049987 h 5120141"/>
                <a:gd name="connsiteX427" fmla="*/ 3024942 w 3832826"/>
                <a:gd name="connsiteY427" fmla="*/ 3074047 h 5120141"/>
                <a:gd name="connsiteX428" fmla="*/ 3024942 w 3832826"/>
                <a:gd name="connsiteY428" fmla="*/ 3084071 h 5120141"/>
                <a:gd name="connsiteX429" fmla="*/ 3022962 w 3832826"/>
                <a:gd name="connsiteY429" fmla="*/ 3088081 h 5120141"/>
                <a:gd name="connsiteX430" fmla="*/ 3022962 w 3832826"/>
                <a:gd name="connsiteY430" fmla="*/ 3090086 h 5120141"/>
                <a:gd name="connsiteX431" fmla="*/ 3024942 w 3832826"/>
                <a:gd name="connsiteY431" fmla="*/ 3094096 h 5120141"/>
                <a:gd name="connsiteX432" fmla="*/ 3033406 w 3832826"/>
                <a:gd name="connsiteY432" fmla="*/ 3100111 h 5120141"/>
                <a:gd name="connsiteX433" fmla="*/ 3046011 w 3832826"/>
                <a:gd name="connsiteY433" fmla="*/ 3106126 h 5120141"/>
                <a:gd name="connsiteX434" fmla="*/ 3056635 w 3832826"/>
                <a:gd name="connsiteY434" fmla="*/ 3108131 h 5120141"/>
                <a:gd name="connsiteX435" fmla="*/ 3064918 w 3832826"/>
                <a:gd name="connsiteY435" fmla="*/ 3110136 h 5120141"/>
                <a:gd name="connsiteX436" fmla="*/ 3075542 w 3832826"/>
                <a:gd name="connsiteY436" fmla="*/ 3118156 h 5120141"/>
                <a:gd name="connsiteX437" fmla="*/ 3088147 w 3832826"/>
                <a:gd name="connsiteY437" fmla="*/ 3138206 h 5120141"/>
                <a:gd name="connsiteX438" fmla="*/ 3096611 w 3832826"/>
                <a:gd name="connsiteY438" fmla="*/ 3152240 h 5120141"/>
                <a:gd name="connsiteX439" fmla="*/ 3096611 w 3832826"/>
                <a:gd name="connsiteY439" fmla="*/ 3162265 h 5120141"/>
                <a:gd name="connsiteX440" fmla="*/ 3096611 w 3832826"/>
                <a:gd name="connsiteY440" fmla="*/ 3166275 h 5120141"/>
                <a:gd name="connsiteX441" fmla="*/ 3090308 w 3832826"/>
                <a:gd name="connsiteY441" fmla="*/ 3168280 h 5120141"/>
                <a:gd name="connsiteX442" fmla="*/ 3088147 w 3832826"/>
                <a:gd name="connsiteY442" fmla="*/ 3168280 h 5120141"/>
                <a:gd name="connsiteX443" fmla="*/ 3085987 w 3832826"/>
                <a:gd name="connsiteY443" fmla="*/ 3170285 h 5120141"/>
                <a:gd name="connsiteX444" fmla="*/ 3085987 w 3832826"/>
                <a:gd name="connsiteY444" fmla="*/ 3178305 h 5120141"/>
                <a:gd name="connsiteX445" fmla="*/ 3088147 w 3832826"/>
                <a:gd name="connsiteY445" fmla="*/ 3182315 h 5120141"/>
                <a:gd name="connsiteX446" fmla="*/ 3090308 w 3832826"/>
                <a:gd name="connsiteY446" fmla="*/ 3186325 h 5120141"/>
                <a:gd name="connsiteX447" fmla="*/ 3092289 w 3832826"/>
                <a:gd name="connsiteY447" fmla="*/ 3190335 h 5120141"/>
                <a:gd name="connsiteX448" fmla="*/ 3098592 w 3832826"/>
                <a:gd name="connsiteY448" fmla="*/ 3208380 h 5120141"/>
                <a:gd name="connsiteX449" fmla="*/ 3102913 w 3832826"/>
                <a:gd name="connsiteY449" fmla="*/ 3222415 h 5120141"/>
                <a:gd name="connsiteX450" fmla="*/ 3107055 w 3832826"/>
                <a:gd name="connsiteY450" fmla="*/ 3238454 h 5120141"/>
                <a:gd name="connsiteX451" fmla="*/ 3109216 w 3832826"/>
                <a:gd name="connsiteY451" fmla="*/ 3246474 h 5120141"/>
                <a:gd name="connsiteX452" fmla="*/ 3113357 w 3832826"/>
                <a:gd name="connsiteY452" fmla="*/ 3248479 h 5120141"/>
                <a:gd name="connsiteX453" fmla="*/ 3130284 w 3832826"/>
                <a:gd name="connsiteY453" fmla="*/ 3252489 h 5120141"/>
                <a:gd name="connsiteX454" fmla="*/ 3159636 w 3832826"/>
                <a:gd name="connsiteY454" fmla="*/ 3266524 h 5120141"/>
                <a:gd name="connsiteX455" fmla="*/ 3187007 w 3832826"/>
                <a:gd name="connsiteY455" fmla="*/ 3278554 h 5120141"/>
                <a:gd name="connsiteX456" fmla="*/ 3214377 w 3832826"/>
                <a:gd name="connsiteY456" fmla="*/ 3296598 h 5120141"/>
                <a:gd name="connsiteX457" fmla="*/ 3243729 w 3832826"/>
                <a:gd name="connsiteY457" fmla="*/ 3308495 h 5120141"/>
                <a:gd name="connsiteX458" fmla="*/ 3250032 w 3832826"/>
                <a:gd name="connsiteY458" fmla="*/ 3312505 h 5120141"/>
                <a:gd name="connsiteX459" fmla="*/ 3260656 w 3832826"/>
                <a:gd name="connsiteY459" fmla="*/ 3326539 h 5120141"/>
                <a:gd name="connsiteX460" fmla="*/ 3269119 w 3832826"/>
                <a:gd name="connsiteY460" fmla="*/ 3338569 h 5120141"/>
                <a:gd name="connsiteX461" fmla="*/ 3275422 w 3832826"/>
                <a:gd name="connsiteY461" fmla="*/ 3352604 h 5120141"/>
                <a:gd name="connsiteX462" fmla="*/ 3285866 w 3832826"/>
                <a:gd name="connsiteY462" fmla="*/ 3384684 h 5120141"/>
                <a:gd name="connsiteX463" fmla="*/ 3292168 w 3832826"/>
                <a:gd name="connsiteY463" fmla="*/ 3410748 h 5120141"/>
                <a:gd name="connsiteX464" fmla="*/ 3300632 w 3832826"/>
                <a:gd name="connsiteY464" fmla="*/ 3434808 h 5120141"/>
                <a:gd name="connsiteX465" fmla="*/ 3309095 w 3832826"/>
                <a:gd name="connsiteY465" fmla="*/ 3458868 h 5120141"/>
                <a:gd name="connsiteX466" fmla="*/ 3311076 w 3832826"/>
                <a:gd name="connsiteY466" fmla="*/ 3468892 h 5120141"/>
                <a:gd name="connsiteX467" fmla="*/ 3313237 w 3832826"/>
                <a:gd name="connsiteY467" fmla="*/ 3474907 h 5120141"/>
                <a:gd name="connsiteX468" fmla="*/ 3313237 w 3832826"/>
                <a:gd name="connsiteY468" fmla="*/ 3478917 h 5120141"/>
                <a:gd name="connsiteX469" fmla="*/ 3309095 w 3832826"/>
                <a:gd name="connsiteY469" fmla="*/ 3482927 h 5120141"/>
                <a:gd name="connsiteX470" fmla="*/ 3302793 w 3832826"/>
                <a:gd name="connsiteY470" fmla="*/ 3488942 h 5120141"/>
                <a:gd name="connsiteX471" fmla="*/ 3296310 w 3832826"/>
                <a:gd name="connsiteY471" fmla="*/ 3490947 h 5120141"/>
                <a:gd name="connsiteX472" fmla="*/ 3296310 w 3832826"/>
                <a:gd name="connsiteY472" fmla="*/ 3498967 h 5120141"/>
                <a:gd name="connsiteX473" fmla="*/ 3296310 w 3832826"/>
                <a:gd name="connsiteY473" fmla="*/ 3508992 h 5120141"/>
                <a:gd name="connsiteX474" fmla="*/ 3300632 w 3832826"/>
                <a:gd name="connsiteY474" fmla="*/ 3531047 h 5120141"/>
                <a:gd name="connsiteX475" fmla="*/ 3309095 w 3832826"/>
                <a:gd name="connsiteY475" fmla="*/ 3553101 h 5120141"/>
                <a:gd name="connsiteX476" fmla="*/ 3313237 w 3832826"/>
                <a:gd name="connsiteY476" fmla="*/ 3563126 h 5120141"/>
                <a:gd name="connsiteX477" fmla="*/ 3319539 w 3832826"/>
                <a:gd name="connsiteY477" fmla="*/ 3567002 h 5120141"/>
                <a:gd name="connsiteX478" fmla="*/ 3317645 w 3832826"/>
                <a:gd name="connsiteY478" fmla="*/ 3567042 h 5120141"/>
                <a:gd name="connsiteX479" fmla="*/ 3330079 w 3832826"/>
                <a:gd name="connsiteY479" fmla="*/ 3577062 h 5120141"/>
                <a:gd name="connsiteX480" fmla="*/ 3334316 w 3832826"/>
                <a:gd name="connsiteY480" fmla="*/ 3585058 h 5120141"/>
                <a:gd name="connsiteX481" fmla="*/ 3334316 w 3832826"/>
                <a:gd name="connsiteY481" fmla="*/ 3593054 h 5120141"/>
                <a:gd name="connsiteX482" fmla="*/ 3334316 w 3832826"/>
                <a:gd name="connsiteY482" fmla="*/ 3603030 h 5120141"/>
                <a:gd name="connsiteX483" fmla="*/ 3332198 w 3832826"/>
                <a:gd name="connsiteY483" fmla="*/ 3607066 h 5120141"/>
                <a:gd name="connsiteX484" fmla="*/ 3323724 w 3832826"/>
                <a:gd name="connsiteY484" fmla="*/ 3609046 h 5120141"/>
                <a:gd name="connsiteX485" fmla="*/ 3319599 w 3832826"/>
                <a:gd name="connsiteY485" fmla="*/ 3613006 h 5120141"/>
                <a:gd name="connsiteX486" fmla="*/ 3319599 w 3832826"/>
                <a:gd name="connsiteY486" fmla="*/ 3617042 h 5120141"/>
                <a:gd name="connsiteX487" fmla="*/ 3319599 w 3832826"/>
                <a:gd name="connsiteY487" fmla="*/ 3619021 h 5120141"/>
                <a:gd name="connsiteX488" fmla="*/ 3323724 w 3832826"/>
                <a:gd name="connsiteY488" fmla="*/ 3625037 h 5120141"/>
                <a:gd name="connsiteX489" fmla="*/ 3330079 w 3832826"/>
                <a:gd name="connsiteY489" fmla="*/ 3627017 h 5120141"/>
                <a:gd name="connsiteX490" fmla="*/ 3332198 w 3832826"/>
                <a:gd name="connsiteY490" fmla="*/ 3628997 h 5120141"/>
                <a:gd name="connsiteX491" fmla="*/ 3340560 w 3832826"/>
                <a:gd name="connsiteY491" fmla="*/ 3644989 h 5120141"/>
                <a:gd name="connsiteX492" fmla="*/ 3351151 w 3832826"/>
                <a:gd name="connsiteY492" fmla="*/ 3657021 h 5120141"/>
                <a:gd name="connsiteX493" fmla="*/ 3372112 w 3832826"/>
                <a:gd name="connsiteY493" fmla="*/ 3684968 h 5120141"/>
                <a:gd name="connsiteX494" fmla="*/ 3372112 w 3832826"/>
                <a:gd name="connsiteY494" fmla="*/ 3687024 h 5120141"/>
                <a:gd name="connsiteX495" fmla="*/ 3372112 w 3832826"/>
                <a:gd name="connsiteY495" fmla="*/ 3689004 h 5120141"/>
                <a:gd name="connsiteX496" fmla="*/ 3367875 w 3832826"/>
                <a:gd name="connsiteY496" fmla="*/ 3695020 h 5120141"/>
                <a:gd name="connsiteX497" fmla="*/ 3363750 w 3832826"/>
                <a:gd name="connsiteY497" fmla="*/ 3703016 h 5120141"/>
                <a:gd name="connsiteX498" fmla="*/ 3363750 w 3832826"/>
                <a:gd name="connsiteY498" fmla="*/ 3704996 h 5120141"/>
                <a:gd name="connsiteX499" fmla="*/ 3363750 w 3832826"/>
                <a:gd name="connsiteY499" fmla="*/ 3706976 h 5120141"/>
                <a:gd name="connsiteX500" fmla="*/ 3367875 w 3832826"/>
                <a:gd name="connsiteY500" fmla="*/ 3716951 h 5120141"/>
                <a:gd name="connsiteX501" fmla="*/ 3374230 w 3832826"/>
                <a:gd name="connsiteY501" fmla="*/ 3722967 h 5120141"/>
                <a:gd name="connsiteX502" fmla="*/ 3382704 w 3832826"/>
                <a:gd name="connsiteY502" fmla="*/ 3728983 h 5120141"/>
                <a:gd name="connsiteX503" fmla="*/ 3388948 w 3832826"/>
                <a:gd name="connsiteY503" fmla="*/ 3734923 h 5120141"/>
                <a:gd name="connsiteX504" fmla="*/ 3395303 w 3832826"/>
                <a:gd name="connsiteY504" fmla="*/ 3746955 h 5120141"/>
                <a:gd name="connsiteX505" fmla="*/ 3397421 w 3832826"/>
                <a:gd name="connsiteY505" fmla="*/ 3756931 h 5120141"/>
                <a:gd name="connsiteX506" fmla="*/ 3397421 w 3832826"/>
                <a:gd name="connsiteY506" fmla="*/ 3766907 h 5120141"/>
                <a:gd name="connsiteX507" fmla="*/ 3399428 w 3832826"/>
                <a:gd name="connsiteY507" fmla="*/ 3778939 h 5120141"/>
                <a:gd name="connsiteX508" fmla="*/ 3407901 w 3832826"/>
                <a:gd name="connsiteY508" fmla="*/ 3798890 h 5120141"/>
                <a:gd name="connsiteX509" fmla="*/ 3416263 w 3832826"/>
                <a:gd name="connsiteY509" fmla="*/ 3808942 h 5120141"/>
                <a:gd name="connsiteX510" fmla="*/ 3424737 w 3832826"/>
                <a:gd name="connsiteY510" fmla="*/ 3816938 h 5120141"/>
                <a:gd name="connsiteX511" fmla="*/ 3431092 w 3832826"/>
                <a:gd name="connsiteY511" fmla="*/ 3820898 h 5120141"/>
                <a:gd name="connsiteX512" fmla="*/ 3437335 w 3832826"/>
                <a:gd name="connsiteY512" fmla="*/ 3820898 h 5120141"/>
                <a:gd name="connsiteX513" fmla="*/ 3449934 w 3832826"/>
                <a:gd name="connsiteY513" fmla="*/ 3820898 h 5120141"/>
                <a:gd name="connsiteX514" fmla="*/ 3456289 w 3832826"/>
                <a:gd name="connsiteY514" fmla="*/ 3824934 h 5120141"/>
                <a:gd name="connsiteX515" fmla="*/ 3460526 w 3832826"/>
                <a:gd name="connsiteY515" fmla="*/ 3826914 h 5120141"/>
                <a:gd name="connsiteX516" fmla="*/ 3466770 w 3832826"/>
                <a:gd name="connsiteY516" fmla="*/ 3830874 h 5120141"/>
                <a:gd name="connsiteX517" fmla="*/ 3468888 w 3832826"/>
                <a:gd name="connsiteY517" fmla="*/ 3840925 h 5120141"/>
                <a:gd name="connsiteX518" fmla="*/ 3466770 w 3832826"/>
                <a:gd name="connsiteY518" fmla="*/ 3840925 h 5120141"/>
                <a:gd name="connsiteX519" fmla="*/ 3462644 w 3832826"/>
                <a:gd name="connsiteY519" fmla="*/ 3844885 h 5120141"/>
                <a:gd name="connsiteX520" fmla="*/ 3458408 w 3832826"/>
                <a:gd name="connsiteY520" fmla="*/ 3846865 h 5120141"/>
                <a:gd name="connsiteX521" fmla="*/ 3456289 w 3832826"/>
                <a:gd name="connsiteY521" fmla="*/ 3848921 h 5120141"/>
                <a:gd name="connsiteX522" fmla="*/ 3458408 w 3832826"/>
                <a:gd name="connsiteY522" fmla="*/ 3854861 h 5120141"/>
                <a:gd name="connsiteX523" fmla="*/ 3462644 w 3832826"/>
                <a:gd name="connsiteY523" fmla="*/ 3856917 h 5120141"/>
                <a:gd name="connsiteX524" fmla="*/ 3468888 w 3832826"/>
                <a:gd name="connsiteY524" fmla="*/ 3860877 h 5120141"/>
                <a:gd name="connsiteX525" fmla="*/ 3481487 w 3832826"/>
                <a:gd name="connsiteY525" fmla="*/ 3874889 h 5120141"/>
                <a:gd name="connsiteX526" fmla="*/ 3487842 w 3832826"/>
                <a:gd name="connsiteY526" fmla="*/ 3880828 h 5120141"/>
                <a:gd name="connsiteX527" fmla="*/ 3489960 w 3832826"/>
                <a:gd name="connsiteY527" fmla="*/ 3888824 h 5120141"/>
                <a:gd name="connsiteX528" fmla="*/ 3489960 w 3832826"/>
                <a:gd name="connsiteY528" fmla="*/ 3898876 h 5120141"/>
                <a:gd name="connsiteX529" fmla="*/ 3483605 w 3832826"/>
                <a:gd name="connsiteY529" fmla="*/ 3910832 h 5120141"/>
                <a:gd name="connsiteX530" fmla="*/ 3477361 w 3832826"/>
                <a:gd name="connsiteY530" fmla="*/ 3924844 h 5120141"/>
                <a:gd name="connsiteX531" fmla="*/ 3477361 w 3832826"/>
                <a:gd name="connsiteY531" fmla="*/ 3934819 h 5120141"/>
                <a:gd name="connsiteX532" fmla="*/ 3477361 w 3832826"/>
                <a:gd name="connsiteY532" fmla="*/ 3946851 h 5120141"/>
                <a:gd name="connsiteX533" fmla="*/ 3481487 w 3832826"/>
                <a:gd name="connsiteY533" fmla="*/ 3960787 h 5120141"/>
                <a:gd name="connsiteX534" fmla="*/ 3492078 w 3832826"/>
                <a:gd name="connsiteY534" fmla="*/ 3988810 h 5120141"/>
                <a:gd name="connsiteX535" fmla="*/ 3498322 w 3832826"/>
                <a:gd name="connsiteY535" fmla="*/ 3998786 h 5120141"/>
                <a:gd name="connsiteX536" fmla="*/ 3502559 w 3832826"/>
                <a:gd name="connsiteY536" fmla="*/ 4006782 h 5120141"/>
                <a:gd name="connsiteX537" fmla="*/ 3513039 w 3832826"/>
                <a:gd name="connsiteY537" fmla="*/ 4012798 h 5120141"/>
                <a:gd name="connsiteX538" fmla="*/ 3521513 w 3832826"/>
                <a:gd name="connsiteY538" fmla="*/ 4022774 h 5120141"/>
                <a:gd name="connsiteX539" fmla="*/ 3523631 w 3832826"/>
                <a:gd name="connsiteY539" fmla="*/ 4028790 h 5120141"/>
                <a:gd name="connsiteX540" fmla="*/ 3523631 w 3832826"/>
                <a:gd name="connsiteY540" fmla="*/ 4036785 h 5120141"/>
                <a:gd name="connsiteX541" fmla="*/ 3523631 w 3832826"/>
                <a:gd name="connsiteY541" fmla="*/ 4048741 h 5120141"/>
                <a:gd name="connsiteX542" fmla="*/ 3521513 w 3832826"/>
                <a:gd name="connsiteY542" fmla="*/ 4066713 h 5120141"/>
                <a:gd name="connsiteX543" fmla="*/ 3521513 w 3832826"/>
                <a:gd name="connsiteY543" fmla="*/ 4078744 h 5120141"/>
                <a:gd name="connsiteX544" fmla="*/ 3525749 w 3832826"/>
                <a:gd name="connsiteY544" fmla="*/ 4100752 h 5120141"/>
                <a:gd name="connsiteX545" fmla="*/ 3540466 w 3832826"/>
                <a:gd name="connsiteY545" fmla="*/ 4136695 h 5120141"/>
                <a:gd name="connsiteX546" fmla="*/ 3557302 w 3832826"/>
                <a:gd name="connsiteY546" fmla="*/ 4182690 h 5120141"/>
                <a:gd name="connsiteX547" fmla="*/ 3555183 w 3832826"/>
                <a:gd name="connsiteY547" fmla="*/ 4186650 h 5120141"/>
                <a:gd name="connsiteX548" fmla="*/ 3557302 w 3832826"/>
                <a:gd name="connsiteY548" fmla="*/ 4192666 h 5120141"/>
                <a:gd name="connsiteX549" fmla="*/ 3567782 w 3832826"/>
                <a:gd name="connsiteY549" fmla="*/ 4214674 h 5120141"/>
                <a:gd name="connsiteX550" fmla="*/ 3578262 w 3832826"/>
                <a:gd name="connsiteY550" fmla="*/ 4240641 h 5120141"/>
                <a:gd name="connsiteX551" fmla="*/ 3582499 w 3832826"/>
                <a:gd name="connsiteY551" fmla="*/ 4250617 h 5120141"/>
                <a:gd name="connsiteX552" fmla="*/ 3582499 w 3832826"/>
                <a:gd name="connsiteY552" fmla="*/ 4260593 h 5120141"/>
                <a:gd name="connsiteX553" fmla="*/ 3578262 w 3832826"/>
                <a:gd name="connsiteY553" fmla="*/ 4260593 h 5120141"/>
                <a:gd name="connsiteX554" fmla="*/ 3576144 w 3832826"/>
                <a:gd name="connsiteY554" fmla="*/ 4264629 h 5120141"/>
                <a:gd name="connsiteX555" fmla="*/ 3572019 w 3832826"/>
                <a:gd name="connsiteY555" fmla="*/ 4270645 h 5120141"/>
                <a:gd name="connsiteX556" fmla="*/ 3565664 w 3832826"/>
                <a:gd name="connsiteY556" fmla="*/ 4272624 h 5120141"/>
                <a:gd name="connsiteX557" fmla="*/ 3563545 w 3832826"/>
                <a:gd name="connsiteY557" fmla="*/ 4278640 h 5120141"/>
                <a:gd name="connsiteX558" fmla="*/ 3561427 w 3832826"/>
                <a:gd name="connsiteY558" fmla="*/ 4288616 h 5120141"/>
                <a:gd name="connsiteX559" fmla="*/ 3561427 w 3832826"/>
                <a:gd name="connsiteY559" fmla="*/ 4300572 h 5120141"/>
                <a:gd name="connsiteX560" fmla="*/ 3557302 w 3832826"/>
                <a:gd name="connsiteY560" fmla="*/ 4324559 h 5120141"/>
                <a:gd name="connsiteX561" fmla="*/ 3556313 w 3832826"/>
                <a:gd name="connsiteY561" fmla="*/ 4324559 h 5120141"/>
                <a:gd name="connsiteX562" fmla="*/ 3557250 w 3832826"/>
                <a:gd name="connsiteY562" fmla="*/ 4324566 h 5120141"/>
                <a:gd name="connsiteX563" fmla="*/ 3561457 w 3832826"/>
                <a:gd name="connsiteY563" fmla="*/ 4324566 h 5120141"/>
                <a:gd name="connsiteX564" fmla="*/ 3687675 w 3832826"/>
                <a:gd name="connsiteY564" fmla="*/ 4322562 h 5120141"/>
                <a:gd name="connsiteX565" fmla="*/ 3815997 w 3832826"/>
                <a:gd name="connsiteY565" fmla="*/ 4322562 h 5120141"/>
                <a:gd name="connsiteX566" fmla="*/ 3820204 w 3832826"/>
                <a:gd name="connsiteY566" fmla="*/ 4362642 h 5120141"/>
                <a:gd name="connsiteX567" fmla="*/ 3820204 w 3832826"/>
                <a:gd name="connsiteY567" fmla="*/ 4388693 h 5120141"/>
                <a:gd name="connsiteX568" fmla="*/ 3815997 w 3832826"/>
                <a:gd name="connsiteY568" fmla="*/ 4394705 h 5120141"/>
                <a:gd name="connsiteX569" fmla="*/ 3813893 w 3832826"/>
                <a:gd name="connsiteY569" fmla="*/ 4398713 h 5120141"/>
                <a:gd name="connsiteX570" fmla="*/ 3803375 w 3832826"/>
                <a:gd name="connsiteY570" fmla="*/ 4398713 h 5120141"/>
                <a:gd name="connsiteX571" fmla="*/ 3799168 w 3832826"/>
                <a:gd name="connsiteY571" fmla="*/ 4402721 h 5120141"/>
                <a:gd name="connsiteX572" fmla="*/ 3799168 w 3832826"/>
                <a:gd name="connsiteY572" fmla="*/ 4408733 h 5120141"/>
                <a:gd name="connsiteX573" fmla="*/ 3801272 w 3832826"/>
                <a:gd name="connsiteY573" fmla="*/ 4420757 h 5120141"/>
                <a:gd name="connsiteX574" fmla="*/ 3801272 w 3832826"/>
                <a:gd name="connsiteY574" fmla="*/ 4422761 h 5120141"/>
                <a:gd name="connsiteX575" fmla="*/ 3805479 w 3832826"/>
                <a:gd name="connsiteY575" fmla="*/ 4424765 h 5120141"/>
                <a:gd name="connsiteX576" fmla="*/ 3815997 w 3832826"/>
                <a:gd name="connsiteY576" fmla="*/ 4422761 h 5120141"/>
                <a:gd name="connsiteX577" fmla="*/ 3826515 w 3832826"/>
                <a:gd name="connsiteY577" fmla="*/ 4422761 h 5120141"/>
                <a:gd name="connsiteX578" fmla="*/ 3830723 w 3832826"/>
                <a:gd name="connsiteY578" fmla="*/ 4424765 h 5120141"/>
                <a:gd name="connsiteX579" fmla="*/ 3832826 w 3832826"/>
                <a:gd name="connsiteY579" fmla="*/ 4430776 h 5120141"/>
                <a:gd name="connsiteX580" fmla="*/ 3830723 w 3832826"/>
                <a:gd name="connsiteY580" fmla="*/ 4436788 h 5120141"/>
                <a:gd name="connsiteX581" fmla="*/ 3826515 w 3832826"/>
                <a:gd name="connsiteY581" fmla="*/ 4436788 h 5120141"/>
                <a:gd name="connsiteX582" fmla="*/ 3822308 w 3832826"/>
                <a:gd name="connsiteY582" fmla="*/ 4440796 h 5120141"/>
                <a:gd name="connsiteX583" fmla="*/ 3822308 w 3832826"/>
                <a:gd name="connsiteY583" fmla="*/ 4444804 h 5120141"/>
                <a:gd name="connsiteX584" fmla="*/ 3822308 w 3832826"/>
                <a:gd name="connsiteY584" fmla="*/ 4502919 h 5120141"/>
                <a:gd name="connsiteX585" fmla="*/ 3824412 w 3832826"/>
                <a:gd name="connsiteY585" fmla="*/ 4557026 h 5120141"/>
                <a:gd name="connsiteX586" fmla="*/ 3826515 w 3832826"/>
                <a:gd name="connsiteY586" fmla="*/ 4723356 h 5120141"/>
                <a:gd name="connsiteX587" fmla="*/ 3826515 w 3832826"/>
                <a:gd name="connsiteY587" fmla="*/ 4805518 h 5120141"/>
                <a:gd name="connsiteX588" fmla="*/ 3826515 w 3832826"/>
                <a:gd name="connsiteY588" fmla="*/ 4887681 h 5120141"/>
                <a:gd name="connsiteX589" fmla="*/ 3815997 w 3832826"/>
                <a:gd name="connsiteY589" fmla="*/ 4885677 h 5120141"/>
                <a:gd name="connsiteX590" fmla="*/ 3820204 w 3832826"/>
                <a:gd name="connsiteY590" fmla="*/ 4985875 h 5120141"/>
                <a:gd name="connsiteX591" fmla="*/ 3820204 w 3832826"/>
                <a:gd name="connsiteY591" fmla="*/ 5072046 h 5120141"/>
                <a:gd name="connsiteX592" fmla="*/ 3822308 w 3832826"/>
                <a:gd name="connsiteY592" fmla="*/ 5072046 h 5120141"/>
                <a:gd name="connsiteX593" fmla="*/ 3822308 w 3832826"/>
                <a:gd name="connsiteY593" fmla="*/ 5088078 h 5120141"/>
                <a:gd name="connsiteX594" fmla="*/ 3822308 w 3832826"/>
                <a:gd name="connsiteY594" fmla="*/ 5100102 h 5120141"/>
                <a:gd name="connsiteX595" fmla="*/ 3820204 w 3832826"/>
                <a:gd name="connsiteY595" fmla="*/ 5104109 h 5120141"/>
                <a:gd name="connsiteX596" fmla="*/ 3815997 w 3832826"/>
                <a:gd name="connsiteY596" fmla="*/ 5108117 h 5120141"/>
                <a:gd name="connsiteX597" fmla="*/ 3809686 w 3832826"/>
                <a:gd name="connsiteY597" fmla="*/ 5108117 h 5120141"/>
                <a:gd name="connsiteX598" fmla="*/ 3801272 w 3832826"/>
                <a:gd name="connsiteY598" fmla="*/ 5108117 h 5120141"/>
                <a:gd name="connsiteX599" fmla="*/ 3370026 w 3832826"/>
                <a:gd name="connsiteY599" fmla="*/ 5110121 h 5120141"/>
                <a:gd name="connsiteX600" fmla="*/ 2940884 w 3832826"/>
                <a:gd name="connsiteY600" fmla="*/ 5112125 h 5120141"/>
                <a:gd name="connsiteX601" fmla="*/ 2903018 w 3832826"/>
                <a:gd name="connsiteY601" fmla="*/ 5112125 h 5120141"/>
                <a:gd name="connsiteX602" fmla="*/ 2898811 w 3832826"/>
                <a:gd name="connsiteY602" fmla="*/ 5118137 h 5120141"/>
                <a:gd name="connsiteX603" fmla="*/ 2888293 w 3832826"/>
                <a:gd name="connsiteY603" fmla="*/ 5120141 h 5120141"/>
                <a:gd name="connsiteX604" fmla="*/ 2860945 w 3832826"/>
                <a:gd name="connsiteY604" fmla="*/ 5120141 h 5120141"/>
                <a:gd name="connsiteX605" fmla="*/ 2808354 w 3832826"/>
                <a:gd name="connsiteY605" fmla="*/ 5118137 h 5120141"/>
                <a:gd name="connsiteX606" fmla="*/ 2747349 w 3832826"/>
                <a:gd name="connsiteY606" fmla="*/ 5120141 h 5120141"/>
                <a:gd name="connsiteX607" fmla="*/ 2713691 w 3832826"/>
                <a:gd name="connsiteY607" fmla="*/ 5120141 h 5120141"/>
                <a:gd name="connsiteX608" fmla="*/ 2701069 w 3832826"/>
                <a:gd name="connsiteY608" fmla="*/ 5118137 h 5120141"/>
                <a:gd name="connsiteX609" fmla="*/ 2692654 w 3832826"/>
                <a:gd name="connsiteY609" fmla="*/ 5114129 h 5120141"/>
                <a:gd name="connsiteX610" fmla="*/ 2690551 w 3832826"/>
                <a:gd name="connsiteY610" fmla="*/ 5108117 h 5120141"/>
                <a:gd name="connsiteX611" fmla="*/ 2690551 w 3832826"/>
                <a:gd name="connsiteY611" fmla="*/ 5100102 h 5120141"/>
                <a:gd name="connsiteX612" fmla="*/ 2690551 w 3832826"/>
                <a:gd name="connsiteY612" fmla="*/ 5084070 h 5120141"/>
                <a:gd name="connsiteX613" fmla="*/ 2690551 w 3832826"/>
                <a:gd name="connsiteY613" fmla="*/ 5082066 h 5120141"/>
                <a:gd name="connsiteX614" fmla="*/ 2688447 w 3832826"/>
                <a:gd name="connsiteY614" fmla="*/ 5080062 h 5120141"/>
                <a:gd name="connsiteX615" fmla="*/ 2682136 w 3832826"/>
                <a:gd name="connsiteY615" fmla="*/ 5080062 h 5120141"/>
                <a:gd name="connsiteX616" fmla="*/ 2675825 w 3832826"/>
                <a:gd name="connsiteY616" fmla="*/ 5080062 h 5120141"/>
                <a:gd name="connsiteX617" fmla="*/ 2669514 w 3832826"/>
                <a:gd name="connsiteY617" fmla="*/ 5080062 h 5120141"/>
                <a:gd name="connsiteX618" fmla="*/ 2667411 w 3832826"/>
                <a:gd name="connsiteY618" fmla="*/ 5078058 h 5120141"/>
                <a:gd name="connsiteX619" fmla="*/ 2667411 w 3832826"/>
                <a:gd name="connsiteY619" fmla="*/ 5072046 h 5120141"/>
                <a:gd name="connsiteX620" fmla="*/ 2658996 w 3832826"/>
                <a:gd name="connsiteY620" fmla="*/ 5070042 h 5120141"/>
                <a:gd name="connsiteX621" fmla="*/ 2627442 w 3832826"/>
                <a:gd name="connsiteY621" fmla="*/ 5070042 h 5120141"/>
                <a:gd name="connsiteX622" fmla="*/ 2612716 w 3832826"/>
                <a:gd name="connsiteY622" fmla="*/ 5070042 h 5120141"/>
                <a:gd name="connsiteX623" fmla="*/ 2604302 w 3832826"/>
                <a:gd name="connsiteY623" fmla="*/ 5070042 h 5120141"/>
                <a:gd name="connsiteX624" fmla="*/ 2602198 w 3832826"/>
                <a:gd name="connsiteY624" fmla="*/ 5068038 h 5120141"/>
                <a:gd name="connsiteX625" fmla="*/ 2597991 w 3832826"/>
                <a:gd name="connsiteY625" fmla="*/ 5064030 h 5120141"/>
                <a:gd name="connsiteX626" fmla="*/ 2595887 w 3832826"/>
                <a:gd name="connsiteY626" fmla="*/ 5052006 h 5120141"/>
                <a:gd name="connsiteX627" fmla="*/ 2593783 w 3832826"/>
                <a:gd name="connsiteY627" fmla="*/ 5047998 h 5120141"/>
                <a:gd name="connsiteX628" fmla="*/ 2591680 w 3832826"/>
                <a:gd name="connsiteY628" fmla="*/ 5047998 h 5120141"/>
                <a:gd name="connsiteX629" fmla="*/ 2576954 w 3832826"/>
                <a:gd name="connsiteY629" fmla="*/ 5045994 h 5120141"/>
                <a:gd name="connsiteX630" fmla="*/ 2551711 w 3832826"/>
                <a:gd name="connsiteY630" fmla="*/ 5047998 h 5120141"/>
                <a:gd name="connsiteX631" fmla="*/ 2530674 w 3832826"/>
                <a:gd name="connsiteY631" fmla="*/ 5045994 h 5120141"/>
                <a:gd name="connsiteX632" fmla="*/ 2528571 w 3832826"/>
                <a:gd name="connsiteY632" fmla="*/ 4975856 h 5120141"/>
                <a:gd name="connsiteX633" fmla="*/ 2528571 w 3832826"/>
                <a:gd name="connsiteY633" fmla="*/ 4905717 h 5120141"/>
                <a:gd name="connsiteX634" fmla="*/ 2524363 w 3832826"/>
                <a:gd name="connsiteY634" fmla="*/ 4899705 h 5120141"/>
                <a:gd name="connsiteX635" fmla="*/ 2522260 w 3832826"/>
                <a:gd name="connsiteY635" fmla="*/ 4895697 h 5120141"/>
                <a:gd name="connsiteX636" fmla="*/ 2509638 w 3832826"/>
                <a:gd name="connsiteY636" fmla="*/ 4891689 h 5120141"/>
                <a:gd name="connsiteX637" fmla="*/ 2492809 w 3832826"/>
                <a:gd name="connsiteY637" fmla="*/ 4889685 h 5120141"/>
                <a:gd name="connsiteX638" fmla="*/ 2478083 w 3832826"/>
                <a:gd name="connsiteY638" fmla="*/ 4889685 h 5120141"/>
                <a:gd name="connsiteX639" fmla="*/ 2471772 w 3832826"/>
                <a:gd name="connsiteY639" fmla="*/ 4887681 h 5120141"/>
                <a:gd name="connsiteX640" fmla="*/ 2467565 w 3832826"/>
                <a:gd name="connsiteY640" fmla="*/ 4881669 h 5120141"/>
                <a:gd name="connsiteX641" fmla="*/ 2465461 w 3832826"/>
                <a:gd name="connsiteY641" fmla="*/ 4871649 h 5120141"/>
                <a:gd name="connsiteX642" fmla="*/ 2465461 w 3832826"/>
                <a:gd name="connsiteY642" fmla="*/ 4861629 h 5120141"/>
                <a:gd name="connsiteX643" fmla="*/ 2467565 w 3832826"/>
                <a:gd name="connsiteY643" fmla="*/ 4839586 h 5120141"/>
                <a:gd name="connsiteX644" fmla="*/ 2467565 w 3832826"/>
                <a:gd name="connsiteY644" fmla="*/ 4823554 h 5120141"/>
                <a:gd name="connsiteX645" fmla="*/ 2391834 w 3832826"/>
                <a:gd name="connsiteY645" fmla="*/ 4823554 h 5120141"/>
                <a:gd name="connsiteX646" fmla="*/ 2393938 w 3832826"/>
                <a:gd name="connsiteY646" fmla="*/ 4755419 h 5120141"/>
                <a:gd name="connsiteX647" fmla="*/ 2343450 w 3832826"/>
                <a:gd name="connsiteY647" fmla="*/ 4759427 h 5120141"/>
                <a:gd name="connsiteX648" fmla="*/ 2311896 w 3832826"/>
                <a:gd name="connsiteY648" fmla="*/ 4759427 h 5120141"/>
                <a:gd name="connsiteX649" fmla="*/ 2301378 w 3832826"/>
                <a:gd name="connsiteY649" fmla="*/ 4757423 h 5120141"/>
                <a:gd name="connsiteX650" fmla="*/ 2295067 w 3832826"/>
                <a:gd name="connsiteY650" fmla="*/ 4755419 h 5120141"/>
                <a:gd name="connsiteX651" fmla="*/ 2290860 w 3832826"/>
                <a:gd name="connsiteY651" fmla="*/ 4749407 h 5120141"/>
                <a:gd name="connsiteX652" fmla="*/ 2290860 w 3832826"/>
                <a:gd name="connsiteY652" fmla="*/ 4745399 h 5120141"/>
                <a:gd name="connsiteX653" fmla="*/ 2290860 w 3832826"/>
                <a:gd name="connsiteY653" fmla="*/ 4727364 h 5120141"/>
                <a:gd name="connsiteX654" fmla="*/ 2290860 w 3832826"/>
                <a:gd name="connsiteY654" fmla="*/ 4699308 h 5120141"/>
                <a:gd name="connsiteX655" fmla="*/ 2290860 w 3832826"/>
                <a:gd name="connsiteY655" fmla="*/ 4687284 h 5120141"/>
                <a:gd name="connsiteX656" fmla="*/ 2288756 w 3832826"/>
                <a:gd name="connsiteY656" fmla="*/ 4685280 h 5120141"/>
                <a:gd name="connsiteX657" fmla="*/ 2284549 w 3832826"/>
                <a:gd name="connsiteY657" fmla="*/ 4683276 h 5120141"/>
                <a:gd name="connsiteX658" fmla="*/ 2274030 w 3832826"/>
                <a:gd name="connsiteY658" fmla="*/ 4683276 h 5120141"/>
                <a:gd name="connsiteX659" fmla="*/ 2259305 w 3832826"/>
                <a:gd name="connsiteY659" fmla="*/ 4685280 h 5120141"/>
                <a:gd name="connsiteX660" fmla="*/ 2255098 w 3832826"/>
                <a:gd name="connsiteY660" fmla="*/ 4683276 h 5120141"/>
                <a:gd name="connsiteX661" fmla="*/ 2248787 w 3832826"/>
                <a:gd name="connsiteY661" fmla="*/ 4679268 h 5120141"/>
                <a:gd name="connsiteX662" fmla="*/ 2244579 w 3832826"/>
                <a:gd name="connsiteY662" fmla="*/ 4673257 h 5120141"/>
                <a:gd name="connsiteX663" fmla="*/ 2244579 w 3832826"/>
                <a:gd name="connsiteY663" fmla="*/ 4663237 h 5120141"/>
                <a:gd name="connsiteX664" fmla="*/ 2244579 w 3832826"/>
                <a:gd name="connsiteY664" fmla="*/ 4649209 h 5120141"/>
                <a:gd name="connsiteX665" fmla="*/ 2244579 w 3832826"/>
                <a:gd name="connsiteY665" fmla="*/ 4637185 h 5120141"/>
                <a:gd name="connsiteX666" fmla="*/ 2244579 w 3832826"/>
                <a:gd name="connsiteY666" fmla="*/ 4627165 h 5120141"/>
                <a:gd name="connsiteX667" fmla="*/ 2242476 w 3832826"/>
                <a:gd name="connsiteY667" fmla="*/ 4623157 h 5120141"/>
                <a:gd name="connsiteX668" fmla="*/ 2236165 w 3832826"/>
                <a:gd name="connsiteY668" fmla="*/ 4617145 h 5120141"/>
                <a:gd name="connsiteX669" fmla="*/ 2234061 w 3832826"/>
                <a:gd name="connsiteY669" fmla="*/ 4617145 h 5120141"/>
                <a:gd name="connsiteX670" fmla="*/ 2225647 w 3832826"/>
                <a:gd name="connsiteY670" fmla="*/ 4615141 h 5120141"/>
                <a:gd name="connsiteX671" fmla="*/ 2194092 w 3832826"/>
                <a:gd name="connsiteY671" fmla="*/ 4617145 h 5120141"/>
                <a:gd name="connsiteX672" fmla="*/ 2179367 w 3832826"/>
                <a:gd name="connsiteY672" fmla="*/ 4617145 h 5120141"/>
                <a:gd name="connsiteX673" fmla="*/ 2164641 w 3832826"/>
                <a:gd name="connsiteY673" fmla="*/ 4613137 h 5120141"/>
                <a:gd name="connsiteX674" fmla="*/ 2162538 w 3832826"/>
                <a:gd name="connsiteY674" fmla="*/ 4607126 h 5120141"/>
                <a:gd name="connsiteX675" fmla="*/ 2160434 w 3832826"/>
                <a:gd name="connsiteY675" fmla="*/ 4597106 h 5120141"/>
                <a:gd name="connsiteX676" fmla="*/ 2154123 w 3832826"/>
                <a:gd name="connsiteY676" fmla="*/ 4583078 h 5120141"/>
                <a:gd name="connsiteX677" fmla="*/ 2149916 w 3832826"/>
                <a:gd name="connsiteY677" fmla="*/ 4581074 h 5120141"/>
                <a:gd name="connsiteX678" fmla="*/ 2143605 w 3832826"/>
                <a:gd name="connsiteY678" fmla="*/ 4575062 h 5120141"/>
                <a:gd name="connsiteX679" fmla="*/ 2133087 w 3832826"/>
                <a:gd name="connsiteY679" fmla="*/ 4571054 h 5120141"/>
                <a:gd name="connsiteX680" fmla="*/ 2130983 w 3832826"/>
                <a:gd name="connsiteY680" fmla="*/ 4565042 h 5120141"/>
                <a:gd name="connsiteX681" fmla="*/ 2130983 w 3832826"/>
                <a:gd name="connsiteY681" fmla="*/ 4561034 h 5120141"/>
                <a:gd name="connsiteX682" fmla="*/ 2130983 w 3832826"/>
                <a:gd name="connsiteY682" fmla="*/ 4553018 h 5120141"/>
                <a:gd name="connsiteX683" fmla="*/ 2130983 w 3832826"/>
                <a:gd name="connsiteY683" fmla="*/ 4551015 h 5120141"/>
                <a:gd name="connsiteX684" fmla="*/ 2126776 w 3832826"/>
                <a:gd name="connsiteY684" fmla="*/ 4545003 h 5120141"/>
                <a:gd name="connsiteX685" fmla="*/ 2122568 w 3832826"/>
                <a:gd name="connsiteY685" fmla="*/ 4545003 h 5120141"/>
                <a:gd name="connsiteX686" fmla="*/ 2120465 w 3832826"/>
                <a:gd name="connsiteY686" fmla="*/ 4545003 h 5120141"/>
                <a:gd name="connsiteX687" fmla="*/ 2118361 w 3832826"/>
                <a:gd name="connsiteY687" fmla="*/ 4536987 h 5120141"/>
                <a:gd name="connsiteX688" fmla="*/ 2116258 w 3832826"/>
                <a:gd name="connsiteY688" fmla="*/ 4536987 h 5120141"/>
                <a:gd name="connsiteX689" fmla="*/ 2109947 w 3832826"/>
                <a:gd name="connsiteY689" fmla="*/ 4536987 h 5120141"/>
                <a:gd name="connsiteX690" fmla="*/ 2107843 w 3832826"/>
                <a:gd name="connsiteY690" fmla="*/ 4536987 h 5120141"/>
                <a:gd name="connsiteX691" fmla="*/ 2107843 w 3832826"/>
                <a:gd name="connsiteY691" fmla="*/ 4534983 h 5120141"/>
                <a:gd name="connsiteX692" fmla="*/ 2105739 w 3832826"/>
                <a:gd name="connsiteY692" fmla="*/ 4500915 h 5120141"/>
                <a:gd name="connsiteX693" fmla="*/ 2105739 w 3832826"/>
                <a:gd name="connsiteY693" fmla="*/ 4476868 h 5120141"/>
                <a:gd name="connsiteX694" fmla="*/ 2101532 w 3832826"/>
                <a:gd name="connsiteY694" fmla="*/ 4470856 h 5120141"/>
                <a:gd name="connsiteX695" fmla="*/ 2099428 w 3832826"/>
                <a:gd name="connsiteY695" fmla="*/ 4466848 h 5120141"/>
                <a:gd name="connsiteX696" fmla="*/ 2095221 w 3832826"/>
                <a:gd name="connsiteY696" fmla="*/ 4466848 h 5120141"/>
                <a:gd name="connsiteX697" fmla="*/ 2063667 w 3832826"/>
                <a:gd name="connsiteY697" fmla="*/ 4470856 h 5120141"/>
                <a:gd name="connsiteX698" fmla="*/ 2042630 w 3832826"/>
                <a:gd name="connsiteY698" fmla="*/ 4470856 h 5120141"/>
                <a:gd name="connsiteX699" fmla="*/ 2036319 w 3832826"/>
                <a:gd name="connsiteY699" fmla="*/ 4466848 h 5120141"/>
                <a:gd name="connsiteX700" fmla="*/ 2032112 w 3832826"/>
                <a:gd name="connsiteY700" fmla="*/ 4466848 h 5120141"/>
                <a:gd name="connsiteX701" fmla="*/ 2027905 w 3832826"/>
                <a:gd name="connsiteY701" fmla="*/ 4456828 h 5120141"/>
                <a:gd name="connsiteX702" fmla="*/ 2027905 w 3832826"/>
                <a:gd name="connsiteY702" fmla="*/ 4444804 h 5120141"/>
                <a:gd name="connsiteX703" fmla="*/ 2027905 w 3832826"/>
                <a:gd name="connsiteY703" fmla="*/ 4420757 h 5120141"/>
                <a:gd name="connsiteX704" fmla="*/ 2027905 w 3832826"/>
                <a:gd name="connsiteY704" fmla="*/ 4376298 h 5120141"/>
                <a:gd name="connsiteX705" fmla="*/ 2025801 w 3832826"/>
                <a:gd name="connsiteY705" fmla="*/ 4376298 h 5120141"/>
                <a:gd name="connsiteX706" fmla="*/ 2025801 w 3832826"/>
                <a:gd name="connsiteY706" fmla="*/ 4328574 h 5120141"/>
                <a:gd name="connsiteX707" fmla="*/ 2025801 w 3832826"/>
                <a:gd name="connsiteY707" fmla="*/ 4326856 h 5120141"/>
                <a:gd name="connsiteX708" fmla="*/ 2021595 w 3832826"/>
                <a:gd name="connsiteY708" fmla="*/ 4326570 h 5120141"/>
                <a:gd name="connsiteX709" fmla="*/ 2015284 w 3832826"/>
                <a:gd name="connsiteY709" fmla="*/ 4326570 h 5120141"/>
                <a:gd name="connsiteX710" fmla="*/ 2017387 w 3832826"/>
                <a:gd name="connsiteY710" fmla="*/ 4316550 h 5120141"/>
                <a:gd name="connsiteX711" fmla="*/ 2015284 w 3832826"/>
                <a:gd name="connsiteY711" fmla="*/ 4310539 h 5120141"/>
                <a:gd name="connsiteX712" fmla="*/ 2008973 w 3832826"/>
                <a:gd name="connsiteY712" fmla="*/ 4306531 h 5120141"/>
                <a:gd name="connsiteX713" fmla="*/ 2004765 w 3832826"/>
                <a:gd name="connsiteY713" fmla="*/ 4300519 h 5120141"/>
                <a:gd name="connsiteX714" fmla="*/ 1994247 w 3832826"/>
                <a:gd name="connsiteY714" fmla="*/ 4286491 h 5120141"/>
                <a:gd name="connsiteX715" fmla="*/ 1987936 w 3832826"/>
                <a:gd name="connsiteY715" fmla="*/ 4270459 h 5120141"/>
                <a:gd name="connsiteX716" fmla="*/ 1987936 w 3832826"/>
                <a:gd name="connsiteY716" fmla="*/ 4262443 h 5120141"/>
                <a:gd name="connsiteX717" fmla="*/ 1987936 w 3832826"/>
                <a:gd name="connsiteY717" fmla="*/ 4258435 h 5120141"/>
                <a:gd name="connsiteX718" fmla="*/ 1987936 w 3832826"/>
                <a:gd name="connsiteY718" fmla="*/ 4252423 h 5120141"/>
                <a:gd name="connsiteX719" fmla="*/ 1983729 w 3832826"/>
                <a:gd name="connsiteY719" fmla="*/ 4246412 h 5120141"/>
                <a:gd name="connsiteX720" fmla="*/ 1978277 w 3832826"/>
                <a:gd name="connsiteY720" fmla="*/ 4241218 h 5120141"/>
                <a:gd name="connsiteX721" fmla="*/ 1947935 w 3832826"/>
                <a:gd name="connsiteY721" fmla="*/ 4232386 h 5120141"/>
                <a:gd name="connsiteX722" fmla="*/ 1941632 w 3832826"/>
                <a:gd name="connsiteY722" fmla="*/ 4228376 h 5120141"/>
                <a:gd name="connsiteX723" fmla="*/ 1933169 w 3832826"/>
                <a:gd name="connsiteY723" fmla="*/ 4220356 h 5120141"/>
                <a:gd name="connsiteX724" fmla="*/ 1922725 w 3832826"/>
                <a:gd name="connsiteY724" fmla="*/ 4208326 h 5120141"/>
                <a:gd name="connsiteX725" fmla="*/ 1910120 w 3832826"/>
                <a:gd name="connsiteY725" fmla="*/ 4196297 h 5120141"/>
                <a:gd name="connsiteX726" fmla="*/ 1901657 w 3832826"/>
                <a:gd name="connsiteY726" fmla="*/ 4190282 h 5120141"/>
                <a:gd name="connsiteX727" fmla="*/ 1893193 w 3832826"/>
                <a:gd name="connsiteY727" fmla="*/ 4186272 h 5120141"/>
                <a:gd name="connsiteX728" fmla="*/ 1867983 w 3832826"/>
                <a:gd name="connsiteY728" fmla="*/ 4178252 h 5120141"/>
                <a:gd name="connsiteX729" fmla="*/ 1857539 w 3832826"/>
                <a:gd name="connsiteY729" fmla="*/ 4172237 h 5120141"/>
                <a:gd name="connsiteX730" fmla="*/ 1842773 w 3832826"/>
                <a:gd name="connsiteY730" fmla="*/ 4166222 h 5120141"/>
                <a:gd name="connsiteX731" fmla="*/ 1804958 w 3832826"/>
                <a:gd name="connsiteY731" fmla="*/ 4138152 h 5120141"/>
                <a:gd name="connsiteX732" fmla="*/ 1800637 w 3832826"/>
                <a:gd name="connsiteY732" fmla="*/ 4138152 h 5120141"/>
                <a:gd name="connsiteX733" fmla="*/ 1796495 w 3832826"/>
                <a:gd name="connsiteY733" fmla="*/ 4138152 h 5120141"/>
                <a:gd name="connsiteX734" fmla="*/ 1790192 w 3832826"/>
                <a:gd name="connsiteY734" fmla="*/ 4138152 h 5120141"/>
                <a:gd name="connsiteX735" fmla="*/ 1786051 w 3832826"/>
                <a:gd name="connsiteY735" fmla="*/ 4132138 h 5120141"/>
                <a:gd name="connsiteX736" fmla="*/ 1783890 w 3832826"/>
                <a:gd name="connsiteY736" fmla="*/ 4126123 h 5120141"/>
                <a:gd name="connsiteX737" fmla="*/ 1775427 w 3832826"/>
                <a:gd name="connsiteY737" fmla="*/ 4120108 h 5120141"/>
                <a:gd name="connsiteX738" fmla="*/ 1769124 w 3832826"/>
                <a:gd name="connsiteY738" fmla="*/ 4118103 h 5120141"/>
                <a:gd name="connsiteX739" fmla="*/ 1762822 w 3832826"/>
                <a:gd name="connsiteY739" fmla="*/ 4112088 h 5120141"/>
                <a:gd name="connsiteX740" fmla="*/ 1756519 w 3832826"/>
                <a:gd name="connsiteY740" fmla="*/ 4100058 h 5120141"/>
                <a:gd name="connsiteX741" fmla="*/ 1752377 w 3832826"/>
                <a:gd name="connsiteY741" fmla="*/ 4090167 h 5120141"/>
                <a:gd name="connsiteX742" fmla="*/ 1741753 w 3832826"/>
                <a:gd name="connsiteY742" fmla="*/ 4086157 h 5120141"/>
                <a:gd name="connsiteX743" fmla="*/ 1733470 w 3832826"/>
                <a:gd name="connsiteY743" fmla="*/ 4082147 h 5120141"/>
                <a:gd name="connsiteX744" fmla="*/ 1716543 w 3832826"/>
                <a:gd name="connsiteY744" fmla="*/ 4070117 h 5120141"/>
                <a:gd name="connsiteX745" fmla="*/ 1706099 w 3832826"/>
                <a:gd name="connsiteY745" fmla="*/ 4060092 h 5120141"/>
                <a:gd name="connsiteX746" fmla="*/ 1701777 w 3832826"/>
                <a:gd name="connsiteY746" fmla="*/ 4052072 h 5120141"/>
                <a:gd name="connsiteX747" fmla="*/ 1699797 w 3832826"/>
                <a:gd name="connsiteY747" fmla="*/ 4048062 h 5120141"/>
                <a:gd name="connsiteX748" fmla="*/ 1695475 w 3832826"/>
                <a:gd name="connsiteY748" fmla="*/ 4038038 h 5120141"/>
                <a:gd name="connsiteX749" fmla="*/ 1699797 w 3832826"/>
                <a:gd name="connsiteY749" fmla="*/ 4030018 h 5120141"/>
                <a:gd name="connsiteX750" fmla="*/ 1701777 w 3832826"/>
                <a:gd name="connsiteY750" fmla="*/ 4021998 h 5120141"/>
                <a:gd name="connsiteX751" fmla="*/ 1706099 w 3832826"/>
                <a:gd name="connsiteY751" fmla="*/ 4017988 h 5120141"/>
                <a:gd name="connsiteX752" fmla="*/ 1714382 w 3832826"/>
                <a:gd name="connsiteY752" fmla="*/ 4007963 h 5120141"/>
                <a:gd name="connsiteX753" fmla="*/ 1716543 w 3832826"/>
                <a:gd name="connsiteY753" fmla="*/ 4001948 h 5120141"/>
                <a:gd name="connsiteX754" fmla="*/ 1720685 w 3832826"/>
                <a:gd name="connsiteY754" fmla="*/ 3997938 h 5120141"/>
                <a:gd name="connsiteX755" fmla="*/ 1716543 w 3832826"/>
                <a:gd name="connsiteY755" fmla="*/ 3991923 h 5120141"/>
                <a:gd name="connsiteX756" fmla="*/ 1712402 w 3832826"/>
                <a:gd name="connsiteY756" fmla="*/ 3985908 h 5120141"/>
                <a:gd name="connsiteX757" fmla="*/ 1701777 w 3832826"/>
                <a:gd name="connsiteY757" fmla="*/ 3975883 h 5120141"/>
                <a:gd name="connsiteX758" fmla="*/ 1695475 w 3832826"/>
                <a:gd name="connsiteY758" fmla="*/ 3973878 h 5120141"/>
                <a:gd name="connsiteX759" fmla="*/ 1691333 w 3832826"/>
                <a:gd name="connsiteY759" fmla="*/ 3965859 h 5120141"/>
                <a:gd name="connsiteX760" fmla="*/ 1689172 w 3832826"/>
                <a:gd name="connsiteY760" fmla="*/ 3957839 h 5120141"/>
                <a:gd name="connsiteX761" fmla="*/ 1691333 w 3832826"/>
                <a:gd name="connsiteY761" fmla="*/ 3953829 h 5120141"/>
                <a:gd name="connsiteX762" fmla="*/ 1691333 w 3832826"/>
                <a:gd name="connsiteY762" fmla="*/ 3945809 h 5120141"/>
                <a:gd name="connsiteX763" fmla="*/ 1689172 w 3832826"/>
                <a:gd name="connsiteY763" fmla="*/ 3937789 h 5120141"/>
                <a:gd name="connsiteX764" fmla="*/ 1687192 w 3832826"/>
                <a:gd name="connsiteY764" fmla="*/ 3927764 h 5120141"/>
                <a:gd name="connsiteX765" fmla="*/ 1689172 w 3832826"/>
                <a:gd name="connsiteY765" fmla="*/ 3919744 h 5120141"/>
                <a:gd name="connsiteX766" fmla="*/ 1691333 w 3832826"/>
                <a:gd name="connsiteY766" fmla="*/ 3915734 h 5120141"/>
                <a:gd name="connsiteX767" fmla="*/ 1699797 w 3832826"/>
                <a:gd name="connsiteY767" fmla="*/ 3909719 h 5120141"/>
                <a:gd name="connsiteX768" fmla="*/ 1714382 w 3832826"/>
                <a:gd name="connsiteY768" fmla="*/ 3905709 h 5120141"/>
                <a:gd name="connsiteX769" fmla="*/ 1731309 w 3832826"/>
                <a:gd name="connsiteY769" fmla="*/ 3899694 h 5120141"/>
                <a:gd name="connsiteX770" fmla="*/ 1735451 w 3832826"/>
                <a:gd name="connsiteY770" fmla="*/ 3897690 h 5120141"/>
                <a:gd name="connsiteX771" fmla="*/ 1737612 w 3832826"/>
                <a:gd name="connsiteY771" fmla="*/ 3893680 h 5120141"/>
                <a:gd name="connsiteX772" fmla="*/ 1746075 w 3832826"/>
                <a:gd name="connsiteY772" fmla="*/ 3879645 h 5120141"/>
                <a:gd name="connsiteX773" fmla="*/ 1748056 w 3832826"/>
                <a:gd name="connsiteY773" fmla="*/ 3863605 h 5120141"/>
                <a:gd name="connsiteX774" fmla="*/ 1752377 w 3832826"/>
                <a:gd name="connsiteY774" fmla="*/ 3843555 h 5120141"/>
                <a:gd name="connsiteX775" fmla="*/ 1754358 w 3832826"/>
                <a:gd name="connsiteY775" fmla="*/ 3823639 h 5120141"/>
                <a:gd name="connsiteX776" fmla="*/ 1752377 w 3832826"/>
                <a:gd name="connsiteY776" fmla="*/ 3803590 h 5120141"/>
                <a:gd name="connsiteX777" fmla="*/ 1748056 w 3832826"/>
                <a:gd name="connsiteY777" fmla="*/ 3785545 h 5120141"/>
                <a:gd name="connsiteX778" fmla="*/ 1746075 w 3832826"/>
                <a:gd name="connsiteY778" fmla="*/ 3773515 h 5120141"/>
                <a:gd name="connsiteX779" fmla="*/ 1737612 w 3832826"/>
                <a:gd name="connsiteY779" fmla="*/ 3761485 h 5120141"/>
                <a:gd name="connsiteX780" fmla="*/ 1727167 w 3832826"/>
                <a:gd name="connsiteY780" fmla="*/ 3747450 h 5120141"/>
                <a:gd name="connsiteX781" fmla="*/ 1695475 w 3832826"/>
                <a:gd name="connsiteY781" fmla="*/ 3721385 h 5120141"/>
                <a:gd name="connsiteX782" fmla="*/ 1661802 w 3832826"/>
                <a:gd name="connsiteY782" fmla="*/ 3695321 h 5120141"/>
                <a:gd name="connsiteX783" fmla="*/ 1636592 w 3832826"/>
                <a:gd name="connsiteY783" fmla="*/ 3675271 h 5120141"/>
                <a:gd name="connsiteX784" fmla="*/ 1519948 w 3832826"/>
                <a:gd name="connsiteY784" fmla="*/ 3568035 h 5120141"/>
                <a:gd name="connsiteX785" fmla="*/ 1518826 w 3832826"/>
                <a:gd name="connsiteY785" fmla="*/ 3569070 h 5120141"/>
                <a:gd name="connsiteX786" fmla="*/ 1510411 w 3832826"/>
                <a:gd name="connsiteY786" fmla="*/ 3561053 h 5120141"/>
                <a:gd name="connsiteX787" fmla="*/ 1497790 w 3832826"/>
                <a:gd name="connsiteY787" fmla="*/ 3553037 h 5120141"/>
                <a:gd name="connsiteX788" fmla="*/ 1468339 w 3832826"/>
                <a:gd name="connsiteY788" fmla="*/ 3537005 h 5120141"/>
                <a:gd name="connsiteX789" fmla="*/ 1409437 w 3832826"/>
                <a:gd name="connsiteY789" fmla="*/ 3514942 h 5120141"/>
                <a:gd name="connsiteX790" fmla="*/ 1386297 w 3832826"/>
                <a:gd name="connsiteY790" fmla="*/ 3504939 h 5120141"/>
                <a:gd name="connsiteX791" fmla="*/ 1365260 w 3832826"/>
                <a:gd name="connsiteY791" fmla="*/ 3492950 h 5120141"/>
                <a:gd name="connsiteX792" fmla="*/ 1363157 w 3832826"/>
                <a:gd name="connsiteY792" fmla="*/ 3486920 h 5120141"/>
                <a:gd name="connsiteX793" fmla="*/ 1361053 w 3832826"/>
                <a:gd name="connsiteY793" fmla="*/ 3482877 h 5120141"/>
                <a:gd name="connsiteX794" fmla="*/ 1358949 w 3832826"/>
                <a:gd name="connsiteY794" fmla="*/ 3474861 h 5120141"/>
                <a:gd name="connsiteX795" fmla="*/ 1354742 w 3832826"/>
                <a:gd name="connsiteY795" fmla="*/ 3470888 h 5120141"/>
                <a:gd name="connsiteX796" fmla="*/ 1340017 w 3832826"/>
                <a:gd name="connsiteY796" fmla="*/ 3446839 h 5120141"/>
                <a:gd name="connsiteX797" fmla="*/ 1318980 w 3832826"/>
                <a:gd name="connsiteY797" fmla="*/ 3426763 h 5120141"/>
                <a:gd name="connsiteX798" fmla="*/ 1316877 w 3832826"/>
                <a:gd name="connsiteY798" fmla="*/ 3426763 h 5120141"/>
                <a:gd name="connsiteX799" fmla="*/ 1310566 w 3832826"/>
                <a:gd name="connsiteY799" fmla="*/ 3422790 h 5120141"/>
                <a:gd name="connsiteX800" fmla="*/ 1300047 w 3832826"/>
                <a:gd name="connsiteY800" fmla="*/ 3416760 h 5120141"/>
                <a:gd name="connsiteX801" fmla="*/ 1297944 w 3832826"/>
                <a:gd name="connsiteY801" fmla="*/ 3414774 h 5120141"/>
                <a:gd name="connsiteX802" fmla="*/ 1297944 w 3832826"/>
                <a:gd name="connsiteY802" fmla="*/ 3410730 h 5120141"/>
                <a:gd name="connsiteX803" fmla="*/ 1300047 w 3832826"/>
                <a:gd name="connsiteY803" fmla="*/ 3402714 h 5120141"/>
                <a:gd name="connsiteX804" fmla="*/ 1308462 w 3832826"/>
                <a:gd name="connsiteY804" fmla="*/ 3394698 h 5120141"/>
                <a:gd name="connsiteX805" fmla="*/ 1297944 w 3832826"/>
                <a:gd name="connsiteY805" fmla="*/ 3380722 h 5120141"/>
                <a:gd name="connsiteX806" fmla="*/ 1291633 w 3832826"/>
                <a:gd name="connsiteY806" fmla="*/ 3366676 h 5120141"/>
                <a:gd name="connsiteX807" fmla="*/ 1291633 w 3832826"/>
                <a:gd name="connsiteY807" fmla="*/ 3354616 h 5120141"/>
                <a:gd name="connsiteX808" fmla="*/ 1295840 w 3832826"/>
                <a:gd name="connsiteY808" fmla="*/ 3344614 h 5120141"/>
                <a:gd name="connsiteX809" fmla="*/ 1300047 w 3832826"/>
                <a:gd name="connsiteY809" fmla="*/ 3334611 h 5120141"/>
                <a:gd name="connsiteX810" fmla="*/ 1306358 w 3832826"/>
                <a:gd name="connsiteY810" fmla="*/ 3324608 h 5120141"/>
                <a:gd name="connsiteX811" fmla="*/ 1308462 w 3832826"/>
                <a:gd name="connsiteY811" fmla="*/ 3318578 h 5120141"/>
                <a:gd name="connsiteX812" fmla="*/ 1306358 w 3832826"/>
                <a:gd name="connsiteY812" fmla="*/ 3310562 h 5120141"/>
                <a:gd name="connsiteX813" fmla="*/ 1302151 w 3832826"/>
                <a:gd name="connsiteY813" fmla="*/ 3302546 h 5120141"/>
                <a:gd name="connsiteX814" fmla="*/ 1295840 w 3832826"/>
                <a:gd name="connsiteY814" fmla="*/ 3294529 h 5120141"/>
                <a:gd name="connsiteX815" fmla="*/ 1295840 w 3832826"/>
                <a:gd name="connsiteY815" fmla="*/ 3290486 h 5120141"/>
                <a:gd name="connsiteX816" fmla="*/ 1291633 w 3832826"/>
                <a:gd name="connsiteY816" fmla="*/ 3288499 h 5120141"/>
                <a:gd name="connsiteX817" fmla="*/ 1297944 w 3832826"/>
                <a:gd name="connsiteY817" fmla="*/ 3280483 h 5120141"/>
                <a:gd name="connsiteX818" fmla="*/ 1302151 w 3832826"/>
                <a:gd name="connsiteY818" fmla="*/ 3272467 h 5120141"/>
                <a:gd name="connsiteX819" fmla="*/ 1306358 w 3832826"/>
                <a:gd name="connsiteY819" fmla="*/ 3262464 h 5120141"/>
                <a:gd name="connsiteX820" fmla="*/ 1306358 w 3832826"/>
                <a:gd name="connsiteY820" fmla="*/ 3258421 h 5120141"/>
                <a:gd name="connsiteX821" fmla="*/ 1302151 w 3832826"/>
                <a:gd name="connsiteY821" fmla="*/ 3252462 h 5120141"/>
                <a:gd name="connsiteX822" fmla="*/ 1302205 w 3832826"/>
                <a:gd name="connsiteY822" fmla="*/ 3250392 h 5120141"/>
                <a:gd name="connsiteX823" fmla="*/ 1302151 w 3832826"/>
                <a:gd name="connsiteY823" fmla="*/ 3250439 h 5120141"/>
                <a:gd name="connsiteX824" fmla="*/ 1270596 w 3832826"/>
                <a:gd name="connsiteY824" fmla="*/ 3222383 h 5120141"/>
                <a:gd name="connsiteX825" fmla="*/ 1268493 w 3832826"/>
                <a:gd name="connsiteY825" fmla="*/ 3218375 h 5120141"/>
                <a:gd name="connsiteX826" fmla="*/ 1264285 w 3832826"/>
                <a:gd name="connsiteY826" fmla="*/ 3218375 h 5120141"/>
                <a:gd name="connsiteX827" fmla="*/ 1257974 w 3832826"/>
                <a:gd name="connsiteY827" fmla="*/ 3220379 h 5120141"/>
                <a:gd name="connsiteX828" fmla="*/ 1253767 w 3832826"/>
                <a:gd name="connsiteY828" fmla="*/ 3222383 h 5120141"/>
                <a:gd name="connsiteX829" fmla="*/ 1245353 w 3832826"/>
                <a:gd name="connsiteY829" fmla="*/ 3222383 h 5120141"/>
                <a:gd name="connsiteX830" fmla="*/ 1228523 w 3832826"/>
                <a:gd name="connsiteY830" fmla="*/ 3220379 h 5120141"/>
                <a:gd name="connsiteX831" fmla="*/ 1207487 w 3832826"/>
                <a:gd name="connsiteY831" fmla="*/ 3218375 h 5120141"/>
                <a:gd name="connsiteX832" fmla="*/ 1201176 w 3832826"/>
                <a:gd name="connsiteY832" fmla="*/ 3218375 h 5120141"/>
                <a:gd name="connsiteX833" fmla="*/ 1192761 w 3832826"/>
                <a:gd name="connsiteY833" fmla="*/ 3220379 h 5120141"/>
                <a:gd name="connsiteX834" fmla="*/ 1190658 w 3832826"/>
                <a:gd name="connsiteY834" fmla="*/ 3226391 h 5120141"/>
                <a:gd name="connsiteX835" fmla="*/ 1192761 w 3832826"/>
                <a:gd name="connsiteY835" fmla="*/ 3236411 h 5120141"/>
                <a:gd name="connsiteX836" fmla="*/ 1182243 w 3832826"/>
                <a:gd name="connsiteY836" fmla="*/ 3236411 h 5120141"/>
                <a:gd name="connsiteX837" fmla="*/ 1175932 w 3832826"/>
                <a:gd name="connsiteY837" fmla="*/ 3230399 h 5120141"/>
                <a:gd name="connsiteX838" fmla="*/ 1171725 w 3832826"/>
                <a:gd name="connsiteY838" fmla="*/ 3222383 h 5120141"/>
                <a:gd name="connsiteX839" fmla="*/ 1169621 w 3832826"/>
                <a:gd name="connsiteY839" fmla="*/ 3216371 h 5120141"/>
                <a:gd name="connsiteX840" fmla="*/ 1161207 w 3832826"/>
                <a:gd name="connsiteY840" fmla="*/ 3196332 h 5120141"/>
                <a:gd name="connsiteX841" fmla="*/ 1159103 w 3832826"/>
                <a:gd name="connsiteY841" fmla="*/ 3186312 h 5120141"/>
                <a:gd name="connsiteX842" fmla="*/ 1150689 w 3832826"/>
                <a:gd name="connsiteY842" fmla="*/ 3180300 h 5120141"/>
                <a:gd name="connsiteX843" fmla="*/ 1142274 w 3832826"/>
                <a:gd name="connsiteY843" fmla="*/ 3172284 h 5120141"/>
                <a:gd name="connsiteX844" fmla="*/ 1138067 w 3832826"/>
                <a:gd name="connsiteY844" fmla="*/ 3166272 h 5120141"/>
                <a:gd name="connsiteX845" fmla="*/ 1133859 w 3832826"/>
                <a:gd name="connsiteY845" fmla="*/ 3156253 h 5120141"/>
                <a:gd name="connsiteX846" fmla="*/ 1133859 w 3832826"/>
                <a:gd name="connsiteY846" fmla="*/ 3144229 h 5120141"/>
                <a:gd name="connsiteX847" fmla="*/ 1138067 w 3832826"/>
                <a:gd name="connsiteY847" fmla="*/ 3130201 h 5120141"/>
                <a:gd name="connsiteX848" fmla="*/ 1142274 w 3832826"/>
                <a:gd name="connsiteY848" fmla="*/ 3126193 h 5120141"/>
                <a:gd name="connsiteX849" fmla="*/ 1148585 w 3832826"/>
                <a:gd name="connsiteY849" fmla="*/ 3124189 h 5120141"/>
                <a:gd name="connsiteX850" fmla="*/ 1154896 w 3832826"/>
                <a:gd name="connsiteY850" fmla="*/ 3118177 h 5120141"/>
                <a:gd name="connsiteX851" fmla="*/ 1161207 w 3832826"/>
                <a:gd name="connsiteY851" fmla="*/ 3110161 h 5120141"/>
                <a:gd name="connsiteX852" fmla="*/ 1163310 w 3832826"/>
                <a:gd name="connsiteY852" fmla="*/ 3106153 h 5120141"/>
                <a:gd name="connsiteX853" fmla="*/ 1161207 w 3832826"/>
                <a:gd name="connsiteY853" fmla="*/ 3090122 h 5120141"/>
                <a:gd name="connsiteX854" fmla="*/ 1159103 w 3832826"/>
                <a:gd name="connsiteY854" fmla="*/ 3076094 h 5120141"/>
                <a:gd name="connsiteX855" fmla="*/ 1159103 w 3832826"/>
                <a:gd name="connsiteY855" fmla="*/ 3068078 h 5120141"/>
                <a:gd name="connsiteX856" fmla="*/ 1159103 w 3832826"/>
                <a:gd name="connsiteY856" fmla="*/ 3060062 h 5120141"/>
                <a:gd name="connsiteX857" fmla="*/ 1161207 w 3832826"/>
                <a:gd name="connsiteY857" fmla="*/ 3056054 h 5120141"/>
                <a:gd name="connsiteX858" fmla="*/ 1159103 w 3832826"/>
                <a:gd name="connsiteY858" fmla="*/ 3050042 h 5120141"/>
                <a:gd name="connsiteX859" fmla="*/ 1154896 w 3832826"/>
                <a:gd name="connsiteY859" fmla="*/ 3048038 h 5120141"/>
                <a:gd name="connsiteX860" fmla="*/ 1150689 w 3832826"/>
                <a:gd name="connsiteY860" fmla="*/ 3046035 h 5120141"/>
                <a:gd name="connsiteX861" fmla="*/ 1140170 w 3832826"/>
                <a:gd name="connsiteY861" fmla="*/ 3044031 h 5120141"/>
                <a:gd name="connsiteX862" fmla="*/ 1133859 w 3832826"/>
                <a:gd name="connsiteY862" fmla="*/ 3040023 h 5120141"/>
                <a:gd name="connsiteX863" fmla="*/ 1131756 w 3832826"/>
                <a:gd name="connsiteY863" fmla="*/ 3038019 h 5120141"/>
                <a:gd name="connsiteX864" fmla="*/ 1127548 w 3832826"/>
                <a:gd name="connsiteY864" fmla="*/ 3030003 h 5120141"/>
                <a:gd name="connsiteX865" fmla="*/ 1123341 w 3832826"/>
                <a:gd name="connsiteY865" fmla="*/ 3023991 h 5120141"/>
                <a:gd name="connsiteX866" fmla="*/ 1127548 w 3832826"/>
                <a:gd name="connsiteY866" fmla="*/ 3015975 h 5120141"/>
                <a:gd name="connsiteX867" fmla="*/ 1127548 w 3832826"/>
                <a:gd name="connsiteY867" fmla="*/ 3007959 h 5120141"/>
                <a:gd name="connsiteX868" fmla="*/ 1121238 w 3832826"/>
                <a:gd name="connsiteY868" fmla="*/ 2989924 h 5120141"/>
                <a:gd name="connsiteX869" fmla="*/ 1119134 w 3832826"/>
                <a:gd name="connsiteY869" fmla="*/ 2983912 h 5120141"/>
                <a:gd name="connsiteX870" fmla="*/ 1119134 w 3832826"/>
                <a:gd name="connsiteY870" fmla="*/ 2975896 h 5120141"/>
                <a:gd name="connsiteX871" fmla="*/ 1119133 w 3832826"/>
                <a:gd name="connsiteY871" fmla="*/ 2975897 h 5120141"/>
                <a:gd name="connsiteX872" fmla="*/ 1119133 w 3832826"/>
                <a:gd name="connsiteY872" fmla="*/ 2965877 h 5120141"/>
                <a:gd name="connsiteX873" fmla="*/ 1112822 w 3832826"/>
                <a:gd name="connsiteY873" fmla="*/ 2955857 h 5120141"/>
                <a:gd name="connsiteX874" fmla="*/ 1106511 w 3832826"/>
                <a:gd name="connsiteY874" fmla="*/ 2949845 h 5120141"/>
                <a:gd name="connsiteX875" fmla="*/ 1095993 w 3832826"/>
                <a:gd name="connsiteY875" fmla="*/ 2945837 h 5120141"/>
                <a:gd name="connsiteX876" fmla="*/ 1074956 w 3832826"/>
                <a:gd name="connsiteY876" fmla="*/ 2935817 h 5120141"/>
                <a:gd name="connsiteX877" fmla="*/ 1066542 w 3832826"/>
                <a:gd name="connsiteY877" fmla="*/ 2929806 h 5120141"/>
                <a:gd name="connsiteX878" fmla="*/ 1064438 w 3832826"/>
                <a:gd name="connsiteY878" fmla="*/ 2923794 h 5120141"/>
                <a:gd name="connsiteX879" fmla="*/ 1064438 w 3832826"/>
                <a:gd name="connsiteY879" fmla="*/ 2815579 h 5120141"/>
                <a:gd name="connsiteX880" fmla="*/ 1064438 w 3832826"/>
                <a:gd name="connsiteY880" fmla="*/ 2763476 h 5120141"/>
                <a:gd name="connsiteX881" fmla="*/ 1066542 w 3832826"/>
                <a:gd name="connsiteY881" fmla="*/ 2707365 h 5120141"/>
                <a:gd name="connsiteX882" fmla="*/ 1070749 w 3832826"/>
                <a:gd name="connsiteY882" fmla="*/ 2697345 h 5120141"/>
                <a:gd name="connsiteX883" fmla="*/ 1077060 w 3832826"/>
                <a:gd name="connsiteY883" fmla="*/ 2687326 h 5120141"/>
                <a:gd name="connsiteX884" fmla="*/ 1074956 w 3832826"/>
                <a:gd name="connsiteY884" fmla="*/ 2683318 h 5120141"/>
                <a:gd name="connsiteX885" fmla="*/ 1070749 w 3832826"/>
                <a:gd name="connsiteY885" fmla="*/ 2681314 h 5120141"/>
                <a:gd name="connsiteX886" fmla="*/ 1066542 w 3832826"/>
                <a:gd name="connsiteY886" fmla="*/ 2677306 h 5120141"/>
                <a:gd name="connsiteX887" fmla="*/ 1058127 w 3832826"/>
                <a:gd name="connsiteY887" fmla="*/ 2675302 h 5120141"/>
                <a:gd name="connsiteX888" fmla="*/ 1053920 w 3832826"/>
                <a:gd name="connsiteY888" fmla="*/ 2671294 h 5120141"/>
                <a:gd name="connsiteX889" fmla="*/ 1049713 w 3832826"/>
                <a:gd name="connsiteY889" fmla="*/ 2657266 h 5120141"/>
                <a:gd name="connsiteX890" fmla="*/ 1053920 w 3832826"/>
                <a:gd name="connsiteY890" fmla="*/ 2645242 h 5120141"/>
                <a:gd name="connsiteX891" fmla="*/ 1058127 w 3832826"/>
                <a:gd name="connsiteY891" fmla="*/ 2633218 h 5120141"/>
                <a:gd name="connsiteX892" fmla="*/ 1058127 w 3832826"/>
                <a:gd name="connsiteY892" fmla="*/ 2623199 h 5120141"/>
                <a:gd name="connsiteX893" fmla="*/ 1058127 w 3832826"/>
                <a:gd name="connsiteY893" fmla="*/ 2613179 h 5120141"/>
                <a:gd name="connsiteX894" fmla="*/ 1056023 w 3832826"/>
                <a:gd name="connsiteY894" fmla="*/ 2601155 h 5120141"/>
                <a:gd name="connsiteX895" fmla="*/ 1049713 w 3832826"/>
                <a:gd name="connsiteY895" fmla="*/ 2577107 h 5120141"/>
                <a:gd name="connsiteX896" fmla="*/ 1047609 w 3832826"/>
                <a:gd name="connsiteY896" fmla="*/ 2565084 h 5120141"/>
                <a:gd name="connsiteX897" fmla="*/ 1049713 w 3832826"/>
                <a:gd name="connsiteY897" fmla="*/ 2555064 h 5120141"/>
                <a:gd name="connsiteX898" fmla="*/ 1053920 w 3832826"/>
                <a:gd name="connsiteY898" fmla="*/ 2547048 h 5120141"/>
                <a:gd name="connsiteX899" fmla="*/ 1060231 w 3832826"/>
                <a:gd name="connsiteY899" fmla="*/ 2543040 h 5120141"/>
                <a:gd name="connsiteX900" fmla="*/ 1058389 w 3832826"/>
                <a:gd name="connsiteY900" fmla="*/ 2529007 h 5120141"/>
                <a:gd name="connsiteX901" fmla="*/ 1056029 w 3832826"/>
                <a:gd name="connsiteY901" fmla="*/ 2529007 h 5120141"/>
                <a:gd name="connsiteX902" fmla="*/ 1049713 w 3832826"/>
                <a:gd name="connsiteY902" fmla="*/ 2535024 h 5120141"/>
                <a:gd name="connsiteX903" fmla="*/ 1049713 w 3832826"/>
                <a:gd name="connsiteY903" fmla="*/ 2533020 h 5120141"/>
                <a:gd name="connsiteX904" fmla="*/ 1049713 w 3832826"/>
                <a:gd name="connsiteY904" fmla="*/ 2529007 h 5120141"/>
                <a:gd name="connsiteX905" fmla="*/ 904562 w 3832826"/>
                <a:gd name="connsiteY905" fmla="*/ 2529007 h 5120141"/>
                <a:gd name="connsiteX906" fmla="*/ 904562 w 3832826"/>
                <a:gd name="connsiteY906" fmla="*/ 2129394 h 5120141"/>
                <a:gd name="connsiteX907" fmla="*/ 889837 w 3832826"/>
                <a:gd name="connsiteY907" fmla="*/ 2130219 h 5120141"/>
                <a:gd name="connsiteX908" fmla="*/ 868800 w 3832826"/>
                <a:gd name="connsiteY908" fmla="*/ 2132223 h 5120141"/>
                <a:gd name="connsiteX909" fmla="*/ 841453 w 3832826"/>
                <a:gd name="connsiteY909" fmla="*/ 2130219 h 5120141"/>
                <a:gd name="connsiteX910" fmla="*/ 816209 w 3832826"/>
                <a:gd name="connsiteY910" fmla="*/ 2132223 h 5120141"/>
                <a:gd name="connsiteX911" fmla="*/ 793069 w 3832826"/>
                <a:gd name="connsiteY911" fmla="*/ 2140239 h 5120141"/>
                <a:gd name="connsiteX912" fmla="*/ 769929 w 3832826"/>
                <a:gd name="connsiteY912" fmla="*/ 2150258 h 5120141"/>
                <a:gd name="connsiteX913" fmla="*/ 748892 w 3832826"/>
                <a:gd name="connsiteY913" fmla="*/ 2162282 h 5120141"/>
                <a:gd name="connsiteX914" fmla="*/ 738374 w 3832826"/>
                <a:gd name="connsiteY914" fmla="*/ 2164286 h 5120141"/>
                <a:gd name="connsiteX915" fmla="*/ 732063 w 3832826"/>
                <a:gd name="connsiteY915" fmla="*/ 2164286 h 5120141"/>
                <a:gd name="connsiteX916" fmla="*/ 725752 w 3832826"/>
                <a:gd name="connsiteY916" fmla="*/ 2162282 h 5120141"/>
                <a:gd name="connsiteX917" fmla="*/ 704716 w 3832826"/>
                <a:gd name="connsiteY917" fmla="*/ 2152262 h 5120141"/>
                <a:gd name="connsiteX918" fmla="*/ 692094 w 3832826"/>
                <a:gd name="connsiteY918" fmla="*/ 2150258 h 5120141"/>
                <a:gd name="connsiteX919" fmla="*/ 677369 w 3832826"/>
                <a:gd name="connsiteY919" fmla="*/ 2150258 h 5120141"/>
                <a:gd name="connsiteX920" fmla="*/ 677369 w 3832826"/>
                <a:gd name="connsiteY920" fmla="*/ 2140239 h 5120141"/>
                <a:gd name="connsiteX921" fmla="*/ 675265 w 3832826"/>
                <a:gd name="connsiteY921" fmla="*/ 2128215 h 5120141"/>
                <a:gd name="connsiteX922" fmla="*/ 664747 w 3832826"/>
                <a:gd name="connsiteY922" fmla="*/ 2104167 h 5120141"/>
                <a:gd name="connsiteX923" fmla="*/ 643710 w 3832826"/>
                <a:gd name="connsiteY923" fmla="*/ 2062084 h 5120141"/>
                <a:gd name="connsiteX924" fmla="*/ 639503 w 3832826"/>
                <a:gd name="connsiteY924" fmla="*/ 2060080 h 5120141"/>
                <a:gd name="connsiteX925" fmla="*/ 633192 w 3832826"/>
                <a:gd name="connsiteY925" fmla="*/ 2056072 h 5120141"/>
                <a:gd name="connsiteX926" fmla="*/ 635296 w 3832826"/>
                <a:gd name="connsiteY926" fmla="*/ 2050060 h 5120141"/>
                <a:gd name="connsiteX927" fmla="*/ 635296 w 3832826"/>
                <a:gd name="connsiteY927" fmla="*/ 2042044 h 5120141"/>
                <a:gd name="connsiteX928" fmla="*/ 624777 w 3832826"/>
                <a:gd name="connsiteY928" fmla="*/ 2028016 h 5120141"/>
                <a:gd name="connsiteX929" fmla="*/ 612156 w 3832826"/>
                <a:gd name="connsiteY929" fmla="*/ 2009980 h 5120141"/>
                <a:gd name="connsiteX930" fmla="*/ 591119 w 3832826"/>
                <a:gd name="connsiteY930" fmla="*/ 1967897 h 5120141"/>
                <a:gd name="connsiteX931" fmla="*/ 570083 w 3832826"/>
                <a:gd name="connsiteY931" fmla="*/ 1925813 h 5120141"/>
                <a:gd name="connsiteX932" fmla="*/ 561668 w 3832826"/>
                <a:gd name="connsiteY932" fmla="*/ 1909781 h 5120141"/>
                <a:gd name="connsiteX933" fmla="*/ 555357 w 3832826"/>
                <a:gd name="connsiteY933" fmla="*/ 1897757 h 5120141"/>
                <a:gd name="connsiteX934" fmla="*/ 544839 w 3832826"/>
                <a:gd name="connsiteY934" fmla="*/ 1887738 h 5120141"/>
                <a:gd name="connsiteX935" fmla="*/ 530114 w 3832826"/>
                <a:gd name="connsiteY935" fmla="*/ 1879722 h 5120141"/>
                <a:gd name="connsiteX936" fmla="*/ 517492 w 3832826"/>
                <a:gd name="connsiteY936" fmla="*/ 1877718 h 5120141"/>
                <a:gd name="connsiteX937" fmla="*/ 502766 w 3832826"/>
                <a:gd name="connsiteY937" fmla="*/ 1877718 h 5120141"/>
                <a:gd name="connsiteX938" fmla="*/ 488041 w 3832826"/>
                <a:gd name="connsiteY938" fmla="*/ 1877718 h 5120141"/>
                <a:gd name="connsiteX939" fmla="*/ 481730 w 3832826"/>
                <a:gd name="connsiteY939" fmla="*/ 1875714 h 5120141"/>
                <a:gd name="connsiteX940" fmla="*/ 473315 w 3832826"/>
                <a:gd name="connsiteY940" fmla="*/ 1873710 h 5120141"/>
                <a:gd name="connsiteX941" fmla="*/ 473315 w 3832826"/>
                <a:gd name="connsiteY941" fmla="*/ 1857678 h 5120141"/>
                <a:gd name="connsiteX942" fmla="*/ 471212 w 3832826"/>
                <a:gd name="connsiteY942" fmla="*/ 1847658 h 5120141"/>
                <a:gd name="connsiteX943" fmla="*/ 462797 w 3832826"/>
                <a:gd name="connsiteY943" fmla="*/ 1829622 h 5120141"/>
                <a:gd name="connsiteX944" fmla="*/ 462797 w 3832826"/>
                <a:gd name="connsiteY944" fmla="*/ 1823611 h 5120141"/>
                <a:gd name="connsiteX945" fmla="*/ 467004 w 3832826"/>
                <a:gd name="connsiteY945" fmla="*/ 1817599 h 5120141"/>
                <a:gd name="connsiteX946" fmla="*/ 481730 w 3832826"/>
                <a:gd name="connsiteY946" fmla="*/ 1815595 h 5120141"/>
                <a:gd name="connsiteX947" fmla="*/ 491767 w 3832826"/>
                <a:gd name="connsiteY947" fmla="*/ 1801335 h 5120141"/>
                <a:gd name="connsiteX948" fmla="*/ 486799 w 3832826"/>
                <a:gd name="connsiteY948" fmla="*/ 1797561 h 5120141"/>
                <a:gd name="connsiteX949" fmla="*/ 476248 w 3832826"/>
                <a:gd name="connsiteY949" fmla="*/ 1787541 h 5120141"/>
                <a:gd name="connsiteX950" fmla="*/ 465697 w 3832826"/>
                <a:gd name="connsiteY950" fmla="*/ 1779525 h 5120141"/>
                <a:gd name="connsiteX951" fmla="*/ 463587 w 3832826"/>
                <a:gd name="connsiteY951" fmla="*/ 1775517 h 5120141"/>
                <a:gd name="connsiteX952" fmla="*/ 463587 w 3832826"/>
                <a:gd name="connsiteY952" fmla="*/ 1769505 h 5120141"/>
                <a:gd name="connsiteX953" fmla="*/ 463587 w 3832826"/>
                <a:gd name="connsiteY953" fmla="*/ 1757481 h 5120141"/>
                <a:gd name="connsiteX954" fmla="*/ 465697 w 3832826"/>
                <a:gd name="connsiteY954" fmla="*/ 1747461 h 5120141"/>
                <a:gd name="connsiteX955" fmla="*/ 463587 w 3832826"/>
                <a:gd name="connsiteY955" fmla="*/ 1737442 h 5120141"/>
                <a:gd name="connsiteX956" fmla="*/ 455146 w 3832826"/>
                <a:gd name="connsiteY956" fmla="*/ 1735438 h 5120141"/>
                <a:gd name="connsiteX957" fmla="*/ 438265 w 3832826"/>
                <a:gd name="connsiteY957" fmla="*/ 1729426 h 5120141"/>
                <a:gd name="connsiteX958" fmla="*/ 423494 w 3832826"/>
                <a:gd name="connsiteY958" fmla="*/ 1723414 h 5120141"/>
                <a:gd name="connsiteX959" fmla="*/ 415054 w 3832826"/>
                <a:gd name="connsiteY959" fmla="*/ 1717402 h 5120141"/>
                <a:gd name="connsiteX960" fmla="*/ 412943 w 3832826"/>
                <a:gd name="connsiteY960" fmla="*/ 1715398 h 5120141"/>
                <a:gd name="connsiteX961" fmla="*/ 406613 w 3832826"/>
                <a:gd name="connsiteY961" fmla="*/ 1699366 h 5120141"/>
                <a:gd name="connsiteX962" fmla="*/ 404503 w 3832826"/>
                <a:gd name="connsiteY962" fmla="*/ 1677323 h 5120141"/>
                <a:gd name="connsiteX963" fmla="*/ 404503 w 3832826"/>
                <a:gd name="connsiteY963" fmla="*/ 1657283 h 5120141"/>
                <a:gd name="connsiteX964" fmla="*/ 406613 w 3832826"/>
                <a:gd name="connsiteY964" fmla="*/ 1643255 h 5120141"/>
                <a:gd name="connsiteX965" fmla="*/ 410833 w 3832826"/>
                <a:gd name="connsiteY965" fmla="*/ 1637243 h 5120141"/>
                <a:gd name="connsiteX966" fmla="*/ 415054 w 3832826"/>
                <a:gd name="connsiteY966" fmla="*/ 1635239 h 5120141"/>
                <a:gd name="connsiteX967" fmla="*/ 421384 w 3832826"/>
                <a:gd name="connsiteY967" fmla="*/ 1631231 h 5120141"/>
                <a:gd name="connsiteX968" fmla="*/ 421384 w 3832826"/>
                <a:gd name="connsiteY968" fmla="*/ 1621212 h 5120141"/>
                <a:gd name="connsiteX969" fmla="*/ 417164 w 3832826"/>
                <a:gd name="connsiteY969" fmla="*/ 1613196 h 5120141"/>
                <a:gd name="connsiteX970" fmla="*/ 406613 w 3832826"/>
                <a:gd name="connsiteY970" fmla="*/ 1605180 h 5120141"/>
                <a:gd name="connsiteX971" fmla="*/ 391842 w 3832826"/>
                <a:gd name="connsiteY971" fmla="*/ 1593156 h 5120141"/>
                <a:gd name="connsiteX972" fmla="*/ 374961 w 3832826"/>
                <a:gd name="connsiteY972" fmla="*/ 1587144 h 5120141"/>
                <a:gd name="connsiteX973" fmla="*/ 355969 w 3832826"/>
                <a:gd name="connsiteY973" fmla="*/ 1585140 h 5120141"/>
                <a:gd name="connsiteX974" fmla="*/ 317987 w 3832826"/>
                <a:gd name="connsiteY974" fmla="*/ 1581132 h 5120141"/>
                <a:gd name="connsiteX975" fmla="*/ 296885 w 3832826"/>
                <a:gd name="connsiteY975" fmla="*/ 1577124 h 5120141"/>
                <a:gd name="connsiteX976" fmla="*/ 277894 w 3832826"/>
                <a:gd name="connsiteY976" fmla="*/ 1571112 h 5120141"/>
                <a:gd name="connsiteX977" fmla="*/ 263123 w 3832826"/>
                <a:gd name="connsiteY977" fmla="*/ 1561093 h 5120141"/>
                <a:gd name="connsiteX978" fmla="*/ 246242 w 3832826"/>
                <a:gd name="connsiteY978" fmla="*/ 1545061 h 5120141"/>
                <a:gd name="connsiteX979" fmla="*/ 229361 w 3832826"/>
                <a:gd name="connsiteY979" fmla="*/ 1533037 h 5120141"/>
                <a:gd name="connsiteX980" fmla="*/ 220920 w 3832826"/>
                <a:gd name="connsiteY980" fmla="*/ 1523017 h 5120141"/>
                <a:gd name="connsiteX981" fmla="*/ 212479 w 3832826"/>
                <a:gd name="connsiteY981" fmla="*/ 1515001 h 5120141"/>
                <a:gd name="connsiteX982" fmla="*/ 210369 w 3832826"/>
                <a:gd name="connsiteY982" fmla="*/ 1504982 h 5120141"/>
                <a:gd name="connsiteX983" fmla="*/ 208259 w 3832826"/>
                <a:gd name="connsiteY983" fmla="*/ 1494962 h 5120141"/>
                <a:gd name="connsiteX984" fmla="*/ 210369 w 3832826"/>
                <a:gd name="connsiteY984" fmla="*/ 1486946 h 5120141"/>
                <a:gd name="connsiteX985" fmla="*/ 218810 w 3832826"/>
                <a:gd name="connsiteY985" fmla="*/ 1476926 h 5120141"/>
                <a:gd name="connsiteX986" fmla="*/ 223030 w 3832826"/>
                <a:gd name="connsiteY986" fmla="*/ 1472918 h 5120141"/>
                <a:gd name="connsiteX987" fmla="*/ 223030 w 3832826"/>
                <a:gd name="connsiteY987" fmla="*/ 1464902 h 5120141"/>
                <a:gd name="connsiteX988" fmla="*/ 214590 w 3832826"/>
                <a:gd name="connsiteY988" fmla="*/ 1450874 h 5120141"/>
                <a:gd name="connsiteX989" fmla="*/ 212479 w 3832826"/>
                <a:gd name="connsiteY989" fmla="*/ 1444863 h 5120141"/>
                <a:gd name="connsiteX990" fmla="*/ 214590 w 3832826"/>
                <a:gd name="connsiteY990" fmla="*/ 1442859 h 5120141"/>
                <a:gd name="connsiteX991" fmla="*/ 220920 w 3832826"/>
                <a:gd name="connsiteY991" fmla="*/ 1442859 h 5120141"/>
                <a:gd name="connsiteX992" fmla="*/ 235691 w 3832826"/>
                <a:gd name="connsiteY992" fmla="*/ 1444863 h 5120141"/>
                <a:gd name="connsiteX993" fmla="*/ 242685 w 3832826"/>
                <a:gd name="connsiteY993" fmla="*/ 1444830 h 5120141"/>
                <a:gd name="connsiteX994" fmla="*/ 239592 w 3832826"/>
                <a:gd name="connsiteY994" fmla="*/ 1442715 h 5120141"/>
                <a:gd name="connsiteX995" fmla="*/ 240798 w 3832826"/>
                <a:gd name="connsiteY995" fmla="*/ 1440839 h 5120141"/>
                <a:gd name="connsiteX996" fmla="*/ 237706 w 3832826"/>
                <a:gd name="connsiteY996" fmla="*/ 1440853 h 5120141"/>
                <a:gd name="connsiteX997" fmla="*/ 241926 w 3832826"/>
                <a:gd name="connsiteY997" fmla="*/ 1378746 h 5120141"/>
                <a:gd name="connsiteX998" fmla="*/ 241926 w 3832826"/>
                <a:gd name="connsiteY998" fmla="*/ 1346677 h 5120141"/>
                <a:gd name="connsiteX999" fmla="*/ 237706 w 3832826"/>
                <a:gd name="connsiteY999" fmla="*/ 1316605 h 5120141"/>
                <a:gd name="connsiteX1000" fmla="*/ 237706 w 3832826"/>
                <a:gd name="connsiteY1000" fmla="*/ 1314609 h 5120141"/>
                <a:gd name="connsiteX1001" fmla="*/ 237706 w 3832826"/>
                <a:gd name="connsiteY1001" fmla="*/ 1300571 h 5120141"/>
                <a:gd name="connsiteX1002" fmla="*/ 237706 w 3832826"/>
                <a:gd name="connsiteY1002" fmla="*/ 1290558 h 5120141"/>
                <a:gd name="connsiteX1003" fmla="*/ 237706 w 3832826"/>
                <a:gd name="connsiteY1003" fmla="*/ 1288562 h 5120141"/>
                <a:gd name="connsiteX1004" fmla="*/ 235558 w 3832826"/>
                <a:gd name="connsiteY1004" fmla="*/ 1286533 h 5120141"/>
                <a:gd name="connsiteX1005" fmla="*/ 231412 w 3832826"/>
                <a:gd name="connsiteY1005" fmla="*/ 1284537 h 5120141"/>
                <a:gd name="connsiteX1006" fmla="*/ 223044 w 3832826"/>
                <a:gd name="connsiteY1006" fmla="*/ 1284537 h 5120141"/>
                <a:gd name="connsiteX1007" fmla="*/ 132485 w 3832826"/>
                <a:gd name="connsiteY1007" fmla="*/ 1284537 h 5120141"/>
                <a:gd name="connsiteX1008" fmla="*/ 132485 w 3832826"/>
                <a:gd name="connsiteY1008" fmla="*/ 1226421 h 5120141"/>
                <a:gd name="connsiteX1009" fmla="*/ 130486 w 3832826"/>
                <a:gd name="connsiteY1009" fmla="*/ 1194353 h 5120141"/>
                <a:gd name="connsiteX1010" fmla="*/ 128264 w 3832826"/>
                <a:gd name="connsiteY1010" fmla="*/ 1184340 h 5120141"/>
                <a:gd name="connsiteX1011" fmla="*/ 126191 w 3832826"/>
                <a:gd name="connsiteY1011" fmla="*/ 1178319 h 5120141"/>
                <a:gd name="connsiteX1012" fmla="*/ 122045 w 3832826"/>
                <a:gd name="connsiteY1012" fmla="*/ 1178319 h 5120141"/>
                <a:gd name="connsiteX1013" fmla="*/ 117750 w 3832826"/>
                <a:gd name="connsiteY1013" fmla="*/ 1176323 h 5120141"/>
                <a:gd name="connsiteX1014" fmla="*/ 117750 w 3832826"/>
                <a:gd name="connsiteY1014" fmla="*/ 1174327 h 5120141"/>
                <a:gd name="connsiteX1015" fmla="*/ 117750 w 3832826"/>
                <a:gd name="connsiteY1015" fmla="*/ 1164314 h 5120141"/>
                <a:gd name="connsiteX1016" fmla="*/ 117750 w 3832826"/>
                <a:gd name="connsiteY1016" fmla="*/ 1158293 h 5120141"/>
                <a:gd name="connsiteX1017" fmla="*/ 115751 w 3832826"/>
                <a:gd name="connsiteY1017" fmla="*/ 1154301 h 5120141"/>
                <a:gd name="connsiteX1018" fmla="*/ 111456 w 3832826"/>
                <a:gd name="connsiteY1018" fmla="*/ 1152272 h 5120141"/>
                <a:gd name="connsiteX1019" fmla="*/ 105162 w 3832826"/>
                <a:gd name="connsiteY1019" fmla="*/ 1148280 h 5120141"/>
                <a:gd name="connsiteX1020" fmla="*/ 100941 w 3832826"/>
                <a:gd name="connsiteY1020" fmla="*/ 1148280 h 5120141"/>
                <a:gd name="connsiteX1021" fmla="*/ 98868 w 3832826"/>
                <a:gd name="connsiteY1021" fmla="*/ 1144255 h 5120141"/>
                <a:gd name="connsiteX1022" fmla="*/ 98868 w 3832826"/>
                <a:gd name="connsiteY1022" fmla="*/ 1134242 h 5120141"/>
                <a:gd name="connsiteX1023" fmla="*/ 98868 w 3832826"/>
                <a:gd name="connsiteY1023" fmla="*/ 1112205 h 5120141"/>
                <a:gd name="connsiteX1024" fmla="*/ 96768 w 3832826"/>
                <a:gd name="connsiteY1024" fmla="*/ 1112205 h 5120141"/>
                <a:gd name="connsiteX1025" fmla="*/ 84146 w 3832826"/>
                <a:gd name="connsiteY1025" fmla="*/ 1076133 h 5120141"/>
                <a:gd name="connsiteX1026" fmla="*/ 82042 w 3832826"/>
                <a:gd name="connsiteY1026" fmla="*/ 1056094 h 5120141"/>
                <a:gd name="connsiteX1027" fmla="*/ 84146 w 3832826"/>
                <a:gd name="connsiteY1027" fmla="*/ 1046074 h 5120141"/>
                <a:gd name="connsiteX1028" fmla="*/ 86250 w 3832826"/>
                <a:gd name="connsiteY1028" fmla="*/ 1036054 h 5120141"/>
                <a:gd name="connsiteX1029" fmla="*/ 96768 w 3832826"/>
                <a:gd name="connsiteY1029" fmla="*/ 1018018 h 5120141"/>
                <a:gd name="connsiteX1030" fmla="*/ 103079 w 3832826"/>
                <a:gd name="connsiteY1030" fmla="*/ 1003990 h 5120141"/>
                <a:gd name="connsiteX1031" fmla="*/ 103079 w 3832826"/>
                <a:gd name="connsiteY1031" fmla="*/ 995974 h 5120141"/>
                <a:gd name="connsiteX1032" fmla="*/ 103079 w 3832826"/>
                <a:gd name="connsiteY1032" fmla="*/ 987959 h 5120141"/>
                <a:gd name="connsiteX1033" fmla="*/ 92561 w 3832826"/>
                <a:gd name="connsiteY1033" fmla="*/ 965915 h 5120141"/>
                <a:gd name="connsiteX1034" fmla="*/ 73628 w 3832826"/>
                <a:gd name="connsiteY1034" fmla="*/ 903792 h 5120141"/>
                <a:gd name="connsiteX1035" fmla="*/ 67317 w 3832826"/>
                <a:gd name="connsiteY1035" fmla="*/ 869724 h 5120141"/>
                <a:gd name="connsiteX1036" fmla="*/ 63110 w 3832826"/>
                <a:gd name="connsiteY1036" fmla="*/ 837661 h 5120141"/>
                <a:gd name="connsiteX1037" fmla="*/ 63110 w 3832826"/>
                <a:gd name="connsiteY1037" fmla="*/ 823633 h 5120141"/>
                <a:gd name="connsiteX1038" fmla="*/ 65213 w 3832826"/>
                <a:gd name="connsiteY1038" fmla="*/ 807601 h 5120141"/>
                <a:gd name="connsiteX1039" fmla="*/ 65213 w 3832826"/>
                <a:gd name="connsiteY1039" fmla="*/ 781549 h 5120141"/>
                <a:gd name="connsiteX1040" fmla="*/ 63110 w 3832826"/>
                <a:gd name="connsiteY1040" fmla="*/ 767522 h 5120141"/>
                <a:gd name="connsiteX1041" fmla="*/ 56799 w 3832826"/>
                <a:gd name="connsiteY1041" fmla="*/ 757502 h 5120141"/>
                <a:gd name="connsiteX1042" fmla="*/ 46281 w 3832826"/>
                <a:gd name="connsiteY1042" fmla="*/ 747482 h 5120141"/>
                <a:gd name="connsiteX1043" fmla="*/ 29452 w 3832826"/>
                <a:gd name="connsiteY1043" fmla="*/ 741470 h 5120141"/>
                <a:gd name="connsiteX1044" fmla="*/ 27348 w 3832826"/>
                <a:gd name="connsiteY1044" fmla="*/ 733454 h 5120141"/>
                <a:gd name="connsiteX1045" fmla="*/ 29452 w 3832826"/>
                <a:gd name="connsiteY1045" fmla="*/ 725438 h 5120141"/>
                <a:gd name="connsiteX1046" fmla="*/ 31555 w 3832826"/>
                <a:gd name="connsiteY1046" fmla="*/ 717422 h 5120141"/>
                <a:gd name="connsiteX1047" fmla="*/ 39970 w 3832826"/>
                <a:gd name="connsiteY1047" fmla="*/ 711410 h 5120141"/>
                <a:gd name="connsiteX1048" fmla="*/ 46281 w 3832826"/>
                <a:gd name="connsiteY1048" fmla="*/ 705398 h 5120141"/>
                <a:gd name="connsiteX1049" fmla="*/ 52880 w 3832826"/>
                <a:gd name="connsiteY1049" fmla="*/ 703827 h 5120141"/>
                <a:gd name="connsiteX1050" fmla="*/ 52638 w 3832826"/>
                <a:gd name="connsiteY1050" fmla="*/ 703357 h 5120141"/>
                <a:gd name="connsiteX1051" fmla="*/ 44132 w 3832826"/>
                <a:gd name="connsiteY1051" fmla="*/ 705433 h 5120141"/>
                <a:gd name="connsiteX1052" fmla="*/ 37845 w 3832826"/>
                <a:gd name="connsiteY1052" fmla="*/ 711439 h 5120141"/>
                <a:gd name="connsiteX1053" fmla="*/ 29462 w 3832826"/>
                <a:gd name="connsiteY1053" fmla="*/ 717445 h 5120141"/>
                <a:gd name="connsiteX1054" fmla="*/ 27367 w 3832826"/>
                <a:gd name="connsiteY1054" fmla="*/ 725453 h 5120141"/>
                <a:gd name="connsiteX1055" fmla="*/ 25271 w 3832826"/>
                <a:gd name="connsiteY1055" fmla="*/ 733461 h 5120141"/>
                <a:gd name="connsiteX1056" fmla="*/ 27367 w 3832826"/>
                <a:gd name="connsiteY1056" fmla="*/ 741469 h 5120141"/>
                <a:gd name="connsiteX1057" fmla="*/ 16888 w 3832826"/>
                <a:gd name="connsiteY1057" fmla="*/ 737465 h 5120141"/>
                <a:gd name="connsiteX1058" fmla="*/ 10478 w 3832826"/>
                <a:gd name="connsiteY1058" fmla="*/ 733461 h 5120141"/>
                <a:gd name="connsiteX1059" fmla="*/ 6287 w 3832826"/>
                <a:gd name="connsiteY1059" fmla="*/ 727455 h 5120141"/>
                <a:gd name="connsiteX1060" fmla="*/ 4191 w 3832826"/>
                <a:gd name="connsiteY1060" fmla="*/ 721449 h 5120141"/>
                <a:gd name="connsiteX1061" fmla="*/ 0 w 3832826"/>
                <a:gd name="connsiteY1061" fmla="*/ 713441 h 5120141"/>
                <a:gd name="connsiteX1062" fmla="*/ 4191 w 3832826"/>
                <a:gd name="connsiteY1062" fmla="*/ 705433 h 5120141"/>
                <a:gd name="connsiteX1063" fmla="*/ 8383 w 3832826"/>
                <a:gd name="connsiteY1063" fmla="*/ 691346 h 5120141"/>
                <a:gd name="connsiteX1064" fmla="*/ 16888 w 3832826"/>
                <a:gd name="connsiteY1064" fmla="*/ 673328 h 5120141"/>
                <a:gd name="connsiteX1065" fmla="*/ 27367 w 3832826"/>
                <a:gd name="connsiteY1065" fmla="*/ 657312 h 5120141"/>
                <a:gd name="connsiteX1066" fmla="*/ 44132 w 3832826"/>
                <a:gd name="connsiteY1066" fmla="*/ 637292 h 5120141"/>
                <a:gd name="connsiteX1067" fmla="*/ 50542 w 3832826"/>
                <a:gd name="connsiteY1067" fmla="*/ 631287 h 5120141"/>
                <a:gd name="connsiteX1068" fmla="*/ 52638 w 3832826"/>
                <a:gd name="connsiteY1068" fmla="*/ 625206 h 5120141"/>
                <a:gd name="connsiteX1069" fmla="*/ 52638 w 3832826"/>
                <a:gd name="connsiteY1069" fmla="*/ 623205 h 5120141"/>
                <a:gd name="connsiteX1070" fmla="*/ 63116 w 3832826"/>
                <a:gd name="connsiteY1070" fmla="*/ 621203 h 5120141"/>
                <a:gd name="connsiteX1071" fmla="*/ 75690 w 3832826"/>
                <a:gd name="connsiteY1071" fmla="*/ 617199 h 5120141"/>
                <a:gd name="connsiteX1072" fmla="*/ 86291 w 3832826"/>
                <a:gd name="connsiteY1072" fmla="*/ 611193 h 5120141"/>
                <a:gd name="connsiteX1073" fmla="*/ 100961 w 3832826"/>
                <a:gd name="connsiteY1073" fmla="*/ 599181 h 5120141"/>
                <a:gd name="connsiteX1074" fmla="*/ 107248 w 3832826"/>
                <a:gd name="connsiteY1074" fmla="*/ 595177 h 5120141"/>
                <a:gd name="connsiteX1075" fmla="*/ 113658 w 3832826"/>
                <a:gd name="connsiteY1075" fmla="*/ 595177 h 5120141"/>
                <a:gd name="connsiteX1076" fmla="*/ 117849 w 3832826"/>
                <a:gd name="connsiteY1076" fmla="*/ 599181 h 5120141"/>
                <a:gd name="connsiteX1077" fmla="*/ 136710 w 3832826"/>
                <a:gd name="connsiteY1077" fmla="*/ 579161 h 5120141"/>
                <a:gd name="connsiteX1078" fmla="*/ 147311 w 3832826"/>
                <a:gd name="connsiteY1078" fmla="*/ 569151 h 5120141"/>
                <a:gd name="connsiteX1079" fmla="*/ 153598 w 3832826"/>
                <a:gd name="connsiteY1079" fmla="*/ 559142 h 5120141"/>
                <a:gd name="connsiteX1080" fmla="*/ 157790 w 3832826"/>
                <a:gd name="connsiteY1080" fmla="*/ 551060 h 5120141"/>
                <a:gd name="connsiteX1081" fmla="*/ 164077 w 3832826"/>
                <a:gd name="connsiteY1081" fmla="*/ 549058 h 5120141"/>
                <a:gd name="connsiteX1082" fmla="*/ 176650 w 3832826"/>
                <a:gd name="connsiteY1082" fmla="*/ 543052 h 5120141"/>
                <a:gd name="connsiteX1083" fmla="*/ 185156 w 3832826"/>
                <a:gd name="connsiteY1083" fmla="*/ 541050 h 5120141"/>
                <a:gd name="connsiteX1084" fmla="*/ 189348 w 3832826"/>
                <a:gd name="connsiteY1084" fmla="*/ 539048 h 5120141"/>
                <a:gd name="connsiteX1085" fmla="*/ 195634 w 3832826"/>
                <a:gd name="connsiteY1085" fmla="*/ 533042 h 5120141"/>
                <a:gd name="connsiteX1086" fmla="*/ 197730 w 3832826"/>
                <a:gd name="connsiteY1086" fmla="*/ 525034 h 5120141"/>
                <a:gd name="connsiteX1087" fmla="*/ 201921 w 3832826"/>
                <a:gd name="connsiteY1087" fmla="*/ 521030 h 5120141"/>
                <a:gd name="connsiteX1088" fmla="*/ 212523 w 3832826"/>
                <a:gd name="connsiteY1088" fmla="*/ 511020 h 5120141"/>
                <a:gd name="connsiteX1089" fmla="*/ 233480 w 3832826"/>
                <a:gd name="connsiteY1089" fmla="*/ 495005 h 5120141"/>
                <a:gd name="connsiteX1090" fmla="*/ 250368 w 3832826"/>
                <a:gd name="connsiteY1090" fmla="*/ 491001 h 5120141"/>
                <a:gd name="connsiteX1091" fmla="*/ 260846 w 3832826"/>
                <a:gd name="connsiteY1091" fmla="*/ 488999 h 5120141"/>
                <a:gd name="connsiteX1092" fmla="*/ 260846 w 3832826"/>
                <a:gd name="connsiteY1092" fmla="*/ 484995 h 5120141"/>
                <a:gd name="connsiteX1093" fmla="*/ 260846 w 3832826"/>
                <a:gd name="connsiteY1093" fmla="*/ 480917 h 5120141"/>
                <a:gd name="connsiteX1094" fmla="*/ 252464 w 3832826"/>
                <a:gd name="connsiteY1094" fmla="*/ 462899 h 5120141"/>
                <a:gd name="connsiteX1095" fmla="*/ 233480 w 3832826"/>
                <a:gd name="connsiteY1095" fmla="*/ 428866 h 5120141"/>
                <a:gd name="connsiteX1096" fmla="*/ 229288 w 3832826"/>
                <a:gd name="connsiteY1096" fmla="*/ 414852 h 5120141"/>
                <a:gd name="connsiteX1097" fmla="*/ 227193 w 3832826"/>
                <a:gd name="connsiteY1097" fmla="*/ 404768 h 5120141"/>
                <a:gd name="connsiteX1098" fmla="*/ 227193 w 3832826"/>
                <a:gd name="connsiteY1098" fmla="*/ 398762 h 5120141"/>
                <a:gd name="connsiteX1099" fmla="*/ 229288 w 3832826"/>
                <a:gd name="connsiteY1099" fmla="*/ 396760 h 5120141"/>
                <a:gd name="connsiteX1100" fmla="*/ 231384 w 3832826"/>
                <a:gd name="connsiteY1100" fmla="*/ 396760 h 5120141"/>
                <a:gd name="connsiteX1101" fmla="*/ 239766 w 3832826"/>
                <a:gd name="connsiteY1101" fmla="*/ 392756 h 5120141"/>
                <a:gd name="connsiteX1102" fmla="*/ 241862 w 3832826"/>
                <a:gd name="connsiteY1102" fmla="*/ 390754 h 5120141"/>
                <a:gd name="connsiteX1103" fmla="*/ 244081 w 3832826"/>
                <a:gd name="connsiteY1103" fmla="*/ 388752 h 5120141"/>
                <a:gd name="connsiteX1104" fmla="*/ 244081 w 3832826"/>
                <a:gd name="connsiteY1104" fmla="*/ 382746 h 5120141"/>
                <a:gd name="connsiteX1105" fmla="*/ 244081 w 3832826"/>
                <a:gd name="connsiteY1105" fmla="*/ 372736 h 5120141"/>
                <a:gd name="connsiteX1106" fmla="*/ 244081 w 3832826"/>
                <a:gd name="connsiteY1106" fmla="*/ 362726 h 5120141"/>
                <a:gd name="connsiteX1107" fmla="*/ 250368 w 3832826"/>
                <a:gd name="connsiteY1107" fmla="*/ 356721 h 5120141"/>
                <a:gd name="connsiteX1108" fmla="*/ 252464 w 3832826"/>
                <a:gd name="connsiteY1108" fmla="*/ 350715 h 5120141"/>
                <a:gd name="connsiteX1109" fmla="*/ 262942 w 3832826"/>
                <a:gd name="connsiteY1109" fmla="*/ 342707 h 5120141"/>
                <a:gd name="connsiteX1110" fmla="*/ 273420 w 3832826"/>
                <a:gd name="connsiteY1110" fmla="*/ 338703 h 5120141"/>
                <a:gd name="connsiteX1111" fmla="*/ 284022 w 3832826"/>
                <a:gd name="connsiteY1111" fmla="*/ 328619 h 5120141"/>
                <a:gd name="connsiteX1112" fmla="*/ 290308 w 3832826"/>
                <a:gd name="connsiteY1112" fmla="*/ 318609 h 5120141"/>
                <a:gd name="connsiteX1113" fmla="*/ 292404 w 3832826"/>
                <a:gd name="connsiteY1113" fmla="*/ 302593 h 5120141"/>
                <a:gd name="connsiteX1114" fmla="*/ 300787 w 3832826"/>
                <a:gd name="connsiteY1114" fmla="*/ 278570 h 5120141"/>
                <a:gd name="connsiteX1115" fmla="*/ 311388 w 3832826"/>
                <a:gd name="connsiteY1115" fmla="*/ 250468 h 5120141"/>
                <a:gd name="connsiteX1116" fmla="*/ 315579 w 3832826"/>
                <a:gd name="connsiteY1116" fmla="*/ 236454 h 5120141"/>
                <a:gd name="connsiteX1117" fmla="*/ 317675 w 3832826"/>
                <a:gd name="connsiteY1117" fmla="*/ 222441 h 5120141"/>
                <a:gd name="connsiteX1118" fmla="*/ 321866 w 3832826"/>
                <a:gd name="connsiteY1118" fmla="*/ 200419 h 5120141"/>
                <a:gd name="connsiteX1119" fmla="*/ 326058 w 3832826"/>
                <a:gd name="connsiteY1119" fmla="*/ 188407 h 5120141"/>
                <a:gd name="connsiteX1120" fmla="*/ 332345 w 3832826"/>
                <a:gd name="connsiteY1120" fmla="*/ 178323 h 5120141"/>
                <a:gd name="connsiteX1121" fmla="*/ 342946 w 3832826"/>
                <a:gd name="connsiteY1121" fmla="*/ 168313 h 5120141"/>
                <a:gd name="connsiteX1122" fmla="*/ 355520 w 3832826"/>
                <a:gd name="connsiteY1122" fmla="*/ 158303 h 5120141"/>
                <a:gd name="connsiteX1123" fmla="*/ 365998 w 3832826"/>
                <a:gd name="connsiteY1123" fmla="*/ 150296 h 5120141"/>
                <a:gd name="connsiteX1124" fmla="*/ 372285 w 3832826"/>
                <a:gd name="connsiteY1124" fmla="*/ 140286 h 5120141"/>
                <a:gd name="connsiteX1125" fmla="*/ 376600 w 3832826"/>
                <a:gd name="connsiteY1125" fmla="*/ 136282 h 5120141"/>
                <a:gd name="connsiteX1126" fmla="*/ 378695 w 3832826"/>
                <a:gd name="connsiteY1126" fmla="*/ 128274 h 5120141"/>
                <a:gd name="connsiteX1127" fmla="*/ 378695 w 3832826"/>
                <a:gd name="connsiteY1127" fmla="*/ 110182 h 5120141"/>
                <a:gd name="connsiteX1128" fmla="*/ 378695 w 3832826"/>
                <a:gd name="connsiteY1128" fmla="*/ 96168 h 5120141"/>
                <a:gd name="connsiteX1129" fmla="*/ 380791 w 3832826"/>
                <a:gd name="connsiteY1129" fmla="*/ 88161 h 5120141"/>
                <a:gd name="connsiteX1130" fmla="*/ 382887 w 3832826"/>
                <a:gd name="connsiteY1130" fmla="*/ 86159 h 5120141"/>
                <a:gd name="connsiteX1131" fmla="*/ 393365 w 3832826"/>
                <a:gd name="connsiteY1131" fmla="*/ 80153 h 5120141"/>
                <a:gd name="connsiteX1132" fmla="*/ 408158 w 3832826"/>
                <a:gd name="connsiteY1132" fmla="*/ 78151 h 5120141"/>
                <a:gd name="connsiteX1133" fmla="*/ 420732 w 3832826"/>
                <a:gd name="connsiteY1133" fmla="*/ 76149 h 5120141"/>
                <a:gd name="connsiteX1134" fmla="*/ 424923 w 3832826"/>
                <a:gd name="connsiteY1134" fmla="*/ 74147 h 5120141"/>
                <a:gd name="connsiteX1135" fmla="*/ 431210 w 3832826"/>
                <a:gd name="connsiteY1135" fmla="*/ 68141 h 5120141"/>
                <a:gd name="connsiteX1136" fmla="*/ 435401 w 3832826"/>
                <a:gd name="connsiteY1136" fmla="*/ 54127 h 5120141"/>
                <a:gd name="connsiteX1137" fmla="*/ 435401 w 3832826"/>
                <a:gd name="connsiteY1137" fmla="*/ 44117 h 5120141"/>
                <a:gd name="connsiteX1138" fmla="*/ 435401 w 3832826"/>
                <a:gd name="connsiteY1138" fmla="*/ 34033 h 5120141"/>
                <a:gd name="connsiteX1139" fmla="*/ 431210 w 3832826"/>
                <a:gd name="connsiteY1139" fmla="*/ 28027 h 5120141"/>
                <a:gd name="connsiteX1140" fmla="*/ 420732 w 3832826"/>
                <a:gd name="connsiteY1140" fmla="*/ 16016 h 5120141"/>
                <a:gd name="connsiteX1141" fmla="*/ 401747 w 3832826"/>
                <a:gd name="connsiteY1141" fmla="*/ 0 h 5120141"/>
                <a:gd name="connsiteX0" fmla="*/ 1390471 w 3832826"/>
                <a:gd name="connsiteY0" fmla="*/ 1285217 h 5120141"/>
                <a:gd name="connsiteX1" fmla="*/ 1392579 w 3832826"/>
                <a:gd name="connsiteY1" fmla="*/ 1291180 h 5120141"/>
                <a:gd name="connsiteX2" fmla="*/ 1392579 w 3832826"/>
                <a:gd name="connsiteY2" fmla="*/ 1296597 h 5120141"/>
                <a:gd name="connsiteX3" fmla="*/ 1392608 w 3832826"/>
                <a:gd name="connsiteY3" fmla="*/ 1296570 h 5120141"/>
                <a:gd name="connsiteX4" fmla="*/ 1392608 w 3832826"/>
                <a:gd name="connsiteY4" fmla="*/ 1290558 h 5120141"/>
                <a:gd name="connsiteX5" fmla="*/ 1390739 w 3832826"/>
                <a:gd name="connsiteY5" fmla="*/ 1285217 h 5120141"/>
                <a:gd name="connsiteX6" fmla="*/ 1390471 w 3832826"/>
                <a:gd name="connsiteY6" fmla="*/ 1285217 h 5120141"/>
                <a:gd name="connsiteX7" fmla="*/ 1138708 w 3832826"/>
                <a:gd name="connsiteY7" fmla="*/ 844805 h 5120141"/>
                <a:gd name="connsiteX8" fmla="*/ 1135965 w 3832826"/>
                <a:gd name="connsiteY8" fmla="*/ 845676 h 5120141"/>
                <a:gd name="connsiteX9" fmla="*/ 1138389 w 3832826"/>
                <a:gd name="connsiteY9" fmla="*/ 850296 h 5120141"/>
                <a:gd name="connsiteX10" fmla="*/ 1142308 w 3832826"/>
                <a:gd name="connsiteY10" fmla="*/ 851593 h 5120141"/>
                <a:gd name="connsiteX11" fmla="*/ 1138708 w 3832826"/>
                <a:gd name="connsiteY11" fmla="*/ 844805 h 5120141"/>
                <a:gd name="connsiteX12" fmla="*/ 1142276 w 3832826"/>
                <a:gd name="connsiteY12" fmla="*/ 825637 h 5120141"/>
                <a:gd name="connsiteX13" fmla="*/ 1144379 w 3832826"/>
                <a:gd name="connsiteY13" fmla="*/ 833653 h 5120141"/>
                <a:gd name="connsiteX14" fmla="*/ 1144379 w 3832826"/>
                <a:gd name="connsiteY14" fmla="*/ 839665 h 5120141"/>
                <a:gd name="connsiteX15" fmla="*/ 1143167 w 3832826"/>
                <a:gd name="connsiteY15" fmla="*/ 841974 h 5120141"/>
                <a:gd name="connsiteX16" fmla="*/ 1144345 w 3832826"/>
                <a:gd name="connsiteY16" fmla="*/ 841587 h 5120141"/>
                <a:gd name="connsiteX17" fmla="*/ 1146453 w 3832826"/>
                <a:gd name="connsiteY17" fmla="*/ 837612 h 5120141"/>
                <a:gd name="connsiteX18" fmla="*/ 1146453 w 3832826"/>
                <a:gd name="connsiteY18" fmla="*/ 831649 h 5120141"/>
                <a:gd name="connsiteX19" fmla="*/ 1144873 w 3832826"/>
                <a:gd name="connsiteY19" fmla="*/ 825637 h 5120141"/>
                <a:gd name="connsiteX20" fmla="*/ 1142276 w 3832826"/>
                <a:gd name="connsiteY20" fmla="*/ 825637 h 5120141"/>
                <a:gd name="connsiteX21" fmla="*/ 401747 w 3832826"/>
                <a:gd name="connsiteY21" fmla="*/ 0 h 5120141"/>
                <a:gd name="connsiteX22" fmla="*/ 769965 w 3832826"/>
                <a:gd name="connsiteY22" fmla="*/ 0 h 5120141"/>
                <a:gd name="connsiteX23" fmla="*/ 1138058 w 3832826"/>
                <a:gd name="connsiteY23" fmla="*/ 0 h 5120141"/>
                <a:gd name="connsiteX24" fmla="*/ 1222254 w 3832826"/>
                <a:gd name="connsiteY24" fmla="*/ 0 h 5120141"/>
                <a:gd name="connsiteX25" fmla="*/ 1226445 w 3832826"/>
                <a:gd name="connsiteY25" fmla="*/ 140286 h 5120141"/>
                <a:gd name="connsiteX26" fmla="*/ 1228541 w 3832826"/>
                <a:gd name="connsiteY26" fmla="*/ 278570 h 5120141"/>
                <a:gd name="connsiteX27" fmla="*/ 1232732 w 3832826"/>
                <a:gd name="connsiteY27" fmla="*/ 414852 h 5120141"/>
                <a:gd name="connsiteX28" fmla="*/ 1228541 w 3832826"/>
                <a:gd name="connsiteY28" fmla="*/ 559142 h 5120141"/>
                <a:gd name="connsiteX29" fmla="*/ 1224350 w 3832826"/>
                <a:gd name="connsiteY29" fmla="*/ 559142 h 5120141"/>
                <a:gd name="connsiteX30" fmla="*/ 1224350 w 3832826"/>
                <a:gd name="connsiteY30" fmla="*/ 591173 h 5120141"/>
                <a:gd name="connsiteX31" fmla="*/ 1222254 w 3832826"/>
                <a:gd name="connsiteY31" fmla="*/ 591173 h 5120141"/>
                <a:gd name="connsiteX32" fmla="*/ 1194887 w 3832826"/>
                <a:gd name="connsiteY32" fmla="*/ 591173 h 5120141"/>
                <a:gd name="connsiteX33" fmla="*/ 1163329 w 3832826"/>
                <a:gd name="connsiteY33" fmla="*/ 591173 h 5120141"/>
                <a:gd name="connsiteX34" fmla="*/ 1108125 w 3832826"/>
                <a:gd name="connsiteY34" fmla="*/ 602727 h 5120141"/>
                <a:gd name="connsiteX35" fmla="*/ 1110721 w 3832826"/>
                <a:gd name="connsiteY35" fmla="*/ 605200 h 5120141"/>
                <a:gd name="connsiteX36" fmla="*/ 1119136 w 3832826"/>
                <a:gd name="connsiteY36" fmla="*/ 613216 h 5120141"/>
                <a:gd name="connsiteX37" fmla="*/ 1121239 w 3832826"/>
                <a:gd name="connsiteY37" fmla="*/ 621231 h 5120141"/>
                <a:gd name="connsiteX38" fmla="*/ 1123343 w 3832826"/>
                <a:gd name="connsiteY38" fmla="*/ 645279 h 5120141"/>
                <a:gd name="connsiteX39" fmla="*/ 1129654 w 3832826"/>
                <a:gd name="connsiteY39" fmla="*/ 657303 h 5120141"/>
                <a:gd name="connsiteX40" fmla="*/ 1140172 w 3832826"/>
                <a:gd name="connsiteY40" fmla="*/ 667323 h 5120141"/>
                <a:gd name="connsiteX41" fmla="*/ 1146483 w 3832826"/>
                <a:gd name="connsiteY41" fmla="*/ 673335 h 5120141"/>
                <a:gd name="connsiteX42" fmla="*/ 1161208 w 3832826"/>
                <a:gd name="connsiteY42" fmla="*/ 677343 h 5120141"/>
                <a:gd name="connsiteX43" fmla="*/ 1184348 w 3832826"/>
                <a:gd name="connsiteY43" fmla="*/ 683355 h 5120141"/>
                <a:gd name="connsiteX44" fmla="*/ 1194866 w 3832826"/>
                <a:gd name="connsiteY44" fmla="*/ 687363 h 5120141"/>
                <a:gd name="connsiteX45" fmla="*/ 1205385 w 3832826"/>
                <a:gd name="connsiteY45" fmla="*/ 693375 h 5120141"/>
                <a:gd name="connsiteX46" fmla="*/ 1209592 w 3832826"/>
                <a:gd name="connsiteY46" fmla="*/ 703394 h 5120141"/>
                <a:gd name="connsiteX47" fmla="*/ 1213799 w 3832826"/>
                <a:gd name="connsiteY47" fmla="*/ 715418 h 5120141"/>
                <a:gd name="connsiteX48" fmla="*/ 1199074 w 3832826"/>
                <a:gd name="connsiteY48" fmla="*/ 715418 h 5120141"/>
                <a:gd name="connsiteX49" fmla="*/ 1196970 w 3832826"/>
                <a:gd name="connsiteY49" fmla="*/ 715418 h 5120141"/>
                <a:gd name="connsiteX50" fmla="*/ 1196970 w 3832826"/>
                <a:gd name="connsiteY50" fmla="*/ 717422 h 5120141"/>
                <a:gd name="connsiteX51" fmla="*/ 1203281 w 3832826"/>
                <a:gd name="connsiteY51" fmla="*/ 725438 h 5120141"/>
                <a:gd name="connsiteX52" fmla="*/ 1205385 w 3832826"/>
                <a:gd name="connsiteY52" fmla="*/ 733454 h 5120141"/>
                <a:gd name="connsiteX53" fmla="*/ 1207488 w 3832826"/>
                <a:gd name="connsiteY53" fmla="*/ 751490 h 5120141"/>
                <a:gd name="connsiteX54" fmla="*/ 1207488 w 3832826"/>
                <a:gd name="connsiteY54" fmla="*/ 763514 h 5120141"/>
                <a:gd name="connsiteX55" fmla="*/ 1199074 w 3832826"/>
                <a:gd name="connsiteY55" fmla="*/ 773533 h 5120141"/>
                <a:gd name="connsiteX56" fmla="*/ 1188556 w 3832826"/>
                <a:gd name="connsiteY56" fmla="*/ 785557 h 5120141"/>
                <a:gd name="connsiteX57" fmla="*/ 1175934 w 3832826"/>
                <a:gd name="connsiteY57" fmla="*/ 793573 h 5120141"/>
                <a:gd name="connsiteX58" fmla="*/ 1161208 w 3832826"/>
                <a:gd name="connsiteY58" fmla="*/ 801589 h 5120141"/>
                <a:gd name="connsiteX59" fmla="*/ 1154897 w 3832826"/>
                <a:gd name="connsiteY59" fmla="*/ 803593 h 5120141"/>
                <a:gd name="connsiteX60" fmla="*/ 1150690 w 3832826"/>
                <a:gd name="connsiteY60" fmla="*/ 811609 h 5120141"/>
                <a:gd name="connsiteX61" fmla="*/ 1150690 w 3832826"/>
                <a:gd name="connsiteY61" fmla="*/ 817621 h 5120141"/>
                <a:gd name="connsiteX62" fmla="*/ 1153844 w 3832826"/>
                <a:gd name="connsiteY62" fmla="*/ 823631 h 5120141"/>
                <a:gd name="connsiteX63" fmla="*/ 1156992 w 3832826"/>
                <a:gd name="connsiteY63" fmla="*/ 823631 h 5120141"/>
                <a:gd name="connsiteX64" fmla="*/ 1165424 w 3832826"/>
                <a:gd name="connsiteY64" fmla="*/ 823631 h 5120141"/>
                <a:gd name="connsiteX65" fmla="*/ 1169639 w 3832826"/>
                <a:gd name="connsiteY65" fmla="*/ 827606 h 5120141"/>
                <a:gd name="connsiteX66" fmla="*/ 1173855 w 3832826"/>
                <a:gd name="connsiteY66" fmla="*/ 833637 h 5120141"/>
                <a:gd name="connsiteX67" fmla="*/ 1173855 w 3832826"/>
                <a:gd name="connsiteY67" fmla="*/ 841587 h 5120141"/>
                <a:gd name="connsiteX68" fmla="*/ 1173855 w 3832826"/>
                <a:gd name="connsiteY68" fmla="*/ 855568 h 5120141"/>
                <a:gd name="connsiteX69" fmla="*/ 1169639 w 3832826"/>
                <a:gd name="connsiteY69" fmla="*/ 871605 h 5120141"/>
                <a:gd name="connsiteX70" fmla="*/ 1184324 w 3832826"/>
                <a:gd name="connsiteY70" fmla="*/ 867562 h 5120141"/>
                <a:gd name="connsiteX71" fmla="*/ 1180108 w 3832826"/>
                <a:gd name="connsiteY71" fmla="*/ 877568 h 5120141"/>
                <a:gd name="connsiteX72" fmla="*/ 1188540 w 3832826"/>
                <a:gd name="connsiteY72" fmla="*/ 877568 h 5120141"/>
                <a:gd name="connsiteX73" fmla="*/ 1194863 w 3832826"/>
                <a:gd name="connsiteY73" fmla="*/ 885587 h 5120141"/>
                <a:gd name="connsiteX74" fmla="*/ 1196971 w 3832826"/>
                <a:gd name="connsiteY74" fmla="*/ 895593 h 5120141"/>
                <a:gd name="connsiteX75" fmla="*/ 1188540 w 3832826"/>
                <a:gd name="connsiteY75" fmla="*/ 895593 h 5120141"/>
                <a:gd name="connsiteX76" fmla="*/ 1190648 w 3832826"/>
                <a:gd name="connsiteY76" fmla="*/ 903543 h 5120141"/>
                <a:gd name="connsiteX77" fmla="*/ 1188540 w 3832826"/>
                <a:gd name="connsiteY77" fmla="*/ 907518 h 5120141"/>
                <a:gd name="connsiteX78" fmla="*/ 1184324 w 3832826"/>
                <a:gd name="connsiteY78" fmla="*/ 913549 h 5120141"/>
                <a:gd name="connsiteX79" fmla="*/ 1175963 w 3832826"/>
                <a:gd name="connsiteY79" fmla="*/ 917524 h 5120141"/>
                <a:gd name="connsiteX80" fmla="*/ 1169639 w 3832826"/>
                <a:gd name="connsiteY80" fmla="*/ 923555 h 5120141"/>
                <a:gd name="connsiteX81" fmla="*/ 1163316 w 3832826"/>
                <a:gd name="connsiteY81" fmla="*/ 933493 h 5120141"/>
                <a:gd name="connsiteX82" fmla="*/ 1163316 w 3832826"/>
                <a:gd name="connsiteY82" fmla="*/ 941512 h 5120141"/>
                <a:gd name="connsiteX83" fmla="*/ 1159100 w 3832826"/>
                <a:gd name="connsiteY83" fmla="*/ 947543 h 5120141"/>
                <a:gd name="connsiteX84" fmla="*/ 1167532 w 3832826"/>
                <a:gd name="connsiteY84" fmla="*/ 947543 h 5120141"/>
                <a:gd name="connsiteX85" fmla="*/ 1165424 w 3832826"/>
                <a:gd name="connsiteY85" fmla="*/ 963511 h 5120141"/>
                <a:gd name="connsiteX86" fmla="*/ 1167532 w 3832826"/>
                <a:gd name="connsiteY86" fmla="*/ 975505 h 5120141"/>
                <a:gd name="connsiteX87" fmla="*/ 1167532 w 3832826"/>
                <a:gd name="connsiteY87" fmla="*/ 991474 h 5120141"/>
                <a:gd name="connsiteX88" fmla="*/ 1167532 w 3832826"/>
                <a:gd name="connsiteY88" fmla="*/ 1007443 h 5120141"/>
                <a:gd name="connsiteX89" fmla="*/ 1169639 w 3832826"/>
                <a:gd name="connsiteY89" fmla="*/ 1011486 h 5120141"/>
                <a:gd name="connsiteX90" fmla="*/ 1173855 w 3832826"/>
                <a:gd name="connsiteY90" fmla="*/ 1015461 h 5120141"/>
                <a:gd name="connsiteX91" fmla="*/ 1169639 w 3832826"/>
                <a:gd name="connsiteY91" fmla="*/ 1021424 h 5120141"/>
                <a:gd name="connsiteX92" fmla="*/ 1167532 w 3832826"/>
                <a:gd name="connsiteY92" fmla="*/ 1021424 h 5120141"/>
                <a:gd name="connsiteX93" fmla="*/ 1163316 w 3832826"/>
                <a:gd name="connsiteY93" fmla="*/ 1021424 h 5120141"/>
                <a:gd name="connsiteX94" fmla="*/ 1159100 w 3832826"/>
                <a:gd name="connsiteY94" fmla="*/ 1027455 h 5120141"/>
                <a:gd name="connsiteX95" fmla="*/ 1163316 w 3832826"/>
                <a:gd name="connsiteY95" fmla="*/ 1033418 h 5120141"/>
                <a:gd name="connsiteX96" fmla="*/ 1167532 w 3832826"/>
                <a:gd name="connsiteY96" fmla="*/ 1037461 h 5120141"/>
                <a:gd name="connsiteX97" fmla="*/ 1169639 w 3832826"/>
                <a:gd name="connsiteY97" fmla="*/ 1047399 h 5120141"/>
                <a:gd name="connsiteX98" fmla="*/ 1173855 w 3832826"/>
                <a:gd name="connsiteY98" fmla="*/ 1059393 h 5120141"/>
                <a:gd name="connsiteX99" fmla="*/ 1186432 w 3832826"/>
                <a:gd name="connsiteY99" fmla="*/ 1057405 h 5120141"/>
                <a:gd name="connsiteX100" fmla="*/ 1184324 w 3832826"/>
                <a:gd name="connsiteY100" fmla="*/ 1065424 h 5120141"/>
                <a:gd name="connsiteX101" fmla="*/ 1194863 w 3832826"/>
                <a:gd name="connsiteY101" fmla="*/ 1063436 h 5120141"/>
                <a:gd name="connsiteX102" fmla="*/ 1201187 w 3832826"/>
                <a:gd name="connsiteY102" fmla="*/ 1065424 h 5120141"/>
                <a:gd name="connsiteX103" fmla="*/ 1205403 w 3832826"/>
                <a:gd name="connsiteY103" fmla="*/ 1073374 h 5120141"/>
                <a:gd name="connsiteX104" fmla="*/ 1205403 w 3832826"/>
                <a:gd name="connsiteY104" fmla="*/ 1083380 h 5120141"/>
                <a:gd name="connsiteX105" fmla="*/ 1209618 w 3832826"/>
                <a:gd name="connsiteY105" fmla="*/ 1083380 h 5120141"/>
                <a:gd name="connsiteX106" fmla="*/ 1209618 w 3832826"/>
                <a:gd name="connsiteY106" fmla="*/ 1095374 h 5120141"/>
                <a:gd name="connsiteX107" fmla="*/ 1220087 w 3832826"/>
                <a:gd name="connsiteY107" fmla="*/ 1097361 h 5120141"/>
                <a:gd name="connsiteX108" fmla="*/ 1226411 w 3832826"/>
                <a:gd name="connsiteY108" fmla="*/ 1103392 h 5120141"/>
                <a:gd name="connsiteX109" fmla="*/ 1232734 w 3832826"/>
                <a:gd name="connsiteY109" fmla="*/ 1115386 h 5120141"/>
                <a:gd name="connsiteX110" fmla="*/ 1241166 w 3832826"/>
                <a:gd name="connsiteY110" fmla="*/ 1113330 h 5120141"/>
                <a:gd name="connsiteX111" fmla="*/ 1247489 w 3832826"/>
                <a:gd name="connsiteY111" fmla="*/ 1119361 h 5120141"/>
                <a:gd name="connsiteX112" fmla="*/ 1249527 w 3832826"/>
                <a:gd name="connsiteY112" fmla="*/ 1127311 h 5120141"/>
                <a:gd name="connsiteX113" fmla="*/ 1262174 w 3832826"/>
                <a:gd name="connsiteY113" fmla="*/ 1137317 h 5120141"/>
                <a:gd name="connsiteX114" fmla="*/ 1274821 w 3832826"/>
                <a:gd name="connsiteY114" fmla="*/ 1147324 h 5120141"/>
                <a:gd name="connsiteX115" fmla="*/ 1291613 w 3832826"/>
                <a:gd name="connsiteY115" fmla="*/ 1159317 h 5120141"/>
                <a:gd name="connsiteX116" fmla="*/ 1293721 w 3832826"/>
                <a:gd name="connsiteY116" fmla="*/ 1165280 h 5120141"/>
                <a:gd name="connsiteX117" fmla="*/ 1295829 w 3832826"/>
                <a:gd name="connsiteY117" fmla="*/ 1173299 h 5120141"/>
                <a:gd name="connsiteX118" fmla="*/ 1306368 w 3832826"/>
                <a:gd name="connsiteY118" fmla="*/ 1173299 h 5120141"/>
                <a:gd name="connsiteX119" fmla="*/ 1312692 w 3832826"/>
                <a:gd name="connsiteY119" fmla="*/ 1177274 h 5120141"/>
                <a:gd name="connsiteX120" fmla="*/ 1314800 w 3832826"/>
                <a:gd name="connsiteY120" fmla="*/ 1185292 h 5120141"/>
                <a:gd name="connsiteX121" fmla="*/ 1312692 w 3832826"/>
                <a:gd name="connsiteY121" fmla="*/ 1195299 h 5120141"/>
                <a:gd name="connsiteX122" fmla="*/ 1321053 w 3832826"/>
                <a:gd name="connsiteY122" fmla="*/ 1193311 h 5120141"/>
                <a:gd name="connsiteX123" fmla="*/ 1323161 w 3832826"/>
                <a:gd name="connsiteY123" fmla="*/ 1195299 h 5120141"/>
                <a:gd name="connsiteX124" fmla="*/ 1325269 w 3832826"/>
                <a:gd name="connsiteY124" fmla="*/ 1199274 h 5120141"/>
                <a:gd name="connsiteX125" fmla="*/ 1325269 w 3832826"/>
                <a:gd name="connsiteY125" fmla="*/ 1205305 h 5120141"/>
                <a:gd name="connsiteX126" fmla="*/ 1337916 w 3832826"/>
                <a:gd name="connsiteY126" fmla="*/ 1205305 h 5120141"/>
                <a:gd name="connsiteX127" fmla="*/ 1337916 w 3832826"/>
                <a:gd name="connsiteY127" fmla="*/ 1217230 h 5120141"/>
                <a:gd name="connsiteX128" fmla="*/ 1344239 w 3832826"/>
                <a:gd name="connsiteY128" fmla="*/ 1215242 h 5120141"/>
                <a:gd name="connsiteX129" fmla="*/ 1344239 w 3832826"/>
                <a:gd name="connsiteY129" fmla="*/ 1219286 h 5120141"/>
                <a:gd name="connsiteX130" fmla="*/ 1346347 w 3832826"/>
                <a:gd name="connsiteY130" fmla="*/ 1219286 h 5120141"/>
                <a:gd name="connsiteX131" fmla="*/ 1352671 w 3832826"/>
                <a:gd name="connsiteY131" fmla="*/ 1223261 h 5120141"/>
                <a:gd name="connsiteX132" fmla="*/ 1352671 w 3832826"/>
                <a:gd name="connsiteY132" fmla="*/ 1227236 h 5120141"/>
                <a:gd name="connsiteX133" fmla="*/ 1358924 w 3832826"/>
                <a:gd name="connsiteY133" fmla="*/ 1227236 h 5120141"/>
                <a:gd name="connsiteX134" fmla="*/ 1365247 w 3832826"/>
                <a:gd name="connsiteY134" fmla="*/ 1235255 h 5120141"/>
                <a:gd name="connsiteX135" fmla="*/ 1365247 w 3832826"/>
                <a:gd name="connsiteY135" fmla="*/ 1241217 h 5120141"/>
                <a:gd name="connsiteX136" fmla="*/ 1365247 w 3832826"/>
                <a:gd name="connsiteY136" fmla="*/ 1251223 h 5120141"/>
                <a:gd name="connsiteX137" fmla="*/ 1369463 w 3832826"/>
                <a:gd name="connsiteY137" fmla="*/ 1249236 h 5120141"/>
                <a:gd name="connsiteX138" fmla="*/ 1375787 w 3832826"/>
                <a:gd name="connsiteY138" fmla="*/ 1251223 h 5120141"/>
                <a:gd name="connsiteX139" fmla="*/ 1377895 w 3832826"/>
                <a:gd name="connsiteY139" fmla="*/ 1255199 h 5120141"/>
                <a:gd name="connsiteX140" fmla="*/ 1377895 w 3832826"/>
                <a:gd name="connsiteY140" fmla="*/ 1259242 h 5120141"/>
                <a:gd name="connsiteX141" fmla="*/ 1396795 w 3832826"/>
                <a:gd name="connsiteY141" fmla="*/ 1257255 h 5120141"/>
                <a:gd name="connsiteX142" fmla="*/ 1398903 w 3832826"/>
                <a:gd name="connsiteY142" fmla="*/ 1275211 h 5120141"/>
                <a:gd name="connsiteX143" fmla="*/ 1407333 w 3832826"/>
                <a:gd name="connsiteY143" fmla="*/ 1271236 h 5120141"/>
                <a:gd name="connsiteX144" fmla="*/ 1407333 w 3832826"/>
                <a:gd name="connsiteY144" fmla="*/ 1270518 h 5120141"/>
                <a:gd name="connsiteX145" fmla="*/ 1453613 w 3832826"/>
                <a:gd name="connsiteY145" fmla="*/ 1244467 h 5120141"/>
                <a:gd name="connsiteX146" fmla="*/ 1459924 w 3832826"/>
                <a:gd name="connsiteY146" fmla="*/ 1274526 h 5120141"/>
                <a:gd name="connsiteX147" fmla="*/ 1459924 w 3832826"/>
                <a:gd name="connsiteY147" fmla="*/ 1290558 h 5120141"/>
                <a:gd name="connsiteX148" fmla="*/ 1455717 w 3832826"/>
                <a:gd name="connsiteY148" fmla="*/ 1304586 h 5120141"/>
                <a:gd name="connsiteX149" fmla="*/ 1453613 w 3832826"/>
                <a:gd name="connsiteY149" fmla="*/ 1308594 h 5120141"/>
                <a:gd name="connsiteX150" fmla="*/ 1449406 w 3832826"/>
                <a:gd name="connsiteY150" fmla="*/ 1310598 h 5120141"/>
                <a:gd name="connsiteX151" fmla="*/ 1440991 w 3832826"/>
                <a:gd name="connsiteY151" fmla="*/ 1316610 h 5120141"/>
                <a:gd name="connsiteX152" fmla="*/ 1434680 w 3832826"/>
                <a:gd name="connsiteY152" fmla="*/ 1318614 h 5120141"/>
                <a:gd name="connsiteX153" fmla="*/ 1432577 w 3832826"/>
                <a:gd name="connsiteY153" fmla="*/ 1320618 h 5120141"/>
                <a:gd name="connsiteX154" fmla="*/ 1430473 w 3832826"/>
                <a:gd name="connsiteY154" fmla="*/ 1326630 h 5120141"/>
                <a:gd name="connsiteX155" fmla="*/ 1430473 w 3832826"/>
                <a:gd name="connsiteY155" fmla="*/ 1334645 h 5120141"/>
                <a:gd name="connsiteX156" fmla="*/ 1434680 w 3832826"/>
                <a:gd name="connsiteY156" fmla="*/ 1338653 h 5120141"/>
                <a:gd name="connsiteX157" fmla="*/ 1440991 w 3832826"/>
                <a:gd name="connsiteY157" fmla="*/ 1350677 h 5120141"/>
                <a:gd name="connsiteX158" fmla="*/ 1443095 w 3832826"/>
                <a:gd name="connsiteY158" fmla="*/ 1366709 h 5120141"/>
                <a:gd name="connsiteX159" fmla="*/ 1443095 w 3832826"/>
                <a:gd name="connsiteY159" fmla="*/ 1380737 h 5120141"/>
                <a:gd name="connsiteX160" fmla="*/ 1445199 w 3832826"/>
                <a:gd name="connsiteY160" fmla="*/ 1436848 h 5120141"/>
                <a:gd name="connsiteX161" fmla="*/ 1422059 w 3832826"/>
                <a:gd name="connsiteY161" fmla="*/ 1436848 h 5120141"/>
                <a:gd name="connsiteX162" fmla="*/ 1403126 w 3832826"/>
                <a:gd name="connsiteY162" fmla="*/ 1438852 h 5120141"/>
                <a:gd name="connsiteX163" fmla="*/ 1392608 w 3832826"/>
                <a:gd name="connsiteY163" fmla="*/ 1440856 h 5120141"/>
                <a:gd name="connsiteX164" fmla="*/ 1382089 w 3832826"/>
                <a:gd name="connsiteY164" fmla="*/ 1444864 h 5120141"/>
                <a:gd name="connsiteX165" fmla="*/ 1375779 w 3832826"/>
                <a:gd name="connsiteY165" fmla="*/ 1448872 h 5120141"/>
                <a:gd name="connsiteX166" fmla="*/ 1367364 w 3832826"/>
                <a:gd name="connsiteY166" fmla="*/ 1456888 h 5120141"/>
                <a:gd name="connsiteX167" fmla="*/ 1358949 w 3832826"/>
                <a:gd name="connsiteY167" fmla="*/ 1462900 h 5120141"/>
                <a:gd name="connsiteX168" fmla="*/ 1354742 w 3832826"/>
                <a:gd name="connsiteY168" fmla="*/ 1472920 h 5120141"/>
                <a:gd name="connsiteX169" fmla="*/ 1348431 w 3832826"/>
                <a:gd name="connsiteY169" fmla="*/ 1480935 h 5120141"/>
                <a:gd name="connsiteX170" fmla="*/ 1344224 w 3832826"/>
                <a:gd name="connsiteY170" fmla="*/ 1482939 h 5120141"/>
                <a:gd name="connsiteX171" fmla="*/ 1342120 w 3832826"/>
                <a:gd name="connsiteY171" fmla="*/ 1482939 h 5120141"/>
                <a:gd name="connsiteX172" fmla="*/ 1333706 w 3832826"/>
                <a:gd name="connsiteY172" fmla="*/ 1480935 h 5120141"/>
                <a:gd name="connsiteX173" fmla="*/ 1327395 w 3832826"/>
                <a:gd name="connsiteY173" fmla="*/ 1482939 h 5120141"/>
                <a:gd name="connsiteX174" fmla="*/ 1325291 w 3832826"/>
                <a:gd name="connsiteY174" fmla="*/ 1488951 h 5120141"/>
                <a:gd name="connsiteX175" fmla="*/ 1323188 w 3832826"/>
                <a:gd name="connsiteY175" fmla="*/ 1492959 h 5120141"/>
                <a:gd name="connsiteX176" fmla="*/ 1321084 w 3832826"/>
                <a:gd name="connsiteY176" fmla="*/ 1506987 h 5120141"/>
                <a:gd name="connsiteX177" fmla="*/ 1316877 w 3832826"/>
                <a:gd name="connsiteY177" fmla="*/ 1512999 h 5120141"/>
                <a:gd name="connsiteX178" fmla="*/ 1310566 w 3832826"/>
                <a:gd name="connsiteY178" fmla="*/ 1521015 h 5120141"/>
                <a:gd name="connsiteX179" fmla="*/ 1304255 w 3832826"/>
                <a:gd name="connsiteY179" fmla="*/ 1523019 h 5120141"/>
                <a:gd name="connsiteX180" fmla="*/ 1293737 w 3832826"/>
                <a:gd name="connsiteY180" fmla="*/ 1529031 h 5120141"/>
                <a:gd name="connsiteX181" fmla="*/ 1281115 w 3832826"/>
                <a:gd name="connsiteY181" fmla="*/ 1529031 h 5120141"/>
                <a:gd name="connsiteX182" fmla="*/ 1279011 w 3832826"/>
                <a:gd name="connsiteY182" fmla="*/ 1531035 h 5120141"/>
                <a:gd name="connsiteX183" fmla="*/ 1274804 w 3832826"/>
                <a:gd name="connsiteY183" fmla="*/ 1537046 h 5120141"/>
                <a:gd name="connsiteX184" fmla="*/ 1272700 w 3832826"/>
                <a:gd name="connsiteY184" fmla="*/ 1547066 h 5120141"/>
                <a:gd name="connsiteX185" fmla="*/ 1270597 w 3832826"/>
                <a:gd name="connsiteY185" fmla="*/ 1559090 h 5120141"/>
                <a:gd name="connsiteX186" fmla="*/ 1264286 w 3832826"/>
                <a:gd name="connsiteY186" fmla="*/ 1569110 h 5120141"/>
                <a:gd name="connsiteX187" fmla="*/ 1262182 w 3832826"/>
                <a:gd name="connsiteY187" fmla="*/ 1569110 h 5120141"/>
                <a:gd name="connsiteX188" fmla="*/ 1262182 w 3832826"/>
                <a:gd name="connsiteY188" fmla="*/ 1573118 h 5120141"/>
                <a:gd name="connsiteX189" fmla="*/ 1260078 w 3832826"/>
                <a:gd name="connsiteY189" fmla="*/ 1579130 h 5120141"/>
                <a:gd name="connsiteX190" fmla="*/ 1260078 w 3832826"/>
                <a:gd name="connsiteY190" fmla="*/ 1599170 h 5120141"/>
                <a:gd name="connsiteX191" fmla="*/ 1260078 w 3832826"/>
                <a:gd name="connsiteY191" fmla="*/ 1633237 h 5120141"/>
                <a:gd name="connsiteX192" fmla="*/ 1260078 w 3832826"/>
                <a:gd name="connsiteY192" fmla="*/ 1679328 h 5120141"/>
                <a:gd name="connsiteX193" fmla="*/ 1258254 w 3832826"/>
                <a:gd name="connsiteY193" fmla="*/ 1717574 h 5120141"/>
                <a:gd name="connsiteX194" fmla="*/ 1279014 w 3832826"/>
                <a:gd name="connsiteY194" fmla="*/ 1732471 h 5120141"/>
                <a:gd name="connsiteX195" fmla="*/ 1302154 w 3832826"/>
                <a:gd name="connsiteY195" fmla="*/ 1736462 h 5120141"/>
                <a:gd name="connsiteX196" fmla="*/ 1312672 w 3832826"/>
                <a:gd name="connsiteY196" fmla="*/ 1736462 h 5120141"/>
                <a:gd name="connsiteX197" fmla="*/ 1323191 w 3832826"/>
                <a:gd name="connsiteY197" fmla="*/ 1734466 h 5120141"/>
                <a:gd name="connsiteX198" fmla="*/ 1337916 w 3832826"/>
                <a:gd name="connsiteY198" fmla="*/ 1732471 h 5120141"/>
                <a:gd name="connsiteX199" fmla="*/ 1350538 w 3832826"/>
                <a:gd name="connsiteY199" fmla="*/ 1726484 h 5120141"/>
                <a:gd name="connsiteX200" fmla="*/ 1354745 w 3832826"/>
                <a:gd name="connsiteY200" fmla="*/ 1726484 h 5120141"/>
                <a:gd name="connsiteX201" fmla="*/ 1365263 w 3832826"/>
                <a:gd name="connsiteY201" fmla="*/ 1730475 h 5120141"/>
                <a:gd name="connsiteX202" fmla="*/ 1394714 w 3832826"/>
                <a:gd name="connsiteY202" fmla="*/ 1742449 h 5120141"/>
                <a:gd name="connsiteX203" fmla="*/ 1407336 w 3832826"/>
                <a:gd name="connsiteY203" fmla="*/ 1744445 h 5120141"/>
                <a:gd name="connsiteX204" fmla="*/ 1419958 w 3832826"/>
                <a:gd name="connsiteY204" fmla="*/ 1746440 h 5120141"/>
                <a:gd name="connsiteX205" fmla="*/ 1426269 w 3832826"/>
                <a:gd name="connsiteY205" fmla="*/ 1744445 h 5120141"/>
                <a:gd name="connsiteX206" fmla="*/ 1430476 w 3832826"/>
                <a:gd name="connsiteY206" fmla="*/ 1742449 h 5120141"/>
                <a:gd name="connsiteX207" fmla="*/ 1430476 w 3832826"/>
                <a:gd name="connsiteY207" fmla="*/ 1740453 h 5120141"/>
                <a:gd name="connsiteX208" fmla="*/ 1434684 w 3832826"/>
                <a:gd name="connsiteY208" fmla="*/ 1734466 h 5120141"/>
                <a:gd name="connsiteX209" fmla="*/ 1434684 w 3832826"/>
                <a:gd name="connsiteY209" fmla="*/ 1726484 h 5120141"/>
                <a:gd name="connsiteX210" fmla="*/ 1436787 w 3832826"/>
                <a:gd name="connsiteY210" fmla="*/ 1722493 h 5120141"/>
                <a:gd name="connsiteX211" fmla="*/ 1445202 w 3832826"/>
                <a:gd name="connsiteY211" fmla="*/ 1712514 h 5120141"/>
                <a:gd name="connsiteX212" fmla="*/ 1455720 w 3832826"/>
                <a:gd name="connsiteY212" fmla="*/ 1704532 h 5120141"/>
                <a:gd name="connsiteX213" fmla="*/ 1462031 w 3832826"/>
                <a:gd name="connsiteY213" fmla="*/ 1694553 h 5120141"/>
                <a:gd name="connsiteX214" fmla="*/ 1462031 w 3832826"/>
                <a:gd name="connsiteY214" fmla="*/ 1684575 h 5120141"/>
                <a:gd name="connsiteX215" fmla="*/ 1466238 w 3832826"/>
                <a:gd name="connsiteY215" fmla="*/ 1676592 h 5120141"/>
                <a:gd name="connsiteX216" fmla="*/ 1472549 w 3832826"/>
                <a:gd name="connsiteY216" fmla="*/ 1666614 h 5120141"/>
                <a:gd name="connsiteX217" fmla="*/ 1483067 w 3832826"/>
                <a:gd name="connsiteY217" fmla="*/ 1652645 h 5120141"/>
                <a:gd name="connsiteX218" fmla="*/ 1497793 w 3832826"/>
                <a:gd name="connsiteY218" fmla="*/ 1638675 h 5120141"/>
                <a:gd name="connsiteX219" fmla="*/ 1510415 w 3832826"/>
                <a:gd name="connsiteY219" fmla="*/ 1624705 h 5120141"/>
                <a:gd name="connsiteX220" fmla="*/ 1525140 w 3832826"/>
                <a:gd name="connsiteY220" fmla="*/ 1612731 h 5120141"/>
                <a:gd name="connsiteX221" fmla="*/ 1577731 w 3832826"/>
                <a:gd name="connsiteY221" fmla="*/ 1580801 h 5120141"/>
                <a:gd name="connsiteX222" fmla="*/ 1605078 w 3832826"/>
                <a:gd name="connsiteY222" fmla="*/ 1560845 h 5120141"/>
                <a:gd name="connsiteX223" fmla="*/ 1628218 w 3832826"/>
                <a:gd name="connsiteY223" fmla="*/ 1540888 h 5120141"/>
                <a:gd name="connsiteX224" fmla="*/ 1645048 w 3832826"/>
                <a:gd name="connsiteY224" fmla="*/ 1524923 h 5120141"/>
                <a:gd name="connsiteX225" fmla="*/ 1661877 w 3832826"/>
                <a:gd name="connsiteY225" fmla="*/ 1514944 h 5120141"/>
                <a:gd name="connsiteX226" fmla="*/ 1678706 w 3832826"/>
                <a:gd name="connsiteY226" fmla="*/ 1508957 h 5120141"/>
                <a:gd name="connsiteX227" fmla="*/ 1695535 w 3832826"/>
                <a:gd name="connsiteY227" fmla="*/ 1502971 h 5120141"/>
                <a:gd name="connsiteX228" fmla="*/ 1714468 w 3832826"/>
                <a:gd name="connsiteY228" fmla="*/ 1500975 h 5120141"/>
                <a:gd name="connsiteX229" fmla="*/ 1735504 w 3832826"/>
                <a:gd name="connsiteY229" fmla="*/ 1500975 h 5120141"/>
                <a:gd name="connsiteX230" fmla="*/ 1777577 w 3832826"/>
                <a:gd name="connsiteY230" fmla="*/ 1500975 h 5120141"/>
                <a:gd name="connsiteX231" fmla="*/ 2158335 w 3832826"/>
                <a:gd name="connsiteY231" fmla="*/ 1500975 h 5120141"/>
                <a:gd name="connsiteX232" fmla="*/ 2158335 w 3832826"/>
                <a:gd name="connsiteY232" fmla="*/ 1514944 h 5120141"/>
                <a:gd name="connsiteX233" fmla="*/ 2158335 w 3832826"/>
                <a:gd name="connsiteY233" fmla="*/ 1572818 h 5120141"/>
                <a:gd name="connsiteX234" fmla="*/ 2160439 w 3832826"/>
                <a:gd name="connsiteY234" fmla="*/ 1594771 h 5120141"/>
                <a:gd name="connsiteX235" fmla="*/ 2158335 w 3832826"/>
                <a:gd name="connsiteY235" fmla="*/ 1624705 h 5120141"/>
                <a:gd name="connsiteX236" fmla="*/ 2158335 w 3832826"/>
                <a:gd name="connsiteY236" fmla="*/ 1634684 h 5120141"/>
                <a:gd name="connsiteX237" fmla="*/ 2158335 w 3832826"/>
                <a:gd name="connsiteY237" fmla="*/ 1648653 h 5120141"/>
                <a:gd name="connsiteX238" fmla="*/ 2158335 w 3832826"/>
                <a:gd name="connsiteY238" fmla="*/ 1666614 h 5120141"/>
                <a:gd name="connsiteX239" fmla="*/ 2158335 w 3832826"/>
                <a:gd name="connsiteY239" fmla="*/ 1700540 h 5120141"/>
                <a:gd name="connsiteX240" fmla="*/ 2149671 w 3832826"/>
                <a:gd name="connsiteY240" fmla="*/ 1700540 h 5120141"/>
                <a:gd name="connsiteX241" fmla="*/ 2149671 w 3832826"/>
                <a:gd name="connsiteY241" fmla="*/ 1701367 h 5120141"/>
                <a:gd name="connsiteX242" fmla="*/ 2158305 w 3832826"/>
                <a:gd name="connsiteY242" fmla="*/ 1701367 h 5120141"/>
                <a:gd name="connsiteX243" fmla="*/ 2158305 w 3832826"/>
                <a:gd name="connsiteY243" fmla="*/ 1723407 h 5120141"/>
                <a:gd name="connsiteX244" fmla="*/ 2158305 w 3832826"/>
                <a:gd name="connsiteY244" fmla="*/ 1755458 h 5120141"/>
                <a:gd name="connsiteX245" fmla="*/ 2234031 w 3832826"/>
                <a:gd name="connsiteY245" fmla="*/ 1815609 h 5120141"/>
                <a:gd name="connsiteX246" fmla="*/ 2231975 w 3832826"/>
                <a:gd name="connsiteY246" fmla="*/ 1817584 h 5120141"/>
                <a:gd name="connsiteX247" fmla="*/ 2231975 w 3832826"/>
                <a:gd name="connsiteY247" fmla="*/ 1823599 h 5120141"/>
                <a:gd name="connsiteX248" fmla="*/ 2234031 w 3832826"/>
                <a:gd name="connsiteY248" fmla="*/ 1833610 h 5120141"/>
                <a:gd name="connsiteX249" fmla="*/ 2240379 w 3832826"/>
                <a:gd name="connsiteY249" fmla="*/ 1843665 h 5120141"/>
                <a:gd name="connsiteX250" fmla="*/ 2244581 w 3832826"/>
                <a:gd name="connsiteY250" fmla="*/ 1853675 h 5120141"/>
                <a:gd name="connsiteX251" fmla="*/ 2244581 w 3832826"/>
                <a:gd name="connsiteY251" fmla="*/ 1857670 h 5120141"/>
                <a:gd name="connsiteX252" fmla="*/ 2242435 w 3832826"/>
                <a:gd name="connsiteY252" fmla="*/ 1863685 h 5120141"/>
                <a:gd name="connsiteX253" fmla="*/ 2238233 w 3832826"/>
                <a:gd name="connsiteY253" fmla="*/ 1873695 h 5120141"/>
                <a:gd name="connsiteX254" fmla="*/ 2229829 w 3832826"/>
                <a:gd name="connsiteY254" fmla="*/ 1883750 h 5120141"/>
                <a:gd name="connsiteX255" fmla="*/ 2223571 w 3832826"/>
                <a:gd name="connsiteY255" fmla="*/ 1889721 h 5120141"/>
                <a:gd name="connsiteX256" fmla="*/ 2213021 w 3832826"/>
                <a:gd name="connsiteY256" fmla="*/ 1905791 h 5120141"/>
                <a:gd name="connsiteX257" fmla="*/ 2200415 w 3832826"/>
                <a:gd name="connsiteY257" fmla="*/ 1919796 h 5120141"/>
                <a:gd name="connsiteX258" fmla="*/ 2170912 w 3832826"/>
                <a:gd name="connsiteY258" fmla="*/ 1945832 h 5120141"/>
                <a:gd name="connsiteX259" fmla="*/ 2139441 w 3832826"/>
                <a:gd name="connsiteY259" fmla="*/ 1969893 h 5120141"/>
                <a:gd name="connsiteX260" fmla="*/ 2107881 w 3832826"/>
                <a:gd name="connsiteY260" fmla="*/ 1995973 h 5120141"/>
                <a:gd name="connsiteX261" fmla="*/ 2095186 w 3832826"/>
                <a:gd name="connsiteY261" fmla="*/ 1997948 h 5120141"/>
                <a:gd name="connsiteX262" fmla="*/ 2082580 w 3832826"/>
                <a:gd name="connsiteY262" fmla="*/ 2003963 h 5120141"/>
                <a:gd name="connsiteX263" fmla="*/ 2074176 w 3832826"/>
                <a:gd name="connsiteY263" fmla="*/ 2009979 h 5120141"/>
                <a:gd name="connsiteX264" fmla="*/ 2069973 w 3832826"/>
                <a:gd name="connsiteY264" fmla="*/ 2018014 h 5120141"/>
                <a:gd name="connsiteX265" fmla="*/ 2055222 w 3832826"/>
                <a:gd name="connsiteY265" fmla="*/ 2034039 h 5120141"/>
                <a:gd name="connsiteX266" fmla="*/ 2048963 w 3832826"/>
                <a:gd name="connsiteY266" fmla="*/ 2044049 h 5120141"/>
                <a:gd name="connsiteX267" fmla="*/ 2038414 w 3832826"/>
                <a:gd name="connsiteY267" fmla="*/ 2050064 h 5120141"/>
                <a:gd name="connsiteX268" fmla="*/ 2017403 w 3832826"/>
                <a:gd name="connsiteY268" fmla="*/ 2066090 h 5120141"/>
                <a:gd name="connsiteX269" fmla="*/ 1998450 w 3832826"/>
                <a:gd name="connsiteY269" fmla="*/ 2080140 h 5120141"/>
                <a:gd name="connsiteX270" fmla="*/ 1962688 w 3832826"/>
                <a:gd name="connsiteY270" fmla="*/ 2110171 h 5120141"/>
                <a:gd name="connsiteX271" fmla="*/ 1952138 w 3832826"/>
                <a:gd name="connsiteY271" fmla="*/ 2116186 h 5120141"/>
                <a:gd name="connsiteX272" fmla="*/ 1937476 w 3832826"/>
                <a:gd name="connsiteY272" fmla="*/ 2120181 h 5120141"/>
                <a:gd name="connsiteX273" fmla="*/ 1914320 w 3832826"/>
                <a:gd name="connsiteY273" fmla="*/ 2122201 h 5120141"/>
                <a:gd name="connsiteX274" fmla="*/ 1891164 w 3832826"/>
                <a:gd name="connsiteY274" fmla="*/ 2122201 h 5120141"/>
                <a:gd name="connsiteX275" fmla="*/ 1880614 w 3832826"/>
                <a:gd name="connsiteY275" fmla="*/ 2126196 h 5120141"/>
                <a:gd name="connsiteX276" fmla="*/ 1870154 w 3832826"/>
                <a:gd name="connsiteY276" fmla="*/ 2130236 h 5120141"/>
                <a:gd name="connsiteX277" fmla="*/ 1859604 w 3832826"/>
                <a:gd name="connsiteY277" fmla="*/ 2136251 h 5120141"/>
                <a:gd name="connsiteX278" fmla="*/ 1842796 w 3832826"/>
                <a:gd name="connsiteY278" fmla="*/ 2138226 h 5120141"/>
                <a:gd name="connsiteX279" fmla="*/ 1817584 w 3832826"/>
                <a:gd name="connsiteY279" fmla="*/ 2142221 h 5120141"/>
                <a:gd name="connsiteX280" fmla="*/ 1786024 w 3832826"/>
                <a:gd name="connsiteY280" fmla="*/ 2146261 h 5120141"/>
                <a:gd name="connsiteX281" fmla="*/ 1756520 w 3832826"/>
                <a:gd name="connsiteY281" fmla="*/ 2150257 h 5120141"/>
                <a:gd name="connsiteX282" fmla="*/ 1743914 w 3832826"/>
                <a:gd name="connsiteY282" fmla="*/ 2150257 h 5120141"/>
                <a:gd name="connsiteX283" fmla="*/ 1733364 w 3832826"/>
                <a:gd name="connsiteY283" fmla="*/ 2150257 h 5120141"/>
                <a:gd name="connsiteX284" fmla="*/ 1706006 w 3832826"/>
                <a:gd name="connsiteY284" fmla="*/ 2142221 h 5120141"/>
                <a:gd name="connsiteX285" fmla="*/ 1680794 w 3832826"/>
                <a:gd name="connsiteY285" fmla="*/ 2136251 h 5120141"/>
                <a:gd name="connsiteX286" fmla="*/ 1655582 w 3832826"/>
                <a:gd name="connsiteY286" fmla="*/ 2126196 h 5120141"/>
                <a:gd name="connsiteX287" fmla="*/ 1630281 w 3832826"/>
                <a:gd name="connsiteY287" fmla="*/ 2116186 h 5120141"/>
                <a:gd name="connsiteX288" fmla="*/ 1607214 w 3832826"/>
                <a:gd name="connsiteY288" fmla="*/ 2110171 h 5120141"/>
                <a:gd name="connsiteX289" fmla="*/ 1594519 w 3832826"/>
                <a:gd name="connsiteY289" fmla="*/ 2110171 h 5120141"/>
                <a:gd name="connsiteX290" fmla="*/ 1584058 w 3832826"/>
                <a:gd name="connsiteY290" fmla="*/ 2112191 h 5120141"/>
                <a:gd name="connsiteX291" fmla="*/ 1573508 w 3832826"/>
                <a:gd name="connsiteY291" fmla="*/ 2116186 h 5120141"/>
                <a:gd name="connsiteX292" fmla="*/ 1560902 w 3832826"/>
                <a:gd name="connsiteY292" fmla="*/ 2120181 h 5120141"/>
                <a:gd name="connsiteX293" fmla="*/ 1544094 w 3832826"/>
                <a:gd name="connsiteY293" fmla="*/ 2128216 h 5120141"/>
                <a:gd name="connsiteX294" fmla="*/ 1529342 w 3832826"/>
                <a:gd name="connsiteY294" fmla="*/ 2136251 h 5120141"/>
                <a:gd name="connsiteX295" fmla="*/ 1499928 w 3832826"/>
                <a:gd name="connsiteY295" fmla="*/ 2140246 h 5120141"/>
                <a:gd name="connsiteX296" fmla="*/ 1497783 w 3832826"/>
                <a:gd name="connsiteY296" fmla="*/ 2140246 h 5120141"/>
                <a:gd name="connsiteX297" fmla="*/ 1483031 w 3832826"/>
                <a:gd name="connsiteY297" fmla="*/ 2140246 h 5120141"/>
                <a:gd name="connsiteX298" fmla="*/ 1468368 w 3832826"/>
                <a:gd name="connsiteY298" fmla="*/ 2140246 h 5120141"/>
                <a:gd name="connsiteX299" fmla="*/ 1451471 w 3832826"/>
                <a:gd name="connsiteY299" fmla="*/ 2142221 h 5120141"/>
                <a:gd name="connsiteX300" fmla="*/ 1447269 w 3832826"/>
                <a:gd name="connsiteY300" fmla="*/ 2146261 h 5120141"/>
                <a:gd name="connsiteX301" fmla="*/ 1440991 w 3832826"/>
                <a:gd name="connsiteY301" fmla="*/ 2149246 h 5120141"/>
                <a:gd name="connsiteX302" fmla="*/ 1440991 w 3832826"/>
                <a:gd name="connsiteY302" fmla="*/ 2319937 h 5120141"/>
                <a:gd name="connsiteX303" fmla="*/ 1445196 w 3832826"/>
                <a:gd name="connsiteY303" fmla="*/ 2330619 h 5120141"/>
                <a:gd name="connsiteX304" fmla="*/ 1449403 w 3832826"/>
                <a:gd name="connsiteY304" fmla="*/ 2344647 h 5120141"/>
                <a:gd name="connsiteX305" fmla="*/ 1462025 w 3832826"/>
                <a:gd name="connsiteY305" fmla="*/ 2378715 h 5120141"/>
                <a:gd name="connsiteX306" fmla="*/ 1480958 w 3832826"/>
                <a:gd name="connsiteY306" fmla="*/ 2438834 h 5120141"/>
                <a:gd name="connsiteX307" fmla="*/ 1493580 w 3832826"/>
                <a:gd name="connsiteY307" fmla="*/ 2468893 h 5120141"/>
                <a:gd name="connsiteX308" fmla="*/ 1499891 w 3832826"/>
                <a:gd name="connsiteY308" fmla="*/ 2480917 h 5120141"/>
                <a:gd name="connsiteX309" fmla="*/ 1508305 w 3832826"/>
                <a:gd name="connsiteY309" fmla="*/ 2492941 h 5120141"/>
                <a:gd name="connsiteX310" fmla="*/ 1508305 w 3832826"/>
                <a:gd name="connsiteY310" fmla="*/ 2523000 h 5120141"/>
                <a:gd name="connsiteX311" fmla="*/ 1508305 w 3832826"/>
                <a:gd name="connsiteY311" fmla="*/ 2555064 h 5120141"/>
                <a:gd name="connsiteX312" fmla="*/ 1508403 w 3832826"/>
                <a:gd name="connsiteY312" fmla="*/ 2557937 h 5120141"/>
                <a:gd name="connsiteX313" fmla="*/ 1508476 w 3832826"/>
                <a:gd name="connsiteY313" fmla="*/ 2558008 h 5120141"/>
                <a:gd name="connsiteX314" fmla="*/ 1508308 w 3832826"/>
                <a:gd name="connsiteY314" fmla="*/ 2520996 h 5120141"/>
                <a:gd name="connsiteX315" fmla="*/ 1508308 w 3832826"/>
                <a:gd name="connsiteY315" fmla="*/ 2490937 h 5120141"/>
                <a:gd name="connsiteX316" fmla="*/ 1703947 w 3832826"/>
                <a:gd name="connsiteY316" fmla="*/ 2693337 h 5120141"/>
                <a:gd name="connsiteX317" fmla="*/ 1800715 w 3832826"/>
                <a:gd name="connsiteY317" fmla="*/ 2777503 h 5120141"/>
                <a:gd name="connsiteX318" fmla="*/ 1821751 w 3832826"/>
                <a:gd name="connsiteY318" fmla="*/ 2793535 h 5120141"/>
                <a:gd name="connsiteX319" fmla="*/ 1846995 w 3832826"/>
                <a:gd name="connsiteY319" fmla="*/ 2807563 h 5120141"/>
                <a:gd name="connsiteX320" fmla="*/ 1868031 w 3832826"/>
                <a:gd name="connsiteY320" fmla="*/ 2827603 h 5120141"/>
                <a:gd name="connsiteX321" fmla="*/ 1874342 w 3832826"/>
                <a:gd name="connsiteY321" fmla="*/ 2837622 h 5120141"/>
                <a:gd name="connsiteX322" fmla="*/ 1882757 w 3832826"/>
                <a:gd name="connsiteY322" fmla="*/ 2847642 h 5120141"/>
                <a:gd name="connsiteX323" fmla="*/ 1882757 w 3832826"/>
                <a:gd name="connsiteY323" fmla="*/ 2857662 h 5120141"/>
                <a:gd name="connsiteX324" fmla="*/ 1871663 w 3832826"/>
                <a:gd name="connsiteY324" fmla="*/ 2862688 h 5120141"/>
                <a:gd name="connsiteX325" fmla="*/ 1920621 w 3832826"/>
                <a:gd name="connsiteY325" fmla="*/ 2925780 h 5120141"/>
                <a:gd name="connsiteX326" fmla="*/ 1937450 w 3832826"/>
                <a:gd name="connsiteY326" fmla="*/ 2955859 h 5120141"/>
                <a:gd name="connsiteX327" fmla="*/ 1956383 w 3832826"/>
                <a:gd name="connsiteY327" fmla="*/ 2987924 h 5120141"/>
                <a:gd name="connsiteX328" fmla="*/ 1964798 w 3832826"/>
                <a:gd name="connsiteY328" fmla="*/ 2997927 h 5120141"/>
                <a:gd name="connsiteX329" fmla="*/ 1969005 w 3832826"/>
                <a:gd name="connsiteY329" fmla="*/ 3009986 h 5120141"/>
                <a:gd name="connsiteX330" fmla="*/ 1977420 w 3832826"/>
                <a:gd name="connsiteY330" fmla="*/ 3038008 h 5120141"/>
                <a:gd name="connsiteX331" fmla="*/ 1985834 w 3832826"/>
                <a:gd name="connsiteY331" fmla="*/ 3066100 h 5120141"/>
                <a:gd name="connsiteX332" fmla="*/ 1994249 w 3832826"/>
                <a:gd name="connsiteY332" fmla="*/ 3078089 h 5120141"/>
                <a:gd name="connsiteX333" fmla="*/ 2004767 w 3832826"/>
                <a:gd name="connsiteY333" fmla="*/ 3090149 h 5120141"/>
                <a:gd name="connsiteX334" fmla="*/ 2008974 w 3832826"/>
                <a:gd name="connsiteY334" fmla="*/ 3100152 h 5120141"/>
                <a:gd name="connsiteX335" fmla="*/ 2017389 w 3832826"/>
                <a:gd name="connsiteY335" fmla="*/ 3110155 h 5120141"/>
                <a:gd name="connsiteX336" fmla="*/ 2023700 w 3832826"/>
                <a:gd name="connsiteY336" fmla="*/ 3136190 h 5120141"/>
                <a:gd name="connsiteX337" fmla="*/ 2032114 w 3832826"/>
                <a:gd name="connsiteY337" fmla="*/ 3158252 h 5120141"/>
                <a:gd name="connsiteX338" fmla="*/ 2040529 w 3832826"/>
                <a:gd name="connsiteY338" fmla="*/ 3168255 h 5120141"/>
                <a:gd name="connsiteX339" fmla="*/ 2048944 w 3832826"/>
                <a:gd name="connsiteY339" fmla="*/ 3174285 h 5120141"/>
                <a:gd name="connsiteX340" fmla="*/ 2059462 w 3832826"/>
                <a:gd name="connsiteY340" fmla="*/ 3180315 h 5120141"/>
                <a:gd name="connsiteX341" fmla="*/ 2069980 w 3832826"/>
                <a:gd name="connsiteY341" fmla="*/ 3180315 h 5120141"/>
                <a:gd name="connsiteX342" fmla="*/ 2082602 w 3832826"/>
                <a:gd name="connsiteY342" fmla="*/ 3182301 h 5120141"/>
                <a:gd name="connsiteX343" fmla="*/ 2095224 w 3832826"/>
                <a:gd name="connsiteY343" fmla="*/ 3184288 h 5120141"/>
                <a:gd name="connsiteX344" fmla="*/ 2105742 w 3832826"/>
                <a:gd name="connsiteY344" fmla="*/ 3190318 h 5120141"/>
                <a:gd name="connsiteX345" fmla="*/ 2114156 w 3832826"/>
                <a:gd name="connsiteY345" fmla="*/ 3198334 h 5120141"/>
                <a:gd name="connsiteX346" fmla="*/ 2122571 w 3832826"/>
                <a:gd name="connsiteY346" fmla="*/ 3204364 h 5120141"/>
                <a:gd name="connsiteX347" fmla="*/ 2132508 w 3832826"/>
                <a:gd name="connsiteY347" fmla="*/ 3211937 h 5120141"/>
                <a:gd name="connsiteX348" fmla="*/ 2133090 w 3832826"/>
                <a:gd name="connsiteY348" fmla="*/ 3211201 h 5120141"/>
                <a:gd name="connsiteX349" fmla="*/ 2210924 w 3832826"/>
                <a:gd name="connsiteY349" fmla="*/ 3145234 h 5120141"/>
                <a:gd name="connsiteX350" fmla="*/ 2286655 w 3832826"/>
                <a:gd name="connsiteY350" fmla="*/ 3071271 h 5120141"/>
                <a:gd name="connsiteX351" fmla="*/ 2316106 w 3832826"/>
                <a:gd name="connsiteY351" fmla="*/ 3045284 h 5120141"/>
                <a:gd name="connsiteX352" fmla="*/ 2332935 w 3832826"/>
                <a:gd name="connsiteY352" fmla="*/ 3035289 h 5120141"/>
                <a:gd name="connsiteX353" fmla="*/ 2343453 w 3832826"/>
                <a:gd name="connsiteY353" fmla="*/ 3031291 h 5120141"/>
                <a:gd name="connsiteX354" fmla="*/ 2349764 w 3832826"/>
                <a:gd name="connsiteY354" fmla="*/ 3029292 h 5120141"/>
                <a:gd name="connsiteX355" fmla="*/ 2381318 w 3832826"/>
                <a:gd name="connsiteY355" fmla="*/ 3031291 h 5120141"/>
                <a:gd name="connsiteX356" fmla="*/ 2398148 w 3832826"/>
                <a:gd name="connsiteY356" fmla="*/ 3029292 h 5120141"/>
                <a:gd name="connsiteX357" fmla="*/ 2402355 w 3832826"/>
                <a:gd name="connsiteY357" fmla="*/ 3029292 h 5120141"/>
                <a:gd name="connsiteX358" fmla="*/ 2404458 w 3832826"/>
                <a:gd name="connsiteY358" fmla="*/ 3027293 h 5120141"/>
                <a:gd name="connsiteX359" fmla="*/ 2404458 w 3832826"/>
                <a:gd name="connsiteY359" fmla="*/ 3007303 h 5120141"/>
                <a:gd name="connsiteX360" fmla="*/ 2408666 w 3832826"/>
                <a:gd name="connsiteY360" fmla="*/ 2997308 h 5120141"/>
                <a:gd name="connsiteX361" fmla="*/ 2410769 w 3832826"/>
                <a:gd name="connsiteY361" fmla="*/ 2995309 h 5120141"/>
                <a:gd name="connsiteX362" fmla="*/ 2414977 w 3832826"/>
                <a:gd name="connsiteY362" fmla="*/ 2991311 h 5120141"/>
                <a:gd name="connsiteX363" fmla="*/ 2423391 w 3832826"/>
                <a:gd name="connsiteY363" fmla="*/ 2991311 h 5120141"/>
                <a:gd name="connsiteX364" fmla="*/ 2425495 w 3832826"/>
                <a:gd name="connsiteY364" fmla="*/ 2987313 h 5120141"/>
                <a:gd name="connsiteX365" fmla="*/ 2429702 w 3832826"/>
                <a:gd name="connsiteY365" fmla="*/ 2985314 h 5120141"/>
                <a:gd name="connsiteX366" fmla="*/ 2429702 w 3832826"/>
                <a:gd name="connsiteY366" fmla="*/ 2979317 h 5120141"/>
                <a:gd name="connsiteX367" fmla="*/ 2429702 w 3832826"/>
                <a:gd name="connsiteY367" fmla="*/ 2977318 h 5120141"/>
                <a:gd name="connsiteX368" fmla="*/ 2431806 w 3832826"/>
                <a:gd name="connsiteY368" fmla="*/ 2971321 h 5120141"/>
                <a:gd name="connsiteX369" fmla="*/ 2433909 w 3832826"/>
                <a:gd name="connsiteY369" fmla="*/ 2969322 h 5120141"/>
                <a:gd name="connsiteX370" fmla="*/ 2442324 w 3832826"/>
                <a:gd name="connsiteY370" fmla="*/ 2967323 h 5120141"/>
                <a:gd name="connsiteX371" fmla="*/ 2452842 w 3832826"/>
                <a:gd name="connsiteY371" fmla="*/ 2967323 h 5120141"/>
                <a:gd name="connsiteX372" fmla="*/ 2454946 w 3832826"/>
                <a:gd name="connsiteY372" fmla="*/ 2965324 h 5120141"/>
                <a:gd name="connsiteX373" fmla="*/ 2457049 w 3832826"/>
                <a:gd name="connsiteY373" fmla="*/ 2961326 h 5120141"/>
                <a:gd name="connsiteX374" fmla="*/ 2457049 w 3832826"/>
                <a:gd name="connsiteY374" fmla="*/ 2941336 h 5120141"/>
                <a:gd name="connsiteX375" fmla="*/ 2461257 w 3832826"/>
                <a:gd name="connsiteY375" fmla="*/ 2927343 h 5120141"/>
                <a:gd name="connsiteX376" fmla="*/ 2463360 w 3832826"/>
                <a:gd name="connsiteY376" fmla="*/ 2917348 h 5120141"/>
                <a:gd name="connsiteX377" fmla="*/ 2467567 w 3832826"/>
                <a:gd name="connsiteY377" fmla="*/ 2907353 h 5120141"/>
                <a:gd name="connsiteX378" fmla="*/ 2473878 w 3832826"/>
                <a:gd name="connsiteY378" fmla="*/ 2899357 h 5120141"/>
                <a:gd name="connsiteX379" fmla="*/ 2488604 w 3832826"/>
                <a:gd name="connsiteY379" fmla="*/ 2885364 h 5120141"/>
                <a:gd name="connsiteX380" fmla="*/ 2509640 w 3832826"/>
                <a:gd name="connsiteY380" fmla="*/ 2865374 h 5120141"/>
                <a:gd name="connsiteX381" fmla="*/ 2646376 w 3832826"/>
                <a:gd name="connsiteY381" fmla="*/ 2743436 h 5120141"/>
                <a:gd name="connsiteX382" fmla="*/ 2650584 w 3832826"/>
                <a:gd name="connsiteY382" fmla="*/ 2755430 h 5120141"/>
                <a:gd name="connsiteX383" fmla="*/ 2654791 w 3832826"/>
                <a:gd name="connsiteY383" fmla="*/ 2765425 h 5120141"/>
                <a:gd name="connsiteX384" fmla="*/ 2663205 w 3832826"/>
                <a:gd name="connsiteY384" fmla="*/ 2773421 h 5120141"/>
                <a:gd name="connsiteX385" fmla="*/ 2671620 w 3832826"/>
                <a:gd name="connsiteY385" fmla="*/ 2773421 h 5120141"/>
                <a:gd name="connsiteX386" fmla="*/ 2675827 w 3832826"/>
                <a:gd name="connsiteY386" fmla="*/ 2775420 h 5120141"/>
                <a:gd name="connsiteX387" fmla="*/ 2688449 w 3832826"/>
                <a:gd name="connsiteY387" fmla="*/ 2779418 h 5120141"/>
                <a:gd name="connsiteX388" fmla="*/ 2696863 w 3832826"/>
                <a:gd name="connsiteY388" fmla="*/ 2785415 h 5120141"/>
                <a:gd name="connsiteX389" fmla="*/ 2701071 w 3832826"/>
                <a:gd name="connsiteY389" fmla="*/ 2787414 h 5120141"/>
                <a:gd name="connsiteX390" fmla="*/ 2709485 w 3832826"/>
                <a:gd name="connsiteY390" fmla="*/ 2785415 h 5120141"/>
                <a:gd name="connsiteX391" fmla="*/ 2715796 w 3832826"/>
                <a:gd name="connsiteY391" fmla="*/ 2779418 h 5120141"/>
                <a:gd name="connsiteX392" fmla="*/ 2722107 w 3832826"/>
                <a:gd name="connsiteY392" fmla="*/ 2775420 h 5120141"/>
                <a:gd name="connsiteX393" fmla="*/ 2728418 w 3832826"/>
                <a:gd name="connsiteY393" fmla="*/ 2773421 h 5120141"/>
                <a:gd name="connsiteX394" fmla="*/ 2747351 w 3832826"/>
                <a:gd name="connsiteY394" fmla="*/ 2769423 h 5120141"/>
                <a:gd name="connsiteX395" fmla="*/ 2764180 w 3832826"/>
                <a:gd name="connsiteY395" fmla="*/ 2773421 h 5120141"/>
                <a:gd name="connsiteX396" fmla="*/ 2783112 w 3832826"/>
                <a:gd name="connsiteY396" fmla="*/ 2779418 h 5120141"/>
                <a:gd name="connsiteX397" fmla="*/ 2795734 w 3832826"/>
                <a:gd name="connsiteY397" fmla="*/ 2793411 h 5120141"/>
                <a:gd name="connsiteX398" fmla="*/ 2799942 w 3832826"/>
                <a:gd name="connsiteY398" fmla="*/ 2793411 h 5120141"/>
                <a:gd name="connsiteX399" fmla="*/ 2804149 w 3832826"/>
                <a:gd name="connsiteY399" fmla="*/ 2805405 h 5120141"/>
                <a:gd name="connsiteX400" fmla="*/ 2812563 w 3832826"/>
                <a:gd name="connsiteY400" fmla="*/ 2817399 h 5120141"/>
                <a:gd name="connsiteX401" fmla="*/ 2825185 w 3832826"/>
                <a:gd name="connsiteY401" fmla="*/ 2845384 h 5120141"/>
                <a:gd name="connsiteX402" fmla="*/ 2835703 w 3832826"/>
                <a:gd name="connsiteY402" fmla="*/ 2873370 h 5120141"/>
                <a:gd name="connsiteX403" fmla="*/ 2842014 w 3832826"/>
                <a:gd name="connsiteY403" fmla="*/ 2885364 h 5120141"/>
                <a:gd name="connsiteX404" fmla="*/ 2847737 w 3832826"/>
                <a:gd name="connsiteY404" fmla="*/ 2896240 h 5120141"/>
                <a:gd name="connsiteX405" fmla="*/ 2848292 w 3832826"/>
                <a:gd name="connsiteY405" fmla="*/ 2895738 h 5120141"/>
                <a:gd name="connsiteX406" fmla="*/ 2873502 w 3832826"/>
                <a:gd name="connsiteY406" fmla="*/ 2911778 h 5120141"/>
                <a:gd name="connsiteX407" fmla="*/ 2898892 w 3832826"/>
                <a:gd name="connsiteY407" fmla="*/ 2921802 h 5120141"/>
                <a:gd name="connsiteX408" fmla="*/ 2921942 w 3832826"/>
                <a:gd name="connsiteY408" fmla="*/ 2935837 h 5120141"/>
                <a:gd name="connsiteX409" fmla="*/ 2932386 w 3832826"/>
                <a:gd name="connsiteY409" fmla="*/ 2943857 h 5120141"/>
                <a:gd name="connsiteX410" fmla="*/ 2943010 w 3832826"/>
                <a:gd name="connsiteY410" fmla="*/ 2953882 h 5120141"/>
                <a:gd name="connsiteX411" fmla="*/ 2957776 w 3832826"/>
                <a:gd name="connsiteY411" fmla="*/ 2965912 h 5120141"/>
                <a:gd name="connsiteX412" fmla="*/ 2964078 w 3832826"/>
                <a:gd name="connsiteY412" fmla="*/ 2973932 h 5120141"/>
                <a:gd name="connsiteX413" fmla="*/ 2970381 w 3832826"/>
                <a:gd name="connsiteY413" fmla="*/ 2977942 h 5120141"/>
                <a:gd name="connsiteX414" fmla="*/ 2985147 w 3832826"/>
                <a:gd name="connsiteY414" fmla="*/ 2979947 h 5120141"/>
                <a:gd name="connsiteX415" fmla="*/ 2995591 w 3832826"/>
                <a:gd name="connsiteY415" fmla="*/ 2979947 h 5120141"/>
                <a:gd name="connsiteX416" fmla="*/ 3006035 w 3832826"/>
                <a:gd name="connsiteY416" fmla="*/ 2983957 h 5120141"/>
                <a:gd name="connsiteX417" fmla="*/ 3018640 w 3832826"/>
                <a:gd name="connsiteY417" fmla="*/ 2993981 h 5120141"/>
                <a:gd name="connsiteX418" fmla="*/ 3024942 w 3832826"/>
                <a:gd name="connsiteY418" fmla="*/ 2999996 h 5120141"/>
                <a:gd name="connsiteX419" fmla="*/ 3027103 w 3832826"/>
                <a:gd name="connsiteY419" fmla="*/ 3006011 h 5120141"/>
                <a:gd name="connsiteX420" fmla="*/ 3027103 w 3832826"/>
                <a:gd name="connsiteY420" fmla="*/ 3008016 h 5120141"/>
                <a:gd name="connsiteX421" fmla="*/ 3024942 w 3832826"/>
                <a:gd name="connsiteY421" fmla="*/ 3014031 h 5120141"/>
                <a:gd name="connsiteX422" fmla="*/ 3018640 w 3832826"/>
                <a:gd name="connsiteY422" fmla="*/ 3020046 h 5120141"/>
                <a:gd name="connsiteX423" fmla="*/ 3014498 w 3832826"/>
                <a:gd name="connsiteY423" fmla="*/ 3029937 h 5120141"/>
                <a:gd name="connsiteX424" fmla="*/ 3014498 w 3832826"/>
                <a:gd name="connsiteY424" fmla="*/ 3043972 h 5120141"/>
                <a:gd name="connsiteX425" fmla="*/ 3014498 w 3832826"/>
                <a:gd name="connsiteY425" fmla="*/ 3049987 h 5120141"/>
                <a:gd name="connsiteX426" fmla="*/ 3024942 w 3832826"/>
                <a:gd name="connsiteY426" fmla="*/ 3074047 h 5120141"/>
                <a:gd name="connsiteX427" fmla="*/ 3024942 w 3832826"/>
                <a:gd name="connsiteY427" fmla="*/ 3084071 h 5120141"/>
                <a:gd name="connsiteX428" fmla="*/ 3022962 w 3832826"/>
                <a:gd name="connsiteY428" fmla="*/ 3088081 h 5120141"/>
                <a:gd name="connsiteX429" fmla="*/ 3022962 w 3832826"/>
                <a:gd name="connsiteY429" fmla="*/ 3090086 h 5120141"/>
                <a:gd name="connsiteX430" fmla="*/ 3024942 w 3832826"/>
                <a:gd name="connsiteY430" fmla="*/ 3094096 h 5120141"/>
                <a:gd name="connsiteX431" fmla="*/ 3033406 w 3832826"/>
                <a:gd name="connsiteY431" fmla="*/ 3100111 h 5120141"/>
                <a:gd name="connsiteX432" fmla="*/ 3046011 w 3832826"/>
                <a:gd name="connsiteY432" fmla="*/ 3106126 h 5120141"/>
                <a:gd name="connsiteX433" fmla="*/ 3056635 w 3832826"/>
                <a:gd name="connsiteY433" fmla="*/ 3108131 h 5120141"/>
                <a:gd name="connsiteX434" fmla="*/ 3064918 w 3832826"/>
                <a:gd name="connsiteY434" fmla="*/ 3110136 h 5120141"/>
                <a:gd name="connsiteX435" fmla="*/ 3075542 w 3832826"/>
                <a:gd name="connsiteY435" fmla="*/ 3118156 h 5120141"/>
                <a:gd name="connsiteX436" fmla="*/ 3088147 w 3832826"/>
                <a:gd name="connsiteY436" fmla="*/ 3138206 h 5120141"/>
                <a:gd name="connsiteX437" fmla="*/ 3096611 w 3832826"/>
                <a:gd name="connsiteY437" fmla="*/ 3152240 h 5120141"/>
                <a:gd name="connsiteX438" fmla="*/ 3096611 w 3832826"/>
                <a:gd name="connsiteY438" fmla="*/ 3162265 h 5120141"/>
                <a:gd name="connsiteX439" fmla="*/ 3096611 w 3832826"/>
                <a:gd name="connsiteY439" fmla="*/ 3166275 h 5120141"/>
                <a:gd name="connsiteX440" fmla="*/ 3090308 w 3832826"/>
                <a:gd name="connsiteY440" fmla="*/ 3168280 h 5120141"/>
                <a:gd name="connsiteX441" fmla="*/ 3088147 w 3832826"/>
                <a:gd name="connsiteY441" fmla="*/ 3168280 h 5120141"/>
                <a:gd name="connsiteX442" fmla="*/ 3085987 w 3832826"/>
                <a:gd name="connsiteY442" fmla="*/ 3170285 h 5120141"/>
                <a:gd name="connsiteX443" fmla="*/ 3085987 w 3832826"/>
                <a:gd name="connsiteY443" fmla="*/ 3178305 h 5120141"/>
                <a:gd name="connsiteX444" fmla="*/ 3088147 w 3832826"/>
                <a:gd name="connsiteY444" fmla="*/ 3182315 h 5120141"/>
                <a:gd name="connsiteX445" fmla="*/ 3090308 w 3832826"/>
                <a:gd name="connsiteY445" fmla="*/ 3186325 h 5120141"/>
                <a:gd name="connsiteX446" fmla="*/ 3092289 w 3832826"/>
                <a:gd name="connsiteY446" fmla="*/ 3190335 h 5120141"/>
                <a:gd name="connsiteX447" fmla="*/ 3098592 w 3832826"/>
                <a:gd name="connsiteY447" fmla="*/ 3208380 h 5120141"/>
                <a:gd name="connsiteX448" fmla="*/ 3102913 w 3832826"/>
                <a:gd name="connsiteY448" fmla="*/ 3222415 h 5120141"/>
                <a:gd name="connsiteX449" fmla="*/ 3107055 w 3832826"/>
                <a:gd name="connsiteY449" fmla="*/ 3238454 h 5120141"/>
                <a:gd name="connsiteX450" fmla="*/ 3109216 w 3832826"/>
                <a:gd name="connsiteY450" fmla="*/ 3246474 h 5120141"/>
                <a:gd name="connsiteX451" fmla="*/ 3113357 w 3832826"/>
                <a:gd name="connsiteY451" fmla="*/ 3248479 h 5120141"/>
                <a:gd name="connsiteX452" fmla="*/ 3130284 w 3832826"/>
                <a:gd name="connsiteY452" fmla="*/ 3252489 h 5120141"/>
                <a:gd name="connsiteX453" fmla="*/ 3159636 w 3832826"/>
                <a:gd name="connsiteY453" fmla="*/ 3266524 h 5120141"/>
                <a:gd name="connsiteX454" fmla="*/ 3187007 w 3832826"/>
                <a:gd name="connsiteY454" fmla="*/ 3278554 h 5120141"/>
                <a:gd name="connsiteX455" fmla="*/ 3214377 w 3832826"/>
                <a:gd name="connsiteY455" fmla="*/ 3296598 h 5120141"/>
                <a:gd name="connsiteX456" fmla="*/ 3243729 w 3832826"/>
                <a:gd name="connsiteY456" fmla="*/ 3308495 h 5120141"/>
                <a:gd name="connsiteX457" fmla="*/ 3250032 w 3832826"/>
                <a:gd name="connsiteY457" fmla="*/ 3312505 h 5120141"/>
                <a:gd name="connsiteX458" fmla="*/ 3260656 w 3832826"/>
                <a:gd name="connsiteY458" fmla="*/ 3326539 h 5120141"/>
                <a:gd name="connsiteX459" fmla="*/ 3269119 w 3832826"/>
                <a:gd name="connsiteY459" fmla="*/ 3338569 h 5120141"/>
                <a:gd name="connsiteX460" fmla="*/ 3275422 w 3832826"/>
                <a:gd name="connsiteY460" fmla="*/ 3352604 h 5120141"/>
                <a:gd name="connsiteX461" fmla="*/ 3285866 w 3832826"/>
                <a:gd name="connsiteY461" fmla="*/ 3384684 h 5120141"/>
                <a:gd name="connsiteX462" fmla="*/ 3292168 w 3832826"/>
                <a:gd name="connsiteY462" fmla="*/ 3410748 h 5120141"/>
                <a:gd name="connsiteX463" fmla="*/ 3300632 w 3832826"/>
                <a:gd name="connsiteY463" fmla="*/ 3434808 h 5120141"/>
                <a:gd name="connsiteX464" fmla="*/ 3309095 w 3832826"/>
                <a:gd name="connsiteY464" fmla="*/ 3458868 h 5120141"/>
                <a:gd name="connsiteX465" fmla="*/ 3311076 w 3832826"/>
                <a:gd name="connsiteY465" fmla="*/ 3468892 h 5120141"/>
                <a:gd name="connsiteX466" fmla="*/ 3313237 w 3832826"/>
                <a:gd name="connsiteY466" fmla="*/ 3474907 h 5120141"/>
                <a:gd name="connsiteX467" fmla="*/ 3313237 w 3832826"/>
                <a:gd name="connsiteY467" fmla="*/ 3478917 h 5120141"/>
                <a:gd name="connsiteX468" fmla="*/ 3309095 w 3832826"/>
                <a:gd name="connsiteY468" fmla="*/ 3482927 h 5120141"/>
                <a:gd name="connsiteX469" fmla="*/ 3302793 w 3832826"/>
                <a:gd name="connsiteY469" fmla="*/ 3488942 h 5120141"/>
                <a:gd name="connsiteX470" fmla="*/ 3296310 w 3832826"/>
                <a:gd name="connsiteY470" fmla="*/ 3490947 h 5120141"/>
                <a:gd name="connsiteX471" fmla="*/ 3296310 w 3832826"/>
                <a:gd name="connsiteY471" fmla="*/ 3498967 h 5120141"/>
                <a:gd name="connsiteX472" fmla="*/ 3296310 w 3832826"/>
                <a:gd name="connsiteY472" fmla="*/ 3508992 h 5120141"/>
                <a:gd name="connsiteX473" fmla="*/ 3300632 w 3832826"/>
                <a:gd name="connsiteY473" fmla="*/ 3531047 h 5120141"/>
                <a:gd name="connsiteX474" fmla="*/ 3309095 w 3832826"/>
                <a:gd name="connsiteY474" fmla="*/ 3553101 h 5120141"/>
                <a:gd name="connsiteX475" fmla="*/ 3313237 w 3832826"/>
                <a:gd name="connsiteY475" fmla="*/ 3563126 h 5120141"/>
                <a:gd name="connsiteX476" fmla="*/ 3319539 w 3832826"/>
                <a:gd name="connsiteY476" fmla="*/ 3567002 h 5120141"/>
                <a:gd name="connsiteX477" fmla="*/ 3317645 w 3832826"/>
                <a:gd name="connsiteY477" fmla="*/ 3567042 h 5120141"/>
                <a:gd name="connsiteX478" fmla="*/ 3330079 w 3832826"/>
                <a:gd name="connsiteY478" fmla="*/ 3577062 h 5120141"/>
                <a:gd name="connsiteX479" fmla="*/ 3334316 w 3832826"/>
                <a:gd name="connsiteY479" fmla="*/ 3585058 h 5120141"/>
                <a:gd name="connsiteX480" fmla="*/ 3334316 w 3832826"/>
                <a:gd name="connsiteY480" fmla="*/ 3593054 h 5120141"/>
                <a:gd name="connsiteX481" fmla="*/ 3334316 w 3832826"/>
                <a:gd name="connsiteY481" fmla="*/ 3603030 h 5120141"/>
                <a:gd name="connsiteX482" fmla="*/ 3332198 w 3832826"/>
                <a:gd name="connsiteY482" fmla="*/ 3607066 h 5120141"/>
                <a:gd name="connsiteX483" fmla="*/ 3323724 w 3832826"/>
                <a:gd name="connsiteY483" fmla="*/ 3609046 h 5120141"/>
                <a:gd name="connsiteX484" fmla="*/ 3319599 w 3832826"/>
                <a:gd name="connsiteY484" fmla="*/ 3613006 h 5120141"/>
                <a:gd name="connsiteX485" fmla="*/ 3319599 w 3832826"/>
                <a:gd name="connsiteY485" fmla="*/ 3617042 h 5120141"/>
                <a:gd name="connsiteX486" fmla="*/ 3319599 w 3832826"/>
                <a:gd name="connsiteY486" fmla="*/ 3619021 h 5120141"/>
                <a:gd name="connsiteX487" fmla="*/ 3323724 w 3832826"/>
                <a:gd name="connsiteY487" fmla="*/ 3625037 h 5120141"/>
                <a:gd name="connsiteX488" fmla="*/ 3330079 w 3832826"/>
                <a:gd name="connsiteY488" fmla="*/ 3627017 h 5120141"/>
                <a:gd name="connsiteX489" fmla="*/ 3332198 w 3832826"/>
                <a:gd name="connsiteY489" fmla="*/ 3628997 h 5120141"/>
                <a:gd name="connsiteX490" fmla="*/ 3340560 w 3832826"/>
                <a:gd name="connsiteY490" fmla="*/ 3644989 h 5120141"/>
                <a:gd name="connsiteX491" fmla="*/ 3351151 w 3832826"/>
                <a:gd name="connsiteY491" fmla="*/ 3657021 h 5120141"/>
                <a:gd name="connsiteX492" fmla="*/ 3372112 w 3832826"/>
                <a:gd name="connsiteY492" fmla="*/ 3684968 h 5120141"/>
                <a:gd name="connsiteX493" fmla="*/ 3372112 w 3832826"/>
                <a:gd name="connsiteY493" fmla="*/ 3687024 h 5120141"/>
                <a:gd name="connsiteX494" fmla="*/ 3372112 w 3832826"/>
                <a:gd name="connsiteY494" fmla="*/ 3689004 h 5120141"/>
                <a:gd name="connsiteX495" fmla="*/ 3367875 w 3832826"/>
                <a:gd name="connsiteY495" fmla="*/ 3695020 h 5120141"/>
                <a:gd name="connsiteX496" fmla="*/ 3363750 w 3832826"/>
                <a:gd name="connsiteY496" fmla="*/ 3703016 h 5120141"/>
                <a:gd name="connsiteX497" fmla="*/ 3363750 w 3832826"/>
                <a:gd name="connsiteY497" fmla="*/ 3704996 h 5120141"/>
                <a:gd name="connsiteX498" fmla="*/ 3363750 w 3832826"/>
                <a:gd name="connsiteY498" fmla="*/ 3706976 h 5120141"/>
                <a:gd name="connsiteX499" fmla="*/ 3367875 w 3832826"/>
                <a:gd name="connsiteY499" fmla="*/ 3716951 h 5120141"/>
                <a:gd name="connsiteX500" fmla="*/ 3374230 w 3832826"/>
                <a:gd name="connsiteY500" fmla="*/ 3722967 h 5120141"/>
                <a:gd name="connsiteX501" fmla="*/ 3382704 w 3832826"/>
                <a:gd name="connsiteY501" fmla="*/ 3728983 h 5120141"/>
                <a:gd name="connsiteX502" fmla="*/ 3388948 w 3832826"/>
                <a:gd name="connsiteY502" fmla="*/ 3734923 h 5120141"/>
                <a:gd name="connsiteX503" fmla="*/ 3395303 w 3832826"/>
                <a:gd name="connsiteY503" fmla="*/ 3746955 h 5120141"/>
                <a:gd name="connsiteX504" fmla="*/ 3397421 w 3832826"/>
                <a:gd name="connsiteY504" fmla="*/ 3756931 h 5120141"/>
                <a:gd name="connsiteX505" fmla="*/ 3397421 w 3832826"/>
                <a:gd name="connsiteY505" fmla="*/ 3766907 h 5120141"/>
                <a:gd name="connsiteX506" fmla="*/ 3399428 w 3832826"/>
                <a:gd name="connsiteY506" fmla="*/ 3778939 h 5120141"/>
                <a:gd name="connsiteX507" fmla="*/ 3407901 w 3832826"/>
                <a:gd name="connsiteY507" fmla="*/ 3798890 h 5120141"/>
                <a:gd name="connsiteX508" fmla="*/ 3416263 w 3832826"/>
                <a:gd name="connsiteY508" fmla="*/ 3808942 h 5120141"/>
                <a:gd name="connsiteX509" fmla="*/ 3424737 w 3832826"/>
                <a:gd name="connsiteY509" fmla="*/ 3816938 h 5120141"/>
                <a:gd name="connsiteX510" fmla="*/ 3431092 w 3832826"/>
                <a:gd name="connsiteY510" fmla="*/ 3820898 h 5120141"/>
                <a:gd name="connsiteX511" fmla="*/ 3437335 w 3832826"/>
                <a:gd name="connsiteY511" fmla="*/ 3820898 h 5120141"/>
                <a:gd name="connsiteX512" fmla="*/ 3449934 w 3832826"/>
                <a:gd name="connsiteY512" fmla="*/ 3820898 h 5120141"/>
                <a:gd name="connsiteX513" fmla="*/ 3456289 w 3832826"/>
                <a:gd name="connsiteY513" fmla="*/ 3824934 h 5120141"/>
                <a:gd name="connsiteX514" fmla="*/ 3460526 w 3832826"/>
                <a:gd name="connsiteY514" fmla="*/ 3826914 h 5120141"/>
                <a:gd name="connsiteX515" fmla="*/ 3466770 w 3832826"/>
                <a:gd name="connsiteY515" fmla="*/ 3830874 h 5120141"/>
                <a:gd name="connsiteX516" fmla="*/ 3468888 w 3832826"/>
                <a:gd name="connsiteY516" fmla="*/ 3840925 h 5120141"/>
                <a:gd name="connsiteX517" fmla="*/ 3466770 w 3832826"/>
                <a:gd name="connsiteY517" fmla="*/ 3840925 h 5120141"/>
                <a:gd name="connsiteX518" fmla="*/ 3462644 w 3832826"/>
                <a:gd name="connsiteY518" fmla="*/ 3844885 h 5120141"/>
                <a:gd name="connsiteX519" fmla="*/ 3458408 w 3832826"/>
                <a:gd name="connsiteY519" fmla="*/ 3846865 h 5120141"/>
                <a:gd name="connsiteX520" fmla="*/ 3456289 w 3832826"/>
                <a:gd name="connsiteY520" fmla="*/ 3848921 h 5120141"/>
                <a:gd name="connsiteX521" fmla="*/ 3458408 w 3832826"/>
                <a:gd name="connsiteY521" fmla="*/ 3854861 h 5120141"/>
                <a:gd name="connsiteX522" fmla="*/ 3462644 w 3832826"/>
                <a:gd name="connsiteY522" fmla="*/ 3856917 h 5120141"/>
                <a:gd name="connsiteX523" fmla="*/ 3468888 w 3832826"/>
                <a:gd name="connsiteY523" fmla="*/ 3860877 h 5120141"/>
                <a:gd name="connsiteX524" fmla="*/ 3481487 w 3832826"/>
                <a:gd name="connsiteY524" fmla="*/ 3874889 h 5120141"/>
                <a:gd name="connsiteX525" fmla="*/ 3487842 w 3832826"/>
                <a:gd name="connsiteY525" fmla="*/ 3880828 h 5120141"/>
                <a:gd name="connsiteX526" fmla="*/ 3489960 w 3832826"/>
                <a:gd name="connsiteY526" fmla="*/ 3888824 h 5120141"/>
                <a:gd name="connsiteX527" fmla="*/ 3489960 w 3832826"/>
                <a:gd name="connsiteY527" fmla="*/ 3898876 h 5120141"/>
                <a:gd name="connsiteX528" fmla="*/ 3483605 w 3832826"/>
                <a:gd name="connsiteY528" fmla="*/ 3910832 h 5120141"/>
                <a:gd name="connsiteX529" fmla="*/ 3477361 w 3832826"/>
                <a:gd name="connsiteY529" fmla="*/ 3924844 h 5120141"/>
                <a:gd name="connsiteX530" fmla="*/ 3477361 w 3832826"/>
                <a:gd name="connsiteY530" fmla="*/ 3934819 h 5120141"/>
                <a:gd name="connsiteX531" fmla="*/ 3477361 w 3832826"/>
                <a:gd name="connsiteY531" fmla="*/ 3946851 h 5120141"/>
                <a:gd name="connsiteX532" fmla="*/ 3481487 w 3832826"/>
                <a:gd name="connsiteY532" fmla="*/ 3960787 h 5120141"/>
                <a:gd name="connsiteX533" fmla="*/ 3492078 w 3832826"/>
                <a:gd name="connsiteY533" fmla="*/ 3988810 h 5120141"/>
                <a:gd name="connsiteX534" fmla="*/ 3498322 w 3832826"/>
                <a:gd name="connsiteY534" fmla="*/ 3998786 h 5120141"/>
                <a:gd name="connsiteX535" fmla="*/ 3502559 w 3832826"/>
                <a:gd name="connsiteY535" fmla="*/ 4006782 h 5120141"/>
                <a:gd name="connsiteX536" fmla="*/ 3513039 w 3832826"/>
                <a:gd name="connsiteY536" fmla="*/ 4012798 h 5120141"/>
                <a:gd name="connsiteX537" fmla="*/ 3521513 w 3832826"/>
                <a:gd name="connsiteY537" fmla="*/ 4022774 h 5120141"/>
                <a:gd name="connsiteX538" fmla="*/ 3523631 w 3832826"/>
                <a:gd name="connsiteY538" fmla="*/ 4028790 h 5120141"/>
                <a:gd name="connsiteX539" fmla="*/ 3523631 w 3832826"/>
                <a:gd name="connsiteY539" fmla="*/ 4036785 h 5120141"/>
                <a:gd name="connsiteX540" fmla="*/ 3523631 w 3832826"/>
                <a:gd name="connsiteY540" fmla="*/ 4048741 h 5120141"/>
                <a:gd name="connsiteX541" fmla="*/ 3521513 w 3832826"/>
                <a:gd name="connsiteY541" fmla="*/ 4066713 h 5120141"/>
                <a:gd name="connsiteX542" fmla="*/ 3521513 w 3832826"/>
                <a:gd name="connsiteY542" fmla="*/ 4078744 h 5120141"/>
                <a:gd name="connsiteX543" fmla="*/ 3525749 w 3832826"/>
                <a:gd name="connsiteY543" fmla="*/ 4100752 h 5120141"/>
                <a:gd name="connsiteX544" fmla="*/ 3540466 w 3832826"/>
                <a:gd name="connsiteY544" fmla="*/ 4136695 h 5120141"/>
                <a:gd name="connsiteX545" fmla="*/ 3557302 w 3832826"/>
                <a:gd name="connsiteY545" fmla="*/ 4182690 h 5120141"/>
                <a:gd name="connsiteX546" fmla="*/ 3555183 w 3832826"/>
                <a:gd name="connsiteY546" fmla="*/ 4186650 h 5120141"/>
                <a:gd name="connsiteX547" fmla="*/ 3557302 w 3832826"/>
                <a:gd name="connsiteY547" fmla="*/ 4192666 h 5120141"/>
                <a:gd name="connsiteX548" fmla="*/ 3567782 w 3832826"/>
                <a:gd name="connsiteY548" fmla="*/ 4214674 h 5120141"/>
                <a:gd name="connsiteX549" fmla="*/ 3578262 w 3832826"/>
                <a:gd name="connsiteY549" fmla="*/ 4240641 h 5120141"/>
                <a:gd name="connsiteX550" fmla="*/ 3582499 w 3832826"/>
                <a:gd name="connsiteY550" fmla="*/ 4250617 h 5120141"/>
                <a:gd name="connsiteX551" fmla="*/ 3582499 w 3832826"/>
                <a:gd name="connsiteY551" fmla="*/ 4260593 h 5120141"/>
                <a:gd name="connsiteX552" fmla="*/ 3578262 w 3832826"/>
                <a:gd name="connsiteY552" fmla="*/ 4260593 h 5120141"/>
                <a:gd name="connsiteX553" fmla="*/ 3576144 w 3832826"/>
                <a:gd name="connsiteY553" fmla="*/ 4264629 h 5120141"/>
                <a:gd name="connsiteX554" fmla="*/ 3572019 w 3832826"/>
                <a:gd name="connsiteY554" fmla="*/ 4270645 h 5120141"/>
                <a:gd name="connsiteX555" fmla="*/ 3565664 w 3832826"/>
                <a:gd name="connsiteY555" fmla="*/ 4272624 h 5120141"/>
                <a:gd name="connsiteX556" fmla="*/ 3563545 w 3832826"/>
                <a:gd name="connsiteY556" fmla="*/ 4278640 h 5120141"/>
                <a:gd name="connsiteX557" fmla="*/ 3561427 w 3832826"/>
                <a:gd name="connsiteY557" fmla="*/ 4288616 h 5120141"/>
                <a:gd name="connsiteX558" fmla="*/ 3561427 w 3832826"/>
                <a:gd name="connsiteY558" fmla="*/ 4300572 h 5120141"/>
                <a:gd name="connsiteX559" fmla="*/ 3557302 w 3832826"/>
                <a:gd name="connsiteY559" fmla="*/ 4324559 h 5120141"/>
                <a:gd name="connsiteX560" fmla="*/ 3556313 w 3832826"/>
                <a:gd name="connsiteY560" fmla="*/ 4324559 h 5120141"/>
                <a:gd name="connsiteX561" fmla="*/ 3557250 w 3832826"/>
                <a:gd name="connsiteY561" fmla="*/ 4324566 h 5120141"/>
                <a:gd name="connsiteX562" fmla="*/ 3561457 w 3832826"/>
                <a:gd name="connsiteY562" fmla="*/ 4324566 h 5120141"/>
                <a:gd name="connsiteX563" fmla="*/ 3687675 w 3832826"/>
                <a:gd name="connsiteY563" fmla="*/ 4322562 h 5120141"/>
                <a:gd name="connsiteX564" fmla="*/ 3815997 w 3832826"/>
                <a:gd name="connsiteY564" fmla="*/ 4322562 h 5120141"/>
                <a:gd name="connsiteX565" fmla="*/ 3820204 w 3832826"/>
                <a:gd name="connsiteY565" fmla="*/ 4362642 h 5120141"/>
                <a:gd name="connsiteX566" fmla="*/ 3820204 w 3832826"/>
                <a:gd name="connsiteY566" fmla="*/ 4388693 h 5120141"/>
                <a:gd name="connsiteX567" fmla="*/ 3815997 w 3832826"/>
                <a:gd name="connsiteY567" fmla="*/ 4394705 h 5120141"/>
                <a:gd name="connsiteX568" fmla="*/ 3813893 w 3832826"/>
                <a:gd name="connsiteY568" fmla="*/ 4398713 h 5120141"/>
                <a:gd name="connsiteX569" fmla="*/ 3803375 w 3832826"/>
                <a:gd name="connsiteY569" fmla="*/ 4398713 h 5120141"/>
                <a:gd name="connsiteX570" fmla="*/ 3799168 w 3832826"/>
                <a:gd name="connsiteY570" fmla="*/ 4402721 h 5120141"/>
                <a:gd name="connsiteX571" fmla="*/ 3799168 w 3832826"/>
                <a:gd name="connsiteY571" fmla="*/ 4408733 h 5120141"/>
                <a:gd name="connsiteX572" fmla="*/ 3801272 w 3832826"/>
                <a:gd name="connsiteY572" fmla="*/ 4420757 h 5120141"/>
                <a:gd name="connsiteX573" fmla="*/ 3801272 w 3832826"/>
                <a:gd name="connsiteY573" fmla="*/ 4422761 h 5120141"/>
                <a:gd name="connsiteX574" fmla="*/ 3805479 w 3832826"/>
                <a:gd name="connsiteY574" fmla="*/ 4424765 h 5120141"/>
                <a:gd name="connsiteX575" fmla="*/ 3815997 w 3832826"/>
                <a:gd name="connsiteY575" fmla="*/ 4422761 h 5120141"/>
                <a:gd name="connsiteX576" fmla="*/ 3826515 w 3832826"/>
                <a:gd name="connsiteY576" fmla="*/ 4422761 h 5120141"/>
                <a:gd name="connsiteX577" fmla="*/ 3830723 w 3832826"/>
                <a:gd name="connsiteY577" fmla="*/ 4424765 h 5120141"/>
                <a:gd name="connsiteX578" fmla="*/ 3832826 w 3832826"/>
                <a:gd name="connsiteY578" fmla="*/ 4430776 h 5120141"/>
                <a:gd name="connsiteX579" fmla="*/ 3830723 w 3832826"/>
                <a:gd name="connsiteY579" fmla="*/ 4436788 h 5120141"/>
                <a:gd name="connsiteX580" fmla="*/ 3826515 w 3832826"/>
                <a:gd name="connsiteY580" fmla="*/ 4436788 h 5120141"/>
                <a:gd name="connsiteX581" fmla="*/ 3822308 w 3832826"/>
                <a:gd name="connsiteY581" fmla="*/ 4440796 h 5120141"/>
                <a:gd name="connsiteX582" fmla="*/ 3822308 w 3832826"/>
                <a:gd name="connsiteY582" fmla="*/ 4444804 h 5120141"/>
                <a:gd name="connsiteX583" fmla="*/ 3822308 w 3832826"/>
                <a:gd name="connsiteY583" fmla="*/ 4502919 h 5120141"/>
                <a:gd name="connsiteX584" fmla="*/ 3824412 w 3832826"/>
                <a:gd name="connsiteY584" fmla="*/ 4557026 h 5120141"/>
                <a:gd name="connsiteX585" fmla="*/ 3826515 w 3832826"/>
                <a:gd name="connsiteY585" fmla="*/ 4723356 h 5120141"/>
                <a:gd name="connsiteX586" fmla="*/ 3826515 w 3832826"/>
                <a:gd name="connsiteY586" fmla="*/ 4805518 h 5120141"/>
                <a:gd name="connsiteX587" fmla="*/ 3826515 w 3832826"/>
                <a:gd name="connsiteY587" fmla="*/ 4887681 h 5120141"/>
                <a:gd name="connsiteX588" fmla="*/ 3815997 w 3832826"/>
                <a:gd name="connsiteY588" fmla="*/ 4885677 h 5120141"/>
                <a:gd name="connsiteX589" fmla="*/ 3820204 w 3832826"/>
                <a:gd name="connsiteY589" fmla="*/ 4985875 h 5120141"/>
                <a:gd name="connsiteX590" fmla="*/ 3820204 w 3832826"/>
                <a:gd name="connsiteY590" fmla="*/ 5072046 h 5120141"/>
                <a:gd name="connsiteX591" fmla="*/ 3822308 w 3832826"/>
                <a:gd name="connsiteY591" fmla="*/ 5072046 h 5120141"/>
                <a:gd name="connsiteX592" fmla="*/ 3822308 w 3832826"/>
                <a:gd name="connsiteY592" fmla="*/ 5088078 h 5120141"/>
                <a:gd name="connsiteX593" fmla="*/ 3822308 w 3832826"/>
                <a:gd name="connsiteY593" fmla="*/ 5100102 h 5120141"/>
                <a:gd name="connsiteX594" fmla="*/ 3820204 w 3832826"/>
                <a:gd name="connsiteY594" fmla="*/ 5104109 h 5120141"/>
                <a:gd name="connsiteX595" fmla="*/ 3815997 w 3832826"/>
                <a:gd name="connsiteY595" fmla="*/ 5108117 h 5120141"/>
                <a:gd name="connsiteX596" fmla="*/ 3809686 w 3832826"/>
                <a:gd name="connsiteY596" fmla="*/ 5108117 h 5120141"/>
                <a:gd name="connsiteX597" fmla="*/ 3801272 w 3832826"/>
                <a:gd name="connsiteY597" fmla="*/ 5108117 h 5120141"/>
                <a:gd name="connsiteX598" fmla="*/ 3370026 w 3832826"/>
                <a:gd name="connsiteY598" fmla="*/ 5110121 h 5120141"/>
                <a:gd name="connsiteX599" fmla="*/ 2940884 w 3832826"/>
                <a:gd name="connsiteY599" fmla="*/ 5112125 h 5120141"/>
                <a:gd name="connsiteX600" fmla="*/ 2903018 w 3832826"/>
                <a:gd name="connsiteY600" fmla="*/ 5112125 h 5120141"/>
                <a:gd name="connsiteX601" fmla="*/ 2898811 w 3832826"/>
                <a:gd name="connsiteY601" fmla="*/ 5118137 h 5120141"/>
                <a:gd name="connsiteX602" fmla="*/ 2888293 w 3832826"/>
                <a:gd name="connsiteY602" fmla="*/ 5120141 h 5120141"/>
                <a:gd name="connsiteX603" fmla="*/ 2860945 w 3832826"/>
                <a:gd name="connsiteY603" fmla="*/ 5120141 h 5120141"/>
                <a:gd name="connsiteX604" fmla="*/ 2808354 w 3832826"/>
                <a:gd name="connsiteY604" fmla="*/ 5118137 h 5120141"/>
                <a:gd name="connsiteX605" fmla="*/ 2747349 w 3832826"/>
                <a:gd name="connsiteY605" fmla="*/ 5120141 h 5120141"/>
                <a:gd name="connsiteX606" fmla="*/ 2713691 w 3832826"/>
                <a:gd name="connsiteY606" fmla="*/ 5120141 h 5120141"/>
                <a:gd name="connsiteX607" fmla="*/ 2701069 w 3832826"/>
                <a:gd name="connsiteY607" fmla="*/ 5118137 h 5120141"/>
                <a:gd name="connsiteX608" fmla="*/ 2692654 w 3832826"/>
                <a:gd name="connsiteY608" fmla="*/ 5114129 h 5120141"/>
                <a:gd name="connsiteX609" fmla="*/ 2690551 w 3832826"/>
                <a:gd name="connsiteY609" fmla="*/ 5108117 h 5120141"/>
                <a:gd name="connsiteX610" fmla="*/ 2690551 w 3832826"/>
                <a:gd name="connsiteY610" fmla="*/ 5100102 h 5120141"/>
                <a:gd name="connsiteX611" fmla="*/ 2690551 w 3832826"/>
                <a:gd name="connsiteY611" fmla="*/ 5084070 h 5120141"/>
                <a:gd name="connsiteX612" fmla="*/ 2690551 w 3832826"/>
                <a:gd name="connsiteY612" fmla="*/ 5082066 h 5120141"/>
                <a:gd name="connsiteX613" fmla="*/ 2688447 w 3832826"/>
                <a:gd name="connsiteY613" fmla="*/ 5080062 h 5120141"/>
                <a:gd name="connsiteX614" fmla="*/ 2682136 w 3832826"/>
                <a:gd name="connsiteY614" fmla="*/ 5080062 h 5120141"/>
                <a:gd name="connsiteX615" fmla="*/ 2675825 w 3832826"/>
                <a:gd name="connsiteY615" fmla="*/ 5080062 h 5120141"/>
                <a:gd name="connsiteX616" fmla="*/ 2669514 w 3832826"/>
                <a:gd name="connsiteY616" fmla="*/ 5080062 h 5120141"/>
                <a:gd name="connsiteX617" fmla="*/ 2667411 w 3832826"/>
                <a:gd name="connsiteY617" fmla="*/ 5078058 h 5120141"/>
                <a:gd name="connsiteX618" fmla="*/ 2667411 w 3832826"/>
                <a:gd name="connsiteY618" fmla="*/ 5072046 h 5120141"/>
                <a:gd name="connsiteX619" fmla="*/ 2658996 w 3832826"/>
                <a:gd name="connsiteY619" fmla="*/ 5070042 h 5120141"/>
                <a:gd name="connsiteX620" fmla="*/ 2627442 w 3832826"/>
                <a:gd name="connsiteY620" fmla="*/ 5070042 h 5120141"/>
                <a:gd name="connsiteX621" fmla="*/ 2612716 w 3832826"/>
                <a:gd name="connsiteY621" fmla="*/ 5070042 h 5120141"/>
                <a:gd name="connsiteX622" fmla="*/ 2604302 w 3832826"/>
                <a:gd name="connsiteY622" fmla="*/ 5070042 h 5120141"/>
                <a:gd name="connsiteX623" fmla="*/ 2602198 w 3832826"/>
                <a:gd name="connsiteY623" fmla="*/ 5068038 h 5120141"/>
                <a:gd name="connsiteX624" fmla="*/ 2597991 w 3832826"/>
                <a:gd name="connsiteY624" fmla="*/ 5064030 h 5120141"/>
                <a:gd name="connsiteX625" fmla="*/ 2595887 w 3832826"/>
                <a:gd name="connsiteY625" fmla="*/ 5052006 h 5120141"/>
                <a:gd name="connsiteX626" fmla="*/ 2593783 w 3832826"/>
                <a:gd name="connsiteY626" fmla="*/ 5047998 h 5120141"/>
                <a:gd name="connsiteX627" fmla="*/ 2591680 w 3832826"/>
                <a:gd name="connsiteY627" fmla="*/ 5047998 h 5120141"/>
                <a:gd name="connsiteX628" fmla="*/ 2576954 w 3832826"/>
                <a:gd name="connsiteY628" fmla="*/ 5045994 h 5120141"/>
                <a:gd name="connsiteX629" fmla="*/ 2551711 w 3832826"/>
                <a:gd name="connsiteY629" fmla="*/ 5047998 h 5120141"/>
                <a:gd name="connsiteX630" fmla="*/ 2530674 w 3832826"/>
                <a:gd name="connsiteY630" fmla="*/ 5045994 h 5120141"/>
                <a:gd name="connsiteX631" fmla="*/ 2528571 w 3832826"/>
                <a:gd name="connsiteY631" fmla="*/ 4975856 h 5120141"/>
                <a:gd name="connsiteX632" fmla="*/ 2528571 w 3832826"/>
                <a:gd name="connsiteY632" fmla="*/ 4905717 h 5120141"/>
                <a:gd name="connsiteX633" fmla="*/ 2524363 w 3832826"/>
                <a:gd name="connsiteY633" fmla="*/ 4899705 h 5120141"/>
                <a:gd name="connsiteX634" fmla="*/ 2522260 w 3832826"/>
                <a:gd name="connsiteY634" fmla="*/ 4895697 h 5120141"/>
                <a:gd name="connsiteX635" fmla="*/ 2509638 w 3832826"/>
                <a:gd name="connsiteY635" fmla="*/ 4891689 h 5120141"/>
                <a:gd name="connsiteX636" fmla="*/ 2492809 w 3832826"/>
                <a:gd name="connsiteY636" fmla="*/ 4889685 h 5120141"/>
                <a:gd name="connsiteX637" fmla="*/ 2478083 w 3832826"/>
                <a:gd name="connsiteY637" fmla="*/ 4889685 h 5120141"/>
                <a:gd name="connsiteX638" fmla="*/ 2471772 w 3832826"/>
                <a:gd name="connsiteY638" fmla="*/ 4887681 h 5120141"/>
                <a:gd name="connsiteX639" fmla="*/ 2467565 w 3832826"/>
                <a:gd name="connsiteY639" fmla="*/ 4881669 h 5120141"/>
                <a:gd name="connsiteX640" fmla="*/ 2465461 w 3832826"/>
                <a:gd name="connsiteY640" fmla="*/ 4871649 h 5120141"/>
                <a:gd name="connsiteX641" fmla="*/ 2465461 w 3832826"/>
                <a:gd name="connsiteY641" fmla="*/ 4861629 h 5120141"/>
                <a:gd name="connsiteX642" fmla="*/ 2467565 w 3832826"/>
                <a:gd name="connsiteY642" fmla="*/ 4839586 h 5120141"/>
                <a:gd name="connsiteX643" fmla="*/ 2467565 w 3832826"/>
                <a:gd name="connsiteY643" fmla="*/ 4823554 h 5120141"/>
                <a:gd name="connsiteX644" fmla="*/ 2391834 w 3832826"/>
                <a:gd name="connsiteY644" fmla="*/ 4823554 h 5120141"/>
                <a:gd name="connsiteX645" fmla="*/ 2393938 w 3832826"/>
                <a:gd name="connsiteY645" fmla="*/ 4755419 h 5120141"/>
                <a:gd name="connsiteX646" fmla="*/ 2343450 w 3832826"/>
                <a:gd name="connsiteY646" fmla="*/ 4759427 h 5120141"/>
                <a:gd name="connsiteX647" fmla="*/ 2311896 w 3832826"/>
                <a:gd name="connsiteY647" fmla="*/ 4759427 h 5120141"/>
                <a:gd name="connsiteX648" fmla="*/ 2301378 w 3832826"/>
                <a:gd name="connsiteY648" fmla="*/ 4757423 h 5120141"/>
                <a:gd name="connsiteX649" fmla="*/ 2295067 w 3832826"/>
                <a:gd name="connsiteY649" fmla="*/ 4755419 h 5120141"/>
                <a:gd name="connsiteX650" fmla="*/ 2290860 w 3832826"/>
                <a:gd name="connsiteY650" fmla="*/ 4749407 h 5120141"/>
                <a:gd name="connsiteX651" fmla="*/ 2290860 w 3832826"/>
                <a:gd name="connsiteY651" fmla="*/ 4745399 h 5120141"/>
                <a:gd name="connsiteX652" fmla="*/ 2290860 w 3832826"/>
                <a:gd name="connsiteY652" fmla="*/ 4727364 h 5120141"/>
                <a:gd name="connsiteX653" fmla="*/ 2290860 w 3832826"/>
                <a:gd name="connsiteY653" fmla="*/ 4699308 h 5120141"/>
                <a:gd name="connsiteX654" fmla="*/ 2290860 w 3832826"/>
                <a:gd name="connsiteY654" fmla="*/ 4687284 h 5120141"/>
                <a:gd name="connsiteX655" fmla="*/ 2288756 w 3832826"/>
                <a:gd name="connsiteY655" fmla="*/ 4685280 h 5120141"/>
                <a:gd name="connsiteX656" fmla="*/ 2284549 w 3832826"/>
                <a:gd name="connsiteY656" fmla="*/ 4683276 h 5120141"/>
                <a:gd name="connsiteX657" fmla="*/ 2274030 w 3832826"/>
                <a:gd name="connsiteY657" fmla="*/ 4683276 h 5120141"/>
                <a:gd name="connsiteX658" fmla="*/ 2259305 w 3832826"/>
                <a:gd name="connsiteY658" fmla="*/ 4685280 h 5120141"/>
                <a:gd name="connsiteX659" fmla="*/ 2255098 w 3832826"/>
                <a:gd name="connsiteY659" fmla="*/ 4683276 h 5120141"/>
                <a:gd name="connsiteX660" fmla="*/ 2248787 w 3832826"/>
                <a:gd name="connsiteY660" fmla="*/ 4679268 h 5120141"/>
                <a:gd name="connsiteX661" fmla="*/ 2244579 w 3832826"/>
                <a:gd name="connsiteY661" fmla="*/ 4673257 h 5120141"/>
                <a:gd name="connsiteX662" fmla="*/ 2244579 w 3832826"/>
                <a:gd name="connsiteY662" fmla="*/ 4663237 h 5120141"/>
                <a:gd name="connsiteX663" fmla="*/ 2244579 w 3832826"/>
                <a:gd name="connsiteY663" fmla="*/ 4649209 h 5120141"/>
                <a:gd name="connsiteX664" fmla="*/ 2244579 w 3832826"/>
                <a:gd name="connsiteY664" fmla="*/ 4637185 h 5120141"/>
                <a:gd name="connsiteX665" fmla="*/ 2244579 w 3832826"/>
                <a:gd name="connsiteY665" fmla="*/ 4627165 h 5120141"/>
                <a:gd name="connsiteX666" fmla="*/ 2242476 w 3832826"/>
                <a:gd name="connsiteY666" fmla="*/ 4623157 h 5120141"/>
                <a:gd name="connsiteX667" fmla="*/ 2236165 w 3832826"/>
                <a:gd name="connsiteY667" fmla="*/ 4617145 h 5120141"/>
                <a:gd name="connsiteX668" fmla="*/ 2234061 w 3832826"/>
                <a:gd name="connsiteY668" fmla="*/ 4617145 h 5120141"/>
                <a:gd name="connsiteX669" fmla="*/ 2225647 w 3832826"/>
                <a:gd name="connsiteY669" fmla="*/ 4615141 h 5120141"/>
                <a:gd name="connsiteX670" fmla="*/ 2194092 w 3832826"/>
                <a:gd name="connsiteY670" fmla="*/ 4617145 h 5120141"/>
                <a:gd name="connsiteX671" fmla="*/ 2179367 w 3832826"/>
                <a:gd name="connsiteY671" fmla="*/ 4617145 h 5120141"/>
                <a:gd name="connsiteX672" fmla="*/ 2164641 w 3832826"/>
                <a:gd name="connsiteY672" fmla="*/ 4613137 h 5120141"/>
                <a:gd name="connsiteX673" fmla="*/ 2162538 w 3832826"/>
                <a:gd name="connsiteY673" fmla="*/ 4607126 h 5120141"/>
                <a:gd name="connsiteX674" fmla="*/ 2160434 w 3832826"/>
                <a:gd name="connsiteY674" fmla="*/ 4597106 h 5120141"/>
                <a:gd name="connsiteX675" fmla="*/ 2154123 w 3832826"/>
                <a:gd name="connsiteY675" fmla="*/ 4583078 h 5120141"/>
                <a:gd name="connsiteX676" fmla="*/ 2149916 w 3832826"/>
                <a:gd name="connsiteY676" fmla="*/ 4581074 h 5120141"/>
                <a:gd name="connsiteX677" fmla="*/ 2143605 w 3832826"/>
                <a:gd name="connsiteY677" fmla="*/ 4575062 h 5120141"/>
                <a:gd name="connsiteX678" fmla="*/ 2133087 w 3832826"/>
                <a:gd name="connsiteY678" fmla="*/ 4571054 h 5120141"/>
                <a:gd name="connsiteX679" fmla="*/ 2130983 w 3832826"/>
                <a:gd name="connsiteY679" fmla="*/ 4565042 h 5120141"/>
                <a:gd name="connsiteX680" fmla="*/ 2130983 w 3832826"/>
                <a:gd name="connsiteY680" fmla="*/ 4561034 h 5120141"/>
                <a:gd name="connsiteX681" fmla="*/ 2130983 w 3832826"/>
                <a:gd name="connsiteY681" fmla="*/ 4553018 h 5120141"/>
                <a:gd name="connsiteX682" fmla="*/ 2130983 w 3832826"/>
                <a:gd name="connsiteY682" fmla="*/ 4551015 h 5120141"/>
                <a:gd name="connsiteX683" fmla="*/ 2126776 w 3832826"/>
                <a:gd name="connsiteY683" fmla="*/ 4545003 h 5120141"/>
                <a:gd name="connsiteX684" fmla="*/ 2122568 w 3832826"/>
                <a:gd name="connsiteY684" fmla="*/ 4545003 h 5120141"/>
                <a:gd name="connsiteX685" fmla="*/ 2120465 w 3832826"/>
                <a:gd name="connsiteY685" fmla="*/ 4545003 h 5120141"/>
                <a:gd name="connsiteX686" fmla="*/ 2118361 w 3832826"/>
                <a:gd name="connsiteY686" fmla="*/ 4536987 h 5120141"/>
                <a:gd name="connsiteX687" fmla="*/ 2116258 w 3832826"/>
                <a:gd name="connsiteY687" fmla="*/ 4536987 h 5120141"/>
                <a:gd name="connsiteX688" fmla="*/ 2109947 w 3832826"/>
                <a:gd name="connsiteY688" fmla="*/ 4536987 h 5120141"/>
                <a:gd name="connsiteX689" fmla="*/ 2107843 w 3832826"/>
                <a:gd name="connsiteY689" fmla="*/ 4536987 h 5120141"/>
                <a:gd name="connsiteX690" fmla="*/ 2107843 w 3832826"/>
                <a:gd name="connsiteY690" fmla="*/ 4534983 h 5120141"/>
                <a:gd name="connsiteX691" fmla="*/ 2105739 w 3832826"/>
                <a:gd name="connsiteY691" fmla="*/ 4500915 h 5120141"/>
                <a:gd name="connsiteX692" fmla="*/ 2105739 w 3832826"/>
                <a:gd name="connsiteY692" fmla="*/ 4476868 h 5120141"/>
                <a:gd name="connsiteX693" fmla="*/ 2101532 w 3832826"/>
                <a:gd name="connsiteY693" fmla="*/ 4470856 h 5120141"/>
                <a:gd name="connsiteX694" fmla="*/ 2099428 w 3832826"/>
                <a:gd name="connsiteY694" fmla="*/ 4466848 h 5120141"/>
                <a:gd name="connsiteX695" fmla="*/ 2095221 w 3832826"/>
                <a:gd name="connsiteY695" fmla="*/ 4466848 h 5120141"/>
                <a:gd name="connsiteX696" fmla="*/ 2063667 w 3832826"/>
                <a:gd name="connsiteY696" fmla="*/ 4470856 h 5120141"/>
                <a:gd name="connsiteX697" fmla="*/ 2042630 w 3832826"/>
                <a:gd name="connsiteY697" fmla="*/ 4470856 h 5120141"/>
                <a:gd name="connsiteX698" fmla="*/ 2036319 w 3832826"/>
                <a:gd name="connsiteY698" fmla="*/ 4466848 h 5120141"/>
                <a:gd name="connsiteX699" fmla="*/ 2032112 w 3832826"/>
                <a:gd name="connsiteY699" fmla="*/ 4466848 h 5120141"/>
                <a:gd name="connsiteX700" fmla="*/ 2027905 w 3832826"/>
                <a:gd name="connsiteY700" fmla="*/ 4456828 h 5120141"/>
                <a:gd name="connsiteX701" fmla="*/ 2027905 w 3832826"/>
                <a:gd name="connsiteY701" fmla="*/ 4444804 h 5120141"/>
                <a:gd name="connsiteX702" fmla="*/ 2027905 w 3832826"/>
                <a:gd name="connsiteY702" fmla="*/ 4420757 h 5120141"/>
                <a:gd name="connsiteX703" fmla="*/ 2027905 w 3832826"/>
                <a:gd name="connsiteY703" fmla="*/ 4376298 h 5120141"/>
                <a:gd name="connsiteX704" fmla="*/ 2025801 w 3832826"/>
                <a:gd name="connsiteY704" fmla="*/ 4376298 h 5120141"/>
                <a:gd name="connsiteX705" fmla="*/ 2025801 w 3832826"/>
                <a:gd name="connsiteY705" fmla="*/ 4328574 h 5120141"/>
                <a:gd name="connsiteX706" fmla="*/ 2025801 w 3832826"/>
                <a:gd name="connsiteY706" fmla="*/ 4326856 h 5120141"/>
                <a:gd name="connsiteX707" fmla="*/ 2021595 w 3832826"/>
                <a:gd name="connsiteY707" fmla="*/ 4326570 h 5120141"/>
                <a:gd name="connsiteX708" fmla="*/ 2015284 w 3832826"/>
                <a:gd name="connsiteY708" fmla="*/ 4326570 h 5120141"/>
                <a:gd name="connsiteX709" fmla="*/ 2017387 w 3832826"/>
                <a:gd name="connsiteY709" fmla="*/ 4316550 h 5120141"/>
                <a:gd name="connsiteX710" fmla="*/ 2015284 w 3832826"/>
                <a:gd name="connsiteY710" fmla="*/ 4310539 h 5120141"/>
                <a:gd name="connsiteX711" fmla="*/ 2008973 w 3832826"/>
                <a:gd name="connsiteY711" fmla="*/ 4306531 h 5120141"/>
                <a:gd name="connsiteX712" fmla="*/ 2004765 w 3832826"/>
                <a:gd name="connsiteY712" fmla="*/ 4300519 h 5120141"/>
                <a:gd name="connsiteX713" fmla="*/ 1994247 w 3832826"/>
                <a:gd name="connsiteY713" fmla="*/ 4286491 h 5120141"/>
                <a:gd name="connsiteX714" fmla="*/ 1987936 w 3832826"/>
                <a:gd name="connsiteY714" fmla="*/ 4270459 h 5120141"/>
                <a:gd name="connsiteX715" fmla="*/ 1987936 w 3832826"/>
                <a:gd name="connsiteY715" fmla="*/ 4262443 h 5120141"/>
                <a:gd name="connsiteX716" fmla="*/ 1987936 w 3832826"/>
                <a:gd name="connsiteY716" fmla="*/ 4258435 h 5120141"/>
                <a:gd name="connsiteX717" fmla="*/ 1987936 w 3832826"/>
                <a:gd name="connsiteY717" fmla="*/ 4252423 h 5120141"/>
                <a:gd name="connsiteX718" fmla="*/ 1983729 w 3832826"/>
                <a:gd name="connsiteY718" fmla="*/ 4246412 h 5120141"/>
                <a:gd name="connsiteX719" fmla="*/ 1978277 w 3832826"/>
                <a:gd name="connsiteY719" fmla="*/ 4241218 h 5120141"/>
                <a:gd name="connsiteX720" fmla="*/ 1947935 w 3832826"/>
                <a:gd name="connsiteY720" fmla="*/ 4232386 h 5120141"/>
                <a:gd name="connsiteX721" fmla="*/ 1941632 w 3832826"/>
                <a:gd name="connsiteY721" fmla="*/ 4228376 h 5120141"/>
                <a:gd name="connsiteX722" fmla="*/ 1933169 w 3832826"/>
                <a:gd name="connsiteY722" fmla="*/ 4220356 h 5120141"/>
                <a:gd name="connsiteX723" fmla="*/ 1922725 w 3832826"/>
                <a:gd name="connsiteY723" fmla="*/ 4208326 h 5120141"/>
                <a:gd name="connsiteX724" fmla="*/ 1910120 w 3832826"/>
                <a:gd name="connsiteY724" fmla="*/ 4196297 h 5120141"/>
                <a:gd name="connsiteX725" fmla="*/ 1901657 w 3832826"/>
                <a:gd name="connsiteY725" fmla="*/ 4190282 h 5120141"/>
                <a:gd name="connsiteX726" fmla="*/ 1893193 w 3832826"/>
                <a:gd name="connsiteY726" fmla="*/ 4186272 h 5120141"/>
                <a:gd name="connsiteX727" fmla="*/ 1867983 w 3832826"/>
                <a:gd name="connsiteY727" fmla="*/ 4178252 h 5120141"/>
                <a:gd name="connsiteX728" fmla="*/ 1857539 w 3832826"/>
                <a:gd name="connsiteY728" fmla="*/ 4172237 h 5120141"/>
                <a:gd name="connsiteX729" fmla="*/ 1842773 w 3832826"/>
                <a:gd name="connsiteY729" fmla="*/ 4166222 h 5120141"/>
                <a:gd name="connsiteX730" fmla="*/ 1804958 w 3832826"/>
                <a:gd name="connsiteY730" fmla="*/ 4138152 h 5120141"/>
                <a:gd name="connsiteX731" fmla="*/ 1800637 w 3832826"/>
                <a:gd name="connsiteY731" fmla="*/ 4138152 h 5120141"/>
                <a:gd name="connsiteX732" fmla="*/ 1796495 w 3832826"/>
                <a:gd name="connsiteY732" fmla="*/ 4138152 h 5120141"/>
                <a:gd name="connsiteX733" fmla="*/ 1790192 w 3832826"/>
                <a:gd name="connsiteY733" fmla="*/ 4138152 h 5120141"/>
                <a:gd name="connsiteX734" fmla="*/ 1786051 w 3832826"/>
                <a:gd name="connsiteY734" fmla="*/ 4132138 h 5120141"/>
                <a:gd name="connsiteX735" fmla="*/ 1783890 w 3832826"/>
                <a:gd name="connsiteY735" fmla="*/ 4126123 h 5120141"/>
                <a:gd name="connsiteX736" fmla="*/ 1775427 w 3832826"/>
                <a:gd name="connsiteY736" fmla="*/ 4120108 h 5120141"/>
                <a:gd name="connsiteX737" fmla="*/ 1769124 w 3832826"/>
                <a:gd name="connsiteY737" fmla="*/ 4118103 h 5120141"/>
                <a:gd name="connsiteX738" fmla="*/ 1762822 w 3832826"/>
                <a:gd name="connsiteY738" fmla="*/ 4112088 h 5120141"/>
                <a:gd name="connsiteX739" fmla="*/ 1756519 w 3832826"/>
                <a:gd name="connsiteY739" fmla="*/ 4100058 h 5120141"/>
                <a:gd name="connsiteX740" fmla="*/ 1752377 w 3832826"/>
                <a:gd name="connsiteY740" fmla="*/ 4090167 h 5120141"/>
                <a:gd name="connsiteX741" fmla="*/ 1741753 w 3832826"/>
                <a:gd name="connsiteY741" fmla="*/ 4086157 h 5120141"/>
                <a:gd name="connsiteX742" fmla="*/ 1733470 w 3832826"/>
                <a:gd name="connsiteY742" fmla="*/ 4082147 h 5120141"/>
                <a:gd name="connsiteX743" fmla="*/ 1716543 w 3832826"/>
                <a:gd name="connsiteY743" fmla="*/ 4070117 h 5120141"/>
                <a:gd name="connsiteX744" fmla="*/ 1706099 w 3832826"/>
                <a:gd name="connsiteY744" fmla="*/ 4060092 h 5120141"/>
                <a:gd name="connsiteX745" fmla="*/ 1701777 w 3832826"/>
                <a:gd name="connsiteY745" fmla="*/ 4052072 h 5120141"/>
                <a:gd name="connsiteX746" fmla="*/ 1699797 w 3832826"/>
                <a:gd name="connsiteY746" fmla="*/ 4048062 h 5120141"/>
                <a:gd name="connsiteX747" fmla="*/ 1695475 w 3832826"/>
                <a:gd name="connsiteY747" fmla="*/ 4038038 h 5120141"/>
                <a:gd name="connsiteX748" fmla="*/ 1699797 w 3832826"/>
                <a:gd name="connsiteY748" fmla="*/ 4030018 h 5120141"/>
                <a:gd name="connsiteX749" fmla="*/ 1701777 w 3832826"/>
                <a:gd name="connsiteY749" fmla="*/ 4021998 h 5120141"/>
                <a:gd name="connsiteX750" fmla="*/ 1706099 w 3832826"/>
                <a:gd name="connsiteY750" fmla="*/ 4017988 h 5120141"/>
                <a:gd name="connsiteX751" fmla="*/ 1714382 w 3832826"/>
                <a:gd name="connsiteY751" fmla="*/ 4007963 h 5120141"/>
                <a:gd name="connsiteX752" fmla="*/ 1716543 w 3832826"/>
                <a:gd name="connsiteY752" fmla="*/ 4001948 h 5120141"/>
                <a:gd name="connsiteX753" fmla="*/ 1720685 w 3832826"/>
                <a:gd name="connsiteY753" fmla="*/ 3997938 h 5120141"/>
                <a:gd name="connsiteX754" fmla="*/ 1716543 w 3832826"/>
                <a:gd name="connsiteY754" fmla="*/ 3991923 h 5120141"/>
                <a:gd name="connsiteX755" fmla="*/ 1712402 w 3832826"/>
                <a:gd name="connsiteY755" fmla="*/ 3985908 h 5120141"/>
                <a:gd name="connsiteX756" fmla="*/ 1701777 w 3832826"/>
                <a:gd name="connsiteY756" fmla="*/ 3975883 h 5120141"/>
                <a:gd name="connsiteX757" fmla="*/ 1695475 w 3832826"/>
                <a:gd name="connsiteY757" fmla="*/ 3973878 h 5120141"/>
                <a:gd name="connsiteX758" fmla="*/ 1691333 w 3832826"/>
                <a:gd name="connsiteY758" fmla="*/ 3965859 h 5120141"/>
                <a:gd name="connsiteX759" fmla="*/ 1689172 w 3832826"/>
                <a:gd name="connsiteY759" fmla="*/ 3957839 h 5120141"/>
                <a:gd name="connsiteX760" fmla="*/ 1691333 w 3832826"/>
                <a:gd name="connsiteY760" fmla="*/ 3953829 h 5120141"/>
                <a:gd name="connsiteX761" fmla="*/ 1691333 w 3832826"/>
                <a:gd name="connsiteY761" fmla="*/ 3945809 h 5120141"/>
                <a:gd name="connsiteX762" fmla="*/ 1689172 w 3832826"/>
                <a:gd name="connsiteY762" fmla="*/ 3937789 h 5120141"/>
                <a:gd name="connsiteX763" fmla="*/ 1687192 w 3832826"/>
                <a:gd name="connsiteY763" fmla="*/ 3927764 h 5120141"/>
                <a:gd name="connsiteX764" fmla="*/ 1689172 w 3832826"/>
                <a:gd name="connsiteY764" fmla="*/ 3919744 h 5120141"/>
                <a:gd name="connsiteX765" fmla="*/ 1691333 w 3832826"/>
                <a:gd name="connsiteY765" fmla="*/ 3915734 h 5120141"/>
                <a:gd name="connsiteX766" fmla="*/ 1699797 w 3832826"/>
                <a:gd name="connsiteY766" fmla="*/ 3909719 h 5120141"/>
                <a:gd name="connsiteX767" fmla="*/ 1714382 w 3832826"/>
                <a:gd name="connsiteY767" fmla="*/ 3905709 h 5120141"/>
                <a:gd name="connsiteX768" fmla="*/ 1731309 w 3832826"/>
                <a:gd name="connsiteY768" fmla="*/ 3899694 h 5120141"/>
                <a:gd name="connsiteX769" fmla="*/ 1735451 w 3832826"/>
                <a:gd name="connsiteY769" fmla="*/ 3897690 h 5120141"/>
                <a:gd name="connsiteX770" fmla="*/ 1737612 w 3832826"/>
                <a:gd name="connsiteY770" fmla="*/ 3893680 h 5120141"/>
                <a:gd name="connsiteX771" fmla="*/ 1746075 w 3832826"/>
                <a:gd name="connsiteY771" fmla="*/ 3879645 h 5120141"/>
                <a:gd name="connsiteX772" fmla="*/ 1748056 w 3832826"/>
                <a:gd name="connsiteY772" fmla="*/ 3863605 h 5120141"/>
                <a:gd name="connsiteX773" fmla="*/ 1752377 w 3832826"/>
                <a:gd name="connsiteY773" fmla="*/ 3843555 h 5120141"/>
                <a:gd name="connsiteX774" fmla="*/ 1754358 w 3832826"/>
                <a:gd name="connsiteY774" fmla="*/ 3823639 h 5120141"/>
                <a:gd name="connsiteX775" fmla="*/ 1752377 w 3832826"/>
                <a:gd name="connsiteY775" fmla="*/ 3803590 h 5120141"/>
                <a:gd name="connsiteX776" fmla="*/ 1748056 w 3832826"/>
                <a:gd name="connsiteY776" fmla="*/ 3785545 h 5120141"/>
                <a:gd name="connsiteX777" fmla="*/ 1746075 w 3832826"/>
                <a:gd name="connsiteY777" fmla="*/ 3773515 h 5120141"/>
                <a:gd name="connsiteX778" fmla="*/ 1737612 w 3832826"/>
                <a:gd name="connsiteY778" fmla="*/ 3761485 h 5120141"/>
                <a:gd name="connsiteX779" fmla="*/ 1727167 w 3832826"/>
                <a:gd name="connsiteY779" fmla="*/ 3747450 h 5120141"/>
                <a:gd name="connsiteX780" fmla="*/ 1695475 w 3832826"/>
                <a:gd name="connsiteY780" fmla="*/ 3721385 h 5120141"/>
                <a:gd name="connsiteX781" fmla="*/ 1661802 w 3832826"/>
                <a:gd name="connsiteY781" fmla="*/ 3695321 h 5120141"/>
                <a:gd name="connsiteX782" fmla="*/ 1636592 w 3832826"/>
                <a:gd name="connsiteY782" fmla="*/ 3675271 h 5120141"/>
                <a:gd name="connsiteX783" fmla="*/ 1519948 w 3832826"/>
                <a:gd name="connsiteY783" fmla="*/ 3568035 h 5120141"/>
                <a:gd name="connsiteX784" fmla="*/ 1518826 w 3832826"/>
                <a:gd name="connsiteY784" fmla="*/ 3569070 h 5120141"/>
                <a:gd name="connsiteX785" fmla="*/ 1510411 w 3832826"/>
                <a:gd name="connsiteY785" fmla="*/ 3561053 h 5120141"/>
                <a:gd name="connsiteX786" fmla="*/ 1497790 w 3832826"/>
                <a:gd name="connsiteY786" fmla="*/ 3553037 h 5120141"/>
                <a:gd name="connsiteX787" fmla="*/ 1468339 w 3832826"/>
                <a:gd name="connsiteY787" fmla="*/ 3537005 h 5120141"/>
                <a:gd name="connsiteX788" fmla="*/ 1409437 w 3832826"/>
                <a:gd name="connsiteY788" fmla="*/ 3514942 h 5120141"/>
                <a:gd name="connsiteX789" fmla="*/ 1386297 w 3832826"/>
                <a:gd name="connsiteY789" fmla="*/ 3504939 h 5120141"/>
                <a:gd name="connsiteX790" fmla="*/ 1365260 w 3832826"/>
                <a:gd name="connsiteY790" fmla="*/ 3492950 h 5120141"/>
                <a:gd name="connsiteX791" fmla="*/ 1363157 w 3832826"/>
                <a:gd name="connsiteY791" fmla="*/ 3486920 h 5120141"/>
                <a:gd name="connsiteX792" fmla="*/ 1361053 w 3832826"/>
                <a:gd name="connsiteY792" fmla="*/ 3482877 h 5120141"/>
                <a:gd name="connsiteX793" fmla="*/ 1358949 w 3832826"/>
                <a:gd name="connsiteY793" fmla="*/ 3474861 h 5120141"/>
                <a:gd name="connsiteX794" fmla="*/ 1354742 w 3832826"/>
                <a:gd name="connsiteY794" fmla="*/ 3470888 h 5120141"/>
                <a:gd name="connsiteX795" fmla="*/ 1340017 w 3832826"/>
                <a:gd name="connsiteY795" fmla="*/ 3446839 h 5120141"/>
                <a:gd name="connsiteX796" fmla="*/ 1318980 w 3832826"/>
                <a:gd name="connsiteY796" fmla="*/ 3426763 h 5120141"/>
                <a:gd name="connsiteX797" fmla="*/ 1316877 w 3832826"/>
                <a:gd name="connsiteY797" fmla="*/ 3426763 h 5120141"/>
                <a:gd name="connsiteX798" fmla="*/ 1310566 w 3832826"/>
                <a:gd name="connsiteY798" fmla="*/ 3422790 h 5120141"/>
                <a:gd name="connsiteX799" fmla="*/ 1300047 w 3832826"/>
                <a:gd name="connsiteY799" fmla="*/ 3416760 h 5120141"/>
                <a:gd name="connsiteX800" fmla="*/ 1297944 w 3832826"/>
                <a:gd name="connsiteY800" fmla="*/ 3414774 h 5120141"/>
                <a:gd name="connsiteX801" fmla="*/ 1297944 w 3832826"/>
                <a:gd name="connsiteY801" fmla="*/ 3410730 h 5120141"/>
                <a:gd name="connsiteX802" fmla="*/ 1300047 w 3832826"/>
                <a:gd name="connsiteY802" fmla="*/ 3402714 h 5120141"/>
                <a:gd name="connsiteX803" fmla="*/ 1308462 w 3832826"/>
                <a:gd name="connsiteY803" fmla="*/ 3394698 h 5120141"/>
                <a:gd name="connsiteX804" fmla="*/ 1297944 w 3832826"/>
                <a:gd name="connsiteY804" fmla="*/ 3380722 h 5120141"/>
                <a:gd name="connsiteX805" fmla="*/ 1291633 w 3832826"/>
                <a:gd name="connsiteY805" fmla="*/ 3366676 h 5120141"/>
                <a:gd name="connsiteX806" fmla="*/ 1291633 w 3832826"/>
                <a:gd name="connsiteY806" fmla="*/ 3354616 h 5120141"/>
                <a:gd name="connsiteX807" fmla="*/ 1295840 w 3832826"/>
                <a:gd name="connsiteY807" fmla="*/ 3344614 h 5120141"/>
                <a:gd name="connsiteX808" fmla="*/ 1300047 w 3832826"/>
                <a:gd name="connsiteY808" fmla="*/ 3334611 h 5120141"/>
                <a:gd name="connsiteX809" fmla="*/ 1306358 w 3832826"/>
                <a:gd name="connsiteY809" fmla="*/ 3324608 h 5120141"/>
                <a:gd name="connsiteX810" fmla="*/ 1308462 w 3832826"/>
                <a:gd name="connsiteY810" fmla="*/ 3318578 h 5120141"/>
                <a:gd name="connsiteX811" fmla="*/ 1306358 w 3832826"/>
                <a:gd name="connsiteY811" fmla="*/ 3310562 h 5120141"/>
                <a:gd name="connsiteX812" fmla="*/ 1302151 w 3832826"/>
                <a:gd name="connsiteY812" fmla="*/ 3302546 h 5120141"/>
                <a:gd name="connsiteX813" fmla="*/ 1295840 w 3832826"/>
                <a:gd name="connsiteY813" fmla="*/ 3294529 h 5120141"/>
                <a:gd name="connsiteX814" fmla="*/ 1295840 w 3832826"/>
                <a:gd name="connsiteY814" fmla="*/ 3290486 h 5120141"/>
                <a:gd name="connsiteX815" fmla="*/ 1291633 w 3832826"/>
                <a:gd name="connsiteY815" fmla="*/ 3288499 h 5120141"/>
                <a:gd name="connsiteX816" fmla="*/ 1297944 w 3832826"/>
                <a:gd name="connsiteY816" fmla="*/ 3280483 h 5120141"/>
                <a:gd name="connsiteX817" fmla="*/ 1302151 w 3832826"/>
                <a:gd name="connsiteY817" fmla="*/ 3272467 h 5120141"/>
                <a:gd name="connsiteX818" fmla="*/ 1306358 w 3832826"/>
                <a:gd name="connsiteY818" fmla="*/ 3262464 h 5120141"/>
                <a:gd name="connsiteX819" fmla="*/ 1306358 w 3832826"/>
                <a:gd name="connsiteY819" fmla="*/ 3258421 h 5120141"/>
                <a:gd name="connsiteX820" fmla="*/ 1302151 w 3832826"/>
                <a:gd name="connsiteY820" fmla="*/ 3252462 h 5120141"/>
                <a:gd name="connsiteX821" fmla="*/ 1302205 w 3832826"/>
                <a:gd name="connsiteY821" fmla="*/ 3250392 h 5120141"/>
                <a:gd name="connsiteX822" fmla="*/ 1302151 w 3832826"/>
                <a:gd name="connsiteY822" fmla="*/ 3250439 h 5120141"/>
                <a:gd name="connsiteX823" fmla="*/ 1270596 w 3832826"/>
                <a:gd name="connsiteY823" fmla="*/ 3222383 h 5120141"/>
                <a:gd name="connsiteX824" fmla="*/ 1268493 w 3832826"/>
                <a:gd name="connsiteY824" fmla="*/ 3218375 h 5120141"/>
                <a:gd name="connsiteX825" fmla="*/ 1264285 w 3832826"/>
                <a:gd name="connsiteY825" fmla="*/ 3218375 h 5120141"/>
                <a:gd name="connsiteX826" fmla="*/ 1257974 w 3832826"/>
                <a:gd name="connsiteY826" fmla="*/ 3220379 h 5120141"/>
                <a:gd name="connsiteX827" fmla="*/ 1253767 w 3832826"/>
                <a:gd name="connsiteY827" fmla="*/ 3222383 h 5120141"/>
                <a:gd name="connsiteX828" fmla="*/ 1245353 w 3832826"/>
                <a:gd name="connsiteY828" fmla="*/ 3222383 h 5120141"/>
                <a:gd name="connsiteX829" fmla="*/ 1228523 w 3832826"/>
                <a:gd name="connsiteY829" fmla="*/ 3220379 h 5120141"/>
                <a:gd name="connsiteX830" fmla="*/ 1207487 w 3832826"/>
                <a:gd name="connsiteY830" fmla="*/ 3218375 h 5120141"/>
                <a:gd name="connsiteX831" fmla="*/ 1201176 w 3832826"/>
                <a:gd name="connsiteY831" fmla="*/ 3218375 h 5120141"/>
                <a:gd name="connsiteX832" fmla="*/ 1192761 w 3832826"/>
                <a:gd name="connsiteY832" fmla="*/ 3220379 h 5120141"/>
                <a:gd name="connsiteX833" fmla="*/ 1190658 w 3832826"/>
                <a:gd name="connsiteY833" fmla="*/ 3226391 h 5120141"/>
                <a:gd name="connsiteX834" fmla="*/ 1192761 w 3832826"/>
                <a:gd name="connsiteY834" fmla="*/ 3236411 h 5120141"/>
                <a:gd name="connsiteX835" fmla="*/ 1182243 w 3832826"/>
                <a:gd name="connsiteY835" fmla="*/ 3236411 h 5120141"/>
                <a:gd name="connsiteX836" fmla="*/ 1175932 w 3832826"/>
                <a:gd name="connsiteY836" fmla="*/ 3230399 h 5120141"/>
                <a:gd name="connsiteX837" fmla="*/ 1171725 w 3832826"/>
                <a:gd name="connsiteY837" fmla="*/ 3222383 h 5120141"/>
                <a:gd name="connsiteX838" fmla="*/ 1169621 w 3832826"/>
                <a:gd name="connsiteY838" fmla="*/ 3216371 h 5120141"/>
                <a:gd name="connsiteX839" fmla="*/ 1161207 w 3832826"/>
                <a:gd name="connsiteY839" fmla="*/ 3196332 h 5120141"/>
                <a:gd name="connsiteX840" fmla="*/ 1159103 w 3832826"/>
                <a:gd name="connsiteY840" fmla="*/ 3186312 h 5120141"/>
                <a:gd name="connsiteX841" fmla="*/ 1150689 w 3832826"/>
                <a:gd name="connsiteY841" fmla="*/ 3180300 h 5120141"/>
                <a:gd name="connsiteX842" fmla="*/ 1142274 w 3832826"/>
                <a:gd name="connsiteY842" fmla="*/ 3172284 h 5120141"/>
                <a:gd name="connsiteX843" fmla="*/ 1138067 w 3832826"/>
                <a:gd name="connsiteY843" fmla="*/ 3166272 h 5120141"/>
                <a:gd name="connsiteX844" fmla="*/ 1133859 w 3832826"/>
                <a:gd name="connsiteY844" fmla="*/ 3156253 h 5120141"/>
                <a:gd name="connsiteX845" fmla="*/ 1133859 w 3832826"/>
                <a:gd name="connsiteY845" fmla="*/ 3144229 h 5120141"/>
                <a:gd name="connsiteX846" fmla="*/ 1138067 w 3832826"/>
                <a:gd name="connsiteY846" fmla="*/ 3130201 h 5120141"/>
                <a:gd name="connsiteX847" fmla="*/ 1142274 w 3832826"/>
                <a:gd name="connsiteY847" fmla="*/ 3126193 h 5120141"/>
                <a:gd name="connsiteX848" fmla="*/ 1148585 w 3832826"/>
                <a:gd name="connsiteY848" fmla="*/ 3124189 h 5120141"/>
                <a:gd name="connsiteX849" fmla="*/ 1154896 w 3832826"/>
                <a:gd name="connsiteY849" fmla="*/ 3118177 h 5120141"/>
                <a:gd name="connsiteX850" fmla="*/ 1161207 w 3832826"/>
                <a:gd name="connsiteY850" fmla="*/ 3110161 h 5120141"/>
                <a:gd name="connsiteX851" fmla="*/ 1163310 w 3832826"/>
                <a:gd name="connsiteY851" fmla="*/ 3106153 h 5120141"/>
                <a:gd name="connsiteX852" fmla="*/ 1161207 w 3832826"/>
                <a:gd name="connsiteY852" fmla="*/ 3090122 h 5120141"/>
                <a:gd name="connsiteX853" fmla="*/ 1159103 w 3832826"/>
                <a:gd name="connsiteY853" fmla="*/ 3076094 h 5120141"/>
                <a:gd name="connsiteX854" fmla="*/ 1159103 w 3832826"/>
                <a:gd name="connsiteY854" fmla="*/ 3068078 h 5120141"/>
                <a:gd name="connsiteX855" fmla="*/ 1159103 w 3832826"/>
                <a:gd name="connsiteY855" fmla="*/ 3060062 h 5120141"/>
                <a:gd name="connsiteX856" fmla="*/ 1161207 w 3832826"/>
                <a:gd name="connsiteY856" fmla="*/ 3056054 h 5120141"/>
                <a:gd name="connsiteX857" fmla="*/ 1159103 w 3832826"/>
                <a:gd name="connsiteY857" fmla="*/ 3050042 h 5120141"/>
                <a:gd name="connsiteX858" fmla="*/ 1154896 w 3832826"/>
                <a:gd name="connsiteY858" fmla="*/ 3048038 h 5120141"/>
                <a:gd name="connsiteX859" fmla="*/ 1150689 w 3832826"/>
                <a:gd name="connsiteY859" fmla="*/ 3046035 h 5120141"/>
                <a:gd name="connsiteX860" fmla="*/ 1140170 w 3832826"/>
                <a:gd name="connsiteY860" fmla="*/ 3044031 h 5120141"/>
                <a:gd name="connsiteX861" fmla="*/ 1133859 w 3832826"/>
                <a:gd name="connsiteY861" fmla="*/ 3040023 h 5120141"/>
                <a:gd name="connsiteX862" fmla="*/ 1131756 w 3832826"/>
                <a:gd name="connsiteY862" fmla="*/ 3038019 h 5120141"/>
                <a:gd name="connsiteX863" fmla="*/ 1127548 w 3832826"/>
                <a:gd name="connsiteY863" fmla="*/ 3030003 h 5120141"/>
                <a:gd name="connsiteX864" fmla="*/ 1123341 w 3832826"/>
                <a:gd name="connsiteY864" fmla="*/ 3023991 h 5120141"/>
                <a:gd name="connsiteX865" fmla="*/ 1127548 w 3832826"/>
                <a:gd name="connsiteY865" fmla="*/ 3015975 h 5120141"/>
                <a:gd name="connsiteX866" fmla="*/ 1127548 w 3832826"/>
                <a:gd name="connsiteY866" fmla="*/ 3007959 h 5120141"/>
                <a:gd name="connsiteX867" fmla="*/ 1121238 w 3832826"/>
                <a:gd name="connsiteY867" fmla="*/ 2989924 h 5120141"/>
                <a:gd name="connsiteX868" fmla="*/ 1119134 w 3832826"/>
                <a:gd name="connsiteY868" fmla="*/ 2983912 h 5120141"/>
                <a:gd name="connsiteX869" fmla="*/ 1119134 w 3832826"/>
                <a:gd name="connsiteY869" fmla="*/ 2975896 h 5120141"/>
                <a:gd name="connsiteX870" fmla="*/ 1119133 w 3832826"/>
                <a:gd name="connsiteY870" fmla="*/ 2975897 h 5120141"/>
                <a:gd name="connsiteX871" fmla="*/ 1119133 w 3832826"/>
                <a:gd name="connsiteY871" fmla="*/ 2965877 h 5120141"/>
                <a:gd name="connsiteX872" fmla="*/ 1112822 w 3832826"/>
                <a:gd name="connsiteY872" fmla="*/ 2955857 h 5120141"/>
                <a:gd name="connsiteX873" fmla="*/ 1106511 w 3832826"/>
                <a:gd name="connsiteY873" fmla="*/ 2949845 h 5120141"/>
                <a:gd name="connsiteX874" fmla="*/ 1095993 w 3832826"/>
                <a:gd name="connsiteY874" fmla="*/ 2945837 h 5120141"/>
                <a:gd name="connsiteX875" fmla="*/ 1074956 w 3832826"/>
                <a:gd name="connsiteY875" fmla="*/ 2935817 h 5120141"/>
                <a:gd name="connsiteX876" fmla="*/ 1066542 w 3832826"/>
                <a:gd name="connsiteY876" fmla="*/ 2929806 h 5120141"/>
                <a:gd name="connsiteX877" fmla="*/ 1064438 w 3832826"/>
                <a:gd name="connsiteY877" fmla="*/ 2923794 h 5120141"/>
                <a:gd name="connsiteX878" fmla="*/ 1064438 w 3832826"/>
                <a:gd name="connsiteY878" fmla="*/ 2815579 h 5120141"/>
                <a:gd name="connsiteX879" fmla="*/ 1064438 w 3832826"/>
                <a:gd name="connsiteY879" fmla="*/ 2763476 h 5120141"/>
                <a:gd name="connsiteX880" fmla="*/ 1066542 w 3832826"/>
                <a:gd name="connsiteY880" fmla="*/ 2707365 h 5120141"/>
                <a:gd name="connsiteX881" fmla="*/ 1070749 w 3832826"/>
                <a:gd name="connsiteY881" fmla="*/ 2697345 h 5120141"/>
                <a:gd name="connsiteX882" fmla="*/ 1077060 w 3832826"/>
                <a:gd name="connsiteY882" fmla="*/ 2687326 h 5120141"/>
                <a:gd name="connsiteX883" fmla="*/ 1074956 w 3832826"/>
                <a:gd name="connsiteY883" fmla="*/ 2683318 h 5120141"/>
                <a:gd name="connsiteX884" fmla="*/ 1070749 w 3832826"/>
                <a:gd name="connsiteY884" fmla="*/ 2681314 h 5120141"/>
                <a:gd name="connsiteX885" fmla="*/ 1066542 w 3832826"/>
                <a:gd name="connsiteY885" fmla="*/ 2677306 h 5120141"/>
                <a:gd name="connsiteX886" fmla="*/ 1058127 w 3832826"/>
                <a:gd name="connsiteY886" fmla="*/ 2675302 h 5120141"/>
                <a:gd name="connsiteX887" fmla="*/ 1053920 w 3832826"/>
                <a:gd name="connsiteY887" fmla="*/ 2671294 h 5120141"/>
                <a:gd name="connsiteX888" fmla="*/ 1049713 w 3832826"/>
                <a:gd name="connsiteY888" fmla="*/ 2657266 h 5120141"/>
                <a:gd name="connsiteX889" fmla="*/ 1053920 w 3832826"/>
                <a:gd name="connsiteY889" fmla="*/ 2645242 h 5120141"/>
                <a:gd name="connsiteX890" fmla="*/ 1058127 w 3832826"/>
                <a:gd name="connsiteY890" fmla="*/ 2633218 h 5120141"/>
                <a:gd name="connsiteX891" fmla="*/ 1058127 w 3832826"/>
                <a:gd name="connsiteY891" fmla="*/ 2623199 h 5120141"/>
                <a:gd name="connsiteX892" fmla="*/ 1058127 w 3832826"/>
                <a:gd name="connsiteY892" fmla="*/ 2613179 h 5120141"/>
                <a:gd name="connsiteX893" fmla="*/ 1056023 w 3832826"/>
                <a:gd name="connsiteY893" fmla="*/ 2601155 h 5120141"/>
                <a:gd name="connsiteX894" fmla="*/ 1049713 w 3832826"/>
                <a:gd name="connsiteY894" fmla="*/ 2577107 h 5120141"/>
                <a:gd name="connsiteX895" fmla="*/ 1047609 w 3832826"/>
                <a:gd name="connsiteY895" fmla="*/ 2565084 h 5120141"/>
                <a:gd name="connsiteX896" fmla="*/ 1049713 w 3832826"/>
                <a:gd name="connsiteY896" fmla="*/ 2555064 h 5120141"/>
                <a:gd name="connsiteX897" fmla="*/ 1053920 w 3832826"/>
                <a:gd name="connsiteY897" fmla="*/ 2547048 h 5120141"/>
                <a:gd name="connsiteX898" fmla="*/ 1060231 w 3832826"/>
                <a:gd name="connsiteY898" fmla="*/ 2543040 h 5120141"/>
                <a:gd name="connsiteX899" fmla="*/ 1058389 w 3832826"/>
                <a:gd name="connsiteY899" fmla="*/ 2529007 h 5120141"/>
                <a:gd name="connsiteX900" fmla="*/ 1056029 w 3832826"/>
                <a:gd name="connsiteY900" fmla="*/ 2529007 h 5120141"/>
                <a:gd name="connsiteX901" fmla="*/ 1049713 w 3832826"/>
                <a:gd name="connsiteY901" fmla="*/ 2535024 h 5120141"/>
                <a:gd name="connsiteX902" fmla="*/ 1049713 w 3832826"/>
                <a:gd name="connsiteY902" fmla="*/ 2533020 h 5120141"/>
                <a:gd name="connsiteX903" fmla="*/ 1049713 w 3832826"/>
                <a:gd name="connsiteY903" fmla="*/ 2529007 h 5120141"/>
                <a:gd name="connsiteX904" fmla="*/ 904562 w 3832826"/>
                <a:gd name="connsiteY904" fmla="*/ 2529007 h 5120141"/>
                <a:gd name="connsiteX905" fmla="*/ 904562 w 3832826"/>
                <a:gd name="connsiteY905" fmla="*/ 2129394 h 5120141"/>
                <a:gd name="connsiteX906" fmla="*/ 889837 w 3832826"/>
                <a:gd name="connsiteY906" fmla="*/ 2130219 h 5120141"/>
                <a:gd name="connsiteX907" fmla="*/ 868800 w 3832826"/>
                <a:gd name="connsiteY907" fmla="*/ 2132223 h 5120141"/>
                <a:gd name="connsiteX908" fmla="*/ 841453 w 3832826"/>
                <a:gd name="connsiteY908" fmla="*/ 2130219 h 5120141"/>
                <a:gd name="connsiteX909" fmla="*/ 816209 w 3832826"/>
                <a:gd name="connsiteY909" fmla="*/ 2132223 h 5120141"/>
                <a:gd name="connsiteX910" fmla="*/ 793069 w 3832826"/>
                <a:gd name="connsiteY910" fmla="*/ 2140239 h 5120141"/>
                <a:gd name="connsiteX911" fmla="*/ 769929 w 3832826"/>
                <a:gd name="connsiteY911" fmla="*/ 2150258 h 5120141"/>
                <a:gd name="connsiteX912" fmla="*/ 748892 w 3832826"/>
                <a:gd name="connsiteY912" fmla="*/ 2162282 h 5120141"/>
                <a:gd name="connsiteX913" fmla="*/ 738374 w 3832826"/>
                <a:gd name="connsiteY913" fmla="*/ 2164286 h 5120141"/>
                <a:gd name="connsiteX914" fmla="*/ 732063 w 3832826"/>
                <a:gd name="connsiteY914" fmla="*/ 2164286 h 5120141"/>
                <a:gd name="connsiteX915" fmla="*/ 725752 w 3832826"/>
                <a:gd name="connsiteY915" fmla="*/ 2162282 h 5120141"/>
                <a:gd name="connsiteX916" fmla="*/ 704716 w 3832826"/>
                <a:gd name="connsiteY916" fmla="*/ 2152262 h 5120141"/>
                <a:gd name="connsiteX917" fmla="*/ 692094 w 3832826"/>
                <a:gd name="connsiteY917" fmla="*/ 2150258 h 5120141"/>
                <a:gd name="connsiteX918" fmla="*/ 677369 w 3832826"/>
                <a:gd name="connsiteY918" fmla="*/ 2150258 h 5120141"/>
                <a:gd name="connsiteX919" fmla="*/ 677369 w 3832826"/>
                <a:gd name="connsiteY919" fmla="*/ 2140239 h 5120141"/>
                <a:gd name="connsiteX920" fmla="*/ 675265 w 3832826"/>
                <a:gd name="connsiteY920" fmla="*/ 2128215 h 5120141"/>
                <a:gd name="connsiteX921" fmla="*/ 664747 w 3832826"/>
                <a:gd name="connsiteY921" fmla="*/ 2104167 h 5120141"/>
                <a:gd name="connsiteX922" fmla="*/ 643710 w 3832826"/>
                <a:gd name="connsiteY922" fmla="*/ 2062084 h 5120141"/>
                <a:gd name="connsiteX923" fmla="*/ 639503 w 3832826"/>
                <a:gd name="connsiteY923" fmla="*/ 2060080 h 5120141"/>
                <a:gd name="connsiteX924" fmla="*/ 633192 w 3832826"/>
                <a:gd name="connsiteY924" fmla="*/ 2056072 h 5120141"/>
                <a:gd name="connsiteX925" fmla="*/ 635296 w 3832826"/>
                <a:gd name="connsiteY925" fmla="*/ 2050060 h 5120141"/>
                <a:gd name="connsiteX926" fmla="*/ 635296 w 3832826"/>
                <a:gd name="connsiteY926" fmla="*/ 2042044 h 5120141"/>
                <a:gd name="connsiteX927" fmla="*/ 624777 w 3832826"/>
                <a:gd name="connsiteY927" fmla="*/ 2028016 h 5120141"/>
                <a:gd name="connsiteX928" fmla="*/ 612156 w 3832826"/>
                <a:gd name="connsiteY928" fmla="*/ 2009980 h 5120141"/>
                <a:gd name="connsiteX929" fmla="*/ 591119 w 3832826"/>
                <a:gd name="connsiteY929" fmla="*/ 1967897 h 5120141"/>
                <a:gd name="connsiteX930" fmla="*/ 570083 w 3832826"/>
                <a:gd name="connsiteY930" fmla="*/ 1925813 h 5120141"/>
                <a:gd name="connsiteX931" fmla="*/ 561668 w 3832826"/>
                <a:gd name="connsiteY931" fmla="*/ 1909781 h 5120141"/>
                <a:gd name="connsiteX932" fmla="*/ 555357 w 3832826"/>
                <a:gd name="connsiteY932" fmla="*/ 1897757 h 5120141"/>
                <a:gd name="connsiteX933" fmla="*/ 544839 w 3832826"/>
                <a:gd name="connsiteY933" fmla="*/ 1887738 h 5120141"/>
                <a:gd name="connsiteX934" fmla="*/ 530114 w 3832826"/>
                <a:gd name="connsiteY934" fmla="*/ 1879722 h 5120141"/>
                <a:gd name="connsiteX935" fmla="*/ 517492 w 3832826"/>
                <a:gd name="connsiteY935" fmla="*/ 1877718 h 5120141"/>
                <a:gd name="connsiteX936" fmla="*/ 502766 w 3832826"/>
                <a:gd name="connsiteY936" fmla="*/ 1877718 h 5120141"/>
                <a:gd name="connsiteX937" fmla="*/ 488041 w 3832826"/>
                <a:gd name="connsiteY937" fmla="*/ 1877718 h 5120141"/>
                <a:gd name="connsiteX938" fmla="*/ 481730 w 3832826"/>
                <a:gd name="connsiteY938" fmla="*/ 1875714 h 5120141"/>
                <a:gd name="connsiteX939" fmla="*/ 473315 w 3832826"/>
                <a:gd name="connsiteY939" fmla="*/ 1873710 h 5120141"/>
                <a:gd name="connsiteX940" fmla="*/ 473315 w 3832826"/>
                <a:gd name="connsiteY940" fmla="*/ 1857678 h 5120141"/>
                <a:gd name="connsiteX941" fmla="*/ 471212 w 3832826"/>
                <a:gd name="connsiteY941" fmla="*/ 1847658 h 5120141"/>
                <a:gd name="connsiteX942" fmla="*/ 462797 w 3832826"/>
                <a:gd name="connsiteY942" fmla="*/ 1829622 h 5120141"/>
                <a:gd name="connsiteX943" fmla="*/ 462797 w 3832826"/>
                <a:gd name="connsiteY943" fmla="*/ 1823611 h 5120141"/>
                <a:gd name="connsiteX944" fmla="*/ 467004 w 3832826"/>
                <a:gd name="connsiteY944" fmla="*/ 1817599 h 5120141"/>
                <a:gd name="connsiteX945" fmla="*/ 481730 w 3832826"/>
                <a:gd name="connsiteY945" fmla="*/ 1815595 h 5120141"/>
                <a:gd name="connsiteX946" fmla="*/ 491767 w 3832826"/>
                <a:gd name="connsiteY946" fmla="*/ 1801335 h 5120141"/>
                <a:gd name="connsiteX947" fmla="*/ 486799 w 3832826"/>
                <a:gd name="connsiteY947" fmla="*/ 1797561 h 5120141"/>
                <a:gd name="connsiteX948" fmla="*/ 476248 w 3832826"/>
                <a:gd name="connsiteY948" fmla="*/ 1787541 h 5120141"/>
                <a:gd name="connsiteX949" fmla="*/ 465697 w 3832826"/>
                <a:gd name="connsiteY949" fmla="*/ 1779525 h 5120141"/>
                <a:gd name="connsiteX950" fmla="*/ 463587 w 3832826"/>
                <a:gd name="connsiteY950" fmla="*/ 1775517 h 5120141"/>
                <a:gd name="connsiteX951" fmla="*/ 463587 w 3832826"/>
                <a:gd name="connsiteY951" fmla="*/ 1769505 h 5120141"/>
                <a:gd name="connsiteX952" fmla="*/ 463587 w 3832826"/>
                <a:gd name="connsiteY952" fmla="*/ 1757481 h 5120141"/>
                <a:gd name="connsiteX953" fmla="*/ 465697 w 3832826"/>
                <a:gd name="connsiteY953" fmla="*/ 1747461 h 5120141"/>
                <a:gd name="connsiteX954" fmla="*/ 463587 w 3832826"/>
                <a:gd name="connsiteY954" fmla="*/ 1737442 h 5120141"/>
                <a:gd name="connsiteX955" fmla="*/ 455146 w 3832826"/>
                <a:gd name="connsiteY955" fmla="*/ 1735438 h 5120141"/>
                <a:gd name="connsiteX956" fmla="*/ 438265 w 3832826"/>
                <a:gd name="connsiteY956" fmla="*/ 1729426 h 5120141"/>
                <a:gd name="connsiteX957" fmla="*/ 423494 w 3832826"/>
                <a:gd name="connsiteY957" fmla="*/ 1723414 h 5120141"/>
                <a:gd name="connsiteX958" fmla="*/ 415054 w 3832826"/>
                <a:gd name="connsiteY958" fmla="*/ 1717402 h 5120141"/>
                <a:gd name="connsiteX959" fmla="*/ 412943 w 3832826"/>
                <a:gd name="connsiteY959" fmla="*/ 1715398 h 5120141"/>
                <a:gd name="connsiteX960" fmla="*/ 406613 w 3832826"/>
                <a:gd name="connsiteY960" fmla="*/ 1699366 h 5120141"/>
                <a:gd name="connsiteX961" fmla="*/ 404503 w 3832826"/>
                <a:gd name="connsiteY961" fmla="*/ 1677323 h 5120141"/>
                <a:gd name="connsiteX962" fmla="*/ 404503 w 3832826"/>
                <a:gd name="connsiteY962" fmla="*/ 1657283 h 5120141"/>
                <a:gd name="connsiteX963" fmla="*/ 406613 w 3832826"/>
                <a:gd name="connsiteY963" fmla="*/ 1643255 h 5120141"/>
                <a:gd name="connsiteX964" fmla="*/ 410833 w 3832826"/>
                <a:gd name="connsiteY964" fmla="*/ 1637243 h 5120141"/>
                <a:gd name="connsiteX965" fmla="*/ 415054 w 3832826"/>
                <a:gd name="connsiteY965" fmla="*/ 1635239 h 5120141"/>
                <a:gd name="connsiteX966" fmla="*/ 421384 w 3832826"/>
                <a:gd name="connsiteY966" fmla="*/ 1631231 h 5120141"/>
                <a:gd name="connsiteX967" fmla="*/ 421384 w 3832826"/>
                <a:gd name="connsiteY967" fmla="*/ 1621212 h 5120141"/>
                <a:gd name="connsiteX968" fmla="*/ 417164 w 3832826"/>
                <a:gd name="connsiteY968" fmla="*/ 1613196 h 5120141"/>
                <a:gd name="connsiteX969" fmla="*/ 406613 w 3832826"/>
                <a:gd name="connsiteY969" fmla="*/ 1605180 h 5120141"/>
                <a:gd name="connsiteX970" fmla="*/ 391842 w 3832826"/>
                <a:gd name="connsiteY970" fmla="*/ 1593156 h 5120141"/>
                <a:gd name="connsiteX971" fmla="*/ 374961 w 3832826"/>
                <a:gd name="connsiteY971" fmla="*/ 1587144 h 5120141"/>
                <a:gd name="connsiteX972" fmla="*/ 355969 w 3832826"/>
                <a:gd name="connsiteY972" fmla="*/ 1585140 h 5120141"/>
                <a:gd name="connsiteX973" fmla="*/ 317987 w 3832826"/>
                <a:gd name="connsiteY973" fmla="*/ 1581132 h 5120141"/>
                <a:gd name="connsiteX974" fmla="*/ 296885 w 3832826"/>
                <a:gd name="connsiteY974" fmla="*/ 1577124 h 5120141"/>
                <a:gd name="connsiteX975" fmla="*/ 277894 w 3832826"/>
                <a:gd name="connsiteY975" fmla="*/ 1571112 h 5120141"/>
                <a:gd name="connsiteX976" fmla="*/ 263123 w 3832826"/>
                <a:gd name="connsiteY976" fmla="*/ 1561093 h 5120141"/>
                <a:gd name="connsiteX977" fmla="*/ 246242 w 3832826"/>
                <a:gd name="connsiteY977" fmla="*/ 1545061 h 5120141"/>
                <a:gd name="connsiteX978" fmla="*/ 229361 w 3832826"/>
                <a:gd name="connsiteY978" fmla="*/ 1533037 h 5120141"/>
                <a:gd name="connsiteX979" fmla="*/ 220920 w 3832826"/>
                <a:gd name="connsiteY979" fmla="*/ 1523017 h 5120141"/>
                <a:gd name="connsiteX980" fmla="*/ 212479 w 3832826"/>
                <a:gd name="connsiteY980" fmla="*/ 1515001 h 5120141"/>
                <a:gd name="connsiteX981" fmla="*/ 210369 w 3832826"/>
                <a:gd name="connsiteY981" fmla="*/ 1504982 h 5120141"/>
                <a:gd name="connsiteX982" fmla="*/ 208259 w 3832826"/>
                <a:gd name="connsiteY982" fmla="*/ 1494962 h 5120141"/>
                <a:gd name="connsiteX983" fmla="*/ 210369 w 3832826"/>
                <a:gd name="connsiteY983" fmla="*/ 1486946 h 5120141"/>
                <a:gd name="connsiteX984" fmla="*/ 218810 w 3832826"/>
                <a:gd name="connsiteY984" fmla="*/ 1476926 h 5120141"/>
                <a:gd name="connsiteX985" fmla="*/ 223030 w 3832826"/>
                <a:gd name="connsiteY985" fmla="*/ 1472918 h 5120141"/>
                <a:gd name="connsiteX986" fmla="*/ 223030 w 3832826"/>
                <a:gd name="connsiteY986" fmla="*/ 1464902 h 5120141"/>
                <a:gd name="connsiteX987" fmla="*/ 214590 w 3832826"/>
                <a:gd name="connsiteY987" fmla="*/ 1450874 h 5120141"/>
                <a:gd name="connsiteX988" fmla="*/ 212479 w 3832826"/>
                <a:gd name="connsiteY988" fmla="*/ 1444863 h 5120141"/>
                <a:gd name="connsiteX989" fmla="*/ 214590 w 3832826"/>
                <a:gd name="connsiteY989" fmla="*/ 1442859 h 5120141"/>
                <a:gd name="connsiteX990" fmla="*/ 220920 w 3832826"/>
                <a:gd name="connsiteY990" fmla="*/ 1442859 h 5120141"/>
                <a:gd name="connsiteX991" fmla="*/ 235691 w 3832826"/>
                <a:gd name="connsiteY991" fmla="*/ 1444863 h 5120141"/>
                <a:gd name="connsiteX992" fmla="*/ 242685 w 3832826"/>
                <a:gd name="connsiteY992" fmla="*/ 1444830 h 5120141"/>
                <a:gd name="connsiteX993" fmla="*/ 239592 w 3832826"/>
                <a:gd name="connsiteY993" fmla="*/ 1442715 h 5120141"/>
                <a:gd name="connsiteX994" fmla="*/ 240798 w 3832826"/>
                <a:gd name="connsiteY994" fmla="*/ 1440839 h 5120141"/>
                <a:gd name="connsiteX995" fmla="*/ 237706 w 3832826"/>
                <a:gd name="connsiteY995" fmla="*/ 1440853 h 5120141"/>
                <a:gd name="connsiteX996" fmla="*/ 241926 w 3832826"/>
                <a:gd name="connsiteY996" fmla="*/ 1378746 h 5120141"/>
                <a:gd name="connsiteX997" fmla="*/ 241926 w 3832826"/>
                <a:gd name="connsiteY997" fmla="*/ 1346677 h 5120141"/>
                <a:gd name="connsiteX998" fmla="*/ 237706 w 3832826"/>
                <a:gd name="connsiteY998" fmla="*/ 1316605 h 5120141"/>
                <a:gd name="connsiteX999" fmla="*/ 237706 w 3832826"/>
                <a:gd name="connsiteY999" fmla="*/ 1314609 h 5120141"/>
                <a:gd name="connsiteX1000" fmla="*/ 237706 w 3832826"/>
                <a:gd name="connsiteY1000" fmla="*/ 1300571 h 5120141"/>
                <a:gd name="connsiteX1001" fmla="*/ 237706 w 3832826"/>
                <a:gd name="connsiteY1001" fmla="*/ 1290558 h 5120141"/>
                <a:gd name="connsiteX1002" fmla="*/ 237706 w 3832826"/>
                <a:gd name="connsiteY1002" fmla="*/ 1288562 h 5120141"/>
                <a:gd name="connsiteX1003" fmla="*/ 235558 w 3832826"/>
                <a:gd name="connsiteY1003" fmla="*/ 1286533 h 5120141"/>
                <a:gd name="connsiteX1004" fmla="*/ 231412 w 3832826"/>
                <a:gd name="connsiteY1004" fmla="*/ 1284537 h 5120141"/>
                <a:gd name="connsiteX1005" fmla="*/ 223044 w 3832826"/>
                <a:gd name="connsiteY1005" fmla="*/ 1284537 h 5120141"/>
                <a:gd name="connsiteX1006" fmla="*/ 132485 w 3832826"/>
                <a:gd name="connsiteY1006" fmla="*/ 1284537 h 5120141"/>
                <a:gd name="connsiteX1007" fmla="*/ 132485 w 3832826"/>
                <a:gd name="connsiteY1007" fmla="*/ 1226421 h 5120141"/>
                <a:gd name="connsiteX1008" fmla="*/ 130486 w 3832826"/>
                <a:gd name="connsiteY1008" fmla="*/ 1194353 h 5120141"/>
                <a:gd name="connsiteX1009" fmla="*/ 128264 w 3832826"/>
                <a:gd name="connsiteY1009" fmla="*/ 1184340 h 5120141"/>
                <a:gd name="connsiteX1010" fmla="*/ 126191 w 3832826"/>
                <a:gd name="connsiteY1010" fmla="*/ 1178319 h 5120141"/>
                <a:gd name="connsiteX1011" fmla="*/ 122045 w 3832826"/>
                <a:gd name="connsiteY1011" fmla="*/ 1178319 h 5120141"/>
                <a:gd name="connsiteX1012" fmla="*/ 117750 w 3832826"/>
                <a:gd name="connsiteY1012" fmla="*/ 1176323 h 5120141"/>
                <a:gd name="connsiteX1013" fmla="*/ 117750 w 3832826"/>
                <a:gd name="connsiteY1013" fmla="*/ 1174327 h 5120141"/>
                <a:gd name="connsiteX1014" fmla="*/ 117750 w 3832826"/>
                <a:gd name="connsiteY1014" fmla="*/ 1164314 h 5120141"/>
                <a:gd name="connsiteX1015" fmla="*/ 117750 w 3832826"/>
                <a:gd name="connsiteY1015" fmla="*/ 1158293 h 5120141"/>
                <a:gd name="connsiteX1016" fmla="*/ 115751 w 3832826"/>
                <a:gd name="connsiteY1016" fmla="*/ 1154301 h 5120141"/>
                <a:gd name="connsiteX1017" fmla="*/ 111456 w 3832826"/>
                <a:gd name="connsiteY1017" fmla="*/ 1152272 h 5120141"/>
                <a:gd name="connsiteX1018" fmla="*/ 105162 w 3832826"/>
                <a:gd name="connsiteY1018" fmla="*/ 1148280 h 5120141"/>
                <a:gd name="connsiteX1019" fmla="*/ 100941 w 3832826"/>
                <a:gd name="connsiteY1019" fmla="*/ 1148280 h 5120141"/>
                <a:gd name="connsiteX1020" fmla="*/ 98868 w 3832826"/>
                <a:gd name="connsiteY1020" fmla="*/ 1144255 h 5120141"/>
                <a:gd name="connsiteX1021" fmla="*/ 98868 w 3832826"/>
                <a:gd name="connsiteY1021" fmla="*/ 1134242 h 5120141"/>
                <a:gd name="connsiteX1022" fmla="*/ 98868 w 3832826"/>
                <a:gd name="connsiteY1022" fmla="*/ 1112205 h 5120141"/>
                <a:gd name="connsiteX1023" fmla="*/ 96768 w 3832826"/>
                <a:gd name="connsiteY1023" fmla="*/ 1112205 h 5120141"/>
                <a:gd name="connsiteX1024" fmla="*/ 84146 w 3832826"/>
                <a:gd name="connsiteY1024" fmla="*/ 1076133 h 5120141"/>
                <a:gd name="connsiteX1025" fmla="*/ 82042 w 3832826"/>
                <a:gd name="connsiteY1025" fmla="*/ 1056094 h 5120141"/>
                <a:gd name="connsiteX1026" fmla="*/ 84146 w 3832826"/>
                <a:gd name="connsiteY1026" fmla="*/ 1046074 h 5120141"/>
                <a:gd name="connsiteX1027" fmla="*/ 86250 w 3832826"/>
                <a:gd name="connsiteY1027" fmla="*/ 1036054 h 5120141"/>
                <a:gd name="connsiteX1028" fmla="*/ 96768 w 3832826"/>
                <a:gd name="connsiteY1028" fmla="*/ 1018018 h 5120141"/>
                <a:gd name="connsiteX1029" fmla="*/ 103079 w 3832826"/>
                <a:gd name="connsiteY1029" fmla="*/ 1003990 h 5120141"/>
                <a:gd name="connsiteX1030" fmla="*/ 103079 w 3832826"/>
                <a:gd name="connsiteY1030" fmla="*/ 995974 h 5120141"/>
                <a:gd name="connsiteX1031" fmla="*/ 103079 w 3832826"/>
                <a:gd name="connsiteY1031" fmla="*/ 987959 h 5120141"/>
                <a:gd name="connsiteX1032" fmla="*/ 92561 w 3832826"/>
                <a:gd name="connsiteY1032" fmla="*/ 965915 h 5120141"/>
                <a:gd name="connsiteX1033" fmla="*/ 73628 w 3832826"/>
                <a:gd name="connsiteY1033" fmla="*/ 903792 h 5120141"/>
                <a:gd name="connsiteX1034" fmla="*/ 67317 w 3832826"/>
                <a:gd name="connsiteY1034" fmla="*/ 869724 h 5120141"/>
                <a:gd name="connsiteX1035" fmla="*/ 63110 w 3832826"/>
                <a:gd name="connsiteY1035" fmla="*/ 837661 h 5120141"/>
                <a:gd name="connsiteX1036" fmla="*/ 63110 w 3832826"/>
                <a:gd name="connsiteY1036" fmla="*/ 823633 h 5120141"/>
                <a:gd name="connsiteX1037" fmla="*/ 65213 w 3832826"/>
                <a:gd name="connsiteY1037" fmla="*/ 807601 h 5120141"/>
                <a:gd name="connsiteX1038" fmla="*/ 65213 w 3832826"/>
                <a:gd name="connsiteY1038" fmla="*/ 781549 h 5120141"/>
                <a:gd name="connsiteX1039" fmla="*/ 63110 w 3832826"/>
                <a:gd name="connsiteY1039" fmla="*/ 767522 h 5120141"/>
                <a:gd name="connsiteX1040" fmla="*/ 56799 w 3832826"/>
                <a:gd name="connsiteY1040" fmla="*/ 757502 h 5120141"/>
                <a:gd name="connsiteX1041" fmla="*/ 46281 w 3832826"/>
                <a:gd name="connsiteY1041" fmla="*/ 747482 h 5120141"/>
                <a:gd name="connsiteX1042" fmla="*/ 29452 w 3832826"/>
                <a:gd name="connsiteY1042" fmla="*/ 741470 h 5120141"/>
                <a:gd name="connsiteX1043" fmla="*/ 27348 w 3832826"/>
                <a:gd name="connsiteY1043" fmla="*/ 733454 h 5120141"/>
                <a:gd name="connsiteX1044" fmla="*/ 29452 w 3832826"/>
                <a:gd name="connsiteY1044" fmla="*/ 725438 h 5120141"/>
                <a:gd name="connsiteX1045" fmla="*/ 31555 w 3832826"/>
                <a:gd name="connsiteY1045" fmla="*/ 717422 h 5120141"/>
                <a:gd name="connsiteX1046" fmla="*/ 39970 w 3832826"/>
                <a:gd name="connsiteY1046" fmla="*/ 711410 h 5120141"/>
                <a:gd name="connsiteX1047" fmla="*/ 46281 w 3832826"/>
                <a:gd name="connsiteY1047" fmla="*/ 705398 h 5120141"/>
                <a:gd name="connsiteX1048" fmla="*/ 52880 w 3832826"/>
                <a:gd name="connsiteY1048" fmla="*/ 703827 h 5120141"/>
                <a:gd name="connsiteX1049" fmla="*/ 52638 w 3832826"/>
                <a:gd name="connsiteY1049" fmla="*/ 703357 h 5120141"/>
                <a:gd name="connsiteX1050" fmla="*/ 44132 w 3832826"/>
                <a:gd name="connsiteY1050" fmla="*/ 705433 h 5120141"/>
                <a:gd name="connsiteX1051" fmla="*/ 37845 w 3832826"/>
                <a:gd name="connsiteY1051" fmla="*/ 711439 h 5120141"/>
                <a:gd name="connsiteX1052" fmla="*/ 29462 w 3832826"/>
                <a:gd name="connsiteY1052" fmla="*/ 717445 h 5120141"/>
                <a:gd name="connsiteX1053" fmla="*/ 27367 w 3832826"/>
                <a:gd name="connsiteY1053" fmla="*/ 725453 h 5120141"/>
                <a:gd name="connsiteX1054" fmla="*/ 25271 w 3832826"/>
                <a:gd name="connsiteY1054" fmla="*/ 733461 h 5120141"/>
                <a:gd name="connsiteX1055" fmla="*/ 27367 w 3832826"/>
                <a:gd name="connsiteY1055" fmla="*/ 741469 h 5120141"/>
                <a:gd name="connsiteX1056" fmla="*/ 16888 w 3832826"/>
                <a:gd name="connsiteY1056" fmla="*/ 737465 h 5120141"/>
                <a:gd name="connsiteX1057" fmla="*/ 10478 w 3832826"/>
                <a:gd name="connsiteY1057" fmla="*/ 733461 h 5120141"/>
                <a:gd name="connsiteX1058" fmla="*/ 6287 w 3832826"/>
                <a:gd name="connsiteY1058" fmla="*/ 727455 h 5120141"/>
                <a:gd name="connsiteX1059" fmla="*/ 4191 w 3832826"/>
                <a:gd name="connsiteY1059" fmla="*/ 721449 h 5120141"/>
                <a:gd name="connsiteX1060" fmla="*/ 0 w 3832826"/>
                <a:gd name="connsiteY1060" fmla="*/ 713441 h 5120141"/>
                <a:gd name="connsiteX1061" fmla="*/ 4191 w 3832826"/>
                <a:gd name="connsiteY1061" fmla="*/ 705433 h 5120141"/>
                <a:gd name="connsiteX1062" fmla="*/ 8383 w 3832826"/>
                <a:gd name="connsiteY1062" fmla="*/ 691346 h 5120141"/>
                <a:gd name="connsiteX1063" fmla="*/ 16888 w 3832826"/>
                <a:gd name="connsiteY1063" fmla="*/ 673328 h 5120141"/>
                <a:gd name="connsiteX1064" fmla="*/ 27367 w 3832826"/>
                <a:gd name="connsiteY1064" fmla="*/ 657312 h 5120141"/>
                <a:gd name="connsiteX1065" fmla="*/ 44132 w 3832826"/>
                <a:gd name="connsiteY1065" fmla="*/ 637292 h 5120141"/>
                <a:gd name="connsiteX1066" fmla="*/ 50542 w 3832826"/>
                <a:gd name="connsiteY1066" fmla="*/ 631287 h 5120141"/>
                <a:gd name="connsiteX1067" fmla="*/ 52638 w 3832826"/>
                <a:gd name="connsiteY1067" fmla="*/ 625206 h 5120141"/>
                <a:gd name="connsiteX1068" fmla="*/ 52638 w 3832826"/>
                <a:gd name="connsiteY1068" fmla="*/ 623205 h 5120141"/>
                <a:gd name="connsiteX1069" fmla="*/ 63116 w 3832826"/>
                <a:gd name="connsiteY1069" fmla="*/ 621203 h 5120141"/>
                <a:gd name="connsiteX1070" fmla="*/ 75690 w 3832826"/>
                <a:gd name="connsiteY1070" fmla="*/ 617199 h 5120141"/>
                <a:gd name="connsiteX1071" fmla="*/ 86291 w 3832826"/>
                <a:gd name="connsiteY1071" fmla="*/ 611193 h 5120141"/>
                <a:gd name="connsiteX1072" fmla="*/ 100961 w 3832826"/>
                <a:gd name="connsiteY1072" fmla="*/ 599181 h 5120141"/>
                <a:gd name="connsiteX1073" fmla="*/ 107248 w 3832826"/>
                <a:gd name="connsiteY1073" fmla="*/ 595177 h 5120141"/>
                <a:gd name="connsiteX1074" fmla="*/ 113658 w 3832826"/>
                <a:gd name="connsiteY1074" fmla="*/ 595177 h 5120141"/>
                <a:gd name="connsiteX1075" fmla="*/ 117849 w 3832826"/>
                <a:gd name="connsiteY1075" fmla="*/ 599181 h 5120141"/>
                <a:gd name="connsiteX1076" fmla="*/ 136710 w 3832826"/>
                <a:gd name="connsiteY1076" fmla="*/ 579161 h 5120141"/>
                <a:gd name="connsiteX1077" fmla="*/ 147311 w 3832826"/>
                <a:gd name="connsiteY1077" fmla="*/ 569151 h 5120141"/>
                <a:gd name="connsiteX1078" fmla="*/ 153598 w 3832826"/>
                <a:gd name="connsiteY1078" fmla="*/ 559142 h 5120141"/>
                <a:gd name="connsiteX1079" fmla="*/ 157790 w 3832826"/>
                <a:gd name="connsiteY1079" fmla="*/ 551060 h 5120141"/>
                <a:gd name="connsiteX1080" fmla="*/ 164077 w 3832826"/>
                <a:gd name="connsiteY1080" fmla="*/ 549058 h 5120141"/>
                <a:gd name="connsiteX1081" fmla="*/ 176650 w 3832826"/>
                <a:gd name="connsiteY1081" fmla="*/ 543052 h 5120141"/>
                <a:gd name="connsiteX1082" fmla="*/ 185156 w 3832826"/>
                <a:gd name="connsiteY1082" fmla="*/ 541050 h 5120141"/>
                <a:gd name="connsiteX1083" fmla="*/ 189348 w 3832826"/>
                <a:gd name="connsiteY1083" fmla="*/ 539048 h 5120141"/>
                <a:gd name="connsiteX1084" fmla="*/ 195634 w 3832826"/>
                <a:gd name="connsiteY1084" fmla="*/ 533042 h 5120141"/>
                <a:gd name="connsiteX1085" fmla="*/ 197730 w 3832826"/>
                <a:gd name="connsiteY1085" fmla="*/ 525034 h 5120141"/>
                <a:gd name="connsiteX1086" fmla="*/ 201921 w 3832826"/>
                <a:gd name="connsiteY1086" fmla="*/ 521030 h 5120141"/>
                <a:gd name="connsiteX1087" fmla="*/ 212523 w 3832826"/>
                <a:gd name="connsiteY1087" fmla="*/ 511020 h 5120141"/>
                <a:gd name="connsiteX1088" fmla="*/ 233480 w 3832826"/>
                <a:gd name="connsiteY1088" fmla="*/ 495005 h 5120141"/>
                <a:gd name="connsiteX1089" fmla="*/ 250368 w 3832826"/>
                <a:gd name="connsiteY1089" fmla="*/ 491001 h 5120141"/>
                <a:gd name="connsiteX1090" fmla="*/ 260846 w 3832826"/>
                <a:gd name="connsiteY1090" fmla="*/ 488999 h 5120141"/>
                <a:gd name="connsiteX1091" fmla="*/ 260846 w 3832826"/>
                <a:gd name="connsiteY1091" fmla="*/ 484995 h 5120141"/>
                <a:gd name="connsiteX1092" fmla="*/ 260846 w 3832826"/>
                <a:gd name="connsiteY1092" fmla="*/ 480917 h 5120141"/>
                <a:gd name="connsiteX1093" fmla="*/ 252464 w 3832826"/>
                <a:gd name="connsiteY1093" fmla="*/ 462899 h 5120141"/>
                <a:gd name="connsiteX1094" fmla="*/ 233480 w 3832826"/>
                <a:gd name="connsiteY1094" fmla="*/ 428866 h 5120141"/>
                <a:gd name="connsiteX1095" fmla="*/ 229288 w 3832826"/>
                <a:gd name="connsiteY1095" fmla="*/ 414852 h 5120141"/>
                <a:gd name="connsiteX1096" fmla="*/ 227193 w 3832826"/>
                <a:gd name="connsiteY1096" fmla="*/ 404768 h 5120141"/>
                <a:gd name="connsiteX1097" fmla="*/ 227193 w 3832826"/>
                <a:gd name="connsiteY1097" fmla="*/ 398762 h 5120141"/>
                <a:gd name="connsiteX1098" fmla="*/ 229288 w 3832826"/>
                <a:gd name="connsiteY1098" fmla="*/ 396760 h 5120141"/>
                <a:gd name="connsiteX1099" fmla="*/ 231384 w 3832826"/>
                <a:gd name="connsiteY1099" fmla="*/ 396760 h 5120141"/>
                <a:gd name="connsiteX1100" fmla="*/ 239766 w 3832826"/>
                <a:gd name="connsiteY1100" fmla="*/ 392756 h 5120141"/>
                <a:gd name="connsiteX1101" fmla="*/ 241862 w 3832826"/>
                <a:gd name="connsiteY1101" fmla="*/ 390754 h 5120141"/>
                <a:gd name="connsiteX1102" fmla="*/ 244081 w 3832826"/>
                <a:gd name="connsiteY1102" fmla="*/ 388752 h 5120141"/>
                <a:gd name="connsiteX1103" fmla="*/ 244081 w 3832826"/>
                <a:gd name="connsiteY1103" fmla="*/ 382746 h 5120141"/>
                <a:gd name="connsiteX1104" fmla="*/ 244081 w 3832826"/>
                <a:gd name="connsiteY1104" fmla="*/ 372736 h 5120141"/>
                <a:gd name="connsiteX1105" fmla="*/ 244081 w 3832826"/>
                <a:gd name="connsiteY1105" fmla="*/ 362726 h 5120141"/>
                <a:gd name="connsiteX1106" fmla="*/ 250368 w 3832826"/>
                <a:gd name="connsiteY1106" fmla="*/ 356721 h 5120141"/>
                <a:gd name="connsiteX1107" fmla="*/ 252464 w 3832826"/>
                <a:gd name="connsiteY1107" fmla="*/ 350715 h 5120141"/>
                <a:gd name="connsiteX1108" fmla="*/ 262942 w 3832826"/>
                <a:gd name="connsiteY1108" fmla="*/ 342707 h 5120141"/>
                <a:gd name="connsiteX1109" fmla="*/ 273420 w 3832826"/>
                <a:gd name="connsiteY1109" fmla="*/ 338703 h 5120141"/>
                <a:gd name="connsiteX1110" fmla="*/ 284022 w 3832826"/>
                <a:gd name="connsiteY1110" fmla="*/ 328619 h 5120141"/>
                <a:gd name="connsiteX1111" fmla="*/ 290308 w 3832826"/>
                <a:gd name="connsiteY1111" fmla="*/ 318609 h 5120141"/>
                <a:gd name="connsiteX1112" fmla="*/ 292404 w 3832826"/>
                <a:gd name="connsiteY1112" fmla="*/ 302593 h 5120141"/>
                <a:gd name="connsiteX1113" fmla="*/ 300787 w 3832826"/>
                <a:gd name="connsiteY1113" fmla="*/ 278570 h 5120141"/>
                <a:gd name="connsiteX1114" fmla="*/ 311388 w 3832826"/>
                <a:gd name="connsiteY1114" fmla="*/ 250468 h 5120141"/>
                <a:gd name="connsiteX1115" fmla="*/ 315579 w 3832826"/>
                <a:gd name="connsiteY1115" fmla="*/ 236454 h 5120141"/>
                <a:gd name="connsiteX1116" fmla="*/ 317675 w 3832826"/>
                <a:gd name="connsiteY1116" fmla="*/ 222441 h 5120141"/>
                <a:gd name="connsiteX1117" fmla="*/ 321866 w 3832826"/>
                <a:gd name="connsiteY1117" fmla="*/ 200419 h 5120141"/>
                <a:gd name="connsiteX1118" fmla="*/ 326058 w 3832826"/>
                <a:gd name="connsiteY1118" fmla="*/ 188407 h 5120141"/>
                <a:gd name="connsiteX1119" fmla="*/ 332345 w 3832826"/>
                <a:gd name="connsiteY1119" fmla="*/ 178323 h 5120141"/>
                <a:gd name="connsiteX1120" fmla="*/ 342946 w 3832826"/>
                <a:gd name="connsiteY1120" fmla="*/ 168313 h 5120141"/>
                <a:gd name="connsiteX1121" fmla="*/ 355520 w 3832826"/>
                <a:gd name="connsiteY1121" fmla="*/ 158303 h 5120141"/>
                <a:gd name="connsiteX1122" fmla="*/ 365998 w 3832826"/>
                <a:gd name="connsiteY1122" fmla="*/ 150296 h 5120141"/>
                <a:gd name="connsiteX1123" fmla="*/ 372285 w 3832826"/>
                <a:gd name="connsiteY1123" fmla="*/ 140286 h 5120141"/>
                <a:gd name="connsiteX1124" fmla="*/ 376600 w 3832826"/>
                <a:gd name="connsiteY1124" fmla="*/ 136282 h 5120141"/>
                <a:gd name="connsiteX1125" fmla="*/ 378695 w 3832826"/>
                <a:gd name="connsiteY1125" fmla="*/ 128274 h 5120141"/>
                <a:gd name="connsiteX1126" fmla="*/ 378695 w 3832826"/>
                <a:gd name="connsiteY1126" fmla="*/ 110182 h 5120141"/>
                <a:gd name="connsiteX1127" fmla="*/ 378695 w 3832826"/>
                <a:gd name="connsiteY1127" fmla="*/ 96168 h 5120141"/>
                <a:gd name="connsiteX1128" fmla="*/ 380791 w 3832826"/>
                <a:gd name="connsiteY1128" fmla="*/ 88161 h 5120141"/>
                <a:gd name="connsiteX1129" fmla="*/ 382887 w 3832826"/>
                <a:gd name="connsiteY1129" fmla="*/ 86159 h 5120141"/>
                <a:gd name="connsiteX1130" fmla="*/ 393365 w 3832826"/>
                <a:gd name="connsiteY1130" fmla="*/ 80153 h 5120141"/>
                <a:gd name="connsiteX1131" fmla="*/ 408158 w 3832826"/>
                <a:gd name="connsiteY1131" fmla="*/ 78151 h 5120141"/>
                <a:gd name="connsiteX1132" fmla="*/ 420732 w 3832826"/>
                <a:gd name="connsiteY1132" fmla="*/ 76149 h 5120141"/>
                <a:gd name="connsiteX1133" fmla="*/ 424923 w 3832826"/>
                <a:gd name="connsiteY1133" fmla="*/ 74147 h 5120141"/>
                <a:gd name="connsiteX1134" fmla="*/ 431210 w 3832826"/>
                <a:gd name="connsiteY1134" fmla="*/ 68141 h 5120141"/>
                <a:gd name="connsiteX1135" fmla="*/ 435401 w 3832826"/>
                <a:gd name="connsiteY1135" fmla="*/ 54127 h 5120141"/>
                <a:gd name="connsiteX1136" fmla="*/ 435401 w 3832826"/>
                <a:gd name="connsiteY1136" fmla="*/ 44117 h 5120141"/>
                <a:gd name="connsiteX1137" fmla="*/ 435401 w 3832826"/>
                <a:gd name="connsiteY1137" fmla="*/ 34033 h 5120141"/>
                <a:gd name="connsiteX1138" fmla="*/ 431210 w 3832826"/>
                <a:gd name="connsiteY1138" fmla="*/ 28027 h 5120141"/>
                <a:gd name="connsiteX1139" fmla="*/ 420732 w 3832826"/>
                <a:gd name="connsiteY1139" fmla="*/ 16016 h 5120141"/>
                <a:gd name="connsiteX1140" fmla="*/ 401747 w 3832826"/>
                <a:gd name="connsiteY1140" fmla="*/ 0 h 5120141"/>
                <a:gd name="connsiteX0" fmla="*/ 1390471 w 3832826"/>
                <a:gd name="connsiteY0" fmla="*/ 1285217 h 5120141"/>
                <a:gd name="connsiteX1" fmla="*/ 1392579 w 3832826"/>
                <a:gd name="connsiteY1" fmla="*/ 1291180 h 5120141"/>
                <a:gd name="connsiteX2" fmla="*/ 1392579 w 3832826"/>
                <a:gd name="connsiteY2" fmla="*/ 1296597 h 5120141"/>
                <a:gd name="connsiteX3" fmla="*/ 1392608 w 3832826"/>
                <a:gd name="connsiteY3" fmla="*/ 1296570 h 5120141"/>
                <a:gd name="connsiteX4" fmla="*/ 1392608 w 3832826"/>
                <a:gd name="connsiteY4" fmla="*/ 1290558 h 5120141"/>
                <a:gd name="connsiteX5" fmla="*/ 1390739 w 3832826"/>
                <a:gd name="connsiteY5" fmla="*/ 1285217 h 5120141"/>
                <a:gd name="connsiteX6" fmla="*/ 1390471 w 3832826"/>
                <a:gd name="connsiteY6" fmla="*/ 1285217 h 5120141"/>
                <a:gd name="connsiteX7" fmla="*/ 1138708 w 3832826"/>
                <a:gd name="connsiteY7" fmla="*/ 844805 h 5120141"/>
                <a:gd name="connsiteX8" fmla="*/ 1135965 w 3832826"/>
                <a:gd name="connsiteY8" fmla="*/ 845676 h 5120141"/>
                <a:gd name="connsiteX9" fmla="*/ 1138389 w 3832826"/>
                <a:gd name="connsiteY9" fmla="*/ 850296 h 5120141"/>
                <a:gd name="connsiteX10" fmla="*/ 1142308 w 3832826"/>
                <a:gd name="connsiteY10" fmla="*/ 851593 h 5120141"/>
                <a:gd name="connsiteX11" fmla="*/ 1138708 w 3832826"/>
                <a:gd name="connsiteY11" fmla="*/ 844805 h 5120141"/>
                <a:gd name="connsiteX12" fmla="*/ 1142276 w 3832826"/>
                <a:gd name="connsiteY12" fmla="*/ 825637 h 5120141"/>
                <a:gd name="connsiteX13" fmla="*/ 1144379 w 3832826"/>
                <a:gd name="connsiteY13" fmla="*/ 833653 h 5120141"/>
                <a:gd name="connsiteX14" fmla="*/ 1144379 w 3832826"/>
                <a:gd name="connsiteY14" fmla="*/ 839665 h 5120141"/>
                <a:gd name="connsiteX15" fmla="*/ 1143167 w 3832826"/>
                <a:gd name="connsiteY15" fmla="*/ 841974 h 5120141"/>
                <a:gd name="connsiteX16" fmla="*/ 1144345 w 3832826"/>
                <a:gd name="connsiteY16" fmla="*/ 841587 h 5120141"/>
                <a:gd name="connsiteX17" fmla="*/ 1146453 w 3832826"/>
                <a:gd name="connsiteY17" fmla="*/ 837612 h 5120141"/>
                <a:gd name="connsiteX18" fmla="*/ 1146453 w 3832826"/>
                <a:gd name="connsiteY18" fmla="*/ 831649 h 5120141"/>
                <a:gd name="connsiteX19" fmla="*/ 1144873 w 3832826"/>
                <a:gd name="connsiteY19" fmla="*/ 825637 h 5120141"/>
                <a:gd name="connsiteX20" fmla="*/ 1142276 w 3832826"/>
                <a:gd name="connsiteY20" fmla="*/ 825637 h 5120141"/>
                <a:gd name="connsiteX21" fmla="*/ 401747 w 3832826"/>
                <a:gd name="connsiteY21" fmla="*/ 0 h 5120141"/>
                <a:gd name="connsiteX22" fmla="*/ 769965 w 3832826"/>
                <a:gd name="connsiteY22" fmla="*/ 0 h 5120141"/>
                <a:gd name="connsiteX23" fmla="*/ 1138058 w 3832826"/>
                <a:gd name="connsiteY23" fmla="*/ 0 h 5120141"/>
                <a:gd name="connsiteX24" fmla="*/ 1222254 w 3832826"/>
                <a:gd name="connsiteY24" fmla="*/ 0 h 5120141"/>
                <a:gd name="connsiteX25" fmla="*/ 1226445 w 3832826"/>
                <a:gd name="connsiteY25" fmla="*/ 140286 h 5120141"/>
                <a:gd name="connsiteX26" fmla="*/ 1228541 w 3832826"/>
                <a:gd name="connsiteY26" fmla="*/ 278570 h 5120141"/>
                <a:gd name="connsiteX27" fmla="*/ 1232732 w 3832826"/>
                <a:gd name="connsiteY27" fmla="*/ 414852 h 5120141"/>
                <a:gd name="connsiteX28" fmla="*/ 1228541 w 3832826"/>
                <a:gd name="connsiteY28" fmla="*/ 559142 h 5120141"/>
                <a:gd name="connsiteX29" fmla="*/ 1224350 w 3832826"/>
                <a:gd name="connsiteY29" fmla="*/ 559142 h 5120141"/>
                <a:gd name="connsiteX30" fmla="*/ 1224350 w 3832826"/>
                <a:gd name="connsiteY30" fmla="*/ 591173 h 5120141"/>
                <a:gd name="connsiteX31" fmla="*/ 1222254 w 3832826"/>
                <a:gd name="connsiteY31" fmla="*/ 591173 h 5120141"/>
                <a:gd name="connsiteX32" fmla="*/ 1194887 w 3832826"/>
                <a:gd name="connsiteY32" fmla="*/ 591173 h 5120141"/>
                <a:gd name="connsiteX33" fmla="*/ 1163329 w 3832826"/>
                <a:gd name="connsiteY33" fmla="*/ 591173 h 5120141"/>
                <a:gd name="connsiteX34" fmla="*/ 1108125 w 3832826"/>
                <a:gd name="connsiteY34" fmla="*/ 602727 h 5120141"/>
                <a:gd name="connsiteX35" fmla="*/ 1110721 w 3832826"/>
                <a:gd name="connsiteY35" fmla="*/ 605200 h 5120141"/>
                <a:gd name="connsiteX36" fmla="*/ 1119136 w 3832826"/>
                <a:gd name="connsiteY36" fmla="*/ 613216 h 5120141"/>
                <a:gd name="connsiteX37" fmla="*/ 1121239 w 3832826"/>
                <a:gd name="connsiteY37" fmla="*/ 621231 h 5120141"/>
                <a:gd name="connsiteX38" fmla="*/ 1123343 w 3832826"/>
                <a:gd name="connsiteY38" fmla="*/ 645279 h 5120141"/>
                <a:gd name="connsiteX39" fmla="*/ 1129654 w 3832826"/>
                <a:gd name="connsiteY39" fmla="*/ 657303 h 5120141"/>
                <a:gd name="connsiteX40" fmla="*/ 1140172 w 3832826"/>
                <a:gd name="connsiteY40" fmla="*/ 667323 h 5120141"/>
                <a:gd name="connsiteX41" fmla="*/ 1146483 w 3832826"/>
                <a:gd name="connsiteY41" fmla="*/ 673335 h 5120141"/>
                <a:gd name="connsiteX42" fmla="*/ 1161208 w 3832826"/>
                <a:gd name="connsiteY42" fmla="*/ 677343 h 5120141"/>
                <a:gd name="connsiteX43" fmla="*/ 1184348 w 3832826"/>
                <a:gd name="connsiteY43" fmla="*/ 683355 h 5120141"/>
                <a:gd name="connsiteX44" fmla="*/ 1194866 w 3832826"/>
                <a:gd name="connsiteY44" fmla="*/ 687363 h 5120141"/>
                <a:gd name="connsiteX45" fmla="*/ 1205385 w 3832826"/>
                <a:gd name="connsiteY45" fmla="*/ 693375 h 5120141"/>
                <a:gd name="connsiteX46" fmla="*/ 1209592 w 3832826"/>
                <a:gd name="connsiteY46" fmla="*/ 703394 h 5120141"/>
                <a:gd name="connsiteX47" fmla="*/ 1213799 w 3832826"/>
                <a:gd name="connsiteY47" fmla="*/ 715418 h 5120141"/>
                <a:gd name="connsiteX48" fmla="*/ 1199074 w 3832826"/>
                <a:gd name="connsiteY48" fmla="*/ 715418 h 5120141"/>
                <a:gd name="connsiteX49" fmla="*/ 1196970 w 3832826"/>
                <a:gd name="connsiteY49" fmla="*/ 715418 h 5120141"/>
                <a:gd name="connsiteX50" fmla="*/ 1196970 w 3832826"/>
                <a:gd name="connsiteY50" fmla="*/ 717422 h 5120141"/>
                <a:gd name="connsiteX51" fmla="*/ 1203281 w 3832826"/>
                <a:gd name="connsiteY51" fmla="*/ 725438 h 5120141"/>
                <a:gd name="connsiteX52" fmla="*/ 1205385 w 3832826"/>
                <a:gd name="connsiteY52" fmla="*/ 733454 h 5120141"/>
                <a:gd name="connsiteX53" fmla="*/ 1207488 w 3832826"/>
                <a:gd name="connsiteY53" fmla="*/ 751490 h 5120141"/>
                <a:gd name="connsiteX54" fmla="*/ 1207488 w 3832826"/>
                <a:gd name="connsiteY54" fmla="*/ 763514 h 5120141"/>
                <a:gd name="connsiteX55" fmla="*/ 1199074 w 3832826"/>
                <a:gd name="connsiteY55" fmla="*/ 773533 h 5120141"/>
                <a:gd name="connsiteX56" fmla="*/ 1188556 w 3832826"/>
                <a:gd name="connsiteY56" fmla="*/ 785557 h 5120141"/>
                <a:gd name="connsiteX57" fmla="*/ 1175934 w 3832826"/>
                <a:gd name="connsiteY57" fmla="*/ 793573 h 5120141"/>
                <a:gd name="connsiteX58" fmla="*/ 1161208 w 3832826"/>
                <a:gd name="connsiteY58" fmla="*/ 801589 h 5120141"/>
                <a:gd name="connsiteX59" fmla="*/ 1154897 w 3832826"/>
                <a:gd name="connsiteY59" fmla="*/ 803593 h 5120141"/>
                <a:gd name="connsiteX60" fmla="*/ 1150690 w 3832826"/>
                <a:gd name="connsiteY60" fmla="*/ 811609 h 5120141"/>
                <a:gd name="connsiteX61" fmla="*/ 1150690 w 3832826"/>
                <a:gd name="connsiteY61" fmla="*/ 817621 h 5120141"/>
                <a:gd name="connsiteX62" fmla="*/ 1153844 w 3832826"/>
                <a:gd name="connsiteY62" fmla="*/ 823631 h 5120141"/>
                <a:gd name="connsiteX63" fmla="*/ 1156992 w 3832826"/>
                <a:gd name="connsiteY63" fmla="*/ 823631 h 5120141"/>
                <a:gd name="connsiteX64" fmla="*/ 1165424 w 3832826"/>
                <a:gd name="connsiteY64" fmla="*/ 823631 h 5120141"/>
                <a:gd name="connsiteX65" fmla="*/ 1169639 w 3832826"/>
                <a:gd name="connsiteY65" fmla="*/ 827606 h 5120141"/>
                <a:gd name="connsiteX66" fmla="*/ 1173855 w 3832826"/>
                <a:gd name="connsiteY66" fmla="*/ 833637 h 5120141"/>
                <a:gd name="connsiteX67" fmla="*/ 1173855 w 3832826"/>
                <a:gd name="connsiteY67" fmla="*/ 841587 h 5120141"/>
                <a:gd name="connsiteX68" fmla="*/ 1173855 w 3832826"/>
                <a:gd name="connsiteY68" fmla="*/ 855568 h 5120141"/>
                <a:gd name="connsiteX69" fmla="*/ 1169639 w 3832826"/>
                <a:gd name="connsiteY69" fmla="*/ 871605 h 5120141"/>
                <a:gd name="connsiteX70" fmla="*/ 1184324 w 3832826"/>
                <a:gd name="connsiteY70" fmla="*/ 867562 h 5120141"/>
                <a:gd name="connsiteX71" fmla="*/ 1180108 w 3832826"/>
                <a:gd name="connsiteY71" fmla="*/ 877568 h 5120141"/>
                <a:gd name="connsiteX72" fmla="*/ 1188540 w 3832826"/>
                <a:gd name="connsiteY72" fmla="*/ 877568 h 5120141"/>
                <a:gd name="connsiteX73" fmla="*/ 1194863 w 3832826"/>
                <a:gd name="connsiteY73" fmla="*/ 885587 h 5120141"/>
                <a:gd name="connsiteX74" fmla="*/ 1196971 w 3832826"/>
                <a:gd name="connsiteY74" fmla="*/ 895593 h 5120141"/>
                <a:gd name="connsiteX75" fmla="*/ 1188540 w 3832826"/>
                <a:gd name="connsiteY75" fmla="*/ 895593 h 5120141"/>
                <a:gd name="connsiteX76" fmla="*/ 1190648 w 3832826"/>
                <a:gd name="connsiteY76" fmla="*/ 903543 h 5120141"/>
                <a:gd name="connsiteX77" fmla="*/ 1188540 w 3832826"/>
                <a:gd name="connsiteY77" fmla="*/ 907518 h 5120141"/>
                <a:gd name="connsiteX78" fmla="*/ 1184324 w 3832826"/>
                <a:gd name="connsiteY78" fmla="*/ 913549 h 5120141"/>
                <a:gd name="connsiteX79" fmla="*/ 1175963 w 3832826"/>
                <a:gd name="connsiteY79" fmla="*/ 917524 h 5120141"/>
                <a:gd name="connsiteX80" fmla="*/ 1169639 w 3832826"/>
                <a:gd name="connsiteY80" fmla="*/ 923555 h 5120141"/>
                <a:gd name="connsiteX81" fmla="*/ 1163316 w 3832826"/>
                <a:gd name="connsiteY81" fmla="*/ 933493 h 5120141"/>
                <a:gd name="connsiteX82" fmla="*/ 1163316 w 3832826"/>
                <a:gd name="connsiteY82" fmla="*/ 941512 h 5120141"/>
                <a:gd name="connsiteX83" fmla="*/ 1159100 w 3832826"/>
                <a:gd name="connsiteY83" fmla="*/ 947543 h 5120141"/>
                <a:gd name="connsiteX84" fmla="*/ 1167532 w 3832826"/>
                <a:gd name="connsiteY84" fmla="*/ 947543 h 5120141"/>
                <a:gd name="connsiteX85" fmla="*/ 1165424 w 3832826"/>
                <a:gd name="connsiteY85" fmla="*/ 963511 h 5120141"/>
                <a:gd name="connsiteX86" fmla="*/ 1167532 w 3832826"/>
                <a:gd name="connsiteY86" fmla="*/ 975505 h 5120141"/>
                <a:gd name="connsiteX87" fmla="*/ 1167532 w 3832826"/>
                <a:gd name="connsiteY87" fmla="*/ 991474 h 5120141"/>
                <a:gd name="connsiteX88" fmla="*/ 1167532 w 3832826"/>
                <a:gd name="connsiteY88" fmla="*/ 1007443 h 5120141"/>
                <a:gd name="connsiteX89" fmla="*/ 1169639 w 3832826"/>
                <a:gd name="connsiteY89" fmla="*/ 1011486 h 5120141"/>
                <a:gd name="connsiteX90" fmla="*/ 1173855 w 3832826"/>
                <a:gd name="connsiteY90" fmla="*/ 1015461 h 5120141"/>
                <a:gd name="connsiteX91" fmla="*/ 1169639 w 3832826"/>
                <a:gd name="connsiteY91" fmla="*/ 1021424 h 5120141"/>
                <a:gd name="connsiteX92" fmla="*/ 1167532 w 3832826"/>
                <a:gd name="connsiteY92" fmla="*/ 1021424 h 5120141"/>
                <a:gd name="connsiteX93" fmla="*/ 1163316 w 3832826"/>
                <a:gd name="connsiteY93" fmla="*/ 1021424 h 5120141"/>
                <a:gd name="connsiteX94" fmla="*/ 1159100 w 3832826"/>
                <a:gd name="connsiteY94" fmla="*/ 1027455 h 5120141"/>
                <a:gd name="connsiteX95" fmla="*/ 1163316 w 3832826"/>
                <a:gd name="connsiteY95" fmla="*/ 1033418 h 5120141"/>
                <a:gd name="connsiteX96" fmla="*/ 1167532 w 3832826"/>
                <a:gd name="connsiteY96" fmla="*/ 1037461 h 5120141"/>
                <a:gd name="connsiteX97" fmla="*/ 1169639 w 3832826"/>
                <a:gd name="connsiteY97" fmla="*/ 1047399 h 5120141"/>
                <a:gd name="connsiteX98" fmla="*/ 1173855 w 3832826"/>
                <a:gd name="connsiteY98" fmla="*/ 1059393 h 5120141"/>
                <a:gd name="connsiteX99" fmla="*/ 1186432 w 3832826"/>
                <a:gd name="connsiteY99" fmla="*/ 1057405 h 5120141"/>
                <a:gd name="connsiteX100" fmla="*/ 1184324 w 3832826"/>
                <a:gd name="connsiteY100" fmla="*/ 1065424 h 5120141"/>
                <a:gd name="connsiteX101" fmla="*/ 1194863 w 3832826"/>
                <a:gd name="connsiteY101" fmla="*/ 1063436 h 5120141"/>
                <a:gd name="connsiteX102" fmla="*/ 1201187 w 3832826"/>
                <a:gd name="connsiteY102" fmla="*/ 1065424 h 5120141"/>
                <a:gd name="connsiteX103" fmla="*/ 1205403 w 3832826"/>
                <a:gd name="connsiteY103" fmla="*/ 1073374 h 5120141"/>
                <a:gd name="connsiteX104" fmla="*/ 1205403 w 3832826"/>
                <a:gd name="connsiteY104" fmla="*/ 1083380 h 5120141"/>
                <a:gd name="connsiteX105" fmla="*/ 1209618 w 3832826"/>
                <a:gd name="connsiteY105" fmla="*/ 1083380 h 5120141"/>
                <a:gd name="connsiteX106" fmla="*/ 1209618 w 3832826"/>
                <a:gd name="connsiteY106" fmla="*/ 1095374 h 5120141"/>
                <a:gd name="connsiteX107" fmla="*/ 1220087 w 3832826"/>
                <a:gd name="connsiteY107" fmla="*/ 1097361 h 5120141"/>
                <a:gd name="connsiteX108" fmla="*/ 1226411 w 3832826"/>
                <a:gd name="connsiteY108" fmla="*/ 1103392 h 5120141"/>
                <a:gd name="connsiteX109" fmla="*/ 1232734 w 3832826"/>
                <a:gd name="connsiteY109" fmla="*/ 1115386 h 5120141"/>
                <a:gd name="connsiteX110" fmla="*/ 1241166 w 3832826"/>
                <a:gd name="connsiteY110" fmla="*/ 1113330 h 5120141"/>
                <a:gd name="connsiteX111" fmla="*/ 1247489 w 3832826"/>
                <a:gd name="connsiteY111" fmla="*/ 1119361 h 5120141"/>
                <a:gd name="connsiteX112" fmla="*/ 1249527 w 3832826"/>
                <a:gd name="connsiteY112" fmla="*/ 1127311 h 5120141"/>
                <a:gd name="connsiteX113" fmla="*/ 1262174 w 3832826"/>
                <a:gd name="connsiteY113" fmla="*/ 1137317 h 5120141"/>
                <a:gd name="connsiteX114" fmla="*/ 1274821 w 3832826"/>
                <a:gd name="connsiteY114" fmla="*/ 1147324 h 5120141"/>
                <a:gd name="connsiteX115" fmla="*/ 1291613 w 3832826"/>
                <a:gd name="connsiteY115" fmla="*/ 1159317 h 5120141"/>
                <a:gd name="connsiteX116" fmla="*/ 1293721 w 3832826"/>
                <a:gd name="connsiteY116" fmla="*/ 1165280 h 5120141"/>
                <a:gd name="connsiteX117" fmla="*/ 1295829 w 3832826"/>
                <a:gd name="connsiteY117" fmla="*/ 1173299 h 5120141"/>
                <a:gd name="connsiteX118" fmla="*/ 1306368 w 3832826"/>
                <a:gd name="connsiteY118" fmla="*/ 1173299 h 5120141"/>
                <a:gd name="connsiteX119" fmla="*/ 1312692 w 3832826"/>
                <a:gd name="connsiteY119" fmla="*/ 1177274 h 5120141"/>
                <a:gd name="connsiteX120" fmla="*/ 1314800 w 3832826"/>
                <a:gd name="connsiteY120" fmla="*/ 1185292 h 5120141"/>
                <a:gd name="connsiteX121" fmla="*/ 1312692 w 3832826"/>
                <a:gd name="connsiteY121" fmla="*/ 1195299 h 5120141"/>
                <a:gd name="connsiteX122" fmla="*/ 1321053 w 3832826"/>
                <a:gd name="connsiteY122" fmla="*/ 1193311 h 5120141"/>
                <a:gd name="connsiteX123" fmla="*/ 1323161 w 3832826"/>
                <a:gd name="connsiteY123" fmla="*/ 1195299 h 5120141"/>
                <a:gd name="connsiteX124" fmla="*/ 1325269 w 3832826"/>
                <a:gd name="connsiteY124" fmla="*/ 1199274 h 5120141"/>
                <a:gd name="connsiteX125" fmla="*/ 1325269 w 3832826"/>
                <a:gd name="connsiteY125" fmla="*/ 1205305 h 5120141"/>
                <a:gd name="connsiteX126" fmla="*/ 1337916 w 3832826"/>
                <a:gd name="connsiteY126" fmla="*/ 1205305 h 5120141"/>
                <a:gd name="connsiteX127" fmla="*/ 1337916 w 3832826"/>
                <a:gd name="connsiteY127" fmla="*/ 1217230 h 5120141"/>
                <a:gd name="connsiteX128" fmla="*/ 1344239 w 3832826"/>
                <a:gd name="connsiteY128" fmla="*/ 1215242 h 5120141"/>
                <a:gd name="connsiteX129" fmla="*/ 1344239 w 3832826"/>
                <a:gd name="connsiteY129" fmla="*/ 1219286 h 5120141"/>
                <a:gd name="connsiteX130" fmla="*/ 1346347 w 3832826"/>
                <a:gd name="connsiteY130" fmla="*/ 1219286 h 5120141"/>
                <a:gd name="connsiteX131" fmla="*/ 1352671 w 3832826"/>
                <a:gd name="connsiteY131" fmla="*/ 1223261 h 5120141"/>
                <a:gd name="connsiteX132" fmla="*/ 1352671 w 3832826"/>
                <a:gd name="connsiteY132" fmla="*/ 1227236 h 5120141"/>
                <a:gd name="connsiteX133" fmla="*/ 1358924 w 3832826"/>
                <a:gd name="connsiteY133" fmla="*/ 1227236 h 5120141"/>
                <a:gd name="connsiteX134" fmla="*/ 1365247 w 3832826"/>
                <a:gd name="connsiteY134" fmla="*/ 1235255 h 5120141"/>
                <a:gd name="connsiteX135" fmla="*/ 1365247 w 3832826"/>
                <a:gd name="connsiteY135" fmla="*/ 1241217 h 5120141"/>
                <a:gd name="connsiteX136" fmla="*/ 1365247 w 3832826"/>
                <a:gd name="connsiteY136" fmla="*/ 1251223 h 5120141"/>
                <a:gd name="connsiteX137" fmla="*/ 1369463 w 3832826"/>
                <a:gd name="connsiteY137" fmla="*/ 1249236 h 5120141"/>
                <a:gd name="connsiteX138" fmla="*/ 1375787 w 3832826"/>
                <a:gd name="connsiteY138" fmla="*/ 1251223 h 5120141"/>
                <a:gd name="connsiteX139" fmla="*/ 1377895 w 3832826"/>
                <a:gd name="connsiteY139" fmla="*/ 1255199 h 5120141"/>
                <a:gd name="connsiteX140" fmla="*/ 1377895 w 3832826"/>
                <a:gd name="connsiteY140" fmla="*/ 1259242 h 5120141"/>
                <a:gd name="connsiteX141" fmla="*/ 1396795 w 3832826"/>
                <a:gd name="connsiteY141" fmla="*/ 1257255 h 5120141"/>
                <a:gd name="connsiteX142" fmla="*/ 1398903 w 3832826"/>
                <a:gd name="connsiteY142" fmla="*/ 1275211 h 5120141"/>
                <a:gd name="connsiteX143" fmla="*/ 1407333 w 3832826"/>
                <a:gd name="connsiteY143" fmla="*/ 1271236 h 5120141"/>
                <a:gd name="connsiteX144" fmla="*/ 1407333 w 3832826"/>
                <a:gd name="connsiteY144" fmla="*/ 1270518 h 5120141"/>
                <a:gd name="connsiteX145" fmla="*/ 1453613 w 3832826"/>
                <a:gd name="connsiteY145" fmla="*/ 1244467 h 5120141"/>
                <a:gd name="connsiteX146" fmla="*/ 1459924 w 3832826"/>
                <a:gd name="connsiteY146" fmla="*/ 1274526 h 5120141"/>
                <a:gd name="connsiteX147" fmla="*/ 1459924 w 3832826"/>
                <a:gd name="connsiteY147" fmla="*/ 1290558 h 5120141"/>
                <a:gd name="connsiteX148" fmla="*/ 1455717 w 3832826"/>
                <a:gd name="connsiteY148" fmla="*/ 1304586 h 5120141"/>
                <a:gd name="connsiteX149" fmla="*/ 1453613 w 3832826"/>
                <a:gd name="connsiteY149" fmla="*/ 1308594 h 5120141"/>
                <a:gd name="connsiteX150" fmla="*/ 1449406 w 3832826"/>
                <a:gd name="connsiteY150" fmla="*/ 1310598 h 5120141"/>
                <a:gd name="connsiteX151" fmla="*/ 1440991 w 3832826"/>
                <a:gd name="connsiteY151" fmla="*/ 1316610 h 5120141"/>
                <a:gd name="connsiteX152" fmla="*/ 1434680 w 3832826"/>
                <a:gd name="connsiteY152" fmla="*/ 1318614 h 5120141"/>
                <a:gd name="connsiteX153" fmla="*/ 1432577 w 3832826"/>
                <a:gd name="connsiteY153" fmla="*/ 1320618 h 5120141"/>
                <a:gd name="connsiteX154" fmla="*/ 1430473 w 3832826"/>
                <a:gd name="connsiteY154" fmla="*/ 1326630 h 5120141"/>
                <a:gd name="connsiteX155" fmla="*/ 1430473 w 3832826"/>
                <a:gd name="connsiteY155" fmla="*/ 1334645 h 5120141"/>
                <a:gd name="connsiteX156" fmla="*/ 1434680 w 3832826"/>
                <a:gd name="connsiteY156" fmla="*/ 1338653 h 5120141"/>
                <a:gd name="connsiteX157" fmla="*/ 1440991 w 3832826"/>
                <a:gd name="connsiteY157" fmla="*/ 1350677 h 5120141"/>
                <a:gd name="connsiteX158" fmla="*/ 1443095 w 3832826"/>
                <a:gd name="connsiteY158" fmla="*/ 1366709 h 5120141"/>
                <a:gd name="connsiteX159" fmla="*/ 1443095 w 3832826"/>
                <a:gd name="connsiteY159" fmla="*/ 1380737 h 5120141"/>
                <a:gd name="connsiteX160" fmla="*/ 1445199 w 3832826"/>
                <a:gd name="connsiteY160" fmla="*/ 1436848 h 5120141"/>
                <a:gd name="connsiteX161" fmla="*/ 1422059 w 3832826"/>
                <a:gd name="connsiteY161" fmla="*/ 1436848 h 5120141"/>
                <a:gd name="connsiteX162" fmla="*/ 1403126 w 3832826"/>
                <a:gd name="connsiteY162" fmla="*/ 1438852 h 5120141"/>
                <a:gd name="connsiteX163" fmla="*/ 1392608 w 3832826"/>
                <a:gd name="connsiteY163" fmla="*/ 1440856 h 5120141"/>
                <a:gd name="connsiteX164" fmla="*/ 1382089 w 3832826"/>
                <a:gd name="connsiteY164" fmla="*/ 1444864 h 5120141"/>
                <a:gd name="connsiteX165" fmla="*/ 1375779 w 3832826"/>
                <a:gd name="connsiteY165" fmla="*/ 1448872 h 5120141"/>
                <a:gd name="connsiteX166" fmla="*/ 1367364 w 3832826"/>
                <a:gd name="connsiteY166" fmla="*/ 1456888 h 5120141"/>
                <a:gd name="connsiteX167" fmla="*/ 1358949 w 3832826"/>
                <a:gd name="connsiteY167" fmla="*/ 1462900 h 5120141"/>
                <a:gd name="connsiteX168" fmla="*/ 1354742 w 3832826"/>
                <a:gd name="connsiteY168" fmla="*/ 1472920 h 5120141"/>
                <a:gd name="connsiteX169" fmla="*/ 1348431 w 3832826"/>
                <a:gd name="connsiteY169" fmla="*/ 1480935 h 5120141"/>
                <a:gd name="connsiteX170" fmla="*/ 1344224 w 3832826"/>
                <a:gd name="connsiteY170" fmla="*/ 1482939 h 5120141"/>
                <a:gd name="connsiteX171" fmla="*/ 1342120 w 3832826"/>
                <a:gd name="connsiteY171" fmla="*/ 1482939 h 5120141"/>
                <a:gd name="connsiteX172" fmla="*/ 1333706 w 3832826"/>
                <a:gd name="connsiteY172" fmla="*/ 1480935 h 5120141"/>
                <a:gd name="connsiteX173" fmla="*/ 1327395 w 3832826"/>
                <a:gd name="connsiteY173" fmla="*/ 1482939 h 5120141"/>
                <a:gd name="connsiteX174" fmla="*/ 1325291 w 3832826"/>
                <a:gd name="connsiteY174" fmla="*/ 1488951 h 5120141"/>
                <a:gd name="connsiteX175" fmla="*/ 1323188 w 3832826"/>
                <a:gd name="connsiteY175" fmla="*/ 1492959 h 5120141"/>
                <a:gd name="connsiteX176" fmla="*/ 1321084 w 3832826"/>
                <a:gd name="connsiteY176" fmla="*/ 1506987 h 5120141"/>
                <a:gd name="connsiteX177" fmla="*/ 1316877 w 3832826"/>
                <a:gd name="connsiteY177" fmla="*/ 1512999 h 5120141"/>
                <a:gd name="connsiteX178" fmla="*/ 1310566 w 3832826"/>
                <a:gd name="connsiteY178" fmla="*/ 1521015 h 5120141"/>
                <a:gd name="connsiteX179" fmla="*/ 1304255 w 3832826"/>
                <a:gd name="connsiteY179" fmla="*/ 1523019 h 5120141"/>
                <a:gd name="connsiteX180" fmla="*/ 1293737 w 3832826"/>
                <a:gd name="connsiteY180" fmla="*/ 1529031 h 5120141"/>
                <a:gd name="connsiteX181" fmla="*/ 1281115 w 3832826"/>
                <a:gd name="connsiteY181" fmla="*/ 1529031 h 5120141"/>
                <a:gd name="connsiteX182" fmla="*/ 1279011 w 3832826"/>
                <a:gd name="connsiteY182" fmla="*/ 1531035 h 5120141"/>
                <a:gd name="connsiteX183" fmla="*/ 1274804 w 3832826"/>
                <a:gd name="connsiteY183" fmla="*/ 1537046 h 5120141"/>
                <a:gd name="connsiteX184" fmla="*/ 1272700 w 3832826"/>
                <a:gd name="connsiteY184" fmla="*/ 1547066 h 5120141"/>
                <a:gd name="connsiteX185" fmla="*/ 1270597 w 3832826"/>
                <a:gd name="connsiteY185" fmla="*/ 1559090 h 5120141"/>
                <a:gd name="connsiteX186" fmla="*/ 1264286 w 3832826"/>
                <a:gd name="connsiteY186" fmla="*/ 1569110 h 5120141"/>
                <a:gd name="connsiteX187" fmla="*/ 1262182 w 3832826"/>
                <a:gd name="connsiteY187" fmla="*/ 1569110 h 5120141"/>
                <a:gd name="connsiteX188" fmla="*/ 1262182 w 3832826"/>
                <a:gd name="connsiteY188" fmla="*/ 1573118 h 5120141"/>
                <a:gd name="connsiteX189" fmla="*/ 1260078 w 3832826"/>
                <a:gd name="connsiteY189" fmla="*/ 1579130 h 5120141"/>
                <a:gd name="connsiteX190" fmla="*/ 1260078 w 3832826"/>
                <a:gd name="connsiteY190" fmla="*/ 1599170 h 5120141"/>
                <a:gd name="connsiteX191" fmla="*/ 1260078 w 3832826"/>
                <a:gd name="connsiteY191" fmla="*/ 1633237 h 5120141"/>
                <a:gd name="connsiteX192" fmla="*/ 1260078 w 3832826"/>
                <a:gd name="connsiteY192" fmla="*/ 1679328 h 5120141"/>
                <a:gd name="connsiteX193" fmla="*/ 1258254 w 3832826"/>
                <a:gd name="connsiteY193" fmla="*/ 1717574 h 5120141"/>
                <a:gd name="connsiteX194" fmla="*/ 1279014 w 3832826"/>
                <a:gd name="connsiteY194" fmla="*/ 1732471 h 5120141"/>
                <a:gd name="connsiteX195" fmla="*/ 1302154 w 3832826"/>
                <a:gd name="connsiteY195" fmla="*/ 1736462 h 5120141"/>
                <a:gd name="connsiteX196" fmla="*/ 1312672 w 3832826"/>
                <a:gd name="connsiteY196" fmla="*/ 1736462 h 5120141"/>
                <a:gd name="connsiteX197" fmla="*/ 1323191 w 3832826"/>
                <a:gd name="connsiteY197" fmla="*/ 1734466 h 5120141"/>
                <a:gd name="connsiteX198" fmla="*/ 1337916 w 3832826"/>
                <a:gd name="connsiteY198" fmla="*/ 1732471 h 5120141"/>
                <a:gd name="connsiteX199" fmla="*/ 1350538 w 3832826"/>
                <a:gd name="connsiteY199" fmla="*/ 1726484 h 5120141"/>
                <a:gd name="connsiteX200" fmla="*/ 1354745 w 3832826"/>
                <a:gd name="connsiteY200" fmla="*/ 1726484 h 5120141"/>
                <a:gd name="connsiteX201" fmla="*/ 1365263 w 3832826"/>
                <a:gd name="connsiteY201" fmla="*/ 1730475 h 5120141"/>
                <a:gd name="connsiteX202" fmla="*/ 1394714 w 3832826"/>
                <a:gd name="connsiteY202" fmla="*/ 1742449 h 5120141"/>
                <a:gd name="connsiteX203" fmla="*/ 1407336 w 3832826"/>
                <a:gd name="connsiteY203" fmla="*/ 1744445 h 5120141"/>
                <a:gd name="connsiteX204" fmla="*/ 1419958 w 3832826"/>
                <a:gd name="connsiteY204" fmla="*/ 1746440 h 5120141"/>
                <a:gd name="connsiteX205" fmla="*/ 1426269 w 3832826"/>
                <a:gd name="connsiteY205" fmla="*/ 1744445 h 5120141"/>
                <a:gd name="connsiteX206" fmla="*/ 1430476 w 3832826"/>
                <a:gd name="connsiteY206" fmla="*/ 1742449 h 5120141"/>
                <a:gd name="connsiteX207" fmla="*/ 1430476 w 3832826"/>
                <a:gd name="connsiteY207" fmla="*/ 1740453 h 5120141"/>
                <a:gd name="connsiteX208" fmla="*/ 1434684 w 3832826"/>
                <a:gd name="connsiteY208" fmla="*/ 1734466 h 5120141"/>
                <a:gd name="connsiteX209" fmla="*/ 1434684 w 3832826"/>
                <a:gd name="connsiteY209" fmla="*/ 1726484 h 5120141"/>
                <a:gd name="connsiteX210" fmla="*/ 1436787 w 3832826"/>
                <a:gd name="connsiteY210" fmla="*/ 1722493 h 5120141"/>
                <a:gd name="connsiteX211" fmla="*/ 1445202 w 3832826"/>
                <a:gd name="connsiteY211" fmla="*/ 1712514 h 5120141"/>
                <a:gd name="connsiteX212" fmla="*/ 1455720 w 3832826"/>
                <a:gd name="connsiteY212" fmla="*/ 1704532 h 5120141"/>
                <a:gd name="connsiteX213" fmla="*/ 1462031 w 3832826"/>
                <a:gd name="connsiteY213" fmla="*/ 1694553 h 5120141"/>
                <a:gd name="connsiteX214" fmla="*/ 1462031 w 3832826"/>
                <a:gd name="connsiteY214" fmla="*/ 1684575 h 5120141"/>
                <a:gd name="connsiteX215" fmla="*/ 1466238 w 3832826"/>
                <a:gd name="connsiteY215" fmla="*/ 1676592 h 5120141"/>
                <a:gd name="connsiteX216" fmla="*/ 1472549 w 3832826"/>
                <a:gd name="connsiteY216" fmla="*/ 1666614 h 5120141"/>
                <a:gd name="connsiteX217" fmla="*/ 1483067 w 3832826"/>
                <a:gd name="connsiteY217" fmla="*/ 1652645 h 5120141"/>
                <a:gd name="connsiteX218" fmla="*/ 1497793 w 3832826"/>
                <a:gd name="connsiteY218" fmla="*/ 1638675 h 5120141"/>
                <a:gd name="connsiteX219" fmla="*/ 1510415 w 3832826"/>
                <a:gd name="connsiteY219" fmla="*/ 1624705 h 5120141"/>
                <a:gd name="connsiteX220" fmla="*/ 1525140 w 3832826"/>
                <a:gd name="connsiteY220" fmla="*/ 1612731 h 5120141"/>
                <a:gd name="connsiteX221" fmla="*/ 1577731 w 3832826"/>
                <a:gd name="connsiteY221" fmla="*/ 1580801 h 5120141"/>
                <a:gd name="connsiteX222" fmla="*/ 1605078 w 3832826"/>
                <a:gd name="connsiteY222" fmla="*/ 1560845 h 5120141"/>
                <a:gd name="connsiteX223" fmla="*/ 1628218 w 3832826"/>
                <a:gd name="connsiteY223" fmla="*/ 1540888 h 5120141"/>
                <a:gd name="connsiteX224" fmla="*/ 1645048 w 3832826"/>
                <a:gd name="connsiteY224" fmla="*/ 1524923 h 5120141"/>
                <a:gd name="connsiteX225" fmla="*/ 1661877 w 3832826"/>
                <a:gd name="connsiteY225" fmla="*/ 1514944 h 5120141"/>
                <a:gd name="connsiteX226" fmla="*/ 1678706 w 3832826"/>
                <a:gd name="connsiteY226" fmla="*/ 1508957 h 5120141"/>
                <a:gd name="connsiteX227" fmla="*/ 1695535 w 3832826"/>
                <a:gd name="connsiteY227" fmla="*/ 1502971 h 5120141"/>
                <a:gd name="connsiteX228" fmla="*/ 1714468 w 3832826"/>
                <a:gd name="connsiteY228" fmla="*/ 1500975 h 5120141"/>
                <a:gd name="connsiteX229" fmla="*/ 1735504 w 3832826"/>
                <a:gd name="connsiteY229" fmla="*/ 1500975 h 5120141"/>
                <a:gd name="connsiteX230" fmla="*/ 1777577 w 3832826"/>
                <a:gd name="connsiteY230" fmla="*/ 1500975 h 5120141"/>
                <a:gd name="connsiteX231" fmla="*/ 2158335 w 3832826"/>
                <a:gd name="connsiteY231" fmla="*/ 1500975 h 5120141"/>
                <a:gd name="connsiteX232" fmla="*/ 2158335 w 3832826"/>
                <a:gd name="connsiteY232" fmla="*/ 1514944 h 5120141"/>
                <a:gd name="connsiteX233" fmla="*/ 2158335 w 3832826"/>
                <a:gd name="connsiteY233" fmla="*/ 1572818 h 5120141"/>
                <a:gd name="connsiteX234" fmla="*/ 2160439 w 3832826"/>
                <a:gd name="connsiteY234" fmla="*/ 1594771 h 5120141"/>
                <a:gd name="connsiteX235" fmla="*/ 2158335 w 3832826"/>
                <a:gd name="connsiteY235" fmla="*/ 1624705 h 5120141"/>
                <a:gd name="connsiteX236" fmla="*/ 2158335 w 3832826"/>
                <a:gd name="connsiteY236" fmla="*/ 1634684 h 5120141"/>
                <a:gd name="connsiteX237" fmla="*/ 2158335 w 3832826"/>
                <a:gd name="connsiteY237" fmla="*/ 1648653 h 5120141"/>
                <a:gd name="connsiteX238" fmla="*/ 2158335 w 3832826"/>
                <a:gd name="connsiteY238" fmla="*/ 1666614 h 5120141"/>
                <a:gd name="connsiteX239" fmla="*/ 2158335 w 3832826"/>
                <a:gd name="connsiteY239" fmla="*/ 1700540 h 5120141"/>
                <a:gd name="connsiteX240" fmla="*/ 2149671 w 3832826"/>
                <a:gd name="connsiteY240" fmla="*/ 1700540 h 5120141"/>
                <a:gd name="connsiteX241" fmla="*/ 2149671 w 3832826"/>
                <a:gd name="connsiteY241" fmla="*/ 1701367 h 5120141"/>
                <a:gd name="connsiteX242" fmla="*/ 2158305 w 3832826"/>
                <a:gd name="connsiteY242" fmla="*/ 1701367 h 5120141"/>
                <a:gd name="connsiteX243" fmla="*/ 2158305 w 3832826"/>
                <a:gd name="connsiteY243" fmla="*/ 1723407 h 5120141"/>
                <a:gd name="connsiteX244" fmla="*/ 2158305 w 3832826"/>
                <a:gd name="connsiteY244" fmla="*/ 1755458 h 5120141"/>
                <a:gd name="connsiteX245" fmla="*/ 2234031 w 3832826"/>
                <a:gd name="connsiteY245" fmla="*/ 1815609 h 5120141"/>
                <a:gd name="connsiteX246" fmla="*/ 2231975 w 3832826"/>
                <a:gd name="connsiteY246" fmla="*/ 1817584 h 5120141"/>
                <a:gd name="connsiteX247" fmla="*/ 2231975 w 3832826"/>
                <a:gd name="connsiteY247" fmla="*/ 1823599 h 5120141"/>
                <a:gd name="connsiteX248" fmla="*/ 2234031 w 3832826"/>
                <a:gd name="connsiteY248" fmla="*/ 1833610 h 5120141"/>
                <a:gd name="connsiteX249" fmla="*/ 2240379 w 3832826"/>
                <a:gd name="connsiteY249" fmla="*/ 1843665 h 5120141"/>
                <a:gd name="connsiteX250" fmla="*/ 2244581 w 3832826"/>
                <a:gd name="connsiteY250" fmla="*/ 1853675 h 5120141"/>
                <a:gd name="connsiteX251" fmla="*/ 2244581 w 3832826"/>
                <a:gd name="connsiteY251" fmla="*/ 1857670 h 5120141"/>
                <a:gd name="connsiteX252" fmla="*/ 2242435 w 3832826"/>
                <a:gd name="connsiteY252" fmla="*/ 1863685 h 5120141"/>
                <a:gd name="connsiteX253" fmla="*/ 2238233 w 3832826"/>
                <a:gd name="connsiteY253" fmla="*/ 1873695 h 5120141"/>
                <a:gd name="connsiteX254" fmla="*/ 2229829 w 3832826"/>
                <a:gd name="connsiteY254" fmla="*/ 1883750 h 5120141"/>
                <a:gd name="connsiteX255" fmla="*/ 2223571 w 3832826"/>
                <a:gd name="connsiteY255" fmla="*/ 1889721 h 5120141"/>
                <a:gd name="connsiteX256" fmla="*/ 2213021 w 3832826"/>
                <a:gd name="connsiteY256" fmla="*/ 1905791 h 5120141"/>
                <a:gd name="connsiteX257" fmla="*/ 2200415 w 3832826"/>
                <a:gd name="connsiteY257" fmla="*/ 1919796 h 5120141"/>
                <a:gd name="connsiteX258" fmla="*/ 2170912 w 3832826"/>
                <a:gd name="connsiteY258" fmla="*/ 1945832 h 5120141"/>
                <a:gd name="connsiteX259" fmla="*/ 2139441 w 3832826"/>
                <a:gd name="connsiteY259" fmla="*/ 1969893 h 5120141"/>
                <a:gd name="connsiteX260" fmla="*/ 2107881 w 3832826"/>
                <a:gd name="connsiteY260" fmla="*/ 1995973 h 5120141"/>
                <a:gd name="connsiteX261" fmla="*/ 2095186 w 3832826"/>
                <a:gd name="connsiteY261" fmla="*/ 1997948 h 5120141"/>
                <a:gd name="connsiteX262" fmla="*/ 2082580 w 3832826"/>
                <a:gd name="connsiteY262" fmla="*/ 2003963 h 5120141"/>
                <a:gd name="connsiteX263" fmla="*/ 2074176 w 3832826"/>
                <a:gd name="connsiteY263" fmla="*/ 2009979 h 5120141"/>
                <a:gd name="connsiteX264" fmla="*/ 2069973 w 3832826"/>
                <a:gd name="connsiteY264" fmla="*/ 2018014 h 5120141"/>
                <a:gd name="connsiteX265" fmla="*/ 2055222 w 3832826"/>
                <a:gd name="connsiteY265" fmla="*/ 2034039 h 5120141"/>
                <a:gd name="connsiteX266" fmla="*/ 2048963 w 3832826"/>
                <a:gd name="connsiteY266" fmla="*/ 2044049 h 5120141"/>
                <a:gd name="connsiteX267" fmla="*/ 2038414 w 3832826"/>
                <a:gd name="connsiteY267" fmla="*/ 2050064 h 5120141"/>
                <a:gd name="connsiteX268" fmla="*/ 2017403 w 3832826"/>
                <a:gd name="connsiteY268" fmla="*/ 2066090 h 5120141"/>
                <a:gd name="connsiteX269" fmla="*/ 1998450 w 3832826"/>
                <a:gd name="connsiteY269" fmla="*/ 2080140 h 5120141"/>
                <a:gd name="connsiteX270" fmla="*/ 1962688 w 3832826"/>
                <a:gd name="connsiteY270" fmla="*/ 2110171 h 5120141"/>
                <a:gd name="connsiteX271" fmla="*/ 1952138 w 3832826"/>
                <a:gd name="connsiteY271" fmla="*/ 2116186 h 5120141"/>
                <a:gd name="connsiteX272" fmla="*/ 1937476 w 3832826"/>
                <a:gd name="connsiteY272" fmla="*/ 2120181 h 5120141"/>
                <a:gd name="connsiteX273" fmla="*/ 1914320 w 3832826"/>
                <a:gd name="connsiteY273" fmla="*/ 2122201 h 5120141"/>
                <a:gd name="connsiteX274" fmla="*/ 1891164 w 3832826"/>
                <a:gd name="connsiteY274" fmla="*/ 2122201 h 5120141"/>
                <a:gd name="connsiteX275" fmla="*/ 1880614 w 3832826"/>
                <a:gd name="connsiteY275" fmla="*/ 2126196 h 5120141"/>
                <a:gd name="connsiteX276" fmla="*/ 1870154 w 3832826"/>
                <a:gd name="connsiteY276" fmla="*/ 2130236 h 5120141"/>
                <a:gd name="connsiteX277" fmla="*/ 1859604 w 3832826"/>
                <a:gd name="connsiteY277" fmla="*/ 2136251 h 5120141"/>
                <a:gd name="connsiteX278" fmla="*/ 1842796 w 3832826"/>
                <a:gd name="connsiteY278" fmla="*/ 2138226 h 5120141"/>
                <a:gd name="connsiteX279" fmla="*/ 1817584 w 3832826"/>
                <a:gd name="connsiteY279" fmla="*/ 2142221 h 5120141"/>
                <a:gd name="connsiteX280" fmla="*/ 1786024 w 3832826"/>
                <a:gd name="connsiteY280" fmla="*/ 2146261 h 5120141"/>
                <a:gd name="connsiteX281" fmla="*/ 1756520 w 3832826"/>
                <a:gd name="connsiteY281" fmla="*/ 2150257 h 5120141"/>
                <a:gd name="connsiteX282" fmla="*/ 1743914 w 3832826"/>
                <a:gd name="connsiteY282" fmla="*/ 2150257 h 5120141"/>
                <a:gd name="connsiteX283" fmla="*/ 1733364 w 3832826"/>
                <a:gd name="connsiteY283" fmla="*/ 2150257 h 5120141"/>
                <a:gd name="connsiteX284" fmla="*/ 1706006 w 3832826"/>
                <a:gd name="connsiteY284" fmla="*/ 2142221 h 5120141"/>
                <a:gd name="connsiteX285" fmla="*/ 1680794 w 3832826"/>
                <a:gd name="connsiteY285" fmla="*/ 2136251 h 5120141"/>
                <a:gd name="connsiteX286" fmla="*/ 1655582 w 3832826"/>
                <a:gd name="connsiteY286" fmla="*/ 2126196 h 5120141"/>
                <a:gd name="connsiteX287" fmla="*/ 1630281 w 3832826"/>
                <a:gd name="connsiteY287" fmla="*/ 2116186 h 5120141"/>
                <a:gd name="connsiteX288" fmla="*/ 1607214 w 3832826"/>
                <a:gd name="connsiteY288" fmla="*/ 2110171 h 5120141"/>
                <a:gd name="connsiteX289" fmla="*/ 1594519 w 3832826"/>
                <a:gd name="connsiteY289" fmla="*/ 2110171 h 5120141"/>
                <a:gd name="connsiteX290" fmla="*/ 1584058 w 3832826"/>
                <a:gd name="connsiteY290" fmla="*/ 2112191 h 5120141"/>
                <a:gd name="connsiteX291" fmla="*/ 1573508 w 3832826"/>
                <a:gd name="connsiteY291" fmla="*/ 2116186 h 5120141"/>
                <a:gd name="connsiteX292" fmla="*/ 1560902 w 3832826"/>
                <a:gd name="connsiteY292" fmla="*/ 2120181 h 5120141"/>
                <a:gd name="connsiteX293" fmla="*/ 1544094 w 3832826"/>
                <a:gd name="connsiteY293" fmla="*/ 2128216 h 5120141"/>
                <a:gd name="connsiteX294" fmla="*/ 1529342 w 3832826"/>
                <a:gd name="connsiteY294" fmla="*/ 2136251 h 5120141"/>
                <a:gd name="connsiteX295" fmla="*/ 1499928 w 3832826"/>
                <a:gd name="connsiteY295" fmla="*/ 2140246 h 5120141"/>
                <a:gd name="connsiteX296" fmla="*/ 1497783 w 3832826"/>
                <a:gd name="connsiteY296" fmla="*/ 2140246 h 5120141"/>
                <a:gd name="connsiteX297" fmla="*/ 1483031 w 3832826"/>
                <a:gd name="connsiteY297" fmla="*/ 2140246 h 5120141"/>
                <a:gd name="connsiteX298" fmla="*/ 1468368 w 3832826"/>
                <a:gd name="connsiteY298" fmla="*/ 2140246 h 5120141"/>
                <a:gd name="connsiteX299" fmla="*/ 1451471 w 3832826"/>
                <a:gd name="connsiteY299" fmla="*/ 2142221 h 5120141"/>
                <a:gd name="connsiteX300" fmla="*/ 1447269 w 3832826"/>
                <a:gd name="connsiteY300" fmla="*/ 2146261 h 5120141"/>
                <a:gd name="connsiteX301" fmla="*/ 1440991 w 3832826"/>
                <a:gd name="connsiteY301" fmla="*/ 2149246 h 5120141"/>
                <a:gd name="connsiteX302" fmla="*/ 1440991 w 3832826"/>
                <a:gd name="connsiteY302" fmla="*/ 2319937 h 5120141"/>
                <a:gd name="connsiteX303" fmla="*/ 1445196 w 3832826"/>
                <a:gd name="connsiteY303" fmla="*/ 2330619 h 5120141"/>
                <a:gd name="connsiteX304" fmla="*/ 1449403 w 3832826"/>
                <a:gd name="connsiteY304" fmla="*/ 2344647 h 5120141"/>
                <a:gd name="connsiteX305" fmla="*/ 1462025 w 3832826"/>
                <a:gd name="connsiteY305" fmla="*/ 2378715 h 5120141"/>
                <a:gd name="connsiteX306" fmla="*/ 1480958 w 3832826"/>
                <a:gd name="connsiteY306" fmla="*/ 2438834 h 5120141"/>
                <a:gd name="connsiteX307" fmla="*/ 1493580 w 3832826"/>
                <a:gd name="connsiteY307" fmla="*/ 2468893 h 5120141"/>
                <a:gd name="connsiteX308" fmla="*/ 1499891 w 3832826"/>
                <a:gd name="connsiteY308" fmla="*/ 2480917 h 5120141"/>
                <a:gd name="connsiteX309" fmla="*/ 1508305 w 3832826"/>
                <a:gd name="connsiteY309" fmla="*/ 2492941 h 5120141"/>
                <a:gd name="connsiteX310" fmla="*/ 1508305 w 3832826"/>
                <a:gd name="connsiteY310" fmla="*/ 2523000 h 5120141"/>
                <a:gd name="connsiteX311" fmla="*/ 1508305 w 3832826"/>
                <a:gd name="connsiteY311" fmla="*/ 2555064 h 5120141"/>
                <a:gd name="connsiteX312" fmla="*/ 1508403 w 3832826"/>
                <a:gd name="connsiteY312" fmla="*/ 2557937 h 5120141"/>
                <a:gd name="connsiteX313" fmla="*/ 1508308 w 3832826"/>
                <a:gd name="connsiteY313" fmla="*/ 2520996 h 5120141"/>
                <a:gd name="connsiteX314" fmla="*/ 1508308 w 3832826"/>
                <a:gd name="connsiteY314" fmla="*/ 2490937 h 5120141"/>
                <a:gd name="connsiteX315" fmla="*/ 1703947 w 3832826"/>
                <a:gd name="connsiteY315" fmla="*/ 2693337 h 5120141"/>
                <a:gd name="connsiteX316" fmla="*/ 1800715 w 3832826"/>
                <a:gd name="connsiteY316" fmla="*/ 2777503 h 5120141"/>
                <a:gd name="connsiteX317" fmla="*/ 1821751 w 3832826"/>
                <a:gd name="connsiteY317" fmla="*/ 2793535 h 5120141"/>
                <a:gd name="connsiteX318" fmla="*/ 1846995 w 3832826"/>
                <a:gd name="connsiteY318" fmla="*/ 2807563 h 5120141"/>
                <a:gd name="connsiteX319" fmla="*/ 1868031 w 3832826"/>
                <a:gd name="connsiteY319" fmla="*/ 2827603 h 5120141"/>
                <a:gd name="connsiteX320" fmla="*/ 1874342 w 3832826"/>
                <a:gd name="connsiteY320" fmla="*/ 2837622 h 5120141"/>
                <a:gd name="connsiteX321" fmla="*/ 1882757 w 3832826"/>
                <a:gd name="connsiteY321" fmla="*/ 2847642 h 5120141"/>
                <a:gd name="connsiteX322" fmla="*/ 1882757 w 3832826"/>
                <a:gd name="connsiteY322" fmla="*/ 2857662 h 5120141"/>
                <a:gd name="connsiteX323" fmla="*/ 1871663 w 3832826"/>
                <a:gd name="connsiteY323" fmla="*/ 2862688 h 5120141"/>
                <a:gd name="connsiteX324" fmla="*/ 1920621 w 3832826"/>
                <a:gd name="connsiteY324" fmla="*/ 2925780 h 5120141"/>
                <a:gd name="connsiteX325" fmla="*/ 1937450 w 3832826"/>
                <a:gd name="connsiteY325" fmla="*/ 2955859 h 5120141"/>
                <a:gd name="connsiteX326" fmla="*/ 1956383 w 3832826"/>
                <a:gd name="connsiteY326" fmla="*/ 2987924 h 5120141"/>
                <a:gd name="connsiteX327" fmla="*/ 1964798 w 3832826"/>
                <a:gd name="connsiteY327" fmla="*/ 2997927 h 5120141"/>
                <a:gd name="connsiteX328" fmla="*/ 1969005 w 3832826"/>
                <a:gd name="connsiteY328" fmla="*/ 3009986 h 5120141"/>
                <a:gd name="connsiteX329" fmla="*/ 1977420 w 3832826"/>
                <a:gd name="connsiteY329" fmla="*/ 3038008 h 5120141"/>
                <a:gd name="connsiteX330" fmla="*/ 1985834 w 3832826"/>
                <a:gd name="connsiteY330" fmla="*/ 3066100 h 5120141"/>
                <a:gd name="connsiteX331" fmla="*/ 1994249 w 3832826"/>
                <a:gd name="connsiteY331" fmla="*/ 3078089 h 5120141"/>
                <a:gd name="connsiteX332" fmla="*/ 2004767 w 3832826"/>
                <a:gd name="connsiteY332" fmla="*/ 3090149 h 5120141"/>
                <a:gd name="connsiteX333" fmla="*/ 2008974 w 3832826"/>
                <a:gd name="connsiteY333" fmla="*/ 3100152 h 5120141"/>
                <a:gd name="connsiteX334" fmla="*/ 2017389 w 3832826"/>
                <a:gd name="connsiteY334" fmla="*/ 3110155 h 5120141"/>
                <a:gd name="connsiteX335" fmla="*/ 2023700 w 3832826"/>
                <a:gd name="connsiteY335" fmla="*/ 3136190 h 5120141"/>
                <a:gd name="connsiteX336" fmla="*/ 2032114 w 3832826"/>
                <a:gd name="connsiteY336" fmla="*/ 3158252 h 5120141"/>
                <a:gd name="connsiteX337" fmla="*/ 2040529 w 3832826"/>
                <a:gd name="connsiteY337" fmla="*/ 3168255 h 5120141"/>
                <a:gd name="connsiteX338" fmla="*/ 2048944 w 3832826"/>
                <a:gd name="connsiteY338" fmla="*/ 3174285 h 5120141"/>
                <a:gd name="connsiteX339" fmla="*/ 2059462 w 3832826"/>
                <a:gd name="connsiteY339" fmla="*/ 3180315 h 5120141"/>
                <a:gd name="connsiteX340" fmla="*/ 2069980 w 3832826"/>
                <a:gd name="connsiteY340" fmla="*/ 3180315 h 5120141"/>
                <a:gd name="connsiteX341" fmla="*/ 2082602 w 3832826"/>
                <a:gd name="connsiteY341" fmla="*/ 3182301 h 5120141"/>
                <a:gd name="connsiteX342" fmla="*/ 2095224 w 3832826"/>
                <a:gd name="connsiteY342" fmla="*/ 3184288 h 5120141"/>
                <a:gd name="connsiteX343" fmla="*/ 2105742 w 3832826"/>
                <a:gd name="connsiteY343" fmla="*/ 3190318 h 5120141"/>
                <a:gd name="connsiteX344" fmla="*/ 2114156 w 3832826"/>
                <a:gd name="connsiteY344" fmla="*/ 3198334 h 5120141"/>
                <a:gd name="connsiteX345" fmla="*/ 2122571 w 3832826"/>
                <a:gd name="connsiteY345" fmla="*/ 3204364 h 5120141"/>
                <a:gd name="connsiteX346" fmla="*/ 2132508 w 3832826"/>
                <a:gd name="connsiteY346" fmla="*/ 3211937 h 5120141"/>
                <a:gd name="connsiteX347" fmla="*/ 2133090 w 3832826"/>
                <a:gd name="connsiteY347" fmla="*/ 3211201 h 5120141"/>
                <a:gd name="connsiteX348" fmla="*/ 2210924 w 3832826"/>
                <a:gd name="connsiteY348" fmla="*/ 3145234 h 5120141"/>
                <a:gd name="connsiteX349" fmla="*/ 2286655 w 3832826"/>
                <a:gd name="connsiteY349" fmla="*/ 3071271 h 5120141"/>
                <a:gd name="connsiteX350" fmla="*/ 2316106 w 3832826"/>
                <a:gd name="connsiteY350" fmla="*/ 3045284 h 5120141"/>
                <a:gd name="connsiteX351" fmla="*/ 2332935 w 3832826"/>
                <a:gd name="connsiteY351" fmla="*/ 3035289 h 5120141"/>
                <a:gd name="connsiteX352" fmla="*/ 2343453 w 3832826"/>
                <a:gd name="connsiteY352" fmla="*/ 3031291 h 5120141"/>
                <a:gd name="connsiteX353" fmla="*/ 2349764 w 3832826"/>
                <a:gd name="connsiteY353" fmla="*/ 3029292 h 5120141"/>
                <a:gd name="connsiteX354" fmla="*/ 2381318 w 3832826"/>
                <a:gd name="connsiteY354" fmla="*/ 3031291 h 5120141"/>
                <a:gd name="connsiteX355" fmla="*/ 2398148 w 3832826"/>
                <a:gd name="connsiteY355" fmla="*/ 3029292 h 5120141"/>
                <a:gd name="connsiteX356" fmla="*/ 2402355 w 3832826"/>
                <a:gd name="connsiteY356" fmla="*/ 3029292 h 5120141"/>
                <a:gd name="connsiteX357" fmla="*/ 2404458 w 3832826"/>
                <a:gd name="connsiteY357" fmla="*/ 3027293 h 5120141"/>
                <a:gd name="connsiteX358" fmla="*/ 2404458 w 3832826"/>
                <a:gd name="connsiteY358" fmla="*/ 3007303 h 5120141"/>
                <a:gd name="connsiteX359" fmla="*/ 2408666 w 3832826"/>
                <a:gd name="connsiteY359" fmla="*/ 2997308 h 5120141"/>
                <a:gd name="connsiteX360" fmla="*/ 2410769 w 3832826"/>
                <a:gd name="connsiteY360" fmla="*/ 2995309 h 5120141"/>
                <a:gd name="connsiteX361" fmla="*/ 2414977 w 3832826"/>
                <a:gd name="connsiteY361" fmla="*/ 2991311 h 5120141"/>
                <a:gd name="connsiteX362" fmla="*/ 2423391 w 3832826"/>
                <a:gd name="connsiteY362" fmla="*/ 2991311 h 5120141"/>
                <a:gd name="connsiteX363" fmla="*/ 2425495 w 3832826"/>
                <a:gd name="connsiteY363" fmla="*/ 2987313 h 5120141"/>
                <a:gd name="connsiteX364" fmla="*/ 2429702 w 3832826"/>
                <a:gd name="connsiteY364" fmla="*/ 2985314 h 5120141"/>
                <a:gd name="connsiteX365" fmla="*/ 2429702 w 3832826"/>
                <a:gd name="connsiteY365" fmla="*/ 2979317 h 5120141"/>
                <a:gd name="connsiteX366" fmla="*/ 2429702 w 3832826"/>
                <a:gd name="connsiteY366" fmla="*/ 2977318 h 5120141"/>
                <a:gd name="connsiteX367" fmla="*/ 2431806 w 3832826"/>
                <a:gd name="connsiteY367" fmla="*/ 2971321 h 5120141"/>
                <a:gd name="connsiteX368" fmla="*/ 2433909 w 3832826"/>
                <a:gd name="connsiteY368" fmla="*/ 2969322 h 5120141"/>
                <a:gd name="connsiteX369" fmla="*/ 2442324 w 3832826"/>
                <a:gd name="connsiteY369" fmla="*/ 2967323 h 5120141"/>
                <a:gd name="connsiteX370" fmla="*/ 2452842 w 3832826"/>
                <a:gd name="connsiteY370" fmla="*/ 2967323 h 5120141"/>
                <a:gd name="connsiteX371" fmla="*/ 2454946 w 3832826"/>
                <a:gd name="connsiteY371" fmla="*/ 2965324 h 5120141"/>
                <a:gd name="connsiteX372" fmla="*/ 2457049 w 3832826"/>
                <a:gd name="connsiteY372" fmla="*/ 2961326 h 5120141"/>
                <a:gd name="connsiteX373" fmla="*/ 2457049 w 3832826"/>
                <a:gd name="connsiteY373" fmla="*/ 2941336 h 5120141"/>
                <a:gd name="connsiteX374" fmla="*/ 2461257 w 3832826"/>
                <a:gd name="connsiteY374" fmla="*/ 2927343 h 5120141"/>
                <a:gd name="connsiteX375" fmla="*/ 2463360 w 3832826"/>
                <a:gd name="connsiteY375" fmla="*/ 2917348 h 5120141"/>
                <a:gd name="connsiteX376" fmla="*/ 2467567 w 3832826"/>
                <a:gd name="connsiteY376" fmla="*/ 2907353 h 5120141"/>
                <a:gd name="connsiteX377" fmla="*/ 2473878 w 3832826"/>
                <a:gd name="connsiteY377" fmla="*/ 2899357 h 5120141"/>
                <a:gd name="connsiteX378" fmla="*/ 2488604 w 3832826"/>
                <a:gd name="connsiteY378" fmla="*/ 2885364 h 5120141"/>
                <a:gd name="connsiteX379" fmla="*/ 2509640 w 3832826"/>
                <a:gd name="connsiteY379" fmla="*/ 2865374 h 5120141"/>
                <a:gd name="connsiteX380" fmla="*/ 2646376 w 3832826"/>
                <a:gd name="connsiteY380" fmla="*/ 2743436 h 5120141"/>
                <a:gd name="connsiteX381" fmla="*/ 2650584 w 3832826"/>
                <a:gd name="connsiteY381" fmla="*/ 2755430 h 5120141"/>
                <a:gd name="connsiteX382" fmla="*/ 2654791 w 3832826"/>
                <a:gd name="connsiteY382" fmla="*/ 2765425 h 5120141"/>
                <a:gd name="connsiteX383" fmla="*/ 2663205 w 3832826"/>
                <a:gd name="connsiteY383" fmla="*/ 2773421 h 5120141"/>
                <a:gd name="connsiteX384" fmla="*/ 2671620 w 3832826"/>
                <a:gd name="connsiteY384" fmla="*/ 2773421 h 5120141"/>
                <a:gd name="connsiteX385" fmla="*/ 2675827 w 3832826"/>
                <a:gd name="connsiteY385" fmla="*/ 2775420 h 5120141"/>
                <a:gd name="connsiteX386" fmla="*/ 2688449 w 3832826"/>
                <a:gd name="connsiteY386" fmla="*/ 2779418 h 5120141"/>
                <a:gd name="connsiteX387" fmla="*/ 2696863 w 3832826"/>
                <a:gd name="connsiteY387" fmla="*/ 2785415 h 5120141"/>
                <a:gd name="connsiteX388" fmla="*/ 2701071 w 3832826"/>
                <a:gd name="connsiteY388" fmla="*/ 2787414 h 5120141"/>
                <a:gd name="connsiteX389" fmla="*/ 2709485 w 3832826"/>
                <a:gd name="connsiteY389" fmla="*/ 2785415 h 5120141"/>
                <a:gd name="connsiteX390" fmla="*/ 2715796 w 3832826"/>
                <a:gd name="connsiteY390" fmla="*/ 2779418 h 5120141"/>
                <a:gd name="connsiteX391" fmla="*/ 2722107 w 3832826"/>
                <a:gd name="connsiteY391" fmla="*/ 2775420 h 5120141"/>
                <a:gd name="connsiteX392" fmla="*/ 2728418 w 3832826"/>
                <a:gd name="connsiteY392" fmla="*/ 2773421 h 5120141"/>
                <a:gd name="connsiteX393" fmla="*/ 2747351 w 3832826"/>
                <a:gd name="connsiteY393" fmla="*/ 2769423 h 5120141"/>
                <a:gd name="connsiteX394" fmla="*/ 2764180 w 3832826"/>
                <a:gd name="connsiteY394" fmla="*/ 2773421 h 5120141"/>
                <a:gd name="connsiteX395" fmla="*/ 2783112 w 3832826"/>
                <a:gd name="connsiteY395" fmla="*/ 2779418 h 5120141"/>
                <a:gd name="connsiteX396" fmla="*/ 2795734 w 3832826"/>
                <a:gd name="connsiteY396" fmla="*/ 2793411 h 5120141"/>
                <a:gd name="connsiteX397" fmla="*/ 2799942 w 3832826"/>
                <a:gd name="connsiteY397" fmla="*/ 2793411 h 5120141"/>
                <a:gd name="connsiteX398" fmla="*/ 2804149 w 3832826"/>
                <a:gd name="connsiteY398" fmla="*/ 2805405 h 5120141"/>
                <a:gd name="connsiteX399" fmla="*/ 2812563 w 3832826"/>
                <a:gd name="connsiteY399" fmla="*/ 2817399 h 5120141"/>
                <a:gd name="connsiteX400" fmla="*/ 2825185 w 3832826"/>
                <a:gd name="connsiteY400" fmla="*/ 2845384 h 5120141"/>
                <a:gd name="connsiteX401" fmla="*/ 2835703 w 3832826"/>
                <a:gd name="connsiteY401" fmla="*/ 2873370 h 5120141"/>
                <a:gd name="connsiteX402" fmla="*/ 2842014 w 3832826"/>
                <a:gd name="connsiteY402" fmla="*/ 2885364 h 5120141"/>
                <a:gd name="connsiteX403" fmla="*/ 2847737 w 3832826"/>
                <a:gd name="connsiteY403" fmla="*/ 2896240 h 5120141"/>
                <a:gd name="connsiteX404" fmla="*/ 2848292 w 3832826"/>
                <a:gd name="connsiteY404" fmla="*/ 2895738 h 5120141"/>
                <a:gd name="connsiteX405" fmla="*/ 2873502 w 3832826"/>
                <a:gd name="connsiteY405" fmla="*/ 2911778 h 5120141"/>
                <a:gd name="connsiteX406" fmla="*/ 2898892 w 3832826"/>
                <a:gd name="connsiteY406" fmla="*/ 2921802 h 5120141"/>
                <a:gd name="connsiteX407" fmla="*/ 2921942 w 3832826"/>
                <a:gd name="connsiteY407" fmla="*/ 2935837 h 5120141"/>
                <a:gd name="connsiteX408" fmla="*/ 2932386 w 3832826"/>
                <a:gd name="connsiteY408" fmla="*/ 2943857 h 5120141"/>
                <a:gd name="connsiteX409" fmla="*/ 2943010 w 3832826"/>
                <a:gd name="connsiteY409" fmla="*/ 2953882 h 5120141"/>
                <a:gd name="connsiteX410" fmla="*/ 2957776 w 3832826"/>
                <a:gd name="connsiteY410" fmla="*/ 2965912 h 5120141"/>
                <a:gd name="connsiteX411" fmla="*/ 2964078 w 3832826"/>
                <a:gd name="connsiteY411" fmla="*/ 2973932 h 5120141"/>
                <a:gd name="connsiteX412" fmla="*/ 2970381 w 3832826"/>
                <a:gd name="connsiteY412" fmla="*/ 2977942 h 5120141"/>
                <a:gd name="connsiteX413" fmla="*/ 2985147 w 3832826"/>
                <a:gd name="connsiteY413" fmla="*/ 2979947 h 5120141"/>
                <a:gd name="connsiteX414" fmla="*/ 2995591 w 3832826"/>
                <a:gd name="connsiteY414" fmla="*/ 2979947 h 5120141"/>
                <a:gd name="connsiteX415" fmla="*/ 3006035 w 3832826"/>
                <a:gd name="connsiteY415" fmla="*/ 2983957 h 5120141"/>
                <a:gd name="connsiteX416" fmla="*/ 3018640 w 3832826"/>
                <a:gd name="connsiteY416" fmla="*/ 2993981 h 5120141"/>
                <a:gd name="connsiteX417" fmla="*/ 3024942 w 3832826"/>
                <a:gd name="connsiteY417" fmla="*/ 2999996 h 5120141"/>
                <a:gd name="connsiteX418" fmla="*/ 3027103 w 3832826"/>
                <a:gd name="connsiteY418" fmla="*/ 3006011 h 5120141"/>
                <a:gd name="connsiteX419" fmla="*/ 3027103 w 3832826"/>
                <a:gd name="connsiteY419" fmla="*/ 3008016 h 5120141"/>
                <a:gd name="connsiteX420" fmla="*/ 3024942 w 3832826"/>
                <a:gd name="connsiteY420" fmla="*/ 3014031 h 5120141"/>
                <a:gd name="connsiteX421" fmla="*/ 3018640 w 3832826"/>
                <a:gd name="connsiteY421" fmla="*/ 3020046 h 5120141"/>
                <a:gd name="connsiteX422" fmla="*/ 3014498 w 3832826"/>
                <a:gd name="connsiteY422" fmla="*/ 3029937 h 5120141"/>
                <a:gd name="connsiteX423" fmla="*/ 3014498 w 3832826"/>
                <a:gd name="connsiteY423" fmla="*/ 3043972 h 5120141"/>
                <a:gd name="connsiteX424" fmla="*/ 3014498 w 3832826"/>
                <a:gd name="connsiteY424" fmla="*/ 3049987 h 5120141"/>
                <a:gd name="connsiteX425" fmla="*/ 3024942 w 3832826"/>
                <a:gd name="connsiteY425" fmla="*/ 3074047 h 5120141"/>
                <a:gd name="connsiteX426" fmla="*/ 3024942 w 3832826"/>
                <a:gd name="connsiteY426" fmla="*/ 3084071 h 5120141"/>
                <a:gd name="connsiteX427" fmla="*/ 3022962 w 3832826"/>
                <a:gd name="connsiteY427" fmla="*/ 3088081 h 5120141"/>
                <a:gd name="connsiteX428" fmla="*/ 3022962 w 3832826"/>
                <a:gd name="connsiteY428" fmla="*/ 3090086 h 5120141"/>
                <a:gd name="connsiteX429" fmla="*/ 3024942 w 3832826"/>
                <a:gd name="connsiteY429" fmla="*/ 3094096 h 5120141"/>
                <a:gd name="connsiteX430" fmla="*/ 3033406 w 3832826"/>
                <a:gd name="connsiteY430" fmla="*/ 3100111 h 5120141"/>
                <a:gd name="connsiteX431" fmla="*/ 3046011 w 3832826"/>
                <a:gd name="connsiteY431" fmla="*/ 3106126 h 5120141"/>
                <a:gd name="connsiteX432" fmla="*/ 3056635 w 3832826"/>
                <a:gd name="connsiteY432" fmla="*/ 3108131 h 5120141"/>
                <a:gd name="connsiteX433" fmla="*/ 3064918 w 3832826"/>
                <a:gd name="connsiteY433" fmla="*/ 3110136 h 5120141"/>
                <a:gd name="connsiteX434" fmla="*/ 3075542 w 3832826"/>
                <a:gd name="connsiteY434" fmla="*/ 3118156 h 5120141"/>
                <a:gd name="connsiteX435" fmla="*/ 3088147 w 3832826"/>
                <a:gd name="connsiteY435" fmla="*/ 3138206 h 5120141"/>
                <a:gd name="connsiteX436" fmla="*/ 3096611 w 3832826"/>
                <a:gd name="connsiteY436" fmla="*/ 3152240 h 5120141"/>
                <a:gd name="connsiteX437" fmla="*/ 3096611 w 3832826"/>
                <a:gd name="connsiteY437" fmla="*/ 3162265 h 5120141"/>
                <a:gd name="connsiteX438" fmla="*/ 3096611 w 3832826"/>
                <a:gd name="connsiteY438" fmla="*/ 3166275 h 5120141"/>
                <a:gd name="connsiteX439" fmla="*/ 3090308 w 3832826"/>
                <a:gd name="connsiteY439" fmla="*/ 3168280 h 5120141"/>
                <a:gd name="connsiteX440" fmla="*/ 3088147 w 3832826"/>
                <a:gd name="connsiteY440" fmla="*/ 3168280 h 5120141"/>
                <a:gd name="connsiteX441" fmla="*/ 3085987 w 3832826"/>
                <a:gd name="connsiteY441" fmla="*/ 3170285 h 5120141"/>
                <a:gd name="connsiteX442" fmla="*/ 3085987 w 3832826"/>
                <a:gd name="connsiteY442" fmla="*/ 3178305 h 5120141"/>
                <a:gd name="connsiteX443" fmla="*/ 3088147 w 3832826"/>
                <a:gd name="connsiteY443" fmla="*/ 3182315 h 5120141"/>
                <a:gd name="connsiteX444" fmla="*/ 3090308 w 3832826"/>
                <a:gd name="connsiteY444" fmla="*/ 3186325 h 5120141"/>
                <a:gd name="connsiteX445" fmla="*/ 3092289 w 3832826"/>
                <a:gd name="connsiteY445" fmla="*/ 3190335 h 5120141"/>
                <a:gd name="connsiteX446" fmla="*/ 3098592 w 3832826"/>
                <a:gd name="connsiteY446" fmla="*/ 3208380 h 5120141"/>
                <a:gd name="connsiteX447" fmla="*/ 3102913 w 3832826"/>
                <a:gd name="connsiteY447" fmla="*/ 3222415 h 5120141"/>
                <a:gd name="connsiteX448" fmla="*/ 3107055 w 3832826"/>
                <a:gd name="connsiteY448" fmla="*/ 3238454 h 5120141"/>
                <a:gd name="connsiteX449" fmla="*/ 3109216 w 3832826"/>
                <a:gd name="connsiteY449" fmla="*/ 3246474 h 5120141"/>
                <a:gd name="connsiteX450" fmla="*/ 3113357 w 3832826"/>
                <a:gd name="connsiteY450" fmla="*/ 3248479 h 5120141"/>
                <a:gd name="connsiteX451" fmla="*/ 3130284 w 3832826"/>
                <a:gd name="connsiteY451" fmla="*/ 3252489 h 5120141"/>
                <a:gd name="connsiteX452" fmla="*/ 3159636 w 3832826"/>
                <a:gd name="connsiteY452" fmla="*/ 3266524 h 5120141"/>
                <a:gd name="connsiteX453" fmla="*/ 3187007 w 3832826"/>
                <a:gd name="connsiteY453" fmla="*/ 3278554 h 5120141"/>
                <a:gd name="connsiteX454" fmla="*/ 3214377 w 3832826"/>
                <a:gd name="connsiteY454" fmla="*/ 3296598 h 5120141"/>
                <a:gd name="connsiteX455" fmla="*/ 3243729 w 3832826"/>
                <a:gd name="connsiteY455" fmla="*/ 3308495 h 5120141"/>
                <a:gd name="connsiteX456" fmla="*/ 3250032 w 3832826"/>
                <a:gd name="connsiteY456" fmla="*/ 3312505 h 5120141"/>
                <a:gd name="connsiteX457" fmla="*/ 3260656 w 3832826"/>
                <a:gd name="connsiteY457" fmla="*/ 3326539 h 5120141"/>
                <a:gd name="connsiteX458" fmla="*/ 3269119 w 3832826"/>
                <a:gd name="connsiteY458" fmla="*/ 3338569 h 5120141"/>
                <a:gd name="connsiteX459" fmla="*/ 3275422 w 3832826"/>
                <a:gd name="connsiteY459" fmla="*/ 3352604 h 5120141"/>
                <a:gd name="connsiteX460" fmla="*/ 3285866 w 3832826"/>
                <a:gd name="connsiteY460" fmla="*/ 3384684 h 5120141"/>
                <a:gd name="connsiteX461" fmla="*/ 3292168 w 3832826"/>
                <a:gd name="connsiteY461" fmla="*/ 3410748 h 5120141"/>
                <a:gd name="connsiteX462" fmla="*/ 3300632 w 3832826"/>
                <a:gd name="connsiteY462" fmla="*/ 3434808 h 5120141"/>
                <a:gd name="connsiteX463" fmla="*/ 3309095 w 3832826"/>
                <a:gd name="connsiteY463" fmla="*/ 3458868 h 5120141"/>
                <a:gd name="connsiteX464" fmla="*/ 3311076 w 3832826"/>
                <a:gd name="connsiteY464" fmla="*/ 3468892 h 5120141"/>
                <a:gd name="connsiteX465" fmla="*/ 3313237 w 3832826"/>
                <a:gd name="connsiteY465" fmla="*/ 3474907 h 5120141"/>
                <a:gd name="connsiteX466" fmla="*/ 3313237 w 3832826"/>
                <a:gd name="connsiteY466" fmla="*/ 3478917 h 5120141"/>
                <a:gd name="connsiteX467" fmla="*/ 3309095 w 3832826"/>
                <a:gd name="connsiteY467" fmla="*/ 3482927 h 5120141"/>
                <a:gd name="connsiteX468" fmla="*/ 3302793 w 3832826"/>
                <a:gd name="connsiteY468" fmla="*/ 3488942 h 5120141"/>
                <a:gd name="connsiteX469" fmla="*/ 3296310 w 3832826"/>
                <a:gd name="connsiteY469" fmla="*/ 3490947 h 5120141"/>
                <a:gd name="connsiteX470" fmla="*/ 3296310 w 3832826"/>
                <a:gd name="connsiteY470" fmla="*/ 3498967 h 5120141"/>
                <a:gd name="connsiteX471" fmla="*/ 3296310 w 3832826"/>
                <a:gd name="connsiteY471" fmla="*/ 3508992 h 5120141"/>
                <a:gd name="connsiteX472" fmla="*/ 3300632 w 3832826"/>
                <a:gd name="connsiteY472" fmla="*/ 3531047 h 5120141"/>
                <a:gd name="connsiteX473" fmla="*/ 3309095 w 3832826"/>
                <a:gd name="connsiteY473" fmla="*/ 3553101 h 5120141"/>
                <a:gd name="connsiteX474" fmla="*/ 3313237 w 3832826"/>
                <a:gd name="connsiteY474" fmla="*/ 3563126 h 5120141"/>
                <a:gd name="connsiteX475" fmla="*/ 3319539 w 3832826"/>
                <a:gd name="connsiteY475" fmla="*/ 3567002 h 5120141"/>
                <a:gd name="connsiteX476" fmla="*/ 3317645 w 3832826"/>
                <a:gd name="connsiteY476" fmla="*/ 3567042 h 5120141"/>
                <a:gd name="connsiteX477" fmla="*/ 3330079 w 3832826"/>
                <a:gd name="connsiteY477" fmla="*/ 3577062 h 5120141"/>
                <a:gd name="connsiteX478" fmla="*/ 3334316 w 3832826"/>
                <a:gd name="connsiteY478" fmla="*/ 3585058 h 5120141"/>
                <a:gd name="connsiteX479" fmla="*/ 3334316 w 3832826"/>
                <a:gd name="connsiteY479" fmla="*/ 3593054 h 5120141"/>
                <a:gd name="connsiteX480" fmla="*/ 3334316 w 3832826"/>
                <a:gd name="connsiteY480" fmla="*/ 3603030 h 5120141"/>
                <a:gd name="connsiteX481" fmla="*/ 3332198 w 3832826"/>
                <a:gd name="connsiteY481" fmla="*/ 3607066 h 5120141"/>
                <a:gd name="connsiteX482" fmla="*/ 3323724 w 3832826"/>
                <a:gd name="connsiteY482" fmla="*/ 3609046 h 5120141"/>
                <a:gd name="connsiteX483" fmla="*/ 3319599 w 3832826"/>
                <a:gd name="connsiteY483" fmla="*/ 3613006 h 5120141"/>
                <a:gd name="connsiteX484" fmla="*/ 3319599 w 3832826"/>
                <a:gd name="connsiteY484" fmla="*/ 3617042 h 5120141"/>
                <a:gd name="connsiteX485" fmla="*/ 3319599 w 3832826"/>
                <a:gd name="connsiteY485" fmla="*/ 3619021 h 5120141"/>
                <a:gd name="connsiteX486" fmla="*/ 3323724 w 3832826"/>
                <a:gd name="connsiteY486" fmla="*/ 3625037 h 5120141"/>
                <a:gd name="connsiteX487" fmla="*/ 3330079 w 3832826"/>
                <a:gd name="connsiteY487" fmla="*/ 3627017 h 5120141"/>
                <a:gd name="connsiteX488" fmla="*/ 3332198 w 3832826"/>
                <a:gd name="connsiteY488" fmla="*/ 3628997 h 5120141"/>
                <a:gd name="connsiteX489" fmla="*/ 3340560 w 3832826"/>
                <a:gd name="connsiteY489" fmla="*/ 3644989 h 5120141"/>
                <a:gd name="connsiteX490" fmla="*/ 3351151 w 3832826"/>
                <a:gd name="connsiteY490" fmla="*/ 3657021 h 5120141"/>
                <a:gd name="connsiteX491" fmla="*/ 3372112 w 3832826"/>
                <a:gd name="connsiteY491" fmla="*/ 3684968 h 5120141"/>
                <a:gd name="connsiteX492" fmla="*/ 3372112 w 3832826"/>
                <a:gd name="connsiteY492" fmla="*/ 3687024 h 5120141"/>
                <a:gd name="connsiteX493" fmla="*/ 3372112 w 3832826"/>
                <a:gd name="connsiteY493" fmla="*/ 3689004 h 5120141"/>
                <a:gd name="connsiteX494" fmla="*/ 3367875 w 3832826"/>
                <a:gd name="connsiteY494" fmla="*/ 3695020 h 5120141"/>
                <a:gd name="connsiteX495" fmla="*/ 3363750 w 3832826"/>
                <a:gd name="connsiteY495" fmla="*/ 3703016 h 5120141"/>
                <a:gd name="connsiteX496" fmla="*/ 3363750 w 3832826"/>
                <a:gd name="connsiteY496" fmla="*/ 3704996 h 5120141"/>
                <a:gd name="connsiteX497" fmla="*/ 3363750 w 3832826"/>
                <a:gd name="connsiteY497" fmla="*/ 3706976 h 5120141"/>
                <a:gd name="connsiteX498" fmla="*/ 3367875 w 3832826"/>
                <a:gd name="connsiteY498" fmla="*/ 3716951 h 5120141"/>
                <a:gd name="connsiteX499" fmla="*/ 3374230 w 3832826"/>
                <a:gd name="connsiteY499" fmla="*/ 3722967 h 5120141"/>
                <a:gd name="connsiteX500" fmla="*/ 3382704 w 3832826"/>
                <a:gd name="connsiteY500" fmla="*/ 3728983 h 5120141"/>
                <a:gd name="connsiteX501" fmla="*/ 3388948 w 3832826"/>
                <a:gd name="connsiteY501" fmla="*/ 3734923 h 5120141"/>
                <a:gd name="connsiteX502" fmla="*/ 3395303 w 3832826"/>
                <a:gd name="connsiteY502" fmla="*/ 3746955 h 5120141"/>
                <a:gd name="connsiteX503" fmla="*/ 3397421 w 3832826"/>
                <a:gd name="connsiteY503" fmla="*/ 3756931 h 5120141"/>
                <a:gd name="connsiteX504" fmla="*/ 3397421 w 3832826"/>
                <a:gd name="connsiteY504" fmla="*/ 3766907 h 5120141"/>
                <a:gd name="connsiteX505" fmla="*/ 3399428 w 3832826"/>
                <a:gd name="connsiteY505" fmla="*/ 3778939 h 5120141"/>
                <a:gd name="connsiteX506" fmla="*/ 3407901 w 3832826"/>
                <a:gd name="connsiteY506" fmla="*/ 3798890 h 5120141"/>
                <a:gd name="connsiteX507" fmla="*/ 3416263 w 3832826"/>
                <a:gd name="connsiteY507" fmla="*/ 3808942 h 5120141"/>
                <a:gd name="connsiteX508" fmla="*/ 3424737 w 3832826"/>
                <a:gd name="connsiteY508" fmla="*/ 3816938 h 5120141"/>
                <a:gd name="connsiteX509" fmla="*/ 3431092 w 3832826"/>
                <a:gd name="connsiteY509" fmla="*/ 3820898 h 5120141"/>
                <a:gd name="connsiteX510" fmla="*/ 3437335 w 3832826"/>
                <a:gd name="connsiteY510" fmla="*/ 3820898 h 5120141"/>
                <a:gd name="connsiteX511" fmla="*/ 3449934 w 3832826"/>
                <a:gd name="connsiteY511" fmla="*/ 3820898 h 5120141"/>
                <a:gd name="connsiteX512" fmla="*/ 3456289 w 3832826"/>
                <a:gd name="connsiteY512" fmla="*/ 3824934 h 5120141"/>
                <a:gd name="connsiteX513" fmla="*/ 3460526 w 3832826"/>
                <a:gd name="connsiteY513" fmla="*/ 3826914 h 5120141"/>
                <a:gd name="connsiteX514" fmla="*/ 3466770 w 3832826"/>
                <a:gd name="connsiteY514" fmla="*/ 3830874 h 5120141"/>
                <a:gd name="connsiteX515" fmla="*/ 3468888 w 3832826"/>
                <a:gd name="connsiteY515" fmla="*/ 3840925 h 5120141"/>
                <a:gd name="connsiteX516" fmla="*/ 3466770 w 3832826"/>
                <a:gd name="connsiteY516" fmla="*/ 3840925 h 5120141"/>
                <a:gd name="connsiteX517" fmla="*/ 3462644 w 3832826"/>
                <a:gd name="connsiteY517" fmla="*/ 3844885 h 5120141"/>
                <a:gd name="connsiteX518" fmla="*/ 3458408 w 3832826"/>
                <a:gd name="connsiteY518" fmla="*/ 3846865 h 5120141"/>
                <a:gd name="connsiteX519" fmla="*/ 3456289 w 3832826"/>
                <a:gd name="connsiteY519" fmla="*/ 3848921 h 5120141"/>
                <a:gd name="connsiteX520" fmla="*/ 3458408 w 3832826"/>
                <a:gd name="connsiteY520" fmla="*/ 3854861 h 5120141"/>
                <a:gd name="connsiteX521" fmla="*/ 3462644 w 3832826"/>
                <a:gd name="connsiteY521" fmla="*/ 3856917 h 5120141"/>
                <a:gd name="connsiteX522" fmla="*/ 3468888 w 3832826"/>
                <a:gd name="connsiteY522" fmla="*/ 3860877 h 5120141"/>
                <a:gd name="connsiteX523" fmla="*/ 3481487 w 3832826"/>
                <a:gd name="connsiteY523" fmla="*/ 3874889 h 5120141"/>
                <a:gd name="connsiteX524" fmla="*/ 3487842 w 3832826"/>
                <a:gd name="connsiteY524" fmla="*/ 3880828 h 5120141"/>
                <a:gd name="connsiteX525" fmla="*/ 3489960 w 3832826"/>
                <a:gd name="connsiteY525" fmla="*/ 3888824 h 5120141"/>
                <a:gd name="connsiteX526" fmla="*/ 3489960 w 3832826"/>
                <a:gd name="connsiteY526" fmla="*/ 3898876 h 5120141"/>
                <a:gd name="connsiteX527" fmla="*/ 3483605 w 3832826"/>
                <a:gd name="connsiteY527" fmla="*/ 3910832 h 5120141"/>
                <a:gd name="connsiteX528" fmla="*/ 3477361 w 3832826"/>
                <a:gd name="connsiteY528" fmla="*/ 3924844 h 5120141"/>
                <a:gd name="connsiteX529" fmla="*/ 3477361 w 3832826"/>
                <a:gd name="connsiteY529" fmla="*/ 3934819 h 5120141"/>
                <a:gd name="connsiteX530" fmla="*/ 3477361 w 3832826"/>
                <a:gd name="connsiteY530" fmla="*/ 3946851 h 5120141"/>
                <a:gd name="connsiteX531" fmla="*/ 3481487 w 3832826"/>
                <a:gd name="connsiteY531" fmla="*/ 3960787 h 5120141"/>
                <a:gd name="connsiteX532" fmla="*/ 3492078 w 3832826"/>
                <a:gd name="connsiteY532" fmla="*/ 3988810 h 5120141"/>
                <a:gd name="connsiteX533" fmla="*/ 3498322 w 3832826"/>
                <a:gd name="connsiteY533" fmla="*/ 3998786 h 5120141"/>
                <a:gd name="connsiteX534" fmla="*/ 3502559 w 3832826"/>
                <a:gd name="connsiteY534" fmla="*/ 4006782 h 5120141"/>
                <a:gd name="connsiteX535" fmla="*/ 3513039 w 3832826"/>
                <a:gd name="connsiteY535" fmla="*/ 4012798 h 5120141"/>
                <a:gd name="connsiteX536" fmla="*/ 3521513 w 3832826"/>
                <a:gd name="connsiteY536" fmla="*/ 4022774 h 5120141"/>
                <a:gd name="connsiteX537" fmla="*/ 3523631 w 3832826"/>
                <a:gd name="connsiteY537" fmla="*/ 4028790 h 5120141"/>
                <a:gd name="connsiteX538" fmla="*/ 3523631 w 3832826"/>
                <a:gd name="connsiteY538" fmla="*/ 4036785 h 5120141"/>
                <a:gd name="connsiteX539" fmla="*/ 3523631 w 3832826"/>
                <a:gd name="connsiteY539" fmla="*/ 4048741 h 5120141"/>
                <a:gd name="connsiteX540" fmla="*/ 3521513 w 3832826"/>
                <a:gd name="connsiteY540" fmla="*/ 4066713 h 5120141"/>
                <a:gd name="connsiteX541" fmla="*/ 3521513 w 3832826"/>
                <a:gd name="connsiteY541" fmla="*/ 4078744 h 5120141"/>
                <a:gd name="connsiteX542" fmla="*/ 3525749 w 3832826"/>
                <a:gd name="connsiteY542" fmla="*/ 4100752 h 5120141"/>
                <a:gd name="connsiteX543" fmla="*/ 3540466 w 3832826"/>
                <a:gd name="connsiteY543" fmla="*/ 4136695 h 5120141"/>
                <a:gd name="connsiteX544" fmla="*/ 3557302 w 3832826"/>
                <a:gd name="connsiteY544" fmla="*/ 4182690 h 5120141"/>
                <a:gd name="connsiteX545" fmla="*/ 3555183 w 3832826"/>
                <a:gd name="connsiteY545" fmla="*/ 4186650 h 5120141"/>
                <a:gd name="connsiteX546" fmla="*/ 3557302 w 3832826"/>
                <a:gd name="connsiteY546" fmla="*/ 4192666 h 5120141"/>
                <a:gd name="connsiteX547" fmla="*/ 3567782 w 3832826"/>
                <a:gd name="connsiteY547" fmla="*/ 4214674 h 5120141"/>
                <a:gd name="connsiteX548" fmla="*/ 3578262 w 3832826"/>
                <a:gd name="connsiteY548" fmla="*/ 4240641 h 5120141"/>
                <a:gd name="connsiteX549" fmla="*/ 3582499 w 3832826"/>
                <a:gd name="connsiteY549" fmla="*/ 4250617 h 5120141"/>
                <a:gd name="connsiteX550" fmla="*/ 3582499 w 3832826"/>
                <a:gd name="connsiteY550" fmla="*/ 4260593 h 5120141"/>
                <a:gd name="connsiteX551" fmla="*/ 3578262 w 3832826"/>
                <a:gd name="connsiteY551" fmla="*/ 4260593 h 5120141"/>
                <a:gd name="connsiteX552" fmla="*/ 3576144 w 3832826"/>
                <a:gd name="connsiteY552" fmla="*/ 4264629 h 5120141"/>
                <a:gd name="connsiteX553" fmla="*/ 3572019 w 3832826"/>
                <a:gd name="connsiteY553" fmla="*/ 4270645 h 5120141"/>
                <a:gd name="connsiteX554" fmla="*/ 3565664 w 3832826"/>
                <a:gd name="connsiteY554" fmla="*/ 4272624 h 5120141"/>
                <a:gd name="connsiteX555" fmla="*/ 3563545 w 3832826"/>
                <a:gd name="connsiteY555" fmla="*/ 4278640 h 5120141"/>
                <a:gd name="connsiteX556" fmla="*/ 3561427 w 3832826"/>
                <a:gd name="connsiteY556" fmla="*/ 4288616 h 5120141"/>
                <a:gd name="connsiteX557" fmla="*/ 3561427 w 3832826"/>
                <a:gd name="connsiteY557" fmla="*/ 4300572 h 5120141"/>
                <a:gd name="connsiteX558" fmla="*/ 3557302 w 3832826"/>
                <a:gd name="connsiteY558" fmla="*/ 4324559 h 5120141"/>
                <a:gd name="connsiteX559" fmla="*/ 3556313 w 3832826"/>
                <a:gd name="connsiteY559" fmla="*/ 4324559 h 5120141"/>
                <a:gd name="connsiteX560" fmla="*/ 3557250 w 3832826"/>
                <a:gd name="connsiteY560" fmla="*/ 4324566 h 5120141"/>
                <a:gd name="connsiteX561" fmla="*/ 3561457 w 3832826"/>
                <a:gd name="connsiteY561" fmla="*/ 4324566 h 5120141"/>
                <a:gd name="connsiteX562" fmla="*/ 3687675 w 3832826"/>
                <a:gd name="connsiteY562" fmla="*/ 4322562 h 5120141"/>
                <a:gd name="connsiteX563" fmla="*/ 3815997 w 3832826"/>
                <a:gd name="connsiteY563" fmla="*/ 4322562 h 5120141"/>
                <a:gd name="connsiteX564" fmla="*/ 3820204 w 3832826"/>
                <a:gd name="connsiteY564" fmla="*/ 4362642 h 5120141"/>
                <a:gd name="connsiteX565" fmla="*/ 3820204 w 3832826"/>
                <a:gd name="connsiteY565" fmla="*/ 4388693 h 5120141"/>
                <a:gd name="connsiteX566" fmla="*/ 3815997 w 3832826"/>
                <a:gd name="connsiteY566" fmla="*/ 4394705 h 5120141"/>
                <a:gd name="connsiteX567" fmla="*/ 3813893 w 3832826"/>
                <a:gd name="connsiteY567" fmla="*/ 4398713 h 5120141"/>
                <a:gd name="connsiteX568" fmla="*/ 3803375 w 3832826"/>
                <a:gd name="connsiteY568" fmla="*/ 4398713 h 5120141"/>
                <a:gd name="connsiteX569" fmla="*/ 3799168 w 3832826"/>
                <a:gd name="connsiteY569" fmla="*/ 4402721 h 5120141"/>
                <a:gd name="connsiteX570" fmla="*/ 3799168 w 3832826"/>
                <a:gd name="connsiteY570" fmla="*/ 4408733 h 5120141"/>
                <a:gd name="connsiteX571" fmla="*/ 3801272 w 3832826"/>
                <a:gd name="connsiteY571" fmla="*/ 4420757 h 5120141"/>
                <a:gd name="connsiteX572" fmla="*/ 3801272 w 3832826"/>
                <a:gd name="connsiteY572" fmla="*/ 4422761 h 5120141"/>
                <a:gd name="connsiteX573" fmla="*/ 3805479 w 3832826"/>
                <a:gd name="connsiteY573" fmla="*/ 4424765 h 5120141"/>
                <a:gd name="connsiteX574" fmla="*/ 3815997 w 3832826"/>
                <a:gd name="connsiteY574" fmla="*/ 4422761 h 5120141"/>
                <a:gd name="connsiteX575" fmla="*/ 3826515 w 3832826"/>
                <a:gd name="connsiteY575" fmla="*/ 4422761 h 5120141"/>
                <a:gd name="connsiteX576" fmla="*/ 3830723 w 3832826"/>
                <a:gd name="connsiteY576" fmla="*/ 4424765 h 5120141"/>
                <a:gd name="connsiteX577" fmla="*/ 3832826 w 3832826"/>
                <a:gd name="connsiteY577" fmla="*/ 4430776 h 5120141"/>
                <a:gd name="connsiteX578" fmla="*/ 3830723 w 3832826"/>
                <a:gd name="connsiteY578" fmla="*/ 4436788 h 5120141"/>
                <a:gd name="connsiteX579" fmla="*/ 3826515 w 3832826"/>
                <a:gd name="connsiteY579" fmla="*/ 4436788 h 5120141"/>
                <a:gd name="connsiteX580" fmla="*/ 3822308 w 3832826"/>
                <a:gd name="connsiteY580" fmla="*/ 4440796 h 5120141"/>
                <a:gd name="connsiteX581" fmla="*/ 3822308 w 3832826"/>
                <a:gd name="connsiteY581" fmla="*/ 4444804 h 5120141"/>
                <a:gd name="connsiteX582" fmla="*/ 3822308 w 3832826"/>
                <a:gd name="connsiteY582" fmla="*/ 4502919 h 5120141"/>
                <a:gd name="connsiteX583" fmla="*/ 3824412 w 3832826"/>
                <a:gd name="connsiteY583" fmla="*/ 4557026 h 5120141"/>
                <a:gd name="connsiteX584" fmla="*/ 3826515 w 3832826"/>
                <a:gd name="connsiteY584" fmla="*/ 4723356 h 5120141"/>
                <a:gd name="connsiteX585" fmla="*/ 3826515 w 3832826"/>
                <a:gd name="connsiteY585" fmla="*/ 4805518 h 5120141"/>
                <a:gd name="connsiteX586" fmla="*/ 3826515 w 3832826"/>
                <a:gd name="connsiteY586" fmla="*/ 4887681 h 5120141"/>
                <a:gd name="connsiteX587" fmla="*/ 3815997 w 3832826"/>
                <a:gd name="connsiteY587" fmla="*/ 4885677 h 5120141"/>
                <a:gd name="connsiteX588" fmla="*/ 3820204 w 3832826"/>
                <a:gd name="connsiteY588" fmla="*/ 4985875 h 5120141"/>
                <a:gd name="connsiteX589" fmla="*/ 3820204 w 3832826"/>
                <a:gd name="connsiteY589" fmla="*/ 5072046 h 5120141"/>
                <a:gd name="connsiteX590" fmla="*/ 3822308 w 3832826"/>
                <a:gd name="connsiteY590" fmla="*/ 5072046 h 5120141"/>
                <a:gd name="connsiteX591" fmla="*/ 3822308 w 3832826"/>
                <a:gd name="connsiteY591" fmla="*/ 5088078 h 5120141"/>
                <a:gd name="connsiteX592" fmla="*/ 3822308 w 3832826"/>
                <a:gd name="connsiteY592" fmla="*/ 5100102 h 5120141"/>
                <a:gd name="connsiteX593" fmla="*/ 3820204 w 3832826"/>
                <a:gd name="connsiteY593" fmla="*/ 5104109 h 5120141"/>
                <a:gd name="connsiteX594" fmla="*/ 3815997 w 3832826"/>
                <a:gd name="connsiteY594" fmla="*/ 5108117 h 5120141"/>
                <a:gd name="connsiteX595" fmla="*/ 3809686 w 3832826"/>
                <a:gd name="connsiteY595" fmla="*/ 5108117 h 5120141"/>
                <a:gd name="connsiteX596" fmla="*/ 3801272 w 3832826"/>
                <a:gd name="connsiteY596" fmla="*/ 5108117 h 5120141"/>
                <a:gd name="connsiteX597" fmla="*/ 3370026 w 3832826"/>
                <a:gd name="connsiteY597" fmla="*/ 5110121 h 5120141"/>
                <a:gd name="connsiteX598" fmla="*/ 2940884 w 3832826"/>
                <a:gd name="connsiteY598" fmla="*/ 5112125 h 5120141"/>
                <a:gd name="connsiteX599" fmla="*/ 2903018 w 3832826"/>
                <a:gd name="connsiteY599" fmla="*/ 5112125 h 5120141"/>
                <a:gd name="connsiteX600" fmla="*/ 2898811 w 3832826"/>
                <a:gd name="connsiteY600" fmla="*/ 5118137 h 5120141"/>
                <a:gd name="connsiteX601" fmla="*/ 2888293 w 3832826"/>
                <a:gd name="connsiteY601" fmla="*/ 5120141 h 5120141"/>
                <a:gd name="connsiteX602" fmla="*/ 2860945 w 3832826"/>
                <a:gd name="connsiteY602" fmla="*/ 5120141 h 5120141"/>
                <a:gd name="connsiteX603" fmla="*/ 2808354 w 3832826"/>
                <a:gd name="connsiteY603" fmla="*/ 5118137 h 5120141"/>
                <a:gd name="connsiteX604" fmla="*/ 2747349 w 3832826"/>
                <a:gd name="connsiteY604" fmla="*/ 5120141 h 5120141"/>
                <a:gd name="connsiteX605" fmla="*/ 2713691 w 3832826"/>
                <a:gd name="connsiteY605" fmla="*/ 5120141 h 5120141"/>
                <a:gd name="connsiteX606" fmla="*/ 2701069 w 3832826"/>
                <a:gd name="connsiteY606" fmla="*/ 5118137 h 5120141"/>
                <a:gd name="connsiteX607" fmla="*/ 2692654 w 3832826"/>
                <a:gd name="connsiteY607" fmla="*/ 5114129 h 5120141"/>
                <a:gd name="connsiteX608" fmla="*/ 2690551 w 3832826"/>
                <a:gd name="connsiteY608" fmla="*/ 5108117 h 5120141"/>
                <a:gd name="connsiteX609" fmla="*/ 2690551 w 3832826"/>
                <a:gd name="connsiteY609" fmla="*/ 5100102 h 5120141"/>
                <a:gd name="connsiteX610" fmla="*/ 2690551 w 3832826"/>
                <a:gd name="connsiteY610" fmla="*/ 5084070 h 5120141"/>
                <a:gd name="connsiteX611" fmla="*/ 2690551 w 3832826"/>
                <a:gd name="connsiteY611" fmla="*/ 5082066 h 5120141"/>
                <a:gd name="connsiteX612" fmla="*/ 2688447 w 3832826"/>
                <a:gd name="connsiteY612" fmla="*/ 5080062 h 5120141"/>
                <a:gd name="connsiteX613" fmla="*/ 2682136 w 3832826"/>
                <a:gd name="connsiteY613" fmla="*/ 5080062 h 5120141"/>
                <a:gd name="connsiteX614" fmla="*/ 2675825 w 3832826"/>
                <a:gd name="connsiteY614" fmla="*/ 5080062 h 5120141"/>
                <a:gd name="connsiteX615" fmla="*/ 2669514 w 3832826"/>
                <a:gd name="connsiteY615" fmla="*/ 5080062 h 5120141"/>
                <a:gd name="connsiteX616" fmla="*/ 2667411 w 3832826"/>
                <a:gd name="connsiteY616" fmla="*/ 5078058 h 5120141"/>
                <a:gd name="connsiteX617" fmla="*/ 2667411 w 3832826"/>
                <a:gd name="connsiteY617" fmla="*/ 5072046 h 5120141"/>
                <a:gd name="connsiteX618" fmla="*/ 2658996 w 3832826"/>
                <a:gd name="connsiteY618" fmla="*/ 5070042 h 5120141"/>
                <a:gd name="connsiteX619" fmla="*/ 2627442 w 3832826"/>
                <a:gd name="connsiteY619" fmla="*/ 5070042 h 5120141"/>
                <a:gd name="connsiteX620" fmla="*/ 2612716 w 3832826"/>
                <a:gd name="connsiteY620" fmla="*/ 5070042 h 5120141"/>
                <a:gd name="connsiteX621" fmla="*/ 2604302 w 3832826"/>
                <a:gd name="connsiteY621" fmla="*/ 5070042 h 5120141"/>
                <a:gd name="connsiteX622" fmla="*/ 2602198 w 3832826"/>
                <a:gd name="connsiteY622" fmla="*/ 5068038 h 5120141"/>
                <a:gd name="connsiteX623" fmla="*/ 2597991 w 3832826"/>
                <a:gd name="connsiteY623" fmla="*/ 5064030 h 5120141"/>
                <a:gd name="connsiteX624" fmla="*/ 2595887 w 3832826"/>
                <a:gd name="connsiteY624" fmla="*/ 5052006 h 5120141"/>
                <a:gd name="connsiteX625" fmla="*/ 2593783 w 3832826"/>
                <a:gd name="connsiteY625" fmla="*/ 5047998 h 5120141"/>
                <a:gd name="connsiteX626" fmla="*/ 2591680 w 3832826"/>
                <a:gd name="connsiteY626" fmla="*/ 5047998 h 5120141"/>
                <a:gd name="connsiteX627" fmla="*/ 2576954 w 3832826"/>
                <a:gd name="connsiteY627" fmla="*/ 5045994 h 5120141"/>
                <a:gd name="connsiteX628" fmla="*/ 2551711 w 3832826"/>
                <a:gd name="connsiteY628" fmla="*/ 5047998 h 5120141"/>
                <a:gd name="connsiteX629" fmla="*/ 2530674 w 3832826"/>
                <a:gd name="connsiteY629" fmla="*/ 5045994 h 5120141"/>
                <a:gd name="connsiteX630" fmla="*/ 2528571 w 3832826"/>
                <a:gd name="connsiteY630" fmla="*/ 4975856 h 5120141"/>
                <a:gd name="connsiteX631" fmla="*/ 2528571 w 3832826"/>
                <a:gd name="connsiteY631" fmla="*/ 4905717 h 5120141"/>
                <a:gd name="connsiteX632" fmla="*/ 2524363 w 3832826"/>
                <a:gd name="connsiteY632" fmla="*/ 4899705 h 5120141"/>
                <a:gd name="connsiteX633" fmla="*/ 2522260 w 3832826"/>
                <a:gd name="connsiteY633" fmla="*/ 4895697 h 5120141"/>
                <a:gd name="connsiteX634" fmla="*/ 2509638 w 3832826"/>
                <a:gd name="connsiteY634" fmla="*/ 4891689 h 5120141"/>
                <a:gd name="connsiteX635" fmla="*/ 2492809 w 3832826"/>
                <a:gd name="connsiteY635" fmla="*/ 4889685 h 5120141"/>
                <a:gd name="connsiteX636" fmla="*/ 2478083 w 3832826"/>
                <a:gd name="connsiteY636" fmla="*/ 4889685 h 5120141"/>
                <a:gd name="connsiteX637" fmla="*/ 2471772 w 3832826"/>
                <a:gd name="connsiteY637" fmla="*/ 4887681 h 5120141"/>
                <a:gd name="connsiteX638" fmla="*/ 2467565 w 3832826"/>
                <a:gd name="connsiteY638" fmla="*/ 4881669 h 5120141"/>
                <a:gd name="connsiteX639" fmla="*/ 2465461 w 3832826"/>
                <a:gd name="connsiteY639" fmla="*/ 4871649 h 5120141"/>
                <a:gd name="connsiteX640" fmla="*/ 2465461 w 3832826"/>
                <a:gd name="connsiteY640" fmla="*/ 4861629 h 5120141"/>
                <a:gd name="connsiteX641" fmla="*/ 2467565 w 3832826"/>
                <a:gd name="connsiteY641" fmla="*/ 4839586 h 5120141"/>
                <a:gd name="connsiteX642" fmla="*/ 2467565 w 3832826"/>
                <a:gd name="connsiteY642" fmla="*/ 4823554 h 5120141"/>
                <a:gd name="connsiteX643" fmla="*/ 2391834 w 3832826"/>
                <a:gd name="connsiteY643" fmla="*/ 4823554 h 5120141"/>
                <a:gd name="connsiteX644" fmla="*/ 2393938 w 3832826"/>
                <a:gd name="connsiteY644" fmla="*/ 4755419 h 5120141"/>
                <a:gd name="connsiteX645" fmla="*/ 2343450 w 3832826"/>
                <a:gd name="connsiteY645" fmla="*/ 4759427 h 5120141"/>
                <a:gd name="connsiteX646" fmla="*/ 2311896 w 3832826"/>
                <a:gd name="connsiteY646" fmla="*/ 4759427 h 5120141"/>
                <a:gd name="connsiteX647" fmla="*/ 2301378 w 3832826"/>
                <a:gd name="connsiteY647" fmla="*/ 4757423 h 5120141"/>
                <a:gd name="connsiteX648" fmla="*/ 2295067 w 3832826"/>
                <a:gd name="connsiteY648" fmla="*/ 4755419 h 5120141"/>
                <a:gd name="connsiteX649" fmla="*/ 2290860 w 3832826"/>
                <a:gd name="connsiteY649" fmla="*/ 4749407 h 5120141"/>
                <a:gd name="connsiteX650" fmla="*/ 2290860 w 3832826"/>
                <a:gd name="connsiteY650" fmla="*/ 4745399 h 5120141"/>
                <a:gd name="connsiteX651" fmla="*/ 2290860 w 3832826"/>
                <a:gd name="connsiteY651" fmla="*/ 4727364 h 5120141"/>
                <a:gd name="connsiteX652" fmla="*/ 2290860 w 3832826"/>
                <a:gd name="connsiteY652" fmla="*/ 4699308 h 5120141"/>
                <a:gd name="connsiteX653" fmla="*/ 2290860 w 3832826"/>
                <a:gd name="connsiteY653" fmla="*/ 4687284 h 5120141"/>
                <a:gd name="connsiteX654" fmla="*/ 2288756 w 3832826"/>
                <a:gd name="connsiteY654" fmla="*/ 4685280 h 5120141"/>
                <a:gd name="connsiteX655" fmla="*/ 2284549 w 3832826"/>
                <a:gd name="connsiteY655" fmla="*/ 4683276 h 5120141"/>
                <a:gd name="connsiteX656" fmla="*/ 2274030 w 3832826"/>
                <a:gd name="connsiteY656" fmla="*/ 4683276 h 5120141"/>
                <a:gd name="connsiteX657" fmla="*/ 2259305 w 3832826"/>
                <a:gd name="connsiteY657" fmla="*/ 4685280 h 5120141"/>
                <a:gd name="connsiteX658" fmla="*/ 2255098 w 3832826"/>
                <a:gd name="connsiteY658" fmla="*/ 4683276 h 5120141"/>
                <a:gd name="connsiteX659" fmla="*/ 2248787 w 3832826"/>
                <a:gd name="connsiteY659" fmla="*/ 4679268 h 5120141"/>
                <a:gd name="connsiteX660" fmla="*/ 2244579 w 3832826"/>
                <a:gd name="connsiteY660" fmla="*/ 4673257 h 5120141"/>
                <a:gd name="connsiteX661" fmla="*/ 2244579 w 3832826"/>
                <a:gd name="connsiteY661" fmla="*/ 4663237 h 5120141"/>
                <a:gd name="connsiteX662" fmla="*/ 2244579 w 3832826"/>
                <a:gd name="connsiteY662" fmla="*/ 4649209 h 5120141"/>
                <a:gd name="connsiteX663" fmla="*/ 2244579 w 3832826"/>
                <a:gd name="connsiteY663" fmla="*/ 4637185 h 5120141"/>
                <a:gd name="connsiteX664" fmla="*/ 2244579 w 3832826"/>
                <a:gd name="connsiteY664" fmla="*/ 4627165 h 5120141"/>
                <a:gd name="connsiteX665" fmla="*/ 2242476 w 3832826"/>
                <a:gd name="connsiteY665" fmla="*/ 4623157 h 5120141"/>
                <a:gd name="connsiteX666" fmla="*/ 2236165 w 3832826"/>
                <a:gd name="connsiteY666" fmla="*/ 4617145 h 5120141"/>
                <a:gd name="connsiteX667" fmla="*/ 2234061 w 3832826"/>
                <a:gd name="connsiteY667" fmla="*/ 4617145 h 5120141"/>
                <a:gd name="connsiteX668" fmla="*/ 2225647 w 3832826"/>
                <a:gd name="connsiteY668" fmla="*/ 4615141 h 5120141"/>
                <a:gd name="connsiteX669" fmla="*/ 2194092 w 3832826"/>
                <a:gd name="connsiteY669" fmla="*/ 4617145 h 5120141"/>
                <a:gd name="connsiteX670" fmla="*/ 2179367 w 3832826"/>
                <a:gd name="connsiteY670" fmla="*/ 4617145 h 5120141"/>
                <a:gd name="connsiteX671" fmla="*/ 2164641 w 3832826"/>
                <a:gd name="connsiteY671" fmla="*/ 4613137 h 5120141"/>
                <a:gd name="connsiteX672" fmla="*/ 2162538 w 3832826"/>
                <a:gd name="connsiteY672" fmla="*/ 4607126 h 5120141"/>
                <a:gd name="connsiteX673" fmla="*/ 2160434 w 3832826"/>
                <a:gd name="connsiteY673" fmla="*/ 4597106 h 5120141"/>
                <a:gd name="connsiteX674" fmla="*/ 2154123 w 3832826"/>
                <a:gd name="connsiteY674" fmla="*/ 4583078 h 5120141"/>
                <a:gd name="connsiteX675" fmla="*/ 2149916 w 3832826"/>
                <a:gd name="connsiteY675" fmla="*/ 4581074 h 5120141"/>
                <a:gd name="connsiteX676" fmla="*/ 2143605 w 3832826"/>
                <a:gd name="connsiteY676" fmla="*/ 4575062 h 5120141"/>
                <a:gd name="connsiteX677" fmla="*/ 2133087 w 3832826"/>
                <a:gd name="connsiteY677" fmla="*/ 4571054 h 5120141"/>
                <a:gd name="connsiteX678" fmla="*/ 2130983 w 3832826"/>
                <a:gd name="connsiteY678" fmla="*/ 4565042 h 5120141"/>
                <a:gd name="connsiteX679" fmla="*/ 2130983 w 3832826"/>
                <a:gd name="connsiteY679" fmla="*/ 4561034 h 5120141"/>
                <a:gd name="connsiteX680" fmla="*/ 2130983 w 3832826"/>
                <a:gd name="connsiteY680" fmla="*/ 4553018 h 5120141"/>
                <a:gd name="connsiteX681" fmla="*/ 2130983 w 3832826"/>
                <a:gd name="connsiteY681" fmla="*/ 4551015 h 5120141"/>
                <a:gd name="connsiteX682" fmla="*/ 2126776 w 3832826"/>
                <a:gd name="connsiteY682" fmla="*/ 4545003 h 5120141"/>
                <a:gd name="connsiteX683" fmla="*/ 2122568 w 3832826"/>
                <a:gd name="connsiteY683" fmla="*/ 4545003 h 5120141"/>
                <a:gd name="connsiteX684" fmla="*/ 2120465 w 3832826"/>
                <a:gd name="connsiteY684" fmla="*/ 4545003 h 5120141"/>
                <a:gd name="connsiteX685" fmla="*/ 2118361 w 3832826"/>
                <a:gd name="connsiteY685" fmla="*/ 4536987 h 5120141"/>
                <a:gd name="connsiteX686" fmla="*/ 2116258 w 3832826"/>
                <a:gd name="connsiteY686" fmla="*/ 4536987 h 5120141"/>
                <a:gd name="connsiteX687" fmla="*/ 2109947 w 3832826"/>
                <a:gd name="connsiteY687" fmla="*/ 4536987 h 5120141"/>
                <a:gd name="connsiteX688" fmla="*/ 2107843 w 3832826"/>
                <a:gd name="connsiteY688" fmla="*/ 4536987 h 5120141"/>
                <a:gd name="connsiteX689" fmla="*/ 2107843 w 3832826"/>
                <a:gd name="connsiteY689" fmla="*/ 4534983 h 5120141"/>
                <a:gd name="connsiteX690" fmla="*/ 2105739 w 3832826"/>
                <a:gd name="connsiteY690" fmla="*/ 4500915 h 5120141"/>
                <a:gd name="connsiteX691" fmla="*/ 2105739 w 3832826"/>
                <a:gd name="connsiteY691" fmla="*/ 4476868 h 5120141"/>
                <a:gd name="connsiteX692" fmla="*/ 2101532 w 3832826"/>
                <a:gd name="connsiteY692" fmla="*/ 4470856 h 5120141"/>
                <a:gd name="connsiteX693" fmla="*/ 2099428 w 3832826"/>
                <a:gd name="connsiteY693" fmla="*/ 4466848 h 5120141"/>
                <a:gd name="connsiteX694" fmla="*/ 2095221 w 3832826"/>
                <a:gd name="connsiteY694" fmla="*/ 4466848 h 5120141"/>
                <a:gd name="connsiteX695" fmla="*/ 2063667 w 3832826"/>
                <a:gd name="connsiteY695" fmla="*/ 4470856 h 5120141"/>
                <a:gd name="connsiteX696" fmla="*/ 2042630 w 3832826"/>
                <a:gd name="connsiteY696" fmla="*/ 4470856 h 5120141"/>
                <a:gd name="connsiteX697" fmla="*/ 2036319 w 3832826"/>
                <a:gd name="connsiteY697" fmla="*/ 4466848 h 5120141"/>
                <a:gd name="connsiteX698" fmla="*/ 2032112 w 3832826"/>
                <a:gd name="connsiteY698" fmla="*/ 4466848 h 5120141"/>
                <a:gd name="connsiteX699" fmla="*/ 2027905 w 3832826"/>
                <a:gd name="connsiteY699" fmla="*/ 4456828 h 5120141"/>
                <a:gd name="connsiteX700" fmla="*/ 2027905 w 3832826"/>
                <a:gd name="connsiteY700" fmla="*/ 4444804 h 5120141"/>
                <a:gd name="connsiteX701" fmla="*/ 2027905 w 3832826"/>
                <a:gd name="connsiteY701" fmla="*/ 4420757 h 5120141"/>
                <a:gd name="connsiteX702" fmla="*/ 2027905 w 3832826"/>
                <a:gd name="connsiteY702" fmla="*/ 4376298 h 5120141"/>
                <a:gd name="connsiteX703" fmla="*/ 2025801 w 3832826"/>
                <a:gd name="connsiteY703" fmla="*/ 4376298 h 5120141"/>
                <a:gd name="connsiteX704" fmla="*/ 2025801 w 3832826"/>
                <a:gd name="connsiteY704" fmla="*/ 4328574 h 5120141"/>
                <a:gd name="connsiteX705" fmla="*/ 2025801 w 3832826"/>
                <a:gd name="connsiteY705" fmla="*/ 4326856 h 5120141"/>
                <a:gd name="connsiteX706" fmla="*/ 2021595 w 3832826"/>
                <a:gd name="connsiteY706" fmla="*/ 4326570 h 5120141"/>
                <a:gd name="connsiteX707" fmla="*/ 2015284 w 3832826"/>
                <a:gd name="connsiteY707" fmla="*/ 4326570 h 5120141"/>
                <a:gd name="connsiteX708" fmla="*/ 2017387 w 3832826"/>
                <a:gd name="connsiteY708" fmla="*/ 4316550 h 5120141"/>
                <a:gd name="connsiteX709" fmla="*/ 2015284 w 3832826"/>
                <a:gd name="connsiteY709" fmla="*/ 4310539 h 5120141"/>
                <a:gd name="connsiteX710" fmla="*/ 2008973 w 3832826"/>
                <a:gd name="connsiteY710" fmla="*/ 4306531 h 5120141"/>
                <a:gd name="connsiteX711" fmla="*/ 2004765 w 3832826"/>
                <a:gd name="connsiteY711" fmla="*/ 4300519 h 5120141"/>
                <a:gd name="connsiteX712" fmla="*/ 1994247 w 3832826"/>
                <a:gd name="connsiteY712" fmla="*/ 4286491 h 5120141"/>
                <a:gd name="connsiteX713" fmla="*/ 1987936 w 3832826"/>
                <a:gd name="connsiteY713" fmla="*/ 4270459 h 5120141"/>
                <a:gd name="connsiteX714" fmla="*/ 1987936 w 3832826"/>
                <a:gd name="connsiteY714" fmla="*/ 4262443 h 5120141"/>
                <a:gd name="connsiteX715" fmla="*/ 1987936 w 3832826"/>
                <a:gd name="connsiteY715" fmla="*/ 4258435 h 5120141"/>
                <a:gd name="connsiteX716" fmla="*/ 1987936 w 3832826"/>
                <a:gd name="connsiteY716" fmla="*/ 4252423 h 5120141"/>
                <a:gd name="connsiteX717" fmla="*/ 1983729 w 3832826"/>
                <a:gd name="connsiteY717" fmla="*/ 4246412 h 5120141"/>
                <a:gd name="connsiteX718" fmla="*/ 1978277 w 3832826"/>
                <a:gd name="connsiteY718" fmla="*/ 4241218 h 5120141"/>
                <a:gd name="connsiteX719" fmla="*/ 1947935 w 3832826"/>
                <a:gd name="connsiteY719" fmla="*/ 4232386 h 5120141"/>
                <a:gd name="connsiteX720" fmla="*/ 1941632 w 3832826"/>
                <a:gd name="connsiteY720" fmla="*/ 4228376 h 5120141"/>
                <a:gd name="connsiteX721" fmla="*/ 1933169 w 3832826"/>
                <a:gd name="connsiteY721" fmla="*/ 4220356 h 5120141"/>
                <a:gd name="connsiteX722" fmla="*/ 1922725 w 3832826"/>
                <a:gd name="connsiteY722" fmla="*/ 4208326 h 5120141"/>
                <a:gd name="connsiteX723" fmla="*/ 1910120 w 3832826"/>
                <a:gd name="connsiteY723" fmla="*/ 4196297 h 5120141"/>
                <a:gd name="connsiteX724" fmla="*/ 1901657 w 3832826"/>
                <a:gd name="connsiteY724" fmla="*/ 4190282 h 5120141"/>
                <a:gd name="connsiteX725" fmla="*/ 1893193 w 3832826"/>
                <a:gd name="connsiteY725" fmla="*/ 4186272 h 5120141"/>
                <a:gd name="connsiteX726" fmla="*/ 1867983 w 3832826"/>
                <a:gd name="connsiteY726" fmla="*/ 4178252 h 5120141"/>
                <a:gd name="connsiteX727" fmla="*/ 1857539 w 3832826"/>
                <a:gd name="connsiteY727" fmla="*/ 4172237 h 5120141"/>
                <a:gd name="connsiteX728" fmla="*/ 1842773 w 3832826"/>
                <a:gd name="connsiteY728" fmla="*/ 4166222 h 5120141"/>
                <a:gd name="connsiteX729" fmla="*/ 1804958 w 3832826"/>
                <a:gd name="connsiteY729" fmla="*/ 4138152 h 5120141"/>
                <a:gd name="connsiteX730" fmla="*/ 1800637 w 3832826"/>
                <a:gd name="connsiteY730" fmla="*/ 4138152 h 5120141"/>
                <a:gd name="connsiteX731" fmla="*/ 1796495 w 3832826"/>
                <a:gd name="connsiteY731" fmla="*/ 4138152 h 5120141"/>
                <a:gd name="connsiteX732" fmla="*/ 1790192 w 3832826"/>
                <a:gd name="connsiteY732" fmla="*/ 4138152 h 5120141"/>
                <a:gd name="connsiteX733" fmla="*/ 1786051 w 3832826"/>
                <a:gd name="connsiteY733" fmla="*/ 4132138 h 5120141"/>
                <a:gd name="connsiteX734" fmla="*/ 1783890 w 3832826"/>
                <a:gd name="connsiteY734" fmla="*/ 4126123 h 5120141"/>
                <a:gd name="connsiteX735" fmla="*/ 1775427 w 3832826"/>
                <a:gd name="connsiteY735" fmla="*/ 4120108 h 5120141"/>
                <a:gd name="connsiteX736" fmla="*/ 1769124 w 3832826"/>
                <a:gd name="connsiteY736" fmla="*/ 4118103 h 5120141"/>
                <a:gd name="connsiteX737" fmla="*/ 1762822 w 3832826"/>
                <a:gd name="connsiteY737" fmla="*/ 4112088 h 5120141"/>
                <a:gd name="connsiteX738" fmla="*/ 1756519 w 3832826"/>
                <a:gd name="connsiteY738" fmla="*/ 4100058 h 5120141"/>
                <a:gd name="connsiteX739" fmla="*/ 1752377 w 3832826"/>
                <a:gd name="connsiteY739" fmla="*/ 4090167 h 5120141"/>
                <a:gd name="connsiteX740" fmla="*/ 1741753 w 3832826"/>
                <a:gd name="connsiteY740" fmla="*/ 4086157 h 5120141"/>
                <a:gd name="connsiteX741" fmla="*/ 1733470 w 3832826"/>
                <a:gd name="connsiteY741" fmla="*/ 4082147 h 5120141"/>
                <a:gd name="connsiteX742" fmla="*/ 1716543 w 3832826"/>
                <a:gd name="connsiteY742" fmla="*/ 4070117 h 5120141"/>
                <a:gd name="connsiteX743" fmla="*/ 1706099 w 3832826"/>
                <a:gd name="connsiteY743" fmla="*/ 4060092 h 5120141"/>
                <a:gd name="connsiteX744" fmla="*/ 1701777 w 3832826"/>
                <a:gd name="connsiteY744" fmla="*/ 4052072 h 5120141"/>
                <a:gd name="connsiteX745" fmla="*/ 1699797 w 3832826"/>
                <a:gd name="connsiteY745" fmla="*/ 4048062 h 5120141"/>
                <a:gd name="connsiteX746" fmla="*/ 1695475 w 3832826"/>
                <a:gd name="connsiteY746" fmla="*/ 4038038 h 5120141"/>
                <a:gd name="connsiteX747" fmla="*/ 1699797 w 3832826"/>
                <a:gd name="connsiteY747" fmla="*/ 4030018 h 5120141"/>
                <a:gd name="connsiteX748" fmla="*/ 1701777 w 3832826"/>
                <a:gd name="connsiteY748" fmla="*/ 4021998 h 5120141"/>
                <a:gd name="connsiteX749" fmla="*/ 1706099 w 3832826"/>
                <a:gd name="connsiteY749" fmla="*/ 4017988 h 5120141"/>
                <a:gd name="connsiteX750" fmla="*/ 1714382 w 3832826"/>
                <a:gd name="connsiteY750" fmla="*/ 4007963 h 5120141"/>
                <a:gd name="connsiteX751" fmla="*/ 1716543 w 3832826"/>
                <a:gd name="connsiteY751" fmla="*/ 4001948 h 5120141"/>
                <a:gd name="connsiteX752" fmla="*/ 1720685 w 3832826"/>
                <a:gd name="connsiteY752" fmla="*/ 3997938 h 5120141"/>
                <a:gd name="connsiteX753" fmla="*/ 1716543 w 3832826"/>
                <a:gd name="connsiteY753" fmla="*/ 3991923 h 5120141"/>
                <a:gd name="connsiteX754" fmla="*/ 1712402 w 3832826"/>
                <a:gd name="connsiteY754" fmla="*/ 3985908 h 5120141"/>
                <a:gd name="connsiteX755" fmla="*/ 1701777 w 3832826"/>
                <a:gd name="connsiteY755" fmla="*/ 3975883 h 5120141"/>
                <a:gd name="connsiteX756" fmla="*/ 1695475 w 3832826"/>
                <a:gd name="connsiteY756" fmla="*/ 3973878 h 5120141"/>
                <a:gd name="connsiteX757" fmla="*/ 1691333 w 3832826"/>
                <a:gd name="connsiteY757" fmla="*/ 3965859 h 5120141"/>
                <a:gd name="connsiteX758" fmla="*/ 1689172 w 3832826"/>
                <a:gd name="connsiteY758" fmla="*/ 3957839 h 5120141"/>
                <a:gd name="connsiteX759" fmla="*/ 1691333 w 3832826"/>
                <a:gd name="connsiteY759" fmla="*/ 3953829 h 5120141"/>
                <a:gd name="connsiteX760" fmla="*/ 1691333 w 3832826"/>
                <a:gd name="connsiteY760" fmla="*/ 3945809 h 5120141"/>
                <a:gd name="connsiteX761" fmla="*/ 1689172 w 3832826"/>
                <a:gd name="connsiteY761" fmla="*/ 3937789 h 5120141"/>
                <a:gd name="connsiteX762" fmla="*/ 1687192 w 3832826"/>
                <a:gd name="connsiteY762" fmla="*/ 3927764 h 5120141"/>
                <a:gd name="connsiteX763" fmla="*/ 1689172 w 3832826"/>
                <a:gd name="connsiteY763" fmla="*/ 3919744 h 5120141"/>
                <a:gd name="connsiteX764" fmla="*/ 1691333 w 3832826"/>
                <a:gd name="connsiteY764" fmla="*/ 3915734 h 5120141"/>
                <a:gd name="connsiteX765" fmla="*/ 1699797 w 3832826"/>
                <a:gd name="connsiteY765" fmla="*/ 3909719 h 5120141"/>
                <a:gd name="connsiteX766" fmla="*/ 1714382 w 3832826"/>
                <a:gd name="connsiteY766" fmla="*/ 3905709 h 5120141"/>
                <a:gd name="connsiteX767" fmla="*/ 1731309 w 3832826"/>
                <a:gd name="connsiteY767" fmla="*/ 3899694 h 5120141"/>
                <a:gd name="connsiteX768" fmla="*/ 1735451 w 3832826"/>
                <a:gd name="connsiteY768" fmla="*/ 3897690 h 5120141"/>
                <a:gd name="connsiteX769" fmla="*/ 1737612 w 3832826"/>
                <a:gd name="connsiteY769" fmla="*/ 3893680 h 5120141"/>
                <a:gd name="connsiteX770" fmla="*/ 1746075 w 3832826"/>
                <a:gd name="connsiteY770" fmla="*/ 3879645 h 5120141"/>
                <a:gd name="connsiteX771" fmla="*/ 1748056 w 3832826"/>
                <a:gd name="connsiteY771" fmla="*/ 3863605 h 5120141"/>
                <a:gd name="connsiteX772" fmla="*/ 1752377 w 3832826"/>
                <a:gd name="connsiteY772" fmla="*/ 3843555 h 5120141"/>
                <a:gd name="connsiteX773" fmla="*/ 1754358 w 3832826"/>
                <a:gd name="connsiteY773" fmla="*/ 3823639 h 5120141"/>
                <a:gd name="connsiteX774" fmla="*/ 1752377 w 3832826"/>
                <a:gd name="connsiteY774" fmla="*/ 3803590 h 5120141"/>
                <a:gd name="connsiteX775" fmla="*/ 1748056 w 3832826"/>
                <a:gd name="connsiteY775" fmla="*/ 3785545 h 5120141"/>
                <a:gd name="connsiteX776" fmla="*/ 1746075 w 3832826"/>
                <a:gd name="connsiteY776" fmla="*/ 3773515 h 5120141"/>
                <a:gd name="connsiteX777" fmla="*/ 1737612 w 3832826"/>
                <a:gd name="connsiteY777" fmla="*/ 3761485 h 5120141"/>
                <a:gd name="connsiteX778" fmla="*/ 1727167 w 3832826"/>
                <a:gd name="connsiteY778" fmla="*/ 3747450 h 5120141"/>
                <a:gd name="connsiteX779" fmla="*/ 1695475 w 3832826"/>
                <a:gd name="connsiteY779" fmla="*/ 3721385 h 5120141"/>
                <a:gd name="connsiteX780" fmla="*/ 1661802 w 3832826"/>
                <a:gd name="connsiteY780" fmla="*/ 3695321 h 5120141"/>
                <a:gd name="connsiteX781" fmla="*/ 1636592 w 3832826"/>
                <a:gd name="connsiteY781" fmla="*/ 3675271 h 5120141"/>
                <a:gd name="connsiteX782" fmla="*/ 1519948 w 3832826"/>
                <a:gd name="connsiteY782" fmla="*/ 3568035 h 5120141"/>
                <a:gd name="connsiteX783" fmla="*/ 1518826 w 3832826"/>
                <a:gd name="connsiteY783" fmla="*/ 3569070 h 5120141"/>
                <a:gd name="connsiteX784" fmla="*/ 1510411 w 3832826"/>
                <a:gd name="connsiteY784" fmla="*/ 3561053 h 5120141"/>
                <a:gd name="connsiteX785" fmla="*/ 1497790 w 3832826"/>
                <a:gd name="connsiteY785" fmla="*/ 3553037 h 5120141"/>
                <a:gd name="connsiteX786" fmla="*/ 1468339 w 3832826"/>
                <a:gd name="connsiteY786" fmla="*/ 3537005 h 5120141"/>
                <a:gd name="connsiteX787" fmla="*/ 1409437 w 3832826"/>
                <a:gd name="connsiteY787" fmla="*/ 3514942 h 5120141"/>
                <a:gd name="connsiteX788" fmla="*/ 1386297 w 3832826"/>
                <a:gd name="connsiteY788" fmla="*/ 3504939 h 5120141"/>
                <a:gd name="connsiteX789" fmla="*/ 1365260 w 3832826"/>
                <a:gd name="connsiteY789" fmla="*/ 3492950 h 5120141"/>
                <a:gd name="connsiteX790" fmla="*/ 1363157 w 3832826"/>
                <a:gd name="connsiteY790" fmla="*/ 3486920 h 5120141"/>
                <a:gd name="connsiteX791" fmla="*/ 1361053 w 3832826"/>
                <a:gd name="connsiteY791" fmla="*/ 3482877 h 5120141"/>
                <a:gd name="connsiteX792" fmla="*/ 1358949 w 3832826"/>
                <a:gd name="connsiteY792" fmla="*/ 3474861 h 5120141"/>
                <a:gd name="connsiteX793" fmla="*/ 1354742 w 3832826"/>
                <a:gd name="connsiteY793" fmla="*/ 3470888 h 5120141"/>
                <a:gd name="connsiteX794" fmla="*/ 1340017 w 3832826"/>
                <a:gd name="connsiteY794" fmla="*/ 3446839 h 5120141"/>
                <a:gd name="connsiteX795" fmla="*/ 1318980 w 3832826"/>
                <a:gd name="connsiteY795" fmla="*/ 3426763 h 5120141"/>
                <a:gd name="connsiteX796" fmla="*/ 1316877 w 3832826"/>
                <a:gd name="connsiteY796" fmla="*/ 3426763 h 5120141"/>
                <a:gd name="connsiteX797" fmla="*/ 1310566 w 3832826"/>
                <a:gd name="connsiteY797" fmla="*/ 3422790 h 5120141"/>
                <a:gd name="connsiteX798" fmla="*/ 1300047 w 3832826"/>
                <a:gd name="connsiteY798" fmla="*/ 3416760 h 5120141"/>
                <a:gd name="connsiteX799" fmla="*/ 1297944 w 3832826"/>
                <a:gd name="connsiteY799" fmla="*/ 3414774 h 5120141"/>
                <a:gd name="connsiteX800" fmla="*/ 1297944 w 3832826"/>
                <a:gd name="connsiteY800" fmla="*/ 3410730 h 5120141"/>
                <a:gd name="connsiteX801" fmla="*/ 1300047 w 3832826"/>
                <a:gd name="connsiteY801" fmla="*/ 3402714 h 5120141"/>
                <a:gd name="connsiteX802" fmla="*/ 1308462 w 3832826"/>
                <a:gd name="connsiteY802" fmla="*/ 3394698 h 5120141"/>
                <a:gd name="connsiteX803" fmla="*/ 1297944 w 3832826"/>
                <a:gd name="connsiteY803" fmla="*/ 3380722 h 5120141"/>
                <a:gd name="connsiteX804" fmla="*/ 1291633 w 3832826"/>
                <a:gd name="connsiteY804" fmla="*/ 3366676 h 5120141"/>
                <a:gd name="connsiteX805" fmla="*/ 1291633 w 3832826"/>
                <a:gd name="connsiteY805" fmla="*/ 3354616 h 5120141"/>
                <a:gd name="connsiteX806" fmla="*/ 1295840 w 3832826"/>
                <a:gd name="connsiteY806" fmla="*/ 3344614 h 5120141"/>
                <a:gd name="connsiteX807" fmla="*/ 1300047 w 3832826"/>
                <a:gd name="connsiteY807" fmla="*/ 3334611 h 5120141"/>
                <a:gd name="connsiteX808" fmla="*/ 1306358 w 3832826"/>
                <a:gd name="connsiteY808" fmla="*/ 3324608 h 5120141"/>
                <a:gd name="connsiteX809" fmla="*/ 1308462 w 3832826"/>
                <a:gd name="connsiteY809" fmla="*/ 3318578 h 5120141"/>
                <a:gd name="connsiteX810" fmla="*/ 1306358 w 3832826"/>
                <a:gd name="connsiteY810" fmla="*/ 3310562 h 5120141"/>
                <a:gd name="connsiteX811" fmla="*/ 1302151 w 3832826"/>
                <a:gd name="connsiteY811" fmla="*/ 3302546 h 5120141"/>
                <a:gd name="connsiteX812" fmla="*/ 1295840 w 3832826"/>
                <a:gd name="connsiteY812" fmla="*/ 3294529 h 5120141"/>
                <a:gd name="connsiteX813" fmla="*/ 1295840 w 3832826"/>
                <a:gd name="connsiteY813" fmla="*/ 3290486 h 5120141"/>
                <a:gd name="connsiteX814" fmla="*/ 1291633 w 3832826"/>
                <a:gd name="connsiteY814" fmla="*/ 3288499 h 5120141"/>
                <a:gd name="connsiteX815" fmla="*/ 1297944 w 3832826"/>
                <a:gd name="connsiteY815" fmla="*/ 3280483 h 5120141"/>
                <a:gd name="connsiteX816" fmla="*/ 1302151 w 3832826"/>
                <a:gd name="connsiteY816" fmla="*/ 3272467 h 5120141"/>
                <a:gd name="connsiteX817" fmla="*/ 1306358 w 3832826"/>
                <a:gd name="connsiteY817" fmla="*/ 3262464 h 5120141"/>
                <a:gd name="connsiteX818" fmla="*/ 1306358 w 3832826"/>
                <a:gd name="connsiteY818" fmla="*/ 3258421 h 5120141"/>
                <a:gd name="connsiteX819" fmla="*/ 1302151 w 3832826"/>
                <a:gd name="connsiteY819" fmla="*/ 3252462 h 5120141"/>
                <a:gd name="connsiteX820" fmla="*/ 1302205 w 3832826"/>
                <a:gd name="connsiteY820" fmla="*/ 3250392 h 5120141"/>
                <a:gd name="connsiteX821" fmla="*/ 1302151 w 3832826"/>
                <a:gd name="connsiteY821" fmla="*/ 3250439 h 5120141"/>
                <a:gd name="connsiteX822" fmla="*/ 1270596 w 3832826"/>
                <a:gd name="connsiteY822" fmla="*/ 3222383 h 5120141"/>
                <a:gd name="connsiteX823" fmla="*/ 1268493 w 3832826"/>
                <a:gd name="connsiteY823" fmla="*/ 3218375 h 5120141"/>
                <a:gd name="connsiteX824" fmla="*/ 1264285 w 3832826"/>
                <a:gd name="connsiteY824" fmla="*/ 3218375 h 5120141"/>
                <a:gd name="connsiteX825" fmla="*/ 1257974 w 3832826"/>
                <a:gd name="connsiteY825" fmla="*/ 3220379 h 5120141"/>
                <a:gd name="connsiteX826" fmla="*/ 1253767 w 3832826"/>
                <a:gd name="connsiteY826" fmla="*/ 3222383 h 5120141"/>
                <a:gd name="connsiteX827" fmla="*/ 1245353 w 3832826"/>
                <a:gd name="connsiteY827" fmla="*/ 3222383 h 5120141"/>
                <a:gd name="connsiteX828" fmla="*/ 1228523 w 3832826"/>
                <a:gd name="connsiteY828" fmla="*/ 3220379 h 5120141"/>
                <a:gd name="connsiteX829" fmla="*/ 1207487 w 3832826"/>
                <a:gd name="connsiteY829" fmla="*/ 3218375 h 5120141"/>
                <a:gd name="connsiteX830" fmla="*/ 1201176 w 3832826"/>
                <a:gd name="connsiteY830" fmla="*/ 3218375 h 5120141"/>
                <a:gd name="connsiteX831" fmla="*/ 1192761 w 3832826"/>
                <a:gd name="connsiteY831" fmla="*/ 3220379 h 5120141"/>
                <a:gd name="connsiteX832" fmla="*/ 1190658 w 3832826"/>
                <a:gd name="connsiteY832" fmla="*/ 3226391 h 5120141"/>
                <a:gd name="connsiteX833" fmla="*/ 1192761 w 3832826"/>
                <a:gd name="connsiteY833" fmla="*/ 3236411 h 5120141"/>
                <a:gd name="connsiteX834" fmla="*/ 1182243 w 3832826"/>
                <a:gd name="connsiteY834" fmla="*/ 3236411 h 5120141"/>
                <a:gd name="connsiteX835" fmla="*/ 1175932 w 3832826"/>
                <a:gd name="connsiteY835" fmla="*/ 3230399 h 5120141"/>
                <a:gd name="connsiteX836" fmla="*/ 1171725 w 3832826"/>
                <a:gd name="connsiteY836" fmla="*/ 3222383 h 5120141"/>
                <a:gd name="connsiteX837" fmla="*/ 1169621 w 3832826"/>
                <a:gd name="connsiteY837" fmla="*/ 3216371 h 5120141"/>
                <a:gd name="connsiteX838" fmla="*/ 1161207 w 3832826"/>
                <a:gd name="connsiteY838" fmla="*/ 3196332 h 5120141"/>
                <a:gd name="connsiteX839" fmla="*/ 1159103 w 3832826"/>
                <a:gd name="connsiteY839" fmla="*/ 3186312 h 5120141"/>
                <a:gd name="connsiteX840" fmla="*/ 1150689 w 3832826"/>
                <a:gd name="connsiteY840" fmla="*/ 3180300 h 5120141"/>
                <a:gd name="connsiteX841" fmla="*/ 1142274 w 3832826"/>
                <a:gd name="connsiteY841" fmla="*/ 3172284 h 5120141"/>
                <a:gd name="connsiteX842" fmla="*/ 1138067 w 3832826"/>
                <a:gd name="connsiteY842" fmla="*/ 3166272 h 5120141"/>
                <a:gd name="connsiteX843" fmla="*/ 1133859 w 3832826"/>
                <a:gd name="connsiteY843" fmla="*/ 3156253 h 5120141"/>
                <a:gd name="connsiteX844" fmla="*/ 1133859 w 3832826"/>
                <a:gd name="connsiteY844" fmla="*/ 3144229 h 5120141"/>
                <a:gd name="connsiteX845" fmla="*/ 1138067 w 3832826"/>
                <a:gd name="connsiteY845" fmla="*/ 3130201 h 5120141"/>
                <a:gd name="connsiteX846" fmla="*/ 1142274 w 3832826"/>
                <a:gd name="connsiteY846" fmla="*/ 3126193 h 5120141"/>
                <a:gd name="connsiteX847" fmla="*/ 1148585 w 3832826"/>
                <a:gd name="connsiteY847" fmla="*/ 3124189 h 5120141"/>
                <a:gd name="connsiteX848" fmla="*/ 1154896 w 3832826"/>
                <a:gd name="connsiteY848" fmla="*/ 3118177 h 5120141"/>
                <a:gd name="connsiteX849" fmla="*/ 1161207 w 3832826"/>
                <a:gd name="connsiteY849" fmla="*/ 3110161 h 5120141"/>
                <a:gd name="connsiteX850" fmla="*/ 1163310 w 3832826"/>
                <a:gd name="connsiteY850" fmla="*/ 3106153 h 5120141"/>
                <a:gd name="connsiteX851" fmla="*/ 1161207 w 3832826"/>
                <a:gd name="connsiteY851" fmla="*/ 3090122 h 5120141"/>
                <a:gd name="connsiteX852" fmla="*/ 1159103 w 3832826"/>
                <a:gd name="connsiteY852" fmla="*/ 3076094 h 5120141"/>
                <a:gd name="connsiteX853" fmla="*/ 1159103 w 3832826"/>
                <a:gd name="connsiteY853" fmla="*/ 3068078 h 5120141"/>
                <a:gd name="connsiteX854" fmla="*/ 1159103 w 3832826"/>
                <a:gd name="connsiteY854" fmla="*/ 3060062 h 5120141"/>
                <a:gd name="connsiteX855" fmla="*/ 1161207 w 3832826"/>
                <a:gd name="connsiteY855" fmla="*/ 3056054 h 5120141"/>
                <a:gd name="connsiteX856" fmla="*/ 1159103 w 3832826"/>
                <a:gd name="connsiteY856" fmla="*/ 3050042 h 5120141"/>
                <a:gd name="connsiteX857" fmla="*/ 1154896 w 3832826"/>
                <a:gd name="connsiteY857" fmla="*/ 3048038 h 5120141"/>
                <a:gd name="connsiteX858" fmla="*/ 1150689 w 3832826"/>
                <a:gd name="connsiteY858" fmla="*/ 3046035 h 5120141"/>
                <a:gd name="connsiteX859" fmla="*/ 1140170 w 3832826"/>
                <a:gd name="connsiteY859" fmla="*/ 3044031 h 5120141"/>
                <a:gd name="connsiteX860" fmla="*/ 1133859 w 3832826"/>
                <a:gd name="connsiteY860" fmla="*/ 3040023 h 5120141"/>
                <a:gd name="connsiteX861" fmla="*/ 1131756 w 3832826"/>
                <a:gd name="connsiteY861" fmla="*/ 3038019 h 5120141"/>
                <a:gd name="connsiteX862" fmla="*/ 1127548 w 3832826"/>
                <a:gd name="connsiteY862" fmla="*/ 3030003 h 5120141"/>
                <a:gd name="connsiteX863" fmla="*/ 1123341 w 3832826"/>
                <a:gd name="connsiteY863" fmla="*/ 3023991 h 5120141"/>
                <a:gd name="connsiteX864" fmla="*/ 1127548 w 3832826"/>
                <a:gd name="connsiteY864" fmla="*/ 3015975 h 5120141"/>
                <a:gd name="connsiteX865" fmla="*/ 1127548 w 3832826"/>
                <a:gd name="connsiteY865" fmla="*/ 3007959 h 5120141"/>
                <a:gd name="connsiteX866" fmla="*/ 1121238 w 3832826"/>
                <a:gd name="connsiteY866" fmla="*/ 2989924 h 5120141"/>
                <a:gd name="connsiteX867" fmla="*/ 1119134 w 3832826"/>
                <a:gd name="connsiteY867" fmla="*/ 2983912 h 5120141"/>
                <a:gd name="connsiteX868" fmla="*/ 1119134 w 3832826"/>
                <a:gd name="connsiteY868" fmla="*/ 2975896 h 5120141"/>
                <a:gd name="connsiteX869" fmla="*/ 1119133 w 3832826"/>
                <a:gd name="connsiteY869" fmla="*/ 2975897 h 5120141"/>
                <a:gd name="connsiteX870" fmla="*/ 1119133 w 3832826"/>
                <a:gd name="connsiteY870" fmla="*/ 2965877 h 5120141"/>
                <a:gd name="connsiteX871" fmla="*/ 1112822 w 3832826"/>
                <a:gd name="connsiteY871" fmla="*/ 2955857 h 5120141"/>
                <a:gd name="connsiteX872" fmla="*/ 1106511 w 3832826"/>
                <a:gd name="connsiteY872" fmla="*/ 2949845 h 5120141"/>
                <a:gd name="connsiteX873" fmla="*/ 1095993 w 3832826"/>
                <a:gd name="connsiteY873" fmla="*/ 2945837 h 5120141"/>
                <a:gd name="connsiteX874" fmla="*/ 1074956 w 3832826"/>
                <a:gd name="connsiteY874" fmla="*/ 2935817 h 5120141"/>
                <a:gd name="connsiteX875" fmla="*/ 1066542 w 3832826"/>
                <a:gd name="connsiteY875" fmla="*/ 2929806 h 5120141"/>
                <a:gd name="connsiteX876" fmla="*/ 1064438 w 3832826"/>
                <a:gd name="connsiteY876" fmla="*/ 2923794 h 5120141"/>
                <a:gd name="connsiteX877" fmla="*/ 1064438 w 3832826"/>
                <a:gd name="connsiteY877" fmla="*/ 2815579 h 5120141"/>
                <a:gd name="connsiteX878" fmla="*/ 1064438 w 3832826"/>
                <a:gd name="connsiteY878" fmla="*/ 2763476 h 5120141"/>
                <a:gd name="connsiteX879" fmla="*/ 1066542 w 3832826"/>
                <a:gd name="connsiteY879" fmla="*/ 2707365 h 5120141"/>
                <a:gd name="connsiteX880" fmla="*/ 1070749 w 3832826"/>
                <a:gd name="connsiteY880" fmla="*/ 2697345 h 5120141"/>
                <a:gd name="connsiteX881" fmla="*/ 1077060 w 3832826"/>
                <a:gd name="connsiteY881" fmla="*/ 2687326 h 5120141"/>
                <a:gd name="connsiteX882" fmla="*/ 1074956 w 3832826"/>
                <a:gd name="connsiteY882" fmla="*/ 2683318 h 5120141"/>
                <a:gd name="connsiteX883" fmla="*/ 1070749 w 3832826"/>
                <a:gd name="connsiteY883" fmla="*/ 2681314 h 5120141"/>
                <a:gd name="connsiteX884" fmla="*/ 1066542 w 3832826"/>
                <a:gd name="connsiteY884" fmla="*/ 2677306 h 5120141"/>
                <a:gd name="connsiteX885" fmla="*/ 1058127 w 3832826"/>
                <a:gd name="connsiteY885" fmla="*/ 2675302 h 5120141"/>
                <a:gd name="connsiteX886" fmla="*/ 1053920 w 3832826"/>
                <a:gd name="connsiteY886" fmla="*/ 2671294 h 5120141"/>
                <a:gd name="connsiteX887" fmla="*/ 1049713 w 3832826"/>
                <a:gd name="connsiteY887" fmla="*/ 2657266 h 5120141"/>
                <a:gd name="connsiteX888" fmla="*/ 1053920 w 3832826"/>
                <a:gd name="connsiteY888" fmla="*/ 2645242 h 5120141"/>
                <a:gd name="connsiteX889" fmla="*/ 1058127 w 3832826"/>
                <a:gd name="connsiteY889" fmla="*/ 2633218 h 5120141"/>
                <a:gd name="connsiteX890" fmla="*/ 1058127 w 3832826"/>
                <a:gd name="connsiteY890" fmla="*/ 2623199 h 5120141"/>
                <a:gd name="connsiteX891" fmla="*/ 1058127 w 3832826"/>
                <a:gd name="connsiteY891" fmla="*/ 2613179 h 5120141"/>
                <a:gd name="connsiteX892" fmla="*/ 1056023 w 3832826"/>
                <a:gd name="connsiteY892" fmla="*/ 2601155 h 5120141"/>
                <a:gd name="connsiteX893" fmla="*/ 1049713 w 3832826"/>
                <a:gd name="connsiteY893" fmla="*/ 2577107 h 5120141"/>
                <a:gd name="connsiteX894" fmla="*/ 1047609 w 3832826"/>
                <a:gd name="connsiteY894" fmla="*/ 2565084 h 5120141"/>
                <a:gd name="connsiteX895" fmla="*/ 1049713 w 3832826"/>
                <a:gd name="connsiteY895" fmla="*/ 2555064 h 5120141"/>
                <a:gd name="connsiteX896" fmla="*/ 1053920 w 3832826"/>
                <a:gd name="connsiteY896" fmla="*/ 2547048 h 5120141"/>
                <a:gd name="connsiteX897" fmla="*/ 1060231 w 3832826"/>
                <a:gd name="connsiteY897" fmla="*/ 2543040 h 5120141"/>
                <a:gd name="connsiteX898" fmla="*/ 1058389 w 3832826"/>
                <a:gd name="connsiteY898" fmla="*/ 2529007 h 5120141"/>
                <a:gd name="connsiteX899" fmla="*/ 1056029 w 3832826"/>
                <a:gd name="connsiteY899" fmla="*/ 2529007 h 5120141"/>
                <a:gd name="connsiteX900" fmla="*/ 1049713 w 3832826"/>
                <a:gd name="connsiteY900" fmla="*/ 2535024 h 5120141"/>
                <a:gd name="connsiteX901" fmla="*/ 1049713 w 3832826"/>
                <a:gd name="connsiteY901" fmla="*/ 2533020 h 5120141"/>
                <a:gd name="connsiteX902" fmla="*/ 1049713 w 3832826"/>
                <a:gd name="connsiteY902" fmla="*/ 2529007 h 5120141"/>
                <a:gd name="connsiteX903" fmla="*/ 904562 w 3832826"/>
                <a:gd name="connsiteY903" fmla="*/ 2529007 h 5120141"/>
                <a:gd name="connsiteX904" fmla="*/ 904562 w 3832826"/>
                <a:gd name="connsiteY904" fmla="*/ 2129394 h 5120141"/>
                <a:gd name="connsiteX905" fmla="*/ 889837 w 3832826"/>
                <a:gd name="connsiteY905" fmla="*/ 2130219 h 5120141"/>
                <a:gd name="connsiteX906" fmla="*/ 868800 w 3832826"/>
                <a:gd name="connsiteY906" fmla="*/ 2132223 h 5120141"/>
                <a:gd name="connsiteX907" fmla="*/ 841453 w 3832826"/>
                <a:gd name="connsiteY907" fmla="*/ 2130219 h 5120141"/>
                <a:gd name="connsiteX908" fmla="*/ 816209 w 3832826"/>
                <a:gd name="connsiteY908" fmla="*/ 2132223 h 5120141"/>
                <a:gd name="connsiteX909" fmla="*/ 793069 w 3832826"/>
                <a:gd name="connsiteY909" fmla="*/ 2140239 h 5120141"/>
                <a:gd name="connsiteX910" fmla="*/ 769929 w 3832826"/>
                <a:gd name="connsiteY910" fmla="*/ 2150258 h 5120141"/>
                <a:gd name="connsiteX911" fmla="*/ 748892 w 3832826"/>
                <a:gd name="connsiteY911" fmla="*/ 2162282 h 5120141"/>
                <a:gd name="connsiteX912" fmla="*/ 738374 w 3832826"/>
                <a:gd name="connsiteY912" fmla="*/ 2164286 h 5120141"/>
                <a:gd name="connsiteX913" fmla="*/ 732063 w 3832826"/>
                <a:gd name="connsiteY913" fmla="*/ 2164286 h 5120141"/>
                <a:gd name="connsiteX914" fmla="*/ 725752 w 3832826"/>
                <a:gd name="connsiteY914" fmla="*/ 2162282 h 5120141"/>
                <a:gd name="connsiteX915" fmla="*/ 704716 w 3832826"/>
                <a:gd name="connsiteY915" fmla="*/ 2152262 h 5120141"/>
                <a:gd name="connsiteX916" fmla="*/ 692094 w 3832826"/>
                <a:gd name="connsiteY916" fmla="*/ 2150258 h 5120141"/>
                <a:gd name="connsiteX917" fmla="*/ 677369 w 3832826"/>
                <a:gd name="connsiteY917" fmla="*/ 2150258 h 5120141"/>
                <a:gd name="connsiteX918" fmla="*/ 677369 w 3832826"/>
                <a:gd name="connsiteY918" fmla="*/ 2140239 h 5120141"/>
                <a:gd name="connsiteX919" fmla="*/ 675265 w 3832826"/>
                <a:gd name="connsiteY919" fmla="*/ 2128215 h 5120141"/>
                <a:gd name="connsiteX920" fmla="*/ 664747 w 3832826"/>
                <a:gd name="connsiteY920" fmla="*/ 2104167 h 5120141"/>
                <a:gd name="connsiteX921" fmla="*/ 643710 w 3832826"/>
                <a:gd name="connsiteY921" fmla="*/ 2062084 h 5120141"/>
                <a:gd name="connsiteX922" fmla="*/ 639503 w 3832826"/>
                <a:gd name="connsiteY922" fmla="*/ 2060080 h 5120141"/>
                <a:gd name="connsiteX923" fmla="*/ 633192 w 3832826"/>
                <a:gd name="connsiteY923" fmla="*/ 2056072 h 5120141"/>
                <a:gd name="connsiteX924" fmla="*/ 635296 w 3832826"/>
                <a:gd name="connsiteY924" fmla="*/ 2050060 h 5120141"/>
                <a:gd name="connsiteX925" fmla="*/ 635296 w 3832826"/>
                <a:gd name="connsiteY925" fmla="*/ 2042044 h 5120141"/>
                <a:gd name="connsiteX926" fmla="*/ 624777 w 3832826"/>
                <a:gd name="connsiteY926" fmla="*/ 2028016 h 5120141"/>
                <a:gd name="connsiteX927" fmla="*/ 612156 w 3832826"/>
                <a:gd name="connsiteY927" fmla="*/ 2009980 h 5120141"/>
                <a:gd name="connsiteX928" fmla="*/ 591119 w 3832826"/>
                <a:gd name="connsiteY928" fmla="*/ 1967897 h 5120141"/>
                <a:gd name="connsiteX929" fmla="*/ 570083 w 3832826"/>
                <a:gd name="connsiteY929" fmla="*/ 1925813 h 5120141"/>
                <a:gd name="connsiteX930" fmla="*/ 561668 w 3832826"/>
                <a:gd name="connsiteY930" fmla="*/ 1909781 h 5120141"/>
                <a:gd name="connsiteX931" fmla="*/ 555357 w 3832826"/>
                <a:gd name="connsiteY931" fmla="*/ 1897757 h 5120141"/>
                <a:gd name="connsiteX932" fmla="*/ 544839 w 3832826"/>
                <a:gd name="connsiteY932" fmla="*/ 1887738 h 5120141"/>
                <a:gd name="connsiteX933" fmla="*/ 530114 w 3832826"/>
                <a:gd name="connsiteY933" fmla="*/ 1879722 h 5120141"/>
                <a:gd name="connsiteX934" fmla="*/ 517492 w 3832826"/>
                <a:gd name="connsiteY934" fmla="*/ 1877718 h 5120141"/>
                <a:gd name="connsiteX935" fmla="*/ 502766 w 3832826"/>
                <a:gd name="connsiteY935" fmla="*/ 1877718 h 5120141"/>
                <a:gd name="connsiteX936" fmla="*/ 488041 w 3832826"/>
                <a:gd name="connsiteY936" fmla="*/ 1877718 h 5120141"/>
                <a:gd name="connsiteX937" fmla="*/ 481730 w 3832826"/>
                <a:gd name="connsiteY937" fmla="*/ 1875714 h 5120141"/>
                <a:gd name="connsiteX938" fmla="*/ 473315 w 3832826"/>
                <a:gd name="connsiteY938" fmla="*/ 1873710 h 5120141"/>
                <a:gd name="connsiteX939" fmla="*/ 473315 w 3832826"/>
                <a:gd name="connsiteY939" fmla="*/ 1857678 h 5120141"/>
                <a:gd name="connsiteX940" fmla="*/ 471212 w 3832826"/>
                <a:gd name="connsiteY940" fmla="*/ 1847658 h 5120141"/>
                <a:gd name="connsiteX941" fmla="*/ 462797 w 3832826"/>
                <a:gd name="connsiteY941" fmla="*/ 1829622 h 5120141"/>
                <a:gd name="connsiteX942" fmla="*/ 462797 w 3832826"/>
                <a:gd name="connsiteY942" fmla="*/ 1823611 h 5120141"/>
                <a:gd name="connsiteX943" fmla="*/ 467004 w 3832826"/>
                <a:gd name="connsiteY943" fmla="*/ 1817599 h 5120141"/>
                <a:gd name="connsiteX944" fmla="*/ 481730 w 3832826"/>
                <a:gd name="connsiteY944" fmla="*/ 1815595 h 5120141"/>
                <a:gd name="connsiteX945" fmla="*/ 491767 w 3832826"/>
                <a:gd name="connsiteY945" fmla="*/ 1801335 h 5120141"/>
                <a:gd name="connsiteX946" fmla="*/ 486799 w 3832826"/>
                <a:gd name="connsiteY946" fmla="*/ 1797561 h 5120141"/>
                <a:gd name="connsiteX947" fmla="*/ 476248 w 3832826"/>
                <a:gd name="connsiteY947" fmla="*/ 1787541 h 5120141"/>
                <a:gd name="connsiteX948" fmla="*/ 465697 w 3832826"/>
                <a:gd name="connsiteY948" fmla="*/ 1779525 h 5120141"/>
                <a:gd name="connsiteX949" fmla="*/ 463587 w 3832826"/>
                <a:gd name="connsiteY949" fmla="*/ 1775517 h 5120141"/>
                <a:gd name="connsiteX950" fmla="*/ 463587 w 3832826"/>
                <a:gd name="connsiteY950" fmla="*/ 1769505 h 5120141"/>
                <a:gd name="connsiteX951" fmla="*/ 463587 w 3832826"/>
                <a:gd name="connsiteY951" fmla="*/ 1757481 h 5120141"/>
                <a:gd name="connsiteX952" fmla="*/ 465697 w 3832826"/>
                <a:gd name="connsiteY952" fmla="*/ 1747461 h 5120141"/>
                <a:gd name="connsiteX953" fmla="*/ 463587 w 3832826"/>
                <a:gd name="connsiteY953" fmla="*/ 1737442 h 5120141"/>
                <a:gd name="connsiteX954" fmla="*/ 455146 w 3832826"/>
                <a:gd name="connsiteY954" fmla="*/ 1735438 h 5120141"/>
                <a:gd name="connsiteX955" fmla="*/ 438265 w 3832826"/>
                <a:gd name="connsiteY955" fmla="*/ 1729426 h 5120141"/>
                <a:gd name="connsiteX956" fmla="*/ 423494 w 3832826"/>
                <a:gd name="connsiteY956" fmla="*/ 1723414 h 5120141"/>
                <a:gd name="connsiteX957" fmla="*/ 415054 w 3832826"/>
                <a:gd name="connsiteY957" fmla="*/ 1717402 h 5120141"/>
                <a:gd name="connsiteX958" fmla="*/ 412943 w 3832826"/>
                <a:gd name="connsiteY958" fmla="*/ 1715398 h 5120141"/>
                <a:gd name="connsiteX959" fmla="*/ 406613 w 3832826"/>
                <a:gd name="connsiteY959" fmla="*/ 1699366 h 5120141"/>
                <a:gd name="connsiteX960" fmla="*/ 404503 w 3832826"/>
                <a:gd name="connsiteY960" fmla="*/ 1677323 h 5120141"/>
                <a:gd name="connsiteX961" fmla="*/ 404503 w 3832826"/>
                <a:gd name="connsiteY961" fmla="*/ 1657283 h 5120141"/>
                <a:gd name="connsiteX962" fmla="*/ 406613 w 3832826"/>
                <a:gd name="connsiteY962" fmla="*/ 1643255 h 5120141"/>
                <a:gd name="connsiteX963" fmla="*/ 410833 w 3832826"/>
                <a:gd name="connsiteY963" fmla="*/ 1637243 h 5120141"/>
                <a:gd name="connsiteX964" fmla="*/ 415054 w 3832826"/>
                <a:gd name="connsiteY964" fmla="*/ 1635239 h 5120141"/>
                <a:gd name="connsiteX965" fmla="*/ 421384 w 3832826"/>
                <a:gd name="connsiteY965" fmla="*/ 1631231 h 5120141"/>
                <a:gd name="connsiteX966" fmla="*/ 421384 w 3832826"/>
                <a:gd name="connsiteY966" fmla="*/ 1621212 h 5120141"/>
                <a:gd name="connsiteX967" fmla="*/ 417164 w 3832826"/>
                <a:gd name="connsiteY967" fmla="*/ 1613196 h 5120141"/>
                <a:gd name="connsiteX968" fmla="*/ 406613 w 3832826"/>
                <a:gd name="connsiteY968" fmla="*/ 1605180 h 5120141"/>
                <a:gd name="connsiteX969" fmla="*/ 391842 w 3832826"/>
                <a:gd name="connsiteY969" fmla="*/ 1593156 h 5120141"/>
                <a:gd name="connsiteX970" fmla="*/ 374961 w 3832826"/>
                <a:gd name="connsiteY970" fmla="*/ 1587144 h 5120141"/>
                <a:gd name="connsiteX971" fmla="*/ 355969 w 3832826"/>
                <a:gd name="connsiteY971" fmla="*/ 1585140 h 5120141"/>
                <a:gd name="connsiteX972" fmla="*/ 317987 w 3832826"/>
                <a:gd name="connsiteY972" fmla="*/ 1581132 h 5120141"/>
                <a:gd name="connsiteX973" fmla="*/ 296885 w 3832826"/>
                <a:gd name="connsiteY973" fmla="*/ 1577124 h 5120141"/>
                <a:gd name="connsiteX974" fmla="*/ 277894 w 3832826"/>
                <a:gd name="connsiteY974" fmla="*/ 1571112 h 5120141"/>
                <a:gd name="connsiteX975" fmla="*/ 263123 w 3832826"/>
                <a:gd name="connsiteY975" fmla="*/ 1561093 h 5120141"/>
                <a:gd name="connsiteX976" fmla="*/ 246242 w 3832826"/>
                <a:gd name="connsiteY976" fmla="*/ 1545061 h 5120141"/>
                <a:gd name="connsiteX977" fmla="*/ 229361 w 3832826"/>
                <a:gd name="connsiteY977" fmla="*/ 1533037 h 5120141"/>
                <a:gd name="connsiteX978" fmla="*/ 220920 w 3832826"/>
                <a:gd name="connsiteY978" fmla="*/ 1523017 h 5120141"/>
                <a:gd name="connsiteX979" fmla="*/ 212479 w 3832826"/>
                <a:gd name="connsiteY979" fmla="*/ 1515001 h 5120141"/>
                <a:gd name="connsiteX980" fmla="*/ 210369 w 3832826"/>
                <a:gd name="connsiteY980" fmla="*/ 1504982 h 5120141"/>
                <a:gd name="connsiteX981" fmla="*/ 208259 w 3832826"/>
                <a:gd name="connsiteY981" fmla="*/ 1494962 h 5120141"/>
                <a:gd name="connsiteX982" fmla="*/ 210369 w 3832826"/>
                <a:gd name="connsiteY982" fmla="*/ 1486946 h 5120141"/>
                <a:gd name="connsiteX983" fmla="*/ 218810 w 3832826"/>
                <a:gd name="connsiteY983" fmla="*/ 1476926 h 5120141"/>
                <a:gd name="connsiteX984" fmla="*/ 223030 w 3832826"/>
                <a:gd name="connsiteY984" fmla="*/ 1472918 h 5120141"/>
                <a:gd name="connsiteX985" fmla="*/ 223030 w 3832826"/>
                <a:gd name="connsiteY985" fmla="*/ 1464902 h 5120141"/>
                <a:gd name="connsiteX986" fmla="*/ 214590 w 3832826"/>
                <a:gd name="connsiteY986" fmla="*/ 1450874 h 5120141"/>
                <a:gd name="connsiteX987" fmla="*/ 212479 w 3832826"/>
                <a:gd name="connsiteY987" fmla="*/ 1444863 h 5120141"/>
                <a:gd name="connsiteX988" fmla="*/ 214590 w 3832826"/>
                <a:gd name="connsiteY988" fmla="*/ 1442859 h 5120141"/>
                <a:gd name="connsiteX989" fmla="*/ 220920 w 3832826"/>
                <a:gd name="connsiteY989" fmla="*/ 1442859 h 5120141"/>
                <a:gd name="connsiteX990" fmla="*/ 235691 w 3832826"/>
                <a:gd name="connsiteY990" fmla="*/ 1444863 h 5120141"/>
                <a:gd name="connsiteX991" fmla="*/ 242685 w 3832826"/>
                <a:gd name="connsiteY991" fmla="*/ 1444830 h 5120141"/>
                <a:gd name="connsiteX992" fmla="*/ 239592 w 3832826"/>
                <a:gd name="connsiteY992" fmla="*/ 1442715 h 5120141"/>
                <a:gd name="connsiteX993" fmla="*/ 240798 w 3832826"/>
                <a:gd name="connsiteY993" fmla="*/ 1440839 h 5120141"/>
                <a:gd name="connsiteX994" fmla="*/ 237706 w 3832826"/>
                <a:gd name="connsiteY994" fmla="*/ 1440853 h 5120141"/>
                <a:gd name="connsiteX995" fmla="*/ 241926 w 3832826"/>
                <a:gd name="connsiteY995" fmla="*/ 1378746 h 5120141"/>
                <a:gd name="connsiteX996" fmla="*/ 241926 w 3832826"/>
                <a:gd name="connsiteY996" fmla="*/ 1346677 h 5120141"/>
                <a:gd name="connsiteX997" fmla="*/ 237706 w 3832826"/>
                <a:gd name="connsiteY997" fmla="*/ 1316605 h 5120141"/>
                <a:gd name="connsiteX998" fmla="*/ 237706 w 3832826"/>
                <a:gd name="connsiteY998" fmla="*/ 1314609 h 5120141"/>
                <a:gd name="connsiteX999" fmla="*/ 237706 w 3832826"/>
                <a:gd name="connsiteY999" fmla="*/ 1300571 h 5120141"/>
                <a:gd name="connsiteX1000" fmla="*/ 237706 w 3832826"/>
                <a:gd name="connsiteY1000" fmla="*/ 1290558 h 5120141"/>
                <a:gd name="connsiteX1001" fmla="*/ 237706 w 3832826"/>
                <a:gd name="connsiteY1001" fmla="*/ 1288562 h 5120141"/>
                <a:gd name="connsiteX1002" fmla="*/ 235558 w 3832826"/>
                <a:gd name="connsiteY1002" fmla="*/ 1286533 h 5120141"/>
                <a:gd name="connsiteX1003" fmla="*/ 231412 w 3832826"/>
                <a:gd name="connsiteY1003" fmla="*/ 1284537 h 5120141"/>
                <a:gd name="connsiteX1004" fmla="*/ 223044 w 3832826"/>
                <a:gd name="connsiteY1004" fmla="*/ 1284537 h 5120141"/>
                <a:gd name="connsiteX1005" fmla="*/ 132485 w 3832826"/>
                <a:gd name="connsiteY1005" fmla="*/ 1284537 h 5120141"/>
                <a:gd name="connsiteX1006" fmla="*/ 132485 w 3832826"/>
                <a:gd name="connsiteY1006" fmla="*/ 1226421 h 5120141"/>
                <a:gd name="connsiteX1007" fmla="*/ 130486 w 3832826"/>
                <a:gd name="connsiteY1007" fmla="*/ 1194353 h 5120141"/>
                <a:gd name="connsiteX1008" fmla="*/ 128264 w 3832826"/>
                <a:gd name="connsiteY1008" fmla="*/ 1184340 h 5120141"/>
                <a:gd name="connsiteX1009" fmla="*/ 126191 w 3832826"/>
                <a:gd name="connsiteY1009" fmla="*/ 1178319 h 5120141"/>
                <a:gd name="connsiteX1010" fmla="*/ 122045 w 3832826"/>
                <a:gd name="connsiteY1010" fmla="*/ 1178319 h 5120141"/>
                <a:gd name="connsiteX1011" fmla="*/ 117750 w 3832826"/>
                <a:gd name="connsiteY1011" fmla="*/ 1176323 h 5120141"/>
                <a:gd name="connsiteX1012" fmla="*/ 117750 w 3832826"/>
                <a:gd name="connsiteY1012" fmla="*/ 1174327 h 5120141"/>
                <a:gd name="connsiteX1013" fmla="*/ 117750 w 3832826"/>
                <a:gd name="connsiteY1013" fmla="*/ 1164314 h 5120141"/>
                <a:gd name="connsiteX1014" fmla="*/ 117750 w 3832826"/>
                <a:gd name="connsiteY1014" fmla="*/ 1158293 h 5120141"/>
                <a:gd name="connsiteX1015" fmla="*/ 115751 w 3832826"/>
                <a:gd name="connsiteY1015" fmla="*/ 1154301 h 5120141"/>
                <a:gd name="connsiteX1016" fmla="*/ 111456 w 3832826"/>
                <a:gd name="connsiteY1016" fmla="*/ 1152272 h 5120141"/>
                <a:gd name="connsiteX1017" fmla="*/ 105162 w 3832826"/>
                <a:gd name="connsiteY1017" fmla="*/ 1148280 h 5120141"/>
                <a:gd name="connsiteX1018" fmla="*/ 100941 w 3832826"/>
                <a:gd name="connsiteY1018" fmla="*/ 1148280 h 5120141"/>
                <a:gd name="connsiteX1019" fmla="*/ 98868 w 3832826"/>
                <a:gd name="connsiteY1019" fmla="*/ 1144255 h 5120141"/>
                <a:gd name="connsiteX1020" fmla="*/ 98868 w 3832826"/>
                <a:gd name="connsiteY1020" fmla="*/ 1134242 h 5120141"/>
                <a:gd name="connsiteX1021" fmla="*/ 98868 w 3832826"/>
                <a:gd name="connsiteY1021" fmla="*/ 1112205 h 5120141"/>
                <a:gd name="connsiteX1022" fmla="*/ 96768 w 3832826"/>
                <a:gd name="connsiteY1022" fmla="*/ 1112205 h 5120141"/>
                <a:gd name="connsiteX1023" fmla="*/ 84146 w 3832826"/>
                <a:gd name="connsiteY1023" fmla="*/ 1076133 h 5120141"/>
                <a:gd name="connsiteX1024" fmla="*/ 82042 w 3832826"/>
                <a:gd name="connsiteY1024" fmla="*/ 1056094 h 5120141"/>
                <a:gd name="connsiteX1025" fmla="*/ 84146 w 3832826"/>
                <a:gd name="connsiteY1025" fmla="*/ 1046074 h 5120141"/>
                <a:gd name="connsiteX1026" fmla="*/ 86250 w 3832826"/>
                <a:gd name="connsiteY1026" fmla="*/ 1036054 h 5120141"/>
                <a:gd name="connsiteX1027" fmla="*/ 96768 w 3832826"/>
                <a:gd name="connsiteY1027" fmla="*/ 1018018 h 5120141"/>
                <a:gd name="connsiteX1028" fmla="*/ 103079 w 3832826"/>
                <a:gd name="connsiteY1028" fmla="*/ 1003990 h 5120141"/>
                <a:gd name="connsiteX1029" fmla="*/ 103079 w 3832826"/>
                <a:gd name="connsiteY1029" fmla="*/ 995974 h 5120141"/>
                <a:gd name="connsiteX1030" fmla="*/ 103079 w 3832826"/>
                <a:gd name="connsiteY1030" fmla="*/ 987959 h 5120141"/>
                <a:gd name="connsiteX1031" fmla="*/ 92561 w 3832826"/>
                <a:gd name="connsiteY1031" fmla="*/ 965915 h 5120141"/>
                <a:gd name="connsiteX1032" fmla="*/ 73628 w 3832826"/>
                <a:gd name="connsiteY1032" fmla="*/ 903792 h 5120141"/>
                <a:gd name="connsiteX1033" fmla="*/ 67317 w 3832826"/>
                <a:gd name="connsiteY1033" fmla="*/ 869724 h 5120141"/>
                <a:gd name="connsiteX1034" fmla="*/ 63110 w 3832826"/>
                <a:gd name="connsiteY1034" fmla="*/ 837661 h 5120141"/>
                <a:gd name="connsiteX1035" fmla="*/ 63110 w 3832826"/>
                <a:gd name="connsiteY1035" fmla="*/ 823633 h 5120141"/>
                <a:gd name="connsiteX1036" fmla="*/ 65213 w 3832826"/>
                <a:gd name="connsiteY1036" fmla="*/ 807601 h 5120141"/>
                <a:gd name="connsiteX1037" fmla="*/ 65213 w 3832826"/>
                <a:gd name="connsiteY1037" fmla="*/ 781549 h 5120141"/>
                <a:gd name="connsiteX1038" fmla="*/ 63110 w 3832826"/>
                <a:gd name="connsiteY1038" fmla="*/ 767522 h 5120141"/>
                <a:gd name="connsiteX1039" fmla="*/ 56799 w 3832826"/>
                <a:gd name="connsiteY1039" fmla="*/ 757502 h 5120141"/>
                <a:gd name="connsiteX1040" fmla="*/ 46281 w 3832826"/>
                <a:gd name="connsiteY1040" fmla="*/ 747482 h 5120141"/>
                <a:gd name="connsiteX1041" fmla="*/ 29452 w 3832826"/>
                <a:gd name="connsiteY1041" fmla="*/ 741470 h 5120141"/>
                <a:gd name="connsiteX1042" fmla="*/ 27348 w 3832826"/>
                <a:gd name="connsiteY1042" fmla="*/ 733454 h 5120141"/>
                <a:gd name="connsiteX1043" fmla="*/ 29452 w 3832826"/>
                <a:gd name="connsiteY1043" fmla="*/ 725438 h 5120141"/>
                <a:gd name="connsiteX1044" fmla="*/ 31555 w 3832826"/>
                <a:gd name="connsiteY1044" fmla="*/ 717422 h 5120141"/>
                <a:gd name="connsiteX1045" fmla="*/ 39970 w 3832826"/>
                <a:gd name="connsiteY1045" fmla="*/ 711410 h 5120141"/>
                <a:gd name="connsiteX1046" fmla="*/ 46281 w 3832826"/>
                <a:gd name="connsiteY1046" fmla="*/ 705398 h 5120141"/>
                <a:gd name="connsiteX1047" fmla="*/ 52880 w 3832826"/>
                <a:gd name="connsiteY1047" fmla="*/ 703827 h 5120141"/>
                <a:gd name="connsiteX1048" fmla="*/ 52638 w 3832826"/>
                <a:gd name="connsiteY1048" fmla="*/ 703357 h 5120141"/>
                <a:gd name="connsiteX1049" fmla="*/ 44132 w 3832826"/>
                <a:gd name="connsiteY1049" fmla="*/ 705433 h 5120141"/>
                <a:gd name="connsiteX1050" fmla="*/ 37845 w 3832826"/>
                <a:gd name="connsiteY1050" fmla="*/ 711439 h 5120141"/>
                <a:gd name="connsiteX1051" fmla="*/ 29462 w 3832826"/>
                <a:gd name="connsiteY1051" fmla="*/ 717445 h 5120141"/>
                <a:gd name="connsiteX1052" fmla="*/ 27367 w 3832826"/>
                <a:gd name="connsiteY1052" fmla="*/ 725453 h 5120141"/>
                <a:gd name="connsiteX1053" fmla="*/ 25271 w 3832826"/>
                <a:gd name="connsiteY1053" fmla="*/ 733461 h 5120141"/>
                <a:gd name="connsiteX1054" fmla="*/ 27367 w 3832826"/>
                <a:gd name="connsiteY1054" fmla="*/ 741469 h 5120141"/>
                <a:gd name="connsiteX1055" fmla="*/ 16888 w 3832826"/>
                <a:gd name="connsiteY1055" fmla="*/ 737465 h 5120141"/>
                <a:gd name="connsiteX1056" fmla="*/ 10478 w 3832826"/>
                <a:gd name="connsiteY1056" fmla="*/ 733461 h 5120141"/>
                <a:gd name="connsiteX1057" fmla="*/ 6287 w 3832826"/>
                <a:gd name="connsiteY1057" fmla="*/ 727455 h 5120141"/>
                <a:gd name="connsiteX1058" fmla="*/ 4191 w 3832826"/>
                <a:gd name="connsiteY1058" fmla="*/ 721449 h 5120141"/>
                <a:gd name="connsiteX1059" fmla="*/ 0 w 3832826"/>
                <a:gd name="connsiteY1059" fmla="*/ 713441 h 5120141"/>
                <a:gd name="connsiteX1060" fmla="*/ 4191 w 3832826"/>
                <a:gd name="connsiteY1060" fmla="*/ 705433 h 5120141"/>
                <a:gd name="connsiteX1061" fmla="*/ 8383 w 3832826"/>
                <a:gd name="connsiteY1061" fmla="*/ 691346 h 5120141"/>
                <a:gd name="connsiteX1062" fmla="*/ 16888 w 3832826"/>
                <a:gd name="connsiteY1062" fmla="*/ 673328 h 5120141"/>
                <a:gd name="connsiteX1063" fmla="*/ 27367 w 3832826"/>
                <a:gd name="connsiteY1063" fmla="*/ 657312 h 5120141"/>
                <a:gd name="connsiteX1064" fmla="*/ 44132 w 3832826"/>
                <a:gd name="connsiteY1064" fmla="*/ 637292 h 5120141"/>
                <a:gd name="connsiteX1065" fmla="*/ 50542 w 3832826"/>
                <a:gd name="connsiteY1065" fmla="*/ 631287 h 5120141"/>
                <a:gd name="connsiteX1066" fmla="*/ 52638 w 3832826"/>
                <a:gd name="connsiteY1066" fmla="*/ 625206 h 5120141"/>
                <a:gd name="connsiteX1067" fmla="*/ 52638 w 3832826"/>
                <a:gd name="connsiteY1067" fmla="*/ 623205 h 5120141"/>
                <a:gd name="connsiteX1068" fmla="*/ 63116 w 3832826"/>
                <a:gd name="connsiteY1068" fmla="*/ 621203 h 5120141"/>
                <a:gd name="connsiteX1069" fmla="*/ 75690 w 3832826"/>
                <a:gd name="connsiteY1069" fmla="*/ 617199 h 5120141"/>
                <a:gd name="connsiteX1070" fmla="*/ 86291 w 3832826"/>
                <a:gd name="connsiteY1070" fmla="*/ 611193 h 5120141"/>
                <a:gd name="connsiteX1071" fmla="*/ 100961 w 3832826"/>
                <a:gd name="connsiteY1071" fmla="*/ 599181 h 5120141"/>
                <a:gd name="connsiteX1072" fmla="*/ 107248 w 3832826"/>
                <a:gd name="connsiteY1072" fmla="*/ 595177 h 5120141"/>
                <a:gd name="connsiteX1073" fmla="*/ 113658 w 3832826"/>
                <a:gd name="connsiteY1073" fmla="*/ 595177 h 5120141"/>
                <a:gd name="connsiteX1074" fmla="*/ 117849 w 3832826"/>
                <a:gd name="connsiteY1074" fmla="*/ 599181 h 5120141"/>
                <a:gd name="connsiteX1075" fmla="*/ 136710 w 3832826"/>
                <a:gd name="connsiteY1075" fmla="*/ 579161 h 5120141"/>
                <a:gd name="connsiteX1076" fmla="*/ 147311 w 3832826"/>
                <a:gd name="connsiteY1076" fmla="*/ 569151 h 5120141"/>
                <a:gd name="connsiteX1077" fmla="*/ 153598 w 3832826"/>
                <a:gd name="connsiteY1077" fmla="*/ 559142 h 5120141"/>
                <a:gd name="connsiteX1078" fmla="*/ 157790 w 3832826"/>
                <a:gd name="connsiteY1078" fmla="*/ 551060 h 5120141"/>
                <a:gd name="connsiteX1079" fmla="*/ 164077 w 3832826"/>
                <a:gd name="connsiteY1079" fmla="*/ 549058 h 5120141"/>
                <a:gd name="connsiteX1080" fmla="*/ 176650 w 3832826"/>
                <a:gd name="connsiteY1080" fmla="*/ 543052 h 5120141"/>
                <a:gd name="connsiteX1081" fmla="*/ 185156 w 3832826"/>
                <a:gd name="connsiteY1081" fmla="*/ 541050 h 5120141"/>
                <a:gd name="connsiteX1082" fmla="*/ 189348 w 3832826"/>
                <a:gd name="connsiteY1082" fmla="*/ 539048 h 5120141"/>
                <a:gd name="connsiteX1083" fmla="*/ 195634 w 3832826"/>
                <a:gd name="connsiteY1083" fmla="*/ 533042 h 5120141"/>
                <a:gd name="connsiteX1084" fmla="*/ 197730 w 3832826"/>
                <a:gd name="connsiteY1084" fmla="*/ 525034 h 5120141"/>
                <a:gd name="connsiteX1085" fmla="*/ 201921 w 3832826"/>
                <a:gd name="connsiteY1085" fmla="*/ 521030 h 5120141"/>
                <a:gd name="connsiteX1086" fmla="*/ 212523 w 3832826"/>
                <a:gd name="connsiteY1086" fmla="*/ 511020 h 5120141"/>
                <a:gd name="connsiteX1087" fmla="*/ 233480 w 3832826"/>
                <a:gd name="connsiteY1087" fmla="*/ 495005 h 5120141"/>
                <a:gd name="connsiteX1088" fmla="*/ 250368 w 3832826"/>
                <a:gd name="connsiteY1088" fmla="*/ 491001 h 5120141"/>
                <a:gd name="connsiteX1089" fmla="*/ 260846 w 3832826"/>
                <a:gd name="connsiteY1089" fmla="*/ 488999 h 5120141"/>
                <a:gd name="connsiteX1090" fmla="*/ 260846 w 3832826"/>
                <a:gd name="connsiteY1090" fmla="*/ 484995 h 5120141"/>
                <a:gd name="connsiteX1091" fmla="*/ 260846 w 3832826"/>
                <a:gd name="connsiteY1091" fmla="*/ 480917 h 5120141"/>
                <a:gd name="connsiteX1092" fmla="*/ 252464 w 3832826"/>
                <a:gd name="connsiteY1092" fmla="*/ 462899 h 5120141"/>
                <a:gd name="connsiteX1093" fmla="*/ 233480 w 3832826"/>
                <a:gd name="connsiteY1093" fmla="*/ 428866 h 5120141"/>
                <a:gd name="connsiteX1094" fmla="*/ 229288 w 3832826"/>
                <a:gd name="connsiteY1094" fmla="*/ 414852 h 5120141"/>
                <a:gd name="connsiteX1095" fmla="*/ 227193 w 3832826"/>
                <a:gd name="connsiteY1095" fmla="*/ 404768 h 5120141"/>
                <a:gd name="connsiteX1096" fmla="*/ 227193 w 3832826"/>
                <a:gd name="connsiteY1096" fmla="*/ 398762 h 5120141"/>
                <a:gd name="connsiteX1097" fmla="*/ 229288 w 3832826"/>
                <a:gd name="connsiteY1097" fmla="*/ 396760 h 5120141"/>
                <a:gd name="connsiteX1098" fmla="*/ 231384 w 3832826"/>
                <a:gd name="connsiteY1098" fmla="*/ 396760 h 5120141"/>
                <a:gd name="connsiteX1099" fmla="*/ 239766 w 3832826"/>
                <a:gd name="connsiteY1099" fmla="*/ 392756 h 5120141"/>
                <a:gd name="connsiteX1100" fmla="*/ 241862 w 3832826"/>
                <a:gd name="connsiteY1100" fmla="*/ 390754 h 5120141"/>
                <a:gd name="connsiteX1101" fmla="*/ 244081 w 3832826"/>
                <a:gd name="connsiteY1101" fmla="*/ 388752 h 5120141"/>
                <a:gd name="connsiteX1102" fmla="*/ 244081 w 3832826"/>
                <a:gd name="connsiteY1102" fmla="*/ 382746 h 5120141"/>
                <a:gd name="connsiteX1103" fmla="*/ 244081 w 3832826"/>
                <a:gd name="connsiteY1103" fmla="*/ 372736 h 5120141"/>
                <a:gd name="connsiteX1104" fmla="*/ 244081 w 3832826"/>
                <a:gd name="connsiteY1104" fmla="*/ 362726 h 5120141"/>
                <a:gd name="connsiteX1105" fmla="*/ 250368 w 3832826"/>
                <a:gd name="connsiteY1105" fmla="*/ 356721 h 5120141"/>
                <a:gd name="connsiteX1106" fmla="*/ 252464 w 3832826"/>
                <a:gd name="connsiteY1106" fmla="*/ 350715 h 5120141"/>
                <a:gd name="connsiteX1107" fmla="*/ 262942 w 3832826"/>
                <a:gd name="connsiteY1107" fmla="*/ 342707 h 5120141"/>
                <a:gd name="connsiteX1108" fmla="*/ 273420 w 3832826"/>
                <a:gd name="connsiteY1108" fmla="*/ 338703 h 5120141"/>
                <a:gd name="connsiteX1109" fmla="*/ 284022 w 3832826"/>
                <a:gd name="connsiteY1109" fmla="*/ 328619 h 5120141"/>
                <a:gd name="connsiteX1110" fmla="*/ 290308 w 3832826"/>
                <a:gd name="connsiteY1110" fmla="*/ 318609 h 5120141"/>
                <a:gd name="connsiteX1111" fmla="*/ 292404 w 3832826"/>
                <a:gd name="connsiteY1111" fmla="*/ 302593 h 5120141"/>
                <a:gd name="connsiteX1112" fmla="*/ 300787 w 3832826"/>
                <a:gd name="connsiteY1112" fmla="*/ 278570 h 5120141"/>
                <a:gd name="connsiteX1113" fmla="*/ 311388 w 3832826"/>
                <a:gd name="connsiteY1113" fmla="*/ 250468 h 5120141"/>
                <a:gd name="connsiteX1114" fmla="*/ 315579 w 3832826"/>
                <a:gd name="connsiteY1114" fmla="*/ 236454 h 5120141"/>
                <a:gd name="connsiteX1115" fmla="*/ 317675 w 3832826"/>
                <a:gd name="connsiteY1115" fmla="*/ 222441 h 5120141"/>
                <a:gd name="connsiteX1116" fmla="*/ 321866 w 3832826"/>
                <a:gd name="connsiteY1116" fmla="*/ 200419 h 5120141"/>
                <a:gd name="connsiteX1117" fmla="*/ 326058 w 3832826"/>
                <a:gd name="connsiteY1117" fmla="*/ 188407 h 5120141"/>
                <a:gd name="connsiteX1118" fmla="*/ 332345 w 3832826"/>
                <a:gd name="connsiteY1118" fmla="*/ 178323 h 5120141"/>
                <a:gd name="connsiteX1119" fmla="*/ 342946 w 3832826"/>
                <a:gd name="connsiteY1119" fmla="*/ 168313 h 5120141"/>
                <a:gd name="connsiteX1120" fmla="*/ 355520 w 3832826"/>
                <a:gd name="connsiteY1120" fmla="*/ 158303 h 5120141"/>
                <a:gd name="connsiteX1121" fmla="*/ 365998 w 3832826"/>
                <a:gd name="connsiteY1121" fmla="*/ 150296 h 5120141"/>
                <a:gd name="connsiteX1122" fmla="*/ 372285 w 3832826"/>
                <a:gd name="connsiteY1122" fmla="*/ 140286 h 5120141"/>
                <a:gd name="connsiteX1123" fmla="*/ 376600 w 3832826"/>
                <a:gd name="connsiteY1123" fmla="*/ 136282 h 5120141"/>
                <a:gd name="connsiteX1124" fmla="*/ 378695 w 3832826"/>
                <a:gd name="connsiteY1124" fmla="*/ 128274 h 5120141"/>
                <a:gd name="connsiteX1125" fmla="*/ 378695 w 3832826"/>
                <a:gd name="connsiteY1125" fmla="*/ 110182 h 5120141"/>
                <a:gd name="connsiteX1126" fmla="*/ 378695 w 3832826"/>
                <a:gd name="connsiteY1126" fmla="*/ 96168 h 5120141"/>
                <a:gd name="connsiteX1127" fmla="*/ 380791 w 3832826"/>
                <a:gd name="connsiteY1127" fmla="*/ 88161 h 5120141"/>
                <a:gd name="connsiteX1128" fmla="*/ 382887 w 3832826"/>
                <a:gd name="connsiteY1128" fmla="*/ 86159 h 5120141"/>
                <a:gd name="connsiteX1129" fmla="*/ 393365 w 3832826"/>
                <a:gd name="connsiteY1129" fmla="*/ 80153 h 5120141"/>
                <a:gd name="connsiteX1130" fmla="*/ 408158 w 3832826"/>
                <a:gd name="connsiteY1130" fmla="*/ 78151 h 5120141"/>
                <a:gd name="connsiteX1131" fmla="*/ 420732 w 3832826"/>
                <a:gd name="connsiteY1131" fmla="*/ 76149 h 5120141"/>
                <a:gd name="connsiteX1132" fmla="*/ 424923 w 3832826"/>
                <a:gd name="connsiteY1132" fmla="*/ 74147 h 5120141"/>
                <a:gd name="connsiteX1133" fmla="*/ 431210 w 3832826"/>
                <a:gd name="connsiteY1133" fmla="*/ 68141 h 5120141"/>
                <a:gd name="connsiteX1134" fmla="*/ 435401 w 3832826"/>
                <a:gd name="connsiteY1134" fmla="*/ 54127 h 5120141"/>
                <a:gd name="connsiteX1135" fmla="*/ 435401 w 3832826"/>
                <a:gd name="connsiteY1135" fmla="*/ 44117 h 5120141"/>
                <a:gd name="connsiteX1136" fmla="*/ 435401 w 3832826"/>
                <a:gd name="connsiteY1136" fmla="*/ 34033 h 5120141"/>
                <a:gd name="connsiteX1137" fmla="*/ 431210 w 3832826"/>
                <a:gd name="connsiteY1137" fmla="*/ 28027 h 5120141"/>
                <a:gd name="connsiteX1138" fmla="*/ 420732 w 3832826"/>
                <a:gd name="connsiteY1138" fmla="*/ 16016 h 5120141"/>
                <a:gd name="connsiteX1139" fmla="*/ 401747 w 3832826"/>
                <a:gd name="connsiteY1139" fmla="*/ 0 h 5120141"/>
                <a:gd name="connsiteX0" fmla="*/ 1390471 w 3832826"/>
                <a:gd name="connsiteY0" fmla="*/ 1285217 h 5120141"/>
                <a:gd name="connsiteX1" fmla="*/ 1392579 w 3832826"/>
                <a:gd name="connsiteY1" fmla="*/ 1291180 h 5120141"/>
                <a:gd name="connsiteX2" fmla="*/ 1392579 w 3832826"/>
                <a:gd name="connsiteY2" fmla="*/ 1296597 h 5120141"/>
                <a:gd name="connsiteX3" fmla="*/ 1392608 w 3832826"/>
                <a:gd name="connsiteY3" fmla="*/ 1296570 h 5120141"/>
                <a:gd name="connsiteX4" fmla="*/ 1392608 w 3832826"/>
                <a:gd name="connsiteY4" fmla="*/ 1290558 h 5120141"/>
                <a:gd name="connsiteX5" fmla="*/ 1390739 w 3832826"/>
                <a:gd name="connsiteY5" fmla="*/ 1285217 h 5120141"/>
                <a:gd name="connsiteX6" fmla="*/ 1390471 w 3832826"/>
                <a:gd name="connsiteY6" fmla="*/ 1285217 h 5120141"/>
                <a:gd name="connsiteX7" fmla="*/ 1138708 w 3832826"/>
                <a:gd name="connsiteY7" fmla="*/ 844805 h 5120141"/>
                <a:gd name="connsiteX8" fmla="*/ 1135965 w 3832826"/>
                <a:gd name="connsiteY8" fmla="*/ 845676 h 5120141"/>
                <a:gd name="connsiteX9" fmla="*/ 1138389 w 3832826"/>
                <a:gd name="connsiteY9" fmla="*/ 850296 h 5120141"/>
                <a:gd name="connsiteX10" fmla="*/ 1142308 w 3832826"/>
                <a:gd name="connsiteY10" fmla="*/ 851593 h 5120141"/>
                <a:gd name="connsiteX11" fmla="*/ 1138708 w 3832826"/>
                <a:gd name="connsiteY11" fmla="*/ 844805 h 5120141"/>
                <a:gd name="connsiteX12" fmla="*/ 1142276 w 3832826"/>
                <a:gd name="connsiteY12" fmla="*/ 825637 h 5120141"/>
                <a:gd name="connsiteX13" fmla="*/ 1144379 w 3832826"/>
                <a:gd name="connsiteY13" fmla="*/ 833653 h 5120141"/>
                <a:gd name="connsiteX14" fmla="*/ 1144379 w 3832826"/>
                <a:gd name="connsiteY14" fmla="*/ 839665 h 5120141"/>
                <a:gd name="connsiteX15" fmla="*/ 1143167 w 3832826"/>
                <a:gd name="connsiteY15" fmla="*/ 841974 h 5120141"/>
                <a:gd name="connsiteX16" fmla="*/ 1144345 w 3832826"/>
                <a:gd name="connsiteY16" fmla="*/ 841587 h 5120141"/>
                <a:gd name="connsiteX17" fmla="*/ 1146453 w 3832826"/>
                <a:gd name="connsiteY17" fmla="*/ 837612 h 5120141"/>
                <a:gd name="connsiteX18" fmla="*/ 1146453 w 3832826"/>
                <a:gd name="connsiteY18" fmla="*/ 831649 h 5120141"/>
                <a:gd name="connsiteX19" fmla="*/ 1144873 w 3832826"/>
                <a:gd name="connsiteY19" fmla="*/ 825637 h 5120141"/>
                <a:gd name="connsiteX20" fmla="*/ 1142276 w 3832826"/>
                <a:gd name="connsiteY20" fmla="*/ 825637 h 5120141"/>
                <a:gd name="connsiteX21" fmla="*/ 401747 w 3832826"/>
                <a:gd name="connsiteY21" fmla="*/ 0 h 5120141"/>
                <a:gd name="connsiteX22" fmla="*/ 769965 w 3832826"/>
                <a:gd name="connsiteY22" fmla="*/ 0 h 5120141"/>
                <a:gd name="connsiteX23" fmla="*/ 1138058 w 3832826"/>
                <a:gd name="connsiteY23" fmla="*/ 0 h 5120141"/>
                <a:gd name="connsiteX24" fmla="*/ 1222254 w 3832826"/>
                <a:gd name="connsiteY24" fmla="*/ 0 h 5120141"/>
                <a:gd name="connsiteX25" fmla="*/ 1226445 w 3832826"/>
                <a:gd name="connsiteY25" fmla="*/ 140286 h 5120141"/>
                <a:gd name="connsiteX26" fmla="*/ 1228541 w 3832826"/>
                <a:gd name="connsiteY26" fmla="*/ 278570 h 5120141"/>
                <a:gd name="connsiteX27" fmla="*/ 1232732 w 3832826"/>
                <a:gd name="connsiteY27" fmla="*/ 414852 h 5120141"/>
                <a:gd name="connsiteX28" fmla="*/ 1228541 w 3832826"/>
                <a:gd name="connsiteY28" fmla="*/ 559142 h 5120141"/>
                <a:gd name="connsiteX29" fmla="*/ 1224350 w 3832826"/>
                <a:gd name="connsiteY29" fmla="*/ 559142 h 5120141"/>
                <a:gd name="connsiteX30" fmla="*/ 1224350 w 3832826"/>
                <a:gd name="connsiteY30" fmla="*/ 591173 h 5120141"/>
                <a:gd name="connsiteX31" fmla="*/ 1222254 w 3832826"/>
                <a:gd name="connsiteY31" fmla="*/ 591173 h 5120141"/>
                <a:gd name="connsiteX32" fmla="*/ 1194887 w 3832826"/>
                <a:gd name="connsiteY32" fmla="*/ 591173 h 5120141"/>
                <a:gd name="connsiteX33" fmla="*/ 1163329 w 3832826"/>
                <a:gd name="connsiteY33" fmla="*/ 591173 h 5120141"/>
                <a:gd name="connsiteX34" fmla="*/ 1108125 w 3832826"/>
                <a:gd name="connsiteY34" fmla="*/ 602727 h 5120141"/>
                <a:gd name="connsiteX35" fmla="*/ 1110721 w 3832826"/>
                <a:gd name="connsiteY35" fmla="*/ 605200 h 5120141"/>
                <a:gd name="connsiteX36" fmla="*/ 1119136 w 3832826"/>
                <a:gd name="connsiteY36" fmla="*/ 613216 h 5120141"/>
                <a:gd name="connsiteX37" fmla="*/ 1121239 w 3832826"/>
                <a:gd name="connsiteY37" fmla="*/ 621231 h 5120141"/>
                <a:gd name="connsiteX38" fmla="*/ 1123343 w 3832826"/>
                <a:gd name="connsiteY38" fmla="*/ 645279 h 5120141"/>
                <a:gd name="connsiteX39" fmla="*/ 1129654 w 3832826"/>
                <a:gd name="connsiteY39" fmla="*/ 657303 h 5120141"/>
                <a:gd name="connsiteX40" fmla="*/ 1140172 w 3832826"/>
                <a:gd name="connsiteY40" fmla="*/ 667323 h 5120141"/>
                <a:gd name="connsiteX41" fmla="*/ 1146483 w 3832826"/>
                <a:gd name="connsiteY41" fmla="*/ 673335 h 5120141"/>
                <a:gd name="connsiteX42" fmla="*/ 1161208 w 3832826"/>
                <a:gd name="connsiteY42" fmla="*/ 677343 h 5120141"/>
                <a:gd name="connsiteX43" fmla="*/ 1184348 w 3832826"/>
                <a:gd name="connsiteY43" fmla="*/ 683355 h 5120141"/>
                <a:gd name="connsiteX44" fmla="*/ 1194866 w 3832826"/>
                <a:gd name="connsiteY44" fmla="*/ 687363 h 5120141"/>
                <a:gd name="connsiteX45" fmla="*/ 1205385 w 3832826"/>
                <a:gd name="connsiteY45" fmla="*/ 693375 h 5120141"/>
                <a:gd name="connsiteX46" fmla="*/ 1209592 w 3832826"/>
                <a:gd name="connsiteY46" fmla="*/ 703394 h 5120141"/>
                <a:gd name="connsiteX47" fmla="*/ 1213799 w 3832826"/>
                <a:gd name="connsiteY47" fmla="*/ 715418 h 5120141"/>
                <a:gd name="connsiteX48" fmla="*/ 1199074 w 3832826"/>
                <a:gd name="connsiteY48" fmla="*/ 715418 h 5120141"/>
                <a:gd name="connsiteX49" fmla="*/ 1196970 w 3832826"/>
                <a:gd name="connsiteY49" fmla="*/ 715418 h 5120141"/>
                <a:gd name="connsiteX50" fmla="*/ 1196970 w 3832826"/>
                <a:gd name="connsiteY50" fmla="*/ 717422 h 5120141"/>
                <a:gd name="connsiteX51" fmla="*/ 1203281 w 3832826"/>
                <a:gd name="connsiteY51" fmla="*/ 725438 h 5120141"/>
                <a:gd name="connsiteX52" fmla="*/ 1205385 w 3832826"/>
                <a:gd name="connsiteY52" fmla="*/ 733454 h 5120141"/>
                <a:gd name="connsiteX53" fmla="*/ 1207488 w 3832826"/>
                <a:gd name="connsiteY53" fmla="*/ 751490 h 5120141"/>
                <a:gd name="connsiteX54" fmla="*/ 1207488 w 3832826"/>
                <a:gd name="connsiteY54" fmla="*/ 763514 h 5120141"/>
                <a:gd name="connsiteX55" fmla="*/ 1199074 w 3832826"/>
                <a:gd name="connsiteY55" fmla="*/ 773533 h 5120141"/>
                <a:gd name="connsiteX56" fmla="*/ 1188556 w 3832826"/>
                <a:gd name="connsiteY56" fmla="*/ 785557 h 5120141"/>
                <a:gd name="connsiteX57" fmla="*/ 1175934 w 3832826"/>
                <a:gd name="connsiteY57" fmla="*/ 793573 h 5120141"/>
                <a:gd name="connsiteX58" fmla="*/ 1161208 w 3832826"/>
                <a:gd name="connsiteY58" fmla="*/ 801589 h 5120141"/>
                <a:gd name="connsiteX59" fmla="*/ 1154897 w 3832826"/>
                <a:gd name="connsiteY59" fmla="*/ 803593 h 5120141"/>
                <a:gd name="connsiteX60" fmla="*/ 1150690 w 3832826"/>
                <a:gd name="connsiteY60" fmla="*/ 811609 h 5120141"/>
                <a:gd name="connsiteX61" fmla="*/ 1150690 w 3832826"/>
                <a:gd name="connsiteY61" fmla="*/ 817621 h 5120141"/>
                <a:gd name="connsiteX62" fmla="*/ 1153844 w 3832826"/>
                <a:gd name="connsiteY62" fmla="*/ 823631 h 5120141"/>
                <a:gd name="connsiteX63" fmla="*/ 1156992 w 3832826"/>
                <a:gd name="connsiteY63" fmla="*/ 823631 h 5120141"/>
                <a:gd name="connsiteX64" fmla="*/ 1165424 w 3832826"/>
                <a:gd name="connsiteY64" fmla="*/ 823631 h 5120141"/>
                <a:gd name="connsiteX65" fmla="*/ 1169639 w 3832826"/>
                <a:gd name="connsiteY65" fmla="*/ 827606 h 5120141"/>
                <a:gd name="connsiteX66" fmla="*/ 1173855 w 3832826"/>
                <a:gd name="connsiteY66" fmla="*/ 833637 h 5120141"/>
                <a:gd name="connsiteX67" fmla="*/ 1173855 w 3832826"/>
                <a:gd name="connsiteY67" fmla="*/ 841587 h 5120141"/>
                <a:gd name="connsiteX68" fmla="*/ 1173855 w 3832826"/>
                <a:gd name="connsiteY68" fmla="*/ 855568 h 5120141"/>
                <a:gd name="connsiteX69" fmla="*/ 1169639 w 3832826"/>
                <a:gd name="connsiteY69" fmla="*/ 871605 h 5120141"/>
                <a:gd name="connsiteX70" fmla="*/ 1184324 w 3832826"/>
                <a:gd name="connsiteY70" fmla="*/ 867562 h 5120141"/>
                <a:gd name="connsiteX71" fmla="*/ 1180108 w 3832826"/>
                <a:gd name="connsiteY71" fmla="*/ 877568 h 5120141"/>
                <a:gd name="connsiteX72" fmla="*/ 1188540 w 3832826"/>
                <a:gd name="connsiteY72" fmla="*/ 877568 h 5120141"/>
                <a:gd name="connsiteX73" fmla="*/ 1194863 w 3832826"/>
                <a:gd name="connsiteY73" fmla="*/ 885587 h 5120141"/>
                <a:gd name="connsiteX74" fmla="*/ 1196971 w 3832826"/>
                <a:gd name="connsiteY74" fmla="*/ 895593 h 5120141"/>
                <a:gd name="connsiteX75" fmla="*/ 1188540 w 3832826"/>
                <a:gd name="connsiteY75" fmla="*/ 895593 h 5120141"/>
                <a:gd name="connsiteX76" fmla="*/ 1190648 w 3832826"/>
                <a:gd name="connsiteY76" fmla="*/ 903543 h 5120141"/>
                <a:gd name="connsiteX77" fmla="*/ 1188540 w 3832826"/>
                <a:gd name="connsiteY77" fmla="*/ 907518 h 5120141"/>
                <a:gd name="connsiteX78" fmla="*/ 1184324 w 3832826"/>
                <a:gd name="connsiteY78" fmla="*/ 913549 h 5120141"/>
                <a:gd name="connsiteX79" fmla="*/ 1175963 w 3832826"/>
                <a:gd name="connsiteY79" fmla="*/ 917524 h 5120141"/>
                <a:gd name="connsiteX80" fmla="*/ 1169639 w 3832826"/>
                <a:gd name="connsiteY80" fmla="*/ 923555 h 5120141"/>
                <a:gd name="connsiteX81" fmla="*/ 1163316 w 3832826"/>
                <a:gd name="connsiteY81" fmla="*/ 933493 h 5120141"/>
                <a:gd name="connsiteX82" fmla="*/ 1163316 w 3832826"/>
                <a:gd name="connsiteY82" fmla="*/ 941512 h 5120141"/>
                <a:gd name="connsiteX83" fmla="*/ 1159100 w 3832826"/>
                <a:gd name="connsiteY83" fmla="*/ 947543 h 5120141"/>
                <a:gd name="connsiteX84" fmla="*/ 1167532 w 3832826"/>
                <a:gd name="connsiteY84" fmla="*/ 947543 h 5120141"/>
                <a:gd name="connsiteX85" fmla="*/ 1165424 w 3832826"/>
                <a:gd name="connsiteY85" fmla="*/ 963511 h 5120141"/>
                <a:gd name="connsiteX86" fmla="*/ 1167532 w 3832826"/>
                <a:gd name="connsiteY86" fmla="*/ 975505 h 5120141"/>
                <a:gd name="connsiteX87" fmla="*/ 1167532 w 3832826"/>
                <a:gd name="connsiteY87" fmla="*/ 991474 h 5120141"/>
                <a:gd name="connsiteX88" fmla="*/ 1167532 w 3832826"/>
                <a:gd name="connsiteY88" fmla="*/ 1007443 h 5120141"/>
                <a:gd name="connsiteX89" fmla="*/ 1169639 w 3832826"/>
                <a:gd name="connsiteY89" fmla="*/ 1011486 h 5120141"/>
                <a:gd name="connsiteX90" fmla="*/ 1173855 w 3832826"/>
                <a:gd name="connsiteY90" fmla="*/ 1015461 h 5120141"/>
                <a:gd name="connsiteX91" fmla="*/ 1169639 w 3832826"/>
                <a:gd name="connsiteY91" fmla="*/ 1021424 h 5120141"/>
                <a:gd name="connsiteX92" fmla="*/ 1167532 w 3832826"/>
                <a:gd name="connsiteY92" fmla="*/ 1021424 h 5120141"/>
                <a:gd name="connsiteX93" fmla="*/ 1163316 w 3832826"/>
                <a:gd name="connsiteY93" fmla="*/ 1021424 h 5120141"/>
                <a:gd name="connsiteX94" fmla="*/ 1159100 w 3832826"/>
                <a:gd name="connsiteY94" fmla="*/ 1027455 h 5120141"/>
                <a:gd name="connsiteX95" fmla="*/ 1163316 w 3832826"/>
                <a:gd name="connsiteY95" fmla="*/ 1033418 h 5120141"/>
                <a:gd name="connsiteX96" fmla="*/ 1167532 w 3832826"/>
                <a:gd name="connsiteY96" fmla="*/ 1037461 h 5120141"/>
                <a:gd name="connsiteX97" fmla="*/ 1169639 w 3832826"/>
                <a:gd name="connsiteY97" fmla="*/ 1047399 h 5120141"/>
                <a:gd name="connsiteX98" fmla="*/ 1173855 w 3832826"/>
                <a:gd name="connsiteY98" fmla="*/ 1059393 h 5120141"/>
                <a:gd name="connsiteX99" fmla="*/ 1186432 w 3832826"/>
                <a:gd name="connsiteY99" fmla="*/ 1057405 h 5120141"/>
                <a:gd name="connsiteX100" fmla="*/ 1184324 w 3832826"/>
                <a:gd name="connsiteY100" fmla="*/ 1065424 h 5120141"/>
                <a:gd name="connsiteX101" fmla="*/ 1194863 w 3832826"/>
                <a:gd name="connsiteY101" fmla="*/ 1063436 h 5120141"/>
                <a:gd name="connsiteX102" fmla="*/ 1201187 w 3832826"/>
                <a:gd name="connsiteY102" fmla="*/ 1065424 h 5120141"/>
                <a:gd name="connsiteX103" fmla="*/ 1205403 w 3832826"/>
                <a:gd name="connsiteY103" fmla="*/ 1073374 h 5120141"/>
                <a:gd name="connsiteX104" fmla="*/ 1205403 w 3832826"/>
                <a:gd name="connsiteY104" fmla="*/ 1083380 h 5120141"/>
                <a:gd name="connsiteX105" fmla="*/ 1209618 w 3832826"/>
                <a:gd name="connsiteY105" fmla="*/ 1083380 h 5120141"/>
                <a:gd name="connsiteX106" fmla="*/ 1209618 w 3832826"/>
                <a:gd name="connsiteY106" fmla="*/ 1095374 h 5120141"/>
                <a:gd name="connsiteX107" fmla="*/ 1220087 w 3832826"/>
                <a:gd name="connsiteY107" fmla="*/ 1097361 h 5120141"/>
                <a:gd name="connsiteX108" fmla="*/ 1226411 w 3832826"/>
                <a:gd name="connsiteY108" fmla="*/ 1103392 h 5120141"/>
                <a:gd name="connsiteX109" fmla="*/ 1232734 w 3832826"/>
                <a:gd name="connsiteY109" fmla="*/ 1115386 h 5120141"/>
                <a:gd name="connsiteX110" fmla="*/ 1241166 w 3832826"/>
                <a:gd name="connsiteY110" fmla="*/ 1113330 h 5120141"/>
                <a:gd name="connsiteX111" fmla="*/ 1247489 w 3832826"/>
                <a:gd name="connsiteY111" fmla="*/ 1119361 h 5120141"/>
                <a:gd name="connsiteX112" fmla="*/ 1249527 w 3832826"/>
                <a:gd name="connsiteY112" fmla="*/ 1127311 h 5120141"/>
                <a:gd name="connsiteX113" fmla="*/ 1262174 w 3832826"/>
                <a:gd name="connsiteY113" fmla="*/ 1137317 h 5120141"/>
                <a:gd name="connsiteX114" fmla="*/ 1274821 w 3832826"/>
                <a:gd name="connsiteY114" fmla="*/ 1147324 h 5120141"/>
                <a:gd name="connsiteX115" fmla="*/ 1291613 w 3832826"/>
                <a:gd name="connsiteY115" fmla="*/ 1159317 h 5120141"/>
                <a:gd name="connsiteX116" fmla="*/ 1293721 w 3832826"/>
                <a:gd name="connsiteY116" fmla="*/ 1165280 h 5120141"/>
                <a:gd name="connsiteX117" fmla="*/ 1295829 w 3832826"/>
                <a:gd name="connsiteY117" fmla="*/ 1173299 h 5120141"/>
                <a:gd name="connsiteX118" fmla="*/ 1306368 w 3832826"/>
                <a:gd name="connsiteY118" fmla="*/ 1173299 h 5120141"/>
                <a:gd name="connsiteX119" fmla="*/ 1312692 w 3832826"/>
                <a:gd name="connsiteY119" fmla="*/ 1177274 h 5120141"/>
                <a:gd name="connsiteX120" fmla="*/ 1314800 w 3832826"/>
                <a:gd name="connsiteY120" fmla="*/ 1185292 h 5120141"/>
                <a:gd name="connsiteX121" fmla="*/ 1312692 w 3832826"/>
                <a:gd name="connsiteY121" fmla="*/ 1195299 h 5120141"/>
                <a:gd name="connsiteX122" fmla="*/ 1321053 w 3832826"/>
                <a:gd name="connsiteY122" fmla="*/ 1193311 h 5120141"/>
                <a:gd name="connsiteX123" fmla="*/ 1323161 w 3832826"/>
                <a:gd name="connsiteY123" fmla="*/ 1195299 h 5120141"/>
                <a:gd name="connsiteX124" fmla="*/ 1325269 w 3832826"/>
                <a:gd name="connsiteY124" fmla="*/ 1199274 h 5120141"/>
                <a:gd name="connsiteX125" fmla="*/ 1325269 w 3832826"/>
                <a:gd name="connsiteY125" fmla="*/ 1205305 h 5120141"/>
                <a:gd name="connsiteX126" fmla="*/ 1337916 w 3832826"/>
                <a:gd name="connsiteY126" fmla="*/ 1205305 h 5120141"/>
                <a:gd name="connsiteX127" fmla="*/ 1337916 w 3832826"/>
                <a:gd name="connsiteY127" fmla="*/ 1217230 h 5120141"/>
                <a:gd name="connsiteX128" fmla="*/ 1344239 w 3832826"/>
                <a:gd name="connsiteY128" fmla="*/ 1215242 h 5120141"/>
                <a:gd name="connsiteX129" fmla="*/ 1344239 w 3832826"/>
                <a:gd name="connsiteY129" fmla="*/ 1219286 h 5120141"/>
                <a:gd name="connsiteX130" fmla="*/ 1346347 w 3832826"/>
                <a:gd name="connsiteY130" fmla="*/ 1219286 h 5120141"/>
                <a:gd name="connsiteX131" fmla="*/ 1352671 w 3832826"/>
                <a:gd name="connsiteY131" fmla="*/ 1223261 h 5120141"/>
                <a:gd name="connsiteX132" fmla="*/ 1352671 w 3832826"/>
                <a:gd name="connsiteY132" fmla="*/ 1227236 h 5120141"/>
                <a:gd name="connsiteX133" fmla="*/ 1358924 w 3832826"/>
                <a:gd name="connsiteY133" fmla="*/ 1227236 h 5120141"/>
                <a:gd name="connsiteX134" fmla="*/ 1365247 w 3832826"/>
                <a:gd name="connsiteY134" fmla="*/ 1235255 h 5120141"/>
                <a:gd name="connsiteX135" fmla="*/ 1365247 w 3832826"/>
                <a:gd name="connsiteY135" fmla="*/ 1241217 h 5120141"/>
                <a:gd name="connsiteX136" fmla="*/ 1365247 w 3832826"/>
                <a:gd name="connsiteY136" fmla="*/ 1251223 h 5120141"/>
                <a:gd name="connsiteX137" fmla="*/ 1369463 w 3832826"/>
                <a:gd name="connsiteY137" fmla="*/ 1249236 h 5120141"/>
                <a:gd name="connsiteX138" fmla="*/ 1375787 w 3832826"/>
                <a:gd name="connsiteY138" fmla="*/ 1251223 h 5120141"/>
                <a:gd name="connsiteX139" fmla="*/ 1377895 w 3832826"/>
                <a:gd name="connsiteY139" fmla="*/ 1255199 h 5120141"/>
                <a:gd name="connsiteX140" fmla="*/ 1377895 w 3832826"/>
                <a:gd name="connsiteY140" fmla="*/ 1259242 h 5120141"/>
                <a:gd name="connsiteX141" fmla="*/ 1396795 w 3832826"/>
                <a:gd name="connsiteY141" fmla="*/ 1257255 h 5120141"/>
                <a:gd name="connsiteX142" fmla="*/ 1398903 w 3832826"/>
                <a:gd name="connsiteY142" fmla="*/ 1275211 h 5120141"/>
                <a:gd name="connsiteX143" fmla="*/ 1407333 w 3832826"/>
                <a:gd name="connsiteY143" fmla="*/ 1271236 h 5120141"/>
                <a:gd name="connsiteX144" fmla="*/ 1407333 w 3832826"/>
                <a:gd name="connsiteY144" fmla="*/ 1270518 h 5120141"/>
                <a:gd name="connsiteX145" fmla="*/ 1453613 w 3832826"/>
                <a:gd name="connsiteY145" fmla="*/ 1244467 h 5120141"/>
                <a:gd name="connsiteX146" fmla="*/ 1459924 w 3832826"/>
                <a:gd name="connsiteY146" fmla="*/ 1274526 h 5120141"/>
                <a:gd name="connsiteX147" fmla="*/ 1459924 w 3832826"/>
                <a:gd name="connsiteY147" fmla="*/ 1290558 h 5120141"/>
                <a:gd name="connsiteX148" fmla="*/ 1455717 w 3832826"/>
                <a:gd name="connsiteY148" fmla="*/ 1304586 h 5120141"/>
                <a:gd name="connsiteX149" fmla="*/ 1453613 w 3832826"/>
                <a:gd name="connsiteY149" fmla="*/ 1308594 h 5120141"/>
                <a:gd name="connsiteX150" fmla="*/ 1449406 w 3832826"/>
                <a:gd name="connsiteY150" fmla="*/ 1310598 h 5120141"/>
                <a:gd name="connsiteX151" fmla="*/ 1440991 w 3832826"/>
                <a:gd name="connsiteY151" fmla="*/ 1316610 h 5120141"/>
                <a:gd name="connsiteX152" fmla="*/ 1434680 w 3832826"/>
                <a:gd name="connsiteY152" fmla="*/ 1318614 h 5120141"/>
                <a:gd name="connsiteX153" fmla="*/ 1432577 w 3832826"/>
                <a:gd name="connsiteY153" fmla="*/ 1320618 h 5120141"/>
                <a:gd name="connsiteX154" fmla="*/ 1430473 w 3832826"/>
                <a:gd name="connsiteY154" fmla="*/ 1326630 h 5120141"/>
                <a:gd name="connsiteX155" fmla="*/ 1430473 w 3832826"/>
                <a:gd name="connsiteY155" fmla="*/ 1334645 h 5120141"/>
                <a:gd name="connsiteX156" fmla="*/ 1434680 w 3832826"/>
                <a:gd name="connsiteY156" fmla="*/ 1338653 h 5120141"/>
                <a:gd name="connsiteX157" fmla="*/ 1440991 w 3832826"/>
                <a:gd name="connsiteY157" fmla="*/ 1350677 h 5120141"/>
                <a:gd name="connsiteX158" fmla="*/ 1443095 w 3832826"/>
                <a:gd name="connsiteY158" fmla="*/ 1366709 h 5120141"/>
                <a:gd name="connsiteX159" fmla="*/ 1443095 w 3832826"/>
                <a:gd name="connsiteY159" fmla="*/ 1380737 h 5120141"/>
                <a:gd name="connsiteX160" fmla="*/ 1445199 w 3832826"/>
                <a:gd name="connsiteY160" fmla="*/ 1436848 h 5120141"/>
                <a:gd name="connsiteX161" fmla="*/ 1422059 w 3832826"/>
                <a:gd name="connsiteY161" fmla="*/ 1436848 h 5120141"/>
                <a:gd name="connsiteX162" fmla="*/ 1403126 w 3832826"/>
                <a:gd name="connsiteY162" fmla="*/ 1438852 h 5120141"/>
                <a:gd name="connsiteX163" fmla="*/ 1392608 w 3832826"/>
                <a:gd name="connsiteY163" fmla="*/ 1440856 h 5120141"/>
                <a:gd name="connsiteX164" fmla="*/ 1382089 w 3832826"/>
                <a:gd name="connsiteY164" fmla="*/ 1444864 h 5120141"/>
                <a:gd name="connsiteX165" fmla="*/ 1375779 w 3832826"/>
                <a:gd name="connsiteY165" fmla="*/ 1448872 h 5120141"/>
                <a:gd name="connsiteX166" fmla="*/ 1367364 w 3832826"/>
                <a:gd name="connsiteY166" fmla="*/ 1456888 h 5120141"/>
                <a:gd name="connsiteX167" fmla="*/ 1358949 w 3832826"/>
                <a:gd name="connsiteY167" fmla="*/ 1462900 h 5120141"/>
                <a:gd name="connsiteX168" fmla="*/ 1354742 w 3832826"/>
                <a:gd name="connsiteY168" fmla="*/ 1472920 h 5120141"/>
                <a:gd name="connsiteX169" fmla="*/ 1348431 w 3832826"/>
                <a:gd name="connsiteY169" fmla="*/ 1480935 h 5120141"/>
                <a:gd name="connsiteX170" fmla="*/ 1344224 w 3832826"/>
                <a:gd name="connsiteY170" fmla="*/ 1482939 h 5120141"/>
                <a:gd name="connsiteX171" fmla="*/ 1342120 w 3832826"/>
                <a:gd name="connsiteY171" fmla="*/ 1482939 h 5120141"/>
                <a:gd name="connsiteX172" fmla="*/ 1333706 w 3832826"/>
                <a:gd name="connsiteY172" fmla="*/ 1480935 h 5120141"/>
                <a:gd name="connsiteX173" fmla="*/ 1327395 w 3832826"/>
                <a:gd name="connsiteY173" fmla="*/ 1482939 h 5120141"/>
                <a:gd name="connsiteX174" fmla="*/ 1325291 w 3832826"/>
                <a:gd name="connsiteY174" fmla="*/ 1488951 h 5120141"/>
                <a:gd name="connsiteX175" fmla="*/ 1323188 w 3832826"/>
                <a:gd name="connsiteY175" fmla="*/ 1492959 h 5120141"/>
                <a:gd name="connsiteX176" fmla="*/ 1321084 w 3832826"/>
                <a:gd name="connsiteY176" fmla="*/ 1506987 h 5120141"/>
                <a:gd name="connsiteX177" fmla="*/ 1316877 w 3832826"/>
                <a:gd name="connsiteY177" fmla="*/ 1512999 h 5120141"/>
                <a:gd name="connsiteX178" fmla="*/ 1310566 w 3832826"/>
                <a:gd name="connsiteY178" fmla="*/ 1521015 h 5120141"/>
                <a:gd name="connsiteX179" fmla="*/ 1304255 w 3832826"/>
                <a:gd name="connsiteY179" fmla="*/ 1523019 h 5120141"/>
                <a:gd name="connsiteX180" fmla="*/ 1293737 w 3832826"/>
                <a:gd name="connsiteY180" fmla="*/ 1529031 h 5120141"/>
                <a:gd name="connsiteX181" fmla="*/ 1281115 w 3832826"/>
                <a:gd name="connsiteY181" fmla="*/ 1529031 h 5120141"/>
                <a:gd name="connsiteX182" fmla="*/ 1279011 w 3832826"/>
                <a:gd name="connsiteY182" fmla="*/ 1531035 h 5120141"/>
                <a:gd name="connsiteX183" fmla="*/ 1274804 w 3832826"/>
                <a:gd name="connsiteY183" fmla="*/ 1537046 h 5120141"/>
                <a:gd name="connsiteX184" fmla="*/ 1272700 w 3832826"/>
                <a:gd name="connsiteY184" fmla="*/ 1547066 h 5120141"/>
                <a:gd name="connsiteX185" fmla="*/ 1270597 w 3832826"/>
                <a:gd name="connsiteY185" fmla="*/ 1559090 h 5120141"/>
                <a:gd name="connsiteX186" fmla="*/ 1264286 w 3832826"/>
                <a:gd name="connsiteY186" fmla="*/ 1569110 h 5120141"/>
                <a:gd name="connsiteX187" fmla="*/ 1262182 w 3832826"/>
                <a:gd name="connsiteY187" fmla="*/ 1569110 h 5120141"/>
                <a:gd name="connsiteX188" fmla="*/ 1262182 w 3832826"/>
                <a:gd name="connsiteY188" fmla="*/ 1573118 h 5120141"/>
                <a:gd name="connsiteX189" fmla="*/ 1260078 w 3832826"/>
                <a:gd name="connsiteY189" fmla="*/ 1579130 h 5120141"/>
                <a:gd name="connsiteX190" fmla="*/ 1260078 w 3832826"/>
                <a:gd name="connsiteY190" fmla="*/ 1599170 h 5120141"/>
                <a:gd name="connsiteX191" fmla="*/ 1260078 w 3832826"/>
                <a:gd name="connsiteY191" fmla="*/ 1633237 h 5120141"/>
                <a:gd name="connsiteX192" fmla="*/ 1260078 w 3832826"/>
                <a:gd name="connsiteY192" fmla="*/ 1679328 h 5120141"/>
                <a:gd name="connsiteX193" fmla="*/ 1258254 w 3832826"/>
                <a:gd name="connsiteY193" fmla="*/ 1717574 h 5120141"/>
                <a:gd name="connsiteX194" fmla="*/ 1279014 w 3832826"/>
                <a:gd name="connsiteY194" fmla="*/ 1732471 h 5120141"/>
                <a:gd name="connsiteX195" fmla="*/ 1302154 w 3832826"/>
                <a:gd name="connsiteY195" fmla="*/ 1736462 h 5120141"/>
                <a:gd name="connsiteX196" fmla="*/ 1312672 w 3832826"/>
                <a:gd name="connsiteY196" fmla="*/ 1736462 h 5120141"/>
                <a:gd name="connsiteX197" fmla="*/ 1323191 w 3832826"/>
                <a:gd name="connsiteY197" fmla="*/ 1734466 h 5120141"/>
                <a:gd name="connsiteX198" fmla="*/ 1337916 w 3832826"/>
                <a:gd name="connsiteY198" fmla="*/ 1732471 h 5120141"/>
                <a:gd name="connsiteX199" fmla="*/ 1350538 w 3832826"/>
                <a:gd name="connsiteY199" fmla="*/ 1726484 h 5120141"/>
                <a:gd name="connsiteX200" fmla="*/ 1354745 w 3832826"/>
                <a:gd name="connsiteY200" fmla="*/ 1726484 h 5120141"/>
                <a:gd name="connsiteX201" fmla="*/ 1365263 w 3832826"/>
                <a:gd name="connsiteY201" fmla="*/ 1730475 h 5120141"/>
                <a:gd name="connsiteX202" fmla="*/ 1394714 w 3832826"/>
                <a:gd name="connsiteY202" fmla="*/ 1742449 h 5120141"/>
                <a:gd name="connsiteX203" fmla="*/ 1407336 w 3832826"/>
                <a:gd name="connsiteY203" fmla="*/ 1744445 h 5120141"/>
                <a:gd name="connsiteX204" fmla="*/ 1419958 w 3832826"/>
                <a:gd name="connsiteY204" fmla="*/ 1746440 h 5120141"/>
                <a:gd name="connsiteX205" fmla="*/ 1426269 w 3832826"/>
                <a:gd name="connsiteY205" fmla="*/ 1744445 h 5120141"/>
                <a:gd name="connsiteX206" fmla="*/ 1430476 w 3832826"/>
                <a:gd name="connsiteY206" fmla="*/ 1742449 h 5120141"/>
                <a:gd name="connsiteX207" fmla="*/ 1430476 w 3832826"/>
                <a:gd name="connsiteY207" fmla="*/ 1740453 h 5120141"/>
                <a:gd name="connsiteX208" fmla="*/ 1434684 w 3832826"/>
                <a:gd name="connsiteY208" fmla="*/ 1734466 h 5120141"/>
                <a:gd name="connsiteX209" fmla="*/ 1434684 w 3832826"/>
                <a:gd name="connsiteY209" fmla="*/ 1726484 h 5120141"/>
                <a:gd name="connsiteX210" fmla="*/ 1436787 w 3832826"/>
                <a:gd name="connsiteY210" fmla="*/ 1722493 h 5120141"/>
                <a:gd name="connsiteX211" fmla="*/ 1445202 w 3832826"/>
                <a:gd name="connsiteY211" fmla="*/ 1712514 h 5120141"/>
                <a:gd name="connsiteX212" fmla="*/ 1455720 w 3832826"/>
                <a:gd name="connsiteY212" fmla="*/ 1704532 h 5120141"/>
                <a:gd name="connsiteX213" fmla="*/ 1462031 w 3832826"/>
                <a:gd name="connsiteY213" fmla="*/ 1694553 h 5120141"/>
                <a:gd name="connsiteX214" fmla="*/ 1462031 w 3832826"/>
                <a:gd name="connsiteY214" fmla="*/ 1684575 h 5120141"/>
                <a:gd name="connsiteX215" fmla="*/ 1466238 w 3832826"/>
                <a:gd name="connsiteY215" fmla="*/ 1676592 h 5120141"/>
                <a:gd name="connsiteX216" fmla="*/ 1472549 w 3832826"/>
                <a:gd name="connsiteY216" fmla="*/ 1666614 h 5120141"/>
                <a:gd name="connsiteX217" fmla="*/ 1483067 w 3832826"/>
                <a:gd name="connsiteY217" fmla="*/ 1652645 h 5120141"/>
                <a:gd name="connsiteX218" fmla="*/ 1497793 w 3832826"/>
                <a:gd name="connsiteY218" fmla="*/ 1638675 h 5120141"/>
                <a:gd name="connsiteX219" fmla="*/ 1510415 w 3832826"/>
                <a:gd name="connsiteY219" fmla="*/ 1624705 h 5120141"/>
                <a:gd name="connsiteX220" fmla="*/ 1525140 w 3832826"/>
                <a:gd name="connsiteY220" fmla="*/ 1612731 h 5120141"/>
                <a:gd name="connsiteX221" fmla="*/ 1577731 w 3832826"/>
                <a:gd name="connsiteY221" fmla="*/ 1580801 h 5120141"/>
                <a:gd name="connsiteX222" fmla="*/ 1605078 w 3832826"/>
                <a:gd name="connsiteY222" fmla="*/ 1560845 h 5120141"/>
                <a:gd name="connsiteX223" fmla="*/ 1628218 w 3832826"/>
                <a:gd name="connsiteY223" fmla="*/ 1540888 h 5120141"/>
                <a:gd name="connsiteX224" fmla="*/ 1645048 w 3832826"/>
                <a:gd name="connsiteY224" fmla="*/ 1524923 h 5120141"/>
                <a:gd name="connsiteX225" fmla="*/ 1661877 w 3832826"/>
                <a:gd name="connsiteY225" fmla="*/ 1514944 h 5120141"/>
                <a:gd name="connsiteX226" fmla="*/ 1678706 w 3832826"/>
                <a:gd name="connsiteY226" fmla="*/ 1508957 h 5120141"/>
                <a:gd name="connsiteX227" fmla="*/ 1695535 w 3832826"/>
                <a:gd name="connsiteY227" fmla="*/ 1502971 h 5120141"/>
                <a:gd name="connsiteX228" fmla="*/ 1714468 w 3832826"/>
                <a:gd name="connsiteY228" fmla="*/ 1500975 h 5120141"/>
                <a:gd name="connsiteX229" fmla="*/ 1735504 w 3832826"/>
                <a:gd name="connsiteY229" fmla="*/ 1500975 h 5120141"/>
                <a:gd name="connsiteX230" fmla="*/ 1777577 w 3832826"/>
                <a:gd name="connsiteY230" fmla="*/ 1500975 h 5120141"/>
                <a:gd name="connsiteX231" fmla="*/ 2158335 w 3832826"/>
                <a:gd name="connsiteY231" fmla="*/ 1500975 h 5120141"/>
                <a:gd name="connsiteX232" fmla="*/ 2158335 w 3832826"/>
                <a:gd name="connsiteY232" fmla="*/ 1514944 h 5120141"/>
                <a:gd name="connsiteX233" fmla="*/ 2158335 w 3832826"/>
                <a:gd name="connsiteY233" fmla="*/ 1572818 h 5120141"/>
                <a:gd name="connsiteX234" fmla="*/ 2160439 w 3832826"/>
                <a:gd name="connsiteY234" fmla="*/ 1594771 h 5120141"/>
                <a:gd name="connsiteX235" fmla="*/ 2158335 w 3832826"/>
                <a:gd name="connsiteY235" fmla="*/ 1624705 h 5120141"/>
                <a:gd name="connsiteX236" fmla="*/ 2158335 w 3832826"/>
                <a:gd name="connsiteY236" fmla="*/ 1634684 h 5120141"/>
                <a:gd name="connsiteX237" fmla="*/ 2158335 w 3832826"/>
                <a:gd name="connsiteY237" fmla="*/ 1648653 h 5120141"/>
                <a:gd name="connsiteX238" fmla="*/ 2158335 w 3832826"/>
                <a:gd name="connsiteY238" fmla="*/ 1666614 h 5120141"/>
                <a:gd name="connsiteX239" fmla="*/ 2158335 w 3832826"/>
                <a:gd name="connsiteY239" fmla="*/ 1700540 h 5120141"/>
                <a:gd name="connsiteX240" fmla="*/ 2149671 w 3832826"/>
                <a:gd name="connsiteY240" fmla="*/ 1700540 h 5120141"/>
                <a:gd name="connsiteX241" fmla="*/ 2149671 w 3832826"/>
                <a:gd name="connsiteY241" fmla="*/ 1701367 h 5120141"/>
                <a:gd name="connsiteX242" fmla="*/ 2158305 w 3832826"/>
                <a:gd name="connsiteY242" fmla="*/ 1701367 h 5120141"/>
                <a:gd name="connsiteX243" fmla="*/ 2158305 w 3832826"/>
                <a:gd name="connsiteY243" fmla="*/ 1723407 h 5120141"/>
                <a:gd name="connsiteX244" fmla="*/ 2158305 w 3832826"/>
                <a:gd name="connsiteY244" fmla="*/ 1755458 h 5120141"/>
                <a:gd name="connsiteX245" fmla="*/ 2234031 w 3832826"/>
                <a:gd name="connsiteY245" fmla="*/ 1815609 h 5120141"/>
                <a:gd name="connsiteX246" fmla="*/ 2231975 w 3832826"/>
                <a:gd name="connsiteY246" fmla="*/ 1817584 h 5120141"/>
                <a:gd name="connsiteX247" fmla="*/ 2231975 w 3832826"/>
                <a:gd name="connsiteY247" fmla="*/ 1823599 h 5120141"/>
                <a:gd name="connsiteX248" fmla="*/ 2234031 w 3832826"/>
                <a:gd name="connsiteY248" fmla="*/ 1833610 h 5120141"/>
                <a:gd name="connsiteX249" fmla="*/ 2240379 w 3832826"/>
                <a:gd name="connsiteY249" fmla="*/ 1843665 h 5120141"/>
                <a:gd name="connsiteX250" fmla="*/ 2244581 w 3832826"/>
                <a:gd name="connsiteY250" fmla="*/ 1853675 h 5120141"/>
                <a:gd name="connsiteX251" fmla="*/ 2244581 w 3832826"/>
                <a:gd name="connsiteY251" fmla="*/ 1857670 h 5120141"/>
                <a:gd name="connsiteX252" fmla="*/ 2242435 w 3832826"/>
                <a:gd name="connsiteY252" fmla="*/ 1863685 h 5120141"/>
                <a:gd name="connsiteX253" fmla="*/ 2238233 w 3832826"/>
                <a:gd name="connsiteY253" fmla="*/ 1873695 h 5120141"/>
                <a:gd name="connsiteX254" fmla="*/ 2229829 w 3832826"/>
                <a:gd name="connsiteY254" fmla="*/ 1883750 h 5120141"/>
                <a:gd name="connsiteX255" fmla="*/ 2223571 w 3832826"/>
                <a:gd name="connsiteY255" fmla="*/ 1889721 h 5120141"/>
                <a:gd name="connsiteX256" fmla="*/ 2213021 w 3832826"/>
                <a:gd name="connsiteY256" fmla="*/ 1905791 h 5120141"/>
                <a:gd name="connsiteX257" fmla="*/ 2200415 w 3832826"/>
                <a:gd name="connsiteY257" fmla="*/ 1919796 h 5120141"/>
                <a:gd name="connsiteX258" fmla="*/ 2170912 w 3832826"/>
                <a:gd name="connsiteY258" fmla="*/ 1945832 h 5120141"/>
                <a:gd name="connsiteX259" fmla="*/ 2139441 w 3832826"/>
                <a:gd name="connsiteY259" fmla="*/ 1969893 h 5120141"/>
                <a:gd name="connsiteX260" fmla="*/ 2107881 w 3832826"/>
                <a:gd name="connsiteY260" fmla="*/ 1995973 h 5120141"/>
                <a:gd name="connsiteX261" fmla="*/ 2095186 w 3832826"/>
                <a:gd name="connsiteY261" fmla="*/ 1997948 h 5120141"/>
                <a:gd name="connsiteX262" fmla="*/ 2082580 w 3832826"/>
                <a:gd name="connsiteY262" fmla="*/ 2003963 h 5120141"/>
                <a:gd name="connsiteX263" fmla="*/ 2074176 w 3832826"/>
                <a:gd name="connsiteY263" fmla="*/ 2009979 h 5120141"/>
                <a:gd name="connsiteX264" fmla="*/ 2069973 w 3832826"/>
                <a:gd name="connsiteY264" fmla="*/ 2018014 h 5120141"/>
                <a:gd name="connsiteX265" fmla="*/ 2055222 w 3832826"/>
                <a:gd name="connsiteY265" fmla="*/ 2034039 h 5120141"/>
                <a:gd name="connsiteX266" fmla="*/ 2048963 w 3832826"/>
                <a:gd name="connsiteY266" fmla="*/ 2044049 h 5120141"/>
                <a:gd name="connsiteX267" fmla="*/ 2038414 w 3832826"/>
                <a:gd name="connsiteY267" fmla="*/ 2050064 h 5120141"/>
                <a:gd name="connsiteX268" fmla="*/ 2017403 w 3832826"/>
                <a:gd name="connsiteY268" fmla="*/ 2066090 h 5120141"/>
                <a:gd name="connsiteX269" fmla="*/ 1998450 w 3832826"/>
                <a:gd name="connsiteY269" fmla="*/ 2080140 h 5120141"/>
                <a:gd name="connsiteX270" fmla="*/ 1962688 w 3832826"/>
                <a:gd name="connsiteY270" fmla="*/ 2110171 h 5120141"/>
                <a:gd name="connsiteX271" fmla="*/ 1952138 w 3832826"/>
                <a:gd name="connsiteY271" fmla="*/ 2116186 h 5120141"/>
                <a:gd name="connsiteX272" fmla="*/ 1937476 w 3832826"/>
                <a:gd name="connsiteY272" fmla="*/ 2120181 h 5120141"/>
                <a:gd name="connsiteX273" fmla="*/ 1914320 w 3832826"/>
                <a:gd name="connsiteY273" fmla="*/ 2122201 h 5120141"/>
                <a:gd name="connsiteX274" fmla="*/ 1891164 w 3832826"/>
                <a:gd name="connsiteY274" fmla="*/ 2122201 h 5120141"/>
                <a:gd name="connsiteX275" fmla="*/ 1880614 w 3832826"/>
                <a:gd name="connsiteY275" fmla="*/ 2126196 h 5120141"/>
                <a:gd name="connsiteX276" fmla="*/ 1870154 w 3832826"/>
                <a:gd name="connsiteY276" fmla="*/ 2130236 h 5120141"/>
                <a:gd name="connsiteX277" fmla="*/ 1859604 w 3832826"/>
                <a:gd name="connsiteY277" fmla="*/ 2136251 h 5120141"/>
                <a:gd name="connsiteX278" fmla="*/ 1842796 w 3832826"/>
                <a:gd name="connsiteY278" fmla="*/ 2138226 h 5120141"/>
                <a:gd name="connsiteX279" fmla="*/ 1817584 w 3832826"/>
                <a:gd name="connsiteY279" fmla="*/ 2142221 h 5120141"/>
                <a:gd name="connsiteX280" fmla="*/ 1786024 w 3832826"/>
                <a:gd name="connsiteY280" fmla="*/ 2146261 h 5120141"/>
                <a:gd name="connsiteX281" fmla="*/ 1756520 w 3832826"/>
                <a:gd name="connsiteY281" fmla="*/ 2150257 h 5120141"/>
                <a:gd name="connsiteX282" fmla="*/ 1743914 w 3832826"/>
                <a:gd name="connsiteY282" fmla="*/ 2150257 h 5120141"/>
                <a:gd name="connsiteX283" fmla="*/ 1733364 w 3832826"/>
                <a:gd name="connsiteY283" fmla="*/ 2150257 h 5120141"/>
                <a:gd name="connsiteX284" fmla="*/ 1706006 w 3832826"/>
                <a:gd name="connsiteY284" fmla="*/ 2142221 h 5120141"/>
                <a:gd name="connsiteX285" fmla="*/ 1680794 w 3832826"/>
                <a:gd name="connsiteY285" fmla="*/ 2136251 h 5120141"/>
                <a:gd name="connsiteX286" fmla="*/ 1655582 w 3832826"/>
                <a:gd name="connsiteY286" fmla="*/ 2126196 h 5120141"/>
                <a:gd name="connsiteX287" fmla="*/ 1630281 w 3832826"/>
                <a:gd name="connsiteY287" fmla="*/ 2116186 h 5120141"/>
                <a:gd name="connsiteX288" fmla="*/ 1607214 w 3832826"/>
                <a:gd name="connsiteY288" fmla="*/ 2110171 h 5120141"/>
                <a:gd name="connsiteX289" fmla="*/ 1594519 w 3832826"/>
                <a:gd name="connsiteY289" fmla="*/ 2110171 h 5120141"/>
                <a:gd name="connsiteX290" fmla="*/ 1584058 w 3832826"/>
                <a:gd name="connsiteY290" fmla="*/ 2112191 h 5120141"/>
                <a:gd name="connsiteX291" fmla="*/ 1573508 w 3832826"/>
                <a:gd name="connsiteY291" fmla="*/ 2116186 h 5120141"/>
                <a:gd name="connsiteX292" fmla="*/ 1560902 w 3832826"/>
                <a:gd name="connsiteY292" fmla="*/ 2120181 h 5120141"/>
                <a:gd name="connsiteX293" fmla="*/ 1544094 w 3832826"/>
                <a:gd name="connsiteY293" fmla="*/ 2128216 h 5120141"/>
                <a:gd name="connsiteX294" fmla="*/ 1529342 w 3832826"/>
                <a:gd name="connsiteY294" fmla="*/ 2136251 h 5120141"/>
                <a:gd name="connsiteX295" fmla="*/ 1499928 w 3832826"/>
                <a:gd name="connsiteY295" fmla="*/ 2140246 h 5120141"/>
                <a:gd name="connsiteX296" fmla="*/ 1497783 w 3832826"/>
                <a:gd name="connsiteY296" fmla="*/ 2140246 h 5120141"/>
                <a:gd name="connsiteX297" fmla="*/ 1483031 w 3832826"/>
                <a:gd name="connsiteY297" fmla="*/ 2140246 h 5120141"/>
                <a:gd name="connsiteX298" fmla="*/ 1468368 w 3832826"/>
                <a:gd name="connsiteY298" fmla="*/ 2140246 h 5120141"/>
                <a:gd name="connsiteX299" fmla="*/ 1451471 w 3832826"/>
                <a:gd name="connsiteY299" fmla="*/ 2142221 h 5120141"/>
                <a:gd name="connsiteX300" fmla="*/ 1447269 w 3832826"/>
                <a:gd name="connsiteY300" fmla="*/ 2146261 h 5120141"/>
                <a:gd name="connsiteX301" fmla="*/ 1440991 w 3832826"/>
                <a:gd name="connsiteY301" fmla="*/ 2149246 h 5120141"/>
                <a:gd name="connsiteX302" fmla="*/ 1440991 w 3832826"/>
                <a:gd name="connsiteY302" fmla="*/ 2319937 h 5120141"/>
                <a:gd name="connsiteX303" fmla="*/ 1445196 w 3832826"/>
                <a:gd name="connsiteY303" fmla="*/ 2330619 h 5120141"/>
                <a:gd name="connsiteX304" fmla="*/ 1449403 w 3832826"/>
                <a:gd name="connsiteY304" fmla="*/ 2344647 h 5120141"/>
                <a:gd name="connsiteX305" fmla="*/ 1462025 w 3832826"/>
                <a:gd name="connsiteY305" fmla="*/ 2378715 h 5120141"/>
                <a:gd name="connsiteX306" fmla="*/ 1480958 w 3832826"/>
                <a:gd name="connsiteY306" fmla="*/ 2438834 h 5120141"/>
                <a:gd name="connsiteX307" fmla="*/ 1493580 w 3832826"/>
                <a:gd name="connsiteY307" fmla="*/ 2468893 h 5120141"/>
                <a:gd name="connsiteX308" fmla="*/ 1499891 w 3832826"/>
                <a:gd name="connsiteY308" fmla="*/ 2480917 h 5120141"/>
                <a:gd name="connsiteX309" fmla="*/ 1508305 w 3832826"/>
                <a:gd name="connsiteY309" fmla="*/ 2492941 h 5120141"/>
                <a:gd name="connsiteX310" fmla="*/ 1508305 w 3832826"/>
                <a:gd name="connsiteY310" fmla="*/ 2523000 h 5120141"/>
                <a:gd name="connsiteX311" fmla="*/ 1508305 w 3832826"/>
                <a:gd name="connsiteY311" fmla="*/ 2555064 h 5120141"/>
                <a:gd name="connsiteX312" fmla="*/ 1508308 w 3832826"/>
                <a:gd name="connsiteY312" fmla="*/ 2520996 h 5120141"/>
                <a:gd name="connsiteX313" fmla="*/ 1508308 w 3832826"/>
                <a:gd name="connsiteY313" fmla="*/ 2490937 h 5120141"/>
                <a:gd name="connsiteX314" fmla="*/ 1703947 w 3832826"/>
                <a:gd name="connsiteY314" fmla="*/ 2693337 h 5120141"/>
                <a:gd name="connsiteX315" fmla="*/ 1800715 w 3832826"/>
                <a:gd name="connsiteY315" fmla="*/ 2777503 h 5120141"/>
                <a:gd name="connsiteX316" fmla="*/ 1821751 w 3832826"/>
                <a:gd name="connsiteY316" fmla="*/ 2793535 h 5120141"/>
                <a:gd name="connsiteX317" fmla="*/ 1846995 w 3832826"/>
                <a:gd name="connsiteY317" fmla="*/ 2807563 h 5120141"/>
                <a:gd name="connsiteX318" fmla="*/ 1868031 w 3832826"/>
                <a:gd name="connsiteY318" fmla="*/ 2827603 h 5120141"/>
                <a:gd name="connsiteX319" fmla="*/ 1874342 w 3832826"/>
                <a:gd name="connsiteY319" fmla="*/ 2837622 h 5120141"/>
                <a:gd name="connsiteX320" fmla="*/ 1882757 w 3832826"/>
                <a:gd name="connsiteY320" fmla="*/ 2847642 h 5120141"/>
                <a:gd name="connsiteX321" fmla="*/ 1882757 w 3832826"/>
                <a:gd name="connsiteY321" fmla="*/ 2857662 h 5120141"/>
                <a:gd name="connsiteX322" fmla="*/ 1871663 w 3832826"/>
                <a:gd name="connsiteY322" fmla="*/ 2862688 h 5120141"/>
                <a:gd name="connsiteX323" fmla="*/ 1920621 w 3832826"/>
                <a:gd name="connsiteY323" fmla="*/ 2925780 h 5120141"/>
                <a:gd name="connsiteX324" fmla="*/ 1937450 w 3832826"/>
                <a:gd name="connsiteY324" fmla="*/ 2955859 h 5120141"/>
                <a:gd name="connsiteX325" fmla="*/ 1956383 w 3832826"/>
                <a:gd name="connsiteY325" fmla="*/ 2987924 h 5120141"/>
                <a:gd name="connsiteX326" fmla="*/ 1964798 w 3832826"/>
                <a:gd name="connsiteY326" fmla="*/ 2997927 h 5120141"/>
                <a:gd name="connsiteX327" fmla="*/ 1969005 w 3832826"/>
                <a:gd name="connsiteY327" fmla="*/ 3009986 h 5120141"/>
                <a:gd name="connsiteX328" fmla="*/ 1977420 w 3832826"/>
                <a:gd name="connsiteY328" fmla="*/ 3038008 h 5120141"/>
                <a:gd name="connsiteX329" fmla="*/ 1985834 w 3832826"/>
                <a:gd name="connsiteY329" fmla="*/ 3066100 h 5120141"/>
                <a:gd name="connsiteX330" fmla="*/ 1994249 w 3832826"/>
                <a:gd name="connsiteY330" fmla="*/ 3078089 h 5120141"/>
                <a:gd name="connsiteX331" fmla="*/ 2004767 w 3832826"/>
                <a:gd name="connsiteY331" fmla="*/ 3090149 h 5120141"/>
                <a:gd name="connsiteX332" fmla="*/ 2008974 w 3832826"/>
                <a:gd name="connsiteY332" fmla="*/ 3100152 h 5120141"/>
                <a:gd name="connsiteX333" fmla="*/ 2017389 w 3832826"/>
                <a:gd name="connsiteY333" fmla="*/ 3110155 h 5120141"/>
                <a:gd name="connsiteX334" fmla="*/ 2023700 w 3832826"/>
                <a:gd name="connsiteY334" fmla="*/ 3136190 h 5120141"/>
                <a:gd name="connsiteX335" fmla="*/ 2032114 w 3832826"/>
                <a:gd name="connsiteY335" fmla="*/ 3158252 h 5120141"/>
                <a:gd name="connsiteX336" fmla="*/ 2040529 w 3832826"/>
                <a:gd name="connsiteY336" fmla="*/ 3168255 h 5120141"/>
                <a:gd name="connsiteX337" fmla="*/ 2048944 w 3832826"/>
                <a:gd name="connsiteY337" fmla="*/ 3174285 h 5120141"/>
                <a:gd name="connsiteX338" fmla="*/ 2059462 w 3832826"/>
                <a:gd name="connsiteY338" fmla="*/ 3180315 h 5120141"/>
                <a:gd name="connsiteX339" fmla="*/ 2069980 w 3832826"/>
                <a:gd name="connsiteY339" fmla="*/ 3180315 h 5120141"/>
                <a:gd name="connsiteX340" fmla="*/ 2082602 w 3832826"/>
                <a:gd name="connsiteY340" fmla="*/ 3182301 h 5120141"/>
                <a:gd name="connsiteX341" fmla="*/ 2095224 w 3832826"/>
                <a:gd name="connsiteY341" fmla="*/ 3184288 h 5120141"/>
                <a:gd name="connsiteX342" fmla="*/ 2105742 w 3832826"/>
                <a:gd name="connsiteY342" fmla="*/ 3190318 h 5120141"/>
                <a:gd name="connsiteX343" fmla="*/ 2114156 w 3832826"/>
                <a:gd name="connsiteY343" fmla="*/ 3198334 h 5120141"/>
                <a:gd name="connsiteX344" fmla="*/ 2122571 w 3832826"/>
                <a:gd name="connsiteY344" fmla="*/ 3204364 h 5120141"/>
                <a:gd name="connsiteX345" fmla="*/ 2132508 w 3832826"/>
                <a:gd name="connsiteY345" fmla="*/ 3211937 h 5120141"/>
                <a:gd name="connsiteX346" fmla="*/ 2133090 w 3832826"/>
                <a:gd name="connsiteY346" fmla="*/ 3211201 h 5120141"/>
                <a:gd name="connsiteX347" fmla="*/ 2210924 w 3832826"/>
                <a:gd name="connsiteY347" fmla="*/ 3145234 h 5120141"/>
                <a:gd name="connsiteX348" fmla="*/ 2286655 w 3832826"/>
                <a:gd name="connsiteY348" fmla="*/ 3071271 h 5120141"/>
                <a:gd name="connsiteX349" fmla="*/ 2316106 w 3832826"/>
                <a:gd name="connsiteY349" fmla="*/ 3045284 h 5120141"/>
                <a:gd name="connsiteX350" fmla="*/ 2332935 w 3832826"/>
                <a:gd name="connsiteY350" fmla="*/ 3035289 h 5120141"/>
                <a:gd name="connsiteX351" fmla="*/ 2343453 w 3832826"/>
                <a:gd name="connsiteY351" fmla="*/ 3031291 h 5120141"/>
                <a:gd name="connsiteX352" fmla="*/ 2349764 w 3832826"/>
                <a:gd name="connsiteY352" fmla="*/ 3029292 h 5120141"/>
                <a:gd name="connsiteX353" fmla="*/ 2381318 w 3832826"/>
                <a:gd name="connsiteY353" fmla="*/ 3031291 h 5120141"/>
                <a:gd name="connsiteX354" fmla="*/ 2398148 w 3832826"/>
                <a:gd name="connsiteY354" fmla="*/ 3029292 h 5120141"/>
                <a:gd name="connsiteX355" fmla="*/ 2402355 w 3832826"/>
                <a:gd name="connsiteY355" fmla="*/ 3029292 h 5120141"/>
                <a:gd name="connsiteX356" fmla="*/ 2404458 w 3832826"/>
                <a:gd name="connsiteY356" fmla="*/ 3027293 h 5120141"/>
                <a:gd name="connsiteX357" fmla="*/ 2404458 w 3832826"/>
                <a:gd name="connsiteY357" fmla="*/ 3007303 h 5120141"/>
                <a:gd name="connsiteX358" fmla="*/ 2408666 w 3832826"/>
                <a:gd name="connsiteY358" fmla="*/ 2997308 h 5120141"/>
                <a:gd name="connsiteX359" fmla="*/ 2410769 w 3832826"/>
                <a:gd name="connsiteY359" fmla="*/ 2995309 h 5120141"/>
                <a:gd name="connsiteX360" fmla="*/ 2414977 w 3832826"/>
                <a:gd name="connsiteY360" fmla="*/ 2991311 h 5120141"/>
                <a:gd name="connsiteX361" fmla="*/ 2423391 w 3832826"/>
                <a:gd name="connsiteY361" fmla="*/ 2991311 h 5120141"/>
                <a:gd name="connsiteX362" fmla="*/ 2425495 w 3832826"/>
                <a:gd name="connsiteY362" fmla="*/ 2987313 h 5120141"/>
                <a:gd name="connsiteX363" fmla="*/ 2429702 w 3832826"/>
                <a:gd name="connsiteY363" fmla="*/ 2985314 h 5120141"/>
                <a:gd name="connsiteX364" fmla="*/ 2429702 w 3832826"/>
                <a:gd name="connsiteY364" fmla="*/ 2979317 h 5120141"/>
                <a:gd name="connsiteX365" fmla="*/ 2429702 w 3832826"/>
                <a:gd name="connsiteY365" fmla="*/ 2977318 h 5120141"/>
                <a:gd name="connsiteX366" fmla="*/ 2431806 w 3832826"/>
                <a:gd name="connsiteY366" fmla="*/ 2971321 h 5120141"/>
                <a:gd name="connsiteX367" fmla="*/ 2433909 w 3832826"/>
                <a:gd name="connsiteY367" fmla="*/ 2969322 h 5120141"/>
                <a:gd name="connsiteX368" fmla="*/ 2442324 w 3832826"/>
                <a:gd name="connsiteY368" fmla="*/ 2967323 h 5120141"/>
                <a:gd name="connsiteX369" fmla="*/ 2452842 w 3832826"/>
                <a:gd name="connsiteY369" fmla="*/ 2967323 h 5120141"/>
                <a:gd name="connsiteX370" fmla="*/ 2454946 w 3832826"/>
                <a:gd name="connsiteY370" fmla="*/ 2965324 h 5120141"/>
                <a:gd name="connsiteX371" fmla="*/ 2457049 w 3832826"/>
                <a:gd name="connsiteY371" fmla="*/ 2961326 h 5120141"/>
                <a:gd name="connsiteX372" fmla="*/ 2457049 w 3832826"/>
                <a:gd name="connsiteY372" fmla="*/ 2941336 h 5120141"/>
                <a:gd name="connsiteX373" fmla="*/ 2461257 w 3832826"/>
                <a:gd name="connsiteY373" fmla="*/ 2927343 h 5120141"/>
                <a:gd name="connsiteX374" fmla="*/ 2463360 w 3832826"/>
                <a:gd name="connsiteY374" fmla="*/ 2917348 h 5120141"/>
                <a:gd name="connsiteX375" fmla="*/ 2467567 w 3832826"/>
                <a:gd name="connsiteY375" fmla="*/ 2907353 h 5120141"/>
                <a:gd name="connsiteX376" fmla="*/ 2473878 w 3832826"/>
                <a:gd name="connsiteY376" fmla="*/ 2899357 h 5120141"/>
                <a:gd name="connsiteX377" fmla="*/ 2488604 w 3832826"/>
                <a:gd name="connsiteY377" fmla="*/ 2885364 h 5120141"/>
                <a:gd name="connsiteX378" fmla="*/ 2509640 w 3832826"/>
                <a:gd name="connsiteY378" fmla="*/ 2865374 h 5120141"/>
                <a:gd name="connsiteX379" fmla="*/ 2646376 w 3832826"/>
                <a:gd name="connsiteY379" fmla="*/ 2743436 h 5120141"/>
                <a:gd name="connsiteX380" fmla="*/ 2650584 w 3832826"/>
                <a:gd name="connsiteY380" fmla="*/ 2755430 h 5120141"/>
                <a:gd name="connsiteX381" fmla="*/ 2654791 w 3832826"/>
                <a:gd name="connsiteY381" fmla="*/ 2765425 h 5120141"/>
                <a:gd name="connsiteX382" fmla="*/ 2663205 w 3832826"/>
                <a:gd name="connsiteY382" fmla="*/ 2773421 h 5120141"/>
                <a:gd name="connsiteX383" fmla="*/ 2671620 w 3832826"/>
                <a:gd name="connsiteY383" fmla="*/ 2773421 h 5120141"/>
                <a:gd name="connsiteX384" fmla="*/ 2675827 w 3832826"/>
                <a:gd name="connsiteY384" fmla="*/ 2775420 h 5120141"/>
                <a:gd name="connsiteX385" fmla="*/ 2688449 w 3832826"/>
                <a:gd name="connsiteY385" fmla="*/ 2779418 h 5120141"/>
                <a:gd name="connsiteX386" fmla="*/ 2696863 w 3832826"/>
                <a:gd name="connsiteY386" fmla="*/ 2785415 h 5120141"/>
                <a:gd name="connsiteX387" fmla="*/ 2701071 w 3832826"/>
                <a:gd name="connsiteY387" fmla="*/ 2787414 h 5120141"/>
                <a:gd name="connsiteX388" fmla="*/ 2709485 w 3832826"/>
                <a:gd name="connsiteY388" fmla="*/ 2785415 h 5120141"/>
                <a:gd name="connsiteX389" fmla="*/ 2715796 w 3832826"/>
                <a:gd name="connsiteY389" fmla="*/ 2779418 h 5120141"/>
                <a:gd name="connsiteX390" fmla="*/ 2722107 w 3832826"/>
                <a:gd name="connsiteY390" fmla="*/ 2775420 h 5120141"/>
                <a:gd name="connsiteX391" fmla="*/ 2728418 w 3832826"/>
                <a:gd name="connsiteY391" fmla="*/ 2773421 h 5120141"/>
                <a:gd name="connsiteX392" fmla="*/ 2747351 w 3832826"/>
                <a:gd name="connsiteY392" fmla="*/ 2769423 h 5120141"/>
                <a:gd name="connsiteX393" fmla="*/ 2764180 w 3832826"/>
                <a:gd name="connsiteY393" fmla="*/ 2773421 h 5120141"/>
                <a:gd name="connsiteX394" fmla="*/ 2783112 w 3832826"/>
                <a:gd name="connsiteY394" fmla="*/ 2779418 h 5120141"/>
                <a:gd name="connsiteX395" fmla="*/ 2795734 w 3832826"/>
                <a:gd name="connsiteY395" fmla="*/ 2793411 h 5120141"/>
                <a:gd name="connsiteX396" fmla="*/ 2799942 w 3832826"/>
                <a:gd name="connsiteY396" fmla="*/ 2793411 h 5120141"/>
                <a:gd name="connsiteX397" fmla="*/ 2804149 w 3832826"/>
                <a:gd name="connsiteY397" fmla="*/ 2805405 h 5120141"/>
                <a:gd name="connsiteX398" fmla="*/ 2812563 w 3832826"/>
                <a:gd name="connsiteY398" fmla="*/ 2817399 h 5120141"/>
                <a:gd name="connsiteX399" fmla="*/ 2825185 w 3832826"/>
                <a:gd name="connsiteY399" fmla="*/ 2845384 h 5120141"/>
                <a:gd name="connsiteX400" fmla="*/ 2835703 w 3832826"/>
                <a:gd name="connsiteY400" fmla="*/ 2873370 h 5120141"/>
                <a:gd name="connsiteX401" fmla="*/ 2842014 w 3832826"/>
                <a:gd name="connsiteY401" fmla="*/ 2885364 h 5120141"/>
                <a:gd name="connsiteX402" fmla="*/ 2847737 w 3832826"/>
                <a:gd name="connsiteY402" fmla="*/ 2896240 h 5120141"/>
                <a:gd name="connsiteX403" fmla="*/ 2848292 w 3832826"/>
                <a:gd name="connsiteY403" fmla="*/ 2895738 h 5120141"/>
                <a:gd name="connsiteX404" fmla="*/ 2873502 w 3832826"/>
                <a:gd name="connsiteY404" fmla="*/ 2911778 h 5120141"/>
                <a:gd name="connsiteX405" fmla="*/ 2898892 w 3832826"/>
                <a:gd name="connsiteY405" fmla="*/ 2921802 h 5120141"/>
                <a:gd name="connsiteX406" fmla="*/ 2921942 w 3832826"/>
                <a:gd name="connsiteY406" fmla="*/ 2935837 h 5120141"/>
                <a:gd name="connsiteX407" fmla="*/ 2932386 w 3832826"/>
                <a:gd name="connsiteY407" fmla="*/ 2943857 h 5120141"/>
                <a:gd name="connsiteX408" fmla="*/ 2943010 w 3832826"/>
                <a:gd name="connsiteY408" fmla="*/ 2953882 h 5120141"/>
                <a:gd name="connsiteX409" fmla="*/ 2957776 w 3832826"/>
                <a:gd name="connsiteY409" fmla="*/ 2965912 h 5120141"/>
                <a:gd name="connsiteX410" fmla="*/ 2964078 w 3832826"/>
                <a:gd name="connsiteY410" fmla="*/ 2973932 h 5120141"/>
                <a:gd name="connsiteX411" fmla="*/ 2970381 w 3832826"/>
                <a:gd name="connsiteY411" fmla="*/ 2977942 h 5120141"/>
                <a:gd name="connsiteX412" fmla="*/ 2985147 w 3832826"/>
                <a:gd name="connsiteY412" fmla="*/ 2979947 h 5120141"/>
                <a:gd name="connsiteX413" fmla="*/ 2995591 w 3832826"/>
                <a:gd name="connsiteY413" fmla="*/ 2979947 h 5120141"/>
                <a:gd name="connsiteX414" fmla="*/ 3006035 w 3832826"/>
                <a:gd name="connsiteY414" fmla="*/ 2983957 h 5120141"/>
                <a:gd name="connsiteX415" fmla="*/ 3018640 w 3832826"/>
                <a:gd name="connsiteY415" fmla="*/ 2993981 h 5120141"/>
                <a:gd name="connsiteX416" fmla="*/ 3024942 w 3832826"/>
                <a:gd name="connsiteY416" fmla="*/ 2999996 h 5120141"/>
                <a:gd name="connsiteX417" fmla="*/ 3027103 w 3832826"/>
                <a:gd name="connsiteY417" fmla="*/ 3006011 h 5120141"/>
                <a:gd name="connsiteX418" fmla="*/ 3027103 w 3832826"/>
                <a:gd name="connsiteY418" fmla="*/ 3008016 h 5120141"/>
                <a:gd name="connsiteX419" fmla="*/ 3024942 w 3832826"/>
                <a:gd name="connsiteY419" fmla="*/ 3014031 h 5120141"/>
                <a:gd name="connsiteX420" fmla="*/ 3018640 w 3832826"/>
                <a:gd name="connsiteY420" fmla="*/ 3020046 h 5120141"/>
                <a:gd name="connsiteX421" fmla="*/ 3014498 w 3832826"/>
                <a:gd name="connsiteY421" fmla="*/ 3029937 h 5120141"/>
                <a:gd name="connsiteX422" fmla="*/ 3014498 w 3832826"/>
                <a:gd name="connsiteY422" fmla="*/ 3043972 h 5120141"/>
                <a:gd name="connsiteX423" fmla="*/ 3014498 w 3832826"/>
                <a:gd name="connsiteY423" fmla="*/ 3049987 h 5120141"/>
                <a:gd name="connsiteX424" fmla="*/ 3024942 w 3832826"/>
                <a:gd name="connsiteY424" fmla="*/ 3074047 h 5120141"/>
                <a:gd name="connsiteX425" fmla="*/ 3024942 w 3832826"/>
                <a:gd name="connsiteY425" fmla="*/ 3084071 h 5120141"/>
                <a:gd name="connsiteX426" fmla="*/ 3022962 w 3832826"/>
                <a:gd name="connsiteY426" fmla="*/ 3088081 h 5120141"/>
                <a:gd name="connsiteX427" fmla="*/ 3022962 w 3832826"/>
                <a:gd name="connsiteY427" fmla="*/ 3090086 h 5120141"/>
                <a:gd name="connsiteX428" fmla="*/ 3024942 w 3832826"/>
                <a:gd name="connsiteY428" fmla="*/ 3094096 h 5120141"/>
                <a:gd name="connsiteX429" fmla="*/ 3033406 w 3832826"/>
                <a:gd name="connsiteY429" fmla="*/ 3100111 h 5120141"/>
                <a:gd name="connsiteX430" fmla="*/ 3046011 w 3832826"/>
                <a:gd name="connsiteY430" fmla="*/ 3106126 h 5120141"/>
                <a:gd name="connsiteX431" fmla="*/ 3056635 w 3832826"/>
                <a:gd name="connsiteY431" fmla="*/ 3108131 h 5120141"/>
                <a:gd name="connsiteX432" fmla="*/ 3064918 w 3832826"/>
                <a:gd name="connsiteY432" fmla="*/ 3110136 h 5120141"/>
                <a:gd name="connsiteX433" fmla="*/ 3075542 w 3832826"/>
                <a:gd name="connsiteY433" fmla="*/ 3118156 h 5120141"/>
                <a:gd name="connsiteX434" fmla="*/ 3088147 w 3832826"/>
                <a:gd name="connsiteY434" fmla="*/ 3138206 h 5120141"/>
                <a:gd name="connsiteX435" fmla="*/ 3096611 w 3832826"/>
                <a:gd name="connsiteY435" fmla="*/ 3152240 h 5120141"/>
                <a:gd name="connsiteX436" fmla="*/ 3096611 w 3832826"/>
                <a:gd name="connsiteY436" fmla="*/ 3162265 h 5120141"/>
                <a:gd name="connsiteX437" fmla="*/ 3096611 w 3832826"/>
                <a:gd name="connsiteY437" fmla="*/ 3166275 h 5120141"/>
                <a:gd name="connsiteX438" fmla="*/ 3090308 w 3832826"/>
                <a:gd name="connsiteY438" fmla="*/ 3168280 h 5120141"/>
                <a:gd name="connsiteX439" fmla="*/ 3088147 w 3832826"/>
                <a:gd name="connsiteY439" fmla="*/ 3168280 h 5120141"/>
                <a:gd name="connsiteX440" fmla="*/ 3085987 w 3832826"/>
                <a:gd name="connsiteY440" fmla="*/ 3170285 h 5120141"/>
                <a:gd name="connsiteX441" fmla="*/ 3085987 w 3832826"/>
                <a:gd name="connsiteY441" fmla="*/ 3178305 h 5120141"/>
                <a:gd name="connsiteX442" fmla="*/ 3088147 w 3832826"/>
                <a:gd name="connsiteY442" fmla="*/ 3182315 h 5120141"/>
                <a:gd name="connsiteX443" fmla="*/ 3090308 w 3832826"/>
                <a:gd name="connsiteY443" fmla="*/ 3186325 h 5120141"/>
                <a:gd name="connsiteX444" fmla="*/ 3092289 w 3832826"/>
                <a:gd name="connsiteY444" fmla="*/ 3190335 h 5120141"/>
                <a:gd name="connsiteX445" fmla="*/ 3098592 w 3832826"/>
                <a:gd name="connsiteY445" fmla="*/ 3208380 h 5120141"/>
                <a:gd name="connsiteX446" fmla="*/ 3102913 w 3832826"/>
                <a:gd name="connsiteY446" fmla="*/ 3222415 h 5120141"/>
                <a:gd name="connsiteX447" fmla="*/ 3107055 w 3832826"/>
                <a:gd name="connsiteY447" fmla="*/ 3238454 h 5120141"/>
                <a:gd name="connsiteX448" fmla="*/ 3109216 w 3832826"/>
                <a:gd name="connsiteY448" fmla="*/ 3246474 h 5120141"/>
                <a:gd name="connsiteX449" fmla="*/ 3113357 w 3832826"/>
                <a:gd name="connsiteY449" fmla="*/ 3248479 h 5120141"/>
                <a:gd name="connsiteX450" fmla="*/ 3130284 w 3832826"/>
                <a:gd name="connsiteY450" fmla="*/ 3252489 h 5120141"/>
                <a:gd name="connsiteX451" fmla="*/ 3159636 w 3832826"/>
                <a:gd name="connsiteY451" fmla="*/ 3266524 h 5120141"/>
                <a:gd name="connsiteX452" fmla="*/ 3187007 w 3832826"/>
                <a:gd name="connsiteY452" fmla="*/ 3278554 h 5120141"/>
                <a:gd name="connsiteX453" fmla="*/ 3214377 w 3832826"/>
                <a:gd name="connsiteY453" fmla="*/ 3296598 h 5120141"/>
                <a:gd name="connsiteX454" fmla="*/ 3243729 w 3832826"/>
                <a:gd name="connsiteY454" fmla="*/ 3308495 h 5120141"/>
                <a:gd name="connsiteX455" fmla="*/ 3250032 w 3832826"/>
                <a:gd name="connsiteY455" fmla="*/ 3312505 h 5120141"/>
                <a:gd name="connsiteX456" fmla="*/ 3260656 w 3832826"/>
                <a:gd name="connsiteY456" fmla="*/ 3326539 h 5120141"/>
                <a:gd name="connsiteX457" fmla="*/ 3269119 w 3832826"/>
                <a:gd name="connsiteY457" fmla="*/ 3338569 h 5120141"/>
                <a:gd name="connsiteX458" fmla="*/ 3275422 w 3832826"/>
                <a:gd name="connsiteY458" fmla="*/ 3352604 h 5120141"/>
                <a:gd name="connsiteX459" fmla="*/ 3285866 w 3832826"/>
                <a:gd name="connsiteY459" fmla="*/ 3384684 h 5120141"/>
                <a:gd name="connsiteX460" fmla="*/ 3292168 w 3832826"/>
                <a:gd name="connsiteY460" fmla="*/ 3410748 h 5120141"/>
                <a:gd name="connsiteX461" fmla="*/ 3300632 w 3832826"/>
                <a:gd name="connsiteY461" fmla="*/ 3434808 h 5120141"/>
                <a:gd name="connsiteX462" fmla="*/ 3309095 w 3832826"/>
                <a:gd name="connsiteY462" fmla="*/ 3458868 h 5120141"/>
                <a:gd name="connsiteX463" fmla="*/ 3311076 w 3832826"/>
                <a:gd name="connsiteY463" fmla="*/ 3468892 h 5120141"/>
                <a:gd name="connsiteX464" fmla="*/ 3313237 w 3832826"/>
                <a:gd name="connsiteY464" fmla="*/ 3474907 h 5120141"/>
                <a:gd name="connsiteX465" fmla="*/ 3313237 w 3832826"/>
                <a:gd name="connsiteY465" fmla="*/ 3478917 h 5120141"/>
                <a:gd name="connsiteX466" fmla="*/ 3309095 w 3832826"/>
                <a:gd name="connsiteY466" fmla="*/ 3482927 h 5120141"/>
                <a:gd name="connsiteX467" fmla="*/ 3302793 w 3832826"/>
                <a:gd name="connsiteY467" fmla="*/ 3488942 h 5120141"/>
                <a:gd name="connsiteX468" fmla="*/ 3296310 w 3832826"/>
                <a:gd name="connsiteY468" fmla="*/ 3490947 h 5120141"/>
                <a:gd name="connsiteX469" fmla="*/ 3296310 w 3832826"/>
                <a:gd name="connsiteY469" fmla="*/ 3498967 h 5120141"/>
                <a:gd name="connsiteX470" fmla="*/ 3296310 w 3832826"/>
                <a:gd name="connsiteY470" fmla="*/ 3508992 h 5120141"/>
                <a:gd name="connsiteX471" fmla="*/ 3300632 w 3832826"/>
                <a:gd name="connsiteY471" fmla="*/ 3531047 h 5120141"/>
                <a:gd name="connsiteX472" fmla="*/ 3309095 w 3832826"/>
                <a:gd name="connsiteY472" fmla="*/ 3553101 h 5120141"/>
                <a:gd name="connsiteX473" fmla="*/ 3313237 w 3832826"/>
                <a:gd name="connsiteY473" fmla="*/ 3563126 h 5120141"/>
                <a:gd name="connsiteX474" fmla="*/ 3319539 w 3832826"/>
                <a:gd name="connsiteY474" fmla="*/ 3567002 h 5120141"/>
                <a:gd name="connsiteX475" fmla="*/ 3317645 w 3832826"/>
                <a:gd name="connsiteY475" fmla="*/ 3567042 h 5120141"/>
                <a:gd name="connsiteX476" fmla="*/ 3330079 w 3832826"/>
                <a:gd name="connsiteY476" fmla="*/ 3577062 h 5120141"/>
                <a:gd name="connsiteX477" fmla="*/ 3334316 w 3832826"/>
                <a:gd name="connsiteY477" fmla="*/ 3585058 h 5120141"/>
                <a:gd name="connsiteX478" fmla="*/ 3334316 w 3832826"/>
                <a:gd name="connsiteY478" fmla="*/ 3593054 h 5120141"/>
                <a:gd name="connsiteX479" fmla="*/ 3334316 w 3832826"/>
                <a:gd name="connsiteY479" fmla="*/ 3603030 h 5120141"/>
                <a:gd name="connsiteX480" fmla="*/ 3332198 w 3832826"/>
                <a:gd name="connsiteY480" fmla="*/ 3607066 h 5120141"/>
                <a:gd name="connsiteX481" fmla="*/ 3323724 w 3832826"/>
                <a:gd name="connsiteY481" fmla="*/ 3609046 h 5120141"/>
                <a:gd name="connsiteX482" fmla="*/ 3319599 w 3832826"/>
                <a:gd name="connsiteY482" fmla="*/ 3613006 h 5120141"/>
                <a:gd name="connsiteX483" fmla="*/ 3319599 w 3832826"/>
                <a:gd name="connsiteY483" fmla="*/ 3617042 h 5120141"/>
                <a:gd name="connsiteX484" fmla="*/ 3319599 w 3832826"/>
                <a:gd name="connsiteY484" fmla="*/ 3619021 h 5120141"/>
                <a:gd name="connsiteX485" fmla="*/ 3323724 w 3832826"/>
                <a:gd name="connsiteY485" fmla="*/ 3625037 h 5120141"/>
                <a:gd name="connsiteX486" fmla="*/ 3330079 w 3832826"/>
                <a:gd name="connsiteY486" fmla="*/ 3627017 h 5120141"/>
                <a:gd name="connsiteX487" fmla="*/ 3332198 w 3832826"/>
                <a:gd name="connsiteY487" fmla="*/ 3628997 h 5120141"/>
                <a:gd name="connsiteX488" fmla="*/ 3340560 w 3832826"/>
                <a:gd name="connsiteY488" fmla="*/ 3644989 h 5120141"/>
                <a:gd name="connsiteX489" fmla="*/ 3351151 w 3832826"/>
                <a:gd name="connsiteY489" fmla="*/ 3657021 h 5120141"/>
                <a:gd name="connsiteX490" fmla="*/ 3372112 w 3832826"/>
                <a:gd name="connsiteY490" fmla="*/ 3684968 h 5120141"/>
                <a:gd name="connsiteX491" fmla="*/ 3372112 w 3832826"/>
                <a:gd name="connsiteY491" fmla="*/ 3687024 h 5120141"/>
                <a:gd name="connsiteX492" fmla="*/ 3372112 w 3832826"/>
                <a:gd name="connsiteY492" fmla="*/ 3689004 h 5120141"/>
                <a:gd name="connsiteX493" fmla="*/ 3367875 w 3832826"/>
                <a:gd name="connsiteY493" fmla="*/ 3695020 h 5120141"/>
                <a:gd name="connsiteX494" fmla="*/ 3363750 w 3832826"/>
                <a:gd name="connsiteY494" fmla="*/ 3703016 h 5120141"/>
                <a:gd name="connsiteX495" fmla="*/ 3363750 w 3832826"/>
                <a:gd name="connsiteY495" fmla="*/ 3704996 h 5120141"/>
                <a:gd name="connsiteX496" fmla="*/ 3363750 w 3832826"/>
                <a:gd name="connsiteY496" fmla="*/ 3706976 h 5120141"/>
                <a:gd name="connsiteX497" fmla="*/ 3367875 w 3832826"/>
                <a:gd name="connsiteY497" fmla="*/ 3716951 h 5120141"/>
                <a:gd name="connsiteX498" fmla="*/ 3374230 w 3832826"/>
                <a:gd name="connsiteY498" fmla="*/ 3722967 h 5120141"/>
                <a:gd name="connsiteX499" fmla="*/ 3382704 w 3832826"/>
                <a:gd name="connsiteY499" fmla="*/ 3728983 h 5120141"/>
                <a:gd name="connsiteX500" fmla="*/ 3388948 w 3832826"/>
                <a:gd name="connsiteY500" fmla="*/ 3734923 h 5120141"/>
                <a:gd name="connsiteX501" fmla="*/ 3395303 w 3832826"/>
                <a:gd name="connsiteY501" fmla="*/ 3746955 h 5120141"/>
                <a:gd name="connsiteX502" fmla="*/ 3397421 w 3832826"/>
                <a:gd name="connsiteY502" fmla="*/ 3756931 h 5120141"/>
                <a:gd name="connsiteX503" fmla="*/ 3397421 w 3832826"/>
                <a:gd name="connsiteY503" fmla="*/ 3766907 h 5120141"/>
                <a:gd name="connsiteX504" fmla="*/ 3399428 w 3832826"/>
                <a:gd name="connsiteY504" fmla="*/ 3778939 h 5120141"/>
                <a:gd name="connsiteX505" fmla="*/ 3407901 w 3832826"/>
                <a:gd name="connsiteY505" fmla="*/ 3798890 h 5120141"/>
                <a:gd name="connsiteX506" fmla="*/ 3416263 w 3832826"/>
                <a:gd name="connsiteY506" fmla="*/ 3808942 h 5120141"/>
                <a:gd name="connsiteX507" fmla="*/ 3424737 w 3832826"/>
                <a:gd name="connsiteY507" fmla="*/ 3816938 h 5120141"/>
                <a:gd name="connsiteX508" fmla="*/ 3431092 w 3832826"/>
                <a:gd name="connsiteY508" fmla="*/ 3820898 h 5120141"/>
                <a:gd name="connsiteX509" fmla="*/ 3437335 w 3832826"/>
                <a:gd name="connsiteY509" fmla="*/ 3820898 h 5120141"/>
                <a:gd name="connsiteX510" fmla="*/ 3449934 w 3832826"/>
                <a:gd name="connsiteY510" fmla="*/ 3820898 h 5120141"/>
                <a:gd name="connsiteX511" fmla="*/ 3456289 w 3832826"/>
                <a:gd name="connsiteY511" fmla="*/ 3824934 h 5120141"/>
                <a:gd name="connsiteX512" fmla="*/ 3460526 w 3832826"/>
                <a:gd name="connsiteY512" fmla="*/ 3826914 h 5120141"/>
                <a:gd name="connsiteX513" fmla="*/ 3466770 w 3832826"/>
                <a:gd name="connsiteY513" fmla="*/ 3830874 h 5120141"/>
                <a:gd name="connsiteX514" fmla="*/ 3468888 w 3832826"/>
                <a:gd name="connsiteY514" fmla="*/ 3840925 h 5120141"/>
                <a:gd name="connsiteX515" fmla="*/ 3466770 w 3832826"/>
                <a:gd name="connsiteY515" fmla="*/ 3840925 h 5120141"/>
                <a:gd name="connsiteX516" fmla="*/ 3462644 w 3832826"/>
                <a:gd name="connsiteY516" fmla="*/ 3844885 h 5120141"/>
                <a:gd name="connsiteX517" fmla="*/ 3458408 w 3832826"/>
                <a:gd name="connsiteY517" fmla="*/ 3846865 h 5120141"/>
                <a:gd name="connsiteX518" fmla="*/ 3456289 w 3832826"/>
                <a:gd name="connsiteY518" fmla="*/ 3848921 h 5120141"/>
                <a:gd name="connsiteX519" fmla="*/ 3458408 w 3832826"/>
                <a:gd name="connsiteY519" fmla="*/ 3854861 h 5120141"/>
                <a:gd name="connsiteX520" fmla="*/ 3462644 w 3832826"/>
                <a:gd name="connsiteY520" fmla="*/ 3856917 h 5120141"/>
                <a:gd name="connsiteX521" fmla="*/ 3468888 w 3832826"/>
                <a:gd name="connsiteY521" fmla="*/ 3860877 h 5120141"/>
                <a:gd name="connsiteX522" fmla="*/ 3481487 w 3832826"/>
                <a:gd name="connsiteY522" fmla="*/ 3874889 h 5120141"/>
                <a:gd name="connsiteX523" fmla="*/ 3487842 w 3832826"/>
                <a:gd name="connsiteY523" fmla="*/ 3880828 h 5120141"/>
                <a:gd name="connsiteX524" fmla="*/ 3489960 w 3832826"/>
                <a:gd name="connsiteY524" fmla="*/ 3888824 h 5120141"/>
                <a:gd name="connsiteX525" fmla="*/ 3489960 w 3832826"/>
                <a:gd name="connsiteY525" fmla="*/ 3898876 h 5120141"/>
                <a:gd name="connsiteX526" fmla="*/ 3483605 w 3832826"/>
                <a:gd name="connsiteY526" fmla="*/ 3910832 h 5120141"/>
                <a:gd name="connsiteX527" fmla="*/ 3477361 w 3832826"/>
                <a:gd name="connsiteY527" fmla="*/ 3924844 h 5120141"/>
                <a:gd name="connsiteX528" fmla="*/ 3477361 w 3832826"/>
                <a:gd name="connsiteY528" fmla="*/ 3934819 h 5120141"/>
                <a:gd name="connsiteX529" fmla="*/ 3477361 w 3832826"/>
                <a:gd name="connsiteY529" fmla="*/ 3946851 h 5120141"/>
                <a:gd name="connsiteX530" fmla="*/ 3481487 w 3832826"/>
                <a:gd name="connsiteY530" fmla="*/ 3960787 h 5120141"/>
                <a:gd name="connsiteX531" fmla="*/ 3492078 w 3832826"/>
                <a:gd name="connsiteY531" fmla="*/ 3988810 h 5120141"/>
                <a:gd name="connsiteX532" fmla="*/ 3498322 w 3832826"/>
                <a:gd name="connsiteY532" fmla="*/ 3998786 h 5120141"/>
                <a:gd name="connsiteX533" fmla="*/ 3502559 w 3832826"/>
                <a:gd name="connsiteY533" fmla="*/ 4006782 h 5120141"/>
                <a:gd name="connsiteX534" fmla="*/ 3513039 w 3832826"/>
                <a:gd name="connsiteY534" fmla="*/ 4012798 h 5120141"/>
                <a:gd name="connsiteX535" fmla="*/ 3521513 w 3832826"/>
                <a:gd name="connsiteY535" fmla="*/ 4022774 h 5120141"/>
                <a:gd name="connsiteX536" fmla="*/ 3523631 w 3832826"/>
                <a:gd name="connsiteY536" fmla="*/ 4028790 h 5120141"/>
                <a:gd name="connsiteX537" fmla="*/ 3523631 w 3832826"/>
                <a:gd name="connsiteY537" fmla="*/ 4036785 h 5120141"/>
                <a:gd name="connsiteX538" fmla="*/ 3523631 w 3832826"/>
                <a:gd name="connsiteY538" fmla="*/ 4048741 h 5120141"/>
                <a:gd name="connsiteX539" fmla="*/ 3521513 w 3832826"/>
                <a:gd name="connsiteY539" fmla="*/ 4066713 h 5120141"/>
                <a:gd name="connsiteX540" fmla="*/ 3521513 w 3832826"/>
                <a:gd name="connsiteY540" fmla="*/ 4078744 h 5120141"/>
                <a:gd name="connsiteX541" fmla="*/ 3525749 w 3832826"/>
                <a:gd name="connsiteY541" fmla="*/ 4100752 h 5120141"/>
                <a:gd name="connsiteX542" fmla="*/ 3540466 w 3832826"/>
                <a:gd name="connsiteY542" fmla="*/ 4136695 h 5120141"/>
                <a:gd name="connsiteX543" fmla="*/ 3557302 w 3832826"/>
                <a:gd name="connsiteY543" fmla="*/ 4182690 h 5120141"/>
                <a:gd name="connsiteX544" fmla="*/ 3555183 w 3832826"/>
                <a:gd name="connsiteY544" fmla="*/ 4186650 h 5120141"/>
                <a:gd name="connsiteX545" fmla="*/ 3557302 w 3832826"/>
                <a:gd name="connsiteY545" fmla="*/ 4192666 h 5120141"/>
                <a:gd name="connsiteX546" fmla="*/ 3567782 w 3832826"/>
                <a:gd name="connsiteY546" fmla="*/ 4214674 h 5120141"/>
                <a:gd name="connsiteX547" fmla="*/ 3578262 w 3832826"/>
                <a:gd name="connsiteY547" fmla="*/ 4240641 h 5120141"/>
                <a:gd name="connsiteX548" fmla="*/ 3582499 w 3832826"/>
                <a:gd name="connsiteY548" fmla="*/ 4250617 h 5120141"/>
                <a:gd name="connsiteX549" fmla="*/ 3582499 w 3832826"/>
                <a:gd name="connsiteY549" fmla="*/ 4260593 h 5120141"/>
                <a:gd name="connsiteX550" fmla="*/ 3578262 w 3832826"/>
                <a:gd name="connsiteY550" fmla="*/ 4260593 h 5120141"/>
                <a:gd name="connsiteX551" fmla="*/ 3576144 w 3832826"/>
                <a:gd name="connsiteY551" fmla="*/ 4264629 h 5120141"/>
                <a:gd name="connsiteX552" fmla="*/ 3572019 w 3832826"/>
                <a:gd name="connsiteY552" fmla="*/ 4270645 h 5120141"/>
                <a:gd name="connsiteX553" fmla="*/ 3565664 w 3832826"/>
                <a:gd name="connsiteY553" fmla="*/ 4272624 h 5120141"/>
                <a:gd name="connsiteX554" fmla="*/ 3563545 w 3832826"/>
                <a:gd name="connsiteY554" fmla="*/ 4278640 h 5120141"/>
                <a:gd name="connsiteX555" fmla="*/ 3561427 w 3832826"/>
                <a:gd name="connsiteY555" fmla="*/ 4288616 h 5120141"/>
                <a:gd name="connsiteX556" fmla="*/ 3561427 w 3832826"/>
                <a:gd name="connsiteY556" fmla="*/ 4300572 h 5120141"/>
                <a:gd name="connsiteX557" fmla="*/ 3557302 w 3832826"/>
                <a:gd name="connsiteY557" fmla="*/ 4324559 h 5120141"/>
                <a:gd name="connsiteX558" fmla="*/ 3556313 w 3832826"/>
                <a:gd name="connsiteY558" fmla="*/ 4324559 h 5120141"/>
                <a:gd name="connsiteX559" fmla="*/ 3557250 w 3832826"/>
                <a:gd name="connsiteY559" fmla="*/ 4324566 h 5120141"/>
                <a:gd name="connsiteX560" fmla="*/ 3561457 w 3832826"/>
                <a:gd name="connsiteY560" fmla="*/ 4324566 h 5120141"/>
                <a:gd name="connsiteX561" fmla="*/ 3687675 w 3832826"/>
                <a:gd name="connsiteY561" fmla="*/ 4322562 h 5120141"/>
                <a:gd name="connsiteX562" fmla="*/ 3815997 w 3832826"/>
                <a:gd name="connsiteY562" fmla="*/ 4322562 h 5120141"/>
                <a:gd name="connsiteX563" fmla="*/ 3820204 w 3832826"/>
                <a:gd name="connsiteY563" fmla="*/ 4362642 h 5120141"/>
                <a:gd name="connsiteX564" fmla="*/ 3820204 w 3832826"/>
                <a:gd name="connsiteY564" fmla="*/ 4388693 h 5120141"/>
                <a:gd name="connsiteX565" fmla="*/ 3815997 w 3832826"/>
                <a:gd name="connsiteY565" fmla="*/ 4394705 h 5120141"/>
                <a:gd name="connsiteX566" fmla="*/ 3813893 w 3832826"/>
                <a:gd name="connsiteY566" fmla="*/ 4398713 h 5120141"/>
                <a:gd name="connsiteX567" fmla="*/ 3803375 w 3832826"/>
                <a:gd name="connsiteY567" fmla="*/ 4398713 h 5120141"/>
                <a:gd name="connsiteX568" fmla="*/ 3799168 w 3832826"/>
                <a:gd name="connsiteY568" fmla="*/ 4402721 h 5120141"/>
                <a:gd name="connsiteX569" fmla="*/ 3799168 w 3832826"/>
                <a:gd name="connsiteY569" fmla="*/ 4408733 h 5120141"/>
                <a:gd name="connsiteX570" fmla="*/ 3801272 w 3832826"/>
                <a:gd name="connsiteY570" fmla="*/ 4420757 h 5120141"/>
                <a:gd name="connsiteX571" fmla="*/ 3801272 w 3832826"/>
                <a:gd name="connsiteY571" fmla="*/ 4422761 h 5120141"/>
                <a:gd name="connsiteX572" fmla="*/ 3805479 w 3832826"/>
                <a:gd name="connsiteY572" fmla="*/ 4424765 h 5120141"/>
                <a:gd name="connsiteX573" fmla="*/ 3815997 w 3832826"/>
                <a:gd name="connsiteY573" fmla="*/ 4422761 h 5120141"/>
                <a:gd name="connsiteX574" fmla="*/ 3826515 w 3832826"/>
                <a:gd name="connsiteY574" fmla="*/ 4422761 h 5120141"/>
                <a:gd name="connsiteX575" fmla="*/ 3830723 w 3832826"/>
                <a:gd name="connsiteY575" fmla="*/ 4424765 h 5120141"/>
                <a:gd name="connsiteX576" fmla="*/ 3832826 w 3832826"/>
                <a:gd name="connsiteY576" fmla="*/ 4430776 h 5120141"/>
                <a:gd name="connsiteX577" fmla="*/ 3830723 w 3832826"/>
                <a:gd name="connsiteY577" fmla="*/ 4436788 h 5120141"/>
                <a:gd name="connsiteX578" fmla="*/ 3826515 w 3832826"/>
                <a:gd name="connsiteY578" fmla="*/ 4436788 h 5120141"/>
                <a:gd name="connsiteX579" fmla="*/ 3822308 w 3832826"/>
                <a:gd name="connsiteY579" fmla="*/ 4440796 h 5120141"/>
                <a:gd name="connsiteX580" fmla="*/ 3822308 w 3832826"/>
                <a:gd name="connsiteY580" fmla="*/ 4444804 h 5120141"/>
                <a:gd name="connsiteX581" fmla="*/ 3822308 w 3832826"/>
                <a:gd name="connsiteY581" fmla="*/ 4502919 h 5120141"/>
                <a:gd name="connsiteX582" fmla="*/ 3824412 w 3832826"/>
                <a:gd name="connsiteY582" fmla="*/ 4557026 h 5120141"/>
                <a:gd name="connsiteX583" fmla="*/ 3826515 w 3832826"/>
                <a:gd name="connsiteY583" fmla="*/ 4723356 h 5120141"/>
                <a:gd name="connsiteX584" fmla="*/ 3826515 w 3832826"/>
                <a:gd name="connsiteY584" fmla="*/ 4805518 h 5120141"/>
                <a:gd name="connsiteX585" fmla="*/ 3826515 w 3832826"/>
                <a:gd name="connsiteY585" fmla="*/ 4887681 h 5120141"/>
                <a:gd name="connsiteX586" fmla="*/ 3815997 w 3832826"/>
                <a:gd name="connsiteY586" fmla="*/ 4885677 h 5120141"/>
                <a:gd name="connsiteX587" fmla="*/ 3820204 w 3832826"/>
                <a:gd name="connsiteY587" fmla="*/ 4985875 h 5120141"/>
                <a:gd name="connsiteX588" fmla="*/ 3820204 w 3832826"/>
                <a:gd name="connsiteY588" fmla="*/ 5072046 h 5120141"/>
                <a:gd name="connsiteX589" fmla="*/ 3822308 w 3832826"/>
                <a:gd name="connsiteY589" fmla="*/ 5072046 h 5120141"/>
                <a:gd name="connsiteX590" fmla="*/ 3822308 w 3832826"/>
                <a:gd name="connsiteY590" fmla="*/ 5088078 h 5120141"/>
                <a:gd name="connsiteX591" fmla="*/ 3822308 w 3832826"/>
                <a:gd name="connsiteY591" fmla="*/ 5100102 h 5120141"/>
                <a:gd name="connsiteX592" fmla="*/ 3820204 w 3832826"/>
                <a:gd name="connsiteY592" fmla="*/ 5104109 h 5120141"/>
                <a:gd name="connsiteX593" fmla="*/ 3815997 w 3832826"/>
                <a:gd name="connsiteY593" fmla="*/ 5108117 h 5120141"/>
                <a:gd name="connsiteX594" fmla="*/ 3809686 w 3832826"/>
                <a:gd name="connsiteY594" fmla="*/ 5108117 h 5120141"/>
                <a:gd name="connsiteX595" fmla="*/ 3801272 w 3832826"/>
                <a:gd name="connsiteY595" fmla="*/ 5108117 h 5120141"/>
                <a:gd name="connsiteX596" fmla="*/ 3370026 w 3832826"/>
                <a:gd name="connsiteY596" fmla="*/ 5110121 h 5120141"/>
                <a:gd name="connsiteX597" fmla="*/ 2940884 w 3832826"/>
                <a:gd name="connsiteY597" fmla="*/ 5112125 h 5120141"/>
                <a:gd name="connsiteX598" fmla="*/ 2903018 w 3832826"/>
                <a:gd name="connsiteY598" fmla="*/ 5112125 h 5120141"/>
                <a:gd name="connsiteX599" fmla="*/ 2898811 w 3832826"/>
                <a:gd name="connsiteY599" fmla="*/ 5118137 h 5120141"/>
                <a:gd name="connsiteX600" fmla="*/ 2888293 w 3832826"/>
                <a:gd name="connsiteY600" fmla="*/ 5120141 h 5120141"/>
                <a:gd name="connsiteX601" fmla="*/ 2860945 w 3832826"/>
                <a:gd name="connsiteY601" fmla="*/ 5120141 h 5120141"/>
                <a:gd name="connsiteX602" fmla="*/ 2808354 w 3832826"/>
                <a:gd name="connsiteY602" fmla="*/ 5118137 h 5120141"/>
                <a:gd name="connsiteX603" fmla="*/ 2747349 w 3832826"/>
                <a:gd name="connsiteY603" fmla="*/ 5120141 h 5120141"/>
                <a:gd name="connsiteX604" fmla="*/ 2713691 w 3832826"/>
                <a:gd name="connsiteY604" fmla="*/ 5120141 h 5120141"/>
                <a:gd name="connsiteX605" fmla="*/ 2701069 w 3832826"/>
                <a:gd name="connsiteY605" fmla="*/ 5118137 h 5120141"/>
                <a:gd name="connsiteX606" fmla="*/ 2692654 w 3832826"/>
                <a:gd name="connsiteY606" fmla="*/ 5114129 h 5120141"/>
                <a:gd name="connsiteX607" fmla="*/ 2690551 w 3832826"/>
                <a:gd name="connsiteY607" fmla="*/ 5108117 h 5120141"/>
                <a:gd name="connsiteX608" fmla="*/ 2690551 w 3832826"/>
                <a:gd name="connsiteY608" fmla="*/ 5100102 h 5120141"/>
                <a:gd name="connsiteX609" fmla="*/ 2690551 w 3832826"/>
                <a:gd name="connsiteY609" fmla="*/ 5084070 h 5120141"/>
                <a:gd name="connsiteX610" fmla="*/ 2690551 w 3832826"/>
                <a:gd name="connsiteY610" fmla="*/ 5082066 h 5120141"/>
                <a:gd name="connsiteX611" fmla="*/ 2688447 w 3832826"/>
                <a:gd name="connsiteY611" fmla="*/ 5080062 h 5120141"/>
                <a:gd name="connsiteX612" fmla="*/ 2682136 w 3832826"/>
                <a:gd name="connsiteY612" fmla="*/ 5080062 h 5120141"/>
                <a:gd name="connsiteX613" fmla="*/ 2675825 w 3832826"/>
                <a:gd name="connsiteY613" fmla="*/ 5080062 h 5120141"/>
                <a:gd name="connsiteX614" fmla="*/ 2669514 w 3832826"/>
                <a:gd name="connsiteY614" fmla="*/ 5080062 h 5120141"/>
                <a:gd name="connsiteX615" fmla="*/ 2667411 w 3832826"/>
                <a:gd name="connsiteY615" fmla="*/ 5078058 h 5120141"/>
                <a:gd name="connsiteX616" fmla="*/ 2667411 w 3832826"/>
                <a:gd name="connsiteY616" fmla="*/ 5072046 h 5120141"/>
                <a:gd name="connsiteX617" fmla="*/ 2658996 w 3832826"/>
                <a:gd name="connsiteY617" fmla="*/ 5070042 h 5120141"/>
                <a:gd name="connsiteX618" fmla="*/ 2627442 w 3832826"/>
                <a:gd name="connsiteY618" fmla="*/ 5070042 h 5120141"/>
                <a:gd name="connsiteX619" fmla="*/ 2612716 w 3832826"/>
                <a:gd name="connsiteY619" fmla="*/ 5070042 h 5120141"/>
                <a:gd name="connsiteX620" fmla="*/ 2604302 w 3832826"/>
                <a:gd name="connsiteY620" fmla="*/ 5070042 h 5120141"/>
                <a:gd name="connsiteX621" fmla="*/ 2602198 w 3832826"/>
                <a:gd name="connsiteY621" fmla="*/ 5068038 h 5120141"/>
                <a:gd name="connsiteX622" fmla="*/ 2597991 w 3832826"/>
                <a:gd name="connsiteY622" fmla="*/ 5064030 h 5120141"/>
                <a:gd name="connsiteX623" fmla="*/ 2595887 w 3832826"/>
                <a:gd name="connsiteY623" fmla="*/ 5052006 h 5120141"/>
                <a:gd name="connsiteX624" fmla="*/ 2593783 w 3832826"/>
                <a:gd name="connsiteY624" fmla="*/ 5047998 h 5120141"/>
                <a:gd name="connsiteX625" fmla="*/ 2591680 w 3832826"/>
                <a:gd name="connsiteY625" fmla="*/ 5047998 h 5120141"/>
                <a:gd name="connsiteX626" fmla="*/ 2576954 w 3832826"/>
                <a:gd name="connsiteY626" fmla="*/ 5045994 h 5120141"/>
                <a:gd name="connsiteX627" fmla="*/ 2551711 w 3832826"/>
                <a:gd name="connsiteY627" fmla="*/ 5047998 h 5120141"/>
                <a:gd name="connsiteX628" fmla="*/ 2530674 w 3832826"/>
                <a:gd name="connsiteY628" fmla="*/ 5045994 h 5120141"/>
                <a:gd name="connsiteX629" fmla="*/ 2528571 w 3832826"/>
                <a:gd name="connsiteY629" fmla="*/ 4975856 h 5120141"/>
                <a:gd name="connsiteX630" fmla="*/ 2528571 w 3832826"/>
                <a:gd name="connsiteY630" fmla="*/ 4905717 h 5120141"/>
                <a:gd name="connsiteX631" fmla="*/ 2524363 w 3832826"/>
                <a:gd name="connsiteY631" fmla="*/ 4899705 h 5120141"/>
                <a:gd name="connsiteX632" fmla="*/ 2522260 w 3832826"/>
                <a:gd name="connsiteY632" fmla="*/ 4895697 h 5120141"/>
                <a:gd name="connsiteX633" fmla="*/ 2509638 w 3832826"/>
                <a:gd name="connsiteY633" fmla="*/ 4891689 h 5120141"/>
                <a:gd name="connsiteX634" fmla="*/ 2492809 w 3832826"/>
                <a:gd name="connsiteY634" fmla="*/ 4889685 h 5120141"/>
                <a:gd name="connsiteX635" fmla="*/ 2478083 w 3832826"/>
                <a:gd name="connsiteY635" fmla="*/ 4889685 h 5120141"/>
                <a:gd name="connsiteX636" fmla="*/ 2471772 w 3832826"/>
                <a:gd name="connsiteY636" fmla="*/ 4887681 h 5120141"/>
                <a:gd name="connsiteX637" fmla="*/ 2467565 w 3832826"/>
                <a:gd name="connsiteY637" fmla="*/ 4881669 h 5120141"/>
                <a:gd name="connsiteX638" fmla="*/ 2465461 w 3832826"/>
                <a:gd name="connsiteY638" fmla="*/ 4871649 h 5120141"/>
                <a:gd name="connsiteX639" fmla="*/ 2465461 w 3832826"/>
                <a:gd name="connsiteY639" fmla="*/ 4861629 h 5120141"/>
                <a:gd name="connsiteX640" fmla="*/ 2467565 w 3832826"/>
                <a:gd name="connsiteY640" fmla="*/ 4839586 h 5120141"/>
                <a:gd name="connsiteX641" fmla="*/ 2467565 w 3832826"/>
                <a:gd name="connsiteY641" fmla="*/ 4823554 h 5120141"/>
                <a:gd name="connsiteX642" fmla="*/ 2391834 w 3832826"/>
                <a:gd name="connsiteY642" fmla="*/ 4823554 h 5120141"/>
                <a:gd name="connsiteX643" fmla="*/ 2393938 w 3832826"/>
                <a:gd name="connsiteY643" fmla="*/ 4755419 h 5120141"/>
                <a:gd name="connsiteX644" fmla="*/ 2343450 w 3832826"/>
                <a:gd name="connsiteY644" fmla="*/ 4759427 h 5120141"/>
                <a:gd name="connsiteX645" fmla="*/ 2311896 w 3832826"/>
                <a:gd name="connsiteY645" fmla="*/ 4759427 h 5120141"/>
                <a:gd name="connsiteX646" fmla="*/ 2301378 w 3832826"/>
                <a:gd name="connsiteY646" fmla="*/ 4757423 h 5120141"/>
                <a:gd name="connsiteX647" fmla="*/ 2295067 w 3832826"/>
                <a:gd name="connsiteY647" fmla="*/ 4755419 h 5120141"/>
                <a:gd name="connsiteX648" fmla="*/ 2290860 w 3832826"/>
                <a:gd name="connsiteY648" fmla="*/ 4749407 h 5120141"/>
                <a:gd name="connsiteX649" fmla="*/ 2290860 w 3832826"/>
                <a:gd name="connsiteY649" fmla="*/ 4745399 h 5120141"/>
                <a:gd name="connsiteX650" fmla="*/ 2290860 w 3832826"/>
                <a:gd name="connsiteY650" fmla="*/ 4727364 h 5120141"/>
                <a:gd name="connsiteX651" fmla="*/ 2290860 w 3832826"/>
                <a:gd name="connsiteY651" fmla="*/ 4699308 h 5120141"/>
                <a:gd name="connsiteX652" fmla="*/ 2290860 w 3832826"/>
                <a:gd name="connsiteY652" fmla="*/ 4687284 h 5120141"/>
                <a:gd name="connsiteX653" fmla="*/ 2288756 w 3832826"/>
                <a:gd name="connsiteY653" fmla="*/ 4685280 h 5120141"/>
                <a:gd name="connsiteX654" fmla="*/ 2284549 w 3832826"/>
                <a:gd name="connsiteY654" fmla="*/ 4683276 h 5120141"/>
                <a:gd name="connsiteX655" fmla="*/ 2274030 w 3832826"/>
                <a:gd name="connsiteY655" fmla="*/ 4683276 h 5120141"/>
                <a:gd name="connsiteX656" fmla="*/ 2259305 w 3832826"/>
                <a:gd name="connsiteY656" fmla="*/ 4685280 h 5120141"/>
                <a:gd name="connsiteX657" fmla="*/ 2255098 w 3832826"/>
                <a:gd name="connsiteY657" fmla="*/ 4683276 h 5120141"/>
                <a:gd name="connsiteX658" fmla="*/ 2248787 w 3832826"/>
                <a:gd name="connsiteY658" fmla="*/ 4679268 h 5120141"/>
                <a:gd name="connsiteX659" fmla="*/ 2244579 w 3832826"/>
                <a:gd name="connsiteY659" fmla="*/ 4673257 h 5120141"/>
                <a:gd name="connsiteX660" fmla="*/ 2244579 w 3832826"/>
                <a:gd name="connsiteY660" fmla="*/ 4663237 h 5120141"/>
                <a:gd name="connsiteX661" fmla="*/ 2244579 w 3832826"/>
                <a:gd name="connsiteY661" fmla="*/ 4649209 h 5120141"/>
                <a:gd name="connsiteX662" fmla="*/ 2244579 w 3832826"/>
                <a:gd name="connsiteY662" fmla="*/ 4637185 h 5120141"/>
                <a:gd name="connsiteX663" fmla="*/ 2244579 w 3832826"/>
                <a:gd name="connsiteY663" fmla="*/ 4627165 h 5120141"/>
                <a:gd name="connsiteX664" fmla="*/ 2242476 w 3832826"/>
                <a:gd name="connsiteY664" fmla="*/ 4623157 h 5120141"/>
                <a:gd name="connsiteX665" fmla="*/ 2236165 w 3832826"/>
                <a:gd name="connsiteY665" fmla="*/ 4617145 h 5120141"/>
                <a:gd name="connsiteX666" fmla="*/ 2234061 w 3832826"/>
                <a:gd name="connsiteY666" fmla="*/ 4617145 h 5120141"/>
                <a:gd name="connsiteX667" fmla="*/ 2225647 w 3832826"/>
                <a:gd name="connsiteY667" fmla="*/ 4615141 h 5120141"/>
                <a:gd name="connsiteX668" fmla="*/ 2194092 w 3832826"/>
                <a:gd name="connsiteY668" fmla="*/ 4617145 h 5120141"/>
                <a:gd name="connsiteX669" fmla="*/ 2179367 w 3832826"/>
                <a:gd name="connsiteY669" fmla="*/ 4617145 h 5120141"/>
                <a:gd name="connsiteX670" fmla="*/ 2164641 w 3832826"/>
                <a:gd name="connsiteY670" fmla="*/ 4613137 h 5120141"/>
                <a:gd name="connsiteX671" fmla="*/ 2162538 w 3832826"/>
                <a:gd name="connsiteY671" fmla="*/ 4607126 h 5120141"/>
                <a:gd name="connsiteX672" fmla="*/ 2160434 w 3832826"/>
                <a:gd name="connsiteY672" fmla="*/ 4597106 h 5120141"/>
                <a:gd name="connsiteX673" fmla="*/ 2154123 w 3832826"/>
                <a:gd name="connsiteY673" fmla="*/ 4583078 h 5120141"/>
                <a:gd name="connsiteX674" fmla="*/ 2149916 w 3832826"/>
                <a:gd name="connsiteY674" fmla="*/ 4581074 h 5120141"/>
                <a:gd name="connsiteX675" fmla="*/ 2143605 w 3832826"/>
                <a:gd name="connsiteY675" fmla="*/ 4575062 h 5120141"/>
                <a:gd name="connsiteX676" fmla="*/ 2133087 w 3832826"/>
                <a:gd name="connsiteY676" fmla="*/ 4571054 h 5120141"/>
                <a:gd name="connsiteX677" fmla="*/ 2130983 w 3832826"/>
                <a:gd name="connsiteY677" fmla="*/ 4565042 h 5120141"/>
                <a:gd name="connsiteX678" fmla="*/ 2130983 w 3832826"/>
                <a:gd name="connsiteY678" fmla="*/ 4561034 h 5120141"/>
                <a:gd name="connsiteX679" fmla="*/ 2130983 w 3832826"/>
                <a:gd name="connsiteY679" fmla="*/ 4553018 h 5120141"/>
                <a:gd name="connsiteX680" fmla="*/ 2130983 w 3832826"/>
                <a:gd name="connsiteY680" fmla="*/ 4551015 h 5120141"/>
                <a:gd name="connsiteX681" fmla="*/ 2126776 w 3832826"/>
                <a:gd name="connsiteY681" fmla="*/ 4545003 h 5120141"/>
                <a:gd name="connsiteX682" fmla="*/ 2122568 w 3832826"/>
                <a:gd name="connsiteY682" fmla="*/ 4545003 h 5120141"/>
                <a:gd name="connsiteX683" fmla="*/ 2120465 w 3832826"/>
                <a:gd name="connsiteY683" fmla="*/ 4545003 h 5120141"/>
                <a:gd name="connsiteX684" fmla="*/ 2118361 w 3832826"/>
                <a:gd name="connsiteY684" fmla="*/ 4536987 h 5120141"/>
                <a:gd name="connsiteX685" fmla="*/ 2116258 w 3832826"/>
                <a:gd name="connsiteY685" fmla="*/ 4536987 h 5120141"/>
                <a:gd name="connsiteX686" fmla="*/ 2109947 w 3832826"/>
                <a:gd name="connsiteY686" fmla="*/ 4536987 h 5120141"/>
                <a:gd name="connsiteX687" fmla="*/ 2107843 w 3832826"/>
                <a:gd name="connsiteY687" fmla="*/ 4536987 h 5120141"/>
                <a:gd name="connsiteX688" fmla="*/ 2107843 w 3832826"/>
                <a:gd name="connsiteY688" fmla="*/ 4534983 h 5120141"/>
                <a:gd name="connsiteX689" fmla="*/ 2105739 w 3832826"/>
                <a:gd name="connsiteY689" fmla="*/ 4500915 h 5120141"/>
                <a:gd name="connsiteX690" fmla="*/ 2105739 w 3832826"/>
                <a:gd name="connsiteY690" fmla="*/ 4476868 h 5120141"/>
                <a:gd name="connsiteX691" fmla="*/ 2101532 w 3832826"/>
                <a:gd name="connsiteY691" fmla="*/ 4470856 h 5120141"/>
                <a:gd name="connsiteX692" fmla="*/ 2099428 w 3832826"/>
                <a:gd name="connsiteY692" fmla="*/ 4466848 h 5120141"/>
                <a:gd name="connsiteX693" fmla="*/ 2095221 w 3832826"/>
                <a:gd name="connsiteY693" fmla="*/ 4466848 h 5120141"/>
                <a:gd name="connsiteX694" fmla="*/ 2063667 w 3832826"/>
                <a:gd name="connsiteY694" fmla="*/ 4470856 h 5120141"/>
                <a:gd name="connsiteX695" fmla="*/ 2042630 w 3832826"/>
                <a:gd name="connsiteY695" fmla="*/ 4470856 h 5120141"/>
                <a:gd name="connsiteX696" fmla="*/ 2036319 w 3832826"/>
                <a:gd name="connsiteY696" fmla="*/ 4466848 h 5120141"/>
                <a:gd name="connsiteX697" fmla="*/ 2032112 w 3832826"/>
                <a:gd name="connsiteY697" fmla="*/ 4466848 h 5120141"/>
                <a:gd name="connsiteX698" fmla="*/ 2027905 w 3832826"/>
                <a:gd name="connsiteY698" fmla="*/ 4456828 h 5120141"/>
                <a:gd name="connsiteX699" fmla="*/ 2027905 w 3832826"/>
                <a:gd name="connsiteY699" fmla="*/ 4444804 h 5120141"/>
                <a:gd name="connsiteX700" fmla="*/ 2027905 w 3832826"/>
                <a:gd name="connsiteY700" fmla="*/ 4420757 h 5120141"/>
                <a:gd name="connsiteX701" fmla="*/ 2027905 w 3832826"/>
                <a:gd name="connsiteY701" fmla="*/ 4376298 h 5120141"/>
                <a:gd name="connsiteX702" fmla="*/ 2025801 w 3832826"/>
                <a:gd name="connsiteY702" fmla="*/ 4376298 h 5120141"/>
                <a:gd name="connsiteX703" fmla="*/ 2025801 w 3832826"/>
                <a:gd name="connsiteY703" fmla="*/ 4328574 h 5120141"/>
                <a:gd name="connsiteX704" fmla="*/ 2025801 w 3832826"/>
                <a:gd name="connsiteY704" fmla="*/ 4326856 h 5120141"/>
                <a:gd name="connsiteX705" fmla="*/ 2021595 w 3832826"/>
                <a:gd name="connsiteY705" fmla="*/ 4326570 h 5120141"/>
                <a:gd name="connsiteX706" fmla="*/ 2015284 w 3832826"/>
                <a:gd name="connsiteY706" fmla="*/ 4326570 h 5120141"/>
                <a:gd name="connsiteX707" fmla="*/ 2017387 w 3832826"/>
                <a:gd name="connsiteY707" fmla="*/ 4316550 h 5120141"/>
                <a:gd name="connsiteX708" fmla="*/ 2015284 w 3832826"/>
                <a:gd name="connsiteY708" fmla="*/ 4310539 h 5120141"/>
                <a:gd name="connsiteX709" fmla="*/ 2008973 w 3832826"/>
                <a:gd name="connsiteY709" fmla="*/ 4306531 h 5120141"/>
                <a:gd name="connsiteX710" fmla="*/ 2004765 w 3832826"/>
                <a:gd name="connsiteY710" fmla="*/ 4300519 h 5120141"/>
                <a:gd name="connsiteX711" fmla="*/ 1994247 w 3832826"/>
                <a:gd name="connsiteY711" fmla="*/ 4286491 h 5120141"/>
                <a:gd name="connsiteX712" fmla="*/ 1987936 w 3832826"/>
                <a:gd name="connsiteY712" fmla="*/ 4270459 h 5120141"/>
                <a:gd name="connsiteX713" fmla="*/ 1987936 w 3832826"/>
                <a:gd name="connsiteY713" fmla="*/ 4262443 h 5120141"/>
                <a:gd name="connsiteX714" fmla="*/ 1987936 w 3832826"/>
                <a:gd name="connsiteY714" fmla="*/ 4258435 h 5120141"/>
                <a:gd name="connsiteX715" fmla="*/ 1987936 w 3832826"/>
                <a:gd name="connsiteY715" fmla="*/ 4252423 h 5120141"/>
                <a:gd name="connsiteX716" fmla="*/ 1983729 w 3832826"/>
                <a:gd name="connsiteY716" fmla="*/ 4246412 h 5120141"/>
                <a:gd name="connsiteX717" fmla="*/ 1978277 w 3832826"/>
                <a:gd name="connsiteY717" fmla="*/ 4241218 h 5120141"/>
                <a:gd name="connsiteX718" fmla="*/ 1947935 w 3832826"/>
                <a:gd name="connsiteY718" fmla="*/ 4232386 h 5120141"/>
                <a:gd name="connsiteX719" fmla="*/ 1941632 w 3832826"/>
                <a:gd name="connsiteY719" fmla="*/ 4228376 h 5120141"/>
                <a:gd name="connsiteX720" fmla="*/ 1933169 w 3832826"/>
                <a:gd name="connsiteY720" fmla="*/ 4220356 h 5120141"/>
                <a:gd name="connsiteX721" fmla="*/ 1922725 w 3832826"/>
                <a:gd name="connsiteY721" fmla="*/ 4208326 h 5120141"/>
                <a:gd name="connsiteX722" fmla="*/ 1910120 w 3832826"/>
                <a:gd name="connsiteY722" fmla="*/ 4196297 h 5120141"/>
                <a:gd name="connsiteX723" fmla="*/ 1901657 w 3832826"/>
                <a:gd name="connsiteY723" fmla="*/ 4190282 h 5120141"/>
                <a:gd name="connsiteX724" fmla="*/ 1893193 w 3832826"/>
                <a:gd name="connsiteY724" fmla="*/ 4186272 h 5120141"/>
                <a:gd name="connsiteX725" fmla="*/ 1867983 w 3832826"/>
                <a:gd name="connsiteY725" fmla="*/ 4178252 h 5120141"/>
                <a:gd name="connsiteX726" fmla="*/ 1857539 w 3832826"/>
                <a:gd name="connsiteY726" fmla="*/ 4172237 h 5120141"/>
                <a:gd name="connsiteX727" fmla="*/ 1842773 w 3832826"/>
                <a:gd name="connsiteY727" fmla="*/ 4166222 h 5120141"/>
                <a:gd name="connsiteX728" fmla="*/ 1804958 w 3832826"/>
                <a:gd name="connsiteY728" fmla="*/ 4138152 h 5120141"/>
                <a:gd name="connsiteX729" fmla="*/ 1800637 w 3832826"/>
                <a:gd name="connsiteY729" fmla="*/ 4138152 h 5120141"/>
                <a:gd name="connsiteX730" fmla="*/ 1796495 w 3832826"/>
                <a:gd name="connsiteY730" fmla="*/ 4138152 h 5120141"/>
                <a:gd name="connsiteX731" fmla="*/ 1790192 w 3832826"/>
                <a:gd name="connsiteY731" fmla="*/ 4138152 h 5120141"/>
                <a:gd name="connsiteX732" fmla="*/ 1786051 w 3832826"/>
                <a:gd name="connsiteY732" fmla="*/ 4132138 h 5120141"/>
                <a:gd name="connsiteX733" fmla="*/ 1783890 w 3832826"/>
                <a:gd name="connsiteY733" fmla="*/ 4126123 h 5120141"/>
                <a:gd name="connsiteX734" fmla="*/ 1775427 w 3832826"/>
                <a:gd name="connsiteY734" fmla="*/ 4120108 h 5120141"/>
                <a:gd name="connsiteX735" fmla="*/ 1769124 w 3832826"/>
                <a:gd name="connsiteY735" fmla="*/ 4118103 h 5120141"/>
                <a:gd name="connsiteX736" fmla="*/ 1762822 w 3832826"/>
                <a:gd name="connsiteY736" fmla="*/ 4112088 h 5120141"/>
                <a:gd name="connsiteX737" fmla="*/ 1756519 w 3832826"/>
                <a:gd name="connsiteY737" fmla="*/ 4100058 h 5120141"/>
                <a:gd name="connsiteX738" fmla="*/ 1752377 w 3832826"/>
                <a:gd name="connsiteY738" fmla="*/ 4090167 h 5120141"/>
                <a:gd name="connsiteX739" fmla="*/ 1741753 w 3832826"/>
                <a:gd name="connsiteY739" fmla="*/ 4086157 h 5120141"/>
                <a:gd name="connsiteX740" fmla="*/ 1733470 w 3832826"/>
                <a:gd name="connsiteY740" fmla="*/ 4082147 h 5120141"/>
                <a:gd name="connsiteX741" fmla="*/ 1716543 w 3832826"/>
                <a:gd name="connsiteY741" fmla="*/ 4070117 h 5120141"/>
                <a:gd name="connsiteX742" fmla="*/ 1706099 w 3832826"/>
                <a:gd name="connsiteY742" fmla="*/ 4060092 h 5120141"/>
                <a:gd name="connsiteX743" fmla="*/ 1701777 w 3832826"/>
                <a:gd name="connsiteY743" fmla="*/ 4052072 h 5120141"/>
                <a:gd name="connsiteX744" fmla="*/ 1699797 w 3832826"/>
                <a:gd name="connsiteY744" fmla="*/ 4048062 h 5120141"/>
                <a:gd name="connsiteX745" fmla="*/ 1695475 w 3832826"/>
                <a:gd name="connsiteY745" fmla="*/ 4038038 h 5120141"/>
                <a:gd name="connsiteX746" fmla="*/ 1699797 w 3832826"/>
                <a:gd name="connsiteY746" fmla="*/ 4030018 h 5120141"/>
                <a:gd name="connsiteX747" fmla="*/ 1701777 w 3832826"/>
                <a:gd name="connsiteY747" fmla="*/ 4021998 h 5120141"/>
                <a:gd name="connsiteX748" fmla="*/ 1706099 w 3832826"/>
                <a:gd name="connsiteY748" fmla="*/ 4017988 h 5120141"/>
                <a:gd name="connsiteX749" fmla="*/ 1714382 w 3832826"/>
                <a:gd name="connsiteY749" fmla="*/ 4007963 h 5120141"/>
                <a:gd name="connsiteX750" fmla="*/ 1716543 w 3832826"/>
                <a:gd name="connsiteY750" fmla="*/ 4001948 h 5120141"/>
                <a:gd name="connsiteX751" fmla="*/ 1720685 w 3832826"/>
                <a:gd name="connsiteY751" fmla="*/ 3997938 h 5120141"/>
                <a:gd name="connsiteX752" fmla="*/ 1716543 w 3832826"/>
                <a:gd name="connsiteY752" fmla="*/ 3991923 h 5120141"/>
                <a:gd name="connsiteX753" fmla="*/ 1712402 w 3832826"/>
                <a:gd name="connsiteY753" fmla="*/ 3985908 h 5120141"/>
                <a:gd name="connsiteX754" fmla="*/ 1701777 w 3832826"/>
                <a:gd name="connsiteY754" fmla="*/ 3975883 h 5120141"/>
                <a:gd name="connsiteX755" fmla="*/ 1695475 w 3832826"/>
                <a:gd name="connsiteY755" fmla="*/ 3973878 h 5120141"/>
                <a:gd name="connsiteX756" fmla="*/ 1691333 w 3832826"/>
                <a:gd name="connsiteY756" fmla="*/ 3965859 h 5120141"/>
                <a:gd name="connsiteX757" fmla="*/ 1689172 w 3832826"/>
                <a:gd name="connsiteY757" fmla="*/ 3957839 h 5120141"/>
                <a:gd name="connsiteX758" fmla="*/ 1691333 w 3832826"/>
                <a:gd name="connsiteY758" fmla="*/ 3953829 h 5120141"/>
                <a:gd name="connsiteX759" fmla="*/ 1691333 w 3832826"/>
                <a:gd name="connsiteY759" fmla="*/ 3945809 h 5120141"/>
                <a:gd name="connsiteX760" fmla="*/ 1689172 w 3832826"/>
                <a:gd name="connsiteY760" fmla="*/ 3937789 h 5120141"/>
                <a:gd name="connsiteX761" fmla="*/ 1687192 w 3832826"/>
                <a:gd name="connsiteY761" fmla="*/ 3927764 h 5120141"/>
                <a:gd name="connsiteX762" fmla="*/ 1689172 w 3832826"/>
                <a:gd name="connsiteY762" fmla="*/ 3919744 h 5120141"/>
                <a:gd name="connsiteX763" fmla="*/ 1691333 w 3832826"/>
                <a:gd name="connsiteY763" fmla="*/ 3915734 h 5120141"/>
                <a:gd name="connsiteX764" fmla="*/ 1699797 w 3832826"/>
                <a:gd name="connsiteY764" fmla="*/ 3909719 h 5120141"/>
                <a:gd name="connsiteX765" fmla="*/ 1714382 w 3832826"/>
                <a:gd name="connsiteY765" fmla="*/ 3905709 h 5120141"/>
                <a:gd name="connsiteX766" fmla="*/ 1731309 w 3832826"/>
                <a:gd name="connsiteY766" fmla="*/ 3899694 h 5120141"/>
                <a:gd name="connsiteX767" fmla="*/ 1735451 w 3832826"/>
                <a:gd name="connsiteY767" fmla="*/ 3897690 h 5120141"/>
                <a:gd name="connsiteX768" fmla="*/ 1737612 w 3832826"/>
                <a:gd name="connsiteY768" fmla="*/ 3893680 h 5120141"/>
                <a:gd name="connsiteX769" fmla="*/ 1746075 w 3832826"/>
                <a:gd name="connsiteY769" fmla="*/ 3879645 h 5120141"/>
                <a:gd name="connsiteX770" fmla="*/ 1748056 w 3832826"/>
                <a:gd name="connsiteY770" fmla="*/ 3863605 h 5120141"/>
                <a:gd name="connsiteX771" fmla="*/ 1752377 w 3832826"/>
                <a:gd name="connsiteY771" fmla="*/ 3843555 h 5120141"/>
                <a:gd name="connsiteX772" fmla="*/ 1754358 w 3832826"/>
                <a:gd name="connsiteY772" fmla="*/ 3823639 h 5120141"/>
                <a:gd name="connsiteX773" fmla="*/ 1752377 w 3832826"/>
                <a:gd name="connsiteY773" fmla="*/ 3803590 h 5120141"/>
                <a:gd name="connsiteX774" fmla="*/ 1748056 w 3832826"/>
                <a:gd name="connsiteY774" fmla="*/ 3785545 h 5120141"/>
                <a:gd name="connsiteX775" fmla="*/ 1746075 w 3832826"/>
                <a:gd name="connsiteY775" fmla="*/ 3773515 h 5120141"/>
                <a:gd name="connsiteX776" fmla="*/ 1737612 w 3832826"/>
                <a:gd name="connsiteY776" fmla="*/ 3761485 h 5120141"/>
                <a:gd name="connsiteX777" fmla="*/ 1727167 w 3832826"/>
                <a:gd name="connsiteY777" fmla="*/ 3747450 h 5120141"/>
                <a:gd name="connsiteX778" fmla="*/ 1695475 w 3832826"/>
                <a:gd name="connsiteY778" fmla="*/ 3721385 h 5120141"/>
                <a:gd name="connsiteX779" fmla="*/ 1661802 w 3832826"/>
                <a:gd name="connsiteY779" fmla="*/ 3695321 h 5120141"/>
                <a:gd name="connsiteX780" fmla="*/ 1636592 w 3832826"/>
                <a:gd name="connsiteY780" fmla="*/ 3675271 h 5120141"/>
                <a:gd name="connsiteX781" fmla="*/ 1519948 w 3832826"/>
                <a:gd name="connsiteY781" fmla="*/ 3568035 h 5120141"/>
                <a:gd name="connsiteX782" fmla="*/ 1518826 w 3832826"/>
                <a:gd name="connsiteY782" fmla="*/ 3569070 h 5120141"/>
                <a:gd name="connsiteX783" fmla="*/ 1510411 w 3832826"/>
                <a:gd name="connsiteY783" fmla="*/ 3561053 h 5120141"/>
                <a:gd name="connsiteX784" fmla="*/ 1497790 w 3832826"/>
                <a:gd name="connsiteY784" fmla="*/ 3553037 h 5120141"/>
                <a:gd name="connsiteX785" fmla="*/ 1468339 w 3832826"/>
                <a:gd name="connsiteY785" fmla="*/ 3537005 h 5120141"/>
                <a:gd name="connsiteX786" fmla="*/ 1409437 w 3832826"/>
                <a:gd name="connsiteY786" fmla="*/ 3514942 h 5120141"/>
                <a:gd name="connsiteX787" fmla="*/ 1386297 w 3832826"/>
                <a:gd name="connsiteY787" fmla="*/ 3504939 h 5120141"/>
                <a:gd name="connsiteX788" fmla="*/ 1365260 w 3832826"/>
                <a:gd name="connsiteY788" fmla="*/ 3492950 h 5120141"/>
                <a:gd name="connsiteX789" fmla="*/ 1363157 w 3832826"/>
                <a:gd name="connsiteY789" fmla="*/ 3486920 h 5120141"/>
                <a:gd name="connsiteX790" fmla="*/ 1361053 w 3832826"/>
                <a:gd name="connsiteY790" fmla="*/ 3482877 h 5120141"/>
                <a:gd name="connsiteX791" fmla="*/ 1358949 w 3832826"/>
                <a:gd name="connsiteY791" fmla="*/ 3474861 h 5120141"/>
                <a:gd name="connsiteX792" fmla="*/ 1354742 w 3832826"/>
                <a:gd name="connsiteY792" fmla="*/ 3470888 h 5120141"/>
                <a:gd name="connsiteX793" fmla="*/ 1340017 w 3832826"/>
                <a:gd name="connsiteY793" fmla="*/ 3446839 h 5120141"/>
                <a:gd name="connsiteX794" fmla="*/ 1318980 w 3832826"/>
                <a:gd name="connsiteY794" fmla="*/ 3426763 h 5120141"/>
                <a:gd name="connsiteX795" fmla="*/ 1316877 w 3832826"/>
                <a:gd name="connsiteY795" fmla="*/ 3426763 h 5120141"/>
                <a:gd name="connsiteX796" fmla="*/ 1310566 w 3832826"/>
                <a:gd name="connsiteY796" fmla="*/ 3422790 h 5120141"/>
                <a:gd name="connsiteX797" fmla="*/ 1300047 w 3832826"/>
                <a:gd name="connsiteY797" fmla="*/ 3416760 h 5120141"/>
                <a:gd name="connsiteX798" fmla="*/ 1297944 w 3832826"/>
                <a:gd name="connsiteY798" fmla="*/ 3414774 h 5120141"/>
                <a:gd name="connsiteX799" fmla="*/ 1297944 w 3832826"/>
                <a:gd name="connsiteY799" fmla="*/ 3410730 h 5120141"/>
                <a:gd name="connsiteX800" fmla="*/ 1300047 w 3832826"/>
                <a:gd name="connsiteY800" fmla="*/ 3402714 h 5120141"/>
                <a:gd name="connsiteX801" fmla="*/ 1308462 w 3832826"/>
                <a:gd name="connsiteY801" fmla="*/ 3394698 h 5120141"/>
                <a:gd name="connsiteX802" fmla="*/ 1297944 w 3832826"/>
                <a:gd name="connsiteY802" fmla="*/ 3380722 h 5120141"/>
                <a:gd name="connsiteX803" fmla="*/ 1291633 w 3832826"/>
                <a:gd name="connsiteY803" fmla="*/ 3366676 h 5120141"/>
                <a:gd name="connsiteX804" fmla="*/ 1291633 w 3832826"/>
                <a:gd name="connsiteY804" fmla="*/ 3354616 h 5120141"/>
                <a:gd name="connsiteX805" fmla="*/ 1295840 w 3832826"/>
                <a:gd name="connsiteY805" fmla="*/ 3344614 h 5120141"/>
                <a:gd name="connsiteX806" fmla="*/ 1300047 w 3832826"/>
                <a:gd name="connsiteY806" fmla="*/ 3334611 h 5120141"/>
                <a:gd name="connsiteX807" fmla="*/ 1306358 w 3832826"/>
                <a:gd name="connsiteY807" fmla="*/ 3324608 h 5120141"/>
                <a:gd name="connsiteX808" fmla="*/ 1308462 w 3832826"/>
                <a:gd name="connsiteY808" fmla="*/ 3318578 h 5120141"/>
                <a:gd name="connsiteX809" fmla="*/ 1306358 w 3832826"/>
                <a:gd name="connsiteY809" fmla="*/ 3310562 h 5120141"/>
                <a:gd name="connsiteX810" fmla="*/ 1302151 w 3832826"/>
                <a:gd name="connsiteY810" fmla="*/ 3302546 h 5120141"/>
                <a:gd name="connsiteX811" fmla="*/ 1295840 w 3832826"/>
                <a:gd name="connsiteY811" fmla="*/ 3294529 h 5120141"/>
                <a:gd name="connsiteX812" fmla="*/ 1295840 w 3832826"/>
                <a:gd name="connsiteY812" fmla="*/ 3290486 h 5120141"/>
                <a:gd name="connsiteX813" fmla="*/ 1291633 w 3832826"/>
                <a:gd name="connsiteY813" fmla="*/ 3288499 h 5120141"/>
                <a:gd name="connsiteX814" fmla="*/ 1297944 w 3832826"/>
                <a:gd name="connsiteY814" fmla="*/ 3280483 h 5120141"/>
                <a:gd name="connsiteX815" fmla="*/ 1302151 w 3832826"/>
                <a:gd name="connsiteY815" fmla="*/ 3272467 h 5120141"/>
                <a:gd name="connsiteX816" fmla="*/ 1306358 w 3832826"/>
                <a:gd name="connsiteY816" fmla="*/ 3262464 h 5120141"/>
                <a:gd name="connsiteX817" fmla="*/ 1306358 w 3832826"/>
                <a:gd name="connsiteY817" fmla="*/ 3258421 h 5120141"/>
                <a:gd name="connsiteX818" fmla="*/ 1302151 w 3832826"/>
                <a:gd name="connsiteY818" fmla="*/ 3252462 h 5120141"/>
                <a:gd name="connsiteX819" fmla="*/ 1302205 w 3832826"/>
                <a:gd name="connsiteY819" fmla="*/ 3250392 h 5120141"/>
                <a:gd name="connsiteX820" fmla="*/ 1302151 w 3832826"/>
                <a:gd name="connsiteY820" fmla="*/ 3250439 h 5120141"/>
                <a:gd name="connsiteX821" fmla="*/ 1270596 w 3832826"/>
                <a:gd name="connsiteY821" fmla="*/ 3222383 h 5120141"/>
                <a:gd name="connsiteX822" fmla="*/ 1268493 w 3832826"/>
                <a:gd name="connsiteY822" fmla="*/ 3218375 h 5120141"/>
                <a:gd name="connsiteX823" fmla="*/ 1264285 w 3832826"/>
                <a:gd name="connsiteY823" fmla="*/ 3218375 h 5120141"/>
                <a:gd name="connsiteX824" fmla="*/ 1257974 w 3832826"/>
                <a:gd name="connsiteY824" fmla="*/ 3220379 h 5120141"/>
                <a:gd name="connsiteX825" fmla="*/ 1253767 w 3832826"/>
                <a:gd name="connsiteY825" fmla="*/ 3222383 h 5120141"/>
                <a:gd name="connsiteX826" fmla="*/ 1245353 w 3832826"/>
                <a:gd name="connsiteY826" fmla="*/ 3222383 h 5120141"/>
                <a:gd name="connsiteX827" fmla="*/ 1228523 w 3832826"/>
                <a:gd name="connsiteY827" fmla="*/ 3220379 h 5120141"/>
                <a:gd name="connsiteX828" fmla="*/ 1207487 w 3832826"/>
                <a:gd name="connsiteY828" fmla="*/ 3218375 h 5120141"/>
                <a:gd name="connsiteX829" fmla="*/ 1201176 w 3832826"/>
                <a:gd name="connsiteY829" fmla="*/ 3218375 h 5120141"/>
                <a:gd name="connsiteX830" fmla="*/ 1192761 w 3832826"/>
                <a:gd name="connsiteY830" fmla="*/ 3220379 h 5120141"/>
                <a:gd name="connsiteX831" fmla="*/ 1190658 w 3832826"/>
                <a:gd name="connsiteY831" fmla="*/ 3226391 h 5120141"/>
                <a:gd name="connsiteX832" fmla="*/ 1192761 w 3832826"/>
                <a:gd name="connsiteY832" fmla="*/ 3236411 h 5120141"/>
                <a:gd name="connsiteX833" fmla="*/ 1182243 w 3832826"/>
                <a:gd name="connsiteY833" fmla="*/ 3236411 h 5120141"/>
                <a:gd name="connsiteX834" fmla="*/ 1175932 w 3832826"/>
                <a:gd name="connsiteY834" fmla="*/ 3230399 h 5120141"/>
                <a:gd name="connsiteX835" fmla="*/ 1171725 w 3832826"/>
                <a:gd name="connsiteY835" fmla="*/ 3222383 h 5120141"/>
                <a:gd name="connsiteX836" fmla="*/ 1169621 w 3832826"/>
                <a:gd name="connsiteY836" fmla="*/ 3216371 h 5120141"/>
                <a:gd name="connsiteX837" fmla="*/ 1161207 w 3832826"/>
                <a:gd name="connsiteY837" fmla="*/ 3196332 h 5120141"/>
                <a:gd name="connsiteX838" fmla="*/ 1159103 w 3832826"/>
                <a:gd name="connsiteY838" fmla="*/ 3186312 h 5120141"/>
                <a:gd name="connsiteX839" fmla="*/ 1150689 w 3832826"/>
                <a:gd name="connsiteY839" fmla="*/ 3180300 h 5120141"/>
                <a:gd name="connsiteX840" fmla="*/ 1142274 w 3832826"/>
                <a:gd name="connsiteY840" fmla="*/ 3172284 h 5120141"/>
                <a:gd name="connsiteX841" fmla="*/ 1138067 w 3832826"/>
                <a:gd name="connsiteY841" fmla="*/ 3166272 h 5120141"/>
                <a:gd name="connsiteX842" fmla="*/ 1133859 w 3832826"/>
                <a:gd name="connsiteY842" fmla="*/ 3156253 h 5120141"/>
                <a:gd name="connsiteX843" fmla="*/ 1133859 w 3832826"/>
                <a:gd name="connsiteY843" fmla="*/ 3144229 h 5120141"/>
                <a:gd name="connsiteX844" fmla="*/ 1138067 w 3832826"/>
                <a:gd name="connsiteY844" fmla="*/ 3130201 h 5120141"/>
                <a:gd name="connsiteX845" fmla="*/ 1142274 w 3832826"/>
                <a:gd name="connsiteY845" fmla="*/ 3126193 h 5120141"/>
                <a:gd name="connsiteX846" fmla="*/ 1148585 w 3832826"/>
                <a:gd name="connsiteY846" fmla="*/ 3124189 h 5120141"/>
                <a:gd name="connsiteX847" fmla="*/ 1154896 w 3832826"/>
                <a:gd name="connsiteY847" fmla="*/ 3118177 h 5120141"/>
                <a:gd name="connsiteX848" fmla="*/ 1161207 w 3832826"/>
                <a:gd name="connsiteY848" fmla="*/ 3110161 h 5120141"/>
                <a:gd name="connsiteX849" fmla="*/ 1163310 w 3832826"/>
                <a:gd name="connsiteY849" fmla="*/ 3106153 h 5120141"/>
                <a:gd name="connsiteX850" fmla="*/ 1161207 w 3832826"/>
                <a:gd name="connsiteY850" fmla="*/ 3090122 h 5120141"/>
                <a:gd name="connsiteX851" fmla="*/ 1159103 w 3832826"/>
                <a:gd name="connsiteY851" fmla="*/ 3076094 h 5120141"/>
                <a:gd name="connsiteX852" fmla="*/ 1159103 w 3832826"/>
                <a:gd name="connsiteY852" fmla="*/ 3068078 h 5120141"/>
                <a:gd name="connsiteX853" fmla="*/ 1159103 w 3832826"/>
                <a:gd name="connsiteY853" fmla="*/ 3060062 h 5120141"/>
                <a:gd name="connsiteX854" fmla="*/ 1161207 w 3832826"/>
                <a:gd name="connsiteY854" fmla="*/ 3056054 h 5120141"/>
                <a:gd name="connsiteX855" fmla="*/ 1159103 w 3832826"/>
                <a:gd name="connsiteY855" fmla="*/ 3050042 h 5120141"/>
                <a:gd name="connsiteX856" fmla="*/ 1154896 w 3832826"/>
                <a:gd name="connsiteY856" fmla="*/ 3048038 h 5120141"/>
                <a:gd name="connsiteX857" fmla="*/ 1150689 w 3832826"/>
                <a:gd name="connsiteY857" fmla="*/ 3046035 h 5120141"/>
                <a:gd name="connsiteX858" fmla="*/ 1140170 w 3832826"/>
                <a:gd name="connsiteY858" fmla="*/ 3044031 h 5120141"/>
                <a:gd name="connsiteX859" fmla="*/ 1133859 w 3832826"/>
                <a:gd name="connsiteY859" fmla="*/ 3040023 h 5120141"/>
                <a:gd name="connsiteX860" fmla="*/ 1131756 w 3832826"/>
                <a:gd name="connsiteY860" fmla="*/ 3038019 h 5120141"/>
                <a:gd name="connsiteX861" fmla="*/ 1127548 w 3832826"/>
                <a:gd name="connsiteY861" fmla="*/ 3030003 h 5120141"/>
                <a:gd name="connsiteX862" fmla="*/ 1123341 w 3832826"/>
                <a:gd name="connsiteY862" fmla="*/ 3023991 h 5120141"/>
                <a:gd name="connsiteX863" fmla="*/ 1127548 w 3832826"/>
                <a:gd name="connsiteY863" fmla="*/ 3015975 h 5120141"/>
                <a:gd name="connsiteX864" fmla="*/ 1127548 w 3832826"/>
                <a:gd name="connsiteY864" fmla="*/ 3007959 h 5120141"/>
                <a:gd name="connsiteX865" fmla="*/ 1121238 w 3832826"/>
                <a:gd name="connsiteY865" fmla="*/ 2989924 h 5120141"/>
                <a:gd name="connsiteX866" fmla="*/ 1119134 w 3832826"/>
                <a:gd name="connsiteY866" fmla="*/ 2983912 h 5120141"/>
                <a:gd name="connsiteX867" fmla="*/ 1119134 w 3832826"/>
                <a:gd name="connsiteY867" fmla="*/ 2975896 h 5120141"/>
                <a:gd name="connsiteX868" fmla="*/ 1119133 w 3832826"/>
                <a:gd name="connsiteY868" fmla="*/ 2975897 h 5120141"/>
                <a:gd name="connsiteX869" fmla="*/ 1119133 w 3832826"/>
                <a:gd name="connsiteY869" fmla="*/ 2965877 h 5120141"/>
                <a:gd name="connsiteX870" fmla="*/ 1112822 w 3832826"/>
                <a:gd name="connsiteY870" fmla="*/ 2955857 h 5120141"/>
                <a:gd name="connsiteX871" fmla="*/ 1106511 w 3832826"/>
                <a:gd name="connsiteY871" fmla="*/ 2949845 h 5120141"/>
                <a:gd name="connsiteX872" fmla="*/ 1095993 w 3832826"/>
                <a:gd name="connsiteY872" fmla="*/ 2945837 h 5120141"/>
                <a:gd name="connsiteX873" fmla="*/ 1074956 w 3832826"/>
                <a:gd name="connsiteY873" fmla="*/ 2935817 h 5120141"/>
                <a:gd name="connsiteX874" fmla="*/ 1066542 w 3832826"/>
                <a:gd name="connsiteY874" fmla="*/ 2929806 h 5120141"/>
                <a:gd name="connsiteX875" fmla="*/ 1064438 w 3832826"/>
                <a:gd name="connsiteY875" fmla="*/ 2923794 h 5120141"/>
                <a:gd name="connsiteX876" fmla="*/ 1064438 w 3832826"/>
                <a:gd name="connsiteY876" fmla="*/ 2815579 h 5120141"/>
                <a:gd name="connsiteX877" fmla="*/ 1064438 w 3832826"/>
                <a:gd name="connsiteY877" fmla="*/ 2763476 h 5120141"/>
                <a:gd name="connsiteX878" fmla="*/ 1066542 w 3832826"/>
                <a:gd name="connsiteY878" fmla="*/ 2707365 h 5120141"/>
                <a:gd name="connsiteX879" fmla="*/ 1070749 w 3832826"/>
                <a:gd name="connsiteY879" fmla="*/ 2697345 h 5120141"/>
                <a:gd name="connsiteX880" fmla="*/ 1077060 w 3832826"/>
                <a:gd name="connsiteY880" fmla="*/ 2687326 h 5120141"/>
                <a:gd name="connsiteX881" fmla="*/ 1074956 w 3832826"/>
                <a:gd name="connsiteY881" fmla="*/ 2683318 h 5120141"/>
                <a:gd name="connsiteX882" fmla="*/ 1070749 w 3832826"/>
                <a:gd name="connsiteY882" fmla="*/ 2681314 h 5120141"/>
                <a:gd name="connsiteX883" fmla="*/ 1066542 w 3832826"/>
                <a:gd name="connsiteY883" fmla="*/ 2677306 h 5120141"/>
                <a:gd name="connsiteX884" fmla="*/ 1058127 w 3832826"/>
                <a:gd name="connsiteY884" fmla="*/ 2675302 h 5120141"/>
                <a:gd name="connsiteX885" fmla="*/ 1053920 w 3832826"/>
                <a:gd name="connsiteY885" fmla="*/ 2671294 h 5120141"/>
                <a:gd name="connsiteX886" fmla="*/ 1049713 w 3832826"/>
                <a:gd name="connsiteY886" fmla="*/ 2657266 h 5120141"/>
                <a:gd name="connsiteX887" fmla="*/ 1053920 w 3832826"/>
                <a:gd name="connsiteY887" fmla="*/ 2645242 h 5120141"/>
                <a:gd name="connsiteX888" fmla="*/ 1058127 w 3832826"/>
                <a:gd name="connsiteY888" fmla="*/ 2633218 h 5120141"/>
                <a:gd name="connsiteX889" fmla="*/ 1058127 w 3832826"/>
                <a:gd name="connsiteY889" fmla="*/ 2623199 h 5120141"/>
                <a:gd name="connsiteX890" fmla="*/ 1058127 w 3832826"/>
                <a:gd name="connsiteY890" fmla="*/ 2613179 h 5120141"/>
                <a:gd name="connsiteX891" fmla="*/ 1056023 w 3832826"/>
                <a:gd name="connsiteY891" fmla="*/ 2601155 h 5120141"/>
                <a:gd name="connsiteX892" fmla="*/ 1049713 w 3832826"/>
                <a:gd name="connsiteY892" fmla="*/ 2577107 h 5120141"/>
                <a:gd name="connsiteX893" fmla="*/ 1047609 w 3832826"/>
                <a:gd name="connsiteY893" fmla="*/ 2565084 h 5120141"/>
                <a:gd name="connsiteX894" fmla="*/ 1049713 w 3832826"/>
                <a:gd name="connsiteY894" fmla="*/ 2555064 h 5120141"/>
                <a:gd name="connsiteX895" fmla="*/ 1053920 w 3832826"/>
                <a:gd name="connsiteY895" fmla="*/ 2547048 h 5120141"/>
                <a:gd name="connsiteX896" fmla="*/ 1060231 w 3832826"/>
                <a:gd name="connsiteY896" fmla="*/ 2543040 h 5120141"/>
                <a:gd name="connsiteX897" fmla="*/ 1058389 w 3832826"/>
                <a:gd name="connsiteY897" fmla="*/ 2529007 h 5120141"/>
                <a:gd name="connsiteX898" fmla="*/ 1056029 w 3832826"/>
                <a:gd name="connsiteY898" fmla="*/ 2529007 h 5120141"/>
                <a:gd name="connsiteX899" fmla="*/ 1049713 w 3832826"/>
                <a:gd name="connsiteY899" fmla="*/ 2535024 h 5120141"/>
                <a:gd name="connsiteX900" fmla="*/ 1049713 w 3832826"/>
                <a:gd name="connsiteY900" fmla="*/ 2533020 h 5120141"/>
                <a:gd name="connsiteX901" fmla="*/ 1049713 w 3832826"/>
                <a:gd name="connsiteY901" fmla="*/ 2529007 h 5120141"/>
                <a:gd name="connsiteX902" fmla="*/ 904562 w 3832826"/>
                <a:gd name="connsiteY902" fmla="*/ 2529007 h 5120141"/>
                <a:gd name="connsiteX903" fmla="*/ 904562 w 3832826"/>
                <a:gd name="connsiteY903" fmla="*/ 2129394 h 5120141"/>
                <a:gd name="connsiteX904" fmla="*/ 889837 w 3832826"/>
                <a:gd name="connsiteY904" fmla="*/ 2130219 h 5120141"/>
                <a:gd name="connsiteX905" fmla="*/ 868800 w 3832826"/>
                <a:gd name="connsiteY905" fmla="*/ 2132223 h 5120141"/>
                <a:gd name="connsiteX906" fmla="*/ 841453 w 3832826"/>
                <a:gd name="connsiteY906" fmla="*/ 2130219 h 5120141"/>
                <a:gd name="connsiteX907" fmla="*/ 816209 w 3832826"/>
                <a:gd name="connsiteY907" fmla="*/ 2132223 h 5120141"/>
                <a:gd name="connsiteX908" fmla="*/ 793069 w 3832826"/>
                <a:gd name="connsiteY908" fmla="*/ 2140239 h 5120141"/>
                <a:gd name="connsiteX909" fmla="*/ 769929 w 3832826"/>
                <a:gd name="connsiteY909" fmla="*/ 2150258 h 5120141"/>
                <a:gd name="connsiteX910" fmla="*/ 748892 w 3832826"/>
                <a:gd name="connsiteY910" fmla="*/ 2162282 h 5120141"/>
                <a:gd name="connsiteX911" fmla="*/ 738374 w 3832826"/>
                <a:gd name="connsiteY911" fmla="*/ 2164286 h 5120141"/>
                <a:gd name="connsiteX912" fmla="*/ 732063 w 3832826"/>
                <a:gd name="connsiteY912" fmla="*/ 2164286 h 5120141"/>
                <a:gd name="connsiteX913" fmla="*/ 725752 w 3832826"/>
                <a:gd name="connsiteY913" fmla="*/ 2162282 h 5120141"/>
                <a:gd name="connsiteX914" fmla="*/ 704716 w 3832826"/>
                <a:gd name="connsiteY914" fmla="*/ 2152262 h 5120141"/>
                <a:gd name="connsiteX915" fmla="*/ 692094 w 3832826"/>
                <a:gd name="connsiteY915" fmla="*/ 2150258 h 5120141"/>
                <a:gd name="connsiteX916" fmla="*/ 677369 w 3832826"/>
                <a:gd name="connsiteY916" fmla="*/ 2150258 h 5120141"/>
                <a:gd name="connsiteX917" fmla="*/ 677369 w 3832826"/>
                <a:gd name="connsiteY917" fmla="*/ 2140239 h 5120141"/>
                <a:gd name="connsiteX918" fmla="*/ 675265 w 3832826"/>
                <a:gd name="connsiteY918" fmla="*/ 2128215 h 5120141"/>
                <a:gd name="connsiteX919" fmla="*/ 664747 w 3832826"/>
                <a:gd name="connsiteY919" fmla="*/ 2104167 h 5120141"/>
                <a:gd name="connsiteX920" fmla="*/ 643710 w 3832826"/>
                <a:gd name="connsiteY920" fmla="*/ 2062084 h 5120141"/>
                <a:gd name="connsiteX921" fmla="*/ 639503 w 3832826"/>
                <a:gd name="connsiteY921" fmla="*/ 2060080 h 5120141"/>
                <a:gd name="connsiteX922" fmla="*/ 633192 w 3832826"/>
                <a:gd name="connsiteY922" fmla="*/ 2056072 h 5120141"/>
                <a:gd name="connsiteX923" fmla="*/ 635296 w 3832826"/>
                <a:gd name="connsiteY923" fmla="*/ 2050060 h 5120141"/>
                <a:gd name="connsiteX924" fmla="*/ 635296 w 3832826"/>
                <a:gd name="connsiteY924" fmla="*/ 2042044 h 5120141"/>
                <a:gd name="connsiteX925" fmla="*/ 624777 w 3832826"/>
                <a:gd name="connsiteY925" fmla="*/ 2028016 h 5120141"/>
                <a:gd name="connsiteX926" fmla="*/ 612156 w 3832826"/>
                <a:gd name="connsiteY926" fmla="*/ 2009980 h 5120141"/>
                <a:gd name="connsiteX927" fmla="*/ 591119 w 3832826"/>
                <a:gd name="connsiteY927" fmla="*/ 1967897 h 5120141"/>
                <a:gd name="connsiteX928" fmla="*/ 570083 w 3832826"/>
                <a:gd name="connsiteY928" fmla="*/ 1925813 h 5120141"/>
                <a:gd name="connsiteX929" fmla="*/ 561668 w 3832826"/>
                <a:gd name="connsiteY929" fmla="*/ 1909781 h 5120141"/>
                <a:gd name="connsiteX930" fmla="*/ 555357 w 3832826"/>
                <a:gd name="connsiteY930" fmla="*/ 1897757 h 5120141"/>
                <a:gd name="connsiteX931" fmla="*/ 544839 w 3832826"/>
                <a:gd name="connsiteY931" fmla="*/ 1887738 h 5120141"/>
                <a:gd name="connsiteX932" fmla="*/ 530114 w 3832826"/>
                <a:gd name="connsiteY932" fmla="*/ 1879722 h 5120141"/>
                <a:gd name="connsiteX933" fmla="*/ 517492 w 3832826"/>
                <a:gd name="connsiteY933" fmla="*/ 1877718 h 5120141"/>
                <a:gd name="connsiteX934" fmla="*/ 502766 w 3832826"/>
                <a:gd name="connsiteY934" fmla="*/ 1877718 h 5120141"/>
                <a:gd name="connsiteX935" fmla="*/ 488041 w 3832826"/>
                <a:gd name="connsiteY935" fmla="*/ 1877718 h 5120141"/>
                <a:gd name="connsiteX936" fmla="*/ 481730 w 3832826"/>
                <a:gd name="connsiteY936" fmla="*/ 1875714 h 5120141"/>
                <a:gd name="connsiteX937" fmla="*/ 473315 w 3832826"/>
                <a:gd name="connsiteY937" fmla="*/ 1873710 h 5120141"/>
                <a:gd name="connsiteX938" fmla="*/ 473315 w 3832826"/>
                <a:gd name="connsiteY938" fmla="*/ 1857678 h 5120141"/>
                <a:gd name="connsiteX939" fmla="*/ 471212 w 3832826"/>
                <a:gd name="connsiteY939" fmla="*/ 1847658 h 5120141"/>
                <a:gd name="connsiteX940" fmla="*/ 462797 w 3832826"/>
                <a:gd name="connsiteY940" fmla="*/ 1829622 h 5120141"/>
                <a:gd name="connsiteX941" fmla="*/ 462797 w 3832826"/>
                <a:gd name="connsiteY941" fmla="*/ 1823611 h 5120141"/>
                <a:gd name="connsiteX942" fmla="*/ 467004 w 3832826"/>
                <a:gd name="connsiteY942" fmla="*/ 1817599 h 5120141"/>
                <a:gd name="connsiteX943" fmla="*/ 481730 w 3832826"/>
                <a:gd name="connsiteY943" fmla="*/ 1815595 h 5120141"/>
                <a:gd name="connsiteX944" fmla="*/ 491767 w 3832826"/>
                <a:gd name="connsiteY944" fmla="*/ 1801335 h 5120141"/>
                <a:gd name="connsiteX945" fmla="*/ 486799 w 3832826"/>
                <a:gd name="connsiteY945" fmla="*/ 1797561 h 5120141"/>
                <a:gd name="connsiteX946" fmla="*/ 476248 w 3832826"/>
                <a:gd name="connsiteY946" fmla="*/ 1787541 h 5120141"/>
                <a:gd name="connsiteX947" fmla="*/ 465697 w 3832826"/>
                <a:gd name="connsiteY947" fmla="*/ 1779525 h 5120141"/>
                <a:gd name="connsiteX948" fmla="*/ 463587 w 3832826"/>
                <a:gd name="connsiteY948" fmla="*/ 1775517 h 5120141"/>
                <a:gd name="connsiteX949" fmla="*/ 463587 w 3832826"/>
                <a:gd name="connsiteY949" fmla="*/ 1769505 h 5120141"/>
                <a:gd name="connsiteX950" fmla="*/ 463587 w 3832826"/>
                <a:gd name="connsiteY950" fmla="*/ 1757481 h 5120141"/>
                <a:gd name="connsiteX951" fmla="*/ 465697 w 3832826"/>
                <a:gd name="connsiteY951" fmla="*/ 1747461 h 5120141"/>
                <a:gd name="connsiteX952" fmla="*/ 463587 w 3832826"/>
                <a:gd name="connsiteY952" fmla="*/ 1737442 h 5120141"/>
                <a:gd name="connsiteX953" fmla="*/ 455146 w 3832826"/>
                <a:gd name="connsiteY953" fmla="*/ 1735438 h 5120141"/>
                <a:gd name="connsiteX954" fmla="*/ 438265 w 3832826"/>
                <a:gd name="connsiteY954" fmla="*/ 1729426 h 5120141"/>
                <a:gd name="connsiteX955" fmla="*/ 423494 w 3832826"/>
                <a:gd name="connsiteY955" fmla="*/ 1723414 h 5120141"/>
                <a:gd name="connsiteX956" fmla="*/ 415054 w 3832826"/>
                <a:gd name="connsiteY956" fmla="*/ 1717402 h 5120141"/>
                <a:gd name="connsiteX957" fmla="*/ 412943 w 3832826"/>
                <a:gd name="connsiteY957" fmla="*/ 1715398 h 5120141"/>
                <a:gd name="connsiteX958" fmla="*/ 406613 w 3832826"/>
                <a:gd name="connsiteY958" fmla="*/ 1699366 h 5120141"/>
                <a:gd name="connsiteX959" fmla="*/ 404503 w 3832826"/>
                <a:gd name="connsiteY959" fmla="*/ 1677323 h 5120141"/>
                <a:gd name="connsiteX960" fmla="*/ 404503 w 3832826"/>
                <a:gd name="connsiteY960" fmla="*/ 1657283 h 5120141"/>
                <a:gd name="connsiteX961" fmla="*/ 406613 w 3832826"/>
                <a:gd name="connsiteY961" fmla="*/ 1643255 h 5120141"/>
                <a:gd name="connsiteX962" fmla="*/ 410833 w 3832826"/>
                <a:gd name="connsiteY962" fmla="*/ 1637243 h 5120141"/>
                <a:gd name="connsiteX963" fmla="*/ 415054 w 3832826"/>
                <a:gd name="connsiteY963" fmla="*/ 1635239 h 5120141"/>
                <a:gd name="connsiteX964" fmla="*/ 421384 w 3832826"/>
                <a:gd name="connsiteY964" fmla="*/ 1631231 h 5120141"/>
                <a:gd name="connsiteX965" fmla="*/ 421384 w 3832826"/>
                <a:gd name="connsiteY965" fmla="*/ 1621212 h 5120141"/>
                <a:gd name="connsiteX966" fmla="*/ 417164 w 3832826"/>
                <a:gd name="connsiteY966" fmla="*/ 1613196 h 5120141"/>
                <a:gd name="connsiteX967" fmla="*/ 406613 w 3832826"/>
                <a:gd name="connsiteY967" fmla="*/ 1605180 h 5120141"/>
                <a:gd name="connsiteX968" fmla="*/ 391842 w 3832826"/>
                <a:gd name="connsiteY968" fmla="*/ 1593156 h 5120141"/>
                <a:gd name="connsiteX969" fmla="*/ 374961 w 3832826"/>
                <a:gd name="connsiteY969" fmla="*/ 1587144 h 5120141"/>
                <a:gd name="connsiteX970" fmla="*/ 355969 w 3832826"/>
                <a:gd name="connsiteY970" fmla="*/ 1585140 h 5120141"/>
                <a:gd name="connsiteX971" fmla="*/ 317987 w 3832826"/>
                <a:gd name="connsiteY971" fmla="*/ 1581132 h 5120141"/>
                <a:gd name="connsiteX972" fmla="*/ 296885 w 3832826"/>
                <a:gd name="connsiteY972" fmla="*/ 1577124 h 5120141"/>
                <a:gd name="connsiteX973" fmla="*/ 277894 w 3832826"/>
                <a:gd name="connsiteY973" fmla="*/ 1571112 h 5120141"/>
                <a:gd name="connsiteX974" fmla="*/ 263123 w 3832826"/>
                <a:gd name="connsiteY974" fmla="*/ 1561093 h 5120141"/>
                <a:gd name="connsiteX975" fmla="*/ 246242 w 3832826"/>
                <a:gd name="connsiteY975" fmla="*/ 1545061 h 5120141"/>
                <a:gd name="connsiteX976" fmla="*/ 229361 w 3832826"/>
                <a:gd name="connsiteY976" fmla="*/ 1533037 h 5120141"/>
                <a:gd name="connsiteX977" fmla="*/ 220920 w 3832826"/>
                <a:gd name="connsiteY977" fmla="*/ 1523017 h 5120141"/>
                <a:gd name="connsiteX978" fmla="*/ 212479 w 3832826"/>
                <a:gd name="connsiteY978" fmla="*/ 1515001 h 5120141"/>
                <a:gd name="connsiteX979" fmla="*/ 210369 w 3832826"/>
                <a:gd name="connsiteY979" fmla="*/ 1504982 h 5120141"/>
                <a:gd name="connsiteX980" fmla="*/ 208259 w 3832826"/>
                <a:gd name="connsiteY980" fmla="*/ 1494962 h 5120141"/>
                <a:gd name="connsiteX981" fmla="*/ 210369 w 3832826"/>
                <a:gd name="connsiteY981" fmla="*/ 1486946 h 5120141"/>
                <a:gd name="connsiteX982" fmla="*/ 218810 w 3832826"/>
                <a:gd name="connsiteY982" fmla="*/ 1476926 h 5120141"/>
                <a:gd name="connsiteX983" fmla="*/ 223030 w 3832826"/>
                <a:gd name="connsiteY983" fmla="*/ 1472918 h 5120141"/>
                <a:gd name="connsiteX984" fmla="*/ 223030 w 3832826"/>
                <a:gd name="connsiteY984" fmla="*/ 1464902 h 5120141"/>
                <a:gd name="connsiteX985" fmla="*/ 214590 w 3832826"/>
                <a:gd name="connsiteY985" fmla="*/ 1450874 h 5120141"/>
                <a:gd name="connsiteX986" fmla="*/ 212479 w 3832826"/>
                <a:gd name="connsiteY986" fmla="*/ 1444863 h 5120141"/>
                <a:gd name="connsiteX987" fmla="*/ 214590 w 3832826"/>
                <a:gd name="connsiteY987" fmla="*/ 1442859 h 5120141"/>
                <a:gd name="connsiteX988" fmla="*/ 220920 w 3832826"/>
                <a:gd name="connsiteY988" fmla="*/ 1442859 h 5120141"/>
                <a:gd name="connsiteX989" fmla="*/ 235691 w 3832826"/>
                <a:gd name="connsiteY989" fmla="*/ 1444863 h 5120141"/>
                <a:gd name="connsiteX990" fmla="*/ 242685 w 3832826"/>
                <a:gd name="connsiteY990" fmla="*/ 1444830 h 5120141"/>
                <a:gd name="connsiteX991" fmla="*/ 239592 w 3832826"/>
                <a:gd name="connsiteY991" fmla="*/ 1442715 h 5120141"/>
                <a:gd name="connsiteX992" fmla="*/ 240798 w 3832826"/>
                <a:gd name="connsiteY992" fmla="*/ 1440839 h 5120141"/>
                <a:gd name="connsiteX993" fmla="*/ 237706 w 3832826"/>
                <a:gd name="connsiteY993" fmla="*/ 1440853 h 5120141"/>
                <a:gd name="connsiteX994" fmla="*/ 241926 w 3832826"/>
                <a:gd name="connsiteY994" fmla="*/ 1378746 h 5120141"/>
                <a:gd name="connsiteX995" fmla="*/ 241926 w 3832826"/>
                <a:gd name="connsiteY995" fmla="*/ 1346677 h 5120141"/>
                <a:gd name="connsiteX996" fmla="*/ 237706 w 3832826"/>
                <a:gd name="connsiteY996" fmla="*/ 1316605 h 5120141"/>
                <a:gd name="connsiteX997" fmla="*/ 237706 w 3832826"/>
                <a:gd name="connsiteY997" fmla="*/ 1314609 h 5120141"/>
                <a:gd name="connsiteX998" fmla="*/ 237706 w 3832826"/>
                <a:gd name="connsiteY998" fmla="*/ 1300571 h 5120141"/>
                <a:gd name="connsiteX999" fmla="*/ 237706 w 3832826"/>
                <a:gd name="connsiteY999" fmla="*/ 1290558 h 5120141"/>
                <a:gd name="connsiteX1000" fmla="*/ 237706 w 3832826"/>
                <a:gd name="connsiteY1000" fmla="*/ 1288562 h 5120141"/>
                <a:gd name="connsiteX1001" fmla="*/ 235558 w 3832826"/>
                <a:gd name="connsiteY1001" fmla="*/ 1286533 h 5120141"/>
                <a:gd name="connsiteX1002" fmla="*/ 231412 w 3832826"/>
                <a:gd name="connsiteY1002" fmla="*/ 1284537 h 5120141"/>
                <a:gd name="connsiteX1003" fmla="*/ 223044 w 3832826"/>
                <a:gd name="connsiteY1003" fmla="*/ 1284537 h 5120141"/>
                <a:gd name="connsiteX1004" fmla="*/ 132485 w 3832826"/>
                <a:gd name="connsiteY1004" fmla="*/ 1284537 h 5120141"/>
                <a:gd name="connsiteX1005" fmla="*/ 132485 w 3832826"/>
                <a:gd name="connsiteY1005" fmla="*/ 1226421 h 5120141"/>
                <a:gd name="connsiteX1006" fmla="*/ 130486 w 3832826"/>
                <a:gd name="connsiteY1006" fmla="*/ 1194353 h 5120141"/>
                <a:gd name="connsiteX1007" fmla="*/ 128264 w 3832826"/>
                <a:gd name="connsiteY1007" fmla="*/ 1184340 h 5120141"/>
                <a:gd name="connsiteX1008" fmla="*/ 126191 w 3832826"/>
                <a:gd name="connsiteY1008" fmla="*/ 1178319 h 5120141"/>
                <a:gd name="connsiteX1009" fmla="*/ 122045 w 3832826"/>
                <a:gd name="connsiteY1009" fmla="*/ 1178319 h 5120141"/>
                <a:gd name="connsiteX1010" fmla="*/ 117750 w 3832826"/>
                <a:gd name="connsiteY1010" fmla="*/ 1176323 h 5120141"/>
                <a:gd name="connsiteX1011" fmla="*/ 117750 w 3832826"/>
                <a:gd name="connsiteY1011" fmla="*/ 1174327 h 5120141"/>
                <a:gd name="connsiteX1012" fmla="*/ 117750 w 3832826"/>
                <a:gd name="connsiteY1012" fmla="*/ 1164314 h 5120141"/>
                <a:gd name="connsiteX1013" fmla="*/ 117750 w 3832826"/>
                <a:gd name="connsiteY1013" fmla="*/ 1158293 h 5120141"/>
                <a:gd name="connsiteX1014" fmla="*/ 115751 w 3832826"/>
                <a:gd name="connsiteY1014" fmla="*/ 1154301 h 5120141"/>
                <a:gd name="connsiteX1015" fmla="*/ 111456 w 3832826"/>
                <a:gd name="connsiteY1015" fmla="*/ 1152272 h 5120141"/>
                <a:gd name="connsiteX1016" fmla="*/ 105162 w 3832826"/>
                <a:gd name="connsiteY1016" fmla="*/ 1148280 h 5120141"/>
                <a:gd name="connsiteX1017" fmla="*/ 100941 w 3832826"/>
                <a:gd name="connsiteY1017" fmla="*/ 1148280 h 5120141"/>
                <a:gd name="connsiteX1018" fmla="*/ 98868 w 3832826"/>
                <a:gd name="connsiteY1018" fmla="*/ 1144255 h 5120141"/>
                <a:gd name="connsiteX1019" fmla="*/ 98868 w 3832826"/>
                <a:gd name="connsiteY1019" fmla="*/ 1134242 h 5120141"/>
                <a:gd name="connsiteX1020" fmla="*/ 98868 w 3832826"/>
                <a:gd name="connsiteY1020" fmla="*/ 1112205 h 5120141"/>
                <a:gd name="connsiteX1021" fmla="*/ 96768 w 3832826"/>
                <a:gd name="connsiteY1021" fmla="*/ 1112205 h 5120141"/>
                <a:gd name="connsiteX1022" fmla="*/ 84146 w 3832826"/>
                <a:gd name="connsiteY1022" fmla="*/ 1076133 h 5120141"/>
                <a:gd name="connsiteX1023" fmla="*/ 82042 w 3832826"/>
                <a:gd name="connsiteY1023" fmla="*/ 1056094 h 5120141"/>
                <a:gd name="connsiteX1024" fmla="*/ 84146 w 3832826"/>
                <a:gd name="connsiteY1024" fmla="*/ 1046074 h 5120141"/>
                <a:gd name="connsiteX1025" fmla="*/ 86250 w 3832826"/>
                <a:gd name="connsiteY1025" fmla="*/ 1036054 h 5120141"/>
                <a:gd name="connsiteX1026" fmla="*/ 96768 w 3832826"/>
                <a:gd name="connsiteY1026" fmla="*/ 1018018 h 5120141"/>
                <a:gd name="connsiteX1027" fmla="*/ 103079 w 3832826"/>
                <a:gd name="connsiteY1027" fmla="*/ 1003990 h 5120141"/>
                <a:gd name="connsiteX1028" fmla="*/ 103079 w 3832826"/>
                <a:gd name="connsiteY1028" fmla="*/ 995974 h 5120141"/>
                <a:gd name="connsiteX1029" fmla="*/ 103079 w 3832826"/>
                <a:gd name="connsiteY1029" fmla="*/ 987959 h 5120141"/>
                <a:gd name="connsiteX1030" fmla="*/ 92561 w 3832826"/>
                <a:gd name="connsiteY1030" fmla="*/ 965915 h 5120141"/>
                <a:gd name="connsiteX1031" fmla="*/ 73628 w 3832826"/>
                <a:gd name="connsiteY1031" fmla="*/ 903792 h 5120141"/>
                <a:gd name="connsiteX1032" fmla="*/ 67317 w 3832826"/>
                <a:gd name="connsiteY1032" fmla="*/ 869724 h 5120141"/>
                <a:gd name="connsiteX1033" fmla="*/ 63110 w 3832826"/>
                <a:gd name="connsiteY1033" fmla="*/ 837661 h 5120141"/>
                <a:gd name="connsiteX1034" fmla="*/ 63110 w 3832826"/>
                <a:gd name="connsiteY1034" fmla="*/ 823633 h 5120141"/>
                <a:gd name="connsiteX1035" fmla="*/ 65213 w 3832826"/>
                <a:gd name="connsiteY1035" fmla="*/ 807601 h 5120141"/>
                <a:gd name="connsiteX1036" fmla="*/ 65213 w 3832826"/>
                <a:gd name="connsiteY1036" fmla="*/ 781549 h 5120141"/>
                <a:gd name="connsiteX1037" fmla="*/ 63110 w 3832826"/>
                <a:gd name="connsiteY1037" fmla="*/ 767522 h 5120141"/>
                <a:gd name="connsiteX1038" fmla="*/ 56799 w 3832826"/>
                <a:gd name="connsiteY1038" fmla="*/ 757502 h 5120141"/>
                <a:gd name="connsiteX1039" fmla="*/ 46281 w 3832826"/>
                <a:gd name="connsiteY1039" fmla="*/ 747482 h 5120141"/>
                <a:gd name="connsiteX1040" fmla="*/ 29452 w 3832826"/>
                <a:gd name="connsiteY1040" fmla="*/ 741470 h 5120141"/>
                <a:gd name="connsiteX1041" fmla="*/ 27348 w 3832826"/>
                <a:gd name="connsiteY1041" fmla="*/ 733454 h 5120141"/>
                <a:gd name="connsiteX1042" fmla="*/ 29452 w 3832826"/>
                <a:gd name="connsiteY1042" fmla="*/ 725438 h 5120141"/>
                <a:gd name="connsiteX1043" fmla="*/ 31555 w 3832826"/>
                <a:gd name="connsiteY1043" fmla="*/ 717422 h 5120141"/>
                <a:gd name="connsiteX1044" fmla="*/ 39970 w 3832826"/>
                <a:gd name="connsiteY1044" fmla="*/ 711410 h 5120141"/>
                <a:gd name="connsiteX1045" fmla="*/ 46281 w 3832826"/>
                <a:gd name="connsiteY1045" fmla="*/ 705398 h 5120141"/>
                <a:gd name="connsiteX1046" fmla="*/ 52880 w 3832826"/>
                <a:gd name="connsiteY1046" fmla="*/ 703827 h 5120141"/>
                <a:gd name="connsiteX1047" fmla="*/ 52638 w 3832826"/>
                <a:gd name="connsiteY1047" fmla="*/ 703357 h 5120141"/>
                <a:gd name="connsiteX1048" fmla="*/ 44132 w 3832826"/>
                <a:gd name="connsiteY1048" fmla="*/ 705433 h 5120141"/>
                <a:gd name="connsiteX1049" fmla="*/ 37845 w 3832826"/>
                <a:gd name="connsiteY1049" fmla="*/ 711439 h 5120141"/>
                <a:gd name="connsiteX1050" fmla="*/ 29462 w 3832826"/>
                <a:gd name="connsiteY1050" fmla="*/ 717445 h 5120141"/>
                <a:gd name="connsiteX1051" fmla="*/ 27367 w 3832826"/>
                <a:gd name="connsiteY1051" fmla="*/ 725453 h 5120141"/>
                <a:gd name="connsiteX1052" fmla="*/ 25271 w 3832826"/>
                <a:gd name="connsiteY1052" fmla="*/ 733461 h 5120141"/>
                <a:gd name="connsiteX1053" fmla="*/ 27367 w 3832826"/>
                <a:gd name="connsiteY1053" fmla="*/ 741469 h 5120141"/>
                <a:gd name="connsiteX1054" fmla="*/ 16888 w 3832826"/>
                <a:gd name="connsiteY1054" fmla="*/ 737465 h 5120141"/>
                <a:gd name="connsiteX1055" fmla="*/ 10478 w 3832826"/>
                <a:gd name="connsiteY1055" fmla="*/ 733461 h 5120141"/>
                <a:gd name="connsiteX1056" fmla="*/ 6287 w 3832826"/>
                <a:gd name="connsiteY1056" fmla="*/ 727455 h 5120141"/>
                <a:gd name="connsiteX1057" fmla="*/ 4191 w 3832826"/>
                <a:gd name="connsiteY1057" fmla="*/ 721449 h 5120141"/>
                <a:gd name="connsiteX1058" fmla="*/ 0 w 3832826"/>
                <a:gd name="connsiteY1058" fmla="*/ 713441 h 5120141"/>
                <a:gd name="connsiteX1059" fmla="*/ 4191 w 3832826"/>
                <a:gd name="connsiteY1059" fmla="*/ 705433 h 5120141"/>
                <a:gd name="connsiteX1060" fmla="*/ 8383 w 3832826"/>
                <a:gd name="connsiteY1060" fmla="*/ 691346 h 5120141"/>
                <a:gd name="connsiteX1061" fmla="*/ 16888 w 3832826"/>
                <a:gd name="connsiteY1061" fmla="*/ 673328 h 5120141"/>
                <a:gd name="connsiteX1062" fmla="*/ 27367 w 3832826"/>
                <a:gd name="connsiteY1062" fmla="*/ 657312 h 5120141"/>
                <a:gd name="connsiteX1063" fmla="*/ 44132 w 3832826"/>
                <a:gd name="connsiteY1063" fmla="*/ 637292 h 5120141"/>
                <a:gd name="connsiteX1064" fmla="*/ 50542 w 3832826"/>
                <a:gd name="connsiteY1064" fmla="*/ 631287 h 5120141"/>
                <a:gd name="connsiteX1065" fmla="*/ 52638 w 3832826"/>
                <a:gd name="connsiteY1065" fmla="*/ 625206 h 5120141"/>
                <a:gd name="connsiteX1066" fmla="*/ 52638 w 3832826"/>
                <a:gd name="connsiteY1066" fmla="*/ 623205 h 5120141"/>
                <a:gd name="connsiteX1067" fmla="*/ 63116 w 3832826"/>
                <a:gd name="connsiteY1067" fmla="*/ 621203 h 5120141"/>
                <a:gd name="connsiteX1068" fmla="*/ 75690 w 3832826"/>
                <a:gd name="connsiteY1068" fmla="*/ 617199 h 5120141"/>
                <a:gd name="connsiteX1069" fmla="*/ 86291 w 3832826"/>
                <a:gd name="connsiteY1069" fmla="*/ 611193 h 5120141"/>
                <a:gd name="connsiteX1070" fmla="*/ 100961 w 3832826"/>
                <a:gd name="connsiteY1070" fmla="*/ 599181 h 5120141"/>
                <a:gd name="connsiteX1071" fmla="*/ 107248 w 3832826"/>
                <a:gd name="connsiteY1071" fmla="*/ 595177 h 5120141"/>
                <a:gd name="connsiteX1072" fmla="*/ 113658 w 3832826"/>
                <a:gd name="connsiteY1072" fmla="*/ 595177 h 5120141"/>
                <a:gd name="connsiteX1073" fmla="*/ 117849 w 3832826"/>
                <a:gd name="connsiteY1073" fmla="*/ 599181 h 5120141"/>
                <a:gd name="connsiteX1074" fmla="*/ 136710 w 3832826"/>
                <a:gd name="connsiteY1074" fmla="*/ 579161 h 5120141"/>
                <a:gd name="connsiteX1075" fmla="*/ 147311 w 3832826"/>
                <a:gd name="connsiteY1075" fmla="*/ 569151 h 5120141"/>
                <a:gd name="connsiteX1076" fmla="*/ 153598 w 3832826"/>
                <a:gd name="connsiteY1076" fmla="*/ 559142 h 5120141"/>
                <a:gd name="connsiteX1077" fmla="*/ 157790 w 3832826"/>
                <a:gd name="connsiteY1077" fmla="*/ 551060 h 5120141"/>
                <a:gd name="connsiteX1078" fmla="*/ 164077 w 3832826"/>
                <a:gd name="connsiteY1078" fmla="*/ 549058 h 5120141"/>
                <a:gd name="connsiteX1079" fmla="*/ 176650 w 3832826"/>
                <a:gd name="connsiteY1079" fmla="*/ 543052 h 5120141"/>
                <a:gd name="connsiteX1080" fmla="*/ 185156 w 3832826"/>
                <a:gd name="connsiteY1080" fmla="*/ 541050 h 5120141"/>
                <a:gd name="connsiteX1081" fmla="*/ 189348 w 3832826"/>
                <a:gd name="connsiteY1081" fmla="*/ 539048 h 5120141"/>
                <a:gd name="connsiteX1082" fmla="*/ 195634 w 3832826"/>
                <a:gd name="connsiteY1082" fmla="*/ 533042 h 5120141"/>
                <a:gd name="connsiteX1083" fmla="*/ 197730 w 3832826"/>
                <a:gd name="connsiteY1083" fmla="*/ 525034 h 5120141"/>
                <a:gd name="connsiteX1084" fmla="*/ 201921 w 3832826"/>
                <a:gd name="connsiteY1084" fmla="*/ 521030 h 5120141"/>
                <a:gd name="connsiteX1085" fmla="*/ 212523 w 3832826"/>
                <a:gd name="connsiteY1085" fmla="*/ 511020 h 5120141"/>
                <a:gd name="connsiteX1086" fmla="*/ 233480 w 3832826"/>
                <a:gd name="connsiteY1086" fmla="*/ 495005 h 5120141"/>
                <a:gd name="connsiteX1087" fmla="*/ 250368 w 3832826"/>
                <a:gd name="connsiteY1087" fmla="*/ 491001 h 5120141"/>
                <a:gd name="connsiteX1088" fmla="*/ 260846 w 3832826"/>
                <a:gd name="connsiteY1088" fmla="*/ 488999 h 5120141"/>
                <a:gd name="connsiteX1089" fmla="*/ 260846 w 3832826"/>
                <a:gd name="connsiteY1089" fmla="*/ 484995 h 5120141"/>
                <a:gd name="connsiteX1090" fmla="*/ 260846 w 3832826"/>
                <a:gd name="connsiteY1090" fmla="*/ 480917 h 5120141"/>
                <a:gd name="connsiteX1091" fmla="*/ 252464 w 3832826"/>
                <a:gd name="connsiteY1091" fmla="*/ 462899 h 5120141"/>
                <a:gd name="connsiteX1092" fmla="*/ 233480 w 3832826"/>
                <a:gd name="connsiteY1092" fmla="*/ 428866 h 5120141"/>
                <a:gd name="connsiteX1093" fmla="*/ 229288 w 3832826"/>
                <a:gd name="connsiteY1093" fmla="*/ 414852 h 5120141"/>
                <a:gd name="connsiteX1094" fmla="*/ 227193 w 3832826"/>
                <a:gd name="connsiteY1094" fmla="*/ 404768 h 5120141"/>
                <a:gd name="connsiteX1095" fmla="*/ 227193 w 3832826"/>
                <a:gd name="connsiteY1095" fmla="*/ 398762 h 5120141"/>
                <a:gd name="connsiteX1096" fmla="*/ 229288 w 3832826"/>
                <a:gd name="connsiteY1096" fmla="*/ 396760 h 5120141"/>
                <a:gd name="connsiteX1097" fmla="*/ 231384 w 3832826"/>
                <a:gd name="connsiteY1097" fmla="*/ 396760 h 5120141"/>
                <a:gd name="connsiteX1098" fmla="*/ 239766 w 3832826"/>
                <a:gd name="connsiteY1098" fmla="*/ 392756 h 5120141"/>
                <a:gd name="connsiteX1099" fmla="*/ 241862 w 3832826"/>
                <a:gd name="connsiteY1099" fmla="*/ 390754 h 5120141"/>
                <a:gd name="connsiteX1100" fmla="*/ 244081 w 3832826"/>
                <a:gd name="connsiteY1100" fmla="*/ 388752 h 5120141"/>
                <a:gd name="connsiteX1101" fmla="*/ 244081 w 3832826"/>
                <a:gd name="connsiteY1101" fmla="*/ 382746 h 5120141"/>
                <a:gd name="connsiteX1102" fmla="*/ 244081 w 3832826"/>
                <a:gd name="connsiteY1102" fmla="*/ 372736 h 5120141"/>
                <a:gd name="connsiteX1103" fmla="*/ 244081 w 3832826"/>
                <a:gd name="connsiteY1103" fmla="*/ 362726 h 5120141"/>
                <a:gd name="connsiteX1104" fmla="*/ 250368 w 3832826"/>
                <a:gd name="connsiteY1104" fmla="*/ 356721 h 5120141"/>
                <a:gd name="connsiteX1105" fmla="*/ 252464 w 3832826"/>
                <a:gd name="connsiteY1105" fmla="*/ 350715 h 5120141"/>
                <a:gd name="connsiteX1106" fmla="*/ 262942 w 3832826"/>
                <a:gd name="connsiteY1106" fmla="*/ 342707 h 5120141"/>
                <a:gd name="connsiteX1107" fmla="*/ 273420 w 3832826"/>
                <a:gd name="connsiteY1107" fmla="*/ 338703 h 5120141"/>
                <a:gd name="connsiteX1108" fmla="*/ 284022 w 3832826"/>
                <a:gd name="connsiteY1108" fmla="*/ 328619 h 5120141"/>
                <a:gd name="connsiteX1109" fmla="*/ 290308 w 3832826"/>
                <a:gd name="connsiteY1109" fmla="*/ 318609 h 5120141"/>
                <a:gd name="connsiteX1110" fmla="*/ 292404 w 3832826"/>
                <a:gd name="connsiteY1110" fmla="*/ 302593 h 5120141"/>
                <a:gd name="connsiteX1111" fmla="*/ 300787 w 3832826"/>
                <a:gd name="connsiteY1111" fmla="*/ 278570 h 5120141"/>
                <a:gd name="connsiteX1112" fmla="*/ 311388 w 3832826"/>
                <a:gd name="connsiteY1112" fmla="*/ 250468 h 5120141"/>
                <a:gd name="connsiteX1113" fmla="*/ 315579 w 3832826"/>
                <a:gd name="connsiteY1113" fmla="*/ 236454 h 5120141"/>
                <a:gd name="connsiteX1114" fmla="*/ 317675 w 3832826"/>
                <a:gd name="connsiteY1114" fmla="*/ 222441 h 5120141"/>
                <a:gd name="connsiteX1115" fmla="*/ 321866 w 3832826"/>
                <a:gd name="connsiteY1115" fmla="*/ 200419 h 5120141"/>
                <a:gd name="connsiteX1116" fmla="*/ 326058 w 3832826"/>
                <a:gd name="connsiteY1116" fmla="*/ 188407 h 5120141"/>
                <a:gd name="connsiteX1117" fmla="*/ 332345 w 3832826"/>
                <a:gd name="connsiteY1117" fmla="*/ 178323 h 5120141"/>
                <a:gd name="connsiteX1118" fmla="*/ 342946 w 3832826"/>
                <a:gd name="connsiteY1118" fmla="*/ 168313 h 5120141"/>
                <a:gd name="connsiteX1119" fmla="*/ 355520 w 3832826"/>
                <a:gd name="connsiteY1119" fmla="*/ 158303 h 5120141"/>
                <a:gd name="connsiteX1120" fmla="*/ 365998 w 3832826"/>
                <a:gd name="connsiteY1120" fmla="*/ 150296 h 5120141"/>
                <a:gd name="connsiteX1121" fmla="*/ 372285 w 3832826"/>
                <a:gd name="connsiteY1121" fmla="*/ 140286 h 5120141"/>
                <a:gd name="connsiteX1122" fmla="*/ 376600 w 3832826"/>
                <a:gd name="connsiteY1122" fmla="*/ 136282 h 5120141"/>
                <a:gd name="connsiteX1123" fmla="*/ 378695 w 3832826"/>
                <a:gd name="connsiteY1123" fmla="*/ 128274 h 5120141"/>
                <a:gd name="connsiteX1124" fmla="*/ 378695 w 3832826"/>
                <a:gd name="connsiteY1124" fmla="*/ 110182 h 5120141"/>
                <a:gd name="connsiteX1125" fmla="*/ 378695 w 3832826"/>
                <a:gd name="connsiteY1125" fmla="*/ 96168 h 5120141"/>
                <a:gd name="connsiteX1126" fmla="*/ 380791 w 3832826"/>
                <a:gd name="connsiteY1126" fmla="*/ 88161 h 5120141"/>
                <a:gd name="connsiteX1127" fmla="*/ 382887 w 3832826"/>
                <a:gd name="connsiteY1127" fmla="*/ 86159 h 5120141"/>
                <a:gd name="connsiteX1128" fmla="*/ 393365 w 3832826"/>
                <a:gd name="connsiteY1128" fmla="*/ 80153 h 5120141"/>
                <a:gd name="connsiteX1129" fmla="*/ 408158 w 3832826"/>
                <a:gd name="connsiteY1129" fmla="*/ 78151 h 5120141"/>
                <a:gd name="connsiteX1130" fmla="*/ 420732 w 3832826"/>
                <a:gd name="connsiteY1130" fmla="*/ 76149 h 5120141"/>
                <a:gd name="connsiteX1131" fmla="*/ 424923 w 3832826"/>
                <a:gd name="connsiteY1131" fmla="*/ 74147 h 5120141"/>
                <a:gd name="connsiteX1132" fmla="*/ 431210 w 3832826"/>
                <a:gd name="connsiteY1132" fmla="*/ 68141 h 5120141"/>
                <a:gd name="connsiteX1133" fmla="*/ 435401 w 3832826"/>
                <a:gd name="connsiteY1133" fmla="*/ 54127 h 5120141"/>
                <a:gd name="connsiteX1134" fmla="*/ 435401 w 3832826"/>
                <a:gd name="connsiteY1134" fmla="*/ 44117 h 5120141"/>
                <a:gd name="connsiteX1135" fmla="*/ 435401 w 3832826"/>
                <a:gd name="connsiteY1135" fmla="*/ 34033 h 5120141"/>
                <a:gd name="connsiteX1136" fmla="*/ 431210 w 3832826"/>
                <a:gd name="connsiteY1136" fmla="*/ 28027 h 5120141"/>
                <a:gd name="connsiteX1137" fmla="*/ 420732 w 3832826"/>
                <a:gd name="connsiteY1137" fmla="*/ 16016 h 5120141"/>
                <a:gd name="connsiteX1138" fmla="*/ 401747 w 3832826"/>
                <a:gd name="connsiteY1138" fmla="*/ 0 h 5120141"/>
                <a:gd name="connsiteX0" fmla="*/ 1390471 w 3832826"/>
                <a:gd name="connsiteY0" fmla="*/ 1285217 h 5120141"/>
                <a:gd name="connsiteX1" fmla="*/ 1392579 w 3832826"/>
                <a:gd name="connsiteY1" fmla="*/ 1291180 h 5120141"/>
                <a:gd name="connsiteX2" fmla="*/ 1392579 w 3832826"/>
                <a:gd name="connsiteY2" fmla="*/ 1296597 h 5120141"/>
                <a:gd name="connsiteX3" fmla="*/ 1392608 w 3832826"/>
                <a:gd name="connsiteY3" fmla="*/ 1296570 h 5120141"/>
                <a:gd name="connsiteX4" fmla="*/ 1392608 w 3832826"/>
                <a:gd name="connsiteY4" fmla="*/ 1290558 h 5120141"/>
                <a:gd name="connsiteX5" fmla="*/ 1390739 w 3832826"/>
                <a:gd name="connsiteY5" fmla="*/ 1285217 h 5120141"/>
                <a:gd name="connsiteX6" fmla="*/ 1390471 w 3832826"/>
                <a:gd name="connsiteY6" fmla="*/ 1285217 h 5120141"/>
                <a:gd name="connsiteX7" fmla="*/ 1138708 w 3832826"/>
                <a:gd name="connsiteY7" fmla="*/ 844805 h 5120141"/>
                <a:gd name="connsiteX8" fmla="*/ 1135965 w 3832826"/>
                <a:gd name="connsiteY8" fmla="*/ 845676 h 5120141"/>
                <a:gd name="connsiteX9" fmla="*/ 1138389 w 3832826"/>
                <a:gd name="connsiteY9" fmla="*/ 850296 h 5120141"/>
                <a:gd name="connsiteX10" fmla="*/ 1142308 w 3832826"/>
                <a:gd name="connsiteY10" fmla="*/ 851593 h 5120141"/>
                <a:gd name="connsiteX11" fmla="*/ 1138708 w 3832826"/>
                <a:gd name="connsiteY11" fmla="*/ 844805 h 5120141"/>
                <a:gd name="connsiteX12" fmla="*/ 1142276 w 3832826"/>
                <a:gd name="connsiteY12" fmla="*/ 825637 h 5120141"/>
                <a:gd name="connsiteX13" fmla="*/ 1144379 w 3832826"/>
                <a:gd name="connsiteY13" fmla="*/ 833653 h 5120141"/>
                <a:gd name="connsiteX14" fmla="*/ 1144379 w 3832826"/>
                <a:gd name="connsiteY14" fmla="*/ 839665 h 5120141"/>
                <a:gd name="connsiteX15" fmla="*/ 1143167 w 3832826"/>
                <a:gd name="connsiteY15" fmla="*/ 841974 h 5120141"/>
                <a:gd name="connsiteX16" fmla="*/ 1144345 w 3832826"/>
                <a:gd name="connsiteY16" fmla="*/ 841587 h 5120141"/>
                <a:gd name="connsiteX17" fmla="*/ 1146453 w 3832826"/>
                <a:gd name="connsiteY17" fmla="*/ 837612 h 5120141"/>
                <a:gd name="connsiteX18" fmla="*/ 1146453 w 3832826"/>
                <a:gd name="connsiteY18" fmla="*/ 831649 h 5120141"/>
                <a:gd name="connsiteX19" fmla="*/ 1144873 w 3832826"/>
                <a:gd name="connsiteY19" fmla="*/ 825637 h 5120141"/>
                <a:gd name="connsiteX20" fmla="*/ 1142276 w 3832826"/>
                <a:gd name="connsiteY20" fmla="*/ 825637 h 5120141"/>
                <a:gd name="connsiteX21" fmla="*/ 401747 w 3832826"/>
                <a:gd name="connsiteY21" fmla="*/ 0 h 5120141"/>
                <a:gd name="connsiteX22" fmla="*/ 769965 w 3832826"/>
                <a:gd name="connsiteY22" fmla="*/ 0 h 5120141"/>
                <a:gd name="connsiteX23" fmla="*/ 1138058 w 3832826"/>
                <a:gd name="connsiteY23" fmla="*/ 0 h 5120141"/>
                <a:gd name="connsiteX24" fmla="*/ 1222254 w 3832826"/>
                <a:gd name="connsiteY24" fmla="*/ 0 h 5120141"/>
                <a:gd name="connsiteX25" fmla="*/ 1226445 w 3832826"/>
                <a:gd name="connsiteY25" fmla="*/ 140286 h 5120141"/>
                <a:gd name="connsiteX26" fmla="*/ 1228541 w 3832826"/>
                <a:gd name="connsiteY26" fmla="*/ 278570 h 5120141"/>
                <a:gd name="connsiteX27" fmla="*/ 1232732 w 3832826"/>
                <a:gd name="connsiteY27" fmla="*/ 414852 h 5120141"/>
                <a:gd name="connsiteX28" fmla="*/ 1228541 w 3832826"/>
                <a:gd name="connsiteY28" fmla="*/ 559142 h 5120141"/>
                <a:gd name="connsiteX29" fmla="*/ 1224350 w 3832826"/>
                <a:gd name="connsiteY29" fmla="*/ 559142 h 5120141"/>
                <a:gd name="connsiteX30" fmla="*/ 1224350 w 3832826"/>
                <a:gd name="connsiteY30" fmla="*/ 591173 h 5120141"/>
                <a:gd name="connsiteX31" fmla="*/ 1222254 w 3832826"/>
                <a:gd name="connsiteY31" fmla="*/ 591173 h 5120141"/>
                <a:gd name="connsiteX32" fmla="*/ 1194887 w 3832826"/>
                <a:gd name="connsiteY32" fmla="*/ 591173 h 5120141"/>
                <a:gd name="connsiteX33" fmla="*/ 1163329 w 3832826"/>
                <a:gd name="connsiteY33" fmla="*/ 591173 h 5120141"/>
                <a:gd name="connsiteX34" fmla="*/ 1108125 w 3832826"/>
                <a:gd name="connsiteY34" fmla="*/ 602727 h 5120141"/>
                <a:gd name="connsiteX35" fmla="*/ 1110721 w 3832826"/>
                <a:gd name="connsiteY35" fmla="*/ 605200 h 5120141"/>
                <a:gd name="connsiteX36" fmla="*/ 1119136 w 3832826"/>
                <a:gd name="connsiteY36" fmla="*/ 613216 h 5120141"/>
                <a:gd name="connsiteX37" fmla="*/ 1121239 w 3832826"/>
                <a:gd name="connsiteY37" fmla="*/ 621231 h 5120141"/>
                <a:gd name="connsiteX38" fmla="*/ 1123343 w 3832826"/>
                <a:gd name="connsiteY38" fmla="*/ 645279 h 5120141"/>
                <a:gd name="connsiteX39" fmla="*/ 1129654 w 3832826"/>
                <a:gd name="connsiteY39" fmla="*/ 657303 h 5120141"/>
                <a:gd name="connsiteX40" fmla="*/ 1140172 w 3832826"/>
                <a:gd name="connsiteY40" fmla="*/ 667323 h 5120141"/>
                <a:gd name="connsiteX41" fmla="*/ 1146483 w 3832826"/>
                <a:gd name="connsiteY41" fmla="*/ 673335 h 5120141"/>
                <a:gd name="connsiteX42" fmla="*/ 1161208 w 3832826"/>
                <a:gd name="connsiteY42" fmla="*/ 677343 h 5120141"/>
                <a:gd name="connsiteX43" fmla="*/ 1184348 w 3832826"/>
                <a:gd name="connsiteY43" fmla="*/ 683355 h 5120141"/>
                <a:gd name="connsiteX44" fmla="*/ 1194866 w 3832826"/>
                <a:gd name="connsiteY44" fmla="*/ 687363 h 5120141"/>
                <a:gd name="connsiteX45" fmla="*/ 1205385 w 3832826"/>
                <a:gd name="connsiteY45" fmla="*/ 693375 h 5120141"/>
                <a:gd name="connsiteX46" fmla="*/ 1209592 w 3832826"/>
                <a:gd name="connsiteY46" fmla="*/ 703394 h 5120141"/>
                <a:gd name="connsiteX47" fmla="*/ 1213799 w 3832826"/>
                <a:gd name="connsiteY47" fmla="*/ 715418 h 5120141"/>
                <a:gd name="connsiteX48" fmla="*/ 1199074 w 3832826"/>
                <a:gd name="connsiteY48" fmla="*/ 715418 h 5120141"/>
                <a:gd name="connsiteX49" fmla="*/ 1196970 w 3832826"/>
                <a:gd name="connsiteY49" fmla="*/ 715418 h 5120141"/>
                <a:gd name="connsiteX50" fmla="*/ 1196970 w 3832826"/>
                <a:gd name="connsiteY50" fmla="*/ 717422 h 5120141"/>
                <a:gd name="connsiteX51" fmla="*/ 1203281 w 3832826"/>
                <a:gd name="connsiteY51" fmla="*/ 725438 h 5120141"/>
                <a:gd name="connsiteX52" fmla="*/ 1205385 w 3832826"/>
                <a:gd name="connsiteY52" fmla="*/ 733454 h 5120141"/>
                <a:gd name="connsiteX53" fmla="*/ 1207488 w 3832826"/>
                <a:gd name="connsiteY53" fmla="*/ 751490 h 5120141"/>
                <a:gd name="connsiteX54" fmla="*/ 1207488 w 3832826"/>
                <a:gd name="connsiteY54" fmla="*/ 763514 h 5120141"/>
                <a:gd name="connsiteX55" fmla="*/ 1199074 w 3832826"/>
                <a:gd name="connsiteY55" fmla="*/ 773533 h 5120141"/>
                <a:gd name="connsiteX56" fmla="*/ 1188556 w 3832826"/>
                <a:gd name="connsiteY56" fmla="*/ 785557 h 5120141"/>
                <a:gd name="connsiteX57" fmla="*/ 1175934 w 3832826"/>
                <a:gd name="connsiteY57" fmla="*/ 793573 h 5120141"/>
                <a:gd name="connsiteX58" fmla="*/ 1161208 w 3832826"/>
                <a:gd name="connsiteY58" fmla="*/ 801589 h 5120141"/>
                <a:gd name="connsiteX59" fmla="*/ 1154897 w 3832826"/>
                <a:gd name="connsiteY59" fmla="*/ 803593 h 5120141"/>
                <a:gd name="connsiteX60" fmla="*/ 1150690 w 3832826"/>
                <a:gd name="connsiteY60" fmla="*/ 811609 h 5120141"/>
                <a:gd name="connsiteX61" fmla="*/ 1150690 w 3832826"/>
                <a:gd name="connsiteY61" fmla="*/ 817621 h 5120141"/>
                <a:gd name="connsiteX62" fmla="*/ 1153844 w 3832826"/>
                <a:gd name="connsiteY62" fmla="*/ 823631 h 5120141"/>
                <a:gd name="connsiteX63" fmla="*/ 1156992 w 3832826"/>
                <a:gd name="connsiteY63" fmla="*/ 823631 h 5120141"/>
                <a:gd name="connsiteX64" fmla="*/ 1165424 w 3832826"/>
                <a:gd name="connsiteY64" fmla="*/ 823631 h 5120141"/>
                <a:gd name="connsiteX65" fmla="*/ 1169639 w 3832826"/>
                <a:gd name="connsiteY65" fmla="*/ 827606 h 5120141"/>
                <a:gd name="connsiteX66" fmla="*/ 1173855 w 3832826"/>
                <a:gd name="connsiteY66" fmla="*/ 833637 h 5120141"/>
                <a:gd name="connsiteX67" fmla="*/ 1173855 w 3832826"/>
                <a:gd name="connsiteY67" fmla="*/ 841587 h 5120141"/>
                <a:gd name="connsiteX68" fmla="*/ 1173855 w 3832826"/>
                <a:gd name="connsiteY68" fmla="*/ 855568 h 5120141"/>
                <a:gd name="connsiteX69" fmla="*/ 1169639 w 3832826"/>
                <a:gd name="connsiteY69" fmla="*/ 871605 h 5120141"/>
                <a:gd name="connsiteX70" fmla="*/ 1184324 w 3832826"/>
                <a:gd name="connsiteY70" fmla="*/ 867562 h 5120141"/>
                <a:gd name="connsiteX71" fmla="*/ 1180108 w 3832826"/>
                <a:gd name="connsiteY71" fmla="*/ 877568 h 5120141"/>
                <a:gd name="connsiteX72" fmla="*/ 1188540 w 3832826"/>
                <a:gd name="connsiteY72" fmla="*/ 877568 h 5120141"/>
                <a:gd name="connsiteX73" fmla="*/ 1194863 w 3832826"/>
                <a:gd name="connsiteY73" fmla="*/ 885587 h 5120141"/>
                <a:gd name="connsiteX74" fmla="*/ 1196971 w 3832826"/>
                <a:gd name="connsiteY74" fmla="*/ 895593 h 5120141"/>
                <a:gd name="connsiteX75" fmla="*/ 1188540 w 3832826"/>
                <a:gd name="connsiteY75" fmla="*/ 895593 h 5120141"/>
                <a:gd name="connsiteX76" fmla="*/ 1190648 w 3832826"/>
                <a:gd name="connsiteY76" fmla="*/ 903543 h 5120141"/>
                <a:gd name="connsiteX77" fmla="*/ 1188540 w 3832826"/>
                <a:gd name="connsiteY77" fmla="*/ 907518 h 5120141"/>
                <a:gd name="connsiteX78" fmla="*/ 1184324 w 3832826"/>
                <a:gd name="connsiteY78" fmla="*/ 913549 h 5120141"/>
                <a:gd name="connsiteX79" fmla="*/ 1175963 w 3832826"/>
                <a:gd name="connsiteY79" fmla="*/ 917524 h 5120141"/>
                <a:gd name="connsiteX80" fmla="*/ 1169639 w 3832826"/>
                <a:gd name="connsiteY80" fmla="*/ 923555 h 5120141"/>
                <a:gd name="connsiteX81" fmla="*/ 1163316 w 3832826"/>
                <a:gd name="connsiteY81" fmla="*/ 933493 h 5120141"/>
                <a:gd name="connsiteX82" fmla="*/ 1163316 w 3832826"/>
                <a:gd name="connsiteY82" fmla="*/ 941512 h 5120141"/>
                <a:gd name="connsiteX83" fmla="*/ 1159100 w 3832826"/>
                <a:gd name="connsiteY83" fmla="*/ 947543 h 5120141"/>
                <a:gd name="connsiteX84" fmla="*/ 1167532 w 3832826"/>
                <a:gd name="connsiteY84" fmla="*/ 947543 h 5120141"/>
                <a:gd name="connsiteX85" fmla="*/ 1165424 w 3832826"/>
                <a:gd name="connsiteY85" fmla="*/ 963511 h 5120141"/>
                <a:gd name="connsiteX86" fmla="*/ 1167532 w 3832826"/>
                <a:gd name="connsiteY86" fmla="*/ 975505 h 5120141"/>
                <a:gd name="connsiteX87" fmla="*/ 1167532 w 3832826"/>
                <a:gd name="connsiteY87" fmla="*/ 991474 h 5120141"/>
                <a:gd name="connsiteX88" fmla="*/ 1167532 w 3832826"/>
                <a:gd name="connsiteY88" fmla="*/ 1007443 h 5120141"/>
                <a:gd name="connsiteX89" fmla="*/ 1169639 w 3832826"/>
                <a:gd name="connsiteY89" fmla="*/ 1011486 h 5120141"/>
                <a:gd name="connsiteX90" fmla="*/ 1173855 w 3832826"/>
                <a:gd name="connsiteY90" fmla="*/ 1015461 h 5120141"/>
                <a:gd name="connsiteX91" fmla="*/ 1169639 w 3832826"/>
                <a:gd name="connsiteY91" fmla="*/ 1021424 h 5120141"/>
                <a:gd name="connsiteX92" fmla="*/ 1167532 w 3832826"/>
                <a:gd name="connsiteY92" fmla="*/ 1021424 h 5120141"/>
                <a:gd name="connsiteX93" fmla="*/ 1163316 w 3832826"/>
                <a:gd name="connsiteY93" fmla="*/ 1021424 h 5120141"/>
                <a:gd name="connsiteX94" fmla="*/ 1159100 w 3832826"/>
                <a:gd name="connsiteY94" fmla="*/ 1027455 h 5120141"/>
                <a:gd name="connsiteX95" fmla="*/ 1163316 w 3832826"/>
                <a:gd name="connsiteY95" fmla="*/ 1033418 h 5120141"/>
                <a:gd name="connsiteX96" fmla="*/ 1167532 w 3832826"/>
                <a:gd name="connsiteY96" fmla="*/ 1037461 h 5120141"/>
                <a:gd name="connsiteX97" fmla="*/ 1169639 w 3832826"/>
                <a:gd name="connsiteY97" fmla="*/ 1047399 h 5120141"/>
                <a:gd name="connsiteX98" fmla="*/ 1173855 w 3832826"/>
                <a:gd name="connsiteY98" fmla="*/ 1059393 h 5120141"/>
                <a:gd name="connsiteX99" fmla="*/ 1186432 w 3832826"/>
                <a:gd name="connsiteY99" fmla="*/ 1057405 h 5120141"/>
                <a:gd name="connsiteX100" fmla="*/ 1184324 w 3832826"/>
                <a:gd name="connsiteY100" fmla="*/ 1065424 h 5120141"/>
                <a:gd name="connsiteX101" fmla="*/ 1194863 w 3832826"/>
                <a:gd name="connsiteY101" fmla="*/ 1063436 h 5120141"/>
                <a:gd name="connsiteX102" fmla="*/ 1201187 w 3832826"/>
                <a:gd name="connsiteY102" fmla="*/ 1065424 h 5120141"/>
                <a:gd name="connsiteX103" fmla="*/ 1205403 w 3832826"/>
                <a:gd name="connsiteY103" fmla="*/ 1073374 h 5120141"/>
                <a:gd name="connsiteX104" fmla="*/ 1205403 w 3832826"/>
                <a:gd name="connsiteY104" fmla="*/ 1083380 h 5120141"/>
                <a:gd name="connsiteX105" fmla="*/ 1209618 w 3832826"/>
                <a:gd name="connsiteY105" fmla="*/ 1083380 h 5120141"/>
                <a:gd name="connsiteX106" fmla="*/ 1209618 w 3832826"/>
                <a:gd name="connsiteY106" fmla="*/ 1095374 h 5120141"/>
                <a:gd name="connsiteX107" fmla="*/ 1220087 w 3832826"/>
                <a:gd name="connsiteY107" fmla="*/ 1097361 h 5120141"/>
                <a:gd name="connsiteX108" fmla="*/ 1226411 w 3832826"/>
                <a:gd name="connsiteY108" fmla="*/ 1103392 h 5120141"/>
                <a:gd name="connsiteX109" fmla="*/ 1232734 w 3832826"/>
                <a:gd name="connsiteY109" fmla="*/ 1115386 h 5120141"/>
                <a:gd name="connsiteX110" fmla="*/ 1241166 w 3832826"/>
                <a:gd name="connsiteY110" fmla="*/ 1113330 h 5120141"/>
                <a:gd name="connsiteX111" fmla="*/ 1247489 w 3832826"/>
                <a:gd name="connsiteY111" fmla="*/ 1119361 h 5120141"/>
                <a:gd name="connsiteX112" fmla="*/ 1249527 w 3832826"/>
                <a:gd name="connsiteY112" fmla="*/ 1127311 h 5120141"/>
                <a:gd name="connsiteX113" fmla="*/ 1262174 w 3832826"/>
                <a:gd name="connsiteY113" fmla="*/ 1137317 h 5120141"/>
                <a:gd name="connsiteX114" fmla="*/ 1274821 w 3832826"/>
                <a:gd name="connsiteY114" fmla="*/ 1147324 h 5120141"/>
                <a:gd name="connsiteX115" fmla="*/ 1291613 w 3832826"/>
                <a:gd name="connsiteY115" fmla="*/ 1159317 h 5120141"/>
                <a:gd name="connsiteX116" fmla="*/ 1293721 w 3832826"/>
                <a:gd name="connsiteY116" fmla="*/ 1165280 h 5120141"/>
                <a:gd name="connsiteX117" fmla="*/ 1295829 w 3832826"/>
                <a:gd name="connsiteY117" fmla="*/ 1173299 h 5120141"/>
                <a:gd name="connsiteX118" fmla="*/ 1306368 w 3832826"/>
                <a:gd name="connsiteY118" fmla="*/ 1173299 h 5120141"/>
                <a:gd name="connsiteX119" fmla="*/ 1312692 w 3832826"/>
                <a:gd name="connsiteY119" fmla="*/ 1177274 h 5120141"/>
                <a:gd name="connsiteX120" fmla="*/ 1314800 w 3832826"/>
                <a:gd name="connsiteY120" fmla="*/ 1185292 h 5120141"/>
                <a:gd name="connsiteX121" fmla="*/ 1312692 w 3832826"/>
                <a:gd name="connsiteY121" fmla="*/ 1195299 h 5120141"/>
                <a:gd name="connsiteX122" fmla="*/ 1321053 w 3832826"/>
                <a:gd name="connsiteY122" fmla="*/ 1193311 h 5120141"/>
                <a:gd name="connsiteX123" fmla="*/ 1323161 w 3832826"/>
                <a:gd name="connsiteY123" fmla="*/ 1195299 h 5120141"/>
                <a:gd name="connsiteX124" fmla="*/ 1325269 w 3832826"/>
                <a:gd name="connsiteY124" fmla="*/ 1199274 h 5120141"/>
                <a:gd name="connsiteX125" fmla="*/ 1325269 w 3832826"/>
                <a:gd name="connsiteY125" fmla="*/ 1205305 h 5120141"/>
                <a:gd name="connsiteX126" fmla="*/ 1337916 w 3832826"/>
                <a:gd name="connsiteY126" fmla="*/ 1205305 h 5120141"/>
                <a:gd name="connsiteX127" fmla="*/ 1337916 w 3832826"/>
                <a:gd name="connsiteY127" fmla="*/ 1217230 h 5120141"/>
                <a:gd name="connsiteX128" fmla="*/ 1344239 w 3832826"/>
                <a:gd name="connsiteY128" fmla="*/ 1215242 h 5120141"/>
                <a:gd name="connsiteX129" fmla="*/ 1344239 w 3832826"/>
                <a:gd name="connsiteY129" fmla="*/ 1219286 h 5120141"/>
                <a:gd name="connsiteX130" fmla="*/ 1346347 w 3832826"/>
                <a:gd name="connsiteY130" fmla="*/ 1219286 h 5120141"/>
                <a:gd name="connsiteX131" fmla="*/ 1352671 w 3832826"/>
                <a:gd name="connsiteY131" fmla="*/ 1223261 h 5120141"/>
                <a:gd name="connsiteX132" fmla="*/ 1352671 w 3832826"/>
                <a:gd name="connsiteY132" fmla="*/ 1227236 h 5120141"/>
                <a:gd name="connsiteX133" fmla="*/ 1358924 w 3832826"/>
                <a:gd name="connsiteY133" fmla="*/ 1227236 h 5120141"/>
                <a:gd name="connsiteX134" fmla="*/ 1365247 w 3832826"/>
                <a:gd name="connsiteY134" fmla="*/ 1235255 h 5120141"/>
                <a:gd name="connsiteX135" fmla="*/ 1365247 w 3832826"/>
                <a:gd name="connsiteY135" fmla="*/ 1241217 h 5120141"/>
                <a:gd name="connsiteX136" fmla="*/ 1365247 w 3832826"/>
                <a:gd name="connsiteY136" fmla="*/ 1251223 h 5120141"/>
                <a:gd name="connsiteX137" fmla="*/ 1369463 w 3832826"/>
                <a:gd name="connsiteY137" fmla="*/ 1249236 h 5120141"/>
                <a:gd name="connsiteX138" fmla="*/ 1375787 w 3832826"/>
                <a:gd name="connsiteY138" fmla="*/ 1251223 h 5120141"/>
                <a:gd name="connsiteX139" fmla="*/ 1377895 w 3832826"/>
                <a:gd name="connsiteY139" fmla="*/ 1255199 h 5120141"/>
                <a:gd name="connsiteX140" fmla="*/ 1377895 w 3832826"/>
                <a:gd name="connsiteY140" fmla="*/ 1259242 h 5120141"/>
                <a:gd name="connsiteX141" fmla="*/ 1396795 w 3832826"/>
                <a:gd name="connsiteY141" fmla="*/ 1257255 h 5120141"/>
                <a:gd name="connsiteX142" fmla="*/ 1398903 w 3832826"/>
                <a:gd name="connsiteY142" fmla="*/ 1275211 h 5120141"/>
                <a:gd name="connsiteX143" fmla="*/ 1407333 w 3832826"/>
                <a:gd name="connsiteY143" fmla="*/ 1271236 h 5120141"/>
                <a:gd name="connsiteX144" fmla="*/ 1407333 w 3832826"/>
                <a:gd name="connsiteY144" fmla="*/ 1270518 h 5120141"/>
                <a:gd name="connsiteX145" fmla="*/ 1453613 w 3832826"/>
                <a:gd name="connsiteY145" fmla="*/ 1244467 h 5120141"/>
                <a:gd name="connsiteX146" fmla="*/ 1459924 w 3832826"/>
                <a:gd name="connsiteY146" fmla="*/ 1274526 h 5120141"/>
                <a:gd name="connsiteX147" fmla="*/ 1459924 w 3832826"/>
                <a:gd name="connsiteY147" fmla="*/ 1290558 h 5120141"/>
                <a:gd name="connsiteX148" fmla="*/ 1455717 w 3832826"/>
                <a:gd name="connsiteY148" fmla="*/ 1304586 h 5120141"/>
                <a:gd name="connsiteX149" fmla="*/ 1453613 w 3832826"/>
                <a:gd name="connsiteY149" fmla="*/ 1308594 h 5120141"/>
                <a:gd name="connsiteX150" fmla="*/ 1449406 w 3832826"/>
                <a:gd name="connsiteY150" fmla="*/ 1310598 h 5120141"/>
                <a:gd name="connsiteX151" fmla="*/ 1440991 w 3832826"/>
                <a:gd name="connsiteY151" fmla="*/ 1316610 h 5120141"/>
                <a:gd name="connsiteX152" fmla="*/ 1434680 w 3832826"/>
                <a:gd name="connsiteY152" fmla="*/ 1318614 h 5120141"/>
                <a:gd name="connsiteX153" fmla="*/ 1432577 w 3832826"/>
                <a:gd name="connsiteY153" fmla="*/ 1320618 h 5120141"/>
                <a:gd name="connsiteX154" fmla="*/ 1430473 w 3832826"/>
                <a:gd name="connsiteY154" fmla="*/ 1326630 h 5120141"/>
                <a:gd name="connsiteX155" fmla="*/ 1430473 w 3832826"/>
                <a:gd name="connsiteY155" fmla="*/ 1334645 h 5120141"/>
                <a:gd name="connsiteX156" fmla="*/ 1434680 w 3832826"/>
                <a:gd name="connsiteY156" fmla="*/ 1338653 h 5120141"/>
                <a:gd name="connsiteX157" fmla="*/ 1440991 w 3832826"/>
                <a:gd name="connsiteY157" fmla="*/ 1350677 h 5120141"/>
                <a:gd name="connsiteX158" fmla="*/ 1443095 w 3832826"/>
                <a:gd name="connsiteY158" fmla="*/ 1366709 h 5120141"/>
                <a:gd name="connsiteX159" fmla="*/ 1443095 w 3832826"/>
                <a:gd name="connsiteY159" fmla="*/ 1380737 h 5120141"/>
                <a:gd name="connsiteX160" fmla="*/ 1445199 w 3832826"/>
                <a:gd name="connsiteY160" fmla="*/ 1436848 h 5120141"/>
                <a:gd name="connsiteX161" fmla="*/ 1422059 w 3832826"/>
                <a:gd name="connsiteY161" fmla="*/ 1436848 h 5120141"/>
                <a:gd name="connsiteX162" fmla="*/ 1403126 w 3832826"/>
                <a:gd name="connsiteY162" fmla="*/ 1438852 h 5120141"/>
                <a:gd name="connsiteX163" fmla="*/ 1392608 w 3832826"/>
                <a:gd name="connsiteY163" fmla="*/ 1440856 h 5120141"/>
                <a:gd name="connsiteX164" fmla="*/ 1382089 w 3832826"/>
                <a:gd name="connsiteY164" fmla="*/ 1444864 h 5120141"/>
                <a:gd name="connsiteX165" fmla="*/ 1375779 w 3832826"/>
                <a:gd name="connsiteY165" fmla="*/ 1448872 h 5120141"/>
                <a:gd name="connsiteX166" fmla="*/ 1367364 w 3832826"/>
                <a:gd name="connsiteY166" fmla="*/ 1456888 h 5120141"/>
                <a:gd name="connsiteX167" fmla="*/ 1358949 w 3832826"/>
                <a:gd name="connsiteY167" fmla="*/ 1462900 h 5120141"/>
                <a:gd name="connsiteX168" fmla="*/ 1354742 w 3832826"/>
                <a:gd name="connsiteY168" fmla="*/ 1472920 h 5120141"/>
                <a:gd name="connsiteX169" fmla="*/ 1348431 w 3832826"/>
                <a:gd name="connsiteY169" fmla="*/ 1480935 h 5120141"/>
                <a:gd name="connsiteX170" fmla="*/ 1344224 w 3832826"/>
                <a:gd name="connsiteY170" fmla="*/ 1482939 h 5120141"/>
                <a:gd name="connsiteX171" fmla="*/ 1342120 w 3832826"/>
                <a:gd name="connsiteY171" fmla="*/ 1482939 h 5120141"/>
                <a:gd name="connsiteX172" fmla="*/ 1333706 w 3832826"/>
                <a:gd name="connsiteY172" fmla="*/ 1480935 h 5120141"/>
                <a:gd name="connsiteX173" fmla="*/ 1327395 w 3832826"/>
                <a:gd name="connsiteY173" fmla="*/ 1482939 h 5120141"/>
                <a:gd name="connsiteX174" fmla="*/ 1325291 w 3832826"/>
                <a:gd name="connsiteY174" fmla="*/ 1488951 h 5120141"/>
                <a:gd name="connsiteX175" fmla="*/ 1323188 w 3832826"/>
                <a:gd name="connsiteY175" fmla="*/ 1492959 h 5120141"/>
                <a:gd name="connsiteX176" fmla="*/ 1321084 w 3832826"/>
                <a:gd name="connsiteY176" fmla="*/ 1506987 h 5120141"/>
                <a:gd name="connsiteX177" fmla="*/ 1316877 w 3832826"/>
                <a:gd name="connsiteY177" fmla="*/ 1512999 h 5120141"/>
                <a:gd name="connsiteX178" fmla="*/ 1310566 w 3832826"/>
                <a:gd name="connsiteY178" fmla="*/ 1521015 h 5120141"/>
                <a:gd name="connsiteX179" fmla="*/ 1304255 w 3832826"/>
                <a:gd name="connsiteY179" fmla="*/ 1523019 h 5120141"/>
                <a:gd name="connsiteX180" fmla="*/ 1293737 w 3832826"/>
                <a:gd name="connsiteY180" fmla="*/ 1529031 h 5120141"/>
                <a:gd name="connsiteX181" fmla="*/ 1281115 w 3832826"/>
                <a:gd name="connsiteY181" fmla="*/ 1529031 h 5120141"/>
                <a:gd name="connsiteX182" fmla="*/ 1279011 w 3832826"/>
                <a:gd name="connsiteY182" fmla="*/ 1531035 h 5120141"/>
                <a:gd name="connsiteX183" fmla="*/ 1274804 w 3832826"/>
                <a:gd name="connsiteY183" fmla="*/ 1537046 h 5120141"/>
                <a:gd name="connsiteX184" fmla="*/ 1272700 w 3832826"/>
                <a:gd name="connsiteY184" fmla="*/ 1547066 h 5120141"/>
                <a:gd name="connsiteX185" fmla="*/ 1270597 w 3832826"/>
                <a:gd name="connsiteY185" fmla="*/ 1559090 h 5120141"/>
                <a:gd name="connsiteX186" fmla="*/ 1264286 w 3832826"/>
                <a:gd name="connsiteY186" fmla="*/ 1569110 h 5120141"/>
                <a:gd name="connsiteX187" fmla="*/ 1262182 w 3832826"/>
                <a:gd name="connsiteY187" fmla="*/ 1569110 h 5120141"/>
                <a:gd name="connsiteX188" fmla="*/ 1262182 w 3832826"/>
                <a:gd name="connsiteY188" fmla="*/ 1573118 h 5120141"/>
                <a:gd name="connsiteX189" fmla="*/ 1260078 w 3832826"/>
                <a:gd name="connsiteY189" fmla="*/ 1579130 h 5120141"/>
                <a:gd name="connsiteX190" fmla="*/ 1260078 w 3832826"/>
                <a:gd name="connsiteY190" fmla="*/ 1599170 h 5120141"/>
                <a:gd name="connsiteX191" fmla="*/ 1260078 w 3832826"/>
                <a:gd name="connsiteY191" fmla="*/ 1633237 h 5120141"/>
                <a:gd name="connsiteX192" fmla="*/ 1260078 w 3832826"/>
                <a:gd name="connsiteY192" fmla="*/ 1679328 h 5120141"/>
                <a:gd name="connsiteX193" fmla="*/ 1258254 w 3832826"/>
                <a:gd name="connsiteY193" fmla="*/ 1717574 h 5120141"/>
                <a:gd name="connsiteX194" fmla="*/ 1279014 w 3832826"/>
                <a:gd name="connsiteY194" fmla="*/ 1732471 h 5120141"/>
                <a:gd name="connsiteX195" fmla="*/ 1302154 w 3832826"/>
                <a:gd name="connsiteY195" fmla="*/ 1736462 h 5120141"/>
                <a:gd name="connsiteX196" fmla="*/ 1312672 w 3832826"/>
                <a:gd name="connsiteY196" fmla="*/ 1736462 h 5120141"/>
                <a:gd name="connsiteX197" fmla="*/ 1323191 w 3832826"/>
                <a:gd name="connsiteY197" fmla="*/ 1734466 h 5120141"/>
                <a:gd name="connsiteX198" fmla="*/ 1337916 w 3832826"/>
                <a:gd name="connsiteY198" fmla="*/ 1732471 h 5120141"/>
                <a:gd name="connsiteX199" fmla="*/ 1350538 w 3832826"/>
                <a:gd name="connsiteY199" fmla="*/ 1726484 h 5120141"/>
                <a:gd name="connsiteX200" fmla="*/ 1354745 w 3832826"/>
                <a:gd name="connsiteY200" fmla="*/ 1726484 h 5120141"/>
                <a:gd name="connsiteX201" fmla="*/ 1365263 w 3832826"/>
                <a:gd name="connsiteY201" fmla="*/ 1730475 h 5120141"/>
                <a:gd name="connsiteX202" fmla="*/ 1394714 w 3832826"/>
                <a:gd name="connsiteY202" fmla="*/ 1742449 h 5120141"/>
                <a:gd name="connsiteX203" fmla="*/ 1407336 w 3832826"/>
                <a:gd name="connsiteY203" fmla="*/ 1744445 h 5120141"/>
                <a:gd name="connsiteX204" fmla="*/ 1419958 w 3832826"/>
                <a:gd name="connsiteY204" fmla="*/ 1746440 h 5120141"/>
                <a:gd name="connsiteX205" fmla="*/ 1426269 w 3832826"/>
                <a:gd name="connsiteY205" fmla="*/ 1744445 h 5120141"/>
                <a:gd name="connsiteX206" fmla="*/ 1430476 w 3832826"/>
                <a:gd name="connsiteY206" fmla="*/ 1742449 h 5120141"/>
                <a:gd name="connsiteX207" fmla="*/ 1430476 w 3832826"/>
                <a:gd name="connsiteY207" fmla="*/ 1740453 h 5120141"/>
                <a:gd name="connsiteX208" fmla="*/ 1434684 w 3832826"/>
                <a:gd name="connsiteY208" fmla="*/ 1734466 h 5120141"/>
                <a:gd name="connsiteX209" fmla="*/ 1434684 w 3832826"/>
                <a:gd name="connsiteY209" fmla="*/ 1726484 h 5120141"/>
                <a:gd name="connsiteX210" fmla="*/ 1436787 w 3832826"/>
                <a:gd name="connsiteY210" fmla="*/ 1722493 h 5120141"/>
                <a:gd name="connsiteX211" fmla="*/ 1445202 w 3832826"/>
                <a:gd name="connsiteY211" fmla="*/ 1712514 h 5120141"/>
                <a:gd name="connsiteX212" fmla="*/ 1455720 w 3832826"/>
                <a:gd name="connsiteY212" fmla="*/ 1704532 h 5120141"/>
                <a:gd name="connsiteX213" fmla="*/ 1462031 w 3832826"/>
                <a:gd name="connsiteY213" fmla="*/ 1694553 h 5120141"/>
                <a:gd name="connsiteX214" fmla="*/ 1462031 w 3832826"/>
                <a:gd name="connsiteY214" fmla="*/ 1684575 h 5120141"/>
                <a:gd name="connsiteX215" fmla="*/ 1466238 w 3832826"/>
                <a:gd name="connsiteY215" fmla="*/ 1676592 h 5120141"/>
                <a:gd name="connsiteX216" fmla="*/ 1472549 w 3832826"/>
                <a:gd name="connsiteY216" fmla="*/ 1666614 h 5120141"/>
                <a:gd name="connsiteX217" fmla="*/ 1483067 w 3832826"/>
                <a:gd name="connsiteY217" fmla="*/ 1652645 h 5120141"/>
                <a:gd name="connsiteX218" fmla="*/ 1497793 w 3832826"/>
                <a:gd name="connsiteY218" fmla="*/ 1638675 h 5120141"/>
                <a:gd name="connsiteX219" fmla="*/ 1510415 w 3832826"/>
                <a:gd name="connsiteY219" fmla="*/ 1624705 h 5120141"/>
                <a:gd name="connsiteX220" fmla="*/ 1525140 w 3832826"/>
                <a:gd name="connsiteY220" fmla="*/ 1612731 h 5120141"/>
                <a:gd name="connsiteX221" fmla="*/ 1577731 w 3832826"/>
                <a:gd name="connsiteY221" fmla="*/ 1580801 h 5120141"/>
                <a:gd name="connsiteX222" fmla="*/ 1605078 w 3832826"/>
                <a:gd name="connsiteY222" fmla="*/ 1560845 h 5120141"/>
                <a:gd name="connsiteX223" fmla="*/ 1628218 w 3832826"/>
                <a:gd name="connsiteY223" fmla="*/ 1540888 h 5120141"/>
                <a:gd name="connsiteX224" fmla="*/ 1645048 w 3832826"/>
                <a:gd name="connsiteY224" fmla="*/ 1524923 h 5120141"/>
                <a:gd name="connsiteX225" fmla="*/ 1661877 w 3832826"/>
                <a:gd name="connsiteY225" fmla="*/ 1514944 h 5120141"/>
                <a:gd name="connsiteX226" fmla="*/ 1678706 w 3832826"/>
                <a:gd name="connsiteY226" fmla="*/ 1508957 h 5120141"/>
                <a:gd name="connsiteX227" fmla="*/ 1695535 w 3832826"/>
                <a:gd name="connsiteY227" fmla="*/ 1502971 h 5120141"/>
                <a:gd name="connsiteX228" fmla="*/ 1714468 w 3832826"/>
                <a:gd name="connsiteY228" fmla="*/ 1500975 h 5120141"/>
                <a:gd name="connsiteX229" fmla="*/ 1735504 w 3832826"/>
                <a:gd name="connsiteY229" fmla="*/ 1500975 h 5120141"/>
                <a:gd name="connsiteX230" fmla="*/ 1777577 w 3832826"/>
                <a:gd name="connsiteY230" fmla="*/ 1500975 h 5120141"/>
                <a:gd name="connsiteX231" fmla="*/ 2158335 w 3832826"/>
                <a:gd name="connsiteY231" fmla="*/ 1500975 h 5120141"/>
                <a:gd name="connsiteX232" fmla="*/ 2158335 w 3832826"/>
                <a:gd name="connsiteY232" fmla="*/ 1514944 h 5120141"/>
                <a:gd name="connsiteX233" fmla="*/ 2158335 w 3832826"/>
                <a:gd name="connsiteY233" fmla="*/ 1572818 h 5120141"/>
                <a:gd name="connsiteX234" fmla="*/ 2160439 w 3832826"/>
                <a:gd name="connsiteY234" fmla="*/ 1594771 h 5120141"/>
                <a:gd name="connsiteX235" fmla="*/ 2158335 w 3832826"/>
                <a:gd name="connsiteY235" fmla="*/ 1624705 h 5120141"/>
                <a:gd name="connsiteX236" fmla="*/ 2158335 w 3832826"/>
                <a:gd name="connsiteY236" fmla="*/ 1634684 h 5120141"/>
                <a:gd name="connsiteX237" fmla="*/ 2158335 w 3832826"/>
                <a:gd name="connsiteY237" fmla="*/ 1648653 h 5120141"/>
                <a:gd name="connsiteX238" fmla="*/ 2158335 w 3832826"/>
                <a:gd name="connsiteY238" fmla="*/ 1666614 h 5120141"/>
                <a:gd name="connsiteX239" fmla="*/ 2158335 w 3832826"/>
                <a:gd name="connsiteY239" fmla="*/ 1700540 h 5120141"/>
                <a:gd name="connsiteX240" fmla="*/ 2149671 w 3832826"/>
                <a:gd name="connsiteY240" fmla="*/ 1700540 h 5120141"/>
                <a:gd name="connsiteX241" fmla="*/ 2149671 w 3832826"/>
                <a:gd name="connsiteY241" fmla="*/ 1701367 h 5120141"/>
                <a:gd name="connsiteX242" fmla="*/ 2158305 w 3832826"/>
                <a:gd name="connsiteY242" fmla="*/ 1701367 h 5120141"/>
                <a:gd name="connsiteX243" fmla="*/ 2158305 w 3832826"/>
                <a:gd name="connsiteY243" fmla="*/ 1723407 h 5120141"/>
                <a:gd name="connsiteX244" fmla="*/ 2158305 w 3832826"/>
                <a:gd name="connsiteY244" fmla="*/ 1755458 h 5120141"/>
                <a:gd name="connsiteX245" fmla="*/ 2234031 w 3832826"/>
                <a:gd name="connsiteY245" fmla="*/ 1815609 h 5120141"/>
                <a:gd name="connsiteX246" fmla="*/ 2231975 w 3832826"/>
                <a:gd name="connsiteY246" fmla="*/ 1817584 h 5120141"/>
                <a:gd name="connsiteX247" fmla="*/ 2231975 w 3832826"/>
                <a:gd name="connsiteY247" fmla="*/ 1823599 h 5120141"/>
                <a:gd name="connsiteX248" fmla="*/ 2234031 w 3832826"/>
                <a:gd name="connsiteY248" fmla="*/ 1833610 h 5120141"/>
                <a:gd name="connsiteX249" fmla="*/ 2240379 w 3832826"/>
                <a:gd name="connsiteY249" fmla="*/ 1843665 h 5120141"/>
                <a:gd name="connsiteX250" fmla="*/ 2244581 w 3832826"/>
                <a:gd name="connsiteY250" fmla="*/ 1853675 h 5120141"/>
                <a:gd name="connsiteX251" fmla="*/ 2244581 w 3832826"/>
                <a:gd name="connsiteY251" fmla="*/ 1857670 h 5120141"/>
                <a:gd name="connsiteX252" fmla="*/ 2242435 w 3832826"/>
                <a:gd name="connsiteY252" fmla="*/ 1863685 h 5120141"/>
                <a:gd name="connsiteX253" fmla="*/ 2238233 w 3832826"/>
                <a:gd name="connsiteY253" fmla="*/ 1873695 h 5120141"/>
                <a:gd name="connsiteX254" fmla="*/ 2229829 w 3832826"/>
                <a:gd name="connsiteY254" fmla="*/ 1883750 h 5120141"/>
                <a:gd name="connsiteX255" fmla="*/ 2223571 w 3832826"/>
                <a:gd name="connsiteY255" fmla="*/ 1889721 h 5120141"/>
                <a:gd name="connsiteX256" fmla="*/ 2213021 w 3832826"/>
                <a:gd name="connsiteY256" fmla="*/ 1905791 h 5120141"/>
                <a:gd name="connsiteX257" fmla="*/ 2200415 w 3832826"/>
                <a:gd name="connsiteY257" fmla="*/ 1919796 h 5120141"/>
                <a:gd name="connsiteX258" fmla="*/ 2170912 w 3832826"/>
                <a:gd name="connsiteY258" fmla="*/ 1945832 h 5120141"/>
                <a:gd name="connsiteX259" fmla="*/ 2139441 w 3832826"/>
                <a:gd name="connsiteY259" fmla="*/ 1969893 h 5120141"/>
                <a:gd name="connsiteX260" fmla="*/ 2107881 w 3832826"/>
                <a:gd name="connsiteY260" fmla="*/ 1995973 h 5120141"/>
                <a:gd name="connsiteX261" fmla="*/ 2095186 w 3832826"/>
                <a:gd name="connsiteY261" fmla="*/ 1997948 h 5120141"/>
                <a:gd name="connsiteX262" fmla="*/ 2082580 w 3832826"/>
                <a:gd name="connsiteY262" fmla="*/ 2003963 h 5120141"/>
                <a:gd name="connsiteX263" fmla="*/ 2074176 w 3832826"/>
                <a:gd name="connsiteY263" fmla="*/ 2009979 h 5120141"/>
                <a:gd name="connsiteX264" fmla="*/ 2069973 w 3832826"/>
                <a:gd name="connsiteY264" fmla="*/ 2018014 h 5120141"/>
                <a:gd name="connsiteX265" fmla="*/ 2055222 w 3832826"/>
                <a:gd name="connsiteY265" fmla="*/ 2034039 h 5120141"/>
                <a:gd name="connsiteX266" fmla="*/ 2048963 w 3832826"/>
                <a:gd name="connsiteY266" fmla="*/ 2044049 h 5120141"/>
                <a:gd name="connsiteX267" fmla="*/ 2038414 w 3832826"/>
                <a:gd name="connsiteY267" fmla="*/ 2050064 h 5120141"/>
                <a:gd name="connsiteX268" fmla="*/ 2017403 w 3832826"/>
                <a:gd name="connsiteY268" fmla="*/ 2066090 h 5120141"/>
                <a:gd name="connsiteX269" fmla="*/ 1998450 w 3832826"/>
                <a:gd name="connsiteY269" fmla="*/ 2080140 h 5120141"/>
                <a:gd name="connsiteX270" fmla="*/ 1962688 w 3832826"/>
                <a:gd name="connsiteY270" fmla="*/ 2110171 h 5120141"/>
                <a:gd name="connsiteX271" fmla="*/ 1952138 w 3832826"/>
                <a:gd name="connsiteY271" fmla="*/ 2116186 h 5120141"/>
                <a:gd name="connsiteX272" fmla="*/ 1937476 w 3832826"/>
                <a:gd name="connsiteY272" fmla="*/ 2120181 h 5120141"/>
                <a:gd name="connsiteX273" fmla="*/ 1914320 w 3832826"/>
                <a:gd name="connsiteY273" fmla="*/ 2122201 h 5120141"/>
                <a:gd name="connsiteX274" fmla="*/ 1891164 w 3832826"/>
                <a:gd name="connsiteY274" fmla="*/ 2122201 h 5120141"/>
                <a:gd name="connsiteX275" fmla="*/ 1880614 w 3832826"/>
                <a:gd name="connsiteY275" fmla="*/ 2126196 h 5120141"/>
                <a:gd name="connsiteX276" fmla="*/ 1870154 w 3832826"/>
                <a:gd name="connsiteY276" fmla="*/ 2130236 h 5120141"/>
                <a:gd name="connsiteX277" fmla="*/ 1859604 w 3832826"/>
                <a:gd name="connsiteY277" fmla="*/ 2136251 h 5120141"/>
                <a:gd name="connsiteX278" fmla="*/ 1842796 w 3832826"/>
                <a:gd name="connsiteY278" fmla="*/ 2138226 h 5120141"/>
                <a:gd name="connsiteX279" fmla="*/ 1817584 w 3832826"/>
                <a:gd name="connsiteY279" fmla="*/ 2142221 h 5120141"/>
                <a:gd name="connsiteX280" fmla="*/ 1786024 w 3832826"/>
                <a:gd name="connsiteY280" fmla="*/ 2146261 h 5120141"/>
                <a:gd name="connsiteX281" fmla="*/ 1756520 w 3832826"/>
                <a:gd name="connsiteY281" fmla="*/ 2150257 h 5120141"/>
                <a:gd name="connsiteX282" fmla="*/ 1743914 w 3832826"/>
                <a:gd name="connsiteY282" fmla="*/ 2150257 h 5120141"/>
                <a:gd name="connsiteX283" fmla="*/ 1733364 w 3832826"/>
                <a:gd name="connsiteY283" fmla="*/ 2150257 h 5120141"/>
                <a:gd name="connsiteX284" fmla="*/ 1706006 w 3832826"/>
                <a:gd name="connsiteY284" fmla="*/ 2142221 h 5120141"/>
                <a:gd name="connsiteX285" fmla="*/ 1680794 w 3832826"/>
                <a:gd name="connsiteY285" fmla="*/ 2136251 h 5120141"/>
                <a:gd name="connsiteX286" fmla="*/ 1655582 w 3832826"/>
                <a:gd name="connsiteY286" fmla="*/ 2126196 h 5120141"/>
                <a:gd name="connsiteX287" fmla="*/ 1630281 w 3832826"/>
                <a:gd name="connsiteY287" fmla="*/ 2116186 h 5120141"/>
                <a:gd name="connsiteX288" fmla="*/ 1607214 w 3832826"/>
                <a:gd name="connsiteY288" fmla="*/ 2110171 h 5120141"/>
                <a:gd name="connsiteX289" fmla="*/ 1594519 w 3832826"/>
                <a:gd name="connsiteY289" fmla="*/ 2110171 h 5120141"/>
                <a:gd name="connsiteX290" fmla="*/ 1584058 w 3832826"/>
                <a:gd name="connsiteY290" fmla="*/ 2112191 h 5120141"/>
                <a:gd name="connsiteX291" fmla="*/ 1573508 w 3832826"/>
                <a:gd name="connsiteY291" fmla="*/ 2116186 h 5120141"/>
                <a:gd name="connsiteX292" fmla="*/ 1560902 w 3832826"/>
                <a:gd name="connsiteY292" fmla="*/ 2120181 h 5120141"/>
                <a:gd name="connsiteX293" fmla="*/ 1544094 w 3832826"/>
                <a:gd name="connsiteY293" fmla="*/ 2128216 h 5120141"/>
                <a:gd name="connsiteX294" fmla="*/ 1529342 w 3832826"/>
                <a:gd name="connsiteY294" fmla="*/ 2136251 h 5120141"/>
                <a:gd name="connsiteX295" fmla="*/ 1499928 w 3832826"/>
                <a:gd name="connsiteY295" fmla="*/ 2140246 h 5120141"/>
                <a:gd name="connsiteX296" fmla="*/ 1497783 w 3832826"/>
                <a:gd name="connsiteY296" fmla="*/ 2140246 h 5120141"/>
                <a:gd name="connsiteX297" fmla="*/ 1483031 w 3832826"/>
                <a:gd name="connsiteY297" fmla="*/ 2140246 h 5120141"/>
                <a:gd name="connsiteX298" fmla="*/ 1468368 w 3832826"/>
                <a:gd name="connsiteY298" fmla="*/ 2140246 h 5120141"/>
                <a:gd name="connsiteX299" fmla="*/ 1451471 w 3832826"/>
                <a:gd name="connsiteY299" fmla="*/ 2142221 h 5120141"/>
                <a:gd name="connsiteX300" fmla="*/ 1447269 w 3832826"/>
                <a:gd name="connsiteY300" fmla="*/ 2146261 h 5120141"/>
                <a:gd name="connsiteX301" fmla="*/ 1440991 w 3832826"/>
                <a:gd name="connsiteY301" fmla="*/ 2149246 h 5120141"/>
                <a:gd name="connsiteX302" fmla="*/ 1440991 w 3832826"/>
                <a:gd name="connsiteY302" fmla="*/ 2319937 h 5120141"/>
                <a:gd name="connsiteX303" fmla="*/ 1445196 w 3832826"/>
                <a:gd name="connsiteY303" fmla="*/ 2330619 h 5120141"/>
                <a:gd name="connsiteX304" fmla="*/ 1449403 w 3832826"/>
                <a:gd name="connsiteY304" fmla="*/ 2344647 h 5120141"/>
                <a:gd name="connsiteX305" fmla="*/ 1462025 w 3832826"/>
                <a:gd name="connsiteY305" fmla="*/ 2378715 h 5120141"/>
                <a:gd name="connsiteX306" fmla="*/ 1480958 w 3832826"/>
                <a:gd name="connsiteY306" fmla="*/ 2438834 h 5120141"/>
                <a:gd name="connsiteX307" fmla="*/ 1493580 w 3832826"/>
                <a:gd name="connsiteY307" fmla="*/ 2468893 h 5120141"/>
                <a:gd name="connsiteX308" fmla="*/ 1499891 w 3832826"/>
                <a:gd name="connsiteY308" fmla="*/ 2480917 h 5120141"/>
                <a:gd name="connsiteX309" fmla="*/ 1508305 w 3832826"/>
                <a:gd name="connsiteY309" fmla="*/ 2492941 h 5120141"/>
                <a:gd name="connsiteX310" fmla="*/ 1508305 w 3832826"/>
                <a:gd name="connsiteY310" fmla="*/ 2523000 h 5120141"/>
                <a:gd name="connsiteX311" fmla="*/ 1508308 w 3832826"/>
                <a:gd name="connsiteY311" fmla="*/ 2520996 h 5120141"/>
                <a:gd name="connsiteX312" fmla="*/ 1508308 w 3832826"/>
                <a:gd name="connsiteY312" fmla="*/ 2490937 h 5120141"/>
                <a:gd name="connsiteX313" fmla="*/ 1703947 w 3832826"/>
                <a:gd name="connsiteY313" fmla="*/ 2693337 h 5120141"/>
                <a:gd name="connsiteX314" fmla="*/ 1800715 w 3832826"/>
                <a:gd name="connsiteY314" fmla="*/ 2777503 h 5120141"/>
                <a:gd name="connsiteX315" fmla="*/ 1821751 w 3832826"/>
                <a:gd name="connsiteY315" fmla="*/ 2793535 h 5120141"/>
                <a:gd name="connsiteX316" fmla="*/ 1846995 w 3832826"/>
                <a:gd name="connsiteY316" fmla="*/ 2807563 h 5120141"/>
                <a:gd name="connsiteX317" fmla="*/ 1868031 w 3832826"/>
                <a:gd name="connsiteY317" fmla="*/ 2827603 h 5120141"/>
                <a:gd name="connsiteX318" fmla="*/ 1874342 w 3832826"/>
                <a:gd name="connsiteY318" fmla="*/ 2837622 h 5120141"/>
                <a:gd name="connsiteX319" fmla="*/ 1882757 w 3832826"/>
                <a:gd name="connsiteY319" fmla="*/ 2847642 h 5120141"/>
                <a:gd name="connsiteX320" fmla="*/ 1882757 w 3832826"/>
                <a:gd name="connsiteY320" fmla="*/ 2857662 h 5120141"/>
                <a:gd name="connsiteX321" fmla="*/ 1871663 w 3832826"/>
                <a:gd name="connsiteY321" fmla="*/ 2862688 h 5120141"/>
                <a:gd name="connsiteX322" fmla="*/ 1920621 w 3832826"/>
                <a:gd name="connsiteY322" fmla="*/ 2925780 h 5120141"/>
                <a:gd name="connsiteX323" fmla="*/ 1937450 w 3832826"/>
                <a:gd name="connsiteY323" fmla="*/ 2955859 h 5120141"/>
                <a:gd name="connsiteX324" fmla="*/ 1956383 w 3832826"/>
                <a:gd name="connsiteY324" fmla="*/ 2987924 h 5120141"/>
                <a:gd name="connsiteX325" fmla="*/ 1964798 w 3832826"/>
                <a:gd name="connsiteY325" fmla="*/ 2997927 h 5120141"/>
                <a:gd name="connsiteX326" fmla="*/ 1969005 w 3832826"/>
                <a:gd name="connsiteY326" fmla="*/ 3009986 h 5120141"/>
                <a:gd name="connsiteX327" fmla="*/ 1977420 w 3832826"/>
                <a:gd name="connsiteY327" fmla="*/ 3038008 h 5120141"/>
                <a:gd name="connsiteX328" fmla="*/ 1985834 w 3832826"/>
                <a:gd name="connsiteY328" fmla="*/ 3066100 h 5120141"/>
                <a:gd name="connsiteX329" fmla="*/ 1994249 w 3832826"/>
                <a:gd name="connsiteY329" fmla="*/ 3078089 h 5120141"/>
                <a:gd name="connsiteX330" fmla="*/ 2004767 w 3832826"/>
                <a:gd name="connsiteY330" fmla="*/ 3090149 h 5120141"/>
                <a:gd name="connsiteX331" fmla="*/ 2008974 w 3832826"/>
                <a:gd name="connsiteY331" fmla="*/ 3100152 h 5120141"/>
                <a:gd name="connsiteX332" fmla="*/ 2017389 w 3832826"/>
                <a:gd name="connsiteY332" fmla="*/ 3110155 h 5120141"/>
                <a:gd name="connsiteX333" fmla="*/ 2023700 w 3832826"/>
                <a:gd name="connsiteY333" fmla="*/ 3136190 h 5120141"/>
                <a:gd name="connsiteX334" fmla="*/ 2032114 w 3832826"/>
                <a:gd name="connsiteY334" fmla="*/ 3158252 h 5120141"/>
                <a:gd name="connsiteX335" fmla="*/ 2040529 w 3832826"/>
                <a:gd name="connsiteY335" fmla="*/ 3168255 h 5120141"/>
                <a:gd name="connsiteX336" fmla="*/ 2048944 w 3832826"/>
                <a:gd name="connsiteY336" fmla="*/ 3174285 h 5120141"/>
                <a:gd name="connsiteX337" fmla="*/ 2059462 w 3832826"/>
                <a:gd name="connsiteY337" fmla="*/ 3180315 h 5120141"/>
                <a:gd name="connsiteX338" fmla="*/ 2069980 w 3832826"/>
                <a:gd name="connsiteY338" fmla="*/ 3180315 h 5120141"/>
                <a:gd name="connsiteX339" fmla="*/ 2082602 w 3832826"/>
                <a:gd name="connsiteY339" fmla="*/ 3182301 h 5120141"/>
                <a:gd name="connsiteX340" fmla="*/ 2095224 w 3832826"/>
                <a:gd name="connsiteY340" fmla="*/ 3184288 h 5120141"/>
                <a:gd name="connsiteX341" fmla="*/ 2105742 w 3832826"/>
                <a:gd name="connsiteY341" fmla="*/ 3190318 h 5120141"/>
                <a:gd name="connsiteX342" fmla="*/ 2114156 w 3832826"/>
                <a:gd name="connsiteY342" fmla="*/ 3198334 h 5120141"/>
                <a:gd name="connsiteX343" fmla="*/ 2122571 w 3832826"/>
                <a:gd name="connsiteY343" fmla="*/ 3204364 h 5120141"/>
                <a:gd name="connsiteX344" fmla="*/ 2132508 w 3832826"/>
                <a:gd name="connsiteY344" fmla="*/ 3211937 h 5120141"/>
                <a:gd name="connsiteX345" fmla="*/ 2133090 w 3832826"/>
                <a:gd name="connsiteY345" fmla="*/ 3211201 h 5120141"/>
                <a:gd name="connsiteX346" fmla="*/ 2210924 w 3832826"/>
                <a:gd name="connsiteY346" fmla="*/ 3145234 h 5120141"/>
                <a:gd name="connsiteX347" fmla="*/ 2286655 w 3832826"/>
                <a:gd name="connsiteY347" fmla="*/ 3071271 h 5120141"/>
                <a:gd name="connsiteX348" fmla="*/ 2316106 w 3832826"/>
                <a:gd name="connsiteY348" fmla="*/ 3045284 h 5120141"/>
                <a:gd name="connsiteX349" fmla="*/ 2332935 w 3832826"/>
                <a:gd name="connsiteY349" fmla="*/ 3035289 h 5120141"/>
                <a:gd name="connsiteX350" fmla="*/ 2343453 w 3832826"/>
                <a:gd name="connsiteY350" fmla="*/ 3031291 h 5120141"/>
                <a:gd name="connsiteX351" fmla="*/ 2349764 w 3832826"/>
                <a:gd name="connsiteY351" fmla="*/ 3029292 h 5120141"/>
                <a:gd name="connsiteX352" fmla="*/ 2381318 w 3832826"/>
                <a:gd name="connsiteY352" fmla="*/ 3031291 h 5120141"/>
                <a:gd name="connsiteX353" fmla="*/ 2398148 w 3832826"/>
                <a:gd name="connsiteY353" fmla="*/ 3029292 h 5120141"/>
                <a:gd name="connsiteX354" fmla="*/ 2402355 w 3832826"/>
                <a:gd name="connsiteY354" fmla="*/ 3029292 h 5120141"/>
                <a:gd name="connsiteX355" fmla="*/ 2404458 w 3832826"/>
                <a:gd name="connsiteY355" fmla="*/ 3027293 h 5120141"/>
                <a:gd name="connsiteX356" fmla="*/ 2404458 w 3832826"/>
                <a:gd name="connsiteY356" fmla="*/ 3007303 h 5120141"/>
                <a:gd name="connsiteX357" fmla="*/ 2408666 w 3832826"/>
                <a:gd name="connsiteY357" fmla="*/ 2997308 h 5120141"/>
                <a:gd name="connsiteX358" fmla="*/ 2410769 w 3832826"/>
                <a:gd name="connsiteY358" fmla="*/ 2995309 h 5120141"/>
                <a:gd name="connsiteX359" fmla="*/ 2414977 w 3832826"/>
                <a:gd name="connsiteY359" fmla="*/ 2991311 h 5120141"/>
                <a:gd name="connsiteX360" fmla="*/ 2423391 w 3832826"/>
                <a:gd name="connsiteY360" fmla="*/ 2991311 h 5120141"/>
                <a:gd name="connsiteX361" fmla="*/ 2425495 w 3832826"/>
                <a:gd name="connsiteY361" fmla="*/ 2987313 h 5120141"/>
                <a:gd name="connsiteX362" fmla="*/ 2429702 w 3832826"/>
                <a:gd name="connsiteY362" fmla="*/ 2985314 h 5120141"/>
                <a:gd name="connsiteX363" fmla="*/ 2429702 w 3832826"/>
                <a:gd name="connsiteY363" fmla="*/ 2979317 h 5120141"/>
                <a:gd name="connsiteX364" fmla="*/ 2429702 w 3832826"/>
                <a:gd name="connsiteY364" fmla="*/ 2977318 h 5120141"/>
                <a:gd name="connsiteX365" fmla="*/ 2431806 w 3832826"/>
                <a:gd name="connsiteY365" fmla="*/ 2971321 h 5120141"/>
                <a:gd name="connsiteX366" fmla="*/ 2433909 w 3832826"/>
                <a:gd name="connsiteY366" fmla="*/ 2969322 h 5120141"/>
                <a:gd name="connsiteX367" fmla="*/ 2442324 w 3832826"/>
                <a:gd name="connsiteY367" fmla="*/ 2967323 h 5120141"/>
                <a:gd name="connsiteX368" fmla="*/ 2452842 w 3832826"/>
                <a:gd name="connsiteY368" fmla="*/ 2967323 h 5120141"/>
                <a:gd name="connsiteX369" fmla="*/ 2454946 w 3832826"/>
                <a:gd name="connsiteY369" fmla="*/ 2965324 h 5120141"/>
                <a:gd name="connsiteX370" fmla="*/ 2457049 w 3832826"/>
                <a:gd name="connsiteY370" fmla="*/ 2961326 h 5120141"/>
                <a:gd name="connsiteX371" fmla="*/ 2457049 w 3832826"/>
                <a:gd name="connsiteY371" fmla="*/ 2941336 h 5120141"/>
                <a:gd name="connsiteX372" fmla="*/ 2461257 w 3832826"/>
                <a:gd name="connsiteY372" fmla="*/ 2927343 h 5120141"/>
                <a:gd name="connsiteX373" fmla="*/ 2463360 w 3832826"/>
                <a:gd name="connsiteY373" fmla="*/ 2917348 h 5120141"/>
                <a:gd name="connsiteX374" fmla="*/ 2467567 w 3832826"/>
                <a:gd name="connsiteY374" fmla="*/ 2907353 h 5120141"/>
                <a:gd name="connsiteX375" fmla="*/ 2473878 w 3832826"/>
                <a:gd name="connsiteY375" fmla="*/ 2899357 h 5120141"/>
                <a:gd name="connsiteX376" fmla="*/ 2488604 w 3832826"/>
                <a:gd name="connsiteY376" fmla="*/ 2885364 h 5120141"/>
                <a:gd name="connsiteX377" fmla="*/ 2509640 w 3832826"/>
                <a:gd name="connsiteY377" fmla="*/ 2865374 h 5120141"/>
                <a:gd name="connsiteX378" fmla="*/ 2646376 w 3832826"/>
                <a:gd name="connsiteY378" fmla="*/ 2743436 h 5120141"/>
                <a:gd name="connsiteX379" fmla="*/ 2650584 w 3832826"/>
                <a:gd name="connsiteY379" fmla="*/ 2755430 h 5120141"/>
                <a:gd name="connsiteX380" fmla="*/ 2654791 w 3832826"/>
                <a:gd name="connsiteY380" fmla="*/ 2765425 h 5120141"/>
                <a:gd name="connsiteX381" fmla="*/ 2663205 w 3832826"/>
                <a:gd name="connsiteY381" fmla="*/ 2773421 h 5120141"/>
                <a:gd name="connsiteX382" fmla="*/ 2671620 w 3832826"/>
                <a:gd name="connsiteY382" fmla="*/ 2773421 h 5120141"/>
                <a:gd name="connsiteX383" fmla="*/ 2675827 w 3832826"/>
                <a:gd name="connsiteY383" fmla="*/ 2775420 h 5120141"/>
                <a:gd name="connsiteX384" fmla="*/ 2688449 w 3832826"/>
                <a:gd name="connsiteY384" fmla="*/ 2779418 h 5120141"/>
                <a:gd name="connsiteX385" fmla="*/ 2696863 w 3832826"/>
                <a:gd name="connsiteY385" fmla="*/ 2785415 h 5120141"/>
                <a:gd name="connsiteX386" fmla="*/ 2701071 w 3832826"/>
                <a:gd name="connsiteY386" fmla="*/ 2787414 h 5120141"/>
                <a:gd name="connsiteX387" fmla="*/ 2709485 w 3832826"/>
                <a:gd name="connsiteY387" fmla="*/ 2785415 h 5120141"/>
                <a:gd name="connsiteX388" fmla="*/ 2715796 w 3832826"/>
                <a:gd name="connsiteY388" fmla="*/ 2779418 h 5120141"/>
                <a:gd name="connsiteX389" fmla="*/ 2722107 w 3832826"/>
                <a:gd name="connsiteY389" fmla="*/ 2775420 h 5120141"/>
                <a:gd name="connsiteX390" fmla="*/ 2728418 w 3832826"/>
                <a:gd name="connsiteY390" fmla="*/ 2773421 h 5120141"/>
                <a:gd name="connsiteX391" fmla="*/ 2747351 w 3832826"/>
                <a:gd name="connsiteY391" fmla="*/ 2769423 h 5120141"/>
                <a:gd name="connsiteX392" fmla="*/ 2764180 w 3832826"/>
                <a:gd name="connsiteY392" fmla="*/ 2773421 h 5120141"/>
                <a:gd name="connsiteX393" fmla="*/ 2783112 w 3832826"/>
                <a:gd name="connsiteY393" fmla="*/ 2779418 h 5120141"/>
                <a:gd name="connsiteX394" fmla="*/ 2795734 w 3832826"/>
                <a:gd name="connsiteY394" fmla="*/ 2793411 h 5120141"/>
                <a:gd name="connsiteX395" fmla="*/ 2799942 w 3832826"/>
                <a:gd name="connsiteY395" fmla="*/ 2793411 h 5120141"/>
                <a:gd name="connsiteX396" fmla="*/ 2804149 w 3832826"/>
                <a:gd name="connsiteY396" fmla="*/ 2805405 h 5120141"/>
                <a:gd name="connsiteX397" fmla="*/ 2812563 w 3832826"/>
                <a:gd name="connsiteY397" fmla="*/ 2817399 h 5120141"/>
                <a:gd name="connsiteX398" fmla="*/ 2825185 w 3832826"/>
                <a:gd name="connsiteY398" fmla="*/ 2845384 h 5120141"/>
                <a:gd name="connsiteX399" fmla="*/ 2835703 w 3832826"/>
                <a:gd name="connsiteY399" fmla="*/ 2873370 h 5120141"/>
                <a:gd name="connsiteX400" fmla="*/ 2842014 w 3832826"/>
                <a:gd name="connsiteY400" fmla="*/ 2885364 h 5120141"/>
                <a:gd name="connsiteX401" fmla="*/ 2847737 w 3832826"/>
                <a:gd name="connsiteY401" fmla="*/ 2896240 h 5120141"/>
                <a:gd name="connsiteX402" fmla="*/ 2848292 w 3832826"/>
                <a:gd name="connsiteY402" fmla="*/ 2895738 h 5120141"/>
                <a:gd name="connsiteX403" fmla="*/ 2873502 w 3832826"/>
                <a:gd name="connsiteY403" fmla="*/ 2911778 h 5120141"/>
                <a:gd name="connsiteX404" fmla="*/ 2898892 w 3832826"/>
                <a:gd name="connsiteY404" fmla="*/ 2921802 h 5120141"/>
                <a:gd name="connsiteX405" fmla="*/ 2921942 w 3832826"/>
                <a:gd name="connsiteY405" fmla="*/ 2935837 h 5120141"/>
                <a:gd name="connsiteX406" fmla="*/ 2932386 w 3832826"/>
                <a:gd name="connsiteY406" fmla="*/ 2943857 h 5120141"/>
                <a:gd name="connsiteX407" fmla="*/ 2943010 w 3832826"/>
                <a:gd name="connsiteY407" fmla="*/ 2953882 h 5120141"/>
                <a:gd name="connsiteX408" fmla="*/ 2957776 w 3832826"/>
                <a:gd name="connsiteY408" fmla="*/ 2965912 h 5120141"/>
                <a:gd name="connsiteX409" fmla="*/ 2964078 w 3832826"/>
                <a:gd name="connsiteY409" fmla="*/ 2973932 h 5120141"/>
                <a:gd name="connsiteX410" fmla="*/ 2970381 w 3832826"/>
                <a:gd name="connsiteY410" fmla="*/ 2977942 h 5120141"/>
                <a:gd name="connsiteX411" fmla="*/ 2985147 w 3832826"/>
                <a:gd name="connsiteY411" fmla="*/ 2979947 h 5120141"/>
                <a:gd name="connsiteX412" fmla="*/ 2995591 w 3832826"/>
                <a:gd name="connsiteY412" fmla="*/ 2979947 h 5120141"/>
                <a:gd name="connsiteX413" fmla="*/ 3006035 w 3832826"/>
                <a:gd name="connsiteY413" fmla="*/ 2983957 h 5120141"/>
                <a:gd name="connsiteX414" fmla="*/ 3018640 w 3832826"/>
                <a:gd name="connsiteY414" fmla="*/ 2993981 h 5120141"/>
                <a:gd name="connsiteX415" fmla="*/ 3024942 w 3832826"/>
                <a:gd name="connsiteY415" fmla="*/ 2999996 h 5120141"/>
                <a:gd name="connsiteX416" fmla="*/ 3027103 w 3832826"/>
                <a:gd name="connsiteY416" fmla="*/ 3006011 h 5120141"/>
                <a:gd name="connsiteX417" fmla="*/ 3027103 w 3832826"/>
                <a:gd name="connsiteY417" fmla="*/ 3008016 h 5120141"/>
                <a:gd name="connsiteX418" fmla="*/ 3024942 w 3832826"/>
                <a:gd name="connsiteY418" fmla="*/ 3014031 h 5120141"/>
                <a:gd name="connsiteX419" fmla="*/ 3018640 w 3832826"/>
                <a:gd name="connsiteY419" fmla="*/ 3020046 h 5120141"/>
                <a:gd name="connsiteX420" fmla="*/ 3014498 w 3832826"/>
                <a:gd name="connsiteY420" fmla="*/ 3029937 h 5120141"/>
                <a:gd name="connsiteX421" fmla="*/ 3014498 w 3832826"/>
                <a:gd name="connsiteY421" fmla="*/ 3043972 h 5120141"/>
                <a:gd name="connsiteX422" fmla="*/ 3014498 w 3832826"/>
                <a:gd name="connsiteY422" fmla="*/ 3049987 h 5120141"/>
                <a:gd name="connsiteX423" fmla="*/ 3024942 w 3832826"/>
                <a:gd name="connsiteY423" fmla="*/ 3074047 h 5120141"/>
                <a:gd name="connsiteX424" fmla="*/ 3024942 w 3832826"/>
                <a:gd name="connsiteY424" fmla="*/ 3084071 h 5120141"/>
                <a:gd name="connsiteX425" fmla="*/ 3022962 w 3832826"/>
                <a:gd name="connsiteY425" fmla="*/ 3088081 h 5120141"/>
                <a:gd name="connsiteX426" fmla="*/ 3022962 w 3832826"/>
                <a:gd name="connsiteY426" fmla="*/ 3090086 h 5120141"/>
                <a:gd name="connsiteX427" fmla="*/ 3024942 w 3832826"/>
                <a:gd name="connsiteY427" fmla="*/ 3094096 h 5120141"/>
                <a:gd name="connsiteX428" fmla="*/ 3033406 w 3832826"/>
                <a:gd name="connsiteY428" fmla="*/ 3100111 h 5120141"/>
                <a:gd name="connsiteX429" fmla="*/ 3046011 w 3832826"/>
                <a:gd name="connsiteY429" fmla="*/ 3106126 h 5120141"/>
                <a:gd name="connsiteX430" fmla="*/ 3056635 w 3832826"/>
                <a:gd name="connsiteY430" fmla="*/ 3108131 h 5120141"/>
                <a:gd name="connsiteX431" fmla="*/ 3064918 w 3832826"/>
                <a:gd name="connsiteY431" fmla="*/ 3110136 h 5120141"/>
                <a:gd name="connsiteX432" fmla="*/ 3075542 w 3832826"/>
                <a:gd name="connsiteY432" fmla="*/ 3118156 h 5120141"/>
                <a:gd name="connsiteX433" fmla="*/ 3088147 w 3832826"/>
                <a:gd name="connsiteY433" fmla="*/ 3138206 h 5120141"/>
                <a:gd name="connsiteX434" fmla="*/ 3096611 w 3832826"/>
                <a:gd name="connsiteY434" fmla="*/ 3152240 h 5120141"/>
                <a:gd name="connsiteX435" fmla="*/ 3096611 w 3832826"/>
                <a:gd name="connsiteY435" fmla="*/ 3162265 h 5120141"/>
                <a:gd name="connsiteX436" fmla="*/ 3096611 w 3832826"/>
                <a:gd name="connsiteY436" fmla="*/ 3166275 h 5120141"/>
                <a:gd name="connsiteX437" fmla="*/ 3090308 w 3832826"/>
                <a:gd name="connsiteY437" fmla="*/ 3168280 h 5120141"/>
                <a:gd name="connsiteX438" fmla="*/ 3088147 w 3832826"/>
                <a:gd name="connsiteY438" fmla="*/ 3168280 h 5120141"/>
                <a:gd name="connsiteX439" fmla="*/ 3085987 w 3832826"/>
                <a:gd name="connsiteY439" fmla="*/ 3170285 h 5120141"/>
                <a:gd name="connsiteX440" fmla="*/ 3085987 w 3832826"/>
                <a:gd name="connsiteY440" fmla="*/ 3178305 h 5120141"/>
                <a:gd name="connsiteX441" fmla="*/ 3088147 w 3832826"/>
                <a:gd name="connsiteY441" fmla="*/ 3182315 h 5120141"/>
                <a:gd name="connsiteX442" fmla="*/ 3090308 w 3832826"/>
                <a:gd name="connsiteY442" fmla="*/ 3186325 h 5120141"/>
                <a:gd name="connsiteX443" fmla="*/ 3092289 w 3832826"/>
                <a:gd name="connsiteY443" fmla="*/ 3190335 h 5120141"/>
                <a:gd name="connsiteX444" fmla="*/ 3098592 w 3832826"/>
                <a:gd name="connsiteY444" fmla="*/ 3208380 h 5120141"/>
                <a:gd name="connsiteX445" fmla="*/ 3102913 w 3832826"/>
                <a:gd name="connsiteY445" fmla="*/ 3222415 h 5120141"/>
                <a:gd name="connsiteX446" fmla="*/ 3107055 w 3832826"/>
                <a:gd name="connsiteY446" fmla="*/ 3238454 h 5120141"/>
                <a:gd name="connsiteX447" fmla="*/ 3109216 w 3832826"/>
                <a:gd name="connsiteY447" fmla="*/ 3246474 h 5120141"/>
                <a:gd name="connsiteX448" fmla="*/ 3113357 w 3832826"/>
                <a:gd name="connsiteY448" fmla="*/ 3248479 h 5120141"/>
                <a:gd name="connsiteX449" fmla="*/ 3130284 w 3832826"/>
                <a:gd name="connsiteY449" fmla="*/ 3252489 h 5120141"/>
                <a:gd name="connsiteX450" fmla="*/ 3159636 w 3832826"/>
                <a:gd name="connsiteY450" fmla="*/ 3266524 h 5120141"/>
                <a:gd name="connsiteX451" fmla="*/ 3187007 w 3832826"/>
                <a:gd name="connsiteY451" fmla="*/ 3278554 h 5120141"/>
                <a:gd name="connsiteX452" fmla="*/ 3214377 w 3832826"/>
                <a:gd name="connsiteY452" fmla="*/ 3296598 h 5120141"/>
                <a:gd name="connsiteX453" fmla="*/ 3243729 w 3832826"/>
                <a:gd name="connsiteY453" fmla="*/ 3308495 h 5120141"/>
                <a:gd name="connsiteX454" fmla="*/ 3250032 w 3832826"/>
                <a:gd name="connsiteY454" fmla="*/ 3312505 h 5120141"/>
                <a:gd name="connsiteX455" fmla="*/ 3260656 w 3832826"/>
                <a:gd name="connsiteY455" fmla="*/ 3326539 h 5120141"/>
                <a:gd name="connsiteX456" fmla="*/ 3269119 w 3832826"/>
                <a:gd name="connsiteY456" fmla="*/ 3338569 h 5120141"/>
                <a:gd name="connsiteX457" fmla="*/ 3275422 w 3832826"/>
                <a:gd name="connsiteY457" fmla="*/ 3352604 h 5120141"/>
                <a:gd name="connsiteX458" fmla="*/ 3285866 w 3832826"/>
                <a:gd name="connsiteY458" fmla="*/ 3384684 h 5120141"/>
                <a:gd name="connsiteX459" fmla="*/ 3292168 w 3832826"/>
                <a:gd name="connsiteY459" fmla="*/ 3410748 h 5120141"/>
                <a:gd name="connsiteX460" fmla="*/ 3300632 w 3832826"/>
                <a:gd name="connsiteY460" fmla="*/ 3434808 h 5120141"/>
                <a:gd name="connsiteX461" fmla="*/ 3309095 w 3832826"/>
                <a:gd name="connsiteY461" fmla="*/ 3458868 h 5120141"/>
                <a:gd name="connsiteX462" fmla="*/ 3311076 w 3832826"/>
                <a:gd name="connsiteY462" fmla="*/ 3468892 h 5120141"/>
                <a:gd name="connsiteX463" fmla="*/ 3313237 w 3832826"/>
                <a:gd name="connsiteY463" fmla="*/ 3474907 h 5120141"/>
                <a:gd name="connsiteX464" fmla="*/ 3313237 w 3832826"/>
                <a:gd name="connsiteY464" fmla="*/ 3478917 h 5120141"/>
                <a:gd name="connsiteX465" fmla="*/ 3309095 w 3832826"/>
                <a:gd name="connsiteY465" fmla="*/ 3482927 h 5120141"/>
                <a:gd name="connsiteX466" fmla="*/ 3302793 w 3832826"/>
                <a:gd name="connsiteY466" fmla="*/ 3488942 h 5120141"/>
                <a:gd name="connsiteX467" fmla="*/ 3296310 w 3832826"/>
                <a:gd name="connsiteY467" fmla="*/ 3490947 h 5120141"/>
                <a:gd name="connsiteX468" fmla="*/ 3296310 w 3832826"/>
                <a:gd name="connsiteY468" fmla="*/ 3498967 h 5120141"/>
                <a:gd name="connsiteX469" fmla="*/ 3296310 w 3832826"/>
                <a:gd name="connsiteY469" fmla="*/ 3508992 h 5120141"/>
                <a:gd name="connsiteX470" fmla="*/ 3300632 w 3832826"/>
                <a:gd name="connsiteY470" fmla="*/ 3531047 h 5120141"/>
                <a:gd name="connsiteX471" fmla="*/ 3309095 w 3832826"/>
                <a:gd name="connsiteY471" fmla="*/ 3553101 h 5120141"/>
                <a:gd name="connsiteX472" fmla="*/ 3313237 w 3832826"/>
                <a:gd name="connsiteY472" fmla="*/ 3563126 h 5120141"/>
                <a:gd name="connsiteX473" fmla="*/ 3319539 w 3832826"/>
                <a:gd name="connsiteY473" fmla="*/ 3567002 h 5120141"/>
                <a:gd name="connsiteX474" fmla="*/ 3317645 w 3832826"/>
                <a:gd name="connsiteY474" fmla="*/ 3567042 h 5120141"/>
                <a:gd name="connsiteX475" fmla="*/ 3330079 w 3832826"/>
                <a:gd name="connsiteY475" fmla="*/ 3577062 h 5120141"/>
                <a:gd name="connsiteX476" fmla="*/ 3334316 w 3832826"/>
                <a:gd name="connsiteY476" fmla="*/ 3585058 h 5120141"/>
                <a:gd name="connsiteX477" fmla="*/ 3334316 w 3832826"/>
                <a:gd name="connsiteY477" fmla="*/ 3593054 h 5120141"/>
                <a:gd name="connsiteX478" fmla="*/ 3334316 w 3832826"/>
                <a:gd name="connsiteY478" fmla="*/ 3603030 h 5120141"/>
                <a:gd name="connsiteX479" fmla="*/ 3332198 w 3832826"/>
                <a:gd name="connsiteY479" fmla="*/ 3607066 h 5120141"/>
                <a:gd name="connsiteX480" fmla="*/ 3323724 w 3832826"/>
                <a:gd name="connsiteY480" fmla="*/ 3609046 h 5120141"/>
                <a:gd name="connsiteX481" fmla="*/ 3319599 w 3832826"/>
                <a:gd name="connsiteY481" fmla="*/ 3613006 h 5120141"/>
                <a:gd name="connsiteX482" fmla="*/ 3319599 w 3832826"/>
                <a:gd name="connsiteY482" fmla="*/ 3617042 h 5120141"/>
                <a:gd name="connsiteX483" fmla="*/ 3319599 w 3832826"/>
                <a:gd name="connsiteY483" fmla="*/ 3619021 h 5120141"/>
                <a:gd name="connsiteX484" fmla="*/ 3323724 w 3832826"/>
                <a:gd name="connsiteY484" fmla="*/ 3625037 h 5120141"/>
                <a:gd name="connsiteX485" fmla="*/ 3330079 w 3832826"/>
                <a:gd name="connsiteY485" fmla="*/ 3627017 h 5120141"/>
                <a:gd name="connsiteX486" fmla="*/ 3332198 w 3832826"/>
                <a:gd name="connsiteY486" fmla="*/ 3628997 h 5120141"/>
                <a:gd name="connsiteX487" fmla="*/ 3340560 w 3832826"/>
                <a:gd name="connsiteY487" fmla="*/ 3644989 h 5120141"/>
                <a:gd name="connsiteX488" fmla="*/ 3351151 w 3832826"/>
                <a:gd name="connsiteY488" fmla="*/ 3657021 h 5120141"/>
                <a:gd name="connsiteX489" fmla="*/ 3372112 w 3832826"/>
                <a:gd name="connsiteY489" fmla="*/ 3684968 h 5120141"/>
                <a:gd name="connsiteX490" fmla="*/ 3372112 w 3832826"/>
                <a:gd name="connsiteY490" fmla="*/ 3687024 h 5120141"/>
                <a:gd name="connsiteX491" fmla="*/ 3372112 w 3832826"/>
                <a:gd name="connsiteY491" fmla="*/ 3689004 h 5120141"/>
                <a:gd name="connsiteX492" fmla="*/ 3367875 w 3832826"/>
                <a:gd name="connsiteY492" fmla="*/ 3695020 h 5120141"/>
                <a:gd name="connsiteX493" fmla="*/ 3363750 w 3832826"/>
                <a:gd name="connsiteY493" fmla="*/ 3703016 h 5120141"/>
                <a:gd name="connsiteX494" fmla="*/ 3363750 w 3832826"/>
                <a:gd name="connsiteY494" fmla="*/ 3704996 h 5120141"/>
                <a:gd name="connsiteX495" fmla="*/ 3363750 w 3832826"/>
                <a:gd name="connsiteY495" fmla="*/ 3706976 h 5120141"/>
                <a:gd name="connsiteX496" fmla="*/ 3367875 w 3832826"/>
                <a:gd name="connsiteY496" fmla="*/ 3716951 h 5120141"/>
                <a:gd name="connsiteX497" fmla="*/ 3374230 w 3832826"/>
                <a:gd name="connsiteY497" fmla="*/ 3722967 h 5120141"/>
                <a:gd name="connsiteX498" fmla="*/ 3382704 w 3832826"/>
                <a:gd name="connsiteY498" fmla="*/ 3728983 h 5120141"/>
                <a:gd name="connsiteX499" fmla="*/ 3388948 w 3832826"/>
                <a:gd name="connsiteY499" fmla="*/ 3734923 h 5120141"/>
                <a:gd name="connsiteX500" fmla="*/ 3395303 w 3832826"/>
                <a:gd name="connsiteY500" fmla="*/ 3746955 h 5120141"/>
                <a:gd name="connsiteX501" fmla="*/ 3397421 w 3832826"/>
                <a:gd name="connsiteY501" fmla="*/ 3756931 h 5120141"/>
                <a:gd name="connsiteX502" fmla="*/ 3397421 w 3832826"/>
                <a:gd name="connsiteY502" fmla="*/ 3766907 h 5120141"/>
                <a:gd name="connsiteX503" fmla="*/ 3399428 w 3832826"/>
                <a:gd name="connsiteY503" fmla="*/ 3778939 h 5120141"/>
                <a:gd name="connsiteX504" fmla="*/ 3407901 w 3832826"/>
                <a:gd name="connsiteY504" fmla="*/ 3798890 h 5120141"/>
                <a:gd name="connsiteX505" fmla="*/ 3416263 w 3832826"/>
                <a:gd name="connsiteY505" fmla="*/ 3808942 h 5120141"/>
                <a:gd name="connsiteX506" fmla="*/ 3424737 w 3832826"/>
                <a:gd name="connsiteY506" fmla="*/ 3816938 h 5120141"/>
                <a:gd name="connsiteX507" fmla="*/ 3431092 w 3832826"/>
                <a:gd name="connsiteY507" fmla="*/ 3820898 h 5120141"/>
                <a:gd name="connsiteX508" fmla="*/ 3437335 w 3832826"/>
                <a:gd name="connsiteY508" fmla="*/ 3820898 h 5120141"/>
                <a:gd name="connsiteX509" fmla="*/ 3449934 w 3832826"/>
                <a:gd name="connsiteY509" fmla="*/ 3820898 h 5120141"/>
                <a:gd name="connsiteX510" fmla="*/ 3456289 w 3832826"/>
                <a:gd name="connsiteY510" fmla="*/ 3824934 h 5120141"/>
                <a:gd name="connsiteX511" fmla="*/ 3460526 w 3832826"/>
                <a:gd name="connsiteY511" fmla="*/ 3826914 h 5120141"/>
                <a:gd name="connsiteX512" fmla="*/ 3466770 w 3832826"/>
                <a:gd name="connsiteY512" fmla="*/ 3830874 h 5120141"/>
                <a:gd name="connsiteX513" fmla="*/ 3468888 w 3832826"/>
                <a:gd name="connsiteY513" fmla="*/ 3840925 h 5120141"/>
                <a:gd name="connsiteX514" fmla="*/ 3466770 w 3832826"/>
                <a:gd name="connsiteY514" fmla="*/ 3840925 h 5120141"/>
                <a:gd name="connsiteX515" fmla="*/ 3462644 w 3832826"/>
                <a:gd name="connsiteY515" fmla="*/ 3844885 h 5120141"/>
                <a:gd name="connsiteX516" fmla="*/ 3458408 w 3832826"/>
                <a:gd name="connsiteY516" fmla="*/ 3846865 h 5120141"/>
                <a:gd name="connsiteX517" fmla="*/ 3456289 w 3832826"/>
                <a:gd name="connsiteY517" fmla="*/ 3848921 h 5120141"/>
                <a:gd name="connsiteX518" fmla="*/ 3458408 w 3832826"/>
                <a:gd name="connsiteY518" fmla="*/ 3854861 h 5120141"/>
                <a:gd name="connsiteX519" fmla="*/ 3462644 w 3832826"/>
                <a:gd name="connsiteY519" fmla="*/ 3856917 h 5120141"/>
                <a:gd name="connsiteX520" fmla="*/ 3468888 w 3832826"/>
                <a:gd name="connsiteY520" fmla="*/ 3860877 h 5120141"/>
                <a:gd name="connsiteX521" fmla="*/ 3481487 w 3832826"/>
                <a:gd name="connsiteY521" fmla="*/ 3874889 h 5120141"/>
                <a:gd name="connsiteX522" fmla="*/ 3487842 w 3832826"/>
                <a:gd name="connsiteY522" fmla="*/ 3880828 h 5120141"/>
                <a:gd name="connsiteX523" fmla="*/ 3489960 w 3832826"/>
                <a:gd name="connsiteY523" fmla="*/ 3888824 h 5120141"/>
                <a:gd name="connsiteX524" fmla="*/ 3489960 w 3832826"/>
                <a:gd name="connsiteY524" fmla="*/ 3898876 h 5120141"/>
                <a:gd name="connsiteX525" fmla="*/ 3483605 w 3832826"/>
                <a:gd name="connsiteY525" fmla="*/ 3910832 h 5120141"/>
                <a:gd name="connsiteX526" fmla="*/ 3477361 w 3832826"/>
                <a:gd name="connsiteY526" fmla="*/ 3924844 h 5120141"/>
                <a:gd name="connsiteX527" fmla="*/ 3477361 w 3832826"/>
                <a:gd name="connsiteY527" fmla="*/ 3934819 h 5120141"/>
                <a:gd name="connsiteX528" fmla="*/ 3477361 w 3832826"/>
                <a:gd name="connsiteY528" fmla="*/ 3946851 h 5120141"/>
                <a:gd name="connsiteX529" fmla="*/ 3481487 w 3832826"/>
                <a:gd name="connsiteY529" fmla="*/ 3960787 h 5120141"/>
                <a:gd name="connsiteX530" fmla="*/ 3492078 w 3832826"/>
                <a:gd name="connsiteY530" fmla="*/ 3988810 h 5120141"/>
                <a:gd name="connsiteX531" fmla="*/ 3498322 w 3832826"/>
                <a:gd name="connsiteY531" fmla="*/ 3998786 h 5120141"/>
                <a:gd name="connsiteX532" fmla="*/ 3502559 w 3832826"/>
                <a:gd name="connsiteY532" fmla="*/ 4006782 h 5120141"/>
                <a:gd name="connsiteX533" fmla="*/ 3513039 w 3832826"/>
                <a:gd name="connsiteY533" fmla="*/ 4012798 h 5120141"/>
                <a:gd name="connsiteX534" fmla="*/ 3521513 w 3832826"/>
                <a:gd name="connsiteY534" fmla="*/ 4022774 h 5120141"/>
                <a:gd name="connsiteX535" fmla="*/ 3523631 w 3832826"/>
                <a:gd name="connsiteY535" fmla="*/ 4028790 h 5120141"/>
                <a:gd name="connsiteX536" fmla="*/ 3523631 w 3832826"/>
                <a:gd name="connsiteY536" fmla="*/ 4036785 h 5120141"/>
                <a:gd name="connsiteX537" fmla="*/ 3523631 w 3832826"/>
                <a:gd name="connsiteY537" fmla="*/ 4048741 h 5120141"/>
                <a:gd name="connsiteX538" fmla="*/ 3521513 w 3832826"/>
                <a:gd name="connsiteY538" fmla="*/ 4066713 h 5120141"/>
                <a:gd name="connsiteX539" fmla="*/ 3521513 w 3832826"/>
                <a:gd name="connsiteY539" fmla="*/ 4078744 h 5120141"/>
                <a:gd name="connsiteX540" fmla="*/ 3525749 w 3832826"/>
                <a:gd name="connsiteY540" fmla="*/ 4100752 h 5120141"/>
                <a:gd name="connsiteX541" fmla="*/ 3540466 w 3832826"/>
                <a:gd name="connsiteY541" fmla="*/ 4136695 h 5120141"/>
                <a:gd name="connsiteX542" fmla="*/ 3557302 w 3832826"/>
                <a:gd name="connsiteY542" fmla="*/ 4182690 h 5120141"/>
                <a:gd name="connsiteX543" fmla="*/ 3555183 w 3832826"/>
                <a:gd name="connsiteY543" fmla="*/ 4186650 h 5120141"/>
                <a:gd name="connsiteX544" fmla="*/ 3557302 w 3832826"/>
                <a:gd name="connsiteY544" fmla="*/ 4192666 h 5120141"/>
                <a:gd name="connsiteX545" fmla="*/ 3567782 w 3832826"/>
                <a:gd name="connsiteY545" fmla="*/ 4214674 h 5120141"/>
                <a:gd name="connsiteX546" fmla="*/ 3578262 w 3832826"/>
                <a:gd name="connsiteY546" fmla="*/ 4240641 h 5120141"/>
                <a:gd name="connsiteX547" fmla="*/ 3582499 w 3832826"/>
                <a:gd name="connsiteY547" fmla="*/ 4250617 h 5120141"/>
                <a:gd name="connsiteX548" fmla="*/ 3582499 w 3832826"/>
                <a:gd name="connsiteY548" fmla="*/ 4260593 h 5120141"/>
                <a:gd name="connsiteX549" fmla="*/ 3578262 w 3832826"/>
                <a:gd name="connsiteY549" fmla="*/ 4260593 h 5120141"/>
                <a:gd name="connsiteX550" fmla="*/ 3576144 w 3832826"/>
                <a:gd name="connsiteY550" fmla="*/ 4264629 h 5120141"/>
                <a:gd name="connsiteX551" fmla="*/ 3572019 w 3832826"/>
                <a:gd name="connsiteY551" fmla="*/ 4270645 h 5120141"/>
                <a:gd name="connsiteX552" fmla="*/ 3565664 w 3832826"/>
                <a:gd name="connsiteY552" fmla="*/ 4272624 h 5120141"/>
                <a:gd name="connsiteX553" fmla="*/ 3563545 w 3832826"/>
                <a:gd name="connsiteY553" fmla="*/ 4278640 h 5120141"/>
                <a:gd name="connsiteX554" fmla="*/ 3561427 w 3832826"/>
                <a:gd name="connsiteY554" fmla="*/ 4288616 h 5120141"/>
                <a:gd name="connsiteX555" fmla="*/ 3561427 w 3832826"/>
                <a:gd name="connsiteY555" fmla="*/ 4300572 h 5120141"/>
                <a:gd name="connsiteX556" fmla="*/ 3557302 w 3832826"/>
                <a:gd name="connsiteY556" fmla="*/ 4324559 h 5120141"/>
                <a:gd name="connsiteX557" fmla="*/ 3556313 w 3832826"/>
                <a:gd name="connsiteY557" fmla="*/ 4324559 h 5120141"/>
                <a:gd name="connsiteX558" fmla="*/ 3557250 w 3832826"/>
                <a:gd name="connsiteY558" fmla="*/ 4324566 h 5120141"/>
                <a:gd name="connsiteX559" fmla="*/ 3561457 w 3832826"/>
                <a:gd name="connsiteY559" fmla="*/ 4324566 h 5120141"/>
                <a:gd name="connsiteX560" fmla="*/ 3687675 w 3832826"/>
                <a:gd name="connsiteY560" fmla="*/ 4322562 h 5120141"/>
                <a:gd name="connsiteX561" fmla="*/ 3815997 w 3832826"/>
                <a:gd name="connsiteY561" fmla="*/ 4322562 h 5120141"/>
                <a:gd name="connsiteX562" fmla="*/ 3820204 w 3832826"/>
                <a:gd name="connsiteY562" fmla="*/ 4362642 h 5120141"/>
                <a:gd name="connsiteX563" fmla="*/ 3820204 w 3832826"/>
                <a:gd name="connsiteY563" fmla="*/ 4388693 h 5120141"/>
                <a:gd name="connsiteX564" fmla="*/ 3815997 w 3832826"/>
                <a:gd name="connsiteY564" fmla="*/ 4394705 h 5120141"/>
                <a:gd name="connsiteX565" fmla="*/ 3813893 w 3832826"/>
                <a:gd name="connsiteY565" fmla="*/ 4398713 h 5120141"/>
                <a:gd name="connsiteX566" fmla="*/ 3803375 w 3832826"/>
                <a:gd name="connsiteY566" fmla="*/ 4398713 h 5120141"/>
                <a:gd name="connsiteX567" fmla="*/ 3799168 w 3832826"/>
                <a:gd name="connsiteY567" fmla="*/ 4402721 h 5120141"/>
                <a:gd name="connsiteX568" fmla="*/ 3799168 w 3832826"/>
                <a:gd name="connsiteY568" fmla="*/ 4408733 h 5120141"/>
                <a:gd name="connsiteX569" fmla="*/ 3801272 w 3832826"/>
                <a:gd name="connsiteY569" fmla="*/ 4420757 h 5120141"/>
                <a:gd name="connsiteX570" fmla="*/ 3801272 w 3832826"/>
                <a:gd name="connsiteY570" fmla="*/ 4422761 h 5120141"/>
                <a:gd name="connsiteX571" fmla="*/ 3805479 w 3832826"/>
                <a:gd name="connsiteY571" fmla="*/ 4424765 h 5120141"/>
                <a:gd name="connsiteX572" fmla="*/ 3815997 w 3832826"/>
                <a:gd name="connsiteY572" fmla="*/ 4422761 h 5120141"/>
                <a:gd name="connsiteX573" fmla="*/ 3826515 w 3832826"/>
                <a:gd name="connsiteY573" fmla="*/ 4422761 h 5120141"/>
                <a:gd name="connsiteX574" fmla="*/ 3830723 w 3832826"/>
                <a:gd name="connsiteY574" fmla="*/ 4424765 h 5120141"/>
                <a:gd name="connsiteX575" fmla="*/ 3832826 w 3832826"/>
                <a:gd name="connsiteY575" fmla="*/ 4430776 h 5120141"/>
                <a:gd name="connsiteX576" fmla="*/ 3830723 w 3832826"/>
                <a:gd name="connsiteY576" fmla="*/ 4436788 h 5120141"/>
                <a:gd name="connsiteX577" fmla="*/ 3826515 w 3832826"/>
                <a:gd name="connsiteY577" fmla="*/ 4436788 h 5120141"/>
                <a:gd name="connsiteX578" fmla="*/ 3822308 w 3832826"/>
                <a:gd name="connsiteY578" fmla="*/ 4440796 h 5120141"/>
                <a:gd name="connsiteX579" fmla="*/ 3822308 w 3832826"/>
                <a:gd name="connsiteY579" fmla="*/ 4444804 h 5120141"/>
                <a:gd name="connsiteX580" fmla="*/ 3822308 w 3832826"/>
                <a:gd name="connsiteY580" fmla="*/ 4502919 h 5120141"/>
                <a:gd name="connsiteX581" fmla="*/ 3824412 w 3832826"/>
                <a:gd name="connsiteY581" fmla="*/ 4557026 h 5120141"/>
                <a:gd name="connsiteX582" fmla="*/ 3826515 w 3832826"/>
                <a:gd name="connsiteY582" fmla="*/ 4723356 h 5120141"/>
                <a:gd name="connsiteX583" fmla="*/ 3826515 w 3832826"/>
                <a:gd name="connsiteY583" fmla="*/ 4805518 h 5120141"/>
                <a:gd name="connsiteX584" fmla="*/ 3826515 w 3832826"/>
                <a:gd name="connsiteY584" fmla="*/ 4887681 h 5120141"/>
                <a:gd name="connsiteX585" fmla="*/ 3815997 w 3832826"/>
                <a:gd name="connsiteY585" fmla="*/ 4885677 h 5120141"/>
                <a:gd name="connsiteX586" fmla="*/ 3820204 w 3832826"/>
                <a:gd name="connsiteY586" fmla="*/ 4985875 h 5120141"/>
                <a:gd name="connsiteX587" fmla="*/ 3820204 w 3832826"/>
                <a:gd name="connsiteY587" fmla="*/ 5072046 h 5120141"/>
                <a:gd name="connsiteX588" fmla="*/ 3822308 w 3832826"/>
                <a:gd name="connsiteY588" fmla="*/ 5072046 h 5120141"/>
                <a:gd name="connsiteX589" fmla="*/ 3822308 w 3832826"/>
                <a:gd name="connsiteY589" fmla="*/ 5088078 h 5120141"/>
                <a:gd name="connsiteX590" fmla="*/ 3822308 w 3832826"/>
                <a:gd name="connsiteY590" fmla="*/ 5100102 h 5120141"/>
                <a:gd name="connsiteX591" fmla="*/ 3820204 w 3832826"/>
                <a:gd name="connsiteY591" fmla="*/ 5104109 h 5120141"/>
                <a:gd name="connsiteX592" fmla="*/ 3815997 w 3832826"/>
                <a:gd name="connsiteY592" fmla="*/ 5108117 h 5120141"/>
                <a:gd name="connsiteX593" fmla="*/ 3809686 w 3832826"/>
                <a:gd name="connsiteY593" fmla="*/ 5108117 h 5120141"/>
                <a:gd name="connsiteX594" fmla="*/ 3801272 w 3832826"/>
                <a:gd name="connsiteY594" fmla="*/ 5108117 h 5120141"/>
                <a:gd name="connsiteX595" fmla="*/ 3370026 w 3832826"/>
                <a:gd name="connsiteY595" fmla="*/ 5110121 h 5120141"/>
                <a:gd name="connsiteX596" fmla="*/ 2940884 w 3832826"/>
                <a:gd name="connsiteY596" fmla="*/ 5112125 h 5120141"/>
                <a:gd name="connsiteX597" fmla="*/ 2903018 w 3832826"/>
                <a:gd name="connsiteY597" fmla="*/ 5112125 h 5120141"/>
                <a:gd name="connsiteX598" fmla="*/ 2898811 w 3832826"/>
                <a:gd name="connsiteY598" fmla="*/ 5118137 h 5120141"/>
                <a:gd name="connsiteX599" fmla="*/ 2888293 w 3832826"/>
                <a:gd name="connsiteY599" fmla="*/ 5120141 h 5120141"/>
                <a:gd name="connsiteX600" fmla="*/ 2860945 w 3832826"/>
                <a:gd name="connsiteY600" fmla="*/ 5120141 h 5120141"/>
                <a:gd name="connsiteX601" fmla="*/ 2808354 w 3832826"/>
                <a:gd name="connsiteY601" fmla="*/ 5118137 h 5120141"/>
                <a:gd name="connsiteX602" fmla="*/ 2747349 w 3832826"/>
                <a:gd name="connsiteY602" fmla="*/ 5120141 h 5120141"/>
                <a:gd name="connsiteX603" fmla="*/ 2713691 w 3832826"/>
                <a:gd name="connsiteY603" fmla="*/ 5120141 h 5120141"/>
                <a:gd name="connsiteX604" fmla="*/ 2701069 w 3832826"/>
                <a:gd name="connsiteY604" fmla="*/ 5118137 h 5120141"/>
                <a:gd name="connsiteX605" fmla="*/ 2692654 w 3832826"/>
                <a:gd name="connsiteY605" fmla="*/ 5114129 h 5120141"/>
                <a:gd name="connsiteX606" fmla="*/ 2690551 w 3832826"/>
                <a:gd name="connsiteY606" fmla="*/ 5108117 h 5120141"/>
                <a:gd name="connsiteX607" fmla="*/ 2690551 w 3832826"/>
                <a:gd name="connsiteY607" fmla="*/ 5100102 h 5120141"/>
                <a:gd name="connsiteX608" fmla="*/ 2690551 w 3832826"/>
                <a:gd name="connsiteY608" fmla="*/ 5084070 h 5120141"/>
                <a:gd name="connsiteX609" fmla="*/ 2690551 w 3832826"/>
                <a:gd name="connsiteY609" fmla="*/ 5082066 h 5120141"/>
                <a:gd name="connsiteX610" fmla="*/ 2688447 w 3832826"/>
                <a:gd name="connsiteY610" fmla="*/ 5080062 h 5120141"/>
                <a:gd name="connsiteX611" fmla="*/ 2682136 w 3832826"/>
                <a:gd name="connsiteY611" fmla="*/ 5080062 h 5120141"/>
                <a:gd name="connsiteX612" fmla="*/ 2675825 w 3832826"/>
                <a:gd name="connsiteY612" fmla="*/ 5080062 h 5120141"/>
                <a:gd name="connsiteX613" fmla="*/ 2669514 w 3832826"/>
                <a:gd name="connsiteY613" fmla="*/ 5080062 h 5120141"/>
                <a:gd name="connsiteX614" fmla="*/ 2667411 w 3832826"/>
                <a:gd name="connsiteY614" fmla="*/ 5078058 h 5120141"/>
                <a:gd name="connsiteX615" fmla="*/ 2667411 w 3832826"/>
                <a:gd name="connsiteY615" fmla="*/ 5072046 h 5120141"/>
                <a:gd name="connsiteX616" fmla="*/ 2658996 w 3832826"/>
                <a:gd name="connsiteY616" fmla="*/ 5070042 h 5120141"/>
                <a:gd name="connsiteX617" fmla="*/ 2627442 w 3832826"/>
                <a:gd name="connsiteY617" fmla="*/ 5070042 h 5120141"/>
                <a:gd name="connsiteX618" fmla="*/ 2612716 w 3832826"/>
                <a:gd name="connsiteY618" fmla="*/ 5070042 h 5120141"/>
                <a:gd name="connsiteX619" fmla="*/ 2604302 w 3832826"/>
                <a:gd name="connsiteY619" fmla="*/ 5070042 h 5120141"/>
                <a:gd name="connsiteX620" fmla="*/ 2602198 w 3832826"/>
                <a:gd name="connsiteY620" fmla="*/ 5068038 h 5120141"/>
                <a:gd name="connsiteX621" fmla="*/ 2597991 w 3832826"/>
                <a:gd name="connsiteY621" fmla="*/ 5064030 h 5120141"/>
                <a:gd name="connsiteX622" fmla="*/ 2595887 w 3832826"/>
                <a:gd name="connsiteY622" fmla="*/ 5052006 h 5120141"/>
                <a:gd name="connsiteX623" fmla="*/ 2593783 w 3832826"/>
                <a:gd name="connsiteY623" fmla="*/ 5047998 h 5120141"/>
                <a:gd name="connsiteX624" fmla="*/ 2591680 w 3832826"/>
                <a:gd name="connsiteY624" fmla="*/ 5047998 h 5120141"/>
                <a:gd name="connsiteX625" fmla="*/ 2576954 w 3832826"/>
                <a:gd name="connsiteY625" fmla="*/ 5045994 h 5120141"/>
                <a:gd name="connsiteX626" fmla="*/ 2551711 w 3832826"/>
                <a:gd name="connsiteY626" fmla="*/ 5047998 h 5120141"/>
                <a:gd name="connsiteX627" fmla="*/ 2530674 w 3832826"/>
                <a:gd name="connsiteY627" fmla="*/ 5045994 h 5120141"/>
                <a:gd name="connsiteX628" fmla="*/ 2528571 w 3832826"/>
                <a:gd name="connsiteY628" fmla="*/ 4975856 h 5120141"/>
                <a:gd name="connsiteX629" fmla="*/ 2528571 w 3832826"/>
                <a:gd name="connsiteY629" fmla="*/ 4905717 h 5120141"/>
                <a:gd name="connsiteX630" fmla="*/ 2524363 w 3832826"/>
                <a:gd name="connsiteY630" fmla="*/ 4899705 h 5120141"/>
                <a:gd name="connsiteX631" fmla="*/ 2522260 w 3832826"/>
                <a:gd name="connsiteY631" fmla="*/ 4895697 h 5120141"/>
                <a:gd name="connsiteX632" fmla="*/ 2509638 w 3832826"/>
                <a:gd name="connsiteY632" fmla="*/ 4891689 h 5120141"/>
                <a:gd name="connsiteX633" fmla="*/ 2492809 w 3832826"/>
                <a:gd name="connsiteY633" fmla="*/ 4889685 h 5120141"/>
                <a:gd name="connsiteX634" fmla="*/ 2478083 w 3832826"/>
                <a:gd name="connsiteY634" fmla="*/ 4889685 h 5120141"/>
                <a:gd name="connsiteX635" fmla="*/ 2471772 w 3832826"/>
                <a:gd name="connsiteY635" fmla="*/ 4887681 h 5120141"/>
                <a:gd name="connsiteX636" fmla="*/ 2467565 w 3832826"/>
                <a:gd name="connsiteY636" fmla="*/ 4881669 h 5120141"/>
                <a:gd name="connsiteX637" fmla="*/ 2465461 w 3832826"/>
                <a:gd name="connsiteY637" fmla="*/ 4871649 h 5120141"/>
                <a:gd name="connsiteX638" fmla="*/ 2465461 w 3832826"/>
                <a:gd name="connsiteY638" fmla="*/ 4861629 h 5120141"/>
                <a:gd name="connsiteX639" fmla="*/ 2467565 w 3832826"/>
                <a:gd name="connsiteY639" fmla="*/ 4839586 h 5120141"/>
                <a:gd name="connsiteX640" fmla="*/ 2467565 w 3832826"/>
                <a:gd name="connsiteY640" fmla="*/ 4823554 h 5120141"/>
                <a:gd name="connsiteX641" fmla="*/ 2391834 w 3832826"/>
                <a:gd name="connsiteY641" fmla="*/ 4823554 h 5120141"/>
                <a:gd name="connsiteX642" fmla="*/ 2393938 w 3832826"/>
                <a:gd name="connsiteY642" fmla="*/ 4755419 h 5120141"/>
                <a:gd name="connsiteX643" fmla="*/ 2343450 w 3832826"/>
                <a:gd name="connsiteY643" fmla="*/ 4759427 h 5120141"/>
                <a:gd name="connsiteX644" fmla="*/ 2311896 w 3832826"/>
                <a:gd name="connsiteY644" fmla="*/ 4759427 h 5120141"/>
                <a:gd name="connsiteX645" fmla="*/ 2301378 w 3832826"/>
                <a:gd name="connsiteY645" fmla="*/ 4757423 h 5120141"/>
                <a:gd name="connsiteX646" fmla="*/ 2295067 w 3832826"/>
                <a:gd name="connsiteY646" fmla="*/ 4755419 h 5120141"/>
                <a:gd name="connsiteX647" fmla="*/ 2290860 w 3832826"/>
                <a:gd name="connsiteY647" fmla="*/ 4749407 h 5120141"/>
                <a:gd name="connsiteX648" fmla="*/ 2290860 w 3832826"/>
                <a:gd name="connsiteY648" fmla="*/ 4745399 h 5120141"/>
                <a:gd name="connsiteX649" fmla="*/ 2290860 w 3832826"/>
                <a:gd name="connsiteY649" fmla="*/ 4727364 h 5120141"/>
                <a:gd name="connsiteX650" fmla="*/ 2290860 w 3832826"/>
                <a:gd name="connsiteY650" fmla="*/ 4699308 h 5120141"/>
                <a:gd name="connsiteX651" fmla="*/ 2290860 w 3832826"/>
                <a:gd name="connsiteY651" fmla="*/ 4687284 h 5120141"/>
                <a:gd name="connsiteX652" fmla="*/ 2288756 w 3832826"/>
                <a:gd name="connsiteY652" fmla="*/ 4685280 h 5120141"/>
                <a:gd name="connsiteX653" fmla="*/ 2284549 w 3832826"/>
                <a:gd name="connsiteY653" fmla="*/ 4683276 h 5120141"/>
                <a:gd name="connsiteX654" fmla="*/ 2274030 w 3832826"/>
                <a:gd name="connsiteY654" fmla="*/ 4683276 h 5120141"/>
                <a:gd name="connsiteX655" fmla="*/ 2259305 w 3832826"/>
                <a:gd name="connsiteY655" fmla="*/ 4685280 h 5120141"/>
                <a:gd name="connsiteX656" fmla="*/ 2255098 w 3832826"/>
                <a:gd name="connsiteY656" fmla="*/ 4683276 h 5120141"/>
                <a:gd name="connsiteX657" fmla="*/ 2248787 w 3832826"/>
                <a:gd name="connsiteY657" fmla="*/ 4679268 h 5120141"/>
                <a:gd name="connsiteX658" fmla="*/ 2244579 w 3832826"/>
                <a:gd name="connsiteY658" fmla="*/ 4673257 h 5120141"/>
                <a:gd name="connsiteX659" fmla="*/ 2244579 w 3832826"/>
                <a:gd name="connsiteY659" fmla="*/ 4663237 h 5120141"/>
                <a:gd name="connsiteX660" fmla="*/ 2244579 w 3832826"/>
                <a:gd name="connsiteY660" fmla="*/ 4649209 h 5120141"/>
                <a:gd name="connsiteX661" fmla="*/ 2244579 w 3832826"/>
                <a:gd name="connsiteY661" fmla="*/ 4637185 h 5120141"/>
                <a:gd name="connsiteX662" fmla="*/ 2244579 w 3832826"/>
                <a:gd name="connsiteY662" fmla="*/ 4627165 h 5120141"/>
                <a:gd name="connsiteX663" fmla="*/ 2242476 w 3832826"/>
                <a:gd name="connsiteY663" fmla="*/ 4623157 h 5120141"/>
                <a:gd name="connsiteX664" fmla="*/ 2236165 w 3832826"/>
                <a:gd name="connsiteY664" fmla="*/ 4617145 h 5120141"/>
                <a:gd name="connsiteX665" fmla="*/ 2234061 w 3832826"/>
                <a:gd name="connsiteY665" fmla="*/ 4617145 h 5120141"/>
                <a:gd name="connsiteX666" fmla="*/ 2225647 w 3832826"/>
                <a:gd name="connsiteY666" fmla="*/ 4615141 h 5120141"/>
                <a:gd name="connsiteX667" fmla="*/ 2194092 w 3832826"/>
                <a:gd name="connsiteY667" fmla="*/ 4617145 h 5120141"/>
                <a:gd name="connsiteX668" fmla="*/ 2179367 w 3832826"/>
                <a:gd name="connsiteY668" fmla="*/ 4617145 h 5120141"/>
                <a:gd name="connsiteX669" fmla="*/ 2164641 w 3832826"/>
                <a:gd name="connsiteY669" fmla="*/ 4613137 h 5120141"/>
                <a:gd name="connsiteX670" fmla="*/ 2162538 w 3832826"/>
                <a:gd name="connsiteY670" fmla="*/ 4607126 h 5120141"/>
                <a:gd name="connsiteX671" fmla="*/ 2160434 w 3832826"/>
                <a:gd name="connsiteY671" fmla="*/ 4597106 h 5120141"/>
                <a:gd name="connsiteX672" fmla="*/ 2154123 w 3832826"/>
                <a:gd name="connsiteY672" fmla="*/ 4583078 h 5120141"/>
                <a:gd name="connsiteX673" fmla="*/ 2149916 w 3832826"/>
                <a:gd name="connsiteY673" fmla="*/ 4581074 h 5120141"/>
                <a:gd name="connsiteX674" fmla="*/ 2143605 w 3832826"/>
                <a:gd name="connsiteY674" fmla="*/ 4575062 h 5120141"/>
                <a:gd name="connsiteX675" fmla="*/ 2133087 w 3832826"/>
                <a:gd name="connsiteY675" fmla="*/ 4571054 h 5120141"/>
                <a:gd name="connsiteX676" fmla="*/ 2130983 w 3832826"/>
                <a:gd name="connsiteY676" fmla="*/ 4565042 h 5120141"/>
                <a:gd name="connsiteX677" fmla="*/ 2130983 w 3832826"/>
                <a:gd name="connsiteY677" fmla="*/ 4561034 h 5120141"/>
                <a:gd name="connsiteX678" fmla="*/ 2130983 w 3832826"/>
                <a:gd name="connsiteY678" fmla="*/ 4553018 h 5120141"/>
                <a:gd name="connsiteX679" fmla="*/ 2130983 w 3832826"/>
                <a:gd name="connsiteY679" fmla="*/ 4551015 h 5120141"/>
                <a:gd name="connsiteX680" fmla="*/ 2126776 w 3832826"/>
                <a:gd name="connsiteY680" fmla="*/ 4545003 h 5120141"/>
                <a:gd name="connsiteX681" fmla="*/ 2122568 w 3832826"/>
                <a:gd name="connsiteY681" fmla="*/ 4545003 h 5120141"/>
                <a:gd name="connsiteX682" fmla="*/ 2120465 w 3832826"/>
                <a:gd name="connsiteY682" fmla="*/ 4545003 h 5120141"/>
                <a:gd name="connsiteX683" fmla="*/ 2118361 w 3832826"/>
                <a:gd name="connsiteY683" fmla="*/ 4536987 h 5120141"/>
                <a:gd name="connsiteX684" fmla="*/ 2116258 w 3832826"/>
                <a:gd name="connsiteY684" fmla="*/ 4536987 h 5120141"/>
                <a:gd name="connsiteX685" fmla="*/ 2109947 w 3832826"/>
                <a:gd name="connsiteY685" fmla="*/ 4536987 h 5120141"/>
                <a:gd name="connsiteX686" fmla="*/ 2107843 w 3832826"/>
                <a:gd name="connsiteY686" fmla="*/ 4536987 h 5120141"/>
                <a:gd name="connsiteX687" fmla="*/ 2107843 w 3832826"/>
                <a:gd name="connsiteY687" fmla="*/ 4534983 h 5120141"/>
                <a:gd name="connsiteX688" fmla="*/ 2105739 w 3832826"/>
                <a:gd name="connsiteY688" fmla="*/ 4500915 h 5120141"/>
                <a:gd name="connsiteX689" fmla="*/ 2105739 w 3832826"/>
                <a:gd name="connsiteY689" fmla="*/ 4476868 h 5120141"/>
                <a:gd name="connsiteX690" fmla="*/ 2101532 w 3832826"/>
                <a:gd name="connsiteY690" fmla="*/ 4470856 h 5120141"/>
                <a:gd name="connsiteX691" fmla="*/ 2099428 w 3832826"/>
                <a:gd name="connsiteY691" fmla="*/ 4466848 h 5120141"/>
                <a:gd name="connsiteX692" fmla="*/ 2095221 w 3832826"/>
                <a:gd name="connsiteY692" fmla="*/ 4466848 h 5120141"/>
                <a:gd name="connsiteX693" fmla="*/ 2063667 w 3832826"/>
                <a:gd name="connsiteY693" fmla="*/ 4470856 h 5120141"/>
                <a:gd name="connsiteX694" fmla="*/ 2042630 w 3832826"/>
                <a:gd name="connsiteY694" fmla="*/ 4470856 h 5120141"/>
                <a:gd name="connsiteX695" fmla="*/ 2036319 w 3832826"/>
                <a:gd name="connsiteY695" fmla="*/ 4466848 h 5120141"/>
                <a:gd name="connsiteX696" fmla="*/ 2032112 w 3832826"/>
                <a:gd name="connsiteY696" fmla="*/ 4466848 h 5120141"/>
                <a:gd name="connsiteX697" fmla="*/ 2027905 w 3832826"/>
                <a:gd name="connsiteY697" fmla="*/ 4456828 h 5120141"/>
                <a:gd name="connsiteX698" fmla="*/ 2027905 w 3832826"/>
                <a:gd name="connsiteY698" fmla="*/ 4444804 h 5120141"/>
                <a:gd name="connsiteX699" fmla="*/ 2027905 w 3832826"/>
                <a:gd name="connsiteY699" fmla="*/ 4420757 h 5120141"/>
                <a:gd name="connsiteX700" fmla="*/ 2027905 w 3832826"/>
                <a:gd name="connsiteY700" fmla="*/ 4376298 h 5120141"/>
                <a:gd name="connsiteX701" fmla="*/ 2025801 w 3832826"/>
                <a:gd name="connsiteY701" fmla="*/ 4376298 h 5120141"/>
                <a:gd name="connsiteX702" fmla="*/ 2025801 w 3832826"/>
                <a:gd name="connsiteY702" fmla="*/ 4328574 h 5120141"/>
                <a:gd name="connsiteX703" fmla="*/ 2025801 w 3832826"/>
                <a:gd name="connsiteY703" fmla="*/ 4326856 h 5120141"/>
                <a:gd name="connsiteX704" fmla="*/ 2021595 w 3832826"/>
                <a:gd name="connsiteY704" fmla="*/ 4326570 h 5120141"/>
                <a:gd name="connsiteX705" fmla="*/ 2015284 w 3832826"/>
                <a:gd name="connsiteY705" fmla="*/ 4326570 h 5120141"/>
                <a:gd name="connsiteX706" fmla="*/ 2017387 w 3832826"/>
                <a:gd name="connsiteY706" fmla="*/ 4316550 h 5120141"/>
                <a:gd name="connsiteX707" fmla="*/ 2015284 w 3832826"/>
                <a:gd name="connsiteY707" fmla="*/ 4310539 h 5120141"/>
                <a:gd name="connsiteX708" fmla="*/ 2008973 w 3832826"/>
                <a:gd name="connsiteY708" fmla="*/ 4306531 h 5120141"/>
                <a:gd name="connsiteX709" fmla="*/ 2004765 w 3832826"/>
                <a:gd name="connsiteY709" fmla="*/ 4300519 h 5120141"/>
                <a:gd name="connsiteX710" fmla="*/ 1994247 w 3832826"/>
                <a:gd name="connsiteY710" fmla="*/ 4286491 h 5120141"/>
                <a:gd name="connsiteX711" fmla="*/ 1987936 w 3832826"/>
                <a:gd name="connsiteY711" fmla="*/ 4270459 h 5120141"/>
                <a:gd name="connsiteX712" fmla="*/ 1987936 w 3832826"/>
                <a:gd name="connsiteY712" fmla="*/ 4262443 h 5120141"/>
                <a:gd name="connsiteX713" fmla="*/ 1987936 w 3832826"/>
                <a:gd name="connsiteY713" fmla="*/ 4258435 h 5120141"/>
                <a:gd name="connsiteX714" fmla="*/ 1987936 w 3832826"/>
                <a:gd name="connsiteY714" fmla="*/ 4252423 h 5120141"/>
                <a:gd name="connsiteX715" fmla="*/ 1983729 w 3832826"/>
                <a:gd name="connsiteY715" fmla="*/ 4246412 h 5120141"/>
                <a:gd name="connsiteX716" fmla="*/ 1978277 w 3832826"/>
                <a:gd name="connsiteY716" fmla="*/ 4241218 h 5120141"/>
                <a:gd name="connsiteX717" fmla="*/ 1947935 w 3832826"/>
                <a:gd name="connsiteY717" fmla="*/ 4232386 h 5120141"/>
                <a:gd name="connsiteX718" fmla="*/ 1941632 w 3832826"/>
                <a:gd name="connsiteY718" fmla="*/ 4228376 h 5120141"/>
                <a:gd name="connsiteX719" fmla="*/ 1933169 w 3832826"/>
                <a:gd name="connsiteY719" fmla="*/ 4220356 h 5120141"/>
                <a:gd name="connsiteX720" fmla="*/ 1922725 w 3832826"/>
                <a:gd name="connsiteY720" fmla="*/ 4208326 h 5120141"/>
                <a:gd name="connsiteX721" fmla="*/ 1910120 w 3832826"/>
                <a:gd name="connsiteY721" fmla="*/ 4196297 h 5120141"/>
                <a:gd name="connsiteX722" fmla="*/ 1901657 w 3832826"/>
                <a:gd name="connsiteY722" fmla="*/ 4190282 h 5120141"/>
                <a:gd name="connsiteX723" fmla="*/ 1893193 w 3832826"/>
                <a:gd name="connsiteY723" fmla="*/ 4186272 h 5120141"/>
                <a:gd name="connsiteX724" fmla="*/ 1867983 w 3832826"/>
                <a:gd name="connsiteY724" fmla="*/ 4178252 h 5120141"/>
                <a:gd name="connsiteX725" fmla="*/ 1857539 w 3832826"/>
                <a:gd name="connsiteY725" fmla="*/ 4172237 h 5120141"/>
                <a:gd name="connsiteX726" fmla="*/ 1842773 w 3832826"/>
                <a:gd name="connsiteY726" fmla="*/ 4166222 h 5120141"/>
                <a:gd name="connsiteX727" fmla="*/ 1804958 w 3832826"/>
                <a:gd name="connsiteY727" fmla="*/ 4138152 h 5120141"/>
                <a:gd name="connsiteX728" fmla="*/ 1800637 w 3832826"/>
                <a:gd name="connsiteY728" fmla="*/ 4138152 h 5120141"/>
                <a:gd name="connsiteX729" fmla="*/ 1796495 w 3832826"/>
                <a:gd name="connsiteY729" fmla="*/ 4138152 h 5120141"/>
                <a:gd name="connsiteX730" fmla="*/ 1790192 w 3832826"/>
                <a:gd name="connsiteY730" fmla="*/ 4138152 h 5120141"/>
                <a:gd name="connsiteX731" fmla="*/ 1786051 w 3832826"/>
                <a:gd name="connsiteY731" fmla="*/ 4132138 h 5120141"/>
                <a:gd name="connsiteX732" fmla="*/ 1783890 w 3832826"/>
                <a:gd name="connsiteY732" fmla="*/ 4126123 h 5120141"/>
                <a:gd name="connsiteX733" fmla="*/ 1775427 w 3832826"/>
                <a:gd name="connsiteY733" fmla="*/ 4120108 h 5120141"/>
                <a:gd name="connsiteX734" fmla="*/ 1769124 w 3832826"/>
                <a:gd name="connsiteY734" fmla="*/ 4118103 h 5120141"/>
                <a:gd name="connsiteX735" fmla="*/ 1762822 w 3832826"/>
                <a:gd name="connsiteY735" fmla="*/ 4112088 h 5120141"/>
                <a:gd name="connsiteX736" fmla="*/ 1756519 w 3832826"/>
                <a:gd name="connsiteY736" fmla="*/ 4100058 h 5120141"/>
                <a:gd name="connsiteX737" fmla="*/ 1752377 w 3832826"/>
                <a:gd name="connsiteY737" fmla="*/ 4090167 h 5120141"/>
                <a:gd name="connsiteX738" fmla="*/ 1741753 w 3832826"/>
                <a:gd name="connsiteY738" fmla="*/ 4086157 h 5120141"/>
                <a:gd name="connsiteX739" fmla="*/ 1733470 w 3832826"/>
                <a:gd name="connsiteY739" fmla="*/ 4082147 h 5120141"/>
                <a:gd name="connsiteX740" fmla="*/ 1716543 w 3832826"/>
                <a:gd name="connsiteY740" fmla="*/ 4070117 h 5120141"/>
                <a:gd name="connsiteX741" fmla="*/ 1706099 w 3832826"/>
                <a:gd name="connsiteY741" fmla="*/ 4060092 h 5120141"/>
                <a:gd name="connsiteX742" fmla="*/ 1701777 w 3832826"/>
                <a:gd name="connsiteY742" fmla="*/ 4052072 h 5120141"/>
                <a:gd name="connsiteX743" fmla="*/ 1699797 w 3832826"/>
                <a:gd name="connsiteY743" fmla="*/ 4048062 h 5120141"/>
                <a:gd name="connsiteX744" fmla="*/ 1695475 w 3832826"/>
                <a:gd name="connsiteY744" fmla="*/ 4038038 h 5120141"/>
                <a:gd name="connsiteX745" fmla="*/ 1699797 w 3832826"/>
                <a:gd name="connsiteY745" fmla="*/ 4030018 h 5120141"/>
                <a:gd name="connsiteX746" fmla="*/ 1701777 w 3832826"/>
                <a:gd name="connsiteY746" fmla="*/ 4021998 h 5120141"/>
                <a:gd name="connsiteX747" fmla="*/ 1706099 w 3832826"/>
                <a:gd name="connsiteY747" fmla="*/ 4017988 h 5120141"/>
                <a:gd name="connsiteX748" fmla="*/ 1714382 w 3832826"/>
                <a:gd name="connsiteY748" fmla="*/ 4007963 h 5120141"/>
                <a:gd name="connsiteX749" fmla="*/ 1716543 w 3832826"/>
                <a:gd name="connsiteY749" fmla="*/ 4001948 h 5120141"/>
                <a:gd name="connsiteX750" fmla="*/ 1720685 w 3832826"/>
                <a:gd name="connsiteY750" fmla="*/ 3997938 h 5120141"/>
                <a:gd name="connsiteX751" fmla="*/ 1716543 w 3832826"/>
                <a:gd name="connsiteY751" fmla="*/ 3991923 h 5120141"/>
                <a:gd name="connsiteX752" fmla="*/ 1712402 w 3832826"/>
                <a:gd name="connsiteY752" fmla="*/ 3985908 h 5120141"/>
                <a:gd name="connsiteX753" fmla="*/ 1701777 w 3832826"/>
                <a:gd name="connsiteY753" fmla="*/ 3975883 h 5120141"/>
                <a:gd name="connsiteX754" fmla="*/ 1695475 w 3832826"/>
                <a:gd name="connsiteY754" fmla="*/ 3973878 h 5120141"/>
                <a:gd name="connsiteX755" fmla="*/ 1691333 w 3832826"/>
                <a:gd name="connsiteY755" fmla="*/ 3965859 h 5120141"/>
                <a:gd name="connsiteX756" fmla="*/ 1689172 w 3832826"/>
                <a:gd name="connsiteY756" fmla="*/ 3957839 h 5120141"/>
                <a:gd name="connsiteX757" fmla="*/ 1691333 w 3832826"/>
                <a:gd name="connsiteY757" fmla="*/ 3953829 h 5120141"/>
                <a:gd name="connsiteX758" fmla="*/ 1691333 w 3832826"/>
                <a:gd name="connsiteY758" fmla="*/ 3945809 h 5120141"/>
                <a:gd name="connsiteX759" fmla="*/ 1689172 w 3832826"/>
                <a:gd name="connsiteY759" fmla="*/ 3937789 h 5120141"/>
                <a:gd name="connsiteX760" fmla="*/ 1687192 w 3832826"/>
                <a:gd name="connsiteY760" fmla="*/ 3927764 h 5120141"/>
                <a:gd name="connsiteX761" fmla="*/ 1689172 w 3832826"/>
                <a:gd name="connsiteY761" fmla="*/ 3919744 h 5120141"/>
                <a:gd name="connsiteX762" fmla="*/ 1691333 w 3832826"/>
                <a:gd name="connsiteY762" fmla="*/ 3915734 h 5120141"/>
                <a:gd name="connsiteX763" fmla="*/ 1699797 w 3832826"/>
                <a:gd name="connsiteY763" fmla="*/ 3909719 h 5120141"/>
                <a:gd name="connsiteX764" fmla="*/ 1714382 w 3832826"/>
                <a:gd name="connsiteY764" fmla="*/ 3905709 h 5120141"/>
                <a:gd name="connsiteX765" fmla="*/ 1731309 w 3832826"/>
                <a:gd name="connsiteY765" fmla="*/ 3899694 h 5120141"/>
                <a:gd name="connsiteX766" fmla="*/ 1735451 w 3832826"/>
                <a:gd name="connsiteY766" fmla="*/ 3897690 h 5120141"/>
                <a:gd name="connsiteX767" fmla="*/ 1737612 w 3832826"/>
                <a:gd name="connsiteY767" fmla="*/ 3893680 h 5120141"/>
                <a:gd name="connsiteX768" fmla="*/ 1746075 w 3832826"/>
                <a:gd name="connsiteY768" fmla="*/ 3879645 h 5120141"/>
                <a:gd name="connsiteX769" fmla="*/ 1748056 w 3832826"/>
                <a:gd name="connsiteY769" fmla="*/ 3863605 h 5120141"/>
                <a:gd name="connsiteX770" fmla="*/ 1752377 w 3832826"/>
                <a:gd name="connsiteY770" fmla="*/ 3843555 h 5120141"/>
                <a:gd name="connsiteX771" fmla="*/ 1754358 w 3832826"/>
                <a:gd name="connsiteY771" fmla="*/ 3823639 h 5120141"/>
                <a:gd name="connsiteX772" fmla="*/ 1752377 w 3832826"/>
                <a:gd name="connsiteY772" fmla="*/ 3803590 h 5120141"/>
                <a:gd name="connsiteX773" fmla="*/ 1748056 w 3832826"/>
                <a:gd name="connsiteY773" fmla="*/ 3785545 h 5120141"/>
                <a:gd name="connsiteX774" fmla="*/ 1746075 w 3832826"/>
                <a:gd name="connsiteY774" fmla="*/ 3773515 h 5120141"/>
                <a:gd name="connsiteX775" fmla="*/ 1737612 w 3832826"/>
                <a:gd name="connsiteY775" fmla="*/ 3761485 h 5120141"/>
                <a:gd name="connsiteX776" fmla="*/ 1727167 w 3832826"/>
                <a:gd name="connsiteY776" fmla="*/ 3747450 h 5120141"/>
                <a:gd name="connsiteX777" fmla="*/ 1695475 w 3832826"/>
                <a:gd name="connsiteY777" fmla="*/ 3721385 h 5120141"/>
                <a:gd name="connsiteX778" fmla="*/ 1661802 w 3832826"/>
                <a:gd name="connsiteY778" fmla="*/ 3695321 h 5120141"/>
                <a:gd name="connsiteX779" fmla="*/ 1636592 w 3832826"/>
                <a:gd name="connsiteY779" fmla="*/ 3675271 h 5120141"/>
                <a:gd name="connsiteX780" fmla="*/ 1519948 w 3832826"/>
                <a:gd name="connsiteY780" fmla="*/ 3568035 h 5120141"/>
                <a:gd name="connsiteX781" fmla="*/ 1518826 w 3832826"/>
                <a:gd name="connsiteY781" fmla="*/ 3569070 h 5120141"/>
                <a:gd name="connsiteX782" fmla="*/ 1510411 w 3832826"/>
                <a:gd name="connsiteY782" fmla="*/ 3561053 h 5120141"/>
                <a:gd name="connsiteX783" fmla="*/ 1497790 w 3832826"/>
                <a:gd name="connsiteY783" fmla="*/ 3553037 h 5120141"/>
                <a:gd name="connsiteX784" fmla="*/ 1468339 w 3832826"/>
                <a:gd name="connsiteY784" fmla="*/ 3537005 h 5120141"/>
                <a:gd name="connsiteX785" fmla="*/ 1409437 w 3832826"/>
                <a:gd name="connsiteY785" fmla="*/ 3514942 h 5120141"/>
                <a:gd name="connsiteX786" fmla="*/ 1386297 w 3832826"/>
                <a:gd name="connsiteY786" fmla="*/ 3504939 h 5120141"/>
                <a:gd name="connsiteX787" fmla="*/ 1365260 w 3832826"/>
                <a:gd name="connsiteY787" fmla="*/ 3492950 h 5120141"/>
                <a:gd name="connsiteX788" fmla="*/ 1363157 w 3832826"/>
                <a:gd name="connsiteY788" fmla="*/ 3486920 h 5120141"/>
                <a:gd name="connsiteX789" fmla="*/ 1361053 w 3832826"/>
                <a:gd name="connsiteY789" fmla="*/ 3482877 h 5120141"/>
                <a:gd name="connsiteX790" fmla="*/ 1358949 w 3832826"/>
                <a:gd name="connsiteY790" fmla="*/ 3474861 h 5120141"/>
                <a:gd name="connsiteX791" fmla="*/ 1354742 w 3832826"/>
                <a:gd name="connsiteY791" fmla="*/ 3470888 h 5120141"/>
                <a:gd name="connsiteX792" fmla="*/ 1340017 w 3832826"/>
                <a:gd name="connsiteY792" fmla="*/ 3446839 h 5120141"/>
                <a:gd name="connsiteX793" fmla="*/ 1318980 w 3832826"/>
                <a:gd name="connsiteY793" fmla="*/ 3426763 h 5120141"/>
                <a:gd name="connsiteX794" fmla="*/ 1316877 w 3832826"/>
                <a:gd name="connsiteY794" fmla="*/ 3426763 h 5120141"/>
                <a:gd name="connsiteX795" fmla="*/ 1310566 w 3832826"/>
                <a:gd name="connsiteY795" fmla="*/ 3422790 h 5120141"/>
                <a:gd name="connsiteX796" fmla="*/ 1300047 w 3832826"/>
                <a:gd name="connsiteY796" fmla="*/ 3416760 h 5120141"/>
                <a:gd name="connsiteX797" fmla="*/ 1297944 w 3832826"/>
                <a:gd name="connsiteY797" fmla="*/ 3414774 h 5120141"/>
                <a:gd name="connsiteX798" fmla="*/ 1297944 w 3832826"/>
                <a:gd name="connsiteY798" fmla="*/ 3410730 h 5120141"/>
                <a:gd name="connsiteX799" fmla="*/ 1300047 w 3832826"/>
                <a:gd name="connsiteY799" fmla="*/ 3402714 h 5120141"/>
                <a:gd name="connsiteX800" fmla="*/ 1308462 w 3832826"/>
                <a:gd name="connsiteY800" fmla="*/ 3394698 h 5120141"/>
                <a:gd name="connsiteX801" fmla="*/ 1297944 w 3832826"/>
                <a:gd name="connsiteY801" fmla="*/ 3380722 h 5120141"/>
                <a:gd name="connsiteX802" fmla="*/ 1291633 w 3832826"/>
                <a:gd name="connsiteY802" fmla="*/ 3366676 h 5120141"/>
                <a:gd name="connsiteX803" fmla="*/ 1291633 w 3832826"/>
                <a:gd name="connsiteY803" fmla="*/ 3354616 h 5120141"/>
                <a:gd name="connsiteX804" fmla="*/ 1295840 w 3832826"/>
                <a:gd name="connsiteY804" fmla="*/ 3344614 h 5120141"/>
                <a:gd name="connsiteX805" fmla="*/ 1300047 w 3832826"/>
                <a:gd name="connsiteY805" fmla="*/ 3334611 h 5120141"/>
                <a:gd name="connsiteX806" fmla="*/ 1306358 w 3832826"/>
                <a:gd name="connsiteY806" fmla="*/ 3324608 h 5120141"/>
                <a:gd name="connsiteX807" fmla="*/ 1308462 w 3832826"/>
                <a:gd name="connsiteY807" fmla="*/ 3318578 h 5120141"/>
                <a:gd name="connsiteX808" fmla="*/ 1306358 w 3832826"/>
                <a:gd name="connsiteY808" fmla="*/ 3310562 h 5120141"/>
                <a:gd name="connsiteX809" fmla="*/ 1302151 w 3832826"/>
                <a:gd name="connsiteY809" fmla="*/ 3302546 h 5120141"/>
                <a:gd name="connsiteX810" fmla="*/ 1295840 w 3832826"/>
                <a:gd name="connsiteY810" fmla="*/ 3294529 h 5120141"/>
                <a:gd name="connsiteX811" fmla="*/ 1295840 w 3832826"/>
                <a:gd name="connsiteY811" fmla="*/ 3290486 h 5120141"/>
                <a:gd name="connsiteX812" fmla="*/ 1291633 w 3832826"/>
                <a:gd name="connsiteY812" fmla="*/ 3288499 h 5120141"/>
                <a:gd name="connsiteX813" fmla="*/ 1297944 w 3832826"/>
                <a:gd name="connsiteY813" fmla="*/ 3280483 h 5120141"/>
                <a:gd name="connsiteX814" fmla="*/ 1302151 w 3832826"/>
                <a:gd name="connsiteY814" fmla="*/ 3272467 h 5120141"/>
                <a:gd name="connsiteX815" fmla="*/ 1306358 w 3832826"/>
                <a:gd name="connsiteY815" fmla="*/ 3262464 h 5120141"/>
                <a:gd name="connsiteX816" fmla="*/ 1306358 w 3832826"/>
                <a:gd name="connsiteY816" fmla="*/ 3258421 h 5120141"/>
                <a:gd name="connsiteX817" fmla="*/ 1302151 w 3832826"/>
                <a:gd name="connsiteY817" fmla="*/ 3252462 h 5120141"/>
                <a:gd name="connsiteX818" fmla="*/ 1302205 w 3832826"/>
                <a:gd name="connsiteY818" fmla="*/ 3250392 h 5120141"/>
                <a:gd name="connsiteX819" fmla="*/ 1302151 w 3832826"/>
                <a:gd name="connsiteY819" fmla="*/ 3250439 h 5120141"/>
                <a:gd name="connsiteX820" fmla="*/ 1270596 w 3832826"/>
                <a:gd name="connsiteY820" fmla="*/ 3222383 h 5120141"/>
                <a:gd name="connsiteX821" fmla="*/ 1268493 w 3832826"/>
                <a:gd name="connsiteY821" fmla="*/ 3218375 h 5120141"/>
                <a:gd name="connsiteX822" fmla="*/ 1264285 w 3832826"/>
                <a:gd name="connsiteY822" fmla="*/ 3218375 h 5120141"/>
                <a:gd name="connsiteX823" fmla="*/ 1257974 w 3832826"/>
                <a:gd name="connsiteY823" fmla="*/ 3220379 h 5120141"/>
                <a:gd name="connsiteX824" fmla="*/ 1253767 w 3832826"/>
                <a:gd name="connsiteY824" fmla="*/ 3222383 h 5120141"/>
                <a:gd name="connsiteX825" fmla="*/ 1245353 w 3832826"/>
                <a:gd name="connsiteY825" fmla="*/ 3222383 h 5120141"/>
                <a:gd name="connsiteX826" fmla="*/ 1228523 w 3832826"/>
                <a:gd name="connsiteY826" fmla="*/ 3220379 h 5120141"/>
                <a:gd name="connsiteX827" fmla="*/ 1207487 w 3832826"/>
                <a:gd name="connsiteY827" fmla="*/ 3218375 h 5120141"/>
                <a:gd name="connsiteX828" fmla="*/ 1201176 w 3832826"/>
                <a:gd name="connsiteY828" fmla="*/ 3218375 h 5120141"/>
                <a:gd name="connsiteX829" fmla="*/ 1192761 w 3832826"/>
                <a:gd name="connsiteY829" fmla="*/ 3220379 h 5120141"/>
                <a:gd name="connsiteX830" fmla="*/ 1190658 w 3832826"/>
                <a:gd name="connsiteY830" fmla="*/ 3226391 h 5120141"/>
                <a:gd name="connsiteX831" fmla="*/ 1192761 w 3832826"/>
                <a:gd name="connsiteY831" fmla="*/ 3236411 h 5120141"/>
                <a:gd name="connsiteX832" fmla="*/ 1182243 w 3832826"/>
                <a:gd name="connsiteY832" fmla="*/ 3236411 h 5120141"/>
                <a:gd name="connsiteX833" fmla="*/ 1175932 w 3832826"/>
                <a:gd name="connsiteY833" fmla="*/ 3230399 h 5120141"/>
                <a:gd name="connsiteX834" fmla="*/ 1171725 w 3832826"/>
                <a:gd name="connsiteY834" fmla="*/ 3222383 h 5120141"/>
                <a:gd name="connsiteX835" fmla="*/ 1169621 w 3832826"/>
                <a:gd name="connsiteY835" fmla="*/ 3216371 h 5120141"/>
                <a:gd name="connsiteX836" fmla="*/ 1161207 w 3832826"/>
                <a:gd name="connsiteY836" fmla="*/ 3196332 h 5120141"/>
                <a:gd name="connsiteX837" fmla="*/ 1159103 w 3832826"/>
                <a:gd name="connsiteY837" fmla="*/ 3186312 h 5120141"/>
                <a:gd name="connsiteX838" fmla="*/ 1150689 w 3832826"/>
                <a:gd name="connsiteY838" fmla="*/ 3180300 h 5120141"/>
                <a:gd name="connsiteX839" fmla="*/ 1142274 w 3832826"/>
                <a:gd name="connsiteY839" fmla="*/ 3172284 h 5120141"/>
                <a:gd name="connsiteX840" fmla="*/ 1138067 w 3832826"/>
                <a:gd name="connsiteY840" fmla="*/ 3166272 h 5120141"/>
                <a:gd name="connsiteX841" fmla="*/ 1133859 w 3832826"/>
                <a:gd name="connsiteY841" fmla="*/ 3156253 h 5120141"/>
                <a:gd name="connsiteX842" fmla="*/ 1133859 w 3832826"/>
                <a:gd name="connsiteY842" fmla="*/ 3144229 h 5120141"/>
                <a:gd name="connsiteX843" fmla="*/ 1138067 w 3832826"/>
                <a:gd name="connsiteY843" fmla="*/ 3130201 h 5120141"/>
                <a:gd name="connsiteX844" fmla="*/ 1142274 w 3832826"/>
                <a:gd name="connsiteY844" fmla="*/ 3126193 h 5120141"/>
                <a:gd name="connsiteX845" fmla="*/ 1148585 w 3832826"/>
                <a:gd name="connsiteY845" fmla="*/ 3124189 h 5120141"/>
                <a:gd name="connsiteX846" fmla="*/ 1154896 w 3832826"/>
                <a:gd name="connsiteY846" fmla="*/ 3118177 h 5120141"/>
                <a:gd name="connsiteX847" fmla="*/ 1161207 w 3832826"/>
                <a:gd name="connsiteY847" fmla="*/ 3110161 h 5120141"/>
                <a:gd name="connsiteX848" fmla="*/ 1163310 w 3832826"/>
                <a:gd name="connsiteY848" fmla="*/ 3106153 h 5120141"/>
                <a:gd name="connsiteX849" fmla="*/ 1161207 w 3832826"/>
                <a:gd name="connsiteY849" fmla="*/ 3090122 h 5120141"/>
                <a:gd name="connsiteX850" fmla="*/ 1159103 w 3832826"/>
                <a:gd name="connsiteY850" fmla="*/ 3076094 h 5120141"/>
                <a:gd name="connsiteX851" fmla="*/ 1159103 w 3832826"/>
                <a:gd name="connsiteY851" fmla="*/ 3068078 h 5120141"/>
                <a:gd name="connsiteX852" fmla="*/ 1159103 w 3832826"/>
                <a:gd name="connsiteY852" fmla="*/ 3060062 h 5120141"/>
                <a:gd name="connsiteX853" fmla="*/ 1161207 w 3832826"/>
                <a:gd name="connsiteY853" fmla="*/ 3056054 h 5120141"/>
                <a:gd name="connsiteX854" fmla="*/ 1159103 w 3832826"/>
                <a:gd name="connsiteY854" fmla="*/ 3050042 h 5120141"/>
                <a:gd name="connsiteX855" fmla="*/ 1154896 w 3832826"/>
                <a:gd name="connsiteY855" fmla="*/ 3048038 h 5120141"/>
                <a:gd name="connsiteX856" fmla="*/ 1150689 w 3832826"/>
                <a:gd name="connsiteY856" fmla="*/ 3046035 h 5120141"/>
                <a:gd name="connsiteX857" fmla="*/ 1140170 w 3832826"/>
                <a:gd name="connsiteY857" fmla="*/ 3044031 h 5120141"/>
                <a:gd name="connsiteX858" fmla="*/ 1133859 w 3832826"/>
                <a:gd name="connsiteY858" fmla="*/ 3040023 h 5120141"/>
                <a:gd name="connsiteX859" fmla="*/ 1131756 w 3832826"/>
                <a:gd name="connsiteY859" fmla="*/ 3038019 h 5120141"/>
                <a:gd name="connsiteX860" fmla="*/ 1127548 w 3832826"/>
                <a:gd name="connsiteY860" fmla="*/ 3030003 h 5120141"/>
                <a:gd name="connsiteX861" fmla="*/ 1123341 w 3832826"/>
                <a:gd name="connsiteY861" fmla="*/ 3023991 h 5120141"/>
                <a:gd name="connsiteX862" fmla="*/ 1127548 w 3832826"/>
                <a:gd name="connsiteY862" fmla="*/ 3015975 h 5120141"/>
                <a:gd name="connsiteX863" fmla="*/ 1127548 w 3832826"/>
                <a:gd name="connsiteY863" fmla="*/ 3007959 h 5120141"/>
                <a:gd name="connsiteX864" fmla="*/ 1121238 w 3832826"/>
                <a:gd name="connsiteY864" fmla="*/ 2989924 h 5120141"/>
                <a:gd name="connsiteX865" fmla="*/ 1119134 w 3832826"/>
                <a:gd name="connsiteY865" fmla="*/ 2983912 h 5120141"/>
                <a:gd name="connsiteX866" fmla="*/ 1119134 w 3832826"/>
                <a:gd name="connsiteY866" fmla="*/ 2975896 h 5120141"/>
                <a:gd name="connsiteX867" fmla="*/ 1119133 w 3832826"/>
                <a:gd name="connsiteY867" fmla="*/ 2975897 h 5120141"/>
                <a:gd name="connsiteX868" fmla="*/ 1119133 w 3832826"/>
                <a:gd name="connsiteY868" fmla="*/ 2965877 h 5120141"/>
                <a:gd name="connsiteX869" fmla="*/ 1112822 w 3832826"/>
                <a:gd name="connsiteY869" fmla="*/ 2955857 h 5120141"/>
                <a:gd name="connsiteX870" fmla="*/ 1106511 w 3832826"/>
                <a:gd name="connsiteY870" fmla="*/ 2949845 h 5120141"/>
                <a:gd name="connsiteX871" fmla="*/ 1095993 w 3832826"/>
                <a:gd name="connsiteY871" fmla="*/ 2945837 h 5120141"/>
                <a:gd name="connsiteX872" fmla="*/ 1074956 w 3832826"/>
                <a:gd name="connsiteY872" fmla="*/ 2935817 h 5120141"/>
                <a:gd name="connsiteX873" fmla="*/ 1066542 w 3832826"/>
                <a:gd name="connsiteY873" fmla="*/ 2929806 h 5120141"/>
                <a:gd name="connsiteX874" fmla="*/ 1064438 w 3832826"/>
                <a:gd name="connsiteY874" fmla="*/ 2923794 h 5120141"/>
                <a:gd name="connsiteX875" fmla="*/ 1064438 w 3832826"/>
                <a:gd name="connsiteY875" fmla="*/ 2815579 h 5120141"/>
                <a:gd name="connsiteX876" fmla="*/ 1064438 w 3832826"/>
                <a:gd name="connsiteY876" fmla="*/ 2763476 h 5120141"/>
                <a:gd name="connsiteX877" fmla="*/ 1066542 w 3832826"/>
                <a:gd name="connsiteY877" fmla="*/ 2707365 h 5120141"/>
                <a:gd name="connsiteX878" fmla="*/ 1070749 w 3832826"/>
                <a:gd name="connsiteY878" fmla="*/ 2697345 h 5120141"/>
                <a:gd name="connsiteX879" fmla="*/ 1077060 w 3832826"/>
                <a:gd name="connsiteY879" fmla="*/ 2687326 h 5120141"/>
                <a:gd name="connsiteX880" fmla="*/ 1074956 w 3832826"/>
                <a:gd name="connsiteY880" fmla="*/ 2683318 h 5120141"/>
                <a:gd name="connsiteX881" fmla="*/ 1070749 w 3832826"/>
                <a:gd name="connsiteY881" fmla="*/ 2681314 h 5120141"/>
                <a:gd name="connsiteX882" fmla="*/ 1066542 w 3832826"/>
                <a:gd name="connsiteY882" fmla="*/ 2677306 h 5120141"/>
                <a:gd name="connsiteX883" fmla="*/ 1058127 w 3832826"/>
                <a:gd name="connsiteY883" fmla="*/ 2675302 h 5120141"/>
                <a:gd name="connsiteX884" fmla="*/ 1053920 w 3832826"/>
                <a:gd name="connsiteY884" fmla="*/ 2671294 h 5120141"/>
                <a:gd name="connsiteX885" fmla="*/ 1049713 w 3832826"/>
                <a:gd name="connsiteY885" fmla="*/ 2657266 h 5120141"/>
                <a:gd name="connsiteX886" fmla="*/ 1053920 w 3832826"/>
                <a:gd name="connsiteY886" fmla="*/ 2645242 h 5120141"/>
                <a:gd name="connsiteX887" fmla="*/ 1058127 w 3832826"/>
                <a:gd name="connsiteY887" fmla="*/ 2633218 h 5120141"/>
                <a:gd name="connsiteX888" fmla="*/ 1058127 w 3832826"/>
                <a:gd name="connsiteY888" fmla="*/ 2623199 h 5120141"/>
                <a:gd name="connsiteX889" fmla="*/ 1058127 w 3832826"/>
                <a:gd name="connsiteY889" fmla="*/ 2613179 h 5120141"/>
                <a:gd name="connsiteX890" fmla="*/ 1056023 w 3832826"/>
                <a:gd name="connsiteY890" fmla="*/ 2601155 h 5120141"/>
                <a:gd name="connsiteX891" fmla="*/ 1049713 w 3832826"/>
                <a:gd name="connsiteY891" fmla="*/ 2577107 h 5120141"/>
                <a:gd name="connsiteX892" fmla="*/ 1047609 w 3832826"/>
                <a:gd name="connsiteY892" fmla="*/ 2565084 h 5120141"/>
                <a:gd name="connsiteX893" fmla="*/ 1049713 w 3832826"/>
                <a:gd name="connsiteY893" fmla="*/ 2555064 h 5120141"/>
                <a:gd name="connsiteX894" fmla="*/ 1053920 w 3832826"/>
                <a:gd name="connsiteY894" fmla="*/ 2547048 h 5120141"/>
                <a:gd name="connsiteX895" fmla="*/ 1060231 w 3832826"/>
                <a:gd name="connsiteY895" fmla="*/ 2543040 h 5120141"/>
                <a:gd name="connsiteX896" fmla="*/ 1058389 w 3832826"/>
                <a:gd name="connsiteY896" fmla="*/ 2529007 h 5120141"/>
                <a:gd name="connsiteX897" fmla="*/ 1056029 w 3832826"/>
                <a:gd name="connsiteY897" fmla="*/ 2529007 h 5120141"/>
                <a:gd name="connsiteX898" fmla="*/ 1049713 w 3832826"/>
                <a:gd name="connsiteY898" fmla="*/ 2535024 h 5120141"/>
                <a:gd name="connsiteX899" fmla="*/ 1049713 w 3832826"/>
                <a:gd name="connsiteY899" fmla="*/ 2533020 h 5120141"/>
                <a:gd name="connsiteX900" fmla="*/ 1049713 w 3832826"/>
                <a:gd name="connsiteY900" fmla="*/ 2529007 h 5120141"/>
                <a:gd name="connsiteX901" fmla="*/ 904562 w 3832826"/>
                <a:gd name="connsiteY901" fmla="*/ 2529007 h 5120141"/>
                <a:gd name="connsiteX902" fmla="*/ 904562 w 3832826"/>
                <a:gd name="connsiteY902" fmla="*/ 2129394 h 5120141"/>
                <a:gd name="connsiteX903" fmla="*/ 889837 w 3832826"/>
                <a:gd name="connsiteY903" fmla="*/ 2130219 h 5120141"/>
                <a:gd name="connsiteX904" fmla="*/ 868800 w 3832826"/>
                <a:gd name="connsiteY904" fmla="*/ 2132223 h 5120141"/>
                <a:gd name="connsiteX905" fmla="*/ 841453 w 3832826"/>
                <a:gd name="connsiteY905" fmla="*/ 2130219 h 5120141"/>
                <a:gd name="connsiteX906" fmla="*/ 816209 w 3832826"/>
                <a:gd name="connsiteY906" fmla="*/ 2132223 h 5120141"/>
                <a:gd name="connsiteX907" fmla="*/ 793069 w 3832826"/>
                <a:gd name="connsiteY907" fmla="*/ 2140239 h 5120141"/>
                <a:gd name="connsiteX908" fmla="*/ 769929 w 3832826"/>
                <a:gd name="connsiteY908" fmla="*/ 2150258 h 5120141"/>
                <a:gd name="connsiteX909" fmla="*/ 748892 w 3832826"/>
                <a:gd name="connsiteY909" fmla="*/ 2162282 h 5120141"/>
                <a:gd name="connsiteX910" fmla="*/ 738374 w 3832826"/>
                <a:gd name="connsiteY910" fmla="*/ 2164286 h 5120141"/>
                <a:gd name="connsiteX911" fmla="*/ 732063 w 3832826"/>
                <a:gd name="connsiteY911" fmla="*/ 2164286 h 5120141"/>
                <a:gd name="connsiteX912" fmla="*/ 725752 w 3832826"/>
                <a:gd name="connsiteY912" fmla="*/ 2162282 h 5120141"/>
                <a:gd name="connsiteX913" fmla="*/ 704716 w 3832826"/>
                <a:gd name="connsiteY913" fmla="*/ 2152262 h 5120141"/>
                <a:gd name="connsiteX914" fmla="*/ 692094 w 3832826"/>
                <a:gd name="connsiteY914" fmla="*/ 2150258 h 5120141"/>
                <a:gd name="connsiteX915" fmla="*/ 677369 w 3832826"/>
                <a:gd name="connsiteY915" fmla="*/ 2150258 h 5120141"/>
                <a:gd name="connsiteX916" fmla="*/ 677369 w 3832826"/>
                <a:gd name="connsiteY916" fmla="*/ 2140239 h 5120141"/>
                <a:gd name="connsiteX917" fmla="*/ 675265 w 3832826"/>
                <a:gd name="connsiteY917" fmla="*/ 2128215 h 5120141"/>
                <a:gd name="connsiteX918" fmla="*/ 664747 w 3832826"/>
                <a:gd name="connsiteY918" fmla="*/ 2104167 h 5120141"/>
                <a:gd name="connsiteX919" fmla="*/ 643710 w 3832826"/>
                <a:gd name="connsiteY919" fmla="*/ 2062084 h 5120141"/>
                <a:gd name="connsiteX920" fmla="*/ 639503 w 3832826"/>
                <a:gd name="connsiteY920" fmla="*/ 2060080 h 5120141"/>
                <a:gd name="connsiteX921" fmla="*/ 633192 w 3832826"/>
                <a:gd name="connsiteY921" fmla="*/ 2056072 h 5120141"/>
                <a:gd name="connsiteX922" fmla="*/ 635296 w 3832826"/>
                <a:gd name="connsiteY922" fmla="*/ 2050060 h 5120141"/>
                <a:gd name="connsiteX923" fmla="*/ 635296 w 3832826"/>
                <a:gd name="connsiteY923" fmla="*/ 2042044 h 5120141"/>
                <a:gd name="connsiteX924" fmla="*/ 624777 w 3832826"/>
                <a:gd name="connsiteY924" fmla="*/ 2028016 h 5120141"/>
                <a:gd name="connsiteX925" fmla="*/ 612156 w 3832826"/>
                <a:gd name="connsiteY925" fmla="*/ 2009980 h 5120141"/>
                <a:gd name="connsiteX926" fmla="*/ 591119 w 3832826"/>
                <a:gd name="connsiteY926" fmla="*/ 1967897 h 5120141"/>
                <a:gd name="connsiteX927" fmla="*/ 570083 w 3832826"/>
                <a:gd name="connsiteY927" fmla="*/ 1925813 h 5120141"/>
                <a:gd name="connsiteX928" fmla="*/ 561668 w 3832826"/>
                <a:gd name="connsiteY928" fmla="*/ 1909781 h 5120141"/>
                <a:gd name="connsiteX929" fmla="*/ 555357 w 3832826"/>
                <a:gd name="connsiteY929" fmla="*/ 1897757 h 5120141"/>
                <a:gd name="connsiteX930" fmla="*/ 544839 w 3832826"/>
                <a:gd name="connsiteY930" fmla="*/ 1887738 h 5120141"/>
                <a:gd name="connsiteX931" fmla="*/ 530114 w 3832826"/>
                <a:gd name="connsiteY931" fmla="*/ 1879722 h 5120141"/>
                <a:gd name="connsiteX932" fmla="*/ 517492 w 3832826"/>
                <a:gd name="connsiteY932" fmla="*/ 1877718 h 5120141"/>
                <a:gd name="connsiteX933" fmla="*/ 502766 w 3832826"/>
                <a:gd name="connsiteY933" fmla="*/ 1877718 h 5120141"/>
                <a:gd name="connsiteX934" fmla="*/ 488041 w 3832826"/>
                <a:gd name="connsiteY934" fmla="*/ 1877718 h 5120141"/>
                <a:gd name="connsiteX935" fmla="*/ 481730 w 3832826"/>
                <a:gd name="connsiteY935" fmla="*/ 1875714 h 5120141"/>
                <a:gd name="connsiteX936" fmla="*/ 473315 w 3832826"/>
                <a:gd name="connsiteY936" fmla="*/ 1873710 h 5120141"/>
                <a:gd name="connsiteX937" fmla="*/ 473315 w 3832826"/>
                <a:gd name="connsiteY937" fmla="*/ 1857678 h 5120141"/>
                <a:gd name="connsiteX938" fmla="*/ 471212 w 3832826"/>
                <a:gd name="connsiteY938" fmla="*/ 1847658 h 5120141"/>
                <a:gd name="connsiteX939" fmla="*/ 462797 w 3832826"/>
                <a:gd name="connsiteY939" fmla="*/ 1829622 h 5120141"/>
                <a:gd name="connsiteX940" fmla="*/ 462797 w 3832826"/>
                <a:gd name="connsiteY940" fmla="*/ 1823611 h 5120141"/>
                <a:gd name="connsiteX941" fmla="*/ 467004 w 3832826"/>
                <a:gd name="connsiteY941" fmla="*/ 1817599 h 5120141"/>
                <a:gd name="connsiteX942" fmla="*/ 481730 w 3832826"/>
                <a:gd name="connsiteY942" fmla="*/ 1815595 h 5120141"/>
                <a:gd name="connsiteX943" fmla="*/ 491767 w 3832826"/>
                <a:gd name="connsiteY943" fmla="*/ 1801335 h 5120141"/>
                <a:gd name="connsiteX944" fmla="*/ 486799 w 3832826"/>
                <a:gd name="connsiteY944" fmla="*/ 1797561 h 5120141"/>
                <a:gd name="connsiteX945" fmla="*/ 476248 w 3832826"/>
                <a:gd name="connsiteY945" fmla="*/ 1787541 h 5120141"/>
                <a:gd name="connsiteX946" fmla="*/ 465697 w 3832826"/>
                <a:gd name="connsiteY946" fmla="*/ 1779525 h 5120141"/>
                <a:gd name="connsiteX947" fmla="*/ 463587 w 3832826"/>
                <a:gd name="connsiteY947" fmla="*/ 1775517 h 5120141"/>
                <a:gd name="connsiteX948" fmla="*/ 463587 w 3832826"/>
                <a:gd name="connsiteY948" fmla="*/ 1769505 h 5120141"/>
                <a:gd name="connsiteX949" fmla="*/ 463587 w 3832826"/>
                <a:gd name="connsiteY949" fmla="*/ 1757481 h 5120141"/>
                <a:gd name="connsiteX950" fmla="*/ 465697 w 3832826"/>
                <a:gd name="connsiteY950" fmla="*/ 1747461 h 5120141"/>
                <a:gd name="connsiteX951" fmla="*/ 463587 w 3832826"/>
                <a:gd name="connsiteY951" fmla="*/ 1737442 h 5120141"/>
                <a:gd name="connsiteX952" fmla="*/ 455146 w 3832826"/>
                <a:gd name="connsiteY952" fmla="*/ 1735438 h 5120141"/>
                <a:gd name="connsiteX953" fmla="*/ 438265 w 3832826"/>
                <a:gd name="connsiteY953" fmla="*/ 1729426 h 5120141"/>
                <a:gd name="connsiteX954" fmla="*/ 423494 w 3832826"/>
                <a:gd name="connsiteY954" fmla="*/ 1723414 h 5120141"/>
                <a:gd name="connsiteX955" fmla="*/ 415054 w 3832826"/>
                <a:gd name="connsiteY955" fmla="*/ 1717402 h 5120141"/>
                <a:gd name="connsiteX956" fmla="*/ 412943 w 3832826"/>
                <a:gd name="connsiteY956" fmla="*/ 1715398 h 5120141"/>
                <a:gd name="connsiteX957" fmla="*/ 406613 w 3832826"/>
                <a:gd name="connsiteY957" fmla="*/ 1699366 h 5120141"/>
                <a:gd name="connsiteX958" fmla="*/ 404503 w 3832826"/>
                <a:gd name="connsiteY958" fmla="*/ 1677323 h 5120141"/>
                <a:gd name="connsiteX959" fmla="*/ 404503 w 3832826"/>
                <a:gd name="connsiteY959" fmla="*/ 1657283 h 5120141"/>
                <a:gd name="connsiteX960" fmla="*/ 406613 w 3832826"/>
                <a:gd name="connsiteY960" fmla="*/ 1643255 h 5120141"/>
                <a:gd name="connsiteX961" fmla="*/ 410833 w 3832826"/>
                <a:gd name="connsiteY961" fmla="*/ 1637243 h 5120141"/>
                <a:gd name="connsiteX962" fmla="*/ 415054 w 3832826"/>
                <a:gd name="connsiteY962" fmla="*/ 1635239 h 5120141"/>
                <a:gd name="connsiteX963" fmla="*/ 421384 w 3832826"/>
                <a:gd name="connsiteY963" fmla="*/ 1631231 h 5120141"/>
                <a:gd name="connsiteX964" fmla="*/ 421384 w 3832826"/>
                <a:gd name="connsiteY964" fmla="*/ 1621212 h 5120141"/>
                <a:gd name="connsiteX965" fmla="*/ 417164 w 3832826"/>
                <a:gd name="connsiteY965" fmla="*/ 1613196 h 5120141"/>
                <a:gd name="connsiteX966" fmla="*/ 406613 w 3832826"/>
                <a:gd name="connsiteY966" fmla="*/ 1605180 h 5120141"/>
                <a:gd name="connsiteX967" fmla="*/ 391842 w 3832826"/>
                <a:gd name="connsiteY967" fmla="*/ 1593156 h 5120141"/>
                <a:gd name="connsiteX968" fmla="*/ 374961 w 3832826"/>
                <a:gd name="connsiteY968" fmla="*/ 1587144 h 5120141"/>
                <a:gd name="connsiteX969" fmla="*/ 355969 w 3832826"/>
                <a:gd name="connsiteY969" fmla="*/ 1585140 h 5120141"/>
                <a:gd name="connsiteX970" fmla="*/ 317987 w 3832826"/>
                <a:gd name="connsiteY970" fmla="*/ 1581132 h 5120141"/>
                <a:gd name="connsiteX971" fmla="*/ 296885 w 3832826"/>
                <a:gd name="connsiteY971" fmla="*/ 1577124 h 5120141"/>
                <a:gd name="connsiteX972" fmla="*/ 277894 w 3832826"/>
                <a:gd name="connsiteY972" fmla="*/ 1571112 h 5120141"/>
                <a:gd name="connsiteX973" fmla="*/ 263123 w 3832826"/>
                <a:gd name="connsiteY973" fmla="*/ 1561093 h 5120141"/>
                <a:gd name="connsiteX974" fmla="*/ 246242 w 3832826"/>
                <a:gd name="connsiteY974" fmla="*/ 1545061 h 5120141"/>
                <a:gd name="connsiteX975" fmla="*/ 229361 w 3832826"/>
                <a:gd name="connsiteY975" fmla="*/ 1533037 h 5120141"/>
                <a:gd name="connsiteX976" fmla="*/ 220920 w 3832826"/>
                <a:gd name="connsiteY976" fmla="*/ 1523017 h 5120141"/>
                <a:gd name="connsiteX977" fmla="*/ 212479 w 3832826"/>
                <a:gd name="connsiteY977" fmla="*/ 1515001 h 5120141"/>
                <a:gd name="connsiteX978" fmla="*/ 210369 w 3832826"/>
                <a:gd name="connsiteY978" fmla="*/ 1504982 h 5120141"/>
                <a:gd name="connsiteX979" fmla="*/ 208259 w 3832826"/>
                <a:gd name="connsiteY979" fmla="*/ 1494962 h 5120141"/>
                <a:gd name="connsiteX980" fmla="*/ 210369 w 3832826"/>
                <a:gd name="connsiteY980" fmla="*/ 1486946 h 5120141"/>
                <a:gd name="connsiteX981" fmla="*/ 218810 w 3832826"/>
                <a:gd name="connsiteY981" fmla="*/ 1476926 h 5120141"/>
                <a:gd name="connsiteX982" fmla="*/ 223030 w 3832826"/>
                <a:gd name="connsiteY982" fmla="*/ 1472918 h 5120141"/>
                <a:gd name="connsiteX983" fmla="*/ 223030 w 3832826"/>
                <a:gd name="connsiteY983" fmla="*/ 1464902 h 5120141"/>
                <a:gd name="connsiteX984" fmla="*/ 214590 w 3832826"/>
                <a:gd name="connsiteY984" fmla="*/ 1450874 h 5120141"/>
                <a:gd name="connsiteX985" fmla="*/ 212479 w 3832826"/>
                <a:gd name="connsiteY985" fmla="*/ 1444863 h 5120141"/>
                <a:gd name="connsiteX986" fmla="*/ 214590 w 3832826"/>
                <a:gd name="connsiteY986" fmla="*/ 1442859 h 5120141"/>
                <a:gd name="connsiteX987" fmla="*/ 220920 w 3832826"/>
                <a:gd name="connsiteY987" fmla="*/ 1442859 h 5120141"/>
                <a:gd name="connsiteX988" fmla="*/ 235691 w 3832826"/>
                <a:gd name="connsiteY988" fmla="*/ 1444863 h 5120141"/>
                <a:gd name="connsiteX989" fmla="*/ 242685 w 3832826"/>
                <a:gd name="connsiteY989" fmla="*/ 1444830 h 5120141"/>
                <a:gd name="connsiteX990" fmla="*/ 239592 w 3832826"/>
                <a:gd name="connsiteY990" fmla="*/ 1442715 h 5120141"/>
                <a:gd name="connsiteX991" fmla="*/ 240798 w 3832826"/>
                <a:gd name="connsiteY991" fmla="*/ 1440839 h 5120141"/>
                <a:gd name="connsiteX992" fmla="*/ 237706 w 3832826"/>
                <a:gd name="connsiteY992" fmla="*/ 1440853 h 5120141"/>
                <a:gd name="connsiteX993" fmla="*/ 241926 w 3832826"/>
                <a:gd name="connsiteY993" fmla="*/ 1378746 h 5120141"/>
                <a:gd name="connsiteX994" fmla="*/ 241926 w 3832826"/>
                <a:gd name="connsiteY994" fmla="*/ 1346677 h 5120141"/>
                <a:gd name="connsiteX995" fmla="*/ 237706 w 3832826"/>
                <a:gd name="connsiteY995" fmla="*/ 1316605 h 5120141"/>
                <a:gd name="connsiteX996" fmla="*/ 237706 w 3832826"/>
                <a:gd name="connsiteY996" fmla="*/ 1314609 h 5120141"/>
                <a:gd name="connsiteX997" fmla="*/ 237706 w 3832826"/>
                <a:gd name="connsiteY997" fmla="*/ 1300571 h 5120141"/>
                <a:gd name="connsiteX998" fmla="*/ 237706 w 3832826"/>
                <a:gd name="connsiteY998" fmla="*/ 1290558 h 5120141"/>
                <a:gd name="connsiteX999" fmla="*/ 237706 w 3832826"/>
                <a:gd name="connsiteY999" fmla="*/ 1288562 h 5120141"/>
                <a:gd name="connsiteX1000" fmla="*/ 235558 w 3832826"/>
                <a:gd name="connsiteY1000" fmla="*/ 1286533 h 5120141"/>
                <a:gd name="connsiteX1001" fmla="*/ 231412 w 3832826"/>
                <a:gd name="connsiteY1001" fmla="*/ 1284537 h 5120141"/>
                <a:gd name="connsiteX1002" fmla="*/ 223044 w 3832826"/>
                <a:gd name="connsiteY1002" fmla="*/ 1284537 h 5120141"/>
                <a:gd name="connsiteX1003" fmla="*/ 132485 w 3832826"/>
                <a:gd name="connsiteY1003" fmla="*/ 1284537 h 5120141"/>
                <a:gd name="connsiteX1004" fmla="*/ 132485 w 3832826"/>
                <a:gd name="connsiteY1004" fmla="*/ 1226421 h 5120141"/>
                <a:gd name="connsiteX1005" fmla="*/ 130486 w 3832826"/>
                <a:gd name="connsiteY1005" fmla="*/ 1194353 h 5120141"/>
                <a:gd name="connsiteX1006" fmla="*/ 128264 w 3832826"/>
                <a:gd name="connsiteY1006" fmla="*/ 1184340 h 5120141"/>
                <a:gd name="connsiteX1007" fmla="*/ 126191 w 3832826"/>
                <a:gd name="connsiteY1007" fmla="*/ 1178319 h 5120141"/>
                <a:gd name="connsiteX1008" fmla="*/ 122045 w 3832826"/>
                <a:gd name="connsiteY1008" fmla="*/ 1178319 h 5120141"/>
                <a:gd name="connsiteX1009" fmla="*/ 117750 w 3832826"/>
                <a:gd name="connsiteY1009" fmla="*/ 1176323 h 5120141"/>
                <a:gd name="connsiteX1010" fmla="*/ 117750 w 3832826"/>
                <a:gd name="connsiteY1010" fmla="*/ 1174327 h 5120141"/>
                <a:gd name="connsiteX1011" fmla="*/ 117750 w 3832826"/>
                <a:gd name="connsiteY1011" fmla="*/ 1164314 h 5120141"/>
                <a:gd name="connsiteX1012" fmla="*/ 117750 w 3832826"/>
                <a:gd name="connsiteY1012" fmla="*/ 1158293 h 5120141"/>
                <a:gd name="connsiteX1013" fmla="*/ 115751 w 3832826"/>
                <a:gd name="connsiteY1013" fmla="*/ 1154301 h 5120141"/>
                <a:gd name="connsiteX1014" fmla="*/ 111456 w 3832826"/>
                <a:gd name="connsiteY1014" fmla="*/ 1152272 h 5120141"/>
                <a:gd name="connsiteX1015" fmla="*/ 105162 w 3832826"/>
                <a:gd name="connsiteY1015" fmla="*/ 1148280 h 5120141"/>
                <a:gd name="connsiteX1016" fmla="*/ 100941 w 3832826"/>
                <a:gd name="connsiteY1016" fmla="*/ 1148280 h 5120141"/>
                <a:gd name="connsiteX1017" fmla="*/ 98868 w 3832826"/>
                <a:gd name="connsiteY1017" fmla="*/ 1144255 h 5120141"/>
                <a:gd name="connsiteX1018" fmla="*/ 98868 w 3832826"/>
                <a:gd name="connsiteY1018" fmla="*/ 1134242 h 5120141"/>
                <a:gd name="connsiteX1019" fmla="*/ 98868 w 3832826"/>
                <a:gd name="connsiteY1019" fmla="*/ 1112205 h 5120141"/>
                <a:gd name="connsiteX1020" fmla="*/ 96768 w 3832826"/>
                <a:gd name="connsiteY1020" fmla="*/ 1112205 h 5120141"/>
                <a:gd name="connsiteX1021" fmla="*/ 84146 w 3832826"/>
                <a:gd name="connsiteY1021" fmla="*/ 1076133 h 5120141"/>
                <a:gd name="connsiteX1022" fmla="*/ 82042 w 3832826"/>
                <a:gd name="connsiteY1022" fmla="*/ 1056094 h 5120141"/>
                <a:gd name="connsiteX1023" fmla="*/ 84146 w 3832826"/>
                <a:gd name="connsiteY1023" fmla="*/ 1046074 h 5120141"/>
                <a:gd name="connsiteX1024" fmla="*/ 86250 w 3832826"/>
                <a:gd name="connsiteY1024" fmla="*/ 1036054 h 5120141"/>
                <a:gd name="connsiteX1025" fmla="*/ 96768 w 3832826"/>
                <a:gd name="connsiteY1025" fmla="*/ 1018018 h 5120141"/>
                <a:gd name="connsiteX1026" fmla="*/ 103079 w 3832826"/>
                <a:gd name="connsiteY1026" fmla="*/ 1003990 h 5120141"/>
                <a:gd name="connsiteX1027" fmla="*/ 103079 w 3832826"/>
                <a:gd name="connsiteY1027" fmla="*/ 995974 h 5120141"/>
                <a:gd name="connsiteX1028" fmla="*/ 103079 w 3832826"/>
                <a:gd name="connsiteY1028" fmla="*/ 987959 h 5120141"/>
                <a:gd name="connsiteX1029" fmla="*/ 92561 w 3832826"/>
                <a:gd name="connsiteY1029" fmla="*/ 965915 h 5120141"/>
                <a:gd name="connsiteX1030" fmla="*/ 73628 w 3832826"/>
                <a:gd name="connsiteY1030" fmla="*/ 903792 h 5120141"/>
                <a:gd name="connsiteX1031" fmla="*/ 67317 w 3832826"/>
                <a:gd name="connsiteY1031" fmla="*/ 869724 h 5120141"/>
                <a:gd name="connsiteX1032" fmla="*/ 63110 w 3832826"/>
                <a:gd name="connsiteY1032" fmla="*/ 837661 h 5120141"/>
                <a:gd name="connsiteX1033" fmla="*/ 63110 w 3832826"/>
                <a:gd name="connsiteY1033" fmla="*/ 823633 h 5120141"/>
                <a:gd name="connsiteX1034" fmla="*/ 65213 w 3832826"/>
                <a:gd name="connsiteY1034" fmla="*/ 807601 h 5120141"/>
                <a:gd name="connsiteX1035" fmla="*/ 65213 w 3832826"/>
                <a:gd name="connsiteY1035" fmla="*/ 781549 h 5120141"/>
                <a:gd name="connsiteX1036" fmla="*/ 63110 w 3832826"/>
                <a:gd name="connsiteY1036" fmla="*/ 767522 h 5120141"/>
                <a:gd name="connsiteX1037" fmla="*/ 56799 w 3832826"/>
                <a:gd name="connsiteY1037" fmla="*/ 757502 h 5120141"/>
                <a:gd name="connsiteX1038" fmla="*/ 46281 w 3832826"/>
                <a:gd name="connsiteY1038" fmla="*/ 747482 h 5120141"/>
                <a:gd name="connsiteX1039" fmla="*/ 29452 w 3832826"/>
                <a:gd name="connsiteY1039" fmla="*/ 741470 h 5120141"/>
                <a:gd name="connsiteX1040" fmla="*/ 27348 w 3832826"/>
                <a:gd name="connsiteY1040" fmla="*/ 733454 h 5120141"/>
                <a:gd name="connsiteX1041" fmla="*/ 29452 w 3832826"/>
                <a:gd name="connsiteY1041" fmla="*/ 725438 h 5120141"/>
                <a:gd name="connsiteX1042" fmla="*/ 31555 w 3832826"/>
                <a:gd name="connsiteY1042" fmla="*/ 717422 h 5120141"/>
                <a:gd name="connsiteX1043" fmla="*/ 39970 w 3832826"/>
                <a:gd name="connsiteY1043" fmla="*/ 711410 h 5120141"/>
                <a:gd name="connsiteX1044" fmla="*/ 46281 w 3832826"/>
                <a:gd name="connsiteY1044" fmla="*/ 705398 h 5120141"/>
                <a:gd name="connsiteX1045" fmla="*/ 52880 w 3832826"/>
                <a:gd name="connsiteY1045" fmla="*/ 703827 h 5120141"/>
                <a:gd name="connsiteX1046" fmla="*/ 52638 w 3832826"/>
                <a:gd name="connsiteY1046" fmla="*/ 703357 h 5120141"/>
                <a:gd name="connsiteX1047" fmla="*/ 44132 w 3832826"/>
                <a:gd name="connsiteY1047" fmla="*/ 705433 h 5120141"/>
                <a:gd name="connsiteX1048" fmla="*/ 37845 w 3832826"/>
                <a:gd name="connsiteY1048" fmla="*/ 711439 h 5120141"/>
                <a:gd name="connsiteX1049" fmla="*/ 29462 w 3832826"/>
                <a:gd name="connsiteY1049" fmla="*/ 717445 h 5120141"/>
                <a:gd name="connsiteX1050" fmla="*/ 27367 w 3832826"/>
                <a:gd name="connsiteY1050" fmla="*/ 725453 h 5120141"/>
                <a:gd name="connsiteX1051" fmla="*/ 25271 w 3832826"/>
                <a:gd name="connsiteY1051" fmla="*/ 733461 h 5120141"/>
                <a:gd name="connsiteX1052" fmla="*/ 27367 w 3832826"/>
                <a:gd name="connsiteY1052" fmla="*/ 741469 h 5120141"/>
                <a:gd name="connsiteX1053" fmla="*/ 16888 w 3832826"/>
                <a:gd name="connsiteY1053" fmla="*/ 737465 h 5120141"/>
                <a:gd name="connsiteX1054" fmla="*/ 10478 w 3832826"/>
                <a:gd name="connsiteY1054" fmla="*/ 733461 h 5120141"/>
                <a:gd name="connsiteX1055" fmla="*/ 6287 w 3832826"/>
                <a:gd name="connsiteY1055" fmla="*/ 727455 h 5120141"/>
                <a:gd name="connsiteX1056" fmla="*/ 4191 w 3832826"/>
                <a:gd name="connsiteY1056" fmla="*/ 721449 h 5120141"/>
                <a:gd name="connsiteX1057" fmla="*/ 0 w 3832826"/>
                <a:gd name="connsiteY1057" fmla="*/ 713441 h 5120141"/>
                <a:gd name="connsiteX1058" fmla="*/ 4191 w 3832826"/>
                <a:gd name="connsiteY1058" fmla="*/ 705433 h 5120141"/>
                <a:gd name="connsiteX1059" fmla="*/ 8383 w 3832826"/>
                <a:gd name="connsiteY1059" fmla="*/ 691346 h 5120141"/>
                <a:gd name="connsiteX1060" fmla="*/ 16888 w 3832826"/>
                <a:gd name="connsiteY1060" fmla="*/ 673328 h 5120141"/>
                <a:gd name="connsiteX1061" fmla="*/ 27367 w 3832826"/>
                <a:gd name="connsiteY1061" fmla="*/ 657312 h 5120141"/>
                <a:gd name="connsiteX1062" fmla="*/ 44132 w 3832826"/>
                <a:gd name="connsiteY1062" fmla="*/ 637292 h 5120141"/>
                <a:gd name="connsiteX1063" fmla="*/ 50542 w 3832826"/>
                <a:gd name="connsiteY1063" fmla="*/ 631287 h 5120141"/>
                <a:gd name="connsiteX1064" fmla="*/ 52638 w 3832826"/>
                <a:gd name="connsiteY1064" fmla="*/ 625206 h 5120141"/>
                <a:gd name="connsiteX1065" fmla="*/ 52638 w 3832826"/>
                <a:gd name="connsiteY1065" fmla="*/ 623205 h 5120141"/>
                <a:gd name="connsiteX1066" fmla="*/ 63116 w 3832826"/>
                <a:gd name="connsiteY1066" fmla="*/ 621203 h 5120141"/>
                <a:gd name="connsiteX1067" fmla="*/ 75690 w 3832826"/>
                <a:gd name="connsiteY1067" fmla="*/ 617199 h 5120141"/>
                <a:gd name="connsiteX1068" fmla="*/ 86291 w 3832826"/>
                <a:gd name="connsiteY1068" fmla="*/ 611193 h 5120141"/>
                <a:gd name="connsiteX1069" fmla="*/ 100961 w 3832826"/>
                <a:gd name="connsiteY1069" fmla="*/ 599181 h 5120141"/>
                <a:gd name="connsiteX1070" fmla="*/ 107248 w 3832826"/>
                <a:gd name="connsiteY1070" fmla="*/ 595177 h 5120141"/>
                <a:gd name="connsiteX1071" fmla="*/ 113658 w 3832826"/>
                <a:gd name="connsiteY1071" fmla="*/ 595177 h 5120141"/>
                <a:gd name="connsiteX1072" fmla="*/ 117849 w 3832826"/>
                <a:gd name="connsiteY1072" fmla="*/ 599181 h 5120141"/>
                <a:gd name="connsiteX1073" fmla="*/ 136710 w 3832826"/>
                <a:gd name="connsiteY1073" fmla="*/ 579161 h 5120141"/>
                <a:gd name="connsiteX1074" fmla="*/ 147311 w 3832826"/>
                <a:gd name="connsiteY1074" fmla="*/ 569151 h 5120141"/>
                <a:gd name="connsiteX1075" fmla="*/ 153598 w 3832826"/>
                <a:gd name="connsiteY1075" fmla="*/ 559142 h 5120141"/>
                <a:gd name="connsiteX1076" fmla="*/ 157790 w 3832826"/>
                <a:gd name="connsiteY1076" fmla="*/ 551060 h 5120141"/>
                <a:gd name="connsiteX1077" fmla="*/ 164077 w 3832826"/>
                <a:gd name="connsiteY1077" fmla="*/ 549058 h 5120141"/>
                <a:gd name="connsiteX1078" fmla="*/ 176650 w 3832826"/>
                <a:gd name="connsiteY1078" fmla="*/ 543052 h 5120141"/>
                <a:gd name="connsiteX1079" fmla="*/ 185156 w 3832826"/>
                <a:gd name="connsiteY1079" fmla="*/ 541050 h 5120141"/>
                <a:gd name="connsiteX1080" fmla="*/ 189348 w 3832826"/>
                <a:gd name="connsiteY1080" fmla="*/ 539048 h 5120141"/>
                <a:gd name="connsiteX1081" fmla="*/ 195634 w 3832826"/>
                <a:gd name="connsiteY1081" fmla="*/ 533042 h 5120141"/>
                <a:gd name="connsiteX1082" fmla="*/ 197730 w 3832826"/>
                <a:gd name="connsiteY1082" fmla="*/ 525034 h 5120141"/>
                <a:gd name="connsiteX1083" fmla="*/ 201921 w 3832826"/>
                <a:gd name="connsiteY1083" fmla="*/ 521030 h 5120141"/>
                <a:gd name="connsiteX1084" fmla="*/ 212523 w 3832826"/>
                <a:gd name="connsiteY1084" fmla="*/ 511020 h 5120141"/>
                <a:gd name="connsiteX1085" fmla="*/ 233480 w 3832826"/>
                <a:gd name="connsiteY1085" fmla="*/ 495005 h 5120141"/>
                <a:gd name="connsiteX1086" fmla="*/ 250368 w 3832826"/>
                <a:gd name="connsiteY1086" fmla="*/ 491001 h 5120141"/>
                <a:gd name="connsiteX1087" fmla="*/ 260846 w 3832826"/>
                <a:gd name="connsiteY1087" fmla="*/ 488999 h 5120141"/>
                <a:gd name="connsiteX1088" fmla="*/ 260846 w 3832826"/>
                <a:gd name="connsiteY1088" fmla="*/ 484995 h 5120141"/>
                <a:gd name="connsiteX1089" fmla="*/ 260846 w 3832826"/>
                <a:gd name="connsiteY1089" fmla="*/ 480917 h 5120141"/>
                <a:gd name="connsiteX1090" fmla="*/ 252464 w 3832826"/>
                <a:gd name="connsiteY1090" fmla="*/ 462899 h 5120141"/>
                <a:gd name="connsiteX1091" fmla="*/ 233480 w 3832826"/>
                <a:gd name="connsiteY1091" fmla="*/ 428866 h 5120141"/>
                <a:gd name="connsiteX1092" fmla="*/ 229288 w 3832826"/>
                <a:gd name="connsiteY1092" fmla="*/ 414852 h 5120141"/>
                <a:gd name="connsiteX1093" fmla="*/ 227193 w 3832826"/>
                <a:gd name="connsiteY1093" fmla="*/ 404768 h 5120141"/>
                <a:gd name="connsiteX1094" fmla="*/ 227193 w 3832826"/>
                <a:gd name="connsiteY1094" fmla="*/ 398762 h 5120141"/>
                <a:gd name="connsiteX1095" fmla="*/ 229288 w 3832826"/>
                <a:gd name="connsiteY1095" fmla="*/ 396760 h 5120141"/>
                <a:gd name="connsiteX1096" fmla="*/ 231384 w 3832826"/>
                <a:gd name="connsiteY1096" fmla="*/ 396760 h 5120141"/>
                <a:gd name="connsiteX1097" fmla="*/ 239766 w 3832826"/>
                <a:gd name="connsiteY1097" fmla="*/ 392756 h 5120141"/>
                <a:gd name="connsiteX1098" fmla="*/ 241862 w 3832826"/>
                <a:gd name="connsiteY1098" fmla="*/ 390754 h 5120141"/>
                <a:gd name="connsiteX1099" fmla="*/ 244081 w 3832826"/>
                <a:gd name="connsiteY1099" fmla="*/ 388752 h 5120141"/>
                <a:gd name="connsiteX1100" fmla="*/ 244081 w 3832826"/>
                <a:gd name="connsiteY1100" fmla="*/ 382746 h 5120141"/>
                <a:gd name="connsiteX1101" fmla="*/ 244081 w 3832826"/>
                <a:gd name="connsiteY1101" fmla="*/ 372736 h 5120141"/>
                <a:gd name="connsiteX1102" fmla="*/ 244081 w 3832826"/>
                <a:gd name="connsiteY1102" fmla="*/ 362726 h 5120141"/>
                <a:gd name="connsiteX1103" fmla="*/ 250368 w 3832826"/>
                <a:gd name="connsiteY1103" fmla="*/ 356721 h 5120141"/>
                <a:gd name="connsiteX1104" fmla="*/ 252464 w 3832826"/>
                <a:gd name="connsiteY1104" fmla="*/ 350715 h 5120141"/>
                <a:gd name="connsiteX1105" fmla="*/ 262942 w 3832826"/>
                <a:gd name="connsiteY1105" fmla="*/ 342707 h 5120141"/>
                <a:gd name="connsiteX1106" fmla="*/ 273420 w 3832826"/>
                <a:gd name="connsiteY1106" fmla="*/ 338703 h 5120141"/>
                <a:gd name="connsiteX1107" fmla="*/ 284022 w 3832826"/>
                <a:gd name="connsiteY1107" fmla="*/ 328619 h 5120141"/>
                <a:gd name="connsiteX1108" fmla="*/ 290308 w 3832826"/>
                <a:gd name="connsiteY1108" fmla="*/ 318609 h 5120141"/>
                <a:gd name="connsiteX1109" fmla="*/ 292404 w 3832826"/>
                <a:gd name="connsiteY1109" fmla="*/ 302593 h 5120141"/>
                <a:gd name="connsiteX1110" fmla="*/ 300787 w 3832826"/>
                <a:gd name="connsiteY1110" fmla="*/ 278570 h 5120141"/>
                <a:gd name="connsiteX1111" fmla="*/ 311388 w 3832826"/>
                <a:gd name="connsiteY1111" fmla="*/ 250468 h 5120141"/>
                <a:gd name="connsiteX1112" fmla="*/ 315579 w 3832826"/>
                <a:gd name="connsiteY1112" fmla="*/ 236454 h 5120141"/>
                <a:gd name="connsiteX1113" fmla="*/ 317675 w 3832826"/>
                <a:gd name="connsiteY1113" fmla="*/ 222441 h 5120141"/>
                <a:gd name="connsiteX1114" fmla="*/ 321866 w 3832826"/>
                <a:gd name="connsiteY1114" fmla="*/ 200419 h 5120141"/>
                <a:gd name="connsiteX1115" fmla="*/ 326058 w 3832826"/>
                <a:gd name="connsiteY1115" fmla="*/ 188407 h 5120141"/>
                <a:gd name="connsiteX1116" fmla="*/ 332345 w 3832826"/>
                <a:gd name="connsiteY1116" fmla="*/ 178323 h 5120141"/>
                <a:gd name="connsiteX1117" fmla="*/ 342946 w 3832826"/>
                <a:gd name="connsiteY1117" fmla="*/ 168313 h 5120141"/>
                <a:gd name="connsiteX1118" fmla="*/ 355520 w 3832826"/>
                <a:gd name="connsiteY1118" fmla="*/ 158303 h 5120141"/>
                <a:gd name="connsiteX1119" fmla="*/ 365998 w 3832826"/>
                <a:gd name="connsiteY1119" fmla="*/ 150296 h 5120141"/>
                <a:gd name="connsiteX1120" fmla="*/ 372285 w 3832826"/>
                <a:gd name="connsiteY1120" fmla="*/ 140286 h 5120141"/>
                <a:gd name="connsiteX1121" fmla="*/ 376600 w 3832826"/>
                <a:gd name="connsiteY1121" fmla="*/ 136282 h 5120141"/>
                <a:gd name="connsiteX1122" fmla="*/ 378695 w 3832826"/>
                <a:gd name="connsiteY1122" fmla="*/ 128274 h 5120141"/>
                <a:gd name="connsiteX1123" fmla="*/ 378695 w 3832826"/>
                <a:gd name="connsiteY1123" fmla="*/ 110182 h 5120141"/>
                <a:gd name="connsiteX1124" fmla="*/ 378695 w 3832826"/>
                <a:gd name="connsiteY1124" fmla="*/ 96168 h 5120141"/>
                <a:gd name="connsiteX1125" fmla="*/ 380791 w 3832826"/>
                <a:gd name="connsiteY1125" fmla="*/ 88161 h 5120141"/>
                <a:gd name="connsiteX1126" fmla="*/ 382887 w 3832826"/>
                <a:gd name="connsiteY1126" fmla="*/ 86159 h 5120141"/>
                <a:gd name="connsiteX1127" fmla="*/ 393365 w 3832826"/>
                <a:gd name="connsiteY1127" fmla="*/ 80153 h 5120141"/>
                <a:gd name="connsiteX1128" fmla="*/ 408158 w 3832826"/>
                <a:gd name="connsiteY1128" fmla="*/ 78151 h 5120141"/>
                <a:gd name="connsiteX1129" fmla="*/ 420732 w 3832826"/>
                <a:gd name="connsiteY1129" fmla="*/ 76149 h 5120141"/>
                <a:gd name="connsiteX1130" fmla="*/ 424923 w 3832826"/>
                <a:gd name="connsiteY1130" fmla="*/ 74147 h 5120141"/>
                <a:gd name="connsiteX1131" fmla="*/ 431210 w 3832826"/>
                <a:gd name="connsiteY1131" fmla="*/ 68141 h 5120141"/>
                <a:gd name="connsiteX1132" fmla="*/ 435401 w 3832826"/>
                <a:gd name="connsiteY1132" fmla="*/ 54127 h 5120141"/>
                <a:gd name="connsiteX1133" fmla="*/ 435401 w 3832826"/>
                <a:gd name="connsiteY1133" fmla="*/ 44117 h 5120141"/>
                <a:gd name="connsiteX1134" fmla="*/ 435401 w 3832826"/>
                <a:gd name="connsiteY1134" fmla="*/ 34033 h 5120141"/>
                <a:gd name="connsiteX1135" fmla="*/ 431210 w 3832826"/>
                <a:gd name="connsiteY1135" fmla="*/ 28027 h 5120141"/>
                <a:gd name="connsiteX1136" fmla="*/ 420732 w 3832826"/>
                <a:gd name="connsiteY1136" fmla="*/ 16016 h 5120141"/>
                <a:gd name="connsiteX1137" fmla="*/ 401747 w 3832826"/>
                <a:gd name="connsiteY1137" fmla="*/ 0 h 5120141"/>
                <a:gd name="connsiteX0" fmla="*/ 1390471 w 3832826"/>
                <a:gd name="connsiteY0" fmla="*/ 1285217 h 5120141"/>
                <a:gd name="connsiteX1" fmla="*/ 1392579 w 3832826"/>
                <a:gd name="connsiteY1" fmla="*/ 1291180 h 5120141"/>
                <a:gd name="connsiteX2" fmla="*/ 1392579 w 3832826"/>
                <a:gd name="connsiteY2" fmla="*/ 1296597 h 5120141"/>
                <a:gd name="connsiteX3" fmla="*/ 1392608 w 3832826"/>
                <a:gd name="connsiteY3" fmla="*/ 1296570 h 5120141"/>
                <a:gd name="connsiteX4" fmla="*/ 1392608 w 3832826"/>
                <a:gd name="connsiteY4" fmla="*/ 1290558 h 5120141"/>
                <a:gd name="connsiteX5" fmla="*/ 1390739 w 3832826"/>
                <a:gd name="connsiteY5" fmla="*/ 1285217 h 5120141"/>
                <a:gd name="connsiteX6" fmla="*/ 1390471 w 3832826"/>
                <a:gd name="connsiteY6" fmla="*/ 1285217 h 5120141"/>
                <a:gd name="connsiteX7" fmla="*/ 1138708 w 3832826"/>
                <a:gd name="connsiteY7" fmla="*/ 844805 h 5120141"/>
                <a:gd name="connsiteX8" fmla="*/ 1135965 w 3832826"/>
                <a:gd name="connsiteY8" fmla="*/ 845676 h 5120141"/>
                <a:gd name="connsiteX9" fmla="*/ 1138389 w 3832826"/>
                <a:gd name="connsiteY9" fmla="*/ 850296 h 5120141"/>
                <a:gd name="connsiteX10" fmla="*/ 1142308 w 3832826"/>
                <a:gd name="connsiteY10" fmla="*/ 851593 h 5120141"/>
                <a:gd name="connsiteX11" fmla="*/ 1138708 w 3832826"/>
                <a:gd name="connsiteY11" fmla="*/ 844805 h 5120141"/>
                <a:gd name="connsiteX12" fmla="*/ 1142276 w 3832826"/>
                <a:gd name="connsiteY12" fmla="*/ 825637 h 5120141"/>
                <a:gd name="connsiteX13" fmla="*/ 1144379 w 3832826"/>
                <a:gd name="connsiteY13" fmla="*/ 833653 h 5120141"/>
                <a:gd name="connsiteX14" fmla="*/ 1144379 w 3832826"/>
                <a:gd name="connsiteY14" fmla="*/ 839665 h 5120141"/>
                <a:gd name="connsiteX15" fmla="*/ 1143167 w 3832826"/>
                <a:gd name="connsiteY15" fmla="*/ 841974 h 5120141"/>
                <a:gd name="connsiteX16" fmla="*/ 1144345 w 3832826"/>
                <a:gd name="connsiteY16" fmla="*/ 841587 h 5120141"/>
                <a:gd name="connsiteX17" fmla="*/ 1146453 w 3832826"/>
                <a:gd name="connsiteY17" fmla="*/ 837612 h 5120141"/>
                <a:gd name="connsiteX18" fmla="*/ 1146453 w 3832826"/>
                <a:gd name="connsiteY18" fmla="*/ 831649 h 5120141"/>
                <a:gd name="connsiteX19" fmla="*/ 1144873 w 3832826"/>
                <a:gd name="connsiteY19" fmla="*/ 825637 h 5120141"/>
                <a:gd name="connsiteX20" fmla="*/ 1142276 w 3832826"/>
                <a:gd name="connsiteY20" fmla="*/ 825637 h 5120141"/>
                <a:gd name="connsiteX21" fmla="*/ 401747 w 3832826"/>
                <a:gd name="connsiteY21" fmla="*/ 0 h 5120141"/>
                <a:gd name="connsiteX22" fmla="*/ 769965 w 3832826"/>
                <a:gd name="connsiteY22" fmla="*/ 0 h 5120141"/>
                <a:gd name="connsiteX23" fmla="*/ 1138058 w 3832826"/>
                <a:gd name="connsiteY23" fmla="*/ 0 h 5120141"/>
                <a:gd name="connsiteX24" fmla="*/ 1222254 w 3832826"/>
                <a:gd name="connsiteY24" fmla="*/ 0 h 5120141"/>
                <a:gd name="connsiteX25" fmla="*/ 1226445 w 3832826"/>
                <a:gd name="connsiteY25" fmla="*/ 140286 h 5120141"/>
                <a:gd name="connsiteX26" fmla="*/ 1228541 w 3832826"/>
                <a:gd name="connsiteY26" fmla="*/ 278570 h 5120141"/>
                <a:gd name="connsiteX27" fmla="*/ 1232732 w 3832826"/>
                <a:gd name="connsiteY27" fmla="*/ 414852 h 5120141"/>
                <a:gd name="connsiteX28" fmla="*/ 1228541 w 3832826"/>
                <a:gd name="connsiteY28" fmla="*/ 559142 h 5120141"/>
                <a:gd name="connsiteX29" fmla="*/ 1224350 w 3832826"/>
                <a:gd name="connsiteY29" fmla="*/ 559142 h 5120141"/>
                <a:gd name="connsiteX30" fmla="*/ 1224350 w 3832826"/>
                <a:gd name="connsiteY30" fmla="*/ 591173 h 5120141"/>
                <a:gd name="connsiteX31" fmla="*/ 1222254 w 3832826"/>
                <a:gd name="connsiteY31" fmla="*/ 591173 h 5120141"/>
                <a:gd name="connsiteX32" fmla="*/ 1194887 w 3832826"/>
                <a:gd name="connsiteY32" fmla="*/ 591173 h 5120141"/>
                <a:gd name="connsiteX33" fmla="*/ 1163329 w 3832826"/>
                <a:gd name="connsiteY33" fmla="*/ 591173 h 5120141"/>
                <a:gd name="connsiteX34" fmla="*/ 1108125 w 3832826"/>
                <a:gd name="connsiteY34" fmla="*/ 602727 h 5120141"/>
                <a:gd name="connsiteX35" fmla="*/ 1110721 w 3832826"/>
                <a:gd name="connsiteY35" fmla="*/ 605200 h 5120141"/>
                <a:gd name="connsiteX36" fmla="*/ 1119136 w 3832826"/>
                <a:gd name="connsiteY36" fmla="*/ 613216 h 5120141"/>
                <a:gd name="connsiteX37" fmla="*/ 1121239 w 3832826"/>
                <a:gd name="connsiteY37" fmla="*/ 621231 h 5120141"/>
                <a:gd name="connsiteX38" fmla="*/ 1123343 w 3832826"/>
                <a:gd name="connsiteY38" fmla="*/ 645279 h 5120141"/>
                <a:gd name="connsiteX39" fmla="*/ 1129654 w 3832826"/>
                <a:gd name="connsiteY39" fmla="*/ 657303 h 5120141"/>
                <a:gd name="connsiteX40" fmla="*/ 1140172 w 3832826"/>
                <a:gd name="connsiteY40" fmla="*/ 667323 h 5120141"/>
                <a:gd name="connsiteX41" fmla="*/ 1146483 w 3832826"/>
                <a:gd name="connsiteY41" fmla="*/ 673335 h 5120141"/>
                <a:gd name="connsiteX42" fmla="*/ 1161208 w 3832826"/>
                <a:gd name="connsiteY42" fmla="*/ 677343 h 5120141"/>
                <a:gd name="connsiteX43" fmla="*/ 1184348 w 3832826"/>
                <a:gd name="connsiteY43" fmla="*/ 683355 h 5120141"/>
                <a:gd name="connsiteX44" fmla="*/ 1194866 w 3832826"/>
                <a:gd name="connsiteY44" fmla="*/ 687363 h 5120141"/>
                <a:gd name="connsiteX45" fmla="*/ 1205385 w 3832826"/>
                <a:gd name="connsiteY45" fmla="*/ 693375 h 5120141"/>
                <a:gd name="connsiteX46" fmla="*/ 1209592 w 3832826"/>
                <a:gd name="connsiteY46" fmla="*/ 703394 h 5120141"/>
                <a:gd name="connsiteX47" fmla="*/ 1213799 w 3832826"/>
                <a:gd name="connsiteY47" fmla="*/ 715418 h 5120141"/>
                <a:gd name="connsiteX48" fmla="*/ 1199074 w 3832826"/>
                <a:gd name="connsiteY48" fmla="*/ 715418 h 5120141"/>
                <a:gd name="connsiteX49" fmla="*/ 1196970 w 3832826"/>
                <a:gd name="connsiteY49" fmla="*/ 715418 h 5120141"/>
                <a:gd name="connsiteX50" fmla="*/ 1196970 w 3832826"/>
                <a:gd name="connsiteY50" fmla="*/ 717422 h 5120141"/>
                <a:gd name="connsiteX51" fmla="*/ 1203281 w 3832826"/>
                <a:gd name="connsiteY51" fmla="*/ 725438 h 5120141"/>
                <a:gd name="connsiteX52" fmla="*/ 1205385 w 3832826"/>
                <a:gd name="connsiteY52" fmla="*/ 733454 h 5120141"/>
                <a:gd name="connsiteX53" fmla="*/ 1207488 w 3832826"/>
                <a:gd name="connsiteY53" fmla="*/ 751490 h 5120141"/>
                <a:gd name="connsiteX54" fmla="*/ 1207488 w 3832826"/>
                <a:gd name="connsiteY54" fmla="*/ 763514 h 5120141"/>
                <a:gd name="connsiteX55" fmla="*/ 1199074 w 3832826"/>
                <a:gd name="connsiteY55" fmla="*/ 773533 h 5120141"/>
                <a:gd name="connsiteX56" fmla="*/ 1188556 w 3832826"/>
                <a:gd name="connsiteY56" fmla="*/ 785557 h 5120141"/>
                <a:gd name="connsiteX57" fmla="*/ 1175934 w 3832826"/>
                <a:gd name="connsiteY57" fmla="*/ 793573 h 5120141"/>
                <a:gd name="connsiteX58" fmla="*/ 1161208 w 3832826"/>
                <a:gd name="connsiteY58" fmla="*/ 801589 h 5120141"/>
                <a:gd name="connsiteX59" fmla="*/ 1154897 w 3832826"/>
                <a:gd name="connsiteY59" fmla="*/ 803593 h 5120141"/>
                <a:gd name="connsiteX60" fmla="*/ 1150690 w 3832826"/>
                <a:gd name="connsiteY60" fmla="*/ 811609 h 5120141"/>
                <a:gd name="connsiteX61" fmla="*/ 1150690 w 3832826"/>
                <a:gd name="connsiteY61" fmla="*/ 817621 h 5120141"/>
                <a:gd name="connsiteX62" fmla="*/ 1153844 w 3832826"/>
                <a:gd name="connsiteY62" fmla="*/ 823631 h 5120141"/>
                <a:gd name="connsiteX63" fmla="*/ 1156992 w 3832826"/>
                <a:gd name="connsiteY63" fmla="*/ 823631 h 5120141"/>
                <a:gd name="connsiteX64" fmla="*/ 1165424 w 3832826"/>
                <a:gd name="connsiteY64" fmla="*/ 823631 h 5120141"/>
                <a:gd name="connsiteX65" fmla="*/ 1169639 w 3832826"/>
                <a:gd name="connsiteY65" fmla="*/ 827606 h 5120141"/>
                <a:gd name="connsiteX66" fmla="*/ 1173855 w 3832826"/>
                <a:gd name="connsiteY66" fmla="*/ 833637 h 5120141"/>
                <a:gd name="connsiteX67" fmla="*/ 1173855 w 3832826"/>
                <a:gd name="connsiteY67" fmla="*/ 841587 h 5120141"/>
                <a:gd name="connsiteX68" fmla="*/ 1173855 w 3832826"/>
                <a:gd name="connsiteY68" fmla="*/ 855568 h 5120141"/>
                <a:gd name="connsiteX69" fmla="*/ 1169639 w 3832826"/>
                <a:gd name="connsiteY69" fmla="*/ 871605 h 5120141"/>
                <a:gd name="connsiteX70" fmla="*/ 1184324 w 3832826"/>
                <a:gd name="connsiteY70" fmla="*/ 867562 h 5120141"/>
                <a:gd name="connsiteX71" fmla="*/ 1180108 w 3832826"/>
                <a:gd name="connsiteY71" fmla="*/ 877568 h 5120141"/>
                <a:gd name="connsiteX72" fmla="*/ 1188540 w 3832826"/>
                <a:gd name="connsiteY72" fmla="*/ 877568 h 5120141"/>
                <a:gd name="connsiteX73" fmla="*/ 1194863 w 3832826"/>
                <a:gd name="connsiteY73" fmla="*/ 885587 h 5120141"/>
                <a:gd name="connsiteX74" fmla="*/ 1196971 w 3832826"/>
                <a:gd name="connsiteY74" fmla="*/ 895593 h 5120141"/>
                <a:gd name="connsiteX75" fmla="*/ 1188540 w 3832826"/>
                <a:gd name="connsiteY75" fmla="*/ 895593 h 5120141"/>
                <a:gd name="connsiteX76" fmla="*/ 1190648 w 3832826"/>
                <a:gd name="connsiteY76" fmla="*/ 903543 h 5120141"/>
                <a:gd name="connsiteX77" fmla="*/ 1188540 w 3832826"/>
                <a:gd name="connsiteY77" fmla="*/ 907518 h 5120141"/>
                <a:gd name="connsiteX78" fmla="*/ 1184324 w 3832826"/>
                <a:gd name="connsiteY78" fmla="*/ 913549 h 5120141"/>
                <a:gd name="connsiteX79" fmla="*/ 1175963 w 3832826"/>
                <a:gd name="connsiteY79" fmla="*/ 917524 h 5120141"/>
                <a:gd name="connsiteX80" fmla="*/ 1169639 w 3832826"/>
                <a:gd name="connsiteY80" fmla="*/ 923555 h 5120141"/>
                <a:gd name="connsiteX81" fmla="*/ 1163316 w 3832826"/>
                <a:gd name="connsiteY81" fmla="*/ 933493 h 5120141"/>
                <a:gd name="connsiteX82" fmla="*/ 1163316 w 3832826"/>
                <a:gd name="connsiteY82" fmla="*/ 941512 h 5120141"/>
                <a:gd name="connsiteX83" fmla="*/ 1159100 w 3832826"/>
                <a:gd name="connsiteY83" fmla="*/ 947543 h 5120141"/>
                <a:gd name="connsiteX84" fmla="*/ 1167532 w 3832826"/>
                <a:gd name="connsiteY84" fmla="*/ 947543 h 5120141"/>
                <a:gd name="connsiteX85" fmla="*/ 1165424 w 3832826"/>
                <a:gd name="connsiteY85" fmla="*/ 963511 h 5120141"/>
                <a:gd name="connsiteX86" fmla="*/ 1167532 w 3832826"/>
                <a:gd name="connsiteY86" fmla="*/ 975505 h 5120141"/>
                <a:gd name="connsiteX87" fmla="*/ 1167532 w 3832826"/>
                <a:gd name="connsiteY87" fmla="*/ 991474 h 5120141"/>
                <a:gd name="connsiteX88" fmla="*/ 1167532 w 3832826"/>
                <a:gd name="connsiteY88" fmla="*/ 1007443 h 5120141"/>
                <a:gd name="connsiteX89" fmla="*/ 1169639 w 3832826"/>
                <a:gd name="connsiteY89" fmla="*/ 1011486 h 5120141"/>
                <a:gd name="connsiteX90" fmla="*/ 1173855 w 3832826"/>
                <a:gd name="connsiteY90" fmla="*/ 1015461 h 5120141"/>
                <a:gd name="connsiteX91" fmla="*/ 1169639 w 3832826"/>
                <a:gd name="connsiteY91" fmla="*/ 1021424 h 5120141"/>
                <a:gd name="connsiteX92" fmla="*/ 1167532 w 3832826"/>
                <a:gd name="connsiteY92" fmla="*/ 1021424 h 5120141"/>
                <a:gd name="connsiteX93" fmla="*/ 1163316 w 3832826"/>
                <a:gd name="connsiteY93" fmla="*/ 1021424 h 5120141"/>
                <a:gd name="connsiteX94" fmla="*/ 1159100 w 3832826"/>
                <a:gd name="connsiteY94" fmla="*/ 1027455 h 5120141"/>
                <a:gd name="connsiteX95" fmla="*/ 1163316 w 3832826"/>
                <a:gd name="connsiteY95" fmla="*/ 1033418 h 5120141"/>
                <a:gd name="connsiteX96" fmla="*/ 1167532 w 3832826"/>
                <a:gd name="connsiteY96" fmla="*/ 1037461 h 5120141"/>
                <a:gd name="connsiteX97" fmla="*/ 1169639 w 3832826"/>
                <a:gd name="connsiteY97" fmla="*/ 1047399 h 5120141"/>
                <a:gd name="connsiteX98" fmla="*/ 1173855 w 3832826"/>
                <a:gd name="connsiteY98" fmla="*/ 1059393 h 5120141"/>
                <a:gd name="connsiteX99" fmla="*/ 1186432 w 3832826"/>
                <a:gd name="connsiteY99" fmla="*/ 1057405 h 5120141"/>
                <a:gd name="connsiteX100" fmla="*/ 1184324 w 3832826"/>
                <a:gd name="connsiteY100" fmla="*/ 1065424 h 5120141"/>
                <a:gd name="connsiteX101" fmla="*/ 1194863 w 3832826"/>
                <a:gd name="connsiteY101" fmla="*/ 1063436 h 5120141"/>
                <a:gd name="connsiteX102" fmla="*/ 1201187 w 3832826"/>
                <a:gd name="connsiteY102" fmla="*/ 1065424 h 5120141"/>
                <a:gd name="connsiteX103" fmla="*/ 1205403 w 3832826"/>
                <a:gd name="connsiteY103" fmla="*/ 1073374 h 5120141"/>
                <a:gd name="connsiteX104" fmla="*/ 1205403 w 3832826"/>
                <a:gd name="connsiteY104" fmla="*/ 1083380 h 5120141"/>
                <a:gd name="connsiteX105" fmla="*/ 1209618 w 3832826"/>
                <a:gd name="connsiteY105" fmla="*/ 1083380 h 5120141"/>
                <a:gd name="connsiteX106" fmla="*/ 1209618 w 3832826"/>
                <a:gd name="connsiteY106" fmla="*/ 1095374 h 5120141"/>
                <a:gd name="connsiteX107" fmla="*/ 1220087 w 3832826"/>
                <a:gd name="connsiteY107" fmla="*/ 1097361 h 5120141"/>
                <a:gd name="connsiteX108" fmla="*/ 1226411 w 3832826"/>
                <a:gd name="connsiteY108" fmla="*/ 1103392 h 5120141"/>
                <a:gd name="connsiteX109" fmla="*/ 1232734 w 3832826"/>
                <a:gd name="connsiteY109" fmla="*/ 1115386 h 5120141"/>
                <a:gd name="connsiteX110" fmla="*/ 1241166 w 3832826"/>
                <a:gd name="connsiteY110" fmla="*/ 1113330 h 5120141"/>
                <a:gd name="connsiteX111" fmla="*/ 1247489 w 3832826"/>
                <a:gd name="connsiteY111" fmla="*/ 1119361 h 5120141"/>
                <a:gd name="connsiteX112" fmla="*/ 1249527 w 3832826"/>
                <a:gd name="connsiteY112" fmla="*/ 1127311 h 5120141"/>
                <a:gd name="connsiteX113" fmla="*/ 1262174 w 3832826"/>
                <a:gd name="connsiteY113" fmla="*/ 1137317 h 5120141"/>
                <a:gd name="connsiteX114" fmla="*/ 1274821 w 3832826"/>
                <a:gd name="connsiteY114" fmla="*/ 1147324 h 5120141"/>
                <a:gd name="connsiteX115" fmla="*/ 1291613 w 3832826"/>
                <a:gd name="connsiteY115" fmla="*/ 1159317 h 5120141"/>
                <a:gd name="connsiteX116" fmla="*/ 1293721 w 3832826"/>
                <a:gd name="connsiteY116" fmla="*/ 1165280 h 5120141"/>
                <a:gd name="connsiteX117" fmla="*/ 1295829 w 3832826"/>
                <a:gd name="connsiteY117" fmla="*/ 1173299 h 5120141"/>
                <a:gd name="connsiteX118" fmla="*/ 1306368 w 3832826"/>
                <a:gd name="connsiteY118" fmla="*/ 1173299 h 5120141"/>
                <a:gd name="connsiteX119" fmla="*/ 1312692 w 3832826"/>
                <a:gd name="connsiteY119" fmla="*/ 1177274 h 5120141"/>
                <a:gd name="connsiteX120" fmla="*/ 1314800 w 3832826"/>
                <a:gd name="connsiteY120" fmla="*/ 1185292 h 5120141"/>
                <a:gd name="connsiteX121" fmla="*/ 1312692 w 3832826"/>
                <a:gd name="connsiteY121" fmla="*/ 1195299 h 5120141"/>
                <a:gd name="connsiteX122" fmla="*/ 1321053 w 3832826"/>
                <a:gd name="connsiteY122" fmla="*/ 1193311 h 5120141"/>
                <a:gd name="connsiteX123" fmla="*/ 1323161 w 3832826"/>
                <a:gd name="connsiteY123" fmla="*/ 1195299 h 5120141"/>
                <a:gd name="connsiteX124" fmla="*/ 1325269 w 3832826"/>
                <a:gd name="connsiteY124" fmla="*/ 1199274 h 5120141"/>
                <a:gd name="connsiteX125" fmla="*/ 1325269 w 3832826"/>
                <a:gd name="connsiteY125" fmla="*/ 1205305 h 5120141"/>
                <a:gd name="connsiteX126" fmla="*/ 1337916 w 3832826"/>
                <a:gd name="connsiteY126" fmla="*/ 1205305 h 5120141"/>
                <a:gd name="connsiteX127" fmla="*/ 1337916 w 3832826"/>
                <a:gd name="connsiteY127" fmla="*/ 1217230 h 5120141"/>
                <a:gd name="connsiteX128" fmla="*/ 1344239 w 3832826"/>
                <a:gd name="connsiteY128" fmla="*/ 1215242 h 5120141"/>
                <a:gd name="connsiteX129" fmla="*/ 1344239 w 3832826"/>
                <a:gd name="connsiteY129" fmla="*/ 1219286 h 5120141"/>
                <a:gd name="connsiteX130" fmla="*/ 1346347 w 3832826"/>
                <a:gd name="connsiteY130" fmla="*/ 1219286 h 5120141"/>
                <a:gd name="connsiteX131" fmla="*/ 1352671 w 3832826"/>
                <a:gd name="connsiteY131" fmla="*/ 1223261 h 5120141"/>
                <a:gd name="connsiteX132" fmla="*/ 1352671 w 3832826"/>
                <a:gd name="connsiteY132" fmla="*/ 1227236 h 5120141"/>
                <a:gd name="connsiteX133" fmla="*/ 1358924 w 3832826"/>
                <a:gd name="connsiteY133" fmla="*/ 1227236 h 5120141"/>
                <a:gd name="connsiteX134" fmla="*/ 1365247 w 3832826"/>
                <a:gd name="connsiteY134" fmla="*/ 1235255 h 5120141"/>
                <a:gd name="connsiteX135" fmla="*/ 1365247 w 3832826"/>
                <a:gd name="connsiteY135" fmla="*/ 1241217 h 5120141"/>
                <a:gd name="connsiteX136" fmla="*/ 1365247 w 3832826"/>
                <a:gd name="connsiteY136" fmla="*/ 1251223 h 5120141"/>
                <a:gd name="connsiteX137" fmla="*/ 1369463 w 3832826"/>
                <a:gd name="connsiteY137" fmla="*/ 1249236 h 5120141"/>
                <a:gd name="connsiteX138" fmla="*/ 1375787 w 3832826"/>
                <a:gd name="connsiteY138" fmla="*/ 1251223 h 5120141"/>
                <a:gd name="connsiteX139" fmla="*/ 1377895 w 3832826"/>
                <a:gd name="connsiteY139" fmla="*/ 1255199 h 5120141"/>
                <a:gd name="connsiteX140" fmla="*/ 1377895 w 3832826"/>
                <a:gd name="connsiteY140" fmla="*/ 1259242 h 5120141"/>
                <a:gd name="connsiteX141" fmla="*/ 1396795 w 3832826"/>
                <a:gd name="connsiteY141" fmla="*/ 1257255 h 5120141"/>
                <a:gd name="connsiteX142" fmla="*/ 1398903 w 3832826"/>
                <a:gd name="connsiteY142" fmla="*/ 1275211 h 5120141"/>
                <a:gd name="connsiteX143" fmla="*/ 1407333 w 3832826"/>
                <a:gd name="connsiteY143" fmla="*/ 1271236 h 5120141"/>
                <a:gd name="connsiteX144" fmla="*/ 1407333 w 3832826"/>
                <a:gd name="connsiteY144" fmla="*/ 1270518 h 5120141"/>
                <a:gd name="connsiteX145" fmla="*/ 1453613 w 3832826"/>
                <a:gd name="connsiteY145" fmla="*/ 1244467 h 5120141"/>
                <a:gd name="connsiteX146" fmla="*/ 1459924 w 3832826"/>
                <a:gd name="connsiteY146" fmla="*/ 1274526 h 5120141"/>
                <a:gd name="connsiteX147" fmla="*/ 1459924 w 3832826"/>
                <a:gd name="connsiteY147" fmla="*/ 1290558 h 5120141"/>
                <a:gd name="connsiteX148" fmla="*/ 1455717 w 3832826"/>
                <a:gd name="connsiteY148" fmla="*/ 1304586 h 5120141"/>
                <a:gd name="connsiteX149" fmla="*/ 1453613 w 3832826"/>
                <a:gd name="connsiteY149" fmla="*/ 1308594 h 5120141"/>
                <a:gd name="connsiteX150" fmla="*/ 1449406 w 3832826"/>
                <a:gd name="connsiteY150" fmla="*/ 1310598 h 5120141"/>
                <a:gd name="connsiteX151" fmla="*/ 1440991 w 3832826"/>
                <a:gd name="connsiteY151" fmla="*/ 1316610 h 5120141"/>
                <a:gd name="connsiteX152" fmla="*/ 1434680 w 3832826"/>
                <a:gd name="connsiteY152" fmla="*/ 1318614 h 5120141"/>
                <a:gd name="connsiteX153" fmla="*/ 1432577 w 3832826"/>
                <a:gd name="connsiteY153" fmla="*/ 1320618 h 5120141"/>
                <a:gd name="connsiteX154" fmla="*/ 1430473 w 3832826"/>
                <a:gd name="connsiteY154" fmla="*/ 1326630 h 5120141"/>
                <a:gd name="connsiteX155" fmla="*/ 1430473 w 3832826"/>
                <a:gd name="connsiteY155" fmla="*/ 1334645 h 5120141"/>
                <a:gd name="connsiteX156" fmla="*/ 1434680 w 3832826"/>
                <a:gd name="connsiteY156" fmla="*/ 1338653 h 5120141"/>
                <a:gd name="connsiteX157" fmla="*/ 1440991 w 3832826"/>
                <a:gd name="connsiteY157" fmla="*/ 1350677 h 5120141"/>
                <a:gd name="connsiteX158" fmla="*/ 1443095 w 3832826"/>
                <a:gd name="connsiteY158" fmla="*/ 1366709 h 5120141"/>
                <a:gd name="connsiteX159" fmla="*/ 1443095 w 3832826"/>
                <a:gd name="connsiteY159" fmla="*/ 1380737 h 5120141"/>
                <a:gd name="connsiteX160" fmla="*/ 1445199 w 3832826"/>
                <a:gd name="connsiteY160" fmla="*/ 1436848 h 5120141"/>
                <a:gd name="connsiteX161" fmla="*/ 1422059 w 3832826"/>
                <a:gd name="connsiteY161" fmla="*/ 1436848 h 5120141"/>
                <a:gd name="connsiteX162" fmla="*/ 1403126 w 3832826"/>
                <a:gd name="connsiteY162" fmla="*/ 1438852 h 5120141"/>
                <a:gd name="connsiteX163" fmla="*/ 1392608 w 3832826"/>
                <a:gd name="connsiteY163" fmla="*/ 1440856 h 5120141"/>
                <a:gd name="connsiteX164" fmla="*/ 1382089 w 3832826"/>
                <a:gd name="connsiteY164" fmla="*/ 1444864 h 5120141"/>
                <a:gd name="connsiteX165" fmla="*/ 1375779 w 3832826"/>
                <a:gd name="connsiteY165" fmla="*/ 1448872 h 5120141"/>
                <a:gd name="connsiteX166" fmla="*/ 1367364 w 3832826"/>
                <a:gd name="connsiteY166" fmla="*/ 1456888 h 5120141"/>
                <a:gd name="connsiteX167" fmla="*/ 1358949 w 3832826"/>
                <a:gd name="connsiteY167" fmla="*/ 1462900 h 5120141"/>
                <a:gd name="connsiteX168" fmla="*/ 1354742 w 3832826"/>
                <a:gd name="connsiteY168" fmla="*/ 1472920 h 5120141"/>
                <a:gd name="connsiteX169" fmla="*/ 1348431 w 3832826"/>
                <a:gd name="connsiteY169" fmla="*/ 1480935 h 5120141"/>
                <a:gd name="connsiteX170" fmla="*/ 1344224 w 3832826"/>
                <a:gd name="connsiteY170" fmla="*/ 1482939 h 5120141"/>
                <a:gd name="connsiteX171" fmla="*/ 1342120 w 3832826"/>
                <a:gd name="connsiteY171" fmla="*/ 1482939 h 5120141"/>
                <a:gd name="connsiteX172" fmla="*/ 1333706 w 3832826"/>
                <a:gd name="connsiteY172" fmla="*/ 1480935 h 5120141"/>
                <a:gd name="connsiteX173" fmla="*/ 1327395 w 3832826"/>
                <a:gd name="connsiteY173" fmla="*/ 1482939 h 5120141"/>
                <a:gd name="connsiteX174" fmla="*/ 1325291 w 3832826"/>
                <a:gd name="connsiteY174" fmla="*/ 1488951 h 5120141"/>
                <a:gd name="connsiteX175" fmla="*/ 1323188 w 3832826"/>
                <a:gd name="connsiteY175" fmla="*/ 1492959 h 5120141"/>
                <a:gd name="connsiteX176" fmla="*/ 1321084 w 3832826"/>
                <a:gd name="connsiteY176" fmla="*/ 1506987 h 5120141"/>
                <a:gd name="connsiteX177" fmla="*/ 1316877 w 3832826"/>
                <a:gd name="connsiteY177" fmla="*/ 1512999 h 5120141"/>
                <a:gd name="connsiteX178" fmla="*/ 1310566 w 3832826"/>
                <a:gd name="connsiteY178" fmla="*/ 1521015 h 5120141"/>
                <a:gd name="connsiteX179" fmla="*/ 1304255 w 3832826"/>
                <a:gd name="connsiteY179" fmla="*/ 1523019 h 5120141"/>
                <a:gd name="connsiteX180" fmla="*/ 1293737 w 3832826"/>
                <a:gd name="connsiteY180" fmla="*/ 1529031 h 5120141"/>
                <a:gd name="connsiteX181" fmla="*/ 1281115 w 3832826"/>
                <a:gd name="connsiteY181" fmla="*/ 1529031 h 5120141"/>
                <a:gd name="connsiteX182" fmla="*/ 1279011 w 3832826"/>
                <a:gd name="connsiteY182" fmla="*/ 1531035 h 5120141"/>
                <a:gd name="connsiteX183" fmla="*/ 1274804 w 3832826"/>
                <a:gd name="connsiteY183" fmla="*/ 1537046 h 5120141"/>
                <a:gd name="connsiteX184" fmla="*/ 1272700 w 3832826"/>
                <a:gd name="connsiteY184" fmla="*/ 1547066 h 5120141"/>
                <a:gd name="connsiteX185" fmla="*/ 1270597 w 3832826"/>
                <a:gd name="connsiteY185" fmla="*/ 1559090 h 5120141"/>
                <a:gd name="connsiteX186" fmla="*/ 1264286 w 3832826"/>
                <a:gd name="connsiteY186" fmla="*/ 1569110 h 5120141"/>
                <a:gd name="connsiteX187" fmla="*/ 1262182 w 3832826"/>
                <a:gd name="connsiteY187" fmla="*/ 1569110 h 5120141"/>
                <a:gd name="connsiteX188" fmla="*/ 1262182 w 3832826"/>
                <a:gd name="connsiteY188" fmla="*/ 1573118 h 5120141"/>
                <a:gd name="connsiteX189" fmla="*/ 1260078 w 3832826"/>
                <a:gd name="connsiteY189" fmla="*/ 1579130 h 5120141"/>
                <a:gd name="connsiteX190" fmla="*/ 1260078 w 3832826"/>
                <a:gd name="connsiteY190" fmla="*/ 1599170 h 5120141"/>
                <a:gd name="connsiteX191" fmla="*/ 1260078 w 3832826"/>
                <a:gd name="connsiteY191" fmla="*/ 1633237 h 5120141"/>
                <a:gd name="connsiteX192" fmla="*/ 1260078 w 3832826"/>
                <a:gd name="connsiteY192" fmla="*/ 1679328 h 5120141"/>
                <a:gd name="connsiteX193" fmla="*/ 1258254 w 3832826"/>
                <a:gd name="connsiteY193" fmla="*/ 1717574 h 5120141"/>
                <a:gd name="connsiteX194" fmla="*/ 1279014 w 3832826"/>
                <a:gd name="connsiteY194" fmla="*/ 1732471 h 5120141"/>
                <a:gd name="connsiteX195" fmla="*/ 1302154 w 3832826"/>
                <a:gd name="connsiteY195" fmla="*/ 1736462 h 5120141"/>
                <a:gd name="connsiteX196" fmla="*/ 1312672 w 3832826"/>
                <a:gd name="connsiteY196" fmla="*/ 1736462 h 5120141"/>
                <a:gd name="connsiteX197" fmla="*/ 1323191 w 3832826"/>
                <a:gd name="connsiteY197" fmla="*/ 1734466 h 5120141"/>
                <a:gd name="connsiteX198" fmla="*/ 1337916 w 3832826"/>
                <a:gd name="connsiteY198" fmla="*/ 1732471 h 5120141"/>
                <a:gd name="connsiteX199" fmla="*/ 1350538 w 3832826"/>
                <a:gd name="connsiteY199" fmla="*/ 1726484 h 5120141"/>
                <a:gd name="connsiteX200" fmla="*/ 1354745 w 3832826"/>
                <a:gd name="connsiteY200" fmla="*/ 1726484 h 5120141"/>
                <a:gd name="connsiteX201" fmla="*/ 1365263 w 3832826"/>
                <a:gd name="connsiteY201" fmla="*/ 1730475 h 5120141"/>
                <a:gd name="connsiteX202" fmla="*/ 1394714 w 3832826"/>
                <a:gd name="connsiteY202" fmla="*/ 1742449 h 5120141"/>
                <a:gd name="connsiteX203" fmla="*/ 1407336 w 3832826"/>
                <a:gd name="connsiteY203" fmla="*/ 1744445 h 5120141"/>
                <a:gd name="connsiteX204" fmla="*/ 1419958 w 3832826"/>
                <a:gd name="connsiteY204" fmla="*/ 1746440 h 5120141"/>
                <a:gd name="connsiteX205" fmla="*/ 1426269 w 3832826"/>
                <a:gd name="connsiteY205" fmla="*/ 1744445 h 5120141"/>
                <a:gd name="connsiteX206" fmla="*/ 1430476 w 3832826"/>
                <a:gd name="connsiteY206" fmla="*/ 1742449 h 5120141"/>
                <a:gd name="connsiteX207" fmla="*/ 1430476 w 3832826"/>
                <a:gd name="connsiteY207" fmla="*/ 1740453 h 5120141"/>
                <a:gd name="connsiteX208" fmla="*/ 1434684 w 3832826"/>
                <a:gd name="connsiteY208" fmla="*/ 1734466 h 5120141"/>
                <a:gd name="connsiteX209" fmla="*/ 1434684 w 3832826"/>
                <a:gd name="connsiteY209" fmla="*/ 1726484 h 5120141"/>
                <a:gd name="connsiteX210" fmla="*/ 1436787 w 3832826"/>
                <a:gd name="connsiteY210" fmla="*/ 1722493 h 5120141"/>
                <a:gd name="connsiteX211" fmla="*/ 1445202 w 3832826"/>
                <a:gd name="connsiteY211" fmla="*/ 1712514 h 5120141"/>
                <a:gd name="connsiteX212" fmla="*/ 1455720 w 3832826"/>
                <a:gd name="connsiteY212" fmla="*/ 1704532 h 5120141"/>
                <a:gd name="connsiteX213" fmla="*/ 1462031 w 3832826"/>
                <a:gd name="connsiteY213" fmla="*/ 1694553 h 5120141"/>
                <a:gd name="connsiteX214" fmla="*/ 1462031 w 3832826"/>
                <a:gd name="connsiteY214" fmla="*/ 1684575 h 5120141"/>
                <a:gd name="connsiteX215" fmla="*/ 1466238 w 3832826"/>
                <a:gd name="connsiteY215" fmla="*/ 1676592 h 5120141"/>
                <a:gd name="connsiteX216" fmla="*/ 1472549 w 3832826"/>
                <a:gd name="connsiteY216" fmla="*/ 1666614 h 5120141"/>
                <a:gd name="connsiteX217" fmla="*/ 1483067 w 3832826"/>
                <a:gd name="connsiteY217" fmla="*/ 1652645 h 5120141"/>
                <a:gd name="connsiteX218" fmla="*/ 1497793 w 3832826"/>
                <a:gd name="connsiteY218" fmla="*/ 1638675 h 5120141"/>
                <a:gd name="connsiteX219" fmla="*/ 1510415 w 3832826"/>
                <a:gd name="connsiteY219" fmla="*/ 1624705 h 5120141"/>
                <a:gd name="connsiteX220" fmla="*/ 1525140 w 3832826"/>
                <a:gd name="connsiteY220" fmla="*/ 1612731 h 5120141"/>
                <a:gd name="connsiteX221" fmla="*/ 1577731 w 3832826"/>
                <a:gd name="connsiteY221" fmla="*/ 1580801 h 5120141"/>
                <a:gd name="connsiteX222" fmla="*/ 1605078 w 3832826"/>
                <a:gd name="connsiteY222" fmla="*/ 1560845 h 5120141"/>
                <a:gd name="connsiteX223" fmla="*/ 1628218 w 3832826"/>
                <a:gd name="connsiteY223" fmla="*/ 1540888 h 5120141"/>
                <a:gd name="connsiteX224" fmla="*/ 1645048 w 3832826"/>
                <a:gd name="connsiteY224" fmla="*/ 1524923 h 5120141"/>
                <a:gd name="connsiteX225" fmla="*/ 1661877 w 3832826"/>
                <a:gd name="connsiteY225" fmla="*/ 1514944 h 5120141"/>
                <a:gd name="connsiteX226" fmla="*/ 1678706 w 3832826"/>
                <a:gd name="connsiteY226" fmla="*/ 1508957 h 5120141"/>
                <a:gd name="connsiteX227" fmla="*/ 1695535 w 3832826"/>
                <a:gd name="connsiteY227" fmla="*/ 1502971 h 5120141"/>
                <a:gd name="connsiteX228" fmla="*/ 1714468 w 3832826"/>
                <a:gd name="connsiteY228" fmla="*/ 1500975 h 5120141"/>
                <a:gd name="connsiteX229" fmla="*/ 1735504 w 3832826"/>
                <a:gd name="connsiteY229" fmla="*/ 1500975 h 5120141"/>
                <a:gd name="connsiteX230" fmla="*/ 1777577 w 3832826"/>
                <a:gd name="connsiteY230" fmla="*/ 1500975 h 5120141"/>
                <a:gd name="connsiteX231" fmla="*/ 2158335 w 3832826"/>
                <a:gd name="connsiteY231" fmla="*/ 1500975 h 5120141"/>
                <a:gd name="connsiteX232" fmla="*/ 2158335 w 3832826"/>
                <a:gd name="connsiteY232" fmla="*/ 1514944 h 5120141"/>
                <a:gd name="connsiteX233" fmla="*/ 2158335 w 3832826"/>
                <a:gd name="connsiteY233" fmla="*/ 1572818 h 5120141"/>
                <a:gd name="connsiteX234" fmla="*/ 2160439 w 3832826"/>
                <a:gd name="connsiteY234" fmla="*/ 1594771 h 5120141"/>
                <a:gd name="connsiteX235" fmla="*/ 2158335 w 3832826"/>
                <a:gd name="connsiteY235" fmla="*/ 1624705 h 5120141"/>
                <a:gd name="connsiteX236" fmla="*/ 2158335 w 3832826"/>
                <a:gd name="connsiteY236" fmla="*/ 1634684 h 5120141"/>
                <a:gd name="connsiteX237" fmla="*/ 2158335 w 3832826"/>
                <a:gd name="connsiteY237" fmla="*/ 1648653 h 5120141"/>
                <a:gd name="connsiteX238" fmla="*/ 2158335 w 3832826"/>
                <a:gd name="connsiteY238" fmla="*/ 1666614 h 5120141"/>
                <a:gd name="connsiteX239" fmla="*/ 2158335 w 3832826"/>
                <a:gd name="connsiteY239" fmla="*/ 1700540 h 5120141"/>
                <a:gd name="connsiteX240" fmla="*/ 2149671 w 3832826"/>
                <a:gd name="connsiteY240" fmla="*/ 1700540 h 5120141"/>
                <a:gd name="connsiteX241" fmla="*/ 2149671 w 3832826"/>
                <a:gd name="connsiteY241" fmla="*/ 1701367 h 5120141"/>
                <a:gd name="connsiteX242" fmla="*/ 2158305 w 3832826"/>
                <a:gd name="connsiteY242" fmla="*/ 1701367 h 5120141"/>
                <a:gd name="connsiteX243" fmla="*/ 2158305 w 3832826"/>
                <a:gd name="connsiteY243" fmla="*/ 1723407 h 5120141"/>
                <a:gd name="connsiteX244" fmla="*/ 2158305 w 3832826"/>
                <a:gd name="connsiteY244" fmla="*/ 1755458 h 5120141"/>
                <a:gd name="connsiteX245" fmla="*/ 2234031 w 3832826"/>
                <a:gd name="connsiteY245" fmla="*/ 1815609 h 5120141"/>
                <a:gd name="connsiteX246" fmla="*/ 2231975 w 3832826"/>
                <a:gd name="connsiteY246" fmla="*/ 1817584 h 5120141"/>
                <a:gd name="connsiteX247" fmla="*/ 2231975 w 3832826"/>
                <a:gd name="connsiteY247" fmla="*/ 1823599 h 5120141"/>
                <a:gd name="connsiteX248" fmla="*/ 2234031 w 3832826"/>
                <a:gd name="connsiteY248" fmla="*/ 1833610 h 5120141"/>
                <a:gd name="connsiteX249" fmla="*/ 2240379 w 3832826"/>
                <a:gd name="connsiteY249" fmla="*/ 1843665 h 5120141"/>
                <a:gd name="connsiteX250" fmla="*/ 2244581 w 3832826"/>
                <a:gd name="connsiteY250" fmla="*/ 1853675 h 5120141"/>
                <a:gd name="connsiteX251" fmla="*/ 2244581 w 3832826"/>
                <a:gd name="connsiteY251" fmla="*/ 1857670 h 5120141"/>
                <a:gd name="connsiteX252" fmla="*/ 2242435 w 3832826"/>
                <a:gd name="connsiteY252" fmla="*/ 1863685 h 5120141"/>
                <a:gd name="connsiteX253" fmla="*/ 2238233 w 3832826"/>
                <a:gd name="connsiteY253" fmla="*/ 1873695 h 5120141"/>
                <a:gd name="connsiteX254" fmla="*/ 2229829 w 3832826"/>
                <a:gd name="connsiteY254" fmla="*/ 1883750 h 5120141"/>
                <a:gd name="connsiteX255" fmla="*/ 2223571 w 3832826"/>
                <a:gd name="connsiteY255" fmla="*/ 1889721 h 5120141"/>
                <a:gd name="connsiteX256" fmla="*/ 2213021 w 3832826"/>
                <a:gd name="connsiteY256" fmla="*/ 1905791 h 5120141"/>
                <a:gd name="connsiteX257" fmla="*/ 2200415 w 3832826"/>
                <a:gd name="connsiteY257" fmla="*/ 1919796 h 5120141"/>
                <a:gd name="connsiteX258" fmla="*/ 2170912 w 3832826"/>
                <a:gd name="connsiteY258" fmla="*/ 1945832 h 5120141"/>
                <a:gd name="connsiteX259" fmla="*/ 2139441 w 3832826"/>
                <a:gd name="connsiteY259" fmla="*/ 1969893 h 5120141"/>
                <a:gd name="connsiteX260" fmla="*/ 2107881 w 3832826"/>
                <a:gd name="connsiteY260" fmla="*/ 1995973 h 5120141"/>
                <a:gd name="connsiteX261" fmla="*/ 2095186 w 3832826"/>
                <a:gd name="connsiteY261" fmla="*/ 1997948 h 5120141"/>
                <a:gd name="connsiteX262" fmla="*/ 2082580 w 3832826"/>
                <a:gd name="connsiteY262" fmla="*/ 2003963 h 5120141"/>
                <a:gd name="connsiteX263" fmla="*/ 2074176 w 3832826"/>
                <a:gd name="connsiteY263" fmla="*/ 2009979 h 5120141"/>
                <a:gd name="connsiteX264" fmla="*/ 2069973 w 3832826"/>
                <a:gd name="connsiteY264" fmla="*/ 2018014 h 5120141"/>
                <a:gd name="connsiteX265" fmla="*/ 2055222 w 3832826"/>
                <a:gd name="connsiteY265" fmla="*/ 2034039 h 5120141"/>
                <a:gd name="connsiteX266" fmla="*/ 2048963 w 3832826"/>
                <a:gd name="connsiteY266" fmla="*/ 2044049 h 5120141"/>
                <a:gd name="connsiteX267" fmla="*/ 2038414 w 3832826"/>
                <a:gd name="connsiteY267" fmla="*/ 2050064 h 5120141"/>
                <a:gd name="connsiteX268" fmla="*/ 2017403 w 3832826"/>
                <a:gd name="connsiteY268" fmla="*/ 2066090 h 5120141"/>
                <a:gd name="connsiteX269" fmla="*/ 1998450 w 3832826"/>
                <a:gd name="connsiteY269" fmla="*/ 2080140 h 5120141"/>
                <a:gd name="connsiteX270" fmla="*/ 1962688 w 3832826"/>
                <a:gd name="connsiteY270" fmla="*/ 2110171 h 5120141"/>
                <a:gd name="connsiteX271" fmla="*/ 1952138 w 3832826"/>
                <a:gd name="connsiteY271" fmla="*/ 2116186 h 5120141"/>
                <a:gd name="connsiteX272" fmla="*/ 1937476 w 3832826"/>
                <a:gd name="connsiteY272" fmla="*/ 2120181 h 5120141"/>
                <a:gd name="connsiteX273" fmla="*/ 1914320 w 3832826"/>
                <a:gd name="connsiteY273" fmla="*/ 2122201 h 5120141"/>
                <a:gd name="connsiteX274" fmla="*/ 1891164 w 3832826"/>
                <a:gd name="connsiteY274" fmla="*/ 2122201 h 5120141"/>
                <a:gd name="connsiteX275" fmla="*/ 1880614 w 3832826"/>
                <a:gd name="connsiteY275" fmla="*/ 2126196 h 5120141"/>
                <a:gd name="connsiteX276" fmla="*/ 1870154 w 3832826"/>
                <a:gd name="connsiteY276" fmla="*/ 2130236 h 5120141"/>
                <a:gd name="connsiteX277" fmla="*/ 1859604 w 3832826"/>
                <a:gd name="connsiteY277" fmla="*/ 2136251 h 5120141"/>
                <a:gd name="connsiteX278" fmla="*/ 1842796 w 3832826"/>
                <a:gd name="connsiteY278" fmla="*/ 2138226 h 5120141"/>
                <a:gd name="connsiteX279" fmla="*/ 1817584 w 3832826"/>
                <a:gd name="connsiteY279" fmla="*/ 2142221 h 5120141"/>
                <a:gd name="connsiteX280" fmla="*/ 1786024 w 3832826"/>
                <a:gd name="connsiteY280" fmla="*/ 2146261 h 5120141"/>
                <a:gd name="connsiteX281" fmla="*/ 1756520 w 3832826"/>
                <a:gd name="connsiteY281" fmla="*/ 2150257 h 5120141"/>
                <a:gd name="connsiteX282" fmla="*/ 1743914 w 3832826"/>
                <a:gd name="connsiteY282" fmla="*/ 2150257 h 5120141"/>
                <a:gd name="connsiteX283" fmla="*/ 1733364 w 3832826"/>
                <a:gd name="connsiteY283" fmla="*/ 2150257 h 5120141"/>
                <a:gd name="connsiteX284" fmla="*/ 1706006 w 3832826"/>
                <a:gd name="connsiteY284" fmla="*/ 2142221 h 5120141"/>
                <a:gd name="connsiteX285" fmla="*/ 1680794 w 3832826"/>
                <a:gd name="connsiteY285" fmla="*/ 2136251 h 5120141"/>
                <a:gd name="connsiteX286" fmla="*/ 1655582 w 3832826"/>
                <a:gd name="connsiteY286" fmla="*/ 2126196 h 5120141"/>
                <a:gd name="connsiteX287" fmla="*/ 1630281 w 3832826"/>
                <a:gd name="connsiteY287" fmla="*/ 2116186 h 5120141"/>
                <a:gd name="connsiteX288" fmla="*/ 1607214 w 3832826"/>
                <a:gd name="connsiteY288" fmla="*/ 2110171 h 5120141"/>
                <a:gd name="connsiteX289" fmla="*/ 1594519 w 3832826"/>
                <a:gd name="connsiteY289" fmla="*/ 2110171 h 5120141"/>
                <a:gd name="connsiteX290" fmla="*/ 1584058 w 3832826"/>
                <a:gd name="connsiteY290" fmla="*/ 2112191 h 5120141"/>
                <a:gd name="connsiteX291" fmla="*/ 1573508 w 3832826"/>
                <a:gd name="connsiteY291" fmla="*/ 2116186 h 5120141"/>
                <a:gd name="connsiteX292" fmla="*/ 1560902 w 3832826"/>
                <a:gd name="connsiteY292" fmla="*/ 2120181 h 5120141"/>
                <a:gd name="connsiteX293" fmla="*/ 1544094 w 3832826"/>
                <a:gd name="connsiteY293" fmla="*/ 2128216 h 5120141"/>
                <a:gd name="connsiteX294" fmla="*/ 1529342 w 3832826"/>
                <a:gd name="connsiteY294" fmla="*/ 2136251 h 5120141"/>
                <a:gd name="connsiteX295" fmla="*/ 1499928 w 3832826"/>
                <a:gd name="connsiteY295" fmla="*/ 2140246 h 5120141"/>
                <a:gd name="connsiteX296" fmla="*/ 1497783 w 3832826"/>
                <a:gd name="connsiteY296" fmla="*/ 2140246 h 5120141"/>
                <a:gd name="connsiteX297" fmla="*/ 1483031 w 3832826"/>
                <a:gd name="connsiteY297" fmla="*/ 2140246 h 5120141"/>
                <a:gd name="connsiteX298" fmla="*/ 1468368 w 3832826"/>
                <a:gd name="connsiteY298" fmla="*/ 2140246 h 5120141"/>
                <a:gd name="connsiteX299" fmla="*/ 1451471 w 3832826"/>
                <a:gd name="connsiteY299" fmla="*/ 2142221 h 5120141"/>
                <a:gd name="connsiteX300" fmla="*/ 1447269 w 3832826"/>
                <a:gd name="connsiteY300" fmla="*/ 2146261 h 5120141"/>
                <a:gd name="connsiteX301" fmla="*/ 1440991 w 3832826"/>
                <a:gd name="connsiteY301" fmla="*/ 2149246 h 5120141"/>
                <a:gd name="connsiteX302" fmla="*/ 1440991 w 3832826"/>
                <a:gd name="connsiteY302" fmla="*/ 2319937 h 5120141"/>
                <a:gd name="connsiteX303" fmla="*/ 1445196 w 3832826"/>
                <a:gd name="connsiteY303" fmla="*/ 2330619 h 5120141"/>
                <a:gd name="connsiteX304" fmla="*/ 1449403 w 3832826"/>
                <a:gd name="connsiteY304" fmla="*/ 2344647 h 5120141"/>
                <a:gd name="connsiteX305" fmla="*/ 1462025 w 3832826"/>
                <a:gd name="connsiteY305" fmla="*/ 2378715 h 5120141"/>
                <a:gd name="connsiteX306" fmla="*/ 1480958 w 3832826"/>
                <a:gd name="connsiteY306" fmla="*/ 2438834 h 5120141"/>
                <a:gd name="connsiteX307" fmla="*/ 1493580 w 3832826"/>
                <a:gd name="connsiteY307" fmla="*/ 2468893 h 5120141"/>
                <a:gd name="connsiteX308" fmla="*/ 1499891 w 3832826"/>
                <a:gd name="connsiteY308" fmla="*/ 2480917 h 5120141"/>
                <a:gd name="connsiteX309" fmla="*/ 1508305 w 3832826"/>
                <a:gd name="connsiteY309" fmla="*/ 2492941 h 5120141"/>
                <a:gd name="connsiteX310" fmla="*/ 1508305 w 3832826"/>
                <a:gd name="connsiteY310" fmla="*/ 2523000 h 5120141"/>
                <a:gd name="connsiteX311" fmla="*/ 1508308 w 3832826"/>
                <a:gd name="connsiteY311" fmla="*/ 2490937 h 5120141"/>
                <a:gd name="connsiteX312" fmla="*/ 1703947 w 3832826"/>
                <a:gd name="connsiteY312" fmla="*/ 2693337 h 5120141"/>
                <a:gd name="connsiteX313" fmla="*/ 1800715 w 3832826"/>
                <a:gd name="connsiteY313" fmla="*/ 2777503 h 5120141"/>
                <a:gd name="connsiteX314" fmla="*/ 1821751 w 3832826"/>
                <a:gd name="connsiteY314" fmla="*/ 2793535 h 5120141"/>
                <a:gd name="connsiteX315" fmla="*/ 1846995 w 3832826"/>
                <a:gd name="connsiteY315" fmla="*/ 2807563 h 5120141"/>
                <a:gd name="connsiteX316" fmla="*/ 1868031 w 3832826"/>
                <a:gd name="connsiteY316" fmla="*/ 2827603 h 5120141"/>
                <a:gd name="connsiteX317" fmla="*/ 1874342 w 3832826"/>
                <a:gd name="connsiteY317" fmla="*/ 2837622 h 5120141"/>
                <a:gd name="connsiteX318" fmla="*/ 1882757 w 3832826"/>
                <a:gd name="connsiteY318" fmla="*/ 2847642 h 5120141"/>
                <a:gd name="connsiteX319" fmla="*/ 1882757 w 3832826"/>
                <a:gd name="connsiteY319" fmla="*/ 2857662 h 5120141"/>
                <a:gd name="connsiteX320" fmla="*/ 1871663 w 3832826"/>
                <a:gd name="connsiteY320" fmla="*/ 2862688 h 5120141"/>
                <a:gd name="connsiteX321" fmla="*/ 1920621 w 3832826"/>
                <a:gd name="connsiteY321" fmla="*/ 2925780 h 5120141"/>
                <a:gd name="connsiteX322" fmla="*/ 1937450 w 3832826"/>
                <a:gd name="connsiteY322" fmla="*/ 2955859 h 5120141"/>
                <a:gd name="connsiteX323" fmla="*/ 1956383 w 3832826"/>
                <a:gd name="connsiteY323" fmla="*/ 2987924 h 5120141"/>
                <a:gd name="connsiteX324" fmla="*/ 1964798 w 3832826"/>
                <a:gd name="connsiteY324" fmla="*/ 2997927 h 5120141"/>
                <a:gd name="connsiteX325" fmla="*/ 1969005 w 3832826"/>
                <a:gd name="connsiteY325" fmla="*/ 3009986 h 5120141"/>
                <a:gd name="connsiteX326" fmla="*/ 1977420 w 3832826"/>
                <a:gd name="connsiteY326" fmla="*/ 3038008 h 5120141"/>
                <a:gd name="connsiteX327" fmla="*/ 1985834 w 3832826"/>
                <a:gd name="connsiteY327" fmla="*/ 3066100 h 5120141"/>
                <a:gd name="connsiteX328" fmla="*/ 1994249 w 3832826"/>
                <a:gd name="connsiteY328" fmla="*/ 3078089 h 5120141"/>
                <a:gd name="connsiteX329" fmla="*/ 2004767 w 3832826"/>
                <a:gd name="connsiteY329" fmla="*/ 3090149 h 5120141"/>
                <a:gd name="connsiteX330" fmla="*/ 2008974 w 3832826"/>
                <a:gd name="connsiteY330" fmla="*/ 3100152 h 5120141"/>
                <a:gd name="connsiteX331" fmla="*/ 2017389 w 3832826"/>
                <a:gd name="connsiteY331" fmla="*/ 3110155 h 5120141"/>
                <a:gd name="connsiteX332" fmla="*/ 2023700 w 3832826"/>
                <a:gd name="connsiteY332" fmla="*/ 3136190 h 5120141"/>
                <a:gd name="connsiteX333" fmla="*/ 2032114 w 3832826"/>
                <a:gd name="connsiteY333" fmla="*/ 3158252 h 5120141"/>
                <a:gd name="connsiteX334" fmla="*/ 2040529 w 3832826"/>
                <a:gd name="connsiteY334" fmla="*/ 3168255 h 5120141"/>
                <a:gd name="connsiteX335" fmla="*/ 2048944 w 3832826"/>
                <a:gd name="connsiteY335" fmla="*/ 3174285 h 5120141"/>
                <a:gd name="connsiteX336" fmla="*/ 2059462 w 3832826"/>
                <a:gd name="connsiteY336" fmla="*/ 3180315 h 5120141"/>
                <a:gd name="connsiteX337" fmla="*/ 2069980 w 3832826"/>
                <a:gd name="connsiteY337" fmla="*/ 3180315 h 5120141"/>
                <a:gd name="connsiteX338" fmla="*/ 2082602 w 3832826"/>
                <a:gd name="connsiteY338" fmla="*/ 3182301 h 5120141"/>
                <a:gd name="connsiteX339" fmla="*/ 2095224 w 3832826"/>
                <a:gd name="connsiteY339" fmla="*/ 3184288 h 5120141"/>
                <a:gd name="connsiteX340" fmla="*/ 2105742 w 3832826"/>
                <a:gd name="connsiteY340" fmla="*/ 3190318 h 5120141"/>
                <a:gd name="connsiteX341" fmla="*/ 2114156 w 3832826"/>
                <a:gd name="connsiteY341" fmla="*/ 3198334 h 5120141"/>
                <a:gd name="connsiteX342" fmla="*/ 2122571 w 3832826"/>
                <a:gd name="connsiteY342" fmla="*/ 3204364 h 5120141"/>
                <a:gd name="connsiteX343" fmla="*/ 2132508 w 3832826"/>
                <a:gd name="connsiteY343" fmla="*/ 3211937 h 5120141"/>
                <a:gd name="connsiteX344" fmla="*/ 2133090 w 3832826"/>
                <a:gd name="connsiteY344" fmla="*/ 3211201 h 5120141"/>
                <a:gd name="connsiteX345" fmla="*/ 2210924 w 3832826"/>
                <a:gd name="connsiteY345" fmla="*/ 3145234 h 5120141"/>
                <a:gd name="connsiteX346" fmla="*/ 2286655 w 3832826"/>
                <a:gd name="connsiteY346" fmla="*/ 3071271 h 5120141"/>
                <a:gd name="connsiteX347" fmla="*/ 2316106 w 3832826"/>
                <a:gd name="connsiteY347" fmla="*/ 3045284 h 5120141"/>
                <a:gd name="connsiteX348" fmla="*/ 2332935 w 3832826"/>
                <a:gd name="connsiteY348" fmla="*/ 3035289 h 5120141"/>
                <a:gd name="connsiteX349" fmla="*/ 2343453 w 3832826"/>
                <a:gd name="connsiteY349" fmla="*/ 3031291 h 5120141"/>
                <a:gd name="connsiteX350" fmla="*/ 2349764 w 3832826"/>
                <a:gd name="connsiteY350" fmla="*/ 3029292 h 5120141"/>
                <a:gd name="connsiteX351" fmla="*/ 2381318 w 3832826"/>
                <a:gd name="connsiteY351" fmla="*/ 3031291 h 5120141"/>
                <a:gd name="connsiteX352" fmla="*/ 2398148 w 3832826"/>
                <a:gd name="connsiteY352" fmla="*/ 3029292 h 5120141"/>
                <a:gd name="connsiteX353" fmla="*/ 2402355 w 3832826"/>
                <a:gd name="connsiteY353" fmla="*/ 3029292 h 5120141"/>
                <a:gd name="connsiteX354" fmla="*/ 2404458 w 3832826"/>
                <a:gd name="connsiteY354" fmla="*/ 3027293 h 5120141"/>
                <a:gd name="connsiteX355" fmla="*/ 2404458 w 3832826"/>
                <a:gd name="connsiteY355" fmla="*/ 3007303 h 5120141"/>
                <a:gd name="connsiteX356" fmla="*/ 2408666 w 3832826"/>
                <a:gd name="connsiteY356" fmla="*/ 2997308 h 5120141"/>
                <a:gd name="connsiteX357" fmla="*/ 2410769 w 3832826"/>
                <a:gd name="connsiteY357" fmla="*/ 2995309 h 5120141"/>
                <a:gd name="connsiteX358" fmla="*/ 2414977 w 3832826"/>
                <a:gd name="connsiteY358" fmla="*/ 2991311 h 5120141"/>
                <a:gd name="connsiteX359" fmla="*/ 2423391 w 3832826"/>
                <a:gd name="connsiteY359" fmla="*/ 2991311 h 5120141"/>
                <a:gd name="connsiteX360" fmla="*/ 2425495 w 3832826"/>
                <a:gd name="connsiteY360" fmla="*/ 2987313 h 5120141"/>
                <a:gd name="connsiteX361" fmla="*/ 2429702 w 3832826"/>
                <a:gd name="connsiteY361" fmla="*/ 2985314 h 5120141"/>
                <a:gd name="connsiteX362" fmla="*/ 2429702 w 3832826"/>
                <a:gd name="connsiteY362" fmla="*/ 2979317 h 5120141"/>
                <a:gd name="connsiteX363" fmla="*/ 2429702 w 3832826"/>
                <a:gd name="connsiteY363" fmla="*/ 2977318 h 5120141"/>
                <a:gd name="connsiteX364" fmla="*/ 2431806 w 3832826"/>
                <a:gd name="connsiteY364" fmla="*/ 2971321 h 5120141"/>
                <a:gd name="connsiteX365" fmla="*/ 2433909 w 3832826"/>
                <a:gd name="connsiteY365" fmla="*/ 2969322 h 5120141"/>
                <a:gd name="connsiteX366" fmla="*/ 2442324 w 3832826"/>
                <a:gd name="connsiteY366" fmla="*/ 2967323 h 5120141"/>
                <a:gd name="connsiteX367" fmla="*/ 2452842 w 3832826"/>
                <a:gd name="connsiteY367" fmla="*/ 2967323 h 5120141"/>
                <a:gd name="connsiteX368" fmla="*/ 2454946 w 3832826"/>
                <a:gd name="connsiteY368" fmla="*/ 2965324 h 5120141"/>
                <a:gd name="connsiteX369" fmla="*/ 2457049 w 3832826"/>
                <a:gd name="connsiteY369" fmla="*/ 2961326 h 5120141"/>
                <a:gd name="connsiteX370" fmla="*/ 2457049 w 3832826"/>
                <a:gd name="connsiteY370" fmla="*/ 2941336 h 5120141"/>
                <a:gd name="connsiteX371" fmla="*/ 2461257 w 3832826"/>
                <a:gd name="connsiteY371" fmla="*/ 2927343 h 5120141"/>
                <a:gd name="connsiteX372" fmla="*/ 2463360 w 3832826"/>
                <a:gd name="connsiteY372" fmla="*/ 2917348 h 5120141"/>
                <a:gd name="connsiteX373" fmla="*/ 2467567 w 3832826"/>
                <a:gd name="connsiteY373" fmla="*/ 2907353 h 5120141"/>
                <a:gd name="connsiteX374" fmla="*/ 2473878 w 3832826"/>
                <a:gd name="connsiteY374" fmla="*/ 2899357 h 5120141"/>
                <a:gd name="connsiteX375" fmla="*/ 2488604 w 3832826"/>
                <a:gd name="connsiteY375" fmla="*/ 2885364 h 5120141"/>
                <a:gd name="connsiteX376" fmla="*/ 2509640 w 3832826"/>
                <a:gd name="connsiteY376" fmla="*/ 2865374 h 5120141"/>
                <a:gd name="connsiteX377" fmla="*/ 2646376 w 3832826"/>
                <a:gd name="connsiteY377" fmla="*/ 2743436 h 5120141"/>
                <a:gd name="connsiteX378" fmla="*/ 2650584 w 3832826"/>
                <a:gd name="connsiteY378" fmla="*/ 2755430 h 5120141"/>
                <a:gd name="connsiteX379" fmla="*/ 2654791 w 3832826"/>
                <a:gd name="connsiteY379" fmla="*/ 2765425 h 5120141"/>
                <a:gd name="connsiteX380" fmla="*/ 2663205 w 3832826"/>
                <a:gd name="connsiteY380" fmla="*/ 2773421 h 5120141"/>
                <a:gd name="connsiteX381" fmla="*/ 2671620 w 3832826"/>
                <a:gd name="connsiteY381" fmla="*/ 2773421 h 5120141"/>
                <a:gd name="connsiteX382" fmla="*/ 2675827 w 3832826"/>
                <a:gd name="connsiteY382" fmla="*/ 2775420 h 5120141"/>
                <a:gd name="connsiteX383" fmla="*/ 2688449 w 3832826"/>
                <a:gd name="connsiteY383" fmla="*/ 2779418 h 5120141"/>
                <a:gd name="connsiteX384" fmla="*/ 2696863 w 3832826"/>
                <a:gd name="connsiteY384" fmla="*/ 2785415 h 5120141"/>
                <a:gd name="connsiteX385" fmla="*/ 2701071 w 3832826"/>
                <a:gd name="connsiteY385" fmla="*/ 2787414 h 5120141"/>
                <a:gd name="connsiteX386" fmla="*/ 2709485 w 3832826"/>
                <a:gd name="connsiteY386" fmla="*/ 2785415 h 5120141"/>
                <a:gd name="connsiteX387" fmla="*/ 2715796 w 3832826"/>
                <a:gd name="connsiteY387" fmla="*/ 2779418 h 5120141"/>
                <a:gd name="connsiteX388" fmla="*/ 2722107 w 3832826"/>
                <a:gd name="connsiteY388" fmla="*/ 2775420 h 5120141"/>
                <a:gd name="connsiteX389" fmla="*/ 2728418 w 3832826"/>
                <a:gd name="connsiteY389" fmla="*/ 2773421 h 5120141"/>
                <a:gd name="connsiteX390" fmla="*/ 2747351 w 3832826"/>
                <a:gd name="connsiteY390" fmla="*/ 2769423 h 5120141"/>
                <a:gd name="connsiteX391" fmla="*/ 2764180 w 3832826"/>
                <a:gd name="connsiteY391" fmla="*/ 2773421 h 5120141"/>
                <a:gd name="connsiteX392" fmla="*/ 2783112 w 3832826"/>
                <a:gd name="connsiteY392" fmla="*/ 2779418 h 5120141"/>
                <a:gd name="connsiteX393" fmla="*/ 2795734 w 3832826"/>
                <a:gd name="connsiteY393" fmla="*/ 2793411 h 5120141"/>
                <a:gd name="connsiteX394" fmla="*/ 2799942 w 3832826"/>
                <a:gd name="connsiteY394" fmla="*/ 2793411 h 5120141"/>
                <a:gd name="connsiteX395" fmla="*/ 2804149 w 3832826"/>
                <a:gd name="connsiteY395" fmla="*/ 2805405 h 5120141"/>
                <a:gd name="connsiteX396" fmla="*/ 2812563 w 3832826"/>
                <a:gd name="connsiteY396" fmla="*/ 2817399 h 5120141"/>
                <a:gd name="connsiteX397" fmla="*/ 2825185 w 3832826"/>
                <a:gd name="connsiteY397" fmla="*/ 2845384 h 5120141"/>
                <a:gd name="connsiteX398" fmla="*/ 2835703 w 3832826"/>
                <a:gd name="connsiteY398" fmla="*/ 2873370 h 5120141"/>
                <a:gd name="connsiteX399" fmla="*/ 2842014 w 3832826"/>
                <a:gd name="connsiteY399" fmla="*/ 2885364 h 5120141"/>
                <a:gd name="connsiteX400" fmla="*/ 2847737 w 3832826"/>
                <a:gd name="connsiteY400" fmla="*/ 2896240 h 5120141"/>
                <a:gd name="connsiteX401" fmla="*/ 2848292 w 3832826"/>
                <a:gd name="connsiteY401" fmla="*/ 2895738 h 5120141"/>
                <a:gd name="connsiteX402" fmla="*/ 2873502 w 3832826"/>
                <a:gd name="connsiteY402" fmla="*/ 2911778 h 5120141"/>
                <a:gd name="connsiteX403" fmla="*/ 2898892 w 3832826"/>
                <a:gd name="connsiteY403" fmla="*/ 2921802 h 5120141"/>
                <a:gd name="connsiteX404" fmla="*/ 2921942 w 3832826"/>
                <a:gd name="connsiteY404" fmla="*/ 2935837 h 5120141"/>
                <a:gd name="connsiteX405" fmla="*/ 2932386 w 3832826"/>
                <a:gd name="connsiteY405" fmla="*/ 2943857 h 5120141"/>
                <a:gd name="connsiteX406" fmla="*/ 2943010 w 3832826"/>
                <a:gd name="connsiteY406" fmla="*/ 2953882 h 5120141"/>
                <a:gd name="connsiteX407" fmla="*/ 2957776 w 3832826"/>
                <a:gd name="connsiteY407" fmla="*/ 2965912 h 5120141"/>
                <a:gd name="connsiteX408" fmla="*/ 2964078 w 3832826"/>
                <a:gd name="connsiteY408" fmla="*/ 2973932 h 5120141"/>
                <a:gd name="connsiteX409" fmla="*/ 2970381 w 3832826"/>
                <a:gd name="connsiteY409" fmla="*/ 2977942 h 5120141"/>
                <a:gd name="connsiteX410" fmla="*/ 2985147 w 3832826"/>
                <a:gd name="connsiteY410" fmla="*/ 2979947 h 5120141"/>
                <a:gd name="connsiteX411" fmla="*/ 2995591 w 3832826"/>
                <a:gd name="connsiteY411" fmla="*/ 2979947 h 5120141"/>
                <a:gd name="connsiteX412" fmla="*/ 3006035 w 3832826"/>
                <a:gd name="connsiteY412" fmla="*/ 2983957 h 5120141"/>
                <a:gd name="connsiteX413" fmla="*/ 3018640 w 3832826"/>
                <a:gd name="connsiteY413" fmla="*/ 2993981 h 5120141"/>
                <a:gd name="connsiteX414" fmla="*/ 3024942 w 3832826"/>
                <a:gd name="connsiteY414" fmla="*/ 2999996 h 5120141"/>
                <a:gd name="connsiteX415" fmla="*/ 3027103 w 3832826"/>
                <a:gd name="connsiteY415" fmla="*/ 3006011 h 5120141"/>
                <a:gd name="connsiteX416" fmla="*/ 3027103 w 3832826"/>
                <a:gd name="connsiteY416" fmla="*/ 3008016 h 5120141"/>
                <a:gd name="connsiteX417" fmla="*/ 3024942 w 3832826"/>
                <a:gd name="connsiteY417" fmla="*/ 3014031 h 5120141"/>
                <a:gd name="connsiteX418" fmla="*/ 3018640 w 3832826"/>
                <a:gd name="connsiteY418" fmla="*/ 3020046 h 5120141"/>
                <a:gd name="connsiteX419" fmla="*/ 3014498 w 3832826"/>
                <a:gd name="connsiteY419" fmla="*/ 3029937 h 5120141"/>
                <a:gd name="connsiteX420" fmla="*/ 3014498 w 3832826"/>
                <a:gd name="connsiteY420" fmla="*/ 3043972 h 5120141"/>
                <a:gd name="connsiteX421" fmla="*/ 3014498 w 3832826"/>
                <a:gd name="connsiteY421" fmla="*/ 3049987 h 5120141"/>
                <a:gd name="connsiteX422" fmla="*/ 3024942 w 3832826"/>
                <a:gd name="connsiteY422" fmla="*/ 3074047 h 5120141"/>
                <a:gd name="connsiteX423" fmla="*/ 3024942 w 3832826"/>
                <a:gd name="connsiteY423" fmla="*/ 3084071 h 5120141"/>
                <a:gd name="connsiteX424" fmla="*/ 3022962 w 3832826"/>
                <a:gd name="connsiteY424" fmla="*/ 3088081 h 5120141"/>
                <a:gd name="connsiteX425" fmla="*/ 3022962 w 3832826"/>
                <a:gd name="connsiteY425" fmla="*/ 3090086 h 5120141"/>
                <a:gd name="connsiteX426" fmla="*/ 3024942 w 3832826"/>
                <a:gd name="connsiteY426" fmla="*/ 3094096 h 5120141"/>
                <a:gd name="connsiteX427" fmla="*/ 3033406 w 3832826"/>
                <a:gd name="connsiteY427" fmla="*/ 3100111 h 5120141"/>
                <a:gd name="connsiteX428" fmla="*/ 3046011 w 3832826"/>
                <a:gd name="connsiteY428" fmla="*/ 3106126 h 5120141"/>
                <a:gd name="connsiteX429" fmla="*/ 3056635 w 3832826"/>
                <a:gd name="connsiteY429" fmla="*/ 3108131 h 5120141"/>
                <a:gd name="connsiteX430" fmla="*/ 3064918 w 3832826"/>
                <a:gd name="connsiteY430" fmla="*/ 3110136 h 5120141"/>
                <a:gd name="connsiteX431" fmla="*/ 3075542 w 3832826"/>
                <a:gd name="connsiteY431" fmla="*/ 3118156 h 5120141"/>
                <a:gd name="connsiteX432" fmla="*/ 3088147 w 3832826"/>
                <a:gd name="connsiteY432" fmla="*/ 3138206 h 5120141"/>
                <a:gd name="connsiteX433" fmla="*/ 3096611 w 3832826"/>
                <a:gd name="connsiteY433" fmla="*/ 3152240 h 5120141"/>
                <a:gd name="connsiteX434" fmla="*/ 3096611 w 3832826"/>
                <a:gd name="connsiteY434" fmla="*/ 3162265 h 5120141"/>
                <a:gd name="connsiteX435" fmla="*/ 3096611 w 3832826"/>
                <a:gd name="connsiteY435" fmla="*/ 3166275 h 5120141"/>
                <a:gd name="connsiteX436" fmla="*/ 3090308 w 3832826"/>
                <a:gd name="connsiteY436" fmla="*/ 3168280 h 5120141"/>
                <a:gd name="connsiteX437" fmla="*/ 3088147 w 3832826"/>
                <a:gd name="connsiteY437" fmla="*/ 3168280 h 5120141"/>
                <a:gd name="connsiteX438" fmla="*/ 3085987 w 3832826"/>
                <a:gd name="connsiteY438" fmla="*/ 3170285 h 5120141"/>
                <a:gd name="connsiteX439" fmla="*/ 3085987 w 3832826"/>
                <a:gd name="connsiteY439" fmla="*/ 3178305 h 5120141"/>
                <a:gd name="connsiteX440" fmla="*/ 3088147 w 3832826"/>
                <a:gd name="connsiteY440" fmla="*/ 3182315 h 5120141"/>
                <a:gd name="connsiteX441" fmla="*/ 3090308 w 3832826"/>
                <a:gd name="connsiteY441" fmla="*/ 3186325 h 5120141"/>
                <a:gd name="connsiteX442" fmla="*/ 3092289 w 3832826"/>
                <a:gd name="connsiteY442" fmla="*/ 3190335 h 5120141"/>
                <a:gd name="connsiteX443" fmla="*/ 3098592 w 3832826"/>
                <a:gd name="connsiteY443" fmla="*/ 3208380 h 5120141"/>
                <a:gd name="connsiteX444" fmla="*/ 3102913 w 3832826"/>
                <a:gd name="connsiteY444" fmla="*/ 3222415 h 5120141"/>
                <a:gd name="connsiteX445" fmla="*/ 3107055 w 3832826"/>
                <a:gd name="connsiteY445" fmla="*/ 3238454 h 5120141"/>
                <a:gd name="connsiteX446" fmla="*/ 3109216 w 3832826"/>
                <a:gd name="connsiteY446" fmla="*/ 3246474 h 5120141"/>
                <a:gd name="connsiteX447" fmla="*/ 3113357 w 3832826"/>
                <a:gd name="connsiteY447" fmla="*/ 3248479 h 5120141"/>
                <a:gd name="connsiteX448" fmla="*/ 3130284 w 3832826"/>
                <a:gd name="connsiteY448" fmla="*/ 3252489 h 5120141"/>
                <a:gd name="connsiteX449" fmla="*/ 3159636 w 3832826"/>
                <a:gd name="connsiteY449" fmla="*/ 3266524 h 5120141"/>
                <a:gd name="connsiteX450" fmla="*/ 3187007 w 3832826"/>
                <a:gd name="connsiteY450" fmla="*/ 3278554 h 5120141"/>
                <a:gd name="connsiteX451" fmla="*/ 3214377 w 3832826"/>
                <a:gd name="connsiteY451" fmla="*/ 3296598 h 5120141"/>
                <a:gd name="connsiteX452" fmla="*/ 3243729 w 3832826"/>
                <a:gd name="connsiteY452" fmla="*/ 3308495 h 5120141"/>
                <a:gd name="connsiteX453" fmla="*/ 3250032 w 3832826"/>
                <a:gd name="connsiteY453" fmla="*/ 3312505 h 5120141"/>
                <a:gd name="connsiteX454" fmla="*/ 3260656 w 3832826"/>
                <a:gd name="connsiteY454" fmla="*/ 3326539 h 5120141"/>
                <a:gd name="connsiteX455" fmla="*/ 3269119 w 3832826"/>
                <a:gd name="connsiteY455" fmla="*/ 3338569 h 5120141"/>
                <a:gd name="connsiteX456" fmla="*/ 3275422 w 3832826"/>
                <a:gd name="connsiteY456" fmla="*/ 3352604 h 5120141"/>
                <a:gd name="connsiteX457" fmla="*/ 3285866 w 3832826"/>
                <a:gd name="connsiteY457" fmla="*/ 3384684 h 5120141"/>
                <a:gd name="connsiteX458" fmla="*/ 3292168 w 3832826"/>
                <a:gd name="connsiteY458" fmla="*/ 3410748 h 5120141"/>
                <a:gd name="connsiteX459" fmla="*/ 3300632 w 3832826"/>
                <a:gd name="connsiteY459" fmla="*/ 3434808 h 5120141"/>
                <a:gd name="connsiteX460" fmla="*/ 3309095 w 3832826"/>
                <a:gd name="connsiteY460" fmla="*/ 3458868 h 5120141"/>
                <a:gd name="connsiteX461" fmla="*/ 3311076 w 3832826"/>
                <a:gd name="connsiteY461" fmla="*/ 3468892 h 5120141"/>
                <a:gd name="connsiteX462" fmla="*/ 3313237 w 3832826"/>
                <a:gd name="connsiteY462" fmla="*/ 3474907 h 5120141"/>
                <a:gd name="connsiteX463" fmla="*/ 3313237 w 3832826"/>
                <a:gd name="connsiteY463" fmla="*/ 3478917 h 5120141"/>
                <a:gd name="connsiteX464" fmla="*/ 3309095 w 3832826"/>
                <a:gd name="connsiteY464" fmla="*/ 3482927 h 5120141"/>
                <a:gd name="connsiteX465" fmla="*/ 3302793 w 3832826"/>
                <a:gd name="connsiteY465" fmla="*/ 3488942 h 5120141"/>
                <a:gd name="connsiteX466" fmla="*/ 3296310 w 3832826"/>
                <a:gd name="connsiteY466" fmla="*/ 3490947 h 5120141"/>
                <a:gd name="connsiteX467" fmla="*/ 3296310 w 3832826"/>
                <a:gd name="connsiteY467" fmla="*/ 3498967 h 5120141"/>
                <a:gd name="connsiteX468" fmla="*/ 3296310 w 3832826"/>
                <a:gd name="connsiteY468" fmla="*/ 3508992 h 5120141"/>
                <a:gd name="connsiteX469" fmla="*/ 3300632 w 3832826"/>
                <a:gd name="connsiteY469" fmla="*/ 3531047 h 5120141"/>
                <a:gd name="connsiteX470" fmla="*/ 3309095 w 3832826"/>
                <a:gd name="connsiteY470" fmla="*/ 3553101 h 5120141"/>
                <a:gd name="connsiteX471" fmla="*/ 3313237 w 3832826"/>
                <a:gd name="connsiteY471" fmla="*/ 3563126 h 5120141"/>
                <a:gd name="connsiteX472" fmla="*/ 3319539 w 3832826"/>
                <a:gd name="connsiteY472" fmla="*/ 3567002 h 5120141"/>
                <a:gd name="connsiteX473" fmla="*/ 3317645 w 3832826"/>
                <a:gd name="connsiteY473" fmla="*/ 3567042 h 5120141"/>
                <a:gd name="connsiteX474" fmla="*/ 3330079 w 3832826"/>
                <a:gd name="connsiteY474" fmla="*/ 3577062 h 5120141"/>
                <a:gd name="connsiteX475" fmla="*/ 3334316 w 3832826"/>
                <a:gd name="connsiteY475" fmla="*/ 3585058 h 5120141"/>
                <a:gd name="connsiteX476" fmla="*/ 3334316 w 3832826"/>
                <a:gd name="connsiteY476" fmla="*/ 3593054 h 5120141"/>
                <a:gd name="connsiteX477" fmla="*/ 3334316 w 3832826"/>
                <a:gd name="connsiteY477" fmla="*/ 3603030 h 5120141"/>
                <a:gd name="connsiteX478" fmla="*/ 3332198 w 3832826"/>
                <a:gd name="connsiteY478" fmla="*/ 3607066 h 5120141"/>
                <a:gd name="connsiteX479" fmla="*/ 3323724 w 3832826"/>
                <a:gd name="connsiteY479" fmla="*/ 3609046 h 5120141"/>
                <a:gd name="connsiteX480" fmla="*/ 3319599 w 3832826"/>
                <a:gd name="connsiteY480" fmla="*/ 3613006 h 5120141"/>
                <a:gd name="connsiteX481" fmla="*/ 3319599 w 3832826"/>
                <a:gd name="connsiteY481" fmla="*/ 3617042 h 5120141"/>
                <a:gd name="connsiteX482" fmla="*/ 3319599 w 3832826"/>
                <a:gd name="connsiteY482" fmla="*/ 3619021 h 5120141"/>
                <a:gd name="connsiteX483" fmla="*/ 3323724 w 3832826"/>
                <a:gd name="connsiteY483" fmla="*/ 3625037 h 5120141"/>
                <a:gd name="connsiteX484" fmla="*/ 3330079 w 3832826"/>
                <a:gd name="connsiteY484" fmla="*/ 3627017 h 5120141"/>
                <a:gd name="connsiteX485" fmla="*/ 3332198 w 3832826"/>
                <a:gd name="connsiteY485" fmla="*/ 3628997 h 5120141"/>
                <a:gd name="connsiteX486" fmla="*/ 3340560 w 3832826"/>
                <a:gd name="connsiteY486" fmla="*/ 3644989 h 5120141"/>
                <a:gd name="connsiteX487" fmla="*/ 3351151 w 3832826"/>
                <a:gd name="connsiteY487" fmla="*/ 3657021 h 5120141"/>
                <a:gd name="connsiteX488" fmla="*/ 3372112 w 3832826"/>
                <a:gd name="connsiteY488" fmla="*/ 3684968 h 5120141"/>
                <a:gd name="connsiteX489" fmla="*/ 3372112 w 3832826"/>
                <a:gd name="connsiteY489" fmla="*/ 3687024 h 5120141"/>
                <a:gd name="connsiteX490" fmla="*/ 3372112 w 3832826"/>
                <a:gd name="connsiteY490" fmla="*/ 3689004 h 5120141"/>
                <a:gd name="connsiteX491" fmla="*/ 3367875 w 3832826"/>
                <a:gd name="connsiteY491" fmla="*/ 3695020 h 5120141"/>
                <a:gd name="connsiteX492" fmla="*/ 3363750 w 3832826"/>
                <a:gd name="connsiteY492" fmla="*/ 3703016 h 5120141"/>
                <a:gd name="connsiteX493" fmla="*/ 3363750 w 3832826"/>
                <a:gd name="connsiteY493" fmla="*/ 3704996 h 5120141"/>
                <a:gd name="connsiteX494" fmla="*/ 3363750 w 3832826"/>
                <a:gd name="connsiteY494" fmla="*/ 3706976 h 5120141"/>
                <a:gd name="connsiteX495" fmla="*/ 3367875 w 3832826"/>
                <a:gd name="connsiteY495" fmla="*/ 3716951 h 5120141"/>
                <a:gd name="connsiteX496" fmla="*/ 3374230 w 3832826"/>
                <a:gd name="connsiteY496" fmla="*/ 3722967 h 5120141"/>
                <a:gd name="connsiteX497" fmla="*/ 3382704 w 3832826"/>
                <a:gd name="connsiteY497" fmla="*/ 3728983 h 5120141"/>
                <a:gd name="connsiteX498" fmla="*/ 3388948 w 3832826"/>
                <a:gd name="connsiteY498" fmla="*/ 3734923 h 5120141"/>
                <a:gd name="connsiteX499" fmla="*/ 3395303 w 3832826"/>
                <a:gd name="connsiteY499" fmla="*/ 3746955 h 5120141"/>
                <a:gd name="connsiteX500" fmla="*/ 3397421 w 3832826"/>
                <a:gd name="connsiteY500" fmla="*/ 3756931 h 5120141"/>
                <a:gd name="connsiteX501" fmla="*/ 3397421 w 3832826"/>
                <a:gd name="connsiteY501" fmla="*/ 3766907 h 5120141"/>
                <a:gd name="connsiteX502" fmla="*/ 3399428 w 3832826"/>
                <a:gd name="connsiteY502" fmla="*/ 3778939 h 5120141"/>
                <a:gd name="connsiteX503" fmla="*/ 3407901 w 3832826"/>
                <a:gd name="connsiteY503" fmla="*/ 3798890 h 5120141"/>
                <a:gd name="connsiteX504" fmla="*/ 3416263 w 3832826"/>
                <a:gd name="connsiteY504" fmla="*/ 3808942 h 5120141"/>
                <a:gd name="connsiteX505" fmla="*/ 3424737 w 3832826"/>
                <a:gd name="connsiteY505" fmla="*/ 3816938 h 5120141"/>
                <a:gd name="connsiteX506" fmla="*/ 3431092 w 3832826"/>
                <a:gd name="connsiteY506" fmla="*/ 3820898 h 5120141"/>
                <a:gd name="connsiteX507" fmla="*/ 3437335 w 3832826"/>
                <a:gd name="connsiteY507" fmla="*/ 3820898 h 5120141"/>
                <a:gd name="connsiteX508" fmla="*/ 3449934 w 3832826"/>
                <a:gd name="connsiteY508" fmla="*/ 3820898 h 5120141"/>
                <a:gd name="connsiteX509" fmla="*/ 3456289 w 3832826"/>
                <a:gd name="connsiteY509" fmla="*/ 3824934 h 5120141"/>
                <a:gd name="connsiteX510" fmla="*/ 3460526 w 3832826"/>
                <a:gd name="connsiteY510" fmla="*/ 3826914 h 5120141"/>
                <a:gd name="connsiteX511" fmla="*/ 3466770 w 3832826"/>
                <a:gd name="connsiteY511" fmla="*/ 3830874 h 5120141"/>
                <a:gd name="connsiteX512" fmla="*/ 3468888 w 3832826"/>
                <a:gd name="connsiteY512" fmla="*/ 3840925 h 5120141"/>
                <a:gd name="connsiteX513" fmla="*/ 3466770 w 3832826"/>
                <a:gd name="connsiteY513" fmla="*/ 3840925 h 5120141"/>
                <a:gd name="connsiteX514" fmla="*/ 3462644 w 3832826"/>
                <a:gd name="connsiteY514" fmla="*/ 3844885 h 5120141"/>
                <a:gd name="connsiteX515" fmla="*/ 3458408 w 3832826"/>
                <a:gd name="connsiteY515" fmla="*/ 3846865 h 5120141"/>
                <a:gd name="connsiteX516" fmla="*/ 3456289 w 3832826"/>
                <a:gd name="connsiteY516" fmla="*/ 3848921 h 5120141"/>
                <a:gd name="connsiteX517" fmla="*/ 3458408 w 3832826"/>
                <a:gd name="connsiteY517" fmla="*/ 3854861 h 5120141"/>
                <a:gd name="connsiteX518" fmla="*/ 3462644 w 3832826"/>
                <a:gd name="connsiteY518" fmla="*/ 3856917 h 5120141"/>
                <a:gd name="connsiteX519" fmla="*/ 3468888 w 3832826"/>
                <a:gd name="connsiteY519" fmla="*/ 3860877 h 5120141"/>
                <a:gd name="connsiteX520" fmla="*/ 3481487 w 3832826"/>
                <a:gd name="connsiteY520" fmla="*/ 3874889 h 5120141"/>
                <a:gd name="connsiteX521" fmla="*/ 3487842 w 3832826"/>
                <a:gd name="connsiteY521" fmla="*/ 3880828 h 5120141"/>
                <a:gd name="connsiteX522" fmla="*/ 3489960 w 3832826"/>
                <a:gd name="connsiteY522" fmla="*/ 3888824 h 5120141"/>
                <a:gd name="connsiteX523" fmla="*/ 3489960 w 3832826"/>
                <a:gd name="connsiteY523" fmla="*/ 3898876 h 5120141"/>
                <a:gd name="connsiteX524" fmla="*/ 3483605 w 3832826"/>
                <a:gd name="connsiteY524" fmla="*/ 3910832 h 5120141"/>
                <a:gd name="connsiteX525" fmla="*/ 3477361 w 3832826"/>
                <a:gd name="connsiteY525" fmla="*/ 3924844 h 5120141"/>
                <a:gd name="connsiteX526" fmla="*/ 3477361 w 3832826"/>
                <a:gd name="connsiteY526" fmla="*/ 3934819 h 5120141"/>
                <a:gd name="connsiteX527" fmla="*/ 3477361 w 3832826"/>
                <a:gd name="connsiteY527" fmla="*/ 3946851 h 5120141"/>
                <a:gd name="connsiteX528" fmla="*/ 3481487 w 3832826"/>
                <a:gd name="connsiteY528" fmla="*/ 3960787 h 5120141"/>
                <a:gd name="connsiteX529" fmla="*/ 3492078 w 3832826"/>
                <a:gd name="connsiteY529" fmla="*/ 3988810 h 5120141"/>
                <a:gd name="connsiteX530" fmla="*/ 3498322 w 3832826"/>
                <a:gd name="connsiteY530" fmla="*/ 3998786 h 5120141"/>
                <a:gd name="connsiteX531" fmla="*/ 3502559 w 3832826"/>
                <a:gd name="connsiteY531" fmla="*/ 4006782 h 5120141"/>
                <a:gd name="connsiteX532" fmla="*/ 3513039 w 3832826"/>
                <a:gd name="connsiteY532" fmla="*/ 4012798 h 5120141"/>
                <a:gd name="connsiteX533" fmla="*/ 3521513 w 3832826"/>
                <a:gd name="connsiteY533" fmla="*/ 4022774 h 5120141"/>
                <a:gd name="connsiteX534" fmla="*/ 3523631 w 3832826"/>
                <a:gd name="connsiteY534" fmla="*/ 4028790 h 5120141"/>
                <a:gd name="connsiteX535" fmla="*/ 3523631 w 3832826"/>
                <a:gd name="connsiteY535" fmla="*/ 4036785 h 5120141"/>
                <a:gd name="connsiteX536" fmla="*/ 3523631 w 3832826"/>
                <a:gd name="connsiteY536" fmla="*/ 4048741 h 5120141"/>
                <a:gd name="connsiteX537" fmla="*/ 3521513 w 3832826"/>
                <a:gd name="connsiteY537" fmla="*/ 4066713 h 5120141"/>
                <a:gd name="connsiteX538" fmla="*/ 3521513 w 3832826"/>
                <a:gd name="connsiteY538" fmla="*/ 4078744 h 5120141"/>
                <a:gd name="connsiteX539" fmla="*/ 3525749 w 3832826"/>
                <a:gd name="connsiteY539" fmla="*/ 4100752 h 5120141"/>
                <a:gd name="connsiteX540" fmla="*/ 3540466 w 3832826"/>
                <a:gd name="connsiteY540" fmla="*/ 4136695 h 5120141"/>
                <a:gd name="connsiteX541" fmla="*/ 3557302 w 3832826"/>
                <a:gd name="connsiteY541" fmla="*/ 4182690 h 5120141"/>
                <a:gd name="connsiteX542" fmla="*/ 3555183 w 3832826"/>
                <a:gd name="connsiteY542" fmla="*/ 4186650 h 5120141"/>
                <a:gd name="connsiteX543" fmla="*/ 3557302 w 3832826"/>
                <a:gd name="connsiteY543" fmla="*/ 4192666 h 5120141"/>
                <a:gd name="connsiteX544" fmla="*/ 3567782 w 3832826"/>
                <a:gd name="connsiteY544" fmla="*/ 4214674 h 5120141"/>
                <a:gd name="connsiteX545" fmla="*/ 3578262 w 3832826"/>
                <a:gd name="connsiteY545" fmla="*/ 4240641 h 5120141"/>
                <a:gd name="connsiteX546" fmla="*/ 3582499 w 3832826"/>
                <a:gd name="connsiteY546" fmla="*/ 4250617 h 5120141"/>
                <a:gd name="connsiteX547" fmla="*/ 3582499 w 3832826"/>
                <a:gd name="connsiteY547" fmla="*/ 4260593 h 5120141"/>
                <a:gd name="connsiteX548" fmla="*/ 3578262 w 3832826"/>
                <a:gd name="connsiteY548" fmla="*/ 4260593 h 5120141"/>
                <a:gd name="connsiteX549" fmla="*/ 3576144 w 3832826"/>
                <a:gd name="connsiteY549" fmla="*/ 4264629 h 5120141"/>
                <a:gd name="connsiteX550" fmla="*/ 3572019 w 3832826"/>
                <a:gd name="connsiteY550" fmla="*/ 4270645 h 5120141"/>
                <a:gd name="connsiteX551" fmla="*/ 3565664 w 3832826"/>
                <a:gd name="connsiteY551" fmla="*/ 4272624 h 5120141"/>
                <a:gd name="connsiteX552" fmla="*/ 3563545 w 3832826"/>
                <a:gd name="connsiteY552" fmla="*/ 4278640 h 5120141"/>
                <a:gd name="connsiteX553" fmla="*/ 3561427 w 3832826"/>
                <a:gd name="connsiteY553" fmla="*/ 4288616 h 5120141"/>
                <a:gd name="connsiteX554" fmla="*/ 3561427 w 3832826"/>
                <a:gd name="connsiteY554" fmla="*/ 4300572 h 5120141"/>
                <a:gd name="connsiteX555" fmla="*/ 3557302 w 3832826"/>
                <a:gd name="connsiteY555" fmla="*/ 4324559 h 5120141"/>
                <a:gd name="connsiteX556" fmla="*/ 3556313 w 3832826"/>
                <a:gd name="connsiteY556" fmla="*/ 4324559 h 5120141"/>
                <a:gd name="connsiteX557" fmla="*/ 3557250 w 3832826"/>
                <a:gd name="connsiteY557" fmla="*/ 4324566 h 5120141"/>
                <a:gd name="connsiteX558" fmla="*/ 3561457 w 3832826"/>
                <a:gd name="connsiteY558" fmla="*/ 4324566 h 5120141"/>
                <a:gd name="connsiteX559" fmla="*/ 3687675 w 3832826"/>
                <a:gd name="connsiteY559" fmla="*/ 4322562 h 5120141"/>
                <a:gd name="connsiteX560" fmla="*/ 3815997 w 3832826"/>
                <a:gd name="connsiteY560" fmla="*/ 4322562 h 5120141"/>
                <a:gd name="connsiteX561" fmla="*/ 3820204 w 3832826"/>
                <a:gd name="connsiteY561" fmla="*/ 4362642 h 5120141"/>
                <a:gd name="connsiteX562" fmla="*/ 3820204 w 3832826"/>
                <a:gd name="connsiteY562" fmla="*/ 4388693 h 5120141"/>
                <a:gd name="connsiteX563" fmla="*/ 3815997 w 3832826"/>
                <a:gd name="connsiteY563" fmla="*/ 4394705 h 5120141"/>
                <a:gd name="connsiteX564" fmla="*/ 3813893 w 3832826"/>
                <a:gd name="connsiteY564" fmla="*/ 4398713 h 5120141"/>
                <a:gd name="connsiteX565" fmla="*/ 3803375 w 3832826"/>
                <a:gd name="connsiteY565" fmla="*/ 4398713 h 5120141"/>
                <a:gd name="connsiteX566" fmla="*/ 3799168 w 3832826"/>
                <a:gd name="connsiteY566" fmla="*/ 4402721 h 5120141"/>
                <a:gd name="connsiteX567" fmla="*/ 3799168 w 3832826"/>
                <a:gd name="connsiteY567" fmla="*/ 4408733 h 5120141"/>
                <a:gd name="connsiteX568" fmla="*/ 3801272 w 3832826"/>
                <a:gd name="connsiteY568" fmla="*/ 4420757 h 5120141"/>
                <a:gd name="connsiteX569" fmla="*/ 3801272 w 3832826"/>
                <a:gd name="connsiteY569" fmla="*/ 4422761 h 5120141"/>
                <a:gd name="connsiteX570" fmla="*/ 3805479 w 3832826"/>
                <a:gd name="connsiteY570" fmla="*/ 4424765 h 5120141"/>
                <a:gd name="connsiteX571" fmla="*/ 3815997 w 3832826"/>
                <a:gd name="connsiteY571" fmla="*/ 4422761 h 5120141"/>
                <a:gd name="connsiteX572" fmla="*/ 3826515 w 3832826"/>
                <a:gd name="connsiteY572" fmla="*/ 4422761 h 5120141"/>
                <a:gd name="connsiteX573" fmla="*/ 3830723 w 3832826"/>
                <a:gd name="connsiteY573" fmla="*/ 4424765 h 5120141"/>
                <a:gd name="connsiteX574" fmla="*/ 3832826 w 3832826"/>
                <a:gd name="connsiteY574" fmla="*/ 4430776 h 5120141"/>
                <a:gd name="connsiteX575" fmla="*/ 3830723 w 3832826"/>
                <a:gd name="connsiteY575" fmla="*/ 4436788 h 5120141"/>
                <a:gd name="connsiteX576" fmla="*/ 3826515 w 3832826"/>
                <a:gd name="connsiteY576" fmla="*/ 4436788 h 5120141"/>
                <a:gd name="connsiteX577" fmla="*/ 3822308 w 3832826"/>
                <a:gd name="connsiteY577" fmla="*/ 4440796 h 5120141"/>
                <a:gd name="connsiteX578" fmla="*/ 3822308 w 3832826"/>
                <a:gd name="connsiteY578" fmla="*/ 4444804 h 5120141"/>
                <a:gd name="connsiteX579" fmla="*/ 3822308 w 3832826"/>
                <a:gd name="connsiteY579" fmla="*/ 4502919 h 5120141"/>
                <a:gd name="connsiteX580" fmla="*/ 3824412 w 3832826"/>
                <a:gd name="connsiteY580" fmla="*/ 4557026 h 5120141"/>
                <a:gd name="connsiteX581" fmla="*/ 3826515 w 3832826"/>
                <a:gd name="connsiteY581" fmla="*/ 4723356 h 5120141"/>
                <a:gd name="connsiteX582" fmla="*/ 3826515 w 3832826"/>
                <a:gd name="connsiteY582" fmla="*/ 4805518 h 5120141"/>
                <a:gd name="connsiteX583" fmla="*/ 3826515 w 3832826"/>
                <a:gd name="connsiteY583" fmla="*/ 4887681 h 5120141"/>
                <a:gd name="connsiteX584" fmla="*/ 3815997 w 3832826"/>
                <a:gd name="connsiteY584" fmla="*/ 4885677 h 5120141"/>
                <a:gd name="connsiteX585" fmla="*/ 3820204 w 3832826"/>
                <a:gd name="connsiteY585" fmla="*/ 4985875 h 5120141"/>
                <a:gd name="connsiteX586" fmla="*/ 3820204 w 3832826"/>
                <a:gd name="connsiteY586" fmla="*/ 5072046 h 5120141"/>
                <a:gd name="connsiteX587" fmla="*/ 3822308 w 3832826"/>
                <a:gd name="connsiteY587" fmla="*/ 5072046 h 5120141"/>
                <a:gd name="connsiteX588" fmla="*/ 3822308 w 3832826"/>
                <a:gd name="connsiteY588" fmla="*/ 5088078 h 5120141"/>
                <a:gd name="connsiteX589" fmla="*/ 3822308 w 3832826"/>
                <a:gd name="connsiteY589" fmla="*/ 5100102 h 5120141"/>
                <a:gd name="connsiteX590" fmla="*/ 3820204 w 3832826"/>
                <a:gd name="connsiteY590" fmla="*/ 5104109 h 5120141"/>
                <a:gd name="connsiteX591" fmla="*/ 3815997 w 3832826"/>
                <a:gd name="connsiteY591" fmla="*/ 5108117 h 5120141"/>
                <a:gd name="connsiteX592" fmla="*/ 3809686 w 3832826"/>
                <a:gd name="connsiteY592" fmla="*/ 5108117 h 5120141"/>
                <a:gd name="connsiteX593" fmla="*/ 3801272 w 3832826"/>
                <a:gd name="connsiteY593" fmla="*/ 5108117 h 5120141"/>
                <a:gd name="connsiteX594" fmla="*/ 3370026 w 3832826"/>
                <a:gd name="connsiteY594" fmla="*/ 5110121 h 5120141"/>
                <a:gd name="connsiteX595" fmla="*/ 2940884 w 3832826"/>
                <a:gd name="connsiteY595" fmla="*/ 5112125 h 5120141"/>
                <a:gd name="connsiteX596" fmla="*/ 2903018 w 3832826"/>
                <a:gd name="connsiteY596" fmla="*/ 5112125 h 5120141"/>
                <a:gd name="connsiteX597" fmla="*/ 2898811 w 3832826"/>
                <a:gd name="connsiteY597" fmla="*/ 5118137 h 5120141"/>
                <a:gd name="connsiteX598" fmla="*/ 2888293 w 3832826"/>
                <a:gd name="connsiteY598" fmla="*/ 5120141 h 5120141"/>
                <a:gd name="connsiteX599" fmla="*/ 2860945 w 3832826"/>
                <a:gd name="connsiteY599" fmla="*/ 5120141 h 5120141"/>
                <a:gd name="connsiteX600" fmla="*/ 2808354 w 3832826"/>
                <a:gd name="connsiteY600" fmla="*/ 5118137 h 5120141"/>
                <a:gd name="connsiteX601" fmla="*/ 2747349 w 3832826"/>
                <a:gd name="connsiteY601" fmla="*/ 5120141 h 5120141"/>
                <a:gd name="connsiteX602" fmla="*/ 2713691 w 3832826"/>
                <a:gd name="connsiteY602" fmla="*/ 5120141 h 5120141"/>
                <a:gd name="connsiteX603" fmla="*/ 2701069 w 3832826"/>
                <a:gd name="connsiteY603" fmla="*/ 5118137 h 5120141"/>
                <a:gd name="connsiteX604" fmla="*/ 2692654 w 3832826"/>
                <a:gd name="connsiteY604" fmla="*/ 5114129 h 5120141"/>
                <a:gd name="connsiteX605" fmla="*/ 2690551 w 3832826"/>
                <a:gd name="connsiteY605" fmla="*/ 5108117 h 5120141"/>
                <a:gd name="connsiteX606" fmla="*/ 2690551 w 3832826"/>
                <a:gd name="connsiteY606" fmla="*/ 5100102 h 5120141"/>
                <a:gd name="connsiteX607" fmla="*/ 2690551 w 3832826"/>
                <a:gd name="connsiteY607" fmla="*/ 5084070 h 5120141"/>
                <a:gd name="connsiteX608" fmla="*/ 2690551 w 3832826"/>
                <a:gd name="connsiteY608" fmla="*/ 5082066 h 5120141"/>
                <a:gd name="connsiteX609" fmla="*/ 2688447 w 3832826"/>
                <a:gd name="connsiteY609" fmla="*/ 5080062 h 5120141"/>
                <a:gd name="connsiteX610" fmla="*/ 2682136 w 3832826"/>
                <a:gd name="connsiteY610" fmla="*/ 5080062 h 5120141"/>
                <a:gd name="connsiteX611" fmla="*/ 2675825 w 3832826"/>
                <a:gd name="connsiteY611" fmla="*/ 5080062 h 5120141"/>
                <a:gd name="connsiteX612" fmla="*/ 2669514 w 3832826"/>
                <a:gd name="connsiteY612" fmla="*/ 5080062 h 5120141"/>
                <a:gd name="connsiteX613" fmla="*/ 2667411 w 3832826"/>
                <a:gd name="connsiteY613" fmla="*/ 5078058 h 5120141"/>
                <a:gd name="connsiteX614" fmla="*/ 2667411 w 3832826"/>
                <a:gd name="connsiteY614" fmla="*/ 5072046 h 5120141"/>
                <a:gd name="connsiteX615" fmla="*/ 2658996 w 3832826"/>
                <a:gd name="connsiteY615" fmla="*/ 5070042 h 5120141"/>
                <a:gd name="connsiteX616" fmla="*/ 2627442 w 3832826"/>
                <a:gd name="connsiteY616" fmla="*/ 5070042 h 5120141"/>
                <a:gd name="connsiteX617" fmla="*/ 2612716 w 3832826"/>
                <a:gd name="connsiteY617" fmla="*/ 5070042 h 5120141"/>
                <a:gd name="connsiteX618" fmla="*/ 2604302 w 3832826"/>
                <a:gd name="connsiteY618" fmla="*/ 5070042 h 5120141"/>
                <a:gd name="connsiteX619" fmla="*/ 2602198 w 3832826"/>
                <a:gd name="connsiteY619" fmla="*/ 5068038 h 5120141"/>
                <a:gd name="connsiteX620" fmla="*/ 2597991 w 3832826"/>
                <a:gd name="connsiteY620" fmla="*/ 5064030 h 5120141"/>
                <a:gd name="connsiteX621" fmla="*/ 2595887 w 3832826"/>
                <a:gd name="connsiteY621" fmla="*/ 5052006 h 5120141"/>
                <a:gd name="connsiteX622" fmla="*/ 2593783 w 3832826"/>
                <a:gd name="connsiteY622" fmla="*/ 5047998 h 5120141"/>
                <a:gd name="connsiteX623" fmla="*/ 2591680 w 3832826"/>
                <a:gd name="connsiteY623" fmla="*/ 5047998 h 5120141"/>
                <a:gd name="connsiteX624" fmla="*/ 2576954 w 3832826"/>
                <a:gd name="connsiteY624" fmla="*/ 5045994 h 5120141"/>
                <a:gd name="connsiteX625" fmla="*/ 2551711 w 3832826"/>
                <a:gd name="connsiteY625" fmla="*/ 5047998 h 5120141"/>
                <a:gd name="connsiteX626" fmla="*/ 2530674 w 3832826"/>
                <a:gd name="connsiteY626" fmla="*/ 5045994 h 5120141"/>
                <a:gd name="connsiteX627" fmla="*/ 2528571 w 3832826"/>
                <a:gd name="connsiteY627" fmla="*/ 4975856 h 5120141"/>
                <a:gd name="connsiteX628" fmla="*/ 2528571 w 3832826"/>
                <a:gd name="connsiteY628" fmla="*/ 4905717 h 5120141"/>
                <a:gd name="connsiteX629" fmla="*/ 2524363 w 3832826"/>
                <a:gd name="connsiteY629" fmla="*/ 4899705 h 5120141"/>
                <a:gd name="connsiteX630" fmla="*/ 2522260 w 3832826"/>
                <a:gd name="connsiteY630" fmla="*/ 4895697 h 5120141"/>
                <a:gd name="connsiteX631" fmla="*/ 2509638 w 3832826"/>
                <a:gd name="connsiteY631" fmla="*/ 4891689 h 5120141"/>
                <a:gd name="connsiteX632" fmla="*/ 2492809 w 3832826"/>
                <a:gd name="connsiteY632" fmla="*/ 4889685 h 5120141"/>
                <a:gd name="connsiteX633" fmla="*/ 2478083 w 3832826"/>
                <a:gd name="connsiteY633" fmla="*/ 4889685 h 5120141"/>
                <a:gd name="connsiteX634" fmla="*/ 2471772 w 3832826"/>
                <a:gd name="connsiteY634" fmla="*/ 4887681 h 5120141"/>
                <a:gd name="connsiteX635" fmla="*/ 2467565 w 3832826"/>
                <a:gd name="connsiteY635" fmla="*/ 4881669 h 5120141"/>
                <a:gd name="connsiteX636" fmla="*/ 2465461 w 3832826"/>
                <a:gd name="connsiteY636" fmla="*/ 4871649 h 5120141"/>
                <a:gd name="connsiteX637" fmla="*/ 2465461 w 3832826"/>
                <a:gd name="connsiteY637" fmla="*/ 4861629 h 5120141"/>
                <a:gd name="connsiteX638" fmla="*/ 2467565 w 3832826"/>
                <a:gd name="connsiteY638" fmla="*/ 4839586 h 5120141"/>
                <a:gd name="connsiteX639" fmla="*/ 2467565 w 3832826"/>
                <a:gd name="connsiteY639" fmla="*/ 4823554 h 5120141"/>
                <a:gd name="connsiteX640" fmla="*/ 2391834 w 3832826"/>
                <a:gd name="connsiteY640" fmla="*/ 4823554 h 5120141"/>
                <a:gd name="connsiteX641" fmla="*/ 2393938 w 3832826"/>
                <a:gd name="connsiteY641" fmla="*/ 4755419 h 5120141"/>
                <a:gd name="connsiteX642" fmla="*/ 2343450 w 3832826"/>
                <a:gd name="connsiteY642" fmla="*/ 4759427 h 5120141"/>
                <a:gd name="connsiteX643" fmla="*/ 2311896 w 3832826"/>
                <a:gd name="connsiteY643" fmla="*/ 4759427 h 5120141"/>
                <a:gd name="connsiteX644" fmla="*/ 2301378 w 3832826"/>
                <a:gd name="connsiteY644" fmla="*/ 4757423 h 5120141"/>
                <a:gd name="connsiteX645" fmla="*/ 2295067 w 3832826"/>
                <a:gd name="connsiteY645" fmla="*/ 4755419 h 5120141"/>
                <a:gd name="connsiteX646" fmla="*/ 2290860 w 3832826"/>
                <a:gd name="connsiteY646" fmla="*/ 4749407 h 5120141"/>
                <a:gd name="connsiteX647" fmla="*/ 2290860 w 3832826"/>
                <a:gd name="connsiteY647" fmla="*/ 4745399 h 5120141"/>
                <a:gd name="connsiteX648" fmla="*/ 2290860 w 3832826"/>
                <a:gd name="connsiteY648" fmla="*/ 4727364 h 5120141"/>
                <a:gd name="connsiteX649" fmla="*/ 2290860 w 3832826"/>
                <a:gd name="connsiteY649" fmla="*/ 4699308 h 5120141"/>
                <a:gd name="connsiteX650" fmla="*/ 2290860 w 3832826"/>
                <a:gd name="connsiteY650" fmla="*/ 4687284 h 5120141"/>
                <a:gd name="connsiteX651" fmla="*/ 2288756 w 3832826"/>
                <a:gd name="connsiteY651" fmla="*/ 4685280 h 5120141"/>
                <a:gd name="connsiteX652" fmla="*/ 2284549 w 3832826"/>
                <a:gd name="connsiteY652" fmla="*/ 4683276 h 5120141"/>
                <a:gd name="connsiteX653" fmla="*/ 2274030 w 3832826"/>
                <a:gd name="connsiteY653" fmla="*/ 4683276 h 5120141"/>
                <a:gd name="connsiteX654" fmla="*/ 2259305 w 3832826"/>
                <a:gd name="connsiteY654" fmla="*/ 4685280 h 5120141"/>
                <a:gd name="connsiteX655" fmla="*/ 2255098 w 3832826"/>
                <a:gd name="connsiteY655" fmla="*/ 4683276 h 5120141"/>
                <a:gd name="connsiteX656" fmla="*/ 2248787 w 3832826"/>
                <a:gd name="connsiteY656" fmla="*/ 4679268 h 5120141"/>
                <a:gd name="connsiteX657" fmla="*/ 2244579 w 3832826"/>
                <a:gd name="connsiteY657" fmla="*/ 4673257 h 5120141"/>
                <a:gd name="connsiteX658" fmla="*/ 2244579 w 3832826"/>
                <a:gd name="connsiteY658" fmla="*/ 4663237 h 5120141"/>
                <a:gd name="connsiteX659" fmla="*/ 2244579 w 3832826"/>
                <a:gd name="connsiteY659" fmla="*/ 4649209 h 5120141"/>
                <a:gd name="connsiteX660" fmla="*/ 2244579 w 3832826"/>
                <a:gd name="connsiteY660" fmla="*/ 4637185 h 5120141"/>
                <a:gd name="connsiteX661" fmla="*/ 2244579 w 3832826"/>
                <a:gd name="connsiteY661" fmla="*/ 4627165 h 5120141"/>
                <a:gd name="connsiteX662" fmla="*/ 2242476 w 3832826"/>
                <a:gd name="connsiteY662" fmla="*/ 4623157 h 5120141"/>
                <a:gd name="connsiteX663" fmla="*/ 2236165 w 3832826"/>
                <a:gd name="connsiteY663" fmla="*/ 4617145 h 5120141"/>
                <a:gd name="connsiteX664" fmla="*/ 2234061 w 3832826"/>
                <a:gd name="connsiteY664" fmla="*/ 4617145 h 5120141"/>
                <a:gd name="connsiteX665" fmla="*/ 2225647 w 3832826"/>
                <a:gd name="connsiteY665" fmla="*/ 4615141 h 5120141"/>
                <a:gd name="connsiteX666" fmla="*/ 2194092 w 3832826"/>
                <a:gd name="connsiteY666" fmla="*/ 4617145 h 5120141"/>
                <a:gd name="connsiteX667" fmla="*/ 2179367 w 3832826"/>
                <a:gd name="connsiteY667" fmla="*/ 4617145 h 5120141"/>
                <a:gd name="connsiteX668" fmla="*/ 2164641 w 3832826"/>
                <a:gd name="connsiteY668" fmla="*/ 4613137 h 5120141"/>
                <a:gd name="connsiteX669" fmla="*/ 2162538 w 3832826"/>
                <a:gd name="connsiteY669" fmla="*/ 4607126 h 5120141"/>
                <a:gd name="connsiteX670" fmla="*/ 2160434 w 3832826"/>
                <a:gd name="connsiteY670" fmla="*/ 4597106 h 5120141"/>
                <a:gd name="connsiteX671" fmla="*/ 2154123 w 3832826"/>
                <a:gd name="connsiteY671" fmla="*/ 4583078 h 5120141"/>
                <a:gd name="connsiteX672" fmla="*/ 2149916 w 3832826"/>
                <a:gd name="connsiteY672" fmla="*/ 4581074 h 5120141"/>
                <a:gd name="connsiteX673" fmla="*/ 2143605 w 3832826"/>
                <a:gd name="connsiteY673" fmla="*/ 4575062 h 5120141"/>
                <a:gd name="connsiteX674" fmla="*/ 2133087 w 3832826"/>
                <a:gd name="connsiteY674" fmla="*/ 4571054 h 5120141"/>
                <a:gd name="connsiteX675" fmla="*/ 2130983 w 3832826"/>
                <a:gd name="connsiteY675" fmla="*/ 4565042 h 5120141"/>
                <a:gd name="connsiteX676" fmla="*/ 2130983 w 3832826"/>
                <a:gd name="connsiteY676" fmla="*/ 4561034 h 5120141"/>
                <a:gd name="connsiteX677" fmla="*/ 2130983 w 3832826"/>
                <a:gd name="connsiteY677" fmla="*/ 4553018 h 5120141"/>
                <a:gd name="connsiteX678" fmla="*/ 2130983 w 3832826"/>
                <a:gd name="connsiteY678" fmla="*/ 4551015 h 5120141"/>
                <a:gd name="connsiteX679" fmla="*/ 2126776 w 3832826"/>
                <a:gd name="connsiteY679" fmla="*/ 4545003 h 5120141"/>
                <a:gd name="connsiteX680" fmla="*/ 2122568 w 3832826"/>
                <a:gd name="connsiteY680" fmla="*/ 4545003 h 5120141"/>
                <a:gd name="connsiteX681" fmla="*/ 2120465 w 3832826"/>
                <a:gd name="connsiteY681" fmla="*/ 4545003 h 5120141"/>
                <a:gd name="connsiteX682" fmla="*/ 2118361 w 3832826"/>
                <a:gd name="connsiteY682" fmla="*/ 4536987 h 5120141"/>
                <a:gd name="connsiteX683" fmla="*/ 2116258 w 3832826"/>
                <a:gd name="connsiteY683" fmla="*/ 4536987 h 5120141"/>
                <a:gd name="connsiteX684" fmla="*/ 2109947 w 3832826"/>
                <a:gd name="connsiteY684" fmla="*/ 4536987 h 5120141"/>
                <a:gd name="connsiteX685" fmla="*/ 2107843 w 3832826"/>
                <a:gd name="connsiteY685" fmla="*/ 4536987 h 5120141"/>
                <a:gd name="connsiteX686" fmla="*/ 2107843 w 3832826"/>
                <a:gd name="connsiteY686" fmla="*/ 4534983 h 5120141"/>
                <a:gd name="connsiteX687" fmla="*/ 2105739 w 3832826"/>
                <a:gd name="connsiteY687" fmla="*/ 4500915 h 5120141"/>
                <a:gd name="connsiteX688" fmla="*/ 2105739 w 3832826"/>
                <a:gd name="connsiteY688" fmla="*/ 4476868 h 5120141"/>
                <a:gd name="connsiteX689" fmla="*/ 2101532 w 3832826"/>
                <a:gd name="connsiteY689" fmla="*/ 4470856 h 5120141"/>
                <a:gd name="connsiteX690" fmla="*/ 2099428 w 3832826"/>
                <a:gd name="connsiteY690" fmla="*/ 4466848 h 5120141"/>
                <a:gd name="connsiteX691" fmla="*/ 2095221 w 3832826"/>
                <a:gd name="connsiteY691" fmla="*/ 4466848 h 5120141"/>
                <a:gd name="connsiteX692" fmla="*/ 2063667 w 3832826"/>
                <a:gd name="connsiteY692" fmla="*/ 4470856 h 5120141"/>
                <a:gd name="connsiteX693" fmla="*/ 2042630 w 3832826"/>
                <a:gd name="connsiteY693" fmla="*/ 4470856 h 5120141"/>
                <a:gd name="connsiteX694" fmla="*/ 2036319 w 3832826"/>
                <a:gd name="connsiteY694" fmla="*/ 4466848 h 5120141"/>
                <a:gd name="connsiteX695" fmla="*/ 2032112 w 3832826"/>
                <a:gd name="connsiteY695" fmla="*/ 4466848 h 5120141"/>
                <a:gd name="connsiteX696" fmla="*/ 2027905 w 3832826"/>
                <a:gd name="connsiteY696" fmla="*/ 4456828 h 5120141"/>
                <a:gd name="connsiteX697" fmla="*/ 2027905 w 3832826"/>
                <a:gd name="connsiteY697" fmla="*/ 4444804 h 5120141"/>
                <a:gd name="connsiteX698" fmla="*/ 2027905 w 3832826"/>
                <a:gd name="connsiteY698" fmla="*/ 4420757 h 5120141"/>
                <a:gd name="connsiteX699" fmla="*/ 2027905 w 3832826"/>
                <a:gd name="connsiteY699" fmla="*/ 4376298 h 5120141"/>
                <a:gd name="connsiteX700" fmla="*/ 2025801 w 3832826"/>
                <a:gd name="connsiteY700" fmla="*/ 4376298 h 5120141"/>
                <a:gd name="connsiteX701" fmla="*/ 2025801 w 3832826"/>
                <a:gd name="connsiteY701" fmla="*/ 4328574 h 5120141"/>
                <a:gd name="connsiteX702" fmla="*/ 2025801 w 3832826"/>
                <a:gd name="connsiteY702" fmla="*/ 4326856 h 5120141"/>
                <a:gd name="connsiteX703" fmla="*/ 2021595 w 3832826"/>
                <a:gd name="connsiteY703" fmla="*/ 4326570 h 5120141"/>
                <a:gd name="connsiteX704" fmla="*/ 2015284 w 3832826"/>
                <a:gd name="connsiteY704" fmla="*/ 4326570 h 5120141"/>
                <a:gd name="connsiteX705" fmla="*/ 2017387 w 3832826"/>
                <a:gd name="connsiteY705" fmla="*/ 4316550 h 5120141"/>
                <a:gd name="connsiteX706" fmla="*/ 2015284 w 3832826"/>
                <a:gd name="connsiteY706" fmla="*/ 4310539 h 5120141"/>
                <a:gd name="connsiteX707" fmla="*/ 2008973 w 3832826"/>
                <a:gd name="connsiteY707" fmla="*/ 4306531 h 5120141"/>
                <a:gd name="connsiteX708" fmla="*/ 2004765 w 3832826"/>
                <a:gd name="connsiteY708" fmla="*/ 4300519 h 5120141"/>
                <a:gd name="connsiteX709" fmla="*/ 1994247 w 3832826"/>
                <a:gd name="connsiteY709" fmla="*/ 4286491 h 5120141"/>
                <a:gd name="connsiteX710" fmla="*/ 1987936 w 3832826"/>
                <a:gd name="connsiteY710" fmla="*/ 4270459 h 5120141"/>
                <a:gd name="connsiteX711" fmla="*/ 1987936 w 3832826"/>
                <a:gd name="connsiteY711" fmla="*/ 4262443 h 5120141"/>
                <a:gd name="connsiteX712" fmla="*/ 1987936 w 3832826"/>
                <a:gd name="connsiteY712" fmla="*/ 4258435 h 5120141"/>
                <a:gd name="connsiteX713" fmla="*/ 1987936 w 3832826"/>
                <a:gd name="connsiteY713" fmla="*/ 4252423 h 5120141"/>
                <a:gd name="connsiteX714" fmla="*/ 1983729 w 3832826"/>
                <a:gd name="connsiteY714" fmla="*/ 4246412 h 5120141"/>
                <a:gd name="connsiteX715" fmla="*/ 1978277 w 3832826"/>
                <a:gd name="connsiteY715" fmla="*/ 4241218 h 5120141"/>
                <a:gd name="connsiteX716" fmla="*/ 1947935 w 3832826"/>
                <a:gd name="connsiteY716" fmla="*/ 4232386 h 5120141"/>
                <a:gd name="connsiteX717" fmla="*/ 1941632 w 3832826"/>
                <a:gd name="connsiteY717" fmla="*/ 4228376 h 5120141"/>
                <a:gd name="connsiteX718" fmla="*/ 1933169 w 3832826"/>
                <a:gd name="connsiteY718" fmla="*/ 4220356 h 5120141"/>
                <a:gd name="connsiteX719" fmla="*/ 1922725 w 3832826"/>
                <a:gd name="connsiteY719" fmla="*/ 4208326 h 5120141"/>
                <a:gd name="connsiteX720" fmla="*/ 1910120 w 3832826"/>
                <a:gd name="connsiteY720" fmla="*/ 4196297 h 5120141"/>
                <a:gd name="connsiteX721" fmla="*/ 1901657 w 3832826"/>
                <a:gd name="connsiteY721" fmla="*/ 4190282 h 5120141"/>
                <a:gd name="connsiteX722" fmla="*/ 1893193 w 3832826"/>
                <a:gd name="connsiteY722" fmla="*/ 4186272 h 5120141"/>
                <a:gd name="connsiteX723" fmla="*/ 1867983 w 3832826"/>
                <a:gd name="connsiteY723" fmla="*/ 4178252 h 5120141"/>
                <a:gd name="connsiteX724" fmla="*/ 1857539 w 3832826"/>
                <a:gd name="connsiteY724" fmla="*/ 4172237 h 5120141"/>
                <a:gd name="connsiteX725" fmla="*/ 1842773 w 3832826"/>
                <a:gd name="connsiteY725" fmla="*/ 4166222 h 5120141"/>
                <a:gd name="connsiteX726" fmla="*/ 1804958 w 3832826"/>
                <a:gd name="connsiteY726" fmla="*/ 4138152 h 5120141"/>
                <a:gd name="connsiteX727" fmla="*/ 1800637 w 3832826"/>
                <a:gd name="connsiteY727" fmla="*/ 4138152 h 5120141"/>
                <a:gd name="connsiteX728" fmla="*/ 1796495 w 3832826"/>
                <a:gd name="connsiteY728" fmla="*/ 4138152 h 5120141"/>
                <a:gd name="connsiteX729" fmla="*/ 1790192 w 3832826"/>
                <a:gd name="connsiteY729" fmla="*/ 4138152 h 5120141"/>
                <a:gd name="connsiteX730" fmla="*/ 1786051 w 3832826"/>
                <a:gd name="connsiteY730" fmla="*/ 4132138 h 5120141"/>
                <a:gd name="connsiteX731" fmla="*/ 1783890 w 3832826"/>
                <a:gd name="connsiteY731" fmla="*/ 4126123 h 5120141"/>
                <a:gd name="connsiteX732" fmla="*/ 1775427 w 3832826"/>
                <a:gd name="connsiteY732" fmla="*/ 4120108 h 5120141"/>
                <a:gd name="connsiteX733" fmla="*/ 1769124 w 3832826"/>
                <a:gd name="connsiteY733" fmla="*/ 4118103 h 5120141"/>
                <a:gd name="connsiteX734" fmla="*/ 1762822 w 3832826"/>
                <a:gd name="connsiteY734" fmla="*/ 4112088 h 5120141"/>
                <a:gd name="connsiteX735" fmla="*/ 1756519 w 3832826"/>
                <a:gd name="connsiteY735" fmla="*/ 4100058 h 5120141"/>
                <a:gd name="connsiteX736" fmla="*/ 1752377 w 3832826"/>
                <a:gd name="connsiteY736" fmla="*/ 4090167 h 5120141"/>
                <a:gd name="connsiteX737" fmla="*/ 1741753 w 3832826"/>
                <a:gd name="connsiteY737" fmla="*/ 4086157 h 5120141"/>
                <a:gd name="connsiteX738" fmla="*/ 1733470 w 3832826"/>
                <a:gd name="connsiteY738" fmla="*/ 4082147 h 5120141"/>
                <a:gd name="connsiteX739" fmla="*/ 1716543 w 3832826"/>
                <a:gd name="connsiteY739" fmla="*/ 4070117 h 5120141"/>
                <a:gd name="connsiteX740" fmla="*/ 1706099 w 3832826"/>
                <a:gd name="connsiteY740" fmla="*/ 4060092 h 5120141"/>
                <a:gd name="connsiteX741" fmla="*/ 1701777 w 3832826"/>
                <a:gd name="connsiteY741" fmla="*/ 4052072 h 5120141"/>
                <a:gd name="connsiteX742" fmla="*/ 1699797 w 3832826"/>
                <a:gd name="connsiteY742" fmla="*/ 4048062 h 5120141"/>
                <a:gd name="connsiteX743" fmla="*/ 1695475 w 3832826"/>
                <a:gd name="connsiteY743" fmla="*/ 4038038 h 5120141"/>
                <a:gd name="connsiteX744" fmla="*/ 1699797 w 3832826"/>
                <a:gd name="connsiteY744" fmla="*/ 4030018 h 5120141"/>
                <a:gd name="connsiteX745" fmla="*/ 1701777 w 3832826"/>
                <a:gd name="connsiteY745" fmla="*/ 4021998 h 5120141"/>
                <a:gd name="connsiteX746" fmla="*/ 1706099 w 3832826"/>
                <a:gd name="connsiteY746" fmla="*/ 4017988 h 5120141"/>
                <a:gd name="connsiteX747" fmla="*/ 1714382 w 3832826"/>
                <a:gd name="connsiteY747" fmla="*/ 4007963 h 5120141"/>
                <a:gd name="connsiteX748" fmla="*/ 1716543 w 3832826"/>
                <a:gd name="connsiteY748" fmla="*/ 4001948 h 5120141"/>
                <a:gd name="connsiteX749" fmla="*/ 1720685 w 3832826"/>
                <a:gd name="connsiteY749" fmla="*/ 3997938 h 5120141"/>
                <a:gd name="connsiteX750" fmla="*/ 1716543 w 3832826"/>
                <a:gd name="connsiteY750" fmla="*/ 3991923 h 5120141"/>
                <a:gd name="connsiteX751" fmla="*/ 1712402 w 3832826"/>
                <a:gd name="connsiteY751" fmla="*/ 3985908 h 5120141"/>
                <a:gd name="connsiteX752" fmla="*/ 1701777 w 3832826"/>
                <a:gd name="connsiteY752" fmla="*/ 3975883 h 5120141"/>
                <a:gd name="connsiteX753" fmla="*/ 1695475 w 3832826"/>
                <a:gd name="connsiteY753" fmla="*/ 3973878 h 5120141"/>
                <a:gd name="connsiteX754" fmla="*/ 1691333 w 3832826"/>
                <a:gd name="connsiteY754" fmla="*/ 3965859 h 5120141"/>
                <a:gd name="connsiteX755" fmla="*/ 1689172 w 3832826"/>
                <a:gd name="connsiteY755" fmla="*/ 3957839 h 5120141"/>
                <a:gd name="connsiteX756" fmla="*/ 1691333 w 3832826"/>
                <a:gd name="connsiteY756" fmla="*/ 3953829 h 5120141"/>
                <a:gd name="connsiteX757" fmla="*/ 1691333 w 3832826"/>
                <a:gd name="connsiteY757" fmla="*/ 3945809 h 5120141"/>
                <a:gd name="connsiteX758" fmla="*/ 1689172 w 3832826"/>
                <a:gd name="connsiteY758" fmla="*/ 3937789 h 5120141"/>
                <a:gd name="connsiteX759" fmla="*/ 1687192 w 3832826"/>
                <a:gd name="connsiteY759" fmla="*/ 3927764 h 5120141"/>
                <a:gd name="connsiteX760" fmla="*/ 1689172 w 3832826"/>
                <a:gd name="connsiteY760" fmla="*/ 3919744 h 5120141"/>
                <a:gd name="connsiteX761" fmla="*/ 1691333 w 3832826"/>
                <a:gd name="connsiteY761" fmla="*/ 3915734 h 5120141"/>
                <a:gd name="connsiteX762" fmla="*/ 1699797 w 3832826"/>
                <a:gd name="connsiteY762" fmla="*/ 3909719 h 5120141"/>
                <a:gd name="connsiteX763" fmla="*/ 1714382 w 3832826"/>
                <a:gd name="connsiteY763" fmla="*/ 3905709 h 5120141"/>
                <a:gd name="connsiteX764" fmla="*/ 1731309 w 3832826"/>
                <a:gd name="connsiteY764" fmla="*/ 3899694 h 5120141"/>
                <a:gd name="connsiteX765" fmla="*/ 1735451 w 3832826"/>
                <a:gd name="connsiteY765" fmla="*/ 3897690 h 5120141"/>
                <a:gd name="connsiteX766" fmla="*/ 1737612 w 3832826"/>
                <a:gd name="connsiteY766" fmla="*/ 3893680 h 5120141"/>
                <a:gd name="connsiteX767" fmla="*/ 1746075 w 3832826"/>
                <a:gd name="connsiteY767" fmla="*/ 3879645 h 5120141"/>
                <a:gd name="connsiteX768" fmla="*/ 1748056 w 3832826"/>
                <a:gd name="connsiteY768" fmla="*/ 3863605 h 5120141"/>
                <a:gd name="connsiteX769" fmla="*/ 1752377 w 3832826"/>
                <a:gd name="connsiteY769" fmla="*/ 3843555 h 5120141"/>
                <a:gd name="connsiteX770" fmla="*/ 1754358 w 3832826"/>
                <a:gd name="connsiteY770" fmla="*/ 3823639 h 5120141"/>
                <a:gd name="connsiteX771" fmla="*/ 1752377 w 3832826"/>
                <a:gd name="connsiteY771" fmla="*/ 3803590 h 5120141"/>
                <a:gd name="connsiteX772" fmla="*/ 1748056 w 3832826"/>
                <a:gd name="connsiteY772" fmla="*/ 3785545 h 5120141"/>
                <a:gd name="connsiteX773" fmla="*/ 1746075 w 3832826"/>
                <a:gd name="connsiteY773" fmla="*/ 3773515 h 5120141"/>
                <a:gd name="connsiteX774" fmla="*/ 1737612 w 3832826"/>
                <a:gd name="connsiteY774" fmla="*/ 3761485 h 5120141"/>
                <a:gd name="connsiteX775" fmla="*/ 1727167 w 3832826"/>
                <a:gd name="connsiteY775" fmla="*/ 3747450 h 5120141"/>
                <a:gd name="connsiteX776" fmla="*/ 1695475 w 3832826"/>
                <a:gd name="connsiteY776" fmla="*/ 3721385 h 5120141"/>
                <a:gd name="connsiteX777" fmla="*/ 1661802 w 3832826"/>
                <a:gd name="connsiteY777" fmla="*/ 3695321 h 5120141"/>
                <a:gd name="connsiteX778" fmla="*/ 1636592 w 3832826"/>
                <a:gd name="connsiteY778" fmla="*/ 3675271 h 5120141"/>
                <a:gd name="connsiteX779" fmla="*/ 1519948 w 3832826"/>
                <a:gd name="connsiteY779" fmla="*/ 3568035 h 5120141"/>
                <a:gd name="connsiteX780" fmla="*/ 1518826 w 3832826"/>
                <a:gd name="connsiteY780" fmla="*/ 3569070 h 5120141"/>
                <a:gd name="connsiteX781" fmla="*/ 1510411 w 3832826"/>
                <a:gd name="connsiteY781" fmla="*/ 3561053 h 5120141"/>
                <a:gd name="connsiteX782" fmla="*/ 1497790 w 3832826"/>
                <a:gd name="connsiteY782" fmla="*/ 3553037 h 5120141"/>
                <a:gd name="connsiteX783" fmla="*/ 1468339 w 3832826"/>
                <a:gd name="connsiteY783" fmla="*/ 3537005 h 5120141"/>
                <a:gd name="connsiteX784" fmla="*/ 1409437 w 3832826"/>
                <a:gd name="connsiteY784" fmla="*/ 3514942 h 5120141"/>
                <a:gd name="connsiteX785" fmla="*/ 1386297 w 3832826"/>
                <a:gd name="connsiteY785" fmla="*/ 3504939 h 5120141"/>
                <a:gd name="connsiteX786" fmla="*/ 1365260 w 3832826"/>
                <a:gd name="connsiteY786" fmla="*/ 3492950 h 5120141"/>
                <a:gd name="connsiteX787" fmla="*/ 1363157 w 3832826"/>
                <a:gd name="connsiteY787" fmla="*/ 3486920 h 5120141"/>
                <a:gd name="connsiteX788" fmla="*/ 1361053 w 3832826"/>
                <a:gd name="connsiteY788" fmla="*/ 3482877 h 5120141"/>
                <a:gd name="connsiteX789" fmla="*/ 1358949 w 3832826"/>
                <a:gd name="connsiteY789" fmla="*/ 3474861 h 5120141"/>
                <a:gd name="connsiteX790" fmla="*/ 1354742 w 3832826"/>
                <a:gd name="connsiteY790" fmla="*/ 3470888 h 5120141"/>
                <a:gd name="connsiteX791" fmla="*/ 1340017 w 3832826"/>
                <a:gd name="connsiteY791" fmla="*/ 3446839 h 5120141"/>
                <a:gd name="connsiteX792" fmla="*/ 1318980 w 3832826"/>
                <a:gd name="connsiteY792" fmla="*/ 3426763 h 5120141"/>
                <a:gd name="connsiteX793" fmla="*/ 1316877 w 3832826"/>
                <a:gd name="connsiteY793" fmla="*/ 3426763 h 5120141"/>
                <a:gd name="connsiteX794" fmla="*/ 1310566 w 3832826"/>
                <a:gd name="connsiteY794" fmla="*/ 3422790 h 5120141"/>
                <a:gd name="connsiteX795" fmla="*/ 1300047 w 3832826"/>
                <a:gd name="connsiteY795" fmla="*/ 3416760 h 5120141"/>
                <a:gd name="connsiteX796" fmla="*/ 1297944 w 3832826"/>
                <a:gd name="connsiteY796" fmla="*/ 3414774 h 5120141"/>
                <a:gd name="connsiteX797" fmla="*/ 1297944 w 3832826"/>
                <a:gd name="connsiteY797" fmla="*/ 3410730 h 5120141"/>
                <a:gd name="connsiteX798" fmla="*/ 1300047 w 3832826"/>
                <a:gd name="connsiteY798" fmla="*/ 3402714 h 5120141"/>
                <a:gd name="connsiteX799" fmla="*/ 1308462 w 3832826"/>
                <a:gd name="connsiteY799" fmla="*/ 3394698 h 5120141"/>
                <a:gd name="connsiteX800" fmla="*/ 1297944 w 3832826"/>
                <a:gd name="connsiteY800" fmla="*/ 3380722 h 5120141"/>
                <a:gd name="connsiteX801" fmla="*/ 1291633 w 3832826"/>
                <a:gd name="connsiteY801" fmla="*/ 3366676 h 5120141"/>
                <a:gd name="connsiteX802" fmla="*/ 1291633 w 3832826"/>
                <a:gd name="connsiteY802" fmla="*/ 3354616 h 5120141"/>
                <a:gd name="connsiteX803" fmla="*/ 1295840 w 3832826"/>
                <a:gd name="connsiteY803" fmla="*/ 3344614 h 5120141"/>
                <a:gd name="connsiteX804" fmla="*/ 1300047 w 3832826"/>
                <a:gd name="connsiteY804" fmla="*/ 3334611 h 5120141"/>
                <a:gd name="connsiteX805" fmla="*/ 1306358 w 3832826"/>
                <a:gd name="connsiteY805" fmla="*/ 3324608 h 5120141"/>
                <a:gd name="connsiteX806" fmla="*/ 1308462 w 3832826"/>
                <a:gd name="connsiteY806" fmla="*/ 3318578 h 5120141"/>
                <a:gd name="connsiteX807" fmla="*/ 1306358 w 3832826"/>
                <a:gd name="connsiteY807" fmla="*/ 3310562 h 5120141"/>
                <a:gd name="connsiteX808" fmla="*/ 1302151 w 3832826"/>
                <a:gd name="connsiteY808" fmla="*/ 3302546 h 5120141"/>
                <a:gd name="connsiteX809" fmla="*/ 1295840 w 3832826"/>
                <a:gd name="connsiteY809" fmla="*/ 3294529 h 5120141"/>
                <a:gd name="connsiteX810" fmla="*/ 1295840 w 3832826"/>
                <a:gd name="connsiteY810" fmla="*/ 3290486 h 5120141"/>
                <a:gd name="connsiteX811" fmla="*/ 1291633 w 3832826"/>
                <a:gd name="connsiteY811" fmla="*/ 3288499 h 5120141"/>
                <a:gd name="connsiteX812" fmla="*/ 1297944 w 3832826"/>
                <a:gd name="connsiteY812" fmla="*/ 3280483 h 5120141"/>
                <a:gd name="connsiteX813" fmla="*/ 1302151 w 3832826"/>
                <a:gd name="connsiteY813" fmla="*/ 3272467 h 5120141"/>
                <a:gd name="connsiteX814" fmla="*/ 1306358 w 3832826"/>
                <a:gd name="connsiteY814" fmla="*/ 3262464 h 5120141"/>
                <a:gd name="connsiteX815" fmla="*/ 1306358 w 3832826"/>
                <a:gd name="connsiteY815" fmla="*/ 3258421 h 5120141"/>
                <a:gd name="connsiteX816" fmla="*/ 1302151 w 3832826"/>
                <a:gd name="connsiteY816" fmla="*/ 3252462 h 5120141"/>
                <a:gd name="connsiteX817" fmla="*/ 1302205 w 3832826"/>
                <a:gd name="connsiteY817" fmla="*/ 3250392 h 5120141"/>
                <a:gd name="connsiteX818" fmla="*/ 1302151 w 3832826"/>
                <a:gd name="connsiteY818" fmla="*/ 3250439 h 5120141"/>
                <a:gd name="connsiteX819" fmla="*/ 1270596 w 3832826"/>
                <a:gd name="connsiteY819" fmla="*/ 3222383 h 5120141"/>
                <a:gd name="connsiteX820" fmla="*/ 1268493 w 3832826"/>
                <a:gd name="connsiteY820" fmla="*/ 3218375 h 5120141"/>
                <a:gd name="connsiteX821" fmla="*/ 1264285 w 3832826"/>
                <a:gd name="connsiteY821" fmla="*/ 3218375 h 5120141"/>
                <a:gd name="connsiteX822" fmla="*/ 1257974 w 3832826"/>
                <a:gd name="connsiteY822" fmla="*/ 3220379 h 5120141"/>
                <a:gd name="connsiteX823" fmla="*/ 1253767 w 3832826"/>
                <a:gd name="connsiteY823" fmla="*/ 3222383 h 5120141"/>
                <a:gd name="connsiteX824" fmla="*/ 1245353 w 3832826"/>
                <a:gd name="connsiteY824" fmla="*/ 3222383 h 5120141"/>
                <a:gd name="connsiteX825" fmla="*/ 1228523 w 3832826"/>
                <a:gd name="connsiteY825" fmla="*/ 3220379 h 5120141"/>
                <a:gd name="connsiteX826" fmla="*/ 1207487 w 3832826"/>
                <a:gd name="connsiteY826" fmla="*/ 3218375 h 5120141"/>
                <a:gd name="connsiteX827" fmla="*/ 1201176 w 3832826"/>
                <a:gd name="connsiteY827" fmla="*/ 3218375 h 5120141"/>
                <a:gd name="connsiteX828" fmla="*/ 1192761 w 3832826"/>
                <a:gd name="connsiteY828" fmla="*/ 3220379 h 5120141"/>
                <a:gd name="connsiteX829" fmla="*/ 1190658 w 3832826"/>
                <a:gd name="connsiteY829" fmla="*/ 3226391 h 5120141"/>
                <a:gd name="connsiteX830" fmla="*/ 1192761 w 3832826"/>
                <a:gd name="connsiteY830" fmla="*/ 3236411 h 5120141"/>
                <a:gd name="connsiteX831" fmla="*/ 1182243 w 3832826"/>
                <a:gd name="connsiteY831" fmla="*/ 3236411 h 5120141"/>
                <a:gd name="connsiteX832" fmla="*/ 1175932 w 3832826"/>
                <a:gd name="connsiteY832" fmla="*/ 3230399 h 5120141"/>
                <a:gd name="connsiteX833" fmla="*/ 1171725 w 3832826"/>
                <a:gd name="connsiteY833" fmla="*/ 3222383 h 5120141"/>
                <a:gd name="connsiteX834" fmla="*/ 1169621 w 3832826"/>
                <a:gd name="connsiteY834" fmla="*/ 3216371 h 5120141"/>
                <a:gd name="connsiteX835" fmla="*/ 1161207 w 3832826"/>
                <a:gd name="connsiteY835" fmla="*/ 3196332 h 5120141"/>
                <a:gd name="connsiteX836" fmla="*/ 1159103 w 3832826"/>
                <a:gd name="connsiteY836" fmla="*/ 3186312 h 5120141"/>
                <a:gd name="connsiteX837" fmla="*/ 1150689 w 3832826"/>
                <a:gd name="connsiteY837" fmla="*/ 3180300 h 5120141"/>
                <a:gd name="connsiteX838" fmla="*/ 1142274 w 3832826"/>
                <a:gd name="connsiteY838" fmla="*/ 3172284 h 5120141"/>
                <a:gd name="connsiteX839" fmla="*/ 1138067 w 3832826"/>
                <a:gd name="connsiteY839" fmla="*/ 3166272 h 5120141"/>
                <a:gd name="connsiteX840" fmla="*/ 1133859 w 3832826"/>
                <a:gd name="connsiteY840" fmla="*/ 3156253 h 5120141"/>
                <a:gd name="connsiteX841" fmla="*/ 1133859 w 3832826"/>
                <a:gd name="connsiteY841" fmla="*/ 3144229 h 5120141"/>
                <a:gd name="connsiteX842" fmla="*/ 1138067 w 3832826"/>
                <a:gd name="connsiteY842" fmla="*/ 3130201 h 5120141"/>
                <a:gd name="connsiteX843" fmla="*/ 1142274 w 3832826"/>
                <a:gd name="connsiteY843" fmla="*/ 3126193 h 5120141"/>
                <a:gd name="connsiteX844" fmla="*/ 1148585 w 3832826"/>
                <a:gd name="connsiteY844" fmla="*/ 3124189 h 5120141"/>
                <a:gd name="connsiteX845" fmla="*/ 1154896 w 3832826"/>
                <a:gd name="connsiteY845" fmla="*/ 3118177 h 5120141"/>
                <a:gd name="connsiteX846" fmla="*/ 1161207 w 3832826"/>
                <a:gd name="connsiteY846" fmla="*/ 3110161 h 5120141"/>
                <a:gd name="connsiteX847" fmla="*/ 1163310 w 3832826"/>
                <a:gd name="connsiteY847" fmla="*/ 3106153 h 5120141"/>
                <a:gd name="connsiteX848" fmla="*/ 1161207 w 3832826"/>
                <a:gd name="connsiteY848" fmla="*/ 3090122 h 5120141"/>
                <a:gd name="connsiteX849" fmla="*/ 1159103 w 3832826"/>
                <a:gd name="connsiteY849" fmla="*/ 3076094 h 5120141"/>
                <a:gd name="connsiteX850" fmla="*/ 1159103 w 3832826"/>
                <a:gd name="connsiteY850" fmla="*/ 3068078 h 5120141"/>
                <a:gd name="connsiteX851" fmla="*/ 1159103 w 3832826"/>
                <a:gd name="connsiteY851" fmla="*/ 3060062 h 5120141"/>
                <a:gd name="connsiteX852" fmla="*/ 1161207 w 3832826"/>
                <a:gd name="connsiteY852" fmla="*/ 3056054 h 5120141"/>
                <a:gd name="connsiteX853" fmla="*/ 1159103 w 3832826"/>
                <a:gd name="connsiteY853" fmla="*/ 3050042 h 5120141"/>
                <a:gd name="connsiteX854" fmla="*/ 1154896 w 3832826"/>
                <a:gd name="connsiteY854" fmla="*/ 3048038 h 5120141"/>
                <a:gd name="connsiteX855" fmla="*/ 1150689 w 3832826"/>
                <a:gd name="connsiteY855" fmla="*/ 3046035 h 5120141"/>
                <a:gd name="connsiteX856" fmla="*/ 1140170 w 3832826"/>
                <a:gd name="connsiteY856" fmla="*/ 3044031 h 5120141"/>
                <a:gd name="connsiteX857" fmla="*/ 1133859 w 3832826"/>
                <a:gd name="connsiteY857" fmla="*/ 3040023 h 5120141"/>
                <a:gd name="connsiteX858" fmla="*/ 1131756 w 3832826"/>
                <a:gd name="connsiteY858" fmla="*/ 3038019 h 5120141"/>
                <a:gd name="connsiteX859" fmla="*/ 1127548 w 3832826"/>
                <a:gd name="connsiteY859" fmla="*/ 3030003 h 5120141"/>
                <a:gd name="connsiteX860" fmla="*/ 1123341 w 3832826"/>
                <a:gd name="connsiteY860" fmla="*/ 3023991 h 5120141"/>
                <a:gd name="connsiteX861" fmla="*/ 1127548 w 3832826"/>
                <a:gd name="connsiteY861" fmla="*/ 3015975 h 5120141"/>
                <a:gd name="connsiteX862" fmla="*/ 1127548 w 3832826"/>
                <a:gd name="connsiteY862" fmla="*/ 3007959 h 5120141"/>
                <a:gd name="connsiteX863" fmla="*/ 1121238 w 3832826"/>
                <a:gd name="connsiteY863" fmla="*/ 2989924 h 5120141"/>
                <a:gd name="connsiteX864" fmla="*/ 1119134 w 3832826"/>
                <a:gd name="connsiteY864" fmla="*/ 2983912 h 5120141"/>
                <a:gd name="connsiteX865" fmla="*/ 1119134 w 3832826"/>
                <a:gd name="connsiteY865" fmla="*/ 2975896 h 5120141"/>
                <a:gd name="connsiteX866" fmla="*/ 1119133 w 3832826"/>
                <a:gd name="connsiteY866" fmla="*/ 2975897 h 5120141"/>
                <a:gd name="connsiteX867" fmla="*/ 1119133 w 3832826"/>
                <a:gd name="connsiteY867" fmla="*/ 2965877 h 5120141"/>
                <a:gd name="connsiteX868" fmla="*/ 1112822 w 3832826"/>
                <a:gd name="connsiteY868" fmla="*/ 2955857 h 5120141"/>
                <a:gd name="connsiteX869" fmla="*/ 1106511 w 3832826"/>
                <a:gd name="connsiteY869" fmla="*/ 2949845 h 5120141"/>
                <a:gd name="connsiteX870" fmla="*/ 1095993 w 3832826"/>
                <a:gd name="connsiteY870" fmla="*/ 2945837 h 5120141"/>
                <a:gd name="connsiteX871" fmla="*/ 1074956 w 3832826"/>
                <a:gd name="connsiteY871" fmla="*/ 2935817 h 5120141"/>
                <a:gd name="connsiteX872" fmla="*/ 1066542 w 3832826"/>
                <a:gd name="connsiteY872" fmla="*/ 2929806 h 5120141"/>
                <a:gd name="connsiteX873" fmla="*/ 1064438 w 3832826"/>
                <a:gd name="connsiteY873" fmla="*/ 2923794 h 5120141"/>
                <a:gd name="connsiteX874" fmla="*/ 1064438 w 3832826"/>
                <a:gd name="connsiteY874" fmla="*/ 2815579 h 5120141"/>
                <a:gd name="connsiteX875" fmla="*/ 1064438 w 3832826"/>
                <a:gd name="connsiteY875" fmla="*/ 2763476 h 5120141"/>
                <a:gd name="connsiteX876" fmla="*/ 1066542 w 3832826"/>
                <a:gd name="connsiteY876" fmla="*/ 2707365 h 5120141"/>
                <a:gd name="connsiteX877" fmla="*/ 1070749 w 3832826"/>
                <a:gd name="connsiteY877" fmla="*/ 2697345 h 5120141"/>
                <a:gd name="connsiteX878" fmla="*/ 1077060 w 3832826"/>
                <a:gd name="connsiteY878" fmla="*/ 2687326 h 5120141"/>
                <a:gd name="connsiteX879" fmla="*/ 1074956 w 3832826"/>
                <a:gd name="connsiteY879" fmla="*/ 2683318 h 5120141"/>
                <a:gd name="connsiteX880" fmla="*/ 1070749 w 3832826"/>
                <a:gd name="connsiteY880" fmla="*/ 2681314 h 5120141"/>
                <a:gd name="connsiteX881" fmla="*/ 1066542 w 3832826"/>
                <a:gd name="connsiteY881" fmla="*/ 2677306 h 5120141"/>
                <a:gd name="connsiteX882" fmla="*/ 1058127 w 3832826"/>
                <a:gd name="connsiteY882" fmla="*/ 2675302 h 5120141"/>
                <a:gd name="connsiteX883" fmla="*/ 1053920 w 3832826"/>
                <a:gd name="connsiteY883" fmla="*/ 2671294 h 5120141"/>
                <a:gd name="connsiteX884" fmla="*/ 1049713 w 3832826"/>
                <a:gd name="connsiteY884" fmla="*/ 2657266 h 5120141"/>
                <a:gd name="connsiteX885" fmla="*/ 1053920 w 3832826"/>
                <a:gd name="connsiteY885" fmla="*/ 2645242 h 5120141"/>
                <a:gd name="connsiteX886" fmla="*/ 1058127 w 3832826"/>
                <a:gd name="connsiteY886" fmla="*/ 2633218 h 5120141"/>
                <a:gd name="connsiteX887" fmla="*/ 1058127 w 3832826"/>
                <a:gd name="connsiteY887" fmla="*/ 2623199 h 5120141"/>
                <a:gd name="connsiteX888" fmla="*/ 1058127 w 3832826"/>
                <a:gd name="connsiteY888" fmla="*/ 2613179 h 5120141"/>
                <a:gd name="connsiteX889" fmla="*/ 1056023 w 3832826"/>
                <a:gd name="connsiteY889" fmla="*/ 2601155 h 5120141"/>
                <a:gd name="connsiteX890" fmla="*/ 1049713 w 3832826"/>
                <a:gd name="connsiteY890" fmla="*/ 2577107 h 5120141"/>
                <a:gd name="connsiteX891" fmla="*/ 1047609 w 3832826"/>
                <a:gd name="connsiteY891" fmla="*/ 2565084 h 5120141"/>
                <a:gd name="connsiteX892" fmla="*/ 1049713 w 3832826"/>
                <a:gd name="connsiteY892" fmla="*/ 2555064 h 5120141"/>
                <a:gd name="connsiteX893" fmla="*/ 1053920 w 3832826"/>
                <a:gd name="connsiteY893" fmla="*/ 2547048 h 5120141"/>
                <a:gd name="connsiteX894" fmla="*/ 1060231 w 3832826"/>
                <a:gd name="connsiteY894" fmla="*/ 2543040 h 5120141"/>
                <a:gd name="connsiteX895" fmla="*/ 1058389 w 3832826"/>
                <a:gd name="connsiteY895" fmla="*/ 2529007 h 5120141"/>
                <a:gd name="connsiteX896" fmla="*/ 1056029 w 3832826"/>
                <a:gd name="connsiteY896" fmla="*/ 2529007 h 5120141"/>
                <a:gd name="connsiteX897" fmla="*/ 1049713 w 3832826"/>
                <a:gd name="connsiteY897" fmla="*/ 2535024 h 5120141"/>
                <a:gd name="connsiteX898" fmla="*/ 1049713 w 3832826"/>
                <a:gd name="connsiteY898" fmla="*/ 2533020 h 5120141"/>
                <a:gd name="connsiteX899" fmla="*/ 1049713 w 3832826"/>
                <a:gd name="connsiteY899" fmla="*/ 2529007 h 5120141"/>
                <a:gd name="connsiteX900" fmla="*/ 904562 w 3832826"/>
                <a:gd name="connsiteY900" fmla="*/ 2529007 h 5120141"/>
                <a:gd name="connsiteX901" fmla="*/ 904562 w 3832826"/>
                <a:gd name="connsiteY901" fmla="*/ 2129394 h 5120141"/>
                <a:gd name="connsiteX902" fmla="*/ 889837 w 3832826"/>
                <a:gd name="connsiteY902" fmla="*/ 2130219 h 5120141"/>
                <a:gd name="connsiteX903" fmla="*/ 868800 w 3832826"/>
                <a:gd name="connsiteY903" fmla="*/ 2132223 h 5120141"/>
                <a:gd name="connsiteX904" fmla="*/ 841453 w 3832826"/>
                <a:gd name="connsiteY904" fmla="*/ 2130219 h 5120141"/>
                <a:gd name="connsiteX905" fmla="*/ 816209 w 3832826"/>
                <a:gd name="connsiteY905" fmla="*/ 2132223 h 5120141"/>
                <a:gd name="connsiteX906" fmla="*/ 793069 w 3832826"/>
                <a:gd name="connsiteY906" fmla="*/ 2140239 h 5120141"/>
                <a:gd name="connsiteX907" fmla="*/ 769929 w 3832826"/>
                <a:gd name="connsiteY907" fmla="*/ 2150258 h 5120141"/>
                <a:gd name="connsiteX908" fmla="*/ 748892 w 3832826"/>
                <a:gd name="connsiteY908" fmla="*/ 2162282 h 5120141"/>
                <a:gd name="connsiteX909" fmla="*/ 738374 w 3832826"/>
                <a:gd name="connsiteY909" fmla="*/ 2164286 h 5120141"/>
                <a:gd name="connsiteX910" fmla="*/ 732063 w 3832826"/>
                <a:gd name="connsiteY910" fmla="*/ 2164286 h 5120141"/>
                <a:gd name="connsiteX911" fmla="*/ 725752 w 3832826"/>
                <a:gd name="connsiteY911" fmla="*/ 2162282 h 5120141"/>
                <a:gd name="connsiteX912" fmla="*/ 704716 w 3832826"/>
                <a:gd name="connsiteY912" fmla="*/ 2152262 h 5120141"/>
                <a:gd name="connsiteX913" fmla="*/ 692094 w 3832826"/>
                <a:gd name="connsiteY913" fmla="*/ 2150258 h 5120141"/>
                <a:gd name="connsiteX914" fmla="*/ 677369 w 3832826"/>
                <a:gd name="connsiteY914" fmla="*/ 2150258 h 5120141"/>
                <a:gd name="connsiteX915" fmla="*/ 677369 w 3832826"/>
                <a:gd name="connsiteY915" fmla="*/ 2140239 h 5120141"/>
                <a:gd name="connsiteX916" fmla="*/ 675265 w 3832826"/>
                <a:gd name="connsiteY916" fmla="*/ 2128215 h 5120141"/>
                <a:gd name="connsiteX917" fmla="*/ 664747 w 3832826"/>
                <a:gd name="connsiteY917" fmla="*/ 2104167 h 5120141"/>
                <a:gd name="connsiteX918" fmla="*/ 643710 w 3832826"/>
                <a:gd name="connsiteY918" fmla="*/ 2062084 h 5120141"/>
                <a:gd name="connsiteX919" fmla="*/ 639503 w 3832826"/>
                <a:gd name="connsiteY919" fmla="*/ 2060080 h 5120141"/>
                <a:gd name="connsiteX920" fmla="*/ 633192 w 3832826"/>
                <a:gd name="connsiteY920" fmla="*/ 2056072 h 5120141"/>
                <a:gd name="connsiteX921" fmla="*/ 635296 w 3832826"/>
                <a:gd name="connsiteY921" fmla="*/ 2050060 h 5120141"/>
                <a:gd name="connsiteX922" fmla="*/ 635296 w 3832826"/>
                <a:gd name="connsiteY922" fmla="*/ 2042044 h 5120141"/>
                <a:gd name="connsiteX923" fmla="*/ 624777 w 3832826"/>
                <a:gd name="connsiteY923" fmla="*/ 2028016 h 5120141"/>
                <a:gd name="connsiteX924" fmla="*/ 612156 w 3832826"/>
                <a:gd name="connsiteY924" fmla="*/ 2009980 h 5120141"/>
                <a:gd name="connsiteX925" fmla="*/ 591119 w 3832826"/>
                <a:gd name="connsiteY925" fmla="*/ 1967897 h 5120141"/>
                <a:gd name="connsiteX926" fmla="*/ 570083 w 3832826"/>
                <a:gd name="connsiteY926" fmla="*/ 1925813 h 5120141"/>
                <a:gd name="connsiteX927" fmla="*/ 561668 w 3832826"/>
                <a:gd name="connsiteY927" fmla="*/ 1909781 h 5120141"/>
                <a:gd name="connsiteX928" fmla="*/ 555357 w 3832826"/>
                <a:gd name="connsiteY928" fmla="*/ 1897757 h 5120141"/>
                <a:gd name="connsiteX929" fmla="*/ 544839 w 3832826"/>
                <a:gd name="connsiteY929" fmla="*/ 1887738 h 5120141"/>
                <a:gd name="connsiteX930" fmla="*/ 530114 w 3832826"/>
                <a:gd name="connsiteY930" fmla="*/ 1879722 h 5120141"/>
                <a:gd name="connsiteX931" fmla="*/ 517492 w 3832826"/>
                <a:gd name="connsiteY931" fmla="*/ 1877718 h 5120141"/>
                <a:gd name="connsiteX932" fmla="*/ 502766 w 3832826"/>
                <a:gd name="connsiteY932" fmla="*/ 1877718 h 5120141"/>
                <a:gd name="connsiteX933" fmla="*/ 488041 w 3832826"/>
                <a:gd name="connsiteY933" fmla="*/ 1877718 h 5120141"/>
                <a:gd name="connsiteX934" fmla="*/ 481730 w 3832826"/>
                <a:gd name="connsiteY934" fmla="*/ 1875714 h 5120141"/>
                <a:gd name="connsiteX935" fmla="*/ 473315 w 3832826"/>
                <a:gd name="connsiteY935" fmla="*/ 1873710 h 5120141"/>
                <a:gd name="connsiteX936" fmla="*/ 473315 w 3832826"/>
                <a:gd name="connsiteY936" fmla="*/ 1857678 h 5120141"/>
                <a:gd name="connsiteX937" fmla="*/ 471212 w 3832826"/>
                <a:gd name="connsiteY937" fmla="*/ 1847658 h 5120141"/>
                <a:gd name="connsiteX938" fmla="*/ 462797 w 3832826"/>
                <a:gd name="connsiteY938" fmla="*/ 1829622 h 5120141"/>
                <a:gd name="connsiteX939" fmla="*/ 462797 w 3832826"/>
                <a:gd name="connsiteY939" fmla="*/ 1823611 h 5120141"/>
                <a:gd name="connsiteX940" fmla="*/ 467004 w 3832826"/>
                <a:gd name="connsiteY940" fmla="*/ 1817599 h 5120141"/>
                <a:gd name="connsiteX941" fmla="*/ 481730 w 3832826"/>
                <a:gd name="connsiteY941" fmla="*/ 1815595 h 5120141"/>
                <a:gd name="connsiteX942" fmla="*/ 491767 w 3832826"/>
                <a:gd name="connsiteY942" fmla="*/ 1801335 h 5120141"/>
                <a:gd name="connsiteX943" fmla="*/ 486799 w 3832826"/>
                <a:gd name="connsiteY943" fmla="*/ 1797561 h 5120141"/>
                <a:gd name="connsiteX944" fmla="*/ 476248 w 3832826"/>
                <a:gd name="connsiteY944" fmla="*/ 1787541 h 5120141"/>
                <a:gd name="connsiteX945" fmla="*/ 465697 w 3832826"/>
                <a:gd name="connsiteY945" fmla="*/ 1779525 h 5120141"/>
                <a:gd name="connsiteX946" fmla="*/ 463587 w 3832826"/>
                <a:gd name="connsiteY946" fmla="*/ 1775517 h 5120141"/>
                <a:gd name="connsiteX947" fmla="*/ 463587 w 3832826"/>
                <a:gd name="connsiteY947" fmla="*/ 1769505 h 5120141"/>
                <a:gd name="connsiteX948" fmla="*/ 463587 w 3832826"/>
                <a:gd name="connsiteY948" fmla="*/ 1757481 h 5120141"/>
                <a:gd name="connsiteX949" fmla="*/ 465697 w 3832826"/>
                <a:gd name="connsiteY949" fmla="*/ 1747461 h 5120141"/>
                <a:gd name="connsiteX950" fmla="*/ 463587 w 3832826"/>
                <a:gd name="connsiteY950" fmla="*/ 1737442 h 5120141"/>
                <a:gd name="connsiteX951" fmla="*/ 455146 w 3832826"/>
                <a:gd name="connsiteY951" fmla="*/ 1735438 h 5120141"/>
                <a:gd name="connsiteX952" fmla="*/ 438265 w 3832826"/>
                <a:gd name="connsiteY952" fmla="*/ 1729426 h 5120141"/>
                <a:gd name="connsiteX953" fmla="*/ 423494 w 3832826"/>
                <a:gd name="connsiteY953" fmla="*/ 1723414 h 5120141"/>
                <a:gd name="connsiteX954" fmla="*/ 415054 w 3832826"/>
                <a:gd name="connsiteY954" fmla="*/ 1717402 h 5120141"/>
                <a:gd name="connsiteX955" fmla="*/ 412943 w 3832826"/>
                <a:gd name="connsiteY955" fmla="*/ 1715398 h 5120141"/>
                <a:gd name="connsiteX956" fmla="*/ 406613 w 3832826"/>
                <a:gd name="connsiteY956" fmla="*/ 1699366 h 5120141"/>
                <a:gd name="connsiteX957" fmla="*/ 404503 w 3832826"/>
                <a:gd name="connsiteY957" fmla="*/ 1677323 h 5120141"/>
                <a:gd name="connsiteX958" fmla="*/ 404503 w 3832826"/>
                <a:gd name="connsiteY958" fmla="*/ 1657283 h 5120141"/>
                <a:gd name="connsiteX959" fmla="*/ 406613 w 3832826"/>
                <a:gd name="connsiteY959" fmla="*/ 1643255 h 5120141"/>
                <a:gd name="connsiteX960" fmla="*/ 410833 w 3832826"/>
                <a:gd name="connsiteY960" fmla="*/ 1637243 h 5120141"/>
                <a:gd name="connsiteX961" fmla="*/ 415054 w 3832826"/>
                <a:gd name="connsiteY961" fmla="*/ 1635239 h 5120141"/>
                <a:gd name="connsiteX962" fmla="*/ 421384 w 3832826"/>
                <a:gd name="connsiteY962" fmla="*/ 1631231 h 5120141"/>
                <a:gd name="connsiteX963" fmla="*/ 421384 w 3832826"/>
                <a:gd name="connsiteY963" fmla="*/ 1621212 h 5120141"/>
                <a:gd name="connsiteX964" fmla="*/ 417164 w 3832826"/>
                <a:gd name="connsiteY964" fmla="*/ 1613196 h 5120141"/>
                <a:gd name="connsiteX965" fmla="*/ 406613 w 3832826"/>
                <a:gd name="connsiteY965" fmla="*/ 1605180 h 5120141"/>
                <a:gd name="connsiteX966" fmla="*/ 391842 w 3832826"/>
                <a:gd name="connsiteY966" fmla="*/ 1593156 h 5120141"/>
                <a:gd name="connsiteX967" fmla="*/ 374961 w 3832826"/>
                <a:gd name="connsiteY967" fmla="*/ 1587144 h 5120141"/>
                <a:gd name="connsiteX968" fmla="*/ 355969 w 3832826"/>
                <a:gd name="connsiteY968" fmla="*/ 1585140 h 5120141"/>
                <a:gd name="connsiteX969" fmla="*/ 317987 w 3832826"/>
                <a:gd name="connsiteY969" fmla="*/ 1581132 h 5120141"/>
                <a:gd name="connsiteX970" fmla="*/ 296885 w 3832826"/>
                <a:gd name="connsiteY970" fmla="*/ 1577124 h 5120141"/>
                <a:gd name="connsiteX971" fmla="*/ 277894 w 3832826"/>
                <a:gd name="connsiteY971" fmla="*/ 1571112 h 5120141"/>
                <a:gd name="connsiteX972" fmla="*/ 263123 w 3832826"/>
                <a:gd name="connsiteY972" fmla="*/ 1561093 h 5120141"/>
                <a:gd name="connsiteX973" fmla="*/ 246242 w 3832826"/>
                <a:gd name="connsiteY973" fmla="*/ 1545061 h 5120141"/>
                <a:gd name="connsiteX974" fmla="*/ 229361 w 3832826"/>
                <a:gd name="connsiteY974" fmla="*/ 1533037 h 5120141"/>
                <a:gd name="connsiteX975" fmla="*/ 220920 w 3832826"/>
                <a:gd name="connsiteY975" fmla="*/ 1523017 h 5120141"/>
                <a:gd name="connsiteX976" fmla="*/ 212479 w 3832826"/>
                <a:gd name="connsiteY976" fmla="*/ 1515001 h 5120141"/>
                <a:gd name="connsiteX977" fmla="*/ 210369 w 3832826"/>
                <a:gd name="connsiteY977" fmla="*/ 1504982 h 5120141"/>
                <a:gd name="connsiteX978" fmla="*/ 208259 w 3832826"/>
                <a:gd name="connsiteY978" fmla="*/ 1494962 h 5120141"/>
                <a:gd name="connsiteX979" fmla="*/ 210369 w 3832826"/>
                <a:gd name="connsiteY979" fmla="*/ 1486946 h 5120141"/>
                <a:gd name="connsiteX980" fmla="*/ 218810 w 3832826"/>
                <a:gd name="connsiteY980" fmla="*/ 1476926 h 5120141"/>
                <a:gd name="connsiteX981" fmla="*/ 223030 w 3832826"/>
                <a:gd name="connsiteY981" fmla="*/ 1472918 h 5120141"/>
                <a:gd name="connsiteX982" fmla="*/ 223030 w 3832826"/>
                <a:gd name="connsiteY982" fmla="*/ 1464902 h 5120141"/>
                <a:gd name="connsiteX983" fmla="*/ 214590 w 3832826"/>
                <a:gd name="connsiteY983" fmla="*/ 1450874 h 5120141"/>
                <a:gd name="connsiteX984" fmla="*/ 212479 w 3832826"/>
                <a:gd name="connsiteY984" fmla="*/ 1444863 h 5120141"/>
                <a:gd name="connsiteX985" fmla="*/ 214590 w 3832826"/>
                <a:gd name="connsiteY985" fmla="*/ 1442859 h 5120141"/>
                <a:gd name="connsiteX986" fmla="*/ 220920 w 3832826"/>
                <a:gd name="connsiteY986" fmla="*/ 1442859 h 5120141"/>
                <a:gd name="connsiteX987" fmla="*/ 235691 w 3832826"/>
                <a:gd name="connsiteY987" fmla="*/ 1444863 h 5120141"/>
                <a:gd name="connsiteX988" fmla="*/ 242685 w 3832826"/>
                <a:gd name="connsiteY988" fmla="*/ 1444830 h 5120141"/>
                <a:gd name="connsiteX989" fmla="*/ 239592 w 3832826"/>
                <a:gd name="connsiteY989" fmla="*/ 1442715 h 5120141"/>
                <a:gd name="connsiteX990" fmla="*/ 240798 w 3832826"/>
                <a:gd name="connsiteY990" fmla="*/ 1440839 h 5120141"/>
                <a:gd name="connsiteX991" fmla="*/ 237706 w 3832826"/>
                <a:gd name="connsiteY991" fmla="*/ 1440853 h 5120141"/>
                <a:gd name="connsiteX992" fmla="*/ 241926 w 3832826"/>
                <a:gd name="connsiteY992" fmla="*/ 1378746 h 5120141"/>
                <a:gd name="connsiteX993" fmla="*/ 241926 w 3832826"/>
                <a:gd name="connsiteY993" fmla="*/ 1346677 h 5120141"/>
                <a:gd name="connsiteX994" fmla="*/ 237706 w 3832826"/>
                <a:gd name="connsiteY994" fmla="*/ 1316605 h 5120141"/>
                <a:gd name="connsiteX995" fmla="*/ 237706 w 3832826"/>
                <a:gd name="connsiteY995" fmla="*/ 1314609 h 5120141"/>
                <a:gd name="connsiteX996" fmla="*/ 237706 w 3832826"/>
                <a:gd name="connsiteY996" fmla="*/ 1300571 h 5120141"/>
                <a:gd name="connsiteX997" fmla="*/ 237706 w 3832826"/>
                <a:gd name="connsiteY997" fmla="*/ 1290558 h 5120141"/>
                <a:gd name="connsiteX998" fmla="*/ 237706 w 3832826"/>
                <a:gd name="connsiteY998" fmla="*/ 1288562 h 5120141"/>
                <a:gd name="connsiteX999" fmla="*/ 235558 w 3832826"/>
                <a:gd name="connsiteY999" fmla="*/ 1286533 h 5120141"/>
                <a:gd name="connsiteX1000" fmla="*/ 231412 w 3832826"/>
                <a:gd name="connsiteY1000" fmla="*/ 1284537 h 5120141"/>
                <a:gd name="connsiteX1001" fmla="*/ 223044 w 3832826"/>
                <a:gd name="connsiteY1001" fmla="*/ 1284537 h 5120141"/>
                <a:gd name="connsiteX1002" fmla="*/ 132485 w 3832826"/>
                <a:gd name="connsiteY1002" fmla="*/ 1284537 h 5120141"/>
                <a:gd name="connsiteX1003" fmla="*/ 132485 w 3832826"/>
                <a:gd name="connsiteY1003" fmla="*/ 1226421 h 5120141"/>
                <a:gd name="connsiteX1004" fmla="*/ 130486 w 3832826"/>
                <a:gd name="connsiteY1004" fmla="*/ 1194353 h 5120141"/>
                <a:gd name="connsiteX1005" fmla="*/ 128264 w 3832826"/>
                <a:gd name="connsiteY1005" fmla="*/ 1184340 h 5120141"/>
                <a:gd name="connsiteX1006" fmla="*/ 126191 w 3832826"/>
                <a:gd name="connsiteY1006" fmla="*/ 1178319 h 5120141"/>
                <a:gd name="connsiteX1007" fmla="*/ 122045 w 3832826"/>
                <a:gd name="connsiteY1007" fmla="*/ 1178319 h 5120141"/>
                <a:gd name="connsiteX1008" fmla="*/ 117750 w 3832826"/>
                <a:gd name="connsiteY1008" fmla="*/ 1176323 h 5120141"/>
                <a:gd name="connsiteX1009" fmla="*/ 117750 w 3832826"/>
                <a:gd name="connsiteY1009" fmla="*/ 1174327 h 5120141"/>
                <a:gd name="connsiteX1010" fmla="*/ 117750 w 3832826"/>
                <a:gd name="connsiteY1010" fmla="*/ 1164314 h 5120141"/>
                <a:gd name="connsiteX1011" fmla="*/ 117750 w 3832826"/>
                <a:gd name="connsiteY1011" fmla="*/ 1158293 h 5120141"/>
                <a:gd name="connsiteX1012" fmla="*/ 115751 w 3832826"/>
                <a:gd name="connsiteY1012" fmla="*/ 1154301 h 5120141"/>
                <a:gd name="connsiteX1013" fmla="*/ 111456 w 3832826"/>
                <a:gd name="connsiteY1013" fmla="*/ 1152272 h 5120141"/>
                <a:gd name="connsiteX1014" fmla="*/ 105162 w 3832826"/>
                <a:gd name="connsiteY1014" fmla="*/ 1148280 h 5120141"/>
                <a:gd name="connsiteX1015" fmla="*/ 100941 w 3832826"/>
                <a:gd name="connsiteY1015" fmla="*/ 1148280 h 5120141"/>
                <a:gd name="connsiteX1016" fmla="*/ 98868 w 3832826"/>
                <a:gd name="connsiteY1016" fmla="*/ 1144255 h 5120141"/>
                <a:gd name="connsiteX1017" fmla="*/ 98868 w 3832826"/>
                <a:gd name="connsiteY1017" fmla="*/ 1134242 h 5120141"/>
                <a:gd name="connsiteX1018" fmla="*/ 98868 w 3832826"/>
                <a:gd name="connsiteY1018" fmla="*/ 1112205 h 5120141"/>
                <a:gd name="connsiteX1019" fmla="*/ 96768 w 3832826"/>
                <a:gd name="connsiteY1019" fmla="*/ 1112205 h 5120141"/>
                <a:gd name="connsiteX1020" fmla="*/ 84146 w 3832826"/>
                <a:gd name="connsiteY1020" fmla="*/ 1076133 h 5120141"/>
                <a:gd name="connsiteX1021" fmla="*/ 82042 w 3832826"/>
                <a:gd name="connsiteY1021" fmla="*/ 1056094 h 5120141"/>
                <a:gd name="connsiteX1022" fmla="*/ 84146 w 3832826"/>
                <a:gd name="connsiteY1022" fmla="*/ 1046074 h 5120141"/>
                <a:gd name="connsiteX1023" fmla="*/ 86250 w 3832826"/>
                <a:gd name="connsiteY1023" fmla="*/ 1036054 h 5120141"/>
                <a:gd name="connsiteX1024" fmla="*/ 96768 w 3832826"/>
                <a:gd name="connsiteY1024" fmla="*/ 1018018 h 5120141"/>
                <a:gd name="connsiteX1025" fmla="*/ 103079 w 3832826"/>
                <a:gd name="connsiteY1025" fmla="*/ 1003990 h 5120141"/>
                <a:gd name="connsiteX1026" fmla="*/ 103079 w 3832826"/>
                <a:gd name="connsiteY1026" fmla="*/ 995974 h 5120141"/>
                <a:gd name="connsiteX1027" fmla="*/ 103079 w 3832826"/>
                <a:gd name="connsiteY1027" fmla="*/ 987959 h 5120141"/>
                <a:gd name="connsiteX1028" fmla="*/ 92561 w 3832826"/>
                <a:gd name="connsiteY1028" fmla="*/ 965915 h 5120141"/>
                <a:gd name="connsiteX1029" fmla="*/ 73628 w 3832826"/>
                <a:gd name="connsiteY1029" fmla="*/ 903792 h 5120141"/>
                <a:gd name="connsiteX1030" fmla="*/ 67317 w 3832826"/>
                <a:gd name="connsiteY1030" fmla="*/ 869724 h 5120141"/>
                <a:gd name="connsiteX1031" fmla="*/ 63110 w 3832826"/>
                <a:gd name="connsiteY1031" fmla="*/ 837661 h 5120141"/>
                <a:gd name="connsiteX1032" fmla="*/ 63110 w 3832826"/>
                <a:gd name="connsiteY1032" fmla="*/ 823633 h 5120141"/>
                <a:gd name="connsiteX1033" fmla="*/ 65213 w 3832826"/>
                <a:gd name="connsiteY1033" fmla="*/ 807601 h 5120141"/>
                <a:gd name="connsiteX1034" fmla="*/ 65213 w 3832826"/>
                <a:gd name="connsiteY1034" fmla="*/ 781549 h 5120141"/>
                <a:gd name="connsiteX1035" fmla="*/ 63110 w 3832826"/>
                <a:gd name="connsiteY1035" fmla="*/ 767522 h 5120141"/>
                <a:gd name="connsiteX1036" fmla="*/ 56799 w 3832826"/>
                <a:gd name="connsiteY1036" fmla="*/ 757502 h 5120141"/>
                <a:gd name="connsiteX1037" fmla="*/ 46281 w 3832826"/>
                <a:gd name="connsiteY1037" fmla="*/ 747482 h 5120141"/>
                <a:gd name="connsiteX1038" fmla="*/ 29452 w 3832826"/>
                <a:gd name="connsiteY1038" fmla="*/ 741470 h 5120141"/>
                <a:gd name="connsiteX1039" fmla="*/ 27348 w 3832826"/>
                <a:gd name="connsiteY1039" fmla="*/ 733454 h 5120141"/>
                <a:gd name="connsiteX1040" fmla="*/ 29452 w 3832826"/>
                <a:gd name="connsiteY1040" fmla="*/ 725438 h 5120141"/>
                <a:gd name="connsiteX1041" fmla="*/ 31555 w 3832826"/>
                <a:gd name="connsiteY1041" fmla="*/ 717422 h 5120141"/>
                <a:gd name="connsiteX1042" fmla="*/ 39970 w 3832826"/>
                <a:gd name="connsiteY1042" fmla="*/ 711410 h 5120141"/>
                <a:gd name="connsiteX1043" fmla="*/ 46281 w 3832826"/>
                <a:gd name="connsiteY1043" fmla="*/ 705398 h 5120141"/>
                <a:gd name="connsiteX1044" fmla="*/ 52880 w 3832826"/>
                <a:gd name="connsiteY1044" fmla="*/ 703827 h 5120141"/>
                <a:gd name="connsiteX1045" fmla="*/ 52638 w 3832826"/>
                <a:gd name="connsiteY1045" fmla="*/ 703357 h 5120141"/>
                <a:gd name="connsiteX1046" fmla="*/ 44132 w 3832826"/>
                <a:gd name="connsiteY1046" fmla="*/ 705433 h 5120141"/>
                <a:gd name="connsiteX1047" fmla="*/ 37845 w 3832826"/>
                <a:gd name="connsiteY1047" fmla="*/ 711439 h 5120141"/>
                <a:gd name="connsiteX1048" fmla="*/ 29462 w 3832826"/>
                <a:gd name="connsiteY1048" fmla="*/ 717445 h 5120141"/>
                <a:gd name="connsiteX1049" fmla="*/ 27367 w 3832826"/>
                <a:gd name="connsiteY1049" fmla="*/ 725453 h 5120141"/>
                <a:gd name="connsiteX1050" fmla="*/ 25271 w 3832826"/>
                <a:gd name="connsiteY1050" fmla="*/ 733461 h 5120141"/>
                <a:gd name="connsiteX1051" fmla="*/ 27367 w 3832826"/>
                <a:gd name="connsiteY1051" fmla="*/ 741469 h 5120141"/>
                <a:gd name="connsiteX1052" fmla="*/ 16888 w 3832826"/>
                <a:gd name="connsiteY1052" fmla="*/ 737465 h 5120141"/>
                <a:gd name="connsiteX1053" fmla="*/ 10478 w 3832826"/>
                <a:gd name="connsiteY1053" fmla="*/ 733461 h 5120141"/>
                <a:gd name="connsiteX1054" fmla="*/ 6287 w 3832826"/>
                <a:gd name="connsiteY1054" fmla="*/ 727455 h 5120141"/>
                <a:gd name="connsiteX1055" fmla="*/ 4191 w 3832826"/>
                <a:gd name="connsiteY1055" fmla="*/ 721449 h 5120141"/>
                <a:gd name="connsiteX1056" fmla="*/ 0 w 3832826"/>
                <a:gd name="connsiteY1056" fmla="*/ 713441 h 5120141"/>
                <a:gd name="connsiteX1057" fmla="*/ 4191 w 3832826"/>
                <a:gd name="connsiteY1057" fmla="*/ 705433 h 5120141"/>
                <a:gd name="connsiteX1058" fmla="*/ 8383 w 3832826"/>
                <a:gd name="connsiteY1058" fmla="*/ 691346 h 5120141"/>
                <a:gd name="connsiteX1059" fmla="*/ 16888 w 3832826"/>
                <a:gd name="connsiteY1059" fmla="*/ 673328 h 5120141"/>
                <a:gd name="connsiteX1060" fmla="*/ 27367 w 3832826"/>
                <a:gd name="connsiteY1060" fmla="*/ 657312 h 5120141"/>
                <a:gd name="connsiteX1061" fmla="*/ 44132 w 3832826"/>
                <a:gd name="connsiteY1061" fmla="*/ 637292 h 5120141"/>
                <a:gd name="connsiteX1062" fmla="*/ 50542 w 3832826"/>
                <a:gd name="connsiteY1062" fmla="*/ 631287 h 5120141"/>
                <a:gd name="connsiteX1063" fmla="*/ 52638 w 3832826"/>
                <a:gd name="connsiteY1063" fmla="*/ 625206 h 5120141"/>
                <a:gd name="connsiteX1064" fmla="*/ 52638 w 3832826"/>
                <a:gd name="connsiteY1064" fmla="*/ 623205 h 5120141"/>
                <a:gd name="connsiteX1065" fmla="*/ 63116 w 3832826"/>
                <a:gd name="connsiteY1065" fmla="*/ 621203 h 5120141"/>
                <a:gd name="connsiteX1066" fmla="*/ 75690 w 3832826"/>
                <a:gd name="connsiteY1066" fmla="*/ 617199 h 5120141"/>
                <a:gd name="connsiteX1067" fmla="*/ 86291 w 3832826"/>
                <a:gd name="connsiteY1067" fmla="*/ 611193 h 5120141"/>
                <a:gd name="connsiteX1068" fmla="*/ 100961 w 3832826"/>
                <a:gd name="connsiteY1068" fmla="*/ 599181 h 5120141"/>
                <a:gd name="connsiteX1069" fmla="*/ 107248 w 3832826"/>
                <a:gd name="connsiteY1069" fmla="*/ 595177 h 5120141"/>
                <a:gd name="connsiteX1070" fmla="*/ 113658 w 3832826"/>
                <a:gd name="connsiteY1070" fmla="*/ 595177 h 5120141"/>
                <a:gd name="connsiteX1071" fmla="*/ 117849 w 3832826"/>
                <a:gd name="connsiteY1071" fmla="*/ 599181 h 5120141"/>
                <a:gd name="connsiteX1072" fmla="*/ 136710 w 3832826"/>
                <a:gd name="connsiteY1072" fmla="*/ 579161 h 5120141"/>
                <a:gd name="connsiteX1073" fmla="*/ 147311 w 3832826"/>
                <a:gd name="connsiteY1073" fmla="*/ 569151 h 5120141"/>
                <a:gd name="connsiteX1074" fmla="*/ 153598 w 3832826"/>
                <a:gd name="connsiteY1074" fmla="*/ 559142 h 5120141"/>
                <a:gd name="connsiteX1075" fmla="*/ 157790 w 3832826"/>
                <a:gd name="connsiteY1075" fmla="*/ 551060 h 5120141"/>
                <a:gd name="connsiteX1076" fmla="*/ 164077 w 3832826"/>
                <a:gd name="connsiteY1076" fmla="*/ 549058 h 5120141"/>
                <a:gd name="connsiteX1077" fmla="*/ 176650 w 3832826"/>
                <a:gd name="connsiteY1077" fmla="*/ 543052 h 5120141"/>
                <a:gd name="connsiteX1078" fmla="*/ 185156 w 3832826"/>
                <a:gd name="connsiteY1078" fmla="*/ 541050 h 5120141"/>
                <a:gd name="connsiteX1079" fmla="*/ 189348 w 3832826"/>
                <a:gd name="connsiteY1079" fmla="*/ 539048 h 5120141"/>
                <a:gd name="connsiteX1080" fmla="*/ 195634 w 3832826"/>
                <a:gd name="connsiteY1080" fmla="*/ 533042 h 5120141"/>
                <a:gd name="connsiteX1081" fmla="*/ 197730 w 3832826"/>
                <a:gd name="connsiteY1081" fmla="*/ 525034 h 5120141"/>
                <a:gd name="connsiteX1082" fmla="*/ 201921 w 3832826"/>
                <a:gd name="connsiteY1082" fmla="*/ 521030 h 5120141"/>
                <a:gd name="connsiteX1083" fmla="*/ 212523 w 3832826"/>
                <a:gd name="connsiteY1083" fmla="*/ 511020 h 5120141"/>
                <a:gd name="connsiteX1084" fmla="*/ 233480 w 3832826"/>
                <a:gd name="connsiteY1084" fmla="*/ 495005 h 5120141"/>
                <a:gd name="connsiteX1085" fmla="*/ 250368 w 3832826"/>
                <a:gd name="connsiteY1085" fmla="*/ 491001 h 5120141"/>
                <a:gd name="connsiteX1086" fmla="*/ 260846 w 3832826"/>
                <a:gd name="connsiteY1086" fmla="*/ 488999 h 5120141"/>
                <a:gd name="connsiteX1087" fmla="*/ 260846 w 3832826"/>
                <a:gd name="connsiteY1087" fmla="*/ 484995 h 5120141"/>
                <a:gd name="connsiteX1088" fmla="*/ 260846 w 3832826"/>
                <a:gd name="connsiteY1088" fmla="*/ 480917 h 5120141"/>
                <a:gd name="connsiteX1089" fmla="*/ 252464 w 3832826"/>
                <a:gd name="connsiteY1089" fmla="*/ 462899 h 5120141"/>
                <a:gd name="connsiteX1090" fmla="*/ 233480 w 3832826"/>
                <a:gd name="connsiteY1090" fmla="*/ 428866 h 5120141"/>
                <a:gd name="connsiteX1091" fmla="*/ 229288 w 3832826"/>
                <a:gd name="connsiteY1091" fmla="*/ 414852 h 5120141"/>
                <a:gd name="connsiteX1092" fmla="*/ 227193 w 3832826"/>
                <a:gd name="connsiteY1092" fmla="*/ 404768 h 5120141"/>
                <a:gd name="connsiteX1093" fmla="*/ 227193 w 3832826"/>
                <a:gd name="connsiteY1093" fmla="*/ 398762 h 5120141"/>
                <a:gd name="connsiteX1094" fmla="*/ 229288 w 3832826"/>
                <a:gd name="connsiteY1094" fmla="*/ 396760 h 5120141"/>
                <a:gd name="connsiteX1095" fmla="*/ 231384 w 3832826"/>
                <a:gd name="connsiteY1095" fmla="*/ 396760 h 5120141"/>
                <a:gd name="connsiteX1096" fmla="*/ 239766 w 3832826"/>
                <a:gd name="connsiteY1096" fmla="*/ 392756 h 5120141"/>
                <a:gd name="connsiteX1097" fmla="*/ 241862 w 3832826"/>
                <a:gd name="connsiteY1097" fmla="*/ 390754 h 5120141"/>
                <a:gd name="connsiteX1098" fmla="*/ 244081 w 3832826"/>
                <a:gd name="connsiteY1098" fmla="*/ 388752 h 5120141"/>
                <a:gd name="connsiteX1099" fmla="*/ 244081 w 3832826"/>
                <a:gd name="connsiteY1099" fmla="*/ 382746 h 5120141"/>
                <a:gd name="connsiteX1100" fmla="*/ 244081 w 3832826"/>
                <a:gd name="connsiteY1100" fmla="*/ 372736 h 5120141"/>
                <a:gd name="connsiteX1101" fmla="*/ 244081 w 3832826"/>
                <a:gd name="connsiteY1101" fmla="*/ 362726 h 5120141"/>
                <a:gd name="connsiteX1102" fmla="*/ 250368 w 3832826"/>
                <a:gd name="connsiteY1102" fmla="*/ 356721 h 5120141"/>
                <a:gd name="connsiteX1103" fmla="*/ 252464 w 3832826"/>
                <a:gd name="connsiteY1103" fmla="*/ 350715 h 5120141"/>
                <a:gd name="connsiteX1104" fmla="*/ 262942 w 3832826"/>
                <a:gd name="connsiteY1104" fmla="*/ 342707 h 5120141"/>
                <a:gd name="connsiteX1105" fmla="*/ 273420 w 3832826"/>
                <a:gd name="connsiteY1105" fmla="*/ 338703 h 5120141"/>
                <a:gd name="connsiteX1106" fmla="*/ 284022 w 3832826"/>
                <a:gd name="connsiteY1106" fmla="*/ 328619 h 5120141"/>
                <a:gd name="connsiteX1107" fmla="*/ 290308 w 3832826"/>
                <a:gd name="connsiteY1107" fmla="*/ 318609 h 5120141"/>
                <a:gd name="connsiteX1108" fmla="*/ 292404 w 3832826"/>
                <a:gd name="connsiteY1108" fmla="*/ 302593 h 5120141"/>
                <a:gd name="connsiteX1109" fmla="*/ 300787 w 3832826"/>
                <a:gd name="connsiteY1109" fmla="*/ 278570 h 5120141"/>
                <a:gd name="connsiteX1110" fmla="*/ 311388 w 3832826"/>
                <a:gd name="connsiteY1110" fmla="*/ 250468 h 5120141"/>
                <a:gd name="connsiteX1111" fmla="*/ 315579 w 3832826"/>
                <a:gd name="connsiteY1111" fmla="*/ 236454 h 5120141"/>
                <a:gd name="connsiteX1112" fmla="*/ 317675 w 3832826"/>
                <a:gd name="connsiteY1112" fmla="*/ 222441 h 5120141"/>
                <a:gd name="connsiteX1113" fmla="*/ 321866 w 3832826"/>
                <a:gd name="connsiteY1113" fmla="*/ 200419 h 5120141"/>
                <a:gd name="connsiteX1114" fmla="*/ 326058 w 3832826"/>
                <a:gd name="connsiteY1114" fmla="*/ 188407 h 5120141"/>
                <a:gd name="connsiteX1115" fmla="*/ 332345 w 3832826"/>
                <a:gd name="connsiteY1115" fmla="*/ 178323 h 5120141"/>
                <a:gd name="connsiteX1116" fmla="*/ 342946 w 3832826"/>
                <a:gd name="connsiteY1116" fmla="*/ 168313 h 5120141"/>
                <a:gd name="connsiteX1117" fmla="*/ 355520 w 3832826"/>
                <a:gd name="connsiteY1117" fmla="*/ 158303 h 5120141"/>
                <a:gd name="connsiteX1118" fmla="*/ 365998 w 3832826"/>
                <a:gd name="connsiteY1118" fmla="*/ 150296 h 5120141"/>
                <a:gd name="connsiteX1119" fmla="*/ 372285 w 3832826"/>
                <a:gd name="connsiteY1119" fmla="*/ 140286 h 5120141"/>
                <a:gd name="connsiteX1120" fmla="*/ 376600 w 3832826"/>
                <a:gd name="connsiteY1120" fmla="*/ 136282 h 5120141"/>
                <a:gd name="connsiteX1121" fmla="*/ 378695 w 3832826"/>
                <a:gd name="connsiteY1121" fmla="*/ 128274 h 5120141"/>
                <a:gd name="connsiteX1122" fmla="*/ 378695 w 3832826"/>
                <a:gd name="connsiteY1122" fmla="*/ 110182 h 5120141"/>
                <a:gd name="connsiteX1123" fmla="*/ 378695 w 3832826"/>
                <a:gd name="connsiteY1123" fmla="*/ 96168 h 5120141"/>
                <a:gd name="connsiteX1124" fmla="*/ 380791 w 3832826"/>
                <a:gd name="connsiteY1124" fmla="*/ 88161 h 5120141"/>
                <a:gd name="connsiteX1125" fmla="*/ 382887 w 3832826"/>
                <a:gd name="connsiteY1125" fmla="*/ 86159 h 5120141"/>
                <a:gd name="connsiteX1126" fmla="*/ 393365 w 3832826"/>
                <a:gd name="connsiteY1126" fmla="*/ 80153 h 5120141"/>
                <a:gd name="connsiteX1127" fmla="*/ 408158 w 3832826"/>
                <a:gd name="connsiteY1127" fmla="*/ 78151 h 5120141"/>
                <a:gd name="connsiteX1128" fmla="*/ 420732 w 3832826"/>
                <a:gd name="connsiteY1128" fmla="*/ 76149 h 5120141"/>
                <a:gd name="connsiteX1129" fmla="*/ 424923 w 3832826"/>
                <a:gd name="connsiteY1129" fmla="*/ 74147 h 5120141"/>
                <a:gd name="connsiteX1130" fmla="*/ 431210 w 3832826"/>
                <a:gd name="connsiteY1130" fmla="*/ 68141 h 5120141"/>
                <a:gd name="connsiteX1131" fmla="*/ 435401 w 3832826"/>
                <a:gd name="connsiteY1131" fmla="*/ 54127 h 5120141"/>
                <a:gd name="connsiteX1132" fmla="*/ 435401 w 3832826"/>
                <a:gd name="connsiteY1132" fmla="*/ 44117 h 5120141"/>
                <a:gd name="connsiteX1133" fmla="*/ 435401 w 3832826"/>
                <a:gd name="connsiteY1133" fmla="*/ 34033 h 5120141"/>
                <a:gd name="connsiteX1134" fmla="*/ 431210 w 3832826"/>
                <a:gd name="connsiteY1134" fmla="*/ 28027 h 5120141"/>
                <a:gd name="connsiteX1135" fmla="*/ 420732 w 3832826"/>
                <a:gd name="connsiteY1135" fmla="*/ 16016 h 5120141"/>
                <a:gd name="connsiteX1136" fmla="*/ 401747 w 3832826"/>
                <a:gd name="connsiteY1136" fmla="*/ 0 h 5120141"/>
                <a:gd name="connsiteX0" fmla="*/ 1390471 w 3832826"/>
                <a:gd name="connsiteY0" fmla="*/ 1285217 h 5120141"/>
                <a:gd name="connsiteX1" fmla="*/ 1392579 w 3832826"/>
                <a:gd name="connsiteY1" fmla="*/ 1291180 h 5120141"/>
                <a:gd name="connsiteX2" fmla="*/ 1392579 w 3832826"/>
                <a:gd name="connsiteY2" fmla="*/ 1296597 h 5120141"/>
                <a:gd name="connsiteX3" fmla="*/ 1392608 w 3832826"/>
                <a:gd name="connsiteY3" fmla="*/ 1296570 h 5120141"/>
                <a:gd name="connsiteX4" fmla="*/ 1392608 w 3832826"/>
                <a:gd name="connsiteY4" fmla="*/ 1290558 h 5120141"/>
                <a:gd name="connsiteX5" fmla="*/ 1390739 w 3832826"/>
                <a:gd name="connsiteY5" fmla="*/ 1285217 h 5120141"/>
                <a:gd name="connsiteX6" fmla="*/ 1390471 w 3832826"/>
                <a:gd name="connsiteY6" fmla="*/ 1285217 h 5120141"/>
                <a:gd name="connsiteX7" fmla="*/ 1138708 w 3832826"/>
                <a:gd name="connsiteY7" fmla="*/ 844805 h 5120141"/>
                <a:gd name="connsiteX8" fmla="*/ 1135965 w 3832826"/>
                <a:gd name="connsiteY8" fmla="*/ 845676 h 5120141"/>
                <a:gd name="connsiteX9" fmla="*/ 1138389 w 3832826"/>
                <a:gd name="connsiteY9" fmla="*/ 850296 h 5120141"/>
                <a:gd name="connsiteX10" fmla="*/ 1142308 w 3832826"/>
                <a:gd name="connsiteY10" fmla="*/ 851593 h 5120141"/>
                <a:gd name="connsiteX11" fmla="*/ 1138708 w 3832826"/>
                <a:gd name="connsiteY11" fmla="*/ 844805 h 5120141"/>
                <a:gd name="connsiteX12" fmla="*/ 1142276 w 3832826"/>
                <a:gd name="connsiteY12" fmla="*/ 825637 h 5120141"/>
                <a:gd name="connsiteX13" fmla="*/ 1144379 w 3832826"/>
                <a:gd name="connsiteY13" fmla="*/ 833653 h 5120141"/>
                <a:gd name="connsiteX14" fmla="*/ 1144379 w 3832826"/>
                <a:gd name="connsiteY14" fmla="*/ 839665 h 5120141"/>
                <a:gd name="connsiteX15" fmla="*/ 1143167 w 3832826"/>
                <a:gd name="connsiteY15" fmla="*/ 841974 h 5120141"/>
                <a:gd name="connsiteX16" fmla="*/ 1144345 w 3832826"/>
                <a:gd name="connsiteY16" fmla="*/ 841587 h 5120141"/>
                <a:gd name="connsiteX17" fmla="*/ 1146453 w 3832826"/>
                <a:gd name="connsiteY17" fmla="*/ 837612 h 5120141"/>
                <a:gd name="connsiteX18" fmla="*/ 1146453 w 3832826"/>
                <a:gd name="connsiteY18" fmla="*/ 831649 h 5120141"/>
                <a:gd name="connsiteX19" fmla="*/ 1144873 w 3832826"/>
                <a:gd name="connsiteY19" fmla="*/ 825637 h 5120141"/>
                <a:gd name="connsiteX20" fmla="*/ 1142276 w 3832826"/>
                <a:gd name="connsiteY20" fmla="*/ 825637 h 5120141"/>
                <a:gd name="connsiteX21" fmla="*/ 401747 w 3832826"/>
                <a:gd name="connsiteY21" fmla="*/ 0 h 5120141"/>
                <a:gd name="connsiteX22" fmla="*/ 769965 w 3832826"/>
                <a:gd name="connsiteY22" fmla="*/ 0 h 5120141"/>
                <a:gd name="connsiteX23" fmla="*/ 1138058 w 3832826"/>
                <a:gd name="connsiteY23" fmla="*/ 0 h 5120141"/>
                <a:gd name="connsiteX24" fmla="*/ 1222254 w 3832826"/>
                <a:gd name="connsiteY24" fmla="*/ 0 h 5120141"/>
                <a:gd name="connsiteX25" fmla="*/ 1226445 w 3832826"/>
                <a:gd name="connsiteY25" fmla="*/ 140286 h 5120141"/>
                <a:gd name="connsiteX26" fmla="*/ 1228541 w 3832826"/>
                <a:gd name="connsiteY26" fmla="*/ 278570 h 5120141"/>
                <a:gd name="connsiteX27" fmla="*/ 1232732 w 3832826"/>
                <a:gd name="connsiteY27" fmla="*/ 414852 h 5120141"/>
                <a:gd name="connsiteX28" fmla="*/ 1228541 w 3832826"/>
                <a:gd name="connsiteY28" fmla="*/ 559142 h 5120141"/>
                <a:gd name="connsiteX29" fmla="*/ 1224350 w 3832826"/>
                <a:gd name="connsiteY29" fmla="*/ 559142 h 5120141"/>
                <a:gd name="connsiteX30" fmla="*/ 1224350 w 3832826"/>
                <a:gd name="connsiteY30" fmla="*/ 591173 h 5120141"/>
                <a:gd name="connsiteX31" fmla="*/ 1222254 w 3832826"/>
                <a:gd name="connsiteY31" fmla="*/ 591173 h 5120141"/>
                <a:gd name="connsiteX32" fmla="*/ 1194887 w 3832826"/>
                <a:gd name="connsiteY32" fmla="*/ 591173 h 5120141"/>
                <a:gd name="connsiteX33" fmla="*/ 1163329 w 3832826"/>
                <a:gd name="connsiteY33" fmla="*/ 591173 h 5120141"/>
                <a:gd name="connsiteX34" fmla="*/ 1108125 w 3832826"/>
                <a:gd name="connsiteY34" fmla="*/ 602727 h 5120141"/>
                <a:gd name="connsiteX35" fmla="*/ 1110721 w 3832826"/>
                <a:gd name="connsiteY35" fmla="*/ 605200 h 5120141"/>
                <a:gd name="connsiteX36" fmla="*/ 1119136 w 3832826"/>
                <a:gd name="connsiteY36" fmla="*/ 613216 h 5120141"/>
                <a:gd name="connsiteX37" fmla="*/ 1121239 w 3832826"/>
                <a:gd name="connsiteY37" fmla="*/ 621231 h 5120141"/>
                <a:gd name="connsiteX38" fmla="*/ 1123343 w 3832826"/>
                <a:gd name="connsiteY38" fmla="*/ 645279 h 5120141"/>
                <a:gd name="connsiteX39" fmla="*/ 1129654 w 3832826"/>
                <a:gd name="connsiteY39" fmla="*/ 657303 h 5120141"/>
                <a:gd name="connsiteX40" fmla="*/ 1140172 w 3832826"/>
                <a:gd name="connsiteY40" fmla="*/ 667323 h 5120141"/>
                <a:gd name="connsiteX41" fmla="*/ 1146483 w 3832826"/>
                <a:gd name="connsiteY41" fmla="*/ 673335 h 5120141"/>
                <a:gd name="connsiteX42" fmla="*/ 1161208 w 3832826"/>
                <a:gd name="connsiteY42" fmla="*/ 677343 h 5120141"/>
                <a:gd name="connsiteX43" fmla="*/ 1184348 w 3832826"/>
                <a:gd name="connsiteY43" fmla="*/ 683355 h 5120141"/>
                <a:gd name="connsiteX44" fmla="*/ 1194866 w 3832826"/>
                <a:gd name="connsiteY44" fmla="*/ 687363 h 5120141"/>
                <a:gd name="connsiteX45" fmla="*/ 1205385 w 3832826"/>
                <a:gd name="connsiteY45" fmla="*/ 693375 h 5120141"/>
                <a:gd name="connsiteX46" fmla="*/ 1209592 w 3832826"/>
                <a:gd name="connsiteY46" fmla="*/ 703394 h 5120141"/>
                <a:gd name="connsiteX47" fmla="*/ 1213799 w 3832826"/>
                <a:gd name="connsiteY47" fmla="*/ 715418 h 5120141"/>
                <a:gd name="connsiteX48" fmla="*/ 1199074 w 3832826"/>
                <a:gd name="connsiteY48" fmla="*/ 715418 h 5120141"/>
                <a:gd name="connsiteX49" fmla="*/ 1196970 w 3832826"/>
                <a:gd name="connsiteY49" fmla="*/ 715418 h 5120141"/>
                <a:gd name="connsiteX50" fmla="*/ 1196970 w 3832826"/>
                <a:gd name="connsiteY50" fmla="*/ 717422 h 5120141"/>
                <a:gd name="connsiteX51" fmla="*/ 1203281 w 3832826"/>
                <a:gd name="connsiteY51" fmla="*/ 725438 h 5120141"/>
                <a:gd name="connsiteX52" fmla="*/ 1205385 w 3832826"/>
                <a:gd name="connsiteY52" fmla="*/ 733454 h 5120141"/>
                <a:gd name="connsiteX53" fmla="*/ 1207488 w 3832826"/>
                <a:gd name="connsiteY53" fmla="*/ 751490 h 5120141"/>
                <a:gd name="connsiteX54" fmla="*/ 1207488 w 3832826"/>
                <a:gd name="connsiteY54" fmla="*/ 763514 h 5120141"/>
                <a:gd name="connsiteX55" fmla="*/ 1199074 w 3832826"/>
                <a:gd name="connsiteY55" fmla="*/ 773533 h 5120141"/>
                <a:gd name="connsiteX56" fmla="*/ 1188556 w 3832826"/>
                <a:gd name="connsiteY56" fmla="*/ 785557 h 5120141"/>
                <a:gd name="connsiteX57" fmla="*/ 1175934 w 3832826"/>
                <a:gd name="connsiteY57" fmla="*/ 793573 h 5120141"/>
                <a:gd name="connsiteX58" fmla="*/ 1161208 w 3832826"/>
                <a:gd name="connsiteY58" fmla="*/ 801589 h 5120141"/>
                <a:gd name="connsiteX59" fmla="*/ 1154897 w 3832826"/>
                <a:gd name="connsiteY59" fmla="*/ 803593 h 5120141"/>
                <a:gd name="connsiteX60" fmla="*/ 1150690 w 3832826"/>
                <a:gd name="connsiteY60" fmla="*/ 811609 h 5120141"/>
                <a:gd name="connsiteX61" fmla="*/ 1150690 w 3832826"/>
                <a:gd name="connsiteY61" fmla="*/ 817621 h 5120141"/>
                <a:gd name="connsiteX62" fmla="*/ 1153844 w 3832826"/>
                <a:gd name="connsiteY62" fmla="*/ 823631 h 5120141"/>
                <a:gd name="connsiteX63" fmla="*/ 1156992 w 3832826"/>
                <a:gd name="connsiteY63" fmla="*/ 823631 h 5120141"/>
                <a:gd name="connsiteX64" fmla="*/ 1165424 w 3832826"/>
                <a:gd name="connsiteY64" fmla="*/ 823631 h 5120141"/>
                <a:gd name="connsiteX65" fmla="*/ 1169639 w 3832826"/>
                <a:gd name="connsiteY65" fmla="*/ 827606 h 5120141"/>
                <a:gd name="connsiteX66" fmla="*/ 1173855 w 3832826"/>
                <a:gd name="connsiteY66" fmla="*/ 833637 h 5120141"/>
                <a:gd name="connsiteX67" fmla="*/ 1173855 w 3832826"/>
                <a:gd name="connsiteY67" fmla="*/ 841587 h 5120141"/>
                <a:gd name="connsiteX68" fmla="*/ 1173855 w 3832826"/>
                <a:gd name="connsiteY68" fmla="*/ 855568 h 5120141"/>
                <a:gd name="connsiteX69" fmla="*/ 1169639 w 3832826"/>
                <a:gd name="connsiteY69" fmla="*/ 871605 h 5120141"/>
                <a:gd name="connsiteX70" fmla="*/ 1184324 w 3832826"/>
                <a:gd name="connsiteY70" fmla="*/ 867562 h 5120141"/>
                <a:gd name="connsiteX71" fmla="*/ 1180108 w 3832826"/>
                <a:gd name="connsiteY71" fmla="*/ 877568 h 5120141"/>
                <a:gd name="connsiteX72" fmla="*/ 1188540 w 3832826"/>
                <a:gd name="connsiteY72" fmla="*/ 877568 h 5120141"/>
                <a:gd name="connsiteX73" fmla="*/ 1194863 w 3832826"/>
                <a:gd name="connsiteY73" fmla="*/ 885587 h 5120141"/>
                <a:gd name="connsiteX74" fmla="*/ 1196971 w 3832826"/>
                <a:gd name="connsiteY74" fmla="*/ 895593 h 5120141"/>
                <a:gd name="connsiteX75" fmla="*/ 1188540 w 3832826"/>
                <a:gd name="connsiteY75" fmla="*/ 895593 h 5120141"/>
                <a:gd name="connsiteX76" fmla="*/ 1190648 w 3832826"/>
                <a:gd name="connsiteY76" fmla="*/ 903543 h 5120141"/>
                <a:gd name="connsiteX77" fmla="*/ 1188540 w 3832826"/>
                <a:gd name="connsiteY77" fmla="*/ 907518 h 5120141"/>
                <a:gd name="connsiteX78" fmla="*/ 1184324 w 3832826"/>
                <a:gd name="connsiteY78" fmla="*/ 913549 h 5120141"/>
                <a:gd name="connsiteX79" fmla="*/ 1175963 w 3832826"/>
                <a:gd name="connsiteY79" fmla="*/ 917524 h 5120141"/>
                <a:gd name="connsiteX80" fmla="*/ 1169639 w 3832826"/>
                <a:gd name="connsiteY80" fmla="*/ 923555 h 5120141"/>
                <a:gd name="connsiteX81" fmla="*/ 1163316 w 3832826"/>
                <a:gd name="connsiteY81" fmla="*/ 933493 h 5120141"/>
                <a:gd name="connsiteX82" fmla="*/ 1163316 w 3832826"/>
                <a:gd name="connsiteY82" fmla="*/ 941512 h 5120141"/>
                <a:gd name="connsiteX83" fmla="*/ 1159100 w 3832826"/>
                <a:gd name="connsiteY83" fmla="*/ 947543 h 5120141"/>
                <a:gd name="connsiteX84" fmla="*/ 1167532 w 3832826"/>
                <a:gd name="connsiteY84" fmla="*/ 947543 h 5120141"/>
                <a:gd name="connsiteX85" fmla="*/ 1165424 w 3832826"/>
                <a:gd name="connsiteY85" fmla="*/ 963511 h 5120141"/>
                <a:gd name="connsiteX86" fmla="*/ 1167532 w 3832826"/>
                <a:gd name="connsiteY86" fmla="*/ 975505 h 5120141"/>
                <a:gd name="connsiteX87" fmla="*/ 1167532 w 3832826"/>
                <a:gd name="connsiteY87" fmla="*/ 991474 h 5120141"/>
                <a:gd name="connsiteX88" fmla="*/ 1167532 w 3832826"/>
                <a:gd name="connsiteY88" fmla="*/ 1007443 h 5120141"/>
                <a:gd name="connsiteX89" fmla="*/ 1169639 w 3832826"/>
                <a:gd name="connsiteY89" fmla="*/ 1011486 h 5120141"/>
                <a:gd name="connsiteX90" fmla="*/ 1173855 w 3832826"/>
                <a:gd name="connsiteY90" fmla="*/ 1015461 h 5120141"/>
                <a:gd name="connsiteX91" fmla="*/ 1169639 w 3832826"/>
                <a:gd name="connsiteY91" fmla="*/ 1021424 h 5120141"/>
                <a:gd name="connsiteX92" fmla="*/ 1167532 w 3832826"/>
                <a:gd name="connsiteY92" fmla="*/ 1021424 h 5120141"/>
                <a:gd name="connsiteX93" fmla="*/ 1163316 w 3832826"/>
                <a:gd name="connsiteY93" fmla="*/ 1021424 h 5120141"/>
                <a:gd name="connsiteX94" fmla="*/ 1159100 w 3832826"/>
                <a:gd name="connsiteY94" fmla="*/ 1027455 h 5120141"/>
                <a:gd name="connsiteX95" fmla="*/ 1163316 w 3832826"/>
                <a:gd name="connsiteY95" fmla="*/ 1033418 h 5120141"/>
                <a:gd name="connsiteX96" fmla="*/ 1167532 w 3832826"/>
                <a:gd name="connsiteY96" fmla="*/ 1037461 h 5120141"/>
                <a:gd name="connsiteX97" fmla="*/ 1169639 w 3832826"/>
                <a:gd name="connsiteY97" fmla="*/ 1047399 h 5120141"/>
                <a:gd name="connsiteX98" fmla="*/ 1173855 w 3832826"/>
                <a:gd name="connsiteY98" fmla="*/ 1059393 h 5120141"/>
                <a:gd name="connsiteX99" fmla="*/ 1186432 w 3832826"/>
                <a:gd name="connsiteY99" fmla="*/ 1057405 h 5120141"/>
                <a:gd name="connsiteX100" fmla="*/ 1184324 w 3832826"/>
                <a:gd name="connsiteY100" fmla="*/ 1065424 h 5120141"/>
                <a:gd name="connsiteX101" fmla="*/ 1194863 w 3832826"/>
                <a:gd name="connsiteY101" fmla="*/ 1063436 h 5120141"/>
                <a:gd name="connsiteX102" fmla="*/ 1201187 w 3832826"/>
                <a:gd name="connsiteY102" fmla="*/ 1065424 h 5120141"/>
                <a:gd name="connsiteX103" fmla="*/ 1205403 w 3832826"/>
                <a:gd name="connsiteY103" fmla="*/ 1073374 h 5120141"/>
                <a:gd name="connsiteX104" fmla="*/ 1205403 w 3832826"/>
                <a:gd name="connsiteY104" fmla="*/ 1083380 h 5120141"/>
                <a:gd name="connsiteX105" fmla="*/ 1209618 w 3832826"/>
                <a:gd name="connsiteY105" fmla="*/ 1083380 h 5120141"/>
                <a:gd name="connsiteX106" fmla="*/ 1209618 w 3832826"/>
                <a:gd name="connsiteY106" fmla="*/ 1095374 h 5120141"/>
                <a:gd name="connsiteX107" fmla="*/ 1220087 w 3832826"/>
                <a:gd name="connsiteY107" fmla="*/ 1097361 h 5120141"/>
                <a:gd name="connsiteX108" fmla="*/ 1226411 w 3832826"/>
                <a:gd name="connsiteY108" fmla="*/ 1103392 h 5120141"/>
                <a:gd name="connsiteX109" fmla="*/ 1232734 w 3832826"/>
                <a:gd name="connsiteY109" fmla="*/ 1115386 h 5120141"/>
                <a:gd name="connsiteX110" fmla="*/ 1241166 w 3832826"/>
                <a:gd name="connsiteY110" fmla="*/ 1113330 h 5120141"/>
                <a:gd name="connsiteX111" fmla="*/ 1247489 w 3832826"/>
                <a:gd name="connsiteY111" fmla="*/ 1119361 h 5120141"/>
                <a:gd name="connsiteX112" fmla="*/ 1249527 w 3832826"/>
                <a:gd name="connsiteY112" fmla="*/ 1127311 h 5120141"/>
                <a:gd name="connsiteX113" fmla="*/ 1262174 w 3832826"/>
                <a:gd name="connsiteY113" fmla="*/ 1137317 h 5120141"/>
                <a:gd name="connsiteX114" fmla="*/ 1274821 w 3832826"/>
                <a:gd name="connsiteY114" fmla="*/ 1147324 h 5120141"/>
                <a:gd name="connsiteX115" fmla="*/ 1291613 w 3832826"/>
                <a:gd name="connsiteY115" fmla="*/ 1159317 h 5120141"/>
                <a:gd name="connsiteX116" fmla="*/ 1293721 w 3832826"/>
                <a:gd name="connsiteY116" fmla="*/ 1165280 h 5120141"/>
                <a:gd name="connsiteX117" fmla="*/ 1295829 w 3832826"/>
                <a:gd name="connsiteY117" fmla="*/ 1173299 h 5120141"/>
                <a:gd name="connsiteX118" fmla="*/ 1306368 w 3832826"/>
                <a:gd name="connsiteY118" fmla="*/ 1173299 h 5120141"/>
                <a:gd name="connsiteX119" fmla="*/ 1312692 w 3832826"/>
                <a:gd name="connsiteY119" fmla="*/ 1177274 h 5120141"/>
                <a:gd name="connsiteX120" fmla="*/ 1314800 w 3832826"/>
                <a:gd name="connsiteY120" fmla="*/ 1185292 h 5120141"/>
                <a:gd name="connsiteX121" fmla="*/ 1312692 w 3832826"/>
                <a:gd name="connsiteY121" fmla="*/ 1195299 h 5120141"/>
                <a:gd name="connsiteX122" fmla="*/ 1321053 w 3832826"/>
                <a:gd name="connsiteY122" fmla="*/ 1193311 h 5120141"/>
                <a:gd name="connsiteX123" fmla="*/ 1323161 w 3832826"/>
                <a:gd name="connsiteY123" fmla="*/ 1195299 h 5120141"/>
                <a:gd name="connsiteX124" fmla="*/ 1325269 w 3832826"/>
                <a:gd name="connsiteY124" fmla="*/ 1199274 h 5120141"/>
                <a:gd name="connsiteX125" fmla="*/ 1325269 w 3832826"/>
                <a:gd name="connsiteY125" fmla="*/ 1205305 h 5120141"/>
                <a:gd name="connsiteX126" fmla="*/ 1337916 w 3832826"/>
                <a:gd name="connsiteY126" fmla="*/ 1205305 h 5120141"/>
                <a:gd name="connsiteX127" fmla="*/ 1337916 w 3832826"/>
                <a:gd name="connsiteY127" fmla="*/ 1217230 h 5120141"/>
                <a:gd name="connsiteX128" fmla="*/ 1344239 w 3832826"/>
                <a:gd name="connsiteY128" fmla="*/ 1215242 h 5120141"/>
                <a:gd name="connsiteX129" fmla="*/ 1344239 w 3832826"/>
                <a:gd name="connsiteY129" fmla="*/ 1219286 h 5120141"/>
                <a:gd name="connsiteX130" fmla="*/ 1346347 w 3832826"/>
                <a:gd name="connsiteY130" fmla="*/ 1219286 h 5120141"/>
                <a:gd name="connsiteX131" fmla="*/ 1352671 w 3832826"/>
                <a:gd name="connsiteY131" fmla="*/ 1223261 h 5120141"/>
                <a:gd name="connsiteX132" fmla="*/ 1352671 w 3832826"/>
                <a:gd name="connsiteY132" fmla="*/ 1227236 h 5120141"/>
                <a:gd name="connsiteX133" fmla="*/ 1358924 w 3832826"/>
                <a:gd name="connsiteY133" fmla="*/ 1227236 h 5120141"/>
                <a:gd name="connsiteX134" fmla="*/ 1365247 w 3832826"/>
                <a:gd name="connsiteY134" fmla="*/ 1235255 h 5120141"/>
                <a:gd name="connsiteX135" fmla="*/ 1365247 w 3832826"/>
                <a:gd name="connsiteY135" fmla="*/ 1241217 h 5120141"/>
                <a:gd name="connsiteX136" fmla="*/ 1365247 w 3832826"/>
                <a:gd name="connsiteY136" fmla="*/ 1251223 h 5120141"/>
                <a:gd name="connsiteX137" fmla="*/ 1369463 w 3832826"/>
                <a:gd name="connsiteY137" fmla="*/ 1249236 h 5120141"/>
                <a:gd name="connsiteX138" fmla="*/ 1375787 w 3832826"/>
                <a:gd name="connsiteY138" fmla="*/ 1251223 h 5120141"/>
                <a:gd name="connsiteX139" fmla="*/ 1377895 w 3832826"/>
                <a:gd name="connsiteY139" fmla="*/ 1255199 h 5120141"/>
                <a:gd name="connsiteX140" fmla="*/ 1377895 w 3832826"/>
                <a:gd name="connsiteY140" fmla="*/ 1259242 h 5120141"/>
                <a:gd name="connsiteX141" fmla="*/ 1396795 w 3832826"/>
                <a:gd name="connsiteY141" fmla="*/ 1257255 h 5120141"/>
                <a:gd name="connsiteX142" fmla="*/ 1398903 w 3832826"/>
                <a:gd name="connsiteY142" fmla="*/ 1275211 h 5120141"/>
                <a:gd name="connsiteX143" fmla="*/ 1407333 w 3832826"/>
                <a:gd name="connsiteY143" fmla="*/ 1271236 h 5120141"/>
                <a:gd name="connsiteX144" fmla="*/ 1407333 w 3832826"/>
                <a:gd name="connsiteY144" fmla="*/ 1270518 h 5120141"/>
                <a:gd name="connsiteX145" fmla="*/ 1453613 w 3832826"/>
                <a:gd name="connsiteY145" fmla="*/ 1244467 h 5120141"/>
                <a:gd name="connsiteX146" fmla="*/ 1459924 w 3832826"/>
                <a:gd name="connsiteY146" fmla="*/ 1274526 h 5120141"/>
                <a:gd name="connsiteX147" fmla="*/ 1459924 w 3832826"/>
                <a:gd name="connsiteY147" fmla="*/ 1290558 h 5120141"/>
                <a:gd name="connsiteX148" fmla="*/ 1455717 w 3832826"/>
                <a:gd name="connsiteY148" fmla="*/ 1304586 h 5120141"/>
                <a:gd name="connsiteX149" fmla="*/ 1453613 w 3832826"/>
                <a:gd name="connsiteY149" fmla="*/ 1308594 h 5120141"/>
                <a:gd name="connsiteX150" fmla="*/ 1449406 w 3832826"/>
                <a:gd name="connsiteY150" fmla="*/ 1310598 h 5120141"/>
                <a:gd name="connsiteX151" fmla="*/ 1440991 w 3832826"/>
                <a:gd name="connsiteY151" fmla="*/ 1316610 h 5120141"/>
                <a:gd name="connsiteX152" fmla="*/ 1434680 w 3832826"/>
                <a:gd name="connsiteY152" fmla="*/ 1318614 h 5120141"/>
                <a:gd name="connsiteX153" fmla="*/ 1432577 w 3832826"/>
                <a:gd name="connsiteY153" fmla="*/ 1320618 h 5120141"/>
                <a:gd name="connsiteX154" fmla="*/ 1430473 w 3832826"/>
                <a:gd name="connsiteY154" fmla="*/ 1326630 h 5120141"/>
                <a:gd name="connsiteX155" fmla="*/ 1430473 w 3832826"/>
                <a:gd name="connsiteY155" fmla="*/ 1334645 h 5120141"/>
                <a:gd name="connsiteX156" fmla="*/ 1434680 w 3832826"/>
                <a:gd name="connsiteY156" fmla="*/ 1338653 h 5120141"/>
                <a:gd name="connsiteX157" fmla="*/ 1440991 w 3832826"/>
                <a:gd name="connsiteY157" fmla="*/ 1350677 h 5120141"/>
                <a:gd name="connsiteX158" fmla="*/ 1443095 w 3832826"/>
                <a:gd name="connsiteY158" fmla="*/ 1366709 h 5120141"/>
                <a:gd name="connsiteX159" fmla="*/ 1443095 w 3832826"/>
                <a:gd name="connsiteY159" fmla="*/ 1380737 h 5120141"/>
                <a:gd name="connsiteX160" fmla="*/ 1445199 w 3832826"/>
                <a:gd name="connsiteY160" fmla="*/ 1436848 h 5120141"/>
                <a:gd name="connsiteX161" fmla="*/ 1422059 w 3832826"/>
                <a:gd name="connsiteY161" fmla="*/ 1436848 h 5120141"/>
                <a:gd name="connsiteX162" fmla="*/ 1403126 w 3832826"/>
                <a:gd name="connsiteY162" fmla="*/ 1438852 h 5120141"/>
                <a:gd name="connsiteX163" fmla="*/ 1392608 w 3832826"/>
                <a:gd name="connsiteY163" fmla="*/ 1440856 h 5120141"/>
                <a:gd name="connsiteX164" fmla="*/ 1382089 w 3832826"/>
                <a:gd name="connsiteY164" fmla="*/ 1444864 h 5120141"/>
                <a:gd name="connsiteX165" fmla="*/ 1375779 w 3832826"/>
                <a:gd name="connsiteY165" fmla="*/ 1448872 h 5120141"/>
                <a:gd name="connsiteX166" fmla="*/ 1367364 w 3832826"/>
                <a:gd name="connsiteY166" fmla="*/ 1456888 h 5120141"/>
                <a:gd name="connsiteX167" fmla="*/ 1358949 w 3832826"/>
                <a:gd name="connsiteY167" fmla="*/ 1462900 h 5120141"/>
                <a:gd name="connsiteX168" fmla="*/ 1354742 w 3832826"/>
                <a:gd name="connsiteY168" fmla="*/ 1472920 h 5120141"/>
                <a:gd name="connsiteX169" fmla="*/ 1348431 w 3832826"/>
                <a:gd name="connsiteY169" fmla="*/ 1480935 h 5120141"/>
                <a:gd name="connsiteX170" fmla="*/ 1344224 w 3832826"/>
                <a:gd name="connsiteY170" fmla="*/ 1482939 h 5120141"/>
                <a:gd name="connsiteX171" fmla="*/ 1342120 w 3832826"/>
                <a:gd name="connsiteY171" fmla="*/ 1482939 h 5120141"/>
                <a:gd name="connsiteX172" fmla="*/ 1333706 w 3832826"/>
                <a:gd name="connsiteY172" fmla="*/ 1480935 h 5120141"/>
                <a:gd name="connsiteX173" fmla="*/ 1327395 w 3832826"/>
                <a:gd name="connsiteY173" fmla="*/ 1482939 h 5120141"/>
                <a:gd name="connsiteX174" fmla="*/ 1325291 w 3832826"/>
                <a:gd name="connsiteY174" fmla="*/ 1488951 h 5120141"/>
                <a:gd name="connsiteX175" fmla="*/ 1323188 w 3832826"/>
                <a:gd name="connsiteY175" fmla="*/ 1492959 h 5120141"/>
                <a:gd name="connsiteX176" fmla="*/ 1321084 w 3832826"/>
                <a:gd name="connsiteY176" fmla="*/ 1506987 h 5120141"/>
                <a:gd name="connsiteX177" fmla="*/ 1316877 w 3832826"/>
                <a:gd name="connsiteY177" fmla="*/ 1512999 h 5120141"/>
                <a:gd name="connsiteX178" fmla="*/ 1310566 w 3832826"/>
                <a:gd name="connsiteY178" fmla="*/ 1521015 h 5120141"/>
                <a:gd name="connsiteX179" fmla="*/ 1304255 w 3832826"/>
                <a:gd name="connsiteY179" fmla="*/ 1523019 h 5120141"/>
                <a:gd name="connsiteX180" fmla="*/ 1293737 w 3832826"/>
                <a:gd name="connsiteY180" fmla="*/ 1529031 h 5120141"/>
                <a:gd name="connsiteX181" fmla="*/ 1281115 w 3832826"/>
                <a:gd name="connsiteY181" fmla="*/ 1529031 h 5120141"/>
                <a:gd name="connsiteX182" fmla="*/ 1279011 w 3832826"/>
                <a:gd name="connsiteY182" fmla="*/ 1531035 h 5120141"/>
                <a:gd name="connsiteX183" fmla="*/ 1274804 w 3832826"/>
                <a:gd name="connsiteY183" fmla="*/ 1537046 h 5120141"/>
                <a:gd name="connsiteX184" fmla="*/ 1272700 w 3832826"/>
                <a:gd name="connsiteY184" fmla="*/ 1547066 h 5120141"/>
                <a:gd name="connsiteX185" fmla="*/ 1270597 w 3832826"/>
                <a:gd name="connsiteY185" fmla="*/ 1559090 h 5120141"/>
                <a:gd name="connsiteX186" fmla="*/ 1264286 w 3832826"/>
                <a:gd name="connsiteY186" fmla="*/ 1569110 h 5120141"/>
                <a:gd name="connsiteX187" fmla="*/ 1262182 w 3832826"/>
                <a:gd name="connsiteY187" fmla="*/ 1569110 h 5120141"/>
                <a:gd name="connsiteX188" fmla="*/ 1262182 w 3832826"/>
                <a:gd name="connsiteY188" fmla="*/ 1573118 h 5120141"/>
                <a:gd name="connsiteX189" fmla="*/ 1260078 w 3832826"/>
                <a:gd name="connsiteY189" fmla="*/ 1579130 h 5120141"/>
                <a:gd name="connsiteX190" fmla="*/ 1260078 w 3832826"/>
                <a:gd name="connsiteY190" fmla="*/ 1599170 h 5120141"/>
                <a:gd name="connsiteX191" fmla="*/ 1260078 w 3832826"/>
                <a:gd name="connsiteY191" fmla="*/ 1633237 h 5120141"/>
                <a:gd name="connsiteX192" fmla="*/ 1260078 w 3832826"/>
                <a:gd name="connsiteY192" fmla="*/ 1679328 h 5120141"/>
                <a:gd name="connsiteX193" fmla="*/ 1258254 w 3832826"/>
                <a:gd name="connsiteY193" fmla="*/ 1717574 h 5120141"/>
                <a:gd name="connsiteX194" fmla="*/ 1279014 w 3832826"/>
                <a:gd name="connsiteY194" fmla="*/ 1732471 h 5120141"/>
                <a:gd name="connsiteX195" fmla="*/ 1302154 w 3832826"/>
                <a:gd name="connsiteY195" fmla="*/ 1736462 h 5120141"/>
                <a:gd name="connsiteX196" fmla="*/ 1312672 w 3832826"/>
                <a:gd name="connsiteY196" fmla="*/ 1736462 h 5120141"/>
                <a:gd name="connsiteX197" fmla="*/ 1323191 w 3832826"/>
                <a:gd name="connsiteY197" fmla="*/ 1734466 h 5120141"/>
                <a:gd name="connsiteX198" fmla="*/ 1337916 w 3832826"/>
                <a:gd name="connsiteY198" fmla="*/ 1732471 h 5120141"/>
                <a:gd name="connsiteX199" fmla="*/ 1350538 w 3832826"/>
                <a:gd name="connsiteY199" fmla="*/ 1726484 h 5120141"/>
                <a:gd name="connsiteX200" fmla="*/ 1354745 w 3832826"/>
                <a:gd name="connsiteY200" fmla="*/ 1726484 h 5120141"/>
                <a:gd name="connsiteX201" fmla="*/ 1365263 w 3832826"/>
                <a:gd name="connsiteY201" fmla="*/ 1730475 h 5120141"/>
                <a:gd name="connsiteX202" fmla="*/ 1394714 w 3832826"/>
                <a:gd name="connsiteY202" fmla="*/ 1742449 h 5120141"/>
                <a:gd name="connsiteX203" fmla="*/ 1407336 w 3832826"/>
                <a:gd name="connsiteY203" fmla="*/ 1744445 h 5120141"/>
                <a:gd name="connsiteX204" fmla="*/ 1419958 w 3832826"/>
                <a:gd name="connsiteY204" fmla="*/ 1746440 h 5120141"/>
                <a:gd name="connsiteX205" fmla="*/ 1426269 w 3832826"/>
                <a:gd name="connsiteY205" fmla="*/ 1744445 h 5120141"/>
                <a:gd name="connsiteX206" fmla="*/ 1430476 w 3832826"/>
                <a:gd name="connsiteY206" fmla="*/ 1742449 h 5120141"/>
                <a:gd name="connsiteX207" fmla="*/ 1430476 w 3832826"/>
                <a:gd name="connsiteY207" fmla="*/ 1740453 h 5120141"/>
                <a:gd name="connsiteX208" fmla="*/ 1434684 w 3832826"/>
                <a:gd name="connsiteY208" fmla="*/ 1734466 h 5120141"/>
                <a:gd name="connsiteX209" fmla="*/ 1434684 w 3832826"/>
                <a:gd name="connsiteY209" fmla="*/ 1726484 h 5120141"/>
                <a:gd name="connsiteX210" fmla="*/ 1436787 w 3832826"/>
                <a:gd name="connsiteY210" fmla="*/ 1722493 h 5120141"/>
                <a:gd name="connsiteX211" fmla="*/ 1445202 w 3832826"/>
                <a:gd name="connsiteY211" fmla="*/ 1712514 h 5120141"/>
                <a:gd name="connsiteX212" fmla="*/ 1455720 w 3832826"/>
                <a:gd name="connsiteY212" fmla="*/ 1704532 h 5120141"/>
                <a:gd name="connsiteX213" fmla="*/ 1462031 w 3832826"/>
                <a:gd name="connsiteY213" fmla="*/ 1694553 h 5120141"/>
                <a:gd name="connsiteX214" fmla="*/ 1462031 w 3832826"/>
                <a:gd name="connsiteY214" fmla="*/ 1684575 h 5120141"/>
                <a:gd name="connsiteX215" fmla="*/ 1466238 w 3832826"/>
                <a:gd name="connsiteY215" fmla="*/ 1676592 h 5120141"/>
                <a:gd name="connsiteX216" fmla="*/ 1472549 w 3832826"/>
                <a:gd name="connsiteY216" fmla="*/ 1666614 h 5120141"/>
                <a:gd name="connsiteX217" fmla="*/ 1483067 w 3832826"/>
                <a:gd name="connsiteY217" fmla="*/ 1652645 h 5120141"/>
                <a:gd name="connsiteX218" fmla="*/ 1497793 w 3832826"/>
                <a:gd name="connsiteY218" fmla="*/ 1638675 h 5120141"/>
                <a:gd name="connsiteX219" fmla="*/ 1510415 w 3832826"/>
                <a:gd name="connsiteY219" fmla="*/ 1624705 h 5120141"/>
                <a:gd name="connsiteX220" fmla="*/ 1525140 w 3832826"/>
                <a:gd name="connsiteY220" fmla="*/ 1612731 h 5120141"/>
                <a:gd name="connsiteX221" fmla="*/ 1577731 w 3832826"/>
                <a:gd name="connsiteY221" fmla="*/ 1580801 h 5120141"/>
                <a:gd name="connsiteX222" fmla="*/ 1605078 w 3832826"/>
                <a:gd name="connsiteY222" fmla="*/ 1560845 h 5120141"/>
                <a:gd name="connsiteX223" fmla="*/ 1628218 w 3832826"/>
                <a:gd name="connsiteY223" fmla="*/ 1540888 h 5120141"/>
                <a:gd name="connsiteX224" fmla="*/ 1645048 w 3832826"/>
                <a:gd name="connsiteY224" fmla="*/ 1524923 h 5120141"/>
                <a:gd name="connsiteX225" fmla="*/ 1661877 w 3832826"/>
                <a:gd name="connsiteY225" fmla="*/ 1514944 h 5120141"/>
                <a:gd name="connsiteX226" fmla="*/ 1678706 w 3832826"/>
                <a:gd name="connsiteY226" fmla="*/ 1508957 h 5120141"/>
                <a:gd name="connsiteX227" fmla="*/ 1695535 w 3832826"/>
                <a:gd name="connsiteY227" fmla="*/ 1502971 h 5120141"/>
                <a:gd name="connsiteX228" fmla="*/ 1714468 w 3832826"/>
                <a:gd name="connsiteY228" fmla="*/ 1500975 h 5120141"/>
                <a:gd name="connsiteX229" fmla="*/ 1735504 w 3832826"/>
                <a:gd name="connsiteY229" fmla="*/ 1500975 h 5120141"/>
                <a:gd name="connsiteX230" fmla="*/ 1777577 w 3832826"/>
                <a:gd name="connsiteY230" fmla="*/ 1500975 h 5120141"/>
                <a:gd name="connsiteX231" fmla="*/ 2158335 w 3832826"/>
                <a:gd name="connsiteY231" fmla="*/ 1500975 h 5120141"/>
                <a:gd name="connsiteX232" fmla="*/ 2158335 w 3832826"/>
                <a:gd name="connsiteY232" fmla="*/ 1514944 h 5120141"/>
                <a:gd name="connsiteX233" fmla="*/ 2158335 w 3832826"/>
                <a:gd name="connsiteY233" fmla="*/ 1572818 h 5120141"/>
                <a:gd name="connsiteX234" fmla="*/ 2160439 w 3832826"/>
                <a:gd name="connsiteY234" fmla="*/ 1594771 h 5120141"/>
                <a:gd name="connsiteX235" fmla="*/ 2158335 w 3832826"/>
                <a:gd name="connsiteY235" fmla="*/ 1624705 h 5120141"/>
                <a:gd name="connsiteX236" fmla="*/ 2158335 w 3832826"/>
                <a:gd name="connsiteY236" fmla="*/ 1634684 h 5120141"/>
                <a:gd name="connsiteX237" fmla="*/ 2158335 w 3832826"/>
                <a:gd name="connsiteY237" fmla="*/ 1648653 h 5120141"/>
                <a:gd name="connsiteX238" fmla="*/ 2158335 w 3832826"/>
                <a:gd name="connsiteY238" fmla="*/ 1666614 h 5120141"/>
                <a:gd name="connsiteX239" fmla="*/ 2158335 w 3832826"/>
                <a:gd name="connsiteY239" fmla="*/ 1700540 h 5120141"/>
                <a:gd name="connsiteX240" fmla="*/ 2149671 w 3832826"/>
                <a:gd name="connsiteY240" fmla="*/ 1700540 h 5120141"/>
                <a:gd name="connsiteX241" fmla="*/ 2149671 w 3832826"/>
                <a:gd name="connsiteY241" fmla="*/ 1701367 h 5120141"/>
                <a:gd name="connsiteX242" fmla="*/ 2158305 w 3832826"/>
                <a:gd name="connsiteY242" fmla="*/ 1701367 h 5120141"/>
                <a:gd name="connsiteX243" fmla="*/ 2158305 w 3832826"/>
                <a:gd name="connsiteY243" fmla="*/ 1723407 h 5120141"/>
                <a:gd name="connsiteX244" fmla="*/ 2158305 w 3832826"/>
                <a:gd name="connsiteY244" fmla="*/ 1755458 h 5120141"/>
                <a:gd name="connsiteX245" fmla="*/ 2234031 w 3832826"/>
                <a:gd name="connsiteY245" fmla="*/ 1815609 h 5120141"/>
                <a:gd name="connsiteX246" fmla="*/ 2231975 w 3832826"/>
                <a:gd name="connsiteY246" fmla="*/ 1817584 h 5120141"/>
                <a:gd name="connsiteX247" fmla="*/ 2231975 w 3832826"/>
                <a:gd name="connsiteY247" fmla="*/ 1823599 h 5120141"/>
                <a:gd name="connsiteX248" fmla="*/ 2234031 w 3832826"/>
                <a:gd name="connsiteY248" fmla="*/ 1833610 h 5120141"/>
                <a:gd name="connsiteX249" fmla="*/ 2240379 w 3832826"/>
                <a:gd name="connsiteY249" fmla="*/ 1843665 h 5120141"/>
                <a:gd name="connsiteX250" fmla="*/ 2244581 w 3832826"/>
                <a:gd name="connsiteY250" fmla="*/ 1853675 h 5120141"/>
                <a:gd name="connsiteX251" fmla="*/ 2244581 w 3832826"/>
                <a:gd name="connsiteY251" fmla="*/ 1857670 h 5120141"/>
                <a:gd name="connsiteX252" fmla="*/ 2242435 w 3832826"/>
                <a:gd name="connsiteY252" fmla="*/ 1863685 h 5120141"/>
                <a:gd name="connsiteX253" fmla="*/ 2238233 w 3832826"/>
                <a:gd name="connsiteY253" fmla="*/ 1873695 h 5120141"/>
                <a:gd name="connsiteX254" fmla="*/ 2229829 w 3832826"/>
                <a:gd name="connsiteY254" fmla="*/ 1883750 h 5120141"/>
                <a:gd name="connsiteX255" fmla="*/ 2223571 w 3832826"/>
                <a:gd name="connsiteY255" fmla="*/ 1889721 h 5120141"/>
                <a:gd name="connsiteX256" fmla="*/ 2213021 w 3832826"/>
                <a:gd name="connsiteY256" fmla="*/ 1905791 h 5120141"/>
                <a:gd name="connsiteX257" fmla="*/ 2200415 w 3832826"/>
                <a:gd name="connsiteY257" fmla="*/ 1919796 h 5120141"/>
                <a:gd name="connsiteX258" fmla="*/ 2170912 w 3832826"/>
                <a:gd name="connsiteY258" fmla="*/ 1945832 h 5120141"/>
                <a:gd name="connsiteX259" fmla="*/ 2139441 w 3832826"/>
                <a:gd name="connsiteY259" fmla="*/ 1969893 h 5120141"/>
                <a:gd name="connsiteX260" fmla="*/ 2107881 w 3832826"/>
                <a:gd name="connsiteY260" fmla="*/ 1995973 h 5120141"/>
                <a:gd name="connsiteX261" fmla="*/ 2095186 w 3832826"/>
                <a:gd name="connsiteY261" fmla="*/ 1997948 h 5120141"/>
                <a:gd name="connsiteX262" fmla="*/ 2082580 w 3832826"/>
                <a:gd name="connsiteY262" fmla="*/ 2003963 h 5120141"/>
                <a:gd name="connsiteX263" fmla="*/ 2074176 w 3832826"/>
                <a:gd name="connsiteY263" fmla="*/ 2009979 h 5120141"/>
                <a:gd name="connsiteX264" fmla="*/ 2069973 w 3832826"/>
                <a:gd name="connsiteY264" fmla="*/ 2018014 h 5120141"/>
                <a:gd name="connsiteX265" fmla="*/ 2055222 w 3832826"/>
                <a:gd name="connsiteY265" fmla="*/ 2034039 h 5120141"/>
                <a:gd name="connsiteX266" fmla="*/ 2048963 w 3832826"/>
                <a:gd name="connsiteY266" fmla="*/ 2044049 h 5120141"/>
                <a:gd name="connsiteX267" fmla="*/ 2038414 w 3832826"/>
                <a:gd name="connsiteY267" fmla="*/ 2050064 h 5120141"/>
                <a:gd name="connsiteX268" fmla="*/ 2017403 w 3832826"/>
                <a:gd name="connsiteY268" fmla="*/ 2066090 h 5120141"/>
                <a:gd name="connsiteX269" fmla="*/ 1998450 w 3832826"/>
                <a:gd name="connsiteY269" fmla="*/ 2080140 h 5120141"/>
                <a:gd name="connsiteX270" fmla="*/ 1962688 w 3832826"/>
                <a:gd name="connsiteY270" fmla="*/ 2110171 h 5120141"/>
                <a:gd name="connsiteX271" fmla="*/ 1952138 w 3832826"/>
                <a:gd name="connsiteY271" fmla="*/ 2116186 h 5120141"/>
                <a:gd name="connsiteX272" fmla="*/ 1937476 w 3832826"/>
                <a:gd name="connsiteY272" fmla="*/ 2120181 h 5120141"/>
                <a:gd name="connsiteX273" fmla="*/ 1914320 w 3832826"/>
                <a:gd name="connsiteY273" fmla="*/ 2122201 h 5120141"/>
                <a:gd name="connsiteX274" fmla="*/ 1891164 w 3832826"/>
                <a:gd name="connsiteY274" fmla="*/ 2122201 h 5120141"/>
                <a:gd name="connsiteX275" fmla="*/ 1880614 w 3832826"/>
                <a:gd name="connsiteY275" fmla="*/ 2126196 h 5120141"/>
                <a:gd name="connsiteX276" fmla="*/ 1870154 w 3832826"/>
                <a:gd name="connsiteY276" fmla="*/ 2130236 h 5120141"/>
                <a:gd name="connsiteX277" fmla="*/ 1859604 w 3832826"/>
                <a:gd name="connsiteY277" fmla="*/ 2136251 h 5120141"/>
                <a:gd name="connsiteX278" fmla="*/ 1842796 w 3832826"/>
                <a:gd name="connsiteY278" fmla="*/ 2138226 h 5120141"/>
                <a:gd name="connsiteX279" fmla="*/ 1817584 w 3832826"/>
                <a:gd name="connsiteY279" fmla="*/ 2142221 h 5120141"/>
                <a:gd name="connsiteX280" fmla="*/ 1786024 w 3832826"/>
                <a:gd name="connsiteY280" fmla="*/ 2146261 h 5120141"/>
                <a:gd name="connsiteX281" fmla="*/ 1756520 w 3832826"/>
                <a:gd name="connsiteY281" fmla="*/ 2150257 h 5120141"/>
                <a:gd name="connsiteX282" fmla="*/ 1743914 w 3832826"/>
                <a:gd name="connsiteY282" fmla="*/ 2150257 h 5120141"/>
                <a:gd name="connsiteX283" fmla="*/ 1733364 w 3832826"/>
                <a:gd name="connsiteY283" fmla="*/ 2150257 h 5120141"/>
                <a:gd name="connsiteX284" fmla="*/ 1706006 w 3832826"/>
                <a:gd name="connsiteY284" fmla="*/ 2142221 h 5120141"/>
                <a:gd name="connsiteX285" fmla="*/ 1680794 w 3832826"/>
                <a:gd name="connsiteY285" fmla="*/ 2136251 h 5120141"/>
                <a:gd name="connsiteX286" fmla="*/ 1655582 w 3832826"/>
                <a:gd name="connsiteY286" fmla="*/ 2126196 h 5120141"/>
                <a:gd name="connsiteX287" fmla="*/ 1630281 w 3832826"/>
                <a:gd name="connsiteY287" fmla="*/ 2116186 h 5120141"/>
                <a:gd name="connsiteX288" fmla="*/ 1607214 w 3832826"/>
                <a:gd name="connsiteY288" fmla="*/ 2110171 h 5120141"/>
                <a:gd name="connsiteX289" fmla="*/ 1594519 w 3832826"/>
                <a:gd name="connsiteY289" fmla="*/ 2110171 h 5120141"/>
                <a:gd name="connsiteX290" fmla="*/ 1584058 w 3832826"/>
                <a:gd name="connsiteY290" fmla="*/ 2112191 h 5120141"/>
                <a:gd name="connsiteX291" fmla="*/ 1573508 w 3832826"/>
                <a:gd name="connsiteY291" fmla="*/ 2116186 h 5120141"/>
                <a:gd name="connsiteX292" fmla="*/ 1560902 w 3832826"/>
                <a:gd name="connsiteY292" fmla="*/ 2120181 h 5120141"/>
                <a:gd name="connsiteX293" fmla="*/ 1544094 w 3832826"/>
                <a:gd name="connsiteY293" fmla="*/ 2128216 h 5120141"/>
                <a:gd name="connsiteX294" fmla="*/ 1529342 w 3832826"/>
                <a:gd name="connsiteY294" fmla="*/ 2136251 h 5120141"/>
                <a:gd name="connsiteX295" fmla="*/ 1499928 w 3832826"/>
                <a:gd name="connsiteY295" fmla="*/ 2140246 h 5120141"/>
                <a:gd name="connsiteX296" fmla="*/ 1497783 w 3832826"/>
                <a:gd name="connsiteY296" fmla="*/ 2140246 h 5120141"/>
                <a:gd name="connsiteX297" fmla="*/ 1483031 w 3832826"/>
                <a:gd name="connsiteY297" fmla="*/ 2140246 h 5120141"/>
                <a:gd name="connsiteX298" fmla="*/ 1468368 w 3832826"/>
                <a:gd name="connsiteY298" fmla="*/ 2140246 h 5120141"/>
                <a:gd name="connsiteX299" fmla="*/ 1451471 w 3832826"/>
                <a:gd name="connsiteY299" fmla="*/ 2142221 h 5120141"/>
                <a:gd name="connsiteX300" fmla="*/ 1447269 w 3832826"/>
                <a:gd name="connsiteY300" fmla="*/ 2146261 h 5120141"/>
                <a:gd name="connsiteX301" fmla="*/ 1440991 w 3832826"/>
                <a:gd name="connsiteY301" fmla="*/ 2149246 h 5120141"/>
                <a:gd name="connsiteX302" fmla="*/ 1440991 w 3832826"/>
                <a:gd name="connsiteY302" fmla="*/ 2319937 h 5120141"/>
                <a:gd name="connsiteX303" fmla="*/ 1445196 w 3832826"/>
                <a:gd name="connsiteY303" fmla="*/ 2330619 h 5120141"/>
                <a:gd name="connsiteX304" fmla="*/ 1449403 w 3832826"/>
                <a:gd name="connsiteY304" fmla="*/ 2344647 h 5120141"/>
                <a:gd name="connsiteX305" fmla="*/ 1462025 w 3832826"/>
                <a:gd name="connsiteY305" fmla="*/ 2378715 h 5120141"/>
                <a:gd name="connsiteX306" fmla="*/ 1480958 w 3832826"/>
                <a:gd name="connsiteY306" fmla="*/ 2438834 h 5120141"/>
                <a:gd name="connsiteX307" fmla="*/ 1493580 w 3832826"/>
                <a:gd name="connsiteY307" fmla="*/ 2468893 h 5120141"/>
                <a:gd name="connsiteX308" fmla="*/ 1499891 w 3832826"/>
                <a:gd name="connsiteY308" fmla="*/ 2480917 h 5120141"/>
                <a:gd name="connsiteX309" fmla="*/ 1508305 w 3832826"/>
                <a:gd name="connsiteY309" fmla="*/ 2492941 h 5120141"/>
                <a:gd name="connsiteX310" fmla="*/ 1508308 w 3832826"/>
                <a:gd name="connsiteY310" fmla="*/ 2490937 h 5120141"/>
                <a:gd name="connsiteX311" fmla="*/ 1703947 w 3832826"/>
                <a:gd name="connsiteY311" fmla="*/ 2693337 h 5120141"/>
                <a:gd name="connsiteX312" fmla="*/ 1800715 w 3832826"/>
                <a:gd name="connsiteY312" fmla="*/ 2777503 h 5120141"/>
                <a:gd name="connsiteX313" fmla="*/ 1821751 w 3832826"/>
                <a:gd name="connsiteY313" fmla="*/ 2793535 h 5120141"/>
                <a:gd name="connsiteX314" fmla="*/ 1846995 w 3832826"/>
                <a:gd name="connsiteY314" fmla="*/ 2807563 h 5120141"/>
                <a:gd name="connsiteX315" fmla="*/ 1868031 w 3832826"/>
                <a:gd name="connsiteY315" fmla="*/ 2827603 h 5120141"/>
                <a:gd name="connsiteX316" fmla="*/ 1874342 w 3832826"/>
                <a:gd name="connsiteY316" fmla="*/ 2837622 h 5120141"/>
                <a:gd name="connsiteX317" fmla="*/ 1882757 w 3832826"/>
                <a:gd name="connsiteY317" fmla="*/ 2847642 h 5120141"/>
                <a:gd name="connsiteX318" fmla="*/ 1882757 w 3832826"/>
                <a:gd name="connsiteY318" fmla="*/ 2857662 h 5120141"/>
                <a:gd name="connsiteX319" fmla="*/ 1871663 w 3832826"/>
                <a:gd name="connsiteY319" fmla="*/ 2862688 h 5120141"/>
                <a:gd name="connsiteX320" fmla="*/ 1920621 w 3832826"/>
                <a:gd name="connsiteY320" fmla="*/ 2925780 h 5120141"/>
                <a:gd name="connsiteX321" fmla="*/ 1937450 w 3832826"/>
                <a:gd name="connsiteY321" fmla="*/ 2955859 h 5120141"/>
                <a:gd name="connsiteX322" fmla="*/ 1956383 w 3832826"/>
                <a:gd name="connsiteY322" fmla="*/ 2987924 h 5120141"/>
                <a:gd name="connsiteX323" fmla="*/ 1964798 w 3832826"/>
                <a:gd name="connsiteY323" fmla="*/ 2997927 h 5120141"/>
                <a:gd name="connsiteX324" fmla="*/ 1969005 w 3832826"/>
                <a:gd name="connsiteY324" fmla="*/ 3009986 h 5120141"/>
                <a:gd name="connsiteX325" fmla="*/ 1977420 w 3832826"/>
                <a:gd name="connsiteY325" fmla="*/ 3038008 h 5120141"/>
                <a:gd name="connsiteX326" fmla="*/ 1985834 w 3832826"/>
                <a:gd name="connsiteY326" fmla="*/ 3066100 h 5120141"/>
                <a:gd name="connsiteX327" fmla="*/ 1994249 w 3832826"/>
                <a:gd name="connsiteY327" fmla="*/ 3078089 h 5120141"/>
                <a:gd name="connsiteX328" fmla="*/ 2004767 w 3832826"/>
                <a:gd name="connsiteY328" fmla="*/ 3090149 h 5120141"/>
                <a:gd name="connsiteX329" fmla="*/ 2008974 w 3832826"/>
                <a:gd name="connsiteY329" fmla="*/ 3100152 h 5120141"/>
                <a:gd name="connsiteX330" fmla="*/ 2017389 w 3832826"/>
                <a:gd name="connsiteY330" fmla="*/ 3110155 h 5120141"/>
                <a:gd name="connsiteX331" fmla="*/ 2023700 w 3832826"/>
                <a:gd name="connsiteY331" fmla="*/ 3136190 h 5120141"/>
                <a:gd name="connsiteX332" fmla="*/ 2032114 w 3832826"/>
                <a:gd name="connsiteY332" fmla="*/ 3158252 h 5120141"/>
                <a:gd name="connsiteX333" fmla="*/ 2040529 w 3832826"/>
                <a:gd name="connsiteY333" fmla="*/ 3168255 h 5120141"/>
                <a:gd name="connsiteX334" fmla="*/ 2048944 w 3832826"/>
                <a:gd name="connsiteY334" fmla="*/ 3174285 h 5120141"/>
                <a:gd name="connsiteX335" fmla="*/ 2059462 w 3832826"/>
                <a:gd name="connsiteY335" fmla="*/ 3180315 h 5120141"/>
                <a:gd name="connsiteX336" fmla="*/ 2069980 w 3832826"/>
                <a:gd name="connsiteY336" fmla="*/ 3180315 h 5120141"/>
                <a:gd name="connsiteX337" fmla="*/ 2082602 w 3832826"/>
                <a:gd name="connsiteY337" fmla="*/ 3182301 h 5120141"/>
                <a:gd name="connsiteX338" fmla="*/ 2095224 w 3832826"/>
                <a:gd name="connsiteY338" fmla="*/ 3184288 h 5120141"/>
                <a:gd name="connsiteX339" fmla="*/ 2105742 w 3832826"/>
                <a:gd name="connsiteY339" fmla="*/ 3190318 h 5120141"/>
                <a:gd name="connsiteX340" fmla="*/ 2114156 w 3832826"/>
                <a:gd name="connsiteY340" fmla="*/ 3198334 h 5120141"/>
                <a:gd name="connsiteX341" fmla="*/ 2122571 w 3832826"/>
                <a:gd name="connsiteY341" fmla="*/ 3204364 h 5120141"/>
                <a:gd name="connsiteX342" fmla="*/ 2132508 w 3832826"/>
                <a:gd name="connsiteY342" fmla="*/ 3211937 h 5120141"/>
                <a:gd name="connsiteX343" fmla="*/ 2133090 w 3832826"/>
                <a:gd name="connsiteY343" fmla="*/ 3211201 h 5120141"/>
                <a:gd name="connsiteX344" fmla="*/ 2210924 w 3832826"/>
                <a:gd name="connsiteY344" fmla="*/ 3145234 h 5120141"/>
                <a:gd name="connsiteX345" fmla="*/ 2286655 w 3832826"/>
                <a:gd name="connsiteY345" fmla="*/ 3071271 h 5120141"/>
                <a:gd name="connsiteX346" fmla="*/ 2316106 w 3832826"/>
                <a:gd name="connsiteY346" fmla="*/ 3045284 h 5120141"/>
                <a:gd name="connsiteX347" fmla="*/ 2332935 w 3832826"/>
                <a:gd name="connsiteY347" fmla="*/ 3035289 h 5120141"/>
                <a:gd name="connsiteX348" fmla="*/ 2343453 w 3832826"/>
                <a:gd name="connsiteY348" fmla="*/ 3031291 h 5120141"/>
                <a:gd name="connsiteX349" fmla="*/ 2349764 w 3832826"/>
                <a:gd name="connsiteY349" fmla="*/ 3029292 h 5120141"/>
                <a:gd name="connsiteX350" fmla="*/ 2381318 w 3832826"/>
                <a:gd name="connsiteY350" fmla="*/ 3031291 h 5120141"/>
                <a:gd name="connsiteX351" fmla="*/ 2398148 w 3832826"/>
                <a:gd name="connsiteY351" fmla="*/ 3029292 h 5120141"/>
                <a:gd name="connsiteX352" fmla="*/ 2402355 w 3832826"/>
                <a:gd name="connsiteY352" fmla="*/ 3029292 h 5120141"/>
                <a:gd name="connsiteX353" fmla="*/ 2404458 w 3832826"/>
                <a:gd name="connsiteY353" fmla="*/ 3027293 h 5120141"/>
                <a:gd name="connsiteX354" fmla="*/ 2404458 w 3832826"/>
                <a:gd name="connsiteY354" fmla="*/ 3007303 h 5120141"/>
                <a:gd name="connsiteX355" fmla="*/ 2408666 w 3832826"/>
                <a:gd name="connsiteY355" fmla="*/ 2997308 h 5120141"/>
                <a:gd name="connsiteX356" fmla="*/ 2410769 w 3832826"/>
                <a:gd name="connsiteY356" fmla="*/ 2995309 h 5120141"/>
                <a:gd name="connsiteX357" fmla="*/ 2414977 w 3832826"/>
                <a:gd name="connsiteY357" fmla="*/ 2991311 h 5120141"/>
                <a:gd name="connsiteX358" fmla="*/ 2423391 w 3832826"/>
                <a:gd name="connsiteY358" fmla="*/ 2991311 h 5120141"/>
                <a:gd name="connsiteX359" fmla="*/ 2425495 w 3832826"/>
                <a:gd name="connsiteY359" fmla="*/ 2987313 h 5120141"/>
                <a:gd name="connsiteX360" fmla="*/ 2429702 w 3832826"/>
                <a:gd name="connsiteY360" fmla="*/ 2985314 h 5120141"/>
                <a:gd name="connsiteX361" fmla="*/ 2429702 w 3832826"/>
                <a:gd name="connsiteY361" fmla="*/ 2979317 h 5120141"/>
                <a:gd name="connsiteX362" fmla="*/ 2429702 w 3832826"/>
                <a:gd name="connsiteY362" fmla="*/ 2977318 h 5120141"/>
                <a:gd name="connsiteX363" fmla="*/ 2431806 w 3832826"/>
                <a:gd name="connsiteY363" fmla="*/ 2971321 h 5120141"/>
                <a:gd name="connsiteX364" fmla="*/ 2433909 w 3832826"/>
                <a:gd name="connsiteY364" fmla="*/ 2969322 h 5120141"/>
                <a:gd name="connsiteX365" fmla="*/ 2442324 w 3832826"/>
                <a:gd name="connsiteY365" fmla="*/ 2967323 h 5120141"/>
                <a:gd name="connsiteX366" fmla="*/ 2452842 w 3832826"/>
                <a:gd name="connsiteY366" fmla="*/ 2967323 h 5120141"/>
                <a:gd name="connsiteX367" fmla="*/ 2454946 w 3832826"/>
                <a:gd name="connsiteY367" fmla="*/ 2965324 h 5120141"/>
                <a:gd name="connsiteX368" fmla="*/ 2457049 w 3832826"/>
                <a:gd name="connsiteY368" fmla="*/ 2961326 h 5120141"/>
                <a:gd name="connsiteX369" fmla="*/ 2457049 w 3832826"/>
                <a:gd name="connsiteY369" fmla="*/ 2941336 h 5120141"/>
                <a:gd name="connsiteX370" fmla="*/ 2461257 w 3832826"/>
                <a:gd name="connsiteY370" fmla="*/ 2927343 h 5120141"/>
                <a:gd name="connsiteX371" fmla="*/ 2463360 w 3832826"/>
                <a:gd name="connsiteY371" fmla="*/ 2917348 h 5120141"/>
                <a:gd name="connsiteX372" fmla="*/ 2467567 w 3832826"/>
                <a:gd name="connsiteY372" fmla="*/ 2907353 h 5120141"/>
                <a:gd name="connsiteX373" fmla="*/ 2473878 w 3832826"/>
                <a:gd name="connsiteY373" fmla="*/ 2899357 h 5120141"/>
                <a:gd name="connsiteX374" fmla="*/ 2488604 w 3832826"/>
                <a:gd name="connsiteY374" fmla="*/ 2885364 h 5120141"/>
                <a:gd name="connsiteX375" fmla="*/ 2509640 w 3832826"/>
                <a:gd name="connsiteY375" fmla="*/ 2865374 h 5120141"/>
                <a:gd name="connsiteX376" fmla="*/ 2646376 w 3832826"/>
                <a:gd name="connsiteY376" fmla="*/ 2743436 h 5120141"/>
                <a:gd name="connsiteX377" fmla="*/ 2650584 w 3832826"/>
                <a:gd name="connsiteY377" fmla="*/ 2755430 h 5120141"/>
                <a:gd name="connsiteX378" fmla="*/ 2654791 w 3832826"/>
                <a:gd name="connsiteY378" fmla="*/ 2765425 h 5120141"/>
                <a:gd name="connsiteX379" fmla="*/ 2663205 w 3832826"/>
                <a:gd name="connsiteY379" fmla="*/ 2773421 h 5120141"/>
                <a:gd name="connsiteX380" fmla="*/ 2671620 w 3832826"/>
                <a:gd name="connsiteY380" fmla="*/ 2773421 h 5120141"/>
                <a:gd name="connsiteX381" fmla="*/ 2675827 w 3832826"/>
                <a:gd name="connsiteY381" fmla="*/ 2775420 h 5120141"/>
                <a:gd name="connsiteX382" fmla="*/ 2688449 w 3832826"/>
                <a:gd name="connsiteY382" fmla="*/ 2779418 h 5120141"/>
                <a:gd name="connsiteX383" fmla="*/ 2696863 w 3832826"/>
                <a:gd name="connsiteY383" fmla="*/ 2785415 h 5120141"/>
                <a:gd name="connsiteX384" fmla="*/ 2701071 w 3832826"/>
                <a:gd name="connsiteY384" fmla="*/ 2787414 h 5120141"/>
                <a:gd name="connsiteX385" fmla="*/ 2709485 w 3832826"/>
                <a:gd name="connsiteY385" fmla="*/ 2785415 h 5120141"/>
                <a:gd name="connsiteX386" fmla="*/ 2715796 w 3832826"/>
                <a:gd name="connsiteY386" fmla="*/ 2779418 h 5120141"/>
                <a:gd name="connsiteX387" fmla="*/ 2722107 w 3832826"/>
                <a:gd name="connsiteY387" fmla="*/ 2775420 h 5120141"/>
                <a:gd name="connsiteX388" fmla="*/ 2728418 w 3832826"/>
                <a:gd name="connsiteY388" fmla="*/ 2773421 h 5120141"/>
                <a:gd name="connsiteX389" fmla="*/ 2747351 w 3832826"/>
                <a:gd name="connsiteY389" fmla="*/ 2769423 h 5120141"/>
                <a:gd name="connsiteX390" fmla="*/ 2764180 w 3832826"/>
                <a:gd name="connsiteY390" fmla="*/ 2773421 h 5120141"/>
                <a:gd name="connsiteX391" fmla="*/ 2783112 w 3832826"/>
                <a:gd name="connsiteY391" fmla="*/ 2779418 h 5120141"/>
                <a:gd name="connsiteX392" fmla="*/ 2795734 w 3832826"/>
                <a:gd name="connsiteY392" fmla="*/ 2793411 h 5120141"/>
                <a:gd name="connsiteX393" fmla="*/ 2799942 w 3832826"/>
                <a:gd name="connsiteY393" fmla="*/ 2793411 h 5120141"/>
                <a:gd name="connsiteX394" fmla="*/ 2804149 w 3832826"/>
                <a:gd name="connsiteY394" fmla="*/ 2805405 h 5120141"/>
                <a:gd name="connsiteX395" fmla="*/ 2812563 w 3832826"/>
                <a:gd name="connsiteY395" fmla="*/ 2817399 h 5120141"/>
                <a:gd name="connsiteX396" fmla="*/ 2825185 w 3832826"/>
                <a:gd name="connsiteY396" fmla="*/ 2845384 h 5120141"/>
                <a:gd name="connsiteX397" fmla="*/ 2835703 w 3832826"/>
                <a:gd name="connsiteY397" fmla="*/ 2873370 h 5120141"/>
                <a:gd name="connsiteX398" fmla="*/ 2842014 w 3832826"/>
                <a:gd name="connsiteY398" fmla="*/ 2885364 h 5120141"/>
                <a:gd name="connsiteX399" fmla="*/ 2847737 w 3832826"/>
                <a:gd name="connsiteY399" fmla="*/ 2896240 h 5120141"/>
                <a:gd name="connsiteX400" fmla="*/ 2848292 w 3832826"/>
                <a:gd name="connsiteY400" fmla="*/ 2895738 h 5120141"/>
                <a:gd name="connsiteX401" fmla="*/ 2873502 w 3832826"/>
                <a:gd name="connsiteY401" fmla="*/ 2911778 h 5120141"/>
                <a:gd name="connsiteX402" fmla="*/ 2898892 w 3832826"/>
                <a:gd name="connsiteY402" fmla="*/ 2921802 h 5120141"/>
                <a:gd name="connsiteX403" fmla="*/ 2921942 w 3832826"/>
                <a:gd name="connsiteY403" fmla="*/ 2935837 h 5120141"/>
                <a:gd name="connsiteX404" fmla="*/ 2932386 w 3832826"/>
                <a:gd name="connsiteY404" fmla="*/ 2943857 h 5120141"/>
                <a:gd name="connsiteX405" fmla="*/ 2943010 w 3832826"/>
                <a:gd name="connsiteY405" fmla="*/ 2953882 h 5120141"/>
                <a:gd name="connsiteX406" fmla="*/ 2957776 w 3832826"/>
                <a:gd name="connsiteY406" fmla="*/ 2965912 h 5120141"/>
                <a:gd name="connsiteX407" fmla="*/ 2964078 w 3832826"/>
                <a:gd name="connsiteY407" fmla="*/ 2973932 h 5120141"/>
                <a:gd name="connsiteX408" fmla="*/ 2970381 w 3832826"/>
                <a:gd name="connsiteY408" fmla="*/ 2977942 h 5120141"/>
                <a:gd name="connsiteX409" fmla="*/ 2985147 w 3832826"/>
                <a:gd name="connsiteY409" fmla="*/ 2979947 h 5120141"/>
                <a:gd name="connsiteX410" fmla="*/ 2995591 w 3832826"/>
                <a:gd name="connsiteY410" fmla="*/ 2979947 h 5120141"/>
                <a:gd name="connsiteX411" fmla="*/ 3006035 w 3832826"/>
                <a:gd name="connsiteY411" fmla="*/ 2983957 h 5120141"/>
                <a:gd name="connsiteX412" fmla="*/ 3018640 w 3832826"/>
                <a:gd name="connsiteY412" fmla="*/ 2993981 h 5120141"/>
                <a:gd name="connsiteX413" fmla="*/ 3024942 w 3832826"/>
                <a:gd name="connsiteY413" fmla="*/ 2999996 h 5120141"/>
                <a:gd name="connsiteX414" fmla="*/ 3027103 w 3832826"/>
                <a:gd name="connsiteY414" fmla="*/ 3006011 h 5120141"/>
                <a:gd name="connsiteX415" fmla="*/ 3027103 w 3832826"/>
                <a:gd name="connsiteY415" fmla="*/ 3008016 h 5120141"/>
                <a:gd name="connsiteX416" fmla="*/ 3024942 w 3832826"/>
                <a:gd name="connsiteY416" fmla="*/ 3014031 h 5120141"/>
                <a:gd name="connsiteX417" fmla="*/ 3018640 w 3832826"/>
                <a:gd name="connsiteY417" fmla="*/ 3020046 h 5120141"/>
                <a:gd name="connsiteX418" fmla="*/ 3014498 w 3832826"/>
                <a:gd name="connsiteY418" fmla="*/ 3029937 h 5120141"/>
                <a:gd name="connsiteX419" fmla="*/ 3014498 w 3832826"/>
                <a:gd name="connsiteY419" fmla="*/ 3043972 h 5120141"/>
                <a:gd name="connsiteX420" fmla="*/ 3014498 w 3832826"/>
                <a:gd name="connsiteY420" fmla="*/ 3049987 h 5120141"/>
                <a:gd name="connsiteX421" fmla="*/ 3024942 w 3832826"/>
                <a:gd name="connsiteY421" fmla="*/ 3074047 h 5120141"/>
                <a:gd name="connsiteX422" fmla="*/ 3024942 w 3832826"/>
                <a:gd name="connsiteY422" fmla="*/ 3084071 h 5120141"/>
                <a:gd name="connsiteX423" fmla="*/ 3022962 w 3832826"/>
                <a:gd name="connsiteY423" fmla="*/ 3088081 h 5120141"/>
                <a:gd name="connsiteX424" fmla="*/ 3022962 w 3832826"/>
                <a:gd name="connsiteY424" fmla="*/ 3090086 h 5120141"/>
                <a:gd name="connsiteX425" fmla="*/ 3024942 w 3832826"/>
                <a:gd name="connsiteY425" fmla="*/ 3094096 h 5120141"/>
                <a:gd name="connsiteX426" fmla="*/ 3033406 w 3832826"/>
                <a:gd name="connsiteY426" fmla="*/ 3100111 h 5120141"/>
                <a:gd name="connsiteX427" fmla="*/ 3046011 w 3832826"/>
                <a:gd name="connsiteY427" fmla="*/ 3106126 h 5120141"/>
                <a:gd name="connsiteX428" fmla="*/ 3056635 w 3832826"/>
                <a:gd name="connsiteY428" fmla="*/ 3108131 h 5120141"/>
                <a:gd name="connsiteX429" fmla="*/ 3064918 w 3832826"/>
                <a:gd name="connsiteY429" fmla="*/ 3110136 h 5120141"/>
                <a:gd name="connsiteX430" fmla="*/ 3075542 w 3832826"/>
                <a:gd name="connsiteY430" fmla="*/ 3118156 h 5120141"/>
                <a:gd name="connsiteX431" fmla="*/ 3088147 w 3832826"/>
                <a:gd name="connsiteY431" fmla="*/ 3138206 h 5120141"/>
                <a:gd name="connsiteX432" fmla="*/ 3096611 w 3832826"/>
                <a:gd name="connsiteY432" fmla="*/ 3152240 h 5120141"/>
                <a:gd name="connsiteX433" fmla="*/ 3096611 w 3832826"/>
                <a:gd name="connsiteY433" fmla="*/ 3162265 h 5120141"/>
                <a:gd name="connsiteX434" fmla="*/ 3096611 w 3832826"/>
                <a:gd name="connsiteY434" fmla="*/ 3166275 h 5120141"/>
                <a:gd name="connsiteX435" fmla="*/ 3090308 w 3832826"/>
                <a:gd name="connsiteY435" fmla="*/ 3168280 h 5120141"/>
                <a:gd name="connsiteX436" fmla="*/ 3088147 w 3832826"/>
                <a:gd name="connsiteY436" fmla="*/ 3168280 h 5120141"/>
                <a:gd name="connsiteX437" fmla="*/ 3085987 w 3832826"/>
                <a:gd name="connsiteY437" fmla="*/ 3170285 h 5120141"/>
                <a:gd name="connsiteX438" fmla="*/ 3085987 w 3832826"/>
                <a:gd name="connsiteY438" fmla="*/ 3178305 h 5120141"/>
                <a:gd name="connsiteX439" fmla="*/ 3088147 w 3832826"/>
                <a:gd name="connsiteY439" fmla="*/ 3182315 h 5120141"/>
                <a:gd name="connsiteX440" fmla="*/ 3090308 w 3832826"/>
                <a:gd name="connsiteY440" fmla="*/ 3186325 h 5120141"/>
                <a:gd name="connsiteX441" fmla="*/ 3092289 w 3832826"/>
                <a:gd name="connsiteY441" fmla="*/ 3190335 h 5120141"/>
                <a:gd name="connsiteX442" fmla="*/ 3098592 w 3832826"/>
                <a:gd name="connsiteY442" fmla="*/ 3208380 h 5120141"/>
                <a:gd name="connsiteX443" fmla="*/ 3102913 w 3832826"/>
                <a:gd name="connsiteY443" fmla="*/ 3222415 h 5120141"/>
                <a:gd name="connsiteX444" fmla="*/ 3107055 w 3832826"/>
                <a:gd name="connsiteY444" fmla="*/ 3238454 h 5120141"/>
                <a:gd name="connsiteX445" fmla="*/ 3109216 w 3832826"/>
                <a:gd name="connsiteY445" fmla="*/ 3246474 h 5120141"/>
                <a:gd name="connsiteX446" fmla="*/ 3113357 w 3832826"/>
                <a:gd name="connsiteY446" fmla="*/ 3248479 h 5120141"/>
                <a:gd name="connsiteX447" fmla="*/ 3130284 w 3832826"/>
                <a:gd name="connsiteY447" fmla="*/ 3252489 h 5120141"/>
                <a:gd name="connsiteX448" fmla="*/ 3159636 w 3832826"/>
                <a:gd name="connsiteY448" fmla="*/ 3266524 h 5120141"/>
                <a:gd name="connsiteX449" fmla="*/ 3187007 w 3832826"/>
                <a:gd name="connsiteY449" fmla="*/ 3278554 h 5120141"/>
                <a:gd name="connsiteX450" fmla="*/ 3214377 w 3832826"/>
                <a:gd name="connsiteY450" fmla="*/ 3296598 h 5120141"/>
                <a:gd name="connsiteX451" fmla="*/ 3243729 w 3832826"/>
                <a:gd name="connsiteY451" fmla="*/ 3308495 h 5120141"/>
                <a:gd name="connsiteX452" fmla="*/ 3250032 w 3832826"/>
                <a:gd name="connsiteY452" fmla="*/ 3312505 h 5120141"/>
                <a:gd name="connsiteX453" fmla="*/ 3260656 w 3832826"/>
                <a:gd name="connsiteY453" fmla="*/ 3326539 h 5120141"/>
                <a:gd name="connsiteX454" fmla="*/ 3269119 w 3832826"/>
                <a:gd name="connsiteY454" fmla="*/ 3338569 h 5120141"/>
                <a:gd name="connsiteX455" fmla="*/ 3275422 w 3832826"/>
                <a:gd name="connsiteY455" fmla="*/ 3352604 h 5120141"/>
                <a:gd name="connsiteX456" fmla="*/ 3285866 w 3832826"/>
                <a:gd name="connsiteY456" fmla="*/ 3384684 h 5120141"/>
                <a:gd name="connsiteX457" fmla="*/ 3292168 w 3832826"/>
                <a:gd name="connsiteY457" fmla="*/ 3410748 h 5120141"/>
                <a:gd name="connsiteX458" fmla="*/ 3300632 w 3832826"/>
                <a:gd name="connsiteY458" fmla="*/ 3434808 h 5120141"/>
                <a:gd name="connsiteX459" fmla="*/ 3309095 w 3832826"/>
                <a:gd name="connsiteY459" fmla="*/ 3458868 h 5120141"/>
                <a:gd name="connsiteX460" fmla="*/ 3311076 w 3832826"/>
                <a:gd name="connsiteY460" fmla="*/ 3468892 h 5120141"/>
                <a:gd name="connsiteX461" fmla="*/ 3313237 w 3832826"/>
                <a:gd name="connsiteY461" fmla="*/ 3474907 h 5120141"/>
                <a:gd name="connsiteX462" fmla="*/ 3313237 w 3832826"/>
                <a:gd name="connsiteY462" fmla="*/ 3478917 h 5120141"/>
                <a:gd name="connsiteX463" fmla="*/ 3309095 w 3832826"/>
                <a:gd name="connsiteY463" fmla="*/ 3482927 h 5120141"/>
                <a:gd name="connsiteX464" fmla="*/ 3302793 w 3832826"/>
                <a:gd name="connsiteY464" fmla="*/ 3488942 h 5120141"/>
                <a:gd name="connsiteX465" fmla="*/ 3296310 w 3832826"/>
                <a:gd name="connsiteY465" fmla="*/ 3490947 h 5120141"/>
                <a:gd name="connsiteX466" fmla="*/ 3296310 w 3832826"/>
                <a:gd name="connsiteY466" fmla="*/ 3498967 h 5120141"/>
                <a:gd name="connsiteX467" fmla="*/ 3296310 w 3832826"/>
                <a:gd name="connsiteY467" fmla="*/ 3508992 h 5120141"/>
                <a:gd name="connsiteX468" fmla="*/ 3300632 w 3832826"/>
                <a:gd name="connsiteY468" fmla="*/ 3531047 h 5120141"/>
                <a:gd name="connsiteX469" fmla="*/ 3309095 w 3832826"/>
                <a:gd name="connsiteY469" fmla="*/ 3553101 h 5120141"/>
                <a:gd name="connsiteX470" fmla="*/ 3313237 w 3832826"/>
                <a:gd name="connsiteY470" fmla="*/ 3563126 h 5120141"/>
                <a:gd name="connsiteX471" fmla="*/ 3319539 w 3832826"/>
                <a:gd name="connsiteY471" fmla="*/ 3567002 h 5120141"/>
                <a:gd name="connsiteX472" fmla="*/ 3317645 w 3832826"/>
                <a:gd name="connsiteY472" fmla="*/ 3567042 h 5120141"/>
                <a:gd name="connsiteX473" fmla="*/ 3330079 w 3832826"/>
                <a:gd name="connsiteY473" fmla="*/ 3577062 h 5120141"/>
                <a:gd name="connsiteX474" fmla="*/ 3334316 w 3832826"/>
                <a:gd name="connsiteY474" fmla="*/ 3585058 h 5120141"/>
                <a:gd name="connsiteX475" fmla="*/ 3334316 w 3832826"/>
                <a:gd name="connsiteY475" fmla="*/ 3593054 h 5120141"/>
                <a:gd name="connsiteX476" fmla="*/ 3334316 w 3832826"/>
                <a:gd name="connsiteY476" fmla="*/ 3603030 h 5120141"/>
                <a:gd name="connsiteX477" fmla="*/ 3332198 w 3832826"/>
                <a:gd name="connsiteY477" fmla="*/ 3607066 h 5120141"/>
                <a:gd name="connsiteX478" fmla="*/ 3323724 w 3832826"/>
                <a:gd name="connsiteY478" fmla="*/ 3609046 h 5120141"/>
                <a:gd name="connsiteX479" fmla="*/ 3319599 w 3832826"/>
                <a:gd name="connsiteY479" fmla="*/ 3613006 h 5120141"/>
                <a:gd name="connsiteX480" fmla="*/ 3319599 w 3832826"/>
                <a:gd name="connsiteY480" fmla="*/ 3617042 h 5120141"/>
                <a:gd name="connsiteX481" fmla="*/ 3319599 w 3832826"/>
                <a:gd name="connsiteY481" fmla="*/ 3619021 h 5120141"/>
                <a:gd name="connsiteX482" fmla="*/ 3323724 w 3832826"/>
                <a:gd name="connsiteY482" fmla="*/ 3625037 h 5120141"/>
                <a:gd name="connsiteX483" fmla="*/ 3330079 w 3832826"/>
                <a:gd name="connsiteY483" fmla="*/ 3627017 h 5120141"/>
                <a:gd name="connsiteX484" fmla="*/ 3332198 w 3832826"/>
                <a:gd name="connsiteY484" fmla="*/ 3628997 h 5120141"/>
                <a:gd name="connsiteX485" fmla="*/ 3340560 w 3832826"/>
                <a:gd name="connsiteY485" fmla="*/ 3644989 h 5120141"/>
                <a:gd name="connsiteX486" fmla="*/ 3351151 w 3832826"/>
                <a:gd name="connsiteY486" fmla="*/ 3657021 h 5120141"/>
                <a:gd name="connsiteX487" fmla="*/ 3372112 w 3832826"/>
                <a:gd name="connsiteY487" fmla="*/ 3684968 h 5120141"/>
                <a:gd name="connsiteX488" fmla="*/ 3372112 w 3832826"/>
                <a:gd name="connsiteY488" fmla="*/ 3687024 h 5120141"/>
                <a:gd name="connsiteX489" fmla="*/ 3372112 w 3832826"/>
                <a:gd name="connsiteY489" fmla="*/ 3689004 h 5120141"/>
                <a:gd name="connsiteX490" fmla="*/ 3367875 w 3832826"/>
                <a:gd name="connsiteY490" fmla="*/ 3695020 h 5120141"/>
                <a:gd name="connsiteX491" fmla="*/ 3363750 w 3832826"/>
                <a:gd name="connsiteY491" fmla="*/ 3703016 h 5120141"/>
                <a:gd name="connsiteX492" fmla="*/ 3363750 w 3832826"/>
                <a:gd name="connsiteY492" fmla="*/ 3704996 h 5120141"/>
                <a:gd name="connsiteX493" fmla="*/ 3363750 w 3832826"/>
                <a:gd name="connsiteY493" fmla="*/ 3706976 h 5120141"/>
                <a:gd name="connsiteX494" fmla="*/ 3367875 w 3832826"/>
                <a:gd name="connsiteY494" fmla="*/ 3716951 h 5120141"/>
                <a:gd name="connsiteX495" fmla="*/ 3374230 w 3832826"/>
                <a:gd name="connsiteY495" fmla="*/ 3722967 h 5120141"/>
                <a:gd name="connsiteX496" fmla="*/ 3382704 w 3832826"/>
                <a:gd name="connsiteY496" fmla="*/ 3728983 h 5120141"/>
                <a:gd name="connsiteX497" fmla="*/ 3388948 w 3832826"/>
                <a:gd name="connsiteY497" fmla="*/ 3734923 h 5120141"/>
                <a:gd name="connsiteX498" fmla="*/ 3395303 w 3832826"/>
                <a:gd name="connsiteY498" fmla="*/ 3746955 h 5120141"/>
                <a:gd name="connsiteX499" fmla="*/ 3397421 w 3832826"/>
                <a:gd name="connsiteY499" fmla="*/ 3756931 h 5120141"/>
                <a:gd name="connsiteX500" fmla="*/ 3397421 w 3832826"/>
                <a:gd name="connsiteY500" fmla="*/ 3766907 h 5120141"/>
                <a:gd name="connsiteX501" fmla="*/ 3399428 w 3832826"/>
                <a:gd name="connsiteY501" fmla="*/ 3778939 h 5120141"/>
                <a:gd name="connsiteX502" fmla="*/ 3407901 w 3832826"/>
                <a:gd name="connsiteY502" fmla="*/ 3798890 h 5120141"/>
                <a:gd name="connsiteX503" fmla="*/ 3416263 w 3832826"/>
                <a:gd name="connsiteY503" fmla="*/ 3808942 h 5120141"/>
                <a:gd name="connsiteX504" fmla="*/ 3424737 w 3832826"/>
                <a:gd name="connsiteY504" fmla="*/ 3816938 h 5120141"/>
                <a:gd name="connsiteX505" fmla="*/ 3431092 w 3832826"/>
                <a:gd name="connsiteY505" fmla="*/ 3820898 h 5120141"/>
                <a:gd name="connsiteX506" fmla="*/ 3437335 w 3832826"/>
                <a:gd name="connsiteY506" fmla="*/ 3820898 h 5120141"/>
                <a:gd name="connsiteX507" fmla="*/ 3449934 w 3832826"/>
                <a:gd name="connsiteY507" fmla="*/ 3820898 h 5120141"/>
                <a:gd name="connsiteX508" fmla="*/ 3456289 w 3832826"/>
                <a:gd name="connsiteY508" fmla="*/ 3824934 h 5120141"/>
                <a:gd name="connsiteX509" fmla="*/ 3460526 w 3832826"/>
                <a:gd name="connsiteY509" fmla="*/ 3826914 h 5120141"/>
                <a:gd name="connsiteX510" fmla="*/ 3466770 w 3832826"/>
                <a:gd name="connsiteY510" fmla="*/ 3830874 h 5120141"/>
                <a:gd name="connsiteX511" fmla="*/ 3468888 w 3832826"/>
                <a:gd name="connsiteY511" fmla="*/ 3840925 h 5120141"/>
                <a:gd name="connsiteX512" fmla="*/ 3466770 w 3832826"/>
                <a:gd name="connsiteY512" fmla="*/ 3840925 h 5120141"/>
                <a:gd name="connsiteX513" fmla="*/ 3462644 w 3832826"/>
                <a:gd name="connsiteY513" fmla="*/ 3844885 h 5120141"/>
                <a:gd name="connsiteX514" fmla="*/ 3458408 w 3832826"/>
                <a:gd name="connsiteY514" fmla="*/ 3846865 h 5120141"/>
                <a:gd name="connsiteX515" fmla="*/ 3456289 w 3832826"/>
                <a:gd name="connsiteY515" fmla="*/ 3848921 h 5120141"/>
                <a:gd name="connsiteX516" fmla="*/ 3458408 w 3832826"/>
                <a:gd name="connsiteY516" fmla="*/ 3854861 h 5120141"/>
                <a:gd name="connsiteX517" fmla="*/ 3462644 w 3832826"/>
                <a:gd name="connsiteY517" fmla="*/ 3856917 h 5120141"/>
                <a:gd name="connsiteX518" fmla="*/ 3468888 w 3832826"/>
                <a:gd name="connsiteY518" fmla="*/ 3860877 h 5120141"/>
                <a:gd name="connsiteX519" fmla="*/ 3481487 w 3832826"/>
                <a:gd name="connsiteY519" fmla="*/ 3874889 h 5120141"/>
                <a:gd name="connsiteX520" fmla="*/ 3487842 w 3832826"/>
                <a:gd name="connsiteY520" fmla="*/ 3880828 h 5120141"/>
                <a:gd name="connsiteX521" fmla="*/ 3489960 w 3832826"/>
                <a:gd name="connsiteY521" fmla="*/ 3888824 h 5120141"/>
                <a:gd name="connsiteX522" fmla="*/ 3489960 w 3832826"/>
                <a:gd name="connsiteY522" fmla="*/ 3898876 h 5120141"/>
                <a:gd name="connsiteX523" fmla="*/ 3483605 w 3832826"/>
                <a:gd name="connsiteY523" fmla="*/ 3910832 h 5120141"/>
                <a:gd name="connsiteX524" fmla="*/ 3477361 w 3832826"/>
                <a:gd name="connsiteY524" fmla="*/ 3924844 h 5120141"/>
                <a:gd name="connsiteX525" fmla="*/ 3477361 w 3832826"/>
                <a:gd name="connsiteY525" fmla="*/ 3934819 h 5120141"/>
                <a:gd name="connsiteX526" fmla="*/ 3477361 w 3832826"/>
                <a:gd name="connsiteY526" fmla="*/ 3946851 h 5120141"/>
                <a:gd name="connsiteX527" fmla="*/ 3481487 w 3832826"/>
                <a:gd name="connsiteY527" fmla="*/ 3960787 h 5120141"/>
                <a:gd name="connsiteX528" fmla="*/ 3492078 w 3832826"/>
                <a:gd name="connsiteY528" fmla="*/ 3988810 h 5120141"/>
                <a:gd name="connsiteX529" fmla="*/ 3498322 w 3832826"/>
                <a:gd name="connsiteY529" fmla="*/ 3998786 h 5120141"/>
                <a:gd name="connsiteX530" fmla="*/ 3502559 w 3832826"/>
                <a:gd name="connsiteY530" fmla="*/ 4006782 h 5120141"/>
                <a:gd name="connsiteX531" fmla="*/ 3513039 w 3832826"/>
                <a:gd name="connsiteY531" fmla="*/ 4012798 h 5120141"/>
                <a:gd name="connsiteX532" fmla="*/ 3521513 w 3832826"/>
                <a:gd name="connsiteY532" fmla="*/ 4022774 h 5120141"/>
                <a:gd name="connsiteX533" fmla="*/ 3523631 w 3832826"/>
                <a:gd name="connsiteY533" fmla="*/ 4028790 h 5120141"/>
                <a:gd name="connsiteX534" fmla="*/ 3523631 w 3832826"/>
                <a:gd name="connsiteY534" fmla="*/ 4036785 h 5120141"/>
                <a:gd name="connsiteX535" fmla="*/ 3523631 w 3832826"/>
                <a:gd name="connsiteY535" fmla="*/ 4048741 h 5120141"/>
                <a:gd name="connsiteX536" fmla="*/ 3521513 w 3832826"/>
                <a:gd name="connsiteY536" fmla="*/ 4066713 h 5120141"/>
                <a:gd name="connsiteX537" fmla="*/ 3521513 w 3832826"/>
                <a:gd name="connsiteY537" fmla="*/ 4078744 h 5120141"/>
                <a:gd name="connsiteX538" fmla="*/ 3525749 w 3832826"/>
                <a:gd name="connsiteY538" fmla="*/ 4100752 h 5120141"/>
                <a:gd name="connsiteX539" fmla="*/ 3540466 w 3832826"/>
                <a:gd name="connsiteY539" fmla="*/ 4136695 h 5120141"/>
                <a:gd name="connsiteX540" fmla="*/ 3557302 w 3832826"/>
                <a:gd name="connsiteY540" fmla="*/ 4182690 h 5120141"/>
                <a:gd name="connsiteX541" fmla="*/ 3555183 w 3832826"/>
                <a:gd name="connsiteY541" fmla="*/ 4186650 h 5120141"/>
                <a:gd name="connsiteX542" fmla="*/ 3557302 w 3832826"/>
                <a:gd name="connsiteY542" fmla="*/ 4192666 h 5120141"/>
                <a:gd name="connsiteX543" fmla="*/ 3567782 w 3832826"/>
                <a:gd name="connsiteY543" fmla="*/ 4214674 h 5120141"/>
                <a:gd name="connsiteX544" fmla="*/ 3578262 w 3832826"/>
                <a:gd name="connsiteY544" fmla="*/ 4240641 h 5120141"/>
                <a:gd name="connsiteX545" fmla="*/ 3582499 w 3832826"/>
                <a:gd name="connsiteY545" fmla="*/ 4250617 h 5120141"/>
                <a:gd name="connsiteX546" fmla="*/ 3582499 w 3832826"/>
                <a:gd name="connsiteY546" fmla="*/ 4260593 h 5120141"/>
                <a:gd name="connsiteX547" fmla="*/ 3578262 w 3832826"/>
                <a:gd name="connsiteY547" fmla="*/ 4260593 h 5120141"/>
                <a:gd name="connsiteX548" fmla="*/ 3576144 w 3832826"/>
                <a:gd name="connsiteY548" fmla="*/ 4264629 h 5120141"/>
                <a:gd name="connsiteX549" fmla="*/ 3572019 w 3832826"/>
                <a:gd name="connsiteY549" fmla="*/ 4270645 h 5120141"/>
                <a:gd name="connsiteX550" fmla="*/ 3565664 w 3832826"/>
                <a:gd name="connsiteY550" fmla="*/ 4272624 h 5120141"/>
                <a:gd name="connsiteX551" fmla="*/ 3563545 w 3832826"/>
                <a:gd name="connsiteY551" fmla="*/ 4278640 h 5120141"/>
                <a:gd name="connsiteX552" fmla="*/ 3561427 w 3832826"/>
                <a:gd name="connsiteY552" fmla="*/ 4288616 h 5120141"/>
                <a:gd name="connsiteX553" fmla="*/ 3561427 w 3832826"/>
                <a:gd name="connsiteY553" fmla="*/ 4300572 h 5120141"/>
                <a:gd name="connsiteX554" fmla="*/ 3557302 w 3832826"/>
                <a:gd name="connsiteY554" fmla="*/ 4324559 h 5120141"/>
                <a:gd name="connsiteX555" fmla="*/ 3556313 w 3832826"/>
                <a:gd name="connsiteY555" fmla="*/ 4324559 h 5120141"/>
                <a:gd name="connsiteX556" fmla="*/ 3557250 w 3832826"/>
                <a:gd name="connsiteY556" fmla="*/ 4324566 h 5120141"/>
                <a:gd name="connsiteX557" fmla="*/ 3561457 w 3832826"/>
                <a:gd name="connsiteY557" fmla="*/ 4324566 h 5120141"/>
                <a:gd name="connsiteX558" fmla="*/ 3687675 w 3832826"/>
                <a:gd name="connsiteY558" fmla="*/ 4322562 h 5120141"/>
                <a:gd name="connsiteX559" fmla="*/ 3815997 w 3832826"/>
                <a:gd name="connsiteY559" fmla="*/ 4322562 h 5120141"/>
                <a:gd name="connsiteX560" fmla="*/ 3820204 w 3832826"/>
                <a:gd name="connsiteY560" fmla="*/ 4362642 h 5120141"/>
                <a:gd name="connsiteX561" fmla="*/ 3820204 w 3832826"/>
                <a:gd name="connsiteY561" fmla="*/ 4388693 h 5120141"/>
                <a:gd name="connsiteX562" fmla="*/ 3815997 w 3832826"/>
                <a:gd name="connsiteY562" fmla="*/ 4394705 h 5120141"/>
                <a:gd name="connsiteX563" fmla="*/ 3813893 w 3832826"/>
                <a:gd name="connsiteY563" fmla="*/ 4398713 h 5120141"/>
                <a:gd name="connsiteX564" fmla="*/ 3803375 w 3832826"/>
                <a:gd name="connsiteY564" fmla="*/ 4398713 h 5120141"/>
                <a:gd name="connsiteX565" fmla="*/ 3799168 w 3832826"/>
                <a:gd name="connsiteY565" fmla="*/ 4402721 h 5120141"/>
                <a:gd name="connsiteX566" fmla="*/ 3799168 w 3832826"/>
                <a:gd name="connsiteY566" fmla="*/ 4408733 h 5120141"/>
                <a:gd name="connsiteX567" fmla="*/ 3801272 w 3832826"/>
                <a:gd name="connsiteY567" fmla="*/ 4420757 h 5120141"/>
                <a:gd name="connsiteX568" fmla="*/ 3801272 w 3832826"/>
                <a:gd name="connsiteY568" fmla="*/ 4422761 h 5120141"/>
                <a:gd name="connsiteX569" fmla="*/ 3805479 w 3832826"/>
                <a:gd name="connsiteY569" fmla="*/ 4424765 h 5120141"/>
                <a:gd name="connsiteX570" fmla="*/ 3815997 w 3832826"/>
                <a:gd name="connsiteY570" fmla="*/ 4422761 h 5120141"/>
                <a:gd name="connsiteX571" fmla="*/ 3826515 w 3832826"/>
                <a:gd name="connsiteY571" fmla="*/ 4422761 h 5120141"/>
                <a:gd name="connsiteX572" fmla="*/ 3830723 w 3832826"/>
                <a:gd name="connsiteY572" fmla="*/ 4424765 h 5120141"/>
                <a:gd name="connsiteX573" fmla="*/ 3832826 w 3832826"/>
                <a:gd name="connsiteY573" fmla="*/ 4430776 h 5120141"/>
                <a:gd name="connsiteX574" fmla="*/ 3830723 w 3832826"/>
                <a:gd name="connsiteY574" fmla="*/ 4436788 h 5120141"/>
                <a:gd name="connsiteX575" fmla="*/ 3826515 w 3832826"/>
                <a:gd name="connsiteY575" fmla="*/ 4436788 h 5120141"/>
                <a:gd name="connsiteX576" fmla="*/ 3822308 w 3832826"/>
                <a:gd name="connsiteY576" fmla="*/ 4440796 h 5120141"/>
                <a:gd name="connsiteX577" fmla="*/ 3822308 w 3832826"/>
                <a:gd name="connsiteY577" fmla="*/ 4444804 h 5120141"/>
                <a:gd name="connsiteX578" fmla="*/ 3822308 w 3832826"/>
                <a:gd name="connsiteY578" fmla="*/ 4502919 h 5120141"/>
                <a:gd name="connsiteX579" fmla="*/ 3824412 w 3832826"/>
                <a:gd name="connsiteY579" fmla="*/ 4557026 h 5120141"/>
                <a:gd name="connsiteX580" fmla="*/ 3826515 w 3832826"/>
                <a:gd name="connsiteY580" fmla="*/ 4723356 h 5120141"/>
                <a:gd name="connsiteX581" fmla="*/ 3826515 w 3832826"/>
                <a:gd name="connsiteY581" fmla="*/ 4805518 h 5120141"/>
                <a:gd name="connsiteX582" fmla="*/ 3826515 w 3832826"/>
                <a:gd name="connsiteY582" fmla="*/ 4887681 h 5120141"/>
                <a:gd name="connsiteX583" fmla="*/ 3815997 w 3832826"/>
                <a:gd name="connsiteY583" fmla="*/ 4885677 h 5120141"/>
                <a:gd name="connsiteX584" fmla="*/ 3820204 w 3832826"/>
                <a:gd name="connsiteY584" fmla="*/ 4985875 h 5120141"/>
                <a:gd name="connsiteX585" fmla="*/ 3820204 w 3832826"/>
                <a:gd name="connsiteY585" fmla="*/ 5072046 h 5120141"/>
                <a:gd name="connsiteX586" fmla="*/ 3822308 w 3832826"/>
                <a:gd name="connsiteY586" fmla="*/ 5072046 h 5120141"/>
                <a:gd name="connsiteX587" fmla="*/ 3822308 w 3832826"/>
                <a:gd name="connsiteY587" fmla="*/ 5088078 h 5120141"/>
                <a:gd name="connsiteX588" fmla="*/ 3822308 w 3832826"/>
                <a:gd name="connsiteY588" fmla="*/ 5100102 h 5120141"/>
                <a:gd name="connsiteX589" fmla="*/ 3820204 w 3832826"/>
                <a:gd name="connsiteY589" fmla="*/ 5104109 h 5120141"/>
                <a:gd name="connsiteX590" fmla="*/ 3815997 w 3832826"/>
                <a:gd name="connsiteY590" fmla="*/ 5108117 h 5120141"/>
                <a:gd name="connsiteX591" fmla="*/ 3809686 w 3832826"/>
                <a:gd name="connsiteY591" fmla="*/ 5108117 h 5120141"/>
                <a:gd name="connsiteX592" fmla="*/ 3801272 w 3832826"/>
                <a:gd name="connsiteY592" fmla="*/ 5108117 h 5120141"/>
                <a:gd name="connsiteX593" fmla="*/ 3370026 w 3832826"/>
                <a:gd name="connsiteY593" fmla="*/ 5110121 h 5120141"/>
                <a:gd name="connsiteX594" fmla="*/ 2940884 w 3832826"/>
                <a:gd name="connsiteY594" fmla="*/ 5112125 h 5120141"/>
                <a:gd name="connsiteX595" fmla="*/ 2903018 w 3832826"/>
                <a:gd name="connsiteY595" fmla="*/ 5112125 h 5120141"/>
                <a:gd name="connsiteX596" fmla="*/ 2898811 w 3832826"/>
                <a:gd name="connsiteY596" fmla="*/ 5118137 h 5120141"/>
                <a:gd name="connsiteX597" fmla="*/ 2888293 w 3832826"/>
                <a:gd name="connsiteY597" fmla="*/ 5120141 h 5120141"/>
                <a:gd name="connsiteX598" fmla="*/ 2860945 w 3832826"/>
                <a:gd name="connsiteY598" fmla="*/ 5120141 h 5120141"/>
                <a:gd name="connsiteX599" fmla="*/ 2808354 w 3832826"/>
                <a:gd name="connsiteY599" fmla="*/ 5118137 h 5120141"/>
                <a:gd name="connsiteX600" fmla="*/ 2747349 w 3832826"/>
                <a:gd name="connsiteY600" fmla="*/ 5120141 h 5120141"/>
                <a:gd name="connsiteX601" fmla="*/ 2713691 w 3832826"/>
                <a:gd name="connsiteY601" fmla="*/ 5120141 h 5120141"/>
                <a:gd name="connsiteX602" fmla="*/ 2701069 w 3832826"/>
                <a:gd name="connsiteY602" fmla="*/ 5118137 h 5120141"/>
                <a:gd name="connsiteX603" fmla="*/ 2692654 w 3832826"/>
                <a:gd name="connsiteY603" fmla="*/ 5114129 h 5120141"/>
                <a:gd name="connsiteX604" fmla="*/ 2690551 w 3832826"/>
                <a:gd name="connsiteY604" fmla="*/ 5108117 h 5120141"/>
                <a:gd name="connsiteX605" fmla="*/ 2690551 w 3832826"/>
                <a:gd name="connsiteY605" fmla="*/ 5100102 h 5120141"/>
                <a:gd name="connsiteX606" fmla="*/ 2690551 w 3832826"/>
                <a:gd name="connsiteY606" fmla="*/ 5084070 h 5120141"/>
                <a:gd name="connsiteX607" fmla="*/ 2690551 w 3832826"/>
                <a:gd name="connsiteY607" fmla="*/ 5082066 h 5120141"/>
                <a:gd name="connsiteX608" fmla="*/ 2688447 w 3832826"/>
                <a:gd name="connsiteY608" fmla="*/ 5080062 h 5120141"/>
                <a:gd name="connsiteX609" fmla="*/ 2682136 w 3832826"/>
                <a:gd name="connsiteY609" fmla="*/ 5080062 h 5120141"/>
                <a:gd name="connsiteX610" fmla="*/ 2675825 w 3832826"/>
                <a:gd name="connsiteY610" fmla="*/ 5080062 h 5120141"/>
                <a:gd name="connsiteX611" fmla="*/ 2669514 w 3832826"/>
                <a:gd name="connsiteY611" fmla="*/ 5080062 h 5120141"/>
                <a:gd name="connsiteX612" fmla="*/ 2667411 w 3832826"/>
                <a:gd name="connsiteY612" fmla="*/ 5078058 h 5120141"/>
                <a:gd name="connsiteX613" fmla="*/ 2667411 w 3832826"/>
                <a:gd name="connsiteY613" fmla="*/ 5072046 h 5120141"/>
                <a:gd name="connsiteX614" fmla="*/ 2658996 w 3832826"/>
                <a:gd name="connsiteY614" fmla="*/ 5070042 h 5120141"/>
                <a:gd name="connsiteX615" fmla="*/ 2627442 w 3832826"/>
                <a:gd name="connsiteY615" fmla="*/ 5070042 h 5120141"/>
                <a:gd name="connsiteX616" fmla="*/ 2612716 w 3832826"/>
                <a:gd name="connsiteY616" fmla="*/ 5070042 h 5120141"/>
                <a:gd name="connsiteX617" fmla="*/ 2604302 w 3832826"/>
                <a:gd name="connsiteY617" fmla="*/ 5070042 h 5120141"/>
                <a:gd name="connsiteX618" fmla="*/ 2602198 w 3832826"/>
                <a:gd name="connsiteY618" fmla="*/ 5068038 h 5120141"/>
                <a:gd name="connsiteX619" fmla="*/ 2597991 w 3832826"/>
                <a:gd name="connsiteY619" fmla="*/ 5064030 h 5120141"/>
                <a:gd name="connsiteX620" fmla="*/ 2595887 w 3832826"/>
                <a:gd name="connsiteY620" fmla="*/ 5052006 h 5120141"/>
                <a:gd name="connsiteX621" fmla="*/ 2593783 w 3832826"/>
                <a:gd name="connsiteY621" fmla="*/ 5047998 h 5120141"/>
                <a:gd name="connsiteX622" fmla="*/ 2591680 w 3832826"/>
                <a:gd name="connsiteY622" fmla="*/ 5047998 h 5120141"/>
                <a:gd name="connsiteX623" fmla="*/ 2576954 w 3832826"/>
                <a:gd name="connsiteY623" fmla="*/ 5045994 h 5120141"/>
                <a:gd name="connsiteX624" fmla="*/ 2551711 w 3832826"/>
                <a:gd name="connsiteY624" fmla="*/ 5047998 h 5120141"/>
                <a:gd name="connsiteX625" fmla="*/ 2530674 w 3832826"/>
                <a:gd name="connsiteY625" fmla="*/ 5045994 h 5120141"/>
                <a:gd name="connsiteX626" fmla="*/ 2528571 w 3832826"/>
                <a:gd name="connsiteY626" fmla="*/ 4975856 h 5120141"/>
                <a:gd name="connsiteX627" fmla="*/ 2528571 w 3832826"/>
                <a:gd name="connsiteY627" fmla="*/ 4905717 h 5120141"/>
                <a:gd name="connsiteX628" fmla="*/ 2524363 w 3832826"/>
                <a:gd name="connsiteY628" fmla="*/ 4899705 h 5120141"/>
                <a:gd name="connsiteX629" fmla="*/ 2522260 w 3832826"/>
                <a:gd name="connsiteY629" fmla="*/ 4895697 h 5120141"/>
                <a:gd name="connsiteX630" fmla="*/ 2509638 w 3832826"/>
                <a:gd name="connsiteY630" fmla="*/ 4891689 h 5120141"/>
                <a:gd name="connsiteX631" fmla="*/ 2492809 w 3832826"/>
                <a:gd name="connsiteY631" fmla="*/ 4889685 h 5120141"/>
                <a:gd name="connsiteX632" fmla="*/ 2478083 w 3832826"/>
                <a:gd name="connsiteY632" fmla="*/ 4889685 h 5120141"/>
                <a:gd name="connsiteX633" fmla="*/ 2471772 w 3832826"/>
                <a:gd name="connsiteY633" fmla="*/ 4887681 h 5120141"/>
                <a:gd name="connsiteX634" fmla="*/ 2467565 w 3832826"/>
                <a:gd name="connsiteY634" fmla="*/ 4881669 h 5120141"/>
                <a:gd name="connsiteX635" fmla="*/ 2465461 w 3832826"/>
                <a:gd name="connsiteY635" fmla="*/ 4871649 h 5120141"/>
                <a:gd name="connsiteX636" fmla="*/ 2465461 w 3832826"/>
                <a:gd name="connsiteY636" fmla="*/ 4861629 h 5120141"/>
                <a:gd name="connsiteX637" fmla="*/ 2467565 w 3832826"/>
                <a:gd name="connsiteY637" fmla="*/ 4839586 h 5120141"/>
                <a:gd name="connsiteX638" fmla="*/ 2467565 w 3832826"/>
                <a:gd name="connsiteY638" fmla="*/ 4823554 h 5120141"/>
                <a:gd name="connsiteX639" fmla="*/ 2391834 w 3832826"/>
                <a:gd name="connsiteY639" fmla="*/ 4823554 h 5120141"/>
                <a:gd name="connsiteX640" fmla="*/ 2393938 w 3832826"/>
                <a:gd name="connsiteY640" fmla="*/ 4755419 h 5120141"/>
                <a:gd name="connsiteX641" fmla="*/ 2343450 w 3832826"/>
                <a:gd name="connsiteY641" fmla="*/ 4759427 h 5120141"/>
                <a:gd name="connsiteX642" fmla="*/ 2311896 w 3832826"/>
                <a:gd name="connsiteY642" fmla="*/ 4759427 h 5120141"/>
                <a:gd name="connsiteX643" fmla="*/ 2301378 w 3832826"/>
                <a:gd name="connsiteY643" fmla="*/ 4757423 h 5120141"/>
                <a:gd name="connsiteX644" fmla="*/ 2295067 w 3832826"/>
                <a:gd name="connsiteY644" fmla="*/ 4755419 h 5120141"/>
                <a:gd name="connsiteX645" fmla="*/ 2290860 w 3832826"/>
                <a:gd name="connsiteY645" fmla="*/ 4749407 h 5120141"/>
                <a:gd name="connsiteX646" fmla="*/ 2290860 w 3832826"/>
                <a:gd name="connsiteY646" fmla="*/ 4745399 h 5120141"/>
                <a:gd name="connsiteX647" fmla="*/ 2290860 w 3832826"/>
                <a:gd name="connsiteY647" fmla="*/ 4727364 h 5120141"/>
                <a:gd name="connsiteX648" fmla="*/ 2290860 w 3832826"/>
                <a:gd name="connsiteY648" fmla="*/ 4699308 h 5120141"/>
                <a:gd name="connsiteX649" fmla="*/ 2290860 w 3832826"/>
                <a:gd name="connsiteY649" fmla="*/ 4687284 h 5120141"/>
                <a:gd name="connsiteX650" fmla="*/ 2288756 w 3832826"/>
                <a:gd name="connsiteY650" fmla="*/ 4685280 h 5120141"/>
                <a:gd name="connsiteX651" fmla="*/ 2284549 w 3832826"/>
                <a:gd name="connsiteY651" fmla="*/ 4683276 h 5120141"/>
                <a:gd name="connsiteX652" fmla="*/ 2274030 w 3832826"/>
                <a:gd name="connsiteY652" fmla="*/ 4683276 h 5120141"/>
                <a:gd name="connsiteX653" fmla="*/ 2259305 w 3832826"/>
                <a:gd name="connsiteY653" fmla="*/ 4685280 h 5120141"/>
                <a:gd name="connsiteX654" fmla="*/ 2255098 w 3832826"/>
                <a:gd name="connsiteY654" fmla="*/ 4683276 h 5120141"/>
                <a:gd name="connsiteX655" fmla="*/ 2248787 w 3832826"/>
                <a:gd name="connsiteY655" fmla="*/ 4679268 h 5120141"/>
                <a:gd name="connsiteX656" fmla="*/ 2244579 w 3832826"/>
                <a:gd name="connsiteY656" fmla="*/ 4673257 h 5120141"/>
                <a:gd name="connsiteX657" fmla="*/ 2244579 w 3832826"/>
                <a:gd name="connsiteY657" fmla="*/ 4663237 h 5120141"/>
                <a:gd name="connsiteX658" fmla="*/ 2244579 w 3832826"/>
                <a:gd name="connsiteY658" fmla="*/ 4649209 h 5120141"/>
                <a:gd name="connsiteX659" fmla="*/ 2244579 w 3832826"/>
                <a:gd name="connsiteY659" fmla="*/ 4637185 h 5120141"/>
                <a:gd name="connsiteX660" fmla="*/ 2244579 w 3832826"/>
                <a:gd name="connsiteY660" fmla="*/ 4627165 h 5120141"/>
                <a:gd name="connsiteX661" fmla="*/ 2242476 w 3832826"/>
                <a:gd name="connsiteY661" fmla="*/ 4623157 h 5120141"/>
                <a:gd name="connsiteX662" fmla="*/ 2236165 w 3832826"/>
                <a:gd name="connsiteY662" fmla="*/ 4617145 h 5120141"/>
                <a:gd name="connsiteX663" fmla="*/ 2234061 w 3832826"/>
                <a:gd name="connsiteY663" fmla="*/ 4617145 h 5120141"/>
                <a:gd name="connsiteX664" fmla="*/ 2225647 w 3832826"/>
                <a:gd name="connsiteY664" fmla="*/ 4615141 h 5120141"/>
                <a:gd name="connsiteX665" fmla="*/ 2194092 w 3832826"/>
                <a:gd name="connsiteY665" fmla="*/ 4617145 h 5120141"/>
                <a:gd name="connsiteX666" fmla="*/ 2179367 w 3832826"/>
                <a:gd name="connsiteY666" fmla="*/ 4617145 h 5120141"/>
                <a:gd name="connsiteX667" fmla="*/ 2164641 w 3832826"/>
                <a:gd name="connsiteY667" fmla="*/ 4613137 h 5120141"/>
                <a:gd name="connsiteX668" fmla="*/ 2162538 w 3832826"/>
                <a:gd name="connsiteY668" fmla="*/ 4607126 h 5120141"/>
                <a:gd name="connsiteX669" fmla="*/ 2160434 w 3832826"/>
                <a:gd name="connsiteY669" fmla="*/ 4597106 h 5120141"/>
                <a:gd name="connsiteX670" fmla="*/ 2154123 w 3832826"/>
                <a:gd name="connsiteY670" fmla="*/ 4583078 h 5120141"/>
                <a:gd name="connsiteX671" fmla="*/ 2149916 w 3832826"/>
                <a:gd name="connsiteY671" fmla="*/ 4581074 h 5120141"/>
                <a:gd name="connsiteX672" fmla="*/ 2143605 w 3832826"/>
                <a:gd name="connsiteY672" fmla="*/ 4575062 h 5120141"/>
                <a:gd name="connsiteX673" fmla="*/ 2133087 w 3832826"/>
                <a:gd name="connsiteY673" fmla="*/ 4571054 h 5120141"/>
                <a:gd name="connsiteX674" fmla="*/ 2130983 w 3832826"/>
                <a:gd name="connsiteY674" fmla="*/ 4565042 h 5120141"/>
                <a:gd name="connsiteX675" fmla="*/ 2130983 w 3832826"/>
                <a:gd name="connsiteY675" fmla="*/ 4561034 h 5120141"/>
                <a:gd name="connsiteX676" fmla="*/ 2130983 w 3832826"/>
                <a:gd name="connsiteY676" fmla="*/ 4553018 h 5120141"/>
                <a:gd name="connsiteX677" fmla="*/ 2130983 w 3832826"/>
                <a:gd name="connsiteY677" fmla="*/ 4551015 h 5120141"/>
                <a:gd name="connsiteX678" fmla="*/ 2126776 w 3832826"/>
                <a:gd name="connsiteY678" fmla="*/ 4545003 h 5120141"/>
                <a:gd name="connsiteX679" fmla="*/ 2122568 w 3832826"/>
                <a:gd name="connsiteY679" fmla="*/ 4545003 h 5120141"/>
                <a:gd name="connsiteX680" fmla="*/ 2120465 w 3832826"/>
                <a:gd name="connsiteY680" fmla="*/ 4545003 h 5120141"/>
                <a:gd name="connsiteX681" fmla="*/ 2118361 w 3832826"/>
                <a:gd name="connsiteY681" fmla="*/ 4536987 h 5120141"/>
                <a:gd name="connsiteX682" fmla="*/ 2116258 w 3832826"/>
                <a:gd name="connsiteY682" fmla="*/ 4536987 h 5120141"/>
                <a:gd name="connsiteX683" fmla="*/ 2109947 w 3832826"/>
                <a:gd name="connsiteY683" fmla="*/ 4536987 h 5120141"/>
                <a:gd name="connsiteX684" fmla="*/ 2107843 w 3832826"/>
                <a:gd name="connsiteY684" fmla="*/ 4536987 h 5120141"/>
                <a:gd name="connsiteX685" fmla="*/ 2107843 w 3832826"/>
                <a:gd name="connsiteY685" fmla="*/ 4534983 h 5120141"/>
                <a:gd name="connsiteX686" fmla="*/ 2105739 w 3832826"/>
                <a:gd name="connsiteY686" fmla="*/ 4500915 h 5120141"/>
                <a:gd name="connsiteX687" fmla="*/ 2105739 w 3832826"/>
                <a:gd name="connsiteY687" fmla="*/ 4476868 h 5120141"/>
                <a:gd name="connsiteX688" fmla="*/ 2101532 w 3832826"/>
                <a:gd name="connsiteY688" fmla="*/ 4470856 h 5120141"/>
                <a:gd name="connsiteX689" fmla="*/ 2099428 w 3832826"/>
                <a:gd name="connsiteY689" fmla="*/ 4466848 h 5120141"/>
                <a:gd name="connsiteX690" fmla="*/ 2095221 w 3832826"/>
                <a:gd name="connsiteY690" fmla="*/ 4466848 h 5120141"/>
                <a:gd name="connsiteX691" fmla="*/ 2063667 w 3832826"/>
                <a:gd name="connsiteY691" fmla="*/ 4470856 h 5120141"/>
                <a:gd name="connsiteX692" fmla="*/ 2042630 w 3832826"/>
                <a:gd name="connsiteY692" fmla="*/ 4470856 h 5120141"/>
                <a:gd name="connsiteX693" fmla="*/ 2036319 w 3832826"/>
                <a:gd name="connsiteY693" fmla="*/ 4466848 h 5120141"/>
                <a:gd name="connsiteX694" fmla="*/ 2032112 w 3832826"/>
                <a:gd name="connsiteY694" fmla="*/ 4466848 h 5120141"/>
                <a:gd name="connsiteX695" fmla="*/ 2027905 w 3832826"/>
                <a:gd name="connsiteY695" fmla="*/ 4456828 h 5120141"/>
                <a:gd name="connsiteX696" fmla="*/ 2027905 w 3832826"/>
                <a:gd name="connsiteY696" fmla="*/ 4444804 h 5120141"/>
                <a:gd name="connsiteX697" fmla="*/ 2027905 w 3832826"/>
                <a:gd name="connsiteY697" fmla="*/ 4420757 h 5120141"/>
                <a:gd name="connsiteX698" fmla="*/ 2027905 w 3832826"/>
                <a:gd name="connsiteY698" fmla="*/ 4376298 h 5120141"/>
                <a:gd name="connsiteX699" fmla="*/ 2025801 w 3832826"/>
                <a:gd name="connsiteY699" fmla="*/ 4376298 h 5120141"/>
                <a:gd name="connsiteX700" fmla="*/ 2025801 w 3832826"/>
                <a:gd name="connsiteY700" fmla="*/ 4328574 h 5120141"/>
                <a:gd name="connsiteX701" fmla="*/ 2025801 w 3832826"/>
                <a:gd name="connsiteY701" fmla="*/ 4326856 h 5120141"/>
                <a:gd name="connsiteX702" fmla="*/ 2021595 w 3832826"/>
                <a:gd name="connsiteY702" fmla="*/ 4326570 h 5120141"/>
                <a:gd name="connsiteX703" fmla="*/ 2015284 w 3832826"/>
                <a:gd name="connsiteY703" fmla="*/ 4326570 h 5120141"/>
                <a:gd name="connsiteX704" fmla="*/ 2017387 w 3832826"/>
                <a:gd name="connsiteY704" fmla="*/ 4316550 h 5120141"/>
                <a:gd name="connsiteX705" fmla="*/ 2015284 w 3832826"/>
                <a:gd name="connsiteY705" fmla="*/ 4310539 h 5120141"/>
                <a:gd name="connsiteX706" fmla="*/ 2008973 w 3832826"/>
                <a:gd name="connsiteY706" fmla="*/ 4306531 h 5120141"/>
                <a:gd name="connsiteX707" fmla="*/ 2004765 w 3832826"/>
                <a:gd name="connsiteY707" fmla="*/ 4300519 h 5120141"/>
                <a:gd name="connsiteX708" fmla="*/ 1994247 w 3832826"/>
                <a:gd name="connsiteY708" fmla="*/ 4286491 h 5120141"/>
                <a:gd name="connsiteX709" fmla="*/ 1987936 w 3832826"/>
                <a:gd name="connsiteY709" fmla="*/ 4270459 h 5120141"/>
                <a:gd name="connsiteX710" fmla="*/ 1987936 w 3832826"/>
                <a:gd name="connsiteY710" fmla="*/ 4262443 h 5120141"/>
                <a:gd name="connsiteX711" fmla="*/ 1987936 w 3832826"/>
                <a:gd name="connsiteY711" fmla="*/ 4258435 h 5120141"/>
                <a:gd name="connsiteX712" fmla="*/ 1987936 w 3832826"/>
                <a:gd name="connsiteY712" fmla="*/ 4252423 h 5120141"/>
                <a:gd name="connsiteX713" fmla="*/ 1983729 w 3832826"/>
                <a:gd name="connsiteY713" fmla="*/ 4246412 h 5120141"/>
                <a:gd name="connsiteX714" fmla="*/ 1978277 w 3832826"/>
                <a:gd name="connsiteY714" fmla="*/ 4241218 h 5120141"/>
                <a:gd name="connsiteX715" fmla="*/ 1947935 w 3832826"/>
                <a:gd name="connsiteY715" fmla="*/ 4232386 h 5120141"/>
                <a:gd name="connsiteX716" fmla="*/ 1941632 w 3832826"/>
                <a:gd name="connsiteY716" fmla="*/ 4228376 h 5120141"/>
                <a:gd name="connsiteX717" fmla="*/ 1933169 w 3832826"/>
                <a:gd name="connsiteY717" fmla="*/ 4220356 h 5120141"/>
                <a:gd name="connsiteX718" fmla="*/ 1922725 w 3832826"/>
                <a:gd name="connsiteY718" fmla="*/ 4208326 h 5120141"/>
                <a:gd name="connsiteX719" fmla="*/ 1910120 w 3832826"/>
                <a:gd name="connsiteY719" fmla="*/ 4196297 h 5120141"/>
                <a:gd name="connsiteX720" fmla="*/ 1901657 w 3832826"/>
                <a:gd name="connsiteY720" fmla="*/ 4190282 h 5120141"/>
                <a:gd name="connsiteX721" fmla="*/ 1893193 w 3832826"/>
                <a:gd name="connsiteY721" fmla="*/ 4186272 h 5120141"/>
                <a:gd name="connsiteX722" fmla="*/ 1867983 w 3832826"/>
                <a:gd name="connsiteY722" fmla="*/ 4178252 h 5120141"/>
                <a:gd name="connsiteX723" fmla="*/ 1857539 w 3832826"/>
                <a:gd name="connsiteY723" fmla="*/ 4172237 h 5120141"/>
                <a:gd name="connsiteX724" fmla="*/ 1842773 w 3832826"/>
                <a:gd name="connsiteY724" fmla="*/ 4166222 h 5120141"/>
                <a:gd name="connsiteX725" fmla="*/ 1804958 w 3832826"/>
                <a:gd name="connsiteY725" fmla="*/ 4138152 h 5120141"/>
                <a:gd name="connsiteX726" fmla="*/ 1800637 w 3832826"/>
                <a:gd name="connsiteY726" fmla="*/ 4138152 h 5120141"/>
                <a:gd name="connsiteX727" fmla="*/ 1796495 w 3832826"/>
                <a:gd name="connsiteY727" fmla="*/ 4138152 h 5120141"/>
                <a:gd name="connsiteX728" fmla="*/ 1790192 w 3832826"/>
                <a:gd name="connsiteY728" fmla="*/ 4138152 h 5120141"/>
                <a:gd name="connsiteX729" fmla="*/ 1786051 w 3832826"/>
                <a:gd name="connsiteY729" fmla="*/ 4132138 h 5120141"/>
                <a:gd name="connsiteX730" fmla="*/ 1783890 w 3832826"/>
                <a:gd name="connsiteY730" fmla="*/ 4126123 h 5120141"/>
                <a:gd name="connsiteX731" fmla="*/ 1775427 w 3832826"/>
                <a:gd name="connsiteY731" fmla="*/ 4120108 h 5120141"/>
                <a:gd name="connsiteX732" fmla="*/ 1769124 w 3832826"/>
                <a:gd name="connsiteY732" fmla="*/ 4118103 h 5120141"/>
                <a:gd name="connsiteX733" fmla="*/ 1762822 w 3832826"/>
                <a:gd name="connsiteY733" fmla="*/ 4112088 h 5120141"/>
                <a:gd name="connsiteX734" fmla="*/ 1756519 w 3832826"/>
                <a:gd name="connsiteY734" fmla="*/ 4100058 h 5120141"/>
                <a:gd name="connsiteX735" fmla="*/ 1752377 w 3832826"/>
                <a:gd name="connsiteY735" fmla="*/ 4090167 h 5120141"/>
                <a:gd name="connsiteX736" fmla="*/ 1741753 w 3832826"/>
                <a:gd name="connsiteY736" fmla="*/ 4086157 h 5120141"/>
                <a:gd name="connsiteX737" fmla="*/ 1733470 w 3832826"/>
                <a:gd name="connsiteY737" fmla="*/ 4082147 h 5120141"/>
                <a:gd name="connsiteX738" fmla="*/ 1716543 w 3832826"/>
                <a:gd name="connsiteY738" fmla="*/ 4070117 h 5120141"/>
                <a:gd name="connsiteX739" fmla="*/ 1706099 w 3832826"/>
                <a:gd name="connsiteY739" fmla="*/ 4060092 h 5120141"/>
                <a:gd name="connsiteX740" fmla="*/ 1701777 w 3832826"/>
                <a:gd name="connsiteY740" fmla="*/ 4052072 h 5120141"/>
                <a:gd name="connsiteX741" fmla="*/ 1699797 w 3832826"/>
                <a:gd name="connsiteY741" fmla="*/ 4048062 h 5120141"/>
                <a:gd name="connsiteX742" fmla="*/ 1695475 w 3832826"/>
                <a:gd name="connsiteY742" fmla="*/ 4038038 h 5120141"/>
                <a:gd name="connsiteX743" fmla="*/ 1699797 w 3832826"/>
                <a:gd name="connsiteY743" fmla="*/ 4030018 h 5120141"/>
                <a:gd name="connsiteX744" fmla="*/ 1701777 w 3832826"/>
                <a:gd name="connsiteY744" fmla="*/ 4021998 h 5120141"/>
                <a:gd name="connsiteX745" fmla="*/ 1706099 w 3832826"/>
                <a:gd name="connsiteY745" fmla="*/ 4017988 h 5120141"/>
                <a:gd name="connsiteX746" fmla="*/ 1714382 w 3832826"/>
                <a:gd name="connsiteY746" fmla="*/ 4007963 h 5120141"/>
                <a:gd name="connsiteX747" fmla="*/ 1716543 w 3832826"/>
                <a:gd name="connsiteY747" fmla="*/ 4001948 h 5120141"/>
                <a:gd name="connsiteX748" fmla="*/ 1720685 w 3832826"/>
                <a:gd name="connsiteY748" fmla="*/ 3997938 h 5120141"/>
                <a:gd name="connsiteX749" fmla="*/ 1716543 w 3832826"/>
                <a:gd name="connsiteY749" fmla="*/ 3991923 h 5120141"/>
                <a:gd name="connsiteX750" fmla="*/ 1712402 w 3832826"/>
                <a:gd name="connsiteY750" fmla="*/ 3985908 h 5120141"/>
                <a:gd name="connsiteX751" fmla="*/ 1701777 w 3832826"/>
                <a:gd name="connsiteY751" fmla="*/ 3975883 h 5120141"/>
                <a:gd name="connsiteX752" fmla="*/ 1695475 w 3832826"/>
                <a:gd name="connsiteY752" fmla="*/ 3973878 h 5120141"/>
                <a:gd name="connsiteX753" fmla="*/ 1691333 w 3832826"/>
                <a:gd name="connsiteY753" fmla="*/ 3965859 h 5120141"/>
                <a:gd name="connsiteX754" fmla="*/ 1689172 w 3832826"/>
                <a:gd name="connsiteY754" fmla="*/ 3957839 h 5120141"/>
                <a:gd name="connsiteX755" fmla="*/ 1691333 w 3832826"/>
                <a:gd name="connsiteY755" fmla="*/ 3953829 h 5120141"/>
                <a:gd name="connsiteX756" fmla="*/ 1691333 w 3832826"/>
                <a:gd name="connsiteY756" fmla="*/ 3945809 h 5120141"/>
                <a:gd name="connsiteX757" fmla="*/ 1689172 w 3832826"/>
                <a:gd name="connsiteY757" fmla="*/ 3937789 h 5120141"/>
                <a:gd name="connsiteX758" fmla="*/ 1687192 w 3832826"/>
                <a:gd name="connsiteY758" fmla="*/ 3927764 h 5120141"/>
                <a:gd name="connsiteX759" fmla="*/ 1689172 w 3832826"/>
                <a:gd name="connsiteY759" fmla="*/ 3919744 h 5120141"/>
                <a:gd name="connsiteX760" fmla="*/ 1691333 w 3832826"/>
                <a:gd name="connsiteY760" fmla="*/ 3915734 h 5120141"/>
                <a:gd name="connsiteX761" fmla="*/ 1699797 w 3832826"/>
                <a:gd name="connsiteY761" fmla="*/ 3909719 h 5120141"/>
                <a:gd name="connsiteX762" fmla="*/ 1714382 w 3832826"/>
                <a:gd name="connsiteY762" fmla="*/ 3905709 h 5120141"/>
                <a:gd name="connsiteX763" fmla="*/ 1731309 w 3832826"/>
                <a:gd name="connsiteY763" fmla="*/ 3899694 h 5120141"/>
                <a:gd name="connsiteX764" fmla="*/ 1735451 w 3832826"/>
                <a:gd name="connsiteY764" fmla="*/ 3897690 h 5120141"/>
                <a:gd name="connsiteX765" fmla="*/ 1737612 w 3832826"/>
                <a:gd name="connsiteY765" fmla="*/ 3893680 h 5120141"/>
                <a:gd name="connsiteX766" fmla="*/ 1746075 w 3832826"/>
                <a:gd name="connsiteY766" fmla="*/ 3879645 h 5120141"/>
                <a:gd name="connsiteX767" fmla="*/ 1748056 w 3832826"/>
                <a:gd name="connsiteY767" fmla="*/ 3863605 h 5120141"/>
                <a:gd name="connsiteX768" fmla="*/ 1752377 w 3832826"/>
                <a:gd name="connsiteY768" fmla="*/ 3843555 h 5120141"/>
                <a:gd name="connsiteX769" fmla="*/ 1754358 w 3832826"/>
                <a:gd name="connsiteY769" fmla="*/ 3823639 h 5120141"/>
                <a:gd name="connsiteX770" fmla="*/ 1752377 w 3832826"/>
                <a:gd name="connsiteY770" fmla="*/ 3803590 h 5120141"/>
                <a:gd name="connsiteX771" fmla="*/ 1748056 w 3832826"/>
                <a:gd name="connsiteY771" fmla="*/ 3785545 h 5120141"/>
                <a:gd name="connsiteX772" fmla="*/ 1746075 w 3832826"/>
                <a:gd name="connsiteY772" fmla="*/ 3773515 h 5120141"/>
                <a:gd name="connsiteX773" fmla="*/ 1737612 w 3832826"/>
                <a:gd name="connsiteY773" fmla="*/ 3761485 h 5120141"/>
                <a:gd name="connsiteX774" fmla="*/ 1727167 w 3832826"/>
                <a:gd name="connsiteY774" fmla="*/ 3747450 h 5120141"/>
                <a:gd name="connsiteX775" fmla="*/ 1695475 w 3832826"/>
                <a:gd name="connsiteY775" fmla="*/ 3721385 h 5120141"/>
                <a:gd name="connsiteX776" fmla="*/ 1661802 w 3832826"/>
                <a:gd name="connsiteY776" fmla="*/ 3695321 h 5120141"/>
                <a:gd name="connsiteX777" fmla="*/ 1636592 w 3832826"/>
                <a:gd name="connsiteY777" fmla="*/ 3675271 h 5120141"/>
                <a:gd name="connsiteX778" fmla="*/ 1519948 w 3832826"/>
                <a:gd name="connsiteY778" fmla="*/ 3568035 h 5120141"/>
                <a:gd name="connsiteX779" fmla="*/ 1518826 w 3832826"/>
                <a:gd name="connsiteY779" fmla="*/ 3569070 h 5120141"/>
                <a:gd name="connsiteX780" fmla="*/ 1510411 w 3832826"/>
                <a:gd name="connsiteY780" fmla="*/ 3561053 h 5120141"/>
                <a:gd name="connsiteX781" fmla="*/ 1497790 w 3832826"/>
                <a:gd name="connsiteY781" fmla="*/ 3553037 h 5120141"/>
                <a:gd name="connsiteX782" fmla="*/ 1468339 w 3832826"/>
                <a:gd name="connsiteY782" fmla="*/ 3537005 h 5120141"/>
                <a:gd name="connsiteX783" fmla="*/ 1409437 w 3832826"/>
                <a:gd name="connsiteY783" fmla="*/ 3514942 h 5120141"/>
                <a:gd name="connsiteX784" fmla="*/ 1386297 w 3832826"/>
                <a:gd name="connsiteY784" fmla="*/ 3504939 h 5120141"/>
                <a:gd name="connsiteX785" fmla="*/ 1365260 w 3832826"/>
                <a:gd name="connsiteY785" fmla="*/ 3492950 h 5120141"/>
                <a:gd name="connsiteX786" fmla="*/ 1363157 w 3832826"/>
                <a:gd name="connsiteY786" fmla="*/ 3486920 h 5120141"/>
                <a:gd name="connsiteX787" fmla="*/ 1361053 w 3832826"/>
                <a:gd name="connsiteY787" fmla="*/ 3482877 h 5120141"/>
                <a:gd name="connsiteX788" fmla="*/ 1358949 w 3832826"/>
                <a:gd name="connsiteY788" fmla="*/ 3474861 h 5120141"/>
                <a:gd name="connsiteX789" fmla="*/ 1354742 w 3832826"/>
                <a:gd name="connsiteY789" fmla="*/ 3470888 h 5120141"/>
                <a:gd name="connsiteX790" fmla="*/ 1340017 w 3832826"/>
                <a:gd name="connsiteY790" fmla="*/ 3446839 h 5120141"/>
                <a:gd name="connsiteX791" fmla="*/ 1318980 w 3832826"/>
                <a:gd name="connsiteY791" fmla="*/ 3426763 h 5120141"/>
                <a:gd name="connsiteX792" fmla="*/ 1316877 w 3832826"/>
                <a:gd name="connsiteY792" fmla="*/ 3426763 h 5120141"/>
                <a:gd name="connsiteX793" fmla="*/ 1310566 w 3832826"/>
                <a:gd name="connsiteY793" fmla="*/ 3422790 h 5120141"/>
                <a:gd name="connsiteX794" fmla="*/ 1300047 w 3832826"/>
                <a:gd name="connsiteY794" fmla="*/ 3416760 h 5120141"/>
                <a:gd name="connsiteX795" fmla="*/ 1297944 w 3832826"/>
                <a:gd name="connsiteY795" fmla="*/ 3414774 h 5120141"/>
                <a:gd name="connsiteX796" fmla="*/ 1297944 w 3832826"/>
                <a:gd name="connsiteY796" fmla="*/ 3410730 h 5120141"/>
                <a:gd name="connsiteX797" fmla="*/ 1300047 w 3832826"/>
                <a:gd name="connsiteY797" fmla="*/ 3402714 h 5120141"/>
                <a:gd name="connsiteX798" fmla="*/ 1308462 w 3832826"/>
                <a:gd name="connsiteY798" fmla="*/ 3394698 h 5120141"/>
                <a:gd name="connsiteX799" fmla="*/ 1297944 w 3832826"/>
                <a:gd name="connsiteY799" fmla="*/ 3380722 h 5120141"/>
                <a:gd name="connsiteX800" fmla="*/ 1291633 w 3832826"/>
                <a:gd name="connsiteY800" fmla="*/ 3366676 h 5120141"/>
                <a:gd name="connsiteX801" fmla="*/ 1291633 w 3832826"/>
                <a:gd name="connsiteY801" fmla="*/ 3354616 h 5120141"/>
                <a:gd name="connsiteX802" fmla="*/ 1295840 w 3832826"/>
                <a:gd name="connsiteY802" fmla="*/ 3344614 h 5120141"/>
                <a:gd name="connsiteX803" fmla="*/ 1300047 w 3832826"/>
                <a:gd name="connsiteY803" fmla="*/ 3334611 h 5120141"/>
                <a:gd name="connsiteX804" fmla="*/ 1306358 w 3832826"/>
                <a:gd name="connsiteY804" fmla="*/ 3324608 h 5120141"/>
                <a:gd name="connsiteX805" fmla="*/ 1308462 w 3832826"/>
                <a:gd name="connsiteY805" fmla="*/ 3318578 h 5120141"/>
                <a:gd name="connsiteX806" fmla="*/ 1306358 w 3832826"/>
                <a:gd name="connsiteY806" fmla="*/ 3310562 h 5120141"/>
                <a:gd name="connsiteX807" fmla="*/ 1302151 w 3832826"/>
                <a:gd name="connsiteY807" fmla="*/ 3302546 h 5120141"/>
                <a:gd name="connsiteX808" fmla="*/ 1295840 w 3832826"/>
                <a:gd name="connsiteY808" fmla="*/ 3294529 h 5120141"/>
                <a:gd name="connsiteX809" fmla="*/ 1295840 w 3832826"/>
                <a:gd name="connsiteY809" fmla="*/ 3290486 h 5120141"/>
                <a:gd name="connsiteX810" fmla="*/ 1291633 w 3832826"/>
                <a:gd name="connsiteY810" fmla="*/ 3288499 h 5120141"/>
                <a:gd name="connsiteX811" fmla="*/ 1297944 w 3832826"/>
                <a:gd name="connsiteY811" fmla="*/ 3280483 h 5120141"/>
                <a:gd name="connsiteX812" fmla="*/ 1302151 w 3832826"/>
                <a:gd name="connsiteY812" fmla="*/ 3272467 h 5120141"/>
                <a:gd name="connsiteX813" fmla="*/ 1306358 w 3832826"/>
                <a:gd name="connsiteY813" fmla="*/ 3262464 h 5120141"/>
                <a:gd name="connsiteX814" fmla="*/ 1306358 w 3832826"/>
                <a:gd name="connsiteY814" fmla="*/ 3258421 h 5120141"/>
                <a:gd name="connsiteX815" fmla="*/ 1302151 w 3832826"/>
                <a:gd name="connsiteY815" fmla="*/ 3252462 h 5120141"/>
                <a:gd name="connsiteX816" fmla="*/ 1302205 w 3832826"/>
                <a:gd name="connsiteY816" fmla="*/ 3250392 h 5120141"/>
                <a:gd name="connsiteX817" fmla="*/ 1302151 w 3832826"/>
                <a:gd name="connsiteY817" fmla="*/ 3250439 h 5120141"/>
                <a:gd name="connsiteX818" fmla="*/ 1270596 w 3832826"/>
                <a:gd name="connsiteY818" fmla="*/ 3222383 h 5120141"/>
                <a:gd name="connsiteX819" fmla="*/ 1268493 w 3832826"/>
                <a:gd name="connsiteY819" fmla="*/ 3218375 h 5120141"/>
                <a:gd name="connsiteX820" fmla="*/ 1264285 w 3832826"/>
                <a:gd name="connsiteY820" fmla="*/ 3218375 h 5120141"/>
                <a:gd name="connsiteX821" fmla="*/ 1257974 w 3832826"/>
                <a:gd name="connsiteY821" fmla="*/ 3220379 h 5120141"/>
                <a:gd name="connsiteX822" fmla="*/ 1253767 w 3832826"/>
                <a:gd name="connsiteY822" fmla="*/ 3222383 h 5120141"/>
                <a:gd name="connsiteX823" fmla="*/ 1245353 w 3832826"/>
                <a:gd name="connsiteY823" fmla="*/ 3222383 h 5120141"/>
                <a:gd name="connsiteX824" fmla="*/ 1228523 w 3832826"/>
                <a:gd name="connsiteY824" fmla="*/ 3220379 h 5120141"/>
                <a:gd name="connsiteX825" fmla="*/ 1207487 w 3832826"/>
                <a:gd name="connsiteY825" fmla="*/ 3218375 h 5120141"/>
                <a:gd name="connsiteX826" fmla="*/ 1201176 w 3832826"/>
                <a:gd name="connsiteY826" fmla="*/ 3218375 h 5120141"/>
                <a:gd name="connsiteX827" fmla="*/ 1192761 w 3832826"/>
                <a:gd name="connsiteY827" fmla="*/ 3220379 h 5120141"/>
                <a:gd name="connsiteX828" fmla="*/ 1190658 w 3832826"/>
                <a:gd name="connsiteY828" fmla="*/ 3226391 h 5120141"/>
                <a:gd name="connsiteX829" fmla="*/ 1192761 w 3832826"/>
                <a:gd name="connsiteY829" fmla="*/ 3236411 h 5120141"/>
                <a:gd name="connsiteX830" fmla="*/ 1182243 w 3832826"/>
                <a:gd name="connsiteY830" fmla="*/ 3236411 h 5120141"/>
                <a:gd name="connsiteX831" fmla="*/ 1175932 w 3832826"/>
                <a:gd name="connsiteY831" fmla="*/ 3230399 h 5120141"/>
                <a:gd name="connsiteX832" fmla="*/ 1171725 w 3832826"/>
                <a:gd name="connsiteY832" fmla="*/ 3222383 h 5120141"/>
                <a:gd name="connsiteX833" fmla="*/ 1169621 w 3832826"/>
                <a:gd name="connsiteY833" fmla="*/ 3216371 h 5120141"/>
                <a:gd name="connsiteX834" fmla="*/ 1161207 w 3832826"/>
                <a:gd name="connsiteY834" fmla="*/ 3196332 h 5120141"/>
                <a:gd name="connsiteX835" fmla="*/ 1159103 w 3832826"/>
                <a:gd name="connsiteY835" fmla="*/ 3186312 h 5120141"/>
                <a:gd name="connsiteX836" fmla="*/ 1150689 w 3832826"/>
                <a:gd name="connsiteY836" fmla="*/ 3180300 h 5120141"/>
                <a:gd name="connsiteX837" fmla="*/ 1142274 w 3832826"/>
                <a:gd name="connsiteY837" fmla="*/ 3172284 h 5120141"/>
                <a:gd name="connsiteX838" fmla="*/ 1138067 w 3832826"/>
                <a:gd name="connsiteY838" fmla="*/ 3166272 h 5120141"/>
                <a:gd name="connsiteX839" fmla="*/ 1133859 w 3832826"/>
                <a:gd name="connsiteY839" fmla="*/ 3156253 h 5120141"/>
                <a:gd name="connsiteX840" fmla="*/ 1133859 w 3832826"/>
                <a:gd name="connsiteY840" fmla="*/ 3144229 h 5120141"/>
                <a:gd name="connsiteX841" fmla="*/ 1138067 w 3832826"/>
                <a:gd name="connsiteY841" fmla="*/ 3130201 h 5120141"/>
                <a:gd name="connsiteX842" fmla="*/ 1142274 w 3832826"/>
                <a:gd name="connsiteY842" fmla="*/ 3126193 h 5120141"/>
                <a:gd name="connsiteX843" fmla="*/ 1148585 w 3832826"/>
                <a:gd name="connsiteY843" fmla="*/ 3124189 h 5120141"/>
                <a:gd name="connsiteX844" fmla="*/ 1154896 w 3832826"/>
                <a:gd name="connsiteY844" fmla="*/ 3118177 h 5120141"/>
                <a:gd name="connsiteX845" fmla="*/ 1161207 w 3832826"/>
                <a:gd name="connsiteY845" fmla="*/ 3110161 h 5120141"/>
                <a:gd name="connsiteX846" fmla="*/ 1163310 w 3832826"/>
                <a:gd name="connsiteY846" fmla="*/ 3106153 h 5120141"/>
                <a:gd name="connsiteX847" fmla="*/ 1161207 w 3832826"/>
                <a:gd name="connsiteY847" fmla="*/ 3090122 h 5120141"/>
                <a:gd name="connsiteX848" fmla="*/ 1159103 w 3832826"/>
                <a:gd name="connsiteY848" fmla="*/ 3076094 h 5120141"/>
                <a:gd name="connsiteX849" fmla="*/ 1159103 w 3832826"/>
                <a:gd name="connsiteY849" fmla="*/ 3068078 h 5120141"/>
                <a:gd name="connsiteX850" fmla="*/ 1159103 w 3832826"/>
                <a:gd name="connsiteY850" fmla="*/ 3060062 h 5120141"/>
                <a:gd name="connsiteX851" fmla="*/ 1161207 w 3832826"/>
                <a:gd name="connsiteY851" fmla="*/ 3056054 h 5120141"/>
                <a:gd name="connsiteX852" fmla="*/ 1159103 w 3832826"/>
                <a:gd name="connsiteY852" fmla="*/ 3050042 h 5120141"/>
                <a:gd name="connsiteX853" fmla="*/ 1154896 w 3832826"/>
                <a:gd name="connsiteY853" fmla="*/ 3048038 h 5120141"/>
                <a:gd name="connsiteX854" fmla="*/ 1150689 w 3832826"/>
                <a:gd name="connsiteY854" fmla="*/ 3046035 h 5120141"/>
                <a:gd name="connsiteX855" fmla="*/ 1140170 w 3832826"/>
                <a:gd name="connsiteY855" fmla="*/ 3044031 h 5120141"/>
                <a:gd name="connsiteX856" fmla="*/ 1133859 w 3832826"/>
                <a:gd name="connsiteY856" fmla="*/ 3040023 h 5120141"/>
                <a:gd name="connsiteX857" fmla="*/ 1131756 w 3832826"/>
                <a:gd name="connsiteY857" fmla="*/ 3038019 h 5120141"/>
                <a:gd name="connsiteX858" fmla="*/ 1127548 w 3832826"/>
                <a:gd name="connsiteY858" fmla="*/ 3030003 h 5120141"/>
                <a:gd name="connsiteX859" fmla="*/ 1123341 w 3832826"/>
                <a:gd name="connsiteY859" fmla="*/ 3023991 h 5120141"/>
                <a:gd name="connsiteX860" fmla="*/ 1127548 w 3832826"/>
                <a:gd name="connsiteY860" fmla="*/ 3015975 h 5120141"/>
                <a:gd name="connsiteX861" fmla="*/ 1127548 w 3832826"/>
                <a:gd name="connsiteY861" fmla="*/ 3007959 h 5120141"/>
                <a:gd name="connsiteX862" fmla="*/ 1121238 w 3832826"/>
                <a:gd name="connsiteY862" fmla="*/ 2989924 h 5120141"/>
                <a:gd name="connsiteX863" fmla="*/ 1119134 w 3832826"/>
                <a:gd name="connsiteY863" fmla="*/ 2983912 h 5120141"/>
                <a:gd name="connsiteX864" fmla="*/ 1119134 w 3832826"/>
                <a:gd name="connsiteY864" fmla="*/ 2975896 h 5120141"/>
                <a:gd name="connsiteX865" fmla="*/ 1119133 w 3832826"/>
                <a:gd name="connsiteY865" fmla="*/ 2975897 h 5120141"/>
                <a:gd name="connsiteX866" fmla="*/ 1119133 w 3832826"/>
                <a:gd name="connsiteY866" fmla="*/ 2965877 h 5120141"/>
                <a:gd name="connsiteX867" fmla="*/ 1112822 w 3832826"/>
                <a:gd name="connsiteY867" fmla="*/ 2955857 h 5120141"/>
                <a:gd name="connsiteX868" fmla="*/ 1106511 w 3832826"/>
                <a:gd name="connsiteY868" fmla="*/ 2949845 h 5120141"/>
                <a:gd name="connsiteX869" fmla="*/ 1095993 w 3832826"/>
                <a:gd name="connsiteY869" fmla="*/ 2945837 h 5120141"/>
                <a:gd name="connsiteX870" fmla="*/ 1074956 w 3832826"/>
                <a:gd name="connsiteY870" fmla="*/ 2935817 h 5120141"/>
                <a:gd name="connsiteX871" fmla="*/ 1066542 w 3832826"/>
                <a:gd name="connsiteY871" fmla="*/ 2929806 h 5120141"/>
                <a:gd name="connsiteX872" fmla="*/ 1064438 w 3832826"/>
                <a:gd name="connsiteY872" fmla="*/ 2923794 h 5120141"/>
                <a:gd name="connsiteX873" fmla="*/ 1064438 w 3832826"/>
                <a:gd name="connsiteY873" fmla="*/ 2815579 h 5120141"/>
                <a:gd name="connsiteX874" fmla="*/ 1064438 w 3832826"/>
                <a:gd name="connsiteY874" fmla="*/ 2763476 h 5120141"/>
                <a:gd name="connsiteX875" fmla="*/ 1066542 w 3832826"/>
                <a:gd name="connsiteY875" fmla="*/ 2707365 h 5120141"/>
                <a:gd name="connsiteX876" fmla="*/ 1070749 w 3832826"/>
                <a:gd name="connsiteY876" fmla="*/ 2697345 h 5120141"/>
                <a:gd name="connsiteX877" fmla="*/ 1077060 w 3832826"/>
                <a:gd name="connsiteY877" fmla="*/ 2687326 h 5120141"/>
                <a:gd name="connsiteX878" fmla="*/ 1074956 w 3832826"/>
                <a:gd name="connsiteY878" fmla="*/ 2683318 h 5120141"/>
                <a:gd name="connsiteX879" fmla="*/ 1070749 w 3832826"/>
                <a:gd name="connsiteY879" fmla="*/ 2681314 h 5120141"/>
                <a:gd name="connsiteX880" fmla="*/ 1066542 w 3832826"/>
                <a:gd name="connsiteY880" fmla="*/ 2677306 h 5120141"/>
                <a:gd name="connsiteX881" fmla="*/ 1058127 w 3832826"/>
                <a:gd name="connsiteY881" fmla="*/ 2675302 h 5120141"/>
                <a:gd name="connsiteX882" fmla="*/ 1053920 w 3832826"/>
                <a:gd name="connsiteY882" fmla="*/ 2671294 h 5120141"/>
                <a:gd name="connsiteX883" fmla="*/ 1049713 w 3832826"/>
                <a:gd name="connsiteY883" fmla="*/ 2657266 h 5120141"/>
                <a:gd name="connsiteX884" fmla="*/ 1053920 w 3832826"/>
                <a:gd name="connsiteY884" fmla="*/ 2645242 h 5120141"/>
                <a:gd name="connsiteX885" fmla="*/ 1058127 w 3832826"/>
                <a:gd name="connsiteY885" fmla="*/ 2633218 h 5120141"/>
                <a:gd name="connsiteX886" fmla="*/ 1058127 w 3832826"/>
                <a:gd name="connsiteY886" fmla="*/ 2623199 h 5120141"/>
                <a:gd name="connsiteX887" fmla="*/ 1058127 w 3832826"/>
                <a:gd name="connsiteY887" fmla="*/ 2613179 h 5120141"/>
                <a:gd name="connsiteX888" fmla="*/ 1056023 w 3832826"/>
                <a:gd name="connsiteY888" fmla="*/ 2601155 h 5120141"/>
                <a:gd name="connsiteX889" fmla="*/ 1049713 w 3832826"/>
                <a:gd name="connsiteY889" fmla="*/ 2577107 h 5120141"/>
                <a:gd name="connsiteX890" fmla="*/ 1047609 w 3832826"/>
                <a:gd name="connsiteY890" fmla="*/ 2565084 h 5120141"/>
                <a:gd name="connsiteX891" fmla="*/ 1049713 w 3832826"/>
                <a:gd name="connsiteY891" fmla="*/ 2555064 h 5120141"/>
                <a:gd name="connsiteX892" fmla="*/ 1053920 w 3832826"/>
                <a:gd name="connsiteY892" fmla="*/ 2547048 h 5120141"/>
                <a:gd name="connsiteX893" fmla="*/ 1060231 w 3832826"/>
                <a:gd name="connsiteY893" fmla="*/ 2543040 h 5120141"/>
                <a:gd name="connsiteX894" fmla="*/ 1058389 w 3832826"/>
                <a:gd name="connsiteY894" fmla="*/ 2529007 h 5120141"/>
                <a:gd name="connsiteX895" fmla="*/ 1056029 w 3832826"/>
                <a:gd name="connsiteY895" fmla="*/ 2529007 h 5120141"/>
                <a:gd name="connsiteX896" fmla="*/ 1049713 w 3832826"/>
                <a:gd name="connsiteY896" fmla="*/ 2535024 h 5120141"/>
                <a:gd name="connsiteX897" fmla="*/ 1049713 w 3832826"/>
                <a:gd name="connsiteY897" fmla="*/ 2533020 h 5120141"/>
                <a:gd name="connsiteX898" fmla="*/ 1049713 w 3832826"/>
                <a:gd name="connsiteY898" fmla="*/ 2529007 h 5120141"/>
                <a:gd name="connsiteX899" fmla="*/ 904562 w 3832826"/>
                <a:gd name="connsiteY899" fmla="*/ 2529007 h 5120141"/>
                <a:gd name="connsiteX900" fmla="*/ 904562 w 3832826"/>
                <a:gd name="connsiteY900" fmla="*/ 2129394 h 5120141"/>
                <a:gd name="connsiteX901" fmla="*/ 889837 w 3832826"/>
                <a:gd name="connsiteY901" fmla="*/ 2130219 h 5120141"/>
                <a:gd name="connsiteX902" fmla="*/ 868800 w 3832826"/>
                <a:gd name="connsiteY902" fmla="*/ 2132223 h 5120141"/>
                <a:gd name="connsiteX903" fmla="*/ 841453 w 3832826"/>
                <a:gd name="connsiteY903" fmla="*/ 2130219 h 5120141"/>
                <a:gd name="connsiteX904" fmla="*/ 816209 w 3832826"/>
                <a:gd name="connsiteY904" fmla="*/ 2132223 h 5120141"/>
                <a:gd name="connsiteX905" fmla="*/ 793069 w 3832826"/>
                <a:gd name="connsiteY905" fmla="*/ 2140239 h 5120141"/>
                <a:gd name="connsiteX906" fmla="*/ 769929 w 3832826"/>
                <a:gd name="connsiteY906" fmla="*/ 2150258 h 5120141"/>
                <a:gd name="connsiteX907" fmla="*/ 748892 w 3832826"/>
                <a:gd name="connsiteY907" fmla="*/ 2162282 h 5120141"/>
                <a:gd name="connsiteX908" fmla="*/ 738374 w 3832826"/>
                <a:gd name="connsiteY908" fmla="*/ 2164286 h 5120141"/>
                <a:gd name="connsiteX909" fmla="*/ 732063 w 3832826"/>
                <a:gd name="connsiteY909" fmla="*/ 2164286 h 5120141"/>
                <a:gd name="connsiteX910" fmla="*/ 725752 w 3832826"/>
                <a:gd name="connsiteY910" fmla="*/ 2162282 h 5120141"/>
                <a:gd name="connsiteX911" fmla="*/ 704716 w 3832826"/>
                <a:gd name="connsiteY911" fmla="*/ 2152262 h 5120141"/>
                <a:gd name="connsiteX912" fmla="*/ 692094 w 3832826"/>
                <a:gd name="connsiteY912" fmla="*/ 2150258 h 5120141"/>
                <a:gd name="connsiteX913" fmla="*/ 677369 w 3832826"/>
                <a:gd name="connsiteY913" fmla="*/ 2150258 h 5120141"/>
                <a:gd name="connsiteX914" fmla="*/ 677369 w 3832826"/>
                <a:gd name="connsiteY914" fmla="*/ 2140239 h 5120141"/>
                <a:gd name="connsiteX915" fmla="*/ 675265 w 3832826"/>
                <a:gd name="connsiteY915" fmla="*/ 2128215 h 5120141"/>
                <a:gd name="connsiteX916" fmla="*/ 664747 w 3832826"/>
                <a:gd name="connsiteY916" fmla="*/ 2104167 h 5120141"/>
                <a:gd name="connsiteX917" fmla="*/ 643710 w 3832826"/>
                <a:gd name="connsiteY917" fmla="*/ 2062084 h 5120141"/>
                <a:gd name="connsiteX918" fmla="*/ 639503 w 3832826"/>
                <a:gd name="connsiteY918" fmla="*/ 2060080 h 5120141"/>
                <a:gd name="connsiteX919" fmla="*/ 633192 w 3832826"/>
                <a:gd name="connsiteY919" fmla="*/ 2056072 h 5120141"/>
                <a:gd name="connsiteX920" fmla="*/ 635296 w 3832826"/>
                <a:gd name="connsiteY920" fmla="*/ 2050060 h 5120141"/>
                <a:gd name="connsiteX921" fmla="*/ 635296 w 3832826"/>
                <a:gd name="connsiteY921" fmla="*/ 2042044 h 5120141"/>
                <a:gd name="connsiteX922" fmla="*/ 624777 w 3832826"/>
                <a:gd name="connsiteY922" fmla="*/ 2028016 h 5120141"/>
                <a:gd name="connsiteX923" fmla="*/ 612156 w 3832826"/>
                <a:gd name="connsiteY923" fmla="*/ 2009980 h 5120141"/>
                <a:gd name="connsiteX924" fmla="*/ 591119 w 3832826"/>
                <a:gd name="connsiteY924" fmla="*/ 1967897 h 5120141"/>
                <a:gd name="connsiteX925" fmla="*/ 570083 w 3832826"/>
                <a:gd name="connsiteY925" fmla="*/ 1925813 h 5120141"/>
                <a:gd name="connsiteX926" fmla="*/ 561668 w 3832826"/>
                <a:gd name="connsiteY926" fmla="*/ 1909781 h 5120141"/>
                <a:gd name="connsiteX927" fmla="*/ 555357 w 3832826"/>
                <a:gd name="connsiteY927" fmla="*/ 1897757 h 5120141"/>
                <a:gd name="connsiteX928" fmla="*/ 544839 w 3832826"/>
                <a:gd name="connsiteY928" fmla="*/ 1887738 h 5120141"/>
                <a:gd name="connsiteX929" fmla="*/ 530114 w 3832826"/>
                <a:gd name="connsiteY929" fmla="*/ 1879722 h 5120141"/>
                <a:gd name="connsiteX930" fmla="*/ 517492 w 3832826"/>
                <a:gd name="connsiteY930" fmla="*/ 1877718 h 5120141"/>
                <a:gd name="connsiteX931" fmla="*/ 502766 w 3832826"/>
                <a:gd name="connsiteY931" fmla="*/ 1877718 h 5120141"/>
                <a:gd name="connsiteX932" fmla="*/ 488041 w 3832826"/>
                <a:gd name="connsiteY932" fmla="*/ 1877718 h 5120141"/>
                <a:gd name="connsiteX933" fmla="*/ 481730 w 3832826"/>
                <a:gd name="connsiteY933" fmla="*/ 1875714 h 5120141"/>
                <a:gd name="connsiteX934" fmla="*/ 473315 w 3832826"/>
                <a:gd name="connsiteY934" fmla="*/ 1873710 h 5120141"/>
                <a:gd name="connsiteX935" fmla="*/ 473315 w 3832826"/>
                <a:gd name="connsiteY935" fmla="*/ 1857678 h 5120141"/>
                <a:gd name="connsiteX936" fmla="*/ 471212 w 3832826"/>
                <a:gd name="connsiteY936" fmla="*/ 1847658 h 5120141"/>
                <a:gd name="connsiteX937" fmla="*/ 462797 w 3832826"/>
                <a:gd name="connsiteY937" fmla="*/ 1829622 h 5120141"/>
                <a:gd name="connsiteX938" fmla="*/ 462797 w 3832826"/>
                <a:gd name="connsiteY938" fmla="*/ 1823611 h 5120141"/>
                <a:gd name="connsiteX939" fmla="*/ 467004 w 3832826"/>
                <a:gd name="connsiteY939" fmla="*/ 1817599 h 5120141"/>
                <a:gd name="connsiteX940" fmla="*/ 481730 w 3832826"/>
                <a:gd name="connsiteY940" fmla="*/ 1815595 h 5120141"/>
                <a:gd name="connsiteX941" fmla="*/ 491767 w 3832826"/>
                <a:gd name="connsiteY941" fmla="*/ 1801335 h 5120141"/>
                <a:gd name="connsiteX942" fmla="*/ 486799 w 3832826"/>
                <a:gd name="connsiteY942" fmla="*/ 1797561 h 5120141"/>
                <a:gd name="connsiteX943" fmla="*/ 476248 w 3832826"/>
                <a:gd name="connsiteY943" fmla="*/ 1787541 h 5120141"/>
                <a:gd name="connsiteX944" fmla="*/ 465697 w 3832826"/>
                <a:gd name="connsiteY944" fmla="*/ 1779525 h 5120141"/>
                <a:gd name="connsiteX945" fmla="*/ 463587 w 3832826"/>
                <a:gd name="connsiteY945" fmla="*/ 1775517 h 5120141"/>
                <a:gd name="connsiteX946" fmla="*/ 463587 w 3832826"/>
                <a:gd name="connsiteY946" fmla="*/ 1769505 h 5120141"/>
                <a:gd name="connsiteX947" fmla="*/ 463587 w 3832826"/>
                <a:gd name="connsiteY947" fmla="*/ 1757481 h 5120141"/>
                <a:gd name="connsiteX948" fmla="*/ 465697 w 3832826"/>
                <a:gd name="connsiteY948" fmla="*/ 1747461 h 5120141"/>
                <a:gd name="connsiteX949" fmla="*/ 463587 w 3832826"/>
                <a:gd name="connsiteY949" fmla="*/ 1737442 h 5120141"/>
                <a:gd name="connsiteX950" fmla="*/ 455146 w 3832826"/>
                <a:gd name="connsiteY950" fmla="*/ 1735438 h 5120141"/>
                <a:gd name="connsiteX951" fmla="*/ 438265 w 3832826"/>
                <a:gd name="connsiteY951" fmla="*/ 1729426 h 5120141"/>
                <a:gd name="connsiteX952" fmla="*/ 423494 w 3832826"/>
                <a:gd name="connsiteY952" fmla="*/ 1723414 h 5120141"/>
                <a:gd name="connsiteX953" fmla="*/ 415054 w 3832826"/>
                <a:gd name="connsiteY953" fmla="*/ 1717402 h 5120141"/>
                <a:gd name="connsiteX954" fmla="*/ 412943 w 3832826"/>
                <a:gd name="connsiteY954" fmla="*/ 1715398 h 5120141"/>
                <a:gd name="connsiteX955" fmla="*/ 406613 w 3832826"/>
                <a:gd name="connsiteY955" fmla="*/ 1699366 h 5120141"/>
                <a:gd name="connsiteX956" fmla="*/ 404503 w 3832826"/>
                <a:gd name="connsiteY956" fmla="*/ 1677323 h 5120141"/>
                <a:gd name="connsiteX957" fmla="*/ 404503 w 3832826"/>
                <a:gd name="connsiteY957" fmla="*/ 1657283 h 5120141"/>
                <a:gd name="connsiteX958" fmla="*/ 406613 w 3832826"/>
                <a:gd name="connsiteY958" fmla="*/ 1643255 h 5120141"/>
                <a:gd name="connsiteX959" fmla="*/ 410833 w 3832826"/>
                <a:gd name="connsiteY959" fmla="*/ 1637243 h 5120141"/>
                <a:gd name="connsiteX960" fmla="*/ 415054 w 3832826"/>
                <a:gd name="connsiteY960" fmla="*/ 1635239 h 5120141"/>
                <a:gd name="connsiteX961" fmla="*/ 421384 w 3832826"/>
                <a:gd name="connsiteY961" fmla="*/ 1631231 h 5120141"/>
                <a:gd name="connsiteX962" fmla="*/ 421384 w 3832826"/>
                <a:gd name="connsiteY962" fmla="*/ 1621212 h 5120141"/>
                <a:gd name="connsiteX963" fmla="*/ 417164 w 3832826"/>
                <a:gd name="connsiteY963" fmla="*/ 1613196 h 5120141"/>
                <a:gd name="connsiteX964" fmla="*/ 406613 w 3832826"/>
                <a:gd name="connsiteY964" fmla="*/ 1605180 h 5120141"/>
                <a:gd name="connsiteX965" fmla="*/ 391842 w 3832826"/>
                <a:gd name="connsiteY965" fmla="*/ 1593156 h 5120141"/>
                <a:gd name="connsiteX966" fmla="*/ 374961 w 3832826"/>
                <a:gd name="connsiteY966" fmla="*/ 1587144 h 5120141"/>
                <a:gd name="connsiteX967" fmla="*/ 355969 w 3832826"/>
                <a:gd name="connsiteY967" fmla="*/ 1585140 h 5120141"/>
                <a:gd name="connsiteX968" fmla="*/ 317987 w 3832826"/>
                <a:gd name="connsiteY968" fmla="*/ 1581132 h 5120141"/>
                <a:gd name="connsiteX969" fmla="*/ 296885 w 3832826"/>
                <a:gd name="connsiteY969" fmla="*/ 1577124 h 5120141"/>
                <a:gd name="connsiteX970" fmla="*/ 277894 w 3832826"/>
                <a:gd name="connsiteY970" fmla="*/ 1571112 h 5120141"/>
                <a:gd name="connsiteX971" fmla="*/ 263123 w 3832826"/>
                <a:gd name="connsiteY971" fmla="*/ 1561093 h 5120141"/>
                <a:gd name="connsiteX972" fmla="*/ 246242 w 3832826"/>
                <a:gd name="connsiteY972" fmla="*/ 1545061 h 5120141"/>
                <a:gd name="connsiteX973" fmla="*/ 229361 w 3832826"/>
                <a:gd name="connsiteY973" fmla="*/ 1533037 h 5120141"/>
                <a:gd name="connsiteX974" fmla="*/ 220920 w 3832826"/>
                <a:gd name="connsiteY974" fmla="*/ 1523017 h 5120141"/>
                <a:gd name="connsiteX975" fmla="*/ 212479 w 3832826"/>
                <a:gd name="connsiteY975" fmla="*/ 1515001 h 5120141"/>
                <a:gd name="connsiteX976" fmla="*/ 210369 w 3832826"/>
                <a:gd name="connsiteY976" fmla="*/ 1504982 h 5120141"/>
                <a:gd name="connsiteX977" fmla="*/ 208259 w 3832826"/>
                <a:gd name="connsiteY977" fmla="*/ 1494962 h 5120141"/>
                <a:gd name="connsiteX978" fmla="*/ 210369 w 3832826"/>
                <a:gd name="connsiteY978" fmla="*/ 1486946 h 5120141"/>
                <a:gd name="connsiteX979" fmla="*/ 218810 w 3832826"/>
                <a:gd name="connsiteY979" fmla="*/ 1476926 h 5120141"/>
                <a:gd name="connsiteX980" fmla="*/ 223030 w 3832826"/>
                <a:gd name="connsiteY980" fmla="*/ 1472918 h 5120141"/>
                <a:gd name="connsiteX981" fmla="*/ 223030 w 3832826"/>
                <a:gd name="connsiteY981" fmla="*/ 1464902 h 5120141"/>
                <a:gd name="connsiteX982" fmla="*/ 214590 w 3832826"/>
                <a:gd name="connsiteY982" fmla="*/ 1450874 h 5120141"/>
                <a:gd name="connsiteX983" fmla="*/ 212479 w 3832826"/>
                <a:gd name="connsiteY983" fmla="*/ 1444863 h 5120141"/>
                <a:gd name="connsiteX984" fmla="*/ 214590 w 3832826"/>
                <a:gd name="connsiteY984" fmla="*/ 1442859 h 5120141"/>
                <a:gd name="connsiteX985" fmla="*/ 220920 w 3832826"/>
                <a:gd name="connsiteY985" fmla="*/ 1442859 h 5120141"/>
                <a:gd name="connsiteX986" fmla="*/ 235691 w 3832826"/>
                <a:gd name="connsiteY986" fmla="*/ 1444863 h 5120141"/>
                <a:gd name="connsiteX987" fmla="*/ 242685 w 3832826"/>
                <a:gd name="connsiteY987" fmla="*/ 1444830 h 5120141"/>
                <a:gd name="connsiteX988" fmla="*/ 239592 w 3832826"/>
                <a:gd name="connsiteY988" fmla="*/ 1442715 h 5120141"/>
                <a:gd name="connsiteX989" fmla="*/ 240798 w 3832826"/>
                <a:gd name="connsiteY989" fmla="*/ 1440839 h 5120141"/>
                <a:gd name="connsiteX990" fmla="*/ 237706 w 3832826"/>
                <a:gd name="connsiteY990" fmla="*/ 1440853 h 5120141"/>
                <a:gd name="connsiteX991" fmla="*/ 241926 w 3832826"/>
                <a:gd name="connsiteY991" fmla="*/ 1378746 h 5120141"/>
                <a:gd name="connsiteX992" fmla="*/ 241926 w 3832826"/>
                <a:gd name="connsiteY992" fmla="*/ 1346677 h 5120141"/>
                <a:gd name="connsiteX993" fmla="*/ 237706 w 3832826"/>
                <a:gd name="connsiteY993" fmla="*/ 1316605 h 5120141"/>
                <a:gd name="connsiteX994" fmla="*/ 237706 w 3832826"/>
                <a:gd name="connsiteY994" fmla="*/ 1314609 h 5120141"/>
                <a:gd name="connsiteX995" fmla="*/ 237706 w 3832826"/>
                <a:gd name="connsiteY995" fmla="*/ 1300571 h 5120141"/>
                <a:gd name="connsiteX996" fmla="*/ 237706 w 3832826"/>
                <a:gd name="connsiteY996" fmla="*/ 1290558 h 5120141"/>
                <a:gd name="connsiteX997" fmla="*/ 237706 w 3832826"/>
                <a:gd name="connsiteY997" fmla="*/ 1288562 h 5120141"/>
                <a:gd name="connsiteX998" fmla="*/ 235558 w 3832826"/>
                <a:gd name="connsiteY998" fmla="*/ 1286533 h 5120141"/>
                <a:gd name="connsiteX999" fmla="*/ 231412 w 3832826"/>
                <a:gd name="connsiteY999" fmla="*/ 1284537 h 5120141"/>
                <a:gd name="connsiteX1000" fmla="*/ 223044 w 3832826"/>
                <a:gd name="connsiteY1000" fmla="*/ 1284537 h 5120141"/>
                <a:gd name="connsiteX1001" fmla="*/ 132485 w 3832826"/>
                <a:gd name="connsiteY1001" fmla="*/ 1284537 h 5120141"/>
                <a:gd name="connsiteX1002" fmla="*/ 132485 w 3832826"/>
                <a:gd name="connsiteY1002" fmla="*/ 1226421 h 5120141"/>
                <a:gd name="connsiteX1003" fmla="*/ 130486 w 3832826"/>
                <a:gd name="connsiteY1003" fmla="*/ 1194353 h 5120141"/>
                <a:gd name="connsiteX1004" fmla="*/ 128264 w 3832826"/>
                <a:gd name="connsiteY1004" fmla="*/ 1184340 h 5120141"/>
                <a:gd name="connsiteX1005" fmla="*/ 126191 w 3832826"/>
                <a:gd name="connsiteY1005" fmla="*/ 1178319 h 5120141"/>
                <a:gd name="connsiteX1006" fmla="*/ 122045 w 3832826"/>
                <a:gd name="connsiteY1006" fmla="*/ 1178319 h 5120141"/>
                <a:gd name="connsiteX1007" fmla="*/ 117750 w 3832826"/>
                <a:gd name="connsiteY1007" fmla="*/ 1176323 h 5120141"/>
                <a:gd name="connsiteX1008" fmla="*/ 117750 w 3832826"/>
                <a:gd name="connsiteY1008" fmla="*/ 1174327 h 5120141"/>
                <a:gd name="connsiteX1009" fmla="*/ 117750 w 3832826"/>
                <a:gd name="connsiteY1009" fmla="*/ 1164314 h 5120141"/>
                <a:gd name="connsiteX1010" fmla="*/ 117750 w 3832826"/>
                <a:gd name="connsiteY1010" fmla="*/ 1158293 h 5120141"/>
                <a:gd name="connsiteX1011" fmla="*/ 115751 w 3832826"/>
                <a:gd name="connsiteY1011" fmla="*/ 1154301 h 5120141"/>
                <a:gd name="connsiteX1012" fmla="*/ 111456 w 3832826"/>
                <a:gd name="connsiteY1012" fmla="*/ 1152272 h 5120141"/>
                <a:gd name="connsiteX1013" fmla="*/ 105162 w 3832826"/>
                <a:gd name="connsiteY1013" fmla="*/ 1148280 h 5120141"/>
                <a:gd name="connsiteX1014" fmla="*/ 100941 w 3832826"/>
                <a:gd name="connsiteY1014" fmla="*/ 1148280 h 5120141"/>
                <a:gd name="connsiteX1015" fmla="*/ 98868 w 3832826"/>
                <a:gd name="connsiteY1015" fmla="*/ 1144255 h 5120141"/>
                <a:gd name="connsiteX1016" fmla="*/ 98868 w 3832826"/>
                <a:gd name="connsiteY1016" fmla="*/ 1134242 h 5120141"/>
                <a:gd name="connsiteX1017" fmla="*/ 98868 w 3832826"/>
                <a:gd name="connsiteY1017" fmla="*/ 1112205 h 5120141"/>
                <a:gd name="connsiteX1018" fmla="*/ 96768 w 3832826"/>
                <a:gd name="connsiteY1018" fmla="*/ 1112205 h 5120141"/>
                <a:gd name="connsiteX1019" fmla="*/ 84146 w 3832826"/>
                <a:gd name="connsiteY1019" fmla="*/ 1076133 h 5120141"/>
                <a:gd name="connsiteX1020" fmla="*/ 82042 w 3832826"/>
                <a:gd name="connsiteY1020" fmla="*/ 1056094 h 5120141"/>
                <a:gd name="connsiteX1021" fmla="*/ 84146 w 3832826"/>
                <a:gd name="connsiteY1021" fmla="*/ 1046074 h 5120141"/>
                <a:gd name="connsiteX1022" fmla="*/ 86250 w 3832826"/>
                <a:gd name="connsiteY1022" fmla="*/ 1036054 h 5120141"/>
                <a:gd name="connsiteX1023" fmla="*/ 96768 w 3832826"/>
                <a:gd name="connsiteY1023" fmla="*/ 1018018 h 5120141"/>
                <a:gd name="connsiteX1024" fmla="*/ 103079 w 3832826"/>
                <a:gd name="connsiteY1024" fmla="*/ 1003990 h 5120141"/>
                <a:gd name="connsiteX1025" fmla="*/ 103079 w 3832826"/>
                <a:gd name="connsiteY1025" fmla="*/ 995974 h 5120141"/>
                <a:gd name="connsiteX1026" fmla="*/ 103079 w 3832826"/>
                <a:gd name="connsiteY1026" fmla="*/ 987959 h 5120141"/>
                <a:gd name="connsiteX1027" fmla="*/ 92561 w 3832826"/>
                <a:gd name="connsiteY1027" fmla="*/ 965915 h 5120141"/>
                <a:gd name="connsiteX1028" fmla="*/ 73628 w 3832826"/>
                <a:gd name="connsiteY1028" fmla="*/ 903792 h 5120141"/>
                <a:gd name="connsiteX1029" fmla="*/ 67317 w 3832826"/>
                <a:gd name="connsiteY1029" fmla="*/ 869724 h 5120141"/>
                <a:gd name="connsiteX1030" fmla="*/ 63110 w 3832826"/>
                <a:gd name="connsiteY1030" fmla="*/ 837661 h 5120141"/>
                <a:gd name="connsiteX1031" fmla="*/ 63110 w 3832826"/>
                <a:gd name="connsiteY1031" fmla="*/ 823633 h 5120141"/>
                <a:gd name="connsiteX1032" fmla="*/ 65213 w 3832826"/>
                <a:gd name="connsiteY1032" fmla="*/ 807601 h 5120141"/>
                <a:gd name="connsiteX1033" fmla="*/ 65213 w 3832826"/>
                <a:gd name="connsiteY1033" fmla="*/ 781549 h 5120141"/>
                <a:gd name="connsiteX1034" fmla="*/ 63110 w 3832826"/>
                <a:gd name="connsiteY1034" fmla="*/ 767522 h 5120141"/>
                <a:gd name="connsiteX1035" fmla="*/ 56799 w 3832826"/>
                <a:gd name="connsiteY1035" fmla="*/ 757502 h 5120141"/>
                <a:gd name="connsiteX1036" fmla="*/ 46281 w 3832826"/>
                <a:gd name="connsiteY1036" fmla="*/ 747482 h 5120141"/>
                <a:gd name="connsiteX1037" fmla="*/ 29452 w 3832826"/>
                <a:gd name="connsiteY1037" fmla="*/ 741470 h 5120141"/>
                <a:gd name="connsiteX1038" fmla="*/ 27348 w 3832826"/>
                <a:gd name="connsiteY1038" fmla="*/ 733454 h 5120141"/>
                <a:gd name="connsiteX1039" fmla="*/ 29452 w 3832826"/>
                <a:gd name="connsiteY1039" fmla="*/ 725438 h 5120141"/>
                <a:gd name="connsiteX1040" fmla="*/ 31555 w 3832826"/>
                <a:gd name="connsiteY1040" fmla="*/ 717422 h 5120141"/>
                <a:gd name="connsiteX1041" fmla="*/ 39970 w 3832826"/>
                <a:gd name="connsiteY1041" fmla="*/ 711410 h 5120141"/>
                <a:gd name="connsiteX1042" fmla="*/ 46281 w 3832826"/>
                <a:gd name="connsiteY1042" fmla="*/ 705398 h 5120141"/>
                <a:gd name="connsiteX1043" fmla="*/ 52880 w 3832826"/>
                <a:gd name="connsiteY1043" fmla="*/ 703827 h 5120141"/>
                <a:gd name="connsiteX1044" fmla="*/ 52638 w 3832826"/>
                <a:gd name="connsiteY1044" fmla="*/ 703357 h 5120141"/>
                <a:gd name="connsiteX1045" fmla="*/ 44132 w 3832826"/>
                <a:gd name="connsiteY1045" fmla="*/ 705433 h 5120141"/>
                <a:gd name="connsiteX1046" fmla="*/ 37845 w 3832826"/>
                <a:gd name="connsiteY1046" fmla="*/ 711439 h 5120141"/>
                <a:gd name="connsiteX1047" fmla="*/ 29462 w 3832826"/>
                <a:gd name="connsiteY1047" fmla="*/ 717445 h 5120141"/>
                <a:gd name="connsiteX1048" fmla="*/ 27367 w 3832826"/>
                <a:gd name="connsiteY1048" fmla="*/ 725453 h 5120141"/>
                <a:gd name="connsiteX1049" fmla="*/ 25271 w 3832826"/>
                <a:gd name="connsiteY1049" fmla="*/ 733461 h 5120141"/>
                <a:gd name="connsiteX1050" fmla="*/ 27367 w 3832826"/>
                <a:gd name="connsiteY1050" fmla="*/ 741469 h 5120141"/>
                <a:gd name="connsiteX1051" fmla="*/ 16888 w 3832826"/>
                <a:gd name="connsiteY1051" fmla="*/ 737465 h 5120141"/>
                <a:gd name="connsiteX1052" fmla="*/ 10478 w 3832826"/>
                <a:gd name="connsiteY1052" fmla="*/ 733461 h 5120141"/>
                <a:gd name="connsiteX1053" fmla="*/ 6287 w 3832826"/>
                <a:gd name="connsiteY1053" fmla="*/ 727455 h 5120141"/>
                <a:gd name="connsiteX1054" fmla="*/ 4191 w 3832826"/>
                <a:gd name="connsiteY1054" fmla="*/ 721449 h 5120141"/>
                <a:gd name="connsiteX1055" fmla="*/ 0 w 3832826"/>
                <a:gd name="connsiteY1055" fmla="*/ 713441 h 5120141"/>
                <a:gd name="connsiteX1056" fmla="*/ 4191 w 3832826"/>
                <a:gd name="connsiteY1056" fmla="*/ 705433 h 5120141"/>
                <a:gd name="connsiteX1057" fmla="*/ 8383 w 3832826"/>
                <a:gd name="connsiteY1057" fmla="*/ 691346 h 5120141"/>
                <a:gd name="connsiteX1058" fmla="*/ 16888 w 3832826"/>
                <a:gd name="connsiteY1058" fmla="*/ 673328 h 5120141"/>
                <a:gd name="connsiteX1059" fmla="*/ 27367 w 3832826"/>
                <a:gd name="connsiteY1059" fmla="*/ 657312 h 5120141"/>
                <a:gd name="connsiteX1060" fmla="*/ 44132 w 3832826"/>
                <a:gd name="connsiteY1060" fmla="*/ 637292 h 5120141"/>
                <a:gd name="connsiteX1061" fmla="*/ 50542 w 3832826"/>
                <a:gd name="connsiteY1061" fmla="*/ 631287 h 5120141"/>
                <a:gd name="connsiteX1062" fmla="*/ 52638 w 3832826"/>
                <a:gd name="connsiteY1062" fmla="*/ 625206 h 5120141"/>
                <a:gd name="connsiteX1063" fmla="*/ 52638 w 3832826"/>
                <a:gd name="connsiteY1063" fmla="*/ 623205 h 5120141"/>
                <a:gd name="connsiteX1064" fmla="*/ 63116 w 3832826"/>
                <a:gd name="connsiteY1064" fmla="*/ 621203 h 5120141"/>
                <a:gd name="connsiteX1065" fmla="*/ 75690 w 3832826"/>
                <a:gd name="connsiteY1065" fmla="*/ 617199 h 5120141"/>
                <a:gd name="connsiteX1066" fmla="*/ 86291 w 3832826"/>
                <a:gd name="connsiteY1066" fmla="*/ 611193 h 5120141"/>
                <a:gd name="connsiteX1067" fmla="*/ 100961 w 3832826"/>
                <a:gd name="connsiteY1067" fmla="*/ 599181 h 5120141"/>
                <a:gd name="connsiteX1068" fmla="*/ 107248 w 3832826"/>
                <a:gd name="connsiteY1068" fmla="*/ 595177 h 5120141"/>
                <a:gd name="connsiteX1069" fmla="*/ 113658 w 3832826"/>
                <a:gd name="connsiteY1069" fmla="*/ 595177 h 5120141"/>
                <a:gd name="connsiteX1070" fmla="*/ 117849 w 3832826"/>
                <a:gd name="connsiteY1070" fmla="*/ 599181 h 5120141"/>
                <a:gd name="connsiteX1071" fmla="*/ 136710 w 3832826"/>
                <a:gd name="connsiteY1071" fmla="*/ 579161 h 5120141"/>
                <a:gd name="connsiteX1072" fmla="*/ 147311 w 3832826"/>
                <a:gd name="connsiteY1072" fmla="*/ 569151 h 5120141"/>
                <a:gd name="connsiteX1073" fmla="*/ 153598 w 3832826"/>
                <a:gd name="connsiteY1073" fmla="*/ 559142 h 5120141"/>
                <a:gd name="connsiteX1074" fmla="*/ 157790 w 3832826"/>
                <a:gd name="connsiteY1074" fmla="*/ 551060 h 5120141"/>
                <a:gd name="connsiteX1075" fmla="*/ 164077 w 3832826"/>
                <a:gd name="connsiteY1075" fmla="*/ 549058 h 5120141"/>
                <a:gd name="connsiteX1076" fmla="*/ 176650 w 3832826"/>
                <a:gd name="connsiteY1076" fmla="*/ 543052 h 5120141"/>
                <a:gd name="connsiteX1077" fmla="*/ 185156 w 3832826"/>
                <a:gd name="connsiteY1077" fmla="*/ 541050 h 5120141"/>
                <a:gd name="connsiteX1078" fmla="*/ 189348 w 3832826"/>
                <a:gd name="connsiteY1078" fmla="*/ 539048 h 5120141"/>
                <a:gd name="connsiteX1079" fmla="*/ 195634 w 3832826"/>
                <a:gd name="connsiteY1079" fmla="*/ 533042 h 5120141"/>
                <a:gd name="connsiteX1080" fmla="*/ 197730 w 3832826"/>
                <a:gd name="connsiteY1080" fmla="*/ 525034 h 5120141"/>
                <a:gd name="connsiteX1081" fmla="*/ 201921 w 3832826"/>
                <a:gd name="connsiteY1081" fmla="*/ 521030 h 5120141"/>
                <a:gd name="connsiteX1082" fmla="*/ 212523 w 3832826"/>
                <a:gd name="connsiteY1082" fmla="*/ 511020 h 5120141"/>
                <a:gd name="connsiteX1083" fmla="*/ 233480 w 3832826"/>
                <a:gd name="connsiteY1083" fmla="*/ 495005 h 5120141"/>
                <a:gd name="connsiteX1084" fmla="*/ 250368 w 3832826"/>
                <a:gd name="connsiteY1084" fmla="*/ 491001 h 5120141"/>
                <a:gd name="connsiteX1085" fmla="*/ 260846 w 3832826"/>
                <a:gd name="connsiteY1085" fmla="*/ 488999 h 5120141"/>
                <a:gd name="connsiteX1086" fmla="*/ 260846 w 3832826"/>
                <a:gd name="connsiteY1086" fmla="*/ 484995 h 5120141"/>
                <a:gd name="connsiteX1087" fmla="*/ 260846 w 3832826"/>
                <a:gd name="connsiteY1087" fmla="*/ 480917 h 5120141"/>
                <a:gd name="connsiteX1088" fmla="*/ 252464 w 3832826"/>
                <a:gd name="connsiteY1088" fmla="*/ 462899 h 5120141"/>
                <a:gd name="connsiteX1089" fmla="*/ 233480 w 3832826"/>
                <a:gd name="connsiteY1089" fmla="*/ 428866 h 5120141"/>
                <a:gd name="connsiteX1090" fmla="*/ 229288 w 3832826"/>
                <a:gd name="connsiteY1090" fmla="*/ 414852 h 5120141"/>
                <a:gd name="connsiteX1091" fmla="*/ 227193 w 3832826"/>
                <a:gd name="connsiteY1091" fmla="*/ 404768 h 5120141"/>
                <a:gd name="connsiteX1092" fmla="*/ 227193 w 3832826"/>
                <a:gd name="connsiteY1092" fmla="*/ 398762 h 5120141"/>
                <a:gd name="connsiteX1093" fmla="*/ 229288 w 3832826"/>
                <a:gd name="connsiteY1093" fmla="*/ 396760 h 5120141"/>
                <a:gd name="connsiteX1094" fmla="*/ 231384 w 3832826"/>
                <a:gd name="connsiteY1094" fmla="*/ 396760 h 5120141"/>
                <a:gd name="connsiteX1095" fmla="*/ 239766 w 3832826"/>
                <a:gd name="connsiteY1095" fmla="*/ 392756 h 5120141"/>
                <a:gd name="connsiteX1096" fmla="*/ 241862 w 3832826"/>
                <a:gd name="connsiteY1096" fmla="*/ 390754 h 5120141"/>
                <a:gd name="connsiteX1097" fmla="*/ 244081 w 3832826"/>
                <a:gd name="connsiteY1097" fmla="*/ 388752 h 5120141"/>
                <a:gd name="connsiteX1098" fmla="*/ 244081 w 3832826"/>
                <a:gd name="connsiteY1098" fmla="*/ 382746 h 5120141"/>
                <a:gd name="connsiteX1099" fmla="*/ 244081 w 3832826"/>
                <a:gd name="connsiteY1099" fmla="*/ 372736 h 5120141"/>
                <a:gd name="connsiteX1100" fmla="*/ 244081 w 3832826"/>
                <a:gd name="connsiteY1100" fmla="*/ 362726 h 5120141"/>
                <a:gd name="connsiteX1101" fmla="*/ 250368 w 3832826"/>
                <a:gd name="connsiteY1101" fmla="*/ 356721 h 5120141"/>
                <a:gd name="connsiteX1102" fmla="*/ 252464 w 3832826"/>
                <a:gd name="connsiteY1102" fmla="*/ 350715 h 5120141"/>
                <a:gd name="connsiteX1103" fmla="*/ 262942 w 3832826"/>
                <a:gd name="connsiteY1103" fmla="*/ 342707 h 5120141"/>
                <a:gd name="connsiteX1104" fmla="*/ 273420 w 3832826"/>
                <a:gd name="connsiteY1104" fmla="*/ 338703 h 5120141"/>
                <a:gd name="connsiteX1105" fmla="*/ 284022 w 3832826"/>
                <a:gd name="connsiteY1105" fmla="*/ 328619 h 5120141"/>
                <a:gd name="connsiteX1106" fmla="*/ 290308 w 3832826"/>
                <a:gd name="connsiteY1106" fmla="*/ 318609 h 5120141"/>
                <a:gd name="connsiteX1107" fmla="*/ 292404 w 3832826"/>
                <a:gd name="connsiteY1107" fmla="*/ 302593 h 5120141"/>
                <a:gd name="connsiteX1108" fmla="*/ 300787 w 3832826"/>
                <a:gd name="connsiteY1108" fmla="*/ 278570 h 5120141"/>
                <a:gd name="connsiteX1109" fmla="*/ 311388 w 3832826"/>
                <a:gd name="connsiteY1109" fmla="*/ 250468 h 5120141"/>
                <a:gd name="connsiteX1110" fmla="*/ 315579 w 3832826"/>
                <a:gd name="connsiteY1110" fmla="*/ 236454 h 5120141"/>
                <a:gd name="connsiteX1111" fmla="*/ 317675 w 3832826"/>
                <a:gd name="connsiteY1111" fmla="*/ 222441 h 5120141"/>
                <a:gd name="connsiteX1112" fmla="*/ 321866 w 3832826"/>
                <a:gd name="connsiteY1112" fmla="*/ 200419 h 5120141"/>
                <a:gd name="connsiteX1113" fmla="*/ 326058 w 3832826"/>
                <a:gd name="connsiteY1113" fmla="*/ 188407 h 5120141"/>
                <a:gd name="connsiteX1114" fmla="*/ 332345 w 3832826"/>
                <a:gd name="connsiteY1114" fmla="*/ 178323 h 5120141"/>
                <a:gd name="connsiteX1115" fmla="*/ 342946 w 3832826"/>
                <a:gd name="connsiteY1115" fmla="*/ 168313 h 5120141"/>
                <a:gd name="connsiteX1116" fmla="*/ 355520 w 3832826"/>
                <a:gd name="connsiteY1116" fmla="*/ 158303 h 5120141"/>
                <a:gd name="connsiteX1117" fmla="*/ 365998 w 3832826"/>
                <a:gd name="connsiteY1117" fmla="*/ 150296 h 5120141"/>
                <a:gd name="connsiteX1118" fmla="*/ 372285 w 3832826"/>
                <a:gd name="connsiteY1118" fmla="*/ 140286 h 5120141"/>
                <a:gd name="connsiteX1119" fmla="*/ 376600 w 3832826"/>
                <a:gd name="connsiteY1119" fmla="*/ 136282 h 5120141"/>
                <a:gd name="connsiteX1120" fmla="*/ 378695 w 3832826"/>
                <a:gd name="connsiteY1120" fmla="*/ 128274 h 5120141"/>
                <a:gd name="connsiteX1121" fmla="*/ 378695 w 3832826"/>
                <a:gd name="connsiteY1121" fmla="*/ 110182 h 5120141"/>
                <a:gd name="connsiteX1122" fmla="*/ 378695 w 3832826"/>
                <a:gd name="connsiteY1122" fmla="*/ 96168 h 5120141"/>
                <a:gd name="connsiteX1123" fmla="*/ 380791 w 3832826"/>
                <a:gd name="connsiteY1123" fmla="*/ 88161 h 5120141"/>
                <a:gd name="connsiteX1124" fmla="*/ 382887 w 3832826"/>
                <a:gd name="connsiteY1124" fmla="*/ 86159 h 5120141"/>
                <a:gd name="connsiteX1125" fmla="*/ 393365 w 3832826"/>
                <a:gd name="connsiteY1125" fmla="*/ 80153 h 5120141"/>
                <a:gd name="connsiteX1126" fmla="*/ 408158 w 3832826"/>
                <a:gd name="connsiteY1126" fmla="*/ 78151 h 5120141"/>
                <a:gd name="connsiteX1127" fmla="*/ 420732 w 3832826"/>
                <a:gd name="connsiteY1127" fmla="*/ 76149 h 5120141"/>
                <a:gd name="connsiteX1128" fmla="*/ 424923 w 3832826"/>
                <a:gd name="connsiteY1128" fmla="*/ 74147 h 5120141"/>
                <a:gd name="connsiteX1129" fmla="*/ 431210 w 3832826"/>
                <a:gd name="connsiteY1129" fmla="*/ 68141 h 5120141"/>
                <a:gd name="connsiteX1130" fmla="*/ 435401 w 3832826"/>
                <a:gd name="connsiteY1130" fmla="*/ 54127 h 5120141"/>
                <a:gd name="connsiteX1131" fmla="*/ 435401 w 3832826"/>
                <a:gd name="connsiteY1131" fmla="*/ 44117 h 5120141"/>
                <a:gd name="connsiteX1132" fmla="*/ 435401 w 3832826"/>
                <a:gd name="connsiteY1132" fmla="*/ 34033 h 5120141"/>
                <a:gd name="connsiteX1133" fmla="*/ 431210 w 3832826"/>
                <a:gd name="connsiteY1133" fmla="*/ 28027 h 5120141"/>
                <a:gd name="connsiteX1134" fmla="*/ 420732 w 3832826"/>
                <a:gd name="connsiteY1134" fmla="*/ 16016 h 5120141"/>
                <a:gd name="connsiteX1135" fmla="*/ 401747 w 3832826"/>
                <a:gd name="connsiteY1135" fmla="*/ 0 h 5120141"/>
                <a:gd name="connsiteX0" fmla="*/ 1390739 w 3832826"/>
                <a:gd name="connsiteY0" fmla="*/ 1285217 h 5120141"/>
                <a:gd name="connsiteX1" fmla="*/ 1392579 w 3832826"/>
                <a:gd name="connsiteY1" fmla="*/ 1291180 h 5120141"/>
                <a:gd name="connsiteX2" fmla="*/ 1392579 w 3832826"/>
                <a:gd name="connsiteY2" fmla="*/ 1296597 h 5120141"/>
                <a:gd name="connsiteX3" fmla="*/ 1392608 w 3832826"/>
                <a:gd name="connsiteY3" fmla="*/ 1296570 h 5120141"/>
                <a:gd name="connsiteX4" fmla="*/ 1392608 w 3832826"/>
                <a:gd name="connsiteY4" fmla="*/ 1290558 h 5120141"/>
                <a:gd name="connsiteX5" fmla="*/ 1390739 w 3832826"/>
                <a:gd name="connsiteY5" fmla="*/ 1285217 h 5120141"/>
                <a:gd name="connsiteX6" fmla="*/ 1138708 w 3832826"/>
                <a:gd name="connsiteY6" fmla="*/ 844805 h 5120141"/>
                <a:gd name="connsiteX7" fmla="*/ 1135965 w 3832826"/>
                <a:gd name="connsiteY7" fmla="*/ 845676 h 5120141"/>
                <a:gd name="connsiteX8" fmla="*/ 1138389 w 3832826"/>
                <a:gd name="connsiteY8" fmla="*/ 850296 h 5120141"/>
                <a:gd name="connsiteX9" fmla="*/ 1142308 w 3832826"/>
                <a:gd name="connsiteY9" fmla="*/ 851593 h 5120141"/>
                <a:gd name="connsiteX10" fmla="*/ 1138708 w 3832826"/>
                <a:gd name="connsiteY10" fmla="*/ 844805 h 5120141"/>
                <a:gd name="connsiteX11" fmla="*/ 1142276 w 3832826"/>
                <a:gd name="connsiteY11" fmla="*/ 825637 h 5120141"/>
                <a:gd name="connsiteX12" fmla="*/ 1144379 w 3832826"/>
                <a:gd name="connsiteY12" fmla="*/ 833653 h 5120141"/>
                <a:gd name="connsiteX13" fmla="*/ 1144379 w 3832826"/>
                <a:gd name="connsiteY13" fmla="*/ 839665 h 5120141"/>
                <a:gd name="connsiteX14" fmla="*/ 1143167 w 3832826"/>
                <a:gd name="connsiteY14" fmla="*/ 841974 h 5120141"/>
                <a:gd name="connsiteX15" fmla="*/ 1144345 w 3832826"/>
                <a:gd name="connsiteY15" fmla="*/ 841587 h 5120141"/>
                <a:gd name="connsiteX16" fmla="*/ 1146453 w 3832826"/>
                <a:gd name="connsiteY16" fmla="*/ 837612 h 5120141"/>
                <a:gd name="connsiteX17" fmla="*/ 1146453 w 3832826"/>
                <a:gd name="connsiteY17" fmla="*/ 831649 h 5120141"/>
                <a:gd name="connsiteX18" fmla="*/ 1144873 w 3832826"/>
                <a:gd name="connsiteY18" fmla="*/ 825637 h 5120141"/>
                <a:gd name="connsiteX19" fmla="*/ 1142276 w 3832826"/>
                <a:gd name="connsiteY19" fmla="*/ 825637 h 5120141"/>
                <a:gd name="connsiteX20" fmla="*/ 401747 w 3832826"/>
                <a:gd name="connsiteY20" fmla="*/ 0 h 5120141"/>
                <a:gd name="connsiteX21" fmla="*/ 769965 w 3832826"/>
                <a:gd name="connsiteY21" fmla="*/ 0 h 5120141"/>
                <a:gd name="connsiteX22" fmla="*/ 1138058 w 3832826"/>
                <a:gd name="connsiteY22" fmla="*/ 0 h 5120141"/>
                <a:gd name="connsiteX23" fmla="*/ 1222254 w 3832826"/>
                <a:gd name="connsiteY23" fmla="*/ 0 h 5120141"/>
                <a:gd name="connsiteX24" fmla="*/ 1226445 w 3832826"/>
                <a:gd name="connsiteY24" fmla="*/ 140286 h 5120141"/>
                <a:gd name="connsiteX25" fmla="*/ 1228541 w 3832826"/>
                <a:gd name="connsiteY25" fmla="*/ 278570 h 5120141"/>
                <a:gd name="connsiteX26" fmla="*/ 1232732 w 3832826"/>
                <a:gd name="connsiteY26" fmla="*/ 414852 h 5120141"/>
                <a:gd name="connsiteX27" fmla="*/ 1228541 w 3832826"/>
                <a:gd name="connsiteY27" fmla="*/ 559142 h 5120141"/>
                <a:gd name="connsiteX28" fmla="*/ 1224350 w 3832826"/>
                <a:gd name="connsiteY28" fmla="*/ 559142 h 5120141"/>
                <a:gd name="connsiteX29" fmla="*/ 1224350 w 3832826"/>
                <a:gd name="connsiteY29" fmla="*/ 591173 h 5120141"/>
                <a:gd name="connsiteX30" fmla="*/ 1222254 w 3832826"/>
                <a:gd name="connsiteY30" fmla="*/ 591173 h 5120141"/>
                <a:gd name="connsiteX31" fmla="*/ 1194887 w 3832826"/>
                <a:gd name="connsiteY31" fmla="*/ 591173 h 5120141"/>
                <a:gd name="connsiteX32" fmla="*/ 1163329 w 3832826"/>
                <a:gd name="connsiteY32" fmla="*/ 591173 h 5120141"/>
                <a:gd name="connsiteX33" fmla="*/ 1108125 w 3832826"/>
                <a:gd name="connsiteY33" fmla="*/ 602727 h 5120141"/>
                <a:gd name="connsiteX34" fmla="*/ 1110721 w 3832826"/>
                <a:gd name="connsiteY34" fmla="*/ 605200 h 5120141"/>
                <a:gd name="connsiteX35" fmla="*/ 1119136 w 3832826"/>
                <a:gd name="connsiteY35" fmla="*/ 613216 h 5120141"/>
                <a:gd name="connsiteX36" fmla="*/ 1121239 w 3832826"/>
                <a:gd name="connsiteY36" fmla="*/ 621231 h 5120141"/>
                <a:gd name="connsiteX37" fmla="*/ 1123343 w 3832826"/>
                <a:gd name="connsiteY37" fmla="*/ 645279 h 5120141"/>
                <a:gd name="connsiteX38" fmla="*/ 1129654 w 3832826"/>
                <a:gd name="connsiteY38" fmla="*/ 657303 h 5120141"/>
                <a:gd name="connsiteX39" fmla="*/ 1140172 w 3832826"/>
                <a:gd name="connsiteY39" fmla="*/ 667323 h 5120141"/>
                <a:gd name="connsiteX40" fmla="*/ 1146483 w 3832826"/>
                <a:gd name="connsiteY40" fmla="*/ 673335 h 5120141"/>
                <a:gd name="connsiteX41" fmla="*/ 1161208 w 3832826"/>
                <a:gd name="connsiteY41" fmla="*/ 677343 h 5120141"/>
                <a:gd name="connsiteX42" fmla="*/ 1184348 w 3832826"/>
                <a:gd name="connsiteY42" fmla="*/ 683355 h 5120141"/>
                <a:gd name="connsiteX43" fmla="*/ 1194866 w 3832826"/>
                <a:gd name="connsiteY43" fmla="*/ 687363 h 5120141"/>
                <a:gd name="connsiteX44" fmla="*/ 1205385 w 3832826"/>
                <a:gd name="connsiteY44" fmla="*/ 693375 h 5120141"/>
                <a:gd name="connsiteX45" fmla="*/ 1209592 w 3832826"/>
                <a:gd name="connsiteY45" fmla="*/ 703394 h 5120141"/>
                <a:gd name="connsiteX46" fmla="*/ 1213799 w 3832826"/>
                <a:gd name="connsiteY46" fmla="*/ 715418 h 5120141"/>
                <a:gd name="connsiteX47" fmla="*/ 1199074 w 3832826"/>
                <a:gd name="connsiteY47" fmla="*/ 715418 h 5120141"/>
                <a:gd name="connsiteX48" fmla="*/ 1196970 w 3832826"/>
                <a:gd name="connsiteY48" fmla="*/ 715418 h 5120141"/>
                <a:gd name="connsiteX49" fmla="*/ 1196970 w 3832826"/>
                <a:gd name="connsiteY49" fmla="*/ 717422 h 5120141"/>
                <a:gd name="connsiteX50" fmla="*/ 1203281 w 3832826"/>
                <a:gd name="connsiteY50" fmla="*/ 725438 h 5120141"/>
                <a:gd name="connsiteX51" fmla="*/ 1205385 w 3832826"/>
                <a:gd name="connsiteY51" fmla="*/ 733454 h 5120141"/>
                <a:gd name="connsiteX52" fmla="*/ 1207488 w 3832826"/>
                <a:gd name="connsiteY52" fmla="*/ 751490 h 5120141"/>
                <a:gd name="connsiteX53" fmla="*/ 1207488 w 3832826"/>
                <a:gd name="connsiteY53" fmla="*/ 763514 h 5120141"/>
                <a:gd name="connsiteX54" fmla="*/ 1199074 w 3832826"/>
                <a:gd name="connsiteY54" fmla="*/ 773533 h 5120141"/>
                <a:gd name="connsiteX55" fmla="*/ 1188556 w 3832826"/>
                <a:gd name="connsiteY55" fmla="*/ 785557 h 5120141"/>
                <a:gd name="connsiteX56" fmla="*/ 1175934 w 3832826"/>
                <a:gd name="connsiteY56" fmla="*/ 793573 h 5120141"/>
                <a:gd name="connsiteX57" fmla="*/ 1161208 w 3832826"/>
                <a:gd name="connsiteY57" fmla="*/ 801589 h 5120141"/>
                <a:gd name="connsiteX58" fmla="*/ 1154897 w 3832826"/>
                <a:gd name="connsiteY58" fmla="*/ 803593 h 5120141"/>
                <a:gd name="connsiteX59" fmla="*/ 1150690 w 3832826"/>
                <a:gd name="connsiteY59" fmla="*/ 811609 h 5120141"/>
                <a:gd name="connsiteX60" fmla="*/ 1150690 w 3832826"/>
                <a:gd name="connsiteY60" fmla="*/ 817621 h 5120141"/>
                <a:gd name="connsiteX61" fmla="*/ 1153844 w 3832826"/>
                <a:gd name="connsiteY61" fmla="*/ 823631 h 5120141"/>
                <a:gd name="connsiteX62" fmla="*/ 1156992 w 3832826"/>
                <a:gd name="connsiteY62" fmla="*/ 823631 h 5120141"/>
                <a:gd name="connsiteX63" fmla="*/ 1165424 w 3832826"/>
                <a:gd name="connsiteY63" fmla="*/ 823631 h 5120141"/>
                <a:gd name="connsiteX64" fmla="*/ 1169639 w 3832826"/>
                <a:gd name="connsiteY64" fmla="*/ 827606 h 5120141"/>
                <a:gd name="connsiteX65" fmla="*/ 1173855 w 3832826"/>
                <a:gd name="connsiteY65" fmla="*/ 833637 h 5120141"/>
                <a:gd name="connsiteX66" fmla="*/ 1173855 w 3832826"/>
                <a:gd name="connsiteY66" fmla="*/ 841587 h 5120141"/>
                <a:gd name="connsiteX67" fmla="*/ 1173855 w 3832826"/>
                <a:gd name="connsiteY67" fmla="*/ 855568 h 5120141"/>
                <a:gd name="connsiteX68" fmla="*/ 1169639 w 3832826"/>
                <a:gd name="connsiteY68" fmla="*/ 871605 h 5120141"/>
                <a:gd name="connsiteX69" fmla="*/ 1184324 w 3832826"/>
                <a:gd name="connsiteY69" fmla="*/ 867562 h 5120141"/>
                <a:gd name="connsiteX70" fmla="*/ 1180108 w 3832826"/>
                <a:gd name="connsiteY70" fmla="*/ 877568 h 5120141"/>
                <a:gd name="connsiteX71" fmla="*/ 1188540 w 3832826"/>
                <a:gd name="connsiteY71" fmla="*/ 877568 h 5120141"/>
                <a:gd name="connsiteX72" fmla="*/ 1194863 w 3832826"/>
                <a:gd name="connsiteY72" fmla="*/ 885587 h 5120141"/>
                <a:gd name="connsiteX73" fmla="*/ 1196971 w 3832826"/>
                <a:gd name="connsiteY73" fmla="*/ 895593 h 5120141"/>
                <a:gd name="connsiteX74" fmla="*/ 1188540 w 3832826"/>
                <a:gd name="connsiteY74" fmla="*/ 895593 h 5120141"/>
                <a:gd name="connsiteX75" fmla="*/ 1190648 w 3832826"/>
                <a:gd name="connsiteY75" fmla="*/ 903543 h 5120141"/>
                <a:gd name="connsiteX76" fmla="*/ 1188540 w 3832826"/>
                <a:gd name="connsiteY76" fmla="*/ 907518 h 5120141"/>
                <a:gd name="connsiteX77" fmla="*/ 1184324 w 3832826"/>
                <a:gd name="connsiteY77" fmla="*/ 913549 h 5120141"/>
                <a:gd name="connsiteX78" fmla="*/ 1175963 w 3832826"/>
                <a:gd name="connsiteY78" fmla="*/ 917524 h 5120141"/>
                <a:gd name="connsiteX79" fmla="*/ 1169639 w 3832826"/>
                <a:gd name="connsiteY79" fmla="*/ 923555 h 5120141"/>
                <a:gd name="connsiteX80" fmla="*/ 1163316 w 3832826"/>
                <a:gd name="connsiteY80" fmla="*/ 933493 h 5120141"/>
                <a:gd name="connsiteX81" fmla="*/ 1163316 w 3832826"/>
                <a:gd name="connsiteY81" fmla="*/ 941512 h 5120141"/>
                <a:gd name="connsiteX82" fmla="*/ 1159100 w 3832826"/>
                <a:gd name="connsiteY82" fmla="*/ 947543 h 5120141"/>
                <a:gd name="connsiteX83" fmla="*/ 1167532 w 3832826"/>
                <a:gd name="connsiteY83" fmla="*/ 947543 h 5120141"/>
                <a:gd name="connsiteX84" fmla="*/ 1165424 w 3832826"/>
                <a:gd name="connsiteY84" fmla="*/ 963511 h 5120141"/>
                <a:gd name="connsiteX85" fmla="*/ 1167532 w 3832826"/>
                <a:gd name="connsiteY85" fmla="*/ 975505 h 5120141"/>
                <a:gd name="connsiteX86" fmla="*/ 1167532 w 3832826"/>
                <a:gd name="connsiteY86" fmla="*/ 991474 h 5120141"/>
                <a:gd name="connsiteX87" fmla="*/ 1167532 w 3832826"/>
                <a:gd name="connsiteY87" fmla="*/ 1007443 h 5120141"/>
                <a:gd name="connsiteX88" fmla="*/ 1169639 w 3832826"/>
                <a:gd name="connsiteY88" fmla="*/ 1011486 h 5120141"/>
                <a:gd name="connsiteX89" fmla="*/ 1173855 w 3832826"/>
                <a:gd name="connsiteY89" fmla="*/ 1015461 h 5120141"/>
                <a:gd name="connsiteX90" fmla="*/ 1169639 w 3832826"/>
                <a:gd name="connsiteY90" fmla="*/ 1021424 h 5120141"/>
                <a:gd name="connsiteX91" fmla="*/ 1167532 w 3832826"/>
                <a:gd name="connsiteY91" fmla="*/ 1021424 h 5120141"/>
                <a:gd name="connsiteX92" fmla="*/ 1163316 w 3832826"/>
                <a:gd name="connsiteY92" fmla="*/ 1021424 h 5120141"/>
                <a:gd name="connsiteX93" fmla="*/ 1159100 w 3832826"/>
                <a:gd name="connsiteY93" fmla="*/ 1027455 h 5120141"/>
                <a:gd name="connsiteX94" fmla="*/ 1163316 w 3832826"/>
                <a:gd name="connsiteY94" fmla="*/ 1033418 h 5120141"/>
                <a:gd name="connsiteX95" fmla="*/ 1167532 w 3832826"/>
                <a:gd name="connsiteY95" fmla="*/ 1037461 h 5120141"/>
                <a:gd name="connsiteX96" fmla="*/ 1169639 w 3832826"/>
                <a:gd name="connsiteY96" fmla="*/ 1047399 h 5120141"/>
                <a:gd name="connsiteX97" fmla="*/ 1173855 w 3832826"/>
                <a:gd name="connsiteY97" fmla="*/ 1059393 h 5120141"/>
                <a:gd name="connsiteX98" fmla="*/ 1186432 w 3832826"/>
                <a:gd name="connsiteY98" fmla="*/ 1057405 h 5120141"/>
                <a:gd name="connsiteX99" fmla="*/ 1184324 w 3832826"/>
                <a:gd name="connsiteY99" fmla="*/ 1065424 h 5120141"/>
                <a:gd name="connsiteX100" fmla="*/ 1194863 w 3832826"/>
                <a:gd name="connsiteY100" fmla="*/ 1063436 h 5120141"/>
                <a:gd name="connsiteX101" fmla="*/ 1201187 w 3832826"/>
                <a:gd name="connsiteY101" fmla="*/ 1065424 h 5120141"/>
                <a:gd name="connsiteX102" fmla="*/ 1205403 w 3832826"/>
                <a:gd name="connsiteY102" fmla="*/ 1073374 h 5120141"/>
                <a:gd name="connsiteX103" fmla="*/ 1205403 w 3832826"/>
                <a:gd name="connsiteY103" fmla="*/ 1083380 h 5120141"/>
                <a:gd name="connsiteX104" fmla="*/ 1209618 w 3832826"/>
                <a:gd name="connsiteY104" fmla="*/ 1083380 h 5120141"/>
                <a:gd name="connsiteX105" fmla="*/ 1209618 w 3832826"/>
                <a:gd name="connsiteY105" fmla="*/ 1095374 h 5120141"/>
                <a:gd name="connsiteX106" fmla="*/ 1220087 w 3832826"/>
                <a:gd name="connsiteY106" fmla="*/ 1097361 h 5120141"/>
                <a:gd name="connsiteX107" fmla="*/ 1226411 w 3832826"/>
                <a:gd name="connsiteY107" fmla="*/ 1103392 h 5120141"/>
                <a:gd name="connsiteX108" fmla="*/ 1232734 w 3832826"/>
                <a:gd name="connsiteY108" fmla="*/ 1115386 h 5120141"/>
                <a:gd name="connsiteX109" fmla="*/ 1241166 w 3832826"/>
                <a:gd name="connsiteY109" fmla="*/ 1113330 h 5120141"/>
                <a:gd name="connsiteX110" fmla="*/ 1247489 w 3832826"/>
                <a:gd name="connsiteY110" fmla="*/ 1119361 h 5120141"/>
                <a:gd name="connsiteX111" fmla="*/ 1249527 w 3832826"/>
                <a:gd name="connsiteY111" fmla="*/ 1127311 h 5120141"/>
                <a:gd name="connsiteX112" fmla="*/ 1262174 w 3832826"/>
                <a:gd name="connsiteY112" fmla="*/ 1137317 h 5120141"/>
                <a:gd name="connsiteX113" fmla="*/ 1274821 w 3832826"/>
                <a:gd name="connsiteY113" fmla="*/ 1147324 h 5120141"/>
                <a:gd name="connsiteX114" fmla="*/ 1291613 w 3832826"/>
                <a:gd name="connsiteY114" fmla="*/ 1159317 h 5120141"/>
                <a:gd name="connsiteX115" fmla="*/ 1293721 w 3832826"/>
                <a:gd name="connsiteY115" fmla="*/ 1165280 h 5120141"/>
                <a:gd name="connsiteX116" fmla="*/ 1295829 w 3832826"/>
                <a:gd name="connsiteY116" fmla="*/ 1173299 h 5120141"/>
                <a:gd name="connsiteX117" fmla="*/ 1306368 w 3832826"/>
                <a:gd name="connsiteY117" fmla="*/ 1173299 h 5120141"/>
                <a:gd name="connsiteX118" fmla="*/ 1312692 w 3832826"/>
                <a:gd name="connsiteY118" fmla="*/ 1177274 h 5120141"/>
                <a:gd name="connsiteX119" fmla="*/ 1314800 w 3832826"/>
                <a:gd name="connsiteY119" fmla="*/ 1185292 h 5120141"/>
                <a:gd name="connsiteX120" fmla="*/ 1312692 w 3832826"/>
                <a:gd name="connsiteY120" fmla="*/ 1195299 h 5120141"/>
                <a:gd name="connsiteX121" fmla="*/ 1321053 w 3832826"/>
                <a:gd name="connsiteY121" fmla="*/ 1193311 h 5120141"/>
                <a:gd name="connsiteX122" fmla="*/ 1323161 w 3832826"/>
                <a:gd name="connsiteY122" fmla="*/ 1195299 h 5120141"/>
                <a:gd name="connsiteX123" fmla="*/ 1325269 w 3832826"/>
                <a:gd name="connsiteY123" fmla="*/ 1199274 h 5120141"/>
                <a:gd name="connsiteX124" fmla="*/ 1325269 w 3832826"/>
                <a:gd name="connsiteY124" fmla="*/ 1205305 h 5120141"/>
                <a:gd name="connsiteX125" fmla="*/ 1337916 w 3832826"/>
                <a:gd name="connsiteY125" fmla="*/ 1205305 h 5120141"/>
                <a:gd name="connsiteX126" fmla="*/ 1337916 w 3832826"/>
                <a:gd name="connsiteY126" fmla="*/ 1217230 h 5120141"/>
                <a:gd name="connsiteX127" fmla="*/ 1344239 w 3832826"/>
                <a:gd name="connsiteY127" fmla="*/ 1215242 h 5120141"/>
                <a:gd name="connsiteX128" fmla="*/ 1344239 w 3832826"/>
                <a:gd name="connsiteY128" fmla="*/ 1219286 h 5120141"/>
                <a:gd name="connsiteX129" fmla="*/ 1346347 w 3832826"/>
                <a:gd name="connsiteY129" fmla="*/ 1219286 h 5120141"/>
                <a:gd name="connsiteX130" fmla="*/ 1352671 w 3832826"/>
                <a:gd name="connsiteY130" fmla="*/ 1223261 h 5120141"/>
                <a:gd name="connsiteX131" fmla="*/ 1352671 w 3832826"/>
                <a:gd name="connsiteY131" fmla="*/ 1227236 h 5120141"/>
                <a:gd name="connsiteX132" fmla="*/ 1358924 w 3832826"/>
                <a:gd name="connsiteY132" fmla="*/ 1227236 h 5120141"/>
                <a:gd name="connsiteX133" fmla="*/ 1365247 w 3832826"/>
                <a:gd name="connsiteY133" fmla="*/ 1235255 h 5120141"/>
                <a:gd name="connsiteX134" fmla="*/ 1365247 w 3832826"/>
                <a:gd name="connsiteY134" fmla="*/ 1241217 h 5120141"/>
                <a:gd name="connsiteX135" fmla="*/ 1365247 w 3832826"/>
                <a:gd name="connsiteY135" fmla="*/ 1251223 h 5120141"/>
                <a:gd name="connsiteX136" fmla="*/ 1369463 w 3832826"/>
                <a:gd name="connsiteY136" fmla="*/ 1249236 h 5120141"/>
                <a:gd name="connsiteX137" fmla="*/ 1375787 w 3832826"/>
                <a:gd name="connsiteY137" fmla="*/ 1251223 h 5120141"/>
                <a:gd name="connsiteX138" fmla="*/ 1377895 w 3832826"/>
                <a:gd name="connsiteY138" fmla="*/ 1255199 h 5120141"/>
                <a:gd name="connsiteX139" fmla="*/ 1377895 w 3832826"/>
                <a:gd name="connsiteY139" fmla="*/ 1259242 h 5120141"/>
                <a:gd name="connsiteX140" fmla="*/ 1396795 w 3832826"/>
                <a:gd name="connsiteY140" fmla="*/ 1257255 h 5120141"/>
                <a:gd name="connsiteX141" fmla="*/ 1398903 w 3832826"/>
                <a:gd name="connsiteY141" fmla="*/ 1275211 h 5120141"/>
                <a:gd name="connsiteX142" fmla="*/ 1407333 w 3832826"/>
                <a:gd name="connsiteY142" fmla="*/ 1271236 h 5120141"/>
                <a:gd name="connsiteX143" fmla="*/ 1407333 w 3832826"/>
                <a:gd name="connsiteY143" fmla="*/ 1270518 h 5120141"/>
                <a:gd name="connsiteX144" fmla="*/ 1453613 w 3832826"/>
                <a:gd name="connsiteY144" fmla="*/ 1244467 h 5120141"/>
                <a:gd name="connsiteX145" fmla="*/ 1459924 w 3832826"/>
                <a:gd name="connsiteY145" fmla="*/ 1274526 h 5120141"/>
                <a:gd name="connsiteX146" fmla="*/ 1459924 w 3832826"/>
                <a:gd name="connsiteY146" fmla="*/ 1290558 h 5120141"/>
                <a:gd name="connsiteX147" fmla="*/ 1455717 w 3832826"/>
                <a:gd name="connsiteY147" fmla="*/ 1304586 h 5120141"/>
                <a:gd name="connsiteX148" fmla="*/ 1453613 w 3832826"/>
                <a:gd name="connsiteY148" fmla="*/ 1308594 h 5120141"/>
                <a:gd name="connsiteX149" fmla="*/ 1449406 w 3832826"/>
                <a:gd name="connsiteY149" fmla="*/ 1310598 h 5120141"/>
                <a:gd name="connsiteX150" fmla="*/ 1440991 w 3832826"/>
                <a:gd name="connsiteY150" fmla="*/ 1316610 h 5120141"/>
                <a:gd name="connsiteX151" fmla="*/ 1434680 w 3832826"/>
                <a:gd name="connsiteY151" fmla="*/ 1318614 h 5120141"/>
                <a:gd name="connsiteX152" fmla="*/ 1432577 w 3832826"/>
                <a:gd name="connsiteY152" fmla="*/ 1320618 h 5120141"/>
                <a:gd name="connsiteX153" fmla="*/ 1430473 w 3832826"/>
                <a:gd name="connsiteY153" fmla="*/ 1326630 h 5120141"/>
                <a:gd name="connsiteX154" fmla="*/ 1430473 w 3832826"/>
                <a:gd name="connsiteY154" fmla="*/ 1334645 h 5120141"/>
                <a:gd name="connsiteX155" fmla="*/ 1434680 w 3832826"/>
                <a:gd name="connsiteY155" fmla="*/ 1338653 h 5120141"/>
                <a:gd name="connsiteX156" fmla="*/ 1440991 w 3832826"/>
                <a:gd name="connsiteY156" fmla="*/ 1350677 h 5120141"/>
                <a:gd name="connsiteX157" fmla="*/ 1443095 w 3832826"/>
                <a:gd name="connsiteY157" fmla="*/ 1366709 h 5120141"/>
                <a:gd name="connsiteX158" fmla="*/ 1443095 w 3832826"/>
                <a:gd name="connsiteY158" fmla="*/ 1380737 h 5120141"/>
                <a:gd name="connsiteX159" fmla="*/ 1445199 w 3832826"/>
                <a:gd name="connsiteY159" fmla="*/ 1436848 h 5120141"/>
                <a:gd name="connsiteX160" fmla="*/ 1422059 w 3832826"/>
                <a:gd name="connsiteY160" fmla="*/ 1436848 h 5120141"/>
                <a:gd name="connsiteX161" fmla="*/ 1403126 w 3832826"/>
                <a:gd name="connsiteY161" fmla="*/ 1438852 h 5120141"/>
                <a:gd name="connsiteX162" fmla="*/ 1392608 w 3832826"/>
                <a:gd name="connsiteY162" fmla="*/ 1440856 h 5120141"/>
                <a:gd name="connsiteX163" fmla="*/ 1382089 w 3832826"/>
                <a:gd name="connsiteY163" fmla="*/ 1444864 h 5120141"/>
                <a:gd name="connsiteX164" fmla="*/ 1375779 w 3832826"/>
                <a:gd name="connsiteY164" fmla="*/ 1448872 h 5120141"/>
                <a:gd name="connsiteX165" fmla="*/ 1367364 w 3832826"/>
                <a:gd name="connsiteY165" fmla="*/ 1456888 h 5120141"/>
                <a:gd name="connsiteX166" fmla="*/ 1358949 w 3832826"/>
                <a:gd name="connsiteY166" fmla="*/ 1462900 h 5120141"/>
                <a:gd name="connsiteX167" fmla="*/ 1354742 w 3832826"/>
                <a:gd name="connsiteY167" fmla="*/ 1472920 h 5120141"/>
                <a:gd name="connsiteX168" fmla="*/ 1348431 w 3832826"/>
                <a:gd name="connsiteY168" fmla="*/ 1480935 h 5120141"/>
                <a:gd name="connsiteX169" fmla="*/ 1344224 w 3832826"/>
                <a:gd name="connsiteY169" fmla="*/ 1482939 h 5120141"/>
                <a:gd name="connsiteX170" fmla="*/ 1342120 w 3832826"/>
                <a:gd name="connsiteY170" fmla="*/ 1482939 h 5120141"/>
                <a:gd name="connsiteX171" fmla="*/ 1333706 w 3832826"/>
                <a:gd name="connsiteY171" fmla="*/ 1480935 h 5120141"/>
                <a:gd name="connsiteX172" fmla="*/ 1327395 w 3832826"/>
                <a:gd name="connsiteY172" fmla="*/ 1482939 h 5120141"/>
                <a:gd name="connsiteX173" fmla="*/ 1325291 w 3832826"/>
                <a:gd name="connsiteY173" fmla="*/ 1488951 h 5120141"/>
                <a:gd name="connsiteX174" fmla="*/ 1323188 w 3832826"/>
                <a:gd name="connsiteY174" fmla="*/ 1492959 h 5120141"/>
                <a:gd name="connsiteX175" fmla="*/ 1321084 w 3832826"/>
                <a:gd name="connsiteY175" fmla="*/ 1506987 h 5120141"/>
                <a:gd name="connsiteX176" fmla="*/ 1316877 w 3832826"/>
                <a:gd name="connsiteY176" fmla="*/ 1512999 h 5120141"/>
                <a:gd name="connsiteX177" fmla="*/ 1310566 w 3832826"/>
                <a:gd name="connsiteY177" fmla="*/ 1521015 h 5120141"/>
                <a:gd name="connsiteX178" fmla="*/ 1304255 w 3832826"/>
                <a:gd name="connsiteY178" fmla="*/ 1523019 h 5120141"/>
                <a:gd name="connsiteX179" fmla="*/ 1293737 w 3832826"/>
                <a:gd name="connsiteY179" fmla="*/ 1529031 h 5120141"/>
                <a:gd name="connsiteX180" fmla="*/ 1281115 w 3832826"/>
                <a:gd name="connsiteY180" fmla="*/ 1529031 h 5120141"/>
                <a:gd name="connsiteX181" fmla="*/ 1279011 w 3832826"/>
                <a:gd name="connsiteY181" fmla="*/ 1531035 h 5120141"/>
                <a:gd name="connsiteX182" fmla="*/ 1274804 w 3832826"/>
                <a:gd name="connsiteY182" fmla="*/ 1537046 h 5120141"/>
                <a:gd name="connsiteX183" fmla="*/ 1272700 w 3832826"/>
                <a:gd name="connsiteY183" fmla="*/ 1547066 h 5120141"/>
                <a:gd name="connsiteX184" fmla="*/ 1270597 w 3832826"/>
                <a:gd name="connsiteY184" fmla="*/ 1559090 h 5120141"/>
                <a:gd name="connsiteX185" fmla="*/ 1264286 w 3832826"/>
                <a:gd name="connsiteY185" fmla="*/ 1569110 h 5120141"/>
                <a:gd name="connsiteX186" fmla="*/ 1262182 w 3832826"/>
                <a:gd name="connsiteY186" fmla="*/ 1569110 h 5120141"/>
                <a:gd name="connsiteX187" fmla="*/ 1262182 w 3832826"/>
                <a:gd name="connsiteY187" fmla="*/ 1573118 h 5120141"/>
                <a:gd name="connsiteX188" fmla="*/ 1260078 w 3832826"/>
                <a:gd name="connsiteY188" fmla="*/ 1579130 h 5120141"/>
                <a:gd name="connsiteX189" fmla="*/ 1260078 w 3832826"/>
                <a:gd name="connsiteY189" fmla="*/ 1599170 h 5120141"/>
                <a:gd name="connsiteX190" fmla="*/ 1260078 w 3832826"/>
                <a:gd name="connsiteY190" fmla="*/ 1633237 h 5120141"/>
                <a:gd name="connsiteX191" fmla="*/ 1260078 w 3832826"/>
                <a:gd name="connsiteY191" fmla="*/ 1679328 h 5120141"/>
                <a:gd name="connsiteX192" fmla="*/ 1258254 w 3832826"/>
                <a:gd name="connsiteY192" fmla="*/ 1717574 h 5120141"/>
                <a:gd name="connsiteX193" fmla="*/ 1279014 w 3832826"/>
                <a:gd name="connsiteY193" fmla="*/ 1732471 h 5120141"/>
                <a:gd name="connsiteX194" fmla="*/ 1302154 w 3832826"/>
                <a:gd name="connsiteY194" fmla="*/ 1736462 h 5120141"/>
                <a:gd name="connsiteX195" fmla="*/ 1312672 w 3832826"/>
                <a:gd name="connsiteY195" fmla="*/ 1736462 h 5120141"/>
                <a:gd name="connsiteX196" fmla="*/ 1323191 w 3832826"/>
                <a:gd name="connsiteY196" fmla="*/ 1734466 h 5120141"/>
                <a:gd name="connsiteX197" fmla="*/ 1337916 w 3832826"/>
                <a:gd name="connsiteY197" fmla="*/ 1732471 h 5120141"/>
                <a:gd name="connsiteX198" fmla="*/ 1350538 w 3832826"/>
                <a:gd name="connsiteY198" fmla="*/ 1726484 h 5120141"/>
                <a:gd name="connsiteX199" fmla="*/ 1354745 w 3832826"/>
                <a:gd name="connsiteY199" fmla="*/ 1726484 h 5120141"/>
                <a:gd name="connsiteX200" fmla="*/ 1365263 w 3832826"/>
                <a:gd name="connsiteY200" fmla="*/ 1730475 h 5120141"/>
                <a:gd name="connsiteX201" fmla="*/ 1394714 w 3832826"/>
                <a:gd name="connsiteY201" fmla="*/ 1742449 h 5120141"/>
                <a:gd name="connsiteX202" fmla="*/ 1407336 w 3832826"/>
                <a:gd name="connsiteY202" fmla="*/ 1744445 h 5120141"/>
                <a:gd name="connsiteX203" fmla="*/ 1419958 w 3832826"/>
                <a:gd name="connsiteY203" fmla="*/ 1746440 h 5120141"/>
                <a:gd name="connsiteX204" fmla="*/ 1426269 w 3832826"/>
                <a:gd name="connsiteY204" fmla="*/ 1744445 h 5120141"/>
                <a:gd name="connsiteX205" fmla="*/ 1430476 w 3832826"/>
                <a:gd name="connsiteY205" fmla="*/ 1742449 h 5120141"/>
                <a:gd name="connsiteX206" fmla="*/ 1430476 w 3832826"/>
                <a:gd name="connsiteY206" fmla="*/ 1740453 h 5120141"/>
                <a:gd name="connsiteX207" fmla="*/ 1434684 w 3832826"/>
                <a:gd name="connsiteY207" fmla="*/ 1734466 h 5120141"/>
                <a:gd name="connsiteX208" fmla="*/ 1434684 w 3832826"/>
                <a:gd name="connsiteY208" fmla="*/ 1726484 h 5120141"/>
                <a:gd name="connsiteX209" fmla="*/ 1436787 w 3832826"/>
                <a:gd name="connsiteY209" fmla="*/ 1722493 h 5120141"/>
                <a:gd name="connsiteX210" fmla="*/ 1445202 w 3832826"/>
                <a:gd name="connsiteY210" fmla="*/ 1712514 h 5120141"/>
                <a:gd name="connsiteX211" fmla="*/ 1455720 w 3832826"/>
                <a:gd name="connsiteY211" fmla="*/ 1704532 h 5120141"/>
                <a:gd name="connsiteX212" fmla="*/ 1462031 w 3832826"/>
                <a:gd name="connsiteY212" fmla="*/ 1694553 h 5120141"/>
                <a:gd name="connsiteX213" fmla="*/ 1462031 w 3832826"/>
                <a:gd name="connsiteY213" fmla="*/ 1684575 h 5120141"/>
                <a:gd name="connsiteX214" fmla="*/ 1466238 w 3832826"/>
                <a:gd name="connsiteY214" fmla="*/ 1676592 h 5120141"/>
                <a:gd name="connsiteX215" fmla="*/ 1472549 w 3832826"/>
                <a:gd name="connsiteY215" fmla="*/ 1666614 h 5120141"/>
                <a:gd name="connsiteX216" fmla="*/ 1483067 w 3832826"/>
                <a:gd name="connsiteY216" fmla="*/ 1652645 h 5120141"/>
                <a:gd name="connsiteX217" fmla="*/ 1497793 w 3832826"/>
                <a:gd name="connsiteY217" fmla="*/ 1638675 h 5120141"/>
                <a:gd name="connsiteX218" fmla="*/ 1510415 w 3832826"/>
                <a:gd name="connsiteY218" fmla="*/ 1624705 h 5120141"/>
                <a:gd name="connsiteX219" fmla="*/ 1525140 w 3832826"/>
                <a:gd name="connsiteY219" fmla="*/ 1612731 h 5120141"/>
                <a:gd name="connsiteX220" fmla="*/ 1577731 w 3832826"/>
                <a:gd name="connsiteY220" fmla="*/ 1580801 h 5120141"/>
                <a:gd name="connsiteX221" fmla="*/ 1605078 w 3832826"/>
                <a:gd name="connsiteY221" fmla="*/ 1560845 h 5120141"/>
                <a:gd name="connsiteX222" fmla="*/ 1628218 w 3832826"/>
                <a:gd name="connsiteY222" fmla="*/ 1540888 h 5120141"/>
                <a:gd name="connsiteX223" fmla="*/ 1645048 w 3832826"/>
                <a:gd name="connsiteY223" fmla="*/ 1524923 h 5120141"/>
                <a:gd name="connsiteX224" fmla="*/ 1661877 w 3832826"/>
                <a:gd name="connsiteY224" fmla="*/ 1514944 h 5120141"/>
                <a:gd name="connsiteX225" fmla="*/ 1678706 w 3832826"/>
                <a:gd name="connsiteY225" fmla="*/ 1508957 h 5120141"/>
                <a:gd name="connsiteX226" fmla="*/ 1695535 w 3832826"/>
                <a:gd name="connsiteY226" fmla="*/ 1502971 h 5120141"/>
                <a:gd name="connsiteX227" fmla="*/ 1714468 w 3832826"/>
                <a:gd name="connsiteY227" fmla="*/ 1500975 h 5120141"/>
                <a:gd name="connsiteX228" fmla="*/ 1735504 w 3832826"/>
                <a:gd name="connsiteY228" fmla="*/ 1500975 h 5120141"/>
                <a:gd name="connsiteX229" fmla="*/ 1777577 w 3832826"/>
                <a:gd name="connsiteY229" fmla="*/ 1500975 h 5120141"/>
                <a:gd name="connsiteX230" fmla="*/ 2158335 w 3832826"/>
                <a:gd name="connsiteY230" fmla="*/ 1500975 h 5120141"/>
                <a:gd name="connsiteX231" fmla="*/ 2158335 w 3832826"/>
                <a:gd name="connsiteY231" fmla="*/ 1514944 h 5120141"/>
                <a:gd name="connsiteX232" fmla="*/ 2158335 w 3832826"/>
                <a:gd name="connsiteY232" fmla="*/ 1572818 h 5120141"/>
                <a:gd name="connsiteX233" fmla="*/ 2160439 w 3832826"/>
                <a:gd name="connsiteY233" fmla="*/ 1594771 h 5120141"/>
                <a:gd name="connsiteX234" fmla="*/ 2158335 w 3832826"/>
                <a:gd name="connsiteY234" fmla="*/ 1624705 h 5120141"/>
                <a:gd name="connsiteX235" fmla="*/ 2158335 w 3832826"/>
                <a:gd name="connsiteY235" fmla="*/ 1634684 h 5120141"/>
                <a:gd name="connsiteX236" fmla="*/ 2158335 w 3832826"/>
                <a:gd name="connsiteY236" fmla="*/ 1648653 h 5120141"/>
                <a:gd name="connsiteX237" fmla="*/ 2158335 w 3832826"/>
                <a:gd name="connsiteY237" fmla="*/ 1666614 h 5120141"/>
                <a:gd name="connsiteX238" fmla="*/ 2158335 w 3832826"/>
                <a:gd name="connsiteY238" fmla="*/ 1700540 h 5120141"/>
                <a:gd name="connsiteX239" fmla="*/ 2149671 w 3832826"/>
                <a:gd name="connsiteY239" fmla="*/ 1700540 h 5120141"/>
                <a:gd name="connsiteX240" fmla="*/ 2149671 w 3832826"/>
                <a:gd name="connsiteY240" fmla="*/ 1701367 h 5120141"/>
                <a:gd name="connsiteX241" fmla="*/ 2158305 w 3832826"/>
                <a:gd name="connsiteY241" fmla="*/ 1701367 h 5120141"/>
                <a:gd name="connsiteX242" fmla="*/ 2158305 w 3832826"/>
                <a:gd name="connsiteY242" fmla="*/ 1723407 h 5120141"/>
                <a:gd name="connsiteX243" fmla="*/ 2158305 w 3832826"/>
                <a:gd name="connsiteY243" fmla="*/ 1755458 h 5120141"/>
                <a:gd name="connsiteX244" fmla="*/ 2234031 w 3832826"/>
                <a:gd name="connsiteY244" fmla="*/ 1815609 h 5120141"/>
                <a:gd name="connsiteX245" fmla="*/ 2231975 w 3832826"/>
                <a:gd name="connsiteY245" fmla="*/ 1817584 h 5120141"/>
                <a:gd name="connsiteX246" fmla="*/ 2231975 w 3832826"/>
                <a:gd name="connsiteY246" fmla="*/ 1823599 h 5120141"/>
                <a:gd name="connsiteX247" fmla="*/ 2234031 w 3832826"/>
                <a:gd name="connsiteY247" fmla="*/ 1833610 h 5120141"/>
                <a:gd name="connsiteX248" fmla="*/ 2240379 w 3832826"/>
                <a:gd name="connsiteY248" fmla="*/ 1843665 h 5120141"/>
                <a:gd name="connsiteX249" fmla="*/ 2244581 w 3832826"/>
                <a:gd name="connsiteY249" fmla="*/ 1853675 h 5120141"/>
                <a:gd name="connsiteX250" fmla="*/ 2244581 w 3832826"/>
                <a:gd name="connsiteY250" fmla="*/ 1857670 h 5120141"/>
                <a:gd name="connsiteX251" fmla="*/ 2242435 w 3832826"/>
                <a:gd name="connsiteY251" fmla="*/ 1863685 h 5120141"/>
                <a:gd name="connsiteX252" fmla="*/ 2238233 w 3832826"/>
                <a:gd name="connsiteY252" fmla="*/ 1873695 h 5120141"/>
                <a:gd name="connsiteX253" fmla="*/ 2229829 w 3832826"/>
                <a:gd name="connsiteY253" fmla="*/ 1883750 h 5120141"/>
                <a:gd name="connsiteX254" fmla="*/ 2223571 w 3832826"/>
                <a:gd name="connsiteY254" fmla="*/ 1889721 h 5120141"/>
                <a:gd name="connsiteX255" fmla="*/ 2213021 w 3832826"/>
                <a:gd name="connsiteY255" fmla="*/ 1905791 h 5120141"/>
                <a:gd name="connsiteX256" fmla="*/ 2200415 w 3832826"/>
                <a:gd name="connsiteY256" fmla="*/ 1919796 h 5120141"/>
                <a:gd name="connsiteX257" fmla="*/ 2170912 w 3832826"/>
                <a:gd name="connsiteY257" fmla="*/ 1945832 h 5120141"/>
                <a:gd name="connsiteX258" fmla="*/ 2139441 w 3832826"/>
                <a:gd name="connsiteY258" fmla="*/ 1969893 h 5120141"/>
                <a:gd name="connsiteX259" fmla="*/ 2107881 w 3832826"/>
                <a:gd name="connsiteY259" fmla="*/ 1995973 h 5120141"/>
                <a:gd name="connsiteX260" fmla="*/ 2095186 w 3832826"/>
                <a:gd name="connsiteY260" fmla="*/ 1997948 h 5120141"/>
                <a:gd name="connsiteX261" fmla="*/ 2082580 w 3832826"/>
                <a:gd name="connsiteY261" fmla="*/ 2003963 h 5120141"/>
                <a:gd name="connsiteX262" fmla="*/ 2074176 w 3832826"/>
                <a:gd name="connsiteY262" fmla="*/ 2009979 h 5120141"/>
                <a:gd name="connsiteX263" fmla="*/ 2069973 w 3832826"/>
                <a:gd name="connsiteY263" fmla="*/ 2018014 h 5120141"/>
                <a:gd name="connsiteX264" fmla="*/ 2055222 w 3832826"/>
                <a:gd name="connsiteY264" fmla="*/ 2034039 h 5120141"/>
                <a:gd name="connsiteX265" fmla="*/ 2048963 w 3832826"/>
                <a:gd name="connsiteY265" fmla="*/ 2044049 h 5120141"/>
                <a:gd name="connsiteX266" fmla="*/ 2038414 w 3832826"/>
                <a:gd name="connsiteY266" fmla="*/ 2050064 h 5120141"/>
                <a:gd name="connsiteX267" fmla="*/ 2017403 w 3832826"/>
                <a:gd name="connsiteY267" fmla="*/ 2066090 h 5120141"/>
                <a:gd name="connsiteX268" fmla="*/ 1998450 w 3832826"/>
                <a:gd name="connsiteY268" fmla="*/ 2080140 h 5120141"/>
                <a:gd name="connsiteX269" fmla="*/ 1962688 w 3832826"/>
                <a:gd name="connsiteY269" fmla="*/ 2110171 h 5120141"/>
                <a:gd name="connsiteX270" fmla="*/ 1952138 w 3832826"/>
                <a:gd name="connsiteY270" fmla="*/ 2116186 h 5120141"/>
                <a:gd name="connsiteX271" fmla="*/ 1937476 w 3832826"/>
                <a:gd name="connsiteY271" fmla="*/ 2120181 h 5120141"/>
                <a:gd name="connsiteX272" fmla="*/ 1914320 w 3832826"/>
                <a:gd name="connsiteY272" fmla="*/ 2122201 h 5120141"/>
                <a:gd name="connsiteX273" fmla="*/ 1891164 w 3832826"/>
                <a:gd name="connsiteY273" fmla="*/ 2122201 h 5120141"/>
                <a:gd name="connsiteX274" fmla="*/ 1880614 w 3832826"/>
                <a:gd name="connsiteY274" fmla="*/ 2126196 h 5120141"/>
                <a:gd name="connsiteX275" fmla="*/ 1870154 w 3832826"/>
                <a:gd name="connsiteY275" fmla="*/ 2130236 h 5120141"/>
                <a:gd name="connsiteX276" fmla="*/ 1859604 w 3832826"/>
                <a:gd name="connsiteY276" fmla="*/ 2136251 h 5120141"/>
                <a:gd name="connsiteX277" fmla="*/ 1842796 w 3832826"/>
                <a:gd name="connsiteY277" fmla="*/ 2138226 h 5120141"/>
                <a:gd name="connsiteX278" fmla="*/ 1817584 w 3832826"/>
                <a:gd name="connsiteY278" fmla="*/ 2142221 h 5120141"/>
                <a:gd name="connsiteX279" fmla="*/ 1786024 w 3832826"/>
                <a:gd name="connsiteY279" fmla="*/ 2146261 h 5120141"/>
                <a:gd name="connsiteX280" fmla="*/ 1756520 w 3832826"/>
                <a:gd name="connsiteY280" fmla="*/ 2150257 h 5120141"/>
                <a:gd name="connsiteX281" fmla="*/ 1743914 w 3832826"/>
                <a:gd name="connsiteY281" fmla="*/ 2150257 h 5120141"/>
                <a:gd name="connsiteX282" fmla="*/ 1733364 w 3832826"/>
                <a:gd name="connsiteY282" fmla="*/ 2150257 h 5120141"/>
                <a:gd name="connsiteX283" fmla="*/ 1706006 w 3832826"/>
                <a:gd name="connsiteY283" fmla="*/ 2142221 h 5120141"/>
                <a:gd name="connsiteX284" fmla="*/ 1680794 w 3832826"/>
                <a:gd name="connsiteY284" fmla="*/ 2136251 h 5120141"/>
                <a:gd name="connsiteX285" fmla="*/ 1655582 w 3832826"/>
                <a:gd name="connsiteY285" fmla="*/ 2126196 h 5120141"/>
                <a:gd name="connsiteX286" fmla="*/ 1630281 w 3832826"/>
                <a:gd name="connsiteY286" fmla="*/ 2116186 h 5120141"/>
                <a:gd name="connsiteX287" fmla="*/ 1607214 w 3832826"/>
                <a:gd name="connsiteY287" fmla="*/ 2110171 h 5120141"/>
                <a:gd name="connsiteX288" fmla="*/ 1594519 w 3832826"/>
                <a:gd name="connsiteY288" fmla="*/ 2110171 h 5120141"/>
                <a:gd name="connsiteX289" fmla="*/ 1584058 w 3832826"/>
                <a:gd name="connsiteY289" fmla="*/ 2112191 h 5120141"/>
                <a:gd name="connsiteX290" fmla="*/ 1573508 w 3832826"/>
                <a:gd name="connsiteY290" fmla="*/ 2116186 h 5120141"/>
                <a:gd name="connsiteX291" fmla="*/ 1560902 w 3832826"/>
                <a:gd name="connsiteY291" fmla="*/ 2120181 h 5120141"/>
                <a:gd name="connsiteX292" fmla="*/ 1544094 w 3832826"/>
                <a:gd name="connsiteY292" fmla="*/ 2128216 h 5120141"/>
                <a:gd name="connsiteX293" fmla="*/ 1529342 w 3832826"/>
                <a:gd name="connsiteY293" fmla="*/ 2136251 h 5120141"/>
                <a:gd name="connsiteX294" fmla="*/ 1499928 w 3832826"/>
                <a:gd name="connsiteY294" fmla="*/ 2140246 h 5120141"/>
                <a:gd name="connsiteX295" fmla="*/ 1497783 w 3832826"/>
                <a:gd name="connsiteY295" fmla="*/ 2140246 h 5120141"/>
                <a:gd name="connsiteX296" fmla="*/ 1483031 w 3832826"/>
                <a:gd name="connsiteY296" fmla="*/ 2140246 h 5120141"/>
                <a:gd name="connsiteX297" fmla="*/ 1468368 w 3832826"/>
                <a:gd name="connsiteY297" fmla="*/ 2140246 h 5120141"/>
                <a:gd name="connsiteX298" fmla="*/ 1451471 w 3832826"/>
                <a:gd name="connsiteY298" fmla="*/ 2142221 h 5120141"/>
                <a:gd name="connsiteX299" fmla="*/ 1447269 w 3832826"/>
                <a:gd name="connsiteY299" fmla="*/ 2146261 h 5120141"/>
                <a:gd name="connsiteX300" fmla="*/ 1440991 w 3832826"/>
                <a:gd name="connsiteY300" fmla="*/ 2149246 h 5120141"/>
                <a:gd name="connsiteX301" fmla="*/ 1440991 w 3832826"/>
                <a:gd name="connsiteY301" fmla="*/ 2319937 h 5120141"/>
                <a:gd name="connsiteX302" fmla="*/ 1445196 w 3832826"/>
                <a:gd name="connsiteY302" fmla="*/ 2330619 h 5120141"/>
                <a:gd name="connsiteX303" fmla="*/ 1449403 w 3832826"/>
                <a:gd name="connsiteY303" fmla="*/ 2344647 h 5120141"/>
                <a:gd name="connsiteX304" fmla="*/ 1462025 w 3832826"/>
                <a:gd name="connsiteY304" fmla="*/ 2378715 h 5120141"/>
                <a:gd name="connsiteX305" fmla="*/ 1480958 w 3832826"/>
                <a:gd name="connsiteY305" fmla="*/ 2438834 h 5120141"/>
                <a:gd name="connsiteX306" fmla="*/ 1493580 w 3832826"/>
                <a:gd name="connsiteY306" fmla="*/ 2468893 h 5120141"/>
                <a:gd name="connsiteX307" fmla="*/ 1499891 w 3832826"/>
                <a:gd name="connsiteY307" fmla="*/ 2480917 h 5120141"/>
                <a:gd name="connsiteX308" fmla="*/ 1508305 w 3832826"/>
                <a:gd name="connsiteY308" fmla="*/ 2492941 h 5120141"/>
                <a:gd name="connsiteX309" fmla="*/ 1508308 w 3832826"/>
                <a:gd name="connsiteY309" fmla="*/ 2490937 h 5120141"/>
                <a:gd name="connsiteX310" fmla="*/ 1703947 w 3832826"/>
                <a:gd name="connsiteY310" fmla="*/ 2693337 h 5120141"/>
                <a:gd name="connsiteX311" fmla="*/ 1800715 w 3832826"/>
                <a:gd name="connsiteY311" fmla="*/ 2777503 h 5120141"/>
                <a:gd name="connsiteX312" fmla="*/ 1821751 w 3832826"/>
                <a:gd name="connsiteY312" fmla="*/ 2793535 h 5120141"/>
                <a:gd name="connsiteX313" fmla="*/ 1846995 w 3832826"/>
                <a:gd name="connsiteY313" fmla="*/ 2807563 h 5120141"/>
                <a:gd name="connsiteX314" fmla="*/ 1868031 w 3832826"/>
                <a:gd name="connsiteY314" fmla="*/ 2827603 h 5120141"/>
                <a:gd name="connsiteX315" fmla="*/ 1874342 w 3832826"/>
                <a:gd name="connsiteY315" fmla="*/ 2837622 h 5120141"/>
                <a:gd name="connsiteX316" fmla="*/ 1882757 w 3832826"/>
                <a:gd name="connsiteY316" fmla="*/ 2847642 h 5120141"/>
                <a:gd name="connsiteX317" fmla="*/ 1882757 w 3832826"/>
                <a:gd name="connsiteY317" fmla="*/ 2857662 h 5120141"/>
                <a:gd name="connsiteX318" fmla="*/ 1871663 w 3832826"/>
                <a:gd name="connsiteY318" fmla="*/ 2862688 h 5120141"/>
                <a:gd name="connsiteX319" fmla="*/ 1920621 w 3832826"/>
                <a:gd name="connsiteY319" fmla="*/ 2925780 h 5120141"/>
                <a:gd name="connsiteX320" fmla="*/ 1937450 w 3832826"/>
                <a:gd name="connsiteY320" fmla="*/ 2955859 h 5120141"/>
                <a:gd name="connsiteX321" fmla="*/ 1956383 w 3832826"/>
                <a:gd name="connsiteY321" fmla="*/ 2987924 h 5120141"/>
                <a:gd name="connsiteX322" fmla="*/ 1964798 w 3832826"/>
                <a:gd name="connsiteY322" fmla="*/ 2997927 h 5120141"/>
                <a:gd name="connsiteX323" fmla="*/ 1969005 w 3832826"/>
                <a:gd name="connsiteY323" fmla="*/ 3009986 h 5120141"/>
                <a:gd name="connsiteX324" fmla="*/ 1977420 w 3832826"/>
                <a:gd name="connsiteY324" fmla="*/ 3038008 h 5120141"/>
                <a:gd name="connsiteX325" fmla="*/ 1985834 w 3832826"/>
                <a:gd name="connsiteY325" fmla="*/ 3066100 h 5120141"/>
                <a:gd name="connsiteX326" fmla="*/ 1994249 w 3832826"/>
                <a:gd name="connsiteY326" fmla="*/ 3078089 h 5120141"/>
                <a:gd name="connsiteX327" fmla="*/ 2004767 w 3832826"/>
                <a:gd name="connsiteY327" fmla="*/ 3090149 h 5120141"/>
                <a:gd name="connsiteX328" fmla="*/ 2008974 w 3832826"/>
                <a:gd name="connsiteY328" fmla="*/ 3100152 h 5120141"/>
                <a:gd name="connsiteX329" fmla="*/ 2017389 w 3832826"/>
                <a:gd name="connsiteY329" fmla="*/ 3110155 h 5120141"/>
                <a:gd name="connsiteX330" fmla="*/ 2023700 w 3832826"/>
                <a:gd name="connsiteY330" fmla="*/ 3136190 h 5120141"/>
                <a:gd name="connsiteX331" fmla="*/ 2032114 w 3832826"/>
                <a:gd name="connsiteY331" fmla="*/ 3158252 h 5120141"/>
                <a:gd name="connsiteX332" fmla="*/ 2040529 w 3832826"/>
                <a:gd name="connsiteY332" fmla="*/ 3168255 h 5120141"/>
                <a:gd name="connsiteX333" fmla="*/ 2048944 w 3832826"/>
                <a:gd name="connsiteY333" fmla="*/ 3174285 h 5120141"/>
                <a:gd name="connsiteX334" fmla="*/ 2059462 w 3832826"/>
                <a:gd name="connsiteY334" fmla="*/ 3180315 h 5120141"/>
                <a:gd name="connsiteX335" fmla="*/ 2069980 w 3832826"/>
                <a:gd name="connsiteY335" fmla="*/ 3180315 h 5120141"/>
                <a:gd name="connsiteX336" fmla="*/ 2082602 w 3832826"/>
                <a:gd name="connsiteY336" fmla="*/ 3182301 h 5120141"/>
                <a:gd name="connsiteX337" fmla="*/ 2095224 w 3832826"/>
                <a:gd name="connsiteY337" fmla="*/ 3184288 h 5120141"/>
                <a:gd name="connsiteX338" fmla="*/ 2105742 w 3832826"/>
                <a:gd name="connsiteY338" fmla="*/ 3190318 h 5120141"/>
                <a:gd name="connsiteX339" fmla="*/ 2114156 w 3832826"/>
                <a:gd name="connsiteY339" fmla="*/ 3198334 h 5120141"/>
                <a:gd name="connsiteX340" fmla="*/ 2122571 w 3832826"/>
                <a:gd name="connsiteY340" fmla="*/ 3204364 h 5120141"/>
                <a:gd name="connsiteX341" fmla="*/ 2132508 w 3832826"/>
                <a:gd name="connsiteY341" fmla="*/ 3211937 h 5120141"/>
                <a:gd name="connsiteX342" fmla="*/ 2133090 w 3832826"/>
                <a:gd name="connsiteY342" fmla="*/ 3211201 h 5120141"/>
                <a:gd name="connsiteX343" fmla="*/ 2210924 w 3832826"/>
                <a:gd name="connsiteY343" fmla="*/ 3145234 h 5120141"/>
                <a:gd name="connsiteX344" fmla="*/ 2286655 w 3832826"/>
                <a:gd name="connsiteY344" fmla="*/ 3071271 h 5120141"/>
                <a:gd name="connsiteX345" fmla="*/ 2316106 w 3832826"/>
                <a:gd name="connsiteY345" fmla="*/ 3045284 h 5120141"/>
                <a:gd name="connsiteX346" fmla="*/ 2332935 w 3832826"/>
                <a:gd name="connsiteY346" fmla="*/ 3035289 h 5120141"/>
                <a:gd name="connsiteX347" fmla="*/ 2343453 w 3832826"/>
                <a:gd name="connsiteY347" fmla="*/ 3031291 h 5120141"/>
                <a:gd name="connsiteX348" fmla="*/ 2349764 w 3832826"/>
                <a:gd name="connsiteY348" fmla="*/ 3029292 h 5120141"/>
                <a:gd name="connsiteX349" fmla="*/ 2381318 w 3832826"/>
                <a:gd name="connsiteY349" fmla="*/ 3031291 h 5120141"/>
                <a:gd name="connsiteX350" fmla="*/ 2398148 w 3832826"/>
                <a:gd name="connsiteY350" fmla="*/ 3029292 h 5120141"/>
                <a:gd name="connsiteX351" fmla="*/ 2402355 w 3832826"/>
                <a:gd name="connsiteY351" fmla="*/ 3029292 h 5120141"/>
                <a:gd name="connsiteX352" fmla="*/ 2404458 w 3832826"/>
                <a:gd name="connsiteY352" fmla="*/ 3027293 h 5120141"/>
                <a:gd name="connsiteX353" fmla="*/ 2404458 w 3832826"/>
                <a:gd name="connsiteY353" fmla="*/ 3007303 h 5120141"/>
                <a:gd name="connsiteX354" fmla="*/ 2408666 w 3832826"/>
                <a:gd name="connsiteY354" fmla="*/ 2997308 h 5120141"/>
                <a:gd name="connsiteX355" fmla="*/ 2410769 w 3832826"/>
                <a:gd name="connsiteY355" fmla="*/ 2995309 h 5120141"/>
                <a:gd name="connsiteX356" fmla="*/ 2414977 w 3832826"/>
                <a:gd name="connsiteY356" fmla="*/ 2991311 h 5120141"/>
                <a:gd name="connsiteX357" fmla="*/ 2423391 w 3832826"/>
                <a:gd name="connsiteY357" fmla="*/ 2991311 h 5120141"/>
                <a:gd name="connsiteX358" fmla="*/ 2425495 w 3832826"/>
                <a:gd name="connsiteY358" fmla="*/ 2987313 h 5120141"/>
                <a:gd name="connsiteX359" fmla="*/ 2429702 w 3832826"/>
                <a:gd name="connsiteY359" fmla="*/ 2985314 h 5120141"/>
                <a:gd name="connsiteX360" fmla="*/ 2429702 w 3832826"/>
                <a:gd name="connsiteY360" fmla="*/ 2979317 h 5120141"/>
                <a:gd name="connsiteX361" fmla="*/ 2429702 w 3832826"/>
                <a:gd name="connsiteY361" fmla="*/ 2977318 h 5120141"/>
                <a:gd name="connsiteX362" fmla="*/ 2431806 w 3832826"/>
                <a:gd name="connsiteY362" fmla="*/ 2971321 h 5120141"/>
                <a:gd name="connsiteX363" fmla="*/ 2433909 w 3832826"/>
                <a:gd name="connsiteY363" fmla="*/ 2969322 h 5120141"/>
                <a:gd name="connsiteX364" fmla="*/ 2442324 w 3832826"/>
                <a:gd name="connsiteY364" fmla="*/ 2967323 h 5120141"/>
                <a:gd name="connsiteX365" fmla="*/ 2452842 w 3832826"/>
                <a:gd name="connsiteY365" fmla="*/ 2967323 h 5120141"/>
                <a:gd name="connsiteX366" fmla="*/ 2454946 w 3832826"/>
                <a:gd name="connsiteY366" fmla="*/ 2965324 h 5120141"/>
                <a:gd name="connsiteX367" fmla="*/ 2457049 w 3832826"/>
                <a:gd name="connsiteY367" fmla="*/ 2961326 h 5120141"/>
                <a:gd name="connsiteX368" fmla="*/ 2457049 w 3832826"/>
                <a:gd name="connsiteY368" fmla="*/ 2941336 h 5120141"/>
                <a:gd name="connsiteX369" fmla="*/ 2461257 w 3832826"/>
                <a:gd name="connsiteY369" fmla="*/ 2927343 h 5120141"/>
                <a:gd name="connsiteX370" fmla="*/ 2463360 w 3832826"/>
                <a:gd name="connsiteY370" fmla="*/ 2917348 h 5120141"/>
                <a:gd name="connsiteX371" fmla="*/ 2467567 w 3832826"/>
                <a:gd name="connsiteY371" fmla="*/ 2907353 h 5120141"/>
                <a:gd name="connsiteX372" fmla="*/ 2473878 w 3832826"/>
                <a:gd name="connsiteY372" fmla="*/ 2899357 h 5120141"/>
                <a:gd name="connsiteX373" fmla="*/ 2488604 w 3832826"/>
                <a:gd name="connsiteY373" fmla="*/ 2885364 h 5120141"/>
                <a:gd name="connsiteX374" fmla="*/ 2509640 w 3832826"/>
                <a:gd name="connsiteY374" fmla="*/ 2865374 h 5120141"/>
                <a:gd name="connsiteX375" fmla="*/ 2646376 w 3832826"/>
                <a:gd name="connsiteY375" fmla="*/ 2743436 h 5120141"/>
                <a:gd name="connsiteX376" fmla="*/ 2650584 w 3832826"/>
                <a:gd name="connsiteY376" fmla="*/ 2755430 h 5120141"/>
                <a:gd name="connsiteX377" fmla="*/ 2654791 w 3832826"/>
                <a:gd name="connsiteY377" fmla="*/ 2765425 h 5120141"/>
                <a:gd name="connsiteX378" fmla="*/ 2663205 w 3832826"/>
                <a:gd name="connsiteY378" fmla="*/ 2773421 h 5120141"/>
                <a:gd name="connsiteX379" fmla="*/ 2671620 w 3832826"/>
                <a:gd name="connsiteY379" fmla="*/ 2773421 h 5120141"/>
                <a:gd name="connsiteX380" fmla="*/ 2675827 w 3832826"/>
                <a:gd name="connsiteY380" fmla="*/ 2775420 h 5120141"/>
                <a:gd name="connsiteX381" fmla="*/ 2688449 w 3832826"/>
                <a:gd name="connsiteY381" fmla="*/ 2779418 h 5120141"/>
                <a:gd name="connsiteX382" fmla="*/ 2696863 w 3832826"/>
                <a:gd name="connsiteY382" fmla="*/ 2785415 h 5120141"/>
                <a:gd name="connsiteX383" fmla="*/ 2701071 w 3832826"/>
                <a:gd name="connsiteY383" fmla="*/ 2787414 h 5120141"/>
                <a:gd name="connsiteX384" fmla="*/ 2709485 w 3832826"/>
                <a:gd name="connsiteY384" fmla="*/ 2785415 h 5120141"/>
                <a:gd name="connsiteX385" fmla="*/ 2715796 w 3832826"/>
                <a:gd name="connsiteY385" fmla="*/ 2779418 h 5120141"/>
                <a:gd name="connsiteX386" fmla="*/ 2722107 w 3832826"/>
                <a:gd name="connsiteY386" fmla="*/ 2775420 h 5120141"/>
                <a:gd name="connsiteX387" fmla="*/ 2728418 w 3832826"/>
                <a:gd name="connsiteY387" fmla="*/ 2773421 h 5120141"/>
                <a:gd name="connsiteX388" fmla="*/ 2747351 w 3832826"/>
                <a:gd name="connsiteY388" fmla="*/ 2769423 h 5120141"/>
                <a:gd name="connsiteX389" fmla="*/ 2764180 w 3832826"/>
                <a:gd name="connsiteY389" fmla="*/ 2773421 h 5120141"/>
                <a:gd name="connsiteX390" fmla="*/ 2783112 w 3832826"/>
                <a:gd name="connsiteY390" fmla="*/ 2779418 h 5120141"/>
                <a:gd name="connsiteX391" fmla="*/ 2795734 w 3832826"/>
                <a:gd name="connsiteY391" fmla="*/ 2793411 h 5120141"/>
                <a:gd name="connsiteX392" fmla="*/ 2799942 w 3832826"/>
                <a:gd name="connsiteY392" fmla="*/ 2793411 h 5120141"/>
                <a:gd name="connsiteX393" fmla="*/ 2804149 w 3832826"/>
                <a:gd name="connsiteY393" fmla="*/ 2805405 h 5120141"/>
                <a:gd name="connsiteX394" fmla="*/ 2812563 w 3832826"/>
                <a:gd name="connsiteY394" fmla="*/ 2817399 h 5120141"/>
                <a:gd name="connsiteX395" fmla="*/ 2825185 w 3832826"/>
                <a:gd name="connsiteY395" fmla="*/ 2845384 h 5120141"/>
                <a:gd name="connsiteX396" fmla="*/ 2835703 w 3832826"/>
                <a:gd name="connsiteY396" fmla="*/ 2873370 h 5120141"/>
                <a:gd name="connsiteX397" fmla="*/ 2842014 w 3832826"/>
                <a:gd name="connsiteY397" fmla="*/ 2885364 h 5120141"/>
                <a:gd name="connsiteX398" fmla="*/ 2847737 w 3832826"/>
                <a:gd name="connsiteY398" fmla="*/ 2896240 h 5120141"/>
                <a:gd name="connsiteX399" fmla="*/ 2848292 w 3832826"/>
                <a:gd name="connsiteY399" fmla="*/ 2895738 h 5120141"/>
                <a:gd name="connsiteX400" fmla="*/ 2873502 w 3832826"/>
                <a:gd name="connsiteY400" fmla="*/ 2911778 h 5120141"/>
                <a:gd name="connsiteX401" fmla="*/ 2898892 w 3832826"/>
                <a:gd name="connsiteY401" fmla="*/ 2921802 h 5120141"/>
                <a:gd name="connsiteX402" fmla="*/ 2921942 w 3832826"/>
                <a:gd name="connsiteY402" fmla="*/ 2935837 h 5120141"/>
                <a:gd name="connsiteX403" fmla="*/ 2932386 w 3832826"/>
                <a:gd name="connsiteY403" fmla="*/ 2943857 h 5120141"/>
                <a:gd name="connsiteX404" fmla="*/ 2943010 w 3832826"/>
                <a:gd name="connsiteY404" fmla="*/ 2953882 h 5120141"/>
                <a:gd name="connsiteX405" fmla="*/ 2957776 w 3832826"/>
                <a:gd name="connsiteY405" fmla="*/ 2965912 h 5120141"/>
                <a:gd name="connsiteX406" fmla="*/ 2964078 w 3832826"/>
                <a:gd name="connsiteY406" fmla="*/ 2973932 h 5120141"/>
                <a:gd name="connsiteX407" fmla="*/ 2970381 w 3832826"/>
                <a:gd name="connsiteY407" fmla="*/ 2977942 h 5120141"/>
                <a:gd name="connsiteX408" fmla="*/ 2985147 w 3832826"/>
                <a:gd name="connsiteY408" fmla="*/ 2979947 h 5120141"/>
                <a:gd name="connsiteX409" fmla="*/ 2995591 w 3832826"/>
                <a:gd name="connsiteY409" fmla="*/ 2979947 h 5120141"/>
                <a:gd name="connsiteX410" fmla="*/ 3006035 w 3832826"/>
                <a:gd name="connsiteY410" fmla="*/ 2983957 h 5120141"/>
                <a:gd name="connsiteX411" fmla="*/ 3018640 w 3832826"/>
                <a:gd name="connsiteY411" fmla="*/ 2993981 h 5120141"/>
                <a:gd name="connsiteX412" fmla="*/ 3024942 w 3832826"/>
                <a:gd name="connsiteY412" fmla="*/ 2999996 h 5120141"/>
                <a:gd name="connsiteX413" fmla="*/ 3027103 w 3832826"/>
                <a:gd name="connsiteY413" fmla="*/ 3006011 h 5120141"/>
                <a:gd name="connsiteX414" fmla="*/ 3027103 w 3832826"/>
                <a:gd name="connsiteY414" fmla="*/ 3008016 h 5120141"/>
                <a:gd name="connsiteX415" fmla="*/ 3024942 w 3832826"/>
                <a:gd name="connsiteY415" fmla="*/ 3014031 h 5120141"/>
                <a:gd name="connsiteX416" fmla="*/ 3018640 w 3832826"/>
                <a:gd name="connsiteY416" fmla="*/ 3020046 h 5120141"/>
                <a:gd name="connsiteX417" fmla="*/ 3014498 w 3832826"/>
                <a:gd name="connsiteY417" fmla="*/ 3029937 h 5120141"/>
                <a:gd name="connsiteX418" fmla="*/ 3014498 w 3832826"/>
                <a:gd name="connsiteY418" fmla="*/ 3043972 h 5120141"/>
                <a:gd name="connsiteX419" fmla="*/ 3014498 w 3832826"/>
                <a:gd name="connsiteY419" fmla="*/ 3049987 h 5120141"/>
                <a:gd name="connsiteX420" fmla="*/ 3024942 w 3832826"/>
                <a:gd name="connsiteY420" fmla="*/ 3074047 h 5120141"/>
                <a:gd name="connsiteX421" fmla="*/ 3024942 w 3832826"/>
                <a:gd name="connsiteY421" fmla="*/ 3084071 h 5120141"/>
                <a:gd name="connsiteX422" fmla="*/ 3022962 w 3832826"/>
                <a:gd name="connsiteY422" fmla="*/ 3088081 h 5120141"/>
                <a:gd name="connsiteX423" fmla="*/ 3022962 w 3832826"/>
                <a:gd name="connsiteY423" fmla="*/ 3090086 h 5120141"/>
                <a:gd name="connsiteX424" fmla="*/ 3024942 w 3832826"/>
                <a:gd name="connsiteY424" fmla="*/ 3094096 h 5120141"/>
                <a:gd name="connsiteX425" fmla="*/ 3033406 w 3832826"/>
                <a:gd name="connsiteY425" fmla="*/ 3100111 h 5120141"/>
                <a:gd name="connsiteX426" fmla="*/ 3046011 w 3832826"/>
                <a:gd name="connsiteY426" fmla="*/ 3106126 h 5120141"/>
                <a:gd name="connsiteX427" fmla="*/ 3056635 w 3832826"/>
                <a:gd name="connsiteY427" fmla="*/ 3108131 h 5120141"/>
                <a:gd name="connsiteX428" fmla="*/ 3064918 w 3832826"/>
                <a:gd name="connsiteY428" fmla="*/ 3110136 h 5120141"/>
                <a:gd name="connsiteX429" fmla="*/ 3075542 w 3832826"/>
                <a:gd name="connsiteY429" fmla="*/ 3118156 h 5120141"/>
                <a:gd name="connsiteX430" fmla="*/ 3088147 w 3832826"/>
                <a:gd name="connsiteY430" fmla="*/ 3138206 h 5120141"/>
                <a:gd name="connsiteX431" fmla="*/ 3096611 w 3832826"/>
                <a:gd name="connsiteY431" fmla="*/ 3152240 h 5120141"/>
                <a:gd name="connsiteX432" fmla="*/ 3096611 w 3832826"/>
                <a:gd name="connsiteY432" fmla="*/ 3162265 h 5120141"/>
                <a:gd name="connsiteX433" fmla="*/ 3096611 w 3832826"/>
                <a:gd name="connsiteY433" fmla="*/ 3166275 h 5120141"/>
                <a:gd name="connsiteX434" fmla="*/ 3090308 w 3832826"/>
                <a:gd name="connsiteY434" fmla="*/ 3168280 h 5120141"/>
                <a:gd name="connsiteX435" fmla="*/ 3088147 w 3832826"/>
                <a:gd name="connsiteY435" fmla="*/ 3168280 h 5120141"/>
                <a:gd name="connsiteX436" fmla="*/ 3085987 w 3832826"/>
                <a:gd name="connsiteY436" fmla="*/ 3170285 h 5120141"/>
                <a:gd name="connsiteX437" fmla="*/ 3085987 w 3832826"/>
                <a:gd name="connsiteY437" fmla="*/ 3178305 h 5120141"/>
                <a:gd name="connsiteX438" fmla="*/ 3088147 w 3832826"/>
                <a:gd name="connsiteY438" fmla="*/ 3182315 h 5120141"/>
                <a:gd name="connsiteX439" fmla="*/ 3090308 w 3832826"/>
                <a:gd name="connsiteY439" fmla="*/ 3186325 h 5120141"/>
                <a:gd name="connsiteX440" fmla="*/ 3092289 w 3832826"/>
                <a:gd name="connsiteY440" fmla="*/ 3190335 h 5120141"/>
                <a:gd name="connsiteX441" fmla="*/ 3098592 w 3832826"/>
                <a:gd name="connsiteY441" fmla="*/ 3208380 h 5120141"/>
                <a:gd name="connsiteX442" fmla="*/ 3102913 w 3832826"/>
                <a:gd name="connsiteY442" fmla="*/ 3222415 h 5120141"/>
                <a:gd name="connsiteX443" fmla="*/ 3107055 w 3832826"/>
                <a:gd name="connsiteY443" fmla="*/ 3238454 h 5120141"/>
                <a:gd name="connsiteX444" fmla="*/ 3109216 w 3832826"/>
                <a:gd name="connsiteY444" fmla="*/ 3246474 h 5120141"/>
                <a:gd name="connsiteX445" fmla="*/ 3113357 w 3832826"/>
                <a:gd name="connsiteY445" fmla="*/ 3248479 h 5120141"/>
                <a:gd name="connsiteX446" fmla="*/ 3130284 w 3832826"/>
                <a:gd name="connsiteY446" fmla="*/ 3252489 h 5120141"/>
                <a:gd name="connsiteX447" fmla="*/ 3159636 w 3832826"/>
                <a:gd name="connsiteY447" fmla="*/ 3266524 h 5120141"/>
                <a:gd name="connsiteX448" fmla="*/ 3187007 w 3832826"/>
                <a:gd name="connsiteY448" fmla="*/ 3278554 h 5120141"/>
                <a:gd name="connsiteX449" fmla="*/ 3214377 w 3832826"/>
                <a:gd name="connsiteY449" fmla="*/ 3296598 h 5120141"/>
                <a:gd name="connsiteX450" fmla="*/ 3243729 w 3832826"/>
                <a:gd name="connsiteY450" fmla="*/ 3308495 h 5120141"/>
                <a:gd name="connsiteX451" fmla="*/ 3250032 w 3832826"/>
                <a:gd name="connsiteY451" fmla="*/ 3312505 h 5120141"/>
                <a:gd name="connsiteX452" fmla="*/ 3260656 w 3832826"/>
                <a:gd name="connsiteY452" fmla="*/ 3326539 h 5120141"/>
                <a:gd name="connsiteX453" fmla="*/ 3269119 w 3832826"/>
                <a:gd name="connsiteY453" fmla="*/ 3338569 h 5120141"/>
                <a:gd name="connsiteX454" fmla="*/ 3275422 w 3832826"/>
                <a:gd name="connsiteY454" fmla="*/ 3352604 h 5120141"/>
                <a:gd name="connsiteX455" fmla="*/ 3285866 w 3832826"/>
                <a:gd name="connsiteY455" fmla="*/ 3384684 h 5120141"/>
                <a:gd name="connsiteX456" fmla="*/ 3292168 w 3832826"/>
                <a:gd name="connsiteY456" fmla="*/ 3410748 h 5120141"/>
                <a:gd name="connsiteX457" fmla="*/ 3300632 w 3832826"/>
                <a:gd name="connsiteY457" fmla="*/ 3434808 h 5120141"/>
                <a:gd name="connsiteX458" fmla="*/ 3309095 w 3832826"/>
                <a:gd name="connsiteY458" fmla="*/ 3458868 h 5120141"/>
                <a:gd name="connsiteX459" fmla="*/ 3311076 w 3832826"/>
                <a:gd name="connsiteY459" fmla="*/ 3468892 h 5120141"/>
                <a:gd name="connsiteX460" fmla="*/ 3313237 w 3832826"/>
                <a:gd name="connsiteY460" fmla="*/ 3474907 h 5120141"/>
                <a:gd name="connsiteX461" fmla="*/ 3313237 w 3832826"/>
                <a:gd name="connsiteY461" fmla="*/ 3478917 h 5120141"/>
                <a:gd name="connsiteX462" fmla="*/ 3309095 w 3832826"/>
                <a:gd name="connsiteY462" fmla="*/ 3482927 h 5120141"/>
                <a:gd name="connsiteX463" fmla="*/ 3302793 w 3832826"/>
                <a:gd name="connsiteY463" fmla="*/ 3488942 h 5120141"/>
                <a:gd name="connsiteX464" fmla="*/ 3296310 w 3832826"/>
                <a:gd name="connsiteY464" fmla="*/ 3490947 h 5120141"/>
                <a:gd name="connsiteX465" fmla="*/ 3296310 w 3832826"/>
                <a:gd name="connsiteY465" fmla="*/ 3498967 h 5120141"/>
                <a:gd name="connsiteX466" fmla="*/ 3296310 w 3832826"/>
                <a:gd name="connsiteY466" fmla="*/ 3508992 h 5120141"/>
                <a:gd name="connsiteX467" fmla="*/ 3300632 w 3832826"/>
                <a:gd name="connsiteY467" fmla="*/ 3531047 h 5120141"/>
                <a:gd name="connsiteX468" fmla="*/ 3309095 w 3832826"/>
                <a:gd name="connsiteY468" fmla="*/ 3553101 h 5120141"/>
                <a:gd name="connsiteX469" fmla="*/ 3313237 w 3832826"/>
                <a:gd name="connsiteY469" fmla="*/ 3563126 h 5120141"/>
                <a:gd name="connsiteX470" fmla="*/ 3319539 w 3832826"/>
                <a:gd name="connsiteY470" fmla="*/ 3567002 h 5120141"/>
                <a:gd name="connsiteX471" fmla="*/ 3317645 w 3832826"/>
                <a:gd name="connsiteY471" fmla="*/ 3567042 h 5120141"/>
                <a:gd name="connsiteX472" fmla="*/ 3330079 w 3832826"/>
                <a:gd name="connsiteY472" fmla="*/ 3577062 h 5120141"/>
                <a:gd name="connsiteX473" fmla="*/ 3334316 w 3832826"/>
                <a:gd name="connsiteY473" fmla="*/ 3585058 h 5120141"/>
                <a:gd name="connsiteX474" fmla="*/ 3334316 w 3832826"/>
                <a:gd name="connsiteY474" fmla="*/ 3593054 h 5120141"/>
                <a:gd name="connsiteX475" fmla="*/ 3334316 w 3832826"/>
                <a:gd name="connsiteY475" fmla="*/ 3603030 h 5120141"/>
                <a:gd name="connsiteX476" fmla="*/ 3332198 w 3832826"/>
                <a:gd name="connsiteY476" fmla="*/ 3607066 h 5120141"/>
                <a:gd name="connsiteX477" fmla="*/ 3323724 w 3832826"/>
                <a:gd name="connsiteY477" fmla="*/ 3609046 h 5120141"/>
                <a:gd name="connsiteX478" fmla="*/ 3319599 w 3832826"/>
                <a:gd name="connsiteY478" fmla="*/ 3613006 h 5120141"/>
                <a:gd name="connsiteX479" fmla="*/ 3319599 w 3832826"/>
                <a:gd name="connsiteY479" fmla="*/ 3617042 h 5120141"/>
                <a:gd name="connsiteX480" fmla="*/ 3319599 w 3832826"/>
                <a:gd name="connsiteY480" fmla="*/ 3619021 h 5120141"/>
                <a:gd name="connsiteX481" fmla="*/ 3323724 w 3832826"/>
                <a:gd name="connsiteY481" fmla="*/ 3625037 h 5120141"/>
                <a:gd name="connsiteX482" fmla="*/ 3330079 w 3832826"/>
                <a:gd name="connsiteY482" fmla="*/ 3627017 h 5120141"/>
                <a:gd name="connsiteX483" fmla="*/ 3332198 w 3832826"/>
                <a:gd name="connsiteY483" fmla="*/ 3628997 h 5120141"/>
                <a:gd name="connsiteX484" fmla="*/ 3340560 w 3832826"/>
                <a:gd name="connsiteY484" fmla="*/ 3644989 h 5120141"/>
                <a:gd name="connsiteX485" fmla="*/ 3351151 w 3832826"/>
                <a:gd name="connsiteY485" fmla="*/ 3657021 h 5120141"/>
                <a:gd name="connsiteX486" fmla="*/ 3372112 w 3832826"/>
                <a:gd name="connsiteY486" fmla="*/ 3684968 h 5120141"/>
                <a:gd name="connsiteX487" fmla="*/ 3372112 w 3832826"/>
                <a:gd name="connsiteY487" fmla="*/ 3687024 h 5120141"/>
                <a:gd name="connsiteX488" fmla="*/ 3372112 w 3832826"/>
                <a:gd name="connsiteY488" fmla="*/ 3689004 h 5120141"/>
                <a:gd name="connsiteX489" fmla="*/ 3367875 w 3832826"/>
                <a:gd name="connsiteY489" fmla="*/ 3695020 h 5120141"/>
                <a:gd name="connsiteX490" fmla="*/ 3363750 w 3832826"/>
                <a:gd name="connsiteY490" fmla="*/ 3703016 h 5120141"/>
                <a:gd name="connsiteX491" fmla="*/ 3363750 w 3832826"/>
                <a:gd name="connsiteY491" fmla="*/ 3704996 h 5120141"/>
                <a:gd name="connsiteX492" fmla="*/ 3363750 w 3832826"/>
                <a:gd name="connsiteY492" fmla="*/ 3706976 h 5120141"/>
                <a:gd name="connsiteX493" fmla="*/ 3367875 w 3832826"/>
                <a:gd name="connsiteY493" fmla="*/ 3716951 h 5120141"/>
                <a:gd name="connsiteX494" fmla="*/ 3374230 w 3832826"/>
                <a:gd name="connsiteY494" fmla="*/ 3722967 h 5120141"/>
                <a:gd name="connsiteX495" fmla="*/ 3382704 w 3832826"/>
                <a:gd name="connsiteY495" fmla="*/ 3728983 h 5120141"/>
                <a:gd name="connsiteX496" fmla="*/ 3388948 w 3832826"/>
                <a:gd name="connsiteY496" fmla="*/ 3734923 h 5120141"/>
                <a:gd name="connsiteX497" fmla="*/ 3395303 w 3832826"/>
                <a:gd name="connsiteY497" fmla="*/ 3746955 h 5120141"/>
                <a:gd name="connsiteX498" fmla="*/ 3397421 w 3832826"/>
                <a:gd name="connsiteY498" fmla="*/ 3756931 h 5120141"/>
                <a:gd name="connsiteX499" fmla="*/ 3397421 w 3832826"/>
                <a:gd name="connsiteY499" fmla="*/ 3766907 h 5120141"/>
                <a:gd name="connsiteX500" fmla="*/ 3399428 w 3832826"/>
                <a:gd name="connsiteY500" fmla="*/ 3778939 h 5120141"/>
                <a:gd name="connsiteX501" fmla="*/ 3407901 w 3832826"/>
                <a:gd name="connsiteY501" fmla="*/ 3798890 h 5120141"/>
                <a:gd name="connsiteX502" fmla="*/ 3416263 w 3832826"/>
                <a:gd name="connsiteY502" fmla="*/ 3808942 h 5120141"/>
                <a:gd name="connsiteX503" fmla="*/ 3424737 w 3832826"/>
                <a:gd name="connsiteY503" fmla="*/ 3816938 h 5120141"/>
                <a:gd name="connsiteX504" fmla="*/ 3431092 w 3832826"/>
                <a:gd name="connsiteY504" fmla="*/ 3820898 h 5120141"/>
                <a:gd name="connsiteX505" fmla="*/ 3437335 w 3832826"/>
                <a:gd name="connsiteY505" fmla="*/ 3820898 h 5120141"/>
                <a:gd name="connsiteX506" fmla="*/ 3449934 w 3832826"/>
                <a:gd name="connsiteY506" fmla="*/ 3820898 h 5120141"/>
                <a:gd name="connsiteX507" fmla="*/ 3456289 w 3832826"/>
                <a:gd name="connsiteY507" fmla="*/ 3824934 h 5120141"/>
                <a:gd name="connsiteX508" fmla="*/ 3460526 w 3832826"/>
                <a:gd name="connsiteY508" fmla="*/ 3826914 h 5120141"/>
                <a:gd name="connsiteX509" fmla="*/ 3466770 w 3832826"/>
                <a:gd name="connsiteY509" fmla="*/ 3830874 h 5120141"/>
                <a:gd name="connsiteX510" fmla="*/ 3468888 w 3832826"/>
                <a:gd name="connsiteY510" fmla="*/ 3840925 h 5120141"/>
                <a:gd name="connsiteX511" fmla="*/ 3466770 w 3832826"/>
                <a:gd name="connsiteY511" fmla="*/ 3840925 h 5120141"/>
                <a:gd name="connsiteX512" fmla="*/ 3462644 w 3832826"/>
                <a:gd name="connsiteY512" fmla="*/ 3844885 h 5120141"/>
                <a:gd name="connsiteX513" fmla="*/ 3458408 w 3832826"/>
                <a:gd name="connsiteY513" fmla="*/ 3846865 h 5120141"/>
                <a:gd name="connsiteX514" fmla="*/ 3456289 w 3832826"/>
                <a:gd name="connsiteY514" fmla="*/ 3848921 h 5120141"/>
                <a:gd name="connsiteX515" fmla="*/ 3458408 w 3832826"/>
                <a:gd name="connsiteY515" fmla="*/ 3854861 h 5120141"/>
                <a:gd name="connsiteX516" fmla="*/ 3462644 w 3832826"/>
                <a:gd name="connsiteY516" fmla="*/ 3856917 h 5120141"/>
                <a:gd name="connsiteX517" fmla="*/ 3468888 w 3832826"/>
                <a:gd name="connsiteY517" fmla="*/ 3860877 h 5120141"/>
                <a:gd name="connsiteX518" fmla="*/ 3481487 w 3832826"/>
                <a:gd name="connsiteY518" fmla="*/ 3874889 h 5120141"/>
                <a:gd name="connsiteX519" fmla="*/ 3487842 w 3832826"/>
                <a:gd name="connsiteY519" fmla="*/ 3880828 h 5120141"/>
                <a:gd name="connsiteX520" fmla="*/ 3489960 w 3832826"/>
                <a:gd name="connsiteY520" fmla="*/ 3888824 h 5120141"/>
                <a:gd name="connsiteX521" fmla="*/ 3489960 w 3832826"/>
                <a:gd name="connsiteY521" fmla="*/ 3898876 h 5120141"/>
                <a:gd name="connsiteX522" fmla="*/ 3483605 w 3832826"/>
                <a:gd name="connsiteY522" fmla="*/ 3910832 h 5120141"/>
                <a:gd name="connsiteX523" fmla="*/ 3477361 w 3832826"/>
                <a:gd name="connsiteY523" fmla="*/ 3924844 h 5120141"/>
                <a:gd name="connsiteX524" fmla="*/ 3477361 w 3832826"/>
                <a:gd name="connsiteY524" fmla="*/ 3934819 h 5120141"/>
                <a:gd name="connsiteX525" fmla="*/ 3477361 w 3832826"/>
                <a:gd name="connsiteY525" fmla="*/ 3946851 h 5120141"/>
                <a:gd name="connsiteX526" fmla="*/ 3481487 w 3832826"/>
                <a:gd name="connsiteY526" fmla="*/ 3960787 h 5120141"/>
                <a:gd name="connsiteX527" fmla="*/ 3492078 w 3832826"/>
                <a:gd name="connsiteY527" fmla="*/ 3988810 h 5120141"/>
                <a:gd name="connsiteX528" fmla="*/ 3498322 w 3832826"/>
                <a:gd name="connsiteY528" fmla="*/ 3998786 h 5120141"/>
                <a:gd name="connsiteX529" fmla="*/ 3502559 w 3832826"/>
                <a:gd name="connsiteY529" fmla="*/ 4006782 h 5120141"/>
                <a:gd name="connsiteX530" fmla="*/ 3513039 w 3832826"/>
                <a:gd name="connsiteY530" fmla="*/ 4012798 h 5120141"/>
                <a:gd name="connsiteX531" fmla="*/ 3521513 w 3832826"/>
                <a:gd name="connsiteY531" fmla="*/ 4022774 h 5120141"/>
                <a:gd name="connsiteX532" fmla="*/ 3523631 w 3832826"/>
                <a:gd name="connsiteY532" fmla="*/ 4028790 h 5120141"/>
                <a:gd name="connsiteX533" fmla="*/ 3523631 w 3832826"/>
                <a:gd name="connsiteY533" fmla="*/ 4036785 h 5120141"/>
                <a:gd name="connsiteX534" fmla="*/ 3523631 w 3832826"/>
                <a:gd name="connsiteY534" fmla="*/ 4048741 h 5120141"/>
                <a:gd name="connsiteX535" fmla="*/ 3521513 w 3832826"/>
                <a:gd name="connsiteY535" fmla="*/ 4066713 h 5120141"/>
                <a:gd name="connsiteX536" fmla="*/ 3521513 w 3832826"/>
                <a:gd name="connsiteY536" fmla="*/ 4078744 h 5120141"/>
                <a:gd name="connsiteX537" fmla="*/ 3525749 w 3832826"/>
                <a:gd name="connsiteY537" fmla="*/ 4100752 h 5120141"/>
                <a:gd name="connsiteX538" fmla="*/ 3540466 w 3832826"/>
                <a:gd name="connsiteY538" fmla="*/ 4136695 h 5120141"/>
                <a:gd name="connsiteX539" fmla="*/ 3557302 w 3832826"/>
                <a:gd name="connsiteY539" fmla="*/ 4182690 h 5120141"/>
                <a:gd name="connsiteX540" fmla="*/ 3555183 w 3832826"/>
                <a:gd name="connsiteY540" fmla="*/ 4186650 h 5120141"/>
                <a:gd name="connsiteX541" fmla="*/ 3557302 w 3832826"/>
                <a:gd name="connsiteY541" fmla="*/ 4192666 h 5120141"/>
                <a:gd name="connsiteX542" fmla="*/ 3567782 w 3832826"/>
                <a:gd name="connsiteY542" fmla="*/ 4214674 h 5120141"/>
                <a:gd name="connsiteX543" fmla="*/ 3578262 w 3832826"/>
                <a:gd name="connsiteY543" fmla="*/ 4240641 h 5120141"/>
                <a:gd name="connsiteX544" fmla="*/ 3582499 w 3832826"/>
                <a:gd name="connsiteY544" fmla="*/ 4250617 h 5120141"/>
                <a:gd name="connsiteX545" fmla="*/ 3582499 w 3832826"/>
                <a:gd name="connsiteY545" fmla="*/ 4260593 h 5120141"/>
                <a:gd name="connsiteX546" fmla="*/ 3578262 w 3832826"/>
                <a:gd name="connsiteY546" fmla="*/ 4260593 h 5120141"/>
                <a:gd name="connsiteX547" fmla="*/ 3576144 w 3832826"/>
                <a:gd name="connsiteY547" fmla="*/ 4264629 h 5120141"/>
                <a:gd name="connsiteX548" fmla="*/ 3572019 w 3832826"/>
                <a:gd name="connsiteY548" fmla="*/ 4270645 h 5120141"/>
                <a:gd name="connsiteX549" fmla="*/ 3565664 w 3832826"/>
                <a:gd name="connsiteY549" fmla="*/ 4272624 h 5120141"/>
                <a:gd name="connsiteX550" fmla="*/ 3563545 w 3832826"/>
                <a:gd name="connsiteY550" fmla="*/ 4278640 h 5120141"/>
                <a:gd name="connsiteX551" fmla="*/ 3561427 w 3832826"/>
                <a:gd name="connsiteY551" fmla="*/ 4288616 h 5120141"/>
                <a:gd name="connsiteX552" fmla="*/ 3561427 w 3832826"/>
                <a:gd name="connsiteY552" fmla="*/ 4300572 h 5120141"/>
                <a:gd name="connsiteX553" fmla="*/ 3557302 w 3832826"/>
                <a:gd name="connsiteY553" fmla="*/ 4324559 h 5120141"/>
                <a:gd name="connsiteX554" fmla="*/ 3556313 w 3832826"/>
                <a:gd name="connsiteY554" fmla="*/ 4324559 h 5120141"/>
                <a:gd name="connsiteX555" fmla="*/ 3557250 w 3832826"/>
                <a:gd name="connsiteY555" fmla="*/ 4324566 h 5120141"/>
                <a:gd name="connsiteX556" fmla="*/ 3561457 w 3832826"/>
                <a:gd name="connsiteY556" fmla="*/ 4324566 h 5120141"/>
                <a:gd name="connsiteX557" fmla="*/ 3687675 w 3832826"/>
                <a:gd name="connsiteY557" fmla="*/ 4322562 h 5120141"/>
                <a:gd name="connsiteX558" fmla="*/ 3815997 w 3832826"/>
                <a:gd name="connsiteY558" fmla="*/ 4322562 h 5120141"/>
                <a:gd name="connsiteX559" fmla="*/ 3820204 w 3832826"/>
                <a:gd name="connsiteY559" fmla="*/ 4362642 h 5120141"/>
                <a:gd name="connsiteX560" fmla="*/ 3820204 w 3832826"/>
                <a:gd name="connsiteY560" fmla="*/ 4388693 h 5120141"/>
                <a:gd name="connsiteX561" fmla="*/ 3815997 w 3832826"/>
                <a:gd name="connsiteY561" fmla="*/ 4394705 h 5120141"/>
                <a:gd name="connsiteX562" fmla="*/ 3813893 w 3832826"/>
                <a:gd name="connsiteY562" fmla="*/ 4398713 h 5120141"/>
                <a:gd name="connsiteX563" fmla="*/ 3803375 w 3832826"/>
                <a:gd name="connsiteY563" fmla="*/ 4398713 h 5120141"/>
                <a:gd name="connsiteX564" fmla="*/ 3799168 w 3832826"/>
                <a:gd name="connsiteY564" fmla="*/ 4402721 h 5120141"/>
                <a:gd name="connsiteX565" fmla="*/ 3799168 w 3832826"/>
                <a:gd name="connsiteY565" fmla="*/ 4408733 h 5120141"/>
                <a:gd name="connsiteX566" fmla="*/ 3801272 w 3832826"/>
                <a:gd name="connsiteY566" fmla="*/ 4420757 h 5120141"/>
                <a:gd name="connsiteX567" fmla="*/ 3801272 w 3832826"/>
                <a:gd name="connsiteY567" fmla="*/ 4422761 h 5120141"/>
                <a:gd name="connsiteX568" fmla="*/ 3805479 w 3832826"/>
                <a:gd name="connsiteY568" fmla="*/ 4424765 h 5120141"/>
                <a:gd name="connsiteX569" fmla="*/ 3815997 w 3832826"/>
                <a:gd name="connsiteY569" fmla="*/ 4422761 h 5120141"/>
                <a:gd name="connsiteX570" fmla="*/ 3826515 w 3832826"/>
                <a:gd name="connsiteY570" fmla="*/ 4422761 h 5120141"/>
                <a:gd name="connsiteX571" fmla="*/ 3830723 w 3832826"/>
                <a:gd name="connsiteY571" fmla="*/ 4424765 h 5120141"/>
                <a:gd name="connsiteX572" fmla="*/ 3832826 w 3832826"/>
                <a:gd name="connsiteY572" fmla="*/ 4430776 h 5120141"/>
                <a:gd name="connsiteX573" fmla="*/ 3830723 w 3832826"/>
                <a:gd name="connsiteY573" fmla="*/ 4436788 h 5120141"/>
                <a:gd name="connsiteX574" fmla="*/ 3826515 w 3832826"/>
                <a:gd name="connsiteY574" fmla="*/ 4436788 h 5120141"/>
                <a:gd name="connsiteX575" fmla="*/ 3822308 w 3832826"/>
                <a:gd name="connsiteY575" fmla="*/ 4440796 h 5120141"/>
                <a:gd name="connsiteX576" fmla="*/ 3822308 w 3832826"/>
                <a:gd name="connsiteY576" fmla="*/ 4444804 h 5120141"/>
                <a:gd name="connsiteX577" fmla="*/ 3822308 w 3832826"/>
                <a:gd name="connsiteY577" fmla="*/ 4502919 h 5120141"/>
                <a:gd name="connsiteX578" fmla="*/ 3824412 w 3832826"/>
                <a:gd name="connsiteY578" fmla="*/ 4557026 h 5120141"/>
                <a:gd name="connsiteX579" fmla="*/ 3826515 w 3832826"/>
                <a:gd name="connsiteY579" fmla="*/ 4723356 h 5120141"/>
                <a:gd name="connsiteX580" fmla="*/ 3826515 w 3832826"/>
                <a:gd name="connsiteY580" fmla="*/ 4805518 h 5120141"/>
                <a:gd name="connsiteX581" fmla="*/ 3826515 w 3832826"/>
                <a:gd name="connsiteY581" fmla="*/ 4887681 h 5120141"/>
                <a:gd name="connsiteX582" fmla="*/ 3815997 w 3832826"/>
                <a:gd name="connsiteY582" fmla="*/ 4885677 h 5120141"/>
                <a:gd name="connsiteX583" fmla="*/ 3820204 w 3832826"/>
                <a:gd name="connsiteY583" fmla="*/ 4985875 h 5120141"/>
                <a:gd name="connsiteX584" fmla="*/ 3820204 w 3832826"/>
                <a:gd name="connsiteY584" fmla="*/ 5072046 h 5120141"/>
                <a:gd name="connsiteX585" fmla="*/ 3822308 w 3832826"/>
                <a:gd name="connsiteY585" fmla="*/ 5072046 h 5120141"/>
                <a:gd name="connsiteX586" fmla="*/ 3822308 w 3832826"/>
                <a:gd name="connsiteY586" fmla="*/ 5088078 h 5120141"/>
                <a:gd name="connsiteX587" fmla="*/ 3822308 w 3832826"/>
                <a:gd name="connsiteY587" fmla="*/ 5100102 h 5120141"/>
                <a:gd name="connsiteX588" fmla="*/ 3820204 w 3832826"/>
                <a:gd name="connsiteY588" fmla="*/ 5104109 h 5120141"/>
                <a:gd name="connsiteX589" fmla="*/ 3815997 w 3832826"/>
                <a:gd name="connsiteY589" fmla="*/ 5108117 h 5120141"/>
                <a:gd name="connsiteX590" fmla="*/ 3809686 w 3832826"/>
                <a:gd name="connsiteY590" fmla="*/ 5108117 h 5120141"/>
                <a:gd name="connsiteX591" fmla="*/ 3801272 w 3832826"/>
                <a:gd name="connsiteY591" fmla="*/ 5108117 h 5120141"/>
                <a:gd name="connsiteX592" fmla="*/ 3370026 w 3832826"/>
                <a:gd name="connsiteY592" fmla="*/ 5110121 h 5120141"/>
                <a:gd name="connsiteX593" fmla="*/ 2940884 w 3832826"/>
                <a:gd name="connsiteY593" fmla="*/ 5112125 h 5120141"/>
                <a:gd name="connsiteX594" fmla="*/ 2903018 w 3832826"/>
                <a:gd name="connsiteY594" fmla="*/ 5112125 h 5120141"/>
                <a:gd name="connsiteX595" fmla="*/ 2898811 w 3832826"/>
                <a:gd name="connsiteY595" fmla="*/ 5118137 h 5120141"/>
                <a:gd name="connsiteX596" fmla="*/ 2888293 w 3832826"/>
                <a:gd name="connsiteY596" fmla="*/ 5120141 h 5120141"/>
                <a:gd name="connsiteX597" fmla="*/ 2860945 w 3832826"/>
                <a:gd name="connsiteY597" fmla="*/ 5120141 h 5120141"/>
                <a:gd name="connsiteX598" fmla="*/ 2808354 w 3832826"/>
                <a:gd name="connsiteY598" fmla="*/ 5118137 h 5120141"/>
                <a:gd name="connsiteX599" fmla="*/ 2747349 w 3832826"/>
                <a:gd name="connsiteY599" fmla="*/ 5120141 h 5120141"/>
                <a:gd name="connsiteX600" fmla="*/ 2713691 w 3832826"/>
                <a:gd name="connsiteY600" fmla="*/ 5120141 h 5120141"/>
                <a:gd name="connsiteX601" fmla="*/ 2701069 w 3832826"/>
                <a:gd name="connsiteY601" fmla="*/ 5118137 h 5120141"/>
                <a:gd name="connsiteX602" fmla="*/ 2692654 w 3832826"/>
                <a:gd name="connsiteY602" fmla="*/ 5114129 h 5120141"/>
                <a:gd name="connsiteX603" fmla="*/ 2690551 w 3832826"/>
                <a:gd name="connsiteY603" fmla="*/ 5108117 h 5120141"/>
                <a:gd name="connsiteX604" fmla="*/ 2690551 w 3832826"/>
                <a:gd name="connsiteY604" fmla="*/ 5100102 h 5120141"/>
                <a:gd name="connsiteX605" fmla="*/ 2690551 w 3832826"/>
                <a:gd name="connsiteY605" fmla="*/ 5084070 h 5120141"/>
                <a:gd name="connsiteX606" fmla="*/ 2690551 w 3832826"/>
                <a:gd name="connsiteY606" fmla="*/ 5082066 h 5120141"/>
                <a:gd name="connsiteX607" fmla="*/ 2688447 w 3832826"/>
                <a:gd name="connsiteY607" fmla="*/ 5080062 h 5120141"/>
                <a:gd name="connsiteX608" fmla="*/ 2682136 w 3832826"/>
                <a:gd name="connsiteY608" fmla="*/ 5080062 h 5120141"/>
                <a:gd name="connsiteX609" fmla="*/ 2675825 w 3832826"/>
                <a:gd name="connsiteY609" fmla="*/ 5080062 h 5120141"/>
                <a:gd name="connsiteX610" fmla="*/ 2669514 w 3832826"/>
                <a:gd name="connsiteY610" fmla="*/ 5080062 h 5120141"/>
                <a:gd name="connsiteX611" fmla="*/ 2667411 w 3832826"/>
                <a:gd name="connsiteY611" fmla="*/ 5078058 h 5120141"/>
                <a:gd name="connsiteX612" fmla="*/ 2667411 w 3832826"/>
                <a:gd name="connsiteY612" fmla="*/ 5072046 h 5120141"/>
                <a:gd name="connsiteX613" fmla="*/ 2658996 w 3832826"/>
                <a:gd name="connsiteY613" fmla="*/ 5070042 h 5120141"/>
                <a:gd name="connsiteX614" fmla="*/ 2627442 w 3832826"/>
                <a:gd name="connsiteY614" fmla="*/ 5070042 h 5120141"/>
                <a:gd name="connsiteX615" fmla="*/ 2612716 w 3832826"/>
                <a:gd name="connsiteY615" fmla="*/ 5070042 h 5120141"/>
                <a:gd name="connsiteX616" fmla="*/ 2604302 w 3832826"/>
                <a:gd name="connsiteY616" fmla="*/ 5070042 h 5120141"/>
                <a:gd name="connsiteX617" fmla="*/ 2602198 w 3832826"/>
                <a:gd name="connsiteY617" fmla="*/ 5068038 h 5120141"/>
                <a:gd name="connsiteX618" fmla="*/ 2597991 w 3832826"/>
                <a:gd name="connsiteY618" fmla="*/ 5064030 h 5120141"/>
                <a:gd name="connsiteX619" fmla="*/ 2595887 w 3832826"/>
                <a:gd name="connsiteY619" fmla="*/ 5052006 h 5120141"/>
                <a:gd name="connsiteX620" fmla="*/ 2593783 w 3832826"/>
                <a:gd name="connsiteY620" fmla="*/ 5047998 h 5120141"/>
                <a:gd name="connsiteX621" fmla="*/ 2591680 w 3832826"/>
                <a:gd name="connsiteY621" fmla="*/ 5047998 h 5120141"/>
                <a:gd name="connsiteX622" fmla="*/ 2576954 w 3832826"/>
                <a:gd name="connsiteY622" fmla="*/ 5045994 h 5120141"/>
                <a:gd name="connsiteX623" fmla="*/ 2551711 w 3832826"/>
                <a:gd name="connsiteY623" fmla="*/ 5047998 h 5120141"/>
                <a:gd name="connsiteX624" fmla="*/ 2530674 w 3832826"/>
                <a:gd name="connsiteY624" fmla="*/ 5045994 h 5120141"/>
                <a:gd name="connsiteX625" fmla="*/ 2528571 w 3832826"/>
                <a:gd name="connsiteY625" fmla="*/ 4975856 h 5120141"/>
                <a:gd name="connsiteX626" fmla="*/ 2528571 w 3832826"/>
                <a:gd name="connsiteY626" fmla="*/ 4905717 h 5120141"/>
                <a:gd name="connsiteX627" fmla="*/ 2524363 w 3832826"/>
                <a:gd name="connsiteY627" fmla="*/ 4899705 h 5120141"/>
                <a:gd name="connsiteX628" fmla="*/ 2522260 w 3832826"/>
                <a:gd name="connsiteY628" fmla="*/ 4895697 h 5120141"/>
                <a:gd name="connsiteX629" fmla="*/ 2509638 w 3832826"/>
                <a:gd name="connsiteY629" fmla="*/ 4891689 h 5120141"/>
                <a:gd name="connsiteX630" fmla="*/ 2492809 w 3832826"/>
                <a:gd name="connsiteY630" fmla="*/ 4889685 h 5120141"/>
                <a:gd name="connsiteX631" fmla="*/ 2478083 w 3832826"/>
                <a:gd name="connsiteY631" fmla="*/ 4889685 h 5120141"/>
                <a:gd name="connsiteX632" fmla="*/ 2471772 w 3832826"/>
                <a:gd name="connsiteY632" fmla="*/ 4887681 h 5120141"/>
                <a:gd name="connsiteX633" fmla="*/ 2467565 w 3832826"/>
                <a:gd name="connsiteY633" fmla="*/ 4881669 h 5120141"/>
                <a:gd name="connsiteX634" fmla="*/ 2465461 w 3832826"/>
                <a:gd name="connsiteY634" fmla="*/ 4871649 h 5120141"/>
                <a:gd name="connsiteX635" fmla="*/ 2465461 w 3832826"/>
                <a:gd name="connsiteY635" fmla="*/ 4861629 h 5120141"/>
                <a:gd name="connsiteX636" fmla="*/ 2467565 w 3832826"/>
                <a:gd name="connsiteY636" fmla="*/ 4839586 h 5120141"/>
                <a:gd name="connsiteX637" fmla="*/ 2467565 w 3832826"/>
                <a:gd name="connsiteY637" fmla="*/ 4823554 h 5120141"/>
                <a:gd name="connsiteX638" fmla="*/ 2391834 w 3832826"/>
                <a:gd name="connsiteY638" fmla="*/ 4823554 h 5120141"/>
                <a:gd name="connsiteX639" fmla="*/ 2393938 w 3832826"/>
                <a:gd name="connsiteY639" fmla="*/ 4755419 h 5120141"/>
                <a:gd name="connsiteX640" fmla="*/ 2343450 w 3832826"/>
                <a:gd name="connsiteY640" fmla="*/ 4759427 h 5120141"/>
                <a:gd name="connsiteX641" fmla="*/ 2311896 w 3832826"/>
                <a:gd name="connsiteY641" fmla="*/ 4759427 h 5120141"/>
                <a:gd name="connsiteX642" fmla="*/ 2301378 w 3832826"/>
                <a:gd name="connsiteY642" fmla="*/ 4757423 h 5120141"/>
                <a:gd name="connsiteX643" fmla="*/ 2295067 w 3832826"/>
                <a:gd name="connsiteY643" fmla="*/ 4755419 h 5120141"/>
                <a:gd name="connsiteX644" fmla="*/ 2290860 w 3832826"/>
                <a:gd name="connsiteY644" fmla="*/ 4749407 h 5120141"/>
                <a:gd name="connsiteX645" fmla="*/ 2290860 w 3832826"/>
                <a:gd name="connsiteY645" fmla="*/ 4745399 h 5120141"/>
                <a:gd name="connsiteX646" fmla="*/ 2290860 w 3832826"/>
                <a:gd name="connsiteY646" fmla="*/ 4727364 h 5120141"/>
                <a:gd name="connsiteX647" fmla="*/ 2290860 w 3832826"/>
                <a:gd name="connsiteY647" fmla="*/ 4699308 h 5120141"/>
                <a:gd name="connsiteX648" fmla="*/ 2290860 w 3832826"/>
                <a:gd name="connsiteY648" fmla="*/ 4687284 h 5120141"/>
                <a:gd name="connsiteX649" fmla="*/ 2288756 w 3832826"/>
                <a:gd name="connsiteY649" fmla="*/ 4685280 h 5120141"/>
                <a:gd name="connsiteX650" fmla="*/ 2284549 w 3832826"/>
                <a:gd name="connsiteY650" fmla="*/ 4683276 h 5120141"/>
                <a:gd name="connsiteX651" fmla="*/ 2274030 w 3832826"/>
                <a:gd name="connsiteY651" fmla="*/ 4683276 h 5120141"/>
                <a:gd name="connsiteX652" fmla="*/ 2259305 w 3832826"/>
                <a:gd name="connsiteY652" fmla="*/ 4685280 h 5120141"/>
                <a:gd name="connsiteX653" fmla="*/ 2255098 w 3832826"/>
                <a:gd name="connsiteY653" fmla="*/ 4683276 h 5120141"/>
                <a:gd name="connsiteX654" fmla="*/ 2248787 w 3832826"/>
                <a:gd name="connsiteY654" fmla="*/ 4679268 h 5120141"/>
                <a:gd name="connsiteX655" fmla="*/ 2244579 w 3832826"/>
                <a:gd name="connsiteY655" fmla="*/ 4673257 h 5120141"/>
                <a:gd name="connsiteX656" fmla="*/ 2244579 w 3832826"/>
                <a:gd name="connsiteY656" fmla="*/ 4663237 h 5120141"/>
                <a:gd name="connsiteX657" fmla="*/ 2244579 w 3832826"/>
                <a:gd name="connsiteY657" fmla="*/ 4649209 h 5120141"/>
                <a:gd name="connsiteX658" fmla="*/ 2244579 w 3832826"/>
                <a:gd name="connsiteY658" fmla="*/ 4637185 h 5120141"/>
                <a:gd name="connsiteX659" fmla="*/ 2244579 w 3832826"/>
                <a:gd name="connsiteY659" fmla="*/ 4627165 h 5120141"/>
                <a:gd name="connsiteX660" fmla="*/ 2242476 w 3832826"/>
                <a:gd name="connsiteY660" fmla="*/ 4623157 h 5120141"/>
                <a:gd name="connsiteX661" fmla="*/ 2236165 w 3832826"/>
                <a:gd name="connsiteY661" fmla="*/ 4617145 h 5120141"/>
                <a:gd name="connsiteX662" fmla="*/ 2234061 w 3832826"/>
                <a:gd name="connsiteY662" fmla="*/ 4617145 h 5120141"/>
                <a:gd name="connsiteX663" fmla="*/ 2225647 w 3832826"/>
                <a:gd name="connsiteY663" fmla="*/ 4615141 h 5120141"/>
                <a:gd name="connsiteX664" fmla="*/ 2194092 w 3832826"/>
                <a:gd name="connsiteY664" fmla="*/ 4617145 h 5120141"/>
                <a:gd name="connsiteX665" fmla="*/ 2179367 w 3832826"/>
                <a:gd name="connsiteY665" fmla="*/ 4617145 h 5120141"/>
                <a:gd name="connsiteX666" fmla="*/ 2164641 w 3832826"/>
                <a:gd name="connsiteY666" fmla="*/ 4613137 h 5120141"/>
                <a:gd name="connsiteX667" fmla="*/ 2162538 w 3832826"/>
                <a:gd name="connsiteY667" fmla="*/ 4607126 h 5120141"/>
                <a:gd name="connsiteX668" fmla="*/ 2160434 w 3832826"/>
                <a:gd name="connsiteY668" fmla="*/ 4597106 h 5120141"/>
                <a:gd name="connsiteX669" fmla="*/ 2154123 w 3832826"/>
                <a:gd name="connsiteY669" fmla="*/ 4583078 h 5120141"/>
                <a:gd name="connsiteX670" fmla="*/ 2149916 w 3832826"/>
                <a:gd name="connsiteY670" fmla="*/ 4581074 h 5120141"/>
                <a:gd name="connsiteX671" fmla="*/ 2143605 w 3832826"/>
                <a:gd name="connsiteY671" fmla="*/ 4575062 h 5120141"/>
                <a:gd name="connsiteX672" fmla="*/ 2133087 w 3832826"/>
                <a:gd name="connsiteY672" fmla="*/ 4571054 h 5120141"/>
                <a:gd name="connsiteX673" fmla="*/ 2130983 w 3832826"/>
                <a:gd name="connsiteY673" fmla="*/ 4565042 h 5120141"/>
                <a:gd name="connsiteX674" fmla="*/ 2130983 w 3832826"/>
                <a:gd name="connsiteY674" fmla="*/ 4561034 h 5120141"/>
                <a:gd name="connsiteX675" fmla="*/ 2130983 w 3832826"/>
                <a:gd name="connsiteY675" fmla="*/ 4553018 h 5120141"/>
                <a:gd name="connsiteX676" fmla="*/ 2130983 w 3832826"/>
                <a:gd name="connsiteY676" fmla="*/ 4551015 h 5120141"/>
                <a:gd name="connsiteX677" fmla="*/ 2126776 w 3832826"/>
                <a:gd name="connsiteY677" fmla="*/ 4545003 h 5120141"/>
                <a:gd name="connsiteX678" fmla="*/ 2122568 w 3832826"/>
                <a:gd name="connsiteY678" fmla="*/ 4545003 h 5120141"/>
                <a:gd name="connsiteX679" fmla="*/ 2120465 w 3832826"/>
                <a:gd name="connsiteY679" fmla="*/ 4545003 h 5120141"/>
                <a:gd name="connsiteX680" fmla="*/ 2118361 w 3832826"/>
                <a:gd name="connsiteY680" fmla="*/ 4536987 h 5120141"/>
                <a:gd name="connsiteX681" fmla="*/ 2116258 w 3832826"/>
                <a:gd name="connsiteY681" fmla="*/ 4536987 h 5120141"/>
                <a:gd name="connsiteX682" fmla="*/ 2109947 w 3832826"/>
                <a:gd name="connsiteY682" fmla="*/ 4536987 h 5120141"/>
                <a:gd name="connsiteX683" fmla="*/ 2107843 w 3832826"/>
                <a:gd name="connsiteY683" fmla="*/ 4536987 h 5120141"/>
                <a:gd name="connsiteX684" fmla="*/ 2107843 w 3832826"/>
                <a:gd name="connsiteY684" fmla="*/ 4534983 h 5120141"/>
                <a:gd name="connsiteX685" fmla="*/ 2105739 w 3832826"/>
                <a:gd name="connsiteY685" fmla="*/ 4500915 h 5120141"/>
                <a:gd name="connsiteX686" fmla="*/ 2105739 w 3832826"/>
                <a:gd name="connsiteY686" fmla="*/ 4476868 h 5120141"/>
                <a:gd name="connsiteX687" fmla="*/ 2101532 w 3832826"/>
                <a:gd name="connsiteY687" fmla="*/ 4470856 h 5120141"/>
                <a:gd name="connsiteX688" fmla="*/ 2099428 w 3832826"/>
                <a:gd name="connsiteY688" fmla="*/ 4466848 h 5120141"/>
                <a:gd name="connsiteX689" fmla="*/ 2095221 w 3832826"/>
                <a:gd name="connsiteY689" fmla="*/ 4466848 h 5120141"/>
                <a:gd name="connsiteX690" fmla="*/ 2063667 w 3832826"/>
                <a:gd name="connsiteY690" fmla="*/ 4470856 h 5120141"/>
                <a:gd name="connsiteX691" fmla="*/ 2042630 w 3832826"/>
                <a:gd name="connsiteY691" fmla="*/ 4470856 h 5120141"/>
                <a:gd name="connsiteX692" fmla="*/ 2036319 w 3832826"/>
                <a:gd name="connsiteY692" fmla="*/ 4466848 h 5120141"/>
                <a:gd name="connsiteX693" fmla="*/ 2032112 w 3832826"/>
                <a:gd name="connsiteY693" fmla="*/ 4466848 h 5120141"/>
                <a:gd name="connsiteX694" fmla="*/ 2027905 w 3832826"/>
                <a:gd name="connsiteY694" fmla="*/ 4456828 h 5120141"/>
                <a:gd name="connsiteX695" fmla="*/ 2027905 w 3832826"/>
                <a:gd name="connsiteY695" fmla="*/ 4444804 h 5120141"/>
                <a:gd name="connsiteX696" fmla="*/ 2027905 w 3832826"/>
                <a:gd name="connsiteY696" fmla="*/ 4420757 h 5120141"/>
                <a:gd name="connsiteX697" fmla="*/ 2027905 w 3832826"/>
                <a:gd name="connsiteY697" fmla="*/ 4376298 h 5120141"/>
                <a:gd name="connsiteX698" fmla="*/ 2025801 w 3832826"/>
                <a:gd name="connsiteY698" fmla="*/ 4376298 h 5120141"/>
                <a:gd name="connsiteX699" fmla="*/ 2025801 w 3832826"/>
                <a:gd name="connsiteY699" fmla="*/ 4328574 h 5120141"/>
                <a:gd name="connsiteX700" fmla="*/ 2025801 w 3832826"/>
                <a:gd name="connsiteY700" fmla="*/ 4326856 h 5120141"/>
                <a:gd name="connsiteX701" fmla="*/ 2021595 w 3832826"/>
                <a:gd name="connsiteY701" fmla="*/ 4326570 h 5120141"/>
                <a:gd name="connsiteX702" fmla="*/ 2015284 w 3832826"/>
                <a:gd name="connsiteY702" fmla="*/ 4326570 h 5120141"/>
                <a:gd name="connsiteX703" fmla="*/ 2017387 w 3832826"/>
                <a:gd name="connsiteY703" fmla="*/ 4316550 h 5120141"/>
                <a:gd name="connsiteX704" fmla="*/ 2015284 w 3832826"/>
                <a:gd name="connsiteY704" fmla="*/ 4310539 h 5120141"/>
                <a:gd name="connsiteX705" fmla="*/ 2008973 w 3832826"/>
                <a:gd name="connsiteY705" fmla="*/ 4306531 h 5120141"/>
                <a:gd name="connsiteX706" fmla="*/ 2004765 w 3832826"/>
                <a:gd name="connsiteY706" fmla="*/ 4300519 h 5120141"/>
                <a:gd name="connsiteX707" fmla="*/ 1994247 w 3832826"/>
                <a:gd name="connsiteY707" fmla="*/ 4286491 h 5120141"/>
                <a:gd name="connsiteX708" fmla="*/ 1987936 w 3832826"/>
                <a:gd name="connsiteY708" fmla="*/ 4270459 h 5120141"/>
                <a:gd name="connsiteX709" fmla="*/ 1987936 w 3832826"/>
                <a:gd name="connsiteY709" fmla="*/ 4262443 h 5120141"/>
                <a:gd name="connsiteX710" fmla="*/ 1987936 w 3832826"/>
                <a:gd name="connsiteY710" fmla="*/ 4258435 h 5120141"/>
                <a:gd name="connsiteX711" fmla="*/ 1987936 w 3832826"/>
                <a:gd name="connsiteY711" fmla="*/ 4252423 h 5120141"/>
                <a:gd name="connsiteX712" fmla="*/ 1983729 w 3832826"/>
                <a:gd name="connsiteY712" fmla="*/ 4246412 h 5120141"/>
                <a:gd name="connsiteX713" fmla="*/ 1978277 w 3832826"/>
                <a:gd name="connsiteY713" fmla="*/ 4241218 h 5120141"/>
                <a:gd name="connsiteX714" fmla="*/ 1947935 w 3832826"/>
                <a:gd name="connsiteY714" fmla="*/ 4232386 h 5120141"/>
                <a:gd name="connsiteX715" fmla="*/ 1941632 w 3832826"/>
                <a:gd name="connsiteY715" fmla="*/ 4228376 h 5120141"/>
                <a:gd name="connsiteX716" fmla="*/ 1933169 w 3832826"/>
                <a:gd name="connsiteY716" fmla="*/ 4220356 h 5120141"/>
                <a:gd name="connsiteX717" fmla="*/ 1922725 w 3832826"/>
                <a:gd name="connsiteY717" fmla="*/ 4208326 h 5120141"/>
                <a:gd name="connsiteX718" fmla="*/ 1910120 w 3832826"/>
                <a:gd name="connsiteY718" fmla="*/ 4196297 h 5120141"/>
                <a:gd name="connsiteX719" fmla="*/ 1901657 w 3832826"/>
                <a:gd name="connsiteY719" fmla="*/ 4190282 h 5120141"/>
                <a:gd name="connsiteX720" fmla="*/ 1893193 w 3832826"/>
                <a:gd name="connsiteY720" fmla="*/ 4186272 h 5120141"/>
                <a:gd name="connsiteX721" fmla="*/ 1867983 w 3832826"/>
                <a:gd name="connsiteY721" fmla="*/ 4178252 h 5120141"/>
                <a:gd name="connsiteX722" fmla="*/ 1857539 w 3832826"/>
                <a:gd name="connsiteY722" fmla="*/ 4172237 h 5120141"/>
                <a:gd name="connsiteX723" fmla="*/ 1842773 w 3832826"/>
                <a:gd name="connsiteY723" fmla="*/ 4166222 h 5120141"/>
                <a:gd name="connsiteX724" fmla="*/ 1804958 w 3832826"/>
                <a:gd name="connsiteY724" fmla="*/ 4138152 h 5120141"/>
                <a:gd name="connsiteX725" fmla="*/ 1800637 w 3832826"/>
                <a:gd name="connsiteY725" fmla="*/ 4138152 h 5120141"/>
                <a:gd name="connsiteX726" fmla="*/ 1796495 w 3832826"/>
                <a:gd name="connsiteY726" fmla="*/ 4138152 h 5120141"/>
                <a:gd name="connsiteX727" fmla="*/ 1790192 w 3832826"/>
                <a:gd name="connsiteY727" fmla="*/ 4138152 h 5120141"/>
                <a:gd name="connsiteX728" fmla="*/ 1786051 w 3832826"/>
                <a:gd name="connsiteY728" fmla="*/ 4132138 h 5120141"/>
                <a:gd name="connsiteX729" fmla="*/ 1783890 w 3832826"/>
                <a:gd name="connsiteY729" fmla="*/ 4126123 h 5120141"/>
                <a:gd name="connsiteX730" fmla="*/ 1775427 w 3832826"/>
                <a:gd name="connsiteY730" fmla="*/ 4120108 h 5120141"/>
                <a:gd name="connsiteX731" fmla="*/ 1769124 w 3832826"/>
                <a:gd name="connsiteY731" fmla="*/ 4118103 h 5120141"/>
                <a:gd name="connsiteX732" fmla="*/ 1762822 w 3832826"/>
                <a:gd name="connsiteY732" fmla="*/ 4112088 h 5120141"/>
                <a:gd name="connsiteX733" fmla="*/ 1756519 w 3832826"/>
                <a:gd name="connsiteY733" fmla="*/ 4100058 h 5120141"/>
                <a:gd name="connsiteX734" fmla="*/ 1752377 w 3832826"/>
                <a:gd name="connsiteY734" fmla="*/ 4090167 h 5120141"/>
                <a:gd name="connsiteX735" fmla="*/ 1741753 w 3832826"/>
                <a:gd name="connsiteY735" fmla="*/ 4086157 h 5120141"/>
                <a:gd name="connsiteX736" fmla="*/ 1733470 w 3832826"/>
                <a:gd name="connsiteY736" fmla="*/ 4082147 h 5120141"/>
                <a:gd name="connsiteX737" fmla="*/ 1716543 w 3832826"/>
                <a:gd name="connsiteY737" fmla="*/ 4070117 h 5120141"/>
                <a:gd name="connsiteX738" fmla="*/ 1706099 w 3832826"/>
                <a:gd name="connsiteY738" fmla="*/ 4060092 h 5120141"/>
                <a:gd name="connsiteX739" fmla="*/ 1701777 w 3832826"/>
                <a:gd name="connsiteY739" fmla="*/ 4052072 h 5120141"/>
                <a:gd name="connsiteX740" fmla="*/ 1699797 w 3832826"/>
                <a:gd name="connsiteY740" fmla="*/ 4048062 h 5120141"/>
                <a:gd name="connsiteX741" fmla="*/ 1695475 w 3832826"/>
                <a:gd name="connsiteY741" fmla="*/ 4038038 h 5120141"/>
                <a:gd name="connsiteX742" fmla="*/ 1699797 w 3832826"/>
                <a:gd name="connsiteY742" fmla="*/ 4030018 h 5120141"/>
                <a:gd name="connsiteX743" fmla="*/ 1701777 w 3832826"/>
                <a:gd name="connsiteY743" fmla="*/ 4021998 h 5120141"/>
                <a:gd name="connsiteX744" fmla="*/ 1706099 w 3832826"/>
                <a:gd name="connsiteY744" fmla="*/ 4017988 h 5120141"/>
                <a:gd name="connsiteX745" fmla="*/ 1714382 w 3832826"/>
                <a:gd name="connsiteY745" fmla="*/ 4007963 h 5120141"/>
                <a:gd name="connsiteX746" fmla="*/ 1716543 w 3832826"/>
                <a:gd name="connsiteY746" fmla="*/ 4001948 h 5120141"/>
                <a:gd name="connsiteX747" fmla="*/ 1720685 w 3832826"/>
                <a:gd name="connsiteY747" fmla="*/ 3997938 h 5120141"/>
                <a:gd name="connsiteX748" fmla="*/ 1716543 w 3832826"/>
                <a:gd name="connsiteY748" fmla="*/ 3991923 h 5120141"/>
                <a:gd name="connsiteX749" fmla="*/ 1712402 w 3832826"/>
                <a:gd name="connsiteY749" fmla="*/ 3985908 h 5120141"/>
                <a:gd name="connsiteX750" fmla="*/ 1701777 w 3832826"/>
                <a:gd name="connsiteY750" fmla="*/ 3975883 h 5120141"/>
                <a:gd name="connsiteX751" fmla="*/ 1695475 w 3832826"/>
                <a:gd name="connsiteY751" fmla="*/ 3973878 h 5120141"/>
                <a:gd name="connsiteX752" fmla="*/ 1691333 w 3832826"/>
                <a:gd name="connsiteY752" fmla="*/ 3965859 h 5120141"/>
                <a:gd name="connsiteX753" fmla="*/ 1689172 w 3832826"/>
                <a:gd name="connsiteY753" fmla="*/ 3957839 h 5120141"/>
                <a:gd name="connsiteX754" fmla="*/ 1691333 w 3832826"/>
                <a:gd name="connsiteY754" fmla="*/ 3953829 h 5120141"/>
                <a:gd name="connsiteX755" fmla="*/ 1691333 w 3832826"/>
                <a:gd name="connsiteY755" fmla="*/ 3945809 h 5120141"/>
                <a:gd name="connsiteX756" fmla="*/ 1689172 w 3832826"/>
                <a:gd name="connsiteY756" fmla="*/ 3937789 h 5120141"/>
                <a:gd name="connsiteX757" fmla="*/ 1687192 w 3832826"/>
                <a:gd name="connsiteY757" fmla="*/ 3927764 h 5120141"/>
                <a:gd name="connsiteX758" fmla="*/ 1689172 w 3832826"/>
                <a:gd name="connsiteY758" fmla="*/ 3919744 h 5120141"/>
                <a:gd name="connsiteX759" fmla="*/ 1691333 w 3832826"/>
                <a:gd name="connsiteY759" fmla="*/ 3915734 h 5120141"/>
                <a:gd name="connsiteX760" fmla="*/ 1699797 w 3832826"/>
                <a:gd name="connsiteY760" fmla="*/ 3909719 h 5120141"/>
                <a:gd name="connsiteX761" fmla="*/ 1714382 w 3832826"/>
                <a:gd name="connsiteY761" fmla="*/ 3905709 h 5120141"/>
                <a:gd name="connsiteX762" fmla="*/ 1731309 w 3832826"/>
                <a:gd name="connsiteY762" fmla="*/ 3899694 h 5120141"/>
                <a:gd name="connsiteX763" fmla="*/ 1735451 w 3832826"/>
                <a:gd name="connsiteY763" fmla="*/ 3897690 h 5120141"/>
                <a:gd name="connsiteX764" fmla="*/ 1737612 w 3832826"/>
                <a:gd name="connsiteY764" fmla="*/ 3893680 h 5120141"/>
                <a:gd name="connsiteX765" fmla="*/ 1746075 w 3832826"/>
                <a:gd name="connsiteY765" fmla="*/ 3879645 h 5120141"/>
                <a:gd name="connsiteX766" fmla="*/ 1748056 w 3832826"/>
                <a:gd name="connsiteY766" fmla="*/ 3863605 h 5120141"/>
                <a:gd name="connsiteX767" fmla="*/ 1752377 w 3832826"/>
                <a:gd name="connsiteY767" fmla="*/ 3843555 h 5120141"/>
                <a:gd name="connsiteX768" fmla="*/ 1754358 w 3832826"/>
                <a:gd name="connsiteY768" fmla="*/ 3823639 h 5120141"/>
                <a:gd name="connsiteX769" fmla="*/ 1752377 w 3832826"/>
                <a:gd name="connsiteY769" fmla="*/ 3803590 h 5120141"/>
                <a:gd name="connsiteX770" fmla="*/ 1748056 w 3832826"/>
                <a:gd name="connsiteY770" fmla="*/ 3785545 h 5120141"/>
                <a:gd name="connsiteX771" fmla="*/ 1746075 w 3832826"/>
                <a:gd name="connsiteY771" fmla="*/ 3773515 h 5120141"/>
                <a:gd name="connsiteX772" fmla="*/ 1737612 w 3832826"/>
                <a:gd name="connsiteY772" fmla="*/ 3761485 h 5120141"/>
                <a:gd name="connsiteX773" fmla="*/ 1727167 w 3832826"/>
                <a:gd name="connsiteY773" fmla="*/ 3747450 h 5120141"/>
                <a:gd name="connsiteX774" fmla="*/ 1695475 w 3832826"/>
                <a:gd name="connsiteY774" fmla="*/ 3721385 h 5120141"/>
                <a:gd name="connsiteX775" fmla="*/ 1661802 w 3832826"/>
                <a:gd name="connsiteY775" fmla="*/ 3695321 h 5120141"/>
                <a:gd name="connsiteX776" fmla="*/ 1636592 w 3832826"/>
                <a:gd name="connsiteY776" fmla="*/ 3675271 h 5120141"/>
                <a:gd name="connsiteX777" fmla="*/ 1519948 w 3832826"/>
                <a:gd name="connsiteY777" fmla="*/ 3568035 h 5120141"/>
                <a:gd name="connsiteX778" fmla="*/ 1518826 w 3832826"/>
                <a:gd name="connsiteY778" fmla="*/ 3569070 h 5120141"/>
                <a:gd name="connsiteX779" fmla="*/ 1510411 w 3832826"/>
                <a:gd name="connsiteY779" fmla="*/ 3561053 h 5120141"/>
                <a:gd name="connsiteX780" fmla="*/ 1497790 w 3832826"/>
                <a:gd name="connsiteY780" fmla="*/ 3553037 h 5120141"/>
                <a:gd name="connsiteX781" fmla="*/ 1468339 w 3832826"/>
                <a:gd name="connsiteY781" fmla="*/ 3537005 h 5120141"/>
                <a:gd name="connsiteX782" fmla="*/ 1409437 w 3832826"/>
                <a:gd name="connsiteY782" fmla="*/ 3514942 h 5120141"/>
                <a:gd name="connsiteX783" fmla="*/ 1386297 w 3832826"/>
                <a:gd name="connsiteY783" fmla="*/ 3504939 h 5120141"/>
                <a:gd name="connsiteX784" fmla="*/ 1365260 w 3832826"/>
                <a:gd name="connsiteY784" fmla="*/ 3492950 h 5120141"/>
                <a:gd name="connsiteX785" fmla="*/ 1363157 w 3832826"/>
                <a:gd name="connsiteY785" fmla="*/ 3486920 h 5120141"/>
                <a:gd name="connsiteX786" fmla="*/ 1361053 w 3832826"/>
                <a:gd name="connsiteY786" fmla="*/ 3482877 h 5120141"/>
                <a:gd name="connsiteX787" fmla="*/ 1358949 w 3832826"/>
                <a:gd name="connsiteY787" fmla="*/ 3474861 h 5120141"/>
                <a:gd name="connsiteX788" fmla="*/ 1354742 w 3832826"/>
                <a:gd name="connsiteY788" fmla="*/ 3470888 h 5120141"/>
                <a:gd name="connsiteX789" fmla="*/ 1340017 w 3832826"/>
                <a:gd name="connsiteY789" fmla="*/ 3446839 h 5120141"/>
                <a:gd name="connsiteX790" fmla="*/ 1318980 w 3832826"/>
                <a:gd name="connsiteY790" fmla="*/ 3426763 h 5120141"/>
                <a:gd name="connsiteX791" fmla="*/ 1316877 w 3832826"/>
                <a:gd name="connsiteY791" fmla="*/ 3426763 h 5120141"/>
                <a:gd name="connsiteX792" fmla="*/ 1310566 w 3832826"/>
                <a:gd name="connsiteY792" fmla="*/ 3422790 h 5120141"/>
                <a:gd name="connsiteX793" fmla="*/ 1300047 w 3832826"/>
                <a:gd name="connsiteY793" fmla="*/ 3416760 h 5120141"/>
                <a:gd name="connsiteX794" fmla="*/ 1297944 w 3832826"/>
                <a:gd name="connsiteY794" fmla="*/ 3414774 h 5120141"/>
                <a:gd name="connsiteX795" fmla="*/ 1297944 w 3832826"/>
                <a:gd name="connsiteY795" fmla="*/ 3410730 h 5120141"/>
                <a:gd name="connsiteX796" fmla="*/ 1300047 w 3832826"/>
                <a:gd name="connsiteY796" fmla="*/ 3402714 h 5120141"/>
                <a:gd name="connsiteX797" fmla="*/ 1308462 w 3832826"/>
                <a:gd name="connsiteY797" fmla="*/ 3394698 h 5120141"/>
                <a:gd name="connsiteX798" fmla="*/ 1297944 w 3832826"/>
                <a:gd name="connsiteY798" fmla="*/ 3380722 h 5120141"/>
                <a:gd name="connsiteX799" fmla="*/ 1291633 w 3832826"/>
                <a:gd name="connsiteY799" fmla="*/ 3366676 h 5120141"/>
                <a:gd name="connsiteX800" fmla="*/ 1291633 w 3832826"/>
                <a:gd name="connsiteY800" fmla="*/ 3354616 h 5120141"/>
                <a:gd name="connsiteX801" fmla="*/ 1295840 w 3832826"/>
                <a:gd name="connsiteY801" fmla="*/ 3344614 h 5120141"/>
                <a:gd name="connsiteX802" fmla="*/ 1300047 w 3832826"/>
                <a:gd name="connsiteY802" fmla="*/ 3334611 h 5120141"/>
                <a:gd name="connsiteX803" fmla="*/ 1306358 w 3832826"/>
                <a:gd name="connsiteY803" fmla="*/ 3324608 h 5120141"/>
                <a:gd name="connsiteX804" fmla="*/ 1308462 w 3832826"/>
                <a:gd name="connsiteY804" fmla="*/ 3318578 h 5120141"/>
                <a:gd name="connsiteX805" fmla="*/ 1306358 w 3832826"/>
                <a:gd name="connsiteY805" fmla="*/ 3310562 h 5120141"/>
                <a:gd name="connsiteX806" fmla="*/ 1302151 w 3832826"/>
                <a:gd name="connsiteY806" fmla="*/ 3302546 h 5120141"/>
                <a:gd name="connsiteX807" fmla="*/ 1295840 w 3832826"/>
                <a:gd name="connsiteY807" fmla="*/ 3294529 h 5120141"/>
                <a:gd name="connsiteX808" fmla="*/ 1295840 w 3832826"/>
                <a:gd name="connsiteY808" fmla="*/ 3290486 h 5120141"/>
                <a:gd name="connsiteX809" fmla="*/ 1291633 w 3832826"/>
                <a:gd name="connsiteY809" fmla="*/ 3288499 h 5120141"/>
                <a:gd name="connsiteX810" fmla="*/ 1297944 w 3832826"/>
                <a:gd name="connsiteY810" fmla="*/ 3280483 h 5120141"/>
                <a:gd name="connsiteX811" fmla="*/ 1302151 w 3832826"/>
                <a:gd name="connsiteY811" fmla="*/ 3272467 h 5120141"/>
                <a:gd name="connsiteX812" fmla="*/ 1306358 w 3832826"/>
                <a:gd name="connsiteY812" fmla="*/ 3262464 h 5120141"/>
                <a:gd name="connsiteX813" fmla="*/ 1306358 w 3832826"/>
                <a:gd name="connsiteY813" fmla="*/ 3258421 h 5120141"/>
                <a:gd name="connsiteX814" fmla="*/ 1302151 w 3832826"/>
                <a:gd name="connsiteY814" fmla="*/ 3252462 h 5120141"/>
                <a:gd name="connsiteX815" fmla="*/ 1302205 w 3832826"/>
                <a:gd name="connsiteY815" fmla="*/ 3250392 h 5120141"/>
                <a:gd name="connsiteX816" fmla="*/ 1302151 w 3832826"/>
                <a:gd name="connsiteY816" fmla="*/ 3250439 h 5120141"/>
                <a:gd name="connsiteX817" fmla="*/ 1270596 w 3832826"/>
                <a:gd name="connsiteY817" fmla="*/ 3222383 h 5120141"/>
                <a:gd name="connsiteX818" fmla="*/ 1268493 w 3832826"/>
                <a:gd name="connsiteY818" fmla="*/ 3218375 h 5120141"/>
                <a:gd name="connsiteX819" fmla="*/ 1264285 w 3832826"/>
                <a:gd name="connsiteY819" fmla="*/ 3218375 h 5120141"/>
                <a:gd name="connsiteX820" fmla="*/ 1257974 w 3832826"/>
                <a:gd name="connsiteY820" fmla="*/ 3220379 h 5120141"/>
                <a:gd name="connsiteX821" fmla="*/ 1253767 w 3832826"/>
                <a:gd name="connsiteY821" fmla="*/ 3222383 h 5120141"/>
                <a:gd name="connsiteX822" fmla="*/ 1245353 w 3832826"/>
                <a:gd name="connsiteY822" fmla="*/ 3222383 h 5120141"/>
                <a:gd name="connsiteX823" fmla="*/ 1228523 w 3832826"/>
                <a:gd name="connsiteY823" fmla="*/ 3220379 h 5120141"/>
                <a:gd name="connsiteX824" fmla="*/ 1207487 w 3832826"/>
                <a:gd name="connsiteY824" fmla="*/ 3218375 h 5120141"/>
                <a:gd name="connsiteX825" fmla="*/ 1201176 w 3832826"/>
                <a:gd name="connsiteY825" fmla="*/ 3218375 h 5120141"/>
                <a:gd name="connsiteX826" fmla="*/ 1192761 w 3832826"/>
                <a:gd name="connsiteY826" fmla="*/ 3220379 h 5120141"/>
                <a:gd name="connsiteX827" fmla="*/ 1190658 w 3832826"/>
                <a:gd name="connsiteY827" fmla="*/ 3226391 h 5120141"/>
                <a:gd name="connsiteX828" fmla="*/ 1192761 w 3832826"/>
                <a:gd name="connsiteY828" fmla="*/ 3236411 h 5120141"/>
                <a:gd name="connsiteX829" fmla="*/ 1182243 w 3832826"/>
                <a:gd name="connsiteY829" fmla="*/ 3236411 h 5120141"/>
                <a:gd name="connsiteX830" fmla="*/ 1175932 w 3832826"/>
                <a:gd name="connsiteY830" fmla="*/ 3230399 h 5120141"/>
                <a:gd name="connsiteX831" fmla="*/ 1171725 w 3832826"/>
                <a:gd name="connsiteY831" fmla="*/ 3222383 h 5120141"/>
                <a:gd name="connsiteX832" fmla="*/ 1169621 w 3832826"/>
                <a:gd name="connsiteY832" fmla="*/ 3216371 h 5120141"/>
                <a:gd name="connsiteX833" fmla="*/ 1161207 w 3832826"/>
                <a:gd name="connsiteY833" fmla="*/ 3196332 h 5120141"/>
                <a:gd name="connsiteX834" fmla="*/ 1159103 w 3832826"/>
                <a:gd name="connsiteY834" fmla="*/ 3186312 h 5120141"/>
                <a:gd name="connsiteX835" fmla="*/ 1150689 w 3832826"/>
                <a:gd name="connsiteY835" fmla="*/ 3180300 h 5120141"/>
                <a:gd name="connsiteX836" fmla="*/ 1142274 w 3832826"/>
                <a:gd name="connsiteY836" fmla="*/ 3172284 h 5120141"/>
                <a:gd name="connsiteX837" fmla="*/ 1138067 w 3832826"/>
                <a:gd name="connsiteY837" fmla="*/ 3166272 h 5120141"/>
                <a:gd name="connsiteX838" fmla="*/ 1133859 w 3832826"/>
                <a:gd name="connsiteY838" fmla="*/ 3156253 h 5120141"/>
                <a:gd name="connsiteX839" fmla="*/ 1133859 w 3832826"/>
                <a:gd name="connsiteY839" fmla="*/ 3144229 h 5120141"/>
                <a:gd name="connsiteX840" fmla="*/ 1138067 w 3832826"/>
                <a:gd name="connsiteY840" fmla="*/ 3130201 h 5120141"/>
                <a:gd name="connsiteX841" fmla="*/ 1142274 w 3832826"/>
                <a:gd name="connsiteY841" fmla="*/ 3126193 h 5120141"/>
                <a:gd name="connsiteX842" fmla="*/ 1148585 w 3832826"/>
                <a:gd name="connsiteY842" fmla="*/ 3124189 h 5120141"/>
                <a:gd name="connsiteX843" fmla="*/ 1154896 w 3832826"/>
                <a:gd name="connsiteY843" fmla="*/ 3118177 h 5120141"/>
                <a:gd name="connsiteX844" fmla="*/ 1161207 w 3832826"/>
                <a:gd name="connsiteY844" fmla="*/ 3110161 h 5120141"/>
                <a:gd name="connsiteX845" fmla="*/ 1163310 w 3832826"/>
                <a:gd name="connsiteY845" fmla="*/ 3106153 h 5120141"/>
                <a:gd name="connsiteX846" fmla="*/ 1161207 w 3832826"/>
                <a:gd name="connsiteY846" fmla="*/ 3090122 h 5120141"/>
                <a:gd name="connsiteX847" fmla="*/ 1159103 w 3832826"/>
                <a:gd name="connsiteY847" fmla="*/ 3076094 h 5120141"/>
                <a:gd name="connsiteX848" fmla="*/ 1159103 w 3832826"/>
                <a:gd name="connsiteY848" fmla="*/ 3068078 h 5120141"/>
                <a:gd name="connsiteX849" fmla="*/ 1159103 w 3832826"/>
                <a:gd name="connsiteY849" fmla="*/ 3060062 h 5120141"/>
                <a:gd name="connsiteX850" fmla="*/ 1161207 w 3832826"/>
                <a:gd name="connsiteY850" fmla="*/ 3056054 h 5120141"/>
                <a:gd name="connsiteX851" fmla="*/ 1159103 w 3832826"/>
                <a:gd name="connsiteY851" fmla="*/ 3050042 h 5120141"/>
                <a:gd name="connsiteX852" fmla="*/ 1154896 w 3832826"/>
                <a:gd name="connsiteY852" fmla="*/ 3048038 h 5120141"/>
                <a:gd name="connsiteX853" fmla="*/ 1150689 w 3832826"/>
                <a:gd name="connsiteY853" fmla="*/ 3046035 h 5120141"/>
                <a:gd name="connsiteX854" fmla="*/ 1140170 w 3832826"/>
                <a:gd name="connsiteY854" fmla="*/ 3044031 h 5120141"/>
                <a:gd name="connsiteX855" fmla="*/ 1133859 w 3832826"/>
                <a:gd name="connsiteY855" fmla="*/ 3040023 h 5120141"/>
                <a:gd name="connsiteX856" fmla="*/ 1131756 w 3832826"/>
                <a:gd name="connsiteY856" fmla="*/ 3038019 h 5120141"/>
                <a:gd name="connsiteX857" fmla="*/ 1127548 w 3832826"/>
                <a:gd name="connsiteY857" fmla="*/ 3030003 h 5120141"/>
                <a:gd name="connsiteX858" fmla="*/ 1123341 w 3832826"/>
                <a:gd name="connsiteY858" fmla="*/ 3023991 h 5120141"/>
                <a:gd name="connsiteX859" fmla="*/ 1127548 w 3832826"/>
                <a:gd name="connsiteY859" fmla="*/ 3015975 h 5120141"/>
                <a:gd name="connsiteX860" fmla="*/ 1127548 w 3832826"/>
                <a:gd name="connsiteY860" fmla="*/ 3007959 h 5120141"/>
                <a:gd name="connsiteX861" fmla="*/ 1121238 w 3832826"/>
                <a:gd name="connsiteY861" fmla="*/ 2989924 h 5120141"/>
                <a:gd name="connsiteX862" fmla="*/ 1119134 w 3832826"/>
                <a:gd name="connsiteY862" fmla="*/ 2983912 h 5120141"/>
                <a:gd name="connsiteX863" fmla="*/ 1119134 w 3832826"/>
                <a:gd name="connsiteY863" fmla="*/ 2975896 h 5120141"/>
                <a:gd name="connsiteX864" fmla="*/ 1119133 w 3832826"/>
                <a:gd name="connsiteY864" fmla="*/ 2975897 h 5120141"/>
                <a:gd name="connsiteX865" fmla="*/ 1119133 w 3832826"/>
                <a:gd name="connsiteY865" fmla="*/ 2965877 h 5120141"/>
                <a:gd name="connsiteX866" fmla="*/ 1112822 w 3832826"/>
                <a:gd name="connsiteY866" fmla="*/ 2955857 h 5120141"/>
                <a:gd name="connsiteX867" fmla="*/ 1106511 w 3832826"/>
                <a:gd name="connsiteY867" fmla="*/ 2949845 h 5120141"/>
                <a:gd name="connsiteX868" fmla="*/ 1095993 w 3832826"/>
                <a:gd name="connsiteY868" fmla="*/ 2945837 h 5120141"/>
                <a:gd name="connsiteX869" fmla="*/ 1074956 w 3832826"/>
                <a:gd name="connsiteY869" fmla="*/ 2935817 h 5120141"/>
                <a:gd name="connsiteX870" fmla="*/ 1066542 w 3832826"/>
                <a:gd name="connsiteY870" fmla="*/ 2929806 h 5120141"/>
                <a:gd name="connsiteX871" fmla="*/ 1064438 w 3832826"/>
                <a:gd name="connsiteY871" fmla="*/ 2923794 h 5120141"/>
                <a:gd name="connsiteX872" fmla="*/ 1064438 w 3832826"/>
                <a:gd name="connsiteY872" fmla="*/ 2815579 h 5120141"/>
                <a:gd name="connsiteX873" fmla="*/ 1064438 w 3832826"/>
                <a:gd name="connsiteY873" fmla="*/ 2763476 h 5120141"/>
                <a:gd name="connsiteX874" fmla="*/ 1066542 w 3832826"/>
                <a:gd name="connsiteY874" fmla="*/ 2707365 h 5120141"/>
                <a:gd name="connsiteX875" fmla="*/ 1070749 w 3832826"/>
                <a:gd name="connsiteY875" fmla="*/ 2697345 h 5120141"/>
                <a:gd name="connsiteX876" fmla="*/ 1077060 w 3832826"/>
                <a:gd name="connsiteY876" fmla="*/ 2687326 h 5120141"/>
                <a:gd name="connsiteX877" fmla="*/ 1074956 w 3832826"/>
                <a:gd name="connsiteY877" fmla="*/ 2683318 h 5120141"/>
                <a:gd name="connsiteX878" fmla="*/ 1070749 w 3832826"/>
                <a:gd name="connsiteY878" fmla="*/ 2681314 h 5120141"/>
                <a:gd name="connsiteX879" fmla="*/ 1066542 w 3832826"/>
                <a:gd name="connsiteY879" fmla="*/ 2677306 h 5120141"/>
                <a:gd name="connsiteX880" fmla="*/ 1058127 w 3832826"/>
                <a:gd name="connsiteY880" fmla="*/ 2675302 h 5120141"/>
                <a:gd name="connsiteX881" fmla="*/ 1053920 w 3832826"/>
                <a:gd name="connsiteY881" fmla="*/ 2671294 h 5120141"/>
                <a:gd name="connsiteX882" fmla="*/ 1049713 w 3832826"/>
                <a:gd name="connsiteY882" fmla="*/ 2657266 h 5120141"/>
                <a:gd name="connsiteX883" fmla="*/ 1053920 w 3832826"/>
                <a:gd name="connsiteY883" fmla="*/ 2645242 h 5120141"/>
                <a:gd name="connsiteX884" fmla="*/ 1058127 w 3832826"/>
                <a:gd name="connsiteY884" fmla="*/ 2633218 h 5120141"/>
                <a:gd name="connsiteX885" fmla="*/ 1058127 w 3832826"/>
                <a:gd name="connsiteY885" fmla="*/ 2623199 h 5120141"/>
                <a:gd name="connsiteX886" fmla="*/ 1058127 w 3832826"/>
                <a:gd name="connsiteY886" fmla="*/ 2613179 h 5120141"/>
                <a:gd name="connsiteX887" fmla="*/ 1056023 w 3832826"/>
                <a:gd name="connsiteY887" fmla="*/ 2601155 h 5120141"/>
                <a:gd name="connsiteX888" fmla="*/ 1049713 w 3832826"/>
                <a:gd name="connsiteY888" fmla="*/ 2577107 h 5120141"/>
                <a:gd name="connsiteX889" fmla="*/ 1047609 w 3832826"/>
                <a:gd name="connsiteY889" fmla="*/ 2565084 h 5120141"/>
                <a:gd name="connsiteX890" fmla="*/ 1049713 w 3832826"/>
                <a:gd name="connsiteY890" fmla="*/ 2555064 h 5120141"/>
                <a:gd name="connsiteX891" fmla="*/ 1053920 w 3832826"/>
                <a:gd name="connsiteY891" fmla="*/ 2547048 h 5120141"/>
                <a:gd name="connsiteX892" fmla="*/ 1060231 w 3832826"/>
                <a:gd name="connsiteY892" fmla="*/ 2543040 h 5120141"/>
                <a:gd name="connsiteX893" fmla="*/ 1058389 w 3832826"/>
                <a:gd name="connsiteY893" fmla="*/ 2529007 h 5120141"/>
                <a:gd name="connsiteX894" fmla="*/ 1056029 w 3832826"/>
                <a:gd name="connsiteY894" fmla="*/ 2529007 h 5120141"/>
                <a:gd name="connsiteX895" fmla="*/ 1049713 w 3832826"/>
                <a:gd name="connsiteY895" fmla="*/ 2535024 h 5120141"/>
                <a:gd name="connsiteX896" fmla="*/ 1049713 w 3832826"/>
                <a:gd name="connsiteY896" fmla="*/ 2533020 h 5120141"/>
                <a:gd name="connsiteX897" fmla="*/ 1049713 w 3832826"/>
                <a:gd name="connsiteY897" fmla="*/ 2529007 h 5120141"/>
                <a:gd name="connsiteX898" fmla="*/ 904562 w 3832826"/>
                <a:gd name="connsiteY898" fmla="*/ 2529007 h 5120141"/>
                <a:gd name="connsiteX899" fmla="*/ 904562 w 3832826"/>
                <a:gd name="connsiteY899" fmla="*/ 2129394 h 5120141"/>
                <a:gd name="connsiteX900" fmla="*/ 889837 w 3832826"/>
                <a:gd name="connsiteY900" fmla="*/ 2130219 h 5120141"/>
                <a:gd name="connsiteX901" fmla="*/ 868800 w 3832826"/>
                <a:gd name="connsiteY901" fmla="*/ 2132223 h 5120141"/>
                <a:gd name="connsiteX902" fmla="*/ 841453 w 3832826"/>
                <a:gd name="connsiteY902" fmla="*/ 2130219 h 5120141"/>
                <a:gd name="connsiteX903" fmla="*/ 816209 w 3832826"/>
                <a:gd name="connsiteY903" fmla="*/ 2132223 h 5120141"/>
                <a:gd name="connsiteX904" fmla="*/ 793069 w 3832826"/>
                <a:gd name="connsiteY904" fmla="*/ 2140239 h 5120141"/>
                <a:gd name="connsiteX905" fmla="*/ 769929 w 3832826"/>
                <a:gd name="connsiteY905" fmla="*/ 2150258 h 5120141"/>
                <a:gd name="connsiteX906" fmla="*/ 748892 w 3832826"/>
                <a:gd name="connsiteY906" fmla="*/ 2162282 h 5120141"/>
                <a:gd name="connsiteX907" fmla="*/ 738374 w 3832826"/>
                <a:gd name="connsiteY907" fmla="*/ 2164286 h 5120141"/>
                <a:gd name="connsiteX908" fmla="*/ 732063 w 3832826"/>
                <a:gd name="connsiteY908" fmla="*/ 2164286 h 5120141"/>
                <a:gd name="connsiteX909" fmla="*/ 725752 w 3832826"/>
                <a:gd name="connsiteY909" fmla="*/ 2162282 h 5120141"/>
                <a:gd name="connsiteX910" fmla="*/ 704716 w 3832826"/>
                <a:gd name="connsiteY910" fmla="*/ 2152262 h 5120141"/>
                <a:gd name="connsiteX911" fmla="*/ 692094 w 3832826"/>
                <a:gd name="connsiteY911" fmla="*/ 2150258 h 5120141"/>
                <a:gd name="connsiteX912" fmla="*/ 677369 w 3832826"/>
                <a:gd name="connsiteY912" fmla="*/ 2150258 h 5120141"/>
                <a:gd name="connsiteX913" fmla="*/ 677369 w 3832826"/>
                <a:gd name="connsiteY913" fmla="*/ 2140239 h 5120141"/>
                <a:gd name="connsiteX914" fmla="*/ 675265 w 3832826"/>
                <a:gd name="connsiteY914" fmla="*/ 2128215 h 5120141"/>
                <a:gd name="connsiteX915" fmla="*/ 664747 w 3832826"/>
                <a:gd name="connsiteY915" fmla="*/ 2104167 h 5120141"/>
                <a:gd name="connsiteX916" fmla="*/ 643710 w 3832826"/>
                <a:gd name="connsiteY916" fmla="*/ 2062084 h 5120141"/>
                <a:gd name="connsiteX917" fmla="*/ 639503 w 3832826"/>
                <a:gd name="connsiteY917" fmla="*/ 2060080 h 5120141"/>
                <a:gd name="connsiteX918" fmla="*/ 633192 w 3832826"/>
                <a:gd name="connsiteY918" fmla="*/ 2056072 h 5120141"/>
                <a:gd name="connsiteX919" fmla="*/ 635296 w 3832826"/>
                <a:gd name="connsiteY919" fmla="*/ 2050060 h 5120141"/>
                <a:gd name="connsiteX920" fmla="*/ 635296 w 3832826"/>
                <a:gd name="connsiteY920" fmla="*/ 2042044 h 5120141"/>
                <a:gd name="connsiteX921" fmla="*/ 624777 w 3832826"/>
                <a:gd name="connsiteY921" fmla="*/ 2028016 h 5120141"/>
                <a:gd name="connsiteX922" fmla="*/ 612156 w 3832826"/>
                <a:gd name="connsiteY922" fmla="*/ 2009980 h 5120141"/>
                <a:gd name="connsiteX923" fmla="*/ 591119 w 3832826"/>
                <a:gd name="connsiteY923" fmla="*/ 1967897 h 5120141"/>
                <a:gd name="connsiteX924" fmla="*/ 570083 w 3832826"/>
                <a:gd name="connsiteY924" fmla="*/ 1925813 h 5120141"/>
                <a:gd name="connsiteX925" fmla="*/ 561668 w 3832826"/>
                <a:gd name="connsiteY925" fmla="*/ 1909781 h 5120141"/>
                <a:gd name="connsiteX926" fmla="*/ 555357 w 3832826"/>
                <a:gd name="connsiteY926" fmla="*/ 1897757 h 5120141"/>
                <a:gd name="connsiteX927" fmla="*/ 544839 w 3832826"/>
                <a:gd name="connsiteY927" fmla="*/ 1887738 h 5120141"/>
                <a:gd name="connsiteX928" fmla="*/ 530114 w 3832826"/>
                <a:gd name="connsiteY928" fmla="*/ 1879722 h 5120141"/>
                <a:gd name="connsiteX929" fmla="*/ 517492 w 3832826"/>
                <a:gd name="connsiteY929" fmla="*/ 1877718 h 5120141"/>
                <a:gd name="connsiteX930" fmla="*/ 502766 w 3832826"/>
                <a:gd name="connsiteY930" fmla="*/ 1877718 h 5120141"/>
                <a:gd name="connsiteX931" fmla="*/ 488041 w 3832826"/>
                <a:gd name="connsiteY931" fmla="*/ 1877718 h 5120141"/>
                <a:gd name="connsiteX932" fmla="*/ 481730 w 3832826"/>
                <a:gd name="connsiteY932" fmla="*/ 1875714 h 5120141"/>
                <a:gd name="connsiteX933" fmla="*/ 473315 w 3832826"/>
                <a:gd name="connsiteY933" fmla="*/ 1873710 h 5120141"/>
                <a:gd name="connsiteX934" fmla="*/ 473315 w 3832826"/>
                <a:gd name="connsiteY934" fmla="*/ 1857678 h 5120141"/>
                <a:gd name="connsiteX935" fmla="*/ 471212 w 3832826"/>
                <a:gd name="connsiteY935" fmla="*/ 1847658 h 5120141"/>
                <a:gd name="connsiteX936" fmla="*/ 462797 w 3832826"/>
                <a:gd name="connsiteY936" fmla="*/ 1829622 h 5120141"/>
                <a:gd name="connsiteX937" fmla="*/ 462797 w 3832826"/>
                <a:gd name="connsiteY937" fmla="*/ 1823611 h 5120141"/>
                <a:gd name="connsiteX938" fmla="*/ 467004 w 3832826"/>
                <a:gd name="connsiteY938" fmla="*/ 1817599 h 5120141"/>
                <a:gd name="connsiteX939" fmla="*/ 481730 w 3832826"/>
                <a:gd name="connsiteY939" fmla="*/ 1815595 h 5120141"/>
                <a:gd name="connsiteX940" fmla="*/ 491767 w 3832826"/>
                <a:gd name="connsiteY940" fmla="*/ 1801335 h 5120141"/>
                <a:gd name="connsiteX941" fmla="*/ 486799 w 3832826"/>
                <a:gd name="connsiteY941" fmla="*/ 1797561 h 5120141"/>
                <a:gd name="connsiteX942" fmla="*/ 476248 w 3832826"/>
                <a:gd name="connsiteY942" fmla="*/ 1787541 h 5120141"/>
                <a:gd name="connsiteX943" fmla="*/ 465697 w 3832826"/>
                <a:gd name="connsiteY943" fmla="*/ 1779525 h 5120141"/>
                <a:gd name="connsiteX944" fmla="*/ 463587 w 3832826"/>
                <a:gd name="connsiteY944" fmla="*/ 1775517 h 5120141"/>
                <a:gd name="connsiteX945" fmla="*/ 463587 w 3832826"/>
                <a:gd name="connsiteY945" fmla="*/ 1769505 h 5120141"/>
                <a:gd name="connsiteX946" fmla="*/ 463587 w 3832826"/>
                <a:gd name="connsiteY946" fmla="*/ 1757481 h 5120141"/>
                <a:gd name="connsiteX947" fmla="*/ 465697 w 3832826"/>
                <a:gd name="connsiteY947" fmla="*/ 1747461 h 5120141"/>
                <a:gd name="connsiteX948" fmla="*/ 463587 w 3832826"/>
                <a:gd name="connsiteY948" fmla="*/ 1737442 h 5120141"/>
                <a:gd name="connsiteX949" fmla="*/ 455146 w 3832826"/>
                <a:gd name="connsiteY949" fmla="*/ 1735438 h 5120141"/>
                <a:gd name="connsiteX950" fmla="*/ 438265 w 3832826"/>
                <a:gd name="connsiteY950" fmla="*/ 1729426 h 5120141"/>
                <a:gd name="connsiteX951" fmla="*/ 423494 w 3832826"/>
                <a:gd name="connsiteY951" fmla="*/ 1723414 h 5120141"/>
                <a:gd name="connsiteX952" fmla="*/ 415054 w 3832826"/>
                <a:gd name="connsiteY952" fmla="*/ 1717402 h 5120141"/>
                <a:gd name="connsiteX953" fmla="*/ 412943 w 3832826"/>
                <a:gd name="connsiteY953" fmla="*/ 1715398 h 5120141"/>
                <a:gd name="connsiteX954" fmla="*/ 406613 w 3832826"/>
                <a:gd name="connsiteY954" fmla="*/ 1699366 h 5120141"/>
                <a:gd name="connsiteX955" fmla="*/ 404503 w 3832826"/>
                <a:gd name="connsiteY955" fmla="*/ 1677323 h 5120141"/>
                <a:gd name="connsiteX956" fmla="*/ 404503 w 3832826"/>
                <a:gd name="connsiteY956" fmla="*/ 1657283 h 5120141"/>
                <a:gd name="connsiteX957" fmla="*/ 406613 w 3832826"/>
                <a:gd name="connsiteY957" fmla="*/ 1643255 h 5120141"/>
                <a:gd name="connsiteX958" fmla="*/ 410833 w 3832826"/>
                <a:gd name="connsiteY958" fmla="*/ 1637243 h 5120141"/>
                <a:gd name="connsiteX959" fmla="*/ 415054 w 3832826"/>
                <a:gd name="connsiteY959" fmla="*/ 1635239 h 5120141"/>
                <a:gd name="connsiteX960" fmla="*/ 421384 w 3832826"/>
                <a:gd name="connsiteY960" fmla="*/ 1631231 h 5120141"/>
                <a:gd name="connsiteX961" fmla="*/ 421384 w 3832826"/>
                <a:gd name="connsiteY961" fmla="*/ 1621212 h 5120141"/>
                <a:gd name="connsiteX962" fmla="*/ 417164 w 3832826"/>
                <a:gd name="connsiteY962" fmla="*/ 1613196 h 5120141"/>
                <a:gd name="connsiteX963" fmla="*/ 406613 w 3832826"/>
                <a:gd name="connsiteY963" fmla="*/ 1605180 h 5120141"/>
                <a:gd name="connsiteX964" fmla="*/ 391842 w 3832826"/>
                <a:gd name="connsiteY964" fmla="*/ 1593156 h 5120141"/>
                <a:gd name="connsiteX965" fmla="*/ 374961 w 3832826"/>
                <a:gd name="connsiteY965" fmla="*/ 1587144 h 5120141"/>
                <a:gd name="connsiteX966" fmla="*/ 355969 w 3832826"/>
                <a:gd name="connsiteY966" fmla="*/ 1585140 h 5120141"/>
                <a:gd name="connsiteX967" fmla="*/ 317987 w 3832826"/>
                <a:gd name="connsiteY967" fmla="*/ 1581132 h 5120141"/>
                <a:gd name="connsiteX968" fmla="*/ 296885 w 3832826"/>
                <a:gd name="connsiteY968" fmla="*/ 1577124 h 5120141"/>
                <a:gd name="connsiteX969" fmla="*/ 277894 w 3832826"/>
                <a:gd name="connsiteY969" fmla="*/ 1571112 h 5120141"/>
                <a:gd name="connsiteX970" fmla="*/ 263123 w 3832826"/>
                <a:gd name="connsiteY970" fmla="*/ 1561093 h 5120141"/>
                <a:gd name="connsiteX971" fmla="*/ 246242 w 3832826"/>
                <a:gd name="connsiteY971" fmla="*/ 1545061 h 5120141"/>
                <a:gd name="connsiteX972" fmla="*/ 229361 w 3832826"/>
                <a:gd name="connsiteY972" fmla="*/ 1533037 h 5120141"/>
                <a:gd name="connsiteX973" fmla="*/ 220920 w 3832826"/>
                <a:gd name="connsiteY973" fmla="*/ 1523017 h 5120141"/>
                <a:gd name="connsiteX974" fmla="*/ 212479 w 3832826"/>
                <a:gd name="connsiteY974" fmla="*/ 1515001 h 5120141"/>
                <a:gd name="connsiteX975" fmla="*/ 210369 w 3832826"/>
                <a:gd name="connsiteY975" fmla="*/ 1504982 h 5120141"/>
                <a:gd name="connsiteX976" fmla="*/ 208259 w 3832826"/>
                <a:gd name="connsiteY976" fmla="*/ 1494962 h 5120141"/>
                <a:gd name="connsiteX977" fmla="*/ 210369 w 3832826"/>
                <a:gd name="connsiteY977" fmla="*/ 1486946 h 5120141"/>
                <a:gd name="connsiteX978" fmla="*/ 218810 w 3832826"/>
                <a:gd name="connsiteY978" fmla="*/ 1476926 h 5120141"/>
                <a:gd name="connsiteX979" fmla="*/ 223030 w 3832826"/>
                <a:gd name="connsiteY979" fmla="*/ 1472918 h 5120141"/>
                <a:gd name="connsiteX980" fmla="*/ 223030 w 3832826"/>
                <a:gd name="connsiteY980" fmla="*/ 1464902 h 5120141"/>
                <a:gd name="connsiteX981" fmla="*/ 214590 w 3832826"/>
                <a:gd name="connsiteY981" fmla="*/ 1450874 h 5120141"/>
                <a:gd name="connsiteX982" fmla="*/ 212479 w 3832826"/>
                <a:gd name="connsiteY982" fmla="*/ 1444863 h 5120141"/>
                <a:gd name="connsiteX983" fmla="*/ 214590 w 3832826"/>
                <a:gd name="connsiteY983" fmla="*/ 1442859 h 5120141"/>
                <a:gd name="connsiteX984" fmla="*/ 220920 w 3832826"/>
                <a:gd name="connsiteY984" fmla="*/ 1442859 h 5120141"/>
                <a:gd name="connsiteX985" fmla="*/ 235691 w 3832826"/>
                <a:gd name="connsiteY985" fmla="*/ 1444863 h 5120141"/>
                <a:gd name="connsiteX986" fmla="*/ 242685 w 3832826"/>
                <a:gd name="connsiteY986" fmla="*/ 1444830 h 5120141"/>
                <a:gd name="connsiteX987" fmla="*/ 239592 w 3832826"/>
                <a:gd name="connsiteY987" fmla="*/ 1442715 h 5120141"/>
                <a:gd name="connsiteX988" fmla="*/ 240798 w 3832826"/>
                <a:gd name="connsiteY988" fmla="*/ 1440839 h 5120141"/>
                <a:gd name="connsiteX989" fmla="*/ 237706 w 3832826"/>
                <a:gd name="connsiteY989" fmla="*/ 1440853 h 5120141"/>
                <a:gd name="connsiteX990" fmla="*/ 241926 w 3832826"/>
                <a:gd name="connsiteY990" fmla="*/ 1378746 h 5120141"/>
                <a:gd name="connsiteX991" fmla="*/ 241926 w 3832826"/>
                <a:gd name="connsiteY991" fmla="*/ 1346677 h 5120141"/>
                <a:gd name="connsiteX992" fmla="*/ 237706 w 3832826"/>
                <a:gd name="connsiteY992" fmla="*/ 1316605 h 5120141"/>
                <a:gd name="connsiteX993" fmla="*/ 237706 w 3832826"/>
                <a:gd name="connsiteY993" fmla="*/ 1314609 h 5120141"/>
                <a:gd name="connsiteX994" fmla="*/ 237706 w 3832826"/>
                <a:gd name="connsiteY994" fmla="*/ 1300571 h 5120141"/>
                <a:gd name="connsiteX995" fmla="*/ 237706 w 3832826"/>
                <a:gd name="connsiteY995" fmla="*/ 1290558 h 5120141"/>
                <a:gd name="connsiteX996" fmla="*/ 237706 w 3832826"/>
                <a:gd name="connsiteY996" fmla="*/ 1288562 h 5120141"/>
                <a:gd name="connsiteX997" fmla="*/ 235558 w 3832826"/>
                <a:gd name="connsiteY997" fmla="*/ 1286533 h 5120141"/>
                <a:gd name="connsiteX998" fmla="*/ 231412 w 3832826"/>
                <a:gd name="connsiteY998" fmla="*/ 1284537 h 5120141"/>
                <a:gd name="connsiteX999" fmla="*/ 223044 w 3832826"/>
                <a:gd name="connsiteY999" fmla="*/ 1284537 h 5120141"/>
                <a:gd name="connsiteX1000" fmla="*/ 132485 w 3832826"/>
                <a:gd name="connsiteY1000" fmla="*/ 1284537 h 5120141"/>
                <a:gd name="connsiteX1001" fmla="*/ 132485 w 3832826"/>
                <a:gd name="connsiteY1001" fmla="*/ 1226421 h 5120141"/>
                <a:gd name="connsiteX1002" fmla="*/ 130486 w 3832826"/>
                <a:gd name="connsiteY1002" fmla="*/ 1194353 h 5120141"/>
                <a:gd name="connsiteX1003" fmla="*/ 128264 w 3832826"/>
                <a:gd name="connsiteY1003" fmla="*/ 1184340 h 5120141"/>
                <a:gd name="connsiteX1004" fmla="*/ 126191 w 3832826"/>
                <a:gd name="connsiteY1004" fmla="*/ 1178319 h 5120141"/>
                <a:gd name="connsiteX1005" fmla="*/ 122045 w 3832826"/>
                <a:gd name="connsiteY1005" fmla="*/ 1178319 h 5120141"/>
                <a:gd name="connsiteX1006" fmla="*/ 117750 w 3832826"/>
                <a:gd name="connsiteY1006" fmla="*/ 1176323 h 5120141"/>
                <a:gd name="connsiteX1007" fmla="*/ 117750 w 3832826"/>
                <a:gd name="connsiteY1007" fmla="*/ 1174327 h 5120141"/>
                <a:gd name="connsiteX1008" fmla="*/ 117750 w 3832826"/>
                <a:gd name="connsiteY1008" fmla="*/ 1164314 h 5120141"/>
                <a:gd name="connsiteX1009" fmla="*/ 117750 w 3832826"/>
                <a:gd name="connsiteY1009" fmla="*/ 1158293 h 5120141"/>
                <a:gd name="connsiteX1010" fmla="*/ 115751 w 3832826"/>
                <a:gd name="connsiteY1010" fmla="*/ 1154301 h 5120141"/>
                <a:gd name="connsiteX1011" fmla="*/ 111456 w 3832826"/>
                <a:gd name="connsiteY1011" fmla="*/ 1152272 h 5120141"/>
                <a:gd name="connsiteX1012" fmla="*/ 105162 w 3832826"/>
                <a:gd name="connsiteY1012" fmla="*/ 1148280 h 5120141"/>
                <a:gd name="connsiteX1013" fmla="*/ 100941 w 3832826"/>
                <a:gd name="connsiteY1013" fmla="*/ 1148280 h 5120141"/>
                <a:gd name="connsiteX1014" fmla="*/ 98868 w 3832826"/>
                <a:gd name="connsiteY1014" fmla="*/ 1144255 h 5120141"/>
                <a:gd name="connsiteX1015" fmla="*/ 98868 w 3832826"/>
                <a:gd name="connsiteY1015" fmla="*/ 1134242 h 5120141"/>
                <a:gd name="connsiteX1016" fmla="*/ 98868 w 3832826"/>
                <a:gd name="connsiteY1016" fmla="*/ 1112205 h 5120141"/>
                <a:gd name="connsiteX1017" fmla="*/ 96768 w 3832826"/>
                <a:gd name="connsiteY1017" fmla="*/ 1112205 h 5120141"/>
                <a:gd name="connsiteX1018" fmla="*/ 84146 w 3832826"/>
                <a:gd name="connsiteY1018" fmla="*/ 1076133 h 5120141"/>
                <a:gd name="connsiteX1019" fmla="*/ 82042 w 3832826"/>
                <a:gd name="connsiteY1019" fmla="*/ 1056094 h 5120141"/>
                <a:gd name="connsiteX1020" fmla="*/ 84146 w 3832826"/>
                <a:gd name="connsiteY1020" fmla="*/ 1046074 h 5120141"/>
                <a:gd name="connsiteX1021" fmla="*/ 86250 w 3832826"/>
                <a:gd name="connsiteY1021" fmla="*/ 1036054 h 5120141"/>
                <a:gd name="connsiteX1022" fmla="*/ 96768 w 3832826"/>
                <a:gd name="connsiteY1022" fmla="*/ 1018018 h 5120141"/>
                <a:gd name="connsiteX1023" fmla="*/ 103079 w 3832826"/>
                <a:gd name="connsiteY1023" fmla="*/ 1003990 h 5120141"/>
                <a:gd name="connsiteX1024" fmla="*/ 103079 w 3832826"/>
                <a:gd name="connsiteY1024" fmla="*/ 995974 h 5120141"/>
                <a:gd name="connsiteX1025" fmla="*/ 103079 w 3832826"/>
                <a:gd name="connsiteY1025" fmla="*/ 987959 h 5120141"/>
                <a:gd name="connsiteX1026" fmla="*/ 92561 w 3832826"/>
                <a:gd name="connsiteY1026" fmla="*/ 965915 h 5120141"/>
                <a:gd name="connsiteX1027" fmla="*/ 73628 w 3832826"/>
                <a:gd name="connsiteY1027" fmla="*/ 903792 h 5120141"/>
                <a:gd name="connsiteX1028" fmla="*/ 67317 w 3832826"/>
                <a:gd name="connsiteY1028" fmla="*/ 869724 h 5120141"/>
                <a:gd name="connsiteX1029" fmla="*/ 63110 w 3832826"/>
                <a:gd name="connsiteY1029" fmla="*/ 837661 h 5120141"/>
                <a:gd name="connsiteX1030" fmla="*/ 63110 w 3832826"/>
                <a:gd name="connsiteY1030" fmla="*/ 823633 h 5120141"/>
                <a:gd name="connsiteX1031" fmla="*/ 65213 w 3832826"/>
                <a:gd name="connsiteY1031" fmla="*/ 807601 h 5120141"/>
                <a:gd name="connsiteX1032" fmla="*/ 65213 w 3832826"/>
                <a:gd name="connsiteY1032" fmla="*/ 781549 h 5120141"/>
                <a:gd name="connsiteX1033" fmla="*/ 63110 w 3832826"/>
                <a:gd name="connsiteY1033" fmla="*/ 767522 h 5120141"/>
                <a:gd name="connsiteX1034" fmla="*/ 56799 w 3832826"/>
                <a:gd name="connsiteY1034" fmla="*/ 757502 h 5120141"/>
                <a:gd name="connsiteX1035" fmla="*/ 46281 w 3832826"/>
                <a:gd name="connsiteY1035" fmla="*/ 747482 h 5120141"/>
                <a:gd name="connsiteX1036" fmla="*/ 29452 w 3832826"/>
                <a:gd name="connsiteY1036" fmla="*/ 741470 h 5120141"/>
                <a:gd name="connsiteX1037" fmla="*/ 27348 w 3832826"/>
                <a:gd name="connsiteY1037" fmla="*/ 733454 h 5120141"/>
                <a:gd name="connsiteX1038" fmla="*/ 29452 w 3832826"/>
                <a:gd name="connsiteY1038" fmla="*/ 725438 h 5120141"/>
                <a:gd name="connsiteX1039" fmla="*/ 31555 w 3832826"/>
                <a:gd name="connsiteY1039" fmla="*/ 717422 h 5120141"/>
                <a:gd name="connsiteX1040" fmla="*/ 39970 w 3832826"/>
                <a:gd name="connsiteY1040" fmla="*/ 711410 h 5120141"/>
                <a:gd name="connsiteX1041" fmla="*/ 46281 w 3832826"/>
                <a:gd name="connsiteY1041" fmla="*/ 705398 h 5120141"/>
                <a:gd name="connsiteX1042" fmla="*/ 52880 w 3832826"/>
                <a:gd name="connsiteY1042" fmla="*/ 703827 h 5120141"/>
                <a:gd name="connsiteX1043" fmla="*/ 52638 w 3832826"/>
                <a:gd name="connsiteY1043" fmla="*/ 703357 h 5120141"/>
                <a:gd name="connsiteX1044" fmla="*/ 44132 w 3832826"/>
                <a:gd name="connsiteY1044" fmla="*/ 705433 h 5120141"/>
                <a:gd name="connsiteX1045" fmla="*/ 37845 w 3832826"/>
                <a:gd name="connsiteY1045" fmla="*/ 711439 h 5120141"/>
                <a:gd name="connsiteX1046" fmla="*/ 29462 w 3832826"/>
                <a:gd name="connsiteY1046" fmla="*/ 717445 h 5120141"/>
                <a:gd name="connsiteX1047" fmla="*/ 27367 w 3832826"/>
                <a:gd name="connsiteY1047" fmla="*/ 725453 h 5120141"/>
                <a:gd name="connsiteX1048" fmla="*/ 25271 w 3832826"/>
                <a:gd name="connsiteY1048" fmla="*/ 733461 h 5120141"/>
                <a:gd name="connsiteX1049" fmla="*/ 27367 w 3832826"/>
                <a:gd name="connsiteY1049" fmla="*/ 741469 h 5120141"/>
                <a:gd name="connsiteX1050" fmla="*/ 16888 w 3832826"/>
                <a:gd name="connsiteY1050" fmla="*/ 737465 h 5120141"/>
                <a:gd name="connsiteX1051" fmla="*/ 10478 w 3832826"/>
                <a:gd name="connsiteY1051" fmla="*/ 733461 h 5120141"/>
                <a:gd name="connsiteX1052" fmla="*/ 6287 w 3832826"/>
                <a:gd name="connsiteY1052" fmla="*/ 727455 h 5120141"/>
                <a:gd name="connsiteX1053" fmla="*/ 4191 w 3832826"/>
                <a:gd name="connsiteY1053" fmla="*/ 721449 h 5120141"/>
                <a:gd name="connsiteX1054" fmla="*/ 0 w 3832826"/>
                <a:gd name="connsiteY1054" fmla="*/ 713441 h 5120141"/>
                <a:gd name="connsiteX1055" fmla="*/ 4191 w 3832826"/>
                <a:gd name="connsiteY1055" fmla="*/ 705433 h 5120141"/>
                <a:gd name="connsiteX1056" fmla="*/ 8383 w 3832826"/>
                <a:gd name="connsiteY1056" fmla="*/ 691346 h 5120141"/>
                <a:gd name="connsiteX1057" fmla="*/ 16888 w 3832826"/>
                <a:gd name="connsiteY1057" fmla="*/ 673328 h 5120141"/>
                <a:gd name="connsiteX1058" fmla="*/ 27367 w 3832826"/>
                <a:gd name="connsiteY1058" fmla="*/ 657312 h 5120141"/>
                <a:gd name="connsiteX1059" fmla="*/ 44132 w 3832826"/>
                <a:gd name="connsiteY1059" fmla="*/ 637292 h 5120141"/>
                <a:gd name="connsiteX1060" fmla="*/ 50542 w 3832826"/>
                <a:gd name="connsiteY1060" fmla="*/ 631287 h 5120141"/>
                <a:gd name="connsiteX1061" fmla="*/ 52638 w 3832826"/>
                <a:gd name="connsiteY1061" fmla="*/ 625206 h 5120141"/>
                <a:gd name="connsiteX1062" fmla="*/ 52638 w 3832826"/>
                <a:gd name="connsiteY1062" fmla="*/ 623205 h 5120141"/>
                <a:gd name="connsiteX1063" fmla="*/ 63116 w 3832826"/>
                <a:gd name="connsiteY1063" fmla="*/ 621203 h 5120141"/>
                <a:gd name="connsiteX1064" fmla="*/ 75690 w 3832826"/>
                <a:gd name="connsiteY1064" fmla="*/ 617199 h 5120141"/>
                <a:gd name="connsiteX1065" fmla="*/ 86291 w 3832826"/>
                <a:gd name="connsiteY1065" fmla="*/ 611193 h 5120141"/>
                <a:gd name="connsiteX1066" fmla="*/ 100961 w 3832826"/>
                <a:gd name="connsiteY1066" fmla="*/ 599181 h 5120141"/>
                <a:gd name="connsiteX1067" fmla="*/ 107248 w 3832826"/>
                <a:gd name="connsiteY1067" fmla="*/ 595177 h 5120141"/>
                <a:gd name="connsiteX1068" fmla="*/ 113658 w 3832826"/>
                <a:gd name="connsiteY1068" fmla="*/ 595177 h 5120141"/>
                <a:gd name="connsiteX1069" fmla="*/ 117849 w 3832826"/>
                <a:gd name="connsiteY1069" fmla="*/ 599181 h 5120141"/>
                <a:gd name="connsiteX1070" fmla="*/ 136710 w 3832826"/>
                <a:gd name="connsiteY1070" fmla="*/ 579161 h 5120141"/>
                <a:gd name="connsiteX1071" fmla="*/ 147311 w 3832826"/>
                <a:gd name="connsiteY1071" fmla="*/ 569151 h 5120141"/>
                <a:gd name="connsiteX1072" fmla="*/ 153598 w 3832826"/>
                <a:gd name="connsiteY1072" fmla="*/ 559142 h 5120141"/>
                <a:gd name="connsiteX1073" fmla="*/ 157790 w 3832826"/>
                <a:gd name="connsiteY1073" fmla="*/ 551060 h 5120141"/>
                <a:gd name="connsiteX1074" fmla="*/ 164077 w 3832826"/>
                <a:gd name="connsiteY1074" fmla="*/ 549058 h 5120141"/>
                <a:gd name="connsiteX1075" fmla="*/ 176650 w 3832826"/>
                <a:gd name="connsiteY1075" fmla="*/ 543052 h 5120141"/>
                <a:gd name="connsiteX1076" fmla="*/ 185156 w 3832826"/>
                <a:gd name="connsiteY1076" fmla="*/ 541050 h 5120141"/>
                <a:gd name="connsiteX1077" fmla="*/ 189348 w 3832826"/>
                <a:gd name="connsiteY1077" fmla="*/ 539048 h 5120141"/>
                <a:gd name="connsiteX1078" fmla="*/ 195634 w 3832826"/>
                <a:gd name="connsiteY1078" fmla="*/ 533042 h 5120141"/>
                <a:gd name="connsiteX1079" fmla="*/ 197730 w 3832826"/>
                <a:gd name="connsiteY1079" fmla="*/ 525034 h 5120141"/>
                <a:gd name="connsiteX1080" fmla="*/ 201921 w 3832826"/>
                <a:gd name="connsiteY1080" fmla="*/ 521030 h 5120141"/>
                <a:gd name="connsiteX1081" fmla="*/ 212523 w 3832826"/>
                <a:gd name="connsiteY1081" fmla="*/ 511020 h 5120141"/>
                <a:gd name="connsiteX1082" fmla="*/ 233480 w 3832826"/>
                <a:gd name="connsiteY1082" fmla="*/ 495005 h 5120141"/>
                <a:gd name="connsiteX1083" fmla="*/ 250368 w 3832826"/>
                <a:gd name="connsiteY1083" fmla="*/ 491001 h 5120141"/>
                <a:gd name="connsiteX1084" fmla="*/ 260846 w 3832826"/>
                <a:gd name="connsiteY1084" fmla="*/ 488999 h 5120141"/>
                <a:gd name="connsiteX1085" fmla="*/ 260846 w 3832826"/>
                <a:gd name="connsiteY1085" fmla="*/ 484995 h 5120141"/>
                <a:gd name="connsiteX1086" fmla="*/ 260846 w 3832826"/>
                <a:gd name="connsiteY1086" fmla="*/ 480917 h 5120141"/>
                <a:gd name="connsiteX1087" fmla="*/ 252464 w 3832826"/>
                <a:gd name="connsiteY1087" fmla="*/ 462899 h 5120141"/>
                <a:gd name="connsiteX1088" fmla="*/ 233480 w 3832826"/>
                <a:gd name="connsiteY1088" fmla="*/ 428866 h 5120141"/>
                <a:gd name="connsiteX1089" fmla="*/ 229288 w 3832826"/>
                <a:gd name="connsiteY1089" fmla="*/ 414852 h 5120141"/>
                <a:gd name="connsiteX1090" fmla="*/ 227193 w 3832826"/>
                <a:gd name="connsiteY1090" fmla="*/ 404768 h 5120141"/>
                <a:gd name="connsiteX1091" fmla="*/ 227193 w 3832826"/>
                <a:gd name="connsiteY1091" fmla="*/ 398762 h 5120141"/>
                <a:gd name="connsiteX1092" fmla="*/ 229288 w 3832826"/>
                <a:gd name="connsiteY1092" fmla="*/ 396760 h 5120141"/>
                <a:gd name="connsiteX1093" fmla="*/ 231384 w 3832826"/>
                <a:gd name="connsiteY1093" fmla="*/ 396760 h 5120141"/>
                <a:gd name="connsiteX1094" fmla="*/ 239766 w 3832826"/>
                <a:gd name="connsiteY1094" fmla="*/ 392756 h 5120141"/>
                <a:gd name="connsiteX1095" fmla="*/ 241862 w 3832826"/>
                <a:gd name="connsiteY1095" fmla="*/ 390754 h 5120141"/>
                <a:gd name="connsiteX1096" fmla="*/ 244081 w 3832826"/>
                <a:gd name="connsiteY1096" fmla="*/ 388752 h 5120141"/>
                <a:gd name="connsiteX1097" fmla="*/ 244081 w 3832826"/>
                <a:gd name="connsiteY1097" fmla="*/ 382746 h 5120141"/>
                <a:gd name="connsiteX1098" fmla="*/ 244081 w 3832826"/>
                <a:gd name="connsiteY1098" fmla="*/ 372736 h 5120141"/>
                <a:gd name="connsiteX1099" fmla="*/ 244081 w 3832826"/>
                <a:gd name="connsiteY1099" fmla="*/ 362726 h 5120141"/>
                <a:gd name="connsiteX1100" fmla="*/ 250368 w 3832826"/>
                <a:gd name="connsiteY1100" fmla="*/ 356721 h 5120141"/>
                <a:gd name="connsiteX1101" fmla="*/ 252464 w 3832826"/>
                <a:gd name="connsiteY1101" fmla="*/ 350715 h 5120141"/>
                <a:gd name="connsiteX1102" fmla="*/ 262942 w 3832826"/>
                <a:gd name="connsiteY1102" fmla="*/ 342707 h 5120141"/>
                <a:gd name="connsiteX1103" fmla="*/ 273420 w 3832826"/>
                <a:gd name="connsiteY1103" fmla="*/ 338703 h 5120141"/>
                <a:gd name="connsiteX1104" fmla="*/ 284022 w 3832826"/>
                <a:gd name="connsiteY1104" fmla="*/ 328619 h 5120141"/>
                <a:gd name="connsiteX1105" fmla="*/ 290308 w 3832826"/>
                <a:gd name="connsiteY1105" fmla="*/ 318609 h 5120141"/>
                <a:gd name="connsiteX1106" fmla="*/ 292404 w 3832826"/>
                <a:gd name="connsiteY1106" fmla="*/ 302593 h 5120141"/>
                <a:gd name="connsiteX1107" fmla="*/ 300787 w 3832826"/>
                <a:gd name="connsiteY1107" fmla="*/ 278570 h 5120141"/>
                <a:gd name="connsiteX1108" fmla="*/ 311388 w 3832826"/>
                <a:gd name="connsiteY1108" fmla="*/ 250468 h 5120141"/>
                <a:gd name="connsiteX1109" fmla="*/ 315579 w 3832826"/>
                <a:gd name="connsiteY1109" fmla="*/ 236454 h 5120141"/>
                <a:gd name="connsiteX1110" fmla="*/ 317675 w 3832826"/>
                <a:gd name="connsiteY1110" fmla="*/ 222441 h 5120141"/>
                <a:gd name="connsiteX1111" fmla="*/ 321866 w 3832826"/>
                <a:gd name="connsiteY1111" fmla="*/ 200419 h 5120141"/>
                <a:gd name="connsiteX1112" fmla="*/ 326058 w 3832826"/>
                <a:gd name="connsiteY1112" fmla="*/ 188407 h 5120141"/>
                <a:gd name="connsiteX1113" fmla="*/ 332345 w 3832826"/>
                <a:gd name="connsiteY1113" fmla="*/ 178323 h 5120141"/>
                <a:gd name="connsiteX1114" fmla="*/ 342946 w 3832826"/>
                <a:gd name="connsiteY1114" fmla="*/ 168313 h 5120141"/>
                <a:gd name="connsiteX1115" fmla="*/ 355520 w 3832826"/>
                <a:gd name="connsiteY1115" fmla="*/ 158303 h 5120141"/>
                <a:gd name="connsiteX1116" fmla="*/ 365998 w 3832826"/>
                <a:gd name="connsiteY1116" fmla="*/ 150296 h 5120141"/>
                <a:gd name="connsiteX1117" fmla="*/ 372285 w 3832826"/>
                <a:gd name="connsiteY1117" fmla="*/ 140286 h 5120141"/>
                <a:gd name="connsiteX1118" fmla="*/ 376600 w 3832826"/>
                <a:gd name="connsiteY1118" fmla="*/ 136282 h 5120141"/>
                <a:gd name="connsiteX1119" fmla="*/ 378695 w 3832826"/>
                <a:gd name="connsiteY1119" fmla="*/ 128274 h 5120141"/>
                <a:gd name="connsiteX1120" fmla="*/ 378695 w 3832826"/>
                <a:gd name="connsiteY1120" fmla="*/ 110182 h 5120141"/>
                <a:gd name="connsiteX1121" fmla="*/ 378695 w 3832826"/>
                <a:gd name="connsiteY1121" fmla="*/ 96168 h 5120141"/>
                <a:gd name="connsiteX1122" fmla="*/ 380791 w 3832826"/>
                <a:gd name="connsiteY1122" fmla="*/ 88161 h 5120141"/>
                <a:gd name="connsiteX1123" fmla="*/ 382887 w 3832826"/>
                <a:gd name="connsiteY1123" fmla="*/ 86159 h 5120141"/>
                <a:gd name="connsiteX1124" fmla="*/ 393365 w 3832826"/>
                <a:gd name="connsiteY1124" fmla="*/ 80153 h 5120141"/>
                <a:gd name="connsiteX1125" fmla="*/ 408158 w 3832826"/>
                <a:gd name="connsiteY1125" fmla="*/ 78151 h 5120141"/>
                <a:gd name="connsiteX1126" fmla="*/ 420732 w 3832826"/>
                <a:gd name="connsiteY1126" fmla="*/ 76149 h 5120141"/>
                <a:gd name="connsiteX1127" fmla="*/ 424923 w 3832826"/>
                <a:gd name="connsiteY1127" fmla="*/ 74147 h 5120141"/>
                <a:gd name="connsiteX1128" fmla="*/ 431210 w 3832826"/>
                <a:gd name="connsiteY1128" fmla="*/ 68141 h 5120141"/>
                <a:gd name="connsiteX1129" fmla="*/ 435401 w 3832826"/>
                <a:gd name="connsiteY1129" fmla="*/ 54127 h 5120141"/>
                <a:gd name="connsiteX1130" fmla="*/ 435401 w 3832826"/>
                <a:gd name="connsiteY1130" fmla="*/ 44117 h 5120141"/>
                <a:gd name="connsiteX1131" fmla="*/ 435401 w 3832826"/>
                <a:gd name="connsiteY1131" fmla="*/ 34033 h 5120141"/>
                <a:gd name="connsiteX1132" fmla="*/ 431210 w 3832826"/>
                <a:gd name="connsiteY1132" fmla="*/ 28027 h 5120141"/>
                <a:gd name="connsiteX1133" fmla="*/ 420732 w 3832826"/>
                <a:gd name="connsiteY1133" fmla="*/ 16016 h 5120141"/>
                <a:gd name="connsiteX1134" fmla="*/ 401747 w 3832826"/>
                <a:gd name="connsiteY1134" fmla="*/ 0 h 5120141"/>
                <a:gd name="connsiteX0" fmla="*/ 1390739 w 3832826"/>
                <a:gd name="connsiteY0" fmla="*/ 1285217 h 5120141"/>
                <a:gd name="connsiteX1" fmla="*/ 1392579 w 3832826"/>
                <a:gd name="connsiteY1" fmla="*/ 1291180 h 5120141"/>
                <a:gd name="connsiteX2" fmla="*/ 1392579 w 3832826"/>
                <a:gd name="connsiteY2" fmla="*/ 1296597 h 5120141"/>
                <a:gd name="connsiteX3" fmla="*/ 1392608 w 3832826"/>
                <a:gd name="connsiteY3" fmla="*/ 1290558 h 5120141"/>
                <a:gd name="connsiteX4" fmla="*/ 1390739 w 3832826"/>
                <a:gd name="connsiteY4" fmla="*/ 1285217 h 5120141"/>
                <a:gd name="connsiteX5" fmla="*/ 1138708 w 3832826"/>
                <a:gd name="connsiteY5" fmla="*/ 844805 h 5120141"/>
                <a:gd name="connsiteX6" fmla="*/ 1135965 w 3832826"/>
                <a:gd name="connsiteY6" fmla="*/ 845676 h 5120141"/>
                <a:gd name="connsiteX7" fmla="*/ 1138389 w 3832826"/>
                <a:gd name="connsiteY7" fmla="*/ 850296 h 5120141"/>
                <a:gd name="connsiteX8" fmla="*/ 1142308 w 3832826"/>
                <a:gd name="connsiteY8" fmla="*/ 851593 h 5120141"/>
                <a:gd name="connsiteX9" fmla="*/ 1138708 w 3832826"/>
                <a:gd name="connsiteY9" fmla="*/ 844805 h 5120141"/>
                <a:gd name="connsiteX10" fmla="*/ 1142276 w 3832826"/>
                <a:gd name="connsiteY10" fmla="*/ 825637 h 5120141"/>
                <a:gd name="connsiteX11" fmla="*/ 1144379 w 3832826"/>
                <a:gd name="connsiteY11" fmla="*/ 833653 h 5120141"/>
                <a:gd name="connsiteX12" fmla="*/ 1144379 w 3832826"/>
                <a:gd name="connsiteY12" fmla="*/ 839665 h 5120141"/>
                <a:gd name="connsiteX13" fmla="*/ 1143167 w 3832826"/>
                <a:gd name="connsiteY13" fmla="*/ 841974 h 5120141"/>
                <a:gd name="connsiteX14" fmla="*/ 1144345 w 3832826"/>
                <a:gd name="connsiteY14" fmla="*/ 841587 h 5120141"/>
                <a:gd name="connsiteX15" fmla="*/ 1146453 w 3832826"/>
                <a:gd name="connsiteY15" fmla="*/ 837612 h 5120141"/>
                <a:gd name="connsiteX16" fmla="*/ 1146453 w 3832826"/>
                <a:gd name="connsiteY16" fmla="*/ 831649 h 5120141"/>
                <a:gd name="connsiteX17" fmla="*/ 1144873 w 3832826"/>
                <a:gd name="connsiteY17" fmla="*/ 825637 h 5120141"/>
                <a:gd name="connsiteX18" fmla="*/ 1142276 w 3832826"/>
                <a:gd name="connsiteY18" fmla="*/ 825637 h 5120141"/>
                <a:gd name="connsiteX19" fmla="*/ 401747 w 3832826"/>
                <a:gd name="connsiteY19" fmla="*/ 0 h 5120141"/>
                <a:gd name="connsiteX20" fmla="*/ 769965 w 3832826"/>
                <a:gd name="connsiteY20" fmla="*/ 0 h 5120141"/>
                <a:gd name="connsiteX21" fmla="*/ 1138058 w 3832826"/>
                <a:gd name="connsiteY21" fmla="*/ 0 h 5120141"/>
                <a:gd name="connsiteX22" fmla="*/ 1222254 w 3832826"/>
                <a:gd name="connsiteY22" fmla="*/ 0 h 5120141"/>
                <a:gd name="connsiteX23" fmla="*/ 1226445 w 3832826"/>
                <a:gd name="connsiteY23" fmla="*/ 140286 h 5120141"/>
                <a:gd name="connsiteX24" fmla="*/ 1228541 w 3832826"/>
                <a:gd name="connsiteY24" fmla="*/ 278570 h 5120141"/>
                <a:gd name="connsiteX25" fmla="*/ 1232732 w 3832826"/>
                <a:gd name="connsiteY25" fmla="*/ 414852 h 5120141"/>
                <a:gd name="connsiteX26" fmla="*/ 1228541 w 3832826"/>
                <a:gd name="connsiteY26" fmla="*/ 559142 h 5120141"/>
                <a:gd name="connsiteX27" fmla="*/ 1224350 w 3832826"/>
                <a:gd name="connsiteY27" fmla="*/ 559142 h 5120141"/>
                <a:gd name="connsiteX28" fmla="*/ 1224350 w 3832826"/>
                <a:gd name="connsiteY28" fmla="*/ 591173 h 5120141"/>
                <a:gd name="connsiteX29" fmla="*/ 1222254 w 3832826"/>
                <a:gd name="connsiteY29" fmla="*/ 591173 h 5120141"/>
                <a:gd name="connsiteX30" fmla="*/ 1194887 w 3832826"/>
                <a:gd name="connsiteY30" fmla="*/ 591173 h 5120141"/>
                <a:gd name="connsiteX31" fmla="*/ 1163329 w 3832826"/>
                <a:gd name="connsiteY31" fmla="*/ 591173 h 5120141"/>
                <a:gd name="connsiteX32" fmla="*/ 1108125 w 3832826"/>
                <a:gd name="connsiteY32" fmla="*/ 602727 h 5120141"/>
                <a:gd name="connsiteX33" fmla="*/ 1110721 w 3832826"/>
                <a:gd name="connsiteY33" fmla="*/ 605200 h 5120141"/>
                <a:gd name="connsiteX34" fmla="*/ 1119136 w 3832826"/>
                <a:gd name="connsiteY34" fmla="*/ 613216 h 5120141"/>
                <a:gd name="connsiteX35" fmla="*/ 1121239 w 3832826"/>
                <a:gd name="connsiteY35" fmla="*/ 621231 h 5120141"/>
                <a:gd name="connsiteX36" fmla="*/ 1123343 w 3832826"/>
                <a:gd name="connsiteY36" fmla="*/ 645279 h 5120141"/>
                <a:gd name="connsiteX37" fmla="*/ 1129654 w 3832826"/>
                <a:gd name="connsiteY37" fmla="*/ 657303 h 5120141"/>
                <a:gd name="connsiteX38" fmla="*/ 1140172 w 3832826"/>
                <a:gd name="connsiteY38" fmla="*/ 667323 h 5120141"/>
                <a:gd name="connsiteX39" fmla="*/ 1146483 w 3832826"/>
                <a:gd name="connsiteY39" fmla="*/ 673335 h 5120141"/>
                <a:gd name="connsiteX40" fmla="*/ 1161208 w 3832826"/>
                <a:gd name="connsiteY40" fmla="*/ 677343 h 5120141"/>
                <a:gd name="connsiteX41" fmla="*/ 1184348 w 3832826"/>
                <a:gd name="connsiteY41" fmla="*/ 683355 h 5120141"/>
                <a:gd name="connsiteX42" fmla="*/ 1194866 w 3832826"/>
                <a:gd name="connsiteY42" fmla="*/ 687363 h 5120141"/>
                <a:gd name="connsiteX43" fmla="*/ 1205385 w 3832826"/>
                <a:gd name="connsiteY43" fmla="*/ 693375 h 5120141"/>
                <a:gd name="connsiteX44" fmla="*/ 1209592 w 3832826"/>
                <a:gd name="connsiteY44" fmla="*/ 703394 h 5120141"/>
                <a:gd name="connsiteX45" fmla="*/ 1213799 w 3832826"/>
                <a:gd name="connsiteY45" fmla="*/ 715418 h 5120141"/>
                <a:gd name="connsiteX46" fmla="*/ 1199074 w 3832826"/>
                <a:gd name="connsiteY46" fmla="*/ 715418 h 5120141"/>
                <a:gd name="connsiteX47" fmla="*/ 1196970 w 3832826"/>
                <a:gd name="connsiteY47" fmla="*/ 715418 h 5120141"/>
                <a:gd name="connsiteX48" fmla="*/ 1196970 w 3832826"/>
                <a:gd name="connsiteY48" fmla="*/ 717422 h 5120141"/>
                <a:gd name="connsiteX49" fmla="*/ 1203281 w 3832826"/>
                <a:gd name="connsiteY49" fmla="*/ 725438 h 5120141"/>
                <a:gd name="connsiteX50" fmla="*/ 1205385 w 3832826"/>
                <a:gd name="connsiteY50" fmla="*/ 733454 h 5120141"/>
                <a:gd name="connsiteX51" fmla="*/ 1207488 w 3832826"/>
                <a:gd name="connsiteY51" fmla="*/ 751490 h 5120141"/>
                <a:gd name="connsiteX52" fmla="*/ 1207488 w 3832826"/>
                <a:gd name="connsiteY52" fmla="*/ 763514 h 5120141"/>
                <a:gd name="connsiteX53" fmla="*/ 1199074 w 3832826"/>
                <a:gd name="connsiteY53" fmla="*/ 773533 h 5120141"/>
                <a:gd name="connsiteX54" fmla="*/ 1188556 w 3832826"/>
                <a:gd name="connsiteY54" fmla="*/ 785557 h 5120141"/>
                <a:gd name="connsiteX55" fmla="*/ 1175934 w 3832826"/>
                <a:gd name="connsiteY55" fmla="*/ 793573 h 5120141"/>
                <a:gd name="connsiteX56" fmla="*/ 1161208 w 3832826"/>
                <a:gd name="connsiteY56" fmla="*/ 801589 h 5120141"/>
                <a:gd name="connsiteX57" fmla="*/ 1154897 w 3832826"/>
                <a:gd name="connsiteY57" fmla="*/ 803593 h 5120141"/>
                <a:gd name="connsiteX58" fmla="*/ 1150690 w 3832826"/>
                <a:gd name="connsiteY58" fmla="*/ 811609 h 5120141"/>
                <a:gd name="connsiteX59" fmla="*/ 1150690 w 3832826"/>
                <a:gd name="connsiteY59" fmla="*/ 817621 h 5120141"/>
                <a:gd name="connsiteX60" fmla="*/ 1153844 w 3832826"/>
                <a:gd name="connsiteY60" fmla="*/ 823631 h 5120141"/>
                <a:gd name="connsiteX61" fmla="*/ 1156992 w 3832826"/>
                <a:gd name="connsiteY61" fmla="*/ 823631 h 5120141"/>
                <a:gd name="connsiteX62" fmla="*/ 1165424 w 3832826"/>
                <a:gd name="connsiteY62" fmla="*/ 823631 h 5120141"/>
                <a:gd name="connsiteX63" fmla="*/ 1169639 w 3832826"/>
                <a:gd name="connsiteY63" fmla="*/ 827606 h 5120141"/>
                <a:gd name="connsiteX64" fmla="*/ 1173855 w 3832826"/>
                <a:gd name="connsiteY64" fmla="*/ 833637 h 5120141"/>
                <a:gd name="connsiteX65" fmla="*/ 1173855 w 3832826"/>
                <a:gd name="connsiteY65" fmla="*/ 841587 h 5120141"/>
                <a:gd name="connsiteX66" fmla="*/ 1173855 w 3832826"/>
                <a:gd name="connsiteY66" fmla="*/ 855568 h 5120141"/>
                <a:gd name="connsiteX67" fmla="*/ 1169639 w 3832826"/>
                <a:gd name="connsiteY67" fmla="*/ 871605 h 5120141"/>
                <a:gd name="connsiteX68" fmla="*/ 1184324 w 3832826"/>
                <a:gd name="connsiteY68" fmla="*/ 867562 h 5120141"/>
                <a:gd name="connsiteX69" fmla="*/ 1180108 w 3832826"/>
                <a:gd name="connsiteY69" fmla="*/ 877568 h 5120141"/>
                <a:gd name="connsiteX70" fmla="*/ 1188540 w 3832826"/>
                <a:gd name="connsiteY70" fmla="*/ 877568 h 5120141"/>
                <a:gd name="connsiteX71" fmla="*/ 1194863 w 3832826"/>
                <a:gd name="connsiteY71" fmla="*/ 885587 h 5120141"/>
                <a:gd name="connsiteX72" fmla="*/ 1196971 w 3832826"/>
                <a:gd name="connsiteY72" fmla="*/ 895593 h 5120141"/>
                <a:gd name="connsiteX73" fmla="*/ 1188540 w 3832826"/>
                <a:gd name="connsiteY73" fmla="*/ 895593 h 5120141"/>
                <a:gd name="connsiteX74" fmla="*/ 1190648 w 3832826"/>
                <a:gd name="connsiteY74" fmla="*/ 903543 h 5120141"/>
                <a:gd name="connsiteX75" fmla="*/ 1188540 w 3832826"/>
                <a:gd name="connsiteY75" fmla="*/ 907518 h 5120141"/>
                <a:gd name="connsiteX76" fmla="*/ 1184324 w 3832826"/>
                <a:gd name="connsiteY76" fmla="*/ 913549 h 5120141"/>
                <a:gd name="connsiteX77" fmla="*/ 1175963 w 3832826"/>
                <a:gd name="connsiteY77" fmla="*/ 917524 h 5120141"/>
                <a:gd name="connsiteX78" fmla="*/ 1169639 w 3832826"/>
                <a:gd name="connsiteY78" fmla="*/ 923555 h 5120141"/>
                <a:gd name="connsiteX79" fmla="*/ 1163316 w 3832826"/>
                <a:gd name="connsiteY79" fmla="*/ 933493 h 5120141"/>
                <a:gd name="connsiteX80" fmla="*/ 1163316 w 3832826"/>
                <a:gd name="connsiteY80" fmla="*/ 941512 h 5120141"/>
                <a:gd name="connsiteX81" fmla="*/ 1159100 w 3832826"/>
                <a:gd name="connsiteY81" fmla="*/ 947543 h 5120141"/>
                <a:gd name="connsiteX82" fmla="*/ 1167532 w 3832826"/>
                <a:gd name="connsiteY82" fmla="*/ 947543 h 5120141"/>
                <a:gd name="connsiteX83" fmla="*/ 1165424 w 3832826"/>
                <a:gd name="connsiteY83" fmla="*/ 963511 h 5120141"/>
                <a:gd name="connsiteX84" fmla="*/ 1167532 w 3832826"/>
                <a:gd name="connsiteY84" fmla="*/ 975505 h 5120141"/>
                <a:gd name="connsiteX85" fmla="*/ 1167532 w 3832826"/>
                <a:gd name="connsiteY85" fmla="*/ 991474 h 5120141"/>
                <a:gd name="connsiteX86" fmla="*/ 1167532 w 3832826"/>
                <a:gd name="connsiteY86" fmla="*/ 1007443 h 5120141"/>
                <a:gd name="connsiteX87" fmla="*/ 1169639 w 3832826"/>
                <a:gd name="connsiteY87" fmla="*/ 1011486 h 5120141"/>
                <a:gd name="connsiteX88" fmla="*/ 1173855 w 3832826"/>
                <a:gd name="connsiteY88" fmla="*/ 1015461 h 5120141"/>
                <a:gd name="connsiteX89" fmla="*/ 1169639 w 3832826"/>
                <a:gd name="connsiteY89" fmla="*/ 1021424 h 5120141"/>
                <a:gd name="connsiteX90" fmla="*/ 1167532 w 3832826"/>
                <a:gd name="connsiteY90" fmla="*/ 1021424 h 5120141"/>
                <a:gd name="connsiteX91" fmla="*/ 1163316 w 3832826"/>
                <a:gd name="connsiteY91" fmla="*/ 1021424 h 5120141"/>
                <a:gd name="connsiteX92" fmla="*/ 1159100 w 3832826"/>
                <a:gd name="connsiteY92" fmla="*/ 1027455 h 5120141"/>
                <a:gd name="connsiteX93" fmla="*/ 1163316 w 3832826"/>
                <a:gd name="connsiteY93" fmla="*/ 1033418 h 5120141"/>
                <a:gd name="connsiteX94" fmla="*/ 1167532 w 3832826"/>
                <a:gd name="connsiteY94" fmla="*/ 1037461 h 5120141"/>
                <a:gd name="connsiteX95" fmla="*/ 1169639 w 3832826"/>
                <a:gd name="connsiteY95" fmla="*/ 1047399 h 5120141"/>
                <a:gd name="connsiteX96" fmla="*/ 1173855 w 3832826"/>
                <a:gd name="connsiteY96" fmla="*/ 1059393 h 5120141"/>
                <a:gd name="connsiteX97" fmla="*/ 1186432 w 3832826"/>
                <a:gd name="connsiteY97" fmla="*/ 1057405 h 5120141"/>
                <a:gd name="connsiteX98" fmla="*/ 1184324 w 3832826"/>
                <a:gd name="connsiteY98" fmla="*/ 1065424 h 5120141"/>
                <a:gd name="connsiteX99" fmla="*/ 1194863 w 3832826"/>
                <a:gd name="connsiteY99" fmla="*/ 1063436 h 5120141"/>
                <a:gd name="connsiteX100" fmla="*/ 1201187 w 3832826"/>
                <a:gd name="connsiteY100" fmla="*/ 1065424 h 5120141"/>
                <a:gd name="connsiteX101" fmla="*/ 1205403 w 3832826"/>
                <a:gd name="connsiteY101" fmla="*/ 1073374 h 5120141"/>
                <a:gd name="connsiteX102" fmla="*/ 1205403 w 3832826"/>
                <a:gd name="connsiteY102" fmla="*/ 1083380 h 5120141"/>
                <a:gd name="connsiteX103" fmla="*/ 1209618 w 3832826"/>
                <a:gd name="connsiteY103" fmla="*/ 1083380 h 5120141"/>
                <a:gd name="connsiteX104" fmla="*/ 1209618 w 3832826"/>
                <a:gd name="connsiteY104" fmla="*/ 1095374 h 5120141"/>
                <a:gd name="connsiteX105" fmla="*/ 1220087 w 3832826"/>
                <a:gd name="connsiteY105" fmla="*/ 1097361 h 5120141"/>
                <a:gd name="connsiteX106" fmla="*/ 1226411 w 3832826"/>
                <a:gd name="connsiteY106" fmla="*/ 1103392 h 5120141"/>
                <a:gd name="connsiteX107" fmla="*/ 1232734 w 3832826"/>
                <a:gd name="connsiteY107" fmla="*/ 1115386 h 5120141"/>
                <a:gd name="connsiteX108" fmla="*/ 1241166 w 3832826"/>
                <a:gd name="connsiteY108" fmla="*/ 1113330 h 5120141"/>
                <a:gd name="connsiteX109" fmla="*/ 1247489 w 3832826"/>
                <a:gd name="connsiteY109" fmla="*/ 1119361 h 5120141"/>
                <a:gd name="connsiteX110" fmla="*/ 1249527 w 3832826"/>
                <a:gd name="connsiteY110" fmla="*/ 1127311 h 5120141"/>
                <a:gd name="connsiteX111" fmla="*/ 1262174 w 3832826"/>
                <a:gd name="connsiteY111" fmla="*/ 1137317 h 5120141"/>
                <a:gd name="connsiteX112" fmla="*/ 1274821 w 3832826"/>
                <a:gd name="connsiteY112" fmla="*/ 1147324 h 5120141"/>
                <a:gd name="connsiteX113" fmla="*/ 1291613 w 3832826"/>
                <a:gd name="connsiteY113" fmla="*/ 1159317 h 5120141"/>
                <a:gd name="connsiteX114" fmla="*/ 1293721 w 3832826"/>
                <a:gd name="connsiteY114" fmla="*/ 1165280 h 5120141"/>
                <a:gd name="connsiteX115" fmla="*/ 1295829 w 3832826"/>
                <a:gd name="connsiteY115" fmla="*/ 1173299 h 5120141"/>
                <a:gd name="connsiteX116" fmla="*/ 1306368 w 3832826"/>
                <a:gd name="connsiteY116" fmla="*/ 1173299 h 5120141"/>
                <a:gd name="connsiteX117" fmla="*/ 1312692 w 3832826"/>
                <a:gd name="connsiteY117" fmla="*/ 1177274 h 5120141"/>
                <a:gd name="connsiteX118" fmla="*/ 1314800 w 3832826"/>
                <a:gd name="connsiteY118" fmla="*/ 1185292 h 5120141"/>
                <a:gd name="connsiteX119" fmla="*/ 1312692 w 3832826"/>
                <a:gd name="connsiteY119" fmla="*/ 1195299 h 5120141"/>
                <a:gd name="connsiteX120" fmla="*/ 1321053 w 3832826"/>
                <a:gd name="connsiteY120" fmla="*/ 1193311 h 5120141"/>
                <a:gd name="connsiteX121" fmla="*/ 1323161 w 3832826"/>
                <a:gd name="connsiteY121" fmla="*/ 1195299 h 5120141"/>
                <a:gd name="connsiteX122" fmla="*/ 1325269 w 3832826"/>
                <a:gd name="connsiteY122" fmla="*/ 1199274 h 5120141"/>
                <a:gd name="connsiteX123" fmla="*/ 1325269 w 3832826"/>
                <a:gd name="connsiteY123" fmla="*/ 1205305 h 5120141"/>
                <a:gd name="connsiteX124" fmla="*/ 1337916 w 3832826"/>
                <a:gd name="connsiteY124" fmla="*/ 1205305 h 5120141"/>
                <a:gd name="connsiteX125" fmla="*/ 1337916 w 3832826"/>
                <a:gd name="connsiteY125" fmla="*/ 1217230 h 5120141"/>
                <a:gd name="connsiteX126" fmla="*/ 1344239 w 3832826"/>
                <a:gd name="connsiteY126" fmla="*/ 1215242 h 5120141"/>
                <a:gd name="connsiteX127" fmla="*/ 1344239 w 3832826"/>
                <a:gd name="connsiteY127" fmla="*/ 1219286 h 5120141"/>
                <a:gd name="connsiteX128" fmla="*/ 1346347 w 3832826"/>
                <a:gd name="connsiteY128" fmla="*/ 1219286 h 5120141"/>
                <a:gd name="connsiteX129" fmla="*/ 1352671 w 3832826"/>
                <a:gd name="connsiteY129" fmla="*/ 1223261 h 5120141"/>
                <a:gd name="connsiteX130" fmla="*/ 1352671 w 3832826"/>
                <a:gd name="connsiteY130" fmla="*/ 1227236 h 5120141"/>
                <a:gd name="connsiteX131" fmla="*/ 1358924 w 3832826"/>
                <a:gd name="connsiteY131" fmla="*/ 1227236 h 5120141"/>
                <a:gd name="connsiteX132" fmla="*/ 1365247 w 3832826"/>
                <a:gd name="connsiteY132" fmla="*/ 1235255 h 5120141"/>
                <a:gd name="connsiteX133" fmla="*/ 1365247 w 3832826"/>
                <a:gd name="connsiteY133" fmla="*/ 1241217 h 5120141"/>
                <a:gd name="connsiteX134" fmla="*/ 1365247 w 3832826"/>
                <a:gd name="connsiteY134" fmla="*/ 1251223 h 5120141"/>
                <a:gd name="connsiteX135" fmla="*/ 1369463 w 3832826"/>
                <a:gd name="connsiteY135" fmla="*/ 1249236 h 5120141"/>
                <a:gd name="connsiteX136" fmla="*/ 1375787 w 3832826"/>
                <a:gd name="connsiteY136" fmla="*/ 1251223 h 5120141"/>
                <a:gd name="connsiteX137" fmla="*/ 1377895 w 3832826"/>
                <a:gd name="connsiteY137" fmla="*/ 1255199 h 5120141"/>
                <a:gd name="connsiteX138" fmla="*/ 1377895 w 3832826"/>
                <a:gd name="connsiteY138" fmla="*/ 1259242 h 5120141"/>
                <a:gd name="connsiteX139" fmla="*/ 1396795 w 3832826"/>
                <a:gd name="connsiteY139" fmla="*/ 1257255 h 5120141"/>
                <a:gd name="connsiteX140" fmla="*/ 1398903 w 3832826"/>
                <a:gd name="connsiteY140" fmla="*/ 1275211 h 5120141"/>
                <a:gd name="connsiteX141" fmla="*/ 1407333 w 3832826"/>
                <a:gd name="connsiteY141" fmla="*/ 1271236 h 5120141"/>
                <a:gd name="connsiteX142" fmla="*/ 1407333 w 3832826"/>
                <a:gd name="connsiteY142" fmla="*/ 1270518 h 5120141"/>
                <a:gd name="connsiteX143" fmla="*/ 1453613 w 3832826"/>
                <a:gd name="connsiteY143" fmla="*/ 1244467 h 5120141"/>
                <a:gd name="connsiteX144" fmla="*/ 1459924 w 3832826"/>
                <a:gd name="connsiteY144" fmla="*/ 1274526 h 5120141"/>
                <a:gd name="connsiteX145" fmla="*/ 1459924 w 3832826"/>
                <a:gd name="connsiteY145" fmla="*/ 1290558 h 5120141"/>
                <a:gd name="connsiteX146" fmla="*/ 1455717 w 3832826"/>
                <a:gd name="connsiteY146" fmla="*/ 1304586 h 5120141"/>
                <a:gd name="connsiteX147" fmla="*/ 1453613 w 3832826"/>
                <a:gd name="connsiteY147" fmla="*/ 1308594 h 5120141"/>
                <a:gd name="connsiteX148" fmla="*/ 1449406 w 3832826"/>
                <a:gd name="connsiteY148" fmla="*/ 1310598 h 5120141"/>
                <a:gd name="connsiteX149" fmla="*/ 1440991 w 3832826"/>
                <a:gd name="connsiteY149" fmla="*/ 1316610 h 5120141"/>
                <a:gd name="connsiteX150" fmla="*/ 1434680 w 3832826"/>
                <a:gd name="connsiteY150" fmla="*/ 1318614 h 5120141"/>
                <a:gd name="connsiteX151" fmla="*/ 1432577 w 3832826"/>
                <a:gd name="connsiteY151" fmla="*/ 1320618 h 5120141"/>
                <a:gd name="connsiteX152" fmla="*/ 1430473 w 3832826"/>
                <a:gd name="connsiteY152" fmla="*/ 1326630 h 5120141"/>
                <a:gd name="connsiteX153" fmla="*/ 1430473 w 3832826"/>
                <a:gd name="connsiteY153" fmla="*/ 1334645 h 5120141"/>
                <a:gd name="connsiteX154" fmla="*/ 1434680 w 3832826"/>
                <a:gd name="connsiteY154" fmla="*/ 1338653 h 5120141"/>
                <a:gd name="connsiteX155" fmla="*/ 1440991 w 3832826"/>
                <a:gd name="connsiteY155" fmla="*/ 1350677 h 5120141"/>
                <a:gd name="connsiteX156" fmla="*/ 1443095 w 3832826"/>
                <a:gd name="connsiteY156" fmla="*/ 1366709 h 5120141"/>
                <a:gd name="connsiteX157" fmla="*/ 1443095 w 3832826"/>
                <a:gd name="connsiteY157" fmla="*/ 1380737 h 5120141"/>
                <a:gd name="connsiteX158" fmla="*/ 1445199 w 3832826"/>
                <a:gd name="connsiteY158" fmla="*/ 1436848 h 5120141"/>
                <a:gd name="connsiteX159" fmla="*/ 1422059 w 3832826"/>
                <a:gd name="connsiteY159" fmla="*/ 1436848 h 5120141"/>
                <a:gd name="connsiteX160" fmla="*/ 1403126 w 3832826"/>
                <a:gd name="connsiteY160" fmla="*/ 1438852 h 5120141"/>
                <a:gd name="connsiteX161" fmla="*/ 1392608 w 3832826"/>
                <a:gd name="connsiteY161" fmla="*/ 1440856 h 5120141"/>
                <a:gd name="connsiteX162" fmla="*/ 1382089 w 3832826"/>
                <a:gd name="connsiteY162" fmla="*/ 1444864 h 5120141"/>
                <a:gd name="connsiteX163" fmla="*/ 1375779 w 3832826"/>
                <a:gd name="connsiteY163" fmla="*/ 1448872 h 5120141"/>
                <a:gd name="connsiteX164" fmla="*/ 1367364 w 3832826"/>
                <a:gd name="connsiteY164" fmla="*/ 1456888 h 5120141"/>
                <a:gd name="connsiteX165" fmla="*/ 1358949 w 3832826"/>
                <a:gd name="connsiteY165" fmla="*/ 1462900 h 5120141"/>
                <a:gd name="connsiteX166" fmla="*/ 1354742 w 3832826"/>
                <a:gd name="connsiteY166" fmla="*/ 1472920 h 5120141"/>
                <a:gd name="connsiteX167" fmla="*/ 1348431 w 3832826"/>
                <a:gd name="connsiteY167" fmla="*/ 1480935 h 5120141"/>
                <a:gd name="connsiteX168" fmla="*/ 1344224 w 3832826"/>
                <a:gd name="connsiteY168" fmla="*/ 1482939 h 5120141"/>
                <a:gd name="connsiteX169" fmla="*/ 1342120 w 3832826"/>
                <a:gd name="connsiteY169" fmla="*/ 1482939 h 5120141"/>
                <a:gd name="connsiteX170" fmla="*/ 1333706 w 3832826"/>
                <a:gd name="connsiteY170" fmla="*/ 1480935 h 5120141"/>
                <a:gd name="connsiteX171" fmla="*/ 1327395 w 3832826"/>
                <a:gd name="connsiteY171" fmla="*/ 1482939 h 5120141"/>
                <a:gd name="connsiteX172" fmla="*/ 1325291 w 3832826"/>
                <a:gd name="connsiteY172" fmla="*/ 1488951 h 5120141"/>
                <a:gd name="connsiteX173" fmla="*/ 1323188 w 3832826"/>
                <a:gd name="connsiteY173" fmla="*/ 1492959 h 5120141"/>
                <a:gd name="connsiteX174" fmla="*/ 1321084 w 3832826"/>
                <a:gd name="connsiteY174" fmla="*/ 1506987 h 5120141"/>
                <a:gd name="connsiteX175" fmla="*/ 1316877 w 3832826"/>
                <a:gd name="connsiteY175" fmla="*/ 1512999 h 5120141"/>
                <a:gd name="connsiteX176" fmla="*/ 1310566 w 3832826"/>
                <a:gd name="connsiteY176" fmla="*/ 1521015 h 5120141"/>
                <a:gd name="connsiteX177" fmla="*/ 1304255 w 3832826"/>
                <a:gd name="connsiteY177" fmla="*/ 1523019 h 5120141"/>
                <a:gd name="connsiteX178" fmla="*/ 1293737 w 3832826"/>
                <a:gd name="connsiteY178" fmla="*/ 1529031 h 5120141"/>
                <a:gd name="connsiteX179" fmla="*/ 1281115 w 3832826"/>
                <a:gd name="connsiteY179" fmla="*/ 1529031 h 5120141"/>
                <a:gd name="connsiteX180" fmla="*/ 1279011 w 3832826"/>
                <a:gd name="connsiteY180" fmla="*/ 1531035 h 5120141"/>
                <a:gd name="connsiteX181" fmla="*/ 1274804 w 3832826"/>
                <a:gd name="connsiteY181" fmla="*/ 1537046 h 5120141"/>
                <a:gd name="connsiteX182" fmla="*/ 1272700 w 3832826"/>
                <a:gd name="connsiteY182" fmla="*/ 1547066 h 5120141"/>
                <a:gd name="connsiteX183" fmla="*/ 1270597 w 3832826"/>
                <a:gd name="connsiteY183" fmla="*/ 1559090 h 5120141"/>
                <a:gd name="connsiteX184" fmla="*/ 1264286 w 3832826"/>
                <a:gd name="connsiteY184" fmla="*/ 1569110 h 5120141"/>
                <a:gd name="connsiteX185" fmla="*/ 1262182 w 3832826"/>
                <a:gd name="connsiteY185" fmla="*/ 1569110 h 5120141"/>
                <a:gd name="connsiteX186" fmla="*/ 1262182 w 3832826"/>
                <a:gd name="connsiteY186" fmla="*/ 1573118 h 5120141"/>
                <a:gd name="connsiteX187" fmla="*/ 1260078 w 3832826"/>
                <a:gd name="connsiteY187" fmla="*/ 1579130 h 5120141"/>
                <a:gd name="connsiteX188" fmla="*/ 1260078 w 3832826"/>
                <a:gd name="connsiteY188" fmla="*/ 1599170 h 5120141"/>
                <a:gd name="connsiteX189" fmla="*/ 1260078 w 3832826"/>
                <a:gd name="connsiteY189" fmla="*/ 1633237 h 5120141"/>
                <a:gd name="connsiteX190" fmla="*/ 1260078 w 3832826"/>
                <a:gd name="connsiteY190" fmla="*/ 1679328 h 5120141"/>
                <a:gd name="connsiteX191" fmla="*/ 1258254 w 3832826"/>
                <a:gd name="connsiteY191" fmla="*/ 1717574 h 5120141"/>
                <a:gd name="connsiteX192" fmla="*/ 1279014 w 3832826"/>
                <a:gd name="connsiteY192" fmla="*/ 1732471 h 5120141"/>
                <a:gd name="connsiteX193" fmla="*/ 1302154 w 3832826"/>
                <a:gd name="connsiteY193" fmla="*/ 1736462 h 5120141"/>
                <a:gd name="connsiteX194" fmla="*/ 1312672 w 3832826"/>
                <a:gd name="connsiteY194" fmla="*/ 1736462 h 5120141"/>
                <a:gd name="connsiteX195" fmla="*/ 1323191 w 3832826"/>
                <a:gd name="connsiteY195" fmla="*/ 1734466 h 5120141"/>
                <a:gd name="connsiteX196" fmla="*/ 1337916 w 3832826"/>
                <a:gd name="connsiteY196" fmla="*/ 1732471 h 5120141"/>
                <a:gd name="connsiteX197" fmla="*/ 1350538 w 3832826"/>
                <a:gd name="connsiteY197" fmla="*/ 1726484 h 5120141"/>
                <a:gd name="connsiteX198" fmla="*/ 1354745 w 3832826"/>
                <a:gd name="connsiteY198" fmla="*/ 1726484 h 5120141"/>
                <a:gd name="connsiteX199" fmla="*/ 1365263 w 3832826"/>
                <a:gd name="connsiteY199" fmla="*/ 1730475 h 5120141"/>
                <a:gd name="connsiteX200" fmla="*/ 1394714 w 3832826"/>
                <a:gd name="connsiteY200" fmla="*/ 1742449 h 5120141"/>
                <a:gd name="connsiteX201" fmla="*/ 1407336 w 3832826"/>
                <a:gd name="connsiteY201" fmla="*/ 1744445 h 5120141"/>
                <a:gd name="connsiteX202" fmla="*/ 1419958 w 3832826"/>
                <a:gd name="connsiteY202" fmla="*/ 1746440 h 5120141"/>
                <a:gd name="connsiteX203" fmla="*/ 1426269 w 3832826"/>
                <a:gd name="connsiteY203" fmla="*/ 1744445 h 5120141"/>
                <a:gd name="connsiteX204" fmla="*/ 1430476 w 3832826"/>
                <a:gd name="connsiteY204" fmla="*/ 1742449 h 5120141"/>
                <a:gd name="connsiteX205" fmla="*/ 1430476 w 3832826"/>
                <a:gd name="connsiteY205" fmla="*/ 1740453 h 5120141"/>
                <a:gd name="connsiteX206" fmla="*/ 1434684 w 3832826"/>
                <a:gd name="connsiteY206" fmla="*/ 1734466 h 5120141"/>
                <a:gd name="connsiteX207" fmla="*/ 1434684 w 3832826"/>
                <a:gd name="connsiteY207" fmla="*/ 1726484 h 5120141"/>
                <a:gd name="connsiteX208" fmla="*/ 1436787 w 3832826"/>
                <a:gd name="connsiteY208" fmla="*/ 1722493 h 5120141"/>
                <a:gd name="connsiteX209" fmla="*/ 1445202 w 3832826"/>
                <a:gd name="connsiteY209" fmla="*/ 1712514 h 5120141"/>
                <a:gd name="connsiteX210" fmla="*/ 1455720 w 3832826"/>
                <a:gd name="connsiteY210" fmla="*/ 1704532 h 5120141"/>
                <a:gd name="connsiteX211" fmla="*/ 1462031 w 3832826"/>
                <a:gd name="connsiteY211" fmla="*/ 1694553 h 5120141"/>
                <a:gd name="connsiteX212" fmla="*/ 1462031 w 3832826"/>
                <a:gd name="connsiteY212" fmla="*/ 1684575 h 5120141"/>
                <a:gd name="connsiteX213" fmla="*/ 1466238 w 3832826"/>
                <a:gd name="connsiteY213" fmla="*/ 1676592 h 5120141"/>
                <a:gd name="connsiteX214" fmla="*/ 1472549 w 3832826"/>
                <a:gd name="connsiteY214" fmla="*/ 1666614 h 5120141"/>
                <a:gd name="connsiteX215" fmla="*/ 1483067 w 3832826"/>
                <a:gd name="connsiteY215" fmla="*/ 1652645 h 5120141"/>
                <a:gd name="connsiteX216" fmla="*/ 1497793 w 3832826"/>
                <a:gd name="connsiteY216" fmla="*/ 1638675 h 5120141"/>
                <a:gd name="connsiteX217" fmla="*/ 1510415 w 3832826"/>
                <a:gd name="connsiteY217" fmla="*/ 1624705 h 5120141"/>
                <a:gd name="connsiteX218" fmla="*/ 1525140 w 3832826"/>
                <a:gd name="connsiteY218" fmla="*/ 1612731 h 5120141"/>
                <a:gd name="connsiteX219" fmla="*/ 1577731 w 3832826"/>
                <a:gd name="connsiteY219" fmla="*/ 1580801 h 5120141"/>
                <a:gd name="connsiteX220" fmla="*/ 1605078 w 3832826"/>
                <a:gd name="connsiteY220" fmla="*/ 1560845 h 5120141"/>
                <a:gd name="connsiteX221" fmla="*/ 1628218 w 3832826"/>
                <a:gd name="connsiteY221" fmla="*/ 1540888 h 5120141"/>
                <a:gd name="connsiteX222" fmla="*/ 1645048 w 3832826"/>
                <a:gd name="connsiteY222" fmla="*/ 1524923 h 5120141"/>
                <a:gd name="connsiteX223" fmla="*/ 1661877 w 3832826"/>
                <a:gd name="connsiteY223" fmla="*/ 1514944 h 5120141"/>
                <a:gd name="connsiteX224" fmla="*/ 1678706 w 3832826"/>
                <a:gd name="connsiteY224" fmla="*/ 1508957 h 5120141"/>
                <a:gd name="connsiteX225" fmla="*/ 1695535 w 3832826"/>
                <a:gd name="connsiteY225" fmla="*/ 1502971 h 5120141"/>
                <a:gd name="connsiteX226" fmla="*/ 1714468 w 3832826"/>
                <a:gd name="connsiteY226" fmla="*/ 1500975 h 5120141"/>
                <a:gd name="connsiteX227" fmla="*/ 1735504 w 3832826"/>
                <a:gd name="connsiteY227" fmla="*/ 1500975 h 5120141"/>
                <a:gd name="connsiteX228" fmla="*/ 1777577 w 3832826"/>
                <a:gd name="connsiteY228" fmla="*/ 1500975 h 5120141"/>
                <a:gd name="connsiteX229" fmla="*/ 2158335 w 3832826"/>
                <a:gd name="connsiteY229" fmla="*/ 1500975 h 5120141"/>
                <a:gd name="connsiteX230" fmla="*/ 2158335 w 3832826"/>
                <a:gd name="connsiteY230" fmla="*/ 1514944 h 5120141"/>
                <a:gd name="connsiteX231" fmla="*/ 2158335 w 3832826"/>
                <a:gd name="connsiteY231" fmla="*/ 1572818 h 5120141"/>
                <a:gd name="connsiteX232" fmla="*/ 2160439 w 3832826"/>
                <a:gd name="connsiteY232" fmla="*/ 1594771 h 5120141"/>
                <a:gd name="connsiteX233" fmla="*/ 2158335 w 3832826"/>
                <a:gd name="connsiteY233" fmla="*/ 1624705 h 5120141"/>
                <a:gd name="connsiteX234" fmla="*/ 2158335 w 3832826"/>
                <a:gd name="connsiteY234" fmla="*/ 1634684 h 5120141"/>
                <a:gd name="connsiteX235" fmla="*/ 2158335 w 3832826"/>
                <a:gd name="connsiteY235" fmla="*/ 1648653 h 5120141"/>
                <a:gd name="connsiteX236" fmla="*/ 2158335 w 3832826"/>
                <a:gd name="connsiteY236" fmla="*/ 1666614 h 5120141"/>
                <a:gd name="connsiteX237" fmla="*/ 2158335 w 3832826"/>
                <a:gd name="connsiteY237" fmla="*/ 1700540 h 5120141"/>
                <a:gd name="connsiteX238" fmla="*/ 2149671 w 3832826"/>
                <a:gd name="connsiteY238" fmla="*/ 1700540 h 5120141"/>
                <a:gd name="connsiteX239" fmla="*/ 2149671 w 3832826"/>
                <a:gd name="connsiteY239" fmla="*/ 1701367 h 5120141"/>
                <a:gd name="connsiteX240" fmla="*/ 2158305 w 3832826"/>
                <a:gd name="connsiteY240" fmla="*/ 1701367 h 5120141"/>
                <a:gd name="connsiteX241" fmla="*/ 2158305 w 3832826"/>
                <a:gd name="connsiteY241" fmla="*/ 1723407 h 5120141"/>
                <a:gd name="connsiteX242" fmla="*/ 2158305 w 3832826"/>
                <a:gd name="connsiteY242" fmla="*/ 1755458 h 5120141"/>
                <a:gd name="connsiteX243" fmla="*/ 2234031 w 3832826"/>
                <a:gd name="connsiteY243" fmla="*/ 1815609 h 5120141"/>
                <a:gd name="connsiteX244" fmla="*/ 2231975 w 3832826"/>
                <a:gd name="connsiteY244" fmla="*/ 1817584 h 5120141"/>
                <a:gd name="connsiteX245" fmla="*/ 2231975 w 3832826"/>
                <a:gd name="connsiteY245" fmla="*/ 1823599 h 5120141"/>
                <a:gd name="connsiteX246" fmla="*/ 2234031 w 3832826"/>
                <a:gd name="connsiteY246" fmla="*/ 1833610 h 5120141"/>
                <a:gd name="connsiteX247" fmla="*/ 2240379 w 3832826"/>
                <a:gd name="connsiteY247" fmla="*/ 1843665 h 5120141"/>
                <a:gd name="connsiteX248" fmla="*/ 2244581 w 3832826"/>
                <a:gd name="connsiteY248" fmla="*/ 1853675 h 5120141"/>
                <a:gd name="connsiteX249" fmla="*/ 2244581 w 3832826"/>
                <a:gd name="connsiteY249" fmla="*/ 1857670 h 5120141"/>
                <a:gd name="connsiteX250" fmla="*/ 2242435 w 3832826"/>
                <a:gd name="connsiteY250" fmla="*/ 1863685 h 5120141"/>
                <a:gd name="connsiteX251" fmla="*/ 2238233 w 3832826"/>
                <a:gd name="connsiteY251" fmla="*/ 1873695 h 5120141"/>
                <a:gd name="connsiteX252" fmla="*/ 2229829 w 3832826"/>
                <a:gd name="connsiteY252" fmla="*/ 1883750 h 5120141"/>
                <a:gd name="connsiteX253" fmla="*/ 2223571 w 3832826"/>
                <a:gd name="connsiteY253" fmla="*/ 1889721 h 5120141"/>
                <a:gd name="connsiteX254" fmla="*/ 2213021 w 3832826"/>
                <a:gd name="connsiteY254" fmla="*/ 1905791 h 5120141"/>
                <a:gd name="connsiteX255" fmla="*/ 2200415 w 3832826"/>
                <a:gd name="connsiteY255" fmla="*/ 1919796 h 5120141"/>
                <a:gd name="connsiteX256" fmla="*/ 2170912 w 3832826"/>
                <a:gd name="connsiteY256" fmla="*/ 1945832 h 5120141"/>
                <a:gd name="connsiteX257" fmla="*/ 2139441 w 3832826"/>
                <a:gd name="connsiteY257" fmla="*/ 1969893 h 5120141"/>
                <a:gd name="connsiteX258" fmla="*/ 2107881 w 3832826"/>
                <a:gd name="connsiteY258" fmla="*/ 1995973 h 5120141"/>
                <a:gd name="connsiteX259" fmla="*/ 2095186 w 3832826"/>
                <a:gd name="connsiteY259" fmla="*/ 1997948 h 5120141"/>
                <a:gd name="connsiteX260" fmla="*/ 2082580 w 3832826"/>
                <a:gd name="connsiteY260" fmla="*/ 2003963 h 5120141"/>
                <a:gd name="connsiteX261" fmla="*/ 2074176 w 3832826"/>
                <a:gd name="connsiteY261" fmla="*/ 2009979 h 5120141"/>
                <a:gd name="connsiteX262" fmla="*/ 2069973 w 3832826"/>
                <a:gd name="connsiteY262" fmla="*/ 2018014 h 5120141"/>
                <a:gd name="connsiteX263" fmla="*/ 2055222 w 3832826"/>
                <a:gd name="connsiteY263" fmla="*/ 2034039 h 5120141"/>
                <a:gd name="connsiteX264" fmla="*/ 2048963 w 3832826"/>
                <a:gd name="connsiteY264" fmla="*/ 2044049 h 5120141"/>
                <a:gd name="connsiteX265" fmla="*/ 2038414 w 3832826"/>
                <a:gd name="connsiteY265" fmla="*/ 2050064 h 5120141"/>
                <a:gd name="connsiteX266" fmla="*/ 2017403 w 3832826"/>
                <a:gd name="connsiteY266" fmla="*/ 2066090 h 5120141"/>
                <a:gd name="connsiteX267" fmla="*/ 1998450 w 3832826"/>
                <a:gd name="connsiteY267" fmla="*/ 2080140 h 5120141"/>
                <a:gd name="connsiteX268" fmla="*/ 1962688 w 3832826"/>
                <a:gd name="connsiteY268" fmla="*/ 2110171 h 5120141"/>
                <a:gd name="connsiteX269" fmla="*/ 1952138 w 3832826"/>
                <a:gd name="connsiteY269" fmla="*/ 2116186 h 5120141"/>
                <a:gd name="connsiteX270" fmla="*/ 1937476 w 3832826"/>
                <a:gd name="connsiteY270" fmla="*/ 2120181 h 5120141"/>
                <a:gd name="connsiteX271" fmla="*/ 1914320 w 3832826"/>
                <a:gd name="connsiteY271" fmla="*/ 2122201 h 5120141"/>
                <a:gd name="connsiteX272" fmla="*/ 1891164 w 3832826"/>
                <a:gd name="connsiteY272" fmla="*/ 2122201 h 5120141"/>
                <a:gd name="connsiteX273" fmla="*/ 1880614 w 3832826"/>
                <a:gd name="connsiteY273" fmla="*/ 2126196 h 5120141"/>
                <a:gd name="connsiteX274" fmla="*/ 1870154 w 3832826"/>
                <a:gd name="connsiteY274" fmla="*/ 2130236 h 5120141"/>
                <a:gd name="connsiteX275" fmla="*/ 1859604 w 3832826"/>
                <a:gd name="connsiteY275" fmla="*/ 2136251 h 5120141"/>
                <a:gd name="connsiteX276" fmla="*/ 1842796 w 3832826"/>
                <a:gd name="connsiteY276" fmla="*/ 2138226 h 5120141"/>
                <a:gd name="connsiteX277" fmla="*/ 1817584 w 3832826"/>
                <a:gd name="connsiteY277" fmla="*/ 2142221 h 5120141"/>
                <a:gd name="connsiteX278" fmla="*/ 1786024 w 3832826"/>
                <a:gd name="connsiteY278" fmla="*/ 2146261 h 5120141"/>
                <a:gd name="connsiteX279" fmla="*/ 1756520 w 3832826"/>
                <a:gd name="connsiteY279" fmla="*/ 2150257 h 5120141"/>
                <a:gd name="connsiteX280" fmla="*/ 1743914 w 3832826"/>
                <a:gd name="connsiteY280" fmla="*/ 2150257 h 5120141"/>
                <a:gd name="connsiteX281" fmla="*/ 1733364 w 3832826"/>
                <a:gd name="connsiteY281" fmla="*/ 2150257 h 5120141"/>
                <a:gd name="connsiteX282" fmla="*/ 1706006 w 3832826"/>
                <a:gd name="connsiteY282" fmla="*/ 2142221 h 5120141"/>
                <a:gd name="connsiteX283" fmla="*/ 1680794 w 3832826"/>
                <a:gd name="connsiteY283" fmla="*/ 2136251 h 5120141"/>
                <a:gd name="connsiteX284" fmla="*/ 1655582 w 3832826"/>
                <a:gd name="connsiteY284" fmla="*/ 2126196 h 5120141"/>
                <a:gd name="connsiteX285" fmla="*/ 1630281 w 3832826"/>
                <a:gd name="connsiteY285" fmla="*/ 2116186 h 5120141"/>
                <a:gd name="connsiteX286" fmla="*/ 1607214 w 3832826"/>
                <a:gd name="connsiteY286" fmla="*/ 2110171 h 5120141"/>
                <a:gd name="connsiteX287" fmla="*/ 1594519 w 3832826"/>
                <a:gd name="connsiteY287" fmla="*/ 2110171 h 5120141"/>
                <a:gd name="connsiteX288" fmla="*/ 1584058 w 3832826"/>
                <a:gd name="connsiteY288" fmla="*/ 2112191 h 5120141"/>
                <a:gd name="connsiteX289" fmla="*/ 1573508 w 3832826"/>
                <a:gd name="connsiteY289" fmla="*/ 2116186 h 5120141"/>
                <a:gd name="connsiteX290" fmla="*/ 1560902 w 3832826"/>
                <a:gd name="connsiteY290" fmla="*/ 2120181 h 5120141"/>
                <a:gd name="connsiteX291" fmla="*/ 1544094 w 3832826"/>
                <a:gd name="connsiteY291" fmla="*/ 2128216 h 5120141"/>
                <a:gd name="connsiteX292" fmla="*/ 1529342 w 3832826"/>
                <a:gd name="connsiteY292" fmla="*/ 2136251 h 5120141"/>
                <a:gd name="connsiteX293" fmla="*/ 1499928 w 3832826"/>
                <a:gd name="connsiteY293" fmla="*/ 2140246 h 5120141"/>
                <a:gd name="connsiteX294" fmla="*/ 1497783 w 3832826"/>
                <a:gd name="connsiteY294" fmla="*/ 2140246 h 5120141"/>
                <a:gd name="connsiteX295" fmla="*/ 1483031 w 3832826"/>
                <a:gd name="connsiteY295" fmla="*/ 2140246 h 5120141"/>
                <a:gd name="connsiteX296" fmla="*/ 1468368 w 3832826"/>
                <a:gd name="connsiteY296" fmla="*/ 2140246 h 5120141"/>
                <a:gd name="connsiteX297" fmla="*/ 1451471 w 3832826"/>
                <a:gd name="connsiteY297" fmla="*/ 2142221 h 5120141"/>
                <a:gd name="connsiteX298" fmla="*/ 1447269 w 3832826"/>
                <a:gd name="connsiteY298" fmla="*/ 2146261 h 5120141"/>
                <a:gd name="connsiteX299" fmla="*/ 1440991 w 3832826"/>
                <a:gd name="connsiteY299" fmla="*/ 2149246 h 5120141"/>
                <a:gd name="connsiteX300" fmla="*/ 1440991 w 3832826"/>
                <a:gd name="connsiteY300" fmla="*/ 2319937 h 5120141"/>
                <a:gd name="connsiteX301" fmla="*/ 1445196 w 3832826"/>
                <a:gd name="connsiteY301" fmla="*/ 2330619 h 5120141"/>
                <a:gd name="connsiteX302" fmla="*/ 1449403 w 3832826"/>
                <a:gd name="connsiteY302" fmla="*/ 2344647 h 5120141"/>
                <a:gd name="connsiteX303" fmla="*/ 1462025 w 3832826"/>
                <a:gd name="connsiteY303" fmla="*/ 2378715 h 5120141"/>
                <a:gd name="connsiteX304" fmla="*/ 1480958 w 3832826"/>
                <a:gd name="connsiteY304" fmla="*/ 2438834 h 5120141"/>
                <a:gd name="connsiteX305" fmla="*/ 1493580 w 3832826"/>
                <a:gd name="connsiteY305" fmla="*/ 2468893 h 5120141"/>
                <a:gd name="connsiteX306" fmla="*/ 1499891 w 3832826"/>
                <a:gd name="connsiteY306" fmla="*/ 2480917 h 5120141"/>
                <a:gd name="connsiteX307" fmla="*/ 1508305 w 3832826"/>
                <a:gd name="connsiteY307" fmla="*/ 2492941 h 5120141"/>
                <a:gd name="connsiteX308" fmla="*/ 1508308 w 3832826"/>
                <a:gd name="connsiteY308" fmla="*/ 2490937 h 5120141"/>
                <a:gd name="connsiteX309" fmla="*/ 1703947 w 3832826"/>
                <a:gd name="connsiteY309" fmla="*/ 2693337 h 5120141"/>
                <a:gd name="connsiteX310" fmla="*/ 1800715 w 3832826"/>
                <a:gd name="connsiteY310" fmla="*/ 2777503 h 5120141"/>
                <a:gd name="connsiteX311" fmla="*/ 1821751 w 3832826"/>
                <a:gd name="connsiteY311" fmla="*/ 2793535 h 5120141"/>
                <a:gd name="connsiteX312" fmla="*/ 1846995 w 3832826"/>
                <a:gd name="connsiteY312" fmla="*/ 2807563 h 5120141"/>
                <a:gd name="connsiteX313" fmla="*/ 1868031 w 3832826"/>
                <a:gd name="connsiteY313" fmla="*/ 2827603 h 5120141"/>
                <a:gd name="connsiteX314" fmla="*/ 1874342 w 3832826"/>
                <a:gd name="connsiteY314" fmla="*/ 2837622 h 5120141"/>
                <a:gd name="connsiteX315" fmla="*/ 1882757 w 3832826"/>
                <a:gd name="connsiteY315" fmla="*/ 2847642 h 5120141"/>
                <a:gd name="connsiteX316" fmla="*/ 1882757 w 3832826"/>
                <a:gd name="connsiteY316" fmla="*/ 2857662 h 5120141"/>
                <a:gd name="connsiteX317" fmla="*/ 1871663 w 3832826"/>
                <a:gd name="connsiteY317" fmla="*/ 2862688 h 5120141"/>
                <a:gd name="connsiteX318" fmla="*/ 1920621 w 3832826"/>
                <a:gd name="connsiteY318" fmla="*/ 2925780 h 5120141"/>
                <a:gd name="connsiteX319" fmla="*/ 1937450 w 3832826"/>
                <a:gd name="connsiteY319" fmla="*/ 2955859 h 5120141"/>
                <a:gd name="connsiteX320" fmla="*/ 1956383 w 3832826"/>
                <a:gd name="connsiteY320" fmla="*/ 2987924 h 5120141"/>
                <a:gd name="connsiteX321" fmla="*/ 1964798 w 3832826"/>
                <a:gd name="connsiteY321" fmla="*/ 2997927 h 5120141"/>
                <a:gd name="connsiteX322" fmla="*/ 1969005 w 3832826"/>
                <a:gd name="connsiteY322" fmla="*/ 3009986 h 5120141"/>
                <a:gd name="connsiteX323" fmla="*/ 1977420 w 3832826"/>
                <a:gd name="connsiteY323" fmla="*/ 3038008 h 5120141"/>
                <a:gd name="connsiteX324" fmla="*/ 1985834 w 3832826"/>
                <a:gd name="connsiteY324" fmla="*/ 3066100 h 5120141"/>
                <a:gd name="connsiteX325" fmla="*/ 1994249 w 3832826"/>
                <a:gd name="connsiteY325" fmla="*/ 3078089 h 5120141"/>
                <a:gd name="connsiteX326" fmla="*/ 2004767 w 3832826"/>
                <a:gd name="connsiteY326" fmla="*/ 3090149 h 5120141"/>
                <a:gd name="connsiteX327" fmla="*/ 2008974 w 3832826"/>
                <a:gd name="connsiteY327" fmla="*/ 3100152 h 5120141"/>
                <a:gd name="connsiteX328" fmla="*/ 2017389 w 3832826"/>
                <a:gd name="connsiteY328" fmla="*/ 3110155 h 5120141"/>
                <a:gd name="connsiteX329" fmla="*/ 2023700 w 3832826"/>
                <a:gd name="connsiteY329" fmla="*/ 3136190 h 5120141"/>
                <a:gd name="connsiteX330" fmla="*/ 2032114 w 3832826"/>
                <a:gd name="connsiteY330" fmla="*/ 3158252 h 5120141"/>
                <a:gd name="connsiteX331" fmla="*/ 2040529 w 3832826"/>
                <a:gd name="connsiteY331" fmla="*/ 3168255 h 5120141"/>
                <a:gd name="connsiteX332" fmla="*/ 2048944 w 3832826"/>
                <a:gd name="connsiteY332" fmla="*/ 3174285 h 5120141"/>
                <a:gd name="connsiteX333" fmla="*/ 2059462 w 3832826"/>
                <a:gd name="connsiteY333" fmla="*/ 3180315 h 5120141"/>
                <a:gd name="connsiteX334" fmla="*/ 2069980 w 3832826"/>
                <a:gd name="connsiteY334" fmla="*/ 3180315 h 5120141"/>
                <a:gd name="connsiteX335" fmla="*/ 2082602 w 3832826"/>
                <a:gd name="connsiteY335" fmla="*/ 3182301 h 5120141"/>
                <a:gd name="connsiteX336" fmla="*/ 2095224 w 3832826"/>
                <a:gd name="connsiteY336" fmla="*/ 3184288 h 5120141"/>
                <a:gd name="connsiteX337" fmla="*/ 2105742 w 3832826"/>
                <a:gd name="connsiteY337" fmla="*/ 3190318 h 5120141"/>
                <a:gd name="connsiteX338" fmla="*/ 2114156 w 3832826"/>
                <a:gd name="connsiteY338" fmla="*/ 3198334 h 5120141"/>
                <a:gd name="connsiteX339" fmla="*/ 2122571 w 3832826"/>
                <a:gd name="connsiteY339" fmla="*/ 3204364 h 5120141"/>
                <a:gd name="connsiteX340" fmla="*/ 2132508 w 3832826"/>
                <a:gd name="connsiteY340" fmla="*/ 3211937 h 5120141"/>
                <a:gd name="connsiteX341" fmla="*/ 2133090 w 3832826"/>
                <a:gd name="connsiteY341" fmla="*/ 3211201 h 5120141"/>
                <a:gd name="connsiteX342" fmla="*/ 2210924 w 3832826"/>
                <a:gd name="connsiteY342" fmla="*/ 3145234 h 5120141"/>
                <a:gd name="connsiteX343" fmla="*/ 2286655 w 3832826"/>
                <a:gd name="connsiteY343" fmla="*/ 3071271 h 5120141"/>
                <a:gd name="connsiteX344" fmla="*/ 2316106 w 3832826"/>
                <a:gd name="connsiteY344" fmla="*/ 3045284 h 5120141"/>
                <a:gd name="connsiteX345" fmla="*/ 2332935 w 3832826"/>
                <a:gd name="connsiteY345" fmla="*/ 3035289 h 5120141"/>
                <a:gd name="connsiteX346" fmla="*/ 2343453 w 3832826"/>
                <a:gd name="connsiteY346" fmla="*/ 3031291 h 5120141"/>
                <a:gd name="connsiteX347" fmla="*/ 2349764 w 3832826"/>
                <a:gd name="connsiteY347" fmla="*/ 3029292 h 5120141"/>
                <a:gd name="connsiteX348" fmla="*/ 2381318 w 3832826"/>
                <a:gd name="connsiteY348" fmla="*/ 3031291 h 5120141"/>
                <a:gd name="connsiteX349" fmla="*/ 2398148 w 3832826"/>
                <a:gd name="connsiteY349" fmla="*/ 3029292 h 5120141"/>
                <a:gd name="connsiteX350" fmla="*/ 2402355 w 3832826"/>
                <a:gd name="connsiteY350" fmla="*/ 3029292 h 5120141"/>
                <a:gd name="connsiteX351" fmla="*/ 2404458 w 3832826"/>
                <a:gd name="connsiteY351" fmla="*/ 3027293 h 5120141"/>
                <a:gd name="connsiteX352" fmla="*/ 2404458 w 3832826"/>
                <a:gd name="connsiteY352" fmla="*/ 3007303 h 5120141"/>
                <a:gd name="connsiteX353" fmla="*/ 2408666 w 3832826"/>
                <a:gd name="connsiteY353" fmla="*/ 2997308 h 5120141"/>
                <a:gd name="connsiteX354" fmla="*/ 2410769 w 3832826"/>
                <a:gd name="connsiteY354" fmla="*/ 2995309 h 5120141"/>
                <a:gd name="connsiteX355" fmla="*/ 2414977 w 3832826"/>
                <a:gd name="connsiteY355" fmla="*/ 2991311 h 5120141"/>
                <a:gd name="connsiteX356" fmla="*/ 2423391 w 3832826"/>
                <a:gd name="connsiteY356" fmla="*/ 2991311 h 5120141"/>
                <a:gd name="connsiteX357" fmla="*/ 2425495 w 3832826"/>
                <a:gd name="connsiteY357" fmla="*/ 2987313 h 5120141"/>
                <a:gd name="connsiteX358" fmla="*/ 2429702 w 3832826"/>
                <a:gd name="connsiteY358" fmla="*/ 2985314 h 5120141"/>
                <a:gd name="connsiteX359" fmla="*/ 2429702 w 3832826"/>
                <a:gd name="connsiteY359" fmla="*/ 2979317 h 5120141"/>
                <a:gd name="connsiteX360" fmla="*/ 2429702 w 3832826"/>
                <a:gd name="connsiteY360" fmla="*/ 2977318 h 5120141"/>
                <a:gd name="connsiteX361" fmla="*/ 2431806 w 3832826"/>
                <a:gd name="connsiteY361" fmla="*/ 2971321 h 5120141"/>
                <a:gd name="connsiteX362" fmla="*/ 2433909 w 3832826"/>
                <a:gd name="connsiteY362" fmla="*/ 2969322 h 5120141"/>
                <a:gd name="connsiteX363" fmla="*/ 2442324 w 3832826"/>
                <a:gd name="connsiteY363" fmla="*/ 2967323 h 5120141"/>
                <a:gd name="connsiteX364" fmla="*/ 2452842 w 3832826"/>
                <a:gd name="connsiteY364" fmla="*/ 2967323 h 5120141"/>
                <a:gd name="connsiteX365" fmla="*/ 2454946 w 3832826"/>
                <a:gd name="connsiteY365" fmla="*/ 2965324 h 5120141"/>
                <a:gd name="connsiteX366" fmla="*/ 2457049 w 3832826"/>
                <a:gd name="connsiteY366" fmla="*/ 2961326 h 5120141"/>
                <a:gd name="connsiteX367" fmla="*/ 2457049 w 3832826"/>
                <a:gd name="connsiteY367" fmla="*/ 2941336 h 5120141"/>
                <a:gd name="connsiteX368" fmla="*/ 2461257 w 3832826"/>
                <a:gd name="connsiteY368" fmla="*/ 2927343 h 5120141"/>
                <a:gd name="connsiteX369" fmla="*/ 2463360 w 3832826"/>
                <a:gd name="connsiteY369" fmla="*/ 2917348 h 5120141"/>
                <a:gd name="connsiteX370" fmla="*/ 2467567 w 3832826"/>
                <a:gd name="connsiteY370" fmla="*/ 2907353 h 5120141"/>
                <a:gd name="connsiteX371" fmla="*/ 2473878 w 3832826"/>
                <a:gd name="connsiteY371" fmla="*/ 2899357 h 5120141"/>
                <a:gd name="connsiteX372" fmla="*/ 2488604 w 3832826"/>
                <a:gd name="connsiteY372" fmla="*/ 2885364 h 5120141"/>
                <a:gd name="connsiteX373" fmla="*/ 2509640 w 3832826"/>
                <a:gd name="connsiteY373" fmla="*/ 2865374 h 5120141"/>
                <a:gd name="connsiteX374" fmla="*/ 2646376 w 3832826"/>
                <a:gd name="connsiteY374" fmla="*/ 2743436 h 5120141"/>
                <a:gd name="connsiteX375" fmla="*/ 2650584 w 3832826"/>
                <a:gd name="connsiteY375" fmla="*/ 2755430 h 5120141"/>
                <a:gd name="connsiteX376" fmla="*/ 2654791 w 3832826"/>
                <a:gd name="connsiteY376" fmla="*/ 2765425 h 5120141"/>
                <a:gd name="connsiteX377" fmla="*/ 2663205 w 3832826"/>
                <a:gd name="connsiteY377" fmla="*/ 2773421 h 5120141"/>
                <a:gd name="connsiteX378" fmla="*/ 2671620 w 3832826"/>
                <a:gd name="connsiteY378" fmla="*/ 2773421 h 5120141"/>
                <a:gd name="connsiteX379" fmla="*/ 2675827 w 3832826"/>
                <a:gd name="connsiteY379" fmla="*/ 2775420 h 5120141"/>
                <a:gd name="connsiteX380" fmla="*/ 2688449 w 3832826"/>
                <a:gd name="connsiteY380" fmla="*/ 2779418 h 5120141"/>
                <a:gd name="connsiteX381" fmla="*/ 2696863 w 3832826"/>
                <a:gd name="connsiteY381" fmla="*/ 2785415 h 5120141"/>
                <a:gd name="connsiteX382" fmla="*/ 2701071 w 3832826"/>
                <a:gd name="connsiteY382" fmla="*/ 2787414 h 5120141"/>
                <a:gd name="connsiteX383" fmla="*/ 2709485 w 3832826"/>
                <a:gd name="connsiteY383" fmla="*/ 2785415 h 5120141"/>
                <a:gd name="connsiteX384" fmla="*/ 2715796 w 3832826"/>
                <a:gd name="connsiteY384" fmla="*/ 2779418 h 5120141"/>
                <a:gd name="connsiteX385" fmla="*/ 2722107 w 3832826"/>
                <a:gd name="connsiteY385" fmla="*/ 2775420 h 5120141"/>
                <a:gd name="connsiteX386" fmla="*/ 2728418 w 3832826"/>
                <a:gd name="connsiteY386" fmla="*/ 2773421 h 5120141"/>
                <a:gd name="connsiteX387" fmla="*/ 2747351 w 3832826"/>
                <a:gd name="connsiteY387" fmla="*/ 2769423 h 5120141"/>
                <a:gd name="connsiteX388" fmla="*/ 2764180 w 3832826"/>
                <a:gd name="connsiteY388" fmla="*/ 2773421 h 5120141"/>
                <a:gd name="connsiteX389" fmla="*/ 2783112 w 3832826"/>
                <a:gd name="connsiteY389" fmla="*/ 2779418 h 5120141"/>
                <a:gd name="connsiteX390" fmla="*/ 2795734 w 3832826"/>
                <a:gd name="connsiteY390" fmla="*/ 2793411 h 5120141"/>
                <a:gd name="connsiteX391" fmla="*/ 2799942 w 3832826"/>
                <a:gd name="connsiteY391" fmla="*/ 2793411 h 5120141"/>
                <a:gd name="connsiteX392" fmla="*/ 2804149 w 3832826"/>
                <a:gd name="connsiteY392" fmla="*/ 2805405 h 5120141"/>
                <a:gd name="connsiteX393" fmla="*/ 2812563 w 3832826"/>
                <a:gd name="connsiteY393" fmla="*/ 2817399 h 5120141"/>
                <a:gd name="connsiteX394" fmla="*/ 2825185 w 3832826"/>
                <a:gd name="connsiteY394" fmla="*/ 2845384 h 5120141"/>
                <a:gd name="connsiteX395" fmla="*/ 2835703 w 3832826"/>
                <a:gd name="connsiteY395" fmla="*/ 2873370 h 5120141"/>
                <a:gd name="connsiteX396" fmla="*/ 2842014 w 3832826"/>
                <a:gd name="connsiteY396" fmla="*/ 2885364 h 5120141"/>
                <a:gd name="connsiteX397" fmla="*/ 2847737 w 3832826"/>
                <a:gd name="connsiteY397" fmla="*/ 2896240 h 5120141"/>
                <a:gd name="connsiteX398" fmla="*/ 2848292 w 3832826"/>
                <a:gd name="connsiteY398" fmla="*/ 2895738 h 5120141"/>
                <a:gd name="connsiteX399" fmla="*/ 2873502 w 3832826"/>
                <a:gd name="connsiteY399" fmla="*/ 2911778 h 5120141"/>
                <a:gd name="connsiteX400" fmla="*/ 2898892 w 3832826"/>
                <a:gd name="connsiteY400" fmla="*/ 2921802 h 5120141"/>
                <a:gd name="connsiteX401" fmla="*/ 2921942 w 3832826"/>
                <a:gd name="connsiteY401" fmla="*/ 2935837 h 5120141"/>
                <a:gd name="connsiteX402" fmla="*/ 2932386 w 3832826"/>
                <a:gd name="connsiteY402" fmla="*/ 2943857 h 5120141"/>
                <a:gd name="connsiteX403" fmla="*/ 2943010 w 3832826"/>
                <a:gd name="connsiteY403" fmla="*/ 2953882 h 5120141"/>
                <a:gd name="connsiteX404" fmla="*/ 2957776 w 3832826"/>
                <a:gd name="connsiteY404" fmla="*/ 2965912 h 5120141"/>
                <a:gd name="connsiteX405" fmla="*/ 2964078 w 3832826"/>
                <a:gd name="connsiteY405" fmla="*/ 2973932 h 5120141"/>
                <a:gd name="connsiteX406" fmla="*/ 2970381 w 3832826"/>
                <a:gd name="connsiteY406" fmla="*/ 2977942 h 5120141"/>
                <a:gd name="connsiteX407" fmla="*/ 2985147 w 3832826"/>
                <a:gd name="connsiteY407" fmla="*/ 2979947 h 5120141"/>
                <a:gd name="connsiteX408" fmla="*/ 2995591 w 3832826"/>
                <a:gd name="connsiteY408" fmla="*/ 2979947 h 5120141"/>
                <a:gd name="connsiteX409" fmla="*/ 3006035 w 3832826"/>
                <a:gd name="connsiteY409" fmla="*/ 2983957 h 5120141"/>
                <a:gd name="connsiteX410" fmla="*/ 3018640 w 3832826"/>
                <a:gd name="connsiteY410" fmla="*/ 2993981 h 5120141"/>
                <a:gd name="connsiteX411" fmla="*/ 3024942 w 3832826"/>
                <a:gd name="connsiteY411" fmla="*/ 2999996 h 5120141"/>
                <a:gd name="connsiteX412" fmla="*/ 3027103 w 3832826"/>
                <a:gd name="connsiteY412" fmla="*/ 3006011 h 5120141"/>
                <a:gd name="connsiteX413" fmla="*/ 3027103 w 3832826"/>
                <a:gd name="connsiteY413" fmla="*/ 3008016 h 5120141"/>
                <a:gd name="connsiteX414" fmla="*/ 3024942 w 3832826"/>
                <a:gd name="connsiteY414" fmla="*/ 3014031 h 5120141"/>
                <a:gd name="connsiteX415" fmla="*/ 3018640 w 3832826"/>
                <a:gd name="connsiteY415" fmla="*/ 3020046 h 5120141"/>
                <a:gd name="connsiteX416" fmla="*/ 3014498 w 3832826"/>
                <a:gd name="connsiteY416" fmla="*/ 3029937 h 5120141"/>
                <a:gd name="connsiteX417" fmla="*/ 3014498 w 3832826"/>
                <a:gd name="connsiteY417" fmla="*/ 3043972 h 5120141"/>
                <a:gd name="connsiteX418" fmla="*/ 3014498 w 3832826"/>
                <a:gd name="connsiteY418" fmla="*/ 3049987 h 5120141"/>
                <a:gd name="connsiteX419" fmla="*/ 3024942 w 3832826"/>
                <a:gd name="connsiteY419" fmla="*/ 3074047 h 5120141"/>
                <a:gd name="connsiteX420" fmla="*/ 3024942 w 3832826"/>
                <a:gd name="connsiteY420" fmla="*/ 3084071 h 5120141"/>
                <a:gd name="connsiteX421" fmla="*/ 3022962 w 3832826"/>
                <a:gd name="connsiteY421" fmla="*/ 3088081 h 5120141"/>
                <a:gd name="connsiteX422" fmla="*/ 3022962 w 3832826"/>
                <a:gd name="connsiteY422" fmla="*/ 3090086 h 5120141"/>
                <a:gd name="connsiteX423" fmla="*/ 3024942 w 3832826"/>
                <a:gd name="connsiteY423" fmla="*/ 3094096 h 5120141"/>
                <a:gd name="connsiteX424" fmla="*/ 3033406 w 3832826"/>
                <a:gd name="connsiteY424" fmla="*/ 3100111 h 5120141"/>
                <a:gd name="connsiteX425" fmla="*/ 3046011 w 3832826"/>
                <a:gd name="connsiteY425" fmla="*/ 3106126 h 5120141"/>
                <a:gd name="connsiteX426" fmla="*/ 3056635 w 3832826"/>
                <a:gd name="connsiteY426" fmla="*/ 3108131 h 5120141"/>
                <a:gd name="connsiteX427" fmla="*/ 3064918 w 3832826"/>
                <a:gd name="connsiteY427" fmla="*/ 3110136 h 5120141"/>
                <a:gd name="connsiteX428" fmla="*/ 3075542 w 3832826"/>
                <a:gd name="connsiteY428" fmla="*/ 3118156 h 5120141"/>
                <a:gd name="connsiteX429" fmla="*/ 3088147 w 3832826"/>
                <a:gd name="connsiteY429" fmla="*/ 3138206 h 5120141"/>
                <a:gd name="connsiteX430" fmla="*/ 3096611 w 3832826"/>
                <a:gd name="connsiteY430" fmla="*/ 3152240 h 5120141"/>
                <a:gd name="connsiteX431" fmla="*/ 3096611 w 3832826"/>
                <a:gd name="connsiteY431" fmla="*/ 3162265 h 5120141"/>
                <a:gd name="connsiteX432" fmla="*/ 3096611 w 3832826"/>
                <a:gd name="connsiteY432" fmla="*/ 3166275 h 5120141"/>
                <a:gd name="connsiteX433" fmla="*/ 3090308 w 3832826"/>
                <a:gd name="connsiteY433" fmla="*/ 3168280 h 5120141"/>
                <a:gd name="connsiteX434" fmla="*/ 3088147 w 3832826"/>
                <a:gd name="connsiteY434" fmla="*/ 3168280 h 5120141"/>
                <a:gd name="connsiteX435" fmla="*/ 3085987 w 3832826"/>
                <a:gd name="connsiteY435" fmla="*/ 3170285 h 5120141"/>
                <a:gd name="connsiteX436" fmla="*/ 3085987 w 3832826"/>
                <a:gd name="connsiteY436" fmla="*/ 3178305 h 5120141"/>
                <a:gd name="connsiteX437" fmla="*/ 3088147 w 3832826"/>
                <a:gd name="connsiteY437" fmla="*/ 3182315 h 5120141"/>
                <a:gd name="connsiteX438" fmla="*/ 3090308 w 3832826"/>
                <a:gd name="connsiteY438" fmla="*/ 3186325 h 5120141"/>
                <a:gd name="connsiteX439" fmla="*/ 3092289 w 3832826"/>
                <a:gd name="connsiteY439" fmla="*/ 3190335 h 5120141"/>
                <a:gd name="connsiteX440" fmla="*/ 3098592 w 3832826"/>
                <a:gd name="connsiteY440" fmla="*/ 3208380 h 5120141"/>
                <a:gd name="connsiteX441" fmla="*/ 3102913 w 3832826"/>
                <a:gd name="connsiteY441" fmla="*/ 3222415 h 5120141"/>
                <a:gd name="connsiteX442" fmla="*/ 3107055 w 3832826"/>
                <a:gd name="connsiteY442" fmla="*/ 3238454 h 5120141"/>
                <a:gd name="connsiteX443" fmla="*/ 3109216 w 3832826"/>
                <a:gd name="connsiteY443" fmla="*/ 3246474 h 5120141"/>
                <a:gd name="connsiteX444" fmla="*/ 3113357 w 3832826"/>
                <a:gd name="connsiteY444" fmla="*/ 3248479 h 5120141"/>
                <a:gd name="connsiteX445" fmla="*/ 3130284 w 3832826"/>
                <a:gd name="connsiteY445" fmla="*/ 3252489 h 5120141"/>
                <a:gd name="connsiteX446" fmla="*/ 3159636 w 3832826"/>
                <a:gd name="connsiteY446" fmla="*/ 3266524 h 5120141"/>
                <a:gd name="connsiteX447" fmla="*/ 3187007 w 3832826"/>
                <a:gd name="connsiteY447" fmla="*/ 3278554 h 5120141"/>
                <a:gd name="connsiteX448" fmla="*/ 3214377 w 3832826"/>
                <a:gd name="connsiteY448" fmla="*/ 3296598 h 5120141"/>
                <a:gd name="connsiteX449" fmla="*/ 3243729 w 3832826"/>
                <a:gd name="connsiteY449" fmla="*/ 3308495 h 5120141"/>
                <a:gd name="connsiteX450" fmla="*/ 3250032 w 3832826"/>
                <a:gd name="connsiteY450" fmla="*/ 3312505 h 5120141"/>
                <a:gd name="connsiteX451" fmla="*/ 3260656 w 3832826"/>
                <a:gd name="connsiteY451" fmla="*/ 3326539 h 5120141"/>
                <a:gd name="connsiteX452" fmla="*/ 3269119 w 3832826"/>
                <a:gd name="connsiteY452" fmla="*/ 3338569 h 5120141"/>
                <a:gd name="connsiteX453" fmla="*/ 3275422 w 3832826"/>
                <a:gd name="connsiteY453" fmla="*/ 3352604 h 5120141"/>
                <a:gd name="connsiteX454" fmla="*/ 3285866 w 3832826"/>
                <a:gd name="connsiteY454" fmla="*/ 3384684 h 5120141"/>
                <a:gd name="connsiteX455" fmla="*/ 3292168 w 3832826"/>
                <a:gd name="connsiteY455" fmla="*/ 3410748 h 5120141"/>
                <a:gd name="connsiteX456" fmla="*/ 3300632 w 3832826"/>
                <a:gd name="connsiteY456" fmla="*/ 3434808 h 5120141"/>
                <a:gd name="connsiteX457" fmla="*/ 3309095 w 3832826"/>
                <a:gd name="connsiteY457" fmla="*/ 3458868 h 5120141"/>
                <a:gd name="connsiteX458" fmla="*/ 3311076 w 3832826"/>
                <a:gd name="connsiteY458" fmla="*/ 3468892 h 5120141"/>
                <a:gd name="connsiteX459" fmla="*/ 3313237 w 3832826"/>
                <a:gd name="connsiteY459" fmla="*/ 3474907 h 5120141"/>
                <a:gd name="connsiteX460" fmla="*/ 3313237 w 3832826"/>
                <a:gd name="connsiteY460" fmla="*/ 3478917 h 5120141"/>
                <a:gd name="connsiteX461" fmla="*/ 3309095 w 3832826"/>
                <a:gd name="connsiteY461" fmla="*/ 3482927 h 5120141"/>
                <a:gd name="connsiteX462" fmla="*/ 3302793 w 3832826"/>
                <a:gd name="connsiteY462" fmla="*/ 3488942 h 5120141"/>
                <a:gd name="connsiteX463" fmla="*/ 3296310 w 3832826"/>
                <a:gd name="connsiteY463" fmla="*/ 3490947 h 5120141"/>
                <a:gd name="connsiteX464" fmla="*/ 3296310 w 3832826"/>
                <a:gd name="connsiteY464" fmla="*/ 3498967 h 5120141"/>
                <a:gd name="connsiteX465" fmla="*/ 3296310 w 3832826"/>
                <a:gd name="connsiteY465" fmla="*/ 3508992 h 5120141"/>
                <a:gd name="connsiteX466" fmla="*/ 3300632 w 3832826"/>
                <a:gd name="connsiteY466" fmla="*/ 3531047 h 5120141"/>
                <a:gd name="connsiteX467" fmla="*/ 3309095 w 3832826"/>
                <a:gd name="connsiteY467" fmla="*/ 3553101 h 5120141"/>
                <a:gd name="connsiteX468" fmla="*/ 3313237 w 3832826"/>
                <a:gd name="connsiteY468" fmla="*/ 3563126 h 5120141"/>
                <a:gd name="connsiteX469" fmla="*/ 3319539 w 3832826"/>
                <a:gd name="connsiteY469" fmla="*/ 3567002 h 5120141"/>
                <a:gd name="connsiteX470" fmla="*/ 3317645 w 3832826"/>
                <a:gd name="connsiteY470" fmla="*/ 3567042 h 5120141"/>
                <a:gd name="connsiteX471" fmla="*/ 3330079 w 3832826"/>
                <a:gd name="connsiteY471" fmla="*/ 3577062 h 5120141"/>
                <a:gd name="connsiteX472" fmla="*/ 3334316 w 3832826"/>
                <a:gd name="connsiteY472" fmla="*/ 3585058 h 5120141"/>
                <a:gd name="connsiteX473" fmla="*/ 3334316 w 3832826"/>
                <a:gd name="connsiteY473" fmla="*/ 3593054 h 5120141"/>
                <a:gd name="connsiteX474" fmla="*/ 3334316 w 3832826"/>
                <a:gd name="connsiteY474" fmla="*/ 3603030 h 5120141"/>
                <a:gd name="connsiteX475" fmla="*/ 3332198 w 3832826"/>
                <a:gd name="connsiteY475" fmla="*/ 3607066 h 5120141"/>
                <a:gd name="connsiteX476" fmla="*/ 3323724 w 3832826"/>
                <a:gd name="connsiteY476" fmla="*/ 3609046 h 5120141"/>
                <a:gd name="connsiteX477" fmla="*/ 3319599 w 3832826"/>
                <a:gd name="connsiteY477" fmla="*/ 3613006 h 5120141"/>
                <a:gd name="connsiteX478" fmla="*/ 3319599 w 3832826"/>
                <a:gd name="connsiteY478" fmla="*/ 3617042 h 5120141"/>
                <a:gd name="connsiteX479" fmla="*/ 3319599 w 3832826"/>
                <a:gd name="connsiteY479" fmla="*/ 3619021 h 5120141"/>
                <a:gd name="connsiteX480" fmla="*/ 3323724 w 3832826"/>
                <a:gd name="connsiteY480" fmla="*/ 3625037 h 5120141"/>
                <a:gd name="connsiteX481" fmla="*/ 3330079 w 3832826"/>
                <a:gd name="connsiteY481" fmla="*/ 3627017 h 5120141"/>
                <a:gd name="connsiteX482" fmla="*/ 3332198 w 3832826"/>
                <a:gd name="connsiteY482" fmla="*/ 3628997 h 5120141"/>
                <a:gd name="connsiteX483" fmla="*/ 3340560 w 3832826"/>
                <a:gd name="connsiteY483" fmla="*/ 3644989 h 5120141"/>
                <a:gd name="connsiteX484" fmla="*/ 3351151 w 3832826"/>
                <a:gd name="connsiteY484" fmla="*/ 3657021 h 5120141"/>
                <a:gd name="connsiteX485" fmla="*/ 3372112 w 3832826"/>
                <a:gd name="connsiteY485" fmla="*/ 3684968 h 5120141"/>
                <a:gd name="connsiteX486" fmla="*/ 3372112 w 3832826"/>
                <a:gd name="connsiteY486" fmla="*/ 3687024 h 5120141"/>
                <a:gd name="connsiteX487" fmla="*/ 3372112 w 3832826"/>
                <a:gd name="connsiteY487" fmla="*/ 3689004 h 5120141"/>
                <a:gd name="connsiteX488" fmla="*/ 3367875 w 3832826"/>
                <a:gd name="connsiteY488" fmla="*/ 3695020 h 5120141"/>
                <a:gd name="connsiteX489" fmla="*/ 3363750 w 3832826"/>
                <a:gd name="connsiteY489" fmla="*/ 3703016 h 5120141"/>
                <a:gd name="connsiteX490" fmla="*/ 3363750 w 3832826"/>
                <a:gd name="connsiteY490" fmla="*/ 3704996 h 5120141"/>
                <a:gd name="connsiteX491" fmla="*/ 3363750 w 3832826"/>
                <a:gd name="connsiteY491" fmla="*/ 3706976 h 5120141"/>
                <a:gd name="connsiteX492" fmla="*/ 3367875 w 3832826"/>
                <a:gd name="connsiteY492" fmla="*/ 3716951 h 5120141"/>
                <a:gd name="connsiteX493" fmla="*/ 3374230 w 3832826"/>
                <a:gd name="connsiteY493" fmla="*/ 3722967 h 5120141"/>
                <a:gd name="connsiteX494" fmla="*/ 3382704 w 3832826"/>
                <a:gd name="connsiteY494" fmla="*/ 3728983 h 5120141"/>
                <a:gd name="connsiteX495" fmla="*/ 3388948 w 3832826"/>
                <a:gd name="connsiteY495" fmla="*/ 3734923 h 5120141"/>
                <a:gd name="connsiteX496" fmla="*/ 3395303 w 3832826"/>
                <a:gd name="connsiteY496" fmla="*/ 3746955 h 5120141"/>
                <a:gd name="connsiteX497" fmla="*/ 3397421 w 3832826"/>
                <a:gd name="connsiteY497" fmla="*/ 3756931 h 5120141"/>
                <a:gd name="connsiteX498" fmla="*/ 3397421 w 3832826"/>
                <a:gd name="connsiteY498" fmla="*/ 3766907 h 5120141"/>
                <a:gd name="connsiteX499" fmla="*/ 3399428 w 3832826"/>
                <a:gd name="connsiteY499" fmla="*/ 3778939 h 5120141"/>
                <a:gd name="connsiteX500" fmla="*/ 3407901 w 3832826"/>
                <a:gd name="connsiteY500" fmla="*/ 3798890 h 5120141"/>
                <a:gd name="connsiteX501" fmla="*/ 3416263 w 3832826"/>
                <a:gd name="connsiteY501" fmla="*/ 3808942 h 5120141"/>
                <a:gd name="connsiteX502" fmla="*/ 3424737 w 3832826"/>
                <a:gd name="connsiteY502" fmla="*/ 3816938 h 5120141"/>
                <a:gd name="connsiteX503" fmla="*/ 3431092 w 3832826"/>
                <a:gd name="connsiteY503" fmla="*/ 3820898 h 5120141"/>
                <a:gd name="connsiteX504" fmla="*/ 3437335 w 3832826"/>
                <a:gd name="connsiteY504" fmla="*/ 3820898 h 5120141"/>
                <a:gd name="connsiteX505" fmla="*/ 3449934 w 3832826"/>
                <a:gd name="connsiteY505" fmla="*/ 3820898 h 5120141"/>
                <a:gd name="connsiteX506" fmla="*/ 3456289 w 3832826"/>
                <a:gd name="connsiteY506" fmla="*/ 3824934 h 5120141"/>
                <a:gd name="connsiteX507" fmla="*/ 3460526 w 3832826"/>
                <a:gd name="connsiteY507" fmla="*/ 3826914 h 5120141"/>
                <a:gd name="connsiteX508" fmla="*/ 3466770 w 3832826"/>
                <a:gd name="connsiteY508" fmla="*/ 3830874 h 5120141"/>
                <a:gd name="connsiteX509" fmla="*/ 3468888 w 3832826"/>
                <a:gd name="connsiteY509" fmla="*/ 3840925 h 5120141"/>
                <a:gd name="connsiteX510" fmla="*/ 3466770 w 3832826"/>
                <a:gd name="connsiteY510" fmla="*/ 3840925 h 5120141"/>
                <a:gd name="connsiteX511" fmla="*/ 3462644 w 3832826"/>
                <a:gd name="connsiteY511" fmla="*/ 3844885 h 5120141"/>
                <a:gd name="connsiteX512" fmla="*/ 3458408 w 3832826"/>
                <a:gd name="connsiteY512" fmla="*/ 3846865 h 5120141"/>
                <a:gd name="connsiteX513" fmla="*/ 3456289 w 3832826"/>
                <a:gd name="connsiteY513" fmla="*/ 3848921 h 5120141"/>
                <a:gd name="connsiteX514" fmla="*/ 3458408 w 3832826"/>
                <a:gd name="connsiteY514" fmla="*/ 3854861 h 5120141"/>
                <a:gd name="connsiteX515" fmla="*/ 3462644 w 3832826"/>
                <a:gd name="connsiteY515" fmla="*/ 3856917 h 5120141"/>
                <a:gd name="connsiteX516" fmla="*/ 3468888 w 3832826"/>
                <a:gd name="connsiteY516" fmla="*/ 3860877 h 5120141"/>
                <a:gd name="connsiteX517" fmla="*/ 3481487 w 3832826"/>
                <a:gd name="connsiteY517" fmla="*/ 3874889 h 5120141"/>
                <a:gd name="connsiteX518" fmla="*/ 3487842 w 3832826"/>
                <a:gd name="connsiteY518" fmla="*/ 3880828 h 5120141"/>
                <a:gd name="connsiteX519" fmla="*/ 3489960 w 3832826"/>
                <a:gd name="connsiteY519" fmla="*/ 3888824 h 5120141"/>
                <a:gd name="connsiteX520" fmla="*/ 3489960 w 3832826"/>
                <a:gd name="connsiteY520" fmla="*/ 3898876 h 5120141"/>
                <a:gd name="connsiteX521" fmla="*/ 3483605 w 3832826"/>
                <a:gd name="connsiteY521" fmla="*/ 3910832 h 5120141"/>
                <a:gd name="connsiteX522" fmla="*/ 3477361 w 3832826"/>
                <a:gd name="connsiteY522" fmla="*/ 3924844 h 5120141"/>
                <a:gd name="connsiteX523" fmla="*/ 3477361 w 3832826"/>
                <a:gd name="connsiteY523" fmla="*/ 3934819 h 5120141"/>
                <a:gd name="connsiteX524" fmla="*/ 3477361 w 3832826"/>
                <a:gd name="connsiteY524" fmla="*/ 3946851 h 5120141"/>
                <a:gd name="connsiteX525" fmla="*/ 3481487 w 3832826"/>
                <a:gd name="connsiteY525" fmla="*/ 3960787 h 5120141"/>
                <a:gd name="connsiteX526" fmla="*/ 3492078 w 3832826"/>
                <a:gd name="connsiteY526" fmla="*/ 3988810 h 5120141"/>
                <a:gd name="connsiteX527" fmla="*/ 3498322 w 3832826"/>
                <a:gd name="connsiteY527" fmla="*/ 3998786 h 5120141"/>
                <a:gd name="connsiteX528" fmla="*/ 3502559 w 3832826"/>
                <a:gd name="connsiteY528" fmla="*/ 4006782 h 5120141"/>
                <a:gd name="connsiteX529" fmla="*/ 3513039 w 3832826"/>
                <a:gd name="connsiteY529" fmla="*/ 4012798 h 5120141"/>
                <a:gd name="connsiteX530" fmla="*/ 3521513 w 3832826"/>
                <a:gd name="connsiteY530" fmla="*/ 4022774 h 5120141"/>
                <a:gd name="connsiteX531" fmla="*/ 3523631 w 3832826"/>
                <a:gd name="connsiteY531" fmla="*/ 4028790 h 5120141"/>
                <a:gd name="connsiteX532" fmla="*/ 3523631 w 3832826"/>
                <a:gd name="connsiteY532" fmla="*/ 4036785 h 5120141"/>
                <a:gd name="connsiteX533" fmla="*/ 3523631 w 3832826"/>
                <a:gd name="connsiteY533" fmla="*/ 4048741 h 5120141"/>
                <a:gd name="connsiteX534" fmla="*/ 3521513 w 3832826"/>
                <a:gd name="connsiteY534" fmla="*/ 4066713 h 5120141"/>
                <a:gd name="connsiteX535" fmla="*/ 3521513 w 3832826"/>
                <a:gd name="connsiteY535" fmla="*/ 4078744 h 5120141"/>
                <a:gd name="connsiteX536" fmla="*/ 3525749 w 3832826"/>
                <a:gd name="connsiteY536" fmla="*/ 4100752 h 5120141"/>
                <a:gd name="connsiteX537" fmla="*/ 3540466 w 3832826"/>
                <a:gd name="connsiteY537" fmla="*/ 4136695 h 5120141"/>
                <a:gd name="connsiteX538" fmla="*/ 3557302 w 3832826"/>
                <a:gd name="connsiteY538" fmla="*/ 4182690 h 5120141"/>
                <a:gd name="connsiteX539" fmla="*/ 3555183 w 3832826"/>
                <a:gd name="connsiteY539" fmla="*/ 4186650 h 5120141"/>
                <a:gd name="connsiteX540" fmla="*/ 3557302 w 3832826"/>
                <a:gd name="connsiteY540" fmla="*/ 4192666 h 5120141"/>
                <a:gd name="connsiteX541" fmla="*/ 3567782 w 3832826"/>
                <a:gd name="connsiteY541" fmla="*/ 4214674 h 5120141"/>
                <a:gd name="connsiteX542" fmla="*/ 3578262 w 3832826"/>
                <a:gd name="connsiteY542" fmla="*/ 4240641 h 5120141"/>
                <a:gd name="connsiteX543" fmla="*/ 3582499 w 3832826"/>
                <a:gd name="connsiteY543" fmla="*/ 4250617 h 5120141"/>
                <a:gd name="connsiteX544" fmla="*/ 3582499 w 3832826"/>
                <a:gd name="connsiteY544" fmla="*/ 4260593 h 5120141"/>
                <a:gd name="connsiteX545" fmla="*/ 3578262 w 3832826"/>
                <a:gd name="connsiteY545" fmla="*/ 4260593 h 5120141"/>
                <a:gd name="connsiteX546" fmla="*/ 3576144 w 3832826"/>
                <a:gd name="connsiteY546" fmla="*/ 4264629 h 5120141"/>
                <a:gd name="connsiteX547" fmla="*/ 3572019 w 3832826"/>
                <a:gd name="connsiteY547" fmla="*/ 4270645 h 5120141"/>
                <a:gd name="connsiteX548" fmla="*/ 3565664 w 3832826"/>
                <a:gd name="connsiteY548" fmla="*/ 4272624 h 5120141"/>
                <a:gd name="connsiteX549" fmla="*/ 3563545 w 3832826"/>
                <a:gd name="connsiteY549" fmla="*/ 4278640 h 5120141"/>
                <a:gd name="connsiteX550" fmla="*/ 3561427 w 3832826"/>
                <a:gd name="connsiteY550" fmla="*/ 4288616 h 5120141"/>
                <a:gd name="connsiteX551" fmla="*/ 3561427 w 3832826"/>
                <a:gd name="connsiteY551" fmla="*/ 4300572 h 5120141"/>
                <a:gd name="connsiteX552" fmla="*/ 3557302 w 3832826"/>
                <a:gd name="connsiteY552" fmla="*/ 4324559 h 5120141"/>
                <a:gd name="connsiteX553" fmla="*/ 3556313 w 3832826"/>
                <a:gd name="connsiteY553" fmla="*/ 4324559 h 5120141"/>
                <a:gd name="connsiteX554" fmla="*/ 3557250 w 3832826"/>
                <a:gd name="connsiteY554" fmla="*/ 4324566 h 5120141"/>
                <a:gd name="connsiteX555" fmla="*/ 3561457 w 3832826"/>
                <a:gd name="connsiteY555" fmla="*/ 4324566 h 5120141"/>
                <a:gd name="connsiteX556" fmla="*/ 3687675 w 3832826"/>
                <a:gd name="connsiteY556" fmla="*/ 4322562 h 5120141"/>
                <a:gd name="connsiteX557" fmla="*/ 3815997 w 3832826"/>
                <a:gd name="connsiteY557" fmla="*/ 4322562 h 5120141"/>
                <a:gd name="connsiteX558" fmla="*/ 3820204 w 3832826"/>
                <a:gd name="connsiteY558" fmla="*/ 4362642 h 5120141"/>
                <a:gd name="connsiteX559" fmla="*/ 3820204 w 3832826"/>
                <a:gd name="connsiteY559" fmla="*/ 4388693 h 5120141"/>
                <a:gd name="connsiteX560" fmla="*/ 3815997 w 3832826"/>
                <a:gd name="connsiteY560" fmla="*/ 4394705 h 5120141"/>
                <a:gd name="connsiteX561" fmla="*/ 3813893 w 3832826"/>
                <a:gd name="connsiteY561" fmla="*/ 4398713 h 5120141"/>
                <a:gd name="connsiteX562" fmla="*/ 3803375 w 3832826"/>
                <a:gd name="connsiteY562" fmla="*/ 4398713 h 5120141"/>
                <a:gd name="connsiteX563" fmla="*/ 3799168 w 3832826"/>
                <a:gd name="connsiteY563" fmla="*/ 4402721 h 5120141"/>
                <a:gd name="connsiteX564" fmla="*/ 3799168 w 3832826"/>
                <a:gd name="connsiteY564" fmla="*/ 4408733 h 5120141"/>
                <a:gd name="connsiteX565" fmla="*/ 3801272 w 3832826"/>
                <a:gd name="connsiteY565" fmla="*/ 4420757 h 5120141"/>
                <a:gd name="connsiteX566" fmla="*/ 3801272 w 3832826"/>
                <a:gd name="connsiteY566" fmla="*/ 4422761 h 5120141"/>
                <a:gd name="connsiteX567" fmla="*/ 3805479 w 3832826"/>
                <a:gd name="connsiteY567" fmla="*/ 4424765 h 5120141"/>
                <a:gd name="connsiteX568" fmla="*/ 3815997 w 3832826"/>
                <a:gd name="connsiteY568" fmla="*/ 4422761 h 5120141"/>
                <a:gd name="connsiteX569" fmla="*/ 3826515 w 3832826"/>
                <a:gd name="connsiteY569" fmla="*/ 4422761 h 5120141"/>
                <a:gd name="connsiteX570" fmla="*/ 3830723 w 3832826"/>
                <a:gd name="connsiteY570" fmla="*/ 4424765 h 5120141"/>
                <a:gd name="connsiteX571" fmla="*/ 3832826 w 3832826"/>
                <a:gd name="connsiteY571" fmla="*/ 4430776 h 5120141"/>
                <a:gd name="connsiteX572" fmla="*/ 3830723 w 3832826"/>
                <a:gd name="connsiteY572" fmla="*/ 4436788 h 5120141"/>
                <a:gd name="connsiteX573" fmla="*/ 3826515 w 3832826"/>
                <a:gd name="connsiteY573" fmla="*/ 4436788 h 5120141"/>
                <a:gd name="connsiteX574" fmla="*/ 3822308 w 3832826"/>
                <a:gd name="connsiteY574" fmla="*/ 4440796 h 5120141"/>
                <a:gd name="connsiteX575" fmla="*/ 3822308 w 3832826"/>
                <a:gd name="connsiteY575" fmla="*/ 4444804 h 5120141"/>
                <a:gd name="connsiteX576" fmla="*/ 3822308 w 3832826"/>
                <a:gd name="connsiteY576" fmla="*/ 4502919 h 5120141"/>
                <a:gd name="connsiteX577" fmla="*/ 3824412 w 3832826"/>
                <a:gd name="connsiteY577" fmla="*/ 4557026 h 5120141"/>
                <a:gd name="connsiteX578" fmla="*/ 3826515 w 3832826"/>
                <a:gd name="connsiteY578" fmla="*/ 4723356 h 5120141"/>
                <a:gd name="connsiteX579" fmla="*/ 3826515 w 3832826"/>
                <a:gd name="connsiteY579" fmla="*/ 4805518 h 5120141"/>
                <a:gd name="connsiteX580" fmla="*/ 3826515 w 3832826"/>
                <a:gd name="connsiteY580" fmla="*/ 4887681 h 5120141"/>
                <a:gd name="connsiteX581" fmla="*/ 3815997 w 3832826"/>
                <a:gd name="connsiteY581" fmla="*/ 4885677 h 5120141"/>
                <a:gd name="connsiteX582" fmla="*/ 3820204 w 3832826"/>
                <a:gd name="connsiteY582" fmla="*/ 4985875 h 5120141"/>
                <a:gd name="connsiteX583" fmla="*/ 3820204 w 3832826"/>
                <a:gd name="connsiteY583" fmla="*/ 5072046 h 5120141"/>
                <a:gd name="connsiteX584" fmla="*/ 3822308 w 3832826"/>
                <a:gd name="connsiteY584" fmla="*/ 5072046 h 5120141"/>
                <a:gd name="connsiteX585" fmla="*/ 3822308 w 3832826"/>
                <a:gd name="connsiteY585" fmla="*/ 5088078 h 5120141"/>
                <a:gd name="connsiteX586" fmla="*/ 3822308 w 3832826"/>
                <a:gd name="connsiteY586" fmla="*/ 5100102 h 5120141"/>
                <a:gd name="connsiteX587" fmla="*/ 3820204 w 3832826"/>
                <a:gd name="connsiteY587" fmla="*/ 5104109 h 5120141"/>
                <a:gd name="connsiteX588" fmla="*/ 3815997 w 3832826"/>
                <a:gd name="connsiteY588" fmla="*/ 5108117 h 5120141"/>
                <a:gd name="connsiteX589" fmla="*/ 3809686 w 3832826"/>
                <a:gd name="connsiteY589" fmla="*/ 5108117 h 5120141"/>
                <a:gd name="connsiteX590" fmla="*/ 3801272 w 3832826"/>
                <a:gd name="connsiteY590" fmla="*/ 5108117 h 5120141"/>
                <a:gd name="connsiteX591" fmla="*/ 3370026 w 3832826"/>
                <a:gd name="connsiteY591" fmla="*/ 5110121 h 5120141"/>
                <a:gd name="connsiteX592" fmla="*/ 2940884 w 3832826"/>
                <a:gd name="connsiteY592" fmla="*/ 5112125 h 5120141"/>
                <a:gd name="connsiteX593" fmla="*/ 2903018 w 3832826"/>
                <a:gd name="connsiteY593" fmla="*/ 5112125 h 5120141"/>
                <a:gd name="connsiteX594" fmla="*/ 2898811 w 3832826"/>
                <a:gd name="connsiteY594" fmla="*/ 5118137 h 5120141"/>
                <a:gd name="connsiteX595" fmla="*/ 2888293 w 3832826"/>
                <a:gd name="connsiteY595" fmla="*/ 5120141 h 5120141"/>
                <a:gd name="connsiteX596" fmla="*/ 2860945 w 3832826"/>
                <a:gd name="connsiteY596" fmla="*/ 5120141 h 5120141"/>
                <a:gd name="connsiteX597" fmla="*/ 2808354 w 3832826"/>
                <a:gd name="connsiteY597" fmla="*/ 5118137 h 5120141"/>
                <a:gd name="connsiteX598" fmla="*/ 2747349 w 3832826"/>
                <a:gd name="connsiteY598" fmla="*/ 5120141 h 5120141"/>
                <a:gd name="connsiteX599" fmla="*/ 2713691 w 3832826"/>
                <a:gd name="connsiteY599" fmla="*/ 5120141 h 5120141"/>
                <a:gd name="connsiteX600" fmla="*/ 2701069 w 3832826"/>
                <a:gd name="connsiteY600" fmla="*/ 5118137 h 5120141"/>
                <a:gd name="connsiteX601" fmla="*/ 2692654 w 3832826"/>
                <a:gd name="connsiteY601" fmla="*/ 5114129 h 5120141"/>
                <a:gd name="connsiteX602" fmla="*/ 2690551 w 3832826"/>
                <a:gd name="connsiteY602" fmla="*/ 5108117 h 5120141"/>
                <a:gd name="connsiteX603" fmla="*/ 2690551 w 3832826"/>
                <a:gd name="connsiteY603" fmla="*/ 5100102 h 5120141"/>
                <a:gd name="connsiteX604" fmla="*/ 2690551 w 3832826"/>
                <a:gd name="connsiteY604" fmla="*/ 5084070 h 5120141"/>
                <a:gd name="connsiteX605" fmla="*/ 2690551 w 3832826"/>
                <a:gd name="connsiteY605" fmla="*/ 5082066 h 5120141"/>
                <a:gd name="connsiteX606" fmla="*/ 2688447 w 3832826"/>
                <a:gd name="connsiteY606" fmla="*/ 5080062 h 5120141"/>
                <a:gd name="connsiteX607" fmla="*/ 2682136 w 3832826"/>
                <a:gd name="connsiteY607" fmla="*/ 5080062 h 5120141"/>
                <a:gd name="connsiteX608" fmla="*/ 2675825 w 3832826"/>
                <a:gd name="connsiteY608" fmla="*/ 5080062 h 5120141"/>
                <a:gd name="connsiteX609" fmla="*/ 2669514 w 3832826"/>
                <a:gd name="connsiteY609" fmla="*/ 5080062 h 5120141"/>
                <a:gd name="connsiteX610" fmla="*/ 2667411 w 3832826"/>
                <a:gd name="connsiteY610" fmla="*/ 5078058 h 5120141"/>
                <a:gd name="connsiteX611" fmla="*/ 2667411 w 3832826"/>
                <a:gd name="connsiteY611" fmla="*/ 5072046 h 5120141"/>
                <a:gd name="connsiteX612" fmla="*/ 2658996 w 3832826"/>
                <a:gd name="connsiteY612" fmla="*/ 5070042 h 5120141"/>
                <a:gd name="connsiteX613" fmla="*/ 2627442 w 3832826"/>
                <a:gd name="connsiteY613" fmla="*/ 5070042 h 5120141"/>
                <a:gd name="connsiteX614" fmla="*/ 2612716 w 3832826"/>
                <a:gd name="connsiteY614" fmla="*/ 5070042 h 5120141"/>
                <a:gd name="connsiteX615" fmla="*/ 2604302 w 3832826"/>
                <a:gd name="connsiteY615" fmla="*/ 5070042 h 5120141"/>
                <a:gd name="connsiteX616" fmla="*/ 2602198 w 3832826"/>
                <a:gd name="connsiteY616" fmla="*/ 5068038 h 5120141"/>
                <a:gd name="connsiteX617" fmla="*/ 2597991 w 3832826"/>
                <a:gd name="connsiteY617" fmla="*/ 5064030 h 5120141"/>
                <a:gd name="connsiteX618" fmla="*/ 2595887 w 3832826"/>
                <a:gd name="connsiteY618" fmla="*/ 5052006 h 5120141"/>
                <a:gd name="connsiteX619" fmla="*/ 2593783 w 3832826"/>
                <a:gd name="connsiteY619" fmla="*/ 5047998 h 5120141"/>
                <a:gd name="connsiteX620" fmla="*/ 2591680 w 3832826"/>
                <a:gd name="connsiteY620" fmla="*/ 5047998 h 5120141"/>
                <a:gd name="connsiteX621" fmla="*/ 2576954 w 3832826"/>
                <a:gd name="connsiteY621" fmla="*/ 5045994 h 5120141"/>
                <a:gd name="connsiteX622" fmla="*/ 2551711 w 3832826"/>
                <a:gd name="connsiteY622" fmla="*/ 5047998 h 5120141"/>
                <a:gd name="connsiteX623" fmla="*/ 2530674 w 3832826"/>
                <a:gd name="connsiteY623" fmla="*/ 5045994 h 5120141"/>
                <a:gd name="connsiteX624" fmla="*/ 2528571 w 3832826"/>
                <a:gd name="connsiteY624" fmla="*/ 4975856 h 5120141"/>
                <a:gd name="connsiteX625" fmla="*/ 2528571 w 3832826"/>
                <a:gd name="connsiteY625" fmla="*/ 4905717 h 5120141"/>
                <a:gd name="connsiteX626" fmla="*/ 2524363 w 3832826"/>
                <a:gd name="connsiteY626" fmla="*/ 4899705 h 5120141"/>
                <a:gd name="connsiteX627" fmla="*/ 2522260 w 3832826"/>
                <a:gd name="connsiteY627" fmla="*/ 4895697 h 5120141"/>
                <a:gd name="connsiteX628" fmla="*/ 2509638 w 3832826"/>
                <a:gd name="connsiteY628" fmla="*/ 4891689 h 5120141"/>
                <a:gd name="connsiteX629" fmla="*/ 2492809 w 3832826"/>
                <a:gd name="connsiteY629" fmla="*/ 4889685 h 5120141"/>
                <a:gd name="connsiteX630" fmla="*/ 2478083 w 3832826"/>
                <a:gd name="connsiteY630" fmla="*/ 4889685 h 5120141"/>
                <a:gd name="connsiteX631" fmla="*/ 2471772 w 3832826"/>
                <a:gd name="connsiteY631" fmla="*/ 4887681 h 5120141"/>
                <a:gd name="connsiteX632" fmla="*/ 2467565 w 3832826"/>
                <a:gd name="connsiteY632" fmla="*/ 4881669 h 5120141"/>
                <a:gd name="connsiteX633" fmla="*/ 2465461 w 3832826"/>
                <a:gd name="connsiteY633" fmla="*/ 4871649 h 5120141"/>
                <a:gd name="connsiteX634" fmla="*/ 2465461 w 3832826"/>
                <a:gd name="connsiteY634" fmla="*/ 4861629 h 5120141"/>
                <a:gd name="connsiteX635" fmla="*/ 2467565 w 3832826"/>
                <a:gd name="connsiteY635" fmla="*/ 4839586 h 5120141"/>
                <a:gd name="connsiteX636" fmla="*/ 2467565 w 3832826"/>
                <a:gd name="connsiteY636" fmla="*/ 4823554 h 5120141"/>
                <a:gd name="connsiteX637" fmla="*/ 2391834 w 3832826"/>
                <a:gd name="connsiteY637" fmla="*/ 4823554 h 5120141"/>
                <a:gd name="connsiteX638" fmla="*/ 2393938 w 3832826"/>
                <a:gd name="connsiteY638" fmla="*/ 4755419 h 5120141"/>
                <a:gd name="connsiteX639" fmla="*/ 2343450 w 3832826"/>
                <a:gd name="connsiteY639" fmla="*/ 4759427 h 5120141"/>
                <a:gd name="connsiteX640" fmla="*/ 2311896 w 3832826"/>
                <a:gd name="connsiteY640" fmla="*/ 4759427 h 5120141"/>
                <a:gd name="connsiteX641" fmla="*/ 2301378 w 3832826"/>
                <a:gd name="connsiteY641" fmla="*/ 4757423 h 5120141"/>
                <a:gd name="connsiteX642" fmla="*/ 2295067 w 3832826"/>
                <a:gd name="connsiteY642" fmla="*/ 4755419 h 5120141"/>
                <a:gd name="connsiteX643" fmla="*/ 2290860 w 3832826"/>
                <a:gd name="connsiteY643" fmla="*/ 4749407 h 5120141"/>
                <a:gd name="connsiteX644" fmla="*/ 2290860 w 3832826"/>
                <a:gd name="connsiteY644" fmla="*/ 4745399 h 5120141"/>
                <a:gd name="connsiteX645" fmla="*/ 2290860 w 3832826"/>
                <a:gd name="connsiteY645" fmla="*/ 4727364 h 5120141"/>
                <a:gd name="connsiteX646" fmla="*/ 2290860 w 3832826"/>
                <a:gd name="connsiteY646" fmla="*/ 4699308 h 5120141"/>
                <a:gd name="connsiteX647" fmla="*/ 2290860 w 3832826"/>
                <a:gd name="connsiteY647" fmla="*/ 4687284 h 5120141"/>
                <a:gd name="connsiteX648" fmla="*/ 2288756 w 3832826"/>
                <a:gd name="connsiteY648" fmla="*/ 4685280 h 5120141"/>
                <a:gd name="connsiteX649" fmla="*/ 2284549 w 3832826"/>
                <a:gd name="connsiteY649" fmla="*/ 4683276 h 5120141"/>
                <a:gd name="connsiteX650" fmla="*/ 2274030 w 3832826"/>
                <a:gd name="connsiteY650" fmla="*/ 4683276 h 5120141"/>
                <a:gd name="connsiteX651" fmla="*/ 2259305 w 3832826"/>
                <a:gd name="connsiteY651" fmla="*/ 4685280 h 5120141"/>
                <a:gd name="connsiteX652" fmla="*/ 2255098 w 3832826"/>
                <a:gd name="connsiteY652" fmla="*/ 4683276 h 5120141"/>
                <a:gd name="connsiteX653" fmla="*/ 2248787 w 3832826"/>
                <a:gd name="connsiteY653" fmla="*/ 4679268 h 5120141"/>
                <a:gd name="connsiteX654" fmla="*/ 2244579 w 3832826"/>
                <a:gd name="connsiteY654" fmla="*/ 4673257 h 5120141"/>
                <a:gd name="connsiteX655" fmla="*/ 2244579 w 3832826"/>
                <a:gd name="connsiteY655" fmla="*/ 4663237 h 5120141"/>
                <a:gd name="connsiteX656" fmla="*/ 2244579 w 3832826"/>
                <a:gd name="connsiteY656" fmla="*/ 4649209 h 5120141"/>
                <a:gd name="connsiteX657" fmla="*/ 2244579 w 3832826"/>
                <a:gd name="connsiteY657" fmla="*/ 4637185 h 5120141"/>
                <a:gd name="connsiteX658" fmla="*/ 2244579 w 3832826"/>
                <a:gd name="connsiteY658" fmla="*/ 4627165 h 5120141"/>
                <a:gd name="connsiteX659" fmla="*/ 2242476 w 3832826"/>
                <a:gd name="connsiteY659" fmla="*/ 4623157 h 5120141"/>
                <a:gd name="connsiteX660" fmla="*/ 2236165 w 3832826"/>
                <a:gd name="connsiteY660" fmla="*/ 4617145 h 5120141"/>
                <a:gd name="connsiteX661" fmla="*/ 2234061 w 3832826"/>
                <a:gd name="connsiteY661" fmla="*/ 4617145 h 5120141"/>
                <a:gd name="connsiteX662" fmla="*/ 2225647 w 3832826"/>
                <a:gd name="connsiteY662" fmla="*/ 4615141 h 5120141"/>
                <a:gd name="connsiteX663" fmla="*/ 2194092 w 3832826"/>
                <a:gd name="connsiteY663" fmla="*/ 4617145 h 5120141"/>
                <a:gd name="connsiteX664" fmla="*/ 2179367 w 3832826"/>
                <a:gd name="connsiteY664" fmla="*/ 4617145 h 5120141"/>
                <a:gd name="connsiteX665" fmla="*/ 2164641 w 3832826"/>
                <a:gd name="connsiteY665" fmla="*/ 4613137 h 5120141"/>
                <a:gd name="connsiteX666" fmla="*/ 2162538 w 3832826"/>
                <a:gd name="connsiteY666" fmla="*/ 4607126 h 5120141"/>
                <a:gd name="connsiteX667" fmla="*/ 2160434 w 3832826"/>
                <a:gd name="connsiteY667" fmla="*/ 4597106 h 5120141"/>
                <a:gd name="connsiteX668" fmla="*/ 2154123 w 3832826"/>
                <a:gd name="connsiteY668" fmla="*/ 4583078 h 5120141"/>
                <a:gd name="connsiteX669" fmla="*/ 2149916 w 3832826"/>
                <a:gd name="connsiteY669" fmla="*/ 4581074 h 5120141"/>
                <a:gd name="connsiteX670" fmla="*/ 2143605 w 3832826"/>
                <a:gd name="connsiteY670" fmla="*/ 4575062 h 5120141"/>
                <a:gd name="connsiteX671" fmla="*/ 2133087 w 3832826"/>
                <a:gd name="connsiteY671" fmla="*/ 4571054 h 5120141"/>
                <a:gd name="connsiteX672" fmla="*/ 2130983 w 3832826"/>
                <a:gd name="connsiteY672" fmla="*/ 4565042 h 5120141"/>
                <a:gd name="connsiteX673" fmla="*/ 2130983 w 3832826"/>
                <a:gd name="connsiteY673" fmla="*/ 4561034 h 5120141"/>
                <a:gd name="connsiteX674" fmla="*/ 2130983 w 3832826"/>
                <a:gd name="connsiteY674" fmla="*/ 4553018 h 5120141"/>
                <a:gd name="connsiteX675" fmla="*/ 2130983 w 3832826"/>
                <a:gd name="connsiteY675" fmla="*/ 4551015 h 5120141"/>
                <a:gd name="connsiteX676" fmla="*/ 2126776 w 3832826"/>
                <a:gd name="connsiteY676" fmla="*/ 4545003 h 5120141"/>
                <a:gd name="connsiteX677" fmla="*/ 2122568 w 3832826"/>
                <a:gd name="connsiteY677" fmla="*/ 4545003 h 5120141"/>
                <a:gd name="connsiteX678" fmla="*/ 2120465 w 3832826"/>
                <a:gd name="connsiteY678" fmla="*/ 4545003 h 5120141"/>
                <a:gd name="connsiteX679" fmla="*/ 2118361 w 3832826"/>
                <a:gd name="connsiteY679" fmla="*/ 4536987 h 5120141"/>
                <a:gd name="connsiteX680" fmla="*/ 2116258 w 3832826"/>
                <a:gd name="connsiteY680" fmla="*/ 4536987 h 5120141"/>
                <a:gd name="connsiteX681" fmla="*/ 2109947 w 3832826"/>
                <a:gd name="connsiteY681" fmla="*/ 4536987 h 5120141"/>
                <a:gd name="connsiteX682" fmla="*/ 2107843 w 3832826"/>
                <a:gd name="connsiteY682" fmla="*/ 4536987 h 5120141"/>
                <a:gd name="connsiteX683" fmla="*/ 2107843 w 3832826"/>
                <a:gd name="connsiteY683" fmla="*/ 4534983 h 5120141"/>
                <a:gd name="connsiteX684" fmla="*/ 2105739 w 3832826"/>
                <a:gd name="connsiteY684" fmla="*/ 4500915 h 5120141"/>
                <a:gd name="connsiteX685" fmla="*/ 2105739 w 3832826"/>
                <a:gd name="connsiteY685" fmla="*/ 4476868 h 5120141"/>
                <a:gd name="connsiteX686" fmla="*/ 2101532 w 3832826"/>
                <a:gd name="connsiteY686" fmla="*/ 4470856 h 5120141"/>
                <a:gd name="connsiteX687" fmla="*/ 2099428 w 3832826"/>
                <a:gd name="connsiteY687" fmla="*/ 4466848 h 5120141"/>
                <a:gd name="connsiteX688" fmla="*/ 2095221 w 3832826"/>
                <a:gd name="connsiteY688" fmla="*/ 4466848 h 5120141"/>
                <a:gd name="connsiteX689" fmla="*/ 2063667 w 3832826"/>
                <a:gd name="connsiteY689" fmla="*/ 4470856 h 5120141"/>
                <a:gd name="connsiteX690" fmla="*/ 2042630 w 3832826"/>
                <a:gd name="connsiteY690" fmla="*/ 4470856 h 5120141"/>
                <a:gd name="connsiteX691" fmla="*/ 2036319 w 3832826"/>
                <a:gd name="connsiteY691" fmla="*/ 4466848 h 5120141"/>
                <a:gd name="connsiteX692" fmla="*/ 2032112 w 3832826"/>
                <a:gd name="connsiteY692" fmla="*/ 4466848 h 5120141"/>
                <a:gd name="connsiteX693" fmla="*/ 2027905 w 3832826"/>
                <a:gd name="connsiteY693" fmla="*/ 4456828 h 5120141"/>
                <a:gd name="connsiteX694" fmla="*/ 2027905 w 3832826"/>
                <a:gd name="connsiteY694" fmla="*/ 4444804 h 5120141"/>
                <a:gd name="connsiteX695" fmla="*/ 2027905 w 3832826"/>
                <a:gd name="connsiteY695" fmla="*/ 4420757 h 5120141"/>
                <a:gd name="connsiteX696" fmla="*/ 2027905 w 3832826"/>
                <a:gd name="connsiteY696" fmla="*/ 4376298 h 5120141"/>
                <a:gd name="connsiteX697" fmla="*/ 2025801 w 3832826"/>
                <a:gd name="connsiteY697" fmla="*/ 4376298 h 5120141"/>
                <a:gd name="connsiteX698" fmla="*/ 2025801 w 3832826"/>
                <a:gd name="connsiteY698" fmla="*/ 4328574 h 5120141"/>
                <a:gd name="connsiteX699" fmla="*/ 2025801 w 3832826"/>
                <a:gd name="connsiteY699" fmla="*/ 4326856 h 5120141"/>
                <a:gd name="connsiteX700" fmla="*/ 2021595 w 3832826"/>
                <a:gd name="connsiteY700" fmla="*/ 4326570 h 5120141"/>
                <a:gd name="connsiteX701" fmla="*/ 2015284 w 3832826"/>
                <a:gd name="connsiteY701" fmla="*/ 4326570 h 5120141"/>
                <a:gd name="connsiteX702" fmla="*/ 2017387 w 3832826"/>
                <a:gd name="connsiteY702" fmla="*/ 4316550 h 5120141"/>
                <a:gd name="connsiteX703" fmla="*/ 2015284 w 3832826"/>
                <a:gd name="connsiteY703" fmla="*/ 4310539 h 5120141"/>
                <a:gd name="connsiteX704" fmla="*/ 2008973 w 3832826"/>
                <a:gd name="connsiteY704" fmla="*/ 4306531 h 5120141"/>
                <a:gd name="connsiteX705" fmla="*/ 2004765 w 3832826"/>
                <a:gd name="connsiteY705" fmla="*/ 4300519 h 5120141"/>
                <a:gd name="connsiteX706" fmla="*/ 1994247 w 3832826"/>
                <a:gd name="connsiteY706" fmla="*/ 4286491 h 5120141"/>
                <a:gd name="connsiteX707" fmla="*/ 1987936 w 3832826"/>
                <a:gd name="connsiteY707" fmla="*/ 4270459 h 5120141"/>
                <a:gd name="connsiteX708" fmla="*/ 1987936 w 3832826"/>
                <a:gd name="connsiteY708" fmla="*/ 4262443 h 5120141"/>
                <a:gd name="connsiteX709" fmla="*/ 1987936 w 3832826"/>
                <a:gd name="connsiteY709" fmla="*/ 4258435 h 5120141"/>
                <a:gd name="connsiteX710" fmla="*/ 1987936 w 3832826"/>
                <a:gd name="connsiteY710" fmla="*/ 4252423 h 5120141"/>
                <a:gd name="connsiteX711" fmla="*/ 1983729 w 3832826"/>
                <a:gd name="connsiteY711" fmla="*/ 4246412 h 5120141"/>
                <a:gd name="connsiteX712" fmla="*/ 1978277 w 3832826"/>
                <a:gd name="connsiteY712" fmla="*/ 4241218 h 5120141"/>
                <a:gd name="connsiteX713" fmla="*/ 1947935 w 3832826"/>
                <a:gd name="connsiteY713" fmla="*/ 4232386 h 5120141"/>
                <a:gd name="connsiteX714" fmla="*/ 1941632 w 3832826"/>
                <a:gd name="connsiteY714" fmla="*/ 4228376 h 5120141"/>
                <a:gd name="connsiteX715" fmla="*/ 1933169 w 3832826"/>
                <a:gd name="connsiteY715" fmla="*/ 4220356 h 5120141"/>
                <a:gd name="connsiteX716" fmla="*/ 1922725 w 3832826"/>
                <a:gd name="connsiteY716" fmla="*/ 4208326 h 5120141"/>
                <a:gd name="connsiteX717" fmla="*/ 1910120 w 3832826"/>
                <a:gd name="connsiteY717" fmla="*/ 4196297 h 5120141"/>
                <a:gd name="connsiteX718" fmla="*/ 1901657 w 3832826"/>
                <a:gd name="connsiteY718" fmla="*/ 4190282 h 5120141"/>
                <a:gd name="connsiteX719" fmla="*/ 1893193 w 3832826"/>
                <a:gd name="connsiteY719" fmla="*/ 4186272 h 5120141"/>
                <a:gd name="connsiteX720" fmla="*/ 1867983 w 3832826"/>
                <a:gd name="connsiteY720" fmla="*/ 4178252 h 5120141"/>
                <a:gd name="connsiteX721" fmla="*/ 1857539 w 3832826"/>
                <a:gd name="connsiteY721" fmla="*/ 4172237 h 5120141"/>
                <a:gd name="connsiteX722" fmla="*/ 1842773 w 3832826"/>
                <a:gd name="connsiteY722" fmla="*/ 4166222 h 5120141"/>
                <a:gd name="connsiteX723" fmla="*/ 1804958 w 3832826"/>
                <a:gd name="connsiteY723" fmla="*/ 4138152 h 5120141"/>
                <a:gd name="connsiteX724" fmla="*/ 1800637 w 3832826"/>
                <a:gd name="connsiteY724" fmla="*/ 4138152 h 5120141"/>
                <a:gd name="connsiteX725" fmla="*/ 1796495 w 3832826"/>
                <a:gd name="connsiteY725" fmla="*/ 4138152 h 5120141"/>
                <a:gd name="connsiteX726" fmla="*/ 1790192 w 3832826"/>
                <a:gd name="connsiteY726" fmla="*/ 4138152 h 5120141"/>
                <a:gd name="connsiteX727" fmla="*/ 1786051 w 3832826"/>
                <a:gd name="connsiteY727" fmla="*/ 4132138 h 5120141"/>
                <a:gd name="connsiteX728" fmla="*/ 1783890 w 3832826"/>
                <a:gd name="connsiteY728" fmla="*/ 4126123 h 5120141"/>
                <a:gd name="connsiteX729" fmla="*/ 1775427 w 3832826"/>
                <a:gd name="connsiteY729" fmla="*/ 4120108 h 5120141"/>
                <a:gd name="connsiteX730" fmla="*/ 1769124 w 3832826"/>
                <a:gd name="connsiteY730" fmla="*/ 4118103 h 5120141"/>
                <a:gd name="connsiteX731" fmla="*/ 1762822 w 3832826"/>
                <a:gd name="connsiteY731" fmla="*/ 4112088 h 5120141"/>
                <a:gd name="connsiteX732" fmla="*/ 1756519 w 3832826"/>
                <a:gd name="connsiteY732" fmla="*/ 4100058 h 5120141"/>
                <a:gd name="connsiteX733" fmla="*/ 1752377 w 3832826"/>
                <a:gd name="connsiteY733" fmla="*/ 4090167 h 5120141"/>
                <a:gd name="connsiteX734" fmla="*/ 1741753 w 3832826"/>
                <a:gd name="connsiteY734" fmla="*/ 4086157 h 5120141"/>
                <a:gd name="connsiteX735" fmla="*/ 1733470 w 3832826"/>
                <a:gd name="connsiteY735" fmla="*/ 4082147 h 5120141"/>
                <a:gd name="connsiteX736" fmla="*/ 1716543 w 3832826"/>
                <a:gd name="connsiteY736" fmla="*/ 4070117 h 5120141"/>
                <a:gd name="connsiteX737" fmla="*/ 1706099 w 3832826"/>
                <a:gd name="connsiteY737" fmla="*/ 4060092 h 5120141"/>
                <a:gd name="connsiteX738" fmla="*/ 1701777 w 3832826"/>
                <a:gd name="connsiteY738" fmla="*/ 4052072 h 5120141"/>
                <a:gd name="connsiteX739" fmla="*/ 1699797 w 3832826"/>
                <a:gd name="connsiteY739" fmla="*/ 4048062 h 5120141"/>
                <a:gd name="connsiteX740" fmla="*/ 1695475 w 3832826"/>
                <a:gd name="connsiteY740" fmla="*/ 4038038 h 5120141"/>
                <a:gd name="connsiteX741" fmla="*/ 1699797 w 3832826"/>
                <a:gd name="connsiteY741" fmla="*/ 4030018 h 5120141"/>
                <a:gd name="connsiteX742" fmla="*/ 1701777 w 3832826"/>
                <a:gd name="connsiteY742" fmla="*/ 4021998 h 5120141"/>
                <a:gd name="connsiteX743" fmla="*/ 1706099 w 3832826"/>
                <a:gd name="connsiteY743" fmla="*/ 4017988 h 5120141"/>
                <a:gd name="connsiteX744" fmla="*/ 1714382 w 3832826"/>
                <a:gd name="connsiteY744" fmla="*/ 4007963 h 5120141"/>
                <a:gd name="connsiteX745" fmla="*/ 1716543 w 3832826"/>
                <a:gd name="connsiteY745" fmla="*/ 4001948 h 5120141"/>
                <a:gd name="connsiteX746" fmla="*/ 1720685 w 3832826"/>
                <a:gd name="connsiteY746" fmla="*/ 3997938 h 5120141"/>
                <a:gd name="connsiteX747" fmla="*/ 1716543 w 3832826"/>
                <a:gd name="connsiteY747" fmla="*/ 3991923 h 5120141"/>
                <a:gd name="connsiteX748" fmla="*/ 1712402 w 3832826"/>
                <a:gd name="connsiteY748" fmla="*/ 3985908 h 5120141"/>
                <a:gd name="connsiteX749" fmla="*/ 1701777 w 3832826"/>
                <a:gd name="connsiteY749" fmla="*/ 3975883 h 5120141"/>
                <a:gd name="connsiteX750" fmla="*/ 1695475 w 3832826"/>
                <a:gd name="connsiteY750" fmla="*/ 3973878 h 5120141"/>
                <a:gd name="connsiteX751" fmla="*/ 1691333 w 3832826"/>
                <a:gd name="connsiteY751" fmla="*/ 3965859 h 5120141"/>
                <a:gd name="connsiteX752" fmla="*/ 1689172 w 3832826"/>
                <a:gd name="connsiteY752" fmla="*/ 3957839 h 5120141"/>
                <a:gd name="connsiteX753" fmla="*/ 1691333 w 3832826"/>
                <a:gd name="connsiteY753" fmla="*/ 3953829 h 5120141"/>
                <a:gd name="connsiteX754" fmla="*/ 1691333 w 3832826"/>
                <a:gd name="connsiteY754" fmla="*/ 3945809 h 5120141"/>
                <a:gd name="connsiteX755" fmla="*/ 1689172 w 3832826"/>
                <a:gd name="connsiteY755" fmla="*/ 3937789 h 5120141"/>
                <a:gd name="connsiteX756" fmla="*/ 1687192 w 3832826"/>
                <a:gd name="connsiteY756" fmla="*/ 3927764 h 5120141"/>
                <a:gd name="connsiteX757" fmla="*/ 1689172 w 3832826"/>
                <a:gd name="connsiteY757" fmla="*/ 3919744 h 5120141"/>
                <a:gd name="connsiteX758" fmla="*/ 1691333 w 3832826"/>
                <a:gd name="connsiteY758" fmla="*/ 3915734 h 5120141"/>
                <a:gd name="connsiteX759" fmla="*/ 1699797 w 3832826"/>
                <a:gd name="connsiteY759" fmla="*/ 3909719 h 5120141"/>
                <a:gd name="connsiteX760" fmla="*/ 1714382 w 3832826"/>
                <a:gd name="connsiteY760" fmla="*/ 3905709 h 5120141"/>
                <a:gd name="connsiteX761" fmla="*/ 1731309 w 3832826"/>
                <a:gd name="connsiteY761" fmla="*/ 3899694 h 5120141"/>
                <a:gd name="connsiteX762" fmla="*/ 1735451 w 3832826"/>
                <a:gd name="connsiteY762" fmla="*/ 3897690 h 5120141"/>
                <a:gd name="connsiteX763" fmla="*/ 1737612 w 3832826"/>
                <a:gd name="connsiteY763" fmla="*/ 3893680 h 5120141"/>
                <a:gd name="connsiteX764" fmla="*/ 1746075 w 3832826"/>
                <a:gd name="connsiteY764" fmla="*/ 3879645 h 5120141"/>
                <a:gd name="connsiteX765" fmla="*/ 1748056 w 3832826"/>
                <a:gd name="connsiteY765" fmla="*/ 3863605 h 5120141"/>
                <a:gd name="connsiteX766" fmla="*/ 1752377 w 3832826"/>
                <a:gd name="connsiteY766" fmla="*/ 3843555 h 5120141"/>
                <a:gd name="connsiteX767" fmla="*/ 1754358 w 3832826"/>
                <a:gd name="connsiteY767" fmla="*/ 3823639 h 5120141"/>
                <a:gd name="connsiteX768" fmla="*/ 1752377 w 3832826"/>
                <a:gd name="connsiteY768" fmla="*/ 3803590 h 5120141"/>
                <a:gd name="connsiteX769" fmla="*/ 1748056 w 3832826"/>
                <a:gd name="connsiteY769" fmla="*/ 3785545 h 5120141"/>
                <a:gd name="connsiteX770" fmla="*/ 1746075 w 3832826"/>
                <a:gd name="connsiteY770" fmla="*/ 3773515 h 5120141"/>
                <a:gd name="connsiteX771" fmla="*/ 1737612 w 3832826"/>
                <a:gd name="connsiteY771" fmla="*/ 3761485 h 5120141"/>
                <a:gd name="connsiteX772" fmla="*/ 1727167 w 3832826"/>
                <a:gd name="connsiteY772" fmla="*/ 3747450 h 5120141"/>
                <a:gd name="connsiteX773" fmla="*/ 1695475 w 3832826"/>
                <a:gd name="connsiteY773" fmla="*/ 3721385 h 5120141"/>
                <a:gd name="connsiteX774" fmla="*/ 1661802 w 3832826"/>
                <a:gd name="connsiteY774" fmla="*/ 3695321 h 5120141"/>
                <a:gd name="connsiteX775" fmla="*/ 1636592 w 3832826"/>
                <a:gd name="connsiteY775" fmla="*/ 3675271 h 5120141"/>
                <a:gd name="connsiteX776" fmla="*/ 1519948 w 3832826"/>
                <a:gd name="connsiteY776" fmla="*/ 3568035 h 5120141"/>
                <a:gd name="connsiteX777" fmla="*/ 1518826 w 3832826"/>
                <a:gd name="connsiteY777" fmla="*/ 3569070 h 5120141"/>
                <a:gd name="connsiteX778" fmla="*/ 1510411 w 3832826"/>
                <a:gd name="connsiteY778" fmla="*/ 3561053 h 5120141"/>
                <a:gd name="connsiteX779" fmla="*/ 1497790 w 3832826"/>
                <a:gd name="connsiteY779" fmla="*/ 3553037 h 5120141"/>
                <a:gd name="connsiteX780" fmla="*/ 1468339 w 3832826"/>
                <a:gd name="connsiteY780" fmla="*/ 3537005 h 5120141"/>
                <a:gd name="connsiteX781" fmla="*/ 1409437 w 3832826"/>
                <a:gd name="connsiteY781" fmla="*/ 3514942 h 5120141"/>
                <a:gd name="connsiteX782" fmla="*/ 1386297 w 3832826"/>
                <a:gd name="connsiteY782" fmla="*/ 3504939 h 5120141"/>
                <a:gd name="connsiteX783" fmla="*/ 1365260 w 3832826"/>
                <a:gd name="connsiteY783" fmla="*/ 3492950 h 5120141"/>
                <a:gd name="connsiteX784" fmla="*/ 1363157 w 3832826"/>
                <a:gd name="connsiteY784" fmla="*/ 3486920 h 5120141"/>
                <a:gd name="connsiteX785" fmla="*/ 1361053 w 3832826"/>
                <a:gd name="connsiteY785" fmla="*/ 3482877 h 5120141"/>
                <a:gd name="connsiteX786" fmla="*/ 1358949 w 3832826"/>
                <a:gd name="connsiteY786" fmla="*/ 3474861 h 5120141"/>
                <a:gd name="connsiteX787" fmla="*/ 1354742 w 3832826"/>
                <a:gd name="connsiteY787" fmla="*/ 3470888 h 5120141"/>
                <a:gd name="connsiteX788" fmla="*/ 1340017 w 3832826"/>
                <a:gd name="connsiteY788" fmla="*/ 3446839 h 5120141"/>
                <a:gd name="connsiteX789" fmla="*/ 1318980 w 3832826"/>
                <a:gd name="connsiteY789" fmla="*/ 3426763 h 5120141"/>
                <a:gd name="connsiteX790" fmla="*/ 1316877 w 3832826"/>
                <a:gd name="connsiteY790" fmla="*/ 3426763 h 5120141"/>
                <a:gd name="connsiteX791" fmla="*/ 1310566 w 3832826"/>
                <a:gd name="connsiteY791" fmla="*/ 3422790 h 5120141"/>
                <a:gd name="connsiteX792" fmla="*/ 1300047 w 3832826"/>
                <a:gd name="connsiteY792" fmla="*/ 3416760 h 5120141"/>
                <a:gd name="connsiteX793" fmla="*/ 1297944 w 3832826"/>
                <a:gd name="connsiteY793" fmla="*/ 3414774 h 5120141"/>
                <a:gd name="connsiteX794" fmla="*/ 1297944 w 3832826"/>
                <a:gd name="connsiteY794" fmla="*/ 3410730 h 5120141"/>
                <a:gd name="connsiteX795" fmla="*/ 1300047 w 3832826"/>
                <a:gd name="connsiteY795" fmla="*/ 3402714 h 5120141"/>
                <a:gd name="connsiteX796" fmla="*/ 1308462 w 3832826"/>
                <a:gd name="connsiteY796" fmla="*/ 3394698 h 5120141"/>
                <a:gd name="connsiteX797" fmla="*/ 1297944 w 3832826"/>
                <a:gd name="connsiteY797" fmla="*/ 3380722 h 5120141"/>
                <a:gd name="connsiteX798" fmla="*/ 1291633 w 3832826"/>
                <a:gd name="connsiteY798" fmla="*/ 3366676 h 5120141"/>
                <a:gd name="connsiteX799" fmla="*/ 1291633 w 3832826"/>
                <a:gd name="connsiteY799" fmla="*/ 3354616 h 5120141"/>
                <a:gd name="connsiteX800" fmla="*/ 1295840 w 3832826"/>
                <a:gd name="connsiteY800" fmla="*/ 3344614 h 5120141"/>
                <a:gd name="connsiteX801" fmla="*/ 1300047 w 3832826"/>
                <a:gd name="connsiteY801" fmla="*/ 3334611 h 5120141"/>
                <a:gd name="connsiteX802" fmla="*/ 1306358 w 3832826"/>
                <a:gd name="connsiteY802" fmla="*/ 3324608 h 5120141"/>
                <a:gd name="connsiteX803" fmla="*/ 1308462 w 3832826"/>
                <a:gd name="connsiteY803" fmla="*/ 3318578 h 5120141"/>
                <a:gd name="connsiteX804" fmla="*/ 1306358 w 3832826"/>
                <a:gd name="connsiteY804" fmla="*/ 3310562 h 5120141"/>
                <a:gd name="connsiteX805" fmla="*/ 1302151 w 3832826"/>
                <a:gd name="connsiteY805" fmla="*/ 3302546 h 5120141"/>
                <a:gd name="connsiteX806" fmla="*/ 1295840 w 3832826"/>
                <a:gd name="connsiteY806" fmla="*/ 3294529 h 5120141"/>
                <a:gd name="connsiteX807" fmla="*/ 1295840 w 3832826"/>
                <a:gd name="connsiteY807" fmla="*/ 3290486 h 5120141"/>
                <a:gd name="connsiteX808" fmla="*/ 1291633 w 3832826"/>
                <a:gd name="connsiteY808" fmla="*/ 3288499 h 5120141"/>
                <a:gd name="connsiteX809" fmla="*/ 1297944 w 3832826"/>
                <a:gd name="connsiteY809" fmla="*/ 3280483 h 5120141"/>
                <a:gd name="connsiteX810" fmla="*/ 1302151 w 3832826"/>
                <a:gd name="connsiteY810" fmla="*/ 3272467 h 5120141"/>
                <a:gd name="connsiteX811" fmla="*/ 1306358 w 3832826"/>
                <a:gd name="connsiteY811" fmla="*/ 3262464 h 5120141"/>
                <a:gd name="connsiteX812" fmla="*/ 1306358 w 3832826"/>
                <a:gd name="connsiteY812" fmla="*/ 3258421 h 5120141"/>
                <a:gd name="connsiteX813" fmla="*/ 1302151 w 3832826"/>
                <a:gd name="connsiteY813" fmla="*/ 3252462 h 5120141"/>
                <a:gd name="connsiteX814" fmla="*/ 1302205 w 3832826"/>
                <a:gd name="connsiteY814" fmla="*/ 3250392 h 5120141"/>
                <a:gd name="connsiteX815" fmla="*/ 1302151 w 3832826"/>
                <a:gd name="connsiteY815" fmla="*/ 3250439 h 5120141"/>
                <a:gd name="connsiteX816" fmla="*/ 1270596 w 3832826"/>
                <a:gd name="connsiteY816" fmla="*/ 3222383 h 5120141"/>
                <a:gd name="connsiteX817" fmla="*/ 1268493 w 3832826"/>
                <a:gd name="connsiteY817" fmla="*/ 3218375 h 5120141"/>
                <a:gd name="connsiteX818" fmla="*/ 1264285 w 3832826"/>
                <a:gd name="connsiteY818" fmla="*/ 3218375 h 5120141"/>
                <a:gd name="connsiteX819" fmla="*/ 1257974 w 3832826"/>
                <a:gd name="connsiteY819" fmla="*/ 3220379 h 5120141"/>
                <a:gd name="connsiteX820" fmla="*/ 1253767 w 3832826"/>
                <a:gd name="connsiteY820" fmla="*/ 3222383 h 5120141"/>
                <a:gd name="connsiteX821" fmla="*/ 1245353 w 3832826"/>
                <a:gd name="connsiteY821" fmla="*/ 3222383 h 5120141"/>
                <a:gd name="connsiteX822" fmla="*/ 1228523 w 3832826"/>
                <a:gd name="connsiteY822" fmla="*/ 3220379 h 5120141"/>
                <a:gd name="connsiteX823" fmla="*/ 1207487 w 3832826"/>
                <a:gd name="connsiteY823" fmla="*/ 3218375 h 5120141"/>
                <a:gd name="connsiteX824" fmla="*/ 1201176 w 3832826"/>
                <a:gd name="connsiteY824" fmla="*/ 3218375 h 5120141"/>
                <a:gd name="connsiteX825" fmla="*/ 1192761 w 3832826"/>
                <a:gd name="connsiteY825" fmla="*/ 3220379 h 5120141"/>
                <a:gd name="connsiteX826" fmla="*/ 1190658 w 3832826"/>
                <a:gd name="connsiteY826" fmla="*/ 3226391 h 5120141"/>
                <a:gd name="connsiteX827" fmla="*/ 1192761 w 3832826"/>
                <a:gd name="connsiteY827" fmla="*/ 3236411 h 5120141"/>
                <a:gd name="connsiteX828" fmla="*/ 1182243 w 3832826"/>
                <a:gd name="connsiteY828" fmla="*/ 3236411 h 5120141"/>
                <a:gd name="connsiteX829" fmla="*/ 1175932 w 3832826"/>
                <a:gd name="connsiteY829" fmla="*/ 3230399 h 5120141"/>
                <a:gd name="connsiteX830" fmla="*/ 1171725 w 3832826"/>
                <a:gd name="connsiteY830" fmla="*/ 3222383 h 5120141"/>
                <a:gd name="connsiteX831" fmla="*/ 1169621 w 3832826"/>
                <a:gd name="connsiteY831" fmla="*/ 3216371 h 5120141"/>
                <a:gd name="connsiteX832" fmla="*/ 1161207 w 3832826"/>
                <a:gd name="connsiteY832" fmla="*/ 3196332 h 5120141"/>
                <a:gd name="connsiteX833" fmla="*/ 1159103 w 3832826"/>
                <a:gd name="connsiteY833" fmla="*/ 3186312 h 5120141"/>
                <a:gd name="connsiteX834" fmla="*/ 1150689 w 3832826"/>
                <a:gd name="connsiteY834" fmla="*/ 3180300 h 5120141"/>
                <a:gd name="connsiteX835" fmla="*/ 1142274 w 3832826"/>
                <a:gd name="connsiteY835" fmla="*/ 3172284 h 5120141"/>
                <a:gd name="connsiteX836" fmla="*/ 1138067 w 3832826"/>
                <a:gd name="connsiteY836" fmla="*/ 3166272 h 5120141"/>
                <a:gd name="connsiteX837" fmla="*/ 1133859 w 3832826"/>
                <a:gd name="connsiteY837" fmla="*/ 3156253 h 5120141"/>
                <a:gd name="connsiteX838" fmla="*/ 1133859 w 3832826"/>
                <a:gd name="connsiteY838" fmla="*/ 3144229 h 5120141"/>
                <a:gd name="connsiteX839" fmla="*/ 1138067 w 3832826"/>
                <a:gd name="connsiteY839" fmla="*/ 3130201 h 5120141"/>
                <a:gd name="connsiteX840" fmla="*/ 1142274 w 3832826"/>
                <a:gd name="connsiteY840" fmla="*/ 3126193 h 5120141"/>
                <a:gd name="connsiteX841" fmla="*/ 1148585 w 3832826"/>
                <a:gd name="connsiteY841" fmla="*/ 3124189 h 5120141"/>
                <a:gd name="connsiteX842" fmla="*/ 1154896 w 3832826"/>
                <a:gd name="connsiteY842" fmla="*/ 3118177 h 5120141"/>
                <a:gd name="connsiteX843" fmla="*/ 1161207 w 3832826"/>
                <a:gd name="connsiteY843" fmla="*/ 3110161 h 5120141"/>
                <a:gd name="connsiteX844" fmla="*/ 1163310 w 3832826"/>
                <a:gd name="connsiteY844" fmla="*/ 3106153 h 5120141"/>
                <a:gd name="connsiteX845" fmla="*/ 1161207 w 3832826"/>
                <a:gd name="connsiteY845" fmla="*/ 3090122 h 5120141"/>
                <a:gd name="connsiteX846" fmla="*/ 1159103 w 3832826"/>
                <a:gd name="connsiteY846" fmla="*/ 3076094 h 5120141"/>
                <a:gd name="connsiteX847" fmla="*/ 1159103 w 3832826"/>
                <a:gd name="connsiteY847" fmla="*/ 3068078 h 5120141"/>
                <a:gd name="connsiteX848" fmla="*/ 1159103 w 3832826"/>
                <a:gd name="connsiteY848" fmla="*/ 3060062 h 5120141"/>
                <a:gd name="connsiteX849" fmla="*/ 1161207 w 3832826"/>
                <a:gd name="connsiteY849" fmla="*/ 3056054 h 5120141"/>
                <a:gd name="connsiteX850" fmla="*/ 1159103 w 3832826"/>
                <a:gd name="connsiteY850" fmla="*/ 3050042 h 5120141"/>
                <a:gd name="connsiteX851" fmla="*/ 1154896 w 3832826"/>
                <a:gd name="connsiteY851" fmla="*/ 3048038 h 5120141"/>
                <a:gd name="connsiteX852" fmla="*/ 1150689 w 3832826"/>
                <a:gd name="connsiteY852" fmla="*/ 3046035 h 5120141"/>
                <a:gd name="connsiteX853" fmla="*/ 1140170 w 3832826"/>
                <a:gd name="connsiteY853" fmla="*/ 3044031 h 5120141"/>
                <a:gd name="connsiteX854" fmla="*/ 1133859 w 3832826"/>
                <a:gd name="connsiteY854" fmla="*/ 3040023 h 5120141"/>
                <a:gd name="connsiteX855" fmla="*/ 1131756 w 3832826"/>
                <a:gd name="connsiteY855" fmla="*/ 3038019 h 5120141"/>
                <a:gd name="connsiteX856" fmla="*/ 1127548 w 3832826"/>
                <a:gd name="connsiteY856" fmla="*/ 3030003 h 5120141"/>
                <a:gd name="connsiteX857" fmla="*/ 1123341 w 3832826"/>
                <a:gd name="connsiteY857" fmla="*/ 3023991 h 5120141"/>
                <a:gd name="connsiteX858" fmla="*/ 1127548 w 3832826"/>
                <a:gd name="connsiteY858" fmla="*/ 3015975 h 5120141"/>
                <a:gd name="connsiteX859" fmla="*/ 1127548 w 3832826"/>
                <a:gd name="connsiteY859" fmla="*/ 3007959 h 5120141"/>
                <a:gd name="connsiteX860" fmla="*/ 1121238 w 3832826"/>
                <a:gd name="connsiteY860" fmla="*/ 2989924 h 5120141"/>
                <a:gd name="connsiteX861" fmla="*/ 1119134 w 3832826"/>
                <a:gd name="connsiteY861" fmla="*/ 2983912 h 5120141"/>
                <a:gd name="connsiteX862" fmla="*/ 1119134 w 3832826"/>
                <a:gd name="connsiteY862" fmla="*/ 2975896 h 5120141"/>
                <a:gd name="connsiteX863" fmla="*/ 1119133 w 3832826"/>
                <a:gd name="connsiteY863" fmla="*/ 2975897 h 5120141"/>
                <a:gd name="connsiteX864" fmla="*/ 1119133 w 3832826"/>
                <a:gd name="connsiteY864" fmla="*/ 2965877 h 5120141"/>
                <a:gd name="connsiteX865" fmla="*/ 1112822 w 3832826"/>
                <a:gd name="connsiteY865" fmla="*/ 2955857 h 5120141"/>
                <a:gd name="connsiteX866" fmla="*/ 1106511 w 3832826"/>
                <a:gd name="connsiteY866" fmla="*/ 2949845 h 5120141"/>
                <a:gd name="connsiteX867" fmla="*/ 1095993 w 3832826"/>
                <a:gd name="connsiteY867" fmla="*/ 2945837 h 5120141"/>
                <a:gd name="connsiteX868" fmla="*/ 1074956 w 3832826"/>
                <a:gd name="connsiteY868" fmla="*/ 2935817 h 5120141"/>
                <a:gd name="connsiteX869" fmla="*/ 1066542 w 3832826"/>
                <a:gd name="connsiteY869" fmla="*/ 2929806 h 5120141"/>
                <a:gd name="connsiteX870" fmla="*/ 1064438 w 3832826"/>
                <a:gd name="connsiteY870" fmla="*/ 2923794 h 5120141"/>
                <a:gd name="connsiteX871" fmla="*/ 1064438 w 3832826"/>
                <a:gd name="connsiteY871" fmla="*/ 2815579 h 5120141"/>
                <a:gd name="connsiteX872" fmla="*/ 1064438 w 3832826"/>
                <a:gd name="connsiteY872" fmla="*/ 2763476 h 5120141"/>
                <a:gd name="connsiteX873" fmla="*/ 1066542 w 3832826"/>
                <a:gd name="connsiteY873" fmla="*/ 2707365 h 5120141"/>
                <a:gd name="connsiteX874" fmla="*/ 1070749 w 3832826"/>
                <a:gd name="connsiteY874" fmla="*/ 2697345 h 5120141"/>
                <a:gd name="connsiteX875" fmla="*/ 1077060 w 3832826"/>
                <a:gd name="connsiteY875" fmla="*/ 2687326 h 5120141"/>
                <a:gd name="connsiteX876" fmla="*/ 1074956 w 3832826"/>
                <a:gd name="connsiteY876" fmla="*/ 2683318 h 5120141"/>
                <a:gd name="connsiteX877" fmla="*/ 1070749 w 3832826"/>
                <a:gd name="connsiteY877" fmla="*/ 2681314 h 5120141"/>
                <a:gd name="connsiteX878" fmla="*/ 1066542 w 3832826"/>
                <a:gd name="connsiteY878" fmla="*/ 2677306 h 5120141"/>
                <a:gd name="connsiteX879" fmla="*/ 1058127 w 3832826"/>
                <a:gd name="connsiteY879" fmla="*/ 2675302 h 5120141"/>
                <a:gd name="connsiteX880" fmla="*/ 1053920 w 3832826"/>
                <a:gd name="connsiteY880" fmla="*/ 2671294 h 5120141"/>
                <a:gd name="connsiteX881" fmla="*/ 1049713 w 3832826"/>
                <a:gd name="connsiteY881" fmla="*/ 2657266 h 5120141"/>
                <a:gd name="connsiteX882" fmla="*/ 1053920 w 3832826"/>
                <a:gd name="connsiteY882" fmla="*/ 2645242 h 5120141"/>
                <a:gd name="connsiteX883" fmla="*/ 1058127 w 3832826"/>
                <a:gd name="connsiteY883" fmla="*/ 2633218 h 5120141"/>
                <a:gd name="connsiteX884" fmla="*/ 1058127 w 3832826"/>
                <a:gd name="connsiteY884" fmla="*/ 2623199 h 5120141"/>
                <a:gd name="connsiteX885" fmla="*/ 1058127 w 3832826"/>
                <a:gd name="connsiteY885" fmla="*/ 2613179 h 5120141"/>
                <a:gd name="connsiteX886" fmla="*/ 1056023 w 3832826"/>
                <a:gd name="connsiteY886" fmla="*/ 2601155 h 5120141"/>
                <a:gd name="connsiteX887" fmla="*/ 1049713 w 3832826"/>
                <a:gd name="connsiteY887" fmla="*/ 2577107 h 5120141"/>
                <a:gd name="connsiteX888" fmla="*/ 1047609 w 3832826"/>
                <a:gd name="connsiteY888" fmla="*/ 2565084 h 5120141"/>
                <a:gd name="connsiteX889" fmla="*/ 1049713 w 3832826"/>
                <a:gd name="connsiteY889" fmla="*/ 2555064 h 5120141"/>
                <a:gd name="connsiteX890" fmla="*/ 1053920 w 3832826"/>
                <a:gd name="connsiteY890" fmla="*/ 2547048 h 5120141"/>
                <a:gd name="connsiteX891" fmla="*/ 1060231 w 3832826"/>
                <a:gd name="connsiteY891" fmla="*/ 2543040 h 5120141"/>
                <a:gd name="connsiteX892" fmla="*/ 1058389 w 3832826"/>
                <a:gd name="connsiteY892" fmla="*/ 2529007 h 5120141"/>
                <a:gd name="connsiteX893" fmla="*/ 1056029 w 3832826"/>
                <a:gd name="connsiteY893" fmla="*/ 2529007 h 5120141"/>
                <a:gd name="connsiteX894" fmla="*/ 1049713 w 3832826"/>
                <a:gd name="connsiteY894" fmla="*/ 2535024 h 5120141"/>
                <a:gd name="connsiteX895" fmla="*/ 1049713 w 3832826"/>
                <a:gd name="connsiteY895" fmla="*/ 2533020 h 5120141"/>
                <a:gd name="connsiteX896" fmla="*/ 1049713 w 3832826"/>
                <a:gd name="connsiteY896" fmla="*/ 2529007 h 5120141"/>
                <a:gd name="connsiteX897" fmla="*/ 904562 w 3832826"/>
                <a:gd name="connsiteY897" fmla="*/ 2529007 h 5120141"/>
                <a:gd name="connsiteX898" fmla="*/ 904562 w 3832826"/>
                <a:gd name="connsiteY898" fmla="*/ 2129394 h 5120141"/>
                <a:gd name="connsiteX899" fmla="*/ 889837 w 3832826"/>
                <a:gd name="connsiteY899" fmla="*/ 2130219 h 5120141"/>
                <a:gd name="connsiteX900" fmla="*/ 868800 w 3832826"/>
                <a:gd name="connsiteY900" fmla="*/ 2132223 h 5120141"/>
                <a:gd name="connsiteX901" fmla="*/ 841453 w 3832826"/>
                <a:gd name="connsiteY901" fmla="*/ 2130219 h 5120141"/>
                <a:gd name="connsiteX902" fmla="*/ 816209 w 3832826"/>
                <a:gd name="connsiteY902" fmla="*/ 2132223 h 5120141"/>
                <a:gd name="connsiteX903" fmla="*/ 793069 w 3832826"/>
                <a:gd name="connsiteY903" fmla="*/ 2140239 h 5120141"/>
                <a:gd name="connsiteX904" fmla="*/ 769929 w 3832826"/>
                <a:gd name="connsiteY904" fmla="*/ 2150258 h 5120141"/>
                <a:gd name="connsiteX905" fmla="*/ 748892 w 3832826"/>
                <a:gd name="connsiteY905" fmla="*/ 2162282 h 5120141"/>
                <a:gd name="connsiteX906" fmla="*/ 738374 w 3832826"/>
                <a:gd name="connsiteY906" fmla="*/ 2164286 h 5120141"/>
                <a:gd name="connsiteX907" fmla="*/ 732063 w 3832826"/>
                <a:gd name="connsiteY907" fmla="*/ 2164286 h 5120141"/>
                <a:gd name="connsiteX908" fmla="*/ 725752 w 3832826"/>
                <a:gd name="connsiteY908" fmla="*/ 2162282 h 5120141"/>
                <a:gd name="connsiteX909" fmla="*/ 704716 w 3832826"/>
                <a:gd name="connsiteY909" fmla="*/ 2152262 h 5120141"/>
                <a:gd name="connsiteX910" fmla="*/ 692094 w 3832826"/>
                <a:gd name="connsiteY910" fmla="*/ 2150258 h 5120141"/>
                <a:gd name="connsiteX911" fmla="*/ 677369 w 3832826"/>
                <a:gd name="connsiteY911" fmla="*/ 2150258 h 5120141"/>
                <a:gd name="connsiteX912" fmla="*/ 677369 w 3832826"/>
                <a:gd name="connsiteY912" fmla="*/ 2140239 h 5120141"/>
                <a:gd name="connsiteX913" fmla="*/ 675265 w 3832826"/>
                <a:gd name="connsiteY913" fmla="*/ 2128215 h 5120141"/>
                <a:gd name="connsiteX914" fmla="*/ 664747 w 3832826"/>
                <a:gd name="connsiteY914" fmla="*/ 2104167 h 5120141"/>
                <a:gd name="connsiteX915" fmla="*/ 643710 w 3832826"/>
                <a:gd name="connsiteY915" fmla="*/ 2062084 h 5120141"/>
                <a:gd name="connsiteX916" fmla="*/ 639503 w 3832826"/>
                <a:gd name="connsiteY916" fmla="*/ 2060080 h 5120141"/>
                <a:gd name="connsiteX917" fmla="*/ 633192 w 3832826"/>
                <a:gd name="connsiteY917" fmla="*/ 2056072 h 5120141"/>
                <a:gd name="connsiteX918" fmla="*/ 635296 w 3832826"/>
                <a:gd name="connsiteY918" fmla="*/ 2050060 h 5120141"/>
                <a:gd name="connsiteX919" fmla="*/ 635296 w 3832826"/>
                <a:gd name="connsiteY919" fmla="*/ 2042044 h 5120141"/>
                <a:gd name="connsiteX920" fmla="*/ 624777 w 3832826"/>
                <a:gd name="connsiteY920" fmla="*/ 2028016 h 5120141"/>
                <a:gd name="connsiteX921" fmla="*/ 612156 w 3832826"/>
                <a:gd name="connsiteY921" fmla="*/ 2009980 h 5120141"/>
                <a:gd name="connsiteX922" fmla="*/ 591119 w 3832826"/>
                <a:gd name="connsiteY922" fmla="*/ 1967897 h 5120141"/>
                <a:gd name="connsiteX923" fmla="*/ 570083 w 3832826"/>
                <a:gd name="connsiteY923" fmla="*/ 1925813 h 5120141"/>
                <a:gd name="connsiteX924" fmla="*/ 561668 w 3832826"/>
                <a:gd name="connsiteY924" fmla="*/ 1909781 h 5120141"/>
                <a:gd name="connsiteX925" fmla="*/ 555357 w 3832826"/>
                <a:gd name="connsiteY925" fmla="*/ 1897757 h 5120141"/>
                <a:gd name="connsiteX926" fmla="*/ 544839 w 3832826"/>
                <a:gd name="connsiteY926" fmla="*/ 1887738 h 5120141"/>
                <a:gd name="connsiteX927" fmla="*/ 530114 w 3832826"/>
                <a:gd name="connsiteY927" fmla="*/ 1879722 h 5120141"/>
                <a:gd name="connsiteX928" fmla="*/ 517492 w 3832826"/>
                <a:gd name="connsiteY928" fmla="*/ 1877718 h 5120141"/>
                <a:gd name="connsiteX929" fmla="*/ 502766 w 3832826"/>
                <a:gd name="connsiteY929" fmla="*/ 1877718 h 5120141"/>
                <a:gd name="connsiteX930" fmla="*/ 488041 w 3832826"/>
                <a:gd name="connsiteY930" fmla="*/ 1877718 h 5120141"/>
                <a:gd name="connsiteX931" fmla="*/ 481730 w 3832826"/>
                <a:gd name="connsiteY931" fmla="*/ 1875714 h 5120141"/>
                <a:gd name="connsiteX932" fmla="*/ 473315 w 3832826"/>
                <a:gd name="connsiteY932" fmla="*/ 1873710 h 5120141"/>
                <a:gd name="connsiteX933" fmla="*/ 473315 w 3832826"/>
                <a:gd name="connsiteY933" fmla="*/ 1857678 h 5120141"/>
                <a:gd name="connsiteX934" fmla="*/ 471212 w 3832826"/>
                <a:gd name="connsiteY934" fmla="*/ 1847658 h 5120141"/>
                <a:gd name="connsiteX935" fmla="*/ 462797 w 3832826"/>
                <a:gd name="connsiteY935" fmla="*/ 1829622 h 5120141"/>
                <a:gd name="connsiteX936" fmla="*/ 462797 w 3832826"/>
                <a:gd name="connsiteY936" fmla="*/ 1823611 h 5120141"/>
                <a:gd name="connsiteX937" fmla="*/ 467004 w 3832826"/>
                <a:gd name="connsiteY937" fmla="*/ 1817599 h 5120141"/>
                <a:gd name="connsiteX938" fmla="*/ 481730 w 3832826"/>
                <a:gd name="connsiteY938" fmla="*/ 1815595 h 5120141"/>
                <a:gd name="connsiteX939" fmla="*/ 491767 w 3832826"/>
                <a:gd name="connsiteY939" fmla="*/ 1801335 h 5120141"/>
                <a:gd name="connsiteX940" fmla="*/ 486799 w 3832826"/>
                <a:gd name="connsiteY940" fmla="*/ 1797561 h 5120141"/>
                <a:gd name="connsiteX941" fmla="*/ 476248 w 3832826"/>
                <a:gd name="connsiteY941" fmla="*/ 1787541 h 5120141"/>
                <a:gd name="connsiteX942" fmla="*/ 465697 w 3832826"/>
                <a:gd name="connsiteY942" fmla="*/ 1779525 h 5120141"/>
                <a:gd name="connsiteX943" fmla="*/ 463587 w 3832826"/>
                <a:gd name="connsiteY943" fmla="*/ 1775517 h 5120141"/>
                <a:gd name="connsiteX944" fmla="*/ 463587 w 3832826"/>
                <a:gd name="connsiteY944" fmla="*/ 1769505 h 5120141"/>
                <a:gd name="connsiteX945" fmla="*/ 463587 w 3832826"/>
                <a:gd name="connsiteY945" fmla="*/ 1757481 h 5120141"/>
                <a:gd name="connsiteX946" fmla="*/ 465697 w 3832826"/>
                <a:gd name="connsiteY946" fmla="*/ 1747461 h 5120141"/>
                <a:gd name="connsiteX947" fmla="*/ 463587 w 3832826"/>
                <a:gd name="connsiteY947" fmla="*/ 1737442 h 5120141"/>
                <a:gd name="connsiteX948" fmla="*/ 455146 w 3832826"/>
                <a:gd name="connsiteY948" fmla="*/ 1735438 h 5120141"/>
                <a:gd name="connsiteX949" fmla="*/ 438265 w 3832826"/>
                <a:gd name="connsiteY949" fmla="*/ 1729426 h 5120141"/>
                <a:gd name="connsiteX950" fmla="*/ 423494 w 3832826"/>
                <a:gd name="connsiteY950" fmla="*/ 1723414 h 5120141"/>
                <a:gd name="connsiteX951" fmla="*/ 415054 w 3832826"/>
                <a:gd name="connsiteY951" fmla="*/ 1717402 h 5120141"/>
                <a:gd name="connsiteX952" fmla="*/ 412943 w 3832826"/>
                <a:gd name="connsiteY952" fmla="*/ 1715398 h 5120141"/>
                <a:gd name="connsiteX953" fmla="*/ 406613 w 3832826"/>
                <a:gd name="connsiteY953" fmla="*/ 1699366 h 5120141"/>
                <a:gd name="connsiteX954" fmla="*/ 404503 w 3832826"/>
                <a:gd name="connsiteY954" fmla="*/ 1677323 h 5120141"/>
                <a:gd name="connsiteX955" fmla="*/ 404503 w 3832826"/>
                <a:gd name="connsiteY955" fmla="*/ 1657283 h 5120141"/>
                <a:gd name="connsiteX956" fmla="*/ 406613 w 3832826"/>
                <a:gd name="connsiteY956" fmla="*/ 1643255 h 5120141"/>
                <a:gd name="connsiteX957" fmla="*/ 410833 w 3832826"/>
                <a:gd name="connsiteY957" fmla="*/ 1637243 h 5120141"/>
                <a:gd name="connsiteX958" fmla="*/ 415054 w 3832826"/>
                <a:gd name="connsiteY958" fmla="*/ 1635239 h 5120141"/>
                <a:gd name="connsiteX959" fmla="*/ 421384 w 3832826"/>
                <a:gd name="connsiteY959" fmla="*/ 1631231 h 5120141"/>
                <a:gd name="connsiteX960" fmla="*/ 421384 w 3832826"/>
                <a:gd name="connsiteY960" fmla="*/ 1621212 h 5120141"/>
                <a:gd name="connsiteX961" fmla="*/ 417164 w 3832826"/>
                <a:gd name="connsiteY961" fmla="*/ 1613196 h 5120141"/>
                <a:gd name="connsiteX962" fmla="*/ 406613 w 3832826"/>
                <a:gd name="connsiteY962" fmla="*/ 1605180 h 5120141"/>
                <a:gd name="connsiteX963" fmla="*/ 391842 w 3832826"/>
                <a:gd name="connsiteY963" fmla="*/ 1593156 h 5120141"/>
                <a:gd name="connsiteX964" fmla="*/ 374961 w 3832826"/>
                <a:gd name="connsiteY964" fmla="*/ 1587144 h 5120141"/>
                <a:gd name="connsiteX965" fmla="*/ 355969 w 3832826"/>
                <a:gd name="connsiteY965" fmla="*/ 1585140 h 5120141"/>
                <a:gd name="connsiteX966" fmla="*/ 317987 w 3832826"/>
                <a:gd name="connsiteY966" fmla="*/ 1581132 h 5120141"/>
                <a:gd name="connsiteX967" fmla="*/ 296885 w 3832826"/>
                <a:gd name="connsiteY967" fmla="*/ 1577124 h 5120141"/>
                <a:gd name="connsiteX968" fmla="*/ 277894 w 3832826"/>
                <a:gd name="connsiteY968" fmla="*/ 1571112 h 5120141"/>
                <a:gd name="connsiteX969" fmla="*/ 263123 w 3832826"/>
                <a:gd name="connsiteY969" fmla="*/ 1561093 h 5120141"/>
                <a:gd name="connsiteX970" fmla="*/ 246242 w 3832826"/>
                <a:gd name="connsiteY970" fmla="*/ 1545061 h 5120141"/>
                <a:gd name="connsiteX971" fmla="*/ 229361 w 3832826"/>
                <a:gd name="connsiteY971" fmla="*/ 1533037 h 5120141"/>
                <a:gd name="connsiteX972" fmla="*/ 220920 w 3832826"/>
                <a:gd name="connsiteY972" fmla="*/ 1523017 h 5120141"/>
                <a:gd name="connsiteX973" fmla="*/ 212479 w 3832826"/>
                <a:gd name="connsiteY973" fmla="*/ 1515001 h 5120141"/>
                <a:gd name="connsiteX974" fmla="*/ 210369 w 3832826"/>
                <a:gd name="connsiteY974" fmla="*/ 1504982 h 5120141"/>
                <a:gd name="connsiteX975" fmla="*/ 208259 w 3832826"/>
                <a:gd name="connsiteY975" fmla="*/ 1494962 h 5120141"/>
                <a:gd name="connsiteX976" fmla="*/ 210369 w 3832826"/>
                <a:gd name="connsiteY976" fmla="*/ 1486946 h 5120141"/>
                <a:gd name="connsiteX977" fmla="*/ 218810 w 3832826"/>
                <a:gd name="connsiteY977" fmla="*/ 1476926 h 5120141"/>
                <a:gd name="connsiteX978" fmla="*/ 223030 w 3832826"/>
                <a:gd name="connsiteY978" fmla="*/ 1472918 h 5120141"/>
                <a:gd name="connsiteX979" fmla="*/ 223030 w 3832826"/>
                <a:gd name="connsiteY979" fmla="*/ 1464902 h 5120141"/>
                <a:gd name="connsiteX980" fmla="*/ 214590 w 3832826"/>
                <a:gd name="connsiteY980" fmla="*/ 1450874 h 5120141"/>
                <a:gd name="connsiteX981" fmla="*/ 212479 w 3832826"/>
                <a:gd name="connsiteY981" fmla="*/ 1444863 h 5120141"/>
                <a:gd name="connsiteX982" fmla="*/ 214590 w 3832826"/>
                <a:gd name="connsiteY982" fmla="*/ 1442859 h 5120141"/>
                <a:gd name="connsiteX983" fmla="*/ 220920 w 3832826"/>
                <a:gd name="connsiteY983" fmla="*/ 1442859 h 5120141"/>
                <a:gd name="connsiteX984" fmla="*/ 235691 w 3832826"/>
                <a:gd name="connsiteY984" fmla="*/ 1444863 h 5120141"/>
                <a:gd name="connsiteX985" fmla="*/ 242685 w 3832826"/>
                <a:gd name="connsiteY985" fmla="*/ 1444830 h 5120141"/>
                <a:gd name="connsiteX986" fmla="*/ 239592 w 3832826"/>
                <a:gd name="connsiteY986" fmla="*/ 1442715 h 5120141"/>
                <a:gd name="connsiteX987" fmla="*/ 240798 w 3832826"/>
                <a:gd name="connsiteY987" fmla="*/ 1440839 h 5120141"/>
                <a:gd name="connsiteX988" fmla="*/ 237706 w 3832826"/>
                <a:gd name="connsiteY988" fmla="*/ 1440853 h 5120141"/>
                <a:gd name="connsiteX989" fmla="*/ 241926 w 3832826"/>
                <a:gd name="connsiteY989" fmla="*/ 1378746 h 5120141"/>
                <a:gd name="connsiteX990" fmla="*/ 241926 w 3832826"/>
                <a:gd name="connsiteY990" fmla="*/ 1346677 h 5120141"/>
                <a:gd name="connsiteX991" fmla="*/ 237706 w 3832826"/>
                <a:gd name="connsiteY991" fmla="*/ 1316605 h 5120141"/>
                <a:gd name="connsiteX992" fmla="*/ 237706 w 3832826"/>
                <a:gd name="connsiteY992" fmla="*/ 1314609 h 5120141"/>
                <a:gd name="connsiteX993" fmla="*/ 237706 w 3832826"/>
                <a:gd name="connsiteY993" fmla="*/ 1300571 h 5120141"/>
                <a:gd name="connsiteX994" fmla="*/ 237706 w 3832826"/>
                <a:gd name="connsiteY994" fmla="*/ 1290558 h 5120141"/>
                <a:gd name="connsiteX995" fmla="*/ 237706 w 3832826"/>
                <a:gd name="connsiteY995" fmla="*/ 1288562 h 5120141"/>
                <a:gd name="connsiteX996" fmla="*/ 235558 w 3832826"/>
                <a:gd name="connsiteY996" fmla="*/ 1286533 h 5120141"/>
                <a:gd name="connsiteX997" fmla="*/ 231412 w 3832826"/>
                <a:gd name="connsiteY997" fmla="*/ 1284537 h 5120141"/>
                <a:gd name="connsiteX998" fmla="*/ 223044 w 3832826"/>
                <a:gd name="connsiteY998" fmla="*/ 1284537 h 5120141"/>
                <a:gd name="connsiteX999" fmla="*/ 132485 w 3832826"/>
                <a:gd name="connsiteY999" fmla="*/ 1284537 h 5120141"/>
                <a:gd name="connsiteX1000" fmla="*/ 132485 w 3832826"/>
                <a:gd name="connsiteY1000" fmla="*/ 1226421 h 5120141"/>
                <a:gd name="connsiteX1001" fmla="*/ 130486 w 3832826"/>
                <a:gd name="connsiteY1001" fmla="*/ 1194353 h 5120141"/>
                <a:gd name="connsiteX1002" fmla="*/ 128264 w 3832826"/>
                <a:gd name="connsiteY1002" fmla="*/ 1184340 h 5120141"/>
                <a:gd name="connsiteX1003" fmla="*/ 126191 w 3832826"/>
                <a:gd name="connsiteY1003" fmla="*/ 1178319 h 5120141"/>
                <a:gd name="connsiteX1004" fmla="*/ 122045 w 3832826"/>
                <a:gd name="connsiteY1004" fmla="*/ 1178319 h 5120141"/>
                <a:gd name="connsiteX1005" fmla="*/ 117750 w 3832826"/>
                <a:gd name="connsiteY1005" fmla="*/ 1176323 h 5120141"/>
                <a:gd name="connsiteX1006" fmla="*/ 117750 w 3832826"/>
                <a:gd name="connsiteY1006" fmla="*/ 1174327 h 5120141"/>
                <a:gd name="connsiteX1007" fmla="*/ 117750 w 3832826"/>
                <a:gd name="connsiteY1007" fmla="*/ 1164314 h 5120141"/>
                <a:gd name="connsiteX1008" fmla="*/ 117750 w 3832826"/>
                <a:gd name="connsiteY1008" fmla="*/ 1158293 h 5120141"/>
                <a:gd name="connsiteX1009" fmla="*/ 115751 w 3832826"/>
                <a:gd name="connsiteY1009" fmla="*/ 1154301 h 5120141"/>
                <a:gd name="connsiteX1010" fmla="*/ 111456 w 3832826"/>
                <a:gd name="connsiteY1010" fmla="*/ 1152272 h 5120141"/>
                <a:gd name="connsiteX1011" fmla="*/ 105162 w 3832826"/>
                <a:gd name="connsiteY1011" fmla="*/ 1148280 h 5120141"/>
                <a:gd name="connsiteX1012" fmla="*/ 100941 w 3832826"/>
                <a:gd name="connsiteY1012" fmla="*/ 1148280 h 5120141"/>
                <a:gd name="connsiteX1013" fmla="*/ 98868 w 3832826"/>
                <a:gd name="connsiteY1013" fmla="*/ 1144255 h 5120141"/>
                <a:gd name="connsiteX1014" fmla="*/ 98868 w 3832826"/>
                <a:gd name="connsiteY1014" fmla="*/ 1134242 h 5120141"/>
                <a:gd name="connsiteX1015" fmla="*/ 98868 w 3832826"/>
                <a:gd name="connsiteY1015" fmla="*/ 1112205 h 5120141"/>
                <a:gd name="connsiteX1016" fmla="*/ 96768 w 3832826"/>
                <a:gd name="connsiteY1016" fmla="*/ 1112205 h 5120141"/>
                <a:gd name="connsiteX1017" fmla="*/ 84146 w 3832826"/>
                <a:gd name="connsiteY1017" fmla="*/ 1076133 h 5120141"/>
                <a:gd name="connsiteX1018" fmla="*/ 82042 w 3832826"/>
                <a:gd name="connsiteY1018" fmla="*/ 1056094 h 5120141"/>
                <a:gd name="connsiteX1019" fmla="*/ 84146 w 3832826"/>
                <a:gd name="connsiteY1019" fmla="*/ 1046074 h 5120141"/>
                <a:gd name="connsiteX1020" fmla="*/ 86250 w 3832826"/>
                <a:gd name="connsiteY1020" fmla="*/ 1036054 h 5120141"/>
                <a:gd name="connsiteX1021" fmla="*/ 96768 w 3832826"/>
                <a:gd name="connsiteY1021" fmla="*/ 1018018 h 5120141"/>
                <a:gd name="connsiteX1022" fmla="*/ 103079 w 3832826"/>
                <a:gd name="connsiteY1022" fmla="*/ 1003990 h 5120141"/>
                <a:gd name="connsiteX1023" fmla="*/ 103079 w 3832826"/>
                <a:gd name="connsiteY1023" fmla="*/ 995974 h 5120141"/>
                <a:gd name="connsiteX1024" fmla="*/ 103079 w 3832826"/>
                <a:gd name="connsiteY1024" fmla="*/ 987959 h 5120141"/>
                <a:gd name="connsiteX1025" fmla="*/ 92561 w 3832826"/>
                <a:gd name="connsiteY1025" fmla="*/ 965915 h 5120141"/>
                <a:gd name="connsiteX1026" fmla="*/ 73628 w 3832826"/>
                <a:gd name="connsiteY1026" fmla="*/ 903792 h 5120141"/>
                <a:gd name="connsiteX1027" fmla="*/ 67317 w 3832826"/>
                <a:gd name="connsiteY1027" fmla="*/ 869724 h 5120141"/>
                <a:gd name="connsiteX1028" fmla="*/ 63110 w 3832826"/>
                <a:gd name="connsiteY1028" fmla="*/ 837661 h 5120141"/>
                <a:gd name="connsiteX1029" fmla="*/ 63110 w 3832826"/>
                <a:gd name="connsiteY1029" fmla="*/ 823633 h 5120141"/>
                <a:gd name="connsiteX1030" fmla="*/ 65213 w 3832826"/>
                <a:gd name="connsiteY1030" fmla="*/ 807601 h 5120141"/>
                <a:gd name="connsiteX1031" fmla="*/ 65213 w 3832826"/>
                <a:gd name="connsiteY1031" fmla="*/ 781549 h 5120141"/>
                <a:gd name="connsiteX1032" fmla="*/ 63110 w 3832826"/>
                <a:gd name="connsiteY1032" fmla="*/ 767522 h 5120141"/>
                <a:gd name="connsiteX1033" fmla="*/ 56799 w 3832826"/>
                <a:gd name="connsiteY1033" fmla="*/ 757502 h 5120141"/>
                <a:gd name="connsiteX1034" fmla="*/ 46281 w 3832826"/>
                <a:gd name="connsiteY1034" fmla="*/ 747482 h 5120141"/>
                <a:gd name="connsiteX1035" fmla="*/ 29452 w 3832826"/>
                <a:gd name="connsiteY1035" fmla="*/ 741470 h 5120141"/>
                <a:gd name="connsiteX1036" fmla="*/ 27348 w 3832826"/>
                <a:gd name="connsiteY1036" fmla="*/ 733454 h 5120141"/>
                <a:gd name="connsiteX1037" fmla="*/ 29452 w 3832826"/>
                <a:gd name="connsiteY1037" fmla="*/ 725438 h 5120141"/>
                <a:gd name="connsiteX1038" fmla="*/ 31555 w 3832826"/>
                <a:gd name="connsiteY1038" fmla="*/ 717422 h 5120141"/>
                <a:gd name="connsiteX1039" fmla="*/ 39970 w 3832826"/>
                <a:gd name="connsiteY1039" fmla="*/ 711410 h 5120141"/>
                <a:gd name="connsiteX1040" fmla="*/ 46281 w 3832826"/>
                <a:gd name="connsiteY1040" fmla="*/ 705398 h 5120141"/>
                <a:gd name="connsiteX1041" fmla="*/ 52880 w 3832826"/>
                <a:gd name="connsiteY1041" fmla="*/ 703827 h 5120141"/>
                <a:gd name="connsiteX1042" fmla="*/ 52638 w 3832826"/>
                <a:gd name="connsiteY1042" fmla="*/ 703357 h 5120141"/>
                <a:gd name="connsiteX1043" fmla="*/ 44132 w 3832826"/>
                <a:gd name="connsiteY1043" fmla="*/ 705433 h 5120141"/>
                <a:gd name="connsiteX1044" fmla="*/ 37845 w 3832826"/>
                <a:gd name="connsiteY1044" fmla="*/ 711439 h 5120141"/>
                <a:gd name="connsiteX1045" fmla="*/ 29462 w 3832826"/>
                <a:gd name="connsiteY1045" fmla="*/ 717445 h 5120141"/>
                <a:gd name="connsiteX1046" fmla="*/ 27367 w 3832826"/>
                <a:gd name="connsiteY1046" fmla="*/ 725453 h 5120141"/>
                <a:gd name="connsiteX1047" fmla="*/ 25271 w 3832826"/>
                <a:gd name="connsiteY1047" fmla="*/ 733461 h 5120141"/>
                <a:gd name="connsiteX1048" fmla="*/ 27367 w 3832826"/>
                <a:gd name="connsiteY1048" fmla="*/ 741469 h 5120141"/>
                <a:gd name="connsiteX1049" fmla="*/ 16888 w 3832826"/>
                <a:gd name="connsiteY1049" fmla="*/ 737465 h 5120141"/>
                <a:gd name="connsiteX1050" fmla="*/ 10478 w 3832826"/>
                <a:gd name="connsiteY1050" fmla="*/ 733461 h 5120141"/>
                <a:gd name="connsiteX1051" fmla="*/ 6287 w 3832826"/>
                <a:gd name="connsiteY1051" fmla="*/ 727455 h 5120141"/>
                <a:gd name="connsiteX1052" fmla="*/ 4191 w 3832826"/>
                <a:gd name="connsiteY1052" fmla="*/ 721449 h 5120141"/>
                <a:gd name="connsiteX1053" fmla="*/ 0 w 3832826"/>
                <a:gd name="connsiteY1053" fmla="*/ 713441 h 5120141"/>
                <a:gd name="connsiteX1054" fmla="*/ 4191 w 3832826"/>
                <a:gd name="connsiteY1054" fmla="*/ 705433 h 5120141"/>
                <a:gd name="connsiteX1055" fmla="*/ 8383 w 3832826"/>
                <a:gd name="connsiteY1055" fmla="*/ 691346 h 5120141"/>
                <a:gd name="connsiteX1056" fmla="*/ 16888 w 3832826"/>
                <a:gd name="connsiteY1056" fmla="*/ 673328 h 5120141"/>
                <a:gd name="connsiteX1057" fmla="*/ 27367 w 3832826"/>
                <a:gd name="connsiteY1057" fmla="*/ 657312 h 5120141"/>
                <a:gd name="connsiteX1058" fmla="*/ 44132 w 3832826"/>
                <a:gd name="connsiteY1058" fmla="*/ 637292 h 5120141"/>
                <a:gd name="connsiteX1059" fmla="*/ 50542 w 3832826"/>
                <a:gd name="connsiteY1059" fmla="*/ 631287 h 5120141"/>
                <a:gd name="connsiteX1060" fmla="*/ 52638 w 3832826"/>
                <a:gd name="connsiteY1060" fmla="*/ 625206 h 5120141"/>
                <a:gd name="connsiteX1061" fmla="*/ 52638 w 3832826"/>
                <a:gd name="connsiteY1061" fmla="*/ 623205 h 5120141"/>
                <a:gd name="connsiteX1062" fmla="*/ 63116 w 3832826"/>
                <a:gd name="connsiteY1062" fmla="*/ 621203 h 5120141"/>
                <a:gd name="connsiteX1063" fmla="*/ 75690 w 3832826"/>
                <a:gd name="connsiteY1063" fmla="*/ 617199 h 5120141"/>
                <a:gd name="connsiteX1064" fmla="*/ 86291 w 3832826"/>
                <a:gd name="connsiteY1064" fmla="*/ 611193 h 5120141"/>
                <a:gd name="connsiteX1065" fmla="*/ 100961 w 3832826"/>
                <a:gd name="connsiteY1065" fmla="*/ 599181 h 5120141"/>
                <a:gd name="connsiteX1066" fmla="*/ 107248 w 3832826"/>
                <a:gd name="connsiteY1066" fmla="*/ 595177 h 5120141"/>
                <a:gd name="connsiteX1067" fmla="*/ 113658 w 3832826"/>
                <a:gd name="connsiteY1067" fmla="*/ 595177 h 5120141"/>
                <a:gd name="connsiteX1068" fmla="*/ 117849 w 3832826"/>
                <a:gd name="connsiteY1068" fmla="*/ 599181 h 5120141"/>
                <a:gd name="connsiteX1069" fmla="*/ 136710 w 3832826"/>
                <a:gd name="connsiteY1069" fmla="*/ 579161 h 5120141"/>
                <a:gd name="connsiteX1070" fmla="*/ 147311 w 3832826"/>
                <a:gd name="connsiteY1070" fmla="*/ 569151 h 5120141"/>
                <a:gd name="connsiteX1071" fmla="*/ 153598 w 3832826"/>
                <a:gd name="connsiteY1071" fmla="*/ 559142 h 5120141"/>
                <a:gd name="connsiteX1072" fmla="*/ 157790 w 3832826"/>
                <a:gd name="connsiteY1072" fmla="*/ 551060 h 5120141"/>
                <a:gd name="connsiteX1073" fmla="*/ 164077 w 3832826"/>
                <a:gd name="connsiteY1073" fmla="*/ 549058 h 5120141"/>
                <a:gd name="connsiteX1074" fmla="*/ 176650 w 3832826"/>
                <a:gd name="connsiteY1074" fmla="*/ 543052 h 5120141"/>
                <a:gd name="connsiteX1075" fmla="*/ 185156 w 3832826"/>
                <a:gd name="connsiteY1075" fmla="*/ 541050 h 5120141"/>
                <a:gd name="connsiteX1076" fmla="*/ 189348 w 3832826"/>
                <a:gd name="connsiteY1076" fmla="*/ 539048 h 5120141"/>
                <a:gd name="connsiteX1077" fmla="*/ 195634 w 3832826"/>
                <a:gd name="connsiteY1077" fmla="*/ 533042 h 5120141"/>
                <a:gd name="connsiteX1078" fmla="*/ 197730 w 3832826"/>
                <a:gd name="connsiteY1078" fmla="*/ 525034 h 5120141"/>
                <a:gd name="connsiteX1079" fmla="*/ 201921 w 3832826"/>
                <a:gd name="connsiteY1079" fmla="*/ 521030 h 5120141"/>
                <a:gd name="connsiteX1080" fmla="*/ 212523 w 3832826"/>
                <a:gd name="connsiteY1080" fmla="*/ 511020 h 5120141"/>
                <a:gd name="connsiteX1081" fmla="*/ 233480 w 3832826"/>
                <a:gd name="connsiteY1081" fmla="*/ 495005 h 5120141"/>
                <a:gd name="connsiteX1082" fmla="*/ 250368 w 3832826"/>
                <a:gd name="connsiteY1082" fmla="*/ 491001 h 5120141"/>
                <a:gd name="connsiteX1083" fmla="*/ 260846 w 3832826"/>
                <a:gd name="connsiteY1083" fmla="*/ 488999 h 5120141"/>
                <a:gd name="connsiteX1084" fmla="*/ 260846 w 3832826"/>
                <a:gd name="connsiteY1084" fmla="*/ 484995 h 5120141"/>
                <a:gd name="connsiteX1085" fmla="*/ 260846 w 3832826"/>
                <a:gd name="connsiteY1085" fmla="*/ 480917 h 5120141"/>
                <a:gd name="connsiteX1086" fmla="*/ 252464 w 3832826"/>
                <a:gd name="connsiteY1086" fmla="*/ 462899 h 5120141"/>
                <a:gd name="connsiteX1087" fmla="*/ 233480 w 3832826"/>
                <a:gd name="connsiteY1087" fmla="*/ 428866 h 5120141"/>
                <a:gd name="connsiteX1088" fmla="*/ 229288 w 3832826"/>
                <a:gd name="connsiteY1088" fmla="*/ 414852 h 5120141"/>
                <a:gd name="connsiteX1089" fmla="*/ 227193 w 3832826"/>
                <a:gd name="connsiteY1089" fmla="*/ 404768 h 5120141"/>
                <a:gd name="connsiteX1090" fmla="*/ 227193 w 3832826"/>
                <a:gd name="connsiteY1090" fmla="*/ 398762 h 5120141"/>
                <a:gd name="connsiteX1091" fmla="*/ 229288 w 3832826"/>
                <a:gd name="connsiteY1091" fmla="*/ 396760 h 5120141"/>
                <a:gd name="connsiteX1092" fmla="*/ 231384 w 3832826"/>
                <a:gd name="connsiteY1092" fmla="*/ 396760 h 5120141"/>
                <a:gd name="connsiteX1093" fmla="*/ 239766 w 3832826"/>
                <a:gd name="connsiteY1093" fmla="*/ 392756 h 5120141"/>
                <a:gd name="connsiteX1094" fmla="*/ 241862 w 3832826"/>
                <a:gd name="connsiteY1094" fmla="*/ 390754 h 5120141"/>
                <a:gd name="connsiteX1095" fmla="*/ 244081 w 3832826"/>
                <a:gd name="connsiteY1095" fmla="*/ 388752 h 5120141"/>
                <a:gd name="connsiteX1096" fmla="*/ 244081 w 3832826"/>
                <a:gd name="connsiteY1096" fmla="*/ 382746 h 5120141"/>
                <a:gd name="connsiteX1097" fmla="*/ 244081 w 3832826"/>
                <a:gd name="connsiteY1097" fmla="*/ 372736 h 5120141"/>
                <a:gd name="connsiteX1098" fmla="*/ 244081 w 3832826"/>
                <a:gd name="connsiteY1098" fmla="*/ 362726 h 5120141"/>
                <a:gd name="connsiteX1099" fmla="*/ 250368 w 3832826"/>
                <a:gd name="connsiteY1099" fmla="*/ 356721 h 5120141"/>
                <a:gd name="connsiteX1100" fmla="*/ 252464 w 3832826"/>
                <a:gd name="connsiteY1100" fmla="*/ 350715 h 5120141"/>
                <a:gd name="connsiteX1101" fmla="*/ 262942 w 3832826"/>
                <a:gd name="connsiteY1101" fmla="*/ 342707 h 5120141"/>
                <a:gd name="connsiteX1102" fmla="*/ 273420 w 3832826"/>
                <a:gd name="connsiteY1102" fmla="*/ 338703 h 5120141"/>
                <a:gd name="connsiteX1103" fmla="*/ 284022 w 3832826"/>
                <a:gd name="connsiteY1103" fmla="*/ 328619 h 5120141"/>
                <a:gd name="connsiteX1104" fmla="*/ 290308 w 3832826"/>
                <a:gd name="connsiteY1104" fmla="*/ 318609 h 5120141"/>
                <a:gd name="connsiteX1105" fmla="*/ 292404 w 3832826"/>
                <a:gd name="connsiteY1105" fmla="*/ 302593 h 5120141"/>
                <a:gd name="connsiteX1106" fmla="*/ 300787 w 3832826"/>
                <a:gd name="connsiteY1106" fmla="*/ 278570 h 5120141"/>
                <a:gd name="connsiteX1107" fmla="*/ 311388 w 3832826"/>
                <a:gd name="connsiteY1107" fmla="*/ 250468 h 5120141"/>
                <a:gd name="connsiteX1108" fmla="*/ 315579 w 3832826"/>
                <a:gd name="connsiteY1108" fmla="*/ 236454 h 5120141"/>
                <a:gd name="connsiteX1109" fmla="*/ 317675 w 3832826"/>
                <a:gd name="connsiteY1109" fmla="*/ 222441 h 5120141"/>
                <a:gd name="connsiteX1110" fmla="*/ 321866 w 3832826"/>
                <a:gd name="connsiteY1110" fmla="*/ 200419 h 5120141"/>
                <a:gd name="connsiteX1111" fmla="*/ 326058 w 3832826"/>
                <a:gd name="connsiteY1111" fmla="*/ 188407 h 5120141"/>
                <a:gd name="connsiteX1112" fmla="*/ 332345 w 3832826"/>
                <a:gd name="connsiteY1112" fmla="*/ 178323 h 5120141"/>
                <a:gd name="connsiteX1113" fmla="*/ 342946 w 3832826"/>
                <a:gd name="connsiteY1113" fmla="*/ 168313 h 5120141"/>
                <a:gd name="connsiteX1114" fmla="*/ 355520 w 3832826"/>
                <a:gd name="connsiteY1114" fmla="*/ 158303 h 5120141"/>
                <a:gd name="connsiteX1115" fmla="*/ 365998 w 3832826"/>
                <a:gd name="connsiteY1115" fmla="*/ 150296 h 5120141"/>
                <a:gd name="connsiteX1116" fmla="*/ 372285 w 3832826"/>
                <a:gd name="connsiteY1116" fmla="*/ 140286 h 5120141"/>
                <a:gd name="connsiteX1117" fmla="*/ 376600 w 3832826"/>
                <a:gd name="connsiteY1117" fmla="*/ 136282 h 5120141"/>
                <a:gd name="connsiteX1118" fmla="*/ 378695 w 3832826"/>
                <a:gd name="connsiteY1118" fmla="*/ 128274 h 5120141"/>
                <a:gd name="connsiteX1119" fmla="*/ 378695 w 3832826"/>
                <a:gd name="connsiteY1119" fmla="*/ 110182 h 5120141"/>
                <a:gd name="connsiteX1120" fmla="*/ 378695 w 3832826"/>
                <a:gd name="connsiteY1120" fmla="*/ 96168 h 5120141"/>
                <a:gd name="connsiteX1121" fmla="*/ 380791 w 3832826"/>
                <a:gd name="connsiteY1121" fmla="*/ 88161 h 5120141"/>
                <a:gd name="connsiteX1122" fmla="*/ 382887 w 3832826"/>
                <a:gd name="connsiteY1122" fmla="*/ 86159 h 5120141"/>
                <a:gd name="connsiteX1123" fmla="*/ 393365 w 3832826"/>
                <a:gd name="connsiteY1123" fmla="*/ 80153 h 5120141"/>
                <a:gd name="connsiteX1124" fmla="*/ 408158 w 3832826"/>
                <a:gd name="connsiteY1124" fmla="*/ 78151 h 5120141"/>
                <a:gd name="connsiteX1125" fmla="*/ 420732 w 3832826"/>
                <a:gd name="connsiteY1125" fmla="*/ 76149 h 5120141"/>
                <a:gd name="connsiteX1126" fmla="*/ 424923 w 3832826"/>
                <a:gd name="connsiteY1126" fmla="*/ 74147 h 5120141"/>
                <a:gd name="connsiteX1127" fmla="*/ 431210 w 3832826"/>
                <a:gd name="connsiteY1127" fmla="*/ 68141 h 5120141"/>
                <a:gd name="connsiteX1128" fmla="*/ 435401 w 3832826"/>
                <a:gd name="connsiteY1128" fmla="*/ 54127 h 5120141"/>
                <a:gd name="connsiteX1129" fmla="*/ 435401 w 3832826"/>
                <a:gd name="connsiteY1129" fmla="*/ 44117 h 5120141"/>
                <a:gd name="connsiteX1130" fmla="*/ 435401 w 3832826"/>
                <a:gd name="connsiteY1130" fmla="*/ 34033 h 5120141"/>
                <a:gd name="connsiteX1131" fmla="*/ 431210 w 3832826"/>
                <a:gd name="connsiteY1131" fmla="*/ 28027 h 5120141"/>
                <a:gd name="connsiteX1132" fmla="*/ 420732 w 3832826"/>
                <a:gd name="connsiteY1132" fmla="*/ 16016 h 5120141"/>
                <a:gd name="connsiteX1133" fmla="*/ 401747 w 3832826"/>
                <a:gd name="connsiteY1133" fmla="*/ 0 h 5120141"/>
                <a:gd name="connsiteX0" fmla="*/ 1390739 w 3832826"/>
                <a:gd name="connsiteY0" fmla="*/ 1285217 h 5120141"/>
                <a:gd name="connsiteX1" fmla="*/ 1392579 w 3832826"/>
                <a:gd name="connsiteY1" fmla="*/ 1291180 h 5120141"/>
                <a:gd name="connsiteX2" fmla="*/ 1392608 w 3832826"/>
                <a:gd name="connsiteY2" fmla="*/ 1290558 h 5120141"/>
                <a:gd name="connsiteX3" fmla="*/ 1390739 w 3832826"/>
                <a:gd name="connsiteY3" fmla="*/ 1285217 h 5120141"/>
                <a:gd name="connsiteX4" fmla="*/ 1138708 w 3832826"/>
                <a:gd name="connsiteY4" fmla="*/ 844805 h 5120141"/>
                <a:gd name="connsiteX5" fmla="*/ 1135965 w 3832826"/>
                <a:gd name="connsiteY5" fmla="*/ 845676 h 5120141"/>
                <a:gd name="connsiteX6" fmla="*/ 1138389 w 3832826"/>
                <a:gd name="connsiteY6" fmla="*/ 850296 h 5120141"/>
                <a:gd name="connsiteX7" fmla="*/ 1142308 w 3832826"/>
                <a:gd name="connsiteY7" fmla="*/ 851593 h 5120141"/>
                <a:gd name="connsiteX8" fmla="*/ 1138708 w 3832826"/>
                <a:gd name="connsiteY8" fmla="*/ 844805 h 5120141"/>
                <a:gd name="connsiteX9" fmla="*/ 1142276 w 3832826"/>
                <a:gd name="connsiteY9" fmla="*/ 825637 h 5120141"/>
                <a:gd name="connsiteX10" fmla="*/ 1144379 w 3832826"/>
                <a:gd name="connsiteY10" fmla="*/ 833653 h 5120141"/>
                <a:gd name="connsiteX11" fmla="*/ 1144379 w 3832826"/>
                <a:gd name="connsiteY11" fmla="*/ 839665 h 5120141"/>
                <a:gd name="connsiteX12" fmla="*/ 1143167 w 3832826"/>
                <a:gd name="connsiteY12" fmla="*/ 841974 h 5120141"/>
                <a:gd name="connsiteX13" fmla="*/ 1144345 w 3832826"/>
                <a:gd name="connsiteY13" fmla="*/ 841587 h 5120141"/>
                <a:gd name="connsiteX14" fmla="*/ 1146453 w 3832826"/>
                <a:gd name="connsiteY14" fmla="*/ 837612 h 5120141"/>
                <a:gd name="connsiteX15" fmla="*/ 1146453 w 3832826"/>
                <a:gd name="connsiteY15" fmla="*/ 831649 h 5120141"/>
                <a:gd name="connsiteX16" fmla="*/ 1144873 w 3832826"/>
                <a:gd name="connsiteY16" fmla="*/ 825637 h 5120141"/>
                <a:gd name="connsiteX17" fmla="*/ 1142276 w 3832826"/>
                <a:gd name="connsiteY17" fmla="*/ 825637 h 5120141"/>
                <a:gd name="connsiteX18" fmla="*/ 401747 w 3832826"/>
                <a:gd name="connsiteY18" fmla="*/ 0 h 5120141"/>
                <a:gd name="connsiteX19" fmla="*/ 769965 w 3832826"/>
                <a:gd name="connsiteY19" fmla="*/ 0 h 5120141"/>
                <a:gd name="connsiteX20" fmla="*/ 1138058 w 3832826"/>
                <a:gd name="connsiteY20" fmla="*/ 0 h 5120141"/>
                <a:gd name="connsiteX21" fmla="*/ 1222254 w 3832826"/>
                <a:gd name="connsiteY21" fmla="*/ 0 h 5120141"/>
                <a:gd name="connsiteX22" fmla="*/ 1226445 w 3832826"/>
                <a:gd name="connsiteY22" fmla="*/ 140286 h 5120141"/>
                <a:gd name="connsiteX23" fmla="*/ 1228541 w 3832826"/>
                <a:gd name="connsiteY23" fmla="*/ 278570 h 5120141"/>
                <a:gd name="connsiteX24" fmla="*/ 1232732 w 3832826"/>
                <a:gd name="connsiteY24" fmla="*/ 414852 h 5120141"/>
                <a:gd name="connsiteX25" fmla="*/ 1228541 w 3832826"/>
                <a:gd name="connsiteY25" fmla="*/ 559142 h 5120141"/>
                <a:gd name="connsiteX26" fmla="*/ 1224350 w 3832826"/>
                <a:gd name="connsiteY26" fmla="*/ 559142 h 5120141"/>
                <a:gd name="connsiteX27" fmla="*/ 1224350 w 3832826"/>
                <a:gd name="connsiteY27" fmla="*/ 591173 h 5120141"/>
                <a:gd name="connsiteX28" fmla="*/ 1222254 w 3832826"/>
                <a:gd name="connsiteY28" fmla="*/ 591173 h 5120141"/>
                <a:gd name="connsiteX29" fmla="*/ 1194887 w 3832826"/>
                <a:gd name="connsiteY29" fmla="*/ 591173 h 5120141"/>
                <a:gd name="connsiteX30" fmla="*/ 1163329 w 3832826"/>
                <a:gd name="connsiteY30" fmla="*/ 591173 h 5120141"/>
                <a:gd name="connsiteX31" fmla="*/ 1108125 w 3832826"/>
                <a:gd name="connsiteY31" fmla="*/ 602727 h 5120141"/>
                <a:gd name="connsiteX32" fmla="*/ 1110721 w 3832826"/>
                <a:gd name="connsiteY32" fmla="*/ 605200 h 5120141"/>
                <a:gd name="connsiteX33" fmla="*/ 1119136 w 3832826"/>
                <a:gd name="connsiteY33" fmla="*/ 613216 h 5120141"/>
                <a:gd name="connsiteX34" fmla="*/ 1121239 w 3832826"/>
                <a:gd name="connsiteY34" fmla="*/ 621231 h 5120141"/>
                <a:gd name="connsiteX35" fmla="*/ 1123343 w 3832826"/>
                <a:gd name="connsiteY35" fmla="*/ 645279 h 5120141"/>
                <a:gd name="connsiteX36" fmla="*/ 1129654 w 3832826"/>
                <a:gd name="connsiteY36" fmla="*/ 657303 h 5120141"/>
                <a:gd name="connsiteX37" fmla="*/ 1140172 w 3832826"/>
                <a:gd name="connsiteY37" fmla="*/ 667323 h 5120141"/>
                <a:gd name="connsiteX38" fmla="*/ 1146483 w 3832826"/>
                <a:gd name="connsiteY38" fmla="*/ 673335 h 5120141"/>
                <a:gd name="connsiteX39" fmla="*/ 1161208 w 3832826"/>
                <a:gd name="connsiteY39" fmla="*/ 677343 h 5120141"/>
                <a:gd name="connsiteX40" fmla="*/ 1184348 w 3832826"/>
                <a:gd name="connsiteY40" fmla="*/ 683355 h 5120141"/>
                <a:gd name="connsiteX41" fmla="*/ 1194866 w 3832826"/>
                <a:gd name="connsiteY41" fmla="*/ 687363 h 5120141"/>
                <a:gd name="connsiteX42" fmla="*/ 1205385 w 3832826"/>
                <a:gd name="connsiteY42" fmla="*/ 693375 h 5120141"/>
                <a:gd name="connsiteX43" fmla="*/ 1209592 w 3832826"/>
                <a:gd name="connsiteY43" fmla="*/ 703394 h 5120141"/>
                <a:gd name="connsiteX44" fmla="*/ 1213799 w 3832826"/>
                <a:gd name="connsiteY44" fmla="*/ 715418 h 5120141"/>
                <a:gd name="connsiteX45" fmla="*/ 1199074 w 3832826"/>
                <a:gd name="connsiteY45" fmla="*/ 715418 h 5120141"/>
                <a:gd name="connsiteX46" fmla="*/ 1196970 w 3832826"/>
                <a:gd name="connsiteY46" fmla="*/ 715418 h 5120141"/>
                <a:gd name="connsiteX47" fmla="*/ 1196970 w 3832826"/>
                <a:gd name="connsiteY47" fmla="*/ 717422 h 5120141"/>
                <a:gd name="connsiteX48" fmla="*/ 1203281 w 3832826"/>
                <a:gd name="connsiteY48" fmla="*/ 725438 h 5120141"/>
                <a:gd name="connsiteX49" fmla="*/ 1205385 w 3832826"/>
                <a:gd name="connsiteY49" fmla="*/ 733454 h 5120141"/>
                <a:gd name="connsiteX50" fmla="*/ 1207488 w 3832826"/>
                <a:gd name="connsiteY50" fmla="*/ 751490 h 5120141"/>
                <a:gd name="connsiteX51" fmla="*/ 1207488 w 3832826"/>
                <a:gd name="connsiteY51" fmla="*/ 763514 h 5120141"/>
                <a:gd name="connsiteX52" fmla="*/ 1199074 w 3832826"/>
                <a:gd name="connsiteY52" fmla="*/ 773533 h 5120141"/>
                <a:gd name="connsiteX53" fmla="*/ 1188556 w 3832826"/>
                <a:gd name="connsiteY53" fmla="*/ 785557 h 5120141"/>
                <a:gd name="connsiteX54" fmla="*/ 1175934 w 3832826"/>
                <a:gd name="connsiteY54" fmla="*/ 793573 h 5120141"/>
                <a:gd name="connsiteX55" fmla="*/ 1161208 w 3832826"/>
                <a:gd name="connsiteY55" fmla="*/ 801589 h 5120141"/>
                <a:gd name="connsiteX56" fmla="*/ 1154897 w 3832826"/>
                <a:gd name="connsiteY56" fmla="*/ 803593 h 5120141"/>
                <a:gd name="connsiteX57" fmla="*/ 1150690 w 3832826"/>
                <a:gd name="connsiteY57" fmla="*/ 811609 h 5120141"/>
                <a:gd name="connsiteX58" fmla="*/ 1150690 w 3832826"/>
                <a:gd name="connsiteY58" fmla="*/ 817621 h 5120141"/>
                <a:gd name="connsiteX59" fmla="*/ 1153844 w 3832826"/>
                <a:gd name="connsiteY59" fmla="*/ 823631 h 5120141"/>
                <a:gd name="connsiteX60" fmla="*/ 1156992 w 3832826"/>
                <a:gd name="connsiteY60" fmla="*/ 823631 h 5120141"/>
                <a:gd name="connsiteX61" fmla="*/ 1165424 w 3832826"/>
                <a:gd name="connsiteY61" fmla="*/ 823631 h 5120141"/>
                <a:gd name="connsiteX62" fmla="*/ 1169639 w 3832826"/>
                <a:gd name="connsiteY62" fmla="*/ 827606 h 5120141"/>
                <a:gd name="connsiteX63" fmla="*/ 1173855 w 3832826"/>
                <a:gd name="connsiteY63" fmla="*/ 833637 h 5120141"/>
                <a:gd name="connsiteX64" fmla="*/ 1173855 w 3832826"/>
                <a:gd name="connsiteY64" fmla="*/ 841587 h 5120141"/>
                <a:gd name="connsiteX65" fmla="*/ 1173855 w 3832826"/>
                <a:gd name="connsiteY65" fmla="*/ 855568 h 5120141"/>
                <a:gd name="connsiteX66" fmla="*/ 1169639 w 3832826"/>
                <a:gd name="connsiteY66" fmla="*/ 871605 h 5120141"/>
                <a:gd name="connsiteX67" fmla="*/ 1184324 w 3832826"/>
                <a:gd name="connsiteY67" fmla="*/ 867562 h 5120141"/>
                <a:gd name="connsiteX68" fmla="*/ 1180108 w 3832826"/>
                <a:gd name="connsiteY68" fmla="*/ 877568 h 5120141"/>
                <a:gd name="connsiteX69" fmla="*/ 1188540 w 3832826"/>
                <a:gd name="connsiteY69" fmla="*/ 877568 h 5120141"/>
                <a:gd name="connsiteX70" fmla="*/ 1194863 w 3832826"/>
                <a:gd name="connsiteY70" fmla="*/ 885587 h 5120141"/>
                <a:gd name="connsiteX71" fmla="*/ 1196971 w 3832826"/>
                <a:gd name="connsiteY71" fmla="*/ 895593 h 5120141"/>
                <a:gd name="connsiteX72" fmla="*/ 1188540 w 3832826"/>
                <a:gd name="connsiteY72" fmla="*/ 895593 h 5120141"/>
                <a:gd name="connsiteX73" fmla="*/ 1190648 w 3832826"/>
                <a:gd name="connsiteY73" fmla="*/ 903543 h 5120141"/>
                <a:gd name="connsiteX74" fmla="*/ 1188540 w 3832826"/>
                <a:gd name="connsiteY74" fmla="*/ 907518 h 5120141"/>
                <a:gd name="connsiteX75" fmla="*/ 1184324 w 3832826"/>
                <a:gd name="connsiteY75" fmla="*/ 913549 h 5120141"/>
                <a:gd name="connsiteX76" fmla="*/ 1175963 w 3832826"/>
                <a:gd name="connsiteY76" fmla="*/ 917524 h 5120141"/>
                <a:gd name="connsiteX77" fmla="*/ 1169639 w 3832826"/>
                <a:gd name="connsiteY77" fmla="*/ 923555 h 5120141"/>
                <a:gd name="connsiteX78" fmla="*/ 1163316 w 3832826"/>
                <a:gd name="connsiteY78" fmla="*/ 933493 h 5120141"/>
                <a:gd name="connsiteX79" fmla="*/ 1163316 w 3832826"/>
                <a:gd name="connsiteY79" fmla="*/ 941512 h 5120141"/>
                <a:gd name="connsiteX80" fmla="*/ 1159100 w 3832826"/>
                <a:gd name="connsiteY80" fmla="*/ 947543 h 5120141"/>
                <a:gd name="connsiteX81" fmla="*/ 1167532 w 3832826"/>
                <a:gd name="connsiteY81" fmla="*/ 947543 h 5120141"/>
                <a:gd name="connsiteX82" fmla="*/ 1165424 w 3832826"/>
                <a:gd name="connsiteY82" fmla="*/ 963511 h 5120141"/>
                <a:gd name="connsiteX83" fmla="*/ 1167532 w 3832826"/>
                <a:gd name="connsiteY83" fmla="*/ 975505 h 5120141"/>
                <a:gd name="connsiteX84" fmla="*/ 1167532 w 3832826"/>
                <a:gd name="connsiteY84" fmla="*/ 991474 h 5120141"/>
                <a:gd name="connsiteX85" fmla="*/ 1167532 w 3832826"/>
                <a:gd name="connsiteY85" fmla="*/ 1007443 h 5120141"/>
                <a:gd name="connsiteX86" fmla="*/ 1169639 w 3832826"/>
                <a:gd name="connsiteY86" fmla="*/ 1011486 h 5120141"/>
                <a:gd name="connsiteX87" fmla="*/ 1173855 w 3832826"/>
                <a:gd name="connsiteY87" fmla="*/ 1015461 h 5120141"/>
                <a:gd name="connsiteX88" fmla="*/ 1169639 w 3832826"/>
                <a:gd name="connsiteY88" fmla="*/ 1021424 h 5120141"/>
                <a:gd name="connsiteX89" fmla="*/ 1167532 w 3832826"/>
                <a:gd name="connsiteY89" fmla="*/ 1021424 h 5120141"/>
                <a:gd name="connsiteX90" fmla="*/ 1163316 w 3832826"/>
                <a:gd name="connsiteY90" fmla="*/ 1021424 h 5120141"/>
                <a:gd name="connsiteX91" fmla="*/ 1159100 w 3832826"/>
                <a:gd name="connsiteY91" fmla="*/ 1027455 h 5120141"/>
                <a:gd name="connsiteX92" fmla="*/ 1163316 w 3832826"/>
                <a:gd name="connsiteY92" fmla="*/ 1033418 h 5120141"/>
                <a:gd name="connsiteX93" fmla="*/ 1167532 w 3832826"/>
                <a:gd name="connsiteY93" fmla="*/ 1037461 h 5120141"/>
                <a:gd name="connsiteX94" fmla="*/ 1169639 w 3832826"/>
                <a:gd name="connsiteY94" fmla="*/ 1047399 h 5120141"/>
                <a:gd name="connsiteX95" fmla="*/ 1173855 w 3832826"/>
                <a:gd name="connsiteY95" fmla="*/ 1059393 h 5120141"/>
                <a:gd name="connsiteX96" fmla="*/ 1186432 w 3832826"/>
                <a:gd name="connsiteY96" fmla="*/ 1057405 h 5120141"/>
                <a:gd name="connsiteX97" fmla="*/ 1184324 w 3832826"/>
                <a:gd name="connsiteY97" fmla="*/ 1065424 h 5120141"/>
                <a:gd name="connsiteX98" fmla="*/ 1194863 w 3832826"/>
                <a:gd name="connsiteY98" fmla="*/ 1063436 h 5120141"/>
                <a:gd name="connsiteX99" fmla="*/ 1201187 w 3832826"/>
                <a:gd name="connsiteY99" fmla="*/ 1065424 h 5120141"/>
                <a:gd name="connsiteX100" fmla="*/ 1205403 w 3832826"/>
                <a:gd name="connsiteY100" fmla="*/ 1073374 h 5120141"/>
                <a:gd name="connsiteX101" fmla="*/ 1205403 w 3832826"/>
                <a:gd name="connsiteY101" fmla="*/ 1083380 h 5120141"/>
                <a:gd name="connsiteX102" fmla="*/ 1209618 w 3832826"/>
                <a:gd name="connsiteY102" fmla="*/ 1083380 h 5120141"/>
                <a:gd name="connsiteX103" fmla="*/ 1209618 w 3832826"/>
                <a:gd name="connsiteY103" fmla="*/ 1095374 h 5120141"/>
                <a:gd name="connsiteX104" fmla="*/ 1220087 w 3832826"/>
                <a:gd name="connsiteY104" fmla="*/ 1097361 h 5120141"/>
                <a:gd name="connsiteX105" fmla="*/ 1226411 w 3832826"/>
                <a:gd name="connsiteY105" fmla="*/ 1103392 h 5120141"/>
                <a:gd name="connsiteX106" fmla="*/ 1232734 w 3832826"/>
                <a:gd name="connsiteY106" fmla="*/ 1115386 h 5120141"/>
                <a:gd name="connsiteX107" fmla="*/ 1241166 w 3832826"/>
                <a:gd name="connsiteY107" fmla="*/ 1113330 h 5120141"/>
                <a:gd name="connsiteX108" fmla="*/ 1247489 w 3832826"/>
                <a:gd name="connsiteY108" fmla="*/ 1119361 h 5120141"/>
                <a:gd name="connsiteX109" fmla="*/ 1249527 w 3832826"/>
                <a:gd name="connsiteY109" fmla="*/ 1127311 h 5120141"/>
                <a:gd name="connsiteX110" fmla="*/ 1262174 w 3832826"/>
                <a:gd name="connsiteY110" fmla="*/ 1137317 h 5120141"/>
                <a:gd name="connsiteX111" fmla="*/ 1274821 w 3832826"/>
                <a:gd name="connsiteY111" fmla="*/ 1147324 h 5120141"/>
                <a:gd name="connsiteX112" fmla="*/ 1291613 w 3832826"/>
                <a:gd name="connsiteY112" fmla="*/ 1159317 h 5120141"/>
                <a:gd name="connsiteX113" fmla="*/ 1293721 w 3832826"/>
                <a:gd name="connsiteY113" fmla="*/ 1165280 h 5120141"/>
                <a:gd name="connsiteX114" fmla="*/ 1295829 w 3832826"/>
                <a:gd name="connsiteY114" fmla="*/ 1173299 h 5120141"/>
                <a:gd name="connsiteX115" fmla="*/ 1306368 w 3832826"/>
                <a:gd name="connsiteY115" fmla="*/ 1173299 h 5120141"/>
                <a:gd name="connsiteX116" fmla="*/ 1312692 w 3832826"/>
                <a:gd name="connsiteY116" fmla="*/ 1177274 h 5120141"/>
                <a:gd name="connsiteX117" fmla="*/ 1314800 w 3832826"/>
                <a:gd name="connsiteY117" fmla="*/ 1185292 h 5120141"/>
                <a:gd name="connsiteX118" fmla="*/ 1312692 w 3832826"/>
                <a:gd name="connsiteY118" fmla="*/ 1195299 h 5120141"/>
                <a:gd name="connsiteX119" fmla="*/ 1321053 w 3832826"/>
                <a:gd name="connsiteY119" fmla="*/ 1193311 h 5120141"/>
                <a:gd name="connsiteX120" fmla="*/ 1323161 w 3832826"/>
                <a:gd name="connsiteY120" fmla="*/ 1195299 h 5120141"/>
                <a:gd name="connsiteX121" fmla="*/ 1325269 w 3832826"/>
                <a:gd name="connsiteY121" fmla="*/ 1199274 h 5120141"/>
                <a:gd name="connsiteX122" fmla="*/ 1325269 w 3832826"/>
                <a:gd name="connsiteY122" fmla="*/ 1205305 h 5120141"/>
                <a:gd name="connsiteX123" fmla="*/ 1337916 w 3832826"/>
                <a:gd name="connsiteY123" fmla="*/ 1205305 h 5120141"/>
                <a:gd name="connsiteX124" fmla="*/ 1337916 w 3832826"/>
                <a:gd name="connsiteY124" fmla="*/ 1217230 h 5120141"/>
                <a:gd name="connsiteX125" fmla="*/ 1344239 w 3832826"/>
                <a:gd name="connsiteY125" fmla="*/ 1215242 h 5120141"/>
                <a:gd name="connsiteX126" fmla="*/ 1344239 w 3832826"/>
                <a:gd name="connsiteY126" fmla="*/ 1219286 h 5120141"/>
                <a:gd name="connsiteX127" fmla="*/ 1346347 w 3832826"/>
                <a:gd name="connsiteY127" fmla="*/ 1219286 h 5120141"/>
                <a:gd name="connsiteX128" fmla="*/ 1352671 w 3832826"/>
                <a:gd name="connsiteY128" fmla="*/ 1223261 h 5120141"/>
                <a:gd name="connsiteX129" fmla="*/ 1352671 w 3832826"/>
                <a:gd name="connsiteY129" fmla="*/ 1227236 h 5120141"/>
                <a:gd name="connsiteX130" fmla="*/ 1358924 w 3832826"/>
                <a:gd name="connsiteY130" fmla="*/ 1227236 h 5120141"/>
                <a:gd name="connsiteX131" fmla="*/ 1365247 w 3832826"/>
                <a:gd name="connsiteY131" fmla="*/ 1235255 h 5120141"/>
                <a:gd name="connsiteX132" fmla="*/ 1365247 w 3832826"/>
                <a:gd name="connsiteY132" fmla="*/ 1241217 h 5120141"/>
                <a:gd name="connsiteX133" fmla="*/ 1365247 w 3832826"/>
                <a:gd name="connsiteY133" fmla="*/ 1251223 h 5120141"/>
                <a:gd name="connsiteX134" fmla="*/ 1369463 w 3832826"/>
                <a:gd name="connsiteY134" fmla="*/ 1249236 h 5120141"/>
                <a:gd name="connsiteX135" fmla="*/ 1375787 w 3832826"/>
                <a:gd name="connsiteY135" fmla="*/ 1251223 h 5120141"/>
                <a:gd name="connsiteX136" fmla="*/ 1377895 w 3832826"/>
                <a:gd name="connsiteY136" fmla="*/ 1255199 h 5120141"/>
                <a:gd name="connsiteX137" fmla="*/ 1377895 w 3832826"/>
                <a:gd name="connsiteY137" fmla="*/ 1259242 h 5120141"/>
                <a:gd name="connsiteX138" fmla="*/ 1396795 w 3832826"/>
                <a:gd name="connsiteY138" fmla="*/ 1257255 h 5120141"/>
                <a:gd name="connsiteX139" fmla="*/ 1398903 w 3832826"/>
                <a:gd name="connsiteY139" fmla="*/ 1275211 h 5120141"/>
                <a:gd name="connsiteX140" fmla="*/ 1407333 w 3832826"/>
                <a:gd name="connsiteY140" fmla="*/ 1271236 h 5120141"/>
                <a:gd name="connsiteX141" fmla="*/ 1407333 w 3832826"/>
                <a:gd name="connsiteY141" fmla="*/ 1270518 h 5120141"/>
                <a:gd name="connsiteX142" fmla="*/ 1453613 w 3832826"/>
                <a:gd name="connsiteY142" fmla="*/ 1244467 h 5120141"/>
                <a:gd name="connsiteX143" fmla="*/ 1459924 w 3832826"/>
                <a:gd name="connsiteY143" fmla="*/ 1274526 h 5120141"/>
                <a:gd name="connsiteX144" fmla="*/ 1459924 w 3832826"/>
                <a:gd name="connsiteY144" fmla="*/ 1290558 h 5120141"/>
                <a:gd name="connsiteX145" fmla="*/ 1455717 w 3832826"/>
                <a:gd name="connsiteY145" fmla="*/ 1304586 h 5120141"/>
                <a:gd name="connsiteX146" fmla="*/ 1453613 w 3832826"/>
                <a:gd name="connsiteY146" fmla="*/ 1308594 h 5120141"/>
                <a:gd name="connsiteX147" fmla="*/ 1449406 w 3832826"/>
                <a:gd name="connsiteY147" fmla="*/ 1310598 h 5120141"/>
                <a:gd name="connsiteX148" fmla="*/ 1440991 w 3832826"/>
                <a:gd name="connsiteY148" fmla="*/ 1316610 h 5120141"/>
                <a:gd name="connsiteX149" fmla="*/ 1434680 w 3832826"/>
                <a:gd name="connsiteY149" fmla="*/ 1318614 h 5120141"/>
                <a:gd name="connsiteX150" fmla="*/ 1432577 w 3832826"/>
                <a:gd name="connsiteY150" fmla="*/ 1320618 h 5120141"/>
                <a:gd name="connsiteX151" fmla="*/ 1430473 w 3832826"/>
                <a:gd name="connsiteY151" fmla="*/ 1326630 h 5120141"/>
                <a:gd name="connsiteX152" fmla="*/ 1430473 w 3832826"/>
                <a:gd name="connsiteY152" fmla="*/ 1334645 h 5120141"/>
                <a:gd name="connsiteX153" fmla="*/ 1434680 w 3832826"/>
                <a:gd name="connsiteY153" fmla="*/ 1338653 h 5120141"/>
                <a:gd name="connsiteX154" fmla="*/ 1440991 w 3832826"/>
                <a:gd name="connsiteY154" fmla="*/ 1350677 h 5120141"/>
                <a:gd name="connsiteX155" fmla="*/ 1443095 w 3832826"/>
                <a:gd name="connsiteY155" fmla="*/ 1366709 h 5120141"/>
                <a:gd name="connsiteX156" fmla="*/ 1443095 w 3832826"/>
                <a:gd name="connsiteY156" fmla="*/ 1380737 h 5120141"/>
                <a:gd name="connsiteX157" fmla="*/ 1445199 w 3832826"/>
                <a:gd name="connsiteY157" fmla="*/ 1436848 h 5120141"/>
                <a:gd name="connsiteX158" fmla="*/ 1422059 w 3832826"/>
                <a:gd name="connsiteY158" fmla="*/ 1436848 h 5120141"/>
                <a:gd name="connsiteX159" fmla="*/ 1403126 w 3832826"/>
                <a:gd name="connsiteY159" fmla="*/ 1438852 h 5120141"/>
                <a:gd name="connsiteX160" fmla="*/ 1392608 w 3832826"/>
                <a:gd name="connsiteY160" fmla="*/ 1440856 h 5120141"/>
                <a:gd name="connsiteX161" fmla="*/ 1382089 w 3832826"/>
                <a:gd name="connsiteY161" fmla="*/ 1444864 h 5120141"/>
                <a:gd name="connsiteX162" fmla="*/ 1375779 w 3832826"/>
                <a:gd name="connsiteY162" fmla="*/ 1448872 h 5120141"/>
                <a:gd name="connsiteX163" fmla="*/ 1367364 w 3832826"/>
                <a:gd name="connsiteY163" fmla="*/ 1456888 h 5120141"/>
                <a:gd name="connsiteX164" fmla="*/ 1358949 w 3832826"/>
                <a:gd name="connsiteY164" fmla="*/ 1462900 h 5120141"/>
                <a:gd name="connsiteX165" fmla="*/ 1354742 w 3832826"/>
                <a:gd name="connsiteY165" fmla="*/ 1472920 h 5120141"/>
                <a:gd name="connsiteX166" fmla="*/ 1348431 w 3832826"/>
                <a:gd name="connsiteY166" fmla="*/ 1480935 h 5120141"/>
                <a:gd name="connsiteX167" fmla="*/ 1344224 w 3832826"/>
                <a:gd name="connsiteY167" fmla="*/ 1482939 h 5120141"/>
                <a:gd name="connsiteX168" fmla="*/ 1342120 w 3832826"/>
                <a:gd name="connsiteY168" fmla="*/ 1482939 h 5120141"/>
                <a:gd name="connsiteX169" fmla="*/ 1333706 w 3832826"/>
                <a:gd name="connsiteY169" fmla="*/ 1480935 h 5120141"/>
                <a:gd name="connsiteX170" fmla="*/ 1327395 w 3832826"/>
                <a:gd name="connsiteY170" fmla="*/ 1482939 h 5120141"/>
                <a:gd name="connsiteX171" fmla="*/ 1325291 w 3832826"/>
                <a:gd name="connsiteY171" fmla="*/ 1488951 h 5120141"/>
                <a:gd name="connsiteX172" fmla="*/ 1323188 w 3832826"/>
                <a:gd name="connsiteY172" fmla="*/ 1492959 h 5120141"/>
                <a:gd name="connsiteX173" fmla="*/ 1321084 w 3832826"/>
                <a:gd name="connsiteY173" fmla="*/ 1506987 h 5120141"/>
                <a:gd name="connsiteX174" fmla="*/ 1316877 w 3832826"/>
                <a:gd name="connsiteY174" fmla="*/ 1512999 h 5120141"/>
                <a:gd name="connsiteX175" fmla="*/ 1310566 w 3832826"/>
                <a:gd name="connsiteY175" fmla="*/ 1521015 h 5120141"/>
                <a:gd name="connsiteX176" fmla="*/ 1304255 w 3832826"/>
                <a:gd name="connsiteY176" fmla="*/ 1523019 h 5120141"/>
                <a:gd name="connsiteX177" fmla="*/ 1293737 w 3832826"/>
                <a:gd name="connsiteY177" fmla="*/ 1529031 h 5120141"/>
                <a:gd name="connsiteX178" fmla="*/ 1281115 w 3832826"/>
                <a:gd name="connsiteY178" fmla="*/ 1529031 h 5120141"/>
                <a:gd name="connsiteX179" fmla="*/ 1279011 w 3832826"/>
                <a:gd name="connsiteY179" fmla="*/ 1531035 h 5120141"/>
                <a:gd name="connsiteX180" fmla="*/ 1274804 w 3832826"/>
                <a:gd name="connsiteY180" fmla="*/ 1537046 h 5120141"/>
                <a:gd name="connsiteX181" fmla="*/ 1272700 w 3832826"/>
                <a:gd name="connsiteY181" fmla="*/ 1547066 h 5120141"/>
                <a:gd name="connsiteX182" fmla="*/ 1270597 w 3832826"/>
                <a:gd name="connsiteY182" fmla="*/ 1559090 h 5120141"/>
                <a:gd name="connsiteX183" fmla="*/ 1264286 w 3832826"/>
                <a:gd name="connsiteY183" fmla="*/ 1569110 h 5120141"/>
                <a:gd name="connsiteX184" fmla="*/ 1262182 w 3832826"/>
                <a:gd name="connsiteY184" fmla="*/ 1569110 h 5120141"/>
                <a:gd name="connsiteX185" fmla="*/ 1262182 w 3832826"/>
                <a:gd name="connsiteY185" fmla="*/ 1573118 h 5120141"/>
                <a:gd name="connsiteX186" fmla="*/ 1260078 w 3832826"/>
                <a:gd name="connsiteY186" fmla="*/ 1579130 h 5120141"/>
                <a:gd name="connsiteX187" fmla="*/ 1260078 w 3832826"/>
                <a:gd name="connsiteY187" fmla="*/ 1599170 h 5120141"/>
                <a:gd name="connsiteX188" fmla="*/ 1260078 w 3832826"/>
                <a:gd name="connsiteY188" fmla="*/ 1633237 h 5120141"/>
                <a:gd name="connsiteX189" fmla="*/ 1260078 w 3832826"/>
                <a:gd name="connsiteY189" fmla="*/ 1679328 h 5120141"/>
                <a:gd name="connsiteX190" fmla="*/ 1258254 w 3832826"/>
                <a:gd name="connsiteY190" fmla="*/ 1717574 h 5120141"/>
                <a:gd name="connsiteX191" fmla="*/ 1279014 w 3832826"/>
                <a:gd name="connsiteY191" fmla="*/ 1732471 h 5120141"/>
                <a:gd name="connsiteX192" fmla="*/ 1302154 w 3832826"/>
                <a:gd name="connsiteY192" fmla="*/ 1736462 h 5120141"/>
                <a:gd name="connsiteX193" fmla="*/ 1312672 w 3832826"/>
                <a:gd name="connsiteY193" fmla="*/ 1736462 h 5120141"/>
                <a:gd name="connsiteX194" fmla="*/ 1323191 w 3832826"/>
                <a:gd name="connsiteY194" fmla="*/ 1734466 h 5120141"/>
                <a:gd name="connsiteX195" fmla="*/ 1337916 w 3832826"/>
                <a:gd name="connsiteY195" fmla="*/ 1732471 h 5120141"/>
                <a:gd name="connsiteX196" fmla="*/ 1350538 w 3832826"/>
                <a:gd name="connsiteY196" fmla="*/ 1726484 h 5120141"/>
                <a:gd name="connsiteX197" fmla="*/ 1354745 w 3832826"/>
                <a:gd name="connsiteY197" fmla="*/ 1726484 h 5120141"/>
                <a:gd name="connsiteX198" fmla="*/ 1365263 w 3832826"/>
                <a:gd name="connsiteY198" fmla="*/ 1730475 h 5120141"/>
                <a:gd name="connsiteX199" fmla="*/ 1394714 w 3832826"/>
                <a:gd name="connsiteY199" fmla="*/ 1742449 h 5120141"/>
                <a:gd name="connsiteX200" fmla="*/ 1407336 w 3832826"/>
                <a:gd name="connsiteY200" fmla="*/ 1744445 h 5120141"/>
                <a:gd name="connsiteX201" fmla="*/ 1419958 w 3832826"/>
                <a:gd name="connsiteY201" fmla="*/ 1746440 h 5120141"/>
                <a:gd name="connsiteX202" fmla="*/ 1426269 w 3832826"/>
                <a:gd name="connsiteY202" fmla="*/ 1744445 h 5120141"/>
                <a:gd name="connsiteX203" fmla="*/ 1430476 w 3832826"/>
                <a:gd name="connsiteY203" fmla="*/ 1742449 h 5120141"/>
                <a:gd name="connsiteX204" fmla="*/ 1430476 w 3832826"/>
                <a:gd name="connsiteY204" fmla="*/ 1740453 h 5120141"/>
                <a:gd name="connsiteX205" fmla="*/ 1434684 w 3832826"/>
                <a:gd name="connsiteY205" fmla="*/ 1734466 h 5120141"/>
                <a:gd name="connsiteX206" fmla="*/ 1434684 w 3832826"/>
                <a:gd name="connsiteY206" fmla="*/ 1726484 h 5120141"/>
                <a:gd name="connsiteX207" fmla="*/ 1436787 w 3832826"/>
                <a:gd name="connsiteY207" fmla="*/ 1722493 h 5120141"/>
                <a:gd name="connsiteX208" fmla="*/ 1445202 w 3832826"/>
                <a:gd name="connsiteY208" fmla="*/ 1712514 h 5120141"/>
                <a:gd name="connsiteX209" fmla="*/ 1455720 w 3832826"/>
                <a:gd name="connsiteY209" fmla="*/ 1704532 h 5120141"/>
                <a:gd name="connsiteX210" fmla="*/ 1462031 w 3832826"/>
                <a:gd name="connsiteY210" fmla="*/ 1694553 h 5120141"/>
                <a:gd name="connsiteX211" fmla="*/ 1462031 w 3832826"/>
                <a:gd name="connsiteY211" fmla="*/ 1684575 h 5120141"/>
                <a:gd name="connsiteX212" fmla="*/ 1466238 w 3832826"/>
                <a:gd name="connsiteY212" fmla="*/ 1676592 h 5120141"/>
                <a:gd name="connsiteX213" fmla="*/ 1472549 w 3832826"/>
                <a:gd name="connsiteY213" fmla="*/ 1666614 h 5120141"/>
                <a:gd name="connsiteX214" fmla="*/ 1483067 w 3832826"/>
                <a:gd name="connsiteY214" fmla="*/ 1652645 h 5120141"/>
                <a:gd name="connsiteX215" fmla="*/ 1497793 w 3832826"/>
                <a:gd name="connsiteY215" fmla="*/ 1638675 h 5120141"/>
                <a:gd name="connsiteX216" fmla="*/ 1510415 w 3832826"/>
                <a:gd name="connsiteY216" fmla="*/ 1624705 h 5120141"/>
                <a:gd name="connsiteX217" fmla="*/ 1525140 w 3832826"/>
                <a:gd name="connsiteY217" fmla="*/ 1612731 h 5120141"/>
                <a:gd name="connsiteX218" fmla="*/ 1577731 w 3832826"/>
                <a:gd name="connsiteY218" fmla="*/ 1580801 h 5120141"/>
                <a:gd name="connsiteX219" fmla="*/ 1605078 w 3832826"/>
                <a:gd name="connsiteY219" fmla="*/ 1560845 h 5120141"/>
                <a:gd name="connsiteX220" fmla="*/ 1628218 w 3832826"/>
                <a:gd name="connsiteY220" fmla="*/ 1540888 h 5120141"/>
                <a:gd name="connsiteX221" fmla="*/ 1645048 w 3832826"/>
                <a:gd name="connsiteY221" fmla="*/ 1524923 h 5120141"/>
                <a:gd name="connsiteX222" fmla="*/ 1661877 w 3832826"/>
                <a:gd name="connsiteY222" fmla="*/ 1514944 h 5120141"/>
                <a:gd name="connsiteX223" fmla="*/ 1678706 w 3832826"/>
                <a:gd name="connsiteY223" fmla="*/ 1508957 h 5120141"/>
                <a:gd name="connsiteX224" fmla="*/ 1695535 w 3832826"/>
                <a:gd name="connsiteY224" fmla="*/ 1502971 h 5120141"/>
                <a:gd name="connsiteX225" fmla="*/ 1714468 w 3832826"/>
                <a:gd name="connsiteY225" fmla="*/ 1500975 h 5120141"/>
                <a:gd name="connsiteX226" fmla="*/ 1735504 w 3832826"/>
                <a:gd name="connsiteY226" fmla="*/ 1500975 h 5120141"/>
                <a:gd name="connsiteX227" fmla="*/ 1777577 w 3832826"/>
                <a:gd name="connsiteY227" fmla="*/ 1500975 h 5120141"/>
                <a:gd name="connsiteX228" fmla="*/ 2158335 w 3832826"/>
                <a:gd name="connsiteY228" fmla="*/ 1500975 h 5120141"/>
                <a:gd name="connsiteX229" fmla="*/ 2158335 w 3832826"/>
                <a:gd name="connsiteY229" fmla="*/ 1514944 h 5120141"/>
                <a:gd name="connsiteX230" fmla="*/ 2158335 w 3832826"/>
                <a:gd name="connsiteY230" fmla="*/ 1572818 h 5120141"/>
                <a:gd name="connsiteX231" fmla="*/ 2160439 w 3832826"/>
                <a:gd name="connsiteY231" fmla="*/ 1594771 h 5120141"/>
                <a:gd name="connsiteX232" fmla="*/ 2158335 w 3832826"/>
                <a:gd name="connsiteY232" fmla="*/ 1624705 h 5120141"/>
                <a:gd name="connsiteX233" fmla="*/ 2158335 w 3832826"/>
                <a:gd name="connsiteY233" fmla="*/ 1634684 h 5120141"/>
                <a:gd name="connsiteX234" fmla="*/ 2158335 w 3832826"/>
                <a:gd name="connsiteY234" fmla="*/ 1648653 h 5120141"/>
                <a:gd name="connsiteX235" fmla="*/ 2158335 w 3832826"/>
                <a:gd name="connsiteY235" fmla="*/ 1666614 h 5120141"/>
                <a:gd name="connsiteX236" fmla="*/ 2158335 w 3832826"/>
                <a:gd name="connsiteY236" fmla="*/ 1700540 h 5120141"/>
                <a:gd name="connsiteX237" fmla="*/ 2149671 w 3832826"/>
                <a:gd name="connsiteY237" fmla="*/ 1700540 h 5120141"/>
                <a:gd name="connsiteX238" fmla="*/ 2149671 w 3832826"/>
                <a:gd name="connsiteY238" fmla="*/ 1701367 h 5120141"/>
                <a:gd name="connsiteX239" fmla="*/ 2158305 w 3832826"/>
                <a:gd name="connsiteY239" fmla="*/ 1701367 h 5120141"/>
                <a:gd name="connsiteX240" fmla="*/ 2158305 w 3832826"/>
                <a:gd name="connsiteY240" fmla="*/ 1723407 h 5120141"/>
                <a:gd name="connsiteX241" fmla="*/ 2158305 w 3832826"/>
                <a:gd name="connsiteY241" fmla="*/ 1755458 h 5120141"/>
                <a:gd name="connsiteX242" fmla="*/ 2234031 w 3832826"/>
                <a:gd name="connsiteY242" fmla="*/ 1815609 h 5120141"/>
                <a:gd name="connsiteX243" fmla="*/ 2231975 w 3832826"/>
                <a:gd name="connsiteY243" fmla="*/ 1817584 h 5120141"/>
                <a:gd name="connsiteX244" fmla="*/ 2231975 w 3832826"/>
                <a:gd name="connsiteY244" fmla="*/ 1823599 h 5120141"/>
                <a:gd name="connsiteX245" fmla="*/ 2234031 w 3832826"/>
                <a:gd name="connsiteY245" fmla="*/ 1833610 h 5120141"/>
                <a:gd name="connsiteX246" fmla="*/ 2240379 w 3832826"/>
                <a:gd name="connsiteY246" fmla="*/ 1843665 h 5120141"/>
                <a:gd name="connsiteX247" fmla="*/ 2244581 w 3832826"/>
                <a:gd name="connsiteY247" fmla="*/ 1853675 h 5120141"/>
                <a:gd name="connsiteX248" fmla="*/ 2244581 w 3832826"/>
                <a:gd name="connsiteY248" fmla="*/ 1857670 h 5120141"/>
                <a:gd name="connsiteX249" fmla="*/ 2242435 w 3832826"/>
                <a:gd name="connsiteY249" fmla="*/ 1863685 h 5120141"/>
                <a:gd name="connsiteX250" fmla="*/ 2238233 w 3832826"/>
                <a:gd name="connsiteY250" fmla="*/ 1873695 h 5120141"/>
                <a:gd name="connsiteX251" fmla="*/ 2229829 w 3832826"/>
                <a:gd name="connsiteY251" fmla="*/ 1883750 h 5120141"/>
                <a:gd name="connsiteX252" fmla="*/ 2223571 w 3832826"/>
                <a:gd name="connsiteY252" fmla="*/ 1889721 h 5120141"/>
                <a:gd name="connsiteX253" fmla="*/ 2213021 w 3832826"/>
                <a:gd name="connsiteY253" fmla="*/ 1905791 h 5120141"/>
                <a:gd name="connsiteX254" fmla="*/ 2200415 w 3832826"/>
                <a:gd name="connsiteY254" fmla="*/ 1919796 h 5120141"/>
                <a:gd name="connsiteX255" fmla="*/ 2170912 w 3832826"/>
                <a:gd name="connsiteY255" fmla="*/ 1945832 h 5120141"/>
                <a:gd name="connsiteX256" fmla="*/ 2139441 w 3832826"/>
                <a:gd name="connsiteY256" fmla="*/ 1969893 h 5120141"/>
                <a:gd name="connsiteX257" fmla="*/ 2107881 w 3832826"/>
                <a:gd name="connsiteY257" fmla="*/ 1995973 h 5120141"/>
                <a:gd name="connsiteX258" fmla="*/ 2095186 w 3832826"/>
                <a:gd name="connsiteY258" fmla="*/ 1997948 h 5120141"/>
                <a:gd name="connsiteX259" fmla="*/ 2082580 w 3832826"/>
                <a:gd name="connsiteY259" fmla="*/ 2003963 h 5120141"/>
                <a:gd name="connsiteX260" fmla="*/ 2074176 w 3832826"/>
                <a:gd name="connsiteY260" fmla="*/ 2009979 h 5120141"/>
                <a:gd name="connsiteX261" fmla="*/ 2069973 w 3832826"/>
                <a:gd name="connsiteY261" fmla="*/ 2018014 h 5120141"/>
                <a:gd name="connsiteX262" fmla="*/ 2055222 w 3832826"/>
                <a:gd name="connsiteY262" fmla="*/ 2034039 h 5120141"/>
                <a:gd name="connsiteX263" fmla="*/ 2048963 w 3832826"/>
                <a:gd name="connsiteY263" fmla="*/ 2044049 h 5120141"/>
                <a:gd name="connsiteX264" fmla="*/ 2038414 w 3832826"/>
                <a:gd name="connsiteY264" fmla="*/ 2050064 h 5120141"/>
                <a:gd name="connsiteX265" fmla="*/ 2017403 w 3832826"/>
                <a:gd name="connsiteY265" fmla="*/ 2066090 h 5120141"/>
                <a:gd name="connsiteX266" fmla="*/ 1998450 w 3832826"/>
                <a:gd name="connsiteY266" fmla="*/ 2080140 h 5120141"/>
                <a:gd name="connsiteX267" fmla="*/ 1962688 w 3832826"/>
                <a:gd name="connsiteY267" fmla="*/ 2110171 h 5120141"/>
                <a:gd name="connsiteX268" fmla="*/ 1952138 w 3832826"/>
                <a:gd name="connsiteY268" fmla="*/ 2116186 h 5120141"/>
                <a:gd name="connsiteX269" fmla="*/ 1937476 w 3832826"/>
                <a:gd name="connsiteY269" fmla="*/ 2120181 h 5120141"/>
                <a:gd name="connsiteX270" fmla="*/ 1914320 w 3832826"/>
                <a:gd name="connsiteY270" fmla="*/ 2122201 h 5120141"/>
                <a:gd name="connsiteX271" fmla="*/ 1891164 w 3832826"/>
                <a:gd name="connsiteY271" fmla="*/ 2122201 h 5120141"/>
                <a:gd name="connsiteX272" fmla="*/ 1880614 w 3832826"/>
                <a:gd name="connsiteY272" fmla="*/ 2126196 h 5120141"/>
                <a:gd name="connsiteX273" fmla="*/ 1870154 w 3832826"/>
                <a:gd name="connsiteY273" fmla="*/ 2130236 h 5120141"/>
                <a:gd name="connsiteX274" fmla="*/ 1859604 w 3832826"/>
                <a:gd name="connsiteY274" fmla="*/ 2136251 h 5120141"/>
                <a:gd name="connsiteX275" fmla="*/ 1842796 w 3832826"/>
                <a:gd name="connsiteY275" fmla="*/ 2138226 h 5120141"/>
                <a:gd name="connsiteX276" fmla="*/ 1817584 w 3832826"/>
                <a:gd name="connsiteY276" fmla="*/ 2142221 h 5120141"/>
                <a:gd name="connsiteX277" fmla="*/ 1786024 w 3832826"/>
                <a:gd name="connsiteY277" fmla="*/ 2146261 h 5120141"/>
                <a:gd name="connsiteX278" fmla="*/ 1756520 w 3832826"/>
                <a:gd name="connsiteY278" fmla="*/ 2150257 h 5120141"/>
                <a:gd name="connsiteX279" fmla="*/ 1743914 w 3832826"/>
                <a:gd name="connsiteY279" fmla="*/ 2150257 h 5120141"/>
                <a:gd name="connsiteX280" fmla="*/ 1733364 w 3832826"/>
                <a:gd name="connsiteY280" fmla="*/ 2150257 h 5120141"/>
                <a:gd name="connsiteX281" fmla="*/ 1706006 w 3832826"/>
                <a:gd name="connsiteY281" fmla="*/ 2142221 h 5120141"/>
                <a:gd name="connsiteX282" fmla="*/ 1680794 w 3832826"/>
                <a:gd name="connsiteY282" fmla="*/ 2136251 h 5120141"/>
                <a:gd name="connsiteX283" fmla="*/ 1655582 w 3832826"/>
                <a:gd name="connsiteY283" fmla="*/ 2126196 h 5120141"/>
                <a:gd name="connsiteX284" fmla="*/ 1630281 w 3832826"/>
                <a:gd name="connsiteY284" fmla="*/ 2116186 h 5120141"/>
                <a:gd name="connsiteX285" fmla="*/ 1607214 w 3832826"/>
                <a:gd name="connsiteY285" fmla="*/ 2110171 h 5120141"/>
                <a:gd name="connsiteX286" fmla="*/ 1594519 w 3832826"/>
                <a:gd name="connsiteY286" fmla="*/ 2110171 h 5120141"/>
                <a:gd name="connsiteX287" fmla="*/ 1584058 w 3832826"/>
                <a:gd name="connsiteY287" fmla="*/ 2112191 h 5120141"/>
                <a:gd name="connsiteX288" fmla="*/ 1573508 w 3832826"/>
                <a:gd name="connsiteY288" fmla="*/ 2116186 h 5120141"/>
                <a:gd name="connsiteX289" fmla="*/ 1560902 w 3832826"/>
                <a:gd name="connsiteY289" fmla="*/ 2120181 h 5120141"/>
                <a:gd name="connsiteX290" fmla="*/ 1544094 w 3832826"/>
                <a:gd name="connsiteY290" fmla="*/ 2128216 h 5120141"/>
                <a:gd name="connsiteX291" fmla="*/ 1529342 w 3832826"/>
                <a:gd name="connsiteY291" fmla="*/ 2136251 h 5120141"/>
                <a:gd name="connsiteX292" fmla="*/ 1499928 w 3832826"/>
                <a:gd name="connsiteY292" fmla="*/ 2140246 h 5120141"/>
                <a:gd name="connsiteX293" fmla="*/ 1497783 w 3832826"/>
                <a:gd name="connsiteY293" fmla="*/ 2140246 h 5120141"/>
                <a:gd name="connsiteX294" fmla="*/ 1483031 w 3832826"/>
                <a:gd name="connsiteY294" fmla="*/ 2140246 h 5120141"/>
                <a:gd name="connsiteX295" fmla="*/ 1468368 w 3832826"/>
                <a:gd name="connsiteY295" fmla="*/ 2140246 h 5120141"/>
                <a:gd name="connsiteX296" fmla="*/ 1451471 w 3832826"/>
                <a:gd name="connsiteY296" fmla="*/ 2142221 h 5120141"/>
                <a:gd name="connsiteX297" fmla="*/ 1447269 w 3832826"/>
                <a:gd name="connsiteY297" fmla="*/ 2146261 h 5120141"/>
                <a:gd name="connsiteX298" fmla="*/ 1440991 w 3832826"/>
                <a:gd name="connsiteY298" fmla="*/ 2149246 h 5120141"/>
                <a:gd name="connsiteX299" fmla="*/ 1440991 w 3832826"/>
                <a:gd name="connsiteY299" fmla="*/ 2319937 h 5120141"/>
                <a:gd name="connsiteX300" fmla="*/ 1445196 w 3832826"/>
                <a:gd name="connsiteY300" fmla="*/ 2330619 h 5120141"/>
                <a:gd name="connsiteX301" fmla="*/ 1449403 w 3832826"/>
                <a:gd name="connsiteY301" fmla="*/ 2344647 h 5120141"/>
                <a:gd name="connsiteX302" fmla="*/ 1462025 w 3832826"/>
                <a:gd name="connsiteY302" fmla="*/ 2378715 h 5120141"/>
                <a:gd name="connsiteX303" fmla="*/ 1480958 w 3832826"/>
                <a:gd name="connsiteY303" fmla="*/ 2438834 h 5120141"/>
                <a:gd name="connsiteX304" fmla="*/ 1493580 w 3832826"/>
                <a:gd name="connsiteY304" fmla="*/ 2468893 h 5120141"/>
                <a:gd name="connsiteX305" fmla="*/ 1499891 w 3832826"/>
                <a:gd name="connsiteY305" fmla="*/ 2480917 h 5120141"/>
                <a:gd name="connsiteX306" fmla="*/ 1508305 w 3832826"/>
                <a:gd name="connsiteY306" fmla="*/ 2492941 h 5120141"/>
                <a:gd name="connsiteX307" fmla="*/ 1508308 w 3832826"/>
                <a:gd name="connsiteY307" fmla="*/ 2490937 h 5120141"/>
                <a:gd name="connsiteX308" fmla="*/ 1703947 w 3832826"/>
                <a:gd name="connsiteY308" fmla="*/ 2693337 h 5120141"/>
                <a:gd name="connsiteX309" fmla="*/ 1800715 w 3832826"/>
                <a:gd name="connsiteY309" fmla="*/ 2777503 h 5120141"/>
                <a:gd name="connsiteX310" fmla="*/ 1821751 w 3832826"/>
                <a:gd name="connsiteY310" fmla="*/ 2793535 h 5120141"/>
                <a:gd name="connsiteX311" fmla="*/ 1846995 w 3832826"/>
                <a:gd name="connsiteY311" fmla="*/ 2807563 h 5120141"/>
                <a:gd name="connsiteX312" fmla="*/ 1868031 w 3832826"/>
                <a:gd name="connsiteY312" fmla="*/ 2827603 h 5120141"/>
                <a:gd name="connsiteX313" fmla="*/ 1874342 w 3832826"/>
                <a:gd name="connsiteY313" fmla="*/ 2837622 h 5120141"/>
                <a:gd name="connsiteX314" fmla="*/ 1882757 w 3832826"/>
                <a:gd name="connsiteY314" fmla="*/ 2847642 h 5120141"/>
                <a:gd name="connsiteX315" fmla="*/ 1882757 w 3832826"/>
                <a:gd name="connsiteY315" fmla="*/ 2857662 h 5120141"/>
                <a:gd name="connsiteX316" fmla="*/ 1871663 w 3832826"/>
                <a:gd name="connsiteY316" fmla="*/ 2862688 h 5120141"/>
                <a:gd name="connsiteX317" fmla="*/ 1920621 w 3832826"/>
                <a:gd name="connsiteY317" fmla="*/ 2925780 h 5120141"/>
                <a:gd name="connsiteX318" fmla="*/ 1937450 w 3832826"/>
                <a:gd name="connsiteY318" fmla="*/ 2955859 h 5120141"/>
                <a:gd name="connsiteX319" fmla="*/ 1956383 w 3832826"/>
                <a:gd name="connsiteY319" fmla="*/ 2987924 h 5120141"/>
                <a:gd name="connsiteX320" fmla="*/ 1964798 w 3832826"/>
                <a:gd name="connsiteY320" fmla="*/ 2997927 h 5120141"/>
                <a:gd name="connsiteX321" fmla="*/ 1969005 w 3832826"/>
                <a:gd name="connsiteY321" fmla="*/ 3009986 h 5120141"/>
                <a:gd name="connsiteX322" fmla="*/ 1977420 w 3832826"/>
                <a:gd name="connsiteY322" fmla="*/ 3038008 h 5120141"/>
                <a:gd name="connsiteX323" fmla="*/ 1985834 w 3832826"/>
                <a:gd name="connsiteY323" fmla="*/ 3066100 h 5120141"/>
                <a:gd name="connsiteX324" fmla="*/ 1994249 w 3832826"/>
                <a:gd name="connsiteY324" fmla="*/ 3078089 h 5120141"/>
                <a:gd name="connsiteX325" fmla="*/ 2004767 w 3832826"/>
                <a:gd name="connsiteY325" fmla="*/ 3090149 h 5120141"/>
                <a:gd name="connsiteX326" fmla="*/ 2008974 w 3832826"/>
                <a:gd name="connsiteY326" fmla="*/ 3100152 h 5120141"/>
                <a:gd name="connsiteX327" fmla="*/ 2017389 w 3832826"/>
                <a:gd name="connsiteY327" fmla="*/ 3110155 h 5120141"/>
                <a:gd name="connsiteX328" fmla="*/ 2023700 w 3832826"/>
                <a:gd name="connsiteY328" fmla="*/ 3136190 h 5120141"/>
                <a:gd name="connsiteX329" fmla="*/ 2032114 w 3832826"/>
                <a:gd name="connsiteY329" fmla="*/ 3158252 h 5120141"/>
                <a:gd name="connsiteX330" fmla="*/ 2040529 w 3832826"/>
                <a:gd name="connsiteY330" fmla="*/ 3168255 h 5120141"/>
                <a:gd name="connsiteX331" fmla="*/ 2048944 w 3832826"/>
                <a:gd name="connsiteY331" fmla="*/ 3174285 h 5120141"/>
                <a:gd name="connsiteX332" fmla="*/ 2059462 w 3832826"/>
                <a:gd name="connsiteY332" fmla="*/ 3180315 h 5120141"/>
                <a:gd name="connsiteX333" fmla="*/ 2069980 w 3832826"/>
                <a:gd name="connsiteY333" fmla="*/ 3180315 h 5120141"/>
                <a:gd name="connsiteX334" fmla="*/ 2082602 w 3832826"/>
                <a:gd name="connsiteY334" fmla="*/ 3182301 h 5120141"/>
                <a:gd name="connsiteX335" fmla="*/ 2095224 w 3832826"/>
                <a:gd name="connsiteY335" fmla="*/ 3184288 h 5120141"/>
                <a:gd name="connsiteX336" fmla="*/ 2105742 w 3832826"/>
                <a:gd name="connsiteY336" fmla="*/ 3190318 h 5120141"/>
                <a:gd name="connsiteX337" fmla="*/ 2114156 w 3832826"/>
                <a:gd name="connsiteY337" fmla="*/ 3198334 h 5120141"/>
                <a:gd name="connsiteX338" fmla="*/ 2122571 w 3832826"/>
                <a:gd name="connsiteY338" fmla="*/ 3204364 h 5120141"/>
                <a:gd name="connsiteX339" fmla="*/ 2132508 w 3832826"/>
                <a:gd name="connsiteY339" fmla="*/ 3211937 h 5120141"/>
                <a:gd name="connsiteX340" fmla="*/ 2133090 w 3832826"/>
                <a:gd name="connsiteY340" fmla="*/ 3211201 h 5120141"/>
                <a:gd name="connsiteX341" fmla="*/ 2210924 w 3832826"/>
                <a:gd name="connsiteY341" fmla="*/ 3145234 h 5120141"/>
                <a:gd name="connsiteX342" fmla="*/ 2286655 w 3832826"/>
                <a:gd name="connsiteY342" fmla="*/ 3071271 h 5120141"/>
                <a:gd name="connsiteX343" fmla="*/ 2316106 w 3832826"/>
                <a:gd name="connsiteY343" fmla="*/ 3045284 h 5120141"/>
                <a:gd name="connsiteX344" fmla="*/ 2332935 w 3832826"/>
                <a:gd name="connsiteY344" fmla="*/ 3035289 h 5120141"/>
                <a:gd name="connsiteX345" fmla="*/ 2343453 w 3832826"/>
                <a:gd name="connsiteY345" fmla="*/ 3031291 h 5120141"/>
                <a:gd name="connsiteX346" fmla="*/ 2349764 w 3832826"/>
                <a:gd name="connsiteY346" fmla="*/ 3029292 h 5120141"/>
                <a:gd name="connsiteX347" fmla="*/ 2381318 w 3832826"/>
                <a:gd name="connsiteY347" fmla="*/ 3031291 h 5120141"/>
                <a:gd name="connsiteX348" fmla="*/ 2398148 w 3832826"/>
                <a:gd name="connsiteY348" fmla="*/ 3029292 h 5120141"/>
                <a:gd name="connsiteX349" fmla="*/ 2402355 w 3832826"/>
                <a:gd name="connsiteY349" fmla="*/ 3029292 h 5120141"/>
                <a:gd name="connsiteX350" fmla="*/ 2404458 w 3832826"/>
                <a:gd name="connsiteY350" fmla="*/ 3027293 h 5120141"/>
                <a:gd name="connsiteX351" fmla="*/ 2404458 w 3832826"/>
                <a:gd name="connsiteY351" fmla="*/ 3007303 h 5120141"/>
                <a:gd name="connsiteX352" fmla="*/ 2408666 w 3832826"/>
                <a:gd name="connsiteY352" fmla="*/ 2997308 h 5120141"/>
                <a:gd name="connsiteX353" fmla="*/ 2410769 w 3832826"/>
                <a:gd name="connsiteY353" fmla="*/ 2995309 h 5120141"/>
                <a:gd name="connsiteX354" fmla="*/ 2414977 w 3832826"/>
                <a:gd name="connsiteY354" fmla="*/ 2991311 h 5120141"/>
                <a:gd name="connsiteX355" fmla="*/ 2423391 w 3832826"/>
                <a:gd name="connsiteY355" fmla="*/ 2991311 h 5120141"/>
                <a:gd name="connsiteX356" fmla="*/ 2425495 w 3832826"/>
                <a:gd name="connsiteY356" fmla="*/ 2987313 h 5120141"/>
                <a:gd name="connsiteX357" fmla="*/ 2429702 w 3832826"/>
                <a:gd name="connsiteY357" fmla="*/ 2985314 h 5120141"/>
                <a:gd name="connsiteX358" fmla="*/ 2429702 w 3832826"/>
                <a:gd name="connsiteY358" fmla="*/ 2979317 h 5120141"/>
                <a:gd name="connsiteX359" fmla="*/ 2429702 w 3832826"/>
                <a:gd name="connsiteY359" fmla="*/ 2977318 h 5120141"/>
                <a:gd name="connsiteX360" fmla="*/ 2431806 w 3832826"/>
                <a:gd name="connsiteY360" fmla="*/ 2971321 h 5120141"/>
                <a:gd name="connsiteX361" fmla="*/ 2433909 w 3832826"/>
                <a:gd name="connsiteY361" fmla="*/ 2969322 h 5120141"/>
                <a:gd name="connsiteX362" fmla="*/ 2442324 w 3832826"/>
                <a:gd name="connsiteY362" fmla="*/ 2967323 h 5120141"/>
                <a:gd name="connsiteX363" fmla="*/ 2452842 w 3832826"/>
                <a:gd name="connsiteY363" fmla="*/ 2967323 h 5120141"/>
                <a:gd name="connsiteX364" fmla="*/ 2454946 w 3832826"/>
                <a:gd name="connsiteY364" fmla="*/ 2965324 h 5120141"/>
                <a:gd name="connsiteX365" fmla="*/ 2457049 w 3832826"/>
                <a:gd name="connsiteY365" fmla="*/ 2961326 h 5120141"/>
                <a:gd name="connsiteX366" fmla="*/ 2457049 w 3832826"/>
                <a:gd name="connsiteY366" fmla="*/ 2941336 h 5120141"/>
                <a:gd name="connsiteX367" fmla="*/ 2461257 w 3832826"/>
                <a:gd name="connsiteY367" fmla="*/ 2927343 h 5120141"/>
                <a:gd name="connsiteX368" fmla="*/ 2463360 w 3832826"/>
                <a:gd name="connsiteY368" fmla="*/ 2917348 h 5120141"/>
                <a:gd name="connsiteX369" fmla="*/ 2467567 w 3832826"/>
                <a:gd name="connsiteY369" fmla="*/ 2907353 h 5120141"/>
                <a:gd name="connsiteX370" fmla="*/ 2473878 w 3832826"/>
                <a:gd name="connsiteY370" fmla="*/ 2899357 h 5120141"/>
                <a:gd name="connsiteX371" fmla="*/ 2488604 w 3832826"/>
                <a:gd name="connsiteY371" fmla="*/ 2885364 h 5120141"/>
                <a:gd name="connsiteX372" fmla="*/ 2509640 w 3832826"/>
                <a:gd name="connsiteY372" fmla="*/ 2865374 h 5120141"/>
                <a:gd name="connsiteX373" fmla="*/ 2646376 w 3832826"/>
                <a:gd name="connsiteY373" fmla="*/ 2743436 h 5120141"/>
                <a:gd name="connsiteX374" fmla="*/ 2650584 w 3832826"/>
                <a:gd name="connsiteY374" fmla="*/ 2755430 h 5120141"/>
                <a:gd name="connsiteX375" fmla="*/ 2654791 w 3832826"/>
                <a:gd name="connsiteY375" fmla="*/ 2765425 h 5120141"/>
                <a:gd name="connsiteX376" fmla="*/ 2663205 w 3832826"/>
                <a:gd name="connsiteY376" fmla="*/ 2773421 h 5120141"/>
                <a:gd name="connsiteX377" fmla="*/ 2671620 w 3832826"/>
                <a:gd name="connsiteY377" fmla="*/ 2773421 h 5120141"/>
                <a:gd name="connsiteX378" fmla="*/ 2675827 w 3832826"/>
                <a:gd name="connsiteY378" fmla="*/ 2775420 h 5120141"/>
                <a:gd name="connsiteX379" fmla="*/ 2688449 w 3832826"/>
                <a:gd name="connsiteY379" fmla="*/ 2779418 h 5120141"/>
                <a:gd name="connsiteX380" fmla="*/ 2696863 w 3832826"/>
                <a:gd name="connsiteY380" fmla="*/ 2785415 h 5120141"/>
                <a:gd name="connsiteX381" fmla="*/ 2701071 w 3832826"/>
                <a:gd name="connsiteY381" fmla="*/ 2787414 h 5120141"/>
                <a:gd name="connsiteX382" fmla="*/ 2709485 w 3832826"/>
                <a:gd name="connsiteY382" fmla="*/ 2785415 h 5120141"/>
                <a:gd name="connsiteX383" fmla="*/ 2715796 w 3832826"/>
                <a:gd name="connsiteY383" fmla="*/ 2779418 h 5120141"/>
                <a:gd name="connsiteX384" fmla="*/ 2722107 w 3832826"/>
                <a:gd name="connsiteY384" fmla="*/ 2775420 h 5120141"/>
                <a:gd name="connsiteX385" fmla="*/ 2728418 w 3832826"/>
                <a:gd name="connsiteY385" fmla="*/ 2773421 h 5120141"/>
                <a:gd name="connsiteX386" fmla="*/ 2747351 w 3832826"/>
                <a:gd name="connsiteY386" fmla="*/ 2769423 h 5120141"/>
                <a:gd name="connsiteX387" fmla="*/ 2764180 w 3832826"/>
                <a:gd name="connsiteY387" fmla="*/ 2773421 h 5120141"/>
                <a:gd name="connsiteX388" fmla="*/ 2783112 w 3832826"/>
                <a:gd name="connsiteY388" fmla="*/ 2779418 h 5120141"/>
                <a:gd name="connsiteX389" fmla="*/ 2795734 w 3832826"/>
                <a:gd name="connsiteY389" fmla="*/ 2793411 h 5120141"/>
                <a:gd name="connsiteX390" fmla="*/ 2799942 w 3832826"/>
                <a:gd name="connsiteY390" fmla="*/ 2793411 h 5120141"/>
                <a:gd name="connsiteX391" fmla="*/ 2804149 w 3832826"/>
                <a:gd name="connsiteY391" fmla="*/ 2805405 h 5120141"/>
                <a:gd name="connsiteX392" fmla="*/ 2812563 w 3832826"/>
                <a:gd name="connsiteY392" fmla="*/ 2817399 h 5120141"/>
                <a:gd name="connsiteX393" fmla="*/ 2825185 w 3832826"/>
                <a:gd name="connsiteY393" fmla="*/ 2845384 h 5120141"/>
                <a:gd name="connsiteX394" fmla="*/ 2835703 w 3832826"/>
                <a:gd name="connsiteY394" fmla="*/ 2873370 h 5120141"/>
                <a:gd name="connsiteX395" fmla="*/ 2842014 w 3832826"/>
                <a:gd name="connsiteY395" fmla="*/ 2885364 h 5120141"/>
                <a:gd name="connsiteX396" fmla="*/ 2847737 w 3832826"/>
                <a:gd name="connsiteY396" fmla="*/ 2896240 h 5120141"/>
                <a:gd name="connsiteX397" fmla="*/ 2848292 w 3832826"/>
                <a:gd name="connsiteY397" fmla="*/ 2895738 h 5120141"/>
                <a:gd name="connsiteX398" fmla="*/ 2873502 w 3832826"/>
                <a:gd name="connsiteY398" fmla="*/ 2911778 h 5120141"/>
                <a:gd name="connsiteX399" fmla="*/ 2898892 w 3832826"/>
                <a:gd name="connsiteY399" fmla="*/ 2921802 h 5120141"/>
                <a:gd name="connsiteX400" fmla="*/ 2921942 w 3832826"/>
                <a:gd name="connsiteY400" fmla="*/ 2935837 h 5120141"/>
                <a:gd name="connsiteX401" fmla="*/ 2932386 w 3832826"/>
                <a:gd name="connsiteY401" fmla="*/ 2943857 h 5120141"/>
                <a:gd name="connsiteX402" fmla="*/ 2943010 w 3832826"/>
                <a:gd name="connsiteY402" fmla="*/ 2953882 h 5120141"/>
                <a:gd name="connsiteX403" fmla="*/ 2957776 w 3832826"/>
                <a:gd name="connsiteY403" fmla="*/ 2965912 h 5120141"/>
                <a:gd name="connsiteX404" fmla="*/ 2964078 w 3832826"/>
                <a:gd name="connsiteY404" fmla="*/ 2973932 h 5120141"/>
                <a:gd name="connsiteX405" fmla="*/ 2970381 w 3832826"/>
                <a:gd name="connsiteY405" fmla="*/ 2977942 h 5120141"/>
                <a:gd name="connsiteX406" fmla="*/ 2985147 w 3832826"/>
                <a:gd name="connsiteY406" fmla="*/ 2979947 h 5120141"/>
                <a:gd name="connsiteX407" fmla="*/ 2995591 w 3832826"/>
                <a:gd name="connsiteY407" fmla="*/ 2979947 h 5120141"/>
                <a:gd name="connsiteX408" fmla="*/ 3006035 w 3832826"/>
                <a:gd name="connsiteY408" fmla="*/ 2983957 h 5120141"/>
                <a:gd name="connsiteX409" fmla="*/ 3018640 w 3832826"/>
                <a:gd name="connsiteY409" fmla="*/ 2993981 h 5120141"/>
                <a:gd name="connsiteX410" fmla="*/ 3024942 w 3832826"/>
                <a:gd name="connsiteY410" fmla="*/ 2999996 h 5120141"/>
                <a:gd name="connsiteX411" fmla="*/ 3027103 w 3832826"/>
                <a:gd name="connsiteY411" fmla="*/ 3006011 h 5120141"/>
                <a:gd name="connsiteX412" fmla="*/ 3027103 w 3832826"/>
                <a:gd name="connsiteY412" fmla="*/ 3008016 h 5120141"/>
                <a:gd name="connsiteX413" fmla="*/ 3024942 w 3832826"/>
                <a:gd name="connsiteY413" fmla="*/ 3014031 h 5120141"/>
                <a:gd name="connsiteX414" fmla="*/ 3018640 w 3832826"/>
                <a:gd name="connsiteY414" fmla="*/ 3020046 h 5120141"/>
                <a:gd name="connsiteX415" fmla="*/ 3014498 w 3832826"/>
                <a:gd name="connsiteY415" fmla="*/ 3029937 h 5120141"/>
                <a:gd name="connsiteX416" fmla="*/ 3014498 w 3832826"/>
                <a:gd name="connsiteY416" fmla="*/ 3043972 h 5120141"/>
                <a:gd name="connsiteX417" fmla="*/ 3014498 w 3832826"/>
                <a:gd name="connsiteY417" fmla="*/ 3049987 h 5120141"/>
                <a:gd name="connsiteX418" fmla="*/ 3024942 w 3832826"/>
                <a:gd name="connsiteY418" fmla="*/ 3074047 h 5120141"/>
                <a:gd name="connsiteX419" fmla="*/ 3024942 w 3832826"/>
                <a:gd name="connsiteY419" fmla="*/ 3084071 h 5120141"/>
                <a:gd name="connsiteX420" fmla="*/ 3022962 w 3832826"/>
                <a:gd name="connsiteY420" fmla="*/ 3088081 h 5120141"/>
                <a:gd name="connsiteX421" fmla="*/ 3022962 w 3832826"/>
                <a:gd name="connsiteY421" fmla="*/ 3090086 h 5120141"/>
                <a:gd name="connsiteX422" fmla="*/ 3024942 w 3832826"/>
                <a:gd name="connsiteY422" fmla="*/ 3094096 h 5120141"/>
                <a:gd name="connsiteX423" fmla="*/ 3033406 w 3832826"/>
                <a:gd name="connsiteY423" fmla="*/ 3100111 h 5120141"/>
                <a:gd name="connsiteX424" fmla="*/ 3046011 w 3832826"/>
                <a:gd name="connsiteY424" fmla="*/ 3106126 h 5120141"/>
                <a:gd name="connsiteX425" fmla="*/ 3056635 w 3832826"/>
                <a:gd name="connsiteY425" fmla="*/ 3108131 h 5120141"/>
                <a:gd name="connsiteX426" fmla="*/ 3064918 w 3832826"/>
                <a:gd name="connsiteY426" fmla="*/ 3110136 h 5120141"/>
                <a:gd name="connsiteX427" fmla="*/ 3075542 w 3832826"/>
                <a:gd name="connsiteY427" fmla="*/ 3118156 h 5120141"/>
                <a:gd name="connsiteX428" fmla="*/ 3088147 w 3832826"/>
                <a:gd name="connsiteY428" fmla="*/ 3138206 h 5120141"/>
                <a:gd name="connsiteX429" fmla="*/ 3096611 w 3832826"/>
                <a:gd name="connsiteY429" fmla="*/ 3152240 h 5120141"/>
                <a:gd name="connsiteX430" fmla="*/ 3096611 w 3832826"/>
                <a:gd name="connsiteY430" fmla="*/ 3162265 h 5120141"/>
                <a:gd name="connsiteX431" fmla="*/ 3096611 w 3832826"/>
                <a:gd name="connsiteY431" fmla="*/ 3166275 h 5120141"/>
                <a:gd name="connsiteX432" fmla="*/ 3090308 w 3832826"/>
                <a:gd name="connsiteY432" fmla="*/ 3168280 h 5120141"/>
                <a:gd name="connsiteX433" fmla="*/ 3088147 w 3832826"/>
                <a:gd name="connsiteY433" fmla="*/ 3168280 h 5120141"/>
                <a:gd name="connsiteX434" fmla="*/ 3085987 w 3832826"/>
                <a:gd name="connsiteY434" fmla="*/ 3170285 h 5120141"/>
                <a:gd name="connsiteX435" fmla="*/ 3085987 w 3832826"/>
                <a:gd name="connsiteY435" fmla="*/ 3178305 h 5120141"/>
                <a:gd name="connsiteX436" fmla="*/ 3088147 w 3832826"/>
                <a:gd name="connsiteY436" fmla="*/ 3182315 h 5120141"/>
                <a:gd name="connsiteX437" fmla="*/ 3090308 w 3832826"/>
                <a:gd name="connsiteY437" fmla="*/ 3186325 h 5120141"/>
                <a:gd name="connsiteX438" fmla="*/ 3092289 w 3832826"/>
                <a:gd name="connsiteY438" fmla="*/ 3190335 h 5120141"/>
                <a:gd name="connsiteX439" fmla="*/ 3098592 w 3832826"/>
                <a:gd name="connsiteY439" fmla="*/ 3208380 h 5120141"/>
                <a:gd name="connsiteX440" fmla="*/ 3102913 w 3832826"/>
                <a:gd name="connsiteY440" fmla="*/ 3222415 h 5120141"/>
                <a:gd name="connsiteX441" fmla="*/ 3107055 w 3832826"/>
                <a:gd name="connsiteY441" fmla="*/ 3238454 h 5120141"/>
                <a:gd name="connsiteX442" fmla="*/ 3109216 w 3832826"/>
                <a:gd name="connsiteY442" fmla="*/ 3246474 h 5120141"/>
                <a:gd name="connsiteX443" fmla="*/ 3113357 w 3832826"/>
                <a:gd name="connsiteY443" fmla="*/ 3248479 h 5120141"/>
                <a:gd name="connsiteX444" fmla="*/ 3130284 w 3832826"/>
                <a:gd name="connsiteY444" fmla="*/ 3252489 h 5120141"/>
                <a:gd name="connsiteX445" fmla="*/ 3159636 w 3832826"/>
                <a:gd name="connsiteY445" fmla="*/ 3266524 h 5120141"/>
                <a:gd name="connsiteX446" fmla="*/ 3187007 w 3832826"/>
                <a:gd name="connsiteY446" fmla="*/ 3278554 h 5120141"/>
                <a:gd name="connsiteX447" fmla="*/ 3214377 w 3832826"/>
                <a:gd name="connsiteY447" fmla="*/ 3296598 h 5120141"/>
                <a:gd name="connsiteX448" fmla="*/ 3243729 w 3832826"/>
                <a:gd name="connsiteY448" fmla="*/ 3308495 h 5120141"/>
                <a:gd name="connsiteX449" fmla="*/ 3250032 w 3832826"/>
                <a:gd name="connsiteY449" fmla="*/ 3312505 h 5120141"/>
                <a:gd name="connsiteX450" fmla="*/ 3260656 w 3832826"/>
                <a:gd name="connsiteY450" fmla="*/ 3326539 h 5120141"/>
                <a:gd name="connsiteX451" fmla="*/ 3269119 w 3832826"/>
                <a:gd name="connsiteY451" fmla="*/ 3338569 h 5120141"/>
                <a:gd name="connsiteX452" fmla="*/ 3275422 w 3832826"/>
                <a:gd name="connsiteY452" fmla="*/ 3352604 h 5120141"/>
                <a:gd name="connsiteX453" fmla="*/ 3285866 w 3832826"/>
                <a:gd name="connsiteY453" fmla="*/ 3384684 h 5120141"/>
                <a:gd name="connsiteX454" fmla="*/ 3292168 w 3832826"/>
                <a:gd name="connsiteY454" fmla="*/ 3410748 h 5120141"/>
                <a:gd name="connsiteX455" fmla="*/ 3300632 w 3832826"/>
                <a:gd name="connsiteY455" fmla="*/ 3434808 h 5120141"/>
                <a:gd name="connsiteX456" fmla="*/ 3309095 w 3832826"/>
                <a:gd name="connsiteY456" fmla="*/ 3458868 h 5120141"/>
                <a:gd name="connsiteX457" fmla="*/ 3311076 w 3832826"/>
                <a:gd name="connsiteY457" fmla="*/ 3468892 h 5120141"/>
                <a:gd name="connsiteX458" fmla="*/ 3313237 w 3832826"/>
                <a:gd name="connsiteY458" fmla="*/ 3474907 h 5120141"/>
                <a:gd name="connsiteX459" fmla="*/ 3313237 w 3832826"/>
                <a:gd name="connsiteY459" fmla="*/ 3478917 h 5120141"/>
                <a:gd name="connsiteX460" fmla="*/ 3309095 w 3832826"/>
                <a:gd name="connsiteY460" fmla="*/ 3482927 h 5120141"/>
                <a:gd name="connsiteX461" fmla="*/ 3302793 w 3832826"/>
                <a:gd name="connsiteY461" fmla="*/ 3488942 h 5120141"/>
                <a:gd name="connsiteX462" fmla="*/ 3296310 w 3832826"/>
                <a:gd name="connsiteY462" fmla="*/ 3490947 h 5120141"/>
                <a:gd name="connsiteX463" fmla="*/ 3296310 w 3832826"/>
                <a:gd name="connsiteY463" fmla="*/ 3498967 h 5120141"/>
                <a:gd name="connsiteX464" fmla="*/ 3296310 w 3832826"/>
                <a:gd name="connsiteY464" fmla="*/ 3508992 h 5120141"/>
                <a:gd name="connsiteX465" fmla="*/ 3300632 w 3832826"/>
                <a:gd name="connsiteY465" fmla="*/ 3531047 h 5120141"/>
                <a:gd name="connsiteX466" fmla="*/ 3309095 w 3832826"/>
                <a:gd name="connsiteY466" fmla="*/ 3553101 h 5120141"/>
                <a:gd name="connsiteX467" fmla="*/ 3313237 w 3832826"/>
                <a:gd name="connsiteY467" fmla="*/ 3563126 h 5120141"/>
                <a:gd name="connsiteX468" fmla="*/ 3319539 w 3832826"/>
                <a:gd name="connsiteY468" fmla="*/ 3567002 h 5120141"/>
                <a:gd name="connsiteX469" fmla="*/ 3317645 w 3832826"/>
                <a:gd name="connsiteY469" fmla="*/ 3567042 h 5120141"/>
                <a:gd name="connsiteX470" fmla="*/ 3330079 w 3832826"/>
                <a:gd name="connsiteY470" fmla="*/ 3577062 h 5120141"/>
                <a:gd name="connsiteX471" fmla="*/ 3334316 w 3832826"/>
                <a:gd name="connsiteY471" fmla="*/ 3585058 h 5120141"/>
                <a:gd name="connsiteX472" fmla="*/ 3334316 w 3832826"/>
                <a:gd name="connsiteY472" fmla="*/ 3593054 h 5120141"/>
                <a:gd name="connsiteX473" fmla="*/ 3334316 w 3832826"/>
                <a:gd name="connsiteY473" fmla="*/ 3603030 h 5120141"/>
                <a:gd name="connsiteX474" fmla="*/ 3332198 w 3832826"/>
                <a:gd name="connsiteY474" fmla="*/ 3607066 h 5120141"/>
                <a:gd name="connsiteX475" fmla="*/ 3323724 w 3832826"/>
                <a:gd name="connsiteY475" fmla="*/ 3609046 h 5120141"/>
                <a:gd name="connsiteX476" fmla="*/ 3319599 w 3832826"/>
                <a:gd name="connsiteY476" fmla="*/ 3613006 h 5120141"/>
                <a:gd name="connsiteX477" fmla="*/ 3319599 w 3832826"/>
                <a:gd name="connsiteY477" fmla="*/ 3617042 h 5120141"/>
                <a:gd name="connsiteX478" fmla="*/ 3319599 w 3832826"/>
                <a:gd name="connsiteY478" fmla="*/ 3619021 h 5120141"/>
                <a:gd name="connsiteX479" fmla="*/ 3323724 w 3832826"/>
                <a:gd name="connsiteY479" fmla="*/ 3625037 h 5120141"/>
                <a:gd name="connsiteX480" fmla="*/ 3330079 w 3832826"/>
                <a:gd name="connsiteY480" fmla="*/ 3627017 h 5120141"/>
                <a:gd name="connsiteX481" fmla="*/ 3332198 w 3832826"/>
                <a:gd name="connsiteY481" fmla="*/ 3628997 h 5120141"/>
                <a:gd name="connsiteX482" fmla="*/ 3340560 w 3832826"/>
                <a:gd name="connsiteY482" fmla="*/ 3644989 h 5120141"/>
                <a:gd name="connsiteX483" fmla="*/ 3351151 w 3832826"/>
                <a:gd name="connsiteY483" fmla="*/ 3657021 h 5120141"/>
                <a:gd name="connsiteX484" fmla="*/ 3372112 w 3832826"/>
                <a:gd name="connsiteY484" fmla="*/ 3684968 h 5120141"/>
                <a:gd name="connsiteX485" fmla="*/ 3372112 w 3832826"/>
                <a:gd name="connsiteY485" fmla="*/ 3687024 h 5120141"/>
                <a:gd name="connsiteX486" fmla="*/ 3372112 w 3832826"/>
                <a:gd name="connsiteY486" fmla="*/ 3689004 h 5120141"/>
                <a:gd name="connsiteX487" fmla="*/ 3367875 w 3832826"/>
                <a:gd name="connsiteY487" fmla="*/ 3695020 h 5120141"/>
                <a:gd name="connsiteX488" fmla="*/ 3363750 w 3832826"/>
                <a:gd name="connsiteY488" fmla="*/ 3703016 h 5120141"/>
                <a:gd name="connsiteX489" fmla="*/ 3363750 w 3832826"/>
                <a:gd name="connsiteY489" fmla="*/ 3704996 h 5120141"/>
                <a:gd name="connsiteX490" fmla="*/ 3363750 w 3832826"/>
                <a:gd name="connsiteY490" fmla="*/ 3706976 h 5120141"/>
                <a:gd name="connsiteX491" fmla="*/ 3367875 w 3832826"/>
                <a:gd name="connsiteY491" fmla="*/ 3716951 h 5120141"/>
                <a:gd name="connsiteX492" fmla="*/ 3374230 w 3832826"/>
                <a:gd name="connsiteY492" fmla="*/ 3722967 h 5120141"/>
                <a:gd name="connsiteX493" fmla="*/ 3382704 w 3832826"/>
                <a:gd name="connsiteY493" fmla="*/ 3728983 h 5120141"/>
                <a:gd name="connsiteX494" fmla="*/ 3388948 w 3832826"/>
                <a:gd name="connsiteY494" fmla="*/ 3734923 h 5120141"/>
                <a:gd name="connsiteX495" fmla="*/ 3395303 w 3832826"/>
                <a:gd name="connsiteY495" fmla="*/ 3746955 h 5120141"/>
                <a:gd name="connsiteX496" fmla="*/ 3397421 w 3832826"/>
                <a:gd name="connsiteY496" fmla="*/ 3756931 h 5120141"/>
                <a:gd name="connsiteX497" fmla="*/ 3397421 w 3832826"/>
                <a:gd name="connsiteY497" fmla="*/ 3766907 h 5120141"/>
                <a:gd name="connsiteX498" fmla="*/ 3399428 w 3832826"/>
                <a:gd name="connsiteY498" fmla="*/ 3778939 h 5120141"/>
                <a:gd name="connsiteX499" fmla="*/ 3407901 w 3832826"/>
                <a:gd name="connsiteY499" fmla="*/ 3798890 h 5120141"/>
                <a:gd name="connsiteX500" fmla="*/ 3416263 w 3832826"/>
                <a:gd name="connsiteY500" fmla="*/ 3808942 h 5120141"/>
                <a:gd name="connsiteX501" fmla="*/ 3424737 w 3832826"/>
                <a:gd name="connsiteY501" fmla="*/ 3816938 h 5120141"/>
                <a:gd name="connsiteX502" fmla="*/ 3431092 w 3832826"/>
                <a:gd name="connsiteY502" fmla="*/ 3820898 h 5120141"/>
                <a:gd name="connsiteX503" fmla="*/ 3437335 w 3832826"/>
                <a:gd name="connsiteY503" fmla="*/ 3820898 h 5120141"/>
                <a:gd name="connsiteX504" fmla="*/ 3449934 w 3832826"/>
                <a:gd name="connsiteY504" fmla="*/ 3820898 h 5120141"/>
                <a:gd name="connsiteX505" fmla="*/ 3456289 w 3832826"/>
                <a:gd name="connsiteY505" fmla="*/ 3824934 h 5120141"/>
                <a:gd name="connsiteX506" fmla="*/ 3460526 w 3832826"/>
                <a:gd name="connsiteY506" fmla="*/ 3826914 h 5120141"/>
                <a:gd name="connsiteX507" fmla="*/ 3466770 w 3832826"/>
                <a:gd name="connsiteY507" fmla="*/ 3830874 h 5120141"/>
                <a:gd name="connsiteX508" fmla="*/ 3468888 w 3832826"/>
                <a:gd name="connsiteY508" fmla="*/ 3840925 h 5120141"/>
                <a:gd name="connsiteX509" fmla="*/ 3466770 w 3832826"/>
                <a:gd name="connsiteY509" fmla="*/ 3840925 h 5120141"/>
                <a:gd name="connsiteX510" fmla="*/ 3462644 w 3832826"/>
                <a:gd name="connsiteY510" fmla="*/ 3844885 h 5120141"/>
                <a:gd name="connsiteX511" fmla="*/ 3458408 w 3832826"/>
                <a:gd name="connsiteY511" fmla="*/ 3846865 h 5120141"/>
                <a:gd name="connsiteX512" fmla="*/ 3456289 w 3832826"/>
                <a:gd name="connsiteY512" fmla="*/ 3848921 h 5120141"/>
                <a:gd name="connsiteX513" fmla="*/ 3458408 w 3832826"/>
                <a:gd name="connsiteY513" fmla="*/ 3854861 h 5120141"/>
                <a:gd name="connsiteX514" fmla="*/ 3462644 w 3832826"/>
                <a:gd name="connsiteY514" fmla="*/ 3856917 h 5120141"/>
                <a:gd name="connsiteX515" fmla="*/ 3468888 w 3832826"/>
                <a:gd name="connsiteY515" fmla="*/ 3860877 h 5120141"/>
                <a:gd name="connsiteX516" fmla="*/ 3481487 w 3832826"/>
                <a:gd name="connsiteY516" fmla="*/ 3874889 h 5120141"/>
                <a:gd name="connsiteX517" fmla="*/ 3487842 w 3832826"/>
                <a:gd name="connsiteY517" fmla="*/ 3880828 h 5120141"/>
                <a:gd name="connsiteX518" fmla="*/ 3489960 w 3832826"/>
                <a:gd name="connsiteY518" fmla="*/ 3888824 h 5120141"/>
                <a:gd name="connsiteX519" fmla="*/ 3489960 w 3832826"/>
                <a:gd name="connsiteY519" fmla="*/ 3898876 h 5120141"/>
                <a:gd name="connsiteX520" fmla="*/ 3483605 w 3832826"/>
                <a:gd name="connsiteY520" fmla="*/ 3910832 h 5120141"/>
                <a:gd name="connsiteX521" fmla="*/ 3477361 w 3832826"/>
                <a:gd name="connsiteY521" fmla="*/ 3924844 h 5120141"/>
                <a:gd name="connsiteX522" fmla="*/ 3477361 w 3832826"/>
                <a:gd name="connsiteY522" fmla="*/ 3934819 h 5120141"/>
                <a:gd name="connsiteX523" fmla="*/ 3477361 w 3832826"/>
                <a:gd name="connsiteY523" fmla="*/ 3946851 h 5120141"/>
                <a:gd name="connsiteX524" fmla="*/ 3481487 w 3832826"/>
                <a:gd name="connsiteY524" fmla="*/ 3960787 h 5120141"/>
                <a:gd name="connsiteX525" fmla="*/ 3492078 w 3832826"/>
                <a:gd name="connsiteY525" fmla="*/ 3988810 h 5120141"/>
                <a:gd name="connsiteX526" fmla="*/ 3498322 w 3832826"/>
                <a:gd name="connsiteY526" fmla="*/ 3998786 h 5120141"/>
                <a:gd name="connsiteX527" fmla="*/ 3502559 w 3832826"/>
                <a:gd name="connsiteY527" fmla="*/ 4006782 h 5120141"/>
                <a:gd name="connsiteX528" fmla="*/ 3513039 w 3832826"/>
                <a:gd name="connsiteY528" fmla="*/ 4012798 h 5120141"/>
                <a:gd name="connsiteX529" fmla="*/ 3521513 w 3832826"/>
                <a:gd name="connsiteY529" fmla="*/ 4022774 h 5120141"/>
                <a:gd name="connsiteX530" fmla="*/ 3523631 w 3832826"/>
                <a:gd name="connsiteY530" fmla="*/ 4028790 h 5120141"/>
                <a:gd name="connsiteX531" fmla="*/ 3523631 w 3832826"/>
                <a:gd name="connsiteY531" fmla="*/ 4036785 h 5120141"/>
                <a:gd name="connsiteX532" fmla="*/ 3523631 w 3832826"/>
                <a:gd name="connsiteY532" fmla="*/ 4048741 h 5120141"/>
                <a:gd name="connsiteX533" fmla="*/ 3521513 w 3832826"/>
                <a:gd name="connsiteY533" fmla="*/ 4066713 h 5120141"/>
                <a:gd name="connsiteX534" fmla="*/ 3521513 w 3832826"/>
                <a:gd name="connsiteY534" fmla="*/ 4078744 h 5120141"/>
                <a:gd name="connsiteX535" fmla="*/ 3525749 w 3832826"/>
                <a:gd name="connsiteY535" fmla="*/ 4100752 h 5120141"/>
                <a:gd name="connsiteX536" fmla="*/ 3540466 w 3832826"/>
                <a:gd name="connsiteY536" fmla="*/ 4136695 h 5120141"/>
                <a:gd name="connsiteX537" fmla="*/ 3557302 w 3832826"/>
                <a:gd name="connsiteY537" fmla="*/ 4182690 h 5120141"/>
                <a:gd name="connsiteX538" fmla="*/ 3555183 w 3832826"/>
                <a:gd name="connsiteY538" fmla="*/ 4186650 h 5120141"/>
                <a:gd name="connsiteX539" fmla="*/ 3557302 w 3832826"/>
                <a:gd name="connsiteY539" fmla="*/ 4192666 h 5120141"/>
                <a:gd name="connsiteX540" fmla="*/ 3567782 w 3832826"/>
                <a:gd name="connsiteY540" fmla="*/ 4214674 h 5120141"/>
                <a:gd name="connsiteX541" fmla="*/ 3578262 w 3832826"/>
                <a:gd name="connsiteY541" fmla="*/ 4240641 h 5120141"/>
                <a:gd name="connsiteX542" fmla="*/ 3582499 w 3832826"/>
                <a:gd name="connsiteY542" fmla="*/ 4250617 h 5120141"/>
                <a:gd name="connsiteX543" fmla="*/ 3582499 w 3832826"/>
                <a:gd name="connsiteY543" fmla="*/ 4260593 h 5120141"/>
                <a:gd name="connsiteX544" fmla="*/ 3578262 w 3832826"/>
                <a:gd name="connsiteY544" fmla="*/ 4260593 h 5120141"/>
                <a:gd name="connsiteX545" fmla="*/ 3576144 w 3832826"/>
                <a:gd name="connsiteY545" fmla="*/ 4264629 h 5120141"/>
                <a:gd name="connsiteX546" fmla="*/ 3572019 w 3832826"/>
                <a:gd name="connsiteY546" fmla="*/ 4270645 h 5120141"/>
                <a:gd name="connsiteX547" fmla="*/ 3565664 w 3832826"/>
                <a:gd name="connsiteY547" fmla="*/ 4272624 h 5120141"/>
                <a:gd name="connsiteX548" fmla="*/ 3563545 w 3832826"/>
                <a:gd name="connsiteY548" fmla="*/ 4278640 h 5120141"/>
                <a:gd name="connsiteX549" fmla="*/ 3561427 w 3832826"/>
                <a:gd name="connsiteY549" fmla="*/ 4288616 h 5120141"/>
                <a:gd name="connsiteX550" fmla="*/ 3561427 w 3832826"/>
                <a:gd name="connsiteY550" fmla="*/ 4300572 h 5120141"/>
                <a:gd name="connsiteX551" fmla="*/ 3557302 w 3832826"/>
                <a:gd name="connsiteY551" fmla="*/ 4324559 h 5120141"/>
                <a:gd name="connsiteX552" fmla="*/ 3556313 w 3832826"/>
                <a:gd name="connsiteY552" fmla="*/ 4324559 h 5120141"/>
                <a:gd name="connsiteX553" fmla="*/ 3557250 w 3832826"/>
                <a:gd name="connsiteY553" fmla="*/ 4324566 h 5120141"/>
                <a:gd name="connsiteX554" fmla="*/ 3561457 w 3832826"/>
                <a:gd name="connsiteY554" fmla="*/ 4324566 h 5120141"/>
                <a:gd name="connsiteX555" fmla="*/ 3687675 w 3832826"/>
                <a:gd name="connsiteY555" fmla="*/ 4322562 h 5120141"/>
                <a:gd name="connsiteX556" fmla="*/ 3815997 w 3832826"/>
                <a:gd name="connsiteY556" fmla="*/ 4322562 h 5120141"/>
                <a:gd name="connsiteX557" fmla="*/ 3820204 w 3832826"/>
                <a:gd name="connsiteY557" fmla="*/ 4362642 h 5120141"/>
                <a:gd name="connsiteX558" fmla="*/ 3820204 w 3832826"/>
                <a:gd name="connsiteY558" fmla="*/ 4388693 h 5120141"/>
                <a:gd name="connsiteX559" fmla="*/ 3815997 w 3832826"/>
                <a:gd name="connsiteY559" fmla="*/ 4394705 h 5120141"/>
                <a:gd name="connsiteX560" fmla="*/ 3813893 w 3832826"/>
                <a:gd name="connsiteY560" fmla="*/ 4398713 h 5120141"/>
                <a:gd name="connsiteX561" fmla="*/ 3803375 w 3832826"/>
                <a:gd name="connsiteY561" fmla="*/ 4398713 h 5120141"/>
                <a:gd name="connsiteX562" fmla="*/ 3799168 w 3832826"/>
                <a:gd name="connsiteY562" fmla="*/ 4402721 h 5120141"/>
                <a:gd name="connsiteX563" fmla="*/ 3799168 w 3832826"/>
                <a:gd name="connsiteY563" fmla="*/ 4408733 h 5120141"/>
                <a:gd name="connsiteX564" fmla="*/ 3801272 w 3832826"/>
                <a:gd name="connsiteY564" fmla="*/ 4420757 h 5120141"/>
                <a:gd name="connsiteX565" fmla="*/ 3801272 w 3832826"/>
                <a:gd name="connsiteY565" fmla="*/ 4422761 h 5120141"/>
                <a:gd name="connsiteX566" fmla="*/ 3805479 w 3832826"/>
                <a:gd name="connsiteY566" fmla="*/ 4424765 h 5120141"/>
                <a:gd name="connsiteX567" fmla="*/ 3815997 w 3832826"/>
                <a:gd name="connsiteY567" fmla="*/ 4422761 h 5120141"/>
                <a:gd name="connsiteX568" fmla="*/ 3826515 w 3832826"/>
                <a:gd name="connsiteY568" fmla="*/ 4422761 h 5120141"/>
                <a:gd name="connsiteX569" fmla="*/ 3830723 w 3832826"/>
                <a:gd name="connsiteY569" fmla="*/ 4424765 h 5120141"/>
                <a:gd name="connsiteX570" fmla="*/ 3832826 w 3832826"/>
                <a:gd name="connsiteY570" fmla="*/ 4430776 h 5120141"/>
                <a:gd name="connsiteX571" fmla="*/ 3830723 w 3832826"/>
                <a:gd name="connsiteY571" fmla="*/ 4436788 h 5120141"/>
                <a:gd name="connsiteX572" fmla="*/ 3826515 w 3832826"/>
                <a:gd name="connsiteY572" fmla="*/ 4436788 h 5120141"/>
                <a:gd name="connsiteX573" fmla="*/ 3822308 w 3832826"/>
                <a:gd name="connsiteY573" fmla="*/ 4440796 h 5120141"/>
                <a:gd name="connsiteX574" fmla="*/ 3822308 w 3832826"/>
                <a:gd name="connsiteY574" fmla="*/ 4444804 h 5120141"/>
                <a:gd name="connsiteX575" fmla="*/ 3822308 w 3832826"/>
                <a:gd name="connsiteY575" fmla="*/ 4502919 h 5120141"/>
                <a:gd name="connsiteX576" fmla="*/ 3824412 w 3832826"/>
                <a:gd name="connsiteY576" fmla="*/ 4557026 h 5120141"/>
                <a:gd name="connsiteX577" fmla="*/ 3826515 w 3832826"/>
                <a:gd name="connsiteY577" fmla="*/ 4723356 h 5120141"/>
                <a:gd name="connsiteX578" fmla="*/ 3826515 w 3832826"/>
                <a:gd name="connsiteY578" fmla="*/ 4805518 h 5120141"/>
                <a:gd name="connsiteX579" fmla="*/ 3826515 w 3832826"/>
                <a:gd name="connsiteY579" fmla="*/ 4887681 h 5120141"/>
                <a:gd name="connsiteX580" fmla="*/ 3815997 w 3832826"/>
                <a:gd name="connsiteY580" fmla="*/ 4885677 h 5120141"/>
                <a:gd name="connsiteX581" fmla="*/ 3820204 w 3832826"/>
                <a:gd name="connsiteY581" fmla="*/ 4985875 h 5120141"/>
                <a:gd name="connsiteX582" fmla="*/ 3820204 w 3832826"/>
                <a:gd name="connsiteY582" fmla="*/ 5072046 h 5120141"/>
                <a:gd name="connsiteX583" fmla="*/ 3822308 w 3832826"/>
                <a:gd name="connsiteY583" fmla="*/ 5072046 h 5120141"/>
                <a:gd name="connsiteX584" fmla="*/ 3822308 w 3832826"/>
                <a:gd name="connsiteY584" fmla="*/ 5088078 h 5120141"/>
                <a:gd name="connsiteX585" fmla="*/ 3822308 w 3832826"/>
                <a:gd name="connsiteY585" fmla="*/ 5100102 h 5120141"/>
                <a:gd name="connsiteX586" fmla="*/ 3820204 w 3832826"/>
                <a:gd name="connsiteY586" fmla="*/ 5104109 h 5120141"/>
                <a:gd name="connsiteX587" fmla="*/ 3815997 w 3832826"/>
                <a:gd name="connsiteY587" fmla="*/ 5108117 h 5120141"/>
                <a:gd name="connsiteX588" fmla="*/ 3809686 w 3832826"/>
                <a:gd name="connsiteY588" fmla="*/ 5108117 h 5120141"/>
                <a:gd name="connsiteX589" fmla="*/ 3801272 w 3832826"/>
                <a:gd name="connsiteY589" fmla="*/ 5108117 h 5120141"/>
                <a:gd name="connsiteX590" fmla="*/ 3370026 w 3832826"/>
                <a:gd name="connsiteY590" fmla="*/ 5110121 h 5120141"/>
                <a:gd name="connsiteX591" fmla="*/ 2940884 w 3832826"/>
                <a:gd name="connsiteY591" fmla="*/ 5112125 h 5120141"/>
                <a:gd name="connsiteX592" fmla="*/ 2903018 w 3832826"/>
                <a:gd name="connsiteY592" fmla="*/ 5112125 h 5120141"/>
                <a:gd name="connsiteX593" fmla="*/ 2898811 w 3832826"/>
                <a:gd name="connsiteY593" fmla="*/ 5118137 h 5120141"/>
                <a:gd name="connsiteX594" fmla="*/ 2888293 w 3832826"/>
                <a:gd name="connsiteY594" fmla="*/ 5120141 h 5120141"/>
                <a:gd name="connsiteX595" fmla="*/ 2860945 w 3832826"/>
                <a:gd name="connsiteY595" fmla="*/ 5120141 h 5120141"/>
                <a:gd name="connsiteX596" fmla="*/ 2808354 w 3832826"/>
                <a:gd name="connsiteY596" fmla="*/ 5118137 h 5120141"/>
                <a:gd name="connsiteX597" fmla="*/ 2747349 w 3832826"/>
                <a:gd name="connsiteY597" fmla="*/ 5120141 h 5120141"/>
                <a:gd name="connsiteX598" fmla="*/ 2713691 w 3832826"/>
                <a:gd name="connsiteY598" fmla="*/ 5120141 h 5120141"/>
                <a:gd name="connsiteX599" fmla="*/ 2701069 w 3832826"/>
                <a:gd name="connsiteY599" fmla="*/ 5118137 h 5120141"/>
                <a:gd name="connsiteX600" fmla="*/ 2692654 w 3832826"/>
                <a:gd name="connsiteY600" fmla="*/ 5114129 h 5120141"/>
                <a:gd name="connsiteX601" fmla="*/ 2690551 w 3832826"/>
                <a:gd name="connsiteY601" fmla="*/ 5108117 h 5120141"/>
                <a:gd name="connsiteX602" fmla="*/ 2690551 w 3832826"/>
                <a:gd name="connsiteY602" fmla="*/ 5100102 h 5120141"/>
                <a:gd name="connsiteX603" fmla="*/ 2690551 w 3832826"/>
                <a:gd name="connsiteY603" fmla="*/ 5084070 h 5120141"/>
                <a:gd name="connsiteX604" fmla="*/ 2690551 w 3832826"/>
                <a:gd name="connsiteY604" fmla="*/ 5082066 h 5120141"/>
                <a:gd name="connsiteX605" fmla="*/ 2688447 w 3832826"/>
                <a:gd name="connsiteY605" fmla="*/ 5080062 h 5120141"/>
                <a:gd name="connsiteX606" fmla="*/ 2682136 w 3832826"/>
                <a:gd name="connsiteY606" fmla="*/ 5080062 h 5120141"/>
                <a:gd name="connsiteX607" fmla="*/ 2675825 w 3832826"/>
                <a:gd name="connsiteY607" fmla="*/ 5080062 h 5120141"/>
                <a:gd name="connsiteX608" fmla="*/ 2669514 w 3832826"/>
                <a:gd name="connsiteY608" fmla="*/ 5080062 h 5120141"/>
                <a:gd name="connsiteX609" fmla="*/ 2667411 w 3832826"/>
                <a:gd name="connsiteY609" fmla="*/ 5078058 h 5120141"/>
                <a:gd name="connsiteX610" fmla="*/ 2667411 w 3832826"/>
                <a:gd name="connsiteY610" fmla="*/ 5072046 h 5120141"/>
                <a:gd name="connsiteX611" fmla="*/ 2658996 w 3832826"/>
                <a:gd name="connsiteY611" fmla="*/ 5070042 h 5120141"/>
                <a:gd name="connsiteX612" fmla="*/ 2627442 w 3832826"/>
                <a:gd name="connsiteY612" fmla="*/ 5070042 h 5120141"/>
                <a:gd name="connsiteX613" fmla="*/ 2612716 w 3832826"/>
                <a:gd name="connsiteY613" fmla="*/ 5070042 h 5120141"/>
                <a:gd name="connsiteX614" fmla="*/ 2604302 w 3832826"/>
                <a:gd name="connsiteY614" fmla="*/ 5070042 h 5120141"/>
                <a:gd name="connsiteX615" fmla="*/ 2602198 w 3832826"/>
                <a:gd name="connsiteY615" fmla="*/ 5068038 h 5120141"/>
                <a:gd name="connsiteX616" fmla="*/ 2597991 w 3832826"/>
                <a:gd name="connsiteY616" fmla="*/ 5064030 h 5120141"/>
                <a:gd name="connsiteX617" fmla="*/ 2595887 w 3832826"/>
                <a:gd name="connsiteY617" fmla="*/ 5052006 h 5120141"/>
                <a:gd name="connsiteX618" fmla="*/ 2593783 w 3832826"/>
                <a:gd name="connsiteY618" fmla="*/ 5047998 h 5120141"/>
                <a:gd name="connsiteX619" fmla="*/ 2591680 w 3832826"/>
                <a:gd name="connsiteY619" fmla="*/ 5047998 h 5120141"/>
                <a:gd name="connsiteX620" fmla="*/ 2576954 w 3832826"/>
                <a:gd name="connsiteY620" fmla="*/ 5045994 h 5120141"/>
                <a:gd name="connsiteX621" fmla="*/ 2551711 w 3832826"/>
                <a:gd name="connsiteY621" fmla="*/ 5047998 h 5120141"/>
                <a:gd name="connsiteX622" fmla="*/ 2530674 w 3832826"/>
                <a:gd name="connsiteY622" fmla="*/ 5045994 h 5120141"/>
                <a:gd name="connsiteX623" fmla="*/ 2528571 w 3832826"/>
                <a:gd name="connsiteY623" fmla="*/ 4975856 h 5120141"/>
                <a:gd name="connsiteX624" fmla="*/ 2528571 w 3832826"/>
                <a:gd name="connsiteY624" fmla="*/ 4905717 h 5120141"/>
                <a:gd name="connsiteX625" fmla="*/ 2524363 w 3832826"/>
                <a:gd name="connsiteY625" fmla="*/ 4899705 h 5120141"/>
                <a:gd name="connsiteX626" fmla="*/ 2522260 w 3832826"/>
                <a:gd name="connsiteY626" fmla="*/ 4895697 h 5120141"/>
                <a:gd name="connsiteX627" fmla="*/ 2509638 w 3832826"/>
                <a:gd name="connsiteY627" fmla="*/ 4891689 h 5120141"/>
                <a:gd name="connsiteX628" fmla="*/ 2492809 w 3832826"/>
                <a:gd name="connsiteY628" fmla="*/ 4889685 h 5120141"/>
                <a:gd name="connsiteX629" fmla="*/ 2478083 w 3832826"/>
                <a:gd name="connsiteY629" fmla="*/ 4889685 h 5120141"/>
                <a:gd name="connsiteX630" fmla="*/ 2471772 w 3832826"/>
                <a:gd name="connsiteY630" fmla="*/ 4887681 h 5120141"/>
                <a:gd name="connsiteX631" fmla="*/ 2467565 w 3832826"/>
                <a:gd name="connsiteY631" fmla="*/ 4881669 h 5120141"/>
                <a:gd name="connsiteX632" fmla="*/ 2465461 w 3832826"/>
                <a:gd name="connsiteY632" fmla="*/ 4871649 h 5120141"/>
                <a:gd name="connsiteX633" fmla="*/ 2465461 w 3832826"/>
                <a:gd name="connsiteY633" fmla="*/ 4861629 h 5120141"/>
                <a:gd name="connsiteX634" fmla="*/ 2467565 w 3832826"/>
                <a:gd name="connsiteY634" fmla="*/ 4839586 h 5120141"/>
                <a:gd name="connsiteX635" fmla="*/ 2467565 w 3832826"/>
                <a:gd name="connsiteY635" fmla="*/ 4823554 h 5120141"/>
                <a:gd name="connsiteX636" fmla="*/ 2391834 w 3832826"/>
                <a:gd name="connsiteY636" fmla="*/ 4823554 h 5120141"/>
                <a:gd name="connsiteX637" fmla="*/ 2393938 w 3832826"/>
                <a:gd name="connsiteY637" fmla="*/ 4755419 h 5120141"/>
                <a:gd name="connsiteX638" fmla="*/ 2343450 w 3832826"/>
                <a:gd name="connsiteY638" fmla="*/ 4759427 h 5120141"/>
                <a:gd name="connsiteX639" fmla="*/ 2311896 w 3832826"/>
                <a:gd name="connsiteY639" fmla="*/ 4759427 h 5120141"/>
                <a:gd name="connsiteX640" fmla="*/ 2301378 w 3832826"/>
                <a:gd name="connsiteY640" fmla="*/ 4757423 h 5120141"/>
                <a:gd name="connsiteX641" fmla="*/ 2295067 w 3832826"/>
                <a:gd name="connsiteY641" fmla="*/ 4755419 h 5120141"/>
                <a:gd name="connsiteX642" fmla="*/ 2290860 w 3832826"/>
                <a:gd name="connsiteY642" fmla="*/ 4749407 h 5120141"/>
                <a:gd name="connsiteX643" fmla="*/ 2290860 w 3832826"/>
                <a:gd name="connsiteY643" fmla="*/ 4745399 h 5120141"/>
                <a:gd name="connsiteX644" fmla="*/ 2290860 w 3832826"/>
                <a:gd name="connsiteY644" fmla="*/ 4727364 h 5120141"/>
                <a:gd name="connsiteX645" fmla="*/ 2290860 w 3832826"/>
                <a:gd name="connsiteY645" fmla="*/ 4699308 h 5120141"/>
                <a:gd name="connsiteX646" fmla="*/ 2290860 w 3832826"/>
                <a:gd name="connsiteY646" fmla="*/ 4687284 h 5120141"/>
                <a:gd name="connsiteX647" fmla="*/ 2288756 w 3832826"/>
                <a:gd name="connsiteY647" fmla="*/ 4685280 h 5120141"/>
                <a:gd name="connsiteX648" fmla="*/ 2284549 w 3832826"/>
                <a:gd name="connsiteY648" fmla="*/ 4683276 h 5120141"/>
                <a:gd name="connsiteX649" fmla="*/ 2274030 w 3832826"/>
                <a:gd name="connsiteY649" fmla="*/ 4683276 h 5120141"/>
                <a:gd name="connsiteX650" fmla="*/ 2259305 w 3832826"/>
                <a:gd name="connsiteY650" fmla="*/ 4685280 h 5120141"/>
                <a:gd name="connsiteX651" fmla="*/ 2255098 w 3832826"/>
                <a:gd name="connsiteY651" fmla="*/ 4683276 h 5120141"/>
                <a:gd name="connsiteX652" fmla="*/ 2248787 w 3832826"/>
                <a:gd name="connsiteY652" fmla="*/ 4679268 h 5120141"/>
                <a:gd name="connsiteX653" fmla="*/ 2244579 w 3832826"/>
                <a:gd name="connsiteY653" fmla="*/ 4673257 h 5120141"/>
                <a:gd name="connsiteX654" fmla="*/ 2244579 w 3832826"/>
                <a:gd name="connsiteY654" fmla="*/ 4663237 h 5120141"/>
                <a:gd name="connsiteX655" fmla="*/ 2244579 w 3832826"/>
                <a:gd name="connsiteY655" fmla="*/ 4649209 h 5120141"/>
                <a:gd name="connsiteX656" fmla="*/ 2244579 w 3832826"/>
                <a:gd name="connsiteY656" fmla="*/ 4637185 h 5120141"/>
                <a:gd name="connsiteX657" fmla="*/ 2244579 w 3832826"/>
                <a:gd name="connsiteY657" fmla="*/ 4627165 h 5120141"/>
                <a:gd name="connsiteX658" fmla="*/ 2242476 w 3832826"/>
                <a:gd name="connsiteY658" fmla="*/ 4623157 h 5120141"/>
                <a:gd name="connsiteX659" fmla="*/ 2236165 w 3832826"/>
                <a:gd name="connsiteY659" fmla="*/ 4617145 h 5120141"/>
                <a:gd name="connsiteX660" fmla="*/ 2234061 w 3832826"/>
                <a:gd name="connsiteY660" fmla="*/ 4617145 h 5120141"/>
                <a:gd name="connsiteX661" fmla="*/ 2225647 w 3832826"/>
                <a:gd name="connsiteY661" fmla="*/ 4615141 h 5120141"/>
                <a:gd name="connsiteX662" fmla="*/ 2194092 w 3832826"/>
                <a:gd name="connsiteY662" fmla="*/ 4617145 h 5120141"/>
                <a:gd name="connsiteX663" fmla="*/ 2179367 w 3832826"/>
                <a:gd name="connsiteY663" fmla="*/ 4617145 h 5120141"/>
                <a:gd name="connsiteX664" fmla="*/ 2164641 w 3832826"/>
                <a:gd name="connsiteY664" fmla="*/ 4613137 h 5120141"/>
                <a:gd name="connsiteX665" fmla="*/ 2162538 w 3832826"/>
                <a:gd name="connsiteY665" fmla="*/ 4607126 h 5120141"/>
                <a:gd name="connsiteX666" fmla="*/ 2160434 w 3832826"/>
                <a:gd name="connsiteY666" fmla="*/ 4597106 h 5120141"/>
                <a:gd name="connsiteX667" fmla="*/ 2154123 w 3832826"/>
                <a:gd name="connsiteY667" fmla="*/ 4583078 h 5120141"/>
                <a:gd name="connsiteX668" fmla="*/ 2149916 w 3832826"/>
                <a:gd name="connsiteY668" fmla="*/ 4581074 h 5120141"/>
                <a:gd name="connsiteX669" fmla="*/ 2143605 w 3832826"/>
                <a:gd name="connsiteY669" fmla="*/ 4575062 h 5120141"/>
                <a:gd name="connsiteX670" fmla="*/ 2133087 w 3832826"/>
                <a:gd name="connsiteY670" fmla="*/ 4571054 h 5120141"/>
                <a:gd name="connsiteX671" fmla="*/ 2130983 w 3832826"/>
                <a:gd name="connsiteY671" fmla="*/ 4565042 h 5120141"/>
                <a:gd name="connsiteX672" fmla="*/ 2130983 w 3832826"/>
                <a:gd name="connsiteY672" fmla="*/ 4561034 h 5120141"/>
                <a:gd name="connsiteX673" fmla="*/ 2130983 w 3832826"/>
                <a:gd name="connsiteY673" fmla="*/ 4553018 h 5120141"/>
                <a:gd name="connsiteX674" fmla="*/ 2130983 w 3832826"/>
                <a:gd name="connsiteY674" fmla="*/ 4551015 h 5120141"/>
                <a:gd name="connsiteX675" fmla="*/ 2126776 w 3832826"/>
                <a:gd name="connsiteY675" fmla="*/ 4545003 h 5120141"/>
                <a:gd name="connsiteX676" fmla="*/ 2122568 w 3832826"/>
                <a:gd name="connsiteY676" fmla="*/ 4545003 h 5120141"/>
                <a:gd name="connsiteX677" fmla="*/ 2120465 w 3832826"/>
                <a:gd name="connsiteY677" fmla="*/ 4545003 h 5120141"/>
                <a:gd name="connsiteX678" fmla="*/ 2118361 w 3832826"/>
                <a:gd name="connsiteY678" fmla="*/ 4536987 h 5120141"/>
                <a:gd name="connsiteX679" fmla="*/ 2116258 w 3832826"/>
                <a:gd name="connsiteY679" fmla="*/ 4536987 h 5120141"/>
                <a:gd name="connsiteX680" fmla="*/ 2109947 w 3832826"/>
                <a:gd name="connsiteY680" fmla="*/ 4536987 h 5120141"/>
                <a:gd name="connsiteX681" fmla="*/ 2107843 w 3832826"/>
                <a:gd name="connsiteY681" fmla="*/ 4536987 h 5120141"/>
                <a:gd name="connsiteX682" fmla="*/ 2107843 w 3832826"/>
                <a:gd name="connsiteY682" fmla="*/ 4534983 h 5120141"/>
                <a:gd name="connsiteX683" fmla="*/ 2105739 w 3832826"/>
                <a:gd name="connsiteY683" fmla="*/ 4500915 h 5120141"/>
                <a:gd name="connsiteX684" fmla="*/ 2105739 w 3832826"/>
                <a:gd name="connsiteY684" fmla="*/ 4476868 h 5120141"/>
                <a:gd name="connsiteX685" fmla="*/ 2101532 w 3832826"/>
                <a:gd name="connsiteY685" fmla="*/ 4470856 h 5120141"/>
                <a:gd name="connsiteX686" fmla="*/ 2099428 w 3832826"/>
                <a:gd name="connsiteY686" fmla="*/ 4466848 h 5120141"/>
                <a:gd name="connsiteX687" fmla="*/ 2095221 w 3832826"/>
                <a:gd name="connsiteY687" fmla="*/ 4466848 h 5120141"/>
                <a:gd name="connsiteX688" fmla="*/ 2063667 w 3832826"/>
                <a:gd name="connsiteY688" fmla="*/ 4470856 h 5120141"/>
                <a:gd name="connsiteX689" fmla="*/ 2042630 w 3832826"/>
                <a:gd name="connsiteY689" fmla="*/ 4470856 h 5120141"/>
                <a:gd name="connsiteX690" fmla="*/ 2036319 w 3832826"/>
                <a:gd name="connsiteY690" fmla="*/ 4466848 h 5120141"/>
                <a:gd name="connsiteX691" fmla="*/ 2032112 w 3832826"/>
                <a:gd name="connsiteY691" fmla="*/ 4466848 h 5120141"/>
                <a:gd name="connsiteX692" fmla="*/ 2027905 w 3832826"/>
                <a:gd name="connsiteY692" fmla="*/ 4456828 h 5120141"/>
                <a:gd name="connsiteX693" fmla="*/ 2027905 w 3832826"/>
                <a:gd name="connsiteY693" fmla="*/ 4444804 h 5120141"/>
                <a:gd name="connsiteX694" fmla="*/ 2027905 w 3832826"/>
                <a:gd name="connsiteY694" fmla="*/ 4420757 h 5120141"/>
                <a:gd name="connsiteX695" fmla="*/ 2027905 w 3832826"/>
                <a:gd name="connsiteY695" fmla="*/ 4376298 h 5120141"/>
                <a:gd name="connsiteX696" fmla="*/ 2025801 w 3832826"/>
                <a:gd name="connsiteY696" fmla="*/ 4376298 h 5120141"/>
                <a:gd name="connsiteX697" fmla="*/ 2025801 w 3832826"/>
                <a:gd name="connsiteY697" fmla="*/ 4328574 h 5120141"/>
                <a:gd name="connsiteX698" fmla="*/ 2025801 w 3832826"/>
                <a:gd name="connsiteY698" fmla="*/ 4326856 h 5120141"/>
                <a:gd name="connsiteX699" fmla="*/ 2021595 w 3832826"/>
                <a:gd name="connsiteY699" fmla="*/ 4326570 h 5120141"/>
                <a:gd name="connsiteX700" fmla="*/ 2015284 w 3832826"/>
                <a:gd name="connsiteY700" fmla="*/ 4326570 h 5120141"/>
                <a:gd name="connsiteX701" fmla="*/ 2017387 w 3832826"/>
                <a:gd name="connsiteY701" fmla="*/ 4316550 h 5120141"/>
                <a:gd name="connsiteX702" fmla="*/ 2015284 w 3832826"/>
                <a:gd name="connsiteY702" fmla="*/ 4310539 h 5120141"/>
                <a:gd name="connsiteX703" fmla="*/ 2008973 w 3832826"/>
                <a:gd name="connsiteY703" fmla="*/ 4306531 h 5120141"/>
                <a:gd name="connsiteX704" fmla="*/ 2004765 w 3832826"/>
                <a:gd name="connsiteY704" fmla="*/ 4300519 h 5120141"/>
                <a:gd name="connsiteX705" fmla="*/ 1994247 w 3832826"/>
                <a:gd name="connsiteY705" fmla="*/ 4286491 h 5120141"/>
                <a:gd name="connsiteX706" fmla="*/ 1987936 w 3832826"/>
                <a:gd name="connsiteY706" fmla="*/ 4270459 h 5120141"/>
                <a:gd name="connsiteX707" fmla="*/ 1987936 w 3832826"/>
                <a:gd name="connsiteY707" fmla="*/ 4262443 h 5120141"/>
                <a:gd name="connsiteX708" fmla="*/ 1987936 w 3832826"/>
                <a:gd name="connsiteY708" fmla="*/ 4258435 h 5120141"/>
                <a:gd name="connsiteX709" fmla="*/ 1987936 w 3832826"/>
                <a:gd name="connsiteY709" fmla="*/ 4252423 h 5120141"/>
                <a:gd name="connsiteX710" fmla="*/ 1983729 w 3832826"/>
                <a:gd name="connsiteY710" fmla="*/ 4246412 h 5120141"/>
                <a:gd name="connsiteX711" fmla="*/ 1978277 w 3832826"/>
                <a:gd name="connsiteY711" fmla="*/ 4241218 h 5120141"/>
                <a:gd name="connsiteX712" fmla="*/ 1947935 w 3832826"/>
                <a:gd name="connsiteY712" fmla="*/ 4232386 h 5120141"/>
                <a:gd name="connsiteX713" fmla="*/ 1941632 w 3832826"/>
                <a:gd name="connsiteY713" fmla="*/ 4228376 h 5120141"/>
                <a:gd name="connsiteX714" fmla="*/ 1933169 w 3832826"/>
                <a:gd name="connsiteY714" fmla="*/ 4220356 h 5120141"/>
                <a:gd name="connsiteX715" fmla="*/ 1922725 w 3832826"/>
                <a:gd name="connsiteY715" fmla="*/ 4208326 h 5120141"/>
                <a:gd name="connsiteX716" fmla="*/ 1910120 w 3832826"/>
                <a:gd name="connsiteY716" fmla="*/ 4196297 h 5120141"/>
                <a:gd name="connsiteX717" fmla="*/ 1901657 w 3832826"/>
                <a:gd name="connsiteY717" fmla="*/ 4190282 h 5120141"/>
                <a:gd name="connsiteX718" fmla="*/ 1893193 w 3832826"/>
                <a:gd name="connsiteY718" fmla="*/ 4186272 h 5120141"/>
                <a:gd name="connsiteX719" fmla="*/ 1867983 w 3832826"/>
                <a:gd name="connsiteY719" fmla="*/ 4178252 h 5120141"/>
                <a:gd name="connsiteX720" fmla="*/ 1857539 w 3832826"/>
                <a:gd name="connsiteY720" fmla="*/ 4172237 h 5120141"/>
                <a:gd name="connsiteX721" fmla="*/ 1842773 w 3832826"/>
                <a:gd name="connsiteY721" fmla="*/ 4166222 h 5120141"/>
                <a:gd name="connsiteX722" fmla="*/ 1804958 w 3832826"/>
                <a:gd name="connsiteY722" fmla="*/ 4138152 h 5120141"/>
                <a:gd name="connsiteX723" fmla="*/ 1800637 w 3832826"/>
                <a:gd name="connsiteY723" fmla="*/ 4138152 h 5120141"/>
                <a:gd name="connsiteX724" fmla="*/ 1796495 w 3832826"/>
                <a:gd name="connsiteY724" fmla="*/ 4138152 h 5120141"/>
                <a:gd name="connsiteX725" fmla="*/ 1790192 w 3832826"/>
                <a:gd name="connsiteY725" fmla="*/ 4138152 h 5120141"/>
                <a:gd name="connsiteX726" fmla="*/ 1786051 w 3832826"/>
                <a:gd name="connsiteY726" fmla="*/ 4132138 h 5120141"/>
                <a:gd name="connsiteX727" fmla="*/ 1783890 w 3832826"/>
                <a:gd name="connsiteY727" fmla="*/ 4126123 h 5120141"/>
                <a:gd name="connsiteX728" fmla="*/ 1775427 w 3832826"/>
                <a:gd name="connsiteY728" fmla="*/ 4120108 h 5120141"/>
                <a:gd name="connsiteX729" fmla="*/ 1769124 w 3832826"/>
                <a:gd name="connsiteY729" fmla="*/ 4118103 h 5120141"/>
                <a:gd name="connsiteX730" fmla="*/ 1762822 w 3832826"/>
                <a:gd name="connsiteY730" fmla="*/ 4112088 h 5120141"/>
                <a:gd name="connsiteX731" fmla="*/ 1756519 w 3832826"/>
                <a:gd name="connsiteY731" fmla="*/ 4100058 h 5120141"/>
                <a:gd name="connsiteX732" fmla="*/ 1752377 w 3832826"/>
                <a:gd name="connsiteY732" fmla="*/ 4090167 h 5120141"/>
                <a:gd name="connsiteX733" fmla="*/ 1741753 w 3832826"/>
                <a:gd name="connsiteY733" fmla="*/ 4086157 h 5120141"/>
                <a:gd name="connsiteX734" fmla="*/ 1733470 w 3832826"/>
                <a:gd name="connsiteY734" fmla="*/ 4082147 h 5120141"/>
                <a:gd name="connsiteX735" fmla="*/ 1716543 w 3832826"/>
                <a:gd name="connsiteY735" fmla="*/ 4070117 h 5120141"/>
                <a:gd name="connsiteX736" fmla="*/ 1706099 w 3832826"/>
                <a:gd name="connsiteY736" fmla="*/ 4060092 h 5120141"/>
                <a:gd name="connsiteX737" fmla="*/ 1701777 w 3832826"/>
                <a:gd name="connsiteY737" fmla="*/ 4052072 h 5120141"/>
                <a:gd name="connsiteX738" fmla="*/ 1699797 w 3832826"/>
                <a:gd name="connsiteY738" fmla="*/ 4048062 h 5120141"/>
                <a:gd name="connsiteX739" fmla="*/ 1695475 w 3832826"/>
                <a:gd name="connsiteY739" fmla="*/ 4038038 h 5120141"/>
                <a:gd name="connsiteX740" fmla="*/ 1699797 w 3832826"/>
                <a:gd name="connsiteY740" fmla="*/ 4030018 h 5120141"/>
                <a:gd name="connsiteX741" fmla="*/ 1701777 w 3832826"/>
                <a:gd name="connsiteY741" fmla="*/ 4021998 h 5120141"/>
                <a:gd name="connsiteX742" fmla="*/ 1706099 w 3832826"/>
                <a:gd name="connsiteY742" fmla="*/ 4017988 h 5120141"/>
                <a:gd name="connsiteX743" fmla="*/ 1714382 w 3832826"/>
                <a:gd name="connsiteY743" fmla="*/ 4007963 h 5120141"/>
                <a:gd name="connsiteX744" fmla="*/ 1716543 w 3832826"/>
                <a:gd name="connsiteY744" fmla="*/ 4001948 h 5120141"/>
                <a:gd name="connsiteX745" fmla="*/ 1720685 w 3832826"/>
                <a:gd name="connsiteY745" fmla="*/ 3997938 h 5120141"/>
                <a:gd name="connsiteX746" fmla="*/ 1716543 w 3832826"/>
                <a:gd name="connsiteY746" fmla="*/ 3991923 h 5120141"/>
                <a:gd name="connsiteX747" fmla="*/ 1712402 w 3832826"/>
                <a:gd name="connsiteY747" fmla="*/ 3985908 h 5120141"/>
                <a:gd name="connsiteX748" fmla="*/ 1701777 w 3832826"/>
                <a:gd name="connsiteY748" fmla="*/ 3975883 h 5120141"/>
                <a:gd name="connsiteX749" fmla="*/ 1695475 w 3832826"/>
                <a:gd name="connsiteY749" fmla="*/ 3973878 h 5120141"/>
                <a:gd name="connsiteX750" fmla="*/ 1691333 w 3832826"/>
                <a:gd name="connsiteY750" fmla="*/ 3965859 h 5120141"/>
                <a:gd name="connsiteX751" fmla="*/ 1689172 w 3832826"/>
                <a:gd name="connsiteY751" fmla="*/ 3957839 h 5120141"/>
                <a:gd name="connsiteX752" fmla="*/ 1691333 w 3832826"/>
                <a:gd name="connsiteY752" fmla="*/ 3953829 h 5120141"/>
                <a:gd name="connsiteX753" fmla="*/ 1691333 w 3832826"/>
                <a:gd name="connsiteY753" fmla="*/ 3945809 h 5120141"/>
                <a:gd name="connsiteX754" fmla="*/ 1689172 w 3832826"/>
                <a:gd name="connsiteY754" fmla="*/ 3937789 h 5120141"/>
                <a:gd name="connsiteX755" fmla="*/ 1687192 w 3832826"/>
                <a:gd name="connsiteY755" fmla="*/ 3927764 h 5120141"/>
                <a:gd name="connsiteX756" fmla="*/ 1689172 w 3832826"/>
                <a:gd name="connsiteY756" fmla="*/ 3919744 h 5120141"/>
                <a:gd name="connsiteX757" fmla="*/ 1691333 w 3832826"/>
                <a:gd name="connsiteY757" fmla="*/ 3915734 h 5120141"/>
                <a:gd name="connsiteX758" fmla="*/ 1699797 w 3832826"/>
                <a:gd name="connsiteY758" fmla="*/ 3909719 h 5120141"/>
                <a:gd name="connsiteX759" fmla="*/ 1714382 w 3832826"/>
                <a:gd name="connsiteY759" fmla="*/ 3905709 h 5120141"/>
                <a:gd name="connsiteX760" fmla="*/ 1731309 w 3832826"/>
                <a:gd name="connsiteY760" fmla="*/ 3899694 h 5120141"/>
                <a:gd name="connsiteX761" fmla="*/ 1735451 w 3832826"/>
                <a:gd name="connsiteY761" fmla="*/ 3897690 h 5120141"/>
                <a:gd name="connsiteX762" fmla="*/ 1737612 w 3832826"/>
                <a:gd name="connsiteY762" fmla="*/ 3893680 h 5120141"/>
                <a:gd name="connsiteX763" fmla="*/ 1746075 w 3832826"/>
                <a:gd name="connsiteY763" fmla="*/ 3879645 h 5120141"/>
                <a:gd name="connsiteX764" fmla="*/ 1748056 w 3832826"/>
                <a:gd name="connsiteY764" fmla="*/ 3863605 h 5120141"/>
                <a:gd name="connsiteX765" fmla="*/ 1752377 w 3832826"/>
                <a:gd name="connsiteY765" fmla="*/ 3843555 h 5120141"/>
                <a:gd name="connsiteX766" fmla="*/ 1754358 w 3832826"/>
                <a:gd name="connsiteY766" fmla="*/ 3823639 h 5120141"/>
                <a:gd name="connsiteX767" fmla="*/ 1752377 w 3832826"/>
                <a:gd name="connsiteY767" fmla="*/ 3803590 h 5120141"/>
                <a:gd name="connsiteX768" fmla="*/ 1748056 w 3832826"/>
                <a:gd name="connsiteY768" fmla="*/ 3785545 h 5120141"/>
                <a:gd name="connsiteX769" fmla="*/ 1746075 w 3832826"/>
                <a:gd name="connsiteY769" fmla="*/ 3773515 h 5120141"/>
                <a:gd name="connsiteX770" fmla="*/ 1737612 w 3832826"/>
                <a:gd name="connsiteY770" fmla="*/ 3761485 h 5120141"/>
                <a:gd name="connsiteX771" fmla="*/ 1727167 w 3832826"/>
                <a:gd name="connsiteY771" fmla="*/ 3747450 h 5120141"/>
                <a:gd name="connsiteX772" fmla="*/ 1695475 w 3832826"/>
                <a:gd name="connsiteY772" fmla="*/ 3721385 h 5120141"/>
                <a:gd name="connsiteX773" fmla="*/ 1661802 w 3832826"/>
                <a:gd name="connsiteY773" fmla="*/ 3695321 h 5120141"/>
                <a:gd name="connsiteX774" fmla="*/ 1636592 w 3832826"/>
                <a:gd name="connsiteY774" fmla="*/ 3675271 h 5120141"/>
                <a:gd name="connsiteX775" fmla="*/ 1519948 w 3832826"/>
                <a:gd name="connsiteY775" fmla="*/ 3568035 h 5120141"/>
                <a:gd name="connsiteX776" fmla="*/ 1518826 w 3832826"/>
                <a:gd name="connsiteY776" fmla="*/ 3569070 h 5120141"/>
                <a:gd name="connsiteX777" fmla="*/ 1510411 w 3832826"/>
                <a:gd name="connsiteY777" fmla="*/ 3561053 h 5120141"/>
                <a:gd name="connsiteX778" fmla="*/ 1497790 w 3832826"/>
                <a:gd name="connsiteY778" fmla="*/ 3553037 h 5120141"/>
                <a:gd name="connsiteX779" fmla="*/ 1468339 w 3832826"/>
                <a:gd name="connsiteY779" fmla="*/ 3537005 h 5120141"/>
                <a:gd name="connsiteX780" fmla="*/ 1409437 w 3832826"/>
                <a:gd name="connsiteY780" fmla="*/ 3514942 h 5120141"/>
                <a:gd name="connsiteX781" fmla="*/ 1386297 w 3832826"/>
                <a:gd name="connsiteY781" fmla="*/ 3504939 h 5120141"/>
                <a:gd name="connsiteX782" fmla="*/ 1365260 w 3832826"/>
                <a:gd name="connsiteY782" fmla="*/ 3492950 h 5120141"/>
                <a:gd name="connsiteX783" fmla="*/ 1363157 w 3832826"/>
                <a:gd name="connsiteY783" fmla="*/ 3486920 h 5120141"/>
                <a:gd name="connsiteX784" fmla="*/ 1361053 w 3832826"/>
                <a:gd name="connsiteY784" fmla="*/ 3482877 h 5120141"/>
                <a:gd name="connsiteX785" fmla="*/ 1358949 w 3832826"/>
                <a:gd name="connsiteY785" fmla="*/ 3474861 h 5120141"/>
                <a:gd name="connsiteX786" fmla="*/ 1354742 w 3832826"/>
                <a:gd name="connsiteY786" fmla="*/ 3470888 h 5120141"/>
                <a:gd name="connsiteX787" fmla="*/ 1340017 w 3832826"/>
                <a:gd name="connsiteY787" fmla="*/ 3446839 h 5120141"/>
                <a:gd name="connsiteX788" fmla="*/ 1318980 w 3832826"/>
                <a:gd name="connsiteY788" fmla="*/ 3426763 h 5120141"/>
                <a:gd name="connsiteX789" fmla="*/ 1316877 w 3832826"/>
                <a:gd name="connsiteY789" fmla="*/ 3426763 h 5120141"/>
                <a:gd name="connsiteX790" fmla="*/ 1310566 w 3832826"/>
                <a:gd name="connsiteY790" fmla="*/ 3422790 h 5120141"/>
                <a:gd name="connsiteX791" fmla="*/ 1300047 w 3832826"/>
                <a:gd name="connsiteY791" fmla="*/ 3416760 h 5120141"/>
                <a:gd name="connsiteX792" fmla="*/ 1297944 w 3832826"/>
                <a:gd name="connsiteY792" fmla="*/ 3414774 h 5120141"/>
                <a:gd name="connsiteX793" fmla="*/ 1297944 w 3832826"/>
                <a:gd name="connsiteY793" fmla="*/ 3410730 h 5120141"/>
                <a:gd name="connsiteX794" fmla="*/ 1300047 w 3832826"/>
                <a:gd name="connsiteY794" fmla="*/ 3402714 h 5120141"/>
                <a:gd name="connsiteX795" fmla="*/ 1308462 w 3832826"/>
                <a:gd name="connsiteY795" fmla="*/ 3394698 h 5120141"/>
                <a:gd name="connsiteX796" fmla="*/ 1297944 w 3832826"/>
                <a:gd name="connsiteY796" fmla="*/ 3380722 h 5120141"/>
                <a:gd name="connsiteX797" fmla="*/ 1291633 w 3832826"/>
                <a:gd name="connsiteY797" fmla="*/ 3366676 h 5120141"/>
                <a:gd name="connsiteX798" fmla="*/ 1291633 w 3832826"/>
                <a:gd name="connsiteY798" fmla="*/ 3354616 h 5120141"/>
                <a:gd name="connsiteX799" fmla="*/ 1295840 w 3832826"/>
                <a:gd name="connsiteY799" fmla="*/ 3344614 h 5120141"/>
                <a:gd name="connsiteX800" fmla="*/ 1300047 w 3832826"/>
                <a:gd name="connsiteY800" fmla="*/ 3334611 h 5120141"/>
                <a:gd name="connsiteX801" fmla="*/ 1306358 w 3832826"/>
                <a:gd name="connsiteY801" fmla="*/ 3324608 h 5120141"/>
                <a:gd name="connsiteX802" fmla="*/ 1308462 w 3832826"/>
                <a:gd name="connsiteY802" fmla="*/ 3318578 h 5120141"/>
                <a:gd name="connsiteX803" fmla="*/ 1306358 w 3832826"/>
                <a:gd name="connsiteY803" fmla="*/ 3310562 h 5120141"/>
                <a:gd name="connsiteX804" fmla="*/ 1302151 w 3832826"/>
                <a:gd name="connsiteY804" fmla="*/ 3302546 h 5120141"/>
                <a:gd name="connsiteX805" fmla="*/ 1295840 w 3832826"/>
                <a:gd name="connsiteY805" fmla="*/ 3294529 h 5120141"/>
                <a:gd name="connsiteX806" fmla="*/ 1295840 w 3832826"/>
                <a:gd name="connsiteY806" fmla="*/ 3290486 h 5120141"/>
                <a:gd name="connsiteX807" fmla="*/ 1291633 w 3832826"/>
                <a:gd name="connsiteY807" fmla="*/ 3288499 h 5120141"/>
                <a:gd name="connsiteX808" fmla="*/ 1297944 w 3832826"/>
                <a:gd name="connsiteY808" fmla="*/ 3280483 h 5120141"/>
                <a:gd name="connsiteX809" fmla="*/ 1302151 w 3832826"/>
                <a:gd name="connsiteY809" fmla="*/ 3272467 h 5120141"/>
                <a:gd name="connsiteX810" fmla="*/ 1306358 w 3832826"/>
                <a:gd name="connsiteY810" fmla="*/ 3262464 h 5120141"/>
                <a:gd name="connsiteX811" fmla="*/ 1306358 w 3832826"/>
                <a:gd name="connsiteY811" fmla="*/ 3258421 h 5120141"/>
                <a:gd name="connsiteX812" fmla="*/ 1302151 w 3832826"/>
                <a:gd name="connsiteY812" fmla="*/ 3252462 h 5120141"/>
                <a:gd name="connsiteX813" fmla="*/ 1302205 w 3832826"/>
                <a:gd name="connsiteY813" fmla="*/ 3250392 h 5120141"/>
                <a:gd name="connsiteX814" fmla="*/ 1302151 w 3832826"/>
                <a:gd name="connsiteY814" fmla="*/ 3250439 h 5120141"/>
                <a:gd name="connsiteX815" fmla="*/ 1270596 w 3832826"/>
                <a:gd name="connsiteY815" fmla="*/ 3222383 h 5120141"/>
                <a:gd name="connsiteX816" fmla="*/ 1268493 w 3832826"/>
                <a:gd name="connsiteY816" fmla="*/ 3218375 h 5120141"/>
                <a:gd name="connsiteX817" fmla="*/ 1264285 w 3832826"/>
                <a:gd name="connsiteY817" fmla="*/ 3218375 h 5120141"/>
                <a:gd name="connsiteX818" fmla="*/ 1257974 w 3832826"/>
                <a:gd name="connsiteY818" fmla="*/ 3220379 h 5120141"/>
                <a:gd name="connsiteX819" fmla="*/ 1253767 w 3832826"/>
                <a:gd name="connsiteY819" fmla="*/ 3222383 h 5120141"/>
                <a:gd name="connsiteX820" fmla="*/ 1245353 w 3832826"/>
                <a:gd name="connsiteY820" fmla="*/ 3222383 h 5120141"/>
                <a:gd name="connsiteX821" fmla="*/ 1228523 w 3832826"/>
                <a:gd name="connsiteY821" fmla="*/ 3220379 h 5120141"/>
                <a:gd name="connsiteX822" fmla="*/ 1207487 w 3832826"/>
                <a:gd name="connsiteY822" fmla="*/ 3218375 h 5120141"/>
                <a:gd name="connsiteX823" fmla="*/ 1201176 w 3832826"/>
                <a:gd name="connsiteY823" fmla="*/ 3218375 h 5120141"/>
                <a:gd name="connsiteX824" fmla="*/ 1192761 w 3832826"/>
                <a:gd name="connsiteY824" fmla="*/ 3220379 h 5120141"/>
                <a:gd name="connsiteX825" fmla="*/ 1190658 w 3832826"/>
                <a:gd name="connsiteY825" fmla="*/ 3226391 h 5120141"/>
                <a:gd name="connsiteX826" fmla="*/ 1192761 w 3832826"/>
                <a:gd name="connsiteY826" fmla="*/ 3236411 h 5120141"/>
                <a:gd name="connsiteX827" fmla="*/ 1182243 w 3832826"/>
                <a:gd name="connsiteY827" fmla="*/ 3236411 h 5120141"/>
                <a:gd name="connsiteX828" fmla="*/ 1175932 w 3832826"/>
                <a:gd name="connsiteY828" fmla="*/ 3230399 h 5120141"/>
                <a:gd name="connsiteX829" fmla="*/ 1171725 w 3832826"/>
                <a:gd name="connsiteY829" fmla="*/ 3222383 h 5120141"/>
                <a:gd name="connsiteX830" fmla="*/ 1169621 w 3832826"/>
                <a:gd name="connsiteY830" fmla="*/ 3216371 h 5120141"/>
                <a:gd name="connsiteX831" fmla="*/ 1161207 w 3832826"/>
                <a:gd name="connsiteY831" fmla="*/ 3196332 h 5120141"/>
                <a:gd name="connsiteX832" fmla="*/ 1159103 w 3832826"/>
                <a:gd name="connsiteY832" fmla="*/ 3186312 h 5120141"/>
                <a:gd name="connsiteX833" fmla="*/ 1150689 w 3832826"/>
                <a:gd name="connsiteY833" fmla="*/ 3180300 h 5120141"/>
                <a:gd name="connsiteX834" fmla="*/ 1142274 w 3832826"/>
                <a:gd name="connsiteY834" fmla="*/ 3172284 h 5120141"/>
                <a:gd name="connsiteX835" fmla="*/ 1138067 w 3832826"/>
                <a:gd name="connsiteY835" fmla="*/ 3166272 h 5120141"/>
                <a:gd name="connsiteX836" fmla="*/ 1133859 w 3832826"/>
                <a:gd name="connsiteY836" fmla="*/ 3156253 h 5120141"/>
                <a:gd name="connsiteX837" fmla="*/ 1133859 w 3832826"/>
                <a:gd name="connsiteY837" fmla="*/ 3144229 h 5120141"/>
                <a:gd name="connsiteX838" fmla="*/ 1138067 w 3832826"/>
                <a:gd name="connsiteY838" fmla="*/ 3130201 h 5120141"/>
                <a:gd name="connsiteX839" fmla="*/ 1142274 w 3832826"/>
                <a:gd name="connsiteY839" fmla="*/ 3126193 h 5120141"/>
                <a:gd name="connsiteX840" fmla="*/ 1148585 w 3832826"/>
                <a:gd name="connsiteY840" fmla="*/ 3124189 h 5120141"/>
                <a:gd name="connsiteX841" fmla="*/ 1154896 w 3832826"/>
                <a:gd name="connsiteY841" fmla="*/ 3118177 h 5120141"/>
                <a:gd name="connsiteX842" fmla="*/ 1161207 w 3832826"/>
                <a:gd name="connsiteY842" fmla="*/ 3110161 h 5120141"/>
                <a:gd name="connsiteX843" fmla="*/ 1163310 w 3832826"/>
                <a:gd name="connsiteY843" fmla="*/ 3106153 h 5120141"/>
                <a:gd name="connsiteX844" fmla="*/ 1161207 w 3832826"/>
                <a:gd name="connsiteY844" fmla="*/ 3090122 h 5120141"/>
                <a:gd name="connsiteX845" fmla="*/ 1159103 w 3832826"/>
                <a:gd name="connsiteY845" fmla="*/ 3076094 h 5120141"/>
                <a:gd name="connsiteX846" fmla="*/ 1159103 w 3832826"/>
                <a:gd name="connsiteY846" fmla="*/ 3068078 h 5120141"/>
                <a:gd name="connsiteX847" fmla="*/ 1159103 w 3832826"/>
                <a:gd name="connsiteY847" fmla="*/ 3060062 h 5120141"/>
                <a:gd name="connsiteX848" fmla="*/ 1161207 w 3832826"/>
                <a:gd name="connsiteY848" fmla="*/ 3056054 h 5120141"/>
                <a:gd name="connsiteX849" fmla="*/ 1159103 w 3832826"/>
                <a:gd name="connsiteY849" fmla="*/ 3050042 h 5120141"/>
                <a:gd name="connsiteX850" fmla="*/ 1154896 w 3832826"/>
                <a:gd name="connsiteY850" fmla="*/ 3048038 h 5120141"/>
                <a:gd name="connsiteX851" fmla="*/ 1150689 w 3832826"/>
                <a:gd name="connsiteY851" fmla="*/ 3046035 h 5120141"/>
                <a:gd name="connsiteX852" fmla="*/ 1140170 w 3832826"/>
                <a:gd name="connsiteY852" fmla="*/ 3044031 h 5120141"/>
                <a:gd name="connsiteX853" fmla="*/ 1133859 w 3832826"/>
                <a:gd name="connsiteY853" fmla="*/ 3040023 h 5120141"/>
                <a:gd name="connsiteX854" fmla="*/ 1131756 w 3832826"/>
                <a:gd name="connsiteY854" fmla="*/ 3038019 h 5120141"/>
                <a:gd name="connsiteX855" fmla="*/ 1127548 w 3832826"/>
                <a:gd name="connsiteY855" fmla="*/ 3030003 h 5120141"/>
                <a:gd name="connsiteX856" fmla="*/ 1123341 w 3832826"/>
                <a:gd name="connsiteY856" fmla="*/ 3023991 h 5120141"/>
                <a:gd name="connsiteX857" fmla="*/ 1127548 w 3832826"/>
                <a:gd name="connsiteY857" fmla="*/ 3015975 h 5120141"/>
                <a:gd name="connsiteX858" fmla="*/ 1127548 w 3832826"/>
                <a:gd name="connsiteY858" fmla="*/ 3007959 h 5120141"/>
                <a:gd name="connsiteX859" fmla="*/ 1121238 w 3832826"/>
                <a:gd name="connsiteY859" fmla="*/ 2989924 h 5120141"/>
                <a:gd name="connsiteX860" fmla="*/ 1119134 w 3832826"/>
                <a:gd name="connsiteY860" fmla="*/ 2983912 h 5120141"/>
                <a:gd name="connsiteX861" fmla="*/ 1119134 w 3832826"/>
                <a:gd name="connsiteY861" fmla="*/ 2975896 h 5120141"/>
                <a:gd name="connsiteX862" fmla="*/ 1119133 w 3832826"/>
                <a:gd name="connsiteY862" fmla="*/ 2975897 h 5120141"/>
                <a:gd name="connsiteX863" fmla="*/ 1119133 w 3832826"/>
                <a:gd name="connsiteY863" fmla="*/ 2965877 h 5120141"/>
                <a:gd name="connsiteX864" fmla="*/ 1112822 w 3832826"/>
                <a:gd name="connsiteY864" fmla="*/ 2955857 h 5120141"/>
                <a:gd name="connsiteX865" fmla="*/ 1106511 w 3832826"/>
                <a:gd name="connsiteY865" fmla="*/ 2949845 h 5120141"/>
                <a:gd name="connsiteX866" fmla="*/ 1095993 w 3832826"/>
                <a:gd name="connsiteY866" fmla="*/ 2945837 h 5120141"/>
                <a:gd name="connsiteX867" fmla="*/ 1074956 w 3832826"/>
                <a:gd name="connsiteY867" fmla="*/ 2935817 h 5120141"/>
                <a:gd name="connsiteX868" fmla="*/ 1066542 w 3832826"/>
                <a:gd name="connsiteY868" fmla="*/ 2929806 h 5120141"/>
                <a:gd name="connsiteX869" fmla="*/ 1064438 w 3832826"/>
                <a:gd name="connsiteY869" fmla="*/ 2923794 h 5120141"/>
                <a:gd name="connsiteX870" fmla="*/ 1064438 w 3832826"/>
                <a:gd name="connsiteY870" fmla="*/ 2815579 h 5120141"/>
                <a:gd name="connsiteX871" fmla="*/ 1064438 w 3832826"/>
                <a:gd name="connsiteY871" fmla="*/ 2763476 h 5120141"/>
                <a:gd name="connsiteX872" fmla="*/ 1066542 w 3832826"/>
                <a:gd name="connsiteY872" fmla="*/ 2707365 h 5120141"/>
                <a:gd name="connsiteX873" fmla="*/ 1070749 w 3832826"/>
                <a:gd name="connsiteY873" fmla="*/ 2697345 h 5120141"/>
                <a:gd name="connsiteX874" fmla="*/ 1077060 w 3832826"/>
                <a:gd name="connsiteY874" fmla="*/ 2687326 h 5120141"/>
                <a:gd name="connsiteX875" fmla="*/ 1074956 w 3832826"/>
                <a:gd name="connsiteY875" fmla="*/ 2683318 h 5120141"/>
                <a:gd name="connsiteX876" fmla="*/ 1070749 w 3832826"/>
                <a:gd name="connsiteY876" fmla="*/ 2681314 h 5120141"/>
                <a:gd name="connsiteX877" fmla="*/ 1066542 w 3832826"/>
                <a:gd name="connsiteY877" fmla="*/ 2677306 h 5120141"/>
                <a:gd name="connsiteX878" fmla="*/ 1058127 w 3832826"/>
                <a:gd name="connsiteY878" fmla="*/ 2675302 h 5120141"/>
                <a:gd name="connsiteX879" fmla="*/ 1053920 w 3832826"/>
                <a:gd name="connsiteY879" fmla="*/ 2671294 h 5120141"/>
                <a:gd name="connsiteX880" fmla="*/ 1049713 w 3832826"/>
                <a:gd name="connsiteY880" fmla="*/ 2657266 h 5120141"/>
                <a:gd name="connsiteX881" fmla="*/ 1053920 w 3832826"/>
                <a:gd name="connsiteY881" fmla="*/ 2645242 h 5120141"/>
                <a:gd name="connsiteX882" fmla="*/ 1058127 w 3832826"/>
                <a:gd name="connsiteY882" fmla="*/ 2633218 h 5120141"/>
                <a:gd name="connsiteX883" fmla="*/ 1058127 w 3832826"/>
                <a:gd name="connsiteY883" fmla="*/ 2623199 h 5120141"/>
                <a:gd name="connsiteX884" fmla="*/ 1058127 w 3832826"/>
                <a:gd name="connsiteY884" fmla="*/ 2613179 h 5120141"/>
                <a:gd name="connsiteX885" fmla="*/ 1056023 w 3832826"/>
                <a:gd name="connsiteY885" fmla="*/ 2601155 h 5120141"/>
                <a:gd name="connsiteX886" fmla="*/ 1049713 w 3832826"/>
                <a:gd name="connsiteY886" fmla="*/ 2577107 h 5120141"/>
                <a:gd name="connsiteX887" fmla="*/ 1047609 w 3832826"/>
                <a:gd name="connsiteY887" fmla="*/ 2565084 h 5120141"/>
                <a:gd name="connsiteX888" fmla="*/ 1049713 w 3832826"/>
                <a:gd name="connsiteY888" fmla="*/ 2555064 h 5120141"/>
                <a:gd name="connsiteX889" fmla="*/ 1053920 w 3832826"/>
                <a:gd name="connsiteY889" fmla="*/ 2547048 h 5120141"/>
                <a:gd name="connsiteX890" fmla="*/ 1060231 w 3832826"/>
                <a:gd name="connsiteY890" fmla="*/ 2543040 h 5120141"/>
                <a:gd name="connsiteX891" fmla="*/ 1058389 w 3832826"/>
                <a:gd name="connsiteY891" fmla="*/ 2529007 h 5120141"/>
                <a:gd name="connsiteX892" fmla="*/ 1056029 w 3832826"/>
                <a:gd name="connsiteY892" fmla="*/ 2529007 h 5120141"/>
                <a:gd name="connsiteX893" fmla="*/ 1049713 w 3832826"/>
                <a:gd name="connsiteY893" fmla="*/ 2535024 h 5120141"/>
                <a:gd name="connsiteX894" fmla="*/ 1049713 w 3832826"/>
                <a:gd name="connsiteY894" fmla="*/ 2533020 h 5120141"/>
                <a:gd name="connsiteX895" fmla="*/ 1049713 w 3832826"/>
                <a:gd name="connsiteY895" fmla="*/ 2529007 h 5120141"/>
                <a:gd name="connsiteX896" fmla="*/ 904562 w 3832826"/>
                <a:gd name="connsiteY896" fmla="*/ 2529007 h 5120141"/>
                <a:gd name="connsiteX897" fmla="*/ 904562 w 3832826"/>
                <a:gd name="connsiteY897" fmla="*/ 2129394 h 5120141"/>
                <a:gd name="connsiteX898" fmla="*/ 889837 w 3832826"/>
                <a:gd name="connsiteY898" fmla="*/ 2130219 h 5120141"/>
                <a:gd name="connsiteX899" fmla="*/ 868800 w 3832826"/>
                <a:gd name="connsiteY899" fmla="*/ 2132223 h 5120141"/>
                <a:gd name="connsiteX900" fmla="*/ 841453 w 3832826"/>
                <a:gd name="connsiteY900" fmla="*/ 2130219 h 5120141"/>
                <a:gd name="connsiteX901" fmla="*/ 816209 w 3832826"/>
                <a:gd name="connsiteY901" fmla="*/ 2132223 h 5120141"/>
                <a:gd name="connsiteX902" fmla="*/ 793069 w 3832826"/>
                <a:gd name="connsiteY902" fmla="*/ 2140239 h 5120141"/>
                <a:gd name="connsiteX903" fmla="*/ 769929 w 3832826"/>
                <a:gd name="connsiteY903" fmla="*/ 2150258 h 5120141"/>
                <a:gd name="connsiteX904" fmla="*/ 748892 w 3832826"/>
                <a:gd name="connsiteY904" fmla="*/ 2162282 h 5120141"/>
                <a:gd name="connsiteX905" fmla="*/ 738374 w 3832826"/>
                <a:gd name="connsiteY905" fmla="*/ 2164286 h 5120141"/>
                <a:gd name="connsiteX906" fmla="*/ 732063 w 3832826"/>
                <a:gd name="connsiteY906" fmla="*/ 2164286 h 5120141"/>
                <a:gd name="connsiteX907" fmla="*/ 725752 w 3832826"/>
                <a:gd name="connsiteY907" fmla="*/ 2162282 h 5120141"/>
                <a:gd name="connsiteX908" fmla="*/ 704716 w 3832826"/>
                <a:gd name="connsiteY908" fmla="*/ 2152262 h 5120141"/>
                <a:gd name="connsiteX909" fmla="*/ 692094 w 3832826"/>
                <a:gd name="connsiteY909" fmla="*/ 2150258 h 5120141"/>
                <a:gd name="connsiteX910" fmla="*/ 677369 w 3832826"/>
                <a:gd name="connsiteY910" fmla="*/ 2150258 h 5120141"/>
                <a:gd name="connsiteX911" fmla="*/ 677369 w 3832826"/>
                <a:gd name="connsiteY911" fmla="*/ 2140239 h 5120141"/>
                <a:gd name="connsiteX912" fmla="*/ 675265 w 3832826"/>
                <a:gd name="connsiteY912" fmla="*/ 2128215 h 5120141"/>
                <a:gd name="connsiteX913" fmla="*/ 664747 w 3832826"/>
                <a:gd name="connsiteY913" fmla="*/ 2104167 h 5120141"/>
                <a:gd name="connsiteX914" fmla="*/ 643710 w 3832826"/>
                <a:gd name="connsiteY914" fmla="*/ 2062084 h 5120141"/>
                <a:gd name="connsiteX915" fmla="*/ 639503 w 3832826"/>
                <a:gd name="connsiteY915" fmla="*/ 2060080 h 5120141"/>
                <a:gd name="connsiteX916" fmla="*/ 633192 w 3832826"/>
                <a:gd name="connsiteY916" fmla="*/ 2056072 h 5120141"/>
                <a:gd name="connsiteX917" fmla="*/ 635296 w 3832826"/>
                <a:gd name="connsiteY917" fmla="*/ 2050060 h 5120141"/>
                <a:gd name="connsiteX918" fmla="*/ 635296 w 3832826"/>
                <a:gd name="connsiteY918" fmla="*/ 2042044 h 5120141"/>
                <a:gd name="connsiteX919" fmla="*/ 624777 w 3832826"/>
                <a:gd name="connsiteY919" fmla="*/ 2028016 h 5120141"/>
                <a:gd name="connsiteX920" fmla="*/ 612156 w 3832826"/>
                <a:gd name="connsiteY920" fmla="*/ 2009980 h 5120141"/>
                <a:gd name="connsiteX921" fmla="*/ 591119 w 3832826"/>
                <a:gd name="connsiteY921" fmla="*/ 1967897 h 5120141"/>
                <a:gd name="connsiteX922" fmla="*/ 570083 w 3832826"/>
                <a:gd name="connsiteY922" fmla="*/ 1925813 h 5120141"/>
                <a:gd name="connsiteX923" fmla="*/ 561668 w 3832826"/>
                <a:gd name="connsiteY923" fmla="*/ 1909781 h 5120141"/>
                <a:gd name="connsiteX924" fmla="*/ 555357 w 3832826"/>
                <a:gd name="connsiteY924" fmla="*/ 1897757 h 5120141"/>
                <a:gd name="connsiteX925" fmla="*/ 544839 w 3832826"/>
                <a:gd name="connsiteY925" fmla="*/ 1887738 h 5120141"/>
                <a:gd name="connsiteX926" fmla="*/ 530114 w 3832826"/>
                <a:gd name="connsiteY926" fmla="*/ 1879722 h 5120141"/>
                <a:gd name="connsiteX927" fmla="*/ 517492 w 3832826"/>
                <a:gd name="connsiteY927" fmla="*/ 1877718 h 5120141"/>
                <a:gd name="connsiteX928" fmla="*/ 502766 w 3832826"/>
                <a:gd name="connsiteY928" fmla="*/ 1877718 h 5120141"/>
                <a:gd name="connsiteX929" fmla="*/ 488041 w 3832826"/>
                <a:gd name="connsiteY929" fmla="*/ 1877718 h 5120141"/>
                <a:gd name="connsiteX930" fmla="*/ 481730 w 3832826"/>
                <a:gd name="connsiteY930" fmla="*/ 1875714 h 5120141"/>
                <a:gd name="connsiteX931" fmla="*/ 473315 w 3832826"/>
                <a:gd name="connsiteY931" fmla="*/ 1873710 h 5120141"/>
                <a:gd name="connsiteX932" fmla="*/ 473315 w 3832826"/>
                <a:gd name="connsiteY932" fmla="*/ 1857678 h 5120141"/>
                <a:gd name="connsiteX933" fmla="*/ 471212 w 3832826"/>
                <a:gd name="connsiteY933" fmla="*/ 1847658 h 5120141"/>
                <a:gd name="connsiteX934" fmla="*/ 462797 w 3832826"/>
                <a:gd name="connsiteY934" fmla="*/ 1829622 h 5120141"/>
                <a:gd name="connsiteX935" fmla="*/ 462797 w 3832826"/>
                <a:gd name="connsiteY935" fmla="*/ 1823611 h 5120141"/>
                <a:gd name="connsiteX936" fmla="*/ 467004 w 3832826"/>
                <a:gd name="connsiteY936" fmla="*/ 1817599 h 5120141"/>
                <a:gd name="connsiteX937" fmla="*/ 481730 w 3832826"/>
                <a:gd name="connsiteY937" fmla="*/ 1815595 h 5120141"/>
                <a:gd name="connsiteX938" fmla="*/ 491767 w 3832826"/>
                <a:gd name="connsiteY938" fmla="*/ 1801335 h 5120141"/>
                <a:gd name="connsiteX939" fmla="*/ 486799 w 3832826"/>
                <a:gd name="connsiteY939" fmla="*/ 1797561 h 5120141"/>
                <a:gd name="connsiteX940" fmla="*/ 476248 w 3832826"/>
                <a:gd name="connsiteY940" fmla="*/ 1787541 h 5120141"/>
                <a:gd name="connsiteX941" fmla="*/ 465697 w 3832826"/>
                <a:gd name="connsiteY941" fmla="*/ 1779525 h 5120141"/>
                <a:gd name="connsiteX942" fmla="*/ 463587 w 3832826"/>
                <a:gd name="connsiteY942" fmla="*/ 1775517 h 5120141"/>
                <a:gd name="connsiteX943" fmla="*/ 463587 w 3832826"/>
                <a:gd name="connsiteY943" fmla="*/ 1769505 h 5120141"/>
                <a:gd name="connsiteX944" fmla="*/ 463587 w 3832826"/>
                <a:gd name="connsiteY944" fmla="*/ 1757481 h 5120141"/>
                <a:gd name="connsiteX945" fmla="*/ 465697 w 3832826"/>
                <a:gd name="connsiteY945" fmla="*/ 1747461 h 5120141"/>
                <a:gd name="connsiteX946" fmla="*/ 463587 w 3832826"/>
                <a:gd name="connsiteY946" fmla="*/ 1737442 h 5120141"/>
                <a:gd name="connsiteX947" fmla="*/ 455146 w 3832826"/>
                <a:gd name="connsiteY947" fmla="*/ 1735438 h 5120141"/>
                <a:gd name="connsiteX948" fmla="*/ 438265 w 3832826"/>
                <a:gd name="connsiteY948" fmla="*/ 1729426 h 5120141"/>
                <a:gd name="connsiteX949" fmla="*/ 423494 w 3832826"/>
                <a:gd name="connsiteY949" fmla="*/ 1723414 h 5120141"/>
                <a:gd name="connsiteX950" fmla="*/ 415054 w 3832826"/>
                <a:gd name="connsiteY950" fmla="*/ 1717402 h 5120141"/>
                <a:gd name="connsiteX951" fmla="*/ 412943 w 3832826"/>
                <a:gd name="connsiteY951" fmla="*/ 1715398 h 5120141"/>
                <a:gd name="connsiteX952" fmla="*/ 406613 w 3832826"/>
                <a:gd name="connsiteY952" fmla="*/ 1699366 h 5120141"/>
                <a:gd name="connsiteX953" fmla="*/ 404503 w 3832826"/>
                <a:gd name="connsiteY953" fmla="*/ 1677323 h 5120141"/>
                <a:gd name="connsiteX954" fmla="*/ 404503 w 3832826"/>
                <a:gd name="connsiteY954" fmla="*/ 1657283 h 5120141"/>
                <a:gd name="connsiteX955" fmla="*/ 406613 w 3832826"/>
                <a:gd name="connsiteY955" fmla="*/ 1643255 h 5120141"/>
                <a:gd name="connsiteX956" fmla="*/ 410833 w 3832826"/>
                <a:gd name="connsiteY956" fmla="*/ 1637243 h 5120141"/>
                <a:gd name="connsiteX957" fmla="*/ 415054 w 3832826"/>
                <a:gd name="connsiteY957" fmla="*/ 1635239 h 5120141"/>
                <a:gd name="connsiteX958" fmla="*/ 421384 w 3832826"/>
                <a:gd name="connsiteY958" fmla="*/ 1631231 h 5120141"/>
                <a:gd name="connsiteX959" fmla="*/ 421384 w 3832826"/>
                <a:gd name="connsiteY959" fmla="*/ 1621212 h 5120141"/>
                <a:gd name="connsiteX960" fmla="*/ 417164 w 3832826"/>
                <a:gd name="connsiteY960" fmla="*/ 1613196 h 5120141"/>
                <a:gd name="connsiteX961" fmla="*/ 406613 w 3832826"/>
                <a:gd name="connsiteY961" fmla="*/ 1605180 h 5120141"/>
                <a:gd name="connsiteX962" fmla="*/ 391842 w 3832826"/>
                <a:gd name="connsiteY962" fmla="*/ 1593156 h 5120141"/>
                <a:gd name="connsiteX963" fmla="*/ 374961 w 3832826"/>
                <a:gd name="connsiteY963" fmla="*/ 1587144 h 5120141"/>
                <a:gd name="connsiteX964" fmla="*/ 355969 w 3832826"/>
                <a:gd name="connsiteY964" fmla="*/ 1585140 h 5120141"/>
                <a:gd name="connsiteX965" fmla="*/ 317987 w 3832826"/>
                <a:gd name="connsiteY965" fmla="*/ 1581132 h 5120141"/>
                <a:gd name="connsiteX966" fmla="*/ 296885 w 3832826"/>
                <a:gd name="connsiteY966" fmla="*/ 1577124 h 5120141"/>
                <a:gd name="connsiteX967" fmla="*/ 277894 w 3832826"/>
                <a:gd name="connsiteY967" fmla="*/ 1571112 h 5120141"/>
                <a:gd name="connsiteX968" fmla="*/ 263123 w 3832826"/>
                <a:gd name="connsiteY968" fmla="*/ 1561093 h 5120141"/>
                <a:gd name="connsiteX969" fmla="*/ 246242 w 3832826"/>
                <a:gd name="connsiteY969" fmla="*/ 1545061 h 5120141"/>
                <a:gd name="connsiteX970" fmla="*/ 229361 w 3832826"/>
                <a:gd name="connsiteY970" fmla="*/ 1533037 h 5120141"/>
                <a:gd name="connsiteX971" fmla="*/ 220920 w 3832826"/>
                <a:gd name="connsiteY971" fmla="*/ 1523017 h 5120141"/>
                <a:gd name="connsiteX972" fmla="*/ 212479 w 3832826"/>
                <a:gd name="connsiteY972" fmla="*/ 1515001 h 5120141"/>
                <a:gd name="connsiteX973" fmla="*/ 210369 w 3832826"/>
                <a:gd name="connsiteY973" fmla="*/ 1504982 h 5120141"/>
                <a:gd name="connsiteX974" fmla="*/ 208259 w 3832826"/>
                <a:gd name="connsiteY974" fmla="*/ 1494962 h 5120141"/>
                <a:gd name="connsiteX975" fmla="*/ 210369 w 3832826"/>
                <a:gd name="connsiteY975" fmla="*/ 1486946 h 5120141"/>
                <a:gd name="connsiteX976" fmla="*/ 218810 w 3832826"/>
                <a:gd name="connsiteY976" fmla="*/ 1476926 h 5120141"/>
                <a:gd name="connsiteX977" fmla="*/ 223030 w 3832826"/>
                <a:gd name="connsiteY977" fmla="*/ 1472918 h 5120141"/>
                <a:gd name="connsiteX978" fmla="*/ 223030 w 3832826"/>
                <a:gd name="connsiteY978" fmla="*/ 1464902 h 5120141"/>
                <a:gd name="connsiteX979" fmla="*/ 214590 w 3832826"/>
                <a:gd name="connsiteY979" fmla="*/ 1450874 h 5120141"/>
                <a:gd name="connsiteX980" fmla="*/ 212479 w 3832826"/>
                <a:gd name="connsiteY980" fmla="*/ 1444863 h 5120141"/>
                <a:gd name="connsiteX981" fmla="*/ 214590 w 3832826"/>
                <a:gd name="connsiteY981" fmla="*/ 1442859 h 5120141"/>
                <a:gd name="connsiteX982" fmla="*/ 220920 w 3832826"/>
                <a:gd name="connsiteY982" fmla="*/ 1442859 h 5120141"/>
                <a:gd name="connsiteX983" fmla="*/ 235691 w 3832826"/>
                <a:gd name="connsiteY983" fmla="*/ 1444863 h 5120141"/>
                <a:gd name="connsiteX984" fmla="*/ 242685 w 3832826"/>
                <a:gd name="connsiteY984" fmla="*/ 1444830 h 5120141"/>
                <a:gd name="connsiteX985" fmla="*/ 239592 w 3832826"/>
                <a:gd name="connsiteY985" fmla="*/ 1442715 h 5120141"/>
                <a:gd name="connsiteX986" fmla="*/ 240798 w 3832826"/>
                <a:gd name="connsiteY986" fmla="*/ 1440839 h 5120141"/>
                <a:gd name="connsiteX987" fmla="*/ 237706 w 3832826"/>
                <a:gd name="connsiteY987" fmla="*/ 1440853 h 5120141"/>
                <a:gd name="connsiteX988" fmla="*/ 241926 w 3832826"/>
                <a:gd name="connsiteY988" fmla="*/ 1378746 h 5120141"/>
                <a:gd name="connsiteX989" fmla="*/ 241926 w 3832826"/>
                <a:gd name="connsiteY989" fmla="*/ 1346677 h 5120141"/>
                <a:gd name="connsiteX990" fmla="*/ 237706 w 3832826"/>
                <a:gd name="connsiteY990" fmla="*/ 1316605 h 5120141"/>
                <a:gd name="connsiteX991" fmla="*/ 237706 w 3832826"/>
                <a:gd name="connsiteY991" fmla="*/ 1314609 h 5120141"/>
                <a:gd name="connsiteX992" fmla="*/ 237706 w 3832826"/>
                <a:gd name="connsiteY992" fmla="*/ 1300571 h 5120141"/>
                <a:gd name="connsiteX993" fmla="*/ 237706 w 3832826"/>
                <a:gd name="connsiteY993" fmla="*/ 1290558 h 5120141"/>
                <a:gd name="connsiteX994" fmla="*/ 237706 w 3832826"/>
                <a:gd name="connsiteY994" fmla="*/ 1288562 h 5120141"/>
                <a:gd name="connsiteX995" fmla="*/ 235558 w 3832826"/>
                <a:gd name="connsiteY995" fmla="*/ 1286533 h 5120141"/>
                <a:gd name="connsiteX996" fmla="*/ 231412 w 3832826"/>
                <a:gd name="connsiteY996" fmla="*/ 1284537 h 5120141"/>
                <a:gd name="connsiteX997" fmla="*/ 223044 w 3832826"/>
                <a:gd name="connsiteY997" fmla="*/ 1284537 h 5120141"/>
                <a:gd name="connsiteX998" fmla="*/ 132485 w 3832826"/>
                <a:gd name="connsiteY998" fmla="*/ 1284537 h 5120141"/>
                <a:gd name="connsiteX999" fmla="*/ 132485 w 3832826"/>
                <a:gd name="connsiteY999" fmla="*/ 1226421 h 5120141"/>
                <a:gd name="connsiteX1000" fmla="*/ 130486 w 3832826"/>
                <a:gd name="connsiteY1000" fmla="*/ 1194353 h 5120141"/>
                <a:gd name="connsiteX1001" fmla="*/ 128264 w 3832826"/>
                <a:gd name="connsiteY1001" fmla="*/ 1184340 h 5120141"/>
                <a:gd name="connsiteX1002" fmla="*/ 126191 w 3832826"/>
                <a:gd name="connsiteY1002" fmla="*/ 1178319 h 5120141"/>
                <a:gd name="connsiteX1003" fmla="*/ 122045 w 3832826"/>
                <a:gd name="connsiteY1003" fmla="*/ 1178319 h 5120141"/>
                <a:gd name="connsiteX1004" fmla="*/ 117750 w 3832826"/>
                <a:gd name="connsiteY1004" fmla="*/ 1176323 h 5120141"/>
                <a:gd name="connsiteX1005" fmla="*/ 117750 w 3832826"/>
                <a:gd name="connsiteY1005" fmla="*/ 1174327 h 5120141"/>
                <a:gd name="connsiteX1006" fmla="*/ 117750 w 3832826"/>
                <a:gd name="connsiteY1006" fmla="*/ 1164314 h 5120141"/>
                <a:gd name="connsiteX1007" fmla="*/ 117750 w 3832826"/>
                <a:gd name="connsiteY1007" fmla="*/ 1158293 h 5120141"/>
                <a:gd name="connsiteX1008" fmla="*/ 115751 w 3832826"/>
                <a:gd name="connsiteY1008" fmla="*/ 1154301 h 5120141"/>
                <a:gd name="connsiteX1009" fmla="*/ 111456 w 3832826"/>
                <a:gd name="connsiteY1009" fmla="*/ 1152272 h 5120141"/>
                <a:gd name="connsiteX1010" fmla="*/ 105162 w 3832826"/>
                <a:gd name="connsiteY1010" fmla="*/ 1148280 h 5120141"/>
                <a:gd name="connsiteX1011" fmla="*/ 100941 w 3832826"/>
                <a:gd name="connsiteY1011" fmla="*/ 1148280 h 5120141"/>
                <a:gd name="connsiteX1012" fmla="*/ 98868 w 3832826"/>
                <a:gd name="connsiteY1012" fmla="*/ 1144255 h 5120141"/>
                <a:gd name="connsiteX1013" fmla="*/ 98868 w 3832826"/>
                <a:gd name="connsiteY1013" fmla="*/ 1134242 h 5120141"/>
                <a:gd name="connsiteX1014" fmla="*/ 98868 w 3832826"/>
                <a:gd name="connsiteY1014" fmla="*/ 1112205 h 5120141"/>
                <a:gd name="connsiteX1015" fmla="*/ 96768 w 3832826"/>
                <a:gd name="connsiteY1015" fmla="*/ 1112205 h 5120141"/>
                <a:gd name="connsiteX1016" fmla="*/ 84146 w 3832826"/>
                <a:gd name="connsiteY1016" fmla="*/ 1076133 h 5120141"/>
                <a:gd name="connsiteX1017" fmla="*/ 82042 w 3832826"/>
                <a:gd name="connsiteY1017" fmla="*/ 1056094 h 5120141"/>
                <a:gd name="connsiteX1018" fmla="*/ 84146 w 3832826"/>
                <a:gd name="connsiteY1018" fmla="*/ 1046074 h 5120141"/>
                <a:gd name="connsiteX1019" fmla="*/ 86250 w 3832826"/>
                <a:gd name="connsiteY1019" fmla="*/ 1036054 h 5120141"/>
                <a:gd name="connsiteX1020" fmla="*/ 96768 w 3832826"/>
                <a:gd name="connsiteY1020" fmla="*/ 1018018 h 5120141"/>
                <a:gd name="connsiteX1021" fmla="*/ 103079 w 3832826"/>
                <a:gd name="connsiteY1021" fmla="*/ 1003990 h 5120141"/>
                <a:gd name="connsiteX1022" fmla="*/ 103079 w 3832826"/>
                <a:gd name="connsiteY1022" fmla="*/ 995974 h 5120141"/>
                <a:gd name="connsiteX1023" fmla="*/ 103079 w 3832826"/>
                <a:gd name="connsiteY1023" fmla="*/ 987959 h 5120141"/>
                <a:gd name="connsiteX1024" fmla="*/ 92561 w 3832826"/>
                <a:gd name="connsiteY1024" fmla="*/ 965915 h 5120141"/>
                <a:gd name="connsiteX1025" fmla="*/ 73628 w 3832826"/>
                <a:gd name="connsiteY1025" fmla="*/ 903792 h 5120141"/>
                <a:gd name="connsiteX1026" fmla="*/ 67317 w 3832826"/>
                <a:gd name="connsiteY1026" fmla="*/ 869724 h 5120141"/>
                <a:gd name="connsiteX1027" fmla="*/ 63110 w 3832826"/>
                <a:gd name="connsiteY1027" fmla="*/ 837661 h 5120141"/>
                <a:gd name="connsiteX1028" fmla="*/ 63110 w 3832826"/>
                <a:gd name="connsiteY1028" fmla="*/ 823633 h 5120141"/>
                <a:gd name="connsiteX1029" fmla="*/ 65213 w 3832826"/>
                <a:gd name="connsiteY1029" fmla="*/ 807601 h 5120141"/>
                <a:gd name="connsiteX1030" fmla="*/ 65213 w 3832826"/>
                <a:gd name="connsiteY1030" fmla="*/ 781549 h 5120141"/>
                <a:gd name="connsiteX1031" fmla="*/ 63110 w 3832826"/>
                <a:gd name="connsiteY1031" fmla="*/ 767522 h 5120141"/>
                <a:gd name="connsiteX1032" fmla="*/ 56799 w 3832826"/>
                <a:gd name="connsiteY1032" fmla="*/ 757502 h 5120141"/>
                <a:gd name="connsiteX1033" fmla="*/ 46281 w 3832826"/>
                <a:gd name="connsiteY1033" fmla="*/ 747482 h 5120141"/>
                <a:gd name="connsiteX1034" fmla="*/ 29452 w 3832826"/>
                <a:gd name="connsiteY1034" fmla="*/ 741470 h 5120141"/>
                <a:gd name="connsiteX1035" fmla="*/ 27348 w 3832826"/>
                <a:gd name="connsiteY1035" fmla="*/ 733454 h 5120141"/>
                <a:gd name="connsiteX1036" fmla="*/ 29452 w 3832826"/>
                <a:gd name="connsiteY1036" fmla="*/ 725438 h 5120141"/>
                <a:gd name="connsiteX1037" fmla="*/ 31555 w 3832826"/>
                <a:gd name="connsiteY1037" fmla="*/ 717422 h 5120141"/>
                <a:gd name="connsiteX1038" fmla="*/ 39970 w 3832826"/>
                <a:gd name="connsiteY1038" fmla="*/ 711410 h 5120141"/>
                <a:gd name="connsiteX1039" fmla="*/ 46281 w 3832826"/>
                <a:gd name="connsiteY1039" fmla="*/ 705398 h 5120141"/>
                <a:gd name="connsiteX1040" fmla="*/ 52880 w 3832826"/>
                <a:gd name="connsiteY1040" fmla="*/ 703827 h 5120141"/>
                <a:gd name="connsiteX1041" fmla="*/ 52638 w 3832826"/>
                <a:gd name="connsiteY1041" fmla="*/ 703357 h 5120141"/>
                <a:gd name="connsiteX1042" fmla="*/ 44132 w 3832826"/>
                <a:gd name="connsiteY1042" fmla="*/ 705433 h 5120141"/>
                <a:gd name="connsiteX1043" fmla="*/ 37845 w 3832826"/>
                <a:gd name="connsiteY1043" fmla="*/ 711439 h 5120141"/>
                <a:gd name="connsiteX1044" fmla="*/ 29462 w 3832826"/>
                <a:gd name="connsiteY1044" fmla="*/ 717445 h 5120141"/>
                <a:gd name="connsiteX1045" fmla="*/ 27367 w 3832826"/>
                <a:gd name="connsiteY1045" fmla="*/ 725453 h 5120141"/>
                <a:gd name="connsiteX1046" fmla="*/ 25271 w 3832826"/>
                <a:gd name="connsiteY1046" fmla="*/ 733461 h 5120141"/>
                <a:gd name="connsiteX1047" fmla="*/ 27367 w 3832826"/>
                <a:gd name="connsiteY1047" fmla="*/ 741469 h 5120141"/>
                <a:gd name="connsiteX1048" fmla="*/ 16888 w 3832826"/>
                <a:gd name="connsiteY1048" fmla="*/ 737465 h 5120141"/>
                <a:gd name="connsiteX1049" fmla="*/ 10478 w 3832826"/>
                <a:gd name="connsiteY1049" fmla="*/ 733461 h 5120141"/>
                <a:gd name="connsiteX1050" fmla="*/ 6287 w 3832826"/>
                <a:gd name="connsiteY1050" fmla="*/ 727455 h 5120141"/>
                <a:gd name="connsiteX1051" fmla="*/ 4191 w 3832826"/>
                <a:gd name="connsiteY1051" fmla="*/ 721449 h 5120141"/>
                <a:gd name="connsiteX1052" fmla="*/ 0 w 3832826"/>
                <a:gd name="connsiteY1052" fmla="*/ 713441 h 5120141"/>
                <a:gd name="connsiteX1053" fmla="*/ 4191 w 3832826"/>
                <a:gd name="connsiteY1053" fmla="*/ 705433 h 5120141"/>
                <a:gd name="connsiteX1054" fmla="*/ 8383 w 3832826"/>
                <a:gd name="connsiteY1054" fmla="*/ 691346 h 5120141"/>
                <a:gd name="connsiteX1055" fmla="*/ 16888 w 3832826"/>
                <a:gd name="connsiteY1055" fmla="*/ 673328 h 5120141"/>
                <a:gd name="connsiteX1056" fmla="*/ 27367 w 3832826"/>
                <a:gd name="connsiteY1056" fmla="*/ 657312 h 5120141"/>
                <a:gd name="connsiteX1057" fmla="*/ 44132 w 3832826"/>
                <a:gd name="connsiteY1057" fmla="*/ 637292 h 5120141"/>
                <a:gd name="connsiteX1058" fmla="*/ 50542 w 3832826"/>
                <a:gd name="connsiteY1058" fmla="*/ 631287 h 5120141"/>
                <a:gd name="connsiteX1059" fmla="*/ 52638 w 3832826"/>
                <a:gd name="connsiteY1059" fmla="*/ 625206 h 5120141"/>
                <a:gd name="connsiteX1060" fmla="*/ 52638 w 3832826"/>
                <a:gd name="connsiteY1060" fmla="*/ 623205 h 5120141"/>
                <a:gd name="connsiteX1061" fmla="*/ 63116 w 3832826"/>
                <a:gd name="connsiteY1061" fmla="*/ 621203 h 5120141"/>
                <a:gd name="connsiteX1062" fmla="*/ 75690 w 3832826"/>
                <a:gd name="connsiteY1062" fmla="*/ 617199 h 5120141"/>
                <a:gd name="connsiteX1063" fmla="*/ 86291 w 3832826"/>
                <a:gd name="connsiteY1063" fmla="*/ 611193 h 5120141"/>
                <a:gd name="connsiteX1064" fmla="*/ 100961 w 3832826"/>
                <a:gd name="connsiteY1064" fmla="*/ 599181 h 5120141"/>
                <a:gd name="connsiteX1065" fmla="*/ 107248 w 3832826"/>
                <a:gd name="connsiteY1065" fmla="*/ 595177 h 5120141"/>
                <a:gd name="connsiteX1066" fmla="*/ 113658 w 3832826"/>
                <a:gd name="connsiteY1066" fmla="*/ 595177 h 5120141"/>
                <a:gd name="connsiteX1067" fmla="*/ 117849 w 3832826"/>
                <a:gd name="connsiteY1067" fmla="*/ 599181 h 5120141"/>
                <a:gd name="connsiteX1068" fmla="*/ 136710 w 3832826"/>
                <a:gd name="connsiteY1068" fmla="*/ 579161 h 5120141"/>
                <a:gd name="connsiteX1069" fmla="*/ 147311 w 3832826"/>
                <a:gd name="connsiteY1069" fmla="*/ 569151 h 5120141"/>
                <a:gd name="connsiteX1070" fmla="*/ 153598 w 3832826"/>
                <a:gd name="connsiteY1070" fmla="*/ 559142 h 5120141"/>
                <a:gd name="connsiteX1071" fmla="*/ 157790 w 3832826"/>
                <a:gd name="connsiteY1071" fmla="*/ 551060 h 5120141"/>
                <a:gd name="connsiteX1072" fmla="*/ 164077 w 3832826"/>
                <a:gd name="connsiteY1072" fmla="*/ 549058 h 5120141"/>
                <a:gd name="connsiteX1073" fmla="*/ 176650 w 3832826"/>
                <a:gd name="connsiteY1073" fmla="*/ 543052 h 5120141"/>
                <a:gd name="connsiteX1074" fmla="*/ 185156 w 3832826"/>
                <a:gd name="connsiteY1074" fmla="*/ 541050 h 5120141"/>
                <a:gd name="connsiteX1075" fmla="*/ 189348 w 3832826"/>
                <a:gd name="connsiteY1075" fmla="*/ 539048 h 5120141"/>
                <a:gd name="connsiteX1076" fmla="*/ 195634 w 3832826"/>
                <a:gd name="connsiteY1076" fmla="*/ 533042 h 5120141"/>
                <a:gd name="connsiteX1077" fmla="*/ 197730 w 3832826"/>
                <a:gd name="connsiteY1077" fmla="*/ 525034 h 5120141"/>
                <a:gd name="connsiteX1078" fmla="*/ 201921 w 3832826"/>
                <a:gd name="connsiteY1078" fmla="*/ 521030 h 5120141"/>
                <a:gd name="connsiteX1079" fmla="*/ 212523 w 3832826"/>
                <a:gd name="connsiteY1079" fmla="*/ 511020 h 5120141"/>
                <a:gd name="connsiteX1080" fmla="*/ 233480 w 3832826"/>
                <a:gd name="connsiteY1080" fmla="*/ 495005 h 5120141"/>
                <a:gd name="connsiteX1081" fmla="*/ 250368 w 3832826"/>
                <a:gd name="connsiteY1081" fmla="*/ 491001 h 5120141"/>
                <a:gd name="connsiteX1082" fmla="*/ 260846 w 3832826"/>
                <a:gd name="connsiteY1082" fmla="*/ 488999 h 5120141"/>
                <a:gd name="connsiteX1083" fmla="*/ 260846 w 3832826"/>
                <a:gd name="connsiteY1083" fmla="*/ 484995 h 5120141"/>
                <a:gd name="connsiteX1084" fmla="*/ 260846 w 3832826"/>
                <a:gd name="connsiteY1084" fmla="*/ 480917 h 5120141"/>
                <a:gd name="connsiteX1085" fmla="*/ 252464 w 3832826"/>
                <a:gd name="connsiteY1085" fmla="*/ 462899 h 5120141"/>
                <a:gd name="connsiteX1086" fmla="*/ 233480 w 3832826"/>
                <a:gd name="connsiteY1086" fmla="*/ 428866 h 5120141"/>
                <a:gd name="connsiteX1087" fmla="*/ 229288 w 3832826"/>
                <a:gd name="connsiteY1087" fmla="*/ 414852 h 5120141"/>
                <a:gd name="connsiteX1088" fmla="*/ 227193 w 3832826"/>
                <a:gd name="connsiteY1088" fmla="*/ 404768 h 5120141"/>
                <a:gd name="connsiteX1089" fmla="*/ 227193 w 3832826"/>
                <a:gd name="connsiteY1089" fmla="*/ 398762 h 5120141"/>
                <a:gd name="connsiteX1090" fmla="*/ 229288 w 3832826"/>
                <a:gd name="connsiteY1090" fmla="*/ 396760 h 5120141"/>
                <a:gd name="connsiteX1091" fmla="*/ 231384 w 3832826"/>
                <a:gd name="connsiteY1091" fmla="*/ 396760 h 5120141"/>
                <a:gd name="connsiteX1092" fmla="*/ 239766 w 3832826"/>
                <a:gd name="connsiteY1092" fmla="*/ 392756 h 5120141"/>
                <a:gd name="connsiteX1093" fmla="*/ 241862 w 3832826"/>
                <a:gd name="connsiteY1093" fmla="*/ 390754 h 5120141"/>
                <a:gd name="connsiteX1094" fmla="*/ 244081 w 3832826"/>
                <a:gd name="connsiteY1094" fmla="*/ 388752 h 5120141"/>
                <a:gd name="connsiteX1095" fmla="*/ 244081 w 3832826"/>
                <a:gd name="connsiteY1095" fmla="*/ 382746 h 5120141"/>
                <a:gd name="connsiteX1096" fmla="*/ 244081 w 3832826"/>
                <a:gd name="connsiteY1096" fmla="*/ 372736 h 5120141"/>
                <a:gd name="connsiteX1097" fmla="*/ 244081 w 3832826"/>
                <a:gd name="connsiteY1097" fmla="*/ 362726 h 5120141"/>
                <a:gd name="connsiteX1098" fmla="*/ 250368 w 3832826"/>
                <a:gd name="connsiteY1098" fmla="*/ 356721 h 5120141"/>
                <a:gd name="connsiteX1099" fmla="*/ 252464 w 3832826"/>
                <a:gd name="connsiteY1099" fmla="*/ 350715 h 5120141"/>
                <a:gd name="connsiteX1100" fmla="*/ 262942 w 3832826"/>
                <a:gd name="connsiteY1100" fmla="*/ 342707 h 5120141"/>
                <a:gd name="connsiteX1101" fmla="*/ 273420 w 3832826"/>
                <a:gd name="connsiteY1101" fmla="*/ 338703 h 5120141"/>
                <a:gd name="connsiteX1102" fmla="*/ 284022 w 3832826"/>
                <a:gd name="connsiteY1102" fmla="*/ 328619 h 5120141"/>
                <a:gd name="connsiteX1103" fmla="*/ 290308 w 3832826"/>
                <a:gd name="connsiteY1103" fmla="*/ 318609 h 5120141"/>
                <a:gd name="connsiteX1104" fmla="*/ 292404 w 3832826"/>
                <a:gd name="connsiteY1104" fmla="*/ 302593 h 5120141"/>
                <a:gd name="connsiteX1105" fmla="*/ 300787 w 3832826"/>
                <a:gd name="connsiteY1105" fmla="*/ 278570 h 5120141"/>
                <a:gd name="connsiteX1106" fmla="*/ 311388 w 3832826"/>
                <a:gd name="connsiteY1106" fmla="*/ 250468 h 5120141"/>
                <a:gd name="connsiteX1107" fmla="*/ 315579 w 3832826"/>
                <a:gd name="connsiteY1107" fmla="*/ 236454 h 5120141"/>
                <a:gd name="connsiteX1108" fmla="*/ 317675 w 3832826"/>
                <a:gd name="connsiteY1108" fmla="*/ 222441 h 5120141"/>
                <a:gd name="connsiteX1109" fmla="*/ 321866 w 3832826"/>
                <a:gd name="connsiteY1109" fmla="*/ 200419 h 5120141"/>
                <a:gd name="connsiteX1110" fmla="*/ 326058 w 3832826"/>
                <a:gd name="connsiteY1110" fmla="*/ 188407 h 5120141"/>
                <a:gd name="connsiteX1111" fmla="*/ 332345 w 3832826"/>
                <a:gd name="connsiteY1111" fmla="*/ 178323 h 5120141"/>
                <a:gd name="connsiteX1112" fmla="*/ 342946 w 3832826"/>
                <a:gd name="connsiteY1112" fmla="*/ 168313 h 5120141"/>
                <a:gd name="connsiteX1113" fmla="*/ 355520 w 3832826"/>
                <a:gd name="connsiteY1113" fmla="*/ 158303 h 5120141"/>
                <a:gd name="connsiteX1114" fmla="*/ 365998 w 3832826"/>
                <a:gd name="connsiteY1114" fmla="*/ 150296 h 5120141"/>
                <a:gd name="connsiteX1115" fmla="*/ 372285 w 3832826"/>
                <a:gd name="connsiteY1115" fmla="*/ 140286 h 5120141"/>
                <a:gd name="connsiteX1116" fmla="*/ 376600 w 3832826"/>
                <a:gd name="connsiteY1116" fmla="*/ 136282 h 5120141"/>
                <a:gd name="connsiteX1117" fmla="*/ 378695 w 3832826"/>
                <a:gd name="connsiteY1117" fmla="*/ 128274 h 5120141"/>
                <a:gd name="connsiteX1118" fmla="*/ 378695 w 3832826"/>
                <a:gd name="connsiteY1118" fmla="*/ 110182 h 5120141"/>
                <a:gd name="connsiteX1119" fmla="*/ 378695 w 3832826"/>
                <a:gd name="connsiteY1119" fmla="*/ 96168 h 5120141"/>
                <a:gd name="connsiteX1120" fmla="*/ 380791 w 3832826"/>
                <a:gd name="connsiteY1120" fmla="*/ 88161 h 5120141"/>
                <a:gd name="connsiteX1121" fmla="*/ 382887 w 3832826"/>
                <a:gd name="connsiteY1121" fmla="*/ 86159 h 5120141"/>
                <a:gd name="connsiteX1122" fmla="*/ 393365 w 3832826"/>
                <a:gd name="connsiteY1122" fmla="*/ 80153 h 5120141"/>
                <a:gd name="connsiteX1123" fmla="*/ 408158 w 3832826"/>
                <a:gd name="connsiteY1123" fmla="*/ 78151 h 5120141"/>
                <a:gd name="connsiteX1124" fmla="*/ 420732 w 3832826"/>
                <a:gd name="connsiteY1124" fmla="*/ 76149 h 5120141"/>
                <a:gd name="connsiteX1125" fmla="*/ 424923 w 3832826"/>
                <a:gd name="connsiteY1125" fmla="*/ 74147 h 5120141"/>
                <a:gd name="connsiteX1126" fmla="*/ 431210 w 3832826"/>
                <a:gd name="connsiteY1126" fmla="*/ 68141 h 5120141"/>
                <a:gd name="connsiteX1127" fmla="*/ 435401 w 3832826"/>
                <a:gd name="connsiteY1127" fmla="*/ 54127 h 5120141"/>
                <a:gd name="connsiteX1128" fmla="*/ 435401 w 3832826"/>
                <a:gd name="connsiteY1128" fmla="*/ 44117 h 5120141"/>
                <a:gd name="connsiteX1129" fmla="*/ 435401 w 3832826"/>
                <a:gd name="connsiteY1129" fmla="*/ 34033 h 5120141"/>
                <a:gd name="connsiteX1130" fmla="*/ 431210 w 3832826"/>
                <a:gd name="connsiteY1130" fmla="*/ 28027 h 5120141"/>
                <a:gd name="connsiteX1131" fmla="*/ 420732 w 3832826"/>
                <a:gd name="connsiteY1131" fmla="*/ 16016 h 5120141"/>
                <a:gd name="connsiteX1132" fmla="*/ 401747 w 3832826"/>
                <a:gd name="connsiteY1132" fmla="*/ 0 h 5120141"/>
                <a:gd name="connsiteX0" fmla="*/ 1392608 w 3832826"/>
                <a:gd name="connsiteY0" fmla="*/ 1290558 h 5120141"/>
                <a:gd name="connsiteX1" fmla="*/ 1392579 w 3832826"/>
                <a:gd name="connsiteY1" fmla="*/ 1291180 h 5120141"/>
                <a:gd name="connsiteX2" fmla="*/ 1392608 w 3832826"/>
                <a:gd name="connsiteY2" fmla="*/ 1290558 h 5120141"/>
                <a:gd name="connsiteX3" fmla="*/ 1138708 w 3832826"/>
                <a:gd name="connsiteY3" fmla="*/ 844805 h 5120141"/>
                <a:gd name="connsiteX4" fmla="*/ 1135965 w 3832826"/>
                <a:gd name="connsiteY4" fmla="*/ 845676 h 5120141"/>
                <a:gd name="connsiteX5" fmla="*/ 1138389 w 3832826"/>
                <a:gd name="connsiteY5" fmla="*/ 850296 h 5120141"/>
                <a:gd name="connsiteX6" fmla="*/ 1142308 w 3832826"/>
                <a:gd name="connsiteY6" fmla="*/ 851593 h 5120141"/>
                <a:gd name="connsiteX7" fmla="*/ 1138708 w 3832826"/>
                <a:gd name="connsiteY7" fmla="*/ 844805 h 5120141"/>
                <a:gd name="connsiteX8" fmla="*/ 1142276 w 3832826"/>
                <a:gd name="connsiteY8" fmla="*/ 825637 h 5120141"/>
                <a:gd name="connsiteX9" fmla="*/ 1144379 w 3832826"/>
                <a:gd name="connsiteY9" fmla="*/ 833653 h 5120141"/>
                <a:gd name="connsiteX10" fmla="*/ 1144379 w 3832826"/>
                <a:gd name="connsiteY10" fmla="*/ 839665 h 5120141"/>
                <a:gd name="connsiteX11" fmla="*/ 1143167 w 3832826"/>
                <a:gd name="connsiteY11" fmla="*/ 841974 h 5120141"/>
                <a:gd name="connsiteX12" fmla="*/ 1144345 w 3832826"/>
                <a:gd name="connsiteY12" fmla="*/ 841587 h 5120141"/>
                <a:gd name="connsiteX13" fmla="*/ 1146453 w 3832826"/>
                <a:gd name="connsiteY13" fmla="*/ 837612 h 5120141"/>
                <a:gd name="connsiteX14" fmla="*/ 1146453 w 3832826"/>
                <a:gd name="connsiteY14" fmla="*/ 831649 h 5120141"/>
                <a:gd name="connsiteX15" fmla="*/ 1144873 w 3832826"/>
                <a:gd name="connsiteY15" fmla="*/ 825637 h 5120141"/>
                <a:gd name="connsiteX16" fmla="*/ 1142276 w 3832826"/>
                <a:gd name="connsiteY16" fmla="*/ 825637 h 5120141"/>
                <a:gd name="connsiteX17" fmla="*/ 401747 w 3832826"/>
                <a:gd name="connsiteY17" fmla="*/ 0 h 5120141"/>
                <a:gd name="connsiteX18" fmla="*/ 769965 w 3832826"/>
                <a:gd name="connsiteY18" fmla="*/ 0 h 5120141"/>
                <a:gd name="connsiteX19" fmla="*/ 1138058 w 3832826"/>
                <a:gd name="connsiteY19" fmla="*/ 0 h 5120141"/>
                <a:gd name="connsiteX20" fmla="*/ 1222254 w 3832826"/>
                <a:gd name="connsiteY20" fmla="*/ 0 h 5120141"/>
                <a:gd name="connsiteX21" fmla="*/ 1226445 w 3832826"/>
                <a:gd name="connsiteY21" fmla="*/ 140286 h 5120141"/>
                <a:gd name="connsiteX22" fmla="*/ 1228541 w 3832826"/>
                <a:gd name="connsiteY22" fmla="*/ 278570 h 5120141"/>
                <a:gd name="connsiteX23" fmla="*/ 1232732 w 3832826"/>
                <a:gd name="connsiteY23" fmla="*/ 414852 h 5120141"/>
                <a:gd name="connsiteX24" fmla="*/ 1228541 w 3832826"/>
                <a:gd name="connsiteY24" fmla="*/ 559142 h 5120141"/>
                <a:gd name="connsiteX25" fmla="*/ 1224350 w 3832826"/>
                <a:gd name="connsiteY25" fmla="*/ 559142 h 5120141"/>
                <a:gd name="connsiteX26" fmla="*/ 1224350 w 3832826"/>
                <a:gd name="connsiteY26" fmla="*/ 591173 h 5120141"/>
                <a:gd name="connsiteX27" fmla="*/ 1222254 w 3832826"/>
                <a:gd name="connsiteY27" fmla="*/ 591173 h 5120141"/>
                <a:gd name="connsiteX28" fmla="*/ 1194887 w 3832826"/>
                <a:gd name="connsiteY28" fmla="*/ 591173 h 5120141"/>
                <a:gd name="connsiteX29" fmla="*/ 1163329 w 3832826"/>
                <a:gd name="connsiteY29" fmla="*/ 591173 h 5120141"/>
                <a:gd name="connsiteX30" fmla="*/ 1108125 w 3832826"/>
                <a:gd name="connsiteY30" fmla="*/ 602727 h 5120141"/>
                <a:gd name="connsiteX31" fmla="*/ 1110721 w 3832826"/>
                <a:gd name="connsiteY31" fmla="*/ 605200 h 5120141"/>
                <a:gd name="connsiteX32" fmla="*/ 1119136 w 3832826"/>
                <a:gd name="connsiteY32" fmla="*/ 613216 h 5120141"/>
                <a:gd name="connsiteX33" fmla="*/ 1121239 w 3832826"/>
                <a:gd name="connsiteY33" fmla="*/ 621231 h 5120141"/>
                <a:gd name="connsiteX34" fmla="*/ 1123343 w 3832826"/>
                <a:gd name="connsiteY34" fmla="*/ 645279 h 5120141"/>
                <a:gd name="connsiteX35" fmla="*/ 1129654 w 3832826"/>
                <a:gd name="connsiteY35" fmla="*/ 657303 h 5120141"/>
                <a:gd name="connsiteX36" fmla="*/ 1140172 w 3832826"/>
                <a:gd name="connsiteY36" fmla="*/ 667323 h 5120141"/>
                <a:gd name="connsiteX37" fmla="*/ 1146483 w 3832826"/>
                <a:gd name="connsiteY37" fmla="*/ 673335 h 5120141"/>
                <a:gd name="connsiteX38" fmla="*/ 1161208 w 3832826"/>
                <a:gd name="connsiteY38" fmla="*/ 677343 h 5120141"/>
                <a:gd name="connsiteX39" fmla="*/ 1184348 w 3832826"/>
                <a:gd name="connsiteY39" fmla="*/ 683355 h 5120141"/>
                <a:gd name="connsiteX40" fmla="*/ 1194866 w 3832826"/>
                <a:gd name="connsiteY40" fmla="*/ 687363 h 5120141"/>
                <a:gd name="connsiteX41" fmla="*/ 1205385 w 3832826"/>
                <a:gd name="connsiteY41" fmla="*/ 693375 h 5120141"/>
                <a:gd name="connsiteX42" fmla="*/ 1209592 w 3832826"/>
                <a:gd name="connsiteY42" fmla="*/ 703394 h 5120141"/>
                <a:gd name="connsiteX43" fmla="*/ 1213799 w 3832826"/>
                <a:gd name="connsiteY43" fmla="*/ 715418 h 5120141"/>
                <a:gd name="connsiteX44" fmla="*/ 1199074 w 3832826"/>
                <a:gd name="connsiteY44" fmla="*/ 715418 h 5120141"/>
                <a:gd name="connsiteX45" fmla="*/ 1196970 w 3832826"/>
                <a:gd name="connsiteY45" fmla="*/ 715418 h 5120141"/>
                <a:gd name="connsiteX46" fmla="*/ 1196970 w 3832826"/>
                <a:gd name="connsiteY46" fmla="*/ 717422 h 5120141"/>
                <a:gd name="connsiteX47" fmla="*/ 1203281 w 3832826"/>
                <a:gd name="connsiteY47" fmla="*/ 725438 h 5120141"/>
                <a:gd name="connsiteX48" fmla="*/ 1205385 w 3832826"/>
                <a:gd name="connsiteY48" fmla="*/ 733454 h 5120141"/>
                <a:gd name="connsiteX49" fmla="*/ 1207488 w 3832826"/>
                <a:gd name="connsiteY49" fmla="*/ 751490 h 5120141"/>
                <a:gd name="connsiteX50" fmla="*/ 1207488 w 3832826"/>
                <a:gd name="connsiteY50" fmla="*/ 763514 h 5120141"/>
                <a:gd name="connsiteX51" fmla="*/ 1199074 w 3832826"/>
                <a:gd name="connsiteY51" fmla="*/ 773533 h 5120141"/>
                <a:gd name="connsiteX52" fmla="*/ 1188556 w 3832826"/>
                <a:gd name="connsiteY52" fmla="*/ 785557 h 5120141"/>
                <a:gd name="connsiteX53" fmla="*/ 1175934 w 3832826"/>
                <a:gd name="connsiteY53" fmla="*/ 793573 h 5120141"/>
                <a:gd name="connsiteX54" fmla="*/ 1161208 w 3832826"/>
                <a:gd name="connsiteY54" fmla="*/ 801589 h 5120141"/>
                <a:gd name="connsiteX55" fmla="*/ 1154897 w 3832826"/>
                <a:gd name="connsiteY55" fmla="*/ 803593 h 5120141"/>
                <a:gd name="connsiteX56" fmla="*/ 1150690 w 3832826"/>
                <a:gd name="connsiteY56" fmla="*/ 811609 h 5120141"/>
                <a:gd name="connsiteX57" fmla="*/ 1150690 w 3832826"/>
                <a:gd name="connsiteY57" fmla="*/ 817621 h 5120141"/>
                <a:gd name="connsiteX58" fmla="*/ 1153844 w 3832826"/>
                <a:gd name="connsiteY58" fmla="*/ 823631 h 5120141"/>
                <a:gd name="connsiteX59" fmla="*/ 1156992 w 3832826"/>
                <a:gd name="connsiteY59" fmla="*/ 823631 h 5120141"/>
                <a:gd name="connsiteX60" fmla="*/ 1165424 w 3832826"/>
                <a:gd name="connsiteY60" fmla="*/ 823631 h 5120141"/>
                <a:gd name="connsiteX61" fmla="*/ 1169639 w 3832826"/>
                <a:gd name="connsiteY61" fmla="*/ 827606 h 5120141"/>
                <a:gd name="connsiteX62" fmla="*/ 1173855 w 3832826"/>
                <a:gd name="connsiteY62" fmla="*/ 833637 h 5120141"/>
                <a:gd name="connsiteX63" fmla="*/ 1173855 w 3832826"/>
                <a:gd name="connsiteY63" fmla="*/ 841587 h 5120141"/>
                <a:gd name="connsiteX64" fmla="*/ 1173855 w 3832826"/>
                <a:gd name="connsiteY64" fmla="*/ 855568 h 5120141"/>
                <a:gd name="connsiteX65" fmla="*/ 1169639 w 3832826"/>
                <a:gd name="connsiteY65" fmla="*/ 871605 h 5120141"/>
                <a:gd name="connsiteX66" fmla="*/ 1184324 w 3832826"/>
                <a:gd name="connsiteY66" fmla="*/ 867562 h 5120141"/>
                <a:gd name="connsiteX67" fmla="*/ 1180108 w 3832826"/>
                <a:gd name="connsiteY67" fmla="*/ 877568 h 5120141"/>
                <a:gd name="connsiteX68" fmla="*/ 1188540 w 3832826"/>
                <a:gd name="connsiteY68" fmla="*/ 877568 h 5120141"/>
                <a:gd name="connsiteX69" fmla="*/ 1194863 w 3832826"/>
                <a:gd name="connsiteY69" fmla="*/ 885587 h 5120141"/>
                <a:gd name="connsiteX70" fmla="*/ 1196971 w 3832826"/>
                <a:gd name="connsiteY70" fmla="*/ 895593 h 5120141"/>
                <a:gd name="connsiteX71" fmla="*/ 1188540 w 3832826"/>
                <a:gd name="connsiteY71" fmla="*/ 895593 h 5120141"/>
                <a:gd name="connsiteX72" fmla="*/ 1190648 w 3832826"/>
                <a:gd name="connsiteY72" fmla="*/ 903543 h 5120141"/>
                <a:gd name="connsiteX73" fmla="*/ 1188540 w 3832826"/>
                <a:gd name="connsiteY73" fmla="*/ 907518 h 5120141"/>
                <a:gd name="connsiteX74" fmla="*/ 1184324 w 3832826"/>
                <a:gd name="connsiteY74" fmla="*/ 913549 h 5120141"/>
                <a:gd name="connsiteX75" fmla="*/ 1175963 w 3832826"/>
                <a:gd name="connsiteY75" fmla="*/ 917524 h 5120141"/>
                <a:gd name="connsiteX76" fmla="*/ 1169639 w 3832826"/>
                <a:gd name="connsiteY76" fmla="*/ 923555 h 5120141"/>
                <a:gd name="connsiteX77" fmla="*/ 1163316 w 3832826"/>
                <a:gd name="connsiteY77" fmla="*/ 933493 h 5120141"/>
                <a:gd name="connsiteX78" fmla="*/ 1163316 w 3832826"/>
                <a:gd name="connsiteY78" fmla="*/ 941512 h 5120141"/>
                <a:gd name="connsiteX79" fmla="*/ 1159100 w 3832826"/>
                <a:gd name="connsiteY79" fmla="*/ 947543 h 5120141"/>
                <a:gd name="connsiteX80" fmla="*/ 1167532 w 3832826"/>
                <a:gd name="connsiteY80" fmla="*/ 947543 h 5120141"/>
                <a:gd name="connsiteX81" fmla="*/ 1165424 w 3832826"/>
                <a:gd name="connsiteY81" fmla="*/ 963511 h 5120141"/>
                <a:gd name="connsiteX82" fmla="*/ 1167532 w 3832826"/>
                <a:gd name="connsiteY82" fmla="*/ 975505 h 5120141"/>
                <a:gd name="connsiteX83" fmla="*/ 1167532 w 3832826"/>
                <a:gd name="connsiteY83" fmla="*/ 991474 h 5120141"/>
                <a:gd name="connsiteX84" fmla="*/ 1167532 w 3832826"/>
                <a:gd name="connsiteY84" fmla="*/ 1007443 h 5120141"/>
                <a:gd name="connsiteX85" fmla="*/ 1169639 w 3832826"/>
                <a:gd name="connsiteY85" fmla="*/ 1011486 h 5120141"/>
                <a:gd name="connsiteX86" fmla="*/ 1173855 w 3832826"/>
                <a:gd name="connsiteY86" fmla="*/ 1015461 h 5120141"/>
                <a:gd name="connsiteX87" fmla="*/ 1169639 w 3832826"/>
                <a:gd name="connsiteY87" fmla="*/ 1021424 h 5120141"/>
                <a:gd name="connsiteX88" fmla="*/ 1167532 w 3832826"/>
                <a:gd name="connsiteY88" fmla="*/ 1021424 h 5120141"/>
                <a:gd name="connsiteX89" fmla="*/ 1163316 w 3832826"/>
                <a:gd name="connsiteY89" fmla="*/ 1021424 h 5120141"/>
                <a:gd name="connsiteX90" fmla="*/ 1159100 w 3832826"/>
                <a:gd name="connsiteY90" fmla="*/ 1027455 h 5120141"/>
                <a:gd name="connsiteX91" fmla="*/ 1163316 w 3832826"/>
                <a:gd name="connsiteY91" fmla="*/ 1033418 h 5120141"/>
                <a:gd name="connsiteX92" fmla="*/ 1167532 w 3832826"/>
                <a:gd name="connsiteY92" fmla="*/ 1037461 h 5120141"/>
                <a:gd name="connsiteX93" fmla="*/ 1169639 w 3832826"/>
                <a:gd name="connsiteY93" fmla="*/ 1047399 h 5120141"/>
                <a:gd name="connsiteX94" fmla="*/ 1173855 w 3832826"/>
                <a:gd name="connsiteY94" fmla="*/ 1059393 h 5120141"/>
                <a:gd name="connsiteX95" fmla="*/ 1186432 w 3832826"/>
                <a:gd name="connsiteY95" fmla="*/ 1057405 h 5120141"/>
                <a:gd name="connsiteX96" fmla="*/ 1184324 w 3832826"/>
                <a:gd name="connsiteY96" fmla="*/ 1065424 h 5120141"/>
                <a:gd name="connsiteX97" fmla="*/ 1194863 w 3832826"/>
                <a:gd name="connsiteY97" fmla="*/ 1063436 h 5120141"/>
                <a:gd name="connsiteX98" fmla="*/ 1201187 w 3832826"/>
                <a:gd name="connsiteY98" fmla="*/ 1065424 h 5120141"/>
                <a:gd name="connsiteX99" fmla="*/ 1205403 w 3832826"/>
                <a:gd name="connsiteY99" fmla="*/ 1073374 h 5120141"/>
                <a:gd name="connsiteX100" fmla="*/ 1205403 w 3832826"/>
                <a:gd name="connsiteY100" fmla="*/ 1083380 h 5120141"/>
                <a:gd name="connsiteX101" fmla="*/ 1209618 w 3832826"/>
                <a:gd name="connsiteY101" fmla="*/ 1083380 h 5120141"/>
                <a:gd name="connsiteX102" fmla="*/ 1209618 w 3832826"/>
                <a:gd name="connsiteY102" fmla="*/ 1095374 h 5120141"/>
                <a:gd name="connsiteX103" fmla="*/ 1220087 w 3832826"/>
                <a:gd name="connsiteY103" fmla="*/ 1097361 h 5120141"/>
                <a:gd name="connsiteX104" fmla="*/ 1226411 w 3832826"/>
                <a:gd name="connsiteY104" fmla="*/ 1103392 h 5120141"/>
                <a:gd name="connsiteX105" fmla="*/ 1232734 w 3832826"/>
                <a:gd name="connsiteY105" fmla="*/ 1115386 h 5120141"/>
                <a:gd name="connsiteX106" fmla="*/ 1241166 w 3832826"/>
                <a:gd name="connsiteY106" fmla="*/ 1113330 h 5120141"/>
                <a:gd name="connsiteX107" fmla="*/ 1247489 w 3832826"/>
                <a:gd name="connsiteY107" fmla="*/ 1119361 h 5120141"/>
                <a:gd name="connsiteX108" fmla="*/ 1249527 w 3832826"/>
                <a:gd name="connsiteY108" fmla="*/ 1127311 h 5120141"/>
                <a:gd name="connsiteX109" fmla="*/ 1262174 w 3832826"/>
                <a:gd name="connsiteY109" fmla="*/ 1137317 h 5120141"/>
                <a:gd name="connsiteX110" fmla="*/ 1274821 w 3832826"/>
                <a:gd name="connsiteY110" fmla="*/ 1147324 h 5120141"/>
                <a:gd name="connsiteX111" fmla="*/ 1291613 w 3832826"/>
                <a:gd name="connsiteY111" fmla="*/ 1159317 h 5120141"/>
                <a:gd name="connsiteX112" fmla="*/ 1293721 w 3832826"/>
                <a:gd name="connsiteY112" fmla="*/ 1165280 h 5120141"/>
                <a:gd name="connsiteX113" fmla="*/ 1295829 w 3832826"/>
                <a:gd name="connsiteY113" fmla="*/ 1173299 h 5120141"/>
                <a:gd name="connsiteX114" fmla="*/ 1306368 w 3832826"/>
                <a:gd name="connsiteY114" fmla="*/ 1173299 h 5120141"/>
                <a:gd name="connsiteX115" fmla="*/ 1312692 w 3832826"/>
                <a:gd name="connsiteY115" fmla="*/ 1177274 h 5120141"/>
                <a:gd name="connsiteX116" fmla="*/ 1314800 w 3832826"/>
                <a:gd name="connsiteY116" fmla="*/ 1185292 h 5120141"/>
                <a:gd name="connsiteX117" fmla="*/ 1312692 w 3832826"/>
                <a:gd name="connsiteY117" fmla="*/ 1195299 h 5120141"/>
                <a:gd name="connsiteX118" fmla="*/ 1321053 w 3832826"/>
                <a:gd name="connsiteY118" fmla="*/ 1193311 h 5120141"/>
                <a:gd name="connsiteX119" fmla="*/ 1323161 w 3832826"/>
                <a:gd name="connsiteY119" fmla="*/ 1195299 h 5120141"/>
                <a:gd name="connsiteX120" fmla="*/ 1325269 w 3832826"/>
                <a:gd name="connsiteY120" fmla="*/ 1199274 h 5120141"/>
                <a:gd name="connsiteX121" fmla="*/ 1325269 w 3832826"/>
                <a:gd name="connsiteY121" fmla="*/ 1205305 h 5120141"/>
                <a:gd name="connsiteX122" fmla="*/ 1337916 w 3832826"/>
                <a:gd name="connsiteY122" fmla="*/ 1205305 h 5120141"/>
                <a:gd name="connsiteX123" fmla="*/ 1337916 w 3832826"/>
                <a:gd name="connsiteY123" fmla="*/ 1217230 h 5120141"/>
                <a:gd name="connsiteX124" fmla="*/ 1344239 w 3832826"/>
                <a:gd name="connsiteY124" fmla="*/ 1215242 h 5120141"/>
                <a:gd name="connsiteX125" fmla="*/ 1344239 w 3832826"/>
                <a:gd name="connsiteY125" fmla="*/ 1219286 h 5120141"/>
                <a:gd name="connsiteX126" fmla="*/ 1346347 w 3832826"/>
                <a:gd name="connsiteY126" fmla="*/ 1219286 h 5120141"/>
                <a:gd name="connsiteX127" fmla="*/ 1352671 w 3832826"/>
                <a:gd name="connsiteY127" fmla="*/ 1223261 h 5120141"/>
                <a:gd name="connsiteX128" fmla="*/ 1352671 w 3832826"/>
                <a:gd name="connsiteY128" fmla="*/ 1227236 h 5120141"/>
                <a:gd name="connsiteX129" fmla="*/ 1358924 w 3832826"/>
                <a:gd name="connsiteY129" fmla="*/ 1227236 h 5120141"/>
                <a:gd name="connsiteX130" fmla="*/ 1365247 w 3832826"/>
                <a:gd name="connsiteY130" fmla="*/ 1235255 h 5120141"/>
                <a:gd name="connsiteX131" fmla="*/ 1365247 w 3832826"/>
                <a:gd name="connsiteY131" fmla="*/ 1241217 h 5120141"/>
                <a:gd name="connsiteX132" fmla="*/ 1365247 w 3832826"/>
                <a:gd name="connsiteY132" fmla="*/ 1251223 h 5120141"/>
                <a:gd name="connsiteX133" fmla="*/ 1369463 w 3832826"/>
                <a:gd name="connsiteY133" fmla="*/ 1249236 h 5120141"/>
                <a:gd name="connsiteX134" fmla="*/ 1375787 w 3832826"/>
                <a:gd name="connsiteY134" fmla="*/ 1251223 h 5120141"/>
                <a:gd name="connsiteX135" fmla="*/ 1377895 w 3832826"/>
                <a:gd name="connsiteY135" fmla="*/ 1255199 h 5120141"/>
                <a:gd name="connsiteX136" fmla="*/ 1377895 w 3832826"/>
                <a:gd name="connsiteY136" fmla="*/ 1259242 h 5120141"/>
                <a:gd name="connsiteX137" fmla="*/ 1396795 w 3832826"/>
                <a:gd name="connsiteY137" fmla="*/ 1257255 h 5120141"/>
                <a:gd name="connsiteX138" fmla="*/ 1398903 w 3832826"/>
                <a:gd name="connsiteY138" fmla="*/ 1275211 h 5120141"/>
                <a:gd name="connsiteX139" fmla="*/ 1407333 w 3832826"/>
                <a:gd name="connsiteY139" fmla="*/ 1271236 h 5120141"/>
                <a:gd name="connsiteX140" fmla="*/ 1407333 w 3832826"/>
                <a:gd name="connsiteY140" fmla="*/ 1270518 h 5120141"/>
                <a:gd name="connsiteX141" fmla="*/ 1453613 w 3832826"/>
                <a:gd name="connsiteY141" fmla="*/ 1244467 h 5120141"/>
                <a:gd name="connsiteX142" fmla="*/ 1459924 w 3832826"/>
                <a:gd name="connsiteY142" fmla="*/ 1274526 h 5120141"/>
                <a:gd name="connsiteX143" fmla="*/ 1459924 w 3832826"/>
                <a:gd name="connsiteY143" fmla="*/ 1290558 h 5120141"/>
                <a:gd name="connsiteX144" fmla="*/ 1455717 w 3832826"/>
                <a:gd name="connsiteY144" fmla="*/ 1304586 h 5120141"/>
                <a:gd name="connsiteX145" fmla="*/ 1453613 w 3832826"/>
                <a:gd name="connsiteY145" fmla="*/ 1308594 h 5120141"/>
                <a:gd name="connsiteX146" fmla="*/ 1449406 w 3832826"/>
                <a:gd name="connsiteY146" fmla="*/ 1310598 h 5120141"/>
                <a:gd name="connsiteX147" fmla="*/ 1440991 w 3832826"/>
                <a:gd name="connsiteY147" fmla="*/ 1316610 h 5120141"/>
                <a:gd name="connsiteX148" fmla="*/ 1434680 w 3832826"/>
                <a:gd name="connsiteY148" fmla="*/ 1318614 h 5120141"/>
                <a:gd name="connsiteX149" fmla="*/ 1432577 w 3832826"/>
                <a:gd name="connsiteY149" fmla="*/ 1320618 h 5120141"/>
                <a:gd name="connsiteX150" fmla="*/ 1430473 w 3832826"/>
                <a:gd name="connsiteY150" fmla="*/ 1326630 h 5120141"/>
                <a:gd name="connsiteX151" fmla="*/ 1430473 w 3832826"/>
                <a:gd name="connsiteY151" fmla="*/ 1334645 h 5120141"/>
                <a:gd name="connsiteX152" fmla="*/ 1434680 w 3832826"/>
                <a:gd name="connsiteY152" fmla="*/ 1338653 h 5120141"/>
                <a:gd name="connsiteX153" fmla="*/ 1440991 w 3832826"/>
                <a:gd name="connsiteY153" fmla="*/ 1350677 h 5120141"/>
                <a:gd name="connsiteX154" fmla="*/ 1443095 w 3832826"/>
                <a:gd name="connsiteY154" fmla="*/ 1366709 h 5120141"/>
                <a:gd name="connsiteX155" fmla="*/ 1443095 w 3832826"/>
                <a:gd name="connsiteY155" fmla="*/ 1380737 h 5120141"/>
                <a:gd name="connsiteX156" fmla="*/ 1445199 w 3832826"/>
                <a:gd name="connsiteY156" fmla="*/ 1436848 h 5120141"/>
                <a:gd name="connsiteX157" fmla="*/ 1422059 w 3832826"/>
                <a:gd name="connsiteY157" fmla="*/ 1436848 h 5120141"/>
                <a:gd name="connsiteX158" fmla="*/ 1403126 w 3832826"/>
                <a:gd name="connsiteY158" fmla="*/ 1438852 h 5120141"/>
                <a:gd name="connsiteX159" fmla="*/ 1392608 w 3832826"/>
                <a:gd name="connsiteY159" fmla="*/ 1440856 h 5120141"/>
                <a:gd name="connsiteX160" fmla="*/ 1382089 w 3832826"/>
                <a:gd name="connsiteY160" fmla="*/ 1444864 h 5120141"/>
                <a:gd name="connsiteX161" fmla="*/ 1375779 w 3832826"/>
                <a:gd name="connsiteY161" fmla="*/ 1448872 h 5120141"/>
                <a:gd name="connsiteX162" fmla="*/ 1367364 w 3832826"/>
                <a:gd name="connsiteY162" fmla="*/ 1456888 h 5120141"/>
                <a:gd name="connsiteX163" fmla="*/ 1358949 w 3832826"/>
                <a:gd name="connsiteY163" fmla="*/ 1462900 h 5120141"/>
                <a:gd name="connsiteX164" fmla="*/ 1354742 w 3832826"/>
                <a:gd name="connsiteY164" fmla="*/ 1472920 h 5120141"/>
                <a:gd name="connsiteX165" fmla="*/ 1348431 w 3832826"/>
                <a:gd name="connsiteY165" fmla="*/ 1480935 h 5120141"/>
                <a:gd name="connsiteX166" fmla="*/ 1344224 w 3832826"/>
                <a:gd name="connsiteY166" fmla="*/ 1482939 h 5120141"/>
                <a:gd name="connsiteX167" fmla="*/ 1342120 w 3832826"/>
                <a:gd name="connsiteY167" fmla="*/ 1482939 h 5120141"/>
                <a:gd name="connsiteX168" fmla="*/ 1333706 w 3832826"/>
                <a:gd name="connsiteY168" fmla="*/ 1480935 h 5120141"/>
                <a:gd name="connsiteX169" fmla="*/ 1327395 w 3832826"/>
                <a:gd name="connsiteY169" fmla="*/ 1482939 h 5120141"/>
                <a:gd name="connsiteX170" fmla="*/ 1325291 w 3832826"/>
                <a:gd name="connsiteY170" fmla="*/ 1488951 h 5120141"/>
                <a:gd name="connsiteX171" fmla="*/ 1323188 w 3832826"/>
                <a:gd name="connsiteY171" fmla="*/ 1492959 h 5120141"/>
                <a:gd name="connsiteX172" fmla="*/ 1321084 w 3832826"/>
                <a:gd name="connsiteY172" fmla="*/ 1506987 h 5120141"/>
                <a:gd name="connsiteX173" fmla="*/ 1316877 w 3832826"/>
                <a:gd name="connsiteY173" fmla="*/ 1512999 h 5120141"/>
                <a:gd name="connsiteX174" fmla="*/ 1310566 w 3832826"/>
                <a:gd name="connsiteY174" fmla="*/ 1521015 h 5120141"/>
                <a:gd name="connsiteX175" fmla="*/ 1304255 w 3832826"/>
                <a:gd name="connsiteY175" fmla="*/ 1523019 h 5120141"/>
                <a:gd name="connsiteX176" fmla="*/ 1293737 w 3832826"/>
                <a:gd name="connsiteY176" fmla="*/ 1529031 h 5120141"/>
                <a:gd name="connsiteX177" fmla="*/ 1281115 w 3832826"/>
                <a:gd name="connsiteY177" fmla="*/ 1529031 h 5120141"/>
                <a:gd name="connsiteX178" fmla="*/ 1279011 w 3832826"/>
                <a:gd name="connsiteY178" fmla="*/ 1531035 h 5120141"/>
                <a:gd name="connsiteX179" fmla="*/ 1274804 w 3832826"/>
                <a:gd name="connsiteY179" fmla="*/ 1537046 h 5120141"/>
                <a:gd name="connsiteX180" fmla="*/ 1272700 w 3832826"/>
                <a:gd name="connsiteY180" fmla="*/ 1547066 h 5120141"/>
                <a:gd name="connsiteX181" fmla="*/ 1270597 w 3832826"/>
                <a:gd name="connsiteY181" fmla="*/ 1559090 h 5120141"/>
                <a:gd name="connsiteX182" fmla="*/ 1264286 w 3832826"/>
                <a:gd name="connsiteY182" fmla="*/ 1569110 h 5120141"/>
                <a:gd name="connsiteX183" fmla="*/ 1262182 w 3832826"/>
                <a:gd name="connsiteY183" fmla="*/ 1569110 h 5120141"/>
                <a:gd name="connsiteX184" fmla="*/ 1262182 w 3832826"/>
                <a:gd name="connsiteY184" fmla="*/ 1573118 h 5120141"/>
                <a:gd name="connsiteX185" fmla="*/ 1260078 w 3832826"/>
                <a:gd name="connsiteY185" fmla="*/ 1579130 h 5120141"/>
                <a:gd name="connsiteX186" fmla="*/ 1260078 w 3832826"/>
                <a:gd name="connsiteY186" fmla="*/ 1599170 h 5120141"/>
                <a:gd name="connsiteX187" fmla="*/ 1260078 w 3832826"/>
                <a:gd name="connsiteY187" fmla="*/ 1633237 h 5120141"/>
                <a:gd name="connsiteX188" fmla="*/ 1260078 w 3832826"/>
                <a:gd name="connsiteY188" fmla="*/ 1679328 h 5120141"/>
                <a:gd name="connsiteX189" fmla="*/ 1258254 w 3832826"/>
                <a:gd name="connsiteY189" fmla="*/ 1717574 h 5120141"/>
                <a:gd name="connsiteX190" fmla="*/ 1279014 w 3832826"/>
                <a:gd name="connsiteY190" fmla="*/ 1732471 h 5120141"/>
                <a:gd name="connsiteX191" fmla="*/ 1302154 w 3832826"/>
                <a:gd name="connsiteY191" fmla="*/ 1736462 h 5120141"/>
                <a:gd name="connsiteX192" fmla="*/ 1312672 w 3832826"/>
                <a:gd name="connsiteY192" fmla="*/ 1736462 h 5120141"/>
                <a:gd name="connsiteX193" fmla="*/ 1323191 w 3832826"/>
                <a:gd name="connsiteY193" fmla="*/ 1734466 h 5120141"/>
                <a:gd name="connsiteX194" fmla="*/ 1337916 w 3832826"/>
                <a:gd name="connsiteY194" fmla="*/ 1732471 h 5120141"/>
                <a:gd name="connsiteX195" fmla="*/ 1350538 w 3832826"/>
                <a:gd name="connsiteY195" fmla="*/ 1726484 h 5120141"/>
                <a:gd name="connsiteX196" fmla="*/ 1354745 w 3832826"/>
                <a:gd name="connsiteY196" fmla="*/ 1726484 h 5120141"/>
                <a:gd name="connsiteX197" fmla="*/ 1365263 w 3832826"/>
                <a:gd name="connsiteY197" fmla="*/ 1730475 h 5120141"/>
                <a:gd name="connsiteX198" fmla="*/ 1394714 w 3832826"/>
                <a:gd name="connsiteY198" fmla="*/ 1742449 h 5120141"/>
                <a:gd name="connsiteX199" fmla="*/ 1407336 w 3832826"/>
                <a:gd name="connsiteY199" fmla="*/ 1744445 h 5120141"/>
                <a:gd name="connsiteX200" fmla="*/ 1419958 w 3832826"/>
                <a:gd name="connsiteY200" fmla="*/ 1746440 h 5120141"/>
                <a:gd name="connsiteX201" fmla="*/ 1426269 w 3832826"/>
                <a:gd name="connsiteY201" fmla="*/ 1744445 h 5120141"/>
                <a:gd name="connsiteX202" fmla="*/ 1430476 w 3832826"/>
                <a:gd name="connsiteY202" fmla="*/ 1742449 h 5120141"/>
                <a:gd name="connsiteX203" fmla="*/ 1430476 w 3832826"/>
                <a:gd name="connsiteY203" fmla="*/ 1740453 h 5120141"/>
                <a:gd name="connsiteX204" fmla="*/ 1434684 w 3832826"/>
                <a:gd name="connsiteY204" fmla="*/ 1734466 h 5120141"/>
                <a:gd name="connsiteX205" fmla="*/ 1434684 w 3832826"/>
                <a:gd name="connsiteY205" fmla="*/ 1726484 h 5120141"/>
                <a:gd name="connsiteX206" fmla="*/ 1436787 w 3832826"/>
                <a:gd name="connsiteY206" fmla="*/ 1722493 h 5120141"/>
                <a:gd name="connsiteX207" fmla="*/ 1445202 w 3832826"/>
                <a:gd name="connsiteY207" fmla="*/ 1712514 h 5120141"/>
                <a:gd name="connsiteX208" fmla="*/ 1455720 w 3832826"/>
                <a:gd name="connsiteY208" fmla="*/ 1704532 h 5120141"/>
                <a:gd name="connsiteX209" fmla="*/ 1462031 w 3832826"/>
                <a:gd name="connsiteY209" fmla="*/ 1694553 h 5120141"/>
                <a:gd name="connsiteX210" fmla="*/ 1462031 w 3832826"/>
                <a:gd name="connsiteY210" fmla="*/ 1684575 h 5120141"/>
                <a:gd name="connsiteX211" fmla="*/ 1466238 w 3832826"/>
                <a:gd name="connsiteY211" fmla="*/ 1676592 h 5120141"/>
                <a:gd name="connsiteX212" fmla="*/ 1472549 w 3832826"/>
                <a:gd name="connsiteY212" fmla="*/ 1666614 h 5120141"/>
                <a:gd name="connsiteX213" fmla="*/ 1483067 w 3832826"/>
                <a:gd name="connsiteY213" fmla="*/ 1652645 h 5120141"/>
                <a:gd name="connsiteX214" fmla="*/ 1497793 w 3832826"/>
                <a:gd name="connsiteY214" fmla="*/ 1638675 h 5120141"/>
                <a:gd name="connsiteX215" fmla="*/ 1510415 w 3832826"/>
                <a:gd name="connsiteY215" fmla="*/ 1624705 h 5120141"/>
                <a:gd name="connsiteX216" fmla="*/ 1525140 w 3832826"/>
                <a:gd name="connsiteY216" fmla="*/ 1612731 h 5120141"/>
                <a:gd name="connsiteX217" fmla="*/ 1577731 w 3832826"/>
                <a:gd name="connsiteY217" fmla="*/ 1580801 h 5120141"/>
                <a:gd name="connsiteX218" fmla="*/ 1605078 w 3832826"/>
                <a:gd name="connsiteY218" fmla="*/ 1560845 h 5120141"/>
                <a:gd name="connsiteX219" fmla="*/ 1628218 w 3832826"/>
                <a:gd name="connsiteY219" fmla="*/ 1540888 h 5120141"/>
                <a:gd name="connsiteX220" fmla="*/ 1645048 w 3832826"/>
                <a:gd name="connsiteY220" fmla="*/ 1524923 h 5120141"/>
                <a:gd name="connsiteX221" fmla="*/ 1661877 w 3832826"/>
                <a:gd name="connsiteY221" fmla="*/ 1514944 h 5120141"/>
                <a:gd name="connsiteX222" fmla="*/ 1678706 w 3832826"/>
                <a:gd name="connsiteY222" fmla="*/ 1508957 h 5120141"/>
                <a:gd name="connsiteX223" fmla="*/ 1695535 w 3832826"/>
                <a:gd name="connsiteY223" fmla="*/ 1502971 h 5120141"/>
                <a:gd name="connsiteX224" fmla="*/ 1714468 w 3832826"/>
                <a:gd name="connsiteY224" fmla="*/ 1500975 h 5120141"/>
                <a:gd name="connsiteX225" fmla="*/ 1735504 w 3832826"/>
                <a:gd name="connsiteY225" fmla="*/ 1500975 h 5120141"/>
                <a:gd name="connsiteX226" fmla="*/ 1777577 w 3832826"/>
                <a:gd name="connsiteY226" fmla="*/ 1500975 h 5120141"/>
                <a:gd name="connsiteX227" fmla="*/ 2158335 w 3832826"/>
                <a:gd name="connsiteY227" fmla="*/ 1500975 h 5120141"/>
                <a:gd name="connsiteX228" fmla="*/ 2158335 w 3832826"/>
                <a:gd name="connsiteY228" fmla="*/ 1514944 h 5120141"/>
                <a:gd name="connsiteX229" fmla="*/ 2158335 w 3832826"/>
                <a:gd name="connsiteY229" fmla="*/ 1572818 h 5120141"/>
                <a:gd name="connsiteX230" fmla="*/ 2160439 w 3832826"/>
                <a:gd name="connsiteY230" fmla="*/ 1594771 h 5120141"/>
                <a:gd name="connsiteX231" fmla="*/ 2158335 w 3832826"/>
                <a:gd name="connsiteY231" fmla="*/ 1624705 h 5120141"/>
                <a:gd name="connsiteX232" fmla="*/ 2158335 w 3832826"/>
                <a:gd name="connsiteY232" fmla="*/ 1634684 h 5120141"/>
                <a:gd name="connsiteX233" fmla="*/ 2158335 w 3832826"/>
                <a:gd name="connsiteY233" fmla="*/ 1648653 h 5120141"/>
                <a:gd name="connsiteX234" fmla="*/ 2158335 w 3832826"/>
                <a:gd name="connsiteY234" fmla="*/ 1666614 h 5120141"/>
                <a:gd name="connsiteX235" fmla="*/ 2158335 w 3832826"/>
                <a:gd name="connsiteY235" fmla="*/ 1700540 h 5120141"/>
                <a:gd name="connsiteX236" fmla="*/ 2149671 w 3832826"/>
                <a:gd name="connsiteY236" fmla="*/ 1700540 h 5120141"/>
                <a:gd name="connsiteX237" fmla="*/ 2149671 w 3832826"/>
                <a:gd name="connsiteY237" fmla="*/ 1701367 h 5120141"/>
                <a:gd name="connsiteX238" fmla="*/ 2158305 w 3832826"/>
                <a:gd name="connsiteY238" fmla="*/ 1701367 h 5120141"/>
                <a:gd name="connsiteX239" fmla="*/ 2158305 w 3832826"/>
                <a:gd name="connsiteY239" fmla="*/ 1723407 h 5120141"/>
                <a:gd name="connsiteX240" fmla="*/ 2158305 w 3832826"/>
                <a:gd name="connsiteY240" fmla="*/ 1755458 h 5120141"/>
                <a:gd name="connsiteX241" fmla="*/ 2234031 w 3832826"/>
                <a:gd name="connsiteY241" fmla="*/ 1815609 h 5120141"/>
                <a:gd name="connsiteX242" fmla="*/ 2231975 w 3832826"/>
                <a:gd name="connsiteY242" fmla="*/ 1817584 h 5120141"/>
                <a:gd name="connsiteX243" fmla="*/ 2231975 w 3832826"/>
                <a:gd name="connsiteY243" fmla="*/ 1823599 h 5120141"/>
                <a:gd name="connsiteX244" fmla="*/ 2234031 w 3832826"/>
                <a:gd name="connsiteY244" fmla="*/ 1833610 h 5120141"/>
                <a:gd name="connsiteX245" fmla="*/ 2240379 w 3832826"/>
                <a:gd name="connsiteY245" fmla="*/ 1843665 h 5120141"/>
                <a:gd name="connsiteX246" fmla="*/ 2244581 w 3832826"/>
                <a:gd name="connsiteY246" fmla="*/ 1853675 h 5120141"/>
                <a:gd name="connsiteX247" fmla="*/ 2244581 w 3832826"/>
                <a:gd name="connsiteY247" fmla="*/ 1857670 h 5120141"/>
                <a:gd name="connsiteX248" fmla="*/ 2242435 w 3832826"/>
                <a:gd name="connsiteY248" fmla="*/ 1863685 h 5120141"/>
                <a:gd name="connsiteX249" fmla="*/ 2238233 w 3832826"/>
                <a:gd name="connsiteY249" fmla="*/ 1873695 h 5120141"/>
                <a:gd name="connsiteX250" fmla="*/ 2229829 w 3832826"/>
                <a:gd name="connsiteY250" fmla="*/ 1883750 h 5120141"/>
                <a:gd name="connsiteX251" fmla="*/ 2223571 w 3832826"/>
                <a:gd name="connsiteY251" fmla="*/ 1889721 h 5120141"/>
                <a:gd name="connsiteX252" fmla="*/ 2213021 w 3832826"/>
                <a:gd name="connsiteY252" fmla="*/ 1905791 h 5120141"/>
                <a:gd name="connsiteX253" fmla="*/ 2200415 w 3832826"/>
                <a:gd name="connsiteY253" fmla="*/ 1919796 h 5120141"/>
                <a:gd name="connsiteX254" fmla="*/ 2170912 w 3832826"/>
                <a:gd name="connsiteY254" fmla="*/ 1945832 h 5120141"/>
                <a:gd name="connsiteX255" fmla="*/ 2139441 w 3832826"/>
                <a:gd name="connsiteY255" fmla="*/ 1969893 h 5120141"/>
                <a:gd name="connsiteX256" fmla="*/ 2107881 w 3832826"/>
                <a:gd name="connsiteY256" fmla="*/ 1995973 h 5120141"/>
                <a:gd name="connsiteX257" fmla="*/ 2095186 w 3832826"/>
                <a:gd name="connsiteY257" fmla="*/ 1997948 h 5120141"/>
                <a:gd name="connsiteX258" fmla="*/ 2082580 w 3832826"/>
                <a:gd name="connsiteY258" fmla="*/ 2003963 h 5120141"/>
                <a:gd name="connsiteX259" fmla="*/ 2074176 w 3832826"/>
                <a:gd name="connsiteY259" fmla="*/ 2009979 h 5120141"/>
                <a:gd name="connsiteX260" fmla="*/ 2069973 w 3832826"/>
                <a:gd name="connsiteY260" fmla="*/ 2018014 h 5120141"/>
                <a:gd name="connsiteX261" fmla="*/ 2055222 w 3832826"/>
                <a:gd name="connsiteY261" fmla="*/ 2034039 h 5120141"/>
                <a:gd name="connsiteX262" fmla="*/ 2048963 w 3832826"/>
                <a:gd name="connsiteY262" fmla="*/ 2044049 h 5120141"/>
                <a:gd name="connsiteX263" fmla="*/ 2038414 w 3832826"/>
                <a:gd name="connsiteY263" fmla="*/ 2050064 h 5120141"/>
                <a:gd name="connsiteX264" fmla="*/ 2017403 w 3832826"/>
                <a:gd name="connsiteY264" fmla="*/ 2066090 h 5120141"/>
                <a:gd name="connsiteX265" fmla="*/ 1998450 w 3832826"/>
                <a:gd name="connsiteY265" fmla="*/ 2080140 h 5120141"/>
                <a:gd name="connsiteX266" fmla="*/ 1962688 w 3832826"/>
                <a:gd name="connsiteY266" fmla="*/ 2110171 h 5120141"/>
                <a:gd name="connsiteX267" fmla="*/ 1952138 w 3832826"/>
                <a:gd name="connsiteY267" fmla="*/ 2116186 h 5120141"/>
                <a:gd name="connsiteX268" fmla="*/ 1937476 w 3832826"/>
                <a:gd name="connsiteY268" fmla="*/ 2120181 h 5120141"/>
                <a:gd name="connsiteX269" fmla="*/ 1914320 w 3832826"/>
                <a:gd name="connsiteY269" fmla="*/ 2122201 h 5120141"/>
                <a:gd name="connsiteX270" fmla="*/ 1891164 w 3832826"/>
                <a:gd name="connsiteY270" fmla="*/ 2122201 h 5120141"/>
                <a:gd name="connsiteX271" fmla="*/ 1880614 w 3832826"/>
                <a:gd name="connsiteY271" fmla="*/ 2126196 h 5120141"/>
                <a:gd name="connsiteX272" fmla="*/ 1870154 w 3832826"/>
                <a:gd name="connsiteY272" fmla="*/ 2130236 h 5120141"/>
                <a:gd name="connsiteX273" fmla="*/ 1859604 w 3832826"/>
                <a:gd name="connsiteY273" fmla="*/ 2136251 h 5120141"/>
                <a:gd name="connsiteX274" fmla="*/ 1842796 w 3832826"/>
                <a:gd name="connsiteY274" fmla="*/ 2138226 h 5120141"/>
                <a:gd name="connsiteX275" fmla="*/ 1817584 w 3832826"/>
                <a:gd name="connsiteY275" fmla="*/ 2142221 h 5120141"/>
                <a:gd name="connsiteX276" fmla="*/ 1786024 w 3832826"/>
                <a:gd name="connsiteY276" fmla="*/ 2146261 h 5120141"/>
                <a:gd name="connsiteX277" fmla="*/ 1756520 w 3832826"/>
                <a:gd name="connsiteY277" fmla="*/ 2150257 h 5120141"/>
                <a:gd name="connsiteX278" fmla="*/ 1743914 w 3832826"/>
                <a:gd name="connsiteY278" fmla="*/ 2150257 h 5120141"/>
                <a:gd name="connsiteX279" fmla="*/ 1733364 w 3832826"/>
                <a:gd name="connsiteY279" fmla="*/ 2150257 h 5120141"/>
                <a:gd name="connsiteX280" fmla="*/ 1706006 w 3832826"/>
                <a:gd name="connsiteY280" fmla="*/ 2142221 h 5120141"/>
                <a:gd name="connsiteX281" fmla="*/ 1680794 w 3832826"/>
                <a:gd name="connsiteY281" fmla="*/ 2136251 h 5120141"/>
                <a:gd name="connsiteX282" fmla="*/ 1655582 w 3832826"/>
                <a:gd name="connsiteY282" fmla="*/ 2126196 h 5120141"/>
                <a:gd name="connsiteX283" fmla="*/ 1630281 w 3832826"/>
                <a:gd name="connsiteY283" fmla="*/ 2116186 h 5120141"/>
                <a:gd name="connsiteX284" fmla="*/ 1607214 w 3832826"/>
                <a:gd name="connsiteY284" fmla="*/ 2110171 h 5120141"/>
                <a:gd name="connsiteX285" fmla="*/ 1594519 w 3832826"/>
                <a:gd name="connsiteY285" fmla="*/ 2110171 h 5120141"/>
                <a:gd name="connsiteX286" fmla="*/ 1584058 w 3832826"/>
                <a:gd name="connsiteY286" fmla="*/ 2112191 h 5120141"/>
                <a:gd name="connsiteX287" fmla="*/ 1573508 w 3832826"/>
                <a:gd name="connsiteY287" fmla="*/ 2116186 h 5120141"/>
                <a:gd name="connsiteX288" fmla="*/ 1560902 w 3832826"/>
                <a:gd name="connsiteY288" fmla="*/ 2120181 h 5120141"/>
                <a:gd name="connsiteX289" fmla="*/ 1544094 w 3832826"/>
                <a:gd name="connsiteY289" fmla="*/ 2128216 h 5120141"/>
                <a:gd name="connsiteX290" fmla="*/ 1529342 w 3832826"/>
                <a:gd name="connsiteY290" fmla="*/ 2136251 h 5120141"/>
                <a:gd name="connsiteX291" fmla="*/ 1499928 w 3832826"/>
                <a:gd name="connsiteY291" fmla="*/ 2140246 h 5120141"/>
                <a:gd name="connsiteX292" fmla="*/ 1497783 w 3832826"/>
                <a:gd name="connsiteY292" fmla="*/ 2140246 h 5120141"/>
                <a:gd name="connsiteX293" fmla="*/ 1483031 w 3832826"/>
                <a:gd name="connsiteY293" fmla="*/ 2140246 h 5120141"/>
                <a:gd name="connsiteX294" fmla="*/ 1468368 w 3832826"/>
                <a:gd name="connsiteY294" fmla="*/ 2140246 h 5120141"/>
                <a:gd name="connsiteX295" fmla="*/ 1451471 w 3832826"/>
                <a:gd name="connsiteY295" fmla="*/ 2142221 h 5120141"/>
                <a:gd name="connsiteX296" fmla="*/ 1447269 w 3832826"/>
                <a:gd name="connsiteY296" fmla="*/ 2146261 h 5120141"/>
                <a:gd name="connsiteX297" fmla="*/ 1440991 w 3832826"/>
                <a:gd name="connsiteY297" fmla="*/ 2149246 h 5120141"/>
                <a:gd name="connsiteX298" fmla="*/ 1440991 w 3832826"/>
                <a:gd name="connsiteY298" fmla="*/ 2319937 h 5120141"/>
                <a:gd name="connsiteX299" fmla="*/ 1445196 w 3832826"/>
                <a:gd name="connsiteY299" fmla="*/ 2330619 h 5120141"/>
                <a:gd name="connsiteX300" fmla="*/ 1449403 w 3832826"/>
                <a:gd name="connsiteY300" fmla="*/ 2344647 h 5120141"/>
                <a:gd name="connsiteX301" fmla="*/ 1462025 w 3832826"/>
                <a:gd name="connsiteY301" fmla="*/ 2378715 h 5120141"/>
                <a:gd name="connsiteX302" fmla="*/ 1480958 w 3832826"/>
                <a:gd name="connsiteY302" fmla="*/ 2438834 h 5120141"/>
                <a:gd name="connsiteX303" fmla="*/ 1493580 w 3832826"/>
                <a:gd name="connsiteY303" fmla="*/ 2468893 h 5120141"/>
                <a:gd name="connsiteX304" fmla="*/ 1499891 w 3832826"/>
                <a:gd name="connsiteY304" fmla="*/ 2480917 h 5120141"/>
                <a:gd name="connsiteX305" fmla="*/ 1508305 w 3832826"/>
                <a:gd name="connsiteY305" fmla="*/ 2492941 h 5120141"/>
                <a:gd name="connsiteX306" fmla="*/ 1508308 w 3832826"/>
                <a:gd name="connsiteY306" fmla="*/ 2490937 h 5120141"/>
                <a:gd name="connsiteX307" fmla="*/ 1703947 w 3832826"/>
                <a:gd name="connsiteY307" fmla="*/ 2693337 h 5120141"/>
                <a:gd name="connsiteX308" fmla="*/ 1800715 w 3832826"/>
                <a:gd name="connsiteY308" fmla="*/ 2777503 h 5120141"/>
                <a:gd name="connsiteX309" fmla="*/ 1821751 w 3832826"/>
                <a:gd name="connsiteY309" fmla="*/ 2793535 h 5120141"/>
                <a:gd name="connsiteX310" fmla="*/ 1846995 w 3832826"/>
                <a:gd name="connsiteY310" fmla="*/ 2807563 h 5120141"/>
                <a:gd name="connsiteX311" fmla="*/ 1868031 w 3832826"/>
                <a:gd name="connsiteY311" fmla="*/ 2827603 h 5120141"/>
                <a:gd name="connsiteX312" fmla="*/ 1874342 w 3832826"/>
                <a:gd name="connsiteY312" fmla="*/ 2837622 h 5120141"/>
                <a:gd name="connsiteX313" fmla="*/ 1882757 w 3832826"/>
                <a:gd name="connsiteY313" fmla="*/ 2847642 h 5120141"/>
                <a:gd name="connsiteX314" fmla="*/ 1882757 w 3832826"/>
                <a:gd name="connsiteY314" fmla="*/ 2857662 h 5120141"/>
                <a:gd name="connsiteX315" fmla="*/ 1871663 w 3832826"/>
                <a:gd name="connsiteY315" fmla="*/ 2862688 h 5120141"/>
                <a:gd name="connsiteX316" fmla="*/ 1920621 w 3832826"/>
                <a:gd name="connsiteY316" fmla="*/ 2925780 h 5120141"/>
                <a:gd name="connsiteX317" fmla="*/ 1937450 w 3832826"/>
                <a:gd name="connsiteY317" fmla="*/ 2955859 h 5120141"/>
                <a:gd name="connsiteX318" fmla="*/ 1956383 w 3832826"/>
                <a:gd name="connsiteY318" fmla="*/ 2987924 h 5120141"/>
                <a:gd name="connsiteX319" fmla="*/ 1964798 w 3832826"/>
                <a:gd name="connsiteY319" fmla="*/ 2997927 h 5120141"/>
                <a:gd name="connsiteX320" fmla="*/ 1969005 w 3832826"/>
                <a:gd name="connsiteY320" fmla="*/ 3009986 h 5120141"/>
                <a:gd name="connsiteX321" fmla="*/ 1977420 w 3832826"/>
                <a:gd name="connsiteY321" fmla="*/ 3038008 h 5120141"/>
                <a:gd name="connsiteX322" fmla="*/ 1985834 w 3832826"/>
                <a:gd name="connsiteY322" fmla="*/ 3066100 h 5120141"/>
                <a:gd name="connsiteX323" fmla="*/ 1994249 w 3832826"/>
                <a:gd name="connsiteY323" fmla="*/ 3078089 h 5120141"/>
                <a:gd name="connsiteX324" fmla="*/ 2004767 w 3832826"/>
                <a:gd name="connsiteY324" fmla="*/ 3090149 h 5120141"/>
                <a:gd name="connsiteX325" fmla="*/ 2008974 w 3832826"/>
                <a:gd name="connsiteY325" fmla="*/ 3100152 h 5120141"/>
                <a:gd name="connsiteX326" fmla="*/ 2017389 w 3832826"/>
                <a:gd name="connsiteY326" fmla="*/ 3110155 h 5120141"/>
                <a:gd name="connsiteX327" fmla="*/ 2023700 w 3832826"/>
                <a:gd name="connsiteY327" fmla="*/ 3136190 h 5120141"/>
                <a:gd name="connsiteX328" fmla="*/ 2032114 w 3832826"/>
                <a:gd name="connsiteY328" fmla="*/ 3158252 h 5120141"/>
                <a:gd name="connsiteX329" fmla="*/ 2040529 w 3832826"/>
                <a:gd name="connsiteY329" fmla="*/ 3168255 h 5120141"/>
                <a:gd name="connsiteX330" fmla="*/ 2048944 w 3832826"/>
                <a:gd name="connsiteY330" fmla="*/ 3174285 h 5120141"/>
                <a:gd name="connsiteX331" fmla="*/ 2059462 w 3832826"/>
                <a:gd name="connsiteY331" fmla="*/ 3180315 h 5120141"/>
                <a:gd name="connsiteX332" fmla="*/ 2069980 w 3832826"/>
                <a:gd name="connsiteY332" fmla="*/ 3180315 h 5120141"/>
                <a:gd name="connsiteX333" fmla="*/ 2082602 w 3832826"/>
                <a:gd name="connsiteY333" fmla="*/ 3182301 h 5120141"/>
                <a:gd name="connsiteX334" fmla="*/ 2095224 w 3832826"/>
                <a:gd name="connsiteY334" fmla="*/ 3184288 h 5120141"/>
                <a:gd name="connsiteX335" fmla="*/ 2105742 w 3832826"/>
                <a:gd name="connsiteY335" fmla="*/ 3190318 h 5120141"/>
                <a:gd name="connsiteX336" fmla="*/ 2114156 w 3832826"/>
                <a:gd name="connsiteY336" fmla="*/ 3198334 h 5120141"/>
                <a:gd name="connsiteX337" fmla="*/ 2122571 w 3832826"/>
                <a:gd name="connsiteY337" fmla="*/ 3204364 h 5120141"/>
                <a:gd name="connsiteX338" fmla="*/ 2132508 w 3832826"/>
                <a:gd name="connsiteY338" fmla="*/ 3211937 h 5120141"/>
                <a:gd name="connsiteX339" fmla="*/ 2133090 w 3832826"/>
                <a:gd name="connsiteY339" fmla="*/ 3211201 h 5120141"/>
                <a:gd name="connsiteX340" fmla="*/ 2210924 w 3832826"/>
                <a:gd name="connsiteY340" fmla="*/ 3145234 h 5120141"/>
                <a:gd name="connsiteX341" fmla="*/ 2286655 w 3832826"/>
                <a:gd name="connsiteY341" fmla="*/ 3071271 h 5120141"/>
                <a:gd name="connsiteX342" fmla="*/ 2316106 w 3832826"/>
                <a:gd name="connsiteY342" fmla="*/ 3045284 h 5120141"/>
                <a:gd name="connsiteX343" fmla="*/ 2332935 w 3832826"/>
                <a:gd name="connsiteY343" fmla="*/ 3035289 h 5120141"/>
                <a:gd name="connsiteX344" fmla="*/ 2343453 w 3832826"/>
                <a:gd name="connsiteY344" fmla="*/ 3031291 h 5120141"/>
                <a:gd name="connsiteX345" fmla="*/ 2349764 w 3832826"/>
                <a:gd name="connsiteY345" fmla="*/ 3029292 h 5120141"/>
                <a:gd name="connsiteX346" fmla="*/ 2381318 w 3832826"/>
                <a:gd name="connsiteY346" fmla="*/ 3031291 h 5120141"/>
                <a:gd name="connsiteX347" fmla="*/ 2398148 w 3832826"/>
                <a:gd name="connsiteY347" fmla="*/ 3029292 h 5120141"/>
                <a:gd name="connsiteX348" fmla="*/ 2402355 w 3832826"/>
                <a:gd name="connsiteY348" fmla="*/ 3029292 h 5120141"/>
                <a:gd name="connsiteX349" fmla="*/ 2404458 w 3832826"/>
                <a:gd name="connsiteY349" fmla="*/ 3027293 h 5120141"/>
                <a:gd name="connsiteX350" fmla="*/ 2404458 w 3832826"/>
                <a:gd name="connsiteY350" fmla="*/ 3007303 h 5120141"/>
                <a:gd name="connsiteX351" fmla="*/ 2408666 w 3832826"/>
                <a:gd name="connsiteY351" fmla="*/ 2997308 h 5120141"/>
                <a:gd name="connsiteX352" fmla="*/ 2410769 w 3832826"/>
                <a:gd name="connsiteY352" fmla="*/ 2995309 h 5120141"/>
                <a:gd name="connsiteX353" fmla="*/ 2414977 w 3832826"/>
                <a:gd name="connsiteY353" fmla="*/ 2991311 h 5120141"/>
                <a:gd name="connsiteX354" fmla="*/ 2423391 w 3832826"/>
                <a:gd name="connsiteY354" fmla="*/ 2991311 h 5120141"/>
                <a:gd name="connsiteX355" fmla="*/ 2425495 w 3832826"/>
                <a:gd name="connsiteY355" fmla="*/ 2987313 h 5120141"/>
                <a:gd name="connsiteX356" fmla="*/ 2429702 w 3832826"/>
                <a:gd name="connsiteY356" fmla="*/ 2985314 h 5120141"/>
                <a:gd name="connsiteX357" fmla="*/ 2429702 w 3832826"/>
                <a:gd name="connsiteY357" fmla="*/ 2979317 h 5120141"/>
                <a:gd name="connsiteX358" fmla="*/ 2429702 w 3832826"/>
                <a:gd name="connsiteY358" fmla="*/ 2977318 h 5120141"/>
                <a:gd name="connsiteX359" fmla="*/ 2431806 w 3832826"/>
                <a:gd name="connsiteY359" fmla="*/ 2971321 h 5120141"/>
                <a:gd name="connsiteX360" fmla="*/ 2433909 w 3832826"/>
                <a:gd name="connsiteY360" fmla="*/ 2969322 h 5120141"/>
                <a:gd name="connsiteX361" fmla="*/ 2442324 w 3832826"/>
                <a:gd name="connsiteY361" fmla="*/ 2967323 h 5120141"/>
                <a:gd name="connsiteX362" fmla="*/ 2452842 w 3832826"/>
                <a:gd name="connsiteY362" fmla="*/ 2967323 h 5120141"/>
                <a:gd name="connsiteX363" fmla="*/ 2454946 w 3832826"/>
                <a:gd name="connsiteY363" fmla="*/ 2965324 h 5120141"/>
                <a:gd name="connsiteX364" fmla="*/ 2457049 w 3832826"/>
                <a:gd name="connsiteY364" fmla="*/ 2961326 h 5120141"/>
                <a:gd name="connsiteX365" fmla="*/ 2457049 w 3832826"/>
                <a:gd name="connsiteY365" fmla="*/ 2941336 h 5120141"/>
                <a:gd name="connsiteX366" fmla="*/ 2461257 w 3832826"/>
                <a:gd name="connsiteY366" fmla="*/ 2927343 h 5120141"/>
                <a:gd name="connsiteX367" fmla="*/ 2463360 w 3832826"/>
                <a:gd name="connsiteY367" fmla="*/ 2917348 h 5120141"/>
                <a:gd name="connsiteX368" fmla="*/ 2467567 w 3832826"/>
                <a:gd name="connsiteY368" fmla="*/ 2907353 h 5120141"/>
                <a:gd name="connsiteX369" fmla="*/ 2473878 w 3832826"/>
                <a:gd name="connsiteY369" fmla="*/ 2899357 h 5120141"/>
                <a:gd name="connsiteX370" fmla="*/ 2488604 w 3832826"/>
                <a:gd name="connsiteY370" fmla="*/ 2885364 h 5120141"/>
                <a:gd name="connsiteX371" fmla="*/ 2509640 w 3832826"/>
                <a:gd name="connsiteY371" fmla="*/ 2865374 h 5120141"/>
                <a:gd name="connsiteX372" fmla="*/ 2646376 w 3832826"/>
                <a:gd name="connsiteY372" fmla="*/ 2743436 h 5120141"/>
                <a:gd name="connsiteX373" fmla="*/ 2650584 w 3832826"/>
                <a:gd name="connsiteY373" fmla="*/ 2755430 h 5120141"/>
                <a:gd name="connsiteX374" fmla="*/ 2654791 w 3832826"/>
                <a:gd name="connsiteY374" fmla="*/ 2765425 h 5120141"/>
                <a:gd name="connsiteX375" fmla="*/ 2663205 w 3832826"/>
                <a:gd name="connsiteY375" fmla="*/ 2773421 h 5120141"/>
                <a:gd name="connsiteX376" fmla="*/ 2671620 w 3832826"/>
                <a:gd name="connsiteY376" fmla="*/ 2773421 h 5120141"/>
                <a:gd name="connsiteX377" fmla="*/ 2675827 w 3832826"/>
                <a:gd name="connsiteY377" fmla="*/ 2775420 h 5120141"/>
                <a:gd name="connsiteX378" fmla="*/ 2688449 w 3832826"/>
                <a:gd name="connsiteY378" fmla="*/ 2779418 h 5120141"/>
                <a:gd name="connsiteX379" fmla="*/ 2696863 w 3832826"/>
                <a:gd name="connsiteY379" fmla="*/ 2785415 h 5120141"/>
                <a:gd name="connsiteX380" fmla="*/ 2701071 w 3832826"/>
                <a:gd name="connsiteY380" fmla="*/ 2787414 h 5120141"/>
                <a:gd name="connsiteX381" fmla="*/ 2709485 w 3832826"/>
                <a:gd name="connsiteY381" fmla="*/ 2785415 h 5120141"/>
                <a:gd name="connsiteX382" fmla="*/ 2715796 w 3832826"/>
                <a:gd name="connsiteY382" fmla="*/ 2779418 h 5120141"/>
                <a:gd name="connsiteX383" fmla="*/ 2722107 w 3832826"/>
                <a:gd name="connsiteY383" fmla="*/ 2775420 h 5120141"/>
                <a:gd name="connsiteX384" fmla="*/ 2728418 w 3832826"/>
                <a:gd name="connsiteY384" fmla="*/ 2773421 h 5120141"/>
                <a:gd name="connsiteX385" fmla="*/ 2747351 w 3832826"/>
                <a:gd name="connsiteY385" fmla="*/ 2769423 h 5120141"/>
                <a:gd name="connsiteX386" fmla="*/ 2764180 w 3832826"/>
                <a:gd name="connsiteY386" fmla="*/ 2773421 h 5120141"/>
                <a:gd name="connsiteX387" fmla="*/ 2783112 w 3832826"/>
                <a:gd name="connsiteY387" fmla="*/ 2779418 h 5120141"/>
                <a:gd name="connsiteX388" fmla="*/ 2795734 w 3832826"/>
                <a:gd name="connsiteY388" fmla="*/ 2793411 h 5120141"/>
                <a:gd name="connsiteX389" fmla="*/ 2799942 w 3832826"/>
                <a:gd name="connsiteY389" fmla="*/ 2793411 h 5120141"/>
                <a:gd name="connsiteX390" fmla="*/ 2804149 w 3832826"/>
                <a:gd name="connsiteY390" fmla="*/ 2805405 h 5120141"/>
                <a:gd name="connsiteX391" fmla="*/ 2812563 w 3832826"/>
                <a:gd name="connsiteY391" fmla="*/ 2817399 h 5120141"/>
                <a:gd name="connsiteX392" fmla="*/ 2825185 w 3832826"/>
                <a:gd name="connsiteY392" fmla="*/ 2845384 h 5120141"/>
                <a:gd name="connsiteX393" fmla="*/ 2835703 w 3832826"/>
                <a:gd name="connsiteY393" fmla="*/ 2873370 h 5120141"/>
                <a:gd name="connsiteX394" fmla="*/ 2842014 w 3832826"/>
                <a:gd name="connsiteY394" fmla="*/ 2885364 h 5120141"/>
                <a:gd name="connsiteX395" fmla="*/ 2847737 w 3832826"/>
                <a:gd name="connsiteY395" fmla="*/ 2896240 h 5120141"/>
                <a:gd name="connsiteX396" fmla="*/ 2848292 w 3832826"/>
                <a:gd name="connsiteY396" fmla="*/ 2895738 h 5120141"/>
                <a:gd name="connsiteX397" fmla="*/ 2873502 w 3832826"/>
                <a:gd name="connsiteY397" fmla="*/ 2911778 h 5120141"/>
                <a:gd name="connsiteX398" fmla="*/ 2898892 w 3832826"/>
                <a:gd name="connsiteY398" fmla="*/ 2921802 h 5120141"/>
                <a:gd name="connsiteX399" fmla="*/ 2921942 w 3832826"/>
                <a:gd name="connsiteY399" fmla="*/ 2935837 h 5120141"/>
                <a:gd name="connsiteX400" fmla="*/ 2932386 w 3832826"/>
                <a:gd name="connsiteY400" fmla="*/ 2943857 h 5120141"/>
                <a:gd name="connsiteX401" fmla="*/ 2943010 w 3832826"/>
                <a:gd name="connsiteY401" fmla="*/ 2953882 h 5120141"/>
                <a:gd name="connsiteX402" fmla="*/ 2957776 w 3832826"/>
                <a:gd name="connsiteY402" fmla="*/ 2965912 h 5120141"/>
                <a:gd name="connsiteX403" fmla="*/ 2964078 w 3832826"/>
                <a:gd name="connsiteY403" fmla="*/ 2973932 h 5120141"/>
                <a:gd name="connsiteX404" fmla="*/ 2970381 w 3832826"/>
                <a:gd name="connsiteY404" fmla="*/ 2977942 h 5120141"/>
                <a:gd name="connsiteX405" fmla="*/ 2985147 w 3832826"/>
                <a:gd name="connsiteY405" fmla="*/ 2979947 h 5120141"/>
                <a:gd name="connsiteX406" fmla="*/ 2995591 w 3832826"/>
                <a:gd name="connsiteY406" fmla="*/ 2979947 h 5120141"/>
                <a:gd name="connsiteX407" fmla="*/ 3006035 w 3832826"/>
                <a:gd name="connsiteY407" fmla="*/ 2983957 h 5120141"/>
                <a:gd name="connsiteX408" fmla="*/ 3018640 w 3832826"/>
                <a:gd name="connsiteY408" fmla="*/ 2993981 h 5120141"/>
                <a:gd name="connsiteX409" fmla="*/ 3024942 w 3832826"/>
                <a:gd name="connsiteY409" fmla="*/ 2999996 h 5120141"/>
                <a:gd name="connsiteX410" fmla="*/ 3027103 w 3832826"/>
                <a:gd name="connsiteY410" fmla="*/ 3006011 h 5120141"/>
                <a:gd name="connsiteX411" fmla="*/ 3027103 w 3832826"/>
                <a:gd name="connsiteY411" fmla="*/ 3008016 h 5120141"/>
                <a:gd name="connsiteX412" fmla="*/ 3024942 w 3832826"/>
                <a:gd name="connsiteY412" fmla="*/ 3014031 h 5120141"/>
                <a:gd name="connsiteX413" fmla="*/ 3018640 w 3832826"/>
                <a:gd name="connsiteY413" fmla="*/ 3020046 h 5120141"/>
                <a:gd name="connsiteX414" fmla="*/ 3014498 w 3832826"/>
                <a:gd name="connsiteY414" fmla="*/ 3029937 h 5120141"/>
                <a:gd name="connsiteX415" fmla="*/ 3014498 w 3832826"/>
                <a:gd name="connsiteY415" fmla="*/ 3043972 h 5120141"/>
                <a:gd name="connsiteX416" fmla="*/ 3014498 w 3832826"/>
                <a:gd name="connsiteY416" fmla="*/ 3049987 h 5120141"/>
                <a:gd name="connsiteX417" fmla="*/ 3024942 w 3832826"/>
                <a:gd name="connsiteY417" fmla="*/ 3074047 h 5120141"/>
                <a:gd name="connsiteX418" fmla="*/ 3024942 w 3832826"/>
                <a:gd name="connsiteY418" fmla="*/ 3084071 h 5120141"/>
                <a:gd name="connsiteX419" fmla="*/ 3022962 w 3832826"/>
                <a:gd name="connsiteY419" fmla="*/ 3088081 h 5120141"/>
                <a:gd name="connsiteX420" fmla="*/ 3022962 w 3832826"/>
                <a:gd name="connsiteY420" fmla="*/ 3090086 h 5120141"/>
                <a:gd name="connsiteX421" fmla="*/ 3024942 w 3832826"/>
                <a:gd name="connsiteY421" fmla="*/ 3094096 h 5120141"/>
                <a:gd name="connsiteX422" fmla="*/ 3033406 w 3832826"/>
                <a:gd name="connsiteY422" fmla="*/ 3100111 h 5120141"/>
                <a:gd name="connsiteX423" fmla="*/ 3046011 w 3832826"/>
                <a:gd name="connsiteY423" fmla="*/ 3106126 h 5120141"/>
                <a:gd name="connsiteX424" fmla="*/ 3056635 w 3832826"/>
                <a:gd name="connsiteY424" fmla="*/ 3108131 h 5120141"/>
                <a:gd name="connsiteX425" fmla="*/ 3064918 w 3832826"/>
                <a:gd name="connsiteY425" fmla="*/ 3110136 h 5120141"/>
                <a:gd name="connsiteX426" fmla="*/ 3075542 w 3832826"/>
                <a:gd name="connsiteY426" fmla="*/ 3118156 h 5120141"/>
                <a:gd name="connsiteX427" fmla="*/ 3088147 w 3832826"/>
                <a:gd name="connsiteY427" fmla="*/ 3138206 h 5120141"/>
                <a:gd name="connsiteX428" fmla="*/ 3096611 w 3832826"/>
                <a:gd name="connsiteY428" fmla="*/ 3152240 h 5120141"/>
                <a:gd name="connsiteX429" fmla="*/ 3096611 w 3832826"/>
                <a:gd name="connsiteY429" fmla="*/ 3162265 h 5120141"/>
                <a:gd name="connsiteX430" fmla="*/ 3096611 w 3832826"/>
                <a:gd name="connsiteY430" fmla="*/ 3166275 h 5120141"/>
                <a:gd name="connsiteX431" fmla="*/ 3090308 w 3832826"/>
                <a:gd name="connsiteY431" fmla="*/ 3168280 h 5120141"/>
                <a:gd name="connsiteX432" fmla="*/ 3088147 w 3832826"/>
                <a:gd name="connsiteY432" fmla="*/ 3168280 h 5120141"/>
                <a:gd name="connsiteX433" fmla="*/ 3085987 w 3832826"/>
                <a:gd name="connsiteY433" fmla="*/ 3170285 h 5120141"/>
                <a:gd name="connsiteX434" fmla="*/ 3085987 w 3832826"/>
                <a:gd name="connsiteY434" fmla="*/ 3178305 h 5120141"/>
                <a:gd name="connsiteX435" fmla="*/ 3088147 w 3832826"/>
                <a:gd name="connsiteY435" fmla="*/ 3182315 h 5120141"/>
                <a:gd name="connsiteX436" fmla="*/ 3090308 w 3832826"/>
                <a:gd name="connsiteY436" fmla="*/ 3186325 h 5120141"/>
                <a:gd name="connsiteX437" fmla="*/ 3092289 w 3832826"/>
                <a:gd name="connsiteY437" fmla="*/ 3190335 h 5120141"/>
                <a:gd name="connsiteX438" fmla="*/ 3098592 w 3832826"/>
                <a:gd name="connsiteY438" fmla="*/ 3208380 h 5120141"/>
                <a:gd name="connsiteX439" fmla="*/ 3102913 w 3832826"/>
                <a:gd name="connsiteY439" fmla="*/ 3222415 h 5120141"/>
                <a:gd name="connsiteX440" fmla="*/ 3107055 w 3832826"/>
                <a:gd name="connsiteY440" fmla="*/ 3238454 h 5120141"/>
                <a:gd name="connsiteX441" fmla="*/ 3109216 w 3832826"/>
                <a:gd name="connsiteY441" fmla="*/ 3246474 h 5120141"/>
                <a:gd name="connsiteX442" fmla="*/ 3113357 w 3832826"/>
                <a:gd name="connsiteY442" fmla="*/ 3248479 h 5120141"/>
                <a:gd name="connsiteX443" fmla="*/ 3130284 w 3832826"/>
                <a:gd name="connsiteY443" fmla="*/ 3252489 h 5120141"/>
                <a:gd name="connsiteX444" fmla="*/ 3159636 w 3832826"/>
                <a:gd name="connsiteY444" fmla="*/ 3266524 h 5120141"/>
                <a:gd name="connsiteX445" fmla="*/ 3187007 w 3832826"/>
                <a:gd name="connsiteY445" fmla="*/ 3278554 h 5120141"/>
                <a:gd name="connsiteX446" fmla="*/ 3214377 w 3832826"/>
                <a:gd name="connsiteY446" fmla="*/ 3296598 h 5120141"/>
                <a:gd name="connsiteX447" fmla="*/ 3243729 w 3832826"/>
                <a:gd name="connsiteY447" fmla="*/ 3308495 h 5120141"/>
                <a:gd name="connsiteX448" fmla="*/ 3250032 w 3832826"/>
                <a:gd name="connsiteY448" fmla="*/ 3312505 h 5120141"/>
                <a:gd name="connsiteX449" fmla="*/ 3260656 w 3832826"/>
                <a:gd name="connsiteY449" fmla="*/ 3326539 h 5120141"/>
                <a:gd name="connsiteX450" fmla="*/ 3269119 w 3832826"/>
                <a:gd name="connsiteY450" fmla="*/ 3338569 h 5120141"/>
                <a:gd name="connsiteX451" fmla="*/ 3275422 w 3832826"/>
                <a:gd name="connsiteY451" fmla="*/ 3352604 h 5120141"/>
                <a:gd name="connsiteX452" fmla="*/ 3285866 w 3832826"/>
                <a:gd name="connsiteY452" fmla="*/ 3384684 h 5120141"/>
                <a:gd name="connsiteX453" fmla="*/ 3292168 w 3832826"/>
                <a:gd name="connsiteY453" fmla="*/ 3410748 h 5120141"/>
                <a:gd name="connsiteX454" fmla="*/ 3300632 w 3832826"/>
                <a:gd name="connsiteY454" fmla="*/ 3434808 h 5120141"/>
                <a:gd name="connsiteX455" fmla="*/ 3309095 w 3832826"/>
                <a:gd name="connsiteY455" fmla="*/ 3458868 h 5120141"/>
                <a:gd name="connsiteX456" fmla="*/ 3311076 w 3832826"/>
                <a:gd name="connsiteY456" fmla="*/ 3468892 h 5120141"/>
                <a:gd name="connsiteX457" fmla="*/ 3313237 w 3832826"/>
                <a:gd name="connsiteY457" fmla="*/ 3474907 h 5120141"/>
                <a:gd name="connsiteX458" fmla="*/ 3313237 w 3832826"/>
                <a:gd name="connsiteY458" fmla="*/ 3478917 h 5120141"/>
                <a:gd name="connsiteX459" fmla="*/ 3309095 w 3832826"/>
                <a:gd name="connsiteY459" fmla="*/ 3482927 h 5120141"/>
                <a:gd name="connsiteX460" fmla="*/ 3302793 w 3832826"/>
                <a:gd name="connsiteY460" fmla="*/ 3488942 h 5120141"/>
                <a:gd name="connsiteX461" fmla="*/ 3296310 w 3832826"/>
                <a:gd name="connsiteY461" fmla="*/ 3490947 h 5120141"/>
                <a:gd name="connsiteX462" fmla="*/ 3296310 w 3832826"/>
                <a:gd name="connsiteY462" fmla="*/ 3498967 h 5120141"/>
                <a:gd name="connsiteX463" fmla="*/ 3296310 w 3832826"/>
                <a:gd name="connsiteY463" fmla="*/ 3508992 h 5120141"/>
                <a:gd name="connsiteX464" fmla="*/ 3300632 w 3832826"/>
                <a:gd name="connsiteY464" fmla="*/ 3531047 h 5120141"/>
                <a:gd name="connsiteX465" fmla="*/ 3309095 w 3832826"/>
                <a:gd name="connsiteY465" fmla="*/ 3553101 h 5120141"/>
                <a:gd name="connsiteX466" fmla="*/ 3313237 w 3832826"/>
                <a:gd name="connsiteY466" fmla="*/ 3563126 h 5120141"/>
                <a:gd name="connsiteX467" fmla="*/ 3319539 w 3832826"/>
                <a:gd name="connsiteY467" fmla="*/ 3567002 h 5120141"/>
                <a:gd name="connsiteX468" fmla="*/ 3317645 w 3832826"/>
                <a:gd name="connsiteY468" fmla="*/ 3567042 h 5120141"/>
                <a:gd name="connsiteX469" fmla="*/ 3330079 w 3832826"/>
                <a:gd name="connsiteY469" fmla="*/ 3577062 h 5120141"/>
                <a:gd name="connsiteX470" fmla="*/ 3334316 w 3832826"/>
                <a:gd name="connsiteY470" fmla="*/ 3585058 h 5120141"/>
                <a:gd name="connsiteX471" fmla="*/ 3334316 w 3832826"/>
                <a:gd name="connsiteY471" fmla="*/ 3593054 h 5120141"/>
                <a:gd name="connsiteX472" fmla="*/ 3334316 w 3832826"/>
                <a:gd name="connsiteY472" fmla="*/ 3603030 h 5120141"/>
                <a:gd name="connsiteX473" fmla="*/ 3332198 w 3832826"/>
                <a:gd name="connsiteY473" fmla="*/ 3607066 h 5120141"/>
                <a:gd name="connsiteX474" fmla="*/ 3323724 w 3832826"/>
                <a:gd name="connsiteY474" fmla="*/ 3609046 h 5120141"/>
                <a:gd name="connsiteX475" fmla="*/ 3319599 w 3832826"/>
                <a:gd name="connsiteY475" fmla="*/ 3613006 h 5120141"/>
                <a:gd name="connsiteX476" fmla="*/ 3319599 w 3832826"/>
                <a:gd name="connsiteY476" fmla="*/ 3617042 h 5120141"/>
                <a:gd name="connsiteX477" fmla="*/ 3319599 w 3832826"/>
                <a:gd name="connsiteY477" fmla="*/ 3619021 h 5120141"/>
                <a:gd name="connsiteX478" fmla="*/ 3323724 w 3832826"/>
                <a:gd name="connsiteY478" fmla="*/ 3625037 h 5120141"/>
                <a:gd name="connsiteX479" fmla="*/ 3330079 w 3832826"/>
                <a:gd name="connsiteY479" fmla="*/ 3627017 h 5120141"/>
                <a:gd name="connsiteX480" fmla="*/ 3332198 w 3832826"/>
                <a:gd name="connsiteY480" fmla="*/ 3628997 h 5120141"/>
                <a:gd name="connsiteX481" fmla="*/ 3340560 w 3832826"/>
                <a:gd name="connsiteY481" fmla="*/ 3644989 h 5120141"/>
                <a:gd name="connsiteX482" fmla="*/ 3351151 w 3832826"/>
                <a:gd name="connsiteY482" fmla="*/ 3657021 h 5120141"/>
                <a:gd name="connsiteX483" fmla="*/ 3372112 w 3832826"/>
                <a:gd name="connsiteY483" fmla="*/ 3684968 h 5120141"/>
                <a:gd name="connsiteX484" fmla="*/ 3372112 w 3832826"/>
                <a:gd name="connsiteY484" fmla="*/ 3687024 h 5120141"/>
                <a:gd name="connsiteX485" fmla="*/ 3372112 w 3832826"/>
                <a:gd name="connsiteY485" fmla="*/ 3689004 h 5120141"/>
                <a:gd name="connsiteX486" fmla="*/ 3367875 w 3832826"/>
                <a:gd name="connsiteY486" fmla="*/ 3695020 h 5120141"/>
                <a:gd name="connsiteX487" fmla="*/ 3363750 w 3832826"/>
                <a:gd name="connsiteY487" fmla="*/ 3703016 h 5120141"/>
                <a:gd name="connsiteX488" fmla="*/ 3363750 w 3832826"/>
                <a:gd name="connsiteY488" fmla="*/ 3704996 h 5120141"/>
                <a:gd name="connsiteX489" fmla="*/ 3363750 w 3832826"/>
                <a:gd name="connsiteY489" fmla="*/ 3706976 h 5120141"/>
                <a:gd name="connsiteX490" fmla="*/ 3367875 w 3832826"/>
                <a:gd name="connsiteY490" fmla="*/ 3716951 h 5120141"/>
                <a:gd name="connsiteX491" fmla="*/ 3374230 w 3832826"/>
                <a:gd name="connsiteY491" fmla="*/ 3722967 h 5120141"/>
                <a:gd name="connsiteX492" fmla="*/ 3382704 w 3832826"/>
                <a:gd name="connsiteY492" fmla="*/ 3728983 h 5120141"/>
                <a:gd name="connsiteX493" fmla="*/ 3388948 w 3832826"/>
                <a:gd name="connsiteY493" fmla="*/ 3734923 h 5120141"/>
                <a:gd name="connsiteX494" fmla="*/ 3395303 w 3832826"/>
                <a:gd name="connsiteY494" fmla="*/ 3746955 h 5120141"/>
                <a:gd name="connsiteX495" fmla="*/ 3397421 w 3832826"/>
                <a:gd name="connsiteY495" fmla="*/ 3756931 h 5120141"/>
                <a:gd name="connsiteX496" fmla="*/ 3397421 w 3832826"/>
                <a:gd name="connsiteY496" fmla="*/ 3766907 h 5120141"/>
                <a:gd name="connsiteX497" fmla="*/ 3399428 w 3832826"/>
                <a:gd name="connsiteY497" fmla="*/ 3778939 h 5120141"/>
                <a:gd name="connsiteX498" fmla="*/ 3407901 w 3832826"/>
                <a:gd name="connsiteY498" fmla="*/ 3798890 h 5120141"/>
                <a:gd name="connsiteX499" fmla="*/ 3416263 w 3832826"/>
                <a:gd name="connsiteY499" fmla="*/ 3808942 h 5120141"/>
                <a:gd name="connsiteX500" fmla="*/ 3424737 w 3832826"/>
                <a:gd name="connsiteY500" fmla="*/ 3816938 h 5120141"/>
                <a:gd name="connsiteX501" fmla="*/ 3431092 w 3832826"/>
                <a:gd name="connsiteY501" fmla="*/ 3820898 h 5120141"/>
                <a:gd name="connsiteX502" fmla="*/ 3437335 w 3832826"/>
                <a:gd name="connsiteY502" fmla="*/ 3820898 h 5120141"/>
                <a:gd name="connsiteX503" fmla="*/ 3449934 w 3832826"/>
                <a:gd name="connsiteY503" fmla="*/ 3820898 h 5120141"/>
                <a:gd name="connsiteX504" fmla="*/ 3456289 w 3832826"/>
                <a:gd name="connsiteY504" fmla="*/ 3824934 h 5120141"/>
                <a:gd name="connsiteX505" fmla="*/ 3460526 w 3832826"/>
                <a:gd name="connsiteY505" fmla="*/ 3826914 h 5120141"/>
                <a:gd name="connsiteX506" fmla="*/ 3466770 w 3832826"/>
                <a:gd name="connsiteY506" fmla="*/ 3830874 h 5120141"/>
                <a:gd name="connsiteX507" fmla="*/ 3468888 w 3832826"/>
                <a:gd name="connsiteY507" fmla="*/ 3840925 h 5120141"/>
                <a:gd name="connsiteX508" fmla="*/ 3466770 w 3832826"/>
                <a:gd name="connsiteY508" fmla="*/ 3840925 h 5120141"/>
                <a:gd name="connsiteX509" fmla="*/ 3462644 w 3832826"/>
                <a:gd name="connsiteY509" fmla="*/ 3844885 h 5120141"/>
                <a:gd name="connsiteX510" fmla="*/ 3458408 w 3832826"/>
                <a:gd name="connsiteY510" fmla="*/ 3846865 h 5120141"/>
                <a:gd name="connsiteX511" fmla="*/ 3456289 w 3832826"/>
                <a:gd name="connsiteY511" fmla="*/ 3848921 h 5120141"/>
                <a:gd name="connsiteX512" fmla="*/ 3458408 w 3832826"/>
                <a:gd name="connsiteY512" fmla="*/ 3854861 h 5120141"/>
                <a:gd name="connsiteX513" fmla="*/ 3462644 w 3832826"/>
                <a:gd name="connsiteY513" fmla="*/ 3856917 h 5120141"/>
                <a:gd name="connsiteX514" fmla="*/ 3468888 w 3832826"/>
                <a:gd name="connsiteY514" fmla="*/ 3860877 h 5120141"/>
                <a:gd name="connsiteX515" fmla="*/ 3481487 w 3832826"/>
                <a:gd name="connsiteY515" fmla="*/ 3874889 h 5120141"/>
                <a:gd name="connsiteX516" fmla="*/ 3487842 w 3832826"/>
                <a:gd name="connsiteY516" fmla="*/ 3880828 h 5120141"/>
                <a:gd name="connsiteX517" fmla="*/ 3489960 w 3832826"/>
                <a:gd name="connsiteY517" fmla="*/ 3888824 h 5120141"/>
                <a:gd name="connsiteX518" fmla="*/ 3489960 w 3832826"/>
                <a:gd name="connsiteY518" fmla="*/ 3898876 h 5120141"/>
                <a:gd name="connsiteX519" fmla="*/ 3483605 w 3832826"/>
                <a:gd name="connsiteY519" fmla="*/ 3910832 h 5120141"/>
                <a:gd name="connsiteX520" fmla="*/ 3477361 w 3832826"/>
                <a:gd name="connsiteY520" fmla="*/ 3924844 h 5120141"/>
                <a:gd name="connsiteX521" fmla="*/ 3477361 w 3832826"/>
                <a:gd name="connsiteY521" fmla="*/ 3934819 h 5120141"/>
                <a:gd name="connsiteX522" fmla="*/ 3477361 w 3832826"/>
                <a:gd name="connsiteY522" fmla="*/ 3946851 h 5120141"/>
                <a:gd name="connsiteX523" fmla="*/ 3481487 w 3832826"/>
                <a:gd name="connsiteY523" fmla="*/ 3960787 h 5120141"/>
                <a:gd name="connsiteX524" fmla="*/ 3492078 w 3832826"/>
                <a:gd name="connsiteY524" fmla="*/ 3988810 h 5120141"/>
                <a:gd name="connsiteX525" fmla="*/ 3498322 w 3832826"/>
                <a:gd name="connsiteY525" fmla="*/ 3998786 h 5120141"/>
                <a:gd name="connsiteX526" fmla="*/ 3502559 w 3832826"/>
                <a:gd name="connsiteY526" fmla="*/ 4006782 h 5120141"/>
                <a:gd name="connsiteX527" fmla="*/ 3513039 w 3832826"/>
                <a:gd name="connsiteY527" fmla="*/ 4012798 h 5120141"/>
                <a:gd name="connsiteX528" fmla="*/ 3521513 w 3832826"/>
                <a:gd name="connsiteY528" fmla="*/ 4022774 h 5120141"/>
                <a:gd name="connsiteX529" fmla="*/ 3523631 w 3832826"/>
                <a:gd name="connsiteY529" fmla="*/ 4028790 h 5120141"/>
                <a:gd name="connsiteX530" fmla="*/ 3523631 w 3832826"/>
                <a:gd name="connsiteY530" fmla="*/ 4036785 h 5120141"/>
                <a:gd name="connsiteX531" fmla="*/ 3523631 w 3832826"/>
                <a:gd name="connsiteY531" fmla="*/ 4048741 h 5120141"/>
                <a:gd name="connsiteX532" fmla="*/ 3521513 w 3832826"/>
                <a:gd name="connsiteY532" fmla="*/ 4066713 h 5120141"/>
                <a:gd name="connsiteX533" fmla="*/ 3521513 w 3832826"/>
                <a:gd name="connsiteY533" fmla="*/ 4078744 h 5120141"/>
                <a:gd name="connsiteX534" fmla="*/ 3525749 w 3832826"/>
                <a:gd name="connsiteY534" fmla="*/ 4100752 h 5120141"/>
                <a:gd name="connsiteX535" fmla="*/ 3540466 w 3832826"/>
                <a:gd name="connsiteY535" fmla="*/ 4136695 h 5120141"/>
                <a:gd name="connsiteX536" fmla="*/ 3557302 w 3832826"/>
                <a:gd name="connsiteY536" fmla="*/ 4182690 h 5120141"/>
                <a:gd name="connsiteX537" fmla="*/ 3555183 w 3832826"/>
                <a:gd name="connsiteY537" fmla="*/ 4186650 h 5120141"/>
                <a:gd name="connsiteX538" fmla="*/ 3557302 w 3832826"/>
                <a:gd name="connsiteY538" fmla="*/ 4192666 h 5120141"/>
                <a:gd name="connsiteX539" fmla="*/ 3567782 w 3832826"/>
                <a:gd name="connsiteY539" fmla="*/ 4214674 h 5120141"/>
                <a:gd name="connsiteX540" fmla="*/ 3578262 w 3832826"/>
                <a:gd name="connsiteY540" fmla="*/ 4240641 h 5120141"/>
                <a:gd name="connsiteX541" fmla="*/ 3582499 w 3832826"/>
                <a:gd name="connsiteY541" fmla="*/ 4250617 h 5120141"/>
                <a:gd name="connsiteX542" fmla="*/ 3582499 w 3832826"/>
                <a:gd name="connsiteY542" fmla="*/ 4260593 h 5120141"/>
                <a:gd name="connsiteX543" fmla="*/ 3578262 w 3832826"/>
                <a:gd name="connsiteY543" fmla="*/ 4260593 h 5120141"/>
                <a:gd name="connsiteX544" fmla="*/ 3576144 w 3832826"/>
                <a:gd name="connsiteY544" fmla="*/ 4264629 h 5120141"/>
                <a:gd name="connsiteX545" fmla="*/ 3572019 w 3832826"/>
                <a:gd name="connsiteY545" fmla="*/ 4270645 h 5120141"/>
                <a:gd name="connsiteX546" fmla="*/ 3565664 w 3832826"/>
                <a:gd name="connsiteY546" fmla="*/ 4272624 h 5120141"/>
                <a:gd name="connsiteX547" fmla="*/ 3563545 w 3832826"/>
                <a:gd name="connsiteY547" fmla="*/ 4278640 h 5120141"/>
                <a:gd name="connsiteX548" fmla="*/ 3561427 w 3832826"/>
                <a:gd name="connsiteY548" fmla="*/ 4288616 h 5120141"/>
                <a:gd name="connsiteX549" fmla="*/ 3561427 w 3832826"/>
                <a:gd name="connsiteY549" fmla="*/ 4300572 h 5120141"/>
                <a:gd name="connsiteX550" fmla="*/ 3557302 w 3832826"/>
                <a:gd name="connsiteY550" fmla="*/ 4324559 h 5120141"/>
                <a:gd name="connsiteX551" fmla="*/ 3556313 w 3832826"/>
                <a:gd name="connsiteY551" fmla="*/ 4324559 h 5120141"/>
                <a:gd name="connsiteX552" fmla="*/ 3557250 w 3832826"/>
                <a:gd name="connsiteY552" fmla="*/ 4324566 h 5120141"/>
                <a:gd name="connsiteX553" fmla="*/ 3561457 w 3832826"/>
                <a:gd name="connsiteY553" fmla="*/ 4324566 h 5120141"/>
                <a:gd name="connsiteX554" fmla="*/ 3687675 w 3832826"/>
                <a:gd name="connsiteY554" fmla="*/ 4322562 h 5120141"/>
                <a:gd name="connsiteX555" fmla="*/ 3815997 w 3832826"/>
                <a:gd name="connsiteY555" fmla="*/ 4322562 h 5120141"/>
                <a:gd name="connsiteX556" fmla="*/ 3820204 w 3832826"/>
                <a:gd name="connsiteY556" fmla="*/ 4362642 h 5120141"/>
                <a:gd name="connsiteX557" fmla="*/ 3820204 w 3832826"/>
                <a:gd name="connsiteY557" fmla="*/ 4388693 h 5120141"/>
                <a:gd name="connsiteX558" fmla="*/ 3815997 w 3832826"/>
                <a:gd name="connsiteY558" fmla="*/ 4394705 h 5120141"/>
                <a:gd name="connsiteX559" fmla="*/ 3813893 w 3832826"/>
                <a:gd name="connsiteY559" fmla="*/ 4398713 h 5120141"/>
                <a:gd name="connsiteX560" fmla="*/ 3803375 w 3832826"/>
                <a:gd name="connsiteY560" fmla="*/ 4398713 h 5120141"/>
                <a:gd name="connsiteX561" fmla="*/ 3799168 w 3832826"/>
                <a:gd name="connsiteY561" fmla="*/ 4402721 h 5120141"/>
                <a:gd name="connsiteX562" fmla="*/ 3799168 w 3832826"/>
                <a:gd name="connsiteY562" fmla="*/ 4408733 h 5120141"/>
                <a:gd name="connsiteX563" fmla="*/ 3801272 w 3832826"/>
                <a:gd name="connsiteY563" fmla="*/ 4420757 h 5120141"/>
                <a:gd name="connsiteX564" fmla="*/ 3801272 w 3832826"/>
                <a:gd name="connsiteY564" fmla="*/ 4422761 h 5120141"/>
                <a:gd name="connsiteX565" fmla="*/ 3805479 w 3832826"/>
                <a:gd name="connsiteY565" fmla="*/ 4424765 h 5120141"/>
                <a:gd name="connsiteX566" fmla="*/ 3815997 w 3832826"/>
                <a:gd name="connsiteY566" fmla="*/ 4422761 h 5120141"/>
                <a:gd name="connsiteX567" fmla="*/ 3826515 w 3832826"/>
                <a:gd name="connsiteY567" fmla="*/ 4422761 h 5120141"/>
                <a:gd name="connsiteX568" fmla="*/ 3830723 w 3832826"/>
                <a:gd name="connsiteY568" fmla="*/ 4424765 h 5120141"/>
                <a:gd name="connsiteX569" fmla="*/ 3832826 w 3832826"/>
                <a:gd name="connsiteY569" fmla="*/ 4430776 h 5120141"/>
                <a:gd name="connsiteX570" fmla="*/ 3830723 w 3832826"/>
                <a:gd name="connsiteY570" fmla="*/ 4436788 h 5120141"/>
                <a:gd name="connsiteX571" fmla="*/ 3826515 w 3832826"/>
                <a:gd name="connsiteY571" fmla="*/ 4436788 h 5120141"/>
                <a:gd name="connsiteX572" fmla="*/ 3822308 w 3832826"/>
                <a:gd name="connsiteY572" fmla="*/ 4440796 h 5120141"/>
                <a:gd name="connsiteX573" fmla="*/ 3822308 w 3832826"/>
                <a:gd name="connsiteY573" fmla="*/ 4444804 h 5120141"/>
                <a:gd name="connsiteX574" fmla="*/ 3822308 w 3832826"/>
                <a:gd name="connsiteY574" fmla="*/ 4502919 h 5120141"/>
                <a:gd name="connsiteX575" fmla="*/ 3824412 w 3832826"/>
                <a:gd name="connsiteY575" fmla="*/ 4557026 h 5120141"/>
                <a:gd name="connsiteX576" fmla="*/ 3826515 w 3832826"/>
                <a:gd name="connsiteY576" fmla="*/ 4723356 h 5120141"/>
                <a:gd name="connsiteX577" fmla="*/ 3826515 w 3832826"/>
                <a:gd name="connsiteY577" fmla="*/ 4805518 h 5120141"/>
                <a:gd name="connsiteX578" fmla="*/ 3826515 w 3832826"/>
                <a:gd name="connsiteY578" fmla="*/ 4887681 h 5120141"/>
                <a:gd name="connsiteX579" fmla="*/ 3815997 w 3832826"/>
                <a:gd name="connsiteY579" fmla="*/ 4885677 h 5120141"/>
                <a:gd name="connsiteX580" fmla="*/ 3820204 w 3832826"/>
                <a:gd name="connsiteY580" fmla="*/ 4985875 h 5120141"/>
                <a:gd name="connsiteX581" fmla="*/ 3820204 w 3832826"/>
                <a:gd name="connsiteY581" fmla="*/ 5072046 h 5120141"/>
                <a:gd name="connsiteX582" fmla="*/ 3822308 w 3832826"/>
                <a:gd name="connsiteY582" fmla="*/ 5072046 h 5120141"/>
                <a:gd name="connsiteX583" fmla="*/ 3822308 w 3832826"/>
                <a:gd name="connsiteY583" fmla="*/ 5088078 h 5120141"/>
                <a:gd name="connsiteX584" fmla="*/ 3822308 w 3832826"/>
                <a:gd name="connsiteY584" fmla="*/ 5100102 h 5120141"/>
                <a:gd name="connsiteX585" fmla="*/ 3820204 w 3832826"/>
                <a:gd name="connsiteY585" fmla="*/ 5104109 h 5120141"/>
                <a:gd name="connsiteX586" fmla="*/ 3815997 w 3832826"/>
                <a:gd name="connsiteY586" fmla="*/ 5108117 h 5120141"/>
                <a:gd name="connsiteX587" fmla="*/ 3809686 w 3832826"/>
                <a:gd name="connsiteY587" fmla="*/ 5108117 h 5120141"/>
                <a:gd name="connsiteX588" fmla="*/ 3801272 w 3832826"/>
                <a:gd name="connsiteY588" fmla="*/ 5108117 h 5120141"/>
                <a:gd name="connsiteX589" fmla="*/ 3370026 w 3832826"/>
                <a:gd name="connsiteY589" fmla="*/ 5110121 h 5120141"/>
                <a:gd name="connsiteX590" fmla="*/ 2940884 w 3832826"/>
                <a:gd name="connsiteY590" fmla="*/ 5112125 h 5120141"/>
                <a:gd name="connsiteX591" fmla="*/ 2903018 w 3832826"/>
                <a:gd name="connsiteY591" fmla="*/ 5112125 h 5120141"/>
                <a:gd name="connsiteX592" fmla="*/ 2898811 w 3832826"/>
                <a:gd name="connsiteY592" fmla="*/ 5118137 h 5120141"/>
                <a:gd name="connsiteX593" fmla="*/ 2888293 w 3832826"/>
                <a:gd name="connsiteY593" fmla="*/ 5120141 h 5120141"/>
                <a:gd name="connsiteX594" fmla="*/ 2860945 w 3832826"/>
                <a:gd name="connsiteY594" fmla="*/ 5120141 h 5120141"/>
                <a:gd name="connsiteX595" fmla="*/ 2808354 w 3832826"/>
                <a:gd name="connsiteY595" fmla="*/ 5118137 h 5120141"/>
                <a:gd name="connsiteX596" fmla="*/ 2747349 w 3832826"/>
                <a:gd name="connsiteY596" fmla="*/ 5120141 h 5120141"/>
                <a:gd name="connsiteX597" fmla="*/ 2713691 w 3832826"/>
                <a:gd name="connsiteY597" fmla="*/ 5120141 h 5120141"/>
                <a:gd name="connsiteX598" fmla="*/ 2701069 w 3832826"/>
                <a:gd name="connsiteY598" fmla="*/ 5118137 h 5120141"/>
                <a:gd name="connsiteX599" fmla="*/ 2692654 w 3832826"/>
                <a:gd name="connsiteY599" fmla="*/ 5114129 h 5120141"/>
                <a:gd name="connsiteX600" fmla="*/ 2690551 w 3832826"/>
                <a:gd name="connsiteY600" fmla="*/ 5108117 h 5120141"/>
                <a:gd name="connsiteX601" fmla="*/ 2690551 w 3832826"/>
                <a:gd name="connsiteY601" fmla="*/ 5100102 h 5120141"/>
                <a:gd name="connsiteX602" fmla="*/ 2690551 w 3832826"/>
                <a:gd name="connsiteY602" fmla="*/ 5084070 h 5120141"/>
                <a:gd name="connsiteX603" fmla="*/ 2690551 w 3832826"/>
                <a:gd name="connsiteY603" fmla="*/ 5082066 h 5120141"/>
                <a:gd name="connsiteX604" fmla="*/ 2688447 w 3832826"/>
                <a:gd name="connsiteY604" fmla="*/ 5080062 h 5120141"/>
                <a:gd name="connsiteX605" fmla="*/ 2682136 w 3832826"/>
                <a:gd name="connsiteY605" fmla="*/ 5080062 h 5120141"/>
                <a:gd name="connsiteX606" fmla="*/ 2675825 w 3832826"/>
                <a:gd name="connsiteY606" fmla="*/ 5080062 h 5120141"/>
                <a:gd name="connsiteX607" fmla="*/ 2669514 w 3832826"/>
                <a:gd name="connsiteY607" fmla="*/ 5080062 h 5120141"/>
                <a:gd name="connsiteX608" fmla="*/ 2667411 w 3832826"/>
                <a:gd name="connsiteY608" fmla="*/ 5078058 h 5120141"/>
                <a:gd name="connsiteX609" fmla="*/ 2667411 w 3832826"/>
                <a:gd name="connsiteY609" fmla="*/ 5072046 h 5120141"/>
                <a:gd name="connsiteX610" fmla="*/ 2658996 w 3832826"/>
                <a:gd name="connsiteY610" fmla="*/ 5070042 h 5120141"/>
                <a:gd name="connsiteX611" fmla="*/ 2627442 w 3832826"/>
                <a:gd name="connsiteY611" fmla="*/ 5070042 h 5120141"/>
                <a:gd name="connsiteX612" fmla="*/ 2612716 w 3832826"/>
                <a:gd name="connsiteY612" fmla="*/ 5070042 h 5120141"/>
                <a:gd name="connsiteX613" fmla="*/ 2604302 w 3832826"/>
                <a:gd name="connsiteY613" fmla="*/ 5070042 h 5120141"/>
                <a:gd name="connsiteX614" fmla="*/ 2602198 w 3832826"/>
                <a:gd name="connsiteY614" fmla="*/ 5068038 h 5120141"/>
                <a:gd name="connsiteX615" fmla="*/ 2597991 w 3832826"/>
                <a:gd name="connsiteY615" fmla="*/ 5064030 h 5120141"/>
                <a:gd name="connsiteX616" fmla="*/ 2595887 w 3832826"/>
                <a:gd name="connsiteY616" fmla="*/ 5052006 h 5120141"/>
                <a:gd name="connsiteX617" fmla="*/ 2593783 w 3832826"/>
                <a:gd name="connsiteY617" fmla="*/ 5047998 h 5120141"/>
                <a:gd name="connsiteX618" fmla="*/ 2591680 w 3832826"/>
                <a:gd name="connsiteY618" fmla="*/ 5047998 h 5120141"/>
                <a:gd name="connsiteX619" fmla="*/ 2576954 w 3832826"/>
                <a:gd name="connsiteY619" fmla="*/ 5045994 h 5120141"/>
                <a:gd name="connsiteX620" fmla="*/ 2551711 w 3832826"/>
                <a:gd name="connsiteY620" fmla="*/ 5047998 h 5120141"/>
                <a:gd name="connsiteX621" fmla="*/ 2530674 w 3832826"/>
                <a:gd name="connsiteY621" fmla="*/ 5045994 h 5120141"/>
                <a:gd name="connsiteX622" fmla="*/ 2528571 w 3832826"/>
                <a:gd name="connsiteY622" fmla="*/ 4975856 h 5120141"/>
                <a:gd name="connsiteX623" fmla="*/ 2528571 w 3832826"/>
                <a:gd name="connsiteY623" fmla="*/ 4905717 h 5120141"/>
                <a:gd name="connsiteX624" fmla="*/ 2524363 w 3832826"/>
                <a:gd name="connsiteY624" fmla="*/ 4899705 h 5120141"/>
                <a:gd name="connsiteX625" fmla="*/ 2522260 w 3832826"/>
                <a:gd name="connsiteY625" fmla="*/ 4895697 h 5120141"/>
                <a:gd name="connsiteX626" fmla="*/ 2509638 w 3832826"/>
                <a:gd name="connsiteY626" fmla="*/ 4891689 h 5120141"/>
                <a:gd name="connsiteX627" fmla="*/ 2492809 w 3832826"/>
                <a:gd name="connsiteY627" fmla="*/ 4889685 h 5120141"/>
                <a:gd name="connsiteX628" fmla="*/ 2478083 w 3832826"/>
                <a:gd name="connsiteY628" fmla="*/ 4889685 h 5120141"/>
                <a:gd name="connsiteX629" fmla="*/ 2471772 w 3832826"/>
                <a:gd name="connsiteY629" fmla="*/ 4887681 h 5120141"/>
                <a:gd name="connsiteX630" fmla="*/ 2467565 w 3832826"/>
                <a:gd name="connsiteY630" fmla="*/ 4881669 h 5120141"/>
                <a:gd name="connsiteX631" fmla="*/ 2465461 w 3832826"/>
                <a:gd name="connsiteY631" fmla="*/ 4871649 h 5120141"/>
                <a:gd name="connsiteX632" fmla="*/ 2465461 w 3832826"/>
                <a:gd name="connsiteY632" fmla="*/ 4861629 h 5120141"/>
                <a:gd name="connsiteX633" fmla="*/ 2467565 w 3832826"/>
                <a:gd name="connsiteY633" fmla="*/ 4839586 h 5120141"/>
                <a:gd name="connsiteX634" fmla="*/ 2467565 w 3832826"/>
                <a:gd name="connsiteY634" fmla="*/ 4823554 h 5120141"/>
                <a:gd name="connsiteX635" fmla="*/ 2391834 w 3832826"/>
                <a:gd name="connsiteY635" fmla="*/ 4823554 h 5120141"/>
                <a:gd name="connsiteX636" fmla="*/ 2393938 w 3832826"/>
                <a:gd name="connsiteY636" fmla="*/ 4755419 h 5120141"/>
                <a:gd name="connsiteX637" fmla="*/ 2343450 w 3832826"/>
                <a:gd name="connsiteY637" fmla="*/ 4759427 h 5120141"/>
                <a:gd name="connsiteX638" fmla="*/ 2311896 w 3832826"/>
                <a:gd name="connsiteY638" fmla="*/ 4759427 h 5120141"/>
                <a:gd name="connsiteX639" fmla="*/ 2301378 w 3832826"/>
                <a:gd name="connsiteY639" fmla="*/ 4757423 h 5120141"/>
                <a:gd name="connsiteX640" fmla="*/ 2295067 w 3832826"/>
                <a:gd name="connsiteY640" fmla="*/ 4755419 h 5120141"/>
                <a:gd name="connsiteX641" fmla="*/ 2290860 w 3832826"/>
                <a:gd name="connsiteY641" fmla="*/ 4749407 h 5120141"/>
                <a:gd name="connsiteX642" fmla="*/ 2290860 w 3832826"/>
                <a:gd name="connsiteY642" fmla="*/ 4745399 h 5120141"/>
                <a:gd name="connsiteX643" fmla="*/ 2290860 w 3832826"/>
                <a:gd name="connsiteY643" fmla="*/ 4727364 h 5120141"/>
                <a:gd name="connsiteX644" fmla="*/ 2290860 w 3832826"/>
                <a:gd name="connsiteY644" fmla="*/ 4699308 h 5120141"/>
                <a:gd name="connsiteX645" fmla="*/ 2290860 w 3832826"/>
                <a:gd name="connsiteY645" fmla="*/ 4687284 h 5120141"/>
                <a:gd name="connsiteX646" fmla="*/ 2288756 w 3832826"/>
                <a:gd name="connsiteY646" fmla="*/ 4685280 h 5120141"/>
                <a:gd name="connsiteX647" fmla="*/ 2284549 w 3832826"/>
                <a:gd name="connsiteY647" fmla="*/ 4683276 h 5120141"/>
                <a:gd name="connsiteX648" fmla="*/ 2274030 w 3832826"/>
                <a:gd name="connsiteY648" fmla="*/ 4683276 h 5120141"/>
                <a:gd name="connsiteX649" fmla="*/ 2259305 w 3832826"/>
                <a:gd name="connsiteY649" fmla="*/ 4685280 h 5120141"/>
                <a:gd name="connsiteX650" fmla="*/ 2255098 w 3832826"/>
                <a:gd name="connsiteY650" fmla="*/ 4683276 h 5120141"/>
                <a:gd name="connsiteX651" fmla="*/ 2248787 w 3832826"/>
                <a:gd name="connsiteY651" fmla="*/ 4679268 h 5120141"/>
                <a:gd name="connsiteX652" fmla="*/ 2244579 w 3832826"/>
                <a:gd name="connsiteY652" fmla="*/ 4673257 h 5120141"/>
                <a:gd name="connsiteX653" fmla="*/ 2244579 w 3832826"/>
                <a:gd name="connsiteY653" fmla="*/ 4663237 h 5120141"/>
                <a:gd name="connsiteX654" fmla="*/ 2244579 w 3832826"/>
                <a:gd name="connsiteY654" fmla="*/ 4649209 h 5120141"/>
                <a:gd name="connsiteX655" fmla="*/ 2244579 w 3832826"/>
                <a:gd name="connsiteY655" fmla="*/ 4637185 h 5120141"/>
                <a:gd name="connsiteX656" fmla="*/ 2244579 w 3832826"/>
                <a:gd name="connsiteY656" fmla="*/ 4627165 h 5120141"/>
                <a:gd name="connsiteX657" fmla="*/ 2242476 w 3832826"/>
                <a:gd name="connsiteY657" fmla="*/ 4623157 h 5120141"/>
                <a:gd name="connsiteX658" fmla="*/ 2236165 w 3832826"/>
                <a:gd name="connsiteY658" fmla="*/ 4617145 h 5120141"/>
                <a:gd name="connsiteX659" fmla="*/ 2234061 w 3832826"/>
                <a:gd name="connsiteY659" fmla="*/ 4617145 h 5120141"/>
                <a:gd name="connsiteX660" fmla="*/ 2225647 w 3832826"/>
                <a:gd name="connsiteY660" fmla="*/ 4615141 h 5120141"/>
                <a:gd name="connsiteX661" fmla="*/ 2194092 w 3832826"/>
                <a:gd name="connsiteY661" fmla="*/ 4617145 h 5120141"/>
                <a:gd name="connsiteX662" fmla="*/ 2179367 w 3832826"/>
                <a:gd name="connsiteY662" fmla="*/ 4617145 h 5120141"/>
                <a:gd name="connsiteX663" fmla="*/ 2164641 w 3832826"/>
                <a:gd name="connsiteY663" fmla="*/ 4613137 h 5120141"/>
                <a:gd name="connsiteX664" fmla="*/ 2162538 w 3832826"/>
                <a:gd name="connsiteY664" fmla="*/ 4607126 h 5120141"/>
                <a:gd name="connsiteX665" fmla="*/ 2160434 w 3832826"/>
                <a:gd name="connsiteY665" fmla="*/ 4597106 h 5120141"/>
                <a:gd name="connsiteX666" fmla="*/ 2154123 w 3832826"/>
                <a:gd name="connsiteY666" fmla="*/ 4583078 h 5120141"/>
                <a:gd name="connsiteX667" fmla="*/ 2149916 w 3832826"/>
                <a:gd name="connsiteY667" fmla="*/ 4581074 h 5120141"/>
                <a:gd name="connsiteX668" fmla="*/ 2143605 w 3832826"/>
                <a:gd name="connsiteY668" fmla="*/ 4575062 h 5120141"/>
                <a:gd name="connsiteX669" fmla="*/ 2133087 w 3832826"/>
                <a:gd name="connsiteY669" fmla="*/ 4571054 h 5120141"/>
                <a:gd name="connsiteX670" fmla="*/ 2130983 w 3832826"/>
                <a:gd name="connsiteY670" fmla="*/ 4565042 h 5120141"/>
                <a:gd name="connsiteX671" fmla="*/ 2130983 w 3832826"/>
                <a:gd name="connsiteY671" fmla="*/ 4561034 h 5120141"/>
                <a:gd name="connsiteX672" fmla="*/ 2130983 w 3832826"/>
                <a:gd name="connsiteY672" fmla="*/ 4553018 h 5120141"/>
                <a:gd name="connsiteX673" fmla="*/ 2130983 w 3832826"/>
                <a:gd name="connsiteY673" fmla="*/ 4551015 h 5120141"/>
                <a:gd name="connsiteX674" fmla="*/ 2126776 w 3832826"/>
                <a:gd name="connsiteY674" fmla="*/ 4545003 h 5120141"/>
                <a:gd name="connsiteX675" fmla="*/ 2122568 w 3832826"/>
                <a:gd name="connsiteY675" fmla="*/ 4545003 h 5120141"/>
                <a:gd name="connsiteX676" fmla="*/ 2120465 w 3832826"/>
                <a:gd name="connsiteY676" fmla="*/ 4545003 h 5120141"/>
                <a:gd name="connsiteX677" fmla="*/ 2118361 w 3832826"/>
                <a:gd name="connsiteY677" fmla="*/ 4536987 h 5120141"/>
                <a:gd name="connsiteX678" fmla="*/ 2116258 w 3832826"/>
                <a:gd name="connsiteY678" fmla="*/ 4536987 h 5120141"/>
                <a:gd name="connsiteX679" fmla="*/ 2109947 w 3832826"/>
                <a:gd name="connsiteY679" fmla="*/ 4536987 h 5120141"/>
                <a:gd name="connsiteX680" fmla="*/ 2107843 w 3832826"/>
                <a:gd name="connsiteY680" fmla="*/ 4536987 h 5120141"/>
                <a:gd name="connsiteX681" fmla="*/ 2107843 w 3832826"/>
                <a:gd name="connsiteY681" fmla="*/ 4534983 h 5120141"/>
                <a:gd name="connsiteX682" fmla="*/ 2105739 w 3832826"/>
                <a:gd name="connsiteY682" fmla="*/ 4500915 h 5120141"/>
                <a:gd name="connsiteX683" fmla="*/ 2105739 w 3832826"/>
                <a:gd name="connsiteY683" fmla="*/ 4476868 h 5120141"/>
                <a:gd name="connsiteX684" fmla="*/ 2101532 w 3832826"/>
                <a:gd name="connsiteY684" fmla="*/ 4470856 h 5120141"/>
                <a:gd name="connsiteX685" fmla="*/ 2099428 w 3832826"/>
                <a:gd name="connsiteY685" fmla="*/ 4466848 h 5120141"/>
                <a:gd name="connsiteX686" fmla="*/ 2095221 w 3832826"/>
                <a:gd name="connsiteY686" fmla="*/ 4466848 h 5120141"/>
                <a:gd name="connsiteX687" fmla="*/ 2063667 w 3832826"/>
                <a:gd name="connsiteY687" fmla="*/ 4470856 h 5120141"/>
                <a:gd name="connsiteX688" fmla="*/ 2042630 w 3832826"/>
                <a:gd name="connsiteY688" fmla="*/ 4470856 h 5120141"/>
                <a:gd name="connsiteX689" fmla="*/ 2036319 w 3832826"/>
                <a:gd name="connsiteY689" fmla="*/ 4466848 h 5120141"/>
                <a:gd name="connsiteX690" fmla="*/ 2032112 w 3832826"/>
                <a:gd name="connsiteY690" fmla="*/ 4466848 h 5120141"/>
                <a:gd name="connsiteX691" fmla="*/ 2027905 w 3832826"/>
                <a:gd name="connsiteY691" fmla="*/ 4456828 h 5120141"/>
                <a:gd name="connsiteX692" fmla="*/ 2027905 w 3832826"/>
                <a:gd name="connsiteY692" fmla="*/ 4444804 h 5120141"/>
                <a:gd name="connsiteX693" fmla="*/ 2027905 w 3832826"/>
                <a:gd name="connsiteY693" fmla="*/ 4420757 h 5120141"/>
                <a:gd name="connsiteX694" fmla="*/ 2027905 w 3832826"/>
                <a:gd name="connsiteY694" fmla="*/ 4376298 h 5120141"/>
                <a:gd name="connsiteX695" fmla="*/ 2025801 w 3832826"/>
                <a:gd name="connsiteY695" fmla="*/ 4376298 h 5120141"/>
                <a:gd name="connsiteX696" fmla="*/ 2025801 w 3832826"/>
                <a:gd name="connsiteY696" fmla="*/ 4328574 h 5120141"/>
                <a:gd name="connsiteX697" fmla="*/ 2025801 w 3832826"/>
                <a:gd name="connsiteY697" fmla="*/ 4326856 h 5120141"/>
                <a:gd name="connsiteX698" fmla="*/ 2021595 w 3832826"/>
                <a:gd name="connsiteY698" fmla="*/ 4326570 h 5120141"/>
                <a:gd name="connsiteX699" fmla="*/ 2015284 w 3832826"/>
                <a:gd name="connsiteY699" fmla="*/ 4326570 h 5120141"/>
                <a:gd name="connsiteX700" fmla="*/ 2017387 w 3832826"/>
                <a:gd name="connsiteY700" fmla="*/ 4316550 h 5120141"/>
                <a:gd name="connsiteX701" fmla="*/ 2015284 w 3832826"/>
                <a:gd name="connsiteY701" fmla="*/ 4310539 h 5120141"/>
                <a:gd name="connsiteX702" fmla="*/ 2008973 w 3832826"/>
                <a:gd name="connsiteY702" fmla="*/ 4306531 h 5120141"/>
                <a:gd name="connsiteX703" fmla="*/ 2004765 w 3832826"/>
                <a:gd name="connsiteY703" fmla="*/ 4300519 h 5120141"/>
                <a:gd name="connsiteX704" fmla="*/ 1994247 w 3832826"/>
                <a:gd name="connsiteY704" fmla="*/ 4286491 h 5120141"/>
                <a:gd name="connsiteX705" fmla="*/ 1987936 w 3832826"/>
                <a:gd name="connsiteY705" fmla="*/ 4270459 h 5120141"/>
                <a:gd name="connsiteX706" fmla="*/ 1987936 w 3832826"/>
                <a:gd name="connsiteY706" fmla="*/ 4262443 h 5120141"/>
                <a:gd name="connsiteX707" fmla="*/ 1987936 w 3832826"/>
                <a:gd name="connsiteY707" fmla="*/ 4258435 h 5120141"/>
                <a:gd name="connsiteX708" fmla="*/ 1987936 w 3832826"/>
                <a:gd name="connsiteY708" fmla="*/ 4252423 h 5120141"/>
                <a:gd name="connsiteX709" fmla="*/ 1983729 w 3832826"/>
                <a:gd name="connsiteY709" fmla="*/ 4246412 h 5120141"/>
                <a:gd name="connsiteX710" fmla="*/ 1978277 w 3832826"/>
                <a:gd name="connsiteY710" fmla="*/ 4241218 h 5120141"/>
                <a:gd name="connsiteX711" fmla="*/ 1947935 w 3832826"/>
                <a:gd name="connsiteY711" fmla="*/ 4232386 h 5120141"/>
                <a:gd name="connsiteX712" fmla="*/ 1941632 w 3832826"/>
                <a:gd name="connsiteY712" fmla="*/ 4228376 h 5120141"/>
                <a:gd name="connsiteX713" fmla="*/ 1933169 w 3832826"/>
                <a:gd name="connsiteY713" fmla="*/ 4220356 h 5120141"/>
                <a:gd name="connsiteX714" fmla="*/ 1922725 w 3832826"/>
                <a:gd name="connsiteY714" fmla="*/ 4208326 h 5120141"/>
                <a:gd name="connsiteX715" fmla="*/ 1910120 w 3832826"/>
                <a:gd name="connsiteY715" fmla="*/ 4196297 h 5120141"/>
                <a:gd name="connsiteX716" fmla="*/ 1901657 w 3832826"/>
                <a:gd name="connsiteY716" fmla="*/ 4190282 h 5120141"/>
                <a:gd name="connsiteX717" fmla="*/ 1893193 w 3832826"/>
                <a:gd name="connsiteY717" fmla="*/ 4186272 h 5120141"/>
                <a:gd name="connsiteX718" fmla="*/ 1867983 w 3832826"/>
                <a:gd name="connsiteY718" fmla="*/ 4178252 h 5120141"/>
                <a:gd name="connsiteX719" fmla="*/ 1857539 w 3832826"/>
                <a:gd name="connsiteY719" fmla="*/ 4172237 h 5120141"/>
                <a:gd name="connsiteX720" fmla="*/ 1842773 w 3832826"/>
                <a:gd name="connsiteY720" fmla="*/ 4166222 h 5120141"/>
                <a:gd name="connsiteX721" fmla="*/ 1804958 w 3832826"/>
                <a:gd name="connsiteY721" fmla="*/ 4138152 h 5120141"/>
                <a:gd name="connsiteX722" fmla="*/ 1800637 w 3832826"/>
                <a:gd name="connsiteY722" fmla="*/ 4138152 h 5120141"/>
                <a:gd name="connsiteX723" fmla="*/ 1796495 w 3832826"/>
                <a:gd name="connsiteY723" fmla="*/ 4138152 h 5120141"/>
                <a:gd name="connsiteX724" fmla="*/ 1790192 w 3832826"/>
                <a:gd name="connsiteY724" fmla="*/ 4138152 h 5120141"/>
                <a:gd name="connsiteX725" fmla="*/ 1786051 w 3832826"/>
                <a:gd name="connsiteY725" fmla="*/ 4132138 h 5120141"/>
                <a:gd name="connsiteX726" fmla="*/ 1783890 w 3832826"/>
                <a:gd name="connsiteY726" fmla="*/ 4126123 h 5120141"/>
                <a:gd name="connsiteX727" fmla="*/ 1775427 w 3832826"/>
                <a:gd name="connsiteY727" fmla="*/ 4120108 h 5120141"/>
                <a:gd name="connsiteX728" fmla="*/ 1769124 w 3832826"/>
                <a:gd name="connsiteY728" fmla="*/ 4118103 h 5120141"/>
                <a:gd name="connsiteX729" fmla="*/ 1762822 w 3832826"/>
                <a:gd name="connsiteY729" fmla="*/ 4112088 h 5120141"/>
                <a:gd name="connsiteX730" fmla="*/ 1756519 w 3832826"/>
                <a:gd name="connsiteY730" fmla="*/ 4100058 h 5120141"/>
                <a:gd name="connsiteX731" fmla="*/ 1752377 w 3832826"/>
                <a:gd name="connsiteY731" fmla="*/ 4090167 h 5120141"/>
                <a:gd name="connsiteX732" fmla="*/ 1741753 w 3832826"/>
                <a:gd name="connsiteY732" fmla="*/ 4086157 h 5120141"/>
                <a:gd name="connsiteX733" fmla="*/ 1733470 w 3832826"/>
                <a:gd name="connsiteY733" fmla="*/ 4082147 h 5120141"/>
                <a:gd name="connsiteX734" fmla="*/ 1716543 w 3832826"/>
                <a:gd name="connsiteY734" fmla="*/ 4070117 h 5120141"/>
                <a:gd name="connsiteX735" fmla="*/ 1706099 w 3832826"/>
                <a:gd name="connsiteY735" fmla="*/ 4060092 h 5120141"/>
                <a:gd name="connsiteX736" fmla="*/ 1701777 w 3832826"/>
                <a:gd name="connsiteY736" fmla="*/ 4052072 h 5120141"/>
                <a:gd name="connsiteX737" fmla="*/ 1699797 w 3832826"/>
                <a:gd name="connsiteY737" fmla="*/ 4048062 h 5120141"/>
                <a:gd name="connsiteX738" fmla="*/ 1695475 w 3832826"/>
                <a:gd name="connsiteY738" fmla="*/ 4038038 h 5120141"/>
                <a:gd name="connsiteX739" fmla="*/ 1699797 w 3832826"/>
                <a:gd name="connsiteY739" fmla="*/ 4030018 h 5120141"/>
                <a:gd name="connsiteX740" fmla="*/ 1701777 w 3832826"/>
                <a:gd name="connsiteY740" fmla="*/ 4021998 h 5120141"/>
                <a:gd name="connsiteX741" fmla="*/ 1706099 w 3832826"/>
                <a:gd name="connsiteY741" fmla="*/ 4017988 h 5120141"/>
                <a:gd name="connsiteX742" fmla="*/ 1714382 w 3832826"/>
                <a:gd name="connsiteY742" fmla="*/ 4007963 h 5120141"/>
                <a:gd name="connsiteX743" fmla="*/ 1716543 w 3832826"/>
                <a:gd name="connsiteY743" fmla="*/ 4001948 h 5120141"/>
                <a:gd name="connsiteX744" fmla="*/ 1720685 w 3832826"/>
                <a:gd name="connsiteY744" fmla="*/ 3997938 h 5120141"/>
                <a:gd name="connsiteX745" fmla="*/ 1716543 w 3832826"/>
                <a:gd name="connsiteY745" fmla="*/ 3991923 h 5120141"/>
                <a:gd name="connsiteX746" fmla="*/ 1712402 w 3832826"/>
                <a:gd name="connsiteY746" fmla="*/ 3985908 h 5120141"/>
                <a:gd name="connsiteX747" fmla="*/ 1701777 w 3832826"/>
                <a:gd name="connsiteY747" fmla="*/ 3975883 h 5120141"/>
                <a:gd name="connsiteX748" fmla="*/ 1695475 w 3832826"/>
                <a:gd name="connsiteY748" fmla="*/ 3973878 h 5120141"/>
                <a:gd name="connsiteX749" fmla="*/ 1691333 w 3832826"/>
                <a:gd name="connsiteY749" fmla="*/ 3965859 h 5120141"/>
                <a:gd name="connsiteX750" fmla="*/ 1689172 w 3832826"/>
                <a:gd name="connsiteY750" fmla="*/ 3957839 h 5120141"/>
                <a:gd name="connsiteX751" fmla="*/ 1691333 w 3832826"/>
                <a:gd name="connsiteY751" fmla="*/ 3953829 h 5120141"/>
                <a:gd name="connsiteX752" fmla="*/ 1691333 w 3832826"/>
                <a:gd name="connsiteY752" fmla="*/ 3945809 h 5120141"/>
                <a:gd name="connsiteX753" fmla="*/ 1689172 w 3832826"/>
                <a:gd name="connsiteY753" fmla="*/ 3937789 h 5120141"/>
                <a:gd name="connsiteX754" fmla="*/ 1687192 w 3832826"/>
                <a:gd name="connsiteY754" fmla="*/ 3927764 h 5120141"/>
                <a:gd name="connsiteX755" fmla="*/ 1689172 w 3832826"/>
                <a:gd name="connsiteY755" fmla="*/ 3919744 h 5120141"/>
                <a:gd name="connsiteX756" fmla="*/ 1691333 w 3832826"/>
                <a:gd name="connsiteY756" fmla="*/ 3915734 h 5120141"/>
                <a:gd name="connsiteX757" fmla="*/ 1699797 w 3832826"/>
                <a:gd name="connsiteY757" fmla="*/ 3909719 h 5120141"/>
                <a:gd name="connsiteX758" fmla="*/ 1714382 w 3832826"/>
                <a:gd name="connsiteY758" fmla="*/ 3905709 h 5120141"/>
                <a:gd name="connsiteX759" fmla="*/ 1731309 w 3832826"/>
                <a:gd name="connsiteY759" fmla="*/ 3899694 h 5120141"/>
                <a:gd name="connsiteX760" fmla="*/ 1735451 w 3832826"/>
                <a:gd name="connsiteY760" fmla="*/ 3897690 h 5120141"/>
                <a:gd name="connsiteX761" fmla="*/ 1737612 w 3832826"/>
                <a:gd name="connsiteY761" fmla="*/ 3893680 h 5120141"/>
                <a:gd name="connsiteX762" fmla="*/ 1746075 w 3832826"/>
                <a:gd name="connsiteY762" fmla="*/ 3879645 h 5120141"/>
                <a:gd name="connsiteX763" fmla="*/ 1748056 w 3832826"/>
                <a:gd name="connsiteY763" fmla="*/ 3863605 h 5120141"/>
                <a:gd name="connsiteX764" fmla="*/ 1752377 w 3832826"/>
                <a:gd name="connsiteY764" fmla="*/ 3843555 h 5120141"/>
                <a:gd name="connsiteX765" fmla="*/ 1754358 w 3832826"/>
                <a:gd name="connsiteY765" fmla="*/ 3823639 h 5120141"/>
                <a:gd name="connsiteX766" fmla="*/ 1752377 w 3832826"/>
                <a:gd name="connsiteY766" fmla="*/ 3803590 h 5120141"/>
                <a:gd name="connsiteX767" fmla="*/ 1748056 w 3832826"/>
                <a:gd name="connsiteY767" fmla="*/ 3785545 h 5120141"/>
                <a:gd name="connsiteX768" fmla="*/ 1746075 w 3832826"/>
                <a:gd name="connsiteY768" fmla="*/ 3773515 h 5120141"/>
                <a:gd name="connsiteX769" fmla="*/ 1737612 w 3832826"/>
                <a:gd name="connsiteY769" fmla="*/ 3761485 h 5120141"/>
                <a:gd name="connsiteX770" fmla="*/ 1727167 w 3832826"/>
                <a:gd name="connsiteY770" fmla="*/ 3747450 h 5120141"/>
                <a:gd name="connsiteX771" fmla="*/ 1695475 w 3832826"/>
                <a:gd name="connsiteY771" fmla="*/ 3721385 h 5120141"/>
                <a:gd name="connsiteX772" fmla="*/ 1661802 w 3832826"/>
                <a:gd name="connsiteY772" fmla="*/ 3695321 h 5120141"/>
                <a:gd name="connsiteX773" fmla="*/ 1636592 w 3832826"/>
                <a:gd name="connsiteY773" fmla="*/ 3675271 h 5120141"/>
                <a:gd name="connsiteX774" fmla="*/ 1519948 w 3832826"/>
                <a:gd name="connsiteY774" fmla="*/ 3568035 h 5120141"/>
                <a:gd name="connsiteX775" fmla="*/ 1518826 w 3832826"/>
                <a:gd name="connsiteY775" fmla="*/ 3569070 h 5120141"/>
                <a:gd name="connsiteX776" fmla="*/ 1510411 w 3832826"/>
                <a:gd name="connsiteY776" fmla="*/ 3561053 h 5120141"/>
                <a:gd name="connsiteX777" fmla="*/ 1497790 w 3832826"/>
                <a:gd name="connsiteY777" fmla="*/ 3553037 h 5120141"/>
                <a:gd name="connsiteX778" fmla="*/ 1468339 w 3832826"/>
                <a:gd name="connsiteY778" fmla="*/ 3537005 h 5120141"/>
                <a:gd name="connsiteX779" fmla="*/ 1409437 w 3832826"/>
                <a:gd name="connsiteY779" fmla="*/ 3514942 h 5120141"/>
                <a:gd name="connsiteX780" fmla="*/ 1386297 w 3832826"/>
                <a:gd name="connsiteY780" fmla="*/ 3504939 h 5120141"/>
                <a:gd name="connsiteX781" fmla="*/ 1365260 w 3832826"/>
                <a:gd name="connsiteY781" fmla="*/ 3492950 h 5120141"/>
                <a:gd name="connsiteX782" fmla="*/ 1363157 w 3832826"/>
                <a:gd name="connsiteY782" fmla="*/ 3486920 h 5120141"/>
                <a:gd name="connsiteX783" fmla="*/ 1361053 w 3832826"/>
                <a:gd name="connsiteY783" fmla="*/ 3482877 h 5120141"/>
                <a:gd name="connsiteX784" fmla="*/ 1358949 w 3832826"/>
                <a:gd name="connsiteY784" fmla="*/ 3474861 h 5120141"/>
                <a:gd name="connsiteX785" fmla="*/ 1354742 w 3832826"/>
                <a:gd name="connsiteY785" fmla="*/ 3470888 h 5120141"/>
                <a:gd name="connsiteX786" fmla="*/ 1340017 w 3832826"/>
                <a:gd name="connsiteY786" fmla="*/ 3446839 h 5120141"/>
                <a:gd name="connsiteX787" fmla="*/ 1318980 w 3832826"/>
                <a:gd name="connsiteY787" fmla="*/ 3426763 h 5120141"/>
                <a:gd name="connsiteX788" fmla="*/ 1316877 w 3832826"/>
                <a:gd name="connsiteY788" fmla="*/ 3426763 h 5120141"/>
                <a:gd name="connsiteX789" fmla="*/ 1310566 w 3832826"/>
                <a:gd name="connsiteY789" fmla="*/ 3422790 h 5120141"/>
                <a:gd name="connsiteX790" fmla="*/ 1300047 w 3832826"/>
                <a:gd name="connsiteY790" fmla="*/ 3416760 h 5120141"/>
                <a:gd name="connsiteX791" fmla="*/ 1297944 w 3832826"/>
                <a:gd name="connsiteY791" fmla="*/ 3414774 h 5120141"/>
                <a:gd name="connsiteX792" fmla="*/ 1297944 w 3832826"/>
                <a:gd name="connsiteY792" fmla="*/ 3410730 h 5120141"/>
                <a:gd name="connsiteX793" fmla="*/ 1300047 w 3832826"/>
                <a:gd name="connsiteY793" fmla="*/ 3402714 h 5120141"/>
                <a:gd name="connsiteX794" fmla="*/ 1308462 w 3832826"/>
                <a:gd name="connsiteY794" fmla="*/ 3394698 h 5120141"/>
                <a:gd name="connsiteX795" fmla="*/ 1297944 w 3832826"/>
                <a:gd name="connsiteY795" fmla="*/ 3380722 h 5120141"/>
                <a:gd name="connsiteX796" fmla="*/ 1291633 w 3832826"/>
                <a:gd name="connsiteY796" fmla="*/ 3366676 h 5120141"/>
                <a:gd name="connsiteX797" fmla="*/ 1291633 w 3832826"/>
                <a:gd name="connsiteY797" fmla="*/ 3354616 h 5120141"/>
                <a:gd name="connsiteX798" fmla="*/ 1295840 w 3832826"/>
                <a:gd name="connsiteY798" fmla="*/ 3344614 h 5120141"/>
                <a:gd name="connsiteX799" fmla="*/ 1300047 w 3832826"/>
                <a:gd name="connsiteY799" fmla="*/ 3334611 h 5120141"/>
                <a:gd name="connsiteX800" fmla="*/ 1306358 w 3832826"/>
                <a:gd name="connsiteY800" fmla="*/ 3324608 h 5120141"/>
                <a:gd name="connsiteX801" fmla="*/ 1308462 w 3832826"/>
                <a:gd name="connsiteY801" fmla="*/ 3318578 h 5120141"/>
                <a:gd name="connsiteX802" fmla="*/ 1306358 w 3832826"/>
                <a:gd name="connsiteY802" fmla="*/ 3310562 h 5120141"/>
                <a:gd name="connsiteX803" fmla="*/ 1302151 w 3832826"/>
                <a:gd name="connsiteY803" fmla="*/ 3302546 h 5120141"/>
                <a:gd name="connsiteX804" fmla="*/ 1295840 w 3832826"/>
                <a:gd name="connsiteY804" fmla="*/ 3294529 h 5120141"/>
                <a:gd name="connsiteX805" fmla="*/ 1295840 w 3832826"/>
                <a:gd name="connsiteY805" fmla="*/ 3290486 h 5120141"/>
                <a:gd name="connsiteX806" fmla="*/ 1291633 w 3832826"/>
                <a:gd name="connsiteY806" fmla="*/ 3288499 h 5120141"/>
                <a:gd name="connsiteX807" fmla="*/ 1297944 w 3832826"/>
                <a:gd name="connsiteY807" fmla="*/ 3280483 h 5120141"/>
                <a:gd name="connsiteX808" fmla="*/ 1302151 w 3832826"/>
                <a:gd name="connsiteY808" fmla="*/ 3272467 h 5120141"/>
                <a:gd name="connsiteX809" fmla="*/ 1306358 w 3832826"/>
                <a:gd name="connsiteY809" fmla="*/ 3262464 h 5120141"/>
                <a:gd name="connsiteX810" fmla="*/ 1306358 w 3832826"/>
                <a:gd name="connsiteY810" fmla="*/ 3258421 h 5120141"/>
                <a:gd name="connsiteX811" fmla="*/ 1302151 w 3832826"/>
                <a:gd name="connsiteY811" fmla="*/ 3252462 h 5120141"/>
                <a:gd name="connsiteX812" fmla="*/ 1302205 w 3832826"/>
                <a:gd name="connsiteY812" fmla="*/ 3250392 h 5120141"/>
                <a:gd name="connsiteX813" fmla="*/ 1302151 w 3832826"/>
                <a:gd name="connsiteY813" fmla="*/ 3250439 h 5120141"/>
                <a:gd name="connsiteX814" fmla="*/ 1270596 w 3832826"/>
                <a:gd name="connsiteY814" fmla="*/ 3222383 h 5120141"/>
                <a:gd name="connsiteX815" fmla="*/ 1268493 w 3832826"/>
                <a:gd name="connsiteY815" fmla="*/ 3218375 h 5120141"/>
                <a:gd name="connsiteX816" fmla="*/ 1264285 w 3832826"/>
                <a:gd name="connsiteY816" fmla="*/ 3218375 h 5120141"/>
                <a:gd name="connsiteX817" fmla="*/ 1257974 w 3832826"/>
                <a:gd name="connsiteY817" fmla="*/ 3220379 h 5120141"/>
                <a:gd name="connsiteX818" fmla="*/ 1253767 w 3832826"/>
                <a:gd name="connsiteY818" fmla="*/ 3222383 h 5120141"/>
                <a:gd name="connsiteX819" fmla="*/ 1245353 w 3832826"/>
                <a:gd name="connsiteY819" fmla="*/ 3222383 h 5120141"/>
                <a:gd name="connsiteX820" fmla="*/ 1228523 w 3832826"/>
                <a:gd name="connsiteY820" fmla="*/ 3220379 h 5120141"/>
                <a:gd name="connsiteX821" fmla="*/ 1207487 w 3832826"/>
                <a:gd name="connsiteY821" fmla="*/ 3218375 h 5120141"/>
                <a:gd name="connsiteX822" fmla="*/ 1201176 w 3832826"/>
                <a:gd name="connsiteY822" fmla="*/ 3218375 h 5120141"/>
                <a:gd name="connsiteX823" fmla="*/ 1192761 w 3832826"/>
                <a:gd name="connsiteY823" fmla="*/ 3220379 h 5120141"/>
                <a:gd name="connsiteX824" fmla="*/ 1190658 w 3832826"/>
                <a:gd name="connsiteY824" fmla="*/ 3226391 h 5120141"/>
                <a:gd name="connsiteX825" fmla="*/ 1192761 w 3832826"/>
                <a:gd name="connsiteY825" fmla="*/ 3236411 h 5120141"/>
                <a:gd name="connsiteX826" fmla="*/ 1182243 w 3832826"/>
                <a:gd name="connsiteY826" fmla="*/ 3236411 h 5120141"/>
                <a:gd name="connsiteX827" fmla="*/ 1175932 w 3832826"/>
                <a:gd name="connsiteY827" fmla="*/ 3230399 h 5120141"/>
                <a:gd name="connsiteX828" fmla="*/ 1171725 w 3832826"/>
                <a:gd name="connsiteY828" fmla="*/ 3222383 h 5120141"/>
                <a:gd name="connsiteX829" fmla="*/ 1169621 w 3832826"/>
                <a:gd name="connsiteY829" fmla="*/ 3216371 h 5120141"/>
                <a:gd name="connsiteX830" fmla="*/ 1161207 w 3832826"/>
                <a:gd name="connsiteY830" fmla="*/ 3196332 h 5120141"/>
                <a:gd name="connsiteX831" fmla="*/ 1159103 w 3832826"/>
                <a:gd name="connsiteY831" fmla="*/ 3186312 h 5120141"/>
                <a:gd name="connsiteX832" fmla="*/ 1150689 w 3832826"/>
                <a:gd name="connsiteY832" fmla="*/ 3180300 h 5120141"/>
                <a:gd name="connsiteX833" fmla="*/ 1142274 w 3832826"/>
                <a:gd name="connsiteY833" fmla="*/ 3172284 h 5120141"/>
                <a:gd name="connsiteX834" fmla="*/ 1138067 w 3832826"/>
                <a:gd name="connsiteY834" fmla="*/ 3166272 h 5120141"/>
                <a:gd name="connsiteX835" fmla="*/ 1133859 w 3832826"/>
                <a:gd name="connsiteY835" fmla="*/ 3156253 h 5120141"/>
                <a:gd name="connsiteX836" fmla="*/ 1133859 w 3832826"/>
                <a:gd name="connsiteY836" fmla="*/ 3144229 h 5120141"/>
                <a:gd name="connsiteX837" fmla="*/ 1138067 w 3832826"/>
                <a:gd name="connsiteY837" fmla="*/ 3130201 h 5120141"/>
                <a:gd name="connsiteX838" fmla="*/ 1142274 w 3832826"/>
                <a:gd name="connsiteY838" fmla="*/ 3126193 h 5120141"/>
                <a:gd name="connsiteX839" fmla="*/ 1148585 w 3832826"/>
                <a:gd name="connsiteY839" fmla="*/ 3124189 h 5120141"/>
                <a:gd name="connsiteX840" fmla="*/ 1154896 w 3832826"/>
                <a:gd name="connsiteY840" fmla="*/ 3118177 h 5120141"/>
                <a:gd name="connsiteX841" fmla="*/ 1161207 w 3832826"/>
                <a:gd name="connsiteY841" fmla="*/ 3110161 h 5120141"/>
                <a:gd name="connsiteX842" fmla="*/ 1163310 w 3832826"/>
                <a:gd name="connsiteY842" fmla="*/ 3106153 h 5120141"/>
                <a:gd name="connsiteX843" fmla="*/ 1161207 w 3832826"/>
                <a:gd name="connsiteY843" fmla="*/ 3090122 h 5120141"/>
                <a:gd name="connsiteX844" fmla="*/ 1159103 w 3832826"/>
                <a:gd name="connsiteY844" fmla="*/ 3076094 h 5120141"/>
                <a:gd name="connsiteX845" fmla="*/ 1159103 w 3832826"/>
                <a:gd name="connsiteY845" fmla="*/ 3068078 h 5120141"/>
                <a:gd name="connsiteX846" fmla="*/ 1159103 w 3832826"/>
                <a:gd name="connsiteY846" fmla="*/ 3060062 h 5120141"/>
                <a:gd name="connsiteX847" fmla="*/ 1161207 w 3832826"/>
                <a:gd name="connsiteY847" fmla="*/ 3056054 h 5120141"/>
                <a:gd name="connsiteX848" fmla="*/ 1159103 w 3832826"/>
                <a:gd name="connsiteY848" fmla="*/ 3050042 h 5120141"/>
                <a:gd name="connsiteX849" fmla="*/ 1154896 w 3832826"/>
                <a:gd name="connsiteY849" fmla="*/ 3048038 h 5120141"/>
                <a:gd name="connsiteX850" fmla="*/ 1150689 w 3832826"/>
                <a:gd name="connsiteY850" fmla="*/ 3046035 h 5120141"/>
                <a:gd name="connsiteX851" fmla="*/ 1140170 w 3832826"/>
                <a:gd name="connsiteY851" fmla="*/ 3044031 h 5120141"/>
                <a:gd name="connsiteX852" fmla="*/ 1133859 w 3832826"/>
                <a:gd name="connsiteY852" fmla="*/ 3040023 h 5120141"/>
                <a:gd name="connsiteX853" fmla="*/ 1131756 w 3832826"/>
                <a:gd name="connsiteY853" fmla="*/ 3038019 h 5120141"/>
                <a:gd name="connsiteX854" fmla="*/ 1127548 w 3832826"/>
                <a:gd name="connsiteY854" fmla="*/ 3030003 h 5120141"/>
                <a:gd name="connsiteX855" fmla="*/ 1123341 w 3832826"/>
                <a:gd name="connsiteY855" fmla="*/ 3023991 h 5120141"/>
                <a:gd name="connsiteX856" fmla="*/ 1127548 w 3832826"/>
                <a:gd name="connsiteY856" fmla="*/ 3015975 h 5120141"/>
                <a:gd name="connsiteX857" fmla="*/ 1127548 w 3832826"/>
                <a:gd name="connsiteY857" fmla="*/ 3007959 h 5120141"/>
                <a:gd name="connsiteX858" fmla="*/ 1121238 w 3832826"/>
                <a:gd name="connsiteY858" fmla="*/ 2989924 h 5120141"/>
                <a:gd name="connsiteX859" fmla="*/ 1119134 w 3832826"/>
                <a:gd name="connsiteY859" fmla="*/ 2983912 h 5120141"/>
                <a:gd name="connsiteX860" fmla="*/ 1119134 w 3832826"/>
                <a:gd name="connsiteY860" fmla="*/ 2975896 h 5120141"/>
                <a:gd name="connsiteX861" fmla="*/ 1119133 w 3832826"/>
                <a:gd name="connsiteY861" fmla="*/ 2975897 h 5120141"/>
                <a:gd name="connsiteX862" fmla="*/ 1119133 w 3832826"/>
                <a:gd name="connsiteY862" fmla="*/ 2965877 h 5120141"/>
                <a:gd name="connsiteX863" fmla="*/ 1112822 w 3832826"/>
                <a:gd name="connsiteY863" fmla="*/ 2955857 h 5120141"/>
                <a:gd name="connsiteX864" fmla="*/ 1106511 w 3832826"/>
                <a:gd name="connsiteY864" fmla="*/ 2949845 h 5120141"/>
                <a:gd name="connsiteX865" fmla="*/ 1095993 w 3832826"/>
                <a:gd name="connsiteY865" fmla="*/ 2945837 h 5120141"/>
                <a:gd name="connsiteX866" fmla="*/ 1074956 w 3832826"/>
                <a:gd name="connsiteY866" fmla="*/ 2935817 h 5120141"/>
                <a:gd name="connsiteX867" fmla="*/ 1066542 w 3832826"/>
                <a:gd name="connsiteY867" fmla="*/ 2929806 h 5120141"/>
                <a:gd name="connsiteX868" fmla="*/ 1064438 w 3832826"/>
                <a:gd name="connsiteY868" fmla="*/ 2923794 h 5120141"/>
                <a:gd name="connsiteX869" fmla="*/ 1064438 w 3832826"/>
                <a:gd name="connsiteY869" fmla="*/ 2815579 h 5120141"/>
                <a:gd name="connsiteX870" fmla="*/ 1064438 w 3832826"/>
                <a:gd name="connsiteY870" fmla="*/ 2763476 h 5120141"/>
                <a:gd name="connsiteX871" fmla="*/ 1066542 w 3832826"/>
                <a:gd name="connsiteY871" fmla="*/ 2707365 h 5120141"/>
                <a:gd name="connsiteX872" fmla="*/ 1070749 w 3832826"/>
                <a:gd name="connsiteY872" fmla="*/ 2697345 h 5120141"/>
                <a:gd name="connsiteX873" fmla="*/ 1077060 w 3832826"/>
                <a:gd name="connsiteY873" fmla="*/ 2687326 h 5120141"/>
                <a:gd name="connsiteX874" fmla="*/ 1074956 w 3832826"/>
                <a:gd name="connsiteY874" fmla="*/ 2683318 h 5120141"/>
                <a:gd name="connsiteX875" fmla="*/ 1070749 w 3832826"/>
                <a:gd name="connsiteY875" fmla="*/ 2681314 h 5120141"/>
                <a:gd name="connsiteX876" fmla="*/ 1066542 w 3832826"/>
                <a:gd name="connsiteY876" fmla="*/ 2677306 h 5120141"/>
                <a:gd name="connsiteX877" fmla="*/ 1058127 w 3832826"/>
                <a:gd name="connsiteY877" fmla="*/ 2675302 h 5120141"/>
                <a:gd name="connsiteX878" fmla="*/ 1053920 w 3832826"/>
                <a:gd name="connsiteY878" fmla="*/ 2671294 h 5120141"/>
                <a:gd name="connsiteX879" fmla="*/ 1049713 w 3832826"/>
                <a:gd name="connsiteY879" fmla="*/ 2657266 h 5120141"/>
                <a:gd name="connsiteX880" fmla="*/ 1053920 w 3832826"/>
                <a:gd name="connsiteY880" fmla="*/ 2645242 h 5120141"/>
                <a:gd name="connsiteX881" fmla="*/ 1058127 w 3832826"/>
                <a:gd name="connsiteY881" fmla="*/ 2633218 h 5120141"/>
                <a:gd name="connsiteX882" fmla="*/ 1058127 w 3832826"/>
                <a:gd name="connsiteY882" fmla="*/ 2623199 h 5120141"/>
                <a:gd name="connsiteX883" fmla="*/ 1058127 w 3832826"/>
                <a:gd name="connsiteY883" fmla="*/ 2613179 h 5120141"/>
                <a:gd name="connsiteX884" fmla="*/ 1056023 w 3832826"/>
                <a:gd name="connsiteY884" fmla="*/ 2601155 h 5120141"/>
                <a:gd name="connsiteX885" fmla="*/ 1049713 w 3832826"/>
                <a:gd name="connsiteY885" fmla="*/ 2577107 h 5120141"/>
                <a:gd name="connsiteX886" fmla="*/ 1047609 w 3832826"/>
                <a:gd name="connsiteY886" fmla="*/ 2565084 h 5120141"/>
                <a:gd name="connsiteX887" fmla="*/ 1049713 w 3832826"/>
                <a:gd name="connsiteY887" fmla="*/ 2555064 h 5120141"/>
                <a:gd name="connsiteX888" fmla="*/ 1053920 w 3832826"/>
                <a:gd name="connsiteY888" fmla="*/ 2547048 h 5120141"/>
                <a:gd name="connsiteX889" fmla="*/ 1060231 w 3832826"/>
                <a:gd name="connsiteY889" fmla="*/ 2543040 h 5120141"/>
                <a:gd name="connsiteX890" fmla="*/ 1058389 w 3832826"/>
                <a:gd name="connsiteY890" fmla="*/ 2529007 h 5120141"/>
                <a:gd name="connsiteX891" fmla="*/ 1056029 w 3832826"/>
                <a:gd name="connsiteY891" fmla="*/ 2529007 h 5120141"/>
                <a:gd name="connsiteX892" fmla="*/ 1049713 w 3832826"/>
                <a:gd name="connsiteY892" fmla="*/ 2535024 h 5120141"/>
                <a:gd name="connsiteX893" fmla="*/ 1049713 w 3832826"/>
                <a:gd name="connsiteY893" fmla="*/ 2533020 h 5120141"/>
                <a:gd name="connsiteX894" fmla="*/ 1049713 w 3832826"/>
                <a:gd name="connsiteY894" fmla="*/ 2529007 h 5120141"/>
                <a:gd name="connsiteX895" fmla="*/ 904562 w 3832826"/>
                <a:gd name="connsiteY895" fmla="*/ 2529007 h 5120141"/>
                <a:gd name="connsiteX896" fmla="*/ 904562 w 3832826"/>
                <a:gd name="connsiteY896" fmla="*/ 2129394 h 5120141"/>
                <a:gd name="connsiteX897" fmla="*/ 889837 w 3832826"/>
                <a:gd name="connsiteY897" fmla="*/ 2130219 h 5120141"/>
                <a:gd name="connsiteX898" fmla="*/ 868800 w 3832826"/>
                <a:gd name="connsiteY898" fmla="*/ 2132223 h 5120141"/>
                <a:gd name="connsiteX899" fmla="*/ 841453 w 3832826"/>
                <a:gd name="connsiteY899" fmla="*/ 2130219 h 5120141"/>
                <a:gd name="connsiteX900" fmla="*/ 816209 w 3832826"/>
                <a:gd name="connsiteY900" fmla="*/ 2132223 h 5120141"/>
                <a:gd name="connsiteX901" fmla="*/ 793069 w 3832826"/>
                <a:gd name="connsiteY901" fmla="*/ 2140239 h 5120141"/>
                <a:gd name="connsiteX902" fmla="*/ 769929 w 3832826"/>
                <a:gd name="connsiteY902" fmla="*/ 2150258 h 5120141"/>
                <a:gd name="connsiteX903" fmla="*/ 748892 w 3832826"/>
                <a:gd name="connsiteY903" fmla="*/ 2162282 h 5120141"/>
                <a:gd name="connsiteX904" fmla="*/ 738374 w 3832826"/>
                <a:gd name="connsiteY904" fmla="*/ 2164286 h 5120141"/>
                <a:gd name="connsiteX905" fmla="*/ 732063 w 3832826"/>
                <a:gd name="connsiteY905" fmla="*/ 2164286 h 5120141"/>
                <a:gd name="connsiteX906" fmla="*/ 725752 w 3832826"/>
                <a:gd name="connsiteY906" fmla="*/ 2162282 h 5120141"/>
                <a:gd name="connsiteX907" fmla="*/ 704716 w 3832826"/>
                <a:gd name="connsiteY907" fmla="*/ 2152262 h 5120141"/>
                <a:gd name="connsiteX908" fmla="*/ 692094 w 3832826"/>
                <a:gd name="connsiteY908" fmla="*/ 2150258 h 5120141"/>
                <a:gd name="connsiteX909" fmla="*/ 677369 w 3832826"/>
                <a:gd name="connsiteY909" fmla="*/ 2150258 h 5120141"/>
                <a:gd name="connsiteX910" fmla="*/ 677369 w 3832826"/>
                <a:gd name="connsiteY910" fmla="*/ 2140239 h 5120141"/>
                <a:gd name="connsiteX911" fmla="*/ 675265 w 3832826"/>
                <a:gd name="connsiteY911" fmla="*/ 2128215 h 5120141"/>
                <a:gd name="connsiteX912" fmla="*/ 664747 w 3832826"/>
                <a:gd name="connsiteY912" fmla="*/ 2104167 h 5120141"/>
                <a:gd name="connsiteX913" fmla="*/ 643710 w 3832826"/>
                <a:gd name="connsiteY913" fmla="*/ 2062084 h 5120141"/>
                <a:gd name="connsiteX914" fmla="*/ 639503 w 3832826"/>
                <a:gd name="connsiteY914" fmla="*/ 2060080 h 5120141"/>
                <a:gd name="connsiteX915" fmla="*/ 633192 w 3832826"/>
                <a:gd name="connsiteY915" fmla="*/ 2056072 h 5120141"/>
                <a:gd name="connsiteX916" fmla="*/ 635296 w 3832826"/>
                <a:gd name="connsiteY916" fmla="*/ 2050060 h 5120141"/>
                <a:gd name="connsiteX917" fmla="*/ 635296 w 3832826"/>
                <a:gd name="connsiteY917" fmla="*/ 2042044 h 5120141"/>
                <a:gd name="connsiteX918" fmla="*/ 624777 w 3832826"/>
                <a:gd name="connsiteY918" fmla="*/ 2028016 h 5120141"/>
                <a:gd name="connsiteX919" fmla="*/ 612156 w 3832826"/>
                <a:gd name="connsiteY919" fmla="*/ 2009980 h 5120141"/>
                <a:gd name="connsiteX920" fmla="*/ 591119 w 3832826"/>
                <a:gd name="connsiteY920" fmla="*/ 1967897 h 5120141"/>
                <a:gd name="connsiteX921" fmla="*/ 570083 w 3832826"/>
                <a:gd name="connsiteY921" fmla="*/ 1925813 h 5120141"/>
                <a:gd name="connsiteX922" fmla="*/ 561668 w 3832826"/>
                <a:gd name="connsiteY922" fmla="*/ 1909781 h 5120141"/>
                <a:gd name="connsiteX923" fmla="*/ 555357 w 3832826"/>
                <a:gd name="connsiteY923" fmla="*/ 1897757 h 5120141"/>
                <a:gd name="connsiteX924" fmla="*/ 544839 w 3832826"/>
                <a:gd name="connsiteY924" fmla="*/ 1887738 h 5120141"/>
                <a:gd name="connsiteX925" fmla="*/ 530114 w 3832826"/>
                <a:gd name="connsiteY925" fmla="*/ 1879722 h 5120141"/>
                <a:gd name="connsiteX926" fmla="*/ 517492 w 3832826"/>
                <a:gd name="connsiteY926" fmla="*/ 1877718 h 5120141"/>
                <a:gd name="connsiteX927" fmla="*/ 502766 w 3832826"/>
                <a:gd name="connsiteY927" fmla="*/ 1877718 h 5120141"/>
                <a:gd name="connsiteX928" fmla="*/ 488041 w 3832826"/>
                <a:gd name="connsiteY928" fmla="*/ 1877718 h 5120141"/>
                <a:gd name="connsiteX929" fmla="*/ 481730 w 3832826"/>
                <a:gd name="connsiteY929" fmla="*/ 1875714 h 5120141"/>
                <a:gd name="connsiteX930" fmla="*/ 473315 w 3832826"/>
                <a:gd name="connsiteY930" fmla="*/ 1873710 h 5120141"/>
                <a:gd name="connsiteX931" fmla="*/ 473315 w 3832826"/>
                <a:gd name="connsiteY931" fmla="*/ 1857678 h 5120141"/>
                <a:gd name="connsiteX932" fmla="*/ 471212 w 3832826"/>
                <a:gd name="connsiteY932" fmla="*/ 1847658 h 5120141"/>
                <a:gd name="connsiteX933" fmla="*/ 462797 w 3832826"/>
                <a:gd name="connsiteY933" fmla="*/ 1829622 h 5120141"/>
                <a:gd name="connsiteX934" fmla="*/ 462797 w 3832826"/>
                <a:gd name="connsiteY934" fmla="*/ 1823611 h 5120141"/>
                <a:gd name="connsiteX935" fmla="*/ 467004 w 3832826"/>
                <a:gd name="connsiteY935" fmla="*/ 1817599 h 5120141"/>
                <a:gd name="connsiteX936" fmla="*/ 481730 w 3832826"/>
                <a:gd name="connsiteY936" fmla="*/ 1815595 h 5120141"/>
                <a:gd name="connsiteX937" fmla="*/ 491767 w 3832826"/>
                <a:gd name="connsiteY937" fmla="*/ 1801335 h 5120141"/>
                <a:gd name="connsiteX938" fmla="*/ 486799 w 3832826"/>
                <a:gd name="connsiteY938" fmla="*/ 1797561 h 5120141"/>
                <a:gd name="connsiteX939" fmla="*/ 476248 w 3832826"/>
                <a:gd name="connsiteY939" fmla="*/ 1787541 h 5120141"/>
                <a:gd name="connsiteX940" fmla="*/ 465697 w 3832826"/>
                <a:gd name="connsiteY940" fmla="*/ 1779525 h 5120141"/>
                <a:gd name="connsiteX941" fmla="*/ 463587 w 3832826"/>
                <a:gd name="connsiteY941" fmla="*/ 1775517 h 5120141"/>
                <a:gd name="connsiteX942" fmla="*/ 463587 w 3832826"/>
                <a:gd name="connsiteY942" fmla="*/ 1769505 h 5120141"/>
                <a:gd name="connsiteX943" fmla="*/ 463587 w 3832826"/>
                <a:gd name="connsiteY943" fmla="*/ 1757481 h 5120141"/>
                <a:gd name="connsiteX944" fmla="*/ 465697 w 3832826"/>
                <a:gd name="connsiteY944" fmla="*/ 1747461 h 5120141"/>
                <a:gd name="connsiteX945" fmla="*/ 463587 w 3832826"/>
                <a:gd name="connsiteY945" fmla="*/ 1737442 h 5120141"/>
                <a:gd name="connsiteX946" fmla="*/ 455146 w 3832826"/>
                <a:gd name="connsiteY946" fmla="*/ 1735438 h 5120141"/>
                <a:gd name="connsiteX947" fmla="*/ 438265 w 3832826"/>
                <a:gd name="connsiteY947" fmla="*/ 1729426 h 5120141"/>
                <a:gd name="connsiteX948" fmla="*/ 423494 w 3832826"/>
                <a:gd name="connsiteY948" fmla="*/ 1723414 h 5120141"/>
                <a:gd name="connsiteX949" fmla="*/ 415054 w 3832826"/>
                <a:gd name="connsiteY949" fmla="*/ 1717402 h 5120141"/>
                <a:gd name="connsiteX950" fmla="*/ 412943 w 3832826"/>
                <a:gd name="connsiteY950" fmla="*/ 1715398 h 5120141"/>
                <a:gd name="connsiteX951" fmla="*/ 406613 w 3832826"/>
                <a:gd name="connsiteY951" fmla="*/ 1699366 h 5120141"/>
                <a:gd name="connsiteX952" fmla="*/ 404503 w 3832826"/>
                <a:gd name="connsiteY952" fmla="*/ 1677323 h 5120141"/>
                <a:gd name="connsiteX953" fmla="*/ 404503 w 3832826"/>
                <a:gd name="connsiteY953" fmla="*/ 1657283 h 5120141"/>
                <a:gd name="connsiteX954" fmla="*/ 406613 w 3832826"/>
                <a:gd name="connsiteY954" fmla="*/ 1643255 h 5120141"/>
                <a:gd name="connsiteX955" fmla="*/ 410833 w 3832826"/>
                <a:gd name="connsiteY955" fmla="*/ 1637243 h 5120141"/>
                <a:gd name="connsiteX956" fmla="*/ 415054 w 3832826"/>
                <a:gd name="connsiteY956" fmla="*/ 1635239 h 5120141"/>
                <a:gd name="connsiteX957" fmla="*/ 421384 w 3832826"/>
                <a:gd name="connsiteY957" fmla="*/ 1631231 h 5120141"/>
                <a:gd name="connsiteX958" fmla="*/ 421384 w 3832826"/>
                <a:gd name="connsiteY958" fmla="*/ 1621212 h 5120141"/>
                <a:gd name="connsiteX959" fmla="*/ 417164 w 3832826"/>
                <a:gd name="connsiteY959" fmla="*/ 1613196 h 5120141"/>
                <a:gd name="connsiteX960" fmla="*/ 406613 w 3832826"/>
                <a:gd name="connsiteY960" fmla="*/ 1605180 h 5120141"/>
                <a:gd name="connsiteX961" fmla="*/ 391842 w 3832826"/>
                <a:gd name="connsiteY961" fmla="*/ 1593156 h 5120141"/>
                <a:gd name="connsiteX962" fmla="*/ 374961 w 3832826"/>
                <a:gd name="connsiteY962" fmla="*/ 1587144 h 5120141"/>
                <a:gd name="connsiteX963" fmla="*/ 355969 w 3832826"/>
                <a:gd name="connsiteY963" fmla="*/ 1585140 h 5120141"/>
                <a:gd name="connsiteX964" fmla="*/ 317987 w 3832826"/>
                <a:gd name="connsiteY964" fmla="*/ 1581132 h 5120141"/>
                <a:gd name="connsiteX965" fmla="*/ 296885 w 3832826"/>
                <a:gd name="connsiteY965" fmla="*/ 1577124 h 5120141"/>
                <a:gd name="connsiteX966" fmla="*/ 277894 w 3832826"/>
                <a:gd name="connsiteY966" fmla="*/ 1571112 h 5120141"/>
                <a:gd name="connsiteX967" fmla="*/ 263123 w 3832826"/>
                <a:gd name="connsiteY967" fmla="*/ 1561093 h 5120141"/>
                <a:gd name="connsiteX968" fmla="*/ 246242 w 3832826"/>
                <a:gd name="connsiteY968" fmla="*/ 1545061 h 5120141"/>
                <a:gd name="connsiteX969" fmla="*/ 229361 w 3832826"/>
                <a:gd name="connsiteY969" fmla="*/ 1533037 h 5120141"/>
                <a:gd name="connsiteX970" fmla="*/ 220920 w 3832826"/>
                <a:gd name="connsiteY970" fmla="*/ 1523017 h 5120141"/>
                <a:gd name="connsiteX971" fmla="*/ 212479 w 3832826"/>
                <a:gd name="connsiteY971" fmla="*/ 1515001 h 5120141"/>
                <a:gd name="connsiteX972" fmla="*/ 210369 w 3832826"/>
                <a:gd name="connsiteY972" fmla="*/ 1504982 h 5120141"/>
                <a:gd name="connsiteX973" fmla="*/ 208259 w 3832826"/>
                <a:gd name="connsiteY973" fmla="*/ 1494962 h 5120141"/>
                <a:gd name="connsiteX974" fmla="*/ 210369 w 3832826"/>
                <a:gd name="connsiteY974" fmla="*/ 1486946 h 5120141"/>
                <a:gd name="connsiteX975" fmla="*/ 218810 w 3832826"/>
                <a:gd name="connsiteY975" fmla="*/ 1476926 h 5120141"/>
                <a:gd name="connsiteX976" fmla="*/ 223030 w 3832826"/>
                <a:gd name="connsiteY976" fmla="*/ 1472918 h 5120141"/>
                <a:gd name="connsiteX977" fmla="*/ 223030 w 3832826"/>
                <a:gd name="connsiteY977" fmla="*/ 1464902 h 5120141"/>
                <a:gd name="connsiteX978" fmla="*/ 214590 w 3832826"/>
                <a:gd name="connsiteY978" fmla="*/ 1450874 h 5120141"/>
                <a:gd name="connsiteX979" fmla="*/ 212479 w 3832826"/>
                <a:gd name="connsiteY979" fmla="*/ 1444863 h 5120141"/>
                <a:gd name="connsiteX980" fmla="*/ 214590 w 3832826"/>
                <a:gd name="connsiteY980" fmla="*/ 1442859 h 5120141"/>
                <a:gd name="connsiteX981" fmla="*/ 220920 w 3832826"/>
                <a:gd name="connsiteY981" fmla="*/ 1442859 h 5120141"/>
                <a:gd name="connsiteX982" fmla="*/ 235691 w 3832826"/>
                <a:gd name="connsiteY982" fmla="*/ 1444863 h 5120141"/>
                <a:gd name="connsiteX983" fmla="*/ 242685 w 3832826"/>
                <a:gd name="connsiteY983" fmla="*/ 1444830 h 5120141"/>
                <a:gd name="connsiteX984" fmla="*/ 239592 w 3832826"/>
                <a:gd name="connsiteY984" fmla="*/ 1442715 h 5120141"/>
                <a:gd name="connsiteX985" fmla="*/ 240798 w 3832826"/>
                <a:gd name="connsiteY985" fmla="*/ 1440839 h 5120141"/>
                <a:gd name="connsiteX986" fmla="*/ 237706 w 3832826"/>
                <a:gd name="connsiteY986" fmla="*/ 1440853 h 5120141"/>
                <a:gd name="connsiteX987" fmla="*/ 241926 w 3832826"/>
                <a:gd name="connsiteY987" fmla="*/ 1378746 h 5120141"/>
                <a:gd name="connsiteX988" fmla="*/ 241926 w 3832826"/>
                <a:gd name="connsiteY988" fmla="*/ 1346677 h 5120141"/>
                <a:gd name="connsiteX989" fmla="*/ 237706 w 3832826"/>
                <a:gd name="connsiteY989" fmla="*/ 1316605 h 5120141"/>
                <a:gd name="connsiteX990" fmla="*/ 237706 w 3832826"/>
                <a:gd name="connsiteY990" fmla="*/ 1314609 h 5120141"/>
                <a:gd name="connsiteX991" fmla="*/ 237706 w 3832826"/>
                <a:gd name="connsiteY991" fmla="*/ 1300571 h 5120141"/>
                <a:gd name="connsiteX992" fmla="*/ 237706 w 3832826"/>
                <a:gd name="connsiteY992" fmla="*/ 1290558 h 5120141"/>
                <a:gd name="connsiteX993" fmla="*/ 237706 w 3832826"/>
                <a:gd name="connsiteY993" fmla="*/ 1288562 h 5120141"/>
                <a:gd name="connsiteX994" fmla="*/ 235558 w 3832826"/>
                <a:gd name="connsiteY994" fmla="*/ 1286533 h 5120141"/>
                <a:gd name="connsiteX995" fmla="*/ 231412 w 3832826"/>
                <a:gd name="connsiteY995" fmla="*/ 1284537 h 5120141"/>
                <a:gd name="connsiteX996" fmla="*/ 223044 w 3832826"/>
                <a:gd name="connsiteY996" fmla="*/ 1284537 h 5120141"/>
                <a:gd name="connsiteX997" fmla="*/ 132485 w 3832826"/>
                <a:gd name="connsiteY997" fmla="*/ 1284537 h 5120141"/>
                <a:gd name="connsiteX998" fmla="*/ 132485 w 3832826"/>
                <a:gd name="connsiteY998" fmla="*/ 1226421 h 5120141"/>
                <a:gd name="connsiteX999" fmla="*/ 130486 w 3832826"/>
                <a:gd name="connsiteY999" fmla="*/ 1194353 h 5120141"/>
                <a:gd name="connsiteX1000" fmla="*/ 128264 w 3832826"/>
                <a:gd name="connsiteY1000" fmla="*/ 1184340 h 5120141"/>
                <a:gd name="connsiteX1001" fmla="*/ 126191 w 3832826"/>
                <a:gd name="connsiteY1001" fmla="*/ 1178319 h 5120141"/>
                <a:gd name="connsiteX1002" fmla="*/ 122045 w 3832826"/>
                <a:gd name="connsiteY1002" fmla="*/ 1178319 h 5120141"/>
                <a:gd name="connsiteX1003" fmla="*/ 117750 w 3832826"/>
                <a:gd name="connsiteY1003" fmla="*/ 1176323 h 5120141"/>
                <a:gd name="connsiteX1004" fmla="*/ 117750 w 3832826"/>
                <a:gd name="connsiteY1004" fmla="*/ 1174327 h 5120141"/>
                <a:gd name="connsiteX1005" fmla="*/ 117750 w 3832826"/>
                <a:gd name="connsiteY1005" fmla="*/ 1164314 h 5120141"/>
                <a:gd name="connsiteX1006" fmla="*/ 117750 w 3832826"/>
                <a:gd name="connsiteY1006" fmla="*/ 1158293 h 5120141"/>
                <a:gd name="connsiteX1007" fmla="*/ 115751 w 3832826"/>
                <a:gd name="connsiteY1007" fmla="*/ 1154301 h 5120141"/>
                <a:gd name="connsiteX1008" fmla="*/ 111456 w 3832826"/>
                <a:gd name="connsiteY1008" fmla="*/ 1152272 h 5120141"/>
                <a:gd name="connsiteX1009" fmla="*/ 105162 w 3832826"/>
                <a:gd name="connsiteY1009" fmla="*/ 1148280 h 5120141"/>
                <a:gd name="connsiteX1010" fmla="*/ 100941 w 3832826"/>
                <a:gd name="connsiteY1010" fmla="*/ 1148280 h 5120141"/>
                <a:gd name="connsiteX1011" fmla="*/ 98868 w 3832826"/>
                <a:gd name="connsiteY1011" fmla="*/ 1144255 h 5120141"/>
                <a:gd name="connsiteX1012" fmla="*/ 98868 w 3832826"/>
                <a:gd name="connsiteY1012" fmla="*/ 1134242 h 5120141"/>
                <a:gd name="connsiteX1013" fmla="*/ 98868 w 3832826"/>
                <a:gd name="connsiteY1013" fmla="*/ 1112205 h 5120141"/>
                <a:gd name="connsiteX1014" fmla="*/ 96768 w 3832826"/>
                <a:gd name="connsiteY1014" fmla="*/ 1112205 h 5120141"/>
                <a:gd name="connsiteX1015" fmla="*/ 84146 w 3832826"/>
                <a:gd name="connsiteY1015" fmla="*/ 1076133 h 5120141"/>
                <a:gd name="connsiteX1016" fmla="*/ 82042 w 3832826"/>
                <a:gd name="connsiteY1016" fmla="*/ 1056094 h 5120141"/>
                <a:gd name="connsiteX1017" fmla="*/ 84146 w 3832826"/>
                <a:gd name="connsiteY1017" fmla="*/ 1046074 h 5120141"/>
                <a:gd name="connsiteX1018" fmla="*/ 86250 w 3832826"/>
                <a:gd name="connsiteY1018" fmla="*/ 1036054 h 5120141"/>
                <a:gd name="connsiteX1019" fmla="*/ 96768 w 3832826"/>
                <a:gd name="connsiteY1019" fmla="*/ 1018018 h 5120141"/>
                <a:gd name="connsiteX1020" fmla="*/ 103079 w 3832826"/>
                <a:gd name="connsiteY1020" fmla="*/ 1003990 h 5120141"/>
                <a:gd name="connsiteX1021" fmla="*/ 103079 w 3832826"/>
                <a:gd name="connsiteY1021" fmla="*/ 995974 h 5120141"/>
                <a:gd name="connsiteX1022" fmla="*/ 103079 w 3832826"/>
                <a:gd name="connsiteY1022" fmla="*/ 987959 h 5120141"/>
                <a:gd name="connsiteX1023" fmla="*/ 92561 w 3832826"/>
                <a:gd name="connsiteY1023" fmla="*/ 965915 h 5120141"/>
                <a:gd name="connsiteX1024" fmla="*/ 73628 w 3832826"/>
                <a:gd name="connsiteY1024" fmla="*/ 903792 h 5120141"/>
                <a:gd name="connsiteX1025" fmla="*/ 67317 w 3832826"/>
                <a:gd name="connsiteY1025" fmla="*/ 869724 h 5120141"/>
                <a:gd name="connsiteX1026" fmla="*/ 63110 w 3832826"/>
                <a:gd name="connsiteY1026" fmla="*/ 837661 h 5120141"/>
                <a:gd name="connsiteX1027" fmla="*/ 63110 w 3832826"/>
                <a:gd name="connsiteY1027" fmla="*/ 823633 h 5120141"/>
                <a:gd name="connsiteX1028" fmla="*/ 65213 w 3832826"/>
                <a:gd name="connsiteY1028" fmla="*/ 807601 h 5120141"/>
                <a:gd name="connsiteX1029" fmla="*/ 65213 w 3832826"/>
                <a:gd name="connsiteY1029" fmla="*/ 781549 h 5120141"/>
                <a:gd name="connsiteX1030" fmla="*/ 63110 w 3832826"/>
                <a:gd name="connsiteY1030" fmla="*/ 767522 h 5120141"/>
                <a:gd name="connsiteX1031" fmla="*/ 56799 w 3832826"/>
                <a:gd name="connsiteY1031" fmla="*/ 757502 h 5120141"/>
                <a:gd name="connsiteX1032" fmla="*/ 46281 w 3832826"/>
                <a:gd name="connsiteY1032" fmla="*/ 747482 h 5120141"/>
                <a:gd name="connsiteX1033" fmla="*/ 29452 w 3832826"/>
                <a:gd name="connsiteY1033" fmla="*/ 741470 h 5120141"/>
                <a:gd name="connsiteX1034" fmla="*/ 27348 w 3832826"/>
                <a:gd name="connsiteY1034" fmla="*/ 733454 h 5120141"/>
                <a:gd name="connsiteX1035" fmla="*/ 29452 w 3832826"/>
                <a:gd name="connsiteY1035" fmla="*/ 725438 h 5120141"/>
                <a:gd name="connsiteX1036" fmla="*/ 31555 w 3832826"/>
                <a:gd name="connsiteY1036" fmla="*/ 717422 h 5120141"/>
                <a:gd name="connsiteX1037" fmla="*/ 39970 w 3832826"/>
                <a:gd name="connsiteY1037" fmla="*/ 711410 h 5120141"/>
                <a:gd name="connsiteX1038" fmla="*/ 46281 w 3832826"/>
                <a:gd name="connsiteY1038" fmla="*/ 705398 h 5120141"/>
                <a:gd name="connsiteX1039" fmla="*/ 52880 w 3832826"/>
                <a:gd name="connsiteY1039" fmla="*/ 703827 h 5120141"/>
                <a:gd name="connsiteX1040" fmla="*/ 52638 w 3832826"/>
                <a:gd name="connsiteY1040" fmla="*/ 703357 h 5120141"/>
                <a:gd name="connsiteX1041" fmla="*/ 44132 w 3832826"/>
                <a:gd name="connsiteY1041" fmla="*/ 705433 h 5120141"/>
                <a:gd name="connsiteX1042" fmla="*/ 37845 w 3832826"/>
                <a:gd name="connsiteY1042" fmla="*/ 711439 h 5120141"/>
                <a:gd name="connsiteX1043" fmla="*/ 29462 w 3832826"/>
                <a:gd name="connsiteY1043" fmla="*/ 717445 h 5120141"/>
                <a:gd name="connsiteX1044" fmla="*/ 27367 w 3832826"/>
                <a:gd name="connsiteY1044" fmla="*/ 725453 h 5120141"/>
                <a:gd name="connsiteX1045" fmla="*/ 25271 w 3832826"/>
                <a:gd name="connsiteY1045" fmla="*/ 733461 h 5120141"/>
                <a:gd name="connsiteX1046" fmla="*/ 27367 w 3832826"/>
                <a:gd name="connsiteY1046" fmla="*/ 741469 h 5120141"/>
                <a:gd name="connsiteX1047" fmla="*/ 16888 w 3832826"/>
                <a:gd name="connsiteY1047" fmla="*/ 737465 h 5120141"/>
                <a:gd name="connsiteX1048" fmla="*/ 10478 w 3832826"/>
                <a:gd name="connsiteY1048" fmla="*/ 733461 h 5120141"/>
                <a:gd name="connsiteX1049" fmla="*/ 6287 w 3832826"/>
                <a:gd name="connsiteY1049" fmla="*/ 727455 h 5120141"/>
                <a:gd name="connsiteX1050" fmla="*/ 4191 w 3832826"/>
                <a:gd name="connsiteY1050" fmla="*/ 721449 h 5120141"/>
                <a:gd name="connsiteX1051" fmla="*/ 0 w 3832826"/>
                <a:gd name="connsiteY1051" fmla="*/ 713441 h 5120141"/>
                <a:gd name="connsiteX1052" fmla="*/ 4191 w 3832826"/>
                <a:gd name="connsiteY1052" fmla="*/ 705433 h 5120141"/>
                <a:gd name="connsiteX1053" fmla="*/ 8383 w 3832826"/>
                <a:gd name="connsiteY1053" fmla="*/ 691346 h 5120141"/>
                <a:gd name="connsiteX1054" fmla="*/ 16888 w 3832826"/>
                <a:gd name="connsiteY1054" fmla="*/ 673328 h 5120141"/>
                <a:gd name="connsiteX1055" fmla="*/ 27367 w 3832826"/>
                <a:gd name="connsiteY1055" fmla="*/ 657312 h 5120141"/>
                <a:gd name="connsiteX1056" fmla="*/ 44132 w 3832826"/>
                <a:gd name="connsiteY1056" fmla="*/ 637292 h 5120141"/>
                <a:gd name="connsiteX1057" fmla="*/ 50542 w 3832826"/>
                <a:gd name="connsiteY1057" fmla="*/ 631287 h 5120141"/>
                <a:gd name="connsiteX1058" fmla="*/ 52638 w 3832826"/>
                <a:gd name="connsiteY1058" fmla="*/ 625206 h 5120141"/>
                <a:gd name="connsiteX1059" fmla="*/ 52638 w 3832826"/>
                <a:gd name="connsiteY1059" fmla="*/ 623205 h 5120141"/>
                <a:gd name="connsiteX1060" fmla="*/ 63116 w 3832826"/>
                <a:gd name="connsiteY1060" fmla="*/ 621203 h 5120141"/>
                <a:gd name="connsiteX1061" fmla="*/ 75690 w 3832826"/>
                <a:gd name="connsiteY1061" fmla="*/ 617199 h 5120141"/>
                <a:gd name="connsiteX1062" fmla="*/ 86291 w 3832826"/>
                <a:gd name="connsiteY1062" fmla="*/ 611193 h 5120141"/>
                <a:gd name="connsiteX1063" fmla="*/ 100961 w 3832826"/>
                <a:gd name="connsiteY1063" fmla="*/ 599181 h 5120141"/>
                <a:gd name="connsiteX1064" fmla="*/ 107248 w 3832826"/>
                <a:gd name="connsiteY1064" fmla="*/ 595177 h 5120141"/>
                <a:gd name="connsiteX1065" fmla="*/ 113658 w 3832826"/>
                <a:gd name="connsiteY1065" fmla="*/ 595177 h 5120141"/>
                <a:gd name="connsiteX1066" fmla="*/ 117849 w 3832826"/>
                <a:gd name="connsiteY1066" fmla="*/ 599181 h 5120141"/>
                <a:gd name="connsiteX1067" fmla="*/ 136710 w 3832826"/>
                <a:gd name="connsiteY1067" fmla="*/ 579161 h 5120141"/>
                <a:gd name="connsiteX1068" fmla="*/ 147311 w 3832826"/>
                <a:gd name="connsiteY1068" fmla="*/ 569151 h 5120141"/>
                <a:gd name="connsiteX1069" fmla="*/ 153598 w 3832826"/>
                <a:gd name="connsiteY1069" fmla="*/ 559142 h 5120141"/>
                <a:gd name="connsiteX1070" fmla="*/ 157790 w 3832826"/>
                <a:gd name="connsiteY1070" fmla="*/ 551060 h 5120141"/>
                <a:gd name="connsiteX1071" fmla="*/ 164077 w 3832826"/>
                <a:gd name="connsiteY1071" fmla="*/ 549058 h 5120141"/>
                <a:gd name="connsiteX1072" fmla="*/ 176650 w 3832826"/>
                <a:gd name="connsiteY1072" fmla="*/ 543052 h 5120141"/>
                <a:gd name="connsiteX1073" fmla="*/ 185156 w 3832826"/>
                <a:gd name="connsiteY1073" fmla="*/ 541050 h 5120141"/>
                <a:gd name="connsiteX1074" fmla="*/ 189348 w 3832826"/>
                <a:gd name="connsiteY1074" fmla="*/ 539048 h 5120141"/>
                <a:gd name="connsiteX1075" fmla="*/ 195634 w 3832826"/>
                <a:gd name="connsiteY1075" fmla="*/ 533042 h 5120141"/>
                <a:gd name="connsiteX1076" fmla="*/ 197730 w 3832826"/>
                <a:gd name="connsiteY1076" fmla="*/ 525034 h 5120141"/>
                <a:gd name="connsiteX1077" fmla="*/ 201921 w 3832826"/>
                <a:gd name="connsiteY1077" fmla="*/ 521030 h 5120141"/>
                <a:gd name="connsiteX1078" fmla="*/ 212523 w 3832826"/>
                <a:gd name="connsiteY1078" fmla="*/ 511020 h 5120141"/>
                <a:gd name="connsiteX1079" fmla="*/ 233480 w 3832826"/>
                <a:gd name="connsiteY1079" fmla="*/ 495005 h 5120141"/>
                <a:gd name="connsiteX1080" fmla="*/ 250368 w 3832826"/>
                <a:gd name="connsiteY1080" fmla="*/ 491001 h 5120141"/>
                <a:gd name="connsiteX1081" fmla="*/ 260846 w 3832826"/>
                <a:gd name="connsiteY1081" fmla="*/ 488999 h 5120141"/>
                <a:gd name="connsiteX1082" fmla="*/ 260846 w 3832826"/>
                <a:gd name="connsiteY1082" fmla="*/ 484995 h 5120141"/>
                <a:gd name="connsiteX1083" fmla="*/ 260846 w 3832826"/>
                <a:gd name="connsiteY1083" fmla="*/ 480917 h 5120141"/>
                <a:gd name="connsiteX1084" fmla="*/ 252464 w 3832826"/>
                <a:gd name="connsiteY1084" fmla="*/ 462899 h 5120141"/>
                <a:gd name="connsiteX1085" fmla="*/ 233480 w 3832826"/>
                <a:gd name="connsiteY1085" fmla="*/ 428866 h 5120141"/>
                <a:gd name="connsiteX1086" fmla="*/ 229288 w 3832826"/>
                <a:gd name="connsiteY1086" fmla="*/ 414852 h 5120141"/>
                <a:gd name="connsiteX1087" fmla="*/ 227193 w 3832826"/>
                <a:gd name="connsiteY1087" fmla="*/ 404768 h 5120141"/>
                <a:gd name="connsiteX1088" fmla="*/ 227193 w 3832826"/>
                <a:gd name="connsiteY1088" fmla="*/ 398762 h 5120141"/>
                <a:gd name="connsiteX1089" fmla="*/ 229288 w 3832826"/>
                <a:gd name="connsiteY1089" fmla="*/ 396760 h 5120141"/>
                <a:gd name="connsiteX1090" fmla="*/ 231384 w 3832826"/>
                <a:gd name="connsiteY1090" fmla="*/ 396760 h 5120141"/>
                <a:gd name="connsiteX1091" fmla="*/ 239766 w 3832826"/>
                <a:gd name="connsiteY1091" fmla="*/ 392756 h 5120141"/>
                <a:gd name="connsiteX1092" fmla="*/ 241862 w 3832826"/>
                <a:gd name="connsiteY1092" fmla="*/ 390754 h 5120141"/>
                <a:gd name="connsiteX1093" fmla="*/ 244081 w 3832826"/>
                <a:gd name="connsiteY1093" fmla="*/ 388752 h 5120141"/>
                <a:gd name="connsiteX1094" fmla="*/ 244081 w 3832826"/>
                <a:gd name="connsiteY1094" fmla="*/ 382746 h 5120141"/>
                <a:gd name="connsiteX1095" fmla="*/ 244081 w 3832826"/>
                <a:gd name="connsiteY1095" fmla="*/ 372736 h 5120141"/>
                <a:gd name="connsiteX1096" fmla="*/ 244081 w 3832826"/>
                <a:gd name="connsiteY1096" fmla="*/ 362726 h 5120141"/>
                <a:gd name="connsiteX1097" fmla="*/ 250368 w 3832826"/>
                <a:gd name="connsiteY1097" fmla="*/ 356721 h 5120141"/>
                <a:gd name="connsiteX1098" fmla="*/ 252464 w 3832826"/>
                <a:gd name="connsiteY1098" fmla="*/ 350715 h 5120141"/>
                <a:gd name="connsiteX1099" fmla="*/ 262942 w 3832826"/>
                <a:gd name="connsiteY1099" fmla="*/ 342707 h 5120141"/>
                <a:gd name="connsiteX1100" fmla="*/ 273420 w 3832826"/>
                <a:gd name="connsiteY1100" fmla="*/ 338703 h 5120141"/>
                <a:gd name="connsiteX1101" fmla="*/ 284022 w 3832826"/>
                <a:gd name="connsiteY1101" fmla="*/ 328619 h 5120141"/>
                <a:gd name="connsiteX1102" fmla="*/ 290308 w 3832826"/>
                <a:gd name="connsiteY1102" fmla="*/ 318609 h 5120141"/>
                <a:gd name="connsiteX1103" fmla="*/ 292404 w 3832826"/>
                <a:gd name="connsiteY1103" fmla="*/ 302593 h 5120141"/>
                <a:gd name="connsiteX1104" fmla="*/ 300787 w 3832826"/>
                <a:gd name="connsiteY1104" fmla="*/ 278570 h 5120141"/>
                <a:gd name="connsiteX1105" fmla="*/ 311388 w 3832826"/>
                <a:gd name="connsiteY1105" fmla="*/ 250468 h 5120141"/>
                <a:gd name="connsiteX1106" fmla="*/ 315579 w 3832826"/>
                <a:gd name="connsiteY1106" fmla="*/ 236454 h 5120141"/>
                <a:gd name="connsiteX1107" fmla="*/ 317675 w 3832826"/>
                <a:gd name="connsiteY1107" fmla="*/ 222441 h 5120141"/>
                <a:gd name="connsiteX1108" fmla="*/ 321866 w 3832826"/>
                <a:gd name="connsiteY1108" fmla="*/ 200419 h 5120141"/>
                <a:gd name="connsiteX1109" fmla="*/ 326058 w 3832826"/>
                <a:gd name="connsiteY1109" fmla="*/ 188407 h 5120141"/>
                <a:gd name="connsiteX1110" fmla="*/ 332345 w 3832826"/>
                <a:gd name="connsiteY1110" fmla="*/ 178323 h 5120141"/>
                <a:gd name="connsiteX1111" fmla="*/ 342946 w 3832826"/>
                <a:gd name="connsiteY1111" fmla="*/ 168313 h 5120141"/>
                <a:gd name="connsiteX1112" fmla="*/ 355520 w 3832826"/>
                <a:gd name="connsiteY1112" fmla="*/ 158303 h 5120141"/>
                <a:gd name="connsiteX1113" fmla="*/ 365998 w 3832826"/>
                <a:gd name="connsiteY1113" fmla="*/ 150296 h 5120141"/>
                <a:gd name="connsiteX1114" fmla="*/ 372285 w 3832826"/>
                <a:gd name="connsiteY1114" fmla="*/ 140286 h 5120141"/>
                <a:gd name="connsiteX1115" fmla="*/ 376600 w 3832826"/>
                <a:gd name="connsiteY1115" fmla="*/ 136282 h 5120141"/>
                <a:gd name="connsiteX1116" fmla="*/ 378695 w 3832826"/>
                <a:gd name="connsiteY1116" fmla="*/ 128274 h 5120141"/>
                <a:gd name="connsiteX1117" fmla="*/ 378695 w 3832826"/>
                <a:gd name="connsiteY1117" fmla="*/ 110182 h 5120141"/>
                <a:gd name="connsiteX1118" fmla="*/ 378695 w 3832826"/>
                <a:gd name="connsiteY1118" fmla="*/ 96168 h 5120141"/>
                <a:gd name="connsiteX1119" fmla="*/ 380791 w 3832826"/>
                <a:gd name="connsiteY1119" fmla="*/ 88161 h 5120141"/>
                <a:gd name="connsiteX1120" fmla="*/ 382887 w 3832826"/>
                <a:gd name="connsiteY1120" fmla="*/ 86159 h 5120141"/>
                <a:gd name="connsiteX1121" fmla="*/ 393365 w 3832826"/>
                <a:gd name="connsiteY1121" fmla="*/ 80153 h 5120141"/>
                <a:gd name="connsiteX1122" fmla="*/ 408158 w 3832826"/>
                <a:gd name="connsiteY1122" fmla="*/ 78151 h 5120141"/>
                <a:gd name="connsiteX1123" fmla="*/ 420732 w 3832826"/>
                <a:gd name="connsiteY1123" fmla="*/ 76149 h 5120141"/>
                <a:gd name="connsiteX1124" fmla="*/ 424923 w 3832826"/>
                <a:gd name="connsiteY1124" fmla="*/ 74147 h 5120141"/>
                <a:gd name="connsiteX1125" fmla="*/ 431210 w 3832826"/>
                <a:gd name="connsiteY1125" fmla="*/ 68141 h 5120141"/>
                <a:gd name="connsiteX1126" fmla="*/ 435401 w 3832826"/>
                <a:gd name="connsiteY1126" fmla="*/ 54127 h 5120141"/>
                <a:gd name="connsiteX1127" fmla="*/ 435401 w 3832826"/>
                <a:gd name="connsiteY1127" fmla="*/ 44117 h 5120141"/>
                <a:gd name="connsiteX1128" fmla="*/ 435401 w 3832826"/>
                <a:gd name="connsiteY1128" fmla="*/ 34033 h 5120141"/>
                <a:gd name="connsiteX1129" fmla="*/ 431210 w 3832826"/>
                <a:gd name="connsiteY1129" fmla="*/ 28027 h 5120141"/>
                <a:gd name="connsiteX1130" fmla="*/ 420732 w 3832826"/>
                <a:gd name="connsiteY1130" fmla="*/ 16016 h 5120141"/>
                <a:gd name="connsiteX1131" fmla="*/ 401747 w 3832826"/>
                <a:gd name="connsiteY1131" fmla="*/ 0 h 5120141"/>
                <a:gd name="connsiteX0" fmla="*/ 1138708 w 3832826"/>
                <a:gd name="connsiteY0" fmla="*/ 844805 h 5120141"/>
                <a:gd name="connsiteX1" fmla="*/ 1135965 w 3832826"/>
                <a:gd name="connsiteY1" fmla="*/ 845676 h 5120141"/>
                <a:gd name="connsiteX2" fmla="*/ 1138389 w 3832826"/>
                <a:gd name="connsiteY2" fmla="*/ 850296 h 5120141"/>
                <a:gd name="connsiteX3" fmla="*/ 1142308 w 3832826"/>
                <a:gd name="connsiteY3" fmla="*/ 851593 h 5120141"/>
                <a:gd name="connsiteX4" fmla="*/ 1138708 w 3832826"/>
                <a:gd name="connsiteY4" fmla="*/ 844805 h 5120141"/>
                <a:gd name="connsiteX5" fmla="*/ 1142276 w 3832826"/>
                <a:gd name="connsiteY5" fmla="*/ 825637 h 5120141"/>
                <a:gd name="connsiteX6" fmla="*/ 1144379 w 3832826"/>
                <a:gd name="connsiteY6" fmla="*/ 833653 h 5120141"/>
                <a:gd name="connsiteX7" fmla="*/ 1144379 w 3832826"/>
                <a:gd name="connsiteY7" fmla="*/ 839665 h 5120141"/>
                <a:gd name="connsiteX8" fmla="*/ 1143167 w 3832826"/>
                <a:gd name="connsiteY8" fmla="*/ 841974 h 5120141"/>
                <a:gd name="connsiteX9" fmla="*/ 1144345 w 3832826"/>
                <a:gd name="connsiteY9" fmla="*/ 841587 h 5120141"/>
                <a:gd name="connsiteX10" fmla="*/ 1146453 w 3832826"/>
                <a:gd name="connsiteY10" fmla="*/ 837612 h 5120141"/>
                <a:gd name="connsiteX11" fmla="*/ 1146453 w 3832826"/>
                <a:gd name="connsiteY11" fmla="*/ 831649 h 5120141"/>
                <a:gd name="connsiteX12" fmla="*/ 1144873 w 3832826"/>
                <a:gd name="connsiteY12" fmla="*/ 825637 h 5120141"/>
                <a:gd name="connsiteX13" fmla="*/ 1142276 w 3832826"/>
                <a:gd name="connsiteY13" fmla="*/ 825637 h 5120141"/>
                <a:gd name="connsiteX14" fmla="*/ 401747 w 3832826"/>
                <a:gd name="connsiteY14" fmla="*/ 0 h 5120141"/>
                <a:gd name="connsiteX15" fmla="*/ 769965 w 3832826"/>
                <a:gd name="connsiteY15" fmla="*/ 0 h 5120141"/>
                <a:gd name="connsiteX16" fmla="*/ 1138058 w 3832826"/>
                <a:gd name="connsiteY16" fmla="*/ 0 h 5120141"/>
                <a:gd name="connsiteX17" fmla="*/ 1222254 w 3832826"/>
                <a:gd name="connsiteY17" fmla="*/ 0 h 5120141"/>
                <a:gd name="connsiteX18" fmla="*/ 1226445 w 3832826"/>
                <a:gd name="connsiteY18" fmla="*/ 140286 h 5120141"/>
                <a:gd name="connsiteX19" fmla="*/ 1228541 w 3832826"/>
                <a:gd name="connsiteY19" fmla="*/ 278570 h 5120141"/>
                <a:gd name="connsiteX20" fmla="*/ 1232732 w 3832826"/>
                <a:gd name="connsiteY20" fmla="*/ 414852 h 5120141"/>
                <a:gd name="connsiteX21" fmla="*/ 1228541 w 3832826"/>
                <a:gd name="connsiteY21" fmla="*/ 559142 h 5120141"/>
                <a:gd name="connsiteX22" fmla="*/ 1224350 w 3832826"/>
                <a:gd name="connsiteY22" fmla="*/ 559142 h 5120141"/>
                <a:gd name="connsiteX23" fmla="*/ 1224350 w 3832826"/>
                <a:gd name="connsiteY23" fmla="*/ 591173 h 5120141"/>
                <a:gd name="connsiteX24" fmla="*/ 1222254 w 3832826"/>
                <a:gd name="connsiteY24" fmla="*/ 591173 h 5120141"/>
                <a:gd name="connsiteX25" fmla="*/ 1194887 w 3832826"/>
                <a:gd name="connsiteY25" fmla="*/ 591173 h 5120141"/>
                <a:gd name="connsiteX26" fmla="*/ 1163329 w 3832826"/>
                <a:gd name="connsiteY26" fmla="*/ 591173 h 5120141"/>
                <a:gd name="connsiteX27" fmla="*/ 1108125 w 3832826"/>
                <a:gd name="connsiteY27" fmla="*/ 602727 h 5120141"/>
                <a:gd name="connsiteX28" fmla="*/ 1110721 w 3832826"/>
                <a:gd name="connsiteY28" fmla="*/ 605200 h 5120141"/>
                <a:gd name="connsiteX29" fmla="*/ 1119136 w 3832826"/>
                <a:gd name="connsiteY29" fmla="*/ 613216 h 5120141"/>
                <a:gd name="connsiteX30" fmla="*/ 1121239 w 3832826"/>
                <a:gd name="connsiteY30" fmla="*/ 621231 h 5120141"/>
                <a:gd name="connsiteX31" fmla="*/ 1123343 w 3832826"/>
                <a:gd name="connsiteY31" fmla="*/ 645279 h 5120141"/>
                <a:gd name="connsiteX32" fmla="*/ 1129654 w 3832826"/>
                <a:gd name="connsiteY32" fmla="*/ 657303 h 5120141"/>
                <a:gd name="connsiteX33" fmla="*/ 1140172 w 3832826"/>
                <a:gd name="connsiteY33" fmla="*/ 667323 h 5120141"/>
                <a:gd name="connsiteX34" fmla="*/ 1146483 w 3832826"/>
                <a:gd name="connsiteY34" fmla="*/ 673335 h 5120141"/>
                <a:gd name="connsiteX35" fmla="*/ 1161208 w 3832826"/>
                <a:gd name="connsiteY35" fmla="*/ 677343 h 5120141"/>
                <a:gd name="connsiteX36" fmla="*/ 1184348 w 3832826"/>
                <a:gd name="connsiteY36" fmla="*/ 683355 h 5120141"/>
                <a:gd name="connsiteX37" fmla="*/ 1194866 w 3832826"/>
                <a:gd name="connsiteY37" fmla="*/ 687363 h 5120141"/>
                <a:gd name="connsiteX38" fmla="*/ 1205385 w 3832826"/>
                <a:gd name="connsiteY38" fmla="*/ 693375 h 5120141"/>
                <a:gd name="connsiteX39" fmla="*/ 1209592 w 3832826"/>
                <a:gd name="connsiteY39" fmla="*/ 703394 h 5120141"/>
                <a:gd name="connsiteX40" fmla="*/ 1213799 w 3832826"/>
                <a:gd name="connsiteY40" fmla="*/ 715418 h 5120141"/>
                <a:gd name="connsiteX41" fmla="*/ 1199074 w 3832826"/>
                <a:gd name="connsiteY41" fmla="*/ 715418 h 5120141"/>
                <a:gd name="connsiteX42" fmla="*/ 1196970 w 3832826"/>
                <a:gd name="connsiteY42" fmla="*/ 715418 h 5120141"/>
                <a:gd name="connsiteX43" fmla="*/ 1196970 w 3832826"/>
                <a:gd name="connsiteY43" fmla="*/ 717422 h 5120141"/>
                <a:gd name="connsiteX44" fmla="*/ 1203281 w 3832826"/>
                <a:gd name="connsiteY44" fmla="*/ 725438 h 5120141"/>
                <a:gd name="connsiteX45" fmla="*/ 1205385 w 3832826"/>
                <a:gd name="connsiteY45" fmla="*/ 733454 h 5120141"/>
                <a:gd name="connsiteX46" fmla="*/ 1207488 w 3832826"/>
                <a:gd name="connsiteY46" fmla="*/ 751490 h 5120141"/>
                <a:gd name="connsiteX47" fmla="*/ 1207488 w 3832826"/>
                <a:gd name="connsiteY47" fmla="*/ 763514 h 5120141"/>
                <a:gd name="connsiteX48" fmla="*/ 1199074 w 3832826"/>
                <a:gd name="connsiteY48" fmla="*/ 773533 h 5120141"/>
                <a:gd name="connsiteX49" fmla="*/ 1188556 w 3832826"/>
                <a:gd name="connsiteY49" fmla="*/ 785557 h 5120141"/>
                <a:gd name="connsiteX50" fmla="*/ 1175934 w 3832826"/>
                <a:gd name="connsiteY50" fmla="*/ 793573 h 5120141"/>
                <a:gd name="connsiteX51" fmla="*/ 1161208 w 3832826"/>
                <a:gd name="connsiteY51" fmla="*/ 801589 h 5120141"/>
                <a:gd name="connsiteX52" fmla="*/ 1154897 w 3832826"/>
                <a:gd name="connsiteY52" fmla="*/ 803593 h 5120141"/>
                <a:gd name="connsiteX53" fmla="*/ 1150690 w 3832826"/>
                <a:gd name="connsiteY53" fmla="*/ 811609 h 5120141"/>
                <a:gd name="connsiteX54" fmla="*/ 1150690 w 3832826"/>
                <a:gd name="connsiteY54" fmla="*/ 817621 h 5120141"/>
                <a:gd name="connsiteX55" fmla="*/ 1153844 w 3832826"/>
                <a:gd name="connsiteY55" fmla="*/ 823631 h 5120141"/>
                <a:gd name="connsiteX56" fmla="*/ 1156992 w 3832826"/>
                <a:gd name="connsiteY56" fmla="*/ 823631 h 5120141"/>
                <a:gd name="connsiteX57" fmla="*/ 1165424 w 3832826"/>
                <a:gd name="connsiteY57" fmla="*/ 823631 h 5120141"/>
                <a:gd name="connsiteX58" fmla="*/ 1169639 w 3832826"/>
                <a:gd name="connsiteY58" fmla="*/ 827606 h 5120141"/>
                <a:gd name="connsiteX59" fmla="*/ 1173855 w 3832826"/>
                <a:gd name="connsiteY59" fmla="*/ 833637 h 5120141"/>
                <a:gd name="connsiteX60" fmla="*/ 1173855 w 3832826"/>
                <a:gd name="connsiteY60" fmla="*/ 841587 h 5120141"/>
                <a:gd name="connsiteX61" fmla="*/ 1173855 w 3832826"/>
                <a:gd name="connsiteY61" fmla="*/ 855568 h 5120141"/>
                <a:gd name="connsiteX62" fmla="*/ 1169639 w 3832826"/>
                <a:gd name="connsiteY62" fmla="*/ 871605 h 5120141"/>
                <a:gd name="connsiteX63" fmla="*/ 1184324 w 3832826"/>
                <a:gd name="connsiteY63" fmla="*/ 867562 h 5120141"/>
                <a:gd name="connsiteX64" fmla="*/ 1180108 w 3832826"/>
                <a:gd name="connsiteY64" fmla="*/ 877568 h 5120141"/>
                <a:gd name="connsiteX65" fmla="*/ 1188540 w 3832826"/>
                <a:gd name="connsiteY65" fmla="*/ 877568 h 5120141"/>
                <a:gd name="connsiteX66" fmla="*/ 1194863 w 3832826"/>
                <a:gd name="connsiteY66" fmla="*/ 885587 h 5120141"/>
                <a:gd name="connsiteX67" fmla="*/ 1196971 w 3832826"/>
                <a:gd name="connsiteY67" fmla="*/ 895593 h 5120141"/>
                <a:gd name="connsiteX68" fmla="*/ 1188540 w 3832826"/>
                <a:gd name="connsiteY68" fmla="*/ 895593 h 5120141"/>
                <a:gd name="connsiteX69" fmla="*/ 1190648 w 3832826"/>
                <a:gd name="connsiteY69" fmla="*/ 903543 h 5120141"/>
                <a:gd name="connsiteX70" fmla="*/ 1188540 w 3832826"/>
                <a:gd name="connsiteY70" fmla="*/ 907518 h 5120141"/>
                <a:gd name="connsiteX71" fmla="*/ 1184324 w 3832826"/>
                <a:gd name="connsiteY71" fmla="*/ 913549 h 5120141"/>
                <a:gd name="connsiteX72" fmla="*/ 1175963 w 3832826"/>
                <a:gd name="connsiteY72" fmla="*/ 917524 h 5120141"/>
                <a:gd name="connsiteX73" fmla="*/ 1169639 w 3832826"/>
                <a:gd name="connsiteY73" fmla="*/ 923555 h 5120141"/>
                <a:gd name="connsiteX74" fmla="*/ 1163316 w 3832826"/>
                <a:gd name="connsiteY74" fmla="*/ 933493 h 5120141"/>
                <a:gd name="connsiteX75" fmla="*/ 1163316 w 3832826"/>
                <a:gd name="connsiteY75" fmla="*/ 941512 h 5120141"/>
                <a:gd name="connsiteX76" fmla="*/ 1159100 w 3832826"/>
                <a:gd name="connsiteY76" fmla="*/ 947543 h 5120141"/>
                <a:gd name="connsiteX77" fmla="*/ 1167532 w 3832826"/>
                <a:gd name="connsiteY77" fmla="*/ 947543 h 5120141"/>
                <a:gd name="connsiteX78" fmla="*/ 1165424 w 3832826"/>
                <a:gd name="connsiteY78" fmla="*/ 963511 h 5120141"/>
                <a:gd name="connsiteX79" fmla="*/ 1167532 w 3832826"/>
                <a:gd name="connsiteY79" fmla="*/ 975505 h 5120141"/>
                <a:gd name="connsiteX80" fmla="*/ 1167532 w 3832826"/>
                <a:gd name="connsiteY80" fmla="*/ 991474 h 5120141"/>
                <a:gd name="connsiteX81" fmla="*/ 1167532 w 3832826"/>
                <a:gd name="connsiteY81" fmla="*/ 1007443 h 5120141"/>
                <a:gd name="connsiteX82" fmla="*/ 1169639 w 3832826"/>
                <a:gd name="connsiteY82" fmla="*/ 1011486 h 5120141"/>
                <a:gd name="connsiteX83" fmla="*/ 1173855 w 3832826"/>
                <a:gd name="connsiteY83" fmla="*/ 1015461 h 5120141"/>
                <a:gd name="connsiteX84" fmla="*/ 1169639 w 3832826"/>
                <a:gd name="connsiteY84" fmla="*/ 1021424 h 5120141"/>
                <a:gd name="connsiteX85" fmla="*/ 1167532 w 3832826"/>
                <a:gd name="connsiteY85" fmla="*/ 1021424 h 5120141"/>
                <a:gd name="connsiteX86" fmla="*/ 1163316 w 3832826"/>
                <a:gd name="connsiteY86" fmla="*/ 1021424 h 5120141"/>
                <a:gd name="connsiteX87" fmla="*/ 1159100 w 3832826"/>
                <a:gd name="connsiteY87" fmla="*/ 1027455 h 5120141"/>
                <a:gd name="connsiteX88" fmla="*/ 1163316 w 3832826"/>
                <a:gd name="connsiteY88" fmla="*/ 1033418 h 5120141"/>
                <a:gd name="connsiteX89" fmla="*/ 1167532 w 3832826"/>
                <a:gd name="connsiteY89" fmla="*/ 1037461 h 5120141"/>
                <a:gd name="connsiteX90" fmla="*/ 1169639 w 3832826"/>
                <a:gd name="connsiteY90" fmla="*/ 1047399 h 5120141"/>
                <a:gd name="connsiteX91" fmla="*/ 1173855 w 3832826"/>
                <a:gd name="connsiteY91" fmla="*/ 1059393 h 5120141"/>
                <a:gd name="connsiteX92" fmla="*/ 1186432 w 3832826"/>
                <a:gd name="connsiteY92" fmla="*/ 1057405 h 5120141"/>
                <a:gd name="connsiteX93" fmla="*/ 1184324 w 3832826"/>
                <a:gd name="connsiteY93" fmla="*/ 1065424 h 5120141"/>
                <a:gd name="connsiteX94" fmla="*/ 1194863 w 3832826"/>
                <a:gd name="connsiteY94" fmla="*/ 1063436 h 5120141"/>
                <a:gd name="connsiteX95" fmla="*/ 1201187 w 3832826"/>
                <a:gd name="connsiteY95" fmla="*/ 1065424 h 5120141"/>
                <a:gd name="connsiteX96" fmla="*/ 1205403 w 3832826"/>
                <a:gd name="connsiteY96" fmla="*/ 1073374 h 5120141"/>
                <a:gd name="connsiteX97" fmla="*/ 1205403 w 3832826"/>
                <a:gd name="connsiteY97" fmla="*/ 1083380 h 5120141"/>
                <a:gd name="connsiteX98" fmla="*/ 1209618 w 3832826"/>
                <a:gd name="connsiteY98" fmla="*/ 1083380 h 5120141"/>
                <a:gd name="connsiteX99" fmla="*/ 1209618 w 3832826"/>
                <a:gd name="connsiteY99" fmla="*/ 1095374 h 5120141"/>
                <a:gd name="connsiteX100" fmla="*/ 1220087 w 3832826"/>
                <a:gd name="connsiteY100" fmla="*/ 1097361 h 5120141"/>
                <a:gd name="connsiteX101" fmla="*/ 1226411 w 3832826"/>
                <a:gd name="connsiteY101" fmla="*/ 1103392 h 5120141"/>
                <a:gd name="connsiteX102" fmla="*/ 1232734 w 3832826"/>
                <a:gd name="connsiteY102" fmla="*/ 1115386 h 5120141"/>
                <a:gd name="connsiteX103" fmla="*/ 1241166 w 3832826"/>
                <a:gd name="connsiteY103" fmla="*/ 1113330 h 5120141"/>
                <a:gd name="connsiteX104" fmla="*/ 1247489 w 3832826"/>
                <a:gd name="connsiteY104" fmla="*/ 1119361 h 5120141"/>
                <a:gd name="connsiteX105" fmla="*/ 1249527 w 3832826"/>
                <a:gd name="connsiteY105" fmla="*/ 1127311 h 5120141"/>
                <a:gd name="connsiteX106" fmla="*/ 1262174 w 3832826"/>
                <a:gd name="connsiteY106" fmla="*/ 1137317 h 5120141"/>
                <a:gd name="connsiteX107" fmla="*/ 1274821 w 3832826"/>
                <a:gd name="connsiteY107" fmla="*/ 1147324 h 5120141"/>
                <a:gd name="connsiteX108" fmla="*/ 1291613 w 3832826"/>
                <a:gd name="connsiteY108" fmla="*/ 1159317 h 5120141"/>
                <a:gd name="connsiteX109" fmla="*/ 1293721 w 3832826"/>
                <a:gd name="connsiteY109" fmla="*/ 1165280 h 5120141"/>
                <a:gd name="connsiteX110" fmla="*/ 1295829 w 3832826"/>
                <a:gd name="connsiteY110" fmla="*/ 1173299 h 5120141"/>
                <a:gd name="connsiteX111" fmla="*/ 1306368 w 3832826"/>
                <a:gd name="connsiteY111" fmla="*/ 1173299 h 5120141"/>
                <a:gd name="connsiteX112" fmla="*/ 1312692 w 3832826"/>
                <a:gd name="connsiteY112" fmla="*/ 1177274 h 5120141"/>
                <a:gd name="connsiteX113" fmla="*/ 1314800 w 3832826"/>
                <a:gd name="connsiteY113" fmla="*/ 1185292 h 5120141"/>
                <a:gd name="connsiteX114" fmla="*/ 1312692 w 3832826"/>
                <a:gd name="connsiteY114" fmla="*/ 1195299 h 5120141"/>
                <a:gd name="connsiteX115" fmla="*/ 1321053 w 3832826"/>
                <a:gd name="connsiteY115" fmla="*/ 1193311 h 5120141"/>
                <a:gd name="connsiteX116" fmla="*/ 1323161 w 3832826"/>
                <a:gd name="connsiteY116" fmla="*/ 1195299 h 5120141"/>
                <a:gd name="connsiteX117" fmla="*/ 1325269 w 3832826"/>
                <a:gd name="connsiteY117" fmla="*/ 1199274 h 5120141"/>
                <a:gd name="connsiteX118" fmla="*/ 1325269 w 3832826"/>
                <a:gd name="connsiteY118" fmla="*/ 1205305 h 5120141"/>
                <a:gd name="connsiteX119" fmla="*/ 1337916 w 3832826"/>
                <a:gd name="connsiteY119" fmla="*/ 1205305 h 5120141"/>
                <a:gd name="connsiteX120" fmla="*/ 1337916 w 3832826"/>
                <a:gd name="connsiteY120" fmla="*/ 1217230 h 5120141"/>
                <a:gd name="connsiteX121" fmla="*/ 1344239 w 3832826"/>
                <a:gd name="connsiteY121" fmla="*/ 1215242 h 5120141"/>
                <a:gd name="connsiteX122" fmla="*/ 1344239 w 3832826"/>
                <a:gd name="connsiteY122" fmla="*/ 1219286 h 5120141"/>
                <a:gd name="connsiteX123" fmla="*/ 1346347 w 3832826"/>
                <a:gd name="connsiteY123" fmla="*/ 1219286 h 5120141"/>
                <a:gd name="connsiteX124" fmla="*/ 1352671 w 3832826"/>
                <a:gd name="connsiteY124" fmla="*/ 1223261 h 5120141"/>
                <a:gd name="connsiteX125" fmla="*/ 1352671 w 3832826"/>
                <a:gd name="connsiteY125" fmla="*/ 1227236 h 5120141"/>
                <a:gd name="connsiteX126" fmla="*/ 1358924 w 3832826"/>
                <a:gd name="connsiteY126" fmla="*/ 1227236 h 5120141"/>
                <a:gd name="connsiteX127" fmla="*/ 1365247 w 3832826"/>
                <a:gd name="connsiteY127" fmla="*/ 1235255 h 5120141"/>
                <a:gd name="connsiteX128" fmla="*/ 1365247 w 3832826"/>
                <a:gd name="connsiteY128" fmla="*/ 1241217 h 5120141"/>
                <a:gd name="connsiteX129" fmla="*/ 1365247 w 3832826"/>
                <a:gd name="connsiteY129" fmla="*/ 1251223 h 5120141"/>
                <a:gd name="connsiteX130" fmla="*/ 1369463 w 3832826"/>
                <a:gd name="connsiteY130" fmla="*/ 1249236 h 5120141"/>
                <a:gd name="connsiteX131" fmla="*/ 1375787 w 3832826"/>
                <a:gd name="connsiteY131" fmla="*/ 1251223 h 5120141"/>
                <a:gd name="connsiteX132" fmla="*/ 1377895 w 3832826"/>
                <a:gd name="connsiteY132" fmla="*/ 1255199 h 5120141"/>
                <a:gd name="connsiteX133" fmla="*/ 1377895 w 3832826"/>
                <a:gd name="connsiteY133" fmla="*/ 1259242 h 5120141"/>
                <a:gd name="connsiteX134" fmla="*/ 1396795 w 3832826"/>
                <a:gd name="connsiteY134" fmla="*/ 1257255 h 5120141"/>
                <a:gd name="connsiteX135" fmla="*/ 1398903 w 3832826"/>
                <a:gd name="connsiteY135" fmla="*/ 1275211 h 5120141"/>
                <a:gd name="connsiteX136" fmla="*/ 1407333 w 3832826"/>
                <a:gd name="connsiteY136" fmla="*/ 1271236 h 5120141"/>
                <a:gd name="connsiteX137" fmla="*/ 1407333 w 3832826"/>
                <a:gd name="connsiteY137" fmla="*/ 1270518 h 5120141"/>
                <a:gd name="connsiteX138" fmla="*/ 1453613 w 3832826"/>
                <a:gd name="connsiteY138" fmla="*/ 1244467 h 5120141"/>
                <a:gd name="connsiteX139" fmla="*/ 1459924 w 3832826"/>
                <a:gd name="connsiteY139" fmla="*/ 1274526 h 5120141"/>
                <a:gd name="connsiteX140" fmla="*/ 1459924 w 3832826"/>
                <a:gd name="connsiteY140" fmla="*/ 1290558 h 5120141"/>
                <a:gd name="connsiteX141" fmla="*/ 1455717 w 3832826"/>
                <a:gd name="connsiteY141" fmla="*/ 1304586 h 5120141"/>
                <a:gd name="connsiteX142" fmla="*/ 1453613 w 3832826"/>
                <a:gd name="connsiteY142" fmla="*/ 1308594 h 5120141"/>
                <a:gd name="connsiteX143" fmla="*/ 1449406 w 3832826"/>
                <a:gd name="connsiteY143" fmla="*/ 1310598 h 5120141"/>
                <a:gd name="connsiteX144" fmla="*/ 1440991 w 3832826"/>
                <a:gd name="connsiteY144" fmla="*/ 1316610 h 5120141"/>
                <a:gd name="connsiteX145" fmla="*/ 1434680 w 3832826"/>
                <a:gd name="connsiteY145" fmla="*/ 1318614 h 5120141"/>
                <a:gd name="connsiteX146" fmla="*/ 1432577 w 3832826"/>
                <a:gd name="connsiteY146" fmla="*/ 1320618 h 5120141"/>
                <a:gd name="connsiteX147" fmla="*/ 1430473 w 3832826"/>
                <a:gd name="connsiteY147" fmla="*/ 1326630 h 5120141"/>
                <a:gd name="connsiteX148" fmla="*/ 1430473 w 3832826"/>
                <a:gd name="connsiteY148" fmla="*/ 1334645 h 5120141"/>
                <a:gd name="connsiteX149" fmla="*/ 1434680 w 3832826"/>
                <a:gd name="connsiteY149" fmla="*/ 1338653 h 5120141"/>
                <a:gd name="connsiteX150" fmla="*/ 1440991 w 3832826"/>
                <a:gd name="connsiteY150" fmla="*/ 1350677 h 5120141"/>
                <a:gd name="connsiteX151" fmla="*/ 1443095 w 3832826"/>
                <a:gd name="connsiteY151" fmla="*/ 1366709 h 5120141"/>
                <a:gd name="connsiteX152" fmla="*/ 1443095 w 3832826"/>
                <a:gd name="connsiteY152" fmla="*/ 1380737 h 5120141"/>
                <a:gd name="connsiteX153" fmla="*/ 1445199 w 3832826"/>
                <a:gd name="connsiteY153" fmla="*/ 1436848 h 5120141"/>
                <a:gd name="connsiteX154" fmla="*/ 1422059 w 3832826"/>
                <a:gd name="connsiteY154" fmla="*/ 1436848 h 5120141"/>
                <a:gd name="connsiteX155" fmla="*/ 1403126 w 3832826"/>
                <a:gd name="connsiteY155" fmla="*/ 1438852 h 5120141"/>
                <a:gd name="connsiteX156" fmla="*/ 1392608 w 3832826"/>
                <a:gd name="connsiteY156" fmla="*/ 1440856 h 5120141"/>
                <a:gd name="connsiteX157" fmla="*/ 1382089 w 3832826"/>
                <a:gd name="connsiteY157" fmla="*/ 1444864 h 5120141"/>
                <a:gd name="connsiteX158" fmla="*/ 1375779 w 3832826"/>
                <a:gd name="connsiteY158" fmla="*/ 1448872 h 5120141"/>
                <a:gd name="connsiteX159" fmla="*/ 1367364 w 3832826"/>
                <a:gd name="connsiteY159" fmla="*/ 1456888 h 5120141"/>
                <a:gd name="connsiteX160" fmla="*/ 1358949 w 3832826"/>
                <a:gd name="connsiteY160" fmla="*/ 1462900 h 5120141"/>
                <a:gd name="connsiteX161" fmla="*/ 1354742 w 3832826"/>
                <a:gd name="connsiteY161" fmla="*/ 1472920 h 5120141"/>
                <a:gd name="connsiteX162" fmla="*/ 1348431 w 3832826"/>
                <a:gd name="connsiteY162" fmla="*/ 1480935 h 5120141"/>
                <a:gd name="connsiteX163" fmla="*/ 1344224 w 3832826"/>
                <a:gd name="connsiteY163" fmla="*/ 1482939 h 5120141"/>
                <a:gd name="connsiteX164" fmla="*/ 1342120 w 3832826"/>
                <a:gd name="connsiteY164" fmla="*/ 1482939 h 5120141"/>
                <a:gd name="connsiteX165" fmla="*/ 1333706 w 3832826"/>
                <a:gd name="connsiteY165" fmla="*/ 1480935 h 5120141"/>
                <a:gd name="connsiteX166" fmla="*/ 1327395 w 3832826"/>
                <a:gd name="connsiteY166" fmla="*/ 1482939 h 5120141"/>
                <a:gd name="connsiteX167" fmla="*/ 1325291 w 3832826"/>
                <a:gd name="connsiteY167" fmla="*/ 1488951 h 5120141"/>
                <a:gd name="connsiteX168" fmla="*/ 1323188 w 3832826"/>
                <a:gd name="connsiteY168" fmla="*/ 1492959 h 5120141"/>
                <a:gd name="connsiteX169" fmla="*/ 1321084 w 3832826"/>
                <a:gd name="connsiteY169" fmla="*/ 1506987 h 5120141"/>
                <a:gd name="connsiteX170" fmla="*/ 1316877 w 3832826"/>
                <a:gd name="connsiteY170" fmla="*/ 1512999 h 5120141"/>
                <a:gd name="connsiteX171" fmla="*/ 1310566 w 3832826"/>
                <a:gd name="connsiteY171" fmla="*/ 1521015 h 5120141"/>
                <a:gd name="connsiteX172" fmla="*/ 1304255 w 3832826"/>
                <a:gd name="connsiteY172" fmla="*/ 1523019 h 5120141"/>
                <a:gd name="connsiteX173" fmla="*/ 1293737 w 3832826"/>
                <a:gd name="connsiteY173" fmla="*/ 1529031 h 5120141"/>
                <a:gd name="connsiteX174" fmla="*/ 1281115 w 3832826"/>
                <a:gd name="connsiteY174" fmla="*/ 1529031 h 5120141"/>
                <a:gd name="connsiteX175" fmla="*/ 1279011 w 3832826"/>
                <a:gd name="connsiteY175" fmla="*/ 1531035 h 5120141"/>
                <a:gd name="connsiteX176" fmla="*/ 1274804 w 3832826"/>
                <a:gd name="connsiteY176" fmla="*/ 1537046 h 5120141"/>
                <a:gd name="connsiteX177" fmla="*/ 1272700 w 3832826"/>
                <a:gd name="connsiteY177" fmla="*/ 1547066 h 5120141"/>
                <a:gd name="connsiteX178" fmla="*/ 1270597 w 3832826"/>
                <a:gd name="connsiteY178" fmla="*/ 1559090 h 5120141"/>
                <a:gd name="connsiteX179" fmla="*/ 1264286 w 3832826"/>
                <a:gd name="connsiteY179" fmla="*/ 1569110 h 5120141"/>
                <a:gd name="connsiteX180" fmla="*/ 1262182 w 3832826"/>
                <a:gd name="connsiteY180" fmla="*/ 1569110 h 5120141"/>
                <a:gd name="connsiteX181" fmla="*/ 1262182 w 3832826"/>
                <a:gd name="connsiteY181" fmla="*/ 1573118 h 5120141"/>
                <a:gd name="connsiteX182" fmla="*/ 1260078 w 3832826"/>
                <a:gd name="connsiteY182" fmla="*/ 1579130 h 5120141"/>
                <a:gd name="connsiteX183" fmla="*/ 1260078 w 3832826"/>
                <a:gd name="connsiteY183" fmla="*/ 1599170 h 5120141"/>
                <a:gd name="connsiteX184" fmla="*/ 1260078 w 3832826"/>
                <a:gd name="connsiteY184" fmla="*/ 1633237 h 5120141"/>
                <a:gd name="connsiteX185" fmla="*/ 1260078 w 3832826"/>
                <a:gd name="connsiteY185" fmla="*/ 1679328 h 5120141"/>
                <a:gd name="connsiteX186" fmla="*/ 1258254 w 3832826"/>
                <a:gd name="connsiteY186" fmla="*/ 1717574 h 5120141"/>
                <a:gd name="connsiteX187" fmla="*/ 1279014 w 3832826"/>
                <a:gd name="connsiteY187" fmla="*/ 1732471 h 5120141"/>
                <a:gd name="connsiteX188" fmla="*/ 1302154 w 3832826"/>
                <a:gd name="connsiteY188" fmla="*/ 1736462 h 5120141"/>
                <a:gd name="connsiteX189" fmla="*/ 1312672 w 3832826"/>
                <a:gd name="connsiteY189" fmla="*/ 1736462 h 5120141"/>
                <a:gd name="connsiteX190" fmla="*/ 1323191 w 3832826"/>
                <a:gd name="connsiteY190" fmla="*/ 1734466 h 5120141"/>
                <a:gd name="connsiteX191" fmla="*/ 1337916 w 3832826"/>
                <a:gd name="connsiteY191" fmla="*/ 1732471 h 5120141"/>
                <a:gd name="connsiteX192" fmla="*/ 1350538 w 3832826"/>
                <a:gd name="connsiteY192" fmla="*/ 1726484 h 5120141"/>
                <a:gd name="connsiteX193" fmla="*/ 1354745 w 3832826"/>
                <a:gd name="connsiteY193" fmla="*/ 1726484 h 5120141"/>
                <a:gd name="connsiteX194" fmla="*/ 1365263 w 3832826"/>
                <a:gd name="connsiteY194" fmla="*/ 1730475 h 5120141"/>
                <a:gd name="connsiteX195" fmla="*/ 1394714 w 3832826"/>
                <a:gd name="connsiteY195" fmla="*/ 1742449 h 5120141"/>
                <a:gd name="connsiteX196" fmla="*/ 1407336 w 3832826"/>
                <a:gd name="connsiteY196" fmla="*/ 1744445 h 5120141"/>
                <a:gd name="connsiteX197" fmla="*/ 1419958 w 3832826"/>
                <a:gd name="connsiteY197" fmla="*/ 1746440 h 5120141"/>
                <a:gd name="connsiteX198" fmla="*/ 1426269 w 3832826"/>
                <a:gd name="connsiteY198" fmla="*/ 1744445 h 5120141"/>
                <a:gd name="connsiteX199" fmla="*/ 1430476 w 3832826"/>
                <a:gd name="connsiteY199" fmla="*/ 1742449 h 5120141"/>
                <a:gd name="connsiteX200" fmla="*/ 1430476 w 3832826"/>
                <a:gd name="connsiteY200" fmla="*/ 1740453 h 5120141"/>
                <a:gd name="connsiteX201" fmla="*/ 1434684 w 3832826"/>
                <a:gd name="connsiteY201" fmla="*/ 1734466 h 5120141"/>
                <a:gd name="connsiteX202" fmla="*/ 1434684 w 3832826"/>
                <a:gd name="connsiteY202" fmla="*/ 1726484 h 5120141"/>
                <a:gd name="connsiteX203" fmla="*/ 1436787 w 3832826"/>
                <a:gd name="connsiteY203" fmla="*/ 1722493 h 5120141"/>
                <a:gd name="connsiteX204" fmla="*/ 1445202 w 3832826"/>
                <a:gd name="connsiteY204" fmla="*/ 1712514 h 5120141"/>
                <a:gd name="connsiteX205" fmla="*/ 1455720 w 3832826"/>
                <a:gd name="connsiteY205" fmla="*/ 1704532 h 5120141"/>
                <a:gd name="connsiteX206" fmla="*/ 1462031 w 3832826"/>
                <a:gd name="connsiteY206" fmla="*/ 1694553 h 5120141"/>
                <a:gd name="connsiteX207" fmla="*/ 1462031 w 3832826"/>
                <a:gd name="connsiteY207" fmla="*/ 1684575 h 5120141"/>
                <a:gd name="connsiteX208" fmla="*/ 1466238 w 3832826"/>
                <a:gd name="connsiteY208" fmla="*/ 1676592 h 5120141"/>
                <a:gd name="connsiteX209" fmla="*/ 1472549 w 3832826"/>
                <a:gd name="connsiteY209" fmla="*/ 1666614 h 5120141"/>
                <a:gd name="connsiteX210" fmla="*/ 1483067 w 3832826"/>
                <a:gd name="connsiteY210" fmla="*/ 1652645 h 5120141"/>
                <a:gd name="connsiteX211" fmla="*/ 1497793 w 3832826"/>
                <a:gd name="connsiteY211" fmla="*/ 1638675 h 5120141"/>
                <a:gd name="connsiteX212" fmla="*/ 1510415 w 3832826"/>
                <a:gd name="connsiteY212" fmla="*/ 1624705 h 5120141"/>
                <a:gd name="connsiteX213" fmla="*/ 1525140 w 3832826"/>
                <a:gd name="connsiteY213" fmla="*/ 1612731 h 5120141"/>
                <a:gd name="connsiteX214" fmla="*/ 1577731 w 3832826"/>
                <a:gd name="connsiteY214" fmla="*/ 1580801 h 5120141"/>
                <a:gd name="connsiteX215" fmla="*/ 1605078 w 3832826"/>
                <a:gd name="connsiteY215" fmla="*/ 1560845 h 5120141"/>
                <a:gd name="connsiteX216" fmla="*/ 1628218 w 3832826"/>
                <a:gd name="connsiteY216" fmla="*/ 1540888 h 5120141"/>
                <a:gd name="connsiteX217" fmla="*/ 1645048 w 3832826"/>
                <a:gd name="connsiteY217" fmla="*/ 1524923 h 5120141"/>
                <a:gd name="connsiteX218" fmla="*/ 1661877 w 3832826"/>
                <a:gd name="connsiteY218" fmla="*/ 1514944 h 5120141"/>
                <a:gd name="connsiteX219" fmla="*/ 1678706 w 3832826"/>
                <a:gd name="connsiteY219" fmla="*/ 1508957 h 5120141"/>
                <a:gd name="connsiteX220" fmla="*/ 1695535 w 3832826"/>
                <a:gd name="connsiteY220" fmla="*/ 1502971 h 5120141"/>
                <a:gd name="connsiteX221" fmla="*/ 1714468 w 3832826"/>
                <a:gd name="connsiteY221" fmla="*/ 1500975 h 5120141"/>
                <a:gd name="connsiteX222" fmla="*/ 1735504 w 3832826"/>
                <a:gd name="connsiteY222" fmla="*/ 1500975 h 5120141"/>
                <a:gd name="connsiteX223" fmla="*/ 1777577 w 3832826"/>
                <a:gd name="connsiteY223" fmla="*/ 1500975 h 5120141"/>
                <a:gd name="connsiteX224" fmla="*/ 2158335 w 3832826"/>
                <a:gd name="connsiteY224" fmla="*/ 1500975 h 5120141"/>
                <a:gd name="connsiteX225" fmla="*/ 2158335 w 3832826"/>
                <a:gd name="connsiteY225" fmla="*/ 1514944 h 5120141"/>
                <a:gd name="connsiteX226" fmla="*/ 2158335 w 3832826"/>
                <a:gd name="connsiteY226" fmla="*/ 1572818 h 5120141"/>
                <a:gd name="connsiteX227" fmla="*/ 2160439 w 3832826"/>
                <a:gd name="connsiteY227" fmla="*/ 1594771 h 5120141"/>
                <a:gd name="connsiteX228" fmla="*/ 2158335 w 3832826"/>
                <a:gd name="connsiteY228" fmla="*/ 1624705 h 5120141"/>
                <a:gd name="connsiteX229" fmla="*/ 2158335 w 3832826"/>
                <a:gd name="connsiteY229" fmla="*/ 1634684 h 5120141"/>
                <a:gd name="connsiteX230" fmla="*/ 2158335 w 3832826"/>
                <a:gd name="connsiteY230" fmla="*/ 1648653 h 5120141"/>
                <a:gd name="connsiteX231" fmla="*/ 2158335 w 3832826"/>
                <a:gd name="connsiteY231" fmla="*/ 1666614 h 5120141"/>
                <a:gd name="connsiteX232" fmla="*/ 2158335 w 3832826"/>
                <a:gd name="connsiteY232" fmla="*/ 1700540 h 5120141"/>
                <a:gd name="connsiteX233" fmla="*/ 2149671 w 3832826"/>
                <a:gd name="connsiteY233" fmla="*/ 1700540 h 5120141"/>
                <a:gd name="connsiteX234" fmla="*/ 2149671 w 3832826"/>
                <a:gd name="connsiteY234" fmla="*/ 1701367 h 5120141"/>
                <a:gd name="connsiteX235" fmla="*/ 2158305 w 3832826"/>
                <a:gd name="connsiteY235" fmla="*/ 1701367 h 5120141"/>
                <a:gd name="connsiteX236" fmla="*/ 2158305 w 3832826"/>
                <a:gd name="connsiteY236" fmla="*/ 1723407 h 5120141"/>
                <a:gd name="connsiteX237" fmla="*/ 2158305 w 3832826"/>
                <a:gd name="connsiteY237" fmla="*/ 1755458 h 5120141"/>
                <a:gd name="connsiteX238" fmla="*/ 2234031 w 3832826"/>
                <a:gd name="connsiteY238" fmla="*/ 1815609 h 5120141"/>
                <a:gd name="connsiteX239" fmla="*/ 2231975 w 3832826"/>
                <a:gd name="connsiteY239" fmla="*/ 1817584 h 5120141"/>
                <a:gd name="connsiteX240" fmla="*/ 2231975 w 3832826"/>
                <a:gd name="connsiteY240" fmla="*/ 1823599 h 5120141"/>
                <a:gd name="connsiteX241" fmla="*/ 2234031 w 3832826"/>
                <a:gd name="connsiteY241" fmla="*/ 1833610 h 5120141"/>
                <a:gd name="connsiteX242" fmla="*/ 2240379 w 3832826"/>
                <a:gd name="connsiteY242" fmla="*/ 1843665 h 5120141"/>
                <a:gd name="connsiteX243" fmla="*/ 2244581 w 3832826"/>
                <a:gd name="connsiteY243" fmla="*/ 1853675 h 5120141"/>
                <a:gd name="connsiteX244" fmla="*/ 2244581 w 3832826"/>
                <a:gd name="connsiteY244" fmla="*/ 1857670 h 5120141"/>
                <a:gd name="connsiteX245" fmla="*/ 2242435 w 3832826"/>
                <a:gd name="connsiteY245" fmla="*/ 1863685 h 5120141"/>
                <a:gd name="connsiteX246" fmla="*/ 2238233 w 3832826"/>
                <a:gd name="connsiteY246" fmla="*/ 1873695 h 5120141"/>
                <a:gd name="connsiteX247" fmla="*/ 2229829 w 3832826"/>
                <a:gd name="connsiteY247" fmla="*/ 1883750 h 5120141"/>
                <a:gd name="connsiteX248" fmla="*/ 2223571 w 3832826"/>
                <a:gd name="connsiteY248" fmla="*/ 1889721 h 5120141"/>
                <a:gd name="connsiteX249" fmla="*/ 2213021 w 3832826"/>
                <a:gd name="connsiteY249" fmla="*/ 1905791 h 5120141"/>
                <a:gd name="connsiteX250" fmla="*/ 2200415 w 3832826"/>
                <a:gd name="connsiteY250" fmla="*/ 1919796 h 5120141"/>
                <a:gd name="connsiteX251" fmla="*/ 2170912 w 3832826"/>
                <a:gd name="connsiteY251" fmla="*/ 1945832 h 5120141"/>
                <a:gd name="connsiteX252" fmla="*/ 2139441 w 3832826"/>
                <a:gd name="connsiteY252" fmla="*/ 1969893 h 5120141"/>
                <a:gd name="connsiteX253" fmla="*/ 2107881 w 3832826"/>
                <a:gd name="connsiteY253" fmla="*/ 1995973 h 5120141"/>
                <a:gd name="connsiteX254" fmla="*/ 2095186 w 3832826"/>
                <a:gd name="connsiteY254" fmla="*/ 1997948 h 5120141"/>
                <a:gd name="connsiteX255" fmla="*/ 2082580 w 3832826"/>
                <a:gd name="connsiteY255" fmla="*/ 2003963 h 5120141"/>
                <a:gd name="connsiteX256" fmla="*/ 2074176 w 3832826"/>
                <a:gd name="connsiteY256" fmla="*/ 2009979 h 5120141"/>
                <a:gd name="connsiteX257" fmla="*/ 2069973 w 3832826"/>
                <a:gd name="connsiteY257" fmla="*/ 2018014 h 5120141"/>
                <a:gd name="connsiteX258" fmla="*/ 2055222 w 3832826"/>
                <a:gd name="connsiteY258" fmla="*/ 2034039 h 5120141"/>
                <a:gd name="connsiteX259" fmla="*/ 2048963 w 3832826"/>
                <a:gd name="connsiteY259" fmla="*/ 2044049 h 5120141"/>
                <a:gd name="connsiteX260" fmla="*/ 2038414 w 3832826"/>
                <a:gd name="connsiteY260" fmla="*/ 2050064 h 5120141"/>
                <a:gd name="connsiteX261" fmla="*/ 2017403 w 3832826"/>
                <a:gd name="connsiteY261" fmla="*/ 2066090 h 5120141"/>
                <a:gd name="connsiteX262" fmla="*/ 1998450 w 3832826"/>
                <a:gd name="connsiteY262" fmla="*/ 2080140 h 5120141"/>
                <a:gd name="connsiteX263" fmla="*/ 1962688 w 3832826"/>
                <a:gd name="connsiteY263" fmla="*/ 2110171 h 5120141"/>
                <a:gd name="connsiteX264" fmla="*/ 1952138 w 3832826"/>
                <a:gd name="connsiteY264" fmla="*/ 2116186 h 5120141"/>
                <a:gd name="connsiteX265" fmla="*/ 1937476 w 3832826"/>
                <a:gd name="connsiteY265" fmla="*/ 2120181 h 5120141"/>
                <a:gd name="connsiteX266" fmla="*/ 1914320 w 3832826"/>
                <a:gd name="connsiteY266" fmla="*/ 2122201 h 5120141"/>
                <a:gd name="connsiteX267" fmla="*/ 1891164 w 3832826"/>
                <a:gd name="connsiteY267" fmla="*/ 2122201 h 5120141"/>
                <a:gd name="connsiteX268" fmla="*/ 1880614 w 3832826"/>
                <a:gd name="connsiteY268" fmla="*/ 2126196 h 5120141"/>
                <a:gd name="connsiteX269" fmla="*/ 1870154 w 3832826"/>
                <a:gd name="connsiteY269" fmla="*/ 2130236 h 5120141"/>
                <a:gd name="connsiteX270" fmla="*/ 1859604 w 3832826"/>
                <a:gd name="connsiteY270" fmla="*/ 2136251 h 5120141"/>
                <a:gd name="connsiteX271" fmla="*/ 1842796 w 3832826"/>
                <a:gd name="connsiteY271" fmla="*/ 2138226 h 5120141"/>
                <a:gd name="connsiteX272" fmla="*/ 1817584 w 3832826"/>
                <a:gd name="connsiteY272" fmla="*/ 2142221 h 5120141"/>
                <a:gd name="connsiteX273" fmla="*/ 1786024 w 3832826"/>
                <a:gd name="connsiteY273" fmla="*/ 2146261 h 5120141"/>
                <a:gd name="connsiteX274" fmla="*/ 1756520 w 3832826"/>
                <a:gd name="connsiteY274" fmla="*/ 2150257 h 5120141"/>
                <a:gd name="connsiteX275" fmla="*/ 1743914 w 3832826"/>
                <a:gd name="connsiteY275" fmla="*/ 2150257 h 5120141"/>
                <a:gd name="connsiteX276" fmla="*/ 1733364 w 3832826"/>
                <a:gd name="connsiteY276" fmla="*/ 2150257 h 5120141"/>
                <a:gd name="connsiteX277" fmla="*/ 1706006 w 3832826"/>
                <a:gd name="connsiteY277" fmla="*/ 2142221 h 5120141"/>
                <a:gd name="connsiteX278" fmla="*/ 1680794 w 3832826"/>
                <a:gd name="connsiteY278" fmla="*/ 2136251 h 5120141"/>
                <a:gd name="connsiteX279" fmla="*/ 1655582 w 3832826"/>
                <a:gd name="connsiteY279" fmla="*/ 2126196 h 5120141"/>
                <a:gd name="connsiteX280" fmla="*/ 1630281 w 3832826"/>
                <a:gd name="connsiteY280" fmla="*/ 2116186 h 5120141"/>
                <a:gd name="connsiteX281" fmla="*/ 1607214 w 3832826"/>
                <a:gd name="connsiteY281" fmla="*/ 2110171 h 5120141"/>
                <a:gd name="connsiteX282" fmla="*/ 1594519 w 3832826"/>
                <a:gd name="connsiteY282" fmla="*/ 2110171 h 5120141"/>
                <a:gd name="connsiteX283" fmla="*/ 1584058 w 3832826"/>
                <a:gd name="connsiteY283" fmla="*/ 2112191 h 5120141"/>
                <a:gd name="connsiteX284" fmla="*/ 1573508 w 3832826"/>
                <a:gd name="connsiteY284" fmla="*/ 2116186 h 5120141"/>
                <a:gd name="connsiteX285" fmla="*/ 1560902 w 3832826"/>
                <a:gd name="connsiteY285" fmla="*/ 2120181 h 5120141"/>
                <a:gd name="connsiteX286" fmla="*/ 1544094 w 3832826"/>
                <a:gd name="connsiteY286" fmla="*/ 2128216 h 5120141"/>
                <a:gd name="connsiteX287" fmla="*/ 1529342 w 3832826"/>
                <a:gd name="connsiteY287" fmla="*/ 2136251 h 5120141"/>
                <a:gd name="connsiteX288" fmla="*/ 1499928 w 3832826"/>
                <a:gd name="connsiteY288" fmla="*/ 2140246 h 5120141"/>
                <a:gd name="connsiteX289" fmla="*/ 1497783 w 3832826"/>
                <a:gd name="connsiteY289" fmla="*/ 2140246 h 5120141"/>
                <a:gd name="connsiteX290" fmla="*/ 1483031 w 3832826"/>
                <a:gd name="connsiteY290" fmla="*/ 2140246 h 5120141"/>
                <a:gd name="connsiteX291" fmla="*/ 1468368 w 3832826"/>
                <a:gd name="connsiteY291" fmla="*/ 2140246 h 5120141"/>
                <a:gd name="connsiteX292" fmla="*/ 1451471 w 3832826"/>
                <a:gd name="connsiteY292" fmla="*/ 2142221 h 5120141"/>
                <a:gd name="connsiteX293" fmla="*/ 1447269 w 3832826"/>
                <a:gd name="connsiteY293" fmla="*/ 2146261 h 5120141"/>
                <a:gd name="connsiteX294" fmla="*/ 1440991 w 3832826"/>
                <a:gd name="connsiteY294" fmla="*/ 2149246 h 5120141"/>
                <a:gd name="connsiteX295" fmla="*/ 1440991 w 3832826"/>
                <a:gd name="connsiteY295" fmla="*/ 2319937 h 5120141"/>
                <a:gd name="connsiteX296" fmla="*/ 1445196 w 3832826"/>
                <a:gd name="connsiteY296" fmla="*/ 2330619 h 5120141"/>
                <a:gd name="connsiteX297" fmla="*/ 1449403 w 3832826"/>
                <a:gd name="connsiteY297" fmla="*/ 2344647 h 5120141"/>
                <a:gd name="connsiteX298" fmla="*/ 1462025 w 3832826"/>
                <a:gd name="connsiteY298" fmla="*/ 2378715 h 5120141"/>
                <a:gd name="connsiteX299" fmla="*/ 1480958 w 3832826"/>
                <a:gd name="connsiteY299" fmla="*/ 2438834 h 5120141"/>
                <a:gd name="connsiteX300" fmla="*/ 1493580 w 3832826"/>
                <a:gd name="connsiteY300" fmla="*/ 2468893 h 5120141"/>
                <a:gd name="connsiteX301" fmla="*/ 1499891 w 3832826"/>
                <a:gd name="connsiteY301" fmla="*/ 2480917 h 5120141"/>
                <a:gd name="connsiteX302" fmla="*/ 1508305 w 3832826"/>
                <a:gd name="connsiteY302" fmla="*/ 2492941 h 5120141"/>
                <a:gd name="connsiteX303" fmla="*/ 1508308 w 3832826"/>
                <a:gd name="connsiteY303" fmla="*/ 2490937 h 5120141"/>
                <a:gd name="connsiteX304" fmla="*/ 1703947 w 3832826"/>
                <a:gd name="connsiteY304" fmla="*/ 2693337 h 5120141"/>
                <a:gd name="connsiteX305" fmla="*/ 1800715 w 3832826"/>
                <a:gd name="connsiteY305" fmla="*/ 2777503 h 5120141"/>
                <a:gd name="connsiteX306" fmla="*/ 1821751 w 3832826"/>
                <a:gd name="connsiteY306" fmla="*/ 2793535 h 5120141"/>
                <a:gd name="connsiteX307" fmla="*/ 1846995 w 3832826"/>
                <a:gd name="connsiteY307" fmla="*/ 2807563 h 5120141"/>
                <a:gd name="connsiteX308" fmla="*/ 1868031 w 3832826"/>
                <a:gd name="connsiteY308" fmla="*/ 2827603 h 5120141"/>
                <a:gd name="connsiteX309" fmla="*/ 1874342 w 3832826"/>
                <a:gd name="connsiteY309" fmla="*/ 2837622 h 5120141"/>
                <a:gd name="connsiteX310" fmla="*/ 1882757 w 3832826"/>
                <a:gd name="connsiteY310" fmla="*/ 2847642 h 5120141"/>
                <a:gd name="connsiteX311" fmla="*/ 1882757 w 3832826"/>
                <a:gd name="connsiteY311" fmla="*/ 2857662 h 5120141"/>
                <a:gd name="connsiteX312" fmla="*/ 1871663 w 3832826"/>
                <a:gd name="connsiteY312" fmla="*/ 2862688 h 5120141"/>
                <a:gd name="connsiteX313" fmla="*/ 1920621 w 3832826"/>
                <a:gd name="connsiteY313" fmla="*/ 2925780 h 5120141"/>
                <a:gd name="connsiteX314" fmla="*/ 1937450 w 3832826"/>
                <a:gd name="connsiteY314" fmla="*/ 2955859 h 5120141"/>
                <a:gd name="connsiteX315" fmla="*/ 1956383 w 3832826"/>
                <a:gd name="connsiteY315" fmla="*/ 2987924 h 5120141"/>
                <a:gd name="connsiteX316" fmla="*/ 1964798 w 3832826"/>
                <a:gd name="connsiteY316" fmla="*/ 2997927 h 5120141"/>
                <a:gd name="connsiteX317" fmla="*/ 1969005 w 3832826"/>
                <a:gd name="connsiteY317" fmla="*/ 3009986 h 5120141"/>
                <a:gd name="connsiteX318" fmla="*/ 1977420 w 3832826"/>
                <a:gd name="connsiteY318" fmla="*/ 3038008 h 5120141"/>
                <a:gd name="connsiteX319" fmla="*/ 1985834 w 3832826"/>
                <a:gd name="connsiteY319" fmla="*/ 3066100 h 5120141"/>
                <a:gd name="connsiteX320" fmla="*/ 1994249 w 3832826"/>
                <a:gd name="connsiteY320" fmla="*/ 3078089 h 5120141"/>
                <a:gd name="connsiteX321" fmla="*/ 2004767 w 3832826"/>
                <a:gd name="connsiteY321" fmla="*/ 3090149 h 5120141"/>
                <a:gd name="connsiteX322" fmla="*/ 2008974 w 3832826"/>
                <a:gd name="connsiteY322" fmla="*/ 3100152 h 5120141"/>
                <a:gd name="connsiteX323" fmla="*/ 2017389 w 3832826"/>
                <a:gd name="connsiteY323" fmla="*/ 3110155 h 5120141"/>
                <a:gd name="connsiteX324" fmla="*/ 2023700 w 3832826"/>
                <a:gd name="connsiteY324" fmla="*/ 3136190 h 5120141"/>
                <a:gd name="connsiteX325" fmla="*/ 2032114 w 3832826"/>
                <a:gd name="connsiteY325" fmla="*/ 3158252 h 5120141"/>
                <a:gd name="connsiteX326" fmla="*/ 2040529 w 3832826"/>
                <a:gd name="connsiteY326" fmla="*/ 3168255 h 5120141"/>
                <a:gd name="connsiteX327" fmla="*/ 2048944 w 3832826"/>
                <a:gd name="connsiteY327" fmla="*/ 3174285 h 5120141"/>
                <a:gd name="connsiteX328" fmla="*/ 2059462 w 3832826"/>
                <a:gd name="connsiteY328" fmla="*/ 3180315 h 5120141"/>
                <a:gd name="connsiteX329" fmla="*/ 2069980 w 3832826"/>
                <a:gd name="connsiteY329" fmla="*/ 3180315 h 5120141"/>
                <a:gd name="connsiteX330" fmla="*/ 2082602 w 3832826"/>
                <a:gd name="connsiteY330" fmla="*/ 3182301 h 5120141"/>
                <a:gd name="connsiteX331" fmla="*/ 2095224 w 3832826"/>
                <a:gd name="connsiteY331" fmla="*/ 3184288 h 5120141"/>
                <a:gd name="connsiteX332" fmla="*/ 2105742 w 3832826"/>
                <a:gd name="connsiteY332" fmla="*/ 3190318 h 5120141"/>
                <a:gd name="connsiteX333" fmla="*/ 2114156 w 3832826"/>
                <a:gd name="connsiteY333" fmla="*/ 3198334 h 5120141"/>
                <a:gd name="connsiteX334" fmla="*/ 2122571 w 3832826"/>
                <a:gd name="connsiteY334" fmla="*/ 3204364 h 5120141"/>
                <a:gd name="connsiteX335" fmla="*/ 2132508 w 3832826"/>
                <a:gd name="connsiteY335" fmla="*/ 3211937 h 5120141"/>
                <a:gd name="connsiteX336" fmla="*/ 2133090 w 3832826"/>
                <a:gd name="connsiteY336" fmla="*/ 3211201 h 5120141"/>
                <a:gd name="connsiteX337" fmla="*/ 2210924 w 3832826"/>
                <a:gd name="connsiteY337" fmla="*/ 3145234 h 5120141"/>
                <a:gd name="connsiteX338" fmla="*/ 2286655 w 3832826"/>
                <a:gd name="connsiteY338" fmla="*/ 3071271 h 5120141"/>
                <a:gd name="connsiteX339" fmla="*/ 2316106 w 3832826"/>
                <a:gd name="connsiteY339" fmla="*/ 3045284 h 5120141"/>
                <a:gd name="connsiteX340" fmla="*/ 2332935 w 3832826"/>
                <a:gd name="connsiteY340" fmla="*/ 3035289 h 5120141"/>
                <a:gd name="connsiteX341" fmla="*/ 2343453 w 3832826"/>
                <a:gd name="connsiteY341" fmla="*/ 3031291 h 5120141"/>
                <a:gd name="connsiteX342" fmla="*/ 2349764 w 3832826"/>
                <a:gd name="connsiteY342" fmla="*/ 3029292 h 5120141"/>
                <a:gd name="connsiteX343" fmla="*/ 2381318 w 3832826"/>
                <a:gd name="connsiteY343" fmla="*/ 3031291 h 5120141"/>
                <a:gd name="connsiteX344" fmla="*/ 2398148 w 3832826"/>
                <a:gd name="connsiteY344" fmla="*/ 3029292 h 5120141"/>
                <a:gd name="connsiteX345" fmla="*/ 2402355 w 3832826"/>
                <a:gd name="connsiteY345" fmla="*/ 3029292 h 5120141"/>
                <a:gd name="connsiteX346" fmla="*/ 2404458 w 3832826"/>
                <a:gd name="connsiteY346" fmla="*/ 3027293 h 5120141"/>
                <a:gd name="connsiteX347" fmla="*/ 2404458 w 3832826"/>
                <a:gd name="connsiteY347" fmla="*/ 3007303 h 5120141"/>
                <a:gd name="connsiteX348" fmla="*/ 2408666 w 3832826"/>
                <a:gd name="connsiteY348" fmla="*/ 2997308 h 5120141"/>
                <a:gd name="connsiteX349" fmla="*/ 2410769 w 3832826"/>
                <a:gd name="connsiteY349" fmla="*/ 2995309 h 5120141"/>
                <a:gd name="connsiteX350" fmla="*/ 2414977 w 3832826"/>
                <a:gd name="connsiteY350" fmla="*/ 2991311 h 5120141"/>
                <a:gd name="connsiteX351" fmla="*/ 2423391 w 3832826"/>
                <a:gd name="connsiteY351" fmla="*/ 2991311 h 5120141"/>
                <a:gd name="connsiteX352" fmla="*/ 2425495 w 3832826"/>
                <a:gd name="connsiteY352" fmla="*/ 2987313 h 5120141"/>
                <a:gd name="connsiteX353" fmla="*/ 2429702 w 3832826"/>
                <a:gd name="connsiteY353" fmla="*/ 2985314 h 5120141"/>
                <a:gd name="connsiteX354" fmla="*/ 2429702 w 3832826"/>
                <a:gd name="connsiteY354" fmla="*/ 2979317 h 5120141"/>
                <a:gd name="connsiteX355" fmla="*/ 2429702 w 3832826"/>
                <a:gd name="connsiteY355" fmla="*/ 2977318 h 5120141"/>
                <a:gd name="connsiteX356" fmla="*/ 2431806 w 3832826"/>
                <a:gd name="connsiteY356" fmla="*/ 2971321 h 5120141"/>
                <a:gd name="connsiteX357" fmla="*/ 2433909 w 3832826"/>
                <a:gd name="connsiteY357" fmla="*/ 2969322 h 5120141"/>
                <a:gd name="connsiteX358" fmla="*/ 2442324 w 3832826"/>
                <a:gd name="connsiteY358" fmla="*/ 2967323 h 5120141"/>
                <a:gd name="connsiteX359" fmla="*/ 2452842 w 3832826"/>
                <a:gd name="connsiteY359" fmla="*/ 2967323 h 5120141"/>
                <a:gd name="connsiteX360" fmla="*/ 2454946 w 3832826"/>
                <a:gd name="connsiteY360" fmla="*/ 2965324 h 5120141"/>
                <a:gd name="connsiteX361" fmla="*/ 2457049 w 3832826"/>
                <a:gd name="connsiteY361" fmla="*/ 2961326 h 5120141"/>
                <a:gd name="connsiteX362" fmla="*/ 2457049 w 3832826"/>
                <a:gd name="connsiteY362" fmla="*/ 2941336 h 5120141"/>
                <a:gd name="connsiteX363" fmla="*/ 2461257 w 3832826"/>
                <a:gd name="connsiteY363" fmla="*/ 2927343 h 5120141"/>
                <a:gd name="connsiteX364" fmla="*/ 2463360 w 3832826"/>
                <a:gd name="connsiteY364" fmla="*/ 2917348 h 5120141"/>
                <a:gd name="connsiteX365" fmla="*/ 2467567 w 3832826"/>
                <a:gd name="connsiteY365" fmla="*/ 2907353 h 5120141"/>
                <a:gd name="connsiteX366" fmla="*/ 2473878 w 3832826"/>
                <a:gd name="connsiteY366" fmla="*/ 2899357 h 5120141"/>
                <a:gd name="connsiteX367" fmla="*/ 2488604 w 3832826"/>
                <a:gd name="connsiteY367" fmla="*/ 2885364 h 5120141"/>
                <a:gd name="connsiteX368" fmla="*/ 2509640 w 3832826"/>
                <a:gd name="connsiteY368" fmla="*/ 2865374 h 5120141"/>
                <a:gd name="connsiteX369" fmla="*/ 2646376 w 3832826"/>
                <a:gd name="connsiteY369" fmla="*/ 2743436 h 5120141"/>
                <a:gd name="connsiteX370" fmla="*/ 2650584 w 3832826"/>
                <a:gd name="connsiteY370" fmla="*/ 2755430 h 5120141"/>
                <a:gd name="connsiteX371" fmla="*/ 2654791 w 3832826"/>
                <a:gd name="connsiteY371" fmla="*/ 2765425 h 5120141"/>
                <a:gd name="connsiteX372" fmla="*/ 2663205 w 3832826"/>
                <a:gd name="connsiteY372" fmla="*/ 2773421 h 5120141"/>
                <a:gd name="connsiteX373" fmla="*/ 2671620 w 3832826"/>
                <a:gd name="connsiteY373" fmla="*/ 2773421 h 5120141"/>
                <a:gd name="connsiteX374" fmla="*/ 2675827 w 3832826"/>
                <a:gd name="connsiteY374" fmla="*/ 2775420 h 5120141"/>
                <a:gd name="connsiteX375" fmla="*/ 2688449 w 3832826"/>
                <a:gd name="connsiteY375" fmla="*/ 2779418 h 5120141"/>
                <a:gd name="connsiteX376" fmla="*/ 2696863 w 3832826"/>
                <a:gd name="connsiteY376" fmla="*/ 2785415 h 5120141"/>
                <a:gd name="connsiteX377" fmla="*/ 2701071 w 3832826"/>
                <a:gd name="connsiteY377" fmla="*/ 2787414 h 5120141"/>
                <a:gd name="connsiteX378" fmla="*/ 2709485 w 3832826"/>
                <a:gd name="connsiteY378" fmla="*/ 2785415 h 5120141"/>
                <a:gd name="connsiteX379" fmla="*/ 2715796 w 3832826"/>
                <a:gd name="connsiteY379" fmla="*/ 2779418 h 5120141"/>
                <a:gd name="connsiteX380" fmla="*/ 2722107 w 3832826"/>
                <a:gd name="connsiteY380" fmla="*/ 2775420 h 5120141"/>
                <a:gd name="connsiteX381" fmla="*/ 2728418 w 3832826"/>
                <a:gd name="connsiteY381" fmla="*/ 2773421 h 5120141"/>
                <a:gd name="connsiteX382" fmla="*/ 2747351 w 3832826"/>
                <a:gd name="connsiteY382" fmla="*/ 2769423 h 5120141"/>
                <a:gd name="connsiteX383" fmla="*/ 2764180 w 3832826"/>
                <a:gd name="connsiteY383" fmla="*/ 2773421 h 5120141"/>
                <a:gd name="connsiteX384" fmla="*/ 2783112 w 3832826"/>
                <a:gd name="connsiteY384" fmla="*/ 2779418 h 5120141"/>
                <a:gd name="connsiteX385" fmla="*/ 2795734 w 3832826"/>
                <a:gd name="connsiteY385" fmla="*/ 2793411 h 5120141"/>
                <a:gd name="connsiteX386" fmla="*/ 2799942 w 3832826"/>
                <a:gd name="connsiteY386" fmla="*/ 2793411 h 5120141"/>
                <a:gd name="connsiteX387" fmla="*/ 2804149 w 3832826"/>
                <a:gd name="connsiteY387" fmla="*/ 2805405 h 5120141"/>
                <a:gd name="connsiteX388" fmla="*/ 2812563 w 3832826"/>
                <a:gd name="connsiteY388" fmla="*/ 2817399 h 5120141"/>
                <a:gd name="connsiteX389" fmla="*/ 2825185 w 3832826"/>
                <a:gd name="connsiteY389" fmla="*/ 2845384 h 5120141"/>
                <a:gd name="connsiteX390" fmla="*/ 2835703 w 3832826"/>
                <a:gd name="connsiteY390" fmla="*/ 2873370 h 5120141"/>
                <a:gd name="connsiteX391" fmla="*/ 2842014 w 3832826"/>
                <a:gd name="connsiteY391" fmla="*/ 2885364 h 5120141"/>
                <a:gd name="connsiteX392" fmla="*/ 2847737 w 3832826"/>
                <a:gd name="connsiteY392" fmla="*/ 2896240 h 5120141"/>
                <a:gd name="connsiteX393" fmla="*/ 2848292 w 3832826"/>
                <a:gd name="connsiteY393" fmla="*/ 2895738 h 5120141"/>
                <a:gd name="connsiteX394" fmla="*/ 2873502 w 3832826"/>
                <a:gd name="connsiteY394" fmla="*/ 2911778 h 5120141"/>
                <a:gd name="connsiteX395" fmla="*/ 2898892 w 3832826"/>
                <a:gd name="connsiteY395" fmla="*/ 2921802 h 5120141"/>
                <a:gd name="connsiteX396" fmla="*/ 2921942 w 3832826"/>
                <a:gd name="connsiteY396" fmla="*/ 2935837 h 5120141"/>
                <a:gd name="connsiteX397" fmla="*/ 2932386 w 3832826"/>
                <a:gd name="connsiteY397" fmla="*/ 2943857 h 5120141"/>
                <a:gd name="connsiteX398" fmla="*/ 2943010 w 3832826"/>
                <a:gd name="connsiteY398" fmla="*/ 2953882 h 5120141"/>
                <a:gd name="connsiteX399" fmla="*/ 2957776 w 3832826"/>
                <a:gd name="connsiteY399" fmla="*/ 2965912 h 5120141"/>
                <a:gd name="connsiteX400" fmla="*/ 2964078 w 3832826"/>
                <a:gd name="connsiteY400" fmla="*/ 2973932 h 5120141"/>
                <a:gd name="connsiteX401" fmla="*/ 2970381 w 3832826"/>
                <a:gd name="connsiteY401" fmla="*/ 2977942 h 5120141"/>
                <a:gd name="connsiteX402" fmla="*/ 2985147 w 3832826"/>
                <a:gd name="connsiteY402" fmla="*/ 2979947 h 5120141"/>
                <a:gd name="connsiteX403" fmla="*/ 2995591 w 3832826"/>
                <a:gd name="connsiteY403" fmla="*/ 2979947 h 5120141"/>
                <a:gd name="connsiteX404" fmla="*/ 3006035 w 3832826"/>
                <a:gd name="connsiteY404" fmla="*/ 2983957 h 5120141"/>
                <a:gd name="connsiteX405" fmla="*/ 3018640 w 3832826"/>
                <a:gd name="connsiteY405" fmla="*/ 2993981 h 5120141"/>
                <a:gd name="connsiteX406" fmla="*/ 3024942 w 3832826"/>
                <a:gd name="connsiteY406" fmla="*/ 2999996 h 5120141"/>
                <a:gd name="connsiteX407" fmla="*/ 3027103 w 3832826"/>
                <a:gd name="connsiteY407" fmla="*/ 3006011 h 5120141"/>
                <a:gd name="connsiteX408" fmla="*/ 3027103 w 3832826"/>
                <a:gd name="connsiteY408" fmla="*/ 3008016 h 5120141"/>
                <a:gd name="connsiteX409" fmla="*/ 3024942 w 3832826"/>
                <a:gd name="connsiteY409" fmla="*/ 3014031 h 5120141"/>
                <a:gd name="connsiteX410" fmla="*/ 3018640 w 3832826"/>
                <a:gd name="connsiteY410" fmla="*/ 3020046 h 5120141"/>
                <a:gd name="connsiteX411" fmla="*/ 3014498 w 3832826"/>
                <a:gd name="connsiteY411" fmla="*/ 3029937 h 5120141"/>
                <a:gd name="connsiteX412" fmla="*/ 3014498 w 3832826"/>
                <a:gd name="connsiteY412" fmla="*/ 3043972 h 5120141"/>
                <a:gd name="connsiteX413" fmla="*/ 3014498 w 3832826"/>
                <a:gd name="connsiteY413" fmla="*/ 3049987 h 5120141"/>
                <a:gd name="connsiteX414" fmla="*/ 3024942 w 3832826"/>
                <a:gd name="connsiteY414" fmla="*/ 3074047 h 5120141"/>
                <a:gd name="connsiteX415" fmla="*/ 3024942 w 3832826"/>
                <a:gd name="connsiteY415" fmla="*/ 3084071 h 5120141"/>
                <a:gd name="connsiteX416" fmla="*/ 3022962 w 3832826"/>
                <a:gd name="connsiteY416" fmla="*/ 3088081 h 5120141"/>
                <a:gd name="connsiteX417" fmla="*/ 3022962 w 3832826"/>
                <a:gd name="connsiteY417" fmla="*/ 3090086 h 5120141"/>
                <a:gd name="connsiteX418" fmla="*/ 3024942 w 3832826"/>
                <a:gd name="connsiteY418" fmla="*/ 3094096 h 5120141"/>
                <a:gd name="connsiteX419" fmla="*/ 3033406 w 3832826"/>
                <a:gd name="connsiteY419" fmla="*/ 3100111 h 5120141"/>
                <a:gd name="connsiteX420" fmla="*/ 3046011 w 3832826"/>
                <a:gd name="connsiteY420" fmla="*/ 3106126 h 5120141"/>
                <a:gd name="connsiteX421" fmla="*/ 3056635 w 3832826"/>
                <a:gd name="connsiteY421" fmla="*/ 3108131 h 5120141"/>
                <a:gd name="connsiteX422" fmla="*/ 3064918 w 3832826"/>
                <a:gd name="connsiteY422" fmla="*/ 3110136 h 5120141"/>
                <a:gd name="connsiteX423" fmla="*/ 3075542 w 3832826"/>
                <a:gd name="connsiteY423" fmla="*/ 3118156 h 5120141"/>
                <a:gd name="connsiteX424" fmla="*/ 3088147 w 3832826"/>
                <a:gd name="connsiteY424" fmla="*/ 3138206 h 5120141"/>
                <a:gd name="connsiteX425" fmla="*/ 3096611 w 3832826"/>
                <a:gd name="connsiteY425" fmla="*/ 3152240 h 5120141"/>
                <a:gd name="connsiteX426" fmla="*/ 3096611 w 3832826"/>
                <a:gd name="connsiteY426" fmla="*/ 3162265 h 5120141"/>
                <a:gd name="connsiteX427" fmla="*/ 3096611 w 3832826"/>
                <a:gd name="connsiteY427" fmla="*/ 3166275 h 5120141"/>
                <a:gd name="connsiteX428" fmla="*/ 3090308 w 3832826"/>
                <a:gd name="connsiteY428" fmla="*/ 3168280 h 5120141"/>
                <a:gd name="connsiteX429" fmla="*/ 3088147 w 3832826"/>
                <a:gd name="connsiteY429" fmla="*/ 3168280 h 5120141"/>
                <a:gd name="connsiteX430" fmla="*/ 3085987 w 3832826"/>
                <a:gd name="connsiteY430" fmla="*/ 3170285 h 5120141"/>
                <a:gd name="connsiteX431" fmla="*/ 3085987 w 3832826"/>
                <a:gd name="connsiteY431" fmla="*/ 3178305 h 5120141"/>
                <a:gd name="connsiteX432" fmla="*/ 3088147 w 3832826"/>
                <a:gd name="connsiteY432" fmla="*/ 3182315 h 5120141"/>
                <a:gd name="connsiteX433" fmla="*/ 3090308 w 3832826"/>
                <a:gd name="connsiteY433" fmla="*/ 3186325 h 5120141"/>
                <a:gd name="connsiteX434" fmla="*/ 3092289 w 3832826"/>
                <a:gd name="connsiteY434" fmla="*/ 3190335 h 5120141"/>
                <a:gd name="connsiteX435" fmla="*/ 3098592 w 3832826"/>
                <a:gd name="connsiteY435" fmla="*/ 3208380 h 5120141"/>
                <a:gd name="connsiteX436" fmla="*/ 3102913 w 3832826"/>
                <a:gd name="connsiteY436" fmla="*/ 3222415 h 5120141"/>
                <a:gd name="connsiteX437" fmla="*/ 3107055 w 3832826"/>
                <a:gd name="connsiteY437" fmla="*/ 3238454 h 5120141"/>
                <a:gd name="connsiteX438" fmla="*/ 3109216 w 3832826"/>
                <a:gd name="connsiteY438" fmla="*/ 3246474 h 5120141"/>
                <a:gd name="connsiteX439" fmla="*/ 3113357 w 3832826"/>
                <a:gd name="connsiteY439" fmla="*/ 3248479 h 5120141"/>
                <a:gd name="connsiteX440" fmla="*/ 3130284 w 3832826"/>
                <a:gd name="connsiteY440" fmla="*/ 3252489 h 5120141"/>
                <a:gd name="connsiteX441" fmla="*/ 3159636 w 3832826"/>
                <a:gd name="connsiteY441" fmla="*/ 3266524 h 5120141"/>
                <a:gd name="connsiteX442" fmla="*/ 3187007 w 3832826"/>
                <a:gd name="connsiteY442" fmla="*/ 3278554 h 5120141"/>
                <a:gd name="connsiteX443" fmla="*/ 3214377 w 3832826"/>
                <a:gd name="connsiteY443" fmla="*/ 3296598 h 5120141"/>
                <a:gd name="connsiteX444" fmla="*/ 3243729 w 3832826"/>
                <a:gd name="connsiteY444" fmla="*/ 3308495 h 5120141"/>
                <a:gd name="connsiteX445" fmla="*/ 3250032 w 3832826"/>
                <a:gd name="connsiteY445" fmla="*/ 3312505 h 5120141"/>
                <a:gd name="connsiteX446" fmla="*/ 3260656 w 3832826"/>
                <a:gd name="connsiteY446" fmla="*/ 3326539 h 5120141"/>
                <a:gd name="connsiteX447" fmla="*/ 3269119 w 3832826"/>
                <a:gd name="connsiteY447" fmla="*/ 3338569 h 5120141"/>
                <a:gd name="connsiteX448" fmla="*/ 3275422 w 3832826"/>
                <a:gd name="connsiteY448" fmla="*/ 3352604 h 5120141"/>
                <a:gd name="connsiteX449" fmla="*/ 3285866 w 3832826"/>
                <a:gd name="connsiteY449" fmla="*/ 3384684 h 5120141"/>
                <a:gd name="connsiteX450" fmla="*/ 3292168 w 3832826"/>
                <a:gd name="connsiteY450" fmla="*/ 3410748 h 5120141"/>
                <a:gd name="connsiteX451" fmla="*/ 3300632 w 3832826"/>
                <a:gd name="connsiteY451" fmla="*/ 3434808 h 5120141"/>
                <a:gd name="connsiteX452" fmla="*/ 3309095 w 3832826"/>
                <a:gd name="connsiteY452" fmla="*/ 3458868 h 5120141"/>
                <a:gd name="connsiteX453" fmla="*/ 3311076 w 3832826"/>
                <a:gd name="connsiteY453" fmla="*/ 3468892 h 5120141"/>
                <a:gd name="connsiteX454" fmla="*/ 3313237 w 3832826"/>
                <a:gd name="connsiteY454" fmla="*/ 3474907 h 5120141"/>
                <a:gd name="connsiteX455" fmla="*/ 3313237 w 3832826"/>
                <a:gd name="connsiteY455" fmla="*/ 3478917 h 5120141"/>
                <a:gd name="connsiteX456" fmla="*/ 3309095 w 3832826"/>
                <a:gd name="connsiteY456" fmla="*/ 3482927 h 5120141"/>
                <a:gd name="connsiteX457" fmla="*/ 3302793 w 3832826"/>
                <a:gd name="connsiteY457" fmla="*/ 3488942 h 5120141"/>
                <a:gd name="connsiteX458" fmla="*/ 3296310 w 3832826"/>
                <a:gd name="connsiteY458" fmla="*/ 3490947 h 5120141"/>
                <a:gd name="connsiteX459" fmla="*/ 3296310 w 3832826"/>
                <a:gd name="connsiteY459" fmla="*/ 3498967 h 5120141"/>
                <a:gd name="connsiteX460" fmla="*/ 3296310 w 3832826"/>
                <a:gd name="connsiteY460" fmla="*/ 3508992 h 5120141"/>
                <a:gd name="connsiteX461" fmla="*/ 3300632 w 3832826"/>
                <a:gd name="connsiteY461" fmla="*/ 3531047 h 5120141"/>
                <a:gd name="connsiteX462" fmla="*/ 3309095 w 3832826"/>
                <a:gd name="connsiteY462" fmla="*/ 3553101 h 5120141"/>
                <a:gd name="connsiteX463" fmla="*/ 3313237 w 3832826"/>
                <a:gd name="connsiteY463" fmla="*/ 3563126 h 5120141"/>
                <a:gd name="connsiteX464" fmla="*/ 3319539 w 3832826"/>
                <a:gd name="connsiteY464" fmla="*/ 3567002 h 5120141"/>
                <a:gd name="connsiteX465" fmla="*/ 3317645 w 3832826"/>
                <a:gd name="connsiteY465" fmla="*/ 3567042 h 5120141"/>
                <a:gd name="connsiteX466" fmla="*/ 3330079 w 3832826"/>
                <a:gd name="connsiteY466" fmla="*/ 3577062 h 5120141"/>
                <a:gd name="connsiteX467" fmla="*/ 3334316 w 3832826"/>
                <a:gd name="connsiteY467" fmla="*/ 3585058 h 5120141"/>
                <a:gd name="connsiteX468" fmla="*/ 3334316 w 3832826"/>
                <a:gd name="connsiteY468" fmla="*/ 3593054 h 5120141"/>
                <a:gd name="connsiteX469" fmla="*/ 3334316 w 3832826"/>
                <a:gd name="connsiteY469" fmla="*/ 3603030 h 5120141"/>
                <a:gd name="connsiteX470" fmla="*/ 3332198 w 3832826"/>
                <a:gd name="connsiteY470" fmla="*/ 3607066 h 5120141"/>
                <a:gd name="connsiteX471" fmla="*/ 3323724 w 3832826"/>
                <a:gd name="connsiteY471" fmla="*/ 3609046 h 5120141"/>
                <a:gd name="connsiteX472" fmla="*/ 3319599 w 3832826"/>
                <a:gd name="connsiteY472" fmla="*/ 3613006 h 5120141"/>
                <a:gd name="connsiteX473" fmla="*/ 3319599 w 3832826"/>
                <a:gd name="connsiteY473" fmla="*/ 3617042 h 5120141"/>
                <a:gd name="connsiteX474" fmla="*/ 3319599 w 3832826"/>
                <a:gd name="connsiteY474" fmla="*/ 3619021 h 5120141"/>
                <a:gd name="connsiteX475" fmla="*/ 3323724 w 3832826"/>
                <a:gd name="connsiteY475" fmla="*/ 3625037 h 5120141"/>
                <a:gd name="connsiteX476" fmla="*/ 3330079 w 3832826"/>
                <a:gd name="connsiteY476" fmla="*/ 3627017 h 5120141"/>
                <a:gd name="connsiteX477" fmla="*/ 3332198 w 3832826"/>
                <a:gd name="connsiteY477" fmla="*/ 3628997 h 5120141"/>
                <a:gd name="connsiteX478" fmla="*/ 3340560 w 3832826"/>
                <a:gd name="connsiteY478" fmla="*/ 3644989 h 5120141"/>
                <a:gd name="connsiteX479" fmla="*/ 3351151 w 3832826"/>
                <a:gd name="connsiteY479" fmla="*/ 3657021 h 5120141"/>
                <a:gd name="connsiteX480" fmla="*/ 3372112 w 3832826"/>
                <a:gd name="connsiteY480" fmla="*/ 3684968 h 5120141"/>
                <a:gd name="connsiteX481" fmla="*/ 3372112 w 3832826"/>
                <a:gd name="connsiteY481" fmla="*/ 3687024 h 5120141"/>
                <a:gd name="connsiteX482" fmla="*/ 3372112 w 3832826"/>
                <a:gd name="connsiteY482" fmla="*/ 3689004 h 5120141"/>
                <a:gd name="connsiteX483" fmla="*/ 3367875 w 3832826"/>
                <a:gd name="connsiteY483" fmla="*/ 3695020 h 5120141"/>
                <a:gd name="connsiteX484" fmla="*/ 3363750 w 3832826"/>
                <a:gd name="connsiteY484" fmla="*/ 3703016 h 5120141"/>
                <a:gd name="connsiteX485" fmla="*/ 3363750 w 3832826"/>
                <a:gd name="connsiteY485" fmla="*/ 3704996 h 5120141"/>
                <a:gd name="connsiteX486" fmla="*/ 3363750 w 3832826"/>
                <a:gd name="connsiteY486" fmla="*/ 3706976 h 5120141"/>
                <a:gd name="connsiteX487" fmla="*/ 3367875 w 3832826"/>
                <a:gd name="connsiteY487" fmla="*/ 3716951 h 5120141"/>
                <a:gd name="connsiteX488" fmla="*/ 3374230 w 3832826"/>
                <a:gd name="connsiteY488" fmla="*/ 3722967 h 5120141"/>
                <a:gd name="connsiteX489" fmla="*/ 3382704 w 3832826"/>
                <a:gd name="connsiteY489" fmla="*/ 3728983 h 5120141"/>
                <a:gd name="connsiteX490" fmla="*/ 3388948 w 3832826"/>
                <a:gd name="connsiteY490" fmla="*/ 3734923 h 5120141"/>
                <a:gd name="connsiteX491" fmla="*/ 3395303 w 3832826"/>
                <a:gd name="connsiteY491" fmla="*/ 3746955 h 5120141"/>
                <a:gd name="connsiteX492" fmla="*/ 3397421 w 3832826"/>
                <a:gd name="connsiteY492" fmla="*/ 3756931 h 5120141"/>
                <a:gd name="connsiteX493" fmla="*/ 3397421 w 3832826"/>
                <a:gd name="connsiteY493" fmla="*/ 3766907 h 5120141"/>
                <a:gd name="connsiteX494" fmla="*/ 3399428 w 3832826"/>
                <a:gd name="connsiteY494" fmla="*/ 3778939 h 5120141"/>
                <a:gd name="connsiteX495" fmla="*/ 3407901 w 3832826"/>
                <a:gd name="connsiteY495" fmla="*/ 3798890 h 5120141"/>
                <a:gd name="connsiteX496" fmla="*/ 3416263 w 3832826"/>
                <a:gd name="connsiteY496" fmla="*/ 3808942 h 5120141"/>
                <a:gd name="connsiteX497" fmla="*/ 3424737 w 3832826"/>
                <a:gd name="connsiteY497" fmla="*/ 3816938 h 5120141"/>
                <a:gd name="connsiteX498" fmla="*/ 3431092 w 3832826"/>
                <a:gd name="connsiteY498" fmla="*/ 3820898 h 5120141"/>
                <a:gd name="connsiteX499" fmla="*/ 3437335 w 3832826"/>
                <a:gd name="connsiteY499" fmla="*/ 3820898 h 5120141"/>
                <a:gd name="connsiteX500" fmla="*/ 3449934 w 3832826"/>
                <a:gd name="connsiteY500" fmla="*/ 3820898 h 5120141"/>
                <a:gd name="connsiteX501" fmla="*/ 3456289 w 3832826"/>
                <a:gd name="connsiteY501" fmla="*/ 3824934 h 5120141"/>
                <a:gd name="connsiteX502" fmla="*/ 3460526 w 3832826"/>
                <a:gd name="connsiteY502" fmla="*/ 3826914 h 5120141"/>
                <a:gd name="connsiteX503" fmla="*/ 3466770 w 3832826"/>
                <a:gd name="connsiteY503" fmla="*/ 3830874 h 5120141"/>
                <a:gd name="connsiteX504" fmla="*/ 3468888 w 3832826"/>
                <a:gd name="connsiteY504" fmla="*/ 3840925 h 5120141"/>
                <a:gd name="connsiteX505" fmla="*/ 3466770 w 3832826"/>
                <a:gd name="connsiteY505" fmla="*/ 3840925 h 5120141"/>
                <a:gd name="connsiteX506" fmla="*/ 3462644 w 3832826"/>
                <a:gd name="connsiteY506" fmla="*/ 3844885 h 5120141"/>
                <a:gd name="connsiteX507" fmla="*/ 3458408 w 3832826"/>
                <a:gd name="connsiteY507" fmla="*/ 3846865 h 5120141"/>
                <a:gd name="connsiteX508" fmla="*/ 3456289 w 3832826"/>
                <a:gd name="connsiteY508" fmla="*/ 3848921 h 5120141"/>
                <a:gd name="connsiteX509" fmla="*/ 3458408 w 3832826"/>
                <a:gd name="connsiteY509" fmla="*/ 3854861 h 5120141"/>
                <a:gd name="connsiteX510" fmla="*/ 3462644 w 3832826"/>
                <a:gd name="connsiteY510" fmla="*/ 3856917 h 5120141"/>
                <a:gd name="connsiteX511" fmla="*/ 3468888 w 3832826"/>
                <a:gd name="connsiteY511" fmla="*/ 3860877 h 5120141"/>
                <a:gd name="connsiteX512" fmla="*/ 3481487 w 3832826"/>
                <a:gd name="connsiteY512" fmla="*/ 3874889 h 5120141"/>
                <a:gd name="connsiteX513" fmla="*/ 3487842 w 3832826"/>
                <a:gd name="connsiteY513" fmla="*/ 3880828 h 5120141"/>
                <a:gd name="connsiteX514" fmla="*/ 3489960 w 3832826"/>
                <a:gd name="connsiteY514" fmla="*/ 3888824 h 5120141"/>
                <a:gd name="connsiteX515" fmla="*/ 3489960 w 3832826"/>
                <a:gd name="connsiteY515" fmla="*/ 3898876 h 5120141"/>
                <a:gd name="connsiteX516" fmla="*/ 3483605 w 3832826"/>
                <a:gd name="connsiteY516" fmla="*/ 3910832 h 5120141"/>
                <a:gd name="connsiteX517" fmla="*/ 3477361 w 3832826"/>
                <a:gd name="connsiteY517" fmla="*/ 3924844 h 5120141"/>
                <a:gd name="connsiteX518" fmla="*/ 3477361 w 3832826"/>
                <a:gd name="connsiteY518" fmla="*/ 3934819 h 5120141"/>
                <a:gd name="connsiteX519" fmla="*/ 3477361 w 3832826"/>
                <a:gd name="connsiteY519" fmla="*/ 3946851 h 5120141"/>
                <a:gd name="connsiteX520" fmla="*/ 3481487 w 3832826"/>
                <a:gd name="connsiteY520" fmla="*/ 3960787 h 5120141"/>
                <a:gd name="connsiteX521" fmla="*/ 3492078 w 3832826"/>
                <a:gd name="connsiteY521" fmla="*/ 3988810 h 5120141"/>
                <a:gd name="connsiteX522" fmla="*/ 3498322 w 3832826"/>
                <a:gd name="connsiteY522" fmla="*/ 3998786 h 5120141"/>
                <a:gd name="connsiteX523" fmla="*/ 3502559 w 3832826"/>
                <a:gd name="connsiteY523" fmla="*/ 4006782 h 5120141"/>
                <a:gd name="connsiteX524" fmla="*/ 3513039 w 3832826"/>
                <a:gd name="connsiteY524" fmla="*/ 4012798 h 5120141"/>
                <a:gd name="connsiteX525" fmla="*/ 3521513 w 3832826"/>
                <a:gd name="connsiteY525" fmla="*/ 4022774 h 5120141"/>
                <a:gd name="connsiteX526" fmla="*/ 3523631 w 3832826"/>
                <a:gd name="connsiteY526" fmla="*/ 4028790 h 5120141"/>
                <a:gd name="connsiteX527" fmla="*/ 3523631 w 3832826"/>
                <a:gd name="connsiteY527" fmla="*/ 4036785 h 5120141"/>
                <a:gd name="connsiteX528" fmla="*/ 3523631 w 3832826"/>
                <a:gd name="connsiteY528" fmla="*/ 4048741 h 5120141"/>
                <a:gd name="connsiteX529" fmla="*/ 3521513 w 3832826"/>
                <a:gd name="connsiteY529" fmla="*/ 4066713 h 5120141"/>
                <a:gd name="connsiteX530" fmla="*/ 3521513 w 3832826"/>
                <a:gd name="connsiteY530" fmla="*/ 4078744 h 5120141"/>
                <a:gd name="connsiteX531" fmla="*/ 3525749 w 3832826"/>
                <a:gd name="connsiteY531" fmla="*/ 4100752 h 5120141"/>
                <a:gd name="connsiteX532" fmla="*/ 3540466 w 3832826"/>
                <a:gd name="connsiteY532" fmla="*/ 4136695 h 5120141"/>
                <a:gd name="connsiteX533" fmla="*/ 3557302 w 3832826"/>
                <a:gd name="connsiteY533" fmla="*/ 4182690 h 5120141"/>
                <a:gd name="connsiteX534" fmla="*/ 3555183 w 3832826"/>
                <a:gd name="connsiteY534" fmla="*/ 4186650 h 5120141"/>
                <a:gd name="connsiteX535" fmla="*/ 3557302 w 3832826"/>
                <a:gd name="connsiteY535" fmla="*/ 4192666 h 5120141"/>
                <a:gd name="connsiteX536" fmla="*/ 3567782 w 3832826"/>
                <a:gd name="connsiteY536" fmla="*/ 4214674 h 5120141"/>
                <a:gd name="connsiteX537" fmla="*/ 3578262 w 3832826"/>
                <a:gd name="connsiteY537" fmla="*/ 4240641 h 5120141"/>
                <a:gd name="connsiteX538" fmla="*/ 3582499 w 3832826"/>
                <a:gd name="connsiteY538" fmla="*/ 4250617 h 5120141"/>
                <a:gd name="connsiteX539" fmla="*/ 3582499 w 3832826"/>
                <a:gd name="connsiteY539" fmla="*/ 4260593 h 5120141"/>
                <a:gd name="connsiteX540" fmla="*/ 3578262 w 3832826"/>
                <a:gd name="connsiteY540" fmla="*/ 4260593 h 5120141"/>
                <a:gd name="connsiteX541" fmla="*/ 3576144 w 3832826"/>
                <a:gd name="connsiteY541" fmla="*/ 4264629 h 5120141"/>
                <a:gd name="connsiteX542" fmla="*/ 3572019 w 3832826"/>
                <a:gd name="connsiteY542" fmla="*/ 4270645 h 5120141"/>
                <a:gd name="connsiteX543" fmla="*/ 3565664 w 3832826"/>
                <a:gd name="connsiteY543" fmla="*/ 4272624 h 5120141"/>
                <a:gd name="connsiteX544" fmla="*/ 3563545 w 3832826"/>
                <a:gd name="connsiteY544" fmla="*/ 4278640 h 5120141"/>
                <a:gd name="connsiteX545" fmla="*/ 3561427 w 3832826"/>
                <a:gd name="connsiteY545" fmla="*/ 4288616 h 5120141"/>
                <a:gd name="connsiteX546" fmla="*/ 3561427 w 3832826"/>
                <a:gd name="connsiteY546" fmla="*/ 4300572 h 5120141"/>
                <a:gd name="connsiteX547" fmla="*/ 3557302 w 3832826"/>
                <a:gd name="connsiteY547" fmla="*/ 4324559 h 5120141"/>
                <a:gd name="connsiteX548" fmla="*/ 3556313 w 3832826"/>
                <a:gd name="connsiteY548" fmla="*/ 4324559 h 5120141"/>
                <a:gd name="connsiteX549" fmla="*/ 3557250 w 3832826"/>
                <a:gd name="connsiteY549" fmla="*/ 4324566 h 5120141"/>
                <a:gd name="connsiteX550" fmla="*/ 3561457 w 3832826"/>
                <a:gd name="connsiteY550" fmla="*/ 4324566 h 5120141"/>
                <a:gd name="connsiteX551" fmla="*/ 3687675 w 3832826"/>
                <a:gd name="connsiteY551" fmla="*/ 4322562 h 5120141"/>
                <a:gd name="connsiteX552" fmla="*/ 3815997 w 3832826"/>
                <a:gd name="connsiteY552" fmla="*/ 4322562 h 5120141"/>
                <a:gd name="connsiteX553" fmla="*/ 3820204 w 3832826"/>
                <a:gd name="connsiteY553" fmla="*/ 4362642 h 5120141"/>
                <a:gd name="connsiteX554" fmla="*/ 3820204 w 3832826"/>
                <a:gd name="connsiteY554" fmla="*/ 4388693 h 5120141"/>
                <a:gd name="connsiteX555" fmla="*/ 3815997 w 3832826"/>
                <a:gd name="connsiteY555" fmla="*/ 4394705 h 5120141"/>
                <a:gd name="connsiteX556" fmla="*/ 3813893 w 3832826"/>
                <a:gd name="connsiteY556" fmla="*/ 4398713 h 5120141"/>
                <a:gd name="connsiteX557" fmla="*/ 3803375 w 3832826"/>
                <a:gd name="connsiteY557" fmla="*/ 4398713 h 5120141"/>
                <a:gd name="connsiteX558" fmla="*/ 3799168 w 3832826"/>
                <a:gd name="connsiteY558" fmla="*/ 4402721 h 5120141"/>
                <a:gd name="connsiteX559" fmla="*/ 3799168 w 3832826"/>
                <a:gd name="connsiteY559" fmla="*/ 4408733 h 5120141"/>
                <a:gd name="connsiteX560" fmla="*/ 3801272 w 3832826"/>
                <a:gd name="connsiteY560" fmla="*/ 4420757 h 5120141"/>
                <a:gd name="connsiteX561" fmla="*/ 3801272 w 3832826"/>
                <a:gd name="connsiteY561" fmla="*/ 4422761 h 5120141"/>
                <a:gd name="connsiteX562" fmla="*/ 3805479 w 3832826"/>
                <a:gd name="connsiteY562" fmla="*/ 4424765 h 5120141"/>
                <a:gd name="connsiteX563" fmla="*/ 3815997 w 3832826"/>
                <a:gd name="connsiteY563" fmla="*/ 4422761 h 5120141"/>
                <a:gd name="connsiteX564" fmla="*/ 3826515 w 3832826"/>
                <a:gd name="connsiteY564" fmla="*/ 4422761 h 5120141"/>
                <a:gd name="connsiteX565" fmla="*/ 3830723 w 3832826"/>
                <a:gd name="connsiteY565" fmla="*/ 4424765 h 5120141"/>
                <a:gd name="connsiteX566" fmla="*/ 3832826 w 3832826"/>
                <a:gd name="connsiteY566" fmla="*/ 4430776 h 5120141"/>
                <a:gd name="connsiteX567" fmla="*/ 3830723 w 3832826"/>
                <a:gd name="connsiteY567" fmla="*/ 4436788 h 5120141"/>
                <a:gd name="connsiteX568" fmla="*/ 3826515 w 3832826"/>
                <a:gd name="connsiteY568" fmla="*/ 4436788 h 5120141"/>
                <a:gd name="connsiteX569" fmla="*/ 3822308 w 3832826"/>
                <a:gd name="connsiteY569" fmla="*/ 4440796 h 5120141"/>
                <a:gd name="connsiteX570" fmla="*/ 3822308 w 3832826"/>
                <a:gd name="connsiteY570" fmla="*/ 4444804 h 5120141"/>
                <a:gd name="connsiteX571" fmla="*/ 3822308 w 3832826"/>
                <a:gd name="connsiteY571" fmla="*/ 4502919 h 5120141"/>
                <a:gd name="connsiteX572" fmla="*/ 3824412 w 3832826"/>
                <a:gd name="connsiteY572" fmla="*/ 4557026 h 5120141"/>
                <a:gd name="connsiteX573" fmla="*/ 3826515 w 3832826"/>
                <a:gd name="connsiteY573" fmla="*/ 4723356 h 5120141"/>
                <a:gd name="connsiteX574" fmla="*/ 3826515 w 3832826"/>
                <a:gd name="connsiteY574" fmla="*/ 4805518 h 5120141"/>
                <a:gd name="connsiteX575" fmla="*/ 3826515 w 3832826"/>
                <a:gd name="connsiteY575" fmla="*/ 4887681 h 5120141"/>
                <a:gd name="connsiteX576" fmla="*/ 3815997 w 3832826"/>
                <a:gd name="connsiteY576" fmla="*/ 4885677 h 5120141"/>
                <a:gd name="connsiteX577" fmla="*/ 3820204 w 3832826"/>
                <a:gd name="connsiteY577" fmla="*/ 4985875 h 5120141"/>
                <a:gd name="connsiteX578" fmla="*/ 3820204 w 3832826"/>
                <a:gd name="connsiteY578" fmla="*/ 5072046 h 5120141"/>
                <a:gd name="connsiteX579" fmla="*/ 3822308 w 3832826"/>
                <a:gd name="connsiteY579" fmla="*/ 5072046 h 5120141"/>
                <a:gd name="connsiteX580" fmla="*/ 3822308 w 3832826"/>
                <a:gd name="connsiteY580" fmla="*/ 5088078 h 5120141"/>
                <a:gd name="connsiteX581" fmla="*/ 3822308 w 3832826"/>
                <a:gd name="connsiteY581" fmla="*/ 5100102 h 5120141"/>
                <a:gd name="connsiteX582" fmla="*/ 3820204 w 3832826"/>
                <a:gd name="connsiteY582" fmla="*/ 5104109 h 5120141"/>
                <a:gd name="connsiteX583" fmla="*/ 3815997 w 3832826"/>
                <a:gd name="connsiteY583" fmla="*/ 5108117 h 5120141"/>
                <a:gd name="connsiteX584" fmla="*/ 3809686 w 3832826"/>
                <a:gd name="connsiteY584" fmla="*/ 5108117 h 5120141"/>
                <a:gd name="connsiteX585" fmla="*/ 3801272 w 3832826"/>
                <a:gd name="connsiteY585" fmla="*/ 5108117 h 5120141"/>
                <a:gd name="connsiteX586" fmla="*/ 3370026 w 3832826"/>
                <a:gd name="connsiteY586" fmla="*/ 5110121 h 5120141"/>
                <a:gd name="connsiteX587" fmla="*/ 2940884 w 3832826"/>
                <a:gd name="connsiteY587" fmla="*/ 5112125 h 5120141"/>
                <a:gd name="connsiteX588" fmla="*/ 2903018 w 3832826"/>
                <a:gd name="connsiteY588" fmla="*/ 5112125 h 5120141"/>
                <a:gd name="connsiteX589" fmla="*/ 2898811 w 3832826"/>
                <a:gd name="connsiteY589" fmla="*/ 5118137 h 5120141"/>
                <a:gd name="connsiteX590" fmla="*/ 2888293 w 3832826"/>
                <a:gd name="connsiteY590" fmla="*/ 5120141 h 5120141"/>
                <a:gd name="connsiteX591" fmla="*/ 2860945 w 3832826"/>
                <a:gd name="connsiteY591" fmla="*/ 5120141 h 5120141"/>
                <a:gd name="connsiteX592" fmla="*/ 2808354 w 3832826"/>
                <a:gd name="connsiteY592" fmla="*/ 5118137 h 5120141"/>
                <a:gd name="connsiteX593" fmla="*/ 2747349 w 3832826"/>
                <a:gd name="connsiteY593" fmla="*/ 5120141 h 5120141"/>
                <a:gd name="connsiteX594" fmla="*/ 2713691 w 3832826"/>
                <a:gd name="connsiteY594" fmla="*/ 5120141 h 5120141"/>
                <a:gd name="connsiteX595" fmla="*/ 2701069 w 3832826"/>
                <a:gd name="connsiteY595" fmla="*/ 5118137 h 5120141"/>
                <a:gd name="connsiteX596" fmla="*/ 2692654 w 3832826"/>
                <a:gd name="connsiteY596" fmla="*/ 5114129 h 5120141"/>
                <a:gd name="connsiteX597" fmla="*/ 2690551 w 3832826"/>
                <a:gd name="connsiteY597" fmla="*/ 5108117 h 5120141"/>
                <a:gd name="connsiteX598" fmla="*/ 2690551 w 3832826"/>
                <a:gd name="connsiteY598" fmla="*/ 5100102 h 5120141"/>
                <a:gd name="connsiteX599" fmla="*/ 2690551 w 3832826"/>
                <a:gd name="connsiteY599" fmla="*/ 5084070 h 5120141"/>
                <a:gd name="connsiteX600" fmla="*/ 2690551 w 3832826"/>
                <a:gd name="connsiteY600" fmla="*/ 5082066 h 5120141"/>
                <a:gd name="connsiteX601" fmla="*/ 2688447 w 3832826"/>
                <a:gd name="connsiteY601" fmla="*/ 5080062 h 5120141"/>
                <a:gd name="connsiteX602" fmla="*/ 2682136 w 3832826"/>
                <a:gd name="connsiteY602" fmla="*/ 5080062 h 5120141"/>
                <a:gd name="connsiteX603" fmla="*/ 2675825 w 3832826"/>
                <a:gd name="connsiteY603" fmla="*/ 5080062 h 5120141"/>
                <a:gd name="connsiteX604" fmla="*/ 2669514 w 3832826"/>
                <a:gd name="connsiteY604" fmla="*/ 5080062 h 5120141"/>
                <a:gd name="connsiteX605" fmla="*/ 2667411 w 3832826"/>
                <a:gd name="connsiteY605" fmla="*/ 5078058 h 5120141"/>
                <a:gd name="connsiteX606" fmla="*/ 2667411 w 3832826"/>
                <a:gd name="connsiteY606" fmla="*/ 5072046 h 5120141"/>
                <a:gd name="connsiteX607" fmla="*/ 2658996 w 3832826"/>
                <a:gd name="connsiteY607" fmla="*/ 5070042 h 5120141"/>
                <a:gd name="connsiteX608" fmla="*/ 2627442 w 3832826"/>
                <a:gd name="connsiteY608" fmla="*/ 5070042 h 5120141"/>
                <a:gd name="connsiteX609" fmla="*/ 2612716 w 3832826"/>
                <a:gd name="connsiteY609" fmla="*/ 5070042 h 5120141"/>
                <a:gd name="connsiteX610" fmla="*/ 2604302 w 3832826"/>
                <a:gd name="connsiteY610" fmla="*/ 5070042 h 5120141"/>
                <a:gd name="connsiteX611" fmla="*/ 2602198 w 3832826"/>
                <a:gd name="connsiteY611" fmla="*/ 5068038 h 5120141"/>
                <a:gd name="connsiteX612" fmla="*/ 2597991 w 3832826"/>
                <a:gd name="connsiteY612" fmla="*/ 5064030 h 5120141"/>
                <a:gd name="connsiteX613" fmla="*/ 2595887 w 3832826"/>
                <a:gd name="connsiteY613" fmla="*/ 5052006 h 5120141"/>
                <a:gd name="connsiteX614" fmla="*/ 2593783 w 3832826"/>
                <a:gd name="connsiteY614" fmla="*/ 5047998 h 5120141"/>
                <a:gd name="connsiteX615" fmla="*/ 2591680 w 3832826"/>
                <a:gd name="connsiteY615" fmla="*/ 5047998 h 5120141"/>
                <a:gd name="connsiteX616" fmla="*/ 2576954 w 3832826"/>
                <a:gd name="connsiteY616" fmla="*/ 5045994 h 5120141"/>
                <a:gd name="connsiteX617" fmla="*/ 2551711 w 3832826"/>
                <a:gd name="connsiteY617" fmla="*/ 5047998 h 5120141"/>
                <a:gd name="connsiteX618" fmla="*/ 2530674 w 3832826"/>
                <a:gd name="connsiteY618" fmla="*/ 5045994 h 5120141"/>
                <a:gd name="connsiteX619" fmla="*/ 2528571 w 3832826"/>
                <a:gd name="connsiteY619" fmla="*/ 4975856 h 5120141"/>
                <a:gd name="connsiteX620" fmla="*/ 2528571 w 3832826"/>
                <a:gd name="connsiteY620" fmla="*/ 4905717 h 5120141"/>
                <a:gd name="connsiteX621" fmla="*/ 2524363 w 3832826"/>
                <a:gd name="connsiteY621" fmla="*/ 4899705 h 5120141"/>
                <a:gd name="connsiteX622" fmla="*/ 2522260 w 3832826"/>
                <a:gd name="connsiteY622" fmla="*/ 4895697 h 5120141"/>
                <a:gd name="connsiteX623" fmla="*/ 2509638 w 3832826"/>
                <a:gd name="connsiteY623" fmla="*/ 4891689 h 5120141"/>
                <a:gd name="connsiteX624" fmla="*/ 2492809 w 3832826"/>
                <a:gd name="connsiteY624" fmla="*/ 4889685 h 5120141"/>
                <a:gd name="connsiteX625" fmla="*/ 2478083 w 3832826"/>
                <a:gd name="connsiteY625" fmla="*/ 4889685 h 5120141"/>
                <a:gd name="connsiteX626" fmla="*/ 2471772 w 3832826"/>
                <a:gd name="connsiteY626" fmla="*/ 4887681 h 5120141"/>
                <a:gd name="connsiteX627" fmla="*/ 2467565 w 3832826"/>
                <a:gd name="connsiteY627" fmla="*/ 4881669 h 5120141"/>
                <a:gd name="connsiteX628" fmla="*/ 2465461 w 3832826"/>
                <a:gd name="connsiteY628" fmla="*/ 4871649 h 5120141"/>
                <a:gd name="connsiteX629" fmla="*/ 2465461 w 3832826"/>
                <a:gd name="connsiteY629" fmla="*/ 4861629 h 5120141"/>
                <a:gd name="connsiteX630" fmla="*/ 2467565 w 3832826"/>
                <a:gd name="connsiteY630" fmla="*/ 4839586 h 5120141"/>
                <a:gd name="connsiteX631" fmla="*/ 2467565 w 3832826"/>
                <a:gd name="connsiteY631" fmla="*/ 4823554 h 5120141"/>
                <a:gd name="connsiteX632" fmla="*/ 2391834 w 3832826"/>
                <a:gd name="connsiteY632" fmla="*/ 4823554 h 5120141"/>
                <a:gd name="connsiteX633" fmla="*/ 2393938 w 3832826"/>
                <a:gd name="connsiteY633" fmla="*/ 4755419 h 5120141"/>
                <a:gd name="connsiteX634" fmla="*/ 2343450 w 3832826"/>
                <a:gd name="connsiteY634" fmla="*/ 4759427 h 5120141"/>
                <a:gd name="connsiteX635" fmla="*/ 2311896 w 3832826"/>
                <a:gd name="connsiteY635" fmla="*/ 4759427 h 5120141"/>
                <a:gd name="connsiteX636" fmla="*/ 2301378 w 3832826"/>
                <a:gd name="connsiteY636" fmla="*/ 4757423 h 5120141"/>
                <a:gd name="connsiteX637" fmla="*/ 2295067 w 3832826"/>
                <a:gd name="connsiteY637" fmla="*/ 4755419 h 5120141"/>
                <a:gd name="connsiteX638" fmla="*/ 2290860 w 3832826"/>
                <a:gd name="connsiteY638" fmla="*/ 4749407 h 5120141"/>
                <a:gd name="connsiteX639" fmla="*/ 2290860 w 3832826"/>
                <a:gd name="connsiteY639" fmla="*/ 4745399 h 5120141"/>
                <a:gd name="connsiteX640" fmla="*/ 2290860 w 3832826"/>
                <a:gd name="connsiteY640" fmla="*/ 4727364 h 5120141"/>
                <a:gd name="connsiteX641" fmla="*/ 2290860 w 3832826"/>
                <a:gd name="connsiteY641" fmla="*/ 4699308 h 5120141"/>
                <a:gd name="connsiteX642" fmla="*/ 2290860 w 3832826"/>
                <a:gd name="connsiteY642" fmla="*/ 4687284 h 5120141"/>
                <a:gd name="connsiteX643" fmla="*/ 2288756 w 3832826"/>
                <a:gd name="connsiteY643" fmla="*/ 4685280 h 5120141"/>
                <a:gd name="connsiteX644" fmla="*/ 2284549 w 3832826"/>
                <a:gd name="connsiteY644" fmla="*/ 4683276 h 5120141"/>
                <a:gd name="connsiteX645" fmla="*/ 2274030 w 3832826"/>
                <a:gd name="connsiteY645" fmla="*/ 4683276 h 5120141"/>
                <a:gd name="connsiteX646" fmla="*/ 2259305 w 3832826"/>
                <a:gd name="connsiteY646" fmla="*/ 4685280 h 5120141"/>
                <a:gd name="connsiteX647" fmla="*/ 2255098 w 3832826"/>
                <a:gd name="connsiteY647" fmla="*/ 4683276 h 5120141"/>
                <a:gd name="connsiteX648" fmla="*/ 2248787 w 3832826"/>
                <a:gd name="connsiteY648" fmla="*/ 4679268 h 5120141"/>
                <a:gd name="connsiteX649" fmla="*/ 2244579 w 3832826"/>
                <a:gd name="connsiteY649" fmla="*/ 4673257 h 5120141"/>
                <a:gd name="connsiteX650" fmla="*/ 2244579 w 3832826"/>
                <a:gd name="connsiteY650" fmla="*/ 4663237 h 5120141"/>
                <a:gd name="connsiteX651" fmla="*/ 2244579 w 3832826"/>
                <a:gd name="connsiteY651" fmla="*/ 4649209 h 5120141"/>
                <a:gd name="connsiteX652" fmla="*/ 2244579 w 3832826"/>
                <a:gd name="connsiteY652" fmla="*/ 4637185 h 5120141"/>
                <a:gd name="connsiteX653" fmla="*/ 2244579 w 3832826"/>
                <a:gd name="connsiteY653" fmla="*/ 4627165 h 5120141"/>
                <a:gd name="connsiteX654" fmla="*/ 2242476 w 3832826"/>
                <a:gd name="connsiteY654" fmla="*/ 4623157 h 5120141"/>
                <a:gd name="connsiteX655" fmla="*/ 2236165 w 3832826"/>
                <a:gd name="connsiteY655" fmla="*/ 4617145 h 5120141"/>
                <a:gd name="connsiteX656" fmla="*/ 2234061 w 3832826"/>
                <a:gd name="connsiteY656" fmla="*/ 4617145 h 5120141"/>
                <a:gd name="connsiteX657" fmla="*/ 2225647 w 3832826"/>
                <a:gd name="connsiteY657" fmla="*/ 4615141 h 5120141"/>
                <a:gd name="connsiteX658" fmla="*/ 2194092 w 3832826"/>
                <a:gd name="connsiteY658" fmla="*/ 4617145 h 5120141"/>
                <a:gd name="connsiteX659" fmla="*/ 2179367 w 3832826"/>
                <a:gd name="connsiteY659" fmla="*/ 4617145 h 5120141"/>
                <a:gd name="connsiteX660" fmla="*/ 2164641 w 3832826"/>
                <a:gd name="connsiteY660" fmla="*/ 4613137 h 5120141"/>
                <a:gd name="connsiteX661" fmla="*/ 2162538 w 3832826"/>
                <a:gd name="connsiteY661" fmla="*/ 4607126 h 5120141"/>
                <a:gd name="connsiteX662" fmla="*/ 2160434 w 3832826"/>
                <a:gd name="connsiteY662" fmla="*/ 4597106 h 5120141"/>
                <a:gd name="connsiteX663" fmla="*/ 2154123 w 3832826"/>
                <a:gd name="connsiteY663" fmla="*/ 4583078 h 5120141"/>
                <a:gd name="connsiteX664" fmla="*/ 2149916 w 3832826"/>
                <a:gd name="connsiteY664" fmla="*/ 4581074 h 5120141"/>
                <a:gd name="connsiteX665" fmla="*/ 2143605 w 3832826"/>
                <a:gd name="connsiteY665" fmla="*/ 4575062 h 5120141"/>
                <a:gd name="connsiteX666" fmla="*/ 2133087 w 3832826"/>
                <a:gd name="connsiteY666" fmla="*/ 4571054 h 5120141"/>
                <a:gd name="connsiteX667" fmla="*/ 2130983 w 3832826"/>
                <a:gd name="connsiteY667" fmla="*/ 4565042 h 5120141"/>
                <a:gd name="connsiteX668" fmla="*/ 2130983 w 3832826"/>
                <a:gd name="connsiteY668" fmla="*/ 4561034 h 5120141"/>
                <a:gd name="connsiteX669" fmla="*/ 2130983 w 3832826"/>
                <a:gd name="connsiteY669" fmla="*/ 4553018 h 5120141"/>
                <a:gd name="connsiteX670" fmla="*/ 2130983 w 3832826"/>
                <a:gd name="connsiteY670" fmla="*/ 4551015 h 5120141"/>
                <a:gd name="connsiteX671" fmla="*/ 2126776 w 3832826"/>
                <a:gd name="connsiteY671" fmla="*/ 4545003 h 5120141"/>
                <a:gd name="connsiteX672" fmla="*/ 2122568 w 3832826"/>
                <a:gd name="connsiteY672" fmla="*/ 4545003 h 5120141"/>
                <a:gd name="connsiteX673" fmla="*/ 2120465 w 3832826"/>
                <a:gd name="connsiteY673" fmla="*/ 4545003 h 5120141"/>
                <a:gd name="connsiteX674" fmla="*/ 2118361 w 3832826"/>
                <a:gd name="connsiteY674" fmla="*/ 4536987 h 5120141"/>
                <a:gd name="connsiteX675" fmla="*/ 2116258 w 3832826"/>
                <a:gd name="connsiteY675" fmla="*/ 4536987 h 5120141"/>
                <a:gd name="connsiteX676" fmla="*/ 2109947 w 3832826"/>
                <a:gd name="connsiteY676" fmla="*/ 4536987 h 5120141"/>
                <a:gd name="connsiteX677" fmla="*/ 2107843 w 3832826"/>
                <a:gd name="connsiteY677" fmla="*/ 4536987 h 5120141"/>
                <a:gd name="connsiteX678" fmla="*/ 2107843 w 3832826"/>
                <a:gd name="connsiteY678" fmla="*/ 4534983 h 5120141"/>
                <a:gd name="connsiteX679" fmla="*/ 2105739 w 3832826"/>
                <a:gd name="connsiteY679" fmla="*/ 4500915 h 5120141"/>
                <a:gd name="connsiteX680" fmla="*/ 2105739 w 3832826"/>
                <a:gd name="connsiteY680" fmla="*/ 4476868 h 5120141"/>
                <a:gd name="connsiteX681" fmla="*/ 2101532 w 3832826"/>
                <a:gd name="connsiteY681" fmla="*/ 4470856 h 5120141"/>
                <a:gd name="connsiteX682" fmla="*/ 2099428 w 3832826"/>
                <a:gd name="connsiteY682" fmla="*/ 4466848 h 5120141"/>
                <a:gd name="connsiteX683" fmla="*/ 2095221 w 3832826"/>
                <a:gd name="connsiteY683" fmla="*/ 4466848 h 5120141"/>
                <a:gd name="connsiteX684" fmla="*/ 2063667 w 3832826"/>
                <a:gd name="connsiteY684" fmla="*/ 4470856 h 5120141"/>
                <a:gd name="connsiteX685" fmla="*/ 2042630 w 3832826"/>
                <a:gd name="connsiteY685" fmla="*/ 4470856 h 5120141"/>
                <a:gd name="connsiteX686" fmla="*/ 2036319 w 3832826"/>
                <a:gd name="connsiteY686" fmla="*/ 4466848 h 5120141"/>
                <a:gd name="connsiteX687" fmla="*/ 2032112 w 3832826"/>
                <a:gd name="connsiteY687" fmla="*/ 4466848 h 5120141"/>
                <a:gd name="connsiteX688" fmla="*/ 2027905 w 3832826"/>
                <a:gd name="connsiteY688" fmla="*/ 4456828 h 5120141"/>
                <a:gd name="connsiteX689" fmla="*/ 2027905 w 3832826"/>
                <a:gd name="connsiteY689" fmla="*/ 4444804 h 5120141"/>
                <a:gd name="connsiteX690" fmla="*/ 2027905 w 3832826"/>
                <a:gd name="connsiteY690" fmla="*/ 4420757 h 5120141"/>
                <a:gd name="connsiteX691" fmla="*/ 2027905 w 3832826"/>
                <a:gd name="connsiteY691" fmla="*/ 4376298 h 5120141"/>
                <a:gd name="connsiteX692" fmla="*/ 2025801 w 3832826"/>
                <a:gd name="connsiteY692" fmla="*/ 4376298 h 5120141"/>
                <a:gd name="connsiteX693" fmla="*/ 2025801 w 3832826"/>
                <a:gd name="connsiteY693" fmla="*/ 4328574 h 5120141"/>
                <a:gd name="connsiteX694" fmla="*/ 2025801 w 3832826"/>
                <a:gd name="connsiteY694" fmla="*/ 4326856 h 5120141"/>
                <a:gd name="connsiteX695" fmla="*/ 2021595 w 3832826"/>
                <a:gd name="connsiteY695" fmla="*/ 4326570 h 5120141"/>
                <a:gd name="connsiteX696" fmla="*/ 2015284 w 3832826"/>
                <a:gd name="connsiteY696" fmla="*/ 4326570 h 5120141"/>
                <a:gd name="connsiteX697" fmla="*/ 2017387 w 3832826"/>
                <a:gd name="connsiteY697" fmla="*/ 4316550 h 5120141"/>
                <a:gd name="connsiteX698" fmla="*/ 2015284 w 3832826"/>
                <a:gd name="connsiteY698" fmla="*/ 4310539 h 5120141"/>
                <a:gd name="connsiteX699" fmla="*/ 2008973 w 3832826"/>
                <a:gd name="connsiteY699" fmla="*/ 4306531 h 5120141"/>
                <a:gd name="connsiteX700" fmla="*/ 2004765 w 3832826"/>
                <a:gd name="connsiteY700" fmla="*/ 4300519 h 5120141"/>
                <a:gd name="connsiteX701" fmla="*/ 1994247 w 3832826"/>
                <a:gd name="connsiteY701" fmla="*/ 4286491 h 5120141"/>
                <a:gd name="connsiteX702" fmla="*/ 1987936 w 3832826"/>
                <a:gd name="connsiteY702" fmla="*/ 4270459 h 5120141"/>
                <a:gd name="connsiteX703" fmla="*/ 1987936 w 3832826"/>
                <a:gd name="connsiteY703" fmla="*/ 4262443 h 5120141"/>
                <a:gd name="connsiteX704" fmla="*/ 1987936 w 3832826"/>
                <a:gd name="connsiteY704" fmla="*/ 4258435 h 5120141"/>
                <a:gd name="connsiteX705" fmla="*/ 1987936 w 3832826"/>
                <a:gd name="connsiteY705" fmla="*/ 4252423 h 5120141"/>
                <a:gd name="connsiteX706" fmla="*/ 1983729 w 3832826"/>
                <a:gd name="connsiteY706" fmla="*/ 4246412 h 5120141"/>
                <a:gd name="connsiteX707" fmla="*/ 1978277 w 3832826"/>
                <a:gd name="connsiteY707" fmla="*/ 4241218 h 5120141"/>
                <a:gd name="connsiteX708" fmla="*/ 1947935 w 3832826"/>
                <a:gd name="connsiteY708" fmla="*/ 4232386 h 5120141"/>
                <a:gd name="connsiteX709" fmla="*/ 1941632 w 3832826"/>
                <a:gd name="connsiteY709" fmla="*/ 4228376 h 5120141"/>
                <a:gd name="connsiteX710" fmla="*/ 1933169 w 3832826"/>
                <a:gd name="connsiteY710" fmla="*/ 4220356 h 5120141"/>
                <a:gd name="connsiteX711" fmla="*/ 1922725 w 3832826"/>
                <a:gd name="connsiteY711" fmla="*/ 4208326 h 5120141"/>
                <a:gd name="connsiteX712" fmla="*/ 1910120 w 3832826"/>
                <a:gd name="connsiteY712" fmla="*/ 4196297 h 5120141"/>
                <a:gd name="connsiteX713" fmla="*/ 1901657 w 3832826"/>
                <a:gd name="connsiteY713" fmla="*/ 4190282 h 5120141"/>
                <a:gd name="connsiteX714" fmla="*/ 1893193 w 3832826"/>
                <a:gd name="connsiteY714" fmla="*/ 4186272 h 5120141"/>
                <a:gd name="connsiteX715" fmla="*/ 1867983 w 3832826"/>
                <a:gd name="connsiteY715" fmla="*/ 4178252 h 5120141"/>
                <a:gd name="connsiteX716" fmla="*/ 1857539 w 3832826"/>
                <a:gd name="connsiteY716" fmla="*/ 4172237 h 5120141"/>
                <a:gd name="connsiteX717" fmla="*/ 1842773 w 3832826"/>
                <a:gd name="connsiteY717" fmla="*/ 4166222 h 5120141"/>
                <a:gd name="connsiteX718" fmla="*/ 1804958 w 3832826"/>
                <a:gd name="connsiteY718" fmla="*/ 4138152 h 5120141"/>
                <a:gd name="connsiteX719" fmla="*/ 1800637 w 3832826"/>
                <a:gd name="connsiteY719" fmla="*/ 4138152 h 5120141"/>
                <a:gd name="connsiteX720" fmla="*/ 1796495 w 3832826"/>
                <a:gd name="connsiteY720" fmla="*/ 4138152 h 5120141"/>
                <a:gd name="connsiteX721" fmla="*/ 1790192 w 3832826"/>
                <a:gd name="connsiteY721" fmla="*/ 4138152 h 5120141"/>
                <a:gd name="connsiteX722" fmla="*/ 1786051 w 3832826"/>
                <a:gd name="connsiteY722" fmla="*/ 4132138 h 5120141"/>
                <a:gd name="connsiteX723" fmla="*/ 1783890 w 3832826"/>
                <a:gd name="connsiteY723" fmla="*/ 4126123 h 5120141"/>
                <a:gd name="connsiteX724" fmla="*/ 1775427 w 3832826"/>
                <a:gd name="connsiteY724" fmla="*/ 4120108 h 5120141"/>
                <a:gd name="connsiteX725" fmla="*/ 1769124 w 3832826"/>
                <a:gd name="connsiteY725" fmla="*/ 4118103 h 5120141"/>
                <a:gd name="connsiteX726" fmla="*/ 1762822 w 3832826"/>
                <a:gd name="connsiteY726" fmla="*/ 4112088 h 5120141"/>
                <a:gd name="connsiteX727" fmla="*/ 1756519 w 3832826"/>
                <a:gd name="connsiteY727" fmla="*/ 4100058 h 5120141"/>
                <a:gd name="connsiteX728" fmla="*/ 1752377 w 3832826"/>
                <a:gd name="connsiteY728" fmla="*/ 4090167 h 5120141"/>
                <a:gd name="connsiteX729" fmla="*/ 1741753 w 3832826"/>
                <a:gd name="connsiteY729" fmla="*/ 4086157 h 5120141"/>
                <a:gd name="connsiteX730" fmla="*/ 1733470 w 3832826"/>
                <a:gd name="connsiteY730" fmla="*/ 4082147 h 5120141"/>
                <a:gd name="connsiteX731" fmla="*/ 1716543 w 3832826"/>
                <a:gd name="connsiteY731" fmla="*/ 4070117 h 5120141"/>
                <a:gd name="connsiteX732" fmla="*/ 1706099 w 3832826"/>
                <a:gd name="connsiteY732" fmla="*/ 4060092 h 5120141"/>
                <a:gd name="connsiteX733" fmla="*/ 1701777 w 3832826"/>
                <a:gd name="connsiteY733" fmla="*/ 4052072 h 5120141"/>
                <a:gd name="connsiteX734" fmla="*/ 1699797 w 3832826"/>
                <a:gd name="connsiteY734" fmla="*/ 4048062 h 5120141"/>
                <a:gd name="connsiteX735" fmla="*/ 1695475 w 3832826"/>
                <a:gd name="connsiteY735" fmla="*/ 4038038 h 5120141"/>
                <a:gd name="connsiteX736" fmla="*/ 1699797 w 3832826"/>
                <a:gd name="connsiteY736" fmla="*/ 4030018 h 5120141"/>
                <a:gd name="connsiteX737" fmla="*/ 1701777 w 3832826"/>
                <a:gd name="connsiteY737" fmla="*/ 4021998 h 5120141"/>
                <a:gd name="connsiteX738" fmla="*/ 1706099 w 3832826"/>
                <a:gd name="connsiteY738" fmla="*/ 4017988 h 5120141"/>
                <a:gd name="connsiteX739" fmla="*/ 1714382 w 3832826"/>
                <a:gd name="connsiteY739" fmla="*/ 4007963 h 5120141"/>
                <a:gd name="connsiteX740" fmla="*/ 1716543 w 3832826"/>
                <a:gd name="connsiteY740" fmla="*/ 4001948 h 5120141"/>
                <a:gd name="connsiteX741" fmla="*/ 1720685 w 3832826"/>
                <a:gd name="connsiteY741" fmla="*/ 3997938 h 5120141"/>
                <a:gd name="connsiteX742" fmla="*/ 1716543 w 3832826"/>
                <a:gd name="connsiteY742" fmla="*/ 3991923 h 5120141"/>
                <a:gd name="connsiteX743" fmla="*/ 1712402 w 3832826"/>
                <a:gd name="connsiteY743" fmla="*/ 3985908 h 5120141"/>
                <a:gd name="connsiteX744" fmla="*/ 1701777 w 3832826"/>
                <a:gd name="connsiteY744" fmla="*/ 3975883 h 5120141"/>
                <a:gd name="connsiteX745" fmla="*/ 1695475 w 3832826"/>
                <a:gd name="connsiteY745" fmla="*/ 3973878 h 5120141"/>
                <a:gd name="connsiteX746" fmla="*/ 1691333 w 3832826"/>
                <a:gd name="connsiteY746" fmla="*/ 3965859 h 5120141"/>
                <a:gd name="connsiteX747" fmla="*/ 1689172 w 3832826"/>
                <a:gd name="connsiteY747" fmla="*/ 3957839 h 5120141"/>
                <a:gd name="connsiteX748" fmla="*/ 1691333 w 3832826"/>
                <a:gd name="connsiteY748" fmla="*/ 3953829 h 5120141"/>
                <a:gd name="connsiteX749" fmla="*/ 1691333 w 3832826"/>
                <a:gd name="connsiteY749" fmla="*/ 3945809 h 5120141"/>
                <a:gd name="connsiteX750" fmla="*/ 1689172 w 3832826"/>
                <a:gd name="connsiteY750" fmla="*/ 3937789 h 5120141"/>
                <a:gd name="connsiteX751" fmla="*/ 1687192 w 3832826"/>
                <a:gd name="connsiteY751" fmla="*/ 3927764 h 5120141"/>
                <a:gd name="connsiteX752" fmla="*/ 1689172 w 3832826"/>
                <a:gd name="connsiteY752" fmla="*/ 3919744 h 5120141"/>
                <a:gd name="connsiteX753" fmla="*/ 1691333 w 3832826"/>
                <a:gd name="connsiteY753" fmla="*/ 3915734 h 5120141"/>
                <a:gd name="connsiteX754" fmla="*/ 1699797 w 3832826"/>
                <a:gd name="connsiteY754" fmla="*/ 3909719 h 5120141"/>
                <a:gd name="connsiteX755" fmla="*/ 1714382 w 3832826"/>
                <a:gd name="connsiteY755" fmla="*/ 3905709 h 5120141"/>
                <a:gd name="connsiteX756" fmla="*/ 1731309 w 3832826"/>
                <a:gd name="connsiteY756" fmla="*/ 3899694 h 5120141"/>
                <a:gd name="connsiteX757" fmla="*/ 1735451 w 3832826"/>
                <a:gd name="connsiteY757" fmla="*/ 3897690 h 5120141"/>
                <a:gd name="connsiteX758" fmla="*/ 1737612 w 3832826"/>
                <a:gd name="connsiteY758" fmla="*/ 3893680 h 5120141"/>
                <a:gd name="connsiteX759" fmla="*/ 1746075 w 3832826"/>
                <a:gd name="connsiteY759" fmla="*/ 3879645 h 5120141"/>
                <a:gd name="connsiteX760" fmla="*/ 1748056 w 3832826"/>
                <a:gd name="connsiteY760" fmla="*/ 3863605 h 5120141"/>
                <a:gd name="connsiteX761" fmla="*/ 1752377 w 3832826"/>
                <a:gd name="connsiteY761" fmla="*/ 3843555 h 5120141"/>
                <a:gd name="connsiteX762" fmla="*/ 1754358 w 3832826"/>
                <a:gd name="connsiteY762" fmla="*/ 3823639 h 5120141"/>
                <a:gd name="connsiteX763" fmla="*/ 1752377 w 3832826"/>
                <a:gd name="connsiteY763" fmla="*/ 3803590 h 5120141"/>
                <a:gd name="connsiteX764" fmla="*/ 1748056 w 3832826"/>
                <a:gd name="connsiteY764" fmla="*/ 3785545 h 5120141"/>
                <a:gd name="connsiteX765" fmla="*/ 1746075 w 3832826"/>
                <a:gd name="connsiteY765" fmla="*/ 3773515 h 5120141"/>
                <a:gd name="connsiteX766" fmla="*/ 1737612 w 3832826"/>
                <a:gd name="connsiteY766" fmla="*/ 3761485 h 5120141"/>
                <a:gd name="connsiteX767" fmla="*/ 1727167 w 3832826"/>
                <a:gd name="connsiteY767" fmla="*/ 3747450 h 5120141"/>
                <a:gd name="connsiteX768" fmla="*/ 1695475 w 3832826"/>
                <a:gd name="connsiteY768" fmla="*/ 3721385 h 5120141"/>
                <a:gd name="connsiteX769" fmla="*/ 1661802 w 3832826"/>
                <a:gd name="connsiteY769" fmla="*/ 3695321 h 5120141"/>
                <a:gd name="connsiteX770" fmla="*/ 1636592 w 3832826"/>
                <a:gd name="connsiteY770" fmla="*/ 3675271 h 5120141"/>
                <a:gd name="connsiteX771" fmla="*/ 1519948 w 3832826"/>
                <a:gd name="connsiteY771" fmla="*/ 3568035 h 5120141"/>
                <a:gd name="connsiteX772" fmla="*/ 1518826 w 3832826"/>
                <a:gd name="connsiteY772" fmla="*/ 3569070 h 5120141"/>
                <a:gd name="connsiteX773" fmla="*/ 1510411 w 3832826"/>
                <a:gd name="connsiteY773" fmla="*/ 3561053 h 5120141"/>
                <a:gd name="connsiteX774" fmla="*/ 1497790 w 3832826"/>
                <a:gd name="connsiteY774" fmla="*/ 3553037 h 5120141"/>
                <a:gd name="connsiteX775" fmla="*/ 1468339 w 3832826"/>
                <a:gd name="connsiteY775" fmla="*/ 3537005 h 5120141"/>
                <a:gd name="connsiteX776" fmla="*/ 1409437 w 3832826"/>
                <a:gd name="connsiteY776" fmla="*/ 3514942 h 5120141"/>
                <a:gd name="connsiteX777" fmla="*/ 1386297 w 3832826"/>
                <a:gd name="connsiteY777" fmla="*/ 3504939 h 5120141"/>
                <a:gd name="connsiteX778" fmla="*/ 1365260 w 3832826"/>
                <a:gd name="connsiteY778" fmla="*/ 3492950 h 5120141"/>
                <a:gd name="connsiteX779" fmla="*/ 1363157 w 3832826"/>
                <a:gd name="connsiteY779" fmla="*/ 3486920 h 5120141"/>
                <a:gd name="connsiteX780" fmla="*/ 1361053 w 3832826"/>
                <a:gd name="connsiteY780" fmla="*/ 3482877 h 5120141"/>
                <a:gd name="connsiteX781" fmla="*/ 1358949 w 3832826"/>
                <a:gd name="connsiteY781" fmla="*/ 3474861 h 5120141"/>
                <a:gd name="connsiteX782" fmla="*/ 1354742 w 3832826"/>
                <a:gd name="connsiteY782" fmla="*/ 3470888 h 5120141"/>
                <a:gd name="connsiteX783" fmla="*/ 1340017 w 3832826"/>
                <a:gd name="connsiteY783" fmla="*/ 3446839 h 5120141"/>
                <a:gd name="connsiteX784" fmla="*/ 1318980 w 3832826"/>
                <a:gd name="connsiteY784" fmla="*/ 3426763 h 5120141"/>
                <a:gd name="connsiteX785" fmla="*/ 1316877 w 3832826"/>
                <a:gd name="connsiteY785" fmla="*/ 3426763 h 5120141"/>
                <a:gd name="connsiteX786" fmla="*/ 1310566 w 3832826"/>
                <a:gd name="connsiteY786" fmla="*/ 3422790 h 5120141"/>
                <a:gd name="connsiteX787" fmla="*/ 1300047 w 3832826"/>
                <a:gd name="connsiteY787" fmla="*/ 3416760 h 5120141"/>
                <a:gd name="connsiteX788" fmla="*/ 1297944 w 3832826"/>
                <a:gd name="connsiteY788" fmla="*/ 3414774 h 5120141"/>
                <a:gd name="connsiteX789" fmla="*/ 1297944 w 3832826"/>
                <a:gd name="connsiteY789" fmla="*/ 3410730 h 5120141"/>
                <a:gd name="connsiteX790" fmla="*/ 1300047 w 3832826"/>
                <a:gd name="connsiteY790" fmla="*/ 3402714 h 5120141"/>
                <a:gd name="connsiteX791" fmla="*/ 1308462 w 3832826"/>
                <a:gd name="connsiteY791" fmla="*/ 3394698 h 5120141"/>
                <a:gd name="connsiteX792" fmla="*/ 1297944 w 3832826"/>
                <a:gd name="connsiteY792" fmla="*/ 3380722 h 5120141"/>
                <a:gd name="connsiteX793" fmla="*/ 1291633 w 3832826"/>
                <a:gd name="connsiteY793" fmla="*/ 3366676 h 5120141"/>
                <a:gd name="connsiteX794" fmla="*/ 1291633 w 3832826"/>
                <a:gd name="connsiteY794" fmla="*/ 3354616 h 5120141"/>
                <a:gd name="connsiteX795" fmla="*/ 1295840 w 3832826"/>
                <a:gd name="connsiteY795" fmla="*/ 3344614 h 5120141"/>
                <a:gd name="connsiteX796" fmla="*/ 1300047 w 3832826"/>
                <a:gd name="connsiteY796" fmla="*/ 3334611 h 5120141"/>
                <a:gd name="connsiteX797" fmla="*/ 1306358 w 3832826"/>
                <a:gd name="connsiteY797" fmla="*/ 3324608 h 5120141"/>
                <a:gd name="connsiteX798" fmla="*/ 1308462 w 3832826"/>
                <a:gd name="connsiteY798" fmla="*/ 3318578 h 5120141"/>
                <a:gd name="connsiteX799" fmla="*/ 1306358 w 3832826"/>
                <a:gd name="connsiteY799" fmla="*/ 3310562 h 5120141"/>
                <a:gd name="connsiteX800" fmla="*/ 1302151 w 3832826"/>
                <a:gd name="connsiteY800" fmla="*/ 3302546 h 5120141"/>
                <a:gd name="connsiteX801" fmla="*/ 1295840 w 3832826"/>
                <a:gd name="connsiteY801" fmla="*/ 3294529 h 5120141"/>
                <a:gd name="connsiteX802" fmla="*/ 1295840 w 3832826"/>
                <a:gd name="connsiteY802" fmla="*/ 3290486 h 5120141"/>
                <a:gd name="connsiteX803" fmla="*/ 1291633 w 3832826"/>
                <a:gd name="connsiteY803" fmla="*/ 3288499 h 5120141"/>
                <a:gd name="connsiteX804" fmla="*/ 1297944 w 3832826"/>
                <a:gd name="connsiteY804" fmla="*/ 3280483 h 5120141"/>
                <a:gd name="connsiteX805" fmla="*/ 1302151 w 3832826"/>
                <a:gd name="connsiteY805" fmla="*/ 3272467 h 5120141"/>
                <a:gd name="connsiteX806" fmla="*/ 1306358 w 3832826"/>
                <a:gd name="connsiteY806" fmla="*/ 3262464 h 5120141"/>
                <a:gd name="connsiteX807" fmla="*/ 1306358 w 3832826"/>
                <a:gd name="connsiteY807" fmla="*/ 3258421 h 5120141"/>
                <a:gd name="connsiteX808" fmla="*/ 1302151 w 3832826"/>
                <a:gd name="connsiteY808" fmla="*/ 3252462 h 5120141"/>
                <a:gd name="connsiteX809" fmla="*/ 1302205 w 3832826"/>
                <a:gd name="connsiteY809" fmla="*/ 3250392 h 5120141"/>
                <a:gd name="connsiteX810" fmla="*/ 1302151 w 3832826"/>
                <a:gd name="connsiteY810" fmla="*/ 3250439 h 5120141"/>
                <a:gd name="connsiteX811" fmla="*/ 1270596 w 3832826"/>
                <a:gd name="connsiteY811" fmla="*/ 3222383 h 5120141"/>
                <a:gd name="connsiteX812" fmla="*/ 1268493 w 3832826"/>
                <a:gd name="connsiteY812" fmla="*/ 3218375 h 5120141"/>
                <a:gd name="connsiteX813" fmla="*/ 1264285 w 3832826"/>
                <a:gd name="connsiteY813" fmla="*/ 3218375 h 5120141"/>
                <a:gd name="connsiteX814" fmla="*/ 1257974 w 3832826"/>
                <a:gd name="connsiteY814" fmla="*/ 3220379 h 5120141"/>
                <a:gd name="connsiteX815" fmla="*/ 1253767 w 3832826"/>
                <a:gd name="connsiteY815" fmla="*/ 3222383 h 5120141"/>
                <a:gd name="connsiteX816" fmla="*/ 1245353 w 3832826"/>
                <a:gd name="connsiteY816" fmla="*/ 3222383 h 5120141"/>
                <a:gd name="connsiteX817" fmla="*/ 1228523 w 3832826"/>
                <a:gd name="connsiteY817" fmla="*/ 3220379 h 5120141"/>
                <a:gd name="connsiteX818" fmla="*/ 1207487 w 3832826"/>
                <a:gd name="connsiteY818" fmla="*/ 3218375 h 5120141"/>
                <a:gd name="connsiteX819" fmla="*/ 1201176 w 3832826"/>
                <a:gd name="connsiteY819" fmla="*/ 3218375 h 5120141"/>
                <a:gd name="connsiteX820" fmla="*/ 1192761 w 3832826"/>
                <a:gd name="connsiteY820" fmla="*/ 3220379 h 5120141"/>
                <a:gd name="connsiteX821" fmla="*/ 1190658 w 3832826"/>
                <a:gd name="connsiteY821" fmla="*/ 3226391 h 5120141"/>
                <a:gd name="connsiteX822" fmla="*/ 1192761 w 3832826"/>
                <a:gd name="connsiteY822" fmla="*/ 3236411 h 5120141"/>
                <a:gd name="connsiteX823" fmla="*/ 1182243 w 3832826"/>
                <a:gd name="connsiteY823" fmla="*/ 3236411 h 5120141"/>
                <a:gd name="connsiteX824" fmla="*/ 1175932 w 3832826"/>
                <a:gd name="connsiteY824" fmla="*/ 3230399 h 5120141"/>
                <a:gd name="connsiteX825" fmla="*/ 1171725 w 3832826"/>
                <a:gd name="connsiteY825" fmla="*/ 3222383 h 5120141"/>
                <a:gd name="connsiteX826" fmla="*/ 1169621 w 3832826"/>
                <a:gd name="connsiteY826" fmla="*/ 3216371 h 5120141"/>
                <a:gd name="connsiteX827" fmla="*/ 1161207 w 3832826"/>
                <a:gd name="connsiteY827" fmla="*/ 3196332 h 5120141"/>
                <a:gd name="connsiteX828" fmla="*/ 1159103 w 3832826"/>
                <a:gd name="connsiteY828" fmla="*/ 3186312 h 5120141"/>
                <a:gd name="connsiteX829" fmla="*/ 1150689 w 3832826"/>
                <a:gd name="connsiteY829" fmla="*/ 3180300 h 5120141"/>
                <a:gd name="connsiteX830" fmla="*/ 1142274 w 3832826"/>
                <a:gd name="connsiteY830" fmla="*/ 3172284 h 5120141"/>
                <a:gd name="connsiteX831" fmla="*/ 1138067 w 3832826"/>
                <a:gd name="connsiteY831" fmla="*/ 3166272 h 5120141"/>
                <a:gd name="connsiteX832" fmla="*/ 1133859 w 3832826"/>
                <a:gd name="connsiteY832" fmla="*/ 3156253 h 5120141"/>
                <a:gd name="connsiteX833" fmla="*/ 1133859 w 3832826"/>
                <a:gd name="connsiteY833" fmla="*/ 3144229 h 5120141"/>
                <a:gd name="connsiteX834" fmla="*/ 1138067 w 3832826"/>
                <a:gd name="connsiteY834" fmla="*/ 3130201 h 5120141"/>
                <a:gd name="connsiteX835" fmla="*/ 1142274 w 3832826"/>
                <a:gd name="connsiteY835" fmla="*/ 3126193 h 5120141"/>
                <a:gd name="connsiteX836" fmla="*/ 1148585 w 3832826"/>
                <a:gd name="connsiteY836" fmla="*/ 3124189 h 5120141"/>
                <a:gd name="connsiteX837" fmla="*/ 1154896 w 3832826"/>
                <a:gd name="connsiteY837" fmla="*/ 3118177 h 5120141"/>
                <a:gd name="connsiteX838" fmla="*/ 1161207 w 3832826"/>
                <a:gd name="connsiteY838" fmla="*/ 3110161 h 5120141"/>
                <a:gd name="connsiteX839" fmla="*/ 1163310 w 3832826"/>
                <a:gd name="connsiteY839" fmla="*/ 3106153 h 5120141"/>
                <a:gd name="connsiteX840" fmla="*/ 1161207 w 3832826"/>
                <a:gd name="connsiteY840" fmla="*/ 3090122 h 5120141"/>
                <a:gd name="connsiteX841" fmla="*/ 1159103 w 3832826"/>
                <a:gd name="connsiteY841" fmla="*/ 3076094 h 5120141"/>
                <a:gd name="connsiteX842" fmla="*/ 1159103 w 3832826"/>
                <a:gd name="connsiteY842" fmla="*/ 3068078 h 5120141"/>
                <a:gd name="connsiteX843" fmla="*/ 1159103 w 3832826"/>
                <a:gd name="connsiteY843" fmla="*/ 3060062 h 5120141"/>
                <a:gd name="connsiteX844" fmla="*/ 1161207 w 3832826"/>
                <a:gd name="connsiteY844" fmla="*/ 3056054 h 5120141"/>
                <a:gd name="connsiteX845" fmla="*/ 1159103 w 3832826"/>
                <a:gd name="connsiteY845" fmla="*/ 3050042 h 5120141"/>
                <a:gd name="connsiteX846" fmla="*/ 1154896 w 3832826"/>
                <a:gd name="connsiteY846" fmla="*/ 3048038 h 5120141"/>
                <a:gd name="connsiteX847" fmla="*/ 1150689 w 3832826"/>
                <a:gd name="connsiteY847" fmla="*/ 3046035 h 5120141"/>
                <a:gd name="connsiteX848" fmla="*/ 1140170 w 3832826"/>
                <a:gd name="connsiteY848" fmla="*/ 3044031 h 5120141"/>
                <a:gd name="connsiteX849" fmla="*/ 1133859 w 3832826"/>
                <a:gd name="connsiteY849" fmla="*/ 3040023 h 5120141"/>
                <a:gd name="connsiteX850" fmla="*/ 1131756 w 3832826"/>
                <a:gd name="connsiteY850" fmla="*/ 3038019 h 5120141"/>
                <a:gd name="connsiteX851" fmla="*/ 1127548 w 3832826"/>
                <a:gd name="connsiteY851" fmla="*/ 3030003 h 5120141"/>
                <a:gd name="connsiteX852" fmla="*/ 1123341 w 3832826"/>
                <a:gd name="connsiteY852" fmla="*/ 3023991 h 5120141"/>
                <a:gd name="connsiteX853" fmla="*/ 1127548 w 3832826"/>
                <a:gd name="connsiteY853" fmla="*/ 3015975 h 5120141"/>
                <a:gd name="connsiteX854" fmla="*/ 1127548 w 3832826"/>
                <a:gd name="connsiteY854" fmla="*/ 3007959 h 5120141"/>
                <a:gd name="connsiteX855" fmla="*/ 1121238 w 3832826"/>
                <a:gd name="connsiteY855" fmla="*/ 2989924 h 5120141"/>
                <a:gd name="connsiteX856" fmla="*/ 1119134 w 3832826"/>
                <a:gd name="connsiteY856" fmla="*/ 2983912 h 5120141"/>
                <a:gd name="connsiteX857" fmla="*/ 1119134 w 3832826"/>
                <a:gd name="connsiteY857" fmla="*/ 2975896 h 5120141"/>
                <a:gd name="connsiteX858" fmla="*/ 1119133 w 3832826"/>
                <a:gd name="connsiteY858" fmla="*/ 2975897 h 5120141"/>
                <a:gd name="connsiteX859" fmla="*/ 1119133 w 3832826"/>
                <a:gd name="connsiteY859" fmla="*/ 2965877 h 5120141"/>
                <a:gd name="connsiteX860" fmla="*/ 1112822 w 3832826"/>
                <a:gd name="connsiteY860" fmla="*/ 2955857 h 5120141"/>
                <a:gd name="connsiteX861" fmla="*/ 1106511 w 3832826"/>
                <a:gd name="connsiteY861" fmla="*/ 2949845 h 5120141"/>
                <a:gd name="connsiteX862" fmla="*/ 1095993 w 3832826"/>
                <a:gd name="connsiteY862" fmla="*/ 2945837 h 5120141"/>
                <a:gd name="connsiteX863" fmla="*/ 1074956 w 3832826"/>
                <a:gd name="connsiteY863" fmla="*/ 2935817 h 5120141"/>
                <a:gd name="connsiteX864" fmla="*/ 1066542 w 3832826"/>
                <a:gd name="connsiteY864" fmla="*/ 2929806 h 5120141"/>
                <a:gd name="connsiteX865" fmla="*/ 1064438 w 3832826"/>
                <a:gd name="connsiteY865" fmla="*/ 2923794 h 5120141"/>
                <a:gd name="connsiteX866" fmla="*/ 1064438 w 3832826"/>
                <a:gd name="connsiteY866" fmla="*/ 2815579 h 5120141"/>
                <a:gd name="connsiteX867" fmla="*/ 1064438 w 3832826"/>
                <a:gd name="connsiteY867" fmla="*/ 2763476 h 5120141"/>
                <a:gd name="connsiteX868" fmla="*/ 1066542 w 3832826"/>
                <a:gd name="connsiteY868" fmla="*/ 2707365 h 5120141"/>
                <a:gd name="connsiteX869" fmla="*/ 1070749 w 3832826"/>
                <a:gd name="connsiteY869" fmla="*/ 2697345 h 5120141"/>
                <a:gd name="connsiteX870" fmla="*/ 1077060 w 3832826"/>
                <a:gd name="connsiteY870" fmla="*/ 2687326 h 5120141"/>
                <a:gd name="connsiteX871" fmla="*/ 1074956 w 3832826"/>
                <a:gd name="connsiteY871" fmla="*/ 2683318 h 5120141"/>
                <a:gd name="connsiteX872" fmla="*/ 1070749 w 3832826"/>
                <a:gd name="connsiteY872" fmla="*/ 2681314 h 5120141"/>
                <a:gd name="connsiteX873" fmla="*/ 1066542 w 3832826"/>
                <a:gd name="connsiteY873" fmla="*/ 2677306 h 5120141"/>
                <a:gd name="connsiteX874" fmla="*/ 1058127 w 3832826"/>
                <a:gd name="connsiteY874" fmla="*/ 2675302 h 5120141"/>
                <a:gd name="connsiteX875" fmla="*/ 1053920 w 3832826"/>
                <a:gd name="connsiteY875" fmla="*/ 2671294 h 5120141"/>
                <a:gd name="connsiteX876" fmla="*/ 1049713 w 3832826"/>
                <a:gd name="connsiteY876" fmla="*/ 2657266 h 5120141"/>
                <a:gd name="connsiteX877" fmla="*/ 1053920 w 3832826"/>
                <a:gd name="connsiteY877" fmla="*/ 2645242 h 5120141"/>
                <a:gd name="connsiteX878" fmla="*/ 1058127 w 3832826"/>
                <a:gd name="connsiteY878" fmla="*/ 2633218 h 5120141"/>
                <a:gd name="connsiteX879" fmla="*/ 1058127 w 3832826"/>
                <a:gd name="connsiteY879" fmla="*/ 2623199 h 5120141"/>
                <a:gd name="connsiteX880" fmla="*/ 1058127 w 3832826"/>
                <a:gd name="connsiteY880" fmla="*/ 2613179 h 5120141"/>
                <a:gd name="connsiteX881" fmla="*/ 1056023 w 3832826"/>
                <a:gd name="connsiteY881" fmla="*/ 2601155 h 5120141"/>
                <a:gd name="connsiteX882" fmla="*/ 1049713 w 3832826"/>
                <a:gd name="connsiteY882" fmla="*/ 2577107 h 5120141"/>
                <a:gd name="connsiteX883" fmla="*/ 1047609 w 3832826"/>
                <a:gd name="connsiteY883" fmla="*/ 2565084 h 5120141"/>
                <a:gd name="connsiteX884" fmla="*/ 1049713 w 3832826"/>
                <a:gd name="connsiteY884" fmla="*/ 2555064 h 5120141"/>
                <a:gd name="connsiteX885" fmla="*/ 1053920 w 3832826"/>
                <a:gd name="connsiteY885" fmla="*/ 2547048 h 5120141"/>
                <a:gd name="connsiteX886" fmla="*/ 1060231 w 3832826"/>
                <a:gd name="connsiteY886" fmla="*/ 2543040 h 5120141"/>
                <a:gd name="connsiteX887" fmla="*/ 1058389 w 3832826"/>
                <a:gd name="connsiteY887" fmla="*/ 2529007 h 5120141"/>
                <a:gd name="connsiteX888" fmla="*/ 1056029 w 3832826"/>
                <a:gd name="connsiteY888" fmla="*/ 2529007 h 5120141"/>
                <a:gd name="connsiteX889" fmla="*/ 1049713 w 3832826"/>
                <a:gd name="connsiteY889" fmla="*/ 2535024 h 5120141"/>
                <a:gd name="connsiteX890" fmla="*/ 1049713 w 3832826"/>
                <a:gd name="connsiteY890" fmla="*/ 2533020 h 5120141"/>
                <a:gd name="connsiteX891" fmla="*/ 1049713 w 3832826"/>
                <a:gd name="connsiteY891" fmla="*/ 2529007 h 5120141"/>
                <a:gd name="connsiteX892" fmla="*/ 904562 w 3832826"/>
                <a:gd name="connsiteY892" fmla="*/ 2529007 h 5120141"/>
                <a:gd name="connsiteX893" fmla="*/ 904562 w 3832826"/>
                <a:gd name="connsiteY893" fmla="*/ 2129394 h 5120141"/>
                <a:gd name="connsiteX894" fmla="*/ 889837 w 3832826"/>
                <a:gd name="connsiteY894" fmla="*/ 2130219 h 5120141"/>
                <a:gd name="connsiteX895" fmla="*/ 868800 w 3832826"/>
                <a:gd name="connsiteY895" fmla="*/ 2132223 h 5120141"/>
                <a:gd name="connsiteX896" fmla="*/ 841453 w 3832826"/>
                <a:gd name="connsiteY896" fmla="*/ 2130219 h 5120141"/>
                <a:gd name="connsiteX897" fmla="*/ 816209 w 3832826"/>
                <a:gd name="connsiteY897" fmla="*/ 2132223 h 5120141"/>
                <a:gd name="connsiteX898" fmla="*/ 793069 w 3832826"/>
                <a:gd name="connsiteY898" fmla="*/ 2140239 h 5120141"/>
                <a:gd name="connsiteX899" fmla="*/ 769929 w 3832826"/>
                <a:gd name="connsiteY899" fmla="*/ 2150258 h 5120141"/>
                <a:gd name="connsiteX900" fmla="*/ 748892 w 3832826"/>
                <a:gd name="connsiteY900" fmla="*/ 2162282 h 5120141"/>
                <a:gd name="connsiteX901" fmla="*/ 738374 w 3832826"/>
                <a:gd name="connsiteY901" fmla="*/ 2164286 h 5120141"/>
                <a:gd name="connsiteX902" fmla="*/ 732063 w 3832826"/>
                <a:gd name="connsiteY902" fmla="*/ 2164286 h 5120141"/>
                <a:gd name="connsiteX903" fmla="*/ 725752 w 3832826"/>
                <a:gd name="connsiteY903" fmla="*/ 2162282 h 5120141"/>
                <a:gd name="connsiteX904" fmla="*/ 704716 w 3832826"/>
                <a:gd name="connsiteY904" fmla="*/ 2152262 h 5120141"/>
                <a:gd name="connsiteX905" fmla="*/ 692094 w 3832826"/>
                <a:gd name="connsiteY905" fmla="*/ 2150258 h 5120141"/>
                <a:gd name="connsiteX906" fmla="*/ 677369 w 3832826"/>
                <a:gd name="connsiteY906" fmla="*/ 2150258 h 5120141"/>
                <a:gd name="connsiteX907" fmla="*/ 677369 w 3832826"/>
                <a:gd name="connsiteY907" fmla="*/ 2140239 h 5120141"/>
                <a:gd name="connsiteX908" fmla="*/ 675265 w 3832826"/>
                <a:gd name="connsiteY908" fmla="*/ 2128215 h 5120141"/>
                <a:gd name="connsiteX909" fmla="*/ 664747 w 3832826"/>
                <a:gd name="connsiteY909" fmla="*/ 2104167 h 5120141"/>
                <a:gd name="connsiteX910" fmla="*/ 643710 w 3832826"/>
                <a:gd name="connsiteY910" fmla="*/ 2062084 h 5120141"/>
                <a:gd name="connsiteX911" fmla="*/ 639503 w 3832826"/>
                <a:gd name="connsiteY911" fmla="*/ 2060080 h 5120141"/>
                <a:gd name="connsiteX912" fmla="*/ 633192 w 3832826"/>
                <a:gd name="connsiteY912" fmla="*/ 2056072 h 5120141"/>
                <a:gd name="connsiteX913" fmla="*/ 635296 w 3832826"/>
                <a:gd name="connsiteY913" fmla="*/ 2050060 h 5120141"/>
                <a:gd name="connsiteX914" fmla="*/ 635296 w 3832826"/>
                <a:gd name="connsiteY914" fmla="*/ 2042044 h 5120141"/>
                <a:gd name="connsiteX915" fmla="*/ 624777 w 3832826"/>
                <a:gd name="connsiteY915" fmla="*/ 2028016 h 5120141"/>
                <a:gd name="connsiteX916" fmla="*/ 612156 w 3832826"/>
                <a:gd name="connsiteY916" fmla="*/ 2009980 h 5120141"/>
                <a:gd name="connsiteX917" fmla="*/ 591119 w 3832826"/>
                <a:gd name="connsiteY917" fmla="*/ 1967897 h 5120141"/>
                <a:gd name="connsiteX918" fmla="*/ 570083 w 3832826"/>
                <a:gd name="connsiteY918" fmla="*/ 1925813 h 5120141"/>
                <a:gd name="connsiteX919" fmla="*/ 561668 w 3832826"/>
                <a:gd name="connsiteY919" fmla="*/ 1909781 h 5120141"/>
                <a:gd name="connsiteX920" fmla="*/ 555357 w 3832826"/>
                <a:gd name="connsiteY920" fmla="*/ 1897757 h 5120141"/>
                <a:gd name="connsiteX921" fmla="*/ 544839 w 3832826"/>
                <a:gd name="connsiteY921" fmla="*/ 1887738 h 5120141"/>
                <a:gd name="connsiteX922" fmla="*/ 530114 w 3832826"/>
                <a:gd name="connsiteY922" fmla="*/ 1879722 h 5120141"/>
                <a:gd name="connsiteX923" fmla="*/ 517492 w 3832826"/>
                <a:gd name="connsiteY923" fmla="*/ 1877718 h 5120141"/>
                <a:gd name="connsiteX924" fmla="*/ 502766 w 3832826"/>
                <a:gd name="connsiteY924" fmla="*/ 1877718 h 5120141"/>
                <a:gd name="connsiteX925" fmla="*/ 488041 w 3832826"/>
                <a:gd name="connsiteY925" fmla="*/ 1877718 h 5120141"/>
                <a:gd name="connsiteX926" fmla="*/ 481730 w 3832826"/>
                <a:gd name="connsiteY926" fmla="*/ 1875714 h 5120141"/>
                <a:gd name="connsiteX927" fmla="*/ 473315 w 3832826"/>
                <a:gd name="connsiteY927" fmla="*/ 1873710 h 5120141"/>
                <a:gd name="connsiteX928" fmla="*/ 473315 w 3832826"/>
                <a:gd name="connsiteY928" fmla="*/ 1857678 h 5120141"/>
                <a:gd name="connsiteX929" fmla="*/ 471212 w 3832826"/>
                <a:gd name="connsiteY929" fmla="*/ 1847658 h 5120141"/>
                <a:gd name="connsiteX930" fmla="*/ 462797 w 3832826"/>
                <a:gd name="connsiteY930" fmla="*/ 1829622 h 5120141"/>
                <a:gd name="connsiteX931" fmla="*/ 462797 w 3832826"/>
                <a:gd name="connsiteY931" fmla="*/ 1823611 h 5120141"/>
                <a:gd name="connsiteX932" fmla="*/ 467004 w 3832826"/>
                <a:gd name="connsiteY932" fmla="*/ 1817599 h 5120141"/>
                <a:gd name="connsiteX933" fmla="*/ 481730 w 3832826"/>
                <a:gd name="connsiteY933" fmla="*/ 1815595 h 5120141"/>
                <a:gd name="connsiteX934" fmla="*/ 491767 w 3832826"/>
                <a:gd name="connsiteY934" fmla="*/ 1801335 h 5120141"/>
                <a:gd name="connsiteX935" fmla="*/ 486799 w 3832826"/>
                <a:gd name="connsiteY935" fmla="*/ 1797561 h 5120141"/>
                <a:gd name="connsiteX936" fmla="*/ 476248 w 3832826"/>
                <a:gd name="connsiteY936" fmla="*/ 1787541 h 5120141"/>
                <a:gd name="connsiteX937" fmla="*/ 465697 w 3832826"/>
                <a:gd name="connsiteY937" fmla="*/ 1779525 h 5120141"/>
                <a:gd name="connsiteX938" fmla="*/ 463587 w 3832826"/>
                <a:gd name="connsiteY938" fmla="*/ 1775517 h 5120141"/>
                <a:gd name="connsiteX939" fmla="*/ 463587 w 3832826"/>
                <a:gd name="connsiteY939" fmla="*/ 1769505 h 5120141"/>
                <a:gd name="connsiteX940" fmla="*/ 463587 w 3832826"/>
                <a:gd name="connsiteY940" fmla="*/ 1757481 h 5120141"/>
                <a:gd name="connsiteX941" fmla="*/ 465697 w 3832826"/>
                <a:gd name="connsiteY941" fmla="*/ 1747461 h 5120141"/>
                <a:gd name="connsiteX942" fmla="*/ 463587 w 3832826"/>
                <a:gd name="connsiteY942" fmla="*/ 1737442 h 5120141"/>
                <a:gd name="connsiteX943" fmla="*/ 455146 w 3832826"/>
                <a:gd name="connsiteY943" fmla="*/ 1735438 h 5120141"/>
                <a:gd name="connsiteX944" fmla="*/ 438265 w 3832826"/>
                <a:gd name="connsiteY944" fmla="*/ 1729426 h 5120141"/>
                <a:gd name="connsiteX945" fmla="*/ 423494 w 3832826"/>
                <a:gd name="connsiteY945" fmla="*/ 1723414 h 5120141"/>
                <a:gd name="connsiteX946" fmla="*/ 415054 w 3832826"/>
                <a:gd name="connsiteY946" fmla="*/ 1717402 h 5120141"/>
                <a:gd name="connsiteX947" fmla="*/ 412943 w 3832826"/>
                <a:gd name="connsiteY947" fmla="*/ 1715398 h 5120141"/>
                <a:gd name="connsiteX948" fmla="*/ 406613 w 3832826"/>
                <a:gd name="connsiteY948" fmla="*/ 1699366 h 5120141"/>
                <a:gd name="connsiteX949" fmla="*/ 404503 w 3832826"/>
                <a:gd name="connsiteY949" fmla="*/ 1677323 h 5120141"/>
                <a:gd name="connsiteX950" fmla="*/ 404503 w 3832826"/>
                <a:gd name="connsiteY950" fmla="*/ 1657283 h 5120141"/>
                <a:gd name="connsiteX951" fmla="*/ 406613 w 3832826"/>
                <a:gd name="connsiteY951" fmla="*/ 1643255 h 5120141"/>
                <a:gd name="connsiteX952" fmla="*/ 410833 w 3832826"/>
                <a:gd name="connsiteY952" fmla="*/ 1637243 h 5120141"/>
                <a:gd name="connsiteX953" fmla="*/ 415054 w 3832826"/>
                <a:gd name="connsiteY953" fmla="*/ 1635239 h 5120141"/>
                <a:gd name="connsiteX954" fmla="*/ 421384 w 3832826"/>
                <a:gd name="connsiteY954" fmla="*/ 1631231 h 5120141"/>
                <a:gd name="connsiteX955" fmla="*/ 421384 w 3832826"/>
                <a:gd name="connsiteY955" fmla="*/ 1621212 h 5120141"/>
                <a:gd name="connsiteX956" fmla="*/ 417164 w 3832826"/>
                <a:gd name="connsiteY956" fmla="*/ 1613196 h 5120141"/>
                <a:gd name="connsiteX957" fmla="*/ 406613 w 3832826"/>
                <a:gd name="connsiteY957" fmla="*/ 1605180 h 5120141"/>
                <a:gd name="connsiteX958" fmla="*/ 391842 w 3832826"/>
                <a:gd name="connsiteY958" fmla="*/ 1593156 h 5120141"/>
                <a:gd name="connsiteX959" fmla="*/ 374961 w 3832826"/>
                <a:gd name="connsiteY959" fmla="*/ 1587144 h 5120141"/>
                <a:gd name="connsiteX960" fmla="*/ 355969 w 3832826"/>
                <a:gd name="connsiteY960" fmla="*/ 1585140 h 5120141"/>
                <a:gd name="connsiteX961" fmla="*/ 317987 w 3832826"/>
                <a:gd name="connsiteY961" fmla="*/ 1581132 h 5120141"/>
                <a:gd name="connsiteX962" fmla="*/ 296885 w 3832826"/>
                <a:gd name="connsiteY962" fmla="*/ 1577124 h 5120141"/>
                <a:gd name="connsiteX963" fmla="*/ 277894 w 3832826"/>
                <a:gd name="connsiteY963" fmla="*/ 1571112 h 5120141"/>
                <a:gd name="connsiteX964" fmla="*/ 263123 w 3832826"/>
                <a:gd name="connsiteY964" fmla="*/ 1561093 h 5120141"/>
                <a:gd name="connsiteX965" fmla="*/ 246242 w 3832826"/>
                <a:gd name="connsiteY965" fmla="*/ 1545061 h 5120141"/>
                <a:gd name="connsiteX966" fmla="*/ 229361 w 3832826"/>
                <a:gd name="connsiteY966" fmla="*/ 1533037 h 5120141"/>
                <a:gd name="connsiteX967" fmla="*/ 220920 w 3832826"/>
                <a:gd name="connsiteY967" fmla="*/ 1523017 h 5120141"/>
                <a:gd name="connsiteX968" fmla="*/ 212479 w 3832826"/>
                <a:gd name="connsiteY968" fmla="*/ 1515001 h 5120141"/>
                <a:gd name="connsiteX969" fmla="*/ 210369 w 3832826"/>
                <a:gd name="connsiteY969" fmla="*/ 1504982 h 5120141"/>
                <a:gd name="connsiteX970" fmla="*/ 208259 w 3832826"/>
                <a:gd name="connsiteY970" fmla="*/ 1494962 h 5120141"/>
                <a:gd name="connsiteX971" fmla="*/ 210369 w 3832826"/>
                <a:gd name="connsiteY971" fmla="*/ 1486946 h 5120141"/>
                <a:gd name="connsiteX972" fmla="*/ 218810 w 3832826"/>
                <a:gd name="connsiteY972" fmla="*/ 1476926 h 5120141"/>
                <a:gd name="connsiteX973" fmla="*/ 223030 w 3832826"/>
                <a:gd name="connsiteY973" fmla="*/ 1472918 h 5120141"/>
                <a:gd name="connsiteX974" fmla="*/ 223030 w 3832826"/>
                <a:gd name="connsiteY974" fmla="*/ 1464902 h 5120141"/>
                <a:gd name="connsiteX975" fmla="*/ 214590 w 3832826"/>
                <a:gd name="connsiteY975" fmla="*/ 1450874 h 5120141"/>
                <a:gd name="connsiteX976" fmla="*/ 212479 w 3832826"/>
                <a:gd name="connsiteY976" fmla="*/ 1444863 h 5120141"/>
                <a:gd name="connsiteX977" fmla="*/ 214590 w 3832826"/>
                <a:gd name="connsiteY977" fmla="*/ 1442859 h 5120141"/>
                <a:gd name="connsiteX978" fmla="*/ 220920 w 3832826"/>
                <a:gd name="connsiteY978" fmla="*/ 1442859 h 5120141"/>
                <a:gd name="connsiteX979" fmla="*/ 235691 w 3832826"/>
                <a:gd name="connsiteY979" fmla="*/ 1444863 h 5120141"/>
                <a:gd name="connsiteX980" fmla="*/ 242685 w 3832826"/>
                <a:gd name="connsiteY980" fmla="*/ 1444830 h 5120141"/>
                <a:gd name="connsiteX981" fmla="*/ 239592 w 3832826"/>
                <a:gd name="connsiteY981" fmla="*/ 1442715 h 5120141"/>
                <a:gd name="connsiteX982" fmla="*/ 240798 w 3832826"/>
                <a:gd name="connsiteY982" fmla="*/ 1440839 h 5120141"/>
                <a:gd name="connsiteX983" fmla="*/ 237706 w 3832826"/>
                <a:gd name="connsiteY983" fmla="*/ 1440853 h 5120141"/>
                <a:gd name="connsiteX984" fmla="*/ 241926 w 3832826"/>
                <a:gd name="connsiteY984" fmla="*/ 1378746 h 5120141"/>
                <a:gd name="connsiteX985" fmla="*/ 241926 w 3832826"/>
                <a:gd name="connsiteY985" fmla="*/ 1346677 h 5120141"/>
                <a:gd name="connsiteX986" fmla="*/ 237706 w 3832826"/>
                <a:gd name="connsiteY986" fmla="*/ 1316605 h 5120141"/>
                <a:gd name="connsiteX987" fmla="*/ 237706 w 3832826"/>
                <a:gd name="connsiteY987" fmla="*/ 1314609 h 5120141"/>
                <a:gd name="connsiteX988" fmla="*/ 237706 w 3832826"/>
                <a:gd name="connsiteY988" fmla="*/ 1300571 h 5120141"/>
                <a:gd name="connsiteX989" fmla="*/ 237706 w 3832826"/>
                <a:gd name="connsiteY989" fmla="*/ 1290558 h 5120141"/>
                <a:gd name="connsiteX990" fmla="*/ 237706 w 3832826"/>
                <a:gd name="connsiteY990" fmla="*/ 1288562 h 5120141"/>
                <a:gd name="connsiteX991" fmla="*/ 235558 w 3832826"/>
                <a:gd name="connsiteY991" fmla="*/ 1286533 h 5120141"/>
                <a:gd name="connsiteX992" fmla="*/ 231412 w 3832826"/>
                <a:gd name="connsiteY992" fmla="*/ 1284537 h 5120141"/>
                <a:gd name="connsiteX993" fmla="*/ 223044 w 3832826"/>
                <a:gd name="connsiteY993" fmla="*/ 1284537 h 5120141"/>
                <a:gd name="connsiteX994" fmla="*/ 132485 w 3832826"/>
                <a:gd name="connsiteY994" fmla="*/ 1284537 h 5120141"/>
                <a:gd name="connsiteX995" fmla="*/ 132485 w 3832826"/>
                <a:gd name="connsiteY995" fmla="*/ 1226421 h 5120141"/>
                <a:gd name="connsiteX996" fmla="*/ 130486 w 3832826"/>
                <a:gd name="connsiteY996" fmla="*/ 1194353 h 5120141"/>
                <a:gd name="connsiteX997" fmla="*/ 128264 w 3832826"/>
                <a:gd name="connsiteY997" fmla="*/ 1184340 h 5120141"/>
                <a:gd name="connsiteX998" fmla="*/ 126191 w 3832826"/>
                <a:gd name="connsiteY998" fmla="*/ 1178319 h 5120141"/>
                <a:gd name="connsiteX999" fmla="*/ 122045 w 3832826"/>
                <a:gd name="connsiteY999" fmla="*/ 1178319 h 5120141"/>
                <a:gd name="connsiteX1000" fmla="*/ 117750 w 3832826"/>
                <a:gd name="connsiteY1000" fmla="*/ 1176323 h 5120141"/>
                <a:gd name="connsiteX1001" fmla="*/ 117750 w 3832826"/>
                <a:gd name="connsiteY1001" fmla="*/ 1174327 h 5120141"/>
                <a:gd name="connsiteX1002" fmla="*/ 117750 w 3832826"/>
                <a:gd name="connsiteY1002" fmla="*/ 1164314 h 5120141"/>
                <a:gd name="connsiteX1003" fmla="*/ 117750 w 3832826"/>
                <a:gd name="connsiteY1003" fmla="*/ 1158293 h 5120141"/>
                <a:gd name="connsiteX1004" fmla="*/ 115751 w 3832826"/>
                <a:gd name="connsiteY1004" fmla="*/ 1154301 h 5120141"/>
                <a:gd name="connsiteX1005" fmla="*/ 111456 w 3832826"/>
                <a:gd name="connsiteY1005" fmla="*/ 1152272 h 5120141"/>
                <a:gd name="connsiteX1006" fmla="*/ 105162 w 3832826"/>
                <a:gd name="connsiteY1006" fmla="*/ 1148280 h 5120141"/>
                <a:gd name="connsiteX1007" fmla="*/ 100941 w 3832826"/>
                <a:gd name="connsiteY1007" fmla="*/ 1148280 h 5120141"/>
                <a:gd name="connsiteX1008" fmla="*/ 98868 w 3832826"/>
                <a:gd name="connsiteY1008" fmla="*/ 1144255 h 5120141"/>
                <a:gd name="connsiteX1009" fmla="*/ 98868 w 3832826"/>
                <a:gd name="connsiteY1009" fmla="*/ 1134242 h 5120141"/>
                <a:gd name="connsiteX1010" fmla="*/ 98868 w 3832826"/>
                <a:gd name="connsiteY1010" fmla="*/ 1112205 h 5120141"/>
                <a:gd name="connsiteX1011" fmla="*/ 96768 w 3832826"/>
                <a:gd name="connsiteY1011" fmla="*/ 1112205 h 5120141"/>
                <a:gd name="connsiteX1012" fmla="*/ 84146 w 3832826"/>
                <a:gd name="connsiteY1012" fmla="*/ 1076133 h 5120141"/>
                <a:gd name="connsiteX1013" fmla="*/ 82042 w 3832826"/>
                <a:gd name="connsiteY1013" fmla="*/ 1056094 h 5120141"/>
                <a:gd name="connsiteX1014" fmla="*/ 84146 w 3832826"/>
                <a:gd name="connsiteY1014" fmla="*/ 1046074 h 5120141"/>
                <a:gd name="connsiteX1015" fmla="*/ 86250 w 3832826"/>
                <a:gd name="connsiteY1015" fmla="*/ 1036054 h 5120141"/>
                <a:gd name="connsiteX1016" fmla="*/ 96768 w 3832826"/>
                <a:gd name="connsiteY1016" fmla="*/ 1018018 h 5120141"/>
                <a:gd name="connsiteX1017" fmla="*/ 103079 w 3832826"/>
                <a:gd name="connsiteY1017" fmla="*/ 1003990 h 5120141"/>
                <a:gd name="connsiteX1018" fmla="*/ 103079 w 3832826"/>
                <a:gd name="connsiteY1018" fmla="*/ 995974 h 5120141"/>
                <a:gd name="connsiteX1019" fmla="*/ 103079 w 3832826"/>
                <a:gd name="connsiteY1019" fmla="*/ 987959 h 5120141"/>
                <a:gd name="connsiteX1020" fmla="*/ 92561 w 3832826"/>
                <a:gd name="connsiteY1020" fmla="*/ 965915 h 5120141"/>
                <a:gd name="connsiteX1021" fmla="*/ 73628 w 3832826"/>
                <a:gd name="connsiteY1021" fmla="*/ 903792 h 5120141"/>
                <a:gd name="connsiteX1022" fmla="*/ 67317 w 3832826"/>
                <a:gd name="connsiteY1022" fmla="*/ 869724 h 5120141"/>
                <a:gd name="connsiteX1023" fmla="*/ 63110 w 3832826"/>
                <a:gd name="connsiteY1023" fmla="*/ 837661 h 5120141"/>
                <a:gd name="connsiteX1024" fmla="*/ 63110 w 3832826"/>
                <a:gd name="connsiteY1024" fmla="*/ 823633 h 5120141"/>
                <a:gd name="connsiteX1025" fmla="*/ 65213 w 3832826"/>
                <a:gd name="connsiteY1025" fmla="*/ 807601 h 5120141"/>
                <a:gd name="connsiteX1026" fmla="*/ 65213 w 3832826"/>
                <a:gd name="connsiteY1026" fmla="*/ 781549 h 5120141"/>
                <a:gd name="connsiteX1027" fmla="*/ 63110 w 3832826"/>
                <a:gd name="connsiteY1027" fmla="*/ 767522 h 5120141"/>
                <a:gd name="connsiteX1028" fmla="*/ 56799 w 3832826"/>
                <a:gd name="connsiteY1028" fmla="*/ 757502 h 5120141"/>
                <a:gd name="connsiteX1029" fmla="*/ 46281 w 3832826"/>
                <a:gd name="connsiteY1029" fmla="*/ 747482 h 5120141"/>
                <a:gd name="connsiteX1030" fmla="*/ 29452 w 3832826"/>
                <a:gd name="connsiteY1030" fmla="*/ 741470 h 5120141"/>
                <a:gd name="connsiteX1031" fmla="*/ 27348 w 3832826"/>
                <a:gd name="connsiteY1031" fmla="*/ 733454 h 5120141"/>
                <a:gd name="connsiteX1032" fmla="*/ 29452 w 3832826"/>
                <a:gd name="connsiteY1032" fmla="*/ 725438 h 5120141"/>
                <a:gd name="connsiteX1033" fmla="*/ 31555 w 3832826"/>
                <a:gd name="connsiteY1033" fmla="*/ 717422 h 5120141"/>
                <a:gd name="connsiteX1034" fmla="*/ 39970 w 3832826"/>
                <a:gd name="connsiteY1034" fmla="*/ 711410 h 5120141"/>
                <a:gd name="connsiteX1035" fmla="*/ 46281 w 3832826"/>
                <a:gd name="connsiteY1035" fmla="*/ 705398 h 5120141"/>
                <a:gd name="connsiteX1036" fmla="*/ 52880 w 3832826"/>
                <a:gd name="connsiteY1036" fmla="*/ 703827 h 5120141"/>
                <a:gd name="connsiteX1037" fmla="*/ 52638 w 3832826"/>
                <a:gd name="connsiteY1037" fmla="*/ 703357 h 5120141"/>
                <a:gd name="connsiteX1038" fmla="*/ 44132 w 3832826"/>
                <a:gd name="connsiteY1038" fmla="*/ 705433 h 5120141"/>
                <a:gd name="connsiteX1039" fmla="*/ 37845 w 3832826"/>
                <a:gd name="connsiteY1039" fmla="*/ 711439 h 5120141"/>
                <a:gd name="connsiteX1040" fmla="*/ 29462 w 3832826"/>
                <a:gd name="connsiteY1040" fmla="*/ 717445 h 5120141"/>
                <a:gd name="connsiteX1041" fmla="*/ 27367 w 3832826"/>
                <a:gd name="connsiteY1041" fmla="*/ 725453 h 5120141"/>
                <a:gd name="connsiteX1042" fmla="*/ 25271 w 3832826"/>
                <a:gd name="connsiteY1042" fmla="*/ 733461 h 5120141"/>
                <a:gd name="connsiteX1043" fmla="*/ 27367 w 3832826"/>
                <a:gd name="connsiteY1043" fmla="*/ 741469 h 5120141"/>
                <a:gd name="connsiteX1044" fmla="*/ 16888 w 3832826"/>
                <a:gd name="connsiteY1044" fmla="*/ 737465 h 5120141"/>
                <a:gd name="connsiteX1045" fmla="*/ 10478 w 3832826"/>
                <a:gd name="connsiteY1045" fmla="*/ 733461 h 5120141"/>
                <a:gd name="connsiteX1046" fmla="*/ 6287 w 3832826"/>
                <a:gd name="connsiteY1046" fmla="*/ 727455 h 5120141"/>
                <a:gd name="connsiteX1047" fmla="*/ 4191 w 3832826"/>
                <a:gd name="connsiteY1047" fmla="*/ 721449 h 5120141"/>
                <a:gd name="connsiteX1048" fmla="*/ 0 w 3832826"/>
                <a:gd name="connsiteY1048" fmla="*/ 713441 h 5120141"/>
                <a:gd name="connsiteX1049" fmla="*/ 4191 w 3832826"/>
                <a:gd name="connsiteY1049" fmla="*/ 705433 h 5120141"/>
                <a:gd name="connsiteX1050" fmla="*/ 8383 w 3832826"/>
                <a:gd name="connsiteY1050" fmla="*/ 691346 h 5120141"/>
                <a:gd name="connsiteX1051" fmla="*/ 16888 w 3832826"/>
                <a:gd name="connsiteY1051" fmla="*/ 673328 h 5120141"/>
                <a:gd name="connsiteX1052" fmla="*/ 27367 w 3832826"/>
                <a:gd name="connsiteY1052" fmla="*/ 657312 h 5120141"/>
                <a:gd name="connsiteX1053" fmla="*/ 44132 w 3832826"/>
                <a:gd name="connsiteY1053" fmla="*/ 637292 h 5120141"/>
                <a:gd name="connsiteX1054" fmla="*/ 50542 w 3832826"/>
                <a:gd name="connsiteY1054" fmla="*/ 631287 h 5120141"/>
                <a:gd name="connsiteX1055" fmla="*/ 52638 w 3832826"/>
                <a:gd name="connsiteY1055" fmla="*/ 625206 h 5120141"/>
                <a:gd name="connsiteX1056" fmla="*/ 52638 w 3832826"/>
                <a:gd name="connsiteY1056" fmla="*/ 623205 h 5120141"/>
                <a:gd name="connsiteX1057" fmla="*/ 63116 w 3832826"/>
                <a:gd name="connsiteY1057" fmla="*/ 621203 h 5120141"/>
                <a:gd name="connsiteX1058" fmla="*/ 75690 w 3832826"/>
                <a:gd name="connsiteY1058" fmla="*/ 617199 h 5120141"/>
                <a:gd name="connsiteX1059" fmla="*/ 86291 w 3832826"/>
                <a:gd name="connsiteY1059" fmla="*/ 611193 h 5120141"/>
                <a:gd name="connsiteX1060" fmla="*/ 100961 w 3832826"/>
                <a:gd name="connsiteY1060" fmla="*/ 599181 h 5120141"/>
                <a:gd name="connsiteX1061" fmla="*/ 107248 w 3832826"/>
                <a:gd name="connsiteY1061" fmla="*/ 595177 h 5120141"/>
                <a:gd name="connsiteX1062" fmla="*/ 113658 w 3832826"/>
                <a:gd name="connsiteY1062" fmla="*/ 595177 h 5120141"/>
                <a:gd name="connsiteX1063" fmla="*/ 117849 w 3832826"/>
                <a:gd name="connsiteY1063" fmla="*/ 599181 h 5120141"/>
                <a:gd name="connsiteX1064" fmla="*/ 136710 w 3832826"/>
                <a:gd name="connsiteY1064" fmla="*/ 579161 h 5120141"/>
                <a:gd name="connsiteX1065" fmla="*/ 147311 w 3832826"/>
                <a:gd name="connsiteY1065" fmla="*/ 569151 h 5120141"/>
                <a:gd name="connsiteX1066" fmla="*/ 153598 w 3832826"/>
                <a:gd name="connsiteY1066" fmla="*/ 559142 h 5120141"/>
                <a:gd name="connsiteX1067" fmla="*/ 157790 w 3832826"/>
                <a:gd name="connsiteY1067" fmla="*/ 551060 h 5120141"/>
                <a:gd name="connsiteX1068" fmla="*/ 164077 w 3832826"/>
                <a:gd name="connsiteY1068" fmla="*/ 549058 h 5120141"/>
                <a:gd name="connsiteX1069" fmla="*/ 176650 w 3832826"/>
                <a:gd name="connsiteY1069" fmla="*/ 543052 h 5120141"/>
                <a:gd name="connsiteX1070" fmla="*/ 185156 w 3832826"/>
                <a:gd name="connsiteY1070" fmla="*/ 541050 h 5120141"/>
                <a:gd name="connsiteX1071" fmla="*/ 189348 w 3832826"/>
                <a:gd name="connsiteY1071" fmla="*/ 539048 h 5120141"/>
                <a:gd name="connsiteX1072" fmla="*/ 195634 w 3832826"/>
                <a:gd name="connsiteY1072" fmla="*/ 533042 h 5120141"/>
                <a:gd name="connsiteX1073" fmla="*/ 197730 w 3832826"/>
                <a:gd name="connsiteY1073" fmla="*/ 525034 h 5120141"/>
                <a:gd name="connsiteX1074" fmla="*/ 201921 w 3832826"/>
                <a:gd name="connsiteY1074" fmla="*/ 521030 h 5120141"/>
                <a:gd name="connsiteX1075" fmla="*/ 212523 w 3832826"/>
                <a:gd name="connsiteY1075" fmla="*/ 511020 h 5120141"/>
                <a:gd name="connsiteX1076" fmla="*/ 233480 w 3832826"/>
                <a:gd name="connsiteY1076" fmla="*/ 495005 h 5120141"/>
                <a:gd name="connsiteX1077" fmla="*/ 250368 w 3832826"/>
                <a:gd name="connsiteY1077" fmla="*/ 491001 h 5120141"/>
                <a:gd name="connsiteX1078" fmla="*/ 260846 w 3832826"/>
                <a:gd name="connsiteY1078" fmla="*/ 488999 h 5120141"/>
                <a:gd name="connsiteX1079" fmla="*/ 260846 w 3832826"/>
                <a:gd name="connsiteY1079" fmla="*/ 484995 h 5120141"/>
                <a:gd name="connsiteX1080" fmla="*/ 260846 w 3832826"/>
                <a:gd name="connsiteY1080" fmla="*/ 480917 h 5120141"/>
                <a:gd name="connsiteX1081" fmla="*/ 252464 w 3832826"/>
                <a:gd name="connsiteY1081" fmla="*/ 462899 h 5120141"/>
                <a:gd name="connsiteX1082" fmla="*/ 233480 w 3832826"/>
                <a:gd name="connsiteY1082" fmla="*/ 428866 h 5120141"/>
                <a:gd name="connsiteX1083" fmla="*/ 229288 w 3832826"/>
                <a:gd name="connsiteY1083" fmla="*/ 414852 h 5120141"/>
                <a:gd name="connsiteX1084" fmla="*/ 227193 w 3832826"/>
                <a:gd name="connsiteY1084" fmla="*/ 404768 h 5120141"/>
                <a:gd name="connsiteX1085" fmla="*/ 227193 w 3832826"/>
                <a:gd name="connsiteY1085" fmla="*/ 398762 h 5120141"/>
                <a:gd name="connsiteX1086" fmla="*/ 229288 w 3832826"/>
                <a:gd name="connsiteY1086" fmla="*/ 396760 h 5120141"/>
                <a:gd name="connsiteX1087" fmla="*/ 231384 w 3832826"/>
                <a:gd name="connsiteY1087" fmla="*/ 396760 h 5120141"/>
                <a:gd name="connsiteX1088" fmla="*/ 239766 w 3832826"/>
                <a:gd name="connsiteY1088" fmla="*/ 392756 h 5120141"/>
                <a:gd name="connsiteX1089" fmla="*/ 241862 w 3832826"/>
                <a:gd name="connsiteY1089" fmla="*/ 390754 h 5120141"/>
                <a:gd name="connsiteX1090" fmla="*/ 244081 w 3832826"/>
                <a:gd name="connsiteY1090" fmla="*/ 388752 h 5120141"/>
                <a:gd name="connsiteX1091" fmla="*/ 244081 w 3832826"/>
                <a:gd name="connsiteY1091" fmla="*/ 382746 h 5120141"/>
                <a:gd name="connsiteX1092" fmla="*/ 244081 w 3832826"/>
                <a:gd name="connsiteY1092" fmla="*/ 372736 h 5120141"/>
                <a:gd name="connsiteX1093" fmla="*/ 244081 w 3832826"/>
                <a:gd name="connsiteY1093" fmla="*/ 362726 h 5120141"/>
                <a:gd name="connsiteX1094" fmla="*/ 250368 w 3832826"/>
                <a:gd name="connsiteY1094" fmla="*/ 356721 h 5120141"/>
                <a:gd name="connsiteX1095" fmla="*/ 252464 w 3832826"/>
                <a:gd name="connsiteY1095" fmla="*/ 350715 h 5120141"/>
                <a:gd name="connsiteX1096" fmla="*/ 262942 w 3832826"/>
                <a:gd name="connsiteY1096" fmla="*/ 342707 h 5120141"/>
                <a:gd name="connsiteX1097" fmla="*/ 273420 w 3832826"/>
                <a:gd name="connsiteY1097" fmla="*/ 338703 h 5120141"/>
                <a:gd name="connsiteX1098" fmla="*/ 284022 w 3832826"/>
                <a:gd name="connsiteY1098" fmla="*/ 328619 h 5120141"/>
                <a:gd name="connsiteX1099" fmla="*/ 290308 w 3832826"/>
                <a:gd name="connsiteY1099" fmla="*/ 318609 h 5120141"/>
                <a:gd name="connsiteX1100" fmla="*/ 292404 w 3832826"/>
                <a:gd name="connsiteY1100" fmla="*/ 302593 h 5120141"/>
                <a:gd name="connsiteX1101" fmla="*/ 300787 w 3832826"/>
                <a:gd name="connsiteY1101" fmla="*/ 278570 h 5120141"/>
                <a:gd name="connsiteX1102" fmla="*/ 311388 w 3832826"/>
                <a:gd name="connsiteY1102" fmla="*/ 250468 h 5120141"/>
                <a:gd name="connsiteX1103" fmla="*/ 315579 w 3832826"/>
                <a:gd name="connsiteY1103" fmla="*/ 236454 h 5120141"/>
                <a:gd name="connsiteX1104" fmla="*/ 317675 w 3832826"/>
                <a:gd name="connsiteY1104" fmla="*/ 222441 h 5120141"/>
                <a:gd name="connsiteX1105" fmla="*/ 321866 w 3832826"/>
                <a:gd name="connsiteY1105" fmla="*/ 200419 h 5120141"/>
                <a:gd name="connsiteX1106" fmla="*/ 326058 w 3832826"/>
                <a:gd name="connsiteY1106" fmla="*/ 188407 h 5120141"/>
                <a:gd name="connsiteX1107" fmla="*/ 332345 w 3832826"/>
                <a:gd name="connsiteY1107" fmla="*/ 178323 h 5120141"/>
                <a:gd name="connsiteX1108" fmla="*/ 342946 w 3832826"/>
                <a:gd name="connsiteY1108" fmla="*/ 168313 h 5120141"/>
                <a:gd name="connsiteX1109" fmla="*/ 355520 w 3832826"/>
                <a:gd name="connsiteY1109" fmla="*/ 158303 h 5120141"/>
                <a:gd name="connsiteX1110" fmla="*/ 365998 w 3832826"/>
                <a:gd name="connsiteY1110" fmla="*/ 150296 h 5120141"/>
                <a:gd name="connsiteX1111" fmla="*/ 372285 w 3832826"/>
                <a:gd name="connsiteY1111" fmla="*/ 140286 h 5120141"/>
                <a:gd name="connsiteX1112" fmla="*/ 376600 w 3832826"/>
                <a:gd name="connsiteY1112" fmla="*/ 136282 h 5120141"/>
                <a:gd name="connsiteX1113" fmla="*/ 378695 w 3832826"/>
                <a:gd name="connsiteY1113" fmla="*/ 128274 h 5120141"/>
                <a:gd name="connsiteX1114" fmla="*/ 378695 w 3832826"/>
                <a:gd name="connsiteY1114" fmla="*/ 110182 h 5120141"/>
                <a:gd name="connsiteX1115" fmla="*/ 378695 w 3832826"/>
                <a:gd name="connsiteY1115" fmla="*/ 96168 h 5120141"/>
                <a:gd name="connsiteX1116" fmla="*/ 380791 w 3832826"/>
                <a:gd name="connsiteY1116" fmla="*/ 88161 h 5120141"/>
                <a:gd name="connsiteX1117" fmla="*/ 382887 w 3832826"/>
                <a:gd name="connsiteY1117" fmla="*/ 86159 h 5120141"/>
                <a:gd name="connsiteX1118" fmla="*/ 393365 w 3832826"/>
                <a:gd name="connsiteY1118" fmla="*/ 80153 h 5120141"/>
                <a:gd name="connsiteX1119" fmla="*/ 408158 w 3832826"/>
                <a:gd name="connsiteY1119" fmla="*/ 78151 h 5120141"/>
                <a:gd name="connsiteX1120" fmla="*/ 420732 w 3832826"/>
                <a:gd name="connsiteY1120" fmla="*/ 76149 h 5120141"/>
                <a:gd name="connsiteX1121" fmla="*/ 424923 w 3832826"/>
                <a:gd name="connsiteY1121" fmla="*/ 74147 h 5120141"/>
                <a:gd name="connsiteX1122" fmla="*/ 431210 w 3832826"/>
                <a:gd name="connsiteY1122" fmla="*/ 68141 h 5120141"/>
                <a:gd name="connsiteX1123" fmla="*/ 435401 w 3832826"/>
                <a:gd name="connsiteY1123" fmla="*/ 54127 h 5120141"/>
                <a:gd name="connsiteX1124" fmla="*/ 435401 w 3832826"/>
                <a:gd name="connsiteY1124" fmla="*/ 44117 h 5120141"/>
                <a:gd name="connsiteX1125" fmla="*/ 435401 w 3832826"/>
                <a:gd name="connsiteY1125" fmla="*/ 34033 h 5120141"/>
                <a:gd name="connsiteX1126" fmla="*/ 431210 w 3832826"/>
                <a:gd name="connsiteY1126" fmla="*/ 28027 h 5120141"/>
                <a:gd name="connsiteX1127" fmla="*/ 420732 w 3832826"/>
                <a:gd name="connsiteY1127" fmla="*/ 16016 h 5120141"/>
                <a:gd name="connsiteX1128" fmla="*/ 401747 w 3832826"/>
                <a:gd name="connsiteY1128" fmla="*/ 0 h 512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Lst>
              <a:rect l="l" t="t" r="r" b="b"/>
              <a:pathLst>
                <a:path w="3832826" h="5120141">
                  <a:moveTo>
                    <a:pt x="1138708" y="844805"/>
                  </a:moveTo>
                  <a:lnTo>
                    <a:pt x="1135965" y="845676"/>
                  </a:lnTo>
                  <a:lnTo>
                    <a:pt x="1138389" y="850296"/>
                  </a:lnTo>
                  <a:lnTo>
                    <a:pt x="1142308" y="851593"/>
                  </a:lnTo>
                  <a:lnTo>
                    <a:pt x="1138708" y="844805"/>
                  </a:lnTo>
                  <a:close/>
                  <a:moveTo>
                    <a:pt x="1142276" y="825637"/>
                  </a:moveTo>
                  <a:lnTo>
                    <a:pt x="1144379" y="833653"/>
                  </a:lnTo>
                  <a:lnTo>
                    <a:pt x="1144379" y="839665"/>
                  </a:lnTo>
                  <a:lnTo>
                    <a:pt x="1143167" y="841974"/>
                  </a:lnTo>
                  <a:lnTo>
                    <a:pt x="1144345" y="841587"/>
                  </a:lnTo>
                  <a:cubicBezTo>
                    <a:pt x="1145048" y="840285"/>
                    <a:pt x="1145751" y="838914"/>
                    <a:pt x="1146453" y="837612"/>
                  </a:cubicBezTo>
                  <a:lnTo>
                    <a:pt x="1146453" y="831649"/>
                  </a:lnTo>
                  <a:lnTo>
                    <a:pt x="1144873" y="825637"/>
                  </a:lnTo>
                  <a:lnTo>
                    <a:pt x="1142276" y="825637"/>
                  </a:lnTo>
                  <a:close/>
                  <a:moveTo>
                    <a:pt x="401747" y="0"/>
                  </a:moveTo>
                  <a:lnTo>
                    <a:pt x="769965" y="0"/>
                  </a:lnTo>
                  <a:lnTo>
                    <a:pt x="1138058" y="0"/>
                  </a:lnTo>
                  <a:lnTo>
                    <a:pt x="1222254" y="0"/>
                  </a:lnTo>
                  <a:cubicBezTo>
                    <a:pt x="1223610" y="46787"/>
                    <a:pt x="1225089" y="93499"/>
                    <a:pt x="1226445" y="140286"/>
                  </a:cubicBezTo>
                  <a:cubicBezTo>
                    <a:pt x="1227185" y="186405"/>
                    <a:pt x="1227801" y="232450"/>
                    <a:pt x="1228541" y="278570"/>
                  </a:cubicBezTo>
                  <a:cubicBezTo>
                    <a:pt x="1229897" y="324022"/>
                    <a:pt x="1231376" y="369400"/>
                    <a:pt x="1232732" y="414852"/>
                  </a:cubicBezTo>
                  <a:cubicBezTo>
                    <a:pt x="1231376" y="462973"/>
                    <a:pt x="1229897" y="511020"/>
                    <a:pt x="1228541" y="559142"/>
                  </a:cubicBezTo>
                  <a:lnTo>
                    <a:pt x="1224350" y="559142"/>
                  </a:lnTo>
                  <a:lnTo>
                    <a:pt x="1224350" y="591173"/>
                  </a:lnTo>
                  <a:lnTo>
                    <a:pt x="1222254" y="591173"/>
                  </a:lnTo>
                  <a:lnTo>
                    <a:pt x="1194887" y="591173"/>
                  </a:lnTo>
                  <a:lnTo>
                    <a:pt x="1163329" y="591173"/>
                  </a:lnTo>
                  <a:lnTo>
                    <a:pt x="1108125" y="602727"/>
                  </a:lnTo>
                  <a:lnTo>
                    <a:pt x="1110721" y="605200"/>
                  </a:lnTo>
                  <a:lnTo>
                    <a:pt x="1119136" y="613216"/>
                  </a:lnTo>
                  <a:lnTo>
                    <a:pt x="1121239" y="621231"/>
                  </a:lnTo>
                  <a:lnTo>
                    <a:pt x="1123343" y="645279"/>
                  </a:lnTo>
                  <a:lnTo>
                    <a:pt x="1129654" y="657303"/>
                  </a:lnTo>
                  <a:lnTo>
                    <a:pt x="1140172" y="667323"/>
                  </a:lnTo>
                  <a:lnTo>
                    <a:pt x="1146483" y="673335"/>
                  </a:lnTo>
                  <a:lnTo>
                    <a:pt x="1161208" y="677343"/>
                  </a:lnTo>
                  <a:lnTo>
                    <a:pt x="1184348" y="683355"/>
                  </a:lnTo>
                  <a:lnTo>
                    <a:pt x="1194866" y="687363"/>
                  </a:lnTo>
                  <a:lnTo>
                    <a:pt x="1205385" y="693375"/>
                  </a:lnTo>
                  <a:lnTo>
                    <a:pt x="1209592" y="703394"/>
                  </a:lnTo>
                  <a:lnTo>
                    <a:pt x="1213799" y="715418"/>
                  </a:lnTo>
                  <a:lnTo>
                    <a:pt x="1199074" y="715418"/>
                  </a:lnTo>
                  <a:lnTo>
                    <a:pt x="1196970" y="715418"/>
                  </a:lnTo>
                  <a:lnTo>
                    <a:pt x="1196970" y="717422"/>
                  </a:lnTo>
                  <a:lnTo>
                    <a:pt x="1203281" y="725438"/>
                  </a:lnTo>
                  <a:lnTo>
                    <a:pt x="1205385" y="733454"/>
                  </a:lnTo>
                  <a:lnTo>
                    <a:pt x="1207488" y="751490"/>
                  </a:lnTo>
                  <a:lnTo>
                    <a:pt x="1207488" y="763514"/>
                  </a:lnTo>
                  <a:lnTo>
                    <a:pt x="1199074" y="773533"/>
                  </a:lnTo>
                  <a:lnTo>
                    <a:pt x="1188556" y="785557"/>
                  </a:lnTo>
                  <a:lnTo>
                    <a:pt x="1175934" y="793573"/>
                  </a:lnTo>
                  <a:lnTo>
                    <a:pt x="1161208" y="801589"/>
                  </a:lnTo>
                  <a:lnTo>
                    <a:pt x="1154897" y="803593"/>
                  </a:lnTo>
                  <a:lnTo>
                    <a:pt x="1150690" y="811609"/>
                  </a:lnTo>
                  <a:lnTo>
                    <a:pt x="1150690" y="817621"/>
                  </a:lnTo>
                  <a:lnTo>
                    <a:pt x="1153844" y="823631"/>
                  </a:lnTo>
                  <a:lnTo>
                    <a:pt x="1156992" y="823631"/>
                  </a:lnTo>
                  <a:lnTo>
                    <a:pt x="1165424" y="823631"/>
                  </a:lnTo>
                  <a:cubicBezTo>
                    <a:pt x="1166829" y="824933"/>
                    <a:pt x="1168234" y="826303"/>
                    <a:pt x="1169639" y="827606"/>
                  </a:cubicBezTo>
                  <a:cubicBezTo>
                    <a:pt x="1171045" y="829593"/>
                    <a:pt x="1172450" y="831649"/>
                    <a:pt x="1173855" y="833637"/>
                  </a:cubicBezTo>
                  <a:lnTo>
                    <a:pt x="1173855" y="841587"/>
                  </a:lnTo>
                  <a:lnTo>
                    <a:pt x="1173855" y="855568"/>
                  </a:lnTo>
                  <a:lnTo>
                    <a:pt x="1169639" y="871605"/>
                  </a:lnTo>
                  <a:lnTo>
                    <a:pt x="1184324" y="867562"/>
                  </a:lnTo>
                  <a:cubicBezTo>
                    <a:pt x="1182919" y="870920"/>
                    <a:pt x="1181514" y="874210"/>
                    <a:pt x="1180108" y="877568"/>
                  </a:cubicBezTo>
                  <a:lnTo>
                    <a:pt x="1188540" y="877568"/>
                  </a:lnTo>
                  <a:lnTo>
                    <a:pt x="1194863" y="885587"/>
                  </a:lnTo>
                  <a:cubicBezTo>
                    <a:pt x="1195566" y="888945"/>
                    <a:pt x="1196269" y="892235"/>
                    <a:pt x="1196971" y="895593"/>
                  </a:cubicBezTo>
                  <a:lnTo>
                    <a:pt x="1188540" y="895593"/>
                  </a:lnTo>
                  <a:cubicBezTo>
                    <a:pt x="1189242" y="898266"/>
                    <a:pt x="1189945" y="900870"/>
                    <a:pt x="1190648" y="903543"/>
                  </a:cubicBezTo>
                  <a:cubicBezTo>
                    <a:pt x="1189945" y="904845"/>
                    <a:pt x="1189242" y="906216"/>
                    <a:pt x="1188540" y="907518"/>
                  </a:cubicBezTo>
                  <a:cubicBezTo>
                    <a:pt x="1187135" y="909505"/>
                    <a:pt x="1185729" y="911562"/>
                    <a:pt x="1184324" y="913549"/>
                  </a:cubicBezTo>
                  <a:cubicBezTo>
                    <a:pt x="1181514" y="914851"/>
                    <a:pt x="1178773" y="916222"/>
                    <a:pt x="1175963" y="917524"/>
                  </a:cubicBezTo>
                  <a:cubicBezTo>
                    <a:pt x="1173855" y="919512"/>
                    <a:pt x="1171747" y="921568"/>
                    <a:pt x="1169639" y="923555"/>
                  </a:cubicBezTo>
                  <a:cubicBezTo>
                    <a:pt x="1167532" y="926845"/>
                    <a:pt x="1165424" y="930203"/>
                    <a:pt x="1163316" y="933493"/>
                  </a:cubicBezTo>
                  <a:lnTo>
                    <a:pt x="1163316" y="941512"/>
                  </a:lnTo>
                  <a:cubicBezTo>
                    <a:pt x="1161911" y="943499"/>
                    <a:pt x="1160505" y="945555"/>
                    <a:pt x="1159100" y="947543"/>
                  </a:cubicBezTo>
                  <a:lnTo>
                    <a:pt x="1167532" y="947543"/>
                  </a:lnTo>
                  <a:cubicBezTo>
                    <a:pt x="1166829" y="952888"/>
                    <a:pt x="1166126" y="958166"/>
                    <a:pt x="1165424" y="963511"/>
                  </a:cubicBezTo>
                  <a:cubicBezTo>
                    <a:pt x="1166126" y="967487"/>
                    <a:pt x="1166829" y="971530"/>
                    <a:pt x="1167532" y="975505"/>
                  </a:cubicBezTo>
                  <a:lnTo>
                    <a:pt x="1167532" y="991474"/>
                  </a:lnTo>
                  <a:lnTo>
                    <a:pt x="1167532" y="1007443"/>
                  </a:lnTo>
                  <a:cubicBezTo>
                    <a:pt x="1168234" y="1008813"/>
                    <a:pt x="1168937" y="1010116"/>
                    <a:pt x="1169639" y="1011486"/>
                  </a:cubicBezTo>
                  <a:cubicBezTo>
                    <a:pt x="1171045" y="1012788"/>
                    <a:pt x="1172450" y="1014159"/>
                    <a:pt x="1173855" y="1015461"/>
                  </a:cubicBezTo>
                  <a:lnTo>
                    <a:pt x="1169639" y="1021424"/>
                  </a:lnTo>
                  <a:lnTo>
                    <a:pt x="1167532" y="1021424"/>
                  </a:lnTo>
                  <a:lnTo>
                    <a:pt x="1163316" y="1021424"/>
                  </a:lnTo>
                  <a:cubicBezTo>
                    <a:pt x="1161911" y="1023411"/>
                    <a:pt x="1160505" y="1025468"/>
                    <a:pt x="1159100" y="1027455"/>
                  </a:cubicBezTo>
                  <a:lnTo>
                    <a:pt x="1163316" y="1033418"/>
                  </a:lnTo>
                  <a:cubicBezTo>
                    <a:pt x="1164721" y="1034788"/>
                    <a:pt x="1166126" y="1036091"/>
                    <a:pt x="1167532" y="1037461"/>
                  </a:cubicBezTo>
                  <a:cubicBezTo>
                    <a:pt x="1168234" y="1040751"/>
                    <a:pt x="1168937" y="1044109"/>
                    <a:pt x="1169639" y="1047399"/>
                  </a:cubicBezTo>
                  <a:cubicBezTo>
                    <a:pt x="1171045" y="1051374"/>
                    <a:pt x="1172450" y="1055418"/>
                    <a:pt x="1173855" y="1059393"/>
                  </a:cubicBezTo>
                  <a:lnTo>
                    <a:pt x="1186432" y="1057405"/>
                  </a:lnTo>
                  <a:lnTo>
                    <a:pt x="1184324" y="1065424"/>
                  </a:lnTo>
                  <a:lnTo>
                    <a:pt x="1194863" y="1063436"/>
                  </a:lnTo>
                  <a:cubicBezTo>
                    <a:pt x="1196971" y="1064122"/>
                    <a:pt x="1199079" y="1064738"/>
                    <a:pt x="1201187" y="1065424"/>
                  </a:cubicBezTo>
                  <a:cubicBezTo>
                    <a:pt x="1202592" y="1068097"/>
                    <a:pt x="1203997" y="1070701"/>
                    <a:pt x="1205403" y="1073374"/>
                  </a:cubicBezTo>
                  <a:lnTo>
                    <a:pt x="1205403" y="1083380"/>
                  </a:lnTo>
                  <a:lnTo>
                    <a:pt x="1209618" y="1083380"/>
                  </a:lnTo>
                  <a:lnTo>
                    <a:pt x="1209618" y="1095374"/>
                  </a:lnTo>
                  <a:lnTo>
                    <a:pt x="1220087" y="1097361"/>
                  </a:lnTo>
                  <a:cubicBezTo>
                    <a:pt x="1222195" y="1099349"/>
                    <a:pt x="1224303" y="1101405"/>
                    <a:pt x="1226411" y="1103392"/>
                  </a:cubicBezTo>
                  <a:cubicBezTo>
                    <a:pt x="1228519" y="1107367"/>
                    <a:pt x="1230626" y="1111411"/>
                    <a:pt x="1232734" y="1115386"/>
                  </a:cubicBezTo>
                  <a:lnTo>
                    <a:pt x="1241166" y="1113330"/>
                  </a:lnTo>
                  <a:cubicBezTo>
                    <a:pt x="1243274" y="1115318"/>
                    <a:pt x="1245381" y="1117374"/>
                    <a:pt x="1247489" y="1119361"/>
                  </a:cubicBezTo>
                  <a:cubicBezTo>
                    <a:pt x="1248192" y="1122034"/>
                    <a:pt x="1248824" y="1124638"/>
                    <a:pt x="1249527" y="1127311"/>
                  </a:cubicBezTo>
                  <a:lnTo>
                    <a:pt x="1262174" y="1137317"/>
                  </a:lnTo>
                  <a:lnTo>
                    <a:pt x="1274821" y="1147324"/>
                  </a:lnTo>
                  <a:lnTo>
                    <a:pt x="1291613" y="1159317"/>
                  </a:lnTo>
                  <a:lnTo>
                    <a:pt x="1293721" y="1165280"/>
                  </a:lnTo>
                  <a:lnTo>
                    <a:pt x="1295829" y="1173299"/>
                  </a:lnTo>
                  <a:lnTo>
                    <a:pt x="1306368" y="1173299"/>
                  </a:lnTo>
                  <a:cubicBezTo>
                    <a:pt x="1308476" y="1174601"/>
                    <a:pt x="1310584" y="1175972"/>
                    <a:pt x="1312692" y="1177274"/>
                  </a:cubicBezTo>
                  <a:lnTo>
                    <a:pt x="1314800" y="1185292"/>
                  </a:lnTo>
                  <a:cubicBezTo>
                    <a:pt x="1314097" y="1188651"/>
                    <a:pt x="1313395" y="1191940"/>
                    <a:pt x="1312692" y="1195299"/>
                  </a:cubicBezTo>
                  <a:lnTo>
                    <a:pt x="1321053" y="1193311"/>
                  </a:lnTo>
                  <a:cubicBezTo>
                    <a:pt x="1321756" y="1193996"/>
                    <a:pt x="1322458" y="1194613"/>
                    <a:pt x="1323161" y="1195299"/>
                  </a:cubicBezTo>
                  <a:cubicBezTo>
                    <a:pt x="1323863" y="1196601"/>
                    <a:pt x="1324566" y="1197971"/>
                    <a:pt x="1325269" y="1199274"/>
                  </a:cubicBezTo>
                  <a:lnTo>
                    <a:pt x="1325269" y="1205305"/>
                  </a:lnTo>
                  <a:lnTo>
                    <a:pt x="1337916" y="1205305"/>
                  </a:lnTo>
                  <a:lnTo>
                    <a:pt x="1337916" y="1217230"/>
                  </a:lnTo>
                  <a:cubicBezTo>
                    <a:pt x="1340024" y="1216545"/>
                    <a:pt x="1342131" y="1215928"/>
                    <a:pt x="1344239" y="1215242"/>
                  </a:cubicBezTo>
                  <a:lnTo>
                    <a:pt x="1344239" y="1219286"/>
                  </a:lnTo>
                  <a:lnTo>
                    <a:pt x="1346347" y="1219286"/>
                  </a:lnTo>
                  <a:cubicBezTo>
                    <a:pt x="1348455" y="1220588"/>
                    <a:pt x="1350563" y="1221959"/>
                    <a:pt x="1352671" y="1223261"/>
                  </a:cubicBezTo>
                  <a:lnTo>
                    <a:pt x="1352671" y="1227236"/>
                  </a:lnTo>
                  <a:lnTo>
                    <a:pt x="1358924" y="1227236"/>
                  </a:lnTo>
                  <a:lnTo>
                    <a:pt x="1365247" y="1235255"/>
                  </a:lnTo>
                  <a:lnTo>
                    <a:pt x="1365247" y="1241217"/>
                  </a:lnTo>
                  <a:lnTo>
                    <a:pt x="1365247" y="1251223"/>
                  </a:lnTo>
                  <a:cubicBezTo>
                    <a:pt x="1366653" y="1250538"/>
                    <a:pt x="1368058" y="1249921"/>
                    <a:pt x="1369463" y="1249236"/>
                  </a:cubicBezTo>
                  <a:cubicBezTo>
                    <a:pt x="1371571" y="1249921"/>
                    <a:pt x="1373679" y="1250538"/>
                    <a:pt x="1375787" y="1251223"/>
                  </a:cubicBezTo>
                  <a:cubicBezTo>
                    <a:pt x="1376489" y="1252526"/>
                    <a:pt x="1377192" y="1253896"/>
                    <a:pt x="1377895" y="1255199"/>
                  </a:cubicBezTo>
                  <a:lnTo>
                    <a:pt x="1377895" y="1259242"/>
                  </a:lnTo>
                  <a:lnTo>
                    <a:pt x="1396795" y="1257255"/>
                  </a:lnTo>
                  <a:cubicBezTo>
                    <a:pt x="1397498" y="1263217"/>
                    <a:pt x="1398200" y="1269248"/>
                    <a:pt x="1398903" y="1275211"/>
                  </a:cubicBezTo>
                  <a:lnTo>
                    <a:pt x="1407333" y="1271236"/>
                  </a:lnTo>
                  <a:lnTo>
                    <a:pt x="1407333" y="1270518"/>
                  </a:lnTo>
                  <a:lnTo>
                    <a:pt x="1453613" y="1244467"/>
                  </a:lnTo>
                  <a:lnTo>
                    <a:pt x="1459924" y="1274526"/>
                  </a:lnTo>
                  <a:lnTo>
                    <a:pt x="1459924" y="1290558"/>
                  </a:lnTo>
                  <a:lnTo>
                    <a:pt x="1455717" y="1304586"/>
                  </a:lnTo>
                  <a:lnTo>
                    <a:pt x="1453613" y="1308594"/>
                  </a:lnTo>
                  <a:lnTo>
                    <a:pt x="1449406" y="1310598"/>
                  </a:lnTo>
                  <a:lnTo>
                    <a:pt x="1440991" y="1316610"/>
                  </a:lnTo>
                  <a:lnTo>
                    <a:pt x="1434680" y="1318614"/>
                  </a:lnTo>
                  <a:lnTo>
                    <a:pt x="1432577" y="1320618"/>
                  </a:lnTo>
                  <a:lnTo>
                    <a:pt x="1430473" y="1326630"/>
                  </a:lnTo>
                  <a:lnTo>
                    <a:pt x="1430473" y="1334645"/>
                  </a:lnTo>
                  <a:lnTo>
                    <a:pt x="1434680" y="1338653"/>
                  </a:lnTo>
                  <a:lnTo>
                    <a:pt x="1440991" y="1350677"/>
                  </a:lnTo>
                  <a:lnTo>
                    <a:pt x="1443095" y="1366709"/>
                  </a:lnTo>
                  <a:lnTo>
                    <a:pt x="1443095" y="1380737"/>
                  </a:lnTo>
                  <a:cubicBezTo>
                    <a:pt x="1443796" y="1399441"/>
                    <a:pt x="1444498" y="1418144"/>
                    <a:pt x="1445199" y="1436848"/>
                  </a:cubicBezTo>
                  <a:lnTo>
                    <a:pt x="1422059" y="1436848"/>
                  </a:lnTo>
                  <a:lnTo>
                    <a:pt x="1403126" y="1438852"/>
                  </a:lnTo>
                  <a:lnTo>
                    <a:pt x="1392608" y="1440856"/>
                  </a:lnTo>
                  <a:lnTo>
                    <a:pt x="1382089" y="1444864"/>
                  </a:lnTo>
                  <a:lnTo>
                    <a:pt x="1375779" y="1448872"/>
                  </a:lnTo>
                  <a:lnTo>
                    <a:pt x="1367364" y="1456888"/>
                  </a:lnTo>
                  <a:lnTo>
                    <a:pt x="1358949" y="1462900"/>
                  </a:lnTo>
                  <a:lnTo>
                    <a:pt x="1354742" y="1472920"/>
                  </a:lnTo>
                  <a:lnTo>
                    <a:pt x="1348431" y="1480935"/>
                  </a:lnTo>
                  <a:lnTo>
                    <a:pt x="1344224" y="1482939"/>
                  </a:lnTo>
                  <a:lnTo>
                    <a:pt x="1342120" y="1482939"/>
                  </a:lnTo>
                  <a:lnTo>
                    <a:pt x="1333706" y="1480935"/>
                  </a:lnTo>
                  <a:lnTo>
                    <a:pt x="1327395" y="1482939"/>
                  </a:lnTo>
                  <a:lnTo>
                    <a:pt x="1325291" y="1488951"/>
                  </a:lnTo>
                  <a:lnTo>
                    <a:pt x="1323188" y="1492959"/>
                  </a:lnTo>
                  <a:lnTo>
                    <a:pt x="1321084" y="1506987"/>
                  </a:lnTo>
                  <a:lnTo>
                    <a:pt x="1316877" y="1512999"/>
                  </a:lnTo>
                  <a:lnTo>
                    <a:pt x="1310566" y="1521015"/>
                  </a:lnTo>
                  <a:lnTo>
                    <a:pt x="1304255" y="1523019"/>
                  </a:lnTo>
                  <a:lnTo>
                    <a:pt x="1293737" y="1529031"/>
                  </a:lnTo>
                  <a:lnTo>
                    <a:pt x="1281115" y="1529031"/>
                  </a:lnTo>
                  <a:lnTo>
                    <a:pt x="1279011" y="1531035"/>
                  </a:lnTo>
                  <a:lnTo>
                    <a:pt x="1274804" y="1537046"/>
                  </a:lnTo>
                  <a:lnTo>
                    <a:pt x="1272700" y="1547066"/>
                  </a:lnTo>
                  <a:lnTo>
                    <a:pt x="1270597" y="1559090"/>
                  </a:lnTo>
                  <a:lnTo>
                    <a:pt x="1264286" y="1569110"/>
                  </a:lnTo>
                  <a:lnTo>
                    <a:pt x="1262182" y="1569110"/>
                  </a:lnTo>
                  <a:lnTo>
                    <a:pt x="1262182" y="1573118"/>
                  </a:lnTo>
                  <a:lnTo>
                    <a:pt x="1260078" y="1579130"/>
                  </a:lnTo>
                  <a:lnTo>
                    <a:pt x="1260078" y="1599170"/>
                  </a:lnTo>
                  <a:lnTo>
                    <a:pt x="1260078" y="1633237"/>
                  </a:lnTo>
                  <a:lnTo>
                    <a:pt x="1260078" y="1679328"/>
                  </a:lnTo>
                  <a:lnTo>
                    <a:pt x="1258254" y="1717574"/>
                  </a:lnTo>
                  <a:lnTo>
                    <a:pt x="1279014" y="1732471"/>
                  </a:lnTo>
                  <a:lnTo>
                    <a:pt x="1302154" y="1736462"/>
                  </a:lnTo>
                  <a:lnTo>
                    <a:pt x="1312672" y="1736462"/>
                  </a:lnTo>
                  <a:lnTo>
                    <a:pt x="1323191" y="1734466"/>
                  </a:lnTo>
                  <a:lnTo>
                    <a:pt x="1337916" y="1732471"/>
                  </a:lnTo>
                  <a:lnTo>
                    <a:pt x="1350538" y="1726484"/>
                  </a:lnTo>
                  <a:lnTo>
                    <a:pt x="1354745" y="1726484"/>
                  </a:lnTo>
                  <a:lnTo>
                    <a:pt x="1365263" y="1730475"/>
                  </a:lnTo>
                  <a:lnTo>
                    <a:pt x="1394714" y="1742449"/>
                  </a:lnTo>
                  <a:lnTo>
                    <a:pt x="1407336" y="1744445"/>
                  </a:lnTo>
                  <a:lnTo>
                    <a:pt x="1419958" y="1746440"/>
                  </a:lnTo>
                  <a:lnTo>
                    <a:pt x="1426269" y="1744445"/>
                  </a:lnTo>
                  <a:lnTo>
                    <a:pt x="1430476" y="1742449"/>
                  </a:lnTo>
                  <a:lnTo>
                    <a:pt x="1430476" y="1740453"/>
                  </a:lnTo>
                  <a:lnTo>
                    <a:pt x="1434684" y="1734466"/>
                  </a:lnTo>
                  <a:lnTo>
                    <a:pt x="1434684" y="1726484"/>
                  </a:lnTo>
                  <a:lnTo>
                    <a:pt x="1436787" y="1722493"/>
                  </a:lnTo>
                  <a:lnTo>
                    <a:pt x="1445202" y="1712514"/>
                  </a:lnTo>
                  <a:lnTo>
                    <a:pt x="1455720" y="1704532"/>
                  </a:lnTo>
                  <a:lnTo>
                    <a:pt x="1462031" y="1694553"/>
                  </a:lnTo>
                  <a:lnTo>
                    <a:pt x="1462031" y="1684575"/>
                  </a:lnTo>
                  <a:lnTo>
                    <a:pt x="1466238" y="1676592"/>
                  </a:lnTo>
                  <a:lnTo>
                    <a:pt x="1472549" y="1666614"/>
                  </a:lnTo>
                  <a:lnTo>
                    <a:pt x="1483067" y="1652645"/>
                  </a:lnTo>
                  <a:lnTo>
                    <a:pt x="1497793" y="1638675"/>
                  </a:lnTo>
                  <a:lnTo>
                    <a:pt x="1510415" y="1624705"/>
                  </a:lnTo>
                  <a:lnTo>
                    <a:pt x="1525140" y="1612731"/>
                  </a:lnTo>
                  <a:lnTo>
                    <a:pt x="1577731" y="1580801"/>
                  </a:lnTo>
                  <a:lnTo>
                    <a:pt x="1605078" y="1560845"/>
                  </a:lnTo>
                  <a:lnTo>
                    <a:pt x="1628218" y="1540888"/>
                  </a:lnTo>
                  <a:lnTo>
                    <a:pt x="1645048" y="1524923"/>
                  </a:lnTo>
                  <a:lnTo>
                    <a:pt x="1661877" y="1514944"/>
                  </a:lnTo>
                  <a:lnTo>
                    <a:pt x="1678706" y="1508957"/>
                  </a:lnTo>
                  <a:lnTo>
                    <a:pt x="1695535" y="1502971"/>
                  </a:lnTo>
                  <a:lnTo>
                    <a:pt x="1714468" y="1500975"/>
                  </a:lnTo>
                  <a:lnTo>
                    <a:pt x="1735504" y="1500975"/>
                  </a:lnTo>
                  <a:lnTo>
                    <a:pt x="1777577" y="1500975"/>
                  </a:lnTo>
                  <a:lnTo>
                    <a:pt x="2158335" y="1500975"/>
                  </a:lnTo>
                  <a:lnTo>
                    <a:pt x="2158335" y="1514944"/>
                  </a:lnTo>
                  <a:lnTo>
                    <a:pt x="2158335" y="1572818"/>
                  </a:lnTo>
                  <a:lnTo>
                    <a:pt x="2160439" y="1594771"/>
                  </a:lnTo>
                  <a:lnTo>
                    <a:pt x="2158335" y="1624705"/>
                  </a:lnTo>
                  <a:lnTo>
                    <a:pt x="2158335" y="1634684"/>
                  </a:lnTo>
                  <a:lnTo>
                    <a:pt x="2158335" y="1648653"/>
                  </a:lnTo>
                  <a:lnTo>
                    <a:pt x="2158335" y="1666614"/>
                  </a:lnTo>
                  <a:lnTo>
                    <a:pt x="2158335" y="1700540"/>
                  </a:lnTo>
                  <a:lnTo>
                    <a:pt x="2149671" y="1700540"/>
                  </a:lnTo>
                  <a:lnTo>
                    <a:pt x="2149671" y="1701367"/>
                  </a:lnTo>
                  <a:lnTo>
                    <a:pt x="2158305" y="1701367"/>
                  </a:lnTo>
                  <a:lnTo>
                    <a:pt x="2158305" y="1723407"/>
                  </a:lnTo>
                  <a:lnTo>
                    <a:pt x="2158305" y="1755458"/>
                  </a:lnTo>
                  <a:lnTo>
                    <a:pt x="2234031" y="1815609"/>
                  </a:lnTo>
                  <a:cubicBezTo>
                    <a:pt x="2233316" y="1816282"/>
                    <a:pt x="2232690" y="1816911"/>
                    <a:pt x="2231975" y="1817584"/>
                  </a:cubicBezTo>
                  <a:lnTo>
                    <a:pt x="2231975" y="1823599"/>
                  </a:lnTo>
                  <a:cubicBezTo>
                    <a:pt x="2232690" y="1826921"/>
                    <a:pt x="2233316" y="1830288"/>
                    <a:pt x="2234031" y="1833610"/>
                  </a:cubicBezTo>
                  <a:cubicBezTo>
                    <a:pt x="2236177" y="1836976"/>
                    <a:pt x="2238233" y="1840298"/>
                    <a:pt x="2240379" y="1843665"/>
                  </a:cubicBezTo>
                  <a:cubicBezTo>
                    <a:pt x="2241810" y="1846986"/>
                    <a:pt x="2243151" y="1850353"/>
                    <a:pt x="2244581" y="1853675"/>
                  </a:cubicBezTo>
                  <a:lnTo>
                    <a:pt x="2244581" y="1857670"/>
                  </a:lnTo>
                  <a:cubicBezTo>
                    <a:pt x="2243866" y="1859690"/>
                    <a:pt x="2243151" y="1861665"/>
                    <a:pt x="2242435" y="1863685"/>
                  </a:cubicBezTo>
                  <a:cubicBezTo>
                    <a:pt x="2241005" y="1867007"/>
                    <a:pt x="2239664" y="1870374"/>
                    <a:pt x="2238233" y="1873695"/>
                  </a:cubicBezTo>
                  <a:cubicBezTo>
                    <a:pt x="2235462" y="1877062"/>
                    <a:pt x="2232601" y="1880384"/>
                    <a:pt x="2229829" y="1883750"/>
                  </a:cubicBezTo>
                  <a:lnTo>
                    <a:pt x="2223571" y="1889721"/>
                  </a:lnTo>
                  <a:lnTo>
                    <a:pt x="2213021" y="1905791"/>
                  </a:lnTo>
                  <a:lnTo>
                    <a:pt x="2200415" y="1919796"/>
                  </a:lnTo>
                  <a:lnTo>
                    <a:pt x="2170912" y="1945832"/>
                  </a:lnTo>
                  <a:lnTo>
                    <a:pt x="2139441" y="1969893"/>
                  </a:lnTo>
                  <a:lnTo>
                    <a:pt x="2107881" y="1995973"/>
                  </a:lnTo>
                  <a:lnTo>
                    <a:pt x="2095186" y="1997948"/>
                  </a:lnTo>
                  <a:lnTo>
                    <a:pt x="2082580" y="2003963"/>
                  </a:lnTo>
                  <a:cubicBezTo>
                    <a:pt x="2079808" y="2005983"/>
                    <a:pt x="2076947" y="2007959"/>
                    <a:pt x="2074176" y="2009979"/>
                  </a:cubicBezTo>
                  <a:cubicBezTo>
                    <a:pt x="2072745" y="2012672"/>
                    <a:pt x="2071404" y="2015320"/>
                    <a:pt x="2069973" y="2018014"/>
                  </a:cubicBezTo>
                  <a:lnTo>
                    <a:pt x="2055222" y="2034039"/>
                  </a:lnTo>
                  <a:cubicBezTo>
                    <a:pt x="2053165" y="2037361"/>
                    <a:pt x="2051020" y="2040728"/>
                    <a:pt x="2048963" y="2044049"/>
                  </a:cubicBezTo>
                  <a:lnTo>
                    <a:pt x="2038414" y="2050064"/>
                  </a:lnTo>
                  <a:lnTo>
                    <a:pt x="2017403" y="2066090"/>
                  </a:lnTo>
                  <a:lnTo>
                    <a:pt x="1998450" y="2080140"/>
                  </a:lnTo>
                  <a:lnTo>
                    <a:pt x="1962688" y="2110171"/>
                  </a:lnTo>
                  <a:lnTo>
                    <a:pt x="1952138" y="2116186"/>
                  </a:lnTo>
                  <a:lnTo>
                    <a:pt x="1937476" y="2120181"/>
                  </a:lnTo>
                  <a:lnTo>
                    <a:pt x="1914320" y="2122201"/>
                  </a:lnTo>
                  <a:lnTo>
                    <a:pt x="1891164" y="2122201"/>
                  </a:lnTo>
                  <a:lnTo>
                    <a:pt x="1880614" y="2126196"/>
                  </a:lnTo>
                  <a:lnTo>
                    <a:pt x="1870154" y="2130236"/>
                  </a:lnTo>
                  <a:lnTo>
                    <a:pt x="1859604" y="2136251"/>
                  </a:lnTo>
                  <a:lnTo>
                    <a:pt x="1842796" y="2138226"/>
                  </a:lnTo>
                  <a:lnTo>
                    <a:pt x="1817584" y="2142221"/>
                  </a:lnTo>
                  <a:lnTo>
                    <a:pt x="1786024" y="2146261"/>
                  </a:lnTo>
                  <a:lnTo>
                    <a:pt x="1756520" y="2150257"/>
                  </a:lnTo>
                  <a:lnTo>
                    <a:pt x="1743914" y="2150257"/>
                  </a:lnTo>
                  <a:lnTo>
                    <a:pt x="1733364" y="2150257"/>
                  </a:lnTo>
                  <a:lnTo>
                    <a:pt x="1706006" y="2142221"/>
                  </a:lnTo>
                  <a:lnTo>
                    <a:pt x="1680794" y="2136251"/>
                  </a:lnTo>
                  <a:lnTo>
                    <a:pt x="1655582" y="2126196"/>
                  </a:lnTo>
                  <a:lnTo>
                    <a:pt x="1630281" y="2116186"/>
                  </a:lnTo>
                  <a:lnTo>
                    <a:pt x="1607214" y="2110171"/>
                  </a:lnTo>
                  <a:lnTo>
                    <a:pt x="1594519" y="2110171"/>
                  </a:lnTo>
                  <a:lnTo>
                    <a:pt x="1584058" y="2112191"/>
                  </a:lnTo>
                  <a:lnTo>
                    <a:pt x="1573508" y="2116186"/>
                  </a:lnTo>
                  <a:lnTo>
                    <a:pt x="1560902" y="2120181"/>
                  </a:lnTo>
                  <a:lnTo>
                    <a:pt x="1544094" y="2128216"/>
                  </a:lnTo>
                  <a:lnTo>
                    <a:pt x="1529342" y="2136251"/>
                  </a:lnTo>
                  <a:lnTo>
                    <a:pt x="1499928" y="2140246"/>
                  </a:lnTo>
                  <a:lnTo>
                    <a:pt x="1497783" y="2140246"/>
                  </a:lnTo>
                  <a:lnTo>
                    <a:pt x="1483031" y="2140246"/>
                  </a:lnTo>
                  <a:lnTo>
                    <a:pt x="1468368" y="2140246"/>
                  </a:lnTo>
                  <a:lnTo>
                    <a:pt x="1451471" y="2142221"/>
                  </a:lnTo>
                  <a:cubicBezTo>
                    <a:pt x="1450040" y="2143568"/>
                    <a:pt x="1448699" y="2144915"/>
                    <a:pt x="1447269" y="2146261"/>
                  </a:cubicBezTo>
                  <a:cubicBezTo>
                    <a:pt x="1445200" y="2147267"/>
                    <a:pt x="1443082" y="2148247"/>
                    <a:pt x="1440991" y="2149246"/>
                  </a:cubicBezTo>
                  <a:lnTo>
                    <a:pt x="1440991" y="2319937"/>
                  </a:lnTo>
                  <a:lnTo>
                    <a:pt x="1445196" y="2330619"/>
                  </a:lnTo>
                  <a:lnTo>
                    <a:pt x="1449403" y="2344647"/>
                  </a:lnTo>
                  <a:lnTo>
                    <a:pt x="1462025" y="2378715"/>
                  </a:lnTo>
                  <a:lnTo>
                    <a:pt x="1480958" y="2438834"/>
                  </a:lnTo>
                  <a:lnTo>
                    <a:pt x="1493580" y="2468893"/>
                  </a:lnTo>
                  <a:lnTo>
                    <a:pt x="1499891" y="2480917"/>
                  </a:lnTo>
                  <a:lnTo>
                    <a:pt x="1508305" y="2492941"/>
                  </a:lnTo>
                  <a:lnTo>
                    <a:pt x="1508308" y="2490937"/>
                  </a:lnTo>
                  <a:lnTo>
                    <a:pt x="1703947" y="2693337"/>
                  </a:lnTo>
                  <a:lnTo>
                    <a:pt x="1800715" y="2777503"/>
                  </a:lnTo>
                  <a:lnTo>
                    <a:pt x="1821751" y="2793535"/>
                  </a:lnTo>
                  <a:lnTo>
                    <a:pt x="1846995" y="2807563"/>
                  </a:lnTo>
                  <a:lnTo>
                    <a:pt x="1868031" y="2827603"/>
                  </a:lnTo>
                  <a:lnTo>
                    <a:pt x="1874342" y="2837622"/>
                  </a:lnTo>
                  <a:lnTo>
                    <a:pt x="1882757" y="2847642"/>
                  </a:lnTo>
                  <a:lnTo>
                    <a:pt x="1882757" y="2857662"/>
                  </a:lnTo>
                  <a:lnTo>
                    <a:pt x="1871663" y="2862688"/>
                  </a:lnTo>
                  <a:lnTo>
                    <a:pt x="1920621" y="2925780"/>
                  </a:lnTo>
                  <a:cubicBezTo>
                    <a:pt x="1926259" y="2935782"/>
                    <a:pt x="1931813" y="2945856"/>
                    <a:pt x="1937450" y="2955859"/>
                  </a:cubicBezTo>
                  <a:lnTo>
                    <a:pt x="1956383" y="2987924"/>
                  </a:lnTo>
                  <a:cubicBezTo>
                    <a:pt x="1959160" y="2991258"/>
                    <a:pt x="1962021" y="2994592"/>
                    <a:pt x="1964798" y="2997927"/>
                  </a:cubicBezTo>
                  <a:cubicBezTo>
                    <a:pt x="1966228" y="3001970"/>
                    <a:pt x="1967575" y="3005943"/>
                    <a:pt x="1969005" y="3009986"/>
                  </a:cubicBezTo>
                  <a:cubicBezTo>
                    <a:pt x="1971782" y="3019351"/>
                    <a:pt x="1974643" y="3028644"/>
                    <a:pt x="1977420" y="3038008"/>
                  </a:cubicBezTo>
                  <a:cubicBezTo>
                    <a:pt x="1980197" y="3047372"/>
                    <a:pt x="1983058" y="3056736"/>
                    <a:pt x="1985834" y="3066100"/>
                  </a:cubicBezTo>
                  <a:lnTo>
                    <a:pt x="1994249" y="3078089"/>
                  </a:lnTo>
                  <a:lnTo>
                    <a:pt x="2004767" y="3090149"/>
                  </a:lnTo>
                  <a:cubicBezTo>
                    <a:pt x="2006198" y="3093484"/>
                    <a:pt x="2007544" y="3096818"/>
                    <a:pt x="2008974" y="3100152"/>
                  </a:cubicBezTo>
                  <a:cubicBezTo>
                    <a:pt x="2011751" y="3103486"/>
                    <a:pt x="2014612" y="3106820"/>
                    <a:pt x="2017389" y="3110155"/>
                  </a:cubicBezTo>
                  <a:cubicBezTo>
                    <a:pt x="2019493" y="3118809"/>
                    <a:pt x="2021596" y="3127535"/>
                    <a:pt x="2023700" y="3136190"/>
                  </a:cubicBezTo>
                  <a:cubicBezTo>
                    <a:pt x="2026477" y="3143568"/>
                    <a:pt x="2029338" y="3150875"/>
                    <a:pt x="2032114" y="3158252"/>
                  </a:cubicBezTo>
                  <a:cubicBezTo>
                    <a:pt x="2034891" y="3161587"/>
                    <a:pt x="2037752" y="3164921"/>
                    <a:pt x="2040529" y="3168255"/>
                  </a:cubicBezTo>
                  <a:lnTo>
                    <a:pt x="2048944" y="3174285"/>
                  </a:lnTo>
                  <a:cubicBezTo>
                    <a:pt x="2052478" y="3176271"/>
                    <a:pt x="2055928" y="3178329"/>
                    <a:pt x="2059462" y="3180315"/>
                  </a:cubicBezTo>
                  <a:lnTo>
                    <a:pt x="2069980" y="3180315"/>
                  </a:lnTo>
                  <a:lnTo>
                    <a:pt x="2082602" y="3182301"/>
                  </a:lnTo>
                  <a:lnTo>
                    <a:pt x="2095224" y="3184288"/>
                  </a:lnTo>
                  <a:cubicBezTo>
                    <a:pt x="2098758" y="3186274"/>
                    <a:pt x="2102208" y="3188331"/>
                    <a:pt x="2105742" y="3190318"/>
                  </a:cubicBezTo>
                  <a:cubicBezTo>
                    <a:pt x="2108519" y="3193013"/>
                    <a:pt x="2111380" y="3195638"/>
                    <a:pt x="2114156" y="3198334"/>
                  </a:cubicBezTo>
                  <a:lnTo>
                    <a:pt x="2122571" y="3204364"/>
                  </a:lnTo>
                  <a:lnTo>
                    <a:pt x="2132508" y="3211937"/>
                  </a:lnTo>
                  <a:lnTo>
                    <a:pt x="2133090" y="3211201"/>
                  </a:lnTo>
                  <a:lnTo>
                    <a:pt x="2210924" y="3145234"/>
                  </a:lnTo>
                  <a:lnTo>
                    <a:pt x="2286655" y="3071271"/>
                  </a:lnTo>
                  <a:lnTo>
                    <a:pt x="2316106" y="3045284"/>
                  </a:lnTo>
                  <a:lnTo>
                    <a:pt x="2332935" y="3035289"/>
                  </a:lnTo>
                  <a:lnTo>
                    <a:pt x="2343453" y="3031291"/>
                  </a:lnTo>
                  <a:lnTo>
                    <a:pt x="2349764" y="3029292"/>
                  </a:lnTo>
                  <a:lnTo>
                    <a:pt x="2381318" y="3031291"/>
                  </a:lnTo>
                  <a:lnTo>
                    <a:pt x="2398148" y="3029292"/>
                  </a:lnTo>
                  <a:lnTo>
                    <a:pt x="2402355" y="3029292"/>
                  </a:lnTo>
                  <a:lnTo>
                    <a:pt x="2404458" y="3027293"/>
                  </a:lnTo>
                  <a:lnTo>
                    <a:pt x="2404458" y="3007303"/>
                  </a:lnTo>
                  <a:lnTo>
                    <a:pt x="2408666" y="2997308"/>
                  </a:lnTo>
                  <a:lnTo>
                    <a:pt x="2410769" y="2995309"/>
                  </a:lnTo>
                  <a:lnTo>
                    <a:pt x="2414977" y="2991311"/>
                  </a:lnTo>
                  <a:lnTo>
                    <a:pt x="2423391" y="2991311"/>
                  </a:lnTo>
                  <a:lnTo>
                    <a:pt x="2425495" y="2987313"/>
                  </a:lnTo>
                  <a:lnTo>
                    <a:pt x="2429702" y="2985314"/>
                  </a:lnTo>
                  <a:lnTo>
                    <a:pt x="2429702" y="2979317"/>
                  </a:lnTo>
                  <a:lnTo>
                    <a:pt x="2429702" y="2977318"/>
                  </a:lnTo>
                  <a:lnTo>
                    <a:pt x="2431806" y="2971321"/>
                  </a:lnTo>
                  <a:lnTo>
                    <a:pt x="2433909" y="2969322"/>
                  </a:lnTo>
                  <a:lnTo>
                    <a:pt x="2442324" y="2967323"/>
                  </a:lnTo>
                  <a:lnTo>
                    <a:pt x="2452842" y="2967323"/>
                  </a:lnTo>
                  <a:lnTo>
                    <a:pt x="2454946" y="2965324"/>
                  </a:lnTo>
                  <a:lnTo>
                    <a:pt x="2457049" y="2961326"/>
                  </a:lnTo>
                  <a:lnTo>
                    <a:pt x="2457049" y="2941336"/>
                  </a:lnTo>
                  <a:lnTo>
                    <a:pt x="2461257" y="2927343"/>
                  </a:lnTo>
                  <a:lnTo>
                    <a:pt x="2463360" y="2917348"/>
                  </a:lnTo>
                  <a:lnTo>
                    <a:pt x="2467567" y="2907353"/>
                  </a:lnTo>
                  <a:lnTo>
                    <a:pt x="2473878" y="2899357"/>
                  </a:lnTo>
                  <a:lnTo>
                    <a:pt x="2488604" y="2885364"/>
                  </a:lnTo>
                  <a:lnTo>
                    <a:pt x="2509640" y="2865374"/>
                  </a:lnTo>
                  <a:lnTo>
                    <a:pt x="2646376" y="2743436"/>
                  </a:lnTo>
                  <a:lnTo>
                    <a:pt x="2650584" y="2755430"/>
                  </a:lnTo>
                  <a:lnTo>
                    <a:pt x="2654791" y="2765425"/>
                  </a:lnTo>
                  <a:lnTo>
                    <a:pt x="2663205" y="2773421"/>
                  </a:lnTo>
                  <a:lnTo>
                    <a:pt x="2671620" y="2773421"/>
                  </a:lnTo>
                  <a:lnTo>
                    <a:pt x="2675827" y="2775420"/>
                  </a:lnTo>
                  <a:lnTo>
                    <a:pt x="2688449" y="2779418"/>
                  </a:lnTo>
                  <a:lnTo>
                    <a:pt x="2696863" y="2785415"/>
                  </a:lnTo>
                  <a:lnTo>
                    <a:pt x="2701071" y="2787414"/>
                  </a:lnTo>
                  <a:lnTo>
                    <a:pt x="2709485" y="2785415"/>
                  </a:lnTo>
                  <a:lnTo>
                    <a:pt x="2715796" y="2779418"/>
                  </a:lnTo>
                  <a:lnTo>
                    <a:pt x="2722107" y="2775420"/>
                  </a:lnTo>
                  <a:lnTo>
                    <a:pt x="2728418" y="2773421"/>
                  </a:lnTo>
                  <a:lnTo>
                    <a:pt x="2747351" y="2769423"/>
                  </a:lnTo>
                  <a:lnTo>
                    <a:pt x="2764180" y="2773421"/>
                  </a:lnTo>
                  <a:lnTo>
                    <a:pt x="2783112" y="2779418"/>
                  </a:lnTo>
                  <a:lnTo>
                    <a:pt x="2795734" y="2793411"/>
                  </a:lnTo>
                  <a:lnTo>
                    <a:pt x="2799942" y="2793411"/>
                  </a:lnTo>
                  <a:lnTo>
                    <a:pt x="2804149" y="2805405"/>
                  </a:lnTo>
                  <a:lnTo>
                    <a:pt x="2812563" y="2817399"/>
                  </a:lnTo>
                  <a:lnTo>
                    <a:pt x="2825185" y="2845384"/>
                  </a:lnTo>
                  <a:lnTo>
                    <a:pt x="2835703" y="2873370"/>
                  </a:lnTo>
                  <a:lnTo>
                    <a:pt x="2842014" y="2885364"/>
                  </a:lnTo>
                  <a:lnTo>
                    <a:pt x="2847737" y="2896240"/>
                  </a:lnTo>
                  <a:lnTo>
                    <a:pt x="2848292" y="2895738"/>
                  </a:lnTo>
                  <a:lnTo>
                    <a:pt x="2873502" y="2911778"/>
                  </a:lnTo>
                  <a:lnTo>
                    <a:pt x="2898892" y="2921802"/>
                  </a:lnTo>
                  <a:lnTo>
                    <a:pt x="2921942" y="2935837"/>
                  </a:lnTo>
                  <a:cubicBezTo>
                    <a:pt x="2925363" y="2938510"/>
                    <a:pt x="2928964" y="2941184"/>
                    <a:pt x="2932386" y="2943857"/>
                  </a:cubicBezTo>
                  <a:cubicBezTo>
                    <a:pt x="2935987" y="2947199"/>
                    <a:pt x="2939408" y="2950540"/>
                    <a:pt x="2943010" y="2953882"/>
                  </a:cubicBezTo>
                  <a:cubicBezTo>
                    <a:pt x="2947872" y="2957892"/>
                    <a:pt x="2952914" y="2961902"/>
                    <a:pt x="2957776" y="2965912"/>
                  </a:cubicBezTo>
                  <a:cubicBezTo>
                    <a:pt x="2959937" y="2968585"/>
                    <a:pt x="2961917" y="2971258"/>
                    <a:pt x="2964078" y="2973932"/>
                  </a:cubicBezTo>
                  <a:cubicBezTo>
                    <a:pt x="2966239" y="2975268"/>
                    <a:pt x="2968220" y="2976605"/>
                    <a:pt x="2970381" y="2977942"/>
                  </a:cubicBezTo>
                  <a:lnTo>
                    <a:pt x="2985147" y="2979947"/>
                  </a:lnTo>
                  <a:lnTo>
                    <a:pt x="2995591" y="2979947"/>
                  </a:lnTo>
                  <a:lnTo>
                    <a:pt x="3006035" y="2983957"/>
                  </a:lnTo>
                  <a:cubicBezTo>
                    <a:pt x="3010176" y="2987298"/>
                    <a:pt x="3014498" y="2990640"/>
                    <a:pt x="3018640" y="2993981"/>
                  </a:cubicBezTo>
                  <a:cubicBezTo>
                    <a:pt x="3020801" y="2995986"/>
                    <a:pt x="3022781" y="2997991"/>
                    <a:pt x="3024942" y="2999996"/>
                  </a:cubicBezTo>
                  <a:lnTo>
                    <a:pt x="3027103" y="3006011"/>
                  </a:lnTo>
                  <a:lnTo>
                    <a:pt x="3027103" y="3008016"/>
                  </a:lnTo>
                  <a:lnTo>
                    <a:pt x="3024942" y="3014031"/>
                  </a:lnTo>
                  <a:cubicBezTo>
                    <a:pt x="3022781" y="3016036"/>
                    <a:pt x="3020801" y="3018041"/>
                    <a:pt x="3018640" y="3020046"/>
                  </a:cubicBezTo>
                  <a:cubicBezTo>
                    <a:pt x="3017199" y="3023388"/>
                    <a:pt x="3015939" y="3026596"/>
                    <a:pt x="3014498" y="3029937"/>
                  </a:cubicBezTo>
                  <a:lnTo>
                    <a:pt x="3014498" y="3043972"/>
                  </a:lnTo>
                  <a:lnTo>
                    <a:pt x="3014498" y="3049987"/>
                  </a:lnTo>
                  <a:cubicBezTo>
                    <a:pt x="3017920" y="3058007"/>
                    <a:pt x="3021521" y="3066027"/>
                    <a:pt x="3024942" y="3074047"/>
                  </a:cubicBezTo>
                  <a:lnTo>
                    <a:pt x="3024942" y="3084071"/>
                  </a:lnTo>
                  <a:cubicBezTo>
                    <a:pt x="3024222" y="3085408"/>
                    <a:pt x="3023682" y="3086745"/>
                    <a:pt x="3022962" y="3088081"/>
                  </a:cubicBezTo>
                  <a:lnTo>
                    <a:pt x="3022962" y="3090086"/>
                  </a:lnTo>
                  <a:cubicBezTo>
                    <a:pt x="3023682" y="3091423"/>
                    <a:pt x="3024222" y="3092760"/>
                    <a:pt x="3024942" y="3094096"/>
                  </a:cubicBezTo>
                  <a:cubicBezTo>
                    <a:pt x="3027823" y="3096101"/>
                    <a:pt x="3030525" y="3098106"/>
                    <a:pt x="3033406" y="3100111"/>
                  </a:cubicBezTo>
                  <a:lnTo>
                    <a:pt x="3046011" y="3106126"/>
                  </a:lnTo>
                  <a:lnTo>
                    <a:pt x="3056635" y="3108131"/>
                  </a:lnTo>
                  <a:lnTo>
                    <a:pt x="3064918" y="3110136"/>
                  </a:lnTo>
                  <a:cubicBezTo>
                    <a:pt x="3068520" y="3112809"/>
                    <a:pt x="3071941" y="3115483"/>
                    <a:pt x="3075542" y="3118156"/>
                  </a:cubicBezTo>
                  <a:cubicBezTo>
                    <a:pt x="3079684" y="3124839"/>
                    <a:pt x="3084006" y="3131522"/>
                    <a:pt x="3088147" y="3138206"/>
                  </a:cubicBezTo>
                  <a:cubicBezTo>
                    <a:pt x="3091029" y="3142884"/>
                    <a:pt x="3093730" y="3147562"/>
                    <a:pt x="3096611" y="3152240"/>
                  </a:cubicBezTo>
                  <a:lnTo>
                    <a:pt x="3096611" y="3162265"/>
                  </a:lnTo>
                  <a:lnTo>
                    <a:pt x="3096611" y="3166275"/>
                  </a:lnTo>
                  <a:lnTo>
                    <a:pt x="3090308" y="3168280"/>
                  </a:lnTo>
                  <a:lnTo>
                    <a:pt x="3088147" y="3168280"/>
                  </a:lnTo>
                  <a:lnTo>
                    <a:pt x="3085987" y="3170285"/>
                  </a:lnTo>
                  <a:lnTo>
                    <a:pt x="3085987" y="3178305"/>
                  </a:lnTo>
                  <a:lnTo>
                    <a:pt x="3088147" y="3182315"/>
                  </a:lnTo>
                  <a:lnTo>
                    <a:pt x="3090308" y="3186325"/>
                  </a:lnTo>
                  <a:cubicBezTo>
                    <a:pt x="3091029" y="3187662"/>
                    <a:pt x="3091569" y="3188998"/>
                    <a:pt x="3092289" y="3190335"/>
                  </a:cubicBezTo>
                  <a:cubicBezTo>
                    <a:pt x="3094450" y="3196350"/>
                    <a:pt x="3096431" y="3202365"/>
                    <a:pt x="3098592" y="3208380"/>
                  </a:cubicBezTo>
                  <a:lnTo>
                    <a:pt x="3102913" y="3222415"/>
                  </a:lnTo>
                  <a:cubicBezTo>
                    <a:pt x="3104354" y="3227761"/>
                    <a:pt x="3105614" y="3233108"/>
                    <a:pt x="3107055" y="3238454"/>
                  </a:cubicBezTo>
                  <a:lnTo>
                    <a:pt x="3109216" y="3246474"/>
                  </a:lnTo>
                  <a:cubicBezTo>
                    <a:pt x="3110656" y="3247143"/>
                    <a:pt x="3111917" y="3247811"/>
                    <a:pt x="3113357" y="3248479"/>
                  </a:cubicBezTo>
                  <a:lnTo>
                    <a:pt x="3130284" y="3252489"/>
                  </a:lnTo>
                  <a:lnTo>
                    <a:pt x="3159636" y="3266524"/>
                  </a:lnTo>
                  <a:lnTo>
                    <a:pt x="3187007" y="3278554"/>
                  </a:lnTo>
                  <a:lnTo>
                    <a:pt x="3214377" y="3296598"/>
                  </a:lnTo>
                  <a:lnTo>
                    <a:pt x="3243729" y="3308495"/>
                  </a:lnTo>
                  <a:cubicBezTo>
                    <a:pt x="3245890" y="3309831"/>
                    <a:pt x="3247871" y="3311168"/>
                    <a:pt x="3250032" y="3312505"/>
                  </a:cubicBezTo>
                  <a:cubicBezTo>
                    <a:pt x="3253633" y="3317183"/>
                    <a:pt x="3257054" y="3321861"/>
                    <a:pt x="3260656" y="3326539"/>
                  </a:cubicBezTo>
                  <a:cubicBezTo>
                    <a:pt x="3263537" y="3330549"/>
                    <a:pt x="3266238" y="3334559"/>
                    <a:pt x="3269119" y="3338569"/>
                  </a:cubicBezTo>
                  <a:cubicBezTo>
                    <a:pt x="3271280" y="3343247"/>
                    <a:pt x="3273261" y="3347926"/>
                    <a:pt x="3275422" y="3352604"/>
                  </a:cubicBezTo>
                  <a:cubicBezTo>
                    <a:pt x="3278843" y="3363297"/>
                    <a:pt x="3282444" y="3373990"/>
                    <a:pt x="3285866" y="3384684"/>
                  </a:cubicBezTo>
                  <a:cubicBezTo>
                    <a:pt x="3288027" y="3393372"/>
                    <a:pt x="3290007" y="3402060"/>
                    <a:pt x="3292168" y="3410748"/>
                  </a:cubicBezTo>
                  <a:cubicBezTo>
                    <a:pt x="3295049" y="3418768"/>
                    <a:pt x="3297751" y="3426788"/>
                    <a:pt x="3300632" y="3434808"/>
                  </a:cubicBezTo>
                  <a:cubicBezTo>
                    <a:pt x="3303513" y="3442828"/>
                    <a:pt x="3306214" y="3450848"/>
                    <a:pt x="3309095" y="3458868"/>
                  </a:cubicBezTo>
                  <a:cubicBezTo>
                    <a:pt x="3309815" y="3462209"/>
                    <a:pt x="3310356" y="3465551"/>
                    <a:pt x="3311076" y="3468892"/>
                  </a:cubicBezTo>
                  <a:lnTo>
                    <a:pt x="3313237" y="3474907"/>
                  </a:lnTo>
                  <a:lnTo>
                    <a:pt x="3313237" y="3478917"/>
                  </a:lnTo>
                  <a:cubicBezTo>
                    <a:pt x="3311796" y="3480254"/>
                    <a:pt x="3310536" y="3481591"/>
                    <a:pt x="3309095" y="3482927"/>
                  </a:cubicBezTo>
                  <a:cubicBezTo>
                    <a:pt x="3306934" y="3484932"/>
                    <a:pt x="3304953" y="3486937"/>
                    <a:pt x="3302793" y="3488942"/>
                  </a:cubicBezTo>
                  <a:lnTo>
                    <a:pt x="3296310" y="3490947"/>
                  </a:lnTo>
                  <a:lnTo>
                    <a:pt x="3296310" y="3498967"/>
                  </a:lnTo>
                  <a:lnTo>
                    <a:pt x="3296310" y="3508992"/>
                  </a:lnTo>
                  <a:lnTo>
                    <a:pt x="3300632" y="3531047"/>
                  </a:lnTo>
                  <a:cubicBezTo>
                    <a:pt x="3303513" y="3538398"/>
                    <a:pt x="3306214" y="3545750"/>
                    <a:pt x="3309095" y="3553101"/>
                  </a:cubicBezTo>
                  <a:cubicBezTo>
                    <a:pt x="3310536" y="3556443"/>
                    <a:pt x="3311796" y="3559784"/>
                    <a:pt x="3313237" y="3563126"/>
                  </a:cubicBezTo>
                  <a:lnTo>
                    <a:pt x="3319539" y="3567002"/>
                  </a:lnTo>
                  <a:lnTo>
                    <a:pt x="3317645" y="3567042"/>
                  </a:lnTo>
                  <a:lnTo>
                    <a:pt x="3330079" y="3577062"/>
                  </a:lnTo>
                  <a:cubicBezTo>
                    <a:pt x="3331529" y="3579728"/>
                    <a:pt x="3332867" y="3582393"/>
                    <a:pt x="3334316" y="3585058"/>
                  </a:cubicBezTo>
                  <a:lnTo>
                    <a:pt x="3334316" y="3593054"/>
                  </a:lnTo>
                  <a:lnTo>
                    <a:pt x="3334316" y="3603030"/>
                  </a:lnTo>
                  <a:cubicBezTo>
                    <a:pt x="3333647" y="3604401"/>
                    <a:pt x="3332867" y="3605695"/>
                    <a:pt x="3332198" y="3607066"/>
                  </a:cubicBezTo>
                  <a:cubicBezTo>
                    <a:pt x="3329410" y="3607751"/>
                    <a:pt x="3326511" y="3608360"/>
                    <a:pt x="3323724" y="3609046"/>
                  </a:cubicBezTo>
                  <a:lnTo>
                    <a:pt x="3319599" y="3613006"/>
                  </a:lnTo>
                  <a:lnTo>
                    <a:pt x="3319599" y="3617042"/>
                  </a:lnTo>
                  <a:lnTo>
                    <a:pt x="3319599" y="3619021"/>
                  </a:lnTo>
                  <a:cubicBezTo>
                    <a:pt x="3320937" y="3621001"/>
                    <a:pt x="3322386" y="3623057"/>
                    <a:pt x="3323724" y="3625037"/>
                  </a:cubicBezTo>
                  <a:cubicBezTo>
                    <a:pt x="3325843" y="3625723"/>
                    <a:pt x="3327961" y="3626332"/>
                    <a:pt x="3330079" y="3627017"/>
                  </a:cubicBezTo>
                  <a:cubicBezTo>
                    <a:pt x="3330748" y="3627703"/>
                    <a:pt x="3331529" y="3628312"/>
                    <a:pt x="3332198" y="3628997"/>
                  </a:cubicBezTo>
                  <a:lnTo>
                    <a:pt x="3340560" y="3644989"/>
                  </a:lnTo>
                  <a:lnTo>
                    <a:pt x="3351151" y="3657021"/>
                  </a:lnTo>
                  <a:cubicBezTo>
                    <a:pt x="3358175" y="3666311"/>
                    <a:pt x="3365088" y="3675678"/>
                    <a:pt x="3372112" y="3684968"/>
                  </a:cubicBezTo>
                  <a:lnTo>
                    <a:pt x="3372112" y="3687024"/>
                  </a:lnTo>
                  <a:lnTo>
                    <a:pt x="3372112" y="3689004"/>
                  </a:lnTo>
                  <a:cubicBezTo>
                    <a:pt x="3370663" y="3690984"/>
                    <a:pt x="3369325" y="3693040"/>
                    <a:pt x="3367875" y="3695020"/>
                  </a:cubicBezTo>
                  <a:cubicBezTo>
                    <a:pt x="3366537" y="3697685"/>
                    <a:pt x="3365088" y="3700351"/>
                    <a:pt x="3363750" y="3703016"/>
                  </a:cubicBezTo>
                  <a:lnTo>
                    <a:pt x="3363750" y="3704996"/>
                  </a:lnTo>
                  <a:lnTo>
                    <a:pt x="3363750" y="3706976"/>
                  </a:lnTo>
                  <a:cubicBezTo>
                    <a:pt x="3365088" y="3710326"/>
                    <a:pt x="3366537" y="3713601"/>
                    <a:pt x="3367875" y="3716951"/>
                  </a:cubicBezTo>
                  <a:cubicBezTo>
                    <a:pt x="3369994" y="3718931"/>
                    <a:pt x="3372112" y="3720987"/>
                    <a:pt x="3374230" y="3722967"/>
                  </a:cubicBezTo>
                  <a:lnTo>
                    <a:pt x="3382704" y="3728983"/>
                  </a:lnTo>
                  <a:cubicBezTo>
                    <a:pt x="3384822" y="3730963"/>
                    <a:pt x="3386829" y="3732943"/>
                    <a:pt x="3388948" y="3734923"/>
                  </a:cubicBezTo>
                  <a:cubicBezTo>
                    <a:pt x="3391066" y="3738959"/>
                    <a:pt x="3393184" y="3742919"/>
                    <a:pt x="3395303" y="3746955"/>
                  </a:cubicBezTo>
                  <a:cubicBezTo>
                    <a:pt x="3395972" y="3750306"/>
                    <a:pt x="3396752" y="3753580"/>
                    <a:pt x="3397421" y="3756931"/>
                  </a:cubicBezTo>
                  <a:lnTo>
                    <a:pt x="3397421" y="3766907"/>
                  </a:lnTo>
                  <a:cubicBezTo>
                    <a:pt x="3398090" y="3770943"/>
                    <a:pt x="3398759" y="3774903"/>
                    <a:pt x="3399428" y="3778939"/>
                  </a:cubicBezTo>
                  <a:cubicBezTo>
                    <a:pt x="3402215" y="3785564"/>
                    <a:pt x="3405114" y="3792265"/>
                    <a:pt x="3407901" y="3798890"/>
                  </a:cubicBezTo>
                  <a:lnTo>
                    <a:pt x="3416263" y="3808942"/>
                  </a:lnTo>
                  <a:cubicBezTo>
                    <a:pt x="3419051" y="3811607"/>
                    <a:pt x="3421949" y="3814273"/>
                    <a:pt x="3424737" y="3816938"/>
                  </a:cubicBezTo>
                  <a:cubicBezTo>
                    <a:pt x="3426855" y="3818233"/>
                    <a:pt x="3428973" y="3819603"/>
                    <a:pt x="3431092" y="3820898"/>
                  </a:cubicBezTo>
                  <a:lnTo>
                    <a:pt x="3437335" y="3820898"/>
                  </a:lnTo>
                  <a:lnTo>
                    <a:pt x="3449934" y="3820898"/>
                  </a:lnTo>
                  <a:cubicBezTo>
                    <a:pt x="3452052" y="3822269"/>
                    <a:pt x="3454171" y="3823563"/>
                    <a:pt x="3456289" y="3824934"/>
                  </a:cubicBezTo>
                  <a:lnTo>
                    <a:pt x="3460526" y="3826914"/>
                  </a:lnTo>
                  <a:cubicBezTo>
                    <a:pt x="3462644" y="3828208"/>
                    <a:pt x="3464651" y="3829579"/>
                    <a:pt x="3466770" y="3830874"/>
                  </a:cubicBezTo>
                  <a:cubicBezTo>
                    <a:pt x="3467439" y="3834224"/>
                    <a:pt x="3468219" y="3837575"/>
                    <a:pt x="3468888" y="3840925"/>
                  </a:cubicBezTo>
                  <a:lnTo>
                    <a:pt x="3466770" y="3840925"/>
                  </a:lnTo>
                  <a:lnTo>
                    <a:pt x="3462644" y="3844885"/>
                  </a:lnTo>
                  <a:lnTo>
                    <a:pt x="3458408" y="3846865"/>
                  </a:lnTo>
                  <a:cubicBezTo>
                    <a:pt x="3457739" y="3847551"/>
                    <a:pt x="3456958" y="3848236"/>
                    <a:pt x="3456289" y="3848921"/>
                  </a:cubicBezTo>
                  <a:cubicBezTo>
                    <a:pt x="3456958" y="3850901"/>
                    <a:pt x="3457739" y="3852881"/>
                    <a:pt x="3458408" y="3854861"/>
                  </a:cubicBezTo>
                  <a:cubicBezTo>
                    <a:pt x="3459857" y="3855546"/>
                    <a:pt x="3461195" y="3856232"/>
                    <a:pt x="3462644" y="3856917"/>
                  </a:cubicBezTo>
                  <a:cubicBezTo>
                    <a:pt x="3464763" y="3858212"/>
                    <a:pt x="3466770" y="3859582"/>
                    <a:pt x="3468888" y="3860877"/>
                  </a:cubicBezTo>
                  <a:cubicBezTo>
                    <a:pt x="3473125" y="3865522"/>
                    <a:pt x="3477250" y="3870244"/>
                    <a:pt x="3481487" y="3874889"/>
                  </a:cubicBezTo>
                  <a:lnTo>
                    <a:pt x="3487842" y="3880828"/>
                  </a:lnTo>
                  <a:cubicBezTo>
                    <a:pt x="3488511" y="3883494"/>
                    <a:pt x="3489291" y="3886159"/>
                    <a:pt x="3489960" y="3888824"/>
                  </a:cubicBezTo>
                  <a:lnTo>
                    <a:pt x="3489960" y="3898876"/>
                  </a:lnTo>
                  <a:cubicBezTo>
                    <a:pt x="3487842" y="3902836"/>
                    <a:pt x="3485723" y="3906872"/>
                    <a:pt x="3483605" y="3910832"/>
                  </a:cubicBezTo>
                  <a:cubicBezTo>
                    <a:pt x="3481487" y="3915477"/>
                    <a:pt x="3479480" y="3920198"/>
                    <a:pt x="3477361" y="3924844"/>
                  </a:cubicBezTo>
                  <a:lnTo>
                    <a:pt x="3477361" y="3934819"/>
                  </a:lnTo>
                  <a:lnTo>
                    <a:pt x="3477361" y="3946851"/>
                  </a:lnTo>
                  <a:cubicBezTo>
                    <a:pt x="3478699" y="3951496"/>
                    <a:pt x="3480149" y="3956142"/>
                    <a:pt x="3481487" y="3960787"/>
                  </a:cubicBezTo>
                  <a:cubicBezTo>
                    <a:pt x="3485054" y="3970153"/>
                    <a:pt x="3488511" y="3979444"/>
                    <a:pt x="3492078" y="3988810"/>
                  </a:cubicBezTo>
                  <a:cubicBezTo>
                    <a:pt x="3494197" y="3992161"/>
                    <a:pt x="3496204" y="3995435"/>
                    <a:pt x="3498322" y="3998786"/>
                  </a:cubicBezTo>
                  <a:cubicBezTo>
                    <a:pt x="3499771" y="4001451"/>
                    <a:pt x="3501109" y="4004117"/>
                    <a:pt x="3502559" y="4006782"/>
                  </a:cubicBezTo>
                  <a:lnTo>
                    <a:pt x="3513039" y="4012798"/>
                  </a:lnTo>
                  <a:cubicBezTo>
                    <a:pt x="3515826" y="4016149"/>
                    <a:pt x="3518725" y="4019423"/>
                    <a:pt x="3521513" y="4022774"/>
                  </a:cubicBezTo>
                  <a:cubicBezTo>
                    <a:pt x="3522182" y="4024754"/>
                    <a:pt x="3522962" y="4026810"/>
                    <a:pt x="3523631" y="4028790"/>
                  </a:cubicBezTo>
                  <a:lnTo>
                    <a:pt x="3523631" y="4036785"/>
                  </a:lnTo>
                  <a:lnTo>
                    <a:pt x="3523631" y="4048741"/>
                  </a:lnTo>
                  <a:cubicBezTo>
                    <a:pt x="3522962" y="4054757"/>
                    <a:pt x="3522182" y="4060697"/>
                    <a:pt x="3521513" y="4066713"/>
                  </a:cubicBezTo>
                  <a:lnTo>
                    <a:pt x="3521513" y="4078744"/>
                  </a:lnTo>
                  <a:cubicBezTo>
                    <a:pt x="3522962" y="4086055"/>
                    <a:pt x="3524300" y="4093442"/>
                    <a:pt x="3525749" y="4100752"/>
                  </a:cubicBezTo>
                  <a:lnTo>
                    <a:pt x="3540466" y="4136695"/>
                  </a:lnTo>
                  <a:cubicBezTo>
                    <a:pt x="3546041" y="4152002"/>
                    <a:pt x="3551727" y="4167384"/>
                    <a:pt x="3557302" y="4182690"/>
                  </a:cubicBezTo>
                  <a:cubicBezTo>
                    <a:pt x="3556633" y="4183985"/>
                    <a:pt x="3555852" y="4185356"/>
                    <a:pt x="3555183" y="4186650"/>
                  </a:cubicBezTo>
                  <a:cubicBezTo>
                    <a:pt x="3555852" y="4188630"/>
                    <a:pt x="3556633" y="4190686"/>
                    <a:pt x="3557302" y="4192666"/>
                  </a:cubicBezTo>
                  <a:cubicBezTo>
                    <a:pt x="3560758" y="4199977"/>
                    <a:pt x="3564326" y="4207363"/>
                    <a:pt x="3567782" y="4214674"/>
                  </a:cubicBezTo>
                  <a:cubicBezTo>
                    <a:pt x="3571238" y="4223355"/>
                    <a:pt x="3574806" y="4231960"/>
                    <a:pt x="3578262" y="4240641"/>
                  </a:cubicBezTo>
                  <a:cubicBezTo>
                    <a:pt x="3579712" y="4243992"/>
                    <a:pt x="3581050" y="4247266"/>
                    <a:pt x="3582499" y="4250617"/>
                  </a:cubicBezTo>
                  <a:lnTo>
                    <a:pt x="3582499" y="4260593"/>
                  </a:lnTo>
                  <a:lnTo>
                    <a:pt x="3578262" y="4260593"/>
                  </a:lnTo>
                  <a:cubicBezTo>
                    <a:pt x="3577593" y="4261963"/>
                    <a:pt x="3576813" y="4263258"/>
                    <a:pt x="3576144" y="4264629"/>
                  </a:cubicBezTo>
                  <a:cubicBezTo>
                    <a:pt x="3574806" y="4266609"/>
                    <a:pt x="3573357" y="4268665"/>
                    <a:pt x="3572019" y="4270645"/>
                  </a:cubicBezTo>
                  <a:cubicBezTo>
                    <a:pt x="3569900" y="4271330"/>
                    <a:pt x="3567782" y="4271939"/>
                    <a:pt x="3565664" y="4272624"/>
                  </a:cubicBezTo>
                  <a:cubicBezTo>
                    <a:pt x="3564995" y="4274604"/>
                    <a:pt x="3564214" y="4276660"/>
                    <a:pt x="3563545" y="4278640"/>
                  </a:cubicBezTo>
                  <a:cubicBezTo>
                    <a:pt x="3562876" y="4281991"/>
                    <a:pt x="3562096" y="4285266"/>
                    <a:pt x="3561427" y="4288616"/>
                  </a:cubicBezTo>
                  <a:lnTo>
                    <a:pt x="3561427" y="4300572"/>
                  </a:lnTo>
                  <a:cubicBezTo>
                    <a:pt x="3560089" y="4308568"/>
                    <a:pt x="3558640" y="4316564"/>
                    <a:pt x="3557302" y="4324559"/>
                  </a:cubicBezTo>
                  <a:lnTo>
                    <a:pt x="3556313" y="4324559"/>
                  </a:lnTo>
                  <a:lnTo>
                    <a:pt x="3557250" y="4324566"/>
                  </a:lnTo>
                  <a:lnTo>
                    <a:pt x="3561457" y="4324566"/>
                  </a:lnTo>
                  <a:lnTo>
                    <a:pt x="3687675" y="4322562"/>
                  </a:lnTo>
                  <a:lnTo>
                    <a:pt x="3815997" y="4322562"/>
                  </a:lnTo>
                  <a:lnTo>
                    <a:pt x="3820204" y="4362642"/>
                  </a:lnTo>
                  <a:lnTo>
                    <a:pt x="3820204" y="4388693"/>
                  </a:lnTo>
                  <a:lnTo>
                    <a:pt x="3815997" y="4394705"/>
                  </a:lnTo>
                  <a:lnTo>
                    <a:pt x="3813893" y="4398713"/>
                  </a:lnTo>
                  <a:lnTo>
                    <a:pt x="3803375" y="4398713"/>
                  </a:lnTo>
                  <a:lnTo>
                    <a:pt x="3799168" y="4402721"/>
                  </a:lnTo>
                  <a:lnTo>
                    <a:pt x="3799168" y="4408733"/>
                  </a:lnTo>
                  <a:lnTo>
                    <a:pt x="3801272" y="4420757"/>
                  </a:lnTo>
                  <a:lnTo>
                    <a:pt x="3801272" y="4422761"/>
                  </a:lnTo>
                  <a:lnTo>
                    <a:pt x="3805479" y="4424765"/>
                  </a:lnTo>
                  <a:lnTo>
                    <a:pt x="3815997" y="4422761"/>
                  </a:lnTo>
                  <a:lnTo>
                    <a:pt x="3826515" y="4422761"/>
                  </a:lnTo>
                  <a:lnTo>
                    <a:pt x="3830723" y="4424765"/>
                  </a:lnTo>
                  <a:lnTo>
                    <a:pt x="3832826" y="4430776"/>
                  </a:lnTo>
                  <a:lnTo>
                    <a:pt x="3830723" y="4436788"/>
                  </a:lnTo>
                  <a:lnTo>
                    <a:pt x="3826515" y="4436788"/>
                  </a:lnTo>
                  <a:lnTo>
                    <a:pt x="3822308" y="4440796"/>
                  </a:lnTo>
                  <a:lnTo>
                    <a:pt x="3822308" y="4444804"/>
                  </a:lnTo>
                  <a:lnTo>
                    <a:pt x="3822308" y="4502919"/>
                  </a:lnTo>
                  <a:cubicBezTo>
                    <a:pt x="3823009" y="4520955"/>
                    <a:pt x="3823711" y="4538990"/>
                    <a:pt x="3824412" y="4557026"/>
                  </a:cubicBezTo>
                  <a:lnTo>
                    <a:pt x="3826515" y="4723356"/>
                  </a:lnTo>
                  <a:lnTo>
                    <a:pt x="3826515" y="4805518"/>
                  </a:lnTo>
                  <a:lnTo>
                    <a:pt x="3826515" y="4887681"/>
                  </a:lnTo>
                  <a:lnTo>
                    <a:pt x="3815997" y="4885677"/>
                  </a:lnTo>
                  <a:lnTo>
                    <a:pt x="3820204" y="4985875"/>
                  </a:lnTo>
                  <a:lnTo>
                    <a:pt x="3820204" y="5072046"/>
                  </a:lnTo>
                  <a:lnTo>
                    <a:pt x="3822308" y="5072046"/>
                  </a:lnTo>
                  <a:lnTo>
                    <a:pt x="3822308" y="5088078"/>
                  </a:lnTo>
                  <a:lnTo>
                    <a:pt x="3822308" y="5100102"/>
                  </a:lnTo>
                  <a:lnTo>
                    <a:pt x="3820204" y="5104109"/>
                  </a:lnTo>
                  <a:lnTo>
                    <a:pt x="3815997" y="5108117"/>
                  </a:lnTo>
                  <a:lnTo>
                    <a:pt x="3809686" y="5108117"/>
                  </a:lnTo>
                  <a:lnTo>
                    <a:pt x="3801272" y="5108117"/>
                  </a:lnTo>
                  <a:lnTo>
                    <a:pt x="3370026" y="5110121"/>
                  </a:lnTo>
                  <a:lnTo>
                    <a:pt x="2940884" y="5112125"/>
                  </a:lnTo>
                  <a:lnTo>
                    <a:pt x="2903018" y="5112125"/>
                  </a:lnTo>
                  <a:lnTo>
                    <a:pt x="2898811" y="5118137"/>
                  </a:lnTo>
                  <a:lnTo>
                    <a:pt x="2888293" y="5120141"/>
                  </a:lnTo>
                  <a:lnTo>
                    <a:pt x="2860945" y="5120141"/>
                  </a:lnTo>
                  <a:lnTo>
                    <a:pt x="2808354" y="5118137"/>
                  </a:lnTo>
                  <a:lnTo>
                    <a:pt x="2747349" y="5120141"/>
                  </a:lnTo>
                  <a:lnTo>
                    <a:pt x="2713691" y="5120141"/>
                  </a:lnTo>
                  <a:lnTo>
                    <a:pt x="2701069" y="5118137"/>
                  </a:lnTo>
                  <a:lnTo>
                    <a:pt x="2692654" y="5114129"/>
                  </a:lnTo>
                  <a:lnTo>
                    <a:pt x="2690551" y="5108117"/>
                  </a:lnTo>
                  <a:lnTo>
                    <a:pt x="2690551" y="5100102"/>
                  </a:lnTo>
                  <a:lnTo>
                    <a:pt x="2690551" y="5084070"/>
                  </a:lnTo>
                  <a:lnTo>
                    <a:pt x="2690551" y="5082066"/>
                  </a:lnTo>
                  <a:lnTo>
                    <a:pt x="2688447" y="5080062"/>
                  </a:lnTo>
                  <a:lnTo>
                    <a:pt x="2682136" y="5080062"/>
                  </a:lnTo>
                  <a:lnTo>
                    <a:pt x="2675825" y="5080062"/>
                  </a:lnTo>
                  <a:lnTo>
                    <a:pt x="2669514" y="5080062"/>
                  </a:lnTo>
                  <a:lnTo>
                    <a:pt x="2667411" y="5078058"/>
                  </a:lnTo>
                  <a:lnTo>
                    <a:pt x="2667411" y="5072046"/>
                  </a:lnTo>
                  <a:lnTo>
                    <a:pt x="2658996" y="5070042"/>
                  </a:lnTo>
                  <a:lnTo>
                    <a:pt x="2627442" y="5070042"/>
                  </a:lnTo>
                  <a:lnTo>
                    <a:pt x="2612716" y="5070042"/>
                  </a:lnTo>
                  <a:lnTo>
                    <a:pt x="2604302" y="5070042"/>
                  </a:lnTo>
                  <a:lnTo>
                    <a:pt x="2602198" y="5068038"/>
                  </a:lnTo>
                  <a:lnTo>
                    <a:pt x="2597991" y="5064030"/>
                  </a:lnTo>
                  <a:lnTo>
                    <a:pt x="2595887" y="5052006"/>
                  </a:lnTo>
                  <a:lnTo>
                    <a:pt x="2593783" y="5047998"/>
                  </a:lnTo>
                  <a:lnTo>
                    <a:pt x="2591680" y="5047998"/>
                  </a:lnTo>
                  <a:lnTo>
                    <a:pt x="2576954" y="5045994"/>
                  </a:lnTo>
                  <a:lnTo>
                    <a:pt x="2551711" y="5047998"/>
                  </a:lnTo>
                  <a:lnTo>
                    <a:pt x="2530674" y="5045994"/>
                  </a:lnTo>
                  <a:lnTo>
                    <a:pt x="2528571" y="4975856"/>
                  </a:lnTo>
                  <a:lnTo>
                    <a:pt x="2528571" y="4905717"/>
                  </a:lnTo>
                  <a:lnTo>
                    <a:pt x="2524363" y="4899705"/>
                  </a:lnTo>
                  <a:lnTo>
                    <a:pt x="2522260" y="4895697"/>
                  </a:lnTo>
                  <a:lnTo>
                    <a:pt x="2509638" y="4891689"/>
                  </a:lnTo>
                  <a:lnTo>
                    <a:pt x="2492809" y="4889685"/>
                  </a:lnTo>
                  <a:lnTo>
                    <a:pt x="2478083" y="4889685"/>
                  </a:lnTo>
                  <a:lnTo>
                    <a:pt x="2471772" y="4887681"/>
                  </a:lnTo>
                  <a:lnTo>
                    <a:pt x="2467565" y="4881669"/>
                  </a:lnTo>
                  <a:lnTo>
                    <a:pt x="2465461" y="4871649"/>
                  </a:lnTo>
                  <a:lnTo>
                    <a:pt x="2465461" y="4861629"/>
                  </a:lnTo>
                  <a:lnTo>
                    <a:pt x="2467565" y="4839586"/>
                  </a:lnTo>
                  <a:lnTo>
                    <a:pt x="2467565" y="4823554"/>
                  </a:lnTo>
                  <a:lnTo>
                    <a:pt x="2391834" y="4823554"/>
                  </a:lnTo>
                  <a:cubicBezTo>
                    <a:pt x="2392535" y="4800842"/>
                    <a:pt x="2393237" y="4778131"/>
                    <a:pt x="2393938" y="4755419"/>
                  </a:cubicBezTo>
                  <a:lnTo>
                    <a:pt x="2343450" y="4759427"/>
                  </a:lnTo>
                  <a:lnTo>
                    <a:pt x="2311896" y="4759427"/>
                  </a:lnTo>
                  <a:lnTo>
                    <a:pt x="2301378" y="4757423"/>
                  </a:lnTo>
                  <a:lnTo>
                    <a:pt x="2295067" y="4755419"/>
                  </a:lnTo>
                  <a:lnTo>
                    <a:pt x="2290860" y="4749407"/>
                  </a:lnTo>
                  <a:lnTo>
                    <a:pt x="2290860" y="4745399"/>
                  </a:lnTo>
                  <a:lnTo>
                    <a:pt x="2290860" y="4727364"/>
                  </a:lnTo>
                  <a:lnTo>
                    <a:pt x="2290860" y="4699308"/>
                  </a:lnTo>
                  <a:lnTo>
                    <a:pt x="2290860" y="4687284"/>
                  </a:lnTo>
                  <a:lnTo>
                    <a:pt x="2288756" y="4685280"/>
                  </a:lnTo>
                  <a:lnTo>
                    <a:pt x="2284549" y="4683276"/>
                  </a:lnTo>
                  <a:lnTo>
                    <a:pt x="2274030" y="4683276"/>
                  </a:lnTo>
                  <a:lnTo>
                    <a:pt x="2259305" y="4685280"/>
                  </a:lnTo>
                  <a:lnTo>
                    <a:pt x="2255098" y="4683276"/>
                  </a:lnTo>
                  <a:lnTo>
                    <a:pt x="2248787" y="4679268"/>
                  </a:lnTo>
                  <a:lnTo>
                    <a:pt x="2244579" y="4673257"/>
                  </a:lnTo>
                  <a:lnTo>
                    <a:pt x="2244579" y="4663237"/>
                  </a:lnTo>
                  <a:lnTo>
                    <a:pt x="2244579" y="4649209"/>
                  </a:lnTo>
                  <a:lnTo>
                    <a:pt x="2244579" y="4637185"/>
                  </a:lnTo>
                  <a:lnTo>
                    <a:pt x="2244579" y="4627165"/>
                  </a:lnTo>
                  <a:lnTo>
                    <a:pt x="2242476" y="4623157"/>
                  </a:lnTo>
                  <a:lnTo>
                    <a:pt x="2236165" y="4617145"/>
                  </a:lnTo>
                  <a:lnTo>
                    <a:pt x="2234061" y="4617145"/>
                  </a:lnTo>
                  <a:lnTo>
                    <a:pt x="2225647" y="4615141"/>
                  </a:lnTo>
                  <a:lnTo>
                    <a:pt x="2194092" y="4617145"/>
                  </a:lnTo>
                  <a:lnTo>
                    <a:pt x="2179367" y="4617145"/>
                  </a:lnTo>
                  <a:lnTo>
                    <a:pt x="2164641" y="4613137"/>
                  </a:lnTo>
                  <a:lnTo>
                    <a:pt x="2162538" y="4607126"/>
                  </a:lnTo>
                  <a:lnTo>
                    <a:pt x="2160434" y="4597106"/>
                  </a:lnTo>
                  <a:lnTo>
                    <a:pt x="2154123" y="4583078"/>
                  </a:lnTo>
                  <a:lnTo>
                    <a:pt x="2149916" y="4581074"/>
                  </a:lnTo>
                  <a:lnTo>
                    <a:pt x="2143605" y="4575062"/>
                  </a:lnTo>
                  <a:lnTo>
                    <a:pt x="2133087" y="4571054"/>
                  </a:lnTo>
                  <a:lnTo>
                    <a:pt x="2130983" y="4565042"/>
                  </a:lnTo>
                  <a:lnTo>
                    <a:pt x="2130983" y="4561034"/>
                  </a:lnTo>
                  <a:lnTo>
                    <a:pt x="2130983" y="4553018"/>
                  </a:lnTo>
                  <a:lnTo>
                    <a:pt x="2130983" y="4551015"/>
                  </a:lnTo>
                  <a:lnTo>
                    <a:pt x="2126776" y="4545003"/>
                  </a:lnTo>
                  <a:lnTo>
                    <a:pt x="2122568" y="4545003"/>
                  </a:lnTo>
                  <a:lnTo>
                    <a:pt x="2120465" y="4545003"/>
                  </a:lnTo>
                  <a:lnTo>
                    <a:pt x="2118361" y="4536987"/>
                  </a:lnTo>
                  <a:lnTo>
                    <a:pt x="2116258" y="4536987"/>
                  </a:lnTo>
                  <a:lnTo>
                    <a:pt x="2109947" y="4536987"/>
                  </a:lnTo>
                  <a:lnTo>
                    <a:pt x="2107843" y="4536987"/>
                  </a:lnTo>
                  <a:lnTo>
                    <a:pt x="2107843" y="4534983"/>
                  </a:lnTo>
                  <a:lnTo>
                    <a:pt x="2105739" y="4500915"/>
                  </a:lnTo>
                  <a:lnTo>
                    <a:pt x="2105739" y="4476868"/>
                  </a:lnTo>
                  <a:lnTo>
                    <a:pt x="2101532" y="4470856"/>
                  </a:lnTo>
                  <a:lnTo>
                    <a:pt x="2099428" y="4466848"/>
                  </a:lnTo>
                  <a:lnTo>
                    <a:pt x="2095221" y="4466848"/>
                  </a:lnTo>
                  <a:lnTo>
                    <a:pt x="2063667" y="4470856"/>
                  </a:lnTo>
                  <a:lnTo>
                    <a:pt x="2042630" y="4470856"/>
                  </a:lnTo>
                  <a:lnTo>
                    <a:pt x="2036319" y="4466848"/>
                  </a:lnTo>
                  <a:lnTo>
                    <a:pt x="2032112" y="4466848"/>
                  </a:lnTo>
                  <a:lnTo>
                    <a:pt x="2027905" y="4456828"/>
                  </a:lnTo>
                  <a:lnTo>
                    <a:pt x="2027905" y="4444804"/>
                  </a:lnTo>
                  <a:lnTo>
                    <a:pt x="2027905" y="4420757"/>
                  </a:lnTo>
                  <a:lnTo>
                    <a:pt x="2027905" y="4376298"/>
                  </a:lnTo>
                  <a:lnTo>
                    <a:pt x="2025801" y="4376298"/>
                  </a:lnTo>
                  <a:lnTo>
                    <a:pt x="2025801" y="4328574"/>
                  </a:lnTo>
                  <a:lnTo>
                    <a:pt x="2025801" y="4326856"/>
                  </a:lnTo>
                  <a:lnTo>
                    <a:pt x="2021595" y="4326570"/>
                  </a:lnTo>
                  <a:lnTo>
                    <a:pt x="2015284" y="4326570"/>
                  </a:lnTo>
                  <a:lnTo>
                    <a:pt x="2017387" y="4316550"/>
                  </a:lnTo>
                  <a:lnTo>
                    <a:pt x="2015284" y="4310539"/>
                  </a:lnTo>
                  <a:lnTo>
                    <a:pt x="2008973" y="4306531"/>
                  </a:lnTo>
                  <a:lnTo>
                    <a:pt x="2004765" y="4300519"/>
                  </a:lnTo>
                  <a:lnTo>
                    <a:pt x="1994247" y="4286491"/>
                  </a:lnTo>
                  <a:lnTo>
                    <a:pt x="1987936" y="4270459"/>
                  </a:lnTo>
                  <a:lnTo>
                    <a:pt x="1987936" y="4262443"/>
                  </a:lnTo>
                  <a:lnTo>
                    <a:pt x="1987936" y="4258435"/>
                  </a:lnTo>
                  <a:lnTo>
                    <a:pt x="1987936" y="4252423"/>
                  </a:lnTo>
                  <a:lnTo>
                    <a:pt x="1983729" y="4246412"/>
                  </a:lnTo>
                  <a:lnTo>
                    <a:pt x="1978277" y="4241218"/>
                  </a:lnTo>
                  <a:lnTo>
                    <a:pt x="1947935" y="4232386"/>
                  </a:lnTo>
                  <a:cubicBezTo>
                    <a:pt x="1945774" y="4231049"/>
                    <a:pt x="1943793" y="4229713"/>
                    <a:pt x="1941632" y="4228376"/>
                  </a:cubicBezTo>
                  <a:cubicBezTo>
                    <a:pt x="1938751" y="4225703"/>
                    <a:pt x="1936050" y="4223030"/>
                    <a:pt x="1933169" y="4220356"/>
                  </a:cubicBezTo>
                  <a:cubicBezTo>
                    <a:pt x="1929748" y="4216346"/>
                    <a:pt x="1926146" y="4212336"/>
                    <a:pt x="1922725" y="4208326"/>
                  </a:cubicBezTo>
                  <a:cubicBezTo>
                    <a:pt x="1918583" y="4204317"/>
                    <a:pt x="1914262" y="4200307"/>
                    <a:pt x="1910120" y="4196297"/>
                  </a:cubicBezTo>
                  <a:cubicBezTo>
                    <a:pt x="1907239" y="4194292"/>
                    <a:pt x="1904538" y="4192287"/>
                    <a:pt x="1901657" y="4190282"/>
                  </a:cubicBezTo>
                  <a:lnTo>
                    <a:pt x="1893193" y="4186272"/>
                  </a:lnTo>
                  <a:lnTo>
                    <a:pt x="1867983" y="4178252"/>
                  </a:lnTo>
                  <a:cubicBezTo>
                    <a:pt x="1864562" y="4176247"/>
                    <a:pt x="1860961" y="4174242"/>
                    <a:pt x="1857539" y="4172237"/>
                  </a:cubicBezTo>
                  <a:lnTo>
                    <a:pt x="1842773" y="4166222"/>
                  </a:lnTo>
                  <a:lnTo>
                    <a:pt x="1804958" y="4138152"/>
                  </a:lnTo>
                  <a:lnTo>
                    <a:pt x="1800637" y="4138152"/>
                  </a:lnTo>
                  <a:lnTo>
                    <a:pt x="1796495" y="4138152"/>
                  </a:lnTo>
                  <a:lnTo>
                    <a:pt x="1790192" y="4138152"/>
                  </a:lnTo>
                  <a:cubicBezTo>
                    <a:pt x="1788752" y="4136147"/>
                    <a:pt x="1787491" y="4134143"/>
                    <a:pt x="1786051" y="4132138"/>
                  </a:cubicBezTo>
                  <a:lnTo>
                    <a:pt x="1783890" y="4126123"/>
                  </a:lnTo>
                  <a:cubicBezTo>
                    <a:pt x="1781009" y="4124118"/>
                    <a:pt x="1778308" y="4122113"/>
                    <a:pt x="1775427" y="4120108"/>
                  </a:cubicBezTo>
                  <a:lnTo>
                    <a:pt x="1769124" y="4118103"/>
                  </a:lnTo>
                  <a:cubicBezTo>
                    <a:pt x="1766963" y="4116098"/>
                    <a:pt x="1764982" y="4114093"/>
                    <a:pt x="1762822" y="4112088"/>
                  </a:cubicBezTo>
                  <a:cubicBezTo>
                    <a:pt x="1760661" y="4108078"/>
                    <a:pt x="1758680" y="4104068"/>
                    <a:pt x="1756519" y="4100058"/>
                  </a:cubicBezTo>
                  <a:cubicBezTo>
                    <a:pt x="1755079" y="4096716"/>
                    <a:pt x="1753818" y="4093508"/>
                    <a:pt x="1752377" y="4090167"/>
                  </a:cubicBezTo>
                  <a:lnTo>
                    <a:pt x="1741753" y="4086157"/>
                  </a:lnTo>
                  <a:cubicBezTo>
                    <a:pt x="1739052" y="4084820"/>
                    <a:pt x="1736171" y="4083484"/>
                    <a:pt x="1733470" y="4082147"/>
                  </a:cubicBezTo>
                  <a:lnTo>
                    <a:pt x="1716543" y="4070117"/>
                  </a:lnTo>
                  <a:cubicBezTo>
                    <a:pt x="1713122" y="4066775"/>
                    <a:pt x="1709520" y="4063434"/>
                    <a:pt x="1706099" y="4060092"/>
                  </a:cubicBezTo>
                  <a:lnTo>
                    <a:pt x="1701777" y="4052072"/>
                  </a:lnTo>
                  <a:cubicBezTo>
                    <a:pt x="1701057" y="4050736"/>
                    <a:pt x="1700517" y="4049399"/>
                    <a:pt x="1699797" y="4048062"/>
                  </a:cubicBezTo>
                  <a:lnTo>
                    <a:pt x="1695475" y="4038038"/>
                  </a:lnTo>
                  <a:lnTo>
                    <a:pt x="1699797" y="4030018"/>
                  </a:lnTo>
                  <a:cubicBezTo>
                    <a:pt x="1700517" y="4027344"/>
                    <a:pt x="1701057" y="4024671"/>
                    <a:pt x="1701777" y="4021998"/>
                  </a:cubicBezTo>
                  <a:lnTo>
                    <a:pt x="1706099" y="4017988"/>
                  </a:lnTo>
                  <a:cubicBezTo>
                    <a:pt x="1708800" y="4014646"/>
                    <a:pt x="1711681" y="4011305"/>
                    <a:pt x="1714382" y="4007963"/>
                  </a:cubicBezTo>
                  <a:lnTo>
                    <a:pt x="1716543" y="4001948"/>
                  </a:lnTo>
                  <a:cubicBezTo>
                    <a:pt x="1717984" y="4000611"/>
                    <a:pt x="1719244" y="3999275"/>
                    <a:pt x="1720685" y="3997938"/>
                  </a:cubicBezTo>
                  <a:cubicBezTo>
                    <a:pt x="1719244" y="3995933"/>
                    <a:pt x="1717984" y="3993928"/>
                    <a:pt x="1716543" y="3991923"/>
                  </a:cubicBezTo>
                  <a:cubicBezTo>
                    <a:pt x="1715103" y="3989918"/>
                    <a:pt x="1713842" y="3987913"/>
                    <a:pt x="1712402" y="3985908"/>
                  </a:cubicBezTo>
                  <a:cubicBezTo>
                    <a:pt x="1708800" y="3982567"/>
                    <a:pt x="1705379" y="3979225"/>
                    <a:pt x="1701777" y="3975883"/>
                  </a:cubicBezTo>
                  <a:lnTo>
                    <a:pt x="1695475" y="3973878"/>
                  </a:lnTo>
                  <a:cubicBezTo>
                    <a:pt x="1694034" y="3971205"/>
                    <a:pt x="1692774" y="3968532"/>
                    <a:pt x="1691333" y="3965859"/>
                  </a:cubicBezTo>
                  <a:lnTo>
                    <a:pt x="1689172" y="3957839"/>
                  </a:lnTo>
                  <a:lnTo>
                    <a:pt x="1691333" y="3953829"/>
                  </a:lnTo>
                  <a:lnTo>
                    <a:pt x="1691333" y="3945809"/>
                  </a:lnTo>
                  <a:lnTo>
                    <a:pt x="1689172" y="3937789"/>
                  </a:lnTo>
                  <a:cubicBezTo>
                    <a:pt x="1688452" y="3934447"/>
                    <a:pt x="1687912" y="3931106"/>
                    <a:pt x="1687192" y="3927764"/>
                  </a:cubicBezTo>
                  <a:cubicBezTo>
                    <a:pt x="1687912" y="3925091"/>
                    <a:pt x="1688452" y="3922418"/>
                    <a:pt x="1689172" y="3919744"/>
                  </a:cubicBezTo>
                  <a:lnTo>
                    <a:pt x="1691333" y="3915734"/>
                  </a:lnTo>
                  <a:cubicBezTo>
                    <a:pt x="1694214" y="3913729"/>
                    <a:pt x="1696915" y="3911724"/>
                    <a:pt x="1699797" y="3909719"/>
                  </a:cubicBezTo>
                  <a:lnTo>
                    <a:pt x="1714382" y="3905709"/>
                  </a:lnTo>
                  <a:lnTo>
                    <a:pt x="1731309" y="3899694"/>
                  </a:lnTo>
                  <a:cubicBezTo>
                    <a:pt x="1732750" y="3899026"/>
                    <a:pt x="1734010" y="3898358"/>
                    <a:pt x="1735451" y="3897690"/>
                  </a:cubicBezTo>
                  <a:lnTo>
                    <a:pt x="1737612" y="3893680"/>
                  </a:lnTo>
                  <a:cubicBezTo>
                    <a:pt x="1740493" y="3889001"/>
                    <a:pt x="1743194" y="3884323"/>
                    <a:pt x="1746075" y="3879645"/>
                  </a:cubicBezTo>
                  <a:cubicBezTo>
                    <a:pt x="1746795" y="3874298"/>
                    <a:pt x="1747335" y="3868952"/>
                    <a:pt x="1748056" y="3863605"/>
                  </a:cubicBezTo>
                  <a:lnTo>
                    <a:pt x="1752377" y="3843555"/>
                  </a:lnTo>
                  <a:cubicBezTo>
                    <a:pt x="1753098" y="3836872"/>
                    <a:pt x="1753638" y="3830322"/>
                    <a:pt x="1754358" y="3823639"/>
                  </a:cubicBezTo>
                  <a:cubicBezTo>
                    <a:pt x="1753638" y="3816956"/>
                    <a:pt x="1753098" y="3810273"/>
                    <a:pt x="1752377" y="3803590"/>
                  </a:cubicBezTo>
                  <a:lnTo>
                    <a:pt x="1748056" y="3785545"/>
                  </a:lnTo>
                  <a:cubicBezTo>
                    <a:pt x="1747335" y="3781535"/>
                    <a:pt x="1746795" y="3777525"/>
                    <a:pt x="1746075" y="3773515"/>
                  </a:cubicBezTo>
                  <a:cubicBezTo>
                    <a:pt x="1743194" y="3769505"/>
                    <a:pt x="1740493" y="3765495"/>
                    <a:pt x="1737612" y="3761485"/>
                  </a:cubicBezTo>
                  <a:cubicBezTo>
                    <a:pt x="1734190" y="3756806"/>
                    <a:pt x="1730589" y="3752128"/>
                    <a:pt x="1727167" y="3747450"/>
                  </a:cubicBezTo>
                  <a:lnTo>
                    <a:pt x="1695475" y="3721385"/>
                  </a:lnTo>
                  <a:lnTo>
                    <a:pt x="1661802" y="3695321"/>
                  </a:lnTo>
                  <a:lnTo>
                    <a:pt x="1636592" y="3675271"/>
                  </a:lnTo>
                  <a:lnTo>
                    <a:pt x="1519948" y="3568035"/>
                  </a:lnTo>
                  <a:lnTo>
                    <a:pt x="1518826" y="3569070"/>
                  </a:lnTo>
                  <a:cubicBezTo>
                    <a:pt x="1516049" y="3566374"/>
                    <a:pt x="1513188" y="3563749"/>
                    <a:pt x="1510411" y="3561053"/>
                  </a:cubicBezTo>
                  <a:lnTo>
                    <a:pt x="1497790" y="3553037"/>
                  </a:lnTo>
                  <a:lnTo>
                    <a:pt x="1468339" y="3537005"/>
                  </a:lnTo>
                  <a:lnTo>
                    <a:pt x="1409437" y="3514942"/>
                  </a:lnTo>
                  <a:lnTo>
                    <a:pt x="1386297" y="3504939"/>
                  </a:lnTo>
                  <a:lnTo>
                    <a:pt x="1365260" y="3492950"/>
                  </a:lnTo>
                  <a:cubicBezTo>
                    <a:pt x="1364587" y="3490964"/>
                    <a:pt x="1363830" y="3488907"/>
                    <a:pt x="1363157" y="3486920"/>
                  </a:cubicBezTo>
                  <a:cubicBezTo>
                    <a:pt x="1362483" y="3485573"/>
                    <a:pt x="1361726" y="3484225"/>
                    <a:pt x="1361053" y="3482877"/>
                  </a:cubicBezTo>
                  <a:cubicBezTo>
                    <a:pt x="1360380" y="3480181"/>
                    <a:pt x="1359623" y="3477556"/>
                    <a:pt x="1358949" y="3474861"/>
                  </a:cubicBezTo>
                  <a:lnTo>
                    <a:pt x="1354742" y="3470888"/>
                  </a:lnTo>
                  <a:lnTo>
                    <a:pt x="1340017" y="3446839"/>
                  </a:lnTo>
                  <a:lnTo>
                    <a:pt x="1318980" y="3426763"/>
                  </a:lnTo>
                  <a:lnTo>
                    <a:pt x="1316877" y="3426763"/>
                  </a:lnTo>
                  <a:cubicBezTo>
                    <a:pt x="1314773" y="3425415"/>
                    <a:pt x="1312669" y="3424138"/>
                    <a:pt x="1310566" y="3422790"/>
                  </a:cubicBezTo>
                  <a:cubicBezTo>
                    <a:pt x="1307032" y="3420804"/>
                    <a:pt x="1303582" y="3418747"/>
                    <a:pt x="1300047" y="3416760"/>
                  </a:cubicBezTo>
                  <a:lnTo>
                    <a:pt x="1297944" y="3414774"/>
                  </a:lnTo>
                  <a:lnTo>
                    <a:pt x="1297944" y="3410730"/>
                  </a:lnTo>
                  <a:cubicBezTo>
                    <a:pt x="1298617" y="3408034"/>
                    <a:pt x="1299374" y="3405410"/>
                    <a:pt x="1300047" y="3402714"/>
                  </a:cubicBezTo>
                  <a:cubicBezTo>
                    <a:pt x="1302824" y="3400018"/>
                    <a:pt x="1305685" y="3397393"/>
                    <a:pt x="1308462" y="3394698"/>
                  </a:cubicBezTo>
                  <a:lnTo>
                    <a:pt x="1297944" y="3380722"/>
                  </a:lnTo>
                  <a:lnTo>
                    <a:pt x="1291633" y="3366676"/>
                  </a:lnTo>
                  <a:lnTo>
                    <a:pt x="1291633" y="3354616"/>
                  </a:lnTo>
                  <a:cubicBezTo>
                    <a:pt x="1293063" y="3351282"/>
                    <a:pt x="1294410" y="3347948"/>
                    <a:pt x="1295840" y="3344614"/>
                  </a:cubicBezTo>
                  <a:cubicBezTo>
                    <a:pt x="1297271" y="3341279"/>
                    <a:pt x="1298617" y="3337945"/>
                    <a:pt x="1300047" y="3334611"/>
                  </a:cubicBezTo>
                  <a:lnTo>
                    <a:pt x="1306358" y="3324608"/>
                  </a:lnTo>
                  <a:cubicBezTo>
                    <a:pt x="1307032" y="3322622"/>
                    <a:pt x="1307789" y="3320565"/>
                    <a:pt x="1308462" y="3318578"/>
                  </a:cubicBezTo>
                  <a:cubicBezTo>
                    <a:pt x="1307789" y="3315883"/>
                    <a:pt x="1307032" y="3313258"/>
                    <a:pt x="1306358" y="3310562"/>
                  </a:cubicBezTo>
                  <a:cubicBezTo>
                    <a:pt x="1304928" y="3307866"/>
                    <a:pt x="1303582" y="3305241"/>
                    <a:pt x="1302151" y="3302546"/>
                  </a:cubicBezTo>
                  <a:cubicBezTo>
                    <a:pt x="1300047" y="3299850"/>
                    <a:pt x="1297944" y="3297225"/>
                    <a:pt x="1295840" y="3294529"/>
                  </a:cubicBezTo>
                  <a:lnTo>
                    <a:pt x="1295840" y="3290486"/>
                  </a:lnTo>
                  <a:cubicBezTo>
                    <a:pt x="1294410" y="3289847"/>
                    <a:pt x="1293063" y="3289138"/>
                    <a:pt x="1291633" y="3288499"/>
                  </a:cubicBezTo>
                  <a:cubicBezTo>
                    <a:pt x="1293737" y="3285804"/>
                    <a:pt x="1295840" y="3283179"/>
                    <a:pt x="1297944" y="3280483"/>
                  </a:cubicBezTo>
                  <a:cubicBezTo>
                    <a:pt x="1299374" y="3277787"/>
                    <a:pt x="1300721" y="3275163"/>
                    <a:pt x="1302151" y="3272467"/>
                  </a:cubicBezTo>
                  <a:cubicBezTo>
                    <a:pt x="1303582" y="3269133"/>
                    <a:pt x="1304928" y="3265798"/>
                    <a:pt x="1306358" y="3262464"/>
                  </a:cubicBezTo>
                  <a:lnTo>
                    <a:pt x="1306358" y="3258421"/>
                  </a:lnTo>
                  <a:cubicBezTo>
                    <a:pt x="1304928" y="3256434"/>
                    <a:pt x="1303582" y="3254448"/>
                    <a:pt x="1302151" y="3252462"/>
                  </a:cubicBezTo>
                  <a:cubicBezTo>
                    <a:pt x="1302169" y="3251772"/>
                    <a:pt x="1302186" y="3251082"/>
                    <a:pt x="1302205" y="3250392"/>
                  </a:cubicBezTo>
                  <a:cubicBezTo>
                    <a:pt x="1302187" y="3250408"/>
                    <a:pt x="1302169" y="3250423"/>
                    <a:pt x="1302151" y="3250439"/>
                  </a:cubicBezTo>
                  <a:lnTo>
                    <a:pt x="1270596" y="3222383"/>
                  </a:lnTo>
                  <a:lnTo>
                    <a:pt x="1268493" y="3218375"/>
                  </a:lnTo>
                  <a:lnTo>
                    <a:pt x="1264285" y="3218375"/>
                  </a:lnTo>
                  <a:lnTo>
                    <a:pt x="1257974" y="3220379"/>
                  </a:lnTo>
                  <a:lnTo>
                    <a:pt x="1253767" y="3222383"/>
                  </a:lnTo>
                  <a:lnTo>
                    <a:pt x="1245353" y="3222383"/>
                  </a:lnTo>
                  <a:lnTo>
                    <a:pt x="1228523" y="3220379"/>
                  </a:lnTo>
                  <a:lnTo>
                    <a:pt x="1207487" y="3218375"/>
                  </a:lnTo>
                  <a:lnTo>
                    <a:pt x="1201176" y="3218375"/>
                  </a:lnTo>
                  <a:lnTo>
                    <a:pt x="1192761" y="3220379"/>
                  </a:lnTo>
                  <a:lnTo>
                    <a:pt x="1190658" y="3226391"/>
                  </a:lnTo>
                  <a:lnTo>
                    <a:pt x="1192761" y="3236411"/>
                  </a:lnTo>
                  <a:lnTo>
                    <a:pt x="1182243" y="3236411"/>
                  </a:lnTo>
                  <a:lnTo>
                    <a:pt x="1175932" y="3230399"/>
                  </a:lnTo>
                  <a:lnTo>
                    <a:pt x="1171725" y="3222383"/>
                  </a:lnTo>
                  <a:lnTo>
                    <a:pt x="1169621" y="3216371"/>
                  </a:lnTo>
                  <a:lnTo>
                    <a:pt x="1161207" y="3196332"/>
                  </a:lnTo>
                  <a:lnTo>
                    <a:pt x="1159103" y="3186312"/>
                  </a:lnTo>
                  <a:lnTo>
                    <a:pt x="1150689" y="3180300"/>
                  </a:lnTo>
                  <a:lnTo>
                    <a:pt x="1142274" y="3172284"/>
                  </a:lnTo>
                  <a:lnTo>
                    <a:pt x="1138067" y="3166272"/>
                  </a:lnTo>
                  <a:lnTo>
                    <a:pt x="1133859" y="3156253"/>
                  </a:lnTo>
                  <a:lnTo>
                    <a:pt x="1133859" y="3144229"/>
                  </a:lnTo>
                  <a:lnTo>
                    <a:pt x="1138067" y="3130201"/>
                  </a:lnTo>
                  <a:lnTo>
                    <a:pt x="1142274" y="3126193"/>
                  </a:lnTo>
                  <a:lnTo>
                    <a:pt x="1148585" y="3124189"/>
                  </a:lnTo>
                  <a:lnTo>
                    <a:pt x="1154896" y="3118177"/>
                  </a:lnTo>
                  <a:lnTo>
                    <a:pt x="1161207" y="3110161"/>
                  </a:lnTo>
                  <a:lnTo>
                    <a:pt x="1163310" y="3106153"/>
                  </a:lnTo>
                  <a:lnTo>
                    <a:pt x="1161207" y="3090122"/>
                  </a:lnTo>
                  <a:lnTo>
                    <a:pt x="1159103" y="3076094"/>
                  </a:lnTo>
                  <a:lnTo>
                    <a:pt x="1159103" y="3068078"/>
                  </a:lnTo>
                  <a:lnTo>
                    <a:pt x="1159103" y="3060062"/>
                  </a:lnTo>
                  <a:lnTo>
                    <a:pt x="1161207" y="3056054"/>
                  </a:lnTo>
                  <a:lnTo>
                    <a:pt x="1159103" y="3050042"/>
                  </a:lnTo>
                  <a:lnTo>
                    <a:pt x="1154896" y="3048038"/>
                  </a:lnTo>
                  <a:lnTo>
                    <a:pt x="1150689" y="3046035"/>
                  </a:lnTo>
                  <a:lnTo>
                    <a:pt x="1140170" y="3044031"/>
                  </a:lnTo>
                  <a:lnTo>
                    <a:pt x="1133859" y="3040023"/>
                  </a:lnTo>
                  <a:lnTo>
                    <a:pt x="1131756" y="3038019"/>
                  </a:lnTo>
                  <a:lnTo>
                    <a:pt x="1127548" y="3030003"/>
                  </a:lnTo>
                  <a:lnTo>
                    <a:pt x="1123341" y="3023991"/>
                  </a:lnTo>
                  <a:lnTo>
                    <a:pt x="1127548" y="3015975"/>
                  </a:lnTo>
                  <a:lnTo>
                    <a:pt x="1127548" y="3007959"/>
                  </a:lnTo>
                  <a:lnTo>
                    <a:pt x="1121238" y="2989924"/>
                  </a:lnTo>
                  <a:lnTo>
                    <a:pt x="1119134" y="2983912"/>
                  </a:lnTo>
                  <a:lnTo>
                    <a:pt x="1119134" y="2975896"/>
                  </a:lnTo>
                  <a:lnTo>
                    <a:pt x="1119133" y="2975897"/>
                  </a:lnTo>
                  <a:lnTo>
                    <a:pt x="1119133" y="2965877"/>
                  </a:lnTo>
                  <a:lnTo>
                    <a:pt x="1112822" y="2955857"/>
                  </a:lnTo>
                  <a:lnTo>
                    <a:pt x="1106511" y="2949845"/>
                  </a:lnTo>
                  <a:lnTo>
                    <a:pt x="1095993" y="2945837"/>
                  </a:lnTo>
                  <a:lnTo>
                    <a:pt x="1074956" y="2935817"/>
                  </a:lnTo>
                  <a:lnTo>
                    <a:pt x="1066542" y="2929806"/>
                  </a:lnTo>
                  <a:lnTo>
                    <a:pt x="1064438" y="2923794"/>
                  </a:lnTo>
                  <a:lnTo>
                    <a:pt x="1064438" y="2815579"/>
                  </a:lnTo>
                  <a:lnTo>
                    <a:pt x="1064438" y="2763476"/>
                  </a:lnTo>
                  <a:cubicBezTo>
                    <a:pt x="1065139" y="2744772"/>
                    <a:pt x="1065841" y="2726069"/>
                    <a:pt x="1066542" y="2707365"/>
                  </a:cubicBezTo>
                  <a:lnTo>
                    <a:pt x="1070749" y="2697345"/>
                  </a:lnTo>
                  <a:lnTo>
                    <a:pt x="1077060" y="2687326"/>
                  </a:lnTo>
                  <a:lnTo>
                    <a:pt x="1074956" y="2683318"/>
                  </a:lnTo>
                  <a:lnTo>
                    <a:pt x="1070749" y="2681314"/>
                  </a:lnTo>
                  <a:lnTo>
                    <a:pt x="1066542" y="2677306"/>
                  </a:lnTo>
                  <a:lnTo>
                    <a:pt x="1058127" y="2675302"/>
                  </a:lnTo>
                  <a:lnTo>
                    <a:pt x="1053920" y="2671294"/>
                  </a:lnTo>
                  <a:lnTo>
                    <a:pt x="1049713" y="2657266"/>
                  </a:lnTo>
                  <a:lnTo>
                    <a:pt x="1053920" y="2645242"/>
                  </a:lnTo>
                  <a:lnTo>
                    <a:pt x="1058127" y="2633218"/>
                  </a:lnTo>
                  <a:lnTo>
                    <a:pt x="1058127" y="2623199"/>
                  </a:lnTo>
                  <a:lnTo>
                    <a:pt x="1058127" y="2613179"/>
                  </a:lnTo>
                  <a:lnTo>
                    <a:pt x="1056023" y="2601155"/>
                  </a:lnTo>
                  <a:lnTo>
                    <a:pt x="1049713" y="2577107"/>
                  </a:lnTo>
                  <a:lnTo>
                    <a:pt x="1047609" y="2565084"/>
                  </a:lnTo>
                  <a:lnTo>
                    <a:pt x="1049713" y="2555064"/>
                  </a:lnTo>
                  <a:lnTo>
                    <a:pt x="1053920" y="2547048"/>
                  </a:lnTo>
                  <a:lnTo>
                    <a:pt x="1060231" y="2543040"/>
                  </a:lnTo>
                  <a:lnTo>
                    <a:pt x="1058389" y="2529007"/>
                  </a:lnTo>
                  <a:lnTo>
                    <a:pt x="1056029" y="2529007"/>
                  </a:lnTo>
                  <a:lnTo>
                    <a:pt x="1049713" y="2535024"/>
                  </a:lnTo>
                  <a:lnTo>
                    <a:pt x="1049713" y="2533020"/>
                  </a:lnTo>
                  <a:lnTo>
                    <a:pt x="1049713" y="2529007"/>
                  </a:lnTo>
                  <a:lnTo>
                    <a:pt x="904562" y="2529007"/>
                  </a:lnTo>
                  <a:lnTo>
                    <a:pt x="904562" y="2129394"/>
                  </a:lnTo>
                  <a:lnTo>
                    <a:pt x="889837" y="2130219"/>
                  </a:lnTo>
                  <a:lnTo>
                    <a:pt x="868800" y="2132223"/>
                  </a:lnTo>
                  <a:lnTo>
                    <a:pt x="841453" y="2130219"/>
                  </a:lnTo>
                  <a:lnTo>
                    <a:pt x="816209" y="2132223"/>
                  </a:lnTo>
                  <a:lnTo>
                    <a:pt x="793069" y="2140239"/>
                  </a:lnTo>
                  <a:lnTo>
                    <a:pt x="769929" y="2150258"/>
                  </a:lnTo>
                  <a:lnTo>
                    <a:pt x="748892" y="2162282"/>
                  </a:lnTo>
                  <a:lnTo>
                    <a:pt x="738374" y="2164286"/>
                  </a:lnTo>
                  <a:lnTo>
                    <a:pt x="732063" y="2164286"/>
                  </a:lnTo>
                  <a:lnTo>
                    <a:pt x="725752" y="2162282"/>
                  </a:lnTo>
                  <a:lnTo>
                    <a:pt x="704716" y="2152262"/>
                  </a:lnTo>
                  <a:lnTo>
                    <a:pt x="692094" y="2150258"/>
                  </a:lnTo>
                  <a:lnTo>
                    <a:pt x="677369" y="2150258"/>
                  </a:lnTo>
                  <a:lnTo>
                    <a:pt x="677369" y="2140239"/>
                  </a:lnTo>
                  <a:lnTo>
                    <a:pt x="675265" y="2128215"/>
                  </a:lnTo>
                  <a:lnTo>
                    <a:pt x="664747" y="2104167"/>
                  </a:lnTo>
                  <a:lnTo>
                    <a:pt x="643710" y="2062084"/>
                  </a:lnTo>
                  <a:lnTo>
                    <a:pt x="639503" y="2060080"/>
                  </a:lnTo>
                  <a:lnTo>
                    <a:pt x="633192" y="2056072"/>
                  </a:lnTo>
                  <a:lnTo>
                    <a:pt x="635296" y="2050060"/>
                  </a:lnTo>
                  <a:lnTo>
                    <a:pt x="635296" y="2042044"/>
                  </a:lnTo>
                  <a:lnTo>
                    <a:pt x="624777" y="2028016"/>
                  </a:lnTo>
                  <a:lnTo>
                    <a:pt x="612156" y="2009980"/>
                  </a:lnTo>
                  <a:lnTo>
                    <a:pt x="591119" y="1967897"/>
                  </a:lnTo>
                  <a:lnTo>
                    <a:pt x="570083" y="1925813"/>
                  </a:lnTo>
                  <a:lnTo>
                    <a:pt x="561668" y="1909781"/>
                  </a:lnTo>
                  <a:lnTo>
                    <a:pt x="555357" y="1897757"/>
                  </a:lnTo>
                  <a:lnTo>
                    <a:pt x="544839" y="1887738"/>
                  </a:lnTo>
                  <a:lnTo>
                    <a:pt x="530114" y="1879722"/>
                  </a:lnTo>
                  <a:lnTo>
                    <a:pt x="517492" y="1877718"/>
                  </a:lnTo>
                  <a:lnTo>
                    <a:pt x="502766" y="1877718"/>
                  </a:lnTo>
                  <a:lnTo>
                    <a:pt x="488041" y="1877718"/>
                  </a:lnTo>
                  <a:lnTo>
                    <a:pt x="481730" y="1875714"/>
                  </a:lnTo>
                  <a:lnTo>
                    <a:pt x="473315" y="1873710"/>
                  </a:lnTo>
                  <a:lnTo>
                    <a:pt x="473315" y="1857678"/>
                  </a:lnTo>
                  <a:lnTo>
                    <a:pt x="471212" y="1847658"/>
                  </a:lnTo>
                  <a:lnTo>
                    <a:pt x="462797" y="1829622"/>
                  </a:lnTo>
                  <a:lnTo>
                    <a:pt x="462797" y="1823611"/>
                  </a:lnTo>
                  <a:lnTo>
                    <a:pt x="467004" y="1817599"/>
                  </a:lnTo>
                  <a:lnTo>
                    <a:pt x="481730" y="1815595"/>
                  </a:lnTo>
                  <a:lnTo>
                    <a:pt x="491767" y="1801335"/>
                  </a:lnTo>
                  <a:lnTo>
                    <a:pt x="486799" y="1797561"/>
                  </a:lnTo>
                  <a:lnTo>
                    <a:pt x="476248" y="1787541"/>
                  </a:lnTo>
                  <a:lnTo>
                    <a:pt x="465697" y="1779525"/>
                  </a:lnTo>
                  <a:lnTo>
                    <a:pt x="463587" y="1775517"/>
                  </a:lnTo>
                  <a:lnTo>
                    <a:pt x="463587" y="1769505"/>
                  </a:lnTo>
                  <a:lnTo>
                    <a:pt x="463587" y="1757481"/>
                  </a:lnTo>
                  <a:lnTo>
                    <a:pt x="465697" y="1747461"/>
                  </a:lnTo>
                  <a:lnTo>
                    <a:pt x="463587" y="1737442"/>
                  </a:lnTo>
                  <a:lnTo>
                    <a:pt x="455146" y="1735438"/>
                  </a:lnTo>
                  <a:lnTo>
                    <a:pt x="438265" y="1729426"/>
                  </a:lnTo>
                  <a:lnTo>
                    <a:pt x="423494" y="1723414"/>
                  </a:lnTo>
                  <a:lnTo>
                    <a:pt x="415054" y="1717402"/>
                  </a:lnTo>
                  <a:lnTo>
                    <a:pt x="412943" y="1715398"/>
                  </a:lnTo>
                  <a:lnTo>
                    <a:pt x="406613" y="1699366"/>
                  </a:lnTo>
                  <a:lnTo>
                    <a:pt x="404503" y="1677323"/>
                  </a:lnTo>
                  <a:lnTo>
                    <a:pt x="404503" y="1657283"/>
                  </a:lnTo>
                  <a:lnTo>
                    <a:pt x="406613" y="1643255"/>
                  </a:lnTo>
                  <a:lnTo>
                    <a:pt x="410833" y="1637243"/>
                  </a:lnTo>
                  <a:lnTo>
                    <a:pt x="415054" y="1635239"/>
                  </a:lnTo>
                  <a:lnTo>
                    <a:pt x="421384" y="1631231"/>
                  </a:lnTo>
                  <a:lnTo>
                    <a:pt x="421384" y="1621212"/>
                  </a:lnTo>
                  <a:lnTo>
                    <a:pt x="417164" y="1613196"/>
                  </a:lnTo>
                  <a:lnTo>
                    <a:pt x="406613" y="1605180"/>
                  </a:lnTo>
                  <a:lnTo>
                    <a:pt x="391842" y="1593156"/>
                  </a:lnTo>
                  <a:lnTo>
                    <a:pt x="374961" y="1587144"/>
                  </a:lnTo>
                  <a:lnTo>
                    <a:pt x="355969" y="1585140"/>
                  </a:lnTo>
                  <a:lnTo>
                    <a:pt x="317987" y="1581132"/>
                  </a:lnTo>
                  <a:lnTo>
                    <a:pt x="296885" y="1577124"/>
                  </a:lnTo>
                  <a:lnTo>
                    <a:pt x="277894" y="1571112"/>
                  </a:lnTo>
                  <a:lnTo>
                    <a:pt x="263123" y="1561093"/>
                  </a:lnTo>
                  <a:lnTo>
                    <a:pt x="246242" y="1545061"/>
                  </a:lnTo>
                  <a:lnTo>
                    <a:pt x="229361" y="1533037"/>
                  </a:lnTo>
                  <a:lnTo>
                    <a:pt x="220920" y="1523017"/>
                  </a:lnTo>
                  <a:lnTo>
                    <a:pt x="212479" y="1515001"/>
                  </a:lnTo>
                  <a:lnTo>
                    <a:pt x="210369" y="1504982"/>
                  </a:lnTo>
                  <a:lnTo>
                    <a:pt x="208259" y="1494962"/>
                  </a:lnTo>
                  <a:lnTo>
                    <a:pt x="210369" y="1486946"/>
                  </a:lnTo>
                  <a:lnTo>
                    <a:pt x="218810" y="1476926"/>
                  </a:lnTo>
                  <a:lnTo>
                    <a:pt x="223030" y="1472918"/>
                  </a:lnTo>
                  <a:lnTo>
                    <a:pt x="223030" y="1464902"/>
                  </a:lnTo>
                  <a:lnTo>
                    <a:pt x="214590" y="1450874"/>
                  </a:lnTo>
                  <a:lnTo>
                    <a:pt x="212479" y="1444863"/>
                  </a:lnTo>
                  <a:lnTo>
                    <a:pt x="214590" y="1442859"/>
                  </a:lnTo>
                  <a:lnTo>
                    <a:pt x="220920" y="1442859"/>
                  </a:lnTo>
                  <a:lnTo>
                    <a:pt x="235691" y="1444863"/>
                  </a:lnTo>
                  <a:lnTo>
                    <a:pt x="242685" y="1444830"/>
                  </a:lnTo>
                  <a:lnTo>
                    <a:pt x="239592" y="1442715"/>
                  </a:lnTo>
                  <a:cubicBezTo>
                    <a:pt x="239947" y="1442060"/>
                    <a:pt x="240302" y="1441409"/>
                    <a:pt x="240798" y="1440839"/>
                  </a:cubicBezTo>
                  <a:lnTo>
                    <a:pt x="237706" y="1440853"/>
                  </a:lnTo>
                  <a:cubicBezTo>
                    <a:pt x="239038" y="1420162"/>
                    <a:pt x="240519" y="1399437"/>
                    <a:pt x="241926" y="1378746"/>
                  </a:cubicBezTo>
                  <a:lnTo>
                    <a:pt x="241926" y="1346677"/>
                  </a:lnTo>
                  <a:cubicBezTo>
                    <a:pt x="240519" y="1336664"/>
                    <a:pt x="239038" y="1326618"/>
                    <a:pt x="237706" y="1316605"/>
                  </a:cubicBezTo>
                  <a:lnTo>
                    <a:pt x="237706" y="1314609"/>
                  </a:lnTo>
                  <a:lnTo>
                    <a:pt x="237706" y="1300571"/>
                  </a:lnTo>
                  <a:lnTo>
                    <a:pt x="237706" y="1290558"/>
                  </a:lnTo>
                  <a:lnTo>
                    <a:pt x="237706" y="1288562"/>
                  </a:lnTo>
                  <a:cubicBezTo>
                    <a:pt x="237039" y="1287897"/>
                    <a:pt x="236225" y="1287198"/>
                    <a:pt x="235558" y="1286533"/>
                  </a:cubicBezTo>
                  <a:cubicBezTo>
                    <a:pt x="234225" y="1285867"/>
                    <a:pt x="232744" y="1285202"/>
                    <a:pt x="231412" y="1284537"/>
                  </a:cubicBezTo>
                  <a:lnTo>
                    <a:pt x="223044" y="1284537"/>
                  </a:lnTo>
                  <a:lnTo>
                    <a:pt x="132485" y="1284537"/>
                  </a:lnTo>
                  <a:lnTo>
                    <a:pt x="132485" y="1226421"/>
                  </a:lnTo>
                  <a:lnTo>
                    <a:pt x="130486" y="1194353"/>
                  </a:lnTo>
                  <a:cubicBezTo>
                    <a:pt x="129745" y="1191026"/>
                    <a:pt x="128931" y="1187667"/>
                    <a:pt x="128264" y="1184340"/>
                  </a:cubicBezTo>
                  <a:cubicBezTo>
                    <a:pt x="127598" y="1182344"/>
                    <a:pt x="126858" y="1180315"/>
                    <a:pt x="126191" y="1178319"/>
                  </a:cubicBezTo>
                  <a:lnTo>
                    <a:pt x="122045" y="1178319"/>
                  </a:lnTo>
                  <a:lnTo>
                    <a:pt x="117750" y="1176323"/>
                  </a:lnTo>
                  <a:lnTo>
                    <a:pt x="117750" y="1174327"/>
                  </a:lnTo>
                  <a:lnTo>
                    <a:pt x="117750" y="1164314"/>
                  </a:lnTo>
                  <a:lnTo>
                    <a:pt x="117750" y="1158293"/>
                  </a:lnTo>
                  <a:lnTo>
                    <a:pt x="115751" y="1154301"/>
                  </a:lnTo>
                  <a:cubicBezTo>
                    <a:pt x="114270" y="1153636"/>
                    <a:pt x="112937" y="1152937"/>
                    <a:pt x="111456" y="1152272"/>
                  </a:cubicBezTo>
                  <a:lnTo>
                    <a:pt x="105162" y="1148280"/>
                  </a:lnTo>
                  <a:lnTo>
                    <a:pt x="100941" y="1148280"/>
                  </a:lnTo>
                  <a:cubicBezTo>
                    <a:pt x="100201" y="1146949"/>
                    <a:pt x="99534" y="1145585"/>
                    <a:pt x="98868" y="1144255"/>
                  </a:cubicBezTo>
                  <a:lnTo>
                    <a:pt x="98868" y="1134242"/>
                  </a:lnTo>
                  <a:lnTo>
                    <a:pt x="98868" y="1112205"/>
                  </a:lnTo>
                  <a:lnTo>
                    <a:pt x="96768" y="1112205"/>
                  </a:lnTo>
                  <a:lnTo>
                    <a:pt x="84146" y="1076133"/>
                  </a:lnTo>
                  <a:lnTo>
                    <a:pt x="82042" y="1056094"/>
                  </a:lnTo>
                  <a:lnTo>
                    <a:pt x="84146" y="1046074"/>
                  </a:lnTo>
                  <a:lnTo>
                    <a:pt x="86250" y="1036054"/>
                  </a:lnTo>
                  <a:lnTo>
                    <a:pt x="96768" y="1018018"/>
                  </a:lnTo>
                  <a:lnTo>
                    <a:pt x="103079" y="1003990"/>
                  </a:lnTo>
                  <a:lnTo>
                    <a:pt x="103079" y="995974"/>
                  </a:lnTo>
                  <a:lnTo>
                    <a:pt x="103079" y="987959"/>
                  </a:lnTo>
                  <a:lnTo>
                    <a:pt x="92561" y="965915"/>
                  </a:lnTo>
                  <a:lnTo>
                    <a:pt x="73628" y="903792"/>
                  </a:lnTo>
                  <a:lnTo>
                    <a:pt x="67317" y="869724"/>
                  </a:lnTo>
                  <a:lnTo>
                    <a:pt x="63110" y="837661"/>
                  </a:lnTo>
                  <a:lnTo>
                    <a:pt x="63110" y="823633"/>
                  </a:lnTo>
                  <a:lnTo>
                    <a:pt x="65213" y="807601"/>
                  </a:lnTo>
                  <a:lnTo>
                    <a:pt x="65213" y="781549"/>
                  </a:lnTo>
                  <a:lnTo>
                    <a:pt x="63110" y="767522"/>
                  </a:lnTo>
                  <a:lnTo>
                    <a:pt x="56799" y="757502"/>
                  </a:lnTo>
                  <a:lnTo>
                    <a:pt x="46281" y="747482"/>
                  </a:lnTo>
                  <a:lnTo>
                    <a:pt x="29452" y="741470"/>
                  </a:lnTo>
                  <a:lnTo>
                    <a:pt x="27348" y="733454"/>
                  </a:lnTo>
                  <a:lnTo>
                    <a:pt x="29452" y="725438"/>
                  </a:lnTo>
                  <a:lnTo>
                    <a:pt x="31555" y="717422"/>
                  </a:lnTo>
                  <a:lnTo>
                    <a:pt x="39970" y="711410"/>
                  </a:lnTo>
                  <a:lnTo>
                    <a:pt x="46281" y="705398"/>
                  </a:lnTo>
                  <a:lnTo>
                    <a:pt x="52880" y="703827"/>
                  </a:lnTo>
                  <a:cubicBezTo>
                    <a:pt x="52800" y="703670"/>
                    <a:pt x="52719" y="703514"/>
                    <a:pt x="52638" y="703357"/>
                  </a:cubicBezTo>
                  <a:lnTo>
                    <a:pt x="44132" y="705433"/>
                  </a:lnTo>
                  <a:lnTo>
                    <a:pt x="37845" y="711439"/>
                  </a:lnTo>
                  <a:cubicBezTo>
                    <a:pt x="35010" y="713441"/>
                    <a:pt x="32298" y="715443"/>
                    <a:pt x="29462" y="717445"/>
                  </a:cubicBezTo>
                  <a:cubicBezTo>
                    <a:pt x="28723" y="720115"/>
                    <a:pt x="28106" y="722784"/>
                    <a:pt x="27367" y="725453"/>
                  </a:cubicBezTo>
                  <a:cubicBezTo>
                    <a:pt x="26627" y="728122"/>
                    <a:pt x="26011" y="730792"/>
                    <a:pt x="25271" y="733461"/>
                  </a:cubicBezTo>
                  <a:cubicBezTo>
                    <a:pt x="26011" y="736130"/>
                    <a:pt x="26627" y="738800"/>
                    <a:pt x="27367" y="741469"/>
                  </a:cubicBezTo>
                  <a:lnTo>
                    <a:pt x="16888" y="737465"/>
                  </a:lnTo>
                  <a:cubicBezTo>
                    <a:pt x="14793" y="736130"/>
                    <a:pt x="12574" y="734796"/>
                    <a:pt x="10478" y="733461"/>
                  </a:cubicBezTo>
                  <a:cubicBezTo>
                    <a:pt x="9122" y="731459"/>
                    <a:pt x="7643" y="729457"/>
                    <a:pt x="6287" y="727455"/>
                  </a:cubicBezTo>
                  <a:cubicBezTo>
                    <a:pt x="5547" y="725453"/>
                    <a:pt x="4931" y="723451"/>
                    <a:pt x="4191" y="721449"/>
                  </a:cubicBezTo>
                  <a:cubicBezTo>
                    <a:pt x="2835" y="718780"/>
                    <a:pt x="1356" y="716111"/>
                    <a:pt x="0" y="713441"/>
                  </a:cubicBezTo>
                  <a:cubicBezTo>
                    <a:pt x="1356" y="710772"/>
                    <a:pt x="2835" y="708103"/>
                    <a:pt x="4191" y="705433"/>
                  </a:cubicBezTo>
                  <a:cubicBezTo>
                    <a:pt x="5547" y="700762"/>
                    <a:pt x="7027" y="696017"/>
                    <a:pt x="8383" y="691346"/>
                  </a:cubicBezTo>
                  <a:lnTo>
                    <a:pt x="16888" y="673328"/>
                  </a:lnTo>
                  <a:cubicBezTo>
                    <a:pt x="20340" y="667989"/>
                    <a:pt x="23915" y="662651"/>
                    <a:pt x="27367" y="657312"/>
                  </a:cubicBezTo>
                  <a:lnTo>
                    <a:pt x="44132" y="637292"/>
                  </a:lnTo>
                  <a:cubicBezTo>
                    <a:pt x="46227" y="635290"/>
                    <a:pt x="48446" y="633288"/>
                    <a:pt x="50542" y="631287"/>
                  </a:cubicBezTo>
                  <a:cubicBezTo>
                    <a:pt x="51282" y="629285"/>
                    <a:pt x="51898" y="627208"/>
                    <a:pt x="52638" y="625206"/>
                  </a:cubicBezTo>
                  <a:lnTo>
                    <a:pt x="52638" y="623205"/>
                  </a:lnTo>
                  <a:lnTo>
                    <a:pt x="63116" y="621203"/>
                  </a:lnTo>
                  <a:lnTo>
                    <a:pt x="75690" y="617199"/>
                  </a:lnTo>
                  <a:lnTo>
                    <a:pt x="86291" y="611193"/>
                  </a:lnTo>
                  <a:lnTo>
                    <a:pt x="100961" y="599181"/>
                  </a:lnTo>
                  <a:lnTo>
                    <a:pt x="107248" y="595177"/>
                  </a:lnTo>
                  <a:lnTo>
                    <a:pt x="113658" y="595177"/>
                  </a:lnTo>
                  <a:cubicBezTo>
                    <a:pt x="115014" y="596512"/>
                    <a:pt x="116493" y="597846"/>
                    <a:pt x="117849" y="599181"/>
                  </a:cubicBezTo>
                  <a:lnTo>
                    <a:pt x="136710" y="579161"/>
                  </a:lnTo>
                  <a:cubicBezTo>
                    <a:pt x="140285" y="575825"/>
                    <a:pt x="143736" y="572488"/>
                    <a:pt x="147311" y="569151"/>
                  </a:cubicBezTo>
                  <a:lnTo>
                    <a:pt x="153598" y="559142"/>
                  </a:lnTo>
                  <a:cubicBezTo>
                    <a:pt x="154954" y="556472"/>
                    <a:pt x="156434" y="553729"/>
                    <a:pt x="157790" y="551060"/>
                  </a:cubicBezTo>
                  <a:lnTo>
                    <a:pt x="164077" y="549058"/>
                  </a:lnTo>
                  <a:lnTo>
                    <a:pt x="176650" y="543052"/>
                  </a:lnTo>
                  <a:lnTo>
                    <a:pt x="185156" y="541050"/>
                  </a:lnTo>
                  <a:cubicBezTo>
                    <a:pt x="186512" y="540382"/>
                    <a:pt x="187992" y="539715"/>
                    <a:pt x="189348" y="539048"/>
                  </a:cubicBezTo>
                  <a:lnTo>
                    <a:pt x="195634" y="533042"/>
                  </a:lnTo>
                  <a:cubicBezTo>
                    <a:pt x="196374" y="530373"/>
                    <a:pt x="196991" y="527703"/>
                    <a:pt x="197730" y="525034"/>
                  </a:cubicBezTo>
                  <a:cubicBezTo>
                    <a:pt x="199086" y="523699"/>
                    <a:pt x="200565" y="522365"/>
                    <a:pt x="201921" y="521030"/>
                  </a:cubicBezTo>
                  <a:cubicBezTo>
                    <a:pt x="205496" y="517693"/>
                    <a:pt x="208948" y="514357"/>
                    <a:pt x="212523" y="511020"/>
                  </a:cubicBezTo>
                  <a:lnTo>
                    <a:pt x="233480" y="495005"/>
                  </a:lnTo>
                  <a:lnTo>
                    <a:pt x="250368" y="491001"/>
                  </a:lnTo>
                  <a:lnTo>
                    <a:pt x="260846" y="488999"/>
                  </a:lnTo>
                  <a:lnTo>
                    <a:pt x="260846" y="484995"/>
                  </a:lnTo>
                  <a:lnTo>
                    <a:pt x="260846" y="480917"/>
                  </a:lnTo>
                  <a:cubicBezTo>
                    <a:pt x="258011" y="474911"/>
                    <a:pt x="255299" y="468905"/>
                    <a:pt x="252464" y="462899"/>
                  </a:cubicBezTo>
                  <a:cubicBezTo>
                    <a:pt x="246177" y="451554"/>
                    <a:pt x="239766" y="440210"/>
                    <a:pt x="233480" y="428866"/>
                  </a:cubicBezTo>
                  <a:cubicBezTo>
                    <a:pt x="232124" y="424194"/>
                    <a:pt x="230644" y="419523"/>
                    <a:pt x="229288" y="414852"/>
                  </a:cubicBezTo>
                  <a:cubicBezTo>
                    <a:pt x="228549" y="411515"/>
                    <a:pt x="227932" y="408104"/>
                    <a:pt x="227193" y="404768"/>
                  </a:cubicBezTo>
                  <a:lnTo>
                    <a:pt x="227193" y="398762"/>
                  </a:lnTo>
                  <a:cubicBezTo>
                    <a:pt x="227932" y="398095"/>
                    <a:pt x="228549" y="397427"/>
                    <a:pt x="229288" y="396760"/>
                  </a:cubicBezTo>
                  <a:lnTo>
                    <a:pt x="231384" y="396760"/>
                  </a:lnTo>
                  <a:lnTo>
                    <a:pt x="239766" y="392756"/>
                  </a:lnTo>
                  <a:cubicBezTo>
                    <a:pt x="240506" y="392089"/>
                    <a:pt x="241122" y="391421"/>
                    <a:pt x="241862" y="390754"/>
                  </a:cubicBezTo>
                  <a:lnTo>
                    <a:pt x="244081" y="388752"/>
                  </a:lnTo>
                  <a:lnTo>
                    <a:pt x="244081" y="382746"/>
                  </a:lnTo>
                  <a:lnTo>
                    <a:pt x="244081" y="372736"/>
                  </a:lnTo>
                  <a:lnTo>
                    <a:pt x="244081" y="362726"/>
                  </a:lnTo>
                  <a:lnTo>
                    <a:pt x="250368" y="356721"/>
                  </a:lnTo>
                  <a:cubicBezTo>
                    <a:pt x="251108" y="354719"/>
                    <a:pt x="251724" y="352717"/>
                    <a:pt x="252464" y="350715"/>
                  </a:cubicBezTo>
                  <a:lnTo>
                    <a:pt x="262942" y="342707"/>
                  </a:lnTo>
                  <a:lnTo>
                    <a:pt x="273420" y="338703"/>
                  </a:lnTo>
                  <a:cubicBezTo>
                    <a:pt x="276995" y="335366"/>
                    <a:pt x="280447" y="331956"/>
                    <a:pt x="284022" y="328619"/>
                  </a:cubicBezTo>
                  <a:lnTo>
                    <a:pt x="290308" y="318609"/>
                  </a:lnTo>
                  <a:cubicBezTo>
                    <a:pt x="291048" y="313270"/>
                    <a:pt x="291664" y="307932"/>
                    <a:pt x="292404" y="302593"/>
                  </a:cubicBezTo>
                  <a:cubicBezTo>
                    <a:pt x="295239" y="294585"/>
                    <a:pt x="297951" y="286578"/>
                    <a:pt x="300787" y="278570"/>
                  </a:cubicBezTo>
                  <a:cubicBezTo>
                    <a:pt x="304362" y="269227"/>
                    <a:pt x="307813" y="259811"/>
                    <a:pt x="311388" y="250468"/>
                  </a:cubicBezTo>
                  <a:cubicBezTo>
                    <a:pt x="312744" y="245797"/>
                    <a:pt x="314223" y="241126"/>
                    <a:pt x="315579" y="236454"/>
                  </a:cubicBezTo>
                  <a:cubicBezTo>
                    <a:pt x="316319" y="231783"/>
                    <a:pt x="316935" y="227112"/>
                    <a:pt x="317675" y="222441"/>
                  </a:cubicBezTo>
                  <a:cubicBezTo>
                    <a:pt x="319031" y="215100"/>
                    <a:pt x="320510" y="207759"/>
                    <a:pt x="321866" y="200419"/>
                  </a:cubicBezTo>
                  <a:cubicBezTo>
                    <a:pt x="323222" y="196415"/>
                    <a:pt x="324702" y="192411"/>
                    <a:pt x="326058" y="188407"/>
                  </a:cubicBezTo>
                  <a:cubicBezTo>
                    <a:pt x="328153" y="185071"/>
                    <a:pt x="330249" y="181660"/>
                    <a:pt x="332345" y="178323"/>
                  </a:cubicBezTo>
                  <a:cubicBezTo>
                    <a:pt x="335920" y="174987"/>
                    <a:pt x="339371" y="171650"/>
                    <a:pt x="342946" y="168313"/>
                  </a:cubicBezTo>
                  <a:lnTo>
                    <a:pt x="355520" y="158303"/>
                  </a:lnTo>
                  <a:lnTo>
                    <a:pt x="365998" y="150296"/>
                  </a:lnTo>
                  <a:lnTo>
                    <a:pt x="372285" y="140286"/>
                  </a:lnTo>
                  <a:cubicBezTo>
                    <a:pt x="373764" y="138951"/>
                    <a:pt x="375120" y="137617"/>
                    <a:pt x="376600" y="136282"/>
                  </a:cubicBezTo>
                  <a:cubicBezTo>
                    <a:pt x="377339" y="133613"/>
                    <a:pt x="377956" y="130943"/>
                    <a:pt x="378695" y="128274"/>
                  </a:cubicBezTo>
                  <a:lnTo>
                    <a:pt x="378695" y="110182"/>
                  </a:lnTo>
                  <a:lnTo>
                    <a:pt x="378695" y="96168"/>
                  </a:lnTo>
                  <a:cubicBezTo>
                    <a:pt x="379435" y="93499"/>
                    <a:pt x="380051" y="90830"/>
                    <a:pt x="380791" y="88161"/>
                  </a:cubicBezTo>
                  <a:cubicBezTo>
                    <a:pt x="381531" y="87493"/>
                    <a:pt x="382147" y="86826"/>
                    <a:pt x="382887" y="86159"/>
                  </a:cubicBezTo>
                  <a:lnTo>
                    <a:pt x="393365" y="80153"/>
                  </a:lnTo>
                  <a:lnTo>
                    <a:pt x="408158" y="78151"/>
                  </a:lnTo>
                  <a:lnTo>
                    <a:pt x="420732" y="76149"/>
                  </a:lnTo>
                  <a:cubicBezTo>
                    <a:pt x="422088" y="75481"/>
                    <a:pt x="423567" y="74814"/>
                    <a:pt x="424923" y="74147"/>
                  </a:cubicBezTo>
                  <a:lnTo>
                    <a:pt x="431210" y="68141"/>
                  </a:lnTo>
                  <a:cubicBezTo>
                    <a:pt x="432566" y="63470"/>
                    <a:pt x="434045" y="58798"/>
                    <a:pt x="435401" y="54127"/>
                  </a:cubicBezTo>
                  <a:lnTo>
                    <a:pt x="435401" y="44117"/>
                  </a:lnTo>
                  <a:lnTo>
                    <a:pt x="435401" y="34033"/>
                  </a:lnTo>
                  <a:cubicBezTo>
                    <a:pt x="434045" y="32031"/>
                    <a:pt x="432566" y="30029"/>
                    <a:pt x="431210" y="28027"/>
                  </a:cubicBezTo>
                  <a:cubicBezTo>
                    <a:pt x="427758" y="24023"/>
                    <a:pt x="424183" y="20020"/>
                    <a:pt x="420732" y="16016"/>
                  </a:cubicBezTo>
                  <a:lnTo>
                    <a:pt x="401747" y="0"/>
                  </a:lnTo>
                  <a:close/>
                </a:path>
              </a:pathLst>
            </a:custGeom>
            <a:grpFill/>
            <a:ln>
              <a:solidFill>
                <a:schemeClr val="bg1"/>
              </a:solidFill>
            </a:ln>
          </p:spPr>
          <p:txBody>
            <a:bodyPr lIns="0" tIns="0" rIns="0" bIns="0" rtlCol="0" anchor="ctr"/>
            <a:lstStyle/>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endParaRPr lang="en-US" dirty="0"/>
            </a:p>
            <a:p>
              <a:pPr algn="ctr"/>
              <a:r>
                <a:rPr lang="en-US" sz="800" dirty="0">
                  <a:solidFill>
                    <a:prstClr val="black"/>
                  </a:solidFill>
                  <a:latin typeface="Franklin Gothic Book"/>
                  <a:ea typeface="MS PGothic" charset="0"/>
                  <a:cs typeface="MS PGothic" charset="0"/>
                </a:rPr>
                <a:t>                       Central Valley</a:t>
              </a:r>
            </a:p>
          </p:txBody>
        </p:sp>
        <p:sp>
          <p:nvSpPr>
            <p:cNvPr id="17" name="Los Angeles Metro"/>
            <p:cNvSpPr>
              <a:spLocks/>
            </p:cNvSpPr>
            <p:nvPr/>
          </p:nvSpPr>
          <p:spPr bwMode="auto">
            <a:xfrm>
              <a:off x="5094882" y="6590365"/>
              <a:ext cx="1447301" cy="1208387"/>
            </a:xfrm>
            <a:custGeom>
              <a:avLst/>
              <a:gdLst>
                <a:gd name="connsiteX0" fmla="*/ 405983 w 1447301"/>
                <a:gd name="connsiteY0" fmla="*/ 639264 h 1208387"/>
                <a:gd name="connsiteX1" fmla="*/ 398637 w 1447301"/>
                <a:gd name="connsiteY1" fmla="*/ 645278 h 1208387"/>
                <a:gd name="connsiteX2" fmla="*/ 405983 w 1447301"/>
                <a:gd name="connsiteY2" fmla="*/ 639269 h 1208387"/>
                <a:gd name="connsiteX3" fmla="*/ 405983 w 1447301"/>
                <a:gd name="connsiteY3" fmla="*/ 639264 h 1208387"/>
                <a:gd name="connsiteX4" fmla="*/ 54694 w 1447301"/>
                <a:gd name="connsiteY4" fmla="*/ 0 h 1208387"/>
                <a:gd name="connsiteX5" fmla="*/ 69420 w 1447301"/>
                <a:gd name="connsiteY5" fmla="*/ 2004 h 1208387"/>
                <a:gd name="connsiteX6" fmla="*/ 71524 w 1447301"/>
                <a:gd name="connsiteY6" fmla="*/ 2004 h 1208387"/>
                <a:gd name="connsiteX7" fmla="*/ 73627 w 1447301"/>
                <a:gd name="connsiteY7" fmla="*/ 6012 h 1208387"/>
                <a:gd name="connsiteX8" fmla="*/ 75731 w 1447301"/>
                <a:gd name="connsiteY8" fmla="*/ 18035 h 1208387"/>
                <a:gd name="connsiteX9" fmla="*/ 79938 w 1447301"/>
                <a:gd name="connsiteY9" fmla="*/ 22043 h 1208387"/>
                <a:gd name="connsiteX10" fmla="*/ 82042 w 1447301"/>
                <a:gd name="connsiteY10" fmla="*/ 24047 h 1208387"/>
                <a:gd name="connsiteX11" fmla="*/ 90456 w 1447301"/>
                <a:gd name="connsiteY11" fmla="*/ 24047 h 1208387"/>
                <a:gd name="connsiteX12" fmla="*/ 105182 w 1447301"/>
                <a:gd name="connsiteY12" fmla="*/ 24047 h 1208387"/>
                <a:gd name="connsiteX13" fmla="*/ 136736 w 1447301"/>
                <a:gd name="connsiteY13" fmla="*/ 24047 h 1208387"/>
                <a:gd name="connsiteX14" fmla="*/ 145151 w 1447301"/>
                <a:gd name="connsiteY14" fmla="*/ 26051 h 1208387"/>
                <a:gd name="connsiteX15" fmla="*/ 145151 w 1447301"/>
                <a:gd name="connsiteY15" fmla="*/ 32063 h 1208387"/>
                <a:gd name="connsiteX16" fmla="*/ 147254 w 1447301"/>
                <a:gd name="connsiteY16" fmla="*/ 34067 h 1208387"/>
                <a:gd name="connsiteX17" fmla="*/ 153565 w 1447301"/>
                <a:gd name="connsiteY17" fmla="*/ 34067 h 1208387"/>
                <a:gd name="connsiteX18" fmla="*/ 159876 w 1447301"/>
                <a:gd name="connsiteY18" fmla="*/ 34067 h 1208387"/>
                <a:gd name="connsiteX19" fmla="*/ 166187 w 1447301"/>
                <a:gd name="connsiteY19" fmla="*/ 34067 h 1208387"/>
                <a:gd name="connsiteX20" fmla="*/ 168291 w 1447301"/>
                <a:gd name="connsiteY20" fmla="*/ 36071 h 1208387"/>
                <a:gd name="connsiteX21" fmla="*/ 168291 w 1447301"/>
                <a:gd name="connsiteY21" fmla="*/ 38075 h 1208387"/>
                <a:gd name="connsiteX22" fmla="*/ 168291 w 1447301"/>
                <a:gd name="connsiteY22" fmla="*/ 54107 h 1208387"/>
                <a:gd name="connsiteX23" fmla="*/ 168291 w 1447301"/>
                <a:gd name="connsiteY23" fmla="*/ 62123 h 1208387"/>
                <a:gd name="connsiteX24" fmla="*/ 170394 w 1447301"/>
                <a:gd name="connsiteY24" fmla="*/ 68134 h 1208387"/>
                <a:gd name="connsiteX25" fmla="*/ 178809 w 1447301"/>
                <a:gd name="connsiteY25" fmla="*/ 72142 h 1208387"/>
                <a:gd name="connsiteX26" fmla="*/ 191431 w 1447301"/>
                <a:gd name="connsiteY26" fmla="*/ 74146 h 1208387"/>
                <a:gd name="connsiteX27" fmla="*/ 225089 w 1447301"/>
                <a:gd name="connsiteY27" fmla="*/ 74146 h 1208387"/>
                <a:gd name="connsiteX28" fmla="*/ 286094 w 1447301"/>
                <a:gd name="connsiteY28" fmla="*/ 72142 h 1208387"/>
                <a:gd name="connsiteX29" fmla="*/ 338685 w 1447301"/>
                <a:gd name="connsiteY29" fmla="*/ 74146 h 1208387"/>
                <a:gd name="connsiteX30" fmla="*/ 366033 w 1447301"/>
                <a:gd name="connsiteY30" fmla="*/ 74146 h 1208387"/>
                <a:gd name="connsiteX31" fmla="*/ 376551 w 1447301"/>
                <a:gd name="connsiteY31" fmla="*/ 72142 h 1208387"/>
                <a:gd name="connsiteX32" fmla="*/ 380758 w 1447301"/>
                <a:gd name="connsiteY32" fmla="*/ 66131 h 1208387"/>
                <a:gd name="connsiteX33" fmla="*/ 418624 w 1447301"/>
                <a:gd name="connsiteY33" fmla="*/ 66131 h 1208387"/>
                <a:gd name="connsiteX34" fmla="*/ 418629 w 1447301"/>
                <a:gd name="connsiteY34" fmla="*/ 66144 h 1208387"/>
                <a:gd name="connsiteX35" fmla="*/ 845682 w 1447301"/>
                <a:gd name="connsiteY35" fmla="*/ 64093 h 1208387"/>
                <a:gd name="connsiteX36" fmla="*/ 1276943 w 1447301"/>
                <a:gd name="connsiteY36" fmla="*/ 62123 h 1208387"/>
                <a:gd name="connsiteX37" fmla="*/ 1279053 w 1447301"/>
                <a:gd name="connsiteY37" fmla="*/ 172303 h 1208387"/>
                <a:gd name="connsiteX38" fmla="*/ 1285290 w 1447301"/>
                <a:gd name="connsiteY38" fmla="*/ 276571 h 1208387"/>
                <a:gd name="connsiteX39" fmla="*/ 1295837 w 1447301"/>
                <a:gd name="connsiteY39" fmla="*/ 490929 h 1208387"/>
                <a:gd name="connsiteX40" fmla="*/ 1295837 w 1447301"/>
                <a:gd name="connsiteY40" fmla="*/ 503022 h 1208387"/>
                <a:gd name="connsiteX41" fmla="*/ 1291618 w 1447301"/>
                <a:gd name="connsiteY41" fmla="*/ 519057 h 1208387"/>
                <a:gd name="connsiteX42" fmla="*/ 1285290 w 1447301"/>
                <a:gd name="connsiteY42" fmla="*/ 547094 h 1208387"/>
                <a:gd name="connsiteX43" fmla="*/ 1268505 w 1447301"/>
                <a:gd name="connsiteY43" fmla="*/ 599228 h 1208387"/>
                <a:gd name="connsiteX44" fmla="*/ 1255848 w 1447301"/>
                <a:gd name="connsiteY44" fmla="*/ 643300 h 1208387"/>
                <a:gd name="connsiteX45" fmla="*/ 1239063 w 1447301"/>
                <a:gd name="connsiteY45" fmla="*/ 685312 h 1208387"/>
                <a:gd name="connsiteX46" fmla="*/ 1232735 w 1447301"/>
                <a:gd name="connsiteY46" fmla="*/ 701346 h 1208387"/>
                <a:gd name="connsiteX47" fmla="*/ 1224297 w 1447301"/>
                <a:gd name="connsiteY47" fmla="*/ 709408 h 1208387"/>
                <a:gd name="connsiteX48" fmla="*/ 1217968 w 1447301"/>
                <a:gd name="connsiteY48" fmla="*/ 709408 h 1208387"/>
                <a:gd name="connsiteX49" fmla="*/ 1215859 w 1447301"/>
                <a:gd name="connsiteY49" fmla="*/ 709408 h 1208387"/>
                <a:gd name="connsiteX50" fmla="*/ 1211731 w 1447301"/>
                <a:gd name="connsiteY50" fmla="*/ 709408 h 1208387"/>
                <a:gd name="connsiteX51" fmla="*/ 1205403 w 1447301"/>
                <a:gd name="connsiteY51" fmla="*/ 713439 h 1208387"/>
                <a:gd name="connsiteX52" fmla="*/ 1194855 w 1447301"/>
                <a:gd name="connsiteY52" fmla="*/ 725443 h 1208387"/>
                <a:gd name="connsiteX53" fmla="*/ 1186417 w 1447301"/>
                <a:gd name="connsiteY53" fmla="*/ 735475 h 1208387"/>
                <a:gd name="connsiteX54" fmla="*/ 1184307 w 1447301"/>
                <a:gd name="connsiteY54" fmla="*/ 741477 h 1208387"/>
                <a:gd name="connsiteX55" fmla="*/ 1186417 w 1447301"/>
                <a:gd name="connsiteY55" fmla="*/ 745508 h 1208387"/>
                <a:gd name="connsiteX56" fmla="*/ 1190636 w 1447301"/>
                <a:gd name="connsiteY56" fmla="*/ 753480 h 1208387"/>
                <a:gd name="connsiteX57" fmla="*/ 1194855 w 1447301"/>
                <a:gd name="connsiteY57" fmla="*/ 763513 h 1208387"/>
                <a:gd name="connsiteX58" fmla="*/ 1193714 w 1447301"/>
                <a:gd name="connsiteY58" fmla="*/ 764233 h 1208387"/>
                <a:gd name="connsiteX59" fmla="*/ 1266388 w 1447301"/>
                <a:gd name="connsiteY59" fmla="*/ 819617 h 1208387"/>
                <a:gd name="connsiteX60" fmla="*/ 1340015 w 1447301"/>
                <a:gd name="connsiteY60" fmla="*/ 907792 h 1208387"/>
                <a:gd name="connsiteX61" fmla="*/ 1348430 w 1447301"/>
                <a:gd name="connsiteY61" fmla="*/ 913804 h 1208387"/>
                <a:gd name="connsiteX62" fmla="*/ 1356845 w 1447301"/>
                <a:gd name="connsiteY62" fmla="*/ 915808 h 1208387"/>
                <a:gd name="connsiteX63" fmla="*/ 1363156 w 1447301"/>
                <a:gd name="connsiteY63" fmla="*/ 917812 h 1208387"/>
                <a:gd name="connsiteX64" fmla="*/ 1367363 w 1447301"/>
                <a:gd name="connsiteY64" fmla="*/ 917812 h 1208387"/>
                <a:gd name="connsiteX65" fmla="*/ 1369466 w 1447301"/>
                <a:gd name="connsiteY65" fmla="*/ 923823 h 1208387"/>
                <a:gd name="connsiteX66" fmla="*/ 1369466 w 1447301"/>
                <a:gd name="connsiteY66" fmla="*/ 941859 h 1208387"/>
                <a:gd name="connsiteX67" fmla="*/ 1369466 w 1447301"/>
                <a:gd name="connsiteY67" fmla="*/ 951879 h 1208387"/>
                <a:gd name="connsiteX68" fmla="*/ 1371570 w 1447301"/>
                <a:gd name="connsiteY68" fmla="*/ 953883 h 1208387"/>
                <a:gd name="connsiteX69" fmla="*/ 1377881 w 1447301"/>
                <a:gd name="connsiteY69" fmla="*/ 955887 h 1208387"/>
                <a:gd name="connsiteX70" fmla="*/ 1392607 w 1447301"/>
                <a:gd name="connsiteY70" fmla="*/ 955887 h 1208387"/>
                <a:gd name="connsiteX71" fmla="*/ 1405228 w 1447301"/>
                <a:gd name="connsiteY71" fmla="*/ 957891 h 1208387"/>
                <a:gd name="connsiteX72" fmla="*/ 1415747 w 1447301"/>
                <a:gd name="connsiteY72" fmla="*/ 963903 h 1208387"/>
                <a:gd name="connsiteX73" fmla="*/ 1426265 w 1447301"/>
                <a:gd name="connsiteY73" fmla="*/ 967911 h 1208387"/>
                <a:gd name="connsiteX74" fmla="*/ 1434679 w 1447301"/>
                <a:gd name="connsiteY74" fmla="*/ 975927 h 1208387"/>
                <a:gd name="connsiteX75" fmla="*/ 1443094 w 1447301"/>
                <a:gd name="connsiteY75" fmla="*/ 983943 h 1208387"/>
                <a:gd name="connsiteX76" fmla="*/ 1447301 w 1447301"/>
                <a:gd name="connsiteY76" fmla="*/ 993962 h 1208387"/>
                <a:gd name="connsiteX77" fmla="*/ 1447301 w 1447301"/>
                <a:gd name="connsiteY77" fmla="*/ 1003982 h 1208387"/>
                <a:gd name="connsiteX78" fmla="*/ 1443094 w 1447301"/>
                <a:gd name="connsiteY78" fmla="*/ 1011998 h 1208387"/>
                <a:gd name="connsiteX79" fmla="*/ 1424161 w 1447301"/>
                <a:gd name="connsiteY79" fmla="*/ 1034042 h 1208387"/>
                <a:gd name="connsiteX80" fmla="*/ 1403125 w 1447301"/>
                <a:gd name="connsiteY80" fmla="*/ 1060093 h 1208387"/>
                <a:gd name="connsiteX81" fmla="*/ 1392607 w 1447301"/>
                <a:gd name="connsiteY81" fmla="*/ 1076125 h 1208387"/>
                <a:gd name="connsiteX82" fmla="*/ 1388399 w 1447301"/>
                <a:gd name="connsiteY82" fmla="*/ 1090153 h 1208387"/>
                <a:gd name="connsiteX83" fmla="*/ 1384192 w 1447301"/>
                <a:gd name="connsiteY83" fmla="*/ 1104181 h 1208387"/>
                <a:gd name="connsiteX84" fmla="*/ 1384192 w 1447301"/>
                <a:gd name="connsiteY84" fmla="*/ 1118208 h 1208387"/>
                <a:gd name="connsiteX85" fmla="*/ 1384192 w 1447301"/>
                <a:gd name="connsiteY85" fmla="*/ 1126224 h 1208387"/>
                <a:gd name="connsiteX86" fmla="*/ 1384192 w 1447301"/>
                <a:gd name="connsiteY86" fmla="*/ 1134240 h 1208387"/>
                <a:gd name="connsiteX87" fmla="*/ 1382088 w 1447301"/>
                <a:gd name="connsiteY87" fmla="*/ 1140252 h 1208387"/>
                <a:gd name="connsiteX88" fmla="*/ 1377881 w 1447301"/>
                <a:gd name="connsiteY88" fmla="*/ 1146264 h 1208387"/>
                <a:gd name="connsiteX89" fmla="*/ 1363156 w 1447301"/>
                <a:gd name="connsiteY89" fmla="*/ 1150272 h 1208387"/>
                <a:gd name="connsiteX90" fmla="*/ 1348430 w 1447301"/>
                <a:gd name="connsiteY90" fmla="*/ 1156284 h 1208387"/>
                <a:gd name="connsiteX91" fmla="*/ 1346326 w 1447301"/>
                <a:gd name="connsiteY91" fmla="*/ 1156284 h 1208387"/>
                <a:gd name="connsiteX92" fmla="*/ 1340015 w 1447301"/>
                <a:gd name="connsiteY92" fmla="*/ 1156284 h 1208387"/>
                <a:gd name="connsiteX93" fmla="*/ 1335808 w 1447301"/>
                <a:gd name="connsiteY93" fmla="*/ 1160292 h 1208387"/>
                <a:gd name="connsiteX94" fmla="*/ 1331601 w 1447301"/>
                <a:gd name="connsiteY94" fmla="*/ 1168308 h 1208387"/>
                <a:gd name="connsiteX95" fmla="*/ 1329497 w 1447301"/>
                <a:gd name="connsiteY95" fmla="*/ 1176323 h 1208387"/>
                <a:gd name="connsiteX96" fmla="*/ 1321083 w 1447301"/>
                <a:gd name="connsiteY96" fmla="*/ 1208387 h 1208387"/>
                <a:gd name="connsiteX97" fmla="*/ 1314772 w 1447301"/>
                <a:gd name="connsiteY97" fmla="*/ 1194359 h 1208387"/>
                <a:gd name="connsiteX98" fmla="*/ 1304254 w 1447301"/>
                <a:gd name="connsiteY98" fmla="*/ 1184339 h 1208387"/>
                <a:gd name="connsiteX99" fmla="*/ 1289528 w 1447301"/>
                <a:gd name="connsiteY99" fmla="*/ 1174320 h 1208387"/>
                <a:gd name="connsiteX100" fmla="*/ 1274803 w 1447301"/>
                <a:gd name="connsiteY100" fmla="*/ 1164300 h 1208387"/>
                <a:gd name="connsiteX101" fmla="*/ 1247455 w 1447301"/>
                <a:gd name="connsiteY101" fmla="*/ 1148268 h 1208387"/>
                <a:gd name="connsiteX102" fmla="*/ 1234833 w 1447301"/>
                <a:gd name="connsiteY102" fmla="*/ 1138248 h 1208387"/>
                <a:gd name="connsiteX103" fmla="*/ 1222212 w 1447301"/>
                <a:gd name="connsiteY103" fmla="*/ 1128228 h 1208387"/>
                <a:gd name="connsiteX104" fmla="*/ 1203279 w 1447301"/>
                <a:gd name="connsiteY104" fmla="*/ 1108189 h 1208387"/>
                <a:gd name="connsiteX105" fmla="*/ 1184346 w 1447301"/>
                <a:gd name="connsiteY105" fmla="*/ 1094161 h 1208387"/>
                <a:gd name="connsiteX106" fmla="*/ 1163310 w 1447301"/>
                <a:gd name="connsiteY106" fmla="*/ 1078129 h 1208387"/>
                <a:gd name="connsiteX107" fmla="*/ 1146480 w 1447301"/>
                <a:gd name="connsiteY107" fmla="*/ 1064101 h 1208387"/>
                <a:gd name="connsiteX108" fmla="*/ 1127548 w 1447301"/>
                <a:gd name="connsiteY108" fmla="*/ 1046066 h 1208387"/>
                <a:gd name="connsiteX109" fmla="*/ 1119133 w 1447301"/>
                <a:gd name="connsiteY109" fmla="*/ 1038050 h 1208387"/>
                <a:gd name="connsiteX110" fmla="*/ 1117029 w 1447301"/>
                <a:gd name="connsiteY110" fmla="*/ 1026026 h 1208387"/>
                <a:gd name="connsiteX111" fmla="*/ 1117029 w 1447301"/>
                <a:gd name="connsiteY111" fmla="*/ 1024022 h 1208387"/>
                <a:gd name="connsiteX112" fmla="*/ 1119133 w 1447301"/>
                <a:gd name="connsiteY112" fmla="*/ 1016006 h 1208387"/>
                <a:gd name="connsiteX113" fmla="*/ 1125444 w 1447301"/>
                <a:gd name="connsiteY113" fmla="*/ 1011998 h 1208387"/>
                <a:gd name="connsiteX114" fmla="*/ 1125444 w 1447301"/>
                <a:gd name="connsiteY114" fmla="*/ 1003982 h 1208387"/>
                <a:gd name="connsiteX115" fmla="*/ 1119133 w 1447301"/>
                <a:gd name="connsiteY115" fmla="*/ 1014002 h 1208387"/>
                <a:gd name="connsiteX116" fmla="*/ 1112822 w 1447301"/>
                <a:gd name="connsiteY116" fmla="*/ 1024022 h 1208387"/>
                <a:gd name="connsiteX117" fmla="*/ 1108615 w 1447301"/>
                <a:gd name="connsiteY117" fmla="*/ 1028030 h 1208387"/>
                <a:gd name="connsiteX118" fmla="*/ 1104408 w 1447301"/>
                <a:gd name="connsiteY118" fmla="*/ 1032038 h 1208387"/>
                <a:gd name="connsiteX119" fmla="*/ 1098097 w 1447301"/>
                <a:gd name="connsiteY119" fmla="*/ 1034042 h 1208387"/>
                <a:gd name="connsiteX120" fmla="*/ 1091786 w 1447301"/>
                <a:gd name="connsiteY120" fmla="*/ 1032038 h 1208387"/>
                <a:gd name="connsiteX121" fmla="*/ 1098097 w 1447301"/>
                <a:gd name="connsiteY121" fmla="*/ 1036046 h 1208387"/>
                <a:gd name="connsiteX122" fmla="*/ 1106511 w 1447301"/>
                <a:gd name="connsiteY122" fmla="*/ 1042058 h 1208387"/>
                <a:gd name="connsiteX123" fmla="*/ 1114926 w 1447301"/>
                <a:gd name="connsiteY123" fmla="*/ 1044062 h 1208387"/>
                <a:gd name="connsiteX124" fmla="*/ 1123340 w 1447301"/>
                <a:gd name="connsiteY124" fmla="*/ 1048069 h 1208387"/>
                <a:gd name="connsiteX125" fmla="*/ 1108615 w 1447301"/>
                <a:gd name="connsiteY125" fmla="*/ 1048069 h 1208387"/>
                <a:gd name="connsiteX126" fmla="*/ 1095993 w 1447301"/>
                <a:gd name="connsiteY126" fmla="*/ 1044062 h 1208387"/>
                <a:gd name="connsiteX127" fmla="*/ 1085475 w 1447301"/>
                <a:gd name="connsiteY127" fmla="*/ 1038050 h 1208387"/>
                <a:gd name="connsiteX128" fmla="*/ 1074957 w 1447301"/>
                <a:gd name="connsiteY128" fmla="*/ 1032038 h 1208387"/>
                <a:gd name="connsiteX129" fmla="*/ 1053920 w 1447301"/>
                <a:gd name="connsiteY129" fmla="*/ 1016006 h 1208387"/>
                <a:gd name="connsiteX130" fmla="*/ 1034987 w 1447301"/>
                <a:gd name="connsiteY130" fmla="*/ 995966 h 1208387"/>
                <a:gd name="connsiteX131" fmla="*/ 1001329 w 1447301"/>
                <a:gd name="connsiteY131" fmla="*/ 955887 h 1208387"/>
                <a:gd name="connsiteX132" fmla="*/ 982396 w 1447301"/>
                <a:gd name="connsiteY132" fmla="*/ 937851 h 1208387"/>
                <a:gd name="connsiteX133" fmla="*/ 965567 w 1447301"/>
                <a:gd name="connsiteY133" fmla="*/ 925827 h 1208387"/>
                <a:gd name="connsiteX134" fmla="*/ 966907 w 1447301"/>
                <a:gd name="connsiteY134" fmla="*/ 925189 h 1208387"/>
                <a:gd name="connsiteX135" fmla="*/ 950883 w 1447301"/>
                <a:gd name="connsiteY135" fmla="*/ 911764 h 1208387"/>
                <a:gd name="connsiteX136" fmla="*/ 950883 w 1447301"/>
                <a:gd name="connsiteY136" fmla="*/ 915795 h 1208387"/>
                <a:gd name="connsiteX137" fmla="*/ 952901 w 1447301"/>
                <a:gd name="connsiteY137" fmla="*/ 917855 h 1208387"/>
                <a:gd name="connsiteX138" fmla="*/ 957120 w 1447301"/>
                <a:gd name="connsiteY138" fmla="*/ 925827 h 1208387"/>
                <a:gd name="connsiteX139" fmla="*/ 940335 w 1447301"/>
                <a:gd name="connsiteY139" fmla="*/ 921796 h 1208387"/>
                <a:gd name="connsiteX140" fmla="*/ 921350 w 1447301"/>
                <a:gd name="connsiteY140" fmla="*/ 915795 h 1208387"/>
                <a:gd name="connsiteX141" fmla="*/ 915113 w 1447301"/>
                <a:gd name="connsiteY141" fmla="*/ 913824 h 1208387"/>
                <a:gd name="connsiteX142" fmla="*/ 906675 w 1447301"/>
                <a:gd name="connsiteY142" fmla="*/ 915795 h 1208387"/>
                <a:gd name="connsiteX143" fmla="*/ 900346 w 1447301"/>
                <a:gd name="connsiteY143" fmla="*/ 917855 h 1208387"/>
                <a:gd name="connsiteX144" fmla="*/ 896127 w 1447301"/>
                <a:gd name="connsiteY144" fmla="*/ 925827 h 1208387"/>
                <a:gd name="connsiteX145" fmla="*/ 894018 w 1447301"/>
                <a:gd name="connsiteY145" fmla="*/ 913824 h 1208387"/>
                <a:gd name="connsiteX146" fmla="*/ 889799 w 1447301"/>
                <a:gd name="connsiteY146" fmla="*/ 905762 h 1208387"/>
                <a:gd name="connsiteX147" fmla="*/ 883562 w 1447301"/>
                <a:gd name="connsiteY147" fmla="*/ 905762 h 1208387"/>
                <a:gd name="connsiteX148" fmla="*/ 866685 w 1447301"/>
                <a:gd name="connsiteY148" fmla="*/ 903791 h 1208387"/>
                <a:gd name="connsiteX149" fmla="*/ 862466 w 1447301"/>
                <a:gd name="connsiteY149" fmla="*/ 911764 h 1208387"/>
                <a:gd name="connsiteX150" fmla="*/ 856138 w 1447301"/>
                <a:gd name="connsiteY150" fmla="*/ 915795 h 1208387"/>
                <a:gd name="connsiteX151" fmla="*/ 852010 w 1447301"/>
                <a:gd name="connsiteY151" fmla="*/ 913824 h 1208387"/>
                <a:gd name="connsiteX152" fmla="*/ 847791 w 1447301"/>
                <a:gd name="connsiteY152" fmla="*/ 913824 h 1208387"/>
                <a:gd name="connsiteX153" fmla="*/ 845682 w 1447301"/>
                <a:gd name="connsiteY153" fmla="*/ 921796 h 1208387"/>
                <a:gd name="connsiteX154" fmla="*/ 847791 w 1447301"/>
                <a:gd name="connsiteY154" fmla="*/ 925827 h 1208387"/>
                <a:gd name="connsiteX155" fmla="*/ 852010 w 1447301"/>
                <a:gd name="connsiteY155" fmla="*/ 933889 h 1208387"/>
                <a:gd name="connsiteX156" fmla="*/ 852010 w 1447301"/>
                <a:gd name="connsiteY156" fmla="*/ 943832 h 1208387"/>
                <a:gd name="connsiteX157" fmla="*/ 847791 w 1447301"/>
                <a:gd name="connsiteY157" fmla="*/ 951894 h 1208387"/>
                <a:gd name="connsiteX158" fmla="*/ 843572 w 1447301"/>
                <a:gd name="connsiteY158" fmla="*/ 955925 h 1208387"/>
                <a:gd name="connsiteX159" fmla="*/ 841463 w 1447301"/>
                <a:gd name="connsiteY159" fmla="*/ 957896 h 1208387"/>
                <a:gd name="connsiteX160" fmla="*/ 824587 w 1447301"/>
                <a:gd name="connsiteY160" fmla="*/ 955925 h 1208387"/>
                <a:gd name="connsiteX161" fmla="*/ 812021 w 1447301"/>
                <a:gd name="connsiteY161" fmla="*/ 953865 h 1208387"/>
                <a:gd name="connsiteX162" fmla="*/ 801473 w 1447301"/>
                <a:gd name="connsiteY162" fmla="*/ 945893 h 1208387"/>
                <a:gd name="connsiteX163" fmla="*/ 778360 w 1447301"/>
                <a:gd name="connsiteY163" fmla="*/ 933889 h 1208387"/>
                <a:gd name="connsiteX164" fmla="*/ 765703 w 1447301"/>
                <a:gd name="connsiteY164" fmla="*/ 931829 h 1208387"/>
                <a:gd name="connsiteX165" fmla="*/ 757265 w 1447301"/>
                <a:gd name="connsiteY165" fmla="*/ 927798 h 1208387"/>
                <a:gd name="connsiteX166" fmla="*/ 755247 w 1447301"/>
                <a:gd name="connsiteY166" fmla="*/ 927798 h 1208387"/>
                <a:gd name="connsiteX167" fmla="*/ 751028 w 1447301"/>
                <a:gd name="connsiteY167" fmla="*/ 923857 h 1208387"/>
                <a:gd name="connsiteX168" fmla="*/ 746809 w 1447301"/>
                <a:gd name="connsiteY168" fmla="*/ 911764 h 1208387"/>
                <a:gd name="connsiteX169" fmla="*/ 744700 w 1447301"/>
                <a:gd name="connsiteY169" fmla="*/ 905762 h 1208387"/>
                <a:gd name="connsiteX170" fmla="*/ 746809 w 1447301"/>
                <a:gd name="connsiteY170" fmla="*/ 901821 h 1208387"/>
                <a:gd name="connsiteX171" fmla="*/ 755247 w 1447301"/>
                <a:gd name="connsiteY171" fmla="*/ 885786 h 1208387"/>
                <a:gd name="connsiteX172" fmla="*/ 765703 w 1447301"/>
                <a:gd name="connsiteY172" fmla="*/ 867692 h 1208387"/>
                <a:gd name="connsiteX173" fmla="*/ 765703 w 1447301"/>
                <a:gd name="connsiteY173" fmla="*/ 861690 h 1208387"/>
                <a:gd name="connsiteX174" fmla="*/ 761484 w 1447301"/>
                <a:gd name="connsiteY174" fmla="*/ 845656 h 1208387"/>
                <a:gd name="connsiteX175" fmla="*/ 751028 w 1447301"/>
                <a:gd name="connsiteY175" fmla="*/ 811616 h 1208387"/>
                <a:gd name="connsiteX176" fmla="*/ 736262 w 1447301"/>
                <a:gd name="connsiteY176" fmla="*/ 779548 h 1208387"/>
                <a:gd name="connsiteX177" fmla="*/ 723604 w 1447301"/>
                <a:gd name="connsiteY177" fmla="*/ 755451 h 1208387"/>
                <a:gd name="connsiteX178" fmla="*/ 706820 w 1447301"/>
                <a:gd name="connsiteY178" fmla="*/ 733415 h 1208387"/>
                <a:gd name="connsiteX179" fmla="*/ 687926 w 1447301"/>
                <a:gd name="connsiteY179" fmla="*/ 711379 h 1208387"/>
                <a:gd name="connsiteX180" fmla="*/ 677378 w 1447301"/>
                <a:gd name="connsiteY180" fmla="*/ 701346 h 1208387"/>
                <a:gd name="connsiteX181" fmla="*/ 666831 w 1447301"/>
                <a:gd name="connsiteY181" fmla="*/ 695345 h 1208387"/>
                <a:gd name="connsiteX182" fmla="*/ 654265 w 1447301"/>
                <a:gd name="connsiteY182" fmla="*/ 693374 h 1208387"/>
                <a:gd name="connsiteX183" fmla="*/ 641608 w 1447301"/>
                <a:gd name="connsiteY183" fmla="*/ 691403 h 1208387"/>
                <a:gd name="connsiteX184" fmla="*/ 614276 w 1447301"/>
                <a:gd name="connsiteY184" fmla="*/ 693374 h 1208387"/>
                <a:gd name="connsiteX185" fmla="*/ 565849 w 1447301"/>
                <a:gd name="connsiteY185" fmla="*/ 699376 h 1208387"/>
                <a:gd name="connsiteX186" fmla="*/ 538516 w 1447301"/>
                <a:gd name="connsiteY186" fmla="*/ 699376 h 1208387"/>
                <a:gd name="connsiteX187" fmla="*/ 525951 w 1447301"/>
                <a:gd name="connsiteY187" fmla="*/ 701346 h 1208387"/>
                <a:gd name="connsiteX188" fmla="*/ 513294 w 1447301"/>
                <a:gd name="connsiteY188" fmla="*/ 703407 h 1208387"/>
                <a:gd name="connsiteX189" fmla="*/ 492290 w 1447301"/>
                <a:gd name="connsiteY189" fmla="*/ 711379 h 1208387"/>
                <a:gd name="connsiteX190" fmla="*/ 475414 w 1447301"/>
                <a:gd name="connsiteY190" fmla="*/ 721412 h 1208387"/>
                <a:gd name="connsiteX191" fmla="*/ 464866 w 1447301"/>
                <a:gd name="connsiteY191" fmla="*/ 715410 h 1208387"/>
                <a:gd name="connsiteX192" fmla="*/ 452301 w 1447301"/>
                <a:gd name="connsiteY192" fmla="*/ 711379 h 1208387"/>
                <a:gd name="connsiteX193" fmla="*/ 439644 w 1447301"/>
                <a:gd name="connsiteY193" fmla="*/ 703407 h 1208387"/>
                <a:gd name="connsiteX194" fmla="*/ 427078 w 1447301"/>
                <a:gd name="connsiteY194" fmla="*/ 699376 h 1208387"/>
                <a:gd name="connsiteX195" fmla="*/ 378651 w 1447301"/>
                <a:gd name="connsiteY195" fmla="*/ 691403 h 1208387"/>
                <a:gd name="connsiteX196" fmla="*/ 378723 w 1447301"/>
                <a:gd name="connsiteY196" fmla="*/ 690720 h 1208387"/>
                <a:gd name="connsiteX197" fmla="*/ 361825 w 1447301"/>
                <a:gd name="connsiteY197" fmla="*/ 685355 h 1208387"/>
                <a:gd name="connsiteX198" fmla="*/ 344996 w 1447301"/>
                <a:gd name="connsiteY198" fmla="*/ 675335 h 1208387"/>
                <a:gd name="connsiteX199" fmla="*/ 307131 w 1447301"/>
                <a:gd name="connsiteY199" fmla="*/ 659303 h 1208387"/>
                <a:gd name="connsiteX200" fmla="*/ 292405 w 1447301"/>
                <a:gd name="connsiteY200" fmla="*/ 645276 h 1208387"/>
                <a:gd name="connsiteX201" fmla="*/ 281887 w 1447301"/>
                <a:gd name="connsiteY201" fmla="*/ 639264 h 1208387"/>
                <a:gd name="connsiteX202" fmla="*/ 273473 w 1447301"/>
                <a:gd name="connsiteY202" fmla="*/ 637260 h 1208387"/>
                <a:gd name="connsiteX203" fmla="*/ 262954 w 1447301"/>
                <a:gd name="connsiteY203" fmla="*/ 633252 h 1208387"/>
                <a:gd name="connsiteX204" fmla="*/ 254540 w 1447301"/>
                <a:gd name="connsiteY204" fmla="*/ 633252 h 1208387"/>
                <a:gd name="connsiteX205" fmla="*/ 250333 w 1447301"/>
                <a:gd name="connsiteY205" fmla="*/ 629244 h 1208387"/>
                <a:gd name="connsiteX206" fmla="*/ 252436 w 1447301"/>
                <a:gd name="connsiteY206" fmla="*/ 637260 h 1208387"/>
                <a:gd name="connsiteX207" fmla="*/ 256644 w 1447301"/>
                <a:gd name="connsiteY207" fmla="*/ 641268 h 1208387"/>
                <a:gd name="connsiteX208" fmla="*/ 273473 w 1447301"/>
                <a:gd name="connsiteY208" fmla="*/ 645276 h 1208387"/>
                <a:gd name="connsiteX209" fmla="*/ 262954 w 1447301"/>
                <a:gd name="connsiteY209" fmla="*/ 645276 h 1208387"/>
                <a:gd name="connsiteX210" fmla="*/ 252436 w 1447301"/>
                <a:gd name="connsiteY210" fmla="*/ 643272 h 1208387"/>
                <a:gd name="connsiteX211" fmla="*/ 239814 w 1447301"/>
                <a:gd name="connsiteY211" fmla="*/ 639264 h 1208387"/>
                <a:gd name="connsiteX212" fmla="*/ 229296 w 1447301"/>
                <a:gd name="connsiteY212" fmla="*/ 633252 h 1208387"/>
                <a:gd name="connsiteX213" fmla="*/ 218778 w 1447301"/>
                <a:gd name="connsiteY213" fmla="*/ 627240 h 1208387"/>
                <a:gd name="connsiteX214" fmla="*/ 208260 w 1447301"/>
                <a:gd name="connsiteY214" fmla="*/ 617220 h 1208387"/>
                <a:gd name="connsiteX215" fmla="*/ 201949 w 1447301"/>
                <a:gd name="connsiteY215" fmla="*/ 609204 h 1208387"/>
                <a:gd name="connsiteX216" fmla="*/ 197742 w 1447301"/>
                <a:gd name="connsiteY216" fmla="*/ 601188 h 1208387"/>
                <a:gd name="connsiteX217" fmla="*/ 189327 w 1447301"/>
                <a:gd name="connsiteY217" fmla="*/ 603192 h 1208387"/>
                <a:gd name="connsiteX218" fmla="*/ 183016 w 1447301"/>
                <a:gd name="connsiteY218" fmla="*/ 601188 h 1208387"/>
                <a:gd name="connsiteX219" fmla="*/ 178809 w 1447301"/>
                <a:gd name="connsiteY219" fmla="*/ 593173 h 1208387"/>
                <a:gd name="connsiteX220" fmla="*/ 172498 w 1447301"/>
                <a:gd name="connsiteY220" fmla="*/ 587161 h 1208387"/>
                <a:gd name="connsiteX221" fmla="*/ 166187 w 1447301"/>
                <a:gd name="connsiteY221" fmla="*/ 567121 h 1208387"/>
                <a:gd name="connsiteX222" fmla="*/ 159876 w 1447301"/>
                <a:gd name="connsiteY222" fmla="*/ 549085 h 1208387"/>
                <a:gd name="connsiteX223" fmla="*/ 159876 w 1447301"/>
                <a:gd name="connsiteY223" fmla="*/ 543074 h 1208387"/>
                <a:gd name="connsiteX224" fmla="*/ 161980 w 1447301"/>
                <a:gd name="connsiteY224" fmla="*/ 541070 h 1208387"/>
                <a:gd name="connsiteX225" fmla="*/ 168291 w 1447301"/>
                <a:gd name="connsiteY225" fmla="*/ 539066 h 1208387"/>
                <a:gd name="connsiteX226" fmla="*/ 176705 w 1447301"/>
                <a:gd name="connsiteY226" fmla="*/ 537062 h 1208387"/>
                <a:gd name="connsiteX227" fmla="*/ 191431 w 1447301"/>
                <a:gd name="connsiteY227" fmla="*/ 537062 h 1208387"/>
                <a:gd name="connsiteX228" fmla="*/ 201949 w 1447301"/>
                <a:gd name="connsiteY228" fmla="*/ 533054 h 1208387"/>
                <a:gd name="connsiteX229" fmla="*/ 170394 w 1447301"/>
                <a:gd name="connsiteY229" fmla="*/ 533054 h 1208387"/>
                <a:gd name="connsiteX230" fmla="*/ 155669 w 1447301"/>
                <a:gd name="connsiteY230" fmla="*/ 531050 h 1208387"/>
                <a:gd name="connsiteX231" fmla="*/ 153565 w 1447301"/>
                <a:gd name="connsiteY231" fmla="*/ 527042 h 1208387"/>
                <a:gd name="connsiteX232" fmla="*/ 153565 w 1447301"/>
                <a:gd name="connsiteY232" fmla="*/ 523034 h 1208387"/>
                <a:gd name="connsiteX233" fmla="*/ 155669 w 1447301"/>
                <a:gd name="connsiteY233" fmla="*/ 517022 h 1208387"/>
                <a:gd name="connsiteX234" fmla="*/ 153565 w 1447301"/>
                <a:gd name="connsiteY234" fmla="*/ 511010 h 1208387"/>
                <a:gd name="connsiteX235" fmla="*/ 149358 w 1447301"/>
                <a:gd name="connsiteY235" fmla="*/ 507002 h 1208387"/>
                <a:gd name="connsiteX236" fmla="*/ 145151 w 1447301"/>
                <a:gd name="connsiteY236" fmla="*/ 502994 h 1208387"/>
                <a:gd name="connsiteX237" fmla="*/ 128322 w 1447301"/>
                <a:gd name="connsiteY237" fmla="*/ 500990 h 1208387"/>
                <a:gd name="connsiteX238" fmla="*/ 117804 w 1447301"/>
                <a:gd name="connsiteY238" fmla="*/ 500990 h 1208387"/>
                <a:gd name="connsiteX239" fmla="*/ 111493 w 1447301"/>
                <a:gd name="connsiteY239" fmla="*/ 498986 h 1208387"/>
                <a:gd name="connsiteX240" fmla="*/ 103078 w 1447301"/>
                <a:gd name="connsiteY240" fmla="*/ 492974 h 1208387"/>
                <a:gd name="connsiteX241" fmla="*/ 86249 w 1447301"/>
                <a:gd name="connsiteY241" fmla="*/ 478947 h 1208387"/>
                <a:gd name="connsiteX242" fmla="*/ 71524 w 1447301"/>
                <a:gd name="connsiteY242" fmla="*/ 466923 h 1208387"/>
                <a:gd name="connsiteX243" fmla="*/ 58902 w 1447301"/>
                <a:gd name="connsiteY243" fmla="*/ 456903 h 1208387"/>
                <a:gd name="connsiteX244" fmla="*/ 29451 w 1447301"/>
                <a:gd name="connsiteY244" fmla="*/ 436864 h 1208387"/>
                <a:gd name="connsiteX245" fmla="*/ 12622 w 1447301"/>
                <a:gd name="connsiteY245" fmla="*/ 426844 h 1208387"/>
                <a:gd name="connsiteX246" fmla="*/ 0 w 1447301"/>
                <a:gd name="connsiteY246" fmla="*/ 420832 h 1208387"/>
                <a:gd name="connsiteX247" fmla="*/ 12622 w 1447301"/>
                <a:gd name="connsiteY247" fmla="*/ 408808 h 1208387"/>
                <a:gd name="connsiteX248" fmla="*/ 23140 w 1447301"/>
                <a:gd name="connsiteY248" fmla="*/ 394780 h 1208387"/>
                <a:gd name="connsiteX249" fmla="*/ 29451 w 1447301"/>
                <a:gd name="connsiteY249" fmla="*/ 376745 h 1208387"/>
                <a:gd name="connsiteX250" fmla="*/ 31554 w 1447301"/>
                <a:gd name="connsiteY250" fmla="*/ 358709 h 1208387"/>
                <a:gd name="connsiteX251" fmla="*/ 33658 w 1447301"/>
                <a:gd name="connsiteY251" fmla="*/ 340673 h 1208387"/>
                <a:gd name="connsiteX252" fmla="*/ 33658 w 1447301"/>
                <a:gd name="connsiteY252" fmla="*/ 320634 h 1208387"/>
                <a:gd name="connsiteX253" fmla="*/ 31554 w 1447301"/>
                <a:gd name="connsiteY253" fmla="*/ 280554 h 1208387"/>
                <a:gd name="connsiteX254" fmla="*/ 29451 w 1447301"/>
                <a:gd name="connsiteY254" fmla="*/ 2004 h 1208387"/>
                <a:gd name="connsiteX255" fmla="*/ 54694 w 1447301"/>
                <a:gd name="connsiteY255" fmla="*/ 0 h 1208387"/>
                <a:gd name="connsiteX0" fmla="*/ 405983 w 1447301"/>
                <a:gd name="connsiteY0" fmla="*/ 639269 h 1208387"/>
                <a:gd name="connsiteX1" fmla="*/ 398637 w 1447301"/>
                <a:gd name="connsiteY1" fmla="*/ 645278 h 1208387"/>
                <a:gd name="connsiteX2" fmla="*/ 405983 w 1447301"/>
                <a:gd name="connsiteY2" fmla="*/ 639269 h 1208387"/>
                <a:gd name="connsiteX3" fmla="*/ 54694 w 1447301"/>
                <a:gd name="connsiteY3" fmla="*/ 0 h 1208387"/>
                <a:gd name="connsiteX4" fmla="*/ 69420 w 1447301"/>
                <a:gd name="connsiteY4" fmla="*/ 2004 h 1208387"/>
                <a:gd name="connsiteX5" fmla="*/ 71524 w 1447301"/>
                <a:gd name="connsiteY5" fmla="*/ 2004 h 1208387"/>
                <a:gd name="connsiteX6" fmla="*/ 73627 w 1447301"/>
                <a:gd name="connsiteY6" fmla="*/ 6012 h 1208387"/>
                <a:gd name="connsiteX7" fmla="*/ 75731 w 1447301"/>
                <a:gd name="connsiteY7" fmla="*/ 18035 h 1208387"/>
                <a:gd name="connsiteX8" fmla="*/ 79938 w 1447301"/>
                <a:gd name="connsiteY8" fmla="*/ 22043 h 1208387"/>
                <a:gd name="connsiteX9" fmla="*/ 82042 w 1447301"/>
                <a:gd name="connsiteY9" fmla="*/ 24047 h 1208387"/>
                <a:gd name="connsiteX10" fmla="*/ 90456 w 1447301"/>
                <a:gd name="connsiteY10" fmla="*/ 24047 h 1208387"/>
                <a:gd name="connsiteX11" fmla="*/ 105182 w 1447301"/>
                <a:gd name="connsiteY11" fmla="*/ 24047 h 1208387"/>
                <a:gd name="connsiteX12" fmla="*/ 136736 w 1447301"/>
                <a:gd name="connsiteY12" fmla="*/ 24047 h 1208387"/>
                <a:gd name="connsiteX13" fmla="*/ 145151 w 1447301"/>
                <a:gd name="connsiteY13" fmla="*/ 26051 h 1208387"/>
                <a:gd name="connsiteX14" fmla="*/ 145151 w 1447301"/>
                <a:gd name="connsiteY14" fmla="*/ 32063 h 1208387"/>
                <a:gd name="connsiteX15" fmla="*/ 147254 w 1447301"/>
                <a:gd name="connsiteY15" fmla="*/ 34067 h 1208387"/>
                <a:gd name="connsiteX16" fmla="*/ 153565 w 1447301"/>
                <a:gd name="connsiteY16" fmla="*/ 34067 h 1208387"/>
                <a:gd name="connsiteX17" fmla="*/ 159876 w 1447301"/>
                <a:gd name="connsiteY17" fmla="*/ 34067 h 1208387"/>
                <a:gd name="connsiteX18" fmla="*/ 166187 w 1447301"/>
                <a:gd name="connsiteY18" fmla="*/ 34067 h 1208387"/>
                <a:gd name="connsiteX19" fmla="*/ 168291 w 1447301"/>
                <a:gd name="connsiteY19" fmla="*/ 36071 h 1208387"/>
                <a:gd name="connsiteX20" fmla="*/ 168291 w 1447301"/>
                <a:gd name="connsiteY20" fmla="*/ 38075 h 1208387"/>
                <a:gd name="connsiteX21" fmla="*/ 168291 w 1447301"/>
                <a:gd name="connsiteY21" fmla="*/ 54107 h 1208387"/>
                <a:gd name="connsiteX22" fmla="*/ 168291 w 1447301"/>
                <a:gd name="connsiteY22" fmla="*/ 62123 h 1208387"/>
                <a:gd name="connsiteX23" fmla="*/ 170394 w 1447301"/>
                <a:gd name="connsiteY23" fmla="*/ 68134 h 1208387"/>
                <a:gd name="connsiteX24" fmla="*/ 178809 w 1447301"/>
                <a:gd name="connsiteY24" fmla="*/ 72142 h 1208387"/>
                <a:gd name="connsiteX25" fmla="*/ 191431 w 1447301"/>
                <a:gd name="connsiteY25" fmla="*/ 74146 h 1208387"/>
                <a:gd name="connsiteX26" fmla="*/ 225089 w 1447301"/>
                <a:gd name="connsiteY26" fmla="*/ 74146 h 1208387"/>
                <a:gd name="connsiteX27" fmla="*/ 286094 w 1447301"/>
                <a:gd name="connsiteY27" fmla="*/ 72142 h 1208387"/>
                <a:gd name="connsiteX28" fmla="*/ 338685 w 1447301"/>
                <a:gd name="connsiteY28" fmla="*/ 74146 h 1208387"/>
                <a:gd name="connsiteX29" fmla="*/ 366033 w 1447301"/>
                <a:gd name="connsiteY29" fmla="*/ 74146 h 1208387"/>
                <a:gd name="connsiteX30" fmla="*/ 376551 w 1447301"/>
                <a:gd name="connsiteY30" fmla="*/ 72142 h 1208387"/>
                <a:gd name="connsiteX31" fmla="*/ 380758 w 1447301"/>
                <a:gd name="connsiteY31" fmla="*/ 66131 h 1208387"/>
                <a:gd name="connsiteX32" fmla="*/ 418624 w 1447301"/>
                <a:gd name="connsiteY32" fmla="*/ 66131 h 1208387"/>
                <a:gd name="connsiteX33" fmla="*/ 418629 w 1447301"/>
                <a:gd name="connsiteY33" fmla="*/ 66144 h 1208387"/>
                <a:gd name="connsiteX34" fmla="*/ 845682 w 1447301"/>
                <a:gd name="connsiteY34" fmla="*/ 64093 h 1208387"/>
                <a:gd name="connsiteX35" fmla="*/ 1276943 w 1447301"/>
                <a:gd name="connsiteY35" fmla="*/ 62123 h 1208387"/>
                <a:gd name="connsiteX36" fmla="*/ 1279053 w 1447301"/>
                <a:gd name="connsiteY36" fmla="*/ 172303 h 1208387"/>
                <a:gd name="connsiteX37" fmla="*/ 1285290 w 1447301"/>
                <a:gd name="connsiteY37" fmla="*/ 276571 h 1208387"/>
                <a:gd name="connsiteX38" fmla="*/ 1295837 w 1447301"/>
                <a:gd name="connsiteY38" fmla="*/ 490929 h 1208387"/>
                <a:gd name="connsiteX39" fmla="*/ 1295837 w 1447301"/>
                <a:gd name="connsiteY39" fmla="*/ 503022 h 1208387"/>
                <a:gd name="connsiteX40" fmla="*/ 1291618 w 1447301"/>
                <a:gd name="connsiteY40" fmla="*/ 519057 h 1208387"/>
                <a:gd name="connsiteX41" fmla="*/ 1285290 w 1447301"/>
                <a:gd name="connsiteY41" fmla="*/ 547094 h 1208387"/>
                <a:gd name="connsiteX42" fmla="*/ 1268505 w 1447301"/>
                <a:gd name="connsiteY42" fmla="*/ 599228 h 1208387"/>
                <a:gd name="connsiteX43" fmla="*/ 1255848 w 1447301"/>
                <a:gd name="connsiteY43" fmla="*/ 643300 h 1208387"/>
                <a:gd name="connsiteX44" fmla="*/ 1239063 w 1447301"/>
                <a:gd name="connsiteY44" fmla="*/ 685312 h 1208387"/>
                <a:gd name="connsiteX45" fmla="*/ 1232735 w 1447301"/>
                <a:gd name="connsiteY45" fmla="*/ 701346 h 1208387"/>
                <a:gd name="connsiteX46" fmla="*/ 1224297 w 1447301"/>
                <a:gd name="connsiteY46" fmla="*/ 709408 h 1208387"/>
                <a:gd name="connsiteX47" fmla="*/ 1217968 w 1447301"/>
                <a:gd name="connsiteY47" fmla="*/ 709408 h 1208387"/>
                <a:gd name="connsiteX48" fmla="*/ 1215859 w 1447301"/>
                <a:gd name="connsiteY48" fmla="*/ 709408 h 1208387"/>
                <a:gd name="connsiteX49" fmla="*/ 1211731 w 1447301"/>
                <a:gd name="connsiteY49" fmla="*/ 709408 h 1208387"/>
                <a:gd name="connsiteX50" fmla="*/ 1205403 w 1447301"/>
                <a:gd name="connsiteY50" fmla="*/ 713439 h 1208387"/>
                <a:gd name="connsiteX51" fmla="*/ 1194855 w 1447301"/>
                <a:gd name="connsiteY51" fmla="*/ 725443 h 1208387"/>
                <a:gd name="connsiteX52" fmla="*/ 1186417 w 1447301"/>
                <a:gd name="connsiteY52" fmla="*/ 735475 h 1208387"/>
                <a:gd name="connsiteX53" fmla="*/ 1184307 w 1447301"/>
                <a:gd name="connsiteY53" fmla="*/ 741477 h 1208387"/>
                <a:gd name="connsiteX54" fmla="*/ 1186417 w 1447301"/>
                <a:gd name="connsiteY54" fmla="*/ 745508 h 1208387"/>
                <a:gd name="connsiteX55" fmla="*/ 1190636 w 1447301"/>
                <a:gd name="connsiteY55" fmla="*/ 753480 h 1208387"/>
                <a:gd name="connsiteX56" fmla="*/ 1194855 w 1447301"/>
                <a:gd name="connsiteY56" fmla="*/ 763513 h 1208387"/>
                <a:gd name="connsiteX57" fmla="*/ 1193714 w 1447301"/>
                <a:gd name="connsiteY57" fmla="*/ 764233 h 1208387"/>
                <a:gd name="connsiteX58" fmla="*/ 1266388 w 1447301"/>
                <a:gd name="connsiteY58" fmla="*/ 819617 h 1208387"/>
                <a:gd name="connsiteX59" fmla="*/ 1340015 w 1447301"/>
                <a:gd name="connsiteY59" fmla="*/ 907792 h 1208387"/>
                <a:gd name="connsiteX60" fmla="*/ 1348430 w 1447301"/>
                <a:gd name="connsiteY60" fmla="*/ 913804 h 1208387"/>
                <a:gd name="connsiteX61" fmla="*/ 1356845 w 1447301"/>
                <a:gd name="connsiteY61" fmla="*/ 915808 h 1208387"/>
                <a:gd name="connsiteX62" fmla="*/ 1363156 w 1447301"/>
                <a:gd name="connsiteY62" fmla="*/ 917812 h 1208387"/>
                <a:gd name="connsiteX63" fmla="*/ 1367363 w 1447301"/>
                <a:gd name="connsiteY63" fmla="*/ 917812 h 1208387"/>
                <a:gd name="connsiteX64" fmla="*/ 1369466 w 1447301"/>
                <a:gd name="connsiteY64" fmla="*/ 923823 h 1208387"/>
                <a:gd name="connsiteX65" fmla="*/ 1369466 w 1447301"/>
                <a:gd name="connsiteY65" fmla="*/ 941859 h 1208387"/>
                <a:gd name="connsiteX66" fmla="*/ 1369466 w 1447301"/>
                <a:gd name="connsiteY66" fmla="*/ 951879 h 1208387"/>
                <a:gd name="connsiteX67" fmla="*/ 1371570 w 1447301"/>
                <a:gd name="connsiteY67" fmla="*/ 953883 h 1208387"/>
                <a:gd name="connsiteX68" fmla="*/ 1377881 w 1447301"/>
                <a:gd name="connsiteY68" fmla="*/ 955887 h 1208387"/>
                <a:gd name="connsiteX69" fmla="*/ 1392607 w 1447301"/>
                <a:gd name="connsiteY69" fmla="*/ 955887 h 1208387"/>
                <a:gd name="connsiteX70" fmla="*/ 1405228 w 1447301"/>
                <a:gd name="connsiteY70" fmla="*/ 957891 h 1208387"/>
                <a:gd name="connsiteX71" fmla="*/ 1415747 w 1447301"/>
                <a:gd name="connsiteY71" fmla="*/ 963903 h 1208387"/>
                <a:gd name="connsiteX72" fmla="*/ 1426265 w 1447301"/>
                <a:gd name="connsiteY72" fmla="*/ 967911 h 1208387"/>
                <a:gd name="connsiteX73" fmla="*/ 1434679 w 1447301"/>
                <a:gd name="connsiteY73" fmla="*/ 975927 h 1208387"/>
                <a:gd name="connsiteX74" fmla="*/ 1443094 w 1447301"/>
                <a:gd name="connsiteY74" fmla="*/ 983943 h 1208387"/>
                <a:gd name="connsiteX75" fmla="*/ 1447301 w 1447301"/>
                <a:gd name="connsiteY75" fmla="*/ 993962 h 1208387"/>
                <a:gd name="connsiteX76" fmla="*/ 1447301 w 1447301"/>
                <a:gd name="connsiteY76" fmla="*/ 1003982 h 1208387"/>
                <a:gd name="connsiteX77" fmla="*/ 1443094 w 1447301"/>
                <a:gd name="connsiteY77" fmla="*/ 1011998 h 1208387"/>
                <a:gd name="connsiteX78" fmla="*/ 1424161 w 1447301"/>
                <a:gd name="connsiteY78" fmla="*/ 1034042 h 1208387"/>
                <a:gd name="connsiteX79" fmla="*/ 1403125 w 1447301"/>
                <a:gd name="connsiteY79" fmla="*/ 1060093 h 1208387"/>
                <a:gd name="connsiteX80" fmla="*/ 1392607 w 1447301"/>
                <a:gd name="connsiteY80" fmla="*/ 1076125 h 1208387"/>
                <a:gd name="connsiteX81" fmla="*/ 1388399 w 1447301"/>
                <a:gd name="connsiteY81" fmla="*/ 1090153 h 1208387"/>
                <a:gd name="connsiteX82" fmla="*/ 1384192 w 1447301"/>
                <a:gd name="connsiteY82" fmla="*/ 1104181 h 1208387"/>
                <a:gd name="connsiteX83" fmla="*/ 1384192 w 1447301"/>
                <a:gd name="connsiteY83" fmla="*/ 1118208 h 1208387"/>
                <a:gd name="connsiteX84" fmla="*/ 1384192 w 1447301"/>
                <a:gd name="connsiteY84" fmla="*/ 1126224 h 1208387"/>
                <a:gd name="connsiteX85" fmla="*/ 1384192 w 1447301"/>
                <a:gd name="connsiteY85" fmla="*/ 1134240 h 1208387"/>
                <a:gd name="connsiteX86" fmla="*/ 1382088 w 1447301"/>
                <a:gd name="connsiteY86" fmla="*/ 1140252 h 1208387"/>
                <a:gd name="connsiteX87" fmla="*/ 1377881 w 1447301"/>
                <a:gd name="connsiteY87" fmla="*/ 1146264 h 1208387"/>
                <a:gd name="connsiteX88" fmla="*/ 1363156 w 1447301"/>
                <a:gd name="connsiteY88" fmla="*/ 1150272 h 1208387"/>
                <a:gd name="connsiteX89" fmla="*/ 1348430 w 1447301"/>
                <a:gd name="connsiteY89" fmla="*/ 1156284 h 1208387"/>
                <a:gd name="connsiteX90" fmla="*/ 1346326 w 1447301"/>
                <a:gd name="connsiteY90" fmla="*/ 1156284 h 1208387"/>
                <a:gd name="connsiteX91" fmla="*/ 1340015 w 1447301"/>
                <a:gd name="connsiteY91" fmla="*/ 1156284 h 1208387"/>
                <a:gd name="connsiteX92" fmla="*/ 1335808 w 1447301"/>
                <a:gd name="connsiteY92" fmla="*/ 1160292 h 1208387"/>
                <a:gd name="connsiteX93" fmla="*/ 1331601 w 1447301"/>
                <a:gd name="connsiteY93" fmla="*/ 1168308 h 1208387"/>
                <a:gd name="connsiteX94" fmla="*/ 1329497 w 1447301"/>
                <a:gd name="connsiteY94" fmla="*/ 1176323 h 1208387"/>
                <a:gd name="connsiteX95" fmla="*/ 1321083 w 1447301"/>
                <a:gd name="connsiteY95" fmla="*/ 1208387 h 1208387"/>
                <a:gd name="connsiteX96" fmla="*/ 1314772 w 1447301"/>
                <a:gd name="connsiteY96" fmla="*/ 1194359 h 1208387"/>
                <a:gd name="connsiteX97" fmla="*/ 1304254 w 1447301"/>
                <a:gd name="connsiteY97" fmla="*/ 1184339 h 1208387"/>
                <a:gd name="connsiteX98" fmla="*/ 1289528 w 1447301"/>
                <a:gd name="connsiteY98" fmla="*/ 1174320 h 1208387"/>
                <a:gd name="connsiteX99" fmla="*/ 1274803 w 1447301"/>
                <a:gd name="connsiteY99" fmla="*/ 1164300 h 1208387"/>
                <a:gd name="connsiteX100" fmla="*/ 1247455 w 1447301"/>
                <a:gd name="connsiteY100" fmla="*/ 1148268 h 1208387"/>
                <a:gd name="connsiteX101" fmla="*/ 1234833 w 1447301"/>
                <a:gd name="connsiteY101" fmla="*/ 1138248 h 1208387"/>
                <a:gd name="connsiteX102" fmla="*/ 1222212 w 1447301"/>
                <a:gd name="connsiteY102" fmla="*/ 1128228 h 1208387"/>
                <a:gd name="connsiteX103" fmla="*/ 1203279 w 1447301"/>
                <a:gd name="connsiteY103" fmla="*/ 1108189 h 1208387"/>
                <a:gd name="connsiteX104" fmla="*/ 1184346 w 1447301"/>
                <a:gd name="connsiteY104" fmla="*/ 1094161 h 1208387"/>
                <a:gd name="connsiteX105" fmla="*/ 1163310 w 1447301"/>
                <a:gd name="connsiteY105" fmla="*/ 1078129 h 1208387"/>
                <a:gd name="connsiteX106" fmla="*/ 1146480 w 1447301"/>
                <a:gd name="connsiteY106" fmla="*/ 1064101 h 1208387"/>
                <a:gd name="connsiteX107" fmla="*/ 1127548 w 1447301"/>
                <a:gd name="connsiteY107" fmla="*/ 1046066 h 1208387"/>
                <a:gd name="connsiteX108" fmla="*/ 1119133 w 1447301"/>
                <a:gd name="connsiteY108" fmla="*/ 1038050 h 1208387"/>
                <a:gd name="connsiteX109" fmla="*/ 1117029 w 1447301"/>
                <a:gd name="connsiteY109" fmla="*/ 1026026 h 1208387"/>
                <a:gd name="connsiteX110" fmla="*/ 1117029 w 1447301"/>
                <a:gd name="connsiteY110" fmla="*/ 1024022 h 1208387"/>
                <a:gd name="connsiteX111" fmla="*/ 1119133 w 1447301"/>
                <a:gd name="connsiteY111" fmla="*/ 1016006 h 1208387"/>
                <a:gd name="connsiteX112" fmla="*/ 1125444 w 1447301"/>
                <a:gd name="connsiteY112" fmla="*/ 1011998 h 1208387"/>
                <a:gd name="connsiteX113" fmla="*/ 1125444 w 1447301"/>
                <a:gd name="connsiteY113" fmla="*/ 1003982 h 1208387"/>
                <a:gd name="connsiteX114" fmla="*/ 1119133 w 1447301"/>
                <a:gd name="connsiteY114" fmla="*/ 1014002 h 1208387"/>
                <a:gd name="connsiteX115" fmla="*/ 1112822 w 1447301"/>
                <a:gd name="connsiteY115" fmla="*/ 1024022 h 1208387"/>
                <a:gd name="connsiteX116" fmla="*/ 1108615 w 1447301"/>
                <a:gd name="connsiteY116" fmla="*/ 1028030 h 1208387"/>
                <a:gd name="connsiteX117" fmla="*/ 1104408 w 1447301"/>
                <a:gd name="connsiteY117" fmla="*/ 1032038 h 1208387"/>
                <a:gd name="connsiteX118" fmla="*/ 1098097 w 1447301"/>
                <a:gd name="connsiteY118" fmla="*/ 1034042 h 1208387"/>
                <a:gd name="connsiteX119" fmla="*/ 1091786 w 1447301"/>
                <a:gd name="connsiteY119" fmla="*/ 1032038 h 1208387"/>
                <a:gd name="connsiteX120" fmla="*/ 1098097 w 1447301"/>
                <a:gd name="connsiteY120" fmla="*/ 1036046 h 1208387"/>
                <a:gd name="connsiteX121" fmla="*/ 1106511 w 1447301"/>
                <a:gd name="connsiteY121" fmla="*/ 1042058 h 1208387"/>
                <a:gd name="connsiteX122" fmla="*/ 1114926 w 1447301"/>
                <a:gd name="connsiteY122" fmla="*/ 1044062 h 1208387"/>
                <a:gd name="connsiteX123" fmla="*/ 1123340 w 1447301"/>
                <a:gd name="connsiteY123" fmla="*/ 1048069 h 1208387"/>
                <a:gd name="connsiteX124" fmla="*/ 1108615 w 1447301"/>
                <a:gd name="connsiteY124" fmla="*/ 1048069 h 1208387"/>
                <a:gd name="connsiteX125" fmla="*/ 1095993 w 1447301"/>
                <a:gd name="connsiteY125" fmla="*/ 1044062 h 1208387"/>
                <a:gd name="connsiteX126" fmla="*/ 1085475 w 1447301"/>
                <a:gd name="connsiteY126" fmla="*/ 1038050 h 1208387"/>
                <a:gd name="connsiteX127" fmla="*/ 1074957 w 1447301"/>
                <a:gd name="connsiteY127" fmla="*/ 1032038 h 1208387"/>
                <a:gd name="connsiteX128" fmla="*/ 1053920 w 1447301"/>
                <a:gd name="connsiteY128" fmla="*/ 1016006 h 1208387"/>
                <a:gd name="connsiteX129" fmla="*/ 1034987 w 1447301"/>
                <a:gd name="connsiteY129" fmla="*/ 995966 h 1208387"/>
                <a:gd name="connsiteX130" fmla="*/ 1001329 w 1447301"/>
                <a:gd name="connsiteY130" fmla="*/ 955887 h 1208387"/>
                <a:gd name="connsiteX131" fmla="*/ 982396 w 1447301"/>
                <a:gd name="connsiteY131" fmla="*/ 937851 h 1208387"/>
                <a:gd name="connsiteX132" fmla="*/ 965567 w 1447301"/>
                <a:gd name="connsiteY132" fmla="*/ 925827 h 1208387"/>
                <a:gd name="connsiteX133" fmla="*/ 966907 w 1447301"/>
                <a:gd name="connsiteY133" fmla="*/ 925189 h 1208387"/>
                <a:gd name="connsiteX134" fmla="*/ 950883 w 1447301"/>
                <a:gd name="connsiteY134" fmla="*/ 911764 h 1208387"/>
                <a:gd name="connsiteX135" fmla="*/ 950883 w 1447301"/>
                <a:gd name="connsiteY135" fmla="*/ 915795 h 1208387"/>
                <a:gd name="connsiteX136" fmla="*/ 952901 w 1447301"/>
                <a:gd name="connsiteY136" fmla="*/ 917855 h 1208387"/>
                <a:gd name="connsiteX137" fmla="*/ 957120 w 1447301"/>
                <a:gd name="connsiteY137" fmla="*/ 925827 h 1208387"/>
                <a:gd name="connsiteX138" fmla="*/ 940335 w 1447301"/>
                <a:gd name="connsiteY138" fmla="*/ 921796 h 1208387"/>
                <a:gd name="connsiteX139" fmla="*/ 921350 w 1447301"/>
                <a:gd name="connsiteY139" fmla="*/ 915795 h 1208387"/>
                <a:gd name="connsiteX140" fmla="*/ 915113 w 1447301"/>
                <a:gd name="connsiteY140" fmla="*/ 913824 h 1208387"/>
                <a:gd name="connsiteX141" fmla="*/ 906675 w 1447301"/>
                <a:gd name="connsiteY141" fmla="*/ 915795 h 1208387"/>
                <a:gd name="connsiteX142" fmla="*/ 900346 w 1447301"/>
                <a:gd name="connsiteY142" fmla="*/ 917855 h 1208387"/>
                <a:gd name="connsiteX143" fmla="*/ 896127 w 1447301"/>
                <a:gd name="connsiteY143" fmla="*/ 925827 h 1208387"/>
                <a:gd name="connsiteX144" fmla="*/ 894018 w 1447301"/>
                <a:gd name="connsiteY144" fmla="*/ 913824 h 1208387"/>
                <a:gd name="connsiteX145" fmla="*/ 889799 w 1447301"/>
                <a:gd name="connsiteY145" fmla="*/ 905762 h 1208387"/>
                <a:gd name="connsiteX146" fmla="*/ 883562 w 1447301"/>
                <a:gd name="connsiteY146" fmla="*/ 905762 h 1208387"/>
                <a:gd name="connsiteX147" fmla="*/ 866685 w 1447301"/>
                <a:gd name="connsiteY147" fmla="*/ 903791 h 1208387"/>
                <a:gd name="connsiteX148" fmla="*/ 862466 w 1447301"/>
                <a:gd name="connsiteY148" fmla="*/ 911764 h 1208387"/>
                <a:gd name="connsiteX149" fmla="*/ 856138 w 1447301"/>
                <a:gd name="connsiteY149" fmla="*/ 915795 h 1208387"/>
                <a:gd name="connsiteX150" fmla="*/ 852010 w 1447301"/>
                <a:gd name="connsiteY150" fmla="*/ 913824 h 1208387"/>
                <a:gd name="connsiteX151" fmla="*/ 847791 w 1447301"/>
                <a:gd name="connsiteY151" fmla="*/ 913824 h 1208387"/>
                <a:gd name="connsiteX152" fmla="*/ 845682 w 1447301"/>
                <a:gd name="connsiteY152" fmla="*/ 921796 h 1208387"/>
                <a:gd name="connsiteX153" fmla="*/ 847791 w 1447301"/>
                <a:gd name="connsiteY153" fmla="*/ 925827 h 1208387"/>
                <a:gd name="connsiteX154" fmla="*/ 852010 w 1447301"/>
                <a:gd name="connsiteY154" fmla="*/ 933889 h 1208387"/>
                <a:gd name="connsiteX155" fmla="*/ 852010 w 1447301"/>
                <a:gd name="connsiteY155" fmla="*/ 943832 h 1208387"/>
                <a:gd name="connsiteX156" fmla="*/ 847791 w 1447301"/>
                <a:gd name="connsiteY156" fmla="*/ 951894 h 1208387"/>
                <a:gd name="connsiteX157" fmla="*/ 843572 w 1447301"/>
                <a:gd name="connsiteY157" fmla="*/ 955925 h 1208387"/>
                <a:gd name="connsiteX158" fmla="*/ 841463 w 1447301"/>
                <a:gd name="connsiteY158" fmla="*/ 957896 h 1208387"/>
                <a:gd name="connsiteX159" fmla="*/ 824587 w 1447301"/>
                <a:gd name="connsiteY159" fmla="*/ 955925 h 1208387"/>
                <a:gd name="connsiteX160" fmla="*/ 812021 w 1447301"/>
                <a:gd name="connsiteY160" fmla="*/ 953865 h 1208387"/>
                <a:gd name="connsiteX161" fmla="*/ 801473 w 1447301"/>
                <a:gd name="connsiteY161" fmla="*/ 945893 h 1208387"/>
                <a:gd name="connsiteX162" fmla="*/ 778360 w 1447301"/>
                <a:gd name="connsiteY162" fmla="*/ 933889 h 1208387"/>
                <a:gd name="connsiteX163" fmla="*/ 765703 w 1447301"/>
                <a:gd name="connsiteY163" fmla="*/ 931829 h 1208387"/>
                <a:gd name="connsiteX164" fmla="*/ 757265 w 1447301"/>
                <a:gd name="connsiteY164" fmla="*/ 927798 h 1208387"/>
                <a:gd name="connsiteX165" fmla="*/ 755247 w 1447301"/>
                <a:gd name="connsiteY165" fmla="*/ 927798 h 1208387"/>
                <a:gd name="connsiteX166" fmla="*/ 751028 w 1447301"/>
                <a:gd name="connsiteY166" fmla="*/ 923857 h 1208387"/>
                <a:gd name="connsiteX167" fmla="*/ 746809 w 1447301"/>
                <a:gd name="connsiteY167" fmla="*/ 911764 h 1208387"/>
                <a:gd name="connsiteX168" fmla="*/ 744700 w 1447301"/>
                <a:gd name="connsiteY168" fmla="*/ 905762 h 1208387"/>
                <a:gd name="connsiteX169" fmla="*/ 746809 w 1447301"/>
                <a:gd name="connsiteY169" fmla="*/ 901821 h 1208387"/>
                <a:gd name="connsiteX170" fmla="*/ 755247 w 1447301"/>
                <a:gd name="connsiteY170" fmla="*/ 885786 h 1208387"/>
                <a:gd name="connsiteX171" fmla="*/ 765703 w 1447301"/>
                <a:gd name="connsiteY171" fmla="*/ 867692 h 1208387"/>
                <a:gd name="connsiteX172" fmla="*/ 765703 w 1447301"/>
                <a:gd name="connsiteY172" fmla="*/ 861690 h 1208387"/>
                <a:gd name="connsiteX173" fmla="*/ 761484 w 1447301"/>
                <a:gd name="connsiteY173" fmla="*/ 845656 h 1208387"/>
                <a:gd name="connsiteX174" fmla="*/ 751028 w 1447301"/>
                <a:gd name="connsiteY174" fmla="*/ 811616 h 1208387"/>
                <a:gd name="connsiteX175" fmla="*/ 736262 w 1447301"/>
                <a:gd name="connsiteY175" fmla="*/ 779548 h 1208387"/>
                <a:gd name="connsiteX176" fmla="*/ 723604 w 1447301"/>
                <a:gd name="connsiteY176" fmla="*/ 755451 h 1208387"/>
                <a:gd name="connsiteX177" fmla="*/ 706820 w 1447301"/>
                <a:gd name="connsiteY177" fmla="*/ 733415 h 1208387"/>
                <a:gd name="connsiteX178" fmla="*/ 687926 w 1447301"/>
                <a:gd name="connsiteY178" fmla="*/ 711379 h 1208387"/>
                <a:gd name="connsiteX179" fmla="*/ 677378 w 1447301"/>
                <a:gd name="connsiteY179" fmla="*/ 701346 h 1208387"/>
                <a:gd name="connsiteX180" fmla="*/ 666831 w 1447301"/>
                <a:gd name="connsiteY180" fmla="*/ 695345 h 1208387"/>
                <a:gd name="connsiteX181" fmla="*/ 654265 w 1447301"/>
                <a:gd name="connsiteY181" fmla="*/ 693374 h 1208387"/>
                <a:gd name="connsiteX182" fmla="*/ 641608 w 1447301"/>
                <a:gd name="connsiteY182" fmla="*/ 691403 h 1208387"/>
                <a:gd name="connsiteX183" fmla="*/ 614276 w 1447301"/>
                <a:gd name="connsiteY183" fmla="*/ 693374 h 1208387"/>
                <a:gd name="connsiteX184" fmla="*/ 565849 w 1447301"/>
                <a:gd name="connsiteY184" fmla="*/ 699376 h 1208387"/>
                <a:gd name="connsiteX185" fmla="*/ 538516 w 1447301"/>
                <a:gd name="connsiteY185" fmla="*/ 699376 h 1208387"/>
                <a:gd name="connsiteX186" fmla="*/ 525951 w 1447301"/>
                <a:gd name="connsiteY186" fmla="*/ 701346 h 1208387"/>
                <a:gd name="connsiteX187" fmla="*/ 513294 w 1447301"/>
                <a:gd name="connsiteY187" fmla="*/ 703407 h 1208387"/>
                <a:gd name="connsiteX188" fmla="*/ 492290 w 1447301"/>
                <a:gd name="connsiteY188" fmla="*/ 711379 h 1208387"/>
                <a:gd name="connsiteX189" fmla="*/ 475414 w 1447301"/>
                <a:gd name="connsiteY189" fmla="*/ 721412 h 1208387"/>
                <a:gd name="connsiteX190" fmla="*/ 464866 w 1447301"/>
                <a:gd name="connsiteY190" fmla="*/ 715410 h 1208387"/>
                <a:gd name="connsiteX191" fmla="*/ 452301 w 1447301"/>
                <a:gd name="connsiteY191" fmla="*/ 711379 h 1208387"/>
                <a:gd name="connsiteX192" fmla="*/ 439644 w 1447301"/>
                <a:gd name="connsiteY192" fmla="*/ 703407 h 1208387"/>
                <a:gd name="connsiteX193" fmla="*/ 427078 w 1447301"/>
                <a:gd name="connsiteY193" fmla="*/ 699376 h 1208387"/>
                <a:gd name="connsiteX194" fmla="*/ 378651 w 1447301"/>
                <a:gd name="connsiteY194" fmla="*/ 691403 h 1208387"/>
                <a:gd name="connsiteX195" fmla="*/ 378723 w 1447301"/>
                <a:gd name="connsiteY195" fmla="*/ 690720 h 1208387"/>
                <a:gd name="connsiteX196" fmla="*/ 361825 w 1447301"/>
                <a:gd name="connsiteY196" fmla="*/ 685355 h 1208387"/>
                <a:gd name="connsiteX197" fmla="*/ 344996 w 1447301"/>
                <a:gd name="connsiteY197" fmla="*/ 675335 h 1208387"/>
                <a:gd name="connsiteX198" fmla="*/ 307131 w 1447301"/>
                <a:gd name="connsiteY198" fmla="*/ 659303 h 1208387"/>
                <a:gd name="connsiteX199" fmla="*/ 292405 w 1447301"/>
                <a:gd name="connsiteY199" fmla="*/ 645276 h 1208387"/>
                <a:gd name="connsiteX200" fmla="*/ 281887 w 1447301"/>
                <a:gd name="connsiteY200" fmla="*/ 639264 h 1208387"/>
                <a:gd name="connsiteX201" fmla="*/ 273473 w 1447301"/>
                <a:gd name="connsiteY201" fmla="*/ 637260 h 1208387"/>
                <a:gd name="connsiteX202" fmla="*/ 262954 w 1447301"/>
                <a:gd name="connsiteY202" fmla="*/ 633252 h 1208387"/>
                <a:gd name="connsiteX203" fmla="*/ 254540 w 1447301"/>
                <a:gd name="connsiteY203" fmla="*/ 633252 h 1208387"/>
                <a:gd name="connsiteX204" fmla="*/ 250333 w 1447301"/>
                <a:gd name="connsiteY204" fmla="*/ 629244 h 1208387"/>
                <a:gd name="connsiteX205" fmla="*/ 252436 w 1447301"/>
                <a:gd name="connsiteY205" fmla="*/ 637260 h 1208387"/>
                <a:gd name="connsiteX206" fmla="*/ 256644 w 1447301"/>
                <a:gd name="connsiteY206" fmla="*/ 641268 h 1208387"/>
                <a:gd name="connsiteX207" fmla="*/ 273473 w 1447301"/>
                <a:gd name="connsiteY207" fmla="*/ 645276 h 1208387"/>
                <a:gd name="connsiteX208" fmla="*/ 262954 w 1447301"/>
                <a:gd name="connsiteY208" fmla="*/ 645276 h 1208387"/>
                <a:gd name="connsiteX209" fmla="*/ 252436 w 1447301"/>
                <a:gd name="connsiteY209" fmla="*/ 643272 h 1208387"/>
                <a:gd name="connsiteX210" fmla="*/ 239814 w 1447301"/>
                <a:gd name="connsiteY210" fmla="*/ 639264 h 1208387"/>
                <a:gd name="connsiteX211" fmla="*/ 229296 w 1447301"/>
                <a:gd name="connsiteY211" fmla="*/ 633252 h 1208387"/>
                <a:gd name="connsiteX212" fmla="*/ 218778 w 1447301"/>
                <a:gd name="connsiteY212" fmla="*/ 627240 h 1208387"/>
                <a:gd name="connsiteX213" fmla="*/ 208260 w 1447301"/>
                <a:gd name="connsiteY213" fmla="*/ 617220 h 1208387"/>
                <a:gd name="connsiteX214" fmla="*/ 201949 w 1447301"/>
                <a:gd name="connsiteY214" fmla="*/ 609204 h 1208387"/>
                <a:gd name="connsiteX215" fmla="*/ 197742 w 1447301"/>
                <a:gd name="connsiteY215" fmla="*/ 601188 h 1208387"/>
                <a:gd name="connsiteX216" fmla="*/ 189327 w 1447301"/>
                <a:gd name="connsiteY216" fmla="*/ 603192 h 1208387"/>
                <a:gd name="connsiteX217" fmla="*/ 183016 w 1447301"/>
                <a:gd name="connsiteY217" fmla="*/ 601188 h 1208387"/>
                <a:gd name="connsiteX218" fmla="*/ 178809 w 1447301"/>
                <a:gd name="connsiteY218" fmla="*/ 593173 h 1208387"/>
                <a:gd name="connsiteX219" fmla="*/ 172498 w 1447301"/>
                <a:gd name="connsiteY219" fmla="*/ 587161 h 1208387"/>
                <a:gd name="connsiteX220" fmla="*/ 166187 w 1447301"/>
                <a:gd name="connsiteY220" fmla="*/ 567121 h 1208387"/>
                <a:gd name="connsiteX221" fmla="*/ 159876 w 1447301"/>
                <a:gd name="connsiteY221" fmla="*/ 549085 h 1208387"/>
                <a:gd name="connsiteX222" fmla="*/ 159876 w 1447301"/>
                <a:gd name="connsiteY222" fmla="*/ 543074 h 1208387"/>
                <a:gd name="connsiteX223" fmla="*/ 161980 w 1447301"/>
                <a:gd name="connsiteY223" fmla="*/ 541070 h 1208387"/>
                <a:gd name="connsiteX224" fmla="*/ 168291 w 1447301"/>
                <a:gd name="connsiteY224" fmla="*/ 539066 h 1208387"/>
                <a:gd name="connsiteX225" fmla="*/ 176705 w 1447301"/>
                <a:gd name="connsiteY225" fmla="*/ 537062 h 1208387"/>
                <a:gd name="connsiteX226" fmla="*/ 191431 w 1447301"/>
                <a:gd name="connsiteY226" fmla="*/ 537062 h 1208387"/>
                <a:gd name="connsiteX227" fmla="*/ 201949 w 1447301"/>
                <a:gd name="connsiteY227" fmla="*/ 533054 h 1208387"/>
                <a:gd name="connsiteX228" fmla="*/ 170394 w 1447301"/>
                <a:gd name="connsiteY228" fmla="*/ 533054 h 1208387"/>
                <a:gd name="connsiteX229" fmla="*/ 155669 w 1447301"/>
                <a:gd name="connsiteY229" fmla="*/ 531050 h 1208387"/>
                <a:gd name="connsiteX230" fmla="*/ 153565 w 1447301"/>
                <a:gd name="connsiteY230" fmla="*/ 527042 h 1208387"/>
                <a:gd name="connsiteX231" fmla="*/ 153565 w 1447301"/>
                <a:gd name="connsiteY231" fmla="*/ 523034 h 1208387"/>
                <a:gd name="connsiteX232" fmla="*/ 155669 w 1447301"/>
                <a:gd name="connsiteY232" fmla="*/ 517022 h 1208387"/>
                <a:gd name="connsiteX233" fmla="*/ 153565 w 1447301"/>
                <a:gd name="connsiteY233" fmla="*/ 511010 h 1208387"/>
                <a:gd name="connsiteX234" fmla="*/ 149358 w 1447301"/>
                <a:gd name="connsiteY234" fmla="*/ 507002 h 1208387"/>
                <a:gd name="connsiteX235" fmla="*/ 145151 w 1447301"/>
                <a:gd name="connsiteY235" fmla="*/ 502994 h 1208387"/>
                <a:gd name="connsiteX236" fmla="*/ 128322 w 1447301"/>
                <a:gd name="connsiteY236" fmla="*/ 500990 h 1208387"/>
                <a:gd name="connsiteX237" fmla="*/ 117804 w 1447301"/>
                <a:gd name="connsiteY237" fmla="*/ 500990 h 1208387"/>
                <a:gd name="connsiteX238" fmla="*/ 111493 w 1447301"/>
                <a:gd name="connsiteY238" fmla="*/ 498986 h 1208387"/>
                <a:gd name="connsiteX239" fmla="*/ 103078 w 1447301"/>
                <a:gd name="connsiteY239" fmla="*/ 492974 h 1208387"/>
                <a:gd name="connsiteX240" fmla="*/ 86249 w 1447301"/>
                <a:gd name="connsiteY240" fmla="*/ 478947 h 1208387"/>
                <a:gd name="connsiteX241" fmla="*/ 71524 w 1447301"/>
                <a:gd name="connsiteY241" fmla="*/ 466923 h 1208387"/>
                <a:gd name="connsiteX242" fmla="*/ 58902 w 1447301"/>
                <a:gd name="connsiteY242" fmla="*/ 456903 h 1208387"/>
                <a:gd name="connsiteX243" fmla="*/ 29451 w 1447301"/>
                <a:gd name="connsiteY243" fmla="*/ 436864 h 1208387"/>
                <a:gd name="connsiteX244" fmla="*/ 12622 w 1447301"/>
                <a:gd name="connsiteY244" fmla="*/ 426844 h 1208387"/>
                <a:gd name="connsiteX245" fmla="*/ 0 w 1447301"/>
                <a:gd name="connsiteY245" fmla="*/ 420832 h 1208387"/>
                <a:gd name="connsiteX246" fmla="*/ 12622 w 1447301"/>
                <a:gd name="connsiteY246" fmla="*/ 408808 h 1208387"/>
                <a:gd name="connsiteX247" fmla="*/ 23140 w 1447301"/>
                <a:gd name="connsiteY247" fmla="*/ 394780 h 1208387"/>
                <a:gd name="connsiteX248" fmla="*/ 29451 w 1447301"/>
                <a:gd name="connsiteY248" fmla="*/ 376745 h 1208387"/>
                <a:gd name="connsiteX249" fmla="*/ 31554 w 1447301"/>
                <a:gd name="connsiteY249" fmla="*/ 358709 h 1208387"/>
                <a:gd name="connsiteX250" fmla="*/ 33658 w 1447301"/>
                <a:gd name="connsiteY250" fmla="*/ 340673 h 1208387"/>
                <a:gd name="connsiteX251" fmla="*/ 33658 w 1447301"/>
                <a:gd name="connsiteY251" fmla="*/ 320634 h 1208387"/>
                <a:gd name="connsiteX252" fmla="*/ 31554 w 1447301"/>
                <a:gd name="connsiteY252" fmla="*/ 280554 h 1208387"/>
                <a:gd name="connsiteX253" fmla="*/ 29451 w 1447301"/>
                <a:gd name="connsiteY253" fmla="*/ 2004 h 1208387"/>
                <a:gd name="connsiteX254" fmla="*/ 54694 w 1447301"/>
                <a:gd name="connsiteY254" fmla="*/ 0 h 1208387"/>
                <a:gd name="connsiteX0" fmla="*/ 54694 w 1447301"/>
                <a:gd name="connsiteY0" fmla="*/ 0 h 1208387"/>
                <a:gd name="connsiteX1" fmla="*/ 69420 w 1447301"/>
                <a:gd name="connsiteY1" fmla="*/ 2004 h 1208387"/>
                <a:gd name="connsiteX2" fmla="*/ 71524 w 1447301"/>
                <a:gd name="connsiteY2" fmla="*/ 2004 h 1208387"/>
                <a:gd name="connsiteX3" fmla="*/ 73627 w 1447301"/>
                <a:gd name="connsiteY3" fmla="*/ 6012 h 1208387"/>
                <a:gd name="connsiteX4" fmla="*/ 75731 w 1447301"/>
                <a:gd name="connsiteY4" fmla="*/ 18035 h 1208387"/>
                <a:gd name="connsiteX5" fmla="*/ 79938 w 1447301"/>
                <a:gd name="connsiteY5" fmla="*/ 22043 h 1208387"/>
                <a:gd name="connsiteX6" fmla="*/ 82042 w 1447301"/>
                <a:gd name="connsiteY6" fmla="*/ 24047 h 1208387"/>
                <a:gd name="connsiteX7" fmla="*/ 90456 w 1447301"/>
                <a:gd name="connsiteY7" fmla="*/ 24047 h 1208387"/>
                <a:gd name="connsiteX8" fmla="*/ 105182 w 1447301"/>
                <a:gd name="connsiteY8" fmla="*/ 24047 h 1208387"/>
                <a:gd name="connsiteX9" fmla="*/ 136736 w 1447301"/>
                <a:gd name="connsiteY9" fmla="*/ 24047 h 1208387"/>
                <a:gd name="connsiteX10" fmla="*/ 145151 w 1447301"/>
                <a:gd name="connsiteY10" fmla="*/ 26051 h 1208387"/>
                <a:gd name="connsiteX11" fmla="*/ 145151 w 1447301"/>
                <a:gd name="connsiteY11" fmla="*/ 32063 h 1208387"/>
                <a:gd name="connsiteX12" fmla="*/ 147254 w 1447301"/>
                <a:gd name="connsiteY12" fmla="*/ 34067 h 1208387"/>
                <a:gd name="connsiteX13" fmla="*/ 153565 w 1447301"/>
                <a:gd name="connsiteY13" fmla="*/ 34067 h 1208387"/>
                <a:gd name="connsiteX14" fmla="*/ 159876 w 1447301"/>
                <a:gd name="connsiteY14" fmla="*/ 34067 h 1208387"/>
                <a:gd name="connsiteX15" fmla="*/ 166187 w 1447301"/>
                <a:gd name="connsiteY15" fmla="*/ 34067 h 1208387"/>
                <a:gd name="connsiteX16" fmla="*/ 168291 w 1447301"/>
                <a:gd name="connsiteY16" fmla="*/ 36071 h 1208387"/>
                <a:gd name="connsiteX17" fmla="*/ 168291 w 1447301"/>
                <a:gd name="connsiteY17" fmla="*/ 38075 h 1208387"/>
                <a:gd name="connsiteX18" fmla="*/ 168291 w 1447301"/>
                <a:gd name="connsiteY18" fmla="*/ 54107 h 1208387"/>
                <a:gd name="connsiteX19" fmla="*/ 168291 w 1447301"/>
                <a:gd name="connsiteY19" fmla="*/ 62123 h 1208387"/>
                <a:gd name="connsiteX20" fmla="*/ 170394 w 1447301"/>
                <a:gd name="connsiteY20" fmla="*/ 68134 h 1208387"/>
                <a:gd name="connsiteX21" fmla="*/ 178809 w 1447301"/>
                <a:gd name="connsiteY21" fmla="*/ 72142 h 1208387"/>
                <a:gd name="connsiteX22" fmla="*/ 191431 w 1447301"/>
                <a:gd name="connsiteY22" fmla="*/ 74146 h 1208387"/>
                <a:gd name="connsiteX23" fmla="*/ 225089 w 1447301"/>
                <a:gd name="connsiteY23" fmla="*/ 74146 h 1208387"/>
                <a:gd name="connsiteX24" fmla="*/ 286094 w 1447301"/>
                <a:gd name="connsiteY24" fmla="*/ 72142 h 1208387"/>
                <a:gd name="connsiteX25" fmla="*/ 338685 w 1447301"/>
                <a:gd name="connsiteY25" fmla="*/ 74146 h 1208387"/>
                <a:gd name="connsiteX26" fmla="*/ 366033 w 1447301"/>
                <a:gd name="connsiteY26" fmla="*/ 74146 h 1208387"/>
                <a:gd name="connsiteX27" fmla="*/ 376551 w 1447301"/>
                <a:gd name="connsiteY27" fmla="*/ 72142 h 1208387"/>
                <a:gd name="connsiteX28" fmla="*/ 380758 w 1447301"/>
                <a:gd name="connsiteY28" fmla="*/ 66131 h 1208387"/>
                <a:gd name="connsiteX29" fmla="*/ 418624 w 1447301"/>
                <a:gd name="connsiteY29" fmla="*/ 66131 h 1208387"/>
                <a:gd name="connsiteX30" fmla="*/ 418629 w 1447301"/>
                <a:gd name="connsiteY30" fmla="*/ 66144 h 1208387"/>
                <a:gd name="connsiteX31" fmla="*/ 845682 w 1447301"/>
                <a:gd name="connsiteY31" fmla="*/ 64093 h 1208387"/>
                <a:gd name="connsiteX32" fmla="*/ 1276943 w 1447301"/>
                <a:gd name="connsiteY32" fmla="*/ 62123 h 1208387"/>
                <a:gd name="connsiteX33" fmla="*/ 1279053 w 1447301"/>
                <a:gd name="connsiteY33" fmla="*/ 172303 h 1208387"/>
                <a:gd name="connsiteX34" fmla="*/ 1285290 w 1447301"/>
                <a:gd name="connsiteY34" fmla="*/ 276571 h 1208387"/>
                <a:gd name="connsiteX35" fmla="*/ 1295837 w 1447301"/>
                <a:gd name="connsiteY35" fmla="*/ 490929 h 1208387"/>
                <a:gd name="connsiteX36" fmla="*/ 1295837 w 1447301"/>
                <a:gd name="connsiteY36" fmla="*/ 503022 h 1208387"/>
                <a:gd name="connsiteX37" fmla="*/ 1291618 w 1447301"/>
                <a:gd name="connsiteY37" fmla="*/ 519057 h 1208387"/>
                <a:gd name="connsiteX38" fmla="*/ 1285290 w 1447301"/>
                <a:gd name="connsiteY38" fmla="*/ 547094 h 1208387"/>
                <a:gd name="connsiteX39" fmla="*/ 1268505 w 1447301"/>
                <a:gd name="connsiteY39" fmla="*/ 599228 h 1208387"/>
                <a:gd name="connsiteX40" fmla="*/ 1255848 w 1447301"/>
                <a:gd name="connsiteY40" fmla="*/ 643300 h 1208387"/>
                <a:gd name="connsiteX41" fmla="*/ 1239063 w 1447301"/>
                <a:gd name="connsiteY41" fmla="*/ 685312 h 1208387"/>
                <a:gd name="connsiteX42" fmla="*/ 1232735 w 1447301"/>
                <a:gd name="connsiteY42" fmla="*/ 701346 h 1208387"/>
                <a:gd name="connsiteX43" fmla="*/ 1224297 w 1447301"/>
                <a:gd name="connsiteY43" fmla="*/ 709408 h 1208387"/>
                <a:gd name="connsiteX44" fmla="*/ 1217968 w 1447301"/>
                <a:gd name="connsiteY44" fmla="*/ 709408 h 1208387"/>
                <a:gd name="connsiteX45" fmla="*/ 1215859 w 1447301"/>
                <a:gd name="connsiteY45" fmla="*/ 709408 h 1208387"/>
                <a:gd name="connsiteX46" fmla="*/ 1211731 w 1447301"/>
                <a:gd name="connsiteY46" fmla="*/ 709408 h 1208387"/>
                <a:gd name="connsiteX47" fmla="*/ 1205403 w 1447301"/>
                <a:gd name="connsiteY47" fmla="*/ 713439 h 1208387"/>
                <a:gd name="connsiteX48" fmla="*/ 1194855 w 1447301"/>
                <a:gd name="connsiteY48" fmla="*/ 725443 h 1208387"/>
                <a:gd name="connsiteX49" fmla="*/ 1186417 w 1447301"/>
                <a:gd name="connsiteY49" fmla="*/ 735475 h 1208387"/>
                <a:gd name="connsiteX50" fmla="*/ 1184307 w 1447301"/>
                <a:gd name="connsiteY50" fmla="*/ 741477 h 1208387"/>
                <a:gd name="connsiteX51" fmla="*/ 1186417 w 1447301"/>
                <a:gd name="connsiteY51" fmla="*/ 745508 h 1208387"/>
                <a:gd name="connsiteX52" fmla="*/ 1190636 w 1447301"/>
                <a:gd name="connsiteY52" fmla="*/ 753480 h 1208387"/>
                <a:gd name="connsiteX53" fmla="*/ 1194855 w 1447301"/>
                <a:gd name="connsiteY53" fmla="*/ 763513 h 1208387"/>
                <a:gd name="connsiteX54" fmla="*/ 1193714 w 1447301"/>
                <a:gd name="connsiteY54" fmla="*/ 764233 h 1208387"/>
                <a:gd name="connsiteX55" fmla="*/ 1266388 w 1447301"/>
                <a:gd name="connsiteY55" fmla="*/ 819617 h 1208387"/>
                <a:gd name="connsiteX56" fmla="*/ 1340015 w 1447301"/>
                <a:gd name="connsiteY56" fmla="*/ 907792 h 1208387"/>
                <a:gd name="connsiteX57" fmla="*/ 1348430 w 1447301"/>
                <a:gd name="connsiteY57" fmla="*/ 913804 h 1208387"/>
                <a:gd name="connsiteX58" fmla="*/ 1356845 w 1447301"/>
                <a:gd name="connsiteY58" fmla="*/ 915808 h 1208387"/>
                <a:gd name="connsiteX59" fmla="*/ 1363156 w 1447301"/>
                <a:gd name="connsiteY59" fmla="*/ 917812 h 1208387"/>
                <a:gd name="connsiteX60" fmla="*/ 1367363 w 1447301"/>
                <a:gd name="connsiteY60" fmla="*/ 917812 h 1208387"/>
                <a:gd name="connsiteX61" fmla="*/ 1369466 w 1447301"/>
                <a:gd name="connsiteY61" fmla="*/ 923823 h 1208387"/>
                <a:gd name="connsiteX62" fmla="*/ 1369466 w 1447301"/>
                <a:gd name="connsiteY62" fmla="*/ 941859 h 1208387"/>
                <a:gd name="connsiteX63" fmla="*/ 1369466 w 1447301"/>
                <a:gd name="connsiteY63" fmla="*/ 951879 h 1208387"/>
                <a:gd name="connsiteX64" fmla="*/ 1371570 w 1447301"/>
                <a:gd name="connsiteY64" fmla="*/ 953883 h 1208387"/>
                <a:gd name="connsiteX65" fmla="*/ 1377881 w 1447301"/>
                <a:gd name="connsiteY65" fmla="*/ 955887 h 1208387"/>
                <a:gd name="connsiteX66" fmla="*/ 1392607 w 1447301"/>
                <a:gd name="connsiteY66" fmla="*/ 955887 h 1208387"/>
                <a:gd name="connsiteX67" fmla="*/ 1405228 w 1447301"/>
                <a:gd name="connsiteY67" fmla="*/ 957891 h 1208387"/>
                <a:gd name="connsiteX68" fmla="*/ 1415747 w 1447301"/>
                <a:gd name="connsiteY68" fmla="*/ 963903 h 1208387"/>
                <a:gd name="connsiteX69" fmla="*/ 1426265 w 1447301"/>
                <a:gd name="connsiteY69" fmla="*/ 967911 h 1208387"/>
                <a:gd name="connsiteX70" fmla="*/ 1434679 w 1447301"/>
                <a:gd name="connsiteY70" fmla="*/ 975927 h 1208387"/>
                <a:gd name="connsiteX71" fmla="*/ 1443094 w 1447301"/>
                <a:gd name="connsiteY71" fmla="*/ 983943 h 1208387"/>
                <a:gd name="connsiteX72" fmla="*/ 1447301 w 1447301"/>
                <a:gd name="connsiteY72" fmla="*/ 993962 h 1208387"/>
                <a:gd name="connsiteX73" fmla="*/ 1447301 w 1447301"/>
                <a:gd name="connsiteY73" fmla="*/ 1003982 h 1208387"/>
                <a:gd name="connsiteX74" fmla="*/ 1443094 w 1447301"/>
                <a:gd name="connsiteY74" fmla="*/ 1011998 h 1208387"/>
                <a:gd name="connsiteX75" fmla="*/ 1424161 w 1447301"/>
                <a:gd name="connsiteY75" fmla="*/ 1034042 h 1208387"/>
                <a:gd name="connsiteX76" fmla="*/ 1403125 w 1447301"/>
                <a:gd name="connsiteY76" fmla="*/ 1060093 h 1208387"/>
                <a:gd name="connsiteX77" fmla="*/ 1392607 w 1447301"/>
                <a:gd name="connsiteY77" fmla="*/ 1076125 h 1208387"/>
                <a:gd name="connsiteX78" fmla="*/ 1388399 w 1447301"/>
                <a:gd name="connsiteY78" fmla="*/ 1090153 h 1208387"/>
                <a:gd name="connsiteX79" fmla="*/ 1384192 w 1447301"/>
                <a:gd name="connsiteY79" fmla="*/ 1104181 h 1208387"/>
                <a:gd name="connsiteX80" fmla="*/ 1384192 w 1447301"/>
                <a:gd name="connsiteY80" fmla="*/ 1118208 h 1208387"/>
                <a:gd name="connsiteX81" fmla="*/ 1384192 w 1447301"/>
                <a:gd name="connsiteY81" fmla="*/ 1126224 h 1208387"/>
                <a:gd name="connsiteX82" fmla="*/ 1384192 w 1447301"/>
                <a:gd name="connsiteY82" fmla="*/ 1134240 h 1208387"/>
                <a:gd name="connsiteX83" fmla="*/ 1382088 w 1447301"/>
                <a:gd name="connsiteY83" fmla="*/ 1140252 h 1208387"/>
                <a:gd name="connsiteX84" fmla="*/ 1377881 w 1447301"/>
                <a:gd name="connsiteY84" fmla="*/ 1146264 h 1208387"/>
                <a:gd name="connsiteX85" fmla="*/ 1363156 w 1447301"/>
                <a:gd name="connsiteY85" fmla="*/ 1150272 h 1208387"/>
                <a:gd name="connsiteX86" fmla="*/ 1348430 w 1447301"/>
                <a:gd name="connsiteY86" fmla="*/ 1156284 h 1208387"/>
                <a:gd name="connsiteX87" fmla="*/ 1346326 w 1447301"/>
                <a:gd name="connsiteY87" fmla="*/ 1156284 h 1208387"/>
                <a:gd name="connsiteX88" fmla="*/ 1340015 w 1447301"/>
                <a:gd name="connsiteY88" fmla="*/ 1156284 h 1208387"/>
                <a:gd name="connsiteX89" fmla="*/ 1335808 w 1447301"/>
                <a:gd name="connsiteY89" fmla="*/ 1160292 h 1208387"/>
                <a:gd name="connsiteX90" fmla="*/ 1331601 w 1447301"/>
                <a:gd name="connsiteY90" fmla="*/ 1168308 h 1208387"/>
                <a:gd name="connsiteX91" fmla="*/ 1329497 w 1447301"/>
                <a:gd name="connsiteY91" fmla="*/ 1176323 h 1208387"/>
                <a:gd name="connsiteX92" fmla="*/ 1321083 w 1447301"/>
                <a:gd name="connsiteY92" fmla="*/ 1208387 h 1208387"/>
                <a:gd name="connsiteX93" fmla="*/ 1314772 w 1447301"/>
                <a:gd name="connsiteY93" fmla="*/ 1194359 h 1208387"/>
                <a:gd name="connsiteX94" fmla="*/ 1304254 w 1447301"/>
                <a:gd name="connsiteY94" fmla="*/ 1184339 h 1208387"/>
                <a:gd name="connsiteX95" fmla="*/ 1289528 w 1447301"/>
                <a:gd name="connsiteY95" fmla="*/ 1174320 h 1208387"/>
                <a:gd name="connsiteX96" fmla="*/ 1274803 w 1447301"/>
                <a:gd name="connsiteY96" fmla="*/ 1164300 h 1208387"/>
                <a:gd name="connsiteX97" fmla="*/ 1247455 w 1447301"/>
                <a:gd name="connsiteY97" fmla="*/ 1148268 h 1208387"/>
                <a:gd name="connsiteX98" fmla="*/ 1234833 w 1447301"/>
                <a:gd name="connsiteY98" fmla="*/ 1138248 h 1208387"/>
                <a:gd name="connsiteX99" fmla="*/ 1222212 w 1447301"/>
                <a:gd name="connsiteY99" fmla="*/ 1128228 h 1208387"/>
                <a:gd name="connsiteX100" fmla="*/ 1203279 w 1447301"/>
                <a:gd name="connsiteY100" fmla="*/ 1108189 h 1208387"/>
                <a:gd name="connsiteX101" fmla="*/ 1184346 w 1447301"/>
                <a:gd name="connsiteY101" fmla="*/ 1094161 h 1208387"/>
                <a:gd name="connsiteX102" fmla="*/ 1163310 w 1447301"/>
                <a:gd name="connsiteY102" fmla="*/ 1078129 h 1208387"/>
                <a:gd name="connsiteX103" fmla="*/ 1146480 w 1447301"/>
                <a:gd name="connsiteY103" fmla="*/ 1064101 h 1208387"/>
                <a:gd name="connsiteX104" fmla="*/ 1127548 w 1447301"/>
                <a:gd name="connsiteY104" fmla="*/ 1046066 h 1208387"/>
                <a:gd name="connsiteX105" fmla="*/ 1119133 w 1447301"/>
                <a:gd name="connsiteY105" fmla="*/ 1038050 h 1208387"/>
                <a:gd name="connsiteX106" fmla="*/ 1117029 w 1447301"/>
                <a:gd name="connsiteY106" fmla="*/ 1026026 h 1208387"/>
                <a:gd name="connsiteX107" fmla="*/ 1117029 w 1447301"/>
                <a:gd name="connsiteY107" fmla="*/ 1024022 h 1208387"/>
                <a:gd name="connsiteX108" fmla="*/ 1119133 w 1447301"/>
                <a:gd name="connsiteY108" fmla="*/ 1016006 h 1208387"/>
                <a:gd name="connsiteX109" fmla="*/ 1125444 w 1447301"/>
                <a:gd name="connsiteY109" fmla="*/ 1011998 h 1208387"/>
                <a:gd name="connsiteX110" fmla="*/ 1125444 w 1447301"/>
                <a:gd name="connsiteY110" fmla="*/ 1003982 h 1208387"/>
                <a:gd name="connsiteX111" fmla="*/ 1119133 w 1447301"/>
                <a:gd name="connsiteY111" fmla="*/ 1014002 h 1208387"/>
                <a:gd name="connsiteX112" fmla="*/ 1112822 w 1447301"/>
                <a:gd name="connsiteY112" fmla="*/ 1024022 h 1208387"/>
                <a:gd name="connsiteX113" fmla="*/ 1108615 w 1447301"/>
                <a:gd name="connsiteY113" fmla="*/ 1028030 h 1208387"/>
                <a:gd name="connsiteX114" fmla="*/ 1104408 w 1447301"/>
                <a:gd name="connsiteY114" fmla="*/ 1032038 h 1208387"/>
                <a:gd name="connsiteX115" fmla="*/ 1098097 w 1447301"/>
                <a:gd name="connsiteY115" fmla="*/ 1034042 h 1208387"/>
                <a:gd name="connsiteX116" fmla="*/ 1091786 w 1447301"/>
                <a:gd name="connsiteY116" fmla="*/ 1032038 h 1208387"/>
                <a:gd name="connsiteX117" fmla="*/ 1098097 w 1447301"/>
                <a:gd name="connsiteY117" fmla="*/ 1036046 h 1208387"/>
                <a:gd name="connsiteX118" fmla="*/ 1106511 w 1447301"/>
                <a:gd name="connsiteY118" fmla="*/ 1042058 h 1208387"/>
                <a:gd name="connsiteX119" fmla="*/ 1114926 w 1447301"/>
                <a:gd name="connsiteY119" fmla="*/ 1044062 h 1208387"/>
                <a:gd name="connsiteX120" fmla="*/ 1123340 w 1447301"/>
                <a:gd name="connsiteY120" fmla="*/ 1048069 h 1208387"/>
                <a:gd name="connsiteX121" fmla="*/ 1108615 w 1447301"/>
                <a:gd name="connsiteY121" fmla="*/ 1048069 h 1208387"/>
                <a:gd name="connsiteX122" fmla="*/ 1095993 w 1447301"/>
                <a:gd name="connsiteY122" fmla="*/ 1044062 h 1208387"/>
                <a:gd name="connsiteX123" fmla="*/ 1085475 w 1447301"/>
                <a:gd name="connsiteY123" fmla="*/ 1038050 h 1208387"/>
                <a:gd name="connsiteX124" fmla="*/ 1074957 w 1447301"/>
                <a:gd name="connsiteY124" fmla="*/ 1032038 h 1208387"/>
                <a:gd name="connsiteX125" fmla="*/ 1053920 w 1447301"/>
                <a:gd name="connsiteY125" fmla="*/ 1016006 h 1208387"/>
                <a:gd name="connsiteX126" fmla="*/ 1034987 w 1447301"/>
                <a:gd name="connsiteY126" fmla="*/ 995966 h 1208387"/>
                <a:gd name="connsiteX127" fmla="*/ 1001329 w 1447301"/>
                <a:gd name="connsiteY127" fmla="*/ 955887 h 1208387"/>
                <a:gd name="connsiteX128" fmla="*/ 982396 w 1447301"/>
                <a:gd name="connsiteY128" fmla="*/ 937851 h 1208387"/>
                <a:gd name="connsiteX129" fmla="*/ 965567 w 1447301"/>
                <a:gd name="connsiteY129" fmla="*/ 925827 h 1208387"/>
                <a:gd name="connsiteX130" fmla="*/ 966907 w 1447301"/>
                <a:gd name="connsiteY130" fmla="*/ 925189 h 1208387"/>
                <a:gd name="connsiteX131" fmla="*/ 950883 w 1447301"/>
                <a:gd name="connsiteY131" fmla="*/ 911764 h 1208387"/>
                <a:gd name="connsiteX132" fmla="*/ 950883 w 1447301"/>
                <a:gd name="connsiteY132" fmla="*/ 915795 h 1208387"/>
                <a:gd name="connsiteX133" fmla="*/ 952901 w 1447301"/>
                <a:gd name="connsiteY133" fmla="*/ 917855 h 1208387"/>
                <a:gd name="connsiteX134" fmla="*/ 957120 w 1447301"/>
                <a:gd name="connsiteY134" fmla="*/ 925827 h 1208387"/>
                <a:gd name="connsiteX135" fmla="*/ 940335 w 1447301"/>
                <a:gd name="connsiteY135" fmla="*/ 921796 h 1208387"/>
                <a:gd name="connsiteX136" fmla="*/ 921350 w 1447301"/>
                <a:gd name="connsiteY136" fmla="*/ 915795 h 1208387"/>
                <a:gd name="connsiteX137" fmla="*/ 915113 w 1447301"/>
                <a:gd name="connsiteY137" fmla="*/ 913824 h 1208387"/>
                <a:gd name="connsiteX138" fmla="*/ 906675 w 1447301"/>
                <a:gd name="connsiteY138" fmla="*/ 915795 h 1208387"/>
                <a:gd name="connsiteX139" fmla="*/ 900346 w 1447301"/>
                <a:gd name="connsiteY139" fmla="*/ 917855 h 1208387"/>
                <a:gd name="connsiteX140" fmla="*/ 896127 w 1447301"/>
                <a:gd name="connsiteY140" fmla="*/ 925827 h 1208387"/>
                <a:gd name="connsiteX141" fmla="*/ 894018 w 1447301"/>
                <a:gd name="connsiteY141" fmla="*/ 913824 h 1208387"/>
                <a:gd name="connsiteX142" fmla="*/ 889799 w 1447301"/>
                <a:gd name="connsiteY142" fmla="*/ 905762 h 1208387"/>
                <a:gd name="connsiteX143" fmla="*/ 883562 w 1447301"/>
                <a:gd name="connsiteY143" fmla="*/ 905762 h 1208387"/>
                <a:gd name="connsiteX144" fmla="*/ 866685 w 1447301"/>
                <a:gd name="connsiteY144" fmla="*/ 903791 h 1208387"/>
                <a:gd name="connsiteX145" fmla="*/ 862466 w 1447301"/>
                <a:gd name="connsiteY145" fmla="*/ 911764 h 1208387"/>
                <a:gd name="connsiteX146" fmla="*/ 856138 w 1447301"/>
                <a:gd name="connsiteY146" fmla="*/ 915795 h 1208387"/>
                <a:gd name="connsiteX147" fmla="*/ 852010 w 1447301"/>
                <a:gd name="connsiteY147" fmla="*/ 913824 h 1208387"/>
                <a:gd name="connsiteX148" fmla="*/ 847791 w 1447301"/>
                <a:gd name="connsiteY148" fmla="*/ 913824 h 1208387"/>
                <a:gd name="connsiteX149" fmla="*/ 845682 w 1447301"/>
                <a:gd name="connsiteY149" fmla="*/ 921796 h 1208387"/>
                <a:gd name="connsiteX150" fmla="*/ 847791 w 1447301"/>
                <a:gd name="connsiteY150" fmla="*/ 925827 h 1208387"/>
                <a:gd name="connsiteX151" fmla="*/ 852010 w 1447301"/>
                <a:gd name="connsiteY151" fmla="*/ 933889 h 1208387"/>
                <a:gd name="connsiteX152" fmla="*/ 852010 w 1447301"/>
                <a:gd name="connsiteY152" fmla="*/ 943832 h 1208387"/>
                <a:gd name="connsiteX153" fmla="*/ 847791 w 1447301"/>
                <a:gd name="connsiteY153" fmla="*/ 951894 h 1208387"/>
                <a:gd name="connsiteX154" fmla="*/ 843572 w 1447301"/>
                <a:gd name="connsiteY154" fmla="*/ 955925 h 1208387"/>
                <a:gd name="connsiteX155" fmla="*/ 841463 w 1447301"/>
                <a:gd name="connsiteY155" fmla="*/ 957896 h 1208387"/>
                <a:gd name="connsiteX156" fmla="*/ 824587 w 1447301"/>
                <a:gd name="connsiteY156" fmla="*/ 955925 h 1208387"/>
                <a:gd name="connsiteX157" fmla="*/ 812021 w 1447301"/>
                <a:gd name="connsiteY157" fmla="*/ 953865 h 1208387"/>
                <a:gd name="connsiteX158" fmla="*/ 801473 w 1447301"/>
                <a:gd name="connsiteY158" fmla="*/ 945893 h 1208387"/>
                <a:gd name="connsiteX159" fmla="*/ 778360 w 1447301"/>
                <a:gd name="connsiteY159" fmla="*/ 933889 h 1208387"/>
                <a:gd name="connsiteX160" fmla="*/ 765703 w 1447301"/>
                <a:gd name="connsiteY160" fmla="*/ 931829 h 1208387"/>
                <a:gd name="connsiteX161" fmla="*/ 757265 w 1447301"/>
                <a:gd name="connsiteY161" fmla="*/ 927798 h 1208387"/>
                <a:gd name="connsiteX162" fmla="*/ 755247 w 1447301"/>
                <a:gd name="connsiteY162" fmla="*/ 927798 h 1208387"/>
                <a:gd name="connsiteX163" fmla="*/ 751028 w 1447301"/>
                <a:gd name="connsiteY163" fmla="*/ 923857 h 1208387"/>
                <a:gd name="connsiteX164" fmla="*/ 746809 w 1447301"/>
                <a:gd name="connsiteY164" fmla="*/ 911764 h 1208387"/>
                <a:gd name="connsiteX165" fmla="*/ 744700 w 1447301"/>
                <a:gd name="connsiteY165" fmla="*/ 905762 h 1208387"/>
                <a:gd name="connsiteX166" fmla="*/ 746809 w 1447301"/>
                <a:gd name="connsiteY166" fmla="*/ 901821 h 1208387"/>
                <a:gd name="connsiteX167" fmla="*/ 755247 w 1447301"/>
                <a:gd name="connsiteY167" fmla="*/ 885786 h 1208387"/>
                <a:gd name="connsiteX168" fmla="*/ 765703 w 1447301"/>
                <a:gd name="connsiteY168" fmla="*/ 867692 h 1208387"/>
                <a:gd name="connsiteX169" fmla="*/ 765703 w 1447301"/>
                <a:gd name="connsiteY169" fmla="*/ 861690 h 1208387"/>
                <a:gd name="connsiteX170" fmla="*/ 761484 w 1447301"/>
                <a:gd name="connsiteY170" fmla="*/ 845656 h 1208387"/>
                <a:gd name="connsiteX171" fmla="*/ 751028 w 1447301"/>
                <a:gd name="connsiteY171" fmla="*/ 811616 h 1208387"/>
                <a:gd name="connsiteX172" fmla="*/ 736262 w 1447301"/>
                <a:gd name="connsiteY172" fmla="*/ 779548 h 1208387"/>
                <a:gd name="connsiteX173" fmla="*/ 723604 w 1447301"/>
                <a:gd name="connsiteY173" fmla="*/ 755451 h 1208387"/>
                <a:gd name="connsiteX174" fmla="*/ 706820 w 1447301"/>
                <a:gd name="connsiteY174" fmla="*/ 733415 h 1208387"/>
                <a:gd name="connsiteX175" fmla="*/ 687926 w 1447301"/>
                <a:gd name="connsiteY175" fmla="*/ 711379 h 1208387"/>
                <a:gd name="connsiteX176" fmla="*/ 677378 w 1447301"/>
                <a:gd name="connsiteY176" fmla="*/ 701346 h 1208387"/>
                <a:gd name="connsiteX177" fmla="*/ 666831 w 1447301"/>
                <a:gd name="connsiteY177" fmla="*/ 695345 h 1208387"/>
                <a:gd name="connsiteX178" fmla="*/ 654265 w 1447301"/>
                <a:gd name="connsiteY178" fmla="*/ 693374 h 1208387"/>
                <a:gd name="connsiteX179" fmla="*/ 641608 w 1447301"/>
                <a:gd name="connsiteY179" fmla="*/ 691403 h 1208387"/>
                <a:gd name="connsiteX180" fmla="*/ 614276 w 1447301"/>
                <a:gd name="connsiteY180" fmla="*/ 693374 h 1208387"/>
                <a:gd name="connsiteX181" fmla="*/ 565849 w 1447301"/>
                <a:gd name="connsiteY181" fmla="*/ 699376 h 1208387"/>
                <a:gd name="connsiteX182" fmla="*/ 538516 w 1447301"/>
                <a:gd name="connsiteY182" fmla="*/ 699376 h 1208387"/>
                <a:gd name="connsiteX183" fmla="*/ 525951 w 1447301"/>
                <a:gd name="connsiteY183" fmla="*/ 701346 h 1208387"/>
                <a:gd name="connsiteX184" fmla="*/ 513294 w 1447301"/>
                <a:gd name="connsiteY184" fmla="*/ 703407 h 1208387"/>
                <a:gd name="connsiteX185" fmla="*/ 492290 w 1447301"/>
                <a:gd name="connsiteY185" fmla="*/ 711379 h 1208387"/>
                <a:gd name="connsiteX186" fmla="*/ 475414 w 1447301"/>
                <a:gd name="connsiteY186" fmla="*/ 721412 h 1208387"/>
                <a:gd name="connsiteX187" fmla="*/ 464866 w 1447301"/>
                <a:gd name="connsiteY187" fmla="*/ 715410 h 1208387"/>
                <a:gd name="connsiteX188" fmla="*/ 452301 w 1447301"/>
                <a:gd name="connsiteY188" fmla="*/ 711379 h 1208387"/>
                <a:gd name="connsiteX189" fmla="*/ 439644 w 1447301"/>
                <a:gd name="connsiteY189" fmla="*/ 703407 h 1208387"/>
                <a:gd name="connsiteX190" fmla="*/ 427078 w 1447301"/>
                <a:gd name="connsiteY190" fmla="*/ 699376 h 1208387"/>
                <a:gd name="connsiteX191" fmla="*/ 378651 w 1447301"/>
                <a:gd name="connsiteY191" fmla="*/ 691403 h 1208387"/>
                <a:gd name="connsiteX192" fmla="*/ 378723 w 1447301"/>
                <a:gd name="connsiteY192" fmla="*/ 690720 h 1208387"/>
                <a:gd name="connsiteX193" fmla="*/ 361825 w 1447301"/>
                <a:gd name="connsiteY193" fmla="*/ 685355 h 1208387"/>
                <a:gd name="connsiteX194" fmla="*/ 344996 w 1447301"/>
                <a:gd name="connsiteY194" fmla="*/ 675335 h 1208387"/>
                <a:gd name="connsiteX195" fmla="*/ 307131 w 1447301"/>
                <a:gd name="connsiteY195" fmla="*/ 659303 h 1208387"/>
                <a:gd name="connsiteX196" fmla="*/ 292405 w 1447301"/>
                <a:gd name="connsiteY196" fmla="*/ 645276 h 1208387"/>
                <a:gd name="connsiteX197" fmla="*/ 281887 w 1447301"/>
                <a:gd name="connsiteY197" fmla="*/ 639264 h 1208387"/>
                <a:gd name="connsiteX198" fmla="*/ 273473 w 1447301"/>
                <a:gd name="connsiteY198" fmla="*/ 637260 h 1208387"/>
                <a:gd name="connsiteX199" fmla="*/ 262954 w 1447301"/>
                <a:gd name="connsiteY199" fmla="*/ 633252 h 1208387"/>
                <a:gd name="connsiteX200" fmla="*/ 254540 w 1447301"/>
                <a:gd name="connsiteY200" fmla="*/ 633252 h 1208387"/>
                <a:gd name="connsiteX201" fmla="*/ 250333 w 1447301"/>
                <a:gd name="connsiteY201" fmla="*/ 629244 h 1208387"/>
                <a:gd name="connsiteX202" fmla="*/ 252436 w 1447301"/>
                <a:gd name="connsiteY202" fmla="*/ 637260 h 1208387"/>
                <a:gd name="connsiteX203" fmla="*/ 256644 w 1447301"/>
                <a:gd name="connsiteY203" fmla="*/ 641268 h 1208387"/>
                <a:gd name="connsiteX204" fmla="*/ 273473 w 1447301"/>
                <a:gd name="connsiteY204" fmla="*/ 645276 h 1208387"/>
                <a:gd name="connsiteX205" fmla="*/ 262954 w 1447301"/>
                <a:gd name="connsiteY205" fmla="*/ 645276 h 1208387"/>
                <a:gd name="connsiteX206" fmla="*/ 252436 w 1447301"/>
                <a:gd name="connsiteY206" fmla="*/ 643272 h 1208387"/>
                <a:gd name="connsiteX207" fmla="*/ 239814 w 1447301"/>
                <a:gd name="connsiteY207" fmla="*/ 639264 h 1208387"/>
                <a:gd name="connsiteX208" fmla="*/ 229296 w 1447301"/>
                <a:gd name="connsiteY208" fmla="*/ 633252 h 1208387"/>
                <a:gd name="connsiteX209" fmla="*/ 218778 w 1447301"/>
                <a:gd name="connsiteY209" fmla="*/ 627240 h 1208387"/>
                <a:gd name="connsiteX210" fmla="*/ 208260 w 1447301"/>
                <a:gd name="connsiteY210" fmla="*/ 617220 h 1208387"/>
                <a:gd name="connsiteX211" fmla="*/ 201949 w 1447301"/>
                <a:gd name="connsiteY211" fmla="*/ 609204 h 1208387"/>
                <a:gd name="connsiteX212" fmla="*/ 197742 w 1447301"/>
                <a:gd name="connsiteY212" fmla="*/ 601188 h 1208387"/>
                <a:gd name="connsiteX213" fmla="*/ 189327 w 1447301"/>
                <a:gd name="connsiteY213" fmla="*/ 603192 h 1208387"/>
                <a:gd name="connsiteX214" fmla="*/ 183016 w 1447301"/>
                <a:gd name="connsiteY214" fmla="*/ 601188 h 1208387"/>
                <a:gd name="connsiteX215" fmla="*/ 178809 w 1447301"/>
                <a:gd name="connsiteY215" fmla="*/ 593173 h 1208387"/>
                <a:gd name="connsiteX216" fmla="*/ 172498 w 1447301"/>
                <a:gd name="connsiteY216" fmla="*/ 587161 h 1208387"/>
                <a:gd name="connsiteX217" fmla="*/ 166187 w 1447301"/>
                <a:gd name="connsiteY217" fmla="*/ 567121 h 1208387"/>
                <a:gd name="connsiteX218" fmla="*/ 159876 w 1447301"/>
                <a:gd name="connsiteY218" fmla="*/ 549085 h 1208387"/>
                <a:gd name="connsiteX219" fmla="*/ 159876 w 1447301"/>
                <a:gd name="connsiteY219" fmla="*/ 543074 h 1208387"/>
                <a:gd name="connsiteX220" fmla="*/ 161980 w 1447301"/>
                <a:gd name="connsiteY220" fmla="*/ 541070 h 1208387"/>
                <a:gd name="connsiteX221" fmla="*/ 168291 w 1447301"/>
                <a:gd name="connsiteY221" fmla="*/ 539066 h 1208387"/>
                <a:gd name="connsiteX222" fmla="*/ 176705 w 1447301"/>
                <a:gd name="connsiteY222" fmla="*/ 537062 h 1208387"/>
                <a:gd name="connsiteX223" fmla="*/ 191431 w 1447301"/>
                <a:gd name="connsiteY223" fmla="*/ 537062 h 1208387"/>
                <a:gd name="connsiteX224" fmla="*/ 201949 w 1447301"/>
                <a:gd name="connsiteY224" fmla="*/ 533054 h 1208387"/>
                <a:gd name="connsiteX225" fmla="*/ 170394 w 1447301"/>
                <a:gd name="connsiteY225" fmla="*/ 533054 h 1208387"/>
                <a:gd name="connsiteX226" fmla="*/ 155669 w 1447301"/>
                <a:gd name="connsiteY226" fmla="*/ 531050 h 1208387"/>
                <a:gd name="connsiteX227" fmla="*/ 153565 w 1447301"/>
                <a:gd name="connsiteY227" fmla="*/ 527042 h 1208387"/>
                <a:gd name="connsiteX228" fmla="*/ 153565 w 1447301"/>
                <a:gd name="connsiteY228" fmla="*/ 523034 h 1208387"/>
                <a:gd name="connsiteX229" fmla="*/ 155669 w 1447301"/>
                <a:gd name="connsiteY229" fmla="*/ 517022 h 1208387"/>
                <a:gd name="connsiteX230" fmla="*/ 153565 w 1447301"/>
                <a:gd name="connsiteY230" fmla="*/ 511010 h 1208387"/>
                <a:gd name="connsiteX231" fmla="*/ 149358 w 1447301"/>
                <a:gd name="connsiteY231" fmla="*/ 507002 h 1208387"/>
                <a:gd name="connsiteX232" fmla="*/ 145151 w 1447301"/>
                <a:gd name="connsiteY232" fmla="*/ 502994 h 1208387"/>
                <a:gd name="connsiteX233" fmla="*/ 128322 w 1447301"/>
                <a:gd name="connsiteY233" fmla="*/ 500990 h 1208387"/>
                <a:gd name="connsiteX234" fmla="*/ 117804 w 1447301"/>
                <a:gd name="connsiteY234" fmla="*/ 500990 h 1208387"/>
                <a:gd name="connsiteX235" fmla="*/ 111493 w 1447301"/>
                <a:gd name="connsiteY235" fmla="*/ 498986 h 1208387"/>
                <a:gd name="connsiteX236" fmla="*/ 103078 w 1447301"/>
                <a:gd name="connsiteY236" fmla="*/ 492974 h 1208387"/>
                <a:gd name="connsiteX237" fmla="*/ 86249 w 1447301"/>
                <a:gd name="connsiteY237" fmla="*/ 478947 h 1208387"/>
                <a:gd name="connsiteX238" fmla="*/ 71524 w 1447301"/>
                <a:gd name="connsiteY238" fmla="*/ 466923 h 1208387"/>
                <a:gd name="connsiteX239" fmla="*/ 58902 w 1447301"/>
                <a:gd name="connsiteY239" fmla="*/ 456903 h 1208387"/>
                <a:gd name="connsiteX240" fmla="*/ 29451 w 1447301"/>
                <a:gd name="connsiteY240" fmla="*/ 436864 h 1208387"/>
                <a:gd name="connsiteX241" fmla="*/ 12622 w 1447301"/>
                <a:gd name="connsiteY241" fmla="*/ 426844 h 1208387"/>
                <a:gd name="connsiteX242" fmla="*/ 0 w 1447301"/>
                <a:gd name="connsiteY242" fmla="*/ 420832 h 1208387"/>
                <a:gd name="connsiteX243" fmla="*/ 12622 w 1447301"/>
                <a:gd name="connsiteY243" fmla="*/ 408808 h 1208387"/>
                <a:gd name="connsiteX244" fmla="*/ 23140 w 1447301"/>
                <a:gd name="connsiteY244" fmla="*/ 394780 h 1208387"/>
                <a:gd name="connsiteX245" fmla="*/ 29451 w 1447301"/>
                <a:gd name="connsiteY245" fmla="*/ 376745 h 1208387"/>
                <a:gd name="connsiteX246" fmla="*/ 31554 w 1447301"/>
                <a:gd name="connsiteY246" fmla="*/ 358709 h 1208387"/>
                <a:gd name="connsiteX247" fmla="*/ 33658 w 1447301"/>
                <a:gd name="connsiteY247" fmla="*/ 340673 h 1208387"/>
                <a:gd name="connsiteX248" fmla="*/ 33658 w 1447301"/>
                <a:gd name="connsiteY248" fmla="*/ 320634 h 1208387"/>
                <a:gd name="connsiteX249" fmla="*/ 31554 w 1447301"/>
                <a:gd name="connsiteY249" fmla="*/ 280554 h 1208387"/>
                <a:gd name="connsiteX250" fmla="*/ 29451 w 1447301"/>
                <a:gd name="connsiteY250" fmla="*/ 2004 h 1208387"/>
                <a:gd name="connsiteX251" fmla="*/ 54694 w 1447301"/>
                <a:gd name="connsiteY251" fmla="*/ 0 h 120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Lst>
              <a:rect l="l" t="t" r="r" b="b"/>
              <a:pathLst>
                <a:path w="1447301" h="1208387">
                  <a:moveTo>
                    <a:pt x="54694" y="0"/>
                  </a:moveTo>
                  <a:lnTo>
                    <a:pt x="69420" y="2004"/>
                  </a:lnTo>
                  <a:lnTo>
                    <a:pt x="71524" y="2004"/>
                  </a:lnTo>
                  <a:lnTo>
                    <a:pt x="73627" y="6012"/>
                  </a:lnTo>
                  <a:lnTo>
                    <a:pt x="75731" y="18035"/>
                  </a:lnTo>
                  <a:lnTo>
                    <a:pt x="79938" y="22043"/>
                  </a:lnTo>
                  <a:lnTo>
                    <a:pt x="82042" y="24047"/>
                  </a:lnTo>
                  <a:lnTo>
                    <a:pt x="90456" y="24047"/>
                  </a:lnTo>
                  <a:lnTo>
                    <a:pt x="105182" y="24047"/>
                  </a:lnTo>
                  <a:lnTo>
                    <a:pt x="136736" y="24047"/>
                  </a:lnTo>
                  <a:lnTo>
                    <a:pt x="145151" y="26051"/>
                  </a:lnTo>
                  <a:lnTo>
                    <a:pt x="145151" y="32063"/>
                  </a:lnTo>
                  <a:lnTo>
                    <a:pt x="147254" y="34067"/>
                  </a:lnTo>
                  <a:lnTo>
                    <a:pt x="153565" y="34067"/>
                  </a:lnTo>
                  <a:lnTo>
                    <a:pt x="159876" y="34067"/>
                  </a:lnTo>
                  <a:lnTo>
                    <a:pt x="166187" y="34067"/>
                  </a:lnTo>
                  <a:lnTo>
                    <a:pt x="168291" y="36071"/>
                  </a:lnTo>
                  <a:lnTo>
                    <a:pt x="168291" y="38075"/>
                  </a:lnTo>
                  <a:lnTo>
                    <a:pt x="168291" y="54107"/>
                  </a:lnTo>
                  <a:lnTo>
                    <a:pt x="168291" y="62123"/>
                  </a:lnTo>
                  <a:lnTo>
                    <a:pt x="170394" y="68134"/>
                  </a:lnTo>
                  <a:lnTo>
                    <a:pt x="178809" y="72142"/>
                  </a:lnTo>
                  <a:lnTo>
                    <a:pt x="191431" y="74146"/>
                  </a:lnTo>
                  <a:lnTo>
                    <a:pt x="225089" y="74146"/>
                  </a:lnTo>
                  <a:lnTo>
                    <a:pt x="286094" y="72142"/>
                  </a:lnTo>
                  <a:lnTo>
                    <a:pt x="338685" y="74146"/>
                  </a:lnTo>
                  <a:lnTo>
                    <a:pt x="366033" y="74146"/>
                  </a:lnTo>
                  <a:lnTo>
                    <a:pt x="376551" y="72142"/>
                  </a:lnTo>
                  <a:lnTo>
                    <a:pt x="380758" y="66131"/>
                  </a:lnTo>
                  <a:lnTo>
                    <a:pt x="418624" y="66131"/>
                  </a:lnTo>
                  <a:cubicBezTo>
                    <a:pt x="418626" y="66135"/>
                    <a:pt x="418627" y="66140"/>
                    <a:pt x="418629" y="66144"/>
                  </a:cubicBezTo>
                  <a:lnTo>
                    <a:pt x="845682" y="64093"/>
                  </a:lnTo>
                  <a:lnTo>
                    <a:pt x="1276943" y="62123"/>
                  </a:lnTo>
                  <a:cubicBezTo>
                    <a:pt x="1277677" y="98849"/>
                    <a:pt x="1278319" y="135576"/>
                    <a:pt x="1279053" y="172303"/>
                  </a:cubicBezTo>
                  <a:cubicBezTo>
                    <a:pt x="1281162" y="207059"/>
                    <a:pt x="1283180" y="241815"/>
                    <a:pt x="1285290" y="276571"/>
                  </a:cubicBezTo>
                  <a:cubicBezTo>
                    <a:pt x="1288775" y="348054"/>
                    <a:pt x="1292352" y="419447"/>
                    <a:pt x="1295837" y="490929"/>
                  </a:cubicBezTo>
                  <a:lnTo>
                    <a:pt x="1295837" y="503022"/>
                  </a:lnTo>
                  <a:cubicBezTo>
                    <a:pt x="1294461" y="508397"/>
                    <a:pt x="1292994" y="513682"/>
                    <a:pt x="1291618" y="519057"/>
                  </a:cubicBezTo>
                  <a:cubicBezTo>
                    <a:pt x="1289509" y="528373"/>
                    <a:pt x="1287399" y="537778"/>
                    <a:pt x="1285290" y="547094"/>
                  </a:cubicBezTo>
                  <a:lnTo>
                    <a:pt x="1268505" y="599228"/>
                  </a:lnTo>
                  <a:lnTo>
                    <a:pt x="1255848" y="643300"/>
                  </a:lnTo>
                  <a:lnTo>
                    <a:pt x="1239063" y="685312"/>
                  </a:lnTo>
                  <a:cubicBezTo>
                    <a:pt x="1236954" y="690687"/>
                    <a:pt x="1234844" y="695972"/>
                    <a:pt x="1232735" y="701346"/>
                  </a:cubicBezTo>
                  <a:lnTo>
                    <a:pt x="1224297" y="709408"/>
                  </a:lnTo>
                  <a:lnTo>
                    <a:pt x="1217968" y="709408"/>
                  </a:lnTo>
                  <a:lnTo>
                    <a:pt x="1215859" y="709408"/>
                  </a:lnTo>
                  <a:lnTo>
                    <a:pt x="1211731" y="709408"/>
                  </a:lnTo>
                  <a:lnTo>
                    <a:pt x="1205403" y="713439"/>
                  </a:lnTo>
                  <a:cubicBezTo>
                    <a:pt x="1201917" y="717470"/>
                    <a:pt x="1198340" y="721412"/>
                    <a:pt x="1194855" y="725443"/>
                  </a:cubicBezTo>
                  <a:cubicBezTo>
                    <a:pt x="1192012" y="728757"/>
                    <a:pt x="1189260" y="732161"/>
                    <a:pt x="1186417" y="735475"/>
                  </a:cubicBezTo>
                  <a:cubicBezTo>
                    <a:pt x="1185683" y="737446"/>
                    <a:pt x="1185041" y="739506"/>
                    <a:pt x="1184307" y="741477"/>
                  </a:cubicBezTo>
                  <a:cubicBezTo>
                    <a:pt x="1185041" y="742821"/>
                    <a:pt x="1185683" y="744164"/>
                    <a:pt x="1186417" y="745508"/>
                  </a:cubicBezTo>
                  <a:cubicBezTo>
                    <a:pt x="1187793" y="748195"/>
                    <a:pt x="1189260" y="750793"/>
                    <a:pt x="1190636" y="753480"/>
                  </a:cubicBezTo>
                  <a:cubicBezTo>
                    <a:pt x="1192012" y="756795"/>
                    <a:pt x="1193479" y="760199"/>
                    <a:pt x="1194855" y="763513"/>
                  </a:cubicBezTo>
                  <a:cubicBezTo>
                    <a:pt x="1194491" y="763753"/>
                    <a:pt x="1194114" y="763999"/>
                    <a:pt x="1193714" y="764233"/>
                  </a:cubicBezTo>
                  <a:lnTo>
                    <a:pt x="1266388" y="819617"/>
                  </a:lnTo>
                  <a:lnTo>
                    <a:pt x="1340015" y="907792"/>
                  </a:lnTo>
                  <a:lnTo>
                    <a:pt x="1348430" y="913804"/>
                  </a:lnTo>
                  <a:lnTo>
                    <a:pt x="1356845" y="915808"/>
                  </a:lnTo>
                  <a:lnTo>
                    <a:pt x="1363156" y="917812"/>
                  </a:lnTo>
                  <a:lnTo>
                    <a:pt x="1367363" y="917812"/>
                  </a:lnTo>
                  <a:lnTo>
                    <a:pt x="1369466" y="923823"/>
                  </a:lnTo>
                  <a:lnTo>
                    <a:pt x="1369466" y="941859"/>
                  </a:lnTo>
                  <a:lnTo>
                    <a:pt x="1369466" y="951879"/>
                  </a:lnTo>
                  <a:lnTo>
                    <a:pt x="1371570" y="953883"/>
                  </a:lnTo>
                  <a:lnTo>
                    <a:pt x="1377881" y="955887"/>
                  </a:lnTo>
                  <a:lnTo>
                    <a:pt x="1392607" y="955887"/>
                  </a:lnTo>
                  <a:lnTo>
                    <a:pt x="1405228" y="957891"/>
                  </a:lnTo>
                  <a:lnTo>
                    <a:pt x="1415747" y="963903"/>
                  </a:lnTo>
                  <a:lnTo>
                    <a:pt x="1426265" y="967911"/>
                  </a:lnTo>
                  <a:lnTo>
                    <a:pt x="1434679" y="975927"/>
                  </a:lnTo>
                  <a:lnTo>
                    <a:pt x="1443094" y="983943"/>
                  </a:lnTo>
                  <a:lnTo>
                    <a:pt x="1447301" y="993962"/>
                  </a:lnTo>
                  <a:lnTo>
                    <a:pt x="1447301" y="1003982"/>
                  </a:lnTo>
                  <a:lnTo>
                    <a:pt x="1443094" y="1011998"/>
                  </a:lnTo>
                  <a:lnTo>
                    <a:pt x="1424161" y="1034042"/>
                  </a:lnTo>
                  <a:lnTo>
                    <a:pt x="1403125" y="1060093"/>
                  </a:lnTo>
                  <a:lnTo>
                    <a:pt x="1392607" y="1076125"/>
                  </a:lnTo>
                  <a:lnTo>
                    <a:pt x="1388399" y="1090153"/>
                  </a:lnTo>
                  <a:lnTo>
                    <a:pt x="1384192" y="1104181"/>
                  </a:lnTo>
                  <a:lnTo>
                    <a:pt x="1384192" y="1118208"/>
                  </a:lnTo>
                  <a:lnTo>
                    <a:pt x="1384192" y="1126224"/>
                  </a:lnTo>
                  <a:lnTo>
                    <a:pt x="1384192" y="1134240"/>
                  </a:lnTo>
                  <a:lnTo>
                    <a:pt x="1382088" y="1140252"/>
                  </a:lnTo>
                  <a:lnTo>
                    <a:pt x="1377881" y="1146264"/>
                  </a:lnTo>
                  <a:lnTo>
                    <a:pt x="1363156" y="1150272"/>
                  </a:lnTo>
                  <a:lnTo>
                    <a:pt x="1348430" y="1156284"/>
                  </a:lnTo>
                  <a:lnTo>
                    <a:pt x="1346326" y="1156284"/>
                  </a:lnTo>
                  <a:lnTo>
                    <a:pt x="1340015" y="1156284"/>
                  </a:lnTo>
                  <a:lnTo>
                    <a:pt x="1335808" y="1160292"/>
                  </a:lnTo>
                  <a:lnTo>
                    <a:pt x="1331601" y="1168308"/>
                  </a:lnTo>
                  <a:lnTo>
                    <a:pt x="1329497" y="1176323"/>
                  </a:lnTo>
                  <a:lnTo>
                    <a:pt x="1321083" y="1208387"/>
                  </a:lnTo>
                  <a:lnTo>
                    <a:pt x="1314772" y="1194359"/>
                  </a:lnTo>
                  <a:lnTo>
                    <a:pt x="1304254" y="1184339"/>
                  </a:lnTo>
                  <a:lnTo>
                    <a:pt x="1289528" y="1174320"/>
                  </a:lnTo>
                  <a:lnTo>
                    <a:pt x="1274803" y="1164300"/>
                  </a:lnTo>
                  <a:lnTo>
                    <a:pt x="1247455" y="1148268"/>
                  </a:lnTo>
                  <a:lnTo>
                    <a:pt x="1234833" y="1138248"/>
                  </a:lnTo>
                  <a:lnTo>
                    <a:pt x="1222212" y="1128228"/>
                  </a:lnTo>
                  <a:lnTo>
                    <a:pt x="1203279" y="1108189"/>
                  </a:lnTo>
                  <a:lnTo>
                    <a:pt x="1184346" y="1094161"/>
                  </a:lnTo>
                  <a:lnTo>
                    <a:pt x="1163310" y="1078129"/>
                  </a:lnTo>
                  <a:lnTo>
                    <a:pt x="1146480" y="1064101"/>
                  </a:lnTo>
                  <a:lnTo>
                    <a:pt x="1127548" y="1046066"/>
                  </a:lnTo>
                  <a:lnTo>
                    <a:pt x="1119133" y="1038050"/>
                  </a:lnTo>
                  <a:lnTo>
                    <a:pt x="1117029" y="1026026"/>
                  </a:lnTo>
                  <a:lnTo>
                    <a:pt x="1117029" y="1024022"/>
                  </a:lnTo>
                  <a:lnTo>
                    <a:pt x="1119133" y="1016006"/>
                  </a:lnTo>
                  <a:lnTo>
                    <a:pt x="1125444" y="1011998"/>
                  </a:lnTo>
                  <a:lnTo>
                    <a:pt x="1125444" y="1003982"/>
                  </a:lnTo>
                  <a:lnTo>
                    <a:pt x="1119133" y="1014002"/>
                  </a:lnTo>
                  <a:lnTo>
                    <a:pt x="1112822" y="1024022"/>
                  </a:lnTo>
                  <a:lnTo>
                    <a:pt x="1108615" y="1028030"/>
                  </a:lnTo>
                  <a:lnTo>
                    <a:pt x="1104408" y="1032038"/>
                  </a:lnTo>
                  <a:lnTo>
                    <a:pt x="1098097" y="1034042"/>
                  </a:lnTo>
                  <a:lnTo>
                    <a:pt x="1091786" y="1032038"/>
                  </a:lnTo>
                  <a:lnTo>
                    <a:pt x="1098097" y="1036046"/>
                  </a:lnTo>
                  <a:lnTo>
                    <a:pt x="1106511" y="1042058"/>
                  </a:lnTo>
                  <a:lnTo>
                    <a:pt x="1114926" y="1044062"/>
                  </a:lnTo>
                  <a:lnTo>
                    <a:pt x="1123340" y="1048069"/>
                  </a:lnTo>
                  <a:lnTo>
                    <a:pt x="1108615" y="1048069"/>
                  </a:lnTo>
                  <a:lnTo>
                    <a:pt x="1095993" y="1044062"/>
                  </a:lnTo>
                  <a:lnTo>
                    <a:pt x="1085475" y="1038050"/>
                  </a:lnTo>
                  <a:lnTo>
                    <a:pt x="1074957" y="1032038"/>
                  </a:lnTo>
                  <a:lnTo>
                    <a:pt x="1053920" y="1016006"/>
                  </a:lnTo>
                  <a:lnTo>
                    <a:pt x="1034987" y="995966"/>
                  </a:lnTo>
                  <a:lnTo>
                    <a:pt x="1001329" y="955887"/>
                  </a:lnTo>
                  <a:lnTo>
                    <a:pt x="982396" y="937851"/>
                  </a:lnTo>
                  <a:lnTo>
                    <a:pt x="965567" y="925827"/>
                  </a:lnTo>
                  <a:lnTo>
                    <a:pt x="966907" y="925189"/>
                  </a:lnTo>
                  <a:lnTo>
                    <a:pt x="950883" y="911764"/>
                  </a:lnTo>
                  <a:lnTo>
                    <a:pt x="950883" y="915795"/>
                  </a:lnTo>
                  <a:cubicBezTo>
                    <a:pt x="951525" y="916511"/>
                    <a:pt x="952259" y="917138"/>
                    <a:pt x="952901" y="917855"/>
                  </a:cubicBezTo>
                  <a:cubicBezTo>
                    <a:pt x="954277" y="920542"/>
                    <a:pt x="955744" y="923140"/>
                    <a:pt x="957120" y="925827"/>
                  </a:cubicBezTo>
                  <a:lnTo>
                    <a:pt x="940335" y="921796"/>
                  </a:lnTo>
                  <a:lnTo>
                    <a:pt x="921350" y="915795"/>
                  </a:lnTo>
                  <a:cubicBezTo>
                    <a:pt x="919240" y="915168"/>
                    <a:pt x="917222" y="914451"/>
                    <a:pt x="915113" y="913824"/>
                  </a:cubicBezTo>
                  <a:cubicBezTo>
                    <a:pt x="912270" y="914451"/>
                    <a:pt x="909518" y="915168"/>
                    <a:pt x="906675" y="915795"/>
                  </a:cubicBezTo>
                  <a:cubicBezTo>
                    <a:pt x="904565" y="916511"/>
                    <a:pt x="902456" y="917138"/>
                    <a:pt x="900346" y="917855"/>
                  </a:cubicBezTo>
                  <a:cubicBezTo>
                    <a:pt x="898970" y="920542"/>
                    <a:pt x="897503" y="923140"/>
                    <a:pt x="896127" y="925827"/>
                  </a:cubicBezTo>
                  <a:cubicBezTo>
                    <a:pt x="895393" y="921796"/>
                    <a:pt x="894751" y="917855"/>
                    <a:pt x="894018" y="913824"/>
                  </a:cubicBezTo>
                  <a:cubicBezTo>
                    <a:pt x="892642" y="911137"/>
                    <a:pt x="891174" y="908449"/>
                    <a:pt x="889799" y="905762"/>
                  </a:cubicBezTo>
                  <a:lnTo>
                    <a:pt x="883562" y="905762"/>
                  </a:lnTo>
                  <a:lnTo>
                    <a:pt x="866685" y="903791"/>
                  </a:lnTo>
                  <a:cubicBezTo>
                    <a:pt x="865310" y="906479"/>
                    <a:pt x="863842" y="909076"/>
                    <a:pt x="862466" y="911764"/>
                  </a:cubicBezTo>
                  <a:lnTo>
                    <a:pt x="856138" y="915795"/>
                  </a:lnTo>
                  <a:cubicBezTo>
                    <a:pt x="854762" y="915168"/>
                    <a:pt x="853386" y="914451"/>
                    <a:pt x="852010" y="913824"/>
                  </a:cubicBezTo>
                  <a:lnTo>
                    <a:pt x="847791" y="913824"/>
                  </a:lnTo>
                  <a:cubicBezTo>
                    <a:pt x="847058" y="916511"/>
                    <a:pt x="846416" y="919109"/>
                    <a:pt x="845682" y="921796"/>
                  </a:cubicBezTo>
                  <a:cubicBezTo>
                    <a:pt x="846416" y="923140"/>
                    <a:pt x="847058" y="924484"/>
                    <a:pt x="847791" y="925827"/>
                  </a:cubicBezTo>
                  <a:cubicBezTo>
                    <a:pt x="849167" y="928515"/>
                    <a:pt x="850635" y="931202"/>
                    <a:pt x="852010" y="933889"/>
                  </a:cubicBezTo>
                  <a:lnTo>
                    <a:pt x="852010" y="943832"/>
                  </a:lnTo>
                  <a:cubicBezTo>
                    <a:pt x="850635" y="946520"/>
                    <a:pt x="849167" y="949207"/>
                    <a:pt x="847791" y="951894"/>
                  </a:cubicBezTo>
                  <a:cubicBezTo>
                    <a:pt x="846416" y="953238"/>
                    <a:pt x="844948" y="954582"/>
                    <a:pt x="843572" y="955925"/>
                  </a:cubicBezTo>
                  <a:cubicBezTo>
                    <a:pt x="842839" y="956552"/>
                    <a:pt x="842197" y="957269"/>
                    <a:pt x="841463" y="957896"/>
                  </a:cubicBezTo>
                  <a:lnTo>
                    <a:pt x="824587" y="955925"/>
                  </a:lnTo>
                  <a:lnTo>
                    <a:pt x="812021" y="953865"/>
                  </a:lnTo>
                  <a:cubicBezTo>
                    <a:pt x="808536" y="951178"/>
                    <a:pt x="804959" y="948580"/>
                    <a:pt x="801473" y="945893"/>
                  </a:cubicBezTo>
                  <a:lnTo>
                    <a:pt x="778360" y="933889"/>
                  </a:lnTo>
                  <a:lnTo>
                    <a:pt x="765703" y="931829"/>
                  </a:lnTo>
                  <a:lnTo>
                    <a:pt x="757265" y="927798"/>
                  </a:lnTo>
                  <a:lnTo>
                    <a:pt x="755247" y="927798"/>
                  </a:lnTo>
                  <a:cubicBezTo>
                    <a:pt x="753872" y="926454"/>
                    <a:pt x="752404" y="925200"/>
                    <a:pt x="751028" y="923857"/>
                  </a:cubicBezTo>
                  <a:cubicBezTo>
                    <a:pt x="749652" y="919826"/>
                    <a:pt x="748185" y="915795"/>
                    <a:pt x="746809" y="911764"/>
                  </a:cubicBezTo>
                  <a:cubicBezTo>
                    <a:pt x="746075" y="909793"/>
                    <a:pt x="745433" y="907733"/>
                    <a:pt x="744700" y="905762"/>
                  </a:cubicBezTo>
                  <a:cubicBezTo>
                    <a:pt x="745433" y="904418"/>
                    <a:pt x="746075" y="903164"/>
                    <a:pt x="746809" y="901821"/>
                  </a:cubicBezTo>
                  <a:lnTo>
                    <a:pt x="755247" y="885786"/>
                  </a:lnTo>
                  <a:lnTo>
                    <a:pt x="765703" y="867692"/>
                  </a:lnTo>
                  <a:lnTo>
                    <a:pt x="765703" y="861690"/>
                  </a:lnTo>
                  <a:cubicBezTo>
                    <a:pt x="764327" y="856315"/>
                    <a:pt x="762860" y="851030"/>
                    <a:pt x="761484" y="845656"/>
                  </a:cubicBezTo>
                  <a:lnTo>
                    <a:pt x="751028" y="811616"/>
                  </a:lnTo>
                  <a:cubicBezTo>
                    <a:pt x="746075" y="800957"/>
                    <a:pt x="741214" y="790207"/>
                    <a:pt x="736262" y="779548"/>
                  </a:cubicBezTo>
                  <a:lnTo>
                    <a:pt x="723604" y="755451"/>
                  </a:lnTo>
                  <a:lnTo>
                    <a:pt x="706820" y="733415"/>
                  </a:lnTo>
                  <a:lnTo>
                    <a:pt x="687926" y="711379"/>
                  </a:lnTo>
                  <a:lnTo>
                    <a:pt x="677378" y="701346"/>
                  </a:lnTo>
                  <a:lnTo>
                    <a:pt x="666831" y="695345"/>
                  </a:lnTo>
                  <a:lnTo>
                    <a:pt x="654265" y="693374"/>
                  </a:lnTo>
                  <a:lnTo>
                    <a:pt x="641608" y="691403"/>
                  </a:lnTo>
                  <a:lnTo>
                    <a:pt x="614276" y="693374"/>
                  </a:lnTo>
                  <a:lnTo>
                    <a:pt x="565849" y="699376"/>
                  </a:lnTo>
                  <a:lnTo>
                    <a:pt x="538516" y="699376"/>
                  </a:lnTo>
                  <a:lnTo>
                    <a:pt x="525951" y="701346"/>
                  </a:lnTo>
                  <a:lnTo>
                    <a:pt x="513294" y="703407"/>
                  </a:lnTo>
                  <a:lnTo>
                    <a:pt x="492290" y="711379"/>
                  </a:lnTo>
                  <a:lnTo>
                    <a:pt x="475414" y="721412"/>
                  </a:lnTo>
                  <a:lnTo>
                    <a:pt x="464866" y="715410"/>
                  </a:lnTo>
                  <a:lnTo>
                    <a:pt x="452301" y="711379"/>
                  </a:lnTo>
                  <a:lnTo>
                    <a:pt x="439644" y="703407"/>
                  </a:lnTo>
                  <a:lnTo>
                    <a:pt x="427078" y="699376"/>
                  </a:lnTo>
                  <a:lnTo>
                    <a:pt x="378651" y="691403"/>
                  </a:lnTo>
                  <a:cubicBezTo>
                    <a:pt x="378675" y="691175"/>
                    <a:pt x="378699" y="690948"/>
                    <a:pt x="378723" y="690720"/>
                  </a:cubicBezTo>
                  <a:lnTo>
                    <a:pt x="361825" y="685355"/>
                  </a:lnTo>
                  <a:lnTo>
                    <a:pt x="344996" y="675335"/>
                  </a:lnTo>
                  <a:lnTo>
                    <a:pt x="307131" y="659303"/>
                  </a:lnTo>
                  <a:lnTo>
                    <a:pt x="292405" y="645276"/>
                  </a:lnTo>
                  <a:lnTo>
                    <a:pt x="281887" y="639264"/>
                  </a:lnTo>
                  <a:lnTo>
                    <a:pt x="273473" y="637260"/>
                  </a:lnTo>
                  <a:lnTo>
                    <a:pt x="262954" y="633252"/>
                  </a:lnTo>
                  <a:lnTo>
                    <a:pt x="254540" y="633252"/>
                  </a:lnTo>
                  <a:lnTo>
                    <a:pt x="250333" y="629244"/>
                  </a:lnTo>
                  <a:lnTo>
                    <a:pt x="252436" y="637260"/>
                  </a:lnTo>
                  <a:lnTo>
                    <a:pt x="256644" y="641268"/>
                  </a:lnTo>
                  <a:lnTo>
                    <a:pt x="273473" y="645276"/>
                  </a:lnTo>
                  <a:lnTo>
                    <a:pt x="262954" y="645276"/>
                  </a:lnTo>
                  <a:lnTo>
                    <a:pt x="252436" y="643272"/>
                  </a:lnTo>
                  <a:lnTo>
                    <a:pt x="239814" y="639264"/>
                  </a:lnTo>
                  <a:lnTo>
                    <a:pt x="229296" y="633252"/>
                  </a:lnTo>
                  <a:lnTo>
                    <a:pt x="218778" y="627240"/>
                  </a:lnTo>
                  <a:lnTo>
                    <a:pt x="208260" y="617220"/>
                  </a:lnTo>
                  <a:lnTo>
                    <a:pt x="201949" y="609204"/>
                  </a:lnTo>
                  <a:lnTo>
                    <a:pt x="197742" y="601188"/>
                  </a:lnTo>
                  <a:lnTo>
                    <a:pt x="189327" y="603192"/>
                  </a:lnTo>
                  <a:lnTo>
                    <a:pt x="183016" y="601188"/>
                  </a:lnTo>
                  <a:lnTo>
                    <a:pt x="178809" y="593173"/>
                  </a:lnTo>
                  <a:lnTo>
                    <a:pt x="172498" y="587161"/>
                  </a:lnTo>
                  <a:lnTo>
                    <a:pt x="166187" y="567121"/>
                  </a:lnTo>
                  <a:lnTo>
                    <a:pt x="159876" y="549085"/>
                  </a:lnTo>
                  <a:lnTo>
                    <a:pt x="159876" y="543074"/>
                  </a:lnTo>
                  <a:lnTo>
                    <a:pt x="161980" y="541070"/>
                  </a:lnTo>
                  <a:lnTo>
                    <a:pt x="168291" y="539066"/>
                  </a:lnTo>
                  <a:lnTo>
                    <a:pt x="176705" y="537062"/>
                  </a:lnTo>
                  <a:lnTo>
                    <a:pt x="191431" y="537062"/>
                  </a:lnTo>
                  <a:lnTo>
                    <a:pt x="201949" y="533054"/>
                  </a:lnTo>
                  <a:lnTo>
                    <a:pt x="170394" y="533054"/>
                  </a:lnTo>
                  <a:lnTo>
                    <a:pt x="155669" y="531050"/>
                  </a:lnTo>
                  <a:lnTo>
                    <a:pt x="153565" y="527042"/>
                  </a:lnTo>
                  <a:lnTo>
                    <a:pt x="153565" y="523034"/>
                  </a:lnTo>
                  <a:lnTo>
                    <a:pt x="155669" y="517022"/>
                  </a:lnTo>
                  <a:lnTo>
                    <a:pt x="153565" y="511010"/>
                  </a:lnTo>
                  <a:lnTo>
                    <a:pt x="149358" y="507002"/>
                  </a:lnTo>
                  <a:lnTo>
                    <a:pt x="145151" y="502994"/>
                  </a:lnTo>
                  <a:lnTo>
                    <a:pt x="128322" y="500990"/>
                  </a:lnTo>
                  <a:lnTo>
                    <a:pt x="117804" y="500990"/>
                  </a:lnTo>
                  <a:lnTo>
                    <a:pt x="111493" y="498986"/>
                  </a:lnTo>
                  <a:lnTo>
                    <a:pt x="103078" y="492974"/>
                  </a:lnTo>
                  <a:lnTo>
                    <a:pt x="86249" y="478947"/>
                  </a:lnTo>
                  <a:lnTo>
                    <a:pt x="71524" y="466923"/>
                  </a:lnTo>
                  <a:lnTo>
                    <a:pt x="58902" y="456903"/>
                  </a:lnTo>
                  <a:lnTo>
                    <a:pt x="29451" y="436864"/>
                  </a:lnTo>
                  <a:lnTo>
                    <a:pt x="12622" y="426844"/>
                  </a:lnTo>
                  <a:lnTo>
                    <a:pt x="0" y="420832"/>
                  </a:lnTo>
                  <a:lnTo>
                    <a:pt x="12622" y="408808"/>
                  </a:lnTo>
                  <a:lnTo>
                    <a:pt x="23140" y="394780"/>
                  </a:lnTo>
                  <a:lnTo>
                    <a:pt x="29451" y="376745"/>
                  </a:lnTo>
                  <a:lnTo>
                    <a:pt x="31554" y="358709"/>
                  </a:lnTo>
                  <a:lnTo>
                    <a:pt x="33658" y="340673"/>
                  </a:lnTo>
                  <a:lnTo>
                    <a:pt x="33658" y="320634"/>
                  </a:lnTo>
                  <a:lnTo>
                    <a:pt x="31554" y="280554"/>
                  </a:lnTo>
                  <a:lnTo>
                    <a:pt x="29451" y="2004"/>
                  </a:lnTo>
                  <a:lnTo>
                    <a:pt x="54694" y="0"/>
                  </a:lnTo>
                  <a:close/>
                </a:path>
              </a:pathLst>
            </a:custGeom>
            <a:grpFill/>
            <a:ln w="3175" cmpd="sng">
              <a:solidFill>
                <a:schemeClr val="bg1"/>
              </a:solidFill>
              <a:prstDash val="solid"/>
              <a:round/>
              <a:headEnd/>
              <a:tailEnd/>
            </a:ln>
          </p:spPr>
          <p:txBody>
            <a:bodyPr wrap="none" bIns="457200" anchor="ctr"/>
            <a:lstStyle/>
            <a:p>
              <a:pPr algn="ctr"/>
              <a:r>
                <a:rPr lang="en-US" sz="800" dirty="0">
                  <a:solidFill>
                    <a:prstClr val="black"/>
                  </a:solidFill>
                  <a:latin typeface="Franklin Gothic Book"/>
                  <a:ea typeface="MS PGothic" charset="0"/>
                  <a:cs typeface="MS PGothic" charset="0"/>
                </a:rPr>
                <a:t>Los Angeles Metro</a:t>
              </a:r>
            </a:p>
          </p:txBody>
        </p:sp>
      </p:grpSp>
      <p:grpSp>
        <p:nvGrpSpPr>
          <p:cNvPr id="24" name="Group 23">
            <a:extLst>
              <a:ext uri="{FF2B5EF4-FFF2-40B4-BE49-F238E27FC236}">
                <a16:creationId xmlns:a16="http://schemas.microsoft.com/office/drawing/2014/main" id="{ECA6E800-32F0-6E48-BCDA-D62659422B22}"/>
              </a:ext>
            </a:extLst>
          </p:cNvPr>
          <p:cNvGrpSpPr/>
          <p:nvPr/>
        </p:nvGrpSpPr>
        <p:grpSpPr>
          <a:xfrm>
            <a:off x="8764376" y="450201"/>
            <a:ext cx="2820120" cy="2820120"/>
            <a:chOff x="2232040" y="2822107"/>
            <a:chExt cx="3017520" cy="3017520"/>
          </a:xfrm>
        </p:grpSpPr>
        <p:grpSp>
          <p:nvGrpSpPr>
            <p:cNvPr id="25" name="Group 24">
              <a:extLst>
                <a:ext uri="{FF2B5EF4-FFF2-40B4-BE49-F238E27FC236}">
                  <a16:creationId xmlns:a16="http://schemas.microsoft.com/office/drawing/2014/main" id="{E88C8BCD-4DB7-434F-94F6-02D4FC14F471}"/>
                </a:ext>
              </a:extLst>
            </p:cNvPr>
            <p:cNvGrpSpPr/>
            <p:nvPr/>
          </p:nvGrpSpPr>
          <p:grpSpPr>
            <a:xfrm>
              <a:off x="2232040" y="2822107"/>
              <a:ext cx="3010889" cy="3017519"/>
              <a:chOff x="1984760" y="3381317"/>
              <a:chExt cx="3010889" cy="3008375"/>
            </a:xfrm>
          </p:grpSpPr>
          <p:sp>
            <p:nvSpPr>
              <p:cNvPr id="36" name="Freeform 35">
                <a:extLst>
                  <a:ext uri="{FF2B5EF4-FFF2-40B4-BE49-F238E27FC236}">
                    <a16:creationId xmlns:a16="http://schemas.microsoft.com/office/drawing/2014/main" id="{356582CC-2FC7-D343-A0FB-7AD913395604}"/>
                  </a:ext>
                </a:extLst>
              </p:cNvPr>
              <p:cNvSpPr/>
              <p:nvPr/>
            </p:nvSpPr>
            <p:spPr>
              <a:xfrm>
                <a:off x="1984760" y="3885360"/>
                <a:ext cx="2032205" cy="2504332"/>
              </a:xfrm>
              <a:custGeom>
                <a:avLst/>
                <a:gdLst>
                  <a:gd name="connsiteX0" fmla="*/ 863405 w 2032205"/>
                  <a:gd name="connsiteY0" fmla="*/ 0 h 2504332"/>
                  <a:gd name="connsiteX1" fmla="*/ 1054144 w 2032205"/>
                  <a:gd name="connsiteY1" fmla="*/ 8756 h 2504332"/>
                  <a:gd name="connsiteX2" fmla="*/ 1080597 w 2032205"/>
                  <a:gd name="connsiteY2" fmla="*/ 3874 h 2504332"/>
                  <a:gd name="connsiteX3" fmla="*/ 1082399 w 2032205"/>
                  <a:gd name="connsiteY3" fmla="*/ 156 h 2504332"/>
                  <a:gd name="connsiteX4" fmla="*/ 1084093 w 2032205"/>
                  <a:gd name="connsiteY4" fmla="*/ 3144 h 2504332"/>
                  <a:gd name="connsiteX5" fmla="*/ 1071060 w 2032205"/>
                  <a:gd name="connsiteY5" fmla="*/ 9140 h 2504332"/>
                  <a:gd name="connsiteX6" fmla="*/ 1056343 w 2032205"/>
                  <a:gd name="connsiteY6" fmla="*/ 10637 h 2504332"/>
                  <a:gd name="connsiteX7" fmla="*/ 865595 w 2032205"/>
                  <a:gd name="connsiteY7" fmla="*/ 1877 h 2504332"/>
                  <a:gd name="connsiteX8" fmla="*/ 865595 w 2032205"/>
                  <a:gd name="connsiteY8" fmla="*/ 19397 h 2504332"/>
                  <a:gd name="connsiteX9" fmla="*/ 822165 w 2032205"/>
                  <a:gd name="connsiteY9" fmla="*/ 19397 h 2504332"/>
                  <a:gd name="connsiteX10" fmla="*/ 822165 w 2032205"/>
                  <a:gd name="connsiteY10" fmla="*/ 50056 h 2504332"/>
                  <a:gd name="connsiteX11" fmla="*/ 755203 w 2032205"/>
                  <a:gd name="connsiteY11" fmla="*/ 50056 h 2504332"/>
                  <a:gd name="connsiteX12" fmla="*/ 712155 w 2032205"/>
                  <a:gd name="connsiteY12" fmla="*/ 48732 h 2504332"/>
                  <a:gd name="connsiteX13" fmla="*/ 654663 w 2032205"/>
                  <a:gd name="connsiteY13" fmla="*/ 35456 h 2504332"/>
                  <a:gd name="connsiteX14" fmla="*/ 617691 w 2032205"/>
                  <a:gd name="connsiteY14" fmla="*/ 53247 h 2504332"/>
                  <a:gd name="connsiteX15" fmla="*/ 588323 w 2032205"/>
                  <a:gd name="connsiteY15" fmla="*/ 80715 h 2504332"/>
                  <a:gd name="connsiteX16" fmla="*/ 539966 w 2032205"/>
                  <a:gd name="connsiteY16" fmla="*/ 77795 h 2504332"/>
                  <a:gd name="connsiteX17" fmla="*/ 471186 w 2032205"/>
                  <a:gd name="connsiteY17" fmla="*/ 105670 h 2504332"/>
                  <a:gd name="connsiteX18" fmla="*/ 508876 w 2032205"/>
                  <a:gd name="connsiteY18" fmla="*/ 137721 h 2504332"/>
                  <a:gd name="connsiteX19" fmla="*/ 580000 w 2032205"/>
                  <a:gd name="connsiteY19" fmla="*/ 202910 h 2504332"/>
                  <a:gd name="connsiteX20" fmla="*/ 632614 w 2032205"/>
                  <a:gd name="connsiteY20" fmla="*/ 267963 h 2504332"/>
                  <a:gd name="connsiteX21" fmla="*/ 663129 w 2032205"/>
                  <a:gd name="connsiteY21" fmla="*/ 311218 h 2504332"/>
                  <a:gd name="connsiteX22" fmla="*/ 707372 w 2032205"/>
                  <a:gd name="connsiteY22" fmla="*/ 338007 h 2504332"/>
                  <a:gd name="connsiteX23" fmla="*/ 756972 w 2032205"/>
                  <a:gd name="connsiteY23" fmla="*/ 363709 h 2504332"/>
                  <a:gd name="connsiteX24" fmla="*/ 806668 w 2032205"/>
                  <a:gd name="connsiteY24" fmla="*/ 381160 h 2504332"/>
                  <a:gd name="connsiteX25" fmla="*/ 825274 w 2032205"/>
                  <a:gd name="connsiteY25" fmla="*/ 409205 h 2504332"/>
                  <a:gd name="connsiteX26" fmla="*/ 859425 w 2032205"/>
                  <a:gd name="connsiteY26" fmla="*/ 471745 h 2504332"/>
                  <a:gd name="connsiteX27" fmla="*/ 881092 w 2032205"/>
                  <a:gd name="connsiteY27" fmla="*/ 548376 h 2504332"/>
                  <a:gd name="connsiteX28" fmla="*/ 896350 w 2032205"/>
                  <a:gd name="connsiteY28" fmla="*/ 552145 h 2504332"/>
                  <a:gd name="connsiteX29" fmla="*/ 898407 w 2032205"/>
                  <a:gd name="connsiteY29" fmla="*/ 537987 h 2504332"/>
                  <a:gd name="connsiteX30" fmla="*/ 927966 w 2032205"/>
                  <a:gd name="connsiteY30" fmla="*/ 547663 h 2504332"/>
                  <a:gd name="connsiteX31" fmla="*/ 935140 w 2032205"/>
                  <a:gd name="connsiteY31" fmla="*/ 549272 h 2504332"/>
                  <a:gd name="connsiteX32" fmla="*/ 940261 w 2032205"/>
                  <a:gd name="connsiteY32" fmla="*/ 551981 h 2504332"/>
                  <a:gd name="connsiteX33" fmla="*/ 939654 w 2032205"/>
                  <a:gd name="connsiteY33" fmla="*/ 552339 h 2504332"/>
                  <a:gd name="connsiteX34" fmla="*/ 948064 w 2032205"/>
                  <a:gd name="connsiteY34" fmla="*/ 574327 h 2504332"/>
                  <a:gd name="connsiteX35" fmla="*/ 951157 w 2032205"/>
                  <a:gd name="connsiteY35" fmla="*/ 631410 h 2504332"/>
                  <a:gd name="connsiteX36" fmla="*/ 972786 w 2032205"/>
                  <a:gd name="connsiteY36" fmla="*/ 680787 h 2504332"/>
                  <a:gd name="connsiteX37" fmla="*/ 956715 w 2032205"/>
                  <a:gd name="connsiteY37" fmla="*/ 741146 h 2504332"/>
                  <a:gd name="connsiteX38" fmla="*/ 927425 w 2032205"/>
                  <a:gd name="connsiteY38" fmla="*/ 812303 h 2504332"/>
                  <a:gd name="connsiteX39" fmla="*/ 915415 w 2032205"/>
                  <a:gd name="connsiteY39" fmla="*/ 848528 h 2504332"/>
                  <a:gd name="connsiteX40" fmla="*/ 964811 w 2032205"/>
                  <a:gd name="connsiteY40" fmla="*/ 855911 h 2504332"/>
                  <a:gd name="connsiteX41" fmla="*/ 954202 w 2032205"/>
                  <a:gd name="connsiteY41" fmla="*/ 824001 h 2504332"/>
                  <a:gd name="connsiteX42" fmla="*/ 979021 w 2032205"/>
                  <a:gd name="connsiteY42" fmla="*/ 803558 h 2504332"/>
                  <a:gd name="connsiteX43" fmla="*/ 987069 w 2032205"/>
                  <a:gd name="connsiteY43" fmla="*/ 768787 h 2504332"/>
                  <a:gd name="connsiteX44" fmla="*/ 1002221 w 2032205"/>
                  <a:gd name="connsiteY44" fmla="*/ 796244 h 2504332"/>
                  <a:gd name="connsiteX45" fmla="*/ 1022376 w 2032205"/>
                  <a:gd name="connsiteY45" fmla="*/ 813780 h 2504332"/>
                  <a:gd name="connsiteX46" fmla="*/ 1060438 w 2032205"/>
                  <a:gd name="connsiteY46" fmla="*/ 819986 h 2504332"/>
                  <a:gd name="connsiteX47" fmla="*/ 1111913 w 2032205"/>
                  <a:gd name="connsiteY47" fmla="*/ 864863 h 2504332"/>
                  <a:gd name="connsiteX48" fmla="*/ 1164935 w 2032205"/>
                  <a:gd name="connsiteY48" fmla="*/ 920377 h 2504332"/>
                  <a:gd name="connsiteX49" fmla="*/ 1200580 w 2032205"/>
                  <a:gd name="connsiteY49" fmla="*/ 943796 h 2504332"/>
                  <a:gd name="connsiteX50" fmla="*/ 1222210 w 2032205"/>
                  <a:gd name="connsiteY50" fmla="*/ 926168 h 2504332"/>
                  <a:gd name="connsiteX51" fmla="*/ 1246690 w 2032205"/>
                  <a:gd name="connsiteY51" fmla="*/ 946634 h 2504332"/>
                  <a:gd name="connsiteX52" fmla="*/ 1281176 w 2032205"/>
                  <a:gd name="connsiteY52" fmla="*/ 967492 h 2504332"/>
                  <a:gd name="connsiteX53" fmla="*/ 1314840 w 2032205"/>
                  <a:gd name="connsiteY53" fmla="*/ 987889 h 2504332"/>
                  <a:gd name="connsiteX54" fmla="*/ 1344372 w 2032205"/>
                  <a:gd name="connsiteY54" fmla="*/ 1015069 h 2504332"/>
                  <a:gd name="connsiteX55" fmla="*/ 1394372 w 2032205"/>
                  <a:gd name="connsiteY55" fmla="*/ 1003648 h 2504332"/>
                  <a:gd name="connsiteX56" fmla="*/ 1372792 w 2032205"/>
                  <a:gd name="connsiteY56" fmla="*/ 951272 h 2504332"/>
                  <a:gd name="connsiteX57" fmla="*/ 1417258 w 2032205"/>
                  <a:gd name="connsiteY57" fmla="*/ 965439 h 2504332"/>
                  <a:gd name="connsiteX58" fmla="*/ 1376054 w 2032205"/>
                  <a:gd name="connsiteY58" fmla="*/ 905449 h 2504332"/>
                  <a:gd name="connsiteX59" fmla="*/ 1383449 w 2032205"/>
                  <a:gd name="connsiteY59" fmla="*/ 867817 h 2504332"/>
                  <a:gd name="connsiteX60" fmla="*/ 1408268 w 2032205"/>
                  <a:gd name="connsiteY60" fmla="*/ 847259 h 2504332"/>
                  <a:gd name="connsiteX61" fmla="*/ 1370617 w 2032205"/>
                  <a:gd name="connsiteY61" fmla="*/ 822617 h 2504332"/>
                  <a:gd name="connsiteX62" fmla="*/ 1381516 w 2032205"/>
                  <a:gd name="connsiteY62" fmla="*/ 792991 h 2504332"/>
                  <a:gd name="connsiteX63" fmla="*/ 1382917 w 2032205"/>
                  <a:gd name="connsiteY63" fmla="*/ 730601 h 2504332"/>
                  <a:gd name="connsiteX64" fmla="*/ 1367789 w 2032205"/>
                  <a:gd name="connsiteY64" fmla="*/ 717380 h 2504332"/>
                  <a:gd name="connsiteX65" fmla="*/ 1351144 w 2032205"/>
                  <a:gd name="connsiteY65" fmla="*/ 695934 h 2504332"/>
                  <a:gd name="connsiteX66" fmla="*/ 1331902 w 2032205"/>
                  <a:gd name="connsiteY66" fmla="*/ 677784 h 2504332"/>
                  <a:gd name="connsiteX67" fmla="*/ 1334763 w 2032205"/>
                  <a:gd name="connsiteY67" fmla="*/ 678924 h 2504332"/>
                  <a:gd name="connsiteX68" fmla="*/ 1371019 w 2032205"/>
                  <a:gd name="connsiteY68" fmla="*/ 718852 h 2504332"/>
                  <a:gd name="connsiteX69" fmla="*/ 1386133 w 2032205"/>
                  <a:gd name="connsiteY69" fmla="*/ 732059 h 2504332"/>
                  <a:gd name="connsiteX70" fmla="*/ 1398999 w 2032205"/>
                  <a:gd name="connsiteY70" fmla="*/ 727611 h 2504332"/>
                  <a:gd name="connsiteX71" fmla="*/ 1436020 w 2032205"/>
                  <a:gd name="connsiteY71" fmla="*/ 727272 h 2504332"/>
                  <a:gd name="connsiteX72" fmla="*/ 1452952 w 2032205"/>
                  <a:gd name="connsiteY72" fmla="*/ 694032 h 2504332"/>
                  <a:gd name="connsiteX73" fmla="*/ 1458970 w 2032205"/>
                  <a:gd name="connsiteY73" fmla="*/ 690231 h 2504332"/>
                  <a:gd name="connsiteX74" fmla="*/ 1459014 w 2032205"/>
                  <a:gd name="connsiteY74" fmla="*/ 690499 h 2504332"/>
                  <a:gd name="connsiteX75" fmla="*/ 1466087 w 2032205"/>
                  <a:gd name="connsiteY75" fmla="*/ 692455 h 2504332"/>
                  <a:gd name="connsiteX76" fmla="*/ 1473424 w 2032205"/>
                  <a:gd name="connsiteY76" fmla="*/ 710468 h 2504332"/>
                  <a:gd name="connsiteX77" fmla="*/ 1513431 w 2032205"/>
                  <a:gd name="connsiteY77" fmla="*/ 716245 h 2504332"/>
                  <a:gd name="connsiteX78" fmla="*/ 1547944 w 2032205"/>
                  <a:gd name="connsiteY78" fmla="*/ 748383 h 2504332"/>
                  <a:gd name="connsiteX79" fmla="*/ 1576962 w 2032205"/>
                  <a:gd name="connsiteY79" fmla="*/ 774994 h 2504332"/>
                  <a:gd name="connsiteX80" fmla="*/ 1583768 w 2032205"/>
                  <a:gd name="connsiteY80" fmla="*/ 785019 h 2504332"/>
                  <a:gd name="connsiteX81" fmla="*/ 1581731 w 2032205"/>
                  <a:gd name="connsiteY81" fmla="*/ 784858 h 2504332"/>
                  <a:gd name="connsiteX82" fmla="*/ 1571605 w 2032205"/>
                  <a:gd name="connsiteY82" fmla="*/ 803041 h 2504332"/>
                  <a:gd name="connsiteX83" fmla="*/ 1539155 w 2032205"/>
                  <a:gd name="connsiteY83" fmla="*/ 823437 h 2504332"/>
                  <a:gd name="connsiteX84" fmla="*/ 1499535 w 2032205"/>
                  <a:gd name="connsiteY84" fmla="*/ 832839 h 2504332"/>
                  <a:gd name="connsiteX85" fmla="*/ 1472924 w 2032205"/>
                  <a:gd name="connsiteY85" fmla="*/ 864619 h 2504332"/>
                  <a:gd name="connsiteX86" fmla="*/ 1457328 w 2032205"/>
                  <a:gd name="connsiteY86" fmla="*/ 877498 h 2504332"/>
                  <a:gd name="connsiteX87" fmla="*/ 1434413 w 2032205"/>
                  <a:gd name="connsiteY87" fmla="*/ 879576 h 2504332"/>
                  <a:gd name="connsiteX88" fmla="*/ 1455332 w 2032205"/>
                  <a:gd name="connsiteY88" fmla="*/ 911375 h 2504332"/>
                  <a:gd name="connsiteX89" fmla="*/ 1480575 w 2032205"/>
                  <a:gd name="connsiteY89" fmla="*/ 939231 h 2504332"/>
                  <a:gd name="connsiteX90" fmla="*/ 1519012 w 2032205"/>
                  <a:gd name="connsiteY90" fmla="*/ 943893 h 2504332"/>
                  <a:gd name="connsiteX91" fmla="*/ 1522782 w 2032205"/>
                  <a:gd name="connsiteY91" fmla="*/ 947759 h 2504332"/>
                  <a:gd name="connsiteX92" fmla="*/ 1524307 w 2032205"/>
                  <a:gd name="connsiteY92" fmla="*/ 947313 h 2504332"/>
                  <a:gd name="connsiteX93" fmla="*/ 1531826 w 2032205"/>
                  <a:gd name="connsiteY93" fmla="*/ 963870 h 2504332"/>
                  <a:gd name="connsiteX94" fmla="*/ 1528872 w 2032205"/>
                  <a:gd name="connsiteY94" fmla="*/ 1022130 h 2504332"/>
                  <a:gd name="connsiteX95" fmla="*/ 1530043 w 2032205"/>
                  <a:gd name="connsiteY95" fmla="*/ 1053834 h 2504332"/>
                  <a:gd name="connsiteX96" fmla="*/ 1575427 w 2032205"/>
                  <a:gd name="connsiteY96" fmla="*/ 1072543 h 2504332"/>
                  <a:gd name="connsiteX97" fmla="*/ 1593712 w 2032205"/>
                  <a:gd name="connsiteY97" fmla="*/ 1081267 h 2504332"/>
                  <a:gd name="connsiteX98" fmla="*/ 1589270 w 2032205"/>
                  <a:gd name="connsiteY98" fmla="*/ 1099204 h 2504332"/>
                  <a:gd name="connsiteX99" fmla="*/ 1603147 w 2032205"/>
                  <a:gd name="connsiteY99" fmla="*/ 1125153 h 2504332"/>
                  <a:gd name="connsiteX100" fmla="*/ 1642918 w 2032205"/>
                  <a:gd name="connsiteY100" fmla="*/ 1136033 h 2504332"/>
                  <a:gd name="connsiteX101" fmla="*/ 1666918 w 2032205"/>
                  <a:gd name="connsiteY101" fmla="*/ 1173695 h 2504332"/>
                  <a:gd name="connsiteX102" fmla="*/ 1678902 w 2032205"/>
                  <a:gd name="connsiteY102" fmla="*/ 1211988 h 2504332"/>
                  <a:gd name="connsiteX103" fmla="*/ 1680348 w 2032205"/>
                  <a:gd name="connsiteY103" fmla="*/ 1256952 h 2504332"/>
                  <a:gd name="connsiteX104" fmla="*/ 1700216 w 2032205"/>
                  <a:gd name="connsiteY104" fmla="*/ 1293720 h 2504332"/>
                  <a:gd name="connsiteX105" fmla="*/ 1708343 w 2032205"/>
                  <a:gd name="connsiteY105" fmla="*/ 1331443 h 2504332"/>
                  <a:gd name="connsiteX106" fmla="*/ 1744430 w 2032205"/>
                  <a:gd name="connsiteY106" fmla="*/ 1338744 h 2504332"/>
                  <a:gd name="connsiteX107" fmla="*/ 1769876 w 2032205"/>
                  <a:gd name="connsiteY107" fmla="*/ 1361541 h 2504332"/>
                  <a:gd name="connsiteX108" fmla="*/ 1790502 w 2032205"/>
                  <a:gd name="connsiteY108" fmla="*/ 1363575 h 2504332"/>
                  <a:gd name="connsiteX109" fmla="*/ 1818428 w 2032205"/>
                  <a:gd name="connsiteY109" fmla="*/ 1364998 h 2504332"/>
                  <a:gd name="connsiteX110" fmla="*/ 1839399 w 2032205"/>
                  <a:gd name="connsiteY110" fmla="*/ 1374190 h 2504332"/>
                  <a:gd name="connsiteX111" fmla="*/ 1861139 w 2032205"/>
                  <a:gd name="connsiteY111" fmla="*/ 1376178 h 2504332"/>
                  <a:gd name="connsiteX112" fmla="*/ 1881586 w 2032205"/>
                  <a:gd name="connsiteY112" fmla="*/ 1372043 h 2504332"/>
                  <a:gd name="connsiteX113" fmla="*/ 1880799 w 2032205"/>
                  <a:gd name="connsiteY113" fmla="*/ 1372673 h 2504332"/>
                  <a:gd name="connsiteX114" fmla="*/ 1838220 w 2032205"/>
                  <a:gd name="connsiteY114" fmla="*/ 1374880 h 2504332"/>
                  <a:gd name="connsiteX115" fmla="*/ 1817253 w 2032205"/>
                  <a:gd name="connsiteY115" fmla="*/ 1365700 h 2504332"/>
                  <a:gd name="connsiteX116" fmla="*/ 1789283 w 2032205"/>
                  <a:gd name="connsiteY116" fmla="*/ 1364273 h 2504332"/>
                  <a:gd name="connsiteX117" fmla="*/ 1768637 w 2032205"/>
                  <a:gd name="connsiteY117" fmla="*/ 1362227 h 2504332"/>
                  <a:gd name="connsiteX118" fmla="*/ 1769160 w 2032205"/>
                  <a:gd name="connsiteY118" fmla="*/ 1364219 h 2504332"/>
                  <a:gd name="connsiteX119" fmla="*/ 1723442 w 2032205"/>
                  <a:gd name="connsiteY119" fmla="*/ 1374773 h 2504332"/>
                  <a:gd name="connsiteX120" fmla="*/ 1706741 w 2032205"/>
                  <a:gd name="connsiteY120" fmla="*/ 1382930 h 2504332"/>
                  <a:gd name="connsiteX121" fmla="*/ 1684118 w 2032205"/>
                  <a:gd name="connsiteY121" fmla="*/ 1382856 h 2504332"/>
                  <a:gd name="connsiteX122" fmla="*/ 1663086 w 2032205"/>
                  <a:gd name="connsiteY122" fmla="*/ 1384596 h 2504332"/>
                  <a:gd name="connsiteX123" fmla="*/ 1664077 w 2032205"/>
                  <a:gd name="connsiteY123" fmla="*/ 1383469 h 2504332"/>
                  <a:gd name="connsiteX124" fmla="*/ 1708707 w 2032205"/>
                  <a:gd name="connsiteY124" fmla="*/ 1381698 h 2504332"/>
                  <a:gd name="connsiteX125" fmla="*/ 1725435 w 2032205"/>
                  <a:gd name="connsiteY125" fmla="*/ 1373555 h 2504332"/>
                  <a:gd name="connsiteX126" fmla="*/ 1709018 w 2032205"/>
                  <a:gd name="connsiteY126" fmla="*/ 1360127 h 2504332"/>
                  <a:gd name="connsiteX127" fmla="*/ 1695480 w 2032205"/>
                  <a:gd name="connsiteY127" fmla="*/ 1327634 h 2504332"/>
                  <a:gd name="connsiteX128" fmla="*/ 1662525 w 2032205"/>
                  <a:gd name="connsiteY128" fmla="*/ 1329459 h 2504332"/>
                  <a:gd name="connsiteX129" fmla="*/ 1651350 w 2032205"/>
                  <a:gd name="connsiteY129" fmla="*/ 1300261 h 2504332"/>
                  <a:gd name="connsiteX130" fmla="*/ 1615998 w 2032205"/>
                  <a:gd name="connsiteY130" fmla="*/ 1292662 h 2504332"/>
                  <a:gd name="connsiteX131" fmla="*/ 1594700 w 2032205"/>
                  <a:gd name="connsiteY131" fmla="*/ 1260768 h 2504332"/>
                  <a:gd name="connsiteX132" fmla="*/ 1560158 w 2032205"/>
                  <a:gd name="connsiteY132" fmla="*/ 1253578 h 2504332"/>
                  <a:gd name="connsiteX133" fmla="*/ 1521443 w 2032205"/>
                  <a:gd name="connsiteY133" fmla="*/ 1237154 h 2504332"/>
                  <a:gd name="connsiteX134" fmla="*/ 1479468 w 2032205"/>
                  <a:gd name="connsiteY134" fmla="*/ 1202346 h 2504332"/>
                  <a:gd name="connsiteX135" fmla="*/ 1483141 w 2032205"/>
                  <a:gd name="connsiteY135" fmla="*/ 1132484 h 2504332"/>
                  <a:gd name="connsiteX136" fmla="*/ 1365926 w 2032205"/>
                  <a:gd name="connsiteY136" fmla="*/ 1132484 h 2504332"/>
                  <a:gd name="connsiteX137" fmla="*/ 1378722 w 2032205"/>
                  <a:gd name="connsiteY137" fmla="*/ 1190689 h 2504332"/>
                  <a:gd name="connsiteX138" fmla="*/ 1363443 w 2032205"/>
                  <a:gd name="connsiteY138" fmla="*/ 1234757 h 2504332"/>
                  <a:gd name="connsiteX139" fmla="*/ 1358097 w 2032205"/>
                  <a:gd name="connsiteY139" fmla="*/ 1311864 h 2504332"/>
                  <a:gd name="connsiteX140" fmla="*/ 1381826 w 2032205"/>
                  <a:gd name="connsiteY140" fmla="*/ 1336458 h 2504332"/>
                  <a:gd name="connsiteX141" fmla="*/ 1418024 w 2032205"/>
                  <a:gd name="connsiteY141" fmla="*/ 1370749 h 2504332"/>
                  <a:gd name="connsiteX142" fmla="*/ 1442615 w 2032205"/>
                  <a:gd name="connsiteY142" fmla="*/ 1443062 h 2504332"/>
                  <a:gd name="connsiteX143" fmla="*/ 1453135 w 2032205"/>
                  <a:gd name="connsiteY143" fmla="*/ 1518208 h 2504332"/>
                  <a:gd name="connsiteX144" fmla="*/ 1450031 w 2032205"/>
                  <a:gd name="connsiteY144" fmla="*/ 1592373 h 2504332"/>
                  <a:gd name="connsiteX145" fmla="*/ 1491953 w 2032205"/>
                  <a:gd name="connsiteY145" fmla="*/ 1666838 h 2504332"/>
                  <a:gd name="connsiteX146" fmla="*/ 1553915 w 2032205"/>
                  <a:gd name="connsiteY146" fmla="*/ 1718260 h 2504332"/>
                  <a:gd name="connsiteX147" fmla="*/ 1559365 w 2032205"/>
                  <a:gd name="connsiteY147" fmla="*/ 1720793 h 2504332"/>
                  <a:gd name="connsiteX148" fmla="*/ 1559420 w 2032205"/>
                  <a:gd name="connsiteY148" fmla="*/ 1720484 h 2504332"/>
                  <a:gd name="connsiteX149" fmla="*/ 1574846 w 2032205"/>
                  <a:gd name="connsiteY149" fmla="*/ 1733601 h 2504332"/>
                  <a:gd name="connsiteX150" fmla="*/ 1610549 w 2032205"/>
                  <a:gd name="connsiteY150" fmla="*/ 1790224 h 2504332"/>
                  <a:gd name="connsiteX151" fmla="*/ 1694716 w 2032205"/>
                  <a:gd name="connsiteY151" fmla="*/ 1856718 h 2504332"/>
                  <a:gd name="connsiteX152" fmla="*/ 1778084 w 2032205"/>
                  <a:gd name="connsiteY152" fmla="*/ 1880438 h 2504332"/>
                  <a:gd name="connsiteX153" fmla="*/ 1807580 w 2032205"/>
                  <a:gd name="connsiteY153" fmla="*/ 1861756 h 2504332"/>
                  <a:gd name="connsiteX154" fmla="*/ 1841720 w 2032205"/>
                  <a:gd name="connsiteY154" fmla="*/ 1871773 h 2504332"/>
                  <a:gd name="connsiteX155" fmla="*/ 1872754 w 2032205"/>
                  <a:gd name="connsiteY155" fmla="*/ 1852660 h 2504332"/>
                  <a:gd name="connsiteX156" fmla="*/ 1908787 w 2032205"/>
                  <a:gd name="connsiteY156" fmla="*/ 1868342 h 2504332"/>
                  <a:gd name="connsiteX157" fmla="*/ 1960737 w 2032205"/>
                  <a:gd name="connsiteY157" fmla="*/ 1935856 h 2504332"/>
                  <a:gd name="connsiteX158" fmla="*/ 1975293 w 2032205"/>
                  <a:gd name="connsiteY158" fmla="*/ 1963181 h 2504332"/>
                  <a:gd name="connsiteX159" fmla="*/ 1974985 w 2032205"/>
                  <a:gd name="connsiteY159" fmla="*/ 1963584 h 2504332"/>
                  <a:gd name="connsiteX160" fmla="*/ 2008956 w 2032205"/>
                  <a:gd name="connsiteY160" fmla="*/ 1992653 h 2504332"/>
                  <a:gd name="connsiteX161" fmla="*/ 2030606 w 2032205"/>
                  <a:gd name="connsiteY161" fmla="*/ 1985874 h 2504332"/>
                  <a:gd name="connsiteX162" fmla="*/ 1990297 w 2032205"/>
                  <a:gd name="connsiteY162" fmla="*/ 2023879 h 2504332"/>
                  <a:gd name="connsiteX163" fmla="*/ 1971638 w 2032205"/>
                  <a:gd name="connsiteY163" fmla="*/ 2120022 h 2504332"/>
                  <a:gd name="connsiteX164" fmla="*/ 1939234 w 2032205"/>
                  <a:gd name="connsiteY164" fmla="*/ 2192027 h 2504332"/>
                  <a:gd name="connsiteX165" fmla="*/ 1864598 w 2032205"/>
                  <a:gd name="connsiteY165" fmla="*/ 2171432 h 2504332"/>
                  <a:gd name="connsiteX166" fmla="*/ 1842877 w 2032205"/>
                  <a:gd name="connsiteY166" fmla="*/ 2242513 h 2504332"/>
                  <a:gd name="connsiteX167" fmla="*/ 1876990 w 2032205"/>
                  <a:gd name="connsiteY167" fmla="*/ 2258126 h 2504332"/>
                  <a:gd name="connsiteX168" fmla="*/ 1866521 w 2032205"/>
                  <a:gd name="connsiteY168" fmla="*/ 2292793 h 2504332"/>
                  <a:gd name="connsiteX169" fmla="*/ 1882830 w 2032205"/>
                  <a:gd name="connsiteY169" fmla="*/ 2368341 h 2504332"/>
                  <a:gd name="connsiteX170" fmla="*/ 1900954 w 2032205"/>
                  <a:gd name="connsiteY170" fmla="*/ 2421164 h 2504332"/>
                  <a:gd name="connsiteX171" fmla="*/ 1903787 w 2032205"/>
                  <a:gd name="connsiteY171" fmla="*/ 2449381 h 2504332"/>
                  <a:gd name="connsiteX172" fmla="*/ 1808845 w 2032205"/>
                  <a:gd name="connsiteY172" fmla="*/ 2473772 h 2504332"/>
                  <a:gd name="connsiteX173" fmla="*/ 1505445 w 2032205"/>
                  <a:gd name="connsiteY173" fmla="*/ 2504332 h 2504332"/>
                  <a:gd name="connsiteX174" fmla="*/ 0 w 2032205"/>
                  <a:gd name="connsiteY174" fmla="*/ 1000144 h 2504332"/>
                  <a:gd name="connsiteX175" fmla="*/ 343771 w 2032205"/>
                  <a:gd name="connsiteY175" fmla="*/ 43341 h 2504332"/>
                  <a:gd name="connsiteX176" fmla="*/ 369157 w 2032205"/>
                  <a:gd name="connsiteY176" fmla="*/ 15432 h 2504332"/>
                  <a:gd name="connsiteX177" fmla="*/ 383746 w 2032205"/>
                  <a:gd name="connsiteY177" fmla="*/ 23717 h 2504332"/>
                  <a:gd name="connsiteX178" fmla="*/ 404037 w 2032205"/>
                  <a:gd name="connsiteY178" fmla="*/ 32466 h 2504332"/>
                  <a:gd name="connsiteX179" fmla="*/ 441671 w 2032205"/>
                  <a:gd name="connsiteY179" fmla="*/ 71469 h 2504332"/>
                  <a:gd name="connsiteX180" fmla="*/ 469058 w 2032205"/>
                  <a:gd name="connsiteY180" fmla="*/ 103764 h 2504332"/>
                  <a:gd name="connsiteX181" fmla="*/ 537866 w 2032205"/>
                  <a:gd name="connsiteY181" fmla="*/ 75904 h 2504332"/>
                  <a:gd name="connsiteX182" fmla="*/ 586182 w 2032205"/>
                  <a:gd name="connsiteY182" fmla="*/ 78861 h 2504332"/>
                  <a:gd name="connsiteX183" fmla="*/ 615560 w 2032205"/>
                  <a:gd name="connsiteY183" fmla="*/ 51342 h 2504332"/>
                  <a:gd name="connsiteX184" fmla="*/ 652513 w 2032205"/>
                  <a:gd name="connsiteY184" fmla="*/ 33603 h 2504332"/>
                  <a:gd name="connsiteX185" fmla="*/ 710007 w 2032205"/>
                  <a:gd name="connsiteY185" fmla="*/ 46850 h 2504332"/>
                  <a:gd name="connsiteX186" fmla="*/ 753030 w 2032205"/>
                  <a:gd name="connsiteY186" fmla="*/ 48158 h 2504332"/>
                  <a:gd name="connsiteX187" fmla="*/ 819993 w 2032205"/>
                  <a:gd name="connsiteY187" fmla="*/ 48158 h 2504332"/>
                  <a:gd name="connsiteX188" fmla="*/ 819993 w 2032205"/>
                  <a:gd name="connsiteY188" fmla="*/ 17512 h 2504332"/>
                  <a:gd name="connsiteX189" fmla="*/ 863405 w 2032205"/>
                  <a:gd name="connsiteY189" fmla="*/ 17512 h 2504332"/>
                  <a:gd name="connsiteX190" fmla="*/ 863405 w 2032205"/>
                  <a:gd name="connsiteY190" fmla="*/ 0 h 2504332"/>
                  <a:gd name="connsiteX191" fmla="*/ 1016077 w 2032205"/>
                  <a:gd name="connsiteY191" fmla="*/ 1107386 h 2504332"/>
                  <a:gd name="connsiteX192" fmla="*/ 974828 w 2032205"/>
                  <a:gd name="connsiteY192" fmla="*/ 1111712 h 2504332"/>
                  <a:gd name="connsiteX193" fmla="*/ 938794 w 2032205"/>
                  <a:gd name="connsiteY193" fmla="*/ 1203368 h 2504332"/>
                  <a:gd name="connsiteX194" fmla="*/ 940419 w 2032205"/>
                  <a:gd name="connsiteY194" fmla="*/ 1212024 h 2504332"/>
                  <a:gd name="connsiteX195" fmla="*/ 1057411 w 2032205"/>
                  <a:gd name="connsiteY195" fmla="*/ 1212024 h 2504332"/>
                  <a:gd name="connsiteX196" fmla="*/ 1059550 w 2032205"/>
                  <a:gd name="connsiteY196" fmla="*/ 1205594 h 2504332"/>
                  <a:gd name="connsiteX197" fmla="*/ 1050334 w 2032205"/>
                  <a:gd name="connsiteY197" fmla="*/ 1126263 h 2504332"/>
                  <a:gd name="connsiteX198" fmla="*/ 1016077 w 2032205"/>
                  <a:gd name="connsiteY198" fmla="*/ 1107386 h 2504332"/>
                  <a:gd name="connsiteX0" fmla="*/ 863405 w 2032205"/>
                  <a:gd name="connsiteY0" fmla="*/ 0 h 2504332"/>
                  <a:gd name="connsiteX1" fmla="*/ 1054144 w 2032205"/>
                  <a:gd name="connsiteY1" fmla="*/ 8756 h 2504332"/>
                  <a:gd name="connsiteX2" fmla="*/ 1080597 w 2032205"/>
                  <a:gd name="connsiteY2" fmla="*/ 3874 h 2504332"/>
                  <a:gd name="connsiteX3" fmla="*/ 1082399 w 2032205"/>
                  <a:gd name="connsiteY3" fmla="*/ 156 h 2504332"/>
                  <a:gd name="connsiteX4" fmla="*/ 1084093 w 2032205"/>
                  <a:gd name="connsiteY4" fmla="*/ 3144 h 2504332"/>
                  <a:gd name="connsiteX5" fmla="*/ 1071060 w 2032205"/>
                  <a:gd name="connsiteY5" fmla="*/ 9140 h 2504332"/>
                  <a:gd name="connsiteX6" fmla="*/ 1056343 w 2032205"/>
                  <a:gd name="connsiteY6" fmla="*/ 10637 h 2504332"/>
                  <a:gd name="connsiteX7" fmla="*/ 865595 w 2032205"/>
                  <a:gd name="connsiteY7" fmla="*/ 1877 h 2504332"/>
                  <a:gd name="connsiteX8" fmla="*/ 865595 w 2032205"/>
                  <a:gd name="connsiteY8" fmla="*/ 19397 h 2504332"/>
                  <a:gd name="connsiteX9" fmla="*/ 822165 w 2032205"/>
                  <a:gd name="connsiteY9" fmla="*/ 19397 h 2504332"/>
                  <a:gd name="connsiteX10" fmla="*/ 822165 w 2032205"/>
                  <a:gd name="connsiteY10" fmla="*/ 50056 h 2504332"/>
                  <a:gd name="connsiteX11" fmla="*/ 755203 w 2032205"/>
                  <a:gd name="connsiteY11" fmla="*/ 50056 h 2504332"/>
                  <a:gd name="connsiteX12" fmla="*/ 712155 w 2032205"/>
                  <a:gd name="connsiteY12" fmla="*/ 48732 h 2504332"/>
                  <a:gd name="connsiteX13" fmla="*/ 654663 w 2032205"/>
                  <a:gd name="connsiteY13" fmla="*/ 35456 h 2504332"/>
                  <a:gd name="connsiteX14" fmla="*/ 617691 w 2032205"/>
                  <a:gd name="connsiteY14" fmla="*/ 53247 h 2504332"/>
                  <a:gd name="connsiteX15" fmla="*/ 588323 w 2032205"/>
                  <a:gd name="connsiteY15" fmla="*/ 80715 h 2504332"/>
                  <a:gd name="connsiteX16" fmla="*/ 539966 w 2032205"/>
                  <a:gd name="connsiteY16" fmla="*/ 77795 h 2504332"/>
                  <a:gd name="connsiteX17" fmla="*/ 471186 w 2032205"/>
                  <a:gd name="connsiteY17" fmla="*/ 105670 h 2504332"/>
                  <a:gd name="connsiteX18" fmla="*/ 508876 w 2032205"/>
                  <a:gd name="connsiteY18" fmla="*/ 137721 h 2504332"/>
                  <a:gd name="connsiteX19" fmla="*/ 580000 w 2032205"/>
                  <a:gd name="connsiteY19" fmla="*/ 202910 h 2504332"/>
                  <a:gd name="connsiteX20" fmla="*/ 632614 w 2032205"/>
                  <a:gd name="connsiteY20" fmla="*/ 267963 h 2504332"/>
                  <a:gd name="connsiteX21" fmla="*/ 663129 w 2032205"/>
                  <a:gd name="connsiteY21" fmla="*/ 311218 h 2504332"/>
                  <a:gd name="connsiteX22" fmla="*/ 707372 w 2032205"/>
                  <a:gd name="connsiteY22" fmla="*/ 338007 h 2504332"/>
                  <a:gd name="connsiteX23" fmla="*/ 756972 w 2032205"/>
                  <a:gd name="connsiteY23" fmla="*/ 363709 h 2504332"/>
                  <a:gd name="connsiteX24" fmla="*/ 806668 w 2032205"/>
                  <a:gd name="connsiteY24" fmla="*/ 381160 h 2504332"/>
                  <a:gd name="connsiteX25" fmla="*/ 825274 w 2032205"/>
                  <a:gd name="connsiteY25" fmla="*/ 409205 h 2504332"/>
                  <a:gd name="connsiteX26" fmla="*/ 859425 w 2032205"/>
                  <a:gd name="connsiteY26" fmla="*/ 471745 h 2504332"/>
                  <a:gd name="connsiteX27" fmla="*/ 881092 w 2032205"/>
                  <a:gd name="connsiteY27" fmla="*/ 548376 h 2504332"/>
                  <a:gd name="connsiteX28" fmla="*/ 896350 w 2032205"/>
                  <a:gd name="connsiteY28" fmla="*/ 552145 h 2504332"/>
                  <a:gd name="connsiteX29" fmla="*/ 898407 w 2032205"/>
                  <a:gd name="connsiteY29" fmla="*/ 537987 h 2504332"/>
                  <a:gd name="connsiteX30" fmla="*/ 927966 w 2032205"/>
                  <a:gd name="connsiteY30" fmla="*/ 547663 h 2504332"/>
                  <a:gd name="connsiteX31" fmla="*/ 935140 w 2032205"/>
                  <a:gd name="connsiteY31" fmla="*/ 549272 h 2504332"/>
                  <a:gd name="connsiteX32" fmla="*/ 940261 w 2032205"/>
                  <a:gd name="connsiteY32" fmla="*/ 551981 h 2504332"/>
                  <a:gd name="connsiteX33" fmla="*/ 939654 w 2032205"/>
                  <a:gd name="connsiteY33" fmla="*/ 552339 h 2504332"/>
                  <a:gd name="connsiteX34" fmla="*/ 948064 w 2032205"/>
                  <a:gd name="connsiteY34" fmla="*/ 574327 h 2504332"/>
                  <a:gd name="connsiteX35" fmla="*/ 951157 w 2032205"/>
                  <a:gd name="connsiteY35" fmla="*/ 631410 h 2504332"/>
                  <a:gd name="connsiteX36" fmla="*/ 972786 w 2032205"/>
                  <a:gd name="connsiteY36" fmla="*/ 680787 h 2504332"/>
                  <a:gd name="connsiteX37" fmla="*/ 956715 w 2032205"/>
                  <a:gd name="connsiteY37" fmla="*/ 741146 h 2504332"/>
                  <a:gd name="connsiteX38" fmla="*/ 927425 w 2032205"/>
                  <a:gd name="connsiteY38" fmla="*/ 812303 h 2504332"/>
                  <a:gd name="connsiteX39" fmla="*/ 915415 w 2032205"/>
                  <a:gd name="connsiteY39" fmla="*/ 848528 h 2504332"/>
                  <a:gd name="connsiteX40" fmla="*/ 964811 w 2032205"/>
                  <a:gd name="connsiteY40" fmla="*/ 855911 h 2504332"/>
                  <a:gd name="connsiteX41" fmla="*/ 954202 w 2032205"/>
                  <a:gd name="connsiteY41" fmla="*/ 824001 h 2504332"/>
                  <a:gd name="connsiteX42" fmla="*/ 979021 w 2032205"/>
                  <a:gd name="connsiteY42" fmla="*/ 803558 h 2504332"/>
                  <a:gd name="connsiteX43" fmla="*/ 987069 w 2032205"/>
                  <a:gd name="connsiteY43" fmla="*/ 768787 h 2504332"/>
                  <a:gd name="connsiteX44" fmla="*/ 1002221 w 2032205"/>
                  <a:gd name="connsiteY44" fmla="*/ 796244 h 2504332"/>
                  <a:gd name="connsiteX45" fmla="*/ 1022376 w 2032205"/>
                  <a:gd name="connsiteY45" fmla="*/ 813780 h 2504332"/>
                  <a:gd name="connsiteX46" fmla="*/ 1060438 w 2032205"/>
                  <a:gd name="connsiteY46" fmla="*/ 819986 h 2504332"/>
                  <a:gd name="connsiteX47" fmla="*/ 1111913 w 2032205"/>
                  <a:gd name="connsiteY47" fmla="*/ 864863 h 2504332"/>
                  <a:gd name="connsiteX48" fmla="*/ 1164935 w 2032205"/>
                  <a:gd name="connsiteY48" fmla="*/ 920377 h 2504332"/>
                  <a:gd name="connsiteX49" fmla="*/ 1200580 w 2032205"/>
                  <a:gd name="connsiteY49" fmla="*/ 943796 h 2504332"/>
                  <a:gd name="connsiteX50" fmla="*/ 1222210 w 2032205"/>
                  <a:gd name="connsiteY50" fmla="*/ 926168 h 2504332"/>
                  <a:gd name="connsiteX51" fmla="*/ 1246690 w 2032205"/>
                  <a:gd name="connsiteY51" fmla="*/ 946634 h 2504332"/>
                  <a:gd name="connsiteX52" fmla="*/ 1281176 w 2032205"/>
                  <a:gd name="connsiteY52" fmla="*/ 967492 h 2504332"/>
                  <a:gd name="connsiteX53" fmla="*/ 1314840 w 2032205"/>
                  <a:gd name="connsiteY53" fmla="*/ 987889 h 2504332"/>
                  <a:gd name="connsiteX54" fmla="*/ 1344372 w 2032205"/>
                  <a:gd name="connsiteY54" fmla="*/ 1015069 h 2504332"/>
                  <a:gd name="connsiteX55" fmla="*/ 1394372 w 2032205"/>
                  <a:gd name="connsiteY55" fmla="*/ 1003648 h 2504332"/>
                  <a:gd name="connsiteX56" fmla="*/ 1372792 w 2032205"/>
                  <a:gd name="connsiteY56" fmla="*/ 951272 h 2504332"/>
                  <a:gd name="connsiteX57" fmla="*/ 1417258 w 2032205"/>
                  <a:gd name="connsiteY57" fmla="*/ 965439 h 2504332"/>
                  <a:gd name="connsiteX58" fmla="*/ 1376054 w 2032205"/>
                  <a:gd name="connsiteY58" fmla="*/ 905449 h 2504332"/>
                  <a:gd name="connsiteX59" fmla="*/ 1383449 w 2032205"/>
                  <a:gd name="connsiteY59" fmla="*/ 867817 h 2504332"/>
                  <a:gd name="connsiteX60" fmla="*/ 1408268 w 2032205"/>
                  <a:gd name="connsiteY60" fmla="*/ 847259 h 2504332"/>
                  <a:gd name="connsiteX61" fmla="*/ 1370617 w 2032205"/>
                  <a:gd name="connsiteY61" fmla="*/ 822617 h 2504332"/>
                  <a:gd name="connsiteX62" fmla="*/ 1381516 w 2032205"/>
                  <a:gd name="connsiteY62" fmla="*/ 792991 h 2504332"/>
                  <a:gd name="connsiteX63" fmla="*/ 1382917 w 2032205"/>
                  <a:gd name="connsiteY63" fmla="*/ 730601 h 2504332"/>
                  <a:gd name="connsiteX64" fmla="*/ 1367789 w 2032205"/>
                  <a:gd name="connsiteY64" fmla="*/ 717380 h 2504332"/>
                  <a:gd name="connsiteX65" fmla="*/ 1351144 w 2032205"/>
                  <a:gd name="connsiteY65" fmla="*/ 695934 h 2504332"/>
                  <a:gd name="connsiteX66" fmla="*/ 1331902 w 2032205"/>
                  <a:gd name="connsiteY66" fmla="*/ 677784 h 2504332"/>
                  <a:gd name="connsiteX67" fmla="*/ 1334763 w 2032205"/>
                  <a:gd name="connsiteY67" fmla="*/ 678924 h 2504332"/>
                  <a:gd name="connsiteX68" fmla="*/ 1371019 w 2032205"/>
                  <a:gd name="connsiteY68" fmla="*/ 718852 h 2504332"/>
                  <a:gd name="connsiteX69" fmla="*/ 1386133 w 2032205"/>
                  <a:gd name="connsiteY69" fmla="*/ 732059 h 2504332"/>
                  <a:gd name="connsiteX70" fmla="*/ 1398999 w 2032205"/>
                  <a:gd name="connsiteY70" fmla="*/ 727611 h 2504332"/>
                  <a:gd name="connsiteX71" fmla="*/ 1436020 w 2032205"/>
                  <a:gd name="connsiteY71" fmla="*/ 727272 h 2504332"/>
                  <a:gd name="connsiteX72" fmla="*/ 1452952 w 2032205"/>
                  <a:gd name="connsiteY72" fmla="*/ 694032 h 2504332"/>
                  <a:gd name="connsiteX73" fmla="*/ 1458970 w 2032205"/>
                  <a:gd name="connsiteY73" fmla="*/ 690231 h 2504332"/>
                  <a:gd name="connsiteX74" fmla="*/ 1459014 w 2032205"/>
                  <a:gd name="connsiteY74" fmla="*/ 690499 h 2504332"/>
                  <a:gd name="connsiteX75" fmla="*/ 1466087 w 2032205"/>
                  <a:gd name="connsiteY75" fmla="*/ 692455 h 2504332"/>
                  <a:gd name="connsiteX76" fmla="*/ 1473424 w 2032205"/>
                  <a:gd name="connsiteY76" fmla="*/ 710468 h 2504332"/>
                  <a:gd name="connsiteX77" fmla="*/ 1513431 w 2032205"/>
                  <a:gd name="connsiteY77" fmla="*/ 716245 h 2504332"/>
                  <a:gd name="connsiteX78" fmla="*/ 1547944 w 2032205"/>
                  <a:gd name="connsiteY78" fmla="*/ 748383 h 2504332"/>
                  <a:gd name="connsiteX79" fmla="*/ 1576962 w 2032205"/>
                  <a:gd name="connsiteY79" fmla="*/ 774994 h 2504332"/>
                  <a:gd name="connsiteX80" fmla="*/ 1583768 w 2032205"/>
                  <a:gd name="connsiteY80" fmla="*/ 785019 h 2504332"/>
                  <a:gd name="connsiteX81" fmla="*/ 1581731 w 2032205"/>
                  <a:gd name="connsiteY81" fmla="*/ 784858 h 2504332"/>
                  <a:gd name="connsiteX82" fmla="*/ 1571605 w 2032205"/>
                  <a:gd name="connsiteY82" fmla="*/ 803041 h 2504332"/>
                  <a:gd name="connsiteX83" fmla="*/ 1539155 w 2032205"/>
                  <a:gd name="connsiteY83" fmla="*/ 823437 h 2504332"/>
                  <a:gd name="connsiteX84" fmla="*/ 1499535 w 2032205"/>
                  <a:gd name="connsiteY84" fmla="*/ 832839 h 2504332"/>
                  <a:gd name="connsiteX85" fmla="*/ 1472924 w 2032205"/>
                  <a:gd name="connsiteY85" fmla="*/ 864619 h 2504332"/>
                  <a:gd name="connsiteX86" fmla="*/ 1457328 w 2032205"/>
                  <a:gd name="connsiteY86" fmla="*/ 877498 h 2504332"/>
                  <a:gd name="connsiteX87" fmla="*/ 1434413 w 2032205"/>
                  <a:gd name="connsiteY87" fmla="*/ 879576 h 2504332"/>
                  <a:gd name="connsiteX88" fmla="*/ 1455332 w 2032205"/>
                  <a:gd name="connsiteY88" fmla="*/ 911375 h 2504332"/>
                  <a:gd name="connsiteX89" fmla="*/ 1480575 w 2032205"/>
                  <a:gd name="connsiteY89" fmla="*/ 939231 h 2504332"/>
                  <a:gd name="connsiteX90" fmla="*/ 1519012 w 2032205"/>
                  <a:gd name="connsiteY90" fmla="*/ 943893 h 2504332"/>
                  <a:gd name="connsiteX91" fmla="*/ 1522782 w 2032205"/>
                  <a:gd name="connsiteY91" fmla="*/ 947759 h 2504332"/>
                  <a:gd name="connsiteX92" fmla="*/ 1524307 w 2032205"/>
                  <a:gd name="connsiteY92" fmla="*/ 947313 h 2504332"/>
                  <a:gd name="connsiteX93" fmla="*/ 1531826 w 2032205"/>
                  <a:gd name="connsiteY93" fmla="*/ 963870 h 2504332"/>
                  <a:gd name="connsiteX94" fmla="*/ 1528872 w 2032205"/>
                  <a:gd name="connsiteY94" fmla="*/ 1022130 h 2504332"/>
                  <a:gd name="connsiteX95" fmla="*/ 1530043 w 2032205"/>
                  <a:gd name="connsiteY95" fmla="*/ 1053834 h 2504332"/>
                  <a:gd name="connsiteX96" fmla="*/ 1575427 w 2032205"/>
                  <a:gd name="connsiteY96" fmla="*/ 1072543 h 2504332"/>
                  <a:gd name="connsiteX97" fmla="*/ 1593712 w 2032205"/>
                  <a:gd name="connsiteY97" fmla="*/ 1081267 h 2504332"/>
                  <a:gd name="connsiteX98" fmla="*/ 1589270 w 2032205"/>
                  <a:gd name="connsiteY98" fmla="*/ 1099204 h 2504332"/>
                  <a:gd name="connsiteX99" fmla="*/ 1603147 w 2032205"/>
                  <a:gd name="connsiteY99" fmla="*/ 1125153 h 2504332"/>
                  <a:gd name="connsiteX100" fmla="*/ 1642918 w 2032205"/>
                  <a:gd name="connsiteY100" fmla="*/ 1136033 h 2504332"/>
                  <a:gd name="connsiteX101" fmla="*/ 1666918 w 2032205"/>
                  <a:gd name="connsiteY101" fmla="*/ 1173695 h 2504332"/>
                  <a:gd name="connsiteX102" fmla="*/ 1678902 w 2032205"/>
                  <a:gd name="connsiteY102" fmla="*/ 1211988 h 2504332"/>
                  <a:gd name="connsiteX103" fmla="*/ 1680348 w 2032205"/>
                  <a:gd name="connsiteY103" fmla="*/ 1256952 h 2504332"/>
                  <a:gd name="connsiteX104" fmla="*/ 1700216 w 2032205"/>
                  <a:gd name="connsiteY104" fmla="*/ 1293720 h 2504332"/>
                  <a:gd name="connsiteX105" fmla="*/ 1708343 w 2032205"/>
                  <a:gd name="connsiteY105" fmla="*/ 1331443 h 2504332"/>
                  <a:gd name="connsiteX106" fmla="*/ 1744430 w 2032205"/>
                  <a:gd name="connsiteY106" fmla="*/ 1338744 h 2504332"/>
                  <a:gd name="connsiteX107" fmla="*/ 1769876 w 2032205"/>
                  <a:gd name="connsiteY107" fmla="*/ 1361541 h 2504332"/>
                  <a:gd name="connsiteX108" fmla="*/ 1790502 w 2032205"/>
                  <a:gd name="connsiteY108" fmla="*/ 1363575 h 2504332"/>
                  <a:gd name="connsiteX109" fmla="*/ 1818428 w 2032205"/>
                  <a:gd name="connsiteY109" fmla="*/ 1364998 h 2504332"/>
                  <a:gd name="connsiteX110" fmla="*/ 1839399 w 2032205"/>
                  <a:gd name="connsiteY110" fmla="*/ 1374190 h 2504332"/>
                  <a:gd name="connsiteX111" fmla="*/ 1861139 w 2032205"/>
                  <a:gd name="connsiteY111" fmla="*/ 1376178 h 2504332"/>
                  <a:gd name="connsiteX112" fmla="*/ 1881586 w 2032205"/>
                  <a:gd name="connsiteY112" fmla="*/ 1372043 h 2504332"/>
                  <a:gd name="connsiteX113" fmla="*/ 1880799 w 2032205"/>
                  <a:gd name="connsiteY113" fmla="*/ 1372673 h 2504332"/>
                  <a:gd name="connsiteX114" fmla="*/ 1838220 w 2032205"/>
                  <a:gd name="connsiteY114" fmla="*/ 1374880 h 2504332"/>
                  <a:gd name="connsiteX115" fmla="*/ 1817253 w 2032205"/>
                  <a:gd name="connsiteY115" fmla="*/ 1365700 h 2504332"/>
                  <a:gd name="connsiteX116" fmla="*/ 1789283 w 2032205"/>
                  <a:gd name="connsiteY116" fmla="*/ 1364273 h 2504332"/>
                  <a:gd name="connsiteX117" fmla="*/ 1768637 w 2032205"/>
                  <a:gd name="connsiteY117" fmla="*/ 1362227 h 2504332"/>
                  <a:gd name="connsiteX118" fmla="*/ 1769160 w 2032205"/>
                  <a:gd name="connsiteY118" fmla="*/ 1364219 h 2504332"/>
                  <a:gd name="connsiteX119" fmla="*/ 1723442 w 2032205"/>
                  <a:gd name="connsiteY119" fmla="*/ 1374773 h 2504332"/>
                  <a:gd name="connsiteX120" fmla="*/ 1706741 w 2032205"/>
                  <a:gd name="connsiteY120" fmla="*/ 1382930 h 2504332"/>
                  <a:gd name="connsiteX121" fmla="*/ 1684118 w 2032205"/>
                  <a:gd name="connsiteY121" fmla="*/ 1382856 h 2504332"/>
                  <a:gd name="connsiteX122" fmla="*/ 1663086 w 2032205"/>
                  <a:gd name="connsiteY122" fmla="*/ 1384596 h 2504332"/>
                  <a:gd name="connsiteX123" fmla="*/ 1664077 w 2032205"/>
                  <a:gd name="connsiteY123" fmla="*/ 1383469 h 2504332"/>
                  <a:gd name="connsiteX124" fmla="*/ 1708707 w 2032205"/>
                  <a:gd name="connsiteY124" fmla="*/ 1381698 h 2504332"/>
                  <a:gd name="connsiteX125" fmla="*/ 1725435 w 2032205"/>
                  <a:gd name="connsiteY125" fmla="*/ 1373555 h 2504332"/>
                  <a:gd name="connsiteX126" fmla="*/ 1709018 w 2032205"/>
                  <a:gd name="connsiteY126" fmla="*/ 1360127 h 2504332"/>
                  <a:gd name="connsiteX127" fmla="*/ 1695480 w 2032205"/>
                  <a:gd name="connsiteY127" fmla="*/ 1327634 h 2504332"/>
                  <a:gd name="connsiteX128" fmla="*/ 1662525 w 2032205"/>
                  <a:gd name="connsiteY128" fmla="*/ 1329459 h 2504332"/>
                  <a:gd name="connsiteX129" fmla="*/ 1651350 w 2032205"/>
                  <a:gd name="connsiteY129" fmla="*/ 1300261 h 2504332"/>
                  <a:gd name="connsiteX130" fmla="*/ 1615998 w 2032205"/>
                  <a:gd name="connsiteY130" fmla="*/ 1292662 h 2504332"/>
                  <a:gd name="connsiteX131" fmla="*/ 1594700 w 2032205"/>
                  <a:gd name="connsiteY131" fmla="*/ 1260768 h 2504332"/>
                  <a:gd name="connsiteX132" fmla="*/ 1560158 w 2032205"/>
                  <a:gd name="connsiteY132" fmla="*/ 1253578 h 2504332"/>
                  <a:gd name="connsiteX133" fmla="*/ 1521443 w 2032205"/>
                  <a:gd name="connsiteY133" fmla="*/ 1237154 h 2504332"/>
                  <a:gd name="connsiteX134" fmla="*/ 1479468 w 2032205"/>
                  <a:gd name="connsiteY134" fmla="*/ 1202346 h 2504332"/>
                  <a:gd name="connsiteX135" fmla="*/ 1483141 w 2032205"/>
                  <a:gd name="connsiteY135" fmla="*/ 1132484 h 2504332"/>
                  <a:gd name="connsiteX136" fmla="*/ 1365926 w 2032205"/>
                  <a:gd name="connsiteY136" fmla="*/ 1132484 h 2504332"/>
                  <a:gd name="connsiteX137" fmla="*/ 1378722 w 2032205"/>
                  <a:gd name="connsiteY137" fmla="*/ 1190689 h 2504332"/>
                  <a:gd name="connsiteX138" fmla="*/ 1363443 w 2032205"/>
                  <a:gd name="connsiteY138" fmla="*/ 1234757 h 2504332"/>
                  <a:gd name="connsiteX139" fmla="*/ 1358097 w 2032205"/>
                  <a:gd name="connsiteY139" fmla="*/ 1311864 h 2504332"/>
                  <a:gd name="connsiteX140" fmla="*/ 1381826 w 2032205"/>
                  <a:gd name="connsiteY140" fmla="*/ 1336458 h 2504332"/>
                  <a:gd name="connsiteX141" fmla="*/ 1418024 w 2032205"/>
                  <a:gd name="connsiteY141" fmla="*/ 1370749 h 2504332"/>
                  <a:gd name="connsiteX142" fmla="*/ 1442615 w 2032205"/>
                  <a:gd name="connsiteY142" fmla="*/ 1443062 h 2504332"/>
                  <a:gd name="connsiteX143" fmla="*/ 1453135 w 2032205"/>
                  <a:gd name="connsiteY143" fmla="*/ 1518208 h 2504332"/>
                  <a:gd name="connsiteX144" fmla="*/ 1450031 w 2032205"/>
                  <a:gd name="connsiteY144" fmla="*/ 1592373 h 2504332"/>
                  <a:gd name="connsiteX145" fmla="*/ 1491953 w 2032205"/>
                  <a:gd name="connsiteY145" fmla="*/ 1666838 h 2504332"/>
                  <a:gd name="connsiteX146" fmla="*/ 1553915 w 2032205"/>
                  <a:gd name="connsiteY146" fmla="*/ 1718260 h 2504332"/>
                  <a:gd name="connsiteX147" fmla="*/ 1559365 w 2032205"/>
                  <a:gd name="connsiteY147" fmla="*/ 1720793 h 2504332"/>
                  <a:gd name="connsiteX148" fmla="*/ 1559420 w 2032205"/>
                  <a:gd name="connsiteY148" fmla="*/ 1720484 h 2504332"/>
                  <a:gd name="connsiteX149" fmla="*/ 1574846 w 2032205"/>
                  <a:gd name="connsiteY149" fmla="*/ 1733601 h 2504332"/>
                  <a:gd name="connsiteX150" fmla="*/ 1610549 w 2032205"/>
                  <a:gd name="connsiteY150" fmla="*/ 1790224 h 2504332"/>
                  <a:gd name="connsiteX151" fmla="*/ 1694716 w 2032205"/>
                  <a:gd name="connsiteY151" fmla="*/ 1856718 h 2504332"/>
                  <a:gd name="connsiteX152" fmla="*/ 1778084 w 2032205"/>
                  <a:gd name="connsiteY152" fmla="*/ 1880438 h 2504332"/>
                  <a:gd name="connsiteX153" fmla="*/ 1807580 w 2032205"/>
                  <a:gd name="connsiteY153" fmla="*/ 1861756 h 2504332"/>
                  <a:gd name="connsiteX154" fmla="*/ 1841720 w 2032205"/>
                  <a:gd name="connsiteY154" fmla="*/ 1871773 h 2504332"/>
                  <a:gd name="connsiteX155" fmla="*/ 1872754 w 2032205"/>
                  <a:gd name="connsiteY155" fmla="*/ 1852660 h 2504332"/>
                  <a:gd name="connsiteX156" fmla="*/ 1908787 w 2032205"/>
                  <a:gd name="connsiteY156" fmla="*/ 1868342 h 2504332"/>
                  <a:gd name="connsiteX157" fmla="*/ 1960737 w 2032205"/>
                  <a:gd name="connsiteY157" fmla="*/ 1935856 h 2504332"/>
                  <a:gd name="connsiteX158" fmla="*/ 1975293 w 2032205"/>
                  <a:gd name="connsiteY158" fmla="*/ 1963181 h 2504332"/>
                  <a:gd name="connsiteX159" fmla="*/ 1974985 w 2032205"/>
                  <a:gd name="connsiteY159" fmla="*/ 1963584 h 2504332"/>
                  <a:gd name="connsiteX160" fmla="*/ 2008956 w 2032205"/>
                  <a:gd name="connsiteY160" fmla="*/ 1992653 h 2504332"/>
                  <a:gd name="connsiteX161" fmla="*/ 2030606 w 2032205"/>
                  <a:gd name="connsiteY161" fmla="*/ 1985874 h 2504332"/>
                  <a:gd name="connsiteX162" fmla="*/ 1990297 w 2032205"/>
                  <a:gd name="connsiteY162" fmla="*/ 2023879 h 2504332"/>
                  <a:gd name="connsiteX163" fmla="*/ 1971638 w 2032205"/>
                  <a:gd name="connsiteY163" fmla="*/ 2120022 h 2504332"/>
                  <a:gd name="connsiteX164" fmla="*/ 1939234 w 2032205"/>
                  <a:gd name="connsiteY164" fmla="*/ 2192027 h 2504332"/>
                  <a:gd name="connsiteX165" fmla="*/ 1864598 w 2032205"/>
                  <a:gd name="connsiteY165" fmla="*/ 2171432 h 2504332"/>
                  <a:gd name="connsiteX166" fmla="*/ 1842877 w 2032205"/>
                  <a:gd name="connsiteY166" fmla="*/ 2242513 h 2504332"/>
                  <a:gd name="connsiteX167" fmla="*/ 1876990 w 2032205"/>
                  <a:gd name="connsiteY167" fmla="*/ 2258126 h 2504332"/>
                  <a:gd name="connsiteX168" fmla="*/ 1866521 w 2032205"/>
                  <a:gd name="connsiteY168" fmla="*/ 2292793 h 2504332"/>
                  <a:gd name="connsiteX169" fmla="*/ 1882830 w 2032205"/>
                  <a:gd name="connsiteY169" fmla="*/ 2368341 h 2504332"/>
                  <a:gd name="connsiteX170" fmla="*/ 1900954 w 2032205"/>
                  <a:gd name="connsiteY170" fmla="*/ 2421164 h 2504332"/>
                  <a:gd name="connsiteX171" fmla="*/ 1903787 w 2032205"/>
                  <a:gd name="connsiteY171" fmla="*/ 2449381 h 2504332"/>
                  <a:gd name="connsiteX172" fmla="*/ 1808845 w 2032205"/>
                  <a:gd name="connsiteY172" fmla="*/ 2473772 h 2504332"/>
                  <a:gd name="connsiteX173" fmla="*/ 1505445 w 2032205"/>
                  <a:gd name="connsiteY173" fmla="*/ 2504332 h 2504332"/>
                  <a:gd name="connsiteX174" fmla="*/ 0 w 2032205"/>
                  <a:gd name="connsiteY174" fmla="*/ 1000144 h 2504332"/>
                  <a:gd name="connsiteX175" fmla="*/ 343771 w 2032205"/>
                  <a:gd name="connsiteY175" fmla="*/ 43341 h 2504332"/>
                  <a:gd name="connsiteX176" fmla="*/ 369157 w 2032205"/>
                  <a:gd name="connsiteY176" fmla="*/ 15432 h 2504332"/>
                  <a:gd name="connsiteX177" fmla="*/ 383746 w 2032205"/>
                  <a:gd name="connsiteY177" fmla="*/ 23717 h 2504332"/>
                  <a:gd name="connsiteX178" fmla="*/ 404037 w 2032205"/>
                  <a:gd name="connsiteY178" fmla="*/ 32466 h 2504332"/>
                  <a:gd name="connsiteX179" fmla="*/ 441671 w 2032205"/>
                  <a:gd name="connsiteY179" fmla="*/ 71469 h 2504332"/>
                  <a:gd name="connsiteX180" fmla="*/ 469058 w 2032205"/>
                  <a:gd name="connsiteY180" fmla="*/ 103764 h 2504332"/>
                  <a:gd name="connsiteX181" fmla="*/ 537866 w 2032205"/>
                  <a:gd name="connsiteY181" fmla="*/ 75904 h 2504332"/>
                  <a:gd name="connsiteX182" fmla="*/ 586182 w 2032205"/>
                  <a:gd name="connsiteY182" fmla="*/ 78861 h 2504332"/>
                  <a:gd name="connsiteX183" fmla="*/ 615560 w 2032205"/>
                  <a:gd name="connsiteY183" fmla="*/ 51342 h 2504332"/>
                  <a:gd name="connsiteX184" fmla="*/ 652513 w 2032205"/>
                  <a:gd name="connsiteY184" fmla="*/ 33603 h 2504332"/>
                  <a:gd name="connsiteX185" fmla="*/ 710007 w 2032205"/>
                  <a:gd name="connsiteY185" fmla="*/ 46850 h 2504332"/>
                  <a:gd name="connsiteX186" fmla="*/ 753030 w 2032205"/>
                  <a:gd name="connsiteY186" fmla="*/ 48158 h 2504332"/>
                  <a:gd name="connsiteX187" fmla="*/ 819993 w 2032205"/>
                  <a:gd name="connsiteY187" fmla="*/ 48158 h 2504332"/>
                  <a:gd name="connsiteX188" fmla="*/ 819993 w 2032205"/>
                  <a:gd name="connsiteY188" fmla="*/ 17512 h 2504332"/>
                  <a:gd name="connsiteX189" fmla="*/ 863405 w 2032205"/>
                  <a:gd name="connsiteY189" fmla="*/ 17512 h 2504332"/>
                  <a:gd name="connsiteX190" fmla="*/ 863405 w 2032205"/>
                  <a:gd name="connsiteY190" fmla="*/ 0 h 2504332"/>
                  <a:gd name="connsiteX191" fmla="*/ 1016077 w 2032205"/>
                  <a:gd name="connsiteY191" fmla="*/ 1107386 h 2504332"/>
                  <a:gd name="connsiteX192" fmla="*/ 974828 w 2032205"/>
                  <a:gd name="connsiteY192" fmla="*/ 1111712 h 2504332"/>
                  <a:gd name="connsiteX193" fmla="*/ 938794 w 2032205"/>
                  <a:gd name="connsiteY193" fmla="*/ 1203368 h 2504332"/>
                  <a:gd name="connsiteX194" fmla="*/ 1057411 w 2032205"/>
                  <a:gd name="connsiteY194" fmla="*/ 1212024 h 2504332"/>
                  <a:gd name="connsiteX195" fmla="*/ 1059550 w 2032205"/>
                  <a:gd name="connsiteY195" fmla="*/ 1205594 h 2504332"/>
                  <a:gd name="connsiteX196" fmla="*/ 1050334 w 2032205"/>
                  <a:gd name="connsiteY196" fmla="*/ 1126263 h 2504332"/>
                  <a:gd name="connsiteX197" fmla="*/ 1016077 w 2032205"/>
                  <a:gd name="connsiteY197" fmla="*/ 1107386 h 2504332"/>
                  <a:gd name="connsiteX0" fmla="*/ 863405 w 2032205"/>
                  <a:gd name="connsiteY0" fmla="*/ 0 h 2504332"/>
                  <a:gd name="connsiteX1" fmla="*/ 1054144 w 2032205"/>
                  <a:gd name="connsiteY1" fmla="*/ 8756 h 2504332"/>
                  <a:gd name="connsiteX2" fmla="*/ 1080597 w 2032205"/>
                  <a:gd name="connsiteY2" fmla="*/ 3874 h 2504332"/>
                  <a:gd name="connsiteX3" fmla="*/ 1082399 w 2032205"/>
                  <a:gd name="connsiteY3" fmla="*/ 156 h 2504332"/>
                  <a:gd name="connsiteX4" fmla="*/ 1084093 w 2032205"/>
                  <a:gd name="connsiteY4" fmla="*/ 3144 h 2504332"/>
                  <a:gd name="connsiteX5" fmla="*/ 1071060 w 2032205"/>
                  <a:gd name="connsiteY5" fmla="*/ 9140 h 2504332"/>
                  <a:gd name="connsiteX6" fmla="*/ 1056343 w 2032205"/>
                  <a:gd name="connsiteY6" fmla="*/ 10637 h 2504332"/>
                  <a:gd name="connsiteX7" fmla="*/ 865595 w 2032205"/>
                  <a:gd name="connsiteY7" fmla="*/ 1877 h 2504332"/>
                  <a:gd name="connsiteX8" fmla="*/ 865595 w 2032205"/>
                  <a:gd name="connsiteY8" fmla="*/ 19397 h 2504332"/>
                  <a:gd name="connsiteX9" fmla="*/ 822165 w 2032205"/>
                  <a:gd name="connsiteY9" fmla="*/ 19397 h 2504332"/>
                  <a:gd name="connsiteX10" fmla="*/ 822165 w 2032205"/>
                  <a:gd name="connsiteY10" fmla="*/ 50056 h 2504332"/>
                  <a:gd name="connsiteX11" fmla="*/ 755203 w 2032205"/>
                  <a:gd name="connsiteY11" fmla="*/ 50056 h 2504332"/>
                  <a:gd name="connsiteX12" fmla="*/ 712155 w 2032205"/>
                  <a:gd name="connsiteY12" fmla="*/ 48732 h 2504332"/>
                  <a:gd name="connsiteX13" fmla="*/ 654663 w 2032205"/>
                  <a:gd name="connsiteY13" fmla="*/ 35456 h 2504332"/>
                  <a:gd name="connsiteX14" fmla="*/ 617691 w 2032205"/>
                  <a:gd name="connsiteY14" fmla="*/ 53247 h 2504332"/>
                  <a:gd name="connsiteX15" fmla="*/ 588323 w 2032205"/>
                  <a:gd name="connsiteY15" fmla="*/ 80715 h 2504332"/>
                  <a:gd name="connsiteX16" fmla="*/ 539966 w 2032205"/>
                  <a:gd name="connsiteY16" fmla="*/ 77795 h 2504332"/>
                  <a:gd name="connsiteX17" fmla="*/ 471186 w 2032205"/>
                  <a:gd name="connsiteY17" fmla="*/ 105670 h 2504332"/>
                  <a:gd name="connsiteX18" fmla="*/ 508876 w 2032205"/>
                  <a:gd name="connsiteY18" fmla="*/ 137721 h 2504332"/>
                  <a:gd name="connsiteX19" fmla="*/ 580000 w 2032205"/>
                  <a:gd name="connsiteY19" fmla="*/ 202910 h 2504332"/>
                  <a:gd name="connsiteX20" fmla="*/ 632614 w 2032205"/>
                  <a:gd name="connsiteY20" fmla="*/ 267963 h 2504332"/>
                  <a:gd name="connsiteX21" fmla="*/ 663129 w 2032205"/>
                  <a:gd name="connsiteY21" fmla="*/ 311218 h 2504332"/>
                  <a:gd name="connsiteX22" fmla="*/ 707372 w 2032205"/>
                  <a:gd name="connsiteY22" fmla="*/ 338007 h 2504332"/>
                  <a:gd name="connsiteX23" fmla="*/ 756972 w 2032205"/>
                  <a:gd name="connsiteY23" fmla="*/ 363709 h 2504332"/>
                  <a:gd name="connsiteX24" fmla="*/ 806668 w 2032205"/>
                  <a:gd name="connsiteY24" fmla="*/ 381160 h 2504332"/>
                  <a:gd name="connsiteX25" fmla="*/ 825274 w 2032205"/>
                  <a:gd name="connsiteY25" fmla="*/ 409205 h 2504332"/>
                  <a:gd name="connsiteX26" fmla="*/ 859425 w 2032205"/>
                  <a:gd name="connsiteY26" fmla="*/ 471745 h 2504332"/>
                  <a:gd name="connsiteX27" fmla="*/ 881092 w 2032205"/>
                  <a:gd name="connsiteY27" fmla="*/ 548376 h 2504332"/>
                  <a:gd name="connsiteX28" fmla="*/ 896350 w 2032205"/>
                  <a:gd name="connsiteY28" fmla="*/ 552145 h 2504332"/>
                  <a:gd name="connsiteX29" fmla="*/ 898407 w 2032205"/>
                  <a:gd name="connsiteY29" fmla="*/ 537987 h 2504332"/>
                  <a:gd name="connsiteX30" fmla="*/ 927966 w 2032205"/>
                  <a:gd name="connsiteY30" fmla="*/ 547663 h 2504332"/>
                  <a:gd name="connsiteX31" fmla="*/ 935140 w 2032205"/>
                  <a:gd name="connsiteY31" fmla="*/ 549272 h 2504332"/>
                  <a:gd name="connsiteX32" fmla="*/ 940261 w 2032205"/>
                  <a:gd name="connsiteY32" fmla="*/ 551981 h 2504332"/>
                  <a:gd name="connsiteX33" fmla="*/ 939654 w 2032205"/>
                  <a:gd name="connsiteY33" fmla="*/ 552339 h 2504332"/>
                  <a:gd name="connsiteX34" fmla="*/ 948064 w 2032205"/>
                  <a:gd name="connsiteY34" fmla="*/ 574327 h 2504332"/>
                  <a:gd name="connsiteX35" fmla="*/ 951157 w 2032205"/>
                  <a:gd name="connsiteY35" fmla="*/ 631410 h 2504332"/>
                  <a:gd name="connsiteX36" fmla="*/ 972786 w 2032205"/>
                  <a:gd name="connsiteY36" fmla="*/ 680787 h 2504332"/>
                  <a:gd name="connsiteX37" fmla="*/ 956715 w 2032205"/>
                  <a:gd name="connsiteY37" fmla="*/ 741146 h 2504332"/>
                  <a:gd name="connsiteX38" fmla="*/ 927425 w 2032205"/>
                  <a:gd name="connsiteY38" fmla="*/ 812303 h 2504332"/>
                  <a:gd name="connsiteX39" fmla="*/ 915415 w 2032205"/>
                  <a:gd name="connsiteY39" fmla="*/ 848528 h 2504332"/>
                  <a:gd name="connsiteX40" fmla="*/ 964811 w 2032205"/>
                  <a:gd name="connsiteY40" fmla="*/ 855911 h 2504332"/>
                  <a:gd name="connsiteX41" fmla="*/ 954202 w 2032205"/>
                  <a:gd name="connsiteY41" fmla="*/ 824001 h 2504332"/>
                  <a:gd name="connsiteX42" fmla="*/ 979021 w 2032205"/>
                  <a:gd name="connsiteY42" fmla="*/ 803558 h 2504332"/>
                  <a:gd name="connsiteX43" fmla="*/ 987069 w 2032205"/>
                  <a:gd name="connsiteY43" fmla="*/ 768787 h 2504332"/>
                  <a:gd name="connsiteX44" fmla="*/ 1002221 w 2032205"/>
                  <a:gd name="connsiteY44" fmla="*/ 796244 h 2504332"/>
                  <a:gd name="connsiteX45" fmla="*/ 1022376 w 2032205"/>
                  <a:gd name="connsiteY45" fmla="*/ 813780 h 2504332"/>
                  <a:gd name="connsiteX46" fmla="*/ 1060438 w 2032205"/>
                  <a:gd name="connsiteY46" fmla="*/ 819986 h 2504332"/>
                  <a:gd name="connsiteX47" fmla="*/ 1111913 w 2032205"/>
                  <a:gd name="connsiteY47" fmla="*/ 864863 h 2504332"/>
                  <a:gd name="connsiteX48" fmla="*/ 1164935 w 2032205"/>
                  <a:gd name="connsiteY48" fmla="*/ 920377 h 2504332"/>
                  <a:gd name="connsiteX49" fmla="*/ 1200580 w 2032205"/>
                  <a:gd name="connsiteY49" fmla="*/ 943796 h 2504332"/>
                  <a:gd name="connsiteX50" fmla="*/ 1222210 w 2032205"/>
                  <a:gd name="connsiteY50" fmla="*/ 926168 h 2504332"/>
                  <a:gd name="connsiteX51" fmla="*/ 1246690 w 2032205"/>
                  <a:gd name="connsiteY51" fmla="*/ 946634 h 2504332"/>
                  <a:gd name="connsiteX52" fmla="*/ 1281176 w 2032205"/>
                  <a:gd name="connsiteY52" fmla="*/ 967492 h 2504332"/>
                  <a:gd name="connsiteX53" fmla="*/ 1314840 w 2032205"/>
                  <a:gd name="connsiteY53" fmla="*/ 987889 h 2504332"/>
                  <a:gd name="connsiteX54" fmla="*/ 1344372 w 2032205"/>
                  <a:gd name="connsiteY54" fmla="*/ 1015069 h 2504332"/>
                  <a:gd name="connsiteX55" fmla="*/ 1394372 w 2032205"/>
                  <a:gd name="connsiteY55" fmla="*/ 1003648 h 2504332"/>
                  <a:gd name="connsiteX56" fmla="*/ 1372792 w 2032205"/>
                  <a:gd name="connsiteY56" fmla="*/ 951272 h 2504332"/>
                  <a:gd name="connsiteX57" fmla="*/ 1417258 w 2032205"/>
                  <a:gd name="connsiteY57" fmla="*/ 965439 h 2504332"/>
                  <a:gd name="connsiteX58" fmla="*/ 1376054 w 2032205"/>
                  <a:gd name="connsiteY58" fmla="*/ 905449 h 2504332"/>
                  <a:gd name="connsiteX59" fmla="*/ 1383449 w 2032205"/>
                  <a:gd name="connsiteY59" fmla="*/ 867817 h 2504332"/>
                  <a:gd name="connsiteX60" fmla="*/ 1408268 w 2032205"/>
                  <a:gd name="connsiteY60" fmla="*/ 847259 h 2504332"/>
                  <a:gd name="connsiteX61" fmla="*/ 1370617 w 2032205"/>
                  <a:gd name="connsiteY61" fmla="*/ 822617 h 2504332"/>
                  <a:gd name="connsiteX62" fmla="*/ 1381516 w 2032205"/>
                  <a:gd name="connsiteY62" fmla="*/ 792991 h 2504332"/>
                  <a:gd name="connsiteX63" fmla="*/ 1382917 w 2032205"/>
                  <a:gd name="connsiteY63" fmla="*/ 730601 h 2504332"/>
                  <a:gd name="connsiteX64" fmla="*/ 1367789 w 2032205"/>
                  <a:gd name="connsiteY64" fmla="*/ 717380 h 2504332"/>
                  <a:gd name="connsiteX65" fmla="*/ 1351144 w 2032205"/>
                  <a:gd name="connsiteY65" fmla="*/ 695934 h 2504332"/>
                  <a:gd name="connsiteX66" fmla="*/ 1331902 w 2032205"/>
                  <a:gd name="connsiteY66" fmla="*/ 677784 h 2504332"/>
                  <a:gd name="connsiteX67" fmla="*/ 1334763 w 2032205"/>
                  <a:gd name="connsiteY67" fmla="*/ 678924 h 2504332"/>
                  <a:gd name="connsiteX68" fmla="*/ 1371019 w 2032205"/>
                  <a:gd name="connsiteY68" fmla="*/ 718852 h 2504332"/>
                  <a:gd name="connsiteX69" fmla="*/ 1386133 w 2032205"/>
                  <a:gd name="connsiteY69" fmla="*/ 732059 h 2504332"/>
                  <a:gd name="connsiteX70" fmla="*/ 1398999 w 2032205"/>
                  <a:gd name="connsiteY70" fmla="*/ 727611 h 2504332"/>
                  <a:gd name="connsiteX71" fmla="*/ 1436020 w 2032205"/>
                  <a:gd name="connsiteY71" fmla="*/ 727272 h 2504332"/>
                  <a:gd name="connsiteX72" fmla="*/ 1452952 w 2032205"/>
                  <a:gd name="connsiteY72" fmla="*/ 694032 h 2504332"/>
                  <a:gd name="connsiteX73" fmla="*/ 1458970 w 2032205"/>
                  <a:gd name="connsiteY73" fmla="*/ 690231 h 2504332"/>
                  <a:gd name="connsiteX74" fmla="*/ 1459014 w 2032205"/>
                  <a:gd name="connsiteY74" fmla="*/ 690499 h 2504332"/>
                  <a:gd name="connsiteX75" fmla="*/ 1466087 w 2032205"/>
                  <a:gd name="connsiteY75" fmla="*/ 692455 h 2504332"/>
                  <a:gd name="connsiteX76" fmla="*/ 1473424 w 2032205"/>
                  <a:gd name="connsiteY76" fmla="*/ 710468 h 2504332"/>
                  <a:gd name="connsiteX77" fmla="*/ 1513431 w 2032205"/>
                  <a:gd name="connsiteY77" fmla="*/ 716245 h 2504332"/>
                  <a:gd name="connsiteX78" fmla="*/ 1547944 w 2032205"/>
                  <a:gd name="connsiteY78" fmla="*/ 748383 h 2504332"/>
                  <a:gd name="connsiteX79" fmla="*/ 1576962 w 2032205"/>
                  <a:gd name="connsiteY79" fmla="*/ 774994 h 2504332"/>
                  <a:gd name="connsiteX80" fmla="*/ 1583768 w 2032205"/>
                  <a:gd name="connsiteY80" fmla="*/ 785019 h 2504332"/>
                  <a:gd name="connsiteX81" fmla="*/ 1581731 w 2032205"/>
                  <a:gd name="connsiteY81" fmla="*/ 784858 h 2504332"/>
                  <a:gd name="connsiteX82" fmla="*/ 1571605 w 2032205"/>
                  <a:gd name="connsiteY82" fmla="*/ 803041 h 2504332"/>
                  <a:gd name="connsiteX83" fmla="*/ 1539155 w 2032205"/>
                  <a:gd name="connsiteY83" fmla="*/ 823437 h 2504332"/>
                  <a:gd name="connsiteX84" fmla="*/ 1499535 w 2032205"/>
                  <a:gd name="connsiteY84" fmla="*/ 832839 h 2504332"/>
                  <a:gd name="connsiteX85" fmla="*/ 1472924 w 2032205"/>
                  <a:gd name="connsiteY85" fmla="*/ 864619 h 2504332"/>
                  <a:gd name="connsiteX86" fmla="*/ 1457328 w 2032205"/>
                  <a:gd name="connsiteY86" fmla="*/ 877498 h 2504332"/>
                  <a:gd name="connsiteX87" fmla="*/ 1434413 w 2032205"/>
                  <a:gd name="connsiteY87" fmla="*/ 879576 h 2504332"/>
                  <a:gd name="connsiteX88" fmla="*/ 1455332 w 2032205"/>
                  <a:gd name="connsiteY88" fmla="*/ 911375 h 2504332"/>
                  <a:gd name="connsiteX89" fmla="*/ 1480575 w 2032205"/>
                  <a:gd name="connsiteY89" fmla="*/ 939231 h 2504332"/>
                  <a:gd name="connsiteX90" fmla="*/ 1519012 w 2032205"/>
                  <a:gd name="connsiteY90" fmla="*/ 943893 h 2504332"/>
                  <a:gd name="connsiteX91" fmla="*/ 1522782 w 2032205"/>
                  <a:gd name="connsiteY91" fmla="*/ 947759 h 2504332"/>
                  <a:gd name="connsiteX92" fmla="*/ 1524307 w 2032205"/>
                  <a:gd name="connsiteY92" fmla="*/ 947313 h 2504332"/>
                  <a:gd name="connsiteX93" fmla="*/ 1531826 w 2032205"/>
                  <a:gd name="connsiteY93" fmla="*/ 963870 h 2504332"/>
                  <a:gd name="connsiteX94" fmla="*/ 1528872 w 2032205"/>
                  <a:gd name="connsiteY94" fmla="*/ 1022130 h 2504332"/>
                  <a:gd name="connsiteX95" fmla="*/ 1530043 w 2032205"/>
                  <a:gd name="connsiteY95" fmla="*/ 1053834 h 2504332"/>
                  <a:gd name="connsiteX96" fmla="*/ 1575427 w 2032205"/>
                  <a:gd name="connsiteY96" fmla="*/ 1072543 h 2504332"/>
                  <a:gd name="connsiteX97" fmla="*/ 1593712 w 2032205"/>
                  <a:gd name="connsiteY97" fmla="*/ 1081267 h 2504332"/>
                  <a:gd name="connsiteX98" fmla="*/ 1589270 w 2032205"/>
                  <a:gd name="connsiteY98" fmla="*/ 1099204 h 2504332"/>
                  <a:gd name="connsiteX99" fmla="*/ 1603147 w 2032205"/>
                  <a:gd name="connsiteY99" fmla="*/ 1125153 h 2504332"/>
                  <a:gd name="connsiteX100" fmla="*/ 1642918 w 2032205"/>
                  <a:gd name="connsiteY100" fmla="*/ 1136033 h 2504332"/>
                  <a:gd name="connsiteX101" fmla="*/ 1666918 w 2032205"/>
                  <a:gd name="connsiteY101" fmla="*/ 1173695 h 2504332"/>
                  <a:gd name="connsiteX102" fmla="*/ 1678902 w 2032205"/>
                  <a:gd name="connsiteY102" fmla="*/ 1211988 h 2504332"/>
                  <a:gd name="connsiteX103" fmla="*/ 1680348 w 2032205"/>
                  <a:gd name="connsiteY103" fmla="*/ 1256952 h 2504332"/>
                  <a:gd name="connsiteX104" fmla="*/ 1700216 w 2032205"/>
                  <a:gd name="connsiteY104" fmla="*/ 1293720 h 2504332"/>
                  <a:gd name="connsiteX105" fmla="*/ 1708343 w 2032205"/>
                  <a:gd name="connsiteY105" fmla="*/ 1331443 h 2504332"/>
                  <a:gd name="connsiteX106" fmla="*/ 1744430 w 2032205"/>
                  <a:gd name="connsiteY106" fmla="*/ 1338744 h 2504332"/>
                  <a:gd name="connsiteX107" fmla="*/ 1769876 w 2032205"/>
                  <a:gd name="connsiteY107" fmla="*/ 1361541 h 2504332"/>
                  <a:gd name="connsiteX108" fmla="*/ 1790502 w 2032205"/>
                  <a:gd name="connsiteY108" fmla="*/ 1363575 h 2504332"/>
                  <a:gd name="connsiteX109" fmla="*/ 1818428 w 2032205"/>
                  <a:gd name="connsiteY109" fmla="*/ 1364998 h 2504332"/>
                  <a:gd name="connsiteX110" fmla="*/ 1839399 w 2032205"/>
                  <a:gd name="connsiteY110" fmla="*/ 1374190 h 2504332"/>
                  <a:gd name="connsiteX111" fmla="*/ 1861139 w 2032205"/>
                  <a:gd name="connsiteY111" fmla="*/ 1376178 h 2504332"/>
                  <a:gd name="connsiteX112" fmla="*/ 1881586 w 2032205"/>
                  <a:gd name="connsiteY112" fmla="*/ 1372043 h 2504332"/>
                  <a:gd name="connsiteX113" fmla="*/ 1880799 w 2032205"/>
                  <a:gd name="connsiteY113" fmla="*/ 1372673 h 2504332"/>
                  <a:gd name="connsiteX114" fmla="*/ 1838220 w 2032205"/>
                  <a:gd name="connsiteY114" fmla="*/ 1374880 h 2504332"/>
                  <a:gd name="connsiteX115" fmla="*/ 1817253 w 2032205"/>
                  <a:gd name="connsiteY115" fmla="*/ 1365700 h 2504332"/>
                  <a:gd name="connsiteX116" fmla="*/ 1789283 w 2032205"/>
                  <a:gd name="connsiteY116" fmla="*/ 1364273 h 2504332"/>
                  <a:gd name="connsiteX117" fmla="*/ 1768637 w 2032205"/>
                  <a:gd name="connsiteY117" fmla="*/ 1362227 h 2504332"/>
                  <a:gd name="connsiteX118" fmla="*/ 1769160 w 2032205"/>
                  <a:gd name="connsiteY118" fmla="*/ 1364219 h 2504332"/>
                  <a:gd name="connsiteX119" fmla="*/ 1723442 w 2032205"/>
                  <a:gd name="connsiteY119" fmla="*/ 1374773 h 2504332"/>
                  <a:gd name="connsiteX120" fmla="*/ 1706741 w 2032205"/>
                  <a:gd name="connsiteY120" fmla="*/ 1382930 h 2504332"/>
                  <a:gd name="connsiteX121" fmla="*/ 1684118 w 2032205"/>
                  <a:gd name="connsiteY121" fmla="*/ 1382856 h 2504332"/>
                  <a:gd name="connsiteX122" fmla="*/ 1663086 w 2032205"/>
                  <a:gd name="connsiteY122" fmla="*/ 1384596 h 2504332"/>
                  <a:gd name="connsiteX123" fmla="*/ 1664077 w 2032205"/>
                  <a:gd name="connsiteY123" fmla="*/ 1383469 h 2504332"/>
                  <a:gd name="connsiteX124" fmla="*/ 1708707 w 2032205"/>
                  <a:gd name="connsiteY124" fmla="*/ 1381698 h 2504332"/>
                  <a:gd name="connsiteX125" fmla="*/ 1725435 w 2032205"/>
                  <a:gd name="connsiteY125" fmla="*/ 1373555 h 2504332"/>
                  <a:gd name="connsiteX126" fmla="*/ 1709018 w 2032205"/>
                  <a:gd name="connsiteY126" fmla="*/ 1360127 h 2504332"/>
                  <a:gd name="connsiteX127" fmla="*/ 1695480 w 2032205"/>
                  <a:gd name="connsiteY127" fmla="*/ 1327634 h 2504332"/>
                  <a:gd name="connsiteX128" fmla="*/ 1662525 w 2032205"/>
                  <a:gd name="connsiteY128" fmla="*/ 1329459 h 2504332"/>
                  <a:gd name="connsiteX129" fmla="*/ 1651350 w 2032205"/>
                  <a:gd name="connsiteY129" fmla="*/ 1300261 h 2504332"/>
                  <a:gd name="connsiteX130" fmla="*/ 1615998 w 2032205"/>
                  <a:gd name="connsiteY130" fmla="*/ 1292662 h 2504332"/>
                  <a:gd name="connsiteX131" fmla="*/ 1594700 w 2032205"/>
                  <a:gd name="connsiteY131" fmla="*/ 1260768 h 2504332"/>
                  <a:gd name="connsiteX132" fmla="*/ 1560158 w 2032205"/>
                  <a:gd name="connsiteY132" fmla="*/ 1253578 h 2504332"/>
                  <a:gd name="connsiteX133" fmla="*/ 1521443 w 2032205"/>
                  <a:gd name="connsiteY133" fmla="*/ 1237154 h 2504332"/>
                  <a:gd name="connsiteX134" fmla="*/ 1479468 w 2032205"/>
                  <a:gd name="connsiteY134" fmla="*/ 1202346 h 2504332"/>
                  <a:gd name="connsiteX135" fmla="*/ 1483141 w 2032205"/>
                  <a:gd name="connsiteY135" fmla="*/ 1132484 h 2504332"/>
                  <a:gd name="connsiteX136" fmla="*/ 1365926 w 2032205"/>
                  <a:gd name="connsiteY136" fmla="*/ 1132484 h 2504332"/>
                  <a:gd name="connsiteX137" fmla="*/ 1378722 w 2032205"/>
                  <a:gd name="connsiteY137" fmla="*/ 1190689 h 2504332"/>
                  <a:gd name="connsiteX138" fmla="*/ 1363443 w 2032205"/>
                  <a:gd name="connsiteY138" fmla="*/ 1234757 h 2504332"/>
                  <a:gd name="connsiteX139" fmla="*/ 1358097 w 2032205"/>
                  <a:gd name="connsiteY139" fmla="*/ 1311864 h 2504332"/>
                  <a:gd name="connsiteX140" fmla="*/ 1381826 w 2032205"/>
                  <a:gd name="connsiteY140" fmla="*/ 1336458 h 2504332"/>
                  <a:gd name="connsiteX141" fmla="*/ 1418024 w 2032205"/>
                  <a:gd name="connsiteY141" fmla="*/ 1370749 h 2504332"/>
                  <a:gd name="connsiteX142" fmla="*/ 1442615 w 2032205"/>
                  <a:gd name="connsiteY142" fmla="*/ 1443062 h 2504332"/>
                  <a:gd name="connsiteX143" fmla="*/ 1453135 w 2032205"/>
                  <a:gd name="connsiteY143" fmla="*/ 1518208 h 2504332"/>
                  <a:gd name="connsiteX144" fmla="*/ 1450031 w 2032205"/>
                  <a:gd name="connsiteY144" fmla="*/ 1592373 h 2504332"/>
                  <a:gd name="connsiteX145" fmla="*/ 1491953 w 2032205"/>
                  <a:gd name="connsiteY145" fmla="*/ 1666838 h 2504332"/>
                  <a:gd name="connsiteX146" fmla="*/ 1553915 w 2032205"/>
                  <a:gd name="connsiteY146" fmla="*/ 1718260 h 2504332"/>
                  <a:gd name="connsiteX147" fmla="*/ 1559365 w 2032205"/>
                  <a:gd name="connsiteY147" fmla="*/ 1720793 h 2504332"/>
                  <a:gd name="connsiteX148" fmla="*/ 1559420 w 2032205"/>
                  <a:gd name="connsiteY148" fmla="*/ 1720484 h 2504332"/>
                  <a:gd name="connsiteX149" fmla="*/ 1574846 w 2032205"/>
                  <a:gd name="connsiteY149" fmla="*/ 1733601 h 2504332"/>
                  <a:gd name="connsiteX150" fmla="*/ 1610549 w 2032205"/>
                  <a:gd name="connsiteY150" fmla="*/ 1790224 h 2504332"/>
                  <a:gd name="connsiteX151" fmla="*/ 1694716 w 2032205"/>
                  <a:gd name="connsiteY151" fmla="*/ 1856718 h 2504332"/>
                  <a:gd name="connsiteX152" fmla="*/ 1778084 w 2032205"/>
                  <a:gd name="connsiteY152" fmla="*/ 1880438 h 2504332"/>
                  <a:gd name="connsiteX153" fmla="*/ 1807580 w 2032205"/>
                  <a:gd name="connsiteY153" fmla="*/ 1861756 h 2504332"/>
                  <a:gd name="connsiteX154" fmla="*/ 1841720 w 2032205"/>
                  <a:gd name="connsiteY154" fmla="*/ 1871773 h 2504332"/>
                  <a:gd name="connsiteX155" fmla="*/ 1872754 w 2032205"/>
                  <a:gd name="connsiteY155" fmla="*/ 1852660 h 2504332"/>
                  <a:gd name="connsiteX156" fmla="*/ 1908787 w 2032205"/>
                  <a:gd name="connsiteY156" fmla="*/ 1868342 h 2504332"/>
                  <a:gd name="connsiteX157" fmla="*/ 1960737 w 2032205"/>
                  <a:gd name="connsiteY157" fmla="*/ 1935856 h 2504332"/>
                  <a:gd name="connsiteX158" fmla="*/ 1975293 w 2032205"/>
                  <a:gd name="connsiteY158" fmla="*/ 1963181 h 2504332"/>
                  <a:gd name="connsiteX159" fmla="*/ 1974985 w 2032205"/>
                  <a:gd name="connsiteY159" fmla="*/ 1963584 h 2504332"/>
                  <a:gd name="connsiteX160" fmla="*/ 2008956 w 2032205"/>
                  <a:gd name="connsiteY160" fmla="*/ 1992653 h 2504332"/>
                  <a:gd name="connsiteX161" fmla="*/ 2030606 w 2032205"/>
                  <a:gd name="connsiteY161" fmla="*/ 1985874 h 2504332"/>
                  <a:gd name="connsiteX162" fmla="*/ 1990297 w 2032205"/>
                  <a:gd name="connsiteY162" fmla="*/ 2023879 h 2504332"/>
                  <a:gd name="connsiteX163" fmla="*/ 1971638 w 2032205"/>
                  <a:gd name="connsiteY163" fmla="*/ 2120022 h 2504332"/>
                  <a:gd name="connsiteX164" fmla="*/ 1939234 w 2032205"/>
                  <a:gd name="connsiteY164" fmla="*/ 2192027 h 2504332"/>
                  <a:gd name="connsiteX165" fmla="*/ 1864598 w 2032205"/>
                  <a:gd name="connsiteY165" fmla="*/ 2171432 h 2504332"/>
                  <a:gd name="connsiteX166" fmla="*/ 1842877 w 2032205"/>
                  <a:gd name="connsiteY166" fmla="*/ 2242513 h 2504332"/>
                  <a:gd name="connsiteX167" fmla="*/ 1876990 w 2032205"/>
                  <a:gd name="connsiteY167" fmla="*/ 2258126 h 2504332"/>
                  <a:gd name="connsiteX168" fmla="*/ 1866521 w 2032205"/>
                  <a:gd name="connsiteY168" fmla="*/ 2292793 h 2504332"/>
                  <a:gd name="connsiteX169" fmla="*/ 1882830 w 2032205"/>
                  <a:gd name="connsiteY169" fmla="*/ 2368341 h 2504332"/>
                  <a:gd name="connsiteX170" fmla="*/ 1900954 w 2032205"/>
                  <a:gd name="connsiteY170" fmla="*/ 2421164 h 2504332"/>
                  <a:gd name="connsiteX171" fmla="*/ 1903787 w 2032205"/>
                  <a:gd name="connsiteY171" fmla="*/ 2449381 h 2504332"/>
                  <a:gd name="connsiteX172" fmla="*/ 1808845 w 2032205"/>
                  <a:gd name="connsiteY172" fmla="*/ 2473772 h 2504332"/>
                  <a:gd name="connsiteX173" fmla="*/ 1505445 w 2032205"/>
                  <a:gd name="connsiteY173" fmla="*/ 2504332 h 2504332"/>
                  <a:gd name="connsiteX174" fmla="*/ 0 w 2032205"/>
                  <a:gd name="connsiteY174" fmla="*/ 1000144 h 2504332"/>
                  <a:gd name="connsiteX175" fmla="*/ 343771 w 2032205"/>
                  <a:gd name="connsiteY175" fmla="*/ 43341 h 2504332"/>
                  <a:gd name="connsiteX176" fmla="*/ 369157 w 2032205"/>
                  <a:gd name="connsiteY176" fmla="*/ 15432 h 2504332"/>
                  <a:gd name="connsiteX177" fmla="*/ 383746 w 2032205"/>
                  <a:gd name="connsiteY177" fmla="*/ 23717 h 2504332"/>
                  <a:gd name="connsiteX178" fmla="*/ 404037 w 2032205"/>
                  <a:gd name="connsiteY178" fmla="*/ 32466 h 2504332"/>
                  <a:gd name="connsiteX179" fmla="*/ 441671 w 2032205"/>
                  <a:gd name="connsiteY179" fmla="*/ 71469 h 2504332"/>
                  <a:gd name="connsiteX180" fmla="*/ 469058 w 2032205"/>
                  <a:gd name="connsiteY180" fmla="*/ 103764 h 2504332"/>
                  <a:gd name="connsiteX181" fmla="*/ 537866 w 2032205"/>
                  <a:gd name="connsiteY181" fmla="*/ 75904 h 2504332"/>
                  <a:gd name="connsiteX182" fmla="*/ 586182 w 2032205"/>
                  <a:gd name="connsiteY182" fmla="*/ 78861 h 2504332"/>
                  <a:gd name="connsiteX183" fmla="*/ 615560 w 2032205"/>
                  <a:gd name="connsiteY183" fmla="*/ 51342 h 2504332"/>
                  <a:gd name="connsiteX184" fmla="*/ 652513 w 2032205"/>
                  <a:gd name="connsiteY184" fmla="*/ 33603 h 2504332"/>
                  <a:gd name="connsiteX185" fmla="*/ 710007 w 2032205"/>
                  <a:gd name="connsiteY185" fmla="*/ 46850 h 2504332"/>
                  <a:gd name="connsiteX186" fmla="*/ 753030 w 2032205"/>
                  <a:gd name="connsiteY186" fmla="*/ 48158 h 2504332"/>
                  <a:gd name="connsiteX187" fmla="*/ 819993 w 2032205"/>
                  <a:gd name="connsiteY187" fmla="*/ 48158 h 2504332"/>
                  <a:gd name="connsiteX188" fmla="*/ 819993 w 2032205"/>
                  <a:gd name="connsiteY188" fmla="*/ 17512 h 2504332"/>
                  <a:gd name="connsiteX189" fmla="*/ 863405 w 2032205"/>
                  <a:gd name="connsiteY189" fmla="*/ 17512 h 2504332"/>
                  <a:gd name="connsiteX190" fmla="*/ 863405 w 2032205"/>
                  <a:gd name="connsiteY190" fmla="*/ 0 h 2504332"/>
                  <a:gd name="connsiteX191" fmla="*/ 1016077 w 2032205"/>
                  <a:gd name="connsiteY191" fmla="*/ 1107386 h 2504332"/>
                  <a:gd name="connsiteX192" fmla="*/ 974828 w 2032205"/>
                  <a:gd name="connsiteY192" fmla="*/ 1111712 h 2504332"/>
                  <a:gd name="connsiteX193" fmla="*/ 938794 w 2032205"/>
                  <a:gd name="connsiteY193" fmla="*/ 1203368 h 2504332"/>
                  <a:gd name="connsiteX194" fmla="*/ 1057411 w 2032205"/>
                  <a:gd name="connsiteY194" fmla="*/ 1212024 h 2504332"/>
                  <a:gd name="connsiteX195" fmla="*/ 1050334 w 2032205"/>
                  <a:gd name="connsiteY195" fmla="*/ 1126263 h 2504332"/>
                  <a:gd name="connsiteX196" fmla="*/ 1016077 w 2032205"/>
                  <a:gd name="connsiteY196" fmla="*/ 1107386 h 2504332"/>
                  <a:gd name="connsiteX0" fmla="*/ 863405 w 2032205"/>
                  <a:gd name="connsiteY0" fmla="*/ 0 h 2504332"/>
                  <a:gd name="connsiteX1" fmla="*/ 1054144 w 2032205"/>
                  <a:gd name="connsiteY1" fmla="*/ 8756 h 2504332"/>
                  <a:gd name="connsiteX2" fmla="*/ 1080597 w 2032205"/>
                  <a:gd name="connsiteY2" fmla="*/ 3874 h 2504332"/>
                  <a:gd name="connsiteX3" fmla="*/ 1082399 w 2032205"/>
                  <a:gd name="connsiteY3" fmla="*/ 156 h 2504332"/>
                  <a:gd name="connsiteX4" fmla="*/ 1084093 w 2032205"/>
                  <a:gd name="connsiteY4" fmla="*/ 3144 h 2504332"/>
                  <a:gd name="connsiteX5" fmla="*/ 1071060 w 2032205"/>
                  <a:gd name="connsiteY5" fmla="*/ 9140 h 2504332"/>
                  <a:gd name="connsiteX6" fmla="*/ 1056343 w 2032205"/>
                  <a:gd name="connsiteY6" fmla="*/ 10637 h 2504332"/>
                  <a:gd name="connsiteX7" fmla="*/ 865595 w 2032205"/>
                  <a:gd name="connsiteY7" fmla="*/ 1877 h 2504332"/>
                  <a:gd name="connsiteX8" fmla="*/ 865595 w 2032205"/>
                  <a:gd name="connsiteY8" fmla="*/ 19397 h 2504332"/>
                  <a:gd name="connsiteX9" fmla="*/ 822165 w 2032205"/>
                  <a:gd name="connsiteY9" fmla="*/ 19397 h 2504332"/>
                  <a:gd name="connsiteX10" fmla="*/ 822165 w 2032205"/>
                  <a:gd name="connsiteY10" fmla="*/ 50056 h 2504332"/>
                  <a:gd name="connsiteX11" fmla="*/ 755203 w 2032205"/>
                  <a:gd name="connsiteY11" fmla="*/ 50056 h 2504332"/>
                  <a:gd name="connsiteX12" fmla="*/ 712155 w 2032205"/>
                  <a:gd name="connsiteY12" fmla="*/ 48732 h 2504332"/>
                  <a:gd name="connsiteX13" fmla="*/ 654663 w 2032205"/>
                  <a:gd name="connsiteY13" fmla="*/ 35456 h 2504332"/>
                  <a:gd name="connsiteX14" fmla="*/ 617691 w 2032205"/>
                  <a:gd name="connsiteY14" fmla="*/ 53247 h 2504332"/>
                  <a:gd name="connsiteX15" fmla="*/ 588323 w 2032205"/>
                  <a:gd name="connsiteY15" fmla="*/ 80715 h 2504332"/>
                  <a:gd name="connsiteX16" fmla="*/ 539966 w 2032205"/>
                  <a:gd name="connsiteY16" fmla="*/ 77795 h 2504332"/>
                  <a:gd name="connsiteX17" fmla="*/ 471186 w 2032205"/>
                  <a:gd name="connsiteY17" fmla="*/ 105670 h 2504332"/>
                  <a:gd name="connsiteX18" fmla="*/ 508876 w 2032205"/>
                  <a:gd name="connsiteY18" fmla="*/ 137721 h 2504332"/>
                  <a:gd name="connsiteX19" fmla="*/ 580000 w 2032205"/>
                  <a:gd name="connsiteY19" fmla="*/ 202910 h 2504332"/>
                  <a:gd name="connsiteX20" fmla="*/ 632614 w 2032205"/>
                  <a:gd name="connsiteY20" fmla="*/ 267963 h 2504332"/>
                  <a:gd name="connsiteX21" fmla="*/ 663129 w 2032205"/>
                  <a:gd name="connsiteY21" fmla="*/ 311218 h 2504332"/>
                  <a:gd name="connsiteX22" fmla="*/ 707372 w 2032205"/>
                  <a:gd name="connsiteY22" fmla="*/ 338007 h 2504332"/>
                  <a:gd name="connsiteX23" fmla="*/ 756972 w 2032205"/>
                  <a:gd name="connsiteY23" fmla="*/ 363709 h 2504332"/>
                  <a:gd name="connsiteX24" fmla="*/ 806668 w 2032205"/>
                  <a:gd name="connsiteY24" fmla="*/ 381160 h 2504332"/>
                  <a:gd name="connsiteX25" fmla="*/ 825274 w 2032205"/>
                  <a:gd name="connsiteY25" fmla="*/ 409205 h 2504332"/>
                  <a:gd name="connsiteX26" fmla="*/ 859425 w 2032205"/>
                  <a:gd name="connsiteY26" fmla="*/ 471745 h 2504332"/>
                  <a:gd name="connsiteX27" fmla="*/ 881092 w 2032205"/>
                  <a:gd name="connsiteY27" fmla="*/ 548376 h 2504332"/>
                  <a:gd name="connsiteX28" fmla="*/ 896350 w 2032205"/>
                  <a:gd name="connsiteY28" fmla="*/ 552145 h 2504332"/>
                  <a:gd name="connsiteX29" fmla="*/ 898407 w 2032205"/>
                  <a:gd name="connsiteY29" fmla="*/ 537987 h 2504332"/>
                  <a:gd name="connsiteX30" fmla="*/ 927966 w 2032205"/>
                  <a:gd name="connsiteY30" fmla="*/ 547663 h 2504332"/>
                  <a:gd name="connsiteX31" fmla="*/ 935140 w 2032205"/>
                  <a:gd name="connsiteY31" fmla="*/ 549272 h 2504332"/>
                  <a:gd name="connsiteX32" fmla="*/ 940261 w 2032205"/>
                  <a:gd name="connsiteY32" fmla="*/ 551981 h 2504332"/>
                  <a:gd name="connsiteX33" fmla="*/ 939654 w 2032205"/>
                  <a:gd name="connsiteY33" fmla="*/ 552339 h 2504332"/>
                  <a:gd name="connsiteX34" fmla="*/ 948064 w 2032205"/>
                  <a:gd name="connsiteY34" fmla="*/ 574327 h 2504332"/>
                  <a:gd name="connsiteX35" fmla="*/ 951157 w 2032205"/>
                  <a:gd name="connsiteY35" fmla="*/ 631410 h 2504332"/>
                  <a:gd name="connsiteX36" fmla="*/ 972786 w 2032205"/>
                  <a:gd name="connsiteY36" fmla="*/ 680787 h 2504332"/>
                  <a:gd name="connsiteX37" fmla="*/ 956715 w 2032205"/>
                  <a:gd name="connsiteY37" fmla="*/ 741146 h 2504332"/>
                  <a:gd name="connsiteX38" fmla="*/ 927425 w 2032205"/>
                  <a:gd name="connsiteY38" fmla="*/ 812303 h 2504332"/>
                  <a:gd name="connsiteX39" fmla="*/ 915415 w 2032205"/>
                  <a:gd name="connsiteY39" fmla="*/ 848528 h 2504332"/>
                  <a:gd name="connsiteX40" fmla="*/ 964811 w 2032205"/>
                  <a:gd name="connsiteY40" fmla="*/ 855911 h 2504332"/>
                  <a:gd name="connsiteX41" fmla="*/ 954202 w 2032205"/>
                  <a:gd name="connsiteY41" fmla="*/ 824001 h 2504332"/>
                  <a:gd name="connsiteX42" fmla="*/ 979021 w 2032205"/>
                  <a:gd name="connsiteY42" fmla="*/ 803558 h 2504332"/>
                  <a:gd name="connsiteX43" fmla="*/ 987069 w 2032205"/>
                  <a:gd name="connsiteY43" fmla="*/ 768787 h 2504332"/>
                  <a:gd name="connsiteX44" fmla="*/ 1002221 w 2032205"/>
                  <a:gd name="connsiteY44" fmla="*/ 796244 h 2504332"/>
                  <a:gd name="connsiteX45" fmla="*/ 1022376 w 2032205"/>
                  <a:gd name="connsiteY45" fmla="*/ 813780 h 2504332"/>
                  <a:gd name="connsiteX46" fmla="*/ 1060438 w 2032205"/>
                  <a:gd name="connsiteY46" fmla="*/ 819986 h 2504332"/>
                  <a:gd name="connsiteX47" fmla="*/ 1111913 w 2032205"/>
                  <a:gd name="connsiteY47" fmla="*/ 864863 h 2504332"/>
                  <a:gd name="connsiteX48" fmla="*/ 1164935 w 2032205"/>
                  <a:gd name="connsiteY48" fmla="*/ 920377 h 2504332"/>
                  <a:gd name="connsiteX49" fmla="*/ 1200580 w 2032205"/>
                  <a:gd name="connsiteY49" fmla="*/ 943796 h 2504332"/>
                  <a:gd name="connsiteX50" fmla="*/ 1222210 w 2032205"/>
                  <a:gd name="connsiteY50" fmla="*/ 926168 h 2504332"/>
                  <a:gd name="connsiteX51" fmla="*/ 1246690 w 2032205"/>
                  <a:gd name="connsiteY51" fmla="*/ 946634 h 2504332"/>
                  <a:gd name="connsiteX52" fmla="*/ 1281176 w 2032205"/>
                  <a:gd name="connsiteY52" fmla="*/ 967492 h 2504332"/>
                  <a:gd name="connsiteX53" fmla="*/ 1314840 w 2032205"/>
                  <a:gd name="connsiteY53" fmla="*/ 987889 h 2504332"/>
                  <a:gd name="connsiteX54" fmla="*/ 1344372 w 2032205"/>
                  <a:gd name="connsiteY54" fmla="*/ 1015069 h 2504332"/>
                  <a:gd name="connsiteX55" fmla="*/ 1394372 w 2032205"/>
                  <a:gd name="connsiteY55" fmla="*/ 1003648 h 2504332"/>
                  <a:gd name="connsiteX56" fmla="*/ 1372792 w 2032205"/>
                  <a:gd name="connsiteY56" fmla="*/ 951272 h 2504332"/>
                  <a:gd name="connsiteX57" fmla="*/ 1417258 w 2032205"/>
                  <a:gd name="connsiteY57" fmla="*/ 965439 h 2504332"/>
                  <a:gd name="connsiteX58" fmla="*/ 1376054 w 2032205"/>
                  <a:gd name="connsiteY58" fmla="*/ 905449 h 2504332"/>
                  <a:gd name="connsiteX59" fmla="*/ 1383449 w 2032205"/>
                  <a:gd name="connsiteY59" fmla="*/ 867817 h 2504332"/>
                  <a:gd name="connsiteX60" fmla="*/ 1408268 w 2032205"/>
                  <a:gd name="connsiteY60" fmla="*/ 847259 h 2504332"/>
                  <a:gd name="connsiteX61" fmla="*/ 1370617 w 2032205"/>
                  <a:gd name="connsiteY61" fmla="*/ 822617 h 2504332"/>
                  <a:gd name="connsiteX62" fmla="*/ 1381516 w 2032205"/>
                  <a:gd name="connsiteY62" fmla="*/ 792991 h 2504332"/>
                  <a:gd name="connsiteX63" fmla="*/ 1382917 w 2032205"/>
                  <a:gd name="connsiteY63" fmla="*/ 730601 h 2504332"/>
                  <a:gd name="connsiteX64" fmla="*/ 1367789 w 2032205"/>
                  <a:gd name="connsiteY64" fmla="*/ 717380 h 2504332"/>
                  <a:gd name="connsiteX65" fmla="*/ 1351144 w 2032205"/>
                  <a:gd name="connsiteY65" fmla="*/ 695934 h 2504332"/>
                  <a:gd name="connsiteX66" fmla="*/ 1331902 w 2032205"/>
                  <a:gd name="connsiteY66" fmla="*/ 677784 h 2504332"/>
                  <a:gd name="connsiteX67" fmla="*/ 1334763 w 2032205"/>
                  <a:gd name="connsiteY67" fmla="*/ 678924 h 2504332"/>
                  <a:gd name="connsiteX68" fmla="*/ 1371019 w 2032205"/>
                  <a:gd name="connsiteY68" fmla="*/ 718852 h 2504332"/>
                  <a:gd name="connsiteX69" fmla="*/ 1386133 w 2032205"/>
                  <a:gd name="connsiteY69" fmla="*/ 732059 h 2504332"/>
                  <a:gd name="connsiteX70" fmla="*/ 1398999 w 2032205"/>
                  <a:gd name="connsiteY70" fmla="*/ 727611 h 2504332"/>
                  <a:gd name="connsiteX71" fmla="*/ 1436020 w 2032205"/>
                  <a:gd name="connsiteY71" fmla="*/ 727272 h 2504332"/>
                  <a:gd name="connsiteX72" fmla="*/ 1452952 w 2032205"/>
                  <a:gd name="connsiteY72" fmla="*/ 694032 h 2504332"/>
                  <a:gd name="connsiteX73" fmla="*/ 1458970 w 2032205"/>
                  <a:gd name="connsiteY73" fmla="*/ 690231 h 2504332"/>
                  <a:gd name="connsiteX74" fmla="*/ 1459014 w 2032205"/>
                  <a:gd name="connsiteY74" fmla="*/ 690499 h 2504332"/>
                  <a:gd name="connsiteX75" fmla="*/ 1466087 w 2032205"/>
                  <a:gd name="connsiteY75" fmla="*/ 692455 h 2504332"/>
                  <a:gd name="connsiteX76" fmla="*/ 1473424 w 2032205"/>
                  <a:gd name="connsiteY76" fmla="*/ 710468 h 2504332"/>
                  <a:gd name="connsiteX77" fmla="*/ 1513431 w 2032205"/>
                  <a:gd name="connsiteY77" fmla="*/ 716245 h 2504332"/>
                  <a:gd name="connsiteX78" fmla="*/ 1547944 w 2032205"/>
                  <a:gd name="connsiteY78" fmla="*/ 748383 h 2504332"/>
                  <a:gd name="connsiteX79" fmla="*/ 1576962 w 2032205"/>
                  <a:gd name="connsiteY79" fmla="*/ 774994 h 2504332"/>
                  <a:gd name="connsiteX80" fmla="*/ 1583768 w 2032205"/>
                  <a:gd name="connsiteY80" fmla="*/ 785019 h 2504332"/>
                  <a:gd name="connsiteX81" fmla="*/ 1581731 w 2032205"/>
                  <a:gd name="connsiteY81" fmla="*/ 784858 h 2504332"/>
                  <a:gd name="connsiteX82" fmla="*/ 1571605 w 2032205"/>
                  <a:gd name="connsiteY82" fmla="*/ 803041 h 2504332"/>
                  <a:gd name="connsiteX83" fmla="*/ 1539155 w 2032205"/>
                  <a:gd name="connsiteY83" fmla="*/ 823437 h 2504332"/>
                  <a:gd name="connsiteX84" fmla="*/ 1499535 w 2032205"/>
                  <a:gd name="connsiteY84" fmla="*/ 832839 h 2504332"/>
                  <a:gd name="connsiteX85" fmla="*/ 1472924 w 2032205"/>
                  <a:gd name="connsiteY85" fmla="*/ 864619 h 2504332"/>
                  <a:gd name="connsiteX86" fmla="*/ 1457328 w 2032205"/>
                  <a:gd name="connsiteY86" fmla="*/ 877498 h 2504332"/>
                  <a:gd name="connsiteX87" fmla="*/ 1434413 w 2032205"/>
                  <a:gd name="connsiteY87" fmla="*/ 879576 h 2504332"/>
                  <a:gd name="connsiteX88" fmla="*/ 1455332 w 2032205"/>
                  <a:gd name="connsiteY88" fmla="*/ 911375 h 2504332"/>
                  <a:gd name="connsiteX89" fmla="*/ 1480575 w 2032205"/>
                  <a:gd name="connsiteY89" fmla="*/ 939231 h 2504332"/>
                  <a:gd name="connsiteX90" fmla="*/ 1519012 w 2032205"/>
                  <a:gd name="connsiteY90" fmla="*/ 943893 h 2504332"/>
                  <a:gd name="connsiteX91" fmla="*/ 1522782 w 2032205"/>
                  <a:gd name="connsiteY91" fmla="*/ 947759 h 2504332"/>
                  <a:gd name="connsiteX92" fmla="*/ 1524307 w 2032205"/>
                  <a:gd name="connsiteY92" fmla="*/ 947313 h 2504332"/>
                  <a:gd name="connsiteX93" fmla="*/ 1531826 w 2032205"/>
                  <a:gd name="connsiteY93" fmla="*/ 963870 h 2504332"/>
                  <a:gd name="connsiteX94" fmla="*/ 1528872 w 2032205"/>
                  <a:gd name="connsiteY94" fmla="*/ 1022130 h 2504332"/>
                  <a:gd name="connsiteX95" fmla="*/ 1530043 w 2032205"/>
                  <a:gd name="connsiteY95" fmla="*/ 1053834 h 2504332"/>
                  <a:gd name="connsiteX96" fmla="*/ 1575427 w 2032205"/>
                  <a:gd name="connsiteY96" fmla="*/ 1072543 h 2504332"/>
                  <a:gd name="connsiteX97" fmla="*/ 1593712 w 2032205"/>
                  <a:gd name="connsiteY97" fmla="*/ 1081267 h 2504332"/>
                  <a:gd name="connsiteX98" fmla="*/ 1589270 w 2032205"/>
                  <a:gd name="connsiteY98" fmla="*/ 1099204 h 2504332"/>
                  <a:gd name="connsiteX99" fmla="*/ 1603147 w 2032205"/>
                  <a:gd name="connsiteY99" fmla="*/ 1125153 h 2504332"/>
                  <a:gd name="connsiteX100" fmla="*/ 1642918 w 2032205"/>
                  <a:gd name="connsiteY100" fmla="*/ 1136033 h 2504332"/>
                  <a:gd name="connsiteX101" fmla="*/ 1666918 w 2032205"/>
                  <a:gd name="connsiteY101" fmla="*/ 1173695 h 2504332"/>
                  <a:gd name="connsiteX102" fmla="*/ 1678902 w 2032205"/>
                  <a:gd name="connsiteY102" fmla="*/ 1211988 h 2504332"/>
                  <a:gd name="connsiteX103" fmla="*/ 1680348 w 2032205"/>
                  <a:gd name="connsiteY103" fmla="*/ 1256952 h 2504332"/>
                  <a:gd name="connsiteX104" fmla="*/ 1700216 w 2032205"/>
                  <a:gd name="connsiteY104" fmla="*/ 1293720 h 2504332"/>
                  <a:gd name="connsiteX105" fmla="*/ 1708343 w 2032205"/>
                  <a:gd name="connsiteY105" fmla="*/ 1331443 h 2504332"/>
                  <a:gd name="connsiteX106" fmla="*/ 1744430 w 2032205"/>
                  <a:gd name="connsiteY106" fmla="*/ 1338744 h 2504332"/>
                  <a:gd name="connsiteX107" fmla="*/ 1769876 w 2032205"/>
                  <a:gd name="connsiteY107" fmla="*/ 1361541 h 2504332"/>
                  <a:gd name="connsiteX108" fmla="*/ 1790502 w 2032205"/>
                  <a:gd name="connsiteY108" fmla="*/ 1363575 h 2504332"/>
                  <a:gd name="connsiteX109" fmla="*/ 1818428 w 2032205"/>
                  <a:gd name="connsiteY109" fmla="*/ 1364998 h 2504332"/>
                  <a:gd name="connsiteX110" fmla="*/ 1839399 w 2032205"/>
                  <a:gd name="connsiteY110" fmla="*/ 1374190 h 2504332"/>
                  <a:gd name="connsiteX111" fmla="*/ 1861139 w 2032205"/>
                  <a:gd name="connsiteY111" fmla="*/ 1376178 h 2504332"/>
                  <a:gd name="connsiteX112" fmla="*/ 1881586 w 2032205"/>
                  <a:gd name="connsiteY112" fmla="*/ 1372043 h 2504332"/>
                  <a:gd name="connsiteX113" fmla="*/ 1880799 w 2032205"/>
                  <a:gd name="connsiteY113" fmla="*/ 1372673 h 2504332"/>
                  <a:gd name="connsiteX114" fmla="*/ 1838220 w 2032205"/>
                  <a:gd name="connsiteY114" fmla="*/ 1374880 h 2504332"/>
                  <a:gd name="connsiteX115" fmla="*/ 1817253 w 2032205"/>
                  <a:gd name="connsiteY115" fmla="*/ 1365700 h 2504332"/>
                  <a:gd name="connsiteX116" fmla="*/ 1789283 w 2032205"/>
                  <a:gd name="connsiteY116" fmla="*/ 1364273 h 2504332"/>
                  <a:gd name="connsiteX117" fmla="*/ 1768637 w 2032205"/>
                  <a:gd name="connsiteY117" fmla="*/ 1362227 h 2504332"/>
                  <a:gd name="connsiteX118" fmla="*/ 1769160 w 2032205"/>
                  <a:gd name="connsiteY118" fmla="*/ 1364219 h 2504332"/>
                  <a:gd name="connsiteX119" fmla="*/ 1723442 w 2032205"/>
                  <a:gd name="connsiteY119" fmla="*/ 1374773 h 2504332"/>
                  <a:gd name="connsiteX120" fmla="*/ 1706741 w 2032205"/>
                  <a:gd name="connsiteY120" fmla="*/ 1382930 h 2504332"/>
                  <a:gd name="connsiteX121" fmla="*/ 1684118 w 2032205"/>
                  <a:gd name="connsiteY121" fmla="*/ 1382856 h 2504332"/>
                  <a:gd name="connsiteX122" fmla="*/ 1663086 w 2032205"/>
                  <a:gd name="connsiteY122" fmla="*/ 1384596 h 2504332"/>
                  <a:gd name="connsiteX123" fmla="*/ 1664077 w 2032205"/>
                  <a:gd name="connsiteY123" fmla="*/ 1383469 h 2504332"/>
                  <a:gd name="connsiteX124" fmla="*/ 1708707 w 2032205"/>
                  <a:gd name="connsiteY124" fmla="*/ 1381698 h 2504332"/>
                  <a:gd name="connsiteX125" fmla="*/ 1725435 w 2032205"/>
                  <a:gd name="connsiteY125" fmla="*/ 1373555 h 2504332"/>
                  <a:gd name="connsiteX126" fmla="*/ 1709018 w 2032205"/>
                  <a:gd name="connsiteY126" fmla="*/ 1360127 h 2504332"/>
                  <a:gd name="connsiteX127" fmla="*/ 1695480 w 2032205"/>
                  <a:gd name="connsiteY127" fmla="*/ 1327634 h 2504332"/>
                  <a:gd name="connsiteX128" fmla="*/ 1662525 w 2032205"/>
                  <a:gd name="connsiteY128" fmla="*/ 1329459 h 2504332"/>
                  <a:gd name="connsiteX129" fmla="*/ 1651350 w 2032205"/>
                  <a:gd name="connsiteY129" fmla="*/ 1300261 h 2504332"/>
                  <a:gd name="connsiteX130" fmla="*/ 1615998 w 2032205"/>
                  <a:gd name="connsiteY130" fmla="*/ 1292662 h 2504332"/>
                  <a:gd name="connsiteX131" fmla="*/ 1594700 w 2032205"/>
                  <a:gd name="connsiteY131" fmla="*/ 1260768 h 2504332"/>
                  <a:gd name="connsiteX132" fmla="*/ 1560158 w 2032205"/>
                  <a:gd name="connsiteY132" fmla="*/ 1253578 h 2504332"/>
                  <a:gd name="connsiteX133" fmla="*/ 1521443 w 2032205"/>
                  <a:gd name="connsiteY133" fmla="*/ 1237154 h 2504332"/>
                  <a:gd name="connsiteX134" fmla="*/ 1479468 w 2032205"/>
                  <a:gd name="connsiteY134" fmla="*/ 1202346 h 2504332"/>
                  <a:gd name="connsiteX135" fmla="*/ 1483141 w 2032205"/>
                  <a:gd name="connsiteY135" fmla="*/ 1132484 h 2504332"/>
                  <a:gd name="connsiteX136" fmla="*/ 1365926 w 2032205"/>
                  <a:gd name="connsiteY136" fmla="*/ 1132484 h 2504332"/>
                  <a:gd name="connsiteX137" fmla="*/ 1378722 w 2032205"/>
                  <a:gd name="connsiteY137" fmla="*/ 1190689 h 2504332"/>
                  <a:gd name="connsiteX138" fmla="*/ 1363443 w 2032205"/>
                  <a:gd name="connsiteY138" fmla="*/ 1234757 h 2504332"/>
                  <a:gd name="connsiteX139" fmla="*/ 1358097 w 2032205"/>
                  <a:gd name="connsiteY139" fmla="*/ 1311864 h 2504332"/>
                  <a:gd name="connsiteX140" fmla="*/ 1381826 w 2032205"/>
                  <a:gd name="connsiteY140" fmla="*/ 1336458 h 2504332"/>
                  <a:gd name="connsiteX141" fmla="*/ 1418024 w 2032205"/>
                  <a:gd name="connsiteY141" fmla="*/ 1370749 h 2504332"/>
                  <a:gd name="connsiteX142" fmla="*/ 1442615 w 2032205"/>
                  <a:gd name="connsiteY142" fmla="*/ 1443062 h 2504332"/>
                  <a:gd name="connsiteX143" fmla="*/ 1453135 w 2032205"/>
                  <a:gd name="connsiteY143" fmla="*/ 1518208 h 2504332"/>
                  <a:gd name="connsiteX144" fmla="*/ 1450031 w 2032205"/>
                  <a:gd name="connsiteY144" fmla="*/ 1592373 h 2504332"/>
                  <a:gd name="connsiteX145" fmla="*/ 1491953 w 2032205"/>
                  <a:gd name="connsiteY145" fmla="*/ 1666838 h 2504332"/>
                  <a:gd name="connsiteX146" fmla="*/ 1553915 w 2032205"/>
                  <a:gd name="connsiteY146" fmla="*/ 1718260 h 2504332"/>
                  <a:gd name="connsiteX147" fmla="*/ 1559365 w 2032205"/>
                  <a:gd name="connsiteY147" fmla="*/ 1720793 h 2504332"/>
                  <a:gd name="connsiteX148" fmla="*/ 1559420 w 2032205"/>
                  <a:gd name="connsiteY148" fmla="*/ 1720484 h 2504332"/>
                  <a:gd name="connsiteX149" fmla="*/ 1574846 w 2032205"/>
                  <a:gd name="connsiteY149" fmla="*/ 1733601 h 2504332"/>
                  <a:gd name="connsiteX150" fmla="*/ 1610549 w 2032205"/>
                  <a:gd name="connsiteY150" fmla="*/ 1790224 h 2504332"/>
                  <a:gd name="connsiteX151" fmla="*/ 1694716 w 2032205"/>
                  <a:gd name="connsiteY151" fmla="*/ 1856718 h 2504332"/>
                  <a:gd name="connsiteX152" fmla="*/ 1778084 w 2032205"/>
                  <a:gd name="connsiteY152" fmla="*/ 1880438 h 2504332"/>
                  <a:gd name="connsiteX153" fmla="*/ 1807580 w 2032205"/>
                  <a:gd name="connsiteY153" fmla="*/ 1861756 h 2504332"/>
                  <a:gd name="connsiteX154" fmla="*/ 1841720 w 2032205"/>
                  <a:gd name="connsiteY154" fmla="*/ 1871773 h 2504332"/>
                  <a:gd name="connsiteX155" fmla="*/ 1872754 w 2032205"/>
                  <a:gd name="connsiteY155" fmla="*/ 1852660 h 2504332"/>
                  <a:gd name="connsiteX156" fmla="*/ 1908787 w 2032205"/>
                  <a:gd name="connsiteY156" fmla="*/ 1868342 h 2504332"/>
                  <a:gd name="connsiteX157" fmla="*/ 1960737 w 2032205"/>
                  <a:gd name="connsiteY157" fmla="*/ 1935856 h 2504332"/>
                  <a:gd name="connsiteX158" fmla="*/ 1975293 w 2032205"/>
                  <a:gd name="connsiteY158" fmla="*/ 1963181 h 2504332"/>
                  <a:gd name="connsiteX159" fmla="*/ 1974985 w 2032205"/>
                  <a:gd name="connsiteY159" fmla="*/ 1963584 h 2504332"/>
                  <a:gd name="connsiteX160" fmla="*/ 2008956 w 2032205"/>
                  <a:gd name="connsiteY160" fmla="*/ 1992653 h 2504332"/>
                  <a:gd name="connsiteX161" fmla="*/ 2030606 w 2032205"/>
                  <a:gd name="connsiteY161" fmla="*/ 1985874 h 2504332"/>
                  <a:gd name="connsiteX162" fmla="*/ 1990297 w 2032205"/>
                  <a:gd name="connsiteY162" fmla="*/ 2023879 h 2504332"/>
                  <a:gd name="connsiteX163" fmla="*/ 1971638 w 2032205"/>
                  <a:gd name="connsiteY163" fmla="*/ 2120022 h 2504332"/>
                  <a:gd name="connsiteX164" fmla="*/ 1939234 w 2032205"/>
                  <a:gd name="connsiteY164" fmla="*/ 2192027 h 2504332"/>
                  <a:gd name="connsiteX165" fmla="*/ 1864598 w 2032205"/>
                  <a:gd name="connsiteY165" fmla="*/ 2171432 h 2504332"/>
                  <a:gd name="connsiteX166" fmla="*/ 1842877 w 2032205"/>
                  <a:gd name="connsiteY166" fmla="*/ 2242513 h 2504332"/>
                  <a:gd name="connsiteX167" fmla="*/ 1876990 w 2032205"/>
                  <a:gd name="connsiteY167" fmla="*/ 2258126 h 2504332"/>
                  <a:gd name="connsiteX168" fmla="*/ 1866521 w 2032205"/>
                  <a:gd name="connsiteY168" fmla="*/ 2292793 h 2504332"/>
                  <a:gd name="connsiteX169" fmla="*/ 1882830 w 2032205"/>
                  <a:gd name="connsiteY169" fmla="*/ 2368341 h 2504332"/>
                  <a:gd name="connsiteX170" fmla="*/ 1900954 w 2032205"/>
                  <a:gd name="connsiteY170" fmla="*/ 2421164 h 2504332"/>
                  <a:gd name="connsiteX171" fmla="*/ 1903787 w 2032205"/>
                  <a:gd name="connsiteY171" fmla="*/ 2449381 h 2504332"/>
                  <a:gd name="connsiteX172" fmla="*/ 1808845 w 2032205"/>
                  <a:gd name="connsiteY172" fmla="*/ 2473772 h 2504332"/>
                  <a:gd name="connsiteX173" fmla="*/ 1505445 w 2032205"/>
                  <a:gd name="connsiteY173" fmla="*/ 2504332 h 2504332"/>
                  <a:gd name="connsiteX174" fmla="*/ 0 w 2032205"/>
                  <a:gd name="connsiteY174" fmla="*/ 1000144 h 2504332"/>
                  <a:gd name="connsiteX175" fmla="*/ 343771 w 2032205"/>
                  <a:gd name="connsiteY175" fmla="*/ 43341 h 2504332"/>
                  <a:gd name="connsiteX176" fmla="*/ 369157 w 2032205"/>
                  <a:gd name="connsiteY176" fmla="*/ 15432 h 2504332"/>
                  <a:gd name="connsiteX177" fmla="*/ 383746 w 2032205"/>
                  <a:gd name="connsiteY177" fmla="*/ 23717 h 2504332"/>
                  <a:gd name="connsiteX178" fmla="*/ 404037 w 2032205"/>
                  <a:gd name="connsiteY178" fmla="*/ 32466 h 2504332"/>
                  <a:gd name="connsiteX179" fmla="*/ 441671 w 2032205"/>
                  <a:gd name="connsiteY179" fmla="*/ 71469 h 2504332"/>
                  <a:gd name="connsiteX180" fmla="*/ 469058 w 2032205"/>
                  <a:gd name="connsiteY180" fmla="*/ 103764 h 2504332"/>
                  <a:gd name="connsiteX181" fmla="*/ 537866 w 2032205"/>
                  <a:gd name="connsiteY181" fmla="*/ 75904 h 2504332"/>
                  <a:gd name="connsiteX182" fmla="*/ 586182 w 2032205"/>
                  <a:gd name="connsiteY182" fmla="*/ 78861 h 2504332"/>
                  <a:gd name="connsiteX183" fmla="*/ 615560 w 2032205"/>
                  <a:gd name="connsiteY183" fmla="*/ 51342 h 2504332"/>
                  <a:gd name="connsiteX184" fmla="*/ 652513 w 2032205"/>
                  <a:gd name="connsiteY184" fmla="*/ 33603 h 2504332"/>
                  <a:gd name="connsiteX185" fmla="*/ 710007 w 2032205"/>
                  <a:gd name="connsiteY185" fmla="*/ 46850 h 2504332"/>
                  <a:gd name="connsiteX186" fmla="*/ 753030 w 2032205"/>
                  <a:gd name="connsiteY186" fmla="*/ 48158 h 2504332"/>
                  <a:gd name="connsiteX187" fmla="*/ 819993 w 2032205"/>
                  <a:gd name="connsiteY187" fmla="*/ 48158 h 2504332"/>
                  <a:gd name="connsiteX188" fmla="*/ 819993 w 2032205"/>
                  <a:gd name="connsiteY188" fmla="*/ 17512 h 2504332"/>
                  <a:gd name="connsiteX189" fmla="*/ 863405 w 2032205"/>
                  <a:gd name="connsiteY189" fmla="*/ 17512 h 2504332"/>
                  <a:gd name="connsiteX190" fmla="*/ 863405 w 2032205"/>
                  <a:gd name="connsiteY190" fmla="*/ 0 h 2504332"/>
                  <a:gd name="connsiteX191" fmla="*/ 1016077 w 2032205"/>
                  <a:gd name="connsiteY191" fmla="*/ 1107386 h 2504332"/>
                  <a:gd name="connsiteX192" fmla="*/ 974828 w 2032205"/>
                  <a:gd name="connsiteY192" fmla="*/ 1111712 h 2504332"/>
                  <a:gd name="connsiteX193" fmla="*/ 938794 w 2032205"/>
                  <a:gd name="connsiteY193" fmla="*/ 1203368 h 2504332"/>
                  <a:gd name="connsiteX194" fmla="*/ 1050334 w 2032205"/>
                  <a:gd name="connsiteY194" fmla="*/ 1126263 h 2504332"/>
                  <a:gd name="connsiteX195" fmla="*/ 1016077 w 2032205"/>
                  <a:gd name="connsiteY195" fmla="*/ 1107386 h 2504332"/>
                  <a:gd name="connsiteX0" fmla="*/ 863405 w 2032205"/>
                  <a:gd name="connsiteY0" fmla="*/ 0 h 2504332"/>
                  <a:gd name="connsiteX1" fmla="*/ 1054144 w 2032205"/>
                  <a:gd name="connsiteY1" fmla="*/ 8756 h 2504332"/>
                  <a:gd name="connsiteX2" fmla="*/ 1080597 w 2032205"/>
                  <a:gd name="connsiteY2" fmla="*/ 3874 h 2504332"/>
                  <a:gd name="connsiteX3" fmla="*/ 1082399 w 2032205"/>
                  <a:gd name="connsiteY3" fmla="*/ 156 h 2504332"/>
                  <a:gd name="connsiteX4" fmla="*/ 1084093 w 2032205"/>
                  <a:gd name="connsiteY4" fmla="*/ 3144 h 2504332"/>
                  <a:gd name="connsiteX5" fmla="*/ 1071060 w 2032205"/>
                  <a:gd name="connsiteY5" fmla="*/ 9140 h 2504332"/>
                  <a:gd name="connsiteX6" fmla="*/ 1056343 w 2032205"/>
                  <a:gd name="connsiteY6" fmla="*/ 10637 h 2504332"/>
                  <a:gd name="connsiteX7" fmla="*/ 865595 w 2032205"/>
                  <a:gd name="connsiteY7" fmla="*/ 1877 h 2504332"/>
                  <a:gd name="connsiteX8" fmla="*/ 865595 w 2032205"/>
                  <a:gd name="connsiteY8" fmla="*/ 19397 h 2504332"/>
                  <a:gd name="connsiteX9" fmla="*/ 822165 w 2032205"/>
                  <a:gd name="connsiteY9" fmla="*/ 19397 h 2504332"/>
                  <a:gd name="connsiteX10" fmla="*/ 822165 w 2032205"/>
                  <a:gd name="connsiteY10" fmla="*/ 50056 h 2504332"/>
                  <a:gd name="connsiteX11" fmla="*/ 755203 w 2032205"/>
                  <a:gd name="connsiteY11" fmla="*/ 50056 h 2504332"/>
                  <a:gd name="connsiteX12" fmla="*/ 712155 w 2032205"/>
                  <a:gd name="connsiteY12" fmla="*/ 48732 h 2504332"/>
                  <a:gd name="connsiteX13" fmla="*/ 654663 w 2032205"/>
                  <a:gd name="connsiteY13" fmla="*/ 35456 h 2504332"/>
                  <a:gd name="connsiteX14" fmla="*/ 617691 w 2032205"/>
                  <a:gd name="connsiteY14" fmla="*/ 53247 h 2504332"/>
                  <a:gd name="connsiteX15" fmla="*/ 588323 w 2032205"/>
                  <a:gd name="connsiteY15" fmla="*/ 80715 h 2504332"/>
                  <a:gd name="connsiteX16" fmla="*/ 539966 w 2032205"/>
                  <a:gd name="connsiteY16" fmla="*/ 77795 h 2504332"/>
                  <a:gd name="connsiteX17" fmla="*/ 471186 w 2032205"/>
                  <a:gd name="connsiteY17" fmla="*/ 105670 h 2504332"/>
                  <a:gd name="connsiteX18" fmla="*/ 508876 w 2032205"/>
                  <a:gd name="connsiteY18" fmla="*/ 137721 h 2504332"/>
                  <a:gd name="connsiteX19" fmla="*/ 580000 w 2032205"/>
                  <a:gd name="connsiteY19" fmla="*/ 202910 h 2504332"/>
                  <a:gd name="connsiteX20" fmla="*/ 632614 w 2032205"/>
                  <a:gd name="connsiteY20" fmla="*/ 267963 h 2504332"/>
                  <a:gd name="connsiteX21" fmla="*/ 663129 w 2032205"/>
                  <a:gd name="connsiteY21" fmla="*/ 311218 h 2504332"/>
                  <a:gd name="connsiteX22" fmla="*/ 707372 w 2032205"/>
                  <a:gd name="connsiteY22" fmla="*/ 338007 h 2504332"/>
                  <a:gd name="connsiteX23" fmla="*/ 756972 w 2032205"/>
                  <a:gd name="connsiteY23" fmla="*/ 363709 h 2504332"/>
                  <a:gd name="connsiteX24" fmla="*/ 806668 w 2032205"/>
                  <a:gd name="connsiteY24" fmla="*/ 381160 h 2504332"/>
                  <a:gd name="connsiteX25" fmla="*/ 825274 w 2032205"/>
                  <a:gd name="connsiteY25" fmla="*/ 409205 h 2504332"/>
                  <a:gd name="connsiteX26" fmla="*/ 859425 w 2032205"/>
                  <a:gd name="connsiteY26" fmla="*/ 471745 h 2504332"/>
                  <a:gd name="connsiteX27" fmla="*/ 881092 w 2032205"/>
                  <a:gd name="connsiteY27" fmla="*/ 548376 h 2504332"/>
                  <a:gd name="connsiteX28" fmla="*/ 896350 w 2032205"/>
                  <a:gd name="connsiteY28" fmla="*/ 552145 h 2504332"/>
                  <a:gd name="connsiteX29" fmla="*/ 898407 w 2032205"/>
                  <a:gd name="connsiteY29" fmla="*/ 537987 h 2504332"/>
                  <a:gd name="connsiteX30" fmla="*/ 927966 w 2032205"/>
                  <a:gd name="connsiteY30" fmla="*/ 547663 h 2504332"/>
                  <a:gd name="connsiteX31" fmla="*/ 935140 w 2032205"/>
                  <a:gd name="connsiteY31" fmla="*/ 549272 h 2504332"/>
                  <a:gd name="connsiteX32" fmla="*/ 940261 w 2032205"/>
                  <a:gd name="connsiteY32" fmla="*/ 551981 h 2504332"/>
                  <a:gd name="connsiteX33" fmla="*/ 939654 w 2032205"/>
                  <a:gd name="connsiteY33" fmla="*/ 552339 h 2504332"/>
                  <a:gd name="connsiteX34" fmla="*/ 948064 w 2032205"/>
                  <a:gd name="connsiteY34" fmla="*/ 574327 h 2504332"/>
                  <a:gd name="connsiteX35" fmla="*/ 951157 w 2032205"/>
                  <a:gd name="connsiteY35" fmla="*/ 631410 h 2504332"/>
                  <a:gd name="connsiteX36" fmla="*/ 972786 w 2032205"/>
                  <a:gd name="connsiteY36" fmla="*/ 680787 h 2504332"/>
                  <a:gd name="connsiteX37" fmla="*/ 956715 w 2032205"/>
                  <a:gd name="connsiteY37" fmla="*/ 741146 h 2504332"/>
                  <a:gd name="connsiteX38" fmla="*/ 927425 w 2032205"/>
                  <a:gd name="connsiteY38" fmla="*/ 812303 h 2504332"/>
                  <a:gd name="connsiteX39" fmla="*/ 915415 w 2032205"/>
                  <a:gd name="connsiteY39" fmla="*/ 848528 h 2504332"/>
                  <a:gd name="connsiteX40" fmla="*/ 964811 w 2032205"/>
                  <a:gd name="connsiteY40" fmla="*/ 855911 h 2504332"/>
                  <a:gd name="connsiteX41" fmla="*/ 954202 w 2032205"/>
                  <a:gd name="connsiteY41" fmla="*/ 824001 h 2504332"/>
                  <a:gd name="connsiteX42" fmla="*/ 979021 w 2032205"/>
                  <a:gd name="connsiteY42" fmla="*/ 803558 h 2504332"/>
                  <a:gd name="connsiteX43" fmla="*/ 987069 w 2032205"/>
                  <a:gd name="connsiteY43" fmla="*/ 768787 h 2504332"/>
                  <a:gd name="connsiteX44" fmla="*/ 1002221 w 2032205"/>
                  <a:gd name="connsiteY44" fmla="*/ 796244 h 2504332"/>
                  <a:gd name="connsiteX45" fmla="*/ 1022376 w 2032205"/>
                  <a:gd name="connsiteY45" fmla="*/ 813780 h 2504332"/>
                  <a:gd name="connsiteX46" fmla="*/ 1060438 w 2032205"/>
                  <a:gd name="connsiteY46" fmla="*/ 819986 h 2504332"/>
                  <a:gd name="connsiteX47" fmla="*/ 1111913 w 2032205"/>
                  <a:gd name="connsiteY47" fmla="*/ 864863 h 2504332"/>
                  <a:gd name="connsiteX48" fmla="*/ 1164935 w 2032205"/>
                  <a:gd name="connsiteY48" fmla="*/ 920377 h 2504332"/>
                  <a:gd name="connsiteX49" fmla="*/ 1200580 w 2032205"/>
                  <a:gd name="connsiteY49" fmla="*/ 943796 h 2504332"/>
                  <a:gd name="connsiteX50" fmla="*/ 1222210 w 2032205"/>
                  <a:gd name="connsiteY50" fmla="*/ 926168 h 2504332"/>
                  <a:gd name="connsiteX51" fmla="*/ 1246690 w 2032205"/>
                  <a:gd name="connsiteY51" fmla="*/ 946634 h 2504332"/>
                  <a:gd name="connsiteX52" fmla="*/ 1281176 w 2032205"/>
                  <a:gd name="connsiteY52" fmla="*/ 967492 h 2504332"/>
                  <a:gd name="connsiteX53" fmla="*/ 1314840 w 2032205"/>
                  <a:gd name="connsiteY53" fmla="*/ 987889 h 2504332"/>
                  <a:gd name="connsiteX54" fmla="*/ 1344372 w 2032205"/>
                  <a:gd name="connsiteY54" fmla="*/ 1015069 h 2504332"/>
                  <a:gd name="connsiteX55" fmla="*/ 1394372 w 2032205"/>
                  <a:gd name="connsiteY55" fmla="*/ 1003648 h 2504332"/>
                  <a:gd name="connsiteX56" fmla="*/ 1372792 w 2032205"/>
                  <a:gd name="connsiteY56" fmla="*/ 951272 h 2504332"/>
                  <a:gd name="connsiteX57" fmla="*/ 1417258 w 2032205"/>
                  <a:gd name="connsiteY57" fmla="*/ 965439 h 2504332"/>
                  <a:gd name="connsiteX58" fmla="*/ 1376054 w 2032205"/>
                  <a:gd name="connsiteY58" fmla="*/ 905449 h 2504332"/>
                  <a:gd name="connsiteX59" fmla="*/ 1383449 w 2032205"/>
                  <a:gd name="connsiteY59" fmla="*/ 867817 h 2504332"/>
                  <a:gd name="connsiteX60" fmla="*/ 1408268 w 2032205"/>
                  <a:gd name="connsiteY60" fmla="*/ 847259 h 2504332"/>
                  <a:gd name="connsiteX61" fmla="*/ 1370617 w 2032205"/>
                  <a:gd name="connsiteY61" fmla="*/ 822617 h 2504332"/>
                  <a:gd name="connsiteX62" fmla="*/ 1381516 w 2032205"/>
                  <a:gd name="connsiteY62" fmla="*/ 792991 h 2504332"/>
                  <a:gd name="connsiteX63" fmla="*/ 1382917 w 2032205"/>
                  <a:gd name="connsiteY63" fmla="*/ 730601 h 2504332"/>
                  <a:gd name="connsiteX64" fmla="*/ 1367789 w 2032205"/>
                  <a:gd name="connsiteY64" fmla="*/ 717380 h 2504332"/>
                  <a:gd name="connsiteX65" fmla="*/ 1351144 w 2032205"/>
                  <a:gd name="connsiteY65" fmla="*/ 695934 h 2504332"/>
                  <a:gd name="connsiteX66" fmla="*/ 1331902 w 2032205"/>
                  <a:gd name="connsiteY66" fmla="*/ 677784 h 2504332"/>
                  <a:gd name="connsiteX67" fmla="*/ 1334763 w 2032205"/>
                  <a:gd name="connsiteY67" fmla="*/ 678924 h 2504332"/>
                  <a:gd name="connsiteX68" fmla="*/ 1371019 w 2032205"/>
                  <a:gd name="connsiteY68" fmla="*/ 718852 h 2504332"/>
                  <a:gd name="connsiteX69" fmla="*/ 1386133 w 2032205"/>
                  <a:gd name="connsiteY69" fmla="*/ 732059 h 2504332"/>
                  <a:gd name="connsiteX70" fmla="*/ 1398999 w 2032205"/>
                  <a:gd name="connsiteY70" fmla="*/ 727611 h 2504332"/>
                  <a:gd name="connsiteX71" fmla="*/ 1436020 w 2032205"/>
                  <a:gd name="connsiteY71" fmla="*/ 727272 h 2504332"/>
                  <a:gd name="connsiteX72" fmla="*/ 1452952 w 2032205"/>
                  <a:gd name="connsiteY72" fmla="*/ 694032 h 2504332"/>
                  <a:gd name="connsiteX73" fmla="*/ 1458970 w 2032205"/>
                  <a:gd name="connsiteY73" fmla="*/ 690231 h 2504332"/>
                  <a:gd name="connsiteX74" fmla="*/ 1459014 w 2032205"/>
                  <a:gd name="connsiteY74" fmla="*/ 690499 h 2504332"/>
                  <a:gd name="connsiteX75" fmla="*/ 1466087 w 2032205"/>
                  <a:gd name="connsiteY75" fmla="*/ 692455 h 2504332"/>
                  <a:gd name="connsiteX76" fmla="*/ 1473424 w 2032205"/>
                  <a:gd name="connsiteY76" fmla="*/ 710468 h 2504332"/>
                  <a:gd name="connsiteX77" fmla="*/ 1513431 w 2032205"/>
                  <a:gd name="connsiteY77" fmla="*/ 716245 h 2504332"/>
                  <a:gd name="connsiteX78" fmla="*/ 1547944 w 2032205"/>
                  <a:gd name="connsiteY78" fmla="*/ 748383 h 2504332"/>
                  <a:gd name="connsiteX79" fmla="*/ 1576962 w 2032205"/>
                  <a:gd name="connsiteY79" fmla="*/ 774994 h 2504332"/>
                  <a:gd name="connsiteX80" fmla="*/ 1583768 w 2032205"/>
                  <a:gd name="connsiteY80" fmla="*/ 785019 h 2504332"/>
                  <a:gd name="connsiteX81" fmla="*/ 1581731 w 2032205"/>
                  <a:gd name="connsiteY81" fmla="*/ 784858 h 2504332"/>
                  <a:gd name="connsiteX82" fmla="*/ 1571605 w 2032205"/>
                  <a:gd name="connsiteY82" fmla="*/ 803041 h 2504332"/>
                  <a:gd name="connsiteX83" fmla="*/ 1539155 w 2032205"/>
                  <a:gd name="connsiteY83" fmla="*/ 823437 h 2504332"/>
                  <a:gd name="connsiteX84" fmla="*/ 1499535 w 2032205"/>
                  <a:gd name="connsiteY84" fmla="*/ 832839 h 2504332"/>
                  <a:gd name="connsiteX85" fmla="*/ 1472924 w 2032205"/>
                  <a:gd name="connsiteY85" fmla="*/ 864619 h 2504332"/>
                  <a:gd name="connsiteX86" fmla="*/ 1457328 w 2032205"/>
                  <a:gd name="connsiteY86" fmla="*/ 877498 h 2504332"/>
                  <a:gd name="connsiteX87" fmla="*/ 1434413 w 2032205"/>
                  <a:gd name="connsiteY87" fmla="*/ 879576 h 2504332"/>
                  <a:gd name="connsiteX88" fmla="*/ 1455332 w 2032205"/>
                  <a:gd name="connsiteY88" fmla="*/ 911375 h 2504332"/>
                  <a:gd name="connsiteX89" fmla="*/ 1480575 w 2032205"/>
                  <a:gd name="connsiteY89" fmla="*/ 939231 h 2504332"/>
                  <a:gd name="connsiteX90" fmla="*/ 1519012 w 2032205"/>
                  <a:gd name="connsiteY90" fmla="*/ 943893 h 2504332"/>
                  <a:gd name="connsiteX91" fmla="*/ 1522782 w 2032205"/>
                  <a:gd name="connsiteY91" fmla="*/ 947759 h 2504332"/>
                  <a:gd name="connsiteX92" fmla="*/ 1524307 w 2032205"/>
                  <a:gd name="connsiteY92" fmla="*/ 947313 h 2504332"/>
                  <a:gd name="connsiteX93" fmla="*/ 1531826 w 2032205"/>
                  <a:gd name="connsiteY93" fmla="*/ 963870 h 2504332"/>
                  <a:gd name="connsiteX94" fmla="*/ 1528872 w 2032205"/>
                  <a:gd name="connsiteY94" fmla="*/ 1022130 h 2504332"/>
                  <a:gd name="connsiteX95" fmla="*/ 1530043 w 2032205"/>
                  <a:gd name="connsiteY95" fmla="*/ 1053834 h 2504332"/>
                  <a:gd name="connsiteX96" fmla="*/ 1575427 w 2032205"/>
                  <a:gd name="connsiteY96" fmla="*/ 1072543 h 2504332"/>
                  <a:gd name="connsiteX97" fmla="*/ 1593712 w 2032205"/>
                  <a:gd name="connsiteY97" fmla="*/ 1081267 h 2504332"/>
                  <a:gd name="connsiteX98" fmla="*/ 1589270 w 2032205"/>
                  <a:gd name="connsiteY98" fmla="*/ 1099204 h 2504332"/>
                  <a:gd name="connsiteX99" fmla="*/ 1603147 w 2032205"/>
                  <a:gd name="connsiteY99" fmla="*/ 1125153 h 2504332"/>
                  <a:gd name="connsiteX100" fmla="*/ 1642918 w 2032205"/>
                  <a:gd name="connsiteY100" fmla="*/ 1136033 h 2504332"/>
                  <a:gd name="connsiteX101" fmla="*/ 1666918 w 2032205"/>
                  <a:gd name="connsiteY101" fmla="*/ 1173695 h 2504332"/>
                  <a:gd name="connsiteX102" fmla="*/ 1678902 w 2032205"/>
                  <a:gd name="connsiteY102" fmla="*/ 1211988 h 2504332"/>
                  <a:gd name="connsiteX103" fmla="*/ 1680348 w 2032205"/>
                  <a:gd name="connsiteY103" fmla="*/ 1256952 h 2504332"/>
                  <a:gd name="connsiteX104" fmla="*/ 1700216 w 2032205"/>
                  <a:gd name="connsiteY104" fmla="*/ 1293720 h 2504332"/>
                  <a:gd name="connsiteX105" fmla="*/ 1708343 w 2032205"/>
                  <a:gd name="connsiteY105" fmla="*/ 1331443 h 2504332"/>
                  <a:gd name="connsiteX106" fmla="*/ 1744430 w 2032205"/>
                  <a:gd name="connsiteY106" fmla="*/ 1338744 h 2504332"/>
                  <a:gd name="connsiteX107" fmla="*/ 1769876 w 2032205"/>
                  <a:gd name="connsiteY107" fmla="*/ 1361541 h 2504332"/>
                  <a:gd name="connsiteX108" fmla="*/ 1790502 w 2032205"/>
                  <a:gd name="connsiteY108" fmla="*/ 1363575 h 2504332"/>
                  <a:gd name="connsiteX109" fmla="*/ 1818428 w 2032205"/>
                  <a:gd name="connsiteY109" fmla="*/ 1364998 h 2504332"/>
                  <a:gd name="connsiteX110" fmla="*/ 1839399 w 2032205"/>
                  <a:gd name="connsiteY110" fmla="*/ 1374190 h 2504332"/>
                  <a:gd name="connsiteX111" fmla="*/ 1861139 w 2032205"/>
                  <a:gd name="connsiteY111" fmla="*/ 1376178 h 2504332"/>
                  <a:gd name="connsiteX112" fmla="*/ 1881586 w 2032205"/>
                  <a:gd name="connsiteY112" fmla="*/ 1372043 h 2504332"/>
                  <a:gd name="connsiteX113" fmla="*/ 1880799 w 2032205"/>
                  <a:gd name="connsiteY113" fmla="*/ 1372673 h 2504332"/>
                  <a:gd name="connsiteX114" fmla="*/ 1838220 w 2032205"/>
                  <a:gd name="connsiteY114" fmla="*/ 1374880 h 2504332"/>
                  <a:gd name="connsiteX115" fmla="*/ 1817253 w 2032205"/>
                  <a:gd name="connsiteY115" fmla="*/ 1365700 h 2504332"/>
                  <a:gd name="connsiteX116" fmla="*/ 1789283 w 2032205"/>
                  <a:gd name="connsiteY116" fmla="*/ 1364273 h 2504332"/>
                  <a:gd name="connsiteX117" fmla="*/ 1768637 w 2032205"/>
                  <a:gd name="connsiteY117" fmla="*/ 1362227 h 2504332"/>
                  <a:gd name="connsiteX118" fmla="*/ 1769160 w 2032205"/>
                  <a:gd name="connsiteY118" fmla="*/ 1364219 h 2504332"/>
                  <a:gd name="connsiteX119" fmla="*/ 1723442 w 2032205"/>
                  <a:gd name="connsiteY119" fmla="*/ 1374773 h 2504332"/>
                  <a:gd name="connsiteX120" fmla="*/ 1706741 w 2032205"/>
                  <a:gd name="connsiteY120" fmla="*/ 1382930 h 2504332"/>
                  <a:gd name="connsiteX121" fmla="*/ 1684118 w 2032205"/>
                  <a:gd name="connsiteY121" fmla="*/ 1382856 h 2504332"/>
                  <a:gd name="connsiteX122" fmla="*/ 1663086 w 2032205"/>
                  <a:gd name="connsiteY122" fmla="*/ 1384596 h 2504332"/>
                  <a:gd name="connsiteX123" fmla="*/ 1664077 w 2032205"/>
                  <a:gd name="connsiteY123" fmla="*/ 1383469 h 2504332"/>
                  <a:gd name="connsiteX124" fmla="*/ 1708707 w 2032205"/>
                  <a:gd name="connsiteY124" fmla="*/ 1381698 h 2504332"/>
                  <a:gd name="connsiteX125" fmla="*/ 1725435 w 2032205"/>
                  <a:gd name="connsiteY125" fmla="*/ 1373555 h 2504332"/>
                  <a:gd name="connsiteX126" fmla="*/ 1709018 w 2032205"/>
                  <a:gd name="connsiteY126" fmla="*/ 1360127 h 2504332"/>
                  <a:gd name="connsiteX127" fmla="*/ 1695480 w 2032205"/>
                  <a:gd name="connsiteY127" fmla="*/ 1327634 h 2504332"/>
                  <a:gd name="connsiteX128" fmla="*/ 1662525 w 2032205"/>
                  <a:gd name="connsiteY128" fmla="*/ 1329459 h 2504332"/>
                  <a:gd name="connsiteX129" fmla="*/ 1651350 w 2032205"/>
                  <a:gd name="connsiteY129" fmla="*/ 1300261 h 2504332"/>
                  <a:gd name="connsiteX130" fmla="*/ 1615998 w 2032205"/>
                  <a:gd name="connsiteY130" fmla="*/ 1292662 h 2504332"/>
                  <a:gd name="connsiteX131" fmla="*/ 1594700 w 2032205"/>
                  <a:gd name="connsiteY131" fmla="*/ 1260768 h 2504332"/>
                  <a:gd name="connsiteX132" fmla="*/ 1560158 w 2032205"/>
                  <a:gd name="connsiteY132" fmla="*/ 1253578 h 2504332"/>
                  <a:gd name="connsiteX133" fmla="*/ 1521443 w 2032205"/>
                  <a:gd name="connsiteY133" fmla="*/ 1237154 h 2504332"/>
                  <a:gd name="connsiteX134" fmla="*/ 1479468 w 2032205"/>
                  <a:gd name="connsiteY134" fmla="*/ 1202346 h 2504332"/>
                  <a:gd name="connsiteX135" fmla="*/ 1483141 w 2032205"/>
                  <a:gd name="connsiteY135" fmla="*/ 1132484 h 2504332"/>
                  <a:gd name="connsiteX136" fmla="*/ 1365926 w 2032205"/>
                  <a:gd name="connsiteY136" fmla="*/ 1132484 h 2504332"/>
                  <a:gd name="connsiteX137" fmla="*/ 1378722 w 2032205"/>
                  <a:gd name="connsiteY137" fmla="*/ 1190689 h 2504332"/>
                  <a:gd name="connsiteX138" fmla="*/ 1363443 w 2032205"/>
                  <a:gd name="connsiteY138" fmla="*/ 1234757 h 2504332"/>
                  <a:gd name="connsiteX139" fmla="*/ 1358097 w 2032205"/>
                  <a:gd name="connsiteY139" fmla="*/ 1311864 h 2504332"/>
                  <a:gd name="connsiteX140" fmla="*/ 1381826 w 2032205"/>
                  <a:gd name="connsiteY140" fmla="*/ 1336458 h 2504332"/>
                  <a:gd name="connsiteX141" fmla="*/ 1418024 w 2032205"/>
                  <a:gd name="connsiteY141" fmla="*/ 1370749 h 2504332"/>
                  <a:gd name="connsiteX142" fmla="*/ 1442615 w 2032205"/>
                  <a:gd name="connsiteY142" fmla="*/ 1443062 h 2504332"/>
                  <a:gd name="connsiteX143" fmla="*/ 1453135 w 2032205"/>
                  <a:gd name="connsiteY143" fmla="*/ 1518208 h 2504332"/>
                  <a:gd name="connsiteX144" fmla="*/ 1450031 w 2032205"/>
                  <a:gd name="connsiteY144" fmla="*/ 1592373 h 2504332"/>
                  <a:gd name="connsiteX145" fmla="*/ 1491953 w 2032205"/>
                  <a:gd name="connsiteY145" fmla="*/ 1666838 h 2504332"/>
                  <a:gd name="connsiteX146" fmla="*/ 1553915 w 2032205"/>
                  <a:gd name="connsiteY146" fmla="*/ 1718260 h 2504332"/>
                  <a:gd name="connsiteX147" fmla="*/ 1559365 w 2032205"/>
                  <a:gd name="connsiteY147" fmla="*/ 1720793 h 2504332"/>
                  <a:gd name="connsiteX148" fmla="*/ 1559420 w 2032205"/>
                  <a:gd name="connsiteY148" fmla="*/ 1720484 h 2504332"/>
                  <a:gd name="connsiteX149" fmla="*/ 1574846 w 2032205"/>
                  <a:gd name="connsiteY149" fmla="*/ 1733601 h 2504332"/>
                  <a:gd name="connsiteX150" fmla="*/ 1610549 w 2032205"/>
                  <a:gd name="connsiteY150" fmla="*/ 1790224 h 2504332"/>
                  <a:gd name="connsiteX151" fmla="*/ 1694716 w 2032205"/>
                  <a:gd name="connsiteY151" fmla="*/ 1856718 h 2504332"/>
                  <a:gd name="connsiteX152" fmla="*/ 1778084 w 2032205"/>
                  <a:gd name="connsiteY152" fmla="*/ 1880438 h 2504332"/>
                  <a:gd name="connsiteX153" fmla="*/ 1807580 w 2032205"/>
                  <a:gd name="connsiteY153" fmla="*/ 1861756 h 2504332"/>
                  <a:gd name="connsiteX154" fmla="*/ 1841720 w 2032205"/>
                  <a:gd name="connsiteY154" fmla="*/ 1871773 h 2504332"/>
                  <a:gd name="connsiteX155" fmla="*/ 1872754 w 2032205"/>
                  <a:gd name="connsiteY155" fmla="*/ 1852660 h 2504332"/>
                  <a:gd name="connsiteX156" fmla="*/ 1908787 w 2032205"/>
                  <a:gd name="connsiteY156" fmla="*/ 1868342 h 2504332"/>
                  <a:gd name="connsiteX157" fmla="*/ 1960737 w 2032205"/>
                  <a:gd name="connsiteY157" fmla="*/ 1935856 h 2504332"/>
                  <a:gd name="connsiteX158" fmla="*/ 1975293 w 2032205"/>
                  <a:gd name="connsiteY158" fmla="*/ 1963181 h 2504332"/>
                  <a:gd name="connsiteX159" fmla="*/ 1974985 w 2032205"/>
                  <a:gd name="connsiteY159" fmla="*/ 1963584 h 2504332"/>
                  <a:gd name="connsiteX160" fmla="*/ 2008956 w 2032205"/>
                  <a:gd name="connsiteY160" fmla="*/ 1992653 h 2504332"/>
                  <a:gd name="connsiteX161" fmla="*/ 2030606 w 2032205"/>
                  <a:gd name="connsiteY161" fmla="*/ 1985874 h 2504332"/>
                  <a:gd name="connsiteX162" fmla="*/ 1990297 w 2032205"/>
                  <a:gd name="connsiteY162" fmla="*/ 2023879 h 2504332"/>
                  <a:gd name="connsiteX163" fmla="*/ 1971638 w 2032205"/>
                  <a:gd name="connsiteY163" fmla="*/ 2120022 h 2504332"/>
                  <a:gd name="connsiteX164" fmla="*/ 1939234 w 2032205"/>
                  <a:gd name="connsiteY164" fmla="*/ 2192027 h 2504332"/>
                  <a:gd name="connsiteX165" fmla="*/ 1864598 w 2032205"/>
                  <a:gd name="connsiteY165" fmla="*/ 2171432 h 2504332"/>
                  <a:gd name="connsiteX166" fmla="*/ 1842877 w 2032205"/>
                  <a:gd name="connsiteY166" fmla="*/ 2242513 h 2504332"/>
                  <a:gd name="connsiteX167" fmla="*/ 1876990 w 2032205"/>
                  <a:gd name="connsiteY167" fmla="*/ 2258126 h 2504332"/>
                  <a:gd name="connsiteX168" fmla="*/ 1866521 w 2032205"/>
                  <a:gd name="connsiteY168" fmla="*/ 2292793 h 2504332"/>
                  <a:gd name="connsiteX169" fmla="*/ 1882830 w 2032205"/>
                  <a:gd name="connsiteY169" fmla="*/ 2368341 h 2504332"/>
                  <a:gd name="connsiteX170" fmla="*/ 1900954 w 2032205"/>
                  <a:gd name="connsiteY170" fmla="*/ 2421164 h 2504332"/>
                  <a:gd name="connsiteX171" fmla="*/ 1903787 w 2032205"/>
                  <a:gd name="connsiteY171" fmla="*/ 2449381 h 2504332"/>
                  <a:gd name="connsiteX172" fmla="*/ 1808845 w 2032205"/>
                  <a:gd name="connsiteY172" fmla="*/ 2473772 h 2504332"/>
                  <a:gd name="connsiteX173" fmla="*/ 1505445 w 2032205"/>
                  <a:gd name="connsiteY173" fmla="*/ 2504332 h 2504332"/>
                  <a:gd name="connsiteX174" fmla="*/ 0 w 2032205"/>
                  <a:gd name="connsiteY174" fmla="*/ 1000144 h 2504332"/>
                  <a:gd name="connsiteX175" fmla="*/ 343771 w 2032205"/>
                  <a:gd name="connsiteY175" fmla="*/ 43341 h 2504332"/>
                  <a:gd name="connsiteX176" fmla="*/ 369157 w 2032205"/>
                  <a:gd name="connsiteY176" fmla="*/ 15432 h 2504332"/>
                  <a:gd name="connsiteX177" fmla="*/ 383746 w 2032205"/>
                  <a:gd name="connsiteY177" fmla="*/ 23717 h 2504332"/>
                  <a:gd name="connsiteX178" fmla="*/ 404037 w 2032205"/>
                  <a:gd name="connsiteY178" fmla="*/ 32466 h 2504332"/>
                  <a:gd name="connsiteX179" fmla="*/ 441671 w 2032205"/>
                  <a:gd name="connsiteY179" fmla="*/ 71469 h 2504332"/>
                  <a:gd name="connsiteX180" fmla="*/ 469058 w 2032205"/>
                  <a:gd name="connsiteY180" fmla="*/ 103764 h 2504332"/>
                  <a:gd name="connsiteX181" fmla="*/ 537866 w 2032205"/>
                  <a:gd name="connsiteY181" fmla="*/ 75904 h 2504332"/>
                  <a:gd name="connsiteX182" fmla="*/ 586182 w 2032205"/>
                  <a:gd name="connsiteY182" fmla="*/ 78861 h 2504332"/>
                  <a:gd name="connsiteX183" fmla="*/ 615560 w 2032205"/>
                  <a:gd name="connsiteY183" fmla="*/ 51342 h 2504332"/>
                  <a:gd name="connsiteX184" fmla="*/ 652513 w 2032205"/>
                  <a:gd name="connsiteY184" fmla="*/ 33603 h 2504332"/>
                  <a:gd name="connsiteX185" fmla="*/ 710007 w 2032205"/>
                  <a:gd name="connsiteY185" fmla="*/ 46850 h 2504332"/>
                  <a:gd name="connsiteX186" fmla="*/ 753030 w 2032205"/>
                  <a:gd name="connsiteY186" fmla="*/ 48158 h 2504332"/>
                  <a:gd name="connsiteX187" fmla="*/ 819993 w 2032205"/>
                  <a:gd name="connsiteY187" fmla="*/ 48158 h 2504332"/>
                  <a:gd name="connsiteX188" fmla="*/ 819993 w 2032205"/>
                  <a:gd name="connsiteY188" fmla="*/ 17512 h 2504332"/>
                  <a:gd name="connsiteX189" fmla="*/ 863405 w 2032205"/>
                  <a:gd name="connsiteY189" fmla="*/ 17512 h 2504332"/>
                  <a:gd name="connsiteX190" fmla="*/ 863405 w 2032205"/>
                  <a:gd name="connsiteY190" fmla="*/ 0 h 2504332"/>
                  <a:gd name="connsiteX191" fmla="*/ 1016077 w 2032205"/>
                  <a:gd name="connsiteY191" fmla="*/ 1107386 h 2504332"/>
                  <a:gd name="connsiteX192" fmla="*/ 974828 w 2032205"/>
                  <a:gd name="connsiteY192" fmla="*/ 1111712 h 2504332"/>
                  <a:gd name="connsiteX193" fmla="*/ 1050334 w 2032205"/>
                  <a:gd name="connsiteY193" fmla="*/ 1126263 h 2504332"/>
                  <a:gd name="connsiteX194" fmla="*/ 1016077 w 2032205"/>
                  <a:gd name="connsiteY194" fmla="*/ 1107386 h 2504332"/>
                  <a:gd name="connsiteX0" fmla="*/ 863405 w 2032205"/>
                  <a:gd name="connsiteY0" fmla="*/ 0 h 2504332"/>
                  <a:gd name="connsiteX1" fmla="*/ 1054144 w 2032205"/>
                  <a:gd name="connsiteY1" fmla="*/ 8756 h 2504332"/>
                  <a:gd name="connsiteX2" fmla="*/ 1080597 w 2032205"/>
                  <a:gd name="connsiteY2" fmla="*/ 3874 h 2504332"/>
                  <a:gd name="connsiteX3" fmla="*/ 1082399 w 2032205"/>
                  <a:gd name="connsiteY3" fmla="*/ 156 h 2504332"/>
                  <a:gd name="connsiteX4" fmla="*/ 1084093 w 2032205"/>
                  <a:gd name="connsiteY4" fmla="*/ 3144 h 2504332"/>
                  <a:gd name="connsiteX5" fmla="*/ 1071060 w 2032205"/>
                  <a:gd name="connsiteY5" fmla="*/ 9140 h 2504332"/>
                  <a:gd name="connsiteX6" fmla="*/ 1056343 w 2032205"/>
                  <a:gd name="connsiteY6" fmla="*/ 10637 h 2504332"/>
                  <a:gd name="connsiteX7" fmla="*/ 865595 w 2032205"/>
                  <a:gd name="connsiteY7" fmla="*/ 1877 h 2504332"/>
                  <a:gd name="connsiteX8" fmla="*/ 865595 w 2032205"/>
                  <a:gd name="connsiteY8" fmla="*/ 19397 h 2504332"/>
                  <a:gd name="connsiteX9" fmla="*/ 822165 w 2032205"/>
                  <a:gd name="connsiteY9" fmla="*/ 19397 h 2504332"/>
                  <a:gd name="connsiteX10" fmla="*/ 822165 w 2032205"/>
                  <a:gd name="connsiteY10" fmla="*/ 50056 h 2504332"/>
                  <a:gd name="connsiteX11" fmla="*/ 755203 w 2032205"/>
                  <a:gd name="connsiteY11" fmla="*/ 50056 h 2504332"/>
                  <a:gd name="connsiteX12" fmla="*/ 712155 w 2032205"/>
                  <a:gd name="connsiteY12" fmla="*/ 48732 h 2504332"/>
                  <a:gd name="connsiteX13" fmla="*/ 654663 w 2032205"/>
                  <a:gd name="connsiteY13" fmla="*/ 35456 h 2504332"/>
                  <a:gd name="connsiteX14" fmla="*/ 617691 w 2032205"/>
                  <a:gd name="connsiteY14" fmla="*/ 53247 h 2504332"/>
                  <a:gd name="connsiteX15" fmla="*/ 588323 w 2032205"/>
                  <a:gd name="connsiteY15" fmla="*/ 80715 h 2504332"/>
                  <a:gd name="connsiteX16" fmla="*/ 539966 w 2032205"/>
                  <a:gd name="connsiteY16" fmla="*/ 77795 h 2504332"/>
                  <a:gd name="connsiteX17" fmla="*/ 471186 w 2032205"/>
                  <a:gd name="connsiteY17" fmla="*/ 105670 h 2504332"/>
                  <a:gd name="connsiteX18" fmla="*/ 508876 w 2032205"/>
                  <a:gd name="connsiteY18" fmla="*/ 137721 h 2504332"/>
                  <a:gd name="connsiteX19" fmla="*/ 580000 w 2032205"/>
                  <a:gd name="connsiteY19" fmla="*/ 202910 h 2504332"/>
                  <a:gd name="connsiteX20" fmla="*/ 632614 w 2032205"/>
                  <a:gd name="connsiteY20" fmla="*/ 267963 h 2504332"/>
                  <a:gd name="connsiteX21" fmla="*/ 663129 w 2032205"/>
                  <a:gd name="connsiteY21" fmla="*/ 311218 h 2504332"/>
                  <a:gd name="connsiteX22" fmla="*/ 707372 w 2032205"/>
                  <a:gd name="connsiteY22" fmla="*/ 338007 h 2504332"/>
                  <a:gd name="connsiteX23" fmla="*/ 756972 w 2032205"/>
                  <a:gd name="connsiteY23" fmla="*/ 363709 h 2504332"/>
                  <a:gd name="connsiteX24" fmla="*/ 806668 w 2032205"/>
                  <a:gd name="connsiteY24" fmla="*/ 381160 h 2504332"/>
                  <a:gd name="connsiteX25" fmla="*/ 825274 w 2032205"/>
                  <a:gd name="connsiteY25" fmla="*/ 409205 h 2504332"/>
                  <a:gd name="connsiteX26" fmla="*/ 859425 w 2032205"/>
                  <a:gd name="connsiteY26" fmla="*/ 471745 h 2504332"/>
                  <a:gd name="connsiteX27" fmla="*/ 881092 w 2032205"/>
                  <a:gd name="connsiteY27" fmla="*/ 548376 h 2504332"/>
                  <a:gd name="connsiteX28" fmla="*/ 896350 w 2032205"/>
                  <a:gd name="connsiteY28" fmla="*/ 552145 h 2504332"/>
                  <a:gd name="connsiteX29" fmla="*/ 898407 w 2032205"/>
                  <a:gd name="connsiteY29" fmla="*/ 537987 h 2504332"/>
                  <a:gd name="connsiteX30" fmla="*/ 927966 w 2032205"/>
                  <a:gd name="connsiteY30" fmla="*/ 547663 h 2504332"/>
                  <a:gd name="connsiteX31" fmla="*/ 935140 w 2032205"/>
                  <a:gd name="connsiteY31" fmla="*/ 549272 h 2504332"/>
                  <a:gd name="connsiteX32" fmla="*/ 940261 w 2032205"/>
                  <a:gd name="connsiteY32" fmla="*/ 551981 h 2504332"/>
                  <a:gd name="connsiteX33" fmla="*/ 939654 w 2032205"/>
                  <a:gd name="connsiteY33" fmla="*/ 552339 h 2504332"/>
                  <a:gd name="connsiteX34" fmla="*/ 948064 w 2032205"/>
                  <a:gd name="connsiteY34" fmla="*/ 574327 h 2504332"/>
                  <a:gd name="connsiteX35" fmla="*/ 951157 w 2032205"/>
                  <a:gd name="connsiteY35" fmla="*/ 631410 h 2504332"/>
                  <a:gd name="connsiteX36" fmla="*/ 972786 w 2032205"/>
                  <a:gd name="connsiteY36" fmla="*/ 680787 h 2504332"/>
                  <a:gd name="connsiteX37" fmla="*/ 956715 w 2032205"/>
                  <a:gd name="connsiteY37" fmla="*/ 741146 h 2504332"/>
                  <a:gd name="connsiteX38" fmla="*/ 927425 w 2032205"/>
                  <a:gd name="connsiteY38" fmla="*/ 812303 h 2504332"/>
                  <a:gd name="connsiteX39" fmla="*/ 915415 w 2032205"/>
                  <a:gd name="connsiteY39" fmla="*/ 848528 h 2504332"/>
                  <a:gd name="connsiteX40" fmla="*/ 964811 w 2032205"/>
                  <a:gd name="connsiteY40" fmla="*/ 855911 h 2504332"/>
                  <a:gd name="connsiteX41" fmla="*/ 954202 w 2032205"/>
                  <a:gd name="connsiteY41" fmla="*/ 824001 h 2504332"/>
                  <a:gd name="connsiteX42" fmla="*/ 979021 w 2032205"/>
                  <a:gd name="connsiteY42" fmla="*/ 803558 h 2504332"/>
                  <a:gd name="connsiteX43" fmla="*/ 987069 w 2032205"/>
                  <a:gd name="connsiteY43" fmla="*/ 768787 h 2504332"/>
                  <a:gd name="connsiteX44" fmla="*/ 1002221 w 2032205"/>
                  <a:gd name="connsiteY44" fmla="*/ 796244 h 2504332"/>
                  <a:gd name="connsiteX45" fmla="*/ 1022376 w 2032205"/>
                  <a:gd name="connsiteY45" fmla="*/ 813780 h 2504332"/>
                  <a:gd name="connsiteX46" fmla="*/ 1060438 w 2032205"/>
                  <a:gd name="connsiteY46" fmla="*/ 819986 h 2504332"/>
                  <a:gd name="connsiteX47" fmla="*/ 1111913 w 2032205"/>
                  <a:gd name="connsiteY47" fmla="*/ 864863 h 2504332"/>
                  <a:gd name="connsiteX48" fmla="*/ 1164935 w 2032205"/>
                  <a:gd name="connsiteY48" fmla="*/ 920377 h 2504332"/>
                  <a:gd name="connsiteX49" fmla="*/ 1200580 w 2032205"/>
                  <a:gd name="connsiteY49" fmla="*/ 943796 h 2504332"/>
                  <a:gd name="connsiteX50" fmla="*/ 1222210 w 2032205"/>
                  <a:gd name="connsiteY50" fmla="*/ 926168 h 2504332"/>
                  <a:gd name="connsiteX51" fmla="*/ 1246690 w 2032205"/>
                  <a:gd name="connsiteY51" fmla="*/ 946634 h 2504332"/>
                  <a:gd name="connsiteX52" fmla="*/ 1281176 w 2032205"/>
                  <a:gd name="connsiteY52" fmla="*/ 967492 h 2504332"/>
                  <a:gd name="connsiteX53" fmla="*/ 1314840 w 2032205"/>
                  <a:gd name="connsiteY53" fmla="*/ 987889 h 2504332"/>
                  <a:gd name="connsiteX54" fmla="*/ 1344372 w 2032205"/>
                  <a:gd name="connsiteY54" fmla="*/ 1015069 h 2504332"/>
                  <a:gd name="connsiteX55" fmla="*/ 1394372 w 2032205"/>
                  <a:gd name="connsiteY55" fmla="*/ 1003648 h 2504332"/>
                  <a:gd name="connsiteX56" fmla="*/ 1372792 w 2032205"/>
                  <a:gd name="connsiteY56" fmla="*/ 951272 h 2504332"/>
                  <a:gd name="connsiteX57" fmla="*/ 1417258 w 2032205"/>
                  <a:gd name="connsiteY57" fmla="*/ 965439 h 2504332"/>
                  <a:gd name="connsiteX58" fmla="*/ 1376054 w 2032205"/>
                  <a:gd name="connsiteY58" fmla="*/ 905449 h 2504332"/>
                  <a:gd name="connsiteX59" fmla="*/ 1383449 w 2032205"/>
                  <a:gd name="connsiteY59" fmla="*/ 867817 h 2504332"/>
                  <a:gd name="connsiteX60" fmla="*/ 1408268 w 2032205"/>
                  <a:gd name="connsiteY60" fmla="*/ 847259 h 2504332"/>
                  <a:gd name="connsiteX61" fmla="*/ 1370617 w 2032205"/>
                  <a:gd name="connsiteY61" fmla="*/ 822617 h 2504332"/>
                  <a:gd name="connsiteX62" fmla="*/ 1381516 w 2032205"/>
                  <a:gd name="connsiteY62" fmla="*/ 792991 h 2504332"/>
                  <a:gd name="connsiteX63" fmla="*/ 1382917 w 2032205"/>
                  <a:gd name="connsiteY63" fmla="*/ 730601 h 2504332"/>
                  <a:gd name="connsiteX64" fmla="*/ 1367789 w 2032205"/>
                  <a:gd name="connsiteY64" fmla="*/ 717380 h 2504332"/>
                  <a:gd name="connsiteX65" fmla="*/ 1351144 w 2032205"/>
                  <a:gd name="connsiteY65" fmla="*/ 695934 h 2504332"/>
                  <a:gd name="connsiteX66" fmla="*/ 1331902 w 2032205"/>
                  <a:gd name="connsiteY66" fmla="*/ 677784 h 2504332"/>
                  <a:gd name="connsiteX67" fmla="*/ 1334763 w 2032205"/>
                  <a:gd name="connsiteY67" fmla="*/ 678924 h 2504332"/>
                  <a:gd name="connsiteX68" fmla="*/ 1371019 w 2032205"/>
                  <a:gd name="connsiteY68" fmla="*/ 718852 h 2504332"/>
                  <a:gd name="connsiteX69" fmla="*/ 1386133 w 2032205"/>
                  <a:gd name="connsiteY69" fmla="*/ 732059 h 2504332"/>
                  <a:gd name="connsiteX70" fmla="*/ 1398999 w 2032205"/>
                  <a:gd name="connsiteY70" fmla="*/ 727611 h 2504332"/>
                  <a:gd name="connsiteX71" fmla="*/ 1436020 w 2032205"/>
                  <a:gd name="connsiteY71" fmla="*/ 727272 h 2504332"/>
                  <a:gd name="connsiteX72" fmla="*/ 1452952 w 2032205"/>
                  <a:gd name="connsiteY72" fmla="*/ 694032 h 2504332"/>
                  <a:gd name="connsiteX73" fmla="*/ 1458970 w 2032205"/>
                  <a:gd name="connsiteY73" fmla="*/ 690231 h 2504332"/>
                  <a:gd name="connsiteX74" fmla="*/ 1459014 w 2032205"/>
                  <a:gd name="connsiteY74" fmla="*/ 690499 h 2504332"/>
                  <a:gd name="connsiteX75" fmla="*/ 1466087 w 2032205"/>
                  <a:gd name="connsiteY75" fmla="*/ 692455 h 2504332"/>
                  <a:gd name="connsiteX76" fmla="*/ 1473424 w 2032205"/>
                  <a:gd name="connsiteY76" fmla="*/ 710468 h 2504332"/>
                  <a:gd name="connsiteX77" fmla="*/ 1513431 w 2032205"/>
                  <a:gd name="connsiteY77" fmla="*/ 716245 h 2504332"/>
                  <a:gd name="connsiteX78" fmla="*/ 1547944 w 2032205"/>
                  <a:gd name="connsiteY78" fmla="*/ 748383 h 2504332"/>
                  <a:gd name="connsiteX79" fmla="*/ 1576962 w 2032205"/>
                  <a:gd name="connsiteY79" fmla="*/ 774994 h 2504332"/>
                  <a:gd name="connsiteX80" fmla="*/ 1583768 w 2032205"/>
                  <a:gd name="connsiteY80" fmla="*/ 785019 h 2504332"/>
                  <a:gd name="connsiteX81" fmla="*/ 1581731 w 2032205"/>
                  <a:gd name="connsiteY81" fmla="*/ 784858 h 2504332"/>
                  <a:gd name="connsiteX82" fmla="*/ 1571605 w 2032205"/>
                  <a:gd name="connsiteY82" fmla="*/ 803041 h 2504332"/>
                  <a:gd name="connsiteX83" fmla="*/ 1539155 w 2032205"/>
                  <a:gd name="connsiteY83" fmla="*/ 823437 h 2504332"/>
                  <a:gd name="connsiteX84" fmla="*/ 1499535 w 2032205"/>
                  <a:gd name="connsiteY84" fmla="*/ 832839 h 2504332"/>
                  <a:gd name="connsiteX85" fmla="*/ 1472924 w 2032205"/>
                  <a:gd name="connsiteY85" fmla="*/ 864619 h 2504332"/>
                  <a:gd name="connsiteX86" fmla="*/ 1457328 w 2032205"/>
                  <a:gd name="connsiteY86" fmla="*/ 877498 h 2504332"/>
                  <a:gd name="connsiteX87" fmla="*/ 1434413 w 2032205"/>
                  <a:gd name="connsiteY87" fmla="*/ 879576 h 2504332"/>
                  <a:gd name="connsiteX88" fmla="*/ 1455332 w 2032205"/>
                  <a:gd name="connsiteY88" fmla="*/ 911375 h 2504332"/>
                  <a:gd name="connsiteX89" fmla="*/ 1480575 w 2032205"/>
                  <a:gd name="connsiteY89" fmla="*/ 939231 h 2504332"/>
                  <a:gd name="connsiteX90" fmla="*/ 1519012 w 2032205"/>
                  <a:gd name="connsiteY90" fmla="*/ 943893 h 2504332"/>
                  <a:gd name="connsiteX91" fmla="*/ 1522782 w 2032205"/>
                  <a:gd name="connsiteY91" fmla="*/ 947759 h 2504332"/>
                  <a:gd name="connsiteX92" fmla="*/ 1524307 w 2032205"/>
                  <a:gd name="connsiteY92" fmla="*/ 947313 h 2504332"/>
                  <a:gd name="connsiteX93" fmla="*/ 1531826 w 2032205"/>
                  <a:gd name="connsiteY93" fmla="*/ 963870 h 2504332"/>
                  <a:gd name="connsiteX94" fmla="*/ 1528872 w 2032205"/>
                  <a:gd name="connsiteY94" fmla="*/ 1022130 h 2504332"/>
                  <a:gd name="connsiteX95" fmla="*/ 1530043 w 2032205"/>
                  <a:gd name="connsiteY95" fmla="*/ 1053834 h 2504332"/>
                  <a:gd name="connsiteX96" fmla="*/ 1575427 w 2032205"/>
                  <a:gd name="connsiteY96" fmla="*/ 1072543 h 2504332"/>
                  <a:gd name="connsiteX97" fmla="*/ 1593712 w 2032205"/>
                  <a:gd name="connsiteY97" fmla="*/ 1081267 h 2504332"/>
                  <a:gd name="connsiteX98" fmla="*/ 1589270 w 2032205"/>
                  <a:gd name="connsiteY98" fmla="*/ 1099204 h 2504332"/>
                  <a:gd name="connsiteX99" fmla="*/ 1603147 w 2032205"/>
                  <a:gd name="connsiteY99" fmla="*/ 1125153 h 2504332"/>
                  <a:gd name="connsiteX100" fmla="*/ 1642918 w 2032205"/>
                  <a:gd name="connsiteY100" fmla="*/ 1136033 h 2504332"/>
                  <a:gd name="connsiteX101" fmla="*/ 1666918 w 2032205"/>
                  <a:gd name="connsiteY101" fmla="*/ 1173695 h 2504332"/>
                  <a:gd name="connsiteX102" fmla="*/ 1678902 w 2032205"/>
                  <a:gd name="connsiteY102" fmla="*/ 1211988 h 2504332"/>
                  <a:gd name="connsiteX103" fmla="*/ 1680348 w 2032205"/>
                  <a:gd name="connsiteY103" fmla="*/ 1256952 h 2504332"/>
                  <a:gd name="connsiteX104" fmla="*/ 1700216 w 2032205"/>
                  <a:gd name="connsiteY104" fmla="*/ 1293720 h 2504332"/>
                  <a:gd name="connsiteX105" fmla="*/ 1708343 w 2032205"/>
                  <a:gd name="connsiteY105" fmla="*/ 1331443 h 2504332"/>
                  <a:gd name="connsiteX106" fmla="*/ 1744430 w 2032205"/>
                  <a:gd name="connsiteY106" fmla="*/ 1338744 h 2504332"/>
                  <a:gd name="connsiteX107" fmla="*/ 1769876 w 2032205"/>
                  <a:gd name="connsiteY107" fmla="*/ 1361541 h 2504332"/>
                  <a:gd name="connsiteX108" fmla="*/ 1790502 w 2032205"/>
                  <a:gd name="connsiteY108" fmla="*/ 1363575 h 2504332"/>
                  <a:gd name="connsiteX109" fmla="*/ 1818428 w 2032205"/>
                  <a:gd name="connsiteY109" fmla="*/ 1364998 h 2504332"/>
                  <a:gd name="connsiteX110" fmla="*/ 1839399 w 2032205"/>
                  <a:gd name="connsiteY110" fmla="*/ 1374190 h 2504332"/>
                  <a:gd name="connsiteX111" fmla="*/ 1861139 w 2032205"/>
                  <a:gd name="connsiteY111" fmla="*/ 1376178 h 2504332"/>
                  <a:gd name="connsiteX112" fmla="*/ 1881586 w 2032205"/>
                  <a:gd name="connsiteY112" fmla="*/ 1372043 h 2504332"/>
                  <a:gd name="connsiteX113" fmla="*/ 1880799 w 2032205"/>
                  <a:gd name="connsiteY113" fmla="*/ 1372673 h 2504332"/>
                  <a:gd name="connsiteX114" fmla="*/ 1838220 w 2032205"/>
                  <a:gd name="connsiteY114" fmla="*/ 1374880 h 2504332"/>
                  <a:gd name="connsiteX115" fmla="*/ 1817253 w 2032205"/>
                  <a:gd name="connsiteY115" fmla="*/ 1365700 h 2504332"/>
                  <a:gd name="connsiteX116" fmla="*/ 1789283 w 2032205"/>
                  <a:gd name="connsiteY116" fmla="*/ 1364273 h 2504332"/>
                  <a:gd name="connsiteX117" fmla="*/ 1768637 w 2032205"/>
                  <a:gd name="connsiteY117" fmla="*/ 1362227 h 2504332"/>
                  <a:gd name="connsiteX118" fmla="*/ 1769160 w 2032205"/>
                  <a:gd name="connsiteY118" fmla="*/ 1364219 h 2504332"/>
                  <a:gd name="connsiteX119" fmla="*/ 1723442 w 2032205"/>
                  <a:gd name="connsiteY119" fmla="*/ 1374773 h 2504332"/>
                  <a:gd name="connsiteX120" fmla="*/ 1706741 w 2032205"/>
                  <a:gd name="connsiteY120" fmla="*/ 1382930 h 2504332"/>
                  <a:gd name="connsiteX121" fmla="*/ 1684118 w 2032205"/>
                  <a:gd name="connsiteY121" fmla="*/ 1382856 h 2504332"/>
                  <a:gd name="connsiteX122" fmla="*/ 1663086 w 2032205"/>
                  <a:gd name="connsiteY122" fmla="*/ 1384596 h 2504332"/>
                  <a:gd name="connsiteX123" fmla="*/ 1664077 w 2032205"/>
                  <a:gd name="connsiteY123" fmla="*/ 1383469 h 2504332"/>
                  <a:gd name="connsiteX124" fmla="*/ 1708707 w 2032205"/>
                  <a:gd name="connsiteY124" fmla="*/ 1381698 h 2504332"/>
                  <a:gd name="connsiteX125" fmla="*/ 1725435 w 2032205"/>
                  <a:gd name="connsiteY125" fmla="*/ 1373555 h 2504332"/>
                  <a:gd name="connsiteX126" fmla="*/ 1709018 w 2032205"/>
                  <a:gd name="connsiteY126" fmla="*/ 1360127 h 2504332"/>
                  <a:gd name="connsiteX127" fmla="*/ 1695480 w 2032205"/>
                  <a:gd name="connsiteY127" fmla="*/ 1327634 h 2504332"/>
                  <a:gd name="connsiteX128" fmla="*/ 1662525 w 2032205"/>
                  <a:gd name="connsiteY128" fmla="*/ 1329459 h 2504332"/>
                  <a:gd name="connsiteX129" fmla="*/ 1651350 w 2032205"/>
                  <a:gd name="connsiteY129" fmla="*/ 1300261 h 2504332"/>
                  <a:gd name="connsiteX130" fmla="*/ 1615998 w 2032205"/>
                  <a:gd name="connsiteY130" fmla="*/ 1292662 h 2504332"/>
                  <a:gd name="connsiteX131" fmla="*/ 1594700 w 2032205"/>
                  <a:gd name="connsiteY131" fmla="*/ 1260768 h 2504332"/>
                  <a:gd name="connsiteX132" fmla="*/ 1560158 w 2032205"/>
                  <a:gd name="connsiteY132" fmla="*/ 1253578 h 2504332"/>
                  <a:gd name="connsiteX133" fmla="*/ 1521443 w 2032205"/>
                  <a:gd name="connsiteY133" fmla="*/ 1237154 h 2504332"/>
                  <a:gd name="connsiteX134" fmla="*/ 1479468 w 2032205"/>
                  <a:gd name="connsiteY134" fmla="*/ 1202346 h 2504332"/>
                  <a:gd name="connsiteX135" fmla="*/ 1483141 w 2032205"/>
                  <a:gd name="connsiteY135" fmla="*/ 1132484 h 2504332"/>
                  <a:gd name="connsiteX136" fmla="*/ 1365926 w 2032205"/>
                  <a:gd name="connsiteY136" fmla="*/ 1132484 h 2504332"/>
                  <a:gd name="connsiteX137" fmla="*/ 1378722 w 2032205"/>
                  <a:gd name="connsiteY137" fmla="*/ 1190689 h 2504332"/>
                  <a:gd name="connsiteX138" fmla="*/ 1363443 w 2032205"/>
                  <a:gd name="connsiteY138" fmla="*/ 1234757 h 2504332"/>
                  <a:gd name="connsiteX139" fmla="*/ 1358097 w 2032205"/>
                  <a:gd name="connsiteY139" fmla="*/ 1311864 h 2504332"/>
                  <a:gd name="connsiteX140" fmla="*/ 1381826 w 2032205"/>
                  <a:gd name="connsiteY140" fmla="*/ 1336458 h 2504332"/>
                  <a:gd name="connsiteX141" fmla="*/ 1418024 w 2032205"/>
                  <a:gd name="connsiteY141" fmla="*/ 1370749 h 2504332"/>
                  <a:gd name="connsiteX142" fmla="*/ 1442615 w 2032205"/>
                  <a:gd name="connsiteY142" fmla="*/ 1443062 h 2504332"/>
                  <a:gd name="connsiteX143" fmla="*/ 1453135 w 2032205"/>
                  <a:gd name="connsiteY143" fmla="*/ 1518208 h 2504332"/>
                  <a:gd name="connsiteX144" fmla="*/ 1450031 w 2032205"/>
                  <a:gd name="connsiteY144" fmla="*/ 1592373 h 2504332"/>
                  <a:gd name="connsiteX145" fmla="*/ 1491953 w 2032205"/>
                  <a:gd name="connsiteY145" fmla="*/ 1666838 h 2504332"/>
                  <a:gd name="connsiteX146" fmla="*/ 1553915 w 2032205"/>
                  <a:gd name="connsiteY146" fmla="*/ 1718260 h 2504332"/>
                  <a:gd name="connsiteX147" fmla="*/ 1559365 w 2032205"/>
                  <a:gd name="connsiteY147" fmla="*/ 1720793 h 2504332"/>
                  <a:gd name="connsiteX148" fmla="*/ 1559420 w 2032205"/>
                  <a:gd name="connsiteY148" fmla="*/ 1720484 h 2504332"/>
                  <a:gd name="connsiteX149" fmla="*/ 1574846 w 2032205"/>
                  <a:gd name="connsiteY149" fmla="*/ 1733601 h 2504332"/>
                  <a:gd name="connsiteX150" fmla="*/ 1610549 w 2032205"/>
                  <a:gd name="connsiteY150" fmla="*/ 1790224 h 2504332"/>
                  <a:gd name="connsiteX151" fmla="*/ 1694716 w 2032205"/>
                  <a:gd name="connsiteY151" fmla="*/ 1856718 h 2504332"/>
                  <a:gd name="connsiteX152" fmla="*/ 1778084 w 2032205"/>
                  <a:gd name="connsiteY152" fmla="*/ 1880438 h 2504332"/>
                  <a:gd name="connsiteX153" fmla="*/ 1807580 w 2032205"/>
                  <a:gd name="connsiteY153" fmla="*/ 1861756 h 2504332"/>
                  <a:gd name="connsiteX154" fmla="*/ 1841720 w 2032205"/>
                  <a:gd name="connsiteY154" fmla="*/ 1871773 h 2504332"/>
                  <a:gd name="connsiteX155" fmla="*/ 1872754 w 2032205"/>
                  <a:gd name="connsiteY155" fmla="*/ 1852660 h 2504332"/>
                  <a:gd name="connsiteX156" fmla="*/ 1908787 w 2032205"/>
                  <a:gd name="connsiteY156" fmla="*/ 1868342 h 2504332"/>
                  <a:gd name="connsiteX157" fmla="*/ 1960737 w 2032205"/>
                  <a:gd name="connsiteY157" fmla="*/ 1935856 h 2504332"/>
                  <a:gd name="connsiteX158" fmla="*/ 1975293 w 2032205"/>
                  <a:gd name="connsiteY158" fmla="*/ 1963181 h 2504332"/>
                  <a:gd name="connsiteX159" fmla="*/ 1974985 w 2032205"/>
                  <a:gd name="connsiteY159" fmla="*/ 1963584 h 2504332"/>
                  <a:gd name="connsiteX160" fmla="*/ 2008956 w 2032205"/>
                  <a:gd name="connsiteY160" fmla="*/ 1992653 h 2504332"/>
                  <a:gd name="connsiteX161" fmla="*/ 2030606 w 2032205"/>
                  <a:gd name="connsiteY161" fmla="*/ 1985874 h 2504332"/>
                  <a:gd name="connsiteX162" fmla="*/ 1990297 w 2032205"/>
                  <a:gd name="connsiteY162" fmla="*/ 2023879 h 2504332"/>
                  <a:gd name="connsiteX163" fmla="*/ 1971638 w 2032205"/>
                  <a:gd name="connsiteY163" fmla="*/ 2120022 h 2504332"/>
                  <a:gd name="connsiteX164" fmla="*/ 1939234 w 2032205"/>
                  <a:gd name="connsiteY164" fmla="*/ 2192027 h 2504332"/>
                  <a:gd name="connsiteX165" fmla="*/ 1864598 w 2032205"/>
                  <a:gd name="connsiteY165" fmla="*/ 2171432 h 2504332"/>
                  <a:gd name="connsiteX166" fmla="*/ 1842877 w 2032205"/>
                  <a:gd name="connsiteY166" fmla="*/ 2242513 h 2504332"/>
                  <a:gd name="connsiteX167" fmla="*/ 1876990 w 2032205"/>
                  <a:gd name="connsiteY167" fmla="*/ 2258126 h 2504332"/>
                  <a:gd name="connsiteX168" fmla="*/ 1866521 w 2032205"/>
                  <a:gd name="connsiteY168" fmla="*/ 2292793 h 2504332"/>
                  <a:gd name="connsiteX169" fmla="*/ 1882830 w 2032205"/>
                  <a:gd name="connsiteY169" fmla="*/ 2368341 h 2504332"/>
                  <a:gd name="connsiteX170" fmla="*/ 1900954 w 2032205"/>
                  <a:gd name="connsiteY170" fmla="*/ 2421164 h 2504332"/>
                  <a:gd name="connsiteX171" fmla="*/ 1903787 w 2032205"/>
                  <a:gd name="connsiteY171" fmla="*/ 2449381 h 2504332"/>
                  <a:gd name="connsiteX172" fmla="*/ 1808845 w 2032205"/>
                  <a:gd name="connsiteY172" fmla="*/ 2473772 h 2504332"/>
                  <a:gd name="connsiteX173" fmla="*/ 1505445 w 2032205"/>
                  <a:gd name="connsiteY173" fmla="*/ 2504332 h 2504332"/>
                  <a:gd name="connsiteX174" fmla="*/ 0 w 2032205"/>
                  <a:gd name="connsiteY174" fmla="*/ 1000144 h 2504332"/>
                  <a:gd name="connsiteX175" fmla="*/ 343771 w 2032205"/>
                  <a:gd name="connsiteY175" fmla="*/ 43341 h 2504332"/>
                  <a:gd name="connsiteX176" fmla="*/ 369157 w 2032205"/>
                  <a:gd name="connsiteY176" fmla="*/ 15432 h 2504332"/>
                  <a:gd name="connsiteX177" fmla="*/ 383746 w 2032205"/>
                  <a:gd name="connsiteY177" fmla="*/ 23717 h 2504332"/>
                  <a:gd name="connsiteX178" fmla="*/ 404037 w 2032205"/>
                  <a:gd name="connsiteY178" fmla="*/ 32466 h 2504332"/>
                  <a:gd name="connsiteX179" fmla="*/ 441671 w 2032205"/>
                  <a:gd name="connsiteY179" fmla="*/ 71469 h 2504332"/>
                  <a:gd name="connsiteX180" fmla="*/ 469058 w 2032205"/>
                  <a:gd name="connsiteY180" fmla="*/ 103764 h 2504332"/>
                  <a:gd name="connsiteX181" fmla="*/ 537866 w 2032205"/>
                  <a:gd name="connsiteY181" fmla="*/ 75904 h 2504332"/>
                  <a:gd name="connsiteX182" fmla="*/ 586182 w 2032205"/>
                  <a:gd name="connsiteY182" fmla="*/ 78861 h 2504332"/>
                  <a:gd name="connsiteX183" fmla="*/ 615560 w 2032205"/>
                  <a:gd name="connsiteY183" fmla="*/ 51342 h 2504332"/>
                  <a:gd name="connsiteX184" fmla="*/ 652513 w 2032205"/>
                  <a:gd name="connsiteY184" fmla="*/ 33603 h 2504332"/>
                  <a:gd name="connsiteX185" fmla="*/ 710007 w 2032205"/>
                  <a:gd name="connsiteY185" fmla="*/ 46850 h 2504332"/>
                  <a:gd name="connsiteX186" fmla="*/ 753030 w 2032205"/>
                  <a:gd name="connsiteY186" fmla="*/ 48158 h 2504332"/>
                  <a:gd name="connsiteX187" fmla="*/ 819993 w 2032205"/>
                  <a:gd name="connsiteY187" fmla="*/ 48158 h 2504332"/>
                  <a:gd name="connsiteX188" fmla="*/ 819993 w 2032205"/>
                  <a:gd name="connsiteY188" fmla="*/ 17512 h 2504332"/>
                  <a:gd name="connsiteX189" fmla="*/ 863405 w 2032205"/>
                  <a:gd name="connsiteY189" fmla="*/ 17512 h 2504332"/>
                  <a:gd name="connsiteX190" fmla="*/ 863405 w 2032205"/>
                  <a:gd name="connsiteY190" fmla="*/ 0 h 2504332"/>
                  <a:gd name="connsiteX191" fmla="*/ 1016077 w 2032205"/>
                  <a:gd name="connsiteY191" fmla="*/ 1107386 h 2504332"/>
                  <a:gd name="connsiteX192" fmla="*/ 1050334 w 2032205"/>
                  <a:gd name="connsiteY192" fmla="*/ 1126263 h 2504332"/>
                  <a:gd name="connsiteX193" fmla="*/ 1016077 w 2032205"/>
                  <a:gd name="connsiteY193" fmla="*/ 1107386 h 2504332"/>
                  <a:gd name="connsiteX0" fmla="*/ 863405 w 2032205"/>
                  <a:gd name="connsiteY0" fmla="*/ 0 h 2504332"/>
                  <a:gd name="connsiteX1" fmla="*/ 1054144 w 2032205"/>
                  <a:gd name="connsiteY1" fmla="*/ 8756 h 2504332"/>
                  <a:gd name="connsiteX2" fmla="*/ 1080597 w 2032205"/>
                  <a:gd name="connsiteY2" fmla="*/ 3874 h 2504332"/>
                  <a:gd name="connsiteX3" fmla="*/ 1082399 w 2032205"/>
                  <a:gd name="connsiteY3" fmla="*/ 156 h 2504332"/>
                  <a:gd name="connsiteX4" fmla="*/ 1084093 w 2032205"/>
                  <a:gd name="connsiteY4" fmla="*/ 3144 h 2504332"/>
                  <a:gd name="connsiteX5" fmla="*/ 1071060 w 2032205"/>
                  <a:gd name="connsiteY5" fmla="*/ 9140 h 2504332"/>
                  <a:gd name="connsiteX6" fmla="*/ 1056343 w 2032205"/>
                  <a:gd name="connsiteY6" fmla="*/ 10637 h 2504332"/>
                  <a:gd name="connsiteX7" fmla="*/ 865595 w 2032205"/>
                  <a:gd name="connsiteY7" fmla="*/ 1877 h 2504332"/>
                  <a:gd name="connsiteX8" fmla="*/ 865595 w 2032205"/>
                  <a:gd name="connsiteY8" fmla="*/ 19397 h 2504332"/>
                  <a:gd name="connsiteX9" fmla="*/ 822165 w 2032205"/>
                  <a:gd name="connsiteY9" fmla="*/ 19397 h 2504332"/>
                  <a:gd name="connsiteX10" fmla="*/ 822165 w 2032205"/>
                  <a:gd name="connsiteY10" fmla="*/ 50056 h 2504332"/>
                  <a:gd name="connsiteX11" fmla="*/ 755203 w 2032205"/>
                  <a:gd name="connsiteY11" fmla="*/ 50056 h 2504332"/>
                  <a:gd name="connsiteX12" fmla="*/ 712155 w 2032205"/>
                  <a:gd name="connsiteY12" fmla="*/ 48732 h 2504332"/>
                  <a:gd name="connsiteX13" fmla="*/ 654663 w 2032205"/>
                  <a:gd name="connsiteY13" fmla="*/ 35456 h 2504332"/>
                  <a:gd name="connsiteX14" fmla="*/ 617691 w 2032205"/>
                  <a:gd name="connsiteY14" fmla="*/ 53247 h 2504332"/>
                  <a:gd name="connsiteX15" fmla="*/ 588323 w 2032205"/>
                  <a:gd name="connsiteY15" fmla="*/ 80715 h 2504332"/>
                  <a:gd name="connsiteX16" fmla="*/ 539966 w 2032205"/>
                  <a:gd name="connsiteY16" fmla="*/ 77795 h 2504332"/>
                  <a:gd name="connsiteX17" fmla="*/ 471186 w 2032205"/>
                  <a:gd name="connsiteY17" fmla="*/ 105670 h 2504332"/>
                  <a:gd name="connsiteX18" fmla="*/ 508876 w 2032205"/>
                  <a:gd name="connsiteY18" fmla="*/ 137721 h 2504332"/>
                  <a:gd name="connsiteX19" fmla="*/ 580000 w 2032205"/>
                  <a:gd name="connsiteY19" fmla="*/ 202910 h 2504332"/>
                  <a:gd name="connsiteX20" fmla="*/ 632614 w 2032205"/>
                  <a:gd name="connsiteY20" fmla="*/ 267963 h 2504332"/>
                  <a:gd name="connsiteX21" fmla="*/ 663129 w 2032205"/>
                  <a:gd name="connsiteY21" fmla="*/ 311218 h 2504332"/>
                  <a:gd name="connsiteX22" fmla="*/ 707372 w 2032205"/>
                  <a:gd name="connsiteY22" fmla="*/ 338007 h 2504332"/>
                  <a:gd name="connsiteX23" fmla="*/ 756972 w 2032205"/>
                  <a:gd name="connsiteY23" fmla="*/ 363709 h 2504332"/>
                  <a:gd name="connsiteX24" fmla="*/ 806668 w 2032205"/>
                  <a:gd name="connsiteY24" fmla="*/ 381160 h 2504332"/>
                  <a:gd name="connsiteX25" fmla="*/ 825274 w 2032205"/>
                  <a:gd name="connsiteY25" fmla="*/ 409205 h 2504332"/>
                  <a:gd name="connsiteX26" fmla="*/ 859425 w 2032205"/>
                  <a:gd name="connsiteY26" fmla="*/ 471745 h 2504332"/>
                  <a:gd name="connsiteX27" fmla="*/ 881092 w 2032205"/>
                  <a:gd name="connsiteY27" fmla="*/ 548376 h 2504332"/>
                  <a:gd name="connsiteX28" fmla="*/ 896350 w 2032205"/>
                  <a:gd name="connsiteY28" fmla="*/ 552145 h 2504332"/>
                  <a:gd name="connsiteX29" fmla="*/ 898407 w 2032205"/>
                  <a:gd name="connsiteY29" fmla="*/ 537987 h 2504332"/>
                  <a:gd name="connsiteX30" fmla="*/ 927966 w 2032205"/>
                  <a:gd name="connsiteY30" fmla="*/ 547663 h 2504332"/>
                  <a:gd name="connsiteX31" fmla="*/ 935140 w 2032205"/>
                  <a:gd name="connsiteY31" fmla="*/ 549272 h 2504332"/>
                  <a:gd name="connsiteX32" fmla="*/ 940261 w 2032205"/>
                  <a:gd name="connsiteY32" fmla="*/ 551981 h 2504332"/>
                  <a:gd name="connsiteX33" fmla="*/ 939654 w 2032205"/>
                  <a:gd name="connsiteY33" fmla="*/ 552339 h 2504332"/>
                  <a:gd name="connsiteX34" fmla="*/ 948064 w 2032205"/>
                  <a:gd name="connsiteY34" fmla="*/ 574327 h 2504332"/>
                  <a:gd name="connsiteX35" fmla="*/ 951157 w 2032205"/>
                  <a:gd name="connsiteY35" fmla="*/ 631410 h 2504332"/>
                  <a:gd name="connsiteX36" fmla="*/ 972786 w 2032205"/>
                  <a:gd name="connsiteY36" fmla="*/ 680787 h 2504332"/>
                  <a:gd name="connsiteX37" fmla="*/ 956715 w 2032205"/>
                  <a:gd name="connsiteY37" fmla="*/ 741146 h 2504332"/>
                  <a:gd name="connsiteX38" fmla="*/ 927425 w 2032205"/>
                  <a:gd name="connsiteY38" fmla="*/ 812303 h 2504332"/>
                  <a:gd name="connsiteX39" fmla="*/ 915415 w 2032205"/>
                  <a:gd name="connsiteY39" fmla="*/ 848528 h 2504332"/>
                  <a:gd name="connsiteX40" fmla="*/ 964811 w 2032205"/>
                  <a:gd name="connsiteY40" fmla="*/ 855911 h 2504332"/>
                  <a:gd name="connsiteX41" fmla="*/ 954202 w 2032205"/>
                  <a:gd name="connsiteY41" fmla="*/ 824001 h 2504332"/>
                  <a:gd name="connsiteX42" fmla="*/ 979021 w 2032205"/>
                  <a:gd name="connsiteY42" fmla="*/ 803558 h 2504332"/>
                  <a:gd name="connsiteX43" fmla="*/ 987069 w 2032205"/>
                  <a:gd name="connsiteY43" fmla="*/ 768787 h 2504332"/>
                  <a:gd name="connsiteX44" fmla="*/ 1002221 w 2032205"/>
                  <a:gd name="connsiteY44" fmla="*/ 796244 h 2504332"/>
                  <a:gd name="connsiteX45" fmla="*/ 1022376 w 2032205"/>
                  <a:gd name="connsiteY45" fmla="*/ 813780 h 2504332"/>
                  <a:gd name="connsiteX46" fmla="*/ 1060438 w 2032205"/>
                  <a:gd name="connsiteY46" fmla="*/ 819986 h 2504332"/>
                  <a:gd name="connsiteX47" fmla="*/ 1111913 w 2032205"/>
                  <a:gd name="connsiteY47" fmla="*/ 864863 h 2504332"/>
                  <a:gd name="connsiteX48" fmla="*/ 1164935 w 2032205"/>
                  <a:gd name="connsiteY48" fmla="*/ 920377 h 2504332"/>
                  <a:gd name="connsiteX49" fmla="*/ 1200580 w 2032205"/>
                  <a:gd name="connsiteY49" fmla="*/ 943796 h 2504332"/>
                  <a:gd name="connsiteX50" fmla="*/ 1222210 w 2032205"/>
                  <a:gd name="connsiteY50" fmla="*/ 926168 h 2504332"/>
                  <a:gd name="connsiteX51" fmla="*/ 1246690 w 2032205"/>
                  <a:gd name="connsiteY51" fmla="*/ 946634 h 2504332"/>
                  <a:gd name="connsiteX52" fmla="*/ 1281176 w 2032205"/>
                  <a:gd name="connsiteY52" fmla="*/ 967492 h 2504332"/>
                  <a:gd name="connsiteX53" fmla="*/ 1314840 w 2032205"/>
                  <a:gd name="connsiteY53" fmla="*/ 987889 h 2504332"/>
                  <a:gd name="connsiteX54" fmla="*/ 1344372 w 2032205"/>
                  <a:gd name="connsiteY54" fmla="*/ 1015069 h 2504332"/>
                  <a:gd name="connsiteX55" fmla="*/ 1394372 w 2032205"/>
                  <a:gd name="connsiteY55" fmla="*/ 1003648 h 2504332"/>
                  <a:gd name="connsiteX56" fmla="*/ 1372792 w 2032205"/>
                  <a:gd name="connsiteY56" fmla="*/ 951272 h 2504332"/>
                  <a:gd name="connsiteX57" fmla="*/ 1417258 w 2032205"/>
                  <a:gd name="connsiteY57" fmla="*/ 965439 h 2504332"/>
                  <a:gd name="connsiteX58" fmla="*/ 1376054 w 2032205"/>
                  <a:gd name="connsiteY58" fmla="*/ 905449 h 2504332"/>
                  <a:gd name="connsiteX59" fmla="*/ 1383449 w 2032205"/>
                  <a:gd name="connsiteY59" fmla="*/ 867817 h 2504332"/>
                  <a:gd name="connsiteX60" fmla="*/ 1408268 w 2032205"/>
                  <a:gd name="connsiteY60" fmla="*/ 847259 h 2504332"/>
                  <a:gd name="connsiteX61" fmla="*/ 1370617 w 2032205"/>
                  <a:gd name="connsiteY61" fmla="*/ 822617 h 2504332"/>
                  <a:gd name="connsiteX62" fmla="*/ 1381516 w 2032205"/>
                  <a:gd name="connsiteY62" fmla="*/ 792991 h 2504332"/>
                  <a:gd name="connsiteX63" fmla="*/ 1382917 w 2032205"/>
                  <a:gd name="connsiteY63" fmla="*/ 730601 h 2504332"/>
                  <a:gd name="connsiteX64" fmla="*/ 1367789 w 2032205"/>
                  <a:gd name="connsiteY64" fmla="*/ 717380 h 2504332"/>
                  <a:gd name="connsiteX65" fmla="*/ 1351144 w 2032205"/>
                  <a:gd name="connsiteY65" fmla="*/ 695934 h 2504332"/>
                  <a:gd name="connsiteX66" fmla="*/ 1331902 w 2032205"/>
                  <a:gd name="connsiteY66" fmla="*/ 677784 h 2504332"/>
                  <a:gd name="connsiteX67" fmla="*/ 1334763 w 2032205"/>
                  <a:gd name="connsiteY67" fmla="*/ 678924 h 2504332"/>
                  <a:gd name="connsiteX68" fmla="*/ 1371019 w 2032205"/>
                  <a:gd name="connsiteY68" fmla="*/ 718852 h 2504332"/>
                  <a:gd name="connsiteX69" fmla="*/ 1386133 w 2032205"/>
                  <a:gd name="connsiteY69" fmla="*/ 732059 h 2504332"/>
                  <a:gd name="connsiteX70" fmla="*/ 1398999 w 2032205"/>
                  <a:gd name="connsiteY70" fmla="*/ 727611 h 2504332"/>
                  <a:gd name="connsiteX71" fmla="*/ 1436020 w 2032205"/>
                  <a:gd name="connsiteY71" fmla="*/ 727272 h 2504332"/>
                  <a:gd name="connsiteX72" fmla="*/ 1452952 w 2032205"/>
                  <a:gd name="connsiteY72" fmla="*/ 694032 h 2504332"/>
                  <a:gd name="connsiteX73" fmla="*/ 1458970 w 2032205"/>
                  <a:gd name="connsiteY73" fmla="*/ 690231 h 2504332"/>
                  <a:gd name="connsiteX74" fmla="*/ 1459014 w 2032205"/>
                  <a:gd name="connsiteY74" fmla="*/ 690499 h 2504332"/>
                  <a:gd name="connsiteX75" fmla="*/ 1466087 w 2032205"/>
                  <a:gd name="connsiteY75" fmla="*/ 692455 h 2504332"/>
                  <a:gd name="connsiteX76" fmla="*/ 1473424 w 2032205"/>
                  <a:gd name="connsiteY76" fmla="*/ 710468 h 2504332"/>
                  <a:gd name="connsiteX77" fmla="*/ 1513431 w 2032205"/>
                  <a:gd name="connsiteY77" fmla="*/ 716245 h 2504332"/>
                  <a:gd name="connsiteX78" fmla="*/ 1547944 w 2032205"/>
                  <a:gd name="connsiteY78" fmla="*/ 748383 h 2504332"/>
                  <a:gd name="connsiteX79" fmla="*/ 1576962 w 2032205"/>
                  <a:gd name="connsiteY79" fmla="*/ 774994 h 2504332"/>
                  <a:gd name="connsiteX80" fmla="*/ 1583768 w 2032205"/>
                  <a:gd name="connsiteY80" fmla="*/ 785019 h 2504332"/>
                  <a:gd name="connsiteX81" fmla="*/ 1581731 w 2032205"/>
                  <a:gd name="connsiteY81" fmla="*/ 784858 h 2504332"/>
                  <a:gd name="connsiteX82" fmla="*/ 1571605 w 2032205"/>
                  <a:gd name="connsiteY82" fmla="*/ 803041 h 2504332"/>
                  <a:gd name="connsiteX83" fmla="*/ 1539155 w 2032205"/>
                  <a:gd name="connsiteY83" fmla="*/ 823437 h 2504332"/>
                  <a:gd name="connsiteX84" fmla="*/ 1499535 w 2032205"/>
                  <a:gd name="connsiteY84" fmla="*/ 832839 h 2504332"/>
                  <a:gd name="connsiteX85" fmla="*/ 1472924 w 2032205"/>
                  <a:gd name="connsiteY85" fmla="*/ 864619 h 2504332"/>
                  <a:gd name="connsiteX86" fmla="*/ 1457328 w 2032205"/>
                  <a:gd name="connsiteY86" fmla="*/ 877498 h 2504332"/>
                  <a:gd name="connsiteX87" fmla="*/ 1434413 w 2032205"/>
                  <a:gd name="connsiteY87" fmla="*/ 879576 h 2504332"/>
                  <a:gd name="connsiteX88" fmla="*/ 1455332 w 2032205"/>
                  <a:gd name="connsiteY88" fmla="*/ 911375 h 2504332"/>
                  <a:gd name="connsiteX89" fmla="*/ 1480575 w 2032205"/>
                  <a:gd name="connsiteY89" fmla="*/ 939231 h 2504332"/>
                  <a:gd name="connsiteX90" fmla="*/ 1519012 w 2032205"/>
                  <a:gd name="connsiteY90" fmla="*/ 943893 h 2504332"/>
                  <a:gd name="connsiteX91" fmla="*/ 1522782 w 2032205"/>
                  <a:gd name="connsiteY91" fmla="*/ 947759 h 2504332"/>
                  <a:gd name="connsiteX92" fmla="*/ 1524307 w 2032205"/>
                  <a:gd name="connsiteY92" fmla="*/ 947313 h 2504332"/>
                  <a:gd name="connsiteX93" fmla="*/ 1531826 w 2032205"/>
                  <a:gd name="connsiteY93" fmla="*/ 963870 h 2504332"/>
                  <a:gd name="connsiteX94" fmla="*/ 1528872 w 2032205"/>
                  <a:gd name="connsiteY94" fmla="*/ 1022130 h 2504332"/>
                  <a:gd name="connsiteX95" fmla="*/ 1530043 w 2032205"/>
                  <a:gd name="connsiteY95" fmla="*/ 1053834 h 2504332"/>
                  <a:gd name="connsiteX96" fmla="*/ 1575427 w 2032205"/>
                  <a:gd name="connsiteY96" fmla="*/ 1072543 h 2504332"/>
                  <a:gd name="connsiteX97" fmla="*/ 1593712 w 2032205"/>
                  <a:gd name="connsiteY97" fmla="*/ 1081267 h 2504332"/>
                  <a:gd name="connsiteX98" fmla="*/ 1589270 w 2032205"/>
                  <a:gd name="connsiteY98" fmla="*/ 1099204 h 2504332"/>
                  <a:gd name="connsiteX99" fmla="*/ 1603147 w 2032205"/>
                  <a:gd name="connsiteY99" fmla="*/ 1125153 h 2504332"/>
                  <a:gd name="connsiteX100" fmla="*/ 1642918 w 2032205"/>
                  <a:gd name="connsiteY100" fmla="*/ 1136033 h 2504332"/>
                  <a:gd name="connsiteX101" fmla="*/ 1666918 w 2032205"/>
                  <a:gd name="connsiteY101" fmla="*/ 1173695 h 2504332"/>
                  <a:gd name="connsiteX102" fmla="*/ 1678902 w 2032205"/>
                  <a:gd name="connsiteY102" fmla="*/ 1211988 h 2504332"/>
                  <a:gd name="connsiteX103" fmla="*/ 1680348 w 2032205"/>
                  <a:gd name="connsiteY103" fmla="*/ 1256952 h 2504332"/>
                  <a:gd name="connsiteX104" fmla="*/ 1700216 w 2032205"/>
                  <a:gd name="connsiteY104" fmla="*/ 1293720 h 2504332"/>
                  <a:gd name="connsiteX105" fmla="*/ 1708343 w 2032205"/>
                  <a:gd name="connsiteY105" fmla="*/ 1331443 h 2504332"/>
                  <a:gd name="connsiteX106" fmla="*/ 1744430 w 2032205"/>
                  <a:gd name="connsiteY106" fmla="*/ 1338744 h 2504332"/>
                  <a:gd name="connsiteX107" fmla="*/ 1769876 w 2032205"/>
                  <a:gd name="connsiteY107" fmla="*/ 1361541 h 2504332"/>
                  <a:gd name="connsiteX108" fmla="*/ 1790502 w 2032205"/>
                  <a:gd name="connsiteY108" fmla="*/ 1363575 h 2504332"/>
                  <a:gd name="connsiteX109" fmla="*/ 1818428 w 2032205"/>
                  <a:gd name="connsiteY109" fmla="*/ 1364998 h 2504332"/>
                  <a:gd name="connsiteX110" fmla="*/ 1839399 w 2032205"/>
                  <a:gd name="connsiteY110" fmla="*/ 1374190 h 2504332"/>
                  <a:gd name="connsiteX111" fmla="*/ 1861139 w 2032205"/>
                  <a:gd name="connsiteY111" fmla="*/ 1376178 h 2504332"/>
                  <a:gd name="connsiteX112" fmla="*/ 1881586 w 2032205"/>
                  <a:gd name="connsiteY112" fmla="*/ 1372043 h 2504332"/>
                  <a:gd name="connsiteX113" fmla="*/ 1880799 w 2032205"/>
                  <a:gd name="connsiteY113" fmla="*/ 1372673 h 2504332"/>
                  <a:gd name="connsiteX114" fmla="*/ 1838220 w 2032205"/>
                  <a:gd name="connsiteY114" fmla="*/ 1374880 h 2504332"/>
                  <a:gd name="connsiteX115" fmla="*/ 1817253 w 2032205"/>
                  <a:gd name="connsiteY115" fmla="*/ 1365700 h 2504332"/>
                  <a:gd name="connsiteX116" fmla="*/ 1789283 w 2032205"/>
                  <a:gd name="connsiteY116" fmla="*/ 1364273 h 2504332"/>
                  <a:gd name="connsiteX117" fmla="*/ 1768637 w 2032205"/>
                  <a:gd name="connsiteY117" fmla="*/ 1362227 h 2504332"/>
                  <a:gd name="connsiteX118" fmla="*/ 1769160 w 2032205"/>
                  <a:gd name="connsiteY118" fmla="*/ 1364219 h 2504332"/>
                  <a:gd name="connsiteX119" fmla="*/ 1723442 w 2032205"/>
                  <a:gd name="connsiteY119" fmla="*/ 1374773 h 2504332"/>
                  <a:gd name="connsiteX120" fmla="*/ 1706741 w 2032205"/>
                  <a:gd name="connsiteY120" fmla="*/ 1382930 h 2504332"/>
                  <a:gd name="connsiteX121" fmla="*/ 1684118 w 2032205"/>
                  <a:gd name="connsiteY121" fmla="*/ 1382856 h 2504332"/>
                  <a:gd name="connsiteX122" fmla="*/ 1663086 w 2032205"/>
                  <a:gd name="connsiteY122" fmla="*/ 1384596 h 2504332"/>
                  <a:gd name="connsiteX123" fmla="*/ 1664077 w 2032205"/>
                  <a:gd name="connsiteY123" fmla="*/ 1383469 h 2504332"/>
                  <a:gd name="connsiteX124" fmla="*/ 1708707 w 2032205"/>
                  <a:gd name="connsiteY124" fmla="*/ 1381698 h 2504332"/>
                  <a:gd name="connsiteX125" fmla="*/ 1725435 w 2032205"/>
                  <a:gd name="connsiteY125" fmla="*/ 1373555 h 2504332"/>
                  <a:gd name="connsiteX126" fmla="*/ 1709018 w 2032205"/>
                  <a:gd name="connsiteY126" fmla="*/ 1360127 h 2504332"/>
                  <a:gd name="connsiteX127" fmla="*/ 1695480 w 2032205"/>
                  <a:gd name="connsiteY127" fmla="*/ 1327634 h 2504332"/>
                  <a:gd name="connsiteX128" fmla="*/ 1662525 w 2032205"/>
                  <a:gd name="connsiteY128" fmla="*/ 1329459 h 2504332"/>
                  <a:gd name="connsiteX129" fmla="*/ 1651350 w 2032205"/>
                  <a:gd name="connsiteY129" fmla="*/ 1300261 h 2504332"/>
                  <a:gd name="connsiteX130" fmla="*/ 1615998 w 2032205"/>
                  <a:gd name="connsiteY130" fmla="*/ 1292662 h 2504332"/>
                  <a:gd name="connsiteX131" fmla="*/ 1594700 w 2032205"/>
                  <a:gd name="connsiteY131" fmla="*/ 1260768 h 2504332"/>
                  <a:gd name="connsiteX132" fmla="*/ 1560158 w 2032205"/>
                  <a:gd name="connsiteY132" fmla="*/ 1253578 h 2504332"/>
                  <a:gd name="connsiteX133" fmla="*/ 1521443 w 2032205"/>
                  <a:gd name="connsiteY133" fmla="*/ 1237154 h 2504332"/>
                  <a:gd name="connsiteX134" fmla="*/ 1479468 w 2032205"/>
                  <a:gd name="connsiteY134" fmla="*/ 1202346 h 2504332"/>
                  <a:gd name="connsiteX135" fmla="*/ 1483141 w 2032205"/>
                  <a:gd name="connsiteY135" fmla="*/ 1132484 h 2504332"/>
                  <a:gd name="connsiteX136" fmla="*/ 1365926 w 2032205"/>
                  <a:gd name="connsiteY136" fmla="*/ 1132484 h 2504332"/>
                  <a:gd name="connsiteX137" fmla="*/ 1378722 w 2032205"/>
                  <a:gd name="connsiteY137" fmla="*/ 1190689 h 2504332"/>
                  <a:gd name="connsiteX138" fmla="*/ 1363443 w 2032205"/>
                  <a:gd name="connsiteY138" fmla="*/ 1234757 h 2504332"/>
                  <a:gd name="connsiteX139" fmla="*/ 1358097 w 2032205"/>
                  <a:gd name="connsiteY139" fmla="*/ 1311864 h 2504332"/>
                  <a:gd name="connsiteX140" fmla="*/ 1381826 w 2032205"/>
                  <a:gd name="connsiteY140" fmla="*/ 1336458 h 2504332"/>
                  <a:gd name="connsiteX141" fmla="*/ 1418024 w 2032205"/>
                  <a:gd name="connsiteY141" fmla="*/ 1370749 h 2504332"/>
                  <a:gd name="connsiteX142" fmla="*/ 1442615 w 2032205"/>
                  <a:gd name="connsiteY142" fmla="*/ 1443062 h 2504332"/>
                  <a:gd name="connsiteX143" fmla="*/ 1453135 w 2032205"/>
                  <a:gd name="connsiteY143" fmla="*/ 1518208 h 2504332"/>
                  <a:gd name="connsiteX144" fmla="*/ 1450031 w 2032205"/>
                  <a:gd name="connsiteY144" fmla="*/ 1592373 h 2504332"/>
                  <a:gd name="connsiteX145" fmla="*/ 1491953 w 2032205"/>
                  <a:gd name="connsiteY145" fmla="*/ 1666838 h 2504332"/>
                  <a:gd name="connsiteX146" fmla="*/ 1553915 w 2032205"/>
                  <a:gd name="connsiteY146" fmla="*/ 1718260 h 2504332"/>
                  <a:gd name="connsiteX147" fmla="*/ 1559365 w 2032205"/>
                  <a:gd name="connsiteY147" fmla="*/ 1720793 h 2504332"/>
                  <a:gd name="connsiteX148" fmla="*/ 1559420 w 2032205"/>
                  <a:gd name="connsiteY148" fmla="*/ 1720484 h 2504332"/>
                  <a:gd name="connsiteX149" fmla="*/ 1574846 w 2032205"/>
                  <a:gd name="connsiteY149" fmla="*/ 1733601 h 2504332"/>
                  <a:gd name="connsiteX150" fmla="*/ 1610549 w 2032205"/>
                  <a:gd name="connsiteY150" fmla="*/ 1790224 h 2504332"/>
                  <a:gd name="connsiteX151" fmla="*/ 1694716 w 2032205"/>
                  <a:gd name="connsiteY151" fmla="*/ 1856718 h 2504332"/>
                  <a:gd name="connsiteX152" fmla="*/ 1778084 w 2032205"/>
                  <a:gd name="connsiteY152" fmla="*/ 1880438 h 2504332"/>
                  <a:gd name="connsiteX153" fmla="*/ 1807580 w 2032205"/>
                  <a:gd name="connsiteY153" fmla="*/ 1861756 h 2504332"/>
                  <a:gd name="connsiteX154" fmla="*/ 1841720 w 2032205"/>
                  <a:gd name="connsiteY154" fmla="*/ 1871773 h 2504332"/>
                  <a:gd name="connsiteX155" fmla="*/ 1872754 w 2032205"/>
                  <a:gd name="connsiteY155" fmla="*/ 1852660 h 2504332"/>
                  <a:gd name="connsiteX156" fmla="*/ 1908787 w 2032205"/>
                  <a:gd name="connsiteY156" fmla="*/ 1868342 h 2504332"/>
                  <a:gd name="connsiteX157" fmla="*/ 1960737 w 2032205"/>
                  <a:gd name="connsiteY157" fmla="*/ 1935856 h 2504332"/>
                  <a:gd name="connsiteX158" fmla="*/ 1975293 w 2032205"/>
                  <a:gd name="connsiteY158" fmla="*/ 1963181 h 2504332"/>
                  <a:gd name="connsiteX159" fmla="*/ 1974985 w 2032205"/>
                  <a:gd name="connsiteY159" fmla="*/ 1963584 h 2504332"/>
                  <a:gd name="connsiteX160" fmla="*/ 2008956 w 2032205"/>
                  <a:gd name="connsiteY160" fmla="*/ 1992653 h 2504332"/>
                  <a:gd name="connsiteX161" fmla="*/ 2030606 w 2032205"/>
                  <a:gd name="connsiteY161" fmla="*/ 1985874 h 2504332"/>
                  <a:gd name="connsiteX162" fmla="*/ 1990297 w 2032205"/>
                  <a:gd name="connsiteY162" fmla="*/ 2023879 h 2504332"/>
                  <a:gd name="connsiteX163" fmla="*/ 1971638 w 2032205"/>
                  <a:gd name="connsiteY163" fmla="*/ 2120022 h 2504332"/>
                  <a:gd name="connsiteX164" fmla="*/ 1939234 w 2032205"/>
                  <a:gd name="connsiteY164" fmla="*/ 2192027 h 2504332"/>
                  <a:gd name="connsiteX165" fmla="*/ 1864598 w 2032205"/>
                  <a:gd name="connsiteY165" fmla="*/ 2171432 h 2504332"/>
                  <a:gd name="connsiteX166" fmla="*/ 1842877 w 2032205"/>
                  <a:gd name="connsiteY166" fmla="*/ 2242513 h 2504332"/>
                  <a:gd name="connsiteX167" fmla="*/ 1876990 w 2032205"/>
                  <a:gd name="connsiteY167" fmla="*/ 2258126 h 2504332"/>
                  <a:gd name="connsiteX168" fmla="*/ 1866521 w 2032205"/>
                  <a:gd name="connsiteY168" fmla="*/ 2292793 h 2504332"/>
                  <a:gd name="connsiteX169" fmla="*/ 1882830 w 2032205"/>
                  <a:gd name="connsiteY169" fmla="*/ 2368341 h 2504332"/>
                  <a:gd name="connsiteX170" fmla="*/ 1900954 w 2032205"/>
                  <a:gd name="connsiteY170" fmla="*/ 2421164 h 2504332"/>
                  <a:gd name="connsiteX171" fmla="*/ 1903787 w 2032205"/>
                  <a:gd name="connsiteY171" fmla="*/ 2449381 h 2504332"/>
                  <a:gd name="connsiteX172" fmla="*/ 1808845 w 2032205"/>
                  <a:gd name="connsiteY172" fmla="*/ 2473772 h 2504332"/>
                  <a:gd name="connsiteX173" fmla="*/ 1505445 w 2032205"/>
                  <a:gd name="connsiteY173" fmla="*/ 2504332 h 2504332"/>
                  <a:gd name="connsiteX174" fmla="*/ 0 w 2032205"/>
                  <a:gd name="connsiteY174" fmla="*/ 1000144 h 2504332"/>
                  <a:gd name="connsiteX175" fmla="*/ 343771 w 2032205"/>
                  <a:gd name="connsiteY175" fmla="*/ 43341 h 2504332"/>
                  <a:gd name="connsiteX176" fmla="*/ 369157 w 2032205"/>
                  <a:gd name="connsiteY176" fmla="*/ 15432 h 2504332"/>
                  <a:gd name="connsiteX177" fmla="*/ 383746 w 2032205"/>
                  <a:gd name="connsiteY177" fmla="*/ 23717 h 2504332"/>
                  <a:gd name="connsiteX178" fmla="*/ 404037 w 2032205"/>
                  <a:gd name="connsiteY178" fmla="*/ 32466 h 2504332"/>
                  <a:gd name="connsiteX179" fmla="*/ 441671 w 2032205"/>
                  <a:gd name="connsiteY179" fmla="*/ 71469 h 2504332"/>
                  <a:gd name="connsiteX180" fmla="*/ 469058 w 2032205"/>
                  <a:gd name="connsiteY180" fmla="*/ 103764 h 2504332"/>
                  <a:gd name="connsiteX181" fmla="*/ 537866 w 2032205"/>
                  <a:gd name="connsiteY181" fmla="*/ 75904 h 2504332"/>
                  <a:gd name="connsiteX182" fmla="*/ 586182 w 2032205"/>
                  <a:gd name="connsiteY182" fmla="*/ 78861 h 2504332"/>
                  <a:gd name="connsiteX183" fmla="*/ 615560 w 2032205"/>
                  <a:gd name="connsiteY183" fmla="*/ 51342 h 2504332"/>
                  <a:gd name="connsiteX184" fmla="*/ 652513 w 2032205"/>
                  <a:gd name="connsiteY184" fmla="*/ 33603 h 2504332"/>
                  <a:gd name="connsiteX185" fmla="*/ 710007 w 2032205"/>
                  <a:gd name="connsiteY185" fmla="*/ 46850 h 2504332"/>
                  <a:gd name="connsiteX186" fmla="*/ 753030 w 2032205"/>
                  <a:gd name="connsiteY186" fmla="*/ 48158 h 2504332"/>
                  <a:gd name="connsiteX187" fmla="*/ 819993 w 2032205"/>
                  <a:gd name="connsiteY187" fmla="*/ 48158 h 2504332"/>
                  <a:gd name="connsiteX188" fmla="*/ 819993 w 2032205"/>
                  <a:gd name="connsiteY188" fmla="*/ 17512 h 2504332"/>
                  <a:gd name="connsiteX189" fmla="*/ 863405 w 2032205"/>
                  <a:gd name="connsiteY189" fmla="*/ 17512 h 2504332"/>
                  <a:gd name="connsiteX190" fmla="*/ 863405 w 2032205"/>
                  <a:gd name="connsiteY190" fmla="*/ 0 h 2504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2032205" h="2504332">
                    <a:moveTo>
                      <a:pt x="863405" y="0"/>
                    </a:moveTo>
                    <a:lnTo>
                      <a:pt x="1054144" y="8756"/>
                    </a:lnTo>
                    <a:cubicBezTo>
                      <a:pt x="1063298" y="8756"/>
                      <a:pt x="1075061" y="6866"/>
                      <a:pt x="1080597" y="3874"/>
                    </a:cubicBezTo>
                    <a:lnTo>
                      <a:pt x="1082399" y="156"/>
                    </a:lnTo>
                    <a:lnTo>
                      <a:pt x="1084093" y="3144"/>
                    </a:lnTo>
                    <a:lnTo>
                      <a:pt x="1071060" y="9140"/>
                    </a:lnTo>
                    <a:lnTo>
                      <a:pt x="1056343" y="10637"/>
                    </a:lnTo>
                    <a:lnTo>
                      <a:pt x="865595" y="1877"/>
                    </a:lnTo>
                    <a:lnTo>
                      <a:pt x="865595" y="19397"/>
                    </a:lnTo>
                    <a:lnTo>
                      <a:pt x="822165" y="19397"/>
                    </a:lnTo>
                    <a:lnTo>
                      <a:pt x="822165" y="50056"/>
                    </a:lnTo>
                    <a:lnTo>
                      <a:pt x="755203" y="50056"/>
                    </a:lnTo>
                    <a:cubicBezTo>
                      <a:pt x="741045" y="50056"/>
                      <a:pt x="726074" y="51346"/>
                      <a:pt x="712155" y="48732"/>
                    </a:cubicBezTo>
                    <a:cubicBezTo>
                      <a:pt x="693023" y="45133"/>
                      <a:pt x="674704" y="34539"/>
                      <a:pt x="654663" y="35456"/>
                    </a:cubicBezTo>
                    <a:cubicBezTo>
                      <a:pt x="638401" y="36203"/>
                      <a:pt x="630366" y="45913"/>
                      <a:pt x="617691" y="53247"/>
                    </a:cubicBezTo>
                    <a:cubicBezTo>
                      <a:pt x="616590" y="72940"/>
                      <a:pt x="609655" y="80817"/>
                      <a:pt x="588323" y="80715"/>
                    </a:cubicBezTo>
                    <a:cubicBezTo>
                      <a:pt x="572252" y="80681"/>
                      <a:pt x="556802" y="77795"/>
                      <a:pt x="539966" y="77795"/>
                    </a:cubicBezTo>
                    <a:cubicBezTo>
                      <a:pt x="507107" y="77795"/>
                      <a:pt x="490031" y="90255"/>
                      <a:pt x="471186" y="105670"/>
                    </a:cubicBezTo>
                    <a:cubicBezTo>
                      <a:pt x="482187" y="117010"/>
                      <a:pt x="494145" y="127365"/>
                      <a:pt x="508876" y="137721"/>
                    </a:cubicBezTo>
                    <a:cubicBezTo>
                      <a:pt x="535327" y="156259"/>
                      <a:pt x="559337" y="178498"/>
                      <a:pt x="580000" y="202910"/>
                    </a:cubicBezTo>
                    <a:cubicBezTo>
                      <a:pt x="598128" y="224334"/>
                      <a:pt x="618169" y="244060"/>
                      <a:pt x="632614" y="267963"/>
                    </a:cubicBezTo>
                    <a:cubicBezTo>
                      <a:pt x="641462" y="282664"/>
                      <a:pt x="648780" y="300319"/>
                      <a:pt x="663129" y="311218"/>
                    </a:cubicBezTo>
                    <a:cubicBezTo>
                      <a:pt x="676283" y="321200"/>
                      <a:pt x="693071" y="328907"/>
                      <a:pt x="707372" y="338007"/>
                    </a:cubicBezTo>
                    <a:cubicBezTo>
                      <a:pt x="723013" y="348023"/>
                      <a:pt x="740136" y="356103"/>
                      <a:pt x="756972" y="363709"/>
                    </a:cubicBezTo>
                    <a:cubicBezTo>
                      <a:pt x="773091" y="370975"/>
                      <a:pt x="790549" y="375083"/>
                      <a:pt x="806668" y="381160"/>
                    </a:cubicBezTo>
                    <a:cubicBezTo>
                      <a:pt x="822883" y="387306"/>
                      <a:pt x="823026" y="393791"/>
                      <a:pt x="825274" y="409205"/>
                    </a:cubicBezTo>
                    <a:cubicBezTo>
                      <a:pt x="828909" y="434364"/>
                      <a:pt x="849142" y="448081"/>
                      <a:pt x="859425" y="471745"/>
                    </a:cubicBezTo>
                    <a:cubicBezTo>
                      <a:pt x="867987" y="491438"/>
                      <a:pt x="862104" y="533709"/>
                      <a:pt x="881092" y="548376"/>
                    </a:cubicBezTo>
                    <a:cubicBezTo>
                      <a:pt x="885780" y="551975"/>
                      <a:pt x="889463" y="554012"/>
                      <a:pt x="896350" y="552145"/>
                    </a:cubicBezTo>
                    <a:cubicBezTo>
                      <a:pt x="898120" y="547731"/>
                      <a:pt x="898789" y="542944"/>
                      <a:pt x="898407" y="537987"/>
                    </a:cubicBezTo>
                    <a:cubicBezTo>
                      <a:pt x="909647" y="535882"/>
                      <a:pt x="918974" y="543555"/>
                      <a:pt x="927966" y="547663"/>
                    </a:cubicBezTo>
                    <a:cubicBezTo>
                      <a:pt x="931243" y="549157"/>
                      <a:pt x="933251" y="549064"/>
                      <a:pt x="935140" y="549272"/>
                    </a:cubicBezTo>
                    <a:lnTo>
                      <a:pt x="940261" y="551981"/>
                    </a:lnTo>
                    <a:lnTo>
                      <a:pt x="939654" y="552339"/>
                    </a:lnTo>
                    <a:cubicBezTo>
                      <a:pt x="943255" y="557138"/>
                      <a:pt x="946855" y="569367"/>
                      <a:pt x="948064" y="574327"/>
                    </a:cubicBezTo>
                    <a:cubicBezTo>
                      <a:pt x="952849" y="593824"/>
                      <a:pt x="944028" y="612006"/>
                      <a:pt x="951157" y="631410"/>
                    </a:cubicBezTo>
                    <a:cubicBezTo>
                      <a:pt x="957344" y="648254"/>
                      <a:pt x="972810" y="662190"/>
                      <a:pt x="972786" y="680787"/>
                    </a:cubicBezTo>
                    <a:cubicBezTo>
                      <a:pt x="972762" y="701691"/>
                      <a:pt x="960413" y="720749"/>
                      <a:pt x="956715" y="741146"/>
                    </a:cubicBezTo>
                    <a:cubicBezTo>
                      <a:pt x="952124" y="766480"/>
                      <a:pt x="940741" y="790061"/>
                      <a:pt x="927425" y="812303"/>
                    </a:cubicBezTo>
                    <a:cubicBezTo>
                      <a:pt x="922060" y="821255"/>
                      <a:pt x="908044" y="838191"/>
                      <a:pt x="915415" y="848528"/>
                    </a:cubicBezTo>
                    <a:cubicBezTo>
                      <a:pt x="921505" y="857088"/>
                      <a:pt x="954879" y="857088"/>
                      <a:pt x="964811" y="855911"/>
                    </a:cubicBezTo>
                    <a:cubicBezTo>
                      <a:pt x="966914" y="842136"/>
                      <a:pt x="952631" y="833761"/>
                      <a:pt x="954202" y="824001"/>
                    </a:cubicBezTo>
                    <a:cubicBezTo>
                      <a:pt x="956015" y="812741"/>
                      <a:pt x="974502" y="817564"/>
                      <a:pt x="979021" y="803558"/>
                    </a:cubicBezTo>
                    <a:cubicBezTo>
                      <a:pt x="982211" y="793683"/>
                      <a:pt x="972327" y="773309"/>
                      <a:pt x="987069" y="768787"/>
                    </a:cubicBezTo>
                    <a:cubicBezTo>
                      <a:pt x="1002946" y="763919"/>
                      <a:pt x="1002559" y="786853"/>
                      <a:pt x="1002221" y="796244"/>
                    </a:cubicBezTo>
                    <a:cubicBezTo>
                      <a:pt x="1001617" y="813364"/>
                      <a:pt x="1003164" y="813572"/>
                      <a:pt x="1022376" y="813780"/>
                    </a:cubicBezTo>
                    <a:cubicBezTo>
                      <a:pt x="1036368" y="813918"/>
                      <a:pt x="1047799" y="814264"/>
                      <a:pt x="1060438" y="819986"/>
                    </a:cubicBezTo>
                    <a:cubicBezTo>
                      <a:pt x="1079892" y="828800"/>
                      <a:pt x="1101618" y="845620"/>
                      <a:pt x="1111913" y="864863"/>
                    </a:cubicBezTo>
                    <a:cubicBezTo>
                      <a:pt x="1125809" y="890821"/>
                      <a:pt x="1146181" y="899196"/>
                      <a:pt x="1164935" y="920377"/>
                    </a:cubicBezTo>
                    <a:cubicBezTo>
                      <a:pt x="1174336" y="930991"/>
                      <a:pt x="1185670" y="941212"/>
                      <a:pt x="1200580" y="943796"/>
                    </a:cubicBezTo>
                    <a:cubicBezTo>
                      <a:pt x="1223950" y="947834"/>
                      <a:pt x="1208531" y="931152"/>
                      <a:pt x="1222210" y="926168"/>
                    </a:cubicBezTo>
                    <a:cubicBezTo>
                      <a:pt x="1230354" y="923192"/>
                      <a:pt x="1241422" y="941650"/>
                      <a:pt x="1246690" y="946634"/>
                    </a:cubicBezTo>
                    <a:cubicBezTo>
                      <a:pt x="1256816" y="956210"/>
                      <a:pt x="1267909" y="961862"/>
                      <a:pt x="1281176" y="967492"/>
                    </a:cubicBezTo>
                    <a:cubicBezTo>
                      <a:pt x="1294709" y="973237"/>
                      <a:pt x="1304255" y="977944"/>
                      <a:pt x="1314840" y="987889"/>
                    </a:cubicBezTo>
                    <a:cubicBezTo>
                      <a:pt x="1324048" y="996541"/>
                      <a:pt x="1332095" y="1010408"/>
                      <a:pt x="1344372" y="1015069"/>
                    </a:cubicBezTo>
                    <a:cubicBezTo>
                      <a:pt x="1358606" y="1020491"/>
                      <a:pt x="1388452" y="1019268"/>
                      <a:pt x="1394372" y="1003648"/>
                    </a:cubicBezTo>
                    <a:cubicBezTo>
                      <a:pt x="1401042" y="985997"/>
                      <a:pt x="1377432" y="966408"/>
                      <a:pt x="1372792" y="951272"/>
                    </a:cubicBezTo>
                    <a:cubicBezTo>
                      <a:pt x="1392487" y="948480"/>
                      <a:pt x="1398819" y="967700"/>
                      <a:pt x="1417258" y="965439"/>
                    </a:cubicBezTo>
                    <a:cubicBezTo>
                      <a:pt x="1430042" y="931937"/>
                      <a:pt x="1382797" y="928568"/>
                      <a:pt x="1376054" y="905449"/>
                    </a:cubicBezTo>
                    <a:cubicBezTo>
                      <a:pt x="1374483" y="900073"/>
                      <a:pt x="1380428" y="872870"/>
                      <a:pt x="1383449" y="867817"/>
                    </a:cubicBezTo>
                    <a:cubicBezTo>
                      <a:pt x="1389152" y="858311"/>
                      <a:pt x="1412715" y="867032"/>
                      <a:pt x="1408268" y="847259"/>
                    </a:cubicBezTo>
                    <a:cubicBezTo>
                      <a:pt x="1405078" y="832999"/>
                      <a:pt x="1380428" y="831869"/>
                      <a:pt x="1370617" y="822617"/>
                    </a:cubicBezTo>
                    <a:cubicBezTo>
                      <a:pt x="1353990" y="806904"/>
                      <a:pt x="1372695" y="804920"/>
                      <a:pt x="1381516" y="792991"/>
                    </a:cubicBezTo>
                    <a:cubicBezTo>
                      <a:pt x="1396137" y="773217"/>
                      <a:pt x="1367958" y="742530"/>
                      <a:pt x="1382917" y="730601"/>
                    </a:cubicBezTo>
                    <a:cubicBezTo>
                      <a:pt x="1377649" y="726425"/>
                      <a:pt x="1372405" y="722157"/>
                      <a:pt x="1367789" y="717380"/>
                    </a:cubicBezTo>
                    <a:cubicBezTo>
                      <a:pt x="1361204" y="710585"/>
                      <a:pt x="1356419" y="703011"/>
                      <a:pt x="1351144" y="695934"/>
                    </a:cubicBezTo>
                    <a:lnTo>
                      <a:pt x="1331902" y="677784"/>
                    </a:lnTo>
                    <a:lnTo>
                      <a:pt x="1334763" y="678924"/>
                    </a:lnTo>
                    <a:cubicBezTo>
                      <a:pt x="1351839" y="688566"/>
                      <a:pt x="1357817" y="705271"/>
                      <a:pt x="1371019" y="718852"/>
                    </a:cubicBezTo>
                    <a:cubicBezTo>
                      <a:pt x="1375658" y="723605"/>
                      <a:pt x="1380872" y="727883"/>
                      <a:pt x="1386133" y="732059"/>
                    </a:cubicBezTo>
                    <a:cubicBezTo>
                      <a:pt x="1388859" y="729920"/>
                      <a:pt x="1392973" y="728358"/>
                      <a:pt x="1398999" y="727611"/>
                    </a:cubicBezTo>
                    <a:cubicBezTo>
                      <a:pt x="1411340" y="726084"/>
                      <a:pt x="1425115" y="735251"/>
                      <a:pt x="1436020" y="727272"/>
                    </a:cubicBezTo>
                    <a:cubicBezTo>
                      <a:pt x="1445969" y="719972"/>
                      <a:pt x="1442286" y="701332"/>
                      <a:pt x="1452952" y="694032"/>
                    </a:cubicBezTo>
                    <a:lnTo>
                      <a:pt x="1458970" y="690231"/>
                    </a:lnTo>
                    <a:cubicBezTo>
                      <a:pt x="1458985" y="690320"/>
                      <a:pt x="1458999" y="690410"/>
                      <a:pt x="1459014" y="690499"/>
                    </a:cubicBezTo>
                    <a:cubicBezTo>
                      <a:pt x="1460691" y="690021"/>
                      <a:pt x="1462501" y="690522"/>
                      <a:pt x="1466087" y="692455"/>
                    </a:cubicBezTo>
                    <a:cubicBezTo>
                      <a:pt x="1474905" y="697186"/>
                      <a:pt x="1469147" y="706761"/>
                      <a:pt x="1473424" y="710468"/>
                    </a:cubicBezTo>
                    <a:cubicBezTo>
                      <a:pt x="1482110" y="717974"/>
                      <a:pt x="1502212" y="711173"/>
                      <a:pt x="1513431" y="716245"/>
                    </a:cubicBezTo>
                    <a:cubicBezTo>
                      <a:pt x="1526822" y="722318"/>
                      <a:pt x="1538468" y="737602"/>
                      <a:pt x="1547944" y="748383"/>
                    </a:cubicBezTo>
                    <a:cubicBezTo>
                      <a:pt x="1556794" y="758390"/>
                      <a:pt x="1568869" y="765055"/>
                      <a:pt x="1576962" y="774994"/>
                    </a:cubicBezTo>
                    <a:lnTo>
                      <a:pt x="1583768" y="785019"/>
                    </a:lnTo>
                    <a:lnTo>
                      <a:pt x="1581731" y="784858"/>
                    </a:lnTo>
                    <a:cubicBezTo>
                      <a:pt x="1585353" y="792395"/>
                      <a:pt x="1583136" y="797757"/>
                      <a:pt x="1571605" y="803041"/>
                    </a:cubicBezTo>
                    <a:cubicBezTo>
                      <a:pt x="1558558" y="809004"/>
                      <a:pt x="1550871" y="816502"/>
                      <a:pt x="1539155" y="823437"/>
                    </a:cubicBezTo>
                    <a:cubicBezTo>
                      <a:pt x="1526847" y="830722"/>
                      <a:pt x="1511583" y="826798"/>
                      <a:pt x="1499535" y="832839"/>
                    </a:cubicBezTo>
                    <a:cubicBezTo>
                      <a:pt x="1486969" y="839152"/>
                      <a:pt x="1481240" y="854615"/>
                      <a:pt x="1472924" y="864619"/>
                    </a:cubicBezTo>
                    <a:cubicBezTo>
                      <a:pt x="1468267" y="870135"/>
                      <a:pt x="1464091" y="874953"/>
                      <a:pt x="1457328" y="877498"/>
                    </a:cubicBezTo>
                    <a:cubicBezTo>
                      <a:pt x="1451192" y="879809"/>
                      <a:pt x="1439698" y="875477"/>
                      <a:pt x="1434413" y="879576"/>
                    </a:cubicBezTo>
                    <a:cubicBezTo>
                      <a:pt x="1418779" y="891717"/>
                      <a:pt x="1448384" y="901857"/>
                      <a:pt x="1455332" y="911375"/>
                    </a:cubicBezTo>
                    <a:cubicBezTo>
                      <a:pt x="1465015" y="924623"/>
                      <a:pt x="1461874" y="935968"/>
                      <a:pt x="1480575" y="939231"/>
                    </a:cubicBezTo>
                    <a:cubicBezTo>
                      <a:pt x="1492660" y="941348"/>
                      <a:pt x="1508590" y="935599"/>
                      <a:pt x="1519012" y="943893"/>
                    </a:cubicBezTo>
                    <a:cubicBezTo>
                      <a:pt x="1520416" y="945000"/>
                      <a:pt x="1521636" y="946321"/>
                      <a:pt x="1522782" y="947759"/>
                    </a:cubicBezTo>
                    <a:lnTo>
                      <a:pt x="1524307" y="947313"/>
                    </a:lnTo>
                    <a:lnTo>
                      <a:pt x="1531826" y="963870"/>
                    </a:lnTo>
                    <a:cubicBezTo>
                      <a:pt x="1536614" y="983438"/>
                      <a:pt x="1533624" y="1009333"/>
                      <a:pt x="1528872" y="1022130"/>
                    </a:cubicBezTo>
                    <a:cubicBezTo>
                      <a:pt x="1524086" y="1035043"/>
                      <a:pt x="1517888" y="1042201"/>
                      <a:pt x="1530043" y="1053834"/>
                    </a:cubicBezTo>
                    <a:cubicBezTo>
                      <a:pt x="1541269" y="1064571"/>
                      <a:pt x="1561240" y="1066645"/>
                      <a:pt x="1575427" y="1072543"/>
                    </a:cubicBezTo>
                    <a:cubicBezTo>
                      <a:pt x="1579835" y="1074373"/>
                      <a:pt x="1591336" y="1077241"/>
                      <a:pt x="1593712" y="1081267"/>
                    </a:cubicBezTo>
                    <a:cubicBezTo>
                      <a:pt x="1598601" y="1089585"/>
                      <a:pt x="1588478" y="1092676"/>
                      <a:pt x="1589270" y="1099204"/>
                    </a:cubicBezTo>
                    <a:cubicBezTo>
                      <a:pt x="1590854" y="1112788"/>
                      <a:pt x="1609586" y="1106403"/>
                      <a:pt x="1603147" y="1125153"/>
                    </a:cubicBezTo>
                    <a:cubicBezTo>
                      <a:pt x="1616300" y="1131315"/>
                      <a:pt x="1631383" y="1124990"/>
                      <a:pt x="1642918" y="1136033"/>
                    </a:cubicBezTo>
                    <a:cubicBezTo>
                      <a:pt x="1652250" y="1144960"/>
                      <a:pt x="1660342" y="1162510"/>
                      <a:pt x="1666918" y="1173695"/>
                    </a:cubicBezTo>
                    <a:cubicBezTo>
                      <a:pt x="1674184" y="1186019"/>
                      <a:pt x="1678833" y="1197753"/>
                      <a:pt x="1678902" y="1211988"/>
                    </a:cubicBezTo>
                    <a:cubicBezTo>
                      <a:pt x="1678970" y="1227220"/>
                      <a:pt x="1674632" y="1242574"/>
                      <a:pt x="1680348" y="1256952"/>
                    </a:cubicBezTo>
                    <a:cubicBezTo>
                      <a:pt x="1685306" y="1269316"/>
                      <a:pt x="1695395" y="1281111"/>
                      <a:pt x="1700216" y="1293720"/>
                    </a:cubicBezTo>
                    <a:cubicBezTo>
                      <a:pt x="1704555" y="1305088"/>
                      <a:pt x="1702764" y="1321641"/>
                      <a:pt x="1708343" y="1331443"/>
                    </a:cubicBezTo>
                    <a:cubicBezTo>
                      <a:pt x="1716676" y="1346086"/>
                      <a:pt x="1729451" y="1336589"/>
                      <a:pt x="1744430" y="1338744"/>
                    </a:cubicBezTo>
                    <a:cubicBezTo>
                      <a:pt x="1756550" y="1340513"/>
                      <a:pt x="1766846" y="1350051"/>
                      <a:pt x="1769876" y="1361541"/>
                    </a:cubicBezTo>
                    <a:cubicBezTo>
                      <a:pt x="1776694" y="1362416"/>
                      <a:pt x="1783547" y="1363290"/>
                      <a:pt x="1790502" y="1363575"/>
                    </a:cubicBezTo>
                    <a:cubicBezTo>
                      <a:pt x="1799283" y="1363941"/>
                      <a:pt x="1809854" y="1363392"/>
                      <a:pt x="1818428" y="1364998"/>
                    </a:cubicBezTo>
                    <a:cubicBezTo>
                      <a:pt x="1826417" y="1366503"/>
                      <a:pt x="1831754" y="1372157"/>
                      <a:pt x="1839399" y="1374190"/>
                    </a:cubicBezTo>
                    <a:cubicBezTo>
                      <a:pt x="1845218" y="1375746"/>
                      <a:pt x="1853258" y="1376478"/>
                      <a:pt x="1861139" y="1376178"/>
                    </a:cubicBezTo>
                    <a:lnTo>
                      <a:pt x="1881586" y="1372043"/>
                    </a:lnTo>
                    <a:lnTo>
                      <a:pt x="1880799" y="1372673"/>
                    </a:lnTo>
                    <a:cubicBezTo>
                      <a:pt x="1870416" y="1377815"/>
                      <a:pt x="1849891" y="1378003"/>
                      <a:pt x="1838220" y="1374880"/>
                    </a:cubicBezTo>
                    <a:cubicBezTo>
                      <a:pt x="1830574" y="1372861"/>
                      <a:pt x="1825221" y="1367181"/>
                      <a:pt x="1817253" y="1365700"/>
                    </a:cubicBezTo>
                    <a:cubicBezTo>
                      <a:pt x="1808641" y="1364085"/>
                      <a:pt x="1798056" y="1364650"/>
                      <a:pt x="1789283" y="1364273"/>
                    </a:cubicBezTo>
                    <a:cubicBezTo>
                      <a:pt x="1782320" y="1363977"/>
                      <a:pt x="1775479" y="1363116"/>
                      <a:pt x="1768637" y="1362227"/>
                    </a:cubicBezTo>
                    <a:cubicBezTo>
                      <a:pt x="1768798" y="1362900"/>
                      <a:pt x="1769040" y="1363546"/>
                      <a:pt x="1769160" y="1364219"/>
                    </a:cubicBezTo>
                    <a:cubicBezTo>
                      <a:pt x="1773185" y="1386295"/>
                      <a:pt x="1743605" y="1384545"/>
                      <a:pt x="1723442" y="1374773"/>
                    </a:cubicBezTo>
                    <a:cubicBezTo>
                      <a:pt x="1718975" y="1378569"/>
                      <a:pt x="1713824" y="1381530"/>
                      <a:pt x="1706741" y="1382930"/>
                    </a:cubicBezTo>
                    <a:cubicBezTo>
                      <a:pt x="1699759" y="1384303"/>
                      <a:pt x="1691891" y="1383421"/>
                      <a:pt x="1684118" y="1382856"/>
                    </a:cubicBezTo>
                    <a:lnTo>
                      <a:pt x="1663086" y="1384596"/>
                    </a:lnTo>
                    <a:lnTo>
                      <a:pt x="1664077" y="1383469"/>
                    </a:lnTo>
                    <a:cubicBezTo>
                      <a:pt x="1677270" y="1378158"/>
                      <a:pt x="1694791" y="1384449"/>
                      <a:pt x="1708707" y="1381698"/>
                    </a:cubicBezTo>
                    <a:cubicBezTo>
                      <a:pt x="1715830" y="1380309"/>
                      <a:pt x="1720952" y="1377341"/>
                      <a:pt x="1725435" y="1373555"/>
                    </a:cubicBezTo>
                    <a:cubicBezTo>
                      <a:pt x="1717916" y="1369905"/>
                      <a:pt x="1711708" y="1365166"/>
                      <a:pt x="1709018" y="1360127"/>
                    </a:cubicBezTo>
                    <a:cubicBezTo>
                      <a:pt x="1704034" y="1350758"/>
                      <a:pt x="1704482" y="1334852"/>
                      <a:pt x="1695480" y="1327634"/>
                    </a:cubicBezTo>
                    <a:cubicBezTo>
                      <a:pt x="1682064" y="1316875"/>
                      <a:pt x="1675321" y="1331964"/>
                      <a:pt x="1662525" y="1329459"/>
                    </a:cubicBezTo>
                    <a:cubicBezTo>
                      <a:pt x="1646694" y="1326354"/>
                      <a:pt x="1658266" y="1310012"/>
                      <a:pt x="1651350" y="1300261"/>
                    </a:cubicBezTo>
                    <a:cubicBezTo>
                      <a:pt x="1643607" y="1289285"/>
                      <a:pt x="1627862" y="1297129"/>
                      <a:pt x="1615998" y="1292662"/>
                    </a:cubicBezTo>
                    <a:cubicBezTo>
                      <a:pt x="1598873" y="1286180"/>
                      <a:pt x="1602857" y="1272725"/>
                      <a:pt x="1594700" y="1260768"/>
                    </a:cubicBezTo>
                    <a:cubicBezTo>
                      <a:pt x="1585871" y="1247831"/>
                      <a:pt x="1574851" y="1253033"/>
                      <a:pt x="1560158" y="1253578"/>
                    </a:cubicBezTo>
                    <a:cubicBezTo>
                      <a:pt x="1541585" y="1254259"/>
                      <a:pt x="1534618" y="1247994"/>
                      <a:pt x="1521443" y="1237154"/>
                    </a:cubicBezTo>
                    <a:cubicBezTo>
                      <a:pt x="1508871" y="1226804"/>
                      <a:pt x="1488091" y="1215910"/>
                      <a:pt x="1479468" y="1202346"/>
                    </a:cubicBezTo>
                    <a:cubicBezTo>
                      <a:pt x="1465413" y="1180230"/>
                      <a:pt x="1475415" y="1155145"/>
                      <a:pt x="1483141" y="1132484"/>
                    </a:cubicBezTo>
                    <a:lnTo>
                      <a:pt x="1365926" y="1132484"/>
                    </a:lnTo>
                    <a:cubicBezTo>
                      <a:pt x="1369996" y="1151768"/>
                      <a:pt x="1376704" y="1170479"/>
                      <a:pt x="1378722" y="1190689"/>
                    </a:cubicBezTo>
                    <a:cubicBezTo>
                      <a:pt x="1380688" y="1210299"/>
                      <a:pt x="1387224" y="1229528"/>
                      <a:pt x="1363443" y="1234757"/>
                    </a:cubicBezTo>
                    <a:cubicBezTo>
                      <a:pt x="1352941" y="1249737"/>
                      <a:pt x="1354613" y="1294296"/>
                      <a:pt x="1358097" y="1311864"/>
                    </a:cubicBezTo>
                    <a:cubicBezTo>
                      <a:pt x="1361304" y="1327961"/>
                      <a:pt x="1364098" y="1336268"/>
                      <a:pt x="1381826" y="1336458"/>
                    </a:cubicBezTo>
                    <a:cubicBezTo>
                      <a:pt x="1405883" y="1336731"/>
                      <a:pt x="1414592" y="1346999"/>
                      <a:pt x="1418024" y="1370749"/>
                    </a:cubicBezTo>
                    <a:cubicBezTo>
                      <a:pt x="1421818" y="1396951"/>
                      <a:pt x="1436062" y="1417269"/>
                      <a:pt x="1442615" y="1443062"/>
                    </a:cubicBezTo>
                    <a:cubicBezTo>
                      <a:pt x="1448789" y="1467357"/>
                      <a:pt x="1453135" y="1491952"/>
                      <a:pt x="1453135" y="1518208"/>
                    </a:cubicBezTo>
                    <a:cubicBezTo>
                      <a:pt x="1453135" y="1543347"/>
                      <a:pt x="1451324" y="1567996"/>
                      <a:pt x="1450031" y="1592373"/>
                    </a:cubicBezTo>
                    <a:cubicBezTo>
                      <a:pt x="1448203" y="1627154"/>
                      <a:pt x="1467241" y="1643441"/>
                      <a:pt x="1491953" y="1666838"/>
                    </a:cubicBezTo>
                    <a:cubicBezTo>
                      <a:pt x="1513165" y="1686965"/>
                      <a:pt x="1526840" y="1707883"/>
                      <a:pt x="1553915" y="1718260"/>
                    </a:cubicBezTo>
                    <a:cubicBezTo>
                      <a:pt x="1555812" y="1718996"/>
                      <a:pt x="1557623" y="1719840"/>
                      <a:pt x="1559365" y="1720793"/>
                    </a:cubicBezTo>
                    <a:cubicBezTo>
                      <a:pt x="1559383" y="1720690"/>
                      <a:pt x="1559402" y="1720587"/>
                      <a:pt x="1559420" y="1720484"/>
                    </a:cubicBezTo>
                    <a:lnTo>
                      <a:pt x="1574846" y="1733601"/>
                    </a:lnTo>
                    <a:cubicBezTo>
                      <a:pt x="1588811" y="1750436"/>
                      <a:pt x="1596926" y="1774404"/>
                      <a:pt x="1610549" y="1790224"/>
                    </a:cubicBezTo>
                    <a:cubicBezTo>
                      <a:pt x="1635548" y="1819217"/>
                      <a:pt x="1657795" y="1841584"/>
                      <a:pt x="1694716" y="1856718"/>
                    </a:cubicBezTo>
                    <a:cubicBezTo>
                      <a:pt x="1716668" y="1865696"/>
                      <a:pt x="1752701" y="1888181"/>
                      <a:pt x="1778084" y="1880438"/>
                    </a:cubicBezTo>
                    <a:cubicBezTo>
                      <a:pt x="1789829" y="1876850"/>
                      <a:pt x="1793084" y="1860874"/>
                      <a:pt x="1807580" y="1861756"/>
                    </a:cubicBezTo>
                    <a:cubicBezTo>
                      <a:pt x="1819502" y="1862461"/>
                      <a:pt x="1827401" y="1875850"/>
                      <a:pt x="1841720" y="1871773"/>
                    </a:cubicBezTo>
                    <a:cubicBezTo>
                      <a:pt x="1853642" y="1868382"/>
                      <a:pt x="1858021" y="1854248"/>
                      <a:pt x="1872754" y="1852660"/>
                    </a:cubicBezTo>
                    <a:cubicBezTo>
                      <a:pt x="1885534" y="1851288"/>
                      <a:pt x="1899734" y="1860834"/>
                      <a:pt x="1908787" y="1868342"/>
                    </a:cubicBezTo>
                    <a:cubicBezTo>
                      <a:pt x="1930768" y="1886632"/>
                      <a:pt x="1946685" y="1911901"/>
                      <a:pt x="1960737" y="1935856"/>
                    </a:cubicBezTo>
                    <a:lnTo>
                      <a:pt x="1975293" y="1963181"/>
                    </a:lnTo>
                    <a:lnTo>
                      <a:pt x="1974985" y="1963584"/>
                    </a:lnTo>
                    <a:cubicBezTo>
                      <a:pt x="1982249" y="1976269"/>
                      <a:pt x="1991009" y="1986695"/>
                      <a:pt x="2008956" y="1992653"/>
                    </a:cubicBezTo>
                    <a:cubicBezTo>
                      <a:pt x="2022416" y="1997121"/>
                      <a:pt x="2022060" y="1996762"/>
                      <a:pt x="2030606" y="1985874"/>
                    </a:cubicBezTo>
                    <a:cubicBezTo>
                      <a:pt x="2040576" y="2009499"/>
                      <a:pt x="2001122" y="2010577"/>
                      <a:pt x="1990297" y="2023879"/>
                    </a:cubicBezTo>
                    <a:cubicBezTo>
                      <a:pt x="1969145" y="2049764"/>
                      <a:pt x="1975911" y="2089978"/>
                      <a:pt x="1971638" y="2120022"/>
                    </a:cubicBezTo>
                    <a:cubicBezTo>
                      <a:pt x="1968789" y="2140617"/>
                      <a:pt x="1959388" y="2179752"/>
                      <a:pt x="1939234" y="2192027"/>
                    </a:cubicBezTo>
                    <a:cubicBezTo>
                      <a:pt x="1904551" y="2213136"/>
                      <a:pt x="1896646" y="2155203"/>
                      <a:pt x="1864598" y="2171432"/>
                    </a:cubicBezTo>
                    <a:cubicBezTo>
                      <a:pt x="1853061" y="2177287"/>
                      <a:pt x="1831055" y="2232703"/>
                      <a:pt x="1842877" y="2242513"/>
                    </a:cubicBezTo>
                    <a:cubicBezTo>
                      <a:pt x="1854912" y="2252476"/>
                      <a:pt x="1868159" y="2241023"/>
                      <a:pt x="1876990" y="2258126"/>
                    </a:cubicBezTo>
                    <a:cubicBezTo>
                      <a:pt x="1885607" y="2274715"/>
                      <a:pt x="1877773" y="2281545"/>
                      <a:pt x="1866521" y="2292793"/>
                    </a:cubicBezTo>
                    <a:cubicBezTo>
                      <a:pt x="1845441" y="2314055"/>
                      <a:pt x="1873643" y="2346000"/>
                      <a:pt x="1882830" y="2368341"/>
                    </a:cubicBezTo>
                    <a:cubicBezTo>
                      <a:pt x="1890165" y="2386214"/>
                      <a:pt x="1896610" y="2403509"/>
                      <a:pt x="1900954" y="2421164"/>
                    </a:cubicBezTo>
                    <a:lnTo>
                      <a:pt x="1903787" y="2449381"/>
                    </a:lnTo>
                    <a:lnTo>
                      <a:pt x="1808845" y="2473772"/>
                    </a:lnTo>
                    <a:cubicBezTo>
                      <a:pt x="1710844" y="2493810"/>
                      <a:pt x="1609374" y="2504332"/>
                      <a:pt x="1505445" y="2504332"/>
                    </a:cubicBezTo>
                    <a:cubicBezTo>
                      <a:pt x="674011" y="2504332"/>
                      <a:pt x="0" y="1830884"/>
                      <a:pt x="0" y="1000144"/>
                    </a:cubicBezTo>
                    <a:cubicBezTo>
                      <a:pt x="0" y="636695"/>
                      <a:pt x="129010" y="303353"/>
                      <a:pt x="343771" y="43341"/>
                    </a:cubicBezTo>
                    <a:lnTo>
                      <a:pt x="369157" y="15432"/>
                    </a:lnTo>
                    <a:lnTo>
                      <a:pt x="383746" y="23717"/>
                    </a:lnTo>
                    <a:cubicBezTo>
                      <a:pt x="390514" y="26382"/>
                      <a:pt x="397458" y="28685"/>
                      <a:pt x="404037" y="32466"/>
                    </a:cubicBezTo>
                    <a:cubicBezTo>
                      <a:pt x="419625" y="41449"/>
                      <a:pt x="431425" y="58051"/>
                      <a:pt x="441671" y="71469"/>
                    </a:cubicBezTo>
                    <a:cubicBezTo>
                      <a:pt x="450800" y="83409"/>
                      <a:pt x="459589" y="93985"/>
                      <a:pt x="469058" y="103764"/>
                    </a:cubicBezTo>
                    <a:cubicBezTo>
                      <a:pt x="487947" y="88356"/>
                      <a:pt x="504991" y="75904"/>
                      <a:pt x="537866" y="75904"/>
                    </a:cubicBezTo>
                    <a:cubicBezTo>
                      <a:pt x="554667" y="75904"/>
                      <a:pt x="570157" y="78804"/>
                      <a:pt x="586182" y="78861"/>
                    </a:cubicBezTo>
                    <a:cubicBezTo>
                      <a:pt x="607499" y="78918"/>
                      <a:pt x="614443" y="71071"/>
                      <a:pt x="615560" y="51342"/>
                    </a:cubicBezTo>
                    <a:cubicBezTo>
                      <a:pt x="628185" y="44064"/>
                      <a:pt x="636246" y="34342"/>
                      <a:pt x="652513" y="33603"/>
                    </a:cubicBezTo>
                    <a:cubicBezTo>
                      <a:pt x="672520" y="32693"/>
                      <a:pt x="690875" y="43268"/>
                      <a:pt x="710007" y="46850"/>
                    </a:cubicBezTo>
                    <a:cubicBezTo>
                      <a:pt x="723895" y="49466"/>
                      <a:pt x="738900" y="48158"/>
                      <a:pt x="753030" y="48158"/>
                    </a:cubicBezTo>
                    <a:lnTo>
                      <a:pt x="819993" y="48158"/>
                    </a:lnTo>
                    <a:lnTo>
                      <a:pt x="819993" y="17512"/>
                    </a:lnTo>
                    <a:lnTo>
                      <a:pt x="863405" y="17512"/>
                    </a:lnTo>
                    <a:lnTo>
                      <a:pt x="863405" y="0"/>
                    </a:lnTo>
                    <a:close/>
                  </a:path>
                </a:pathLst>
              </a:custGeom>
              <a:solidFill>
                <a:schemeClr val="bg1">
                  <a:lumMod val="8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37" name="Freeform 36">
                <a:extLst>
                  <a:ext uri="{FF2B5EF4-FFF2-40B4-BE49-F238E27FC236}">
                    <a16:creationId xmlns:a16="http://schemas.microsoft.com/office/drawing/2014/main" id="{9F86FE31-6F59-2340-961D-D1EAE8531CCE}"/>
                  </a:ext>
                </a:extLst>
              </p:cNvPr>
              <p:cNvSpPr/>
              <p:nvPr/>
            </p:nvSpPr>
            <p:spPr>
              <a:xfrm>
                <a:off x="3114637" y="3381317"/>
                <a:ext cx="836414" cy="433055"/>
              </a:xfrm>
              <a:custGeom>
                <a:avLst/>
                <a:gdLst>
                  <a:gd name="connsiteX0" fmla="*/ 375567 w 836414"/>
                  <a:gd name="connsiteY0" fmla="*/ 0 h 433055"/>
                  <a:gd name="connsiteX1" fmla="*/ 678967 w 836414"/>
                  <a:gd name="connsiteY1" fmla="*/ 30560 h 433055"/>
                  <a:gd name="connsiteX2" fmla="*/ 759322 w 836414"/>
                  <a:gd name="connsiteY2" fmla="*/ 51204 h 433055"/>
                  <a:gd name="connsiteX3" fmla="*/ 758339 w 836414"/>
                  <a:gd name="connsiteY3" fmla="*/ 56138 h 433055"/>
                  <a:gd name="connsiteX4" fmla="*/ 758614 w 836414"/>
                  <a:gd name="connsiteY4" fmla="*/ 57282 h 433055"/>
                  <a:gd name="connsiteX5" fmla="*/ 724913 w 836414"/>
                  <a:gd name="connsiteY5" fmla="*/ 104304 h 433055"/>
                  <a:gd name="connsiteX6" fmla="*/ 721072 w 836414"/>
                  <a:gd name="connsiteY6" fmla="*/ 137208 h 433055"/>
                  <a:gd name="connsiteX7" fmla="*/ 730987 w 836414"/>
                  <a:gd name="connsiteY7" fmla="*/ 162927 h 433055"/>
                  <a:gd name="connsiteX8" fmla="*/ 727852 w 836414"/>
                  <a:gd name="connsiteY8" fmla="*/ 184527 h 433055"/>
                  <a:gd name="connsiteX9" fmla="*/ 739804 w 836414"/>
                  <a:gd name="connsiteY9" fmla="*/ 199584 h 433055"/>
                  <a:gd name="connsiteX10" fmla="*/ 734788 w 836414"/>
                  <a:gd name="connsiteY10" fmla="*/ 218163 h 433055"/>
                  <a:gd name="connsiteX11" fmla="*/ 732986 w 836414"/>
                  <a:gd name="connsiteY11" fmla="*/ 241473 h 433055"/>
                  <a:gd name="connsiteX12" fmla="*/ 736126 w 836414"/>
                  <a:gd name="connsiteY12" fmla="*/ 242596 h 433055"/>
                  <a:gd name="connsiteX13" fmla="*/ 736836 w 836414"/>
                  <a:gd name="connsiteY13" fmla="*/ 243523 h 433055"/>
                  <a:gd name="connsiteX14" fmla="*/ 748258 w 836414"/>
                  <a:gd name="connsiteY14" fmla="*/ 247604 h 433055"/>
                  <a:gd name="connsiteX15" fmla="*/ 757862 w 836414"/>
                  <a:gd name="connsiteY15" fmla="*/ 249330 h 433055"/>
                  <a:gd name="connsiteX16" fmla="*/ 763904 w 836414"/>
                  <a:gd name="connsiteY16" fmla="*/ 255666 h 433055"/>
                  <a:gd name="connsiteX17" fmla="*/ 766216 w 836414"/>
                  <a:gd name="connsiteY17" fmla="*/ 275139 h 433055"/>
                  <a:gd name="connsiteX18" fmla="*/ 776953 w 836414"/>
                  <a:gd name="connsiteY18" fmla="*/ 299210 h 433055"/>
                  <a:gd name="connsiteX19" fmla="*/ 779458 w 836414"/>
                  <a:gd name="connsiteY19" fmla="*/ 299487 h 433055"/>
                  <a:gd name="connsiteX20" fmla="*/ 780811 w 836414"/>
                  <a:gd name="connsiteY20" fmla="*/ 301257 h 433055"/>
                  <a:gd name="connsiteX21" fmla="*/ 793772 w 836414"/>
                  <a:gd name="connsiteY21" fmla="*/ 302685 h 433055"/>
                  <a:gd name="connsiteX22" fmla="*/ 806301 w 836414"/>
                  <a:gd name="connsiteY22" fmla="*/ 302362 h 433055"/>
                  <a:gd name="connsiteX23" fmla="*/ 816180 w 836414"/>
                  <a:gd name="connsiteY23" fmla="*/ 310185 h 433055"/>
                  <a:gd name="connsiteX24" fmla="*/ 818805 w 836414"/>
                  <a:gd name="connsiteY24" fmla="*/ 326554 h 433055"/>
                  <a:gd name="connsiteX25" fmla="*/ 832717 w 836414"/>
                  <a:gd name="connsiteY25" fmla="*/ 352570 h 433055"/>
                  <a:gd name="connsiteX26" fmla="*/ 829347 w 836414"/>
                  <a:gd name="connsiteY26" fmla="*/ 381401 h 433055"/>
                  <a:gd name="connsiteX27" fmla="*/ 807167 w 836414"/>
                  <a:gd name="connsiteY27" fmla="*/ 393391 h 433055"/>
                  <a:gd name="connsiteX28" fmla="*/ 808342 w 836414"/>
                  <a:gd name="connsiteY28" fmla="*/ 420758 h 433055"/>
                  <a:gd name="connsiteX29" fmla="*/ 722561 w 836414"/>
                  <a:gd name="connsiteY29" fmla="*/ 431832 h 433055"/>
                  <a:gd name="connsiteX30" fmla="*/ 602884 w 836414"/>
                  <a:gd name="connsiteY30" fmla="*/ 432038 h 433055"/>
                  <a:gd name="connsiteX31" fmla="*/ 380457 w 836414"/>
                  <a:gd name="connsiteY31" fmla="*/ 432427 h 433055"/>
                  <a:gd name="connsiteX32" fmla="*/ 356479 w 836414"/>
                  <a:gd name="connsiteY32" fmla="*/ 431424 h 433055"/>
                  <a:gd name="connsiteX33" fmla="*/ 354367 w 836414"/>
                  <a:gd name="connsiteY33" fmla="*/ 423580 h 433055"/>
                  <a:gd name="connsiteX34" fmla="*/ 352948 w 836414"/>
                  <a:gd name="connsiteY34" fmla="*/ 422010 h 433055"/>
                  <a:gd name="connsiteX35" fmla="*/ 352422 w 836414"/>
                  <a:gd name="connsiteY35" fmla="*/ 420307 h 433055"/>
                  <a:gd name="connsiteX36" fmla="*/ 320030 w 836414"/>
                  <a:gd name="connsiteY36" fmla="*/ 390645 h 433055"/>
                  <a:gd name="connsiteX37" fmla="*/ 312047 w 836414"/>
                  <a:gd name="connsiteY37" fmla="*/ 379078 h 433055"/>
                  <a:gd name="connsiteX38" fmla="*/ 308801 w 836414"/>
                  <a:gd name="connsiteY38" fmla="*/ 363578 h 433055"/>
                  <a:gd name="connsiteX39" fmla="*/ 307660 w 836414"/>
                  <a:gd name="connsiteY39" fmla="*/ 348560 h 433055"/>
                  <a:gd name="connsiteX40" fmla="*/ 306155 w 836414"/>
                  <a:gd name="connsiteY40" fmla="*/ 347061 h 433055"/>
                  <a:gd name="connsiteX41" fmla="*/ 306055 w 836414"/>
                  <a:gd name="connsiteY41" fmla="*/ 345769 h 433055"/>
                  <a:gd name="connsiteX42" fmla="*/ 295577 w 836414"/>
                  <a:gd name="connsiteY42" fmla="*/ 335318 h 433055"/>
                  <a:gd name="connsiteX43" fmla="*/ 254985 w 836414"/>
                  <a:gd name="connsiteY43" fmla="*/ 319377 h 433055"/>
                  <a:gd name="connsiteX44" fmla="*/ 245985 w 836414"/>
                  <a:gd name="connsiteY44" fmla="*/ 308425 h 433055"/>
                  <a:gd name="connsiteX45" fmla="*/ 240272 w 836414"/>
                  <a:gd name="connsiteY45" fmla="*/ 287387 h 433055"/>
                  <a:gd name="connsiteX46" fmla="*/ 240417 w 836414"/>
                  <a:gd name="connsiteY46" fmla="*/ 264174 h 433055"/>
                  <a:gd name="connsiteX47" fmla="*/ 246621 w 836414"/>
                  <a:gd name="connsiteY47" fmla="*/ 223700 h 433055"/>
                  <a:gd name="connsiteX48" fmla="*/ 259593 w 836414"/>
                  <a:gd name="connsiteY48" fmla="*/ 208024 h 433055"/>
                  <a:gd name="connsiteX49" fmla="*/ 251243 w 836414"/>
                  <a:gd name="connsiteY49" fmla="*/ 186252 h 433055"/>
                  <a:gd name="connsiteX50" fmla="*/ 250466 w 836414"/>
                  <a:gd name="connsiteY50" fmla="*/ 185626 h 433055"/>
                  <a:gd name="connsiteX51" fmla="*/ 249650 w 836414"/>
                  <a:gd name="connsiteY51" fmla="*/ 183498 h 433055"/>
                  <a:gd name="connsiteX52" fmla="*/ 204663 w 836414"/>
                  <a:gd name="connsiteY52" fmla="*/ 155605 h 433055"/>
                  <a:gd name="connsiteX53" fmla="*/ 118255 w 836414"/>
                  <a:gd name="connsiteY53" fmla="*/ 149198 h 433055"/>
                  <a:gd name="connsiteX54" fmla="*/ 58886 w 836414"/>
                  <a:gd name="connsiteY54" fmla="*/ 113411 h 433055"/>
                  <a:gd name="connsiteX55" fmla="*/ 34786 w 836414"/>
                  <a:gd name="connsiteY55" fmla="*/ 93001 h 433055"/>
                  <a:gd name="connsiteX56" fmla="*/ 17701 w 836414"/>
                  <a:gd name="connsiteY56" fmla="*/ 72956 h 433055"/>
                  <a:gd name="connsiteX57" fmla="*/ 3344 w 836414"/>
                  <a:gd name="connsiteY57" fmla="*/ 56965 h 433055"/>
                  <a:gd name="connsiteX58" fmla="*/ 0 w 836414"/>
                  <a:gd name="connsiteY58" fmla="*/ 49100 h 433055"/>
                  <a:gd name="connsiteX59" fmla="*/ 72167 w 836414"/>
                  <a:gd name="connsiteY59" fmla="*/ 30560 h 433055"/>
                  <a:gd name="connsiteX60" fmla="*/ 375567 w 836414"/>
                  <a:gd name="connsiteY60" fmla="*/ 0 h 433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836414" h="433055">
                    <a:moveTo>
                      <a:pt x="375567" y="0"/>
                    </a:moveTo>
                    <a:cubicBezTo>
                      <a:pt x="479496" y="0"/>
                      <a:pt x="580966" y="10523"/>
                      <a:pt x="678967" y="30560"/>
                    </a:cubicBezTo>
                    <a:lnTo>
                      <a:pt x="759322" y="51204"/>
                    </a:lnTo>
                    <a:lnTo>
                      <a:pt x="758339" y="56138"/>
                    </a:lnTo>
                    <a:cubicBezTo>
                      <a:pt x="758418" y="56550"/>
                      <a:pt x="758535" y="56916"/>
                      <a:pt x="758614" y="57282"/>
                    </a:cubicBezTo>
                    <a:cubicBezTo>
                      <a:pt x="742899" y="68975"/>
                      <a:pt x="731927" y="87051"/>
                      <a:pt x="724913" y="104304"/>
                    </a:cubicBezTo>
                    <a:cubicBezTo>
                      <a:pt x="720602" y="114967"/>
                      <a:pt x="717937" y="125790"/>
                      <a:pt x="721072" y="137208"/>
                    </a:cubicBezTo>
                    <a:cubicBezTo>
                      <a:pt x="723502" y="145995"/>
                      <a:pt x="730320" y="153660"/>
                      <a:pt x="730987" y="162927"/>
                    </a:cubicBezTo>
                    <a:cubicBezTo>
                      <a:pt x="731535" y="170112"/>
                      <a:pt x="725461" y="177869"/>
                      <a:pt x="727852" y="184527"/>
                    </a:cubicBezTo>
                    <a:cubicBezTo>
                      <a:pt x="729968" y="190522"/>
                      <a:pt x="737923" y="192605"/>
                      <a:pt x="739804" y="199584"/>
                    </a:cubicBezTo>
                    <a:cubicBezTo>
                      <a:pt x="741685" y="206608"/>
                      <a:pt x="738471" y="212626"/>
                      <a:pt x="734788" y="218163"/>
                    </a:cubicBezTo>
                    <a:cubicBezTo>
                      <a:pt x="727822" y="228752"/>
                      <a:pt x="725243" y="236483"/>
                      <a:pt x="732986" y="241473"/>
                    </a:cubicBezTo>
                    <a:lnTo>
                      <a:pt x="736126" y="242596"/>
                    </a:lnTo>
                    <a:lnTo>
                      <a:pt x="736836" y="243523"/>
                    </a:lnTo>
                    <a:cubicBezTo>
                      <a:pt x="739421" y="245187"/>
                      <a:pt x="743155" y="246546"/>
                      <a:pt x="748258" y="247604"/>
                    </a:cubicBezTo>
                    <a:lnTo>
                      <a:pt x="757862" y="249330"/>
                    </a:lnTo>
                    <a:lnTo>
                      <a:pt x="763904" y="255666"/>
                    </a:lnTo>
                    <a:cubicBezTo>
                      <a:pt x="765942" y="260975"/>
                      <a:pt x="765354" y="269579"/>
                      <a:pt x="766216" y="275139"/>
                    </a:cubicBezTo>
                    <a:cubicBezTo>
                      <a:pt x="767587" y="283765"/>
                      <a:pt x="767979" y="293993"/>
                      <a:pt x="776953" y="299210"/>
                    </a:cubicBezTo>
                    <a:lnTo>
                      <a:pt x="779458" y="299487"/>
                    </a:lnTo>
                    <a:lnTo>
                      <a:pt x="780811" y="301257"/>
                    </a:lnTo>
                    <a:cubicBezTo>
                      <a:pt x="785031" y="303714"/>
                      <a:pt x="789332" y="303348"/>
                      <a:pt x="793772" y="302685"/>
                    </a:cubicBezTo>
                    <a:lnTo>
                      <a:pt x="806301" y="302362"/>
                    </a:lnTo>
                    <a:lnTo>
                      <a:pt x="816180" y="310185"/>
                    </a:lnTo>
                    <a:cubicBezTo>
                      <a:pt x="817737" y="314650"/>
                      <a:pt x="817649" y="320193"/>
                      <a:pt x="818805" y="326554"/>
                    </a:cubicBezTo>
                    <a:cubicBezTo>
                      <a:pt x="820804" y="337537"/>
                      <a:pt x="827387" y="342891"/>
                      <a:pt x="832717" y="352570"/>
                    </a:cubicBezTo>
                    <a:cubicBezTo>
                      <a:pt x="837341" y="360899"/>
                      <a:pt x="839026" y="374560"/>
                      <a:pt x="829347" y="381401"/>
                    </a:cubicBezTo>
                    <a:cubicBezTo>
                      <a:pt x="821235" y="387099"/>
                      <a:pt x="811203" y="381813"/>
                      <a:pt x="807167" y="393391"/>
                    </a:cubicBezTo>
                    <a:cubicBezTo>
                      <a:pt x="804188" y="401926"/>
                      <a:pt x="809753" y="412017"/>
                      <a:pt x="808342" y="420758"/>
                    </a:cubicBezTo>
                    <a:cubicBezTo>
                      <a:pt x="805481" y="438514"/>
                      <a:pt x="738667" y="431810"/>
                      <a:pt x="722561" y="431832"/>
                    </a:cubicBezTo>
                    <a:cubicBezTo>
                      <a:pt x="682669" y="431901"/>
                      <a:pt x="642776" y="431970"/>
                      <a:pt x="602884" y="432038"/>
                    </a:cubicBezTo>
                    <a:cubicBezTo>
                      <a:pt x="528741" y="432176"/>
                      <a:pt x="454599" y="432313"/>
                      <a:pt x="380457" y="432427"/>
                    </a:cubicBezTo>
                    <a:lnTo>
                      <a:pt x="356479" y="431424"/>
                    </a:lnTo>
                    <a:lnTo>
                      <a:pt x="354367" y="423580"/>
                    </a:lnTo>
                    <a:lnTo>
                      <a:pt x="352948" y="422010"/>
                    </a:lnTo>
                    <a:lnTo>
                      <a:pt x="352422" y="420307"/>
                    </a:lnTo>
                    <a:cubicBezTo>
                      <a:pt x="344601" y="408785"/>
                      <a:pt x="326143" y="396704"/>
                      <a:pt x="320030" y="390645"/>
                    </a:cubicBezTo>
                    <a:lnTo>
                      <a:pt x="312047" y="379078"/>
                    </a:lnTo>
                    <a:lnTo>
                      <a:pt x="308801" y="363578"/>
                    </a:lnTo>
                    <a:cubicBezTo>
                      <a:pt x="308458" y="357461"/>
                      <a:pt x="308838" y="352630"/>
                      <a:pt x="307660" y="348560"/>
                    </a:cubicBezTo>
                    <a:lnTo>
                      <a:pt x="306155" y="347061"/>
                    </a:lnTo>
                    <a:lnTo>
                      <a:pt x="306055" y="345769"/>
                    </a:lnTo>
                    <a:cubicBezTo>
                      <a:pt x="304874" y="341696"/>
                      <a:pt x="302141" y="338384"/>
                      <a:pt x="295577" y="335318"/>
                    </a:cubicBezTo>
                    <a:cubicBezTo>
                      <a:pt x="280206" y="328144"/>
                      <a:pt x="266223" y="328268"/>
                      <a:pt x="254985" y="319377"/>
                    </a:cubicBezTo>
                    <a:lnTo>
                      <a:pt x="245985" y="308425"/>
                    </a:lnTo>
                    <a:lnTo>
                      <a:pt x="240272" y="287387"/>
                    </a:lnTo>
                    <a:cubicBezTo>
                      <a:pt x="239664" y="279601"/>
                      <a:pt x="240089" y="271660"/>
                      <a:pt x="240417" y="264174"/>
                    </a:cubicBezTo>
                    <a:cubicBezTo>
                      <a:pt x="240865" y="253724"/>
                      <a:pt x="239374" y="232118"/>
                      <a:pt x="246621" y="223700"/>
                    </a:cubicBezTo>
                    <a:cubicBezTo>
                      <a:pt x="251989" y="217438"/>
                      <a:pt x="258222" y="217106"/>
                      <a:pt x="259593" y="208024"/>
                    </a:cubicBezTo>
                    <a:cubicBezTo>
                      <a:pt x="261025" y="198445"/>
                      <a:pt x="257983" y="192929"/>
                      <a:pt x="251243" y="186252"/>
                    </a:cubicBezTo>
                    <a:lnTo>
                      <a:pt x="250466" y="185626"/>
                    </a:lnTo>
                    <a:lnTo>
                      <a:pt x="249650" y="183498"/>
                    </a:lnTo>
                    <a:cubicBezTo>
                      <a:pt x="238050" y="172034"/>
                      <a:pt x="221004" y="159838"/>
                      <a:pt x="204663" y="155605"/>
                    </a:cubicBezTo>
                    <a:cubicBezTo>
                      <a:pt x="177271" y="148535"/>
                      <a:pt x="146431" y="154072"/>
                      <a:pt x="118255" y="149198"/>
                    </a:cubicBezTo>
                    <a:cubicBezTo>
                      <a:pt x="95762" y="145308"/>
                      <a:pt x="76168" y="126408"/>
                      <a:pt x="58886" y="113411"/>
                    </a:cubicBezTo>
                    <a:cubicBezTo>
                      <a:pt x="50500" y="107050"/>
                      <a:pt x="41918" y="100369"/>
                      <a:pt x="34786" y="93001"/>
                    </a:cubicBezTo>
                    <a:cubicBezTo>
                      <a:pt x="28595" y="86571"/>
                      <a:pt x="24362" y="78837"/>
                      <a:pt x="17701" y="72956"/>
                    </a:cubicBezTo>
                    <a:lnTo>
                      <a:pt x="3344" y="56965"/>
                    </a:lnTo>
                    <a:lnTo>
                      <a:pt x="0" y="49100"/>
                    </a:lnTo>
                    <a:lnTo>
                      <a:pt x="72167" y="30560"/>
                    </a:lnTo>
                    <a:cubicBezTo>
                      <a:pt x="170168" y="10523"/>
                      <a:pt x="271638" y="0"/>
                      <a:pt x="375567"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38" name="Freeform 37">
                <a:extLst>
                  <a:ext uri="{FF2B5EF4-FFF2-40B4-BE49-F238E27FC236}">
                    <a16:creationId xmlns:a16="http://schemas.microsoft.com/office/drawing/2014/main" id="{72E75568-8038-9B47-8027-2F26A3FD0390}"/>
                  </a:ext>
                </a:extLst>
              </p:cNvPr>
              <p:cNvSpPr/>
              <p:nvPr/>
            </p:nvSpPr>
            <p:spPr>
              <a:xfrm>
                <a:off x="2833244" y="3430531"/>
                <a:ext cx="638776" cy="632733"/>
              </a:xfrm>
              <a:custGeom>
                <a:avLst/>
                <a:gdLst>
                  <a:gd name="connsiteX0" fmla="*/ 280949 w 638776"/>
                  <a:gd name="connsiteY0" fmla="*/ 0 h 632733"/>
                  <a:gd name="connsiteX1" fmla="*/ 283791 w 638776"/>
                  <a:gd name="connsiteY1" fmla="*/ 6698 h 632733"/>
                  <a:gd name="connsiteX2" fmla="*/ 284737 w 638776"/>
                  <a:gd name="connsiteY2" fmla="*/ 7751 h 632733"/>
                  <a:gd name="connsiteX3" fmla="*/ 285446 w 638776"/>
                  <a:gd name="connsiteY3" fmla="*/ 9420 h 632733"/>
                  <a:gd name="connsiteX4" fmla="*/ 300734 w 638776"/>
                  <a:gd name="connsiteY4" fmla="*/ 26480 h 632733"/>
                  <a:gd name="connsiteX5" fmla="*/ 317852 w 638776"/>
                  <a:gd name="connsiteY5" fmla="*/ 46510 h 632733"/>
                  <a:gd name="connsiteX6" fmla="*/ 341949 w 638776"/>
                  <a:gd name="connsiteY6" fmla="*/ 66913 h 632733"/>
                  <a:gd name="connsiteX7" fmla="*/ 401296 w 638776"/>
                  <a:gd name="connsiteY7" fmla="*/ 102743 h 632733"/>
                  <a:gd name="connsiteX8" fmla="*/ 487663 w 638776"/>
                  <a:gd name="connsiteY8" fmla="*/ 109129 h 632733"/>
                  <a:gd name="connsiteX9" fmla="*/ 511950 w 638776"/>
                  <a:gd name="connsiteY9" fmla="*/ 120362 h 632733"/>
                  <a:gd name="connsiteX10" fmla="*/ 531859 w 638776"/>
                  <a:gd name="connsiteY10" fmla="*/ 136412 h 632733"/>
                  <a:gd name="connsiteX11" fmla="*/ 539390 w 638776"/>
                  <a:gd name="connsiteY11" fmla="*/ 156044 h 632733"/>
                  <a:gd name="connsiteX12" fmla="*/ 526419 w 638776"/>
                  <a:gd name="connsiteY12" fmla="*/ 171695 h 632733"/>
                  <a:gd name="connsiteX13" fmla="*/ 520188 w 638776"/>
                  <a:gd name="connsiteY13" fmla="*/ 212173 h 632733"/>
                  <a:gd name="connsiteX14" fmla="*/ 526105 w 638776"/>
                  <a:gd name="connsiteY14" fmla="*/ 257662 h 632733"/>
                  <a:gd name="connsiteX15" fmla="*/ 527378 w 638776"/>
                  <a:gd name="connsiteY15" fmla="*/ 259211 h 632733"/>
                  <a:gd name="connsiteX16" fmla="*/ 527715 w 638776"/>
                  <a:gd name="connsiteY16" fmla="*/ 260453 h 632733"/>
                  <a:gd name="connsiteX17" fmla="*/ 578563 w 638776"/>
                  <a:gd name="connsiteY17" fmla="*/ 288901 h 632733"/>
                  <a:gd name="connsiteX18" fmla="*/ 587548 w 638776"/>
                  <a:gd name="connsiteY18" fmla="*/ 297847 h 632733"/>
                  <a:gd name="connsiteX19" fmla="*/ 588609 w 638776"/>
                  <a:gd name="connsiteY19" fmla="*/ 311571 h 632733"/>
                  <a:gd name="connsiteX20" fmla="*/ 591989 w 638776"/>
                  <a:gd name="connsiteY20" fmla="*/ 327762 h 632733"/>
                  <a:gd name="connsiteX21" fmla="*/ 593440 w 638776"/>
                  <a:gd name="connsiteY21" fmla="*/ 329864 h 632733"/>
                  <a:gd name="connsiteX22" fmla="*/ 593587 w 638776"/>
                  <a:gd name="connsiteY22" fmla="*/ 330568 h 632733"/>
                  <a:gd name="connsiteX23" fmla="*/ 603018 w 638776"/>
                  <a:gd name="connsiteY23" fmla="*/ 344222 h 632733"/>
                  <a:gd name="connsiteX24" fmla="*/ 625247 w 638776"/>
                  <a:gd name="connsiteY24" fmla="*/ 362733 h 632733"/>
                  <a:gd name="connsiteX25" fmla="*/ 634341 w 638776"/>
                  <a:gd name="connsiteY25" fmla="*/ 372796 h 632733"/>
                  <a:gd name="connsiteX26" fmla="*/ 637240 w 638776"/>
                  <a:gd name="connsiteY26" fmla="*/ 382184 h 632733"/>
                  <a:gd name="connsiteX27" fmla="*/ 637872 w 638776"/>
                  <a:gd name="connsiteY27" fmla="*/ 382210 h 632733"/>
                  <a:gd name="connsiteX28" fmla="*/ 638776 w 638776"/>
                  <a:gd name="connsiteY28" fmla="*/ 385567 h 632733"/>
                  <a:gd name="connsiteX29" fmla="*/ 599469 w 638776"/>
                  <a:gd name="connsiteY29" fmla="*/ 412647 h 632733"/>
                  <a:gd name="connsiteX30" fmla="*/ 612293 w 638776"/>
                  <a:gd name="connsiteY30" fmla="*/ 443293 h 632733"/>
                  <a:gd name="connsiteX31" fmla="*/ 617243 w 638776"/>
                  <a:gd name="connsiteY31" fmla="*/ 475972 h 632733"/>
                  <a:gd name="connsiteX32" fmla="*/ 623685 w 638776"/>
                  <a:gd name="connsiteY32" fmla="*/ 502512 h 632733"/>
                  <a:gd name="connsiteX33" fmla="*/ 599171 w 638776"/>
                  <a:gd name="connsiteY33" fmla="*/ 518852 h 632733"/>
                  <a:gd name="connsiteX34" fmla="*/ 587868 w 638776"/>
                  <a:gd name="connsiteY34" fmla="*/ 548212 h 632733"/>
                  <a:gd name="connsiteX35" fmla="*/ 557628 w 638776"/>
                  <a:gd name="connsiteY35" fmla="*/ 584706 h 632733"/>
                  <a:gd name="connsiteX36" fmla="*/ 528443 w 638776"/>
                  <a:gd name="connsiteY36" fmla="*/ 609095 h 632733"/>
                  <a:gd name="connsiteX37" fmla="*/ 492623 w 638776"/>
                  <a:gd name="connsiteY37" fmla="*/ 620455 h 632733"/>
                  <a:gd name="connsiteX38" fmla="*/ 458839 w 638776"/>
                  <a:gd name="connsiteY38" fmla="*/ 621490 h 632733"/>
                  <a:gd name="connsiteX39" fmla="*/ 457503 w 638776"/>
                  <a:gd name="connsiteY39" fmla="*/ 621834 h 632733"/>
                  <a:gd name="connsiteX40" fmla="*/ 456528 w 638776"/>
                  <a:gd name="connsiteY40" fmla="*/ 621863 h 632733"/>
                  <a:gd name="connsiteX41" fmla="*/ 440077 w 638776"/>
                  <a:gd name="connsiteY41" fmla="*/ 626119 h 632733"/>
                  <a:gd name="connsiteX42" fmla="*/ 425833 w 638776"/>
                  <a:gd name="connsiteY42" fmla="*/ 632573 h 632733"/>
                  <a:gd name="connsiteX43" fmla="*/ 422760 w 638776"/>
                  <a:gd name="connsiteY43" fmla="*/ 632733 h 632733"/>
                  <a:gd name="connsiteX44" fmla="*/ 417784 w 638776"/>
                  <a:gd name="connsiteY44" fmla="*/ 632394 h 632733"/>
                  <a:gd name="connsiteX45" fmla="*/ 402874 w 638776"/>
                  <a:gd name="connsiteY45" fmla="*/ 621580 h 632733"/>
                  <a:gd name="connsiteX46" fmla="*/ 385021 w 638776"/>
                  <a:gd name="connsiteY46" fmla="*/ 608509 h 632733"/>
                  <a:gd name="connsiteX47" fmla="*/ 354553 w 638776"/>
                  <a:gd name="connsiteY47" fmla="*/ 597576 h 632733"/>
                  <a:gd name="connsiteX48" fmla="*/ 336234 w 638776"/>
                  <a:gd name="connsiteY48" fmla="*/ 573572 h 632733"/>
                  <a:gd name="connsiteX49" fmla="*/ 315524 w 638776"/>
                  <a:gd name="connsiteY49" fmla="*/ 537141 h 632733"/>
                  <a:gd name="connsiteX50" fmla="*/ 292039 w 638776"/>
                  <a:gd name="connsiteY50" fmla="*/ 497077 h 632733"/>
                  <a:gd name="connsiteX51" fmla="*/ 224216 w 638776"/>
                  <a:gd name="connsiteY51" fmla="*/ 463803 h 632733"/>
                  <a:gd name="connsiteX52" fmla="*/ 222575 w 638776"/>
                  <a:gd name="connsiteY52" fmla="*/ 463970 h 632733"/>
                  <a:gd name="connsiteX53" fmla="*/ 235608 w 638776"/>
                  <a:gd name="connsiteY53" fmla="*/ 457974 h 632733"/>
                  <a:gd name="connsiteX54" fmla="*/ 233914 w 638776"/>
                  <a:gd name="connsiteY54" fmla="*/ 454986 h 632733"/>
                  <a:gd name="connsiteX55" fmla="*/ 234640 w 638776"/>
                  <a:gd name="connsiteY55" fmla="*/ 453488 h 632733"/>
                  <a:gd name="connsiteX56" fmla="*/ 221198 w 638776"/>
                  <a:gd name="connsiteY56" fmla="*/ 447212 h 632733"/>
                  <a:gd name="connsiteX57" fmla="*/ 177349 w 638776"/>
                  <a:gd name="connsiteY57" fmla="*/ 426004 h 632733"/>
                  <a:gd name="connsiteX58" fmla="*/ 162345 w 638776"/>
                  <a:gd name="connsiteY58" fmla="*/ 408037 h 632733"/>
                  <a:gd name="connsiteX59" fmla="*/ 137434 w 638776"/>
                  <a:gd name="connsiteY59" fmla="*/ 409572 h 632733"/>
                  <a:gd name="connsiteX60" fmla="*/ 131075 w 638776"/>
                  <a:gd name="connsiteY60" fmla="*/ 398656 h 632733"/>
                  <a:gd name="connsiteX61" fmla="*/ 128775 w 638776"/>
                  <a:gd name="connsiteY61" fmla="*/ 386728 h 632733"/>
                  <a:gd name="connsiteX62" fmla="*/ 128543 w 638776"/>
                  <a:gd name="connsiteY62" fmla="*/ 386454 h 632733"/>
                  <a:gd name="connsiteX63" fmla="*/ 128208 w 638776"/>
                  <a:gd name="connsiteY63" fmla="*/ 384726 h 632733"/>
                  <a:gd name="connsiteX64" fmla="*/ 112232 w 638776"/>
                  <a:gd name="connsiteY64" fmla="*/ 364655 h 632733"/>
                  <a:gd name="connsiteX65" fmla="*/ 83145 w 638776"/>
                  <a:gd name="connsiteY65" fmla="*/ 307344 h 632733"/>
                  <a:gd name="connsiteX66" fmla="*/ 64547 w 638776"/>
                  <a:gd name="connsiteY66" fmla="*/ 308936 h 632733"/>
                  <a:gd name="connsiteX67" fmla="*/ 54107 w 638776"/>
                  <a:gd name="connsiteY67" fmla="*/ 296711 h 632733"/>
                  <a:gd name="connsiteX68" fmla="*/ 40122 w 638776"/>
                  <a:gd name="connsiteY68" fmla="*/ 290912 h 632733"/>
                  <a:gd name="connsiteX69" fmla="*/ 35120 w 638776"/>
                  <a:gd name="connsiteY69" fmla="*/ 275220 h 632733"/>
                  <a:gd name="connsiteX70" fmla="*/ 16571 w 638776"/>
                  <a:gd name="connsiteY70" fmla="*/ 248952 h 632733"/>
                  <a:gd name="connsiteX71" fmla="*/ 3178 w 638776"/>
                  <a:gd name="connsiteY71" fmla="*/ 239706 h 632733"/>
                  <a:gd name="connsiteX72" fmla="*/ 0 w 638776"/>
                  <a:gd name="connsiteY72" fmla="*/ 226116 h 632733"/>
                  <a:gd name="connsiteX73" fmla="*/ 23322 w 638776"/>
                  <a:gd name="connsiteY73" fmla="*/ 170836 h 632733"/>
                  <a:gd name="connsiteX74" fmla="*/ 27348 w 638776"/>
                  <a:gd name="connsiteY74" fmla="*/ 144669 h 632733"/>
                  <a:gd name="connsiteX75" fmla="*/ 45003 w 638776"/>
                  <a:gd name="connsiteY75" fmla="*/ 135297 h 632733"/>
                  <a:gd name="connsiteX76" fmla="*/ 51564 w 638776"/>
                  <a:gd name="connsiteY76" fmla="*/ 119828 h 632733"/>
                  <a:gd name="connsiteX77" fmla="*/ 62390 w 638776"/>
                  <a:gd name="connsiteY77" fmla="*/ 114023 h 632733"/>
                  <a:gd name="connsiteX78" fmla="*/ 77838 w 638776"/>
                  <a:gd name="connsiteY78" fmla="*/ 87689 h 632733"/>
                  <a:gd name="connsiteX79" fmla="*/ 91139 w 638776"/>
                  <a:gd name="connsiteY79" fmla="*/ 65835 h 632733"/>
                  <a:gd name="connsiteX80" fmla="*/ 90452 w 638776"/>
                  <a:gd name="connsiteY80" fmla="*/ 64619 h 632733"/>
                  <a:gd name="connsiteX81" fmla="*/ 90575 w 638776"/>
                  <a:gd name="connsiteY81" fmla="*/ 63883 h 632733"/>
                  <a:gd name="connsiteX82" fmla="*/ 89609 w 638776"/>
                  <a:gd name="connsiteY82" fmla="*/ 62178 h 632733"/>
                  <a:gd name="connsiteX83" fmla="*/ 209287 w 638776"/>
                  <a:gd name="connsiteY83" fmla="*/ 18411 h 632733"/>
                  <a:gd name="connsiteX84" fmla="*/ 280949 w 638776"/>
                  <a:gd name="connsiteY84" fmla="*/ 0 h 63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638776" h="632733">
                    <a:moveTo>
                      <a:pt x="280949" y="0"/>
                    </a:moveTo>
                    <a:lnTo>
                      <a:pt x="283791" y="6698"/>
                    </a:lnTo>
                    <a:lnTo>
                      <a:pt x="284737" y="7751"/>
                    </a:lnTo>
                    <a:lnTo>
                      <a:pt x="285446" y="9420"/>
                    </a:lnTo>
                    <a:cubicBezTo>
                      <a:pt x="289729" y="16206"/>
                      <a:pt x="296007" y="22292"/>
                      <a:pt x="300734" y="26480"/>
                    </a:cubicBezTo>
                    <a:cubicBezTo>
                      <a:pt x="307414" y="32368"/>
                      <a:pt x="311649" y="40082"/>
                      <a:pt x="317852" y="46510"/>
                    </a:cubicBezTo>
                    <a:cubicBezTo>
                      <a:pt x="324950" y="53891"/>
                      <a:pt x="333539" y="60568"/>
                      <a:pt x="341949" y="66913"/>
                    </a:cubicBezTo>
                    <a:cubicBezTo>
                      <a:pt x="359216" y="79934"/>
                      <a:pt x="378780" y="98845"/>
                      <a:pt x="401296" y="102743"/>
                    </a:cubicBezTo>
                    <a:cubicBezTo>
                      <a:pt x="429449" y="107595"/>
                      <a:pt x="460286" y="102079"/>
                      <a:pt x="487663" y="109129"/>
                    </a:cubicBezTo>
                    <a:cubicBezTo>
                      <a:pt x="495850" y="111244"/>
                      <a:pt x="504200" y="115350"/>
                      <a:pt x="511950" y="120362"/>
                    </a:cubicBezTo>
                    <a:lnTo>
                      <a:pt x="531859" y="136412"/>
                    </a:lnTo>
                    <a:lnTo>
                      <a:pt x="539390" y="156044"/>
                    </a:lnTo>
                    <a:cubicBezTo>
                      <a:pt x="538018" y="165128"/>
                      <a:pt x="531748" y="165471"/>
                      <a:pt x="526419" y="171695"/>
                    </a:cubicBezTo>
                    <a:cubicBezTo>
                      <a:pt x="519130" y="180161"/>
                      <a:pt x="520658" y="201739"/>
                      <a:pt x="520188" y="212173"/>
                    </a:cubicBezTo>
                    <a:cubicBezTo>
                      <a:pt x="519522" y="227160"/>
                      <a:pt x="518503" y="243933"/>
                      <a:pt x="526105" y="257662"/>
                    </a:cubicBezTo>
                    <a:lnTo>
                      <a:pt x="527378" y="259211"/>
                    </a:lnTo>
                    <a:lnTo>
                      <a:pt x="527715" y="260453"/>
                    </a:lnTo>
                    <a:cubicBezTo>
                      <a:pt x="540062" y="282722"/>
                      <a:pt x="558075" y="279322"/>
                      <a:pt x="578563" y="288901"/>
                    </a:cubicBezTo>
                    <a:lnTo>
                      <a:pt x="587548" y="297847"/>
                    </a:lnTo>
                    <a:lnTo>
                      <a:pt x="588609" y="311571"/>
                    </a:lnTo>
                    <a:cubicBezTo>
                      <a:pt x="588942" y="317589"/>
                      <a:pt x="589961" y="322886"/>
                      <a:pt x="591989" y="327762"/>
                    </a:cubicBezTo>
                    <a:lnTo>
                      <a:pt x="593440" y="329864"/>
                    </a:lnTo>
                    <a:lnTo>
                      <a:pt x="593587" y="330568"/>
                    </a:lnTo>
                    <a:cubicBezTo>
                      <a:pt x="595615" y="335441"/>
                      <a:pt x="598649" y="339889"/>
                      <a:pt x="603018" y="344222"/>
                    </a:cubicBezTo>
                    <a:cubicBezTo>
                      <a:pt x="607149" y="348328"/>
                      <a:pt x="616923" y="355170"/>
                      <a:pt x="625247" y="362733"/>
                    </a:cubicBezTo>
                    <a:lnTo>
                      <a:pt x="634341" y="372796"/>
                    </a:lnTo>
                    <a:lnTo>
                      <a:pt x="637240" y="382184"/>
                    </a:lnTo>
                    <a:lnTo>
                      <a:pt x="637872" y="382210"/>
                    </a:lnTo>
                    <a:lnTo>
                      <a:pt x="638776" y="385567"/>
                    </a:lnTo>
                    <a:cubicBezTo>
                      <a:pt x="634988" y="401326"/>
                      <a:pt x="594220" y="382042"/>
                      <a:pt x="599469" y="412647"/>
                    </a:cubicBezTo>
                    <a:cubicBezTo>
                      <a:pt x="601437" y="424134"/>
                      <a:pt x="611458" y="431018"/>
                      <a:pt x="612293" y="443293"/>
                    </a:cubicBezTo>
                    <a:cubicBezTo>
                      <a:pt x="613158" y="456274"/>
                      <a:pt x="611130" y="464692"/>
                      <a:pt x="617243" y="475972"/>
                    </a:cubicBezTo>
                    <a:cubicBezTo>
                      <a:pt x="621270" y="483353"/>
                      <a:pt x="628815" y="494053"/>
                      <a:pt x="623685" y="502512"/>
                    </a:cubicBezTo>
                    <a:cubicBezTo>
                      <a:pt x="618108" y="511594"/>
                      <a:pt x="605135" y="508277"/>
                      <a:pt x="599171" y="518852"/>
                    </a:cubicBezTo>
                    <a:cubicBezTo>
                      <a:pt x="593415" y="529136"/>
                      <a:pt x="595234" y="538716"/>
                      <a:pt x="587868" y="548212"/>
                    </a:cubicBezTo>
                    <a:cubicBezTo>
                      <a:pt x="578504" y="560321"/>
                      <a:pt x="567499" y="572555"/>
                      <a:pt x="557628" y="584706"/>
                    </a:cubicBezTo>
                    <a:cubicBezTo>
                      <a:pt x="549278" y="595032"/>
                      <a:pt x="539511" y="603119"/>
                      <a:pt x="528443" y="609095"/>
                    </a:cubicBezTo>
                    <a:lnTo>
                      <a:pt x="492623" y="620455"/>
                    </a:lnTo>
                    <a:lnTo>
                      <a:pt x="458839" y="621490"/>
                    </a:lnTo>
                    <a:lnTo>
                      <a:pt x="457503" y="621834"/>
                    </a:lnTo>
                    <a:lnTo>
                      <a:pt x="456528" y="621863"/>
                    </a:lnTo>
                    <a:cubicBezTo>
                      <a:pt x="449028" y="621946"/>
                      <a:pt x="444428" y="623823"/>
                      <a:pt x="440077" y="626119"/>
                    </a:cubicBezTo>
                    <a:lnTo>
                      <a:pt x="425833" y="632573"/>
                    </a:lnTo>
                    <a:lnTo>
                      <a:pt x="422760" y="632733"/>
                    </a:lnTo>
                    <a:lnTo>
                      <a:pt x="417784" y="632394"/>
                    </a:lnTo>
                    <a:lnTo>
                      <a:pt x="402874" y="621580"/>
                    </a:lnTo>
                    <a:cubicBezTo>
                      <a:pt x="397983" y="616267"/>
                      <a:pt x="392770" y="610699"/>
                      <a:pt x="385021" y="608509"/>
                    </a:cubicBezTo>
                    <a:cubicBezTo>
                      <a:pt x="374116" y="605419"/>
                      <a:pt x="363785" y="604570"/>
                      <a:pt x="354553" y="597576"/>
                    </a:cubicBezTo>
                    <a:cubicBezTo>
                      <a:pt x="346566" y="591532"/>
                      <a:pt x="341735" y="581856"/>
                      <a:pt x="336234" y="573572"/>
                    </a:cubicBezTo>
                    <a:cubicBezTo>
                      <a:pt x="328151" y="561552"/>
                      <a:pt x="322172" y="549907"/>
                      <a:pt x="315524" y="537141"/>
                    </a:cubicBezTo>
                    <a:cubicBezTo>
                      <a:pt x="308780" y="524137"/>
                      <a:pt x="303997" y="506719"/>
                      <a:pt x="292039" y="497077"/>
                    </a:cubicBezTo>
                    <a:cubicBezTo>
                      <a:pt x="271950" y="480915"/>
                      <a:pt x="248131" y="472291"/>
                      <a:pt x="224216" y="463803"/>
                    </a:cubicBezTo>
                    <a:lnTo>
                      <a:pt x="222575" y="463970"/>
                    </a:lnTo>
                    <a:lnTo>
                      <a:pt x="235608" y="457974"/>
                    </a:lnTo>
                    <a:lnTo>
                      <a:pt x="233914" y="454986"/>
                    </a:lnTo>
                    <a:lnTo>
                      <a:pt x="234640" y="453488"/>
                    </a:lnTo>
                    <a:cubicBezTo>
                      <a:pt x="233189" y="451540"/>
                      <a:pt x="229077" y="449415"/>
                      <a:pt x="221198" y="447212"/>
                    </a:cubicBezTo>
                    <a:cubicBezTo>
                      <a:pt x="204008" y="442436"/>
                      <a:pt x="188372" y="439308"/>
                      <a:pt x="177349" y="426004"/>
                    </a:cubicBezTo>
                    <a:cubicBezTo>
                      <a:pt x="173416" y="421342"/>
                      <a:pt x="168657" y="409970"/>
                      <a:pt x="162345" y="408037"/>
                    </a:cubicBezTo>
                    <a:cubicBezTo>
                      <a:pt x="153264" y="405251"/>
                      <a:pt x="146175" y="414235"/>
                      <a:pt x="137434" y="409572"/>
                    </a:cubicBezTo>
                    <a:lnTo>
                      <a:pt x="131075" y="398656"/>
                    </a:lnTo>
                    <a:lnTo>
                      <a:pt x="128775" y="386728"/>
                    </a:lnTo>
                    <a:lnTo>
                      <a:pt x="128543" y="386454"/>
                    </a:lnTo>
                    <a:lnTo>
                      <a:pt x="128208" y="384726"/>
                    </a:lnTo>
                    <a:cubicBezTo>
                      <a:pt x="123595" y="376311"/>
                      <a:pt x="116311" y="374094"/>
                      <a:pt x="112232" y="364655"/>
                    </a:cubicBezTo>
                    <a:cubicBezTo>
                      <a:pt x="105434" y="349133"/>
                      <a:pt x="102423" y="312859"/>
                      <a:pt x="83145" y="307344"/>
                    </a:cubicBezTo>
                    <a:cubicBezTo>
                      <a:pt x="78046" y="305922"/>
                      <a:pt x="70471" y="311210"/>
                      <a:pt x="64547" y="308936"/>
                    </a:cubicBezTo>
                    <a:cubicBezTo>
                      <a:pt x="58574" y="306605"/>
                      <a:pt x="58526" y="300180"/>
                      <a:pt x="54107" y="296711"/>
                    </a:cubicBezTo>
                    <a:cubicBezTo>
                      <a:pt x="49834" y="293300"/>
                      <a:pt x="44881" y="295915"/>
                      <a:pt x="40122" y="290912"/>
                    </a:cubicBezTo>
                    <a:cubicBezTo>
                      <a:pt x="36189" y="286761"/>
                      <a:pt x="36043" y="280450"/>
                      <a:pt x="35120" y="275220"/>
                    </a:cubicBezTo>
                    <a:cubicBezTo>
                      <a:pt x="32158" y="259356"/>
                      <a:pt x="30944" y="257594"/>
                      <a:pt x="16571" y="248952"/>
                    </a:cubicBezTo>
                    <a:lnTo>
                      <a:pt x="3178" y="239706"/>
                    </a:lnTo>
                    <a:lnTo>
                      <a:pt x="0" y="226116"/>
                    </a:lnTo>
                    <a:cubicBezTo>
                      <a:pt x="2774" y="206003"/>
                      <a:pt x="18341" y="190244"/>
                      <a:pt x="23322" y="170836"/>
                    </a:cubicBezTo>
                    <a:cubicBezTo>
                      <a:pt x="25171" y="163703"/>
                      <a:pt x="22755" y="150723"/>
                      <a:pt x="27348" y="144669"/>
                    </a:cubicBezTo>
                    <a:cubicBezTo>
                      <a:pt x="31493" y="139195"/>
                      <a:pt x="40082" y="140066"/>
                      <a:pt x="45003" y="135297"/>
                    </a:cubicBezTo>
                    <a:cubicBezTo>
                      <a:pt x="49476" y="130942"/>
                      <a:pt x="47597" y="123975"/>
                      <a:pt x="51564" y="119828"/>
                    </a:cubicBezTo>
                    <a:cubicBezTo>
                      <a:pt x="54874" y="116386"/>
                      <a:pt x="59497" y="116552"/>
                      <a:pt x="62390" y="114023"/>
                    </a:cubicBezTo>
                    <a:cubicBezTo>
                      <a:pt x="71217" y="106185"/>
                      <a:pt x="69577" y="97435"/>
                      <a:pt x="77838" y="87689"/>
                    </a:cubicBezTo>
                    <a:cubicBezTo>
                      <a:pt x="85323" y="78898"/>
                      <a:pt x="95344" y="81510"/>
                      <a:pt x="91139" y="65835"/>
                    </a:cubicBezTo>
                    <a:lnTo>
                      <a:pt x="90452" y="64619"/>
                    </a:lnTo>
                    <a:lnTo>
                      <a:pt x="90575" y="63883"/>
                    </a:lnTo>
                    <a:lnTo>
                      <a:pt x="89609" y="62178"/>
                    </a:lnTo>
                    <a:lnTo>
                      <a:pt x="209287" y="18411"/>
                    </a:lnTo>
                    <a:lnTo>
                      <a:pt x="280949"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39" name="Freeform 38">
                <a:extLst>
                  <a:ext uri="{FF2B5EF4-FFF2-40B4-BE49-F238E27FC236}">
                    <a16:creationId xmlns:a16="http://schemas.microsoft.com/office/drawing/2014/main" id="{9DB3AB7C-51A6-A248-A3E5-3737B8BDB75D}"/>
                  </a:ext>
                </a:extLst>
              </p:cNvPr>
              <p:cNvSpPr/>
              <p:nvPr/>
            </p:nvSpPr>
            <p:spPr>
              <a:xfrm>
                <a:off x="3838181" y="3440701"/>
                <a:ext cx="461923" cy="560041"/>
              </a:xfrm>
              <a:custGeom>
                <a:avLst/>
                <a:gdLst>
                  <a:gd name="connsiteX0" fmla="*/ 38925 w 461923"/>
                  <a:gd name="connsiteY0" fmla="*/ 0 h 560041"/>
                  <a:gd name="connsiteX1" fmla="*/ 58388 w 461923"/>
                  <a:gd name="connsiteY1" fmla="*/ 8938 h 560041"/>
                  <a:gd name="connsiteX2" fmla="*/ 96176 w 461923"/>
                  <a:gd name="connsiteY2" fmla="*/ 11251 h 560041"/>
                  <a:gd name="connsiteX3" fmla="*/ 107638 w 461923"/>
                  <a:gd name="connsiteY3" fmla="*/ 11145 h 560041"/>
                  <a:gd name="connsiteX4" fmla="*/ 238011 w 461923"/>
                  <a:gd name="connsiteY4" fmla="*/ 58823 h 560041"/>
                  <a:gd name="connsiteX5" fmla="*/ 265929 w 461923"/>
                  <a:gd name="connsiteY5" fmla="*/ 72260 h 560041"/>
                  <a:gd name="connsiteX6" fmla="*/ 265802 w 461923"/>
                  <a:gd name="connsiteY6" fmla="*/ 78682 h 560041"/>
                  <a:gd name="connsiteX7" fmla="*/ 272037 w 461923"/>
                  <a:gd name="connsiteY7" fmla="*/ 101010 h 560041"/>
                  <a:gd name="connsiteX8" fmla="*/ 304629 w 461923"/>
                  <a:gd name="connsiteY8" fmla="*/ 205569 h 560041"/>
                  <a:gd name="connsiteX9" fmla="*/ 315873 w 461923"/>
                  <a:gd name="connsiteY9" fmla="*/ 366563 h 560041"/>
                  <a:gd name="connsiteX10" fmla="*/ 316262 w 461923"/>
                  <a:gd name="connsiteY10" fmla="*/ 366173 h 560041"/>
                  <a:gd name="connsiteX11" fmla="*/ 317030 w 461923"/>
                  <a:gd name="connsiteY11" fmla="*/ 368468 h 560041"/>
                  <a:gd name="connsiteX12" fmla="*/ 374042 w 461923"/>
                  <a:gd name="connsiteY12" fmla="*/ 325059 h 560041"/>
                  <a:gd name="connsiteX13" fmla="*/ 460679 w 461923"/>
                  <a:gd name="connsiteY13" fmla="*/ 305955 h 560041"/>
                  <a:gd name="connsiteX14" fmla="*/ 460141 w 461923"/>
                  <a:gd name="connsiteY14" fmla="*/ 358354 h 560041"/>
                  <a:gd name="connsiteX15" fmla="*/ 418997 w 461923"/>
                  <a:gd name="connsiteY15" fmla="*/ 380176 h 560041"/>
                  <a:gd name="connsiteX16" fmla="*/ 417446 w 461923"/>
                  <a:gd name="connsiteY16" fmla="*/ 520308 h 560041"/>
                  <a:gd name="connsiteX17" fmla="*/ 402289 w 461923"/>
                  <a:gd name="connsiteY17" fmla="*/ 539621 h 560041"/>
                  <a:gd name="connsiteX18" fmla="*/ 393588 w 461923"/>
                  <a:gd name="connsiteY18" fmla="*/ 549076 h 560041"/>
                  <a:gd name="connsiteX19" fmla="*/ 389649 w 461923"/>
                  <a:gd name="connsiteY19" fmla="*/ 559866 h 560041"/>
                  <a:gd name="connsiteX20" fmla="*/ 388112 w 461923"/>
                  <a:gd name="connsiteY20" fmla="*/ 559735 h 560041"/>
                  <a:gd name="connsiteX21" fmla="*/ 348047 w 461923"/>
                  <a:gd name="connsiteY21" fmla="*/ 558511 h 560041"/>
                  <a:gd name="connsiteX22" fmla="*/ 327252 w 461923"/>
                  <a:gd name="connsiteY22" fmla="*/ 560041 h 560041"/>
                  <a:gd name="connsiteX23" fmla="*/ 308084 w 461923"/>
                  <a:gd name="connsiteY23" fmla="*/ 558606 h 560041"/>
                  <a:gd name="connsiteX24" fmla="*/ 304851 w 461923"/>
                  <a:gd name="connsiteY24" fmla="*/ 553926 h 560041"/>
                  <a:gd name="connsiteX25" fmla="*/ 304868 w 461923"/>
                  <a:gd name="connsiteY25" fmla="*/ 549547 h 560041"/>
                  <a:gd name="connsiteX26" fmla="*/ 305517 w 461923"/>
                  <a:gd name="connsiteY26" fmla="*/ 544884 h 560041"/>
                  <a:gd name="connsiteX27" fmla="*/ 305490 w 461923"/>
                  <a:gd name="connsiteY27" fmla="*/ 527887 h 560041"/>
                  <a:gd name="connsiteX28" fmla="*/ 273130 w 461923"/>
                  <a:gd name="connsiteY28" fmla="*/ 531650 h 560041"/>
                  <a:gd name="connsiteX29" fmla="*/ 209680 w 461923"/>
                  <a:gd name="connsiteY29" fmla="*/ 512990 h 560041"/>
                  <a:gd name="connsiteX30" fmla="*/ 189098 w 461923"/>
                  <a:gd name="connsiteY30" fmla="*/ 486726 h 560041"/>
                  <a:gd name="connsiteX31" fmla="*/ 179818 w 461923"/>
                  <a:gd name="connsiteY31" fmla="*/ 442951 h 560041"/>
                  <a:gd name="connsiteX32" fmla="*/ 115271 w 461923"/>
                  <a:gd name="connsiteY32" fmla="*/ 439762 h 560041"/>
                  <a:gd name="connsiteX33" fmla="*/ 124421 w 461923"/>
                  <a:gd name="connsiteY33" fmla="*/ 390368 h 560041"/>
                  <a:gd name="connsiteX34" fmla="*/ 87088 w 461923"/>
                  <a:gd name="connsiteY34" fmla="*/ 366821 h 560041"/>
                  <a:gd name="connsiteX35" fmla="*/ 88681 w 461923"/>
                  <a:gd name="connsiteY35" fmla="*/ 363398 h 560041"/>
                  <a:gd name="connsiteX36" fmla="*/ 87497 w 461923"/>
                  <a:gd name="connsiteY36" fmla="*/ 336009 h 560041"/>
                  <a:gd name="connsiteX37" fmla="*/ 109673 w 461923"/>
                  <a:gd name="connsiteY37" fmla="*/ 324039 h 560041"/>
                  <a:gd name="connsiteX38" fmla="*/ 113075 w 461923"/>
                  <a:gd name="connsiteY38" fmla="*/ 295213 h 560041"/>
                  <a:gd name="connsiteX39" fmla="*/ 99145 w 461923"/>
                  <a:gd name="connsiteY39" fmla="*/ 269210 h 560041"/>
                  <a:gd name="connsiteX40" fmla="*/ 84030 w 461923"/>
                  <a:gd name="connsiteY40" fmla="*/ 242945 h 560041"/>
                  <a:gd name="connsiteX41" fmla="*/ 82758 w 461923"/>
                  <a:gd name="connsiteY41" fmla="*/ 242978 h 560041"/>
                  <a:gd name="connsiteX42" fmla="*/ 80136 w 461923"/>
                  <a:gd name="connsiteY42" fmla="*/ 240902 h 560041"/>
                  <a:gd name="connsiteX43" fmla="*/ 66361 w 461923"/>
                  <a:gd name="connsiteY43" fmla="*/ 241256 h 560041"/>
                  <a:gd name="connsiteX44" fmla="*/ 55915 w 461923"/>
                  <a:gd name="connsiteY44" fmla="*/ 240103 h 560041"/>
                  <a:gd name="connsiteX45" fmla="*/ 49041 w 461923"/>
                  <a:gd name="connsiteY45" fmla="*/ 231109 h 560041"/>
                  <a:gd name="connsiteX46" fmla="*/ 46546 w 461923"/>
                  <a:gd name="connsiteY46" fmla="*/ 217777 h 560041"/>
                  <a:gd name="connsiteX47" fmla="*/ 44221 w 461923"/>
                  <a:gd name="connsiteY47" fmla="*/ 198334 h 560041"/>
                  <a:gd name="connsiteX48" fmla="*/ 36599 w 461923"/>
                  <a:gd name="connsiteY48" fmla="*/ 190356 h 560041"/>
                  <a:gd name="connsiteX49" fmla="*/ 34319 w 461923"/>
                  <a:gd name="connsiteY49" fmla="*/ 189946 h 560041"/>
                  <a:gd name="connsiteX50" fmla="*/ 32749 w 461923"/>
                  <a:gd name="connsiteY50" fmla="*/ 188300 h 560041"/>
                  <a:gd name="connsiteX51" fmla="*/ 20846 w 461923"/>
                  <a:gd name="connsiteY51" fmla="*/ 186169 h 560041"/>
                  <a:gd name="connsiteX52" fmla="*/ 12583 w 461923"/>
                  <a:gd name="connsiteY52" fmla="*/ 183212 h 560041"/>
                  <a:gd name="connsiteX53" fmla="*/ 8764 w 461923"/>
                  <a:gd name="connsiteY53" fmla="*/ 178230 h 560041"/>
                  <a:gd name="connsiteX54" fmla="*/ 15112 w 461923"/>
                  <a:gd name="connsiteY54" fmla="*/ 160831 h 560041"/>
                  <a:gd name="connsiteX55" fmla="*/ 20107 w 461923"/>
                  <a:gd name="connsiteY55" fmla="*/ 142249 h 560041"/>
                  <a:gd name="connsiteX56" fmla="*/ 8137 w 461923"/>
                  <a:gd name="connsiteY56" fmla="*/ 127196 h 560041"/>
                  <a:gd name="connsiteX57" fmla="*/ 11302 w 461923"/>
                  <a:gd name="connsiteY57" fmla="*/ 105609 h 560041"/>
                  <a:gd name="connsiteX58" fmla="*/ 1376 w 461923"/>
                  <a:gd name="connsiteY58" fmla="*/ 79919 h 560041"/>
                  <a:gd name="connsiteX59" fmla="*/ 5230 w 461923"/>
                  <a:gd name="connsiteY59" fmla="*/ 47016 h 560041"/>
                  <a:gd name="connsiteX60" fmla="*/ 38925 w 461923"/>
                  <a:gd name="connsiteY60" fmla="*/ 0 h 56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61923" h="560041">
                    <a:moveTo>
                      <a:pt x="38925" y="0"/>
                    </a:moveTo>
                    <a:cubicBezTo>
                      <a:pt x="41228" y="9069"/>
                      <a:pt x="49431" y="7658"/>
                      <a:pt x="58388" y="8938"/>
                    </a:cubicBezTo>
                    <a:cubicBezTo>
                      <a:pt x="70779" y="10716"/>
                      <a:pt x="83449" y="11206"/>
                      <a:pt x="96176" y="11251"/>
                    </a:cubicBezTo>
                    <a:lnTo>
                      <a:pt x="107638" y="11145"/>
                    </a:lnTo>
                    <a:lnTo>
                      <a:pt x="238011" y="58823"/>
                    </a:lnTo>
                    <a:lnTo>
                      <a:pt x="265929" y="72260"/>
                    </a:lnTo>
                    <a:lnTo>
                      <a:pt x="265802" y="78682"/>
                    </a:lnTo>
                    <a:cubicBezTo>
                      <a:pt x="266673" y="85612"/>
                      <a:pt x="268649" y="92937"/>
                      <a:pt x="272037" y="101010"/>
                    </a:cubicBezTo>
                    <a:cubicBezTo>
                      <a:pt x="286861" y="136274"/>
                      <a:pt x="304523" y="166893"/>
                      <a:pt x="304629" y="205569"/>
                    </a:cubicBezTo>
                    <a:cubicBezTo>
                      <a:pt x="304788" y="260266"/>
                      <a:pt x="289089" y="315595"/>
                      <a:pt x="315873" y="366563"/>
                    </a:cubicBezTo>
                    <a:lnTo>
                      <a:pt x="316262" y="366173"/>
                    </a:lnTo>
                    <a:lnTo>
                      <a:pt x="317030" y="368468"/>
                    </a:lnTo>
                    <a:cubicBezTo>
                      <a:pt x="332575" y="351768"/>
                      <a:pt x="349648" y="332402"/>
                      <a:pt x="374042" y="325059"/>
                    </a:cubicBezTo>
                    <a:cubicBezTo>
                      <a:pt x="402225" y="316617"/>
                      <a:pt x="430601" y="304700"/>
                      <a:pt x="460679" y="305955"/>
                    </a:cubicBezTo>
                    <a:cubicBezTo>
                      <a:pt x="461476" y="323229"/>
                      <a:pt x="463284" y="341236"/>
                      <a:pt x="460141" y="358354"/>
                    </a:cubicBezTo>
                    <a:cubicBezTo>
                      <a:pt x="455576" y="383338"/>
                      <a:pt x="442680" y="378137"/>
                      <a:pt x="418997" y="380176"/>
                    </a:cubicBezTo>
                    <a:lnTo>
                      <a:pt x="417446" y="520308"/>
                    </a:lnTo>
                    <a:cubicBezTo>
                      <a:pt x="418544" y="533271"/>
                      <a:pt x="410643" y="533036"/>
                      <a:pt x="402289" y="539621"/>
                    </a:cubicBezTo>
                    <a:cubicBezTo>
                      <a:pt x="397800" y="543176"/>
                      <a:pt x="395330" y="545926"/>
                      <a:pt x="393588" y="549076"/>
                    </a:cubicBezTo>
                    <a:lnTo>
                      <a:pt x="389649" y="559866"/>
                    </a:lnTo>
                    <a:lnTo>
                      <a:pt x="388112" y="559735"/>
                    </a:lnTo>
                    <a:cubicBezTo>
                      <a:pt x="374239" y="560476"/>
                      <a:pt x="361672" y="558994"/>
                      <a:pt x="348047" y="558511"/>
                    </a:cubicBezTo>
                    <a:cubicBezTo>
                      <a:pt x="343521" y="558366"/>
                      <a:pt x="335286" y="559453"/>
                      <a:pt x="327252" y="560041"/>
                    </a:cubicBezTo>
                    <a:lnTo>
                      <a:pt x="308084" y="558606"/>
                    </a:lnTo>
                    <a:lnTo>
                      <a:pt x="304851" y="553926"/>
                    </a:lnTo>
                    <a:lnTo>
                      <a:pt x="304868" y="549547"/>
                    </a:lnTo>
                    <a:lnTo>
                      <a:pt x="305517" y="544884"/>
                    </a:lnTo>
                    <a:cubicBezTo>
                      <a:pt x="307105" y="539014"/>
                      <a:pt x="309247" y="532787"/>
                      <a:pt x="305490" y="527887"/>
                    </a:cubicBezTo>
                    <a:cubicBezTo>
                      <a:pt x="296253" y="515891"/>
                      <a:pt x="282043" y="528018"/>
                      <a:pt x="273130" y="531650"/>
                    </a:cubicBezTo>
                    <a:cubicBezTo>
                      <a:pt x="245765" y="542836"/>
                      <a:pt x="222620" y="537165"/>
                      <a:pt x="209680" y="512990"/>
                    </a:cubicBezTo>
                    <a:cubicBezTo>
                      <a:pt x="203200" y="500890"/>
                      <a:pt x="193748" y="500420"/>
                      <a:pt x="189098" y="486726"/>
                    </a:cubicBezTo>
                    <a:cubicBezTo>
                      <a:pt x="184512" y="473266"/>
                      <a:pt x="186471" y="455469"/>
                      <a:pt x="179818" y="442951"/>
                    </a:cubicBezTo>
                    <a:cubicBezTo>
                      <a:pt x="166642" y="418071"/>
                      <a:pt x="137641" y="447315"/>
                      <a:pt x="115271" y="439762"/>
                    </a:cubicBezTo>
                    <a:cubicBezTo>
                      <a:pt x="111804" y="422278"/>
                      <a:pt x="131225" y="407695"/>
                      <a:pt x="124421" y="390368"/>
                    </a:cubicBezTo>
                    <a:cubicBezTo>
                      <a:pt x="118694" y="375759"/>
                      <a:pt x="101750" y="372336"/>
                      <a:pt x="87088" y="366821"/>
                    </a:cubicBezTo>
                    <a:cubicBezTo>
                      <a:pt x="87906" y="365776"/>
                      <a:pt x="88466" y="364652"/>
                      <a:pt x="88681" y="363398"/>
                    </a:cubicBezTo>
                    <a:cubicBezTo>
                      <a:pt x="90102" y="354643"/>
                      <a:pt x="84504" y="344555"/>
                      <a:pt x="87497" y="336009"/>
                    </a:cubicBezTo>
                    <a:cubicBezTo>
                      <a:pt x="91544" y="324458"/>
                      <a:pt x="101578" y="329737"/>
                      <a:pt x="109673" y="324039"/>
                    </a:cubicBezTo>
                    <a:cubicBezTo>
                      <a:pt x="119361" y="317218"/>
                      <a:pt x="117682" y="303550"/>
                      <a:pt x="113075" y="295213"/>
                    </a:cubicBezTo>
                    <a:cubicBezTo>
                      <a:pt x="107714" y="285544"/>
                      <a:pt x="101125" y="280186"/>
                      <a:pt x="99145" y="269210"/>
                    </a:cubicBezTo>
                    <a:cubicBezTo>
                      <a:pt x="96841" y="256482"/>
                      <a:pt x="99511" y="247048"/>
                      <a:pt x="84030" y="242945"/>
                    </a:cubicBezTo>
                    <a:lnTo>
                      <a:pt x="82758" y="242978"/>
                    </a:lnTo>
                    <a:lnTo>
                      <a:pt x="80136" y="240902"/>
                    </a:lnTo>
                    <a:cubicBezTo>
                      <a:pt x="75375" y="239632"/>
                      <a:pt x="70799" y="240593"/>
                      <a:pt x="66361" y="241256"/>
                    </a:cubicBezTo>
                    <a:lnTo>
                      <a:pt x="55915" y="240103"/>
                    </a:lnTo>
                    <a:lnTo>
                      <a:pt x="49041" y="231109"/>
                    </a:lnTo>
                    <a:cubicBezTo>
                      <a:pt x="47655" y="226820"/>
                      <a:pt x="47225" y="222103"/>
                      <a:pt x="46546" y="217777"/>
                    </a:cubicBezTo>
                    <a:cubicBezTo>
                      <a:pt x="45685" y="212237"/>
                      <a:pt x="46267" y="203639"/>
                      <a:pt x="44221" y="198334"/>
                    </a:cubicBezTo>
                    <a:cubicBezTo>
                      <a:pt x="42337" y="193447"/>
                      <a:pt x="39824" y="191415"/>
                      <a:pt x="36599" y="190356"/>
                    </a:cubicBezTo>
                    <a:lnTo>
                      <a:pt x="34319" y="189946"/>
                    </a:lnTo>
                    <a:lnTo>
                      <a:pt x="32749" y="188300"/>
                    </a:lnTo>
                    <a:cubicBezTo>
                      <a:pt x="29526" y="187239"/>
                      <a:pt x="25588" y="187153"/>
                      <a:pt x="20846" y="186169"/>
                    </a:cubicBezTo>
                    <a:lnTo>
                      <a:pt x="12583" y="183212"/>
                    </a:lnTo>
                    <a:lnTo>
                      <a:pt x="8764" y="178230"/>
                    </a:lnTo>
                    <a:cubicBezTo>
                      <a:pt x="7749" y="173676"/>
                      <a:pt x="10451" y="167887"/>
                      <a:pt x="15112" y="160831"/>
                    </a:cubicBezTo>
                    <a:cubicBezTo>
                      <a:pt x="18773" y="155290"/>
                      <a:pt x="22002" y="149279"/>
                      <a:pt x="20107" y="142249"/>
                    </a:cubicBezTo>
                    <a:cubicBezTo>
                      <a:pt x="18256" y="135271"/>
                      <a:pt x="10268" y="133207"/>
                      <a:pt x="8137" y="127196"/>
                    </a:cubicBezTo>
                    <a:cubicBezTo>
                      <a:pt x="5768" y="120558"/>
                      <a:pt x="11840" y="112796"/>
                      <a:pt x="11302" y="105609"/>
                    </a:cubicBezTo>
                    <a:cubicBezTo>
                      <a:pt x="10613" y="96357"/>
                      <a:pt x="3809" y="88700"/>
                      <a:pt x="1376" y="79919"/>
                    </a:cubicBezTo>
                    <a:cubicBezTo>
                      <a:pt x="-1767" y="68472"/>
                      <a:pt x="881" y="57653"/>
                      <a:pt x="5230" y="47016"/>
                    </a:cubicBezTo>
                    <a:cubicBezTo>
                      <a:pt x="12249" y="29767"/>
                      <a:pt x="23208" y="11682"/>
                      <a:pt x="38925"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0" name="Freeform 39">
                <a:extLst>
                  <a:ext uri="{FF2B5EF4-FFF2-40B4-BE49-F238E27FC236}">
                    <a16:creationId xmlns:a16="http://schemas.microsoft.com/office/drawing/2014/main" id="{B13D657B-D193-214B-A0E2-A947D0DC24AF}"/>
                  </a:ext>
                </a:extLst>
              </p:cNvPr>
              <p:cNvSpPr/>
              <p:nvPr/>
            </p:nvSpPr>
            <p:spPr>
              <a:xfrm>
                <a:off x="2353916" y="3492872"/>
                <a:ext cx="713242" cy="496253"/>
              </a:xfrm>
              <a:custGeom>
                <a:avLst/>
                <a:gdLst>
                  <a:gd name="connsiteX0" fmla="*/ 568492 w 713242"/>
                  <a:gd name="connsiteY0" fmla="*/ 0 h 496253"/>
                  <a:gd name="connsiteX1" fmla="*/ 569780 w 713242"/>
                  <a:gd name="connsiteY1" fmla="*/ 2278 h 496253"/>
                  <a:gd name="connsiteX2" fmla="*/ 567639 w 713242"/>
                  <a:gd name="connsiteY2" fmla="*/ 15038 h 496253"/>
                  <a:gd name="connsiteX3" fmla="*/ 556597 w 713242"/>
                  <a:gd name="connsiteY3" fmla="*/ 23375 h 496253"/>
                  <a:gd name="connsiteX4" fmla="*/ 541156 w 713242"/>
                  <a:gd name="connsiteY4" fmla="*/ 49699 h 496253"/>
                  <a:gd name="connsiteX5" fmla="*/ 530327 w 713242"/>
                  <a:gd name="connsiteY5" fmla="*/ 55499 h 496253"/>
                  <a:gd name="connsiteX6" fmla="*/ 523723 w 713242"/>
                  <a:gd name="connsiteY6" fmla="*/ 70964 h 496253"/>
                  <a:gd name="connsiteX7" fmla="*/ 506096 w 713242"/>
                  <a:gd name="connsiteY7" fmla="*/ 80345 h 496253"/>
                  <a:gd name="connsiteX8" fmla="*/ 502066 w 713242"/>
                  <a:gd name="connsiteY8" fmla="*/ 106499 h 496253"/>
                  <a:gd name="connsiteX9" fmla="*/ 478709 w 713242"/>
                  <a:gd name="connsiteY9" fmla="*/ 161764 h 496253"/>
                  <a:gd name="connsiteX10" fmla="*/ 482351 w 713242"/>
                  <a:gd name="connsiteY10" fmla="*/ 177258 h 496253"/>
                  <a:gd name="connsiteX11" fmla="*/ 482506 w 713242"/>
                  <a:gd name="connsiteY11" fmla="*/ 177365 h 496253"/>
                  <a:gd name="connsiteX12" fmla="*/ 482952 w 713242"/>
                  <a:gd name="connsiteY12" fmla="*/ 179274 h 496253"/>
                  <a:gd name="connsiteX13" fmla="*/ 496506 w 713242"/>
                  <a:gd name="connsiteY13" fmla="*/ 188615 h 496253"/>
                  <a:gd name="connsiteX14" fmla="*/ 515026 w 713242"/>
                  <a:gd name="connsiteY14" fmla="*/ 214907 h 496253"/>
                  <a:gd name="connsiteX15" fmla="*/ 520066 w 713242"/>
                  <a:gd name="connsiteY15" fmla="*/ 230583 h 496253"/>
                  <a:gd name="connsiteX16" fmla="*/ 534023 w 713242"/>
                  <a:gd name="connsiteY16" fmla="*/ 236388 h 496253"/>
                  <a:gd name="connsiteX17" fmla="*/ 544431 w 713242"/>
                  <a:gd name="connsiteY17" fmla="*/ 248622 h 496253"/>
                  <a:gd name="connsiteX18" fmla="*/ 563071 w 713242"/>
                  <a:gd name="connsiteY18" fmla="*/ 247046 h 496253"/>
                  <a:gd name="connsiteX19" fmla="*/ 592088 w 713242"/>
                  <a:gd name="connsiteY19" fmla="*/ 304316 h 496253"/>
                  <a:gd name="connsiteX20" fmla="*/ 599917 w 713242"/>
                  <a:gd name="connsiteY20" fmla="*/ 314756 h 496253"/>
                  <a:gd name="connsiteX21" fmla="*/ 607871 w 713242"/>
                  <a:gd name="connsiteY21" fmla="*/ 324113 h 496253"/>
                  <a:gd name="connsiteX22" fmla="*/ 610146 w 713242"/>
                  <a:gd name="connsiteY22" fmla="*/ 335874 h 496253"/>
                  <a:gd name="connsiteX23" fmla="*/ 610403 w 713242"/>
                  <a:gd name="connsiteY23" fmla="*/ 336315 h 496253"/>
                  <a:gd name="connsiteX24" fmla="*/ 610709 w 713242"/>
                  <a:gd name="connsiteY24" fmla="*/ 337902 h 496253"/>
                  <a:gd name="connsiteX25" fmla="*/ 617318 w 713242"/>
                  <a:gd name="connsiteY25" fmla="*/ 349269 h 496253"/>
                  <a:gd name="connsiteX26" fmla="*/ 642191 w 713242"/>
                  <a:gd name="connsiteY26" fmla="*/ 347735 h 496253"/>
                  <a:gd name="connsiteX27" fmla="*/ 657192 w 713242"/>
                  <a:gd name="connsiteY27" fmla="*/ 365733 h 496253"/>
                  <a:gd name="connsiteX28" fmla="*/ 701031 w 713242"/>
                  <a:gd name="connsiteY28" fmla="*/ 386883 h 496253"/>
                  <a:gd name="connsiteX29" fmla="*/ 712586 w 713242"/>
                  <a:gd name="connsiteY29" fmla="*/ 391487 h 496253"/>
                  <a:gd name="connsiteX30" fmla="*/ 713242 w 713242"/>
                  <a:gd name="connsiteY30" fmla="*/ 392645 h 496253"/>
                  <a:gd name="connsiteX31" fmla="*/ 711440 w 713242"/>
                  <a:gd name="connsiteY31" fmla="*/ 396363 h 496253"/>
                  <a:gd name="connsiteX32" fmla="*/ 684987 w 713242"/>
                  <a:gd name="connsiteY32" fmla="*/ 401245 h 496253"/>
                  <a:gd name="connsiteX33" fmla="*/ 494248 w 713242"/>
                  <a:gd name="connsiteY33" fmla="*/ 392489 h 496253"/>
                  <a:gd name="connsiteX34" fmla="*/ 494248 w 713242"/>
                  <a:gd name="connsiteY34" fmla="*/ 410001 h 496253"/>
                  <a:gd name="connsiteX35" fmla="*/ 450836 w 713242"/>
                  <a:gd name="connsiteY35" fmla="*/ 410001 h 496253"/>
                  <a:gd name="connsiteX36" fmla="*/ 450836 w 713242"/>
                  <a:gd name="connsiteY36" fmla="*/ 440647 h 496253"/>
                  <a:gd name="connsiteX37" fmla="*/ 383873 w 713242"/>
                  <a:gd name="connsiteY37" fmla="*/ 440647 h 496253"/>
                  <a:gd name="connsiteX38" fmla="*/ 340850 w 713242"/>
                  <a:gd name="connsiteY38" fmla="*/ 439339 h 496253"/>
                  <a:gd name="connsiteX39" fmla="*/ 283356 w 713242"/>
                  <a:gd name="connsiteY39" fmla="*/ 426092 h 496253"/>
                  <a:gd name="connsiteX40" fmla="*/ 246403 w 713242"/>
                  <a:gd name="connsiteY40" fmla="*/ 443831 h 496253"/>
                  <a:gd name="connsiteX41" fmla="*/ 217025 w 713242"/>
                  <a:gd name="connsiteY41" fmla="*/ 471350 h 496253"/>
                  <a:gd name="connsiteX42" fmla="*/ 168709 w 713242"/>
                  <a:gd name="connsiteY42" fmla="*/ 468393 h 496253"/>
                  <a:gd name="connsiteX43" fmla="*/ 99901 w 713242"/>
                  <a:gd name="connsiteY43" fmla="*/ 496253 h 496253"/>
                  <a:gd name="connsiteX44" fmla="*/ 72514 w 713242"/>
                  <a:gd name="connsiteY44" fmla="*/ 463958 h 496253"/>
                  <a:gd name="connsiteX45" fmla="*/ 34880 w 713242"/>
                  <a:gd name="connsiteY45" fmla="*/ 424955 h 496253"/>
                  <a:gd name="connsiteX46" fmla="*/ 14589 w 713242"/>
                  <a:gd name="connsiteY46" fmla="*/ 416206 h 496253"/>
                  <a:gd name="connsiteX47" fmla="*/ 0 w 713242"/>
                  <a:gd name="connsiteY47" fmla="*/ 407921 h 496253"/>
                  <a:gd name="connsiteX48" fmla="*/ 71778 w 713242"/>
                  <a:gd name="connsiteY48" fmla="*/ 329011 h 496253"/>
                  <a:gd name="connsiteX49" fmla="*/ 550301 w 713242"/>
                  <a:gd name="connsiteY49" fmla="*/ 6652 h 496253"/>
                  <a:gd name="connsiteX50" fmla="*/ 568492 w 713242"/>
                  <a:gd name="connsiteY50" fmla="*/ 0 h 49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713242" h="496253">
                    <a:moveTo>
                      <a:pt x="568492" y="0"/>
                    </a:moveTo>
                    <a:lnTo>
                      <a:pt x="569780" y="2278"/>
                    </a:lnTo>
                    <a:lnTo>
                      <a:pt x="567639" y="15038"/>
                    </a:lnTo>
                    <a:cubicBezTo>
                      <a:pt x="564719" y="17433"/>
                      <a:pt x="560337" y="18969"/>
                      <a:pt x="556597" y="23375"/>
                    </a:cubicBezTo>
                    <a:cubicBezTo>
                      <a:pt x="548294" y="33097"/>
                      <a:pt x="549945" y="41853"/>
                      <a:pt x="541156" y="49699"/>
                    </a:cubicBezTo>
                    <a:cubicBezTo>
                      <a:pt x="538242" y="52258"/>
                      <a:pt x="533629" y="52031"/>
                      <a:pt x="530327" y="55499"/>
                    </a:cubicBezTo>
                    <a:cubicBezTo>
                      <a:pt x="526345" y="59649"/>
                      <a:pt x="528239" y="66643"/>
                      <a:pt x="523723" y="70964"/>
                    </a:cubicBezTo>
                    <a:cubicBezTo>
                      <a:pt x="518819" y="75740"/>
                      <a:pt x="510224" y="74887"/>
                      <a:pt x="506096" y="80345"/>
                    </a:cubicBezTo>
                    <a:cubicBezTo>
                      <a:pt x="501483" y="86372"/>
                      <a:pt x="503911" y="99392"/>
                      <a:pt x="502066" y="106499"/>
                    </a:cubicBezTo>
                    <a:cubicBezTo>
                      <a:pt x="497064" y="125944"/>
                      <a:pt x="481477" y="141637"/>
                      <a:pt x="478709" y="161764"/>
                    </a:cubicBezTo>
                    <a:cubicBezTo>
                      <a:pt x="477689" y="169213"/>
                      <a:pt x="479194" y="173747"/>
                      <a:pt x="482351" y="177258"/>
                    </a:cubicBezTo>
                    <a:lnTo>
                      <a:pt x="482506" y="177365"/>
                    </a:lnTo>
                    <a:lnTo>
                      <a:pt x="482952" y="179274"/>
                    </a:lnTo>
                    <a:cubicBezTo>
                      <a:pt x="486106" y="182778"/>
                      <a:pt x="490915" y="185256"/>
                      <a:pt x="496506" y="188615"/>
                    </a:cubicBezTo>
                    <a:cubicBezTo>
                      <a:pt x="510881" y="197282"/>
                      <a:pt x="512103" y="199024"/>
                      <a:pt x="515026" y="214907"/>
                    </a:cubicBezTo>
                    <a:cubicBezTo>
                      <a:pt x="515980" y="220132"/>
                      <a:pt x="516100" y="226436"/>
                      <a:pt x="520066" y="230583"/>
                    </a:cubicBezTo>
                    <a:cubicBezTo>
                      <a:pt x="524808" y="235600"/>
                      <a:pt x="529729" y="232988"/>
                      <a:pt x="534023" y="236388"/>
                    </a:cubicBezTo>
                    <a:cubicBezTo>
                      <a:pt x="538437" y="239830"/>
                      <a:pt x="538467" y="246300"/>
                      <a:pt x="544431" y="248622"/>
                    </a:cubicBezTo>
                    <a:cubicBezTo>
                      <a:pt x="550396" y="250903"/>
                      <a:pt x="557941" y="245595"/>
                      <a:pt x="563071" y="247046"/>
                    </a:cubicBezTo>
                    <a:cubicBezTo>
                      <a:pt x="582306" y="252520"/>
                      <a:pt x="585348" y="288848"/>
                      <a:pt x="592088" y="304316"/>
                    </a:cubicBezTo>
                    <a:cubicBezTo>
                      <a:pt x="594146" y="309044"/>
                      <a:pt x="597002" y="311967"/>
                      <a:pt x="599917" y="314756"/>
                    </a:cubicBezTo>
                    <a:lnTo>
                      <a:pt x="607871" y="324113"/>
                    </a:lnTo>
                    <a:lnTo>
                      <a:pt x="610146" y="335874"/>
                    </a:lnTo>
                    <a:lnTo>
                      <a:pt x="610403" y="336315"/>
                    </a:lnTo>
                    <a:lnTo>
                      <a:pt x="610709" y="337902"/>
                    </a:lnTo>
                    <a:cubicBezTo>
                      <a:pt x="611220" y="342427"/>
                      <a:pt x="612398" y="346595"/>
                      <a:pt x="617318" y="349269"/>
                    </a:cubicBezTo>
                    <a:cubicBezTo>
                      <a:pt x="626027" y="353955"/>
                      <a:pt x="633125" y="344915"/>
                      <a:pt x="642191" y="347735"/>
                    </a:cubicBezTo>
                    <a:cubicBezTo>
                      <a:pt x="648513" y="349684"/>
                      <a:pt x="653285" y="361047"/>
                      <a:pt x="657192" y="365733"/>
                    </a:cubicBezTo>
                    <a:cubicBezTo>
                      <a:pt x="668226" y="379003"/>
                      <a:pt x="683853" y="382114"/>
                      <a:pt x="701031" y="386883"/>
                    </a:cubicBezTo>
                    <a:cubicBezTo>
                      <a:pt x="706690" y="388469"/>
                      <a:pt x="710405" y="390017"/>
                      <a:pt x="712586" y="391487"/>
                    </a:cubicBezTo>
                    <a:lnTo>
                      <a:pt x="713242" y="392645"/>
                    </a:lnTo>
                    <a:lnTo>
                      <a:pt x="711440" y="396363"/>
                    </a:lnTo>
                    <a:cubicBezTo>
                      <a:pt x="705904" y="399355"/>
                      <a:pt x="694141" y="401245"/>
                      <a:pt x="684987" y="401245"/>
                    </a:cubicBezTo>
                    <a:lnTo>
                      <a:pt x="494248" y="392489"/>
                    </a:lnTo>
                    <a:lnTo>
                      <a:pt x="494248" y="410001"/>
                    </a:lnTo>
                    <a:lnTo>
                      <a:pt x="450836" y="410001"/>
                    </a:lnTo>
                    <a:lnTo>
                      <a:pt x="450836" y="440647"/>
                    </a:lnTo>
                    <a:cubicBezTo>
                      <a:pt x="428548" y="440647"/>
                      <a:pt x="406210" y="440647"/>
                      <a:pt x="383873" y="440647"/>
                    </a:cubicBezTo>
                    <a:cubicBezTo>
                      <a:pt x="369743" y="440647"/>
                      <a:pt x="354738" y="441955"/>
                      <a:pt x="340850" y="439339"/>
                    </a:cubicBezTo>
                    <a:cubicBezTo>
                      <a:pt x="321718" y="435757"/>
                      <a:pt x="303363" y="425182"/>
                      <a:pt x="283356" y="426092"/>
                    </a:cubicBezTo>
                    <a:cubicBezTo>
                      <a:pt x="267089" y="426831"/>
                      <a:pt x="259028" y="436553"/>
                      <a:pt x="246403" y="443831"/>
                    </a:cubicBezTo>
                    <a:cubicBezTo>
                      <a:pt x="245286" y="463560"/>
                      <a:pt x="238342" y="471407"/>
                      <a:pt x="217025" y="471350"/>
                    </a:cubicBezTo>
                    <a:cubicBezTo>
                      <a:pt x="201000" y="471293"/>
                      <a:pt x="185510" y="468393"/>
                      <a:pt x="168709" y="468393"/>
                    </a:cubicBezTo>
                    <a:cubicBezTo>
                      <a:pt x="135834" y="468393"/>
                      <a:pt x="118790" y="480845"/>
                      <a:pt x="99901" y="496253"/>
                    </a:cubicBezTo>
                    <a:cubicBezTo>
                      <a:pt x="90432" y="486474"/>
                      <a:pt x="81643" y="475898"/>
                      <a:pt x="72514" y="463958"/>
                    </a:cubicBezTo>
                    <a:cubicBezTo>
                      <a:pt x="62268" y="450540"/>
                      <a:pt x="50468" y="433938"/>
                      <a:pt x="34880" y="424955"/>
                    </a:cubicBezTo>
                    <a:cubicBezTo>
                      <a:pt x="28301" y="421174"/>
                      <a:pt x="21357" y="418871"/>
                      <a:pt x="14589" y="416206"/>
                    </a:cubicBezTo>
                    <a:lnTo>
                      <a:pt x="0" y="407921"/>
                    </a:lnTo>
                    <a:lnTo>
                      <a:pt x="71778" y="329011"/>
                    </a:lnTo>
                    <a:cubicBezTo>
                      <a:pt x="207994" y="192909"/>
                      <a:pt x="370192" y="82768"/>
                      <a:pt x="550301" y="6652"/>
                    </a:cubicBezTo>
                    <a:lnTo>
                      <a:pt x="56849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1" name="Freeform 40">
                <a:extLst>
                  <a:ext uri="{FF2B5EF4-FFF2-40B4-BE49-F238E27FC236}">
                    <a16:creationId xmlns:a16="http://schemas.microsoft.com/office/drawing/2014/main" id="{4A3EE95C-EE29-DC41-949B-040A813EF99F}"/>
                  </a:ext>
                </a:extLst>
              </p:cNvPr>
              <p:cNvSpPr/>
              <p:nvPr/>
            </p:nvSpPr>
            <p:spPr>
              <a:xfrm>
                <a:off x="4105133" y="3513529"/>
                <a:ext cx="301737" cy="293345"/>
              </a:xfrm>
              <a:custGeom>
                <a:avLst/>
                <a:gdLst>
                  <a:gd name="connsiteX0" fmla="*/ 156 w 301737"/>
                  <a:gd name="connsiteY0" fmla="*/ 0 h 293345"/>
                  <a:gd name="connsiteX1" fmla="*/ 102656 w 301737"/>
                  <a:gd name="connsiteY1" fmla="*/ 49335 h 293345"/>
                  <a:gd name="connsiteX2" fmla="*/ 226780 w 301737"/>
                  <a:gd name="connsiteY2" fmla="*/ 124680 h 293345"/>
                  <a:gd name="connsiteX3" fmla="*/ 301737 w 301737"/>
                  <a:gd name="connsiteY3" fmla="*/ 180684 h 293345"/>
                  <a:gd name="connsiteX4" fmla="*/ 290387 w 301737"/>
                  <a:gd name="connsiteY4" fmla="*/ 185412 h 293345"/>
                  <a:gd name="connsiteX5" fmla="*/ 270650 w 301737"/>
                  <a:gd name="connsiteY5" fmla="*/ 184594 h 293345"/>
                  <a:gd name="connsiteX6" fmla="*/ 235777 w 301737"/>
                  <a:gd name="connsiteY6" fmla="*/ 202131 h 293345"/>
                  <a:gd name="connsiteX7" fmla="*/ 204378 w 301737"/>
                  <a:gd name="connsiteY7" fmla="*/ 221849 h 293345"/>
                  <a:gd name="connsiteX8" fmla="*/ 192179 w 301737"/>
                  <a:gd name="connsiteY8" fmla="*/ 231170 h 293345"/>
                  <a:gd name="connsiteX9" fmla="*/ 105911 w 301737"/>
                  <a:gd name="connsiteY9" fmla="*/ 250319 h 293345"/>
                  <a:gd name="connsiteX10" fmla="*/ 74105 w 301737"/>
                  <a:gd name="connsiteY10" fmla="*/ 268508 h 293345"/>
                  <a:gd name="connsiteX11" fmla="*/ 49310 w 301737"/>
                  <a:gd name="connsiteY11" fmla="*/ 293345 h 293345"/>
                  <a:gd name="connsiteX12" fmla="*/ 37044 w 301737"/>
                  <a:gd name="connsiteY12" fmla="*/ 256698 h 293345"/>
                  <a:gd name="connsiteX13" fmla="*/ 38839 w 301737"/>
                  <a:gd name="connsiteY13" fmla="*/ 134757 h 293345"/>
                  <a:gd name="connsiteX14" fmla="*/ 6242 w 301737"/>
                  <a:gd name="connsiteY14" fmla="*/ 30272 h 293345"/>
                  <a:gd name="connsiteX15" fmla="*/ 0 w 301737"/>
                  <a:gd name="connsiteY15" fmla="*/ 7957 h 293345"/>
                  <a:gd name="connsiteX16" fmla="*/ 156 w 301737"/>
                  <a:gd name="connsiteY16" fmla="*/ 0 h 29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1737" h="293345">
                    <a:moveTo>
                      <a:pt x="156" y="0"/>
                    </a:moveTo>
                    <a:lnTo>
                      <a:pt x="102656" y="49335"/>
                    </a:lnTo>
                    <a:cubicBezTo>
                      <a:pt x="145319" y="72492"/>
                      <a:pt x="186736" y="97648"/>
                      <a:pt x="226780" y="124680"/>
                    </a:cubicBezTo>
                    <a:lnTo>
                      <a:pt x="301737" y="180684"/>
                    </a:lnTo>
                    <a:lnTo>
                      <a:pt x="290387" y="185412"/>
                    </a:lnTo>
                    <a:cubicBezTo>
                      <a:pt x="283273" y="185597"/>
                      <a:pt x="275397" y="184594"/>
                      <a:pt x="270650" y="184594"/>
                    </a:cubicBezTo>
                    <a:cubicBezTo>
                      <a:pt x="252802" y="184563"/>
                      <a:pt x="247710" y="190977"/>
                      <a:pt x="235777" y="202131"/>
                    </a:cubicBezTo>
                    <a:cubicBezTo>
                      <a:pt x="226813" y="210536"/>
                      <a:pt x="214879" y="215466"/>
                      <a:pt x="204378" y="221849"/>
                    </a:cubicBezTo>
                    <a:cubicBezTo>
                      <a:pt x="200055" y="224440"/>
                      <a:pt x="196104" y="227758"/>
                      <a:pt x="192179" y="231170"/>
                    </a:cubicBezTo>
                    <a:cubicBezTo>
                      <a:pt x="162238" y="230033"/>
                      <a:pt x="133995" y="241882"/>
                      <a:pt x="105911" y="250319"/>
                    </a:cubicBezTo>
                    <a:cubicBezTo>
                      <a:pt x="93726" y="253985"/>
                      <a:pt x="83363" y="260660"/>
                      <a:pt x="74105" y="268508"/>
                    </a:cubicBezTo>
                    <a:lnTo>
                      <a:pt x="49310" y="293345"/>
                    </a:lnTo>
                    <a:lnTo>
                      <a:pt x="37044" y="256698"/>
                    </a:lnTo>
                    <a:cubicBezTo>
                      <a:pt x="30152" y="217095"/>
                      <a:pt x="38952" y="175742"/>
                      <a:pt x="38839" y="134757"/>
                    </a:cubicBezTo>
                    <a:cubicBezTo>
                      <a:pt x="38731" y="96104"/>
                      <a:pt x="21055" y="65527"/>
                      <a:pt x="6242" y="30272"/>
                    </a:cubicBezTo>
                    <a:cubicBezTo>
                      <a:pt x="2851" y="22203"/>
                      <a:pt x="873" y="14882"/>
                      <a:pt x="0" y="7957"/>
                    </a:cubicBezTo>
                    <a:lnTo>
                      <a:pt x="156"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2" name="Freeform 41">
                <a:extLst>
                  <a:ext uri="{FF2B5EF4-FFF2-40B4-BE49-F238E27FC236}">
                    <a16:creationId xmlns:a16="http://schemas.microsoft.com/office/drawing/2014/main" id="{81674F4B-30B1-8944-899A-010E270B3576}"/>
                  </a:ext>
                </a:extLst>
              </p:cNvPr>
              <p:cNvSpPr/>
              <p:nvPr/>
            </p:nvSpPr>
            <p:spPr>
              <a:xfrm>
                <a:off x="3433254" y="3808359"/>
                <a:ext cx="852972" cy="601584"/>
              </a:xfrm>
              <a:custGeom>
                <a:avLst/>
                <a:gdLst>
                  <a:gd name="connsiteX0" fmla="*/ 490871 w 852972"/>
                  <a:gd name="connsiteY0" fmla="*/ 0 h 601584"/>
                  <a:gd name="connsiteX1" fmla="*/ 528190 w 852972"/>
                  <a:gd name="connsiteY1" fmla="*/ 23550 h 601584"/>
                  <a:gd name="connsiteX2" fmla="*/ 519031 w 852972"/>
                  <a:gd name="connsiteY2" fmla="*/ 72947 h 601584"/>
                  <a:gd name="connsiteX3" fmla="*/ 583585 w 852972"/>
                  <a:gd name="connsiteY3" fmla="*/ 76140 h 601584"/>
                  <a:gd name="connsiteX4" fmla="*/ 592864 w 852972"/>
                  <a:gd name="connsiteY4" fmla="*/ 119908 h 601584"/>
                  <a:gd name="connsiteX5" fmla="*/ 613432 w 852972"/>
                  <a:gd name="connsiteY5" fmla="*/ 146203 h 601584"/>
                  <a:gd name="connsiteX6" fmla="*/ 676901 w 852972"/>
                  <a:gd name="connsiteY6" fmla="*/ 164853 h 601584"/>
                  <a:gd name="connsiteX7" fmla="*/ 709239 w 852972"/>
                  <a:gd name="connsiteY7" fmla="*/ 161100 h 601584"/>
                  <a:gd name="connsiteX8" fmla="*/ 709816 w 852972"/>
                  <a:gd name="connsiteY8" fmla="*/ 176218 h 601584"/>
                  <a:gd name="connsiteX9" fmla="*/ 709794 w 852972"/>
                  <a:gd name="connsiteY9" fmla="*/ 181888 h 601584"/>
                  <a:gd name="connsiteX10" fmla="*/ 709284 w 852972"/>
                  <a:gd name="connsiteY10" fmla="*/ 185553 h 601584"/>
                  <a:gd name="connsiteX11" fmla="*/ 709777 w 852972"/>
                  <a:gd name="connsiteY11" fmla="*/ 186267 h 601584"/>
                  <a:gd name="connsiteX12" fmla="*/ 709769 w 852972"/>
                  <a:gd name="connsiteY12" fmla="*/ 188439 h 601584"/>
                  <a:gd name="connsiteX13" fmla="*/ 709765 w 852972"/>
                  <a:gd name="connsiteY13" fmla="*/ 188435 h 601584"/>
                  <a:gd name="connsiteX14" fmla="*/ 690382 w 852972"/>
                  <a:gd name="connsiteY14" fmla="*/ 225690 h 601584"/>
                  <a:gd name="connsiteX15" fmla="*/ 690518 w 852972"/>
                  <a:gd name="connsiteY15" fmla="*/ 227399 h 601584"/>
                  <a:gd name="connsiteX16" fmla="*/ 690384 w 852972"/>
                  <a:gd name="connsiteY16" fmla="*/ 227737 h 601584"/>
                  <a:gd name="connsiteX17" fmla="*/ 706467 w 852972"/>
                  <a:gd name="connsiteY17" fmla="*/ 267539 h 601584"/>
                  <a:gd name="connsiteX18" fmla="*/ 724383 w 852972"/>
                  <a:gd name="connsiteY18" fmla="*/ 292629 h 601584"/>
                  <a:gd name="connsiteX19" fmla="*/ 743665 w 852972"/>
                  <a:gd name="connsiteY19" fmla="*/ 324580 h 601584"/>
                  <a:gd name="connsiteX20" fmla="*/ 806452 w 852972"/>
                  <a:gd name="connsiteY20" fmla="*/ 331609 h 601584"/>
                  <a:gd name="connsiteX21" fmla="*/ 852152 w 852972"/>
                  <a:gd name="connsiteY21" fmla="*/ 349822 h 601584"/>
                  <a:gd name="connsiteX22" fmla="*/ 852972 w 852972"/>
                  <a:gd name="connsiteY22" fmla="*/ 362688 h 601584"/>
                  <a:gd name="connsiteX23" fmla="*/ 843406 w 852972"/>
                  <a:gd name="connsiteY23" fmla="*/ 372259 h 601584"/>
                  <a:gd name="connsiteX24" fmla="*/ 796709 w 852972"/>
                  <a:gd name="connsiteY24" fmla="*/ 375540 h 601584"/>
                  <a:gd name="connsiteX25" fmla="*/ 762274 w 852972"/>
                  <a:gd name="connsiteY25" fmla="*/ 406214 h 601584"/>
                  <a:gd name="connsiteX26" fmla="*/ 730949 w 852972"/>
                  <a:gd name="connsiteY26" fmla="*/ 425579 h 601584"/>
                  <a:gd name="connsiteX27" fmla="*/ 731285 w 852972"/>
                  <a:gd name="connsiteY27" fmla="*/ 427315 h 601584"/>
                  <a:gd name="connsiteX28" fmla="*/ 730963 w 852972"/>
                  <a:gd name="connsiteY28" fmla="*/ 427604 h 601584"/>
                  <a:gd name="connsiteX29" fmla="*/ 733662 w 852972"/>
                  <a:gd name="connsiteY29" fmla="*/ 441632 h 601584"/>
                  <a:gd name="connsiteX30" fmla="*/ 776216 w 852972"/>
                  <a:gd name="connsiteY30" fmla="*/ 460361 h 601584"/>
                  <a:gd name="connsiteX31" fmla="*/ 785548 w 852972"/>
                  <a:gd name="connsiteY31" fmla="*/ 469348 h 601584"/>
                  <a:gd name="connsiteX32" fmla="*/ 785098 w 852972"/>
                  <a:gd name="connsiteY32" fmla="*/ 479269 h 601584"/>
                  <a:gd name="connsiteX33" fmla="*/ 755710 w 852972"/>
                  <a:gd name="connsiteY33" fmla="*/ 502586 h 601584"/>
                  <a:gd name="connsiteX34" fmla="*/ 752382 w 852972"/>
                  <a:gd name="connsiteY34" fmla="*/ 556781 h 601584"/>
                  <a:gd name="connsiteX35" fmla="*/ 729122 w 852972"/>
                  <a:gd name="connsiteY35" fmla="*/ 583520 h 601584"/>
                  <a:gd name="connsiteX36" fmla="*/ 700878 w 852972"/>
                  <a:gd name="connsiteY36" fmla="*/ 595605 h 601584"/>
                  <a:gd name="connsiteX37" fmla="*/ 666095 w 852972"/>
                  <a:gd name="connsiteY37" fmla="*/ 601584 h 601584"/>
                  <a:gd name="connsiteX38" fmla="*/ 649822 w 852972"/>
                  <a:gd name="connsiteY38" fmla="*/ 598102 h 601584"/>
                  <a:gd name="connsiteX39" fmla="*/ 639216 w 852972"/>
                  <a:gd name="connsiteY39" fmla="*/ 591019 h 601584"/>
                  <a:gd name="connsiteX40" fmla="*/ 626089 w 852972"/>
                  <a:gd name="connsiteY40" fmla="*/ 563644 h 601584"/>
                  <a:gd name="connsiteX41" fmla="*/ 625398 w 852972"/>
                  <a:gd name="connsiteY41" fmla="*/ 469733 h 601584"/>
                  <a:gd name="connsiteX42" fmla="*/ 628359 w 852972"/>
                  <a:gd name="connsiteY42" fmla="*/ 412781 h 601584"/>
                  <a:gd name="connsiteX43" fmla="*/ 612706 w 852972"/>
                  <a:gd name="connsiteY43" fmla="*/ 395979 h 601584"/>
                  <a:gd name="connsiteX44" fmla="*/ 612084 w 852972"/>
                  <a:gd name="connsiteY44" fmla="*/ 395962 h 601584"/>
                  <a:gd name="connsiteX45" fmla="*/ 611850 w 852972"/>
                  <a:gd name="connsiteY45" fmla="*/ 395834 h 601584"/>
                  <a:gd name="connsiteX46" fmla="*/ 585513 w 852972"/>
                  <a:gd name="connsiteY46" fmla="*/ 395092 h 601584"/>
                  <a:gd name="connsiteX47" fmla="*/ 466849 w 852972"/>
                  <a:gd name="connsiteY47" fmla="*/ 390723 h 601584"/>
                  <a:gd name="connsiteX48" fmla="*/ 410972 w 852972"/>
                  <a:gd name="connsiteY48" fmla="*/ 396800 h 601584"/>
                  <a:gd name="connsiteX49" fmla="*/ 364494 w 852972"/>
                  <a:gd name="connsiteY49" fmla="*/ 438412 h 601584"/>
                  <a:gd name="connsiteX50" fmla="*/ 337517 w 852972"/>
                  <a:gd name="connsiteY50" fmla="*/ 447780 h 601584"/>
                  <a:gd name="connsiteX51" fmla="*/ 313533 w 852972"/>
                  <a:gd name="connsiteY51" fmla="*/ 441555 h 601584"/>
                  <a:gd name="connsiteX52" fmla="*/ 289664 w 852972"/>
                  <a:gd name="connsiteY52" fmla="*/ 427663 h 601584"/>
                  <a:gd name="connsiteX53" fmla="*/ 265238 w 852972"/>
                  <a:gd name="connsiteY53" fmla="*/ 414671 h 601584"/>
                  <a:gd name="connsiteX54" fmla="*/ 262628 w 852972"/>
                  <a:gd name="connsiteY54" fmla="*/ 385138 h 601584"/>
                  <a:gd name="connsiteX55" fmla="*/ 247414 w 852972"/>
                  <a:gd name="connsiteY55" fmla="*/ 353276 h 601584"/>
                  <a:gd name="connsiteX56" fmla="*/ 218942 w 852972"/>
                  <a:gd name="connsiteY56" fmla="*/ 318457 h 601584"/>
                  <a:gd name="connsiteX57" fmla="*/ 214789 w 852972"/>
                  <a:gd name="connsiteY57" fmla="*/ 281627 h 601584"/>
                  <a:gd name="connsiteX58" fmla="*/ 184957 w 852972"/>
                  <a:gd name="connsiteY58" fmla="*/ 246581 h 601584"/>
                  <a:gd name="connsiteX59" fmla="*/ 157344 w 852972"/>
                  <a:gd name="connsiteY59" fmla="*/ 199853 h 601584"/>
                  <a:gd name="connsiteX60" fmla="*/ 112023 w 852972"/>
                  <a:gd name="connsiteY60" fmla="*/ 107858 h 601584"/>
                  <a:gd name="connsiteX61" fmla="*/ 15509 w 852972"/>
                  <a:gd name="connsiteY61" fmla="*/ 85078 h 601584"/>
                  <a:gd name="connsiteX62" fmla="*/ 15633 w 852972"/>
                  <a:gd name="connsiteY62" fmla="*/ 85458 h 601584"/>
                  <a:gd name="connsiteX63" fmla="*/ 14126 w 852972"/>
                  <a:gd name="connsiteY63" fmla="*/ 85493 h 601584"/>
                  <a:gd name="connsiteX64" fmla="*/ 13282 w 852972"/>
                  <a:gd name="connsiteY64" fmla="*/ 65499 h 601584"/>
                  <a:gd name="connsiteX65" fmla="*/ 468 w 852972"/>
                  <a:gd name="connsiteY65" fmla="*/ 34864 h 601584"/>
                  <a:gd name="connsiteX66" fmla="*/ 39795 w 852972"/>
                  <a:gd name="connsiteY66" fmla="*/ 7757 h 601584"/>
                  <a:gd name="connsiteX67" fmla="*/ 39835 w 852972"/>
                  <a:gd name="connsiteY67" fmla="*/ 7197 h 601584"/>
                  <a:gd name="connsiteX68" fmla="*/ 64460 w 852972"/>
                  <a:gd name="connsiteY68" fmla="*/ 8233 h 601584"/>
                  <a:gd name="connsiteX69" fmla="*/ 286965 w 852972"/>
                  <a:gd name="connsiteY69" fmla="*/ 7841 h 601584"/>
                  <a:gd name="connsiteX70" fmla="*/ 406633 w 852972"/>
                  <a:gd name="connsiteY70" fmla="*/ 7645 h 601584"/>
                  <a:gd name="connsiteX71" fmla="*/ 490871 w 852972"/>
                  <a:gd name="connsiteY71" fmla="*/ 0 h 60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52972" h="601584">
                    <a:moveTo>
                      <a:pt x="490871" y="0"/>
                    </a:moveTo>
                    <a:cubicBezTo>
                      <a:pt x="505533" y="5517"/>
                      <a:pt x="522485" y="8933"/>
                      <a:pt x="528190" y="23550"/>
                    </a:cubicBezTo>
                    <a:cubicBezTo>
                      <a:pt x="534979" y="40884"/>
                      <a:pt x="515576" y="55474"/>
                      <a:pt x="519031" y="72947"/>
                    </a:cubicBezTo>
                    <a:cubicBezTo>
                      <a:pt x="541406" y="80508"/>
                      <a:pt x="570409" y="51273"/>
                      <a:pt x="583585" y="76140"/>
                    </a:cubicBezTo>
                    <a:cubicBezTo>
                      <a:pt x="590253" y="88685"/>
                      <a:pt x="588285" y="106467"/>
                      <a:pt x="592864" y="119908"/>
                    </a:cubicBezTo>
                    <a:cubicBezTo>
                      <a:pt x="597524" y="133601"/>
                      <a:pt x="606964" y="134077"/>
                      <a:pt x="613432" y="146203"/>
                    </a:cubicBezTo>
                    <a:cubicBezTo>
                      <a:pt x="626367" y="170369"/>
                      <a:pt x="649545" y="176054"/>
                      <a:pt x="676901" y="164853"/>
                    </a:cubicBezTo>
                    <a:cubicBezTo>
                      <a:pt x="685779" y="161212"/>
                      <a:pt x="699999" y="149087"/>
                      <a:pt x="709239" y="161100"/>
                    </a:cubicBezTo>
                    <a:cubicBezTo>
                      <a:pt x="712613" y="165483"/>
                      <a:pt x="711267" y="170922"/>
                      <a:pt x="709816" y="176218"/>
                    </a:cubicBezTo>
                    <a:lnTo>
                      <a:pt x="709794" y="181888"/>
                    </a:lnTo>
                    <a:lnTo>
                      <a:pt x="709284" y="185553"/>
                    </a:lnTo>
                    <a:lnTo>
                      <a:pt x="709777" y="186267"/>
                    </a:lnTo>
                    <a:lnTo>
                      <a:pt x="709769" y="188439"/>
                    </a:lnTo>
                    <a:lnTo>
                      <a:pt x="709765" y="188435"/>
                    </a:lnTo>
                    <a:cubicBezTo>
                      <a:pt x="701087" y="201162"/>
                      <a:pt x="692781" y="213213"/>
                      <a:pt x="690382" y="225690"/>
                    </a:cubicBezTo>
                    <a:lnTo>
                      <a:pt x="690518" y="227399"/>
                    </a:lnTo>
                    <a:lnTo>
                      <a:pt x="690384" y="227737"/>
                    </a:lnTo>
                    <a:cubicBezTo>
                      <a:pt x="687989" y="240215"/>
                      <a:pt x="691504" y="253118"/>
                      <a:pt x="706467" y="267539"/>
                    </a:cubicBezTo>
                    <a:cubicBezTo>
                      <a:pt x="717715" y="278432"/>
                      <a:pt x="719281" y="277284"/>
                      <a:pt x="724383" y="292629"/>
                    </a:cubicBezTo>
                    <a:cubicBezTo>
                      <a:pt x="728962" y="306435"/>
                      <a:pt x="729244" y="317104"/>
                      <a:pt x="743665" y="324580"/>
                    </a:cubicBezTo>
                    <a:cubicBezTo>
                      <a:pt x="759412" y="332757"/>
                      <a:pt x="788616" y="328669"/>
                      <a:pt x="806452" y="331609"/>
                    </a:cubicBezTo>
                    <a:cubicBezTo>
                      <a:pt x="818262" y="333541"/>
                      <a:pt x="844104" y="337852"/>
                      <a:pt x="852152" y="349822"/>
                    </a:cubicBezTo>
                    <a:lnTo>
                      <a:pt x="852972" y="362688"/>
                    </a:lnTo>
                    <a:lnTo>
                      <a:pt x="843406" y="372259"/>
                    </a:lnTo>
                    <a:cubicBezTo>
                      <a:pt x="830299" y="378464"/>
                      <a:pt x="808981" y="375443"/>
                      <a:pt x="796709" y="375540"/>
                    </a:cubicBezTo>
                    <a:cubicBezTo>
                      <a:pt x="758448" y="375894"/>
                      <a:pt x="778791" y="383853"/>
                      <a:pt x="762274" y="406214"/>
                    </a:cubicBezTo>
                    <a:cubicBezTo>
                      <a:pt x="756115" y="414527"/>
                      <a:pt x="735065" y="415336"/>
                      <a:pt x="730949" y="425579"/>
                    </a:cubicBezTo>
                    <a:lnTo>
                      <a:pt x="731285" y="427315"/>
                    </a:lnTo>
                    <a:lnTo>
                      <a:pt x="730963" y="427604"/>
                    </a:lnTo>
                    <a:cubicBezTo>
                      <a:pt x="729590" y="431019"/>
                      <a:pt x="730097" y="435486"/>
                      <a:pt x="733662" y="441632"/>
                    </a:cubicBezTo>
                    <a:cubicBezTo>
                      <a:pt x="740712" y="453751"/>
                      <a:pt x="762924" y="453992"/>
                      <a:pt x="776216" y="460361"/>
                    </a:cubicBezTo>
                    <a:lnTo>
                      <a:pt x="785548" y="469348"/>
                    </a:lnTo>
                    <a:lnTo>
                      <a:pt x="785098" y="479269"/>
                    </a:lnTo>
                    <a:cubicBezTo>
                      <a:pt x="779361" y="488546"/>
                      <a:pt x="760913" y="491687"/>
                      <a:pt x="755710" y="502586"/>
                    </a:cubicBezTo>
                    <a:cubicBezTo>
                      <a:pt x="748182" y="518277"/>
                      <a:pt x="760190" y="540670"/>
                      <a:pt x="752382" y="556781"/>
                    </a:cubicBezTo>
                    <a:cubicBezTo>
                      <a:pt x="747110" y="567688"/>
                      <a:pt x="738952" y="576645"/>
                      <a:pt x="729122" y="583520"/>
                    </a:cubicBezTo>
                    <a:lnTo>
                      <a:pt x="700878" y="595605"/>
                    </a:lnTo>
                    <a:lnTo>
                      <a:pt x="666095" y="601584"/>
                    </a:lnTo>
                    <a:lnTo>
                      <a:pt x="649822" y="598102"/>
                    </a:lnTo>
                    <a:lnTo>
                      <a:pt x="639216" y="591019"/>
                    </a:lnTo>
                    <a:cubicBezTo>
                      <a:pt x="633549" y="584915"/>
                      <a:pt x="630317" y="576051"/>
                      <a:pt x="626089" y="563644"/>
                    </a:cubicBezTo>
                    <a:cubicBezTo>
                      <a:pt x="614179" y="528504"/>
                      <a:pt x="621581" y="506465"/>
                      <a:pt x="625398" y="469733"/>
                    </a:cubicBezTo>
                    <a:cubicBezTo>
                      <a:pt x="627043" y="453471"/>
                      <a:pt x="633590" y="429202"/>
                      <a:pt x="628359" y="412781"/>
                    </a:cubicBezTo>
                    <a:cubicBezTo>
                      <a:pt x="624937" y="402069"/>
                      <a:pt x="619714" y="397685"/>
                      <a:pt x="612706" y="395979"/>
                    </a:cubicBezTo>
                    <a:lnTo>
                      <a:pt x="612084" y="395962"/>
                    </a:lnTo>
                    <a:lnTo>
                      <a:pt x="611850" y="395834"/>
                    </a:lnTo>
                    <a:cubicBezTo>
                      <a:pt x="604845" y="394133"/>
                      <a:pt x="596058" y="395106"/>
                      <a:pt x="585513" y="395092"/>
                    </a:cubicBezTo>
                    <a:cubicBezTo>
                      <a:pt x="545383" y="395092"/>
                      <a:pt x="505051" y="394363"/>
                      <a:pt x="466849" y="390723"/>
                    </a:cubicBezTo>
                    <a:cubicBezTo>
                      <a:pt x="447848" y="388931"/>
                      <a:pt x="427683" y="389519"/>
                      <a:pt x="410972" y="396800"/>
                    </a:cubicBezTo>
                    <a:cubicBezTo>
                      <a:pt x="389842" y="406041"/>
                      <a:pt x="382049" y="426147"/>
                      <a:pt x="364494" y="438412"/>
                    </a:cubicBezTo>
                    <a:lnTo>
                      <a:pt x="337517" y="447780"/>
                    </a:lnTo>
                    <a:lnTo>
                      <a:pt x="313533" y="441555"/>
                    </a:lnTo>
                    <a:cubicBezTo>
                      <a:pt x="305509" y="437705"/>
                      <a:pt x="297634" y="432609"/>
                      <a:pt x="289664" y="427663"/>
                    </a:cubicBezTo>
                    <a:lnTo>
                      <a:pt x="265238" y="414671"/>
                    </a:lnTo>
                    <a:lnTo>
                      <a:pt x="262628" y="385138"/>
                    </a:lnTo>
                    <a:cubicBezTo>
                      <a:pt x="259932" y="373111"/>
                      <a:pt x="255218" y="361648"/>
                      <a:pt x="247414" y="353276"/>
                    </a:cubicBezTo>
                    <a:cubicBezTo>
                      <a:pt x="237032" y="342146"/>
                      <a:pt x="225434" y="332735"/>
                      <a:pt x="218942" y="318457"/>
                    </a:cubicBezTo>
                    <a:cubicBezTo>
                      <a:pt x="213429" y="306354"/>
                      <a:pt x="218465" y="293860"/>
                      <a:pt x="214789" y="281627"/>
                    </a:cubicBezTo>
                    <a:cubicBezTo>
                      <a:pt x="210804" y="268322"/>
                      <a:pt x="193501" y="257711"/>
                      <a:pt x="184957" y="246581"/>
                    </a:cubicBezTo>
                    <a:cubicBezTo>
                      <a:pt x="174122" y="232465"/>
                      <a:pt x="165244" y="215883"/>
                      <a:pt x="157344" y="199853"/>
                    </a:cubicBezTo>
                    <a:cubicBezTo>
                      <a:pt x="142523" y="169740"/>
                      <a:pt x="131688" y="134434"/>
                      <a:pt x="112023" y="107858"/>
                    </a:cubicBezTo>
                    <a:cubicBezTo>
                      <a:pt x="87846" y="75149"/>
                      <a:pt x="51331" y="84170"/>
                      <a:pt x="15509" y="85078"/>
                    </a:cubicBezTo>
                    <a:lnTo>
                      <a:pt x="15633" y="85458"/>
                    </a:lnTo>
                    <a:lnTo>
                      <a:pt x="14126" y="85493"/>
                    </a:lnTo>
                    <a:cubicBezTo>
                      <a:pt x="13323" y="79388"/>
                      <a:pt x="13805" y="73255"/>
                      <a:pt x="13282" y="65499"/>
                    </a:cubicBezTo>
                    <a:cubicBezTo>
                      <a:pt x="12479" y="53205"/>
                      <a:pt x="2436" y="46317"/>
                      <a:pt x="468" y="34864"/>
                    </a:cubicBezTo>
                    <a:cubicBezTo>
                      <a:pt x="-4794" y="4228"/>
                      <a:pt x="35979" y="23522"/>
                      <a:pt x="39795" y="7757"/>
                    </a:cubicBezTo>
                    <a:cubicBezTo>
                      <a:pt x="39835" y="7561"/>
                      <a:pt x="39795" y="7393"/>
                      <a:pt x="39835" y="7197"/>
                    </a:cubicBezTo>
                    <a:cubicBezTo>
                      <a:pt x="48151" y="8093"/>
                      <a:pt x="56506" y="9045"/>
                      <a:pt x="64460" y="8233"/>
                    </a:cubicBezTo>
                    <a:cubicBezTo>
                      <a:pt x="138615" y="8121"/>
                      <a:pt x="212770" y="7981"/>
                      <a:pt x="286965" y="7841"/>
                    </a:cubicBezTo>
                    <a:cubicBezTo>
                      <a:pt x="326854" y="7785"/>
                      <a:pt x="366744" y="7701"/>
                      <a:pt x="406633" y="7645"/>
                    </a:cubicBezTo>
                    <a:cubicBezTo>
                      <a:pt x="421617" y="7617"/>
                      <a:pt x="480266" y="13385"/>
                      <a:pt x="490871"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3" name="Freeform 42">
                <a:extLst>
                  <a:ext uri="{FF2B5EF4-FFF2-40B4-BE49-F238E27FC236}">
                    <a16:creationId xmlns:a16="http://schemas.microsoft.com/office/drawing/2014/main" id="{8D0F8910-BAA6-8D4F-877F-253421EA04E4}"/>
                  </a:ext>
                </a:extLst>
              </p:cNvPr>
              <p:cNvSpPr/>
              <p:nvPr/>
            </p:nvSpPr>
            <p:spPr>
              <a:xfrm>
                <a:off x="2455946" y="3887237"/>
                <a:ext cx="1018641" cy="730182"/>
              </a:xfrm>
              <a:custGeom>
                <a:avLst/>
                <a:gdLst>
                  <a:gd name="connsiteX0" fmla="*/ 394409 w 1018641"/>
                  <a:gd name="connsiteY0" fmla="*/ 0 h 730182"/>
                  <a:gd name="connsiteX1" fmla="*/ 585157 w 1018641"/>
                  <a:gd name="connsiteY1" fmla="*/ 8760 h 730182"/>
                  <a:gd name="connsiteX2" fmla="*/ 599874 w 1018641"/>
                  <a:gd name="connsiteY2" fmla="*/ 7263 h 730182"/>
                  <a:gd name="connsiteX3" fmla="*/ 599837 w 1018641"/>
                  <a:gd name="connsiteY3" fmla="*/ 7280 h 730182"/>
                  <a:gd name="connsiteX4" fmla="*/ 667595 w 1018641"/>
                  <a:gd name="connsiteY4" fmla="*/ 40539 h 730182"/>
                  <a:gd name="connsiteX5" fmla="*/ 691125 w 1018641"/>
                  <a:gd name="connsiteY5" fmla="*/ 80599 h 730182"/>
                  <a:gd name="connsiteX6" fmla="*/ 711762 w 1018641"/>
                  <a:gd name="connsiteY6" fmla="*/ 117051 h 730182"/>
                  <a:gd name="connsiteX7" fmla="*/ 730103 w 1018641"/>
                  <a:gd name="connsiteY7" fmla="*/ 141062 h 730182"/>
                  <a:gd name="connsiteX8" fmla="*/ 760552 w 1018641"/>
                  <a:gd name="connsiteY8" fmla="*/ 151968 h 730182"/>
                  <a:gd name="connsiteX9" fmla="*/ 790266 w 1018641"/>
                  <a:gd name="connsiteY9" fmla="*/ 175359 h 730182"/>
                  <a:gd name="connsiteX10" fmla="*/ 795083 w 1018641"/>
                  <a:gd name="connsiteY10" fmla="*/ 175687 h 730182"/>
                  <a:gd name="connsiteX11" fmla="*/ 796089 w 1018641"/>
                  <a:gd name="connsiteY11" fmla="*/ 176417 h 730182"/>
                  <a:gd name="connsiteX12" fmla="*/ 783318 w 1018641"/>
                  <a:gd name="connsiteY12" fmla="*/ 223407 h 730182"/>
                  <a:gd name="connsiteX13" fmla="*/ 799198 w 1018641"/>
                  <a:gd name="connsiteY13" fmla="*/ 283673 h 730182"/>
                  <a:gd name="connsiteX14" fmla="*/ 870513 w 1018641"/>
                  <a:gd name="connsiteY14" fmla="*/ 372357 h 730182"/>
                  <a:gd name="connsiteX15" fmla="*/ 903468 w 1018641"/>
                  <a:gd name="connsiteY15" fmla="*/ 392864 h 730182"/>
                  <a:gd name="connsiteX16" fmla="*/ 912460 w 1018641"/>
                  <a:gd name="connsiteY16" fmla="*/ 426477 h 730182"/>
                  <a:gd name="connsiteX17" fmla="*/ 957803 w 1018641"/>
                  <a:gd name="connsiteY17" fmla="*/ 499068 h 730182"/>
                  <a:gd name="connsiteX18" fmla="*/ 997741 w 1018641"/>
                  <a:gd name="connsiteY18" fmla="*/ 559265 h 730182"/>
                  <a:gd name="connsiteX19" fmla="*/ 1018115 w 1018641"/>
                  <a:gd name="connsiteY19" fmla="*/ 628129 h 730182"/>
                  <a:gd name="connsiteX20" fmla="*/ 1007082 w 1018641"/>
                  <a:gd name="connsiteY20" fmla="*/ 643922 h 730182"/>
                  <a:gd name="connsiteX21" fmla="*/ 982854 w 1018641"/>
                  <a:gd name="connsiteY21" fmla="*/ 648812 h 730182"/>
                  <a:gd name="connsiteX22" fmla="*/ 982751 w 1018641"/>
                  <a:gd name="connsiteY22" fmla="*/ 648895 h 730182"/>
                  <a:gd name="connsiteX23" fmla="*/ 982370 w 1018641"/>
                  <a:gd name="connsiteY23" fmla="*/ 648972 h 730182"/>
                  <a:gd name="connsiteX24" fmla="*/ 980714 w 1018641"/>
                  <a:gd name="connsiteY24" fmla="*/ 665876 h 730182"/>
                  <a:gd name="connsiteX25" fmla="*/ 987713 w 1018641"/>
                  <a:gd name="connsiteY25" fmla="*/ 687918 h 730182"/>
                  <a:gd name="connsiteX26" fmla="*/ 987784 w 1018641"/>
                  <a:gd name="connsiteY26" fmla="*/ 688354 h 730182"/>
                  <a:gd name="connsiteX27" fmla="*/ 981766 w 1018641"/>
                  <a:gd name="connsiteY27" fmla="*/ 692155 h 730182"/>
                  <a:gd name="connsiteX28" fmla="*/ 964834 w 1018641"/>
                  <a:gd name="connsiteY28" fmla="*/ 725395 h 730182"/>
                  <a:gd name="connsiteX29" fmla="*/ 927813 w 1018641"/>
                  <a:gd name="connsiteY29" fmla="*/ 725734 h 730182"/>
                  <a:gd name="connsiteX30" fmla="*/ 914947 w 1018641"/>
                  <a:gd name="connsiteY30" fmla="*/ 730182 h 730182"/>
                  <a:gd name="connsiteX31" fmla="*/ 899833 w 1018641"/>
                  <a:gd name="connsiteY31" fmla="*/ 716975 h 730182"/>
                  <a:gd name="connsiteX32" fmla="*/ 863577 w 1018641"/>
                  <a:gd name="connsiteY32" fmla="*/ 677047 h 730182"/>
                  <a:gd name="connsiteX33" fmla="*/ 860716 w 1018641"/>
                  <a:gd name="connsiteY33" fmla="*/ 675907 h 730182"/>
                  <a:gd name="connsiteX34" fmla="*/ 860377 w 1018641"/>
                  <a:gd name="connsiteY34" fmla="*/ 675587 h 730182"/>
                  <a:gd name="connsiteX35" fmla="*/ 726784 w 1018641"/>
                  <a:gd name="connsiteY35" fmla="*/ 645108 h 730182"/>
                  <a:gd name="connsiteX36" fmla="*/ 691633 w 1018641"/>
                  <a:gd name="connsiteY36" fmla="*/ 629014 h 730182"/>
                  <a:gd name="connsiteX37" fmla="*/ 657667 w 1018641"/>
                  <a:gd name="connsiteY37" fmla="*/ 607410 h 730182"/>
                  <a:gd name="connsiteX38" fmla="*/ 587931 w 1018641"/>
                  <a:gd name="connsiteY38" fmla="*/ 563068 h 730182"/>
                  <a:gd name="connsiteX39" fmla="*/ 548004 w 1018641"/>
                  <a:gd name="connsiteY39" fmla="*/ 528572 h 730182"/>
                  <a:gd name="connsiteX40" fmla="*/ 546235 w 1018641"/>
                  <a:gd name="connsiteY40" fmla="*/ 527980 h 730182"/>
                  <a:gd name="connsiteX41" fmla="*/ 545053 w 1018641"/>
                  <a:gd name="connsiteY41" fmla="*/ 527060 h 730182"/>
                  <a:gd name="connsiteX42" fmla="*/ 528836 w 1018641"/>
                  <a:gd name="connsiteY42" fmla="*/ 521621 h 730182"/>
                  <a:gd name="connsiteX43" fmla="*/ 492223 w 1018641"/>
                  <a:gd name="connsiteY43" fmla="*/ 536433 h 730182"/>
                  <a:gd name="connsiteX44" fmla="*/ 469075 w 1018641"/>
                  <a:gd name="connsiteY44" fmla="*/ 550104 h 730182"/>
                  <a:gd name="connsiteX45" fmla="*/ 463954 w 1018641"/>
                  <a:gd name="connsiteY45" fmla="*/ 547395 h 730182"/>
                  <a:gd name="connsiteX46" fmla="*/ 456780 w 1018641"/>
                  <a:gd name="connsiteY46" fmla="*/ 545786 h 730182"/>
                  <a:gd name="connsiteX47" fmla="*/ 427221 w 1018641"/>
                  <a:gd name="connsiteY47" fmla="*/ 536110 h 730182"/>
                  <a:gd name="connsiteX48" fmla="*/ 425164 w 1018641"/>
                  <a:gd name="connsiteY48" fmla="*/ 550268 h 730182"/>
                  <a:gd name="connsiteX49" fmla="*/ 409906 w 1018641"/>
                  <a:gd name="connsiteY49" fmla="*/ 546499 h 730182"/>
                  <a:gd name="connsiteX50" fmla="*/ 388239 w 1018641"/>
                  <a:gd name="connsiteY50" fmla="*/ 469868 h 730182"/>
                  <a:gd name="connsiteX51" fmla="*/ 354088 w 1018641"/>
                  <a:gd name="connsiteY51" fmla="*/ 407328 h 730182"/>
                  <a:gd name="connsiteX52" fmla="*/ 335482 w 1018641"/>
                  <a:gd name="connsiteY52" fmla="*/ 379283 h 730182"/>
                  <a:gd name="connsiteX53" fmla="*/ 285786 w 1018641"/>
                  <a:gd name="connsiteY53" fmla="*/ 361832 h 730182"/>
                  <a:gd name="connsiteX54" fmla="*/ 236186 w 1018641"/>
                  <a:gd name="connsiteY54" fmla="*/ 336130 h 730182"/>
                  <a:gd name="connsiteX55" fmla="*/ 191943 w 1018641"/>
                  <a:gd name="connsiteY55" fmla="*/ 309341 h 730182"/>
                  <a:gd name="connsiteX56" fmla="*/ 161428 w 1018641"/>
                  <a:gd name="connsiteY56" fmla="*/ 266086 h 730182"/>
                  <a:gd name="connsiteX57" fmla="*/ 108814 w 1018641"/>
                  <a:gd name="connsiteY57" fmla="*/ 201033 h 730182"/>
                  <a:gd name="connsiteX58" fmla="*/ 37690 w 1018641"/>
                  <a:gd name="connsiteY58" fmla="*/ 135844 h 730182"/>
                  <a:gd name="connsiteX59" fmla="*/ 0 w 1018641"/>
                  <a:gd name="connsiteY59" fmla="*/ 103793 h 730182"/>
                  <a:gd name="connsiteX60" fmla="*/ 68780 w 1018641"/>
                  <a:gd name="connsiteY60" fmla="*/ 75918 h 730182"/>
                  <a:gd name="connsiteX61" fmla="*/ 117137 w 1018641"/>
                  <a:gd name="connsiteY61" fmla="*/ 78838 h 730182"/>
                  <a:gd name="connsiteX62" fmla="*/ 146505 w 1018641"/>
                  <a:gd name="connsiteY62" fmla="*/ 51370 h 730182"/>
                  <a:gd name="connsiteX63" fmla="*/ 183477 w 1018641"/>
                  <a:gd name="connsiteY63" fmla="*/ 33579 h 730182"/>
                  <a:gd name="connsiteX64" fmla="*/ 240969 w 1018641"/>
                  <a:gd name="connsiteY64" fmla="*/ 46855 h 730182"/>
                  <a:gd name="connsiteX65" fmla="*/ 284017 w 1018641"/>
                  <a:gd name="connsiteY65" fmla="*/ 48179 h 730182"/>
                  <a:gd name="connsiteX66" fmla="*/ 350979 w 1018641"/>
                  <a:gd name="connsiteY66" fmla="*/ 48179 h 730182"/>
                  <a:gd name="connsiteX67" fmla="*/ 350979 w 1018641"/>
                  <a:gd name="connsiteY67" fmla="*/ 17520 h 730182"/>
                  <a:gd name="connsiteX68" fmla="*/ 394409 w 1018641"/>
                  <a:gd name="connsiteY68" fmla="*/ 17520 h 730182"/>
                  <a:gd name="connsiteX69" fmla="*/ 394409 w 1018641"/>
                  <a:gd name="connsiteY69" fmla="*/ 0 h 73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18641" h="730182">
                    <a:moveTo>
                      <a:pt x="394409" y="0"/>
                    </a:moveTo>
                    <a:lnTo>
                      <a:pt x="585157" y="8760"/>
                    </a:lnTo>
                    <a:lnTo>
                      <a:pt x="599874" y="7263"/>
                    </a:lnTo>
                    <a:lnTo>
                      <a:pt x="599837" y="7280"/>
                    </a:lnTo>
                    <a:cubicBezTo>
                      <a:pt x="623725" y="15740"/>
                      <a:pt x="647524" y="24366"/>
                      <a:pt x="667595" y="40539"/>
                    </a:cubicBezTo>
                    <a:cubicBezTo>
                      <a:pt x="679583" y="50160"/>
                      <a:pt x="684355" y="67577"/>
                      <a:pt x="691125" y="80599"/>
                    </a:cubicBezTo>
                    <a:cubicBezTo>
                      <a:pt x="697746" y="93371"/>
                      <a:pt x="703740" y="104983"/>
                      <a:pt x="711762" y="117051"/>
                    </a:cubicBezTo>
                    <a:cubicBezTo>
                      <a:pt x="717309" y="125303"/>
                      <a:pt x="722111" y="134966"/>
                      <a:pt x="730103" y="141062"/>
                    </a:cubicBezTo>
                    <a:cubicBezTo>
                      <a:pt x="739289" y="148029"/>
                      <a:pt x="749637" y="148900"/>
                      <a:pt x="760552" y="151968"/>
                    </a:cubicBezTo>
                    <a:cubicBezTo>
                      <a:pt x="774353" y="155887"/>
                      <a:pt x="780068" y="170513"/>
                      <a:pt x="790266" y="175359"/>
                    </a:cubicBezTo>
                    <a:lnTo>
                      <a:pt x="795083" y="175687"/>
                    </a:lnTo>
                    <a:lnTo>
                      <a:pt x="796089" y="176417"/>
                    </a:lnTo>
                    <a:cubicBezTo>
                      <a:pt x="793601" y="192884"/>
                      <a:pt x="788484" y="210336"/>
                      <a:pt x="783318" y="223407"/>
                    </a:cubicBezTo>
                    <a:cubicBezTo>
                      <a:pt x="771599" y="253082"/>
                      <a:pt x="759833" y="267919"/>
                      <a:pt x="799198" y="283673"/>
                    </a:cubicBezTo>
                    <a:cubicBezTo>
                      <a:pt x="842580" y="301057"/>
                      <a:pt x="845162" y="338778"/>
                      <a:pt x="870513" y="372357"/>
                    </a:cubicBezTo>
                    <a:cubicBezTo>
                      <a:pt x="879648" y="384512"/>
                      <a:pt x="893375" y="383018"/>
                      <a:pt x="903468" y="392864"/>
                    </a:cubicBezTo>
                    <a:cubicBezTo>
                      <a:pt x="913177" y="402303"/>
                      <a:pt x="910212" y="413507"/>
                      <a:pt x="912460" y="426477"/>
                    </a:cubicBezTo>
                    <a:cubicBezTo>
                      <a:pt x="917865" y="457374"/>
                      <a:pt x="938766" y="474893"/>
                      <a:pt x="957803" y="499068"/>
                    </a:cubicBezTo>
                    <a:cubicBezTo>
                      <a:pt x="972774" y="518115"/>
                      <a:pt x="984349" y="538622"/>
                      <a:pt x="997741" y="559265"/>
                    </a:cubicBezTo>
                    <a:cubicBezTo>
                      <a:pt x="1005885" y="571845"/>
                      <a:pt x="1021723" y="606559"/>
                      <a:pt x="1018115" y="628129"/>
                    </a:cubicBezTo>
                    <a:lnTo>
                      <a:pt x="1007082" y="643922"/>
                    </a:lnTo>
                    <a:lnTo>
                      <a:pt x="982854" y="648812"/>
                    </a:lnTo>
                    <a:lnTo>
                      <a:pt x="982751" y="648895"/>
                    </a:lnTo>
                    <a:lnTo>
                      <a:pt x="982370" y="648972"/>
                    </a:lnTo>
                    <a:cubicBezTo>
                      <a:pt x="976218" y="650530"/>
                      <a:pt x="973898" y="654078"/>
                      <a:pt x="980714" y="665876"/>
                    </a:cubicBezTo>
                    <a:lnTo>
                      <a:pt x="987713" y="687918"/>
                    </a:lnTo>
                    <a:lnTo>
                      <a:pt x="987784" y="688354"/>
                    </a:lnTo>
                    <a:lnTo>
                      <a:pt x="981766" y="692155"/>
                    </a:lnTo>
                    <a:cubicBezTo>
                      <a:pt x="971100" y="699455"/>
                      <a:pt x="974783" y="718095"/>
                      <a:pt x="964834" y="725395"/>
                    </a:cubicBezTo>
                    <a:cubicBezTo>
                      <a:pt x="953929" y="733374"/>
                      <a:pt x="940154" y="724207"/>
                      <a:pt x="927813" y="725734"/>
                    </a:cubicBezTo>
                    <a:cubicBezTo>
                      <a:pt x="921787" y="726481"/>
                      <a:pt x="917673" y="728043"/>
                      <a:pt x="914947" y="730182"/>
                    </a:cubicBezTo>
                    <a:cubicBezTo>
                      <a:pt x="909686" y="726006"/>
                      <a:pt x="904472" y="721728"/>
                      <a:pt x="899833" y="716975"/>
                    </a:cubicBezTo>
                    <a:cubicBezTo>
                      <a:pt x="886631" y="703394"/>
                      <a:pt x="880653" y="686689"/>
                      <a:pt x="863577" y="677047"/>
                    </a:cubicBezTo>
                    <a:lnTo>
                      <a:pt x="860716" y="675907"/>
                    </a:lnTo>
                    <a:lnTo>
                      <a:pt x="860377" y="675587"/>
                    </a:lnTo>
                    <a:cubicBezTo>
                      <a:pt x="819294" y="652422"/>
                      <a:pt x="771444" y="657798"/>
                      <a:pt x="726784" y="645108"/>
                    </a:cubicBezTo>
                    <a:lnTo>
                      <a:pt x="691633" y="629014"/>
                    </a:lnTo>
                    <a:lnTo>
                      <a:pt x="657667" y="607410"/>
                    </a:lnTo>
                    <a:cubicBezTo>
                      <a:pt x="633896" y="593557"/>
                      <a:pt x="610602" y="578041"/>
                      <a:pt x="587931" y="563068"/>
                    </a:cubicBezTo>
                    <a:cubicBezTo>
                      <a:pt x="573977" y="553875"/>
                      <a:pt x="562793" y="537235"/>
                      <a:pt x="548004" y="528572"/>
                    </a:cubicBezTo>
                    <a:lnTo>
                      <a:pt x="546235" y="527980"/>
                    </a:lnTo>
                    <a:lnTo>
                      <a:pt x="545053" y="527060"/>
                    </a:lnTo>
                    <a:cubicBezTo>
                      <a:pt x="540126" y="524172"/>
                      <a:pt x="534799" y="522169"/>
                      <a:pt x="528836" y="521621"/>
                    </a:cubicBezTo>
                    <a:cubicBezTo>
                      <a:pt x="513877" y="520236"/>
                      <a:pt x="503630" y="529096"/>
                      <a:pt x="492223" y="536433"/>
                    </a:cubicBezTo>
                    <a:lnTo>
                      <a:pt x="469075" y="550104"/>
                    </a:lnTo>
                    <a:lnTo>
                      <a:pt x="463954" y="547395"/>
                    </a:lnTo>
                    <a:cubicBezTo>
                      <a:pt x="462065" y="547187"/>
                      <a:pt x="460057" y="547280"/>
                      <a:pt x="456780" y="545786"/>
                    </a:cubicBezTo>
                    <a:cubicBezTo>
                      <a:pt x="447788" y="541678"/>
                      <a:pt x="438461" y="534005"/>
                      <a:pt x="427221" y="536110"/>
                    </a:cubicBezTo>
                    <a:cubicBezTo>
                      <a:pt x="427603" y="541067"/>
                      <a:pt x="426934" y="545854"/>
                      <a:pt x="425164" y="550268"/>
                    </a:cubicBezTo>
                    <a:cubicBezTo>
                      <a:pt x="418277" y="552135"/>
                      <a:pt x="414594" y="550098"/>
                      <a:pt x="409906" y="546499"/>
                    </a:cubicBezTo>
                    <a:cubicBezTo>
                      <a:pt x="390918" y="531832"/>
                      <a:pt x="396801" y="489561"/>
                      <a:pt x="388239" y="469868"/>
                    </a:cubicBezTo>
                    <a:cubicBezTo>
                      <a:pt x="377956" y="446204"/>
                      <a:pt x="357723" y="432487"/>
                      <a:pt x="354088" y="407328"/>
                    </a:cubicBezTo>
                    <a:cubicBezTo>
                      <a:pt x="351840" y="391914"/>
                      <a:pt x="351697" y="385429"/>
                      <a:pt x="335482" y="379283"/>
                    </a:cubicBezTo>
                    <a:cubicBezTo>
                      <a:pt x="319363" y="373206"/>
                      <a:pt x="301905" y="369098"/>
                      <a:pt x="285786" y="361832"/>
                    </a:cubicBezTo>
                    <a:cubicBezTo>
                      <a:pt x="268950" y="354226"/>
                      <a:pt x="251827" y="346146"/>
                      <a:pt x="236186" y="336130"/>
                    </a:cubicBezTo>
                    <a:cubicBezTo>
                      <a:pt x="221885" y="327030"/>
                      <a:pt x="205097" y="319323"/>
                      <a:pt x="191943" y="309341"/>
                    </a:cubicBezTo>
                    <a:cubicBezTo>
                      <a:pt x="177594" y="298442"/>
                      <a:pt x="170276" y="280787"/>
                      <a:pt x="161428" y="266086"/>
                    </a:cubicBezTo>
                    <a:cubicBezTo>
                      <a:pt x="146983" y="242183"/>
                      <a:pt x="126942" y="222457"/>
                      <a:pt x="108814" y="201033"/>
                    </a:cubicBezTo>
                    <a:cubicBezTo>
                      <a:pt x="88151" y="176621"/>
                      <a:pt x="64141" y="154382"/>
                      <a:pt x="37690" y="135844"/>
                    </a:cubicBezTo>
                    <a:cubicBezTo>
                      <a:pt x="22959" y="125488"/>
                      <a:pt x="11001" y="115133"/>
                      <a:pt x="0" y="103793"/>
                    </a:cubicBezTo>
                    <a:cubicBezTo>
                      <a:pt x="18845" y="88378"/>
                      <a:pt x="35921" y="75918"/>
                      <a:pt x="68780" y="75918"/>
                    </a:cubicBezTo>
                    <a:cubicBezTo>
                      <a:pt x="85616" y="75918"/>
                      <a:pt x="101066" y="78804"/>
                      <a:pt x="117137" y="78838"/>
                    </a:cubicBezTo>
                    <a:cubicBezTo>
                      <a:pt x="138469" y="78940"/>
                      <a:pt x="145404" y="71063"/>
                      <a:pt x="146505" y="51370"/>
                    </a:cubicBezTo>
                    <a:cubicBezTo>
                      <a:pt x="159180" y="44036"/>
                      <a:pt x="167215" y="34326"/>
                      <a:pt x="183477" y="33579"/>
                    </a:cubicBezTo>
                    <a:cubicBezTo>
                      <a:pt x="203518" y="32662"/>
                      <a:pt x="221837" y="43256"/>
                      <a:pt x="240969" y="46855"/>
                    </a:cubicBezTo>
                    <a:cubicBezTo>
                      <a:pt x="254888" y="49469"/>
                      <a:pt x="269859" y="48179"/>
                      <a:pt x="284017" y="48179"/>
                    </a:cubicBezTo>
                    <a:cubicBezTo>
                      <a:pt x="306354" y="48179"/>
                      <a:pt x="328642" y="48179"/>
                      <a:pt x="350979" y="48179"/>
                    </a:cubicBezTo>
                    <a:lnTo>
                      <a:pt x="350979" y="17520"/>
                    </a:lnTo>
                    <a:lnTo>
                      <a:pt x="394409" y="17520"/>
                    </a:lnTo>
                    <a:lnTo>
                      <a:pt x="394409" y="0"/>
                    </a:lnTo>
                    <a:close/>
                  </a:path>
                </a:pathLst>
              </a:custGeom>
              <a:solidFill>
                <a:schemeClr val="tx2"/>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4" name="Freeform 43">
                <a:extLst>
                  <a:ext uri="{FF2B5EF4-FFF2-40B4-BE49-F238E27FC236}">
                    <a16:creationId xmlns:a16="http://schemas.microsoft.com/office/drawing/2014/main" id="{C8315302-6B50-D143-B19B-B891C2B70BF4}"/>
                  </a:ext>
                </a:extLst>
              </p:cNvPr>
              <p:cNvSpPr/>
              <p:nvPr/>
            </p:nvSpPr>
            <p:spPr>
              <a:xfrm>
                <a:off x="3228516" y="3892621"/>
                <a:ext cx="502677" cy="682615"/>
              </a:xfrm>
              <a:custGeom>
                <a:avLst/>
                <a:gdLst>
                  <a:gd name="connsiteX0" fmla="*/ 271498 w 502677"/>
                  <a:gd name="connsiteY0" fmla="*/ 0 h 682615"/>
                  <a:gd name="connsiteX1" fmla="*/ 315395 w 502677"/>
                  <a:gd name="connsiteY1" fmla="*/ 23970 h 682615"/>
                  <a:gd name="connsiteX2" fmla="*/ 360708 w 502677"/>
                  <a:gd name="connsiteY2" fmla="*/ 115959 h 682615"/>
                  <a:gd name="connsiteX3" fmla="*/ 388305 w 502677"/>
                  <a:gd name="connsiteY3" fmla="*/ 162668 h 682615"/>
                  <a:gd name="connsiteX4" fmla="*/ 418152 w 502677"/>
                  <a:gd name="connsiteY4" fmla="*/ 197699 h 682615"/>
                  <a:gd name="connsiteX5" fmla="*/ 422289 w 502677"/>
                  <a:gd name="connsiteY5" fmla="*/ 234523 h 682615"/>
                  <a:gd name="connsiteX6" fmla="*/ 450770 w 502677"/>
                  <a:gd name="connsiteY6" fmla="*/ 269302 h 682615"/>
                  <a:gd name="connsiteX7" fmla="*/ 469088 w 502677"/>
                  <a:gd name="connsiteY7" fmla="*/ 330236 h 682615"/>
                  <a:gd name="connsiteX8" fmla="*/ 469973 w 502677"/>
                  <a:gd name="connsiteY8" fmla="*/ 330706 h 682615"/>
                  <a:gd name="connsiteX9" fmla="*/ 469941 w 502677"/>
                  <a:gd name="connsiteY9" fmla="*/ 336572 h 682615"/>
                  <a:gd name="connsiteX10" fmla="*/ 449970 w 502677"/>
                  <a:gd name="connsiteY10" fmla="*/ 412537 h 682615"/>
                  <a:gd name="connsiteX11" fmla="*/ 473231 w 502677"/>
                  <a:gd name="connsiteY11" fmla="*/ 447541 h 682615"/>
                  <a:gd name="connsiteX12" fmla="*/ 502677 w 502677"/>
                  <a:gd name="connsiteY12" fmla="*/ 497237 h 682615"/>
                  <a:gd name="connsiteX13" fmla="*/ 491098 w 502677"/>
                  <a:gd name="connsiteY13" fmla="*/ 515587 h 682615"/>
                  <a:gd name="connsiteX14" fmla="*/ 466115 w 502677"/>
                  <a:gd name="connsiteY14" fmla="*/ 521539 h 682615"/>
                  <a:gd name="connsiteX15" fmla="*/ 391356 w 502677"/>
                  <a:gd name="connsiteY15" fmla="*/ 524286 h 682615"/>
                  <a:gd name="connsiteX16" fmla="*/ 390969 w 502677"/>
                  <a:gd name="connsiteY16" fmla="*/ 524719 h 682615"/>
                  <a:gd name="connsiteX17" fmla="*/ 390836 w 502677"/>
                  <a:gd name="connsiteY17" fmla="*/ 524736 h 682615"/>
                  <a:gd name="connsiteX18" fmla="*/ 380188 w 502677"/>
                  <a:gd name="connsiteY18" fmla="*/ 536630 h 682615"/>
                  <a:gd name="connsiteX19" fmla="*/ 387920 w 502677"/>
                  <a:gd name="connsiteY19" fmla="*/ 554097 h 682615"/>
                  <a:gd name="connsiteX20" fmla="*/ 377326 w 502677"/>
                  <a:gd name="connsiteY20" fmla="*/ 568699 h 682615"/>
                  <a:gd name="connsiteX21" fmla="*/ 390651 w 502677"/>
                  <a:gd name="connsiteY21" fmla="*/ 599404 h 682615"/>
                  <a:gd name="connsiteX22" fmla="*/ 381702 w 502677"/>
                  <a:gd name="connsiteY22" fmla="*/ 633042 h 682615"/>
                  <a:gd name="connsiteX23" fmla="*/ 383281 w 502677"/>
                  <a:gd name="connsiteY23" fmla="*/ 668091 h 682615"/>
                  <a:gd name="connsiteX24" fmla="*/ 377632 w 502677"/>
                  <a:gd name="connsiteY24" fmla="*/ 675176 h 682615"/>
                  <a:gd name="connsiteX25" fmla="*/ 363208 w 502677"/>
                  <a:gd name="connsiteY25" fmla="*/ 679789 h 682615"/>
                  <a:gd name="connsiteX26" fmla="*/ 214568 w 502677"/>
                  <a:gd name="connsiteY26" fmla="*/ 675514 h 682615"/>
                  <a:gd name="connsiteX27" fmla="*/ 208625 w 502677"/>
                  <a:gd name="connsiteY27" fmla="*/ 660327 h 682615"/>
                  <a:gd name="connsiteX28" fmla="*/ 204586 w 502677"/>
                  <a:gd name="connsiteY28" fmla="*/ 648039 h 682615"/>
                  <a:gd name="connsiteX29" fmla="*/ 210181 w 502677"/>
                  <a:gd name="connsiteY29" fmla="*/ 643512 h 682615"/>
                  <a:gd name="connsiteX30" fmla="*/ 234450 w 502677"/>
                  <a:gd name="connsiteY30" fmla="*/ 638628 h 682615"/>
                  <a:gd name="connsiteX31" fmla="*/ 234512 w 502677"/>
                  <a:gd name="connsiteY31" fmla="*/ 638539 h 682615"/>
                  <a:gd name="connsiteX32" fmla="*/ 234925 w 502677"/>
                  <a:gd name="connsiteY32" fmla="*/ 638456 h 682615"/>
                  <a:gd name="connsiteX33" fmla="*/ 225665 w 502677"/>
                  <a:gd name="connsiteY33" fmla="*/ 553697 h 682615"/>
                  <a:gd name="connsiteX34" fmla="*/ 185714 w 502677"/>
                  <a:gd name="connsiteY34" fmla="*/ 493503 h 682615"/>
                  <a:gd name="connsiteX35" fmla="*/ 140416 w 502677"/>
                  <a:gd name="connsiteY35" fmla="*/ 420880 h 682615"/>
                  <a:gd name="connsiteX36" fmla="*/ 131395 w 502677"/>
                  <a:gd name="connsiteY36" fmla="*/ 387262 h 682615"/>
                  <a:gd name="connsiteX37" fmla="*/ 98412 w 502677"/>
                  <a:gd name="connsiteY37" fmla="*/ 366786 h 682615"/>
                  <a:gd name="connsiteX38" fmla="*/ 27125 w 502677"/>
                  <a:gd name="connsiteY38" fmla="*/ 278101 h 682615"/>
                  <a:gd name="connsiteX39" fmla="*/ 11278 w 502677"/>
                  <a:gd name="connsiteY39" fmla="*/ 217809 h 682615"/>
                  <a:gd name="connsiteX40" fmla="*/ 24046 w 502677"/>
                  <a:gd name="connsiteY40" fmla="*/ 170822 h 682615"/>
                  <a:gd name="connsiteX41" fmla="*/ 27489 w 502677"/>
                  <a:gd name="connsiteY41" fmla="*/ 170643 h 682615"/>
                  <a:gd name="connsiteX42" fmla="*/ 29854 w 502677"/>
                  <a:gd name="connsiteY42" fmla="*/ 170804 h 682615"/>
                  <a:gd name="connsiteX43" fmla="*/ 30562 w 502677"/>
                  <a:gd name="connsiteY43" fmla="*/ 170483 h 682615"/>
                  <a:gd name="connsiteX44" fmla="*/ 32160 w 502677"/>
                  <a:gd name="connsiteY44" fmla="*/ 170400 h 682615"/>
                  <a:gd name="connsiteX45" fmla="*/ 47121 w 502677"/>
                  <a:gd name="connsiteY45" fmla="*/ 163634 h 682615"/>
                  <a:gd name="connsiteX46" fmla="*/ 62232 w 502677"/>
                  <a:gd name="connsiteY46" fmla="*/ 159744 h 682615"/>
                  <a:gd name="connsiteX47" fmla="*/ 96180 w 502677"/>
                  <a:gd name="connsiteY47" fmla="*/ 158736 h 682615"/>
                  <a:gd name="connsiteX48" fmla="*/ 97352 w 502677"/>
                  <a:gd name="connsiteY48" fmla="*/ 158365 h 682615"/>
                  <a:gd name="connsiteX49" fmla="*/ 98508 w 502677"/>
                  <a:gd name="connsiteY49" fmla="*/ 158329 h 682615"/>
                  <a:gd name="connsiteX50" fmla="*/ 164712 w 502677"/>
                  <a:gd name="connsiteY50" fmla="*/ 122244 h 682615"/>
                  <a:gd name="connsiteX51" fmla="*/ 194998 w 502677"/>
                  <a:gd name="connsiteY51" fmla="*/ 85706 h 682615"/>
                  <a:gd name="connsiteX52" fmla="*/ 206310 w 502677"/>
                  <a:gd name="connsiteY52" fmla="*/ 56371 h 682615"/>
                  <a:gd name="connsiteX53" fmla="*/ 230796 w 502677"/>
                  <a:gd name="connsiteY53" fmla="*/ 40017 h 682615"/>
                  <a:gd name="connsiteX54" fmla="*/ 224377 w 502677"/>
                  <a:gd name="connsiteY54" fmla="*/ 13473 h 682615"/>
                  <a:gd name="connsiteX55" fmla="*/ 220372 w 502677"/>
                  <a:gd name="connsiteY55" fmla="*/ 1197 h 682615"/>
                  <a:gd name="connsiteX56" fmla="*/ 271498 w 502677"/>
                  <a:gd name="connsiteY56" fmla="*/ 0 h 68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02677" h="682615">
                    <a:moveTo>
                      <a:pt x="271498" y="0"/>
                    </a:moveTo>
                    <a:cubicBezTo>
                      <a:pt x="288129" y="1715"/>
                      <a:pt x="303304" y="7631"/>
                      <a:pt x="315395" y="23970"/>
                    </a:cubicBezTo>
                    <a:cubicBezTo>
                      <a:pt x="335039" y="50573"/>
                      <a:pt x="345844" y="85856"/>
                      <a:pt x="360708" y="115959"/>
                    </a:cubicBezTo>
                    <a:cubicBezTo>
                      <a:pt x="368581" y="131977"/>
                      <a:pt x="377459" y="148554"/>
                      <a:pt x="388305" y="162668"/>
                    </a:cubicBezTo>
                    <a:cubicBezTo>
                      <a:pt x="396861" y="173785"/>
                      <a:pt x="414135" y="184398"/>
                      <a:pt x="418152" y="197699"/>
                    </a:cubicBezTo>
                    <a:cubicBezTo>
                      <a:pt x="421807" y="209936"/>
                      <a:pt x="416786" y="222426"/>
                      <a:pt x="422289" y="234523"/>
                    </a:cubicBezTo>
                    <a:cubicBezTo>
                      <a:pt x="428797" y="248776"/>
                      <a:pt x="440366" y="258185"/>
                      <a:pt x="450770" y="269302"/>
                    </a:cubicBezTo>
                    <a:cubicBezTo>
                      <a:pt x="464910" y="284508"/>
                      <a:pt x="468887" y="309822"/>
                      <a:pt x="469088" y="330236"/>
                    </a:cubicBezTo>
                    <a:lnTo>
                      <a:pt x="469973" y="330706"/>
                    </a:lnTo>
                    <a:lnTo>
                      <a:pt x="469941" y="336572"/>
                    </a:lnTo>
                    <a:cubicBezTo>
                      <a:pt x="469283" y="363569"/>
                      <a:pt x="450069" y="385949"/>
                      <a:pt x="449970" y="412537"/>
                    </a:cubicBezTo>
                    <a:cubicBezTo>
                      <a:pt x="449905" y="430460"/>
                      <a:pt x="461124" y="436191"/>
                      <a:pt x="473231" y="447541"/>
                    </a:cubicBezTo>
                    <a:cubicBezTo>
                      <a:pt x="486951" y="460459"/>
                      <a:pt x="502710" y="478427"/>
                      <a:pt x="502677" y="497237"/>
                    </a:cubicBezTo>
                    <a:lnTo>
                      <a:pt x="491098" y="515587"/>
                    </a:lnTo>
                    <a:lnTo>
                      <a:pt x="466115" y="521539"/>
                    </a:lnTo>
                    <a:cubicBezTo>
                      <a:pt x="452100" y="523486"/>
                      <a:pt x="410980" y="517457"/>
                      <a:pt x="391356" y="524286"/>
                    </a:cubicBezTo>
                    <a:lnTo>
                      <a:pt x="390969" y="524719"/>
                    </a:lnTo>
                    <a:lnTo>
                      <a:pt x="390836" y="524736"/>
                    </a:lnTo>
                    <a:cubicBezTo>
                      <a:pt x="384297" y="527015"/>
                      <a:pt x="380147" y="530722"/>
                      <a:pt x="380188" y="536630"/>
                    </a:cubicBezTo>
                    <a:cubicBezTo>
                      <a:pt x="380221" y="544454"/>
                      <a:pt x="387624" y="547183"/>
                      <a:pt x="387920" y="554097"/>
                    </a:cubicBezTo>
                    <a:cubicBezTo>
                      <a:pt x="388413" y="564946"/>
                      <a:pt x="378477" y="562376"/>
                      <a:pt x="377326" y="568699"/>
                    </a:cubicBezTo>
                    <a:cubicBezTo>
                      <a:pt x="375615" y="578206"/>
                      <a:pt x="388117" y="589760"/>
                      <a:pt x="390651" y="599404"/>
                    </a:cubicBezTo>
                    <a:cubicBezTo>
                      <a:pt x="394994" y="615871"/>
                      <a:pt x="388644" y="619646"/>
                      <a:pt x="381702" y="633042"/>
                    </a:cubicBezTo>
                    <a:cubicBezTo>
                      <a:pt x="373444" y="648895"/>
                      <a:pt x="384729" y="654308"/>
                      <a:pt x="383281" y="668091"/>
                    </a:cubicBezTo>
                    <a:lnTo>
                      <a:pt x="377632" y="675176"/>
                    </a:lnTo>
                    <a:lnTo>
                      <a:pt x="363208" y="679789"/>
                    </a:lnTo>
                    <a:cubicBezTo>
                      <a:pt x="326824" y="686624"/>
                      <a:pt x="251566" y="679408"/>
                      <a:pt x="214568" y="675514"/>
                    </a:cubicBezTo>
                    <a:cubicBezTo>
                      <a:pt x="213374" y="670224"/>
                      <a:pt x="211441" y="665162"/>
                      <a:pt x="208625" y="660327"/>
                    </a:cubicBezTo>
                    <a:cubicBezTo>
                      <a:pt x="205212" y="654429"/>
                      <a:pt x="204088" y="650594"/>
                      <a:pt x="204586" y="648039"/>
                    </a:cubicBezTo>
                    <a:lnTo>
                      <a:pt x="210181" y="643512"/>
                    </a:lnTo>
                    <a:lnTo>
                      <a:pt x="234450" y="638628"/>
                    </a:lnTo>
                    <a:lnTo>
                      <a:pt x="234512" y="638539"/>
                    </a:lnTo>
                    <a:lnTo>
                      <a:pt x="234925" y="638456"/>
                    </a:lnTo>
                    <a:cubicBezTo>
                      <a:pt x="261058" y="626612"/>
                      <a:pt x="236524" y="570474"/>
                      <a:pt x="225665" y="553697"/>
                    </a:cubicBezTo>
                    <a:cubicBezTo>
                      <a:pt x="212253" y="533059"/>
                      <a:pt x="200702" y="512551"/>
                      <a:pt x="185714" y="493503"/>
                    </a:cubicBezTo>
                    <a:cubicBezTo>
                      <a:pt x="166693" y="469295"/>
                      <a:pt x="145762" y="451805"/>
                      <a:pt x="140416" y="420880"/>
                    </a:cubicBezTo>
                    <a:cubicBezTo>
                      <a:pt x="138149" y="407933"/>
                      <a:pt x="141084" y="396705"/>
                      <a:pt x="131395" y="387262"/>
                    </a:cubicBezTo>
                    <a:cubicBezTo>
                      <a:pt x="121323" y="377430"/>
                      <a:pt x="107577" y="378922"/>
                      <a:pt x="98412" y="366786"/>
                    </a:cubicBezTo>
                    <a:cubicBezTo>
                      <a:pt x="73090" y="333201"/>
                      <a:pt x="70489" y="295494"/>
                      <a:pt x="27125" y="278101"/>
                    </a:cubicBezTo>
                    <a:cubicBezTo>
                      <a:pt x="-12254" y="262298"/>
                      <a:pt x="-464" y="247468"/>
                      <a:pt x="11278" y="217809"/>
                    </a:cubicBezTo>
                    <a:cubicBezTo>
                      <a:pt x="16433" y="204732"/>
                      <a:pt x="21564" y="187274"/>
                      <a:pt x="24046" y="170822"/>
                    </a:cubicBezTo>
                    <a:lnTo>
                      <a:pt x="27489" y="170643"/>
                    </a:lnTo>
                    <a:lnTo>
                      <a:pt x="29854" y="170804"/>
                    </a:lnTo>
                    <a:lnTo>
                      <a:pt x="30562" y="170483"/>
                    </a:lnTo>
                    <a:lnTo>
                      <a:pt x="32160" y="170400"/>
                    </a:lnTo>
                    <a:cubicBezTo>
                      <a:pt x="38664" y="168632"/>
                      <a:pt x="42769" y="165922"/>
                      <a:pt x="47121" y="163634"/>
                    </a:cubicBezTo>
                    <a:lnTo>
                      <a:pt x="62232" y="159744"/>
                    </a:lnTo>
                    <a:lnTo>
                      <a:pt x="96180" y="158736"/>
                    </a:lnTo>
                    <a:lnTo>
                      <a:pt x="97352" y="158365"/>
                    </a:lnTo>
                    <a:lnTo>
                      <a:pt x="98508" y="158329"/>
                    </a:lnTo>
                    <a:cubicBezTo>
                      <a:pt x="125643" y="154597"/>
                      <a:pt x="148006" y="142883"/>
                      <a:pt x="164712" y="122244"/>
                    </a:cubicBezTo>
                    <a:cubicBezTo>
                      <a:pt x="174592" y="110043"/>
                      <a:pt x="185594" y="97842"/>
                      <a:pt x="194998" y="85706"/>
                    </a:cubicBezTo>
                    <a:cubicBezTo>
                      <a:pt x="202348" y="76231"/>
                      <a:pt x="200534" y="66658"/>
                      <a:pt x="206310" y="56371"/>
                    </a:cubicBezTo>
                    <a:cubicBezTo>
                      <a:pt x="212253" y="45825"/>
                      <a:pt x="225236" y="49103"/>
                      <a:pt x="230796" y="40017"/>
                    </a:cubicBezTo>
                    <a:cubicBezTo>
                      <a:pt x="235952" y="31580"/>
                      <a:pt x="228386" y="20839"/>
                      <a:pt x="224377" y="13473"/>
                    </a:cubicBezTo>
                    <a:lnTo>
                      <a:pt x="220372" y="1197"/>
                    </a:lnTo>
                    <a:lnTo>
                      <a:pt x="271498" y="0"/>
                    </a:lnTo>
                    <a:close/>
                  </a:path>
                </a:pathLst>
              </a:custGeom>
              <a:solidFill>
                <a:schemeClr val="tx2"/>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5" name="Freeform 44">
                <a:extLst>
                  <a:ext uri="{FF2B5EF4-FFF2-40B4-BE49-F238E27FC236}">
                    <a16:creationId xmlns:a16="http://schemas.microsoft.com/office/drawing/2014/main" id="{D972DC51-6641-7A4E-A03C-DE7DFD427341}"/>
                  </a:ext>
                </a:extLst>
              </p:cNvPr>
              <p:cNvSpPr/>
              <p:nvPr/>
            </p:nvSpPr>
            <p:spPr>
              <a:xfrm>
                <a:off x="3973172" y="3996799"/>
                <a:ext cx="670560" cy="693093"/>
              </a:xfrm>
              <a:custGeom>
                <a:avLst/>
                <a:gdLst>
                  <a:gd name="connsiteX0" fmla="*/ 169851 w 670560"/>
                  <a:gd name="connsiteY0" fmla="*/ 0 h 693093"/>
                  <a:gd name="connsiteX1" fmla="*/ 172678 w 670560"/>
                  <a:gd name="connsiteY1" fmla="*/ 2477 h 693093"/>
                  <a:gd name="connsiteX2" fmla="*/ 173092 w 670560"/>
                  <a:gd name="connsiteY2" fmla="*/ 2508 h 693093"/>
                  <a:gd name="connsiteX3" fmla="*/ 173878 w 670560"/>
                  <a:gd name="connsiteY3" fmla="*/ 3647 h 693093"/>
                  <a:gd name="connsiteX4" fmla="*/ 214225 w 670560"/>
                  <a:gd name="connsiteY4" fmla="*/ 3621 h 693093"/>
                  <a:gd name="connsiteX5" fmla="*/ 254271 w 670560"/>
                  <a:gd name="connsiteY5" fmla="*/ 4823 h 693093"/>
                  <a:gd name="connsiteX6" fmla="*/ 254657 w 670560"/>
                  <a:gd name="connsiteY6" fmla="*/ 3768 h 693093"/>
                  <a:gd name="connsiteX7" fmla="*/ 496220 w 670560"/>
                  <a:gd name="connsiteY7" fmla="*/ 24323 h 693093"/>
                  <a:gd name="connsiteX8" fmla="*/ 527451 w 670560"/>
                  <a:gd name="connsiteY8" fmla="*/ 25676 h 693093"/>
                  <a:gd name="connsiteX9" fmla="*/ 556007 w 670560"/>
                  <a:gd name="connsiteY9" fmla="*/ 29220 h 693093"/>
                  <a:gd name="connsiteX10" fmla="*/ 557812 w 670560"/>
                  <a:gd name="connsiteY10" fmla="*/ 27577 h 693093"/>
                  <a:gd name="connsiteX11" fmla="*/ 566988 w 670560"/>
                  <a:gd name="connsiteY11" fmla="*/ 33570 h 693093"/>
                  <a:gd name="connsiteX12" fmla="*/ 591034 w 670560"/>
                  <a:gd name="connsiteY12" fmla="*/ 40658 h 693093"/>
                  <a:gd name="connsiteX13" fmla="*/ 603632 w 670560"/>
                  <a:gd name="connsiteY13" fmla="*/ 70237 h 693093"/>
                  <a:gd name="connsiteX14" fmla="*/ 631224 w 670560"/>
                  <a:gd name="connsiteY14" fmla="*/ 141799 h 693093"/>
                  <a:gd name="connsiteX15" fmla="*/ 655549 w 670560"/>
                  <a:gd name="connsiteY15" fmla="*/ 204887 h 693093"/>
                  <a:gd name="connsiteX16" fmla="*/ 670560 w 670560"/>
                  <a:gd name="connsiteY16" fmla="*/ 220466 h 693093"/>
                  <a:gd name="connsiteX17" fmla="*/ 669933 w 670560"/>
                  <a:gd name="connsiteY17" fmla="*/ 220383 h 693093"/>
                  <a:gd name="connsiteX18" fmla="*/ 658973 w 670560"/>
                  <a:gd name="connsiteY18" fmla="*/ 427038 h 693093"/>
                  <a:gd name="connsiteX19" fmla="*/ 657089 w 670560"/>
                  <a:gd name="connsiteY19" fmla="*/ 430290 h 693093"/>
                  <a:gd name="connsiteX20" fmla="*/ 653282 w 670560"/>
                  <a:gd name="connsiteY20" fmla="*/ 434558 h 693093"/>
                  <a:gd name="connsiteX21" fmla="*/ 631144 w 670560"/>
                  <a:gd name="connsiteY21" fmla="*/ 446005 h 693093"/>
                  <a:gd name="connsiteX22" fmla="*/ 596197 w 670560"/>
                  <a:gd name="connsiteY22" fmla="*/ 452115 h 693093"/>
                  <a:gd name="connsiteX23" fmla="*/ 555852 w 670560"/>
                  <a:gd name="connsiteY23" fmla="*/ 462587 h 693093"/>
                  <a:gd name="connsiteX24" fmla="*/ 511338 w 670560"/>
                  <a:gd name="connsiteY24" fmla="*/ 486784 h 693093"/>
                  <a:gd name="connsiteX25" fmla="*/ 427101 w 670560"/>
                  <a:gd name="connsiteY25" fmla="*/ 487912 h 693093"/>
                  <a:gd name="connsiteX26" fmla="*/ 384920 w 670560"/>
                  <a:gd name="connsiteY26" fmla="*/ 504667 h 693093"/>
                  <a:gd name="connsiteX27" fmla="*/ 328150 w 670560"/>
                  <a:gd name="connsiteY27" fmla="*/ 499254 h 693093"/>
                  <a:gd name="connsiteX28" fmla="*/ 298412 w 670560"/>
                  <a:gd name="connsiteY28" fmla="*/ 475443 h 693093"/>
                  <a:gd name="connsiteX29" fmla="*/ 281132 w 670560"/>
                  <a:gd name="connsiteY29" fmla="*/ 477710 h 693093"/>
                  <a:gd name="connsiteX30" fmla="*/ 280478 w 670560"/>
                  <a:gd name="connsiteY30" fmla="*/ 478583 h 693093"/>
                  <a:gd name="connsiteX31" fmla="*/ 278980 w 670560"/>
                  <a:gd name="connsiteY31" fmla="*/ 479443 h 693093"/>
                  <a:gd name="connsiteX32" fmla="*/ 267036 w 670560"/>
                  <a:gd name="connsiteY32" fmla="*/ 495384 h 693093"/>
                  <a:gd name="connsiteX33" fmla="*/ 255570 w 670560"/>
                  <a:gd name="connsiteY33" fmla="*/ 504538 h 693093"/>
                  <a:gd name="connsiteX34" fmla="*/ 255114 w 670560"/>
                  <a:gd name="connsiteY34" fmla="*/ 504947 h 693093"/>
                  <a:gd name="connsiteX35" fmla="*/ 253426 w 670560"/>
                  <a:gd name="connsiteY35" fmla="*/ 506299 h 693093"/>
                  <a:gd name="connsiteX36" fmla="*/ 240356 w 670560"/>
                  <a:gd name="connsiteY36" fmla="*/ 518027 h 693093"/>
                  <a:gd name="connsiteX37" fmla="*/ 224546 w 670560"/>
                  <a:gd name="connsiteY37" fmla="*/ 557512 h 693093"/>
                  <a:gd name="connsiteX38" fmla="*/ 186129 w 670560"/>
                  <a:gd name="connsiteY38" fmla="*/ 600952 h 693093"/>
                  <a:gd name="connsiteX39" fmla="*/ 176984 w 670560"/>
                  <a:gd name="connsiteY39" fmla="*/ 613529 h 693093"/>
                  <a:gd name="connsiteX40" fmla="*/ 177141 w 670560"/>
                  <a:gd name="connsiteY40" fmla="*/ 613895 h 693093"/>
                  <a:gd name="connsiteX41" fmla="*/ 177062 w 670560"/>
                  <a:gd name="connsiteY41" fmla="*/ 614000 h 693093"/>
                  <a:gd name="connsiteX42" fmla="*/ 163311 w 670560"/>
                  <a:gd name="connsiteY42" fmla="*/ 625485 h 693093"/>
                  <a:gd name="connsiteX43" fmla="*/ 157280 w 670560"/>
                  <a:gd name="connsiteY43" fmla="*/ 629972 h 693093"/>
                  <a:gd name="connsiteX44" fmla="*/ 103532 w 670560"/>
                  <a:gd name="connsiteY44" fmla="*/ 641069 h 693093"/>
                  <a:gd name="connsiteX45" fmla="*/ 102383 w 670560"/>
                  <a:gd name="connsiteY45" fmla="*/ 642767 h 693093"/>
                  <a:gd name="connsiteX46" fmla="*/ 102029 w 670560"/>
                  <a:gd name="connsiteY46" fmla="*/ 642894 h 693093"/>
                  <a:gd name="connsiteX47" fmla="*/ 90564 w 670560"/>
                  <a:gd name="connsiteY47" fmla="*/ 659862 h 693093"/>
                  <a:gd name="connsiteX48" fmla="*/ 72866 w 670560"/>
                  <a:gd name="connsiteY48" fmla="*/ 685868 h 693093"/>
                  <a:gd name="connsiteX49" fmla="*/ 37768 w 670560"/>
                  <a:gd name="connsiteY49" fmla="*/ 693093 h 693093"/>
                  <a:gd name="connsiteX50" fmla="*/ 2368 w 670560"/>
                  <a:gd name="connsiteY50" fmla="*/ 676950 h 693093"/>
                  <a:gd name="connsiteX51" fmla="*/ 0 w 670560"/>
                  <a:gd name="connsiteY51" fmla="*/ 665040 h 693093"/>
                  <a:gd name="connsiteX52" fmla="*/ 267 w 670560"/>
                  <a:gd name="connsiteY52" fmla="*/ 656341 h 693093"/>
                  <a:gd name="connsiteX53" fmla="*/ 11980 w 670560"/>
                  <a:gd name="connsiteY53" fmla="*/ 654140 h 693093"/>
                  <a:gd name="connsiteX54" fmla="*/ 47940 w 670560"/>
                  <a:gd name="connsiteY54" fmla="*/ 622662 h 693093"/>
                  <a:gd name="connsiteX55" fmla="*/ 87158 w 670560"/>
                  <a:gd name="connsiteY55" fmla="*/ 575558 h 693093"/>
                  <a:gd name="connsiteX56" fmla="*/ 136410 w 670560"/>
                  <a:gd name="connsiteY56" fmla="*/ 537257 h 693093"/>
                  <a:gd name="connsiteX57" fmla="*/ 174871 w 670560"/>
                  <a:gd name="connsiteY57" fmla="*/ 475916 h 693093"/>
                  <a:gd name="connsiteX58" fmla="*/ 159605 w 670560"/>
                  <a:gd name="connsiteY58" fmla="*/ 433885 h 693093"/>
                  <a:gd name="connsiteX59" fmla="*/ 156775 w 670560"/>
                  <a:gd name="connsiteY59" fmla="*/ 411550 h 693093"/>
                  <a:gd name="connsiteX60" fmla="*/ 156196 w 670560"/>
                  <a:gd name="connsiteY60" fmla="*/ 411586 h 693093"/>
                  <a:gd name="connsiteX61" fmla="*/ 155912 w 670560"/>
                  <a:gd name="connsiteY61" fmla="*/ 409326 h 693093"/>
                  <a:gd name="connsiteX62" fmla="*/ 160960 w 670560"/>
                  <a:gd name="connsiteY62" fmla="*/ 407166 h 693093"/>
                  <a:gd name="connsiteX63" fmla="*/ 176355 w 670560"/>
                  <a:gd name="connsiteY63" fmla="*/ 404520 h 693093"/>
                  <a:gd name="connsiteX64" fmla="*/ 212464 w 670560"/>
                  <a:gd name="connsiteY64" fmla="*/ 370357 h 693093"/>
                  <a:gd name="connsiteX65" fmla="*/ 215798 w 670560"/>
                  <a:gd name="connsiteY65" fmla="*/ 316171 h 693093"/>
                  <a:gd name="connsiteX66" fmla="*/ 245725 w 670560"/>
                  <a:gd name="connsiteY66" fmla="*/ 281000 h 693093"/>
                  <a:gd name="connsiteX67" fmla="*/ 245630 w 670560"/>
                  <a:gd name="connsiteY67" fmla="*/ 280909 h 693093"/>
                  <a:gd name="connsiteX68" fmla="*/ 245717 w 670560"/>
                  <a:gd name="connsiteY68" fmla="*/ 278994 h 693093"/>
                  <a:gd name="connsiteX69" fmla="*/ 193738 w 670560"/>
                  <a:gd name="connsiteY69" fmla="*/ 251155 h 693093"/>
                  <a:gd name="connsiteX70" fmla="*/ 191367 w 670560"/>
                  <a:gd name="connsiteY70" fmla="*/ 238876 h 693093"/>
                  <a:gd name="connsiteX71" fmla="*/ 199624 w 670560"/>
                  <a:gd name="connsiteY71" fmla="*/ 231442 h 693093"/>
                  <a:gd name="connsiteX72" fmla="*/ 222346 w 670560"/>
                  <a:gd name="connsiteY72" fmla="*/ 219814 h 693093"/>
                  <a:gd name="connsiteX73" fmla="*/ 256772 w 670560"/>
                  <a:gd name="connsiteY73" fmla="*/ 189151 h 693093"/>
                  <a:gd name="connsiteX74" fmla="*/ 313172 w 670560"/>
                  <a:gd name="connsiteY74" fmla="*/ 176101 h 693093"/>
                  <a:gd name="connsiteX75" fmla="*/ 313054 w 670560"/>
                  <a:gd name="connsiteY75" fmla="*/ 174249 h 693093"/>
                  <a:gd name="connsiteX76" fmla="*/ 313219 w 670560"/>
                  <a:gd name="connsiteY76" fmla="*/ 174084 h 693093"/>
                  <a:gd name="connsiteX77" fmla="*/ 266559 w 670560"/>
                  <a:gd name="connsiteY77" fmla="*/ 141122 h 693093"/>
                  <a:gd name="connsiteX78" fmla="*/ 203754 w 670560"/>
                  <a:gd name="connsiteY78" fmla="*/ 134098 h 693093"/>
                  <a:gd name="connsiteX79" fmla="*/ 184437 w 670560"/>
                  <a:gd name="connsiteY79" fmla="*/ 102135 h 693093"/>
                  <a:gd name="connsiteX80" fmla="*/ 166519 w 670560"/>
                  <a:gd name="connsiteY80" fmla="*/ 77068 h 693093"/>
                  <a:gd name="connsiteX81" fmla="*/ 151987 w 670560"/>
                  <a:gd name="connsiteY81" fmla="*/ 56425 h 693093"/>
                  <a:gd name="connsiteX82" fmla="*/ 150600 w 670560"/>
                  <a:gd name="connsiteY82" fmla="*/ 38960 h 693093"/>
                  <a:gd name="connsiteX83" fmla="*/ 157799 w 670560"/>
                  <a:gd name="connsiteY83" fmla="*/ 20760 h 693093"/>
                  <a:gd name="connsiteX84" fmla="*/ 169843 w 670560"/>
                  <a:gd name="connsiteY84" fmla="*/ 2036 h 693093"/>
                  <a:gd name="connsiteX85" fmla="*/ 169851 w 670560"/>
                  <a:gd name="connsiteY85" fmla="*/ 0 h 69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670560" h="693093">
                    <a:moveTo>
                      <a:pt x="169851" y="0"/>
                    </a:moveTo>
                    <a:lnTo>
                      <a:pt x="172678" y="2477"/>
                    </a:lnTo>
                    <a:lnTo>
                      <a:pt x="173092" y="2508"/>
                    </a:lnTo>
                    <a:lnTo>
                      <a:pt x="173878" y="3647"/>
                    </a:lnTo>
                    <a:cubicBezTo>
                      <a:pt x="181284" y="7959"/>
                      <a:pt x="205183" y="3307"/>
                      <a:pt x="214225" y="3621"/>
                    </a:cubicBezTo>
                    <a:cubicBezTo>
                      <a:pt x="227854" y="4065"/>
                      <a:pt x="240428" y="5581"/>
                      <a:pt x="254271" y="4823"/>
                    </a:cubicBezTo>
                    <a:lnTo>
                      <a:pt x="254657" y="3768"/>
                    </a:lnTo>
                    <a:lnTo>
                      <a:pt x="496220" y="24323"/>
                    </a:lnTo>
                    <a:cubicBezTo>
                      <a:pt x="506610" y="25193"/>
                      <a:pt x="517217" y="24806"/>
                      <a:pt x="527451" y="25676"/>
                    </a:cubicBezTo>
                    <a:cubicBezTo>
                      <a:pt x="534979" y="26288"/>
                      <a:pt x="548822" y="33151"/>
                      <a:pt x="556007" y="29220"/>
                    </a:cubicBezTo>
                    <a:cubicBezTo>
                      <a:pt x="556598" y="28898"/>
                      <a:pt x="557189" y="28318"/>
                      <a:pt x="557812" y="27577"/>
                    </a:cubicBezTo>
                    <a:cubicBezTo>
                      <a:pt x="560580" y="30090"/>
                      <a:pt x="563535" y="32281"/>
                      <a:pt x="566988" y="33570"/>
                    </a:cubicBezTo>
                    <a:cubicBezTo>
                      <a:pt x="575449" y="36728"/>
                      <a:pt x="584128" y="34085"/>
                      <a:pt x="591034" y="40658"/>
                    </a:cubicBezTo>
                    <a:cubicBezTo>
                      <a:pt x="598033" y="47264"/>
                      <a:pt x="600335" y="61731"/>
                      <a:pt x="603632" y="70237"/>
                    </a:cubicBezTo>
                    <a:cubicBezTo>
                      <a:pt x="612808" y="94080"/>
                      <a:pt x="622016" y="117956"/>
                      <a:pt x="631224" y="141799"/>
                    </a:cubicBezTo>
                    <a:cubicBezTo>
                      <a:pt x="639311" y="162807"/>
                      <a:pt x="646777" y="184137"/>
                      <a:pt x="655549" y="204887"/>
                    </a:cubicBezTo>
                    <a:lnTo>
                      <a:pt x="670560" y="220466"/>
                    </a:lnTo>
                    <a:lnTo>
                      <a:pt x="669933" y="220383"/>
                    </a:lnTo>
                    <a:lnTo>
                      <a:pt x="658973" y="427038"/>
                    </a:lnTo>
                    <a:lnTo>
                      <a:pt x="657089" y="430290"/>
                    </a:lnTo>
                    <a:lnTo>
                      <a:pt x="653282" y="434558"/>
                    </a:lnTo>
                    <a:lnTo>
                      <a:pt x="631144" y="446005"/>
                    </a:lnTo>
                    <a:lnTo>
                      <a:pt x="596197" y="452115"/>
                    </a:lnTo>
                    <a:cubicBezTo>
                      <a:pt x="583101" y="455144"/>
                      <a:pt x="568388" y="458172"/>
                      <a:pt x="555852" y="462587"/>
                    </a:cubicBezTo>
                    <a:cubicBezTo>
                      <a:pt x="539365" y="468386"/>
                      <a:pt x="526954" y="480662"/>
                      <a:pt x="511338" y="486784"/>
                    </a:cubicBezTo>
                    <a:cubicBezTo>
                      <a:pt x="477680" y="499995"/>
                      <a:pt x="458705" y="466775"/>
                      <a:pt x="427101" y="487912"/>
                    </a:cubicBezTo>
                    <a:cubicBezTo>
                      <a:pt x="412169" y="497900"/>
                      <a:pt x="403988" y="504506"/>
                      <a:pt x="384920" y="504667"/>
                    </a:cubicBezTo>
                    <a:cubicBezTo>
                      <a:pt x="365883" y="504828"/>
                      <a:pt x="346099" y="505633"/>
                      <a:pt x="328150" y="499254"/>
                    </a:cubicBezTo>
                    <a:cubicBezTo>
                      <a:pt x="313312" y="494002"/>
                      <a:pt x="310295" y="481565"/>
                      <a:pt x="298412" y="475443"/>
                    </a:cubicBezTo>
                    <a:cubicBezTo>
                      <a:pt x="290698" y="471464"/>
                      <a:pt x="285472" y="473445"/>
                      <a:pt x="281132" y="477710"/>
                    </a:cubicBezTo>
                    <a:lnTo>
                      <a:pt x="280478" y="478583"/>
                    </a:lnTo>
                    <a:lnTo>
                      <a:pt x="278980" y="479443"/>
                    </a:lnTo>
                    <a:lnTo>
                      <a:pt x="267036" y="495384"/>
                    </a:lnTo>
                    <a:lnTo>
                      <a:pt x="255570" y="504538"/>
                    </a:lnTo>
                    <a:lnTo>
                      <a:pt x="255114" y="504947"/>
                    </a:lnTo>
                    <a:lnTo>
                      <a:pt x="253426" y="506299"/>
                    </a:lnTo>
                    <a:cubicBezTo>
                      <a:pt x="248540" y="509509"/>
                      <a:pt x="243742" y="512859"/>
                      <a:pt x="240356" y="518027"/>
                    </a:cubicBezTo>
                    <a:cubicBezTo>
                      <a:pt x="232811" y="529522"/>
                      <a:pt x="233504" y="545458"/>
                      <a:pt x="224546" y="557512"/>
                    </a:cubicBezTo>
                    <a:cubicBezTo>
                      <a:pt x="213029" y="573000"/>
                      <a:pt x="197513" y="585017"/>
                      <a:pt x="186129" y="600952"/>
                    </a:cubicBezTo>
                    <a:cubicBezTo>
                      <a:pt x="183196" y="605020"/>
                      <a:pt x="180210" y="609387"/>
                      <a:pt x="176984" y="613529"/>
                    </a:cubicBezTo>
                    <a:lnTo>
                      <a:pt x="177141" y="613895"/>
                    </a:lnTo>
                    <a:lnTo>
                      <a:pt x="177062" y="614000"/>
                    </a:lnTo>
                    <a:lnTo>
                      <a:pt x="163311" y="625485"/>
                    </a:lnTo>
                    <a:lnTo>
                      <a:pt x="157280" y="629972"/>
                    </a:lnTo>
                    <a:cubicBezTo>
                      <a:pt x="135747" y="638479"/>
                      <a:pt x="116926" y="631109"/>
                      <a:pt x="103532" y="641069"/>
                    </a:cubicBezTo>
                    <a:lnTo>
                      <a:pt x="102383" y="642767"/>
                    </a:lnTo>
                    <a:lnTo>
                      <a:pt x="102029" y="642894"/>
                    </a:lnTo>
                    <a:cubicBezTo>
                      <a:pt x="97570" y="646215"/>
                      <a:pt x="93715" y="651461"/>
                      <a:pt x="90564" y="659862"/>
                    </a:cubicBezTo>
                    <a:lnTo>
                      <a:pt x="72866" y="685868"/>
                    </a:lnTo>
                    <a:lnTo>
                      <a:pt x="37768" y="693093"/>
                    </a:lnTo>
                    <a:cubicBezTo>
                      <a:pt x="26601" y="692061"/>
                      <a:pt x="7097" y="688872"/>
                      <a:pt x="2368" y="676950"/>
                    </a:cubicBezTo>
                    <a:cubicBezTo>
                      <a:pt x="595" y="672504"/>
                      <a:pt x="74" y="668637"/>
                      <a:pt x="0" y="665040"/>
                    </a:cubicBezTo>
                    <a:lnTo>
                      <a:pt x="267" y="656341"/>
                    </a:lnTo>
                    <a:lnTo>
                      <a:pt x="11980" y="654140"/>
                    </a:lnTo>
                    <a:cubicBezTo>
                      <a:pt x="26456" y="648067"/>
                      <a:pt x="35504" y="632533"/>
                      <a:pt x="47940" y="622662"/>
                    </a:cubicBezTo>
                    <a:cubicBezTo>
                      <a:pt x="65706" y="608583"/>
                      <a:pt x="75017" y="594618"/>
                      <a:pt x="87158" y="575558"/>
                    </a:cubicBezTo>
                    <a:cubicBezTo>
                      <a:pt x="99462" y="556158"/>
                      <a:pt x="119269" y="551700"/>
                      <a:pt x="136410" y="537257"/>
                    </a:cubicBezTo>
                    <a:cubicBezTo>
                      <a:pt x="158190" y="518902"/>
                      <a:pt x="180069" y="507053"/>
                      <a:pt x="174871" y="475916"/>
                    </a:cubicBezTo>
                    <a:cubicBezTo>
                      <a:pt x="172436" y="461314"/>
                      <a:pt x="163059" y="448373"/>
                      <a:pt x="159605" y="433885"/>
                    </a:cubicBezTo>
                    <a:cubicBezTo>
                      <a:pt x="157861" y="426584"/>
                      <a:pt x="157104" y="419101"/>
                      <a:pt x="156775" y="411550"/>
                    </a:cubicBezTo>
                    <a:lnTo>
                      <a:pt x="156196" y="411586"/>
                    </a:lnTo>
                    <a:lnTo>
                      <a:pt x="155912" y="409326"/>
                    </a:lnTo>
                    <a:lnTo>
                      <a:pt x="160960" y="407166"/>
                    </a:lnTo>
                    <a:lnTo>
                      <a:pt x="176355" y="404520"/>
                    </a:lnTo>
                    <a:cubicBezTo>
                      <a:pt x="191867" y="397261"/>
                      <a:pt x="205033" y="385745"/>
                      <a:pt x="212464" y="370357"/>
                    </a:cubicBezTo>
                    <a:cubicBezTo>
                      <a:pt x="220257" y="354227"/>
                      <a:pt x="208246" y="331853"/>
                      <a:pt x="215798" y="316171"/>
                    </a:cubicBezTo>
                    <a:cubicBezTo>
                      <a:pt x="222748" y="301638"/>
                      <a:pt x="253197" y="300910"/>
                      <a:pt x="245725" y="281000"/>
                    </a:cubicBezTo>
                    <a:lnTo>
                      <a:pt x="245630" y="280909"/>
                    </a:lnTo>
                    <a:lnTo>
                      <a:pt x="245717" y="278994"/>
                    </a:lnTo>
                    <a:cubicBezTo>
                      <a:pt x="239496" y="262400"/>
                      <a:pt x="203132" y="267330"/>
                      <a:pt x="193738" y="251155"/>
                    </a:cubicBezTo>
                    <a:lnTo>
                      <a:pt x="191367" y="238876"/>
                    </a:lnTo>
                    <a:lnTo>
                      <a:pt x="199624" y="231442"/>
                    </a:lnTo>
                    <a:cubicBezTo>
                      <a:pt x="207533" y="227557"/>
                      <a:pt x="218249" y="225359"/>
                      <a:pt x="222346" y="219814"/>
                    </a:cubicBezTo>
                    <a:cubicBezTo>
                      <a:pt x="238856" y="197440"/>
                      <a:pt x="218530" y="189487"/>
                      <a:pt x="256772" y="189151"/>
                    </a:cubicBezTo>
                    <a:cubicBezTo>
                      <a:pt x="273122" y="189011"/>
                      <a:pt x="305579" y="194415"/>
                      <a:pt x="313172" y="176101"/>
                    </a:cubicBezTo>
                    <a:lnTo>
                      <a:pt x="313054" y="174249"/>
                    </a:lnTo>
                    <a:lnTo>
                      <a:pt x="313219" y="174084"/>
                    </a:lnTo>
                    <a:cubicBezTo>
                      <a:pt x="323017" y="150531"/>
                      <a:pt x="282299" y="143700"/>
                      <a:pt x="266559" y="141122"/>
                    </a:cubicBezTo>
                    <a:cubicBezTo>
                      <a:pt x="248734" y="138222"/>
                      <a:pt x="219463" y="142282"/>
                      <a:pt x="203754" y="134098"/>
                    </a:cubicBezTo>
                    <a:cubicBezTo>
                      <a:pt x="189320" y="126623"/>
                      <a:pt x="189009" y="115958"/>
                      <a:pt x="184437" y="102135"/>
                    </a:cubicBezTo>
                    <a:cubicBezTo>
                      <a:pt x="179366" y="86798"/>
                      <a:pt x="177780" y="87958"/>
                      <a:pt x="166519" y="77068"/>
                    </a:cubicBezTo>
                    <a:cubicBezTo>
                      <a:pt x="159046" y="69851"/>
                      <a:pt x="154432" y="63016"/>
                      <a:pt x="151987" y="56425"/>
                    </a:cubicBezTo>
                    <a:lnTo>
                      <a:pt x="150600" y="38960"/>
                    </a:lnTo>
                    <a:lnTo>
                      <a:pt x="157799" y="20760"/>
                    </a:lnTo>
                    <a:cubicBezTo>
                      <a:pt x="161259" y="14596"/>
                      <a:pt x="165505" y="8400"/>
                      <a:pt x="169843" y="2036"/>
                    </a:cubicBezTo>
                    <a:lnTo>
                      <a:pt x="169851"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6" name="Freeform 45">
                <a:extLst>
                  <a:ext uri="{FF2B5EF4-FFF2-40B4-BE49-F238E27FC236}">
                    <a16:creationId xmlns:a16="http://schemas.microsoft.com/office/drawing/2014/main" id="{2F3545C2-48EE-914D-B3AA-ED8E1211255D}"/>
                  </a:ext>
                </a:extLst>
              </p:cNvPr>
              <p:cNvSpPr/>
              <p:nvPr/>
            </p:nvSpPr>
            <p:spPr>
              <a:xfrm>
                <a:off x="4629356" y="4183143"/>
                <a:ext cx="290988" cy="327448"/>
              </a:xfrm>
              <a:custGeom>
                <a:avLst/>
                <a:gdLst>
                  <a:gd name="connsiteX0" fmla="*/ 181334 w 290988"/>
                  <a:gd name="connsiteY0" fmla="*/ 0 h 327448"/>
                  <a:gd name="connsiteX1" fmla="*/ 191685 w 290988"/>
                  <a:gd name="connsiteY1" fmla="*/ 84 h 327448"/>
                  <a:gd name="connsiteX2" fmla="*/ 247988 w 290988"/>
                  <a:gd name="connsiteY2" fmla="*/ 116863 h 327448"/>
                  <a:gd name="connsiteX3" fmla="*/ 290988 w 290988"/>
                  <a:gd name="connsiteY3" fmla="*/ 234252 h 327448"/>
                  <a:gd name="connsiteX4" fmla="*/ 221106 w 290988"/>
                  <a:gd name="connsiteY4" fmla="*/ 258570 h 327448"/>
                  <a:gd name="connsiteX5" fmla="*/ 155731 w 290988"/>
                  <a:gd name="connsiteY5" fmla="*/ 293083 h 327448"/>
                  <a:gd name="connsiteX6" fmla="*/ 120874 w 290988"/>
                  <a:gd name="connsiteY6" fmla="*/ 316682 h 327448"/>
                  <a:gd name="connsiteX7" fmla="*/ 93299 w 290988"/>
                  <a:gd name="connsiteY7" fmla="*/ 323159 h 327448"/>
                  <a:gd name="connsiteX8" fmla="*/ 34082 w 290988"/>
                  <a:gd name="connsiteY8" fmla="*/ 321451 h 327448"/>
                  <a:gd name="connsiteX9" fmla="*/ 18590 w 290988"/>
                  <a:gd name="connsiteY9" fmla="*/ 288469 h 327448"/>
                  <a:gd name="connsiteX10" fmla="*/ 0 w 290988"/>
                  <a:gd name="connsiteY10" fmla="*/ 245506 h 327448"/>
                  <a:gd name="connsiteX11" fmla="*/ 905 w 290988"/>
                  <a:gd name="connsiteY11" fmla="*/ 243945 h 327448"/>
                  <a:gd name="connsiteX12" fmla="*/ 3596 w 290988"/>
                  <a:gd name="connsiteY12" fmla="*/ 240928 h 327448"/>
                  <a:gd name="connsiteX13" fmla="*/ 14545 w 290988"/>
                  <a:gd name="connsiteY13" fmla="*/ 34297 h 327448"/>
                  <a:gd name="connsiteX14" fmla="*/ 14376 w 290988"/>
                  <a:gd name="connsiteY14" fmla="*/ 34121 h 327448"/>
                  <a:gd name="connsiteX15" fmla="*/ 40719 w 290988"/>
                  <a:gd name="connsiteY15" fmla="*/ 37617 h 327448"/>
                  <a:gd name="connsiteX16" fmla="*/ 68822 w 290988"/>
                  <a:gd name="connsiteY16" fmla="*/ 33595 h 327448"/>
                  <a:gd name="connsiteX17" fmla="*/ 146746 w 290988"/>
                  <a:gd name="connsiteY17" fmla="*/ 8997 h 327448"/>
                  <a:gd name="connsiteX18" fmla="*/ 181334 w 290988"/>
                  <a:gd name="connsiteY18" fmla="*/ 0 h 327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0988" h="327448">
                    <a:moveTo>
                      <a:pt x="181334" y="0"/>
                    </a:moveTo>
                    <a:lnTo>
                      <a:pt x="191685" y="84"/>
                    </a:lnTo>
                    <a:lnTo>
                      <a:pt x="247988" y="116863"/>
                    </a:lnTo>
                    <a:lnTo>
                      <a:pt x="290988" y="234252"/>
                    </a:lnTo>
                    <a:lnTo>
                      <a:pt x="221106" y="258570"/>
                    </a:lnTo>
                    <a:cubicBezTo>
                      <a:pt x="196668" y="266000"/>
                      <a:pt x="175212" y="277556"/>
                      <a:pt x="155731" y="293083"/>
                    </a:cubicBezTo>
                    <a:cubicBezTo>
                      <a:pt x="145468" y="301245"/>
                      <a:pt x="132338" y="310139"/>
                      <a:pt x="120874" y="316682"/>
                    </a:cubicBezTo>
                    <a:cubicBezTo>
                      <a:pt x="111850" y="321806"/>
                      <a:pt x="103330" y="321473"/>
                      <a:pt x="93299" y="323159"/>
                    </a:cubicBezTo>
                    <a:cubicBezTo>
                      <a:pt x="77807" y="325754"/>
                      <a:pt x="47792" y="332187"/>
                      <a:pt x="34082" y="321451"/>
                    </a:cubicBezTo>
                    <a:cubicBezTo>
                      <a:pt x="26259" y="315329"/>
                      <a:pt x="22386" y="297186"/>
                      <a:pt x="18590" y="288469"/>
                    </a:cubicBezTo>
                    <a:cubicBezTo>
                      <a:pt x="12394" y="274163"/>
                      <a:pt x="6197" y="259834"/>
                      <a:pt x="0" y="245506"/>
                    </a:cubicBezTo>
                    <a:lnTo>
                      <a:pt x="905" y="243945"/>
                    </a:lnTo>
                    <a:lnTo>
                      <a:pt x="3596" y="240928"/>
                    </a:lnTo>
                    <a:lnTo>
                      <a:pt x="14545" y="34297"/>
                    </a:lnTo>
                    <a:lnTo>
                      <a:pt x="14376" y="34121"/>
                    </a:lnTo>
                    <a:lnTo>
                      <a:pt x="40719" y="37617"/>
                    </a:lnTo>
                    <a:cubicBezTo>
                      <a:pt x="50387" y="36994"/>
                      <a:pt x="60244" y="35103"/>
                      <a:pt x="68822" y="33595"/>
                    </a:cubicBezTo>
                    <a:cubicBezTo>
                      <a:pt x="97056" y="28649"/>
                      <a:pt x="120758" y="20153"/>
                      <a:pt x="146746" y="8997"/>
                    </a:cubicBezTo>
                    <a:cubicBezTo>
                      <a:pt x="158103" y="4123"/>
                      <a:pt x="169674" y="1288"/>
                      <a:pt x="181334"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7" name="Freeform 46">
                <a:extLst>
                  <a:ext uri="{FF2B5EF4-FFF2-40B4-BE49-F238E27FC236}">
                    <a16:creationId xmlns:a16="http://schemas.microsoft.com/office/drawing/2014/main" id="{FFC42773-7EEC-084F-90EE-060E3D151B27}"/>
                  </a:ext>
                </a:extLst>
              </p:cNvPr>
              <p:cNvSpPr/>
              <p:nvPr/>
            </p:nvSpPr>
            <p:spPr>
              <a:xfrm>
                <a:off x="3442588" y="4198367"/>
                <a:ext cx="705350" cy="481516"/>
              </a:xfrm>
              <a:custGeom>
                <a:avLst/>
                <a:gdLst>
                  <a:gd name="connsiteX0" fmla="*/ 429596 w 705350"/>
                  <a:gd name="connsiteY0" fmla="*/ 487 h 481516"/>
                  <a:gd name="connsiteX1" fmla="*/ 458404 w 705350"/>
                  <a:gd name="connsiteY1" fmla="*/ 870 h 481516"/>
                  <a:gd name="connsiteX2" fmla="*/ 577011 w 705350"/>
                  <a:gd name="connsiteY2" fmla="*/ 5237 h 481516"/>
                  <a:gd name="connsiteX3" fmla="*/ 602750 w 705350"/>
                  <a:gd name="connsiteY3" fmla="*/ 5954 h 481516"/>
                  <a:gd name="connsiteX4" fmla="*/ 611683 w 705350"/>
                  <a:gd name="connsiteY4" fmla="*/ 10841 h 481516"/>
                  <a:gd name="connsiteX5" fmla="*/ 618157 w 705350"/>
                  <a:gd name="connsiteY5" fmla="*/ 22613 h 481516"/>
                  <a:gd name="connsiteX6" fmla="*/ 615185 w 705350"/>
                  <a:gd name="connsiteY6" fmla="*/ 79543 h 481516"/>
                  <a:gd name="connsiteX7" fmla="*/ 615908 w 705350"/>
                  <a:gd name="connsiteY7" fmla="*/ 173408 h 481516"/>
                  <a:gd name="connsiteX8" fmla="*/ 639786 w 705350"/>
                  <a:gd name="connsiteY8" fmla="*/ 207944 h 481516"/>
                  <a:gd name="connsiteX9" fmla="*/ 640488 w 705350"/>
                  <a:gd name="connsiteY9" fmla="*/ 208094 h 481516"/>
                  <a:gd name="connsiteX10" fmla="*/ 640637 w 705350"/>
                  <a:gd name="connsiteY10" fmla="*/ 208194 h 481516"/>
                  <a:gd name="connsiteX11" fmla="*/ 657617 w 705350"/>
                  <a:gd name="connsiteY11" fmla="*/ 211823 h 481516"/>
                  <a:gd name="connsiteX12" fmla="*/ 686780 w 705350"/>
                  <a:gd name="connsiteY12" fmla="*/ 210017 h 481516"/>
                  <a:gd name="connsiteX13" fmla="*/ 689295 w 705350"/>
                  <a:gd name="connsiteY13" fmla="*/ 230054 h 481516"/>
                  <a:gd name="connsiteX14" fmla="*/ 704569 w 705350"/>
                  <a:gd name="connsiteY14" fmla="*/ 272069 h 481516"/>
                  <a:gd name="connsiteX15" fmla="*/ 666121 w 705350"/>
                  <a:gd name="connsiteY15" fmla="*/ 333385 h 481516"/>
                  <a:gd name="connsiteX16" fmla="*/ 616816 w 705350"/>
                  <a:gd name="connsiteY16" fmla="*/ 371695 h 481516"/>
                  <a:gd name="connsiteX17" fmla="*/ 577622 w 705350"/>
                  <a:gd name="connsiteY17" fmla="*/ 418769 h 481516"/>
                  <a:gd name="connsiteX18" fmla="*/ 541631 w 705350"/>
                  <a:gd name="connsiteY18" fmla="*/ 450217 h 481516"/>
                  <a:gd name="connsiteX19" fmla="*/ 530899 w 705350"/>
                  <a:gd name="connsiteY19" fmla="*/ 453181 h 481516"/>
                  <a:gd name="connsiteX20" fmla="*/ 530851 w 705350"/>
                  <a:gd name="connsiteY20" fmla="*/ 454772 h 481516"/>
                  <a:gd name="connsiteX21" fmla="*/ 529455 w 705350"/>
                  <a:gd name="connsiteY21" fmla="*/ 455034 h 481516"/>
                  <a:gd name="connsiteX22" fmla="*/ 529453 w 705350"/>
                  <a:gd name="connsiteY22" fmla="*/ 455010 h 481516"/>
                  <a:gd name="connsiteX23" fmla="*/ 495524 w 705350"/>
                  <a:gd name="connsiteY23" fmla="*/ 455301 h 481516"/>
                  <a:gd name="connsiteX24" fmla="*/ 456791 w 705350"/>
                  <a:gd name="connsiteY24" fmla="*/ 452348 h 481516"/>
                  <a:gd name="connsiteX25" fmla="*/ 445667 w 705350"/>
                  <a:gd name="connsiteY25" fmla="*/ 462338 h 481516"/>
                  <a:gd name="connsiteX26" fmla="*/ 429916 w 705350"/>
                  <a:gd name="connsiteY26" fmla="*/ 466710 h 481516"/>
                  <a:gd name="connsiteX27" fmla="*/ 417937 w 705350"/>
                  <a:gd name="connsiteY27" fmla="*/ 459752 h 481516"/>
                  <a:gd name="connsiteX28" fmla="*/ 404908 w 705350"/>
                  <a:gd name="connsiteY28" fmla="*/ 448909 h 481516"/>
                  <a:gd name="connsiteX29" fmla="*/ 364572 w 705350"/>
                  <a:gd name="connsiteY29" fmla="*/ 437127 h 481516"/>
                  <a:gd name="connsiteX30" fmla="*/ 363686 w 705350"/>
                  <a:gd name="connsiteY30" fmla="*/ 437045 h 481516"/>
                  <a:gd name="connsiteX31" fmla="*/ 362213 w 705350"/>
                  <a:gd name="connsiteY31" fmla="*/ 436614 h 481516"/>
                  <a:gd name="connsiteX32" fmla="*/ 346787 w 705350"/>
                  <a:gd name="connsiteY32" fmla="*/ 435187 h 481516"/>
                  <a:gd name="connsiteX33" fmla="*/ 343186 w 705350"/>
                  <a:gd name="connsiteY33" fmla="*/ 424049 h 481516"/>
                  <a:gd name="connsiteX34" fmla="*/ 355327 w 705350"/>
                  <a:gd name="connsiteY34" fmla="*/ 409084 h 481516"/>
                  <a:gd name="connsiteX35" fmla="*/ 356577 w 705350"/>
                  <a:gd name="connsiteY35" fmla="*/ 388887 h 481516"/>
                  <a:gd name="connsiteX36" fmla="*/ 354208 w 705350"/>
                  <a:gd name="connsiteY36" fmla="*/ 388764 h 481516"/>
                  <a:gd name="connsiteX37" fmla="*/ 354230 w 705350"/>
                  <a:gd name="connsiteY37" fmla="*/ 388401 h 481516"/>
                  <a:gd name="connsiteX38" fmla="*/ 296759 w 705350"/>
                  <a:gd name="connsiteY38" fmla="*/ 399395 h 481516"/>
                  <a:gd name="connsiteX39" fmla="*/ 252261 w 705350"/>
                  <a:gd name="connsiteY39" fmla="*/ 468452 h 481516"/>
                  <a:gd name="connsiteX40" fmla="*/ 172984 w 705350"/>
                  <a:gd name="connsiteY40" fmla="*/ 475717 h 481516"/>
                  <a:gd name="connsiteX41" fmla="*/ 125939 w 705350"/>
                  <a:gd name="connsiteY41" fmla="*/ 472012 h 481516"/>
                  <a:gd name="connsiteX42" fmla="*/ 119133 w 705350"/>
                  <a:gd name="connsiteY42" fmla="*/ 461987 h 481516"/>
                  <a:gd name="connsiteX43" fmla="*/ 90115 w 705350"/>
                  <a:gd name="connsiteY43" fmla="*/ 435376 h 481516"/>
                  <a:gd name="connsiteX44" fmla="*/ 55602 w 705350"/>
                  <a:gd name="connsiteY44" fmla="*/ 403238 h 481516"/>
                  <a:gd name="connsiteX45" fmla="*/ 15595 w 705350"/>
                  <a:gd name="connsiteY45" fmla="*/ 397461 h 481516"/>
                  <a:gd name="connsiteX46" fmla="*/ 8258 w 705350"/>
                  <a:gd name="connsiteY46" fmla="*/ 379448 h 481516"/>
                  <a:gd name="connsiteX47" fmla="*/ 1185 w 705350"/>
                  <a:gd name="connsiteY47" fmla="*/ 377492 h 481516"/>
                  <a:gd name="connsiteX48" fmla="*/ 1141 w 705350"/>
                  <a:gd name="connsiteY48" fmla="*/ 377224 h 481516"/>
                  <a:gd name="connsiteX49" fmla="*/ 1197 w 705350"/>
                  <a:gd name="connsiteY49" fmla="*/ 377189 h 481516"/>
                  <a:gd name="connsiteX50" fmla="*/ 1070 w 705350"/>
                  <a:gd name="connsiteY50" fmla="*/ 376788 h 481516"/>
                  <a:gd name="connsiteX51" fmla="*/ 0 w 705350"/>
                  <a:gd name="connsiteY51" fmla="*/ 370259 h 481516"/>
                  <a:gd name="connsiteX52" fmla="*/ 163233 w 705350"/>
                  <a:gd name="connsiteY52" fmla="*/ 369837 h 481516"/>
                  <a:gd name="connsiteX53" fmla="*/ 163559 w 705350"/>
                  <a:gd name="connsiteY53" fmla="*/ 369429 h 481516"/>
                  <a:gd name="connsiteX54" fmla="*/ 163730 w 705350"/>
                  <a:gd name="connsiteY54" fmla="*/ 369374 h 481516"/>
                  <a:gd name="connsiteX55" fmla="*/ 169704 w 705350"/>
                  <a:gd name="connsiteY55" fmla="*/ 361881 h 481516"/>
                  <a:gd name="connsiteX56" fmla="*/ 168129 w 705350"/>
                  <a:gd name="connsiteY56" fmla="*/ 326836 h 481516"/>
                  <a:gd name="connsiteX57" fmla="*/ 177103 w 705350"/>
                  <a:gd name="connsiteY57" fmla="*/ 293185 h 481516"/>
                  <a:gd name="connsiteX58" fmla="*/ 163762 w 705350"/>
                  <a:gd name="connsiteY58" fmla="*/ 262488 h 481516"/>
                  <a:gd name="connsiteX59" fmla="*/ 174358 w 705350"/>
                  <a:gd name="connsiteY59" fmla="*/ 247885 h 481516"/>
                  <a:gd name="connsiteX60" fmla="*/ 166625 w 705350"/>
                  <a:gd name="connsiteY60" fmla="*/ 230427 h 481516"/>
                  <a:gd name="connsiteX61" fmla="*/ 176896 w 705350"/>
                  <a:gd name="connsiteY61" fmla="*/ 218972 h 481516"/>
                  <a:gd name="connsiteX62" fmla="*/ 201751 w 705350"/>
                  <a:gd name="connsiteY62" fmla="*/ 215669 h 481516"/>
                  <a:gd name="connsiteX63" fmla="*/ 251525 w 705350"/>
                  <a:gd name="connsiteY63" fmla="*/ 216235 h 481516"/>
                  <a:gd name="connsiteX64" fmla="*/ 276776 w 705350"/>
                  <a:gd name="connsiteY64" fmla="*/ 210234 h 481516"/>
                  <a:gd name="connsiteX65" fmla="*/ 277025 w 705350"/>
                  <a:gd name="connsiteY65" fmla="*/ 209840 h 481516"/>
                  <a:gd name="connsiteX66" fmla="*/ 277289 w 705350"/>
                  <a:gd name="connsiteY66" fmla="*/ 209777 h 481516"/>
                  <a:gd name="connsiteX67" fmla="*/ 289129 w 705350"/>
                  <a:gd name="connsiteY67" fmla="*/ 191033 h 481516"/>
                  <a:gd name="connsiteX68" fmla="*/ 259655 w 705350"/>
                  <a:gd name="connsiteY68" fmla="*/ 141352 h 481516"/>
                  <a:gd name="connsiteX69" fmla="*/ 236409 w 705350"/>
                  <a:gd name="connsiteY69" fmla="*/ 106339 h 481516"/>
                  <a:gd name="connsiteX70" fmla="*/ 256409 w 705350"/>
                  <a:gd name="connsiteY70" fmla="*/ 30374 h 481516"/>
                  <a:gd name="connsiteX71" fmla="*/ 255932 w 705350"/>
                  <a:gd name="connsiteY71" fmla="*/ 24977 h 481516"/>
                  <a:gd name="connsiteX72" fmla="*/ 279464 w 705350"/>
                  <a:gd name="connsiteY72" fmla="*/ 37488 h 481516"/>
                  <a:gd name="connsiteX73" fmla="*/ 328090 w 705350"/>
                  <a:gd name="connsiteY73" fmla="*/ 57804 h 481516"/>
                  <a:gd name="connsiteX74" fmla="*/ 328183 w 705350"/>
                  <a:gd name="connsiteY74" fmla="*/ 57772 h 481516"/>
                  <a:gd name="connsiteX75" fmla="*/ 328955 w 705350"/>
                  <a:gd name="connsiteY75" fmla="*/ 57972 h 481516"/>
                  <a:gd name="connsiteX76" fmla="*/ 356050 w 705350"/>
                  <a:gd name="connsiteY76" fmla="*/ 48565 h 481516"/>
                  <a:gd name="connsiteX77" fmla="*/ 402539 w 705350"/>
                  <a:gd name="connsiteY77" fmla="*/ 6943 h 481516"/>
                  <a:gd name="connsiteX78" fmla="*/ 429596 w 705350"/>
                  <a:gd name="connsiteY78" fmla="*/ 487 h 481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705350" h="481516">
                    <a:moveTo>
                      <a:pt x="429596" y="487"/>
                    </a:moveTo>
                    <a:cubicBezTo>
                      <a:pt x="439100" y="-346"/>
                      <a:pt x="448896" y="-39"/>
                      <a:pt x="458404" y="870"/>
                    </a:cubicBezTo>
                    <a:cubicBezTo>
                      <a:pt x="496602" y="4509"/>
                      <a:pt x="536905" y="5237"/>
                      <a:pt x="577011" y="5237"/>
                    </a:cubicBezTo>
                    <a:lnTo>
                      <a:pt x="602750" y="5954"/>
                    </a:lnTo>
                    <a:lnTo>
                      <a:pt x="611683" y="10841"/>
                    </a:lnTo>
                    <a:cubicBezTo>
                      <a:pt x="614291" y="13486"/>
                      <a:pt x="616450" y="17258"/>
                      <a:pt x="618157" y="22613"/>
                    </a:cubicBezTo>
                    <a:cubicBezTo>
                      <a:pt x="623380" y="39023"/>
                      <a:pt x="616872" y="63301"/>
                      <a:pt x="615185" y="79543"/>
                    </a:cubicBezTo>
                    <a:cubicBezTo>
                      <a:pt x="611409" y="116255"/>
                      <a:pt x="603977" y="138265"/>
                      <a:pt x="615908" y="173408"/>
                    </a:cubicBezTo>
                    <a:cubicBezTo>
                      <a:pt x="622235" y="192016"/>
                      <a:pt x="626348" y="202638"/>
                      <a:pt x="639786" y="207944"/>
                    </a:cubicBezTo>
                    <a:lnTo>
                      <a:pt x="640488" y="208094"/>
                    </a:lnTo>
                    <a:lnTo>
                      <a:pt x="640637" y="208194"/>
                    </a:lnTo>
                    <a:cubicBezTo>
                      <a:pt x="645117" y="209964"/>
                      <a:pt x="650634" y="211141"/>
                      <a:pt x="657617" y="211823"/>
                    </a:cubicBezTo>
                    <a:lnTo>
                      <a:pt x="686780" y="210017"/>
                    </a:lnTo>
                    <a:lnTo>
                      <a:pt x="689295" y="230054"/>
                    </a:lnTo>
                    <a:cubicBezTo>
                      <a:pt x="692779" y="244553"/>
                      <a:pt x="702142" y="257473"/>
                      <a:pt x="704569" y="272069"/>
                    </a:cubicBezTo>
                    <a:cubicBezTo>
                      <a:pt x="709795" y="303194"/>
                      <a:pt x="687895" y="315052"/>
                      <a:pt x="666121" y="333385"/>
                    </a:cubicBezTo>
                    <a:cubicBezTo>
                      <a:pt x="648950" y="347852"/>
                      <a:pt x="629166" y="352298"/>
                      <a:pt x="616816" y="371695"/>
                    </a:cubicBezTo>
                    <a:cubicBezTo>
                      <a:pt x="604716" y="390738"/>
                      <a:pt x="595384" y="404689"/>
                      <a:pt x="577622" y="418769"/>
                    </a:cubicBezTo>
                    <a:cubicBezTo>
                      <a:pt x="565148" y="428629"/>
                      <a:pt x="556127" y="444159"/>
                      <a:pt x="541631" y="450217"/>
                    </a:cubicBezTo>
                    <a:cubicBezTo>
                      <a:pt x="538396" y="451602"/>
                      <a:pt x="534757" y="452537"/>
                      <a:pt x="530899" y="453181"/>
                    </a:cubicBezTo>
                    <a:lnTo>
                      <a:pt x="530851" y="454772"/>
                    </a:lnTo>
                    <a:lnTo>
                      <a:pt x="529455" y="455034"/>
                    </a:lnTo>
                    <a:lnTo>
                      <a:pt x="529453" y="455010"/>
                    </a:lnTo>
                    <a:cubicBezTo>
                      <a:pt x="518587" y="456875"/>
                      <a:pt x="505947" y="456272"/>
                      <a:pt x="495524" y="455301"/>
                    </a:cubicBezTo>
                    <a:cubicBezTo>
                      <a:pt x="485398" y="454349"/>
                      <a:pt x="467066" y="447997"/>
                      <a:pt x="456791" y="452348"/>
                    </a:cubicBezTo>
                    <a:cubicBezTo>
                      <a:pt x="451414" y="454621"/>
                      <a:pt x="449011" y="458924"/>
                      <a:pt x="445667" y="462338"/>
                    </a:cubicBezTo>
                    <a:lnTo>
                      <a:pt x="429916" y="466710"/>
                    </a:lnTo>
                    <a:lnTo>
                      <a:pt x="417937" y="459752"/>
                    </a:lnTo>
                    <a:cubicBezTo>
                      <a:pt x="415140" y="456159"/>
                      <a:pt x="412393" y="452048"/>
                      <a:pt x="404908" y="448909"/>
                    </a:cubicBezTo>
                    <a:cubicBezTo>
                      <a:pt x="392570" y="443769"/>
                      <a:pt x="377765" y="439447"/>
                      <a:pt x="364572" y="437127"/>
                    </a:cubicBezTo>
                    <a:lnTo>
                      <a:pt x="363686" y="437045"/>
                    </a:lnTo>
                    <a:lnTo>
                      <a:pt x="362213" y="436614"/>
                    </a:lnTo>
                    <a:lnTo>
                      <a:pt x="346787" y="435187"/>
                    </a:lnTo>
                    <a:lnTo>
                      <a:pt x="343186" y="424049"/>
                    </a:lnTo>
                    <a:cubicBezTo>
                      <a:pt x="344897" y="419205"/>
                      <a:pt x="353155" y="414565"/>
                      <a:pt x="355327" y="409084"/>
                    </a:cubicBezTo>
                    <a:cubicBezTo>
                      <a:pt x="357728" y="402965"/>
                      <a:pt x="357005" y="395596"/>
                      <a:pt x="356577" y="388887"/>
                    </a:cubicBezTo>
                    <a:lnTo>
                      <a:pt x="354208" y="388764"/>
                    </a:lnTo>
                    <a:lnTo>
                      <a:pt x="354230" y="388401"/>
                    </a:lnTo>
                    <a:cubicBezTo>
                      <a:pt x="338042" y="382243"/>
                      <a:pt x="307810" y="386633"/>
                      <a:pt x="296759" y="399395"/>
                    </a:cubicBezTo>
                    <a:cubicBezTo>
                      <a:pt x="278945" y="419889"/>
                      <a:pt x="272440" y="449085"/>
                      <a:pt x="252261" y="468452"/>
                    </a:cubicBezTo>
                    <a:cubicBezTo>
                      <a:pt x="229975" y="489800"/>
                      <a:pt x="200703" y="479427"/>
                      <a:pt x="172984" y="475717"/>
                    </a:cubicBezTo>
                    <a:lnTo>
                      <a:pt x="125939" y="472012"/>
                    </a:lnTo>
                    <a:lnTo>
                      <a:pt x="119133" y="461987"/>
                    </a:lnTo>
                    <a:cubicBezTo>
                      <a:pt x="111040" y="452048"/>
                      <a:pt x="98965" y="445383"/>
                      <a:pt x="90115" y="435376"/>
                    </a:cubicBezTo>
                    <a:cubicBezTo>
                      <a:pt x="80639" y="424595"/>
                      <a:pt x="68993" y="409311"/>
                      <a:pt x="55602" y="403238"/>
                    </a:cubicBezTo>
                    <a:cubicBezTo>
                      <a:pt x="44383" y="398166"/>
                      <a:pt x="24281" y="404967"/>
                      <a:pt x="15595" y="397461"/>
                    </a:cubicBezTo>
                    <a:cubicBezTo>
                      <a:pt x="11318" y="393754"/>
                      <a:pt x="17076" y="384179"/>
                      <a:pt x="8258" y="379448"/>
                    </a:cubicBezTo>
                    <a:cubicBezTo>
                      <a:pt x="4672" y="377515"/>
                      <a:pt x="2862" y="377014"/>
                      <a:pt x="1185" y="377492"/>
                    </a:cubicBezTo>
                    <a:lnTo>
                      <a:pt x="1141" y="377224"/>
                    </a:lnTo>
                    <a:lnTo>
                      <a:pt x="1197" y="377189"/>
                    </a:lnTo>
                    <a:lnTo>
                      <a:pt x="1070" y="376788"/>
                    </a:lnTo>
                    <a:lnTo>
                      <a:pt x="0" y="370259"/>
                    </a:lnTo>
                    <a:cubicBezTo>
                      <a:pt x="43153" y="374777"/>
                      <a:pt x="138399" y="383839"/>
                      <a:pt x="163233" y="369837"/>
                    </a:cubicBezTo>
                    <a:lnTo>
                      <a:pt x="163559" y="369429"/>
                    </a:lnTo>
                    <a:lnTo>
                      <a:pt x="163730" y="369374"/>
                    </a:lnTo>
                    <a:cubicBezTo>
                      <a:pt x="167278" y="367374"/>
                      <a:pt x="169388" y="364903"/>
                      <a:pt x="169704" y="361881"/>
                    </a:cubicBezTo>
                    <a:cubicBezTo>
                      <a:pt x="171160" y="348090"/>
                      <a:pt x="159895" y="342671"/>
                      <a:pt x="168129" y="326836"/>
                    </a:cubicBezTo>
                    <a:cubicBezTo>
                      <a:pt x="175098" y="313434"/>
                      <a:pt x="181446" y="309670"/>
                      <a:pt x="177103" y="293185"/>
                    </a:cubicBezTo>
                    <a:cubicBezTo>
                      <a:pt x="174549" y="283548"/>
                      <a:pt x="162043" y="271995"/>
                      <a:pt x="163762" y="262488"/>
                    </a:cubicBezTo>
                    <a:cubicBezTo>
                      <a:pt x="164907" y="256160"/>
                      <a:pt x="174835" y="258756"/>
                      <a:pt x="174358" y="247885"/>
                    </a:cubicBezTo>
                    <a:cubicBezTo>
                      <a:pt x="174072" y="240973"/>
                      <a:pt x="166673" y="238248"/>
                      <a:pt x="166625" y="230427"/>
                    </a:cubicBezTo>
                    <a:lnTo>
                      <a:pt x="176896" y="218972"/>
                    </a:lnTo>
                    <a:lnTo>
                      <a:pt x="201751" y="215669"/>
                    </a:lnTo>
                    <a:cubicBezTo>
                      <a:pt x="220788" y="215286"/>
                      <a:pt x="242182" y="217532"/>
                      <a:pt x="251525" y="216235"/>
                    </a:cubicBezTo>
                    <a:cubicBezTo>
                      <a:pt x="260491" y="214996"/>
                      <a:pt x="269752" y="213677"/>
                      <a:pt x="276776" y="210234"/>
                    </a:cubicBezTo>
                    <a:lnTo>
                      <a:pt x="277025" y="209840"/>
                    </a:lnTo>
                    <a:lnTo>
                      <a:pt x="277289" y="209777"/>
                    </a:lnTo>
                    <a:cubicBezTo>
                      <a:pt x="284315" y="206333"/>
                      <a:pt x="289106" y="200768"/>
                      <a:pt x="289129" y="191033"/>
                    </a:cubicBezTo>
                    <a:cubicBezTo>
                      <a:pt x="289177" y="172212"/>
                      <a:pt x="273402" y="154267"/>
                      <a:pt x="259655" y="141352"/>
                    </a:cubicBezTo>
                    <a:cubicBezTo>
                      <a:pt x="247579" y="129995"/>
                      <a:pt x="236338" y="124284"/>
                      <a:pt x="236409" y="106339"/>
                    </a:cubicBezTo>
                    <a:cubicBezTo>
                      <a:pt x="236505" y="79763"/>
                      <a:pt x="255717" y="57372"/>
                      <a:pt x="256409" y="30374"/>
                    </a:cubicBezTo>
                    <a:lnTo>
                      <a:pt x="255932" y="24977"/>
                    </a:lnTo>
                    <a:lnTo>
                      <a:pt x="279464" y="37488"/>
                    </a:lnTo>
                    <a:cubicBezTo>
                      <a:pt x="295412" y="47380"/>
                      <a:pt x="310978" y="57867"/>
                      <a:pt x="328090" y="57804"/>
                    </a:cubicBezTo>
                    <a:lnTo>
                      <a:pt x="328183" y="57772"/>
                    </a:lnTo>
                    <a:lnTo>
                      <a:pt x="328955" y="57972"/>
                    </a:lnTo>
                    <a:cubicBezTo>
                      <a:pt x="337517" y="57940"/>
                      <a:pt x="346468" y="55269"/>
                      <a:pt x="356050" y="48565"/>
                    </a:cubicBezTo>
                    <a:cubicBezTo>
                      <a:pt x="373586" y="36283"/>
                      <a:pt x="381384" y="16177"/>
                      <a:pt x="402539" y="6943"/>
                    </a:cubicBezTo>
                    <a:cubicBezTo>
                      <a:pt x="410880" y="3293"/>
                      <a:pt x="420092" y="1320"/>
                      <a:pt x="429596" y="487"/>
                    </a:cubicBezTo>
                    <a:close/>
                  </a:path>
                </a:pathLst>
              </a:custGeom>
              <a:solidFill>
                <a:schemeClr val="tx2"/>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8" name="Freeform 47">
                <a:extLst>
                  <a:ext uri="{FF2B5EF4-FFF2-40B4-BE49-F238E27FC236}">
                    <a16:creationId xmlns:a16="http://schemas.microsoft.com/office/drawing/2014/main" id="{2D292723-7BF5-594B-A55F-9B705C08B9B7}"/>
                  </a:ext>
                </a:extLst>
              </p:cNvPr>
              <p:cNvSpPr/>
              <p:nvPr/>
            </p:nvSpPr>
            <p:spPr>
              <a:xfrm>
                <a:off x="2898078" y="4410232"/>
                <a:ext cx="506123" cy="493119"/>
              </a:xfrm>
              <a:custGeom>
                <a:avLst/>
                <a:gdLst>
                  <a:gd name="connsiteX0" fmla="*/ 89646 w 506123"/>
                  <a:gd name="connsiteY0" fmla="*/ 146 h 493119"/>
                  <a:gd name="connsiteX1" fmla="*/ 104103 w 506123"/>
                  <a:gd name="connsiteY1" fmla="*/ 4986 h 493119"/>
                  <a:gd name="connsiteX2" fmla="*/ 116734 w 506123"/>
                  <a:gd name="connsiteY2" fmla="*/ 14815 h 493119"/>
                  <a:gd name="connsiteX3" fmla="*/ 142795 w 506123"/>
                  <a:gd name="connsiteY3" fmla="*/ 38566 h 493119"/>
                  <a:gd name="connsiteX4" fmla="*/ 212491 w 506123"/>
                  <a:gd name="connsiteY4" fmla="*/ 82935 h 493119"/>
                  <a:gd name="connsiteX5" fmla="*/ 246913 w 506123"/>
                  <a:gd name="connsiteY5" fmla="*/ 104835 h 493119"/>
                  <a:gd name="connsiteX6" fmla="*/ 249501 w 506123"/>
                  <a:gd name="connsiteY6" fmla="*/ 106020 h 493119"/>
                  <a:gd name="connsiteX7" fmla="*/ 249979 w 506123"/>
                  <a:gd name="connsiteY7" fmla="*/ 106324 h 493119"/>
                  <a:gd name="connsiteX8" fmla="*/ 287759 w 506123"/>
                  <a:gd name="connsiteY8" fmla="*/ 123597 h 493119"/>
                  <a:gd name="connsiteX9" fmla="*/ 389506 w 506123"/>
                  <a:gd name="connsiteY9" fmla="*/ 141325 h 493119"/>
                  <a:gd name="connsiteX10" fmla="*/ 418584 w 506123"/>
                  <a:gd name="connsiteY10" fmla="*/ 152913 h 493119"/>
                  <a:gd name="connsiteX11" fmla="*/ 437826 w 506123"/>
                  <a:gd name="connsiteY11" fmla="*/ 171063 h 493119"/>
                  <a:gd name="connsiteX12" fmla="*/ 454471 w 506123"/>
                  <a:gd name="connsiteY12" fmla="*/ 192509 h 493119"/>
                  <a:gd name="connsiteX13" fmla="*/ 469599 w 506123"/>
                  <a:gd name="connsiteY13" fmla="*/ 205730 h 493119"/>
                  <a:gd name="connsiteX14" fmla="*/ 468198 w 506123"/>
                  <a:gd name="connsiteY14" fmla="*/ 268120 h 493119"/>
                  <a:gd name="connsiteX15" fmla="*/ 457299 w 506123"/>
                  <a:gd name="connsiteY15" fmla="*/ 297746 h 493119"/>
                  <a:gd name="connsiteX16" fmla="*/ 494950 w 506123"/>
                  <a:gd name="connsiteY16" fmla="*/ 322388 h 493119"/>
                  <a:gd name="connsiteX17" fmla="*/ 470131 w 506123"/>
                  <a:gd name="connsiteY17" fmla="*/ 342946 h 493119"/>
                  <a:gd name="connsiteX18" fmla="*/ 462736 w 506123"/>
                  <a:gd name="connsiteY18" fmla="*/ 380578 h 493119"/>
                  <a:gd name="connsiteX19" fmla="*/ 503940 w 506123"/>
                  <a:gd name="connsiteY19" fmla="*/ 440568 h 493119"/>
                  <a:gd name="connsiteX20" fmla="*/ 459474 w 506123"/>
                  <a:gd name="connsiteY20" fmla="*/ 426401 h 493119"/>
                  <a:gd name="connsiteX21" fmla="*/ 481054 w 506123"/>
                  <a:gd name="connsiteY21" fmla="*/ 478777 h 493119"/>
                  <a:gd name="connsiteX22" fmla="*/ 431054 w 506123"/>
                  <a:gd name="connsiteY22" fmla="*/ 490198 h 493119"/>
                  <a:gd name="connsiteX23" fmla="*/ 401522 w 506123"/>
                  <a:gd name="connsiteY23" fmla="*/ 463018 h 493119"/>
                  <a:gd name="connsiteX24" fmla="*/ 367858 w 506123"/>
                  <a:gd name="connsiteY24" fmla="*/ 442621 h 493119"/>
                  <a:gd name="connsiteX25" fmla="*/ 333372 w 506123"/>
                  <a:gd name="connsiteY25" fmla="*/ 421763 h 493119"/>
                  <a:gd name="connsiteX26" fmla="*/ 308892 w 506123"/>
                  <a:gd name="connsiteY26" fmla="*/ 401297 h 493119"/>
                  <a:gd name="connsiteX27" fmla="*/ 287262 w 506123"/>
                  <a:gd name="connsiteY27" fmla="*/ 418925 h 493119"/>
                  <a:gd name="connsiteX28" fmla="*/ 251617 w 506123"/>
                  <a:gd name="connsiteY28" fmla="*/ 395506 h 493119"/>
                  <a:gd name="connsiteX29" fmla="*/ 198595 w 506123"/>
                  <a:gd name="connsiteY29" fmla="*/ 339992 h 493119"/>
                  <a:gd name="connsiteX30" fmla="*/ 147120 w 506123"/>
                  <a:gd name="connsiteY30" fmla="*/ 295115 h 493119"/>
                  <a:gd name="connsiteX31" fmla="*/ 109058 w 506123"/>
                  <a:gd name="connsiteY31" fmla="*/ 288909 h 493119"/>
                  <a:gd name="connsiteX32" fmla="*/ 88903 w 506123"/>
                  <a:gd name="connsiteY32" fmla="*/ 271373 h 493119"/>
                  <a:gd name="connsiteX33" fmla="*/ 73751 w 506123"/>
                  <a:gd name="connsiteY33" fmla="*/ 243916 h 493119"/>
                  <a:gd name="connsiteX34" fmla="*/ 65703 w 506123"/>
                  <a:gd name="connsiteY34" fmla="*/ 278687 h 493119"/>
                  <a:gd name="connsiteX35" fmla="*/ 40884 w 506123"/>
                  <a:gd name="connsiteY35" fmla="*/ 299130 h 493119"/>
                  <a:gd name="connsiteX36" fmla="*/ 51493 w 506123"/>
                  <a:gd name="connsiteY36" fmla="*/ 331040 h 493119"/>
                  <a:gd name="connsiteX37" fmla="*/ 2097 w 506123"/>
                  <a:gd name="connsiteY37" fmla="*/ 323657 h 493119"/>
                  <a:gd name="connsiteX38" fmla="*/ 14107 w 506123"/>
                  <a:gd name="connsiteY38" fmla="*/ 287432 h 493119"/>
                  <a:gd name="connsiteX39" fmla="*/ 43397 w 506123"/>
                  <a:gd name="connsiteY39" fmla="*/ 216275 h 493119"/>
                  <a:gd name="connsiteX40" fmla="*/ 59468 w 506123"/>
                  <a:gd name="connsiteY40" fmla="*/ 155916 h 493119"/>
                  <a:gd name="connsiteX41" fmla="*/ 37839 w 506123"/>
                  <a:gd name="connsiteY41" fmla="*/ 106539 h 493119"/>
                  <a:gd name="connsiteX42" fmla="*/ 34746 w 506123"/>
                  <a:gd name="connsiteY42" fmla="*/ 49456 h 493119"/>
                  <a:gd name="connsiteX43" fmla="*/ 26336 w 506123"/>
                  <a:gd name="connsiteY43" fmla="*/ 27468 h 493119"/>
                  <a:gd name="connsiteX44" fmla="*/ 26943 w 506123"/>
                  <a:gd name="connsiteY44" fmla="*/ 27110 h 493119"/>
                  <a:gd name="connsiteX45" fmla="*/ 28280 w 506123"/>
                  <a:gd name="connsiteY45" fmla="*/ 27817 h 493119"/>
                  <a:gd name="connsiteX46" fmla="*/ 29236 w 506123"/>
                  <a:gd name="connsiteY46" fmla="*/ 28972 h 493119"/>
                  <a:gd name="connsiteX47" fmla="*/ 53008 w 506123"/>
                  <a:gd name="connsiteY47" fmla="*/ 14949 h 493119"/>
                  <a:gd name="connsiteX48" fmla="*/ 89646 w 506123"/>
                  <a:gd name="connsiteY48" fmla="*/ 146 h 493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06123" h="493119">
                    <a:moveTo>
                      <a:pt x="89646" y="146"/>
                    </a:moveTo>
                    <a:lnTo>
                      <a:pt x="104103" y="4986"/>
                    </a:lnTo>
                    <a:lnTo>
                      <a:pt x="116734" y="14815"/>
                    </a:lnTo>
                    <a:cubicBezTo>
                      <a:pt x="125455" y="22992"/>
                      <a:pt x="133515" y="32429"/>
                      <a:pt x="142795" y="38566"/>
                    </a:cubicBezTo>
                    <a:cubicBezTo>
                      <a:pt x="165463" y="53563"/>
                      <a:pt x="188759" y="69069"/>
                      <a:pt x="212491" y="82935"/>
                    </a:cubicBezTo>
                    <a:cubicBezTo>
                      <a:pt x="224792" y="90134"/>
                      <a:pt x="235576" y="97869"/>
                      <a:pt x="246913" y="104835"/>
                    </a:cubicBezTo>
                    <a:lnTo>
                      <a:pt x="249501" y="106020"/>
                    </a:lnTo>
                    <a:lnTo>
                      <a:pt x="249979" y="106324"/>
                    </a:lnTo>
                    <a:cubicBezTo>
                      <a:pt x="261321" y="113293"/>
                      <a:pt x="273219" y="119489"/>
                      <a:pt x="287759" y="123597"/>
                    </a:cubicBezTo>
                    <a:cubicBezTo>
                      <a:pt x="321265" y="133121"/>
                      <a:pt x="356599" y="132484"/>
                      <a:pt x="389506" y="141325"/>
                    </a:cubicBezTo>
                    <a:lnTo>
                      <a:pt x="418584" y="152913"/>
                    </a:lnTo>
                    <a:lnTo>
                      <a:pt x="437826" y="171063"/>
                    </a:lnTo>
                    <a:cubicBezTo>
                      <a:pt x="443101" y="178140"/>
                      <a:pt x="447886" y="185714"/>
                      <a:pt x="454471" y="192509"/>
                    </a:cubicBezTo>
                    <a:cubicBezTo>
                      <a:pt x="459087" y="197286"/>
                      <a:pt x="464331" y="201554"/>
                      <a:pt x="469599" y="205730"/>
                    </a:cubicBezTo>
                    <a:cubicBezTo>
                      <a:pt x="454640" y="217659"/>
                      <a:pt x="482819" y="248346"/>
                      <a:pt x="468198" y="268120"/>
                    </a:cubicBezTo>
                    <a:cubicBezTo>
                      <a:pt x="459377" y="280049"/>
                      <a:pt x="440672" y="282033"/>
                      <a:pt x="457299" y="297746"/>
                    </a:cubicBezTo>
                    <a:cubicBezTo>
                      <a:pt x="467110" y="306998"/>
                      <a:pt x="491760" y="308128"/>
                      <a:pt x="494950" y="322388"/>
                    </a:cubicBezTo>
                    <a:cubicBezTo>
                      <a:pt x="499397" y="342161"/>
                      <a:pt x="475834" y="333440"/>
                      <a:pt x="470131" y="342946"/>
                    </a:cubicBezTo>
                    <a:cubicBezTo>
                      <a:pt x="467110" y="347999"/>
                      <a:pt x="461165" y="375202"/>
                      <a:pt x="462736" y="380578"/>
                    </a:cubicBezTo>
                    <a:cubicBezTo>
                      <a:pt x="469479" y="403697"/>
                      <a:pt x="516724" y="407066"/>
                      <a:pt x="503940" y="440568"/>
                    </a:cubicBezTo>
                    <a:cubicBezTo>
                      <a:pt x="485501" y="442829"/>
                      <a:pt x="479169" y="423609"/>
                      <a:pt x="459474" y="426401"/>
                    </a:cubicBezTo>
                    <a:cubicBezTo>
                      <a:pt x="464114" y="441537"/>
                      <a:pt x="487724" y="461126"/>
                      <a:pt x="481054" y="478777"/>
                    </a:cubicBezTo>
                    <a:cubicBezTo>
                      <a:pt x="475134" y="494397"/>
                      <a:pt x="445288" y="495620"/>
                      <a:pt x="431054" y="490198"/>
                    </a:cubicBezTo>
                    <a:cubicBezTo>
                      <a:pt x="418777" y="485537"/>
                      <a:pt x="410730" y="471670"/>
                      <a:pt x="401522" y="463018"/>
                    </a:cubicBezTo>
                    <a:cubicBezTo>
                      <a:pt x="390937" y="453073"/>
                      <a:pt x="381391" y="448366"/>
                      <a:pt x="367858" y="442621"/>
                    </a:cubicBezTo>
                    <a:cubicBezTo>
                      <a:pt x="354591" y="436991"/>
                      <a:pt x="343498" y="431339"/>
                      <a:pt x="333372" y="421763"/>
                    </a:cubicBezTo>
                    <a:cubicBezTo>
                      <a:pt x="328104" y="416779"/>
                      <a:pt x="317036" y="398321"/>
                      <a:pt x="308892" y="401297"/>
                    </a:cubicBezTo>
                    <a:cubicBezTo>
                      <a:pt x="295213" y="406281"/>
                      <a:pt x="310632" y="422963"/>
                      <a:pt x="287262" y="418925"/>
                    </a:cubicBezTo>
                    <a:cubicBezTo>
                      <a:pt x="272352" y="416341"/>
                      <a:pt x="261018" y="406120"/>
                      <a:pt x="251617" y="395506"/>
                    </a:cubicBezTo>
                    <a:cubicBezTo>
                      <a:pt x="232863" y="374325"/>
                      <a:pt x="212491" y="365950"/>
                      <a:pt x="198595" y="339992"/>
                    </a:cubicBezTo>
                    <a:cubicBezTo>
                      <a:pt x="188300" y="320749"/>
                      <a:pt x="166574" y="303929"/>
                      <a:pt x="147120" y="295115"/>
                    </a:cubicBezTo>
                    <a:cubicBezTo>
                      <a:pt x="134481" y="289393"/>
                      <a:pt x="123050" y="289047"/>
                      <a:pt x="109058" y="288909"/>
                    </a:cubicBezTo>
                    <a:cubicBezTo>
                      <a:pt x="89846" y="288701"/>
                      <a:pt x="88299" y="288493"/>
                      <a:pt x="88903" y="271373"/>
                    </a:cubicBezTo>
                    <a:cubicBezTo>
                      <a:pt x="89241" y="261982"/>
                      <a:pt x="89628" y="239048"/>
                      <a:pt x="73751" y="243916"/>
                    </a:cubicBezTo>
                    <a:cubicBezTo>
                      <a:pt x="59009" y="248438"/>
                      <a:pt x="68893" y="268812"/>
                      <a:pt x="65703" y="278687"/>
                    </a:cubicBezTo>
                    <a:cubicBezTo>
                      <a:pt x="61184" y="292693"/>
                      <a:pt x="42697" y="287870"/>
                      <a:pt x="40884" y="299130"/>
                    </a:cubicBezTo>
                    <a:cubicBezTo>
                      <a:pt x="39313" y="308890"/>
                      <a:pt x="53596" y="317265"/>
                      <a:pt x="51493" y="331040"/>
                    </a:cubicBezTo>
                    <a:cubicBezTo>
                      <a:pt x="41561" y="332217"/>
                      <a:pt x="8187" y="332217"/>
                      <a:pt x="2097" y="323657"/>
                    </a:cubicBezTo>
                    <a:cubicBezTo>
                      <a:pt x="-5274" y="313320"/>
                      <a:pt x="8742" y="296384"/>
                      <a:pt x="14107" y="287432"/>
                    </a:cubicBezTo>
                    <a:cubicBezTo>
                      <a:pt x="27423" y="265190"/>
                      <a:pt x="38806" y="241609"/>
                      <a:pt x="43397" y="216275"/>
                    </a:cubicBezTo>
                    <a:cubicBezTo>
                      <a:pt x="47095" y="195878"/>
                      <a:pt x="59444" y="176820"/>
                      <a:pt x="59468" y="155916"/>
                    </a:cubicBezTo>
                    <a:cubicBezTo>
                      <a:pt x="59492" y="137319"/>
                      <a:pt x="44026" y="123383"/>
                      <a:pt x="37839" y="106539"/>
                    </a:cubicBezTo>
                    <a:cubicBezTo>
                      <a:pt x="30710" y="87135"/>
                      <a:pt x="39531" y="68953"/>
                      <a:pt x="34746" y="49456"/>
                    </a:cubicBezTo>
                    <a:cubicBezTo>
                      <a:pt x="33537" y="44496"/>
                      <a:pt x="29937" y="32267"/>
                      <a:pt x="26336" y="27468"/>
                    </a:cubicBezTo>
                    <a:lnTo>
                      <a:pt x="26943" y="27110"/>
                    </a:lnTo>
                    <a:lnTo>
                      <a:pt x="28280" y="27817"/>
                    </a:lnTo>
                    <a:cubicBezTo>
                      <a:pt x="28614" y="28089"/>
                      <a:pt x="28901" y="28564"/>
                      <a:pt x="29236" y="28972"/>
                    </a:cubicBezTo>
                    <a:cubicBezTo>
                      <a:pt x="37176" y="24150"/>
                      <a:pt x="45546" y="19737"/>
                      <a:pt x="53008" y="14949"/>
                    </a:cubicBezTo>
                    <a:cubicBezTo>
                      <a:pt x="64439" y="7615"/>
                      <a:pt x="74675" y="-1246"/>
                      <a:pt x="89646" y="146"/>
                    </a:cubicBezTo>
                    <a:close/>
                  </a:path>
                </a:pathLst>
              </a:custGeom>
              <a:solidFill>
                <a:schemeClr val="tx2"/>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49" name="Freeform 48">
                <a:extLst>
                  <a:ext uri="{FF2B5EF4-FFF2-40B4-BE49-F238E27FC236}">
                    <a16:creationId xmlns:a16="http://schemas.microsoft.com/office/drawing/2014/main" id="{21801D6F-7977-B24F-B1EB-73ECC1624906}"/>
                  </a:ext>
                </a:extLst>
              </p:cNvPr>
              <p:cNvSpPr/>
              <p:nvPr/>
            </p:nvSpPr>
            <p:spPr>
              <a:xfrm>
                <a:off x="4675895" y="4419478"/>
                <a:ext cx="318200" cy="475001"/>
              </a:xfrm>
              <a:custGeom>
                <a:avLst/>
                <a:gdLst>
                  <a:gd name="connsiteX0" fmla="*/ 245212 w 318200"/>
                  <a:gd name="connsiteY0" fmla="*/ 0 h 475001"/>
                  <a:gd name="connsiteX1" fmla="*/ 252072 w 318200"/>
                  <a:gd name="connsiteY1" fmla="*/ 18728 h 475001"/>
                  <a:gd name="connsiteX2" fmla="*/ 311982 w 318200"/>
                  <a:gd name="connsiteY2" fmla="*/ 312233 h 475001"/>
                  <a:gd name="connsiteX3" fmla="*/ 318200 w 318200"/>
                  <a:gd name="connsiteY3" fmla="*/ 435261 h 475001"/>
                  <a:gd name="connsiteX4" fmla="*/ 306056 w 318200"/>
                  <a:gd name="connsiteY4" fmla="*/ 452176 h 475001"/>
                  <a:gd name="connsiteX5" fmla="*/ 302177 w 318200"/>
                  <a:gd name="connsiteY5" fmla="*/ 465059 h 475001"/>
                  <a:gd name="connsiteX6" fmla="*/ 294776 w 318200"/>
                  <a:gd name="connsiteY6" fmla="*/ 475001 h 475001"/>
                  <a:gd name="connsiteX7" fmla="*/ 285411 w 318200"/>
                  <a:gd name="connsiteY7" fmla="*/ 474270 h 475001"/>
                  <a:gd name="connsiteX8" fmla="*/ 278301 w 318200"/>
                  <a:gd name="connsiteY8" fmla="*/ 465374 h 475001"/>
                  <a:gd name="connsiteX9" fmla="*/ 197178 w 318200"/>
                  <a:gd name="connsiteY9" fmla="*/ 380645 h 475001"/>
                  <a:gd name="connsiteX10" fmla="*/ 95116 w 318200"/>
                  <a:gd name="connsiteY10" fmla="*/ 273985 h 475001"/>
                  <a:gd name="connsiteX11" fmla="*/ 44889 w 318200"/>
                  <a:gd name="connsiteY11" fmla="*/ 221500 h 475001"/>
                  <a:gd name="connsiteX12" fmla="*/ 44800 w 318200"/>
                  <a:gd name="connsiteY12" fmla="*/ 221587 h 475001"/>
                  <a:gd name="connsiteX13" fmla="*/ 44991 w 318200"/>
                  <a:gd name="connsiteY13" fmla="*/ 223185 h 475001"/>
                  <a:gd name="connsiteX14" fmla="*/ 43960 w 318200"/>
                  <a:gd name="connsiteY14" fmla="*/ 222107 h 475001"/>
                  <a:gd name="connsiteX15" fmla="*/ 43844 w 318200"/>
                  <a:gd name="connsiteY15" fmla="*/ 222201 h 475001"/>
                  <a:gd name="connsiteX16" fmla="*/ 34465 w 318200"/>
                  <a:gd name="connsiteY16" fmla="*/ 196787 h 475001"/>
                  <a:gd name="connsiteX17" fmla="*/ 18449 w 318200"/>
                  <a:gd name="connsiteY17" fmla="*/ 168650 h 475001"/>
                  <a:gd name="connsiteX18" fmla="*/ 0 w 318200"/>
                  <a:gd name="connsiteY18" fmla="*/ 91627 h 475001"/>
                  <a:gd name="connsiteX19" fmla="*/ 48398 w 318200"/>
                  <a:gd name="connsiteY19" fmla="*/ 88622 h 475001"/>
                  <a:gd name="connsiteX20" fmla="*/ 75955 w 318200"/>
                  <a:gd name="connsiteY20" fmla="*/ 82143 h 475001"/>
                  <a:gd name="connsiteX21" fmla="*/ 110844 w 318200"/>
                  <a:gd name="connsiteY21" fmla="*/ 58514 h 475001"/>
                  <a:gd name="connsiteX22" fmla="*/ 176224 w 318200"/>
                  <a:gd name="connsiteY22" fmla="*/ 23992 h 475001"/>
                  <a:gd name="connsiteX23" fmla="*/ 245212 w 318200"/>
                  <a:gd name="connsiteY23" fmla="*/ 0 h 475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8200" h="475001">
                    <a:moveTo>
                      <a:pt x="245212" y="0"/>
                    </a:moveTo>
                    <a:lnTo>
                      <a:pt x="252072" y="18728"/>
                    </a:lnTo>
                    <a:cubicBezTo>
                      <a:pt x="281396" y="112929"/>
                      <a:pt x="301703" y="211100"/>
                      <a:pt x="311982" y="312233"/>
                    </a:cubicBezTo>
                    <a:lnTo>
                      <a:pt x="318200" y="435261"/>
                    </a:lnTo>
                    <a:lnTo>
                      <a:pt x="306056" y="452176"/>
                    </a:lnTo>
                    <a:cubicBezTo>
                      <a:pt x="304725" y="456229"/>
                      <a:pt x="303789" y="460830"/>
                      <a:pt x="302177" y="465059"/>
                    </a:cubicBezTo>
                    <a:lnTo>
                      <a:pt x="294776" y="475001"/>
                    </a:lnTo>
                    <a:lnTo>
                      <a:pt x="285411" y="474270"/>
                    </a:lnTo>
                    <a:cubicBezTo>
                      <a:pt x="282889" y="471821"/>
                      <a:pt x="280824" y="468018"/>
                      <a:pt x="278301" y="465374"/>
                    </a:cubicBezTo>
                    <a:cubicBezTo>
                      <a:pt x="251245" y="437117"/>
                      <a:pt x="224234" y="408902"/>
                      <a:pt x="197178" y="380645"/>
                    </a:cubicBezTo>
                    <a:cubicBezTo>
                      <a:pt x="163158" y="345062"/>
                      <a:pt x="129137" y="309524"/>
                      <a:pt x="95116" y="273985"/>
                    </a:cubicBezTo>
                    <a:cubicBezTo>
                      <a:pt x="78374" y="256476"/>
                      <a:pt x="61631" y="239009"/>
                      <a:pt x="44889" y="221500"/>
                    </a:cubicBezTo>
                    <a:lnTo>
                      <a:pt x="44800" y="221587"/>
                    </a:lnTo>
                    <a:lnTo>
                      <a:pt x="44991" y="223185"/>
                    </a:lnTo>
                    <a:lnTo>
                      <a:pt x="43960" y="222107"/>
                    </a:lnTo>
                    <a:lnTo>
                      <a:pt x="43844" y="222201"/>
                    </a:lnTo>
                    <a:cubicBezTo>
                      <a:pt x="41760" y="213625"/>
                      <a:pt x="38749" y="205143"/>
                      <a:pt x="34465" y="196787"/>
                    </a:cubicBezTo>
                    <a:cubicBezTo>
                      <a:pt x="29525" y="187210"/>
                      <a:pt x="23697" y="178071"/>
                      <a:pt x="18449" y="168650"/>
                    </a:cubicBezTo>
                    <a:cubicBezTo>
                      <a:pt x="4053" y="142798"/>
                      <a:pt x="772" y="118981"/>
                      <a:pt x="0" y="91627"/>
                    </a:cubicBezTo>
                    <a:cubicBezTo>
                      <a:pt x="15168" y="95038"/>
                      <a:pt x="36241" y="90656"/>
                      <a:pt x="48398" y="88622"/>
                    </a:cubicBezTo>
                    <a:cubicBezTo>
                      <a:pt x="58433" y="86932"/>
                      <a:pt x="67001" y="87245"/>
                      <a:pt x="75955" y="82143"/>
                    </a:cubicBezTo>
                    <a:cubicBezTo>
                      <a:pt x="87456" y="75602"/>
                      <a:pt x="100617" y="66682"/>
                      <a:pt x="110844" y="58514"/>
                    </a:cubicBezTo>
                    <a:cubicBezTo>
                      <a:pt x="130334" y="42990"/>
                      <a:pt x="151793" y="31441"/>
                      <a:pt x="176224" y="23992"/>
                    </a:cubicBezTo>
                    <a:lnTo>
                      <a:pt x="24521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0" name="Freeform 49">
                <a:extLst>
                  <a:ext uri="{FF2B5EF4-FFF2-40B4-BE49-F238E27FC236}">
                    <a16:creationId xmlns:a16="http://schemas.microsoft.com/office/drawing/2014/main" id="{A281788D-578E-1944-A50D-7C645781FEA1}"/>
                  </a:ext>
                </a:extLst>
              </p:cNvPr>
              <p:cNvSpPr/>
              <p:nvPr/>
            </p:nvSpPr>
            <p:spPr>
              <a:xfrm>
                <a:off x="4150314" y="4430632"/>
                <a:ext cx="570959" cy="805293"/>
              </a:xfrm>
              <a:custGeom>
                <a:avLst/>
                <a:gdLst>
                  <a:gd name="connsiteX0" fmla="*/ 477542 w 570959"/>
                  <a:gd name="connsiteY0" fmla="*/ 0 h 805293"/>
                  <a:gd name="connsiteX1" fmla="*/ 496151 w 570959"/>
                  <a:gd name="connsiteY1" fmla="*/ 42956 h 805293"/>
                  <a:gd name="connsiteX2" fmla="*/ 511640 w 570959"/>
                  <a:gd name="connsiteY2" fmla="*/ 75947 h 805293"/>
                  <a:gd name="connsiteX3" fmla="*/ 522464 w 570959"/>
                  <a:gd name="connsiteY3" fmla="*/ 80649 h 805293"/>
                  <a:gd name="connsiteX4" fmla="*/ 540913 w 570959"/>
                  <a:gd name="connsiteY4" fmla="*/ 157678 h 805293"/>
                  <a:gd name="connsiteX5" fmla="*/ 556909 w 570959"/>
                  <a:gd name="connsiteY5" fmla="*/ 185780 h 805293"/>
                  <a:gd name="connsiteX6" fmla="*/ 570639 w 570959"/>
                  <a:gd name="connsiteY6" fmla="*/ 287290 h 805293"/>
                  <a:gd name="connsiteX7" fmla="*/ 569839 w 570959"/>
                  <a:gd name="connsiteY7" fmla="*/ 387980 h 805293"/>
                  <a:gd name="connsiteX8" fmla="*/ 568746 w 570959"/>
                  <a:gd name="connsiteY8" fmla="*/ 530319 h 805293"/>
                  <a:gd name="connsiteX9" fmla="*/ 559648 w 570959"/>
                  <a:gd name="connsiteY9" fmla="*/ 549749 h 805293"/>
                  <a:gd name="connsiteX10" fmla="*/ 542068 w 570959"/>
                  <a:gd name="connsiteY10" fmla="*/ 554479 h 805293"/>
                  <a:gd name="connsiteX11" fmla="*/ 525534 w 570959"/>
                  <a:gd name="connsiteY11" fmla="*/ 544871 h 805293"/>
                  <a:gd name="connsiteX12" fmla="*/ 508501 w 570959"/>
                  <a:gd name="connsiteY12" fmla="*/ 537216 h 805293"/>
                  <a:gd name="connsiteX13" fmla="*/ 505701 w 570959"/>
                  <a:gd name="connsiteY13" fmla="*/ 538449 h 805293"/>
                  <a:gd name="connsiteX14" fmla="*/ 504469 w 570959"/>
                  <a:gd name="connsiteY14" fmla="*/ 537895 h 805293"/>
                  <a:gd name="connsiteX15" fmla="*/ 492425 w 570959"/>
                  <a:gd name="connsiteY15" fmla="*/ 543199 h 805293"/>
                  <a:gd name="connsiteX16" fmla="*/ 481890 w 570959"/>
                  <a:gd name="connsiteY16" fmla="*/ 551128 h 805293"/>
                  <a:gd name="connsiteX17" fmla="*/ 471372 w 570959"/>
                  <a:gd name="connsiteY17" fmla="*/ 552461 h 805293"/>
                  <a:gd name="connsiteX18" fmla="*/ 459078 w 570959"/>
                  <a:gd name="connsiteY18" fmla="*/ 546014 h 805293"/>
                  <a:gd name="connsiteX19" fmla="*/ 443429 w 570959"/>
                  <a:gd name="connsiteY19" fmla="*/ 544950 h 805293"/>
                  <a:gd name="connsiteX20" fmla="*/ 441689 w 570959"/>
                  <a:gd name="connsiteY20" fmla="*/ 545787 h 805293"/>
                  <a:gd name="connsiteX21" fmla="*/ 439443 w 570959"/>
                  <a:gd name="connsiteY21" fmla="*/ 545634 h 805293"/>
                  <a:gd name="connsiteX22" fmla="*/ 409591 w 570959"/>
                  <a:gd name="connsiteY22" fmla="*/ 563302 h 805293"/>
                  <a:gd name="connsiteX23" fmla="*/ 396361 w 570959"/>
                  <a:gd name="connsiteY23" fmla="*/ 570889 h 805293"/>
                  <a:gd name="connsiteX24" fmla="*/ 381911 w 570959"/>
                  <a:gd name="connsiteY24" fmla="*/ 571693 h 805293"/>
                  <a:gd name="connsiteX25" fmla="*/ 378406 w 570959"/>
                  <a:gd name="connsiteY25" fmla="*/ 572357 h 805293"/>
                  <a:gd name="connsiteX26" fmla="*/ 377929 w 570959"/>
                  <a:gd name="connsiteY26" fmla="*/ 572383 h 805293"/>
                  <a:gd name="connsiteX27" fmla="*/ 361783 w 570959"/>
                  <a:gd name="connsiteY27" fmla="*/ 575401 h 805293"/>
                  <a:gd name="connsiteX28" fmla="*/ 356024 w 570959"/>
                  <a:gd name="connsiteY28" fmla="*/ 592755 h 805293"/>
                  <a:gd name="connsiteX29" fmla="*/ 343361 w 570959"/>
                  <a:gd name="connsiteY29" fmla="*/ 600368 h 805293"/>
                  <a:gd name="connsiteX30" fmla="*/ 341024 w 570959"/>
                  <a:gd name="connsiteY30" fmla="*/ 605925 h 805293"/>
                  <a:gd name="connsiteX31" fmla="*/ 336848 w 570959"/>
                  <a:gd name="connsiteY31" fmla="*/ 608201 h 805293"/>
                  <a:gd name="connsiteX32" fmla="*/ 325629 w 570959"/>
                  <a:gd name="connsiteY32" fmla="*/ 606300 h 805293"/>
                  <a:gd name="connsiteX33" fmla="*/ 323033 w 570959"/>
                  <a:gd name="connsiteY33" fmla="*/ 607201 h 805293"/>
                  <a:gd name="connsiteX34" fmla="*/ 321686 w 570959"/>
                  <a:gd name="connsiteY34" fmla="*/ 606974 h 805293"/>
                  <a:gd name="connsiteX35" fmla="*/ 274977 w 570959"/>
                  <a:gd name="connsiteY35" fmla="*/ 644369 h 805293"/>
                  <a:gd name="connsiteX36" fmla="*/ 94324 w 570959"/>
                  <a:gd name="connsiteY36" fmla="*/ 804017 h 805293"/>
                  <a:gd name="connsiteX37" fmla="*/ 89895 w 570959"/>
                  <a:gd name="connsiteY37" fmla="*/ 804668 h 805293"/>
                  <a:gd name="connsiteX38" fmla="*/ 89832 w 570959"/>
                  <a:gd name="connsiteY38" fmla="*/ 804723 h 805293"/>
                  <a:gd name="connsiteX39" fmla="*/ 86009 w 570959"/>
                  <a:gd name="connsiteY39" fmla="*/ 805293 h 805293"/>
                  <a:gd name="connsiteX40" fmla="*/ 87407 w 570959"/>
                  <a:gd name="connsiteY40" fmla="*/ 803266 h 805293"/>
                  <a:gd name="connsiteX41" fmla="*/ 90152 w 570959"/>
                  <a:gd name="connsiteY41" fmla="*/ 801730 h 805293"/>
                  <a:gd name="connsiteX42" fmla="*/ 71385 w 570959"/>
                  <a:gd name="connsiteY42" fmla="*/ 770514 h 805293"/>
                  <a:gd name="connsiteX43" fmla="*/ 24899 w 570959"/>
                  <a:gd name="connsiteY43" fmla="*/ 740884 h 805293"/>
                  <a:gd name="connsiteX44" fmla="*/ 22007 w 570959"/>
                  <a:gd name="connsiteY44" fmla="*/ 475252 h 805293"/>
                  <a:gd name="connsiteX45" fmla="*/ 20055 w 570959"/>
                  <a:gd name="connsiteY45" fmla="*/ 475989 h 805293"/>
                  <a:gd name="connsiteX46" fmla="*/ 20052 w 570959"/>
                  <a:gd name="connsiteY46" fmla="*/ 475765 h 805293"/>
                  <a:gd name="connsiteX47" fmla="*/ 31331 w 570959"/>
                  <a:gd name="connsiteY47" fmla="*/ 466105 h 805293"/>
                  <a:gd name="connsiteX48" fmla="*/ 32887 w 570959"/>
                  <a:gd name="connsiteY48" fmla="*/ 460125 h 805293"/>
                  <a:gd name="connsiteX49" fmla="*/ 34335 w 570959"/>
                  <a:gd name="connsiteY49" fmla="*/ 458361 h 805293"/>
                  <a:gd name="connsiteX50" fmla="*/ 33961 w 570959"/>
                  <a:gd name="connsiteY50" fmla="*/ 456000 h 805293"/>
                  <a:gd name="connsiteX51" fmla="*/ 34857 w 570959"/>
                  <a:gd name="connsiteY51" fmla="*/ 452554 h 805293"/>
                  <a:gd name="connsiteX52" fmla="*/ 33104 w 570959"/>
                  <a:gd name="connsiteY52" fmla="*/ 450601 h 805293"/>
                  <a:gd name="connsiteX53" fmla="*/ 32776 w 570959"/>
                  <a:gd name="connsiteY53" fmla="*/ 448535 h 805293"/>
                  <a:gd name="connsiteX54" fmla="*/ 24868 w 570959"/>
                  <a:gd name="connsiteY54" fmla="*/ 441423 h 805293"/>
                  <a:gd name="connsiteX55" fmla="*/ 23117 w 570959"/>
                  <a:gd name="connsiteY55" fmla="*/ 439473 h 805293"/>
                  <a:gd name="connsiteX56" fmla="*/ 239 w 570959"/>
                  <a:gd name="connsiteY56" fmla="*/ 418708 h 805293"/>
                  <a:gd name="connsiteX57" fmla="*/ 11438 w 570959"/>
                  <a:gd name="connsiteY57" fmla="*/ 385160 h 805293"/>
                  <a:gd name="connsiteX58" fmla="*/ 15244 w 570959"/>
                  <a:gd name="connsiteY58" fmla="*/ 338287 h 805293"/>
                  <a:gd name="connsiteX59" fmla="*/ 1791 w 570959"/>
                  <a:gd name="connsiteY59" fmla="*/ 300427 h 805293"/>
                  <a:gd name="connsiteX60" fmla="*/ 15503 w 570959"/>
                  <a:gd name="connsiteY60" fmla="*/ 269735 h 805293"/>
                  <a:gd name="connsiteX61" fmla="*/ 4822 w 570959"/>
                  <a:gd name="connsiteY61" fmla="*/ 252253 h 805293"/>
                  <a:gd name="connsiteX62" fmla="*/ 8000 w 570959"/>
                  <a:gd name="connsiteY62" fmla="*/ 233197 h 805293"/>
                  <a:gd name="connsiteX63" fmla="*/ 387 w 570959"/>
                  <a:gd name="connsiteY63" fmla="*/ 179777 h 805293"/>
                  <a:gd name="connsiteX64" fmla="*/ 12 w 570959"/>
                  <a:gd name="connsiteY64" fmla="*/ 180090 h 805293"/>
                  <a:gd name="connsiteX65" fmla="*/ 0 w 570959"/>
                  <a:gd name="connsiteY65" fmla="*/ 180062 h 805293"/>
                  <a:gd name="connsiteX66" fmla="*/ 11091 w 570959"/>
                  <a:gd name="connsiteY66" fmla="*/ 165369 h 805293"/>
                  <a:gd name="connsiteX67" fmla="*/ 49508 w 570959"/>
                  <a:gd name="connsiteY67" fmla="*/ 121936 h 805293"/>
                  <a:gd name="connsiteX68" fmla="*/ 65341 w 570959"/>
                  <a:gd name="connsiteY68" fmla="*/ 82433 h 805293"/>
                  <a:gd name="connsiteX69" fmla="*/ 77973 w 570959"/>
                  <a:gd name="connsiteY69" fmla="*/ 71114 h 805293"/>
                  <a:gd name="connsiteX70" fmla="*/ 89875 w 570959"/>
                  <a:gd name="connsiteY70" fmla="*/ 61578 h 805293"/>
                  <a:gd name="connsiteX71" fmla="*/ 89895 w 570959"/>
                  <a:gd name="connsiteY71" fmla="*/ 61551 h 805293"/>
                  <a:gd name="connsiteX72" fmla="*/ 92031 w 570959"/>
                  <a:gd name="connsiteY72" fmla="*/ 59846 h 805293"/>
                  <a:gd name="connsiteX73" fmla="*/ 103337 w 570959"/>
                  <a:gd name="connsiteY73" fmla="*/ 44750 h 805293"/>
                  <a:gd name="connsiteX74" fmla="*/ 109213 w 570959"/>
                  <a:gd name="connsiteY74" fmla="*/ 41378 h 805293"/>
                  <a:gd name="connsiteX75" fmla="*/ 119121 w 570959"/>
                  <a:gd name="connsiteY75" fmla="*/ 43329 h 805293"/>
                  <a:gd name="connsiteX76" fmla="*/ 148821 w 570959"/>
                  <a:gd name="connsiteY76" fmla="*/ 67176 h 805293"/>
                  <a:gd name="connsiteX77" fmla="*/ 205580 w 570959"/>
                  <a:gd name="connsiteY77" fmla="*/ 72588 h 805293"/>
                  <a:gd name="connsiteX78" fmla="*/ 247757 w 570959"/>
                  <a:gd name="connsiteY78" fmla="*/ 55831 h 805293"/>
                  <a:gd name="connsiteX79" fmla="*/ 331950 w 570959"/>
                  <a:gd name="connsiteY79" fmla="*/ 54674 h 805293"/>
                  <a:gd name="connsiteX80" fmla="*/ 376473 w 570959"/>
                  <a:gd name="connsiteY80" fmla="*/ 30491 h 805293"/>
                  <a:gd name="connsiteX81" fmla="*/ 416783 w 570959"/>
                  <a:gd name="connsiteY81" fmla="*/ 20004 h 805293"/>
                  <a:gd name="connsiteX82" fmla="*/ 449672 w 570959"/>
                  <a:gd name="connsiteY82" fmla="*/ 14411 h 805293"/>
                  <a:gd name="connsiteX83" fmla="*/ 454003 w 570959"/>
                  <a:gd name="connsiteY83" fmla="*/ 12172 h 805293"/>
                  <a:gd name="connsiteX84" fmla="*/ 455128 w 570959"/>
                  <a:gd name="connsiteY84" fmla="*/ 11975 h 805293"/>
                  <a:gd name="connsiteX85" fmla="*/ 471860 w 570959"/>
                  <a:gd name="connsiteY85" fmla="*/ 5523 h 805293"/>
                  <a:gd name="connsiteX86" fmla="*/ 476141 w 570959"/>
                  <a:gd name="connsiteY86" fmla="*/ 725 h 805293"/>
                  <a:gd name="connsiteX87" fmla="*/ 477542 w 570959"/>
                  <a:gd name="connsiteY87" fmla="*/ 0 h 805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570959" h="805293">
                    <a:moveTo>
                      <a:pt x="477542" y="0"/>
                    </a:moveTo>
                    <a:cubicBezTo>
                      <a:pt x="483754" y="14331"/>
                      <a:pt x="489965" y="28625"/>
                      <a:pt x="496151" y="42956"/>
                    </a:cubicBezTo>
                    <a:cubicBezTo>
                      <a:pt x="499936" y="51651"/>
                      <a:pt x="503802" y="69826"/>
                      <a:pt x="511640" y="75947"/>
                    </a:cubicBezTo>
                    <a:cubicBezTo>
                      <a:pt x="514599" y="78260"/>
                      <a:pt x="518332" y="79716"/>
                      <a:pt x="522464" y="80649"/>
                    </a:cubicBezTo>
                    <a:cubicBezTo>
                      <a:pt x="523211" y="108004"/>
                      <a:pt x="526517" y="131815"/>
                      <a:pt x="540913" y="157678"/>
                    </a:cubicBezTo>
                    <a:cubicBezTo>
                      <a:pt x="546139" y="167082"/>
                      <a:pt x="551977" y="176226"/>
                      <a:pt x="556909" y="185780"/>
                    </a:cubicBezTo>
                    <a:cubicBezTo>
                      <a:pt x="573545" y="218024"/>
                      <a:pt x="570933" y="252321"/>
                      <a:pt x="570639" y="287290"/>
                    </a:cubicBezTo>
                    <a:cubicBezTo>
                      <a:pt x="570373" y="320841"/>
                      <a:pt x="570106" y="354429"/>
                      <a:pt x="569839" y="387980"/>
                    </a:cubicBezTo>
                    <a:cubicBezTo>
                      <a:pt x="569493" y="435414"/>
                      <a:pt x="569120" y="482885"/>
                      <a:pt x="568746" y="530319"/>
                    </a:cubicBezTo>
                    <a:cubicBezTo>
                      <a:pt x="568786" y="537727"/>
                      <a:pt x="565220" y="544883"/>
                      <a:pt x="559648" y="549749"/>
                    </a:cubicBezTo>
                    <a:lnTo>
                      <a:pt x="542068" y="554479"/>
                    </a:lnTo>
                    <a:lnTo>
                      <a:pt x="525534" y="544871"/>
                    </a:lnTo>
                    <a:cubicBezTo>
                      <a:pt x="520221" y="540824"/>
                      <a:pt x="514908" y="537151"/>
                      <a:pt x="508501" y="537216"/>
                    </a:cubicBezTo>
                    <a:lnTo>
                      <a:pt x="505701" y="538449"/>
                    </a:lnTo>
                    <a:lnTo>
                      <a:pt x="504469" y="537895"/>
                    </a:lnTo>
                    <a:cubicBezTo>
                      <a:pt x="499657" y="537951"/>
                      <a:pt x="495937" y="540340"/>
                      <a:pt x="492425" y="543199"/>
                    </a:cubicBezTo>
                    <a:lnTo>
                      <a:pt x="481890" y="551128"/>
                    </a:lnTo>
                    <a:lnTo>
                      <a:pt x="471372" y="552461"/>
                    </a:lnTo>
                    <a:cubicBezTo>
                      <a:pt x="467672" y="551074"/>
                      <a:pt x="464302" y="548311"/>
                      <a:pt x="459078" y="546014"/>
                    </a:cubicBezTo>
                    <a:cubicBezTo>
                      <a:pt x="453787" y="543674"/>
                      <a:pt x="448569" y="543614"/>
                      <a:pt x="443429" y="544950"/>
                    </a:cubicBezTo>
                    <a:lnTo>
                      <a:pt x="441689" y="545787"/>
                    </a:lnTo>
                    <a:lnTo>
                      <a:pt x="439443" y="545634"/>
                    </a:lnTo>
                    <a:cubicBezTo>
                      <a:pt x="429163" y="548304"/>
                      <a:pt x="419198" y="556555"/>
                      <a:pt x="409591" y="563302"/>
                    </a:cubicBezTo>
                    <a:lnTo>
                      <a:pt x="396361" y="570889"/>
                    </a:lnTo>
                    <a:lnTo>
                      <a:pt x="381911" y="571693"/>
                    </a:lnTo>
                    <a:lnTo>
                      <a:pt x="378406" y="572357"/>
                    </a:lnTo>
                    <a:lnTo>
                      <a:pt x="377929" y="572383"/>
                    </a:lnTo>
                    <a:cubicBezTo>
                      <a:pt x="371601" y="572173"/>
                      <a:pt x="365502" y="572304"/>
                      <a:pt x="361783" y="575401"/>
                    </a:cubicBezTo>
                    <a:cubicBezTo>
                      <a:pt x="356078" y="580178"/>
                      <a:pt x="360263" y="587754"/>
                      <a:pt x="356024" y="592755"/>
                    </a:cubicBezTo>
                    <a:cubicBezTo>
                      <a:pt x="353065" y="596263"/>
                      <a:pt x="347120" y="596375"/>
                      <a:pt x="343361" y="600368"/>
                    </a:cubicBezTo>
                    <a:cubicBezTo>
                      <a:pt x="341175" y="602720"/>
                      <a:pt x="341408" y="604511"/>
                      <a:pt x="341024" y="605925"/>
                    </a:cubicBezTo>
                    <a:lnTo>
                      <a:pt x="336848" y="608201"/>
                    </a:lnTo>
                    <a:lnTo>
                      <a:pt x="325629" y="606300"/>
                    </a:lnTo>
                    <a:lnTo>
                      <a:pt x="323033" y="607201"/>
                    </a:lnTo>
                    <a:lnTo>
                      <a:pt x="321686" y="606974"/>
                    </a:lnTo>
                    <a:cubicBezTo>
                      <a:pt x="304037" y="607534"/>
                      <a:pt x="287827" y="632986"/>
                      <a:pt x="274977" y="644369"/>
                    </a:cubicBezTo>
                    <a:lnTo>
                      <a:pt x="94324" y="804017"/>
                    </a:lnTo>
                    <a:lnTo>
                      <a:pt x="89895" y="804668"/>
                    </a:lnTo>
                    <a:lnTo>
                      <a:pt x="89832" y="804723"/>
                    </a:lnTo>
                    <a:lnTo>
                      <a:pt x="86009" y="805293"/>
                    </a:lnTo>
                    <a:lnTo>
                      <a:pt x="87407" y="803266"/>
                    </a:lnTo>
                    <a:lnTo>
                      <a:pt x="90152" y="801730"/>
                    </a:lnTo>
                    <a:cubicBezTo>
                      <a:pt x="96109" y="789914"/>
                      <a:pt x="82267" y="774418"/>
                      <a:pt x="71385" y="770514"/>
                    </a:cubicBezTo>
                    <a:cubicBezTo>
                      <a:pt x="52206" y="763579"/>
                      <a:pt x="21904" y="769537"/>
                      <a:pt x="24899" y="740884"/>
                    </a:cubicBezTo>
                    <a:lnTo>
                      <a:pt x="22007" y="475252"/>
                    </a:lnTo>
                    <a:lnTo>
                      <a:pt x="20055" y="475989"/>
                    </a:lnTo>
                    <a:lnTo>
                      <a:pt x="20052" y="475765"/>
                    </a:lnTo>
                    <a:lnTo>
                      <a:pt x="31331" y="466105"/>
                    </a:lnTo>
                    <a:lnTo>
                      <a:pt x="32887" y="460125"/>
                    </a:lnTo>
                    <a:lnTo>
                      <a:pt x="34335" y="458361"/>
                    </a:lnTo>
                    <a:lnTo>
                      <a:pt x="33961" y="456000"/>
                    </a:lnTo>
                    <a:lnTo>
                      <a:pt x="34857" y="452554"/>
                    </a:lnTo>
                    <a:lnTo>
                      <a:pt x="33104" y="450601"/>
                    </a:lnTo>
                    <a:lnTo>
                      <a:pt x="32776" y="448535"/>
                    </a:lnTo>
                    <a:lnTo>
                      <a:pt x="24868" y="441423"/>
                    </a:lnTo>
                    <a:lnTo>
                      <a:pt x="23117" y="439473"/>
                    </a:lnTo>
                    <a:cubicBezTo>
                      <a:pt x="10883" y="432655"/>
                      <a:pt x="239" y="436365"/>
                      <a:pt x="239" y="418708"/>
                    </a:cubicBezTo>
                    <a:cubicBezTo>
                      <a:pt x="202" y="407014"/>
                      <a:pt x="7150" y="395553"/>
                      <a:pt x="11438" y="385160"/>
                    </a:cubicBezTo>
                    <a:cubicBezTo>
                      <a:pt x="18164" y="368785"/>
                      <a:pt x="21971" y="355498"/>
                      <a:pt x="15244" y="338287"/>
                    </a:cubicBezTo>
                    <a:cubicBezTo>
                      <a:pt x="10366" y="325777"/>
                      <a:pt x="-1757" y="314608"/>
                      <a:pt x="1791" y="300427"/>
                    </a:cubicBezTo>
                    <a:cubicBezTo>
                      <a:pt x="4526" y="289510"/>
                      <a:pt x="18755" y="283139"/>
                      <a:pt x="15503" y="269735"/>
                    </a:cubicBezTo>
                    <a:cubicBezTo>
                      <a:pt x="14210" y="264471"/>
                      <a:pt x="6189" y="259090"/>
                      <a:pt x="4822" y="252253"/>
                    </a:cubicBezTo>
                    <a:cubicBezTo>
                      <a:pt x="3418" y="244949"/>
                      <a:pt x="6005" y="239432"/>
                      <a:pt x="8000" y="233197"/>
                    </a:cubicBezTo>
                    <a:cubicBezTo>
                      <a:pt x="14579" y="213014"/>
                      <a:pt x="12620" y="196366"/>
                      <a:pt x="387" y="179777"/>
                    </a:cubicBezTo>
                    <a:lnTo>
                      <a:pt x="12" y="180090"/>
                    </a:lnTo>
                    <a:lnTo>
                      <a:pt x="0" y="180062"/>
                    </a:lnTo>
                    <a:lnTo>
                      <a:pt x="11091" y="165369"/>
                    </a:lnTo>
                    <a:cubicBezTo>
                      <a:pt x="22476" y="149420"/>
                      <a:pt x="37998" y="137434"/>
                      <a:pt x="49508" y="121936"/>
                    </a:cubicBezTo>
                    <a:cubicBezTo>
                      <a:pt x="58497" y="109885"/>
                      <a:pt x="57782" y="93968"/>
                      <a:pt x="65341" y="82433"/>
                    </a:cubicBezTo>
                    <a:lnTo>
                      <a:pt x="77973" y="71114"/>
                    </a:lnTo>
                    <a:lnTo>
                      <a:pt x="89875" y="61578"/>
                    </a:lnTo>
                    <a:lnTo>
                      <a:pt x="89895" y="61551"/>
                    </a:lnTo>
                    <a:lnTo>
                      <a:pt x="92031" y="59846"/>
                    </a:lnTo>
                    <a:lnTo>
                      <a:pt x="103337" y="44750"/>
                    </a:lnTo>
                    <a:lnTo>
                      <a:pt x="109213" y="41378"/>
                    </a:lnTo>
                    <a:cubicBezTo>
                      <a:pt x="112026" y="40845"/>
                      <a:pt x="115262" y="41342"/>
                      <a:pt x="119121" y="43329"/>
                    </a:cubicBezTo>
                    <a:cubicBezTo>
                      <a:pt x="130985" y="49449"/>
                      <a:pt x="133998" y="61914"/>
                      <a:pt x="148821" y="67176"/>
                    </a:cubicBezTo>
                    <a:cubicBezTo>
                      <a:pt x="166790" y="73558"/>
                      <a:pt x="186572" y="72737"/>
                      <a:pt x="205580" y="72588"/>
                    </a:cubicBezTo>
                    <a:cubicBezTo>
                      <a:pt x="224669" y="72401"/>
                      <a:pt x="232827" y="65833"/>
                      <a:pt x="247757" y="55831"/>
                    </a:cubicBezTo>
                    <a:cubicBezTo>
                      <a:pt x="279349" y="34670"/>
                      <a:pt x="298305" y="67885"/>
                      <a:pt x="331950" y="54674"/>
                    </a:cubicBezTo>
                    <a:cubicBezTo>
                      <a:pt x="347573" y="48554"/>
                      <a:pt x="359997" y="36275"/>
                      <a:pt x="376473" y="30491"/>
                    </a:cubicBezTo>
                    <a:cubicBezTo>
                      <a:pt x="389003" y="26050"/>
                      <a:pt x="403693" y="23064"/>
                      <a:pt x="416783" y="20004"/>
                    </a:cubicBezTo>
                    <a:cubicBezTo>
                      <a:pt x="425994" y="17858"/>
                      <a:pt x="438251" y="16869"/>
                      <a:pt x="449672" y="14411"/>
                    </a:cubicBezTo>
                    <a:lnTo>
                      <a:pt x="454003" y="12172"/>
                    </a:lnTo>
                    <a:lnTo>
                      <a:pt x="455128" y="11975"/>
                    </a:lnTo>
                    <a:cubicBezTo>
                      <a:pt x="461274" y="10477"/>
                      <a:pt x="467063" y="8469"/>
                      <a:pt x="471860" y="5523"/>
                    </a:cubicBezTo>
                    <a:lnTo>
                      <a:pt x="476141" y="725"/>
                    </a:lnTo>
                    <a:lnTo>
                      <a:pt x="47754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1" name="Freeform 50">
                <a:extLst>
                  <a:ext uri="{FF2B5EF4-FFF2-40B4-BE49-F238E27FC236}">
                    <a16:creationId xmlns:a16="http://schemas.microsoft.com/office/drawing/2014/main" id="{767ACFD5-063D-1040-AA96-9297D0199566}"/>
                  </a:ext>
                </a:extLst>
              </p:cNvPr>
              <p:cNvSpPr/>
              <p:nvPr/>
            </p:nvSpPr>
            <p:spPr>
              <a:xfrm>
                <a:off x="3414676" y="4585663"/>
                <a:ext cx="769599" cy="413543"/>
              </a:xfrm>
              <a:custGeom>
                <a:avLst/>
                <a:gdLst>
                  <a:gd name="connsiteX0" fmla="*/ 353822 w 769599"/>
                  <a:gd name="connsiteY0" fmla="*/ 0 h 413543"/>
                  <a:gd name="connsiteX1" fmla="*/ 382121 w 769599"/>
                  <a:gd name="connsiteY1" fmla="*/ 1469 h 413543"/>
                  <a:gd name="connsiteX2" fmla="*/ 380887 w 769599"/>
                  <a:gd name="connsiteY2" fmla="*/ 21288 h 413543"/>
                  <a:gd name="connsiteX3" fmla="*/ 368764 w 769599"/>
                  <a:gd name="connsiteY3" fmla="*/ 36246 h 413543"/>
                  <a:gd name="connsiteX4" fmla="*/ 372460 w 769599"/>
                  <a:gd name="connsiteY4" fmla="*/ 47685 h 413543"/>
                  <a:gd name="connsiteX5" fmla="*/ 374700 w 769599"/>
                  <a:gd name="connsiteY5" fmla="*/ 47892 h 413543"/>
                  <a:gd name="connsiteX6" fmla="*/ 374796 w 769599"/>
                  <a:gd name="connsiteY6" fmla="*/ 48189 h 413543"/>
                  <a:gd name="connsiteX7" fmla="*/ 391599 w 769599"/>
                  <a:gd name="connsiteY7" fmla="*/ 49750 h 413543"/>
                  <a:gd name="connsiteX8" fmla="*/ 430449 w 769599"/>
                  <a:gd name="connsiteY8" fmla="*/ 61110 h 413543"/>
                  <a:gd name="connsiteX9" fmla="*/ 456800 w 769599"/>
                  <a:gd name="connsiteY9" fmla="*/ 79700 h 413543"/>
                  <a:gd name="connsiteX10" fmla="*/ 457829 w 769599"/>
                  <a:gd name="connsiteY10" fmla="*/ 79415 h 413543"/>
                  <a:gd name="connsiteX11" fmla="*/ 459174 w 769599"/>
                  <a:gd name="connsiteY11" fmla="*/ 80196 h 413543"/>
                  <a:gd name="connsiteX12" fmla="*/ 487041 w 769599"/>
                  <a:gd name="connsiteY12" fmla="*/ 65571 h 413543"/>
                  <a:gd name="connsiteX13" fmla="*/ 525831 w 769599"/>
                  <a:gd name="connsiteY13" fmla="*/ 68528 h 413543"/>
                  <a:gd name="connsiteX14" fmla="*/ 548795 w 769599"/>
                  <a:gd name="connsiteY14" fmla="*/ 69350 h 413543"/>
                  <a:gd name="connsiteX15" fmla="*/ 557368 w 769599"/>
                  <a:gd name="connsiteY15" fmla="*/ 67739 h 413543"/>
                  <a:gd name="connsiteX16" fmla="*/ 559398 w 769599"/>
                  <a:gd name="connsiteY16" fmla="*/ 89918 h 413543"/>
                  <a:gd name="connsiteX17" fmla="*/ 594805 w 769599"/>
                  <a:gd name="connsiteY17" fmla="*/ 106041 h 413543"/>
                  <a:gd name="connsiteX18" fmla="*/ 630152 w 769599"/>
                  <a:gd name="connsiteY18" fmla="*/ 98783 h 413543"/>
                  <a:gd name="connsiteX19" fmla="*/ 631363 w 769599"/>
                  <a:gd name="connsiteY19" fmla="*/ 97004 h 413543"/>
                  <a:gd name="connsiteX20" fmla="*/ 631641 w 769599"/>
                  <a:gd name="connsiteY20" fmla="*/ 96947 h 413543"/>
                  <a:gd name="connsiteX21" fmla="*/ 650546 w 769599"/>
                  <a:gd name="connsiteY21" fmla="*/ 69173 h 413543"/>
                  <a:gd name="connsiteX22" fmla="*/ 660880 w 769599"/>
                  <a:gd name="connsiteY22" fmla="*/ 53903 h 413543"/>
                  <a:gd name="connsiteX23" fmla="*/ 675616 w 769599"/>
                  <a:gd name="connsiteY23" fmla="*/ 48615 h 413543"/>
                  <a:gd name="connsiteX24" fmla="*/ 714256 w 769599"/>
                  <a:gd name="connsiteY24" fmla="*/ 42928 h 413543"/>
                  <a:gd name="connsiteX25" fmla="*/ 721808 w 769599"/>
                  <a:gd name="connsiteY25" fmla="*/ 36621 h 413543"/>
                  <a:gd name="connsiteX26" fmla="*/ 733400 w 769599"/>
                  <a:gd name="connsiteY26" fmla="*/ 27995 h 413543"/>
                  <a:gd name="connsiteX27" fmla="*/ 735559 w 769599"/>
                  <a:gd name="connsiteY27" fmla="*/ 25136 h 413543"/>
                  <a:gd name="connsiteX28" fmla="*/ 735650 w 769599"/>
                  <a:gd name="connsiteY28" fmla="*/ 25059 h 413543"/>
                  <a:gd name="connsiteX29" fmla="*/ 746342 w 769599"/>
                  <a:gd name="connsiteY29" fmla="*/ 50010 h 413543"/>
                  <a:gd name="connsiteX30" fmla="*/ 743106 w 769599"/>
                  <a:gd name="connsiteY30" fmla="*/ 78070 h 413543"/>
                  <a:gd name="connsiteX31" fmla="*/ 739933 w 769599"/>
                  <a:gd name="connsiteY31" fmla="*/ 97141 h 413543"/>
                  <a:gd name="connsiteX32" fmla="*/ 750571 w 769599"/>
                  <a:gd name="connsiteY32" fmla="*/ 114607 h 413543"/>
                  <a:gd name="connsiteX33" fmla="*/ 736868 w 769599"/>
                  <a:gd name="connsiteY33" fmla="*/ 145321 h 413543"/>
                  <a:gd name="connsiteX34" fmla="*/ 750358 w 769599"/>
                  <a:gd name="connsiteY34" fmla="*/ 183164 h 413543"/>
                  <a:gd name="connsiteX35" fmla="*/ 746519 w 769599"/>
                  <a:gd name="connsiteY35" fmla="*/ 230038 h 413543"/>
                  <a:gd name="connsiteX36" fmla="*/ 735321 w 769599"/>
                  <a:gd name="connsiteY36" fmla="*/ 263589 h 413543"/>
                  <a:gd name="connsiteX37" fmla="*/ 758222 w 769599"/>
                  <a:gd name="connsiteY37" fmla="*/ 284339 h 413543"/>
                  <a:gd name="connsiteX38" fmla="*/ 760506 w 769599"/>
                  <a:gd name="connsiteY38" fmla="*/ 286392 h 413543"/>
                  <a:gd name="connsiteX39" fmla="*/ 768742 w 769599"/>
                  <a:gd name="connsiteY39" fmla="*/ 295570 h 413543"/>
                  <a:gd name="connsiteX40" fmla="*/ 769599 w 769599"/>
                  <a:gd name="connsiteY40" fmla="*/ 300969 h 413543"/>
                  <a:gd name="connsiteX41" fmla="*/ 768525 w 769599"/>
                  <a:gd name="connsiteY41" fmla="*/ 305094 h 413543"/>
                  <a:gd name="connsiteX42" fmla="*/ 755690 w 769599"/>
                  <a:gd name="connsiteY42" fmla="*/ 320726 h 413543"/>
                  <a:gd name="connsiteX43" fmla="*/ 755690 w 769599"/>
                  <a:gd name="connsiteY43" fmla="*/ 320734 h 413543"/>
                  <a:gd name="connsiteX44" fmla="*/ 755221 w 769599"/>
                  <a:gd name="connsiteY44" fmla="*/ 321136 h 413543"/>
                  <a:gd name="connsiteX45" fmla="*/ 738844 w 769599"/>
                  <a:gd name="connsiteY45" fmla="*/ 327318 h 413543"/>
                  <a:gd name="connsiteX46" fmla="*/ 691222 w 769599"/>
                  <a:gd name="connsiteY46" fmla="*/ 332057 h 413543"/>
                  <a:gd name="connsiteX47" fmla="*/ 641533 w 769599"/>
                  <a:gd name="connsiteY47" fmla="*/ 350319 h 413543"/>
                  <a:gd name="connsiteX48" fmla="*/ 533893 w 769599"/>
                  <a:gd name="connsiteY48" fmla="*/ 381779 h 413543"/>
                  <a:gd name="connsiteX49" fmla="*/ 444364 w 769599"/>
                  <a:gd name="connsiteY49" fmla="*/ 407667 h 413543"/>
                  <a:gd name="connsiteX50" fmla="*/ 407107 w 769599"/>
                  <a:gd name="connsiteY50" fmla="*/ 413503 h 413543"/>
                  <a:gd name="connsiteX51" fmla="*/ 379559 w 769599"/>
                  <a:gd name="connsiteY51" fmla="*/ 394509 h 413543"/>
                  <a:gd name="connsiteX52" fmla="*/ 321848 w 769599"/>
                  <a:gd name="connsiteY52" fmla="*/ 341960 h 413543"/>
                  <a:gd name="connsiteX53" fmla="*/ 231596 w 769599"/>
                  <a:gd name="connsiteY53" fmla="*/ 324064 h 413543"/>
                  <a:gd name="connsiteX54" fmla="*/ 167618 w 769599"/>
                  <a:gd name="connsiteY54" fmla="*/ 255816 h 413543"/>
                  <a:gd name="connsiteX55" fmla="*/ 118756 w 769599"/>
                  <a:gd name="connsiteY55" fmla="*/ 239690 h 413543"/>
                  <a:gd name="connsiteX56" fmla="*/ 94308 w 769599"/>
                  <a:gd name="connsiteY56" fmla="*/ 246828 h 413543"/>
                  <a:gd name="connsiteX57" fmla="*/ 94391 w 769599"/>
                  <a:gd name="connsiteY57" fmla="*/ 247011 h 413543"/>
                  <a:gd name="connsiteX58" fmla="*/ 92866 w 769599"/>
                  <a:gd name="connsiteY58" fmla="*/ 247457 h 413543"/>
                  <a:gd name="connsiteX59" fmla="*/ 89096 w 769599"/>
                  <a:gd name="connsiteY59" fmla="*/ 243591 h 413543"/>
                  <a:gd name="connsiteX60" fmla="*/ 50659 w 769599"/>
                  <a:gd name="connsiteY60" fmla="*/ 238929 h 413543"/>
                  <a:gd name="connsiteX61" fmla="*/ 25416 w 769599"/>
                  <a:gd name="connsiteY61" fmla="*/ 211073 h 413543"/>
                  <a:gd name="connsiteX62" fmla="*/ 4497 w 769599"/>
                  <a:gd name="connsiteY62" fmla="*/ 179274 h 413543"/>
                  <a:gd name="connsiteX63" fmla="*/ 27412 w 769599"/>
                  <a:gd name="connsiteY63" fmla="*/ 177196 h 413543"/>
                  <a:gd name="connsiteX64" fmla="*/ 43008 w 769599"/>
                  <a:gd name="connsiteY64" fmla="*/ 164317 h 413543"/>
                  <a:gd name="connsiteX65" fmla="*/ 69619 w 769599"/>
                  <a:gd name="connsiteY65" fmla="*/ 132537 h 413543"/>
                  <a:gd name="connsiteX66" fmla="*/ 109239 w 769599"/>
                  <a:gd name="connsiteY66" fmla="*/ 123135 h 413543"/>
                  <a:gd name="connsiteX67" fmla="*/ 141689 w 769599"/>
                  <a:gd name="connsiteY67" fmla="*/ 102739 h 413543"/>
                  <a:gd name="connsiteX68" fmla="*/ 151815 w 769599"/>
                  <a:gd name="connsiteY68" fmla="*/ 84556 h 413543"/>
                  <a:gd name="connsiteX69" fmla="*/ 153852 w 769599"/>
                  <a:gd name="connsiteY69" fmla="*/ 84717 h 413543"/>
                  <a:gd name="connsiteX70" fmla="*/ 154087 w 769599"/>
                  <a:gd name="connsiteY70" fmla="*/ 85063 h 413543"/>
                  <a:gd name="connsiteX71" fmla="*/ 203208 w 769599"/>
                  <a:gd name="connsiteY71" fmla="*/ 88930 h 413543"/>
                  <a:gd name="connsiteX72" fmla="*/ 282465 w 769599"/>
                  <a:gd name="connsiteY72" fmla="*/ 81674 h 413543"/>
                  <a:gd name="connsiteX73" fmla="*/ 326980 w 769599"/>
                  <a:gd name="connsiteY73" fmla="*/ 12600 h 413543"/>
                  <a:gd name="connsiteX74" fmla="*/ 353822 w 769599"/>
                  <a:gd name="connsiteY74" fmla="*/ 0 h 413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769599" h="413543">
                    <a:moveTo>
                      <a:pt x="353822" y="0"/>
                    </a:moveTo>
                    <a:lnTo>
                      <a:pt x="382121" y="1469"/>
                    </a:lnTo>
                    <a:lnTo>
                      <a:pt x="380887" y="21288"/>
                    </a:lnTo>
                    <a:cubicBezTo>
                      <a:pt x="378706" y="26766"/>
                      <a:pt x="370501" y="31409"/>
                      <a:pt x="368764" y="36246"/>
                    </a:cubicBezTo>
                    <a:cubicBezTo>
                      <a:pt x="366011" y="43939"/>
                      <a:pt x="368071" y="46629"/>
                      <a:pt x="372460" y="47685"/>
                    </a:cubicBezTo>
                    <a:lnTo>
                      <a:pt x="374700" y="47892"/>
                    </a:lnTo>
                    <a:lnTo>
                      <a:pt x="374796" y="48189"/>
                    </a:lnTo>
                    <a:lnTo>
                      <a:pt x="391599" y="49750"/>
                    </a:lnTo>
                    <a:lnTo>
                      <a:pt x="430449" y="61110"/>
                    </a:lnTo>
                    <a:cubicBezTo>
                      <a:pt x="445454" y="67365"/>
                      <a:pt x="441462" y="77525"/>
                      <a:pt x="456800" y="79700"/>
                    </a:cubicBezTo>
                    <a:lnTo>
                      <a:pt x="457829" y="79415"/>
                    </a:lnTo>
                    <a:lnTo>
                      <a:pt x="459174" y="80196"/>
                    </a:lnTo>
                    <a:cubicBezTo>
                      <a:pt x="477467" y="82789"/>
                      <a:pt x="476315" y="70120"/>
                      <a:pt x="487041" y="65571"/>
                    </a:cubicBezTo>
                    <a:cubicBezTo>
                      <a:pt x="497339" y="61227"/>
                      <a:pt x="515697" y="67573"/>
                      <a:pt x="525831" y="68528"/>
                    </a:cubicBezTo>
                    <a:cubicBezTo>
                      <a:pt x="532888" y="69188"/>
                      <a:pt x="540949" y="69677"/>
                      <a:pt x="548795" y="69350"/>
                    </a:cubicBezTo>
                    <a:lnTo>
                      <a:pt x="557368" y="67739"/>
                    </a:lnTo>
                    <a:lnTo>
                      <a:pt x="559398" y="89918"/>
                    </a:lnTo>
                    <a:cubicBezTo>
                      <a:pt x="564129" y="101845"/>
                      <a:pt x="583643" y="105011"/>
                      <a:pt x="594805" y="106041"/>
                    </a:cubicBezTo>
                    <a:cubicBezTo>
                      <a:pt x="610365" y="107488"/>
                      <a:pt x="621628" y="104846"/>
                      <a:pt x="630152" y="98783"/>
                    </a:cubicBezTo>
                    <a:lnTo>
                      <a:pt x="631363" y="97004"/>
                    </a:lnTo>
                    <a:lnTo>
                      <a:pt x="631641" y="96947"/>
                    </a:lnTo>
                    <a:cubicBezTo>
                      <a:pt x="640172" y="90881"/>
                      <a:pt x="645958" y="81401"/>
                      <a:pt x="650546" y="69173"/>
                    </a:cubicBezTo>
                    <a:lnTo>
                      <a:pt x="660880" y="53903"/>
                    </a:lnTo>
                    <a:lnTo>
                      <a:pt x="675616" y="48615"/>
                    </a:lnTo>
                    <a:cubicBezTo>
                      <a:pt x="686750" y="47216"/>
                      <a:pt x="699898" y="48600"/>
                      <a:pt x="714256" y="42928"/>
                    </a:cubicBezTo>
                    <a:lnTo>
                      <a:pt x="721808" y="36621"/>
                    </a:lnTo>
                    <a:lnTo>
                      <a:pt x="733400" y="27995"/>
                    </a:lnTo>
                    <a:lnTo>
                      <a:pt x="735559" y="25136"/>
                    </a:lnTo>
                    <a:lnTo>
                      <a:pt x="735650" y="25059"/>
                    </a:lnTo>
                    <a:lnTo>
                      <a:pt x="746342" y="50010"/>
                    </a:lnTo>
                    <a:cubicBezTo>
                      <a:pt x="747538" y="58766"/>
                      <a:pt x="746385" y="67975"/>
                      <a:pt x="743106" y="78070"/>
                    </a:cubicBezTo>
                    <a:cubicBezTo>
                      <a:pt x="741080" y="84303"/>
                      <a:pt x="738494" y="89826"/>
                      <a:pt x="739933" y="97141"/>
                    </a:cubicBezTo>
                    <a:cubicBezTo>
                      <a:pt x="741266" y="103971"/>
                      <a:pt x="749318" y="109345"/>
                      <a:pt x="750571" y="114607"/>
                    </a:cubicBezTo>
                    <a:cubicBezTo>
                      <a:pt x="753823" y="128005"/>
                      <a:pt x="739587" y="134386"/>
                      <a:pt x="736868" y="145321"/>
                    </a:cubicBezTo>
                    <a:cubicBezTo>
                      <a:pt x="733322" y="159466"/>
                      <a:pt x="745452" y="170662"/>
                      <a:pt x="750358" y="183164"/>
                    </a:cubicBezTo>
                    <a:cubicBezTo>
                      <a:pt x="757076" y="200368"/>
                      <a:pt x="753264" y="213654"/>
                      <a:pt x="746519" y="230038"/>
                    </a:cubicBezTo>
                    <a:cubicBezTo>
                      <a:pt x="742226" y="240413"/>
                      <a:pt x="735295" y="251870"/>
                      <a:pt x="735321" y="263589"/>
                    </a:cubicBezTo>
                    <a:cubicBezTo>
                      <a:pt x="735321" y="281241"/>
                      <a:pt x="745985" y="277509"/>
                      <a:pt x="758222" y="284339"/>
                    </a:cubicBezTo>
                    <a:lnTo>
                      <a:pt x="760506" y="286392"/>
                    </a:lnTo>
                    <a:lnTo>
                      <a:pt x="768742" y="295570"/>
                    </a:lnTo>
                    <a:lnTo>
                      <a:pt x="769599" y="300969"/>
                    </a:lnTo>
                    <a:lnTo>
                      <a:pt x="768525" y="305094"/>
                    </a:lnTo>
                    <a:lnTo>
                      <a:pt x="755690" y="320726"/>
                    </a:lnTo>
                    <a:lnTo>
                      <a:pt x="755690" y="320734"/>
                    </a:lnTo>
                    <a:lnTo>
                      <a:pt x="755221" y="321136"/>
                    </a:lnTo>
                    <a:lnTo>
                      <a:pt x="738844" y="327318"/>
                    </a:lnTo>
                    <a:cubicBezTo>
                      <a:pt x="722557" y="329393"/>
                      <a:pt x="707199" y="328335"/>
                      <a:pt x="691222" y="332057"/>
                    </a:cubicBezTo>
                    <a:cubicBezTo>
                      <a:pt x="673729" y="336144"/>
                      <a:pt x="658337" y="344157"/>
                      <a:pt x="641533" y="350319"/>
                    </a:cubicBezTo>
                    <a:cubicBezTo>
                      <a:pt x="606342" y="363232"/>
                      <a:pt x="569153" y="370919"/>
                      <a:pt x="533893" y="381779"/>
                    </a:cubicBezTo>
                    <a:cubicBezTo>
                      <a:pt x="504038" y="390950"/>
                      <a:pt x="474666" y="401607"/>
                      <a:pt x="444364" y="407667"/>
                    </a:cubicBezTo>
                    <a:cubicBezTo>
                      <a:pt x="431348" y="410270"/>
                      <a:pt x="420949" y="413971"/>
                      <a:pt x="407107" y="413503"/>
                    </a:cubicBezTo>
                    <a:cubicBezTo>
                      <a:pt x="390062" y="412934"/>
                      <a:pt x="387583" y="408806"/>
                      <a:pt x="379559" y="394509"/>
                    </a:cubicBezTo>
                    <a:cubicBezTo>
                      <a:pt x="365682" y="369719"/>
                      <a:pt x="354216" y="346495"/>
                      <a:pt x="321848" y="341960"/>
                    </a:cubicBezTo>
                    <a:cubicBezTo>
                      <a:pt x="288963" y="337364"/>
                      <a:pt x="260762" y="340537"/>
                      <a:pt x="231596" y="324064"/>
                    </a:cubicBezTo>
                    <a:cubicBezTo>
                      <a:pt x="202431" y="307653"/>
                      <a:pt x="193857" y="276356"/>
                      <a:pt x="167618" y="255816"/>
                    </a:cubicBezTo>
                    <a:cubicBezTo>
                      <a:pt x="153397" y="244692"/>
                      <a:pt x="138108" y="237737"/>
                      <a:pt x="118756" y="239690"/>
                    </a:cubicBezTo>
                    <a:cubicBezTo>
                      <a:pt x="110871" y="240483"/>
                      <a:pt x="102503" y="243899"/>
                      <a:pt x="94308" y="246828"/>
                    </a:cubicBezTo>
                    <a:lnTo>
                      <a:pt x="94391" y="247011"/>
                    </a:lnTo>
                    <a:lnTo>
                      <a:pt x="92866" y="247457"/>
                    </a:lnTo>
                    <a:cubicBezTo>
                      <a:pt x="91720" y="246019"/>
                      <a:pt x="90500" y="244698"/>
                      <a:pt x="89096" y="243591"/>
                    </a:cubicBezTo>
                    <a:cubicBezTo>
                      <a:pt x="78674" y="235297"/>
                      <a:pt x="62744" y="241046"/>
                      <a:pt x="50659" y="238929"/>
                    </a:cubicBezTo>
                    <a:cubicBezTo>
                      <a:pt x="31958" y="235666"/>
                      <a:pt x="35099" y="224321"/>
                      <a:pt x="25416" y="211073"/>
                    </a:cubicBezTo>
                    <a:cubicBezTo>
                      <a:pt x="18468" y="201555"/>
                      <a:pt x="-11137" y="191415"/>
                      <a:pt x="4497" y="179274"/>
                    </a:cubicBezTo>
                    <a:cubicBezTo>
                      <a:pt x="9782" y="175175"/>
                      <a:pt x="21276" y="179507"/>
                      <a:pt x="27412" y="177196"/>
                    </a:cubicBezTo>
                    <a:cubicBezTo>
                      <a:pt x="34175" y="174651"/>
                      <a:pt x="38351" y="169833"/>
                      <a:pt x="43008" y="164317"/>
                    </a:cubicBezTo>
                    <a:cubicBezTo>
                      <a:pt x="51324" y="154313"/>
                      <a:pt x="57053" y="138850"/>
                      <a:pt x="69619" y="132537"/>
                    </a:cubicBezTo>
                    <a:cubicBezTo>
                      <a:pt x="81667" y="126496"/>
                      <a:pt x="96931" y="130420"/>
                      <a:pt x="109239" y="123135"/>
                    </a:cubicBezTo>
                    <a:cubicBezTo>
                      <a:pt x="120955" y="116200"/>
                      <a:pt x="128642" y="108702"/>
                      <a:pt x="141689" y="102739"/>
                    </a:cubicBezTo>
                    <a:cubicBezTo>
                      <a:pt x="153220" y="97455"/>
                      <a:pt x="155437" y="92093"/>
                      <a:pt x="151815" y="84556"/>
                    </a:cubicBezTo>
                    <a:lnTo>
                      <a:pt x="153852" y="84717"/>
                    </a:lnTo>
                    <a:lnTo>
                      <a:pt x="154087" y="85063"/>
                    </a:lnTo>
                    <a:cubicBezTo>
                      <a:pt x="170537" y="85609"/>
                      <a:pt x="186757" y="86723"/>
                      <a:pt x="203208" y="88930"/>
                    </a:cubicBezTo>
                    <a:cubicBezTo>
                      <a:pt x="230910" y="92660"/>
                      <a:pt x="260191" y="103031"/>
                      <a:pt x="282465" y="81674"/>
                    </a:cubicBezTo>
                    <a:cubicBezTo>
                      <a:pt x="302699" y="62296"/>
                      <a:pt x="309180" y="33093"/>
                      <a:pt x="326980" y="12600"/>
                    </a:cubicBezTo>
                    <a:cubicBezTo>
                      <a:pt x="332524" y="6209"/>
                      <a:pt x="342854" y="1922"/>
                      <a:pt x="353822" y="0"/>
                    </a:cubicBezTo>
                    <a:close/>
                  </a:path>
                </a:pathLst>
              </a:custGeom>
              <a:solidFill>
                <a:schemeClr val="tx2"/>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2" name="Freeform 51">
                <a:extLst>
                  <a:ext uri="{FF2B5EF4-FFF2-40B4-BE49-F238E27FC236}">
                    <a16:creationId xmlns:a16="http://schemas.microsoft.com/office/drawing/2014/main" id="{24DF19B9-73D5-F04C-8410-AC219521CB34}"/>
                  </a:ext>
                </a:extLst>
              </p:cNvPr>
              <p:cNvSpPr/>
              <p:nvPr/>
            </p:nvSpPr>
            <p:spPr>
              <a:xfrm>
                <a:off x="4238423" y="4642663"/>
                <a:ext cx="755773" cy="934459"/>
              </a:xfrm>
              <a:custGeom>
                <a:avLst/>
                <a:gdLst>
                  <a:gd name="connsiteX0" fmla="*/ 482464 w 755773"/>
                  <a:gd name="connsiteY0" fmla="*/ 0 h 934459"/>
                  <a:gd name="connsiteX1" fmla="*/ 531606 w 755773"/>
                  <a:gd name="connsiteY1" fmla="*/ 51408 h 934459"/>
                  <a:gd name="connsiteX2" fmla="*/ 633650 w 755773"/>
                  <a:gd name="connsiteY2" fmla="*/ 158071 h 934459"/>
                  <a:gd name="connsiteX3" fmla="*/ 714737 w 755773"/>
                  <a:gd name="connsiteY3" fmla="*/ 242856 h 934459"/>
                  <a:gd name="connsiteX4" fmla="*/ 731719 w 755773"/>
                  <a:gd name="connsiteY4" fmla="*/ 252527 h 934459"/>
                  <a:gd name="connsiteX5" fmla="*/ 732249 w 755773"/>
                  <a:gd name="connsiteY5" fmla="*/ 251816 h 934459"/>
                  <a:gd name="connsiteX6" fmla="*/ 732740 w 755773"/>
                  <a:gd name="connsiteY6" fmla="*/ 251854 h 934459"/>
                  <a:gd name="connsiteX7" fmla="*/ 733231 w 755773"/>
                  <a:gd name="connsiteY7" fmla="*/ 251464 h 934459"/>
                  <a:gd name="connsiteX8" fmla="*/ 755773 w 755773"/>
                  <a:gd name="connsiteY8" fmla="*/ 271611 h 934459"/>
                  <a:gd name="connsiteX9" fmla="*/ 749455 w 755773"/>
                  <a:gd name="connsiteY9" fmla="*/ 396636 h 934459"/>
                  <a:gd name="connsiteX10" fmla="*/ 726642 w 755773"/>
                  <a:gd name="connsiteY10" fmla="*/ 545988 h 934459"/>
                  <a:gd name="connsiteX11" fmla="*/ 724802 w 755773"/>
                  <a:gd name="connsiteY11" fmla="*/ 553138 h 934459"/>
                  <a:gd name="connsiteX12" fmla="*/ 617045 w 755773"/>
                  <a:gd name="connsiteY12" fmla="*/ 599597 h 934459"/>
                  <a:gd name="connsiteX13" fmla="*/ 436811 w 755773"/>
                  <a:gd name="connsiteY13" fmla="*/ 677315 h 934459"/>
                  <a:gd name="connsiteX14" fmla="*/ 430585 w 755773"/>
                  <a:gd name="connsiteY14" fmla="*/ 693162 h 934459"/>
                  <a:gd name="connsiteX15" fmla="*/ 430678 w 755773"/>
                  <a:gd name="connsiteY15" fmla="*/ 693400 h 934459"/>
                  <a:gd name="connsiteX16" fmla="*/ 430745 w 755773"/>
                  <a:gd name="connsiteY16" fmla="*/ 694887 h 934459"/>
                  <a:gd name="connsiteX17" fmla="*/ 437666 w 755773"/>
                  <a:gd name="connsiteY17" fmla="*/ 712526 h 934459"/>
                  <a:gd name="connsiteX18" fmla="*/ 437492 w 755773"/>
                  <a:gd name="connsiteY18" fmla="*/ 732357 h 934459"/>
                  <a:gd name="connsiteX19" fmla="*/ 395518 w 755773"/>
                  <a:gd name="connsiteY19" fmla="*/ 779581 h 934459"/>
                  <a:gd name="connsiteX20" fmla="*/ 227509 w 755773"/>
                  <a:gd name="connsiteY20" fmla="*/ 932740 h 934459"/>
                  <a:gd name="connsiteX21" fmla="*/ 227784 w 755773"/>
                  <a:gd name="connsiteY21" fmla="*/ 934340 h 934459"/>
                  <a:gd name="connsiteX22" fmla="*/ 227653 w 755773"/>
                  <a:gd name="connsiteY22" fmla="*/ 934459 h 934459"/>
                  <a:gd name="connsiteX23" fmla="*/ 204214 w 755773"/>
                  <a:gd name="connsiteY23" fmla="*/ 908238 h 934459"/>
                  <a:gd name="connsiteX24" fmla="*/ 177560 w 755773"/>
                  <a:gd name="connsiteY24" fmla="*/ 895496 h 934459"/>
                  <a:gd name="connsiteX25" fmla="*/ 175723 w 755773"/>
                  <a:gd name="connsiteY25" fmla="*/ 896617 h 934459"/>
                  <a:gd name="connsiteX26" fmla="*/ 174786 w 755773"/>
                  <a:gd name="connsiteY26" fmla="*/ 896514 h 934459"/>
                  <a:gd name="connsiteX27" fmla="*/ 162604 w 755773"/>
                  <a:gd name="connsiteY27" fmla="*/ 903978 h 934459"/>
                  <a:gd name="connsiteX28" fmla="*/ 151497 w 755773"/>
                  <a:gd name="connsiteY28" fmla="*/ 903839 h 934459"/>
                  <a:gd name="connsiteX29" fmla="*/ 140235 w 755773"/>
                  <a:gd name="connsiteY29" fmla="*/ 900567 h 934459"/>
                  <a:gd name="connsiteX30" fmla="*/ 101482 w 755773"/>
                  <a:gd name="connsiteY30" fmla="*/ 893633 h 934459"/>
                  <a:gd name="connsiteX31" fmla="*/ 100917 w 755773"/>
                  <a:gd name="connsiteY31" fmla="*/ 894677 h 934459"/>
                  <a:gd name="connsiteX32" fmla="*/ 98724 w 755773"/>
                  <a:gd name="connsiteY32" fmla="*/ 894657 h 934459"/>
                  <a:gd name="connsiteX33" fmla="*/ 94921 w 755773"/>
                  <a:gd name="connsiteY33" fmla="*/ 909823 h 934459"/>
                  <a:gd name="connsiteX34" fmla="*/ 92941 w 755773"/>
                  <a:gd name="connsiteY34" fmla="*/ 916536 h 934459"/>
                  <a:gd name="connsiteX35" fmla="*/ 86034 w 755773"/>
                  <a:gd name="connsiteY35" fmla="*/ 918553 h 934459"/>
                  <a:gd name="connsiteX36" fmla="*/ 49960 w 755773"/>
                  <a:gd name="connsiteY36" fmla="*/ 854193 h 934459"/>
                  <a:gd name="connsiteX37" fmla="*/ 32860 w 755773"/>
                  <a:gd name="connsiteY37" fmla="*/ 788230 h 934459"/>
                  <a:gd name="connsiteX38" fmla="*/ 56567 w 755773"/>
                  <a:gd name="connsiteY38" fmla="*/ 760839 h 934459"/>
                  <a:gd name="connsiteX39" fmla="*/ 51924 w 755773"/>
                  <a:gd name="connsiteY39" fmla="*/ 719839 h 934459"/>
                  <a:gd name="connsiteX40" fmla="*/ 31744 w 755773"/>
                  <a:gd name="connsiteY40" fmla="*/ 680877 h 934459"/>
                  <a:gd name="connsiteX41" fmla="*/ 16252 w 755773"/>
                  <a:gd name="connsiteY41" fmla="*/ 652446 h 934459"/>
                  <a:gd name="connsiteX42" fmla="*/ 0 w 755773"/>
                  <a:gd name="connsiteY42" fmla="*/ 594197 h 934459"/>
                  <a:gd name="connsiteX43" fmla="*/ 1723 w 755773"/>
                  <a:gd name="connsiteY43" fmla="*/ 592692 h 934459"/>
                  <a:gd name="connsiteX44" fmla="*/ 6165 w 755773"/>
                  <a:gd name="connsiteY44" fmla="*/ 592030 h 934459"/>
                  <a:gd name="connsiteX45" fmla="*/ 6215 w 755773"/>
                  <a:gd name="connsiteY45" fmla="*/ 591986 h 934459"/>
                  <a:gd name="connsiteX46" fmla="*/ 10046 w 755773"/>
                  <a:gd name="connsiteY46" fmla="*/ 591423 h 934459"/>
                  <a:gd name="connsiteX47" fmla="*/ 190820 w 755773"/>
                  <a:gd name="connsiteY47" fmla="*/ 431672 h 934459"/>
                  <a:gd name="connsiteX48" fmla="*/ 224592 w 755773"/>
                  <a:gd name="connsiteY48" fmla="*/ 398754 h 934459"/>
                  <a:gd name="connsiteX49" fmla="*/ 234924 w 755773"/>
                  <a:gd name="connsiteY49" fmla="*/ 395170 h 934459"/>
                  <a:gd name="connsiteX50" fmla="*/ 246880 w 755773"/>
                  <a:gd name="connsiteY50" fmla="*/ 397182 h 934459"/>
                  <a:gd name="connsiteX51" fmla="*/ 248739 w 755773"/>
                  <a:gd name="connsiteY51" fmla="*/ 396170 h 934459"/>
                  <a:gd name="connsiteX52" fmla="*/ 250825 w 755773"/>
                  <a:gd name="connsiteY52" fmla="*/ 396523 h 934459"/>
                  <a:gd name="connsiteX53" fmla="*/ 259218 w 755773"/>
                  <a:gd name="connsiteY53" fmla="*/ 387682 h 934459"/>
                  <a:gd name="connsiteX54" fmla="*/ 271898 w 755773"/>
                  <a:gd name="connsiteY54" fmla="*/ 380054 h 934459"/>
                  <a:gd name="connsiteX55" fmla="*/ 277657 w 755773"/>
                  <a:gd name="connsiteY55" fmla="*/ 362718 h 934459"/>
                  <a:gd name="connsiteX56" fmla="*/ 290297 w 755773"/>
                  <a:gd name="connsiteY56" fmla="*/ 360326 h 934459"/>
                  <a:gd name="connsiteX57" fmla="*/ 307346 w 755773"/>
                  <a:gd name="connsiteY57" fmla="*/ 359377 h 934459"/>
                  <a:gd name="connsiteX58" fmla="*/ 308252 w 755773"/>
                  <a:gd name="connsiteY58" fmla="*/ 358858 h 934459"/>
                  <a:gd name="connsiteX59" fmla="*/ 311321 w 755773"/>
                  <a:gd name="connsiteY59" fmla="*/ 358687 h 934459"/>
                  <a:gd name="connsiteX60" fmla="*/ 340140 w 755773"/>
                  <a:gd name="connsiteY60" fmla="*/ 340224 h 934459"/>
                  <a:gd name="connsiteX61" fmla="*/ 353580 w 755773"/>
                  <a:gd name="connsiteY61" fmla="*/ 333756 h 934459"/>
                  <a:gd name="connsiteX62" fmla="*/ 366985 w 755773"/>
                  <a:gd name="connsiteY62" fmla="*/ 334671 h 934459"/>
                  <a:gd name="connsiteX63" fmla="*/ 393512 w 755773"/>
                  <a:gd name="connsiteY63" fmla="*/ 339299 h 934459"/>
                  <a:gd name="connsiteX64" fmla="*/ 393781 w 755773"/>
                  <a:gd name="connsiteY64" fmla="*/ 339097 h 934459"/>
                  <a:gd name="connsiteX65" fmla="*/ 397533 w 755773"/>
                  <a:gd name="connsiteY65" fmla="*/ 338621 h 934459"/>
                  <a:gd name="connsiteX66" fmla="*/ 408343 w 755773"/>
                  <a:gd name="connsiteY66" fmla="*/ 330489 h 934459"/>
                  <a:gd name="connsiteX67" fmla="*/ 417592 w 755773"/>
                  <a:gd name="connsiteY67" fmla="*/ 326418 h 934459"/>
                  <a:gd name="connsiteX68" fmla="*/ 433382 w 755773"/>
                  <a:gd name="connsiteY68" fmla="*/ 333514 h 934459"/>
                  <a:gd name="connsiteX69" fmla="*/ 450405 w 755773"/>
                  <a:gd name="connsiteY69" fmla="*/ 343404 h 934459"/>
                  <a:gd name="connsiteX70" fmla="*/ 453959 w 755773"/>
                  <a:gd name="connsiteY70" fmla="*/ 342448 h 934459"/>
                  <a:gd name="connsiteX71" fmla="*/ 454458 w 755773"/>
                  <a:gd name="connsiteY71" fmla="*/ 342738 h 934459"/>
                  <a:gd name="connsiteX72" fmla="*/ 484684 w 755773"/>
                  <a:gd name="connsiteY72" fmla="*/ 317601 h 934459"/>
                  <a:gd name="connsiteX73" fmla="*/ 485800 w 755773"/>
                  <a:gd name="connsiteY73" fmla="*/ 175272 h 934459"/>
                  <a:gd name="connsiteX74" fmla="*/ 486603 w 755773"/>
                  <a:gd name="connsiteY74" fmla="*/ 74507 h 934459"/>
                  <a:gd name="connsiteX75" fmla="*/ 486748 w 755773"/>
                  <a:gd name="connsiteY75" fmla="*/ 35967 h 934459"/>
                  <a:gd name="connsiteX76" fmla="*/ 482464 w 755773"/>
                  <a:gd name="connsiteY76" fmla="*/ 0 h 93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755773" h="934459">
                    <a:moveTo>
                      <a:pt x="482464" y="0"/>
                    </a:moveTo>
                    <a:lnTo>
                      <a:pt x="531606" y="51408"/>
                    </a:lnTo>
                    <a:cubicBezTo>
                      <a:pt x="565646" y="86962"/>
                      <a:pt x="599648" y="122516"/>
                      <a:pt x="633650" y="158071"/>
                    </a:cubicBezTo>
                    <a:cubicBezTo>
                      <a:pt x="660705" y="186332"/>
                      <a:pt x="687721" y="214594"/>
                      <a:pt x="714737" y="242856"/>
                    </a:cubicBezTo>
                    <a:cubicBezTo>
                      <a:pt x="719793" y="248114"/>
                      <a:pt x="722997" y="258035"/>
                      <a:pt x="731719" y="252527"/>
                    </a:cubicBezTo>
                    <a:lnTo>
                      <a:pt x="732249" y="251816"/>
                    </a:lnTo>
                    <a:lnTo>
                      <a:pt x="732740" y="251854"/>
                    </a:lnTo>
                    <a:cubicBezTo>
                      <a:pt x="732919" y="251767"/>
                      <a:pt x="733052" y="251594"/>
                      <a:pt x="733231" y="251464"/>
                    </a:cubicBezTo>
                    <a:lnTo>
                      <a:pt x="755773" y="271611"/>
                    </a:lnTo>
                    <a:lnTo>
                      <a:pt x="749455" y="396636"/>
                    </a:lnTo>
                    <a:cubicBezTo>
                      <a:pt x="744315" y="447203"/>
                      <a:pt x="736669" y="497029"/>
                      <a:pt x="726642" y="545988"/>
                    </a:cubicBezTo>
                    <a:lnTo>
                      <a:pt x="724802" y="553138"/>
                    </a:lnTo>
                    <a:lnTo>
                      <a:pt x="617045" y="599597"/>
                    </a:lnTo>
                    <a:cubicBezTo>
                      <a:pt x="556983" y="625503"/>
                      <a:pt x="496921" y="651409"/>
                      <a:pt x="436811" y="677315"/>
                    </a:cubicBezTo>
                    <a:cubicBezTo>
                      <a:pt x="429207" y="680568"/>
                      <a:pt x="428786" y="686675"/>
                      <a:pt x="430585" y="693162"/>
                    </a:cubicBezTo>
                    <a:lnTo>
                      <a:pt x="430678" y="693400"/>
                    </a:lnTo>
                    <a:lnTo>
                      <a:pt x="430745" y="694887"/>
                    </a:lnTo>
                    <a:lnTo>
                      <a:pt x="437666" y="712526"/>
                    </a:lnTo>
                    <a:lnTo>
                      <a:pt x="437492" y="732357"/>
                    </a:lnTo>
                    <a:cubicBezTo>
                      <a:pt x="431595" y="751545"/>
                      <a:pt x="410823" y="765630"/>
                      <a:pt x="395518" y="779581"/>
                    </a:cubicBezTo>
                    <a:cubicBezTo>
                      <a:pt x="339499" y="830634"/>
                      <a:pt x="283480" y="881687"/>
                      <a:pt x="227509" y="932740"/>
                    </a:cubicBezTo>
                    <a:lnTo>
                      <a:pt x="227784" y="934340"/>
                    </a:lnTo>
                    <a:lnTo>
                      <a:pt x="227653" y="934459"/>
                    </a:lnTo>
                    <a:cubicBezTo>
                      <a:pt x="223546" y="926138"/>
                      <a:pt x="215018" y="918857"/>
                      <a:pt x="204214" y="908238"/>
                    </a:cubicBezTo>
                    <a:cubicBezTo>
                      <a:pt x="195463" y="899614"/>
                      <a:pt x="191802" y="891639"/>
                      <a:pt x="177560" y="895496"/>
                    </a:cubicBezTo>
                    <a:lnTo>
                      <a:pt x="175723" y="896617"/>
                    </a:lnTo>
                    <a:lnTo>
                      <a:pt x="174786" y="896514"/>
                    </a:lnTo>
                    <a:lnTo>
                      <a:pt x="162604" y="903978"/>
                    </a:lnTo>
                    <a:lnTo>
                      <a:pt x="151497" y="903839"/>
                    </a:lnTo>
                    <a:cubicBezTo>
                      <a:pt x="147568" y="902962"/>
                      <a:pt x="143785" y="901564"/>
                      <a:pt x="140235" y="900567"/>
                    </a:cubicBezTo>
                    <a:cubicBezTo>
                      <a:pt x="131931" y="898270"/>
                      <a:pt x="110545" y="887219"/>
                      <a:pt x="101482" y="893633"/>
                    </a:cubicBezTo>
                    <a:lnTo>
                      <a:pt x="100917" y="894677"/>
                    </a:lnTo>
                    <a:lnTo>
                      <a:pt x="98724" y="894657"/>
                    </a:lnTo>
                    <a:cubicBezTo>
                      <a:pt x="93794" y="898130"/>
                      <a:pt x="95011" y="904429"/>
                      <a:pt x="94921" y="909823"/>
                    </a:cubicBezTo>
                    <a:lnTo>
                      <a:pt x="92941" y="916536"/>
                    </a:lnTo>
                    <a:lnTo>
                      <a:pt x="86034" y="918553"/>
                    </a:lnTo>
                    <a:cubicBezTo>
                      <a:pt x="58934" y="918163"/>
                      <a:pt x="60541" y="869319"/>
                      <a:pt x="49960" y="854193"/>
                    </a:cubicBezTo>
                    <a:cubicBezTo>
                      <a:pt x="35896" y="834127"/>
                      <a:pt x="11340" y="813064"/>
                      <a:pt x="32860" y="788230"/>
                    </a:cubicBezTo>
                    <a:cubicBezTo>
                      <a:pt x="42415" y="777178"/>
                      <a:pt x="54201" y="775878"/>
                      <a:pt x="56567" y="760839"/>
                    </a:cubicBezTo>
                    <a:cubicBezTo>
                      <a:pt x="58666" y="747317"/>
                      <a:pt x="52817" y="733232"/>
                      <a:pt x="51924" y="719839"/>
                    </a:cubicBezTo>
                    <a:cubicBezTo>
                      <a:pt x="50317" y="697129"/>
                      <a:pt x="50540" y="693965"/>
                      <a:pt x="31744" y="680877"/>
                    </a:cubicBezTo>
                    <a:cubicBezTo>
                      <a:pt x="20538" y="673119"/>
                      <a:pt x="19020" y="664494"/>
                      <a:pt x="16252" y="652446"/>
                    </a:cubicBezTo>
                    <a:cubicBezTo>
                      <a:pt x="12233" y="634936"/>
                      <a:pt x="7367" y="613483"/>
                      <a:pt x="0" y="594197"/>
                    </a:cubicBezTo>
                    <a:lnTo>
                      <a:pt x="1723" y="592692"/>
                    </a:lnTo>
                    <a:lnTo>
                      <a:pt x="6165" y="592030"/>
                    </a:lnTo>
                    <a:lnTo>
                      <a:pt x="6215" y="591986"/>
                    </a:lnTo>
                    <a:lnTo>
                      <a:pt x="10046" y="591423"/>
                    </a:lnTo>
                    <a:cubicBezTo>
                      <a:pt x="70274" y="538158"/>
                      <a:pt x="130547" y="484937"/>
                      <a:pt x="190820" y="431672"/>
                    </a:cubicBezTo>
                    <a:cubicBezTo>
                      <a:pt x="200464" y="423156"/>
                      <a:pt x="211991" y="406692"/>
                      <a:pt x="224592" y="398754"/>
                    </a:cubicBezTo>
                    <a:lnTo>
                      <a:pt x="234924" y="395170"/>
                    </a:lnTo>
                    <a:lnTo>
                      <a:pt x="246880" y="397182"/>
                    </a:lnTo>
                    <a:lnTo>
                      <a:pt x="248739" y="396170"/>
                    </a:lnTo>
                    <a:lnTo>
                      <a:pt x="250825" y="396523"/>
                    </a:lnTo>
                    <a:cubicBezTo>
                      <a:pt x="260156" y="394833"/>
                      <a:pt x="254843" y="392362"/>
                      <a:pt x="259218" y="387682"/>
                    </a:cubicBezTo>
                    <a:cubicBezTo>
                      <a:pt x="262969" y="383651"/>
                      <a:pt x="268951" y="383564"/>
                      <a:pt x="271898" y="380054"/>
                    </a:cubicBezTo>
                    <a:cubicBezTo>
                      <a:pt x="276139" y="375070"/>
                      <a:pt x="271943" y="367485"/>
                      <a:pt x="277657" y="362718"/>
                    </a:cubicBezTo>
                    <a:lnTo>
                      <a:pt x="290297" y="360326"/>
                    </a:lnTo>
                    <a:lnTo>
                      <a:pt x="307346" y="359377"/>
                    </a:lnTo>
                    <a:lnTo>
                      <a:pt x="308252" y="358858"/>
                    </a:lnTo>
                    <a:lnTo>
                      <a:pt x="311321" y="358687"/>
                    </a:lnTo>
                    <a:cubicBezTo>
                      <a:pt x="320563" y="355220"/>
                      <a:pt x="330184" y="346704"/>
                      <a:pt x="340140" y="340224"/>
                    </a:cubicBezTo>
                    <a:lnTo>
                      <a:pt x="353580" y="333756"/>
                    </a:lnTo>
                    <a:lnTo>
                      <a:pt x="366985" y="334671"/>
                    </a:lnTo>
                    <a:cubicBezTo>
                      <a:pt x="377382" y="339261"/>
                      <a:pt x="380422" y="345718"/>
                      <a:pt x="393512" y="339299"/>
                    </a:cubicBezTo>
                    <a:lnTo>
                      <a:pt x="393781" y="339097"/>
                    </a:lnTo>
                    <a:lnTo>
                      <a:pt x="397533" y="338621"/>
                    </a:lnTo>
                    <a:cubicBezTo>
                      <a:pt x="401529" y="336671"/>
                      <a:pt x="404833" y="333344"/>
                      <a:pt x="408343" y="330489"/>
                    </a:cubicBezTo>
                    <a:lnTo>
                      <a:pt x="417592" y="326418"/>
                    </a:lnTo>
                    <a:lnTo>
                      <a:pt x="433382" y="333514"/>
                    </a:lnTo>
                    <a:cubicBezTo>
                      <a:pt x="438694" y="337564"/>
                      <a:pt x="444007" y="341986"/>
                      <a:pt x="450405" y="343404"/>
                    </a:cubicBezTo>
                    <a:lnTo>
                      <a:pt x="453959" y="342448"/>
                    </a:lnTo>
                    <a:lnTo>
                      <a:pt x="454458" y="342738"/>
                    </a:lnTo>
                    <a:cubicBezTo>
                      <a:pt x="470397" y="346249"/>
                      <a:pt x="484773" y="332423"/>
                      <a:pt x="484684" y="317601"/>
                    </a:cubicBezTo>
                    <a:cubicBezTo>
                      <a:pt x="485041" y="270144"/>
                      <a:pt x="485443" y="222686"/>
                      <a:pt x="485800" y="175272"/>
                    </a:cubicBezTo>
                    <a:cubicBezTo>
                      <a:pt x="486068" y="141684"/>
                      <a:pt x="486335" y="108095"/>
                      <a:pt x="486603" y="74507"/>
                    </a:cubicBezTo>
                    <a:cubicBezTo>
                      <a:pt x="486693" y="61549"/>
                      <a:pt x="487106" y="48677"/>
                      <a:pt x="486748" y="35967"/>
                    </a:cubicBezTo>
                    <a:lnTo>
                      <a:pt x="48246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3" name="Freeform 52">
                <a:extLst>
                  <a:ext uri="{FF2B5EF4-FFF2-40B4-BE49-F238E27FC236}">
                    <a16:creationId xmlns:a16="http://schemas.microsoft.com/office/drawing/2014/main" id="{B0DF469C-20E7-4E45-9677-2224F04F879C}"/>
                  </a:ext>
                </a:extLst>
              </p:cNvPr>
              <p:cNvSpPr/>
              <p:nvPr/>
            </p:nvSpPr>
            <p:spPr>
              <a:xfrm>
                <a:off x="3507730" y="4825646"/>
                <a:ext cx="732232" cy="435959"/>
              </a:xfrm>
              <a:custGeom>
                <a:avLst/>
                <a:gdLst>
                  <a:gd name="connsiteX0" fmla="*/ 24241 w 732232"/>
                  <a:gd name="connsiteY0" fmla="*/ 325 h 435959"/>
                  <a:gd name="connsiteX1" fmla="*/ 73137 w 732232"/>
                  <a:gd name="connsiteY1" fmla="*/ 16468 h 435959"/>
                  <a:gd name="connsiteX2" fmla="*/ 137076 w 732232"/>
                  <a:gd name="connsiteY2" fmla="*/ 84689 h 435959"/>
                  <a:gd name="connsiteX3" fmla="*/ 227330 w 732232"/>
                  <a:gd name="connsiteY3" fmla="*/ 102580 h 435959"/>
                  <a:gd name="connsiteX4" fmla="*/ 285097 w 732232"/>
                  <a:gd name="connsiteY4" fmla="*/ 155106 h 435959"/>
                  <a:gd name="connsiteX5" fmla="*/ 312594 w 732232"/>
                  <a:gd name="connsiteY5" fmla="*/ 174084 h 435959"/>
                  <a:gd name="connsiteX6" fmla="*/ 349886 w 732232"/>
                  <a:gd name="connsiteY6" fmla="*/ 168257 h 435959"/>
                  <a:gd name="connsiteX7" fmla="*/ 439437 w 732232"/>
                  <a:gd name="connsiteY7" fmla="*/ 142363 h 435959"/>
                  <a:gd name="connsiteX8" fmla="*/ 547025 w 732232"/>
                  <a:gd name="connsiteY8" fmla="*/ 110933 h 435959"/>
                  <a:gd name="connsiteX9" fmla="*/ 596734 w 732232"/>
                  <a:gd name="connsiteY9" fmla="*/ 92673 h 435959"/>
                  <a:gd name="connsiteX10" fmla="*/ 644374 w 732232"/>
                  <a:gd name="connsiteY10" fmla="*/ 87933 h 435959"/>
                  <a:gd name="connsiteX11" fmla="*/ 660949 w 732232"/>
                  <a:gd name="connsiteY11" fmla="*/ 82195 h 435959"/>
                  <a:gd name="connsiteX12" fmla="*/ 662166 w 732232"/>
                  <a:gd name="connsiteY12" fmla="*/ 81153 h 435959"/>
                  <a:gd name="connsiteX13" fmla="*/ 662638 w 732232"/>
                  <a:gd name="connsiteY13" fmla="*/ 80975 h 435959"/>
                  <a:gd name="connsiteX14" fmla="*/ 665514 w 732232"/>
                  <a:gd name="connsiteY14" fmla="*/ 346275 h 435959"/>
                  <a:gd name="connsiteX15" fmla="*/ 712036 w 732232"/>
                  <a:gd name="connsiteY15" fmla="*/ 375870 h 435959"/>
                  <a:gd name="connsiteX16" fmla="*/ 730805 w 732232"/>
                  <a:gd name="connsiteY16" fmla="*/ 407069 h 435959"/>
                  <a:gd name="connsiteX17" fmla="*/ 729990 w 732232"/>
                  <a:gd name="connsiteY17" fmla="*/ 408252 h 435959"/>
                  <a:gd name="connsiteX18" fmla="*/ 719638 w 732232"/>
                  <a:gd name="connsiteY18" fmla="*/ 414044 h 435959"/>
                  <a:gd name="connsiteX19" fmla="*/ 717934 w 732232"/>
                  <a:gd name="connsiteY19" fmla="*/ 414430 h 435959"/>
                  <a:gd name="connsiteX20" fmla="*/ 701159 w 732232"/>
                  <a:gd name="connsiteY20" fmla="*/ 413061 h 435959"/>
                  <a:gd name="connsiteX21" fmla="*/ 390013 w 732232"/>
                  <a:gd name="connsiteY21" fmla="*/ 413061 h 435959"/>
                  <a:gd name="connsiteX22" fmla="*/ 373282 w 732232"/>
                  <a:gd name="connsiteY22" fmla="*/ 420224 h 435959"/>
                  <a:gd name="connsiteX23" fmla="*/ 372726 w 732232"/>
                  <a:gd name="connsiteY23" fmla="*/ 420669 h 435959"/>
                  <a:gd name="connsiteX24" fmla="*/ 372155 w 732232"/>
                  <a:gd name="connsiteY24" fmla="*/ 420913 h 435959"/>
                  <a:gd name="connsiteX25" fmla="*/ 358615 w 732232"/>
                  <a:gd name="connsiteY25" fmla="*/ 431758 h 435959"/>
                  <a:gd name="connsiteX26" fmla="*/ 338168 w 732232"/>
                  <a:gd name="connsiteY26" fmla="*/ 435893 h 435959"/>
                  <a:gd name="connsiteX27" fmla="*/ 316428 w 732232"/>
                  <a:gd name="connsiteY27" fmla="*/ 433905 h 435959"/>
                  <a:gd name="connsiteX28" fmla="*/ 295457 w 732232"/>
                  <a:gd name="connsiteY28" fmla="*/ 424713 h 435959"/>
                  <a:gd name="connsiteX29" fmla="*/ 267531 w 732232"/>
                  <a:gd name="connsiteY29" fmla="*/ 423290 h 435959"/>
                  <a:gd name="connsiteX30" fmla="*/ 246905 w 732232"/>
                  <a:gd name="connsiteY30" fmla="*/ 421256 h 435959"/>
                  <a:gd name="connsiteX31" fmla="*/ 221459 w 732232"/>
                  <a:gd name="connsiteY31" fmla="*/ 398459 h 435959"/>
                  <a:gd name="connsiteX32" fmla="*/ 185372 w 732232"/>
                  <a:gd name="connsiteY32" fmla="*/ 391158 h 435959"/>
                  <a:gd name="connsiteX33" fmla="*/ 177245 w 732232"/>
                  <a:gd name="connsiteY33" fmla="*/ 353435 h 435959"/>
                  <a:gd name="connsiteX34" fmla="*/ 157377 w 732232"/>
                  <a:gd name="connsiteY34" fmla="*/ 316667 h 435959"/>
                  <a:gd name="connsiteX35" fmla="*/ 155931 w 732232"/>
                  <a:gd name="connsiteY35" fmla="*/ 271703 h 435959"/>
                  <a:gd name="connsiteX36" fmla="*/ 143947 w 732232"/>
                  <a:gd name="connsiteY36" fmla="*/ 233410 h 435959"/>
                  <a:gd name="connsiteX37" fmla="*/ 119947 w 732232"/>
                  <a:gd name="connsiteY37" fmla="*/ 195748 h 435959"/>
                  <a:gd name="connsiteX38" fmla="*/ 80176 w 732232"/>
                  <a:gd name="connsiteY38" fmla="*/ 184868 h 435959"/>
                  <a:gd name="connsiteX39" fmla="*/ 66299 w 732232"/>
                  <a:gd name="connsiteY39" fmla="*/ 158919 h 435959"/>
                  <a:gd name="connsiteX40" fmla="*/ 70741 w 732232"/>
                  <a:gd name="connsiteY40" fmla="*/ 140982 h 435959"/>
                  <a:gd name="connsiteX41" fmla="*/ 52456 w 732232"/>
                  <a:gd name="connsiteY41" fmla="*/ 132258 h 435959"/>
                  <a:gd name="connsiteX42" fmla="*/ 7072 w 732232"/>
                  <a:gd name="connsiteY42" fmla="*/ 113549 h 435959"/>
                  <a:gd name="connsiteX43" fmla="*/ 5901 w 732232"/>
                  <a:gd name="connsiteY43" fmla="*/ 81845 h 435959"/>
                  <a:gd name="connsiteX44" fmla="*/ 8855 w 732232"/>
                  <a:gd name="connsiteY44" fmla="*/ 23585 h 435959"/>
                  <a:gd name="connsiteX45" fmla="*/ 1336 w 732232"/>
                  <a:gd name="connsiteY45" fmla="*/ 7028 h 435959"/>
                  <a:gd name="connsiteX46" fmla="*/ 24241 w 732232"/>
                  <a:gd name="connsiteY46" fmla="*/ 325 h 435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32232" h="435959">
                    <a:moveTo>
                      <a:pt x="24241" y="325"/>
                    </a:moveTo>
                    <a:cubicBezTo>
                      <a:pt x="43570" y="-1617"/>
                      <a:pt x="58908" y="5337"/>
                      <a:pt x="73137" y="16468"/>
                    </a:cubicBezTo>
                    <a:cubicBezTo>
                      <a:pt x="99341" y="37000"/>
                      <a:pt x="107953" y="68275"/>
                      <a:pt x="137076" y="84689"/>
                    </a:cubicBezTo>
                    <a:cubicBezTo>
                      <a:pt x="166274" y="101142"/>
                      <a:pt x="194437" y="97996"/>
                      <a:pt x="227330" y="102580"/>
                    </a:cubicBezTo>
                    <a:cubicBezTo>
                      <a:pt x="259706" y="107106"/>
                      <a:pt x="271200" y="130339"/>
                      <a:pt x="285097" y="155106"/>
                    </a:cubicBezTo>
                    <a:cubicBezTo>
                      <a:pt x="293117" y="169403"/>
                      <a:pt x="295556" y="173521"/>
                      <a:pt x="312594" y="174084"/>
                    </a:cubicBezTo>
                    <a:cubicBezTo>
                      <a:pt x="326454" y="174550"/>
                      <a:pt x="336876" y="170860"/>
                      <a:pt x="349886" y="168257"/>
                    </a:cubicBezTo>
                    <a:cubicBezTo>
                      <a:pt x="380155" y="162196"/>
                      <a:pt x="409574" y="151551"/>
                      <a:pt x="439437" y="142363"/>
                    </a:cubicBezTo>
                    <a:cubicBezTo>
                      <a:pt x="474659" y="131524"/>
                      <a:pt x="511877" y="123831"/>
                      <a:pt x="547025" y="110933"/>
                    </a:cubicBezTo>
                    <a:cubicBezTo>
                      <a:pt x="563841" y="104775"/>
                      <a:pt x="579253" y="96752"/>
                      <a:pt x="596734" y="92673"/>
                    </a:cubicBezTo>
                    <a:cubicBezTo>
                      <a:pt x="612737" y="88963"/>
                      <a:pt x="628075" y="90012"/>
                      <a:pt x="644374" y="87933"/>
                    </a:cubicBezTo>
                    <a:cubicBezTo>
                      <a:pt x="649853" y="87239"/>
                      <a:pt x="655702" y="85164"/>
                      <a:pt x="660949" y="82195"/>
                    </a:cubicBezTo>
                    <a:lnTo>
                      <a:pt x="662166" y="81153"/>
                    </a:lnTo>
                    <a:lnTo>
                      <a:pt x="662638" y="80975"/>
                    </a:lnTo>
                    <a:lnTo>
                      <a:pt x="665514" y="346275"/>
                    </a:lnTo>
                    <a:cubicBezTo>
                      <a:pt x="662501" y="374900"/>
                      <a:pt x="692841" y="368928"/>
                      <a:pt x="712036" y="375870"/>
                    </a:cubicBezTo>
                    <a:cubicBezTo>
                      <a:pt x="722887" y="379788"/>
                      <a:pt x="736750" y="395276"/>
                      <a:pt x="730805" y="407069"/>
                    </a:cubicBezTo>
                    <a:lnTo>
                      <a:pt x="729990" y="408252"/>
                    </a:lnTo>
                    <a:lnTo>
                      <a:pt x="719638" y="414044"/>
                    </a:lnTo>
                    <a:lnTo>
                      <a:pt x="717934" y="414430"/>
                    </a:lnTo>
                    <a:lnTo>
                      <a:pt x="701159" y="413061"/>
                    </a:lnTo>
                    <a:cubicBezTo>
                      <a:pt x="598132" y="407509"/>
                      <a:pt x="493212" y="413061"/>
                      <a:pt x="390013" y="413061"/>
                    </a:cubicBezTo>
                    <a:cubicBezTo>
                      <a:pt x="382593" y="413081"/>
                      <a:pt x="377737" y="416294"/>
                      <a:pt x="373282" y="420224"/>
                    </a:cubicBezTo>
                    <a:lnTo>
                      <a:pt x="372726" y="420669"/>
                    </a:lnTo>
                    <a:lnTo>
                      <a:pt x="372155" y="420913"/>
                    </a:lnTo>
                    <a:lnTo>
                      <a:pt x="358615" y="431758"/>
                    </a:lnTo>
                    <a:lnTo>
                      <a:pt x="338168" y="435893"/>
                    </a:lnTo>
                    <a:cubicBezTo>
                      <a:pt x="330287" y="436193"/>
                      <a:pt x="322247" y="435461"/>
                      <a:pt x="316428" y="433905"/>
                    </a:cubicBezTo>
                    <a:cubicBezTo>
                      <a:pt x="308783" y="431872"/>
                      <a:pt x="303446" y="426218"/>
                      <a:pt x="295457" y="424713"/>
                    </a:cubicBezTo>
                    <a:cubicBezTo>
                      <a:pt x="286883" y="423107"/>
                      <a:pt x="276312" y="423656"/>
                      <a:pt x="267531" y="423290"/>
                    </a:cubicBezTo>
                    <a:cubicBezTo>
                      <a:pt x="260576" y="423005"/>
                      <a:pt x="253723" y="422131"/>
                      <a:pt x="246905" y="421256"/>
                    </a:cubicBezTo>
                    <a:cubicBezTo>
                      <a:pt x="243875" y="409766"/>
                      <a:pt x="233579" y="400228"/>
                      <a:pt x="221459" y="398459"/>
                    </a:cubicBezTo>
                    <a:cubicBezTo>
                      <a:pt x="206480" y="396304"/>
                      <a:pt x="193705" y="405801"/>
                      <a:pt x="185372" y="391158"/>
                    </a:cubicBezTo>
                    <a:cubicBezTo>
                      <a:pt x="179793" y="381356"/>
                      <a:pt x="181584" y="364803"/>
                      <a:pt x="177245" y="353435"/>
                    </a:cubicBezTo>
                    <a:cubicBezTo>
                      <a:pt x="172424" y="340826"/>
                      <a:pt x="162335" y="329031"/>
                      <a:pt x="157377" y="316667"/>
                    </a:cubicBezTo>
                    <a:cubicBezTo>
                      <a:pt x="151661" y="302289"/>
                      <a:pt x="155999" y="286935"/>
                      <a:pt x="155931" y="271703"/>
                    </a:cubicBezTo>
                    <a:cubicBezTo>
                      <a:pt x="155862" y="257468"/>
                      <a:pt x="151213" y="245734"/>
                      <a:pt x="143947" y="233410"/>
                    </a:cubicBezTo>
                    <a:cubicBezTo>
                      <a:pt x="137371" y="222225"/>
                      <a:pt x="129279" y="204675"/>
                      <a:pt x="119947" y="195748"/>
                    </a:cubicBezTo>
                    <a:cubicBezTo>
                      <a:pt x="108412" y="184705"/>
                      <a:pt x="93329" y="191030"/>
                      <a:pt x="80176" y="184868"/>
                    </a:cubicBezTo>
                    <a:cubicBezTo>
                      <a:pt x="86615" y="166118"/>
                      <a:pt x="67883" y="172503"/>
                      <a:pt x="66299" y="158919"/>
                    </a:cubicBezTo>
                    <a:cubicBezTo>
                      <a:pt x="65507" y="152391"/>
                      <a:pt x="75630" y="149300"/>
                      <a:pt x="70741" y="140982"/>
                    </a:cubicBezTo>
                    <a:cubicBezTo>
                      <a:pt x="68365" y="136956"/>
                      <a:pt x="56864" y="134088"/>
                      <a:pt x="52456" y="132258"/>
                    </a:cubicBezTo>
                    <a:cubicBezTo>
                      <a:pt x="38269" y="126360"/>
                      <a:pt x="18298" y="124286"/>
                      <a:pt x="7072" y="113549"/>
                    </a:cubicBezTo>
                    <a:cubicBezTo>
                      <a:pt x="-5083" y="101916"/>
                      <a:pt x="1115" y="94758"/>
                      <a:pt x="5901" y="81845"/>
                    </a:cubicBezTo>
                    <a:cubicBezTo>
                      <a:pt x="10653" y="69048"/>
                      <a:pt x="13643" y="43153"/>
                      <a:pt x="8855" y="23585"/>
                    </a:cubicBezTo>
                    <a:lnTo>
                      <a:pt x="1336" y="7028"/>
                    </a:lnTo>
                    <a:lnTo>
                      <a:pt x="24241" y="325"/>
                    </a:lnTo>
                    <a:close/>
                  </a:path>
                </a:pathLst>
              </a:custGeom>
              <a:solidFill>
                <a:schemeClr val="tx2"/>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4" name="Freeform 53">
                <a:extLst>
                  <a:ext uri="{FF2B5EF4-FFF2-40B4-BE49-F238E27FC236}">
                    <a16:creationId xmlns:a16="http://schemas.microsoft.com/office/drawing/2014/main" id="{F92A5BCB-166B-2148-85F2-F854EA5939AB}"/>
                  </a:ext>
                </a:extLst>
              </p:cNvPr>
              <p:cNvSpPr/>
              <p:nvPr/>
            </p:nvSpPr>
            <p:spPr>
              <a:xfrm>
                <a:off x="3342747" y="4907495"/>
                <a:ext cx="127978" cy="105175"/>
              </a:xfrm>
              <a:custGeom>
                <a:avLst/>
                <a:gdLst>
                  <a:gd name="connsiteX0" fmla="*/ 80392 w 127978"/>
                  <a:gd name="connsiteY0" fmla="*/ 537 h 105175"/>
                  <a:gd name="connsiteX1" fmla="*/ 114649 w 127978"/>
                  <a:gd name="connsiteY1" fmla="*/ 19414 h 105175"/>
                  <a:gd name="connsiteX2" fmla="*/ 123865 w 127978"/>
                  <a:gd name="connsiteY2" fmla="*/ 98745 h 105175"/>
                  <a:gd name="connsiteX3" fmla="*/ 121726 w 127978"/>
                  <a:gd name="connsiteY3" fmla="*/ 105175 h 105175"/>
                  <a:gd name="connsiteX4" fmla="*/ 4734 w 127978"/>
                  <a:gd name="connsiteY4" fmla="*/ 105175 h 105175"/>
                  <a:gd name="connsiteX5" fmla="*/ 3109 w 127978"/>
                  <a:gd name="connsiteY5" fmla="*/ 96519 h 105175"/>
                  <a:gd name="connsiteX6" fmla="*/ 39143 w 127978"/>
                  <a:gd name="connsiteY6" fmla="*/ 4863 h 105175"/>
                  <a:gd name="connsiteX7" fmla="*/ 80392 w 127978"/>
                  <a:gd name="connsiteY7" fmla="*/ 537 h 1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978" h="105175">
                    <a:moveTo>
                      <a:pt x="80392" y="537"/>
                    </a:moveTo>
                    <a:cubicBezTo>
                      <a:pt x="94333" y="2162"/>
                      <a:pt x="107109" y="7654"/>
                      <a:pt x="114649" y="19414"/>
                    </a:cubicBezTo>
                    <a:cubicBezTo>
                      <a:pt x="129015" y="41822"/>
                      <a:pt x="131236" y="75608"/>
                      <a:pt x="123865" y="98745"/>
                    </a:cubicBezTo>
                    <a:cubicBezTo>
                      <a:pt x="123187" y="100859"/>
                      <a:pt x="122466" y="103010"/>
                      <a:pt x="121726" y="105175"/>
                    </a:cubicBezTo>
                    <a:lnTo>
                      <a:pt x="4734" y="105175"/>
                    </a:lnTo>
                    <a:cubicBezTo>
                      <a:pt x="4125" y="102306"/>
                      <a:pt x="3567" y="99423"/>
                      <a:pt x="3109" y="96519"/>
                    </a:cubicBezTo>
                    <a:cubicBezTo>
                      <a:pt x="-2970" y="58513"/>
                      <a:pt x="-4269" y="18063"/>
                      <a:pt x="39143" y="4863"/>
                    </a:cubicBezTo>
                    <a:cubicBezTo>
                      <a:pt x="51345" y="1155"/>
                      <a:pt x="66451" y="-1088"/>
                      <a:pt x="80392" y="537"/>
                    </a:cubicBezTo>
                    <a:close/>
                  </a:path>
                </a:pathLst>
              </a:custGeom>
              <a:solidFill>
                <a:schemeClr val="tx2"/>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5" name="Freeform 54">
                <a:extLst>
                  <a:ext uri="{FF2B5EF4-FFF2-40B4-BE49-F238E27FC236}">
                    <a16:creationId xmlns:a16="http://schemas.microsoft.com/office/drawing/2014/main" id="{7A2CC8DA-AC89-3D44-AE8F-3DB15B45CD17}"/>
                  </a:ext>
                </a:extLst>
              </p:cNvPr>
              <p:cNvSpPr/>
              <p:nvPr/>
            </p:nvSpPr>
            <p:spPr>
              <a:xfrm>
                <a:off x="3340190" y="5017845"/>
                <a:ext cx="370004" cy="588309"/>
              </a:xfrm>
              <a:custGeom>
                <a:avLst/>
                <a:gdLst>
                  <a:gd name="connsiteX0" fmla="*/ 10495 w 370004"/>
                  <a:gd name="connsiteY0" fmla="*/ 0 h 588309"/>
                  <a:gd name="connsiteX1" fmla="*/ 127710 w 370004"/>
                  <a:gd name="connsiteY1" fmla="*/ 0 h 588309"/>
                  <a:gd name="connsiteX2" fmla="*/ 124037 w 370004"/>
                  <a:gd name="connsiteY2" fmla="*/ 69862 h 588309"/>
                  <a:gd name="connsiteX3" fmla="*/ 166012 w 370004"/>
                  <a:gd name="connsiteY3" fmla="*/ 104670 h 588309"/>
                  <a:gd name="connsiteX4" fmla="*/ 204727 w 370004"/>
                  <a:gd name="connsiteY4" fmla="*/ 121094 h 588309"/>
                  <a:gd name="connsiteX5" fmla="*/ 239269 w 370004"/>
                  <a:gd name="connsiteY5" fmla="*/ 128284 h 588309"/>
                  <a:gd name="connsiteX6" fmla="*/ 260567 w 370004"/>
                  <a:gd name="connsiteY6" fmla="*/ 160178 h 588309"/>
                  <a:gd name="connsiteX7" fmla="*/ 295919 w 370004"/>
                  <a:gd name="connsiteY7" fmla="*/ 167777 h 588309"/>
                  <a:gd name="connsiteX8" fmla="*/ 307094 w 370004"/>
                  <a:gd name="connsiteY8" fmla="*/ 196975 h 588309"/>
                  <a:gd name="connsiteX9" fmla="*/ 340049 w 370004"/>
                  <a:gd name="connsiteY9" fmla="*/ 195150 h 588309"/>
                  <a:gd name="connsiteX10" fmla="*/ 353587 w 370004"/>
                  <a:gd name="connsiteY10" fmla="*/ 227643 h 588309"/>
                  <a:gd name="connsiteX11" fmla="*/ 370004 w 370004"/>
                  <a:gd name="connsiteY11" fmla="*/ 241071 h 588309"/>
                  <a:gd name="connsiteX12" fmla="*/ 353276 w 370004"/>
                  <a:gd name="connsiteY12" fmla="*/ 249214 h 588309"/>
                  <a:gd name="connsiteX13" fmla="*/ 308646 w 370004"/>
                  <a:gd name="connsiteY13" fmla="*/ 250985 h 588309"/>
                  <a:gd name="connsiteX14" fmla="*/ 307655 w 370004"/>
                  <a:gd name="connsiteY14" fmla="*/ 252112 h 588309"/>
                  <a:gd name="connsiteX15" fmla="*/ 306638 w 370004"/>
                  <a:gd name="connsiteY15" fmla="*/ 252196 h 588309"/>
                  <a:gd name="connsiteX16" fmla="*/ 297704 w 370004"/>
                  <a:gd name="connsiteY16" fmla="*/ 390627 h 588309"/>
                  <a:gd name="connsiteX17" fmla="*/ 309898 w 370004"/>
                  <a:gd name="connsiteY17" fmla="*/ 409822 h 588309"/>
                  <a:gd name="connsiteX18" fmla="*/ 310410 w 370004"/>
                  <a:gd name="connsiteY18" fmla="*/ 410255 h 588309"/>
                  <a:gd name="connsiteX19" fmla="*/ 313488 w 370004"/>
                  <a:gd name="connsiteY19" fmla="*/ 416265 h 588309"/>
                  <a:gd name="connsiteX20" fmla="*/ 317081 w 370004"/>
                  <a:gd name="connsiteY20" fmla="*/ 429348 h 588309"/>
                  <a:gd name="connsiteX21" fmla="*/ 315643 w 370004"/>
                  <a:gd name="connsiteY21" fmla="*/ 450926 h 588309"/>
                  <a:gd name="connsiteX22" fmla="*/ 314050 w 370004"/>
                  <a:gd name="connsiteY22" fmla="*/ 461708 h 588309"/>
                  <a:gd name="connsiteX23" fmla="*/ 247515 w 370004"/>
                  <a:gd name="connsiteY23" fmla="*/ 485330 h 588309"/>
                  <a:gd name="connsiteX24" fmla="*/ 220948 w 370004"/>
                  <a:gd name="connsiteY24" fmla="*/ 509932 h 588309"/>
                  <a:gd name="connsiteX25" fmla="*/ 191808 w 370004"/>
                  <a:gd name="connsiteY25" fmla="*/ 528908 h 588309"/>
                  <a:gd name="connsiteX26" fmla="*/ 205091 w 370004"/>
                  <a:gd name="connsiteY26" fmla="*/ 575975 h 588309"/>
                  <a:gd name="connsiteX27" fmla="*/ 203080 w 370004"/>
                  <a:gd name="connsiteY27" fmla="*/ 587227 h 588309"/>
                  <a:gd name="connsiteX28" fmla="*/ 203989 w 370004"/>
                  <a:gd name="connsiteY28" fmla="*/ 588000 h 588309"/>
                  <a:gd name="connsiteX29" fmla="*/ 203934 w 370004"/>
                  <a:gd name="connsiteY29" fmla="*/ 588309 h 588309"/>
                  <a:gd name="connsiteX30" fmla="*/ 198484 w 370004"/>
                  <a:gd name="connsiteY30" fmla="*/ 585776 h 588309"/>
                  <a:gd name="connsiteX31" fmla="*/ 136522 w 370004"/>
                  <a:gd name="connsiteY31" fmla="*/ 534354 h 588309"/>
                  <a:gd name="connsiteX32" fmla="*/ 94600 w 370004"/>
                  <a:gd name="connsiteY32" fmla="*/ 459889 h 588309"/>
                  <a:gd name="connsiteX33" fmla="*/ 97704 w 370004"/>
                  <a:gd name="connsiteY33" fmla="*/ 385724 h 588309"/>
                  <a:gd name="connsiteX34" fmla="*/ 87184 w 370004"/>
                  <a:gd name="connsiteY34" fmla="*/ 310578 h 588309"/>
                  <a:gd name="connsiteX35" fmla="*/ 62593 w 370004"/>
                  <a:gd name="connsiteY35" fmla="*/ 238265 h 588309"/>
                  <a:gd name="connsiteX36" fmla="*/ 26395 w 370004"/>
                  <a:gd name="connsiteY36" fmla="*/ 203974 h 588309"/>
                  <a:gd name="connsiteX37" fmla="*/ 2666 w 370004"/>
                  <a:gd name="connsiteY37" fmla="*/ 179380 h 588309"/>
                  <a:gd name="connsiteX38" fmla="*/ 8012 w 370004"/>
                  <a:gd name="connsiteY38" fmla="*/ 102273 h 588309"/>
                  <a:gd name="connsiteX39" fmla="*/ 23291 w 370004"/>
                  <a:gd name="connsiteY39" fmla="*/ 58205 h 588309"/>
                  <a:gd name="connsiteX40" fmla="*/ 10495 w 370004"/>
                  <a:gd name="connsiteY40" fmla="*/ 0 h 58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70004" h="588309">
                    <a:moveTo>
                      <a:pt x="10495" y="0"/>
                    </a:moveTo>
                    <a:lnTo>
                      <a:pt x="127710" y="0"/>
                    </a:lnTo>
                    <a:cubicBezTo>
                      <a:pt x="119984" y="22661"/>
                      <a:pt x="109982" y="47746"/>
                      <a:pt x="124037" y="69862"/>
                    </a:cubicBezTo>
                    <a:cubicBezTo>
                      <a:pt x="132660" y="83426"/>
                      <a:pt x="153440" y="94320"/>
                      <a:pt x="166012" y="104670"/>
                    </a:cubicBezTo>
                    <a:cubicBezTo>
                      <a:pt x="179187" y="115510"/>
                      <a:pt x="186154" y="121775"/>
                      <a:pt x="204727" y="121094"/>
                    </a:cubicBezTo>
                    <a:cubicBezTo>
                      <a:pt x="219420" y="120549"/>
                      <a:pt x="230440" y="115347"/>
                      <a:pt x="239269" y="128284"/>
                    </a:cubicBezTo>
                    <a:cubicBezTo>
                      <a:pt x="247426" y="140241"/>
                      <a:pt x="243442" y="153696"/>
                      <a:pt x="260567" y="160178"/>
                    </a:cubicBezTo>
                    <a:cubicBezTo>
                      <a:pt x="272431" y="164645"/>
                      <a:pt x="288176" y="156801"/>
                      <a:pt x="295919" y="167777"/>
                    </a:cubicBezTo>
                    <a:cubicBezTo>
                      <a:pt x="302835" y="177528"/>
                      <a:pt x="291263" y="193870"/>
                      <a:pt x="307094" y="196975"/>
                    </a:cubicBezTo>
                    <a:cubicBezTo>
                      <a:pt x="319890" y="199480"/>
                      <a:pt x="326633" y="184391"/>
                      <a:pt x="340049" y="195150"/>
                    </a:cubicBezTo>
                    <a:cubicBezTo>
                      <a:pt x="349051" y="202368"/>
                      <a:pt x="348603" y="218274"/>
                      <a:pt x="353587" y="227643"/>
                    </a:cubicBezTo>
                    <a:cubicBezTo>
                      <a:pt x="356277" y="232682"/>
                      <a:pt x="362485" y="237421"/>
                      <a:pt x="370004" y="241071"/>
                    </a:cubicBezTo>
                    <a:cubicBezTo>
                      <a:pt x="365521" y="244857"/>
                      <a:pt x="360399" y="247825"/>
                      <a:pt x="353276" y="249214"/>
                    </a:cubicBezTo>
                    <a:cubicBezTo>
                      <a:pt x="339360" y="251965"/>
                      <a:pt x="321839" y="245674"/>
                      <a:pt x="308646" y="250985"/>
                    </a:cubicBezTo>
                    <a:lnTo>
                      <a:pt x="307655" y="252112"/>
                    </a:lnTo>
                    <a:lnTo>
                      <a:pt x="306638" y="252196"/>
                    </a:lnTo>
                    <a:cubicBezTo>
                      <a:pt x="264945" y="268941"/>
                      <a:pt x="276737" y="364082"/>
                      <a:pt x="297704" y="390627"/>
                    </a:cubicBezTo>
                    <a:cubicBezTo>
                      <a:pt x="302614" y="396846"/>
                      <a:pt x="306719" y="403227"/>
                      <a:pt x="309898" y="409822"/>
                    </a:cubicBezTo>
                    <a:lnTo>
                      <a:pt x="310410" y="410255"/>
                    </a:lnTo>
                    <a:lnTo>
                      <a:pt x="313488" y="416265"/>
                    </a:lnTo>
                    <a:lnTo>
                      <a:pt x="317081" y="429348"/>
                    </a:lnTo>
                    <a:lnTo>
                      <a:pt x="315643" y="450926"/>
                    </a:lnTo>
                    <a:lnTo>
                      <a:pt x="314050" y="461708"/>
                    </a:lnTo>
                    <a:cubicBezTo>
                      <a:pt x="304642" y="487976"/>
                      <a:pt x="272307" y="484075"/>
                      <a:pt x="247515" y="485330"/>
                    </a:cubicBezTo>
                    <a:cubicBezTo>
                      <a:pt x="246332" y="507462"/>
                      <a:pt x="244675" y="509951"/>
                      <a:pt x="220948" y="509932"/>
                    </a:cubicBezTo>
                    <a:cubicBezTo>
                      <a:pt x="201571" y="509912"/>
                      <a:pt x="184974" y="505972"/>
                      <a:pt x="191808" y="528908"/>
                    </a:cubicBezTo>
                    <a:cubicBezTo>
                      <a:pt x="197074" y="546570"/>
                      <a:pt x="207281" y="555705"/>
                      <a:pt x="205091" y="575975"/>
                    </a:cubicBezTo>
                    <a:cubicBezTo>
                      <a:pt x="204677" y="579758"/>
                      <a:pt x="203938" y="583502"/>
                      <a:pt x="203080" y="587227"/>
                    </a:cubicBezTo>
                    <a:lnTo>
                      <a:pt x="203989" y="588000"/>
                    </a:lnTo>
                    <a:lnTo>
                      <a:pt x="203934" y="588309"/>
                    </a:lnTo>
                    <a:cubicBezTo>
                      <a:pt x="202192" y="587356"/>
                      <a:pt x="200381" y="586512"/>
                      <a:pt x="198484" y="585776"/>
                    </a:cubicBezTo>
                    <a:cubicBezTo>
                      <a:pt x="171409" y="575399"/>
                      <a:pt x="157734" y="554481"/>
                      <a:pt x="136522" y="534354"/>
                    </a:cubicBezTo>
                    <a:cubicBezTo>
                      <a:pt x="111810" y="510957"/>
                      <a:pt x="92772" y="494670"/>
                      <a:pt x="94600" y="459889"/>
                    </a:cubicBezTo>
                    <a:cubicBezTo>
                      <a:pt x="95893" y="435512"/>
                      <a:pt x="97704" y="410863"/>
                      <a:pt x="97704" y="385724"/>
                    </a:cubicBezTo>
                    <a:cubicBezTo>
                      <a:pt x="97704" y="359468"/>
                      <a:pt x="93358" y="334873"/>
                      <a:pt x="87184" y="310578"/>
                    </a:cubicBezTo>
                    <a:cubicBezTo>
                      <a:pt x="80631" y="284785"/>
                      <a:pt x="66387" y="264467"/>
                      <a:pt x="62593" y="238265"/>
                    </a:cubicBezTo>
                    <a:cubicBezTo>
                      <a:pt x="59161" y="214515"/>
                      <a:pt x="50452" y="204247"/>
                      <a:pt x="26395" y="203974"/>
                    </a:cubicBezTo>
                    <a:cubicBezTo>
                      <a:pt x="8667" y="203784"/>
                      <a:pt x="5873" y="195477"/>
                      <a:pt x="2666" y="179380"/>
                    </a:cubicBezTo>
                    <a:cubicBezTo>
                      <a:pt x="-818" y="161812"/>
                      <a:pt x="-2490" y="117253"/>
                      <a:pt x="8012" y="102273"/>
                    </a:cubicBezTo>
                    <a:cubicBezTo>
                      <a:pt x="31793" y="97044"/>
                      <a:pt x="25257" y="77815"/>
                      <a:pt x="23291" y="58205"/>
                    </a:cubicBezTo>
                    <a:cubicBezTo>
                      <a:pt x="21273" y="37995"/>
                      <a:pt x="14565" y="19284"/>
                      <a:pt x="10495" y="0"/>
                    </a:cubicBezTo>
                    <a:close/>
                  </a:path>
                </a:pathLst>
              </a:custGeom>
              <a:solidFill>
                <a:schemeClr val="tx2"/>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6" name="Freeform 55">
                <a:extLst>
                  <a:ext uri="{FF2B5EF4-FFF2-40B4-BE49-F238E27FC236}">
                    <a16:creationId xmlns:a16="http://schemas.microsoft.com/office/drawing/2014/main" id="{36F677E1-0351-9E4E-8798-EA611ECA7C57}"/>
                  </a:ext>
                </a:extLst>
              </p:cNvPr>
              <p:cNvSpPr/>
              <p:nvPr/>
            </p:nvSpPr>
            <p:spPr>
              <a:xfrm>
                <a:off x="4452486" y="5197869"/>
                <a:ext cx="510206" cy="696613"/>
              </a:xfrm>
              <a:custGeom>
                <a:avLst/>
                <a:gdLst>
                  <a:gd name="connsiteX0" fmla="*/ 510206 w 510206"/>
                  <a:gd name="connsiteY0" fmla="*/ 0 h 696613"/>
                  <a:gd name="connsiteX1" fmla="*/ 475481 w 510206"/>
                  <a:gd name="connsiteY1" fmla="*/ 134935 h 696613"/>
                  <a:gd name="connsiteX2" fmla="*/ 199392 w 510206"/>
                  <a:gd name="connsiteY2" fmla="*/ 644439 h 696613"/>
                  <a:gd name="connsiteX3" fmla="*/ 151934 w 510206"/>
                  <a:gd name="connsiteY3" fmla="*/ 696613 h 696613"/>
                  <a:gd name="connsiteX4" fmla="*/ 133809 w 510206"/>
                  <a:gd name="connsiteY4" fmla="*/ 689371 h 696613"/>
                  <a:gd name="connsiteX5" fmla="*/ 97040 w 510206"/>
                  <a:gd name="connsiteY5" fmla="*/ 670880 h 696613"/>
                  <a:gd name="connsiteX6" fmla="*/ 62197 w 510206"/>
                  <a:gd name="connsiteY6" fmla="*/ 611684 h 696613"/>
                  <a:gd name="connsiteX7" fmla="*/ 11760 w 510206"/>
                  <a:gd name="connsiteY7" fmla="*/ 573085 h 696613"/>
                  <a:gd name="connsiteX8" fmla="*/ 13617 w 510206"/>
                  <a:gd name="connsiteY8" fmla="*/ 566678 h 696613"/>
                  <a:gd name="connsiteX9" fmla="*/ 18916 w 510206"/>
                  <a:gd name="connsiteY9" fmla="*/ 561855 h 696613"/>
                  <a:gd name="connsiteX10" fmla="*/ 22480 w 510206"/>
                  <a:gd name="connsiteY10" fmla="*/ 556015 h 696613"/>
                  <a:gd name="connsiteX11" fmla="*/ 22367 w 510206"/>
                  <a:gd name="connsiteY11" fmla="*/ 555795 h 696613"/>
                  <a:gd name="connsiteX12" fmla="*/ 23543 w 510206"/>
                  <a:gd name="connsiteY12" fmla="*/ 553859 h 696613"/>
                  <a:gd name="connsiteX13" fmla="*/ 18738 w 510206"/>
                  <a:gd name="connsiteY13" fmla="*/ 544544 h 696613"/>
                  <a:gd name="connsiteX14" fmla="*/ 14744 w 510206"/>
                  <a:gd name="connsiteY14" fmla="*/ 540952 h 696613"/>
                  <a:gd name="connsiteX15" fmla="*/ 932 w 510206"/>
                  <a:gd name="connsiteY15" fmla="*/ 515006 h 696613"/>
                  <a:gd name="connsiteX16" fmla="*/ 14936 w 510206"/>
                  <a:gd name="connsiteY16" fmla="*/ 472934 h 696613"/>
                  <a:gd name="connsiteX17" fmla="*/ 12530 w 510206"/>
                  <a:gd name="connsiteY17" fmla="*/ 439045 h 696613"/>
                  <a:gd name="connsiteX18" fmla="*/ 9498 w 510206"/>
                  <a:gd name="connsiteY18" fmla="*/ 410904 h 696613"/>
                  <a:gd name="connsiteX19" fmla="*/ 15875 w 510206"/>
                  <a:gd name="connsiteY19" fmla="*/ 391674 h 696613"/>
                  <a:gd name="connsiteX20" fmla="*/ 13720 w 510206"/>
                  <a:gd name="connsiteY20" fmla="*/ 379134 h 696613"/>
                  <a:gd name="connsiteX21" fmla="*/ 181594 w 510206"/>
                  <a:gd name="connsiteY21" fmla="*/ 226090 h 696613"/>
                  <a:gd name="connsiteX22" fmla="*/ 223785 w 510206"/>
                  <a:gd name="connsiteY22" fmla="*/ 157786 h 696613"/>
                  <a:gd name="connsiteX23" fmla="*/ 223602 w 510206"/>
                  <a:gd name="connsiteY23" fmla="*/ 157320 h 696613"/>
                  <a:gd name="connsiteX24" fmla="*/ 223613 w 510206"/>
                  <a:gd name="connsiteY24" fmla="*/ 156078 h 696613"/>
                  <a:gd name="connsiteX25" fmla="*/ 216614 w 510206"/>
                  <a:gd name="connsiteY25" fmla="*/ 138194 h 696613"/>
                  <a:gd name="connsiteX26" fmla="*/ 216270 w 510206"/>
                  <a:gd name="connsiteY26" fmla="*/ 130555 h 696613"/>
                  <a:gd name="connsiteX27" fmla="*/ 222937 w 510206"/>
                  <a:gd name="connsiteY27" fmla="*/ 123851 h 696613"/>
                  <a:gd name="connsiteX28" fmla="*/ 403175 w 510206"/>
                  <a:gd name="connsiteY28" fmla="*/ 46142 h 696613"/>
                  <a:gd name="connsiteX29" fmla="*/ 510206 w 510206"/>
                  <a:gd name="connsiteY29" fmla="*/ 0 h 69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10206" h="696613">
                    <a:moveTo>
                      <a:pt x="510206" y="0"/>
                    </a:moveTo>
                    <a:lnTo>
                      <a:pt x="475481" y="134935"/>
                    </a:lnTo>
                    <a:cubicBezTo>
                      <a:pt x="416833" y="323338"/>
                      <a:pt x="322113" y="495861"/>
                      <a:pt x="199392" y="644439"/>
                    </a:cubicBezTo>
                    <a:lnTo>
                      <a:pt x="151934" y="696613"/>
                    </a:lnTo>
                    <a:lnTo>
                      <a:pt x="133809" y="689371"/>
                    </a:lnTo>
                    <a:cubicBezTo>
                      <a:pt x="120117" y="683953"/>
                      <a:pt x="106786" y="678045"/>
                      <a:pt x="97040" y="670880"/>
                    </a:cubicBezTo>
                    <a:cubicBezTo>
                      <a:pt x="77694" y="656670"/>
                      <a:pt x="80244" y="628489"/>
                      <a:pt x="62197" y="611684"/>
                    </a:cubicBezTo>
                    <a:cubicBezTo>
                      <a:pt x="51946" y="602184"/>
                      <a:pt x="13733" y="587015"/>
                      <a:pt x="11760" y="573085"/>
                    </a:cubicBezTo>
                    <a:lnTo>
                      <a:pt x="13617" y="566678"/>
                    </a:lnTo>
                    <a:lnTo>
                      <a:pt x="18916" y="561855"/>
                    </a:lnTo>
                    <a:cubicBezTo>
                      <a:pt x="20832" y="560151"/>
                      <a:pt x="22352" y="558372"/>
                      <a:pt x="22480" y="556015"/>
                    </a:cubicBezTo>
                    <a:lnTo>
                      <a:pt x="22367" y="555795"/>
                    </a:lnTo>
                    <a:lnTo>
                      <a:pt x="23543" y="553859"/>
                    </a:lnTo>
                    <a:cubicBezTo>
                      <a:pt x="23665" y="551502"/>
                      <a:pt x="22396" y="548566"/>
                      <a:pt x="18738" y="544544"/>
                    </a:cubicBezTo>
                    <a:cubicBezTo>
                      <a:pt x="17680" y="543347"/>
                      <a:pt x="16284" y="542149"/>
                      <a:pt x="14744" y="540952"/>
                    </a:cubicBezTo>
                    <a:cubicBezTo>
                      <a:pt x="13878" y="530813"/>
                      <a:pt x="3723" y="525424"/>
                      <a:pt x="932" y="515006"/>
                    </a:cubicBezTo>
                    <a:cubicBezTo>
                      <a:pt x="-3352" y="499080"/>
                      <a:pt x="8151" y="485428"/>
                      <a:pt x="14936" y="472934"/>
                    </a:cubicBezTo>
                    <a:cubicBezTo>
                      <a:pt x="23744" y="456768"/>
                      <a:pt x="23647" y="452896"/>
                      <a:pt x="12530" y="439045"/>
                    </a:cubicBezTo>
                    <a:cubicBezTo>
                      <a:pt x="2375" y="426272"/>
                      <a:pt x="3001" y="423957"/>
                      <a:pt x="9498" y="410904"/>
                    </a:cubicBezTo>
                    <a:cubicBezTo>
                      <a:pt x="13300" y="403260"/>
                      <a:pt x="15321" y="397043"/>
                      <a:pt x="15875" y="391674"/>
                    </a:cubicBezTo>
                    <a:lnTo>
                      <a:pt x="13720" y="379134"/>
                    </a:lnTo>
                    <a:lnTo>
                      <a:pt x="181594" y="226090"/>
                    </a:lnTo>
                    <a:cubicBezTo>
                      <a:pt x="201998" y="207497"/>
                      <a:pt x="232134" y="188644"/>
                      <a:pt x="223785" y="157786"/>
                    </a:cubicBezTo>
                    <a:lnTo>
                      <a:pt x="223602" y="157320"/>
                    </a:lnTo>
                    <a:lnTo>
                      <a:pt x="223613" y="156078"/>
                    </a:lnTo>
                    <a:lnTo>
                      <a:pt x="216614" y="138194"/>
                    </a:lnTo>
                    <a:lnTo>
                      <a:pt x="216270" y="130555"/>
                    </a:lnTo>
                    <a:cubicBezTo>
                      <a:pt x="217105" y="127814"/>
                      <a:pt x="219120" y="125476"/>
                      <a:pt x="222937" y="123851"/>
                    </a:cubicBezTo>
                    <a:cubicBezTo>
                      <a:pt x="282987" y="97933"/>
                      <a:pt x="343081" y="72016"/>
                      <a:pt x="403175" y="46142"/>
                    </a:cubicBezTo>
                    <a:lnTo>
                      <a:pt x="510206"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7" name="Freeform 56">
                <a:extLst>
                  <a:ext uri="{FF2B5EF4-FFF2-40B4-BE49-F238E27FC236}">
                    <a16:creationId xmlns:a16="http://schemas.microsoft.com/office/drawing/2014/main" id="{D016509E-D980-4842-9C62-0EE4E3E3FB16}"/>
                  </a:ext>
                </a:extLst>
              </p:cNvPr>
              <p:cNvSpPr/>
              <p:nvPr/>
            </p:nvSpPr>
            <p:spPr>
              <a:xfrm>
                <a:off x="3620859" y="5236938"/>
                <a:ext cx="850261" cy="574904"/>
              </a:xfrm>
              <a:custGeom>
                <a:avLst/>
                <a:gdLst>
                  <a:gd name="connsiteX0" fmla="*/ 431516 w 850261"/>
                  <a:gd name="connsiteY0" fmla="*/ 385 h 574904"/>
                  <a:gd name="connsiteX1" fmla="*/ 587142 w 850261"/>
                  <a:gd name="connsiteY1" fmla="*/ 2465 h 574904"/>
                  <a:gd name="connsiteX2" fmla="*/ 601645 w 850261"/>
                  <a:gd name="connsiteY2" fmla="*/ 3852 h 574904"/>
                  <a:gd name="connsiteX3" fmla="*/ 604806 w 850261"/>
                  <a:gd name="connsiteY3" fmla="*/ 3137 h 574904"/>
                  <a:gd name="connsiteX4" fmla="*/ 605691 w 850261"/>
                  <a:gd name="connsiteY4" fmla="*/ 3209 h 574904"/>
                  <a:gd name="connsiteX5" fmla="*/ 606510 w 850261"/>
                  <a:gd name="connsiteY5" fmla="*/ 2751 h 574904"/>
                  <a:gd name="connsiteX6" fmla="*/ 614790 w 850261"/>
                  <a:gd name="connsiteY6" fmla="*/ 877 h 574904"/>
                  <a:gd name="connsiteX7" fmla="*/ 631049 w 850261"/>
                  <a:gd name="connsiteY7" fmla="*/ 59108 h 574904"/>
                  <a:gd name="connsiteX8" fmla="*/ 646544 w 850261"/>
                  <a:gd name="connsiteY8" fmla="*/ 87591 h 574904"/>
                  <a:gd name="connsiteX9" fmla="*/ 666706 w 850261"/>
                  <a:gd name="connsiteY9" fmla="*/ 126547 h 574904"/>
                  <a:gd name="connsiteX10" fmla="*/ 671375 w 850261"/>
                  <a:gd name="connsiteY10" fmla="*/ 167522 h 574904"/>
                  <a:gd name="connsiteX11" fmla="*/ 647670 w 850261"/>
                  <a:gd name="connsiteY11" fmla="*/ 194955 h 574904"/>
                  <a:gd name="connsiteX12" fmla="*/ 664774 w 850261"/>
                  <a:gd name="connsiteY12" fmla="*/ 260940 h 574904"/>
                  <a:gd name="connsiteX13" fmla="*/ 700834 w 850261"/>
                  <a:gd name="connsiteY13" fmla="*/ 325283 h 574904"/>
                  <a:gd name="connsiteX14" fmla="*/ 710436 w 850261"/>
                  <a:gd name="connsiteY14" fmla="*/ 322494 h 574904"/>
                  <a:gd name="connsiteX15" fmla="*/ 710505 w 850261"/>
                  <a:gd name="connsiteY15" fmla="*/ 322260 h 574904"/>
                  <a:gd name="connsiteX16" fmla="*/ 713194 w 850261"/>
                  <a:gd name="connsiteY16" fmla="*/ 321474 h 574904"/>
                  <a:gd name="connsiteX17" fmla="*/ 715326 w 850261"/>
                  <a:gd name="connsiteY17" fmla="*/ 306231 h 574904"/>
                  <a:gd name="connsiteX18" fmla="*/ 718481 w 850261"/>
                  <a:gd name="connsiteY18" fmla="*/ 300401 h 574904"/>
                  <a:gd name="connsiteX19" fmla="*/ 735967 w 850261"/>
                  <a:gd name="connsiteY19" fmla="*/ 300562 h 574904"/>
                  <a:gd name="connsiteX20" fmla="*/ 755043 w 850261"/>
                  <a:gd name="connsiteY20" fmla="*/ 307326 h 574904"/>
                  <a:gd name="connsiteX21" fmla="*/ 778466 w 850261"/>
                  <a:gd name="connsiteY21" fmla="*/ 310745 h 574904"/>
                  <a:gd name="connsiteX22" fmla="*/ 780168 w 850261"/>
                  <a:gd name="connsiteY22" fmla="*/ 309702 h 574904"/>
                  <a:gd name="connsiteX23" fmla="*/ 781194 w 850261"/>
                  <a:gd name="connsiteY23" fmla="*/ 309715 h 574904"/>
                  <a:gd name="connsiteX24" fmla="*/ 793287 w 850261"/>
                  <a:gd name="connsiteY24" fmla="*/ 302341 h 574904"/>
                  <a:gd name="connsiteX25" fmla="*/ 807744 w 850261"/>
                  <a:gd name="connsiteY25" fmla="*/ 303924 h 574904"/>
                  <a:gd name="connsiteX26" fmla="*/ 819032 w 850261"/>
                  <a:gd name="connsiteY26" fmla="*/ 314999 h 574904"/>
                  <a:gd name="connsiteX27" fmla="*/ 838511 w 850261"/>
                  <a:gd name="connsiteY27" fmla="*/ 374577 h 574904"/>
                  <a:gd name="connsiteX28" fmla="*/ 841569 w 850261"/>
                  <a:gd name="connsiteY28" fmla="*/ 402710 h 574904"/>
                  <a:gd name="connsiteX29" fmla="*/ 843984 w 850261"/>
                  <a:gd name="connsiteY29" fmla="*/ 436631 h 574904"/>
                  <a:gd name="connsiteX30" fmla="*/ 829939 w 850261"/>
                  <a:gd name="connsiteY30" fmla="*/ 478683 h 574904"/>
                  <a:gd name="connsiteX31" fmla="*/ 839175 w 850261"/>
                  <a:gd name="connsiteY31" fmla="*/ 493863 h 574904"/>
                  <a:gd name="connsiteX32" fmla="*/ 843191 w 850261"/>
                  <a:gd name="connsiteY32" fmla="*/ 509961 h 574904"/>
                  <a:gd name="connsiteX33" fmla="*/ 765101 w 850261"/>
                  <a:gd name="connsiteY33" fmla="*/ 510502 h 574904"/>
                  <a:gd name="connsiteX34" fmla="*/ 685338 w 850261"/>
                  <a:gd name="connsiteY34" fmla="*/ 508718 h 574904"/>
                  <a:gd name="connsiteX35" fmla="*/ 670966 w 850261"/>
                  <a:gd name="connsiteY35" fmla="*/ 488252 h 574904"/>
                  <a:gd name="connsiteX36" fmla="*/ 646194 w 850261"/>
                  <a:gd name="connsiteY36" fmla="*/ 482746 h 574904"/>
                  <a:gd name="connsiteX37" fmla="*/ 618358 w 850261"/>
                  <a:gd name="connsiteY37" fmla="*/ 491648 h 574904"/>
                  <a:gd name="connsiteX38" fmla="*/ 618227 w 850261"/>
                  <a:gd name="connsiteY38" fmla="*/ 491802 h 574904"/>
                  <a:gd name="connsiteX39" fmla="*/ 616798 w 850261"/>
                  <a:gd name="connsiteY39" fmla="*/ 492258 h 574904"/>
                  <a:gd name="connsiteX40" fmla="*/ 598451 w 850261"/>
                  <a:gd name="connsiteY40" fmla="*/ 513708 h 574904"/>
                  <a:gd name="connsiteX41" fmla="*/ 569354 w 850261"/>
                  <a:gd name="connsiteY41" fmla="*/ 566636 h 574904"/>
                  <a:gd name="connsiteX42" fmla="*/ 552980 w 850261"/>
                  <a:gd name="connsiteY42" fmla="*/ 574904 h 574904"/>
                  <a:gd name="connsiteX43" fmla="*/ 533961 w 850261"/>
                  <a:gd name="connsiteY43" fmla="*/ 573700 h 574904"/>
                  <a:gd name="connsiteX44" fmla="*/ 532431 w 850261"/>
                  <a:gd name="connsiteY44" fmla="*/ 574340 h 574904"/>
                  <a:gd name="connsiteX45" fmla="*/ 532369 w 850261"/>
                  <a:gd name="connsiteY45" fmla="*/ 574336 h 574904"/>
                  <a:gd name="connsiteX46" fmla="*/ 532857 w 850261"/>
                  <a:gd name="connsiteY46" fmla="*/ 571670 h 574904"/>
                  <a:gd name="connsiteX47" fmla="*/ 535629 w 850261"/>
                  <a:gd name="connsiteY47" fmla="*/ 570135 h 574904"/>
                  <a:gd name="connsiteX48" fmla="*/ 525307 w 850261"/>
                  <a:gd name="connsiteY48" fmla="*/ 553324 h 574904"/>
                  <a:gd name="connsiteX49" fmla="*/ 487588 w 850261"/>
                  <a:gd name="connsiteY49" fmla="*/ 542405 h 574904"/>
                  <a:gd name="connsiteX50" fmla="*/ 438034 w 850261"/>
                  <a:gd name="connsiteY50" fmla="*/ 486517 h 574904"/>
                  <a:gd name="connsiteX51" fmla="*/ 384398 w 850261"/>
                  <a:gd name="connsiteY51" fmla="*/ 429197 h 574904"/>
                  <a:gd name="connsiteX52" fmla="*/ 319224 w 850261"/>
                  <a:gd name="connsiteY52" fmla="*/ 374445 h 574904"/>
                  <a:gd name="connsiteX53" fmla="*/ 208727 w 850261"/>
                  <a:gd name="connsiteY53" fmla="*/ 340159 h 574904"/>
                  <a:gd name="connsiteX54" fmla="*/ 153287 w 850261"/>
                  <a:gd name="connsiteY54" fmla="*/ 286427 h 574904"/>
                  <a:gd name="connsiteX55" fmla="*/ 131158 w 850261"/>
                  <a:gd name="connsiteY55" fmla="*/ 258669 h 574904"/>
                  <a:gd name="connsiteX56" fmla="*/ 99710 w 850261"/>
                  <a:gd name="connsiteY56" fmla="*/ 250239 h 574904"/>
                  <a:gd name="connsiteX57" fmla="*/ 30424 w 850261"/>
                  <a:gd name="connsiteY57" fmla="*/ 188450 h 574904"/>
                  <a:gd name="connsiteX58" fmla="*/ 31601 w 850261"/>
                  <a:gd name="connsiteY58" fmla="*/ 192735 h 574904"/>
                  <a:gd name="connsiteX59" fmla="*/ 29742 w 850261"/>
                  <a:gd name="connsiteY59" fmla="*/ 191161 h 574904"/>
                  <a:gd name="connsiteX60" fmla="*/ 19062 w 850261"/>
                  <a:gd name="connsiteY60" fmla="*/ 170307 h 574904"/>
                  <a:gd name="connsiteX61" fmla="*/ 6042 w 850261"/>
                  <a:gd name="connsiteY61" fmla="*/ 56839 h 574904"/>
                  <a:gd name="connsiteX62" fmla="*/ 26987 w 850261"/>
                  <a:gd name="connsiteY62" fmla="*/ 33018 h 574904"/>
                  <a:gd name="connsiteX63" fmla="*/ 48019 w 850261"/>
                  <a:gd name="connsiteY63" fmla="*/ 31278 h 574904"/>
                  <a:gd name="connsiteX64" fmla="*/ 70642 w 850261"/>
                  <a:gd name="connsiteY64" fmla="*/ 31352 h 574904"/>
                  <a:gd name="connsiteX65" fmla="*/ 87343 w 850261"/>
                  <a:gd name="connsiteY65" fmla="*/ 23195 h 574904"/>
                  <a:gd name="connsiteX66" fmla="*/ 133061 w 850261"/>
                  <a:gd name="connsiteY66" fmla="*/ 12641 h 574904"/>
                  <a:gd name="connsiteX67" fmla="*/ 132538 w 850261"/>
                  <a:gd name="connsiteY67" fmla="*/ 10649 h 574904"/>
                  <a:gd name="connsiteX68" fmla="*/ 153184 w 850261"/>
                  <a:gd name="connsiteY68" fmla="*/ 12695 h 574904"/>
                  <a:gd name="connsiteX69" fmla="*/ 181154 w 850261"/>
                  <a:gd name="connsiteY69" fmla="*/ 14122 h 574904"/>
                  <a:gd name="connsiteX70" fmla="*/ 202121 w 850261"/>
                  <a:gd name="connsiteY70" fmla="*/ 23302 h 574904"/>
                  <a:gd name="connsiteX71" fmla="*/ 244700 w 850261"/>
                  <a:gd name="connsiteY71" fmla="*/ 21095 h 574904"/>
                  <a:gd name="connsiteX72" fmla="*/ 245487 w 850261"/>
                  <a:gd name="connsiteY72" fmla="*/ 20465 h 574904"/>
                  <a:gd name="connsiteX73" fmla="*/ 245826 w 850261"/>
                  <a:gd name="connsiteY73" fmla="*/ 20396 h 574904"/>
                  <a:gd name="connsiteX74" fmla="*/ 259598 w 850261"/>
                  <a:gd name="connsiteY74" fmla="*/ 9376 h 574904"/>
                  <a:gd name="connsiteX75" fmla="*/ 275769 w 850261"/>
                  <a:gd name="connsiteY75" fmla="*/ 2465 h 574904"/>
                  <a:gd name="connsiteX76" fmla="*/ 431516 w 850261"/>
                  <a:gd name="connsiteY76" fmla="*/ 385 h 57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850261" h="574904">
                    <a:moveTo>
                      <a:pt x="431516" y="385"/>
                    </a:moveTo>
                    <a:cubicBezTo>
                      <a:pt x="483562" y="-308"/>
                      <a:pt x="535589" y="-308"/>
                      <a:pt x="587142" y="2465"/>
                    </a:cubicBezTo>
                    <a:cubicBezTo>
                      <a:pt x="591610" y="2708"/>
                      <a:pt x="596741" y="3643"/>
                      <a:pt x="601645" y="3852"/>
                    </a:cubicBezTo>
                    <a:lnTo>
                      <a:pt x="604806" y="3137"/>
                    </a:lnTo>
                    <a:lnTo>
                      <a:pt x="605691" y="3209"/>
                    </a:lnTo>
                    <a:lnTo>
                      <a:pt x="606510" y="2751"/>
                    </a:lnTo>
                    <a:lnTo>
                      <a:pt x="614790" y="877"/>
                    </a:lnTo>
                    <a:cubicBezTo>
                      <a:pt x="622155" y="20179"/>
                      <a:pt x="627025" y="41609"/>
                      <a:pt x="631049" y="59108"/>
                    </a:cubicBezTo>
                    <a:cubicBezTo>
                      <a:pt x="633826" y="71169"/>
                      <a:pt x="635315" y="79811"/>
                      <a:pt x="646544" y="87591"/>
                    </a:cubicBezTo>
                    <a:cubicBezTo>
                      <a:pt x="665338" y="100675"/>
                      <a:pt x="665137" y="103825"/>
                      <a:pt x="666706" y="126547"/>
                    </a:cubicBezTo>
                    <a:cubicBezTo>
                      <a:pt x="667632" y="139954"/>
                      <a:pt x="673467" y="154007"/>
                      <a:pt x="671375" y="167522"/>
                    </a:cubicBezTo>
                    <a:cubicBezTo>
                      <a:pt x="669000" y="182598"/>
                      <a:pt x="657249" y="183917"/>
                      <a:pt x="647670" y="194955"/>
                    </a:cubicBezTo>
                    <a:cubicBezTo>
                      <a:pt x="626139" y="219804"/>
                      <a:pt x="650689" y="240857"/>
                      <a:pt x="664774" y="260940"/>
                    </a:cubicBezTo>
                    <a:cubicBezTo>
                      <a:pt x="675359" y="276043"/>
                      <a:pt x="673709" y="324906"/>
                      <a:pt x="700834" y="325283"/>
                    </a:cubicBezTo>
                    <a:cubicBezTo>
                      <a:pt x="705915" y="325357"/>
                      <a:pt x="708805" y="324272"/>
                      <a:pt x="710436" y="322494"/>
                    </a:cubicBezTo>
                    <a:lnTo>
                      <a:pt x="710505" y="322260"/>
                    </a:lnTo>
                    <a:lnTo>
                      <a:pt x="713194" y="321474"/>
                    </a:lnTo>
                    <a:cubicBezTo>
                      <a:pt x="716454" y="317917"/>
                      <a:pt x="714679" y="311599"/>
                      <a:pt x="715326" y="306231"/>
                    </a:cubicBezTo>
                    <a:lnTo>
                      <a:pt x="718481" y="300401"/>
                    </a:lnTo>
                    <a:lnTo>
                      <a:pt x="735967" y="300562"/>
                    </a:lnTo>
                    <a:cubicBezTo>
                      <a:pt x="743483" y="302810"/>
                      <a:pt x="750898" y="306155"/>
                      <a:pt x="755043" y="307326"/>
                    </a:cubicBezTo>
                    <a:cubicBezTo>
                      <a:pt x="762126" y="309292"/>
                      <a:pt x="770175" y="312926"/>
                      <a:pt x="778466" y="310745"/>
                    </a:cubicBezTo>
                    <a:lnTo>
                      <a:pt x="780168" y="309702"/>
                    </a:lnTo>
                    <a:lnTo>
                      <a:pt x="781194" y="309715"/>
                    </a:lnTo>
                    <a:lnTo>
                      <a:pt x="793287" y="302341"/>
                    </a:lnTo>
                    <a:lnTo>
                      <a:pt x="807744" y="303924"/>
                    </a:lnTo>
                    <a:cubicBezTo>
                      <a:pt x="811537" y="306519"/>
                      <a:pt x="814646" y="310678"/>
                      <a:pt x="819032" y="314999"/>
                    </a:cubicBezTo>
                    <a:cubicBezTo>
                      <a:pt x="840845" y="336402"/>
                      <a:pt x="853562" y="344290"/>
                      <a:pt x="838511" y="374577"/>
                    </a:cubicBezTo>
                    <a:cubicBezTo>
                      <a:pt x="832031" y="387607"/>
                      <a:pt x="831387" y="389949"/>
                      <a:pt x="841569" y="402710"/>
                    </a:cubicBezTo>
                    <a:cubicBezTo>
                      <a:pt x="852677" y="416575"/>
                      <a:pt x="852757" y="420451"/>
                      <a:pt x="843984" y="436631"/>
                    </a:cubicBezTo>
                    <a:cubicBezTo>
                      <a:pt x="837183" y="449123"/>
                      <a:pt x="825673" y="462745"/>
                      <a:pt x="829939" y="478683"/>
                    </a:cubicBezTo>
                    <a:cubicBezTo>
                      <a:pt x="831589" y="484835"/>
                      <a:pt x="835805" y="489223"/>
                      <a:pt x="839175" y="493863"/>
                    </a:cubicBezTo>
                    <a:lnTo>
                      <a:pt x="843191" y="509961"/>
                    </a:lnTo>
                    <a:lnTo>
                      <a:pt x="765101" y="510502"/>
                    </a:lnTo>
                    <a:cubicBezTo>
                      <a:pt x="738443" y="509940"/>
                      <a:pt x="711780" y="508990"/>
                      <a:pt x="685338" y="508718"/>
                    </a:cubicBezTo>
                    <a:cubicBezTo>
                      <a:pt x="670670" y="509985"/>
                      <a:pt x="676799" y="495207"/>
                      <a:pt x="670966" y="488252"/>
                    </a:cubicBezTo>
                    <a:cubicBezTo>
                      <a:pt x="664583" y="480609"/>
                      <a:pt x="656424" y="481805"/>
                      <a:pt x="646194" y="482746"/>
                    </a:cubicBezTo>
                    <a:cubicBezTo>
                      <a:pt x="634231" y="483887"/>
                      <a:pt x="625502" y="486722"/>
                      <a:pt x="618358" y="491648"/>
                    </a:cubicBezTo>
                    <a:lnTo>
                      <a:pt x="618227" y="491802"/>
                    </a:lnTo>
                    <a:lnTo>
                      <a:pt x="616798" y="492258"/>
                    </a:lnTo>
                    <a:cubicBezTo>
                      <a:pt x="609649" y="497185"/>
                      <a:pt x="604086" y="504205"/>
                      <a:pt x="598451" y="513708"/>
                    </a:cubicBezTo>
                    <a:cubicBezTo>
                      <a:pt x="588752" y="530103"/>
                      <a:pt x="583561" y="553391"/>
                      <a:pt x="569354" y="566636"/>
                    </a:cubicBezTo>
                    <a:lnTo>
                      <a:pt x="552980" y="574904"/>
                    </a:lnTo>
                    <a:lnTo>
                      <a:pt x="533961" y="573700"/>
                    </a:lnTo>
                    <a:lnTo>
                      <a:pt x="532431" y="574340"/>
                    </a:lnTo>
                    <a:lnTo>
                      <a:pt x="532369" y="574336"/>
                    </a:lnTo>
                    <a:lnTo>
                      <a:pt x="532857" y="571670"/>
                    </a:lnTo>
                    <a:lnTo>
                      <a:pt x="535629" y="570135"/>
                    </a:lnTo>
                    <a:cubicBezTo>
                      <a:pt x="539269" y="565017"/>
                      <a:pt x="532962" y="557323"/>
                      <a:pt x="525307" y="553324"/>
                    </a:cubicBezTo>
                    <a:cubicBezTo>
                      <a:pt x="514065" y="547443"/>
                      <a:pt x="498770" y="546953"/>
                      <a:pt x="487588" y="542405"/>
                    </a:cubicBezTo>
                    <a:cubicBezTo>
                      <a:pt x="464009" y="532780"/>
                      <a:pt x="450637" y="505355"/>
                      <a:pt x="438034" y="486517"/>
                    </a:cubicBezTo>
                    <a:cubicBezTo>
                      <a:pt x="422562" y="463365"/>
                      <a:pt x="404870" y="447957"/>
                      <a:pt x="384398" y="429197"/>
                    </a:cubicBezTo>
                    <a:cubicBezTo>
                      <a:pt x="363393" y="409907"/>
                      <a:pt x="346027" y="387187"/>
                      <a:pt x="319224" y="374445"/>
                    </a:cubicBezTo>
                    <a:cubicBezTo>
                      <a:pt x="285853" y="358547"/>
                      <a:pt x="244110" y="351470"/>
                      <a:pt x="208727" y="340159"/>
                    </a:cubicBezTo>
                    <a:cubicBezTo>
                      <a:pt x="183610" y="332142"/>
                      <a:pt x="165860" y="306951"/>
                      <a:pt x="153287" y="286427"/>
                    </a:cubicBezTo>
                    <a:cubicBezTo>
                      <a:pt x="147932" y="277684"/>
                      <a:pt x="140980" y="262295"/>
                      <a:pt x="131158" y="258669"/>
                    </a:cubicBezTo>
                    <a:cubicBezTo>
                      <a:pt x="117194" y="253513"/>
                      <a:pt x="112312" y="260296"/>
                      <a:pt x="99710" y="250239"/>
                    </a:cubicBezTo>
                    <a:cubicBezTo>
                      <a:pt x="77551" y="232499"/>
                      <a:pt x="56339" y="205132"/>
                      <a:pt x="30424" y="188450"/>
                    </a:cubicBezTo>
                    <a:lnTo>
                      <a:pt x="31601" y="192735"/>
                    </a:lnTo>
                    <a:lnTo>
                      <a:pt x="29742" y="191161"/>
                    </a:lnTo>
                    <a:lnTo>
                      <a:pt x="19062" y="170307"/>
                    </a:lnTo>
                    <a:cubicBezTo>
                      <a:pt x="3322" y="150390"/>
                      <a:pt x="-7248" y="91896"/>
                      <a:pt x="6042" y="56839"/>
                    </a:cubicBezTo>
                    <a:lnTo>
                      <a:pt x="26987" y="33018"/>
                    </a:lnTo>
                    <a:lnTo>
                      <a:pt x="48019" y="31278"/>
                    </a:lnTo>
                    <a:cubicBezTo>
                      <a:pt x="55792" y="31843"/>
                      <a:pt x="63660" y="32725"/>
                      <a:pt x="70642" y="31352"/>
                    </a:cubicBezTo>
                    <a:cubicBezTo>
                      <a:pt x="77725" y="29952"/>
                      <a:pt x="82876" y="26991"/>
                      <a:pt x="87343" y="23195"/>
                    </a:cubicBezTo>
                    <a:cubicBezTo>
                      <a:pt x="107506" y="32967"/>
                      <a:pt x="137086" y="34717"/>
                      <a:pt x="133061" y="12641"/>
                    </a:cubicBezTo>
                    <a:cubicBezTo>
                      <a:pt x="132941" y="11968"/>
                      <a:pt x="132699" y="11322"/>
                      <a:pt x="132538" y="10649"/>
                    </a:cubicBezTo>
                    <a:cubicBezTo>
                      <a:pt x="139380" y="11538"/>
                      <a:pt x="146221" y="12399"/>
                      <a:pt x="153184" y="12695"/>
                    </a:cubicBezTo>
                    <a:cubicBezTo>
                      <a:pt x="161957" y="13072"/>
                      <a:pt x="172542" y="12507"/>
                      <a:pt x="181154" y="14122"/>
                    </a:cubicBezTo>
                    <a:cubicBezTo>
                      <a:pt x="189122" y="15603"/>
                      <a:pt x="194475" y="21283"/>
                      <a:pt x="202121" y="23302"/>
                    </a:cubicBezTo>
                    <a:cubicBezTo>
                      <a:pt x="213792" y="26425"/>
                      <a:pt x="234317" y="26237"/>
                      <a:pt x="244700" y="21095"/>
                    </a:cubicBezTo>
                    <a:lnTo>
                      <a:pt x="245487" y="20465"/>
                    </a:lnTo>
                    <a:lnTo>
                      <a:pt x="245826" y="20396"/>
                    </a:lnTo>
                    <a:lnTo>
                      <a:pt x="259598" y="9376"/>
                    </a:lnTo>
                    <a:lnTo>
                      <a:pt x="275769" y="2465"/>
                    </a:lnTo>
                    <a:cubicBezTo>
                      <a:pt x="327403" y="2465"/>
                      <a:pt x="379470" y="1079"/>
                      <a:pt x="431516" y="385"/>
                    </a:cubicBezTo>
                    <a:close/>
                  </a:path>
                </a:pathLst>
              </a:custGeom>
              <a:solidFill>
                <a:schemeClr val="tx2"/>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8" name="Freeform 57">
                <a:extLst>
                  <a:ext uri="{FF2B5EF4-FFF2-40B4-BE49-F238E27FC236}">
                    <a16:creationId xmlns:a16="http://schemas.microsoft.com/office/drawing/2014/main" id="{C2F23651-6789-F546-AB27-23158AD075B8}"/>
                  </a:ext>
                </a:extLst>
              </p:cNvPr>
              <p:cNvSpPr/>
              <p:nvPr/>
            </p:nvSpPr>
            <p:spPr>
              <a:xfrm>
                <a:off x="3531292" y="5429673"/>
                <a:ext cx="623666" cy="418868"/>
              </a:xfrm>
              <a:custGeom>
                <a:avLst/>
                <a:gdLst>
                  <a:gd name="connsiteX0" fmla="*/ 121167 w 623666"/>
                  <a:gd name="connsiteY0" fmla="*/ 0 h 418868"/>
                  <a:gd name="connsiteX1" fmla="*/ 154851 w 623666"/>
                  <a:gd name="connsiteY1" fmla="*/ 28506 h 418868"/>
                  <a:gd name="connsiteX2" fmla="*/ 188098 w 623666"/>
                  <a:gd name="connsiteY2" fmla="*/ 59806 h 418868"/>
                  <a:gd name="connsiteX3" fmla="*/ 219529 w 623666"/>
                  <a:gd name="connsiteY3" fmla="*/ 68232 h 418868"/>
                  <a:gd name="connsiteX4" fmla="*/ 241623 w 623666"/>
                  <a:gd name="connsiteY4" fmla="*/ 96015 h 418868"/>
                  <a:gd name="connsiteX5" fmla="*/ 297080 w 623666"/>
                  <a:gd name="connsiteY5" fmla="*/ 149751 h 418868"/>
                  <a:gd name="connsiteX6" fmla="*/ 407552 w 623666"/>
                  <a:gd name="connsiteY6" fmla="*/ 184049 h 418868"/>
                  <a:gd name="connsiteX7" fmla="*/ 472708 w 623666"/>
                  <a:gd name="connsiteY7" fmla="*/ 238808 h 418868"/>
                  <a:gd name="connsiteX8" fmla="*/ 526314 w 623666"/>
                  <a:gd name="connsiteY8" fmla="*/ 296151 h 418868"/>
                  <a:gd name="connsiteX9" fmla="*/ 575895 w 623666"/>
                  <a:gd name="connsiteY9" fmla="*/ 352041 h 418868"/>
                  <a:gd name="connsiteX10" fmla="*/ 613564 w 623666"/>
                  <a:gd name="connsiteY10" fmla="*/ 362971 h 418868"/>
                  <a:gd name="connsiteX11" fmla="*/ 623666 w 623666"/>
                  <a:gd name="connsiteY11" fmla="*/ 372145 h 418868"/>
                  <a:gd name="connsiteX12" fmla="*/ 622423 w 623666"/>
                  <a:gd name="connsiteY12" fmla="*/ 378935 h 418868"/>
                  <a:gd name="connsiteX13" fmla="*/ 617920 w 623666"/>
                  <a:gd name="connsiteY13" fmla="*/ 381428 h 418868"/>
                  <a:gd name="connsiteX14" fmla="*/ 582242 w 623666"/>
                  <a:gd name="connsiteY14" fmla="*/ 371175 h 418868"/>
                  <a:gd name="connsiteX15" fmla="*/ 572753 w 623666"/>
                  <a:gd name="connsiteY15" fmla="*/ 369546 h 418868"/>
                  <a:gd name="connsiteX16" fmla="*/ 555296 w 623666"/>
                  <a:gd name="connsiteY16" fmla="*/ 364816 h 418868"/>
                  <a:gd name="connsiteX17" fmla="*/ 551297 w 623666"/>
                  <a:gd name="connsiteY17" fmla="*/ 363491 h 418868"/>
                  <a:gd name="connsiteX18" fmla="*/ 511580 w 623666"/>
                  <a:gd name="connsiteY18" fmla="*/ 360457 h 418868"/>
                  <a:gd name="connsiteX19" fmla="*/ 511187 w 623666"/>
                  <a:gd name="connsiteY19" fmla="*/ 360578 h 418868"/>
                  <a:gd name="connsiteX20" fmla="*/ 511144 w 623666"/>
                  <a:gd name="connsiteY20" fmla="*/ 360575 h 418868"/>
                  <a:gd name="connsiteX21" fmla="*/ 472820 w 623666"/>
                  <a:gd name="connsiteY21" fmla="*/ 372380 h 418868"/>
                  <a:gd name="connsiteX22" fmla="*/ 448233 w 623666"/>
                  <a:gd name="connsiteY22" fmla="*/ 393399 h 418868"/>
                  <a:gd name="connsiteX23" fmla="*/ 428760 w 623666"/>
                  <a:gd name="connsiteY23" fmla="*/ 418868 h 418868"/>
                  <a:gd name="connsiteX24" fmla="*/ 414204 w 623666"/>
                  <a:gd name="connsiteY24" fmla="*/ 391543 h 418868"/>
                  <a:gd name="connsiteX25" fmla="*/ 362254 w 623666"/>
                  <a:gd name="connsiteY25" fmla="*/ 324029 h 418868"/>
                  <a:gd name="connsiteX26" fmla="*/ 326221 w 623666"/>
                  <a:gd name="connsiteY26" fmla="*/ 308347 h 418868"/>
                  <a:gd name="connsiteX27" fmla="*/ 295187 w 623666"/>
                  <a:gd name="connsiteY27" fmla="*/ 327460 h 418868"/>
                  <a:gd name="connsiteX28" fmla="*/ 261047 w 623666"/>
                  <a:gd name="connsiteY28" fmla="*/ 317443 h 418868"/>
                  <a:gd name="connsiteX29" fmla="*/ 231551 w 623666"/>
                  <a:gd name="connsiteY29" fmla="*/ 336125 h 418868"/>
                  <a:gd name="connsiteX30" fmla="*/ 148183 w 623666"/>
                  <a:gd name="connsiteY30" fmla="*/ 312405 h 418868"/>
                  <a:gd name="connsiteX31" fmla="*/ 64016 w 623666"/>
                  <a:gd name="connsiteY31" fmla="*/ 245911 h 418868"/>
                  <a:gd name="connsiteX32" fmla="*/ 28313 w 623666"/>
                  <a:gd name="connsiteY32" fmla="*/ 189288 h 418868"/>
                  <a:gd name="connsiteX33" fmla="*/ 12887 w 623666"/>
                  <a:gd name="connsiteY33" fmla="*/ 176171 h 418868"/>
                  <a:gd name="connsiteX34" fmla="*/ 14832 w 623666"/>
                  <a:gd name="connsiteY34" fmla="*/ 165231 h 418868"/>
                  <a:gd name="connsiteX35" fmla="*/ 1571 w 623666"/>
                  <a:gd name="connsiteY35" fmla="*/ 118167 h 418868"/>
                  <a:gd name="connsiteX36" fmla="*/ 30680 w 623666"/>
                  <a:gd name="connsiteY36" fmla="*/ 99183 h 418868"/>
                  <a:gd name="connsiteX37" fmla="*/ 57255 w 623666"/>
                  <a:gd name="connsiteY37" fmla="*/ 74561 h 418868"/>
                  <a:gd name="connsiteX38" fmla="*/ 123752 w 623666"/>
                  <a:gd name="connsiteY38" fmla="*/ 50920 h 418868"/>
                  <a:gd name="connsiteX39" fmla="*/ 124541 w 623666"/>
                  <a:gd name="connsiteY39" fmla="*/ 39097 h 418868"/>
                  <a:gd name="connsiteX40" fmla="*/ 127116 w 623666"/>
                  <a:gd name="connsiteY40" fmla="*/ 21657 h 418868"/>
                  <a:gd name="connsiteX41" fmla="*/ 125979 w 623666"/>
                  <a:gd name="connsiteY41" fmla="*/ 17519 h 418868"/>
                  <a:gd name="connsiteX42" fmla="*/ 126337 w 623666"/>
                  <a:gd name="connsiteY42" fmla="*/ 12152 h 418868"/>
                  <a:gd name="connsiteX43" fmla="*/ 122386 w 623666"/>
                  <a:gd name="connsiteY43" fmla="*/ 4436 h 418868"/>
                  <a:gd name="connsiteX44" fmla="*/ 121167 w 623666"/>
                  <a:gd name="connsiteY44" fmla="*/ 0 h 41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23666" h="418868">
                    <a:moveTo>
                      <a:pt x="121167" y="0"/>
                    </a:moveTo>
                    <a:lnTo>
                      <a:pt x="154851" y="28506"/>
                    </a:lnTo>
                    <a:cubicBezTo>
                      <a:pt x="166165" y="39655"/>
                      <a:pt x="177011" y="50935"/>
                      <a:pt x="188098" y="59806"/>
                    </a:cubicBezTo>
                    <a:cubicBezTo>
                      <a:pt x="200654" y="69847"/>
                      <a:pt x="205564" y="63090"/>
                      <a:pt x="219529" y="68232"/>
                    </a:cubicBezTo>
                    <a:cubicBezTo>
                      <a:pt x="229348" y="71867"/>
                      <a:pt x="236270" y="87266"/>
                      <a:pt x="241623" y="96015"/>
                    </a:cubicBezTo>
                    <a:cubicBezTo>
                      <a:pt x="254220" y="116530"/>
                      <a:pt x="271967" y="141728"/>
                      <a:pt x="297080" y="149751"/>
                    </a:cubicBezTo>
                    <a:cubicBezTo>
                      <a:pt x="332455" y="161058"/>
                      <a:pt x="374189" y="168139"/>
                      <a:pt x="407552" y="184049"/>
                    </a:cubicBezTo>
                    <a:cubicBezTo>
                      <a:pt x="434315" y="196783"/>
                      <a:pt x="451700" y="219532"/>
                      <a:pt x="472708" y="238808"/>
                    </a:cubicBezTo>
                    <a:cubicBezTo>
                      <a:pt x="493152" y="257599"/>
                      <a:pt x="510860" y="272999"/>
                      <a:pt x="526314" y="296151"/>
                    </a:cubicBezTo>
                    <a:cubicBezTo>
                      <a:pt x="538911" y="314996"/>
                      <a:pt x="552272" y="342430"/>
                      <a:pt x="575895" y="352041"/>
                    </a:cubicBezTo>
                    <a:cubicBezTo>
                      <a:pt x="587043" y="356617"/>
                      <a:pt x="602336" y="357102"/>
                      <a:pt x="613564" y="362971"/>
                    </a:cubicBezTo>
                    <a:cubicBezTo>
                      <a:pt x="617891" y="365233"/>
                      <a:pt x="621764" y="368665"/>
                      <a:pt x="623666" y="372145"/>
                    </a:cubicBezTo>
                    <a:lnTo>
                      <a:pt x="622423" y="378935"/>
                    </a:lnTo>
                    <a:lnTo>
                      <a:pt x="617920" y="381428"/>
                    </a:lnTo>
                    <a:cubicBezTo>
                      <a:pt x="608483" y="383682"/>
                      <a:pt x="591768" y="372508"/>
                      <a:pt x="582242" y="371175"/>
                    </a:cubicBezTo>
                    <a:lnTo>
                      <a:pt x="572753" y="369546"/>
                    </a:lnTo>
                    <a:lnTo>
                      <a:pt x="555296" y="364816"/>
                    </a:lnTo>
                    <a:lnTo>
                      <a:pt x="551297" y="363491"/>
                    </a:lnTo>
                    <a:cubicBezTo>
                      <a:pt x="539759" y="358894"/>
                      <a:pt x="525551" y="358438"/>
                      <a:pt x="511580" y="360457"/>
                    </a:cubicBezTo>
                    <a:lnTo>
                      <a:pt x="511187" y="360578"/>
                    </a:lnTo>
                    <a:lnTo>
                      <a:pt x="511144" y="360575"/>
                    </a:lnTo>
                    <a:cubicBezTo>
                      <a:pt x="497177" y="362597"/>
                      <a:pt x="483432" y="367091"/>
                      <a:pt x="472820" y="372380"/>
                    </a:cubicBezTo>
                    <a:cubicBezTo>
                      <a:pt x="462743" y="377439"/>
                      <a:pt x="455087" y="385015"/>
                      <a:pt x="448233" y="393399"/>
                    </a:cubicBezTo>
                    <a:lnTo>
                      <a:pt x="428760" y="418868"/>
                    </a:lnTo>
                    <a:lnTo>
                      <a:pt x="414204" y="391543"/>
                    </a:lnTo>
                    <a:cubicBezTo>
                      <a:pt x="400152" y="367588"/>
                      <a:pt x="384235" y="342319"/>
                      <a:pt x="362254" y="324029"/>
                    </a:cubicBezTo>
                    <a:cubicBezTo>
                      <a:pt x="353201" y="316521"/>
                      <a:pt x="339001" y="306975"/>
                      <a:pt x="326221" y="308347"/>
                    </a:cubicBezTo>
                    <a:cubicBezTo>
                      <a:pt x="311488" y="309935"/>
                      <a:pt x="307109" y="324069"/>
                      <a:pt x="295187" y="327460"/>
                    </a:cubicBezTo>
                    <a:cubicBezTo>
                      <a:pt x="280868" y="331537"/>
                      <a:pt x="272969" y="318148"/>
                      <a:pt x="261047" y="317443"/>
                    </a:cubicBezTo>
                    <a:cubicBezTo>
                      <a:pt x="246551" y="316561"/>
                      <a:pt x="243296" y="332537"/>
                      <a:pt x="231551" y="336125"/>
                    </a:cubicBezTo>
                    <a:cubicBezTo>
                      <a:pt x="206168" y="343868"/>
                      <a:pt x="170135" y="321383"/>
                      <a:pt x="148183" y="312405"/>
                    </a:cubicBezTo>
                    <a:cubicBezTo>
                      <a:pt x="111262" y="297271"/>
                      <a:pt x="89015" y="274904"/>
                      <a:pt x="64016" y="245911"/>
                    </a:cubicBezTo>
                    <a:cubicBezTo>
                      <a:pt x="50393" y="230091"/>
                      <a:pt x="42278" y="206123"/>
                      <a:pt x="28313" y="189288"/>
                    </a:cubicBezTo>
                    <a:lnTo>
                      <a:pt x="12887" y="176171"/>
                    </a:lnTo>
                    <a:lnTo>
                      <a:pt x="14832" y="165231"/>
                    </a:lnTo>
                    <a:cubicBezTo>
                      <a:pt x="17039" y="144967"/>
                      <a:pt x="6830" y="135816"/>
                      <a:pt x="1571" y="118167"/>
                    </a:cubicBezTo>
                    <a:cubicBezTo>
                      <a:pt x="-5276" y="95206"/>
                      <a:pt x="11331" y="99156"/>
                      <a:pt x="30680" y="99183"/>
                    </a:cubicBezTo>
                    <a:cubicBezTo>
                      <a:pt x="54392" y="99183"/>
                      <a:pt x="56065" y="96704"/>
                      <a:pt x="57255" y="74561"/>
                    </a:cubicBezTo>
                    <a:cubicBezTo>
                      <a:pt x="82019" y="73308"/>
                      <a:pt x="114354" y="77203"/>
                      <a:pt x="123752" y="50920"/>
                    </a:cubicBezTo>
                    <a:lnTo>
                      <a:pt x="124541" y="39097"/>
                    </a:lnTo>
                    <a:lnTo>
                      <a:pt x="127116" y="21657"/>
                    </a:lnTo>
                    <a:lnTo>
                      <a:pt x="125979" y="17519"/>
                    </a:lnTo>
                    <a:lnTo>
                      <a:pt x="126337" y="12152"/>
                    </a:lnTo>
                    <a:lnTo>
                      <a:pt x="122386" y="4436"/>
                    </a:lnTo>
                    <a:lnTo>
                      <a:pt x="121167"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59" name="Freeform 58">
                <a:extLst>
                  <a:ext uri="{FF2B5EF4-FFF2-40B4-BE49-F238E27FC236}">
                    <a16:creationId xmlns:a16="http://schemas.microsoft.com/office/drawing/2014/main" id="{D3DF989B-FFE1-AF4C-91CC-2B49EBACAA5C}"/>
                  </a:ext>
                </a:extLst>
              </p:cNvPr>
              <p:cNvSpPr/>
              <p:nvPr/>
            </p:nvSpPr>
            <p:spPr>
              <a:xfrm>
                <a:off x="4108109" y="5719597"/>
                <a:ext cx="494607" cy="380521"/>
              </a:xfrm>
              <a:custGeom>
                <a:avLst/>
                <a:gdLst>
                  <a:gd name="connsiteX0" fmla="*/ 171211 w 494607"/>
                  <a:gd name="connsiteY0" fmla="*/ 225 h 380521"/>
                  <a:gd name="connsiteX1" fmla="*/ 182153 w 494607"/>
                  <a:gd name="connsiteY1" fmla="*/ 6201 h 380521"/>
                  <a:gd name="connsiteX2" fmla="*/ 196520 w 494607"/>
                  <a:gd name="connsiteY2" fmla="*/ 26662 h 380521"/>
                  <a:gd name="connsiteX3" fmla="*/ 356090 w 494607"/>
                  <a:gd name="connsiteY3" fmla="*/ 27900 h 380521"/>
                  <a:gd name="connsiteX4" fmla="*/ 355941 w 494607"/>
                  <a:gd name="connsiteY4" fmla="*/ 27303 h 380521"/>
                  <a:gd name="connsiteX5" fmla="*/ 357582 w 494607"/>
                  <a:gd name="connsiteY5" fmla="*/ 27291 h 380521"/>
                  <a:gd name="connsiteX6" fmla="*/ 358047 w 494607"/>
                  <a:gd name="connsiteY6" fmla="*/ 21387 h 380521"/>
                  <a:gd name="connsiteX7" fmla="*/ 362063 w 494607"/>
                  <a:gd name="connsiteY7" fmla="*/ 24973 h 380521"/>
                  <a:gd name="connsiteX8" fmla="*/ 366745 w 494607"/>
                  <a:gd name="connsiteY8" fmla="*/ 34067 h 380521"/>
                  <a:gd name="connsiteX9" fmla="*/ 364374 w 494607"/>
                  <a:gd name="connsiteY9" fmla="*/ 37970 h 380521"/>
                  <a:gd name="connsiteX10" fmla="*/ 358453 w 494607"/>
                  <a:gd name="connsiteY10" fmla="*/ 43367 h 380521"/>
                  <a:gd name="connsiteX11" fmla="*/ 357995 w 494607"/>
                  <a:gd name="connsiteY11" fmla="*/ 44950 h 380521"/>
                  <a:gd name="connsiteX12" fmla="*/ 357361 w 494607"/>
                  <a:gd name="connsiteY12" fmla="*/ 45526 h 380521"/>
                  <a:gd name="connsiteX13" fmla="*/ 355046 w 494607"/>
                  <a:gd name="connsiteY13" fmla="*/ 53516 h 380521"/>
                  <a:gd name="connsiteX14" fmla="*/ 405477 w 494607"/>
                  <a:gd name="connsiteY14" fmla="*/ 92092 h 380521"/>
                  <a:gd name="connsiteX15" fmla="*/ 440351 w 494607"/>
                  <a:gd name="connsiteY15" fmla="*/ 151279 h 380521"/>
                  <a:gd name="connsiteX16" fmla="*/ 477107 w 494607"/>
                  <a:gd name="connsiteY16" fmla="*/ 169757 h 380521"/>
                  <a:gd name="connsiteX17" fmla="*/ 494607 w 494607"/>
                  <a:gd name="connsiteY17" fmla="*/ 176760 h 380521"/>
                  <a:gd name="connsiteX18" fmla="*/ 446606 w 494607"/>
                  <a:gd name="connsiteY18" fmla="*/ 229530 h 380521"/>
                  <a:gd name="connsiteX19" fmla="*/ 339699 w 494607"/>
                  <a:gd name="connsiteY19" fmla="*/ 326613 h 380521"/>
                  <a:gd name="connsiteX20" fmla="*/ 267549 w 494607"/>
                  <a:gd name="connsiteY20" fmla="*/ 380521 h 380521"/>
                  <a:gd name="connsiteX21" fmla="*/ 264836 w 494607"/>
                  <a:gd name="connsiteY21" fmla="*/ 354630 h 380521"/>
                  <a:gd name="connsiteX22" fmla="*/ 264190 w 494607"/>
                  <a:gd name="connsiteY22" fmla="*/ 353621 h 380521"/>
                  <a:gd name="connsiteX23" fmla="*/ 264127 w 494607"/>
                  <a:gd name="connsiteY23" fmla="*/ 353015 h 380521"/>
                  <a:gd name="connsiteX24" fmla="*/ 191058 w 494607"/>
                  <a:gd name="connsiteY24" fmla="*/ 313931 h 380521"/>
                  <a:gd name="connsiteX25" fmla="*/ 155859 w 494607"/>
                  <a:gd name="connsiteY25" fmla="*/ 297791 h 380521"/>
                  <a:gd name="connsiteX26" fmla="*/ 143156 w 494607"/>
                  <a:gd name="connsiteY26" fmla="*/ 284550 h 380521"/>
                  <a:gd name="connsiteX27" fmla="*/ 140978 w 494607"/>
                  <a:gd name="connsiteY27" fmla="*/ 268747 h 380521"/>
                  <a:gd name="connsiteX28" fmla="*/ 163975 w 494607"/>
                  <a:gd name="connsiteY28" fmla="*/ 258279 h 380521"/>
                  <a:gd name="connsiteX29" fmla="*/ 161084 w 494607"/>
                  <a:gd name="connsiteY29" fmla="*/ 243193 h 380521"/>
                  <a:gd name="connsiteX30" fmla="*/ 160491 w 494607"/>
                  <a:gd name="connsiteY30" fmla="*/ 242369 h 380521"/>
                  <a:gd name="connsiteX31" fmla="*/ 160337 w 494607"/>
                  <a:gd name="connsiteY31" fmla="*/ 241560 h 380521"/>
                  <a:gd name="connsiteX32" fmla="*/ 150891 w 494607"/>
                  <a:gd name="connsiteY32" fmla="*/ 228419 h 380521"/>
                  <a:gd name="connsiteX33" fmla="*/ 76754 w 494607"/>
                  <a:gd name="connsiteY33" fmla="*/ 189129 h 380521"/>
                  <a:gd name="connsiteX34" fmla="*/ 43825 w 494607"/>
                  <a:gd name="connsiteY34" fmla="*/ 165209 h 380521"/>
                  <a:gd name="connsiteX35" fmla="*/ 17438 w 494607"/>
                  <a:gd name="connsiteY35" fmla="*/ 135139 h 380521"/>
                  <a:gd name="connsiteX36" fmla="*/ 6325 w 494607"/>
                  <a:gd name="connsiteY36" fmla="*/ 109972 h 380521"/>
                  <a:gd name="connsiteX37" fmla="*/ 0 w 494607"/>
                  <a:gd name="connsiteY37" fmla="*/ 82168 h 380521"/>
                  <a:gd name="connsiteX38" fmla="*/ 5749 w 494607"/>
                  <a:gd name="connsiteY38" fmla="*/ 83001 h 380521"/>
                  <a:gd name="connsiteX39" fmla="*/ 41427 w 494607"/>
                  <a:gd name="connsiteY39" fmla="*/ 93251 h 380521"/>
                  <a:gd name="connsiteX40" fmla="*/ 45181 w 494607"/>
                  <a:gd name="connsiteY40" fmla="*/ 91682 h 380521"/>
                  <a:gd name="connsiteX41" fmla="*/ 64442 w 494607"/>
                  <a:gd name="connsiteY41" fmla="*/ 92896 h 380521"/>
                  <a:gd name="connsiteX42" fmla="*/ 65730 w 494607"/>
                  <a:gd name="connsiteY42" fmla="*/ 92246 h 380521"/>
                  <a:gd name="connsiteX43" fmla="*/ 66030 w 494607"/>
                  <a:gd name="connsiteY43" fmla="*/ 92265 h 380521"/>
                  <a:gd name="connsiteX44" fmla="*/ 83699 w 494607"/>
                  <a:gd name="connsiteY44" fmla="*/ 83327 h 380521"/>
                  <a:gd name="connsiteX45" fmla="*/ 112783 w 494607"/>
                  <a:gd name="connsiteY45" fmla="*/ 30442 h 380521"/>
                  <a:gd name="connsiteX46" fmla="*/ 130977 w 494607"/>
                  <a:gd name="connsiteY46" fmla="*/ 9144 h 380521"/>
                  <a:gd name="connsiteX47" fmla="*/ 157402 w 494607"/>
                  <a:gd name="connsiteY47" fmla="*/ 709 h 380521"/>
                  <a:gd name="connsiteX48" fmla="*/ 171211 w 494607"/>
                  <a:gd name="connsiteY48" fmla="*/ 225 h 38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4607" h="380521">
                    <a:moveTo>
                      <a:pt x="171211" y="225"/>
                    </a:moveTo>
                    <a:cubicBezTo>
                      <a:pt x="175321" y="763"/>
                      <a:pt x="178954" y="2379"/>
                      <a:pt x="182153" y="6201"/>
                    </a:cubicBezTo>
                    <a:cubicBezTo>
                      <a:pt x="188028" y="13147"/>
                      <a:pt x="181831" y="27954"/>
                      <a:pt x="196520" y="26662"/>
                    </a:cubicBezTo>
                    <a:cubicBezTo>
                      <a:pt x="249442" y="27200"/>
                      <a:pt x="303209" y="30485"/>
                      <a:pt x="356090" y="27900"/>
                    </a:cubicBezTo>
                    <a:lnTo>
                      <a:pt x="355941" y="27303"/>
                    </a:lnTo>
                    <a:lnTo>
                      <a:pt x="357582" y="27291"/>
                    </a:lnTo>
                    <a:cubicBezTo>
                      <a:pt x="358131" y="25118"/>
                      <a:pt x="358216" y="23198"/>
                      <a:pt x="358047" y="21387"/>
                    </a:cubicBezTo>
                    <a:cubicBezTo>
                      <a:pt x="359611" y="22582"/>
                      <a:pt x="360964" y="23778"/>
                      <a:pt x="362063" y="24973"/>
                    </a:cubicBezTo>
                    <a:lnTo>
                      <a:pt x="366745" y="34067"/>
                    </a:lnTo>
                    <a:lnTo>
                      <a:pt x="364374" y="37970"/>
                    </a:lnTo>
                    <a:cubicBezTo>
                      <a:pt x="362464" y="39674"/>
                      <a:pt x="360158" y="41304"/>
                      <a:pt x="358453" y="43367"/>
                    </a:cubicBezTo>
                    <a:lnTo>
                      <a:pt x="357995" y="44950"/>
                    </a:lnTo>
                    <a:lnTo>
                      <a:pt x="357361" y="45526"/>
                    </a:lnTo>
                    <a:cubicBezTo>
                      <a:pt x="355654" y="47589"/>
                      <a:pt x="354549" y="50084"/>
                      <a:pt x="355046" y="53516"/>
                    </a:cubicBezTo>
                    <a:cubicBezTo>
                      <a:pt x="357032" y="67425"/>
                      <a:pt x="395247" y="82602"/>
                      <a:pt x="405477" y="92092"/>
                    </a:cubicBezTo>
                    <a:cubicBezTo>
                      <a:pt x="423527" y="108899"/>
                      <a:pt x="420990" y="137080"/>
                      <a:pt x="440351" y="151279"/>
                    </a:cubicBezTo>
                    <a:cubicBezTo>
                      <a:pt x="450095" y="158433"/>
                      <a:pt x="463422" y="164337"/>
                      <a:pt x="477107" y="169757"/>
                    </a:cubicBezTo>
                    <a:lnTo>
                      <a:pt x="494607" y="176760"/>
                    </a:lnTo>
                    <a:lnTo>
                      <a:pt x="446606" y="229530"/>
                    </a:lnTo>
                    <a:cubicBezTo>
                      <a:pt x="412552" y="263555"/>
                      <a:pt x="376875" y="295958"/>
                      <a:pt x="339699" y="326613"/>
                    </a:cubicBezTo>
                    <a:lnTo>
                      <a:pt x="267549" y="380521"/>
                    </a:lnTo>
                    <a:lnTo>
                      <a:pt x="264836" y="354630"/>
                    </a:lnTo>
                    <a:lnTo>
                      <a:pt x="264190" y="353621"/>
                    </a:lnTo>
                    <a:lnTo>
                      <a:pt x="264127" y="353015"/>
                    </a:lnTo>
                    <a:cubicBezTo>
                      <a:pt x="255367" y="323535"/>
                      <a:pt x="218263" y="320351"/>
                      <a:pt x="191058" y="313931"/>
                    </a:cubicBezTo>
                    <a:cubicBezTo>
                      <a:pt x="181551" y="311671"/>
                      <a:pt x="167076" y="305945"/>
                      <a:pt x="155859" y="297791"/>
                    </a:cubicBezTo>
                    <a:lnTo>
                      <a:pt x="143156" y="284550"/>
                    </a:lnTo>
                    <a:lnTo>
                      <a:pt x="140978" y="268747"/>
                    </a:lnTo>
                    <a:cubicBezTo>
                      <a:pt x="151082" y="264872"/>
                      <a:pt x="160086" y="270414"/>
                      <a:pt x="163975" y="258279"/>
                    </a:cubicBezTo>
                    <a:cubicBezTo>
                      <a:pt x="165391" y="253933"/>
                      <a:pt x="163785" y="248400"/>
                      <a:pt x="161084" y="243193"/>
                    </a:cubicBezTo>
                    <a:lnTo>
                      <a:pt x="160491" y="242369"/>
                    </a:lnTo>
                    <a:lnTo>
                      <a:pt x="160337" y="241560"/>
                    </a:lnTo>
                    <a:cubicBezTo>
                      <a:pt x="157639" y="236354"/>
                      <a:pt x="153847" y="231475"/>
                      <a:pt x="150891" y="228419"/>
                    </a:cubicBezTo>
                    <a:cubicBezTo>
                      <a:pt x="132873" y="209981"/>
                      <a:pt x="99472" y="202688"/>
                      <a:pt x="76754" y="189129"/>
                    </a:cubicBezTo>
                    <a:cubicBezTo>
                      <a:pt x="64362" y="181708"/>
                      <a:pt x="53555" y="173979"/>
                      <a:pt x="43825" y="165209"/>
                    </a:cubicBezTo>
                    <a:lnTo>
                      <a:pt x="17438" y="135139"/>
                    </a:lnTo>
                    <a:lnTo>
                      <a:pt x="6325" y="109972"/>
                    </a:lnTo>
                    <a:cubicBezTo>
                      <a:pt x="3868" y="100813"/>
                      <a:pt x="2325" y="91477"/>
                      <a:pt x="0" y="82168"/>
                    </a:cubicBezTo>
                    <a:cubicBezTo>
                      <a:pt x="1776" y="82457"/>
                      <a:pt x="3636" y="82711"/>
                      <a:pt x="5749" y="83001"/>
                    </a:cubicBezTo>
                    <a:cubicBezTo>
                      <a:pt x="15261" y="84341"/>
                      <a:pt x="32000" y="95533"/>
                      <a:pt x="41427" y="93251"/>
                    </a:cubicBezTo>
                    <a:lnTo>
                      <a:pt x="45181" y="91682"/>
                    </a:lnTo>
                    <a:lnTo>
                      <a:pt x="64442" y="92896"/>
                    </a:lnTo>
                    <a:lnTo>
                      <a:pt x="65730" y="92246"/>
                    </a:lnTo>
                    <a:lnTo>
                      <a:pt x="66030" y="92265"/>
                    </a:lnTo>
                    <a:cubicBezTo>
                      <a:pt x="72466" y="91006"/>
                      <a:pt x="78627" y="88054"/>
                      <a:pt x="83699" y="83327"/>
                    </a:cubicBezTo>
                    <a:cubicBezTo>
                      <a:pt x="97903" y="70106"/>
                      <a:pt x="103060" y="46815"/>
                      <a:pt x="112783" y="30442"/>
                    </a:cubicBezTo>
                    <a:lnTo>
                      <a:pt x="130977" y="9144"/>
                    </a:lnTo>
                    <a:lnTo>
                      <a:pt x="157402" y="709"/>
                    </a:lnTo>
                    <a:cubicBezTo>
                      <a:pt x="162513" y="225"/>
                      <a:pt x="167101" y="-314"/>
                      <a:pt x="171211" y="225"/>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0" name="Freeform 59">
                <a:extLst>
                  <a:ext uri="{FF2B5EF4-FFF2-40B4-BE49-F238E27FC236}">
                    <a16:creationId xmlns:a16="http://schemas.microsoft.com/office/drawing/2014/main" id="{2522CFF3-27C7-9C4B-8D48-AFCAA3A9054A}"/>
                  </a:ext>
                </a:extLst>
              </p:cNvPr>
              <p:cNvSpPr/>
              <p:nvPr/>
            </p:nvSpPr>
            <p:spPr>
              <a:xfrm>
                <a:off x="3824247" y="5790251"/>
                <a:ext cx="550898" cy="544490"/>
              </a:xfrm>
              <a:custGeom>
                <a:avLst/>
                <a:gdLst>
                  <a:gd name="connsiteX0" fmla="*/ 218232 w 550898"/>
                  <a:gd name="connsiteY0" fmla="*/ 0 h 544490"/>
                  <a:gd name="connsiteX1" fmla="*/ 257848 w 550898"/>
                  <a:gd name="connsiteY1" fmla="*/ 3020 h 544490"/>
                  <a:gd name="connsiteX2" fmla="*/ 262341 w 550898"/>
                  <a:gd name="connsiteY2" fmla="*/ 4238 h 544490"/>
                  <a:gd name="connsiteX3" fmla="*/ 273204 w 550898"/>
                  <a:gd name="connsiteY3" fmla="*/ 7835 h 544490"/>
                  <a:gd name="connsiteX4" fmla="*/ 279798 w 550898"/>
                  <a:gd name="connsiteY4" fmla="*/ 8968 h 544490"/>
                  <a:gd name="connsiteX5" fmla="*/ 283059 w 550898"/>
                  <a:gd name="connsiteY5" fmla="*/ 9851 h 544490"/>
                  <a:gd name="connsiteX6" fmla="*/ 301220 w 550898"/>
                  <a:gd name="connsiteY6" fmla="*/ 64394 h 544490"/>
                  <a:gd name="connsiteX7" fmla="*/ 301299 w 550898"/>
                  <a:gd name="connsiteY7" fmla="*/ 64484 h 544490"/>
                  <a:gd name="connsiteX8" fmla="*/ 301996 w 550898"/>
                  <a:gd name="connsiteY8" fmla="*/ 66063 h 544490"/>
                  <a:gd name="connsiteX9" fmla="*/ 361389 w 550898"/>
                  <a:gd name="connsiteY9" fmla="*/ 120106 h 544490"/>
                  <a:gd name="connsiteX10" fmla="*/ 435492 w 550898"/>
                  <a:gd name="connsiteY10" fmla="*/ 159407 h 544490"/>
                  <a:gd name="connsiteX11" fmla="*/ 444352 w 550898"/>
                  <a:gd name="connsiteY11" fmla="*/ 171714 h 544490"/>
                  <a:gd name="connsiteX12" fmla="*/ 447073 w 550898"/>
                  <a:gd name="connsiteY12" fmla="*/ 186011 h 544490"/>
                  <a:gd name="connsiteX13" fmla="*/ 424070 w 550898"/>
                  <a:gd name="connsiteY13" fmla="*/ 196437 h 544490"/>
                  <a:gd name="connsiteX14" fmla="*/ 426367 w 550898"/>
                  <a:gd name="connsiteY14" fmla="*/ 213217 h 544490"/>
                  <a:gd name="connsiteX15" fmla="*/ 427017 w 550898"/>
                  <a:gd name="connsiteY15" fmla="*/ 213895 h 544490"/>
                  <a:gd name="connsiteX16" fmla="*/ 427149 w 550898"/>
                  <a:gd name="connsiteY16" fmla="*/ 214853 h 544490"/>
                  <a:gd name="connsiteX17" fmla="*/ 475651 w 550898"/>
                  <a:gd name="connsiteY17" fmla="*/ 244891 h 544490"/>
                  <a:gd name="connsiteX18" fmla="*/ 537414 w 550898"/>
                  <a:gd name="connsiteY18" fmla="*/ 266336 h 544490"/>
                  <a:gd name="connsiteX19" fmla="*/ 548051 w 550898"/>
                  <a:gd name="connsiteY19" fmla="*/ 282966 h 544490"/>
                  <a:gd name="connsiteX20" fmla="*/ 550898 w 550898"/>
                  <a:gd name="connsiteY20" fmla="*/ 310248 h 544490"/>
                  <a:gd name="connsiteX21" fmla="*/ 507665 w 550898"/>
                  <a:gd name="connsiteY21" fmla="*/ 342549 h 544490"/>
                  <a:gd name="connsiteX22" fmla="*/ 113630 w 550898"/>
                  <a:gd name="connsiteY22" fmla="*/ 531816 h 544490"/>
                  <a:gd name="connsiteX23" fmla="*/ 64299 w 550898"/>
                  <a:gd name="connsiteY23" fmla="*/ 544490 h 544490"/>
                  <a:gd name="connsiteX24" fmla="*/ 61466 w 550898"/>
                  <a:gd name="connsiteY24" fmla="*/ 516273 h 544490"/>
                  <a:gd name="connsiteX25" fmla="*/ 43342 w 550898"/>
                  <a:gd name="connsiteY25" fmla="*/ 463450 h 544490"/>
                  <a:gd name="connsiteX26" fmla="*/ 27033 w 550898"/>
                  <a:gd name="connsiteY26" fmla="*/ 387902 h 544490"/>
                  <a:gd name="connsiteX27" fmla="*/ 37502 w 550898"/>
                  <a:gd name="connsiteY27" fmla="*/ 353235 h 544490"/>
                  <a:gd name="connsiteX28" fmla="*/ 3389 w 550898"/>
                  <a:gd name="connsiteY28" fmla="*/ 337622 h 544490"/>
                  <a:gd name="connsiteX29" fmla="*/ 25110 w 550898"/>
                  <a:gd name="connsiteY29" fmla="*/ 266541 h 544490"/>
                  <a:gd name="connsiteX30" fmla="*/ 99746 w 550898"/>
                  <a:gd name="connsiteY30" fmla="*/ 287136 h 544490"/>
                  <a:gd name="connsiteX31" fmla="*/ 132150 w 550898"/>
                  <a:gd name="connsiteY31" fmla="*/ 215131 h 544490"/>
                  <a:gd name="connsiteX32" fmla="*/ 150809 w 550898"/>
                  <a:gd name="connsiteY32" fmla="*/ 118988 h 544490"/>
                  <a:gd name="connsiteX33" fmla="*/ 191118 w 550898"/>
                  <a:gd name="connsiteY33" fmla="*/ 80983 h 544490"/>
                  <a:gd name="connsiteX34" fmla="*/ 169468 w 550898"/>
                  <a:gd name="connsiteY34" fmla="*/ 87762 h 544490"/>
                  <a:gd name="connsiteX35" fmla="*/ 135497 w 550898"/>
                  <a:gd name="connsiteY35" fmla="*/ 58693 h 544490"/>
                  <a:gd name="connsiteX36" fmla="*/ 135805 w 550898"/>
                  <a:gd name="connsiteY36" fmla="*/ 58290 h 544490"/>
                  <a:gd name="connsiteX37" fmla="*/ 135952 w 550898"/>
                  <a:gd name="connsiteY37" fmla="*/ 58566 h 544490"/>
                  <a:gd name="connsiteX38" fmla="*/ 180329 w 550898"/>
                  <a:gd name="connsiteY38" fmla="*/ 11695 h 544490"/>
                  <a:gd name="connsiteX39" fmla="*/ 218232 w 550898"/>
                  <a:gd name="connsiteY39" fmla="*/ 0 h 54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50898" h="544490">
                    <a:moveTo>
                      <a:pt x="218232" y="0"/>
                    </a:moveTo>
                    <a:lnTo>
                      <a:pt x="257848" y="3020"/>
                    </a:lnTo>
                    <a:lnTo>
                      <a:pt x="262341" y="4238"/>
                    </a:lnTo>
                    <a:lnTo>
                      <a:pt x="273204" y="7835"/>
                    </a:lnTo>
                    <a:lnTo>
                      <a:pt x="279798" y="8968"/>
                    </a:lnTo>
                    <a:lnTo>
                      <a:pt x="283059" y="9851"/>
                    </a:lnTo>
                    <a:cubicBezTo>
                      <a:pt x="287688" y="28494"/>
                      <a:pt x="289255" y="47240"/>
                      <a:pt x="301220" y="64394"/>
                    </a:cubicBezTo>
                    <a:lnTo>
                      <a:pt x="301299" y="64484"/>
                    </a:lnTo>
                    <a:lnTo>
                      <a:pt x="301996" y="66063"/>
                    </a:lnTo>
                    <a:cubicBezTo>
                      <a:pt x="318144" y="89209"/>
                      <a:pt x="336575" y="105255"/>
                      <a:pt x="361389" y="120106"/>
                    </a:cubicBezTo>
                    <a:cubicBezTo>
                      <a:pt x="384089" y="133690"/>
                      <a:pt x="417526" y="140970"/>
                      <a:pt x="435492" y="159407"/>
                    </a:cubicBezTo>
                    <a:lnTo>
                      <a:pt x="444352" y="171714"/>
                    </a:lnTo>
                    <a:lnTo>
                      <a:pt x="447073" y="186011"/>
                    </a:lnTo>
                    <a:cubicBezTo>
                      <a:pt x="443156" y="198132"/>
                      <a:pt x="434183" y="192585"/>
                      <a:pt x="424070" y="196437"/>
                    </a:cubicBezTo>
                    <a:cubicBezTo>
                      <a:pt x="422307" y="202420"/>
                      <a:pt x="423416" y="208057"/>
                      <a:pt x="426367" y="213217"/>
                    </a:cubicBezTo>
                    <a:lnTo>
                      <a:pt x="427017" y="213895"/>
                    </a:lnTo>
                    <a:lnTo>
                      <a:pt x="427149" y="214853"/>
                    </a:lnTo>
                    <a:cubicBezTo>
                      <a:pt x="436005" y="230317"/>
                      <a:pt x="461416" y="241496"/>
                      <a:pt x="475651" y="244891"/>
                    </a:cubicBezTo>
                    <a:cubicBezTo>
                      <a:pt x="496037" y="249727"/>
                      <a:pt x="522011" y="252709"/>
                      <a:pt x="537414" y="266336"/>
                    </a:cubicBezTo>
                    <a:lnTo>
                      <a:pt x="548051" y="282966"/>
                    </a:lnTo>
                    <a:lnTo>
                      <a:pt x="550898" y="310248"/>
                    </a:lnTo>
                    <a:lnTo>
                      <a:pt x="507665" y="342549"/>
                    </a:lnTo>
                    <a:cubicBezTo>
                      <a:pt x="387530" y="423644"/>
                      <a:pt x="255050" y="487867"/>
                      <a:pt x="113630" y="531816"/>
                    </a:cubicBezTo>
                    <a:lnTo>
                      <a:pt x="64299" y="544490"/>
                    </a:lnTo>
                    <a:lnTo>
                      <a:pt x="61466" y="516273"/>
                    </a:lnTo>
                    <a:cubicBezTo>
                      <a:pt x="57122" y="498618"/>
                      <a:pt x="50677" y="481323"/>
                      <a:pt x="43342" y="463450"/>
                    </a:cubicBezTo>
                    <a:cubicBezTo>
                      <a:pt x="34155" y="441109"/>
                      <a:pt x="5953" y="409164"/>
                      <a:pt x="27033" y="387902"/>
                    </a:cubicBezTo>
                    <a:cubicBezTo>
                      <a:pt x="38285" y="376654"/>
                      <a:pt x="46119" y="369824"/>
                      <a:pt x="37502" y="353235"/>
                    </a:cubicBezTo>
                    <a:cubicBezTo>
                      <a:pt x="28671" y="336132"/>
                      <a:pt x="15424" y="347585"/>
                      <a:pt x="3389" y="337622"/>
                    </a:cubicBezTo>
                    <a:cubicBezTo>
                      <a:pt x="-8433" y="327812"/>
                      <a:pt x="13573" y="272396"/>
                      <a:pt x="25110" y="266541"/>
                    </a:cubicBezTo>
                    <a:cubicBezTo>
                      <a:pt x="57158" y="250312"/>
                      <a:pt x="65063" y="308245"/>
                      <a:pt x="99746" y="287136"/>
                    </a:cubicBezTo>
                    <a:cubicBezTo>
                      <a:pt x="119900" y="274861"/>
                      <a:pt x="129301" y="235726"/>
                      <a:pt x="132150" y="215131"/>
                    </a:cubicBezTo>
                    <a:cubicBezTo>
                      <a:pt x="136423" y="185087"/>
                      <a:pt x="129657" y="144873"/>
                      <a:pt x="150809" y="118988"/>
                    </a:cubicBezTo>
                    <a:cubicBezTo>
                      <a:pt x="161634" y="105686"/>
                      <a:pt x="201088" y="104608"/>
                      <a:pt x="191118" y="80983"/>
                    </a:cubicBezTo>
                    <a:cubicBezTo>
                      <a:pt x="182572" y="91871"/>
                      <a:pt x="182928" y="92230"/>
                      <a:pt x="169468" y="87762"/>
                    </a:cubicBezTo>
                    <a:cubicBezTo>
                      <a:pt x="151521" y="81804"/>
                      <a:pt x="142761" y="71378"/>
                      <a:pt x="135497" y="58693"/>
                    </a:cubicBezTo>
                    <a:lnTo>
                      <a:pt x="135805" y="58290"/>
                    </a:lnTo>
                    <a:lnTo>
                      <a:pt x="135952" y="58566"/>
                    </a:lnTo>
                    <a:cubicBezTo>
                      <a:pt x="149709" y="41982"/>
                      <a:pt x="160123" y="21791"/>
                      <a:pt x="180329" y="11695"/>
                    </a:cubicBezTo>
                    <a:lnTo>
                      <a:pt x="21823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1" name="Freeform 60">
                <a:extLst>
                  <a:ext uri="{FF2B5EF4-FFF2-40B4-BE49-F238E27FC236}">
                    <a16:creationId xmlns:a16="http://schemas.microsoft.com/office/drawing/2014/main" id="{3973FD8E-4218-3A4B-9483-7F5432EBBFFE}"/>
                  </a:ext>
                </a:extLst>
              </p:cNvPr>
              <p:cNvSpPr/>
              <p:nvPr/>
            </p:nvSpPr>
            <p:spPr>
              <a:xfrm>
                <a:off x="3114193" y="3430417"/>
                <a:ext cx="3788" cy="7865"/>
              </a:xfrm>
              <a:custGeom>
                <a:avLst/>
                <a:gdLst>
                  <a:gd name="connsiteX0" fmla="*/ 444 w 3788"/>
                  <a:gd name="connsiteY0" fmla="*/ 0 h 7865"/>
                  <a:gd name="connsiteX1" fmla="*/ 3788 w 3788"/>
                  <a:gd name="connsiteY1" fmla="*/ 7865 h 7865"/>
                  <a:gd name="connsiteX2" fmla="*/ 2842 w 3788"/>
                  <a:gd name="connsiteY2" fmla="*/ 6812 h 7865"/>
                  <a:gd name="connsiteX3" fmla="*/ 0 w 3788"/>
                  <a:gd name="connsiteY3" fmla="*/ 114 h 7865"/>
                  <a:gd name="connsiteX4" fmla="*/ 444 w 3788"/>
                  <a:gd name="connsiteY4" fmla="*/ 0 h 78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8" h="7865">
                    <a:moveTo>
                      <a:pt x="444" y="0"/>
                    </a:moveTo>
                    <a:lnTo>
                      <a:pt x="3788" y="7865"/>
                    </a:lnTo>
                    <a:lnTo>
                      <a:pt x="2842" y="6812"/>
                    </a:lnTo>
                    <a:lnTo>
                      <a:pt x="0" y="114"/>
                    </a:lnTo>
                    <a:lnTo>
                      <a:pt x="44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2" name="Freeform 61">
                <a:extLst>
                  <a:ext uri="{FF2B5EF4-FFF2-40B4-BE49-F238E27FC236}">
                    <a16:creationId xmlns:a16="http://schemas.microsoft.com/office/drawing/2014/main" id="{949E045B-791E-294E-AFEC-642B61096D89}"/>
                  </a:ext>
                </a:extLst>
              </p:cNvPr>
              <p:cNvSpPr/>
              <p:nvPr/>
            </p:nvSpPr>
            <p:spPr>
              <a:xfrm>
                <a:off x="3834342" y="3432520"/>
                <a:ext cx="111477" cy="191392"/>
              </a:xfrm>
              <a:custGeom>
                <a:avLst/>
                <a:gdLst>
                  <a:gd name="connsiteX0" fmla="*/ 39618 w 111477"/>
                  <a:gd name="connsiteY0" fmla="*/ 0 h 191392"/>
                  <a:gd name="connsiteX1" fmla="*/ 103536 w 111477"/>
                  <a:gd name="connsiteY1" fmla="*/ 16421 h 191392"/>
                  <a:gd name="connsiteX2" fmla="*/ 111477 w 111477"/>
                  <a:gd name="connsiteY2" fmla="*/ 19325 h 191392"/>
                  <a:gd name="connsiteX3" fmla="*/ 100015 w 111477"/>
                  <a:gd name="connsiteY3" fmla="*/ 19431 h 191392"/>
                  <a:gd name="connsiteX4" fmla="*/ 62227 w 111477"/>
                  <a:gd name="connsiteY4" fmla="*/ 17118 h 191392"/>
                  <a:gd name="connsiteX5" fmla="*/ 42764 w 111477"/>
                  <a:gd name="connsiteY5" fmla="*/ 8180 h 191392"/>
                  <a:gd name="connsiteX6" fmla="*/ 9069 w 111477"/>
                  <a:gd name="connsiteY6" fmla="*/ 55196 h 191392"/>
                  <a:gd name="connsiteX7" fmla="*/ 5215 w 111477"/>
                  <a:gd name="connsiteY7" fmla="*/ 88099 h 191392"/>
                  <a:gd name="connsiteX8" fmla="*/ 15141 w 111477"/>
                  <a:gd name="connsiteY8" fmla="*/ 113789 h 191392"/>
                  <a:gd name="connsiteX9" fmla="*/ 11976 w 111477"/>
                  <a:gd name="connsiteY9" fmla="*/ 135376 h 191392"/>
                  <a:gd name="connsiteX10" fmla="*/ 23946 w 111477"/>
                  <a:gd name="connsiteY10" fmla="*/ 150429 h 191392"/>
                  <a:gd name="connsiteX11" fmla="*/ 18951 w 111477"/>
                  <a:gd name="connsiteY11" fmla="*/ 169011 h 191392"/>
                  <a:gd name="connsiteX12" fmla="*/ 12603 w 111477"/>
                  <a:gd name="connsiteY12" fmla="*/ 186410 h 191392"/>
                  <a:gd name="connsiteX13" fmla="*/ 16422 w 111477"/>
                  <a:gd name="connsiteY13" fmla="*/ 191392 h 191392"/>
                  <a:gd name="connsiteX14" fmla="*/ 13282 w 111477"/>
                  <a:gd name="connsiteY14" fmla="*/ 190269 h 191392"/>
                  <a:gd name="connsiteX15" fmla="*/ 15084 w 111477"/>
                  <a:gd name="connsiteY15" fmla="*/ 166959 h 191392"/>
                  <a:gd name="connsiteX16" fmla="*/ 20100 w 111477"/>
                  <a:gd name="connsiteY16" fmla="*/ 148380 h 191392"/>
                  <a:gd name="connsiteX17" fmla="*/ 8148 w 111477"/>
                  <a:gd name="connsiteY17" fmla="*/ 133323 h 191392"/>
                  <a:gd name="connsiteX18" fmla="*/ 11283 w 111477"/>
                  <a:gd name="connsiteY18" fmla="*/ 111723 h 191392"/>
                  <a:gd name="connsiteX19" fmla="*/ 1368 w 111477"/>
                  <a:gd name="connsiteY19" fmla="*/ 86004 h 191392"/>
                  <a:gd name="connsiteX20" fmla="*/ 5209 w 111477"/>
                  <a:gd name="connsiteY20" fmla="*/ 53100 h 191392"/>
                  <a:gd name="connsiteX21" fmla="*/ 38910 w 111477"/>
                  <a:gd name="connsiteY21" fmla="*/ 6078 h 191392"/>
                  <a:gd name="connsiteX22" fmla="*/ 38635 w 111477"/>
                  <a:gd name="connsiteY22" fmla="*/ 4934 h 191392"/>
                  <a:gd name="connsiteX23" fmla="*/ 39618 w 111477"/>
                  <a:gd name="connsiteY23" fmla="*/ 0 h 191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1477" h="191392">
                    <a:moveTo>
                      <a:pt x="39618" y="0"/>
                    </a:moveTo>
                    <a:lnTo>
                      <a:pt x="103536" y="16421"/>
                    </a:lnTo>
                    <a:lnTo>
                      <a:pt x="111477" y="19325"/>
                    </a:lnTo>
                    <a:lnTo>
                      <a:pt x="100015" y="19431"/>
                    </a:lnTo>
                    <a:cubicBezTo>
                      <a:pt x="87288" y="19386"/>
                      <a:pt x="74618" y="18896"/>
                      <a:pt x="62227" y="17118"/>
                    </a:cubicBezTo>
                    <a:cubicBezTo>
                      <a:pt x="53270" y="15838"/>
                      <a:pt x="45067" y="17249"/>
                      <a:pt x="42764" y="8180"/>
                    </a:cubicBezTo>
                    <a:cubicBezTo>
                      <a:pt x="27047" y="19862"/>
                      <a:pt x="16088" y="37947"/>
                      <a:pt x="9069" y="55196"/>
                    </a:cubicBezTo>
                    <a:cubicBezTo>
                      <a:pt x="4720" y="65833"/>
                      <a:pt x="2072" y="76652"/>
                      <a:pt x="5215" y="88099"/>
                    </a:cubicBezTo>
                    <a:cubicBezTo>
                      <a:pt x="7648" y="96880"/>
                      <a:pt x="14452" y="104537"/>
                      <a:pt x="15141" y="113789"/>
                    </a:cubicBezTo>
                    <a:cubicBezTo>
                      <a:pt x="15679" y="120976"/>
                      <a:pt x="9607" y="128738"/>
                      <a:pt x="11976" y="135376"/>
                    </a:cubicBezTo>
                    <a:cubicBezTo>
                      <a:pt x="14107" y="141387"/>
                      <a:pt x="22095" y="143451"/>
                      <a:pt x="23946" y="150429"/>
                    </a:cubicBezTo>
                    <a:cubicBezTo>
                      <a:pt x="25841" y="157459"/>
                      <a:pt x="22612" y="163470"/>
                      <a:pt x="18951" y="169011"/>
                    </a:cubicBezTo>
                    <a:cubicBezTo>
                      <a:pt x="14290" y="176067"/>
                      <a:pt x="11588" y="181856"/>
                      <a:pt x="12603" y="186410"/>
                    </a:cubicBezTo>
                    <a:lnTo>
                      <a:pt x="16422" y="191392"/>
                    </a:lnTo>
                    <a:lnTo>
                      <a:pt x="13282" y="190269"/>
                    </a:lnTo>
                    <a:cubicBezTo>
                      <a:pt x="5539" y="185279"/>
                      <a:pt x="8118" y="177548"/>
                      <a:pt x="15084" y="166959"/>
                    </a:cubicBezTo>
                    <a:cubicBezTo>
                      <a:pt x="18767" y="161422"/>
                      <a:pt x="21981" y="155404"/>
                      <a:pt x="20100" y="148380"/>
                    </a:cubicBezTo>
                    <a:cubicBezTo>
                      <a:pt x="18219" y="141401"/>
                      <a:pt x="10264" y="139318"/>
                      <a:pt x="8148" y="133323"/>
                    </a:cubicBezTo>
                    <a:cubicBezTo>
                      <a:pt x="5757" y="126665"/>
                      <a:pt x="11831" y="118908"/>
                      <a:pt x="11283" y="111723"/>
                    </a:cubicBezTo>
                    <a:cubicBezTo>
                      <a:pt x="10616" y="102456"/>
                      <a:pt x="3798" y="94791"/>
                      <a:pt x="1368" y="86004"/>
                    </a:cubicBezTo>
                    <a:cubicBezTo>
                      <a:pt x="-1767" y="74586"/>
                      <a:pt x="898" y="63763"/>
                      <a:pt x="5209" y="53100"/>
                    </a:cubicBezTo>
                    <a:cubicBezTo>
                      <a:pt x="12223" y="35847"/>
                      <a:pt x="23195" y="17771"/>
                      <a:pt x="38910" y="6078"/>
                    </a:cubicBezTo>
                    <a:cubicBezTo>
                      <a:pt x="38831" y="5712"/>
                      <a:pt x="38714" y="5346"/>
                      <a:pt x="38635" y="4934"/>
                    </a:cubicBezTo>
                    <a:lnTo>
                      <a:pt x="39618"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3" name="Freeform 62">
                <a:extLst>
                  <a:ext uri="{FF2B5EF4-FFF2-40B4-BE49-F238E27FC236}">
                    <a16:creationId xmlns:a16="http://schemas.microsoft.com/office/drawing/2014/main" id="{787CF3BE-888D-FF43-8D60-E53D6766EAD3}"/>
                  </a:ext>
                </a:extLst>
              </p:cNvPr>
              <p:cNvSpPr/>
              <p:nvPr/>
            </p:nvSpPr>
            <p:spPr>
              <a:xfrm>
                <a:off x="3117981" y="3438282"/>
                <a:ext cx="247122" cy="128661"/>
              </a:xfrm>
              <a:custGeom>
                <a:avLst/>
                <a:gdLst>
                  <a:gd name="connsiteX0" fmla="*/ 0 w 247122"/>
                  <a:gd name="connsiteY0" fmla="*/ 0 h 128661"/>
                  <a:gd name="connsiteX1" fmla="*/ 14357 w 247122"/>
                  <a:gd name="connsiteY1" fmla="*/ 15991 h 128661"/>
                  <a:gd name="connsiteX2" fmla="*/ 31442 w 247122"/>
                  <a:gd name="connsiteY2" fmla="*/ 36036 h 128661"/>
                  <a:gd name="connsiteX3" fmla="*/ 55542 w 247122"/>
                  <a:gd name="connsiteY3" fmla="*/ 56446 h 128661"/>
                  <a:gd name="connsiteX4" fmla="*/ 114911 w 247122"/>
                  <a:gd name="connsiteY4" fmla="*/ 92233 h 128661"/>
                  <a:gd name="connsiteX5" fmla="*/ 201319 w 247122"/>
                  <a:gd name="connsiteY5" fmla="*/ 98640 h 128661"/>
                  <a:gd name="connsiteX6" fmla="*/ 246306 w 247122"/>
                  <a:gd name="connsiteY6" fmla="*/ 126533 h 128661"/>
                  <a:gd name="connsiteX7" fmla="*/ 247122 w 247122"/>
                  <a:gd name="connsiteY7" fmla="*/ 128661 h 128661"/>
                  <a:gd name="connsiteX8" fmla="*/ 227213 w 247122"/>
                  <a:gd name="connsiteY8" fmla="*/ 112611 h 128661"/>
                  <a:gd name="connsiteX9" fmla="*/ 202926 w 247122"/>
                  <a:gd name="connsiteY9" fmla="*/ 101378 h 128661"/>
                  <a:gd name="connsiteX10" fmla="*/ 116559 w 247122"/>
                  <a:gd name="connsiteY10" fmla="*/ 94992 h 128661"/>
                  <a:gd name="connsiteX11" fmla="*/ 57212 w 247122"/>
                  <a:gd name="connsiteY11" fmla="*/ 59162 h 128661"/>
                  <a:gd name="connsiteX12" fmla="*/ 33115 w 247122"/>
                  <a:gd name="connsiteY12" fmla="*/ 38759 h 128661"/>
                  <a:gd name="connsiteX13" fmla="*/ 15997 w 247122"/>
                  <a:gd name="connsiteY13" fmla="*/ 18729 h 128661"/>
                  <a:gd name="connsiteX14" fmla="*/ 709 w 247122"/>
                  <a:gd name="connsiteY14" fmla="*/ 1669 h 128661"/>
                  <a:gd name="connsiteX15" fmla="*/ 0 w 247122"/>
                  <a:gd name="connsiteY15" fmla="*/ 0 h 128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7122" h="128661">
                    <a:moveTo>
                      <a:pt x="0" y="0"/>
                    </a:moveTo>
                    <a:lnTo>
                      <a:pt x="14357" y="15991"/>
                    </a:lnTo>
                    <a:cubicBezTo>
                      <a:pt x="21018" y="21872"/>
                      <a:pt x="25251" y="29606"/>
                      <a:pt x="31442" y="36036"/>
                    </a:cubicBezTo>
                    <a:cubicBezTo>
                      <a:pt x="38574" y="43404"/>
                      <a:pt x="47156" y="50085"/>
                      <a:pt x="55542" y="56446"/>
                    </a:cubicBezTo>
                    <a:cubicBezTo>
                      <a:pt x="72824" y="69443"/>
                      <a:pt x="92418" y="88343"/>
                      <a:pt x="114911" y="92233"/>
                    </a:cubicBezTo>
                    <a:cubicBezTo>
                      <a:pt x="143087" y="97107"/>
                      <a:pt x="173927" y="91570"/>
                      <a:pt x="201319" y="98640"/>
                    </a:cubicBezTo>
                    <a:cubicBezTo>
                      <a:pt x="217660" y="102873"/>
                      <a:pt x="234706" y="115069"/>
                      <a:pt x="246306" y="126533"/>
                    </a:cubicBezTo>
                    <a:lnTo>
                      <a:pt x="247122" y="128661"/>
                    </a:lnTo>
                    <a:lnTo>
                      <a:pt x="227213" y="112611"/>
                    </a:lnTo>
                    <a:cubicBezTo>
                      <a:pt x="219463" y="107599"/>
                      <a:pt x="211113" y="103493"/>
                      <a:pt x="202926" y="101378"/>
                    </a:cubicBezTo>
                    <a:cubicBezTo>
                      <a:pt x="175549" y="94328"/>
                      <a:pt x="144712" y="99844"/>
                      <a:pt x="116559" y="94992"/>
                    </a:cubicBezTo>
                    <a:cubicBezTo>
                      <a:pt x="94043" y="91094"/>
                      <a:pt x="74479" y="72183"/>
                      <a:pt x="57212" y="59162"/>
                    </a:cubicBezTo>
                    <a:cubicBezTo>
                      <a:pt x="48802" y="52817"/>
                      <a:pt x="40213" y="46140"/>
                      <a:pt x="33115" y="38759"/>
                    </a:cubicBezTo>
                    <a:cubicBezTo>
                      <a:pt x="26912" y="32331"/>
                      <a:pt x="22677" y="24617"/>
                      <a:pt x="15997" y="18729"/>
                    </a:cubicBezTo>
                    <a:cubicBezTo>
                      <a:pt x="11270" y="14541"/>
                      <a:pt x="4992" y="8455"/>
                      <a:pt x="709" y="1669"/>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4" name="Freeform 63">
                <a:extLst>
                  <a:ext uri="{FF2B5EF4-FFF2-40B4-BE49-F238E27FC236}">
                    <a16:creationId xmlns:a16="http://schemas.microsoft.com/office/drawing/2014/main" id="{B51D3B42-A83E-C047-8AAB-7BF00898D059}"/>
                  </a:ext>
                </a:extLst>
              </p:cNvPr>
              <p:cNvSpPr/>
              <p:nvPr/>
            </p:nvSpPr>
            <p:spPr>
              <a:xfrm>
                <a:off x="2832309" y="3495150"/>
                <a:ext cx="93069" cy="175087"/>
              </a:xfrm>
              <a:custGeom>
                <a:avLst/>
                <a:gdLst>
                  <a:gd name="connsiteX0" fmla="*/ 91388 w 93069"/>
                  <a:gd name="connsiteY0" fmla="*/ 0 h 175087"/>
                  <a:gd name="connsiteX1" fmla="*/ 92075 w 93069"/>
                  <a:gd name="connsiteY1" fmla="*/ 1216 h 175087"/>
                  <a:gd name="connsiteX2" fmla="*/ 78774 w 93069"/>
                  <a:gd name="connsiteY2" fmla="*/ 23070 h 175087"/>
                  <a:gd name="connsiteX3" fmla="*/ 63326 w 93069"/>
                  <a:gd name="connsiteY3" fmla="*/ 49404 h 175087"/>
                  <a:gd name="connsiteX4" fmla="*/ 52500 w 93069"/>
                  <a:gd name="connsiteY4" fmla="*/ 55209 h 175087"/>
                  <a:gd name="connsiteX5" fmla="*/ 45939 w 93069"/>
                  <a:gd name="connsiteY5" fmla="*/ 70678 h 175087"/>
                  <a:gd name="connsiteX6" fmla="*/ 28284 w 93069"/>
                  <a:gd name="connsiteY6" fmla="*/ 80050 h 175087"/>
                  <a:gd name="connsiteX7" fmla="*/ 24258 w 93069"/>
                  <a:gd name="connsiteY7" fmla="*/ 106217 h 175087"/>
                  <a:gd name="connsiteX8" fmla="*/ 936 w 93069"/>
                  <a:gd name="connsiteY8" fmla="*/ 161497 h 175087"/>
                  <a:gd name="connsiteX9" fmla="*/ 4114 w 93069"/>
                  <a:gd name="connsiteY9" fmla="*/ 175087 h 175087"/>
                  <a:gd name="connsiteX10" fmla="*/ 3959 w 93069"/>
                  <a:gd name="connsiteY10" fmla="*/ 174980 h 175087"/>
                  <a:gd name="connsiteX11" fmla="*/ 317 w 93069"/>
                  <a:gd name="connsiteY11" fmla="*/ 159486 h 175087"/>
                  <a:gd name="connsiteX12" fmla="*/ 23674 w 93069"/>
                  <a:gd name="connsiteY12" fmla="*/ 104221 h 175087"/>
                  <a:gd name="connsiteX13" fmla="*/ 27704 w 93069"/>
                  <a:gd name="connsiteY13" fmla="*/ 78067 h 175087"/>
                  <a:gd name="connsiteX14" fmla="*/ 45331 w 93069"/>
                  <a:gd name="connsiteY14" fmla="*/ 68686 h 175087"/>
                  <a:gd name="connsiteX15" fmla="*/ 51935 w 93069"/>
                  <a:gd name="connsiteY15" fmla="*/ 53221 h 175087"/>
                  <a:gd name="connsiteX16" fmla="*/ 62764 w 93069"/>
                  <a:gd name="connsiteY16" fmla="*/ 47421 h 175087"/>
                  <a:gd name="connsiteX17" fmla="*/ 78205 w 93069"/>
                  <a:gd name="connsiteY17" fmla="*/ 21097 h 175087"/>
                  <a:gd name="connsiteX18" fmla="*/ 89247 w 93069"/>
                  <a:gd name="connsiteY18" fmla="*/ 12760 h 175087"/>
                  <a:gd name="connsiteX19" fmla="*/ 91388 w 93069"/>
                  <a:gd name="connsiteY19" fmla="*/ 0 h 17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069" h="175087">
                    <a:moveTo>
                      <a:pt x="91388" y="0"/>
                    </a:moveTo>
                    <a:lnTo>
                      <a:pt x="92075" y="1216"/>
                    </a:lnTo>
                    <a:cubicBezTo>
                      <a:pt x="96280" y="16891"/>
                      <a:pt x="86259" y="14279"/>
                      <a:pt x="78774" y="23070"/>
                    </a:cubicBezTo>
                    <a:cubicBezTo>
                      <a:pt x="70513" y="32816"/>
                      <a:pt x="72153" y="41566"/>
                      <a:pt x="63326" y="49404"/>
                    </a:cubicBezTo>
                    <a:cubicBezTo>
                      <a:pt x="60433" y="51933"/>
                      <a:pt x="55810" y="51767"/>
                      <a:pt x="52500" y="55209"/>
                    </a:cubicBezTo>
                    <a:cubicBezTo>
                      <a:pt x="48533" y="59356"/>
                      <a:pt x="50412" y="66323"/>
                      <a:pt x="45939" y="70678"/>
                    </a:cubicBezTo>
                    <a:cubicBezTo>
                      <a:pt x="41018" y="75447"/>
                      <a:pt x="32429" y="74576"/>
                      <a:pt x="28284" y="80050"/>
                    </a:cubicBezTo>
                    <a:cubicBezTo>
                      <a:pt x="23691" y="86104"/>
                      <a:pt x="26107" y="99084"/>
                      <a:pt x="24258" y="106217"/>
                    </a:cubicBezTo>
                    <a:cubicBezTo>
                      <a:pt x="19277" y="125625"/>
                      <a:pt x="3710" y="141384"/>
                      <a:pt x="936" y="161497"/>
                    </a:cubicBezTo>
                    <a:lnTo>
                      <a:pt x="4114" y="175087"/>
                    </a:lnTo>
                    <a:lnTo>
                      <a:pt x="3959" y="174980"/>
                    </a:lnTo>
                    <a:cubicBezTo>
                      <a:pt x="802" y="171469"/>
                      <a:pt x="-703" y="166935"/>
                      <a:pt x="317" y="159486"/>
                    </a:cubicBezTo>
                    <a:cubicBezTo>
                      <a:pt x="3085" y="139359"/>
                      <a:pt x="18672" y="123666"/>
                      <a:pt x="23674" y="104221"/>
                    </a:cubicBezTo>
                    <a:cubicBezTo>
                      <a:pt x="25519" y="97114"/>
                      <a:pt x="23091" y="84094"/>
                      <a:pt x="27704" y="78067"/>
                    </a:cubicBezTo>
                    <a:cubicBezTo>
                      <a:pt x="31832" y="72609"/>
                      <a:pt x="40427" y="73462"/>
                      <a:pt x="45331" y="68686"/>
                    </a:cubicBezTo>
                    <a:cubicBezTo>
                      <a:pt x="49847" y="64365"/>
                      <a:pt x="47953" y="57371"/>
                      <a:pt x="51935" y="53221"/>
                    </a:cubicBezTo>
                    <a:cubicBezTo>
                      <a:pt x="55237" y="49753"/>
                      <a:pt x="59850" y="49980"/>
                      <a:pt x="62764" y="47421"/>
                    </a:cubicBezTo>
                    <a:cubicBezTo>
                      <a:pt x="71553" y="39575"/>
                      <a:pt x="69902" y="30819"/>
                      <a:pt x="78205" y="21097"/>
                    </a:cubicBezTo>
                    <a:cubicBezTo>
                      <a:pt x="81945" y="16691"/>
                      <a:pt x="86327" y="15155"/>
                      <a:pt x="89247" y="12760"/>
                    </a:cubicBezTo>
                    <a:lnTo>
                      <a:pt x="91388"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5" name="Freeform 64">
                <a:extLst>
                  <a:ext uri="{FF2B5EF4-FFF2-40B4-BE49-F238E27FC236}">
                    <a16:creationId xmlns:a16="http://schemas.microsoft.com/office/drawing/2014/main" id="{DB3AAC55-EEE7-4649-A29C-9FA47E3E69C5}"/>
                  </a:ext>
                </a:extLst>
              </p:cNvPr>
              <p:cNvSpPr/>
              <p:nvPr/>
            </p:nvSpPr>
            <p:spPr>
              <a:xfrm>
                <a:off x="4103982" y="3512961"/>
                <a:ext cx="50460" cy="294303"/>
              </a:xfrm>
              <a:custGeom>
                <a:avLst/>
                <a:gdLst>
                  <a:gd name="connsiteX0" fmla="*/ 127 w 50460"/>
                  <a:gd name="connsiteY0" fmla="*/ 0 h 294303"/>
                  <a:gd name="connsiteX1" fmla="*/ 1306 w 50460"/>
                  <a:gd name="connsiteY1" fmla="*/ 568 h 294303"/>
                  <a:gd name="connsiteX2" fmla="*/ 1150 w 50460"/>
                  <a:gd name="connsiteY2" fmla="*/ 8525 h 294303"/>
                  <a:gd name="connsiteX3" fmla="*/ 7392 w 50460"/>
                  <a:gd name="connsiteY3" fmla="*/ 30840 h 294303"/>
                  <a:gd name="connsiteX4" fmla="*/ 39989 w 50460"/>
                  <a:gd name="connsiteY4" fmla="*/ 135325 h 294303"/>
                  <a:gd name="connsiteX5" fmla="*/ 38194 w 50460"/>
                  <a:gd name="connsiteY5" fmla="*/ 257266 h 294303"/>
                  <a:gd name="connsiteX6" fmla="*/ 50460 w 50460"/>
                  <a:gd name="connsiteY6" fmla="*/ 293913 h 294303"/>
                  <a:gd name="connsiteX7" fmla="*/ 50071 w 50460"/>
                  <a:gd name="connsiteY7" fmla="*/ 294303 h 294303"/>
                  <a:gd name="connsiteX8" fmla="*/ 38827 w 50460"/>
                  <a:gd name="connsiteY8" fmla="*/ 133309 h 294303"/>
                  <a:gd name="connsiteX9" fmla="*/ 6235 w 50460"/>
                  <a:gd name="connsiteY9" fmla="*/ 28750 h 294303"/>
                  <a:gd name="connsiteX10" fmla="*/ 0 w 50460"/>
                  <a:gd name="connsiteY10" fmla="*/ 6422 h 294303"/>
                  <a:gd name="connsiteX11" fmla="*/ 127 w 50460"/>
                  <a:gd name="connsiteY11" fmla="*/ 0 h 294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460" h="294303">
                    <a:moveTo>
                      <a:pt x="127" y="0"/>
                    </a:moveTo>
                    <a:lnTo>
                      <a:pt x="1306" y="568"/>
                    </a:lnTo>
                    <a:lnTo>
                      <a:pt x="1150" y="8525"/>
                    </a:lnTo>
                    <a:cubicBezTo>
                      <a:pt x="2023" y="15450"/>
                      <a:pt x="4001" y="22771"/>
                      <a:pt x="7392" y="30840"/>
                    </a:cubicBezTo>
                    <a:cubicBezTo>
                      <a:pt x="22205" y="66095"/>
                      <a:pt x="39881" y="96672"/>
                      <a:pt x="39989" y="135325"/>
                    </a:cubicBezTo>
                    <a:cubicBezTo>
                      <a:pt x="40102" y="176310"/>
                      <a:pt x="31302" y="217663"/>
                      <a:pt x="38194" y="257266"/>
                    </a:cubicBezTo>
                    <a:lnTo>
                      <a:pt x="50460" y="293913"/>
                    </a:lnTo>
                    <a:lnTo>
                      <a:pt x="50071" y="294303"/>
                    </a:lnTo>
                    <a:cubicBezTo>
                      <a:pt x="23287" y="243335"/>
                      <a:pt x="38986" y="188006"/>
                      <a:pt x="38827" y="133309"/>
                    </a:cubicBezTo>
                    <a:cubicBezTo>
                      <a:pt x="38721" y="94633"/>
                      <a:pt x="21059" y="64014"/>
                      <a:pt x="6235" y="28750"/>
                    </a:cubicBezTo>
                    <a:cubicBezTo>
                      <a:pt x="2847" y="20677"/>
                      <a:pt x="871" y="13352"/>
                      <a:pt x="0" y="6422"/>
                    </a:cubicBezTo>
                    <a:lnTo>
                      <a:pt x="127"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6" name="Freeform 65">
                <a:extLst>
                  <a:ext uri="{FF2B5EF4-FFF2-40B4-BE49-F238E27FC236}">
                    <a16:creationId xmlns:a16="http://schemas.microsoft.com/office/drawing/2014/main" id="{13ABB512-8D3E-7744-B361-7FFFE0AF8DC7}"/>
                  </a:ext>
                </a:extLst>
              </p:cNvPr>
              <p:cNvSpPr/>
              <p:nvPr/>
            </p:nvSpPr>
            <p:spPr>
              <a:xfrm>
                <a:off x="3352979" y="3566943"/>
                <a:ext cx="21599" cy="122799"/>
              </a:xfrm>
              <a:custGeom>
                <a:avLst/>
                <a:gdLst>
                  <a:gd name="connsiteX0" fmla="*/ 12125 w 21599"/>
                  <a:gd name="connsiteY0" fmla="*/ 0 h 122799"/>
                  <a:gd name="connsiteX1" fmla="*/ 12902 w 21599"/>
                  <a:gd name="connsiteY1" fmla="*/ 626 h 122799"/>
                  <a:gd name="connsiteX2" fmla="*/ 21252 w 21599"/>
                  <a:gd name="connsiteY2" fmla="*/ 22398 h 122799"/>
                  <a:gd name="connsiteX3" fmla="*/ 8280 w 21599"/>
                  <a:gd name="connsiteY3" fmla="*/ 38074 h 122799"/>
                  <a:gd name="connsiteX4" fmla="*/ 2076 w 21599"/>
                  <a:gd name="connsiteY4" fmla="*/ 78548 h 122799"/>
                  <a:gd name="connsiteX5" fmla="*/ 1931 w 21599"/>
                  <a:gd name="connsiteY5" fmla="*/ 101761 h 122799"/>
                  <a:gd name="connsiteX6" fmla="*/ 7644 w 21599"/>
                  <a:gd name="connsiteY6" fmla="*/ 122799 h 122799"/>
                  <a:gd name="connsiteX7" fmla="*/ 6371 w 21599"/>
                  <a:gd name="connsiteY7" fmla="*/ 121250 h 122799"/>
                  <a:gd name="connsiteX8" fmla="*/ 454 w 21599"/>
                  <a:gd name="connsiteY8" fmla="*/ 75761 h 122799"/>
                  <a:gd name="connsiteX9" fmla="*/ 6685 w 21599"/>
                  <a:gd name="connsiteY9" fmla="*/ 35283 h 122799"/>
                  <a:gd name="connsiteX10" fmla="*/ 19656 w 21599"/>
                  <a:gd name="connsiteY10" fmla="*/ 19632 h 122799"/>
                  <a:gd name="connsiteX11" fmla="*/ 12125 w 21599"/>
                  <a:gd name="connsiteY11" fmla="*/ 0 h 12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599" h="122799">
                    <a:moveTo>
                      <a:pt x="12125" y="0"/>
                    </a:moveTo>
                    <a:lnTo>
                      <a:pt x="12902" y="626"/>
                    </a:lnTo>
                    <a:cubicBezTo>
                      <a:pt x="19642" y="7303"/>
                      <a:pt x="22684" y="12819"/>
                      <a:pt x="21252" y="22398"/>
                    </a:cubicBezTo>
                    <a:cubicBezTo>
                      <a:pt x="19881" y="31480"/>
                      <a:pt x="13648" y="31812"/>
                      <a:pt x="8280" y="38074"/>
                    </a:cubicBezTo>
                    <a:cubicBezTo>
                      <a:pt x="1033" y="46492"/>
                      <a:pt x="2524" y="68098"/>
                      <a:pt x="2076" y="78548"/>
                    </a:cubicBezTo>
                    <a:cubicBezTo>
                      <a:pt x="1748" y="86034"/>
                      <a:pt x="1323" y="93975"/>
                      <a:pt x="1931" y="101761"/>
                    </a:cubicBezTo>
                    <a:lnTo>
                      <a:pt x="7644" y="122799"/>
                    </a:lnTo>
                    <a:lnTo>
                      <a:pt x="6371" y="121250"/>
                    </a:lnTo>
                    <a:cubicBezTo>
                      <a:pt x="-1231" y="107521"/>
                      <a:pt x="-212" y="90748"/>
                      <a:pt x="454" y="75761"/>
                    </a:cubicBezTo>
                    <a:cubicBezTo>
                      <a:pt x="924" y="65327"/>
                      <a:pt x="-604" y="43749"/>
                      <a:pt x="6685" y="35283"/>
                    </a:cubicBezTo>
                    <a:cubicBezTo>
                      <a:pt x="12014" y="29059"/>
                      <a:pt x="18284" y="28716"/>
                      <a:pt x="19656" y="19632"/>
                    </a:cubicBezTo>
                    <a:lnTo>
                      <a:pt x="12125"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7" name="Freeform 66">
                <a:extLst>
                  <a:ext uri="{FF2B5EF4-FFF2-40B4-BE49-F238E27FC236}">
                    <a16:creationId xmlns:a16="http://schemas.microsoft.com/office/drawing/2014/main" id="{023C45C3-85EE-DF49-9C83-49E256DB7DFB}"/>
                  </a:ext>
                </a:extLst>
              </p:cNvPr>
              <p:cNvSpPr/>
              <p:nvPr/>
            </p:nvSpPr>
            <p:spPr>
              <a:xfrm>
                <a:off x="3850763" y="3623912"/>
                <a:ext cx="21736" cy="6734"/>
              </a:xfrm>
              <a:custGeom>
                <a:avLst/>
                <a:gdLst>
                  <a:gd name="connsiteX0" fmla="*/ 0 w 21736"/>
                  <a:gd name="connsiteY0" fmla="*/ 0 h 6734"/>
                  <a:gd name="connsiteX1" fmla="*/ 8263 w 21736"/>
                  <a:gd name="connsiteY1" fmla="*/ 2957 h 6734"/>
                  <a:gd name="connsiteX2" fmla="*/ 20166 w 21736"/>
                  <a:gd name="connsiteY2" fmla="*/ 5088 h 6734"/>
                  <a:gd name="connsiteX3" fmla="*/ 21736 w 21736"/>
                  <a:gd name="connsiteY3" fmla="*/ 6734 h 6734"/>
                  <a:gd name="connsiteX4" fmla="*/ 12132 w 21736"/>
                  <a:gd name="connsiteY4" fmla="*/ 5008 h 6734"/>
                  <a:gd name="connsiteX5" fmla="*/ 710 w 21736"/>
                  <a:gd name="connsiteY5" fmla="*/ 927 h 6734"/>
                  <a:gd name="connsiteX6" fmla="*/ 0 w 21736"/>
                  <a:gd name="connsiteY6" fmla="*/ 0 h 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736" h="6734">
                    <a:moveTo>
                      <a:pt x="0" y="0"/>
                    </a:moveTo>
                    <a:lnTo>
                      <a:pt x="8263" y="2957"/>
                    </a:lnTo>
                    <a:cubicBezTo>
                      <a:pt x="13005" y="3941"/>
                      <a:pt x="16943" y="4027"/>
                      <a:pt x="20166" y="5088"/>
                    </a:cubicBezTo>
                    <a:lnTo>
                      <a:pt x="21736" y="6734"/>
                    </a:lnTo>
                    <a:lnTo>
                      <a:pt x="12132" y="5008"/>
                    </a:lnTo>
                    <a:cubicBezTo>
                      <a:pt x="7029" y="3950"/>
                      <a:pt x="3295" y="2591"/>
                      <a:pt x="710" y="927"/>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8" name="Freeform 67">
                <a:extLst>
                  <a:ext uri="{FF2B5EF4-FFF2-40B4-BE49-F238E27FC236}">
                    <a16:creationId xmlns:a16="http://schemas.microsoft.com/office/drawing/2014/main" id="{ED6FF811-8C56-EB43-8CC9-3D1C3F6BE1D5}"/>
                  </a:ext>
                </a:extLst>
              </p:cNvPr>
              <p:cNvSpPr/>
              <p:nvPr/>
            </p:nvSpPr>
            <p:spPr>
              <a:xfrm>
                <a:off x="3872499" y="3630647"/>
                <a:ext cx="21596" cy="50157"/>
              </a:xfrm>
              <a:custGeom>
                <a:avLst/>
                <a:gdLst>
                  <a:gd name="connsiteX0" fmla="*/ 0 w 21596"/>
                  <a:gd name="connsiteY0" fmla="*/ 0 h 50157"/>
                  <a:gd name="connsiteX1" fmla="*/ 2280 w 21596"/>
                  <a:gd name="connsiteY1" fmla="*/ 410 h 50157"/>
                  <a:gd name="connsiteX2" fmla="*/ 9902 w 21596"/>
                  <a:gd name="connsiteY2" fmla="*/ 8388 h 50157"/>
                  <a:gd name="connsiteX3" fmla="*/ 12227 w 21596"/>
                  <a:gd name="connsiteY3" fmla="*/ 27831 h 50157"/>
                  <a:gd name="connsiteX4" fmla="*/ 14722 w 21596"/>
                  <a:gd name="connsiteY4" fmla="*/ 41163 h 50157"/>
                  <a:gd name="connsiteX5" fmla="*/ 21596 w 21596"/>
                  <a:gd name="connsiteY5" fmla="*/ 50157 h 50157"/>
                  <a:gd name="connsiteX6" fmla="*/ 19091 w 21596"/>
                  <a:gd name="connsiteY6" fmla="*/ 49880 h 50157"/>
                  <a:gd name="connsiteX7" fmla="*/ 8354 w 21596"/>
                  <a:gd name="connsiteY7" fmla="*/ 25809 h 50157"/>
                  <a:gd name="connsiteX8" fmla="*/ 6042 w 21596"/>
                  <a:gd name="connsiteY8" fmla="*/ 6336 h 50157"/>
                  <a:gd name="connsiteX9" fmla="*/ 0 w 21596"/>
                  <a:gd name="connsiteY9" fmla="*/ 0 h 5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596" h="50157">
                    <a:moveTo>
                      <a:pt x="0" y="0"/>
                    </a:moveTo>
                    <a:lnTo>
                      <a:pt x="2280" y="410"/>
                    </a:lnTo>
                    <a:cubicBezTo>
                      <a:pt x="5505" y="1469"/>
                      <a:pt x="8018" y="3501"/>
                      <a:pt x="9902" y="8388"/>
                    </a:cubicBezTo>
                    <a:cubicBezTo>
                      <a:pt x="11948" y="13693"/>
                      <a:pt x="11366" y="22291"/>
                      <a:pt x="12227" y="27831"/>
                    </a:cubicBezTo>
                    <a:cubicBezTo>
                      <a:pt x="12906" y="32157"/>
                      <a:pt x="13336" y="36874"/>
                      <a:pt x="14722" y="41163"/>
                    </a:cubicBezTo>
                    <a:lnTo>
                      <a:pt x="21596" y="50157"/>
                    </a:lnTo>
                    <a:lnTo>
                      <a:pt x="19091" y="49880"/>
                    </a:lnTo>
                    <a:cubicBezTo>
                      <a:pt x="10117" y="44663"/>
                      <a:pt x="9725" y="34435"/>
                      <a:pt x="8354" y="25809"/>
                    </a:cubicBezTo>
                    <a:cubicBezTo>
                      <a:pt x="7492" y="20249"/>
                      <a:pt x="8080" y="11645"/>
                      <a:pt x="6042" y="6336"/>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69" name="Freeform 68">
                <a:extLst>
                  <a:ext uri="{FF2B5EF4-FFF2-40B4-BE49-F238E27FC236}">
                    <a16:creationId xmlns:a16="http://schemas.microsoft.com/office/drawing/2014/main" id="{B549EE06-016B-BC43-B924-749569C63868}"/>
                  </a:ext>
                </a:extLst>
              </p:cNvPr>
              <p:cNvSpPr/>
              <p:nvPr/>
            </p:nvSpPr>
            <p:spPr>
              <a:xfrm>
                <a:off x="2836423" y="3670236"/>
                <a:ext cx="125365" cy="146748"/>
              </a:xfrm>
              <a:custGeom>
                <a:avLst/>
                <a:gdLst>
                  <a:gd name="connsiteX0" fmla="*/ 0 w 125365"/>
                  <a:gd name="connsiteY0" fmla="*/ 0 h 146748"/>
                  <a:gd name="connsiteX1" fmla="*/ 13393 w 125365"/>
                  <a:gd name="connsiteY1" fmla="*/ 9246 h 146748"/>
                  <a:gd name="connsiteX2" fmla="*/ 31942 w 125365"/>
                  <a:gd name="connsiteY2" fmla="*/ 35514 h 146748"/>
                  <a:gd name="connsiteX3" fmla="*/ 36944 w 125365"/>
                  <a:gd name="connsiteY3" fmla="*/ 51206 h 146748"/>
                  <a:gd name="connsiteX4" fmla="*/ 50929 w 125365"/>
                  <a:gd name="connsiteY4" fmla="*/ 57005 h 146748"/>
                  <a:gd name="connsiteX5" fmla="*/ 61369 w 125365"/>
                  <a:gd name="connsiteY5" fmla="*/ 69230 h 146748"/>
                  <a:gd name="connsiteX6" fmla="*/ 79967 w 125365"/>
                  <a:gd name="connsiteY6" fmla="*/ 67638 h 146748"/>
                  <a:gd name="connsiteX7" fmla="*/ 109054 w 125365"/>
                  <a:gd name="connsiteY7" fmla="*/ 124949 h 146748"/>
                  <a:gd name="connsiteX8" fmla="*/ 125030 w 125365"/>
                  <a:gd name="connsiteY8" fmla="*/ 145020 h 146748"/>
                  <a:gd name="connsiteX9" fmla="*/ 125365 w 125365"/>
                  <a:gd name="connsiteY9" fmla="*/ 146748 h 146748"/>
                  <a:gd name="connsiteX10" fmla="*/ 117411 w 125365"/>
                  <a:gd name="connsiteY10" fmla="*/ 137391 h 146748"/>
                  <a:gd name="connsiteX11" fmla="*/ 109582 w 125365"/>
                  <a:gd name="connsiteY11" fmla="*/ 126951 h 146748"/>
                  <a:gd name="connsiteX12" fmla="*/ 80565 w 125365"/>
                  <a:gd name="connsiteY12" fmla="*/ 69681 h 146748"/>
                  <a:gd name="connsiteX13" fmla="*/ 61925 w 125365"/>
                  <a:gd name="connsiteY13" fmla="*/ 71257 h 146748"/>
                  <a:gd name="connsiteX14" fmla="*/ 51517 w 125365"/>
                  <a:gd name="connsiteY14" fmla="*/ 59023 h 146748"/>
                  <a:gd name="connsiteX15" fmla="*/ 37560 w 125365"/>
                  <a:gd name="connsiteY15" fmla="*/ 53218 h 146748"/>
                  <a:gd name="connsiteX16" fmla="*/ 32520 w 125365"/>
                  <a:gd name="connsiteY16" fmla="*/ 37542 h 146748"/>
                  <a:gd name="connsiteX17" fmla="*/ 14000 w 125365"/>
                  <a:gd name="connsiteY17" fmla="*/ 11250 h 146748"/>
                  <a:gd name="connsiteX18" fmla="*/ 446 w 125365"/>
                  <a:gd name="connsiteY18" fmla="*/ 1909 h 146748"/>
                  <a:gd name="connsiteX19" fmla="*/ 0 w 125365"/>
                  <a:gd name="connsiteY19" fmla="*/ 0 h 14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5365" h="146748">
                    <a:moveTo>
                      <a:pt x="0" y="0"/>
                    </a:moveTo>
                    <a:lnTo>
                      <a:pt x="13393" y="9246"/>
                    </a:lnTo>
                    <a:cubicBezTo>
                      <a:pt x="27766" y="17888"/>
                      <a:pt x="28980" y="19650"/>
                      <a:pt x="31942" y="35514"/>
                    </a:cubicBezTo>
                    <a:cubicBezTo>
                      <a:pt x="32865" y="40744"/>
                      <a:pt x="33011" y="47055"/>
                      <a:pt x="36944" y="51206"/>
                    </a:cubicBezTo>
                    <a:cubicBezTo>
                      <a:pt x="41703" y="56209"/>
                      <a:pt x="46656" y="53594"/>
                      <a:pt x="50929" y="57005"/>
                    </a:cubicBezTo>
                    <a:cubicBezTo>
                      <a:pt x="55348" y="60474"/>
                      <a:pt x="55396" y="66899"/>
                      <a:pt x="61369" y="69230"/>
                    </a:cubicBezTo>
                    <a:cubicBezTo>
                      <a:pt x="67293" y="71504"/>
                      <a:pt x="74868" y="66216"/>
                      <a:pt x="79967" y="67638"/>
                    </a:cubicBezTo>
                    <a:cubicBezTo>
                      <a:pt x="99245" y="73153"/>
                      <a:pt x="102256" y="109427"/>
                      <a:pt x="109054" y="124949"/>
                    </a:cubicBezTo>
                    <a:cubicBezTo>
                      <a:pt x="113133" y="134388"/>
                      <a:pt x="120417" y="136605"/>
                      <a:pt x="125030" y="145020"/>
                    </a:cubicBezTo>
                    <a:lnTo>
                      <a:pt x="125365" y="146748"/>
                    </a:lnTo>
                    <a:lnTo>
                      <a:pt x="117411" y="137391"/>
                    </a:lnTo>
                    <a:cubicBezTo>
                      <a:pt x="114496" y="134602"/>
                      <a:pt x="111640" y="131679"/>
                      <a:pt x="109582" y="126951"/>
                    </a:cubicBezTo>
                    <a:cubicBezTo>
                      <a:pt x="102842" y="111483"/>
                      <a:pt x="99800" y="75155"/>
                      <a:pt x="80565" y="69681"/>
                    </a:cubicBezTo>
                    <a:cubicBezTo>
                      <a:pt x="75435" y="68230"/>
                      <a:pt x="67890" y="73538"/>
                      <a:pt x="61925" y="71257"/>
                    </a:cubicBezTo>
                    <a:cubicBezTo>
                      <a:pt x="55961" y="68935"/>
                      <a:pt x="55931" y="62465"/>
                      <a:pt x="51517" y="59023"/>
                    </a:cubicBezTo>
                    <a:cubicBezTo>
                      <a:pt x="47223" y="55623"/>
                      <a:pt x="42302" y="58235"/>
                      <a:pt x="37560" y="53218"/>
                    </a:cubicBezTo>
                    <a:cubicBezTo>
                      <a:pt x="33594" y="49071"/>
                      <a:pt x="33474" y="42767"/>
                      <a:pt x="32520" y="37542"/>
                    </a:cubicBezTo>
                    <a:cubicBezTo>
                      <a:pt x="29597" y="21659"/>
                      <a:pt x="28375" y="19917"/>
                      <a:pt x="14000" y="11250"/>
                    </a:cubicBezTo>
                    <a:cubicBezTo>
                      <a:pt x="8409" y="7891"/>
                      <a:pt x="3600" y="5413"/>
                      <a:pt x="446" y="1909"/>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0" name="Freeform 69">
                <a:extLst>
                  <a:ext uri="{FF2B5EF4-FFF2-40B4-BE49-F238E27FC236}">
                    <a16:creationId xmlns:a16="http://schemas.microsoft.com/office/drawing/2014/main" id="{6C916E46-F614-4C4C-ACF7-A96C7A93B362}"/>
                  </a:ext>
                </a:extLst>
              </p:cNvPr>
              <p:cNvSpPr/>
              <p:nvPr/>
            </p:nvSpPr>
            <p:spPr>
              <a:xfrm>
                <a:off x="3894096" y="3680804"/>
                <a:ext cx="26843" cy="3689"/>
              </a:xfrm>
              <a:custGeom>
                <a:avLst/>
                <a:gdLst>
                  <a:gd name="connsiteX0" fmla="*/ 0 w 26843"/>
                  <a:gd name="connsiteY0" fmla="*/ 0 h 3689"/>
                  <a:gd name="connsiteX1" fmla="*/ 10446 w 26843"/>
                  <a:gd name="connsiteY1" fmla="*/ 1153 h 3689"/>
                  <a:gd name="connsiteX2" fmla="*/ 24221 w 26843"/>
                  <a:gd name="connsiteY2" fmla="*/ 799 h 3689"/>
                  <a:gd name="connsiteX3" fmla="*/ 26843 w 26843"/>
                  <a:gd name="connsiteY3" fmla="*/ 2875 h 3689"/>
                  <a:gd name="connsiteX4" fmla="*/ 14314 w 26843"/>
                  <a:gd name="connsiteY4" fmla="*/ 3198 h 3689"/>
                  <a:gd name="connsiteX5" fmla="*/ 1353 w 26843"/>
                  <a:gd name="connsiteY5" fmla="*/ 1770 h 3689"/>
                  <a:gd name="connsiteX6" fmla="*/ 0 w 26843"/>
                  <a:gd name="connsiteY6" fmla="*/ 0 h 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43" h="3689">
                    <a:moveTo>
                      <a:pt x="0" y="0"/>
                    </a:moveTo>
                    <a:lnTo>
                      <a:pt x="10446" y="1153"/>
                    </a:lnTo>
                    <a:cubicBezTo>
                      <a:pt x="14884" y="490"/>
                      <a:pt x="19460" y="-471"/>
                      <a:pt x="24221" y="799"/>
                    </a:cubicBezTo>
                    <a:lnTo>
                      <a:pt x="26843" y="2875"/>
                    </a:lnTo>
                    <a:lnTo>
                      <a:pt x="14314" y="3198"/>
                    </a:lnTo>
                    <a:cubicBezTo>
                      <a:pt x="9874" y="3861"/>
                      <a:pt x="5573" y="4227"/>
                      <a:pt x="1353" y="1770"/>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1" name="Freeform 70">
                <a:extLst>
                  <a:ext uri="{FF2B5EF4-FFF2-40B4-BE49-F238E27FC236}">
                    <a16:creationId xmlns:a16="http://schemas.microsoft.com/office/drawing/2014/main" id="{B94F3C58-806C-4143-B7AD-EB508B4F12B7}"/>
                  </a:ext>
                </a:extLst>
              </p:cNvPr>
              <p:cNvSpPr/>
              <p:nvPr/>
            </p:nvSpPr>
            <p:spPr>
              <a:xfrm>
                <a:off x="3325868" y="3683645"/>
                <a:ext cx="819893" cy="367340"/>
              </a:xfrm>
              <a:custGeom>
                <a:avLst/>
                <a:gdLst>
                  <a:gd name="connsiteX0" fmla="*/ 596343 w 819893"/>
                  <a:gd name="connsiteY0" fmla="*/ 0 h 367340"/>
                  <a:gd name="connsiteX1" fmla="*/ 611458 w 819893"/>
                  <a:gd name="connsiteY1" fmla="*/ 26265 h 367340"/>
                  <a:gd name="connsiteX2" fmla="*/ 625388 w 819893"/>
                  <a:gd name="connsiteY2" fmla="*/ 52268 h 367340"/>
                  <a:gd name="connsiteX3" fmla="*/ 621986 w 819893"/>
                  <a:gd name="connsiteY3" fmla="*/ 81094 h 367340"/>
                  <a:gd name="connsiteX4" fmla="*/ 599810 w 819893"/>
                  <a:gd name="connsiteY4" fmla="*/ 93064 h 367340"/>
                  <a:gd name="connsiteX5" fmla="*/ 600994 w 819893"/>
                  <a:gd name="connsiteY5" fmla="*/ 120453 h 367340"/>
                  <a:gd name="connsiteX6" fmla="*/ 599401 w 819893"/>
                  <a:gd name="connsiteY6" fmla="*/ 123876 h 367340"/>
                  <a:gd name="connsiteX7" fmla="*/ 636734 w 819893"/>
                  <a:gd name="connsiteY7" fmla="*/ 147423 h 367340"/>
                  <a:gd name="connsiteX8" fmla="*/ 627584 w 819893"/>
                  <a:gd name="connsiteY8" fmla="*/ 196817 h 367340"/>
                  <a:gd name="connsiteX9" fmla="*/ 692131 w 819893"/>
                  <a:gd name="connsiteY9" fmla="*/ 200006 h 367340"/>
                  <a:gd name="connsiteX10" fmla="*/ 701411 w 819893"/>
                  <a:gd name="connsiteY10" fmla="*/ 243781 h 367340"/>
                  <a:gd name="connsiteX11" fmla="*/ 721993 w 819893"/>
                  <a:gd name="connsiteY11" fmla="*/ 270045 h 367340"/>
                  <a:gd name="connsiteX12" fmla="*/ 785443 w 819893"/>
                  <a:gd name="connsiteY12" fmla="*/ 288705 h 367340"/>
                  <a:gd name="connsiteX13" fmla="*/ 817803 w 819893"/>
                  <a:gd name="connsiteY13" fmla="*/ 284942 h 367340"/>
                  <a:gd name="connsiteX14" fmla="*/ 817830 w 819893"/>
                  <a:gd name="connsiteY14" fmla="*/ 301939 h 367340"/>
                  <a:gd name="connsiteX15" fmla="*/ 817181 w 819893"/>
                  <a:gd name="connsiteY15" fmla="*/ 306602 h 367340"/>
                  <a:gd name="connsiteX16" fmla="*/ 817203 w 819893"/>
                  <a:gd name="connsiteY16" fmla="*/ 300932 h 367340"/>
                  <a:gd name="connsiteX17" fmla="*/ 816626 w 819893"/>
                  <a:gd name="connsiteY17" fmla="*/ 285814 h 367340"/>
                  <a:gd name="connsiteX18" fmla="*/ 784288 w 819893"/>
                  <a:gd name="connsiteY18" fmla="*/ 289567 h 367340"/>
                  <a:gd name="connsiteX19" fmla="*/ 720819 w 819893"/>
                  <a:gd name="connsiteY19" fmla="*/ 270917 h 367340"/>
                  <a:gd name="connsiteX20" fmla="*/ 700251 w 819893"/>
                  <a:gd name="connsiteY20" fmla="*/ 244622 h 367340"/>
                  <a:gd name="connsiteX21" fmla="*/ 690972 w 819893"/>
                  <a:gd name="connsiteY21" fmla="*/ 200854 h 367340"/>
                  <a:gd name="connsiteX22" fmla="*/ 626418 w 819893"/>
                  <a:gd name="connsiteY22" fmla="*/ 197661 h 367340"/>
                  <a:gd name="connsiteX23" fmla="*/ 635577 w 819893"/>
                  <a:gd name="connsiteY23" fmla="*/ 148264 h 367340"/>
                  <a:gd name="connsiteX24" fmla="*/ 598258 w 819893"/>
                  <a:gd name="connsiteY24" fmla="*/ 124714 h 367340"/>
                  <a:gd name="connsiteX25" fmla="*/ 514020 w 819893"/>
                  <a:gd name="connsiteY25" fmla="*/ 132359 h 367340"/>
                  <a:gd name="connsiteX26" fmla="*/ 394352 w 819893"/>
                  <a:gd name="connsiteY26" fmla="*/ 132555 h 367340"/>
                  <a:gd name="connsiteX27" fmla="*/ 171847 w 819893"/>
                  <a:gd name="connsiteY27" fmla="*/ 132947 h 367340"/>
                  <a:gd name="connsiteX28" fmla="*/ 147222 w 819893"/>
                  <a:gd name="connsiteY28" fmla="*/ 131911 h 367340"/>
                  <a:gd name="connsiteX29" fmla="*/ 147182 w 819893"/>
                  <a:gd name="connsiteY29" fmla="*/ 132471 h 367340"/>
                  <a:gd name="connsiteX30" fmla="*/ 107855 w 819893"/>
                  <a:gd name="connsiteY30" fmla="*/ 159578 h 367340"/>
                  <a:gd name="connsiteX31" fmla="*/ 120669 w 819893"/>
                  <a:gd name="connsiteY31" fmla="*/ 190213 h 367340"/>
                  <a:gd name="connsiteX32" fmla="*/ 121513 w 819893"/>
                  <a:gd name="connsiteY32" fmla="*/ 210207 h 367340"/>
                  <a:gd name="connsiteX33" fmla="*/ 123020 w 819893"/>
                  <a:gd name="connsiteY33" fmla="*/ 210172 h 367340"/>
                  <a:gd name="connsiteX34" fmla="*/ 127025 w 819893"/>
                  <a:gd name="connsiteY34" fmla="*/ 222448 h 367340"/>
                  <a:gd name="connsiteX35" fmla="*/ 133444 w 819893"/>
                  <a:gd name="connsiteY35" fmla="*/ 248992 h 367340"/>
                  <a:gd name="connsiteX36" fmla="*/ 108958 w 819893"/>
                  <a:gd name="connsiteY36" fmla="*/ 265346 h 367340"/>
                  <a:gd name="connsiteX37" fmla="*/ 97646 w 819893"/>
                  <a:gd name="connsiteY37" fmla="*/ 294681 h 367340"/>
                  <a:gd name="connsiteX38" fmla="*/ 67360 w 819893"/>
                  <a:gd name="connsiteY38" fmla="*/ 331219 h 367340"/>
                  <a:gd name="connsiteX39" fmla="*/ 1156 w 819893"/>
                  <a:gd name="connsiteY39" fmla="*/ 367304 h 367340"/>
                  <a:gd name="connsiteX40" fmla="*/ 0 w 819893"/>
                  <a:gd name="connsiteY40" fmla="*/ 367340 h 367340"/>
                  <a:gd name="connsiteX41" fmla="*/ 35820 w 819893"/>
                  <a:gd name="connsiteY41" fmla="*/ 355980 h 367340"/>
                  <a:gd name="connsiteX42" fmla="*/ 65005 w 819893"/>
                  <a:gd name="connsiteY42" fmla="*/ 331591 h 367340"/>
                  <a:gd name="connsiteX43" fmla="*/ 95245 w 819893"/>
                  <a:gd name="connsiteY43" fmla="*/ 295097 h 367340"/>
                  <a:gd name="connsiteX44" fmla="*/ 106548 w 819893"/>
                  <a:gd name="connsiteY44" fmla="*/ 265737 h 367340"/>
                  <a:gd name="connsiteX45" fmla="*/ 131062 w 819893"/>
                  <a:gd name="connsiteY45" fmla="*/ 249397 h 367340"/>
                  <a:gd name="connsiteX46" fmla="*/ 124620 w 819893"/>
                  <a:gd name="connsiteY46" fmla="*/ 222857 h 367340"/>
                  <a:gd name="connsiteX47" fmla="*/ 119670 w 819893"/>
                  <a:gd name="connsiteY47" fmla="*/ 190178 h 367340"/>
                  <a:gd name="connsiteX48" fmla="*/ 106846 w 819893"/>
                  <a:gd name="connsiteY48" fmla="*/ 159532 h 367340"/>
                  <a:gd name="connsiteX49" fmla="*/ 146153 w 819893"/>
                  <a:gd name="connsiteY49" fmla="*/ 132452 h 367340"/>
                  <a:gd name="connsiteX50" fmla="*/ 145249 w 819893"/>
                  <a:gd name="connsiteY50" fmla="*/ 129095 h 367340"/>
                  <a:gd name="connsiteX51" fmla="*/ 169227 w 819893"/>
                  <a:gd name="connsiteY51" fmla="*/ 130098 h 367340"/>
                  <a:gd name="connsiteX52" fmla="*/ 391654 w 819893"/>
                  <a:gd name="connsiteY52" fmla="*/ 129709 h 367340"/>
                  <a:gd name="connsiteX53" fmla="*/ 511331 w 819893"/>
                  <a:gd name="connsiteY53" fmla="*/ 129503 h 367340"/>
                  <a:gd name="connsiteX54" fmla="*/ 597112 w 819893"/>
                  <a:gd name="connsiteY54" fmla="*/ 118429 h 367340"/>
                  <a:gd name="connsiteX55" fmla="*/ 595937 w 819893"/>
                  <a:gd name="connsiteY55" fmla="*/ 91062 h 367340"/>
                  <a:gd name="connsiteX56" fmla="*/ 618117 w 819893"/>
                  <a:gd name="connsiteY56" fmla="*/ 79072 h 367340"/>
                  <a:gd name="connsiteX57" fmla="*/ 621487 w 819893"/>
                  <a:gd name="connsiteY57" fmla="*/ 50241 h 367340"/>
                  <a:gd name="connsiteX58" fmla="*/ 607575 w 819893"/>
                  <a:gd name="connsiteY58" fmla="*/ 24225 h 367340"/>
                  <a:gd name="connsiteX59" fmla="*/ 604950 w 819893"/>
                  <a:gd name="connsiteY59" fmla="*/ 7856 h 367340"/>
                  <a:gd name="connsiteX60" fmla="*/ 595071 w 819893"/>
                  <a:gd name="connsiteY60" fmla="*/ 33 h 367340"/>
                  <a:gd name="connsiteX61" fmla="*/ 596343 w 819893"/>
                  <a:gd name="connsiteY61" fmla="*/ 0 h 367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19893" h="367340">
                    <a:moveTo>
                      <a:pt x="596343" y="0"/>
                    </a:moveTo>
                    <a:cubicBezTo>
                      <a:pt x="611824" y="4103"/>
                      <a:pt x="609154" y="13537"/>
                      <a:pt x="611458" y="26265"/>
                    </a:cubicBezTo>
                    <a:cubicBezTo>
                      <a:pt x="613438" y="37241"/>
                      <a:pt x="620027" y="42599"/>
                      <a:pt x="625388" y="52268"/>
                    </a:cubicBezTo>
                    <a:cubicBezTo>
                      <a:pt x="629995" y="60605"/>
                      <a:pt x="631674" y="74273"/>
                      <a:pt x="621986" y="81094"/>
                    </a:cubicBezTo>
                    <a:cubicBezTo>
                      <a:pt x="613891" y="86792"/>
                      <a:pt x="603857" y="81513"/>
                      <a:pt x="599810" y="93064"/>
                    </a:cubicBezTo>
                    <a:cubicBezTo>
                      <a:pt x="596817" y="101610"/>
                      <a:pt x="602415" y="111698"/>
                      <a:pt x="600994" y="120453"/>
                    </a:cubicBezTo>
                    <a:cubicBezTo>
                      <a:pt x="600779" y="121707"/>
                      <a:pt x="600219" y="122831"/>
                      <a:pt x="599401" y="123876"/>
                    </a:cubicBezTo>
                    <a:cubicBezTo>
                      <a:pt x="614063" y="129391"/>
                      <a:pt x="631007" y="132814"/>
                      <a:pt x="636734" y="147423"/>
                    </a:cubicBezTo>
                    <a:cubicBezTo>
                      <a:pt x="643538" y="164750"/>
                      <a:pt x="624117" y="179333"/>
                      <a:pt x="627584" y="196817"/>
                    </a:cubicBezTo>
                    <a:cubicBezTo>
                      <a:pt x="649954" y="204370"/>
                      <a:pt x="678955" y="175126"/>
                      <a:pt x="692131" y="200006"/>
                    </a:cubicBezTo>
                    <a:cubicBezTo>
                      <a:pt x="698784" y="212524"/>
                      <a:pt x="696825" y="230321"/>
                      <a:pt x="701411" y="243781"/>
                    </a:cubicBezTo>
                    <a:cubicBezTo>
                      <a:pt x="706061" y="257475"/>
                      <a:pt x="715513" y="257945"/>
                      <a:pt x="721993" y="270045"/>
                    </a:cubicBezTo>
                    <a:cubicBezTo>
                      <a:pt x="734933" y="294220"/>
                      <a:pt x="758078" y="299891"/>
                      <a:pt x="785443" y="288705"/>
                    </a:cubicBezTo>
                    <a:cubicBezTo>
                      <a:pt x="794356" y="285073"/>
                      <a:pt x="808566" y="272946"/>
                      <a:pt x="817803" y="284942"/>
                    </a:cubicBezTo>
                    <a:cubicBezTo>
                      <a:pt x="821560" y="289842"/>
                      <a:pt x="819418" y="296069"/>
                      <a:pt x="817830" y="301939"/>
                    </a:cubicBezTo>
                    <a:lnTo>
                      <a:pt x="817181" y="306602"/>
                    </a:lnTo>
                    <a:lnTo>
                      <a:pt x="817203" y="300932"/>
                    </a:lnTo>
                    <a:cubicBezTo>
                      <a:pt x="818654" y="295636"/>
                      <a:pt x="820000" y="290197"/>
                      <a:pt x="816626" y="285814"/>
                    </a:cubicBezTo>
                    <a:cubicBezTo>
                      <a:pt x="807386" y="273801"/>
                      <a:pt x="793166" y="285926"/>
                      <a:pt x="784288" y="289567"/>
                    </a:cubicBezTo>
                    <a:cubicBezTo>
                      <a:pt x="756932" y="300768"/>
                      <a:pt x="733754" y="295083"/>
                      <a:pt x="720819" y="270917"/>
                    </a:cubicBezTo>
                    <a:cubicBezTo>
                      <a:pt x="714351" y="258791"/>
                      <a:pt x="704911" y="258315"/>
                      <a:pt x="700251" y="244622"/>
                    </a:cubicBezTo>
                    <a:cubicBezTo>
                      <a:pt x="695672" y="231181"/>
                      <a:pt x="697640" y="213399"/>
                      <a:pt x="690972" y="200854"/>
                    </a:cubicBezTo>
                    <a:cubicBezTo>
                      <a:pt x="677796" y="175987"/>
                      <a:pt x="648793" y="205222"/>
                      <a:pt x="626418" y="197661"/>
                    </a:cubicBezTo>
                    <a:cubicBezTo>
                      <a:pt x="622963" y="180188"/>
                      <a:pt x="642366" y="165598"/>
                      <a:pt x="635577" y="148264"/>
                    </a:cubicBezTo>
                    <a:cubicBezTo>
                      <a:pt x="629872" y="133647"/>
                      <a:pt x="612920" y="130231"/>
                      <a:pt x="598258" y="124714"/>
                    </a:cubicBezTo>
                    <a:cubicBezTo>
                      <a:pt x="587653" y="138099"/>
                      <a:pt x="529004" y="132331"/>
                      <a:pt x="514020" y="132359"/>
                    </a:cubicBezTo>
                    <a:cubicBezTo>
                      <a:pt x="474131" y="132415"/>
                      <a:pt x="434241" y="132499"/>
                      <a:pt x="394352" y="132555"/>
                    </a:cubicBezTo>
                    <a:cubicBezTo>
                      <a:pt x="320157" y="132695"/>
                      <a:pt x="246002" y="132835"/>
                      <a:pt x="171847" y="132947"/>
                    </a:cubicBezTo>
                    <a:cubicBezTo>
                      <a:pt x="163893" y="133759"/>
                      <a:pt x="155538" y="132807"/>
                      <a:pt x="147222" y="131911"/>
                    </a:cubicBezTo>
                    <a:cubicBezTo>
                      <a:pt x="147182" y="132107"/>
                      <a:pt x="147222" y="132275"/>
                      <a:pt x="147182" y="132471"/>
                    </a:cubicBezTo>
                    <a:cubicBezTo>
                      <a:pt x="143366" y="148236"/>
                      <a:pt x="102593" y="128942"/>
                      <a:pt x="107855" y="159578"/>
                    </a:cubicBezTo>
                    <a:cubicBezTo>
                      <a:pt x="109823" y="171031"/>
                      <a:pt x="119866" y="177919"/>
                      <a:pt x="120669" y="190213"/>
                    </a:cubicBezTo>
                    <a:cubicBezTo>
                      <a:pt x="121192" y="197969"/>
                      <a:pt x="120710" y="204102"/>
                      <a:pt x="121513" y="210207"/>
                    </a:cubicBezTo>
                    <a:lnTo>
                      <a:pt x="123020" y="210172"/>
                    </a:lnTo>
                    <a:lnTo>
                      <a:pt x="127025" y="222448"/>
                    </a:lnTo>
                    <a:cubicBezTo>
                      <a:pt x="131034" y="229814"/>
                      <a:pt x="138600" y="240555"/>
                      <a:pt x="133444" y="248992"/>
                    </a:cubicBezTo>
                    <a:cubicBezTo>
                      <a:pt x="127884" y="258078"/>
                      <a:pt x="114901" y="254800"/>
                      <a:pt x="108958" y="265346"/>
                    </a:cubicBezTo>
                    <a:cubicBezTo>
                      <a:pt x="103182" y="275633"/>
                      <a:pt x="104996" y="285206"/>
                      <a:pt x="97646" y="294681"/>
                    </a:cubicBezTo>
                    <a:cubicBezTo>
                      <a:pt x="88242" y="306817"/>
                      <a:pt x="77240" y="319018"/>
                      <a:pt x="67360" y="331219"/>
                    </a:cubicBezTo>
                    <a:cubicBezTo>
                      <a:pt x="50654" y="351858"/>
                      <a:pt x="28291" y="363572"/>
                      <a:pt x="1156" y="367304"/>
                    </a:cubicBezTo>
                    <a:lnTo>
                      <a:pt x="0" y="367340"/>
                    </a:lnTo>
                    <a:lnTo>
                      <a:pt x="35820" y="355980"/>
                    </a:lnTo>
                    <a:cubicBezTo>
                      <a:pt x="46888" y="350004"/>
                      <a:pt x="56655" y="341917"/>
                      <a:pt x="65005" y="331591"/>
                    </a:cubicBezTo>
                    <a:cubicBezTo>
                      <a:pt x="74876" y="319440"/>
                      <a:pt x="85881" y="307206"/>
                      <a:pt x="95245" y="295097"/>
                    </a:cubicBezTo>
                    <a:cubicBezTo>
                      <a:pt x="102611" y="285601"/>
                      <a:pt x="100792" y="276021"/>
                      <a:pt x="106548" y="265737"/>
                    </a:cubicBezTo>
                    <a:cubicBezTo>
                      <a:pt x="112512" y="255162"/>
                      <a:pt x="125485" y="258479"/>
                      <a:pt x="131062" y="249397"/>
                    </a:cubicBezTo>
                    <a:cubicBezTo>
                      <a:pt x="136192" y="240938"/>
                      <a:pt x="128647" y="230238"/>
                      <a:pt x="124620" y="222857"/>
                    </a:cubicBezTo>
                    <a:cubicBezTo>
                      <a:pt x="118507" y="211577"/>
                      <a:pt x="120535" y="203159"/>
                      <a:pt x="119670" y="190178"/>
                    </a:cubicBezTo>
                    <a:cubicBezTo>
                      <a:pt x="118835" y="177903"/>
                      <a:pt x="108814" y="171019"/>
                      <a:pt x="106846" y="159532"/>
                    </a:cubicBezTo>
                    <a:cubicBezTo>
                      <a:pt x="101597" y="128927"/>
                      <a:pt x="142365" y="148211"/>
                      <a:pt x="146153" y="132452"/>
                    </a:cubicBezTo>
                    <a:lnTo>
                      <a:pt x="145249" y="129095"/>
                    </a:lnTo>
                    <a:lnTo>
                      <a:pt x="169227" y="130098"/>
                    </a:lnTo>
                    <a:cubicBezTo>
                      <a:pt x="243369" y="129984"/>
                      <a:pt x="317511" y="129847"/>
                      <a:pt x="391654" y="129709"/>
                    </a:cubicBezTo>
                    <a:cubicBezTo>
                      <a:pt x="431546" y="129641"/>
                      <a:pt x="471439" y="129572"/>
                      <a:pt x="511331" y="129503"/>
                    </a:cubicBezTo>
                    <a:cubicBezTo>
                      <a:pt x="527437" y="129481"/>
                      <a:pt x="594251" y="136185"/>
                      <a:pt x="597112" y="118429"/>
                    </a:cubicBezTo>
                    <a:cubicBezTo>
                      <a:pt x="598523" y="109688"/>
                      <a:pt x="592958" y="99597"/>
                      <a:pt x="595937" y="91062"/>
                    </a:cubicBezTo>
                    <a:cubicBezTo>
                      <a:pt x="599973" y="79484"/>
                      <a:pt x="610005" y="84770"/>
                      <a:pt x="618117" y="79072"/>
                    </a:cubicBezTo>
                    <a:cubicBezTo>
                      <a:pt x="627796" y="72231"/>
                      <a:pt x="626111" y="58570"/>
                      <a:pt x="621487" y="50241"/>
                    </a:cubicBezTo>
                    <a:cubicBezTo>
                      <a:pt x="616157" y="40562"/>
                      <a:pt x="609574" y="35208"/>
                      <a:pt x="607575" y="24225"/>
                    </a:cubicBezTo>
                    <a:cubicBezTo>
                      <a:pt x="606419" y="17864"/>
                      <a:pt x="606507" y="12321"/>
                      <a:pt x="604950" y="7856"/>
                    </a:cubicBezTo>
                    <a:lnTo>
                      <a:pt x="595071" y="33"/>
                    </a:lnTo>
                    <a:lnTo>
                      <a:pt x="596343"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2" name="Freeform 71">
                <a:extLst>
                  <a:ext uri="{FF2B5EF4-FFF2-40B4-BE49-F238E27FC236}">
                    <a16:creationId xmlns:a16="http://schemas.microsoft.com/office/drawing/2014/main" id="{CD86B9F1-BFB4-994E-A6CA-F1AE4A6DAE69}"/>
                  </a:ext>
                </a:extLst>
              </p:cNvPr>
              <p:cNvSpPr/>
              <p:nvPr/>
            </p:nvSpPr>
            <p:spPr>
              <a:xfrm>
                <a:off x="3360622" y="3689741"/>
                <a:ext cx="60170" cy="38636"/>
              </a:xfrm>
              <a:custGeom>
                <a:avLst/>
                <a:gdLst>
                  <a:gd name="connsiteX0" fmla="*/ 0 w 60170"/>
                  <a:gd name="connsiteY0" fmla="*/ 0 h 38636"/>
                  <a:gd name="connsiteX1" fmla="*/ 9000 w 60170"/>
                  <a:gd name="connsiteY1" fmla="*/ 10952 h 38636"/>
                  <a:gd name="connsiteX2" fmla="*/ 49592 w 60170"/>
                  <a:gd name="connsiteY2" fmla="*/ 26893 h 38636"/>
                  <a:gd name="connsiteX3" fmla="*/ 60070 w 60170"/>
                  <a:gd name="connsiteY3" fmla="*/ 37344 h 38636"/>
                  <a:gd name="connsiteX4" fmla="*/ 60170 w 60170"/>
                  <a:gd name="connsiteY4" fmla="*/ 38636 h 38636"/>
                  <a:gd name="connsiteX5" fmla="*/ 51185 w 60170"/>
                  <a:gd name="connsiteY5" fmla="*/ 29690 h 38636"/>
                  <a:gd name="connsiteX6" fmla="*/ 337 w 60170"/>
                  <a:gd name="connsiteY6" fmla="*/ 1242 h 38636"/>
                  <a:gd name="connsiteX7" fmla="*/ 0 w 60170"/>
                  <a:gd name="connsiteY7" fmla="*/ 0 h 38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170" h="38636">
                    <a:moveTo>
                      <a:pt x="0" y="0"/>
                    </a:moveTo>
                    <a:lnTo>
                      <a:pt x="9000" y="10952"/>
                    </a:lnTo>
                    <a:cubicBezTo>
                      <a:pt x="20238" y="19843"/>
                      <a:pt x="34221" y="19719"/>
                      <a:pt x="49592" y="26893"/>
                    </a:cubicBezTo>
                    <a:cubicBezTo>
                      <a:pt x="56156" y="29959"/>
                      <a:pt x="58889" y="33271"/>
                      <a:pt x="60070" y="37344"/>
                    </a:cubicBezTo>
                    <a:lnTo>
                      <a:pt x="60170" y="38636"/>
                    </a:lnTo>
                    <a:lnTo>
                      <a:pt x="51185" y="29690"/>
                    </a:lnTo>
                    <a:cubicBezTo>
                      <a:pt x="30697" y="20111"/>
                      <a:pt x="12684" y="23511"/>
                      <a:pt x="337" y="1242"/>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3" name="Freeform 72">
                <a:extLst>
                  <a:ext uri="{FF2B5EF4-FFF2-40B4-BE49-F238E27FC236}">
                    <a16:creationId xmlns:a16="http://schemas.microsoft.com/office/drawing/2014/main" id="{4B373760-051F-7449-8A05-F92863BB8951}"/>
                  </a:ext>
                </a:extLst>
              </p:cNvPr>
              <p:cNvSpPr/>
              <p:nvPr/>
            </p:nvSpPr>
            <p:spPr>
              <a:xfrm>
                <a:off x="4154443" y="3694212"/>
                <a:ext cx="666599" cy="526548"/>
              </a:xfrm>
              <a:custGeom>
                <a:avLst/>
                <a:gdLst>
                  <a:gd name="connsiteX0" fmla="*/ 252427 w 666599"/>
                  <a:gd name="connsiteY0" fmla="*/ 0 h 526548"/>
                  <a:gd name="connsiteX1" fmla="*/ 293365 w 666599"/>
                  <a:gd name="connsiteY1" fmla="*/ 30587 h 526548"/>
                  <a:gd name="connsiteX2" fmla="*/ 659508 w 666599"/>
                  <a:gd name="connsiteY2" fmla="*/ 474307 h 526548"/>
                  <a:gd name="connsiteX3" fmla="*/ 666599 w 666599"/>
                  <a:gd name="connsiteY3" fmla="*/ 489015 h 526548"/>
                  <a:gd name="connsiteX4" fmla="*/ 656248 w 666599"/>
                  <a:gd name="connsiteY4" fmla="*/ 488931 h 526548"/>
                  <a:gd name="connsiteX5" fmla="*/ 621660 w 666599"/>
                  <a:gd name="connsiteY5" fmla="*/ 497928 h 526548"/>
                  <a:gd name="connsiteX6" fmla="*/ 543736 w 666599"/>
                  <a:gd name="connsiteY6" fmla="*/ 522526 h 526548"/>
                  <a:gd name="connsiteX7" fmla="*/ 515633 w 666599"/>
                  <a:gd name="connsiteY7" fmla="*/ 526548 h 526548"/>
                  <a:gd name="connsiteX8" fmla="*/ 489290 w 666599"/>
                  <a:gd name="connsiteY8" fmla="*/ 523052 h 526548"/>
                  <a:gd name="connsiteX9" fmla="*/ 474279 w 666599"/>
                  <a:gd name="connsiteY9" fmla="*/ 507473 h 526548"/>
                  <a:gd name="connsiteX10" fmla="*/ 449954 w 666599"/>
                  <a:gd name="connsiteY10" fmla="*/ 444385 h 526548"/>
                  <a:gd name="connsiteX11" fmla="*/ 422362 w 666599"/>
                  <a:gd name="connsiteY11" fmla="*/ 372823 h 526548"/>
                  <a:gd name="connsiteX12" fmla="*/ 409764 w 666599"/>
                  <a:gd name="connsiteY12" fmla="*/ 343244 h 526548"/>
                  <a:gd name="connsiteX13" fmla="*/ 385718 w 666599"/>
                  <a:gd name="connsiteY13" fmla="*/ 336156 h 526548"/>
                  <a:gd name="connsiteX14" fmla="*/ 376542 w 666599"/>
                  <a:gd name="connsiteY14" fmla="*/ 330163 h 526548"/>
                  <a:gd name="connsiteX15" fmla="*/ 374737 w 666599"/>
                  <a:gd name="connsiteY15" fmla="*/ 331806 h 526548"/>
                  <a:gd name="connsiteX16" fmla="*/ 346181 w 666599"/>
                  <a:gd name="connsiteY16" fmla="*/ 328262 h 526548"/>
                  <a:gd name="connsiteX17" fmla="*/ 314950 w 666599"/>
                  <a:gd name="connsiteY17" fmla="*/ 326909 h 526548"/>
                  <a:gd name="connsiteX18" fmla="*/ 73387 w 666599"/>
                  <a:gd name="connsiteY18" fmla="*/ 306354 h 526548"/>
                  <a:gd name="connsiteX19" fmla="*/ 77326 w 666599"/>
                  <a:gd name="connsiteY19" fmla="*/ 295564 h 526548"/>
                  <a:gd name="connsiteX20" fmla="*/ 86027 w 666599"/>
                  <a:gd name="connsiteY20" fmla="*/ 286109 h 526548"/>
                  <a:gd name="connsiteX21" fmla="*/ 101184 w 666599"/>
                  <a:gd name="connsiteY21" fmla="*/ 266796 h 526548"/>
                  <a:gd name="connsiteX22" fmla="*/ 102735 w 666599"/>
                  <a:gd name="connsiteY22" fmla="*/ 126664 h 526548"/>
                  <a:gd name="connsiteX23" fmla="*/ 143879 w 666599"/>
                  <a:gd name="connsiteY23" fmla="*/ 104842 h 526548"/>
                  <a:gd name="connsiteX24" fmla="*/ 144417 w 666599"/>
                  <a:gd name="connsiteY24" fmla="*/ 52443 h 526548"/>
                  <a:gd name="connsiteX25" fmla="*/ 57780 w 666599"/>
                  <a:gd name="connsiteY25" fmla="*/ 71547 h 526548"/>
                  <a:gd name="connsiteX26" fmla="*/ 768 w 666599"/>
                  <a:gd name="connsiteY26" fmla="*/ 114956 h 526548"/>
                  <a:gd name="connsiteX27" fmla="*/ 0 w 666599"/>
                  <a:gd name="connsiteY27" fmla="*/ 112661 h 526548"/>
                  <a:gd name="connsiteX28" fmla="*/ 24795 w 666599"/>
                  <a:gd name="connsiteY28" fmla="*/ 87824 h 526548"/>
                  <a:gd name="connsiteX29" fmla="*/ 56601 w 666599"/>
                  <a:gd name="connsiteY29" fmla="*/ 69635 h 526548"/>
                  <a:gd name="connsiteX30" fmla="*/ 142869 w 666599"/>
                  <a:gd name="connsiteY30" fmla="*/ 50486 h 526548"/>
                  <a:gd name="connsiteX31" fmla="*/ 155068 w 666599"/>
                  <a:gd name="connsiteY31" fmla="*/ 41165 h 526548"/>
                  <a:gd name="connsiteX32" fmla="*/ 186467 w 666599"/>
                  <a:gd name="connsiteY32" fmla="*/ 21447 h 526548"/>
                  <a:gd name="connsiteX33" fmla="*/ 221340 w 666599"/>
                  <a:gd name="connsiteY33" fmla="*/ 3910 h 526548"/>
                  <a:gd name="connsiteX34" fmla="*/ 241077 w 666599"/>
                  <a:gd name="connsiteY34" fmla="*/ 4728 h 526548"/>
                  <a:gd name="connsiteX35" fmla="*/ 252427 w 666599"/>
                  <a:gd name="connsiteY35" fmla="*/ 0 h 526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66599" h="526548">
                    <a:moveTo>
                      <a:pt x="252427" y="0"/>
                    </a:moveTo>
                    <a:lnTo>
                      <a:pt x="293365" y="30587"/>
                    </a:lnTo>
                    <a:cubicBezTo>
                      <a:pt x="442068" y="153205"/>
                      <a:pt x="566806" y="303800"/>
                      <a:pt x="659508" y="474307"/>
                    </a:cubicBezTo>
                    <a:lnTo>
                      <a:pt x="666599" y="489015"/>
                    </a:lnTo>
                    <a:lnTo>
                      <a:pt x="656248" y="488931"/>
                    </a:lnTo>
                    <a:cubicBezTo>
                      <a:pt x="644588" y="490219"/>
                      <a:pt x="633017" y="493054"/>
                      <a:pt x="621660" y="497928"/>
                    </a:cubicBezTo>
                    <a:cubicBezTo>
                      <a:pt x="595672" y="509084"/>
                      <a:pt x="571970" y="517580"/>
                      <a:pt x="543736" y="522526"/>
                    </a:cubicBezTo>
                    <a:cubicBezTo>
                      <a:pt x="535158" y="524034"/>
                      <a:pt x="525301" y="525925"/>
                      <a:pt x="515633" y="526548"/>
                    </a:cubicBezTo>
                    <a:lnTo>
                      <a:pt x="489290" y="523052"/>
                    </a:lnTo>
                    <a:lnTo>
                      <a:pt x="474279" y="507473"/>
                    </a:lnTo>
                    <a:cubicBezTo>
                      <a:pt x="465507" y="486723"/>
                      <a:pt x="458041" y="465393"/>
                      <a:pt x="449954" y="444385"/>
                    </a:cubicBezTo>
                    <a:cubicBezTo>
                      <a:pt x="440746" y="420542"/>
                      <a:pt x="431538" y="396666"/>
                      <a:pt x="422362" y="372823"/>
                    </a:cubicBezTo>
                    <a:cubicBezTo>
                      <a:pt x="419065" y="364317"/>
                      <a:pt x="416763" y="349850"/>
                      <a:pt x="409764" y="343244"/>
                    </a:cubicBezTo>
                    <a:cubicBezTo>
                      <a:pt x="402858" y="336671"/>
                      <a:pt x="394179" y="339314"/>
                      <a:pt x="385718" y="336156"/>
                    </a:cubicBezTo>
                    <a:cubicBezTo>
                      <a:pt x="382265" y="334867"/>
                      <a:pt x="379310" y="332676"/>
                      <a:pt x="376542" y="330163"/>
                    </a:cubicBezTo>
                    <a:cubicBezTo>
                      <a:pt x="375919" y="330904"/>
                      <a:pt x="375328" y="331484"/>
                      <a:pt x="374737" y="331806"/>
                    </a:cubicBezTo>
                    <a:cubicBezTo>
                      <a:pt x="367552" y="335737"/>
                      <a:pt x="353709" y="328874"/>
                      <a:pt x="346181" y="328262"/>
                    </a:cubicBezTo>
                    <a:cubicBezTo>
                      <a:pt x="335947" y="327392"/>
                      <a:pt x="325340" y="327779"/>
                      <a:pt x="314950" y="326909"/>
                    </a:cubicBezTo>
                    <a:lnTo>
                      <a:pt x="73387" y="306354"/>
                    </a:lnTo>
                    <a:lnTo>
                      <a:pt x="77326" y="295564"/>
                    </a:lnTo>
                    <a:cubicBezTo>
                      <a:pt x="79068" y="292414"/>
                      <a:pt x="81538" y="289664"/>
                      <a:pt x="86027" y="286109"/>
                    </a:cubicBezTo>
                    <a:cubicBezTo>
                      <a:pt x="94381" y="279524"/>
                      <a:pt x="102282" y="279759"/>
                      <a:pt x="101184" y="266796"/>
                    </a:cubicBezTo>
                    <a:lnTo>
                      <a:pt x="102735" y="126664"/>
                    </a:lnTo>
                    <a:cubicBezTo>
                      <a:pt x="126418" y="124625"/>
                      <a:pt x="139314" y="129826"/>
                      <a:pt x="143879" y="104842"/>
                    </a:cubicBezTo>
                    <a:cubicBezTo>
                      <a:pt x="147022" y="87724"/>
                      <a:pt x="145214" y="69717"/>
                      <a:pt x="144417" y="52443"/>
                    </a:cubicBezTo>
                    <a:cubicBezTo>
                      <a:pt x="114339" y="51188"/>
                      <a:pt x="85963" y="63105"/>
                      <a:pt x="57780" y="71547"/>
                    </a:cubicBezTo>
                    <a:cubicBezTo>
                      <a:pt x="33386" y="78890"/>
                      <a:pt x="16313" y="98256"/>
                      <a:pt x="768" y="114956"/>
                    </a:cubicBezTo>
                    <a:lnTo>
                      <a:pt x="0" y="112661"/>
                    </a:lnTo>
                    <a:lnTo>
                      <a:pt x="24795" y="87824"/>
                    </a:lnTo>
                    <a:cubicBezTo>
                      <a:pt x="34053" y="79976"/>
                      <a:pt x="44416" y="73301"/>
                      <a:pt x="56601" y="69635"/>
                    </a:cubicBezTo>
                    <a:cubicBezTo>
                      <a:pt x="84685" y="61198"/>
                      <a:pt x="112928" y="49349"/>
                      <a:pt x="142869" y="50486"/>
                    </a:cubicBezTo>
                    <a:cubicBezTo>
                      <a:pt x="146794" y="47074"/>
                      <a:pt x="150745" y="43756"/>
                      <a:pt x="155068" y="41165"/>
                    </a:cubicBezTo>
                    <a:cubicBezTo>
                      <a:pt x="165569" y="34782"/>
                      <a:pt x="177503" y="29852"/>
                      <a:pt x="186467" y="21447"/>
                    </a:cubicBezTo>
                    <a:cubicBezTo>
                      <a:pt x="198400" y="10293"/>
                      <a:pt x="203492" y="3879"/>
                      <a:pt x="221340" y="3910"/>
                    </a:cubicBezTo>
                    <a:cubicBezTo>
                      <a:pt x="226087" y="3910"/>
                      <a:pt x="233963" y="4913"/>
                      <a:pt x="241077" y="4728"/>
                    </a:cubicBezTo>
                    <a:lnTo>
                      <a:pt x="252427"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4" name="Freeform 73">
                <a:extLst>
                  <a:ext uri="{FF2B5EF4-FFF2-40B4-BE49-F238E27FC236}">
                    <a16:creationId xmlns:a16="http://schemas.microsoft.com/office/drawing/2014/main" id="{1E43DFDC-4F04-344A-BEA5-CD7D11A9B8AC}"/>
                  </a:ext>
                </a:extLst>
              </p:cNvPr>
              <p:cNvSpPr/>
              <p:nvPr/>
            </p:nvSpPr>
            <p:spPr>
              <a:xfrm>
                <a:off x="3420792" y="3728378"/>
                <a:ext cx="5892" cy="32017"/>
              </a:xfrm>
              <a:custGeom>
                <a:avLst/>
                <a:gdLst>
                  <a:gd name="connsiteX0" fmla="*/ 0 w 5892"/>
                  <a:gd name="connsiteY0" fmla="*/ 0 h 32017"/>
                  <a:gd name="connsiteX1" fmla="*/ 1505 w 5892"/>
                  <a:gd name="connsiteY1" fmla="*/ 1499 h 32017"/>
                  <a:gd name="connsiteX2" fmla="*/ 2646 w 5892"/>
                  <a:gd name="connsiteY2" fmla="*/ 16517 h 32017"/>
                  <a:gd name="connsiteX3" fmla="*/ 5892 w 5892"/>
                  <a:gd name="connsiteY3" fmla="*/ 32017 h 32017"/>
                  <a:gd name="connsiteX4" fmla="*/ 4441 w 5892"/>
                  <a:gd name="connsiteY4" fmla="*/ 29915 h 32017"/>
                  <a:gd name="connsiteX5" fmla="*/ 1061 w 5892"/>
                  <a:gd name="connsiteY5" fmla="*/ 13724 h 32017"/>
                  <a:gd name="connsiteX6" fmla="*/ 0 w 5892"/>
                  <a:gd name="connsiteY6" fmla="*/ 0 h 3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92" h="32017">
                    <a:moveTo>
                      <a:pt x="0" y="0"/>
                    </a:moveTo>
                    <a:lnTo>
                      <a:pt x="1505" y="1499"/>
                    </a:lnTo>
                    <a:cubicBezTo>
                      <a:pt x="2683" y="5569"/>
                      <a:pt x="2303" y="10400"/>
                      <a:pt x="2646" y="16517"/>
                    </a:cubicBezTo>
                    <a:lnTo>
                      <a:pt x="5892" y="32017"/>
                    </a:lnTo>
                    <a:lnTo>
                      <a:pt x="4441" y="29915"/>
                    </a:lnTo>
                    <a:cubicBezTo>
                      <a:pt x="2413" y="25039"/>
                      <a:pt x="1394" y="19742"/>
                      <a:pt x="1061" y="13724"/>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5" name="Freeform 74">
                <a:extLst>
                  <a:ext uri="{FF2B5EF4-FFF2-40B4-BE49-F238E27FC236}">
                    <a16:creationId xmlns:a16="http://schemas.microsoft.com/office/drawing/2014/main" id="{BB6AF322-48BB-A944-AA9C-8118C87F5AEC}"/>
                  </a:ext>
                </a:extLst>
              </p:cNvPr>
              <p:cNvSpPr/>
              <p:nvPr/>
            </p:nvSpPr>
            <p:spPr>
              <a:xfrm>
                <a:off x="3426685" y="3760394"/>
                <a:ext cx="40901" cy="42932"/>
              </a:xfrm>
              <a:custGeom>
                <a:avLst/>
                <a:gdLst>
                  <a:gd name="connsiteX0" fmla="*/ 0 w 40901"/>
                  <a:gd name="connsiteY0" fmla="*/ 0 h 42932"/>
                  <a:gd name="connsiteX1" fmla="*/ 7983 w 40901"/>
                  <a:gd name="connsiteY1" fmla="*/ 11567 h 42932"/>
                  <a:gd name="connsiteX2" fmla="*/ 40375 w 40901"/>
                  <a:gd name="connsiteY2" fmla="*/ 41229 h 42932"/>
                  <a:gd name="connsiteX3" fmla="*/ 40901 w 40901"/>
                  <a:gd name="connsiteY3" fmla="*/ 42932 h 42932"/>
                  <a:gd name="connsiteX4" fmla="*/ 31807 w 40901"/>
                  <a:gd name="connsiteY4" fmla="*/ 32869 h 42932"/>
                  <a:gd name="connsiteX5" fmla="*/ 9578 w 40901"/>
                  <a:gd name="connsiteY5" fmla="*/ 14358 h 42932"/>
                  <a:gd name="connsiteX6" fmla="*/ 147 w 40901"/>
                  <a:gd name="connsiteY6" fmla="*/ 704 h 42932"/>
                  <a:gd name="connsiteX7" fmla="*/ 0 w 40901"/>
                  <a:gd name="connsiteY7" fmla="*/ 0 h 42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01" h="42932">
                    <a:moveTo>
                      <a:pt x="0" y="0"/>
                    </a:moveTo>
                    <a:lnTo>
                      <a:pt x="7983" y="11567"/>
                    </a:lnTo>
                    <a:cubicBezTo>
                      <a:pt x="14096" y="17626"/>
                      <a:pt x="32554" y="29707"/>
                      <a:pt x="40375" y="41229"/>
                    </a:cubicBezTo>
                    <a:lnTo>
                      <a:pt x="40901" y="42932"/>
                    </a:lnTo>
                    <a:lnTo>
                      <a:pt x="31807" y="32869"/>
                    </a:lnTo>
                    <a:cubicBezTo>
                      <a:pt x="23483" y="25306"/>
                      <a:pt x="13709" y="18464"/>
                      <a:pt x="9578" y="14358"/>
                    </a:cubicBezTo>
                    <a:cubicBezTo>
                      <a:pt x="5209" y="10025"/>
                      <a:pt x="2175" y="5577"/>
                      <a:pt x="147" y="704"/>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6" name="Freeform 75">
                <a:extLst>
                  <a:ext uri="{FF2B5EF4-FFF2-40B4-BE49-F238E27FC236}">
                    <a16:creationId xmlns:a16="http://schemas.microsoft.com/office/drawing/2014/main" id="{50E6EB16-2893-894B-B62E-AB83BBA12903}"/>
                  </a:ext>
                </a:extLst>
              </p:cNvPr>
              <p:cNvSpPr/>
              <p:nvPr/>
            </p:nvSpPr>
            <p:spPr>
              <a:xfrm>
                <a:off x="3467586" y="3803326"/>
                <a:ext cx="3531" cy="9414"/>
              </a:xfrm>
              <a:custGeom>
                <a:avLst/>
                <a:gdLst>
                  <a:gd name="connsiteX0" fmla="*/ 0 w 3531"/>
                  <a:gd name="connsiteY0" fmla="*/ 0 h 9414"/>
                  <a:gd name="connsiteX1" fmla="*/ 1419 w 3531"/>
                  <a:gd name="connsiteY1" fmla="*/ 1570 h 9414"/>
                  <a:gd name="connsiteX2" fmla="*/ 3531 w 3531"/>
                  <a:gd name="connsiteY2" fmla="*/ 9414 h 9414"/>
                  <a:gd name="connsiteX3" fmla="*/ 2899 w 3531"/>
                  <a:gd name="connsiteY3" fmla="*/ 9388 h 9414"/>
                  <a:gd name="connsiteX4" fmla="*/ 0 w 3531"/>
                  <a:gd name="connsiteY4" fmla="*/ 0 h 9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 h="9414">
                    <a:moveTo>
                      <a:pt x="0" y="0"/>
                    </a:moveTo>
                    <a:lnTo>
                      <a:pt x="1419" y="1570"/>
                    </a:lnTo>
                    <a:lnTo>
                      <a:pt x="3531" y="9414"/>
                    </a:lnTo>
                    <a:lnTo>
                      <a:pt x="2899" y="9388"/>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7" name="Freeform 76">
                <a:extLst>
                  <a:ext uri="{FF2B5EF4-FFF2-40B4-BE49-F238E27FC236}">
                    <a16:creationId xmlns:a16="http://schemas.microsoft.com/office/drawing/2014/main" id="{A4134D99-E11D-7042-82D3-8C17825F006C}"/>
                  </a:ext>
                </a:extLst>
              </p:cNvPr>
              <p:cNvSpPr/>
              <p:nvPr/>
            </p:nvSpPr>
            <p:spPr>
              <a:xfrm>
                <a:off x="2961787" y="3816984"/>
                <a:ext cx="2532" cy="12202"/>
              </a:xfrm>
              <a:custGeom>
                <a:avLst/>
                <a:gdLst>
                  <a:gd name="connsiteX0" fmla="*/ 0 w 2532"/>
                  <a:gd name="connsiteY0" fmla="*/ 0 h 12202"/>
                  <a:gd name="connsiteX1" fmla="*/ 232 w 2532"/>
                  <a:gd name="connsiteY1" fmla="*/ 274 h 12202"/>
                  <a:gd name="connsiteX2" fmla="*/ 2532 w 2532"/>
                  <a:gd name="connsiteY2" fmla="*/ 12202 h 12202"/>
                  <a:gd name="connsiteX3" fmla="*/ 2275 w 2532"/>
                  <a:gd name="connsiteY3" fmla="*/ 11761 h 12202"/>
                  <a:gd name="connsiteX4" fmla="*/ 0 w 2532"/>
                  <a:gd name="connsiteY4" fmla="*/ 0 h 122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32" h="12202">
                    <a:moveTo>
                      <a:pt x="0" y="0"/>
                    </a:moveTo>
                    <a:lnTo>
                      <a:pt x="232" y="274"/>
                    </a:lnTo>
                    <a:lnTo>
                      <a:pt x="2532" y="12202"/>
                    </a:lnTo>
                    <a:lnTo>
                      <a:pt x="2275" y="11761"/>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8" name="Freeform 77">
                <a:extLst>
                  <a:ext uri="{FF2B5EF4-FFF2-40B4-BE49-F238E27FC236}">
                    <a16:creationId xmlns:a16="http://schemas.microsoft.com/office/drawing/2014/main" id="{8C162696-E4FD-5A41-A4A2-717B5A5E772D}"/>
                  </a:ext>
                </a:extLst>
              </p:cNvPr>
              <p:cNvSpPr/>
              <p:nvPr/>
            </p:nvSpPr>
            <p:spPr>
              <a:xfrm>
                <a:off x="2964320" y="3829186"/>
                <a:ext cx="103565" cy="56330"/>
              </a:xfrm>
              <a:custGeom>
                <a:avLst/>
                <a:gdLst>
                  <a:gd name="connsiteX0" fmla="*/ 0 w 103565"/>
                  <a:gd name="connsiteY0" fmla="*/ 0 h 56330"/>
                  <a:gd name="connsiteX1" fmla="*/ 6359 w 103565"/>
                  <a:gd name="connsiteY1" fmla="*/ 10916 h 56330"/>
                  <a:gd name="connsiteX2" fmla="*/ 31270 w 103565"/>
                  <a:gd name="connsiteY2" fmla="*/ 9381 h 56330"/>
                  <a:gd name="connsiteX3" fmla="*/ 46274 w 103565"/>
                  <a:gd name="connsiteY3" fmla="*/ 27348 h 56330"/>
                  <a:gd name="connsiteX4" fmla="*/ 90123 w 103565"/>
                  <a:gd name="connsiteY4" fmla="*/ 48556 h 56330"/>
                  <a:gd name="connsiteX5" fmla="*/ 103565 w 103565"/>
                  <a:gd name="connsiteY5" fmla="*/ 54832 h 56330"/>
                  <a:gd name="connsiteX6" fmla="*/ 102839 w 103565"/>
                  <a:gd name="connsiteY6" fmla="*/ 56330 h 56330"/>
                  <a:gd name="connsiteX7" fmla="*/ 102183 w 103565"/>
                  <a:gd name="connsiteY7" fmla="*/ 55172 h 56330"/>
                  <a:gd name="connsiteX8" fmla="*/ 90628 w 103565"/>
                  <a:gd name="connsiteY8" fmla="*/ 50568 h 56330"/>
                  <a:gd name="connsiteX9" fmla="*/ 46789 w 103565"/>
                  <a:gd name="connsiteY9" fmla="*/ 29418 h 56330"/>
                  <a:gd name="connsiteX10" fmla="*/ 31788 w 103565"/>
                  <a:gd name="connsiteY10" fmla="*/ 11420 h 56330"/>
                  <a:gd name="connsiteX11" fmla="*/ 6915 w 103565"/>
                  <a:gd name="connsiteY11" fmla="*/ 12954 h 56330"/>
                  <a:gd name="connsiteX12" fmla="*/ 306 w 103565"/>
                  <a:gd name="connsiteY12" fmla="*/ 1587 h 56330"/>
                  <a:gd name="connsiteX13" fmla="*/ 0 w 103565"/>
                  <a:gd name="connsiteY13" fmla="*/ 0 h 5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565" h="56330">
                    <a:moveTo>
                      <a:pt x="0" y="0"/>
                    </a:moveTo>
                    <a:lnTo>
                      <a:pt x="6359" y="10916"/>
                    </a:lnTo>
                    <a:cubicBezTo>
                      <a:pt x="15100" y="15579"/>
                      <a:pt x="22189" y="6595"/>
                      <a:pt x="31270" y="9381"/>
                    </a:cubicBezTo>
                    <a:cubicBezTo>
                      <a:pt x="37582" y="11314"/>
                      <a:pt x="42341" y="22686"/>
                      <a:pt x="46274" y="27348"/>
                    </a:cubicBezTo>
                    <a:cubicBezTo>
                      <a:pt x="57297" y="40652"/>
                      <a:pt x="72933" y="43780"/>
                      <a:pt x="90123" y="48556"/>
                    </a:cubicBezTo>
                    <a:cubicBezTo>
                      <a:pt x="98002" y="50759"/>
                      <a:pt x="102114" y="52884"/>
                      <a:pt x="103565" y="54832"/>
                    </a:cubicBezTo>
                    <a:lnTo>
                      <a:pt x="102839" y="56330"/>
                    </a:lnTo>
                    <a:lnTo>
                      <a:pt x="102183" y="55172"/>
                    </a:lnTo>
                    <a:cubicBezTo>
                      <a:pt x="100002" y="53702"/>
                      <a:pt x="96287" y="52154"/>
                      <a:pt x="90628" y="50568"/>
                    </a:cubicBezTo>
                    <a:cubicBezTo>
                      <a:pt x="73450" y="45799"/>
                      <a:pt x="57823" y="42688"/>
                      <a:pt x="46789" y="29418"/>
                    </a:cubicBezTo>
                    <a:cubicBezTo>
                      <a:pt x="42882" y="24732"/>
                      <a:pt x="38110" y="13369"/>
                      <a:pt x="31788" y="11420"/>
                    </a:cubicBezTo>
                    <a:cubicBezTo>
                      <a:pt x="22722" y="8600"/>
                      <a:pt x="15624" y="17640"/>
                      <a:pt x="6915" y="12954"/>
                    </a:cubicBezTo>
                    <a:cubicBezTo>
                      <a:pt x="1995" y="10280"/>
                      <a:pt x="817" y="6112"/>
                      <a:pt x="306" y="1587"/>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79" name="Freeform 78">
                <a:extLst>
                  <a:ext uri="{FF2B5EF4-FFF2-40B4-BE49-F238E27FC236}">
                    <a16:creationId xmlns:a16="http://schemas.microsoft.com/office/drawing/2014/main" id="{FF59556A-DE1F-3C4D-91F8-5D43F490F2BD}"/>
                  </a:ext>
                </a:extLst>
              </p:cNvPr>
              <p:cNvSpPr/>
              <p:nvPr/>
            </p:nvSpPr>
            <p:spPr>
              <a:xfrm>
                <a:off x="3448764" y="3891622"/>
                <a:ext cx="249729" cy="331705"/>
              </a:xfrm>
              <a:custGeom>
                <a:avLst/>
                <a:gdLst>
                  <a:gd name="connsiteX0" fmla="*/ 52624 w 249729"/>
                  <a:gd name="connsiteY0" fmla="*/ 600 h 331705"/>
                  <a:gd name="connsiteX1" fmla="*/ 96514 w 249729"/>
                  <a:gd name="connsiteY1" fmla="*/ 24596 h 331705"/>
                  <a:gd name="connsiteX2" fmla="*/ 141835 w 249729"/>
                  <a:gd name="connsiteY2" fmla="*/ 116591 h 331705"/>
                  <a:gd name="connsiteX3" fmla="*/ 169448 w 249729"/>
                  <a:gd name="connsiteY3" fmla="*/ 163319 h 331705"/>
                  <a:gd name="connsiteX4" fmla="*/ 199280 w 249729"/>
                  <a:gd name="connsiteY4" fmla="*/ 198365 h 331705"/>
                  <a:gd name="connsiteX5" fmla="*/ 203433 w 249729"/>
                  <a:gd name="connsiteY5" fmla="*/ 235195 h 331705"/>
                  <a:gd name="connsiteX6" fmla="*/ 231905 w 249729"/>
                  <a:gd name="connsiteY6" fmla="*/ 270014 h 331705"/>
                  <a:gd name="connsiteX7" fmla="*/ 247119 w 249729"/>
                  <a:gd name="connsiteY7" fmla="*/ 301876 h 331705"/>
                  <a:gd name="connsiteX8" fmla="*/ 249729 w 249729"/>
                  <a:gd name="connsiteY8" fmla="*/ 331409 h 331705"/>
                  <a:gd name="connsiteX9" fmla="*/ 249726 w 249729"/>
                  <a:gd name="connsiteY9" fmla="*/ 331407 h 331705"/>
                  <a:gd name="connsiteX10" fmla="*/ 249725 w 249729"/>
                  <a:gd name="connsiteY10" fmla="*/ 331705 h 331705"/>
                  <a:gd name="connsiteX11" fmla="*/ 248840 w 249729"/>
                  <a:gd name="connsiteY11" fmla="*/ 331235 h 331705"/>
                  <a:gd name="connsiteX12" fmla="*/ 230522 w 249729"/>
                  <a:gd name="connsiteY12" fmla="*/ 270301 h 331705"/>
                  <a:gd name="connsiteX13" fmla="*/ 202041 w 249729"/>
                  <a:gd name="connsiteY13" fmla="*/ 235522 h 331705"/>
                  <a:gd name="connsiteX14" fmla="*/ 197904 w 249729"/>
                  <a:gd name="connsiteY14" fmla="*/ 198698 h 331705"/>
                  <a:gd name="connsiteX15" fmla="*/ 168057 w 249729"/>
                  <a:gd name="connsiteY15" fmla="*/ 163667 h 331705"/>
                  <a:gd name="connsiteX16" fmla="*/ 140460 w 249729"/>
                  <a:gd name="connsiteY16" fmla="*/ 116958 h 331705"/>
                  <a:gd name="connsiteX17" fmla="*/ 95147 w 249729"/>
                  <a:gd name="connsiteY17" fmla="*/ 24969 h 331705"/>
                  <a:gd name="connsiteX18" fmla="*/ 51250 w 249729"/>
                  <a:gd name="connsiteY18" fmla="*/ 999 h 331705"/>
                  <a:gd name="connsiteX19" fmla="*/ 124 w 249729"/>
                  <a:gd name="connsiteY19" fmla="*/ 2196 h 331705"/>
                  <a:gd name="connsiteX20" fmla="*/ 0 w 249729"/>
                  <a:gd name="connsiteY20" fmla="*/ 1816 h 331705"/>
                  <a:gd name="connsiteX21" fmla="*/ 52624 w 249729"/>
                  <a:gd name="connsiteY21" fmla="*/ 600 h 33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9729" h="331705">
                    <a:moveTo>
                      <a:pt x="52624" y="600"/>
                    </a:moveTo>
                    <a:cubicBezTo>
                      <a:pt x="69253" y="2320"/>
                      <a:pt x="84426" y="8242"/>
                      <a:pt x="96514" y="24596"/>
                    </a:cubicBezTo>
                    <a:cubicBezTo>
                      <a:pt x="116179" y="51172"/>
                      <a:pt x="127014" y="86478"/>
                      <a:pt x="141835" y="116591"/>
                    </a:cubicBezTo>
                    <a:cubicBezTo>
                      <a:pt x="149735" y="132621"/>
                      <a:pt x="158613" y="149203"/>
                      <a:pt x="169448" y="163319"/>
                    </a:cubicBezTo>
                    <a:cubicBezTo>
                      <a:pt x="177992" y="174449"/>
                      <a:pt x="195295" y="185060"/>
                      <a:pt x="199280" y="198365"/>
                    </a:cubicBezTo>
                    <a:cubicBezTo>
                      <a:pt x="202956" y="210598"/>
                      <a:pt x="197920" y="223092"/>
                      <a:pt x="203433" y="235195"/>
                    </a:cubicBezTo>
                    <a:cubicBezTo>
                      <a:pt x="209925" y="249473"/>
                      <a:pt x="221523" y="258884"/>
                      <a:pt x="231905" y="270014"/>
                    </a:cubicBezTo>
                    <a:cubicBezTo>
                      <a:pt x="239709" y="278386"/>
                      <a:pt x="244423" y="289849"/>
                      <a:pt x="247119" y="301876"/>
                    </a:cubicBezTo>
                    <a:lnTo>
                      <a:pt x="249729" y="331409"/>
                    </a:lnTo>
                    <a:lnTo>
                      <a:pt x="249726" y="331407"/>
                    </a:lnTo>
                    <a:lnTo>
                      <a:pt x="249725" y="331705"/>
                    </a:lnTo>
                    <a:lnTo>
                      <a:pt x="248840" y="331235"/>
                    </a:lnTo>
                    <a:cubicBezTo>
                      <a:pt x="248639" y="310821"/>
                      <a:pt x="244662" y="285507"/>
                      <a:pt x="230522" y="270301"/>
                    </a:cubicBezTo>
                    <a:cubicBezTo>
                      <a:pt x="220118" y="259184"/>
                      <a:pt x="208549" y="249775"/>
                      <a:pt x="202041" y="235522"/>
                    </a:cubicBezTo>
                    <a:cubicBezTo>
                      <a:pt x="196538" y="223425"/>
                      <a:pt x="201559" y="210935"/>
                      <a:pt x="197904" y="198698"/>
                    </a:cubicBezTo>
                    <a:cubicBezTo>
                      <a:pt x="193887" y="185397"/>
                      <a:pt x="176613" y="174784"/>
                      <a:pt x="168057" y="163667"/>
                    </a:cubicBezTo>
                    <a:cubicBezTo>
                      <a:pt x="157211" y="149553"/>
                      <a:pt x="148333" y="132976"/>
                      <a:pt x="140460" y="116958"/>
                    </a:cubicBezTo>
                    <a:cubicBezTo>
                      <a:pt x="125596" y="86855"/>
                      <a:pt x="114791" y="51572"/>
                      <a:pt x="95147" y="24969"/>
                    </a:cubicBezTo>
                    <a:cubicBezTo>
                      <a:pt x="83056" y="8630"/>
                      <a:pt x="67881" y="2714"/>
                      <a:pt x="51250" y="999"/>
                    </a:cubicBezTo>
                    <a:lnTo>
                      <a:pt x="124" y="2196"/>
                    </a:lnTo>
                    <a:lnTo>
                      <a:pt x="0" y="1816"/>
                    </a:lnTo>
                    <a:cubicBezTo>
                      <a:pt x="17911" y="1362"/>
                      <a:pt x="35995" y="-1120"/>
                      <a:pt x="52624" y="60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0" name="Freeform 79">
                <a:extLst>
                  <a:ext uri="{FF2B5EF4-FFF2-40B4-BE49-F238E27FC236}">
                    <a16:creationId xmlns:a16="http://schemas.microsoft.com/office/drawing/2014/main" id="{CA23FAEA-B234-EC47-B528-A303555536D3}"/>
                  </a:ext>
                </a:extLst>
              </p:cNvPr>
              <p:cNvSpPr/>
              <p:nvPr/>
            </p:nvSpPr>
            <p:spPr>
              <a:xfrm>
                <a:off x="3055782" y="3894334"/>
                <a:ext cx="195246" cy="168591"/>
              </a:xfrm>
              <a:custGeom>
                <a:avLst/>
                <a:gdLst>
                  <a:gd name="connsiteX0" fmla="*/ 1678 w 195246"/>
                  <a:gd name="connsiteY0" fmla="*/ 0 h 168591"/>
                  <a:gd name="connsiteX1" fmla="*/ 69501 w 195246"/>
                  <a:gd name="connsiteY1" fmla="*/ 33274 h 168591"/>
                  <a:gd name="connsiteX2" fmla="*/ 92986 w 195246"/>
                  <a:gd name="connsiteY2" fmla="*/ 73338 h 168591"/>
                  <a:gd name="connsiteX3" fmla="*/ 113696 w 195246"/>
                  <a:gd name="connsiteY3" fmla="*/ 109769 h 168591"/>
                  <a:gd name="connsiteX4" fmla="*/ 132015 w 195246"/>
                  <a:gd name="connsiteY4" fmla="*/ 133773 h 168591"/>
                  <a:gd name="connsiteX5" fmla="*/ 162483 w 195246"/>
                  <a:gd name="connsiteY5" fmla="*/ 144706 h 168591"/>
                  <a:gd name="connsiteX6" fmla="*/ 180336 w 195246"/>
                  <a:gd name="connsiteY6" fmla="*/ 157777 h 168591"/>
                  <a:gd name="connsiteX7" fmla="*/ 195246 w 195246"/>
                  <a:gd name="connsiteY7" fmla="*/ 168591 h 168591"/>
                  <a:gd name="connsiteX8" fmla="*/ 190429 w 195246"/>
                  <a:gd name="connsiteY8" fmla="*/ 168263 h 168591"/>
                  <a:gd name="connsiteX9" fmla="*/ 160715 w 195246"/>
                  <a:gd name="connsiteY9" fmla="*/ 144872 h 168591"/>
                  <a:gd name="connsiteX10" fmla="*/ 130266 w 195246"/>
                  <a:gd name="connsiteY10" fmla="*/ 133966 h 168591"/>
                  <a:gd name="connsiteX11" fmla="*/ 111925 w 195246"/>
                  <a:gd name="connsiteY11" fmla="*/ 109955 h 168591"/>
                  <a:gd name="connsiteX12" fmla="*/ 91288 w 195246"/>
                  <a:gd name="connsiteY12" fmla="*/ 73503 h 168591"/>
                  <a:gd name="connsiteX13" fmla="*/ 67758 w 195246"/>
                  <a:gd name="connsiteY13" fmla="*/ 33443 h 168591"/>
                  <a:gd name="connsiteX14" fmla="*/ 0 w 195246"/>
                  <a:gd name="connsiteY14" fmla="*/ 184 h 168591"/>
                  <a:gd name="connsiteX15" fmla="*/ 37 w 195246"/>
                  <a:gd name="connsiteY15" fmla="*/ 167 h 168591"/>
                  <a:gd name="connsiteX16" fmla="*/ 1678 w 195246"/>
                  <a:gd name="connsiteY16" fmla="*/ 0 h 168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5246" h="168591">
                    <a:moveTo>
                      <a:pt x="1678" y="0"/>
                    </a:moveTo>
                    <a:cubicBezTo>
                      <a:pt x="25593" y="8488"/>
                      <a:pt x="49412" y="17112"/>
                      <a:pt x="69501" y="33274"/>
                    </a:cubicBezTo>
                    <a:cubicBezTo>
                      <a:pt x="81459" y="42916"/>
                      <a:pt x="86242" y="60334"/>
                      <a:pt x="92986" y="73338"/>
                    </a:cubicBezTo>
                    <a:cubicBezTo>
                      <a:pt x="99634" y="86104"/>
                      <a:pt x="105613" y="97749"/>
                      <a:pt x="113696" y="109769"/>
                    </a:cubicBezTo>
                    <a:cubicBezTo>
                      <a:pt x="119197" y="118053"/>
                      <a:pt x="124028" y="127729"/>
                      <a:pt x="132015" y="133773"/>
                    </a:cubicBezTo>
                    <a:cubicBezTo>
                      <a:pt x="141247" y="140767"/>
                      <a:pt x="151578" y="141616"/>
                      <a:pt x="162483" y="144706"/>
                    </a:cubicBezTo>
                    <a:cubicBezTo>
                      <a:pt x="170232" y="146896"/>
                      <a:pt x="175445" y="152464"/>
                      <a:pt x="180336" y="157777"/>
                    </a:cubicBezTo>
                    <a:lnTo>
                      <a:pt x="195246" y="168591"/>
                    </a:lnTo>
                    <a:lnTo>
                      <a:pt x="190429" y="168263"/>
                    </a:lnTo>
                    <a:cubicBezTo>
                      <a:pt x="180231" y="163417"/>
                      <a:pt x="174516" y="148791"/>
                      <a:pt x="160715" y="144872"/>
                    </a:cubicBezTo>
                    <a:cubicBezTo>
                      <a:pt x="149800" y="141804"/>
                      <a:pt x="139452" y="140933"/>
                      <a:pt x="130266" y="133966"/>
                    </a:cubicBezTo>
                    <a:cubicBezTo>
                      <a:pt x="122274" y="127870"/>
                      <a:pt x="117472" y="118207"/>
                      <a:pt x="111925" y="109955"/>
                    </a:cubicBezTo>
                    <a:cubicBezTo>
                      <a:pt x="103903" y="97887"/>
                      <a:pt x="97909" y="86275"/>
                      <a:pt x="91288" y="73503"/>
                    </a:cubicBezTo>
                    <a:cubicBezTo>
                      <a:pt x="84518" y="60481"/>
                      <a:pt x="79746" y="43064"/>
                      <a:pt x="67758" y="33443"/>
                    </a:cubicBezTo>
                    <a:cubicBezTo>
                      <a:pt x="47687" y="17270"/>
                      <a:pt x="23888" y="8644"/>
                      <a:pt x="0" y="184"/>
                    </a:cubicBezTo>
                    <a:lnTo>
                      <a:pt x="37" y="167"/>
                    </a:lnTo>
                    <a:lnTo>
                      <a:pt x="1678"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1" name="Freeform 80">
                <a:extLst>
                  <a:ext uri="{FF2B5EF4-FFF2-40B4-BE49-F238E27FC236}">
                    <a16:creationId xmlns:a16="http://schemas.microsoft.com/office/drawing/2014/main" id="{539AACB6-0867-F947-A158-5A99116EF70E}"/>
                  </a:ext>
                </a:extLst>
              </p:cNvPr>
              <p:cNvSpPr/>
              <p:nvPr/>
            </p:nvSpPr>
            <p:spPr>
              <a:xfrm>
                <a:off x="4142538" y="3990248"/>
                <a:ext cx="510" cy="4379"/>
              </a:xfrm>
              <a:custGeom>
                <a:avLst/>
                <a:gdLst>
                  <a:gd name="connsiteX0" fmla="*/ 510 w 510"/>
                  <a:gd name="connsiteY0" fmla="*/ 0 h 4379"/>
                  <a:gd name="connsiteX1" fmla="*/ 493 w 510"/>
                  <a:gd name="connsiteY1" fmla="*/ 4379 h 4379"/>
                  <a:gd name="connsiteX2" fmla="*/ 0 w 510"/>
                  <a:gd name="connsiteY2" fmla="*/ 3665 h 4379"/>
                  <a:gd name="connsiteX3" fmla="*/ 510 w 510"/>
                  <a:gd name="connsiteY3" fmla="*/ 0 h 4379"/>
                </a:gdLst>
                <a:ahLst/>
                <a:cxnLst>
                  <a:cxn ang="0">
                    <a:pos x="connsiteX0" y="connsiteY0"/>
                  </a:cxn>
                  <a:cxn ang="0">
                    <a:pos x="connsiteX1" y="connsiteY1"/>
                  </a:cxn>
                  <a:cxn ang="0">
                    <a:pos x="connsiteX2" y="connsiteY2"/>
                  </a:cxn>
                  <a:cxn ang="0">
                    <a:pos x="connsiteX3" y="connsiteY3"/>
                  </a:cxn>
                </a:cxnLst>
                <a:rect l="l" t="t" r="r" b="b"/>
                <a:pathLst>
                  <a:path w="510" h="4379">
                    <a:moveTo>
                      <a:pt x="510" y="0"/>
                    </a:moveTo>
                    <a:lnTo>
                      <a:pt x="493" y="4379"/>
                    </a:lnTo>
                    <a:lnTo>
                      <a:pt x="0" y="3665"/>
                    </a:lnTo>
                    <a:lnTo>
                      <a:pt x="51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2" name="Freeform 81">
                <a:extLst>
                  <a:ext uri="{FF2B5EF4-FFF2-40B4-BE49-F238E27FC236}">
                    <a16:creationId xmlns:a16="http://schemas.microsoft.com/office/drawing/2014/main" id="{EB6931A6-FF39-A549-AE78-4A4979CC8498}"/>
                  </a:ext>
                </a:extLst>
              </p:cNvPr>
              <p:cNvSpPr/>
              <p:nvPr/>
            </p:nvSpPr>
            <p:spPr>
              <a:xfrm>
                <a:off x="4143024" y="3994626"/>
                <a:ext cx="3241" cy="4680"/>
              </a:xfrm>
              <a:custGeom>
                <a:avLst/>
                <a:gdLst>
                  <a:gd name="connsiteX0" fmla="*/ 8 w 3241"/>
                  <a:gd name="connsiteY0" fmla="*/ 0 h 4680"/>
                  <a:gd name="connsiteX1" fmla="*/ 3241 w 3241"/>
                  <a:gd name="connsiteY1" fmla="*/ 4680 h 4680"/>
                  <a:gd name="connsiteX2" fmla="*/ 2827 w 3241"/>
                  <a:gd name="connsiteY2" fmla="*/ 4649 h 4680"/>
                  <a:gd name="connsiteX3" fmla="*/ 0 w 3241"/>
                  <a:gd name="connsiteY3" fmla="*/ 2172 h 4680"/>
                  <a:gd name="connsiteX4" fmla="*/ 8 w 3241"/>
                  <a:gd name="connsiteY4" fmla="*/ 0 h 4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1" h="4680">
                    <a:moveTo>
                      <a:pt x="8" y="0"/>
                    </a:moveTo>
                    <a:lnTo>
                      <a:pt x="3241" y="4680"/>
                    </a:lnTo>
                    <a:lnTo>
                      <a:pt x="2827" y="4649"/>
                    </a:lnTo>
                    <a:lnTo>
                      <a:pt x="0" y="2172"/>
                    </a:lnTo>
                    <a:lnTo>
                      <a:pt x="8"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3" name="Freeform 82">
                <a:extLst>
                  <a:ext uri="{FF2B5EF4-FFF2-40B4-BE49-F238E27FC236}">
                    <a16:creationId xmlns:a16="http://schemas.microsoft.com/office/drawing/2014/main" id="{4610410C-1603-584B-A243-1B8FD712E2D5}"/>
                  </a:ext>
                </a:extLst>
              </p:cNvPr>
              <p:cNvSpPr/>
              <p:nvPr/>
            </p:nvSpPr>
            <p:spPr>
              <a:xfrm>
                <a:off x="4123637" y="3996794"/>
                <a:ext cx="19387" cy="38964"/>
              </a:xfrm>
              <a:custGeom>
                <a:avLst/>
                <a:gdLst>
                  <a:gd name="connsiteX0" fmla="*/ 19383 w 19387"/>
                  <a:gd name="connsiteY0" fmla="*/ 0 h 38964"/>
                  <a:gd name="connsiteX1" fmla="*/ 19387 w 19387"/>
                  <a:gd name="connsiteY1" fmla="*/ 4 h 38964"/>
                  <a:gd name="connsiteX2" fmla="*/ 19379 w 19387"/>
                  <a:gd name="connsiteY2" fmla="*/ 2040 h 38964"/>
                  <a:gd name="connsiteX3" fmla="*/ 7335 w 19387"/>
                  <a:gd name="connsiteY3" fmla="*/ 20764 h 38964"/>
                  <a:gd name="connsiteX4" fmla="*/ 136 w 19387"/>
                  <a:gd name="connsiteY4" fmla="*/ 38964 h 38964"/>
                  <a:gd name="connsiteX5" fmla="*/ 0 w 19387"/>
                  <a:gd name="connsiteY5" fmla="*/ 37255 h 38964"/>
                  <a:gd name="connsiteX6" fmla="*/ 19383 w 19387"/>
                  <a:gd name="connsiteY6" fmla="*/ 0 h 3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87" h="38964">
                    <a:moveTo>
                      <a:pt x="19383" y="0"/>
                    </a:moveTo>
                    <a:lnTo>
                      <a:pt x="19387" y="4"/>
                    </a:lnTo>
                    <a:lnTo>
                      <a:pt x="19379" y="2040"/>
                    </a:lnTo>
                    <a:cubicBezTo>
                      <a:pt x="15041" y="8404"/>
                      <a:pt x="10795" y="14600"/>
                      <a:pt x="7335" y="20764"/>
                    </a:cubicBezTo>
                    <a:lnTo>
                      <a:pt x="136" y="38964"/>
                    </a:lnTo>
                    <a:lnTo>
                      <a:pt x="0" y="37255"/>
                    </a:lnTo>
                    <a:cubicBezTo>
                      <a:pt x="2399" y="24778"/>
                      <a:pt x="10705" y="12727"/>
                      <a:pt x="19383"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4" name="Freeform 83">
                <a:extLst>
                  <a:ext uri="{FF2B5EF4-FFF2-40B4-BE49-F238E27FC236}">
                    <a16:creationId xmlns:a16="http://schemas.microsoft.com/office/drawing/2014/main" id="{5AC32850-1F5A-414E-98A0-0D1955F62637}"/>
                  </a:ext>
                </a:extLst>
              </p:cNvPr>
              <p:cNvSpPr/>
              <p:nvPr/>
            </p:nvSpPr>
            <p:spPr>
              <a:xfrm>
                <a:off x="4146265" y="3999197"/>
                <a:ext cx="81565" cy="3090"/>
              </a:xfrm>
              <a:custGeom>
                <a:avLst/>
                <a:gdLst>
                  <a:gd name="connsiteX0" fmla="*/ 39963 w 81565"/>
                  <a:gd name="connsiteY0" fmla="*/ 14 h 3090"/>
                  <a:gd name="connsiteX1" fmla="*/ 80028 w 81565"/>
                  <a:gd name="connsiteY1" fmla="*/ 1238 h 3090"/>
                  <a:gd name="connsiteX2" fmla="*/ 81565 w 81565"/>
                  <a:gd name="connsiteY2" fmla="*/ 1369 h 3090"/>
                  <a:gd name="connsiteX3" fmla="*/ 81179 w 81565"/>
                  <a:gd name="connsiteY3" fmla="*/ 2424 h 3090"/>
                  <a:gd name="connsiteX4" fmla="*/ 41133 w 81565"/>
                  <a:gd name="connsiteY4" fmla="*/ 1222 h 3090"/>
                  <a:gd name="connsiteX5" fmla="*/ 786 w 81565"/>
                  <a:gd name="connsiteY5" fmla="*/ 1248 h 3090"/>
                  <a:gd name="connsiteX6" fmla="*/ 0 w 81565"/>
                  <a:gd name="connsiteY6" fmla="*/ 109 h 3090"/>
                  <a:gd name="connsiteX7" fmla="*/ 19168 w 81565"/>
                  <a:gd name="connsiteY7" fmla="*/ 1544 h 3090"/>
                  <a:gd name="connsiteX8" fmla="*/ 39963 w 81565"/>
                  <a:gd name="connsiteY8" fmla="*/ 14 h 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565" h="3090">
                    <a:moveTo>
                      <a:pt x="39963" y="14"/>
                    </a:moveTo>
                    <a:cubicBezTo>
                      <a:pt x="53588" y="497"/>
                      <a:pt x="66155" y="1979"/>
                      <a:pt x="80028" y="1238"/>
                    </a:cubicBezTo>
                    <a:lnTo>
                      <a:pt x="81565" y="1369"/>
                    </a:lnTo>
                    <a:lnTo>
                      <a:pt x="81179" y="2424"/>
                    </a:lnTo>
                    <a:cubicBezTo>
                      <a:pt x="67336" y="3182"/>
                      <a:pt x="54762" y="1666"/>
                      <a:pt x="41133" y="1222"/>
                    </a:cubicBezTo>
                    <a:cubicBezTo>
                      <a:pt x="32091" y="908"/>
                      <a:pt x="8192" y="5560"/>
                      <a:pt x="786" y="1248"/>
                    </a:cubicBezTo>
                    <a:lnTo>
                      <a:pt x="0" y="109"/>
                    </a:lnTo>
                    <a:lnTo>
                      <a:pt x="19168" y="1544"/>
                    </a:lnTo>
                    <a:cubicBezTo>
                      <a:pt x="27202" y="956"/>
                      <a:pt x="35437" y="-131"/>
                      <a:pt x="39963" y="14"/>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5" name="Freeform 84">
                <a:extLst>
                  <a:ext uri="{FF2B5EF4-FFF2-40B4-BE49-F238E27FC236}">
                    <a16:creationId xmlns:a16="http://schemas.microsoft.com/office/drawing/2014/main" id="{C761ADBF-774F-A04D-91B4-6B6599EAD990}"/>
                  </a:ext>
                </a:extLst>
              </p:cNvPr>
              <p:cNvSpPr/>
              <p:nvPr/>
            </p:nvSpPr>
            <p:spPr>
              <a:xfrm>
                <a:off x="4122951" y="4035759"/>
                <a:ext cx="164943" cy="135289"/>
              </a:xfrm>
              <a:custGeom>
                <a:avLst/>
                <a:gdLst>
                  <a:gd name="connsiteX0" fmla="*/ 822 w 164943"/>
                  <a:gd name="connsiteY0" fmla="*/ 0 h 135289"/>
                  <a:gd name="connsiteX1" fmla="*/ 2209 w 164943"/>
                  <a:gd name="connsiteY1" fmla="*/ 17465 h 135289"/>
                  <a:gd name="connsiteX2" fmla="*/ 16741 w 164943"/>
                  <a:gd name="connsiteY2" fmla="*/ 38108 h 135289"/>
                  <a:gd name="connsiteX3" fmla="*/ 34659 w 164943"/>
                  <a:gd name="connsiteY3" fmla="*/ 63175 h 135289"/>
                  <a:gd name="connsiteX4" fmla="*/ 53976 w 164943"/>
                  <a:gd name="connsiteY4" fmla="*/ 95138 h 135289"/>
                  <a:gd name="connsiteX5" fmla="*/ 116781 w 164943"/>
                  <a:gd name="connsiteY5" fmla="*/ 102162 h 135289"/>
                  <a:gd name="connsiteX6" fmla="*/ 163441 w 164943"/>
                  <a:gd name="connsiteY6" fmla="*/ 135124 h 135289"/>
                  <a:gd name="connsiteX7" fmla="*/ 163276 w 164943"/>
                  <a:gd name="connsiteY7" fmla="*/ 135289 h 135289"/>
                  <a:gd name="connsiteX8" fmla="*/ 162456 w 164943"/>
                  <a:gd name="connsiteY8" fmla="*/ 122423 h 135289"/>
                  <a:gd name="connsiteX9" fmla="*/ 116756 w 164943"/>
                  <a:gd name="connsiteY9" fmla="*/ 104210 h 135289"/>
                  <a:gd name="connsiteX10" fmla="*/ 53969 w 164943"/>
                  <a:gd name="connsiteY10" fmla="*/ 97181 h 135289"/>
                  <a:gd name="connsiteX11" fmla="*/ 34687 w 164943"/>
                  <a:gd name="connsiteY11" fmla="*/ 65230 h 135289"/>
                  <a:gd name="connsiteX12" fmla="*/ 16771 w 164943"/>
                  <a:gd name="connsiteY12" fmla="*/ 40140 h 135289"/>
                  <a:gd name="connsiteX13" fmla="*/ 688 w 164943"/>
                  <a:gd name="connsiteY13" fmla="*/ 338 h 135289"/>
                  <a:gd name="connsiteX14" fmla="*/ 822 w 164943"/>
                  <a:gd name="connsiteY14" fmla="*/ 0 h 135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4943" h="135289">
                    <a:moveTo>
                      <a:pt x="822" y="0"/>
                    </a:moveTo>
                    <a:lnTo>
                      <a:pt x="2209" y="17465"/>
                    </a:lnTo>
                    <a:cubicBezTo>
                      <a:pt x="4654" y="24056"/>
                      <a:pt x="9268" y="30891"/>
                      <a:pt x="16741" y="38108"/>
                    </a:cubicBezTo>
                    <a:cubicBezTo>
                      <a:pt x="28002" y="48998"/>
                      <a:pt x="29588" y="47838"/>
                      <a:pt x="34659" y="63175"/>
                    </a:cubicBezTo>
                    <a:cubicBezTo>
                      <a:pt x="39231" y="76998"/>
                      <a:pt x="39542" y="87663"/>
                      <a:pt x="53976" y="95138"/>
                    </a:cubicBezTo>
                    <a:cubicBezTo>
                      <a:pt x="69685" y="103322"/>
                      <a:pt x="98956" y="99262"/>
                      <a:pt x="116781" y="102162"/>
                    </a:cubicBezTo>
                    <a:cubicBezTo>
                      <a:pt x="132521" y="104740"/>
                      <a:pt x="173239" y="111571"/>
                      <a:pt x="163441" y="135124"/>
                    </a:cubicBezTo>
                    <a:lnTo>
                      <a:pt x="163276" y="135289"/>
                    </a:lnTo>
                    <a:lnTo>
                      <a:pt x="162456" y="122423"/>
                    </a:lnTo>
                    <a:cubicBezTo>
                      <a:pt x="154408" y="110453"/>
                      <a:pt x="128566" y="106142"/>
                      <a:pt x="116756" y="104210"/>
                    </a:cubicBezTo>
                    <a:cubicBezTo>
                      <a:pt x="98920" y="101270"/>
                      <a:pt x="69716" y="105358"/>
                      <a:pt x="53969" y="97181"/>
                    </a:cubicBezTo>
                    <a:cubicBezTo>
                      <a:pt x="39548" y="89705"/>
                      <a:pt x="39266" y="79036"/>
                      <a:pt x="34687" y="65230"/>
                    </a:cubicBezTo>
                    <a:cubicBezTo>
                      <a:pt x="29585" y="49885"/>
                      <a:pt x="28019" y="51033"/>
                      <a:pt x="16771" y="40140"/>
                    </a:cubicBezTo>
                    <a:cubicBezTo>
                      <a:pt x="1808" y="25719"/>
                      <a:pt x="-1707" y="12816"/>
                      <a:pt x="688" y="338"/>
                    </a:cubicBezTo>
                    <a:lnTo>
                      <a:pt x="82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6" name="Freeform 85">
                <a:extLst>
                  <a:ext uri="{FF2B5EF4-FFF2-40B4-BE49-F238E27FC236}">
                    <a16:creationId xmlns:a16="http://schemas.microsoft.com/office/drawing/2014/main" id="{5FA16B7D-A30A-9142-A834-91B1CDA51CE1}"/>
                  </a:ext>
                </a:extLst>
              </p:cNvPr>
              <p:cNvSpPr/>
              <p:nvPr/>
            </p:nvSpPr>
            <p:spPr>
              <a:xfrm>
                <a:off x="3290747" y="4050986"/>
                <a:ext cx="35120" cy="1379"/>
              </a:xfrm>
              <a:custGeom>
                <a:avLst/>
                <a:gdLst>
                  <a:gd name="connsiteX0" fmla="*/ 35120 w 35120"/>
                  <a:gd name="connsiteY0" fmla="*/ 0 h 1379"/>
                  <a:gd name="connsiteX1" fmla="*/ 33948 w 35120"/>
                  <a:gd name="connsiteY1" fmla="*/ 371 h 1379"/>
                  <a:gd name="connsiteX2" fmla="*/ 0 w 35120"/>
                  <a:gd name="connsiteY2" fmla="*/ 1379 h 1379"/>
                  <a:gd name="connsiteX3" fmla="*/ 1336 w 35120"/>
                  <a:gd name="connsiteY3" fmla="*/ 1035 h 1379"/>
                  <a:gd name="connsiteX4" fmla="*/ 35120 w 35120"/>
                  <a:gd name="connsiteY4" fmla="*/ 0 h 1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20" h="1379">
                    <a:moveTo>
                      <a:pt x="35120" y="0"/>
                    </a:moveTo>
                    <a:lnTo>
                      <a:pt x="33948" y="371"/>
                    </a:lnTo>
                    <a:lnTo>
                      <a:pt x="0" y="1379"/>
                    </a:lnTo>
                    <a:lnTo>
                      <a:pt x="1336" y="1035"/>
                    </a:lnTo>
                    <a:lnTo>
                      <a:pt x="3512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7" name="Freeform 86">
                <a:extLst>
                  <a:ext uri="{FF2B5EF4-FFF2-40B4-BE49-F238E27FC236}">
                    <a16:creationId xmlns:a16="http://schemas.microsoft.com/office/drawing/2014/main" id="{B19F9782-E656-5A43-B5B7-FC7A02C8AB43}"/>
                  </a:ext>
                </a:extLst>
              </p:cNvPr>
              <p:cNvSpPr/>
              <p:nvPr/>
            </p:nvSpPr>
            <p:spPr>
              <a:xfrm>
                <a:off x="3259077" y="4052365"/>
                <a:ext cx="31670" cy="10739"/>
              </a:xfrm>
              <a:custGeom>
                <a:avLst/>
                <a:gdLst>
                  <a:gd name="connsiteX0" fmla="*/ 31670 w 31670"/>
                  <a:gd name="connsiteY0" fmla="*/ 0 h 10739"/>
                  <a:gd name="connsiteX1" fmla="*/ 16559 w 31670"/>
                  <a:gd name="connsiteY1" fmla="*/ 3890 h 10739"/>
                  <a:gd name="connsiteX2" fmla="*/ 1598 w 31670"/>
                  <a:gd name="connsiteY2" fmla="*/ 10656 h 10739"/>
                  <a:gd name="connsiteX3" fmla="*/ 0 w 31670"/>
                  <a:gd name="connsiteY3" fmla="*/ 10739 h 10739"/>
                  <a:gd name="connsiteX4" fmla="*/ 14244 w 31670"/>
                  <a:gd name="connsiteY4" fmla="*/ 4285 h 10739"/>
                  <a:gd name="connsiteX5" fmla="*/ 30695 w 31670"/>
                  <a:gd name="connsiteY5" fmla="*/ 29 h 10739"/>
                  <a:gd name="connsiteX6" fmla="*/ 31670 w 31670"/>
                  <a:gd name="connsiteY6" fmla="*/ 0 h 10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70" h="10739">
                    <a:moveTo>
                      <a:pt x="31670" y="0"/>
                    </a:moveTo>
                    <a:lnTo>
                      <a:pt x="16559" y="3890"/>
                    </a:lnTo>
                    <a:cubicBezTo>
                      <a:pt x="12207" y="6178"/>
                      <a:pt x="8102" y="8888"/>
                      <a:pt x="1598" y="10656"/>
                    </a:cubicBezTo>
                    <a:lnTo>
                      <a:pt x="0" y="10739"/>
                    </a:lnTo>
                    <a:lnTo>
                      <a:pt x="14244" y="4285"/>
                    </a:lnTo>
                    <a:cubicBezTo>
                      <a:pt x="18595" y="1989"/>
                      <a:pt x="23195" y="112"/>
                      <a:pt x="30695" y="29"/>
                    </a:cubicBezTo>
                    <a:lnTo>
                      <a:pt x="3167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8" name="Freeform 87">
                <a:extLst>
                  <a:ext uri="{FF2B5EF4-FFF2-40B4-BE49-F238E27FC236}">
                    <a16:creationId xmlns:a16="http://schemas.microsoft.com/office/drawing/2014/main" id="{FAF7A407-6294-B843-9540-83460D9FB942}"/>
                  </a:ext>
                </a:extLst>
              </p:cNvPr>
              <p:cNvSpPr/>
              <p:nvPr/>
            </p:nvSpPr>
            <p:spPr>
              <a:xfrm>
                <a:off x="3228015" y="4062925"/>
                <a:ext cx="247058" cy="468235"/>
              </a:xfrm>
              <a:custGeom>
                <a:avLst/>
                <a:gdLst>
                  <a:gd name="connsiteX0" fmla="*/ 23013 w 247058"/>
                  <a:gd name="connsiteY0" fmla="*/ 0 h 468235"/>
                  <a:gd name="connsiteX1" fmla="*/ 27989 w 247058"/>
                  <a:gd name="connsiteY1" fmla="*/ 339 h 468235"/>
                  <a:gd name="connsiteX2" fmla="*/ 24546 w 247058"/>
                  <a:gd name="connsiteY2" fmla="*/ 518 h 468235"/>
                  <a:gd name="connsiteX3" fmla="*/ 11778 w 247058"/>
                  <a:gd name="connsiteY3" fmla="*/ 47505 h 468235"/>
                  <a:gd name="connsiteX4" fmla="*/ 27625 w 247058"/>
                  <a:gd name="connsiteY4" fmla="*/ 107797 h 468235"/>
                  <a:gd name="connsiteX5" fmla="*/ 98912 w 247058"/>
                  <a:gd name="connsiteY5" fmla="*/ 196482 h 468235"/>
                  <a:gd name="connsiteX6" fmla="*/ 131895 w 247058"/>
                  <a:gd name="connsiteY6" fmla="*/ 216958 h 468235"/>
                  <a:gd name="connsiteX7" fmla="*/ 140916 w 247058"/>
                  <a:gd name="connsiteY7" fmla="*/ 250576 h 468235"/>
                  <a:gd name="connsiteX8" fmla="*/ 186214 w 247058"/>
                  <a:gd name="connsiteY8" fmla="*/ 323199 h 468235"/>
                  <a:gd name="connsiteX9" fmla="*/ 226165 w 247058"/>
                  <a:gd name="connsiteY9" fmla="*/ 383393 h 468235"/>
                  <a:gd name="connsiteX10" fmla="*/ 235425 w 247058"/>
                  <a:gd name="connsiteY10" fmla="*/ 468152 h 468235"/>
                  <a:gd name="connsiteX11" fmla="*/ 235012 w 247058"/>
                  <a:gd name="connsiteY11" fmla="*/ 468235 h 468235"/>
                  <a:gd name="connsiteX12" fmla="*/ 246045 w 247058"/>
                  <a:gd name="connsiteY12" fmla="*/ 452442 h 468235"/>
                  <a:gd name="connsiteX13" fmla="*/ 225671 w 247058"/>
                  <a:gd name="connsiteY13" fmla="*/ 383578 h 468235"/>
                  <a:gd name="connsiteX14" fmla="*/ 185733 w 247058"/>
                  <a:gd name="connsiteY14" fmla="*/ 323381 h 468235"/>
                  <a:gd name="connsiteX15" fmla="*/ 140390 w 247058"/>
                  <a:gd name="connsiteY15" fmla="*/ 250790 h 468235"/>
                  <a:gd name="connsiteX16" fmla="*/ 131398 w 247058"/>
                  <a:gd name="connsiteY16" fmla="*/ 217177 h 468235"/>
                  <a:gd name="connsiteX17" fmla="*/ 98443 w 247058"/>
                  <a:gd name="connsiteY17" fmla="*/ 196670 h 468235"/>
                  <a:gd name="connsiteX18" fmla="*/ 27128 w 247058"/>
                  <a:gd name="connsiteY18" fmla="*/ 107986 h 468235"/>
                  <a:gd name="connsiteX19" fmla="*/ 11248 w 247058"/>
                  <a:gd name="connsiteY19" fmla="*/ 47720 h 468235"/>
                  <a:gd name="connsiteX20" fmla="*/ 24019 w 247058"/>
                  <a:gd name="connsiteY20" fmla="*/ 730 h 468235"/>
                  <a:gd name="connsiteX21" fmla="*/ 23013 w 247058"/>
                  <a:gd name="connsiteY21" fmla="*/ 0 h 468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7058" h="468235">
                    <a:moveTo>
                      <a:pt x="23013" y="0"/>
                    </a:moveTo>
                    <a:lnTo>
                      <a:pt x="27989" y="339"/>
                    </a:lnTo>
                    <a:lnTo>
                      <a:pt x="24546" y="518"/>
                    </a:lnTo>
                    <a:cubicBezTo>
                      <a:pt x="22064" y="16970"/>
                      <a:pt x="16933" y="34428"/>
                      <a:pt x="11778" y="47505"/>
                    </a:cubicBezTo>
                    <a:cubicBezTo>
                      <a:pt x="36" y="77164"/>
                      <a:pt x="-11754" y="91994"/>
                      <a:pt x="27625" y="107797"/>
                    </a:cubicBezTo>
                    <a:cubicBezTo>
                      <a:pt x="70989" y="125190"/>
                      <a:pt x="73590" y="162897"/>
                      <a:pt x="98912" y="196482"/>
                    </a:cubicBezTo>
                    <a:cubicBezTo>
                      <a:pt x="108077" y="208618"/>
                      <a:pt x="121823" y="207126"/>
                      <a:pt x="131895" y="216958"/>
                    </a:cubicBezTo>
                    <a:cubicBezTo>
                      <a:pt x="141584" y="226401"/>
                      <a:pt x="138649" y="237629"/>
                      <a:pt x="140916" y="250576"/>
                    </a:cubicBezTo>
                    <a:cubicBezTo>
                      <a:pt x="146262" y="281501"/>
                      <a:pt x="167193" y="298991"/>
                      <a:pt x="186214" y="323199"/>
                    </a:cubicBezTo>
                    <a:cubicBezTo>
                      <a:pt x="201202" y="342247"/>
                      <a:pt x="212753" y="362755"/>
                      <a:pt x="226165" y="383393"/>
                    </a:cubicBezTo>
                    <a:cubicBezTo>
                      <a:pt x="237024" y="400170"/>
                      <a:pt x="261558" y="456308"/>
                      <a:pt x="235425" y="468152"/>
                    </a:cubicBezTo>
                    <a:lnTo>
                      <a:pt x="235012" y="468235"/>
                    </a:lnTo>
                    <a:lnTo>
                      <a:pt x="246045" y="452442"/>
                    </a:lnTo>
                    <a:cubicBezTo>
                      <a:pt x="249653" y="430872"/>
                      <a:pt x="233815" y="396158"/>
                      <a:pt x="225671" y="383578"/>
                    </a:cubicBezTo>
                    <a:cubicBezTo>
                      <a:pt x="212279" y="362935"/>
                      <a:pt x="200704" y="342428"/>
                      <a:pt x="185733" y="323381"/>
                    </a:cubicBezTo>
                    <a:cubicBezTo>
                      <a:pt x="166696" y="299206"/>
                      <a:pt x="145795" y="281687"/>
                      <a:pt x="140390" y="250790"/>
                    </a:cubicBezTo>
                    <a:cubicBezTo>
                      <a:pt x="138142" y="237820"/>
                      <a:pt x="141107" y="226616"/>
                      <a:pt x="131398" y="217177"/>
                    </a:cubicBezTo>
                    <a:cubicBezTo>
                      <a:pt x="121305" y="207331"/>
                      <a:pt x="107578" y="208825"/>
                      <a:pt x="98443" y="196670"/>
                    </a:cubicBezTo>
                    <a:cubicBezTo>
                      <a:pt x="73092" y="163091"/>
                      <a:pt x="70510" y="125370"/>
                      <a:pt x="27128" y="107986"/>
                    </a:cubicBezTo>
                    <a:cubicBezTo>
                      <a:pt x="-12237" y="92232"/>
                      <a:pt x="-471" y="77395"/>
                      <a:pt x="11248" y="47720"/>
                    </a:cubicBezTo>
                    <a:cubicBezTo>
                      <a:pt x="16414" y="34649"/>
                      <a:pt x="21531" y="17197"/>
                      <a:pt x="24019" y="730"/>
                    </a:cubicBezTo>
                    <a:lnTo>
                      <a:pt x="23013"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89" name="Freeform 88">
                <a:extLst>
                  <a:ext uri="{FF2B5EF4-FFF2-40B4-BE49-F238E27FC236}">
                    <a16:creationId xmlns:a16="http://schemas.microsoft.com/office/drawing/2014/main" id="{2C6E6F35-183B-A34F-9448-44726C2FA254}"/>
                  </a:ext>
                </a:extLst>
              </p:cNvPr>
              <p:cNvSpPr/>
              <p:nvPr/>
            </p:nvSpPr>
            <p:spPr>
              <a:xfrm>
                <a:off x="3256005" y="4063104"/>
                <a:ext cx="3073" cy="321"/>
              </a:xfrm>
              <a:custGeom>
                <a:avLst/>
                <a:gdLst>
                  <a:gd name="connsiteX0" fmla="*/ 3073 w 3073"/>
                  <a:gd name="connsiteY0" fmla="*/ 0 h 321"/>
                  <a:gd name="connsiteX1" fmla="*/ 2365 w 3073"/>
                  <a:gd name="connsiteY1" fmla="*/ 321 h 321"/>
                  <a:gd name="connsiteX2" fmla="*/ 0 w 3073"/>
                  <a:gd name="connsiteY2" fmla="*/ 160 h 321"/>
                  <a:gd name="connsiteX3" fmla="*/ 3073 w 3073"/>
                  <a:gd name="connsiteY3" fmla="*/ 0 h 321"/>
                </a:gdLst>
                <a:ahLst/>
                <a:cxnLst>
                  <a:cxn ang="0">
                    <a:pos x="connsiteX0" y="connsiteY0"/>
                  </a:cxn>
                  <a:cxn ang="0">
                    <a:pos x="connsiteX1" y="connsiteY1"/>
                  </a:cxn>
                  <a:cxn ang="0">
                    <a:pos x="connsiteX2" y="connsiteY2"/>
                  </a:cxn>
                  <a:cxn ang="0">
                    <a:pos x="connsiteX3" y="connsiteY3"/>
                  </a:cxn>
                </a:cxnLst>
                <a:rect l="l" t="t" r="r" b="b"/>
                <a:pathLst>
                  <a:path w="3073" h="321">
                    <a:moveTo>
                      <a:pt x="3073" y="0"/>
                    </a:moveTo>
                    <a:lnTo>
                      <a:pt x="2365" y="321"/>
                    </a:lnTo>
                    <a:lnTo>
                      <a:pt x="0" y="160"/>
                    </a:lnTo>
                    <a:lnTo>
                      <a:pt x="3073"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0" name="Freeform 89">
                <a:extLst>
                  <a:ext uri="{FF2B5EF4-FFF2-40B4-BE49-F238E27FC236}">
                    <a16:creationId xmlns:a16="http://schemas.microsoft.com/office/drawing/2014/main" id="{924F7E32-99DB-A74E-B7E5-A09BDB30886D}"/>
                  </a:ext>
                </a:extLst>
              </p:cNvPr>
              <p:cNvSpPr/>
              <p:nvPr/>
            </p:nvSpPr>
            <p:spPr>
              <a:xfrm>
                <a:off x="4164204" y="4171048"/>
                <a:ext cx="122141" cy="64627"/>
              </a:xfrm>
              <a:custGeom>
                <a:avLst/>
                <a:gdLst>
                  <a:gd name="connsiteX0" fmla="*/ 122023 w 122141"/>
                  <a:gd name="connsiteY0" fmla="*/ 0 h 64627"/>
                  <a:gd name="connsiteX1" fmla="*/ 122141 w 122141"/>
                  <a:gd name="connsiteY1" fmla="*/ 1852 h 64627"/>
                  <a:gd name="connsiteX2" fmla="*/ 65741 w 122141"/>
                  <a:gd name="connsiteY2" fmla="*/ 14902 h 64627"/>
                  <a:gd name="connsiteX3" fmla="*/ 31315 w 122141"/>
                  <a:gd name="connsiteY3" fmla="*/ 45565 h 64627"/>
                  <a:gd name="connsiteX4" fmla="*/ 8593 w 122141"/>
                  <a:gd name="connsiteY4" fmla="*/ 57193 h 64627"/>
                  <a:gd name="connsiteX5" fmla="*/ 336 w 122141"/>
                  <a:gd name="connsiteY5" fmla="*/ 64627 h 64627"/>
                  <a:gd name="connsiteX6" fmla="*/ 0 w 122141"/>
                  <a:gd name="connsiteY6" fmla="*/ 62891 h 64627"/>
                  <a:gd name="connsiteX7" fmla="*/ 31325 w 122141"/>
                  <a:gd name="connsiteY7" fmla="*/ 43526 h 64627"/>
                  <a:gd name="connsiteX8" fmla="*/ 65760 w 122141"/>
                  <a:gd name="connsiteY8" fmla="*/ 12852 h 64627"/>
                  <a:gd name="connsiteX9" fmla="*/ 112457 w 122141"/>
                  <a:gd name="connsiteY9" fmla="*/ 9571 h 64627"/>
                  <a:gd name="connsiteX10" fmla="*/ 122023 w 122141"/>
                  <a:gd name="connsiteY10" fmla="*/ 0 h 64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141" h="64627">
                    <a:moveTo>
                      <a:pt x="122023" y="0"/>
                    </a:moveTo>
                    <a:lnTo>
                      <a:pt x="122141" y="1852"/>
                    </a:lnTo>
                    <a:cubicBezTo>
                      <a:pt x="114548" y="20166"/>
                      <a:pt x="82091" y="14762"/>
                      <a:pt x="65741" y="14902"/>
                    </a:cubicBezTo>
                    <a:cubicBezTo>
                      <a:pt x="27499" y="15238"/>
                      <a:pt x="47825" y="23191"/>
                      <a:pt x="31315" y="45565"/>
                    </a:cubicBezTo>
                    <a:cubicBezTo>
                      <a:pt x="27218" y="51110"/>
                      <a:pt x="16502" y="53308"/>
                      <a:pt x="8593" y="57193"/>
                    </a:cubicBezTo>
                    <a:lnTo>
                      <a:pt x="336" y="64627"/>
                    </a:lnTo>
                    <a:lnTo>
                      <a:pt x="0" y="62891"/>
                    </a:lnTo>
                    <a:cubicBezTo>
                      <a:pt x="4116" y="52648"/>
                      <a:pt x="25166" y="51839"/>
                      <a:pt x="31325" y="43526"/>
                    </a:cubicBezTo>
                    <a:cubicBezTo>
                      <a:pt x="47842" y="21165"/>
                      <a:pt x="27499" y="13206"/>
                      <a:pt x="65760" y="12852"/>
                    </a:cubicBezTo>
                    <a:cubicBezTo>
                      <a:pt x="78032" y="12755"/>
                      <a:pt x="99350" y="15776"/>
                      <a:pt x="112457" y="9571"/>
                    </a:cubicBezTo>
                    <a:lnTo>
                      <a:pt x="122023"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1" name="Freeform 90">
                <a:extLst>
                  <a:ext uri="{FF2B5EF4-FFF2-40B4-BE49-F238E27FC236}">
                    <a16:creationId xmlns:a16="http://schemas.microsoft.com/office/drawing/2014/main" id="{4F23800D-8297-5E4F-85CB-A0BCD57C0925}"/>
                  </a:ext>
                </a:extLst>
              </p:cNvPr>
              <p:cNvSpPr/>
              <p:nvPr/>
            </p:nvSpPr>
            <p:spPr>
              <a:xfrm>
                <a:off x="3770772" y="4198229"/>
                <a:ext cx="274567" cy="58111"/>
              </a:xfrm>
              <a:custGeom>
                <a:avLst/>
                <a:gdLst>
                  <a:gd name="connsiteX0" fmla="*/ 100535 w 274567"/>
                  <a:gd name="connsiteY0" fmla="*/ 490 h 58111"/>
                  <a:gd name="connsiteX1" fmla="*/ 129332 w 274567"/>
                  <a:gd name="connsiteY1" fmla="*/ 854 h 58111"/>
                  <a:gd name="connsiteX2" fmla="*/ 247996 w 274567"/>
                  <a:gd name="connsiteY2" fmla="*/ 5223 h 58111"/>
                  <a:gd name="connsiteX3" fmla="*/ 274333 w 274567"/>
                  <a:gd name="connsiteY3" fmla="*/ 5965 h 58111"/>
                  <a:gd name="connsiteX4" fmla="*/ 274567 w 274567"/>
                  <a:gd name="connsiteY4" fmla="*/ 6093 h 58111"/>
                  <a:gd name="connsiteX5" fmla="*/ 248828 w 274567"/>
                  <a:gd name="connsiteY5" fmla="*/ 5376 h 58111"/>
                  <a:gd name="connsiteX6" fmla="*/ 130221 w 274567"/>
                  <a:gd name="connsiteY6" fmla="*/ 1009 h 58111"/>
                  <a:gd name="connsiteX7" fmla="*/ 74356 w 274567"/>
                  <a:gd name="connsiteY7" fmla="*/ 7082 h 58111"/>
                  <a:gd name="connsiteX8" fmla="*/ 27867 w 274567"/>
                  <a:gd name="connsiteY8" fmla="*/ 48704 h 58111"/>
                  <a:gd name="connsiteX9" fmla="*/ 772 w 274567"/>
                  <a:gd name="connsiteY9" fmla="*/ 58111 h 58111"/>
                  <a:gd name="connsiteX10" fmla="*/ 0 w 274567"/>
                  <a:gd name="connsiteY10" fmla="*/ 57911 h 58111"/>
                  <a:gd name="connsiteX11" fmla="*/ 26977 w 274567"/>
                  <a:gd name="connsiteY11" fmla="*/ 48543 h 58111"/>
                  <a:gd name="connsiteX12" fmla="*/ 73455 w 274567"/>
                  <a:gd name="connsiteY12" fmla="*/ 6931 h 58111"/>
                  <a:gd name="connsiteX13" fmla="*/ 100535 w 274567"/>
                  <a:gd name="connsiteY13" fmla="*/ 490 h 58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4567" h="58111">
                    <a:moveTo>
                      <a:pt x="100535" y="490"/>
                    </a:moveTo>
                    <a:cubicBezTo>
                      <a:pt x="110040" y="-343"/>
                      <a:pt x="119832" y="-42"/>
                      <a:pt x="129332" y="854"/>
                    </a:cubicBezTo>
                    <a:cubicBezTo>
                      <a:pt x="167534" y="4494"/>
                      <a:pt x="207866" y="5223"/>
                      <a:pt x="247996" y="5223"/>
                    </a:cubicBezTo>
                    <a:cubicBezTo>
                      <a:pt x="258541" y="5237"/>
                      <a:pt x="267328" y="4264"/>
                      <a:pt x="274333" y="5965"/>
                    </a:cubicBezTo>
                    <a:lnTo>
                      <a:pt x="274567" y="6093"/>
                    </a:lnTo>
                    <a:lnTo>
                      <a:pt x="248828" y="5376"/>
                    </a:lnTo>
                    <a:cubicBezTo>
                      <a:pt x="208722" y="5376"/>
                      <a:pt x="168419" y="4648"/>
                      <a:pt x="130221" y="1009"/>
                    </a:cubicBezTo>
                    <a:cubicBezTo>
                      <a:pt x="111205" y="-810"/>
                      <a:pt x="91037" y="-219"/>
                      <a:pt x="74356" y="7082"/>
                    </a:cubicBezTo>
                    <a:cubicBezTo>
                      <a:pt x="53201" y="16316"/>
                      <a:pt x="45403" y="36422"/>
                      <a:pt x="27867" y="48704"/>
                    </a:cubicBezTo>
                    <a:cubicBezTo>
                      <a:pt x="18285" y="55408"/>
                      <a:pt x="9334" y="58079"/>
                      <a:pt x="772" y="58111"/>
                    </a:cubicBezTo>
                    <a:lnTo>
                      <a:pt x="0" y="57911"/>
                    </a:lnTo>
                    <a:lnTo>
                      <a:pt x="26977" y="48543"/>
                    </a:lnTo>
                    <a:cubicBezTo>
                      <a:pt x="44532" y="36278"/>
                      <a:pt x="52325" y="16172"/>
                      <a:pt x="73455" y="6931"/>
                    </a:cubicBezTo>
                    <a:cubicBezTo>
                      <a:pt x="81811" y="3291"/>
                      <a:pt x="91030" y="1323"/>
                      <a:pt x="100535" y="49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2" name="Freeform 91">
                <a:extLst>
                  <a:ext uri="{FF2B5EF4-FFF2-40B4-BE49-F238E27FC236}">
                    <a16:creationId xmlns:a16="http://schemas.microsoft.com/office/drawing/2014/main" id="{63421253-DDC3-5548-AD29-C28B71C21F4B}"/>
                  </a:ext>
                </a:extLst>
              </p:cNvPr>
              <p:cNvSpPr/>
              <p:nvPr/>
            </p:nvSpPr>
            <p:spPr>
              <a:xfrm>
                <a:off x="4045338" y="4204321"/>
                <a:ext cx="37738" cy="202140"/>
              </a:xfrm>
              <a:custGeom>
                <a:avLst/>
                <a:gdLst>
                  <a:gd name="connsiteX0" fmla="*/ 0 w 37738"/>
                  <a:gd name="connsiteY0" fmla="*/ 0 h 202140"/>
                  <a:gd name="connsiteX1" fmla="*/ 622 w 37738"/>
                  <a:gd name="connsiteY1" fmla="*/ 17 h 202140"/>
                  <a:gd name="connsiteX2" fmla="*/ 16275 w 37738"/>
                  <a:gd name="connsiteY2" fmla="*/ 16819 h 202140"/>
                  <a:gd name="connsiteX3" fmla="*/ 13314 w 37738"/>
                  <a:gd name="connsiteY3" fmla="*/ 73771 h 202140"/>
                  <a:gd name="connsiteX4" fmla="*/ 14005 w 37738"/>
                  <a:gd name="connsiteY4" fmla="*/ 167682 h 202140"/>
                  <a:gd name="connsiteX5" fmla="*/ 27132 w 37738"/>
                  <a:gd name="connsiteY5" fmla="*/ 195057 h 202140"/>
                  <a:gd name="connsiteX6" fmla="*/ 37738 w 37738"/>
                  <a:gd name="connsiteY6" fmla="*/ 202140 h 202140"/>
                  <a:gd name="connsiteX7" fmla="*/ 37036 w 37738"/>
                  <a:gd name="connsiteY7" fmla="*/ 201990 h 202140"/>
                  <a:gd name="connsiteX8" fmla="*/ 13158 w 37738"/>
                  <a:gd name="connsiteY8" fmla="*/ 167454 h 202140"/>
                  <a:gd name="connsiteX9" fmla="*/ 12435 w 37738"/>
                  <a:gd name="connsiteY9" fmla="*/ 73589 h 202140"/>
                  <a:gd name="connsiteX10" fmla="*/ 15407 w 37738"/>
                  <a:gd name="connsiteY10" fmla="*/ 16659 h 202140"/>
                  <a:gd name="connsiteX11" fmla="*/ 8933 w 37738"/>
                  <a:gd name="connsiteY11" fmla="*/ 4887 h 202140"/>
                  <a:gd name="connsiteX12" fmla="*/ 0 w 37738"/>
                  <a:gd name="connsiteY12" fmla="*/ 0 h 202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738" h="202140">
                    <a:moveTo>
                      <a:pt x="0" y="0"/>
                    </a:moveTo>
                    <a:lnTo>
                      <a:pt x="622" y="17"/>
                    </a:lnTo>
                    <a:cubicBezTo>
                      <a:pt x="7630" y="1723"/>
                      <a:pt x="12853" y="6107"/>
                      <a:pt x="16275" y="16819"/>
                    </a:cubicBezTo>
                    <a:cubicBezTo>
                      <a:pt x="21506" y="33240"/>
                      <a:pt x="14959" y="57509"/>
                      <a:pt x="13314" y="73771"/>
                    </a:cubicBezTo>
                    <a:cubicBezTo>
                      <a:pt x="9497" y="110503"/>
                      <a:pt x="2095" y="132542"/>
                      <a:pt x="14005" y="167682"/>
                    </a:cubicBezTo>
                    <a:cubicBezTo>
                      <a:pt x="18233" y="180089"/>
                      <a:pt x="21465" y="188953"/>
                      <a:pt x="27132" y="195057"/>
                    </a:cubicBezTo>
                    <a:lnTo>
                      <a:pt x="37738" y="202140"/>
                    </a:lnTo>
                    <a:lnTo>
                      <a:pt x="37036" y="201990"/>
                    </a:lnTo>
                    <a:cubicBezTo>
                      <a:pt x="23598" y="196684"/>
                      <a:pt x="19485" y="186062"/>
                      <a:pt x="13158" y="167454"/>
                    </a:cubicBezTo>
                    <a:cubicBezTo>
                      <a:pt x="1227" y="132311"/>
                      <a:pt x="8659" y="110301"/>
                      <a:pt x="12435" y="73589"/>
                    </a:cubicBezTo>
                    <a:cubicBezTo>
                      <a:pt x="14122" y="57347"/>
                      <a:pt x="20630" y="33069"/>
                      <a:pt x="15407" y="16659"/>
                    </a:cubicBezTo>
                    <a:cubicBezTo>
                      <a:pt x="13700" y="11304"/>
                      <a:pt x="11541" y="7532"/>
                      <a:pt x="8933" y="4887"/>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3" name="Freeform 92">
                <a:extLst>
                  <a:ext uri="{FF2B5EF4-FFF2-40B4-BE49-F238E27FC236}">
                    <a16:creationId xmlns:a16="http://schemas.microsoft.com/office/drawing/2014/main" id="{19754BEB-844A-744C-8123-10E05438C993}"/>
                  </a:ext>
                </a:extLst>
              </p:cNvPr>
              <p:cNvSpPr/>
              <p:nvPr/>
            </p:nvSpPr>
            <p:spPr>
              <a:xfrm>
                <a:off x="4630261" y="4217182"/>
                <a:ext cx="13640" cy="209907"/>
              </a:xfrm>
              <a:custGeom>
                <a:avLst/>
                <a:gdLst>
                  <a:gd name="connsiteX0" fmla="*/ 12844 w 13640"/>
                  <a:gd name="connsiteY0" fmla="*/ 0 h 209907"/>
                  <a:gd name="connsiteX1" fmla="*/ 13471 w 13640"/>
                  <a:gd name="connsiteY1" fmla="*/ 83 h 209907"/>
                  <a:gd name="connsiteX2" fmla="*/ 13640 w 13640"/>
                  <a:gd name="connsiteY2" fmla="*/ 259 h 209907"/>
                  <a:gd name="connsiteX3" fmla="*/ 2691 w 13640"/>
                  <a:gd name="connsiteY3" fmla="*/ 206890 h 209907"/>
                  <a:gd name="connsiteX4" fmla="*/ 0 w 13640"/>
                  <a:gd name="connsiteY4" fmla="*/ 209907 h 209907"/>
                  <a:gd name="connsiteX5" fmla="*/ 1884 w 13640"/>
                  <a:gd name="connsiteY5" fmla="*/ 206655 h 209907"/>
                  <a:gd name="connsiteX6" fmla="*/ 12844 w 13640"/>
                  <a:gd name="connsiteY6" fmla="*/ 0 h 20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40" h="209907">
                    <a:moveTo>
                      <a:pt x="12844" y="0"/>
                    </a:moveTo>
                    <a:lnTo>
                      <a:pt x="13471" y="83"/>
                    </a:lnTo>
                    <a:lnTo>
                      <a:pt x="13640" y="259"/>
                    </a:lnTo>
                    <a:lnTo>
                      <a:pt x="2691" y="206890"/>
                    </a:lnTo>
                    <a:lnTo>
                      <a:pt x="0" y="209907"/>
                    </a:lnTo>
                    <a:lnTo>
                      <a:pt x="1884" y="206655"/>
                    </a:lnTo>
                    <a:lnTo>
                      <a:pt x="1284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4" name="Freeform 93">
                <a:extLst>
                  <a:ext uri="{FF2B5EF4-FFF2-40B4-BE49-F238E27FC236}">
                    <a16:creationId xmlns:a16="http://schemas.microsoft.com/office/drawing/2014/main" id="{9C1039FA-ABCE-F04D-ABDE-DC951236E2A9}"/>
                  </a:ext>
                </a:extLst>
              </p:cNvPr>
              <p:cNvSpPr/>
              <p:nvPr/>
            </p:nvSpPr>
            <p:spPr>
              <a:xfrm>
                <a:off x="3698493" y="4223031"/>
                <a:ext cx="72279" cy="33141"/>
              </a:xfrm>
              <a:custGeom>
                <a:avLst/>
                <a:gdLst>
                  <a:gd name="connsiteX0" fmla="*/ 0 w 72279"/>
                  <a:gd name="connsiteY0" fmla="*/ 0 h 33141"/>
                  <a:gd name="connsiteX1" fmla="*/ 24426 w 72279"/>
                  <a:gd name="connsiteY1" fmla="*/ 12992 h 33141"/>
                  <a:gd name="connsiteX2" fmla="*/ 48295 w 72279"/>
                  <a:gd name="connsiteY2" fmla="*/ 26884 h 33141"/>
                  <a:gd name="connsiteX3" fmla="*/ 72279 w 72279"/>
                  <a:gd name="connsiteY3" fmla="*/ 33109 h 33141"/>
                  <a:gd name="connsiteX4" fmla="*/ 72186 w 72279"/>
                  <a:gd name="connsiteY4" fmla="*/ 33141 h 33141"/>
                  <a:gd name="connsiteX5" fmla="*/ 23560 w 72279"/>
                  <a:gd name="connsiteY5" fmla="*/ 12825 h 33141"/>
                  <a:gd name="connsiteX6" fmla="*/ 28 w 72279"/>
                  <a:gd name="connsiteY6" fmla="*/ 314 h 33141"/>
                  <a:gd name="connsiteX7" fmla="*/ 0 w 72279"/>
                  <a:gd name="connsiteY7" fmla="*/ 0 h 33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279" h="33141">
                    <a:moveTo>
                      <a:pt x="0" y="0"/>
                    </a:moveTo>
                    <a:lnTo>
                      <a:pt x="24426" y="12992"/>
                    </a:lnTo>
                    <a:cubicBezTo>
                      <a:pt x="32396" y="17938"/>
                      <a:pt x="40271" y="23034"/>
                      <a:pt x="48295" y="26884"/>
                    </a:cubicBezTo>
                    <a:lnTo>
                      <a:pt x="72279" y="33109"/>
                    </a:lnTo>
                    <a:lnTo>
                      <a:pt x="72186" y="33141"/>
                    </a:lnTo>
                    <a:cubicBezTo>
                      <a:pt x="55074" y="33204"/>
                      <a:pt x="39508" y="22717"/>
                      <a:pt x="23560" y="12825"/>
                    </a:cubicBezTo>
                    <a:lnTo>
                      <a:pt x="28" y="314"/>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5" name="Freeform 94">
                <a:extLst>
                  <a:ext uri="{FF2B5EF4-FFF2-40B4-BE49-F238E27FC236}">
                    <a16:creationId xmlns:a16="http://schemas.microsoft.com/office/drawing/2014/main" id="{4C635C49-4CF8-D649-A9FF-E5B3BA11D4D0}"/>
                  </a:ext>
                </a:extLst>
              </p:cNvPr>
              <p:cNvSpPr/>
              <p:nvPr/>
            </p:nvSpPr>
            <p:spPr>
              <a:xfrm>
                <a:off x="3678485" y="4223327"/>
                <a:ext cx="53233" cy="184881"/>
              </a:xfrm>
              <a:custGeom>
                <a:avLst/>
                <a:gdLst>
                  <a:gd name="connsiteX0" fmla="*/ 20004 w 53233"/>
                  <a:gd name="connsiteY0" fmla="*/ 0 h 184881"/>
                  <a:gd name="connsiteX1" fmla="*/ 20036 w 53233"/>
                  <a:gd name="connsiteY1" fmla="*/ 18 h 184881"/>
                  <a:gd name="connsiteX2" fmla="*/ 20513 w 53233"/>
                  <a:gd name="connsiteY2" fmla="*/ 5415 h 184881"/>
                  <a:gd name="connsiteX3" fmla="*/ 513 w 53233"/>
                  <a:gd name="connsiteY3" fmla="*/ 81380 h 184881"/>
                  <a:gd name="connsiteX4" fmla="*/ 23759 w 53233"/>
                  <a:gd name="connsiteY4" fmla="*/ 116393 h 184881"/>
                  <a:gd name="connsiteX5" fmla="*/ 53233 w 53233"/>
                  <a:gd name="connsiteY5" fmla="*/ 166074 h 184881"/>
                  <a:gd name="connsiteX6" fmla="*/ 41393 w 53233"/>
                  <a:gd name="connsiteY6" fmla="*/ 184818 h 184881"/>
                  <a:gd name="connsiteX7" fmla="*/ 41129 w 53233"/>
                  <a:gd name="connsiteY7" fmla="*/ 184881 h 184881"/>
                  <a:gd name="connsiteX8" fmla="*/ 52708 w 53233"/>
                  <a:gd name="connsiteY8" fmla="*/ 166531 h 184881"/>
                  <a:gd name="connsiteX9" fmla="*/ 23262 w 53233"/>
                  <a:gd name="connsiteY9" fmla="*/ 116835 h 184881"/>
                  <a:gd name="connsiteX10" fmla="*/ 1 w 53233"/>
                  <a:gd name="connsiteY10" fmla="*/ 81831 h 184881"/>
                  <a:gd name="connsiteX11" fmla="*/ 19972 w 53233"/>
                  <a:gd name="connsiteY11" fmla="*/ 5866 h 184881"/>
                  <a:gd name="connsiteX12" fmla="*/ 20004 w 53233"/>
                  <a:gd name="connsiteY12" fmla="*/ 0 h 184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233" h="184881">
                    <a:moveTo>
                      <a:pt x="20004" y="0"/>
                    </a:moveTo>
                    <a:lnTo>
                      <a:pt x="20036" y="18"/>
                    </a:lnTo>
                    <a:lnTo>
                      <a:pt x="20513" y="5415"/>
                    </a:lnTo>
                    <a:cubicBezTo>
                      <a:pt x="19821" y="32413"/>
                      <a:pt x="609" y="54804"/>
                      <a:pt x="513" y="81380"/>
                    </a:cubicBezTo>
                    <a:cubicBezTo>
                      <a:pt x="442" y="99325"/>
                      <a:pt x="11683" y="105036"/>
                      <a:pt x="23759" y="116393"/>
                    </a:cubicBezTo>
                    <a:cubicBezTo>
                      <a:pt x="37506" y="129308"/>
                      <a:pt x="53281" y="147253"/>
                      <a:pt x="53233" y="166074"/>
                    </a:cubicBezTo>
                    <a:cubicBezTo>
                      <a:pt x="53210" y="175809"/>
                      <a:pt x="48419" y="181374"/>
                      <a:pt x="41393" y="184818"/>
                    </a:cubicBezTo>
                    <a:lnTo>
                      <a:pt x="41129" y="184881"/>
                    </a:lnTo>
                    <a:lnTo>
                      <a:pt x="52708" y="166531"/>
                    </a:lnTo>
                    <a:cubicBezTo>
                      <a:pt x="52741" y="147721"/>
                      <a:pt x="36982" y="129753"/>
                      <a:pt x="23262" y="116835"/>
                    </a:cubicBezTo>
                    <a:cubicBezTo>
                      <a:pt x="11155" y="105485"/>
                      <a:pt x="-64" y="99754"/>
                      <a:pt x="1" y="81831"/>
                    </a:cubicBezTo>
                    <a:cubicBezTo>
                      <a:pt x="100" y="55243"/>
                      <a:pt x="19314" y="32863"/>
                      <a:pt x="19972" y="5866"/>
                    </a:cubicBezTo>
                    <a:lnTo>
                      <a:pt x="2000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6" name="Freeform 95">
                <a:extLst>
                  <a:ext uri="{FF2B5EF4-FFF2-40B4-BE49-F238E27FC236}">
                    <a16:creationId xmlns:a16="http://schemas.microsoft.com/office/drawing/2014/main" id="{0C8119AC-B130-8E49-B6FD-1390DB38EADB}"/>
                  </a:ext>
                </a:extLst>
              </p:cNvPr>
              <p:cNvSpPr/>
              <p:nvPr/>
            </p:nvSpPr>
            <p:spPr>
              <a:xfrm>
                <a:off x="4163515" y="4235675"/>
                <a:ext cx="55375" cy="42033"/>
              </a:xfrm>
              <a:custGeom>
                <a:avLst/>
                <a:gdLst>
                  <a:gd name="connsiteX0" fmla="*/ 1025 w 55375"/>
                  <a:gd name="connsiteY0" fmla="*/ 0 h 42033"/>
                  <a:gd name="connsiteX1" fmla="*/ 3396 w 55375"/>
                  <a:gd name="connsiteY1" fmla="*/ 12279 h 42033"/>
                  <a:gd name="connsiteX2" fmla="*/ 55375 w 55375"/>
                  <a:gd name="connsiteY2" fmla="*/ 40118 h 42033"/>
                  <a:gd name="connsiteX3" fmla="*/ 55288 w 55375"/>
                  <a:gd name="connsiteY3" fmla="*/ 42033 h 42033"/>
                  <a:gd name="connsiteX4" fmla="*/ 45956 w 55375"/>
                  <a:gd name="connsiteY4" fmla="*/ 33046 h 42033"/>
                  <a:gd name="connsiteX5" fmla="*/ 3402 w 55375"/>
                  <a:gd name="connsiteY5" fmla="*/ 14317 h 42033"/>
                  <a:gd name="connsiteX6" fmla="*/ 703 w 55375"/>
                  <a:gd name="connsiteY6" fmla="*/ 289 h 42033"/>
                  <a:gd name="connsiteX7" fmla="*/ 1025 w 55375"/>
                  <a:gd name="connsiteY7" fmla="*/ 0 h 4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375" h="42033">
                    <a:moveTo>
                      <a:pt x="1025" y="0"/>
                    </a:moveTo>
                    <a:lnTo>
                      <a:pt x="3396" y="12279"/>
                    </a:lnTo>
                    <a:cubicBezTo>
                      <a:pt x="12790" y="28454"/>
                      <a:pt x="49154" y="23524"/>
                      <a:pt x="55375" y="40118"/>
                    </a:cubicBezTo>
                    <a:lnTo>
                      <a:pt x="55288" y="42033"/>
                    </a:lnTo>
                    <a:lnTo>
                      <a:pt x="45956" y="33046"/>
                    </a:lnTo>
                    <a:cubicBezTo>
                      <a:pt x="32664" y="26677"/>
                      <a:pt x="10452" y="26436"/>
                      <a:pt x="3402" y="14317"/>
                    </a:cubicBezTo>
                    <a:cubicBezTo>
                      <a:pt x="-163" y="8171"/>
                      <a:pt x="-670" y="3704"/>
                      <a:pt x="703" y="289"/>
                    </a:cubicBezTo>
                    <a:lnTo>
                      <a:pt x="1025"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7" name="Freeform 96">
                <a:extLst>
                  <a:ext uri="{FF2B5EF4-FFF2-40B4-BE49-F238E27FC236}">
                    <a16:creationId xmlns:a16="http://schemas.microsoft.com/office/drawing/2014/main" id="{37F63549-942E-4145-8701-2C34C220CCDF}"/>
                  </a:ext>
                </a:extLst>
              </p:cNvPr>
              <p:cNvSpPr/>
              <p:nvPr/>
            </p:nvSpPr>
            <p:spPr>
              <a:xfrm>
                <a:off x="4134132" y="4277708"/>
                <a:ext cx="85936" cy="126257"/>
              </a:xfrm>
              <a:custGeom>
                <a:avLst/>
                <a:gdLst>
                  <a:gd name="connsiteX0" fmla="*/ 84670 w 85936"/>
                  <a:gd name="connsiteY0" fmla="*/ 0 h 126257"/>
                  <a:gd name="connsiteX1" fmla="*/ 84765 w 85936"/>
                  <a:gd name="connsiteY1" fmla="*/ 91 h 126257"/>
                  <a:gd name="connsiteX2" fmla="*/ 54838 w 85936"/>
                  <a:gd name="connsiteY2" fmla="*/ 35262 h 126257"/>
                  <a:gd name="connsiteX3" fmla="*/ 51504 w 85936"/>
                  <a:gd name="connsiteY3" fmla="*/ 89448 h 126257"/>
                  <a:gd name="connsiteX4" fmla="*/ 15395 w 85936"/>
                  <a:gd name="connsiteY4" fmla="*/ 123611 h 126257"/>
                  <a:gd name="connsiteX5" fmla="*/ 0 w 85936"/>
                  <a:gd name="connsiteY5" fmla="*/ 126257 h 126257"/>
                  <a:gd name="connsiteX6" fmla="*/ 28244 w 85936"/>
                  <a:gd name="connsiteY6" fmla="*/ 114172 h 126257"/>
                  <a:gd name="connsiteX7" fmla="*/ 51504 w 85936"/>
                  <a:gd name="connsiteY7" fmla="*/ 87433 h 126257"/>
                  <a:gd name="connsiteX8" fmla="*/ 54832 w 85936"/>
                  <a:gd name="connsiteY8" fmla="*/ 33238 h 126257"/>
                  <a:gd name="connsiteX9" fmla="*/ 84220 w 85936"/>
                  <a:gd name="connsiteY9" fmla="*/ 9921 h 126257"/>
                  <a:gd name="connsiteX10" fmla="*/ 84670 w 85936"/>
                  <a:gd name="connsiteY10" fmla="*/ 0 h 12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936" h="126257">
                    <a:moveTo>
                      <a:pt x="84670" y="0"/>
                    </a:moveTo>
                    <a:lnTo>
                      <a:pt x="84765" y="91"/>
                    </a:lnTo>
                    <a:cubicBezTo>
                      <a:pt x="92237" y="20001"/>
                      <a:pt x="61788" y="20729"/>
                      <a:pt x="54838" y="35262"/>
                    </a:cubicBezTo>
                    <a:cubicBezTo>
                      <a:pt x="47286" y="50944"/>
                      <a:pt x="59297" y="73318"/>
                      <a:pt x="51504" y="89448"/>
                    </a:cubicBezTo>
                    <a:cubicBezTo>
                      <a:pt x="44073" y="104836"/>
                      <a:pt x="30907" y="116352"/>
                      <a:pt x="15395" y="123611"/>
                    </a:cubicBezTo>
                    <a:lnTo>
                      <a:pt x="0" y="126257"/>
                    </a:lnTo>
                    <a:lnTo>
                      <a:pt x="28244" y="114172"/>
                    </a:lnTo>
                    <a:cubicBezTo>
                      <a:pt x="38074" y="107297"/>
                      <a:pt x="46232" y="98340"/>
                      <a:pt x="51504" y="87433"/>
                    </a:cubicBezTo>
                    <a:cubicBezTo>
                      <a:pt x="59312" y="71322"/>
                      <a:pt x="47304" y="48929"/>
                      <a:pt x="54832" y="33238"/>
                    </a:cubicBezTo>
                    <a:cubicBezTo>
                      <a:pt x="60035" y="22339"/>
                      <a:pt x="78483" y="19198"/>
                      <a:pt x="84220" y="9921"/>
                    </a:cubicBezTo>
                    <a:lnTo>
                      <a:pt x="8467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8" name="Freeform 97">
                <a:extLst>
                  <a:ext uri="{FF2B5EF4-FFF2-40B4-BE49-F238E27FC236}">
                    <a16:creationId xmlns:a16="http://schemas.microsoft.com/office/drawing/2014/main" id="{10731347-DC08-4D48-8DA0-AD576679C843}"/>
                  </a:ext>
                </a:extLst>
              </p:cNvPr>
              <p:cNvSpPr/>
              <p:nvPr/>
            </p:nvSpPr>
            <p:spPr>
              <a:xfrm>
                <a:off x="4083076" y="4403964"/>
                <a:ext cx="51056" cy="6226"/>
              </a:xfrm>
              <a:custGeom>
                <a:avLst/>
                <a:gdLst>
                  <a:gd name="connsiteX0" fmla="*/ 51056 w 51056"/>
                  <a:gd name="connsiteY0" fmla="*/ 0 h 6226"/>
                  <a:gd name="connsiteX1" fmla="*/ 46008 w 51056"/>
                  <a:gd name="connsiteY1" fmla="*/ 2160 h 6226"/>
                  <a:gd name="connsiteX2" fmla="*/ 46292 w 51056"/>
                  <a:gd name="connsiteY2" fmla="*/ 4420 h 6226"/>
                  <a:gd name="connsiteX3" fmla="*/ 17129 w 51056"/>
                  <a:gd name="connsiteY3" fmla="*/ 6226 h 6226"/>
                  <a:gd name="connsiteX4" fmla="*/ 149 w 51056"/>
                  <a:gd name="connsiteY4" fmla="*/ 2597 h 6226"/>
                  <a:gd name="connsiteX5" fmla="*/ 0 w 51056"/>
                  <a:gd name="connsiteY5" fmla="*/ 2497 h 6226"/>
                  <a:gd name="connsiteX6" fmla="*/ 16273 w 51056"/>
                  <a:gd name="connsiteY6" fmla="*/ 5979 h 6226"/>
                  <a:gd name="connsiteX7" fmla="*/ 51056 w 51056"/>
                  <a:gd name="connsiteY7" fmla="*/ 0 h 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56" h="6226">
                    <a:moveTo>
                      <a:pt x="51056" y="0"/>
                    </a:moveTo>
                    <a:lnTo>
                      <a:pt x="46008" y="2160"/>
                    </a:lnTo>
                    <a:lnTo>
                      <a:pt x="46292" y="4420"/>
                    </a:lnTo>
                    <a:lnTo>
                      <a:pt x="17129" y="6226"/>
                    </a:lnTo>
                    <a:cubicBezTo>
                      <a:pt x="10146" y="5544"/>
                      <a:pt x="4629" y="4367"/>
                      <a:pt x="149" y="2597"/>
                    </a:cubicBezTo>
                    <a:lnTo>
                      <a:pt x="0" y="2497"/>
                    </a:lnTo>
                    <a:lnTo>
                      <a:pt x="16273" y="5979"/>
                    </a:lnTo>
                    <a:lnTo>
                      <a:pt x="51056"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99" name="Freeform 98">
                <a:extLst>
                  <a:ext uri="{FF2B5EF4-FFF2-40B4-BE49-F238E27FC236}">
                    <a16:creationId xmlns:a16="http://schemas.microsoft.com/office/drawing/2014/main" id="{C07C383A-BCC0-2D48-9F38-4E63CB158547}"/>
                  </a:ext>
                </a:extLst>
              </p:cNvPr>
              <p:cNvSpPr/>
              <p:nvPr/>
            </p:nvSpPr>
            <p:spPr>
              <a:xfrm>
                <a:off x="3619485" y="4408207"/>
                <a:ext cx="100129" cy="9132"/>
              </a:xfrm>
              <a:custGeom>
                <a:avLst/>
                <a:gdLst>
                  <a:gd name="connsiteX0" fmla="*/ 100129 w 100129"/>
                  <a:gd name="connsiteY0" fmla="*/ 0 h 9132"/>
                  <a:gd name="connsiteX1" fmla="*/ 99880 w 100129"/>
                  <a:gd name="connsiteY1" fmla="*/ 394 h 9132"/>
                  <a:gd name="connsiteX2" fmla="*/ 74629 w 100129"/>
                  <a:gd name="connsiteY2" fmla="*/ 6395 h 9132"/>
                  <a:gd name="connsiteX3" fmla="*/ 24855 w 100129"/>
                  <a:gd name="connsiteY3" fmla="*/ 5829 h 9132"/>
                  <a:gd name="connsiteX4" fmla="*/ 0 w 100129"/>
                  <a:gd name="connsiteY4" fmla="*/ 9132 h 9132"/>
                  <a:gd name="connsiteX5" fmla="*/ 387 w 100129"/>
                  <a:gd name="connsiteY5" fmla="*/ 8699 h 9132"/>
                  <a:gd name="connsiteX6" fmla="*/ 75146 w 100129"/>
                  <a:gd name="connsiteY6" fmla="*/ 5952 h 9132"/>
                  <a:gd name="connsiteX7" fmla="*/ 100129 w 100129"/>
                  <a:gd name="connsiteY7" fmla="*/ 0 h 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29" h="9132">
                    <a:moveTo>
                      <a:pt x="100129" y="0"/>
                    </a:moveTo>
                    <a:lnTo>
                      <a:pt x="99880" y="394"/>
                    </a:lnTo>
                    <a:cubicBezTo>
                      <a:pt x="92856" y="3837"/>
                      <a:pt x="83595" y="5156"/>
                      <a:pt x="74629" y="6395"/>
                    </a:cubicBezTo>
                    <a:cubicBezTo>
                      <a:pt x="65286" y="7692"/>
                      <a:pt x="43892" y="5446"/>
                      <a:pt x="24855" y="5829"/>
                    </a:cubicBezTo>
                    <a:lnTo>
                      <a:pt x="0" y="9132"/>
                    </a:lnTo>
                    <a:lnTo>
                      <a:pt x="387" y="8699"/>
                    </a:lnTo>
                    <a:cubicBezTo>
                      <a:pt x="20011" y="1870"/>
                      <a:pt x="61131" y="7899"/>
                      <a:pt x="75146" y="5952"/>
                    </a:cubicBezTo>
                    <a:lnTo>
                      <a:pt x="100129"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0" name="Freeform 99">
                <a:extLst>
                  <a:ext uri="{FF2B5EF4-FFF2-40B4-BE49-F238E27FC236}">
                    <a16:creationId xmlns:a16="http://schemas.microsoft.com/office/drawing/2014/main" id="{17B2779F-A8C7-7241-946B-E16A4079A2A6}"/>
                  </a:ext>
                </a:extLst>
              </p:cNvPr>
              <p:cNvSpPr/>
              <p:nvPr/>
            </p:nvSpPr>
            <p:spPr>
              <a:xfrm>
                <a:off x="3973439" y="4408349"/>
                <a:ext cx="175378" cy="244791"/>
              </a:xfrm>
              <a:custGeom>
                <a:avLst/>
                <a:gdLst>
                  <a:gd name="connsiteX0" fmla="*/ 156508 w 175378"/>
                  <a:gd name="connsiteY0" fmla="*/ 0 h 244791"/>
                  <a:gd name="connsiteX1" fmla="*/ 159338 w 175378"/>
                  <a:gd name="connsiteY1" fmla="*/ 22335 h 244791"/>
                  <a:gd name="connsiteX2" fmla="*/ 174604 w 175378"/>
                  <a:gd name="connsiteY2" fmla="*/ 64366 h 244791"/>
                  <a:gd name="connsiteX3" fmla="*/ 136143 w 175378"/>
                  <a:gd name="connsiteY3" fmla="*/ 125707 h 244791"/>
                  <a:gd name="connsiteX4" fmla="*/ 86891 w 175378"/>
                  <a:gd name="connsiteY4" fmla="*/ 164008 h 244791"/>
                  <a:gd name="connsiteX5" fmla="*/ 47673 w 175378"/>
                  <a:gd name="connsiteY5" fmla="*/ 211112 h 244791"/>
                  <a:gd name="connsiteX6" fmla="*/ 11713 w 175378"/>
                  <a:gd name="connsiteY6" fmla="*/ 242590 h 244791"/>
                  <a:gd name="connsiteX7" fmla="*/ 0 w 175378"/>
                  <a:gd name="connsiteY7" fmla="*/ 244791 h 244791"/>
                  <a:gd name="connsiteX8" fmla="*/ 48 w 175378"/>
                  <a:gd name="connsiteY8" fmla="*/ 243200 h 244791"/>
                  <a:gd name="connsiteX9" fmla="*/ 10780 w 175378"/>
                  <a:gd name="connsiteY9" fmla="*/ 240236 h 244791"/>
                  <a:gd name="connsiteX10" fmla="*/ 46771 w 175378"/>
                  <a:gd name="connsiteY10" fmla="*/ 208788 h 244791"/>
                  <a:gd name="connsiteX11" fmla="*/ 85965 w 175378"/>
                  <a:gd name="connsiteY11" fmla="*/ 161714 h 244791"/>
                  <a:gd name="connsiteX12" fmla="*/ 135270 w 175378"/>
                  <a:gd name="connsiteY12" fmla="*/ 123404 h 244791"/>
                  <a:gd name="connsiteX13" fmla="*/ 173718 w 175378"/>
                  <a:gd name="connsiteY13" fmla="*/ 62088 h 244791"/>
                  <a:gd name="connsiteX14" fmla="*/ 158444 w 175378"/>
                  <a:gd name="connsiteY14" fmla="*/ 20073 h 244791"/>
                  <a:gd name="connsiteX15" fmla="*/ 155929 w 175378"/>
                  <a:gd name="connsiteY15" fmla="*/ 36 h 244791"/>
                  <a:gd name="connsiteX16" fmla="*/ 156508 w 175378"/>
                  <a:gd name="connsiteY16" fmla="*/ 0 h 24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5378" h="244791">
                    <a:moveTo>
                      <a:pt x="156508" y="0"/>
                    </a:moveTo>
                    <a:cubicBezTo>
                      <a:pt x="156837" y="7551"/>
                      <a:pt x="157594" y="15034"/>
                      <a:pt x="159338" y="22335"/>
                    </a:cubicBezTo>
                    <a:cubicBezTo>
                      <a:pt x="162792" y="36823"/>
                      <a:pt x="172169" y="49764"/>
                      <a:pt x="174604" y="64366"/>
                    </a:cubicBezTo>
                    <a:cubicBezTo>
                      <a:pt x="179802" y="95503"/>
                      <a:pt x="157923" y="107352"/>
                      <a:pt x="136143" y="125707"/>
                    </a:cubicBezTo>
                    <a:cubicBezTo>
                      <a:pt x="119002" y="140150"/>
                      <a:pt x="99195" y="144608"/>
                      <a:pt x="86891" y="164008"/>
                    </a:cubicBezTo>
                    <a:cubicBezTo>
                      <a:pt x="74750" y="183068"/>
                      <a:pt x="65439" y="197033"/>
                      <a:pt x="47673" y="211112"/>
                    </a:cubicBezTo>
                    <a:cubicBezTo>
                      <a:pt x="35237" y="220983"/>
                      <a:pt x="26189" y="236517"/>
                      <a:pt x="11713" y="242590"/>
                    </a:cubicBezTo>
                    <a:lnTo>
                      <a:pt x="0" y="244791"/>
                    </a:lnTo>
                    <a:lnTo>
                      <a:pt x="48" y="243200"/>
                    </a:lnTo>
                    <a:cubicBezTo>
                      <a:pt x="3906" y="242556"/>
                      <a:pt x="7545" y="241621"/>
                      <a:pt x="10780" y="240236"/>
                    </a:cubicBezTo>
                    <a:cubicBezTo>
                      <a:pt x="25276" y="234178"/>
                      <a:pt x="34297" y="218648"/>
                      <a:pt x="46771" y="208788"/>
                    </a:cubicBezTo>
                    <a:cubicBezTo>
                      <a:pt x="64533" y="194708"/>
                      <a:pt x="73865" y="180757"/>
                      <a:pt x="85965" y="161714"/>
                    </a:cubicBezTo>
                    <a:cubicBezTo>
                      <a:pt x="98315" y="142317"/>
                      <a:pt x="118099" y="137871"/>
                      <a:pt x="135270" y="123404"/>
                    </a:cubicBezTo>
                    <a:cubicBezTo>
                      <a:pt x="157044" y="105071"/>
                      <a:pt x="178944" y="93213"/>
                      <a:pt x="173718" y="62088"/>
                    </a:cubicBezTo>
                    <a:cubicBezTo>
                      <a:pt x="171291" y="47492"/>
                      <a:pt x="161928" y="34572"/>
                      <a:pt x="158444" y="20073"/>
                    </a:cubicBezTo>
                    <a:lnTo>
                      <a:pt x="155929" y="36"/>
                    </a:lnTo>
                    <a:lnTo>
                      <a:pt x="156508"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1" name="Freeform 100">
                <a:extLst>
                  <a:ext uri="{FF2B5EF4-FFF2-40B4-BE49-F238E27FC236}">
                    <a16:creationId xmlns:a16="http://schemas.microsoft.com/office/drawing/2014/main" id="{19C65C10-6760-6A40-BC3A-FA1BC37F6A84}"/>
                  </a:ext>
                </a:extLst>
              </p:cNvPr>
              <p:cNvSpPr/>
              <p:nvPr/>
            </p:nvSpPr>
            <p:spPr>
              <a:xfrm>
                <a:off x="2925020" y="4408713"/>
                <a:ext cx="77160" cy="30490"/>
              </a:xfrm>
              <a:custGeom>
                <a:avLst/>
                <a:gdLst>
                  <a:gd name="connsiteX0" fmla="*/ 59761 w 77160"/>
                  <a:gd name="connsiteY0" fmla="*/ 145 h 30490"/>
                  <a:gd name="connsiteX1" fmla="*/ 75978 w 77160"/>
                  <a:gd name="connsiteY1" fmla="*/ 5584 h 30490"/>
                  <a:gd name="connsiteX2" fmla="*/ 77160 w 77160"/>
                  <a:gd name="connsiteY2" fmla="*/ 6504 h 30490"/>
                  <a:gd name="connsiteX3" fmla="*/ 62703 w 77160"/>
                  <a:gd name="connsiteY3" fmla="*/ 1664 h 30490"/>
                  <a:gd name="connsiteX4" fmla="*/ 26065 w 77160"/>
                  <a:gd name="connsiteY4" fmla="*/ 16467 h 30490"/>
                  <a:gd name="connsiteX5" fmla="*/ 2293 w 77160"/>
                  <a:gd name="connsiteY5" fmla="*/ 30490 h 30490"/>
                  <a:gd name="connsiteX6" fmla="*/ 1337 w 77160"/>
                  <a:gd name="connsiteY6" fmla="*/ 29335 h 30490"/>
                  <a:gd name="connsiteX7" fmla="*/ 0 w 77160"/>
                  <a:gd name="connsiteY7" fmla="*/ 28628 h 30490"/>
                  <a:gd name="connsiteX8" fmla="*/ 23148 w 77160"/>
                  <a:gd name="connsiteY8" fmla="*/ 14957 h 30490"/>
                  <a:gd name="connsiteX9" fmla="*/ 59761 w 77160"/>
                  <a:gd name="connsiteY9" fmla="*/ 145 h 30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60" h="30490">
                    <a:moveTo>
                      <a:pt x="59761" y="145"/>
                    </a:moveTo>
                    <a:cubicBezTo>
                      <a:pt x="65724" y="693"/>
                      <a:pt x="71051" y="2696"/>
                      <a:pt x="75978" y="5584"/>
                    </a:cubicBezTo>
                    <a:lnTo>
                      <a:pt x="77160" y="6504"/>
                    </a:lnTo>
                    <a:lnTo>
                      <a:pt x="62703" y="1664"/>
                    </a:lnTo>
                    <a:cubicBezTo>
                      <a:pt x="47732" y="272"/>
                      <a:pt x="37496" y="9133"/>
                      <a:pt x="26065" y="16467"/>
                    </a:cubicBezTo>
                    <a:cubicBezTo>
                      <a:pt x="18603" y="21255"/>
                      <a:pt x="10233" y="25668"/>
                      <a:pt x="2293" y="30490"/>
                    </a:cubicBezTo>
                    <a:cubicBezTo>
                      <a:pt x="1958" y="30082"/>
                      <a:pt x="1671" y="29607"/>
                      <a:pt x="1337" y="29335"/>
                    </a:cubicBezTo>
                    <a:lnTo>
                      <a:pt x="0" y="28628"/>
                    </a:lnTo>
                    <a:lnTo>
                      <a:pt x="23148" y="14957"/>
                    </a:lnTo>
                    <a:cubicBezTo>
                      <a:pt x="34555" y="7620"/>
                      <a:pt x="44802" y="-1240"/>
                      <a:pt x="59761" y="145"/>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2" name="Freeform 101">
                <a:extLst>
                  <a:ext uri="{FF2B5EF4-FFF2-40B4-BE49-F238E27FC236}">
                    <a16:creationId xmlns:a16="http://schemas.microsoft.com/office/drawing/2014/main" id="{3D130ADD-8C16-A44F-9F4A-31EFDF3E3168}"/>
                  </a:ext>
                </a:extLst>
              </p:cNvPr>
              <p:cNvSpPr/>
              <p:nvPr/>
            </p:nvSpPr>
            <p:spPr>
              <a:xfrm>
                <a:off x="3002180" y="4415217"/>
                <a:ext cx="145398" cy="101034"/>
              </a:xfrm>
              <a:custGeom>
                <a:avLst/>
                <a:gdLst>
                  <a:gd name="connsiteX0" fmla="*/ 0 w 145398"/>
                  <a:gd name="connsiteY0" fmla="*/ 0 h 101034"/>
                  <a:gd name="connsiteX1" fmla="*/ 1769 w 145398"/>
                  <a:gd name="connsiteY1" fmla="*/ 592 h 101034"/>
                  <a:gd name="connsiteX2" fmla="*/ 41696 w 145398"/>
                  <a:gd name="connsiteY2" fmla="*/ 35088 h 101034"/>
                  <a:gd name="connsiteX3" fmla="*/ 111432 w 145398"/>
                  <a:gd name="connsiteY3" fmla="*/ 79430 h 101034"/>
                  <a:gd name="connsiteX4" fmla="*/ 145398 w 145398"/>
                  <a:gd name="connsiteY4" fmla="*/ 101034 h 101034"/>
                  <a:gd name="connsiteX5" fmla="*/ 142810 w 145398"/>
                  <a:gd name="connsiteY5" fmla="*/ 99849 h 101034"/>
                  <a:gd name="connsiteX6" fmla="*/ 108388 w 145398"/>
                  <a:gd name="connsiteY6" fmla="*/ 77949 h 101034"/>
                  <a:gd name="connsiteX7" fmla="*/ 38692 w 145398"/>
                  <a:gd name="connsiteY7" fmla="*/ 33580 h 101034"/>
                  <a:gd name="connsiteX8" fmla="*/ 12631 w 145398"/>
                  <a:gd name="connsiteY8" fmla="*/ 9829 h 101034"/>
                  <a:gd name="connsiteX9" fmla="*/ 0 w 145398"/>
                  <a:gd name="connsiteY9" fmla="*/ 0 h 101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398" h="101034">
                    <a:moveTo>
                      <a:pt x="0" y="0"/>
                    </a:moveTo>
                    <a:lnTo>
                      <a:pt x="1769" y="592"/>
                    </a:lnTo>
                    <a:cubicBezTo>
                      <a:pt x="16558" y="9255"/>
                      <a:pt x="27742" y="25895"/>
                      <a:pt x="41696" y="35088"/>
                    </a:cubicBezTo>
                    <a:cubicBezTo>
                      <a:pt x="64367" y="50061"/>
                      <a:pt x="87661" y="65577"/>
                      <a:pt x="111432" y="79430"/>
                    </a:cubicBezTo>
                    <a:lnTo>
                      <a:pt x="145398" y="101034"/>
                    </a:lnTo>
                    <a:lnTo>
                      <a:pt x="142810" y="99849"/>
                    </a:lnTo>
                    <a:cubicBezTo>
                      <a:pt x="131473" y="92883"/>
                      <a:pt x="120689" y="85148"/>
                      <a:pt x="108388" y="77949"/>
                    </a:cubicBezTo>
                    <a:cubicBezTo>
                      <a:pt x="84656" y="64083"/>
                      <a:pt x="61360" y="48577"/>
                      <a:pt x="38692" y="33580"/>
                    </a:cubicBezTo>
                    <a:cubicBezTo>
                      <a:pt x="29412" y="27443"/>
                      <a:pt x="21352" y="18006"/>
                      <a:pt x="12631" y="9829"/>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3" name="Freeform 102">
                <a:extLst>
                  <a:ext uri="{FF2B5EF4-FFF2-40B4-BE49-F238E27FC236}">
                    <a16:creationId xmlns:a16="http://schemas.microsoft.com/office/drawing/2014/main" id="{9A666851-EBCC-9144-B43A-66BEA3C80A04}"/>
                  </a:ext>
                </a:extLst>
              </p:cNvPr>
              <p:cNvSpPr/>
              <p:nvPr/>
            </p:nvSpPr>
            <p:spPr>
              <a:xfrm>
                <a:off x="3605681" y="4417340"/>
                <a:ext cx="15433" cy="150457"/>
              </a:xfrm>
              <a:custGeom>
                <a:avLst/>
                <a:gdLst>
                  <a:gd name="connsiteX0" fmla="*/ 13804 w 15433"/>
                  <a:gd name="connsiteY0" fmla="*/ 0 h 150457"/>
                  <a:gd name="connsiteX1" fmla="*/ 3533 w 15433"/>
                  <a:gd name="connsiteY1" fmla="*/ 11455 h 150457"/>
                  <a:gd name="connsiteX2" fmla="*/ 11266 w 15433"/>
                  <a:gd name="connsiteY2" fmla="*/ 28913 h 150457"/>
                  <a:gd name="connsiteX3" fmla="*/ 670 w 15433"/>
                  <a:gd name="connsiteY3" fmla="*/ 43516 h 150457"/>
                  <a:gd name="connsiteX4" fmla="*/ 14011 w 15433"/>
                  <a:gd name="connsiteY4" fmla="*/ 74213 h 150457"/>
                  <a:gd name="connsiteX5" fmla="*/ 5037 w 15433"/>
                  <a:gd name="connsiteY5" fmla="*/ 107864 h 150457"/>
                  <a:gd name="connsiteX6" fmla="*/ 6612 w 15433"/>
                  <a:gd name="connsiteY6" fmla="*/ 142909 h 150457"/>
                  <a:gd name="connsiteX7" fmla="*/ 638 w 15433"/>
                  <a:gd name="connsiteY7" fmla="*/ 150402 h 150457"/>
                  <a:gd name="connsiteX8" fmla="*/ 467 w 15433"/>
                  <a:gd name="connsiteY8" fmla="*/ 150457 h 150457"/>
                  <a:gd name="connsiteX9" fmla="*/ 6116 w 15433"/>
                  <a:gd name="connsiteY9" fmla="*/ 143372 h 150457"/>
                  <a:gd name="connsiteX10" fmla="*/ 4537 w 15433"/>
                  <a:gd name="connsiteY10" fmla="*/ 108323 h 150457"/>
                  <a:gd name="connsiteX11" fmla="*/ 13486 w 15433"/>
                  <a:gd name="connsiteY11" fmla="*/ 74685 h 150457"/>
                  <a:gd name="connsiteX12" fmla="*/ 161 w 15433"/>
                  <a:gd name="connsiteY12" fmla="*/ 43980 h 150457"/>
                  <a:gd name="connsiteX13" fmla="*/ 10755 w 15433"/>
                  <a:gd name="connsiteY13" fmla="*/ 29378 h 150457"/>
                  <a:gd name="connsiteX14" fmla="*/ 3023 w 15433"/>
                  <a:gd name="connsiteY14" fmla="*/ 11911 h 150457"/>
                  <a:gd name="connsiteX15" fmla="*/ 13671 w 15433"/>
                  <a:gd name="connsiteY15" fmla="*/ 17 h 150457"/>
                  <a:gd name="connsiteX16" fmla="*/ 13804 w 15433"/>
                  <a:gd name="connsiteY16" fmla="*/ 0 h 15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433" h="150457">
                    <a:moveTo>
                      <a:pt x="13804" y="0"/>
                    </a:moveTo>
                    <a:lnTo>
                      <a:pt x="3533" y="11455"/>
                    </a:lnTo>
                    <a:cubicBezTo>
                      <a:pt x="3581" y="19276"/>
                      <a:pt x="10980" y="22001"/>
                      <a:pt x="11266" y="28913"/>
                    </a:cubicBezTo>
                    <a:cubicBezTo>
                      <a:pt x="11743" y="39784"/>
                      <a:pt x="1815" y="37188"/>
                      <a:pt x="670" y="43516"/>
                    </a:cubicBezTo>
                    <a:cubicBezTo>
                      <a:pt x="-1049" y="53023"/>
                      <a:pt x="11457" y="64576"/>
                      <a:pt x="14011" y="74213"/>
                    </a:cubicBezTo>
                    <a:cubicBezTo>
                      <a:pt x="18354" y="90698"/>
                      <a:pt x="12006" y="94462"/>
                      <a:pt x="5037" y="107864"/>
                    </a:cubicBezTo>
                    <a:cubicBezTo>
                      <a:pt x="-3197" y="123699"/>
                      <a:pt x="8068" y="129118"/>
                      <a:pt x="6612" y="142909"/>
                    </a:cubicBezTo>
                    <a:cubicBezTo>
                      <a:pt x="6296" y="145931"/>
                      <a:pt x="4186" y="148402"/>
                      <a:pt x="638" y="150402"/>
                    </a:cubicBezTo>
                    <a:lnTo>
                      <a:pt x="467" y="150457"/>
                    </a:lnTo>
                    <a:lnTo>
                      <a:pt x="6116" y="143372"/>
                    </a:lnTo>
                    <a:cubicBezTo>
                      <a:pt x="7564" y="129589"/>
                      <a:pt x="-3721" y="124176"/>
                      <a:pt x="4537" y="108323"/>
                    </a:cubicBezTo>
                    <a:cubicBezTo>
                      <a:pt x="11479" y="94927"/>
                      <a:pt x="17829" y="91152"/>
                      <a:pt x="13486" y="74685"/>
                    </a:cubicBezTo>
                    <a:cubicBezTo>
                      <a:pt x="10952" y="65041"/>
                      <a:pt x="-1550" y="53487"/>
                      <a:pt x="161" y="43980"/>
                    </a:cubicBezTo>
                    <a:cubicBezTo>
                      <a:pt x="1312" y="37657"/>
                      <a:pt x="11248" y="40227"/>
                      <a:pt x="10755" y="29378"/>
                    </a:cubicBezTo>
                    <a:cubicBezTo>
                      <a:pt x="10459" y="22464"/>
                      <a:pt x="3056" y="19735"/>
                      <a:pt x="3023" y="11911"/>
                    </a:cubicBezTo>
                    <a:cubicBezTo>
                      <a:pt x="2982" y="6003"/>
                      <a:pt x="7132" y="2296"/>
                      <a:pt x="13671" y="17"/>
                    </a:cubicBezTo>
                    <a:lnTo>
                      <a:pt x="1380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4" name="Freeform 103">
                <a:extLst>
                  <a:ext uri="{FF2B5EF4-FFF2-40B4-BE49-F238E27FC236}">
                    <a16:creationId xmlns:a16="http://schemas.microsoft.com/office/drawing/2014/main" id="{40D5EB93-1F36-5A41-BB17-B07890DAE0A8}"/>
                  </a:ext>
                </a:extLst>
              </p:cNvPr>
              <p:cNvSpPr/>
              <p:nvPr/>
            </p:nvSpPr>
            <p:spPr>
              <a:xfrm>
                <a:off x="4626455" y="4417395"/>
                <a:ext cx="294653" cy="568556"/>
              </a:xfrm>
              <a:custGeom>
                <a:avLst/>
                <a:gdLst>
                  <a:gd name="connsiteX0" fmla="*/ 293890 w 294653"/>
                  <a:gd name="connsiteY0" fmla="*/ 0 h 568556"/>
                  <a:gd name="connsiteX1" fmla="*/ 294653 w 294653"/>
                  <a:gd name="connsiteY1" fmla="*/ 2082 h 568556"/>
                  <a:gd name="connsiteX2" fmla="*/ 225665 w 294653"/>
                  <a:gd name="connsiteY2" fmla="*/ 26074 h 568556"/>
                  <a:gd name="connsiteX3" fmla="*/ 160285 w 294653"/>
                  <a:gd name="connsiteY3" fmla="*/ 60596 h 568556"/>
                  <a:gd name="connsiteX4" fmla="*/ 125396 w 294653"/>
                  <a:gd name="connsiteY4" fmla="*/ 84225 h 568556"/>
                  <a:gd name="connsiteX5" fmla="*/ 97839 w 294653"/>
                  <a:gd name="connsiteY5" fmla="*/ 90704 h 568556"/>
                  <a:gd name="connsiteX6" fmla="*/ 49441 w 294653"/>
                  <a:gd name="connsiteY6" fmla="*/ 93709 h 568556"/>
                  <a:gd name="connsiteX7" fmla="*/ 67890 w 294653"/>
                  <a:gd name="connsiteY7" fmla="*/ 170732 h 568556"/>
                  <a:gd name="connsiteX8" fmla="*/ 83906 w 294653"/>
                  <a:gd name="connsiteY8" fmla="*/ 198869 h 568556"/>
                  <a:gd name="connsiteX9" fmla="*/ 93285 w 294653"/>
                  <a:gd name="connsiteY9" fmla="*/ 224283 h 568556"/>
                  <a:gd name="connsiteX10" fmla="*/ 93401 w 294653"/>
                  <a:gd name="connsiteY10" fmla="*/ 224189 h 568556"/>
                  <a:gd name="connsiteX11" fmla="*/ 94432 w 294653"/>
                  <a:gd name="connsiteY11" fmla="*/ 225267 h 568556"/>
                  <a:gd name="connsiteX12" fmla="*/ 98716 w 294653"/>
                  <a:gd name="connsiteY12" fmla="*/ 261234 h 568556"/>
                  <a:gd name="connsiteX13" fmla="*/ 98571 w 294653"/>
                  <a:gd name="connsiteY13" fmla="*/ 299774 h 568556"/>
                  <a:gd name="connsiteX14" fmla="*/ 97768 w 294653"/>
                  <a:gd name="connsiteY14" fmla="*/ 400539 h 568556"/>
                  <a:gd name="connsiteX15" fmla="*/ 96652 w 294653"/>
                  <a:gd name="connsiteY15" fmla="*/ 542868 h 568556"/>
                  <a:gd name="connsiteX16" fmla="*/ 66426 w 294653"/>
                  <a:gd name="connsiteY16" fmla="*/ 568005 h 568556"/>
                  <a:gd name="connsiteX17" fmla="*/ 65927 w 294653"/>
                  <a:gd name="connsiteY17" fmla="*/ 567715 h 568556"/>
                  <a:gd name="connsiteX18" fmla="*/ 83507 w 294653"/>
                  <a:gd name="connsiteY18" fmla="*/ 562985 h 568556"/>
                  <a:gd name="connsiteX19" fmla="*/ 92605 w 294653"/>
                  <a:gd name="connsiteY19" fmla="*/ 543555 h 568556"/>
                  <a:gd name="connsiteX20" fmla="*/ 93698 w 294653"/>
                  <a:gd name="connsiteY20" fmla="*/ 401216 h 568556"/>
                  <a:gd name="connsiteX21" fmla="*/ 94498 w 294653"/>
                  <a:gd name="connsiteY21" fmla="*/ 300526 h 568556"/>
                  <a:gd name="connsiteX22" fmla="*/ 80768 w 294653"/>
                  <a:gd name="connsiteY22" fmla="*/ 199016 h 568556"/>
                  <a:gd name="connsiteX23" fmla="*/ 64772 w 294653"/>
                  <a:gd name="connsiteY23" fmla="*/ 170914 h 568556"/>
                  <a:gd name="connsiteX24" fmla="*/ 46323 w 294653"/>
                  <a:gd name="connsiteY24" fmla="*/ 93885 h 568556"/>
                  <a:gd name="connsiteX25" fmla="*/ 35499 w 294653"/>
                  <a:gd name="connsiteY25" fmla="*/ 89183 h 568556"/>
                  <a:gd name="connsiteX26" fmla="*/ 20010 w 294653"/>
                  <a:gd name="connsiteY26" fmla="*/ 56192 h 568556"/>
                  <a:gd name="connsiteX27" fmla="*/ 1401 w 294653"/>
                  <a:gd name="connsiteY27" fmla="*/ 13236 h 568556"/>
                  <a:gd name="connsiteX28" fmla="*/ 0 w 294653"/>
                  <a:gd name="connsiteY28" fmla="*/ 13961 h 568556"/>
                  <a:gd name="connsiteX29" fmla="*/ 3807 w 294653"/>
                  <a:gd name="connsiteY29" fmla="*/ 9693 h 568556"/>
                  <a:gd name="connsiteX30" fmla="*/ 2902 w 294653"/>
                  <a:gd name="connsiteY30" fmla="*/ 11254 h 568556"/>
                  <a:gd name="connsiteX31" fmla="*/ 21492 w 294653"/>
                  <a:gd name="connsiteY31" fmla="*/ 54217 h 568556"/>
                  <a:gd name="connsiteX32" fmla="*/ 36984 w 294653"/>
                  <a:gd name="connsiteY32" fmla="*/ 87199 h 568556"/>
                  <a:gd name="connsiteX33" fmla="*/ 96201 w 294653"/>
                  <a:gd name="connsiteY33" fmla="*/ 88907 h 568556"/>
                  <a:gd name="connsiteX34" fmla="*/ 123776 w 294653"/>
                  <a:gd name="connsiteY34" fmla="*/ 82430 h 568556"/>
                  <a:gd name="connsiteX35" fmla="*/ 158633 w 294653"/>
                  <a:gd name="connsiteY35" fmla="*/ 58831 h 568556"/>
                  <a:gd name="connsiteX36" fmla="*/ 224008 w 294653"/>
                  <a:gd name="connsiteY36" fmla="*/ 24318 h 568556"/>
                  <a:gd name="connsiteX37" fmla="*/ 293890 w 294653"/>
                  <a:gd name="connsiteY37" fmla="*/ 0 h 56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4653" h="568556">
                    <a:moveTo>
                      <a:pt x="293890" y="0"/>
                    </a:moveTo>
                    <a:lnTo>
                      <a:pt x="294653" y="2082"/>
                    </a:lnTo>
                    <a:lnTo>
                      <a:pt x="225665" y="26074"/>
                    </a:lnTo>
                    <a:cubicBezTo>
                      <a:pt x="201234" y="33523"/>
                      <a:pt x="179775" y="45072"/>
                      <a:pt x="160285" y="60596"/>
                    </a:cubicBezTo>
                    <a:cubicBezTo>
                      <a:pt x="150058" y="68764"/>
                      <a:pt x="136897" y="77684"/>
                      <a:pt x="125396" y="84225"/>
                    </a:cubicBezTo>
                    <a:cubicBezTo>
                      <a:pt x="116442" y="89327"/>
                      <a:pt x="107874" y="89014"/>
                      <a:pt x="97839" y="90704"/>
                    </a:cubicBezTo>
                    <a:cubicBezTo>
                      <a:pt x="85682" y="92738"/>
                      <a:pt x="64609" y="97120"/>
                      <a:pt x="49441" y="93709"/>
                    </a:cubicBezTo>
                    <a:cubicBezTo>
                      <a:pt x="50213" y="121063"/>
                      <a:pt x="53494" y="144880"/>
                      <a:pt x="67890" y="170732"/>
                    </a:cubicBezTo>
                    <a:cubicBezTo>
                      <a:pt x="73138" y="180153"/>
                      <a:pt x="78966" y="189292"/>
                      <a:pt x="83906" y="198869"/>
                    </a:cubicBezTo>
                    <a:cubicBezTo>
                      <a:pt x="88190" y="207225"/>
                      <a:pt x="91201" y="215707"/>
                      <a:pt x="93285" y="224283"/>
                    </a:cubicBezTo>
                    <a:lnTo>
                      <a:pt x="93401" y="224189"/>
                    </a:lnTo>
                    <a:lnTo>
                      <a:pt x="94432" y="225267"/>
                    </a:lnTo>
                    <a:lnTo>
                      <a:pt x="98716" y="261234"/>
                    </a:lnTo>
                    <a:cubicBezTo>
                      <a:pt x="99074" y="273944"/>
                      <a:pt x="98661" y="286816"/>
                      <a:pt x="98571" y="299774"/>
                    </a:cubicBezTo>
                    <a:cubicBezTo>
                      <a:pt x="98303" y="333362"/>
                      <a:pt x="98036" y="366951"/>
                      <a:pt x="97768" y="400539"/>
                    </a:cubicBezTo>
                    <a:cubicBezTo>
                      <a:pt x="97411" y="447953"/>
                      <a:pt x="97009" y="495411"/>
                      <a:pt x="96652" y="542868"/>
                    </a:cubicBezTo>
                    <a:cubicBezTo>
                      <a:pt x="96741" y="557690"/>
                      <a:pt x="82365" y="571516"/>
                      <a:pt x="66426" y="568005"/>
                    </a:cubicBezTo>
                    <a:lnTo>
                      <a:pt x="65927" y="567715"/>
                    </a:lnTo>
                    <a:lnTo>
                      <a:pt x="83507" y="562985"/>
                    </a:lnTo>
                    <a:cubicBezTo>
                      <a:pt x="89079" y="558119"/>
                      <a:pt x="92645" y="550963"/>
                      <a:pt x="92605" y="543555"/>
                    </a:cubicBezTo>
                    <a:cubicBezTo>
                      <a:pt x="92979" y="496121"/>
                      <a:pt x="93352" y="448650"/>
                      <a:pt x="93698" y="401216"/>
                    </a:cubicBezTo>
                    <a:cubicBezTo>
                      <a:pt x="93965" y="367665"/>
                      <a:pt x="94232" y="334077"/>
                      <a:pt x="94498" y="300526"/>
                    </a:cubicBezTo>
                    <a:cubicBezTo>
                      <a:pt x="94792" y="265557"/>
                      <a:pt x="97404" y="231260"/>
                      <a:pt x="80768" y="199016"/>
                    </a:cubicBezTo>
                    <a:cubicBezTo>
                      <a:pt x="75836" y="189462"/>
                      <a:pt x="69998" y="180318"/>
                      <a:pt x="64772" y="170914"/>
                    </a:cubicBezTo>
                    <a:cubicBezTo>
                      <a:pt x="50376" y="145051"/>
                      <a:pt x="47070" y="121240"/>
                      <a:pt x="46323" y="93885"/>
                    </a:cubicBezTo>
                    <a:cubicBezTo>
                      <a:pt x="42191" y="92952"/>
                      <a:pt x="38458" y="91496"/>
                      <a:pt x="35499" y="89183"/>
                    </a:cubicBezTo>
                    <a:cubicBezTo>
                      <a:pt x="27661" y="83062"/>
                      <a:pt x="23795" y="64887"/>
                      <a:pt x="20010" y="56192"/>
                    </a:cubicBezTo>
                    <a:cubicBezTo>
                      <a:pt x="13824" y="41861"/>
                      <a:pt x="7613" y="27567"/>
                      <a:pt x="1401" y="13236"/>
                    </a:cubicBezTo>
                    <a:lnTo>
                      <a:pt x="0" y="13961"/>
                    </a:lnTo>
                    <a:lnTo>
                      <a:pt x="3807" y="9693"/>
                    </a:lnTo>
                    <a:lnTo>
                      <a:pt x="2902" y="11254"/>
                    </a:lnTo>
                    <a:cubicBezTo>
                      <a:pt x="9099" y="25582"/>
                      <a:pt x="15296" y="39911"/>
                      <a:pt x="21492" y="54217"/>
                    </a:cubicBezTo>
                    <a:cubicBezTo>
                      <a:pt x="25288" y="62934"/>
                      <a:pt x="29161" y="81077"/>
                      <a:pt x="36984" y="87199"/>
                    </a:cubicBezTo>
                    <a:cubicBezTo>
                      <a:pt x="50694" y="97935"/>
                      <a:pt x="80709" y="91502"/>
                      <a:pt x="96201" y="88907"/>
                    </a:cubicBezTo>
                    <a:cubicBezTo>
                      <a:pt x="106232" y="87221"/>
                      <a:pt x="114752" y="87554"/>
                      <a:pt x="123776" y="82430"/>
                    </a:cubicBezTo>
                    <a:cubicBezTo>
                      <a:pt x="135240" y="75887"/>
                      <a:pt x="148370" y="66993"/>
                      <a:pt x="158633" y="58831"/>
                    </a:cubicBezTo>
                    <a:cubicBezTo>
                      <a:pt x="178114" y="43304"/>
                      <a:pt x="199570" y="31748"/>
                      <a:pt x="224008" y="24318"/>
                    </a:cubicBezTo>
                    <a:lnTo>
                      <a:pt x="29389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5" name="Freeform 104">
                <a:extLst>
                  <a:ext uri="{FF2B5EF4-FFF2-40B4-BE49-F238E27FC236}">
                    <a16:creationId xmlns:a16="http://schemas.microsoft.com/office/drawing/2014/main" id="{BC7D711A-BD61-5344-979F-F3FCF97E78A5}"/>
                  </a:ext>
                </a:extLst>
              </p:cNvPr>
              <p:cNvSpPr/>
              <p:nvPr/>
            </p:nvSpPr>
            <p:spPr>
              <a:xfrm>
                <a:off x="4604316" y="4431357"/>
                <a:ext cx="22138" cy="11447"/>
              </a:xfrm>
              <a:custGeom>
                <a:avLst/>
                <a:gdLst>
                  <a:gd name="connsiteX0" fmla="*/ 22138 w 22138"/>
                  <a:gd name="connsiteY0" fmla="*/ 0 h 11447"/>
                  <a:gd name="connsiteX1" fmla="*/ 17857 w 22138"/>
                  <a:gd name="connsiteY1" fmla="*/ 4798 h 11447"/>
                  <a:gd name="connsiteX2" fmla="*/ 1125 w 22138"/>
                  <a:gd name="connsiteY2" fmla="*/ 11250 h 11447"/>
                  <a:gd name="connsiteX3" fmla="*/ 0 w 22138"/>
                  <a:gd name="connsiteY3" fmla="*/ 11447 h 11447"/>
                  <a:gd name="connsiteX4" fmla="*/ 22138 w 22138"/>
                  <a:gd name="connsiteY4" fmla="*/ 0 h 114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138" h="11447">
                    <a:moveTo>
                      <a:pt x="22138" y="0"/>
                    </a:moveTo>
                    <a:lnTo>
                      <a:pt x="17857" y="4798"/>
                    </a:lnTo>
                    <a:cubicBezTo>
                      <a:pt x="13060" y="7744"/>
                      <a:pt x="7271" y="9752"/>
                      <a:pt x="1125" y="11250"/>
                    </a:cubicBezTo>
                    <a:lnTo>
                      <a:pt x="0" y="11447"/>
                    </a:lnTo>
                    <a:lnTo>
                      <a:pt x="22138"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6" name="Freeform 105">
                <a:extLst>
                  <a:ext uri="{FF2B5EF4-FFF2-40B4-BE49-F238E27FC236}">
                    <a16:creationId xmlns:a16="http://schemas.microsoft.com/office/drawing/2014/main" id="{11A82C32-F6E7-AB41-9DD6-8F30A396A6D2}"/>
                  </a:ext>
                </a:extLst>
              </p:cNvPr>
              <p:cNvSpPr/>
              <p:nvPr/>
            </p:nvSpPr>
            <p:spPr>
              <a:xfrm>
                <a:off x="4253650" y="4442803"/>
                <a:ext cx="350666" cy="60530"/>
              </a:xfrm>
              <a:custGeom>
                <a:avLst/>
                <a:gdLst>
                  <a:gd name="connsiteX0" fmla="*/ 350666 w 350666"/>
                  <a:gd name="connsiteY0" fmla="*/ 0 h 60530"/>
                  <a:gd name="connsiteX1" fmla="*/ 346335 w 350666"/>
                  <a:gd name="connsiteY1" fmla="*/ 2239 h 60530"/>
                  <a:gd name="connsiteX2" fmla="*/ 313446 w 350666"/>
                  <a:gd name="connsiteY2" fmla="*/ 7832 h 60530"/>
                  <a:gd name="connsiteX3" fmla="*/ 273136 w 350666"/>
                  <a:gd name="connsiteY3" fmla="*/ 18319 h 60530"/>
                  <a:gd name="connsiteX4" fmla="*/ 228613 w 350666"/>
                  <a:gd name="connsiteY4" fmla="*/ 42502 h 60530"/>
                  <a:gd name="connsiteX5" fmla="*/ 144420 w 350666"/>
                  <a:gd name="connsiteY5" fmla="*/ 43659 h 60530"/>
                  <a:gd name="connsiteX6" fmla="*/ 102243 w 350666"/>
                  <a:gd name="connsiteY6" fmla="*/ 60416 h 60530"/>
                  <a:gd name="connsiteX7" fmla="*/ 45484 w 350666"/>
                  <a:gd name="connsiteY7" fmla="*/ 55004 h 60530"/>
                  <a:gd name="connsiteX8" fmla="*/ 15784 w 350666"/>
                  <a:gd name="connsiteY8" fmla="*/ 31157 h 60530"/>
                  <a:gd name="connsiteX9" fmla="*/ 5876 w 350666"/>
                  <a:gd name="connsiteY9" fmla="*/ 29206 h 60530"/>
                  <a:gd name="connsiteX10" fmla="*/ 0 w 350666"/>
                  <a:gd name="connsiteY10" fmla="*/ 32578 h 60530"/>
                  <a:gd name="connsiteX11" fmla="*/ 654 w 350666"/>
                  <a:gd name="connsiteY11" fmla="*/ 31705 h 60530"/>
                  <a:gd name="connsiteX12" fmla="*/ 17934 w 350666"/>
                  <a:gd name="connsiteY12" fmla="*/ 29438 h 60530"/>
                  <a:gd name="connsiteX13" fmla="*/ 47672 w 350666"/>
                  <a:gd name="connsiteY13" fmla="*/ 53249 h 60530"/>
                  <a:gd name="connsiteX14" fmla="*/ 104442 w 350666"/>
                  <a:gd name="connsiteY14" fmla="*/ 58662 h 60530"/>
                  <a:gd name="connsiteX15" fmla="*/ 146623 w 350666"/>
                  <a:gd name="connsiteY15" fmla="*/ 41907 h 60530"/>
                  <a:gd name="connsiteX16" fmla="*/ 230860 w 350666"/>
                  <a:gd name="connsiteY16" fmla="*/ 40779 h 60530"/>
                  <a:gd name="connsiteX17" fmla="*/ 275374 w 350666"/>
                  <a:gd name="connsiteY17" fmla="*/ 16582 h 60530"/>
                  <a:gd name="connsiteX18" fmla="*/ 315719 w 350666"/>
                  <a:gd name="connsiteY18" fmla="*/ 6110 h 60530"/>
                  <a:gd name="connsiteX19" fmla="*/ 350666 w 350666"/>
                  <a:gd name="connsiteY19" fmla="*/ 0 h 60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0666" h="60530">
                    <a:moveTo>
                      <a:pt x="350666" y="0"/>
                    </a:moveTo>
                    <a:lnTo>
                      <a:pt x="346335" y="2239"/>
                    </a:lnTo>
                    <a:cubicBezTo>
                      <a:pt x="334914" y="4697"/>
                      <a:pt x="322657" y="5686"/>
                      <a:pt x="313446" y="7832"/>
                    </a:cubicBezTo>
                    <a:cubicBezTo>
                      <a:pt x="300356" y="10892"/>
                      <a:pt x="285666" y="13878"/>
                      <a:pt x="273136" y="18319"/>
                    </a:cubicBezTo>
                    <a:cubicBezTo>
                      <a:pt x="256660" y="24103"/>
                      <a:pt x="244236" y="36382"/>
                      <a:pt x="228613" y="42502"/>
                    </a:cubicBezTo>
                    <a:cubicBezTo>
                      <a:pt x="194968" y="55713"/>
                      <a:pt x="176012" y="22498"/>
                      <a:pt x="144420" y="43659"/>
                    </a:cubicBezTo>
                    <a:cubicBezTo>
                      <a:pt x="129490" y="53661"/>
                      <a:pt x="121332" y="60229"/>
                      <a:pt x="102243" y="60416"/>
                    </a:cubicBezTo>
                    <a:cubicBezTo>
                      <a:pt x="83235" y="60565"/>
                      <a:pt x="63453" y="61386"/>
                      <a:pt x="45484" y="55004"/>
                    </a:cubicBezTo>
                    <a:cubicBezTo>
                      <a:pt x="30661" y="49742"/>
                      <a:pt x="27648" y="37277"/>
                      <a:pt x="15784" y="31157"/>
                    </a:cubicBezTo>
                    <a:cubicBezTo>
                      <a:pt x="11925" y="29170"/>
                      <a:pt x="8689" y="28673"/>
                      <a:pt x="5876" y="29206"/>
                    </a:cubicBezTo>
                    <a:lnTo>
                      <a:pt x="0" y="32578"/>
                    </a:lnTo>
                    <a:lnTo>
                      <a:pt x="654" y="31705"/>
                    </a:lnTo>
                    <a:cubicBezTo>
                      <a:pt x="4994" y="27440"/>
                      <a:pt x="10220" y="25459"/>
                      <a:pt x="17934" y="29438"/>
                    </a:cubicBezTo>
                    <a:cubicBezTo>
                      <a:pt x="29817" y="35560"/>
                      <a:pt x="32834" y="47997"/>
                      <a:pt x="47672" y="53249"/>
                    </a:cubicBezTo>
                    <a:cubicBezTo>
                      <a:pt x="65621" y="59628"/>
                      <a:pt x="85405" y="58823"/>
                      <a:pt x="104442" y="58662"/>
                    </a:cubicBezTo>
                    <a:cubicBezTo>
                      <a:pt x="123510" y="58501"/>
                      <a:pt x="131691" y="51895"/>
                      <a:pt x="146623" y="41907"/>
                    </a:cubicBezTo>
                    <a:cubicBezTo>
                      <a:pt x="178227" y="20770"/>
                      <a:pt x="197202" y="53990"/>
                      <a:pt x="230860" y="40779"/>
                    </a:cubicBezTo>
                    <a:cubicBezTo>
                      <a:pt x="246476" y="34657"/>
                      <a:pt x="258887" y="22381"/>
                      <a:pt x="275374" y="16582"/>
                    </a:cubicBezTo>
                    <a:cubicBezTo>
                      <a:pt x="287910" y="12167"/>
                      <a:pt x="302623" y="9139"/>
                      <a:pt x="315719" y="6110"/>
                    </a:cubicBezTo>
                    <a:lnTo>
                      <a:pt x="350666"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7" name="Freeform 106">
                <a:extLst>
                  <a:ext uri="{FF2B5EF4-FFF2-40B4-BE49-F238E27FC236}">
                    <a16:creationId xmlns:a16="http://schemas.microsoft.com/office/drawing/2014/main" id="{07BEE55E-3E01-EB41-B0BB-70C5E73F0C29}"/>
                  </a:ext>
                </a:extLst>
              </p:cNvPr>
              <p:cNvSpPr/>
              <p:nvPr/>
            </p:nvSpPr>
            <p:spPr>
              <a:xfrm>
                <a:off x="4240208" y="4475382"/>
                <a:ext cx="13442" cy="16801"/>
              </a:xfrm>
              <a:custGeom>
                <a:avLst/>
                <a:gdLst>
                  <a:gd name="connsiteX0" fmla="*/ 13442 w 13442"/>
                  <a:gd name="connsiteY0" fmla="*/ 0 h 16801"/>
                  <a:gd name="connsiteX1" fmla="*/ 2136 w 13442"/>
                  <a:gd name="connsiteY1" fmla="*/ 15096 h 16801"/>
                  <a:gd name="connsiteX2" fmla="*/ 0 w 13442"/>
                  <a:gd name="connsiteY2" fmla="*/ 16801 h 16801"/>
                  <a:gd name="connsiteX3" fmla="*/ 11944 w 13442"/>
                  <a:gd name="connsiteY3" fmla="*/ 860 h 16801"/>
                  <a:gd name="connsiteX4" fmla="*/ 13442 w 13442"/>
                  <a:gd name="connsiteY4" fmla="*/ 0 h 168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42" h="16801">
                    <a:moveTo>
                      <a:pt x="13442" y="0"/>
                    </a:moveTo>
                    <a:lnTo>
                      <a:pt x="2136" y="15096"/>
                    </a:lnTo>
                    <a:lnTo>
                      <a:pt x="0" y="16801"/>
                    </a:lnTo>
                    <a:lnTo>
                      <a:pt x="11944" y="860"/>
                    </a:lnTo>
                    <a:lnTo>
                      <a:pt x="1344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8" name="Freeform 107">
                <a:extLst>
                  <a:ext uri="{FF2B5EF4-FFF2-40B4-BE49-F238E27FC236}">
                    <a16:creationId xmlns:a16="http://schemas.microsoft.com/office/drawing/2014/main" id="{7DC48ED6-0C5B-D04F-B4FD-8484A850521C}"/>
                  </a:ext>
                </a:extLst>
              </p:cNvPr>
              <p:cNvSpPr/>
              <p:nvPr/>
            </p:nvSpPr>
            <p:spPr>
              <a:xfrm>
                <a:off x="4228286" y="4492183"/>
                <a:ext cx="11922" cy="9563"/>
              </a:xfrm>
              <a:custGeom>
                <a:avLst/>
                <a:gdLst>
                  <a:gd name="connsiteX0" fmla="*/ 11922 w 11922"/>
                  <a:gd name="connsiteY0" fmla="*/ 0 h 9563"/>
                  <a:gd name="connsiteX1" fmla="*/ 11902 w 11922"/>
                  <a:gd name="connsiteY1" fmla="*/ 27 h 9563"/>
                  <a:gd name="connsiteX2" fmla="*/ 0 w 11922"/>
                  <a:gd name="connsiteY2" fmla="*/ 9563 h 9563"/>
                  <a:gd name="connsiteX3" fmla="*/ 456 w 11922"/>
                  <a:gd name="connsiteY3" fmla="*/ 9154 h 9563"/>
                  <a:gd name="connsiteX4" fmla="*/ 11922 w 11922"/>
                  <a:gd name="connsiteY4" fmla="*/ 0 h 9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22" h="9563">
                    <a:moveTo>
                      <a:pt x="11922" y="0"/>
                    </a:moveTo>
                    <a:lnTo>
                      <a:pt x="11902" y="27"/>
                    </a:lnTo>
                    <a:lnTo>
                      <a:pt x="0" y="9563"/>
                    </a:lnTo>
                    <a:lnTo>
                      <a:pt x="456" y="9154"/>
                    </a:lnTo>
                    <a:lnTo>
                      <a:pt x="1192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09" name="Freeform 108">
                <a:extLst>
                  <a:ext uri="{FF2B5EF4-FFF2-40B4-BE49-F238E27FC236}">
                    <a16:creationId xmlns:a16="http://schemas.microsoft.com/office/drawing/2014/main" id="{458A9802-D5D8-C94C-B0F6-2B9058D4E4A1}"/>
                  </a:ext>
                </a:extLst>
              </p:cNvPr>
              <p:cNvSpPr/>
              <p:nvPr/>
            </p:nvSpPr>
            <p:spPr>
              <a:xfrm>
                <a:off x="4150156" y="4501745"/>
                <a:ext cx="78130" cy="108948"/>
              </a:xfrm>
              <a:custGeom>
                <a:avLst/>
                <a:gdLst>
                  <a:gd name="connsiteX0" fmla="*/ 78130 w 78130"/>
                  <a:gd name="connsiteY0" fmla="*/ 0 h 108948"/>
                  <a:gd name="connsiteX1" fmla="*/ 65498 w 78130"/>
                  <a:gd name="connsiteY1" fmla="*/ 11319 h 108948"/>
                  <a:gd name="connsiteX2" fmla="*/ 49665 w 78130"/>
                  <a:gd name="connsiteY2" fmla="*/ 50822 h 108948"/>
                  <a:gd name="connsiteX3" fmla="*/ 11248 w 78130"/>
                  <a:gd name="connsiteY3" fmla="*/ 94255 h 108948"/>
                  <a:gd name="connsiteX4" fmla="*/ 157 w 78130"/>
                  <a:gd name="connsiteY4" fmla="*/ 108948 h 108948"/>
                  <a:gd name="connsiteX5" fmla="*/ 0 w 78130"/>
                  <a:gd name="connsiteY5" fmla="*/ 108582 h 108948"/>
                  <a:gd name="connsiteX6" fmla="*/ 9145 w 78130"/>
                  <a:gd name="connsiteY6" fmla="*/ 96005 h 108948"/>
                  <a:gd name="connsiteX7" fmla="*/ 47562 w 78130"/>
                  <a:gd name="connsiteY7" fmla="*/ 52565 h 108948"/>
                  <a:gd name="connsiteX8" fmla="*/ 63372 w 78130"/>
                  <a:gd name="connsiteY8" fmla="*/ 13080 h 108948"/>
                  <a:gd name="connsiteX9" fmla="*/ 76442 w 78130"/>
                  <a:gd name="connsiteY9" fmla="*/ 1352 h 108948"/>
                  <a:gd name="connsiteX10" fmla="*/ 78130 w 78130"/>
                  <a:gd name="connsiteY10" fmla="*/ 0 h 10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130" h="108948">
                    <a:moveTo>
                      <a:pt x="78130" y="0"/>
                    </a:moveTo>
                    <a:lnTo>
                      <a:pt x="65498" y="11319"/>
                    </a:lnTo>
                    <a:cubicBezTo>
                      <a:pt x="57939" y="22854"/>
                      <a:pt x="58654" y="38771"/>
                      <a:pt x="49665" y="50822"/>
                    </a:cubicBezTo>
                    <a:cubicBezTo>
                      <a:pt x="38155" y="66320"/>
                      <a:pt x="22633" y="78306"/>
                      <a:pt x="11248" y="94255"/>
                    </a:cubicBezTo>
                    <a:lnTo>
                      <a:pt x="157" y="108948"/>
                    </a:lnTo>
                    <a:lnTo>
                      <a:pt x="0" y="108582"/>
                    </a:lnTo>
                    <a:cubicBezTo>
                      <a:pt x="3226" y="104440"/>
                      <a:pt x="6212" y="100073"/>
                      <a:pt x="9145" y="96005"/>
                    </a:cubicBezTo>
                    <a:cubicBezTo>
                      <a:pt x="20529" y="80070"/>
                      <a:pt x="36045" y="68053"/>
                      <a:pt x="47562" y="52565"/>
                    </a:cubicBezTo>
                    <a:cubicBezTo>
                      <a:pt x="56520" y="40511"/>
                      <a:pt x="55827" y="24575"/>
                      <a:pt x="63372" y="13080"/>
                    </a:cubicBezTo>
                    <a:cubicBezTo>
                      <a:pt x="66758" y="7912"/>
                      <a:pt x="71556" y="4562"/>
                      <a:pt x="76442" y="1352"/>
                    </a:cubicBezTo>
                    <a:lnTo>
                      <a:pt x="7813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0" name="Freeform 109">
                <a:extLst>
                  <a:ext uri="{FF2B5EF4-FFF2-40B4-BE49-F238E27FC236}">
                    <a16:creationId xmlns:a16="http://schemas.microsoft.com/office/drawing/2014/main" id="{A6270907-C8D4-FD4D-86B4-6ED393CAD2C2}"/>
                  </a:ext>
                </a:extLst>
              </p:cNvPr>
              <p:cNvSpPr/>
              <p:nvPr/>
            </p:nvSpPr>
            <p:spPr>
              <a:xfrm>
                <a:off x="3147579" y="4516252"/>
                <a:ext cx="169083" cy="46893"/>
              </a:xfrm>
              <a:custGeom>
                <a:avLst/>
                <a:gdLst>
                  <a:gd name="connsiteX0" fmla="*/ 0 w 169083"/>
                  <a:gd name="connsiteY0" fmla="*/ 0 h 46893"/>
                  <a:gd name="connsiteX1" fmla="*/ 35151 w 169083"/>
                  <a:gd name="connsiteY1" fmla="*/ 16094 h 46893"/>
                  <a:gd name="connsiteX2" fmla="*/ 168744 w 169083"/>
                  <a:gd name="connsiteY2" fmla="*/ 46573 h 46893"/>
                  <a:gd name="connsiteX3" fmla="*/ 169083 w 169083"/>
                  <a:gd name="connsiteY3" fmla="*/ 46893 h 46893"/>
                  <a:gd name="connsiteX4" fmla="*/ 140005 w 169083"/>
                  <a:gd name="connsiteY4" fmla="*/ 35305 h 46893"/>
                  <a:gd name="connsiteX5" fmla="*/ 38258 w 169083"/>
                  <a:gd name="connsiteY5" fmla="*/ 17577 h 46893"/>
                  <a:gd name="connsiteX6" fmla="*/ 478 w 169083"/>
                  <a:gd name="connsiteY6" fmla="*/ 304 h 46893"/>
                  <a:gd name="connsiteX7" fmla="*/ 0 w 169083"/>
                  <a:gd name="connsiteY7" fmla="*/ 0 h 46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083" h="46893">
                    <a:moveTo>
                      <a:pt x="0" y="0"/>
                    </a:moveTo>
                    <a:lnTo>
                      <a:pt x="35151" y="16094"/>
                    </a:lnTo>
                    <a:cubicBezTo>
                      <a:pt x="79811" y="28784"/>
                      <a:pt x="127661" y="23408"/>
                      <a:pt x="168744" y="46573"/>
                    </a:cubicBezTo>
                    <a:lnTo>
                      <a:pt x="169083" y="46893"/>
                    </a:lnTo>
                    <a:lnTo>
                      <a:pt x="140005" y="35305"/>
                    </a:lnTo>
                    <a:cubicBezTo>
                      <a:pt x="107098" y="26464"/>
                      <a:pt x="71764" y="27101"/>
                      <a:pt x="38258" y="17577"/>
                    </a:cubicBezTo>
                    <a:cubicBezTo>
                      <a:pt x="23718" y="13469"/>
                      <a:pt x="11820" y="7273"/>
                      <a:pt x="478" y="304"/>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1" name="Freeform 110">
                <a:extLst>
                  <a:ext uri="{FF2B5EF4-FFF2-40B4-BE49-F238E27FC236}">
                    <a16:creationId xmlns:a16="http://schemas.microsoft.com/office/drawing/2014/main" id="{A3E2894F-43F8-C249-8741-BA24B2C7176B}"/>
                  </a:ext>
                </a:extLst>
              </p:cNvPr>
              <p:cNvSpPr/>
              <p:nvPr/>
            </p:nvSpPr>
            <p:spPr>
              <a:xfrm>
                <a:off x="3438697" y="4531160"/>
                <a:ext cx="24331" cy="4973"/>
              </a:xfrm>
              <a:custGeom>
                <a:avLst/>
                <a:gdLst>
                  <a:gd name="connsiteX0" fmla="*/ 24331 w 24331"/>
                  <a:gd name="connsiteY0" fmla="*/ 0 h 4973"/>
                  <a:gd name="connsiteX1" fmla="*/ 24269 w 24331"/>
                  <a:gd name="connsiteY1" fmla="*/ 89 h 4973"/>
                  <a:gd name="connsiteX2" fmla="*/ 0 w 24331"/>
                  <a:gd name="connsiteY2" fmla="*/ 4973 h 4973"/>
                  <a:gd name="connsiteX3" fmla="*/ 103 w 24331"/>
                  <a:gd name="connsiteY3" fmla="*/ 4890 h 4973"/>
                  <a:gd name="connsiteX4" fmla="*/ 24331 w 24331"/>
                  <a:gd name="connsiteY4" fmla="*/ 0 h 49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31" h="4973">
                    <a:moveTo>
                      <a:pt x="24331" y="0"/>
                    </a:moveTo>
                    <a:lnTo>
                      <a:pt x="24269" y="89"/>
                    </a:lnTo>
                    <a:lnTo>
                      <a:pt x="0" y="4973"/>
                    </a:lnTo>
                    <a:lnTo>
                      <a:pt x="103" y="4890"/>
                    </a:lnTo>
                    <a:lnTo>
                      <a:pt x="24331"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2" name="Freeform 111">
                <a:extLst>
                  <a:ext uri="{FF2B5EF4-FFF2-40B4-BE49-F238E27FC236}">
                    <a16:creationId xmlns:a16="http://schemas.microsoft.com/office/drawing/2014/main" id="{177EA97B-B374-EC4E-8E7E-1B3441247252}"/>
                  </a:ext>
                </a:extLst>
              </p:cNvPr>
              <p:cNvSpPr/>
              <p:nvPr/>
            </p:nvSpPr>
            <p:spPr>
              <a:xfrm>
                <a:off x="3432511" y="4536132"/>
                <a:ext cx="173636" cy="39570"/>
              </a:xfrm>
              <a:custGeom>
                <a:avLst/>
                <a:gdLst>
                  <a:gd name="connsiteX0" fmla="*/ 6185 w 173636"/>
                  <a:gd name="connsiteY0" fmla="*/ 0 h 39570"/>
                  <a:gd name="connsiteX1" fmla="*/ 590 w 173636"/>
                  <a:gd name="connsiteY1" fmla="*/ 4527 h 39570"/>
                  <a:gd name="connsiteX2" fmla="*/ 4629 w 173636"/>
                  <a:gd name="connsiteY2" fmla="*/ 16815 h 39570"/>
                  <a:gd name="connsiteX3" fmla="*/ 10572 w 173636"/>
                  <a:gd name="connsiteY3" fmla="*/ 32002 h 39570"/>
                  <a:gd name="connsiteX4" fmla="*/ 159212 w 173636"/>
                  <a:gd name="connsiteY4" fmla="*/ 36277 h 39570"/>
                  <a:gd name="connsiteX5" fmla="*/ 173636 w 173636"/>
                  <a:gd name="connsiteY5" fmla="*/ 31664 h 39570"/>
                  <a:gd name="connsiteX6" fmla="*/ 173310 w 173636"/>
                  <a:gd name="connsiteY6" fmla="*/ 32072 h 39570"/>
                  <a:gd name="connsiteX7" fmla="*/ 10077 w 173636"/>
                  <a:gd name="connsiteY7" fmla="*/ 32494 h 39570"/>
                  <a:gd name="connsiteX8" fmla="*/ 11147 w 173636"/>
                  <a:gd name="connsiteY8" fmla="*/ 39023 h 39570"/>
                  <a:gd name="connsiteX9" fmla="*/ 4148 w 173636"/>
                  <a:gd name="connsiteY9" fmla="*/ 16981 h 39570"/>
                  <a:gd name="connsiteX10" fmla="*/ 5804 w 173636"/>
                  <a:gd name="connsiteY10" fmla="*/ 77 h 39570"/>
                  <a:gd name="connsiteX11" fmla="*/ 6185 w 173636"/>
                  <a:gd name="connsiteY11" fmla="*/ 0 h 39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636" h="39570">
                    <a:moveTo>
                      <a:pt x="6185" y="0"/>
                    </a:moveTo>
                    <a:lnTo>
                      <a:pt x="590" y="4527"/>
                    </a:lnTo>
                    <a:cubicBezTo>
                      <a:pt x="92" y="7082"/>
                      <a:pt x="1216" y="10917"/>
                      <a:pt x="4629" y="16815"/>
                    </a:cubicBezTo>
                    <a:cubicBezTo>
                      <a:pt x="7445" y="21650"/>
                      <a:pt x="9378" y="26712"/>
                      <a:pt x="10572" y="32002"/>
                    </a:cubicBezTo>
                    <a:cubicBezTo>
                      <a:pt x="47570" y="35896"/>
                      <a:pt x="122828" y="43112"/>
                      <a:pt x="159212" y="36277"/>
                    </a:cubicBezTo>
                    <a:lnTo>
                      <a:pt x="173636" y="31664"/>
                    </a:lnTo>
                    <a:lnTo>
                      <a:pt x="173310" y="32072"/>
                    </a:lnTo>
                    <a:cubicBezTo>
                      <a:pt x="148476" y="46074"/>
                      <a:pt x="53230" y="37012"/>
                      <a:pt x="10077" y="32494"/>
                    </a:cubicBezTo>
                    <a:lnTo>
                      <a:pt x="11147" y="39023"/>
                    </a:lnTo>
                    <a:lnTo>
                      <a:pt x="4148" y="16981"/>
                    </a:lnTo>
                    <a:cubicBezTo>
                      <a:pt x="-2668" y="5183"/>
                      <a:pt x="-348" y="1635"/>
                      <a:pt x="5804" y="77"/>
                    </a:cubicBezTo>
                    <a:lnTo>
                      <a:pt x="6185"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3" name="Freeform 112">
                <a:extLst>
                  <a:ext uri="{FF2B5EF4-FFF2-40B4-BE49-F238E27FC236}">
                    <a16:creationId xmlns:a16="http://schemas.microsoft.com/office/drawing/2014/main" id="{C18ADBDF-0F1C-1445-806E-0FC90BC856DB}"/>
                  </a:ext>
                </a:extLst>
              </p:cNvPr>
              <p:cNvSpPr/>
              <p:nvPr/>
            </p:nvSpPr>
            <p:spPr>
              <a:xfrm>
                <a:off x="3443659" y="4575155"/>
                <a:ext cx="127" cy="436"/>
              </a:xfrm>
              <a:custGeom>
                <a:avLst/>
                <a:gdLst>
                  <a:gd name="connsiteX0" fmla="*/ 0 w 127"/>
                  <a:gd name="connsiteY0" fmla="*/ 0 h 436"/>
                  <a:gd name="connsiteX1" fmla="*/ 127 w 127"/>
                  <a:gd name="connsiteY1" fmla="*/ 401 h 436"/>
                  <a:gd name="connsiteX2" fmla="*/ 71 w 127"/>
                  <a:gd name="connsiteY2" fmla="*/ 436 h 436"/>
                  <a:gd name="connsiteX3" fmla="*/ 0 w 127"/>
                  <a:gd name="connsiteY3" fmla="*/ 0 h 436"/>
                </a:gdLst>
                <a:ahLst/>
                <a:cxnLst>
                  <a:cxn ang="0">
                    <a:pos x="connsiteX0" y="connsiteY0"/>
                  </a:cxn>
                  <a:cxn ang="0">
                    <a:pos x="connsiteX1" y="connsiteY1"/>
                  </a:cxn>
                  <a:cxn ang="0">
                    <a:pos x="connsiteX2" y="connsiteY2"/>
                  </a:cxn>
                  <a:cxn ang="0">
                    <a:pos x="connsiteX3" y="connsiteY3"/>
                  </a:cxn>
                </a:cxnLst>
                <a:rect l="l" t="t" r="r" b="b"/>
                <a:pathLst>
                  <a:path w="127" h="436">
                    <a:moveTo>
                      <a:pt x="0" y="0"/>
                    </a:moveTo>
                    <a:lnTo>
                      <a:pt x="127" y="401"/>
                    </a:lnTo>
                    <a:lnTo>
                      <a:pt x="71" y="436"/>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4" name="Freeform 113">
                <a:extLst>
                  <a:ext uri="{FF2B5EF4-FFF2-40B4-BE49-F238E27FC236}">
                    <a16:creationId xmlns:a16="http://schemas.microsoft.com/office/drawing/2014/main" id="{ACDC65DF-2395-B44D-82FC-60A16A4B2012}"/>
                  </a:ext>
                </a:extLst>
              </p:cNvPr>
              <p:cNvSpPr/>
              <p:nvPr/>
            </p:nvSpPr>
            <p:spPr>
              <a:xfrm>
                <a:off x="3568528" y="4584014"/>
                <a:ext cx="228291" cy="96392"/>
              </a:xfrm>
              <a:custGeom>
                <a:avLst/>
                <a:gdLst>
                  <a:gd name="connsiteX0" fmla="*/ 197629 w 228291"/>
                  <a:gd name="connsiteY0" fmla="*/ 1156 h 96392"/>
                  <a:gd name="connsiteX1" fmla="*/ 228291 w 228291"/>
                  <a:gd name="connsiteY1" fmla="*/ 2754 h 96392"/>
                  <a:gd name="connsiteX2" fmla="*/ 228269 w 228291"/>
                  <a:gd name="connsiteY2" fmla="*/ 3117 h 96392"/>
                  <a:gd name="connsiteX3" fmla="*/ 199970 w 228291"/>
                  <a:gd name="connsiteY3" fmla="*/ 1648 h 96392"/>
                  <a:gd name="connsiteX4" fmla="*/ 173128 w 228291"/>
                  <a:gd name="connsiteY4" fmla="*/ 14248 h 96392"/>
                  <a:gd name="connsiteX5" fmla="*/ 128613 w 228291"/>
                  <a:gd name="connsiteY5" fmla="*/ 83322 h 96392"/>
                  <a:gd name="connsiteX6" fmla="*/ 49356 w 228291"/>
                  <a:gd name="connsiteY6" fmla="*/ 90578 h 96392"/>
                  <a:gd name="connsiteX7" fmla="*/ 235 w 228291"/>
                  <a:gd name="connsiteY7" fmla="*/ 86711 h 96392"/>
                  <a:gd name="connsiteX8" fmla="*/ 0 w 228291"/>
                  <a:gd name="connsiteY8" fmla="*/ 86365 h 96392"/>
                  <a:gd name="connsiteX9" fmla="*/ 47045 w 228291"/>
                  <a:gd name="connsiteY9" fmla="*/ 90070 h 96392"/>
                  <a:gd name="connsiteX10" fmla="*/ 126322 w 228291"/>
                  <a:gd name="connsiteY10" fmla="*/ 82805 h 96392"/>
                  <a:gd name="connsiteX11" fmla="*/ 170820 w 228291"/>
                  <a:gd name="connsiteY11" fmla="*/ 13748 h 96392"/>
                  <a:gd name="connsiteX12" fmla="*/ 197629 w 228291"/>
                  <a:gd name="connsiteY12" fmla="*/ 1156 h 96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8291" h="96392">
                    <a:moveTo>
                      <a:pt x="197629" y="1156"/>
                    </a:moveTo>
                    <a:cubicBezTo>
                      <a:pt x="208592" y="-767"/>
                      <a:pt x="220197" y="-325"/>
                      <a:pt x="228291" y="2754"/>
                    </a:cubicBezTo>
                    <a:lnTo>
                      <a:pt x="228269" y="3117"/>
                    </a:lnTo>
                    <a:lnTo>
                      <a:pt x="199970" y="1648"/>
                    </a:lnTo>
                    <a:cubicBezTo>
                      <a:pt x="189002" y="3570"/>
                      <a:pt x="178672" y="7857"/>
                      <a:pt x="173128" y="14248"/>
                    </a:cubicBezTo>
                    <a:cubicBezTo>
                      <a:pt x="155328" y="34741"/>
                      <a:pt x="148847" y="63944"/>
                      <a:pt x="128613" y="83322"/>
                    </a:cubicBezTo>
                    <a:cubicBezTo>
                      <a:pt x="106339" y="104679"/>
                      <a:pt x="77058" y="94308"/>
                      <a:pt x="49356" y="90578"/>
                    </a:cubicBezTo>
                    <a:cubicBezTo>
                      <a:pt x="32905" y="88371"/>
                      <a:pt x="16685" y="87257"/>
                      <a:pt x="235" y="86711"/>
                    </a:cubicBezTo>
                    <a:lnTo>
                      <a:pt x="0" y="86365"/>
                    </a:lnTo>
                    <a:lnTo>
                      <a:pt x="47045" y="90070"/>
                    </a:lnTo>
                    <a:cubicBezTo>
                      <a:pt x="74764" y="93780"/>
                      <a:pt x="104036" y="104153"/>
                      <a:pt x="126322" y="82805"/>
                    </a:cubicBezTo>
                    <a:cubicBezTo>
                      <a:pt x="146501" y="63438"/>
                      <a:pt x="153006" y="34242"/>
                      <a:pt x="170820" y="13748"/>
                    </a:cubicBezTo>
                    <a:cubicBezTo>
                      <a:pt x="176346" y="7367"/>
                      <a:pt x="186666" y="3079"/>
                      <a:pt x="197629" y="1156"/>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5" name="Freeform 114">
                <a:extLst>
                  <a:ext uri="{FF2B5EF4-FFF2-40B4-BE49-F238E27FC236}">
                    <a16:creationId xmlns:a16="http://schemas.microsoft.com/office/drawing/2014/main" id="{92617C17-1F8E-694A-9B63-02B72C549B25}"/>
                  </a:ext>
                </a:extLst>
              </p:cNvPr>
              <p:cNvSpPr/>
              <p:nvPr/>
            </p:nvSpPr>
            <p:spPr>
              <a:xfrm>
                <a:off x="3782192" y="4587132"/>
                <a:ext cx="17418" cy="46423"/>
              </a:xfrm>
              <a:custGeom>
                <a:avLst/>
                <a:gdLst>
                  <a:gd name="connsiteX0" fmla="*/ 14604 w 17418"/>
                  <a:gd name="connsiteY0" fmla="*/ 0 h 46423"/>
                  <a:gd name="connsiteX1" fmla="*/ 16973 w 17418"/>
                  <a:gd name="connsiteY1" fmla="*/ 123 h 46423"/>
                  <a:gd name="connsiteX2" fmla="*/ 15723 w 17418"/>
                  <a:gd name="connsiteY2" fmla="*/ 20320 h 46423"/>
                  <a:gd name="connsiteX3" fmla="*/ 3582 w 17418"/>
                  <a:gd name="connsiteY3" fmla="*/ 35285 h 46423"/>
                  <a:gd name="connsiteX4" fmla="*/ 7183 w 17418"/>
                  <a:gd name="connsiteY4" fmla="*/ 46423 h 46423"/>
                  <a:gd name="connsiteX5" fmla="*/ 4943 w 17418"/>
                  <a:gd name="connsiteY5" fmla="*/ 46216 h 46423"/>
                  <a:gd name="connsiteX6" fmla="*/ 1247 w 17418"/>
                  <a:gd name="connsiteY6" fmla="*/ 34777 h 46423"/>
                  <a:gd name="connsiteX7" fmla="*/ 13370 w 17418"/>
                  <a:gd name="connsiteY7" fmla="*/ 19819 h 46423"/>
                  <a:gd name="connsiteX8" fmla="*/ 14604 w 17418"/>
                  <a:gd name="connsiteY8" fmla="*/ 0 h 46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418" h="46423">
                    <a:moveTo>
                      <a:pt x="14604" y="0"/>
                    </a:moveTo>
                    <a:lnTo>
                      <a:pt x="16973" y="123"/>
                    </a:lnTo>
                    <a:cubicBezTo>
                      <a:pt x="17401" y="6832"/>
                      <a:pt x="18124" y="14201"/>
                      <a:pt x="15723" y="20320"/>
                    </a:cubicBezTo>
                    <a:cubicBezTo>
                      <a:pt x="13551" y="25801"/>
                      <a:pt x="5293" y="30441"/>
                      <a:pt x="3582" y="35285"/>
                    </a:cubicBezTo>
                    <a:lnTo>
                      <a:pt x="7183" y="46423"/>
                    </a:lnTo>
                    <a:lnTo>
                      <a:pt x="4943" y="46216"/>
                    </a:lnTo>
                    <a:cubicBezTo>
                      <a:pt x="554" y="45160"/>
                      <a:pt x="-1506" y="42470"/>
                      <a:pt x="1247" y="34777"/>
                    </a:cubicBezTo>
                    <a:cubicBezTo>
                      <a:pt x="2984" y="29940"/>
                      <a:pt x="11189" y="25297"/>
                      <a:pt x="13370" y="19819"/>
                    </a:cubicBezTo>
                    <a:lnTo>
                      <a:pt x="1460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6" name="Freeform 115">
                <a:extLst>
                  <a:ext uri="{FF2B5EF4-FFF2-40B4-BE49-F238E27FC236}">
                    <a16:creationId xmlns:a16="http://schemas.microsoft.com/office/drawing/2014/main" id="{1BE09831-9F4B-C948-884A-E96E8C01C08B}"/>
                  </a:ext>
                </a:extLst>
              </p:cNvPr>
              <p:cNvSpPr/>
              <p:nvPr/>
            </p:nvSpPr>
            <p:spPr>
              <a:xfrm>
                <a:off x="4149995" y="4610408"/>
                <a:ext cx="25186" cy="261646"/>
              </a:xfrm>
              <a:custGeom>
                <a:avLst/>
                <a:gdLst>
                  <a:gd name="connsiteX0" fmla="*/ 705 w 25186"/>
                  <a:gd name="connsiteY0" fmla="*/ 0 h 261646"/>
                  <a:gd name="connsiteX1" fmla="*/ 8318 w 25186"/>
                  <a:gd name="connsiteY1" fmla="*/ 53420 h 261646"/>
                  <a:gd name="connsiteX2" fmla="*/ 5140 w 25186"/>
                  <a:gd name="connsiteY2" fmla="*/ 72476 h 261646"/>
                  <a:gd name="connsiteX3" fmla="*/ 15821 w 25186"/>
                  <a:gd name="connsiteY3" fmla="*/ 89958 h 261646"/>
                  <a:gd name="connsiteX4" fmla="*/ 2109 w 25186"/>
                  <a:gd name="connsiteY4" fmla="*/ 120650 h 261646"/>
                  <a:gd name="connsiteX5" fmla="*/ 15562 w 25186"/>
                  <a:gd name="connsiteY5" fmla="*/ 158510 h 261646"/>
                  <a:gd name="connsiteX6" fmla="*/ 11756 w 25186"/>
                  <a:gd name="connsiteY6" fmla="*/ 205383 h 261646"/>
                  <a:gd name="connsiteX7" fmla="*/ 557 w 25186"/>
                  <a:gd name="connsiteY7" fmla="*/ 238931 h 261646"/>
                  <a:gd name="connsiteX8" fmla="*/ 23435 w 25186"/>
                  <a:gd name="connsiteY8" fmla="*/ 259696 h 261646"/>
                  <a:gd name="connsiteX9" fmla="*/ 25186 w 25186"/>
                  <a:gd name="connsiteY9" fmla="*/ 261646 h 261646"/>
                  <a:gd name="connsiteX10" fmla="*/ 22902 w 25186"/>
                  <a:gd name="connsiteY10" fmla="*/ 259593 h 261646"/>
                  <a:gd name="connsiteX11" fmla="*/ 1 w 25186"/>
                  <a:gd name="connsiteY11" fmla="*/ 238843 h 261646"/>
                  <a:gd name="connsiteX12" fmla="*/ 11199 w 25186"/>
                  <a:gd name="connsiteY12" fmla="*/ 205292 h 261646"/>
                  <a:gd name="connsiteX13" fmla="*/ 15038 w 25186"/>
                  <a:gd name="connsiteY13" fmla="*/ 158418 h 261646"/>
                  <a:gd name="connsiteX14" fmla="*/ 1548 w 25186"/>
                  <a:gd name="connsiteY14" fmla="*/ 120575 h 261646"/>
                  <a:gd name="connsiteX15" fmla="*/ 15251 w 25186"/>
                  <a:gd name="connsiteY15" fmla="*/ 89861 h 261646"/>
                  <a:gd name="connsiteX16" fmla="*/ 4613 w 25186"/>
                  <a:gd name="connsiteY16" fmla="*/ 72395 h 261646"/>
                  <a:gd name="connsiteX17" fmla="*/ 7786 w 25186"/>
                  <a:gd name="connsiteY17" fmla="*/ 53324 h 261646"/>
                  <a:gd name="connsiteX18" fmla="*/ 11022 w 25186"/>
                  <a:gd name="connsiteY18" fmla="*/ 25264 h 261646"/>
                  <a:gd name="connsiteX19" fmla="*/ 330 w 25186"/>
                  <a:gd name="connsiteY19" fmla="*/ 313 h 261646"/>
                  <a:gd name="connsiteX20" fmla="*/ 705 w 25186"/>
                  <a:gd name="connsiteY20" fmla="*/ 0 h 261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86" h="261646">
                    <a:moveTo>
                      <a:pt x="705" y="0"/>
                    </a:moveTo>
                    <a:cubicBezTo>
                      <a:pt x="12938" y="16589"/>
                      <a:pt x="14897" y="33237"/>
                      <a:pt x="8318" y="53420"/>
                    </a:cubicBezTo>
                    <a:cubicBezTo>
                      <a:pt x="6323" y="59655"/>
                      <a:pt x="3736" y="65172"/>
                      <a:pt x="5140" y="72476"/>
                    </a:cubicBezTo>
                    <a:cubicBezTo>
                      <a:pt x="6507" y="79313"/>
                      <a:pt x="14528" y="84694"/>
                      <a:pt x="15821" y="89958"/>
                    </a:cubicBezTo>
                    <a:cubicBezTo>
                      <a:pt x="19073" y="103362"/>
                      <a:pt x="4844" y="109733"/>
                      <a:pt x="2109" y="120650"/>
                    </a:cubicBezTo>
                    <a:cubicBezTo>
                      <a:pt x="-1439" y="134831"/>
                      <a:pt x="10684" y="146000"/>
                      <a:pt x="15562" y="158510"/>
                    </a:cubicBezTo>
                    <a:cubicBezTo>
                      <a:pt x="22289" y="175721"/>
                      <a:pt x="18482" y="189008"/>
                      <a:pt x="11756" y="205383"/>
                    </a:cubicBezTo>
                    <a:cubicBezTo>
                      <a:pt x="7468" y="215776"/>
                      <a:pt x="520" y="227237"/>
                      <a:pt x="557" y="238931"/>
                    </a:cubicBezTo>
                    <a:cubicBezTo>
                      <a:pt x="557" y="256588"/>
                      <a:pt x="11201" y="252878"/>
                      <a:pt x="23435" y="259696"/>
                    </a:cubicBezTo>
                    <a:lnTo>
                      <a:pt x="25186" y="261646"/>
                    </a:lnTo>
                    <a:lnTo>
                      <a:pt x="22902" y="259593"/>
                    </a:lnTo>
                    <a:cubicBezTo>
                      <a:pt x="10665" y="252763"/>
                      <a:pt x="1" y="256495"/>
                      <a:pt x="1" y="238843"/>
                    </a:cubicBezTo>
                    <a:cubicBezTo>
                      <a:pt x="-25" y="227124"/>
                      <a:pt x="6906" y="215667"/>
                      <a:pt x="11199" y="205292"/>
                    </a:cubicBezTo>
                    <a:cubicBezTo>
                      <a:pt x="17944" y="188908"/>
                      <a:pt x="21756" y="175622"/>
                      <a:pt x="15038" y="158418"/>
                    </a:cubicBezTo>
                    <a:cubicBezTo>
                      <a:pt x="10132" y="145916"/>
                      <a:pt x="-1998" y="134720"/>
                      <a:pt x="1548" y="120575"/>
                    </a:cubicBezTo>
                    <a:cubicBezTo>
                      <a:pt x="4267" y="109640"/>
                      <a:pt x="18503" y="103259"/>
                      <a:pt x="15251" y="89861"/>
                    </a:cubicBezTo>
                    <a:cubicBezTo>
                      <a:pt x="13998" y="84599"/>
                      <a:pt x="5946" y="79225"/>
                      <a:pt x="4613" y="72395"/>
                    </a:cubicBezTo>
                    <a:cubicBezTo>
                      <a:pt x="3174" y="65080"/>
                      <a:pt x="5760" y="59557"/>
                      <a:pt x="7786" y="53324"/>
                    </a:cubicBezTo>
                    <a:cubicBezTo>
                      <a:pt x="11065" y="43229"/>
                      <a:pt x="12218" y="34020"/>
                      <a:pt x="11022" y="25264"/>
                    </a:cubicBezTo>
                    <a:lnTo>
                      <a:pt x="330" y="313"/>
                    </a:lnTo>
                    <a:lnTo>
                      <a:pt x="705"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7" name="Freeform 116">
                <a:extLst>
                  <a:ext uri="{FF2B5EF4-FFF2-40B4-BE49-F238E27FC236}">
                    <a16:creationId xmlns:a16="http://schemas.microsoft.com/office/drawing/2014/main" id="{9239DC6A-7FB8-4E49-8082-FD55BEA1F811}"/>
                  </a:ext>
                </a:extLst>
              </p:cNvPr>
              <p:cNvSpPr/>
              <p:nvPr/>
            </p:nvSpPr>
            <p:spPr>
              <a:xfrm>
                <a:off x="4136484" y="4610799"/>
                <a:ext cx="13751" cy="11485"/>
              </a:xfrm>
              <a:custGeom>
                <a:avLst/>
                <a:gdLst>
                  <a:gd name="connsiteX0" fmla="*/ 13751 w 13751"/>
                  <a:gd name="connsiteY0" fmla="*/ 0 h 11485"/>
                  <a:gd name="connsiteX1" fmla="*/ 11592 w 13751"/>
                  <a:gd name="connsiteY1" fmla="*/ 2859 h 11485"/>
                  <a:gd name="connsiteX2" fmla="*/ 0 w 13751"/>
                  <a:gd name="connsiteY2" fmla="*/ 11485 h 11485"/>
                  <a:gd name="connsiteX3" fmla="*/ 13751 w 13751"/>
                  <a:gd name="connsiteY3" fmla="*/ 0 h 11485"/>
                </a:gdLst>
                <a:ahLst/>
                <a:cxnLst>
                  <a:cxn ang="0">
                    <a:pos x="connsiteX0" y="connsiteY0"/>
                  </a:cxn>
                  <a:cxn ang="0">
                    <a:pos x="connsiteX1" y="connsiteY1"/>
                  </a:cxn>
                  <a:cxn ang="0">
                    <a:pos x="connsiteX2" y="connsiteY2"/>
                  </a:cxn>
                  <a:cxn ang="0">
                    <a:pos x="connsiteX3" y="connsiteY3"/>
                  </a:cxn>
                </a:cxnLst>
                <a:rect l="l" t="t" r="r" b="b"/>
                <a:pathLst>
                  <a:path w="13751" h="11485">
                    <a:moveTo>
                      <a:pt x="13751" y="0"/>
                    </a:moveTo>
                    <a:lnTo>
                      <a:pt x="11592" y="2859"/>
                    </a:lnTo>
                    <a:lnTo>
                      <a:pt x="0" y="11485"/>
                    </a:lnTo>
                    <a:lnTo>
                      <a:pt x="13751"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8" name="Freeform 117">
                <a:extLst>
                  <a:ext uri="{FF2B5EF4-FFF2-40B4-BE49-F238E27FC236}">
                    <a16:creationId xmlns:a16="http://schemas.microsoft.com/office/drawing/2014/main" id="{5BBA550C-EC92-724B-8537-5ED50A51F74E}"/>
                  </a:ext>
                </a:extLst>
              </p:cNvPr>
              <p:cNvSpPr/>
              <p:nvPr/>
            </p:nvSpPr>
            <p:spPr>
              <a:xfrm>
                <a:off x="4075555" y="4622283"/>
                <a:ext cx="60928" cy="17282"/>
              </a:xfrm>
              <a:custGeom>
                <a:avLst/>
                <a:gdLst>
                  <a:gd name="connsiteX0" fmla="*/ 60928 w 60928"/>
                  <a:gd name="connsiteY0" fmla="*/ 0 h 17282"/>
                  <a:gd name="connsiteX1" fmla="*/ 53376 w 60928"/>
                  <a:gd name="connsiteY1" fmla="*/ 6307 h 17282"/>
                  <a:gd name="connsiteX2" fmla="*/ 14736 w 60928"/>
                  <a:gd name="connsiteY2" fmla="*/ 11994 h 17282"/>
                  <a:gd name="connsiteX3" fmla="*/ 0 w 60928"/>
                  <a:gd name="connsiteY3" fmla="*/ 17282 h 17282"/>
                  <a:gd name="connsiteX4" fmla="*/ 1149 w 60928"/>
                  <a:gd name="connsiteY4" fmla="*/ 15584 h 17282"/>
                  <a:gd name="connsiteX5" fmla="*/ 54897 w 60928"/>
                  <a:gd name="connsiteY5" fmla="*/ 4487 h 17282"/>
                  <a:gd name="connsiteX6" fmla="*/ 60928 w 60928"/>
                  <a:gd name="connsiteY6" fmla="*/ 0 h 1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28" h="17282">
                    <a:moveTo>
                      <a:pt x="60928" y="0"/>
                    </a:moveTo>
                    <a:lnTo>
                      <a:pt x="53376" y="6307"/>
                    </a:lnTo>
                    <a:cubicBezTo>
                      <a:pt x="39018" y="11979"/>
                      <a:pt x="25870" y="10595"/>
                      <a:pt x="14736" y="11994"/>
                    </a:cubicBezTo>
                    <a:lnTo>
                      <a:pt x="0" y="17282"/>
                    </a:lnTo>
                    <a:lnTo>
                      <a:pt x="1149" y="15584"/>
                    </a:lnTo>
                    <a:cubicBezTo>
                      <a:pt x="14543" y="5624"/>
                      <a:pt x="33364" y="12994"/>
                      <a:pt x="54897" y="4487"/>
                    </a:cubicBezTo>
                    <a:lnTo>
                      <a:pt x="60928"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19" name="Freeform 118">
                <a:extLst>
                  <a:ext uri="{FF2B5EF4-FFF2-40B4-BE49-F238E27FC236}">
                    <a16:creationId xmlns:a16="http://schemas.microsoft.com/office/drawing/2014/main" id="{A2DF37B0-287C-6C45-B3BB-6E36B155A4C2}"/>
                  </a:ext>
                </a:extLst>
              </p:cNvPr>
              <p:cNvSpPr/>
              <p:nvPr/>
            </p:nvSpPr>
            <p:spPr>
              <a:xfrm>
                <a:off x="3789376" y="4633554"/>
                <a:ext cx="16899" cy="1858"/>
              </a:xfrm>
              <a:custGeom>
                <a:avLst/>
                <a:gdLst>
                  <a:gd name="connsiteX0" fmla="*/ 0 w 16899"/>
                  <a:gd name="connsiteY0" fmla="*/ 0 h 1858"/>
                  <a:gd name="connsiteX1" fmla="*/ 15426 w 16899"/>
                  <a:gd name="connsiteY1" fmla="*/ 1427 h 1858"/>
                  <a:gd name="connsiteX2" fmla="*/ 16899 w 16899"/>
                  <a:gd name="connsiteY2" fmla="*/ 1858 h 1858"/>
                  <a:gd name="connsiteX3" fmla="*/ 96 w 16899"/>
                  <a:gd name="connsiteY3" fmla="*/ 297 h 1858"/>
                  <a:gd name="connsiteX4" fmla="*/ 0 w 16899"/>
                  <a:gd name="connsiteY4" fmla="*/ 0 h 1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99" h="1858">
                    <a:moveTo>
                      <a:pt x="0" y="0"/>
                    </a:moveTo>
                    <a:lnTo>
                      <a:pt x="15426" y="1427"/>
                    </a:lnTo>
                    <a:lnTo>
                      <a:pt x="16899" y="1858"/>
                    </a:lnTo>
                    <a:lnTo>
                      <a:pt x="96" y="297"/>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0" name="Freeform 119">
                <a:extLst>
                  <a:ext uri="{FF2B5EF4-FFF2-40B4-BE49-F238E27FC236}">
                    <a16:creationId xmlns:a16="http://schemas.microsoft.com/office/drawing/2014/main" id="{4A8D1C48-542D-664B-93B3-C8F641009EE0}"/>
                  </a:ext>
                </a:extLst>
              </p:cNvPr>
              <p:cNvSpPr/>
              <p:nvPr/>
            </p:nvSpPr>
            <p:spPr>
              <a:xfrm>
                <a:off x="3806274" y="4635412"/>
                <a:ext cx="66230" cy="29950"/>
              </a:xfrm>
              <a:custGeom>
                <a:avLst/>
                <a:gdLst>
                  <a:gd name="connsiteX0" fmla="*/ 0 w 66230"/>
                  <a:gd name="connsiteY0" fmla="*/ 0 h 29950"/>
                  <a:gd name="connsiteX1" fmla="*/ 886 w 66230"/>
                  <a:gd name="connsiteY1" fmla="*/ 82 h 29950"/>
                  <a:gd name="connsiteX2" fmla="*/ 41222 w 66230"/>
                  <a:gd name="connsiteY2" fmla="*/ 11864 h 29950"/>
                  <a:gd name="connsiteX3" fmla="*/ 54251 w 66230"/>
                  <a:gd name="connsiteY3" fmla="*/ 22707 h 29950"/>
                  <a:gd name="connsiteX4" fmla="*/ 66230 w 66230"/>
                  <a:gd name="connsiteY4" fmla="*/ 29665 h 29950"/>
                  <a:gd name="connsiteX5" fmla="*/ 65201 w 66230"/>
                  <a:gd name="connsiteY5" fmla="*/ 29950 h 29950"/>
                  <a:gd name="connsiteX6" fmla="*/ 38850 w 66230"/>
                  <a:gd name="connsiteY6" fmla="*/ 11360 h 29950"/>
                  <a:gd name="connsiteX7" fmla="*/ 0 w 66230"/>
                  <a:gd name="connsiteY7" fmla="*/ 0 h 2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30" h="29950">
                    <a:moveTo>
                      <a:pt x="0" y="0"/>
                    </a:moveTo>
                    <a:lnTo>
                      <a:pt x="886" y="82"/>
                    </a:lnTo>
                    <a:cubicBezTo>
                      <a:pt x="14079" y="2402"/>
                      <a:pt x="28884" y="6724"/>
                      <a:pt x="41222" y="11864"/>
                    </a:cubicBezTo>
                    <a:cubicBezTo>
                      <a:pt x="48707" y="15003"/>
                      <a:pt x="51454" y="19114"/>
                      <a:pt x="54251" y="22707"/>
                    </a:cubicBezTo>
                    <a:lnTo>
                      <a:pt x="66230" y="29665"/>
                    </a:lnTo>
                    <a:lnTo>
                      <a:pt x="65201" y="29950"/>
                    </a:lnTo>
                    <a:cubicBezTo>
                      <a:pt x="49863" y="27775"/>
                      <a:pt x="53855" y="17615"/>
                      <a:pt x="38850" y="11360"/>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1" name="Freeform 120">
                <a:extLst>
                  <a:ext uri="{FF2B5EF4-FFF2-40B4-BE49-F238E27FC236}">
                    <a16:creationId xmlns:a16="http://schemas.microsoft.com/office/drawing/2014/main" id="{367481D7-599F-B744-8E42-BD9AA5C283F7}"/>
                  </a:ext>
                </a:extLst>
              </p:cNvPr>
              <p:cNvSpPr/>
              <p:nvPr/>
            </p:nvSpPr>
            <p:spPr>
              <a:xfrm>
                <a:off x="4046039" y="4639566"/>
                <a:ext cx="29517" cy="43101"/>
              </a:xfrm>
              <a:custGeom>
                <a:avLst/>
                <a:gdLst>
                  <a:gd name="connsiteX0" fmla="*/ 29517 w 29517"/>
                  <a:gd name="connsiteY0" fmla="*/ 0 h 43101"/>
                  <a:gd name="connsiteX1" fmla="*/ 19183 w 29517"/>
                  <a:gd name="connsiteY1" fmla="*/ 15270 h 43101"/>
                  <a:gd name="connsiteX2" fmla="*/ 278 w 29517"/>
                  <a:gd name="connsiteY2" fmla="*/ 43044 h 43101"/>
                  <a:gd name="connsiteX3" fmla="*/ 0 w 29517"/>
                  <a:gd name="connsiteY3" fmla="*/ 43101 h 43101"/>
                  <a:gd name="connsiteX4" fmla="*/ 17698 w 29517"/>
                  <a:gd name="connsiteY4" fmla="*/ 17095 h 43101"/>
                  <a:gd name="connsiteX5" fmla="*/ 29163 w 29517"/>
                  <a:gd name="connsiteY5" fmla="*/ 127 h 43101"/>
                  <a:gd name="connsiteX6" fmla="*/ 29517 w 29517"/>
                  <a:gd name="connsiteY6" fmla="*/ 0 h 4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17" h="43101">
                    <a:moveTo>
                      <a:pt x="29517" y="0"/>
                    </a:moveTo>
                    <a:lnTo>
                      <a:pt x="19183" y="15270"/>
                    </a:lnTo>
                    <a:cubicBezTo>
                      <a:pt x="14595" y="27498"/>
                      <a:pt x="8809" y="36978"/>
                      <a:pt x="278" y="43044"/>
                    </a:cubicBezTo>
                    <a:lnTo>
                      <a:pt x="0" y="43101"/>
                    </a:lnTo>
                    <a:lnTo>
                      <a:pt x="17698" y="17095"/>
                    </a:lnTo>
                    <a:cubicBezTo>
                      <a:pt x="20849" y="8694"/>
                      <a:pt x="24704" y="3448"/>
                      <a:pt x="29163" y="127"/>
                    </a:cubicBezTo>
                    <a:lnTo>
                      <a:pt x="29517"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2" name="Freeform 121">
                <a:extLst>
                  <a:ext uri="{FF2B5EF4-FFF2-40B4-BE49-F238E27FC236}">
                    <a16:creationId xmlns:a16="http://schemas.microsoft.com/office/drawing/2014/main" id="{9D085BD1-1A8C-0644-9D0D-D72827BED9EC}"/>
                  </a:ext>
                </a:extLst>
              </p:cNvPr>
              <p:cNvSpPr/>
              <p:nvPr/>
            </p:nvSpPr>
            <p:spPr>
              <a:xfrm>
                <a:off x="4720695" y="4640978"/>
                <a:ext cx="249976" cy="255827"/>
              </a:xfrm>
              <a:custGeom>
                <a:avLst/>
                <a:gdLst>
                  <a:gd name="connsiteX0" fmla="*/ 89 w 249976"/>
                  <a:gd name="connsiteY0" fmla="*/ 0 h 255827"/>
                  <a:gd name="connsiteX1" fmla="*/ 50316 w 249976"/>
                  <a:gd name="connsiteY1" fmla="*/ 52485 h 255827"/>
                  <a:gd name="connsiteX2" fmla="*/ 152378 w 249976"/>
                  <a:gd name="connsiteY2" fmla="*/ 159145 h 255827"/>
                  <a:gd name="connsiteX3" fmla="*/ 233501 w 249976"/>
                  <a:gd name="connsiteY3" fmla="*/ 243874 h 255827"/>
                  <a:gd name="connsiteX4" fmla="*/ 240611 w 249976"/>
                  <a:gd name="connsiteY4" fmla="*/ 252770 h 255827"/>
                  <a:gd name="connsiteX5" fmla="*/ 249976 w 249976"/>
                  <a:gd name="connsiteY5" fmla="*/ 253501 h 255827"/>
                  <a:gd name="connsiteX6" fmla="*/ 249446 w 249976"/>
                  <a:gd name="connsiteY6" fmla="*/ 254212 h 255827"/>
                  <a:gd name="connsiteX7" fmla="*/ 232464 w 249976"/>
                  <a:gd name="connsiteY7" fmla="*/ 244541 h 255827"/>
                  <a:gd name="connsiteX8" fmla="*/ 151377 w 249976"/>
                  <a:gd name="connsiteY8" fmla="*/ 159756 h 255827"/>
                  <a:gd name="connsiteX9" fmla="*/ 49333 w 249976"/>
                  <a:gd name="connsiteY9" fmla="*/ 53093 h 255827"/>
                  <a:gd name="connsiteX10" fmla="*/ 191 w 249976"/>
                  <a:gd name="connsiteY10" fmla="*/ 1685 h 255827"/>
                  <a:gd name="connsiteX11" fmla="*/ 0 w 249976"/>
                  <a:gd name="connsiteY11" fmla="*/ 87 h 255827"/>
                  <a:gd name="connsiteX12" fmla="*/ 89 w 249976"/>
                  <a:gd name="connsiteY12" fmla="*/ 0 h 255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9976" h="255827">
                    <a:moveTo>
                      <a:pt x="89" y="0"/>
                    </a:moveTo>
                    <a:cubicBezTo>
                      <a:pt x="16831" y="17509"/>
                      <a:pt x="33574" y="34976"/>
                      <a:pt x="50316" y="52485"/>
                    </a:cubicBezTo>
                    <a:cubicBezTo>
                      <a:pt x="84337" y="88024"/>
                      <a:pt x="118358" y="123562"/>
                      <a:pt x="152378" y="159145"/>
                    </a:cubicBezTo>
                    <a:cubicBezTo>
                      <a:pt x="179434" y="187402"/>
                      <a:pt x="206445" y="215617"/>
                      <a:pt x="233501" y="243874"/>
                    </a:cubicBezTo>
                    <a:cubicBezTo>
                      <a:pt x="236024" y="246518"/>
                      <a:pt x="238089" y="250321"/>
                      <a:pt x="240611" y="252770"/>
                    </a:cubicBezTo>
                    <a:lnTo>
                      <a:pt x="249976" y="253501"/>
                    </a:lnTo>
                    <a:lnTo>
                      <a:pt x="249446" y="254212"/>
                    </a:lnTo>
                    <a:cubicBezTo>
                      <a:pt x="240724" y="259720"/>
                      <a:pt x="237520" y="249799"/>
                      <a:pt x="232464" y="244541"/>
                    </a:cubicBezTo>
                    <a:cubicBezTo>
                      <a:pt x="205448" y="216279"/>
                      <a:pt x="178432" y="188017"/>
                      <a:pt x="151377" y="159756"/>
                    </a:cubicBezTo>
                    <a:cubicBezTo>
                      <a:pt x="117375" y="124201"/>
                      <a:pt x="83373" y="88647"/>
                      <a:pt x="49333" y="53093"/>
                    </a:cubicBezTo>
                    <a:lnTo>
                      <a:pt x="191" y="1685"/>
                    </a:lnTo>
                    <a:lnTo>
                      <a:pt x="0" y="87"/>
                    </a:lnTo>
                    <a:lnTo>
                      <a:pt x="89"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3" name="Freeform 122">
                <a:extLst>
                  <a:ext uri="{FF2B5EF4-FFF2-40B4-BE49-F238E27FC236}">
                    <a16:creationId xmlns:a16="http://schemas.microsoft.com/office/drawing/2014/main" id="{96306173-F8A6-2B44-B014-37FA6A3ADE5E}"/>
                  </a:ext>
                </a:extLst>
              </p:cNvPr>
              <p:cNvSpPr/>
              <p:nvPr/>
            </p:nvSpPr>
            <p:spPr>
              <a:xfrm>
                <a:off x="3872505" y="4649208"/>
                <a:ext cx="99539" cy="16997"/>
              </a:xfrm>
              <a:custGeom>
                <a:avLst/>
                <a:gdLst>
                  <a:gd name="connsiteX0" fmla="*/ 46297 w 99539"/>
                  <a:gd name="connsiteY0" fmla="*/ 996 h 16997"/>
                  <a:gd name="connsiteX1" fmla="*/ 65608 w 99539"/>
                  <a:gd name="connsiteY1" fmla="*/ 4461 h 16997"/>
                  <a:gd name="connsiteX2" fmla="*/ 99537 w 99539"/>
                  <a:gd name="connsiteY2" fmla="*/ 4170 h 16997"/>
                  <a:gd name="connsiteX3" fmla="*/ 99539 w 99539"/>
                  <a:gd name="connsiteY3" fmla="*/ 4194 h 16997"/>
                  <a:gd name="connsiteX4" fmla="*/ 90966 w 99539"/>
                  <a:gd name="connsiteY4" fmla="*/ 5805 h 16997"/>
                  <a:gd name="connsiteX5" fmla="*/ 68002 w 99539"/>
                  <a:gd name="connsiteY5" fmla="*/ 4983 h 16997"/>
                  <a:gd name="connsiteX6" fmla="*/ 29212 w 99539"/>
                  <a:gd name="connsiteY6" fmla="*/ 2026 h 16997"/>
                  <a:gd name="connsiteX7" fmla="*/ 1345 w 99539"/>
                  <a:gd name="connsiteY7" fmla="*/ 16651 h 16997"/>
                  <a:gd name="connsiteX8" fmla="*/ 0 w 99539"/>
                  <a:gd name="connsiteY8" fmla="*/ 15870 h 16997"/>
                  <a:gd name="connsiteX9" fmla="*/ 15751 w 99539"/>
                  <a:gd name="connsiteY9" fmla="*/ 11498 h 16997"/>
                  <a:gd name="connsiteX10" fmla="*/ 26875 w 99539"/>
                  <a:gd name="connsiteY10" fmla="*/ 1508 h 16997"/>
                  <a:gd name="connsiteX11" fmla="*/ 46297 w 99539"/>
                  <a:gd name="connsiteY11" fmla="*/ 996 h 16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9539" h="16997">
                    <a:moveTo>
                      <a:pt x="46297" y="996"/>
                    </a:moveTo>
                    <a:cubicBezTo>
                      <a:pt x="53431" y="2159"/>
                      <a:pt x="60545" y="3985"/>
                      <a:pt x="65608" y="4461"/>
                    </a:cubicBezTo>
                    <a:cubicBezTo>
                      <a:pt x="76031" y="5432"/>
                      <a:pt x="88671" y="6035"/>
                      <a:pt x="99537" y="4170"/>
                    </a:cubicBezTo>
                    <a:lnTo>
                      <a:pt x="99539" y="4194"/>
                    </a:lnTo>
                    <a:lnTo>
                      <a:pt x="90966" y="5805"/>
                    </a:lnTo>
                    <a:cubicBezTo>
                      <a:pt x="83120" y="6132"/>
                      <a:pt x="75059" y="5643"/>
                      <a:pt x="68002" y="4983"/>
                    </a:cubicBezTo>
                    <a:cubicBezTo>
                      <a:pt x="57868" y="4028"/>
                      <a:pt x="39510" y="-2318"/>
                      <a:pt x="29212" y="2026"/>
                    </a:cubicBezTo>
                    <a:cubicBezTo>
                      <a:pt x="18486" y="6575"/>
                      <a:pt x="19638" y="19244"/>
                      <a:pt x="1345" y="16651"/>
                    </a:cubicBezTo>
                    <a:lnTo>
                      <a:pt x="0" y="15870"/>
                    </a:lnTo>
                    <a:lnTo>
                      <a:pt x="15751" y="11498"/>
                    </a:lnTo>
                    <a:cubicBezTo>
                      <a:pt x="19095" y="8084"/>
                      <a:pt x="21498" y="3781"/>
                      <a:pt x="26875" y="1508"/>
                    </a:cubicBezTo>
                    <a:cubicBezTo>
                      <a:pt x="32013" y="-667"/>
                      <a:pt x="39164" y="-167"/>
                      <a:pt x="46297" y="996"/>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4" name="Freeform 123">
                <a:extLst>
                  <a:ext uri="{FF2B5EF4-FFF2-40B4-BE49-F238E27FC236}">
                    <a16:creationId xmlns:a16="http://schemas.microsoft.com/office/drawing/2014/main" id="{FDD29026-CAC0-E846-AA0C-1D7C0B04FFEC}"/>
                  </a:ext>
                </a:extLst>
              </p:cNvPr>
              <p:cNvSpPr/>
              <p:nvPr/>
            </p:nvSpPr>
            <p:spPr>
              <a:xfrm>
                <a:off x="3972044" y="4653140"/>
                <a:ext cx="73995" cy="38951"/>
              </a:xfrm>
              <a:custGeom>
                <a:avLst/>
                <a:gdLst>
                  <a:gd name="connsiteX0" fmla="*/ 1396 w 73995"/>
                  <a:gd name="connsiteY0" fmla="*/ 0 h 38951"/>
                  <a:gd name="connsiteX1" fmla="*/ 1129 w 73995"/>
                  <a:gd name="connsiteY1" fmla="*/ 8699 h 38951"/>
                  <a:gd name="connsiteX2" fmla="*/ 3497 w 73995"/>
                  <a:gd name="connsiteY2" fmla="*/ 20609 h 38951"/>
                  <a:gd name="connsiteX3" fmla="*/ 38897 w 73995"/>
                  <a:gd name="connsiteY3" fmla="*/ 36752 h 38951"/>
                  <a:gd name="connsiteX4" fmla="*/ 73995 w 73995"/>
                  <a:gd name="connsiteY4" fmla="*/ 29527 h 38951"/>
                  <a:gd name="connsiteX5" fmla="*/ 72784 w 73995"/>
                  <a:gd name="connsiteY5" fmla="*/ 31306 h 38951"/>
                  <a:gd name="connsiteX6" fmla="*/ 37437 w 73995"/>
                  <a:gd name="connsiteY6" fmla="*/ 38564 h 38951"/>
                  <a:gd name="connsiteX7" fmla="*/ 2030 w 73995"/>
                  <a:gd name="connsiteY7" fmla="*/ 22441 h 38951"/>
                  <a:gd name="connsiteX8" fmla="*/ 0 w 73995"/>
                  <a:gd name="connsiteY8" fmla="*/ 262 h 38951"/>
                  <a:gd name="connsiteX9" fmla="*/ 1396 w 73995"/>
                  <a:gd name="connsiteY9" fmla="*/ 0 h 3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995" h="38951">
                    <a:moveTo>
                      <a:pt x="1396" y="0"/>
                    </a:moveTo>
                    <a:lnTo>
                      <a:pt x="1129" y="8699"/>
                    </a:lnTo>
                    <a:cubicBezTo>
                      <a:pt x="1203" y="12296"/>
                      <a:pt x="1724" y="16163"/>
                      <a:pt x="3497" y="20609"/>
                    </a:cubicBezTo>
                    <a:cubicBezTo>
                      <a:pt x="8226" y="32531"/>
                      <a:pt x="27730" y="35720"/>
                      <a:pt x="38897" y="36752"/>
                    </a:cubicBezTo>
                    <a:lnTo>
                      <a:pt x="73995" y="29527"/>
                    </a:lnTo>
                    <a:lnTo>
                      <a:pt x="72784" y="31306"/>
                    </a:lnTo>
                    <a:cubicBezTo>
                      <a:pt x="64260" y="37369"/>
                      <a:pt x="52997" y="40011"/>
                      <a:pt x="37437" y="38564"/>
                    </a:cubicBezTo>
                    <a:cubicBezTo>
                      <a:pt x="26275" y="37534"/>
                      <a:pt x="6761" y="34368"/>
                      <a:pt x="2030" y="22441"/>
                    </a:cubicBezTo>
                    <a:lnTo>
                      <a:pt x="0" y="262"/>
                    </a:lnTo>
                    <a:lnTo>
                      <a:pt x="1396"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5" name="Freeform 124">
                <a:extLst>
                  <a:ext uri="{FF2B5EF4-FFF2-40B4-BE49-F238E27FC236}">
                    <a16:creationId xmlns:a16="http://schemas.microsoft.com/office/drawing/2014/main" id="{95A6A86E-AE96-5041-B945-897319DE6DD1}"/>
                  </a:ext>
                </a:extLst>
              </p:cNvPr>
              <p:cNvSpPr/>
              <p:nvPr/>
            </p:nvSpPr>
            <p:spPr>
              <a:xfrm>
                <a:off x="3508984" y="4825025"/>
                <a:ext cx="660913" cy="174745"/>
              </a:xfrm>
              <a:custGeom>
                <a:avLst/>
                <a:gdLst>
                  <a:gd name="connsiteX0" fmla="*/ 24448 w 660913"/>
                  <a:gd name="connsiteY0" fmla="*/ 328 h 174745"/>
                  <a:gd name="connsiteX1" fmla="*/ 73310 w 660913"/>
                  <a:gd name="connsiteY1" fmla="*/ 16454 h 174745"/>
                  <a:gd name="connsiteX2" fmla="*/ 137288 w 660913"/>
                  <a:gd name="connsiteY2" fmla="*/ 84702 h 174745"/>
                  <a:gd name="connsiteX3" fmla="*/ 227540 w 660913"/>
                  <a:gd name="connsiteY3" fmla="*/ 102598 h 174745"/>
                  <a:gd name="connsiteX4" fmla="*/ 285251 w 660913"/>
                  <a:gd name="connsiteY4" fmla="*/ 155147 h 174745"/>
                  <a:gd name="connsiteX5" fmla="*/ 312799 w 660913"/>
                  <a:gd name="connsiteY5" fmla="*/ 174141 h 174745"/>
                  <a:gd name="connsiteX6" fmla="*/ 350056 w 660913"/>
                  <a:gd name="connsiteY6" fmla="*/ 168305 h 174745"/>
                  <a:gd name="connsiteX7" fmla="*/ 439585 w 660913"/>
                  <a:gd name="connsiteY7" fmla="*/ 142417 h 174745"/>
                  <a:gd name="connsiteX8" fmla="*/ 547225 w 660913"/>
                  <a:gd name="connsiteY8" fmla="*/ 110957 h 174745"/>
                  <a:gd name="connsiteX9" fmla="*/ 596914 w 660913"/>
                  <a:gd name="connsiteY9" fmla="*/ 92695 h 174745"/>
                  <a:gd name="connsiteX10" fmla="*/ 644536 w 660913"/>
                  <a:gd name="connsiteY10" fmla="*/ 87956 h 174745"/>
                  <a:gd name="connsiteX11" fmla="*/ 660913 w 660913"/>
                  <a:gd name="connsiteY11" fmla="*/ 81774 h 174745"/>
                  <a:gd name="connsiteX12" fmla="*/ 659696 w 660913"/>
                  <a:gd name="connsiteY12" fmla="*/ 82816 h 174745"/>
                  <a:gd name="connsiteX13" fmla="*/ 643121 w 660913"/>
                  <a:gd name="connsiteY13" fmla="*/ 88554 h 174745"/>
                  <a:gd name="connsiteX14" fmla="*/ 595481 w 660913"/>
                  <a:gd name="connsiteY14" fmla="*/ 93294 h 174745"/>
                  <a:gd name="connsiteX15" fmla="*/ 545772 w 660913"/>
                  <a:gd name="connsiteY15" fmla="*/ 111554 h 174745"/>
                  <a:gd name="connsiteX16" fmla="*/ 438184 w 660913"/>
                  <a:gd name="connsiteY16" fmla="*/ 142984 h 174745"/>
                  <a:gd name="connsiteX17" fmla="*/ 348633 w 660913"/>
                  <a:gd name="connsiteY17" fmla="*/ 168878 h 174745"/>
                  <a:gd name="connsiteX18" fmla="*/ 311341 w 660913"/>
                  <a:gd name="connsiteY18" fmla="*/ 174705 h 174745"/>
                  <a:gd name="connsiteX19" fmla="*/ 283844 w 660913"/>
                  <a:gd name="connsiteY19" fmla="*/ 155727 h 174745"/>
                  <a:gd name="connsiteX20" fmla="*/ 226077 w 660913"/>
                  <a:gd name="connsiteY20" fmla="*/ 103201 h 174745"/>
                  <a:gd name="connsiteX21" fmla="*/ 135823 w 660913"/>
                  <a:gd name="connsiteY21" fmla="*/ 85310 h 174745"/>
                  <a:gd name="connsiteX22" fmla="*/ 71884 w 660913"/>
                  <a:gd name="connsiteY22" fmla="*/ 17089 h 174745"/>
                  <a:gd name="connsiteX23" fmla="*/ 22988 w 660913"/>
                  <a:gd name="connsiteY23" fmla="*/ 946 h 174745"/>
                  <a:gd name="connsiteX24" fmla="*/ 83 w 660913"/>
                  <a:gd name="connsiteY24" fmla="*/ 7649 h 174745"/>
                  <a:gd name="connsiteX25" fmla="*/ 0 w 660913"/>
                  <a:gd name="connsiteY25" fmla="*/ 7466 h 174745"/>
                  <a:gd name="connsiteX26" fmla="*/ 24448 w 660913"/>
                  <a:gd name="connsiteY26" fmla="*/ 328 h 17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0913" h="174745">
                    <a:moveTo>
                      <a:pt x="24448" y="328"/>
                    </a:moveTo>
                    <a:cubicBezTo>
                      <a:pt x="43800" y="-1625"/>
                      <a:pt x="59089" y="5330"/>
                      <a:pt x="73310" y="16454"/>
                    </a:cubicBezTo>
                    <a:cubicBezTo>
                      <a:pt x="99549" y="36994"/>
                      <a:pt x="108123" y="68291"/>
                      <a:pt x="137288" y="84702"/>
                    </a:cubicBezTo>
                    <a:cubicBezTo>
                      <a:pt x="166454" y="101175"/>
                      <a:pt x="194655" y="98002"/>
                      <a:pt x="227540" y="102598"/>
                    </a:cubicBezTo>
                    <a:cubicBezTo>
                      <a:pt x="259908" y="107133"/>
                      <a:pt x="271374" y="130357"/>
                      <a:pt x="285251" y="155147"/>
                    </a:cubicBezTo>
                    <a:cubicBezTo>
                      <a:pt x="293275" y="169444"/>
                      <a:pt x="295754" y="173572"/>
                      <a:pt x="312799" y="174141"/>
                    </a:cubicBezTo>
                    <a:cubicBezTo>
                      <a:pt x="326641" y="174609"/>
                      <a:pt x="337040" y="170908"/>
                      <a:pt x="350056" y="168305"/>
                    </a:cubicBezTo>
                    <a:cubicBezTo>
                      <a:pt x="380358" y="162245"/>
                      <a:pt x="409730" y="151588"/>
                      <a:pt x="439585" y="142417"/>
                    </a:cubicBezTo>
                    <a:cubicBezTo>
                      <a:pt x="474845" y="131557"/>
                      <a:pt x="512034" y="123870"/>
                      <a:pt x="547225" y="110957"/>
                    </a:cubicBezTo>
                    <a:cubicBezTo>
                      <a:pt x="564029" y="104795"/>
                      <a:pt x="579421" y="96782"/>
                      <a:pt x="596914" y="92695"/>
                    </a:cubicBezTo>
                    <a:cubicBezTo>
                      <a:pt x="612891" y="88973"/>
                      <a:pt x="628249" y="90031"/>
                      <a:pt x="644536" y="87956"/>
                    </a:cubicBezTo>
                    <a:lnTo>
                      <a:pt x="660913" y="81774"/>
                    </a:lnTo>
                    <a:lnTo>
                      <a:pt x="659696" y="82816"/>
                    </a:lnTo>
                    <a:cubicBezTo>
                      <a:pt x="654449" y="85785"/>
                      <a:pt x="648600" y="87860"/>
                      <a:pt x="643121" y="88554"/>
                    </a:cubicBezTo>
                    <a:cubicBezTo>
                      <a:pt x="626822" y="90633"/>
                      <a:pt x="611484" y="89584"/>
                      <a:pt x="595481" y="93294"/>
                    </a:cubicBezTo>
                    <a:cubicBezTo>
                      <a:pt x="578000" y="97373"/>
                      <a:pt x="562588" y="105396"/>
                      <a:pt x="545772" y="111554"/>
                    </a:cubicBezTo>
                    <a:cubicBezTo>
                      <a:pt x="510624" y="124452"/>
                      <a:pt x="473406" y="132145"/>
                      <a:pt x="438184" y="142984"/>
                    </a:cubicBezTo>
                    <a:cubicBezTo>
                      <a:pt x="408321" y="152172"/>
                      <a:pt x="378902" y="162817"/>
                      <a:pt x="348633" y="168878"/>
                    </a:cubicBezTo>
                    <a:cubicBezTo>
                      <a:pt x="335623" y="171481"/>
                      <a:pt x="325201" y="175171"/>
                      <a:pt x="311341" y="174705"/>
                    </a:cubicBezTo>
                    <a:cubicBezTo>
                      <a:pt x="294303" y="174142"/>
                      <a:pt x="291864" y="170024"/>
                      <a:pt x="283844" y="155727"/>
                    </a:cubicBezTo>
                    <a:cubicBezTo>
                      <a:pt x="269947" y="130960"/>
                      <a:pt x="258453" y="107727"/>
                      <a:pt x="226077" y="103201"/>
                    </a:cubicBezTo>
                    <a:cubicBezTo>
                      <a:pt x="193184" y="98617"/>
                      <a:pt x="165021" y="101763"/>
                      <a:pt x="135823" y="85310"/>
                    </a:cubicBezTo>
                    <a:cubicBezTo>
                      <a:pt x="106700" y="68896"/>
                      <a:pt x="98088" y="37621"/>
                      <a:pt x="71884" y="17089"/>
                    </a:cubicBezTo>
                    <a:cubicBezTo>
                      <a:pt x="57655" y="5958"/>
                      <a:pt x="42317" y="-996"/>
                      <a:pt x="22988" y="946"/>
                    </a:cubicBezTo>
                    <a:lnTo>
                      <a:pt x="83" y="7649"/>
                    </a:lnTo>
                    <a:lnTo>
                      <a:pt x="0" y="7466"/>
                    </a:lnTo>
                    <a:cubicBezTo>
                      <a:pt x="8195" y="4537"/>
                      <a:pt x="16563" y="1121"/>
                      <a:pt x="24448" y="328"/>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6" name="Freeform 125">
                <a:extLst>
                  <a:ext uri="{FF2B5EF4-FFF2-40B4-BE49-F238E27FC236}">
                    <a16:creationId xmlns:a16="http://schemas.microsoft.com/office/drawing/2014/main" id="{EB7BA08F-6906-FE43-A3AD-62D767A38099}"/>
                  </a:ext>
                </a:extLst>
              </p:cNvPr>
              <p:cNvSpPr/>
              <p:nvPr/>
            </p:nvSpPr>
            <p:spPr>
              <a:xfrm>
                <a:off x="4970671" y="4854739"/>
                <a:ext cx="24978" cy="59535"/>
              </a:xfrm>
              <a:custGeom>
                <a:avLst/>
                <a:gdLst>
                  <a:gd name="connsiteX0" fmla="*/ 23424 w 24978"/>
                  <a:gd name="connsiteY0" fmla="*/ 0 h 59535"/>
                  <a:gd name="connsiteX1" fmla="*/ 24978 w 24978"/>
                  <a:gd name="connsiteY1" fmla="*/ 30766 h 59535"/>
                  <a:gd name="connsiteX2" fmla="*/ 23524 w 24978"/>
                  <a:gd name="connsiteY2" fmla="*/ 59535 h 59535"/>
                  <a:gd name="connsiteX3" fmla="*/ 982 w 24978"/>
                  <a:gd name="connsiteY3" fmla="*/ 39388 h 59535"/>
                  <a:gd name="connsiteX4" fmla="*/ 491 w 24978"/>
                  <a:gd name="connsiteY4" fmla="*/ 39778 h 59535"/>
                  <a:gd name="connsiteX5" fmla="*/ 0 w 24978"/>
                  <a:gd name="connsiteY5" fmla="*/ 39740 h 59535"/>
                  <a:gd name="connsiteX6" fmla="*/ 7401 w 24978"/>
                  <a:gd name="connsiteY6" fmla="*/ 29798 h 59535"/>
                  <a:gd name="connsiteX7" fmla="*/ 11280 w 24978"/>
                  <a:gd name="connsiteY7" fmla="*/ 16915 h 59535"/>
                  <a:gd name="connsiteX8" fmla="*/ 23424 w 24978"/>
                  <a:gd name="connsiteY8" fmla="*/ 0 h 59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78" h="59535">
                    <a:moveTo>
                      <a:pt x="23424" y="0"/>
                    </a:moveTo>
                    <a:lnTo>
                      <a:pt x="24978" y="30766"/>
                    </a:lnTo>
                    <a:lnTo>
                      <a:pt x="23524" y="59535"/>
                    </a:lnTo>
                    <a:lnTo>
                      <a:pt x="982" y="39388"/>
                    </a:lnTo>
                    <a:cubicBezTo>
                      <a:pt x="803" y="39518"/>
                      <a:pt x="670" y="39691"/>
                      <a:pt x="491" y="39778"/>
                    </a:cubicBezTo>
                    <a:lnTo>
                      <a:pt x="0" y="39740"/>
                    </a:lnTo>
                    <a:lnTo>
                      <a:pt x="7401" y="29798"/>
                    </a:lnTo>
                    <a:cubicBezTo>
                      <a:pt x="9013" y="25569"/>
                      <a:pt x="9949" y="20968"/>
                      <a:pt x="11280" y="16915"/>
                    </a:cubicBezTo>
                    <a:lnTo>
                      <a:pt x="2342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7" name="Freeform 126">
                <a:extLst>
                  <a:ext uri="{FF2B5EF4-FFF2-40B4-BE49-F238E27FC236}">
                    <a16:creationId xmlns:a16="http://schemas.microsoft.com/office/drawing/2014/main" id="{9E611777-BC02-0746-8209-F7C75280705A}"/>
                  </a:ext>
                </a:extLst>
              </p:cNvPr>
              <p:cNvSpPr/>
              <p:nvPr/>
            </p:nvSpPr>
            <p:spPr>
              <a:xfrm>
                <a:off x="4175181" y="4872054"/>
                <a:ext cx="8236" cy="9178"/>
              </a:xfrm>
              <a:custGeom>
                <a:avLst/>
                <a:gdLst>
                  <a:gd name="connsiteX0" fmla="*/ 0 w 8236"/>
                  <a:gd name="connsiteY0" fmla="*/ 0 h 9178"/>
                  <a:gd name="connsiteX1" fmla="*/ 7908 w 8236"/>
                  <a:gd name="connsiteY1" fmla="*/ 7112 h 9178"/>
                  <a:gd name="connsiteX2" fmla="*/ 8236 w 8236"/>
                  <a:gd name="connsiteY2" fmla="*/ 9178 h 9178"/>
                  <a:gd name="connsiteX3" fmla="*/ 0 w 8236"/>
                  <a:gd name="connsiteY3" fmla="*/ 0 h 9178"/>
                </a:gdLst>
                <a:ahLst/>
                <a:cxnLst>
                  <a:cxn ang="0">
                    <a:pos x="connsiteX0" y="connsiteY0"/>
                  </a:cxn>
                  <a:cxn ang="0">
                    <a:pos x="connsiteX1" y="connsiteY1"/>
                  </a:cxn>
                  <a:cxn ang="0">
                    <a:pos x="connsiteX2" y="connsiteY2"/>
                  </a:cxn>
                  <a:cxn ang="0">
                    <a:pos x="connsiteX3" y="connsiteY3"/>
                  </a:cxn>
                </a:cxnLst>
                <a:rect l="l" t="t" r="r" b="b"/>
                <a:pathLst>
                  <a:path w="8236" h="9178">
                    <a:moveTo>
                      <a:pt x="0" y="0"/>
                    </a:moveTo>
                    <a:lnTo>
                      <a:pt x="7908" y="7112"/>
                    </a:lnTo>
                    <a:lnTo>
                      <a:pt x="8236" y="9178"/>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8" name="Freeform 127">
                <a:extLst>
                  <a:ext uri="{FF2B5EF4-FFF2-40B4-BE49-F238E27FC236}">
                    <a16:creationId xmlns:a16="http://schemas.microsoft.com/office/drawing/2014/main" id="{550766D1-D6F9-724E-9D90-C2BDFC8EAC41}"/>
                  </a:ext>
                </a:extLst>
              </p:cNvPr>
              <p:cNvSpPr/>
              <p:nvPr/>
            </p:nvSpPr>
            <p:spPr>
              <a:xfrm>
                <a:off x="4183418" y="4881233"/>
                <a:ext cx="1753" cy="5399"/>
              </a:xfrm>
              <a:custGeom>
                <a:avLst/>
                <a:gdLst>
                  <a:gd name="connsiteX0" fmla="*/ 0 w 1753"/>
                  <a:gd name="connsiteY0" fmla="*/ 0 h 5399"/>
                  <a:gd name="connsiteX1" fmla="*/ 1753 w 1753"/>
                  <a:gd name="connsiteY1" fmla="*/ 1953 h 5399"/>
                  <a:gd name="connsiteX2" fmla="*/ 857 w 1753"/>
                  <a:gd name="connsiteY2" fmla="*/ 5399 h 5399"/>
                  <a:gd name="connsiteX3" fmla="*/ 0 w 1753"/>
                  <a:gd name="connsiteY3" fmla="*/ 0 h 5399"/>
                </a:gdLst>
                <a:ahLst/>
                <a:cxnLst>
                  <a:cxn ang="0">
                    <a:pos x="connsiteX0" y="connsiteY0"/>
                  </a:cxn>
                  <a:cxn ang="0">
                    <a:pos x="connsiteX1" y="connsiteY1"/>
                  </a:cxn>
                  <a:cxn ang="0">
                    <a:pos x="connsiteX2" y="connsiteY2"/>
                  </a:cxn>
                  <a:cxn ang="0">
                    <a:pos x="connsiteX3" y="connsiteY3"/>
                  </a:cxn>
                </a:cxnLst>
                <a:rect l="l" t="t" r="r" b="b"/>
                <a:pathLst>
                  <a:path w="1753" h="5399">
                    <a:moveTo>
                      <a:pt x="0" y="0"/>
                    </a:moveTo>
                    <a:lnTo>
                      <a:pt x="1753" y="1953"/>
                    </a:lnTo>
                    <a:lnTo>
                      <a:pt x="857" y="5399"/>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29" name="Freeform 128">
                <a:extLst>
                  <a:ext uri="{FF2B5EF4-FFF2-40B4-BE49-F238E27FC236}">
                    <a16:creationId xmlns:a16="http://schemas.microsoft.com/office/drawing/2014/main" id="{6BCEC61C-0AE6-0F49-B531-C30C8C090AD8}"/>
                  </a:ext>
                </a:extLst>
              </p:cNvPr>
              <p:cNvSpPr/>
              <p:nvPr/>
            </p:nvSpPr>
            <p:spPr>
              <a:xfrm>
                <a:off x="4183200" y="4886632"/>
                <a:ext cx="1448" cy="4125"/>
              </a:xfrm>
              <a:custGeom>
                <a:avLst/>
                <a:gdLst>
                  <a:gd name="connsiteX0" fmla="*/ 1074 w 1448"/>
                  <a:gd name="connsiteY0" fmla="*/ 0 h 4125"/>
                  <a:gd name="connsiteX1" fmla="*/ 1448 w 1448"/>
                  <a:gd name="connsiteY1" fmla="*/ 2361 h 4125"/>
                  <a:gd name="connsiteX2" fmla="*/ 0 w 1448"/>
                  <a:gd name="connsiteY2" fmla="*/ 4125 h 4125"/>
                  <a:gd name="connsiteX3" fmla="*/ 1074 w 1448"/>
                  <a:gd name="connsiteY3" fmla="*/ 0 h 4125"/>
                </a:gdLst>
                <a:ahLst/>
                <a:cxnLst>
                  <a:cxn ang="0">
                    <a:pos x="connsiteX0" y="connsiteY0"/>
                  </a:cxn>
                  <a:cxn ang="0">
                    <a:pos x="connsiteX1" y="connsiteY1"/>
                  </a:cxn>
                  <a:cxn ang="0">
                    <a:pos x="connsiteX2" y="connsiteY2"/>
                  </a:cxn>
                  <a:cxn ang="0">
                    <a:pos x="connsiteX3" y="connsiteY3"/>
                  </a:cxn>
                </a:cxnLst>
                <a:rect l="l" t="t" r="r" b="b"/>
                <a:pathLst>
                  <a:path w="1448" h="4125">
                    <a:moveTo>
                      <a:pt x="1074" y="0"/>
                    </a:moveTo>
                    <a:lnTo>
                      <a:pt x="1448" y="2361"/>
                    </a:lnTo>
                    <a:lnTo>
                      <a:pt x="0" y="4125"/>
                    </a:lnTo>
                    <a:lnTo>
                      <a:pt x="107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0" name="Freeform 129">
                <a:extLst>
                  <a:ext uri="{FF2B5EF4-FFF2-40B4-BE49-F238E27FC236}">
                    <a16:creationId xmlns:a16="http://schemas.microsoft.com/office/drawing/2014/main" id="{7E355EB7-0C6D-784D-9403-C682BE3803F9}"/>
                  </a:ext>
                </a:extLst>
              </p:cNvPr>
              <p:cNvSpPr/>
              <p:nvPr/>
            </p:nvSpPr>
            <p:spPr>
              <a:xfrm>
                <a:off x="4170366" y="4890756"/>
                <a:ext cx="12835" cy="15640"/>
              </a:xfrm>
              <a:custGeom>
                <a:avLst/>
                <a:gdLst>
                  <a:gd name="connsiteX0" fmla="*/ 12835 w 12835"/>
                  <a:gd name="connsiteY0" fmla="*/ 0 h 15640"/>
                  <a:gd name="connsiteX1" fmla="*/ 11279 w 12835"/>
                  <a:gd name="connsiteY1" fmla="*/ 5980 h 15640"/>
                  <a:gd name="connsiteX2" fmla="*/ 0 w 12835"/>
                  <a:gd name="connsiteY2" fmla="*/ 15640 h 15640"/>
                  <a:gd name="connsiteX3" fmla="*/ 0 w 12835"/>
                  <a:gd name="connsiteY3" fmla="*/ 15632 h 15640"/>
                  <a:gd name="connsiteX4" fmla="*/ 12835 w 12835"/>
                  <a:gd name="connsiteY4" fmla="*/ 0 h 15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35" h="15640">
                    <a:moveTo>
                      <a:pt x="12835" y="0"/>
                    </a:moveTo>
                    <a:lnTo>
                      <a:pt x="11279" y="5980"/>
                    </a:lnTo>
                    <a:lnTo>
                      <a:pt x="0" y="15640"/>
                    </a:lnTo>
                    <a:lnTo>
                      <a:pt x="0" y="15632"/>
                    </a:lnTo>
                    <a:lnTo>
                      <a:pt x="12835"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1" name="Freeform 130">
                <a:extLst>
                  <a:ext uri="{FF2B5EF4-FFF2-40B4-BE49-F238E27FC236}">
                    <a16:creationId xmlns:a16="http://schemas.microsoft.com/office/drawing/2014/main" id="{54AF6002-00A9-1E4A-BB63-2033E765C365}"/>
                  </a:ext>
                </a:extLst>
              </p:cNvPr>
              <p:cNvSpPr/>
              <p:nvPr/>
            </p:nvSpPr>
            <p:spPr>
              <a:xfrm>
                <a:off x="4170368" y="4905883"/>
                <a:ext cx="71530" cy="328014"/>
              </a:xfrm>
              <a:custGeom>
                <a:avLst/>
                <a:gdLst>
                  <a:gd name="connsiteX0" fmla="*/ 1952 w 71530"/>
                  <a:gd name="connsiteY0" fmla="*/ 0 h 328014"/>
                  <a:gd name="connsiteX1" fmla="*/ 4844 w 71530"/>
                  <a:gd name="connsiteY1" fmla="*/ 265632 h 328014"/>
                  <a:gd name="connsiteX2" fmla="*/ 51330 w 71530"/>
                  <a:gd name="connsiteY2" fmla="*/ 295262 h 328014"/>
                  <a:gd name="connsiteX3" fmla="*/ 70097 w 71530"/>
                  <a:gd name="connsiteY3" fmla="*/ 326478 h 328014"/>
                  <a:gd name="connsiteX4" fmla="*/ 67352 w 71530"/>
                  <a:gd name="connsiteY4" fmla="*/ 328014 h 328014"/>
                  <a:gd name="connsiteX5" fmla="*/ 68167 w 71530"/>
                  <a:gd name="connsiteY5" fmla="*/ 326831 h 328014"/>
                  <a:gd name="connsiteX6" fmla="*/ 49398 w 71530"/>
                  <a:gd name="connsiteY6" fmla="*/ 295632 h 328014"/>
                  <a:gd name="connsiteX7" fmla="*/ 2876 w 71530"/>
                  <a:gd name="connsiteY7" fmla="*/ 266037 h 328014"/>
                  <a:gd name="connsiteX8" fmla="*/ 0 w 71530"/>
                  <a:gd name="connsiteY8" fmla="*/ 737 h 328014"/>
                  <a:gd name="connsiteX9" fmla="*/ 1952 w 71530"/>
                  <a:gd name="connsiteY9" fmla="*/ 0 h 328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30" h="328014">
                    <a:moveTo>
                      <a:pt x="1952" y="0"/>
                    </a:moveTo>
                    <a:lnTo>
                      <a:pt x="4844" y="265632"/>
                    </a:lnTo>
                    <a:cubicBezTo>
                      <a:pt x="1849" y="294285"/>
                      <a:pt x="32151" y="288327"/>
                      <a:pt x="51330" y="295262"/>
                    </a:cubicBezTo>
                    <a:cubicBezTo>
                      <a:pt x="62212" y="299166"/>
                      <a:pt x="76054" y="314662"/>
                      <a:pt x="70097" y="326478"/>
                    </a:cubicBezTo>
                    <a:lnTo>
                      <a:pt x="67352" y="328014"/>
                    </a:lnTo>
                    <a:lnTo>
                      <a:pt x="68167" y="326831"/>
                    </a:lnTo>
                    <a:cubicBezTo>
                      <a:pt x="74112" y="315038"/>
                      <a:pt x="60249" y="299550"/>
                      <a:pt x="49398" y="295632"/>
                    </a:cubicBezTo>
                    <a:cubicBezTo>
                      <a:pt x="30203" y="288690"/>
                      <a:pt x="-137" y="294662"/>
                      <a:pt x="2876" y="266037"/>
                    </a:cubicBezTo>
                    <a:lnTo>
                      <a:pt x="0" y="737"/>
                    </a:lnTo>
                    <a:lnTo>
                      <a:pt x="195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2" name="Freeform 131">
                <a:extLst>
                  <a:ext uri="{FF2B5EF4-FFF2-40B4-BE49-F238E27FC236}">
                    <a16:creationId xmlns:a16="http://schemas.microsoft.com/office/drawing/2014/main" id="{62A41AE8-A979-D24A-AA2C-5EBF871808A9}"/>
                  </a:ext>
                </a:extLst>
              </p:cNvPr>
              <p:cNvSpPr/>
              <p:nvPr/>
            </p:nvSpPr>
            <p:spPr>
              <a:xfrm>
                <a:off x="4169896" y="4906396"/>
                <a:ext cx="472" cy="402"/>
              </a:xfrm>
              <a:custGeom>
                <a:avLst/>
                <a:gdLst>
                  <a:gd name="connsiteX0" fmla="*/ 469 w 472"/>
                  <a:gd name="connsiteY0" fmla="*/ 0 h 402"/>
                  <a:gd name="connsiteX1" fmla="*/ 472 w 472"/>
                  <a:gd name="connsiteY1" fmla="*/ 224 h 402"/>
                  <a:gd name="connsiteX2" fmla="*/ 0 w 472"/>
                  <a:gd name="connsiteY2" fmla="*/ 402 h 402"/>
                  <a:gd name="connsiteX3" fmla="*/ 469 w 472"/>
                  <a:gd name="connsiteY3" fmla="*/ 0 h 402"/>
                </a:gdLst>
                <a:ahLst/>
                <a:cxnLst>
                  <a:cxn ang="0">
                    <a:pos x="connsiteX0" y="connsiteY0"/>
                  </a:cxn>
                  <a:cxn ang="0">
                    <a:pos x="connsiteX1" y="connsiteY1"/>
                  </a:cxn>
                  <a:cxn ang="0">
                    <a:pos x="connsiteX2" y="connsiteY2"/>
                  </a:cxn>
                  <a:cxn ang="0">
                    <a:pos x="connsiteX3" y="connsiteY3"/>
                  </a:cxn>
                </a:cxnLst>
                <a:rect l="l" t="t" r="r" b="b"/>
                <a:pathLst>
                  <a:path w="472" h="402">
                    <a:moveTo>
                      <a:pt x="469" y="0"/>
                    </a:moveTo>
                    <a:lnTo>
                      <a:pt x="472" y="224"/>
                    </a:lnTo>
                    <a:lnTo>
                      <a:pt x="0" y="402"/>
                    </a:lnTo>
                    <a:lnTo>
                      <a:pt x="469"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3" name="Freeform 132">
                <a:extLst>
                  <a:ext uri="{FF2B5EF4-FFF2-40B4-BE49-F238E27FC236}">
                    <a16:creationId xmlns:a16="http://schemas.microsoft.com/office/drawing/2014/main" id="{E1CD46FB-2011-5443-9166-757F705A5CBD}"/>
                  </a:ext>
                </a:extLst>
              </p:cNvPr>
              <p:cNvSpPr/>
              <p:nvPr/>
            </p:nvSpPr>
            <p:spPr>
              <a:xfrm>
                <a:off x="4656015" y="4967846"/>
                <a:ext cx="36367" cy="18220"/>
              </a:xfrm>
              <a:custGeom>
                <a:avLst/>
                <a:gdLst>
                  <a:gd name="connsiteX0" fmla="*/ 2800 w 36367"/>
                  <a:gd name="connsiteY0" fmla="*/ 1 h 18220"/>
                  <a:gd name="connsiteX1" fmla="*/ 19833 w 36367"/>
                  <a:gd name="connsiteY1" fmla="*/ 7656 h 18220"/>
                  <a:gd name="connsiteX2" fmla="*/ 36367 w 36367"/>
                  <a:gd name="connsiteY2" fmla="*/ 17264 h 18220"/>
                  <a:gd name="connsiteX3" fmla="*/ 32813 w 36367"/>
                  <a:gd name="connsiteY3" fmla="*/ 18220 h 18220"/>
                  <a:gd name="connsiteX4" fmla="*/ 15790 w 36367"/>
                  <a:gd name="connsiteY4" fmla="*/ 8330 h 18220"/>
                  <a:gd name="connsiteX5" fmla="*/ 0 w 36367"/>
                  <a:gd name="connsiteY5" fmla="*/ 1234 h 18220"/>
                  <a:gd name="connsiteX6" fmla="*/ 2800 w 36367"/>
                  <a:gd name="connsiteY6" fmla="*/ 1 h 18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67" h="18220">
                    <a:moveTo>
                      <a:pt x="2800" y="1"/>
                    </a:moveTo>
                    <a:cubicBezTo>
                      <a:pt x="9207" y="-64"/>
                      <a:pt x="14520" y="3609"/>
                      <a:pt x="19833" y="7656"/>
                    </a:cubicBezTo>
                    <a:lnTo>
                      <a:pt x="36367" y="17264"/>
                    </a:lnTo>
                    <a:lnTo>
                      <a:pt x="32813" y="18220"/>
                    </a:lnTo>
                    <a:cubicBezTo>
                      <a:pt x="26415" y="16802"/>
                      <a:pt x="21102" y="12380"/>
                      <a:pt x="15790" y="8330"/>
                    </a:cubicBezTo>
                    <a:lnTo>
                      <a:pt x="0" y="1234"/>
                    </a:lnTo>
                    <a:lnTo>
                      <a:pt x="2800" y="1"/>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4" name="Freeform 133">
                <a:extLst>
                  <a:ext uri="{FF2B5EF4-FFF2-40B4-BE49-F238E27FC236}">
                    <a16:creationId xmlns:a16="http://schemas.microsoft.com/office/drawing/2014/main" id="{3E833763-3A82-2E45-B0DD-A4AC6B17CFD6}"/>
                  </a:ext>
                </a:extLst>
              </p:cNvPr>
              <p:cNvSpPr/>
              <p:nvPr/>
            </p:nvSpPr>
            <p:spPr>
              <a:xfrm>
                <a:off x="4632204" y="4968527"/>
                <a:ext cx="23811" cy="13233"/>
              </a:xfrm>
              <a:custGeom>
                <a:avLst/>
                <a:gdLst>
                  <a:gd name="connsiteX0" fmla="*/ 22579 w 23811"/>
                  <a:gd name="connsiteY0" fmla="*/ 0 h 13233"/>
                  <a:gd name="connsiteX1" fmla="*/ 23811 w 23811"/>
                  <a:gd name="connsiteY1" fmla="*/ 554 h 13233"/>
                  <a:gd name="connsiteX2" fmla="*/ 14562 w 23811"/>
                  <a:gd name="connsiteY2" fmla="*/ 4625 h 13233"/>
                  <a:gd name="connsiteX3" fmla="*/ 3752 w 23811"/>
                  <a:gd name="connsiteY3" fmla="*/ 12757 h 13233"/>
                  <a:gd name="connsiteX4" fmla="*/ 0 w 23811"/>
                  <a:gd name="connsiteY4" fmla="*/ 13233 h 13233"/>
                  <a:gd name="connsiteX5" fmla="*/ 10535 w 23811"/>
                  <a:gd name="connsiteY5" fmla="*/ 5304 h 13233"/>
                  <a:gd name="connsiteX6" fmla="*/ 22579 w 23811"/>
                  <a:gd name="connsiteY6" fmla="*/ 0 h 1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1" h="13233">
                    <a:moveTo>
                      <a:pt x="22579" y="0"/>
                    </a:moveTo>
                    <a:lnTo>
                      <a:pt x="23811" y="554"/>
                    </a:lnTo>
                    <a:lnTo>
                      <a:pt x="14562" y="4625"/>
                    </a:lnTo>
                    <a:cubicBezTo>
                      <a:pt x="11052" y="7480"/>
                      <a:pt x="7748" y="10807"/>
                      <a:pt x="3752" y="12757"/>
                    </a:cubicBezTo>
                    <a:lnTo>
                      <a:pt x="0" y="13233"/>
                    </a:lnTo>
                    <a:lnTo>
                      <a:pt x="10535" y="5304"/>
                    </a:lnTo>
                    <a:cubicBezTo>
                      <a:pt x="14047" y="2445"/>
                      <a:pt x="17767" y="56"/>
                      <a:pt x="22579"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5" name="Freeform 134">
                <a:extLst>
                  <a:ext uri="{FF2B5EF4-FFF2-40B4-BE49-F238E27FC236}">
                    <a16:creationId xmlns:a16="http://schemas.microsoft.com/office/drawing/2014/main" id="{8CC34D45-883B-AE41-BEDC-DA9179DC3E27}"/>
                  </a:ext>
                </a:extLst>
              </p:cNvPr>
              <p:cNvSpPr/>
              <p:nvPr/>
            </p:nvSpPr>
            <p:spPr>
              <a:xfrm>
                <a:off x="4592003" y="4974701"/>
                <a:ext cx="40201" cy="9958"/>
              </a:xfrm>
              <a:custGeom>
                <a:avLst/>
                <a:gdLst>
                  <a:gd name="connsiteX0" fmla="*/ 1740 w 40201"/>
                  <a:gd name="connsiteY0" fmla="*/ 880 h 9958"/>
                  <a:gd name="connsiteX1" fmla="*/ 17389 w 40201"/>
                  <a:gd name="connsiteY1" fmla="*/ 1944 h 9958"/>
                  <a:gd name="connsiteX2" fmla="*/ 29683 w 40201"/>
                  <a:gd name="connsiteY2" fmla="*/ 8391 h 9958"/>
                  <a:gd name="connsiteX3" fmla="*/ 40201 w 40201"/>
                  <a:gd name="connsiteY3" fmla="*/ 7058 h 9958"/>
                  <a:gd name="connsiteX4" fmla="*/ 39932 w 40201"/>
                  <a:gd name="connsiteY4" fmla="*/ 7260 h 9958"/>
                  <a:gd name="connsiteX5" fmla="*/ 13405 w 40201"/>
                  <a:gd name="connsiteY5" fmla="*/ 2632 h 9958"/>
                  <a:gd name="connsiteX6" fmla="*/ 0 w 40201"/>
                  <a:gd name="connsiteY6" fmla="*/ 1717 h 9958"/>
                  <a:gd name="connsiteX7" fmla="*/ 1740 w 40201"/>
                  <a:gd name="connsiteY7" fmla="*/ 880 h 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01" h="9958">
                    <a:moveTo>
                      <a:pt x="1740" y="880"/>
                    </a:moveTo>
                    <a:cubicBezTo>
                      <a:pt x="6880" y="-456"/>
                      <a:pt x="12098" y="-396"/>
                      <a:pt x="17389" y="1944"/>
                    </a:cubicBezTo>
                    <a:cubicBezTo>
                      <a:pt x="22613" y="4241"/>
                      <a:pt x="25983" y="7004"/>
                      <a:pt x="29683" y="8391"/>
                    </a:cubicBezTo>
                    <a:lnTo>
                      <a:pt x="40201" y="7058"/>
                    </a:lnTo>
                    <a:lnTo>
                      <a:pt x="39932" y="7260"/>
                    </a:lnTo>
                    <a:cubicBezTo>
                      <a:pt x="26842" y="13679"/>
                      <a:pt x="23802" y="7222"/>
                      <a:pt x="13405" y="2632"/>
                    </a:cubicBezTo>
                    <a:lnTo>
                      <a:pt x="0" y="1717"/>
                    </a:lnTo>
                    <a:lnTo>
                      <a:pt x="1740" y="88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6" name="Freeform 135">
                <a:extLst>
                  <a:ext uri="{FF2B5EF4-FFF2-40B4-BE49-F238E27FC236}">
                    <a16:creationId xmlns:a16="http://schemas.microsoft.com/office/drawing/2014/main" id="{9AFBFD47-07BD-7840-8B34-190822319479}"/>
                  </a:ext>
                </a:extLst>
              </p:cNvPr>
              <p:cNvSpPr/>
              <p:nvPr/>
            </p:nvSpPr>
            <p:spPr>
              <a:xfrm>
                <a:off x="4546674" y="4976266"/>
                <a:ext cx="45328" cy="25255"/>
              </a:xfrm>
              <a:custGeom>
                <a:avLst/>
                <a:gdLst>
                  <a:gd name="connsiteX0" fmla="*/ 43082 w 45328"/>
                  <a:gd name="connsiteY0" fmla="*/ 0 h 25255"/>
                  <a:gd name="connsiteX1" fmla="*/ 45328 w 45328"/>
                  <a:gd name="connsiteY1" fmla="*/ 153 h 25255"/>
                  <a:gd name="connsiteX2" fmla="*/ 31888 w 45328"/>
                  <a:gd name="connsiteY2" fmla="*/ 6621 h 25255"/>
                  <a:gd name="connsiteX3" fmla="*/ 3069 w 45328"/>
                  <a:gd name="connsiteY3" fmla="*/ 25084 h 25255"/>
                  <a:gd name="connsiteX4" fmla="*/ 0 w 45328"/>
                  <a:gd name="connsiteY4" fmla="*/ 25255 h 25255"/>
                  <a:gd name="connsiteX5" fmla="*/ 13230 w 45328"/>
                  <a:gd name="connsiteY5" fmla="*/ 17668 h 25255"/>
                  <a:gd name="connsiteX6" fmla="*/ 43082 w 45328"/>
                  <a:gd name="connsiteY6" fmla="*/ 0 h 25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28" h="25255">
                    <a:moveTo>
                      <a:pt x="43082" y="0"/>
                    </a:moveTo>
                    <a:lnTo>
                      <a:pt x="45328" y="153"/>
                    </a:lnTo>
                    <a:lnTo>
                      <a:pt x="31888" y="6621"/>
                    </a:lnTo>
                    <a:cubicBezTo>
                      <a:pt x="21932" y="13101"/>
                      <a:pt x="12311" y="21617"/>
                      <a:pt x="3069" y="25084"/>
                    </a:cubicBezTo>
                    <a:lnTo>
                      <a:pt x="0" y="25255"/>
                    </a:lnTo>
                    <a:lnTo>
                      <a:pt x="13230" y="17668"/>
                    </a:lnTo>
                    <a:cubicBezTo>
                      <a:pt x="22837" y="10921"/>
                      <a:pt x="32802" y="2670"/>
                      <a:pt x="43082"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7" name="Freeform 136">
                <a:extLst>
                  <a:ext uri="{FF2B5EF4-FFF2-40B4-BE49-F238E27FC236}">
                    <a16:creationId xmlns:a16="http://schemas.microsoft.com/office/drawing/2014/main" id="{6159BF1A-AFCE-5D4C-98BB-D86E8D962B2C}"/>
                  </a:ext>
                </a:extLst>
              </p:cNvPr>
              <p:cNvSpPr/>
              <p:nvPr/>
            </p:nvSpPr>
            <p:spPr>
              <a:xfrm>
                <a:off x="4528720" y="5001520"/>
                <a:ext cx="17955" cy="1468"/>
              </a:xfrm>
              <a:custGeom>
                <a:avLst/>
                <a:gdLst>
                  <a:gd name="connsiteX0" fmla="*/ 17955 w 17955"/>
                  <a:gd name="connsiteY0" fmla="*/ 0 h 1468"/>
                  <a:gd name="connsiteX1" fmla="*/ 17049 w 17955"/>
                  <a:gd name="connsiteY1" fmla="*/ 519 h 1468"/>
                  <a:gd name="connsiteX2" fmla="*/ 0 w 17955"/>
                  <a:gd name="connsiteY2" fmla="*/ 1468 h 1468"/>
                  <a:gd name="connsiteX3" fmla="*/ 3505 w 17955"/>
                  <a:gd name="connsiteY3" fmla="*/ 804 h 1468"/>
                  <a:gd name="connsiteX4" fmla="*/ 17955 w 17955"/>
                  <a:gd name="connsiteY4" fmla="*/ 0 h 1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55" h="1468">
                    <a:moveTo>
                      <a:pt x="17955" y="0"/>
                    </a:moveTo>
                    <a:lnTo>
                      <a:pt x="17049" y="519"/>
                    </a:lnTo>
                    <a:lnTo>
                      <a:pt x="0" y="1468"/>
                    </a:lnTo>
                    <a:lnTo>
                      <a:pt x="3505" y="804"/>
                    </a:lnTo>
                    <a:lnTo>
                      <a:pt x="17955"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8" name="Freeform 137">
                <a:extLst>
                  <a:ext uri="{FF2B5EF4-FFF2-40B4-BE49-F238E27FC236}">
                    <a16:creationId xmlns:a16="http://schemas.microsoft.com/office/drawing/2014/main" id="{E29CFBAA-946C-484F-BC44-46FA398EEDEF}"/>
                  </a:ext>
                </a:extLst>
              </p:cNvPr>
              <p:cNvSpPr/>
              <p:nvPr/>
            </p:nvSpPr>
            <p:spPr>
              <a:xfrm>
                <a:off x="4487161" y="5002949"/>
                <a:ext cx="41558" cy="36236"/>
              </a:xfrm>
              <a:custGeom>
                <a:avLst/>
                <a:gdLst>
                  <a:gd name="connsiteX0" fmla="*/ 41558 w 41558"/>
                  <a:gd name="connsiteY0" fmla="*/ 39 h 36236"/>
                  <a:gd name="connsiteX1" fmla="*/ 28918 w 41558"/>
                  <a:gd name="connsiteY1" fmla="*/ 2431 h 36236"/>
                  <a:gd name="connsiteX2" fmla="*/ 23159 w 41558"/>
                  <a:gd name="connsiteY2" fmla="*/ 19767 h 36236"/>
                  <a:gd name="connsiteX3" fmla="*/ 10479 w 41558"/>
                  <a:gd name="connsiteY3" fmla="*/ 27395 h 36236"/>
                  <a:gd name="connsiteX4" fmla="*/ 2086 w 41558"/>
                  <a:gd name="connsiteY4" fmla="*/ 36236 h 36236"/>
                  <a:gd name="connsiteX5" fmla="*/ 0 w 41558"/>
                  <a:gd name="connsiteY5" fmla="*/ 35883 h 36236"/>
                  <a:gd name="connsiteX6" fmla="*/ 4176 w 41558"/>
                  <a:gd name="connsiteY6" fmla="*/ 33607 h 36236"/>
                  <a:gd name="connsiteX7" fmla="*/ 6513 w 41558"/>
                  <a:gd name="connsiteY7" fmla="*/ 28050 h 36236"/>
                  <a:gd name="connsiteX8" fmla="*/ 19176 w 41558"/>
                  <a:gd name="connsiteY8" fmla="*/ 20437 h 36236"/>
                  <a:gd name="connsiteX9" fmla="*/ 24935 w 41558"/>
                  <a:gd name="connsiteY9" fmla="*/ 3083 h 36236"/>
                  <a:gd name="connsiteX10" fmla="*/ 41081 w 41558"/>
                  <a:gd name="connsiteY10" fmla="*/ 65 h 36236"/>
                  <a:gd name="connsiteX11" fmla="*/ 41558 w 41558"/>
                  <a:gd name="connsiteY11" fmla="*/ 39 h 3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558" h="36236">
                    <a:moveTo>
                      <a:pt x="41558" y="39"/>
                    </a:moveTo>
                    <a:lnTo>
                      <a:pt x="28918" y="2431"/>
                    </a:lnTo>
                    <a:cubicBezTo>
                      <a:pt x="23204" y="7198"/>
                      <a:pt x="27400" y="14783"/>
                      <a:pt x="23159" y="19767"/>
                    </a:cubicBezTo>
                    <a:cubicBezTo>
                      <a:pt x="20212" y="23277"/>
                      <a:pt x="14230" y="23364"/>
                      <a:pt x="10479" y="27395"/>
                    </a:cubicBezTo>
                    <a:cubicBezTo>
                      <a:pt x="6104" y="32075"/>
                      <a:pt x="11417" y="34546"/>
                      <a:pt x="2086" y="36236"/>
                    </a:cubicBezTo>
                    <a:lnTo>
                      <a:pt x="0" y="35883"/>
                    </a:lnTo>
                    <a:lnTo>
                      <a:pt x="4176" y="33607"/>
                    </a:lnTo>
                    <a:cubicBezTo>
                      <a:pt x="4560" y="32193"/>
                      <a:pt x="4327" y="30402"/>
                      <a:pt x="6513" y="28050"/>
                    </a:cubicBezTo>
                    <a:cubicBezTo>
                      <a:pt x="10272" y="24057"/>
                      <a:pt x="16217" y="23945"/>
                      <a:pt x="19176" y="20437"/>
                    </a:cubicBezTo>
                    <a:cubicBezTo>
                      <a:pt x="23415" y="15436"/>
                      <a:pt x="19230" y="7860"/>
                      <a:pt x="24935" y="3083"/>
                    </a:cubicBezTo>
                    <a:cubicBezTo>
                      <a:pt x="28654" y="-14"/>
                      <a:pt x="34753" y="-145"/>
                      <a:pt x="41081" y="65"/>
                    </a:cubicBezTo>
                    <a:lnTo>
                      <a:pt x="41558" y="39"/>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39" name="Freeform 138">
                <a:extLst>
                  <a:ext uri="{FF2B5EF4-FFF2-40B4-BE49-F238E27FC236}">
                    <a16:creationId xmlns:a16="http://schemas.microsoft.com/office/drawing/2014/main" id="{FC49B400-5D28-5D48-AA7B-E5F2DB96AE4A}"/>
                  </a:ext>
                </a:extLst>
              </p:cNvPr>
              <p:cNvSpPr/>
              <p:nvPr/>
            </p:nvSpPr>
            <p:spPr>
              <a:xfrm>
                <a:off x="4473347" y="5036932"/>
                <a:ext cx="13815" cy="2913"/>
              </a:xfrm>
              <a:custGeom>
                <a:avLst/>
                <a:gdLst>
                  <a:gd name="connsiteX0" fmla="*/ 2596 w 13815"/>
                  <a:gd name="connsiteY0" fmla="*/ 0 h 2913"/>
                  <a:gd name="connsiteX1" fmla="*/ 13815 w 13815"/>
                  <a:gd name="connsiteY1" fmla="*/ 1901 h 2913"/>
                  <a:gd name="connsiteX2" fmla="*/ 11956 w 13815"/>
                  <a:gd name="connsiteY2" fmla="*/ 2913 h 2913"/>
                  <a:gd name="connsiteX3" fmla="*/ 0 w 13815"/>
                  <a:gd name="connsiteY3" fmla="*/ 901 h 2913"/>
                  <a:gd name="connsiteX4" fmla="*/ 2596 w 13815"/>
                  <a:gd name="connsiteY4" fmla="*/ 0 h 2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5" h="2913">
                    <a:moveTo>
                      <a:pt x="2596" y="0"/>
                    </a:moveTo>
                    <a:lnTo>
                      <a:pt x="13815" y="1901"/>
                    </a:lnTo>
                    <a:lnTo>
                      <a:pt x="11956" y="2913"/>
                    </a:lnTo>
                    <a:lnTo>
                      <a:pt x="0" y="901"/>
                    </a:lnTo>
                    <a:lnTo>
                      <a:pt x="2596"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0" name="Freeform 139">
                <a:extLst>
                  <a:ext uri="{FF2B5EF4-FFF2-40B4-BE49-F238E27FC236}">
                    <a16:creationId xmlns:a16="http://schemas.microsoft.com/office/drawing/2014/main" id="{8126F36D-E1F2-DE42-BA68-5F9FE122B6BE}"/>
                  </a:ext>
                </a:extLst>
              </p:cNvPr>
              <p:cNvSpPr/>
              <p:nvPr/>
            </p:nvSpPr>
            <p:spPr>
              <a:xfrm>
                <a:off x="4244638" y="5037606"/>
                <a:ext cx="228709" cy="197043"/>
              </a:xfrm>
              <a:custGeom>
                <a:avLst/>
                <a:gdLst>
                  <a:gd name="connsiteX0" fmla="*/ 227362 w 228709"/>
                  <a:gd name="connsiteY0" fmla="*/ 0 h 197043"/>
                  <a:gd name="connsiteX1" fmla="*/ 228709 w 228709"/>
                  <a:gd name="connsiteY1" fmla="*/ 227 h 197043"/>
                  <a:gd name="connsiteX2" fmla="*/ 218377 w 228709"/>
                  <a:gd name="connsiteY2" fmla="*/ 3811 h 197043"/>
                  <a:gd name="connsiteX3" fmla="*/ 184605 w 228709"/>
                  <a:gd name="connsiteY3" fmla="*/ 36729 h 197043"/>
                  <a:gd name="connsiteX4" fmla="*/ 3831 w 228709"/>
                  <a:gd name="connsiteY4" fmla="*/ 196480 h 197043"/>
                  <a:gd name="connsiteX5" fmla="*/ 0 w 228709"/>
                  <a:gd name="connsiteY5" fmla="*/ 197043 h 197043"/>
                  <a:gd name="connsiteX6" fmla="*/ 180653 w 228709"/>
                  <a:gd name="connsiteY6" fmla="*/ 37395 h 197043"/>
                  <a:gd name="connsiteX7" fmla="*/ 227362 w 228709"/>
                  <a:gd name="connsiteY7" fmla="*/ 0 h 19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09" h="197043">
                    <a:moveTo>
                      <a:pt x="227362" y="0"/>
                    </a:moveTo>
                    <a:lnTo>
                      <a:pt x="228709" y="227"/>
                    </a:lnTo>
                    <a:lnTo>
                      <a:pt x="218377" y="3811"/>
                    </a:lnTo>
                    <a:cubicBezTo>
                      <a:pt x="205776" y="11749"/>
                      <a:pt x="194249" y="28213"/>
                      <a:pt x="184605" y="36729"/>
                    </a:cubicBezTo>
                    <a:cubicBezTo>
                      <a:pt x="124332" y="89994"/>
                      <a:pt x="64059" y="143215"/>
                      <a:pt x="3831" y="196480"/>
                    </a:cubicBezTo>
                    <a:lnTo>
                      <a:pt x="0" y="197043"/>
                    </a:lnTo>
                    <a:lnTo>
                      <a:pt x="180653" y="37395"/>
                    </a:lnTo>
                    <a:cubicBezTo>
                      <a:pt x="193503" y="26012"/>
                      <a:pt x="209713" y="560"/>
                      <a:pt x="227362"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1" name="Freeform 140">
                <a:extLst>
                  <a:ext uri="{FF2B5EF4-FFF2-40B4-BE49-F238E27FC236}">
                    <a16:creationId xmlns:a16="http://schemas.microsoft.com/office/drawing/2014/main" id="{9FAA96F8-BE6D-BC40-BDCB-A0C7B5D5D7ED}"/>
                  </a:ext>
                </a:extLst>
              </p:cNvPr>
              <p:cNvSpPr/>
              <p:nvPr/>
            </p:nvSpPr>
            <p:spPr>
              <a:xfrm>
                <a:off x="4668122" y="5195800"/>
                <a:ext cx="295103" cy="140262"/>
              </a:xfrm>
              <a:custGeom>
                <a:avLst/>
                <a:gdLst>
                  <a:gd name="connsiteX0" fmla="*/ 295103 w 295103"/>
                  <a:gd name="connsiteY0" fmla="*/ 0 h 140262"/>
                  <a:gd name="connsiteX1" fmla="*/ 294571 w 295103"/>
                  <a:gd name="connsiteY1" fmla="*/ 2068 h 140262"/>
                  <a:gd name="connsiteX2" fmla="*/ 187540 w 295103"/>
                  <a:gd name="connsiteY2" fmla="*/ 48210 h 140262"/>
                  <a:gd name="connsiteX3" fmla="*/ 7302 w 295103"/>
                  <a:gd name="connsiteY3" fmla="*/ 125919 h 140262"/>
                  <a:gd name="connsiteX4" fmla="*/ 635 w 295103"/>
                  <a:gd name="connsiteY4" fmla="*/ 132623 h 140262"/>
                  <a:gd name="connsiteX5" fmla="*/ 979 w 295103"/>
                  <a:gd name="connsiteY5" fmla="*/ 140262 h 140262"/>
                  <a:gd name="connsiteX6" fmla="*/ 886 w 295103"/>
                  <a:gd name="connsiteY6" fmla="*/ 140024 h 140262"/>
                  <a:gd name="connsiteX7" fmla="*/ 7112 w 295103"/>
                  <a:gd name="connsiteY7" fmla="*/ 124177 h 140262"/>
                  <a:gd name="connsiteX8" fmla="*/ 187346 w 295103"/>
                  <a:gd name="connsiteY8" fmla="*/ 46459 h 140262"/>
                  <a:gd name="connsiteX9" fmla="*/ 295103 w 295103"/>
                  <a:gd name="connsiteY9" fmla="*/ 0 h 14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5103" h="140262">
                    <a:moveTo>
                      <a:pt x="295103" y="0"/>
                    </a:moveTo>
                    <a:lnTo>
                      <a:pt x="294571" y="2068"/>
                    </a:lnTo>
                    <a:lnTo>
                      <a:pt x="187540" y="48210"/>
                    </a:lnTo>
                    <a:cubicBezTo>
                      <a:pt x="127446" y="74084"/>
                      <a:pt x="67352" y="100001"/>
                      <a:pt x="7302" y="125919"/>
                    </a:cubicBezTo>
                    <a:cubicBezTo>
                      <a:pt x="3485" y="127544"/>
                      <a:pt x="1470" y="129882"/>
                      <a:pt x="635" y="132623"/>
                    </a:cubicBezTo>
                    <a:lnTo>
                      <a:pt x="979" y="140262"/>
                    </a:lnTo>
                    <a:lnTo>
                      <a:pt x="886" y="140024"/>
                    </a:lnTo>
                    <a:cubicBezTo>
                      <a:pt x="-913" y="133537"/>
                      <a:pt x="-492" y="127430"/>
                      <a:pt x="7112" y="124177"/>
                    </a:cubicBezTo>
                    <a:cubicBezTo>
                      <a:pt x="67222" y="98271"/>
                      <a:pt x="127284" y="72365"/>
                      <a:pt x="187346" y="46459"/>
                    </a:cubicBezTo>
                    <a:lnTo>
                      <a:pt x="295103"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2" name="Freeform 141">
                <a:extLst>
                  <a:ext uri="{FF2B5EF4-FFF2-40B4-BE49-F238E27FC236}">
                    <a16:creationId xmlns:a16="http://schemas.microsoft.com/office/drawing/2014/main" id="{275C10CA-F4BF-3B40-A2EE-03A0F759B608}"/>
                  </a:ext>
                </a:extLst>
              </p:cNvPr>
              <p:cNvSpPr/>
              <p:nvPr/>
            </p:nvSpPr>
            <p:spPr>
              <a:xfrm>
                <a:off x="4227369" y="5233898"/>
                <a:ext cx="103995" cy="328327"/>
              </a:xfrm>
              <a:custGeom>
                <a:avLst/>
                <a:gdLst>
                  <a:gd name="connsiteX0" fmla="*/ 10352 w 103995"/>
                  <a:gd name="connsiteY0" fmla="*/ 0 h 328327"/>
                  <a:gd name="connsiteX1" fmla="*/ 8954 w 103995"/>
                  <a:gd name="connsiteY1" fmla="*/ 2027 h 328327"/>
                  <a:gd name="connsiteX2" fmla="*/ 12777 w 103995"/>
                  <a:gd name="connsiteY2" fmla="*/ 1457 h 328327"/>
                  <a:gd name="connsiteX3" fmla="*/ 11054 w 103995"/>
                  <a:gd name="connsiteY3" fmla="*/ 2962 h 328327"/>
                  <a:gd name="connsiteX4" fmla="*/ 27306 w 103995"/>
                  <a:gd name="connsiteY4" fmla="*/ 61211 h 328327"/>
                  <a:gd name="connsiteX5" fmla="*/ 42798 w 103995"/>
                  <a:gd name="connsiteY5" fmla="*/ 89642 h 328327"/>
                  <a:gd name="connsiteX6" fmla="*/ 62978 w 103995"/>
                  <a:gd name="connsiteY6" fmla="*/ 128604 h 328327"/>
                  <a:gd name="connsiteX7" fmla="*/ 67621 w 103995"/>
                  <a:gd name="connsiteY7" fmla="*/ 169604 h 328327"/>
                  <a:gd name="connsiteX8" fmla="*/ 43914 w 103995"/>
                  <a:gd name="connsiteY8" fmla="*/ 196995 h 328327"/>
                  <a:gd name="connsiteX9" fmla="*/ 61014 w 103995"/>
                  <a:gd name="connsiteY9" fmla="*/ 262958 h 328327"/>
                  <a:gd name="connsiteX10" fmla="*/ 97088 w 103995"/>
                  <a:gd name="connsiteY10" fmla="*/ 327318 h 328327"/>
                  <a:gd name="connsiteX11" fmla="*/ 103995 w 103995"/>
                  <a:gd name="connsiteY11" fmla="*/ 325301 h 328327"/>
                  <a:gd name="connsiteX12" fmla="*/ 103926 w 103995"/>
                  <a:gd name="connsiteY12" fmla="*/ 325535 h 328327"/>
                  <a:gd name="connsiteX13" fmla="*/ 94324 w 103995"/>
                  <a:gd name="connsiteY13" fmla="*/ 328324 h 328327"/>
                  <a:gd name="connsiteX14" fmla="*/ 58264 w 103995"/>
                  <a:gd name="connsiteY14" fmla="*/ 263981 h 328327"/>
                  <a:gd name="connsiteX15" fmla="*/ 41160 w 103995"/>
                  <a:gd name="connsiteY15" fmla="*/ 197996 h 328327"/>
                  <a:gd name="connsiteX16" fmla="*/ 64865 w 103995"/>
                  <a:gd name="connsiteY16" fmla="*/ 170563 h 328327"/>
                  <a:gd name="connsiteX17" fmla="*/ 60196 w 103995"/>
                  <a:gd name="connsiteY17" fmla="*/ 129588 h 328327"/>
                  <a:gd name="connsiteX18" fmla="*/ 40034 w 103995"/>
                  <a:gd name="connsiteY18" fmla="*/ 90632 h 328327"/>
                  <a:gd name="connsiteX19" fmla="*/ 24539 w 103995"/>
                  <a:gd name="connsiteY19" fmla="*/ 62149 h 328327"/>
                  <a:gd name="connsiteX20" fmla="*/ 8280 w 103995"/>
                  <a:gd name="connsiteY20" fmla="*/ 3918 h 328327"/>
                  <a:gd name="connsiteX21" fmla="*/ 0 w 103995"/>
                  <a:gd name="connsiteY21" fmla="*/ 5792 h 328327"/>
                  <a:gd name="connsiteX22" fmla="*/ 10352 w 103995"/>
                  <a:gd name="connsiteY22" fmla="*/ 0 h 32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3995" h="328327">
                    <a:moveTo>
                      <a:pt x="10352" y="0"/>
                    </a:moveTo>
                    <a:lnTo>
                      <a:pt x="8954" y="2027"/>
                    </a:lnTo>
                    <a:lnTo>
                      <a:pt x="12777" y="1457"/>
                    </a:lnTo>
                    <a:lnTo>
                      <a:pt x="11054" y="2962"/>
                    </a:lnTo>
                    <a:cubicBezTo>
                      <a:pt x="18421" y="22248"/>
                      <a:pt x="23287" y="43701"/>
                      <a:pt x="27306" y="61211"/>
                    </a:cubicBezTo>
                    <a:cubicBezTo>
                      <a:pt x="30074" y="73259"/>
                      <a:pt x="31592" y="81884"/>
                      <a:pt x="42798" y="89642"/>
                    </a:cubicBezTo>
                    <a:cubicBezTo>
                      <a:pt x="61594" y="102730"/>
                      <a:pt x="61371" y="105894"/>
                      <a:pt x="62978" y="128604"/>
                    </a:cubicBezTo>
                    <a:cubicBezTo>
                      <a:pt x="63871" y="141997"/>
                      <a:pt x="69720" y="156082"/>
                      <a:pt x="67621" y="169604"/>
                    </a:cubicBezTo>
                    <a:cubicBezTo>
                      <a:pt x="65255" y="184643"/>
                      <a:pt x="53469" y="185943"/>
                      <a:pt x="43914" y="196995"/>
                    </a:cubicBezTo>
                    <a:cubicBezTo>
                      <a:pt x="22394" y="221829"/>
                      <a:pt x="46950" y="242892"/>
                      <a:pt x="61014" y="262958"/>
                    </a:cubicBezTo>
                    <a:cubicBezTo>
                      <a:pt x="71595" y="278084"/>
                      <a:pt x="69988" y="326928"/>
                      <a:pt x="97088" y="327318"/>
                    </a:cubicBezTo>
                    <a:lnTo>
                      <a:pt x="103995" y="325301"/>
                    </a:lnTo>
                    <a:lnTo>
                      <a:pt x="103926" y="325535"/>
                    </a:lnTo>
                    <a:cubicBezTo>
                      <a:pt x="102295" y="327313"/>
                      <a:pt x="99405" y="328398"/>
                      <a:pt x="94324" y="328324"/>
                    </a:cubicBezTo>
                    <a:cubicBezTo>
                      <a:pt x="67199" y="327947"/>
                      <a:pt x="68849" y="279084"/>
                      <a:pt x="58264" y="263981"/>
                    </a:cubicBezTo>
                    <a:cubicBezTo>
                      <a:pt x="44179" y="243898"/>
                      <a:pt x="19629" y="222845"/>
                      <a:pt x="41160" y="197996"/>
                    </a:cubicBezTo>
                    <a:cubicBezTo>
                      <a:pt x="50739" y="186958"/>
                      <a:pt x="62490" y="185639"/>
                      <a:pt x="64865" y="170563"/>
                    </a:cubicBezTo>
                    <a:cubicBezTo>
                      <a:pt x="66957" y="157048"/>
                      <a:pt x="61122" y="142995"/>
                      <a:pt x="60196" y="129588"/>
                    </a:cubicBezTo>
                    <a:cubicBezTo>
                      <a:pt x="58627" y="106866"/>
                      <a:pt x="58828" y="103716"/>
                      <a:pt x="40034" y="90632"/>
                    </a:cubicBezTo>
                    <a:cubicBezTo>
                      <a:pt x="28805" y="82852"/>
                      <a:pt x="27316" y="74210"/>
                      <a:pt x="24539" y="62149"/>
                    </a:cubicBezTo>
                    <a:cubicBezTo>
                      <a:pt x="20515" y="44650"/>
                      <a:pt x="15645" y="23220"/>
                      <a:pt x="8280" y="3918"/>
                    </a:cubicBezTo>
                    <a:lnTo>
                      <a:pt x="0" y="5792"/>
                    </a:lnTo>
                    <a:lnTo>
                      <a:pt x="1035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3" name="Freeform 142">
                <a:extLst>
                  <a:ext uri="{FF2B5EF4-FFF2-40B4-BE49-F238E27FC236}">
                    <a16:creationId xmlns:a16="http://schemas.microsoft.com/office/drawing/2014/main" id="{EA01E414-C427-7343-B717-14A922CDD9C9}"/>
                  </a:ext>
                </a:extLst>
              </p:cNvPr>
              <p:cNvSpPr/>
              <p:nvPr/>
            </p:nvSpPr>
            <p:spPr>
              <a:xfrm>
                <a:off x="4240145" y="5234648"/>
                <a:ext cx="4492" cy="706"/>
              </a:xfrm>
              <a:custGeom>
                <a:avLst/>
                <a:gdLst>
                  <a:gd name="connsiteX0" fmla="*/ 4492 w 4492"/>
                  <a:gd name="connsiteY0" fmla="*/ 0 h 706"/>
                  <a:gd name="connsiteX1" fmla="*/ 4442 w 4492"/>
                  <a:gd name="connsiteY1" fmla="*/ 44 h 706"/>
                  <a:gd name="connsiteX2" fmla="*/ 0 w 4492"/>
                  <a:gd name="connsiteY2" fmla="*/ 706 h 706"/>
                  <a:gd name="connsiteX3" fmla="*/ 63 w 4492"/>
                  <a:gd name="connsiteY3" fmla="*/ 651 h 706"/>
                  <a:gd name="connsiteX4" fmla="*/ 4492 w 4492"/>
                  <a:gd name="connsiteY4" fmla="*/ 0 h 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2" h="706">
                    <a:moveTo>
                      <a:pt x="4492" y="0"/>
                    </a:moveTo>
                    <a:lnTo>
                      <a:pt x="4442" y="44"/>
                    </a:lnTo>
                    <a:lnTo>
                      <a:pt x="0" y="706"/>
                    </a:lnTo>
                    <a:lnTo>
                      <a:pt x="63" y="651"/>
                    </a:lnTo>
                    <a:lnTo>
                      <a:pt x="449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4" name="Freeform 143">
                <a:extLst>
                  <a:ext uri="{FF2B5EF4-FFF2-40B4-BE49-F238E27FC236}">
                    <a16:creationId xmlns:a16="http://schemas.microsoft.com/office/drawing/2014/main" id="{805B8E5C-EDC0-0A41-856C-6B9343C8B864}"/>
                  </a:ext>
                </a:extLst>
              </p:cNvPr>
              <p:cNvSpPr/>
              <p:nvPr/>
            </p:nvSpPr>
            <p:spPr>
              <a:xfrm>
                <a:off x="3880456" y="5236238"/>
                <a:ext cx="345208" cy="10076"/>
              </a:xfrm>
              <a:custGeom>
                <a:avLst/>
                <a:gdLst>
                  <a:gd name="connsiteX0" fmla="*/ 172925 w 345208"/>
                  <a:gd name="connsiteY0" fmla="*/ 386 h 10076"/>
                  <a:gd name="connsiteX1" fmla="*/ 328433 w 345208"/>
                  <a:gd name="connsiteY1" fmla="*/ 2468 h 10076"/>
                  <a:gd name="connsiteX2" fmla="*/ 345208 w 345208"/>
                  <a:gd name="connsiteY2" fmla="*/ 3837 h 10076"/>
                  <a:gd name="connsiteX3" fmla="*/ 342047 w 345208"/>
                  <a:gd name="connsiteY3" fmla="*/ 4552 h 10076"/>
                  <a:gd name="connsiteX4" fmla="*/ 327544 w 345208"/>
                  <a:gd name="connsiteY4" fmla="*/ 3165 h 10076"/>
                  <a:gd name="connsiteX5" fmla="*/ 16171 w 345208"/>
                  <a:gd name="connsiteY5" fmla="*/ 3165 h 10076"/>
                  <a:gd name="connsiteX6" fmla="*/ 0 w 345208"/>
                  <a:gd name="connsiteY6" fmla="*/ 10076 h 10076"/>
                  <a:gd name="connsiteX7" fmla="*/ 556 w 345208"/>
                  <a:gd name="connsiteY7" fmla="*/ 9631 h 10076"/>
                  <a:gd name="connsiteX8" fmla="*/ 17287 w 345208"/>
                  <a:gd name="connsiteY8" fmla="*/ 2468 h 10076"/>
                  <a:gd name="connsiteX9" fmla="*/ 172925 w 345208"/>
                  <a:gd name="connsiteY9" fmla="*/ 386 h 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208" h="10076">
                    <a:moveTo>
                      <a:pt x="172925" y="386"/>
                    </a:moveTo>
                    <a:cubicBezTo>
                      <a:pt x="224933" y="-308"/>
                      <a:pt x="276920" y="-308"/>
                      <a:pt x="328433" y="2468"/>
                    </a:cubicBezTo>
                    <a:lnTo>
                      <a:pt x="345208" y="3837"/>
                    </a:lnTo>
                    <a:lnTo>
                      <a:pt x="342047" y="4552"/>
                    </a:lnTo>
                    <a:cubicBezTo>
                      <a:pt x="337143" y="4343"/>
                      <a:pt x="332012" y="3408"/>
                      <a:pt x="327544" y="3165"/>
                    </a:cubicBezTo>
                    <a:cubicBezTo>
                      <a:pt x="224437" y="-2381"/>
                      <a:pt x="119439" y="3165"/>
                      <a:pt x="16171" y="3165"/>
                    </a:cubicBezTo>
                    <a:lnTo>
                      <a:pt x="0" y="10076"/>
                    </a:lnTo>
                    <a:lnTo>
                      <a:pt x="556" y="9631"/>
                    </a:lnTo>
                    <a:cubicBezTo>
                      <a:pt x="5011" y="5701"/>
                      <a:pt x="9867" y="2488"/>
                      <a:pt x="17287" y="2468"/>
                    </a:cubicBezTo>
                    <a:cubicBezTo>
                      <a:pt x="68887" y="2468"/>
                      <a:pt x="120916" y="1080"/>
                      <a:pt x="172925" y="386"/>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5" name="Freeform 144">
                <a:extLst>
                  <a:ext uri="{FF2B5EF4-FFF2-40B4-BE49-F238E27FC236}">
                    <a16:creationId xmlns:a16="http://schemas.microsoft.com/office/drawing/2014/main" id="{EE422CD4-C63E-3A4A-953D-EFBD6FC6A5E1}"/>
                  </a:ext>
                </a:extLst>
              </p:cNvPr>
              <p:cNvSpPr/>
              <p:nvPr/>
            </p:nvSpPr>
            <p:spPr>
              <a:xfrm>
                <a:off x="4225664" y="5239689"/>
                <a:ext cx="1704" cy="458"/>
              </a:xfrm>
              <a:custGeom>
                <a:avLst/>
                <a:gdLst>
                  <a:gd name="connsiteX0" fmla="*/ 1704 w 1704"/>
                  <a:gd name="connsiteY0" fmla="*/ 0 h 458"/>
                  <a:gd name="connsiteX1" fmla="*/ 885 w 1704"/>
                  <a:gd name="connsiteY1" fmla="*/ 458 h 458"/>
                  <a:gd name="connsiteX2" fmla="*/ 0 w 1704"/>
                  <a:gd name="connsiteY2" fmla="*/ 386 h 458"/>
                  <a:gd name="connsiteX3" fmla="*/ 1704 w 1704"/>
                  <a:gd name="connsiteY3" fmla="*/ 0 h 458"/>
                </a:gdLst>
                <a:ahLst/>
                <a:cxnLst>
                  <a:cxn ang="0">
                    <a:pos x="connsiteX0" y="connsiteY0"/>
                  </a:cxn>
                  <a:cxn ang="0">
                    <a:pos x="connsiteX1" y="connsiteY1"/>
                  </a:cxn>
                  <a:cxn ang="0">
                    <a:pos x="connsiteX2" y="connsiteY2"/>
                  </a:cxn>
                  <a:cxn ang="0">
                    <a:pos x="connsiteX3" y="connsiteY3"/>
                  </a:cxn>
                </a:cxnLst>
                <a:rect l="l" t="t" r="r" b="b"/>
                <a:pathLst>
                  <a:path w="1704" h="458">
                    <a:moveTo>
                      <a:pt x="1704" y="0"/>
                    </a:moveTo>
                    <a:lnTo>
                      <a:pt x="885" y="458"/>
                    </a:lnTo>
                    <a:lnTo>
                      <a:pt x="0" y="386"/>
                    </a:lnTo>
                    <a:lnTo>
                      <a:pt x="170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6" name="Freeform 145">
                <a:extLst>
                  <a:ext uri="{FF2B5EF4-FFF2-40B4-BE49-F238E27FC236}">
                    <a16:creationId xmlns:a16="http://schemas.microsoft.com/office/drawing/2014/main" id="{996274BC-6B33-6F44-9280-52BF75BADB86}"/>
                  </a:ext>
                </a:extLst>
              </p:cNvPr>
              <p:cNvSpPr/>
              <p:nvPr/>
            </p:nvSpPr>
            <p:spPr>
              <a:xfrm>
                <a:off x="3866346" y="5246315"/>
                <a:ext cx="14111" cy="11089"/>
              </a:xfrm>
              <a:custGeom>
                <a:avLst/>
                <a:gdLst>
                  <a:gd name="connsiteX0" fmla="*/ 14111 w 14111"/>
                  <a:gd name="connsiteY0" fmla="*/ 0 h 11089"/>
                  <a:gd name="connsiteX1" fmla="*/ 339 w 14111"/>
                  <a:gd name="connsiteY1" fmla="*/ 11020 h 11089"/>
                  <a:gd name="connsiteX2" fmla="*/ 0 w 14111"/>
                  <a:gd name="connsiteY2" fmla="*/ 11089 h 11089"/>
                  <a:gd name="connsiteX3" fmla="*/ 13540 w 14111"/>
                  <a:gd name="connsiteY3" fmla="*/ 244 h 11089"/>
                  <a:gd name="connsiteX4" fmla="*/ 14111 w 14111"/>
                  <a:gd name="connsiteY4" fmla="*/ 0 h 110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1" h="11089">
                    <a:moveTo>
                      <a:pt x="14111" y="0"/>
                    </a:moveTo>
                    <a:lnTo>
                      <a:pt x="339" y="11020"/>
                    </a:lnTo>
                    <a:lnTo>
                      <a:pt x="0" y="11089"/>
                    </a:lnTo>
                    <a:lnTo>
                      <a:pt x="13540" y="244"/>
                    </a:lnTo>
                    <a:lnTo>
                      <a:pt x="14111"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7" name="Freeform 146">
                <a:extLst>
                  <a:ext uri="{FF2B5EF4-FFF2-40B4-BE49-F238E27FC236}">
                    <a16:creationId xmlns:a16="http://schemas.microsoft.com/office/drawing/2014/main" id="{430FE2DB-CACE-B249-B410-0A9ADA623F26}"/>
                  </a:ext>
                </a:extLst>
              </p:cNvPr>
              <p:cNvSpPr/>
              <p:nvPr/>
            </p:nvSpPr>
            <p:spPr>
              <a:xfrm>
                <a:off x="3618852" y="5269957"/>
                <a:ext cx="31749" cy="158143"/>
              </a:xfrm>
              <a:custGeom>
                <a:avLst/>
                <a:gdLst>
                  <a:gd name="connsiteX0" fmla="*/ 28994 w 31749"/>
                  <a:gd name="connsiteY0" fmla="*/ 0 h 158143"/>
                  <a:gd name="connsiteX1" fmla="*/ 8049 w 31749"/>
                  <a:gd name="connsiteY1" fmla="*/ 23821 h 158143"/>
                  <a:gd name="connsiteX2" fmla="*/ 21069 w 31749"/>
                  <a:gd name="connsiteY2" fmla="*/ 137289 h 158143"/>
                  <a:gd name="connsiteX3" fmla="*/ 31749 w 31749"/>
                  <a:gd name="connsiteY3" fmla="*/ 158143 h 158143"/>
                  <a:gd name="connsiteX4" fmla="*/ 31237 w 31749"/>
                  <a:gd name="connsiteY4" fmla="*/ 157710 h 158143"/>
                  <a:gd name="connsiteX5" fmla="*/ 19043 w 31749"/>
                  <a:gd name="connsiteY5" fmla="*/ 138515 h 158143"/>
                  <a:gd name="connsiteX6" fmla="*/ 27977 w 31749"/>
                  <a:gd name="connsiteY6" fmla="*/ 84 h 158143"/>
                  <a:gd name="connsiteX7" fmla="*/ 28994 w 31749"/>
                  <a:gd name="connsiteY7" fmla="*/ 0 h 158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49" h="158143">
                    <a:moveTo>
                      <a:pt x="28994" y="0"/>
                    </a:moveTo>
                    <a:lnTo>
                      <a:pt x="8049" y="23821"/>
                    </a:lnTo>
                    <a:cubicBezTo>
                      <a:pt x="-5241" y="58878"/>
                      <a:pt x="5329" y="117372"/>
                      <a:pt x="21069" y="137289"/>
                    </a:cubicBezTo>
                    <a:lnTo>
                      <a:pt x="31749" y="158143"/>
                    </a:lnTo>
                    <a:lnTo>
                      <a:pt x="31237" y="157710"/>
                    </a:lnTo>
                    <a:cubicBezTo>
                      <a:pt x="28058" y="151115"/>
                      <a:pt x="23953" y="144734"/>
                      <a:pt x="19043" y="138515"/>
                    </a:cubicBezTo>
                    <a:cubicBezTo>
                      <a:pt x="-1924" y="111970"/>
                      <a:pt x="-13716" y="16829"/>
                      <a:pt x="27977" y="84"/>
                    </a:cubicBezTo>
                    <a:lnTo>
                      <a:pt x="28994"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8" name="Freeform 147">
                <a:extLst>
                  <a:ext uri="{FF2B5EF4-FFF2-40B4-BE49-F238E27FC236}">
                    <a16:creationId xmlns:a16="http://schemas.microsoft.com/office/drawing/2014/main" id="{11B8BBD8-B368-2B4B-85C2-3997CD460CAB}"/>
                  </a:ext>
                </a:extLst>
              </p:cNvPr>
              <p:cNvSpPr/>
              <p:nvPr/>
            </p:nvSpPr>
            <p:spPr>
              <a:xfrm>
                <a:off x="4669101" y="5336062"/>
                <a:ext cx="6999" cy="19126"/>
              </a:xfrm>
              <a:custGeom>
                <a:avLst/>
                <a:gdLst>
                  <a:gd name="connsiteX0" fmla="*/ 0 w 6999"/>
                  <a:gd name="connsiteY0" fmla="*/ 0 h 19126"/>
                  <a:gd name="connsiteX1" fmla="*/ 6999 w 6999"/>
                  <a:gd name="connsiteY1" fmla="*/ 17884 h 19126"/>
                  <a:gd name="connsiteX2" fmla="*/ 6988 w 6999"/>
                  <a:gd name="connsiteY2" fmla="*/ 19126 h 19126"/>
                  <a:gd name="connsiteX3" fmla="*/ 67 w 6999"/>
                  <a:gd name="connsiteY3" fmla="*/ 1487 h 19126"/>
                  <a:gd name="connsiteX4" fmla="*/ 0 w 6999"/>
                  <a:gd name="connsiteY4" fmla="*/ 0 h 1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9" h="19126">
                    <a:moveTo>
                      <a:pt x="0" y="0"/>
                    </a:moveTo>
                    <a:lnTo>
                      <a:pt x="6999" y="17884"/>
                    </a:lnTo>
                    <a:lnTo>
                      <a:pt x="6988" y="19126"/>
                    </a:lnTo>
                    <a:lnTo>
                      <a:pt x="67" y="1487"/>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49" name="Freeform 148">
                <a:extLst>
                  <a:ext uri="{FF2B5EF4-FFF2-40B4-BE49-F238E27FC236}">
                    <a16:creationId xmlns:a16="http://schemas.microsoft.com/office/drawing/2014/main" id="{215D9A95-DF60-9D4B-B341-92A0239F821B}"/>
                  </a:ext>
                </a:extLst>
              </p:cNvPr>
              <p:cNvSpPr/>
              <p:nvPr/>
            </p:nvSpPr>
            <p:spPr>
              <a:xfrm>
                <a:off x="4465932" y="5355188"/>
                <a:ext cx="211767" cy="221814"/>
              </a:xfrm>
              <a:custGeom>
                <a:avLst/>
                <a:gdLst>
                  <a:gd name="connsiteX0" fmla="*/ 210157 w 211767"/>
                  <a:gd name="connsiteY0" fmla="*/ 0 h 221814"/>
                  <a:gd name="connsiteX1" fmla="*/ 210340 w 211767"/>
                  <a:gd name="connsiteY1" fmla="*/ 466 h 221814"/>
                  <a:gd name="connsiteX2" fmla="*/ 168149 w 211767"/>
                  <a:gd name="connsiteY2" fmla="*/ 68770 h 221814"/>
                  <a:gd name="connsiteX3" fmla="*/ 275 w 211767"/>
                  <a:gd name="connsiteY3" fmla="*/ 221814 h 221814"/>
                  <a:gd name="connsiteX4" fmla="*/ 0 w 211767"/>
                  <a:gd name="connsiteY4" fmla="*/ 220214 h 221814"/>
                  <a:gd name="connsiteX5" fmla="*/ 168009 w 211767"/>
                  <a:gd name="connsiteY5" fmla="*/ 67055 h 221814"/>
                  <a:gd name="connsiteX6" fmla="*/ 209983 w 211767"/>
                  <a:gd name="connsiteY6" fmla="*/ 19831 h 221814"/>
                  <a:gd name="connsiteX7" fmla="*/ 210157 w 211767"/>
                  <a:gd name="connsiteY7" fmla="*/ 0 h 221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767" h="221814">
                    <a:moveTo>
                      <a:pt x="210157" y="0"/>
                    </a:moveTo>
                    <a:lnTo>
                      <a:pt x="210340" y="466"/>
                    </a:lnTo>
                    <a:cubicBezTo>
                      <a:pt x="218689" y="31324"/>
                      <a:pt x="188553" y="50177"/>
                      <a:pt x="168149" y="68770"/>
                    </a:cubicBezTo>
                    <a:lnTo>
                      <a:pt x="275" y="221814"/>
                    </a:lnTo>
                    <a:lnTo>
                      <a:pt x="0" y="220214"/>
                    </a:lnTo>
                    <a:cubicBezTo>
                      <a:pt x="55971" y="169161"/>
                      <a:pt x="111990" y="118108"/>
                      <a:pt x="168009" y="67055"/>
                    </a:cubicBezTo>
                    <a:cubicBezTo>
                      <a:pt x="183314" y="53104"/>
                      <a:pt x="204086" y="39019"/>
                      <a:pt x="209983" y="19831"/>
                    </a:cubicBezTo>
                    <a:lnTo>
                      <a:pt x="210157"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0" name="Freeform 149">
                <a:extLst>
                  <a:ext uri="{FF2B5EF4-FFF2-40B4-BE49-F238E27FC236}">
                    <a16:creationId xmlns:a16="http://schemas.microsoft.com/office/drawing/2014/main" id="{C0B48578-B233-3A4C-80CD-5E68F2978816}"/>
                  </a:ext>
                </a:extLst>
              </p:cNvPr>
              <p:cNvSpPr/>
              <p:nvPr/>
            </p:nvSpPr>
            <p:spPr>
              <a:xfrm>
                <a:off x="3651282" y="5425388"/>
                <a:ext cx="506264" cy="383220"/>
              </a:xfrm>
              <a:custGeom>
                <a:avLst/>
                <a:gdLst>
                  <a:gd name="connsiteX0" fmla="*/ 0 w 506264"/>
                  <a:gd name="connsiteY0" fmla="*/ 0 h 383220"/>
                  <a:gd name="connsiteX1" fmla="*/ 69286 w 506264"/>
                  <a:gd name="connsiteY1" fmla="*/ 61789 h 383220"/>
                  <a:gd name="connsiteX2" fmla="*/ 100734 w 506264"/>
                  <a:gd name="connsiteY2" fmla="*/ 70219 h 383220"/>
                  <a:gd name="connsiteX3" fmla="*/ 122863 w 506264"/>
                  <a:gd name="connsiteY3" fmla="*/ 97977 h 383220"/>
                  <a:gd name="connsiteX4" fmla="*/ 178303 w 506264"/>
                  <a:gd name="connsiteY4" fmla="*/ 151709 h 383220"/>
                  <a:gd name="connsiteX5" fmla="*/ 288800 w 506264"/>
                  <a:gd name="connsiteY5" fmla="*/ 185995 h 383220"/>
                  <a:gd name="connsiteX6" fmla="*/ 353974 w 506264"/>
                  <a:gd name="connsiteY6" fmla="*/ 240747 h 383220"/>
                  <a:gd name="connsiteX7" fmla="*/ 407610 w 506264"/>
                  <a:gd name="connsiteY7" fmla="*/ 298067 h 383220"/>
                  <a:gd name="connsiteX8" fmla="*/ 457164 w 506264"/>
                  <a:gd name="connsiteY8" fmla="*/ 353955 h 383220"/>
                  <a:gd name="connsiteX9" fmla="*/ 494883 w 506264"/>
                  <a:gd name="connsiteY9" fmla="*/ 364874 h 383220"/>
                  <a:gd name="connsiteX10" fmla="*/ 505205 w 506264"/>
                  <a:gd name="connsiteY10" fmla="*/ 381685 h 383220"/>
                  <a:gd name="connsiteX11" fmla="*/ 502433 w 506264"/>
                  <a:gd name="connsiteY11" fmla="*/ 383220 h 383220"/>
                  <a:gd name="connsiteX12" fmla="*/ 503676 w 506264"/>
                  <a:gd name="connsiteY12" fmla="*/ 376430 h 383220"/>
                  <a:gd name="connsiteX13" fmla="*/ 493574 w 506264"/>
                  <a:gd name="connsiteY13" fmla="*/ 367256 h 383220"/>
                  <a:gd name="connsiteX14" fmla="*/ 455905 w 506264"/>
                  <a:gd name="connsiteY14" fmla="*/ 356326 h 383220"/>
                  <a:gd name="connsiteX15" fmla="*/ 406324 w 506264"/>
                  <a:gd name="connsiteY15" fmla="*/ 300436 h 383220"/>
                  <a:gd name="connsiteX16" fmla="*/ 352718 w 506264"/>
                  <a:gd name="connsiteY16" fmla="*/ 243093 h 383220"/>
                  <a:gd name="connsiteX17" fmla="*/ 287562 w 506264"/>
                  <a:gd name="connsiteY17" fmla="*/ 188334 h 383220"/>
                  <a:gd name="connsiteX18" fmla="*/ 177090 w 506264"/>
                  <a:gd name="connsiteY18" fmla="*/ 154036 h 383220"/>
                  <a:gd name="connsiteX19" fmla="*/ 121633 w 506264"/>
                  <a:gd name="connsiteY19" fmla="*/ 100300 h 383220"/>
                  <a:gd name="connsiteX20" fmla="*/ 99539 w 506264"/>
                  <a:gd name="connsiteY20" fmla="*/ 72517 h 383220"/>
                  <a:gd name="connsiteX21" fmla="*/ 68108 w 506264"/>
                  <a:gd name="connsiteY21" fmla="*/ 64091 h 383220"/>
                  <a:gd name="connsiteX22" fmla="*/ 34861 w 506264"/>
                  <a:gd name="connsiteY22" fmla="*/ 32791 h 383220"/>
                  <a:gd name="connsiteX23" fmla="*/ 1177 w 506264"/>
                  <a:gd name="connsiteY23" fmla="*/ 4285 h 383220"/>
                  <a:gd name="connsiteX24" fmla="*/ 0 w 506264"/>
                  <a:gd name="connsiteY24" fmla="*/ 0 h 383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6264" h="383220">
                    <a:moveTo>
                      <a:pt x="0" y="0"/>
                    </a:moveTo>
                    <a:cubicBezTo>
                      <a:pt x="25915" y="16682"/>
                      <a:pt x="47127" y="44049"/>
                      <a:pt x="69286" y="61789"/>
                    </a:cubicBezTo>
                    <a:cubicBezTo>
                      <a:pt x="81888" y="71846"/>
                      <a:pt x="86770" y="65063"/>
                      <a:pt x="100734" y="70219"/>
                    </a:cubicBezTo>
                    <a:cubicBezTo>
                      <a:pt x="110556" y="73845"/>
                      <a:pt x="117508" y="89234"/>
                      <a:pt x="122863" y="97977"/>
                    </a:cubicBezTo>
                    <a:cubicBezTo>
                      <a:pt x="135436" y="118501"/>
                      <a:pt x="153186" y="143692"/>
                      <a:pt x="178303" y="151709"/>
                    </a:cubicBezTo>
                    <a:cubicBezTo>
                      <a:pt x="213686" y="163020"/>
                      <a:pt x="255429" y="170097"/>
                      <a:pt x="288800" y="185995"/>
                    </a:cubicBezTo>
                    <a:cubicBezTo>
                      <a:pt x="315603" y="198737"/>
                      <a:pt x="332969" y="221457"/>
                      <a:pt x="353974" y="240747"/>
                    </a:cubicBezTo>
                    <a:cubicBezTo>
                      <a:pt x="374446" y="259507"/>
                      <a:pt x="392138" y="274915"/>
                      <a:pt x="407610" y="298067"/>
                    </a:cubicBezTo>
                    <a:cubicBezTo>
                      <a:pt x="420213" y="316905"/>
                      <a:pt x="433585" y="344330"/>
                      <a:pt x="457164" y="353955"/>
                    </a:cubicBezTo>
                    <a:cubicBezTo>
                      <a:pt x="468346" y="358503"/>
                      <a:pt x="483641" y="358993"/>
                      <a:pt x="494883" y="364874"/>
                    </a:cubicBezTo>
                    <a:cubicBezTo>
                      <a:pt x="502538" y="368873"/>
                      <a:pt x="508845" y="376567"/>
                      <a:pt x="505205" y="381685"/>
                    </a:cubicBezTo>
                    <a:lnTo>
                      <a:pt x="502433" y="383220"/>
                    </a:lnTo>
                    <a:lnTo>
                      <a:pt x="503676" y="376430"/>
                    </a:lnTo>
                    <a:cubicBezTo>
                      <a:pt x="501774" y="372950"/>
                      <a:pt x="497901" y="369518"/>
                      <a:pt x="493574" y="367256"/>
                    </a:cubicBezTo>
                    <a:cubicBezTo>
                      <a:pt x="482346" y="361387"/>
                      <a:pt x="467053" y="360902"/>
                      <a:pt x="455905" y="356326"/>
                    </a:cubicBezTo>
                    <a:cubicBezTo>
                      <a:pt x="432282" y="346715"/>
                      <a:pt x="418921" y="319281"/>
                      <a:pt x="406324" y="300436"/>
                    </a:cubicBezTo>
                    <a:cubicBezTo>
                      <a:pt x="390870" y="277284"/>
                      <a:pt x="373162" y="261884"/>
                      <a:pt x="352718" y="243093"/>
                    </a:cubicBezTo>
                    <a:cubicBezTo>
                      <a:pt x="331710" y="223817"/>
                      <a:pt x="314325" y="201068"/>
                      <a:pt x="287562" y="188334"/>
                    </a:cubicBezTo>
                    <a:cubicBezTo>
                      <a:pt x="254199" y="172424"/>
                      <a:pt x="212465" y="165343"/>
                      <a:pt x="177090" y="154036"/>
                    </a:cubicBezTo>
                    <a:cubicBezTo>
                      <a:pt x="151977" y="146013"/>
                      <a:pt x="134230" y="120815"/>
                      <a:pt x="121633" y="100300"/>
                    </a:cubicBezTo>
                    <a:cubicBezTo>
                      <a:pt x="116280" y="91551"/>
                      <a:pt x="109358" y="76152"/>
                      <a:pt x="99539" y="72517"/>
                    </a:cubicBezTo>
                    <a:cubicBezTo>
                      <a:pt x="85574" y="67375"/>
                      <a:pt x="80664" y="74132"/>
                      <a:pt x="68108" y="64091"/>
                    </a:cubicBezTo>
                    <a:cubicBezTo>
                      <a:pt x="57021" y="55220"/>
                      <a:pt x="46175" y="43940"/>
                      <a:pt x="34861" y="32791"/>
                    </a:cubicBezTo>
                    <a:lnTo>
                      <a:pt x="1177" y="4285"/>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1" name="Freeform 150">
                <a:extLst>
                  <a:ext uri="{FF2B5EF4-FFF2-40B4-BE49-F238E27FC236}">
                    <a16:creationId xmlns:a16="http://schemas.microsoft.com/office/drawing/2014/main" id="{8D9CBED5-4888-3348-B253-F3DB4C96B315}"/>
                  </a:ext>
                </a:extLst>
              </p:cNvPr>
              <p:cNvSpPr/>
              <p:nvPr/>
            </p:nvSpPr>
            <p:spPr>
              <a:xfrm>
                <a:off x="3650600" y="5428099"/>
                <a:ext cx="3078" cy="6010"/>
              </a:xfrm>
              <a:custGeom>
                <a:avLst/>
                <a:gdLst>
                  <a:gd name="connsiteX0" fmla="*/ 0 w 3078"/>
                  <a:gd name="connsiteY0" fmla="*/ 0 h 6010"/>
                  <a:gd name="connsiteX1" fmla="*/ 1859 w 3078"/>
                  <a:gd name="connsiteY1" fmla="*/ 1574 h 6010"/>
                  <a:gd name="connsiteX2" fmla="*/ 3078 w 3078"/>
                  <a:gd name="connsiteY2" fmla="*/ 6010 h 6010"/>
                  <a:gd name="connsiteX3" fmla="*/ 0 w 3078"/>
                  <a:gd name="connsiteY3" fmla="*/ 0 h 6010"/>
                </a:gdLst>
                <a:ahLst/>
                <a:cxnLst>
                  <a:cxn ang="0">
                    <a:pos x="connsiteX0" y="connsiteY0"/>
                  </a:cxn>
                  <a:cxn ang="0">
                    <a:pos x="connsiteX1" y="connsiteY1"/>
                  </a:cxn>
                  <a:cxn ang="0">
                    <a:pos x="connsiteX2" y="connsiteY2"/>
                  </a:cxn>
                  <a:cxn ang="0">
                    <a:pos x="connsiteX3" y="connsiteY3"/>
                  </a:cxn>
                </a:cxnLst>
                <a:rect l="l" t="t" r="r" b="b"/>
                <a:pathLst>
                  <a:path w="3078" h="6010">
                    <a:moveTo>
                      <a:pt x="0" y="0"/>
                    </a:moveTo>
                    <a:lnTo>
                      <a:pt x="1859" y="1574"/>
                    </a:lnTo>
                    <a:lnTo>
                      <a:pt x="3078" y="6010"/>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2" name="Freeform 151">
                <a:extLst>
                  <a:ext uri="{FF2B5EF4-FFF2-40B4-BE49-F238E27FC236}">
                    <a16:creationId xmlns:a16="http://schemas.microsoft.com/office/drawing/2014/main" id="{8EC7213A-C39A-7242-90EA-7FB0EE1593F3}"/>
                  </a:ext>
                </a:extLst>
              </p:cNvPr>
              <p:cNvSpPr/>
              <p:nvPr/>
            </p:nvSpPr>
            <p:spPr>
              <a:xfrm>
                <a:off x="3653679" y="5434110"/>
                <a:ext cx="3951" cy="13083"/>
              </a:xfrm>
              <a:custGeom>
                <a:avLst/>
                <a:gdLst>
                  <a:gd name="connsiteX0" fmla="*/ 0 w 3951"/>
                  <a:gd name="connsiteY0" fmla="*/ 0 h 13083"/>
                  <a:gd name="connsiteX1" fmla="*/ 3951 w 3951"/>
                  <a:gd name="connsiteY1" fmla="*/ 7716 h 13083"/>
                  <a:gd name="connsiteX2" fmla="*/ 3593 w 3951"/>
                  <a:gd name="connsiteY2" fmla="*/ 13083 h 13083"/>
                  <a:gd name="connsiteX3" fmla="*/ 0 w 3951"/>
                  <a:gd name="connsiteY3" fmla="*/ 0 h 13083"/>
                </a:gdLst>
                <a:ahLst/>
                <a:cxnLst>
                  <a:cxn ang="0">
                    <a:pos x="connsiteX0" y="connsiteY0"/>
                  </a:cxn>
                  <a:cxn ang="0">
                    <a:pos x="connsiteX1" y="connsiteY1"/>
                  </a:cxn>
                  <a:cxn ang="0">
                    <a:pos x="connsiteX2" y="connsiteY2"/>
                  </a:cxn>
                  <a:cxn ang="0">
                    <a:pos x="connsiteX3" y="connsiteY3"/>
                  </a:cxn>
                </a:cxnLst>
                <a:rect l="l" t="t" r="r" b="b"/>
                <a:pathLst>
                  <a:path w="3951" h="13083">
                    <a:moveTo>
                      <a:pt x="0" y="0"/>
                    </a:moveTo>
                    <a:lnTo>
                      <a:pt x="3951" y="7716"/>
                    </a:lnTo>
                    <a:lnTo>
                      <a:pt x="3593" y="13083"/>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3" name="Freeform 152">
                <a:extLst>
                  <a:ext uri="{FF2B5EF4-FFF2-40B4-BE49-F238E27FC236}">
                    <a16:creationId xmlns:a16="http://schemas.microsoft.com/office/drawing/2014/main" id="{07E108C7-6C76-F244-AF75-C782D58E7C22}"/>
                  </a:ext>
                </a:extLst>
              </p:cNvPr>
              <p:cNvSpPr/>
              <p:nvPr/>
            </p:nvSpPr>
            <p:spPr>
              <a:xfrm>
                <a:off x="3655834" y="5447192"/>
                <a:ext cx="2575" cy="21578"/>
              </a:xfrm>
              <a:custGeom>
                <a:avLst/>
                <a:gdLst>
                  <a:gd name="connsiteX0" fmla="*/ 1438 w 2575"/>
                  <a:gd name="connsiteY0" fmla="*/ 0 h 21578"/>
                  <a:gd name="connsiteX1" fmla="*/ 2575 w 2575"/>
                  <a:gd name="connsiteY1" fmla="*/ 4138 h 21578"/>
                  <a:gd name="connsiteX2" fmla="*/ 0 w 2575"/>
                  <a:gd name="connsiteY2" fmla="*/ 21578 h 21578"/>
                  <a:gd name="connsiteX3" fmla="*/ 1438 w 2575"/>
                  <a:gd name="connsiteY3" fmla="*/ 0 h 21578"/>
                </a:gdLst>
                <a:ahLst/>
                <a:cxnLst>
                  <a:cxn ang="0">
                    <a:pos x="connsiteX0" y="connsiteY0"/>
                  </a:cxn>
                  <a:cxn ang="0">
                    <a:pos x="connsiteX1" y="connsiteY1"/>
                  </a:cxn>
                  <a:cxn ang="0">
                    <a:pos x="connsiteX2" y="connsiteY2"/>
                  </a:cxn>
                  <a:cxn ang="0">
                    <a:pos x="connsiteX3" y="connsiteY3"/>
                  </a:cxn>
                </a:cxnLst>
                <a:rect l="l" t="t" r="r" b="b"/>
                <a:pathLst>
                  <a:path w="2575" h="21578">
                    <a:moveTo>
                      <a:pt x="1438" y="0"/>
                    </a:moveTo>
                    <a:lnTo>
                      <a:pt x="2575" y="4138"/>
                    </a:lnTo>
                    <a:lnTo>
                      <a:pt x="0" y="21578"/>
                    </a:lnTo>
                    <a:lnTo>
                      <a:pt x="1438"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4" name="Freeform 153">
                <a:extLst>
                  <a:ext uri="{FF2B5EF4-FFF2-40B4-BE49-F238E27FC236}">
                    <a16:creationId xmlns:a16="http://schemas.microsoft.com/office/drawing/2014/main" id="{360DA8BC-CCBA-7B45-AE0C-A529B6E02FE3}"/>
                  </a:ext>
                </a:extLst>
              </p:cNvPr>
              <p:cNvSpPr/>
              <p:nvPr/>
            </p:nvSpPr>
            <p:spPr>
              <a:xfrm>
                <a:off x="3530431" y="5468770"/>
                <a:ext cx="125402" cy="137074"/>
              </a:xfrm>
              <a:custGeom>
                <a:avLst/>
                <a:gdLst>
                  <a:gd name="connsiteX0" fmla="*/ 125402 w 125402"/>
                  <a:gd name="connsiteY0" fmla="*/ 0 h 137074"/>
                  <a:gd name="connsiteX1" fmla="*/ 124613 w 125402"/>
                  <a:gd name="connsiteY1" fmla="*/ 11823 h 137074"/>
                  <a:gd name="connsiteX2" fmla="*/ 58116 w 125402"/>
                  <a:gd name="connsiteY2" fmla="*/ 35464 h 137074"/>
                  <a:gd name="connsiteX3" fmla="*/ 31541 w 125402"/>
                  <a:gd name="connsiteY3" fmla="*/ 60086 h 137074"/>
                  <a:gd name="connsiteX4" fmla="*/ 2432 w 125402"/>
                  <a:gd name="connsiteY4" fmla="*/ 79070 h 137074"/>
                  <a:gd name="connsiteX5" fmla="*/ 15693 w 125402"/>
                  <a:gd name="connsiteY5" fmla="*/ 126134 h 137074"/>
                  <a:gd name="connsiteX6" fmla="*/ 13748 w 125402"/>
                  <a:gd name="connsiteY6" fmla="*/ 137074 h 137074"/>
                  <a:gd name="connsiteX7" fmla="*/ 12839 w 125402"/>
                  <a:gd name="connsiteY7" fmla="*/ 136301 h 137074"/>
                  <a:gd name="connsiteX8" fmla="*/ 14850 w 125402"/>
                  <a:gd name="connsiteY8" fmla="*/ 125049 h 137074"/>
                  <a:gd name="connsiteX9" fmla="*/ 1567 w 125402"/>
                  <a:gd name="connsiteY9" fmla="*/ 77982 h 137074"/>
                  <a:gd name="connsiteX10" fmla="*/ 30707 w 125402"/>
                  <a:gd name="connsiteY10" fmla="*/ 59006 h 137074"/>
                  <a:gd name="connsiteX11" fmla="*/ 57274 w 125402"/>
                  <a:gd name="connsiteY11" fmla="*/ 34404 h 137074"/>
                  <a:gd name="connsiteX12" fmla="*/ 123809 w 125402"/>
                  <a:gd name="connsiteY12" fmla="*/ 10782 h 137074"/>
                  <a:gd name="connsiteX13" fmla="*/ 125402 w 125402"/>
                  <a:gd name="connsiteY13" fmla="*/ 0 h 13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402" h="137074">
                    <a:moveTo>
                      <a:pt x="125402" y="0"/>
                    </a:moveTo>
                    <a:lnTo>
                      <a:pt x="124613" y="11823"/>
                    </a:lnTo>
                    <a:cubicBezTo>
                      <a:pt x="115215" y="38106"/>
                      <a:pt x="82880" y="34211"/>
                      <a:pt x="58116" y="35464"/>
                    </a:cubicBezTo>
                    <a:cubicBezTo>
                      <a:pt x="56926" y="57607"/>
                      <a:pt x="55253" y="60086"/>
                      <a:pt x="31541" y="60086"/>
                    </a:cubicBezTo>
                    <a:cubicBezTo>
                      <a:pt x="12192" y="60059"/>
                      <a:pt x="-4415" y="56109"/>
                      <a:pt x="2432" y="79070"/>
                    </a:cubicBezTo>
                    <a:cubicBezTo>
                      <a:pt x="7691" y="96719"/>
                      <a:pt x="17900" y="105870"/>
                      <a:pt x="15693" y="126134"/>
                    </a:cubicBezTo>
                    <a:lnTo>
                      <a:pt x="13748" y="137074"/>
                    </a:lnTo>
                    <a:lnTo>
                      <a:pt x="12839" y="136301"/>
                    </a:lnTo>
                    <a:cubicBezTo>
                      <a:pt x="13697" y="132576"/>
                      <a:pt x="14436" y="128832"/>
                      <a:pt x="14850" y="125049"/>
                    </a:cubicBezTo>
                    <a:cubicBezTo>
                      <a:pt x="17040" y="104779"/>
                      <a:pt x="6833" y="95644"/>
                      <a:pt x="1567" y="77982"/>
                    </a:cubicBezTo>
                    <a:cubicBezTo>
                      <a:pt x="-5267" y="55046"/>
                      <a:pt x="11330" y="58986"/>
                      <a:pt x="30707" y="59006"/>
                    </a:cubicBezTo>
                    <a:cubicBezTo>
                      <a:pt x="54434" y="59025"/>
                      <a:pt x="56091" y="56536"/>
                      <a:pt x="57274" y="34404"/>
                    </a:cubicBezTo>
                    <a:cubicBezTo>
                      <a:pt x="82066" y="33149"/>
                      <a:pt x="114401" y="37050"/>
                      <a:pt x="123809" y="10782"/>
                    </a:cubicBezTo>
                    <a:lnTo>
                      <a:pt x="12540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5" name="Freeform 154">
                <a:extLst>
                  <a:ext uri="{FF2B5EF4-FFF2-40B4-BE49-F238E27FC236}">
                    <a16:creationId xmlns:a16="http://schemas.microsoft.com/office/drawing/2014/main" id="{4D723AD1-C5C0-1249-8F19-DBA015BF9C44}"/>
                  </a:ext>
                </a:extLst>
              </p:cNvPr>
              <p:cNvSpPr/>
              <p:nvPr/>
            </p:nvSpPr>
            <p:spPr>
              <a:xfrm>
                <a:off x="4339340" y="5534319"/>
                <a:ext cx="61687" cy="14039"/>
              </a:xfrm>
              <a:custGeom>
                <a:avLst/>
                <a:gdLst>
                  <a:gd name="connsiteX0" fmla="*/ 565 w 61687"/>
                  <a:gd name="connsiteY0" fmla="*/ 1977 h 14039"/>
                  <a:gd name="connsiteX1" fmla="*/ 39318 w 61687"/>
                  <a:gd name="connsiteY1" fmla="*/ 8911 h 14039"/>
                  <a:gd name="connsiteX2" fmla="*/ 50580 w 61687"/>
                  <a:gd name="connsiteY2" fmla="*/ 12183 h 14039"/>
                  <a:gd name="connsiteX3" fmla="*/ 61687 w 61687"/>
                  <a:gd name="connsiteY3" fmla="*/ 12322 h 14039"/>
                  <a:gd name="connsiteX4" fmla="*/ 59985 w 61687"/>
                  <a:gd name="connsiteY4" fmla="*/ 13365 h 14039"/>
                  <a:gd name="connsiteX5" fmla="*/ 36562 w 61687"/>
                  <a:gd name="connsiteY5" fmla="*/ 9946 h 14039"/>
                  <a:gd name="connsiteX6" fmla="*/ 17486 w 61687"/>
                  <a:gd name="connsiteY6" fmla="*/ 3182 h 14039"/>
                  <a:gd name="connsiteX7" fmla="*/ 0 w 61687"/>
                  <a:gd name="connsiteY7" fmla="*/ 3021 h 14039"/>
                  <a:gd name="connsiteX8" fmla="*/ 565 w 61687"/>
                  <a:gd name="connsiteY8" fmla="*/ 1977 h 1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687" h="14039">
                    <a:moveTo>
                      <a:pt x="565" y="1977"/>
                    </a:moveTo>
                    <a:cubicBezTo>
                      <a:pt x="9628" y="-4437"/>
                      <a:pt x="31014" y="6614"/>
                      <a:pt x="39318" y="8911"/>
                    </a:cubicBezTo>
                    <a:cubicBezTo>
                      <a:pt x="42868" y="9908"/>
                      <a:pt x="46651" y="11306"/>
                      <a:pt x="50580" y="12183"/>
                    </a:cubicBezTo>
                    <a:lnTo>
                      <a:pt x="61687" y="12322"/>
                    </a:lnTo>
                    <a:lnTo>
                      <a:pt x="59985" y="13365"/>
                    </a:lnTo>
                    <a:cubicBezTo>
                      <a:pt x="51694" y="15546"/>
                      <a:pt x="43645" y="11912"/>
                      <a:pt x="36562" y="9946"/>
                    </a:cubicBezTo>
                    <a:cubicBezTo>
                      <a:pt x="32417" y="8775"/>
                      <a:pt x="25002" y="5430"/>
                      <a:pt x="17486" y="3182"/>
                    </a:cubicBezTo>
                    <a:lnTo>
                      <a:pt x="0" y="3021"/>
                    </a:lnTo>
                    <a:lnTo>
                      <a:pt x="565" y="1977"/>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6" name="Freeform 155">
                <a:extLst>
                  <a:ext uri="{FF2B5EF4-FFF2-40B4-BE49-F238E27FC236}">
                    <a16:creationId xmlns:a16="http://schemas.microsoft.com/office/drawing/2014/main" id="{4C9186D8-ECEA-3A48-AA3C-DFCD0078A3F7}"/>
                  </a:ext>
                </a:extLst>
              </p:cNvPr>
              <p:cNvSpPr/>
              <p:nvPr/>
            </p:nvSpPr>
            <p:spPr>
              <a:xfrm>
                <a:off x="4331363" y="5537320"/>
                <a:ext cx="7976" cy="21879"/>
              </a:xfrm>
              <a:custGeom>
                <a:avLst/>
                <a:gdLst>
                  <a:gd name="connsiteX0" fmla="*/ 5783 w 7976"/>
                  <a:gd name="connsiteY0" fmla="*/ 0 h 21879"/>
                  <a:gd name="connsiteX1" fmla="*/ 7976 w 7976"/>
                  <a:gd name="connsiteY1" fmla="*/ 20 h 21879"/>
                  <a:gd name="connsiteX2" fmla="*/ 4821 w 7976"/>
                  <a:gd name="connsiteY2" fmla="*/ 5850 h 21879"/>
                  <a:gd name="connsiteX3" fmla="*/ 2689 w 7976"/>
                  <a:gd name="connsiteY3" fmla="*/ 21093 h 21879"/>
                  <a:gd name="connsiteX4" fmla="*/ 0 w 7976"/>
                  <a:gd name="connsiteY4" fmla="*/ 21879 h 21879"/>
                  <a:gd name="connsiteX5" fmla="*/ 1980 w 7976"/>
                  <a:gd name="connsiteY5" fmla="*/ 15166 h 21879"/>
                  <a:gd name="connsiteX6" fmla="*/ 5783 w 7976"/>
                  <a:gd name="connsiteY6" fmla="*/ 0 h 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76" h="21879">
                    <a:moveTo>
                      <a:pt x="5783" y="0"/>
                    </a:moveTo>
                    <a:lnTo>
                      <a:pt x="7976" y="20"/>
                    </a:lnTo>
                    <a:lnTo>
                      <a:pt x="4821" y="5850"/>
                    </a:lnTo>
                    <a:cubicBezTo>
                      <a:pt x="4174" y="11218"/>
                      <a:pt x="5949" y="17536"/>
                      <a:pt x="2689" y="21093"/>
                    </a:cubicBezTo>
                    <a:lnTo>
                      <a:pt x="0" y="21879"/>
                    </a:lnTo>
                    <a:lnTo>
                      <a:pt x="1980" y="15166"/>
                    </a:lnTo>
                    <a:cubicBezTo>
                      <a:pt x="2070" y="9772"/>
                      <a:pt x="853" y="3473"/>
                      <a:pt x="5783"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7" name="Freeform 156">
                <a:extLst>
                  <a:ext uri="{FF2B5EF4-FFF2-40B4-BE49-F238E27FC236}">
                    <a16:creationId xmlns:a16="http://schemas.microsoft.com/office/drawing/2014/main" id="{496B9AD9-4B60-BB4C-8C6E-CA09FDC00E65}"/>
                  </a:ext>
                </a:extLst>
              </p:cNvPr>
              <p:cNvSpPr/>
              <p:nvPr/>
            </p:nvSpPr>
            <p:spPr>
              <a:xfrm>
                <a:off x="4414146" y="5537159"/>
                <a:ext cx="61891" cy="216504"/>
              </a:xfrm>
              <a:custGeom>
                <a:avLst/>
                <a:gdLst>
                  <a:gd name="connsiteX0" fmla="*/ 1837 w 61891"/>
                  <a:gd name="connsiteY0" fmla="*/ 999 h 216504"/>
                  <a:gd name="connsiteX1" fmla="*/ 28491 w 61891"/>
                  <a:gd name="connsiteY1" fmla="*/ 13741 h 216504"/>
                  <a:gd name="connsiteX2" fmla="*/ 51930 w 61891"/>
                  <a:gd name="connsiteY2" fmla="*/ 39962 h 216504"/>
                  <a:gd name="connsiteX3" fmla="*/ 52061 w 61891"/>
                  <a:gd name="connsiteY3" fmla="*/ 39843 h 216504"/>
                  <a:gd name="connsiteX4" fmla="*/ 54216 w 61891"/>
                  <a:gd name="connsiteY4" fmla="*/ 52383 h 216504"/>
                  <a:gd name="connsiteX5" fmla="*/ 47839 w 61891"/>
                  <a:gd name="connsiteY5" fmla="*/ 71613 h 216504"/>
                  <a:gd name="connsiteX6" fmla="*/ 50871 w 61891"/>
                  <a:gd name="connsiteY6" fmla="*/ 99754 h 216504"/>
                  <a:gd name="connsiteX7" fmla="*/ 53277 w 61891"/>
                  <a:gd name="connsiteY7" fmla="*/ 133643 h 216504"/>
                  <a:gd name="connsiteX8" fmla="*/ 39273 w 61891"/>
                  <a:gd name="connsiteY8" fmla="*/ 175715 h 216504"/>
                  <a:gd name="connsiteX9" fmla="*/ 53085 w 61891"/>
                  <a:gd name="connsiteY9" fmla="*/ 201661 h 216504"/>
                  <a:gd name="connsiteX10" fmla="*/ 57079 w 61891"/>
                  <a:gd name="connsiteY10" fmla="*/ 205253 h 216504"/>
                  <a:gd name="connsiteX11" fmla="*/ 61884 w 61891"/>
                  <a:gd name="connsiteY11" fmla="*/ 214568 h 216504"/>
                  <a:gd name="connsiteX12" fmla="*/ 60708 w 61891"/>
                  <a:gd name="connsiteY12" fmla="*/ 216504 h 216504"/>
                  <a:gd name="connsiteX13" fmla="*/ 56026 w 61891"/>
                  <a:gd name="connsiteY13" fmla="*/ 207410 h 216504"/>
                  <a:gd name="connsiteX14" fmla="*/ 52010 w 61891"/>
                  <a:gd name="connsiteY14" fmla="*/ 203824 h 216504"/>
                  <a:gd name="connsiteX15" fmla="*/ 51545 w 61891"/>
                  <a:gd name="connsiteY15" fmla="*/ 209728 h 216504"/>
                  <a:gd name="connsiteX16" fmla="*/ 49904 w 61891"/>
                  <a:gd name="connsiteY16" fmla="*/ 209740 h 216504"/>
                  <a:gd name="connsiteX17" fmla="*/ 45888 w 61891"/>
                  <a:gd name="connsiteY17" fmla="*/ 193642 h 216504"/>
                  <a:gd name="connsiteX18" fmla="*/ 36652 w 61891"/>
                  <a:gd name="connsiteY18" fmla="*/ 178462 h 216504"/>
                  <a:gd name="connsiteX19" fmla="*/ 50697 w 61891"/>
                  <a:gd name="connsiteY19" fmla="*/ 136410 h 216504"/>
                  <a:gd name="connsiteX20" fmla="*/ 48282 w 61891"/>
                  <a:gd name="connsiteY20" fmla="*/ 102489 h 216504"/>
                  <a:gd name="connsiteX21" fmla="*/ 45224 w 61891"/>
                  <a:gd name="connsiteY21" fmla="*/ 74356 h 216504"/>
                  <a:gd name="connsiteX22" fmla="*/ 25745 w 61891"/>
                  <a:gd name="connsiteY22" fmla="*/ 14778 h 216504"/>
                  <a:gd name="connsiteX23" fmla="*/ 14457 w 61891"/>
                  <a:gd name="connsiteY23" fmla="*/ 3703 h 216504"/>
                  <a:gd name="connsiteX24" fmla="*/ 0 w 61891"/>
                  <a:gd name="connsiteY24" fmla="*/ 2120 h 216504"/>
                  <a:gd name="connsiteX25" fmla="*/ 1837 w 61891"/>
                  <a:gd name="connsiteY25" fmla="*/ 999 h 216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1891" h="216504">
                    <a:moveTo>
                      <a:pt x="1837" y="999"/>
                    </a:moveTo>
                    <a:cubicBezTo>
                      <a:pt x="16079" y="-2858"/>
                      <a:pt x="19740" y="5117"/>
                      <a:pt x="28491" y="13741"/>
                    </a:cubicBezTo>
                    <a:cubicBezTo>
                      <a:pt x="39295" y="24360"/>
                      <a:pt x="47823" y="31641"/>
                      <a:pt x="51930" y="39962"/>
                    </a:cubicBezTo>
                    <a:lnTo>
                      <a:pt x="52061" y="39843"/>
                    </a:lnTo>
                    <a:lnTo>
                      <a:pt x="54216" y="52383"/>
                    </a:lnTo>
                    <a:cubicBezTo>
                      <a:pt x="53662" y="57752"/>
                      <a:pt x="51641" y="63969"/>
                      <a:pt x="47839" y="71613"/>
                    </a:cubicBezTo>
                    <a:cubicBezTo>
                      <a:pt x="41342" y="84666"/>
                      <a:pt x="40716" y="86981"/>
                      <a:pt x="50871" y="99754"/>
                    </a:cubicBezTo>
                    <a:cubicBezTo>
                      <a:pt x="61988" y="113605"/>
                      <a:pt x="62085" y="117477"/>
                      <a:pt x="53277" y="133643"/>
                    </a:cubicBezTo>
                    <a:cubicBezTo>
                      <a:pt x="46492" y="146137"/>
                      <a:pt x="34989" y="159789"/>
                      <a:pt x="39273" y="175715"/>
                    </a:cubicBezTo>
                    <a:cubicBezTo>
                      <a:pt x="42064" y="186133"/>
                      <a:pt x="52219" y="191522"/>
                      <a:pt x="53085" y="201661"/>
                    </a:cubicBezTo>
                    <a:cubicBezTo>
                      <a:pt x="54625" y="202858"/>
                      <a:pt x="56021" y="204056"/>
                      <a:pt x="57079" y="205253"/>
                    </a:cubicBezTo>
                    <a:cubicBezTo>
                      <a:pt x="60737" y="209275"/>
                      <a:pt x="62006" y="212211"/>
                      <a:pt x="61884" y="214568"/>
                    </a:cubicBezTo>
                    <a:lnTo>
                      <a:pt x="60708" y="216504"/>
                    </a:lnTo>
                    <a:lnTo>
                      <a:pt x="56026" y="207410"/>
                    </a:lnTo>
                    <a:cubicBezTo>
                      <a:pt x="54927" y="206215"/>
                      <a:pt x="53574" y="205019"/>
                      <a:pt x="52010" y="203824"/>
                    </a:cubicBezTo>
                    <a:cubicBezTo>
                      <a:pt x="52179" y="205635"/>
                      <a:pt x="52094" y="207555"/>
                      <a:pt x="51545" y="209728"/>
                    </a:cubicBezTo>
                    <a:lnTo>
                      <a:pt x="49904" y="209740"/>
                    </a:lnTo>
                    <a:lnTo>
                      <a:pt x="45888" y="193642"/>
                    </a:lnTo>
                    <a:cubicBezTo>
                      <a:pt x="42518" y="189002"/>
                      <a:pt x="38302" y="184614"/>
                      <a:pt x="36652" y="178462"/>
                    </a:cubicBezTo>
                    <a:cubicBezTo>
                      <a:pt x="32386" y="162524"/>
                      <a:pt x="43896" y="148902"/>
                      <a:pt x="50697" y="136410"/>
                    </a:cubicBezTo>
                    <a:cubicBezTo>
                      <a:pt x="59470" y="120230"/>
                      <a:pt x="59390" y="116354"/>
                      <a:pt x="48282" y="102489"/>
                    </a:cubicBezTo>
                    <a:cubicBezTo>
                      <a:pt x="38100" y="89728"/>
                      <a:pt x="38744" y="87386"/>
                      <a:pt x="45224" y="74356"/>
                    </a:cubicBezTo>
                    <a:cubicBezTo>
                      <a:pt x="60275" y="44069"/>
                      <a:pt x="47558" y="36181"/>
                      <a:pt x="25745" y="14778"/>
                    </a:cubicBezTo>
                    <a:cubicBezTo>
                      <a:pt x="21359" y="10457"/>
                      <a:pt x="18250" y="6298"/>
                      <a:pt x="14457" y="3703"/>
                    </a:cubicBezTo>
                    <a:lnTo>
                      <a:pt x="0" y="2120"/>
                    </a:lnTo>
                    <a:lnTo>
                      <a:pt x="1837" y="999"/>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8" name="Freeform 157">
                <a:extLst>
                  <a:ext uri="{FF2B5EF4-FFF2-40B4-BE49-F238E27FC236}">
                    <a16:creationId xmlns:a16="http://schemas.microsoft.com/office/drawing/2014/main" id="{B46CAF71-01C8-4549-A6F5-9C7458F86D1D}"/>
                  </a:ext>
                </a:extLst>
              </p:cNvPr>
              <p:cNvSpPr/>
              <p:nvPr/>
            </p:nvSpPr>
            <p:spPr>
              <a:xfrm>
                <a:off x="4401027" y="5539177"/>
                <a:ext cx="13119" cy="7477"/>
              </a:xfrm>
              <a:custGeom>
                <a:avLst/>
                <a:gdLst>
                  <a:gd name="connsiteX0" fmla="*/ 12182 w 13119"/>
                  <a:gd name="connsiteY0" fmla="*/ 0 h 7477"/>
                  <a:gd name="connsiteX1" fmla="*/ 13119 w 13119"/>
                  <a:gd name="connsiteY1" fmla="*/ 103 h 7477"/>
                  <a:gd name="connsiteX2" fmla="*/ 1026 w 13119"/>
                  <a:gd name="connsiteY2" fmla="*/ 7477 h 7477"/>
                  <a:gd name="connsiteX3" fmla="*/ 0 w 13119"/>
                  <a:gd name="connsiteY3" fmla="*/ 7464 h 7477"/>
                  <a:gd name="connsiteX4" fmla="*/ 12182 w 13119"/>
                  <a:gd name="connsiteY4" fmla="*/ 0 h 74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19" h="7477">
                    <a:moveTo>
                      <a:pt x="12182" y="0"/>
                    </a:moveTo>
                    <a:lnTo>
                      <a:pt x="13119" y="103"/>
                    </a:lnTo>
                    <a:lnTo>
                      <a:pt x="1026" y="7477"/>
                    </a:lnTo>
                    <a:lnTo>
                      <a:pt x="0" y="7464"/>
                    </a:lnTo>
                    <a:lnTo>
                      <a:pt x="12182"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59" name="Freeform 158">
                <a:extLst>
                  <a:ext uri="{FF2B5EF4-FFF2-40B4-BE49-F238E27FC236}">
                    <a16:creationId xmlns:a16="http://schemas.microsoft.com/office/drawing/2014/main" id="{9465EDD0-73E5-064C-B198-627CF0A591FA}"/>
                  </a:ext>
                </a:extLst>
              </p:cNvPr>
              <p:cNvSpPr/>
              <p:nvPr/>
            </p:nvSpPr>
            <p:spPr>
              <a:xfrm>
                <a:off x="4239086" y="5718992"/>
                <a:ext cx="225113" cy="29484"/>
              </a:xfrm>
              <a:custGeom>
                <a:avLst/>
                <a:gdLst>
                  <a:gd name="connsiteX0" fmla="*/ 41796 w 225113"/>
                  <a:gd name="connsiteY0" fmla="*/ 226 h 29484"/>
                  <a:gd name="connsiteX1" fmla="*/ 52739 w 225113"/>
                  <a:gd name="connsiteY1" fmla="*/ 6198 h 29484"/>
                  <a:gd name="connsiteX2" fmla="*/ 67111 w 225113"/>
                  <a:gd name="connsiteY2" fmla="*/ 26664 h 29484"/>
                  <a:gd name="connsiteX3" fmla="*/ 146874 w 225113"/>
                  <a:gd name="connsiteY3" fmla="*/ 28448 h 29484"/>
                  <a:gd name="connsiteX4" fmla="*/ 224964 w 225113"/>
                  <a:gd name="connsiteY4" fmla="*/ 27907 h 29484"/>
                  <a:gd name="connsiteX5" fmla="*/ 225113 w 225113"/>
                  <a:gd name="connsiteY5" fmla="*/ 28504 h 29484"/>
                  <a:gd name="connsiteX6" fmla="*/ 65543 w 225113"/>
                  <a:gd name="connsiteY6" fmla="*/ 27266 h 29484"/>
                  <a:gd name="connsiteX7" fmla="*/ 51176 w 225113"/>
                  <a:gd name="connsiteY7" fmla="*/ 6805 h 29484"/>
                  <a:gd name="connsiteX8" fmla="*/ 26425 w 225113"/>
                  <a:gd name="connsiteY8" fmla="*/ 1313 h 29484"/>
                  <a:gd name="connsiteX9" fmla="*/ 0 w 225113"/>
                  <a:gd name="connsiteY9" fmla="*/ 9748 h 29484"/>
                  <a:gd name="connsiteX10" fmla="*/ 131 w 225113"/>
                  <a:gd name="connsiteY10" fmla="*/ 9594 h 29484"/>
                  <a:gd name="connsiteX11" fmla="*/ 27967 w 225113"/>
                  <a:gd name="connsiteY11" fmla="*/ 692 h 29484"/>
                  <a:gd name="connsiteX12" fmla="*/ 41796 w 225113"/>
                  <a:gd name="connsiteY12" fmla="*/ 226 h 29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5113" h="29484">
                    <a:moveTo>
                      <a:pt x="41796" y="226"/>
                    </a:moveTo>
                    <a:cubicBezTo>
                      <a:pt x="45912" y="765"/>
                      <a:pt x="49548" y="2377"/>
                      <a:pt x="52739" y="6198"/>
                    </a:cubicBezTo>
                    <a:cubicBezTo>
                      <a:pt x="58572" y="13153"/>
                      <a:pt x="52443" y="27931"/>
                      <a:pt x="67111" y="26664"/>
                    </a:cubicBezTo>
                    <a:cubicBezTo>
                      <a:pt x="93553" y="26936"/>
                      <a:pt x="120216" y="27886"/>
                      <a:pt x="146874" y="28448"/>
                    </a:cubicBezTo>
                    <a:lnTo>
                      <a:pt x="224964" y="27907"/>
                    </a:lnTo>
                    <a:lnTo>
                      <a:pt x="225113" y="28504"/>
                    </a:lnTo>
                    <a:cubicBezTo>
                      <a:pt x="172232" y="31089"/>
                      <a:pt x="118465" y="27804"/>
                      <a:pt x="65543" y="27266"/>
                    </a:cubicBezTo>
                    <a:cubicBezTo>
                      <a:pt x="50854" y="28558"/>
                      <a:pt x="57051" y="13751"/>
                      <a:pt x="51176" y="6805"/>
                    </a:cubicBezTo>
                    <a:cubicBezTo>
                      <a:pt x="44777" y="-840"/>
                      <a:pt x="36647" y="344"/>
                      <a:pt x="26425" y="1313"/>
                    </a:cubicBezTo>
                    <a:lnTo>
                      <a:pt x="0" y="9748"/>
                    </a:lnTo>
                    <a:lnTo>
                      <a:pt x="131" y="9594"/>
                    </a:lnTo>
                    <a:cubicBezTo>
                      <a:pt x="7275" y="4668"/>
                      <a:pt x="16004" y="1833"/>
                      <a:pt x="27967" y="692"/>
                    </a:cubicBezTo>
                    <a:cubicBezTo>
                      <a:pt x="33082" y="222"/>
                      <a:pt x="37679" y="-313"/>
                      <a:pt x="41796" y="226"/>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0" name="Freeform 159">
                <a:extLst>
                  <a:ext uri="{FF2B5EF4-FFF2-40B4-BE49-F238E27FC236}">
                    <a16:creationId xmlns:a16="http://schemas.microsoft.com/office/drawing/2014/main" id="{C20E4875-8C76-6045-872F-801B52D72220}"/>
                  </a:ext>
                </a:extLst>
              </p:cNvPr>
              <p:cNvSpPr/>
              <p:nvPr/>
            </p:nvSpPr>
            <p:spPr>
              <a:xfrm>
                <a:off x="4173839" y="5728741"/>
                <a:ext cx="65247" cy="83121"/>
              </a:xfrm>
              <a:custGeom>
                <a:avLst/>
                <a:gdLst>
                  <a:gd name="connsiteX0" fmla="*/ 65247 w 65247"/>
                  <a:gd name="connsiteY0" fmla="*/ 0 h 83121"/>
                  <a:gd name="connsiteX1" fmla="*/ 47053 w 65247"/>
                  <a:gd name="connsiteY1" fmla="*/ 21298 h 83121"/>
                  <a:gd name="connsiteX2" fmla="*/ 17969 w 65247"/>
                  <a:gd name="connsiteY2" fmla="*/ 74183 h 83121"/>
                  <a:gd name="connsiteX3" fmla="*/ 300 w 65247"/>
                  <a:gd name="connsiteY3" fmla="*/ 83121 h 83121"/>
                  <a:gd name="connsiteX4" fmla="*/ 0 w 65247"/>
                  <a:gd name="connsiteY4" fmla="*/ 83102 h 83121"/>
                  <a:gd name="connsiteX5" fmla="*/ 16374 w 65247"/>
                  <a:gd name="connsiteY5" fmla="*/ 74834 h 83121"/>
                  <a:gd name="connsiteX6" fmla="*/ 45471 w 65247"/>
                  <a:gd name="connsiteY6" fmla="*/ 21906 h 83121"/>
                  <a:gd name="connsiteX7" fmla="*/ 63818 w 65247"/>
                  <a:gd name="connsiteY7" fmla="*/ 456 h 83121"/>
                  <a:gd name="connsiteX8" fmla="*/ 65247 w 65247"/>
                  <a:gd name="connsiteY8" fmla="*/ 0 h 8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247" h="83121">
                    <a:moveTo>
                      <a:pt x="65247" y="0"/>
                    </a:moveTo>
                    <a:lnTo>
                      <a:pt x="47053" y="21298"/>
                    </a:lnTo>
                    <a:cubicBezTo>
                      <a:pt x="37330" y="37671"/>
                      <a:pt x="32173" y="60962"/>
                      <a:pt x="17969" y="74183"/>
                    </a:cubicBezTo>
                    <a:cubicBezTo>
                      <a:pt x="12897" y="78910"/>
                      <a:pt x="6736" y="81862"/>
                      <a:pt x="300" y="83121"/>
                    </a:cubicBezTo>
                    <a:lnTo>
                      <a:pt x="0" y="83102"/>
                    </a:lnTo>
                    <a:lnTo>
                      <a:pt x="16374" y="74834"/>
                    </a:lnTo>
                    <a:cubicBezTo>
                      <a:pt x="30581" y="61589"/>
                      <a:pt x="35772" y="38301"/>
                      <a:pt x="45471" y="21906"/>
                    </a:cubicBezTo>
                    <a:cubicBezTo>
                      <a:pt x="51106" y="12403"/>
                      <a:pt x="56669" y="5383"/>
                      <a:pt x="63818" y="456"/>
                    </a:cubicBezTo>
                    <a:lnTo>
                      <a:pt x="65247"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1" name="Freeform 160">
                <a:extLst>
                  <a:ext uri="{FF2B5EF4-FFF2-40B4-BE49-F238E27FC236}">
                    <a16:creationId xmlns:a16="http://schemas.microsoft.com/office/drawing/2014/main" id="{1EC2D4C4-7F5B-C14C-8B7D-B10D398836CA}"/>
                  </a:ext>
                </a:extLst>
              </p:cNvPr>
              <p:cNvSpPr/>
              <p:nvPr/>
            </p:nvSpPr>
            <p:spPr>
              <a:xfrm>
                <a:off x="4466104" y="5753664"/>
                <a:ext cx="8863" cy="10883"/>
              </a:xfrm>
              <a:custGeom>
                <a:avLst/>
                <a:gdLst>
                  <a:gd name="connsiteX0" fmla="*/ 8750 w 8863"/>
                  <a:gd name="connsiteY0" fmla="*/ 0 h 10883"/>
                  <a:gd name="connsiteX1" fmla="*/ 8863 w 8863"/>
                  <a:gd name="connsiteY1" fmla="*/ 220 h 10883"/>
                  <a:gd name="connsiteX2" fmla="*/ 5299 w 8863"/>
                  <a:gd name="connsiteY2" fmla="*/ 6060 h 10883"/>
                  <a:gd name="connsiteX3" fmla="*/ 0 w 8863"/>
                  <a:gd name="connsiteY3" fmla="*/ 10883 h 10883"/>
                  <a:gd name="connsiteX4" fmla="*/ 458 w 8863"/>
                  <a:gd name="connsiteY4" fmla="*/ 9300 h 10883"/>
                  <a:gd name="connsiteX5" fmla="*/ 6379 w 8863"/>
                  <a:gd name="connsiteY5" fmla="*/ 3903 h 10883"/>
                  <a:gd name="connsiteX6" fmla="*/ 8750 w 8863"/>
                  <a:gd name="connsiteY6" fmla="*/ 0 h 1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63" h="10883">
                    <a:moveTo>
                      <a:pt x="8750" y="0"/>
                    </a:moveTo>
                    <a:lnTo>
                      <a:pt x="8863" y="220"/>
                    </a:lnTo>
                    <a:cubicBezTo>
                      <a:pt x="8735" y="2577"/>
                      <a:pt x="7215" y="4356"/>
                      <a:pt x="5299" y="6060"/>
                    </a:cubicBezTo>
                    <a:lnTo>
                      <a:pt x="0" y="10883"/>
                    </a:lnTo>
                    <a:lnTo>
                      <a:pt x="458" y="9300"/>
                    </a:lnTo>
                    <a:cubicBezTo>
                      <a:pt x="2163" y="7237"/>
                      <a:pt x="4469" y="5607"/>
                      <a:pt x="6379" y="3903"/>
                    </a:cubicBezTo>
                    <a:lnTo>
                      <a:pt x="875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2" name="Freeform 161">
                <a:extLst>
                  <a:ext uri="{FF2B5EF4-FFF2-40B4-BE49-F238E27FC236}">
                    <a16:creationId xmlns:a16="http://schemas.microsoft.com/office/drawing/2014/main" id="{A33B6E66-939F-4D4D-B776-B9C44F8D361A}"/>
                  </a:ext>
                </a:extLst>
              </p:cNvPr>
              <p:cNvSpPr/>
              <p:nvPr/>
            </p:nvSpPr>
            <p:spPr>
              <a:xfrm>
                <a:off x="4463034" y="5764546"/>
                <a:ext cx="141386" cy="131810"/>
              </a:xfrm>
              <a:custGeom>
                <a:avLst/>
                <a:gdLst>
                  <a:gd name="connsiteX0" fmla="*/ 3069 w 141386"/>
                  <a:gd name="connsiteY0" fmla="*/ 0 h 131810"/>
                  <a:gd name="connsiteX1" fmla="*/ 1212 w 141386"/>
                  <a:gd name="connsiteY1" fmla="*/ 6407 h 131810"/>
                  <a:gd name="connsiteX2" fmla="*/ 51649 w 141386"/>
                  <a:gd name="connsiteY2" fmla="*/ 45006 h 131810"/>
                  <a:gd name="connsiteX3" fmla="*/ 86492 w 141386"/>
                  <a:gd name="connsiteY3" fmla="*/ 104202 h 131810"/>
                  <a:gd name="connsiteX4" fmla="*/ 123261 w 141386"/>
                  <a:gd name="connsiteY4" fmla="*/ 122693 h 131810"/>
                  <a:gd name="connsiteX5" fmla="*/ 141386 w 141386"/>
                  <a:gd name="connsiteY5" fmla="*/ 129935 h 131810"/>
                  <a:gd name="connsiteX6" fmla="*/ 139681 w 141386"/>
                  <a:gd name="connsiteY6" fmla="*/ 131810 h 131810"/>
                  <a:gd name="connsiteX7" fmla="*/ 122181 w 141386"/>
                  <a:gd name="connsiteY7" fmla="*/ 124807 h 131810"/>
                  <a:gd name="connsiteX8" fmla="*/ 85425 w 141386"/>
                  <a:gd name="connsiteY8" fmla="*/ 106329 h 131810"/>
                  <a:gd name="connsiteX9" fmla="*/ 50551 w 141386"/>
                  <a:gd name="connsiteY9" fmla="*/ 47142 h 131810"/>
                  <a:gd name="connsiteX10" fmla="*/ 120 w 141386"/>
                  <a:gd name="connsiteY10" fmla="*/ 8566 h 131810"/>
                  <a:gd name="connsiteX11" fmla="*/ 2435 w 141386"/>
                  <a:gd name="connsiteY11" fmla="*/ 576 h 131810"/>
                  <a:gd name="connsiteX12" fmla="*/ 3069 w 141386"/>
                  <a:gd name="connsiteY12" fmla="*/ 0 h 13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86" h="131810">
                    <a:moveTo>
                      <a:pt x="3069" y="0"/>
                    </a:moveTo>
                    <a:lnTo>
                      <a:pt x="1212" y="6407"/>
                    </a:lnTo>
                    <a:cubicBezTo>
                      <a:pt x="3185" y="20337"/>
                      <a:pt x="41398" y="35506"/>
                      <a:pt x="51649" y="45006"/>
                    </a:cubicBezTo>
                    <a:cubicBezTo>
                      <a:pt x="69696" y="61811"/>
                      <a:pt x="67146" y="89992"/>
                      <a:pt x="86492" y="104202"/>
                    </a:cubicBezTo>
                    <a:cubicBezTo>
                      <a:pt x="96238" y="111367"/>
                      <a:pt x="109569" y="117275"/>
                      <a:pt x="123261" y="122693"/>
                    </a:cubicBezTo>
                    <a:lnTo>
                      <a:pt x="141386" y="129935"/>
                    </a:lnTo>
                    <a:lnTo>
                      <a:pt x="139681" y="131810"/>
                    </a:lnTo>
                    <a:lnTo>
                      <a:pt x="122181" y="124807"/>
                    </a:lnTo>
                    <a:cubicBezTo>
                      <a:pt x="108496" y="119387"/>
                      <a:pt x="95169" y="113483"/>
                      <a:pt x="85425" y="106329"/>
                    </a:cubicBezTo>
                    <a:cubicBezTo>
                      <a:pt x="66064" y="92130"/>
                      <a:pt x="68601" y="63949"/>
                      <a:pt x="50551" y="47142"/>
                    </a:cubicBezTo>
                    <a:cubicBezTo>
                      <a:pt x="40321" y="37652"/>
                      <a:pt x="2106" y="22475"/>
                      <a:pt x="120" y="8566"/>
                    </a:cubicBezTo>
                    <a:cubicBezTo>
                      <a:pt x="-377" y="5134"/>
                      <a:pt x="728" y="2639"/>
                      <a:pt x="2435" y="576"/>
                    </a:cubicBezTo>
                    <a:lnTo>
                      <a:pt x="3069"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3" name="Freeform 162">
                <a:extLst>
                  <a:ext uri="{FF2B5EF4-FFF2-40B4-BE49-F238E27FC236}">
                    <a16:creationId xmlns:a16="http://schemas.microsoft.com/office/drawing/2014/main" id="{E3EEEF4B-4392-7241-9A1E-A7A111C31883}"/>
                  </a:ext>
                </a:extLst>
              </p:cNvPr>
              <p:cNvSpPr/>
              <p:nvPr/>
            </p:nvSpPr>
            <p:spPr>
              <a:xfrm>
                <a:off x="4042480" y="5788989"/>
                <a:ext cx="44109" cy="5500"/>
              </a:xfrm>
              <a:custGeom>
                <a:avLst/>
                <a:gdLst>
                  <a:gd name="connsiteX0" fmla="*/ 393 w 44109"/>
                  <a:gd name="connsiteY0" fmla="*/ 1141 h 5500"/>
                  <a:gd name="connsiteX1" fmla="*/ 40110 w 44109"/>
                  <a:gd name="connsiteY1" fmla="*/ 4175 h 5500"/>
                  <a:gd name="connsiteX2" fmla="*/ 44109 w 44109"/>
                  <a:gd name="connsiteY2" fmla="*/ 5500 h 5500"/>
                  <a:gd name="connsiteX3" fmla="*/ 39616 w 44109"/>
                  <a:gd name="connsiteY3" fmla="*/ 4282 h 5500"/>
                  <a:gd name="connsiteX4" fmla="*/ 0 w 44109"/>
                  <a:gd name="connsiteY4" fmla="*/ 1262 h 5500"/>
                  <a:gd name="connsiteX5" fmla="*/ 393 w 44109"/>
                  <a:gd name="connsiteY5" fmla="*/ 1141 h 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9" h="5500">
                    <a:moveTo>
                      <a:pt x="393" y="1141"/>
                    </a:moveTo>
                    <a:cubicBezTo>
                      <a:pt x="14364" y="-878"/>
                      <a:pt x="28572" y="-422"/>
                      <a:pt x="40110" y="4175"/>
                    </a:cubicBezTo>
                    <a:lnTo>
                      <a:pt x="44109" y="5500"/>
                    </a:lnTo>
                    <a:lnTo>
                      <a:pt x="39616" y="4282"/>
                    </a:lnTo>
                    <a:lnTo>
                      <a:pt x="0" y="1262"/>
                    </a:lnTo>
                    <a:lnTo>
                      <a:pt x="393" y="1141"/>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4" name="Freeform 163">
                <a:extLst>
                  <a:ext uri="{FF2B5EF4-FFF2-40B4-BE49-F238E27FC236}">
                    <a16:creationId xmlns:a16="http://schemas.microsoft.com/office/drawing/2014/main" id="{739F9D89-A7DC-A347-AB4D-F7FE3890603F}"/>
                  </a:ext>
                </a:extLst>
              </p:cNvPr>
              <p:cNvSpPr/>
              <p:nvPr/>
            </p:nvSpPr>
            <p:spPr>
              <a:xfrm>
                <a:off x="3960053" y="5790249"/>
                <a:ext cx="82427" cy="58569"/>
              </a:xfrm>
              <a:custGeom>
                <a:avLst/>
                <a:gdLst>
                  <a:gd name="connsiteX0" fmla="*/ 82384 w 82427"/>
                  <a:gd name="connsiteY0" fmla="*/ 0 h 58569"/>
                  <a:gd name="connsiteX1" fmla="*/ 82427 w 82427"/>
                  <a:gd name="connsiteY1" fmla="*/ 3 h 58569"/>
                  <a:gd name="connsiteX2" fmla="*/ 44524 w 82427"/>
                  <a:gd name="connsiteY2" fmla="*/ 11698 h 58569"/>
                  <a:gd name="connsiteX3" fmla="*/ 147 w 82427"/>
                  <a:gd name="connsiteY3" fmla="*/ 58569 h 58569"/>
                  <a:gd name="connsiteX4" fmla="*/ 0 w 82427"/>
                  <a:gd name="connsiteY4" fmla="*/ 58293 h 58569"/>
                  <a:gd name="connsiteX5" fmla="*/ 19473 w 82427"/>
                  <a:gd name="connsiteY5" fmla="*/ 32824 h 58569"/>
                  <a:gd name="connsiteX6" fmla="*/ 44060 w 82427"/>
                  <a:gd name="connsiteY6" fmla="*/ 11805 h 58569"/>
                  <a:gd name="connsiteX7" fmla="*/ 82384 w 82427"/>
                  <a:gd name="connsiteY7" fmla="*/ 0 h 58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427" h="58569">
                    <a:moveTo>
                      <a:pt x="82384" y="0"/>
                    </a:moveTo>
                    <a:lnTo>
                      <a:pt x="82427" y="3"/>
                    </a:lnTo>
                    <a:lnTo>
                      <a:pt x="44524" y="11698"/>
                    </a:lnTo>
                    <a:cubicBezTo>
                      <a:pt x="24318" y="21794"/>
                      <a:pt x="13904" y="41985"/>
                      <a:pt x="147" y="58569"/>
                    </a:cubicBezTo>
                    <a:lnTo>
                      <a:pt x="0" y="58293"/>
                    </a:lnTo>
                    <a:lnTo>
                      <a:pt x="19473" y="32824"/>
                    </a:lnTo>
                    <a:cubicBezTo>
                      <a:pt x="26327" y="24440"/>
                      <a:pt x="33983" y="16864"/>
                      <a:pt x="44060" y="11805"/>
                    </a:cubicBezTo>
                    <a:cubicBezTo>
                      <a:pt x="54672" y="6516"/>
                      <a:pt x="68417" y="2022"/>
                      <a:pt x="82384" y="0"/>
                    </a:cubicBez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5" name="Freeform 164">
                <a:extLst>
                  <a:ext uri="{FF2B5EF4-FFF2-40B4-BE49-F238E27FC236}">
                    <a16:creationId xmlns:a16="http://schemas.microsoft.com/office/drawing/2014/main" id="{68458424-762D-E640-A189-31D936CB1936}"/>
                  </a:ext>
                </a:extLst>
              </p:cNvPr>
              <p:cNvSpPr/>
              <p:nvPr/>
            </p:nvSpPr>
            <p:spPr>
              <a:xfrm>
                <a:off x="4086589" y="5794489"/>
                <a:ext cx="17457" cy="4730"/>
              </a:xfrm>
              <a:custGeom>
                <a:avLst/>
                <a:gdLst>
                  <a:gd name="connsiteX0" fmla="*/ 0 w 17457"/>
                  <a:gd name="connsiteY0" fmla="*/ 0 h 4730"/>
                  <a:gd name="connsiteX1" fmla="*/ 17457 w 17457"/>
                  <a:gd name="connsiteY1" fmla="*/ 4730 h 4730"/>
                  <a:gd name="connsiteX2" fmla="*/ 10863 w 17457"/>
                  <a:gd name="connsiteY2" fmla="*/ 3597 h 4730"/>
                  <a:gd name="connsiteX3" fmla="*/ 0 w 17457"/>
                  <a:gd name="connsiteY3" fmla="*/ 0 h 4730"/>
                </a:gdLst>
                <a:ahLst/>
                <a:cxnLst>
                  <a:cxn ang="0">
                    <a:pos x="connsiteX0" y="connsiteY0"/>
                  </a:cxn>
                  <a:cxn ang="0">
                    <a:pos x="connsiteX1" y="connsiteY1"/>
                  </a:cxn>
                  <a:cxn ang="0">
                    <a:pos x="connsiteX2" y="connsiteY2"/>
                  </a:cxn>
                  <a:cxn ang="0">
                    <a:pos x="connsiteX3" y="connsiteY3"/>
                  </a:cxn>
                </a:cxnLst>
                <a:rect l="l" t="t" r="r" b="b"/>
                <a:pathLst>
                  <a:path w="17457" h="4730">
                    <a:moveTo>
                      <a:pt x="0" y="0"/>
                    </a:moveTo>
                    <a:lnTo>
                      <a:pt x="17457" y="4730"/>
                    </a:lnTo>
                    <a:lnTo>
                      <a:pt x="10863" y="3597"/>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6" name="Freeform 165">
                <a:extLst>
                  <a:ext uri="{FF2B5EF4-FFF2-40B4-BE49-F238E27FC236}">
                    <a16:creationId xmlns:a16="http://schemas.microsoft.com/office/drawing/2014/main" id="{2DCD1A89-68C1-4C4F-A2D4-5D5D74CD633D}"/>
                  </a:ext>
                </a:extLst>
              </p:cNvPr>
              <p:cNvSpPr/>
              <p:nvPr/>
            </p:nvSpPr>
            <p:spPr>
              <a:xfrm>
                <a:off x="4104045" y="5799219"/>
                <a:ext cx="49670" cy="55516"/>
              </a:xfrm>
              <a:custGeom>
                <a:avLst/>
                <a:gdLst>
                  <a:gd name="connsiteX0" fmla="*/ 0 w 49670"/>
                  <a:gd name="connsiteY0" fmla="*/ 0 h 55516"/>
                  <a:gd name="connsiteX1" fmla="*/ 9489 w 49670"/>
                  <a:gd name="connsiteY1" fmla="*/ 1629 h 55516"/>
                  <a:gd name="connsiteX2" fmla="*/ 45167 w 49670"/>
                  <a:gd name="connsiteY2" fmla="*/ 11882 h 55516"/>
                  <a:gd name="connsiteX3" fmla="*/ 49670 w 49670"/>
                  <a:gd name="connsiteY3" fmla="*/ 9389 h 55516"/>
                  <a:gd name="connsiteX4" fmla="*/ 49182 w 49670"/>
                  <a:gd name="connsiteY4" fmla="*/ 12055 h 55516"/>
                  <a:gd name="connsiteX5" fmla="*/ 49244 w 49670"/>
                  <a:gd name="connsiteY5" fmla="*/ 12059 h 55516"/>
                  <a:gd name="connsiteX6" fmla="*/ 45490 w 49670"/>
                  <a:gd name="connsiteY6" fmla="*/ 13628 h 55516"/>
                  <a:gd name="connsiteX7" fmla="*/ 9812 w 49670"/>
                  <a:gd name="connsiteY7" fmla="*/ 3378 h 55516"/>
                  <a:gd name="connsiteX8" fmla="*/ 4063 w 49670"/>
                  <a:gd name="connsiteY8" fmla="*/ 2545 h 55516"/>
                  <a:gd name="connsiteX9" fmla="*/ 10388 w 49670"/>
                  <a:gd name="connsiteY9" fmla="*/ 30349 h 55516"/>
                  <a:gd name="connsiteX10" fmla="*/ 21501 w 49670"/>
                  <a:gd name="connsiteY10" fmla="*/ 55516 h 55516"/>
                  <a:gd name="connsiteX11" fmla="*/ 21422 w 49670"/>
                  <a:gd name="connsiteY11" fmla="*/ 55426 h 55516"/>
                  <a:gd name="connsiteX12" fmla="*/ 3261 w 49670"/>
                  <a:gd name="connsiteY12" fmla="*/ 883 h 55516"/>
                  <a:gd name="connsiteX13" fmla="*/ 0 w 49670"/>
                  <a:gd name="connsiteY13" fmla="*/ 0 h 5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670" h="55516">
                    <a:moveTo>
                      <a:pt x="0" y="0"/>
                    </a:moveTo>
                    <a:lnTo>
                      <a:pt x="9489" y="1629"/>
                    </a:lnTo>
                    <a:cubicBezTo>
                      <a:pt x="19015" y="2962"/>
                      <a:pt x="35730" y="14136"/>
                      <a:pt x="45167" y="11882"/>
                    </a:cubicBezTo>
                    <a:lnTo>
                      <a:pt x="49670" y="9389"/>
                    </a:lnTo>
                    <a:lnTo>
                      <a:pt x="49182" y="12055"/>
                    </a:lnTo>
                    <a:lnTo>
                      <a:pt x="49244" y="12059"/>
                    </a:lnTo>
                    <a:lnTo>
                      <a:pt x="45490" y="13628"/>
                    </a:lnTo>
                    <a:cubicBezTo>
                      <a:pt x="36063" y="15910"/>
                      <a:pt x="19324" y="4718"/>
                      <a:pt x="9812" y="3378"/>
                    </a:cubicBezTo>
                    <a:cubicBezTo>
                      <a:pt x="7699" y="3088"/>
                      <a:pt x="5839" y="2834"/>
                      <a:pt x="4063" y="2545"/>
                    </a:cubicBezTo>
                    <a:cubicBezTo>
                      <a:pt x="6388" y="11854"/>
                      <a:pt x="7931" y="21190"/>
                      <a:pt x="10388" y="30349"/>
                    </a:cubicBezTo>
                    <a:lnTo>
                      <a:pt x="21501" y="55516"/>
                    </a:lnTo>
                    <a:lnTo>
                      <a:pt x="21422" y="55426"/>
                    </a:lnTo>
                    <a:cubicBezTo>
                      <a:pt x="9457" y="38272"/>
                      <a:pt x="7890" y="19526"/>
                      <a:pt x="3261" y="883"/>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7" name="Freeform 166">
                <a:extLst>
                  <a:ext uri="{FF2B5EF4-FFF2-40B4-BE49-F238E27FC236}">
                    <a16:creationId xmlns:a16="http://schemas.microsoft.com/office/drawing/2014/main" id="{52306D02-BC5D-0D43-9351-80F70DFA80B3}"/>
                  </a:ext>
                </a:extLst>
              </p:cNvPr>
              <p:cNvSpPr/>
              <p:nvPr/>
            </p:nvSpPr>
            <p:spPr>
              <a:xfrm>
                <a:off x="4153290" y="5810638"/>
                <a:ext cx="20549" cy="1854"/>
              </a:xfrm>
              <a:custGeom>
                <a:avLst/>
                <a:gdLst>
                  <a:gd name="connsiteX0" fmla="*/ 1530 w 20549"/>
                  <a:gd name="connsiteY0" fmla="*/ 0 h 1854"/>
                  <a:gd name="connsiteX1" fmla="*/ 20549 w 20549"/>
                  <a:gd name="connsiteY1" fmla="*/ 1204 h 1854"/>
                  <a:gd name="connsiteX2" fmla="*/ 19261 w 20549"/>
                  <a:gd name="connsiteY2" fmla="*/ 1854 h 1854"/>
                  <a:gd name="connsiteX3" fmla="*/ 0 w 20549"/>
                  <a:gd name="connsiteY3" fmla="*/ 640 h 1854"/>
                  <a:gd name="connsiteX4" fmla="*/ 1530 w 20549"/>
                  <a:gd name="connsiteY4" fmla="*/ 0 h 1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49" h="1854">
                    <a:moveTo>
                      <a:pt x="1530" y="0"/>
                    </a:moveTo>
                    <a:lnTo>
                      <a:pt x="20549" y="1204"/>
                    </a:lnTo>
                    <a:lnTo>
                      <a:pt x="19261" y="1854"/>
                    </a:lnTo>
                    <a:lnTo>
                      <a:pt x="0" y="640"/>
                    </a:lnTo>
                    <a:lnTo>
                      <a:pt x="153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8" name="Freeform 167">
                <a:extLst>
                  <a:ext uri="{FF2B5EF4-FFF2-40B4-BE49-F238E27FC236}">
                    <a16:creationId xmlns:a16="http://schemas.microsoft.com/office/drawing/2014/main" id="{321BB26D-E3D2-D24B-B236-16290DF161D7}"/>
                  </a:ext>
                </a:extLst>
              </p:cNvPr>
              <p:cNvSpPr/>
              <p:nvPr/>
            </p:nvSpPr>
            <p:spPr>
              <a:xfrm>
                <a:off x="4125547" y="5854735"/>
                <a:ext cx="143053" cy="107230"/>
              </a:xfrm>
              <a:custGeom>
                <a:avLst/>
                <a:gdLst>
                  <a:gd name="connsiteX0" fmla="*/ 0 w 143053"/>
                  <a:gd name="connsiteY0" fmla="*/ 0 h 107230"/>
                  <a:gd name="connsiteX1" fmla="*/ 26387 w 143053"/>
                  <a:gd name="connsiteY1" fmla="*/ 30070 h 107230"/>
                  <a:gd name="connsiteX2" fmla="*/ 59316 w 143053"/>
                  <a:gd name="connsiteY2" fmla="*/ 53990 h 107230"/>
                  <a:gd name="connsiteX3" fmla="*/ 133453 w 143053"/>
                  <a:gd name="connsiteY3" fmla="*/ 93280 h 107230"/>
                  <a:gd name="connsiteX4" fmla="*/ 142899 w 143053"/>
                  <a:gd name="connsiteY4" fmla="*/ 106421 h 107230"/>
                  <a:gd name="connsiteX5" fmla="*/ 143053 w 143053"/>
                  <a:gd name="connsiteY5" fmla="*/ 107230 h 107230"/>
                  <a:gd name="connsiteX6" fmla="*/ 134193 w 143053"/>
                  <a:gd name="connsiteY6" fmla="*/ 94923 h 107230"/>
                  <a:gd name="connsiteX7" fmla="*/ 60090 w 143053"/>
                  <a:gd name="connsiteY7" fmla="*/ 55622 h 107230"/>
                  <a:gd name="connsiteX8" fmla="*/ 697 w 143053"/>
                  <a:gd name="connsiteY8" fmla="*/ 1579 h 107230"/>
                  <a:gd name="connsiteX9" fmla="*/ 0 w 143053"/>
                  <a:gd name="connsiteY9" fmla="*/ 0 h 107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053" h="107230">
                    <a:moveTo>
                      <a:pt x="0" y="0"/>
                    </a:moveTo>
                    <a:lnTo>
                      <a:pt x="26387" y="30070"/>
                    </a:lnTo>
                    <a:cubicBezTo>
                      <a:pt x="36117" y="38840"/>
                      <a:pt x="46924" y="46569"/>
                      <a:pt x="59316" y="53990"/>
                    </a:cubicBezTo>
                    <a:cubicBezTo>
                      <a:pt x="82034" y="67549"/>
                      <a:pt x="115435" y="74842"/>
                      <a:pt x="133453" y="93280"/>
                    </a:cubicBezTo>
                    <a:cubicBezTo>
                      <a:pt x="136409" y="96336"/>
                      <a:pt x="140201" y="101215"/>
                      <a:pt x="142899" y="106421"/>
                    </a:cubicBezTo>
                    <a:lnTo>
                      <a:pt x="143053" y="107230"/>
                    </a:lnTo>
                    <a:lnTo>
                      <a:pt x="134193" y="94923"/>
                    </a:lnTo>
                    <a:cubicBezTo>
                      <a:pt x="116227" y="76486"/>
                      <a:pt x="82790" y="69206"/>
                      <a:pt x="60090" y="55622"/>
                    </a:cubicBezTo>
                    <a:cubicBezTo>
                      <a:pt x="35276" y="40771"/>
                      <a:pt x="16845" y="24725"/>
                      <a:pt x="697" y="1579"/>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69" name="Freeform 168">
                <a:extLst>
                  <a:ext uri="{FF2B5EF4-FFF2-40B4-BE49-F238E27FC236}">
                    <a16:creationId xmlns:a16="http://schemas.microsoft.com/office/drawing/2014/main" id="{9C7732B2-B4F4-1E48-974D-10AF0F1B7776}"/>
                  </a:ext>
                </a:extLst>
              </p:cNvPr>
              <p:cNvSpPr/>
              <p:nvPr/>
            </p:nvSpPr>
            <p:spPr>
              <a:xfrm>
                <a:off x="4247472" y="5961966"/>
                <a:ext cx="25136" cy="42181"/>
              </a:xfrm>
              <a:custGeom>
                <a:avLst/>
                <a:gdLst>
                  <a:gd name="connsiteX0" fmla="*/ 21127 w 25136"/>
                  <a:gd name="connsiteY0" fmla="*/ 0 h 42181"/>
                  <a:gd name="connsiteX1" fmla="*/ 21720 w 25136"/>
                  <a:gd name="connsiteY1" fmla="*/ 824 h 42181"/>
                  <a:gd name="connsiteX2" fmla="*/ 24611 w 25136"/>
                  <a:gd name="connsiteY2" fmla="*/ 15910 h 42181"/>
                  <a:gd name="connsiteX3" fmla="*/ 1614 w 25136"/>
                  <a:gd name="connsiteY3" fmla="*/ 26378 h 42181"/>
                  <a:gd name="connsiteX4" fmla="*/ 3792 w 25136"/>
                  <a:gd name="connsiteY4" fmla="*/ 42181 h 42181"/>
                  <a:gd name="connsiteX5" fmla="*/ 3142 w 25136"/>
                  <a:gd name="connsiteY5" fmla="*/ 41503 h 42181"/>
                  <a:gd name="connsiteX6" fmla="*/ 845 w 25136"/>
                  <a:gd name="connsiteY6" fmla="*/ 24723 h 42181"/>
                  <a:gd name="connsiteX7" fmla="*/ 23848 w 25136"/>
                  <a:gd name="connsiteY7" fmla="*/ 14297 h 42181"/>
                  <a:gd name="connsiteX8" fmla="*/ 21127 w 25136"/>
                  <a:gd name="connsiteY8" fmla="*/ 0 h 4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136" h="42181">
                    <a:moveTo>
                      <a:pt x="21127" y="0"/>
                    </a:moveTo>
                    <a:lnTo>
                      <a:pt x="21720" y="824"/>
                    </a:lnTo>
                    <a:cubicBezTo>
                      <a:pt x="24421" y="6031"/>
                      <a:pt x="26027" y="11564"/>
                      <a:pt x="24611" y="15910"/>
                    </a:cubicBezTo>
                    <a:cubicBezTo>
                      <a:pt x="20722" y="28045"/>
                      <a:pt x="11718" y="22503"/>
                      <a:pt x="1614" y="26378"/>
                    </a:cubicBezTo>
                    <a:lnTo>
                      <a:pt x="3792" y="42181"/>
                    </a:lnTo>
                    <a:lnTo>
                      <a:pt x="3142" y="41503"/>
                    </a:lnTo>
                    <a:cubicBezTo>
                      <a:pt x="191" y="36343"/>
                      <a:pt x="-918" y="30706"/>
                      <a:pt x="845" y="24723"/>
                    </a:cubicBezTo>
                    <a:cubicBezTo>
                      <a:pt x="10958" y="20871"/>
                      <a:pt x="19931" y="26418"/>
                      <a:pt x="23848" y="14297"/>
                    </a:cubicBezTo>
                    <a:lnTo>
                      <a:pt x="21127"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70" name="Freeform 169">
                <a:extLst>
                  <a:ext uri="{FF2B5EF4-FFF2-40B4-BE49-F238E27FC236}">
                    <a16:creationId xmlns:a16="http://schemas.microsoft.com/office/drawing/2014/main" id="{94353F17-A196-CC4B-9DC1-C6D6E088FE17}"/>
                  </a:ext>
                </a:extLst>
              </p:cNvPr>
              <p:cNvSpPr/>
              <p:nvPr/>
            </p:nvSpPr>
            <p:spPr>
              <a:xfrm>
                <a:off x="4251264" y="6004147"/>
                <a:ext cx="121034" cy="69071"/>
              </a:xfrm>
              <a:custGeom>
                <a:avLst/>
                <a:gdLst>
                  <a:gd name="connsiteX0" fmla="*/ 0 w 121034"/>
                  <a:gd name="connsiteY0" fmla="*/ 0 h 69071"/>
                  <a:gd name="connsiteX1" fmla="*/ 12703 w 121034"/>
                  <a:gd name="connsiteY1" fmla="*/ 13241 h 69071"/>
                  <a:gd name="connsiteX2" fmla="*/ 47902 w 121034"/>
                  <a:gd name="connsiteY2" fmla="*/ 29381 h 69071"/>
                  <a:gd name="connsiteX3" fmla="*/ 120971 w 121034"/>
                  <a:gd name="connsiteY3" fmla="*/ 68465 h 69071"/>
                  <a:gd name="connsiteX4" fmla="*/ 121034 w 121034"/>
                  <a:gd name="connsiteY4" fmla="*/ 69071 h 69071"/>
                  <a:gd name="connsiteX5" fmla="*/ 110397 w 121034"/>
                  <a:gd name="connsiteY5" fmla="*/ 52441 h 69071"/>
                  <a:gd name="connsiteX6" fmla="*/ 48634 w 121034"/>
                  <a:gd name="connsiteY6" fmla="*/ 30996 h 69071"/>
                  <a:gd name="connsiteX7" fmla="*/ 132 w 121034"/>
                  <a:gd name="connsiteY7" fmla="*/ 958 h 69071"/>
                  <a:gd name="connsiteX8" fmla="*/ 0 w 121034"/>
                  <a:gd name="connsiteY8" fmla="*/ 0 h 6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034" h="69071">
                    <a:moveTo>
                      <a:pt x="0" y="0"/>
                    </a:moveTo>
                    <a:lnTo>
                      <a:pt x="12703" y="13241"/>
                    </a:lnTo>
                    <a:cubicBezTo>
                      <a:pt x="23920" y="21395"/>
                      <a:pt x="38395" y="27121"/>
                      <a:pt x="47902" y="29381"/>
                    </a:cubicBezTo>
                    <a:cubicBezTo>
                      <a:pt x="75107" y="35801"/>
                      <a:pt x="112211" y="38985"/>
                      <a:pt x="120971" y="68465"/>
                    </a:cubicBezTo>
                    <a:lnTo>
                      <a:pt x="121034" y="69071"/>
                    </a:lnTo>
                    <a:lnTo>
                      <a:pt x="110397" y="52441"/>
                    </a:lnTo>
                    <a:cubicBezTo>
                      <a:pt x="94994" y="38814"/>
                      <a:pt x="69020" y="35832"/>
                      <a:pt x="48634" y="30996"/>
                    </a:cubicBezTo>
                    <a:cubicBezTo>
                      <a:pt x="34399" y="27601"/>
                      <a:pt x="8988" y="16422"/>
                      <a:pt x="132" y="958"/>
                    </a:cubicBez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sp>
            <p:nvSpPr>
              <p:cNvPr id="171" name="Freeform 170">
                <a:extLst>
                  <a:ext uri="{FF2B5EF4-FFF2-40B4-BE49-F238E27FC236}">
                    <a16:creationId xmlns:a16="http://schemas.microsoft.com/office/drawing/2014/main" id="{C8A0CA63-5C42-7F45-B5EB-58938D0F5291}"/>
                  </a:ext>
                </a:extLst>
              </p:cNvPr>
              <p:cNvSpPr/>
              <p:nvPr/>
            </p:nvSpPr>
            <p:spPr>
              <a:xfrm>
                <a:off x="4372299" y="6073217"/>
                <a:ext cx="3359" cy="27282"/>
              </a:xfrm>
              <a:custGeom>
                <a:avLst/>
                <a:gdLst>
                  <a:gd name="connsiteX0" fmla="*/ 0 w 3359"/>
                  <a:gd name="connsiteY0" fmla="*/ 0 h 27282"/>
                  <a:gd name="connsiteX1" fmla="*/ 646 w 3359"/>
                  <a:gd name="connsiteY1" fmla="*/ 1009 h 27282"/>
                  <a:gd name="connsiteX2" fmla="*/ 3359 w 3359"/>
                  <a:gd name="connsiteY2" fmla="*/ 26900 h 27282"/>
                  <a:gd name="connsiteX3" fmla="*/ 2847 w 3359"/>
                  <a:gd name="connsiteY3" fmla="*/ 27282 h 27282"/>
                  <a:gd name="connsiteX4" fmla="*/ 0 w 3359"/>
                  <a:gd name="connsiteY4" fmla="*/ 0 h 27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59" h="27282">
                    <a:moveTo>
                      <a:pt x="0" y="0"/>
                    </a:moveTo>
                    <a:lnTo>
                      <a:pt x="646" y="1009"/>
                    </a:lnTo>
                    <a:lnTo>
                      <a:pt x="3359" y="26900"/>
                    </a:lnTo>
                    <a:lnTo>
                      <a:pt x="2847" y="27282"/>
                    </a:lnTo>
                    <a:lnTo>
                      <a:pt x="0" y="0"/>
                    </a:lnTo>
                    <a:close/>
                  </a:path>
                </a:pathLst>
              </a:custGeom>
              <a:solidFill>
                <a:schemeClr val="bg1">
                  <a:lumMod val="75000"/>
                </a:schemeClr>
              </a:solidFill>
              <a:ln w="3175" cmpd="sng">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defTabSz="685862"/>
                <a:endParaRPr lang="en-US" sz="1400" dirty="0">
                  <a:solidFill>
                    <a:prstClr val="white"/>
                  </a:solidFill>
                  <a:latin typeface="Georgia"/>
                </a:endParaRPr>
              </a:p>
            </p:txBody>
          </p:sp>
        </p:grpSp>
        <p:sp>
          <p:nvSpPr>
            <p:cNvPr id="26" name="Oval 25">
              <a:extLst>
                <a:ext uri="{FF2B5EF4-FFF2-40B4-BE49-F238E27FC236}">
                  <a16:creationId xmlns:a16="http://schemas.microsoft.com/office/drawing/2014/main" id="{4ED90A80-B29B-E041-8194-B73139EECF99}"/>
                </a:ext>
              </a:extLst>
            </p:cNvPr>
            <p:cNvSpPr>
              <a:spLocks noChangeAspect="1"/>
            </p:cNvSpPr>
            <p:nvPr/>
          </p:nvSpPr>
          <p:spPr>
            <a:xfrm>
              <a:off x="2232040" y="2822107"/>
              <a:ext cx="3017520" cy="3017520"/>
            </a:xfrm>
            <a:prstGeom prst="ellipse">
              <a:avLst/>
            </a:prstGeom>
            <a:noFill/>
            <a:ln w="19050"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DF45DEE8-4F88-5B49-9CD1-92FD6FF8ACD8}"/>
                </a:ext>
              </a:extLst>
            </p:cNvPr>
            <p:cNvSpPr txBox="1"/>
            <p:nvPr/>
          </p:nvSpPr>
          <p:spPr>
            <a:xfrm>
              <a:off x="2445184" y="3599528"/>
              <a:ext cx="411650" cy="131728"/>
            </a:xfrm>
            <a:prstGeom prst="rect">
              <a:avLst/>
            </a:prstGeom>
            <a:noFill/>
          </p:spPr>
          <p:txBody>
            <a:bodyPr wrap="none" lIns="0" tIns="0" rIns="0" bIns="0" rtlCol="0">
              <a:spAutoFit/>
            </a:bodyPr>
            <a:lstStyle/>
            <a:p>
              <a:pPr algn="ctr"/>
              <a:r>
                <a:rPr lang="en-US" sz="800" dirty="0">
                  <a:solidFill>
                    <a:schemeClr val="tx1">
                      <a:lumMod val="65000"/>
                      <a:lumOff val="35000"/>
                    </a:schemeClr>
                  </a:solidFill>
                  <a:latin typeface="Arial"/>
                  <a:cs typeface="Arial"/>
                </a:rPr>
                <a:t>Sonoma</a:t>
              </a:r>
            </a:p>
          </p:txBody>
        </p:sp>
        <p:sp>
          <p:nvSpPr>
            <p:cNvPr id="28" name="TextBox 27">
              <a:extLst>
                <a:ext uri="{FF2B5EF4-FFF2-40B4-BE49-F238E27FC236}">
                  <a16:creationId xmlns:a16="http://schemas.microsoft.com/office/drawing/2014/main" id="{239FBC81-69CE-6042-B027-C02C5864B60F}"/>
                </a:ext>
              </a:extLst>
            </p:cNvPr>
            <p:cNvSpPr txBox="1"/>
            <p:nvPr/>
          </p:nvSpPr>
          <p:spPr>
            <a:xfrm>
              <a:off x="2818222" y="3956448"/>
              <a:ext cx="274433" cy="131728"/>
            </a:xfrm>
            <a:prstGeom prst="rect">
              <a:avLst/>
            </a:prstGeom>
            <a:noFill/>
          </p:spPr>
          <p:txBody>
            <a:bodyPr wrap="none" lIns="0" tIns="0" rIns="0" bIns="0" rtlCol="0">
              <a:spAutoFit/>
            </a:bodyPr>
            <a:lstStyle/>
            <a:p>
              <a:pPr algn="ctr"/>
              <a:r>
                <a:rPr lang="en-US" sz="800" dirty="0">
                  <a:solidFill>
                    <a:schemeClr val="tx1">
                      <a:lumMod val="65000"/>
                      <a:lumOff val="35000"/>
                    </a:schemeClr>
                  </a:solidFill>
                  <a:latin typeface="Arial"/>
                  <a:cs typeface="Arial"/>
                </a:rPr>
                <a:t>Marin</a:t>
              </a:r>
            </a:p>
          </p:txBody>
        </p:sp>
        <p:sp>
          <p:nvSpPr>
            <p:cNvPr id="29" name="TextBox 28">
              <a:extLst>
                <a:ext uri="{FF2B5EF4-FFF2-40B4-BE49-F238E27FC236}">
                  <a16:creationId xmlns:a16="http://schemas.microsoft.com/office/drawing/2014/main" id="{B23945AD-7B22-D745-ACD0-E5B790DF9F79}"/>
                </a:ext>
              </a:extLst>
            </p:cNvPr>
            <p:cNvSpPr txBox="1"/>
            <p:nvPr/>
          </p:nvSpPr>
          <p:spPr>
            <a:xfrm>
              <a:off x="2823015" y="4356260"/>
              <a:ext cx="704951" cy="131728"/>
            </a:xfrm>
            <a:prstGeom prst="rect">
              <a:avLst/>
            </a:prstGeom>
            <a:noFill/>
          </p:spPr>
          <p:txBody>
            <a:bodyPr wrap="none" lIns="0" tIns="0" rIns="0" bIns="0" rtlCol="0">
              <a:spAutoFit/>
            </a:bodyPr>
            <a:lstStyle/>
            <a:p>
              <a:pPr algn="ctr"/>
              <a:r>
                <a:rPr lang="en-US" sz="800" dirty="0">
                  <a:solidFill>
                    <a:schemeClr val="tx1">
                      <a:lumMod val="65000"/>
                      <a:lumOff val="35000"/>
                    </a:schemeClr>
                  </a:solidFill>
                  <a:latin typeface="Arial"/>
                  <a:cs typeface="Arial"/>
                </a:rPr>
                <a:t>San Francisco</a:t>
              </a:r>
            </a:p>
          </p:txBody>
        </p:sp>
        <p:sp>
          <p:nvSpPr>
            <p:cNvPr id="30" name="TextBox 29">
              <a:extLst>
                <a:ext uri="{FF2B5EF4-FFF2-40B4-BE49-F238E27FC236}">
                  <a16:creationId xmlns:a16="http://schemas.microsoft.com/office/drawing/2014/main" id="{16F2394D-98CC-264C-A8BD-65DA5D89A8E2}"/>
                </a:ext>
              </a:extLst>
            </p:cNvPr>
            <p:cNvSpPr txBox="1"/>
            <p:nvPr/>
          </p:nvSpPr>
          <p:spPr>
            <a:xfrm>
              <a:off x="3078648" y="4740422"/>
              <a:ext cx="535146" cy="131728"/>
            </a:xfrm>
            <a:prstGeom prst="rect">
              <a:avLst/>
            </a:prstGeom>
            <a:noFill/>
          </p:spPr>
          <p:txBody>
            <a:bodyPr wrap="none" lIns="0" tIns="0" rIns="0" bIns="0" rtlCol="0">
              <a:spAutoFit/>
            </a:bodyPr>
            <a:lstStyle/>
            <a:p>
              <a:pPr algn="ctr"/>
              <a:r>
                <a:rPr lang="en-US" sz="800" dirty="0">
                  <a:solidFill>
                    <a:schemeClr val="tx1">
                      <a:lumMod val="65000"/>
                      <a:lumOff val="35000"/>
                    </a:schemeClr>
                  </a:solidFill>
                  <a:latin typeface="Arial"/>
                  <a:cs typeface="Arial"/>
                </a:rPr>
                <a:t>San Mateo</a:t>
              </a:r>
            </a:p>
          </p:txBody>
        </p:sp>
        <p:sp>
          <p:nvSpPr>
            <p:cNvPr id="31" name="TextBox 30">
              <a:extLst>
                <a:ext uri="{FF2B5EF4-FFF2-40B4-BE49-F238E27FC236}">
                  <a16:creationId xmlns:a16="http://schemas.microsoft.com/office/drawing/2014/main" id="{1B0CBFCE-FC28-224C-B06C-BD63F8DED7AD}"/>
                </a:ext>
              </a:extLst>
            </p:cNvPr>
            <p:cNvSpPr txBox="1"/>
            <p:nvPr/>
          </p:nvSpPr>
          <p:spPr>
            <a:xfrm>
              <a:off x="3522992" y="5119503"/>
              <a:ext cx="583172" cy="131728"/>
            </a:xfrm>
            <a:prstGeom prst="rect">
              <a:avLst/>
            </a:prstGeom>
            <a:noFill/>
          </p:spPr>
          <p:txBody>
            <a:bodyPr wrap="none" lIns="0" tIns="0" rIns="0" bIns="0" rtlCol="0">
              <a:spAutoFit/>
            </a:bodyPr>
            <a:lstStyle/>
            <a:p>
              <a:pPr algn="ctr"/>
              <a:r>
                <a:rPr lang="en-US" sz="800" dirty="0">
                  <a:solidFill>
                    <a:schemeClr val="tx1">
                      <a:lumMod val="65000"/>
                      <a:lumOff val="35000"/>
                    </a:schemeClr>
                  </a:solidFill>
                  <a:latin typeface="Arial"/>
                  <a:cs typeface="Arial"/>
                </a:rPr>
                <a:t>Santa Clara</a:t>
              </a:r>
            </a:p>
          </p:txBody>
        </p:sp>
        <p:sp>
          <p:nvSpPr>
            <p:cNvPr id="32" name="TextBox 31">
              <a:extLst>
                <a:ext uri="{FF2B5EF4-FFF2-40B4-BE49-F238E27FC236}">
                  <a16:creationId xmlns:a16="http://schemas.microsoft.com/office/drawing/2014/main" id="{7DA540C7-0214-9044-A307-E57C4973163E}"/>
                </a:ext>
              </a:extLst>
            </p:cNvPr>
            <p:cNvSpPr txBox="1"/>
            <p:nvPr/>
          </p:nvSpPr>
          <p:spPr>
            <a:xfrm>
              <a:off x="4487401" y="4442049"/>
              <a:ext cx="435663" cy="131728"/>
            </a:xfrm>
            <a:prstGeom prst="rect">
              <a:avLst/>
            </a:prstGeom>
            <a:noFill/>
          </p:spPr>
          <p:txBody>
            <a:bodyPr wrap="none" lIns="0" tIns="0" rIns="0" bIns="0" rtlCol="0">
              <a:spAutoFit/>
            </a:bodyPr>
            <a:lstStyle/>
            <a:p>
              <a:pPr algn="ctr"/>
              <a:r>
                <a:rPr lang="en-US" sz="800" dirty="0">
                  <a:solidFill>
                    <a:schemeClr val="tx1">
                      <a:lumMod val="65000"/>
                      <a:lumOff val="35000"/>
                    </a:schemeClr>
                  </a:solidFill>
                  <a:latin typeface="Arial"/>
                  <a:cs typeface="Arial"/>
                </a:rPr>
                <a:t>Alameda</a:t>
              </a:r>
            </a:p>
          </p:txBody>
        </p:sp>
        <p:sp>
          <p:nvSpPr>
            <p:cNvPr id="33" name="TextBox 32">
              <a:extLst>
                <a:ext uri="{FF2B5EF4-FFF2-40B4-BE49-F238E27FC236}">
                  <a16:creationId xmlns:a16="http://schemas.microsoft.com/office/drawing/2014/main" id="{0C0BAE22-91A9-5A4C-B5F8-5C493ED52AF9}"/>
                </a:ext>
              </a:extLst>
            </p:cNvPr>
            <p:cNvSpPr txBox="1"/>
            <p:nvPr/>
          </p:nvSpPr>
          <p:spPr>
            <a:xfrm>
              <a:off x="4487598" y="4093852"/>
              <a:ext cx="650065" cy="131728"/>
            </a:xfrm>
            <a:prstGeom prst="rect">
              <a:avLst/>
            </a:prstGeom>
            <a:noFill/>
          </p:spPr>
          <p:txBody>
            <a:bodyPr wrap="none" lIns="0" tIns="0" rIns="0" bIns="0" rtlCol="0">
              <a:spAutoFit/>
            </a:bodyPr>
            <a:lstStyle/>
            <a:p>
              <a:pPr algn="ctr"/>
              <a:r>
                <a:rPr lang="en-US" sz="800" dirty="0">
                  <a:solidFill>
                    <a:schemeClr val="tx1">
                      <a:lumMod val="65000"/>
                      <a:lumOff val="35000"/>
                    </a:schemeClr>
                  </a:solidFill>
                  <a:latin typeface="Arial"/>
                  <a:cs typeface="Arial"/>
                </a:rPr>
                <a:t>Contra Costa</a:t>
              </a:r>
            </a:p>
          </p:txBody>
        </p:sp>
        <p:sp>
          <p:nvSpPr>
            <p:cNvPr id="34" name="TextBox 33">
              <a:extLst>
                <a:ext uri="{FF2B5EF4-FFF2-40B4-BE49-F238E27FC236}">
                  <a16:creationId xmlns:a16="http://schemas.microsoft.com/office/drawing/2014/main" id="{8B4B409D-FED7-E248-8C47-61340A769286}"/>
                </a:ext>
              </a:extLst>
            </p:cNvPr>
            <p:cNvSpPr txBox="1"/>
            <p:nvPr/>
          </p:nvSpPr>
          <p:spPr>
            <a:xfrm>
              <a:off x="4414872" y="3670013"/>
              <a:ext cx="344757" cy="131728"/>
            </a:xfrm>
            <a:prstGeom prst="rect">
              <a:avLst/>
            </a:prstGeom>
            <a:noFill/>
          </p:spPr>
          <p:txBody>
            <a:bodyPr wrap="none" lIns="0" tIns="0" rIns="0" bIns="0" rtlCol="0">
              <a:spAutoFit/>
            </a:bodyPr>
            <a:lstStyle/>
            <a:p>
              <a:pPr algn="ctr"/>
              <a:r>
                <a:rPr lang="en-US" sz="800" dirty="0">
                  <a:solidFill>
                    <a:schemeClr val="tx1">
                      <a:lumMod val="65000"/>
                      <a:lumOff val="35000"/>
                    </a:schemeClr>
                  </a:solidFill>
                  <a:latin typeface="Arial"/>
                  <a:cs typeface="Arial"/>
                </a:rPr>
                <a:t>Solano</a:t>
              </a:r>
            </a:p>
          </p:txBody>
        </p:sp>
        <p:sp>
          <p:nvSpPr>
            <p:cNvPr id="35" name="TextBox 34">
              <a:extLst>
                <a:ext uri="{FF2B5EF4-FFF2-40B4-BE49-F238E27FC236}">
                  <a16:creationId xmlns:a16="http://schemas.microsoft.com/office/drawing/2014/main" id="{CD80E8F4-13C4-6F4F-B27F-2B915688DDBC}"/>
                </a:ext>
              </a:extLst>
            </p:cNvPr>
            <p:cNvSpPr txBox="1"/>
            <p:nvPr/>
          </p:nvSpPr>
          <p:spPr>
            <a:xfrm>
              <a:off x="3930298" y="3358893"/>
              <a:ext cx="264143" cy="131728"/>
            </a:xfrm>
            <a:prstGeom prst="rect">
              <a:avLst/>
            </a:prstGeom>
            <a:noFill/>
          </p:spPr>
          <p:txBody>
            <a:bodyPr wrap="none" lIns="0" tIns="0" rIns="0" bIns="0" rtlCol="0">
              <a:spAutoFit/>
            </a:bodyPr>
            <a:lstStyle/>
            <a:p>
              <a:pPr algn="ctr"/>
              <a:r>
                <a:rPr lang="en-US" sz="800" dirty="0">
                  <a:solidFill>
                    <a:schemeClr val="tx1">
                      <a:lumMod val="65000"/>
                      <a:lumOff val="35000"/>
                    </a:schemeClr>
                  </a:solidFill>
                  <a:latin typeface="Arial"/>
                  <a:cs typeface="Arial"/>
                </a:rPr>
                <a:t>Napa</a:t>
              </a:r>
            </a:p>
          </p:txBody>
        </p:sp>
      </p:grpSp>
    </p:spTree>
    <p:extLst>
      <p:ext uri="{BB962C8B-B14F-4D97-AF65-F5344CB8AC3E}">
        <p14:creationId xmlns:p14="http://schemas.microsoft.com/office/powerpoint/2010/main" val="16641256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New York City</a:t>
            </a:r>
          </a:p>
        </p:txBody>
      </p:sp>
      <p:sp>
        <p:nvSpPr>
          <p:cNvPr id="312" name="AutoShape 1"/>
          <p:cNvSpPr>
            <a:spLocks/>
          </p:cNvSpPr>
          <p:nvPr/>
        </p:nvSpPr>
        <p:spPr bwMode="auto">
          <a:xfrm>
            <a:off x="6896117" y="4202949"/>
            <a:ext cx="18223" cy="6284"/>
          </a:xfrm>
          <a:custGeom>
            <a:avLst/>
            <a:gdLst/>
            <a:ahLst/>
            <a:cxnLst/>
            <a:rect l="0" t="0" r="r" b="b"/>
            <a:pathLst>
              <a:path w="21600" h="19676">
                <a:moveTo>
                  <a:pt x="0" y="10185"/>
                </a:moveTo>
                <a:cubicBezTo>
                  <a:pt x="1192" y="5622"/>
                  <a:pt x="2482" y="2844"/>
                  <a:pt x="3875" y="1820"/>
                </a:cubicBezTo>
                <a:cubicBezTo>
                  <a:pt x="10771" y="-1924"/>
                  <a:pt x="15787" y="109"/>
                  <a:pt x="18917" y="7903"/>
                </a:cubicBezTo>
                <a:cubicBezTo>
                  <a:pt x="19989" y="10770"/>
                  <a:pt x="20832" y="14309"/>
                  <a:pt x="21451" y="18550"/>
                </a:cubicBezTo>
                <a:cubicBezTo>
                  <a:pt x="21514" y="18945"/>
                  <a:pt x="21566" y="19325"/>
                  <a:pt x="21600" y="19676"/>
                </a:cubicBezTo>
                <a:cubicBezTo>
                  <a:pt x="14480" y="16093"/>
                  <a:pt x="7280" y="12920"/>
                  <a:pt x="0" y="10185"/>
                </a:cubicBezTo>
                <a:close/>
                <a:moveTo>
                  <a:pt x="0" y="10185"/>
                </a:moveTo>
              </a:path>
            </a:pathLst>
          </a:custGeom>
          <a:solidFill>
            <a:schemeClr val="bg1">
              <a:lumMod val="75000"/>
            </a:schemeClr>
          </a:solidFill>
          <a:ln>
            <a:solidFill>
              <a:schemeClr val="bg1"/>
            </a:solid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13" name="AutoShape 2"/>
          <p:cNvSpPr>
            <a:spLocks/>
          </p:cNvSpPr>
          <p:nvPr/>
        </p:nvSpPr>
        <p:spPr bwMode="auto">
          <a:xfrm>
            <a:off x="6016413" y="2885276"/>
            <a:ext cx="1520632" cy="2155905"/>
          </a:xfrm>
          <a:custGeom>
            <a:avLst/>
            <a:gdLst/>
            <a:ahLst/>
            <a:cxnLst/>
            <a:rect l="0" t="0" r="r" b="b"/>
            <a:pathLst>
              <a:path w="21575" h="21584">
                <a:moveTo>
                  <a:pt x="10341" y="16032"/>
                </a:moveTo>
                <a:cubicBezTo>
                  <a:pt x="10356" y="16021"/>
                  <a:pt x="10372" y="16010"/>
                  <a:pt x="10388" y="15999"/>
                </a:cubicBezTo>
                <a:cubicBezTo>
                  <a:pt x="10436" y="15966"/>
                  <a:pt x="10489" y="15932"/>
                  <a:pt x="10547" y="15896"/>
                </a:cubicBezTo>
                <a:cubicBezTo>
                  <a:pt x="10556" y="15891"/>
                  <a:pt x="10564" y="15886"/>
                  <a:pt x="10572" y="15880"/>
                </a:cubicBezTo>
                <a:cubicBezTo>
                  <a:pt x="10625" y="15837"/>
                  <a:pt x="10650" y="15773"/>
                  <a:pt x="10648" y="15687"/>
                </a:cubicBezTo>
                <a:cubicBezTo>
                  <a:pt x="10648" y="15671"/>
                  <a:pt x="10644" y="15657"/>
                  <a:pt x="10636" y="15645"/>
                </a:cubicBezTo>
                <a:cubicBezTo>
                  <a:pt x="10635" y="15643"/>
                  <a:pt x="10635" y="15642"/>
                  <a:pt x="10634" y="15641"/>
                </a:cubicBezTo>
                <a:cubicBezTo>
                  <a:pt x="10631" y="15637"/>
                  <a:pt x="10628" y="15632"/>
                  <a:pt x="10625" y="15627"/>
                </a:cubicBezTo>
                <a:cubicBezTo>
                  <a:pt x="10612" y="15603"/>
                  <a:pt x="10607" y="15572"/>
                  <a:pt x="10609" y="15534"/>
                </a:cubicBezTo>
                <a:cubicBezTo>
                  <a:pt x="10611" y="15517"/>
                  <a:pt x="10618" y="15502"/>
                  <a:pt x="10630" y="15490"/>
                </a:cubicBezTo>
                <a:cubicBezTo>
                  <a:pt x="10651" y="15471"/>
                  <a:pt x="10673" y="15455"/>
                  <a:pt x="10695" y="15440"/>
                </a:cubicBezTo>
                <a:cubicBezTo>
                  <a:pt x="10730" y="15418"/>
                  <a:pt x="10767" y="15400"/>
                  <a:pt x="10806" y="15388"/>
                </a:cubicBezTo>
                <a:cubicBezTo>
                  <a:pt x="10825" y="15395"/>
                  <a:pt x="10839" y="15407"/>
                  <a:pt x="10847" y="15425"/>
                </a:cubicBezTo>
                <a:cubicBezTo>
                  <a:pt x="10852" y="15433"/>
                  <a:pt x="10856" y="15443"/>
                  <a:pt x="10858" y="15454"/>
                </a:cubicBezTo>
                <a:cubicBezTo>
                  <a:pt x="10863" y="15471"/>
                  <a:pt x="10869" y="15481"/>
                  <a:pt x="10876" y="15482"/>
                </a:cubicBezTo>
                <a:cubicBezTo>
                  <a:pt x="10924" y="15492"/>
                  <a:pt x="10972" y="15497"/>
                  <a:pt x="11021" y="15499"/>
                </a:cubicBezTo>
                <a:cubicBezTo>
                  <a:pt x="11053" y="15500"/>
                  <a:pt x="11086" y="15500"/>
                  <a:pt x="11119" y="15498"/>
                </a:cubicBezTo>
                <a:cubicBezTo>
                  <a:pt x="11186" y="15495"/>
                  <a:pt x="11237" y="15503"/>
                  <a:pt x="11273" y="15522"/>
                </a:cubicBezTo>
                <a:cubicBezTo>
                  <a:pt x="11308" y="15541"/>
                  <a:pt x="11328" y="15570"/>
                  <a:pt x="11332" y="15610"/>
                </a:cubicBezTo>
                <a:cubicBezTo>
                  <a:pt x="11335" y="15627"/>
                  <a:pt x="11331" y="15643"/>
                  <a:pt x="11322" y="15656"/>
                </a:cubicBezTo>
                <a:cubicBezTo>
                  <a:pt x="11297" y="15687"/>
                  <a:pt x="11289" y="15731"/>
                  <a:pt x="11296" y="15789"/>
                </a:cubicBezTo>
                <a:cubicBezTo>
                  <a:pt x="11297" y="15791"/>
                  <a:pt x="11297" y="15793"/>
                  <a:pt x="11296" y="15794"/>
                </a:cubicBezTo>
                <a:cubicBezTo>
                  <a:pt x="11300" y="15809"/>
                  <a:pt x="11306" y="15823"/>
                  <a:pt x="11314" y="15835"/>
                </a:cubicBezTo>
                <a:cubicBezTo>
                  <a:pt x="11334" y="15866"/>
                  <a:pt x="11343" y="15907"/>
                  <a:pt x="11341" y="15958"/>
                </a:cubicBezTo>
                <a:cubicBezTo>
                  <a:pt x="11342" y="15969"/>
                  <a:pt x="11341" y="15981"/>
                  <a:pt x="11340" y="15993"/>
                </a:cubicBezTo>
                <a:cubicBezTo>
                  <a:pt x="11337" y="16010"/>
                  <a:pt x="11330" y="16023"/>
                  <a:pt x="11318" y="16032"/>
                </a:cubicBezTo>
                <a:cubicBezTo>
                  <a:pt x="11301" y="16044"/>
                  <a:pt x="11288" y="16066"/>
                  <a:pt x="11278" y="16098"/>
                </a:cubicBezTo>
                <a:cubicBezTo>
                  <a:pt x="11264" y="16154"/>
                  <a:pt x="11211" y="16195"/>
                  <a:pt x="11119" y="16221"/>
                </a:cubicBezTo>
                <a:cubicBezTo>
                  <a:pt x="11083" y="16231"/>
                  <a:pt x="11050" y="16244"/>
                  <a:pt x="11021" y="16259"/>
                </a:cubicBezTo>
                <a:cubicBezTo>
                  <a:pt x="10986" y="16276"/>
                  <a:pt x="10947" y="16290"/>
                  <a:pt x="10904" y="16300"/>
                </a:cubicBezTo>
                <a:cubicBezTo>
                  <a:pt x="10859" y="16311"/>
                  <a:pt x="10810" y="16319"/>
                  <a:pt x="10757" y="16323"/>
                </a:cubicBezTo>
                <a:cubicBezTo>
                  <a:pt x="10733" y="16325"/>
                  <a:pt x="10712" y="16321"/>
                  <a:pt x="10695" y="16313"/>
                </a:cubicBezTo>
                <a:cubicBezTo>
                  <a:pt x="10625" y="16282"/>
                  <a:pt x="10549" y="16252"/>
                  <a:pt x="10467" y="16223"/>
                </a:cubicBezTo>
                <a:cubicBezTo>
                  <a:pt x="10452" y="16218"/>
                  <a:pt x="10437" y="16212"/>
                  <a:pt x="10424" y="16206"/>
                </a:cubicBezTo>
                <a:cubicBezTo>
                  <a:pt x="10369" y="16176"/>
                  <a:pt x="10336" y="16131"/>
                  <a:pt x="10326" y="16070"/>
                </a:cubicBezTo>
                <a:cubicBezTo>
                  <a:pt x="10324" y="16053"/>
                  <a:pt x="10329" y="16040"/>
                  <a:pt x="10341" y="16032"/>
                </a:cubicBezTo>
                <a:close/>
                <a:moveTo>
                  <a:pt x="11267" y="16768"/>
                </a:moveTo>
                <a:cubicBezTo>
                  <a:pt x="11317" y="16758"/>
                  <a:pt x="11357" y="16757"/>
                  <a:pt x="11387" y="16765"/>
                </a:cubicBezTo>
                <a:cubicBezTo>
                  <a:pt x="11416" y="16772"/>
                  <a:pt x="11435" y="16787"/>
                  <a:pt x="11445" y="16811"/>
                </a:cubicBezTo>
                <a:cubicBezTo>
                  <a:pt x="11459" y="16844"/>
                  <a:pt x="11468" y="16877"/>
                  <a:pt x="11474" y="16912"/>
                </a:cubicBezTo>
                <a:cubicBezTo>
                  <a:pt x="11478" y="16937"/>
                  <a:pt x="11481" y="16963"/>
                  <a:pt x="11481" y="16990"/>
                </a:cubicBezTo>
                <a:cubicBezTo>
                  <a:pt x="11478" y="17068"/>
                  <a:pt x="11516" y="17118"/>
                  <a:pt x="11593" y="17138"/>
                </a:cubicBezTo>
                <a:cubicBezTo>
                  <a:pt x="11639" y="17150"/>
                  <a:pt x="11678" y="17165"/>
                  <a:pt x="11709" y="17184"/>
                </a:cubicBezTo>
                <a:cubicBezTo>
                  <a:pt x="11774" y="17223"/>
                  <a:pt x="11807" y="17269"/>
                  <a:pt x="11807" y="17322"/>
                </a:cubicBezTo>
                <a:cubicBezTo>
                  <a:pt x="11802" y="17404"/>
                  <a:pt x="11752" y="17471"/>
                  <a:pt x="11658" y="17524"/>
                </a:cubicBezTo>
                <a:cubicBezTo>
                  <a:pt x="11636" y="17534"/>
                  <a:pt x="11615" y="17545"/>
                  <a:pt x="11593" y="17557"/>
                </a:cubicBezTo>
                <a:cubicBezTo>
                  <a:pt x="11559" y="17574"/>
                  <a:pt x="11510" y="17584"/>
                  <a:pt x="11445" y="17588"/>
                </a:cubicBezTo>
                <a:cubicBezTo>
                  <a:pt x="11372" y="17591"/>
                  <a:pt x="11314" y="17578"/>
                  <a:pt x="11271" y="17547"/>
                </a:cubicBezTo>
                <a:cubicBezTo>
                  <a:pt x="11227" y="17516"/>
                  <a:pt x="11218" y="17476"/>
                  <a:pt x="11242" y="17427"/>
                </a:cubicBezTo>
                <a:cubicBezTo>
                  <a:pt x="11261" y="17388"/>
                  <a:pt x="11264" y="17345"/>
                  <a:pt x="11249" y="17299"/>
                </a:cubicBezTo>
                <a:cubicBezTo>
                  <a:pt x="11247" y="17289"/>
                  <a:pt x="11238" y="17282"/>
                  <a:pt x="11224" y="17279"/>
                </a:cubicBezTo>
                <a:cubicBezTo>
                  <a:pt x="11178" y="17265"/>
                  <a:pt x="11142" y="17246"/>
                  <a:pt x="11115" y="17222"/>
                </a:cubicBezTo>
                <a:cubicBezTo>
                  <a:pt x="11106" y="17212"/>
                  <a:pt x="11095" y="17207"/>
                  <a:pt x="11083" y="17207"/>
                </a:cubicBezTo>
                <a:cubicBezTo>
                  <a:pt x="11071" y="17207"/>
                  <a:pt x="11057" y="17209"/>
                  <a:pt x="11043" y="17212"/>
                </a:cubicBezTo>
                <a:cubicBezTo>
                  <a:pt x="11021" y="17217"/>
                  <a:pt x="11009" y="17222"/>
                  <a:pt x="11007" y="17227"/>
                </a:cubicBezTo>
                <a:cubicBezTo>
                  <a:pt x="10968" y="17296"/>
                  <a:pt x="10919" y="17351"/>
                  <a:pt x="10858" y="17394"/>
                </a:cubicBezTo>
                <a:cubicBezTo>
                  <a:pt x="10839" y="17405"/>
                  <a:pt x="10817" y="17412"/>
                  <a:pt x="10793" y="17414"/>
                </a:cubicBezTo>
                <a:cubicBezTo>
                  <a:pt x="10675" y="17421"/>
                  <a:pt x="10616" y="17390"/>
                  <a:pt x="10616" y="17322"/>
                </a:cubicBezTo>
                <a:cubicBezTo>
                  <a:pt x="10613" y="17279"/>
                  <a:pt x="10617" y="17238"/>
                  <a:pt x="10627" y="17197"/>
                </a:cubicBezTo>
                <a:cubicBezTo>
                  <a:pt x="10633" y="17170"/>
                  <a:pt x="10645" y="17145"/>
                  <a:pt x="10661" y="17121"/>
                </a:cubicBezTo>
                <a:cubicBezTo>
                  <a:pt x="10710" y="17051"/>
                  <a:pt x="10802" y="16998"/>
                  <a:pt x="10938" y="16962"/>
                </a:cubicBezTo>
                <a:cubicBezTo>
                  <a:pt x="10960" y="16956"/>
                  <a:pt x="10984" y="16951"/>
                  <a:pt x="11008" y="16949"/>
                </a:cubicBezTo>
                <a:cubicBezTo>
                  <a:pt x="11025" y="16954"/>
                  <a:pt x="11038" y="16953"/>
                  <a:pt x="11047" y="16945"/>
                </a:cubicBezTo>
                <a:cubicBezTo>
                  <a:pt x="11051" y="16941"/>
                  <a:pt x="11055" y="16936"/>
                  <a:pt x="11057" y="16931"/>
                </a:cubicBezTo>
                <a:cubicBezTo>
                  <a:pt x="11101" y="16860"/>
                  <a:pt x="11156" y="16809"/>
                  <a:pt x="11224" y="16780"/>
                </a:cubicBezTo>
                <a:cubicBezTo>
                  <a:pt x="11238" y="16775"/>
                  <a:pt x="11253" y="16771"/>
                  <a:pt x="11267" y="16768"/>
                </a:cubicBezTo>
                <a:close/>
                <a:moveTo>
                  <a:pt x="9736" y="16377"/>
                </a:moveTo>
                <a:cubicBezTo>
                  <a:pt x="9739" y="16378"/>
                  <a:pt x="9741" y="16379"/>
                  <a:pt x="9744" y="16379"/>
                </a:cubicBezTo>
                <a:cubicBezTo>
                  <a:pt x="9768" y="16386"/>
                  <a:pt x="9787" y="16396"/>
                  <a:pt x="9802" y="16410"/>
                </a:cubicBezTo>
                <a:cubicBezTo>
                  <a:pt x="9830" y="16442"/>
                  <a:pt x="9871" y="16464"/>
                  <a:pt x="9924" y="16476"/>
                </a:cubicBezTo>
                <a:cubicBezTo>
                  <a:pt x="9969" y="16487"/>
                  <a:pt x="10004" y="16505"/>
                  <a:pt x="10030" y="16531"/>
                </a:cubicBezTo>
                <a:cubicBezTo>
                  <a:pt x="10055" y="16557"/>
                  <a:pt x="10071" y="16591"/>
                  <a:pt x="10077" y="16632"/>
                </a:cubicBezTo>
                <a:cubicBezTo>
                  <a:pt x="10089" y="16700"/>
                  <a:pt x="10073" y="16759"/>
                  <a:pt x="10030" y="16808"/>
                </a:cubicBezTo>
                <a:cubicBezTo>
                  <a:pt x="10020" y="16819"/>
                  <a:pt x="10011" y="16829"/>
                  <a:pt x="10004" y="16839"/>
                </a:cubicBezTo>
                <a:cubicBezTo>
                  <a:pt x="10000" y="16846"/>
                  <a:pt x="9995" y="16853"/>
                  <a:pt x="9990" y="16860"/>
                </a:cubicBezTo>
                <a:cubicBezTo>
                  <a:pt x="9951" y="16911"/>
                  <a:pt x="9893" y="16938"/>
                  <a:pt x="9816" y="16941"/>
                </a:cubicBezTo>
                <a:cubicBezTo>
                  <a:pt x="9736" y="16946"/>
                  <a:pt x="9666" y="16935"/>
                  <a:pt x="9606" y="16906"/>
                </a:cubicBezTo>
                <a:cubicBezTo>
                  <a:pt x="9526" y="16866"/>
                  <a:pt x="9482" y="16877"/>
                  <a:pt x="9472" y="16936"/>
                </a:cubicBezTo>
                <a:cubicBezTo>
                  <a:pt x="9465" y="16984"/>
                  <a:pt x="9412" y="16998"/>
                  <a:pt x="9313" y="16980"/>
                </a:cubicBezTo>
                <a:cubicBezTo>
                  <a:pt x="9262" y="16969"/>
                  <a:pt x="9224" y="16948"/>
                  <a:pt x="9197" y="16916"/>
                </a:cubicBezTo>
                <a:cubicBezTo>
                  <a:pt x="9187" y="16906"/>
                  <a:pt x="9183" y="16896"/>
                  <a:pt x="9183" y="16888"/>
                </a:cubicBezTo>
                <a:cubicBezTo>
                  <a:pt x="9178" y="16833"/>
                  <a:pt x="9148" y="16790"/>
                  <a:pt x="9092" y="16757"/>
                </a:cubicBezTo>
                <a:cubicBezTo>
                  <a:pt x="9080" y="16751"/>
                  <a:pt x="9072" y="16742"/>
                  <a:pt x="9067" y="16732"/>
                </a:cubicBezTo>
                <a:cubicBezTo>
                  <a:pt x="9035" y="16652"/>
                  <a:pt x="9020" y="16567"/>
                  <a:pt x="9020" y="16479"/>
                </a:cubicBezTo>
                <a:cubicBezTo>
                  <a:pt x="9020" y="16462"/>
                  <a:pt x="9026" y="16449"/>
                  <a:pt x="9038" y="16441"/>
                </a:cubicBezTo>
                <a:cubicBezTo>
                  <a:pt x="9085" y="16405"/>
                  <a:pt x="9138" y="16384"/>
                  <a:pt x="9197" y="16379"/>
                </a:cubicBezTo>
                <a:cubicBezTo>
                  <a:pt x="9224" y="16395"/>
                  <a:pt x="9248" y="16400"/>
                  <a:pt x="9269" y="16395"/>
                </a:cubicBezTo>
                <a:cubicBezTo>
                  <a:pt x="9283" y="16391"/>
                  <a:pt x="9296" y="16388"/>
                  <a:pt x="9309" y="16386"/>
                </a:cubicBezTo>
                <a:cubicBezTo>
                  <a:pt x="9310" y="16385"/>
                  <a:pt x="9312" y="16385"/>
                  <a:pt x="9313" y="16384"/>
                </a:cubicBezTo>
                <a:cubicBezTo>
                  <a:pt x="9403" y="16359"/>
                  <a:pt x="9493" y="16349"/>
                  <a:pt x="9582" y="16354"/>
                </a:cubicBezTo>
                <a:cubicBezTo>
                  <a:pt x="9634" y="16357"/>
                  <a:pt x="9685" y="16364"/>
                  <a:pt x="9736" y="16377"/>
                </a:cubicBezTo>
                <a:close/>
                <a:moveTo>
                  <a:pt x="13571" y="16320"/>
                </a:moveTo>
                <a:cubicBezTo>
                  <a:pt x="13592" y="16328"/>
                  <a:pt x="13608" y="16337"/>
                  <a:pt x="13620" y="16349"/>
                </a:cubicBezTo>
                <a:cubicBezTo>
                  <a:pt x="13629" y="16359"/>
                  <a:pt x="13636" y="16369"/>
                  <a:pt x="13638" y="16379"/>
                </a:cubicBezTo>
                <a:cubicBezTo>
                  <a:pt x="13660" y="16437"/>
                  <a:pt x="13678" y="16496"/>
                  <a:pt x="13692" y="16556"/>
                </a:cubicBezTo>
                <a:cubicBezTo>
                  <a:pt x="13702" y="16599"/>
                  <a:pt x="13699" y="16633"/>
                  <a:pt x="13683" y="16658"/>
                </a:cubicBezTo>
                <a:cubicBezTo>
                  <a:pt x="13676" y="16669"/>
                  <a:pt x="13665" y="16678"/>
                  <a:pt x="13652" y="16686"/>
                </a:cubicBezTo>
                <a:cubicBezTo>
                  <a:pt x="13640" y="16693"/>
                  <a:pt x="13628" y="16696"/>
                  <a:pt x="13616" y="16696"/>
                </a:cubicBezTo>
                <a:cubicBezTo>
                  <a:pt x="13604" y="16696"/>
                  <a:pt x="13591" y="16694"/>
                  <a:pt x="13576" y="16691"/>
                </a:cubicBezTo>
                <a:cubicBezTo>
                  <a:pt x="13526" y="16681"/>
                  <a:pt x="13506" y="16653"/>
                  <a:pt x="13518" y="16609"/>
                </a:cubicBezTo>
                <a:cubicBezTo>
                  <a:pt x="13523" y="16590"/>
                  <a:pt x="13526" y="16573"/>
                  <a:pt x="13526" y="16556"/>
                </a:cubicBezTo>
                <a:cubicBezTo>
                  <a:pt x="13526" y="16539"/>
                  <a:pt x="13516" y="16527"/>
                  <a:pt x="13497" y="16520"/>
                </a:cubicBezTo>
                <a:cubicBezTo>
                  <a:pt x="13470" y="16510"/>
                  <a:pt x="13453" y="16496"/>
                  <a:pt x="13444" y="16478"/>
                </a:cubicBezTo>
                <a:cubicBezTo>
                  <a:pt x="13436" y="16458"/>
                  <a:pt x="13436" y="16434"/>
                  <a:pt x="13446" y="16405"/>
                </a:cubicBezTo>
                <a:cubicBezTo>
                  <a:pt x="13451" y="16386"/>
                  <a:pt x="13457" y="16368"/>
                  <a:pt x="13464" y="16351"/>
                </a:cubicBezTo>
                <a:cubicBezTo>
                  <a:pt x="13469" y="16334"/>
                  <a:pt x="13477" y="16320"/>
                  <a:pt x="13490" y="16308"/>
                </a:cubicBezTo>
                <a:cubicBezTo>
                  <a:pt x="13491" y="16306"/>
                  <a:pt x="13493" y="16304"/>
                  <a:pt x="13495" y="16303"/>
                </a:cubicBezTo>
                <a:cubicBezTo>
                  <a:pt x="13525" y="16307"/>
                  <a:pt x="13550" y="16313"/>
                  <a:pt x="13571" y="16320"/>
                </a:cubicBezTo>
                <a:close/>
                <a:moveTo>
                  <a:pt x="8614" y="14338"/>
                </a:moveTo>
                <a:cubicBezTo>
                  <a:pt x="8618" y="14337"/>
                  <a:pt x="8621" y="14336"/>
                  <a:pt x="8625" y="14335"/>
                </a:cubicBezTo>
                <a:cubicBezTo>
                  <a:pt x="8647" y="14332"/>
                  <a:pt x="8667" y="14327"/>
                  <a:pt x="8687" y="14320"/>
                </a:cubicBezTo>
                <a:cubicBezTo>
                  <a:pt x="8730" y="14303"/>
                  <a:pt x="8792" y="14301"/>
                  <a:pt x="8871" y="14315"/>
                </a:cubicBezTo>
                <a:cubicBezTo>
                  <a:pt x="8886" y="14317"/>
                  <a:pt x="8894" y="14323"/>
                  <a:pt x="8897" y="14333"/>
                </a:cubicBezTo>
                <a:cubicBezTo>
                  <a:pt x="8918" y="14408"/>
                  <a:pt x="8911" y="14466"/>
                  <a:pt x="8875" y="14509"/>
                </a:cubicBezTo>
                <a:cubicBezTo>
                  <a:pt x="8851" y="14535"/>
                  <a:pt x="8828" y="14561"/>
                  <a:pt x="8806" y="14588"/>
                </a:cubicBezTo>
                <a:cubicBezTo>
                  <a:pt x="8760" y="14644"/>
                  <a:pt x="8772" y="14711"/>
                  <a:pt x="8842" y="14788"/>
                </a:cubicBezTo>
                <a:cubicBezTo>
                  <a:pt x="8852" y="14798"/>
                  <a:pt x="8858" y="14808"/>
                  <a:pt x="8860" y="14818"/>
                </a:cubicBezTo>
                <a:cubicBezTo>
                  <a:pt x="8870" y="14876"/>
                  <a:pt x="8871" y="14935"/>
                  <a:pt x="8864" y="14995"/>
                </a:cubicBezTo>
                <a:cubicBezTo>
                  <a:pt x="8857" y="15069"/>
                  <a:pt x="8801" y="15115"/>
                  <a:pt x="8698" y="15130"/>
                </a:cubicBezTo>
                <a:cubicBezTo>
                  <a:pt x="8654" y="15137"/>
                  <a:pt x="8606" y="15153"/>
                  <a:pt x="8553" y="15178"/>
                </a:cubicBezTo>
                <a:cubicBezTo>
                  <a:pt x="8464" y="15221"/>
                  <a:pt x="8354" y="15257"/>
                  <a:pt x="8223" y="15286"/>
                </a:cubicBezTo>
                <a:cubicBezTo>
                  <a:pt x="8139" y="15303"/>
                  <a:pt x="8040" y="15322"/>
                  <a:pt x="7927" y="15345"/>
                </a:cubicBezTo>
                <a:cubicBezTo>
                  <a:pt x="7893" y="15350"/>
                  <a:pt x="7859" y="15356"/>
                  <a:pt x="7825" y="15362"/>
                </a:cubicBezTo>
                <a:cubicBezTo>
                  <a:pt x="7811" y="15364"/>
                  <a:pt x="7796" y="15367"/>
                  <a:pt x="7782" y="15370"/>
                </a:cubicBezTo>
                <a:cubicBezTo>
                  <a:pt x="7760" y="15375"/>
                  <a:pt x="7743" y="15373"/>
                  <a:pt x="7731" y="15365"/>
                </a:cubicBezTo>
                <a:cubicBezTo>
                  <a:pt x="7615" y="15283"/>
                  <a:pt x="7523" y="15182"/>
                  <a:pt x="7456" y="15062"/>
                </a:cubicBezTo>
                <a:cubicBezTo>
                  <a:pt x="7454" y="15058"/>
                  <a:pt x="7451" y="15053"/>
                  <a:pt x="7449" y="15048"/>
                </a:cubicBezTo>
                <a:cubicBezTo>
                  <a:pt x="7444" y="15038"/>
                  <a:pt x="7442" y="15029"/>
                  <a:pt x="7442" y="15020"/>
                </a:cubicBezTo>
                <a:cubicBezTo>
                  <a:pt x="7437" y="14933"/>
                  <a:pt x="7479" y="14874"/>
                  <a:pt x="7568" y="14844"/>
                </a:cubicBezTo>
                <a:cubicBezTo>
                  <a:pt x="7612" y="14828"/>
                  <a:pt x="7641" y="14812"/>
                  <a:pt x="7655" y="14795"/>
                </a:cubicBezTo>
                <a:cubicBezTo>
                  <a:pt x="7692" y="14750"/>
                  <a:pt x="7737" y="14710"/>
                  <a:pt x="7791" y="14674"/>
                </a:cubicBezTo>
                <a:cubicBezTo>
                  <a:pt x="7859" y="14627"/>
                  <a:pt x="7940" y="14588"/>
                  <a:pt x="8035" y="14555"/>
                </a:cubicBezTo>
                <a:cubicBezTo>
                  <a:pt x="8134" y="14523"/>
                  <a:pt x="8231" y="14496"/>
                  <a:pt x="8325" y="14476"/>
                </a:cubicBezTo>
                <a:cubicBezTo>
                  <a:pt x="8349" y="14471"/>
                  <a:pt x="8371" y="14466"/>
                  <a:pt x="8392" y="14461"/>
                </a:cubicBezTo>
                <a:cubicBezTo>
                  <a:pt x="8415" y="14455"/>
                  <a:pt x="8437" y="14448"/>
                  <a:pt x="8457" y="14441"/>
                </a:cubicBezTo>
                <a:cubicBezTo>
                  <a:pt x="8528" y="14418"/>
                  <a:pt x="8580" y="14384"/>
                  <a:pt x="8614" y="14338"/>
                </a:cubicBezTo>
                <a:close/>
                <a:moveTo>
                  <a:pt x="10283" y="15439"/>
                </a:moveTo>
                <a:lnTo>
                  <a:pt x="10438" y="15449"/>
                </a:lnTo>
                <a:lnTo>
                  <a:pt x="10446" y="15465"/>
                </a:lnTo>
                <a:lnTo>
                  <a:pt x="10446" y="15582"/>
                </a:lnTo>
                <a:cubicBezTo>
                  <a:pt x="10436" y="15582"/>
                  <a:pt x="10426" y="15583"/>
                  <a:pt x="10417" y="15585"/>
                </a:cubicBezTo>
                <a:cubicBezTo>
                  <a:pt x="10395" y="15586"/>
                  <a:pt x="10381" y="15590"/>
                  <a:pt x="10373" y="15595"/>
                </a:cubicBezTo>
                <a:lnTo>
                  <a:pt x="10192" y="15590"/>
                </a:lnTo>
                <a:cubicBezTo>
                  <a:pt x="10192" y="15559"/>
                  <a:pt x="10200" y="15532"/>
                  <a:pt x="10214" y="15507"/>
                </a:cubicBezTo>
                <a:cubicBezTo>
                  <a:pt x="10226" y="15487"/>
                  <a:pt x="10242" y="15469"/>
                  <a:pt x="10263" y="15453"/>
                </a:cubicBezTo>
                <a:cubicBezTo>
                  <a:pt x="10269" y="15448"/>
                  <a:pt x="10276" y="15443"/>
                  <a:pt x="10283" y="15439"/>
                </a:cubicBezTo>
                <a:close/>
                <a:moveTo>
                  <a:pt x="9957" y="15567"/>
                </a:moveTo>
                <a:cubicBezTo>
                  <a:pt x="9984" y="15570"/>
                  <a:pt x="10002" y="15579"/>
                  <a:pt x="10011" y="15592"/>
                </a:cubicBezTo>
                <a:cubicBezTo>
                  <a:pt x="10026" y="15613"/>
                  <a:pt x="10038" y="15635"/>
                  <a:pt x="10048" y="15659"/>
                </a:cubicBezTo>
                <a:cubicBezTo>
                  <a:pt x="10050" y="15669"/>
                  <a:pt x="10058" y="15676"/>
                  <a:pt x="10073" y="15679"/>
                </a:cubicBezTo>
                <a:cubicBezTo>
                  <a:pt x="10092" y="15685"/>
                  <a:pt x="10110" y="15690"/>
                  <a:pt x="10129" y="15696"/>
                </a:cubicBezTo>
                <a:lnTo>
                  <a:pt x="10131" y="15697"/>
                </a:lnTo>
                <a:cubicBezTo>
                  <a:pt x="10158" y="15705"/>
                  <a:pt x="10184" y="15712"/>
                  <a:pt x="10210" y="15720"/>
                </a:cubicBezTo>
                <a:cubicBezTo>
                  <a:pt x="10225" y="15724"/>
                  <a:pt x="10239" y="15729"/>
                  <a:pt x="10254" y="15735"/>
                </a:cubicBezTo>
                <a:cubicBezTo>
                  <a:pt x="10276" y="15746"/>
                  <a:pt x="10290" y="15758"/>
                  <a:pt x="10297" y="15771"/>
                </a:cubicBezTo>
                <a:cubicBezTo>
                  <a:pt x="10314" y="15804"/>
                  <a:pt x="10319" y="15832"/>
                  <a:pt x="10312" y="15853"/>
                </a:cubicBezTo>
                <a:cubicBezTo>
                  <a:pt x="10305" y="15874"/>
                  <a:pt x="10285" y="15890"/>
                  <a:pt x="10254" y="15899"/>
                </a:cubicBezTo>
                <a:cubicBezTo>
                  <a:pt x="10215" y="15911"/>
                  <a:pt x="10182" y="15928"/>
                  <a:pt x="10153" y="15950"/>
                </a:cubicBezTo>
                <a:cubicBezTo>
                  <a:pt x="10099" y="15985"/>
                  <a:pt x="10027" y="16015"/>
                  <a:pt x="9937" y="16038"/>
                </a:cubicBezTo>
                <a:cubicBezTo>
                  <a:pt x="9923" y="16042"/>
                  <a:pt x="9907" y="16046"/>
                  <a:pt x="9892" y="16050"/>
                </a:cubicBezTo>
                <a:cubicBezTo>
                  <a:pt x="9865" y="16055"/>
                  <a:pt x="9840" y="16057"/>
                  <a:pt x="9816" y="16057"/>
                </a:cubicBezTo>
                <a:cubicBezTo>
                  <a:pt x="9804" y="16057"/>
                  <a:pt x="9798" y="16053"/>
                  <a:pt x="9798" y="16045"/>
                </a:cubicBezTo>
                <a:cubicBezTo>
                  <a:pt x="9805" y="15946"/>
                  <a:pt x="9763" y="15885"/>
                  <a:pt x="9671" y="15863"/>
                </a:cubicBezTo>
                <a:cubicBezTo>
                  <a:pt x="9668" y="15862"/>
                  <a:pt x="9665" y="15861"/>
                  <a:pt x="9662" y="15861"/>
                </a:cubicBezTo>
                <a:cubicBezTo>
                  <a:pt x="9643" y="15854"/>
                  <a:pt x="9629" y="15844"/>
                  <a:pt x="9621" y="15832"/>
                </a:cubicBezTo>
                <a:cubicBezTo>
                  <a:pt x="9606" y="15812"/>
                  <a:pt x="9596" y="15789"/>
                  <a:pt x="9592" y="15764"/>
                </a:cubicBezTo>
                <a:cubicBezTo>
                  <a:pt x="9577" y="15709"/>
                  <a:pt x="9583" y="15668"/>
                  <a:pt x="9608" y="15641"/>
                </a:cubicBezTo>
                <a:cubicBezTo>
                  <a:pt x="9627" y="15619"/>
                  <a:pt x="9659" y="15605"/>
                  <a:pt x="9704" y="15600"/>
                </a:cubicBezTo>
                <a:cubicBezTo>
                  <a:pt x="9716" y="15598"/>
                  <a:pt x="9730" y="15598"/>
                  <a:pt x="9744" y="15597"/>
                </a:cubicBezTo>
                <a:cubicBezTo>
                  <a:pt x="9756" y="15597"/>
                  <a:pt x="9768" y="15597"/>
                  <a:pt x="9780" y="15597"/>
                </a:cubicBezTo>
                <a:cubicBezTo>
                  <a:pt x="9793" y="15597"/>
                  <a:pt x="9806" y="15597"/>
                  <a:pt x="9818" y="15596"/>
                </a:cubicBezTo>
                <a:cubicBezTo>
                  <a:pt x="9873" y="15592"/>
                  <a:pt x="9917" y="15582"/>
                  <a:pt x="9948" y="15566"/>
                </a:cubicBezTo>
                <a:cubicBezTo>
                  <a:pt x="9951" y="15566"/>
                  <a:pt x="9954" y="15566"/>
                  <a:pt x="9957" y="15567"/>
                </a:cubicBezTo>
                <a:close/>
                <a:moveTo>
                  <a:pt x="9859" y="15296"/>
                </a:moveTo>
                <a:cubicBezTo>
                  <a:pt x="9864" y="15306"/>
                  <a:pt x="9867" y="15327"/>
                  <a:pt x="9867" y="15360"/>
                </a:cubicBezTo>
                <a:cubicBezTo>
                  <a:pt x="9867" y="15379"/>
                  <a:pt x="9859" y="15394"/>
                  <a:pt x="9845" y="15406"/>
                </a:cubicBezTo>
                <a:cubicBezTo>
                  <a:pt x="9833" y="15416"/>
                  <a:pt x="9792" y="15444"/>
                  <a:pt x="9722" y="15490"/>
                </a:cubicBezTo>
                <a:cubicBezTo>
                  <a:pt x="9669" y="15483"/>
                  <a:pt x="9635" y="15469"/>
                  <a:pt x="9621" y="15447"/>
                </a:cubicBezTo>
                <a:cubicBezTo>
                  <a:pt x="9616" y="15438"/>
                  <a:pt x="9613" y="15419"/>
                  <a:pt x="9613" y="15388"/>
                </a:cubicBezTo>
                <a:cubicBezTo>
                  <a:pt x="9613" y="15369"/>
                  <a:pt x="9619" y="15355"/>
                  <a:pt x="9631" y="15345"/>
                </a:cubicBezTo>
                <a:cubicBezTo>
                  <a:pt x="9646" y="15331"/>
                  <a:pt x="9682" y="15311"/>
                  <a:pt x="9740" y="15286"/>
                </a:cubicBezTo>
                <a:cubicBezTo>
                  <a:pt x="9740" y="15286"/>
                  <a:pt x="9859" y="15296"/>
                  <a:pt x="9859" y="15296"/>
                </a:cubicBezTo>
                <a:close/>
                <a:moveTo>
                  <a:pt x="9686" y="14057"/>
                </a:moveTo>
                <a:lnTo>
                  <a:pt x="9577" y="14082"/>
                </a:lnTo>
                <a:cubicBezTo>
                  <a:pt x="9577" y="14057"/>
                  <a:pt x="9583" y="14041"/>
                  <a:pt x="9595" y="14034"/>
                </a:cubicBezTo>
                <a:lnTo>
                  <a:pt x="9639" y="14042"/>
                </a:lnTo>
                <a:cubicBezTo>
                  <a:pt x="9664" y="14046"/>
                  <a:pt x="9679" y="14051"/>
                  <a:pt x="9684" y="14056"/>
                </a:cubicBezTo>
                <a:cubicBezTo>
                  <a:pt x="9684" y="14056"/>
                  <a:pt x="9686" y="14057"/>
                  <a:pt x="9686" y="14057"/>
                </a:cubicBezTo>
                <a:close/>
                <a:moveTo>
                  <a:pt x="9744" y="13993"/>
                </a:moveTo>
                <a:cubicBezTo>
                  <a:pt x="9758" y="13978"/>
                  <a:pt x="9773" y="13969"/>
                  <a:pt x="9787" y="13967"/>
                </a:cubicBezTo>
                <a:cubicBezTo>
                  <a:pt x="9797" y="13973"/>
                  <a:pt x="9807" y="13977"/>
                  <a:pt x="9820" y="13980"/>
                </a:cubicBezTo>
                <a:cubicBezTo>
                  <a:pt x="9823" y="13984"/>
                  <a:pt x="9826" y="13990"/>
                  <a:pt x="9829" y="13998"/>
                </a:cubicBezTo>
                <a:cubicBezTo>
                  <a:pt x="9830" y="14006"/>
                  <a:pt x="9830" y="14016"/>
                  <a:pt x="9830" y="14029"/>
                </a:cubicBezTo>
                <a:lnTo>
                  <a:pt x="9830" y="14031"/>
                </a:lnTo>
                <a:cubicBezTo>
                  <a:pt x="9830" y="14039"/>
                  <a:pt x="9830" y="14045"/>
                  <a:pt x="9830" y="14050"/>
                </a:cubicBezTo>
                <a:cubicBezTo>
                  <a:pt x="9830" y="14053"/>
                  <a:pt x="9830" y="14055"/>
                  <a:pt x="9830" y="14057"/>
                </a:cubicBezTo>
                <a:cubicBezTo>
                  <a:pt x="9830" y="14062"/>
                  <a:pt x="9829" y="14065"/>
                  <a:pt x="9829" y="14067"/>
                </a:cubicBezTo>
                <a:lnTo>
                  <a:pt x="9827" y="14070"/>
                </a:lnTo>
                <a:lnTo>
                  <a:pt x="9812" y="14059"/>
                </a:lnTo>
                <a:cubicBezTo>
                  <a:pt x="9810" y="14059"/>
                  <a:pt x="9807" y="14059"/>
                  <a:pt x="9805" y="14058"/>
                </a:cubicBezTo>
                <a:cubicBezTo>
                  <a:pt x="9802" y="14058"/>
                  <a:pt x="9799" y="14057"/>
                  <a:pt x="9796" y="14057"/>
                </a:cubicBezTo>
                <a:cubicBezTo>
                  <a:pt x="9782" y="14055"/>
                  <a:pt x="9770" y="14051"/>
                  <a:pt x="9758" y="14047"/>
                </a:cubicBezTo>
                <a:cubicBezTo>
                  <a:pt x="9756" y="14046"/>
                  <a:pt x="9754" y="14045"/>
                  <a:pt x="9753" y="14044"/>
                </a:cubicBezTo>
                <a:cubicBezTo>
                  <a:pt x="9739" y="14036"/>
                  <a:pt x="9728" y="14031"/>
                  <a:pt x="9722" y="14031"/>
                </a:cubicBezTo>
                <a:cubicBezTo>
                  <a:pt x="9722" y="14019"/>
                  <a:pt x="9729" y="14007"/>
                  <a:pt x="9744" y="13993"/>
                </a:cubicBezTo>
                <a:close/>
                <a:moveTo>
                  <a:pt x="10402" y="13942"/>
                </a:moveTo>
                <a:cubicBezTo>
                  <a:pt x="10397" y="13949"/>
                  <a:pt x="10391" y="13961"/>
                  <a:pt x="10386" y="13978"/>
                </a:cubicBezTo>
                <a:cubicBezTo>
                  <a:pt x="10379" y="13997"/>
                  <a:pt x="10373" y="14024"/>
                  <a:pt x="10366" y="14057"/>
                </a:cubicBezTo>
                <a:lnTo>
                  <a:pt x="10337" y="14057"/>
                </a:lnTo>
                <a:lnTo>
                  <a:pt x="10337" y="13942"/>
                </a:lnTo>
                <a:cubicBezTo>
                  <a:pt x="10344" y="13942"/>
                  <a:pt x="10352" y="13941"/>
                  <a:pt x="10359" y="13939"/>
                </a:cubicBezTo>
                <a:cubicBezTo>
                  <a:pt x="10369" y="13938"/>
                  <a:pt x="10383" y="13938"/>
                  <a:pt x="10402" y="13942"/>
                </a:cubicBezTo>
                <a:close/>
                <a:moveTo>
                  <a:pt x="10210" y="14039"/>
                </a:moveTo>
                <a:cubicBezTo>
                  <a:pt x="10213" y="14044"/>
                  <a:pt x="10216" y="14050"/>
                  <a:pt x="10218" y="14057"/>
                </a:cubicBezTo>
                <a:cubicBezTo>
                  <a:pt x="10219" y="14062"/>
                  <a:pt x="10220" y="14068"/>
                  <a:pt x="10221" y="14075"/>
                </a:cubicBezTo>
                <a:cubicBezTo>
                  <a:pt x="10221" y="14075"/>
                  <a:pt x="10221" y="14076"/>
                  <a:pt x="10221" y="14076"/>
                </a:cubicBezTo>
                <a:cubicBezTo>
                  <a:pt x="10223" y="14082"/>
                  <a:pt x="10224" y="14089"/>
                  <a:pt x="10225" y="14096"/>
                </a:cubicBezTo>
                <a:cubicBezTo>
                  <a:pt x="10225" y="14098"/>
                  <a:pt x="10225" y="14099"/>
                  <a:pt x="10225" y="14100"/>
                </a:cubicBezTo>
                <a:cubicBezTo>
                  <a:pt x="10226" y="14105"/>
                  <a:pt x="10226" y="14110"/>
                  <a:pt x="10227" y="14114"/>
                </a:cubicBezTo>
                <a:cubicBezTo>
                  <a:pt x="10228" y="14121"/>
                  <a:pt x="10228" y="14128"/>
                  <a:pt x="10229" y="14136"/>
                </a:cubicBezTo>
                <a:lnTo>
                  <a:pt x="10221" y="14159"/>
                </a:lnTo>
                <a:cubicBezTo>
                  <a:pt x="10205" y="14150"/>
                  <a:pt x="10182" y="14131"/>
                  <a:pt x="10153" y="14104"/>
                </a:cubicBezTo>
                <a:cubicBezTo>
                  <a:pt x="10149" y="14101"/>
                  <a:pt x="10145" y="14097"/>
                  <a:pt x="10142" y="14094"/>
                </a:cubicBezTo>
                <a:cubicBezTo>
                  <a:pt x="10140" y="14092"/>
                  <a:pt x="10138" y="14090"/>
                  <a:pt x="10136" y="14089"/>
                </a:cubicBezTo>
                <a:cubicBezTo>
                  <a:pt x="10129" y="14081"/>
                  <a:pt x="10121" y="14073"/>
                  <a:pt x="10113" y="14065"/>
                </a:cubicBezTo>
                <a:cubicBezTo>
                  <a:pt x="10110" y="14062"/>
                  <a:pt x="10108" y="14059"/>
                  <a:pt x="10105" y="14057"/>
                </a:cubicBezTo>
                <a:cubicBezTo>
                  <a:pt x="10097" y="14047"/>
                  <a:pt x="10090" y="14039"/>
                  <a:pt x="10084" y="14031"/>
                </a:cubicBezTo>
                <a:cubicBezTo>
                  <a:pt x="10060" y="14004"/>
                  <a:pt x="10048" y="13989"/>
                  <a:pt x="10048" y="13985"/>
                </a:cubicBezTo>
                <a:cubicBezTo>
                  <a:pt x="10048" y="13961"/>
                  <a:pt x="10049" y="13950"/>
                  <a:pt x="10051" y="13952"/>
                </a:cubicBezTo>
                <a:cubicBezTo>
                  <a:pt x="10056" y="13962"/>
                  <a:pt x="10061" y="13967"/>
                  <a:pt x="10066" y="13967"/>
                </a:cubicBezTo>
                <a:lnTo>
                  <a:pt x="10066" y="13957"/>
                </a:lnTo>
                <a:cubicBezTo>
                  <a:pt x="10140" y="13983"/>
                  <a:pt x="10186" y="14008"/>
                  <a:pt x="10205" y="14031"/>
                </a:cubicBezTo>
                <a:cubicBezTo>
                  <a:pt x="10207" y="14034"/>
                  <a:pt x="10209" y="14036"/>
                  <a:pt x="10210" y="14039"/>
                </a:cubicBezTo>
                <a:close/>
                <a:moveTo>
                  <a:pt x="11036" y="14353"/>
                </a:moveTo>
                <a:cubicBezTo>
                  <a:pt x="10985" y="14375"/>
                  <a:pt x="10949" y="14396"/>
                  <a:pt x="10927" y="14415"/>
                </a:cubicBezTo>
                <a:lnTo>
                  <a:pt x="10927" y="14427"/>
                </a:lnTo>
                <a:cubicBezTo>
                  <a:pt x="10942" y="14419"/>
                  <a:pt x="10986" y="14393"/>
                  <a:pt x="11061" y="14351"/>
                </a:cubicBezTo>
                <a:cubicBezTo>
                  <a:pt x="11061" y="14351"/>
                  <a:pt x="11036" y="14353"/>
                  <a:pt x="11036" y="14353"/>
                </a:cubicBezTo>
                <a:close/>
                <a:moveTo>
                  <a:pt x="10862" y="14162"/>
                </a:moveTo>
                <a:cubicBezTo>
                  <a:pt x="10883" y="14176"/>
                  <a:pt x="10898" y="14192"/>
                  <a:pt x="10907" y="14208"/>
                </a:cubicBezTo>
                <a:cubicBezTo>
                  <a:pt x="10909" y="14210"/>
                  <a:pt x="10910" y="14213"/>
                  <a:pt x="10911" y="14215"/>
                </a:cubicBezTo>
                <a:cubicBezTo>
                  <a:pt x="10913" y="14219"/>
                  <a:pt x="10915" y="14224"/>
                  <a:pt x="10916" y="14228"/>
                </a:cubicBezTo>
                <a:cubicBezTo>
                  <a:pt x="10916" y="14231"/>
                  <a:pt x="10916" y="14256"/>
                  <a:pt x="10916" y="14302"/>
                </a:cubicBezTo>
                <a:cubicBezTo>
                  <a:pt x="10948" y="14312"/>
                  <a:pt x="10977" y="14318"/>
                  <a:pt x="11003" y="14320"/>
                </a:cubicBezTo>
                <a:cubicBezTo>
                  <a:pt x="11027" y="14322"/>
                  <a:pt x="11056" y="14320"/>
                  <a:pt x="11090" y="14315"/>
                </a:cubicBezTo>
                <a:lnTo>
                  <a:pt x="11097" y="14340"/>
                </a:lnTo>
                <a:lnTo>
                  <a:pt x="11097" y="14491"/>
                </a:lnTo>
                <a:lnTo>
                  <a:pt x="11025" y="14504"/>
                </a:lnTo>
                <a:cubicBezTo>
                  <a:pt x="11003" y="14497"/>
                  <a:pt x="10986" y="14491"/>
                  <a:pt x="10974" y="14486"/>
                </a:cubicBezTo>
                <a:cubicBezTo>
                  <a:pt x="10950" y="14479"/>
                  <a:pt x="10916" y="14473"/>
                  <a:pt x="10873" y="14468"/>
                </a:cubicBezTo>
                <a:cubicBezTo>
                  <a:pt x="10873" y="14458"/>
                  <a:pt x="10878" y="14442"/>
                  <a:pt x="10887" y="14420"/>
                </a:cubicBezTo>
                <a:cubicBezTo>
                  <a:pt x="10894" y="14399"/>
                  <a:pt x="10898" y="14377"/>
                  <a:pt x="10898" y="14353"/>
                </a:cubicBezTo>
                <a:cubicBezTo>
                  <a:pt x="10898" y="14333"/>
                  <a:pt x="10884" y="14325"/>
                  <a:pt x="10855" y="14330"/>
                </a:cubicBezTo>
                <a:cubicBezTo>
                  <a:pt x="10823" y="14335"/>
                  <a:pt x="10808" y="14327"/>
                  <a:pt x="10808" y="14305"/>
                </a:cubicBezTo>
                <a:cubicBezTo>
                  <a:pt x="10808" y="14295"/>
                  <a:pt x="10809" y="14284"/>
                  <a:pt x="10811" y="14274"/>
                </a:cubicBezTo>
                <a:cubicBezTo>
                  <a:pt x="10815" y="14263"/>
                  <a:pt x="10820" y="14252"/>
                  <a:pt x="10826" y="14241"/>
                </a:cubicBezTo>
                <a:cubicBezTo>
                  <a:pt x="10832" y="14230"/>
                  <a:pt x="10837" y="14218"/>
                  <a:pt x="10840" y="14206"/>
                </a:cubicBezTo>
                <a:cubicBezTo>
                  <a:pt x="10841" y="14204"/>
                  <a:pt x="10841" y="14201"/>
                  <a:pt x="10842" y="14199"/>
                </a:cubicBezTo>
                <a:cubicBezTo>
                  <a:pt x="10843" y="14192"/>
                  <a:pt x="10844" y="14184"/>
                  <a:pt x="10844" y="14177"/>
                </a:cubicBezTo>
                <a:cubicBezTo>
                  <a:pt x="10844" y="14164"/>
                  <a:pt x="10844" y="14156"/>
                  <a:pt x="10846" y="14151"/>
                </a:cubicBezTo>
                <a:cubicBezTo>
                  <a:pt x="10848" y="14146"/>
                  <a:pt x="10851" y="14145"/>
                  <a:pt x="10855" y="14149"/>
                </a:cubicBezTo>
                <a:cubicBezTo>
                  <a:pt x="10857" y="14152"/>
                  <a:pt x="10860" y="14157"/>
                  <a:pt x="10862" y="14162"/>
                </a:cubicBezTo>
                <a:close/>
                <a:moveTo>
                  <a:pt x="11343" y="14121"/>
                </a:moveTo>
                <a:lnTo>
                  <a:pt x="11351" y="14123"/>
                </a:lnTo>
                <a:lnTo>
                  <a:pt x="11351" y="14162"/>
                </a:lnTo>
                <a:cubicBezTo>
                  <a:pt x="11351" y="14174"/>
                  <a:pt x="11349" y="14186"/>
                  <a:pt x="11345" y="14197"/>
                </a:cubicBezTo>
                <a:cubicBezTo>
                  <a:pt x="11340" y="14208"/>
                  <a:pt x="11334" y="14219"/>
                  <a:pt x="11325" y="14228"/>
                </a:cubicBezTo>
                <a:cubicBezTo>
                  <a:pt x="11303" y="14247"/>
                  <a:pt x="11288" y="14262"/>
                  <a:pt x="11278" y="14274"/>
                </a:cubicBezTo>
                <a:cubicBezTo>
                  <a:pt x="11230" y="14267"/>
                  <a:pt x="11203" y="14259"/>
                  <a:pt x="11199" y="14248"/>
                </a:cubicBezTo>
                <a:cubicBezTo>
                  <a:pt x="11202" y="14221"/>
                  <a:pt x="11208" y="14197"/>
                  <a:pt x="11217" y="14176"/>
                </a:cubicBezTo>
                <a:cubicBezTo>
                  <a:pt x="11218" y="14173"/>
                  <a:pt x="11219" y="14170"/>
                  <a:pt x="11220" y="14168"/>
                </a:cubicBezTo>
                <a:cubicBezTo>
                  <a:pt x="11230" y="14145"/>
                  <a:pt x="11243" y="14126"/>
                  <a:pt x="11260" y="14111"/>
                </a:cubicBezTo>
                <a:lnTo>
                  <a:pt x="11341" y="14121"/>
                </a:lnTo>
                <a:cubicBezTo>
                  <a:pt x="11341" y="14121"/>
                  <a:pt x="11343" y="14121"/>
                  <a:pt x="11343" y="14121"/>
                </a:cubicBezTo>
                <a:close/>
                <a:moveTo>
                  <a:pt x="11307" y="13911"/>
                </a:moveTo>
                <a:cubicBezTo>
                  <a:pt x="11312" y="13874"/>
                  <a:pt x="11314" y="13838"/>
                  <a:pt x="11314" y="13804"/>
                </a:cubicBezTo>
                <a:lnTo>
                  <a:pt x="11452" y="13804"/>
                </a:lnTo>
                <a:cubicBezTo>
                  <a:pt x="11464" y="13829"/>
                  <a:pt x="11470" y="13864"/>
                  <a:pt x="11470" y="13909"/>
                </a:cubicBezTo>
                <a:cubicBezTo>
                  <a:pt x="11470" y="13933"/>
                  <a:pt x="11469" y="13953"/>
                  <a:pt x="11466" y="13970"/>
                </a:cubicBezTo>
                <a:cubicBezTo>
                  <a:pt x="11465" y="13986"/>
                  <a:pt x="11463" y="13999"/>
                  <a:pt x="11459" y="14008"/>
                </a:cubicBezTo>
                <a:lnTo>
                  <a:pt x="11459" y="14019"/>
                </a:lnTo>
                <a:lnTo>
                  <a:pt x="11369" y="14008"/>
                </a:lnTo>
                <a:cubicBezTo>
                  <a:pt x="11352" y="13998"/>
                  <a:pt x="11340" y="13988"/>
                  <a:pt x="11332" y="13978"/>
                </a:cubicBezTo>
                <a:cubicBezTo>
                  <a:pt x="11324" y="13969"/>
                  <a:pt x="11318" y="13959"/>
                  <a:pt x="11314" y="13948"/>
                </a:cubicBezTo>
                <a:cubicBezTo>
                  <a:pt x="11310" y="13937"/>
                  <a:pt x="11307" y="13925"/>
                  <a:pt x="11307" y="13911"/>
                </a:cubicBezTo>
                <a:close/>
                <a:moveTo>
                  <a:pt x="11977" y="16149"/>
                </a:moveTo>
                <a:cubicBezTo>
                  <a:pt x="12001" y="16202"/>
                  <a:pt x="11991" y="16234"/>
                  <a:pt x="11948" y="16244"/>
                </a:cubicBezTo>
                <a:cubicBezTo>
                  <a:pt x="11861" y="16266"/>
                  <a:pt x="11766" y="16276"/>
                  <a:pt x="11662" y="16275"/>
                </a:cubicBezTo>
                <a:cubicBezTo>
                  <a:pt x="11638" y="16275"/>
                  <a:pt x="11626" y="16274"/>
                  <a:pt x="11626" y="16272"/>
                </a:cubicBezTo>
                <a:cubicBezTo>
                  <a:pt x="11618" y="16190"/>
                  <a:pt x="11623" y="16106"/>
                  <a:pt x="11640" y="16019"/>
                </a:cubicBezTo>
                <a:cubicBezTo>
                  <a:pt x="11641" y="16009"/>
                  <a:pt x="11643" y="15999"/>
                  <a:pt x="11645" y="15988"/>
                </a:cubicBezTo>
                <a:cubicBezTo>
                  <a:pt x="11647" y="15981"/>
                  <a:pt x="11649" y="15973"/>
                  <a:pt x="11651" y="15965"/>
                </a:cubicBezTo>
                <a:cubicBezTo>
                  <a:pt x="11659" y="15937"/>
                  <a:pt x="11671" y="15912"/>
                  <a:pt x="11687" y="15891"/>
                </a:cubicBezTo>
                <a:cubicBezTo>
                  <a:pt x="11703" y="15871"/>
                  <a:pt x="11723" y="15854"/>
                  <a:pt x="11747" y="15841"/>
                </a:cubicBezTo>
                <a:cubicBezTo>
                  <a:pt x="11863" y="15831"/>
                  <a:pt x="11919" y="15865"/>
                  <a:pt x="11915" y="15942"/>
                </a:cubicBezTo>
                <a:cubicBezTo>
                  <a:pt x="11915" y="15959"/>
                  <a:pt x="11910" y="15975"/>
                  <a:pt x="11901" y="15988"/>
                </a:cubicBezTo>
                <a:cubicBezTo>
                  <a:pt x="11852" y="16050"/>
                  <a:pt x="11868" y="16096"/>
                  <a:pt x="11948" y="16126"/>
                </a:cubicBezTo>
                <a:cubicBezTo>
                  <a:pt x="11962" y="16131"/>
                  <a:pt x="11972" y="16139"/>
                  <a:pt x="11977" y="16149"/>
                </a:cubicBezTo>
                <a:close/>
                <a:moveTo>
                  <a:pt x="14760" y="15587"/>
                </a:moveTo>
                <a:cubicBezTo>
                  <a:pt x="14767" y="15546"/>
                  <a:pt x="14780" y="15507"/>
                  <a:pt x="14798" y="15468"/>
                </a:cubicBezTo>
                <a:cubicBezTo>
                  <a:pt x="14804" y="15456"/>
                  <a:pt x="14811" y="15444"/>
                  <a:pt x="14818" y="15431"/>
                </a:cubicBezTo>
                <a:cubicBezTo>
                  <a:pt x="14825" y="15421"/>
                  <a:pt x="14836" y="15415"/>
                  <a:pt x="14850" y="15414"/>
                </a:cubicBezTo>
                <a:cubicBezTo>
                  <a:pt x="14896" y="15407"/>
                  <a:pt x="14942" y="15401"/>
                  <a:pt x="14988" y="15396"/>
                </a:cubicBezTo>
                <a:cubicBezTo>
                  <a:pt x="15055" y="15387"/>
                  <a:pt x="15098" y="15356"/>
                  <a:pt x="15115" y="15304"/>
                </a:cubicBezTo>
                <a:cubicBezTo>
                  <a:pt x="15117" y="15293"/>
                  <a:pt x="15121" y="15283"/>
                  <a:pt x="15125" y="15273"/>
                </a:cubicBezTo>
                <a:cubicBezTo>
                  <a:pt x="15133" y="15249"/>
                  <a:pt x="15140" y="15225"/>
                  <a:pt x="15147" y="15201"/>
                </a:cubicBezTo>
                <a:cubicBezTo>
                  <a:pt x="15159" y="15150"/>
                  <a:pt x="15164" y="15098"/>
                  <a:pt x="15162" y="15046"/>
                </a:cubicBezTo>
                <a:cubicBezTo>
                  <a:pt x="15157" y="14986"/>
                  <a:pt x="15161" y="14928"/>
                  <a:pt x="15174" y="14873"/>
                </a:cubicBezTo>
                <a:cubicBezTo>
                  <a:pt x="15181" y="14844"/>
                  <a:pt x="15190" y="14815"/>
                  <a:pt x="15201" y="14788"/>
                </a:cubicBezTo>
                <a:cubicBezTo>
                  <a:pt x="15219" y="14742"/>
                  <a:pt x="15252" y="14709"/>
                  <a:pt x="15299" y="14688"/>
                </a:cubicBezTo>
                <a:cubicBezTo>
                  <a:pt x="15304" y="14675"/>
                  <a:pt x="15310" y="14662"/>
                  <a:pt x="15317" y="14650"/>
                </a:cubicBezTo>
                <a:cubicBezTo>
                  <a:pt x="15320" y="14646"/>
                  <a:pt x="15322" y="14643"/>
                  <a:pt x="15325" y="14639"/>
                </a:cubicBezTo>
                <a:cubicBezTo>
                  <a:pt x="15332" y="14629"/>
                  <a:pt x="15343" y="14623"/>
                  <a:pt x="15357" y="14621"/>
                </a:cubicBezTo>
                <a:cubicBezTo>
                  <a:pt x="15386" y="14618"/>
                  <a:pt x="15412" y="14617"/>
                  <a:pt x="15435" y="14618"/>
                </a:cubicBezTo>
                <a:cubicBezTo>
                  <a:pt x="15493" y="14620"/>
                  <a:pt x="15534" y="14637"/>
                  <a:pt x="15556" y="14667"/>
                </a:cubicBezTo>
                <a:cubicBezTo>
                  <a:pt x="15566" y="14681"/>
                  <a:pt x="15577" y="14694"/>
                  <a:pt x="15589" y="14706"/>
                </a:cubicBezTo>
                <a:cubicBezTo>
                  <a:pt x="15601" y="14719"/>
                  <a:pt x="15619" y="14727"/>
                  <a:pt x="15643" y="14729"/>
                </a:cubicBezTo>
                <a:cubicBezTo>
                  <a:pt x="15708" y="14732"/>
                  <a:pt x="15756" y="14744"/>
                  <a:pt x="15788" y="14765"/>
                </a:cubicBezTo>
                <a:cubicBezTo>
                  <a:pt x="15800" y="14773"/>
                  <a:pt x="15807" y="14782"/>
                  <a:pt x="15810" y="14790"/>
                </a:cubicBezTo>
                <a:cubicBezTo>
                  <a:pt x="15814" y="14836"/>
                  <a:pt x="15832" y="14868"/>
                  <a:pt x="15864" y="14887"/>
                </a:cubicBezTo>
                <a:cubicBezTo>
                  <a:pt x="15886" y="14899"/>
                  <a:pt x="15910" y="14908"/>
                  <a:pt x="15936" y="14913"/>
                </a:cubicBezTo>
                <a:cubicBezTo>
                  <a:pt x="15958" y="14916"/>
                  <a:pt x="15976" y="14922"/>
                  <a:pt x="15990" y="14931"/>
                </a:cubicBezTo>
                <a:cubicBezTo>
                  <a:pt x="16024" y="14948"/>
                  <a:pt x="16057" y="14966"/>
                  <a:pt x="16088" y="14984"/>
                </a:cubicBezTo>
                <a:cubicBezTo>
                  <a:pt x="16122" y="15005"/>
                  <a:pt x="16133" y="15042"/>
                  <a:pt x="16121" y="15097"/>
                </a:cubicBezTo>
                <a:cubicBezTo>
                  <a:pt x="16116" y="15114"/>
                  <a:pt x="16109" y="15129"/>
                  <a:pt x="16099" y="15143"/>
                </a:cubicBezTo>
                <a:cubicBezTo>
                  <a:pt x="16080" y="15168"/>
                  <a:pt x="16071" y="15204"/>
                  <a:pt x="16074" y="15250"/>
                </a:cubicBezTo>
                <a:cubicBezTo>
                  <a:pt x="16076" y="15267"/>
                  <a:pt x="16071" y="15282"/>
                  <a:pt x="16059" y="15293"/>
                </a:cubicBezTo>
                <a:cubicBezTo>
                  <a:pt x="16025" y="15333"/>
                  <a:pt x="16032" y="15361"/>
                  <a:pt x="16077" y="15378"/>
                </a:cubicBezTo>
                <a:cubicBezTo>
                  <a:pt x="16089" y="15378"/>
                  <a:pt x="16101" y="15378"/>
                  <a:pt x="16114" y="15378"/>
                </a:cubicBezTo>
                <a:cubicBezTo>
                  <a:pt x="16138" y="15378"/>
                  <a:pt x="16152" y="15374"/>
                  <a:pt x="16157" y="15368"/>
                </a:cubicBezTo>
                <a:cubicBezTo>
                  <a:pt x="16174" y="15347"/>
                  <a:pt x="16208" y="15339"/>
                  <a:pt x="16258" y="15345"/>
                </a:cubicBezTo>
                <a:cubicBezTo>
                  <a:pt x="16331" y="15350"/>
                  <a:pt x="16402" y="15356"/>
                  <a:pt x="16472" y="15362"/>
                </a:cubicBezTo>
                <a:cubicBezTo>
                  <a:pt x="16486" y="15364"/>
                  <a:pt x="16492" y="15368"/>
                  <a:pt x="16490" y="15373"/>
                </a:cubicBezTo>
                <a:cubicBezTo>
                  <a:pt x="16475" y="15398"/>
                  <a:pt x="16466" y="15434"/>
                  <a:pt x="16461" y="15480"/>
                </a:cubicBezTo>
                <a:cubicBezTo>
                  <a:pt x="16459" y="15497"/>
                  <a:pt x="16451" y="15515"/>
                  <a:pt x="16439" y="15534"/>
                </a:cubicBezTo>
                <a:cubicBezTo>
                  <a:pt x="16403" y="15597"/>
                  <a:pt x="16355" y="15648"/>
                  <a:pt x="16294" y="15687"/>
                </a:cubicBezTo>
                <a:cubicBezTo>
                  <a:pt x="16282" y="15695"/>
                  <a:pt x="16269" y="15701"/>
                  <a:pt x="16255" y="15705"/>
                </a:cubicBezTo>
                <a:cubicBezTo>
                  <a:pt x="16233" y="15710"/>
                  <a:pt x="16212" y="15716"/>
                  <a:pt x="16193" y="15723"/>
                </a:cubicBezTo>
                <a:cubicBezTo>
                  <a:pt x="16157" y="15736"/>
                  <a:pt x="16106" y="15741"/>
                  <a:pt x="16041" y="15738"/>
                </a:cubicBezTo>
                <a:cubicBezTo>
                  <a:pt x="15976" y="15735"/>
                  <a:pt x="15935" y="15751"/>
                  <a:pt x="15918" y="15787"/>
                </a:cubicBezTo>
                <a:cubicBezTo>
                  <a:pt x="15887" y="15853"/>
                  <a:pt x="15840" y="15920"/>
                  <a:pt x="15777" y="15988"/>
                </a:cubicBezTo>
                <a:cubicBezTo>
                  <a:pt x="15760" y="16009"/>
                  <a:pt x="15737" y="16022"/>
                  <a:pt x="15708" y="16027"/>
                </a:cubicBezTo>
                <a:cubicBezTo>
                  <a:pt x="15653" y="16039"/>
                  <a:pt x="15596" y="16048"/>
                  <a:pt x="15538" y="16055"/>
                </a:cubicBezTo>
                <a:cubicBezTo>
                  <a:pt x="15429" y="16068"/>
                  <a:pt x="15353" y="16107"/>
                  <a:pt x="15310" y="16170"/>
                </a:cubicBezTo>
                <a:cubicBezTo>
                  <a:pt x="15303" y="16180"/>
                  <a:pt x="15296" y="16190"/>
                  <a:pt x="15288" y="16200"/>
                </a:cubicBezTo>
                <a:cubicBezTo>
                  <a:pt x="15252" y="16263"/>
                  <a:pt x="15165" y="16300"/>
                  <a:pt x="15028" y="16310"/>
                </a:cubicBezTo>
                <a:cubicBezTo>
                  <a:pt x="15016" y="16312"/>
                  <a:pt x="15002" y="16314"/>
                  <a:pt x="14988" y="16315"/>
                </a:cubicBezTo>
                <a:cubicBezTo>
                  <a:pt x="14906" y="16322"/>
                  <a:pt x="14823" y="16323"/>
                  <a:pt x="14738" y="16318"/>
                </a:cubicBezTo>
                <a:cubicBezTo>
                  <a:pt x="14702" y="16315"/>
                  <a:pt x="14666" y="16311"/>
                  <a:pt x="14630" y="16308"/>
                </a:cubicBezTo>
                <a:cubicBezTo>
                  <a:pt x="14593" y="16303"/>
                  <a:pt x="14557" y="16300"/>
                  <a:pt x="14521" y="16300"/>
                </a:cubicBezTo>
                <a:cubicBezTo>
                  <a:pt x="14416" y="16296"/>
                  <a:pt x="14359" y="16267"/>
                  <a:pt x="14349" y="16212"/>
                </a:cubicBezTo>
                <a:cubicBezTo>
                  <a:pt x="14346" y="16194"/>
                  <a:pt x="14347" y="16173"/>
                  <a:pt x="14355" y="16149"/>
                </a:cubicBezTo>
                <a:cubicBezTo>
                  <a:pt x="14357" y="16139"/>
                  <a:pt x="14359" y="16130"/>
                  <a:pt x="14362" y="16121"/>
                </a:cubicBezTo>
                <a:cubicBezTo>
                  <a:pt x="14364" y="16098"/>
                  <a:pt x="14369" y="16078"/>
                  <a:pt x="14376" y="16061"/>
                </a:cubicBezTo>
                <a:cubicBezTo>
                  <a:pt x="14383" y="16043"/>
                  <a:pt x="14393" y="16029"/>
                  <a:pt x="14405" y="16016"/>
                </a:cubicBezTo>
                <a:cubicBezTo>
                  <a:pt x="14422" y="16001"/>
                  <a:pt x="14432" y="15985"/>
                  <a:pt x="14434" y="15968"/>
                </a:cubicBezTo>
                <a:cubicBezTo>
                  <a:pt x="14439" y="15922"/>
                  <a:pt x="14455" y="15887"/>
                  <a:pt x="14481" y="15863"/>
                </a:cubicBezTo>
                <a:cubicBezTo>
                  <a:pt x="14496" y="15848"/>
                  <a:pt x="14513" y="15835"/>
                  <a:pt x="14532" y="15825"/>
                </a:cubicBezTo>
                <a:cubicBezTo>
                  <a:pt x="14578" y="15798"/>
                  <a:pt x="14634" y="15781"/>
                  <a:pt x="14702" y="15776"/>
                </a:cubicBezTo>
                <a:cubicBezTo>
                  <a:pt x="14714" y="15776"/>
                  <a:pt x="14727" y="15775"/>
                  <a:pt x="14742" y="15774"/>
                </a:cubicBezTo>
                <a:cubicBezTo>
                  <a:pt x="14829" y="15767"/>
                  <a:pt x="14888" y="15746"/>
                  <a:pt x="14919" y="15712"/>
                </a:cubicBezTo>
                <a:cubicBezTo>
                  <a:pt x="14907" y="15704"/>
                  <a:pt x="14895" y="15700"/>
                  <a:pt x="14883" y="15700"/>
                </a:cubicBezTo>
                <a:cubicBezTo>
                  <a:pt x="14818" y="15695"/>
                  <a:pt x="14779" y="15674"/>
                  <a:pt x="14767" y="15638"/>
                </a:cubicBezTo>
                <a:cubicBezTo>
                  <a:pt x="14760" y="15620"/>
                  <a:pt x="14757" y="15603"/>
                  <a:pt x="14760" y="15587"/>
                </a:cubicBezTo>
                <a:close/>
                <a:moveTo>
                  <a:pt x="12009" y="14938"/>
                </a:moveTo>
                <a:cubicBezTo>
                  <a:pt x="11968" y="15006"/>
                  <a:pt x="11916" y="15062"/>
                  <a:pt x="11854" y="15104"/>
                </a:cubicBezTo>
                <a:cubicBezTo>
                  <a:pt x="11827" y="15123"/>
                  <a:pt x="11814" y="15141"/>
                  <a:pt x="11816" y="15159"/>
                </a:cubicBezTo>
                <a:cubicBezTo>
                  <a:pt x="11816" y="15177"/>
                  <a:pt x="11829" y="15195"/>
                  <a:pt x="11857" y="15212"/>
                </a:cubicBezTo>
                <a:cubicBezTo>
                  <a:pt x="11872" y="15220"/>
                  <a:pt x="11890" y="15222"/>
                  <a:pt x="11912" y="15217"/>
                </a:cubicBezTo>
                <a:cubicBezTo>
                  <a:pt x="11926" y="15213"/>
                  <a:pt x="11939" y="15212"/>
                  <a:pt x="11951" y="15212"/>
                </a:cubicBezTo>
                <a:cubicBezTo>
                  <a:pt x="12060" y="15207"/>
                  <a:pt x="12125" y="15178"/>
                  <a:pt x="12147" y="15125"/>
                </a:cubicBezTo>
                <a:cubicBezTo>
                  <a:pt x="12149" y="15115"/>
                  <a:pt x="12152" y="15105"/>
                  <a:pt x="12154" y="15097"/>
                </a:cubicBezTo>
                <a:cubicBezTo>
                  <a:pt x="12159" y="15051"/>
                  <a:pt x="12176" y="15017"/>
                  <a:pt x="12205" y="14995"/>
                </a:cubicBezTo>
                <a:cubicBezTo>
                  <a:pt x="12217" y="14986"/>
                  <a:pt x="12224" y="14977"/>
                  <a:pt x="12226" y="14966"/>
                </a:cubicBezTo>
                <a:cubicBezTo>
                  <a:pt x="12243" y="14912"/>
                  <a:pt x="12212" y="14889"/>
                  <a:pt x="12132" y="14897"/>
                </a:cubicBezTo>
                <a:cubicBezTo>
                  <a:pt x="12094" y="14901"/>
                  <a:pt x="12061" y="14901"/>
                  <a:pt x="12033" y="14897"/>
                </a:cubicBezTo>
                <a:cubicBezTo>
                  <a:pt x="12026" y="14912"/>
                  <a:pt x="12018" y="14926"/>
                  <a:pt x="12009" y="14938"/>
                </a:cubicBezTo>
                <a:close/>
                <a:moveTo>
                  <a:pt x="14749" y="14685"/>
                </a:moveTo>
                <a:cubicBezTo>
                  <a:pt x="14768" y="14673"/>
                  <a:pt x="14794" y="14665"/>
                  <a:pt x="14829" y="14662"/>
                </a:cubicBezTo>
                <a:cubicBezTo>
                  <a:pt x="14872" y="14684"/>
                  <a:pt x="14895" y="14718"/>
                  <a:pt x="14897" y="14765"/>
                </a:cubicBezTo>
                <a:cubicBezTo>
                  <a:pt x="14899" y="14794"/>
                  <a:pt x="14896" y="14820"/>
                  <a:pt x="14888" y="14842"/>
                </a:cubicBezTo>
                <a:cubicBezTo>
                  <a:pt x="14866" y="14910"/>
                  <a:pt x="14804" y="14943"/>
                  <a:pt x="14702" y="14943"/>
                </a:cubicBezTo>
                <a:cubicBezTo>
                  <a:pt x="14702" y="14875"/>
                  <a:pt x="14707" y="14807"/>
                  <a:pt x="14716" y="14739"/>
                </a:cubicBezTo>
                <a:cubicBezTo>
                  <a:pt x="14719" y="14716"/>
                  <a:pt x="14730" y="14698"/>
                  <a:pt x="14749" y="14685"/>
                </a:cubicBezTo>
                <a:close/>
                <a:moveTo>
                  <a:pt x="13377" y="14545"/>
                </a:moveTo>
                <a:cubicBezTo>
                  <a:pt x="13327" y="14528"/>
                  <a:pt x="13292" y="14497"/>
                  <a:pt x="13272" y="14453"/>
                </a:cubicBezTo>
                <a:cubicBezTo>
                  <a:pt x="13256" y="14414"/>
                  <a:pt x="13252" y="14376"/>
                  <a:pt x="13262" y="14340"/>
                </a:cubicBezTo>
                <a:lnTo>
                  <a:pt x="13287" y="14338"/>
                </a:lnTo>
                <a:lnTo>
                  <a:pt x="13406" y="14340"/>
                </a:lnTo>
                <a:cubicBezTo>
                  <a:pt x="13414" y="14351"/>
                  <a:pt x="13416" y="14364"/>
                  <a:pt x="13414" y="14381"/>
                </a:cubicBezTo>
                <a:cubicBezTo>
                  <a:pt x="13411" y="14392"/>
                  <a:pt x="13409" y="14403"/>
                  <a:pt x="13406" y="14417"/>
                </a:cubicBezTo>
                <a:cubicBezTo>
                  <a:pt x="13418" y="14427"/>
                  <a:pt x="13440" y="14434"/>
                  <a:pt x="13471" y="14438"/>
                </a:cubicBezTo>
                <a:cubicBezTo>
                  <a:pt x="13498" y="14441"/>
                  <a:pt x="13549" y="14443"/>
                  <a:pt x="13623" y="14443"/>
                </a:cubicBezTo>
                <a:lnTo>
                  <a:pt x="13678" y="14481"/>
                </a:lnTo>
                <a:cubicBezTo>
                  <a:pt x="13654" y="14503"/>
                  <a:pt x="13620" y="14528"/>
                  <a:pt x="13576" y="14555"/>
                </a:cubicBezTo>
                <a:cubicBezTo>
                  <a:pt x="13576" y="14555"/>
                  <a:pt x="13377" y="14545"/>
                  <a:pt x="13377" y="14545"/>
                </a:cubicBezTo>
                <a:close/>
                <a:moveTo>
                  <a:pt x="13656" y="14246"/>
                </a:moveTo>
                <a:cubicBezTo>
                  <a:pt x="13685" y="14251"/>
                  <a:pt x="13701" y="14257"/>
                  <a:pt x="13703" y="14264"/>
                </a:cubicBezTo>
                <a:lnTo>
                  <a:pt x="13703" y="14287"/>
                </a:lnTo>
                <a:lnTo>
                  <a:pt x="13667" y="14315"/>
                </a:lnTo>
                <a:lnTo>
                  <a:pt x="13558" y="14312"/>
                </a:lnTo>
                <a:cubicBezTo>
                  <a:pt x="13558" y="14288"/>
                  <a:pt x="13576" y="14264"/>
                  <a:pt x="13613" y="14238"/>
                </a:cubicBezTo>
                <a:cubicBezTo>
                  <a:pt x="13613" y="14238"/>
                  <a:pt x="13656" y="14246"/>
                  <a:pt x="13656" y="14246"/>
                </a:cubicBezTo>
                <a:close/>
                <a:moveTo>
                  <a:pt x="13414" y="14085"/>
                </a:moveTo>
                <a:cubicBezTo>
                  <a:pt x="13341" y="14102"/>
                  <a:pt x="13305" y="14119"/>
                  <a:pt x="13305" y="14136"/>
                </a:cubicBezTo>
                <a:lnTo>
                  <a:pt x="13160" y="14134"/>
                </a:lnTo>
                <a:cubicBezTo>
                  <a:pt x="13160" y="14099"/>
                  <a:pt x="13184" y="14061"/>
                  <a:pt x="13233" y="14019"/>
                </a:cubicBezTo>
                <a:cubicBezTo>
                  <a:pt x="13281" y="14003"/>
                  <a:pt x="13309" y="13995"/>
                  <a:pt x="13316" y="13993"/>
                </a:cubicBezTo>
                <a:cubicBezTo>
                  <a:pt x="13340" y="13988"/>
                  <a:pt x="13370" y="13988"/>
                  <a:pt x="13406" y="13993"/>
                </a:cubicBezTo>
                <a:lnTo>
                  <a:pt x="13424" y="14057"/>
                </a:lnTo>
                <a:cubicBezTo>
                  <a:pt x="13424" y="14057"/>
                  <a:pt x="13414" y="14085"/>
                  <a:pt x="13414" y="14085"/>
                </a:cubicBezTo>
                <a:close/>
                <a:moveTo>
                  <a:pt x="14449" y="14356"/>
                </a:moveTo>
                <a:cubicBezTo>
                  <a:pt x="14574" y="14361"/>
                  <a:pt x="14689" y="14346"/>
                  <a:pt x="14793" y="14311"/>
                </a:cubicBezTo>
                <a:cubicBezTo>
                  <a:pt x="14864" y="14331"/>
                  <a:pt x="14896" y="14380"/>
                  <a:pt x="14887" y="14458"/>
                </a:cubicBezTo>
                <a:cubicBezTo>
                  <a:pt x="14884" y="14475"/>
                  <a:pt x="14878" y="14489"/>
                  <a:pt x="14868" y="14501"/>
                </a:cubicBezTo>
                <a:cubicBezTo>
                  <a:pt x="14821" y="14555"/>
                  <a:pt x="14761" y="14601"/>
                  <a:pt x="14689" y="14637"/>
                </a:cubicBezTo>
                <a:cubicBezTo>
                  <a:pt x="14689" y="14637"/>
                  <a:pt x="14688" y="14637"/>
                  <a:pt x="14688" y="14637"/>
                </a:cubicBezTo>
                <a:cubicBezTo>
                  <a:pt x="14683" y="14639"/>
                  <a:pt x="14678" y="14642"/>
                  <a:pt x="14673" y="14644"/>
                </a:cubicBezTo>
                <a:cubicBezTo>
                  <a:pt x="14659" y="14651"/>
                  <a:pt x="14644" y="14657"/>
                  <a:pt x="14630" y="14662"/>
                </a:cubicBezTo>
                <a:cubicBezTo>
                  <a:pt x="14614" y="14668"/>
                  <a:pt x="14601" y="14674"/>
                  <a:pt x="14590" y="14682"/>
                </a:cubicBezTo>
                <a:cubicBezTo>
                  <a:pt x="14583" y="14686"/>
                  <a:pt x="14577" y="14691"/>
                  <a:pt x="14572" y="14696"/>
                </a:cubicBezTo>
                <a:cubicBezTo>
                  <a:pt x="14570" y="14698"/>
                  <a:pt x="14568" y="14700"/>
                  <a:pt x="14566" y="14702"/>
                </a:cubicBezTo>
                <a:cubicBezTo>
                  <a:pt x="14524" y="14747"/>
                  <a:pt x="14508" y="14811"/>
                  <a:pt x="14517" y="14892"/>
                </a:cubicBezTo>
                <a:cubicBezTo>
                  <a:pt x="14520" y="14909"/>
                  <a:pt x="14526" y="14920"/>
                  <a:pt x="14536" y="14923"/>
                </a:cubicBezTo>
                <a:cubicBezTo>
                  <a:pt x="14567" y="14935"/>
                  <a:pt x="14575" y="14959"/>
                  <a:pt x="14561" y="14995"/>
                </a:cubicBezTo>
                <a:cubicBezTo>
                  <a:pt x="14534" y="15076"/>
                  <a:pt x="14516" y="15161"/>
                  <a:pt x="14507" y="15250"/>
                </a:cubicBezTo>
                <a:cubicBezTo>
                  <a:pt x="14504" y="15276"/>
                  <a:pt x="14501" y="15301"/>
                  <a:pt x="14496" y="15327"/>
                </a:cubicBezTo>
                <a:cubicBezTo>
                  <a:pt x="14491" y="15350"/>
                  <a:pt x="14482" y="15371"/>
                  <a:pt x="14469" y="15388"/>
                </a:cubicBezTo>
                <a:cubicBezTo>
                  <a:pt x="14428" y="15439"/>
                  <a:pt x="14349" y="15462"/>
                  <a:pt x="14231" y="15457"/>
                </a:cubicBezTo>
                <a:cubicBezTo>
                  <a:pt x="14207" y="15455"/>
                  <a:pt x="14190" y="15450"/>
                  <a:pt x="14181" y="15442"/>
                </a:cubicBezTo>
                <a:cubicBezTo>
                  <a:pt x="14133" y="15406"/>
                  <a:pt x="14078" y="15374"/>
                  <a:pt x="14018" y="15347"/>
                </a:cubicBezTo>
                <a:cubicBezTo>
                  <a:pt x="14003" y="15342"/>
                  <a:pt x="13995" y="15334"/>
                  <a:pt x="13993" y="15324"/>
                </a:cubicBezTo>
                <a:cubicBezTo>
                  <a:pt x="13968" y="15234"/>
                  <a:pt x="13975" y="15149"/>
                  <a:pt x="14011" y="15071"/>
                </a:cubicBezTo>
                <a:cubicBezTo>
                  <a:pt x="14025" y="15037"/>
                  <a:pt x="14036" y="15003"/>
                  <a:pt x="14043" y="14969"/>
                </a:cubicBezTo>
                <a:cubicBezTo>
                  <a:pt x="14048" y="14943"/>
                  <a:pt x="14057" y="14920"/>
                  <a:pt x="14069" y="14897"/>
                </a:cubicBezTo>
                <a:cubicBezTo>
                  <a:pt x="14105" y="14816"/>
                  <a:pt x="14123" y="14729"/>
                  <a:pt x="14123" y="14637"/>
                </a:cubicBezTo>
                <a:cubicBezTo>
                  <a:pt x="14123" y="14622"/>
                  <a:pt x="14123" y="14607"/>
                  <a:pt x="14125" y="14592"/>
                </a:cubicBezTo>
                <a:cubicBezTo>
                  <a:pt x="14127" y="14565"/>
                  <a:pt x="14131" y="14538"/>
                  <a:pt x="14137" y="14512"/>
                </a:cubicBezTo>
                <a:cubicBezTo>
                  <a:pt x="14140" y="14502"/>
                  <a:pt x="14142" y="14493"/>
                  <a:pt x="14145" y="14484"/>
                </a:cubicBezTo>
                <a:cubicBezTo>
                  <a:pt x="14155" y="14448"/>
                  <a:pt x="14167" y="14421"/>
                  <a:pt x="14181" y="14402"/>
                </a:cubicBezTo>
                <a:cubicBezTo>
                  <a:pt x="14190" y="14388"/>
                  <a:pt x="14201" y="14377"/>
                  <a:pt x="14213" y="14369"/>
                </a:cubicBezTo>
                <a:cubicBezTo>
                  <a:pt x="14225" y="14360"/>
                  <a:pt x="14234" y="14352"/>
                  <a:pt x="14239" y="14346"/>
                </a:cubicBezTo>
                <a:cubicBezTo>
                  <a:pt x="14256" y="14325"/>
                  <a:pt x="14288" y="14322"/>
                  <a:pt x="14336" y="14335"/>
                </a:cubicBezTo>
                <a:cubicBezTo>
                  <a:pt x="14351" y="14340"/>
                  <a:pt x="14365" y="14345"/>
                  <a:pt x="14380" y="14348"/>
                </a:cubicBezTo>
                <a:cubicBezTo>
                  <a:pt x="14402" y="14353"/>
                  <a:pt x="14425" y="14356"/>
                  <a:pt x="14449" y="14356"/>
                </a:cubicBezTo>
                <a:close/>
                <a:moveTo>
                  <a:pt x="12491" y="13255"/>
                </a:moveTo>
                <a:cubicBezTo>
                  <a:pt x="12579" y="13264"/>
                  <a:pt x="12667" y="13274"/>
                  <a:pt x="12753" y="13287"/>
                </a:cubicBezTo>
                <a:cubicBezTo>
                  <a:pt x="12763" y="13302"/>
                  <a:pt x="12777" y="13315"/>
                  <a:pt x="12795" y="13326"/>
                </a:cubicBezTo>
                <a:cubicBezTo>
                  <a:pt x="12841" y="13360"/>
                  <a:pt x="12857" y="13414"/>
                  <a:pt x="12845" y="13487"/>
                </a:cubicBezTo>
                <a:cubicBezTo>
                  <a:pt x="12836" y="13535"/>
                  <a:pt x="12818" y="13587"/>
                  <a:pt x="12791" y="13643"/>
                </a:cubicBezTo>
                <a:cubicBezTo>
                  <a:pt x="12774" y="13675"/>
                  <a:pt x="12755" y="13707"/>
                  <a:pt x="12733" y="13738"/>
                </a:cubicBezTo>
                <a:cubicBezTo>
                  <a:pt x="12687" y="13801"/>
                  <a:pt x="12704" y="13854"/>
                  <a:pt x="12784" y="13898"/>
                </a:cubicBezTo>
                <a:cubicBezTo>
                  <a:pt x="12859" y="13939"/>
                  <a:pt x="12929" y="13975"/>
                  <a:pt x="12994" y="14006"/>
                </a:cubicBezTo>
                <a:cubicBezTo>
                  <a:pt x="13064" y="14039"/>
                  <a:pt x="13104" y="14083"/>
                  <a:pt x="13113" y="14137"/>
                </a:cubicBezTo>
                <a:cubicBezTo>
                  <a:pt x="13114" y="14150"/>
                  <a:pt x="13114" y="14163"/>
                  <a:pt x="13113" y="14177"/>
                </a:cubicBezTo>
                <a:cubicBezTo>
                  <a:pt x="13112" y="14183"/>
                  <a:pt x="13110" y="14189"/>
                  <a:pt x="13108" y="14195"/>
                </a:cubicBezTo>
                <a:cubicBezTo>
                  <a:pt x="13104" y="14204"/>
                  <a:pt x="13099" y="14211"/>
                  <a:pt x="13091" y="14218"/>
                </a:cubicBezTo>
                <a:cubicBezTo>
                  <a:pt x="13080" y="14227"/>
                  <a:pt x="13070" y="14236"/>
                  <a:pt x="13061" y="14245"/>
                </a:cubicBezTo>
                <a:cubicBezTo>
                  <a:pt x="13018" y="14285"/>
                  <a:pt x="12994" y="14322"/>
                  <a:pt x="12990" y="14356"/>
                </a:cubicBezTo>
                <a:cubicBezTo>
                  <a:pt x="12985" y="14390"/>
                  <a:pt x="12972" y="14422"/>
                  <a:pt x="12950" y="14453"/>
                </a:cubicBezTo>
                <a:cubicBezTo>
                  <a:pt x="12892" y="14531"/>
                  <a:pt x="12923" y="14590"/>
                  <a:pt x="13041" y="14629"/>
                </a:cubicBezTo>
                <a:cubicBezTo>
                  <a:pt x="13087" y="14643"/>
                  <a:pt x="13123" y="14662"/>
                  <a:pt x="13149" y="14685"/>
                </a:cubicBezTo>
                <a:cubicBezTo>
                  <a:pt x="13159" y="14696"/>
                  <a:pt x="13171" y="14702"/>
                  <a:pt x="13186" y="14703"/>
                </a:cubicBezTo>
                <a:cubicBezTo>
                  <a:pt x="13224" y="14708"/>
                  <a:pt x="13230" y="14727"/>
                  <a:pt x="13204" y="14759"/>
                </a:cubicBezTo>
                <a:cubicBezTo>
                  <a:pt x="13184" y="14785"/>
                  <a:pt x="13172" y="14821"/>
                  <a:pt x="13167" y="14867"/>
                </a:cubicBezTo>
                <a:cubicBezTo>
                  <a:pt x="13165" y="14884"/>
                  <a:pt x="13158" y="14901"/>
                  <a:pt x="13146" y="14918"/>
                </a:cubicBezTo>
                <a:cubicBezTo>
                  <a:pt x="13107" y="14966"/>
                  <a:pt x="13048" y="14972"/>
                  <a:pt x="12968" y="14938"/>
                </a:cubicBezTo>
                <a:cubicBezTo>
                  <a:pt x="12954" y="14933"/>
                  <a:pt x="12941" y="14931"/>
                  <a:pt x="12929" y="14931"/>
                </a:cubicBezTo>
                <a:cubicBezTo>
                  <a:pt x="12826" y="14926"/>
                  <a:pt x="12759" y="14958"/>
                  <a:pt x="12728" y="15025"/>
                </a:cubicBezTo>
                <a:cubicBezTo>
                  <a:pt x="12724" y="15032"/>
                  <a:pt x="12721" y="15040"/>
                  <a:pt x="12719" y="15048"/>
                </a:cubicBezTo>
                <a:cubicBezTo>
                  <a:pt x="12714" y="15064"/>
                  <a:pt x="12717" y="15076"/>
                  <a:pt x="12729" y="15086"/>
                </a:cubicBezTo>
                <a:cubicBezTo>
                  <a:pt x="12790" y="15144"/>
                  <a:pt x="12857" y="15189"/>
                  <a:pt x="12932" y="15222"/>
                </a:cubicBezTo>
                <a:cubicBezTo>
                  <a:pt x="12954" y="15232"/>
                  <a:pt x="12974" y="15244"/>
                  <a:pt x="12994" y="15258"/>
                </a:cubicBezTo>
                <a:cubicBezTo>
                  <a:pt x="13011" y="15270"/>
                  <a:pt x="13029" y="15280"/>
                  <a:pt x="13048" y="15288"/>
                </a:cubicBezTo>
                <a:cubicBezTo>
                  <a:pt x="13065" y="15297"/>
                  <a:pt x="13084" y="15303"/>
                  <a:pt x="13106" y="15306"/>
                </a:cubicBezTo>
                <a:cubicBezTo>
                  <a:pt x="13132" y="15311"/>
                  <a:pt x="13158" y="15314"/>
                  <a:pt x="13182" y="15314"/>
                </a:cubicBezTo>
                <a:cubicBezTo>
                  <a:pt x="13259" y="15310"/>
                  <a:pt x="13310" y="15322"/>
                  <a:pt x="13334" y="15350"/>
                </a:cubicBezTo>
                <a:cubicBezTo>
                  <a:pt x="13341" y="15360"/>
                  <a:pt x="13344" y="15368"/>
                  <a:pt x="13341" y="15375"/>
                </a:cubicBezTo>
                <a:cubicBezTo>
                  <a:pt x="13317" y="15445"/>
                  <a:pt x="13275" y="15506"/>
                  <a:pt x="13214" y="15559"/>
                </a:cubicBezTo>
                <a:cubicBezTo>
                  <a:pt x="13205" y="15568"/>
                  <a:pt x="13200" y="15576"/>
                  <a:pt x="13200" y="15585"/>
                </a:cubicBezTo>
                <a:cubicBezTo>
                  <a:pt x="13200" y="15619"/>
                  <a:pt x="13208" y="15652"/>
                  <a:pt x="13225" y="15684"/>
                </a:cubicBezTo>
                <a:cubicBezTo>
                  <a:pt x="13233" y="15703"/>
                  <a:pt x="13246" y="15718"/>
                  <a:pt x="13265" y="15730"/>
                </a:cubicBezTo>
                <a:cubicBezTo>
                  <a:pt x="13282" y="15744"/>
                  <a:pt x="13300" y="15757"/>
                  <a:pt x="13319" y="15769"/>
                </a:cubicBezTo>
                <a:cubicBezTo>
                  <a:pt x="13336" y="15782"/>
                  <a:pt x="13345" y="15798"/>
                  <a:pt x="13345" y="15815"/>
                </a:cubicBezTo>
                <a:cubicBezTo>
                  <a:pt x="13347" y="15858"/>
                  <a:pt x="13343" y="15898"/>
                  <a:pt x="13334" y="15935"/>
                </a:cubicBezTo>
                <a:cubicBezTo>
                  <a:pt x="13306" y="16043"/>
                  <a:pt x="13229" y="16119"/>
                  <a:pt x="13102" y="16162"/>
                </a:cubicBezTo>
                <a:cubicBezTo>
                  <a:pt x="13083" y="16169"/>
                  <a:pt x="13072" y="16174"/>
                  <a:pt x="13070" y="16177"/>
                </a:cubicBezTo>
                <a:cubicBezTo>
                  <a:pt x="13048" y="16242"/>
                  <a:pt x="13041" y="16309"/>
                  <a:pt x="13048" y="16377"/>
                </a:cubicBezTo>
                <a:cubicBezTo>
                  <a:pt x="13053" y="16419"/>
                  <a:pt x="13059" y="16462"/>
                  <a:pt x="13066" y="16504"/>
                </a:cubicBezTo>
                <a:cubicBezTo>
                  <a:pt x="13085" y="16600"/>
                  <a:pt x="13078" y="16677"/>
                  <a:pt x="13044" y="16737"/>
                </a:cubicBezTo>
                <a:cubicBezTo>
                  <a:pt x="13018" y="16785"/>
                  <a:pt x="12984" y="16829"/>
                  <a:pt x="12943" y="16870"/>
                </a:cubicBezTo>
                <a:cubicBezTo>
                  <a:pt x="12885" y="16929"/>
                  <a:pt x="12808" y="16961"/>
                  <a:pt x="12711" y="16964"/>
                </a:cubicBezTo>
                <a:cubicBezTo>
                  <a:pt x="12687" y="16964"/>
                  <a:pt x="12673" y="16968"/>
                  <a:pt x="12668" y="16975"/>
                </a:cubicBezTo>
                <a:cubicBezTo>
                  <a:pt x="12661" y="16986"/>
                  <a:pt x="12649" y="16993"/>
                  <a:pt x="12632" y="16998"/>
                </a:cubicBezTo>
                <a:cubicBezTo>
                  <a:pt x="12615" y="17002"/>
                  <a:pt x="12593" y="17003"/>
                  <a:pt x="12567" y="17000"/>
                </a:cubicBezTo>
                <a:cubicBezTo>
                  <a:pt x="12506" y="16993"/>
                  <a:pt x="12446" y="16993"/>
                  <a:pt x="12386" y="17000"/>
                </a:cubicBezTo>
                <a:cubicBezTo>
                  <a:pt x="12361" y="17002"/>
                  <a:pt x="12337" y="17006"/>
                  <a:pt x="12313" y="17013"/>
                </a:cubicBezTo>
                <a:cubicBezTo>
                  <a:pt x="12234" y="17032"/>
                  <a:pt x="12149" y="17038"/>
                  <a:pt x="12060" y="17031"/>
                </a:cubicBezTo>
                <a:cubicBezTo>
                  <a:pt x="12036" y="17029"/>
                  <a:pt x="12010" y="17027"/>
                  <a:pt x="11984" y="17026"/>
                </a:cubicBezTo>
                <a:cubicBezTo>
                  <a:pt x="11926" y="17019"/>
                  <a:pt x="11868" y="17013"/>
                  <a:pt x="11810" y="17008"/>
                </a:cubicBezTo>
                <a:cubicBezTo>
                  <a:pt x="11784" y="17004"/>
                  <a:pt x="11764" y="16996"/>
                  <a:pt x="11752" y="16982"/>
                </a:cubicBezTo>
                <a:cubicBezTo>
                  <a:pt x="11740" y="16970"/>
                  <a:pt x="11728" y="16960"/>
                  <a:pt x="11716" y="16952"/>
                </a:cubicBezTo>
                <a:cubicBezTo>
                  <a:pt x="11693" y="16935"/>
                  <a:pt x="11682" y="16918"/>
                  <a:pt x="11684" y="16902"/>
                </a:cubicBezTo>
                <a:cubicBezTo>
                  <a:pt x="11685" y="16886"/>
                  <a:pt x="11698" y="16870"/>
                  <a:pt x="11723" y="16855"/>
                </a:cubicBezTo>
                <a:cubicBezTo>
                  <a:pt x="11793" y="16812"/>
                  <a:pt x="11892" y="16778"/>
                  <a:pt x="12020" y="16752"/>
                </a:cubicBezTo>
                <a:cubicBezTo>
                  <a:pt x="12035" y="16749"/>
                  <a:pt x="12049" y="16746"/>
                  <a:pt x="12064" y="16745"/>
                </a:cubicBezTo>
                <a:cubicBezTo>
                  <a:pt x="12201" y="16734"/>
                  <a:pt x="12310" y="16707"/>
                  <a:pt x="12389" y="16663"/>
                </a:cubicBezTo>
                <a:cubicBezTo>
                  <a:pt x="12411" y="16651"/>
                  <a:pt x="12435" y="16642"/>
                  <a:pt x="12462" y="16637"/>
                </a:cubicBezTo>
                <a:cubicBezTo>
                  <a:pt x="12508" y="16625"/>
                  <a:pt x="12542" y="16607"/>
                  <a:pt x="12567" y="16581"/>
                </a:cubicBezTo>
                <a:cubicBezTo>
                  <a:pt x="12600" y="16545"/>
                  <a:pt x="12616" y="16494"/>
                  <a:pt x="12614" y="16428"/>
                </a:cubicBezTo>
                <a:cubicBezTo>
                  <a:pt x="12606" y="16343"/>
                  <a:pt x="12598" y="16257"/>
                  <a:pt x="12588" y="16172"/>
                </a:cubicBezTo>
                <a:cubicBezTo>
                  <a:pt x="12574" y="16060"/>
                  <a:pt x="12638" y="15997"/>
                  <a:pt x="12780" y="15983"/>
                </a:cubicBezTo>
                <a:cubicBezTo>
                  <a:pt x="12795" y="15982"/>
                  <a:pt x="12803" y="15976"/>
                  <a:pt x="12806" y="15965"/>
                </a:cubicBezTo>
                <a:cubicBezTo>
                  <a:pt x="12832" y="15889"/>
                  <a:pt x="12811" y="15832"/>
                  <a:pt x="12744" y="15794"/>
                </a:cubicBezTo>
                <a:cubicBezTo>
                  <a:pt x="12676" y="15757"/>
                  <a:pt x="12637" y="15695"/>
                  <a:pt x="12625" y="15610"/>
                </a:cubicBezTo>
                <a:cubicBezTo>
                  <a:pt x="12622" y="15602"/>
                  <a:pt x="12620" y="15592"/>
                  <a:pt x="12617" y="15582"/>
                </a:cubicBezTo>
                <a:cubicBezTo>
                  <a:pt x="12608" y="15541"/>
                  <a:pt x="12598" y="15500"/>
                  <a:pt x="12588" y="15457"/>
                </a:cubicBezTo>
                <a:cubicBezTo>
                  <a:pt x="12586" y="15447"/>
                  <a:pt x="12577" y="15441"/>
                  <a:pt x="12563" y="15439"/>
                </a:cubicBezTo>
                <a:cubicBezTo>
                  <a:pt x="12498" y="15429"/>
                  <a:pt x="12441" y="15437"/>
                  <a:pt x="12393" y="15462"/>
                </a:cubicBezTo>
                <a:cubicBezTo>
                  <a:pt x="12282" y="15520"/>
                  <a:pt x="12182" y="15518"/>
                  <a:pt x="12092" y="15457"/>
                </a:cubicBezTo>
                <a:cubicBezTo>
                  <a:pt x="12054" y="15428"/>
                  <a:pt x="11995" y="15411"/>
                  <a:pt x="11915" y="15406"/>
                </a:cubicBezTo>
                <a:cubicBezTo>
                  <a:pt x="11891" y="15404"/>
                  <a:pt x="11872" y="15408"/>
                  <a:pt x="11857" y="15416"/>
                </a:cubicBezTo>
                <a:cubicBezTo>
                  <a:pt x="11823" y="15433"/>
                  <a:pt x="11792" y="15454"/>
                  <a:pt x="11763" y="15477"/>
                </a:cubicBezTo>
                <a:cubicBezTo>
                  <a:pt x="11742" y="15494"/>
                  <a:pt x="11722" y="15503"/>
                  <a:pt x="11705" y="15504"/>
                </a:cubicBezTo>
                <a:cubicBezTo>
                  <a:pt x="11687" y="15505"/>
                  <a:pt x="11672" y="15498"/>
                  <a:pt x="11658" y="15482"/>
                </a:cubicBezTo>
                <a:cubicBezTo>
                  <a:pt x="11649" y="15472"/>
                  <a:pt x="11636" y="15465"/>
                  <a:pt x="11622" y="15462"/>
                </a:cubicBezTo>
                <a:cubicBezTo>
                  <a:pt x="11600" y="15457"/>
                  <a:pt x="11579" y="15452"/>
                  <a:pt x="11557" y="15447"/>
                </a:cubicBezTo>
                <a:cubicBezTo>
                  <a:pt x="11494" y="15435"/>
                  <a:pt x="11434" y="15419"/>
                  <a:pt x="11376" y="15398"/>
                </a:cubicBezTo>
                <a:cubicBezTo>
                  <a:pt x="11361" y="15393"/>
                  <a:pt x="11353" y="15385"/>
                  <a:pt x="11351" y="15375"/>
                </a:cubicBezTo>
                <a:cubicBezTo>
                  <a:pt x="11341" y="15314"/>
                  <a:pt x="11352" y="15256"/>
                  <a:pt x="11383" y="15201"/>
                </a:cubicBezTo>
                <a:cubicBezTo>
                  <a:pt x="11388" y="15191"/>
                  <a:pt x="11398" y="15184"/>
                  <a:pt x="11412" y="15178"/>
                </a:cubicBezTo>
                <a:cubicBezTo>
                  <a:pt x="11438" y="15169"/>
                  <a:pt x="11463" y="15159"/>
                  <a:pt x="11484" y="15147"/>
                </a:cubicBezTo>
                <a:cubicBezTo>
                  <a:pt x="11490" y="15144"/>
                  <a:pt x="11495" y="15141"/>
                  <a:pt x="11501" y="15138"/>
                </a:cubicBezTo>
                <a:cubicBezTo>
                  <a:pt x="11506" y="15136"/>
                  <a:pt x="11511" y="15135"/>
                  <a:pt x="11517" y="15135"/>
                </a:cubicBezTo>
                <a:cubicBezTo>
                  <a:pt x="11548" y="15136"/>
                  <a:pt x="11571" y="15131"/>
                  <a:pt x="11584" y="15121"/>
                </a:cubicBezTo>
                <a:cubicBezTo>
                  <a:pt x="11598" y="15110"/>
                  <a:pt x="11604" y="15093"/>
                  <a:pt x="11600" y="15071"/>
                </a:cubicBezTo>
                <a:cubicBezTo>
                  <a:pt x="11599" y="15064"/>
                  <a:pt x="11598" y="15058"/>
                  <a:pt x="11597" y="15052"/>
                </a:cubicBezTo>
                <a:cubicBezTo>
                  <a:pt x="11605" y="15041"/>
                  <a:pt x="11612" y="15029"/>
                  <a:pt x="11618" y="15017"/>
                </a:cubicBezTo>
                <a:cubicBezTo>
                  <a:pt x="11639" y="14982"/>
                  <a:pt x="11657" y="14949"/>
                  <a:pt x="11673" y="14919"/>
                </a:cubicBezTo>
                <a:cubicBezTo>
                  <a:pt x="11693" y="14908"/>
                  <a:pt x="11705" y="14891"/>
                  <a:pt x="11709" y="14868"/>
                </a:cubicBezTo>
                <a:cubicBezTo>
                  <a:pt x="11711" y="14853"/>
                  <a:pt x="11710" y="14835"/>
                  <a:pt x="11705" y="14816"/>
                </a:cubicBezTo>
                <a:cubicBezTo>
                  <a:pt x="11700" y="14790"/>
                  <a:pt x="11703" y="14765"/>
                  <a:pt x="11712" y="14742"/>
                </a:cubicBezTo>
                <a:cubicBezTo>
                  <a:pt x="11734" y="14694"/>
                  <a:pt x="11790" y="14667"/>
                  <a:pt x="11879" y="14660"/>
                </a:cubicBezTo>
                <a:cubicBezTo>
                  <a:pt x="11980" y="14651"/>
                  <a:pt x="12041" y="14618"/>
                  <a:pt x="12060" y="14560"/>
                </a:cubicBezTo>
                <a:cubicBezTo>
                  <a:pt x="12048" y="14560"/>
                  <a:pt x="12037" y="14558"/>
                  <a:pt x="12027" y="14555"/>
                </a:cubicBezTo>
                <a:cubicBezTo>
                  <a:pt x="12013" y="14550"/>
                  <a:pt x="12000" y="14547"/>
                  <a:pt x="11988" y="14547"/>
                </a:cubicBezTo>
                <a:cubicBezTo>
                  <a:pt x="11889" y="14542"/>
                  <a:pt x="11852" y="14529"/>
                  <a:pt x="11879" y="14509"/>
                </a:cubicBezTo>
                <a:cubicBezTo>
                  <a:pt x="11891" y="14501"/>
                  <a:pt x="11904" y="14494"/>
                  <a:pt x="11919" y="14489"/>
                </a:cubicBezTo>
                <a:cubicBezTo>
                  <a:pt x="11986" y="14466"/>
                  <a:pt x="12033" y="14431"/>
                  <a:pt x="12060" y="14381"/>
                </a:cubicBezTo>
                <a:cubicBezTo>
                  <a:pt x="11966" y="14388"/>
                  <a:pt x="11881" y="14379"/>
                  <a:pt x="11807" y="14353"/>
                </a:cubicBezTo>
                <a:cubicBezTo>
                  <a:pt x="11759" y="14337"/>
                  <a:pt x="11735" y="14318"/>
                  <a:pt x="11734" y="14296"/>
                </a:cubicBezTo>
                <a:cubicBezTo>
                  <a:pt x="11734" y="14292"/>
                  <a:pt x="11735" y="14287"/>
                  <a:pt x="11736" y="14283"/>
                </a:cubicBezTo>
                <a:cubicBezTo>
                  <a:pt x="11742" y="14264"/>
                  <a:pt x="11763" y="14243"/>
                  <a:pt x="11799" y="14220"/>
                </a:cubicBezTo>
                <a:cubicBezTo>
                  <a:pt x="11816" y="14208"/>
                  <a:pt x="11828" y="14193"/>
                  <a:pt x="11836" y="14174"/>
                </a:cubicBezTo>
                <a:cubicBezTo>
                  <a:pt x="11840" y="14159"/>
                  <a:pt x="11838" y="14144"/>
                  <a:pt x="11828" y="14128"/>
                </a:cubicBezTo>
                <a:cubicBezTo>
                  <a:pt x="11805" y="14089"/>
                  <a:pt x="11797" y="14045"/>
                  <a:pt x="11805" y="13998"/>
                </a:cubicBezTo>
                <a:cubicBezTo>
                  <a:pt x="11807" y="13982"/>
                  <a:pt x="11811" y="13966"/>
                  <a:pt x="11817" y="13950"/>
                </a:cubicBezTo>
                <a:cubicBezTo>
                  <a:pt x="11822" y="13939"/>
                  <a:pt x="11826" y="13929"/>
                  <a:pt x="11828" y="13919"/>
                </a:cubicBezTo>
                <a:cubicBezTo>
                  <a:pt x="11848" y="13854"/>
                  <a:pt x="11837" y="13797"/>
                  <a:pt x="11796" y="13748"/>
                </a:cubicBezTo>
                <a:cubicBezTo>
                  <a:pt x="11784" y="13733"/>
                  <a:pt x="11773" y="13717"/>
                  <a:pt x="11765" y="13699"/>
                </a:cubicBezTo>
                <a:cubicBezTo>
                  <a:pt x="11742" y="13648"/>
                  <a:pt x="11738" y="13587"/>
                  <a:pt x="11752" y="13515"/>
                </a:cubicBezTo>
                <a:cubicBezTo>
                  <a:pt x="11764" y="13448"/>
                  <a:pt x="11804" y="13408"/>
                  <a:pt x="11874" y="13394"/>
                </a:cubicBezTo>
                <a:cubicBezTo>
                  <a:pt x="11877" y="13393"/>
                  <a:pt x="11880" y="13393"/>
                  <a:pt x="11883" y="13393"/>
                </a:cubicBezTo>
                <a:cubicBezTo>
                  <a:pt x="12032" y="13369"/>
                  <a:pt x="12129" y="13392"/>
                  <a:pt x="12172" y="13462"/>
                </a:cubicBezTo>
                <a:cubicBezTo>
                  <a:pt x="12182" y="13479"/>
                  <a:pt x="12196" y="13494"/>
                  <a:pt x="12216" y="13508"/>
                </a:cubicBezTo>
                <a:cubicBezTo>
                  <a:pt x="12232" y="13519"/>
                  <a:pt x="12249" y="13532"/>
                  <a:pt x="12266" y="13546"/>
                </a:cubicBezTo>
                <a:cubicBezTo>
                  <a:pt x="12310" y="13582"/>
                  <a:pt x="12351" y="13580"/>
                  <a:pt x="12389" y="13541"/>
                </a:cubicBezTo>
                <a:cubicBezTo>
                  <a:pt x="12399" y="13531"/>
                  <a:pt x="12404" y="13521"/>
                  <a:pt x="12404" y="13513"/>
                </a:cubicBezTo>
                <a:cubicBezTo>
                  <a:pt x="12392" y="13414"/>
                  <a:pt x="12421" y="13328"/>
                  <a:pt x="12491" y="13255"/>
                </a:cubicBezTo>
                <a:close/>
                <a:moveTo>
                  <a:pt x="9935" y="13704"/>
                </a:moveTo>
                <a:cubicBezTo>
                  <a:pt x="9938" y="13704"/>
                  <a:pt x="9939" y="13718"/>
                  <a:pt x="9939" y="13745"/>
                </a:cubicBezTo>
                <a:cubicBezTo>
                  <a:pt x="9939" y="13771"/>
                  <a:pt x="9933" y="13789"/>
                  <a:pt x="9921" y="13801"/>
                </a:cubicBezTo>
                <a:cubicBezTo>
                  <a:pt x="9904" y="13817"/>
                  <a:pt x="9896" y="13825"/>
                  <a:pt x="9896" y="13827"/>
                </a:cubicBezTo>
                <a:lnTo>
                  <a:pt x="9830" y="13827"/>
                </a:lnTo>
                <a:cubicBezTo>
                  <a:pt x="9845" y="13789"/>
                  <a:pt x="9858" y="13763"/>
                  <a:pt x="9870" y="13748"/>
                </a:cubicBezTo>
                <a:cubicBezTo>
                  <a:pt x="9885" y="13731"/>
                  <a:pt x="9905" y="13719"/>
                  <a:pt x="9932" y="13712"/>
                </a:cubicBezTo>
                <a:cubicBezTo>
                  <a:pt x="9932" y="13712"/>
                  <a:pt x="9935" y="13704"/>
                  <a:pt x="9935" y="13704"/>
                </a:cubicBezTo>
                <a:close/>
                <a:moveTo>
                  <a:pt x="18900" y="12797"/>
                </a:moveTo>
                <a:cubicBezTo>
                  <a:pt x="18875" y="12797"/>
                  <a:pt x="18875" y="12799"/>
                  <a:pt x="18900" y="12801"/>
                </a:cubicBezTo>
                <a:cubicBezTo>
                  <a:pt x="18900" y="12800"/>
                  <a:pt x="18900" y="12799"/>
                  <a:pt x="18900" y="12797"/>
                </a:cubicBezTo>
                <a:close/>
                <a:moveTo>
                  <a:pt x="2143" y="2300"/>
                </a:moveTo>
                <a:cubicBezTo>
                  <a:pt x="2149" y="2302"/>
                  <a:pt x="2154" y="2304"/>
                  <a:pt x="2157" y="2307"/>
                </a:cubicBezTo>
                <a:cubicBezTo>
                  <a:pt x="2170" y="2315"/>
                  <a:pt x="2180" y="2326"/>
                  <a:pt x="2190" y="2340"/>
                </a:cubicBezTo>
                <a:cubicBezTo>
                  <a:pt x="2214" y="2371"/>
                  <a:pt x="2223" y="2415"/>
                  <a:pt x="2215" y="2473"/>
                </a:cubicBezTo>
                <a:cubicBezTo>
                  <a:pt x="2213" y="2490"/>
                  <a:pt x="2206" y="2504"/>
                  <a:pt x="2194" y="2516"/>
                </a:cubicBezTo>
                <a:cubicBezTo>
                  <a:pt x="2182" y="2530"/>
                  <a:pt x="2168" y="2544"/>
                  <a:pt x="2154" y="2557"/>
                </a:cubicBezTo>
                <a:cubicBezTo>
                  <a:pt x="2134" y="2574"/>
                  <a:pt x="2112" y="2592"/>
                  <a:pt x="2089" y="2611"/>
                </a:cubicBezTo>
                <a:cubicBezTo>
                  <a:pt x="2060" y="2632"/>
                  <a:pt x="2029" y="2654"/>
                  <a:pt x="1995" y="2677"/>
                </a:cubicBezTo>
                <a:cubicBezTo>
                  <a:pt x="1786" y="2817"/>
                  <a:pt x="1599" y="2976"/>
                  <a:pt x="1434" y="3154"/>
                </a:cubicBezTo>
                <a:cubicBezTo>
                  <a:pt x="1415" y="3174"/>
                  <a:pt x="1397" y="3194"/>
                  <a:pt x="1379" y="3214"/>
                </a:cubicBezTo>
                <a:cubicBezTo>
                  <a:pt x="1355" y="3239"/>
                  <a:pt x="1334" y="3266"/>
                  <a:pt x="1314" y="3293"/>
                </a:cubicBezTo>
                <a:cubicBezTo>
                  <a:pt x="1268" y="3356"/>
                  <a:pt x="1219" y="3399"/>
                  <a:pt x="1166" y="3421"/>
                </a:cubicBezTo>
                <a:cubicBezTo>
                  <a:pt x="1151" y="3428"/>
                  <a:pt x="1144" y="3435"/>
                  <a:pt x="1144" y="3444"/>
                </a:cubicBezTo>
                <a:cubicBezTo>
                  <a:pt x="1144" y="3476"/>
                  <a:pt x="1125" y="3501"/>
                  <a:pt x="1086" y="3518"/>
                </a:cubicBezTo>
                <a:cubicBezTo>
                  <a:pt x="1031" y="3542"/>
                  <a:pt x="991" y="3566"/>
                  <a:pt x="967" y="3592"/>
                </a:cubicBezTo>
                <a:cubicBezTo>
                  <a:pt x="931" y="3635"/>
                  <a:pt x="899" y="3670"/>
                  <a:pt x="873" y="3699"/>
                </a:cubicBezTo>
                <a:cubicBezTo>
                  <a:pt x="771" y="3813"/>
                  <a:pt x="660" y="3922"/>
                  <a:pt x="540" y="4026"/>
                </a:cubicBezTo>
                <a:cubicBezTo>
                  <a:pt x="467" y="4089"/>
                  <a:pt x="385" y="4125"/>
                  <a:pt x="294" y="4134"/>
                </a:cubicBezTo>
                <a:cubicBezTo>
                  <a:pt x="339" y="4079"/>
                  <a:pt x="378" y="4029"/>
                  <a:pt x="409" y="3983"/>
                </a:cubicBezTo>
                <a:cubicBezTo>
                  <a:pt x="417" y="3973"/>
                  <a:pt x="425" y="3962"/>
                  <a:pt x="435" y="3952"/>
                </a:cubicBezTo>
                <a:cubicBezTo>
                  <a:pt x="461" y="3920"/>
                  <a:pt x="491" y="3889"/>
                  <a:pt x="525" y="3860"/>
                </a:cubicBezTo>
                <a:cubicBezTo>
                  <a:pt x="540" y="3847"/>
                  <a:pt x="553" y="3833"/>
                  <a:pt x="565" y="3819"/>
                </a:cubicBezTo>
                <a:cubicBezTo>
                  <a:pt x="577" y="3807"/>
                  <a:pt x="589" y="3796"/>
                  <a:pt x="601" y="3786"/>
                </a:cubicBezTo>
                <a:cubicBezTo>
                  <a:pt x="654" y="3744"/>
                  <a:pt x="695" y="3698"/>
                  <a:pt x="724" y="3648"/>
                </a:cubicBezTo>
                <a:cubicBezTo>
                  <a:pt x="750" y="3604"/>
                  <a:pt x="785" y="3561"/>
                  <a:pt x="829" y="3519"/>
                </a:cubicBezTo>
                <a:cubicBezTo>
                  <a:pt x="873" y="3477"/>
                  <a:pt x="926" y="3437"/>
                  <a:pt x="988" y="3398"/>
                </a:cubicBezTo>
                <a:cubicBezTo>
                  <a:pt x="1008" y="3386"/>
                  <a:pt x="1023" y="3373"/>
                  <a:pt x="1036" y="3359"/>
                </a:cubicBezTo>
                <a:cubicBezTo>
                  <a:pt x="1048" y="3348"/>
                  <a:pt x="1060" y="3336"/>
                  <a:pt x="1072" y="3324"/>
                </a:cubicBezTo>
                <a:cubicBezTo>
                  <a:pt x="1084" y="3310"/>
                  <a:pt x="1097" y="3296"/>
                  <a:pt x="1112" y="3283"/>
                </a:cubicBezTo>
                <a:cubicBezTo>
                  <a:pt x="1167" y="3232"/>
                  <a:pt x="1219" y="3182"/>
                  <a:pt x="1267" y="3135"/>
                </a:cubicBezTo>
                <a:cubicBezTo>
                  <a:pt x="1282" y="3119"/>
                  <a:pt x="1299" y="3107"/>
                  <a:pt x="1318" y="3096"/>
                </a:cubicBezTo>
                <a:cubicBezTo>
                  <a:pt x="1340" y="3086"/>
                  <a:pt x="1358" y="3065"/>
                  <a:pt x="1372" y="3032"/>
                </a:cubicBezTo>
                <a:cubicBezTo>
                  <a:pt x="1403" y="2952"/>
                  <a:pt x="1443" y="2886"/>
                  <a:pt x="1492" y="2833"/>
                </a:cubicBezTo>
                <a:cubicBezTo>
                  <a:pt x="1501" y="2823"/>
                  <a:pt x="1507" y="2813"/>
                  <a:pt x="1510" y="2803"/>
                </a:cubicBezTo>
                <a:cubicBezTo>
                  <a:pt x="1529" y="2748"/>
                  <a:pt x="1559" y="2707"/>
                  <a:pt x="1600" y="2680"/>
                </a:cubicBezTo>
                <a:cubicBezTo>
                  <a:pt x="1694" y="2617"/>
                  <a:pt x="1788" y="2556"/>
                  <a:pt x="1882" y="2496"/>
                </a:cubicBezTo>
                <a:cubicBezTo>
                  <a:pt x="1940" y="2460"/>
                  <a:pt x="1981" y="2429"/>
                  <a:pt x="2005" y="2401"/>
                </a:cubicBezTo>
                <a:cubicBezTo>
                  <a:pt x="2039" y="2364"/>
                  <a:pt x="2085" y="2330"/>
                  <a:pt x="2143" y="2300"/>
                </a:cubicBezTo>
                <a:close/>
                <a:moveTo>
                  <a:pt x="7033" y="329"/>
                </a:moveTo>
                <a:cubicBezTo>
                  <a:pt x="7052" y="334"/>
                  <a:pt x="7069" y="340"/>
                  <a:pt x="7085" y="347"/>
                </a:cubicBezTo>
                <a:cubicBezTo>
                  <a:pt x="7101" y="354"/>
                  <a:pt x="7115" y="361"/>
                  <a:pt x="7129" y="370"/>
                </a:cubicBezTo>
                <a:cubicBezTo>
                  <a:pt x="7151" y="385"/>
                  <a:pt x="7164" y="371"/>
                  <a:pt x="7170" y="329"/>
                </a:cubicBezTo>
                <a:cubicBezTo>
                  <a:pt x="7287" y="313"/>
                  <a:pt x="7348" y="337"/>
                  <a:pt x="7355" y="403"/>
                </a:cubicBezTo>
                <a:cubicBezTo>
                  <a:pt x="7355" y="429"/>
                  <a:pt x="7360" y="454"/>
                  <a:pt x="7369" y="478"/>
                </a:cubicBezTo>
                <a:cubicBezTo>
                  <a:pt x="7389" y="537"/>
                  <a:pt x="7443" y="560"/>
                  <a:pt x="7532" y="547"/>
                </a:cubicBezTo>
                <a:cubicBezTo>
                  <a:pt x="7547" y="545"/>
                  <a:pt x="7561" y="542"/>
                  <a:pt x="7576" y="539"/>
                </a:cubicBezTo>
                <a:cubicBezTo>
                  <a:pt x="7638" y="522"/>
                  <a:pt x="7677" y="527"/>
                  <a:pt x="7691" y="554"/>
                </a:cubicBezTo>
                <a:cubicBezTo>
                  <a:pt x="7708" y="581"/>
                  <a:pt x="7740" y="602"/>
                  <a:pt x="7786" y="616"/>
                </a:cubicBezTo>
                <a:cubicBezTo>
                  <a:pt x="7800" y="619"/>
                  <a:pt x="7811" y="626"/>
                  <a:pt x="7818" y="636"/>
                </a:cubicBezTo>
                <a:cubicBezTo>
                  <a:pt x="7859" y="687"/>
                  <a:pt x="7922" y="720"/>
                  <a:pt x="8006" y="736"/>
                </a:cubicBezTo>
                <a:cubicBezTo>
                  <a:pt x="8055" y="744"/>
                  <a:pt x="8092" y="760"/>
                  <a:pt x="8118" y="784"/>
                </a:cubicBezTo>
                <a:cubicBezTo>
                  <a:pt x="8128" y="794"/>
                  <a:pt x="8140" y="802"/>
                  <a:pt x="8155" y="807"/>
                </a:cubicBezTo>
                <a:cubicBezTo>
                  <a:pt x="8246" y="834"/>
                  <a:pt x="8295" y="879"/>
                  <a:pt x="8299" y="940"/>
                </a:cubicBezTo>
                <a:cubicBezTo>
                  <a:pt x="8304" y="989"/>
                  <a:pt x="8268" y="1018"/>
                  <a:pt x="8191" y="1027"/>
                </a:cubicBezTo>
                <a:cubicBezTo>
                  <a:pt x="8180" y="1028"/>
                  <a:pt x="8170" y="1029"/>
                  <a:pt x="8160" y="1029"/>
                </a:cubicBezTo>
                <a:cubicBezTo>
                  <a:pt x="8157" y="1029"/>
                  <a:pt x="8154" y="1029"/>
                  <a:pt x="8151" y="1029"/>
                </a:cubicBezTo>
                <a:cubicBezTo>
                  <a:pt x="7994" y="1026"/>
                  <a:pt x="7848" y="1037"/>
                  <a:pt x="7713" y="1063"/>
                </a:cubicBezTo>
                <a:cubicBezTo>
                  <a:pt x="7691" y="1066"/>
                  <a:pt x="7675" y="1072"/>
                  <a:pt x="7662" y="1080"/>
                </a:cubicBezTo>
                <a:cubicBezTo>
                  <a:pt x="7641" y="1095"/>
                  <a:pt x="7614" y="1105"/>
                  <a:pt x="7581" y="1110"/>
                </a:cubicBezTo>
                <a:cubicBezTo>
                  <a:pt x="7548" y="1114"/>
                  <a:pt x="7510" y="1114"/>
                  <a:pt x="7467" y="1109"/>
                </a:cubicBezTo>
                <a:cubicBezTo>
                  <a:pt x="7342" y="1093"/>
                  <a:pt x="7221" y="1069"/>
                  <a:pt x="7105" y="1034"/>
                </a:cubicBezTo>
                <a:cubicBezTo>
                  <a:pt x="7091" y="1031"/>
                  <a:pt x="7081" y="1024"/>
                  <a:pt x="7076" y="1014"/>
                </a:cubicBezTo>
                <a:cubicBezTo>
                  <a:pt x="7069" y="999"/>
                  <a:pt x="7059" y="985"/>
                  <a:pt x="7047" y="973"/>
                </a:cubicBezTo>
                <a:cubicBezTo>
                  <a:pt x="7023" y="951"/>
                  <a:pt x="7003" y="924"/>
                  <a:pt x="6986" y="891"/>
                </a:cubicBezTo>
                <a:cubicBezTo>
                  <a:pt x="6978" y="881"/>
                  <a:pt x="6969" y="876"/>
                  <a:pt x="6957" y="876"/>
                </a:cubicBezTo>
                <a:cubicBezTo>
                  <a:pt x="6915" y="876"/>
                  <a:pt x="6883" y="871"/>
                  <a:pt x="6859" y="861"/>
                </a:cubicBezTo>
                <a:cubicBezTo>
                  <a:pt x="6835" y="850"/>
                  <a:pt x="6820" y="834"/>
                  <a:pt x="6816" y="812"/>
                </a:cubicBezTo>
                <a:cubicBezTo>
                  <a:pt x="6813" y="795"/>
                  <a:pt x="6806" y="782"/>
                  <a:pt x="6794" y="771"/>
                </a:cubicBezTo>
                <a:cubicBezTo>
                  <a:pt x="6790" y="768"/>
                  <a:pt x="6787" y="765"/>
                  <a:pt x="6783" y="762"/>
                </a:cubicBezTo>
                <a:cubicBezTo>
                  <a:pt x="6768" y="748"/>
                  <a:pt x="6756" y="731"/>
                  <a:pt x="6749" y="711"/>
                </a:cubicBezTo>
                <a:cubicBezTo>
                  <a:pt x="6733" y="671"/>
                  <a:pt x="6734" y="620"/>
                  <a:pt x="6750" y="559"/>
                </a:cubicBezTo>
                <a:cubicBezTo>
                  <a:pt x="6755" y="541"/>
                  <a:pt x="6760" y="522"/>
                  <a:pt x="6765" y="503"/>
                </a:cubicBezTo>
                <a:cubicBezTo>
                  <a:pt x="6778" y="464"/>
                  <a:pt x="6801" y="429"/>
                  <a:pt x="6832" y="400"/>
                </a:cubicBezTo>
                <a:cubicBezTo>
                  <a:pt x="6863" y="370"/>
                  <a:pt x="6904" y="345"/>
                  <a:pt x="6953" y="324"/>
                </a:cubicBezTo>
                <a:cubicBezTo>
                  <a:pt x="6968" y="318"/>
                  <a:pt x="6994" y="319"/>
                  <a:pt x="7033" y="329"/>
                </a:cubicBezTo>
                <a:close/>
                <a:moveTo>
                  <a:pt x="9351" y="12184"/>
                </a:moveTo>
                <a:cubicBezTo>
                  <a:pt x="9349" y="12183"/>
                  <a:pt x="9347" y="12182"/>
                  <a:pt x="9345" y="12182"/>
                </a:cubicBezTo>
                <a:cubicBezTo>
                  <a:pt x="9331" y="12175"/>
                  <a:pt x="9316" y="12170"/>
                  <a:pt x="9302" y="12166"/>
                </a:cubicBezTo>
                <a:cubicBezTo>
                  <a:pt x="9280" y="12161"/>
                  <a:pt x="9262" y="12154"/>
                  <a:pt x="9248" y="12146"/>
                </a:cubicBezTo>
                <a:cubicBezTo>
                  <a:pt x="9202" y="12117"/>
                  <a:pt x="9137" y="12078"/>
                  <a:pt x="9052" y="12028"/>
                </a:cubicBezTo>
                <a:cubicBezTo>
                  <a:pt x="9040" y="12021"/>
                  <a:pt x="9033" y="12013"/>
                  <a:pt x="9031" y="12003"/>
                </a:cubicBezTo>
                <a:cubicBezTo>
                  <a:pt x="8994" y="11900"/>
                  <a:pt x="9038" y="11850"/>
                  <a:pt x="9161" y="11852"/>
                </a:cubicBezTo>
                <a:cubicBezTo>
                  <a:pt x="9221" y="11852"/>
                  <a:pt x="9280" y="11849"/>
                  <a:pt x="9338" y="11844"/>
                </a:cubicBezTo>
                <a:cubicBezTo>
                  <a:pt x="9365" y="11841"/>
                  <a:pt x="9384" y="11832"/>
                  <a:pt x="9396" y="11819"/>
                </a:cubicBezTo>
                <a:cubicBezTo>
                  <a:pt x="9447" y="11766"/>
                  <a:pt x="9524" y="11731"/>
                  <a:pt x="9628" y="11714"/>
                </a:cubicBezTo>
                <a:cubicBezTo>
                  <a:pt x="9642" y="11712"/>
                  <a:pt x="9657" y="11708"/>
                  <a:pt x="9671" y="11701"/>
                </a:cubicBezTo>
                <a:cubicBezTo>
                  <a:pt x="9693" y="11691"/>
                  <a:pt x="9716" y="11682"/>
                  <a:pt x="9740" y="11676"/>
                </a:cubicBezTo>
                <a:cubicBezTo>
                  <a:pt x="9851" y="11643"/>
                  <a:pt x="9894" y="11566"/>
                  <a:pt x="9870" y="11443"/>
                </a:cubicBezTo>
                <a:cubicBezTo>
                  <a:pt x="9868" y="11426"/>
                  <a:pt x="9865" y="11409"/>
                  <a:pt x="9863" y="11392"/>
                </a:cubicBezTo>
                <a:cubicBezTo>
                  <a:pt x="9853" y="11341"/>
                  <a:pt x="9844" y="11290"/>
                  <a:pt x="9834" y="11239"/>
                </a:cubicBezTo>
                <a:cubicBezTo>
                  <a:pt x="9820" y="11154"/>
                  <a:pt x="9861" y="11111"/>
                  <a:pt x="9957" y="11111"/>
                </a:cubicBezTo>
                <a:cubicBezTo>
                  <a:pt x="10017" y="11111"/>
                  <a:pt x="10077" y="11108"/>
                  <a:pt x="10134" y="11103"/>
                </a:cubicBezTo>
                <a:cubicBezTo>
                  <a:pt x="10161" y="11100"/>
                  <a:pt x="10186" y="11098"/>
                  <a:pt x="10210" y="11098"/>
                </a:cubicBezTo>
                <a:cubicBezTo>
                  <a:pt x="10256" y="11098"/>
                  <a:pt x="10288" y="11084"/>
                  <a:pt x="10305" y="11055"/>
                </a:cubicBezTo>
                <a:cubicBezTo>
                  <a:pt x="10314" y="11041"/>
                  <a:pt x="10325" y="11028"/>
                  <a:pt x="10337" y="11017"/>
                </a:cubicBezTo>
                <a:cubicBezTo>
                  <a:pt x="10361" y="10993"/>
                  <a:pt x="10366" y="10965"/>
                  <a:pt x="10352" y="10932"/>
                </a:cubicBezTo>
                <a:cubicBezTo>
                  <a:pt x="10342" y="10915"/>
                  <a:pt x="10338" y="10898"/>
                  <a:pt x="10341" y="10881"/>
                </a:cubicBezTo>
                <a:cubicBezTo>
                  <a:pt x="10343" y="10827"/>
                  <a:pt x="10325" y="10792"/>
                  <a:pt x="10286" y="10776"/>
                </a:cubicBezTo>
                <a:cubicBezTo>
                  <a:pt x="10248" y="10761"/>
                  <a:pt x="10209" y="10747"/>
                  <a:pt x="10171" y="10733"/>
                </a:cubicBezTo>
                <a:cubicBezTo>
                  <a:pt x="10137" y="10721"/>
                  <a:pt x="10104" y="10708"/>
                  <a:pt x="10073" y="10695"/>
                </a:cubicBezTo>
                <a:cubicBezTo>
                  <a:pt x="9993" y="10661"/>
                  <a:pt x="9919" y="10612"/>
                  <a:pt x="9849" y="10549"/>
                </a:cubicBezTo>
                <a:cubicBezTo>
                  <a:pt x="9797" y="10505"/>
                  <a:pt x="9741" y="10463"/>
                  <a:pt x="9680" y="10425"/>
                </a:cubicBezTo>
                <a:cubicBezTo>
                  <a:pt x="9675" y="10399"/>
                  <a:pt x="9672" y="10372"/>
                  <a:pt x="9671" y="10345"/>
                </a:cubicBezTo>
                <a:cubicBezTo>
                  <a:pt x="9669" y="10242"/>
                  <a:pt x="9672" y="10140"/>
                  <a:pt x="9682" y="10038"/>
                </a:cubicBezTo>
                <a:cubicBezTo>
                  <a:pt x="9689" y="9961"/>
                  <a:pt x="9672" y="9893"/>
                  <a:pt x="9631" y="9834"/>
                </a:cubicBezTo>
                <a:cubicBezTo>
                  <a:pt x="9595" y="9782"/>
                  <a:pt x="9548" y="9754"/>
                  <a:pt x="9490" y="9747"/>
                </a:cubicBezTo>
                <a:cubicBezTo>
                  <a:pt x="9476" y="9745"/>
                  <a:pt x="9462" y="9744"/>
                  <a:pt x="9450" y="9744"/>
                </a:cubicBezTo>
                <a:cubicBezTo>
                  <a:pt x="9373" y="9748"/>
                  <a:pt x="9320" y="9737"/>
                  <a:pt x="9291" y="9714"/>
                </a:cubicBezTo>
                <a:cubicBezTo>
                  <a:pt x="9277" y="9700"/>
                  <a:pt x="9257" y="9692"/>
                  <a:pt x="9233" y="9691"/>
                </a:cubicBezTo>
                <a:cubicBezTo>
                  <a:pt x="9132" y="9682"/>
                  <a:pt x="9093" y="9636"/>
                  <a:pt x="9117" y="9553"/>
                </a:cubicBezTo>
                <a:cubicBezTo>
                  <a:pt x="9122" y="9536"/>
                  <a:pt x="9120" y="9525"/>
                  <a:pt x="9110" y="9522"/>
                </a:cubicBezTo>
                <a:cubicBezTo>
                  <a:pt x="9081" y="9512"/>
                  <a:pt x="9069" y="9488"/>
                  <a:pt x="9074" y="9450"/>
                </a:cubicBezTo>
                <a:cubicBezTo>
                  <a:pt x="9084" y="9391"/>
                  <a:pt x="9084" y="9331"/>
                  <a:pt x="9074" y="9272"/>
                </a:cubicBezTo>
                <a:cubicBezTo>
                  <a:pt x="9072" y="9254"/>
                  <a:pt x="9063" y="9238"/>
                  <a:pt x="9049" y="9223"/>
                </a:cubicBezTo>
                <a:cubicBezTo>
                  <a:pt x="8981" y="9146"/>
                  <a:pt x="8946" y="9060"/>
                  <a:pt x="8944" y="8965"/>
                </a:cubicBezTo>
                <a:cubicBezTo>
                  <a:pt x="8944" y="8948"/>
                  <a:pt x="8939" y="8933"/>
                  <a:pt x="8929" y="8919"/>
                </a:cubicBezTo>
                <a:cubicBezTo>
                  <a:pt x="8893" y="8876"/>
                  <a:pt x="8827" y="8847"/>
                  <a:pt x="8730" y="8830"/>
                </a:cubicBezTo>
                <a:cubicBezTo>
                  <a:pt x="8716" y="8826"/>
                  <a:pt x="8701" y="8823"/>
                  <a:pt x="8687" y="8819"/>
                </a:cubicBezTo>
                <a:cubicBezTo>
                  <a:pt x="8573" y="8797"/>
                  <a:pt x="8454" y="8783"/>
                  <a:pt x="8328" y="8776"/>
                </a:cubicBezTo>
                <a:cubicBezTo>
                  <a:pt x="8256" y="8772"/>
                  <a:pt x="8193" y="8782"/>
                  <a:pt x="8140" y="8804"/>
                </a:cubicBezTo>
                <a:cubicBezTo>
                  <a:pt x="8051" y="8841"/>
                  <a:pt x="7969" y="8887"/>
                  <a:pt x="7894" y="8939"/>
                </a:cubicBezTo>
                <a:cubicBezTo>
                  <a:pt x="7882" y="8948"/>
                  <a:pt x="7869" y="8953"/>
                  <a:pt x="7854" y="8955"/>
                </a:cubicBezTo>
                <a:cubicBezTo>
                  <a:pt x="7729" y="8967"/>
                  <a:pt x="7609" y="8986"/>
                  <a:pt x="7496" y="9013"/>
                </a:cubicBezTo>
                <a:cubicBezTo>
                  <a:pt x="7448" y="9024"/>
                  <a:pt x="7414" y="9042"/>
                  <a:pt x="7395" y="9070"/>
                </a:cubicBezTo>
                <a:cubicBezTo>
                  <a:pt x="7370" y="9105"/>
                  <a:pt x="7334" y="9133"/>
                  <a:pt x="7286" y="9151"/>
                </a:cubicBezTo>
                <a:cubicBezTo>
                  <a:pt x="7187" y="9189"/>
                  <a:pt x="7100" y="9229"/>
                  <a:pt x="7026" y="9272"/>
                </a:cubicBezTo>
                <a:cubicBezTo>
                  <a:pt x="6931" y="9323"/>
                  <a:pt x="6832" y="9380"/>
                  <a:pt x="6729" y="9443"/>
                </a:cubicBezTo>
                <a:cubicBezTo>
                  <a:pt x="6637" y="9499"/>
                  <a:pt x="6542" y="9541"/>
                  <a:pt x="6443" y="9570"/>
                </a:cubicBezTo>
                <a:cubicBezTo>
                  <a:pt x="6397" y="9584"/>
                  <a:pt x="6358" y="9601"/>
                  <a:pt x="6327" y="9622"/>
                </a:cubicBezTo>
                <a:cubicBezTo>
                  <a:pt x="6257" y="9668"/>
                  <a:pt x="6164" y="9688"/>
                  <a:pt x="6048" y="9683"/>
                </a:cubicBezTo>
                <a:cubicBezTo>
                  <a:pt x="6024" y="9681"/>
                  <a:pt x="6008" y="9676"/>
                  <a:pt x="6001" y="9668"/>
                </a:cubicBezTo>
                <a:cubicBezTo>
                  <a:pt x="5948" y="9608"/>
                  <a:pt x="5882" y="9559"/>
                  <a:pt x="5802" y="9522"/>
                </a:cubicBezTo>
                <a:cubicBezTo>
                  <a:pt x="5766" y="9505"/>
                  <a:pt x="5715" y="9494"/>
                  <a:pt x="5650" y="9489"/>
                </a:cubicBezTo>
                <a:cubicBezTo>
                  <a:pt x="5638" y="9489"/>
                  <a:pt x="5625" y="9487"/>
                  <a:pt x="5610" y="9484"/>
                </a:cubicBezTo>
                <a:cubicBezTo>
                  <a:pt x="5548" y="9465"/>
                  <a:pt x="5515" y="9428"/>
                  <a:pt x="5513" y="9374"/>
                </a:cubicBezTo>
                <a:cubicBezTo>
                  <a:pt x="5508" y="9278"/>
                  <a:pt x="5472" y="9200"/>
                  <a:pt x="5404" y="9139"/>
                </a:cubicBezTo>
                <a:cubicBezTo>
                  <a:pt x="5349" y="9089"/>
                  <a:pt x="5250" y="9065"/>
                  <a:pt x="5107" y="9067"/>
                </a:cubicBezTo>
                <a:cubicBezTo>
                  <a:pt x="5083" y="9067"/>
                  <a:pt x="5061" y="9064"/>
                  <a:pt x="5042" y="9057"/>
                </a:cubicBezTo>
                <a:cubicBezTo>
                  <a:pt x="4991" y="9035"/>
                  <a:pt x="4989" y="9004"/>
                  <a:pt x="5035" y="8965"/>
                </a:cubicBezTo>
                <a:cubicBezTo>
                  <a:pt x="5047" y="8956"/>
                  <a:pt x="5055" y="8947"/>
                  <a:pt x="5060" y="8937"/>
                </a:cubicBezTo>
                <a:cubicBezTo>
                  <a:pt x="5067" y="8921"/>
                  <a:pt x="5076" y="8906"/>
                  <a:pt x="5086" y="8891"/>
                </a:cubicBezTo>
                <a:cubicBezTo>
                  <a:pt x="5117" y="8838"/>
                  <a:pt x="5129" y="8778"/>
                  <a:pt x="5122" y="8709"/>
                </a:cubicBezTo>
                <a:cubicBezTo>
                  <a:pt x="5117" y="8663"/>
                  <a:pt x="5088" y="8641"/>
                  <a:pt x="5035" y="8643"/>
                </a:cubicBezTo>
                <a:cubicBezTo>
                  <a:pt x="4989" y="8645"/>
                  <a:pt x="4949" y="8635"/>
                  <a:pt x="4915" y="8615"/>
                </a:cubicBezTo>
                <a:cubicBezTo>
                  <a:pt x="4853" y="8577"/>
                  <a:pt x="4800" y="8546"/>
                  <a:pt x="4756" y="8520"/>
                </a:cubicBezTo>
                <a:cubicBezTo>
                  <a:pt x="4737" y="8510"/>
                  <a:pt x="4725" y="8496"/>
                  <a:pt x="4720" y="8477"/>
                </a:cubicBezTo>
                <a:cubicBezTo>
                  <a:pt x="4705" y="8431"/>
                  <a:pt x="4677" y="8390"/>
                  <a:pt x="4633" y="8354"/>
                </a:cubicBezTo>
                <a:cubicBezTo>
                  <a:pt x="4623" y="8344"/>
                  <a:pt x="4613" y="8339"/>
                  <a:pt x="4601" y="8339"/>
                </a:cubicBezTo>
                <a:cubicBezTo>
                  <a:pt x="4516" y="8339"/>
                  <a:pt x="4469" y="8318"/>
                  <a:pt x="4459" y="8275"/>
                </a:cubicBezTo>
                <a:cubicBezTo>
                  <a:pt x="4457" y="8258"/>
                  <a:pt x="4461" y="8243"/>
                  <a:pt x="4470" y="8229"/>
                </a:cubicBezTo>
                <a:cubicBezTo>
                  <a:pt x="4494" y="8198"/>
                  <a:pt x="4498" y="8154"/>
                  <a:pt x="4481" y="8096"/>
                </a:cubicBezTo>
                <a:cubicBezTo>
                  <a:pt x="4462" y="8023"/>
                  <a:pt x="4405" y="7955"/>
                  <a:pt x="4311" y="7892"/>
                </a:cubicBezTo>
                <a:cubicBezTo>
                  <a:pt x="4299" y="7883"/>
                  <a:pt x="4293" y="7875"/>
                  <a:pt x="4293" y="7866"/>
                </a:cubicBezTo>
                <a:cubicBezTo>
                  <a:pt x="4286" y="7820"/>
                  <a:pt x="4255" y="7793"/>
                  <a:pt x="4202" y="7785"/>
                </a:cubicBezTo>
                <a:cubicBezTo>
                  <a:pt x="4094" y="7769"/>
                  <a:pt x="3984" y="7730"/>
                  <a:pt x="3873" y="7667"/>
                </a:cubicBezTo>
                <a:cubicBezTo>
                  <a:pt x="3851" y="7655"/>
                  <a:pt x="3834" y="7642"/>
                  <a:pt x="3822" y="7629"/>
                </a:cubicBezTo>
                <a:cubicBezTo>
                  <a:pt x="3789" y="7591"/>
                  <a:pt x="3757" y="7561"/>
                  <a:pt x="3728" y="7537"/>
                </a:cubicBezTo>
                <a:cubicBezTo>
                  <a:pt x="3579" y="7412"/>
                  <a:pt x="3470" y="7291"/>
                  <a:pt x="3403" y="7174"/>
                </a:cubicBezTo>
                <a:cubicBezTo>
                  <a:pt x="3393" y="7157"/>
                  <a:pt x="3387" y="7139"/>
                  <a:pt x="3384" y="7120"/>
                </a:cubicBezTo>
                <a:cubicBezTo>
                  <a:pt x="3375" y="7079"/>
                  <a:pt x="3375" y="7039"/>
                  <a:pt x="3384" y="6998"/>
                </a:cubicBezTo>
                <a:cubicBezTo>
                  <a:pt x="3387" y="6987"/>
                  <a:pt x="3391" y="6977"/>
                  <a:pt x="3395" y="6967"/>
                </a:cubicBezTo>
                <a:cubicBezTo>
                  <a:pt x="3415" y="6926"/>
                  <a:pt x="3429" y="6884"/>
                  <a:pt x="3439" y="6842"/>
                </a:cubicBezTo>
                <a:cubicBezTo>
                  <a:pt x="3441" y="6825"/>
                  <a:pt x="3447" y="6809"/>
                  <a:pt x="3457" y="6796"/>
                </a:cubicBezTo>
                <a:cubicBezTo>
                  <a:pt x="3476" y="6770"/>
                  <a:pt x="3489" y="6735"/>
                  <a:pt x="3497" y="6688"/>
                </a:cubicBezTo>
                <a:cubicBezTo>
                  <a:pt x="3497" y="6680"/>
                  <a:pt x="3498" y="6671"/>
                  <a:pt x="3500" y="6660"/>
                </a:cubicBezTo>
                <a:cubicBezTo>
                  <a:pt x="3510" y="6611"/>
                  <a:pt x="3510" y="6561"/>
                  <a:pt x="3500" y="6510"/>
                </a:cubicBezTo>
                <a:cubicBezTo>
                  <a:pt x="3498" y="6493"/>
                  <a:pt x="3494" y="6475"/>
                  <a:pt x="3489" y="6456"/>
                </a:cubicBezTo>
                <a:cubicBezTo>
                  <a:pt x="3482" y="6432"/>
                  <a:pt x="3475" y="6408"/>
                  <a:pt x="3468" y="6385"/>
                </a:cubicBezTo>
                <a:cubicBezTo>
                  <a:pt x="3463" y="6374"/>
                  <a:pt x="3458" y="6364"/>
                  <a:pt x="3453" y="6354"/>
                </a:cubicBezTo>
                <a:cubicBezTo>
                  <a:pt x="3446" y="6338"/>
                  <a:pt x="3436" y="6327"/>
                  <a:pt x="3424" y="6318"/>
                </a:cubicBezTo>
                <a:cubicBezTo>
                  <a:pt x="3328" y="6243"/>
                  <a:pt x="3249" y="6162"/>
                  <a:pt x="3189" y="6075"/>
                </a:cubicBezTo>
                <a:cubicBezTo>
                  <a:pt x="3177" y="6058"/>
                  <a:pt x="3161" y="6045"/>
                  <a:pt x="3142" y="6034"/>
                </a:cubicBezTo>
                <a:cubicBezTo>
                  <a:pt x="3065" y="5999"/>
                  <a:pt x="2984" y="5962"/>
                  <a:pt x="2899" y="5925"/>
                </a:cubicBezTo>
                <a:cubicBezTo>
                  <a:pt x="2875" y="5914"/>
                  <a:pt x="2856" y="5902"/>
                  <a:pt x="2842" y="5889"/>
                </a:cubicBezTo>
                <a:cubicBezTo>
                  <a:pt x="2733" y="5790"/>
                  <a:pt x="2621" y="5723"/>
                  <a:pt x="2505" y="5687"/>
                </a:cubicBezTo>
                <a:cubicBezTo>
                  <a:pt x="2491" y="5682"/>
                  <a:pt x="2477" y="5679"/>
                  <a:pt x="2465" y="5679"/>
                </a:cubicBezTo>
                <a:cubicBezTo>
                  <a:pt x="2400" y="5674"/>
                  <a:pt x="2351" y="5663"/>
                  <a:pt x="2317" y="5646"/>
                </a:cubicBezTo>
                <a:cubicBezTo>
                  <a:pt x="2295" y="5634"/>
                  <a:pt x="2276" y="5621"/>
                  <a:pt x="2259" y="5608"/>
                </a:cubicBezTo>
                <a:cubicBezTo>
                  <a:pt x="2240" y="5596"/>
                  <a:pt x="2221" y="5583"/>
                  <a:pt x="2205" y="5569"/>
                </a:cubicBezTo>
                <a:cubicBezTo>
                  <a:pt x="2173" y="5549"/>
                  <a:pt x="2149" y="5523"/>
                  <a:pt x="2132" y="5490"/>
                </a:cubicBezTo>
                <a:cubicBezTo>
                  <a:pt x="2125" y="5480"/>
                  <a:pt x="2119" y="5470"/>
                  <a:pt x="2114" y="5460"/>
                </a:cubicBezTo>
                <a:cubicBezTo>
                  <a:pt x="2107" y="5444"/>
                  <a:pt x="2098" y="5430"/>
                  <a:pt x="2089" y="5416"/>
                </a:cubicBezTo>
                <a:cubicBezTo>
                  <a:pt x="1995" y="5299"/>
                  <a:pt x="1844" y="5209"/>
                  <a:pt x="1636" y="5148"/>
                </a:cubicBezTo>
                <a:cubicBezTo>
                  <a:pt x="1622" y="5145"/>
                  <a:pt x="1607" y="5139"/>
                  <a:pt x="1593" y="5133"/>
                </a:cubicBezTo>
                <a:cubicBezTo>
                  <a:pt x="1535" y="5105"/>
                  <a:pt x="1479" y="5076"/>
                  <a:pt x="1426" y="5046"/>
                </a:cubicBezTo>
                <a:cubicBezTo>
                  <a:pt x="1407" y="5034"/>
                  <a:pt x="1389" y="5026"/>
                  <a:pt x="1372" y="5023"/>
                </a:cubicBezTo>
                <a:cubicBezTo>
                  <a:pt x="1293" y="5009"/>
                  <a:pt x="1210" y="5002"/>
                  <a:pt x="1126" y="5002"/>
                </a:cubicBezTo>
                <a:cubicBezTo>
                  <a:pt x="1102" y="5002"/>
                  <a:pt x="1080" y="4999"/>
                  <a:pt x="1061" y="4992"/>
                </a:cubicBezTo>
                <a:cubicBezTo>
                  <a:pt x="1017" y="4975"/>
                  <a:pt x="956" y="4973"/>
                  <a:pt x="876" y="4987"/>
                </a:cubicBezTo>
                <a:cubicBezTo>
                  <a:pt x="862" y="4989"/>
                  <a:pt x="847" y="4990"/>
                  <a:pt x="833" y="4992"/>
                </a:cubicBezTo>
                <a:cubicBezTo>
                  <a:pt x="763" y="4999"/>
                  <a:pt x="692" y="5005"/>
                  <a:pt x="619" y="5010"/>
                </a:cubicBezTo>
                <a:cubicBezTo>
                  <a:pt x="581" y="5013"/>
                  <a:pt x="543" y="5017"/>
                  <a:pt x="505" y="5023"/>
                </a:cubicBezTo>
                <a:cubicBezTo>
                  <a:pt x="509" y="5016"/>
                  <a:pt x="511" y="5010"/>
                  <a:pt x="511" y="5002"/>
                </a:cubicBezTo>
                <a:cubicBezTo>
                  <a:pt x="487" y="4970"/>
                  <a:pt x="448" y="4968"/>
                  <a:pt x="395" y="4997"/>
                </a:cubicBezTo>
                <a:cubicBezTo>
                  <a:pt x="380" y="5005"/>
                  <a:pt x="365" y="5014"/>
                  <a:pt x="350" y="5023"/>
                </a:cubicBezTo>
                <a:cubicBezTo>
                  <a:pt x="298" y="5052"/>
                  <a:pt x="247" y="5083"/>
                  <a:pt x="196" y="5115"/>
                </a:cubicBezTo>
                <a:cubicBezTo>
                  <a:pt x="165" y="5133"/>
                  <a:pt x="125" y="5145"/>
                  <a:pt x="76" y="5150"/>
                </a:cubicBezTo>
                <a:cubicBezTo>
                  <a:pt x="23" y="5157"/>
                  <a:pt x="-2" y="5142"/>
                  <a:pt x="0" y="5104"/>
                </a:cubicBezTo>
                <a:cubicBezTo>
                  <a:pt x="5" y="5048"/>
                  <a:pt x="34" y="5000"/>
                  <a:pt x="87" y="4959"/>
                </a:cubicBezTo>
                <a:cubicBezTo>
                  <a:pt x="121" y="4933"/>
                  <a:pt x="152" y="4897"/>
                  <a:pt x="181" y="4849"/>
                </a:cubicBezTo>
                <a:cubicBezTo>
                  <a:pt x="218" y="4788"/>
                  <a:pt x="237" y="4711"/>
                  <a:pt x="239" y="4619"/>
                </a:cubicBezTo>
                <a:cubicBezTo>
                  <a:pt x="239" y="4611"/>
                  <a:pt x="242" y="4601"/>
                  <a:pt x="247" y="4591"/>
                </a:cubicBezTo>
                <a:cubicBezTo>
                  <a:pt x="266" y="4551"/>
                  <a:pt x="289" y="4512"/>
                  <a:pt x="315" y="4475"/>
                </a:cubicBezTo>
                <a:cubicBezTo>
                  <a:pt x="373" y="4395"/>
                  <a:pt x="448" y="4322"/>
                  <a:pt x="540" y="4256"/>
                </a:cubicBezTo>
                <a:cubicBezTo>
                  <a:pt x="571" y="4234"/>
                  <a:pt x="600" y="4203"/>
                  <a:pt x="627" y="4162"/>
                </a:cubicBezTo>
                <a:cubicBezTo>
                  <a:pt x="634" y="4151"/>
                  <a:pt x="643" y="4142"/>
                  <a:pt x="656" y="4134"/>
                </a:cubicBezTo>
                <a:cubicBezTo>
                  <a:pt x="713" y="4089"/>
                  <a:pt x="771" y="4029"/>
                  <a:pt x="829" y="3952"/>
                </a:cubicBezTo>
                <a:cubicBezTo>
                  <a:pt x="887" y="3874"/>
                  <a:pt x="929" y="3799"/>
                  <a:pt x="956" y="3727"/>
                </a:cubicBezTo>
                <a:cubicBezTo>
                  <a:pt x="961" y="3717"/>
                  <a:pt x="969" y="3709"/>
                  <a:pt x="981" y="3702"/>
                </a:cubicBezTo>
                <a:cubicBezTo>
                  <a:pt x="1029" y="3675"/>
                  <a:pt x="1080" y="3652"/>
                  <a:pt x="1133" y="3633"/>
                </a:cubicBezTo>
                <a:cubicBezTo>
                  <a:pt x="1191" y="3611"/>
                  <a:pt x="1225" y="3582"/>
                  <a:pt x="1235" y="3546"/>
                </a:cubicBezTo>
                <a:cubicBezTo>
                  <a:pt x="1249" y="3505"/>
                  <a:pt x="1276" y="3463"/>
                  <a:pt x="1314" y="3421"/>
                </a:cubicBezTo>
                <a:cubicBezTo>
                  <a:pt x="1425" y="3298"/>
                  <a:pt x="1547" y="3189"/>
                  <a:pt x="1680" y="3094"/>
                </a:cubicBezTo>
                <a:cubicBezTo>
                  <a:pt x="1733" y="3058"/>
                  <a:pt x="1776" y="3021"/>
                  <a:pt x="1810" y="2981"/>
                </a:cubicBezTo>
                <a:cubicBezTo>
                  <a:pt x="1851" y="2932"/>
                  <a:pt x="1898" y="2872"/>
                  <a:pt x="1951" y="2803"/>
                </a:cubicBezTo>
                <a:cubicBezTo>
                  <a:pt x="2002" y="2738"/>
                  <a:pt x="2059" y="2683"/>
                  <a:pt x="2121" y="2639"/>
                </a:cubicBezTo>
                <a:cubicBezTo>
                  <a:pt x="2123" y="2638"/>
                  <a:pt x="2124" y="2637"/>
                  <a:pt x="2125" y="2636"/>
                </a:cubicBezTo>
                <a:cubicBezTo>
                  <a:pt x="2136" y="2629"/>
                  <a:pt x="2147" y="2621"/>
                  <a:pt x="2157" y="2613"/>
                </a:cubicBezTo>
                <a:cubicBezTo>
                  <a:pt x="2170" y="2605"/>
                  <a:pt x="2186" y="2602"/>
                  <a:pt x="2208" y="2606"/>
                </a:cubicBezTo>
                <a:cubicBezTo>
                  <a:pt x="2235" y="2611"/>
                  <a:pt x="2261" y="2616"/>
                  <a:pt x="2288" y="2621"/>
                </a:cubicBezTo>
                <a:cubicBezTo>
                  <a:pt x="2423" y="2647"/>
                  <a:pt x="2496" y="2614"/>
                  <a:pt x="2509" y="2524"/>
                </a:cubicBezTo>
                <a:cubicBezTo>
                  <a:pt x="2516" y="2481"/>
                  <a:pt x="2522" y="2439"/>
                  <a:pt x="2527" y="2396"/>
                </a:cubicBezTo>
                <a:cubicBezTo>
                  <a:pt x="2534" y="2345"/>
                  <a:pt x="2533" y="2295"/>
                  <a:pt x="2523" y="2246"/>
                </a:cubicBezTo>
                <a:cubicBezTo>
                  <a:pt x="2521" y="2235"/>
                  <a:pt x="2516" y="2225"/>
                  <a:pt x="2509" y="2215"/>
                </a:cubicBezTo>
                <a:cubicBezTo>
                  <a:pt x="2470" y="2155"/>
                  <a:pt x="2417" y="2108"/>
                  <a:pt x="2349" y="2072"/>
                </a:cubicBezTo>
                <a:cubicBezTo>
                  <a:pt x="2313" y="2053"/>
                  <a:pt x="2297" y="2016"/>
                  <a:pt x="2302" y="1962"/>
                </a:cubicBezTo>
                <a:cubicBezTo>
                  <a:pt x="2306" y="1935"/>
                  <a:pt x="2315" y="1912"/>
                  <a:pt x="2329" y="1893"/>
                </a:cubicBezTo>
                <a:cubicBezTo>
                  <a:pt x="2343" y="1874"/>
                  <a:pt x="2361" y="1860"/>
                  <a:pt x="2386" y="1850"/>
                </a:cubicBezTo>
                <a:cubicBezTo>
                  <a:pt x="2460" y="1821"/>
                  <a:pt x="2535" y="1790"/>
                  <a:pt x="2610" y="1758"/>
                </a:cubicBezTo>
                <a:cubicBezTo>
                  <a:pt x="2682" y="1729"/>
                  <a:pt x="2766" y="1723"/>
                  <a:pt x="2860" y="1740"/>
                </a:cubicBezTo>
                <a:cubicBezTo>
                  <a:pt x="2874" y="1743"/>
                  <a:pt x="2886" y="1750"/>
                  <a:pt x="2896" y="1760"/>
                </a:cubicBezTo>
                <a:cubicBezTo>
                  <a:pt x="2922" y="1792"/>
                  <a:pt x="2954" y="1821"/>
                  <a:pt x="2990" y="1847"/>
                </a:cubicBezTo>
                <a:cubicBezTo>
                  <a:pt x="3002" y="1855"/>
                  <a:pt x="3008" y="1868"/>
                  <a:pt x="3008" y="1885"/>
                </a:cubicBezTo>
                <a:cubicBezTo>
                  <a:pt x="3006" y="1950"/>
                  <a:pt x="3054" y="1980"/>
                  <a:pt x="3153" y="1975"/>
                </a:cubicBezTo>
                <a:cubicBezTo>
                  <a:pt x="3165" y="1975"/>
                  <a:pt x="3177" y="1970"/>
                  <a:pt x="3189" y="1962"/>
                </a:cubicBezTo>
                <a:cubicBezTo>
                  <a:pt x="3271" y="1909"/>
                  <a:pt x="3337" y="1855"/>
                  <a:pt x="3388" y="1801"/>
                </a:cubicBezTo>
                <a:cubicBezTo>
                  <a:pt x="3400" y="1789"/>
                  <a:pt x="3411" y="1776"/>
                  <a:pt x="3421" y="1763"/>
                </a:cubicBezTo>
                <a:cubicBezTo>
                  <a:pt x="3459" y="1708"/>
                  <a:pt x="3511" y="1661"/>
                  <a:pt x="3576" y="1622"/>
                </a:cubicBezTo>
                <a:cubicBezTo>
                  <a:pt x="3596" y="1610"/>
                  <a:pt x="3615" y="1600"/>
                  <a:pt x="3634" y="1591"/>
                </a:cubicBezTo>
                <a:cubicBezTo>
                  <a:pt x="3651" y="1583"/>
                  <a:pt x="3668" y="1574"/>
                  <a:pt x="3685" y="1566"/>
                </a:cubicBezTo>
                <a:cubicBezTo>
                  <a:pt x="3704" y="1557"/>
                  <a:pt x="3723" y="1547"/>
                  <a:pt x="3743" y="1535"/>
                </a:cubicBezTo>
                <a:cubicBezTo>
                  <a:pt x="3808" y="1496"/>
                  <a:pt x="3873" y="1457"/>
                  <a:pt x="3938" y="1418"/>
                </a:cubicBezTo>
                <a:cubicBezTo>
                  <a:pt x="3958" y="1406"/>
                  <a:pt x="3974" y="1391"/>
                  <a:pt x="3989" y="1374"/>
                </a:cubicBezTo>
                <a:cubicBezTo>
                  <a:pt x="4049" y="1299"/>
                  <a:pt x="4131" y="1253"/>
                  <a:pt x="4235" y="1236"/>
                </a:cubicBezTo>
                <a:cubicBezTo>
                  <a:pt x="4249" y="1235"/>
                  <a:pt x="4263" y="1230"/>
                  <a:pt x="4275" y="1221"/>
                </a:cubicBezTo>
                <a:cubicBezTo>
                  <a:pt x="4321" y="1195"/>
                  <a:pt x="4350" y="1154"/>
                  <a:pt x="4362" y="1096"/>
                </a:cubicBezTo>
                <a:cubicBezTo>
                  <a:pt x="4364" y="1086"/>
                  <a:pt x="4373" y="1077"/>
                  <a:pt x="4387" y="1070"/>
                </a:cubicBezTo>
                <a:cubicBezTo>
                  <a:pt x="4421" y="1052"/>
                  <a:pt x="4449" y="1027"/>
                  <a:pt x="4470" y="996"/>
                </a:cubicBezTo>
                <a:cubicBezTo>
                  <a:pt x="4526" y="918"/>
                  <a:pt x="4582" y="857"/>
                  <a:pt x="4640" y="815"/>
                </a:cubicBezTo>
                <a:cubicBezTo>
                  <a:pt x="4710" y="762"/>
                  <a:pt x="4786" y="714"/>
                  <a:pt x="4868" y="672"/>
                </a:cubicBezTo>
                <a:cubicBezTo>
                  <a:pt x="4883" y="663"/>
                  <a:pt x="4902" y="658"/>
                  <a:pt x="4926" y="656"/>
                </a:cubicBezTo>
                <a:cubicBezTo>
                  <a:pt x="5080" y="650"/>
                  <a:pt x="5217" y="671"/>
                  <a:pt x="5339" y="720"/>
                </a:cubicBezTo>
                <a:cubicBezTo>
                  <a:pt x="5347" y="723"/>
                  <a:pt x="5356" y="727"/>
                  <a:pt x="5364" y="730"/>
                </a:cubicBezTo>
                <a:cubicBezTo>
                  <a:pt x="5459" y="771"/>
                  <a:pt x="5553" y="812"/>
                  <a:pt x="5648" y="853"/>
                </a:cubicBezTo>
                <a:cubicBezTo>
                  <a:pt x="5733" y="890"/>
                  <a:pt x="5818" y="928"/>
                  <a:pt x="5903" y="966"/>
                </a:cubicBezTo>
                <a:cubicBezTo>
                  <a:pt x="5957" y="988"/>
                  <a:pt x="6000" y="1014"/>
                  <a:pt x="6032" y="1043"/>
                </a:cubicBezTo>
                <a:cubicBezTo>
                  <a:pt x="6041" y="1052"/>
                  <a:pt x="6050" y="1060"/>
                  <a:pt x="6057" y="1069"/>
                </a:cubicBezTo>
                <a:cubicBezTo>
                  <a:pt x="6076" y="1091"/>
                  <a:pt x="6090" y="1116"/>
                  <a:pt x="6099" y="1142"/>
                </a:cubicBezTo>
                <a:cubicBezTo>
                  <a:pt x="6101" y="1152"/>
                  <a:pt x="6110" y="1159"/>
                  <a:pt x="6124" y="1162"/>
                </a:cubicBezTo>
                <a:cubicBezTo>
                  <a:pt x="6150" y="1167"/>
                  <a:pt x="6164" y="1175"/>
                  <a:pt x="6166" y="1187"/>
                </a:cubicBezTo>
                <a:cubicBezTo>
                  <a:pt x="6168" y="1198"/>
                  <a:pt x="6159" y="1213"/>
                  <a:pt x="6139" y="1231"/>
                </a:cubicBezTo>
                <a:cubicBezTo>
                  <a:pt x="6127" y="1241"/>
                  <a:pt x="6115" y="1253"/>
                  <a:pt x="6103" y="1264"/>
                </a:cubicBezTo>
                <a:cubicBezTo>
                  <a:pt x="6090" y="1278"/>
                  <a:pt x="6072" y="1288"/>
                  <a:pt x="6048" y="1295"/>
                </a:cubicBezTo>
                <a:cubicBezTo>
                  <a:pt x="5918" y="1324"/>
                  <a:pt x="5786" y="1353"/>
                  <a:pt x="5654" y="1382"/>
                </a:cubicBezTo>
                <a:cubicBezTo>
                  <a:pt x="5584" y="1397"/>
                  <a:pt x="5538" y="1430"/>
                  <a:pt x="5516" y="1479"/>
                </a:cubicBezTo>
                <a:cubicBezTo>
                  <a:pt x="5492" y="1540"/>
                  <a:pt x="5501" y="1582"/>
                  <a:pt x="5542" y="1604"/>
                </a:cubicBezTo>
                <a:cubicBezTo>
                  <a:pt x="5597" y="1584"/>
                  <a:pt x="5636" y="1551"/>
                  <a:pt x="5657" y="1505"/>
                </a:cubicBezTo>
                <a:cubicBezTo>
                  <a:pt x="5684" y="1452"/>
                  <a:pt x="5721" y="1438"/>
                  <a:pt x="5770" y="1464"/>
                </a:cubicBezTo>
                <a:cubicBezTo>
                  <a:pt x="5786" y="1472"/>
                  <a:pt x="5807" y="1476"/>
                  <a:pt x="5831" y="1474"/>
                </a:cubicBezTo>
                <a:cubicBezTo>
                  <a:pt x="5908" y="1471"/>
                  <a:pt x="5965" y="1450"/>
                  <a:pt x="6001" y="1413"/>
                </a:cubicBezTo>
                <a:cubicBezTo>
                  <a:pt x="6008" y="1404"/>
                  <a:pt x="6024" y="1398"/>
                  <a:pt x="6048" y="1395"/>
                </a:cubicBezTo>
                <a:cubicBezTo>
                  <a:pt x="6171" y="1378"/>
                  <a:pt x="6249" y="1413"/>
                  <a:pt x="6280" y="1500"/>
                </a:cubicBezTo>
                <a:cubicBezTo>
                  <a:pt x="6282" y="1510"/>
                  <a:pt x="6289" y="1519"/>
                  <a:pt x="6302" y="1528"/>
                </a:cubicBezTo>
                <a:cubicBezTo>
                  <a:pt x="6369" y="1579"/>
                  <a:pt x="6421" y="1646"/>
                  <a:pt x="6457" y="1729"/>
                </a:cubicBezTo>
                <a:cubicBezTo>
                  <a:pt x="6462" y="1740"/>
                  <a:pt x="6467" y="1750"/>
                  <a:pt x="6472" y="1760"/>
                </a:cubicBezTo>
                <a:cubicBezTo>
                  <a:pt x="6496" y="1830"/>
                  <a:pt x="6479" y="1877"/>
                  <a:pt x="6421" y="1901"/>
                </a:cubicBezTo>
                <a:cubicBezTo>
                  <a:pt x="6402" y="1907"/>
                  <a:pt x="6384" y="1919"/>
                  <a:pt x="6367" y="1934"/>
                </a:cubicBezTo>
                <a:cubicBezTo>
                  <a:pt x="6343" y="1958"/>
                  <a:pt x="6338" y="1992"/>
                  <a:pt x="6352" y="2036"/>
                </a:cubicBezTo>
                <a:cubicBezTo>
                  <a:pt x="6355" y="2046"/>
                  <a:pt x="6363" y="2052"/>
                  <a:pt x="6378" y="2054"/>
                </a:cubicBezTo>
                <a:cubicBezTo>
                  <a:pt x="6460" y="2069"/>
                  <a:pt x="6501" y="2047"/>
                  <a:pt x="6501" y="1987"/>
                </a:cubicBezTo>
                <a:cubicBezTo>
                  <a:pt x="6501" y="1979"/>
                  <a:pt x="6502" y="1970"/>
                  <a:pt x="6504" y="1959"/>
                </a:cubicBezTo>
                <a:cubicBezTo>
                  <a:pt x="6512" y="1934"/>
                  <a:pt x="6540" y="1926"/>
                  <a:pt x="6591" y="1936"/>
                </a:cubicBezTo>
                <a:cubicBezTo>
                  <a:pt x="6632" y="1959"/>
                  <a:pt x="6649" y="2001"/>
                  <a:pt x="6642" y="2064"/>
                </a:cubicBezTo>
                <a:cubicBezTo>
                  <a:pt x="6632" y="2132"/>
                  <a:pt x="6688" y="2162"/>
                  <a:pt x="6808" y="2154"/>
                </a:cubicBezTo>
                <a:cubicBezTo>
                  <a:pt x="6820" y="2154"/>
                  <a:pt x="6834" y="2154"/>
                  <a:pt x="6848" y="2156"/>
                </a:cubicBezTo>
                <a:cubicBezTo>
                  <a:pt x="6911" y="2166"/>
                  <a:pt x="6953" y="2160"/>
                  <a:pt x="6975" y="2136"/>
                </a:cubicBezTo>
                <a:cubicBezTo>
                  <a:pt x="6984" y="2122"/>
                  <a:pt x="6992" y="2108"/>
                  <a:pt x="6997" y="2092"/>
                </a:cubicBezTo>
                <a:cubicBezTo>
                  <a:pt x="7004" y="2074"/>
                  <a:pt x="7010" y="2056"/>
                  <a:pt x="7015" y="2039"/>
                </a:cubicBezTo>
                <a:cubicBezTo>
                  <a:pt x="7022" y="1987"/>
                  <a:pt x="7021" y="1937"/>
                  <a:pt x="7011" y="1888"/>
                </a:cubicBezTo>
                <a:cubicBezTo>
                  <a:pt x="7009" y="1878"/>
                  <a:pt x="7005" y="1867"/>
                  <a:pt x="7000" y="1857"/>
                </a:cubicBezTo>
                <a:cubicBezTo>
                  <a:pt x="6974" y="1786"/>
                  <a:pt x="6994" y="1747"/>
                  <a:pt x="7062" y="1742"/>
                </a:cubicBezTo>
                <a:cubicBezTo>
                  <a:pt x="7103" y="1737"/>
                  <a:pt x="7121" y="1717"/>
                  <a:pt x="7116" y="1681"/>
                </a:cubicBezTo>
                <a:cubicBezTo>
                  <a:pt x="7116" y="1672"/>
                  <a:pt x="7118" y="1663"/>
                  <a:pt x="7123" y="1653"/>
                </a:cubicBezTo>
                <a:cubicBezTo>
                  <a:pt x="7130" y="1629"/>
                  <a:pt x="7138" y="1604"/>
                  <a:pt x="7145" y="1579"/>
                </a:cubicBezTo>
                <a:cubicBezTo>
                  <a:pt x="7155" y="1531"/>
                  <a:pt x="7211" y="1513"/>
                  <a:pt x="7315" y="1525"/>
                </a:cubicBezTo>
                <a:cubicBezTo>
                  <a:pt x="7357" y="1529"/>
                  <a:pt x="7398" y="1532"/>
                  <a:pt x="7438" y="1533"/>
                </a:cubicBezTo>
                <a:cubicBezTo>
                  <a:pt x="7524" y="1534"/>
                  <a:pt x="7605" y="1527"/>
                  <a:pt x="7681" y="1512"/>
                </a:cubicBezTo>
                <a:cubicBezTo>
                  <a:pt x="7714" y="1505"/>
                  <a:pt x="7746" y="1497"/>
                  <a:pt x="7775" y="1487"/>
                </a:cubicBezTo>
                <a:cubicBezTo>
                  <a:pt x="7794" y="1480"/>
                  <a:pt x="7813" y="1471"/>
                  <a:pt x="7833" y="1459"/>
                </a:cubicBezTo>
                <a:cubicBezTo>
                  <a:pt x="7862" y="1436"/>
                  <a:pt x="7888" y="1414"/>
                  <a:pt x="7912" y="1390"/>
                </a:cubicBezTo>
                <a:cubicBezTo>
                  <a:pt x="7924" y="1379"/>
                  <a:pt x="7932" y="1366"/>
                  <a:pt x="7934" y="1349"/>
                </a:cubicBezTo>
                <a:cubicBezTo>
                  <a:pt x="7936" y="1322"/>
                  <a:pt x="7946" y="1299"/>
                  <a:pt x="7963" y="1281"/>
                </a:cubicBezTo>
                <a:cubicBezTo>
                  <a:pt x="7979" y="1262"/>
                  <a:pt x="8004" y="1248"/>
                  <a:pt x="8035" y="1239"/>
                </a:cubicBezTo>
                <a:cubicBezTo>
                  <a:pt x="8050" y="1236"/>
                  <a:pt x="8063" y="1230"/>
                  <a:pt x="8075" y="1221"/>
                </a:cubicBezTo>
                <a:cubicBezTo>
                  <a:pt x="8109" y="1196"/>
                  <a:pt x="8144" y="1182"/>
                  <a:pt x="8180" y="1179"/>
                </a:cubicBezTo>
                <a:cubicBezTo>
                  <a:pt x="8216" y="1175"/>
                  <a:pt x="8254" y="1181"/>
                  <a:pt x="8292" y="1198"/>
                </a:cubicBezTo>
                <a:cubicBezTo>
                  <a:pt x="8328" y="1213"/>
                  <a:pt x="8359" y="1236"/>
                  <a:pt x="8383" y="1264"/>
                </a:cubicBezTo>
                <a:cubicBezTo>
                  <a:pt x="8395" y="1278"/>
                  <a:pt x="8413" y="1289"/>
                  <a:pt x="8437" y="1298"/>
                </a:cubicBezTo>
                <a:cubicBezTo>
                  <a:pt x="8509" y="1320"/>
                  <a:pt x="8525" y="1347"/>
                  <a:pt x="8484" y="1379"/>
                </a:cubicBezTo>
                <a:cubicBezTo>
                  <a:pt x="8407" y="1442"/>
                  <a:pt x="8337" y="1496"/>
                  <a:pt x="8274" y="1540"/>
                </a:cubicBezTo>
                <a:cubicBezTo>
                  <a:pt x="8262" y="1549"/>
                  <a:pt x="8261" y="1560"/>
                  <a:pt x="8271" y="1574"/>
                </a:cubicBezTo>
                <a:cubicBezTo>
                  <a:pt x="8302" y="1611"/>
                  <a:pt x="8344" y="1633"/>
                  <a:pt x="8397" y="1640"/>
                </a:cubicBezTo>
                <a:cubicBezTo>
                  <a:pt x="8443" y="1647"/>
                  <a:pt x="8473" y="1659"/>
                  <a:pt x="8488" y="1676"/>
                </a:cubicBezTo>
                <a:cubicBezTo>
                  <a:pt x="8505" y="1698"/>
                  <a:pt x="8532" y="1720"/>
                  <a:pt x="8571" y="1742"/>
                </a:cubicBezTo>
                <a:cubicBezTo>
                  <a:pt x="8590" y="1752"/>
                  <a:pt x="8610" y="1763"/>
                  <a:pt x="8629" y="1775"/>
                </a:cubicBezTo>
                <a:cubicBezTo>
                  <a:pt x="8675" y="1806"/>
                  <a:pt x="8743" y="1827"/>
                  <a:pt x="8835" y="1839"/>
                </a:cubicBezTo>
                <a:cubicBezTo>
                  <a:pt x="8883" y="1844"/>
                  <a:pt x="8924" y="1855"/>
                  <a:pt x="8958" y="1873"/>
                </a:cubicBezTo>
                <a:cubicBezTo>
                  <a:pt x="8973" y="1881"/>
                  <a:pt x="8991" y="1888"/>
                  <a:pt x="9012" y="1893"/>
                </a:cubicBezTo>
                <a:cubicBezTo>
                  <a:pt x="9027" y="1896"/>
                  <a:pt x="9039" y="1903"/>
                  <a:pt x="9049" y="1913"/>
                </a:cubicBezTo>
                <a:cubicBezTo>
                  <a:pt x="9091" y="1956"/>
                  <a:pt x="9136" y="2001"/>
                  <a:pt x="9184" y="2050"/>
                </a:cubicBezTo>
                <a:cubicBezTo>
                  <a:pt x="9219" y="2056"/>
                  <a:pt x="9260" y="2058"/>
                  <a:pt x="9306" y="2056"/>
                </a:cubicBezTo>
                <a:cubicBezTo>
                  <a:pt x="9330" y="2055"/>
                  <a:pt x="9354" y="2057"/>
                  <a:pt x="9378" y="2064"/>
                </a:cubicBezTo>
                <a:cubicBezTo>
                  <a:pt x="9393" y="2067"/>
                  <a:pt x="9407" y="2073"/>
                  <a:pt x="9420" y="2082"/>
                </a:cubicBezTo>
                <a:cubicBezTo>
                  <a:pt x="9432" y="2091"/>
                  <a:pt x="9443" y="2103"/>
                  <a:pt x="9454" y="2118"/>
                </a:cubicBezTo>
                <a:cubicBezTo>
                  <a:pt x="9478" y="2152"/>
                  <a:pt x="9508" y="2182"/>
                  <a:pt x="9544" y="2207"/>
                </a:cubicBezTo>
                <a:cubicBezTo>
                  <a:pt x="9557" y="2216"/>
                  <a:pt x="9565" y="2229"/>
                  <a:pt x="9570" y="2246"/>
                </a:cubicBezTo>
                <a:cubicBezTo>
                  <a:pt x="9577" y="2280"/>
                  <a:pt x="9581" y="2314"/>
                  <a:pt x="9581" y="2348"/>
                </a:cubicBezTo>
                <a:cubicBezTo>
                  <a:pt x="9581" y="2356"/>
                  <a:pt x="9576" y="2366"/>
                  <a:pt x="9566" y="2376"/>
                </a:cubicBezTo>
                <a:cubicBezTo>
                  <a:pt x="9528" y="2408"/>
                  <a:pt x="9508" y="2458"/>
                  <a:pt x="9508" y="2527"/>
                </a:cubicBezTo>
                <a:cubicBezTo>
                  <a:pt x="9508" y="2535"/>
                  <a:pt x="9507" y="2544"/>
                  <a:pt x="9505" y="2555"/>
                </a:cubicBezTo>
                <a:cubicBezTo>
                  <a:pt x="9488" y="2635"/>
                  <a:pt x="9435" y="2688"/>
                  <a:pt x="9345" y="2713"/>
                </a:cubicBezTo>
                <a:cubicBezTo>
                  <a:pt x="9331" y="2717"/>
                  <a:pt x="9319" y="2723"/>
                  <a:pt x="9309" y="2734"/>
                </a:cubicBezTo>
                <a:cubicBezTo>
                  <a:pt x="9271" y="2774"/>
                  <a:pt x="9267" y="2831"/>
                  <a:pt x="9298" y="2905"/>
                </a:cubicBezTo>
                <a:cubicBezTo>
                  <a:pt x="9303" y="2917"/>
                  <a:pt x="9313" y="2929"/>
                  <a:pt x="9327" y="2943"/>
                </a:cubicBezTo>
                <a:cubicBezTo>
                  <a:pt x="9383" y="2991"/>
                  <a:pt x="9446" y="3034"/>
                  <a:pt x="9516" y="3073"/>
                </a:cubicBezTo>
                <a:cubicBezTo>
                  <a:pt x="9535" y="3084"/>
                  <a:pt x="9554" y="3094"/>
                  <a:pt x="9573" y="3104"/>
                </a:cubicBezTo>
                <a:cubicBezTo>
                  <a:pt x="9614" y="3128"/>
                  <a:pt x="9652" y="3154"/>
                  <a:pt x="9686" y="3183"/>
                </a:cubicBezTo>
                <a:cubicBezTo>
                  <a:pt x="9712" y="3207"/>
                  <a:pt x="9725" y="3235"/>
                  <a:pt x="9725" y="3268"/>
                </a:cubicBezTo>
                <a:cubicBezTo>
                  <a:pt x="9725" y="3276"/>
                  <a:pt x="9725" y="3285"/>
                  <a:pt x="9725" y="3293"/>
                </a:cubicBezTo>
                <a:cubicBezTo>
                  <a:pt x="9733" y="3339"/>
                  <a:pt x="9753" y="3370"/>
                  <a:pt x="9787" y="3385"/>
                </a:cubicBezTo>
                <a:cubicBezTo>
                  <a:pt x="9806" y="3392"/>
                  <a:pt x="9827" y="3398"/>
                  <a:pt x="9849" y="3403"/>
                </a:cubicBezTo>
                <a:cubicBezTo>
                  <a:pt x="9863" y="3406"/>
                  <a:pt x="9877" y="3409"/>
                  <a:pt x="9892" y="3411"/>
                </a:cubicBezTo>
                <a:cubicBezTo>
                  <a:pt x="9950" y="3417"/>
                  <a:pt x="10008" y="3417"/>
                  <a:pt x="10066" y="3411"/>
                </a:cubicBezTo>
                <a:cubicBezTo>
                  <a:pt x="10080" y="3409"/>
                  <a:pt x="10093" y="3407"/>
                  <a:pt x="10105" y="3405"/>
                </a:cubicBezTo>
                <a:cubicBezTo>
                  <a:pt x="10173" y="3402"/>
                  <a:pt x="10233" y="3390"/>
                  <a:pt x="10286" y="3370"/>
                </a:cubicBezTo>
                <a:cubicBezTo>
                  <a:pt x="10311" y="3361"/>
                  <a:pt x="10336" y="3354"/>
                  <a:pt x="10362" y="3349"/>
                </a:cubicBezTo>
                <a:cubicBezTo>
                  <a:pt x="10485" y="3322"/>
                  <a:pt x="10571" y="3279"/>
                  <a:pt x="10619" y="3219"/>
                </a:cubicBezTo>
                <a:cubicBezTo>
                  <a:pt x="10627" y="3209"/>
                  <a:pt x="10635" y="3199"/>
                  <a:pt x="10645" y="3188"/>
                </a:cubicBezTo>
                <a:cubicBezTo>
                  <a:pt x="10746" y="3081"/>
                  <a:pt x="10746" y="2980"/>
                  <a:pt x="10645" y="2884"/>
                </a:cubicBezTo>
                <a:cubicBezTo>
                  <a:pt x="10560" y="2806"/>
                  <a:pt x="10485" y="2740"/>
                  <a:pt x="10420" y="2688"/>
                </a:cubicBezTo>
                <a:cubicBezTo>
                  <a:pt x="10391" y="2665"/>
                  <a:pt x="10369" y="2638"/>
                  <a:pt x="10352" y="2606"/>
                </a:cubicBezTo>
                <a:cubicBezTo>
                  <a:pt x="10318" y="2543"/>
                  <a:pt x="10293" y="2465"/>
                  <a:pt x="10276" y="2373"/>
                </a:cubicBezTo>
                <a:cubicBezTo>
                  <a:pt x="10271" y="2356"/>
                  <a:pt x="10267" y="2339"/>
                  <a:pt x="10265" y="2322"/>
                </a:cubicBezTo>
                <a:cubicBezTo>
                  <a:pt x="10255" y="2237"/>
                  <a:pt x="10245" y="2152"/>
                  <a:pt x="10236" y="2067"/>
                </a:cubicBezTo>
                <a:cubicBezTo>
                  <a:pt x="10233" y="2050"/>
                  <a:pt x="10227" y="2033"/>
                  <a:pt x="10218" y="2016"/>
                </a:cubicBezTo>
                <a:cubicBezTo>
                  <a:pt x="10182" y="1951"/>
                  <a:pt x="10136" y="1905"/>
                  <a:pt x="10080" y="1878"/>
                </a:cubicBezTo>
                <a:cubicBezTo>
                  <a:pt x="10061" y="1867"/>
                  <a:pt x="10043" y="1855"/>
                  <a:pt x="10026" y="1842"/>
                </a:cubicBezTo>
                <a:cubicBezTo>
                  <a:pt x="10007" y="1830"/>
                  <a:pt x="9991" y="1817"/>
                  <a:pt x="9979" y="1804"/>
                </a:cubicBezTo>
                <a:cubicBezTo>
                  <a:pt x="9967" y="1792"/>
                  <a:pt x="9955" y="1781"/>
                  <a:pt x="9943" y="1773"/>
                </a:cubicBezTo>
                <a:cubicBezTo>
                  <a:pt x="9931" y="1764"/>
                  <a:pt x="9915" y="1757"/>
                  <a:pt x="9896" y="1750"/>
                </a:cubicBezTo>
                <a:cubicBezTo>
                  <a:pt x="9893" y="1749"/>
                  <a:pt x="9891" y="1748"/>
                  <a:pt x="9888" y="1747"/>
                </a:cubicBezTo>
                <a:cubicBezTo>
                  <a:pt x="9877" y="1742"/>
                  <a:pt x="9867" y="1737"/>
                  <a:pt x="9859" y="1729"/>
                </a:cubicBezTo>
                <a:cubicBezTo>
                  <a:pt x="9836" y="1708"/>
                  <a:pt x="9831" y="1678"/>
                  <a:pt x="9845" y="1637"/>
                </a:cubicBezTo>
                <a:cubicBezTo>
                  <a:pt x="9850" y="1626"/>
                  <a:pt x="9863" y="1614"/>
                  <a:pt x="9885" y="1604"/>
                </a:cubicBezTo>
                <a:cubicBezTo>
                  <a:pt x="9911" y="1589"/>
                  <a:pt x="9949" y="1581"/>
                  <a:pt x="9997" y="1581"/>
                </a:cubicBezTo>
                <a:cubicBezTo>
                  <a:pt x="9920" y="1551"/>
                  <a:pt x="9821" y="1511"/>
                  <a:pt x="9700" y="1464"/>
                </a:cubicBezTo>
                <a:cubicBezTo>
                  <a:pt x="9681" y="1457"/>
                  <a:pt x="9662" y="1450"/>
                  <a:pt x="9642" y="1443"/>
                </a:cubicBezTo>
                <a:cubicBezTo>
                  <a:pt x="9543" y="1408"/>
                  <a:pt x="9485" y="1350"/>
                  <a:pt x="9468" y="1272"/>
                </a:cubicBezTo>
                <a:cubicBezTo>
                  <a:pt x="9459" y="1231"/>
                  <a:pt x="9450" y="1189"/>
                  <a:pt x="9443" y="1147"/>
                </a:cubicBezTo>
                <a:cubicBezTo>
                  <a:pt x="9438" y="1118"/>
                  <a:pt x="9438" y="1093"/>
                  <a:pt x="9443" y="1072"/>
                </a:cubicBezTo>
                <a:cubicBezTo>
                  <a:pt x="9459" y="1008"/>
                  <a:pt x="9523" y="978"/>
                  <a:pt x="9635" y="983"/>
                </a:cubicBezTo>
                <a:cubicBezTo>
                  <a:pt x="9700" y="987"/>
                  <a:pt x="9748" y="999"/>
                  <a:pt x="9780" y="1019"/>
                </a:cubicBezTo>
                <a:cubicBezTo>
                  <a:pt x="9828" y="1052"/>
                  <a:pt x="9865" y="1052"/>
                  <a:pt x="9892" y="1022"/>
                </a:cubicBezTo>
                <a:cubicBezTo>
                  <a:pt x="9902" y="1012"/>
                  <a:pt x="9908" y="1002"/>
                  <a:pt x="9910" y="994"/>
                </a:cubicBezTo>
                <a:cubicBezTo>
                  <a:pt x="9920" y="908"/>
                  <a:pt x="9920" y="823"/>
                  <a:pt x="9910" y="738"/>
                </a:cubicBezTo>
                <a:cubicBezTo>
                  <a:pt x="9908" y="730"/>
                  <a:pt x="9906" y="721"/>
                  <a:pt x="9906" y="713"/>
                </a:cubicBezTo>
                <a:cubicBezTo>
                  <a:pt x="9894" y="627"/>
                  <a:pt x="9899" y="544"/>
                  <a:pt x="9921" y="462"/>
                </a:cubicBezTo>
                <a:cubicBezTo>
                  <a:pt x="9923" y="450"/>
                  <a:pt x="9937" y="443"/>
                  <a:pt x="9961" y="442"/>
                </a:cubicBezTo>
                <a:cubicBezTo>
                  <a:pt x="10021" y="435"/>
                  <a:pt x="10078" y="439"/>
                  <a:pt x="10131" y="455"/>
                </a:cubicBezTo>
                <a:cubicBezTo>
                  <a:pt x="10138" y="456"/>
                  <a:pt x="10148" y="463"/>
                  <a:pt x="10160" y="475"/>
                </a:cubicBezTo>
                <a:cubicBezTo>
                  <a:pt x="10172" y="489"/>
                  <a:pt x="10186" y="502"/>
                  <a:pt x="10203" y="516"/>
                </a:cubicBezTo>
                <a:cubicBezTo>
                  <a:pt x="10235" y="543"/>
                  <a:pt x="10271" y="539"/>
                  <a:pt x="10312" y="503"/>
                </a:cubicBezTo>
                <a:cubicBezTo>
                  <a:pt x="10348" y="469"/>
                  <a:pt x="10365" y="428"/>
                  <a:pt x="10362" y="380"/>
                </a:cubicBezTo>
                <a:cubicBezTo>
                  <a:pt x="10360" y="354"/>
                  <a:pt x="10370" y="337"/>
                  <a:pt x="10393" y="331"/>
                </a:cubicBezTo>
                <a:cubicBezTo>
                  <a:pt x="10416" y="323"/>
                  <a:pt x="10452" y="325"/>
                  <a:pt x="10500" y="337"/>
                </a:cubicBezTo>
                <a:cubicBezTo>
                  <a:pt x="10514" y="340"/>
                  <a:pt x="10528" y="346"/>
                  <a:pt x="10540" y="352"/>
                </a:cubicBezTo>
                <a:cubicBezTo>
                  <a:pt x="10588" y="380"/>
                  <a:pt x="10639" y="403"/>
                  <a:pt x="10692" y="421"/>
                </a:cubicBezTo>
                <a:cubicBezTo>
                  <a:pt x="10740" y="438"/>
                  <a:pt x="10767" y="434"/>
                  <a:pt x="10771" y="409"/>
                </a:cubicBezTo>
                <a:cubicBezTo>
                  <a:pt x="10774" y="398"/>
                  <a:pt x="10782" y="392"/>
                  <a:pt x="10797" y="391"/>
                </a:cubicBezTo>
                <a:cubicBezTo>
                  <a:pt x="10901" y="372"/>
                  <a:pt x="10960" y="310"/>
                  <a:pt x="10974" y="204"/>
                </a:cubicBezTo>
                <a:cubicBezTo>
                  <a:pt x="10974" y="202"/>
                  <a:pt x="10985" y="199"/>
                  <a:pt x="11007" y="194"/>
                </a:cubicBezTo>
                <a:cubicBezTo>
                  <a:pt x="11021" y="191"/>
                  <a:pt x="11036" y="186"/>
                  <a:pt x="11050" y="181"/>
                </a:cubicBezTo>
                <a:cubicBezTo>
                  <a:pt x="11108" y="161"/>
                  <a:pt x="11168" y="146"/>
                  <a:pt x="11231" y="138"/>
                </a:cubicBezTo>
                <a:cubicBezTo>
                  <a:pt x="11253" y="134"/>
                  <a:pt x="11272" y="136"/>
                  <a:pt x="11289" y="143"/>
                </a:cubicBezTo>
                <a:cubicBezTo>
                  <a:pt x="11305" y="150"/>
                  <a:pt x="11318" y="162"/>
                  <a:pt x="11329" y="179"/>
                </a:cubicBezTo>
                <a:cubicBezTo>
                  <a:pt x="11367" y="238"/>
                  <a:pt x="11388" y="314"/>
                  <a:pt x="11390" y="406"/>
                </a:cubicBezTo>
                <a:cubicBezTo>
                  <a:pt x="11390" y="415"/>
                  <a:pt x="11390" y="423"/>
                  <a:pt x="11390" y="432"/>
                </a:cubicBezTo>
                <a:cubicBezTo>
                  <a:pt x="11398" y="479"/>
                  <a:pt x="11413" y="523"/>
                  <a:pt x="11437" y="562"/>
                </a:cubicBezTo>
                <a:cubicBezTo>
                  <a:pt x="11459" y="596"/>
                  <a:pt x="11454" y="619"/>
                  <a:pt x="11423" y="631"/>
                </a:cubicBezTo>
                <a:cubicBezTo>
                  <a:pt x="11413" y="634"/>
                  <a:pt x="11406" y="644"/>
                  <a:pt x="11401" y="662"/>
                </a:cubicBezTo>
                <a:cubicBezTo>
                  <a:pt x="11394" y="687"/>
                  <a:pt x="11386" y="713"/>
                  <a:pt x="11376" y="738"/>
                </a:cubicBezTo>
                <a:cubicBezTo>
                  <a:pt x="11344" y="822"/>
                  <a:pt x="11380" y="867"/>
                  <a:pt x="11481" y="874"/>
                </a:cubicBezTo>
                <a:cubicBezTo>
                  <a:pt x="11517" y="877"/>
                  <a:pt x="11553" y="882"/>
                  <a:pt x="11589" y="889"/>
                </a:cubicBezTo>
                <a:cubicBezTo>
                  <a:pt x="11635" y="899"/>
                  <a:pt x="11675" y="896"/>
                  <a:pt x="11709" y="879"/>
                </a:cubicBezTo>
                <a:cubicBezTo>
                  <a:pt x="11726" y="870"/>
                  <a:pt x="11745" y="863"/>
                  <a:pt x="11767" y="858"/>
                </a:cubicBezTo>
                <a:cubicBezTo>
                  <a:pt x="11810" y="850"/>
                  <a:pt x="11836" y="819"/>
                  <a:pt x="11843" y="766"/>
                </a:cubicBezTo>
                <a:cubicBezTo>
                  <a:pt x="11843" y="756"/>
                  <a:pt x="11855" y="750"/>
                  <a:pt x="11879" y="748"/>
                </a:cubicBezTo>
                <a:cubicBezTo>
                  <a:pt x="11947" y="745"/>
                  <a:pt x="12008" y="736"/>
                  <a:pt x="12064" y="723"/>
                </a:cubicBezTo>
                <a:cubicBezTo>
                  <a:pt x="12114" y="711"/>
                  <a:pt x="12135" y="682"/>
                  <a:pt x="12125" y="636"/>
                </a:cubicBezTo>
                <a:cubicBezTo>
                  <a:pt x="12118" y="593"/>
                  <a:pt x="12106" y="552"/>
                  <a:pt x="12089" y="511"/>
                </a:cubicBezTo>
                <a:cubicBezTo>
                  <a:pt x="12082" y="492"/>
                  <a:pt x="12077" y="473"/>
                  <a:pt x="12074" y="455"/>
                </a:cubicBezTo>
                <a:cubicBezTo>
                  <a:pt x="12065" y="414"/>
                  <a:pt x="12061" y="372"/>
                  <a:pt x="12064" y="329"/>
                </a:cubicBezTo>
                <a:cubicBezTo>
                  <a:pt x="12068" y="275"/>
                  <a:pt x="12100" y="236"/>
                  <a:pt x="12158" y="212"/>
                </a:cubicBezTo>
                <a:cubicBezTo>
                  <a:pt x="12177" y="205"/>
                  <a:pt x="12189" y="192"/>
                  <a:pt x="12194" y="174"/>
                </a:cubicBezTo>
                <a:cubicBezTo>
                  <a:pt x="12211" y="124"/>
                  <a:pt x="12240" y="95"/>
                  <a:pt x="12281" y="87"/>
                </a:cubicBezTo>
                <a:cubicBezTo>
                  <a:pt x="12314" y="78"/>
                  <a:pt x="12348" y="77"/>
                  <a:pt x="12382" y="84"/>
                </a:cubicBezTo>
                <a:cubicBezTo>
                  <a:pt x="12397" y="86"/>
                  <a:pt x="12409" y="92"/>
                  <a:pt x="12418" y="102"/>
                </a:cubicBezTo>
                <a:cubicBezTo>
                  <a:pt x="12450" y="131"/>
                  <a:pt x="12499" y="145"/>
                  <a:pt x="12567" y="145"/>
                </a:cubicBezTo>
                <a:cubicBezTo>
                  <a:pt x="12680" y="145"/>
                  <a:pt x="12762" y="108"/>
                  <a:pt x="12813" y="33"/>
                </a:cubicBezTo>
                <a:cubicBezTo>
                  <a:pt x="12818" y="26"/>
                  <a:pt x="12831" y="20"/>
                  <a:pt x="12853" y="15"/>
                </a:cubicBezTo>
                <a:cubicBezTo>
                  <a:pt x="12867" y="12"/>
                  <a:pt x="12881" y="9"/>
                  <a:pt x="12896" y="7"/>
                </a:cubicBezTo>
                <a:cubicBezTo>
                  <a:pt x="13043" y="-13"/>
                  <a:pt x="13141" y="8"/>
                  <a:pt x="13189" y="71"/>
                </a:cubicBezTo>
                <a:cubicBezTo>
                  <a:pt x="13213" y="104"/>
                  <a:pt x="13258" y="125"/>
                  <a:pt x="13323" y="135"/>
                </a:cubicBezTo>
                <a:cubicBezTo>
                  <a:pt x="13338" y="137"/>
                  <a:pt x="13352" y="139"/>
                  <a:pt x="13367" y="140"/>
                </a:cubicBezTo>
                <a:cubicBezTo>
                  <a:pt x="13458" y="157"/>
                  <a:pt x="13534" y="148"/>
                  <a:pt x="13595" y="112"/>
                </a:cubicBezTo>
                <a:cubicBezTo>
                  <a:pt x="13609" y="104"/>
                  <a:pt x="13627" y="101"/>
                  <a:pt x="13649" y="105"/>
                </a:cubicBezTo>
                <a:cubicBezTo>
                  <a:pt x="13716" y="118"/>
                  <a:pt x="13748" y="151"/>
                  <a:pt x="13743" y="202"/>
                </a:cubicBezTo>
                <a:cubicBezTo>
                  <a:pt x="13743" y="210"/>
                  <a:pt x="13749" y="219"/>
                  <a:pt x="13761" y="227"/>
                </a:cubicBezTo>
                <a:cubicBezTo>
                  <a:pt x="13838" y="278"/>
                  <a:pt x="13947" y="297"/>
                  <a:pt x="14087" y="283"/>
                </a:cubicBezTo>
                <a:cubicBezTo>
                  <a:pt x="14123" y="280"/>
                  <a:pt x="14158" y="276"/>
                  <a:pt x="14192" y="271"/>
                </a:cubicBezTo>
                <a:cubicBezTo>
                  <a:pt x="14218" y="267"/>
                  <a:pt x="14244" y="265"/>
                  <a:pt x="14268" y="265"/>
                </a:cubicBezTo>
                <a:cubicBezTo>
                  <a:pt x="14509" y="257"/>
                  <a:pt x="14750" y="253"/>
                  <a:pt x="14992" y="253"/>
                </a:cubicBezTo>
                <a:cubicBezTo>
                  <a:pt x="15028" y="253"/>
                  <a:pt x="15063" y="255"/>
                  <a:pt x="15097" y="260"/>
                </a:cubicBezTo>
                <a:cubicBezTo>
                  <a:pt x="15140" y="265"/>
                  <a:pt x="15173" y="289"/>
                  <a:pt x="15194" y="332"/>
                </a:cubicBezTo>
                <a:cubicBezTo>
                  <a:pt x="15204" y="356"/>
                  <a:pt x="15211" y="380"/>
                  <a:pt x="15216" y="406"/>
                </a:cubicBezTo>
                <a:cubicBezTo>
                  <a:pt x="15228" y="460"/>
                  <a:pt x="15220" y="499"/>
                  <a:pt x="15191" y="521"/>
                </a:cubicBezTo>
                <a:cubicBezTo>
                  <a:pt x="15179" y="529"/>
                  <a:pt x="15170" y="541"/>
                  <a:pt x="15165" y="557"/>
                </a:cubicBezTo>
                <a:cubicBezTo>
                  <a:pt x="15158" y="575"/>
                  <a:pt x="15154" y="593"/>
                  <a:pt x="15154" y="610"/>
                </a:cubicBezTo>
                <a:cubicBezTo>
                  <a:pt x="15147" y="690"/>
                  <a:pt x="15186" y="753"/>
                  <a:pt x="15270" y="799"/>
                </a:cubicBezTo>
                <a:cubicBezTo>
                  <a:pt x="15290" y="810"/>
                  <a:pt x="15309" y="821"/>
                  <a:pt x="15328" y="833"/>
                </a:cubicBezTo>
                <a:cubicBezTo>
                  <a:pt x="15369" y="863"/>
                  <a:pt x="15438" y="875"/>
                  <a:pt x="15534" y="868"/>
                </a:cubicBezTo>
                <a:cubicBezTo>
                  <a:pt x="15571" y="867"/>
                  <a:pt x="15607" y="865"/>
                  <a:pt x="15643" y="863"/>
                </a:cubicBezTo>
                <a:cubicBezTo>
                  <a:pt x="15672" y="862"/>
                  <a:pt x="15700" y="847"/>
                  <a:pt x="15726" y="820"/>
                </a:cubicBezTo>
                <a:cubicBezTo>
                  <a:pt x="15779" y="760"/>
                  <a:pt x="15851" y="747"/>
                  <a:pt x="15940" y="779"/>
                </a:cubicBezTo>
                <a:cubicBezTo>
                  <a:pt x="15959" y="786"/>
                  <a:pt x="15978" y="793"/>
                  <a:pt x="15998" y="799"/>
                </a:cubicBezTo>
                <a:cubicBezTo>
                  <a:pt x="16051" y="820"/>
                  <a:pt x="16114" y="829"/>
                  <a:pt x="16186" y="828"/>
                </a:cubicBezTo>
                <a:cubicBezTo>
                  <a:pt x="16198" y="828"/>
                  <a:pt x="16211" y="828"/>
                  <a:pt x="16226" y="830"/>
                </a:cubicBezTo>
                <a:cubicBezTo>
                  <a:pt x="16431" y="864"/>
                  <a:pt x="16527" y="816"/>
                  <a:pt x="16515" y="687"/>
                </a:cubicBezTo>
                <a:cubicBezTo>
                  <a:pt x="16513" y="653"/>
                  <a:pt x="16507" y="620"/>
                  <a:pt x="16497" y="587"/>
                </a:cubicBezTo>
                <a:cubicBezTo>
                  <a:pt x="16488" y="555"/>
                  <a:pt x="16469" y="535"/>
                  <a:pt x="16443" y="526"/>
                </a:cubicBezTo>
                <a:cubicBezTo>
                  <a:pt x="16428" y="523"/>
                  <a:pt x="16416" y="516"/>
                  <a:pt x="16407" y="506"/>
                </a:cubicBezTo>
                <a:cubicBezTo>
                  <a:pt x="16380" y="482"/>
                  <a:pt x="16355" y="457"/>
                  <a:pt x="16331" y="432"/>
                </a:cubicBezTo>
                <a:cubicBezTo>
                  <a:pt x="16410" y="387"/>
                  <a:pt x="16507" y="363"/>
                  <a:pt x="16620" y="360"/>
                </a:cubicBezTo>
                <a:cubicBezTo>
                  <a:pt x="16753" y="357"/>
                  <a:pt x="16886" y="358"/>
                  <a:pt x="17018" y="365"/>
                </a:cubicBezTo>
                <a:cubicBezTo>
                  <a:pt x="17043" y="367"/>
                  <a:pt x="17061" y="374"/>
                  <a:pt x="17073" y="388"/>
                </a:cubicBezTo>
                <a:cubicBezTo>
                  <a:pt x="17085" y="400"/>
                  <a:pt x="17094" y="414"/>
                  <a:pt x="17102" y="429"/>
                </a:cubicBezTo>
                <a:cubicBezTo>
                  <a:pt x="17126" y="470"/>
                  <a:pt x="17145" y="505"/>
                  <a:pt x="17160" y="534"/>
                </a:cubicBezTo>
                <a:cubicBezTo>
                  <a:pt x="17203" y="619"/>
                  <a:pt x="17198" y="690"/>
                  <a:pt x="17145" y="746"/>
                </a:cubicBezTo>
                <a:cubicBezTo>
                  <a:pt x="17133" y="758"/>
                  <a:pt x="17123" y="771"/>
                  <a:pt x="17116" y="787"/>
                </a:cubicBezTo>
                <a:cubicBezTo>
                  <a:pt x="17111" y="797"/>
                  <a:pt x="17109" y="806"/>
                  <a:pt x="17109" y="815"/>
                </a:cubicBezTo>
                <a:cubicBezTo>
                  <a:pt x="17109" y="823"/>
                  <a:pt x="17114" y="833"/>
                  <a:pt x="17123" y="843"/>
                </a:cubicBezTo>
                <a:cubicBezTo>
                  <a:pt x="17191" y="906"/>
                  <a:pt x="17261" y="960"/>
                  <a:pt x="17333" y="1004"/>
                </a:cubicBezTo>
                <a:cubicBezTo>
                  <a:pt x="17365" y="1023"/>
                  <a:pt x="17388" y="1046"/>
                  <a:pt x="17402" y="1073"/>
                </a:cubicBezTo>
                <a:cubicBezTo>
                  <a:pt x="17412" y="1097"/>
                  <a:pt x="17413" y="1121"/>
                  <a:pt x="17406" y="1144"/>
                </a:cubicBezTo>
                <a:cubicBezTo>
                  <a:pt x="17401" y="1155"/>
                  <a:pt x="17392" y="1161"/>
                  <a:pt x="17380" y="1162"/>
                </a:cubicBezTo>
                <a:cubicBezTo>
                  <a:pt x="17327" y="1166"/>
                  <a:pt x="17298" y="1186"/>
                  <a:pt x="17293" y="1224"/>
                </a:cubicBezTo>
                <a:cubicBezTo>
                  <a:pt x="17291" y="1241"/>
                  <a:pt x="17290" y="1258"/>
                  <a:pt x="17290" y="1275"/>
                </a:cubicBezTo>
                <a:cubicBezTo>
                  <a:pt x="17290" y="1292"/>
                  <a:pt x="17297" y="1309"/>
                  <a:pt x="17312" y="1326"/>
                </a:cubicBezTo>
                <a:cubicBezTo>
                  <a:pt x="17365" y="1392"/>
                  <a:pt x="17415" y="1468"/>
                  <a:pt x="17463" y="1553"/>
                </a:cubicBezTo>
                <a:cubicBezTo>
                  <a:pt x="17468" y="1563"/>
                  <a:pt x="17476" y="1574"/>
                  <a:pt x="17485" y="1584"/>
                </a:cubicBezTo>
                <a:cubicBezTo>
                  <a:pt x="17541" y="1645"/>
                  <a:pt x="17596" y="1706"/>
                  <a:pt x="17652" y="1768"/>
                </a:cubicBezTo>
                <a:cubicBezTo>
                  <a:pt x="17664" y="1780"/>
                  <a:pt x="17671" y="1794"/>
                  <a:pt x="17673" y="1811"/>
                </a:cubicBezTo>
                <a:cubicBezTo>
                  <a:pt x="17678" y="1881"/>
                  <a:pt x="17724" y="1934"/>
                  <a:pt x="17811" y="1970"/>
                </a:cubicBezTo>
                <a:cubicBezTo>
                  <a:pt x="17825" y="1975"/>
                  <a:pt x="17839" y="1982"/>
                  <a:pt x="17851" y="1990"/>
                </a:cubicBezTo>
                <a:cubicBezTo>
                  <a:pt x="17928" y="2041"/>
                  <a:pt x="17970" y="2109"/>
                  <a:pt x="17977" y="2194"/>
                </a:cubicBezTo>
                <a:cubicBezTo>
                  <a:pt x="17977" y="2203"/>
                  <a:pt x="17982" y="2212"/>
                  <a:pt x="17992" y="2223"/>
                </a:cubicBezTo>
                <a:cubicBezTo>
                  <a:pt x="18067" y="2289"/>
                  <a:pt x="18110" y="2365"/>
                  <a:pt x="18122" y="2450"/>
                </a:cubicBezTo>
                <a:cubicBezTo>
                  <a:pt x="18122" y="2458"/>
                  <a:pt x="18127" y="2468"/>
                  <a:pt x="18137" y="2478"/>
                </a:cubicBezTo>
                <a:cubicBezTo>
                  <a:pt x="18202" y="2538"/>
                  <a:pt x="18233" y="2613"/>
                  <a:pt x="18231" y="2705"/>
                </a:cubicBezTo>
                <a:cubicBezTo>
                  <a:pt x="18231" y="2714"/>
                  <a:pt x="18234" y="2723"/>
                  <a:pt x="18242" y="2734"/>
                </a:cubicBezTo>
                <a:cubicBezTo>
                  <a:pt x="18312" y="2846"/>
                  <a:pt x="18425" y="2935"/>
                  <a:pt x="18582" y="3002"/>
                </a:cubicBezTo>
                <a:cubicBezTo>
                  <a:pt x="18606" y="3012"/>
                  <a:pt x="18634" y="3028"/>
                  <a:pt x="18665" y="3050"/>
                </a:cubicBezTo>
                <a:cubicBezTo>
                  <a:pt x="18677" y="3059"/>
                  <a:pt x="18694" y="3066"/>
                  <a:pt x="18716" y="3071"/>
                </a:cubicBezTo>
                <a:cubicBezTo>
                  <a:pt x="18730" y="3074"/>
                  <a:pt x="18745" y="3077"/>
                  <a:pt x="18759" y="3078"/>
                </a:cubicBezTo>
                <a:cubicBezTo>
                  <a:pt x="18784" y="3082"/>
                  <a:pt x="18807" y="3085"/>
                  <a:pt x="18828" y="3085"/>
                </a:cubicBezTo>
                <a:cubicBezTo>
                  <a:pt x="18851" y="3085"/>
                  <a:pt x="18872" y="3082"/>
                  <a:pt x="18890" y="3077"/>
                </a:cubicBezTo>
                <a:cubicBezTo>
                  <a:pt x="18901" y="3097"/>
                  <a:pt x="18913" y="3124"/>
                  <a:pt x="18926" y="3160"/>
                </a:cubicBezTo>
                <a:cubicBezTo>
                  <a:pt x="18933" y="3181"/>
                  <a:pt x="18943" y="3201"/>
                  <a:pt x="18955" y="3222"/>
                </a:cubicBezTo>
                <a:cubicBezTo>
                  <a:pt x="19022" y="3342"/>
                  <a:pt x="19151" y="3440"/>
                  <a:pt x="19342" y="3515"/>
                </a:cubicBezTo>
                <a:cubicBezTo>
                  <a:pt x="19535" y="3592"/>
                  <a:pt x="19686" y="3675"/>
                  <a:pt x="19794" y="3763"/>
                </a:cubicBezTo>
                <a:cubicBezTo>
                  <a:pt x="19862" y="3819"/>
                  <a:pt x="19951" y="3892"/>
                  <a:pt x="20062" y="3980"/>
                </a:cubicBezTo>
                <a:cubicBezTo>
                  <a:pt x="20120" y="4026"/>
                  <a:pt x="20154" y="4094"/>
                  <a:pt x="20164" y="4185"/>
                </a:cubicBezTo>
                <a:cubicBezTo>
                  <a:pt x="20166" y="4203"/>
                  <a:pt x="20178" y="4222"/>
                  <a:pt x="20200" y="4241"/>
                </a:cubicBezTo>
                <a:cubicBezTo>
                  <a:pt x="20267" y="4295"/>
                  <a:pt x="20314" y="4377"/>
                  <a:pt x="20341" y="4486"/>
                </a:cubicBezTo>
                <a:cubicBezTo>
                  <a:pt x="20346" y="4508"/>
                  <a:pt x="20367" y="4532"/>
                  <a:pt x="20406" y="4558"/>
                </a:cubicBezTo>
                <a:cubicBezTo>
                  <a:pt x="20553" y="4651"/>
                  <a:pt x="20705" y="4766"/>
                  <a:pt x="20862" y="4900"/>
                </a:cubicBezTo>
                <a:cubicBezTo>
                  <a:pt x="20966" y="4989"/>
                  <a:pt x="21101" y="5081"/>
                  <a:pt x="21267" y="5176"/>
                </a:cubicBezTo>
                <a:cubicBezTo>
                  <a:pt x="21306" y="5198"/>
                  <a:pt x="21337" y="5226"/>
                  <a:pt x="21362" y="5260"/>
                </a:cubicBezTo>
                <a:cubicBezTo>
                  <a:pt x="21429" y="5366"/>
                  <a:pt x="21465" y="5485"/>
                  <a:pt x="21470" y="5618"/>
                </a:cubicBezTo>
                <a:cubicBezTo>
                  <a:pt x="21470" y="5652"/>
                  <a:pt x="21474" y="5687"/>
                  <a:pt x="21481" y="5723"/>
                </a:cubicBezTo>
                <a:cubicBezTo>
                  <a:pt x="21498" y="5806"/>
                  <a:pt x="21516" y="5890"/>
                  <a:pt x="21535" y="5973"/>
                </a:cubicBezTo>
                <a:cubicBezTo>
                  <a:pt x="21540" y="5992"/>
                  <a:pt x="21545" y="6011"/>
                  <a:pt x="21550" y="6029"/>
                </a:cubicBezTo>
                <a:cubicBezTo>
                  <a:pt x="21598" y="6218"/>
                  <a:pt x="21579" y="6369"/>
                  <a:pt x="21492" y="6482"/>
                </a:cubicBezTo>
                <a:cubicBezTo>
                  <a:pt x="21448" y="6536"/>
                  <a:pt x="21400" y="6604"/>
                  <a:pt x="21347" y="6686"/>
                </a:cubicBezTo>
                <a:cubicBezTo>
                  <a:pt x="21333" y="6706"/>
                  <a:pt x="21315" y="6726"/>
                  <a:pt x="21293" y="6745"/>
                </a:cubicBezTo>
                <a:cubicBezTo>
                  <a:pt x="21179" y="6840"/>
                  <a:pt x="21107" y="6975"/>
                  <a:pt x="21076" y="7151"/>
                </a:cubicBezTo>
                <a:cubicBezTo>
                  <a:pt x="21044" y="7342"/>
                  <a:pt x="21056" y="7498"/>
                  <a:pt x="21112" y="7618"/>
                </a:cubicBezTo>
                <a:cubicBezTo>
                  <a:pt x="21134" y="7664"/>
                  <a:pt x="21148" y="7713"/>
                  <a:pt x="21155" y="7764"/>
                </a:cubicBezTo>
                <a:cubicBezTo>
                  <a:pt x="21172" y="7883"/>
                  <a:pt x="21187" y="8003"/>
                  <a:pt x="21199" y="8122"/>
                </a:cubicBezTo>
                <a:cubicBezTo>
                  <a:pt x="21211" y="8241"/>
                  <a:pt x="21206" y="8359"/>
                  <a:pt x="21184" y="8477"/>
                </a:cubicBezTo>
                <a:cubicBezTo>
                  <a:pt x="21182" y="8496"/>
                  <a:pt x="21179" y="8514"/>
                  <a:pt x="21177" y="8533"/>
                </a:cubicBezTo>
                <a:cubicBezTo>
                  <a:pt x="21158" y="8715"/>
                  <a:pt x="21184" y="8887"/>
                  <a:pt x="21257" y="9049"/>
                </a:cubicBezTo>
                <a:cubicBezTo>
                  <a:pt x="21278" y="9095"/>
                  <a:pt x="21296" y="9143"/>
                  <a:pt x="21311" y="9192"/>
                </a:cubicBezTo>
                <a:cubicBezTo>
                  <a:pt x="21320" y="9228"/>
                  <a:pt x="21330" y="9264"/>
                  <a:pt x="21340" y="9300"/>
                </a:cubicBezTo>
                <a:cubicBezTo>
                  <a:pt x="21354" y="9349"/>
                  <a:pt x="21369" y="9398"/>
                  <a:pt x="21383" y="9448"/>
                </a:cubicBezTo>
                <a:cubicBezTo>
                  <a:pt x="21393" y="9484"/>
                  <a:pt x="21407" y="9519"/>
                  <a:pt x="21427" y="9555"/>
                </a:cubicBezTo>
                <a:cubicBezTo>
                  <a:pt x="21463" y="9627"/>
                  <a:pt x="21451" y="9674"/>
                  <a:pt x="21390" y="9696"/>
                </a:cubicBezTo>
                <a:cubicBezTo>
                  <a:pt x="21371" y="9702"/>
                  <a:pt x="21355" y="9722"/>
                  <a:pt x="21343" y="9754"/>
                </a:cubicBezTo>
                <a:cubicBezTo>
                  <a:pt x="21315" y="9843"/>
                  <a:pt x="21283" y="9915"/>
                  <a:pt x="21249" y="9972"/>
                </a:cubicBezTo>
                <a:cubicBezTo>
                  <a:pt x="21177" y="10099"/>
                  <a:pt x="21090" y="10213"/>
                  <a:pt x="20989" y="10314"/>
                </a:cubicBezTo>
                <a:cubicBezTo>
                  <a:pt x="20892" y="10409"/>
                  <a:pt x="20795" y="10529"/>
                  <a:pt x="20696" y="10672"/>
                </a:cubicBezTo>
                <a:cubicBezTo>
                  <a:pt x="20681" y="10692"/>
                  <a:pt x="20662" y="10711"/>
                  <a:pt x="20638" y="10728"/>
                </a:cubicBezTo>
                <a:cubicBezTo>
                  <a:pt x="20495" y="10832"/>
                  <a:pt x="20372" y="10933"/>
                  <a:pt x="20268" y="11032"/>
                </a:cubicBezTo>
                <a:cubicBezTo>
                  <a:pt x="20249" y="11051"/>
                  <a:pt x="20230" y="11069"/>
                  <a:pt x="20211" y="11088"/>
                </a:cubicBezTo>
                <a:cubicBezTo>
                  <a:pt x="20107" y="11185"/>
                  <a:pt x="20095" y="11290"/>
                  <a:pt x="20174" y="11402"/>
                </a:cubicBezTo>
                <a:cubicBezTo>
                  <a:pt x="20218" y="11464"/>
                  <a:pt x="20258" y="11527"/>
                  <a:pt x="20294" y="11591"/>
                </a:cubicBezTo>
                <a:cubicBezTo>
                  <a:pt x="20306" y="11612"/>
                  <a:pt x="20319" y="11632"/>
                  <a:pt x="20334" y="11653"/>
                </a:cubicBezTo>
                <a:cubicBezTo>
                  <a:pt x="20413" y="11755"/>
                  <a:pt x="20454" y="11872"/>
                  <a:pt x="20457" y="12005"/>
                </a:cubicBezTo>
                <a:cubicBezTo>
                  <a:pt x="20457" y="12039"/>
                  <a:pt x="20458" y="12073"/>
                  <a:pt x="20460" y="12107"/>
                </a:cubicBezTo>
                <a:cubicBezTo>
                  <a:pt x="20482" y="12448"/>
                  <a:pt x="20493" y="12790"/>
                  <a:pt x="20493" y="13132"/>
                </a:cubicBezTo>
                <a:cubicBezTo>
                  <a:pt x="20493" y="13302"/>
                  <a:pt x="20504" y="13472"/>
                  <a:pt x="20525" y="13640"/>
                </a:cubicBezTo>
                <a:cubicBezTo>
                  <a:pt x="20528" y="13659"/>
                  <a:pt x="20530" y="13678"/>
                  <a:pt x="20533" y="13697"/>
                </a:cubicBezTo>
                <a:cubicBezTo>
                  <a:pt x="20542" y="13766"/>
                  <a:pt x="20550" y="13835"/>
                  <a:pt x="20558" y="13905"/>
                </a:cubicBezTo>
                <a:cubicBezTo>
                  <a:pt x="20570" y="14005"/>
                  <a:pt x="20581" y="14105"/>
                  <a:pt x="20591" y="14205"/>
                </a:cubicBezTo>
                <a:cubicBezTo>
                  <a:pt x="20598" y="14290"/>
                  <a:pt x="20621" y="14374"/>
                  <a:pt x="20659" y="14455"/>
                </a:cubicBezTo>
                <a:cubicBezTo>
                  <a:pt x="20669" y="14476"/>
                  <a:pt x="20685" y="14495"/>
                  <a:pt x="20706" y="14514"/>
                </a:cubicBezTo>
                <a:cubicBezTo>
                  <a:pt x="20837" y="14633"/>
                  <a:pt x="20899" y="14786"/>
                  <a:pt x="20895" y="14972"/>
                </a:cubicBezTo>
                <a:cubicBezTo>
                  <a:pt x="20892" y="15006"/>
                  <a:pt x="20895" y="15040"/>
                  <a:pt x="20902" y="15076"/>
                </a:cubicBezTo>
                <a:cubicBezTo>
                  <a:pt x="20936" y="15257"/>
                  <a:pt x="20914" y="15425"/>
                  <a:pt x="20837" y="15580"/>
                </a:cubicBezTo>
                <a:cubicBezTo>
                  <a:pt x="20699" y="15859"/>
                  <a:pt x="20547" y="16103"/>
                  <a:pt x="20381" y="16313"/>
                </a:cubicBezTo>
                <a:cubicBezTo>
                  <a:pt x="20359" y="16338"/>
                  <a:pt x="20341" y="16367"/>
                  <a:pt x="20326" y="16397"/>
                </a:cubicBezTo>
                <a:cubicBezTo>
                  <a:pt x="20317" y="16418"/>
                  <a:pt x="20303" y="16438"/>
                  <a:pt x="20287" y="16458"/>
                </a:cubicBezTo>
                <a:cubicBezTo>
                  <a:pt x="20197" y="16569"/>
                  <a:pt x="20184" y="16673"/>
                  <a:pt x="20247" y="16770"/>
                </a:cubicBezTo>
                <a:cubicBezTo>
                  <a:pt x="20266" y="16797"/>
                  <a:pt x="20276" y="16828"/>
                  <a:pt x="20276" y="16862"/>
                </a:cubicBezTo>
                <a:cubicBezTo>
                  <a:pt x="20276" y="16913"/>
                  <a:pt x="20276" y="16963"/>
                  <a:pt x="20276" y="17014"/>
                </a:cubicBezTo>
                <a:cubicBezTo>
                  <a:pt x="20240" y="17013"/>
                  <a:pt x="20203" y="17013"/>
                  <a:pt x="20167" y="17013"/>
                </a:cubicBezTo>
                <a:cubicBezTo>
                  <a:pt x="20143" y="17013"/>
                  <a:pt x="20123" y="17009"/>
                  <a:pt x="20106" y="17000"/>
                </a:cubicBezTo>
                <a:cubicBezTo>
                  <a:pt x="20072" y="16983"/>
                  <a:pt x="20032" y="16977"/>
                  <a:pt x="19986" y="16982"/>
                </a:cubicBezTo>
                <a:cubicBezTo>
                  <a:pt x="19887" y="16991"/>
                  <a:pt x="19791" y="16999"/>
                  <a:pt x="19697" y="17008"/>
                </a:cubicBezTo>
                <a:cubicBezTo>
                  <a:pt x="19660" y="17011"/>
                  <a:pt x="19625" y="17016"/>
                  <a:pt x="19592" y="17023"/>
                </a:cubicBezTo>
                <a:cubicBezTo>
                  <a:pt x="19476" y="17044"/>
                  <a:pt x="19379" y="17075"/>
                  <a:pt x="19302" y="17118"/>
                </a:cubicBezTo>
                <a:cubicBezTo>
                  <a:pt x="19213" y="17167"/>
                  <a:pt x="19118" y="17211"/>
                  <a:pt x="19016" y="17250"/>
                </a:cubicBezTo>
                <a:cubicBezTo>
                  <a:pt x="18814" y="17329"/>
                  <a:pt x="18595" y="17342"/>
                  <a:pt x="18361" y="17289"/>
                </a:cubicBezTo>
                <a:cubicBezTo>
                  <a:pt x="18335" y="17284"/>
                  <a:pt x="18308" y="17279"/>
                  <a:pt x="18282" y="17276"/>
                </a:cubicBezTo>
                <a:cubicBezTo>
                  <a:pt x="18248" y="17271"/>
                  <a:pt x="18214" y="17273"/>
                  <a:pt x="18180" y="17281"/>
                </a:cubicBezTo>
                <a:cubicBezTo>
                  <a:pt x="18125" y="17293"/>
                  <a:pt x="18064" y="17302"/>
                  <a:pt x="17999" y="17307"/>
                </a:cubicBezTo>
                <a:cubicBezTo>
                  <a:pt x="17956" y="17310"/>
                  <a:pt x="17904" y="17319"/>
                  <a:pt x="17844" y="17335"/>
                </a:cubicBezTo>
                <a:cubicBezTo>
                  <a:pt x="17812" y="17342"/>
                  <a:pt x="17780" y="17348"/>
                  <a:pt x="17746" y="17355"/>
                </a:cubicBezTo>
                <a:cubicBezTo>
                  <a:pt x="17576" y="17392"/>
                  <a:pt x="17394" y="17408"/>
                  <a:pt x="17199" y="17404"/>
                </a:cubicBezTo>
                <a:cubicBezTo>
                  <a:pt x="17151" y="17402"/>
                  <a:pt x="17101" y="17400"/>
                  <a:pt x="17051" y="17396"/>
                </a:cubicBezTo>
                <a:cubicBezTo>
                  <a:pt x="16918" y="17386"/>
                  <a:pt x="16796" y="17394"/>
                  <a:pt x="16685" y="17419"/>
                </a:cubicBezTo>
                <a:cubicBezTo>
                  <a:pt x="16601" y="17438"/>
                  <a:pt x="16531" y="17458"/>
                  <a:pt x="16475" y="17480"/>
                </a:cubicBezTo>
                <a:cubicBezTo>
                  <a:pt x="16461" y="17486"/>
                  <a:pt x="16448" y="17488"/>
                  <a:pt x="16436" y="17488"/>
                </a:cubicBezTo>
                <a:cubicBezTo>
                  <a:pt x="16199" y="17477"/>
                  <a:pt x="15989" y="17508"/>
                  <a:pt x="15806" y="17581"/>
                </a:cubicBezTo>
                <a:cubicBezTo>
                  <a:pt x="15788" y="17589"/>
                  <a:pt x="15770" y="17597"/>
                  <a:pt x="15752" y="17606"/>
                </a:cubicBezTo>
                <a:cubicBezTo>
                  <a:pt x="15737" y="17612"/>
                  <a:pt x="15723" y="17618"/>
                  <a:pt x="15708" y="17623"/>
                </a:cubicBezTo>
                <a:cubicBezTo>
                  <a:pt x="15671" y="17635"/>
                  <a:pt x="15651" y="17645"/>
                  <a:pt x="15648" y="17655"/>
                </a:cubicBezTo>
                <a:cubicBezTo>
                  <a:pt x="15639" y="17659"/>
                  <a:pt x="15631" y="17662"/>
                  <a:pt x="15625" y="17667"/>
                </a:cubicBezTo>
                <a:cubicBezTo>
                  <a:pt x="15577" y="17701"/>
                  <a:pt x="15498" y="17715"/>
                  <a:pt x="15390" y="17710"/>
                </a:cubicBezTo>
                <a:cubicBezTo>
                  <a:pt x="15317" y="17707"/>
                  <a:pt x="15246" y="17709"/>
                  <a:pt x="15176" y="17715"/>
                </a:cubicBezTo>
                <a:cubicBezTo>
                  <a:pt x="15162" y="17717"/>
                  <a:pt x="15148" y="17718"/>
                  <a:pt x="15136" y="17718"/>
                </a:cubicBezTo>
                <a:cubicBezTo>
                  <a:pt x="15028" y="17718"/>
                  <a:pt x="14943" y="17730"/>
                  <a:pt x="14883" y="17754"/>
                </a:cubicBezTo>
                <a:cubicBezTo>
                  <a:pt x="14832" y="17774"/>
                  <a:pt x="14770" y="17797"/>
                  <a:pt x="14695" y="17823"/>
                </a:cubicBezTo>
                <a:cubicBezTo>
                  <a:pt x="14675" y="17830"/>
                  <a:pt x="14663" y="17836"/>
                  <a:pt x="14659" y="17843"/>
                </a:cubicBezTo>
                <a:cubicBezTo>
                  <a:pt x="14644" y="17865"/>
                  <a:pt x="14610" y="17874"/>
                  <a:pt x="14557" y="17869"/>
                </a:cubicBezTo>
                <a:cubicBezTo>
                  <a:pt x="14429" y="17857"/>
                  <a:pt x="14322" y="17864"/>
                  <a:pt x="14235" y="17889"/>
                </a:cubicBezTo>
                <a:cubicBezTo>
                  <a:pt x="14049" y="17947"/>
                  <a:pt x="13892" y="18006"/>
                  <a:pt x="13765" y="18066"/>
                </a:cubicBezTo>
                <a:cubicBezTo>
                  <a:pt x="13750" y="18072"/>
                  <a:pt x="13737" y="18076"/>
                  <a:pt x="13725" y="18076"/>
                </a:cubicBezTo>
                <a:cubicBezTo>
                  <a:pt x="13648" y="18079"/>
                  <a:pt x="13586" y="18100"/>
                  <a:pt x="13540" y="18140"/>
                </a:cubicBezTo>
                <a:cubicBezTo>
                  <a:pt x="13531" y="18148"/>
                  <a:pt x="13518" y="18154"/>
                  <a:pt x="13504" y="18157"/>
                </a:cubicBezTo>
                <a:cubicBezTo>
                  <a:pt x="13482" y="18163"/>
                  <a:pt x="13464" y="18169"/>
                  <a:pt x="13450" y="18178"/>
                </a:cubicBezTo>
                <a:cubicBezTo>
                  <a:pt x="13416" y="18197"/>
                  <a:pt x="13363" y="18205"/>
                  <a:pt x="13290" y="18203"/>
                </a:cubicBezTo>
                <a:cubicBezTo>
                  <a:pt x="13184" y="18203"/>
                  <a:pt x="13089" y="18218"/>
                  <a:pt x="13005" y="18247"/>
                </a:cubicBezTo>
                <a:cubicBezTo>
                  <a:pt x="12990" y="18252"/>
                  <a:pt x="12977" y="18255"/>
                  <a:pt x="12965" y="18255"/>
                </a:cubicBezTo>
                <a:cubicBezTo>
                  <a:pt x="12885" y="18258"/>
                  <a:pt x="12813" y="18271"/>
                  <a:pt x="12748" y="18293"/>
                </a:cubicBezTo>
                <a:cubicBezTo>
                  <a:pt x="12695" y="18313"/>
                  <a:pt x="12634" y="18325"/>
                  <a:pt x="12567" y="18329"/>
                </a:cubicBezTo>
                <a:cubicBezTo>
                  <a:pt x="12542" y="18330"/>
                  <a:pt x="12518" y="18331"/>
                  <a:pt x="12494" y="18331"/>
                </a:cubicBezTo>
                <a:cubicBezTo>
                  <a:pt x="12422" y="18330"/>
                  <a:pt x="12361" y="18342"/>
                  <a:pt x="12313" y="18370"/>
                </a:cubicBezTo>
                <a:cubicBezTo>
                  <a:pt x="12301" y="18378"/>
                  <a:pt x="12288" y="18386"/>
                  <a:pt x="12273" y="18393"/>
                </a:cubicBezTo>
                <a:cubicBezTo>
                  <a:pt x="12252" y="18403"/>
                  <a:pt x="12229" y="18409"/>
                  <a:pt x="12205" y="18410"/>
                </a:cubicBezTo>
                <a:cubicBezTo>
                  <a:pt x="12115" y="18417"/>
                  <a:pt x="12031" y="18429"/>
                  <a:pt x="11951" y="18446"/>
                </a:cubicBezTo>
                <a:cubicBezTo>
                  <a:pt x="11878" y="18463"/>
                  <a:pt x="11806" y="18482"/>
                  <a:pt x="11734" y="18501"/>
                </a:cubicBezTo>
                <a:cubicBezTo>
                  <a:pt x="11699" y="18511"/>
                  <a:pt x="11664" y="18520"/>
                  <a:pt x="11629" y="18530"/>
                </a:cubicBezTo>
                <a:cubicBezTo>
                  <a:pt x="11388" y="18600"/>
                  <a:pt x="11183" y="18675"/>
                  <a:pt x="11014" y="18755"/>
                </a:cubicBezTo>
                <a:cubicBezTo>
                  <a:pt x="10999" y="18762"/>
                  <a:pt x="10985" y="18767"/>
                  <a:pt x="10971" y="18771"/>
                </a:cubicBezTo>
                <a:cubicBezTo>
                  <a:pt x="10831" y="18803"/>
                  <a:pt x="10713" y="18842"/>
                  <a:pt x="10619" y="18888"/>
                </a:cubicBezTo>
                <a:cubicBezTo>
                  <a:pt x="10559" y="18917"/>
                  <a:pt x="10473" y="18942"/>
                  <a:pt x="10362" y="18962"/>
                </a:cubicBezTo>
                <a:cubicBezTo>
                  <a:pt x="10336" y="18967"/>
                  <a:pt x="10309" y="18973"/>
                  <a:pt x="10283" y="18978"/>
                </a:cubicBezTo>
                <a:cubicBezTo>
                  <a:pt x="10169" y="19000"/>
                  <a:pt x="10077" y="19030"/>
                  <a:pt x="10004" y="19067"/>
                </a:cubicBezTo>
                <a:cubicBezTo>
                  <a:pt x="9912" y="19113"/>
                  <a:pt x="9815" y="19147"/>
                  <a:pt x="9711" y="19169"/>
                </a:cubicBezTo>
                <a:cubicBezTo>
                  <a:pt x="9696" y="19173"/>
                  <a:pt x="9684" y="19179"/>
                  <a:pt x="9675" y="19190"/>
                </a:cubicBezTo>
                <a:cubicBezTo>
                  <a:pt x="9595" y="19275"/>
                  <a:pt x="9461" y="19324"/>
                  <a:pt x="9273" y="19338"/>
                </a:cubicBezTo>
                <a:cubicBezTo>
                  <a:pt x="9249" y="19340"/>
                  <a:pt x="9226" y="19343"/>
                  <a:pt x="9204" y="19348"/>
                </a:cubicBezTo>
                <a:cubicBezTo>
                  <a:pt x="9098" y="19377"/>
                  <a:pt x="8988" y="19397"/>
                  <a:pt x="8875" y="19409"/>
                </a:cubicBezTo>
                <a:cubicBezTo>
                  <a:pt x="8757" y="19421"/>
                  <a:pt x="8649" y="19450"/>
                  <a:pt x="8553" y="19496"/>
                </a:cubicBezTo>
                <a:cubicBezTo>
                  <a:pt x="8538" y="19503"/>
                  <a:pt x="8524" y="19508"/>
                  <a:pt x="8509" y="19512"/>
                </a:cubicBezTo>
                <a:cubicBezTo>
                  <a:pt x="8423" y="19534"/>
                  <a:pt x="8328" y="19563"/>
                  <a:pt x="8227" y="19598"/>
                </a:cubicBezTo>
                <a:cubicBezTo>
                  <a:pt x="8169" y="19619"/>
                  <a:pt x="8121" y="19637"/>
                  <a:pt x="8082" y="19652"/>
                </a:cubicBezTo>
                <a:cubicBezTo>
                  <a:pt x="8068" y="19657"/>
                  <a:pt x="8053" y="19661"/>
                  <a:pt x="8039" y="19662"/>
                </a:cubicBezTo>
                <a:cubicBezTo>
                  <a:pt x="7923" y="19681"/>
                  <a:pt x="7805" y="19696"/>
                  <a:pt x="7684" y="19708"/>
                </a:cubicBezTo>
                <a:cubicBezTo>
                  <a:pt x="7585" y="19719"/>
                  <a:pt x="7488" y="19733"/>
                  <a:pt x="7391" y="19752"/>
                </a:cubicBezTo>
                <a:cubicBezTo>
                  <a:pt x="7169" y="19796"/>
                  <a:pt x="6965" y="19856"/>
                  <a:pt x="6779" y="19933"/>
                </a:cubicBezTo>
                <a:cubicBezTo>
                  <a:pt x="6765" y="19938"/>
                  <a:pt x="6750" y="19942"/>
                  <a:pt x="6736" y="19946"/>
                </a:cubicBezTo>
                <a:cubicBezTo>
                  <a:pt x="6714" y="19951"/>
                  <a:pt x="6697" y="19958"/>
                  <a:pt x="6685" y="19966"/>
                </a:cubicBezTo>
                <a:cubicBezTo>
                  <a:pt x="6668" y="19978"/>
                  <a:pt x="6638" y="19991"/>
                  <a:pt x="6595" y="20005"/>
                </a:cubicBezTo>
                <a:cubicBezTo>
                  <a:pt x="6385" y="20068"/>
                  <a:pt x="6169" y="20121"/>
                  <a:pt x="5947" y="20166"/>
                </a:cubicBezTo>
                <a:cubicBezTo>
                  <a:pt x="5920" y="20169"/>
                  <a:pt x="5895" y="20174"/>
                  <a:pt x="5871" y="20181"/>
                </a:cubicBezTo>
                <a:cubicBezTo>
                  <a:pt x="5823" y="20191"/>
                  <a:pt x="5774" y="20199"/>
                  <a:pt x="5726" y="20204"/>
                </a:cubicBezTo>
                <a:cubicBezTo>
                  <a:pt x="5702" y="20207"/>
                  <a:pt x="5680" y="20212"/>
                  <a:pt x="5661" y="20219"/>
                </a:cubicBezTo>
                <a:cubicBezTo>
                  <a:pt x="5625" y="20233"/>
                  <a:pt x="5574" y="20236"/>
                  <a:pt x="5509" y="20229"/>
                </a:cubicBezTo>
                <a:cubicBezTo>
                  <a:pt x="5444" y="20221"/>
                  <a:pt x="5377" y="20215"/>
                  <a:pt x="5308" y="20212"/>
                </a:cubicBezTo>
                <a:cubicBezTo>
                  <a:pt x="5255" y="20209"/>
                  <a:pt x="5202" y="20208"/>
                  <a:pt x="5147" y="20209"/>
                </a:cubicBezTo>
                <a:cubicBezTo>
                  <a:pt x="5123" y="20209"/>
                  <a:pt x="5101" y="20212"/>
                  <a:pt x="5082" y="20219"/>
                </a:cubicBezTo>
                <a:cubicBezTo>
                  <a:pt x="5046" y="20233"/>
                  <a:pt x="4995" y="20240"/>
                  <a:pt x="4930" y="20240"/>
                </a:cubicBezTo>
                <a:cubicBezTo>
                  <a:pt x="4795" y="20238"/>
                  <a:pt x="4672" y="20260"/>
                  <a:pt x="4561" y="20306"/>
                </a:cubicBezTo>
                <a:cubicBezTo>
                  <a:pt x="4527" y="20318"/>
                  <a:pt x="4496" y="20332"/>
                  <a:pt x="4467" y="20347"/>
                </a:cubicBezTo>
                <a:cubicBezTo>
                  <a:pt x="4283" y="20436"/>
                  <a:pt x="4112" y="20511"/>
                  <a:pt x="3953" y="20572"/>
                </a:cubicBezTo>
                <a:cubicBezTo>
                  <a:pt x="3914" y="20585"/>
                  <a:pt x="3879" y="20603"/>
                  <a:pt x="3848" y="20623"/>
                </a:cubicBezTo>
                <a:cubicBezTo>
                  <a:pt x="3746" y="20686"/>
                  <a:pt x="3649" y="20729"/>
                  <a:pt x="3555" y="20753"/>
                </a:cubicBezTo>
                <a:cubicBezTo>
                  <a:pt x="3540" y="20757"/>
                  <a:pt x="3526" y="20761"/>
                  <a:pt x="3511" y="20766"/>
                </a:cubicBezTo>
                <a:cubicBezTo>
                  <a:pt x="3453" y="20785"/>
                  <a:pt x="3406" y="20803"/>
                  <a:pt x="3370" y="20820"/>
                </a:cubicBezTo>
                <a:cubicBezTo>
                  <a:pt x="3174" y="20913"/>
                  <a:pt x="2968" y="20989"/>
                  <a:pt x="2751" y="21047"/>
                </a:cubicBezTo>
                <a:cubicBezTo>
                  <a:pt x="2645" y="21074"/>
                  <a:pt x="2551" y="21103"/>
                  <a:pt x="2469" y="21134"/>
                </a:cubicBezTo>
                <a:cubicBezTo>
                  <a:pt x="2348" y="21183"/>
                  <a:pt x="2259" y="21266"/>
                  <a:pt x="2201" y="21382"/>
                </a:cubicBezTo>
                <a:cubicBezTo>
                  <a:pt x="2182" y="21419"/>
                  <a:pt x="2153" y="21464"/>
                  <a:pt x="2114" y="21517"/>
                </a:cubicBezTo>
                <a:cubicBezTo>
                  <a:pt x="2078" y="21565"/>
                  <a:pt x="2026" y="21587"/>
                  <a:pt x="1958" y="21584"/>
                </a:cubicBezTo>
                <a:cubicBezTo>
                  <a:pt x="1905" y="21582"/>
                  <a:pt x="1886" y="21559"/>
                  <a:pt x="1901" y="21515"/>
                </a:cubicBezTo>
                <a:cubicBezTo>
                  <a:pt x="1903" y="21504"/>
                  <a:pt x="1905" y="21495"/>
                  <a:pt x="1908" y="21487"/>
                </a:cubicBezTo>
                <a:cubicBezTo>
                  <a:pt x="1917" y="21418"/>
                  <a:pt x="1926" y="21350"/>
                  <a:pt x="1933" y="21282"/>
                </a:cubicBezTo>
                <a:cubicBezTo>
                  <a:pt x="1938" y="21240"/>
                  <a:pt x="1943" y="21197"/>
                  <a:pt x="1948" y="21154"/>
                </a:cubicBezTo>
                <a:cubicBezTo>
                  <a:pt x="1955" y="21069"/>
                  <a:pt x="1963" y="20984"/>
                  <a:pt x="1973" y="20899"/>
                </a:cubicBezTo>
                <a:cubicBezTo>
                  <a:pt x="1975" y="20882"/>
                  <a:pt x="1975" y="20865"/>
                  <a:pt x="1973" y="20848"/>
                </a:cubicBezTo>
                <a:cubicBezTo>
                  <a:pt x="1963" y="20715"/>
                  <a:pt x="1997" y="20597"/>
                  <a:pt x="2074" y="20493"/>
                </a:cubicBezTo>
                <a:cubicBezTo>
                  <a:pt x="2094" y="20465"/>
                  <a:pt x="2113" y="20438"/>
                  <a:pt x="2132" y="20411"/>
                </a:cubicBezTo>
                <a:cubicBezTo>
                  <a:pt x="2152" y="20384"/>
                  <a:pt x="2191" y="20362"/>
                  <a:pt x="2252" y="20344"/>
                </a:cubicBezTo>
                <a:cubicBezTo>
                  <a:pt x="2273" y="20339"/>
                  <a:pt x="2295" y="20334"/>
                  <a:pt x="2317" y="20329"/>
                </a:cubicBezTo>
                <a:cubicBezTo>
                  <a:pt x="2404" y="20309"/>
                  <a:pt x="2480" y="20279"/>
                  <a:pt x="2545" y="20240"/>
                </a:cubicBezTo>
                <a:cubicBezTo>
                  <a:pt x="2576" y="20219"/>
                  <a:pt x="2611" y="20202"/>
                  <a:pt x="2650" y="20189"/>
                </a:cubicBezTo>
                <a:cubicBezTo>
                  <a:pt x="2729" y="20161"/>
                  <a:pt x="2814" y="20118"/>
                  <a:pt x="2903" y="20058"/>
                </a:cubicBezTo>
                <a:cubicBezTo>
                  <a:pt x="2980" y="20007"/>
                  <a:pt x="3049" y="19961"/>
                  <a:pt x="3109" y="19920"/>
                </a:cubicBezTo>
                <a:cubicBezTo>
                  <a:pt x="3170" y="19879"/>
                  <a:pt x="3257" y="19856"/>
                  <a:pt x="3370" y="19851"/>
                </a:cubicBezTo>
                <a:cubicBezTo>
                  <a:pt x="3394" y="19851"/>
                  <a:pt x="3409" y="19848"/>
                  <a:pt x="3413" y="19841"/>
                </a:cubicBezTo>
                <a:cubicBezTo>
                  <a:pt x="3430" y="19821"/>
                  <a:pt x="3464" y="19814"/>
                  <a:pt x="3515" y="19821"/>
                </a:cubicBezTo>
                <a:cubicBezTo>
                  <a:pt x="3539" y="19824"/>
                  <a:pt x="3561" y="19822"/>
                  <a:pt x="3580" y="19816"/>
                </a:cubicBezTo>
                <a:cubicBezTo>
                  <a:pt x="3616" y="19802"/>
                  <a:pt x="3667" y="19793"/>
                  <a:pt x="3732" y="19788"/>
                </a:cubicBezTo>
                <a:cubicBezTo>
                  <a:pt x="3744" y="19788"/>
                  <a:pt x="3757" y="19787"/>
                  <a:pt x="3772" y="19785"/>
                </a:cubicBezTo>
                <a:cubicBezTo>
                  <a:pt x="3830" y="19778"/>
                  <a:pt x="3888" y="19771"/>
                  <a:pt x="3945" y="19765"/>
                </a:cubicBezTo>
                <a:cubicBezTo>
                  <a:pt x="3960" y="19763"/>
                  <a:pt x="3973" y="19762"/>
                  <a:pt x="3985" y="19762"/>
                </a:cubicBezTo>
                <a:cubicBezTo>
                  <a:pt x="4058" y="19764"/>
                  <a:pt x="4120" y="19753"/>
                  <a:pt x="4173" y="19731"/>
                </a:cubicBezTo>
                <a:cubicBezTo>
                  <a:pt x="4205" y="19718"/>
                  <a:pt x="4235" y="19703"/>
                  <a:pt x="4264" y="19688"/>
                </a:cubicBezTo>
                <a:cubicBezTo>
                  <a:pt x="4283" y="19678"/>
                  <a:pt x="4303" y="19667"/>
                  <a:pt x="4322" y="19655"/>
                </a:cubicBezTo>
                <a:cubicBezTo>
                  <a:pt x="4339" y="19641"/>
                  <a:pt x="4352" y="19627"/>
                  <a:pt x="4362" y="19614"/>
                </a:cubicBezTo>
                <a:cubicBezTo>
                  <a:pt x="4393" y="19571"/>
                  <a:pt x="4459" y="19559"/>
                  <a:pt x="4561" y="19578"/>
                </a:cubicBezTo>
                <a:cubicBezTo>
                  <a:pt x="4575" y="19581"/>
                  <a:pt x="4588" y="19583"/>
                  <a:pt x="4601" y="19583"/>
                </a:cubicBezTo>
                <a:cubicBezTo>
                  <a:pt x="4697" y="19585"/>
                  <a:pt x="4782" y="19599"/>
                  <a:pt x="4854" y="19627"/>
                </a:cubicBezTo>
                <a:cubicBezTo>
                  <a:pt x="4868" y="19632"/>
                  <a:pt x="4883" y="19635"/>
                  <a:pt x="4897" y="19637"/>
                </a:cubicBezTo>
                <a:cubicBezTo>
                  <a:pt x="4979" y="19644"/>
                  <a:pt x="5063" y="19647"/>
                  <a:pt x="5147" y="19647"/>
                </a:cubicBezTo>
                <a:cubicBezTo>
                  <a:pt x="5171" y="19647"/>
                  <a:pt x="5193" y="19650"/>
                  <a:pt x="5212" y="19657"/>
                </a:cubicBezTo>
                <a:cubicBezTo>
                  <a:pt x="5239" y="19666"/>
                  <a:pt x="5271" y="19671"/>
                  <a:pt x="5308" y="19673"/>
                </a:cubicBezTo>
                <a:cubicBezTo>
                  <a:pt x="5345" y="19674"/>
                  <a:pt x="5388" y="19673"/>
                  <a:pt x="5437" y="19667"/>
                </a:cubicBezTo>
                <a:cubicBezTo>
                  <a:pt x="5485" y="19662"/>
                  <a:pt x="5533" y="19656"/>
                  <a:pt x="5581" y="19650"/>
                </a:cubicBezTo>
                <a:cubicBezTo>
                  <a:pt x="5702" y="19631"/>
                  <a:pt x="5821" y="19610"/>
                  <a:pt x="5940" y="19588"/>
                </a:cubicBezTo>
                <a:cubicBezTo>
                  <a:pt x="5954" y="19585"/>
                  <a:pt x="5965" y="19578"/>
                  <a:pt x="5972" y="19568"/>
                </a:cubicBezTo>
                <a:cubicBezTo>
                  <a:pt x="6013" y="19510"/>
                  <a:pt x="6062" y="19458"/>
                  <a:pt x="6117" y="19412"/>
                </a:cubicBezTo>
                <a:cubicBezTo>
                  <a:pt x="6134" y="19398"/>
                  <a:pt x="6142" y="19383"/>
                  <a:pt x="6142" y="19366"/>
                </a:cubicBezTo>
                <a:cubicBezTo>
                  <a:pt x="6145" y="19317"/>
                  <a:pt x="6187" y="19298"/>
                  <a:pt x="6269" y="19310"/>
                </a:cubicBezTo>
                <a:cubicBezTo>
                  <a:pt x="6293" y="19313"/>
                  <a:pt x="6308" y="19318"/>
                  <a:pt x="6312" y="19325"/>
                </a:cubicBezTo>
                <a:cubicBezTo>
                  <a:pt x="6329" y="19347"/>
                  <a:pt x="6363" y="19356"/>
                  <a:pt x="6414" y="19351"/>
                </a:cubicBezTo>
                <a:cubicBezTo>
                  <a:pt x="6496" y="19346"/>
                  <a:pt x="6568" y="19324"/>
                  <a:pt x="6631" y="19287"/>
                </a:cubicBezTo>
                <a:cubicBezTo>
                  <a:pt x="6643" y="19280"/>
                  <a:pt x="6656" y="19275"/>
                  <a:pt x="6671" y="19271"/>
                </a:cubicBezTo>
                <a:cubicBezTo>
                  <a:pt x="6692" y="19266"/>
                  <a:pt x="6713" y="19260"/>
                  <a:pt x="6732" y="19254"/>
                </a:cubicBezTo>
                <a:cubicBezTo>
                  <a:pt x="6745" y="19249"/>
                  <a:pt x="6759" y="19244"/>
                  <a:pt x="6776" y="19241"/>
                </a:cubicBezTo>
                <a:cubicBezTo>
                  <a:pt x="6806" y="19234"/>
                  <a:pt x="6842" y="19230"/>
                  <a:pt x="6884" y="19228"/>
                </a:cubicBezTo>
                <a:cubicBezTo>
                  <a:pt x="6896" y="19226"/>
                  <a:pt x="6910" y="19224"/>
                  <a:pt x="6924" y="19220"/>
                </a:cubicBezTo>
                <a:cubicBezTo>
                  <a:pt x="6946" y="19215"/>
                  <a:pt x="6962" y="19217"/>
                  <a:pt x="6971" y="19225"/>
                </a:cubicBezTo>
                <a:cubicBezTo>
                  <a:pt x="7005" y="19254"/>
                  <a:pt x="7060" y="19271"/>
                  <a:pt x="7138" y="19276"/>
                </a:cubicBezTo>
                <a:cubicBezTo>
                  <a:pt x="7150" y="19276"/>
                  <a:pt x="7162" y="19276"/>
                  <a:pt x="7174" y="19276"/>
                </a:cubicBezTo>
                <a:cubicBezTo>
                  <a:pt x="7186" y="19276"/>
                  <a:pt x="7199" y="19276"/>
                  <a:pt x="7214" y="19274"/>
                </a:cubicBezTo>
                <a:cubicBezTo>
                  <a:pt x="7247" y="19267"/>
                  <a:pt x="7280" y="19260"/>
                  <a:pt x="7311" y="19254"/>
                </a:cubicBezTo>
                <a:cubicBezTo>
                  <a:pt x="7372" y="19238"/>
                  <a:pt x="7422" y="19225"/>
                  <a:pt x="7463" y="19215"/>
                </a:cubicBezTo>
                <a:cubicBezTo>
                  <a:pt x="7591" y="19183"/>
                  <a:pt x="7704" y="19143"/>
                  <a:pt x="7800" y="19095"/>
                </a:cubicBezTo>
                <a:cubicBezTo>
                  <a:pt x="7938" y="19027"/>
                  <a:pt x="8065" y="18963"/>
                  <a:pt x="8184" y="18904"/>
                </a:cubicBezTo>
                <a:cubicBezTo>
                  <a:pt x="8198" y="18897"/>
                  <a:pt x="8213" y="18892"/>
                  <a:pt x="8227" y="18891"/>
                </a:cubicBezTo>
                <a:cubicBezTo>
                  <a:pt x="8343" y="18879"/>
                  <a:pt x="8442" y="18844"/>
                  <a:pt x="8524" y="18786"/>
                </a:cubicBezTo>
                <a:cubicBezTo>
                  <a:pt x="8541" y="18772"/>
                  <a:pt x="8558" y="18759"/>
                  <a:pt x="8575" y="18745"/>
                </a:cubicBezTo>
                <a:cubicBezTo>
                  <a:pt x="8688" y="18643"/>
                  <a:pt x="8836" y="18561"/>
                  <a:pt x="9020" y="18500"/>
                </a:cubicBezTo>
                <a:cubicBezTo>
                  <a:pt x="9174" y="18447"/>
                  <a:pt x="9355" y="18378"/>
                  <a:pt x="9563" y="18293"/>
                </a:cubicBezTo>
                <a:cubicBezTo>
                  <a:pt x="9657" y="18252"/>
                  <a:pt x="9765" y="18231"/>
                  <a:pt x="9888" y="18229"/>
                </a:cubicBezTo>
                <a:cubicBezTo>
                  <a:pt x="9900" y="18229"/>
                  <a:pt x="9912" y="18229"/>
                  <a:pt x="9924" y="18229"/>
                </a:cubicBezTo>
                <a:cubicBezTo>
                  <a:pt x="9935" y="18229"/>
                  <a:pt x="9946" y="18229"/>
                  <a:pt x="9957" y="18229"/>
                </a:cubicBezTo>
                <a:cubicBezTo>
                  <a:pt x="9997" y="18228"/>
                  <a:pt x="10034" y="18225"/>
                  <a:pt x="10068" y="18220"/>
                </a:cubicBezTo>
                <a:cubicBezTo>
                  <a:pt x="10110" y="18214"/>
                  <a:pt x="10143" y="18199"/>
                  <a:pt x="10165" y="18175"/>
                </a:cubicBezTo>
                <a:cubicBezTo>
                  <a:pt x="10170" y="18173"/>
                  <a:pt x="10174" y="18172"/>
                  <a:pt x="10178" y="18170"/>
                </a:cubicBezTo>
                <a:cubicBezTo>
                  <a:pt x="10233" y="18152"/>
                  <a:pt x="10295" y="18128"/>
                  <a:pt x="10362" y="18099"/>
                </a:cubicBezTo>
                <a:cubicBezTo>
                  <a:pt x="10382" y="18092"/>
                  <a:pt x="10394" y="18085"/>
                  <a:pt x="10399" y="18078"/>
                </a:cubicBezTo>
                <a:cubicBezTo>
                  <a:pt x="10416" y="18058"/>
                  <a:pt x="10448" y="18054"/>
                  <a:pt x="10496" y="18068"/>
                </a:cubicBezTo>
                <a:cubicBezTo>
                  <a:pt x="10511" y="18073"/>
                  <a:pt x="10525" y="18078"/>
                  <a:pt x="10540" y="18083"/>
                </a:cubicBezTo>
                <a:cubicBezTo>
                  <a:pt x="10619" y="18114"/>
                  <a:pt x="10727" y="18125"/>
                  <a:pt x="10862" y="18117"/>
                </a:cubicBezTo>
                <a:cubicBezTo>
                  <a:pt x="10886" y="18115"/>
                  <a:pt x="10901" y="18111"/>
                  <a:pt x="10905" y="18104"/>
                </a:cubicBezTo>
                <a:cubicBezTo>
                  <a:pt x="10922" y="18083"/>
                  <a:pt x="10956" y="18077"/>
                  <a:pt x="11007" y="18083"/>
                </a:cubicBezTo>
                <a:cubicBezTo>
                  <a:pt x="11031" y="18087"/>
                  <a:pt x="11045" y="18092"/>
                  <a:pt x="11050" y="18099"/>
                </a:cubicBezTo>
                <a:cubicBezTo>
                  <a:pt x="11067" y="18121"/>
                  <a:pt x="11102" y="18129"/>
                  <a:pt x="11155" y="18124"/>
                </a:cubicBezTo>
                <a:cubicBezTo>
                  <a:pt x="11213" y="18117"/>
                  <a:pt x="11271" y="18111"/>
                  <a:pt x="11329" y="18104"/>
                </a:cubicBezTo>
                <a:cubicBezTo>
                  <a:pt x="11388" y="18098"/>
                  <a:pt x="11445" y="18089"/>
                  <a:pt x="11499" y="18077"/>
                </a:cubicBezTo>
                <a:cubicBezTo>
                  <a:pt x="11553" y="18065"/>
                  <a:pt x="11605" y="18050"/>
                  <a:pt x="11655" y="18032"/>
                </a:cubicBezTo>
                <a:cubicBezTo>
                  <a:pt x="11726" y="18006"/>
                  <a:pt x="11798" y="17981"/>
                  <a:pt x="11870" y="17956"/>
                </a:cubicBezTo>
                <a:cubicBezTo>
                  <a:pt x="11993" y="17914"/>
                  <a:pt x="12116" y="17873"/>
                  <a:pt x="12241" y="17833"/>
                </a:cubicBezTo>
                <a:cubicBezTo>
                  <a:pt x="12301" y="17813"/>
                  <a:pt x="12370" y="17784"/>
                  <a:pt x="12447" y="17746"/>
                </a:cubicBezTo>
                <a:cubicBezTo>
                  <a:pt x="12536" y="17704"/>
                  <a:pt x="12637" y="17656"/>
                  <a:pt x="12748" y="17603"/>
                </a:cubicBezTo>
                <a:cubicBezTo>
                  <a:pt x="12802" y="17578"/>
                  <a:pt x="12861" y="17556"/>
                  <a:pt x="12925" y="17538"/>
                </a:cubicBezTo>
                <a:cubicBezTo>
                  <a:pt x="12972" y="17524"/>
                  <a:pt x="13021" y="17513"/>
                  <a:pt x="13073" y="17503"/>
                </a:cubicBezTo>
                <a:cubicBezTo>
                  <a:pt x="13122" y="17493"/>
                  <a:pt x="13169" y="17481"/>
                  <a:pt x="13214" y="17468"/>
                </a:cubicBezTo>
                <a:cubicBezTo>
                  <a:pt x="13272" y="17451"/>
                  <a:pt x="13323" y="17438"/>
                  <a:pt x="13367" y="17429"/>
                </a:cubicBezTo>
                <a:cubicBezTo>
                  <a:pt x="13388" y="17426"/>
                  <a:pt x="13405" y="17420"/>
                  <a:pt x="13417" y="17411"/>
                </a:cubicBezTo>
                <a:cubicBezTo>
                  <a:pt x="13497" y="17352"/>
                  <a:pt x="13586" y="17310"/>
                  <a:pt x="13685" y="17286"/>
                </a:cubicBezTo>
                <a:cubicBezTo>
                  <a:pt x="13699" y="17283"/>
                  <a:pt x="13713" y="17281"/>
                  <a:pt x="13725" y="17281"/>
                </a:cubicBezTo>
                <a:cubicBezTo>
                  <a:pt x="13761" y="17281"/>
                  <a:pt x="13797" y="17284"/>
                  <a:pt x="13833" y="17289"/>
                </a:cubicBezTo>
                <a:cubicBezTo>
                  <a:pt x="13870" y="17292"/>
                  <a:pt x="13905" y="17297"/>
                  <a:pt x="13938" y="17304"/>
                </a:cubicBezTo>
                <a:cubicBezTo>
                  <a:pt x="13953" y="17306"/>
                  <a:pt x="13966" y="17307"/>
                  <a:pt x="13978" y="17307"/>
                </a:cubicBezTo>
                <a:cubicBezTo>
                  <a:pt x="14026" y="17307"/>
                  <a:pt x="14075" y="17302"/>
                  <a:pt x="14123" y="17294"/>
                </a:cubicBezTo>
                <a:cubicBezTo>
                  <a:pt x="14075" y="17267"/>
                  <a:pt x="14049" y="17224"/>
                  <a:pt x="14047" y="17166"/>
                </a:cubicBezTo>
                <a:cubicBezTo>
                  <a:pt x="14045" y="17103"/>
                  <a:pt x="14093" y="17080"/>
                  <a:pt x="14192" y="17097"/>
                </a:cubicBezTo>
                <a:cubicBezTo>
                  <a:pt x="14206" y="17101"/>
                  <a:pt x="14215" y="17107"/>
                  <a:pt x="14217" y="17118"/>
                </a:cubicBezTo>
                <a:cubicBezTo>
                  <a:pt x="14246" y="17199"/>
                  <a:pt x="14299" y="17224"/>
                  <a:pt x="14376" y="17192"/>
                </a:cubicBezTo>
                <a:cubicBezTo>
                  <a:pt x="14367" y="17154"/>
                  <a:pt x="14342" y="17120"/>
                  <a:pt x="14304" y="17090"/>
                </a:cubicBezTo>
                <a:cubicBezTo>
                  <a:pt x="14292" y="17081"/>
                  <a:pt x="14281" y="17072"/>
                  <a:pt x="14271" y="17061"/>
                </a:cubicBezTo>
                <a:cubicBezTo>
                  <a:pt x="14233" y="17015"/>
                  <a:pt x="14209" y="16965"/>
                  <a:pt x="14199" y="16911"/>
                </a:cubicBezTo>
                <a:cubicBezTo>
                  <a:pt x="14196" y="16894"/>
                  <a:pt x="14201" y="16880"/>
                  <a:pt x="14213" y="16870"/>
                </a:cubicBezTo>
                <a:cubicBezTo>
                  <a:pt x="14298" y="16793"/>
                  <a:pt x="14412" y="16749"/>
                  <a:pt x="14557" y="16737"/>
                </a:cubicBezTo>
                <a:cubicBezTo>
                  <a:pt x="14605" y="16734"/>
                  <a:pt x="14653" y="16728"/>
                  <a:pt x="14698" y="16722"/>
                </a:cubicBezTo>
                <a:cubicBezTo>
                  <a:pt x="14713" y="16720"/>
                  <a:pt x="14726" y="16718"/>
                  <a:pt x="14738" y="16717"/>
                </a:cubicBezTo>
                <a:cubicBezTo>
                  <a:pt x="14847" y="16710"/>
                  <a:pt x="14955" y="16706"/>
                  <a:pt x="15064" y="16706"/>
                </a:cubicBezTo>
                <a:cubicBezTo>
                  <a:pt x="15088" y="16706"/>
                  <a:pt x="15103" y="16703"/>
                  <a:pt x="15107" y="16696"/>
                </a:cubicBezTo>
                <a:cubicBezTo>
                  <a:pt x="15124" y="16676"/>
                  <a:pt x="15158" y="16669"/>
                  <a:pt x="15209" y="16676"/>
                </a:cubicBezTo>
                <a:cubicBezTo>
                  <a:pt x="15233" y="16679"/>
                  <a:pt x="15253" y="16676"/>
                  <a:pt x="15270" y="16668"/>
                </a:cubicBezTo>
                <a:cubicBezTo>
                  <a:pt x="15302" y="16651"/>
                  <a:pt x="15333" y="16632"/>
                  <a:pt x="15364" y="16612"/>
                </a:cubicBezTo>
                <a:cubicBezTo>
                  <a:pt x="15381" y="16598"/>
                  <a:pt x="15397" y="16585"/>
                  <a:pt x="15411" y="16571"/>
                </a:cubicBezTo>
                <a:cubicBezTo>
                  <a:pt x="15510" y="16482"/>
                  <a:pt x="15623" y="16415"/>
                  <a:pt x="15748" y="16369"/>
                </a:cubicBezTo>
                <a:lnTo>
                  <a:pt x="15848" y="16418"/>
                </a:lnTo>
                <a:cubicBezTo>
                  <a:pt x="15847" y="16419"/>
                  <a:pt x="15846" y="16421"/>
                  <a:pt x="15846" y="16423"/>
                </a:cubicBezTo>
                <a:cubicBezTo>
                  <a:pt x="15831" y="16458"/>
                  <a:pt x="15816" y="16494"/>
                  <a:pt x="15799" y="16530"/>
                </a:cubicBezTo>
                <a:cubicBezTo>
                  <a:pt x="15791" y="16545"/>
                  <a:pt x="15782" y="16556"/>
                  <a:pt x="15770" y="16563"/>
                </a:cubicBezTo>
                <a:cubicBezTo>
                  <a:pt x="15748" y="16578"/>
                  <a:pt x="15727" y="16593"/>
                  <a:pt x="15708" y="16609"/>
                </a:cubicBezTo>
                <a:cubicBezTo>
                  <a:pt x="15682" y="16631"/>
                  <a:pt x="15658" y="16654"/>
                  <a:pt x="15636" y="16678"/>
                </a:cubicBezTo>
                <a:cubicBezTo>
                  <a:pt x="15629" y="16688"/>
                  <a:pt x="15618" y="16694"/>
                  <a:pt x="15603" y="16696"/>
                </a:cubicBezTo>
                <a:cubicBezTo>
                  <a:pt x="15485" y="16715"/>
                  <a:pt x="15437" y="16769"/>
                  <a:pt x="15458" y="16860"/>
                </a:cubicBezTo>
                <a:cubicBezTo>
                  <a:pt x="15461" y="16877"/>
                  <a:pt x="15457" y="16887"/>
                  <a:pt x="15448" y="16890"/>
                </a:cubicBezTo>
                <a:cubicBezTo>
                  <a:pt x="15419" y="16902"/>
                  <a:pt x="15411" y="16926"/>
                  <a:pt x="15426" y="16962"/>
                </a:cubicBezTo>
                <a:cubicBezTo>
                  <a:pt x="15462" y="17044"/>
                  <a:pt x="15522" y="17052"/>
                  <a:pt x="15607" y="16987"/>
                </a:cubicBezTo>
                <a:cubicBezTo>
                  <a:pt x="15619" y="16979"/>
                  <a:pt x="15627" y="16969"/>
                  <a:pt x="15632" y="16959"/>
                </a:cubicBezTo>
                <a:cubicBezTo>
                  <a:pt x="15651" y="16927"/>
                  <a:pt x="15671" y="16895"/>
                  <a:pt x="15690" y="16862"/>
                </a:cubicBezTo>
                <a:cubicBezTo>
                  <a:pt x="15695" y="16852"/>
                  <a:pt x="15697" y="16843"/>
                  <a:pt x="15697" y="16834"/>
                </a:cubicBezTo>
                <a:cubicBezTo>
                  <a:pt x="15697" y="16802"/>
                  <a:pt x="15717" y="16778"/>
                  <a:pt x="15755" y="16763"/>
                </a:cubicBezTo>
                <a:cubicBezTo>
                  <a:pt x="15811" y="16737"/>
                  <a:pt x="15851" y="16711"/>
                  <a:pt x="15875" y="16686"/>
                </a:cubicBezTo>
                <a:cubicBezTo>
                  <a:pt x="15890" y="16669"/>
                  <a:pt x="15907" y="16653"/>
                  <a:pt x="15925" y="16637"/>
                </a:cubicBezTo>
                <a:cubicBezTo>
                  <a:pt x="15939" y="16626"/>
                  <a:pt x="15953" y="16615"/>
                  <a:pt x="15969" y="16604"/>
                </a:cubicBezTo>
                <a:cubicBezTo>
                  <a:pt x="15981" y="16596"/>
                  <a:pt x="15990" y="16586"/>
                  <a:pt x="15998" y="16576"/>
                </a:cubicBezTo>
                <a:cubicBezTo>
                  <a:pt x="16010" y="16561"/>
                  <a:pt x="16022" y="16546"/>
                  <a:pt x="16034" y="16533"/>
                </a:cubicBezTo>
                <a:cubicBezTo>
                  <a:pt x="16038" y="16527"/>
                  <a:pt x="16043" y="16522"/>
                  <a:pt x="16047" y="16517"/>
                </a:cubicBezTo>
                <a:cubicBezTo>
                  <a:pt x="16049" y="16515"/>
                  <a:pt x="16052" y="16512"/>
                  <a:pt x="16054" y="16510"/>
                </a:cubicBezTo>
                <a:cubicBezTo>
                  <a:pt x="16113" y="16444"/>
                  <a:pt x="16169" y="16390"/>
                  <a:pt x="16222" y="16349"/>
                </a:cubicBezTo>
                <a:cubicBezTo>
                  <a:pt x="16234" y="16340"/>
                  <a:pt x="16241" y="16331"/>
                  <a:pt x="16244" y="16320"/>
                </a:cubicBezTo>
                <a:cubicBezTo>
                  <a:pt x="16254" y="16271"/>
                  <a:pt x="16261" y="16221"/>
                  <a:pt x="16266" y="16170"/>
                </a:cubicBezTo>
                <a:cubicBezTo>
                  <a:pt x="16275" y="16032"/>
                  <a:pt x="16349" y="15932"/>
                  <a:pt x="16486" y="15870"/>
                </a:cubicBezTo>
                <a:cubicBezTo>
                  <a:pt x="16552" y="15840"/>
                  <a:pt x="16633" y="15819"/>
                  <a:pt x="16729" y="15807"/>
                </a:cubicBezTo>
                <a:cubicBezTo>
                  <a:pt x="16883" y="15787"/>
                  <a:pt x="16957" y="15822"/>
                  <a:pt x="16950" y="15914"/>
                </a:cubicBezTo>
                <a:cubicBezTo>
                  <a:pt x="16947" y="15931"/>
                  <a:pt x="16941" y="15947"/>
                  <a:pt x="16932" y="15960"/>
                </a:cubicBezTo>
                <a:cubicBezTo>
                  <a:pt x="16905" y="15998"/>
                  <a:pt x="16895" y="16051"/>
                  <a:pt x="16903" y="16119"/>
                </a:cubicBezTo>
                <a:cubicBezTo>
                  <a:pt x="16907" y="16161"/>
                  <a:pt x="16915" y="16203"/>
                  <a:pt x="16924" y="16244"/>
                </a:cubicBezTo>
                <a:cubicBezTo>
                  <a:pt x="16951" y="16355"/>
                  <a:pt x="16913" y="16435"/>
                  <a:pt x="16812" y="16487"/>
                </a:cubicBezTo>
                <a:cubicBezTo>
                  <a:pt x="16730" y="16526"/>
                  <a:pt x="16642" y="16565"/>
                  <a:pt x="16548" y="16604"/>
                </a:cubicBezTo>
                <a:cubicBezTo>
                  <a:pt x="16524" y="16613"/>
                  <a:pt x="16503" y="16624"/>
                  <a:pt x="16486" y="16637"/>
                </a:cubicBezTo>
                <a:cubicBezTo>
                  <a:pt x="16467" y="16649"/>
                  <a:pt x="16448" y="16659"/>
                  <a:pt x="16428" y="16668"/>
                </a:cubicBezTo>
                <a:cubicBezTo>
                  <a:pt x="16424" y="16670"/>
                  <a:pt x="16420" y="16672"/>
                  <a:pt x="16416" y="16674"/>
                </a:cubicBezTo>
                <a:cubicBezTo>
                  <a:pt x="16406" y="16680"/>
                  <a:pt x="16399" y="16686"/>
                  <a:pt x="16396" y="16691"/>
                </a:cubicBezTo>
                <a:cubicBezTo>
                  <a:pt x="16394" y="16693"/>
                  <a:pt x="16392" y="16696"/>
                  <a:pt x="16390" y="16699"/>
                </a:cubicBezTo>
                <a:cubicBezTo>
                  <a:pt x="16387" y="16708"/>
                  <a:pt x="16385" y="16719"/>
                  <a:pt x="16385" y="16732"/>
                </a:cubicBezTo>
                <a:cubicBezTo>
                  <a:pt x="16385" y="16734"/>
                  <a:pt x="16385" y="16735"/>
                  <a:pt x="16385" y="16737"/>
                </a:cubicBezTo>
                <a:cubicBezTo>
                  <a:pt x="16390" y="16812"/>
                  <a:pt x="16444" y="16843"/>
                  <a:pt x="16548" y="16831"/>
                </a:cubicBezTo>
                <a:cubicBezTo>
                  <a:pt x="16596" y="16825"/>
                  <a:pt x="16642" y="16814"/>
                  <a:pt x="16685" y="16798"/>
                </a:cubicBezTo>
                <a:cubicBezTo>
                  <a:pt x="16714" y="16788"/>
                  <a:pt x="16743" y="16778"/>
                  <a:pt x="16772" y="16768"/>
                </a:cubicBezTo>
                <a:cubicBezTo>
                  <a:pt x="16796" y="16757"/>
                  <a:pt x="16813" y="16736"/>
                  <a:pt x="16823" y="16704"/>
                </a:cubicBezTo>
                <a:cubicBezTo>
                  <a:pt x="16840" y="16625"/>
                  <a:pt x="16916" y="16596"/>
                  <a:pt x="17051" y="16614"/>
                </a:cubicBezTo>
                <a:cubicBezTo>
                  <a:pt x="17065" y="16616"/>
                  <a:pt x="17074" y="16622"/>
                  <a:pt x="17076" y="16632"/>
                </a:cubicBezTo>
                <a:cubicBezTo>
                  <a:pt x="17086" y="16690"/>
                  <a:pt x="17093" y="16749"/>
                  <a:pt x="17098" y="16808"/>
                </a:cubicBezTo>
                <a:cubicBezTo>
                  <a:pt x="17099" y="16827"/>
                  <a:pt x="17108" y="16840"/>
                  <a:pt x="17125" y="16847"/>
                </a:cubicBezTo>
                <a:cubicBezTo>
                  <a:pt x="17141" y="16854"/>
                  <a:pt x="17165" y="16854"/>
                  <a:pt x="17196" y="16849"/>
                </a:cubicBezTo>
                <a:cubicBezTo>
                  <a:pt x="17210" y="16848"/>
                  <a:pt x="17223" y="16847"/>
                  <a:pt x="17235" y="16847"/>
                </a:cubicBezTo>
                <a:cubicBezTo>
                  <a:pt x="17313" y="16850"/>
                  <a:pt x="17357" y="16837"/>
                  <a:pt x="17369" y="16806"/>
                </a:cubicBezTo>
                <a:cubicBezTo>
                  <a:pt x="17377" y="16791"/>
                  <a:pt x="17374" y="16777"/>
                  <a:pt x="17362" y="16765"/>
                </a:cubicBezTo>
                <a:cubicBezTo>
                  <a:pt x="17319" y="16719"/>
                  <a:pt x="17301" y="16657"/>
                  <a:pt x="17308" y="16579"/>
                </a:cubicBezTo>
                <a:cubicBezTo>
                  <a:pt x="17308" y="16562"/>
                  <a:pt x="17313" y="16546"/>
                  <a:pt x="17322" y="16533"/>
                </a:cubicBezTo>
                <a:cubicBezTo>
                  <a:pt x="17346" y="16493"/>
                  <a:pt x="17360" y="16441"/>
                  <a:pt x="17362" y="16374"/>
                </a:cubicBezTo>
                <a:cubicBezTo>
                  <a:pt x="17362" y="16340"/>
                  <a:pt x="17366" y="16306"/>
                  <a:pt x="17373" y="16272"/>
                </a:cubicBezTo>
                <a:cubicBezTo>
                  <a:pt x="17378" y="16255"/>
                  <a:pt x="17385" y="16240"/>
                  <a:pt x="17395" y="16226"/>
                </a:cubicBezTo>
                <a:cubicBezTo>
                  <a:pt x="17414" y="16200"/>
                  <a:pt x="17423" y="16165"/>
                  <a:pt x="17420" y="16119"/>
                </a:cubicBezTo>
                <a:cubicBezTo>
                  <a:pt x="17418" y="16102"/>
                  <a:pt x="17421" y="16087"/>
                  <a:pt x="17431" y="16075"/>
                </a:cubicBezTo>
                <a:cubicBezTo>
                  <a:pt x="17474" y="16028"/>
                  <a:pt x="17468" y="15975"/>
                  <a:pt x="17413" y="15917"/>
                </a:cubicBezTo>
                <a:cubicBezTo>
                  <a:pt x="17403" y="15907"/>
                  <a:pt x="17397" y="15896"/>
                  <a:pt x="17395" y="15886"/>
                </a:cubicBezTo>
                <a:cubicBezTo>
                  <a:pt x="17368" y="15796"/>
                  <a:pt x="17304" y="15742"/>
                  <a:pt x="17203" y="15725"/>
                </a:cubicBezTo>
                <a:cubicBezTo>
                  <a:pt x="17188" y="15724"/>
                  <a:pt x="17175" y="15723"/>
                  <a:pt x="17163" y="15723"/>
                </a:cubicBezTo>
                <a:cubicBezTo>
                  <a:pt x="17097" y="15728"/>
                  <a:pt x="17054" y="15716"/>
                  <a:pt x="17035" y="15687"/>
                </a:cubicBezTo>
                <a:cubicBezTo>
                  <a:pt x="17028" y="15679"/>
                  <a:pt x="17024" y="15670"/>
                  <a:pt x="17022" y="15659"/>
                </a:cubicBezTo>
                <a:lnTo>
                  <a:pt x="17109" y="15531"/>
                </a:lnTo>
                <a:cubicBezTo>
                  <a:pt x="17113" y="15529"/>
                  <a:pt x="17118" y="15527"/>
                  <a:pt x="17123" y="15526"/>
                </a:cubicBezTo>
                <a:cubicBezTo>
                  <a:pt x="17168" y="15513"/>
                  <a:pt x="17219" y="15506"/>
                  <a:pt x="17277" y="15504"/>
                </a:cubicBezTo>
                <a:cubicBezTo>
                  <a:pt x="17284" y="15504"/>
                  <a:pt x="17292" y="15504"/>
                  <a:pt x="17299" y="15504"/>
                </a:cubicBezTo>
                <a:cubicBezTo>
                  <a:pt x="17345" y="15504"/>
                  <a:pt x="17395" y="15507"/>
                  <a:pt x="17449" y="15513"/>
                </a:cubicBezTo>
                <a:cubicBezTo>
                  <a:pt x="17476" y="15517"/>
                  <a:pt x="17501" y="15520"/>
                  <a:pt x="17525" y="15523"/>
                </a:cubicBezTo>
                <a:cubicBezTo>
                  <a:pt x="17636" y="15535"/>
                  <a:pt x="17721" y="15563"/>
                  <a:pt x="17778" y="15608"/>
                </a:cubicBezTo>
                <a:cubicBezTo>
                  <a:pt x="17790" y="15616"/>
                  <a:pt x="17797" y="15625"/>
                  <a:pt x="17797" y="15633"/>
                </a:cubicBezTo>
                <a:cubicBezTo>
                  <a:pt x="17799" y="15683"/>
                  <a:pt x="17840" y="15696"/>
                  <a:pt x="17920" y="15674"/>
                </a:cubicBezTo>
                <a:cubicBezTo>
                  <a:pt x="18021" y="15645"/>
                  <a:pt x="18105" y="15649"/>
                  <a:pt x="18173" y="15687"/>
                </a:cubicBezTo>
                <a:cubicBezTo>
                  <a:pt x="18187" y="15694"/>
                  <a:pt x="18195" y="15701"/>
                  <a:pt x="18195" y="15710"/>
                </a:cubicBezTo>
                <a:cubicBezTo>
                  <a:pt x="18195" y="15742"/>
                  <a:pt x="18212" y="15769"/>
                  <a:pt x="18245" y="15789"/>
                </a:cubicBezTo>
                <a:cubicBezTo>
                  <a:pt x="18325" y="15832"/>
                  <a:pt x="18434" y="15844"/>
                  <a:pt x="18571" y="15827"/>
                </a:cubicBezTo>
                <a:cubicBezTo>
                  <a:pt x="18586" y="15826"/>
                  <a:pt x="18600" y="15823"/>
                  <a:pt x="18614" y="15820"/>
                </a:cubicBezTo>
                <a:cubicBezTo>
                  <a:pt x="18665" y="15809"/>
                  <a:pt x="18684" y="15782"/>
                  <a:pt x="18672" y="15738"/>
                </a:cubicBezTo>
                <a:cubicBezTo>
                  <a:pt x="18668" y="15719"/>
                  <a:pt x="18664" y="15701"/>
                  <a:pt x="18662" y="15684"/>
                </a:cubicBezTo>
                <a:cubicBezTo>
                  <a:pt x="18657" y="15638"/>
                  <a:pt x="18630" y="15609"/>
                  <a:pt x="18582" y="15595"/>
                </a:cubicBezTo>
                <a:cubicBezTo>
                  <a:pt x="18546" y="15586"/>
                  <a:pt x="18506" y="15566"/>
                  <a:pt x="18462" y="15534"/>
                </a:cubicBezTo>
                <a:cubicBezTo>
                  <a:pt x="18434" y="15511"/>
                  <a:pt x="18386" y="15499"/>
                  <a:pt x="18321" y="15495"/>
                </a:cubicBezTo>
                <a:cubicBezTo>
                  <a:pt x="18297" y="15494"/>
                  <a:pt x="18272" y="15491"/>
                  <a:pt x="18245" y="15488"/>
                </a:cubicBezTo>
                <a:cubicBezTo>
                  <a:pt x="18212" y="15482"/>
                  <a:pt x="18178" y="15477"/>
                  <a:pt x="18144" y="15472"/>
                </a:cubicBezTo>
                <a:cubicBezTo>
                  <a:pt x="18130" y="15469"/>
                  <a:pt x="18116" y="15467"/>
                  <a:pt x="18104" y="15467"/>
                </a:cubicBezTo>
                <a:cubicBezTo>
                  <a:pt x="18053" y="15471"/>
                  <a:pt x="18029" y="15458"/>
                  <a:pt x="18032" y="15429"/>
                </a:cubicBezTo>
                <a:cubicBezTo>
                  <a:pt x="18032" y="15412"/>
                  <a:pt x="18038" y="15401"/>
                  <a:pt x="18050" y="15396"/>
                </a:cubicBezTo>
                <a:cubicBezTo>
                  <a:pt x="18146" y="15346"/>
                  <a:pt x="18261" y="15319"/>
                  <a:pt x="18394" y="15314"/>
                </a:cubicBezTo>
                <a:cubicBezTo>
                  <a:pt x="18406" y="15314"/>
                  <a:pt x="18418" y="15313"/>
                  <a:pt x="18430" y="15311"/>
                </a:cubicBezTo>
                <a:cubicBezTo>
                  <a:pt x="18534" y="15304"/>
                  <a:pt x="18582" y="15259"/>
                  <a:pt x="18575" y="15173"/>
                </a:cubicBezTo>
                <a:cubicBezTo>
                  <a:pt x="18406" y="15192"/>
                  <a:pt x="18282" y="15169"/>
                  <a:pt x="18202" y="15104"/>
                </a:cubicBezTo>
                <a:cubicBezTo>
                  <a:pt x="18185" y="15091"/>
                  <a:pt x="18164" y="15084"/>
                  <a:pt x="18140" y="15084"/>
                </a:cubicBezTo>
                <a:cubicBezTo>
                  <a:pt x="18128" y="15084"/>
                  <a:pt x="18115" y="15086"/>
                  <a:pt x="18101" y="15089"/>
                </a:cubicBezTo>
                <a:cubicBezTo>
                  <a:pt x="18079" y="15094"/>
                  <a:pt x="18060" y="15101"/>
                  <a:pt x="18043" y="15109"/>
                </a:cubicBezTo>
                <a:cubicBezTo>
                  <a:pt x="18023" y="15118"/>
                  <a:pt x="18004" y="15126"/>
                  <a:pt x="17985" y="15132"/>
                </a:cubicBezTo>
                <a:cubicBezTo>
                  <a:pt x="17924" y="15155"/>
                  <a:pt x="17875" y="15183"/>
                  <a:pt x="17836" y="15217"/>
                </a:cubicBezTo>
                <a:cubicBezTo>
                  <a:pt x="17822" y="15230"/>
                  <a:pt x="17807" y="15244"/>
                  <a:pt x="17793" y="15258"/>
                </a:cubicBezTo>
                <a:cubicBezTo>
                  <a:pt x="17769" y="15282"/>
                  <a:pt x="17727" y="15302"/>
                  <a:pt x="17666" y="15319"/>
                </a:cubicBezTo>
                <a:cubicBezTo>
                  <a:pt x="17644" y="15324"/>
                  <a:pt x="17623" y="15329"/>
                  <a:pt x="17601" y="15334"/>
                </a:cubicBezTo>
                <a:cubicBezTo>
                  <a:pt x="17546" y="15350"/>
                  <a:pt x="17484" y="15359"/>
                  <a:pt x="17416" y="15362"/>
                </a:cubicBezTo>
                <a:cubicBezTo>
                  <a:pt x="17358" y="15366"/>
                  <a:pt x="17312" y="15362"/>
                  <a:pt x="17279" y="15351"/>
                </a:cubicBezTo>
                <a:cubicBezTo>
                  <a:pt x="17271" y="15348"/>
                  <a:pt x="17264" y="15345"/>
                  <a:pt x="17257" y="15342"/>
                </a:cubicBezTo>
                <a:cubicBezTo>
                  <a:pt x="17252" y="15339"/>
                  <a:pt x="17247" y="15336"/>
                  <a:pt x="17243" y="15333"/>
                </a:cubicBezTo>
                <a:lnTo>
                  <a:pt x="17275" y="15283"/>
                </a:lnTo>
                <a:cubicBezTo>
                  <a:pt x="17310" y="15273"/>
                  <a:pt x="17341" y="15262"/>
                  <a:pt x="17368" y="15250"/>
                </a:cubicBezTo>
                <a:cubicBezTo>
                  <a:pt x="17411" y="15230"/>
                  <a:pt x="17443" y="15206"/>
                  <a:pt x="17463" y="15178"/>
                </a:cubicBezTo>
                <a:cubicBezTo>
                  <a:pt x="17480" y="15158"/>
                  <a:pt x="17493" y="15132"/>
                  <a:pt x="17500" y="15099"/>
                </a:cubicBezTo>
                <a:cubicBezTo>
                  <a:pt x="17505" y="15081"/>
                  <a:pt x="17512" y="15063"/>
                  <a:pt x="17521" y="15046"/>
                </a:cubicBezTo>
                <a:cubicBezTo>
                  <a:pt x="17524" y="15040"/>
                  <a:pt x="17526" y="15035"/>
                  <a:pt x="17529" y="15030"/>
                </a:cubicBezTo>
                <a:cubicBezTo>
                  <a:pt x="17552" y="14994"/>
                  <a:pt x="17599" y="14975"/>
                  <a:pt x="17670" y="14972"/>
                </a:cubicBezTo>
                <a:cubicBezTo>
                  <a:pt x="17718" y="14970"/>
                  <a:pt x="17765" y="14966"/>
                  <a:pt x="17811" y="14959"/>
                </a:cubicBezTo>
                <a:cubicBezTo>
                  <a:pt x="17825" y="14957"/>
                  <a:pt x="17840" y="14954"/>
                  <a:pt x="17854" y="14951"/>
                </a:cubicBezTo>
                <a:cubicBezTo>
                  <a:pt x="17876" y="14946"/>
                  <a:pt x="17889" y="14940"/>
                  <a:pt x="17894" y="14933"/>
                </a:cubicBezTo>
                <a:cubicBezTo>
                  <a:pt x="17901" y="14923"/>
                  <a:pt x="17901" y="14908"/>
                  <a:pt x="17894" y="14890"/>
                </a:cubicBezTo>
                <a:cubicBezTo>
                  <a:pt x="17863" y="14822"/>
                  <a:pt x="17885" y="14789"/>
                  <a:pt x="17959" y="14793"/>
                </a:cubicBezTo>
                <a:cubicBezTo>
                  <a:pt x="18025" y="14796"/>
                  <a:pt x="18061" y="14821"/>
                  <a:pt x="18068" y="14867"/>
                </a:cubicBezTo>
                <a:cubicBezTo>
                  <a:pt x="18092" y="14833"/>
                  <a:pt x="18117" y="14799"/>
                  <a:pt x="18144" y="14767"/>
                </a:cubicBezTo>
                <a:cubicBezTo>
                  <a:pt x="18154" y="14757"/>
                  <a:pt x="18164" y="14752"/>
                  <a:pt x="18177" y="14752"/>
                </a:cubicBezTo>
                <a:cubicBezTo>
                  <a:pt x="18288" y="14745"/>
                  <a:pt x="18372" y="14724"/>
                  <a:pt x="18430" y="14688"/>
                </a:cubicBezTo>
                <a:cubicBezTo>
                  <a:pt x="18442" y="14679"/>
                  <a:pt x="18450" y="14670"/>
                  <a:pt x="18455" y="14660"/>
                </a:cubicBezTo>
                <a:cubicBezTo>
                  <a:pt x="18462" y="14644"/>
                  <a:pt x="18471" y="14630"/>
                  <a:pt x="18481" y="14616"/>
                </a:cubicBezTo>
                <a:cubicBezTo>
                  <a:pt x="18497" y="14587"/>
                  <a:pt x="18529" y="14573"/>
                  <a:pt x="18575" y="14573"/>
                </a:cubicBezTo>
                <a:cubicBezTo>
                  <a:pt x="18587" y="14573"/>
                  <a:pt x="18599" y="14573"/>
                  <a:pt x="18611" y="14573"/>
                </a:cubicBezTo>
                <a:cubicBezTo>
                  <a:pt x="18676" y="14568"/>
                  <a:pt x="18721" y="14553"/>
                  <a:pt x="18745" y="14529"/>
                </a:cubicBezTo>
                <a:cubicBezTo>
                  <a:pt x="18810" y="14463"/>
                  <a:pt x="18885" y="14412"/>
                  <a:pt x="18969" y="14376"/>
                </a:cubicBezTo>
                <a:cubicBezTo>
                  <a:pt x="18984" y="14371"/>
                  <a:pt x="18997" y="14369"/>
                  <a:pt x="19009" y="14369"/>
                </a:cubicBezTo>
                <a:cubicBezTo>
                  <a:pt x="19149" y="14363"/>
                  <a:pt x="19241" y="14324"/>
                  <a:pt x="19284" y="14251"/>
                </a:cubicBezTo>
                <a:cubicBezTo>
                  <a:pt x="19294" y="14236"/>
                  <a:pt x="19305" y="14222"/>
                  <a:pt x="19317" y="14210"/>
                </a:cubicBezTo>
                <a:cubicBezTo>
                  <a:pt x="19353" y="14173"/>
                  <a:pt x="19384" y="14169"/>
                  <a:pt x="19411" y="14200"/>
                </a:cubicBezTo>
                <a:cubicBezTo>
                  <a:pt x="19420" y="14210"/>
                  <a:pt x="19432" y="14218"/>
                  <a:pt x="19447" y="14223"/>
                </a:cubicBezTo>
                <a:cubicBezTo>
                  <a:pt x="19490" y="14235"/>
                  <a:pt x="19521" y="14226"/>
                  <a:pt x="19537" y="14197"/>
                </a:cubicBezTo>
                <a:cubicBezTo>
                  <a:pt x="19547" y="14184"/>
                  <a:pt x="19546" y="14174"/>
                  <a:pt x="19534" y="14169"/>
                </a:cubicBezTo>
                <a:cubicBezTo>
                  <a:pt x="19478" y="14144"/>
                  <a:pt x="19448" y="14104"/>
                  <a:pt x="19443" y="14049"/>
                </a:cubicBezTo>
                <a:cubicBezTo>
                  <a:pt x="19564" y="14049"/>
                  <a:pt x="19685" y="14053"/>
                  <a:pt x="19805" y="14062"/>
                </a:cubicBezTo>
                <a:cubicBezTo>
                  <a:pt x="19817" y="14062"/>
                  <a:pt x="19831" y="14064"/>
                  <a:pt x="19845" y="14067"/>
                </a:cubicBezTo>
                <a:cubicBezTo>
                  <a:pt x="19867" y="14072"/>
                  <a:pt x="19886" y="14079"/>
                  <a:pt x="19903" y="14088"/>
                </a:cubicBezTo>
                <a:cubicBezTo>
                  <a:pt x="19985" y="14123"/>
                  <a:pt x="20030" y="14111"/>
                  <a:pt x="20037" y="14049"/>
                </a:cubicBezTo>
                <a:cubicBezTo>
                  <a:pt x="20039" y="14041"/>
                  <a:pt x="20042" y="14031"/>
                  <a:pt x="20044" y="14021"/>
                </a:cubicBezTo>
                <a:cubicBezTo>
                  <a:pt x="20054" y="13988"/>
                  <a:pt x="20057" y="13959"/>
                  <a:pt x="20053" y="13934"/>
                </a:cubicBezTo>
                <a:cubicBezTo>
                  <a:pt x="20048" y="13910"/>
                  <a:pt x="20037" y="13889"/>
                  <a:pt x="20019" y="13873"/>
                </a:cubicBezTo>
                <a:cubicBezTo>
                  <a:pt x="20009" y="13863"/>
                  <a:pt x="19997" y="13856"/>
                  <a:pt x="19983" y="13852"/>
                </a:cubicBezTo>
                <a:cubicBezTo>
                  <a:pt x="19961" y="13847"/>
                  <a:pt x="19946" y="13848"/>
                  <a:pt x="19939" y="13855"/>
                </a:cubicBezTo>
                <a:cubicBezTo>
                  <a:pt x="19911" y="13889"/>
                  <a:pt x="19884" y="13927"/>
                  <a:pt x="19858" y="13970"/>
                </a:cubicBezTo>
                <a:cubicBezTo>
                  <a:pt x="19854" y="13976"/>
                  <a:pt x="19850" y="13982"/>
                  <a:pt x="19847" y="13988"/>
                </a:cubicBezTo>
                <a:cubicBezTo>
                  <a:pt x="19844" y="13989"/>
                  <a:pt x="19841" y="13990"/>
                  <a:pt x="19838" y="13990"/>
                </a:cubicBezTo>
                <a:cubicBezTo>
                  <a:pt x="19804" y="13996"/>
                  <a:pt x="19770" y="13996"/>
                  <a:pt x="19736" y="13990"/>
                </a:cubicBezTo>
                <a:cubicBezTo>
                  <a:pt x="19722" y="13987"/>
                  <a:pt x="19707" y="13984"/>
                  <a:pt x="19693" y="13983"/>
                </a:cubicBezTo>
                <a:cubicBezTo>
                  <a:pt x="19633" y="13973"/>
                  <a:pt x="19600" y="13952"/>
                  <a:pt x="19595" y="13921"/>
                </a:cubicBezTo>
                <a:cubicBezTo>
                  <a:pt x="19591" y="13887"/>
                  <a:pt x="19598" y="13861"/>
                  <a:pt x="19617" y="13842"/>
                </a:cubicBezTo>
                <a:cubicBezTo>
                  <a:pt x="19675" y="13784"/>
                  <a:pt x="19709" y="13733"/>
                  <a:pt x="19718" y="13689"/>
                </a:cubicBezTo>
                <a:cubicBezTo>
                  <a:pt x="19728" y="13657"/>
                  <a:pt x="19723" y="13627"/>
                  <a:pt x="19704" y="13600"/>
                </a:cubicBezTo>
                <a:cubicBezTo>
                  <a:pt x="19677" y="13557"/>
                  <a:pt x="19652" y="13511"/>
                  <a:pt x="19628" y="13462"/>
                </a:cubicBezTo>
                <a:cubicBezTo>
                  <a:pt x="19589" y="13380"/>
                  <a:pt x="19561" y="13295"/>
                  <a:pt x="19545" y="13206"/>
                </a:cubicBezTo>
                <a:cubicBezTo>
                  <a:pt x="19533" y="13150"/>
                  <a:pt x="19511" y="13107"/>
                  <a:pt x="19479" y="13078"/>
                </a:cubicBezTo>
                <a:cubicBezTo>
                  <a:pt x="19429" y="13027"/>
                  <a:pt x="19385" y="12982"/>
                  <a:pt x="19349" y="12943"/>
                </a:cubicBezTo>
                <a:cubicBezTo>
                  <a:pt x="19291" y="12882"/>
                  <a:pt x="19202" y="12841"/>
                  <a:pt x="19081" y="12820"/>
                </a:cubicBezTo>
                <a:cubicBezTo>
                  <a:pt x="19045" y="12813"/>
                  <a:pt x="19009" y="12809"/>
                  <a:pt x="18973" y="12808"/>
                </a:cubicBezTo>
                <a:cubicBezTo>
                  <a:pt x="18940" y="12805"/>
                  <a:pt x="18916" y="12803"/>
                  <a:pt x="18900" y="12801"/>
                </a:cubicBezTo>
                <a:cubicBezTo>
                  <a:pt x="18906" y="12873"/>
                  <a:pt x="18944" y="12939"/>
                  <a:pt x="19013" y="12999"/>
                </a:cubicBezTo>
                <a:cubicBezTo>
                  <a:pt x="19034" y="13018"/>
                  <a:pt x="19050" y="13037"/>
                  <a:pt x="19060" y="13058"/>
                </a:cubicBezTo>
                <a:cubicBezTo>
                  <a:pt x="19074" y="13089"/>
                  <a:pt x="19095" y="13111"/>
                  <a:pt x="19121" y="13124"/>
                </a:cubicBezTo>
                <a:cubicBezTo>
                  <a:pt x="19186" y="13160"/>
                  <a:pt x="19229" y="13197"/>
                  <a:pt x="19248" y="13234"/>
                </a:cubicBezTo>
                <a:cubicBezTo>
                  <a:pt x="19258" y="13258"/>
                  <a:pt x="19264" y="13283"/>
                  <a:pt x="19266" y="13308"/>
                </a:cubicBezTo>
                <a:cubicBezTo>
                  <a:pt x="19278" y="13521"/>
                  <a:pt x="19204" y="13674"/>
                  <a:pt x="19045" y="13768"/>
                </a:cubicBezTo>
                <a:cubicBezTo>
                  <a:pt x="19033" y="13777"/>
                  <a:pt x="19021" y="13782"/>
                  <a:pt x="19009" y="13783"/>
                </a:cubicBezTo>
                <a:cubicBezTo>
                  <a:pt x="18944" y="13787"/>
                  <a:pt x="18896" y="13799"/>
                  <a:pt x="18864" y="13819"/>
                </a:cubicBezTo>
                <a:cubicBezTo>
                  <a:pt x="18828" y="13845"/>
                  <a:pt x="18792" y="13870"/>
                  <a:pt x="18756" y="13896"/>
                </a:cubicBezTo>
                <a:cubicBezTo>
                  <a:pt x="18647" y="13971"/>
                  <a:pt x="18526" y="14030"/>
                  <a:pt x="18394" y="14072"/>
                </a:cubicBezTo>
                <a:cubicBezTo>
                  <a:pt x="18353" y="14086"/>
                  <a:pt x="18303" y="14101"/>
                  <a:pt x="18245" y="14118"/>
                </a:cubicBezTo>
                <a:cubicBezTo>
                  <a:pt x="18006" y="14186"/>
                  <a:pt x="17834" y="14271"/>
                  <a:pt x="17728" y="14374"/>
                </a:cubicBezTo>
                <a:cubicBezTo>
                  <a:pt x="17713" y="14387"/>
                  <a:pt x="17695" y="14399"/>
                  <a:pt x="17673" y="14409"/>
                </a:cubicBezTo>
                <a:cubicBezTo>
                  <a:pt x="17558" y="14464"/>
                  <a:pt x="17484" y="14540"/>
                  <a:pt x="17453" y="14637"/>
                </a:cubicBezTo>
                <a:cubicBezTo>
                  <a:pt x="17441" y="14671"/>
                  <a:pt x="17436" y="14705"/>
                  <a:pt x="17438" y="14739"/>
                </a:cubicBezTo>
                <a:cubicBezTo>
                  <a:pt x="17441" y="14799"/>
                  <a:pt x="17423" y="14851"/>
                  <a:pt x="17384" y="14895"/>
                </a:cubicBezTo>
                <a:cubicBezTo>
                  <a:pt x="17369" y="14910"/>
                  <a:pt x="17357" y="14926"/>
                  <a:pt x="17348" y="14943"/>
                </a:cubicBezTo>
                <a:cubicBezTo>
                  <a:pt x="17326" y="14989"/>
                  <a:pt x="17277" y="15015"/>
                  <a:pt x="17199" y="15020"/>
                </a:cubicBezTo>
                <a:cubicBezTo>
                  <a:pt x="17191" y="15020"/>
                  <a:pt x="17183" y="15020"/>
                  <a:pt x="17176" y="15020"/>
                </a:cubicBezTo>
                <a:lnTo>
                  <a:pt x="17141" y="14887"/>
                </a:lnTo>
                <a:cubicBezTo>
                  <a:pt x="17173" y="14877"/>
                  <a:pt x="17180" y="14853"/>
                  <a:pt x="17163" y="14816"/>
                </a:cubicBezTo>
                <a:cubicBezTo>
                  <a:pt x="17146" y="14777"/>
                  <a:pt x="17131" y="14735"/>
                  <a:pt x="17116" y="14690"/>
                </a:cubicBezTo>
                <a:cubicBezTo>
                  <a:pt x="17111" y="14680"/>
                  <a:pt x="17102" y="14674"/>
                  <a:pt x="17087" y="14673"/>
                </a:cubicBezTo>
                <a:cubicBezTo>
                  <a:pt x="16988" y="14664"/>
                  <a:pt x="16957" y="14619"/>
                  <a:pt x="16993" y="14537"/>
                </a:cubicBezTo>
                <a:cubicBezTo>
                  <a:pt x="16998" y="14527"/>
                  <a:pt x="17000" y="14518"/>
                  <a:pt x="17000" y="14509"/>
                </a:cubicBezTo>
                <a:cubicBezTo>
                  <a:pt x="17000" y="14421"/>
                  <a:pt x="16934" y="14360"/>
                  <a:pt x="16801" y="14328"/>
                </a:cubicBezTo>
                <a:cubicBezTo>
                  <a:pt x="16777" y="14321"/>
                  <a:pt x="16753" y="14318"/>
                  <a:pt x="16729" y="14320"/>
                </a:cubicBezTo>
                <a:cubicBezTo>
                  <a:pt x="16630" y="14325"/>
                  <a:pt x="16572" y="14363"/>
                  <a:pt x="16555" y="14432"/>
                </a:cubicBezTo>
                <a:cubicBezTo>
                  <a:pt x="16538" y="14506"/>
                  <a:pt x="16516" y="14558"/>
                  <a:pt x="16490" y="14591"/>
                </a:cubicBezTo>
                <a:cubicBezTo>
                  <a:pt x="16480" y="14604"/>
                  <a:pt x="16469" y="14616"/>
                  <a:pt x="16457" y="14624"/>
                </a:cubicBezTo>
                <a:cubicBezTo>
                  <a:pt x="16445" y="14633"/>
                  <a:pt x="16431" y="14633"/>
                  <a:pt x="16414" y="14624"/>
                </a:cubicBezTo>
                <a:cubicBezTo>
                  <a:pt x="16354" y="14595"/>
                  <a:pt x="16291" y="14564"/>
                  <a:pt x="16226" y="14532"/>
                </a:cubicBezTo>
                <a:cubicBezTo>
                  <a:pt x="16211" y="14525"/>
                  <a:pt x="16197" y="14521"/>
                  <a:pt x="16182" y="14519"/>
                </a:cubicBezTo>
                <a:cubicBezTo>
                  <a:pt x="16134" y="14514"/>
                  <a:pt x="16099" y="14502"/>
                  <a:pt x="16076" y="14484"/>
                </a:cubicBezTo>
                <a:cubicBezTo>
                  <a:pt x="16063" y="14474"/>
                  <a:pt x="16054" y="14463"/>
                  <a:pt x="16048" y="14450"/>
                </a:cubicBezTo>
                <a:cubicBezTo>
                  <a:pt x="16043" y="14438"/>
                  <a:pt x="16041" y="14423"/>
                  <a:pt x="16041" y="14407"/>
                </a:cubicBezTo>
                <a:cubicBezTo>
                  <a:pt x="16041" y="14368"/>
                  <a:pt x="16068" y="14337"/>
                  <a:pt x="16121" y="14315"/>
                </a:cubicBezTo>
                <a:cubicBezTo>
                  <a:pt x="16169" y="14294"/>
                  <a:pt x="16197" y="14257"/>
                  <a:pt x="16204" y="14202"/>
                </a:cubicBezTo>
                <a:cubicBezTo>
                  <a:pt x="16209" y="14148"/>
                  <a:pt x="16194" y="14111"/>
                  <a:pt x="16161" y="14090"/>
                </a:cubicBezTo>
                <a:cubicBezTo>
                  <a:pt x="16122" y="14068"/>
                  <a:pt x="16070" y="14037"/>
                  <a:pt x="16005" y="13998"/>
                </a:cubicBezTo>
                <a:cubicBezTo>
                  <a:pt x="15933" y="13952"/>
                  <a:pt x="15838" y="13898"/>
                  <a:pt x="15723" y="13837"/>
                </a:cubicBezTo>
                <a:cubicBezTo>
                  <a:pt x="15682" y="13817"/>
                  <a:pt x="15642" y="13795"/>
                  <a:pt x="15603" y="13771"/>
                </a:cubicBezTo>
                <a:cubicBezTo>
                  <a:pt x="15582" y="13758"/>
                  <a:pt x="15561" y="13745"/>
                  <a:pt x="15540" y="13731"/>
                </a:cubicBezTo>
                <a:cubicBezTo>
                  <a:pt x="15459" y="13680"/>
                  <a:pt x="15376" y="13622"/>
                  <a:pt x="15292" y="13556"/>
                </a:cubicBezTo>
                <a:cubicBezTo>
                  <a:pt x="15203" y="13485"/>
                  <a:pt x="15093" y="13424"/>
                  <a:pt x="14963" y="13375"/>
                </a:cubicBezTo>
                <a:cubicBezTo>
                  <a:pt x="14934" y="13364"/>
                  <a:pt x="14905" y="13354"/>
                  <a:pt x="14876" y="13344"/>
                </a:cubicBezTo>
                <a:cubicBezTo>
                  <a:pt x="14743" y="13293"/>
                  <a:pt x="14589" y="13246"/>
                  <a:pt x="14412" y="13203"/>
                </a:cubicBezTo>
                <a:cubicBezTo>
                  <a:pt x="14388" y="13197"/>
                  <a:pt x="14367" y="13187"/>
                  <a:pt x="14347" y="13175"/>
                </a:cubicBezTo>
                <a:cubicBezTo>
                  <a:pt x="14203" y="13078"/>
                  <a:pt x="14008" y="13008"/>
                  <a:pt x="13765" y="12966"/>
                </a:cubicBezTo>
                <a:cubicBezTo>
                  <a:pt x="13702" y="12956"/>
                  <a:pt x="13642" y="12940"/>
                  <a:pt x="13584" y="12920"/>
                </a:cubicBezTo>
                <a:cubicBezTo>
                  <a:pt x="13569" y="12915"/>
                  <a:pt x="13555" y="12911"/>
                  <a:pt x="13540" y="12907"/>
                </a:cubicBezTo>
                <a:cubicBezTo>
                  <a:pt x="13518" y="12902"/>
                  <a:pt x="13497" y="12897"/>
                  <a:pt x="13475" y="12892"/>
                </a:cubicBezTo>
                <a:cubicBezTo>
                  <a:pt x="13418" y="12879"/>
                  <a:pt x="13368" y="12861"/>
                  <a:pt x="13325" y="12837"/>
                </a:cubicBezTo>
                <a:cubicBezTo>
                  <a:pt x="13281" y="12813"/>
                  <a:pt x="13245" y="12784"/>
                  <a:pt x="13214" y="12749"/>
                </a:cubicBezTo>
                <a:cubicBezTo>
                  <a:pt x="13205" y="12739"/>
                  <a:pt x="13199" y="12728"/>
                  <a:pt x="13196" y="12718"/>
                </a:cubicBezTo>
                <a:cubicBezTo>
                  <a:pt x="13187" y="12677"/>
                  <a:pt x="13145" y="12647"/>
                  <a:pt x="13070" y="12626"/>
                </a:cubicBezTo>
                <a:cubicBezTo>
                  <a:pt x="13024" y="12613"/>
                  <a:pt x="12977" y="12601"/>
                  <a:pt x="12929" y="12590"/>
                </a:cubicBezTo>
                <a:cubicBezTo>
                  <a:pt x="12801" y="12560"/>
                  <a:pt x="12744" y="12501"/>
                  <a:pt x="12758" y="12414"/>
                </a:cubicBezTo>
                <a:cubicBezTo>
                  <a:pt x="12766" y="12363"/>
                  <a:pt x="12755" y="12319"/>
                  <a:pt x="12726" y="12281"/>
                </a:cubicBezTo>
                <a:cubicBezTo>
                  <a:pt x="12716" y="12268"/>
                  <a:pt x="12705" y="12255"/>
                  <a:pt x="12693" y="12243"/>
                </a:cubicBezTo>
                <a:cubicBezTo>
                  <a:pt x="12682" y="12231"/>
                  <a:pt x="12673" y="12217"/>
                  <a:pt x="12666" y="12202"/>
                </a:cubicBezTo>
                <a:cubicBezTo>
                  <a:pt x="12658" y="12187"/>
                  <a:pt x="12653" y="12171"/>
                  <a:pt x="12650" y="12153"/>
                </a:cubicBezTo>
                <a:cubicBezTo>
                  <a:pt x="12643" y="12119"/>
                  <a:pt x="12644" y="12079"/>
                  <a:pt x="12653" y="12033"/>
                </a:cubicBezTo>
                <a:cubicBezTo>
                  <a:pt x="12656" y="12023"/>
                  <a:pt x="12658" y="12013"/>
                  <a:pt x="12661" y="12003"/>
                </a:cubicBezTo>
                <a:cubicBezTo>
                  <a:pt x="12675" y="11952"/>
                  <a:pt x="12695" y="11902"/>
                  <a:pt x="12719" y="11855"/>
                </a:cubicBezTo>
                <a:cubicBezTo>
                  <a:pt x="12726" y="11836"/>
                  <a:pt x="12733" y="11817"/>
                  <a:pt x="12740" y="11798"/>
                </a:cubicBezTo>
                <a:cubicBezTo>
                  <a:pt x="12760" y="11727"/>
                  <a:pt x="12834" y="11687"/>
                  <a:pt x="12965" y="11678"/>
                </a:cubicBezTo>
                <a:cubicBezTo>
                  <a:pt x="13025" y="11675"/>
                  <a:pt x="13084" y="11677"/>
                  <a:pt x="13142" y="11683"/>
                </a:cubicBezTo>
                <a:cubicBezTo>
                  <a:pt x="13157" y="11685"/>
                  <a:pt x="13171" y="11687"/>
                  <a:pt x="13186" y="11688"/>
                </a:cubicBezTo>
                <a:cubicBezTo>
                  <a:pt x="13330" y="11714"/>
                  <a:pt x="13426" y="11700"/>
                  <a:pt x="13471" y="11648"/>
                </a:cubicBezTo>
                <a:cubicBezTo>
                  <a:pt x="13392" y="11620"/>
                  <a:pt x="13319" y="11586"/>
                  <a:pt x="13254" y="11545"/>
                </a:cubicBezTo>
                <a:cubicBezTo>
                  <a:pt x="13223" y="11525"/>
                  <a:pt x="13175" y="11518"/>
                  <a:pt x="13109" y="11525"/>
                </a:cubicBezTo>
                <a:cubicBezTo>
                  <a:pt x="13061" y="11530"/>
                  <a:pt x="13014" y="11539"/>
                  <a:pt x="12968" y="11550"/>
                </a:cubicBezTo>
                <a:cubicBezTo>
                  <a:pt x="12942" y="11556"/>
                  <a:pt x="12917" y="11558"/>
                  <a:pt x="12892" y="11558"/>
                </a:cubicBezTo>
                <a:cubicBezTo>
                  <a:pt x="12827" y="11555"/>
                  <a:pt x="12787" y="11567"/>
                  <a:pt x="12773" y="11594"/>
                </a:cubicBezTo>
                <a:cubicBezTo>
                  <a:pt x="12768" y="11604"/>
                  <a:pt x="12758" y="11613"/>
                  <a:pt x="12744" y="11619"/>
                </a:cubicBezTo>
                <a:cubicBezTo>
                  <a:pt x="12684" y="11643"/>
                  <a:pt x="12641" y="11671"/>
                  <a:pt x="12617" y="11704"/>
                </a:cubicBezTo>
                <a:cubicBezTo>
                  <a:pt x="12608" y="11717"/>
                  <a:pt x="12597" y="11728"/>
                  <a:pt x="12585" y="11734"/>
                </a:cubicBezTo>
                <a:cubicBezTo>
                  <a:pt x="12517" y="11772"/>
                  <a:pt x="12475" y="11837"/>
                  <a:pt x="12458" y="11929"/>
                </a:cubicBezTo>
                <a:cubicBezTo>
                  <a:pt x="12450" y="11974"/>
                  <a:pt x="12451" y="12018"/>
                  <a:pt x="12460" y="12060"/>
                </a:cubicBezTo>
                <a:cubicBezTo>
                  <a:pt x="12469" y="12102"/>
                  <a:pt x="12486" y="12143"/>
                  <a:pt x="12511" y="12182"/>
                </a:cubicBezTo>
                <a:cubicBezTo>
                  <a:pt x="12517" y="12191"/>
                  <a:pt x="12523" y="12201"/>
                  <a:pt x="12530" y="12210"/>
                </a:cubicBezTo>
                <a:cubicBezTo>
                  <a:pt x="12535" y="12215"/>
                  <a:pt x="12539" y="12221"/>
                  <a:pt x="12543" y="12226"/>
                </a:cubicBezTo>
                <a:cubicBezTo>
                  <a:pt x="12572" y="12269"/>
                  <a:pt x="12591" y="12315"/>
                  <a:pt x="12599" y="12363"/>
                </a:cubicBezTo>
                <a:cubicBezTo>
                  <a:pt x="12602" y="12380"/>
                  <a:pt x="12608" y="12390"/>
                  <a:pt x="12617" y="12394"/>
                </a:cubicBezTo>
                <a:cubicBezTo>
                  <a:pt x="12649" y="12406"/>
                  <a:pt x="12655" y="12429"/>
                  <a:pt x="12635" y="12465"/>
                </a:cubicBezTo>
                <a:cubicBezTo>
                  <a:pt x="12626" y="12482"/>
                  <a:pt x="12621" y="12499"/>
                  <a:pt x="12621" y="12516"/>
                </a:cubicBezTo>
                <a:cubicBezTo>
                  <a:pt x="12626" y="12554"/>
                  <a:pt x="12608" y="12571"/>
                  <a:pt x="12567" y="12567"/>
                </a:cubicBezTo>
                <a:lnTo>
                  <a:pt x="12567" y="12579"/>
                </a:lnTo>
                <a:cubicBezTo>
                  <a:pt x="12566" y="12571"/>
                  <a:pt x="12560" y="12561"/>
                  <a:pt x="12549" y="12549"/>
                </a:cubicBezTo>
                <a:cubicBezTo>
                  <a:pt x="12536" y="12536"/>
                  <a:pt x="12517" y="12526"/>
                  <a:pt x="12491" y="12521"/>
                </a:cubicBezTo>
                <a:cubicBezTo>
                  <a:pt x="12469" y="12518"/>
                  <a:pt x="12456" y="12520"/>
                  <a:pt x="12451" y="12526"/>
                </a:cubicBezTo>
                <a:cubicBezTo>
                  <a:pt x="12415" y="12574"/>
                  <a:pt x="12357" y="12613"/>
                  <a:pt x="12277" y="12644"/>
                </a:cubicBezTo>
                <a:cubicBezTo>
                  <a:pt x="12265" y="12627"/>
                  <a:pt x="12252" y="12611"/>
                  <a:pt x="12237" y="12595"/>
                </a:cubicBezTo>
                <a:cubicBezTo>
                  <a:pt x="12228" y="12585"/>
                  <a:pt x="12216" y="12578"/>
                  <a:pt x="12201" y="12572"/>
                </a:cubicBezTo>
                <a:cubicBezTo>
                  <a:pt x="12065" y="12528"/>
                  <a:pt x="12004" y="12447"/>
                  <a:pt x="12018" y="12328"/>
                </a:cubicBezTo>
                <a:cubicBezTo>
                  <a:pt x="12019" y="12323"/>
                  <a:pt x="12019" y="12318"/>
                  <a:pt x="12020" y="12312"/>
                </a:cubicBezTo>
                <a:cubicBezTo>
                  <a:pt x="12022" y="12302"/>
                  <a:pt x="12021" y="12293"/>
                  <a:pt x="12018" y="12284"/>
                </a:cubicBezTo>
                <a:cubicBezTo>
                  <a:pt x="12016" y="12277"/>
                  <a:pt x="12013" y="12272"/>
                  <a:pt x="12009" y="12266"/>
                </a:cubicBezTo>
                <a:cubicBezTo>
                  <a:pt x="11995" y="12245"/>
                  <a:pt x="11988" y="12218"/>
                  <a:pt x="11988" y="12184"/>
                </a:cubicBezTo>
                <a:cubicBezTo>
                  <a:pt x="11988" y="12167"/>
                  <a:pt x="11981" y="12153"/>
                  <a:pt x="11969" y="12141"/>
                </a:cubicBezTo>
                <a:cubicBezTo>
                  <a:pt x="11963" y="12134"/>
                  <a:pt x="11957" y="12128"/>
                  <a:pt x="11951" y="12122"/>
                </a:cubicBezTo>
                <a:cubicBezTo>
                  <a:pt x="11916" y="12082"/>
                  <a:pt x="11880" y="12035"/>
                  <a:pt x="11843" y="11980"/>
                </a:cubicBezTo>
                <a:cubicBezTo>
                  <a:pt x="11835" y="12034"/>
                  <a:pt x="11834" y="12085"/>
                  <a:pt x="11839" y="12134"/>
                </a:cubicBezTo>
                <a:cubicBezTo>
                  <a:pt x="11845" y="12179"/>
                  <a:pt x="11856" y="12222"/>
                  <a:pt x="11872" y="12263"/>
                </a:cubicBezTo>
                <a:cubicBezTo>
                  <a:pt x="11877" y="12279"/>
                  <a:pt x="11884" y="12293"/>
                  <a:pt x="11893" y="12307"/>
                </a:cubicBezTo>
                <a:cubicBezTo>
                  <a:pt x="11894" y="12308"/>
                  <a:pt x="11895" y="12308"/>
                  <a:pt x="11895" y="12309"/>
                </a:cubicBezTo>
                <a:cubicBezTo>
                  <a:pt x="11902" y="12321"/>
                  <a:pt x="11908" y="12334"/>
                  <a:pt x="11913" y="12349"/>
                </a:cubicBezTo>
                <a:cubicBezTo>
                  <a:pt x="11925" y="12381"/>
                  <a:pt x="11932" y="12420"/>
                  <a:pt x="11933" y="12465"/>
                </a:cubicBezTo>
                <a:cubicBezTo>
                  <a:pt x="11933" y="12533"/>
                  <a:pt x="11891" y="12574"/>
                  <a:pt x="11807" y="12588"/>
                </a:cubicBezTo>
                <a:cubicBezTo>
                  <a:pt x="11782" y="12591"/>
                  <a:pt x="11764" y="12589"/>
                  <a:pt x="11752" y="12580"/>
                </a:cubicBezTo>
                <a:cubicBezTo>
                  <a:pt x="11675" y="12526"/>
                  <a:pt x="11628" y="12453"/>
                  <a:pt x="11611" y="12363"/>
                </a:cubicBezTo>
                <a:cubicBezTo>
                  <a:pt x="11609" y="12346"/>
                  <a:pt x="11608" y="12329"/>
                  <a:pt x="11608" y="12312"/>
                </a:cubicBezTo>
                <a:cubicBezTo>
                  <a:pt x="11611" y="12255"/>
                  <a:pt x="11605" y="12207"/>
                  <a:pt x="11588" y="12165"/>
                </a:cubicBezTo>
                <a:cubicBezTo>
                  <a:pt x="11574" y="12132"/>
                  <a:pt x="11552" y="12103"/>
                  <a:pt x="11524" y="12079"/>
                </a:cubicBezTo>
                <a:cubicBezTo>
                  <a:pt x="11507" y="12064"/>
                  <a:pt x="11498" y="12048"/>
                  <a:pt x="11495" y="12031"/>
                </a:cubicBezTo>
                <a:cubicBezTo>
                  <a:pt x="11486" y="11937"/>
                  <a:pt x="11484" y="11843"/>
                  <a:pt x="11492" y="11750"/>
                </a:cubicBezTo>
                <a:cubicBezTo>
                  <a:pt x="11497" y="11673"/>
                  <a:pt x="11480" y="11614"/>
                  <a:pt x="11441" y="11573"/>
                </a:cubicBezTo>
                <a:cubicBezTo>
                  <a:pt x="11431" y="11563"/>
                  <a:pt x="11420" y="11558"/>
                  <a:pt x="11408" y="11558"/>
                </a:cubicBezTo>
                <a:cubicBezTo>
                  <a:pt x="11355" y="11556"/>
                  <a:pt x="11323" y="11579"/>
                  <a:pt x="11311" y="11625"/>
                </a:cubicBezTo>
                <a:cubicBezTo>
                  <a:pt x="11303" y="11648"/>
                  <a:pt x="11296" y="11672"/>
                  <a:pt x="11289" y="11696"/>
                </a:cubicBezTo>
                <a:cubicBezTo>
                  <a:pt x="11284" y="11715"/>
                  <a:pt x="11282" y="11733"/>
                  <a:pt x="11282" y="11750"/>
                </a:cubicBezTo>
                <a:cubicBezTo>
                  <a:pt x="11282" y="11792"/>
                  <a:pt x="11287" y="11835"/>
                  <a:pt x="11296" y="11878"/>
                </a:cubicBezTo>
                <a:cubicBezTo>
                  <a:pt x="11299" y="11895"/>
                  <a:pt x="11303" y="11911"/>
                  <a:pt x="11311" y="11926"/>
                </a:cubicBezTo>
                <a:cubicBezTo>
                  <a:pt x="11335" y="11967"/>
                  <a:pt x="11353" y="12003"/>
                  <a:pt x="11365" y="12033"/>
                </a:cubicBezTo>
                <a:cubicBezTo>
                  <a:pt x="11370" y="12049"/>
                  <a:pt x="11378" y="12061"/>
                  <a:pt x="11390" y="12069"/>
                </a:cubicBezTo>
                <a:cubicBezTo>
                  <a:pt x="11428" y="12096"/>
                  <a:pt x="11455" y="12133"/>
                  <a:pt x="11474" y="12179"/>
                </a:cubicBezTo>
                <a:cubicBezTo>
                  <a:pt x="11485" y="12210"/>
                  <a:pt x="11492" y="12246"/>
                  <a:pt x="11495" y="12286"/>
                </a:cubicBezTo>
                <a:cubicBezTo>
                  <a:pt x="11503" y="12370"/>
                  <a:pt x="11515" y="12455"/>
                  <a:pt x="11532" y="12542"/>
                </a:cubicBezTo>
                <a:cubicBezTo>
                  <a:pt x="11534" y="12559"/>
                  <a:pt x="11538" y="12577"/>
                  <a:pt x="11542" y="12595"/>
                </a:cubicBezTo>
                <a:cubicBezTo>
                  <a:pt x="11559" y="12686"/>
                  <a:pt x="11539" y="12753"/>
                  <a:pt x="11481" y="12797"/>
                </a:cubicBezTo>
                <a:cubicBezTo>
                  <a:pt x="11469" y="12806"/>
                  <a:pt x="11460" y="12815"/>
                  <a:pt x="11455" y="12825"/>
                </a:cubicBezTo>
                <a:cubicBezTo>
                  <a:pt x="11446" y="12846"/>
                  <a:pt x="11428" y="12859"/>
                  <a:pt x="11403" y="12866"/>
                </a:cubicBezTo>
                <a:cubicBezTo>
                  <a:pt x="11377" y="12874"/>
                  <a:pt x="11342" y="12875"/>
                  <a:pt x="11300" y="12869"/>
                </a:cubicBezTo>
                <a:cubicBezTo>
                  <a:pt x="11264" y="12864"/>
                  <a:pt x="11227" y="12860"/>
                  <a:pt x="11191" y="12859"/>
                </a:cubicBezTo>
                <a:cubicBezTo>
                  <a:pt x="10938" y="12842"/>
                  <a:pt x="10697" y="12845"/>
                  <a:pt x="10467" y="12869"/>
                </a:cubicBezTo>
                <a:cubicBezTo>
                  <a:pt x="10443" y="12872"/>
                  <a:pt x="10425" y="12878"/>
                  <a:pt x="10413" y="12887"/>
                </a:cubicBezTo>
                <a:cubicBezTo>
                  <a:pt x="10365" y="12919"/>
                  <a:pt x="10321" y="12916"/>
                  <a:pt x="10283" y="12876"/>
                </a:cubicBezTo>
                <a:cubicBezTo>
                  <a:pt x="10273" y="12866"/>
                  <a:pt x="10261" y="12860"/>
                  <a:pt x="10247" y="12859"/>
                </a:cubicBezTo>
                <a:cubicBezTo>
                  <a:pt x="10116" y="12843"/>
                  <a:pt x="10040" y="12798"/>
                  <a:pt x="10019" y="12723"/>
                </a:cubicBezTo>
                <a:cubicBezTo>
                  <a:pt x="10016" y="12713"/>
                  <a:pt x="10015" y="12704"/>
                  <a:pt x="10015" y="12695"/>
                </a:cubicBezTo>
                <a:cubicBezTo>
                  <a:pt x="10010" y="12608"/>
                  <a:pt x="10051" y="12547"/>
                  <a:pt x="10138" y="12511"/>
                </a:cubicBezTo>
                <a:cubicBezTo>
                  <a:pt x="10153" y="12506"/>
                  <a:pt x="10161" y="12498"/>
                  <a:pt x="10163" y="12488"/>
                </a:cubicBezTo>
                <a:cubicBezTo>
                  <a:pt x="10195" y="12381"/>
                  <a:pt x="10175" y="12305"/>
                  <a:pt x="10105" y="12261"/>
                </a:cubicBezTo>
                <a:cubicBezTo>
                  <a:pt x="10093" y="12252"/>
                  <a:pt x="10083" y="12249"/>
                  <a:pt x="10073" y="12251"/>
                </a:cubicBezTo>
                <a:cubicBezTo>
                  <a:pt x="9993" y="12262"/>
                  <a:pt x="9932" y="12283"/>
                  <a:pt x="9888" y="12312"/>
                </a:cubicBezTo>
                <a:cubicBezTo>
                  <a:pt x="9876" y="12320"/>
                  <a:pt x="9864" y="12325"/>
                  <a:pt x="9852" y="12325"/>
                </a:cubicBezTo>
                <a:cubicBezTo>
                  <a:pt x="9828" y="12325"/>
                  <a:pt x="9804" y="12325"/>
                  <a:pt x="9780" y="12325"/>
                </a:cubicBezTo>
                <a:cubicBezTo>
                  <a:pt x="9707" y="12328"/>
                  <a:pt x="9660" y="12307"/>
                  <a:pt x="9639" y="12261"/>
                </a:cubicBezTo>
                <a:cubicBezTo>
                  <a:pt x="9624" y="12227"/>
                  <a:pt x="9607" y="12193"/>
                  <a:pt x="9588" y="12161"/>
                </a:cubicBezTo>
                <a:cubicBezTo>
                  <a:pt x="9583" y="12151"/>
                  <a:pt x="9573" y="12144"/>
                  <a:pt x="9559" y="12141"/>
                </a:cubicBezTo>
                <a:cubicBezTo>
                  <a:pt x="9440" y="12118"/>
                  <a:pt x="9371" y="12132"/>
                  <a:pt x="9351" y="12184"/>
                </a:cubicBezTo>
                <a:close/>
                <a:moveTo>
                  <a:pt x="9351" y="12184"/>
                </a:moveTo>
              </a:path>
            </a:pathLst>
          </a:custGeom>
          <a:solidFill>
            <a:schemeClr val="bg1">
              <a:lumMod val="75000"/>
            </a:schemeClr>
          </a:solidFill>
          <a:ln>
            <a:solidFill>
              <a:schemeClr val="bg1"/>
            </a:solid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14" name="AutoShape 3"/>
          <p:cNvSpPr>
            <a:spLocks/>
          </p:cNvSpPr>
          <p:nvPr/>
        </p:nvSpPr>
        <p:spPr bwMode="auto">
          <a:xfrm>
            <a:off x="6428617" y="2865797"/>
            <a:ext cx="24506" cy="57809"/>
          </a:xfrm>
          <a:custGeom>
            <a:avLst/>
            <a:gdLst/>
            <a:ahLst/>
            <a:cxnLst/>
            <a:rect l="0" t="0" r="r" b="b"/>
            <a:pathLst>
              <a:path w="21090" h="21223">
                <a:moveTo>
                  <a:pt x="18741" y="16713"/>
                </a:moveTo>
                <a:cubicBezTo>
                  <a:pt x="20849" y="17827"/>
                  <a:pt x="21536" y="18756"/>
                  <a:pt x="20811" y="19498"/>
                </a:cubicBezTo>
                <a:cubicBezTo>
                  <a:pt x="20082" y="20242"/>
                  <a:pt x="17940" y="20798"/>
                  <a:pt x="14386" y="21170"/>
                </a:cubicBezTo>
                <a:cubicBezTo>
                  <a:pt x="13079" y="21293"/>
                  <a:pt x="12060" y="21201"/>
                  <a:pt x="11335" y="20890"/>
                </a:cubicBezTo>
                <a:cubicBezTo>
                  <a:pt x="10610" y="20581"/>
                  <a:pt x="10028" y="20148"/>
                  <a:pt x="9592" y="19592"/>
                </a:cubicBezTo>
                <a:cubicBezTo>
                  <a:pt x="8234" y="18209"/>
                  <a:pt x="8016" y="17126"/>
                  <a:pt x="8938" y="16342"/>
                </a:cubicBezTo>
                <a:cubicBezTo>
                  <a:pt x="9462" y="16253"/>
                  <a:pt x="9973" y="16191"/>
                  <a:pt x="10464" y="16156"/>
                </a:cubicBezTo>
                <a:cubicBezTo>
                  <a:pt x="12496" y="15908"/>
                  <a:pt x="14529" y="15908"/>
                  <a:pt x="16561" y="16156"/>
                </a:cubicBezTo>
                <a:cubicBezTo>
                  <a:pt x="17433" y="16218"/>
                  <a:pt x="18162" y="16404"/>
                  <a:pt x="18741" y="16713"/>
                </a:cubicBezTo>
                <a:close/>
                <a:moveTo>
                  <a:pt x="12207" y="745"/>
                </a:moveTo>
                <a:cubicBezTo>
                  <a:pt x="15254" y="-307"/>
                  <a:pt x="17509" y="-245"/>
                  <a:pt x="18959" y="930"/>
                </a:cubicBezTo>
                <a:cubicBezTo>
                  <a:pt x="19977" y="2602"/>
                  <a:pt x="19323" y="3623"/>
                  <a:pt x="16997" y="3994"/>
                </a:cubicBezTo>
                <a:cubicBezTo>
                  <a:pt x="14093" y="4427"/>
                  <a:pt x="11046" y="5541"/>
                  <a:pt x="7853" y="7337"/>
                </a:cubicBezTo>
                <a:cubicBezTo>
                  <a:pt x="7270" y="7708"/>
                  <a:pt x="6541" y="7956"/>
                  <a:pt x="5673" y="8079"/>
                </a:cubicBezTo>
                <a:cubicBezTo>
                  <a:pt x="3729" y="8356"/>
                  <a:pt x="2279" y="8371"/>
                  <a:pt x="1315" y="8125"/>
                </a:cubicBezTo>
                <a:cubicBezTo>
                  <a:pt x="372" y="7854"/>
                  <a:pt x="-64" y="7312"/>
                  <a:pt x="7" y="6501"/>
                </a:cubicBezTo>
                <a:cubicBezTo>
                  <a:pt x="238" y="5206"/>
                  <a:pt x="1147" y="4184"/>
                  <a:pt x="2731" y="3437"/>
                </a:cubicBezTo>
                <a:cubicBezTo>
                  <a:pt x="4265" y="2667"/>
                  <a:pt x="6482" y="2172"/>
                  <a:pt x="9374" y="1952"/>
                </a:cubicBezTo>
                <a:cubicBezTo>
                  <a:pt x="10103" y="1531"/>
                  <a:pt x="11046" y="1128"/>
                  <a:pt x="12207" y="745"/>
                </a:cubicBezTo>
                <a:close/>
                <a:moveTo>
                  <a:pt x="12207" y="745"/>
                </a:moveTo>
              </a:path>
            </a:pathLst>
          </a:custGeom>
          <a:solidFill>
            <a:schemeClr val="bg1">
              <a:lumMod val="75000"/>
            </a:schemeClr>
          </a:solidFill>
          <a:ln>
            <a:solidFill>
              <a:schemeClr val="bg1"/>
            </a:solid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15" name="AutoShape 4"/>
          <p:cNvSpPr>
            <a:spLocks/>
          </p:cNvSpPr>
          <p:nvPr/>
        </p:nvSpPr>
        <p:spPr bwMode="auto">
          <a:xfrm>
            <a:off x="6212461" y="1900635"/>
            <a:ext cx="949453" cy="993439"/>
          </a:xfrm>
          <a:custGeom>
            <a:avLst/>
            <a:gdLst/>
            <a:ahLst/>
            <a:cxnLst/>
            <a:rect l="0" t="0" r="r" b="b"/>
            <a:pathLst>
              <a:path w="21591" h="21597">
                <a:moveTo>
                  <a:pt x="19613" y="5894"/>
                </a:moveTo>
                <a:cubicBezTo>
                  <a:pt x="19721" y="5902"/>
                  <a:pt x="19818" y="5926"/>
                  <a:pt x="19903" y="5966"/>
                </a:cubicBezTo>
                <a:cubicBezTo>
                  <a:pt x="19969" y="6000"/>
                  <a:pt x="19996" y="6075"/>
                  <a:pt x="19984" y="6194"/>
                </a:cubicBezTo>
                <a:cubicBezTo>
                  <a:pt x="19983" y="6206"/>
                  <a:pt x="19982" y="6218"/>
                  <a:pt x="19981" y="6230"/>
                </a:cubicBezTo>
                <a:cubicBezTo>
                  <a:pt x="19980" y="6243"/>
                  <a:pt x="19979" y="6256"/>
                  <a:pt x="19978" y="6269"/>
                </a:cubicBezTo>
                <a:cubicBezTo>
                  <a:pt x="19964" y="6410"/>
                  <a:pt x="19951" y="6551"/>
                  <a:pt x="19938" y="6693"/>
                </a:cubicBezTo>
                <a:cubicBezTo>
                  <a:pt x="19934" y="6730"/>
                  <a:pt x="19922" y="6767"/>
                  <a:pt x="19903" y="6804"/>
                </a:cubicBezTo>
                <a:cubicBezTo>
                  <a:pt x="19884" y="6846"/>
                  <a:pt x="19864" y="6889"/>
                  <a:pt x="19845" y="6931"/>
                </a:cubicBezTo>
                <a:cubicBezTo>
                  <a:pt x="19805" y="7018"/>
                  <a:pt x="19765" y="7105"/>
                  <a:pt x="19723" y="7192"/>
                </a:cubicBezTo>
                <a:cubicBezTo>
                  <a:pt x="19661" y="7318"/>
                  <a:pt x="19549" y="7399"/>
                  <a:pt x="19387" y="7436"/>
                </a:cubicBezTo>
                <a:cubicBezTo>
                  <a:pt x="19363" y="7443"/>
                  <a:pt x="19340" y="7454"/>
                  <a:pt x="19317" y="7469"/>
                </a:cubicBezTo>
                <a:cubicBezTo>
                  <a:pt x="19070" y="7635"/>
                  <a:pt x="18882" y="7807"/>
                  <a:pt x="18755" y="7985"/>
                </a:cubicBezTo>
                <a:cubicBezTo>
                  <a:pt x="18712" y="8044"/>
                  <a:pt x="18681" y="8112"/>
                  <a:pt x="18662" y="8190"/>
                </a:cubicBezTo>
                <a:cubicBezTo>
                  <a:pt x="18658" y="8212"/>
                  <a:pt x="18648" y="8234"/>
                  <a:pt x="18633" y="8257"/>
                </a:cubicBezTo>
                <a:cubicBezTo>
                  <a:pt x="18571" y="8327"/>
                  <a:pt x="18540" y="8436"/>
                  <a:pt x="18540" y="8584"/>
                </a:cubicBezTo>
                <a:cubicBezTo>
                  <a:pt x="18540" y="8602"/>
                  <a:pt x="18530" y="8621"/>
                  <a:pt x="18511" y="8639"/>
                </a:cubicBezTo>
                <a:cubicBezTo>
                  <a:pt x="18461" y="8684"/>
                  <a:pt x="18383" y="8696"/>
                  <a:pt x="18279" y="8678"/>
                </a:cubicBezTo>
                <a:cubicBezTo>
                  <a:pt x="18229" y="8671"/>
                  <a:pt x="18167" y="8646"/>
                  <a:pt x="18093" y="8606"/>
                </a:cubicBezTo>
                <a:cubicBezTo>
                  <a:pt x="18063" y="8591"/>
                  <a:pt x="18030" y="8578"/>
                  <a:pt x="17995" y="8567"/>
                </a:cubicBezTo>
                <a:cubicBezTo>
                  <a:pt x="17972" y="8560"/>
                  <a:pt x="17950" y="8547"/>
                  <a:pt x="17931" y="8528"/>
                </a:cubicBezTo>
                <a:cubicBezTo>
                  <a:pt x="17966" y="8698"/>
                  <a:pt x="18043" y="8828"/>
                  <a:pt x="18163" y="8916"/>
                </a:cubicBezTo>
                <a:cubicBezTo>
                  <a:pt x="18244" y="8976"/>
                  <a:pt x="18316" y="9053"/>
                  <a:pt x="18378" y="9149"/>
                </a:cubicBezTo>
                <a:cubicBezTo>
                  <a:pt x="18423" y="9214"/>
                  <a:pt x="18441" y="9274"/>
                  <a:pt x="18433" y="9329"/>
                </a:cubicBezTo>
                <a:lnTo>
                  <a:pt x="18433" y="9332"/>
                </a:lnTo>
                <a:cubicBezTo>
                  <a:pt x="18428" y="9361"/>
                  <a:pt x="18415" y="9389"/>
                  <a:pt x="18395" y="9415"/>
                </a:cubicBezTo>
                <a:cubicBezTo>
                  <a:pt x="18480" y="9356"/>
                  <a:pt x="18563" y="9268"/>
                  <a:pt x="18644" y="9149"/>
                </a:cubicBezTo>
                <a:cubicBezTo>
                  <a:pt x="18652" y="9142"/>
                  <a:pt x="18666" y="9138"/>
                  <a:pt x="18685" y="9138"/>
                </a:cubicBezTo>
                <a:cubicBezTo>
                  <a:pt x="18705" y="9157"/>
                  <a:pt x="18722" y="9180"/>
                  <a:pt x="18737" y="9207"/>
                </a:cubicBezTo>
                <a:cubicBezTo>
                  <a:pt x="18745" y="9222"/>
                  <a:pt x="18751" y="9238"/>
                  <a:pt x="18757" y="9255"/>
                </a:cubicBezTo>
                <a:cubicBezTo>
                  <a:pt x="18763" y="9269"/>
                  <a:pt x="18768" y="9283"/>
                  <a:pt x="18772" y="9299"/>
                </a:cubicBezTo>
                <a:cubicBezTo>
                  <a:pt x="18772" y="9303"/>
                  <a:pt x="18782" y="9305"/>
                  <a:pt x="18801" y="9305"/>
                </a:cubicBezTo>
                <a:cubicBezTo>
                  <a:pt x="18834" y="9280"/>
                  <a:pt x="18858" y="9245"/>
                  <a:pt x="18873" y="9199"/>
                </a:cubicBezTo>
                <a:cubicBezTo>
                  <a:pt x="18887" y="9153"/>
                  <a:pt x="18892" y="9095"/>
                  <a:pt x="18888" y="9027"/>
                </a:cubicBezTo>
                <a:cubicBezTo>
                  <a:pt x="18888" y="8990"/>
                  <a:pt x="18888" y="8953"/>
                  <a:pt x="18888" y="8916"/>
                </a:cubicBezTo>
                <a:cubicBezTo>
                  <a:pt x="18896" y="8794"/>
                  <a:pt x="18929" y="8685"/>
                  <a:pt x="18987" y="8589"/>
                </a:cubicBezTo>
                <a:cubicBezTo>
                  <a:pt x="19095" y="8419"/>
                  <a:pt x="19224" y="8303"/>
                  <a:pt x="19375" y="8240"/>
                </a:cubicBezTo>
                <a:cubicBezTo>
                  <a:pt x="19398" y="8229"/>
                  <a:pt x="19416" y="8212"/>
                  <a:pt x="19427" y="8190"/>
                </a:cubicBezTo>
                <a:cubicBezTo>
                  <a:pt x="19493" y="8061"/>
                  <a:pt x="19632" y="7998"/>
                  <a:pt x="19845" y="8001"/>
                </a:cubicBezTo>
                <a:cubicBezTo>
                  <a:pt x="19864" y="8001"/>
                  <a:pt x="19882" y="7990"/>
                  <a:pt x="19897" y="7968"/>
                </a:cubicBezTo>
                <a:cubicBezTo>
                  <a:pt x="19967" y="7868"/>
                  <a:pt x="19998" y="7741"/>
                  <a:pt x="19990" y="7586"/>
                </a:cubicBezTo>
                <a:cubicBezTo>
                  <a:pt x="19990" y="7567"/>
                  <a:pt x="19984" y="7547"/>
                  <a:pt x="19972" y="7525"/>
                </a:cubicBezTo>
                <a:cubicBezTo>
                  <a:pt x="19927" y="7450"/>
                  <a:pt x="19905" y="7378"/>
                  <a:pt x="19906" y="7311"/>
                </a:cubicBezTo>
                <a:lnTo>
                  <a:pt x="19906" y="7308"/>
                </a:lnTo>
                <a:cubicBezTo>
                  <a:pt x="19908" y="7266"/>
                  <a:pt x="19918" y="7226"/>
                  <a:pt x="19938" y="7186"/>
                </a:cubicBezTo>
                <a:cubicBezTo>
                  <a:pt x="19965" y="7131"/>
                  <a:pt x="20011" y="7099"/>
                  <a:pt x="20077" y="7092"/>
                </a:cubicBezTo>
                <a:cubicBezTo>
                  <a:pt x="20129" y="7087"/>
                  <a:pt x="20175" y="7085"/>
                  <a:pt x="20216" y="7086"/>
                </a:cubicBezTo>
                <a:cubicBezTo>
                  <a:pt x="20256" y="7090"/>
                  <a:pt x="20291" y="7098"/>
                  <a:pt x="20320" y="7109"/>
                </a:cubicBezTo>
                <a:cubicBezTo>
                  <a:pt x="20332" y="7112"/>
                  <a:pt x="20345" y="7105"/>
                  <a:pt x="20361" y="7086"/>
                </a:cubicBezTo>
                <a:cubicBezTo>
                  <a:pt x="20435" y="6999"/>
                  <a:pt x="20549" y="6948"/>
                  <a:pt x="20703" y="6931"/>
                </a:cubicBezTo>
                <a:cubicBezTo>
                  <a:pt x="20716" y="6930"/>
                  <a:pt x="20730" y="6929"/>
                  <a:pt x="20744" y="6928"/>
                </a:cubicBezTo>
                <a:cubicBezTo>
                  <a:pt x="20753" y="6927"/>
                  <a:pt x="20763" y="6926"/>
                  <a:pt x="20773" y="6926"/>
                </a:cubicBezTo>
                <a:cubicBezTo>
                  <a:pt x="20877" y="6926"/>
                  <a:pt x="20925" y="6979"/>
                  <a:pt x="20918" y="7086"/>
                </a:cubicBezTo>
                <a:cubicBezTo>
                  <a:pt x="20918" y="7105"/>
                  <a:pt x="20925" y="7125"/>
                  <a:pt x="20941" y="7147"/>
                </a:cubicBezTo>
                <a:cubicBezTo>
                  <a:pt x="21014" y="7249"/>
                  <a:pt x="21076" y="7346"/>
                  <a:pt x="21129" y="7439"/>
                </a:cubicBezTo>
                <a:cubicBezTo>
                  <a:pt x="21138" y="7455"/>
                  <a:pt x="21147" y="7470"/>
                  <a:pt x="21155" y="7486"/>
                </a:cubicBezTo>
                <a:cubicBezTo>
                  <a:pt x="21121" y="7589"/>
                  <a:pt x="21082" y="7693"/>
                  <a:pt x="21040" y="7796"/>
                </a:cubicBezTo>
                <a:cubicBezTo>
                  <a:pt x="21012" y="7859"/>
                  <a:pt x="20987" y="7924"/>
                  <a:pt x="20964" y="7990"/>
                </a:cubicBezTo>
                <a:cubicBezTo>
                  <a:pt x="20954" y="8018"/>
                  <a:pt x="20944" y="8045"/>
                  <a:pt x="20935" y="8074"/>
                </a:cubicBezTo>
                <a:cubicBezTo>
                  <a:pt x="20923" y="8114"/>
                  <a:pt x="20914" y="8155"/>
                  <a:pt x="20906" y="8196"/>
                </a:cubicBezTo>
                <a:cubicBezTo>
                  <a:pt x="20894" y="8247"/>
                  <a:pt x="20889" y="8301"/>
                  <a:pt x="20889" y="8356"/>
                </a:cubicBezTo>
                <a:cubicBezTo>
                  <a:pt x="20978" y="8371"/>
                  <a:pt x="21045" y="8340"/>
                  <a:pt x="21092" y="8262"/>
                </a:cubicBezTo>
                <a:cubicBezTo>
                  <a:pt x="21111" y="8232"/>
                  <a:pt x="21138" y="8207"/>
                  <a:pt x="21173" y="8184"/>
                </a:cubicBezTo>
                <a:cubicBezTo>
                  <a:pt x="21189" y="8175"/>
                  <a:pt x="21205" y="8165"/>
                  <a:pt x="21222" y="8157"/>
                </a:cubicBezTo>
                <a:cubicBezTo>
                  <a:pt x="21330" y="8097"/>
                  <a:pt x="21450" y="8052"/>
                  <a:pt x="21585" y="8024"/>
                </a:cubicBezTo>
                <a:cubicBezTo>
                  <a:pt x="21600" y="8172"/>
                  <a:pt x="21589" y="8286"/>
                  <a:pt x="21550" y="8367"/>
                </a:cubicBezTo>
                <a:cubicBezTo>
                  <a:pt x="21534" y="8397"/>
                  <a:pt x="21527" y="8430"/>
                  <a:pt x="21527" y="8467"/>
                </a:cubicBezTo>
                <a:cubicBezTo>
                  <a:pt x="21527" y="8597"/>
                  <a:pt x="21509" y="8720"/>
                  <a:pt x="21474" y="8839"/>
                </a:cubicBezTo>
                <a:cubicBezTo>
                  <a:pt x="21470" y="8850"/>
                  <a:pt x="21449" y="8855"/>
                  <a:pt x="21411" y="8855"/>
                </a:cubicBezTo>
                <a:cubicBezTo>
                  <a:pt x="21256" y="8855"/>
                  <a:pt x="21134" y="8828"/>
                  <a:pt x="21045" y="8772"/>
                </a:cubicBezTo>
                <a:cubicBezTo>
                  <a:pt x="21018" y="8754"/>
                  <a:pt x="20985" y="8744"/>
                  <a:pt x="20947" y="8744"/>
                </a:cubicBezTo>
                <a:cubicBezTo>
                  <a:pt x="20750" y="8756"/>
                  <a:pt x="20610" y="8828"/>
                  <a:pt x="20529" y="8961"/>
                </a:cubicBezTo>
                <a:cubicBezTo>
                  <a:pt x="20518" y="8983"/>
                  <a:pt x="20504" y="9005"/>
                  <a:pt x="20489" y="9027"/>
                </a:cubicBezTo>
                <a:cubicBezTo>
                  <a:pt x="20427" y="9097"/>
                  <a:pt x="20396" y="9207"/>
                  <a:pt x="20396" y="9354"/>
                </a:cubicBezTo>
                <a:cubicBezTo>
                  <a:pt x="20396" y="9373"/>
                  <a:pt x="20392" y="9393"/>
                  <a:pt x="20384" y="9415"/>
                </a:cubicBezTo>
                <a:cubicBezTo>
                  <a:pt x="20353" y="9486"/>
                  <a:pt x="20322" y="9556"/>
                  <a:pt x="20291" y="9626"/>
                </a:cubicBezTo>
                <a:cubicBezTo>
                  <a:pt x="20284" y="9648"/>
                  <a:pt x="20272" y="9671"/>
                  <a:pt x="20257" y="9693"/>
                </a:cubicBezTo>
                <a:cubicBezTo>
                  <a:pt x="20187" y="9800"/>
                  <a:pt x="20172" y="9926"/>
                  <a:pt x="20210" y="10070"/>
                </a:cubicBezTo>
                <a:cubicBezTo>
                  <a:pt x="20218" y="10092"/>
                  <a:pt x="20231" y="10112"/>
                  <a:pt x="20251" y="10131"/>
                </a:cubicBezTo>
                <a:cubicBezTo>
                  <a:pt x="20305" y="10190"/>
                  <a:pt x="20316" y="10280"/>
                  <a:pt x="20286" y="10402"/>
                </a:cubicBezTo>
                <a:cubicBezTo>
                  <a:pt x="20282" y="10425"/>
                  <a:pt x="20268" y="10438"/>
                  <a:pt x="20245" y="10441"/>
                </a:cubicBezTo>
                <a:cubicBezTo>
                  <a:pt x="20152" y="10456"/>
                  <a:pt x="20059" y="10471"/>
                  <a:pt x="19967" y="10486"/>
                </a:cubicBezTo>
                <a:cubicBezTo>
                  <a:pt x="19943" y="10489"/>
                  <a:pt x="19924" y="10502"/>
                  <a:pt x="19909" y="10524"/>
                </a:cubicBezTo>
                <a:cubicBezTo>
                  <a:pt x="19839" y="10632"/>
                  <a:pt x="19822" y="10759"/>
                  <a:pt x="19856" y="10907"/>
                </a:cubicBezTo>
                <a:cubicBezTo>
                  <a:pt x="19876" y="10985"/>
                  <a:pt x="19860" y="11036"/>
                  <a:pt x="19810" y="11062"/>
                </a:cubicBezTo>
                <a:cubicBezTo>
                  <a:pt x="19795" y="11070"/>
                  <a:pt x="19791" y="11092"/>
                  <a:pt x="19798" y="11129"/>
                </a:cubicBezTo>
                <a:cubicBezTo>
                  <a:pt x="19818" y="11247"/>
                  <a:pt x="19793" y="11315"/>
                  <a:pt x="19723" y="11334"/>
                </a:cubicBezTo>
                <a:cubicBezTo>
                  <a:pt x="19669" y="11345"/>
                  <a:pt x="19613" y="11354"/>
                  <a:pt x="19555" y="11362"/>
                </a:cubicBezTo>
                <a:cubicBezTo>
                  <a:pt x="19447" y="11380"/>
                  <a:pt x="19379" y="11434"/>
                  <a:pt x="19352" y="11523"/>
                </a:cubicBezTo>
                <a:cubicBezTo>
                  <a:pt x="19333" y="11574"/>
                  <a:pt x="19323" y="11628"/>
                  <a:pt x="19323" y="11683"/>
                </a:cubicBezTo>
                <a:cubicBezTo>
                  <a:pt x="19323" y="11979"/>
                  <a:pt x="19304" y="12273"/>
                  <a:pt x="19265" y="12565"/>
                </a:cubicBezTo>
                <a:cubicBezTo>
                  <a:pt x="19265" y="12569"/>
                  <a:pt x="19249" y="12578"/>
                  <a:pt x="19219" y="12593"/>
                </a:cubicBezTo>
                <a:cubicBezTo>
                  <a:pt x="19122" y="12648"/>
                  <a:pt x="19046" y="12637"/>
                  <a:pt x="18992" y="12559"/>
                </a:cubicBezTo>
                <a:cubicBezTo>
                  <a:pt x="18954" y="12500"/>
                  <a:pt x="18894" y="12426"/>
                  <a:pt x="18813" y="12338"/>
                </a:cubicBezTo>
                <a:cubicBezTo>
                  <a:pt x="18785" y="12308"/>
                  <a:pt x="18764" y="12275"/>
                  <a:pt x="18749" y="12238"/>
                </a:cubicBezTo>
                <a:cubicBezTo>
                  <a:pt x="18695" y="12105"/>
                  <a:pt x="18670" y="11938"/>
                  <a:pt x="18673" y="11739"/>
                </a:cubicBezTo>
                <a:cubicBezTo>
                  <a:pt x="18681" y="11535"/>
                  <a:pt x="18695" y="11332"/>
                  <a:pt x="18714" y="11129"/>
                </a:cubicBezTo>
                <a:cubicBezTo>
                  <a:pt x="18714" y="11110"/>
                  <a:pt x="18726" y="11094"/>
                  <a:pt x="18749" y="11079"/>
                </a:cubicBezTo>
                <a:cubicBezTo>
                  <a:pt x="18842" y="11020"/>
                  <a:pt x="18880" y="10907"/>
                  <a:pt x="18865" y="10741"/>
                </a:cubicBezTo>
                <a:cubicBezTo>
                  <a:pt x="18857" y="10670"/>
                  <a:pt x="18820" y="10609"/>
                  <a:pt x="18755" y="10558"/>
                </a:cubicBezTo>
                <a:cubicBezTo>
                  <a:pt x="18650" y="10476"/>
                  <a:pt x="18553" y="10386"/>
                  <a:pt x="18465" y="10286"/>
                </a:cubicBezTo>
                <a:cubicBezTo>
                  <a:pt x="18438" y="10256"/>
                  <a:pt x="18409" y="10229"/>
                  <a:pt x="18378" y="10203"/>
                </a:cubicBezTo>
                <a:cubicBezTo>
                  <a:pt x="18343" y="10172"/>
                  <a:pt x="18304" y="10146"/>
                  <a:pt x="18259" y="10125"/>
                </a:cubicBezTo>
                <a:cubicBezTo>
                  <a:pt x="18257" y="10124"/>
                  <a:pt x="18255" y="10123"/>
                  <a:pt x="18253" y="10122"/>
                </a:cubicBezTo>
                <a:cubicBezTo>
                  <a:pt x="18225" y="10109"/>
                  <a:pt x="18195" y="10098"/>
                  <a:pt x="18163" y="10089"/>
                </a:cubicBezTo>
                <a:cubicBezTo>
                  <a:pt x="18144" y="10084"/>
                  <a:pt x="18125" y="10079"/>
                  <a:pt x="18105" y="10075"/>
                </a:cubicBezTo>
                <a:cubicBezTo>
                  <a:pt x="18105" y="10186"/>
                  <a:pt x="18099" y="10297"/>
                  <a:pt x="18088" y="10408"/>
                </a:cubicBezTo>
                <a:cubicBezTo>
                  <a:pt x="18080" y="10445"/>
                  <a:pt x="18066" y="10482"/>
                  <a:pt x="18047" y="10519"/>
                </a:cubicBezTo>
                <a:cubicBezTo>
                  <a:pt x="17992" y="10499"/>
                  <a:pt x="17945" y="10466"/>
                  <a:pt x="17908" y="10422"/>
                </a:cubicBezTo>
                <a:cubicBezTo>
                  <a:pt x="17868" y="10375"/>
                  <a:pt x="17837" y="10315"/>
                  <a:pt x="17815" y="10242"/>
                </a:cubicBezTo>
                <a:cubicBezTo>
                  <a:pt x="17809" y="10222"/>
                  <a:pt x="17802" y="10202"/>
                  <a:pt x="17795" y="10183"/>
                </a:cubicBezTo>
                <a:cubicBezTo>
                  <a:pt x="17788" y="10168"/>
                  <a:pt x="17781" y="10154"/>
                  <a:pt x="17775" y="10139"/>
                </a:cubicBezTo>
                <a:cubicBezTo>
                  <a:pt x="17765" y="10120"/>
                  <a:pt x="17754" y="10101"/>
                  <a:pt x="17743" y="10084"/>
                </a:cubicBezTo>
                <a:cubicBezTo>
                  <a:pt x="17729" y="10059"/>
                  <a:pt x="17713" y="10036"/>
                  <a:pt x="17696" y="10014"/>
                </a:cubicBezTo>
                <a:cubicBezTo>
                  <a:pt x="17688" y="10004"/>
                  <a:pt x="17679" y="9994"/>
                  <a:pt x="17670" y="9984"/>
                </a:cubicBezTo>
                <a:cubicBezTo>
                  <a:pt x="17644" y="9955"/>
                  <a:pt x="17615" y="9928"/>
                  <a:pt x="17583" y="9903"/>
                </a:cubicBezTo>
                <a:cubicBezTo>
                  <a:pt x="17564" y="9889"/>
                  <a:pt x="17543" y="9874"/>
                  <a:pt x="17519" y="9859"/>
                </a:cubicBezTo>
                <a:cubicBezTo>
                  <a:pt x="17407" y="9793"/>
                  <a:pt x="17274" y="9763"/>
                  <a:pt x="17119" y="9770"/>
                </a:cubicBezTo>
                <a:cubicBezTo>
                  <a:pt x="17100" y="9770"/>
                  <a:pt x="17086" y="9759"/>
                  <a:pt x="17079" y="9737"/>
                </a:cubicBezTo>
                <a:cubicBezTo>
                  <a:pt x="17048" y="9667"/>
                  <a:pt x="17013" y="9606"/>
                  <a:pt x="16974" y="9554"/>
                </a:cubicBezTo>
                <a:cubicBezTo>
                  <a:pt x="16955" y="9532"/>
                  <a:pt x="16947" y="9502"/>
                  <a:pt x="16951" y="9465"/>
                </a:cubicBezTo>
                <a:cubicBezTo>
                  <a:pt x="16963" y="9369"/>
                  <a:pt x="16990" y="9290"/>
                  <a:pt x="17032" y="9227"/>
                </a:cubicBezTo>
                <a:cubicBezTo>
                  <a:pt x="17052" y="9201"/>
                  <a:pt x="17067" y="9171"/>
                  <a:pt x="17079" y="9138"/>
                </a:cubicBezTo>
                <a:cubicBezTo>
                  <a:pt x="17086" y="9116"/>
                  <a:pt x="17090" y="9096"/>
                  <a:pt x="17090" y="9077"/>
                </a:cubicBezTo>
                <a:cubicBezTo>
                  <a:pt x="17090" y="9059"/>
                  <a:pt x="17088" y="9038"/>
                  <a:pt x="17084" y="9016"/>
                </a:cubicBezTo>
                <a:cubicBezTo>
                  <a:pt x="17046" y="8861"/>
                  <a:pt x="16943" y="8763"/>
                  <a:pt x="16777" y="8722"/>
                </a:cubicBezTo>
                <a:cubicBezTo>
                  <a:pt x="16754" y="8719"/>
                  <a:pt x="16731" y="8711"/>
                  <a:pt x="16707" y="8700"/>
                </a:cubicBezTo>
                <a:cubicBezTo>
                  <a:pt x="16603" y="8648"/>
                  <a:pt x="16518" y="8582"/>
                  <a:pt x="16452" y="8500"/>
                </a:cubicBezTo>
                <a:cubicBezTo>
                  <a:pt x="16433" y="8478"/>
                  <a:pt x="16418" y="8451"/>
                  <a:pt x="16406" y="8417"/>
                </a:cubicBezTo>
                <a:cubicBezTo>
                  <a:pt x="16398" y="8395"/>
                  <a:pt x="16392" y="8373"/>
                  <a:pt x="16388" y="8351"/>
                </a:cubicBezTo>
                <a:cubicBezTo>
                  <a:pt x="16373" y="8262"/>
                  <a:pt x="16359" y="8172"/>
                  <a:pt x="16348" y="8079"/>
                </a:cubicBezTo>
                <a:cubicBezTo>
                  <a:pt x="16336" y="8001"/>
                  <a:pt x="16354" y="7950"/>
                  <a:pt x="16400" y="7924"/>
                </a:cubicBezTo>
                <a:cubicBezTo>
                  <a:pt x="16416" y="7916"/>
                  <a:pt x="16429" y="7896"/>
                  <a:pt x="16441" y="7863"/>
                </a:cubicBezTo>
                <a:cubicBezTo>
                  <a:pt x="16479" y="7774"/>
                  <a:pt x="16514" y="7698"/>
                  <a:pt x="16545" y="7635"/>
                </a:cubicBezTo>
                <a:cubicBezTo>
                  <a:pt x="16561" y="7598"/>
                  <a:pt x="16572" y="7562"/>
                  <a:pt x="16580" y="7525"/>
                </a:cubicBezTo>
                <a:cubicBezTo>
                  <a:pt x="16607" y="7377"/>
                  <a:pt x="16601" y="7262"/>
                  <a:pt x="16563" y="7181"/>
                </a:cubicBezTo>
                <a:cubicBezTo>
                  <a:pt x="16547" y="7151"/>
                  <a:pt x="16541" y="7118"/>
                  <a:pt x="16545" y="7081"/>
                </a:cubicBezTo>
                <a:cubicBezTo>
                  <a:pt x="16553" y="6892"/>
                  <a:pt x="16574" y="6708"/>
                  <a:pt x="16609" y="6526"/>
                </a:cubicBezTo>
                <a:cubicBezTo>
                  <a:pt x="16644" y="6349"/>
                  <a:pt x="16597" y="6205"/>
                  <a:pt x="16470" y="6094"/>
                </a:cubicBezTo>
                <a:cubicBezTo>
                  <a:pt x="16400" y="6031"/>
                  <a:pt x="16323" y="5983"/>
                  <a:pt x="16238" y="5950"/>
                </a:cubicBezTo>
                <a:cubicBezTo>
                  <a:pt x="16226" y="5946"/>
                  <a:pt x="16209" y="5950"/>
                  <a:pt x="16186" y="5961"/>
                </a:cubicBezTo>
                <a:cubicBezTo>
                  <a:pt x="16062" y="6024"/>
                  <a:pt x="15996" y="6157"/>
                  <a:pt x="15988" y="6360"/>
                </a:cubicBezTo>
                <a:cubicBezTo>
                  <a:pt x="15969" y="6748"/>
                  <a:pt x="15952" y="7136"/>
                  <a:pt x="15936" y="7525"/>
                </a:cubicBezTo>
                <a:cubicBezTo>
                  <a:pt x="15932" y="7598"/>
                  <a:pt x="15905" y="7658"/>
                  <a:pt x="15855" y="7702"/>
                </a:cubicBezTo>
                <a:cubicBezTo>
                  <a:pt x="15689" y="7839"/>
                  <a:pt x="15615" y="8057"/>
                  <a:pt x="15635" y="8356"/>
                </a:cubicBezTo>
                <a:cubicBezTo>
                  <a:pt x="15638" y="8449"/>
                  <a:pt x="15648" y="8541"/>
                  <a:pt x="15664" y="8634"/>
                </a:cubicBezTo>
                <a:cubicBezTo>
                  <a:pt x="15691" y="8796"/>
                  <a:pt x="15760" y="8918"/>
                  <a:pt x="15872" y="9000"/>
                </a:cubicBezTo>
                <a:cubicBezTo>
                  <a:pt x="15892" y="9014"/>
                  <a:pt x="15907" y="9038"/>
                  <a:pt x="15919" y="9072"/>
                </a:cubicBezTo>
                <a:cubicBezTo>
                  <a:pt x="15927" y="9094"/>
                  <a:pt x="15940" y="9114"/>
                  <a:pt x="15959" y="9133"/>
                </a:cubicBezTo>
                <a:cubicBezTo>
                  <a:pt x="16048" y="9232"/>
                  <a:pt x="16112" y="9360"/>
                  <a:pt x="16151" y="9515"/>
                </a:cubicBezTo>
                <a:cubicBezTo>
                  <a:pt x="16159" y="9556"/>
                  <a:pt x="16166" y="9595"/>
                  <a:pt x="16174" y="9632"/>
                </a:cubicBezTo>
                <a:cubicBezTo>
                  <a:pt x="16209" y="9839"/>
                  <a:pt x="16191" y="10003"/>
                  <a:pt x="16122" y="10125"/>
                </a:cubicBezTo>
                <a:cubicBezTo>
                  <a:pt x="16110" y="10147"/>
                  <a:pt x="16095" y="10166"/>
                  <a:pt x="16075" y="10181"/>
                </a:cubicBezTo>
                <a:cubicBezTo>
                  <a:pt x="16010" y="10232"/>
                  <a:pt x="15992" y="10327"/>
                  <a:pt x="16023" y="10463"/>
                </a:cubicBezTo>
                <a:cubicBezTo>
                  <a:pt x="16046" y="10563"/>
                  <a:pt x="16141" y="10606"/>
                  <a:pt x="16307" y="10591"/>
                </a:cubicBezTo>
                <a:cubicBezTo>
                  <a:pt x="16404" y="10580"/>
                  <a:pt x="16499" y="10569"/>
                  <a:pt x="16591" y="10558"/>
                </a:cubicBezTo>
                <a:cubicBezTo>
                  <a:pt x="16634" y="10550"/>
                  <a:pt x="16673" y="10534"/>
                  <a:pt x="16707" y="10508"/>
                </a:cubicBezTo>
                <a:lnTo>
                  <a:pt x="17160" y="10475"/>
                </a:lnTo>
                <a:cubicBezTo>
                  <a:pt x="17137" y="10561"/>
                  <a:pt x="17120" y="10650"/>
                  <a:pt x="17108" y="10741"/>
                </a:cubicBezTo>
                <a:cubicBezTo>
                  <a:pt x="17088" y="10859"/>
                  <a:pt x="17102" y="10942"/>
                  <a:pt x="17148" y="10990"/>
                </a:cubicBezTo>
                <a:cubicBezTo>
                  <a:pt x="17168" y="11009"/>
                  <a:pt x="17173" y="11036"/>
                  <a:pt x="17166" y="11073"/>
                </a:cubicBezTo>
                <a:cubicBezTo>
                  <a:pt x="17150" y="11151"/>
                  <a:pt x="17166" y="11203"/>
                  <a:pt x="17212" y="11229"/>
                </a:cubicBezTo>
                <a:cubicBezTo>
                  <a:pt x="17227" y="11236"/>
                  <a:pt x="17231" y="11258"/>
                  <a:pt x="17224" y="11295"/>
                </a:cubicBezTo>
                <a:cubicBezTo>
                  <a:pt x="17208" y="11373"/>
                  <a:pt x="17224" y="11425"/>
                  <a:pt x="17270" y="11450"/>
                </a:cubicBezTo>
                <a:cubicBezTo>
                  <a:pt x="17285" y="11458"/>
                  <a:pt x="17293" y="11480"/>
                  <a:pt x="17293" y="11517"/>
                </a:cubicBezTo>
                <a:cubicBezTo>
                  <a:pt x="17142" y="11532"/>
                  <a:pt x="17005" y="11532"/>
                  <a:pt x="16881" y="11517"/>
                </a:cubicBezTo>
                <a:cubicBezTo>
                  <a:pt x="16866" y="11517"/>
                  <a:pt x="16843" y="11528"/>
                  <a:pt x="16812" y="11550"/>
                </a:cubicBezTo>
                <a:cubicBezTo>
                  <a:pt x="16746" y="11602"/>
                  <a:pt x="16750" y="11683"/>
                  <a:pt x="16823" y="11794"/>
                </a:cubicBezTo>
                <a:cubicBezTo>
                  <a:pt x="16847" y="11831"/>
                  <a:pt x="16860" y="11868"/>
                  <a:pt x="16864" y="11905"/>
                </a:cubicBezTo>
                <a:cubicBezTo>
                  <a:pt x="16880" y="12090"/>
                  <a:pt x="16897" y="12275"/>
                  <a:pt x="16916" y="12460"/>
                </a:cubicBezTo>
                <a:cubicBezTo>
                  <a:pt x="16916" y="12478"/>
                  <a:pt x="16918" y="12498"/>
                  <a:pt x="16922" y="12521"/>
                </a:cubicBezTo>
                <a:cubicBezTo>
                  <a:pt x="16937" y="12609"/>
                  <a:pt x="16937" y="12698"/>
                  <a:pt x="16922" y="12787"/>
                </a:cubicBezTo>
                <a:cubicBezTo>
                  <a:pt x="16903" y="12916"/>
                  <a:pt x="16949" y="12983"/>
                  <a:pt x="17061" y="12986"/>
                </a:cubicBezTo>
                <a:cubicBezTo>
                  <a:pt x="17081" y="12986"/>
                  <a:pt x="17094" y="12998"/>
                  <a:pt x="17102" y="13020"/>
                </a:cubicBezTo>
                <a:cubicBezTo>
                  <a:pt x="17133" y="13090"/>
                  <a:pt x="17156" y="13162"/>
                  <a:pt x="17171" y="13236"/>
                </a:cubicBezTo>
                <a:cubicBezTo>
                  <a:pt x="17183" y="13317"/>
                  <a:pt x="17146" y="13362"/>
                  <a:pt x="17061" y="13369"/>
                </a:cubicBezTo>
                <a:cubicBezTo>
                  <a:pt x="17042" y="13373"/>
                  <a:pt x="17026" y="13386"/>
                  <a:pt x="17015" y="13408"/>
                </a:cubicBezTo>
                <a:cubicBezTo>
                  <a:pt x="16968" y="13497"/>
                  <a:pt x="16937" y="13589"/>
                  <a:pt x="16922" y="13685"/>
                </a:cubicBezTo>
                <a:cubicBezTo>
                  <a:pt x="16918" y="13700"/>
                  <a:pt x="16928" y="13715"/>
                  <a:pt x="16951" y="13729"/>
                </a:cubicBezTo>
                <a:cubicBezTo>
                  <a:pt x="17094" y="13822"/>
                  <a:pt x="17115" y="13975"/>
                  <a:pt x="17015" y="14190"/>
                </a:cubicBezTo>
                <a:cubicBezTo>
                  <a:pt x="16988" y="14241"/>
                  <a:pt x="16963" y="14295"/>
                  <a:pt x="16939" y="14350"/>
                </a:cubicBezTo>
                <a:cubicBezTo>
                  <a:pt x="16924" y="14387"/>
                  <a:pt x="16916" y="14424"/>
                  <a:pt x="16916" y="14461"/>
                </a:cubicBezTo>
                <a:cubicBezTo>
                  <a:pt x="16916" y="14498"/>
                  <a:pt x="16930" y="14533"/>
                  <a:pt x="16957" y="14567"/>
                </a:cubicBezTo>
                <a:cubicBezTo>
                  <a:pt x="16995" y="14619"/>
                  <a:pt x="17005" y="14692"/>
                  <a:pt x="16986" y="14789"/>
                </a:cubicBezTo>
                <a:cubicBezTo>
                  <a:pt x="16966" y="14859"/>
                  <a:pt x="16943" y="14907"/>
                  <a:pt x="16916" y="14933"/>
                </a:cubicBezTo>
                <a:cubicBezTo>
                  <a:pt x="16897" y="14951"/>
                  <a:pt x="16880" y="14975"/>
                  <a:pt x="16864" y="15005"/>
                </a:cubicBezTo>
                <a:cubicBezTo>
                  <a:pt x="16818" y="15086"/>
                  <a:pt x="16814" y="15180"/>
                  <a:pt x="16852" y="15288"/>
                </a:cubicBezTo>
                <a:cubicBezTo>
                  <a:pt x="16926" y="15480"/>
                  <a:pt x="16997" y="15648"/>
                  <a:pt x="17067" y="15792"/>
                </a:cubicBezTo>
                <a:cubicBezTo>
                  <a:pt x="17083" y="15829"/>
                  <a:pt x="17092" y="15866"/>
                  <a:pt x="17096" y="15903"/>
                </a:cubicBezTo>
                <a:cubicBezTo>
                  <a:pt x="17104" y="16003"/>
                  <a:pt x="17123" y="16081"/>
                  <a:pt x="17154" y="16136"/>
                </a:cubicBezTo>
                <a:cubicBezTo>
                  <a:pt x="17169" y="16166"/>
                  <a:pt x="17177" y="16199"/>
                  <a:pt x="17177" y="16236"/>
                </a:cubicBezTo>
                <a:cubicBezTo>
                  <a:pt x="17177" y="16384"/>
                  <a:pt x="17181" y="16532"/>
                  <a:pt x="17189" y="16679"/>
                </a:cubicBezTo>
                <a:cubicBezTo>
                  <a:pt x="17189" y="16724"/>
                  <a:pt x="17222" y="16764"/>
                  <a:pt x="17287" y="16801"/>
                </a:cubicBezTo>
                <a:cubicBezTo>
                  <a:pt x="17295" y="16806"/>
                  <a:pt x="17301" y="16809"/>
                  <a:pt x="17308" y="16812"/>
                </a:cubicBezTo>
                <a:cubicBezTo>
                  <a:pt x="17354" y="16834"/>
                  <a:pt x="17395" y="16832"/>
                  <a:pt x="17430" y="16807"/>
                </a:cubicBezTo>
                <a:cubicBezTo>
                  <a:pt x="17450" y="16794"/>
                  <a:pt x="17468" y="16774"/>
                  <a:pt x="17485" y="16746"/>
                </a:cubicBezTo>
                <a:cubicBezTo>
                  <a:pt x="17531" y="16665"/>
                  <a:pt x="17622" y="16631"/>
                  <a:pt x="17757" y="16646"/>
                </a:cubicBezTo>
                <a:cubicBezTo>
                  <a:pt x="17850" y="16654"/>
                  <a:pt x="17929" y="16700"/>
                  <a:pt x="17995" y="16785"/>
                </a:cubicBezTo>
                <a:cubicBezTo>
                  <a:pt x="18050" y="16850"/>
                  <a:pt x="18088" y="16935"/>
                  <a:pt x="18111" y="17040"/>
                </a:cubicBezTo>
                <a:cubicBezTo>
                  <a:pt x="18120" y="17077"/>
                  <a:pt x="18127" y="17117"/>
                  <a:pt x="18131" y="17159"/>
                </a:cubicBezTo>
                <a:cubicBezTo>
                  <a:pt x="18133" y="17165"/>
                  <a:pt x="18133" y="17172"/>
                  <a:pt x="18134" y="17178"/>
                </a:cubicBezTo>
                <a:lnTo>
                  <a:pt x="18134" y="17181"/>
                </a:lnTo>
                <a:cubicBezTo>
                  <a:pt x="18135" y="17199"/>
                  <a:pt x="18138" y="17218"/>
                  <a:pt x="18146" y="17239"/>
                </a:cubicBezTo>
                <a:cubicBezTo>
                  <a:pt x="18147" y="17244"/>
                  <a:pt x="18148" y="17249"/>
                  <a:pt x="18149" y="17253"/>
                </a:cubicBezTo>
                <a:cubicBezTo>
                  <a:pt x="18160" y="17301"/>
                  <a:pt x="18172" y="17348"/>
                  <a:pt x="18186" y="17395"/>
                </a:cubicBezTo>
                <a:cubicBezTo>
                  <a:pt x="18190" y="17417"/>
                  <a:pt x="18208" y="17443"/>
                  <a:pt x="18241" y="17472"/>
                </a:cubicBezTo>
                <a:cubicBezTo>
                  <a:pt x="18242" y="17473"/>
                  <a:pt x="18242" y="17474"/>
                  <a:pt x="18241" y="17475"/>
                </a:cubicBezTo>
                <a:cubicBezTo>
                  <a:pt x="18239" y="17484"/>
                  <a:pt x="18236" y="17494"/>
                  <a:pt x="18233" y="17503"/>
                </a:cubicBezTo>
                <a:cubicBezTo>
                  <a:pt x="18206" y="17590"/>
                  <a:pt x="18192" y="17686"/>
                  <a:pt x="18192" y="17788"/>
                </a:cubicBezTo>
                <a:cubicBezTo>
                  <a:pt x="18192" y="17807"/>
                  <a:pt x="18204" y="17822"/>
                  <a:pt x="18227" y="17833"/>
                </a:cubicBezTo>
                <a:cubicBezTo>
                  <a:pt x="18347" y="17887"/>
                  <a:pt x="18455" y="17959"/>
                  <a:pt x="18552" y="18049"/>
                </a:cubicBezTo>
                <a:cubicBezTo>
                  <a:pt x="18568" y="18063"/>
                  <a:pt x="18583" y="18078"/>
                  <a:pt x="18598" y="18093"/>
                </a:cubicBezTo>
                <a:cubicBezTo>
                  <a:pt x="18617" y="18112"/>
                  <a:pt x="18627" y="18140"/>
                  <a:pt x="18627" y="18177"/>
                </a:cubicBezTo>
                <a:cubicBezTo>
                  <a:pt x="18635" y="18324"/>
                  <a:pt x="18710" y="18439"/>
                  <a:pt x="18853" y="18520"/>
                </a:cubicBezTo>
                <a:cubicBezTo>
                  <a:pt x="18876" y="18531"/>
                  <a:pt x="18894" y="18548"/>
                  <a:pt x="18905" y="18570"/>
                </a:cubicBezTo>
                <a:cubicBezTo>
                  <a:pt x="18963" y="18685"/>
                  <a:pt x="19017" y="18781"/>
                  <a:pt x="19068" y="18859"/>
                </a:cubicBezTo>
                <a:cubicBezTo>
                  <a:pt x="19083" y="18884"/>
                  <a:pt x="19091" y="18916"/>
                  <a:pt x="19091" y="18953"/>
                </a:cubicBezTo>
                <a:cubicBezTo>
                  <a:pt x="19083" y="19049"/>
                  <a:pt x="19046" y="19108"/>
                  <a:pt x="18981" y="19130"/>
                </a:cubicBezTo>
                <a:cubicBezTo>
                  <a:pt x="18938" y="19141"/>
                  <a:pt x="18898" y="19147"/>
                  <a:pt x="18859" y="19147"/>
                </a:cubicBezTo>
                <a:cubicBezTo>
                  <a:pt x="18840" y="19147"/>
                  <a:pt x="18822" y="19136"/>
                  <a:pt x="18807" y="19114"/>
                </a:cubicBezTo>
                <a:cubicBezTo>
                  <a:pt x="18737" y="19017"/>
                  <a:pt x="18641" y="18942"/>
                  <a:pt x="18517" y="18886"/>
                </a:cubicBezTo>
                <a:cubicBezTo>
                  <a:pt x="18494" y="18875"/>
                  <a:pt x="18476" y="18859"/>
                  <a:pt x="18465" y="18836"/>
                </a:cubicBezTo>
                <a:cubicBezTo>
                  <a:pt x="18422" y="18748"/>
                  <a:pt x="18380" y="18676"/>
                  <a:pt x="18337" y="18620"/>
                </a:cubicBezTo>
                <a:cubicBezTo>
                  <a:pt x="18271" y="18668"/>
                  <a:pt x="18250" y="18761"/>
                  <a:pt x="18273" y="18897"/>
                </a:cubicBezTo>
                <a:cubicBezTo>
                  <a:pt x="18308" y="19127"/>
                  <a:pt x="18443" y="19263"/>
                  <a:pt x="18679" y="19308"/>
                </a:cubicBezTo>
                <a:cubicBezTo>
                  <a:pt x="18702" y="19311"/>
                  <a:pt x="18720" y="19324"/>
                  <a:pt x="18731" y="19347"/>
                </a:cubicBezTo>
                <a:cubicBezTo>
                  <a:pt x="18778" y="19443"/>
                  <a:pt x="18859" y="19476"/>
                  <a:pt x="18975" y="19446"/>
                </a:cubicBezTo>
                <a:cubicBezTo>
                  <a:pt x="19060" y="19428"/>
                  <a:pt x="19114" y="19441"/>
                  <a:pt x="19137" y="19485"/>
                </a:cubicBezTo>
                <a:cubicBezTo>
                  <a:pt x="19145" y="19500"/>
                  <a:pt x="19168" y="19509"/>
                  <a:pt x="19207" y="19513"/>
                </a:cubicBezTo>
                <a:cubicBezTo>
                  <a:pt x="19392" y="19520"/>
                  <a:pt x="19536" y="19587"/>
                  <a:pt x="19636" y="19712"/>
                </a:cubicBezTo>
                <a:cubicBezTo>
                  <a:pt x="19659" y="19742"/>
                  <a:pt x="19684" y="19772"/>
                  <a:pt x="19711" y="19801"/>
                </a:cubicBezTo>
                <a:cubicBezTo>
                  <a:pt x="19800" y="19901"/>
                  <a:pt x="19893" y="19997"/>
                  <a:pt x="19990" y="20090"/>
                </a:cubicBezTo>
                <a:cubicBezTo>
                  <a:pt x="20009" y="20108"/>
                  <a:pt x="20036" y="20123"/>
                  <a:pt x="20071" y="20134"/>
                </a:cubicBezTo>
                <a:cubicBezTo>
                  <a:pt x="20168" y="20171"/>
                  <a:pt x="20220" y="20221"/>
                  <a:pt x="20228" y="20284"/>
                </a:cubicBezTo>
                <a:cubicBezTo>
                  <a:pt x="20258" y="20491"/>
                  <a:pt x="20170" y="20598"/>
                  <a:pt x="19961" y="20605"/>
                </a:cubicBezTo>
                <a:cubicBezTo>
                  <a:pt x="19922" y="20607"/>
                  <a:pt x="19885" y="20607"/>
                  <a:pt x="19851" y="20605"/>
                </a:cubicBezTo>
                <a:cubicBezTo>
                  <a:pt x="19748" y="20597"/>
                  <a:pt x="19665" y="20569"/>
                  <a:pt x="19601" y="20522"/>
                </a:cubicBezTo>
                <a:cubicBezTo>
                  <a:pt x="19497" y="20441"/>
                  <a:pt x="19418" y="20308"/>
                  <a:pt x="19363" y="20123"/>
                </a:cubicBezTo>
                <a:cubicBezTo>
                  <a:pt x="19356" y="20101"/>
                  <a:pt x="19340" y="20082"/>
                  <a:pt x="19317" y="20067"/>
                </a:cubicBezTo>
                <a:cubicBezTo>
                  <a:pt x="19159" y="19968"/>
                  <a:pt x="18948" y="19920"/>
                  <a:pt x="18685" y="19923"/>
                </a:cubicBezTo>
                <a:cubicBezTo>
                  <a:pt x="18666" y="19923"/>
                  <a:pt x="18644" y="19920"/>
                  <a:pt x="18621" y="19912"/>
                </a:cubicBezTo>
                <a:cubicBezTo>
                  <a:pt x="18443" y="19849"/>
                  <a:pt x="18325" y="19753"/>
                  <a:pt x="18267" y="19624"/>
                </a:cubicBezTo>
                <a:cubicBezTo>
                  <a:pt x="18256" y="19602"/>
                  <a:pt x="18238" y="19589"/>
                  <a:pt x="18215" y="19585"/>
                </a:cubicBezTo>
                <a:cubicBezTo>
                  <a:pt x="18064" y="19548"/>
                  <a:pt x="17976" y="19470"/>
                  <a:pt x="17949" y="19352"/>
                </a:cubicBezTo>
                <a:cubicBezTo>
                  <a:pt x="17937" y="19308"/>
                  <a:pt x="17910" y="19269"/>
                  <a:pt x="17867" y="19236"/>
                </a:cubicBezTo>
                <a:cubicBezTo>
                  <a:pt x="17794" y="19173"/>
                  <a:pt x="17710" y="19116"/>
                  <a:pt x="17615" y="19067"/>
                </a:cubicBezTo>
                <a:cubicBezTo>
                  <a:pt x="17520" y="19017"/>
                  <a:pt x="17415" y="18973"/>
                  <a:pt x="17299" y="18936"/>
                </a:cubicBezTo>
                <a:cubicBezTo>
                  <a:pt x="17276" y="18929"/>
                  <a:pt x="17254" y="18916"/>
                  <a:pt x="17235" y="18897"/>
                </a:cubicBezTo>
                <a:cubicBezTo>
                  <a:pt x="17173" y="18823"/>
                  <a:pt x="17077" y="18794"/>
                  <a:pt x="16945" y="18809"/>
                </a:cubicBezTo>
                <a:cubicBezTo>
                  <a:pt x="16907" y="18812"/>
                  <a:pt x="16868" y="18816"/>
                  <a:pt x="16829" y="18820"/>
                </a:cubicBezTo>
                <a:cubicBezTo>
                  <a:pt x="16721" y="18827"/>
                  <a:pt x="16622" y="18851"/>
                  <a:pt x="16534" y="18892"/>
                </a:cubicBezTo>
                <a:cubicBezTo>
                  <a:pt x="16282" y="19003"/>
                  <a:pt x="16015" y="19103"/>
                  <a:pt x="15733" y="19191"/>
                </a:cubicBezTo>
                <a:cubicBezTo>
                  <a:pt x="15602" y="19232"/>
                  <a:pt x="15464" y="19256"/>
                  <a:pt x="15321" y="19263"/>
                </a:cubicBezTo>
                <a:cubicBezTo>
                  <a:pt x="15217" y="19271"/>
                  <a:pt x="15138" y="19295"/>
                  <a:pt x="15084" y="19335"/>
                </a:cubicBezTo>
                <a:cubicBezTo>
                  <a:pt x="15049" y="19358"/>
                  <a:pt x="15022" y="19383"/>
                  <a:pt x="15003" y="19413"/>
                </a:cubicBezTo>
                <a:cubicBezTo>
                  <a:pt x="14983" y="19439"/>
                  <a:pt x="14974" y="19470"/>
                  <a:pt x="14974" y="19507"/>
                </a:cubicBezTo>
                <a:cubicBezTo>
                  <a:pt x="14974" y="19644"/>
                  <a:pt x="14960" y="19775"/>
                  <a:pt x="14933" y="19901"/>
                </a:cubicBezTo>
                <a:cubicBezTo>
                  <a:pt x="14921" y="19953"/>
                  <a:pt x="14908" y="20005"/>
                  <a:pt x="14892" y="20056"/>
                </a:cubicBezTo>
                <a:cubicBezTo>
                  <a:pt x="14834" y="20260"/>
                  <a:pt x="14728" y="20394"/>
                  <a:pt x="14573" y="20461"/>
                </a:cubicBezTo>
                <a:cubicBezTo>
                  <a:pt x="14550" y="20472"/>
                  <a:pt x="14529" y="20487"/>
                  <a:pt x="14510" y="20505"/>
                </a:cubicBezTo>
                <a:cubicBezTo>
                  <a:pt x="14459" y="20550"/>
                  <a:pt x="14382" y="20578"/>
                  <a:pt x="14278" y="20589"/>
                </a:cubicBezTo>
                <a:cubicBezTo>
                  <a:pt x="14258" y="20589"/>
                  <a:pt x="14239" y="20589"/>
                  <a:pt x="14220" y="20589"/>
                </a:cubicBezTo>
                <a:cubicBezTo>
                  <a:pt x="14201" y="20589"/>
                  <a:pt x="14182" y="20586"/>
                  <a:pt x="14165" y="20580"/>
                </a:cubicBezTo>
                <a:cubicBezTo>
                  <a:pt x="14146" y="20575"/>
                  <a:pt x="14127" y="20567"/>
                  <a:pt x="14109" y="20555"/>
                </a:cubicBezTo>
                <a:cubicBezTo>
                  <a:pt x="13970" y="20459"/>
                  <a:pt x="13843" y="20343"/>
                  <a:pt x="13727" y="20206"/>
                </a:cubicBezTo>
                <a:cubicBezTo>
                  <a:pt x="13707" y="20184"/>
                  <a:pt x="13692" y="20156"/>
                  <a:pt x="13680" y="20123"/>
                </a:cubicBezTo>
                <a:cubicBezTo>
                  <a:pt x="13673" y="20101"/>
                  <a:pt x="13667" y="20078"/>
                  <a:pt x="13663" y="20056"/>
                </a:cubicBezTo>
                <a:cubicBezTo>
                  <a:pt x="13620" y="19879"/>
                  <a:pt x="13597" y="19696"/>
                  <a:pt x="13593" y="19507"/>
                </a:cubicBezTo>
                <a:cubicBezTo>
                  <a:pt x="13586" y="19193"/>
                  <a:pt x="13591" y="18879"/>
                  <a:pt x="13611" y="18565"/>
                </a:cubicBezTo>
                <a:cubicBezTo>
                  <a:pt x="13611" y="18546"/>
                  <a:pt x="13611" y="18528"/>
                  <a:pt x="13611" y="18509"/>
                </a:cubicBezTo>
                <a:cubicBezTo>
                  <a:pt x="13622" y="18406"/>
                  <a:pt x="13644" y="18311"/>
                  <a:pt x="13674" y="18226"/>
                </a:cubicBezTo>
                <a:cubicBezTo>
                  <a:pt x="13690" y="18175"/>
                  <a:pt x="13705" y="18123"/>
                  <a:pt x="13721" y="18071"/>
                </a:cubicBezTo>
                <a:cubicBezTo>
                  <a:pt x="13725" y="18049"/>
                  <a:pt x="13729" y="18029"/>
                  <a:pt x="13733" y="18010"/>
                </a:cubicBezTo>
                <a:cubicBezTo>
                  <a:pt x="13740" y="17910"/>
                  <a:pt x="13760" y="17833"/>
                  <a:pt x="13791" y="17777"/>
                </a:cubicBezTo>
                <a:cubicBezTo>
                  <a:pt x="13806" y="17748"/>
                  <a:pt x="13814" y="17714"/>
                  <a:pt x="13814" y="17677"/>
                </a:cubicBezTo>
                <a:cubicBezTo>
                  <a:pt x="13829" y="17419"/>
                  <a:pt x="13781" y="17226"/>
                  <a:pt x="13669" y="17101"/>
                </a:cubicBezTo>
                <a:cubicBezTo>
                  <a:pt x="13649" y="17079"/>
                  <a:pt x="13632" y="17053"/>
                  <a:pt x="13617" y="17023"/>
                </a:cubicBezTo>
                <a:cubicBezTo>
                  <a:pt x="13578" y="16931"/>
                  <a:pt x="13541" y="16837"/>
                  <a:pt x="13506" y="16740"/>
                </a:cubicBezTo>
                <a:cubicBezTo>
                  <a:pt x="13479" y="16663"/>
                  <a:pt x="13454" y="16585"/>
                  <a:pt x="13431" y="16507"/>
                </a:cubicBezTo>
                <a:cubicBezTo>
                  <a:pt x="13416" y="16456"/>
                  <a:pt x="13402" y="16404"/>
                  <a:pt x="13390" y="16352"/>
                </a:cubicBezTo>
                <a:cubicBezTo>
                  <a:pt x="13383" y="16330"/>
                  <a:pt x="13375" y="16308"/>
                  <a:pt x="13367" y="16286"/>
                </a:cubicBezTo>
                <a:cubicBezTo>
                  <a:pt x="13317" y="16160"/>
                  <a:pt x="13284" y="16031"/>
                  <a:pt x="13269" y="15898"/>
                </a:cubicBezTo>
                <a:cubicBezTo>
                  <a:pt x="13265" y="15883"/>
                  <a:pt x="13267" y="15864"/>
                  <a:pt x="13274" y="15842"/>
                </a:cubicBezTo>
                <a:cubicBezTo>
                  <a:pt x="13336" y="15702"/>
                  <a:pt x="13410" y="15585"/>
                  <a:pt x="13495" y="15493"/>
                </a:cubicBezTo>
                <a:cubicBezTo>
                  <a:pt x="13514" y="15471"/>
                  <a:pt x="13530" y="15443"/>
                  <a:pt x="13541" y="15410"/>
                </a:cubicBezTo>
                <a:cubicBezTo>
                  <a:pt x="13549" y="15387"/>
                  <a:pt x="13564" y="15369"/>
                  <a:pt x="13588" y="15354"/>
                </a:cubicBezTo>
                <a:cubicBezTo>
                  <a:pt x="13669" y="15302"/>
                  <a:pt x="13715" y="15208"/>
                  <a:pt x="13727" y="15071"/>
                </a:cubicBezTo>
                <a:cubicBezTo>
                  <a:pt x="13727" y="15053"/>
                  <a:pt x="13729" y="15033"/>
                  <a:pt x="13733" y="15010"/>
                </a:cubicBezTo>
                <a:cubicBezTo>
                  <a:pt x="13760" y="14862"/>
                  <a:pt x="13736" y="14729"/>
                  <a:pt x="13663" y="14611"/>
                </a:cubicBezTo>
                <a:cubicBezTo>
                  <a:pt x="13647" y="14585"/>
                  <a:pt x="13636" y="14556"/>
                  <a:pt x="13628" y="14522"/>
                </a:cubicBezTo>
                <a:cubicBezTo>
                  <a:pt x="13605" y="14437"/>
                  <a:pt x="13551" y="14380"/>
                  <a:pt x="13466" y="14350"/>
                </a:cubicBezTo>
                <a:cubicBezTo>
                  <a:pt x="13330" y="14498"/>
                  <a:pt x="13263" y="14702"/>
                  <a:pt x="13263" y="14960"/>
                </a:cubicBezTo>
                <a:cubicBezTo>
                  <a:pt x="13263" y="14997"/>
                  <a:pt x="13259" y="15036"/>
                  <a:pt x="13251" y="15077"/>
                </a:cubicBezTo>
                <a:cubicBezTo>
                  <a:pt x="13240" y="15147"/>
                  <a:pt x="13232" y="15219"/>
                  <a:pt x="13228" y="15293"/>
                </a:cubicBezTo>
                <a:cubicBezTo>
                  <a:pt x="13228" y="15363"/>
                  <a:pt x="13218" y="15423"/>
                  <a:pt x="13199" y="15471"/>
                </a:cubicBezTo>
                <a:cubicBezTo>
                  <a:pt x="13184" y="15500"/>
                  <a:pt x="13170" y="15532"/>
                  <a:pt x="13158" y="15565"/>
                </a:cubicBezTo>
                <a:cubicBezTo>
                  <a:pt x="13151" y="15587"/>
                  <a:pt x="13137" y="15607"/>
                  <a:pt x="13118" y="15626"/>
                </a:cubicBezTo>
                <a:cubicBezTo>
                  <a:pt x="13013" y="15711"/>
                  <a:pt x="12948" y="15838"/>
                  <a:pt x="12921" y="16008"/>
                </a:cubicBezTo>
                <a:cubicBezTo>
                  <a:pt x="12917" y="16031"/>
                  <a:pt x="12913" y="16053"/>
                  <a:pt x="12909" y="16075"/>
                </a:cubicBezTo>
                <a:cubicBezTo>
                  <a:pt x="12867" y="16275"/>
                  <a:pt x="12899" y="16437"/>
                  <a:pt x="13008" y="16563"/>
                </a:cubicBezTo>
                <a:cubicBezTo>
                  <a:pt x="13050" y="16615"/>
                  <a:pt x="13075" y="16690"/>
                  <a:pt x="13083" y="16790"/>
                </a:cubicBezTo>
                <a:cubicBezTo>
                  <a:pt x="13087" y="16846"/>
                  <a:pt x="13098" y="16901"/>
                  <a:pt x="13118" y="16957"/>
                </a:cubicBezTo>
                <a:cubicBezTo>
                  <a:pt x="13137" y="17031"/>
                  <a:pt x="13162" y="17103"/>
                  <a:pt x="13193" y="17173"/>
                </a:cubicBezTo>
                <a:cubicBezTo>
                  <a:pt x="13201" y="17195"/>
                  <a:pt x="13211" y="17217"/>
                  <a:pt x="13222" y="17239"/>
                </a:cubicBezTo>
                <a:cubicBezTo>
                  <a:pt x="13307" y="17384"/>
                  <a:pt x="13311" y="17548"/>
                  <a:pt x="13234" y="17733"/>
                </a:cubicBezTo>
                <a:cubicBezTo>
                  <a:pt x="13195" y="17825"/>
                  <a:pt x="13160" y="17920"/>
                  <a:pt x="13129" y="18016"/>
                </a:cubicBezTo>
                <a:cubicBezTo>
                  <a:pt x="13100" y="18100"/>
                  <a:pt x="13064" y="18183"/>
                  <a:pt x="13022" y="18265"/>
                </a:cubicBezTo>
                <a:cubicBezTo>
                  <a:pt x="12953" y="18402"/>
                  <a:pt x="12867" y="18537"/>
                  <a:pt x="12764" y="18670"/>
                </a:cubicBezTo>
                <a:cubicBezTo>
                  <a:pt x="12749" y="18692"/>
                  <a:pt x="12729" y="18711"/>
                  <a:pt x="12706" y="18725"/>
                </a:cubicBezTo>
                <a:cubicBezTo>
                  <a:pt x="12621" y="18777"/>
                  <a:pt x="12575" y="18872"/>
                  <a:pt x="12567" y="19008"/>
                </a:cubicBezTo>
                <a:cubicBezTo>
                  <a:pt x="12567" y="19027"/>
                  <a:pt x="12557" y="19045"/>
                  <a:pt x="12538" y="19064"/>
                </a:cubicBezTo>
                <a:cubicBezTo>
                  <a:pt x="12499" y="19101"/>
                  <a:pt x="12480" y="19156"/>
                  <a:pt x="12480" y="19230"/>
                </a:cubicBezTo>
                <a:cubicBezTo>
                  <a:pt x="12325" y="19160"/>
                  <a:pt x="12196" y="19045"/>
                  <a:pt x="12091" y="18886"/>
                </a:cubicBezTo>
                <a:cubicBezTo>
                  <a:pt x="12049" y="18812"/>
                  <a:pt x="11983" y="18768"/>
                  <a:pt x="11894" y="18753"/>
                </a:cubicBezTo>
                <a:cubicBezTo>
                  <a:pt x="11674" y="18709"/>
                  <a:pt x="11521" y="18738"/>
                  <a:pt x="11436" y="18842"/>
                </a:cubicBezTo>
                <a:cubicBezTo>
                  <a:pt x="11417" y="18860"/>
                  <a:pt x="11405" y="18881"/>
                  <a:pt x="11401" y="18903"/>
                </a:cubicBezTo>
                <a:cubicBezTo>
                  <a:pt x="11378" y="18999"/>
                  <a:pt x="11407" y="19056"/>
                  <a:pt x="11488" y="19075"/>
                </a:cubicBezTo>
                <a:cubicBezTo>
                  <a:pt x="11589" y="19101"/>
                  <a:pt x="11668" y="19134"/>
                  <a:pt x="11726" y="19175"/>
                </a:cubicBezTo>
                <a:cubicBezTo>
                  <a:pt x="11865" y="19271"/>
                  <a:pt x="11915" y="19417"/>
                  <a:pt x="11877" y="19613"/>
                </a:cubicBezTo>
                <a:cubicBezTo>
                  <a:pt x="11873" y="19635"/>
                  <a:pt x="11869" y="19657"/>
                  <a:pt x="11865" y="19679"/>
                </a:cubicBezTo>
                <a:cubicBezTo>
                  <a:pt x="11807" y="19908"/>
                  <a:pt x="11857" y="20054"/>
                  <a:pt x="12016" y="20117"/>
                </a:cubicBezTo>
                <a:cubicBezTo>
                  <a:pt x="12086" y="20147"/>
                  <a:pt x="12128" y="20182"/>
                  <a:pt x="12143" y="20223"/>
                </a:cubicBezTo>
                <a:cubicBezTo>
                  <a:pt x="12174" y="20300"/>
                  <a:pt x="12198" y="20378"/>
                  <a:pt x="12213" y="20456"/>
                </a:cubicBezTo>
                <a:cubicBezTo>
                  <a:pt x="12217" y="20470"/>
                  <a:pt x="12213" y="20489"/>
                  <a:pt x="12202" y="20511"/>
                </a:cubicBezTo>
                <a:cubicBezTo>
                  <a:pt x="12155" y="20608"/>
                  <a:pt x="12077" y="20658"/>
                  <a:pt x="11967" y="20661"/>
                </a:cubicBezTo>
                <a:cubicBezTo>
                  <a:pt x="11930" y="20662"/>
                  <a:pt x="11891" y="20659"/>
                  <a:pt x="11848" y="20650"/>
                </a:cubicBezTo>
                <a:cubicBezTo>
                  <a:pt x="11825" y="20646"/>
                  <a:pt x="11809" y="20633"/>
                  <a:pt x="11801" y="20611"/>
                </a:cubicBezTo>
                <a:cubicBezTo>
                  <a:pt x="11770" y="20489"/>
                  <a:pt x="11687" y="20426"/>
                  <a:pt x="11552" y="20422"/>
                </a:cubicBezTo>
                <a:cubicBezTo>
                  <a:pt x="11533" y="20422"/>
                  <a:pt x="11511" y="20419"/>
                  <a:pt x="11488" y="20411"/>
                </a:cubicBezTo>
                <a:cubicBezTo>
                  <a:pt x="11310" y="20352"/>
                  <a:pt x="11119" y="20322"/>
                  <a:pt x="10914" y="20322"/>
                </a:cubicBezTo>
                <a:cubicBezTo>
                  <a:pt x="10748" y="20326"/>
                  <a:pt x="10676" y="20239"/>
                  <a:pt x="10700" y="20062"/>
                </a:cubicBezTo>
                <a:cubicBezTo>
                  <a:pt x="10715" y="19962"/>
                  <a:pt x="10700" y="19895"/>
                  <a:pt x="10653" y="19862"/>
                </a:cubicBezTo>
                <a:cubicBezTo>
                  <a:pt x="10634" y="19847"/>
                  <a:pt x="10626" y="19822"/>
                  <a:pt x="10630" y="19785"/>
                </a:cubicBezTo>
                <a:cubicBezTo>
                  <a:pt x="10641" y="19585"/>
                  <a:pt x="10522" y="19502"/>
                  <a:pt x="10270" y="19535"/>
                </a:cubicBezTo>
                <a:cubicBezTo>
                  <a:pt x="10197" y="19546"/>
                  <a:pt x="10124" y="19550"/>
                  <a:pt x="10050" y="19546"/>
                </a:cubicBezTo>
                <a:cubicBezTo>
                  <a:pt x="10027" y="19542"/>
                  <a:pt x="10007" y="19541"/>
                  <a:pt x="9992" y="19541"/>
                </a:cubicBezTo>
                <a:cubicBezTo>
                  <a:pt x="9895" y="19485"/>
                  <a:pt x="9830" y="19402"/>
                  <a:pt x="9795" y="19291"/>
                </a:cubicBezTo>
                <a:cubicBezTo>
                  <a:pt x="9787" y="19269"/>
                  <a:pt x="9776" y="19247"/>
                  <a:pt x="9760" y="19225"/>
                </a:cubicBezTo>
                <a:cubicBezTo>
                  <a:pt x="9755" y="19216"/>
                  <a:pt x="9749" y="19208"/>
                  <a:pt x="9743" y="19200"/>
                </a:cubicBezTo>
                <a:cubicBezTo>
                  <a:pt x="9742" y="19198"/>
                  <a:pt x="9741" y="19196"/>
                  <a:pt x="9740" y="19194"/>
                </a:cubicBezTo>
                <a:cubicBezTo>
                  <a:pt x="9659" y="19085"/>
                  <a:pt x="9545" y="19010"/>
                  <a:pt x="9400" y="18969"/>
                </a:cubicBezTo>
                <a:cubicBezTo>
                  <a:pt x="9269" y="18933"/>
                  <a:pt x="9147" y="18840"/>
                  <a:pt x="9035" y="18692"/>
                </a:cubicBezTo>
                <a:cubicBezTo>
                  <a:pt x="9012" y="18663"/>
                  <a:pt x="8987" y="18633"/>
                  <a:pt x="8960" y="18603"/>
                </a:cubicBezTo>
                <a:cubicBezTo>
                  <a:pt x="8929" y="18578"/>
                  <a:pt x="8900" y="18550"/>
                  <a:pt x="8873" y="18520"/>
                </a:cubicBezTo>
                <a:cubicBezTo>
                  <a:pt x="8734" y="18376"/>
                  <a:pt x="8583" y="18284"/>
                  <a:pt x="8420" y="18243"/>
                </a:cubicBezTo>
                <a:cubicBezTo>
                  <a:pt x="8235" y="18195"/>
                  <a:pt x="8063" y="18132"/>
                  <a:pt x="7904" y="18055"/>
                </a:cubicBezTo>
                <a:cubicBezTo>
                  <a:pt x="7881" y="18043"/>
                  <a:pt x="7860" y="18029"/>
                  <a:pt x="7840" y="18010"/>
                </a:cubicBezTo>
                <a:cubicBezTo>
                  <a:pt x="7674" y="17814"/>
                  <a:pt x="7462" y="17592"/>
                  <a:pt x="7203" y="17345"/>
                </a:cubicBezTo>
                <a:cubicBezTo>
                  <a:pt x="7164" y="17308"/>
                  <a:pt x="7137" y="17254"/>
                  <a:pt x="7121" y="17184"/>
                </a:cubicBezTo>
                <a:cubicBezTo>
                  <a:pt x="7118" y="17162"/>
                  <a:pt x="7110" y="17140"/>
                  <a:pt x="7098" y="17117"/>
                </a:cubicBezTo>
                <a:cubicBezTo>
                  <a:pt x="7060" y="17036"/>
                  <a:pt x="7027" y="16977"/>
                  <a:pt x="7000" y="16940"/>
                </a:cubicBezTo>
                <a:cubicBezTo>
                  <a:pt x="6980" y="16914"/>
                  <a:pt x="6961" y="16892"/>
                  <a:pt x="6942" y="16873"/>
                </a:cubicBezTo>
                <a:cubicBezTo>
                  <a:pt x="6922" y="16855"/>
                  <a:pt x="6893" y="16846"/>
                  <a:pt x="6855" y="16846"/>
                </a:cubicBezTo>
                <a:cubicBezTo>
                  <a:pt x="6777" y="16938"/>
                  <a:pt x="6770" y="17034"/>
                  <a:pt x="6831" y="17134"/>
                </a:cubicBezTo>
                <a:cubicBezTo>
                  <a:pt x="6847" y="17164"/>
                  <a:pt x="6859" y="17195"/>
                  <a:pt x="6866" y="17228"/>
                </a:cubicBezTo>
                <a:cubicBezTo>
                  <a:pt x="6878" y="17269"/>
                  <a:pt x="6899" y="17302"/>
                  <a:pt x="6930" y="17328"/>
                </a:cubicBezTo>
                <a:cubicBezTo>
                  <a:pt x="6977" y="17376"/>
                  <a:pt x="7019" y="17426"/>
                  <a:pt x="7058" y="17478"/>
                </a:cubicBezTo>
                <a:cubicBezTo>
                  <a:pt x="7077" y="17500"/>
                  <a:pt x="7092" y="17528"/>
                  <a:pt x="7104" y="17561"/>
                </a:cubicBezTo>
                <a:cubicBezTo>
                  <a:pt x="7112" y="17583"/>
                  <a:pt x="7125" y="17604"/>
                  <a:pt x="7145" y="17622"/>
                </a:cubicBezTo>
                <a:cubicBezTo>
                  <a:pt x="7257" y="17726"/>
                  <a:pt x="7322" y="17855"/>
                  <a:pt x="7342" y="18010"/>
                </a:cubicBezTo>
                <a:cubicBezTo>
                  <a:pt x="7346" y="18047"/>
                  <a:pt x="7355" y="18084"/>
                  <a:pt x="7371" y="18121"/>
                </a:cubicBezTo>
                <a:cubicBezTo>
                  <a:pt x="7394" y="18195"/>
                  <a:pt x="7419" y="18267"/>
                  <a:pt x="7446" y="18337"/>
                </a:cubicBezTo>
                <a:cubicBezTo>
                  <a:pt x="7458" y="18378"/>
                  <a:pt x="7479" y="18413"/>
                  <a:pt x="7510" y="18443"/>
                </a:cubicBezTo>
                <a:cubicBezTo>
                  <a:pt x="7603" y="18535"/>
                  <a:pt x="7730" y="18602"/>
                  <a:pt x="7893" y="18642"/>
                </a:cubicBezTo>
                <a:cubicBezTo>
                  <a:pt x="7916" y="18646"/>
                  <a:pt x="7939" y="18653"/>
                  <a:pt x="7962" y="18665"/>
                </a:cubicBezTo>
                <a:cubicBezTo>
                  <a:pt x="8051" y="18713"/>
                  <a:pt x="8163" y="18757"/>
                  <a:pt x="8299" y="18798"/>
                </a:cubicBezTo>
                <a:cubicBezTo>
                  <a:pt x="8446" y="18838"/>
                  <a:pt x="8581" y="18892"/>
                  <a:pt x="8705" y="18958"/>
                </a:cubicBezTo>
                <a:cubicBezTo>
                  <a:pt x="8995" y="19110"/>
                  <a:pt x="9134" y="19367"/>
                  <a:pt x="9122" y="19729"/>
                </a:cubicBezTo>
                <a:cubicBezTo>
                  <a:pt x="9118" y="19914"/>
                  <a:pt x="9109" y="20099"/>
                  <a:pt x="9093" y="20284"/>
                </a:cubicBezTo>
                <a:cubicBezTo>
                  <a:pt x="9089" y="20302"/>
                  <a:pt x="9087" y="20321"/>
                  <a:pt x="9087" y="20339"/>
                </a:cubicBezTo>
                <a:cubicBezTo>
                  <a:pt x="9076" y="20439"/>
                  <a:pt x="9035" y="20507"/>
                  <a:pt x="8966" y="20544"/>
                </a:cubicBezTo>
                <a:cubicBezTo>
                  <a:pt x="8950" y="20555"/>
                  <a:pt x="8935" y="20576"/>
                  <a:pt x="8919" y="20605"/>
                </a:cubicBezTo>
                <a:cubicBezTo>
                  <a:pt x="8838" y="20783"/>
                  <a:pt x="8768" y="20934"/>
                  <a:pt x="8710" y="21060"/>
                </a:cubicBezTo>
                <a:cubicBezTo>
                  <a:pt x="8679" y="21123"/>
                  <a:pt x="8604" y="21136"/>
                  <a:pt x="8484" y="21099"/>
                </a:cubicBezTo>
                <a:cubicBezTo>
                  <a:pt x="8461" y="21091"/>
                  <a:pt x="8444" y="21077"/>
                  <a:pt x="8432" y="21054"/>
                </a:cubicBezTo>
                <a:cubicBezTo>
                  <a:pt x="8351" y="20921"/>
                  <a:pt x="8229" y="20816"/>
                  <a:pt x="8067" y="20738"/>
                </a:cubicBezTo>
                <a:cubicBezTo>
                  <a:pt x="7862" y="20642"/>
                  <a:pt x="7669" y="20653"/>
                  <a:pt x="7487" y="20772"/>
                </a:cubicBezTo>
                <a:cubicBezTo>
                  <a:pt x="7362" y="20854"/>
                  <a:pt x="7225" y="20899"/>
                  <a:pt x="7075" y="20905"/>
                </a:cubicBezTo>
                <a:cubicBezTo>
                  <a:pt x="7060" y="20906"/>
                  <a:pt x="7044" y="20906"/>
                  <a:pt x="7029" y="20905"/>
                </a:cubicBezTo>
                <a:cubicBezTo>
                  <a:pt x="6993" y="20906"/>
                  <a:pt x="6956" y="20904"/>
                  <a:pt x="6918" y="20899"/>
                </a:cubicBezTo>
                <a:cubicBezTo>
                  <a:pt x="6876" y="20895"/>
                  <a:pt x="6837" y="20873"/>
                  <a:pt x="6803" y="20833"/>
                </a:cubicBezTo>
                <a:cubicBezTo>
                  <a:pt x="6667" y="20692"/>
                  <a:pt x="6507" y="20533"/>
                  <a:pt x="6321" y="20356"/>
                </a:cubicBezTo>
                <a:cubicBezTo>
                  <a:pt x="6290" y="20326"/>
                  <a:pt x="6255" y="20304"/>
                  <a:pt x="6217" y="20289"/>
                </a:cubicBezTo>
                <a:cubicBezTo>
                  <a:pt x="6062" y="20234"/>
                  <a:pt x="5886" y="20182"/>
                  <a:pt x="5689" y="20134"/>
                </a:cubicBezTo>
                <a:cubicBezTo>
                  <a:pt x="5635" y="20123"/>
                  <a:pt x="5579" y="20114"/>
                  <a:pt x="5521" y="20106"/>
                </a:cubicBezTo>
                <a:cubicBezTo>
                  <a:pt x="5297" y="20084"/>
                  <a:pt x="5134" y="20115"/>
                  <a:pt x="5034" y="20200"/>
                </a:cubicBezTo>
                <a:cubicBezTo>
                  <a:pt x="5011" y="20219"/>
                  <a:pt x="4982" y="20234"/>
                  <a:pt x="4947" y="20245"/>
                </a:cubicBezTo>
                <a:cubicBezTo>
                  <a:pt x="4924" y="20252"/>
                  <a:pt x="4904" y="20267"/>
                  <a:pt x="4889" y="20289"/>
                </a:cubicBezTo>
                <a:cubicBezTo>
                  <a:pt x="4749" y="20455"/>
                  <a:pt x="4599" y="20620"/>
                  <a:pt x="4439" y="20783"/>
                </a:cubicBezTo>
                <a:cubicBezTo>
                  <a:pt x="4417" y="20805"/>
                  <a:pt x="4395" y="20827"/>
                  <a:pt x="4373" y="20849"/>
                </a:cubicBezTo>
                <a:cubicBezTo>
                  <a:pt x="4288" y="20934"/>
                  <a:pt x="4202" y="21019"/>
                  <a:pt x="4117" y="21104"/>
                </a:cubicBezTo>
                <a:cubicBezTo>
                  <a:pt x="4087" y="21130"/>
                  <a:pt x="4058" y="21158"/>
                  <a:pt x="4030" y="21187"/>
                </a:cubicBezTo>
                <a:cubicBezTo>
                  <a:pt x="3941" y="21269"/>
                  <a:pt x="3855" y="21352"/>
                  <a:pt x="3770" y="21437"/>
                </a:cubicBezTo>
                <a:cubicBezTo>
                  <a:pt x="3739" y="21463"/>
                  <a:pt x="3706" y="21487"/>
                  <a:pt x="3671" y="21509"/>
                </a:cubicBezTo>
                <a:cubicBezTo>
                  <a:pt x="3604" y="21552"/>
                  <a:pt x="3524" y="21578"/>
                  <a:pt x="3430" y="21589"/>
                </a:cubicBezTo>
                <a:lnTo>
                  <a:pt x="3427" y="21589"/>
                </a:lnTo>
                <a:cubicBezTo>
                  <a:pt x="3359" y="21599"/>
                  <a:pt x="3284" y="21600"/>
                  <a:pt x="3201" y="21592"/>
                </a:cubicBezTo>
                <a:cubicBezTo>
                  <a:pt x="3182" y="21589"/>
                  <a:pt x="3161" y="21581"/>
                  <a:pt x="3137" y="21570"/>
                </a:cubicBezTo>
                <a:cubicBezTo>
                  <a:pt x="2971" y="21478"/>
                  <a:pt x="2838" y="21363"/>
                  <a:pt x="2737" y="21226"/>
                </a:cubicBezTo>
                <a:cubicBezTo>
                  <a:pt x="2699" y="21171"/>
                  <a:pt x="2643" y="21128"/>
                  <a:pt x="2569" y="21099"/>
                </a:cubicBezTo>
                <a:cubicBezTo>
                  <a:pt x="2546" y="21091"/>
                  <a:pt x="2525" y="21088"/>
                  <a:pt x="2505" y="21088"/>
                </a:cubicBezTo>
                <a:cubicBezTo>
                  <a:pt x="2401" y="21077"/>
                  <a:pt x="2320" y="21056"/>
                  <a:pt x="2262" y="21027"/>
                </a:cubicBezTo>
                <a:cubicBezTo>
                  <a:pt x="2231" y="21012"/>
                  <a:pt x="2200" y="20997"/>
                  <a:pt x="2169" y="20982"/>
                </a:cubicBezTo>
                <a:cubicBezTo>
                  <a:pt x="2072" y="20931"/>
                  <a:pt x="1974" y="20879"/>
                  <a:pt x="1873" y="20827"/>
                </a:cubicBezTo>
                <a:cubicBezTo>
                  <a:pt x="1850" y="20816"/>
                  <a:pt x="1827" y="20805"/>
                  <a:pt x="1804" y="20794"/>
                </a:cubicBezTo>
                <a:cubicBezTo>
                  <a:pt x="1753" y="20764"/>
                  <a:pt x="1701" y="20744"/>
                  <a:pt x="1647" y="20733"/>
                </a:cubicBezTo>
                <a:cubicBezTo>
                  <a:pt x="1651" y="20688"/>
                  <a:pt x="1628" y="20663"/>
                  <a:pt x="1577" y="20655"/>
                </a:cubicBezTo>
                <a:cubicBezTo>
                  <a:pt x="1539" y="20648"/>
                  <a:pt x="1500" y="20637"/>
                  <a:pt x="1461" y="20622"/>
                </a:cubicBezTo>
                <a:cubicBezTo>
                  <a:pt x="1388" y="20600"/>
                  <a:pt x="1324" y="20607"/>
                  <a:pt x="1270" y="20644"/>
                </a:cubicBezTo>
                <a:cubicBezTo>
                  <a:pt x="1243" y="20663"/>
                  <a:pt x="1212" y="20676"/>
                  <a:pt x="1177" y="20683"/>
                </a:cubicBezTo>
                <a:cubicBezTo>
                  <a:pt x="1135" y="20694"/>
                  <a:pt x="1100" y="20714"/>
                  <a:pt x="1073" y="20744"/>
                </a:cubicBezTo>
                <a:cubicBezTo>
                  <a:pt x="1038" y="20773"/>
                  <a:pt x="1005" y="20805"/>
                  <a:pt x="974" y="20838"/>
                </a:cubicBezTo>
                <a:cubicBezTo>
                  <a:pt x="869" y="20755"/>
                  <a:pt x="767" y="20640"/>
                  <a:pt x="667" y="20494"/>
                </a:cubicBezTo>
                <a:cubicBezTo>
                  <a:pt x="628" y="20439"/>
                  <a:pt x="568" y="20380"/>
                  <a:pt x="487" y="20317"/>
                </a:cubicBezTo>
                <a:cubicBezTo>
                  <a:pt x="456" y="20295"/>
                  <a:pt x="431" y="20265"/>
                  <a:pt x="412" y="20228"/>
                </a:cubicBezTo>
                <a:cubicBezTo>
                  <a:pt x="334" y="20088"/>
                  <a:pt x="273" y="19942"/>
                  <a:pt x="226" y="19790"/>
                </a:cubicBezTo>
                <a:cubicBezTo>
                  <a:pt x="215" y="19749"/>
                  <a:pt x="209" y="19711"/>
                  <a:pt x="209" y="19674"/>
                </a:cubicBezTo>
                <a:cubicBezTo>
                  <a:pt x="201" y="19467"/>
                  <a:pt x="160" y="19278"/>
                  <a:pt x="87" y="19108"/>
                </a:cubicBezTo>
                <a:cubicBezTo>
                  <a:pt x="72" y="19078"/>
                  <a:pt x="64" y="19045"/>
                  <a:pt x="64" y="19008"/>
                </a:cubicBezTo>
                <a:cubicBezTo>
                  <a:pt x="64" y="18620"/>
                  <a:pt x="56" y="18230"/>
                  <a:pt x="41" y="17838"/>
                </a:cubicBezTo>
                <a:cubicBezTo>
                  <a:pt x="37" y="17783"/>
                  <a:pt x="35" y="17727"/>
                  <a:pt x="35" y="17672"/>
                </a:cubicBezTo>
                <a:cubicBezTo>
                  <a:pt x="16" y="16951"/>
                  <a:pt x="4" y="16230"/>
                  <a:pt x="0" y="15509"/>
                </a:cubicBezTo>
                <a:cubicBezTo>
                  <a:pt x="0" y="15362"/>
                  <a:pt x="33" y="15228"/>
                  <a:pt x="99" y="15110"/>
                </a:cubicBezTo>
                <a:cubicBezTo>
                  <a:pt x="114" y="15081"/>
                  <a:pt x="130" y="15051"/>
                  <a:pt x="145" y="15021"/>
                </a:cubicBezTo>
                <a:cubicBezTo>
                  <a:pt x="184" y="14929"/>
                  <a:pt x="213" y="14833"/>
                  <a:pt x="232" y="14733"/>
                </a:cubicBezTo>
                <a:cubicBezTo>
                  <a:pt x="298" y="14400"/>
                  <a:pt x="363" y="14070"/>
                  <a:pt x="429" y="13741"/>
                </a:cubicBezTo>
                <a:cubicBezTo>
                  <a:pt x="437" y="13700"/>
                  <a:pt x="443" y="13661"/>
                  <a:pt x="447" y="13624"/>
                </a:cubicBezTo>
                <a:cubicBezTo>
                  <a:pt x="454" y="13524"/>
                  <a:pt x="476" y="13447"/>
                  <a:pt x="510" y="13391"/>
                </a:cubicBezTo>
                <a:cubicBezTo>
                  <a:pt x="549" y="13336"/>
                  <a:pt x="590" y="13264"/>
                  <a:pt x="632" y="13175"/>
                </a:cubicBezTo>
                <a:cubicBezTo>
                  <a:pt x="748" y="12935"/>
                  <a:pt x="860" y="12711"/>
                  <a:pt x="969" y="12504"/>
                </a:cubicBezTo>
                <a:cubicBezTo>
                  <a:pt x="984" y="12474"/>
                  <a:pt x="999" y="12445"/>
                  <a:pt x="1015" y="12415"/>
                </a:cubicBezTo>
                <a:cubicBezTo>
                  <a:pt x="1100" y="12245"/>
                  <a:pt x="1181" y="12099"/>
                  <a:pt x="1258" y="11977"/>
                </a:cubicBezTo>
                <a:cubicBezTo>
                  <a:pt x="1278" y="11948"/>
                  <a:pt x="1301" y="11918"/>
                  <a:pt x="1328" y="11889"/>
                </a:cubicBezTo>
                <a:cubicBezTo>
                  <a:pt x="1378" y="11840"/>
                  <a:pt x="1459" y="11803"/>
                  <a:pt x="1572" y="11778"/>
                </a:cubicBezTo>
                <a:cubicBezTo>
                  <a:pt x="1645" y="11759"/>
                  <a:pt x="1693" y="11733"/>
                  <a:pt x="1717" y="11700"/>
                </a:cubicBezTo>
                <a:cubicBezTo>
                  <a:pt x="1740" y="11670"/>
                  <a:pt x="1765" y="11641"/>
                  <a:pt x="1792" y="11611"/>
                </a:cubicBezTo>
                <a:cubicBezTo>
                  <a:pt x="1881" y="11523"/>
                  <a:pt x="1978" y="11395"/>
                  <a:pt x="2082" y="11229"/>
                </a:cubicBezTo>
                <a:cubicBezTo>
                  <a:pt x="2136" y="11136"/>
                  <a:pt x="2194" y="11044"/>
                  <a:pt x="2256" y="10951"/>
                </a:cubicBezTo>
                <a:cubicBezTo>
                  <a:pt x="2287" y="10903"/>
                  <a:pt x="2314" y="10852"/>
                  <a:pt x="2337" y="10796"/>
                </a:cubicBezTo>
                <a:cubicBezTo>
                  <a:pt x="2383" y="10667"/>
                  <a:pt x="2432" y="10517"/>
                  <a:pt x="2482" y="10347"/>
                </a:cubicBezTo>
                <a:cubicBezTo>
                  <a:pt x="2513" y="10240"/>
                  <a:pt x="2550" y="10160"/>
                  <a:pt x="2592" y="10109"/>
                </a:cubicBezTo>
                <a:cubicBezTo>
                  <a:pt x="2612" y="10086"/>
                  <a:pt x="2627" y="10059"/>
                  <a:pt x="2639" y="10025"/>
                </a:cubicBezTo>
                <a:cubicBezTo>
                  <a:pt x="2658" y="9959"/>
                  <a:pt x="2708" y="9914"/>
                  <a:pt x="2789" y="9892"/>
                </a:cubicBezTo>
                <a:cubicBezTo>
                  <a:pt x="2813" y="9885"/>
                  <a:pt x="2836" y="9876"/>
                  <a:pt x="2859" y="9865"/>
                </a:cubicBezTo>
                <a:cubicBezTo>
                  <a:pt x="3126" y="9746"/>
                  <a:pt x="3300" y="9521"/>
                  <a:pt x="3381" y="9188"/>
                </a:cubicBezTo>
                <a:cubicBezTo>
                  <a:pt x="3396" y="9114"/>
                  <a:pt x="3414" y="9040"/>
                  <a:pt x="3433" y="8966"/>
                </a:cubicBezTo>
                <a:cubicBezTo>
                  <a:pt x="3453" y="8892"/>
                  <a:pt x="3468" y="8818"/>
                  <a:pt x="3480" y="8744"/>
                </a:cubicBezTo>
                <a:cubicBezTo>
                  <a:pt x="3511" y="8537"/>
                  <a:pt x="3491" y="8373"/>
                  <a:pt x="3422" y="8251"/>
                </a:cubicBezTo>
                <a:cubicBezTo>
                  <a:pt x="3391" y="8192"/>
                  <a:pt x="3337" y="8159"/>
                  <a:pt x="3259" y="8151"/>
                </a:cubicBezTo>
                <a:cubicBezTo>
                  <a:pt x="3249" y="8150"/>
                  <a:pt x="3238" y="8149"/>
                  <a:pt x="3227" y="8148"/>
                </a:cubicBezTo>
                <a:cubicBezTo>
                  <a:pt x="3170" y="8041"/>
                  <a:pt x="3084" y="7944"/>
                  <a:pt x="2969" y="7857"/>
                </a:cubicBezTo>
                <a:cubicBezTo>
                  <a:pt x="2939" y="7834"/>
                  <a:pt x="2909" y="7811"/>
                  <a:pt x="2879" y="7788"/>
                </a:cubicBezTo>
                <a:cubicBezTo>
                  <a:pt x="2770" y="7705"/>
                  <a:pt x="2661" y="7622"/>
                  <a:pt x="2552" y="7541"/>
                </a:cubicBezTo>
                <a:cubicBezTo>
                  <a:pt x="2521" y="7515"/>
                  <a:pt x="2492" y="7488"/>
                  <a:pt x="2465" y="7458"/>
                </a:cubicBezTo>
                <a:cubicBezTo>
                  <a:pt x="2345" y="7329"/>
                  <a:pt x="2204" y="7257"/>
                  <a:pt x="2041" y="7242"/>
                </a:cubicBezTo>
                <a:cubicBezTo>
                  <a:pt x="1860" y="7223"/>
                  <a:pt x="1732" y="7149"/>
                  <a:pt x="1659" y="7020"/>
                </a:cubicBezTo>
                <a:cubicBezTo>
                  <a:pt x="1585" y="6894"/>
                  <a:pt x="1550" y="6750"/>
                  <a:pt x="1554" y="6587"/>
                </a:cubicBezTo>
                <a:cubicBezTo>
                  <a:pt x="1554" y="6388"/>
                  <a:pt x="1585" y="6203"/>
                  <a:pt x="1647" y="6033"/>
                </a:cubicBezTo>
                <a:cubicBezTo>
                  <a:pt x="1659" y="5992"/>
                  <a:pt x="1672" y="5954"/>
                  <a:pt x="1688" y="5916"/>
                </a:cubicBezTo>
                <a:cubicBezTo>
                  <a:pt x="1711" y="5843"/>
                  <a:pt x="1734" y="5769"/>
                  <a:pt x="1757" y="5695"/>
                </a:cubicBezTo>
                <a:cubicBezTo>
                  <a:pt x="1862" y="5329"/>
                  <a:pt x="1997" y="4978"/>
                  <a:pt x="2163" y="4641"/>
                </a:cubicBezTo>
                <a:cubicBezTo>
                  <a:pt x="2213" y="4541"/>
                  <a:pt x="2240" y="4430"/>
                  <a:pt x="2244" y="4308"/>
                </a:cubicBezTo>
                <a:cubicBezTo>
                  <a:pt x="2244" y="4290"/>
                  <a:pt x="2246" y="4271"/>
                  <a:pt x="2250" y="4253"/>
                </a:cubicBezTo>
                <a:cubicBezTo>
                  <a:pt x="2266" y="4068"/>
                  <a:pt x="2283" y="3883"/>
                  <a:pt x="2302" y="3698"/>
                </a:cubicBezTo>
                <a:cubicBezTo>
                  <a:pt x="2302" y="3680"/>
                  <a:pt x="2306" y="3660"/>
                  <a:pt x="2314" y="3638"/>
                </a:cubicBezTo>
                <a:cubicBezTo>
                  <a:pt x="2376" y="3486"/>
                  <a:pt x="2411" y="3321"/>
                  <a:pt x="2418" y="3144"/>
                </a:cubicBezTo>
                <a:cubicBezTo>
                  <a:pt x="2418" y="3107"/>
                  <a:pt x="2426" y="3070"/>
                  <a:pt x="2442" y="3033"/>
                </a:cubicBezTo>
                <a:cubicBezTo>
                  <a:pt x="2577" y="2726"/>
                  <a:pt x="2693" y="2431"/>
                  <a:pt x="2789" y="2146"/>
                </a:cubicBezTo>
                <a:cubicBezTo>
                  <a:pt x="2844" y="1991"/>
                  <a:pt x="2875" y="1824"/>
                  <a:pt x="2882" y="1647"/>
                </a:cubicBezTo>
                <a:cubicBezTo>
                  <a:pt x="2882" y="1628"/>
                  <a:pt x="2886" y="1608"/>
                  <a:pt x="2894" y="1586"/>
                </a:cubicBezTo>
                <a:cubicBezTo>
                  <a:pt x="2940" y="1412"/>
                  <a:pt x="2967" y="1229"/>
                  <a:pt x="2975" y="1037"/>
                </a:cubicBezTo>
                <a:cubicBezTo>
                  <a:pt x="2979" y="830"/>
                  <a:pt x="3004" y="628"/>
                  <a:pt x="3050" y="432"/>
                </a:cubicBezTo>
                <a:cubicBezTo>
                  <a:pt x="3054" y="410"/>
                  <a:pt x="3058" y="390"/>
                  <a:pt x="3062" y="371"/>
                </a:cubicBezTo>
                <a:cubicBezTo>
                  <a:pt x="3070" y="268"/>
                  <a:pt x="3089" y="174"/>
                  <a:pt x="3120" y="89"/>
                </a:cubicBezTo>
                <a:lnTo>
                  <a:pt x="3123" y="83"/>
                </a:lnTo>
                <a:lnTo>
                  <a:pt x="3123" y="78"/>
                </a:lnTo>
                <a:cubicBezTo>
                  <a:pt x="3131" y="52"/>
                  <a:pt x="3141" y="26"/>
                  <a:pt x="3155" y="0"/>
                </a:cubicBezTo>
                <a:cubicBezTo>
                  <a:pt x="3286" y="26"/>
                  <a:pt x="3416" y="55"/>
                  <a:pt x="3543" y="89"/>
                </a:cubicBezTo>
                <a:cubicBezTo>
                  <a:pt x="4112" y="233"/>
                  <a:pt x="4637" y="469"/>
                  <a:pt x="5121" y="798"/>
                </a:cubicBezTo>
                <a:cubicBezTo>
                  <a:pt x="5237" y="880"/>
                  <a:pt x="5387" y="943"/>
                  <a:pt x="5573" y="987"/>
                </a:cubicBezTo>
                <a:cubicBezTo>
                  <a:pt x="5743" y="1028"/>
                  <a:pt x="5902" y="1092"/>
                  <a:pt x="6049" y="1181"/>
                </a:cubicBezTo>
                <a:cubicBezTo>
                  <a:pt x="6219" y="1285"/>
                  <a:pt x="6387" y="1386"/>
                  <a:pt x="6553" y="1486"/>
                </a:cubicBezTo>
                <a:cubicBezTo>
                  <a:pt x="6812" y="1641"/>
                  <a:pt x="7104" y="1739"/>
                  <a:pt x="7429" y="1780"/>
                </a:cubicBezTo>
                <a:cubicBezTo>
                  <a:pt x="7467" y="1784"/>
                  <a:pt x="7504" y="1797"/>
                  <a:pt x="7539" y="1819"/>
                </a:cubicBezTo>
                <a:cubicBezTo>
                  <a:pt x="7659" y="1893"/>
                  <a:pt x="7796" y="1935"/>
                  <a:pt x="7951" y="1946"/>
                </a:cubicBezTo>
                <a:cubicBezTo>
                  <a:pt x="8009" y="1950"/>
                  <a:pt x="8067" y="1957"/>
                  <a:pt x="8125" y="1968"/>
                </a:cubicBezTo>
                <a:cubicBezTo>
                  <a:pt x="8314" y="2002"/>
                  <a:pt x="8507" y="2031"/>
                  <a:pt x="8705" y="2057"/>
                </a:cubicBezTo>
                <a:cubicBezTo>
                  <a:pt x="8743" y="2061"/>
                  <a:pt x="8780" y="2076"/>
                  <a:pt x="8815" y="2102"/>
                </a:cubicBezTo>
                <a:cubicBezTo>
                  <a:pt x="8869" y="2139"/>
                  <a:pt x="8948" y="2161"/>
                  <a:pt x="9053" y="2168"/>
                </a:cubicBezTo>
                <a:cubicBezTo>
                  <a:pt x="9111" y="2172"/>
                  <a:pt x="9169" y="2183"/>
                  <a:pt x="9227" y="2201"/>
                </a:cubicBezTo>
                <a:cubicBezTo>
                  <a:pt x="9327" y="2238"/>
                  <a:pt x="9428" y="2266"/>
                  <a:pt x="9528" y="2285"/>
                </a:cubicBezTo>
                <a:cubicBezTo>
                  <a:pt x="9702" y="2318"/>
                  <a:pt x="9843" y="2371"/>
                  <a:pt x="9951" y="2445"/>
                </a:cubicBezTo>
                <a:cubicBezTo>
                  <a:pt x="9955" y="2449"/>
                  <a:pt x="9965" y="2440"/>
                  <a:pt x="9980" y="2418"/>
                </a:cubicBezTo>
                <a:cubicBezTo>
                  <a:pt x="10139" y="2211"/>
                  <a:pt x="10303" y="2037"/>
                  <a:pt x="10473" y="1896"/>
                </a:cubicBezTo>
                <a:cubicBezTo>
                  <a:pt x="10497" y="1878"/>
                  <a:pt x="10526" y="1863"/>
                  <a:pt x="10560" y="1852"/>
                </a:cubicBezTo>
                <a:cubicBezTo>
                  <a:pt x="10583" y="1845"/>
                  <a:pt x="10607" y="1835"/>
                  <a:pt x="10630" y="1824"/>
                </a:cubicBezTo>
                <a:cubicBezTo>
                  <a:pt x="10785" y="1739"/>
                  <a:pt x="10959" y="1726"/>
                  <a:pt x="11152" y="1785"/>
                </a:cubicBezTo>
                <a:cubicBezTo>
                  <a:pt x="11206" y="1804"/>
                  <a:pt x="11260" y="1819"/>
                  <a:pt x="11314" y="1830"/>
                </a:cubicBezTo>
                <a:cubicBezTo>
                  <a:pt x="11357" y="1837"/>
                  <a:pt x="11397" y="1848"/>
                  <a:pt x="11436" y="1863"/>
                </a:cubicBezTo>
                <a:cubicBezTo>
                  <a:pt x="11567" y="1907"/>
                  <a:pt x="11662" y="1983"/>
                  <a:pt x="11720" y="2090"/>
                </a:cubicBezTo>
                <a:cubicBezTo>
                  <a:pt x="11755" y="2153"/>
                  <a:pt x="11834" y="2175"/>
                  <a:pt x="11958" y="2157"/>
                </a:cubicBezTo>
                <a:cubicBezTo>
                  <a:pt x="12155" y="2127"/>
                  <a:pt x="12314" y="2135"/>
                  <a:pt x="12433" y="2179"/>
                </a:cubicBezTo>
                <a:cubicBezTo>
                  <a:pt x="12635" y="2249"/>
                  <a:pt x="12778" y="2362"/>
                  <a:pt x="12863" y="2517"/>
                </a:cubicBezTo>
                <a:cubicBezTo>
                  <a:pt x="12878" y="2547"/>
                  <a:pt x="12905" y="2569"/>
                  <a:pt x="12944" y="2584"/>
                </a:cubicBezTo>
                <a:cubicBezTo>
                  <a:pt x="13234" y="2676"/>
                  <a:pt x="13439" y="2830"/>
                  <a:pt x="13559" y="3044"/>
                </a:cubicBezTo>
                <a:cubicBezTo>
                  <a:pt x="13574" y="3074"/>
                  <a:pt x="13589" y="3103"/>
                  <a:pt x="13605" y="3133"/>
                </a:cubicBezTo>
                <a:cubicBezTo>
                  <a:pt x="13694" y="3303"/>
                  <a:pt x="13777" y="3440"/>
                  <a:pt x="13854" y="3543"/>
                </a:cubicBezTo>
                <a:cubicBezTo>
                  <a:pt x="13970" y="3695"/>
                  <a:pt x="14019" y="3876"/>
                  <a:pt x="13999" y="4087"/>
                </a:cubicBezTo>
                <a:cubicBezTo>
                  <a:pt x="13992" y="4172"/>
                  <a:pt x="14026" y="4246"/>
                  <a:pt x="14104" y="4308"/>
                </a:cubicBezTo>
                <a:cubicBezTo>
                  <a:pt x="14181" y="4364"/>
                  <a:pt x="14262" y="4412"/>
                  <a:pt x="14347" y="4453"/>
                </a:cubicBezTo>
                <a:cubicBezTo>
                  <a:pt x="14378" y="4467"/>
                  <a:pt x="14413" y="4471"/>
                  <a:pt x="14452" y="4464"/>
                </a:cubicBezTo>
                <a:cubicBezTo>
                  <a:pt x="14684" y="4427"/>
                  <a:pt x="14840" y="4484"/>
                  <a:pt x="14921" y="4636"/>
                </a:cubicBezTo>
                <a:cubicBezTo>
                  <a:pt x="14968" y="4724"/>
                  <a:pt x="15012" y="4795"/>
                  <a:pt x="15055" y="4846"/>
                </a:cubicBezTo>
                <a:cubicBezTo>
                  <a:pt x="15078" y="4876"/>
                  <a:pt x="15111" y="4894"/>
                  <a:pt x="15153" y="4902"/>
                </a:cubicBezTo>
                <a:cubicBezTo>
                  <a:pt x="15254" y="4920"/>
                  <a:pt x="15333" y="4915"/>
                  <a:pt x="15391" y="4885"/>
                </a:cubicBezTo>
                <a:cubicBezTo>
                  <a:pt x="15422" y="4870"/>
                  <a:pt x="15455" y="4857"/>
                  <a:pt x="15490" y="4846"/>
                </a:cubicBezTo>
                <a:cubicBezTo>
                  <a:pt x="15513" y="4839"/>
                  <a:pt x="15536" y="4833"/>
                  <a:pt x="15559" y="4830"/>
                </a:cubicBezTo>
                <a:cubicBezTo>
                  <a:pt x="15613" y="4815"/>
                  <a:pt x="15667" y="4802"/>
                  <a:pt x="15722" y="4791"/>
                </a:cubicBezTo>
                <a:cubicBezTo>
                  <a:pt x="15791" y="4776"/>
                  <a:pt x="15872" y="4750"/>
                  <a:pt x="15965" y="4713"/>
                </a:cubicBezTo>
                <a:cubicBezTo>
                  <a:pt x="16000" y="4702"/>
                  <a:pt x="16037" y="4693"/>
                  <a:pt x="16075" y="4685"/>
                </a:cubicBezTo>
                <a:cubicBezTo>
                  <a:pt x="16153" y="4674"/>
                  <a:pt x="16230" y="4665"/>
                  <a:pt x="16307" y="4658"/>
                </a:cubicBezTo>
                <a:cubicBezTo>
                  <a:pt x="16477" y="4643"/>
                  <a:pt x="16582" y="4710"/>
                  <a:pt x="16620" y="4857"/>
                </a:cubicBezTo>
                <a:cubicBezTo>
                  <a:pt x="16624" y="4880"/>
                  <a:pt x="16638" y="4894"/>
                  <a:pt x="16661" y="4902"/>
                </a:cubicBezTo>
                <a:cubicBezTo>
                  <a:pt x="16804" y="4954"/>
                  <a:pt x="16939" y="5068"/>
                  <a:pt x="17067" y="5246"/>
                </a:cubicBezTo>
                <a:cubicBezTo>
                  <a:pt x="17083" y="5268"/>
                  <a:pt x="17098" y="5290"/>
                  <a:pt x="17113" y="5312"/>
                </a:cubicBezTo>
                <a:cubicBezTo>
                  <a:pt x="17115" y="5314"/>
                  <a:pt x="17115" y="5316"/>
                  <a:pt x="17116" y="5318"/>
                </a:cubicBezTo>
                <a:cubicBezTo>
                  <a:pt x="17153" y="5373"/>
                  <a:pt x="17231" y="5399"/>
                  <a:pt x="17351" y="5395"/>
                </a:cubicBezTo>
                <a:cubicBezTo>
                  <a:pt x="17390" y="5392"/>
                  <a:pt x="17430" y="5393"/>
                  <a:pt x="17473" y="5401"/>
                </a:cubicBezTo>
                <a:cubicBezTo>
                  <a:pt x="17527" y="5412"/>
                  <a:pt x="17581" y="5423"/>
                  <a:pt x="17635" y="5434"/>
                </a:cubicBezTo>
                <a:cubicBezTo>
                  <a:pt x="17678" y="5442"/>
                  <a:pt x="17720" y="5447"/>
                  <a:pt x="17763" y="5451"/>
                </a:cubicBezTo>
                <a:cubicBezTo>
                  <a:pt x="17856" y="5466"/>
                  <a:pt x="17949" y="5480"/>
                  <a:pt x="18041" y="5495"/>
                </a:cubicBezTo>
                <a:cubicBezTo>
                  <a:pt x="18064" y="5499"/>
                  <a:pt x="18088" y="5504"/>
                  <a:pt x="18111" y="5512"/>
                </a:cubicBezTo>
                <a:cubicBezTo>
                  <a:pt x="18184" y="5541"/>
                  <a:pt x="18258" y="5569"/>
                  <a:pt x="18331" y="5595"/>
                </a:cubicBezTo>
                <a:cubicBezTo>
                  <a:pt x="18467" y="5647"/>
                  <a:pt x="18642" y="5671"/>
                  <a:pt x="18859" y="5667"/>
                </a:cubicBezTo>
                <a:cubicBezTo>
                  <a:pt x="18878" y="5667"/>
                  <a:pt x="18900" y="5671"/>
                  <a:pt x="18923" y="5678"/>
                </a:cubicBezTo>
                <a:cubicBezTo>
                  <a:pt x="18996" y="5708"/>
                  <a:pt x="19072" y="5732"/>
                  <a:pt x="19149" y="5750"/>
                </a:cubicBezTo>
                <a:cubicBezTo>
                  <a:pt x="19284" y="5787"/>
                  <a:pt x="19418" y="5830"/>
                  <a:pt x="19549" y="5878"/>
                </a:cubicBezTo>
                <a:cubicBezTo>
                  <a:pt x="19572" y="5885"/>
                  <a:pt x="19594" y="5891"/>
                  <a:pt x="19613" y="5894"/>
                </a:cubicBezTo>
                <a:close/>
                <a:moveTo>
                  <a:pt x="19613" y="5894"/>
                </a:moveTo>
              </a:path>
            </a:pathLst>
          </a:custGeom>
          <a:solidFill>
            <a:schemeClr val="bg1">
              <a:lumMod val="75000"/>
            </a:schemeClr>
          </a:solidFill>
          <a:ln>
            <a:solidFill>
              <a:schemeClr val="bg1"/>
            </a:solid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16" name="AutoShape 5"/>
          <p:cNvSpPr>
            <a:spLocks/>
          </p:cNvSpPr>
          <p:nvPr/>
        </p:nvSpPr>
        <p:spPr bwMode="auto">
          <a:xfrm>
            <a:off x="4171546" y="4127545"/>
            <a:ext cx="1264261" cy="1254837"/>
          </a:xfrm>
          <a:custGeom>
            <a:avLst/>
            <a:gdLst/>
            <a:ahLst/>
            <a:cxnLst/>
            <a:rect l="0" t="0" r="r" b="b"/>
            <a:pathLst>
              <a:path w="21593" h="21565">
                <a:moveTo>
                  <a:pt x="15016" y="957"/>
                </a:moveTo>
                <a:cubicBezTo>
                  <a:pt x="15121" y="861"/>
                  <a:pt x="15253" y="773"/>
                  <a:pt x="15413" y="694"/>
                </a:cubicBezTo>
                <a:cubicBezTo>
                  <a:pt x="15430" y="686"/>
                  <a:pt x="15446" y="680"/>
                  <a:pt x="15460" y="677"/>
                </a:cubicBezTo>
                <a:cubicBezTo>
                  <a:pt x="15577" y="665"/>
                  <a:pt x="15693" y="659"/>
                  <a:pt x="15809" y="659"/>
                </a:cubicBezTo>
                <a:cubicBezTo>
                  <a:pt x="15838" y="659"/>
                  <a:pt x="15864" y="665"/>
                  <a:pt x="15887" y="677"/>
                </a:cubicBezTo>
                <a:cubicBezTo>
                  <a:pt x="15951" y="712"/>
                  <a:pt x="16025" y="715"/>
                  <a:pt x="16110" y="686"/>
                </a:cubicBezTo>
                <a:cubicBezTo>
                  <a:pt x="16156" y="668"/>
                  <a:pt x="16203" y="650"/>
                  <a:pt x="16249" y="633"/>
                </a:cubicBezTo>
                <a:cubicBezTo>
                  <a:pt x="16275" y="621"/>
                  <a:pt x="16296" y="608"/>
                  <a:pt x="16310" y="594"/>
                </a:cubicBezTo>
                <a:cubicBezTo>
                  <a:pt x="16330" y="573"/>
                  <a:pt x="16368" y="555"/>
                  <a:pt x="16423" y="541"/>
                </a:cubicBezTo>
                <a:cubicBezTo>
                  <a:pt x="16449" y="532"/>
                  <a:pt x="16476" y="523"/>
                  <a:pt x="16502" y="515"/>
                </a:cubicBezTo>
                <a:cubicBezTo>
                  <a:pt x="16548" y="497"/>
                  <a:pt x="16606" y="481"/>
                  <a:pt x="16676" y="466"/>
                </a:cubicBezTo>
                <a:cubicBezTo>
                  <a:pt x="16690" y="461"/>
                  <a:pt x="16706" y="458"/>
                  <a:pt x="16724" y="458"/>
                </a:cubicBezTo>
                <a:cubicBezTo>
                  <a:pt x="16727" y="456"/>
                  <a:pt x="16729" y="454"/>
                  <a:pt x="16733" y="453"/>
                </a:cubicBezTo>
                <a:cubicBezTo>
                  <a:pt x="16760" y="447"/>
                  <a:pt x="16788" y="443"/>
                  <a:pt x="16815" y="440"/>
                </a:cubicBezTo>
                <a:cubicBezTo>
                  <a:pt x="16833" y="446"/>
                  <a:pt x="16847" y="459"/>
                  <a:pt x="16859" y="480"/>
                </a:cubicBezTo>
                <a:cubicBezTo>
                  <a:pt x="16871" y="497"/>
                  <a:pt x="16885" y="509"/>
                  <a:pt x="16902" y="515"/>
                </a:cubicBezTo>
                <a:cubicBezTo>
                  <a:pt x="16929" y="523"/>
                  <a:pt x="16949" y="535"/>
                  <a:pt x="16963" y="550"/>
                </a:cubicBezTo>
                <a:cubicBezTo>
                  <a:pt x="17001" y="585"/>
                  <a:pt x="17065" y="589"/>
                  <a:pt x="17155" y="563"/>
                </a:cubicBezTo>
                <a:cubicBezTo>
                  <a:pt x="17187" y="554"/>
                  <a:pt x="17219" y="547"/>
                  <a:pt x="17251" y="541"/>
                </a:cubicBezTo>
                <a:cubicBezTo>
                  <a:pt x="17283" y="535"/>
                  <a:pt x="17315" y="528"/>
                  <a:pt x="17347" y="519"/>
                </a:cubicBezTo>
                <a:cubicBezTo>
                  <a:pt x="17353" y="522"/>
                  <a:pt x="17359" y="526"/>
                  <a:pt x="17364" y="530"/>
                </a:cubicBezTo>
                <a:lnTo>
                  <a:pt x="17377" y="510"/>
                </a:lnTo>
                <a:cubicBezTo>
                  <a:pt x="17395" y="507"/>
                  <a:pt x="17412" y="504"/>
                  <a:pt x="17430" y="501"/>
                </a:cubicBezTo>
                <a:cubicBezTo>
                  <a:pt x="17470" y="490"/>
                  <a:pt x="17509" y="478"/>
                  <a:pt x="17547" y="466"/>
                </a:cubicBezTo>
                <a:cubicBezTo>
                  <a:pt x="17672" y="420"/>
                  <a:pt x="17806" y="367"/>
                  <a:pt x="17948" y="309"/>
                </a:cubicBezTo>
                <a:cubicBezTo>
                  <a:pt x="18105" y="244"/>
                  <a:pt x="18267" y="161"/>
                  <a:pt x="18436" y="59"/>
                </a:cubicBezTo>
                <a:cubicBezTo>
                  <a:pt x="18569" y="-26"/>
                  <a:pt x="18700" y="-19"/>
                  <a:pt x="18828" y="81"/>
                </a:cubicBezTo>
                <a:cubicBezTo>
                  <a:pt x="18962" y="186"/>
                  <a:pt x="19076" y="304"/>
                  <a:pt x="19172" y="436"/>
                </a:cubicBezTo>
                <a:cubicBezTo>
                  <a:pt x="19184" y="453"/>
                  <a:pt x="19198" y="463"/>
                  <a:pt x="19216" y="466"/>
                </a:cubicBezTo>
                <a:cubicBezTo>
                  <a:pt x="19332" y="487"/>
                  <a:pt x="19422" y="548"/>
                  <a:pt x="19486" y="650"/>
                </a:cubicBezTo>
                <a:cubicBezTo>
                  <a:pt x="19558" y="764"/>
                  <a:pt x="19609" y="886"/>
                  <a:pt x="19638" y="1014"/>
                </a:cubicBezTo>
                <a:cubicBezTo>
                  <a:pt x="19644" y="1041"/>
                  <a:pt x="19641" y="1065"/>
                  <a:pt x="19629" y="1089"/>
                </a:cubicBezTo>
                <a:cubicBezTo>
                  <a:pt x="19571" y="1188"/>
                  <a:pt x="19541" y="1308"/>
                  <a:pt x="19538" y="1448"/>
                </a:cubicBezTo>
                <a:cubicBezTo>
                  <a:pt x="19538" y="1477"/>
                  <a:pt x="19534" y="1508"/>
                  <a:pt x="19525" y="1540"/>
                </a:cubicBezTo>
                <a:cubicBezTo>
                  <a:pt x="19444" y="1794"/>
                  <a:pt x="19410" y="2071"/>
                  <a:pt x="19425" y="2369"/>
                </a:cubicBezTo>
                <a:cubicBezTo>
                  <a:pt x="19428" y="2413"/>
                  <a:pt x="19423" y="2455"/>
                  <a:pt x="19412" y="2496"/>
                </a:cubicBezTo>
                <a:cubicBezTo>
                  <a:pt x="19359" y="2680"/>
                  <a:pt x="19383" y="2855"/>
                  <a:pt x="19481" y="3022"/>
                </a:cubicBezTo>
                <a:cubicBezTo>
                  <a:pt x="19490" y="3039"/>
                  <a:pt x="19494" y="3055"/>
                  <a:pt x="19494" y="3070"/>
                </a:cubicBezTo>
                <a:cubicBezTo>
                  <a:pt x="19494" y="3126"/>
                  <a:pt x="19518" y="3165"/>
                  <a:pt x="19564" y="3188"/>
                </a:cubicBezTo>
                <a:cubicBezTo>
                  <a:pt x="19596" y="3203"/>
                  <a:pt x="19627" y="3235"/>
                  <a:pt x="19656" y="3285"/>
                </a:cubicBezTo>
                <a:cubicBezTo>
                  <a:pt x="19772" y="3501"/>
                  <a:pt x="19900" y="3736"/>
                  <a:pt x="20039" y="3990"/>
                </a:cubicBezTo>
                <a:cubicBezTo>
                  <a:pt x="20054" y="4020"/>
                  <a:pt x="20072" y="4046"/>
                  <a:pt x="20096" y="4069"/>
                </a:cubicBezTo>
                <a:cubicBezTo>
                  <a:pt x="20116" y="4090"/>
                  <a:pt x="20136" y="4112"/>
                  <a:pt x="20157" y="4135"/>
                </a:cubicBezTo>
                <a:cubicBezTo>
                  <a:pt x="20270" y="4255"/>
                  <a:pt x="20376" y="4367"/>
                  <a:pt x="20475" y="4473"/>
                </a:cubicBezTo>
                <a:cubicBezTo>
                  <a:pt x="20504" y="4502"/>
                  <a:pt x="20525" y="4534"/>
                  <a:pt x="20540" y="4569"/>
                </a:cubicBezTo>
                <a:cubicBezTo>
                  <a:pt x="20584" y="4671"/>
                  <a:pt x="20633" y="4785"/>
                  <a:pt x="20688" y="4911"/>
                </a:cubicBezTo>
                <a:cubicBezTo>
                  <a:pt x="20746" y="5042"/>
                  <a:pt x="20823" y="5156"/>
                  <a:pt x="20919" y="5253"/>
                </a:cubicBezTo>
                <a:cubicBezTo>
                  <a:pt x="20942" y="5273"/>
                  <a:pt x="20964" y="5295"/>
                  <a:pt x="20984" y="5318"/>
                </a:cubicBezTo>
                <a:cubicBezTo>
                  <a:pt x="21008" y="5339"/>
                  <a:pt x="21031" y="5358"/>
                  <a:pt x="21054" y="5375"/>
                </a:cubicBezTo>
                <a:cubicBezTo>
                  <a:pt x="21222" y="5504"/>
                  <a:pt x="21318" y="5700"/>
                  <a:pt x="21342" y="5963"/>
                </a:cubicBezTo>
                <a:cubicBezTo>
                  <a:pt x="21344" y="5992"/>
                  <a:pt x="21352" y="6018"/>
                  <a:pt x="21363" y="6042"/>
                </a:cubicBezTo>
                <a:cubicBezTo>
                  <a:pt x="21381" y="6077"/>
                  <a:pt x="21398" y="6112"/>
                  <a:pt x="21416" y="6147"/>
                </a:cubicBezTo>
                <a:cubicBezTo>
                  <a:pt x="21479" y="6284"/>
                  <a:pt x="21529" y="6413"/>
                  <a:pt x="21564" y="6533"/>
                </a:cubicBezTo>
                <a:cubicBezTo>
                  <a:pt x="21593" y="6629"/>
                  <a:pt x="21600" y="6730"/>
                  <a:pt x="21585" y="6835"/>
                </a:cubicBezTo>
                <a:cubicBezTo>
                  <a:pt x="21574" y="6929"/>
                  <a:pt x="21555" y="7005"/>
                  <a:pt x="21529" y="7063"/>
                </a:cubicBezTo>
                <a:cubicBezTo>
                  <a:pt x="21479" y="7174"/>
                  <a:pt x="21421" y="7276"/>
                  <a:pt x="21355" y="7370"/>
                </a:cubicBezTo>
                <a:cubicBezTo>
                  <a:pt x="21334" y="7396"/>
                  <a:pt x="21313" y="7418"/>
                  <a:pt x="21289" y="7436"/>
                </a:cubicBezTo>
                <a:cubicBezTo>
                  <a:pt x="21240" y="7476"/>
                  <a:pt x="21201" y="7526"/>
                  <a:pt x="21172" y="7585"/>
                </a:cubicBezTo>
                <a:cubicBezTo>
                  <a:pt x="21105" y="7713"/>
                  <a:pt x="21032" y="7817"/>
                  <a:pt x="20954" y="7896"/>
                </a:cubicBezTo>
                <a:cubicBezTo>
                  <a:pt x="20939" y="7910"/>
                  <a:pt x="20929" y="7926"/>
                  <a:pt x="20923" y="7944"/>
                </a:cubicBezTo>
                <a:cubicBezTo>
                  <a:pt x="20889" y="8035"/>
                  <a:pt x="20841" y="8121"/>
                  <a:pt x="20780" y="8203"/>
                </a:cubicBezTo>
                <a:cubicBezTo>
                  <a:pt x="20727" y="8276"/>
                  <a:pt x="20674" y="8338"/>
                  <a:pt x="20618" y="8391"/>
                </a:cubicBezTo>
                <a:cubicBezTo>
                  <a:pt x="20549" y="8464"/>
                  <a:pt x="20462" y="8552"/>
                  <a:pt x="20357" y="8654"/>
                </a:cubicBezTo>
                <a:cubicBezTo>
                  <a:pt x="20334" y="8674"/>
                  <a:pt x="20311" y="8693"/>
                  <a:pt x="20287" y="8711"/>
                </a:cubicBezTo>
                <a:cubicBezTo>
                  <a:pt x="20197" y="8772"/>
                  <a:pt x="20116" y="8838"/>
                  <a:pt x="20043" y="8908"/>
                </a:cubicBezTo>
                <a:cubicBezTo>
                  <a:pt x="19962" y="8990"/>
                  <a:pt x="19889" y="9076"/>
                  <a:pt x="19826" y="9167"/>
                </a:cubicBezTo>
                <a:cubicBezTo>
                  <a:pt x="19770" y="9243"/>
                  <a:pt x="19711" y="9345"/>
                  <a:pt x="19647" y="9474"/>
                </a:cubicBezTo>
                <a:cubicBezTo>
                  <a:pt x="19632" y="9503"/>
                  <a:pt x="19621" y="9534"/>
                  <a:pt x="19612" y="9566"/>
                </a:cubicBezTo>
                <a:cubicBezTo>
                  <a:pt x="19545" y="9849"/>
                  <a:pt x="19399" y="10070"/>
                  <a:pt x="19172" y="10228"/>
                </a:cubicBezTo>
                <a:cubicBezTo>
                  <a:pt x="19140" y="10251"/>
                  <a:pt x="19107" y="10271"/>
                  <a:pt x="19072" y="10289"/>
                </a:cubicBezTo>
                <a:cubicBezTo>
                  <a:pt x="19049" y="10301"/>
                  <a:pt x="19031" y="10314"/>
                  <a:pt x="19020" y="10328"/>
                </a:cubicBezTo>
                <a:cubicBezTo>
                  <a:pt x="18950" y="10419"/>
                  <a:pt x="18885" y="10514"/>
                  <a:pt x="18824" y="10613"/>
                </a:cubicBezTo>
                <a:cubicBezTo>
                  <a:pt x="18806" y="10643"/>
                  <a:pt x="18786" y="10667"/>
                  <a:pt x="18763" y="10688"/>
                </a:cubicBezTo>
                <a:cubicBezTo>
                  <a:pt x="18713" y="10740"/>
                  <a:pt x="18661" y="10790"/>
                  <a:pt x="18606" y="10837"/>
                </a:cubicBezTo>
                <a:cubicBezTo>
                  <a:pt x="18417" y="11000"/>
                  <a:pt x="18225" y="11158"/>
                  <a:pt x="18031" y="11310"/>
                </a:cubicBezTo>
                <a:cubicBezTo>
                  <a:pt x="17929" y="11389"/>
                  <a:pt x="17861" y="11480"/>
                  <a:pt x="17826" y="11582"/>
                </a:cubicBezTo>
                <a:cubicBezTo>
                  <a:pt x="17806" y="11638"/>
                  <a:pt x="17778" y="11684"/>
                  <a:pt x="17743" y="11722"/>
                </a:cubicBezTo>
                <a:cubicBezTo>
                  <a:pt x="17720" y="11743"/>
                  <a:pt x="17697" y="11762"/>
                  <a:pt x="17674" y="11779"/>
                </a:cubicBezTo>
                <a:cubicBezTo>
                  <a:pt x="17639" y="11805"/>
                  <a:pt x="17604" y="11832"/>
                  <a:pt x="17569" y="11858"/>
                </a:cubicBezTo>
                <a:cubicBezTo>
                  <a:pt x="17479" y="11922"/>
                  <a:pt x="17386" y="12017"/>
                  <a:pt x="17290" y="12143"/>
                </a:cubicBezTo>
                <a:cubicBezTo>
                  <a:pt x="17279" y="12160"/>
                  <a:pt x="17271" y="12178"/>
                  <a:pt x="17268" y="12196"/>
                </a:cubicBezTo>
                <a:cubicBezTo>
                  <a:pt x="17254" y="12310"/>
                  <a:pt x="17219" y="12397"/>
                  <a:pt x="17164" y="12459"/>
                </a:cubicBezTo>
                <a:cubicBezTo>
                  <a:pt x="17068" y="12573"/>
                  <a:pt x="16977" y="12653"/>
                  <a:pt x="16889" y="12700"/>
                </a:cubicBezTo>
                <a:cubicBezTo>
                  <a:pt x="16866" y="12711"/>
                  <a:pt x="16852" y="12723"/>
                  <a:pt x="16846" y="12735"/>
                </a:cubicBezTo>
                <a:cubicBezTo>
                  <a:pt x="16826" y="12773"/>
                  <a:pt x="16785" y="12787"/>
                  <a:pt x="16724" y="12779"/>
                </a:cubicBezTo>
                <a:cubicBezTo>
                  <a:pt x="16582" y="12764"/>
                  <a:pt x="16486" y="12818"/>
                  <a:pt x="16436" y="12941"/>
                </a:cubicBezTo>
                <a:cubicBezTo>
                  <a:pt x="16425" y="12967"/>
                  <a:pt x="16412" y="12990"/>
                  <a:pt x="16397" y="13011"/>
                </a:cubicBezTo>
                <a:cubicBezTo>
                  <a:pt x="16327" y="13116"/>
                  <a:pt x="16291" y="13237"/>
                  <a:pt x="16288" y="13375"/>
                </a:cubicBezTo>
                <a:cubicBezTo>
                  <a:pt x="16288" y="13418"/>
                  <a:pt x="16282" y="13459"/>
                  <a:pt x="16271" y="13497"/>
                </a:cubicBezTo>
                <a:cubicBezTo>
                  <a:pt x="16245" y="13570"/>
                  <a:pt x="16226" y="13633"/>
                  <a:pt x="16214" y="13686"/>
                </a:cubicBezTo>
                <a:cubicBezTo>
                  <a:pt x="16194" y="13785"/>
                  <a:pt x="16131" y="13857"/>
                  <a:pt x="16027" y="13901"/>
                </a:cubicBezTo>
                <a:cubicBezTo>
                  <a:pt x="16027" y="13886"/>
                  <a:pt x="16024" y="13873"/>
                  <a:pt x="16018" y="13861"/>
                </a:cubicBezTo>
                <a:cubicBezTo>
                  <a:pt x="16009" y="13844"/>
                  <a:pt x="16005" y="13828"/>
                  <a:pt x="16005" y="13813"/>
                </a:cubicBezTo>
                <a:cubicBezTo>
                  <a:pt x="16002" y="13749"/>
                  <a:pt x="15964" y="13708"/>
                  <a:pt x="15892" y="13690"/>
                </a:cubicBezTo>
                <a:cubicBezTo>
                  <a:pt x="15851" y="13681"/>
                  <a:pt x="15812" y="13674"/>
                  <a:pt x="15774" y="13668"/>
                </a:cubicBezTo>
                <a:cubicBezTo>
                  <a:pt x="15771" y="13668"/>
                  <a:pt x="15767" y="13667"/>
                  <a:pt x="15763" y="13666"/>
                </a:cubicBezTo>
                <a:lnTo>
                  <a:pt x="15761" y="13673"/>
                </a:lnTo>
                <a:cubicBezTo>
                  <a:pt x="15633" y="13743"/>
                  <a:pt x="15551" y="13848"/>
                  <a:pt x="15513" y="13988"/>
                </a:cubicBezTo>
                <a:cubicBezTo>
                  <a:pt x="15484" y="14091"/>
                  <a:pt x="15420" y="14174"/>
                  <a:pt x="15321" y="14238"/>
                </a:cubicBezTo>
                <a:cubicBezTo>
                  <a:pt x="15260" y="14276"/>
                  <a:pt x="15196" y="14343"/>
                  <a:pt x="15129" y="14440"/>
                </a:cubicBezTo>
                <a:cubicBezTo>
                  <a:pt x="15095" y="14484"/>
                  <a:pt x="15061" y="14511"/>
                  <a:pt x="15029" y="14523"/>
                </a:cubicBezTo>
                <a:cubicBezTo>
                  <a:pt x="14954" y="14546"/>
                  <a:pt x="14883" y="14579"/>
                  <a:pt x="14816" y="14619"/>
                </a:cubicBezTo>
                <a:cubicBezTo>
                  <a:pt x="14711" y="14681"/>
                  <a:pt x="14620" y="14761"/>
                  <a:pt x="14541" y="14861"/>
                </a:cubicBezTo>
                <a:cubicBezTo>
                  <a:pt x="14530" y="14878"/>
                  <a:pt x="14515" y="14893"/>
                  <a:pt x="14498" y="14904"/>
                </a:cubicBezTo>
                <a:cubicBezTo>
                  <a:pt x="14387" y="14977"/>
                  <a:pt x="14258" y="15015"/>
                  <a:pt x="14110" y="15018"/>
                </a:cubicBezTo>
                <a:cubicBezTo>
                  <a:pt x="14096" y="15018"/>
                  <a:pt x="14085" y="15027"/>
                  <a:pt x="14080" y="15045"/>
                </a:cubicBezTo>
                <a:cubicBezTo>
                  <a:pt x="14027" y="15240"/>
                  <a:pt x="13939" y="15416"/>
                  <a:pt x="13814" y="15571"/>
                </a:cubicBezTo>
                <a:cubicBezTo>
                  <a:pt x="13793" y="15597"/>
                  <a:pt x="13772" y="15619"/>
                  <a:pt x="13748" y="15636"/>
                </a:cubicBezTo>
                <a:cubicBezTo>
                  <a:pt x="13566" y="15777"/>
                  <a:pt x="13406" y="15956"/>
                  <a:pt x="13269" y="16175"/>
                </a:cubicBezTo>
                <a:cubicBezTo>
                  <a:pt x="13249" y="16210"/>
                  <a:pt x="13230" y="16246"/>
                  <a:pt x="13213" y="16281"/>
                </a:cubicBezTo>
                <a:cubicBezTo>
                  <a:pt x="13111" y="16491"/>
                  <a:pt x="12988" y="16706"/>
                  <a:pt x="12842" y="16925"/>
                </a:cubicBezTo>
                <a:cubicBezTo>
                  <a:pt x="12831" y="16943"/>
                  <a:pt x="12816" y="16954"/>
                  <a:pt x="12799" y="16960"/>
                </a:cubicBezTo>
                <a:cubicBezTo>
                  <a:pt x="12773" y="16969"/>
                  <a:pt x="12749" y="16966"/>
                  <a:pt x="12729" y="16951"/>
                </a:cubicBezTo>
                <a:cubicBezTo>
                  <a:pt x="12716" y="16941"/>
                  <a:pt x="12703" y="16932"/>
                  <a:pt x="12688" y="16923"/>
                </a:cubicBezTo>
                <a:cubicBezTo>
                  <a:pt x="12659" y="16906"/>
                  <a:pt x="12626" y="16890"/>
                  <a:pt x="12590" y="16877"/>
                </a:cubicBezTo>
                <a:cubicBezTo>
                  <a:pt x="12508" y="16848"/>
                  <a:pt x="12420" y="16792"/>
                  <a:pt x="12324" y="16710"/>
                </a:cubicBezTo>
                <a:cubicBezTo>
                  <a:pt x="12309" y="16696"/>
                  <a:pt x="12301" y="16680"/>
                  <a:pt x="12298" y="16662"/>
                </a:cubicBezTo>
                <a:cubicBezTo>
                  <a:pt x="12280" y="16583"/>
                  <a:pt x="12295" y="16516"/>
                  <a:pt x="12341" y="16460"/>
                </a:cubicBezTo>
                <a:cubicBezTo>
                  <a:pt x="12359" y="16437"/>
                  <a:pt x="12382" y="16427"/>
                  <a:pt x="12411" y="16430"/>
                </a:cubicBezTo>
                <a:cubicBezTo>
                  <a:pt x="12562" y="16438"/>
                  <a:pt x="12681" y="16403"/>
                  <a:pt x="12768" y="16324"/>
                </a:cubicBezTo>
                <a:cubicBezTo>
                  <a:pt x="12792" y="16304"/>
                  <a:pt x="12815" y="16284"/>
                  <a:pt x="12838" y="16263"/>
                </a:cubicBezTo>
                <a:cubicBezTo>
                  <a:pt x="12858" y="16240"/>
                  <a:pt x="12880" y="16218"/>
                  <a:pt x="12903" y="16197"/>
                </a:cubicBezTo>
                <a:cubicBezTo>
                  <a:pt x="12928" y="16174"/>
                  <a:pt x="12952" y="16149"/>
                  <a:pt x="12975" y="16123"/>
                </a:cubicBezTo>
                <a:cubicBezTo>
                  <a:pt x="13091" y="15990"/>
                  <a:pt x="13189" y="15818"/>
                  <a:pt x="13269" y="15606"/>
                </a:cubicBezTo>
                <a:cubicBezTo>
                  <a:pt x="13278" y="15579"/>
                  <a:pt x="13290" y="15556"/>
                  <a:pt x="13304" y="15535"/>
                </a:cubicBezTo>
                <a:cubicBezTo>
                  <a:pt x="13388" y="15404"/>
                  <a:pt x="13432" y="15254"/>
                  <a:pt x="13435" y="15084"/>
                </a:cubicBezTo>
                <a:cubicBezTo>
                  <a:pt x="13435" y="15055"/>
                  <a:pt x="13435" y="15026"/>
                  <a:pt x="13435" y="14996"/>
                </a:cubicBezTo>
                <a:cubicBezTo>
                  <a:pt x="13435" y="14915"/>
                  <a:pt x="13399" y="14842"/>
                  <a:pt x="13326" y="14777"/>
                </a:cubicBezTo>
                <a:cubicBezTo>
                  <a:pt x="13311" y="14763"/>
                  <a:pt x="13301" y="14747"/>
                  <a:pt x="13295" y="14729"/>
                </a:cubicBezTo>
                <a:cubicBezTo>
                  <a:pt x="13287" y="14703"/>
                  <a:pt x="13277" y="14685"/>
                  <a:pt x="13265" y="14676"/>
                </a:cubicBezTo>
                <a:cubicBezTo>
                  <a:pt x="13195" y="14636"/>
                  <a:pt x="13113" y="14600"/>
                  <a:pt x="13017" y="14571"/>
                </a:cubicBezTo>
                <a:cubicBezTo>
                  <a:pt x="12991" y="14562"/>
                  <a:pt x="12966" y="14564"/>
                  <a:pt x="12943" y="14576"/>
                </a:cubicBezTo>
                <a:cubicBezTo>
                  <a:pt x="12899" y="14599"/>
                  <a:pt x="12838" y="14615"/>
                  <a:pt x="12760" y="14624"/>
                </a:cubicBezTo>
                <a:cubicBezTo>
                  <a:pt x="12731" y="14624"/>
                  <a:pt x="12702" y="14628"/>
                  <a:pt x="12672" y="14637"/>
                </a:cubicBezTo>
                <a:cubicBezTo>
                  <a:pt x="12643" y="14643"/>
                  <a:pt x="12617" y="14652"/>
                  <a:pt x="12594" y="14663"/>
                </a:cubicBezTo>
                <a:cubicBezTo>
                  <a:pt x="12559" y="14681"/>
                  <a:pt x="12524" y="14698"/>
                  <a:pt x="12490" y="14716"/>
                </a:cubicBezTo>
                <a:cubicBezTo>
                  <a:pt x="12388" y="14768"/>
                  <a:pt x="12308" y="14822"/>
                  <a:pt x="12250" y="14878"/>
                </a:cubicBezTo>
                <a:cubicBezTo>
                  <a:pt x="12154" y="14963"/>
                  <a:pt x="12073" y="15058"/>
                  <a:pt x="12006" y="15163"/>
                </a:cubicBezTo>
                <a:cubicBezTo>
                  <a:pt x="11980" y="15207"/>
                  <a:pt x="11975" y="15267"/>
                  <a:pt x="11993" y="15343"/>
                </a:cubicBezTo>
                <a:cubicBezTo>
                  <a:pt x="11996" y="15360"/>
                  <a:pt x="12000" y="15378"/>
                  <a:pt x="12006" y="15395"/>
                </a:cubicBezTo>
                <a:cubicBezTo>
                  <a:pt x="12015" y="15422"/>
                  <a:pt x="12026" y="15442"/>
                  <a:pt x="12041" y="15457"/>
                </a:cubicBezTo>
                <a:cubicBezTo>
                  <a:pt x="12108" y="15533"/>
                  <a:pt x="12112" y="15626"/>
                  <a:pt x="12054" y="15737"/>
                </a:cubicBezTo>
                <a:cubicBezTo>
                  <a:pt x="12031" y="15784"/>
                  <a:pt x="12002" y="15826"/>
                  <a:pt x="11967" y="15864"/>
                </a:cubicBezTo>
                <a:cubicBezTo>
                  <a:pt x="11944" y="15885"/>
                  <a:pt x="11922" y="15907"/>
                  <a:pt x="11901" y="15930"/>
                </a:cubicBezTo>
                <a:cubicBezTo>
                  <a:pt x="11864" y="15968"/>
                  <a:pt x="11832" y="16010"/>
                  <a:pt x="11806" y="16057"/>
                </a:cubicBezTo>
                <a:cubicBezTo>
                  <a:pt x="11788" y="16083"/>
                  <a:pt x="11769" y="16108"/>
                  <a:pt x="11749" y="16132"/>
                </a:cubicBezTo>
                <a:cubicBezTo>
                  <a:pt x="11711" y="16170"/>
                  <a:pt x="11659" y="16206"/>
                  <a:pt x="11592" y="16241"/>
                </a:cubicBezTo>
                <a:cubicBezTo>
                  <a:pt x="11528" y="16276"/>
                  <a:pt x="11464" y="16310"/>
                  <a:pt x="11400" y="16342"/>
                </a:cubicBezTo>
                <a:cubicBezTo>
                  <a:pt x="11348" y="16368"/>
                  <a:pt x="11294" y="16393"/>
                  <a:pt x="11239" y="16417"/>
                </a:cubicBezTo>
                <a:cubicBezTo>
                  <a:pt x="11222" y="16422"/>
                  <a:pt x="11206" y="16425"/>
                  <a:pt x="11191" y="16425"/>
                </a:cubicBezTo>
                <a:cubicBezTo>
                  <a:pt x="11098" y="16431"/>
                  <a:pt x="11029" y="16469"/>
                  <a:pt x="10982" y="16539"/>
                </a:cubicBezTo>
                <a:cubicBezTo>
                  <a:pt x="10933" y="16609"/>
                  <a:pt x="10882" y="16678"/>
                  <a:pt x="10830" y="16745"/>
                </a:cubicBezTo>
                <a:cubicBezTo>
                  <a:pt x="10775" y="16815"/>
                  <a:pt x="10692" y="16875"/>
                  <a:pt x="10581" y="16925"/>
                </a:cubicBezTo>
                <a:cubicBezTo>
                  <a:pt x="10538" y="16943"/>
                  <a:pt x="10496" y="16961"/>
                  <a:pt x="10455" y="16982"/>
                </a:cubicBezTo>
                <a:cubicBezTo>
                  <a:pt x="10339" y="17043"/>
                  <a:pt x="10246" y="17109"/>
                  <a:pt x="10176" y="17179"/>
                </a:cubicBezTo>
                <a:cubicBezTo>
                  <a:pt x="10156" y="17203"/>
                  <a:pt x="10141" y="17226"/>
                  <a:pt x="10133" y="17249"/>
                </a:cubicBezTo>
                <a:cubicBezTo>
                  <a:pt x="10112" y="17308"/>
                  <a:pt x="10079" y="17366"/>
                  <a:pt x="10033" y="17425"/>
                </a:cubicBezTo>
                <a:cubicBezTo>
                  <a:pt x="9934" y="17544"/>
                  <a:pt x="9783" y="17629"/>
                  <a:pt x="9579" y="17679"/>
                </a:cubicBezTo>
                <a:cubicBezTo>
                  <a:pt x="9521" y="17691"/>
                  <a:pt x="9465" y="17707"/>
                  <a:pt x="9410" y="17727"/>
                </a:cubicBezTo>
                <a:cubicBezTo>
                  <a:pt x="9378" y="17736"/>
                  <a:pt x="9347" y="17749"/>
                  <a:pt x="9318" y="17767"/>
                </a:cubicBezTo>
                <a:cubicBezTo>
                  <a:pt x="9251" y="17802"/>
                  <a:pt x="9192" y="17826"/>
                  <a:pt x="9140" y="17841"/>
                </a:cubicBezTo>
                <a:cubicBezTo>
                  <a:pt x="9113" y="17847"/>
                  <a:pt x="9089" y="17856"/>
                  <a:pt x="9065" y="17867"/>
                </a:cubicBezTo>
                <a:cubicBezTo>
                  <a:pt x="8958" y="17923"/>
                  <a:pt x="8855" y="17978"/>
                  <a:pt x="8756" y="18034"/>
                </a:cubicBezTo>
                <a:cubicBezTo>
                  <a:pt x="8695" y="18072"/>
                  <a:pt x="8633" y="18108"/>
                  <a:pt x="8569" y="18143"/>
                </a:cubicBezTo>
                <a:cubicBezTo>
                  <a:pt x="8502" y="18179"/>
                  <a:pt x="8451" y="18215"/>
                  <a:pt x="8416" y="18253"/>
                </a:cubicBezTo>
                <a:cubicBezTo>
                  <a:pt x="8393" y="18276"/>
                  <a:pt x="8370" y="18297"/>
                  <a:pt x="8347" y="18314"/>
                </a:cubicBezTo>
                <a:cubicBezTo>
                  <a:pt x="8228" y="18399"/>
                  <a:pt x="8088" y="18428"/>
                  <a:pt x="7929" y="18402"/>
                </a:cubicBezTo>
                <a:cubicBezTo>
                  <a:pt x="7911" y="18399"/>
                  <a:pt x="7894" y="18396"/>
                  <a:pt x="7876" y="18393"/>
                </a:cubicBezTo>
                <a:cubicBezTo>
                  <a:pt x="7551" y="18352"/>
                  <a:pt x="7321" y="18421"/>
                  <a:pt x="7188" y="18599"/>
                </a:cubicBezTo>
                <a:cubicBezTo>
                  <a:pt x="7156" y="18640"/>
                  <a:pt x="7124" y="18681"/>
                  <a:pt x="7092" y="18722"/>
                </a:cubicBezTo>
                <a:cubicBezTo>
                  <a:pt x="6999" y="18833"/>
                  <a:pt x="6915" y="18937"/>
                  <a:pt x="6839" y="19033"/>
                </a:cubicBezTo>
                <a:cubicBezTo>
                  <a:pt x="6793" y="19092"/>
                  <a:pt x="6754" y="19153"/>
                  <a:pt x="6722" y="19217"/>
                </a:cubicBezTo>
                <a:cubicBezTo>
                  <a:pt x="6710" y="19241"/>
                  <a:pt x="6699" y="19264"/>
                  <a:pt x="6687" y="19287"/>
                </a:cubicBezTo>
                <a:cubicBezTo>
                  <a:pt x="6632" y="19393"/>
                  <a:pt x="6577" y="19480"/>
                  <a:pt x="6521" y="19550"/>
                </a:cubicBezTo>
                <a:cubicBezTo>
                  <a:pt x="6484" y="19600"/>
                  <a:pt x="6440" y="19644"/>
                  <a:pt x="6391" y="19682"/>
                </a:cubicBezTo>
                <a:cubicBezTo>
                  <a:pt x="6202" y="19825"/>
                  <a:pt x="5986" y="19957"/>
                  <a:pt x="5742" y="20076"/>
                </a:cubicBezTo>
                <a:cubicBezTo>
                  <a:pt x="5701" y="20097"/>
                  <a:pt x="5659" y="20110"/>
                  <a:pt x="5615" y="20116"/>
                </a:cubicBezTo>
                <a:cubicBezTo>
                  <a:pt x="5528" y="20125"/>
                  <a:pt x="5441" y="20135"/>
                  <a:pt x="5354" y="20147"/>
                </a:cubicBezTo>
                <a:cubicBezTo>
                  <a:pt x="5325" y="20150"/>
                  <a:pt x="5296" y="20151"/>
                  <a:pt x="5267" y="20151"/>
                </a:cubicBezTo>
                <a:cubicBezTo>
                  <a:pt x="5023" y="20142"/>
                  <a:pt x="4806" y="20195"/>
                  <a:pt x="4618" y="20309"/>
                </a:cubicBezTo>
                <a:cubicBezTo>
                  <a:pt x="4600" y="20320"/>
                  <a:pt x="4583" y="20331"/>
                  <a:pt x="4565" y="20339"/>
                </a:cubicBezTo>
                <a:cubicBezTo>
                  <a:pt x="4441" y="20412"/>
                  <a:pt x="4311" y="20488"/>
                  <a:pt x="4178" y="20567"/>
                </a:cubicBezTo>
                <a:cubicBezTo>
                  <a:pt x="3942" y="20708"/>
                  <a:pt x="3697" y="20813"/>
                  <a:pt x="3441" y="20883"/>
                </a:cubicBezTo>
                <a:cubicBezTo>
                  <a:pt x="3410" y="20892"/>
                  <a:pt x="3378" y="20899"/>
                  <a:pt x="3346" y="20905"/>
                </a:cubicBezTo>
                <a:cubicBezTo>
                  <a:pt x="3229" y="20922"/>
                  <a:pt x="3116" y="20944"/>
                  <a:pt x="3006" y="20971"/>
                </a:cubicBezTo>
                <a:cubicBezTo>
                  <a:pt x="2881" y="21003"/>
                  <a:pt x="2749" y="21022"/>
                  <a:pt x="2609" y="21028"/>
                </a:cubicBezTo>
                <a:cubicBezTo>
                  <a:pt x="2580" y="21028"/>
                  <a:pt x="2550" y="21030"/>
                  <a:pt x="2518" y="21036"/>
                </a:cubicBezTo>
                <a:cubicBezTo>
                  <a:pt x="2448" y="21045"/>
                  <a:pt x="2379" y="21055"/>
                  <a:pt x="2309" y="21067"/>
                </a:cubicBezTo>
                <a:cubicBezTo>
                  <a:pt x="2291" y="21070"/>
                  <a:pt x="2275" y="21073"/>
                  <a:pt x="2261" y="21076"/>
                </a:cubicBezTo>
                <a:cubicBezTo>
                  <a:pt x="2139" y="21087"/>
                  <a:pt x="2047" y="21134"/>
                  <a:pt x="1986" y="21216"/>
                </a:cubicBezTo>
                <a:cubicBezTo>
                  <a:pt x="1885" y="21356"/>
                  <a:pt x="1757" y="21444"/>
                  <a:pt x="1603" y="21479"/>
                </a:cubicBezTo>
                <a:cubicBezTo>
                  <a:pt x="1577" y="21485"/>
                  <a:pt x="1551" y="21494"/>
                  <a:pt x="1525" y="21505"/>
                </a:cubicBezTo>
                <a:cubicBezTo>
                  <a:pt x="1432" y="21555"/>
                  <a:pt x="1327" y="21574"/>
                  <a:pt x="1211" y="21562"/>
                </a:cubicBezTo>
                <a:cubicBezTo>
                  <a:pt x="1182" y="21556"/>
                  <a:pt x="1152" y="21549"/>
                  <a:pt x="1120" y="21540"/>
                </a:cubicBezTo>
                <a:cubicBezTo>
                  <a:pt x="826" y="21456"/>
                  <a:pt x="622" y="21293"/>
                  <a:pt x="505" y="21054"/>
                </a:cubicBezTo>
                <a:cubicBezTo>
                  <a:pt x="497" y="21036"/>
                  <a:pt x="484" y="21023"/>
                  <a:pt x="466" y="21014"/>
                </a:cubicBezTo>
                <a:cubicBezTo>
                  <a:pt x="324" y="20930"/>
                  <a:pt x="240" y="20781"/>
                  <a:pt x="213" y="20567"/>
                </a:cubicBezTo>
                <a:cubicBezTo>
                  <a:pt x="211" y="20538"/>
                  <a:pt x="205" y="20510"/>
                  <a:pt x="196" y="20484"/>
                </a:cubicBezTo>
                <a:cubicBezTo>
                  <a:pt x="155" y="20382"/>
                  <a:pt x="118" y="20278"/>
                  <a:pt x="83" y="20173"/>
                </a:cubicBezTo>
                <a:cubicBezTo>
                  <a:pt x="48" y="20065"/>
                  <a:pt x="20" y="19952"/>
                  <a:pt x="0" y="19835"/>
                </a:cubicBezTo>
                <a:lnTo>
                  <a:pt x="35" y="19831"/>
                </a:lnTo>
                <a:cubicBezTo>
                  <a:pt x="32" y="19816"/>
                  <a:pt x="31" y="19800"/>
                  <a:pt x="33" y="19783"/>
                </a:cubicBezTo>
                <a:cubicBezTo>
                  <a:pt x="34" y="19767"/>
                  <a:pt x="38" y="19751"/>
                  <a:pt x="44" y="19735"/>
                </a:cubicBezTo>
                <a:cubicBezTo>
                  <a:pt x="52" y="19702"/>
                  <a:pt x="58" y="19672"/>
                  <a:pt x="61" y="19642"/>
                </a:cubicBezTo>
                <a:cubicBezTo>
                  <a:pt x="81" y="19499"/>
                  <a:pt x="116" y="19382"/>
                  <a:pt x="166" y="19292"/>
                </a:cubicBezTo>
                <a:cubicBezTo>
                  <a:pt x="180" y="19263"/>
                  <a:pt x="199" y="19238"/>
                  <a:pt x="222" y="19217"/>
                </a:cubicBezTo>
                <a:cubicBezTo>
                  <a:pt x="242" y="19194"/>
                  <a:pt x="263" y="19171"/>
                  <a:pt x="283" y="19147"/>
                </a:cubicBezTo>
                <a:cubicBezTo>
                  <a:pt x="341" y="19077"/>
                  <a:pt x="431" y="19032"/>
                  <a:pt x="553" y="19011"/>
                </a:cubicBezTo>
                <a:cubicBezTo>
                  <a:pt x="571" y="19008"/>
                  <a:pt x="588" y="19006"/>
                  <a:pt x="606" y="19003"/>
                </a:cubicBezTo>
                <a:cubicBezTo>
                  <a:pt x="649" y="18997"/>
                  <a:pt x="667" y="18962"/>
                  <a:pt x="658" y="18897"/>
                </a:cubicBezTo>
                <a:cubicBezTo>
                  <a:pt x="649" y="18854"/>
                  <a:pt x="652" y="18813"/>
                  <a:pt x="667" y="18775"/>
                </a:cubicBezTo>
                <a:cubicBezTo>
                  <a:pt x="693" y="18684"/>
                  <a:pt x="771" y="18618"/>
                  <a:pt x="902" y="18577"/>
                </a:cubicBezTo>
                <a:cubicBezTo>
                  <a:pt x="919" y="18572"/>
                  <a:pt x="937" y="18566"/>
                  <a:pt x="954" y="18560"/>
                </a:cubicBezTo>
                <a:cubicBezTo>
                  <a:pt x="980" y="18551"/>
                  <a:pt x="998" y="18541"/>
                  <a:pt x="1006" y="18529"/>
                </a:cubicBezTo>
                <a:cubicBezTo>
                  <a:pt x="1035" y="18477"/>
                  <a:pt x="1089" y="18447"/>
                  <a:pt x="1167" y="18442"/>
                </a:cubicBezTo>
                <a:cubicBezTo>
                  <a:pt x="1182" y="18439"/>
                  <a:pt x="1191" y="18428"/>
                  <a:pt x="1194" y="18411"/>
                </a:cubicBezTo>
                <a:cubicBezTo>
                  <a:pt x="1205" y="18341"/>
                  <a:pt x="1205" y="18271"/>
                  <a:pt x="1194" y="18200"/>
                </a:cubicBezTo>
                <a:cubicBezTo>
                  <a:pt x="1191" y="18183"/>
                  <a:pt x="1182" y="18174"/>
                  <a:pt x="1167" y="18174"/>
                </a:cubicBezTo>
                <a:cubicBezTo>
                  <a:pt x="1089" y="18165"/>
                  <a:pt x="1047" y="18129"/>
                  <a:pt x="1041" y="18065"/>
                </a:cubicBezTo>
                <a:cubicBezTo>
                  <a:pt x="1038" y="18021"/>
                  <a:pt x="1032" y="17978"/>
                  <a:pt x="1024" y="17937"/>
                </a:cubicBezTo>
                <a:cubicBezTo>
                  <a:pt x="1018" y="17905"/>
                  <a:pt x="1011" y="17873"/>
                  <a:pt x="1002" y="17841"/>
                </a:cubicBezTo>
                <a:cubicBezTo>
                  <a:pt x="996" y="17815"/>
                  <a:pt x="987" y="17790"/>
                  <a:pt x="976" y="17767"/>
                </a:cubicBezTo>
                <a:cubicBezTo>
                  <a:pt x="903" y="17603"/>
                  <a:pt x="929" y="17473"/>
                  <a:pt x="1054" y="17376"/>
                </a:cubicBezTo>
                <a:cubicBezTo>
                  <a:pt x="1019" y="17283"/>
                  <a:pt x="998" y="17178"/>
                  <a:pt x="989" y="17061"/>
                </a:cubicBezTo>
                <a:cubicBezTo>
                  <a:pt x="980" y="16961"/>
                  <a:pt x="995" y="16887"/>
                  <a:pt x="1032" y="16837"/>
                </a:cubicBezTo>
                <a:cubicBezTo>
                  <a:pt x="1088" y="16767"/>
                  <a:pt x="1111" y="16666"/>
                  <a:pt x="1102" y="16535"/>
                </a:cubicBezTo>
                <a:cubicBezTo>
                  <a:pt x="1102" y="16520"/>
                  <a:pt x="1099" y="16504"/>
                  <a:pt x="1093" y="16487"/>
                </a:cubicBezTo>
                <a:cubicBezTo>
                  <a:pt x="1070" y="16428"/>
                  <a:pt x="1048" y="16371"/>
                  <a:pt x="1028" y="16316"/>
                </a:cubicBezTo>
                <a:cubicBezTo>
                  <a:pt x="987" y="16196"/>
                  <a:pt x="931" y="16094"/>
                  <a:pt x="858" y="16009"/>
                </a:cubicBezTo>
                <a:cubicBezTo>
                  <a:pt x="774" y="15918"/>
                  <a:pt x="701" y="15831"/>
                  <a:pt x="640" y="15746"/>
                </a:cubicBezTo>
                <a:cubicBezTo>
                  <a:pt x="629" y="15728"/>
                  <a:pt x="614" y="15714"/>
                  <a:pt x="597" y="15702"/>
                </a:cubicBezTo>
                <a:cubicBezTo>
                  <a:pt x="507" y="15647"/>
                  <a:pt x="452" y="15543"/>
                  <a:pt x="431" y="15391"/>
                </a:cubicBezTo>
                <a:cubicBezTo>
                  <a:pt x="408" y="15230"/>
                  <a:pt x="420" y="15084"/>
                  <a:pt x="466" y="14953"/>
                </a:cubicBezTo>
                <a:cubicBezTo>
                  <a:pt x="539" y="14754"/>
                  <a:pt x="643" y="14609"/>
                  <a:pt x="780" y="14519"/>
                </a:cubicBezTo>
                <a:cubicBezTo>
                  <a:pt x="806" y="14501"/>
                  <a:pt x="833" y="14492"/>
                  <a:pt x="863" y="14492"/>
                </a:cubicBezTo>
                <a:cubicBezTo>
                  <a:pt x="961" y="14489"/>
                  <a:pt x="1046" y="14463"/>
                  <a:pt x="1115" y="14413"/>
                </a:cubicBezTo>
                <a:cubicBezTo>
                  <a:pt x="1188" y="14361"/>
                  <a:pt x="1262" y="14304"/>
                  <a:pt x="1337" y="14242"/>
                </a:cubicBezTo>
                <a:cubicBezTo>
                  <a:pt x="1413" y="14181"/>
                  <a:pt x="1470" y="14080"/>
                  <a:pt x="1507" y="13940"/>
                </a:cubicBezTo>
                <a:cubicBezTo>
                  <a:pt x="1513" y="13914"/>
                  <a:pt x="1523" y="13892"/>
                  <a:pt x="1538" y="13874"/>
                </a:cubicBezTo>
                <a:cubicBezTo>
                  <a:pt x="1605" y="13795"/>
                  <a:pt x="1673" y="13719"/>
                  <a:pt x="1743" y="13646"/>
                </a:cubicBezTo>
                <a:cubicBezTo>
                  <a:pt x="1766" y="13626"/>
                  <a:pt x="1782" y="13620"/>
                  <a:pt x="1790" y="13629"/>
                </a:cubicBezTo>
                <a:cubicBezTo>
                  <a:pt x="1886" y="13711"/>
                  <a:pt x="1998" y="13743"/>
                  <a:pt x="2126" y="13725"/>
                </a:cubicBezTo>
                <a:cubicBezTo>
                  <a:pt x="2161" y="13719"/>
                  <a:pt x="2193" y="13692"/>
                  <a:pt x="2222" y="13642"/>
                </a:cubicBezTo>
                <a:cubicBezTo>
                  <a:pt x="2292" y="13520"/>
                  <a:pt x="2380" y="13425"/>
                  <a:pt x="2485" y="13355"/>
                </a:cubicBezTo>
                <a:cubicBezTo>
                  <a:pt x="2489" y="13353"/>
                  <a:pt x="2493" y="13351"/>
                  <a:pt x="2496" y="13348"/>
                </a:cubicBezTo>
                <a:cubicBezTo>
                  <a:pt x="2525" y="13360"/>
                  <a:pt x="2562" y="13367"/>
                  <a:pt x="2605" y="13370"/>
                </a:cubicBezTo>
                <a:cubicBezTo>
                  <a:pt x="2692" y="13373"/>
                  <a:pt x="2779" y="13380"/>
                  <a:pt x="2866" y="13392"/>
                </a:cubicBezTo>
                <a:cubicBezTo>
                  <a:pt x="2895" y="13395"/>
                  <a:pt x="2925" y="13398"/>
                  <a:pt x="2954" y="13401"/>
                </a:cubicBezTo>
                <a:cubicBezTo>
                  <a:pt x="3084" y="13413"/>
                  <a:pt x="3215" y="13426"/>
                  <a:pt x="3346" y="13440"/>
                </a:cubicBezTo>
                <a:cubicBezTo>
                  <a:pt x="3488" y="13455"/>
                  <a:pt x="3635" y="13462"/>
                  <a:pt x="3786" y="13462"/>
                </a:cubicBezTo>
                <a:cubicBezTo>
                  <a:pt x="3815" y="13462"/>
                  <a:pt x="3841" y="13456"/>
                  <a:pt x="3864" y="13445"/>
                </a:cubicBezTo>
                <a:cubicBezTo>
                  <a:pt x="3928" y="13418"/>
                  <a:pt x="3966" y="13353"/>
                  <a:pt x="3977" y="13248"/>
                </a:cubicBezTo>
                <a:cubicBezTo>
                  <a:pt x="3980" y="13230"/>
                  <a:pt x="3983" y="13214"/>
                  <a:pt x="3986" y="13199"/>
                </a:cubicBezTo>
                <a:cubicBezTo>
                  <a:pt x="3992" y="13120"/>
                  <a:pt x="4027" y="13078"/>
                  <a:pt x="4091" y="13072"/>
                </a:cubicBezTo>
                <a:cubicBezTo>
                  <a:pt x="4120" y="13069"/>
                  <a:pt x="4146" y="13062"/>
                  <a:pt x="4169" y="13050"/>
                </a:cubicBezTo>
                <a:cubicBezTo>
                  <a:pt x="4268" y="13007"/>
                  <a:pt x="4362" y="12913"/>
                  <a:pt x="4452" y="12770"/>
                </a:cubicBezTo>
                <a:cubicBezTo>
                  <a:pt x="4528" y="12644"/>
                  <a:pt x="4612" y="12524"/>
                  <a:pt x="4705" y="12410"/>
                </a:cubicBezTo>
                <a:cubicBezTo>
                  <a:pt x="4716" y="12396"/>
                  <a:pt x="4722" y="12381"/>
                  <a:pt x="4722" y="12366"/>
                </a:cubicBezTo>
                <a:cubicBezTo>
                  <a:pt x="4737" y="12206"/>
                  <a:pt x="4744" y="12045"/>
                  <a:pt x="4744" y="11884"/>
                </a:cubicBezTo>
                <a:cubicBezTo>
                  <a:pt x="4744" y="11841"/>
                  <a:pt x="4738" y="11798"/>
                  <a:pt x="4727" y="11757"/>
                </a:cubicBezTo>
                <a:cubicBezTo>
                  <a:pt x="4686" y="11611"/>
                  <a:pt x="4657" y="11464"/>
                  <a:pt x="4639" y="11315"/>
                </a:cubicBezTo>
                <a:cubicBezTo>
                  <a:pt x="4631" y="11221"/>
                  <a:pt x="4647" y="11158"/>
                  <a:pt x="4687" y="11126"/>
                </a:cubicBezTo>
                <a:cubicBezTo>
                  <a:pt x="4711" y="11106"/>
                  <a:pt x="4732" y="11093"/>
                  <a:pt x="4753" y="11087"/>
                </a:cubicBezTo>
                <a:cubicBezTo>
                  <a:pt x="4820" y="11063"/>
                  <a:pt x="4888" y="11046"/>
                  <a:pt x="4957" y="11034"/>
                </a:cubicBezTo>
                <a:cubicBezTo>
                  <a:pt x="4975" y="11031"/>
                  <a:pt x="4992" y="11027"/>
                  <a:pt x="5010" y="11021"/>
                </a:cubicBezTo>
                <a:cubicBezTo>
                  <a:pt x="5036" y="11012"/>
                  <a:pt x="5058" y="11000"/>
                  <a:pt x="5075" y="10986"/>
                </a:cubicBezTo>
                <a:cubicBezTo>
                  <a:pt x="5122" y="10951"/>
                  <a:pt x="5184" y="10911"/>
                  <a:pt x="5262" y="10867"/>
                </a:cubicBezTo>
                <a:cubicBezTo>
                  <a:pt x="5280" y="10859"/>
                  <a:pt x="5297" y="10853"/>
                  <a:pt x="5315" y="10850"/>
                </a:cubicBezTo>
                <a:cubicBezTo>
                  <a:pt x="5355" y="10838"/>
                  <a:pt x="5395" y="10825"/>
                  <a:pt x="5432" y="10811"/>
                </a:cubicBezTo>
                <a:cubicBezTo>
                  <a:pt x="5543" y="10767"/>
                  <a:pt x="5675" y="10724"/>
                  <a:pt x="5829" y="10683"/>
                </a:cubicBezTo>
                <a:cubicBezTo>
                  <a:pt x="5846" y="10680"/>
                  <a:pt x="5862" y="10679"/>
                  <a:pt x="5877" y="10679"/>
                </a:cubicBezTo>
                <a:cubicBezTo>
                  <a:pt x="6065" y="10691"/>
                  <a:pt x="6137" y="10596"/>
                  <a:pt x="6090" y="10394"/>
                </a:cubicBezTo>
                <a:cubicBezTo>
                  <a:pt x="6067" y="10295"/>
                  <a:pt x="6097" y="10244"/>
                  <a:pt x="6182" y="10241"/>
                </a:cubicBezTo>
                <a:cubicBezTo>
                  <a:pt x="6283" y="10241"/>
                  <a:pt x="6385" y="10233"/>
                  <a:pt x="6487" y="10219"/>
                </a:cubicBezTo>
                <a:cubicBezTo>
                  <a:pt x="6507" y="10217"/>
                  <a:pt x="6526" y="10215"/>
                  <a:pt x="6545" y="10214"/>
                </a:cubicBezTo>
                <a:cubicBezTo>
                  <a:pt x="6604" y="10212"/>
                  <a:pt x="6659" y="10218"/>
                  <a:pt x="6711" y="10232"/>
                </a:cubicBezTo>
                <a:cubicBezTo>
                  <a:pt x="6751" y="10242"/>
                  <a:pt x="6790" y="10256"/>
                  <a:pt x="6826" y="10276"/>
                </a:cubicBezTo>
                <a:cubicBezTo>
                  <a:pt x="6916" y="10323"/>
                  <a:pt x="6992" y="10406"/>
                  <a:pt x="7053" y="10526"/>
                </a:cubicBezTo>
                <a:cubicBezTo>
                  <a:pt x="7067" y="10555"/>
                  <a:pt x="7086" y="10578"/>
                  <a:pt x="7110" y="10596"/>
                </a:cubicBezTo>
                <a:cubicBezTo>
                  <a:pt x="7205" y="10672"/>
                  <a:pt x="7317" y="10720"/>
                  <a:pt x="7445" y="10740"/>
                </a:cubicBezTo>
                <a:cubicBezTo>
                  <a:pt x="7474" y="10743"/>
                  <a:pt x="7500" y="10751"/>
                  <a:pt x="7523" y="10762"/>
                </a:cubicBezTo>
                <a:cubicBezTo>
                  <a:pt x="7558" y="10780"/>
                  <a:pt x="7592" y="10800"/>
                  <a:pt x="7624" y="10824"/>
                </a:cubicBezTo>
                <a:cubicBezTo>
                  <a:pt x="7714" y="10885"/>
                  <a:pt x="7788" y="10974"/>
                  <a:pt x="7846" y="11091"/>
                </a:cubicBezTo>
                <a:cubicBezTo>
                  <a:pt x="7854" y="11109"/>
                  <a:pt x="7862" y="11126"/>
                  <a:pt x="7867" y="11144"/>
                </a:cubicBezTo>
                <a:cubicBezTo>
                  <a:pt x="7908" y="11255"/>
                  <a:pt x="7944" y="11385"/>
                  <a:pt x="7976" y="11534"/>
                </a:cubicBezTo>
                <a:cubicBezTo>
                  <a:pt x="8008" y="11674"/>
                  <a:pt x="8093" y="11732"/>
                  <a:pt x="8229" y="11709"/>
                </a:cubicBezTo>
                <a:cubicBezTo>
                  <a:pt x="8322" y="11694"/>
                  <a:pt x="8411" y="11705"/>
                  <a:pt x="8495" y="11740"/>
                </a:cubicBezTo>
                <a:cubicBezTo>
                  <a:pt x="8521" y="11748"/>
                  <a:pt x="8543" y="11760"/>
                  <a:pt x="8560" y="11775"/>
                </a:cubicBezTo>
                <a:cubicBezTo>
                  <a:pt x="8659" y="11851"/>
                  <a:pt x="8765" y="11919"/>
                  <a:pt x="8878" y="11981"/>
                </a:cubicBezTo>
                <a:cubicBezTo>
                  <a:pt x="8896" y="11990"/>
                  <a:pt x="8910" y="11992"/>
                  <a:pt x="8922" y="11990"/>
                </a:cubicBezTo>
                <a:cubicBezTo>
                  <a:pt x="9029" y="11975"/>
                  <a:pt x="9134" y="11943"/>
                  <a:pt x="9235" y="11893"/>
                </a:cubicBezTo>
                <a:cubicBezTo>
                  <a:pt x="9276" y="11873"/>
                  <a:pt x="9317" y="11852"/>
                  <a:pt x="9357" y="11832"/>
                </a:cubicBezTo>
                <a:cubicBezTo>
                  <a:pt x="9613" y="11706"/>
                  <a:pt x="9847" y="11578"/>
                  <a:pt x="10059" y="11446"/>
                </a:cubicBezTo>
                <a:cubicBezTo>
                  <a:pt x="10024" y="11358"/>
                  <a:pt x="9966" y="11316"/>
                  <a:pt x="9884" y="11319"/>
                </a:cubicBezTo>
                <a:cubicBezTo>
                  <a:pt x="9803" y="11322"/>
                  <a:pt x="9733" y="11339"/>
                  <a:pt x="9675" y="11372"/>
                </a:cubicBezTo>
                <a:cubicBezTo>
                  <a:pt x="9603" y="11412"/>
                  <a:pt x="9526" y="11447"/>
                  <a:pt x="9444" y="11477"/>
                </a:cubicBezTo>
                <a:cubicBezTo>
                  <a:pt x="9418" y="11486"/>
                  <a:pt x="9398" y="11497"/>
                  <a:pt x="9383" y="11512"/>
                </a:cubicBezTo>
                <a:cubicBezTo>
                  <a:pt x="9325" y="11570"/>
                  <a:pt x="9231" y="11599"/>
                  <a:pt x="9100" y="11599"/>
                </a:cubicBezTo>
                <a:cubicBezTo>
                  <a:pt x="9086" y="11599"/>
                  <a:pt x="9070" y="11602"/>
                  <a:pt x="9052" y="11608"/>
                </a:cubicBezTo>
                <a:cubicBezTo>
                  <a:pt x="8869" y="11658"/>
                  <a:pt x="8763" y="11620"/>
                  <a:pt x="8734" y="11494"/>
                </a:cubicBezTo>
                <a:cubicBezTo>
                  <a:pt x="8731" y="11477"/>
                  <a:pt x="8721" y="11464"/>
                  <a:pt x="8704" y="11455"/>
                </a:cubicBezTo>
                <a:cubicBezTo>
                  <a:pt x="8640" y="11417"/>
                  <a:pt x="8589" y="11353"/>
                  <a:pt x="8551" y="11262"/>
                </a:cubicBezTo>
                <a:cubicBezTo>
                  <a:pt x="8499" y="11133"/>
                  <a:pt x="8437" y="11005"/>
                  <a:pt x="8364" y="10876"/>
                </a:cubicBezTo>
                <a:cubicBezTo>
                  <a:pt x="8347" y="10847"/>
                  <a:pt x="8326" y="10822"/>
                  <a:pt x="8303" y="10802"/>
                </a:cubicBezTo>
                <a:cubicBezTo>
                  <a:pt x="8161" y="10673"/>
                  <a:pt x="8007" y="10551"/>
                  <a:pt x="7841" y="10434"/>
                </a:cubicBezTo>
                <a:cubicBezTo>
                  <a:pt x="7824" y="10422"/>
                  <a:pt x="7807" y="10415"/>
                  <a:pt x="7789" y="10412"/>
                </a:cubicBezTo>
                <a:cubicBezTo>
                  <a:pt x="7696" y="10391"/>
                  <a:pt x="7658" y="10328"/>
                  <a:pt x="7676" y="10223"/>
                </a:cubicBezTo>
                <a:cubicBezTo>
                  <a:pt x="7682" y="10191"/>
                  <a:pt x="7693" y="10160"/>
                  <a:pt x="7711" y="10131"/>
                </a:cubicBezTo>
                <a:cubicBezTo>
                  <a:pt x="7766" y="10029"/>
                  <a:pt x="7837" y="9956"/>
                  <a:pt x="7924" y="9912"/>
                </a:cubicBezTo>
                <a:cubicBezTo>
                  <a:pt x="7953" y="9897"/>
                  <a:pt x="7976" y="9878"/>
                  <a:pt x="7994" y="9855"/>
                </a:cubicBezTo>
                <a:cubicBezTo>
                  <a:pt x="8061" y="9773"/>
                  <a:pt x="8119" y="9687"/>
                  <a:pt x="8168" y="9596"/>
                </a:cubicBezTo>
                <a:cubicBezTo>
                  <a:pt x="8180" y="9573"/>
                  <a:pt x="8178" y="9551"/>
                  <a:pt x="8164" y="9531"/>
                </a:cubicBezTo>
                <a:cubicBezTo>
                  <a:pt x="8149" y="9507"/>
                  <a:pt x="8132" y="9485"/>
                  <a:pt x="8111" y="9465"/>
                </a:cubicBezTo>
                <a:cubicBezTo>
                  <a:pt x="8042" y="9392"/>
                  <a:pt x="7969" y="9304"/>
                  <a:pt x="7894" y="9202"/>
                </a:cubicBezTo>
                <a:cubicBezTo>
                  <a:pt x="7807" y="9085"/>
                  <a:pt x="7831" y="9018"/>
                  <a:pt x="7968" y="9000"/>
                </a:cubicBezTo>
                <a:cubicBezTo>
                  <a:pt x="8011" y="8994"/>
                  <a:pt x="8053" y="8987"/>
                  <a:pt x="8094" y="8978"/>
                </a:cubicBezTo>
                <a:cubicBezTo>
                  <a:pt x="8126" y="8973"/>
                  <a:pt x="8149" y="8958"/>
                  <a:pt x="8164" y="8935"/>
                </a:cubicBezTo>
                <a:cubicBezTo>
                  <a:pt x="8178" y="8914"/>
                  <a:pt x="8178" y="8894"/>
                  <a:pt x="8164" y="8873"/>
                </a:cubicBezTo>
                <a:cubicBezTo>
                  <a:pt x="8149" y="8850"/>
                  <a:pt x="8129" y="8829"/>
                  <a:pt x="8103" y="8812"/>
                </a:cubicBezTo>
                <a:cubicBezTo>
                  <a:pt x="8024" y="8759"/>
                  <a:pt x="8008" y="8731"/>
                  <a:pt x="8055" y="8729"/>
                </a:cubicBezTo>
                <a:cubicBezTo>
                  <a:pt x="8069" y="8714"/>
                  <a:pt x="8085" y="8705"/>
                  <a:pt x="8103" y="8702"/>
                </a:cubicBezTo>
                <a:cubicBezTo>
                  <a:pt x="8196" y="8679"/>
                  <a:pt x="8267" y="8644"/>
                  <a:pt x="8316" y="8597"/>
                </a:cubicBezTo>
                <a:cubicBezTo>
                  <a:pt x="8331" y="8582"/>
                  <a:pt x="8339" y="8566"/>
                  <a:pt x="8342" y="8549"/>
                </a:cubicBezTo>
                <a:cubicBezTo>
                  <a:pt x="8371" y="8406"/>
                  <a:pt x="8363" y="8290"/>
                  <a:pt x="8316" y="8203"/>
                </a:cubicBezTo>
                <a:cubicBezTo>
                  <a:pt x="8278" y="8255"/>
                  <a:pt x="8219" y="8311"/>
                  <a:pt x="8138" y="8369"/>
                </a:cubicBezTo>
                <a:cubicBezTo>
                  <a:pt x="8027" y="8448"/>
                  <a:pt x="7971" y="8422"/>
                  <a:pt x="7968" y="8290"/>
                </a:cubicBezTo>
                <a:cubicBezTo>
                  <a:pt x="7968" y="8261"/>
                  <a:pt x="7974" y="8236"/>
                  <a:pt x="7985" y="8216"/>
                </a:cubicBezTo>
                <a:cubicBezTo>
                  <a:pt x="8066" y="8084"/>
                  <a:pt x="8162" y="7963"/>
                  <a:pt x="8273" y="7852"/>
                </a:cubicBezTo>
                <a:cubicBezTo>
                  <a:pt x="8287" y="7837"/>
                  <a:pt x="8294" y="7823"/>
                  <a:pt x="8294" y="7808"/>
                </a:cubicBezTo>
                <a:cubicBezTo>
                  <a:pt x="8289" y="7709"/>
                  <a:pt x="8252" y="7649"/>
                  <a:pt x="8185" y="7628"/>
                </a:cubicBezTo>
                <a:cubicBezTo>
                  <a:pt x="8177" y="7663"/>
                  <a:pt x="8148" y="7694"/>
                  <a:pt x="8098" y="7720"/>
                </a:cubicBezTo>
                <a:cubicBezTo>
                  <a:pt x="8069" y="7735"/>
                  <a:pt x="8045" y="7754"/>
                  <a:pt x="8024" y="7777"/>
                </a:cubicBezTo>
                <a:cubicBezTo>
                  <a:pt x="8001" y="7798"/>
                  <a:pt x="7978" y="7817"/>
                  <a:pt x="7955" y="7834"/>
                </a:cubicBezTo>
                <a:cubicBezTo>
                  <a:pt x="7865" y="7899"/>
                  <a:pt x="7793" y="7991"/>
                  <a:pt x="7741" y="8111"/>
                </a:cubicBezTo>
                <a:cubicBezTo>
                  <a:pt x="7732" y="8128"/>
                  <a:pt x="7730" y="8143"/>
                  <a:pt x="7732" y="8154"/>
                </a:cubicBezTo>
                <a:cubicBezTo>
                  <a:pt x="7744" y="8254"/>
                  <a:pt x="7747" y="8357"/>
                  <a:pt x="7741" y="8466"/>
                </a:cubicBezTo>
                <a:cubicBezTo>
                  <a:pt x="7732" y="8577"/>
                  <a:pt x="7677" y="8679"/>
                  <a:pt x="7576" y="8772"/>
                </a:cubicBezTo>
                <a:cubicBezTo>
                  <a:pt x="7547" y="8802"/>
                  <a:pt x="7515" y="8822"/>
                  <a:pt x="7480" y="8834"/>
                </a:cubicBezTo>
                <a:cubicBezTo>
                  <a:pt x="7398" y="8863"/>
                  <a:pt x="7342" y="8899"/>
                  <a:pt x="7310" y="8943"/>
                </a:cubicBezTo>
                <a:cubicBezTo>
                  <a:pt x="7298" y="8961"/>
                  <a:pt x="7294" y="8974"/>
                  <a:pt x="7297" y="8983"/>
                </a:cubicBezTo>
                <a:cubicBezTo>
                  <a:pt x="7343" y="9117"/>
                  <a:pt x="7406" y="9238"/>
                  <a:pt x="7484" y="9347"/>
                </a:cubicBezTo>
                <a:cubicBezTo>
                  <a:pt x="7502" y="9373"/>
                  <a:pt x="7522" y="9395"/>
                  <a:pt x="7545" y="9412"/>
                </a:cubicBezTo>
                <a:cubicBezTo>
                  <a:pt x="7626" y="9480"/>
                  <a:pt x="7654" y="9602"/>
                  <a:pt x="7628" y="9780"/>
                </a:cubicBezTo>
                <a:cubicBezTo>
                  <a:pt x="7622" y="9810"/>
                  <a:pt x="7612" y="9832"/>
                  <a:pt x="7597" y="9846"/>
                </a:cubicBezTo>
                <a:cubicBezTo>
                  <a:pt x="7577" y="9867"/>
                  <a:pt x="7557" y="9905"/>
                  <a:pt x="7536" y="9960"/>
                </a:cubicBezTo>
                <a:cubicBezTo>
                  <a:pt x="7510" y="10036"/>
                  <a:pt x="7451" y="10077"/>
                  <a:pt x="7358" y="10083"/>
                </a:cubicBezTo>
                <a:cubicBezTo>
                  <a:pt x="7329" y="10086"/>
                  <a:pt x="7307" y="10080"/>
                  <a:pt x="7292" y="10065"/>
                </a:cubicBezTo>
                <a:cubicBezTo>
                  <a:pt x="7272" y="10045"/>
                  <a:pt x="7236" y="10023"/>
                  <a:pt x="7184" y="10000"/>
                </a:cubicBezTo>
                <a:cubicBezTo>
                  <a:pt x="7041" y="9932"/>
                  <a:pt x="6896" y="9934"/>
                  <a:pt x="6748" y="10004"/>
                </a:cubicBezTo>
                <a:cubicBezTo>
                  <a:pt x="6711" y="10021"/>
                  <a:pt x="6676" y="10034"/>
                  <a:pt x="6643" y="10041"/>
                </a:cubicBezTo>
                <a:cubicBezTo>
                  <a:pt x="6604" y="10051"/>
                  <a:pt x="6569" y="10054"/>
                  <a:pt x="6537" y="10050"/>
                </a:cubicBezTo>
                <a:cubicBezTo>
                  <a:pt x="6534" y="10050"/>
                  <a:pt x="6531" y="10049"/>
                  <a:pt x="6528" y="10048"/>
                </a:cubicBezTo>
                <a:cubicBezTo>
                  <a:pt x="6512" y="10046"/>
                  <a:pt x="6498" y="10042"/>
                  <a:pt x="6484" y="10037"/>
                </a:cubicBezTo>
                <a:cubicBezTo>
                  <a:pt x="6449" y="10022"/>
                  <a:pt x="6419" y="9996"/>
                  <a:pt x="6395" y="9960"/>
                </a:cubicBezTo>
                <a:cubicBezTo>
                  <a:pt x="6354" y="9899"/>
                  <a:pt x="6283" y="9868"/>
                  <a:pt x="6182" y="9868"/>
                </a:cubicBezTo>
                <a:cubicBezTo>
                  <a:pt x="6153" y="9868"/>
                  <a:pt x="6126" y="9862"/>
                  <a:pt x="6103" y="9851"/>
                </a:cubicBezTo>
                <a:cubicBezTo>
                  <a:pt x="6051" y="9821"/>
                  <a:pt x="5975" y="9814"/>
                  <a:pt x="5877" y="9829"/>
                </a:cubicBezTo>
                <a:cubicBezTo>
                  <a:pt x="5746" y="9846"/>
                  <a:pt x="5630" y="9830"/>
                  <a:pt x="5528" y="9780"/>
                </a:cubicBezTo>
                <a:cubicBezTo>
                  <a:pt x="5499" y="9766"/>
                  <a:pt x="5469" y="9756"/>
                  <a:pt x="5437" y="9750"/>
                </a:cubicBezTo>
                <a:cubicBezTo>
                  <a:pt x="5396" y="9741"/>
                  <a:pt x="5354" y="9737"/>
                  <a:pt x="5310" y="9737"/>
                </a:cubicBezTo>
                <a:cubicBezTo>
                  <a:pt x="5188" y="9731"/>
                  <a:pt x="5151" y="9645"/>
                  <a:pt x="5197" y="9478"/>
                </a:cubicBezTo>
                <a:cubicBezTo>
                  <a:pt x="5244" y="9317"/>
                  <a:pt x="5235" y="9157"/>
                  <a:pt x="5171" y="8996"/>
                </a:cubicBezTo>
                <a:cubicBezTo>
                  <a:pt x="5162" y="8978"/>
                  <a:pt x="5156" y="8961"/>
                  <a:pt x="5153" y="8943"/>
                </a:cubicBezTo>
                <a:cubicBezTo>
                  <a:pt x="5142" y="8859"/>
                  <a:pt x="5136" y="8772"/>
                  <a:pt x="5136" y="8685"/>
                </a:cubicBezTo>
                <a:cubicBezTo>
                  <a:pt x="5136" y="8656"/>
                  <a:pt x="5140" y="8628"/>
                  <a:pt x="5149" y="8601"/>
                </a:cubicBezTo>
                <a:cubicBezTo>
                  <a:pt x="5199" y="8482"/>
                  <a:pt x="5281" y="8392"/>
                  <a:pt x="5397" y="8334"/>
                </a:cubicBezTo>
                <a:cubicBezTo>
                  <a:pt x="5426" y="8319"/>
                  <a:pt x="5456" y="8312"/>
                  <a:pt x="5485" y="8312"/>
                </a:cubicBezTo>
                <a:cubicBezTo>
                  <a:pt x="5540" y="8312"/>
                  <a:pt x="5578" y="8287"/>
                  <a:pt x="5598" y="8238"/>
                </a:cubicBezTo>
                <a:cubicBezTo>
                  <a:pt x="5609" y="8214"/>
                  <a:pt x="5620" y="8189"/>
                  <a:pt x="5628" y="8163"/>
                </a:cubicBezTo>
                <a:cubicBezTo>
                  <a:pt x="5634" y="8146"/>
                  <a:pt x="5637" y="8130"/>
                  <a:pt x="5637" y="8115"/>
                </a:cubicBezTo>
                <a:cubicBezTo>
                  <a:pt x="5643" y="7960"/>
                  <a:pt x="5678" y="7843"/>
                  <a:pt x="5742" y="7764"/>
                </a:cubicBezTo>
                <a:cubicBezTo>
                  <a:pt x="5808" y="7682"/>
                  <a:pt x="5910" y="7618"/>
                  <a:pt x="6047" y="7571"/>
                </a:cubicBezTo>
                <a:cubicBezTo>
                  <a:pt x="6064" y="7566"/>
                  <a:pt x="6074" y="7554"/>
                  <a:pt x="6077" y="7536"/>
                </a:cubicBezTo>
                <a:cubicBezTo>
                  <a:pt x="6097" y="7443"/>
                  <a:pt x="6086" y="7358"/>
                  <a:pt x="6042" y="7282"/>
                </a:cubicBezTo>
                <a:cubicBezTo>
                  <a:pt x="5987" y="7189"/>
                  <a:pt x="5991" y="7101"/>
                  <a:pt x="6055" y="7019"/>
                </a:cubicBezTo>
                <a:cubicBezTo>
                  <a:pt x="6067" y="7002"/>
                  <a:pt x="6074" y="6984"/>
                  <a:pt x="6077" y="6967"/>
                </a:cubicBezTo>
                <a:cubicBezTo>
                  <a:pt x="6089" y="6867"/>
                  <a:pt x="6094" y="6766"/>
                  <a:pt x="6094" y="6664"/>
                </a:cubicBezTo>
                <a:cubicBezTo>
                  <a:pt x="6094" y="6518"/>
                  <a:pt x="6113" y="6388"/>
                  <a:pt x="6151" y="6274"/>
                </a:cubicBezTo>
                <a:cubicBezTo>
                  <a:pt x="6157" y="6257"/>
                  <a:pt x="6160" y="6240"/>
                  <a:pt x="6160" y="6226"/>
                </a:cubicBezTo>
                <a:cubicBezTo>
                  <a:pt x="6160" y="6167"/>
                  <a:pt x="6148" y="6110"/>
                  <a:pt x="6125" y="6055"/>
                </a:cubicBezTo>
                <a:cubicBezTo>
                  <a:pt x="6105" y="6008"/>
                  <a:pt x="6065" y="5980"/>
                  <a:pt x="6007" y="5972"/>
                </a:cubicBezTo>
                <a:cubicBezTo>
                  <a:pt x="5964" y="5966"/>
                  <a:pt x="5922" y="5958"/>
                  <a:pt x="5881" y="5950"/>
                </a:cubicBezTo>
                <a:cubicBezTo>
                  <a:pt x="5864" y="5944"/>
                  <a:pt x="5855" y="5934"/>
                  <a:pt x="5855" y="5919"/>
                </a:cubicBezTo>
                <a:cubicBezTo>
                  <a:pt x="5866" y="5805"/>
                  <a:pt x="5906" y="5706"/>
                  <a:pt x="5972" y="5621"/>
                </a:cubicBezTo>
                <a:cubicBezTo>
                  <a:pt x="6057" y="5522"/>
                  <a:pt x="6142" y="5403"/>
                  <a:pt x="6230" y="5266"/>
                </a:cubicBezTo>
                <a:cubicBezTo>
                  <a:pt x="6241" y="5248"/>
                  <a:pt x="6256" y="5237"/>
                  <a:pt x="6273" y="5231"/>
                </a:cubicBezTo>
                <a:cubicBezTo>
                  <a:pt x="6343" y="5207"/>
                  <a:pt x="6367" y="5146"/>
                  <a:pt x="6347" y="5047"/>
                </a:cubicBezTo>
                <a:cubicBezTo>
                  <a:pt x="6292" y="4801"/>
                  <a:pt x="6164" y="4638"/>
                  <a:pt x="5964" y="4556"/>
                </a:cubicBezTo>
                <a:cubicBezTo>
                  <a:pt x="5935" y="4544"/>
                  <a:pt x="5910" y="4527"/>
                  <a:pt x="5890" y="4503"/>
                </a:cubicBezTo>
                <a:cubicBezTo>
                  <a:pt x="5817" y="4427"/>
                  <a:pt x="5750" y="4316"/>
                  <a:pt x="5689" y="4170"/>
                </a:cubicBezTo>
                <a:cubicBezTo>
                  <a:pt x="5631" y="4018"/>
                  <a:pt x="5631" y="3869"/>
                  <a:pt x="5689" y="3723"/>
                </a:cubicBezTo>
                <a:cubicBezTo>
                  <a:pt x="5698" y="3697"/>
                  <a:pt x="5708" y="3673"/>
                  <a:pt x="5720" y="3653"/>
                </a:cubicBezTo>
                <a:cubicBezTo>
                  <a:pt x="5781" y="3551"/>
                  <a:pt x="5798" y="3431"/>
                  <a:pt x="5772" y="3294"/>
                </a:cubicBezTo>
                <a:cubicBezTo>
                  <a:pt x="5769" y="3276"/>
                  <a:pt x="5765" y="3258"/>
                  <a:pt x="5759" y="3241"/>
                </a:cubicBezTo>
                <a:cubicBezTo>
                  <a:pt x="5750" y="3215"/>
                  <a:pt x="5740" y="3197"/>
                  <a:pt x="5729" y="3188"/>
                </a:cubicBezTo>
                <a:cubicBezTo>
                  <a:pt x="5676" y="3159"/>
                  <a:pt x="5657" y="3106"/>
                  <a:pt x="5672" y="3030"/>
                </a:cubicBezTo>
                <a:cubicBezTo>
                  <a:pt x="5695" y="2914"/>
                  <a:pt x="5734" y="2810"/>
                  <a:pt x="5790" y="2719"/>
                </a:cubicBezTo>
                <a:cubicBezTo>
                  <a:pt x="5842" y="2629"/>
                  <a:pt x="5880" y="2510"/>
                  <a:pt x="5903" y="2364"/>
                </a:cubicBezTo>
                <a:cubicBezTo>
                  <a:pt x="5923" y="2242"/>
                  <a:pt x="5958" y="2126"/>
                  <a:pt x="6007" y="2018"/>
                </a:cubicBezTo>
                <a:cubicBezTo>
                  <a:pt x="6022" y="1989"/>
                  <a:pt x="6041" y="1964"/>
                  <a:pt x="6064" y="1943"/>
                </a:cubicBezTo>
                <a:cubicBezTo>
                  <a:pt x="6145" y="1873"/>
                  <a:pt x="6238" y="1792"/>
                  <a:pt x="6343" y="1698"/>
                </a:cubicBezTo>
                <a:cubicBezTo>
                  <a:pt x="6366" y="1678"/>
                  <a:pt x="6389" y="1657"/>
                  <a:pt x="6413" y="1637"/>
                </a:cubicBezTo>
                <a:cubicBezTo>
                  <a:pt x="6485" y="1564"/>
                  <a:pt x="6552" y="1470"/>
                  <a:pt x="6613" y="1356"/>
                </a:cubicBezTo>
                <a:cubicBezTo>
                  <a:pt x="6691" y="1207"/>
                  <a:pt x="6783" y="1080"/>
                  <a:pt x="6887" y="975"/>
                </a:cubicBezTo>
                <a:cubicBezTo>
                  <a:pt x="6992" y="864"/>
                  <a:pt x="7105" y="845"/>
                  <a:pt x="7227" y="918"/>
                </a:cubicBezTo>
                <a:cubicBezTo>
                  <a:pt x="7256" y="935"/>
                  <a:pt x="7275" y="940"/>
                  <a:pt x="7284" y="931"/>
                </a:cubicBezTo>
                <a:cubicBezTo>
                  <a:pt x="7423" y="802"/>
                  <a:pt x="7577" y="681"/>
                  <a:pt x="7746" y="567"/>
                </a:cubicBezTo>
                <a:cubicBezTo>
                  <a:pt x="7763" y="555"/>
                  <a:pt x="7780" y="548"/>
                  <a:pt x="7798" y="545"/>
                </a:cubicBezTo>
                <a:cubicBezTo>
                  <a:pt x="7862" y="534"/>
                  <a:pt x="7921" y="554"/>
                  <a:pt x="7976" y="607"/>
                </a:cubicBezTo>
                <a:cubicBezTo>
                  <a:pt x="8058" y="686"/>
                  <a:pt x="8142" y="762"/>
                  <a:pt x="8229" y="835"/>
                </a:cubicBezTo>
                <a:cubicBezTo>
                  <a:pt x="8244" y="820"/>
                  <a:pt x="8251" y="805"/>
                  <a:pt x="8251" y="791"/>
                </a:cubicBezTo>
                <a:cubicBezTo>
                  <a:pt x="8239" y="639"/>
                  <a:pt x="8289" y="534"/>
                  <a:pt x="8399" y="475"/>
                </a:cubicBezTo>
                <a:cubicBezTo>
                  <a:pt x="8416" y="466"/>
                  <a:pt x="8431" y="463"/>
                  <a:pt x="8443" y="466"/>
                </a:cubicBezTo>
                <a:cubicBezTo>
                  <a:pt x="8498" y="478"/>
                  <a:pt x="8556" y="491"/>
                  <a:pt x="8617" y="506"/>
                </a:cubicBezTo>
                <a:cubicBezTo>
                  <a:pt x="8707" y="526"/>
                  <a:pt x="8758" y="576"/>
                  <a:pt x="8769" y="655"/>
                </a:cubicBezTo>
                <a:cubicBezTo>
                  <a:pt x="8772" y="672"/>
                  <a:pt x="8782" y="684"/>
                  <a:pt x="8800" y="690"/>
                </a:cubicBezTo>
                <a:cubicBezTo>
                  <a:pt x="8846" y="707"/>
                  <a:pt x="8875" y="741"/>
                  <a:pt x="8887" y="791"/>
                </a:cubicBezTo>
                <a:cubicBezTo>
                  <a:pt x="8898" y="849"/>
                  <a:pt x="8925" y="894"/>
                  <a:pt x="8965" y="927"/>
                </a:cubicBezTo>
                <a:cubicBezTo>
                  <a:pt x="8983" y="938"/>
                  <a:pt x="9000" y="950"/>
                  <a:pt x="9018" y="962"/>
                </a:cubicBezTo>
                <a:cubicBezTo>
                  <a:pt x="9044" y="979"/>
                  <a:pt x="9071" y="989"/>
                  <a:pt x="9100" y="992"/>
                </a:cubicBezTo>
                <a:cubicBezTo>
                  <a:pt x="9246" y="1004"/>
                  <a:pt x="9391" y="1016"/>
                  <a:pt x="9536" y="1027"/>
                </a:cubicBezTo>
                <a:cubicBezTo>
                  <a:pt x="9565" y="1030"/>
                  <a:pt x="9595" y="1036"/>
                  <a:pt x="9627" y="1045"/>
                </a:cubicBezTo>
                <a:cubicBezTo>
                  <a:pt x="9654" y="1051"/>
                  <a:pt x="9677" y="1061"/>
                  <a:pt x="9697" y="1076"/>
                </a:cubicBezTo>
                <a:cubicBezTo>
                  <a:pt x="9816" y="1157"/>
                  <a:pt x="9911" y="1266"/>
                  <a:pt x="9980" y="1400"/>
                </a:cubicBezTo>
                <a:cubicBezTo>
                  <a:pt x="9989" y="1418"/>
                  <a:pt x="10002" y="1429"/>
                  <a:pt x="10019" y="1435"/>
                </a:cubicBezTo>
                <a:cubicBezTo>
                  <a:pt x="10130" y="1473"/>
                  <a:pt x="10226" y="1539"/>
                  <a:pt x="10307" y="1632"/>
                </a:cubicBezTo>
                <a:cubicBezTo>
                  <a:pt x="10380" y="1714"/>
                  <a:pt x="10442" y="1726"/>
                  <a:pt x="10494" y="1667"/>
                </a:cubicBezTo>
                <a:cubicBezTo>
                  <a:pt x="10509" y="1653"/>
                  <a:pt x="10525" y="1643"/>
                  <a:pt x="10542" y="1637"/>
                </a:cubicBezTo>
                <a:cubicBezTo>
                  <a:pt x="10664" y="1596"/>
                  <a:pt x="10763" y="1546"/>
                  <a:pt x="10838" y="1488"/>
                </a:cubicBezTo>
                <a:cubicBezTo>
                  <a:pt x="10856" y="1476"/>
                  <a:pt x="10872" y="1469"/>
                  <a:pt x="10886" y="1466"/>
                </a:cubicBezTo>
                <a:cubicBezTo>
                  <a:pt x="11017" y="1454"/>
                  <a:pt x="11148" y="1442"/>
                  <a:pt x="11278" y="1431"/>
                </a:cubicBezTo>
                <a:cubicBezTo>
                  <a:pt x="11308" y="1428"/>
                  <a:pt x="11338" y="1423"/>
                  <a:pt x="11370" y="1418"/>
                </a:cubicBezTo>
                <a:cubicBezTo>
                  <a:pt x="11411" y="1409"/>
                  <a:pt x="11451" y="1400"/>
                  <a:pt x="11492" y="1391"/>
                </a:cubicBezTo>
                <a:cubicBezTo>
                  <a:pt x="11631" y="1365"/>
                  <a:pt x="11762" y="1336"/>
                  <a:pt x="11884" y="1304"/>
                </a:cubicBezTo>
                <a:cubicBezTo>
                  <a:pt x="12026" y="1271"/>
                  <a:pt x="12156" y="1200"/>
                  <a:pt x="12272" y="1089"/>
                </a:cubicBezTo>
                <a:cubicBezTo>
                  <a:pt x="12347" y="1013"/>
                  <a:pt x="12452" y="985"/>
                  <a:pt x="12585" y="1005"/>
                </a:cubicBezTo>
                <a:cubicBezTo>
                  <a:pt x="12614" y="1008"/>
                  <a:pt x="12632" y="1016"/>
                  <a:pt x="12638" y="1027"/>
                </a:cubicBezTo>
                <a:cubicBezTo>
                  <a:pt x="12707" y="1156"/>
                  <a:pt x="12835" y="1214"/>
                  <a:pt x="13021" y="1203"/>
                </a:cubicBezTo>
                <a:cubicBezTo>
                  <a:pt x="13166" y="1191"/>
                  <a:pt x="13311" y="1179"/>
                  <a:pt x="13457" y="1168"/>
                </a:cubicBezTo>
                <a:cubicBezTo>
                  <a:pt x="13654" y="1153"/>
                  <a:pt x="13857" y="1150"/>
                  <a:pt x="14066" y="1159"/>
                </a:cubicBezTo>
                <a:cubicBezTo>
                  <a:pt x="14168" y="1162"/>
                  <a:pt x="14270" y="1169"/>
                  <a:pt x="14371" y="1181"/>
                </a:cubicBezTo>
                <a:cubicBezTo>
                  <a:pt x="14400" y="1184"/>
                  <a:pt x="14422" y="1178"/>
                  <a:pt x="14437" y="1163"/>
                </a:cubicBezTo>
                <a:cubicBezTo>
                  <a:pt x="14475" y="1128"/>
                  <a:pt x="14540" y="1118"/>
                  <a:pt x="14633" y="1133"/>
                </a:cubicBezTo>
                <a:cubicBezTo>
                  <a:pt x="14676" y="1138"/>
                  <a:pt x="14718" y="1136"/>
                  <a:pt x="14759" y="1124"/>
                </a:cubicBezTo>
                <a:cubicBezTo>
                  <a:pt x="14806" y="1106"/>
                  <a:pt x="14851" y="1083"/>
                  <a:pt x="14894" y="1054"/>
                </a:cubicBezTo>
                <a:cubicBezTo>
                  <a:pt x="14938" y="1024"/>
                  <a:pt x="14978" y="992"/>
                  <a:pt x="15016" y="957"/>
                </a:cubicBezTo>
                <a:close/>
                <a:moveTo>
                  <a:pt x="15016" y="957"/>
                </a:moveTo>
              </a:path>
            </a:pathLst>
          </a:custGeom>
          <a:solidFill>
            <a:schemeClr val="bg1">
              <a:lumMod val="75000"/>
            </a:schemeClr>
          </a:solidFill>
          <a:ln>
            <a:solidFill>
              <a:schemeClr val="bg1"/>
            </a:solid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17" name="AutoShape 6"/>
          <p:cNvSpPr>
            <a:spLocks/>
          </p:cNvSpPr>
          <p:nvPr/>
        </p:nvSpPr>
        <p:spPr bwMode="auto">
          <a:xfrm>
            <a:off x="5523778" y="3377911"/>
            <a:ext cx="1224675" cy="1401873"/>
          </a:xfrm>
          <a:custGeom>
            <a:avLst/>
            <a:gdLst/>
            <a:ahLst/>
            <a:cxnLst/>
            <a:rect l="0" t="0" r="r" b="b"/>
            <a:pathLst>
              <a:path w="21575" h="21589">
                <a:moveTo>
                  <a:pt x="3177" y="6034"/>
                </a:moveTo>
                <a:cubicBezTo>
                  <a:pt x="3201" y="6047"/>
                  <a:pt x="3215" y="6067"/>
                  <a:pt x="3218" y="6093"/>
                </a:cubicBezTo>
                <a:cubicBezTo>
                  <a:pt x="3239" y="6277"/>
                  <a:pt x="3188" y="6408"/>
                  <a:pt x="3065" y="6488"/>
                </a:cubicBezTo>
                <a:cubicBezTo>
                  <a:pt x="3059" y="6492"/>
                  <a:pt x="3053" y="6496"/>
                  <a:pt x="3047" y="6500"/>
                </a:cubicBezTo>
                <a:cubicBezTo>
                  <a:pt x="3000" y="6527"/>
                  <a:pt x="2943" y="6547"/>
                  <a:pt x="2876" y="6561"/>
                </a:cubicBezTo>
                <a:cubicBezTo>
                  <a:pt x="2801" y="6576"/>
                  <a:pt x="2726" y="6588"/>
                  <a:pt x="2651" y="6596"/>
                </a:cubicBezTo>
                <a:cubicBezTo>
                  <a:pt x="2583" y="6601"/>
                  <a:pt x="2520" y="6628"/>
                  <a:pt x="2463" y="6675"/>
                </a:cubicBezTo>
                <a:cubicBezTo>
                  <a:pt x="2322" y="6798"/>
                  <a:pt x="2177" y="6908"/>
                  <a:pt x="2027" y="7005"/>
                </a:cubicBezTo>
                <a:cubicBezTo>
                  <a:pt x="1994" y="7026"/>
                  <a:pt x="1960" y="7042"/>
                  <a:pt x="1924" y="7052"/>
                </a:cubicBezTo>
                <a:cubicBezTo>
                  <a:pt x="1759" y="7099"/>
                  <a:pt x="1674" y="7068"/>
                  <a:pt x="1668" y="6958"/>
                </a:cubicBezTo>
                <a:cubicBezTo>
                  <a:pt x="1662" y="6840"/>
                  <a:pt x="1689" y="6747"/>
                  <a:pt x="1749" y="6679"/>
                </a:cubicBezTo>
                <a:cubicBezTo>
                  <a:pt x="1853" y="6561"/>
                  <a:pt x="1973" y="6456"/>
                  <a:pt x="2108" y="6364"/>
                </a:cubicBezTo>
                <a:cubicBezTo>
                  <a:pt x="2126" y="6354"/>
                  <a:pt x="2138" y="6341"/>
                  <a:pt x="2144" y="6325"/>
                </a:cubicBezTo>
                <a:cubicBezTo>
                  <a:pt x="2153" y="6301"/>
                  <a:pt x="2160" y="6276"/>
                  <a:pt x="2166" y="6250"/>
                </a:cubicBezTo>
                <a:cubicBezTo>
                  <a:pt x="2199" y="6106"/>
                  <a:pt x="2258" y="5990"/>
                  <a:pt x="2342" y="5901"/>
                </a:cubicBezTo>
                <a:cubicBezTo>
                  <a:pt x="2354" y="5885"/>
                  <a:pt x="2368" y="5873"/>
                  <a:pt x="2386" y="5865"/>
                </a:cubicBezTo>
                <a:cubicBezTo>
                  <a:pt x="2516" y="5799"/>
                  <a:pt x="2646" y="5755"/>
                  <a:pt x="2777" y="5734"/>
                </a:cubicBezTo>
                <a:cubicBezTo>
                  <a:pt x="2830" y="5759"/>
                  <a:pt x="2866" y="5798"/>
                  <a:pt x="2885" y="5853"/>
                </a:cubicBezTo>
                <a:cubicBezTo>
                  <a:pt x="2894" y="5882"/>
                  <a:pt x="2908" y="5898"/>
                  <a:pt x="2926" y="5901"/>
                </a:cubicBezTo>
                <a:cubicBezTo>
                  <a:pt x="3003" y="5906"/>
                  <a:pt x="3051" y="5929"/>
                  <a:pt x="3069" y="5971"/>
                </a:cubicBezTo>
                <a:cubicBezTo>
                  <a:pt x="3075" y="5987"/>
                  <a:pt x="3087" y="5997"/>
                  <a:pt x="3105" y="6003"/>
                </a:cubicBezTo>
                <a:cubicBezTo>
                  <a:pt x="3132" y="6011"/>
                  <a:pt x="3156" y="6021"/>
                  <a:pt x="3177" y="6034"/>
                </a:cubicBezTo>
                <a:close/>
                <a:moveTo>
                  <a:pt x="9343" y="69"/>
                </a:moveTo>
                <a:cubicBezTo>
                  <a:pt x="9390" y="60"/>
                  <a:pt x="9437" y="53"/>
                  <a:pt x="9485" y="49"/>
                </a:cubicBezTo>
                <a:cubicBezTo>
                  <a:pt x="9574" y="41"/>
                  <a:pt x="9663" y="32"/>
                  <a:pt x="9750" y="22"/>
                </a:cubicBezTo>
                <a:cubicBezTo>
                  <a:pt x="9768" y="19"/>
                  <a:pt x="9786" y="17"/>
                  <a:pt x="9804" y="14"/>
                </a:cubicBezTo>
                <a:cubicBezTo>
                  <a:pt x="9902" y="-7"/>
                  <a:pt x="9979" y="-4"/>
                  <a:pt x="10033" y="22"/>
                </a:cubicBezTo>
                <a:cubicBezTo>
                  <a:pt x="10057" y="32"/>
                  <a:pt x="10084" y="37"/>
                  <a:pt x="10114" y="37"/>
                </a:cubicBezTo>
                <a:cubicBezTo>
                  <a:pt x="10218" y="37"/>
                  <a:pt x="10320" y="48"/>
                  <a:pt x="10419" y="69"/>
                </a:cubicBezTo>
                <a:cubicBezTo>
                  <a:pt x="10440" y="74"/>
                  <a:pt x="10463" y="86"/>
                  <a:pt x="10487" y="104"/>
                </a:cubicBezTo>
                <a:cubicBezTo>
                  <a:pt x="10552" y="151"/>
                  <a:pt x="10621" y="196"/>
                  <a:pt x="10693" y="238"/>
                </a:cubicBezTo>
                <a:cubicBezTo>
                  <a:pt x="10711" y="248"/>
                  <a:pt x="10729" y="256"/>
                  <a:pt x="10747" y="261"/>
                </a:cubicBezTo>
                <a:cubicBezTo>
                  <a:pt x="11005" y="356"/>
                  <a:pt x="11192" y="493"/>
                  <a:pt x="11309" y="674"/>
                </a:cubicBezTo>
                <a:cubicBezTo>
                  <a:pt x="11321" y="695"/>
                  <a:pt x="11331" y="717"/>
                  <a:pt x="11340" y="741"/>
                </a:cubicBezTo>
                <a:cubicBezTo>
                  <a:pt x="11346" y="757"/>
                  <a:pt x="11354" y="772"/>
                  <a:pt x="11362" y="788"/>
                </a:cubicBezTo>
                <a:cubicBezTo>
                  <a:pt x="11384" y="838"/>
                  <a:pt x="11413" y="878"/>
                  <a:pt x="11452" y="910"/>
                </a:cubicBezTo>
                <a:cubicBezTo>
                  <a:pt x="11473" y="931"/>
                  <a:pt x="11496" y="950"/>
                  <a:pt x="11520" y="969"/>
                </a:cubicBezTo>
                <a:cubicBezTo>
                  <a:pt x="11541" y="990"/>
                  <a:pt x="11565" y="1009"/>
                  <a:pt x="11592" y="1028"/>
                </a:cubicBezTo>
                <a:cubicBezTo>
                  <a:pt x="11634" y="1054"/>
                  <a:pt x="11695" y="1071"/>
                  <a:pt x="11776" y="1079"/>
                </a:cubicBezTo>
                <a:cubicBezTo>
                  <a:pt x="11791" y="1079"/>
                  <a:pt x="11807" y="1083"/>
                  <a:pt x="11825" y="1091"/>
                </a:cubicBezTo>
                <a:cubicBezTo>
                  <a:pt x="11969" y="1146"/>
                  <a:pt x="12108" y="1249"/>
                  <a:pt x="12243" y="1401"/>
                </a:cubicBezTo>
                <a:cubicBezTo>
                  <a:pt x="12261" y="1422"/>
                  <a:pt x="12285" y="1440"/>
                  <a:pt x="12315" y="1456"/>
                </a:cubicBezTo>
                <a:cubicBezTo>
                  <a:pt x="12420" y="1514"/>
                  <a:pt x="12520" y="1570"/>
                  <a:pt x="12616" y="1625"/>
                </a:cubicBezTo>
                <a:cubicBezTo>
                  <a:pt x="12640" y="1641"/>
                  <a:pt x="12659" y="1662"/>
                  <a:pt x="12674" y="1688"/>
                </a:cubicBezTo>
                <a:cubicBezTo>
                  <a:pt x="12749" y="1822"/>
                  <a:pt x="12847" y="1946"/>
                  <a:pt x="12966" y="2061"/>
                </a:cubicBezTo>
                <a:cubicBezTo>
                  <a:pt x="12981" y="2074"/>
                  <a:pt x="12993" y="2093"/>
                  <a:pt x="13002" y="2116"/>
                </a:cubicBezTo>
                <a:cubicBezTo>
                  <a:pt x="13008" y="2132"/>
                  <a:pt x="13014" y="2148"/>
                  <a:pt x="13020" y="2164"/>
                </a:cubicBezTo>
                <a:cubicBezTo>
                  <a:pt x="13029" y="2200"/>
                  <a:pt x="13038" y="2237"/>
                  <a:pt x="13047" y="2274"/>
                </a:cubicBezTo>
                <a:cubicBezTo>
                  <a:pt x="13053" y="2302"/>
                  <a:pt x="13058" y="2330"/>
                  <a:pt x="13061" y="2356"/>
                </a:cubicBezTo>
                <a:cubicBezTo>
                  <a:pt x="13073" y="2435"/>
                  <a:pt x="13073" y="2512"/>
                  <a:pt x="13061" y="2588"/>
                </a:cubicBezTo>
                <a:cubicBezTo>
                  <a:pt x="13058" y="2604"/>
                  <a:pt x="13056" y="2618"/>
                  <a:pt x="13056" y="2631"/>
                </a:cubicBezTo>
                <a:cubicBezTo>
                  <a:pt x="13047" y="2702"/>
                  <a:pt x="13031" y="2757"/>
                  <a:pt x="13007" y="2796"/>
                </a:cubicBezTo>
                <a:cubicBezTo>
                  <a:pt x="12995" y="2817"/>
                  <a:pt x="12987" y="2841"/>
                  <a:pt x="12984" y="2867"/>
                </a:cubicBezTo>
                <a:cubicBezTo>
                  <a:pt x="12972" y="2932"/>
                  <a:pt x="12954" y="2997"/>
                  <a:pt x="12930" y="3059"/>
                </a:cubicBezTo>
                <a:cubicBezTo>
                  <a:pt x="12924" y="3075"/>
                  <a:pt x="12920" y="3091"/>
                  <a:pt x="12917" y="3107"/>
                </a:cubicBezTo>
                <a:cubicBezTo>
                  <a:pt x="12905" y="3169"/>
                  <a:pt x="12905" y="3232"/>
                  <a:pt x="12917" y="3295"/>
                </a:cubicBezTo>
                <a:cubicBezTo>
                  <a:pt x="12920" y="3324"/>
                  <a:pt x="12927" y="3352"/>
                  <a:pt x="12939" y="3378"/>
                </a:cubicBezTo>
                <a:cubicBezTo>
                  <a:pt x="13023" y="3559"/>
                  <a:pt x="13158" y="3745"/>
                  <a:pt x="13344" y="3936"/>
                </a:cubicBezTo>
                <a:cubicBezTo>
                  <a:pt x="13380" y="3972"/>
                  <a:pt x="13419" y="4020"/>
                  <a:pt x="13461" y="4077"/>
                </a:cubicBezTo>
                <a:cubicBezTo>
                  <a:pt x="13476" y="4098"/>
                  <a:pt x="13496" y="4118"/>
                  <a:pt x="13523" y="4136"/>
                </a:cubicBezTo>
                <a:cubicBezTo>
                  <a:pt x="13661" y="4233"/>
                  <a:pt x="13798" y="4293"/>
                  <a:pt x="13932" y="4317"/>
                </a:cubicBezTo>
                <a:cubicBezTo>
                  <a:pt x="13998" y="4330"/>
                  <a:pt x="14036" y="4372"/>
                  <a:pt x="14045" y="4443"/>
                </a:cubicBezTo>
                <a:cubicBezTo>
                  <a:pt x="14045" y="4456"/>
                  <a:pt x="14052" y="4469"/>
                  <a:pt x="14067" y="4482"/>
                </a:cubicBezTo>
                <a:cubicBezTo>
                  <a:pt x="14184" y="4579"/>
                  <a:pt x="14254" y="4684"/>
                  <a:pt x="14278" y="4796"/>
                </a:cubicBezTo>
                <a:cubicBezTo>
                  <a:pt x="14299" y="4885"/>
                  <a:pt x="14295" y="4954"/>
                  <a:pt x="14265" y="5001"/>
                </a:cubicBezTo>
                <a:cubicBezTo>
                  <a:pt x="14253" y="5022"/>
                  <a:pt x="14248" y="5045"/>
                  <a:pt x="14251" y="5071"/>
                </a:cubicBezTo>
                <a:cubicBezTo>
                  <a:pt x="14263" y="5137"/>
                  <a:pt x="14322" y="5170"/>
                  <a:pt x="14426" y="5170"/>
                </a:cubicBezTo>
                <a:cubicBezTo>
                  <a:pt x="14441" y="5170"/>
                  <a:pt x="14455" y="5178"/>
                  <a:pt x="14467" y="5193"/>
                </a:cubicBezTo>
                <a:cubicBezTo>
                  <a:pt x="14521" y="5248"/>
                  <a:pt x="14557" y="5311"/>
                  <a:pt x="14575" y="5382"/>
                </a:cubicBezTo>
                <a:cubicBezTo>
                  <a:pt x="14581" y="5411"/>
                  <a:pt x="14596" y="5433"/>
                  <a:pt x="14620" y="5449"/>
                </a:cubicBezTo>
                <a:cubicBezTo>
                  <a:pt x="14673" y="5488"/>
                  <a:pt x="14739" y="5536"/>
                  <a:pt x="14817" y="5594"/>
                </a:cubicBezTo>
                <a:cubicBezTo>
                  <a:pt x="14859" y="5625"/>
                  <a:pt x="14909" y="5640"/>
                  <a:pt x="14966" y="5637"/>
                </a:cubicBezTo>
                <a:cubicBezTo>
                  <a:pt x="15031" y="5635"/>
                  <a:pt x="15067" y="5669"/>
                  <a:pt x="15073" y="5739"/>
                </a:cubicBezTo>
                <a:cubicBezTo>
                  <a:pt x="15082" y="5844"/>
                  <a:pt x="15067" y="5937"/>
                  <a:pt x="15028" y="6018"/>
                </a:cubicBezTo>
                <a:cubicBezTo>
                  <a:pt x="15016" y="6042"/>
                  <a:pt x="15006" y="6066"/>
                  <a:pt x="14997" y="6089"/>
                </a:cubicBezTo>
                <a:cubicBezTo>
                  <a:pt x="14991" y="6105"/>
                  <a:pt x="14981" y="6119"/>
                  <a:pt x="14966" y="6132"/>
                </a:cubicBezTo>
                <a:cubicBezTo>
                  <a:pt x="14909" y="6193"/>
                  <a:pt x="14912" y="6240"/>
                  <a:pt x="14975" y="6274"/>
                </a:cubicBezTo>
                <a:cubicBezTo>
                  <a:pt x="14999" y="6284"/>
                  <a:pt x="15025" y="6290"/>
                  <a:pt x="15055" y="6290"/>
                </a:cubicBezTo>
                <a:cubicBezTo>
                  <a:pt x="15232" y="6287"/>
                  <a:pt x="15355" y="6324"/>
                  <a:pt x="15424" y="6400"/>
                </a:cubicBezTo>
                <a:cubicBezTo>
                  <a:pt x="15508" y="6494"/>
                  <a:pt x="15553" y="6614"/>
                  <a:pt x="15559" y="6761"/>
                </a:cubicBezTo>
                <a:cubicBezTo>
                  <a:pt x="15562" y="6845"/>
                  <a:pt x="15602" y="6901"/>
                  <a:pt x="15680" y="6930"/>
                </a:cubicBezTo>
                <a:cubicBezTo>
                  <a:pt x="15698" y="6935"/>
                  <a:pt x="15714" y="6938"/>
                  <a:pt x="15729" y="6938"/>
                </a:cubicBezTo>
                <a:cubicBezTo>
                  <a:pt x="15810" y="6946"/>
                  <a:pt x="15873" y="6963"/>
                  <a:pt x="15918" y="6989"/>
                </a:cubicBezTo>
                <a:cubicBezTo>
                  <a:pt x="16017" y="7047"/>
                  <a:pt x="16099" y="7121"/>
                  <a:pt x="16165" y="7213"/>
                </a:cubicBezTo>
                <a:cubicBezTo>
                  <a:pt x="16174" y="7226"/>
                  <a:pt x="16193" y="7234"/>
                  <a:pt x="16223" y="7237"/>
                </a:cubicBezTo>
                <a:cubicBezTo>
                  <a:pt x="16367" y="7245"/>
                  <a:pt x="16483" y="7213"/>
                  <a:pt x="16569" y="7142"/>
                </a:cubicBezTo>
                <a:cubicBezTo>
                  <a:pt x="16608" y="7111"/>
                  <a:pt x="16656" y="7085"/>
                  <a:pt x="16713" y="7064"/>
                </a:cubicBezTo>
                <a:cubicBezTo>
                  <a:pt x="16836" y="7019"/>
                  <a:pt x="16954" y="6954"/>
                  <a:pt x="17068" y="6867"/>
                </a:cubicBezTo>
                <a:cubicBezTo>
                  <a:pt x="17197" y="6770"/>
                  <a:pt x="17320" y="6683"/>
                  <a:pt x="17436" y="6604"/>
                </a:cubicBezTo>
                <a:cubicBezTo>
                  <a:pt x="17529" y="6538"/>
                  <a:pt x="17637" y="6477"/>
                  <a:pt x="17760" y="6419"/>
                </a:cubicBezTo>
                <a:cubicBezTo>
                  <a:pt x="17820" y="6390"/>
                  <a:pt x="17865" y="6349"/>
                  <a:pt x="17895" y="6294"/>
                </a:cubicBezTo>
                <a:cubicBezTo>
                  <a:pt x="17919" y="6252"/>
                  <a:pt x="17961" y="6223"/>
                  <a:pt x="18020" y="6207"/>
                </a:cubicBezTo>
                <a:cubicBezTo>
                  <a:pt x="18161" y="6165"/>
                  <a:pt x="18310" y="6135"/>
                  <a:pt x="18465" y="6117"/>
                </a:cubicBezTo>
                <a:cubicBezTo>
                  <a:pt x="18483" y="6114"/>
                  <a:pt x="18500" y="6106"/>
                  <a:pt x="18515" y="6093"/>
                </a:cubicBezTo>
                <a:cubicBezTo>
                  <a:pt x="18607" y="6012"/>
                  <a:pt x="18709" y="5943"/>
                  <a:pt x="18820" y="5885"/>
                </a:cubicBezTo>
                <a:cubicBezTo>
                  <a:pt x="18886" y="5851"/>
                  <a:pt x="18964" y="5836"/>
                  <a:pt x="19054" y="5842"/>
                </a:cubicBezTo>
                <a:cubicBezTo>
                  <a:pt x="19210" y="5852"/>
                  <a:pt x="19358" y="5874"/>
                  <a:pt x="19498" y="5908"/>
                </a:cubicBezTo>
                <a:cubicBezTo>
                  <a:pt x="19516" y="5914"/>
                  <a:pt x="19534" y="5919"/>
                  <a:pt x="19552" y="5924"/>
                </a:cubicBezTo>
                <a:cubicBezTo>
                  <a:pt x="19672" y="5950"/>
                  <a:pt x="19755" y="5996"/>
                  <a:pt x="19799" y="6062"/>
                </a:cubicBezTo>
                <a:cubicBezTo>
                  <a:pt x="19811" y="6083"/>
                  <a:pt x="19817" y="6106"/>
                  <a:pt x="19817" y="6132"/>
                </a:cubicBezTo>
                <a:cubicBezTo>
                  <a:pt x="19820" y="6279"/>
                  <a:pt x="19864" y="6411"/>
                  <a:pt x="19948" y="6529"/>
                </a:cubicBezTo>
                <a:cubicBezTo>
                  <a:pt x="19966" y="6553"/>
                  <a:pt x="19976" y="6578"/>
                  <a:pt x="19979" y="6604"/>
                </a:cubicBezTo>
                <a:cubicBezTo>
                  <a:pt x="19991" y="6696"/>
                  <a:pt x="19991" y="6787"/>
                  <a:pt x="19979" y="6879"/>
                </a:cubicBezTo>
                <a:cubicBezTo>
                  <a:pt x="19973" y="6937"/>
                  <a:pt x="19988" y="6973"/>
                  <a:pt x="20024" y="6989"/>
                </a:cubicBezTo>
                <a:cubicBezTo>
                  <a:pt x="20036" y="6994"/>
                  <a:pt x="20039" y="7010"/>
                  <a:pt x="20033" y="7036"/>
                </a:cubicBezTo>
                <a:cubicBezTo>
                  <a:pt x="20003" y="7165"/>
                  <a:pt x="20051" y="7235"/>
                  <a:pt x="20177" y="7248"/>
                </a:cubicBezTo>
                <a:cubicBezTo>
                  <a:pt x="20207" y="7251"/>
                  <a:pt x="20231" y="7263"/>
                  <a:pt x="20249" y="7284"/>
                </a:cubicBezTo>
                <a:cubicBezTo>
                  <a:pt x="20285" y="7321"/>
                  <a:pt x="20351" y="7336"/>
                  <a:pt x="20446" y="7331"/>
                </a:cubicBezTo>
                <a:cubicBezTo>
                  <a:pt x="20461" y="7331"/>
                  <a:pt x="20478" y="7332"/>
                  <a:pt x="20496" y="7335"/>
                </a:cubicBezTo>
                <a:cubicBezTo>
                  <a:pt x="20568" y="7345"/>
                  <a:pt x="20626" y="7390"/>
                  <a:pt x="20671" y="7469"/>
                </a:cubicBezTo>
                <a:cubicBezTo>
                  <a:pt x="20722" y="7560"/>
                  <a:pt x="20743" y="7665"/>
                  <a:pt x="20734" y="7783"/>
                </a:cubicBezTo>
                <a:cubicBezTo>
                  <a:pt x="20722" y="7940"/>
                  <a:pt x="20717" y="8097"/>
                  <a:pt x="20720" y="8254"/>
                </a:cubicBezTo>
                <a:cubicBezTo>
                  <a:pt x="20722" y="8297"/>
                  <a:pt x="20726" y="8338"/>
                  <a:pt x="20732" y="8378"/>
                </a:cubicBezTo>
                <a:cubicBezTo>
                  <a:pt x="20807" y="8437"/>
                  <a:pt x="20877" y="8501"/>
                  <a:pt x="20941" y="8569"/>
                </a:cubicBezTo>
                <a:cubicBezTo>
                  <a:pt x="21027" y="8666"/>
                  <a:pt x="21120" y="8740"/>
                  <a:pt x="21219" y="8793"/>
                </a:cubicBezTo>
                <a:cubicBezTo>
                  <a:pt x="21258" y="8814"/>
                  <a:pt x="21299" y="8833"/>
                  <a:pt x="21340" y="8852"/>
                </a:cubicBezTo>
                <a:cubicBezTo>
                  <a:pt x="21388" y="8873"/>
                  <a:pt x="21436" y="8895"/>
                  <a:pt x="21484" y="8919"/>
                </a:cubicBezTo>
                <a:cubicBezTo>
                  <a:pt x="21532" y="8942"/>
                  <a:pt x="21555" y="8996"/>
                  <a:pt x="21552" y="9080"/>
                </a:cubicBezTo>
                <a:cubicBezTo>
                  <a:pt x="21549" y="9106"/>
                  <a:pt x="21553" y="9132"/>
                  <a:pt x="21565" y="9158"/>
                </a:cubicBezTo>
                <a:cubicBezTo>
                  <a:pt x="21583" y="9208"/>
                  <a:pt x="21577" y="9251"/>
                  <a:pt x="21547" y="9288"/>
                </a:cubicBezTo>
                <a:cubicBezTo>
                  <a:pt x="21532" y="9306"/>
                  <a:pt x="21519" y="9326"/>
                  <a:pt x="21507" y="9347"/>
                </a:cubicBezTo>
                <a:cubicBezTo>
                  <a:pt x="21486" y="9391"/>
                  <a:pt x="21447" y="9414"/>
                  <a:pt x="21390" y="9414"/>
                </a:cubicBezTo>
                <a:cubicBezTo>
                  <a:pt x="21360" y="9414"/>
                  <a:pt x="21328" y="9416"/>
                  <a:pt x="21296" y="9422"/>
                </a:cubicBezTo>
                <a:cubicBezTo>
                  <a:pt x="21224" y="9429"/>
                  <a:pt x="21150" y="9433"/>
                  <a:pt x="21075" y="9433"/>
                </a:cubicBezTo>
                <a:cubicBezTo>
                  <a:pt x="20956" y="9433"/>
                  <a:pt x="20905" y="9499"/>
                  <a:pt x="20923" y="9630"/>
                </a:cubicBezTo>
                <a:cubicBezTo>
                  <a:pt x="20935" y="9708"/>
                  <a:pt x="20947" y="9787"/>
                  <a:pt x="20959" y="9866"/>
                </a:cubicBezTo>
                <a:cubicBezTo>
                  <a:pt x="20962" y="9892"/>
                  <a:pt x="20965" y="9918"/>
                  <a:pt x="20968" y="9944"/>
                </a:cubicBezTo>
                <a:cubicBezTo>
                  <a:pt x="20998" y="10133"/>
                  <a:pt x="20944" y="10252"/>
                  <a:pt x="20806" y="10302"/>
                </a:cubicBezTo>
                <a:cubicBezTo>
                  <a:pt x="20776" y="10312"/>
                  <a:pt x="20747" y="10325"/>
                  <a:pt x="20720" y="10341"/>
                </a:cubicBezTo>
                <a:cubicBezTo>
                  <a:pt x="20703" y="10352"/>
                  <a:pt x="20685" y="10358"/>
                  <a:pt x="20667" y="10361"/>
                </a:cubicBezTo>
                <a:cubicBezTo>
                  <a:pt x="20538" y="10387"/>
                  <a:pt x="20442" y="10441"/>
                  <a:pt x="20379" y="10522"/>
                </a:cubicBezTo>
                <a:cubicBezTo>
                  <a:pt x="20364" y="10543"/>
                  <a:pt x="20340" y="10556"/>
                  <a:pt x="20307" y="10561"/>
                </a:cubicBezTo>
                <a:cubicBezTo>
                  <a:pt x="20235" y="10569"/>
                  <a:pt x="20162" y="10573"/>
                  <a:pt x="20087" y="10573"/>
                </a:cubicBezTo>
                <a:cubicBezTo>
                  <a:pt x="19934" y="10570"/>
                  <a:pt x="19880" y="10648"/>
                  <a:pt x="19925" y="10805"/>
                </a:cubicBezTo>
                <a:cubicBezTo>
                  <a:pt x="19928" y="10821"/>
                  <a:pt x="19937" y="10834"/>
                  <a:pt x="19952" y="10844"/>
                </a:cubicBezTo>
                <a:cubicBezTo>
                  <a:pt x="20057" y="10920"/>
                  <a:pt x="20138" y="10980"/>
                  <a:pt x="20195" y="11025"/>
                </a:cubicBezTo>
                <a:cubicBezTo>
                  <a:pt x="20213" y="11038"/>
                  <a:pt x="20235" y="11048"/>
                  <a:pt x="20262" y="11056"/>
                </a:cubicBezTo>
                <a:cubicBezTo>
                  <a:pt x="20280" y="11062"/>
                  <a:pt x="20298" y="11069"/>
                  <a:pt x="20316" y="11080"/>
                </a:cubicBezTo>
                <a:cubicBezTo>
                  <a:pt x="20318" y="11081"/>
                  <a:pt x="20321" y="11082"/>
                  <a:pt x="20323" y="11084"/>
                </a:cubicBezTo>
                <a:cubicBezTo>
                  <a:pt x="20431" y="11150"/>
                  <a:pt x="20448" y="11257"/>
                  <a:pt x="20374" y="11406"/>
                </a:cubicBezTo>
                <a:cubicBezTo>
                  <a:pt x="20363" y="11427"/>
                  <a:pt x="20357" y="11451"/>
                  <a:pt x="20357" y="11477"/>
                </a:cubicBezTo>
                <a:cubicBezTo>
                  <a:pt x="20348" y="11621"/>
                  <a:pt x="20403" y="11731"/>
                  <a:pt x="20523" y="11807"/>
                </a:cubicBezTo>
                <a:cubicBezTo>
                  <a:pt x="20547" y="11823"/>
                  <a:pt x="20568" y="11842"/>
                  <a:pt x="20586" y="11866"/>
                </a:cubicBezTo>
                <a:cubicBezTo>
                  <a:pt x="20652" y="11960"/>
                  <a:pt x="20678" y="12066"/>
                  <a:pt x="20667" y="12184"/>
                </a:cubicBezTo>
                <a:cubicBezTo>
                  <a:pt x="20655" y="12263"/>
                  <a:pt x="20598" y="12319"/>
                  <a:pt x="20496" y="12353"/>
                </a:cubicBezTo>
                <a:cubicBezTo>
                  <a:pt x="20479" y="12358"/>
                  <a:pt x="20463" y="12362"/>
                  <a:pt x="20446" y="12365"/>
                </a:cubicBezTo>
                <a:cubicBezTo>
                  <a:pt x="20445" y="12365"/>
                  <a:pt x="20443" y="12365"/>
                  <a:pt x="20442" y="12365"/>
                </a:cubicBezTo>
                <a:cubicBezTo>
                  <a:pt x="20370" y="12375"/>
                  <a:pt x="20297" y="12385"/>
                  <a:pt x="20222" y="12392"/>
                </a:cubicBezTo>
                <a:cubicBezTo>
                  <a:pt x="20177" y="12398"/>
                  <a:pt x="20132" y="12402"/>
                  <a:pt x="20087" y="12404"/>
                </a:cubicBezTo>
                <a:cubicBezTo>
                  <a:pt x="19949" y="12412"/>
                  <a:pt x="19852" y="12453"/>
                  <a:pt x="19795" y="12526"/>
                </a:cubicBezTo>
                <a:cubicBezTo>
                  <a:pt x="19780" y="12547"/>
                  <a:pt x="19758" y="12563"/>
                  <a:pt x="19728" y="12573"/>
                </a:cubicBezTo>
                <a:cubicBezTo>
                  <a:pt x="19623" y="12602"/>
                  <a:pt x="19518" y="12616"/>
                  <a:pt x="19413" y="12616"/>
                </a:cubicBezTo>
                <a:lnTo>
                  <a:pt x="19395" y="12585"/>
                </a:lnTo>
                <a:cubicBezTo>
                  <a:pt x="19329" y="12475"/>
                  <a:pt x="19272" y="12369"/>
                  <a:pt x="19224" y="12267"/>
                </a:cubicBezTo>
                <a:cubicBezTo>
                  <a:pt x="19173" y="12157"/>
                  <a:pt x="19097" y="12069"/>
                  <a:pt x="18995" y="12003"/>
                </a:cubicBezTo>
                <a:cubicBezTo>
                  <a:pt x="18959" y="11980"/>
                  <a:pt x="18923" y="11956"/>
                  <a:pt x="18888" y="11933"/>
                </a:cubicBezTo>
                <a:cubicBezTo>
                  <a:pt x="18864" y="11917"/>
                  <a:pt x="18843" y="11897"/>
                  <a:pt x="18825" y="11874"/>
                </a:cubicBezTo>
                <a:cubicBezTo>
                  <a:pt x="18777" y="11808"/>
                  <a:pt x="18748" y="11741"/>
                  <a:pt x="18739" y="11673"/>
                </a:cubicBezTo>
                <a:cubicBezTo>
                  <a:pt x="18721" y="11547"/>
                  <a:pt x="18636" y="11528"/>
                  <a:pt x="18483" y="11614"/>
                </a:cubicBezTo>
                <a:cubicBezTo>
                  <a:pt x="18459" y="11627"/>
                  <a:pt x="18446" y="11647"/>
                  <a:pt x="18443" y="11673"/>
                </a:cubicBezTo>
                <a:cubicBezTo>
                  <a:pt x="18422" y="11823"/>
                  <a:pt x="18461" y="11941"/>
                  <a:pt x="18560" y="12027"/>
                </a:cubicBezTo>
                <a:cubicBezTo>
                  <a:pt x="18769" y="12213"/>
                  <a:pt x="18899" y="12411"/>
                  <a:pt x="18950" y="12620"/>
                </a:cubicBezTo>
                <a:cubicBezTo>
                  <a:pt x="18959" y="12657"/>
                  <a:pt x="18970" y="12694"/>
                  <a:pt x="18982" y="12730"/>
                </a:cubicBezTo>
                <a:cubicBezTo>
                  <a:pt x="18985" y="12746"/>
                  <a:pt x="18992" y="12762"/>
                  <a:pt x="19004" y="12778"/>
                </a:cubicBezTo>
                <a:cubicBezTo>
                  <a:pt x="19020" y="12798"/>
                  <a:pt x="19034" y="12820"/>
                  <a:pt x="19047" y="12842"/>
                </a:cubicBezTo>
                <a:cubicBezTo>
                  <a:pt x="19085" y="12905"/>
                  <a:pt x="19112" y="12975"/>
                  <a:pt x="19130" y="13053"/>
                </a:cubicBezTo>
                <a:cubicBezTo>
                  <a:pt x="19139" y="13096"/>
                  <a:pt x="19133" y="13129"/>
                  <a:pt x="19112" y="13153"/>
                </a:cubicBezTo>
                <a:cubicBezTo>
                  <a:pt x="19093" y="13175"/>
                  <a:pt x="19058" y="13187"/>
                  <a:pt x="19009" y="13190"/>
                </a:cubicBezTo>
                <a:cubicBezTo>
                  <a:pt x="18994" y="13190"/>
                  <a:pt x="18977" y="13191"/>
                  <a:pt x="18959" y="13194"/>
                </a:cubicBezTo>
                <a:cubicBezTo>
                  <a:pt x="18799" y="13215"/>
                  <a:pt x="18691" y="13183"/>
                  <a:pt x="18634" y="13098"/>
                </a:cubicBezTo>
                <a:lnTo>
                  <a:pt x="18631" y="13096"/>
                </a:lnTo>
                <a:cubicBezTo>
                  <a:pt x="18581" y="13015"/>
                  <a:pt x="18521" y="12937"/>
                  <a:pt x="18452" y="12864"/>
                </a:cubicBezTo>
                <a:cubicBezTo>
                  <a:pt x="18434" y="12843"/>
                  <a:pt x="18413" y="12823"/>
                  <a:pt x="18389" y="12805"/>
                </a:cubicBezTo>
                <a:cubicBezTo>
                  <a:pt x="18227" y="12664"/>
                  <a:pt x="18064" y="12531"/>
                  <a:pt x="17899" y="12408"/>
                </a:cubicBezTo>
                <a:cubicBezTo>
                  <a:pt x="17875" y="12390"/>
                  <a:pt x="17853" y="12370"/>
                  <a:pt x="17832" y="12349"/>
                </a:cubicBezTo>
                <a:cubicBezTo>
                  <a:pt x="17742" y="12268"/>
                  <a:pt x="17675" y="12178"/>
                  <a:pt x="17630" y="12078"/>
                </a:cubicBezTo>
                <a:cubicBezTo>
                  <a:pt x="17621" y="12057"/>
                  <a:pt x="17603" y="12039"/>
                  <a:pt x="17576" y="12023"/>
                </a:cubicBezTo>
                <a:cubicBezTo>
                  <a:pt x="17387" y="11905"/>
                  <a:pt x="17236" y="11802"/>
                  <a:pt x="17122" y="11713"/>
                </a:cubicBezTo>
                <a:cubicBezTo>
                  <a:pt x="17107" y="11699"/>
                  <a:pt x="17093" y="11685"/>
                  <a:pt x="17082" y="11669"/>
                </a:cubicBezTo>
                <a:cubicBezTo>
                  <a:pt x="17004" y="11567"/>
                  <a:pt x="16867" y="11516"/>
                  <a:pt x="16673" y="11516"/>
                </a:cubicBezTo>
                <a:cubicBezTo>
                  <a:pt x="16682" y="11679"/>
                  <a:pt x="16752" y="11791"/>
                  <a:pt x="16884" y="11854"/>
                </a:cubicBezTo>
                <a:cubicBezTo>
                  <a:pt x="16908" y="11865"/>
                  <a:pt x="16930" y="11880"/>
                  <a:pt x="16951" y="11901"/>
                </a:cubicBezTo>
                <a:cubicBezTo>
                  <a:pt x="17020" y="11969"/>
                  <a:pt x="17120" y="12039"/>
                  <a:pt x="17252" y="12109"/>
                </a:cubicBezTo>
                <a:cubicBezTo>
                  <a:pt x="17270" y="12120"/>
                  <a:pt x="17284" y="12133"/>
                  <a:pt x="17293" y="12149"/>
                </a:cubicBezTo>
                <a:cubicBezTo>
                  <a:pt x="17356" y="12248"/>
                  <a:pt x="17424" y="12335"/>
                  <a:pt x="17499" y="12408"/>
                </a:cubicBezTo>
                <a:cubicBezTo>
                  <a:pt x="17640" y="12547"/>
                  <a:pt x="17772" y="12666"/>
                  <a:pt x="17895" y="12766"/>
                </a:cubicBezTo>
                <a:cubicBezTo>
                  <a:pt x="17919" y="12784"/>
                  <a:pt x="17943" y="12804"/>
                  <a:pt x="17967" y="12825"/>
                </a:cubicBezTo>
                <a:cubicBezTo>
                  <a:pt x="18002" y="12856"/>
                  <a:pt x="18037" y="12890"/>
                  <a:pt x="18070" y="12927"/>
                </a:cubicBezTo>
                <a:cubicBezTo>
                  <a:pt x="18082" y="12943"/>
                  <a:pt x="18094" y="12958"/>
                  <a:pt x="18106" y="12974"/>
                </a:cubicBezTo>
                <a:cubicBezTo>
                  <a:pt x="18187" y="13089"/>
                  <a:pt x="18271" y="13187"/>
                  <a:pt x="18357" y="13269"/>
                </a:cubicBezTo>
                <a:cubicBezTo>
                  <a:pt x="18372" y="13282"/>
                  <a:pt x="18374" y="13299"/>
                  <a:pt x="18362" y="13320"/>
                </a:cubicBezTo>
                <a:cubicBezTo>
                  <a:pt x="18314" y="13409"/>
                  <a:pt x="18232" y="13466"/>
                  <a:pt x="18115" y="13493"/>
                </a:cubicBezTo>
                <a:cubicBezTo>
                  <a:pt x="18082" y="13501"/>
                  <a:pt x="18050" y="13506"/>
                  <a:pt x="18020" y="13508"/>
                </a:cubicBezTo>
                <a:cubicBezTo>
                  <a:pt x="17940" y="13514"/>
                  <a:pt x="17877" y="13527"/>
                  <a:pt x="17832" y="13548"/>
                </a:cubicBezTo>
                <a:cubicBezTo>
                  <a:pt x="17760" y="13579"/>
                  <a:pt x="17718" y="13624"/>
                  <a:pt x="17706" y="13681"/>
                </a:cubicBezTo>
                <a:cubicBezTo>
                  <a:pt x="17691" y="13734"/>
                  <a:pt x="17682" y="13786"/>
                  <a:pt x="17679" y="13838"/>
                </a:cubicBezTo>
                <a:cubicBezTo>
                  <a:pt x="17667" y="13970"/>
                  <a:pt x="17655" y="14100"/>
                  <a:pt x="17643" y="14231"/>
                </a:cubicBezTo>
                <a:cubicBezTo>
                  <a:pt x="17640" y="14245"/>
                  <a:pt x="17630" y="14255"/>
                  <a:pt x="17612" y="14263"/>
                </a:cubicBezTo>
                <a:cubicBezTo>
                  <a:pt x="17552" y="14286"/>
                  <a:pt x="17511" y="14281"/>
                  <a:pt x="17490" y="14247"/>
                </a:cubicBezTo>
                <a:cubicBezTo>
                  <a:pt x="17484" y="14237"/>
                  <a:pt x="17468" y="14229"/>
                  <a:pt x="17441" y="14224"/>
                </a:cubicBezTo>
                <a:cubicBezTo>
                  <a:pt x="17360" y="14205"/>
                  <a:pt x="17303" y="14175"/>
                  <a:pt x="17270" y="14133"/>
                </a:cubicBezTo>
                <a:cubicBezTo>
                  <a:pt x="17261" y="14120"/>
                  <a:pt x="17243" y="14118"/>
                  <a:pt x="17216" y="14125"/>
                </a:cubicBezTo>
                <a:cubicBezTo>
                  <a:pt x="17111" y="14152"/>
                  <a:pt x="17001" y="14209"/>
                  <a:pt x="16884" y="14298"/>
                </a:cubicBezTo>
                <a:cubicBezTo>
                  <a:pt x="16773" y="14382"/>
                  <a:pt x="16659" y="14454"/>
                  <a:pt x="16542" y="14514"/>
                </a:cubicBezTo>
                <a:cubicBezTo>
                  <a:pt x="16524" y="14522"/>
                  <a:pt x="16509" y="14534"/>
                  <a:pt x="16497" y="14550"/>
                </a:cubicBezTo>
                <a:cubicBezTo>
                  <a:pt x="16417" y="14641"/>
                  <a:pt x="16312" y="14721"/>
                  <a:pt x="16183" y="14790"/>
                </a:cubicBezTo>
                <a:cubicBezTo>
                  <a:pt x="16165" y="14797"/>
                  <a:pt x="16147" y="14807"/>
                  <a:pt x="16129" y="14817"/>
                </a:cubicBezTo>
                <a:cubicBezTo>
                  <a:pt x="16018" y="14890"/>
                  <a:pt x="15910" y="14883"/>
                  <a:pt x="15806" y="14793"/>
                </a:cubicBezTo>
                <a:cubicBezTo>
                  <a:pt x="15785" y="14772"/>
                  <a:pt x="15761" y="14754"/>
                  <a:pt x="15734" y="14738"/>
                </a:cubicBezTo>
                <a:cubicBezTo>
                  <a:pt x="15413" y="14555"/>
                  <a:pt x="15070" y="14418"/>
                  <a:pt x="14705" y="14326"/>
                </a:cubicBezTo>
                <a:cubicBezTo>
                  <a:pt x="14669" y="14315"/>
                  <a:pt x="14633" y="14302"/>
                  <a:pt x="14597" y="14286"/>
                </a:cubicBezTo>
                <a:cubicBezTo>
                  <a:pt x="14543" y="14263"/>
                  <a:pt x="14486" y="14246"/>
                  <a:pt x="14426" y="14235"/>
                </a:cubicBezTo>
                <a:cubicBezTo>
                  <a:pt x="14316" y="14214"/>
                  <a:pt x="14238" y="14162"/>
                  <a:pt x="14193" y="14078"/>
                </a:cubicBezTo>
                <a:cubicBezTo>
                  <a:pt x="14169" y="14036"/>
                  <a:pt x="14137" y="14000"/>
                  <a:pt x="14098" y="13968"/>
                </a:cubicBezTo>
                <a:cubicBezTo>
                  <a:pt x="14033" y="13913"/>
                  <a:pt x="13943" y="13850"/>
                  <a:pt x="13829" y="13780"/>
                </a:cubicBezTo>
                <a:cubicBezTo>
                  <a:pt x="13808" y="13767"/>
                  <a:pt x="13790" y="13767"/>
                  <a:pt x="13775" y="13780"/>
                </a:cubicBezTo>
                <a:cubicBezTo>
                  <a:pt x="13760" y="13793"/>
                  <a:pt x="13748" y="13811"/>
                  <a:pt x="13739" y="13835"/>
                </a:cubicBezTo>
                <a:cubicBezTo>
                  <a:pt x="13733" y="13850"/>
                  <a:pt x="13730" y="13865"/>
                  <a:pt x="13730" y="13878"/>
                </a:cubicBezTo>
                <a:cubicBezTo>
                  <a:pt x="13727" y="13956"/>
                  <a:pt x="13742" y="14014"/>
                  <a:pt x="13775" y="14051"/>
                </a:cubicBezTo>
                <a:cubicBezTo>
                  <a:pt x="13790" y="14066"/>
                  <a:pt x="13802" y="14086"/>
                  <a:pt x="13811" y="14110"/>
                </a:cubicBezTo>
                <a:cubicBezTo>
                  <a:pt x="13835" y="14162"/>
                  <a:pt x="13874" y="14193"/>
                  <a:pt x="13928" y="14204"/>
                </a:cubicBezTo>
                <a:cubicBezTo>
                  <a:pt x="13985" y="14217"/>
                  <a:pt x="14022" y="14235"/>
                  <a:pt x="14040" y="14259"/>
                </a:cubicBezTo>
                <a:cubicBezTo>
                  <a:pt x="14058" y="14280"/>
                  <a:pt x="14077" y="14301"/>
                  <a:pt x="14098" y="14322"/>
                </a:cubicBezTo>
                <a:cubicBezTo>
                  <a:pt x="14209" y="14435"/>
                  <a:pt x="14349" y="14489"/>
                  <a:pt x="14516" y="14487"/>
                </a:cubicBezTo>
                <a:cubicBezTo>
                  <a:pt x="14531" y="14487"/>
                  <a:pt x="14548" y="14488"/>
                  <a:pt x="14566" y="14491"/>
                </a:cubicBezTo>
                <a:cubicBezTo>
                  <a:pt x="14632" y="14501"/>
                  <a:pt x="14696" y="14526"/>
                  <a:pt x="14759" y="14565"/>
                </a:cubicBezTo>
                <a:cubicBezTo>
                  <a:pt x="14777" y="14579"/>
                  <a:pt x="14801" y="14584"/>
                  <a:pt x="14831" y="14581"/>
                </a:cubicBezTo>
                <a:cubicBezTo>
                  <a:pt x="14990" y="14576"/>
                  <a:pt x="15141" y="14586"/>
                  <a:pt x="15284" y="14613"/>
                </a:cubicBezTo>
                <a:cubicBezTo>
                  <a:pt x="15413" y="14636"/>
                  <a:pt x="15502" y="14693"/>
                  <a:pt x="15550" y="14782"/>
                </a:cubicBezTo>
                <a:cubicBezTo>
                  <a:pt x="15565" y="14808"/>
                  <a:pt x="15575" y="14834"/>
                  <a:pt x="15581" y="14860"/>
                </a:cubicBezTo>
                <a:cubicBezTo>
                  <a:pt x="15599" y="14986"/>
                  <a:pt x="15662" y="15069"/>
                  <a:pt x="15770" y="15108"/>
                </a:cubicBezTo>
                <a:cubicBezTo>
                  <a:pt x="15788" y="15113"/>
                  <a:pt x="15803" y="15122"/>
                  <a:pt x="15815" y="15135"/>
                </a:cubicBezTo>
                <a:cubicBezTo>
                  <a:pt x="15857" y="15180"/>
                  <a:pt x="15931" y="15206"/>
                  <a:pt x="16039" y="15214"/>
                </a:cubicBezTo>
                <a:cubicBezTo>
                  <a:pt x="16042" y="15214"/>
                  <a:pt x="16048" y="15226"/>
                  <a:pt x="16057" y="15249"/>
                </a:cubicBezTo>
                <a:cubicBezTo>
                  <a:pt x="16063" y="15265"/>
                  <a:pt x="16072" y="15281"/>
                  <a:pt x="16084" y="15296"/>
                </a:cubicBezTo>
                <a:cubicBezTo>
                  <a:pt x="16112" y="15336"/>
                  <a:pt x="16131" y="15379"/>
                  <a:pt x="16140" y="15426"/>
                </a:cubicBezTo>
                <a:lnTo>
                  <a:pt x="16125" y="15658"/>
                </a:lnTo>
                <a:cubicBezTo>
                  <a:pt x="16123" y="15666"/>
                  <a:pt x="16122" y="15674"/>
                  <a:pt x="16120" y="15682"/>
                </a:cubicBezTo>
                <a:cubicBezTo>
                  <a:pt x="16114" y="15710"/>
                  <a:pt x="16111" y="15738"/>
                  <a:pt x="16111" y="15764"/>
                </a:cubicBezTo>
                <a:cubicBezTo>
                  <a:pt x="16111" y="15777"/>
                  <a:pt x="16113" y="15792"/>
                  <a:pt x="16116" y="15807"/>
                </a:cubicBezTo>
                <a:cubicBezTo>
                  <a:pt x="16131" y="15860"/>
                  <a:pt x="16158" y="15900"/>
                  <a:pt x="16199" y="15929"/>
                </a:cubicBezTo>
                <a:cubicBezTo>
                  <a:pt x="16239" y="15958"/>
                  <a:pt x="16292" y="15975"/>
                  <a:pt x="16358" y="15980"/>
                </a:cubicBezTo>
                <a:cubicBezTo>
                  <a:pt x="16373" y="15980"/>
                  <a:pt x="16390" y="15984"/>
                  <a:pt x="16408" y="15992"/>
                </a:cubicBezTo>
                <a:cubicBezTo>
                  <a:pt x="16465" y="16010"/>
                  <a:pt x="16513" y="16033"/>
                  <a:pt x="16551" y="16059"/>
                </a:cubicBezTo>
                <a:cubicBezTo>
                  <a:pt x="16572" y="16072"/>
                  <a:pt x="16590" y="16085"/>
                  <a:pt x="16605" y="16098"/>
                </a:cubicBezTo>
                <a:cubicBezTo>
                  <a:pt x="16620" y="16111"/>
                  <a:pt x="16628" y="16131"/>
                  <a:pt x="16628" y="16157"/>
                </a:cubicBezTo>
                <a:cubicBezTo>
                  <a:pt x="16625" y="16246"/>
                  <a:pt x="16595" y="16312"/>
                  <a:pt x="16538" y="16354"/>
                </a:cubicBezTo>
                <a:cubicBezTo>
                  <a:pt x="16523" y="16367"/>
                  <a:pt x="16511" y="16381"/>
                  <a:pt x="16502" y="16397"/>
                </a:cubicBezTo>
                <a:cubicBezTo>
                  <a:pt x="16496" y="16407"/>
                  <a:pt x="16493" y="16419"/>
                  <a:pt x="16493" y="16432"/>
                </a:cubicBezTo>
                <a:cubicBezTo>
                  <a:pt x="16523" y="16482"/>
                  <a:pt x="16572" y="16488"/>
                  <a:pt x="16641" y="16452"/>
                </a:cubicBezTo>
                <a:cubicBezTo>
                  <a:pt x="16662" y="16439"/>
                  <a:pt x="16686" y="16428"/>
                  <a:pt x="16713" y="16420"/>
                </a:cubicBezTo>
                <a:lnTo>
                  <a:pt x="16740" y="16412"/>
                </a:lnTo>
                <a:cubicBezTo>
                  <a:pt x="16755" y="16425"/>
                  <a:pt x="16769" y="16443"/>
                  <a:pt x="16780" y="16464"/>
                </a:cubicBezTo>
                <a:cubicBezTo>
                  <a:pt x="16801" y="16500"/>
                  <a:pt x="16821" y="16557"/>
                  <a:pt x="16839" y="16633"/>
                </a:cubicBezTo>
                <a:cubicBezTo>
                  <a:pt x="16872" y="16782"/>
                  <a:pt x="16833" y="16876"/>
                  <a:pt x="16722" y="16915"/>
                </a:cubicBezTo>
                <a:cubicBezTo>
                  <a:pt x="16704" y="16921"/>
                  <a:pt x="16689" y="16931"/>
                  <a:pt x="16677" y="16947"/>
                </a:cubicBezTo>
                <a:cubicBezTo>
                  <a:pt x="16644" y="16984"/>
                  <a:pt x="16599" y="17011"/>
                  <a:pt x="16542" y="17029"/>
                </a:cubicBezTo>
                <a:cubicBezTo>
                  <a:pt x="16509" y="17037"/>
                  <a:pt x="16483" y="17052"/>
                  <a:pt x="16462" y="17073"/>
                </a:cubicBezTo>
                <a:cubicBezTo>
                  <a:pt x="16438" y="17091"/>
                  <a:pt x="16414" y="17107"/>
                  <a:pt x="16390" y="17120"/>
                </a:cubicBezTo>
                <a:cubicBezTo>
                  <a:pt x="16369" y="17133"/>
                  <a:pt x="16345" y="17143"/>
                  <a:pt x="16318" y="17151"/>
                </a:cubicBezTo>
                <a:cubicBezTo>
                  <a:pt x="16246" y="17177"/>
                  <a:pt x="16183" y="17196"/>
                  <a:pt x="16129" y="17206"/>
                </a:cubicBezTo>
                <a:cubicBezTo>
                  <a:pt x="16051" y="17219"/>
                  <a:pt x="16003" y="17198"/>
                  <a:pt x="15985" y="17143"/>
                </a:cubicBezTo>
                <a:cubicBezTo>
                  <a:pt x="15979" y="17128"/>
                  <a:pt x="15967" y="17118"/>
                  <a:pt x="15949" y="17116"/>
                </a:cubicBezTo>
                <a:cubicBezTo>
                  <a:pt x="15878" y="17105"/>
                  <a:pt x="15809" y="17088"/>
                  <a:pt x="15743" y="17065"/>
                </a:cubicBezTo>
                <a:cubicBezTo>
                  <a:pt x="15734" y="17062"/>
                  <a:pt x="15731" y="17048"/>
                  <a:pt x="15734" y="17022"/>
                </a:cubicBezTo>
                <a:cubicBezTo>
                  <a:pt x="15737" y="16951"/>
                  <a:pt x="15726" y="16896"/>
                  <a:pt x="15702" y="16856"/>
                </a:cubicBezTo>
                <a:cubicBezTo>
                  <a:pt x="15690" y="16836"/>
                  <a:pt x="15687" y="16812"/>
                  <a:pt x="15693" y="16786"/>
                </a:cubicBezTo>
                <a:cubicBezTo>
                  <a:pt x="15708" y="16702"/>
                  <a:pt x="15698" y="16643"/>
                  <a:pt x="15662" y="16609"/>
                </a:cubicBezTo>
                <a:cubicBezTo>
                  <a:pt x="15647" y="16596"/>
                  <a:pt x="15638" y="16576"/>
                  <a:pt x="15635" y="16550"/>
                </a:cubicBezTo>
                <a:cubicBezTo>
                  <a:pt x="15627" y="16478"/>
                  <a:pt x="15589" y="16410"/>
                  <a:pt x="15520" y="16344"/>
                </a:cubicBezTo>
                <a:cubicBezTo>
                  <a:pt x="15506" y="16330"/>
                  <a:pt x="15490" y="16316"/>
                  <a:pt x="15473" y="16302"/>
                </a:cubicBezTo>
                <a:cubicBezTo>
                  <a:pt x="15463" y="16294"/>
                  <a:pt x="15452" y="16287"/>
                  <a:pt x="15442" y="16279"/>
                </a:cubicBezTo>
                <a:cubicBezTo>
                  <a:pt x="15440" y="16278"/>
                  <a:pt x="15439" y="16276"/>
                  <a:pt x="15437" y="16275"/>
                </a:cubicBezTo>
                <a:cubicBezTo>
                  <a:pt x="15425" y="16266"/>
                  <a:pt x="15413" y="16256"/>
                  <a:pt x="15401" y="16247"/>
                </a:cubicBezTo>
                <a:cubicBezTo>
                  <a:pt x="15177" y="16077"/>
                  <a:pt x="14997" y="15920"/>
                  <a:pt x="14862" y="15776"/>
                </a:cubicBezTo>
                <a:cubicBezTo>
                  <a:pt x="14793" y="15705"/>
                  <a:pt x="14747" y="15716"/>
                  <a:pt x="14723" y="15807"/>
                </a:cubicBezTo>
                <a:cubicBezTo>
                  <a:pt x="14720" y="15818"/>
                  <a:pt x="14721" y="15831"/>
                  <a:pt x="14727" y="15847"/>
                </a:cubicBezTo>
                <a:cubicBezTo>
                  <a:pt x="14760" y="15957"/>
                  <a:pt x="14822" y="16038"/>
                  <a:pt x="14912" y="16090"/>
                </a:cubicBezTo>
                <a:cubicBezTo>
                  <a:pt x="15061" y="16174"/>
                  <a:pt x="15184" y="16275"/>
                  <a:pt x="15280" y="16393"/>
                </a:cubicBezTo>
                <a:cubicBezTo>
                  <a:pt x="15299" y="16415"/>
                  <a:pt x="15317" y="16436"/>
                  <a:pt x="15334" y="16458"/>
                </a:cubicBezTo>
                <a:cubicBezTo>
                  <a:pt x="15396" y="16535"/>
                  <a:pt x="15447" y="16608"/>
                  <a:pt x="15487" y="16676"/>
                </a:cubicBezTo>
                <a:cubicBezTo>
                  <a:pt x="15499" y="16697"/>
                  <a:pt x="15508" y="16719"/>
                  <a:pt x="15514" y="16743"/>
                </a:cubicBezTo>
                <a:cubicBezTo>
                  <a:pt x="15523" y="16771"/>
                  <a:pt x="15530" y="16799"/>
                  <a:pt x="15536" y="16825"/>
                </a:cubicBezTo>
                <a:cubicBezTo>
                  <a:pt x="15551" y="16922"/>
                  <a:pt x="15533" y="16994"/>
                  <a:pt x="15482" y="17041"/>
                </a:cubicBezTo>
                <a:cubicBezTo>
                  <a:pt x="15467" y="17054"/>
                  <a:pt x="15455" y="17073"/>
                  <a:pt x="15446" y="17096"/>
                </a:cubicBezTo>
                <a:cubicBezTo>
                  <a:pt x="15440" y="17112"/>
                  <a:pt x="15433" y="17128"/>
                  <a:pt x="15424" y="17143"/>
                </a:cubicBezTo>
                <a:cubicBezTo>
                  <a:pt x="15367" y="17230"/>
                  <a:pt x="15312" y="17248"/>
                  <a:pt x="15258" y="17198"/>
                </a:cubicBezTo>
                <a:cubicBezTo>
                  <a:pt x="15243" y="17185"/>
                  <a:pt x="15222" y="17176"/>
                  <a:pt x="15195" y="17171"/>
                </a:cubicBezTo>
                <a:cubicBezTo>
                  <a:pt x="15162" y="17163"/>
                  <a:pt x="15130" y="17158"/>
                  <a:pt x="15100" y="17155"/>
                </a:cubicBezTo>
                <a:cubicBezTo>
                  <a:pt x="14948" y="17142"/>
                  <a:pt x="14832" y="17167"/>
                  <a:pt x="14754" y="17230"/>
                </a:cubicBezTo>
                <a:cubicBezTo>
                  <a:pt x="14695" y="17274"/>
                  <a:pt x="14632" y="17302"/>
                  <a:pt x="14566" y="17312"/>
                </a:cubicBezTo>
                <a:cubicBezTo>
                  <a:pt x="14548" y="17315"/>
                  <a:pt x="14530" y="17320"/>
                  <a:pt x="14512" y="17328"/>
                </a:cubicBezTo>
                <a:cubicBezTo>
                  <a:pt x="14452" y="17352"/>
                  <a:pt x="14419" y="17341"/>
                  <a:pt x="14413" y="17297"/>
                </a:cubicBezTo>
                <a:cubicBezTo>
                  <a:pt x="14407" y="17270"/>
                  <a:pt x="14394" y="17247"/>
                  <a:pt x="14373" y="17226"/>
                </a:cubicBezTo>
                <a:cubicBezTo>
                  <a:pt x="14334" y="17194"/>
                  <a:pt x="14302" y="17154"/>
                  <a:pt x="14278" y="17104"/>
                </a:cubicBezTo>
                <a:cubicBezTo>
                  <a:pt x="14272" y="17088"/>
                  <a:pt x="14268" y="17073"/>
                  <a:pt x="14265" y="17057"/>
                </a:cubicBezTo>
                <a:cubicBezTo>
                  <a:pt x="14244" y="16952"/>
                  <a:pt x="14176" y="16895"/>
                  <a:pt x="14063" y="16884"/>
                </a:cubicBezTo>
                <a:cubicBezTo>
                  <a:pt x="13985" y="16876"/>
                  <a:pt x="13937" y="16845"/>
                  <a:pt x="13919" y="16790"/>
                </a:cubicBezTo>
                <a:cubicBezTo>
                  <a:pt x="13913" y="16774"/>
                  <a:pt x="13910" y="16760"/>
                  <a:pt x="13910" y="16746"/>
                </a:cubicBezTo>
                <a:cubicBezTo>
                  <a:pt x="13910" y="16733"/>
                  <a:pt x="13919" y="16722"/>
                  <a:pt x="13937" y="16711"/>
                </a:cubicBezTo>
                <a:cubicBezTo>
                  <a:pt x="14051" y="16638"/>
                  <a:pt x="14133" y="16555"/>
                  <a:pt x="14184" y="16464"/>
                </a:cubicBezTo>
                <a:cubicBezTo>
                  <a:pt x="14196" y="16443"/>
                  <a:pt x="14200" y="16419"/>
                  <a:pt x="14197" y="16393"/>
                </a:cubicBezTo>
                <a:cubicBezTo>
                  <a:pt x="14185" y="16215"/>
                  <a:pt x="14098" y="16164"/>
                  <a:pt x="13937" y="16240"/>
                </a:cubicBezTo>
                <a:cubicBezTo>
                  <a:pt x="13877" y="16266"/>
                  <a:pt x="13841" y="16302"/>
                  <a:pt x="13829" y="16350"/>
                </a:cubicBezTo>
                <a:cubicBezTo>
                  <a:pt x="13823" y="16378"/>
                  <a:pt x="13815" y="16407"/>
                  <a:pt x="13807" y="16436"/>
                </a:cubicBezTo>
                <a:cubicBezTo>
                  <a:pt x="13765" y="16562"/>
                  <a:pt x="13711" y="16661"/>
                  <a:pt x="13645" y="16735"/>
                </a:cubicBezTo>
                <a:cubicBezTo>
                  <a:pt x="13612" y="16769"/>
                  <a:pt x="13595" y="16812"/>
                  <a:pt x="13595" y="16864"/>
                </a:cubicBezTo>
                <a:cubicBezTo>
                  <a:pt x="13595" y="16891"/>
                  <a:pt x="13604" y="16917"/>
                  <a:pt x="13622" y="16943"/>
                </a:cubicBezTo>
                <a:cubicBezTo>
                  <a:pt x="13691" y="17045"/>
                  <a:pt x="13824" y="17122"/>
                  <a:pt x="14022" y="17175"/>
                </a:cubicBezTo>
                <a:cubicBezTo>
                  <a:pt x="14058" y="17183"/>
                  <a:pt x="14091" y="17209"/>
                  <a:pt x="14121" y="17253"/>
                </a:cubicBezTo>
                <a:cubicBezTo>
                  <a:pt x="14145" y="17295"/>
                  <a:pt x="14169" y="17337"/>
                  <a:pt x="14193" y="17379"/>
                </a:cubicBezTo>
                <a:cubicBezTo>
                  <a:pt x="14241" y="17466"/>
                  <a:pt x="14301" y="17544"/>
                  <a:pt x="14373" y="17615"/>
                </a:cubicBezTo>
                <a:cubicBezTo>
                  <a:pt x="14408" y="17652"/>
                  <a:pt x="14455" y="17680"/>
                  <a:pt x="14512" y="17701"/>
                </a:cubicBezTo>
                <a:cubicBezTo>
                  <a:pt x="14593" y="17728"/>
                  <a:pt x="14659" y="17756"/>
                  <a:pt x="14709" y="17788"/>
                </a:cubicBezTo>
                <a:cubicBezTo>
                  <a:pt x="14730" y="17801"/>
                  <a:pt x="14756" y="17805"/>
                  <a:pt x="14786" y="17800"/>
                </a:cubicBezTo>
                <a:cubicBezTo>
                  <a:pt x="14837" y="17789"/>
                  <a:pt x="14876" y="17751"/>
                  <a:pt x="14903" y="17686"/>
                </a:cubicBezTo>
                <a:cubicBezTo>
                  <a:pt x="14915" y="17649"/>
                  <a:pt x="14925" y="17612"/>
                  <a:pt x="14934" y="17576"/>
                </a:cubicBezTo>
                <a:cubicBezTo>
                  <a:pt x="14955" y="17481"/>
                  <a:pt x="15040" y="17438"/>
                  <a:pt x="15190" y="17446"/>
                </a:cubicBezTo>
                <a:cubicBezTo>
                  <a:pt x="15340" y="17451"/>
                  <a:pt x="15490" y="17449"/>
                  <a:pt x="15639" y="17438"/>
                </a:cubicBezTo>
                <a:cubicBezTo>
                  <a:pt x="15669" y="17435"/>
                  <a:pt x="15699" y="17434"/>
                  <a:pt x="15729" y="17434"/>
                </a:cubicBezTo>
                <a:cubicBezTo>
                  <a:pt x="15744" y="17434"/>
                  <a:pt x="15761" y="17439"/>
                  <a:pt x="15779" y="17450"/>
                </a:cubicBezTo>
                <a:cubicBezTo>
                  <a:pt x="15866" y="17497"/>
                  <a:pt x="15967" y="17508"/>
                  <a:pt x="16084" y="17481"/>
                </a:cubicBezTo>
                <a:cubicBezTo>
                  <a:pt x="16102" y="17476"/>
                  <a:pt x="16120" y="17470"/>
                  <a:pt x="16138" y="17462"/>
                </a:cubicBezTo>
                <a:cubicBezTo>
                  <a:pt x="16240" y="17414"/>
                  <a:pt x="16330" y="17377"/>
                  <a:pt x="16408" y="17348"/>
                </a:cubicBezTo>
                <a:cubicBezTo>
                  <a:pt x="16465" y="17327"/>
                  <a:pt x="16521" y="17320"/>
                  <a:pt x="16578" y="17328"/>
                </a:cubicBezTo>
                <a:cubicBezTo>
                  <a:pt x="16611" y="17333"/>
                  <a:pt x="16644" y="17346"/>
                  <a:pt x="16677" y="17367"/>
                </a:cubicBezTo>
                <a:cubicBezTo>
                  <a:pt x="16764" y="17425"/>
                  <a:pt x="16828" y="17432"/>
                  <a:pt x="16870" y="17387"/>
                </a:cubicBezTo>
                <a:cubicBezTo>
                  <a:pt x="16888" y="17366"/>
                  <a:pt x="16909" y="17346"/>
                  <a:pt x="16933" y="17328"/>
                </a:cubicBezTo>
                <a:cubicBezTo>
                  <a:pt x="17008" y="17263"/>
                  <a:pt x="17116" y="17227"/>
                  <a:pt x="17257" y="17222"/>
                </a:cubicBezTo>
                <a:cubicBezTo>
                  <a:pt x="17326" y="17219"/>
                  <a:pt x="17383" y="17227"/>
                  <a:pt x="17430" y="17246"/>
                </a:cubicBezTo>
                <a:cubicBezTo>
                  <a:pt x="17476" y="17264"/>
                  <a:pt x="17511" y="17293"/>
                  <a:pt x="17535" y="17332"/>
                </a:cubicBezTo>
                <a:cubicBezTo>
                  <a:pt x="17544" y="17348"/>
                  <a:pt x="17558" y="17361"/>
                  <a:pt x="17576" y="17371"/>
                </a:cubicBezTo>
                <a:cubicBezTo>
                  <a:pt x="17633" y="17411"/>
                  <a:pt x="17667" y="17476"/>
                  <a:pt x="17679" y="17568"/>
                </a:cubicBezTo>
                <a:cubicBezTo>
                  <a:pt x="17682" y="17583"/>
                  <a:pt x="17687" y="17599"/>
                  <a:pt x="17693" y="17615"/>
                </a:cubicBezTo>
                <a:cubicBezTo>
                  <a:pt x="17767" y="17835"/>
                  <a:pt x="17809" y="18069"/>
                  <a:pt x="17818" y="18318"/>
                </a:cubicBezTo>
                <a:cubicBezTo>
                  <a:pt x="17818" y="18345"/>
                  <a:pt x="17824" y="18371"/>
                  <a:pt x="17836" y="18397"/>
                </a:cubicBezTo>
                <a:cubicBezTo>
                  <a:pt x="17857" y="18443"/>
                  <a:pt x="17878" y="18492"/>
                  <a:pt x="17899" y="18546"/>
                </a:cubicBezTo>
                <a:cubicBezTo>
                  <a:pt x="17914" y="18585"/>
                  <a:pt x="17929" y="18625"/>
                  <a:pt x="17944" y="18668"/>
                </a:cubicBezTo>
                <a:cubicBezTo>
                  <a:pt x="17946" y="18672"/>
                  <a:pt x="17947" y="18676"/>
                  <a:pt x="17949" y="18680"/>
                </a:cubicBezTo>
                <a:cubicBezTo>
                  <a:pt x="17960" y="18722"/>
                  <a:pt x="17969" y="18769"/>
                  <a:pt x="17976" y="18821"/>
                </a:cubicBezTo>
                <a:cubicBezTo>
                  <a:pt x="17976" y="18824"/>
                  <a:pt x="17983" y="18832"/>
                  <a:pt x="17998" y="18845"/>
                </a:cubicBezTo>
                <a:lnTo>
                  <a:pt x="17998" y="18847"/>
                </a:lnTo>
                <a:cubicBezTo>
                  <a:pt x="18007" y="18873"/>
                  <a:pt x="18021" y="18894"/>
                  <a:pt x="18038" y="18910"/>
                </a:cubicBezTo>
                <a:cubicBezTo>
                  <a:pt x="18042" y="18922"/>
                  <a:pt x="18045" y="18935"/>
                  <a:pt x="18047" y="18947"/>
                </a:cubicBezTo>
                <a:cubicBezTo>
                  <a:pt x="18059" y="19010"/>
                  <a:pt x="18068" y="19074"/>
                  <a:pt x="18074" y="19140"/>
                </a:cubicBezTo>
                <a:cubicBezTo>
                  <a:pt x="18083" y="19231"/>
                  <a:pt x="18095" y="19323"/>
                  <a:pt x="18110" y="19415"/>
                </a:cubicBezTo>
                <a:cubicBezTo>
                  <a:pt x="18128" y="19525"/>
                  <a:pt x="18160" y="19631"/>
                  <a:pt x="18205" y="19733"/>
                </a:cubicBezTo>
                <a:cubicBezTo>
                  <a:pt x="18217" y="19759"/>
                  <a:pt x="18230" y="19785"/>
                  <a:pt x="18245" y="19812"/>
                </a:cubicBezTo>
                <a:cubicBezTo>
                  <a:pt x="18296" y="19903"/>
                  <a:pt x="18317" y="20008"/>
                  <a:pt x="18308" y="20126"/>
                </a:cubicBezTo>
                <a:cubicBezTo>
                  <a:pt x="18302" y="20197"/>
                  <a:pt x="18268" y="20240"/>
                  <a:pt x="18205" y="20256"/>
                </a:cubicBezTo>
                <a:cubicBezTo>
                  <a:pt x="18187" y="20261"/>
                  <a:pt x="18172" y="20271"/>
                  <a:pt x="18160" y="20287"/>
                </a:cubicBezTo>
                <a:cubicBezTo>
                  <a:pt x="18013" y="20463"/>
                  <a:pt x="17803" y="20583"/>
                  <a:pt x="17531" y="20649"/>
                </a:cubicBezTo>
                <a:cubicBezTo>
                  <a:pt x="17453" y="20667"/>
                  <a:pt x="17375" y="20684"/>
                  <a:pt x="17297" y="20700"/>
                </a:cubicBezTo>
                <a:cubicBezTo>
                  <a:pt x="17186" y="20723"/>
                  <a:pt x="17097" y="20752"/>
                  <a:pt x="17028" y="20786"/>
                </a:cubicBezTo>
                <a:cubicBezTo>
                  <a:pt x="16968" y="20816"/>
                  <a:pt x="16904" y="20833"/>
                  <a:pt x="16837" y="20837"/>
                </a:cubicBezTo>
                <a:cubicBezTo>
                  <a:pt x="16769" y="20841"/>
                  <a:pt x="16698" y="20832"/>
                  <a:pt x="16623" y="20810"/>
                </a:cubicBezTo>
                <a:cubicBezTo>
                  <a:pt x="16530" y="20781"/>
                  <a:pt x="16465" y="20782"/>
                  <a:pt x="16426" y="20814"/>
                </a:cubicBezTo>
                <a:cubicBezTo>
                  <a:pt x="16411" y="20827"/>
                  <a:pt x="16388" y="20836"/>
                  <a:pt x="16358" y="20841"/>
                </a:cubicBezTo>
                <a:cubicBezTo>
                  <a:pt x="16262" y="20854"/>
                  <a:pt x="16201" y="20840"/>
                  <a:pt x="16174" y="20798"/>
                </a:cubicBezTo>
                <a:cubicBezTo>
                  <a:pt x="16054" y="20620"/>
                  <a:pt x="15878" y="20497"/>
                  <a:pt x="15644" y="20429"/>
                </a:cubicBezTo>
                <a:cubicBezTo>
                  <a:pt x="15626" y="20423"/>
                  <a:pt x="15608" y="20419"/>
                  <a:pt x="15590" y="20417"/>
                </a:cubicBezTo>
                <a:cubicBezTo>
                  <a:pt x="15533" y="20406"/>
                  <a:pt x="15476" y="20396"/>
                  <a:pt x="15419" y="20385"/>
                </a:cubicBezTo>
                <a:cubicBezTo>
                  <a:pt x="15401" y="20383"/>
                  <a:pt x="15389" y="20374"/>
                  <a:pt x="15383" y="20358"/>
                </a:cubicBezTo>
                <a:cubicBezTo>
                  <a:pt x="15359" y="20269"/>
                  <a:pt x="15385" y="20218"/>
                  <a:pt x="15460" y="20205"/>
                </a:cubicBezTo>
                <a:cubicBezTo>
                  <a:pt x="15591" y="20184"/>
                  <a:pt x="15689" y="20203"/>
                  <a:pt x="15752" y="20264"/>
                </a:cubicBezTo>
                <a:cubicBezTo>
                  <a:pt x="15767" y="20277"/>
                  <a:pt x="15788" y="20287"/>
                  <a:pt x="15815" y="20295"/>
                </a:cubicBezTo>
                <a:cubicBezTo>
                  <a:pt x="15833" y="20300"/>
                  <a:pt x="15851" y="20305"/>
                  <a:pt x="15869" y="20311"/>
                </a:cubicBezTo>
                <a:cubicBezTo>
                  <a:pt x="15952" y="20339"/>
                  <a:pt x="16041" y="20357"/>
                  <a:pt x="16134" y="20362"/>
                </a:cubicBezTo>
                <a:cubicBezTo>
                  <a:pt x="16134" y="20226"/>
                  <a:pt x="16114" y="20096"/>
                  <a:pt x="16075" y="19973"/>
                </a:cubicBezTo>
                <a:cubicBezTo>
                  <a:pt x="16060" y="19923"/>
                  <a:pt x="16039" y="19890"/>
                  <a:pt x="16012" y="19875"/>
                </a:cubicBezTo>
                <a:cubicBezTo>
                  <a:pt x="15988" y="19859"/>
                  <a:pt x="15969" y="19838"/>
                  <a:pt x="15954" y="19812"/>
                </a:cubicBezTo>
                <a:cubicBezTo>
                  <a:pt x="15861" y="19644"/>
                  <a:pt x="15723" y="19517"/>
                  <a:pt x="15541" y="19430"/>
                </a:cubicBezTo>
                <a:cubicBezTo>
                  <a:pt x="15517" y="19420"/>
                  <a:pt x="15491" y="19419"/>
                  <a:pt x="15464" y="19426"/>
                </a:cubicBezTo>
                <a:cubicBezTo>
                  <a:pt x="15401" y="19445"/>
                  <a:pt x="15338" y="19462"/>
                  <a:pt x="15275" y="19478"/>
                </a:cubicBezTo>
                <a:cubicBezTo>
                  <a:pt x="15234" y="19488"/>
                  <a:pt x="15192" y="19499"/>
                  <a:pt x="15150" y="19509"/>
                </a:cubicBezTo>
                <a:cubicBezTo>
                  <a:pt x="15132" y="19512"/>
                  <a:pt x="15114" y="19514"/>
                  <a:pt x="15096" y="19517"/>
                </a:cubicBezTo>
                <a:cubicBezTo>
                  <a:pt x="15024" y="19527"/>
                  <a:pt x="14951" y="19537"/>
                  <a:pt x="14876" y="19544"/>
                </a:cubicBezTo>
                <a:cubicBezTo>
                  <a:pt x="14780" y="19555"/>
                  <a:pt x="14714" y="19542"/>
                  <a:pt x="14678" y="19505"/>
                </a:cubicBezTo>
                <a:cubicBezTo>
                  <a:pt x="14645" y="19471"/>
                  <a:pt x="14605" y="19444"/>
                  <a:pt x="14557" y="19423"/>
                </a:cubicBezTo>
                <a:cubicBezTo>
                  <a:pt x="14452" y="19373"/>
                  <a:pt x="14401" y="19305"/>
                  <a:pt x="14404" y="19218"/>
                </a:cubicBezTo>
                <a:cubicBezTo>
                  <a:pt x="14404" y="19192"/>
                  <a:pt x="14411" y="19166"/>
                  <a:pt x="14426" y="19140"/>
                </a:cubicBezTo>
                <a:cubicBezTo>
                  <a:pt x="14510" y="19014"/>
                  <a:pt x="14534" y="18871"/>
                  <a:pt x="14498" y="18711"/>
                </a:cubicBezTo>
                <a:cubicBezTo>
                  <a:pt x="14495" y="18696"/>
                  <a:pt x="14489" y="18680"/>
                  <a:pt x="14480" y="18664"/>
                </a:cubicBezTo>
                <a:cubicBezTo>
                  <a:pt x="14441" y="18604"/>
                  <a:pt x="14404" y="18528"/>
                  <a:pt x="14368" y="18436"/>
                </a:cubicBezTo>
                <a:cubicBezTo>
                  <a:pt x="14362" y="18421"/>
                  <a:pt x="14353" y="18406"/>
                  <a:pt x="14341" y="18393"/>
                </a:cubicBezTo>
                <a:cubicBezTo>
                  <a:pt x="14233" y="18278"/>
                  <a:pt x="14119" y="18155"/>
                  <a:pt x="14000" y="18024"/>
                </a:cubicBezTo>
                <a:cubicBezTo>
                  <a:pt x="13985" y="18008"/>
                  <a:pt x="13971" y="17990"/>
                  <a:pt x="13959" y="17969"/>
                </a:cubicBezTo>
                <a:cubicBezTo>
                  <a:pt x="13951" y="17950"/>
                  <a:pt x="13939" y="17934"/>
                  <a:pt x="13923" y="17919"/>
                </a:cubicBezTo>
                <a:cubicBezTo>
                  <a:pt x="13895" y="17894"/>
                  <a:pt x="13854" y="17877"/>
                  <a:pt x="13802" y="17866"/>
                </a:cubicBezTo>
                <a:cubicBezTo>
                  <a:pt x="13784" y="17864"/>
                  <a:pt x="13766" y="17860"/>
                  <a:pt x="13748" y="17855"/>
                </a:cubicBezTo>
                <a:cubicBezTo>
                  <a:pt x="13595" y="17805"/>
                  <a:pt x="13461" y="17767"/>
                  <a:pt x="13344" y="17741"/>
                </a:cubicBezTo>
                <a:cubicBezTo>
                  <a:pt x="13302" y="17730"/>
                  <a:pt x="13258" y="17726"/>
                  <a:pt x="13213" y="17729"/>
                </a:cubicBezTo>
                <a:cubicBezTo>
                  <a:pt x="13061" y="17734"/>
                  <a:pt x="12911" y="17734"/>
                  <a:pt x="12764" y="17729"/>
                </a:cubicBezTo>
                <a:cubicBezTo>
                  <a:pt x="12734" y="17726"/>
                  <a:pt x="12709" y="17709"/>
                  <a:pt x="12688" y="17678"/>
                </a:cubicBezTo>
                <a:cubicBezTo>
                  <a:pt x="12649" y="17618"/>
                  <a:pt x="12622" y="17553"/>
                  <a:pt x="12607" y="17485"/>
                </a:cubicBezTo>
                <a:cubicBezTo>
                  <a:pt x="12595" y="17446"/>
                  <a:pt x="12558" y="17428"/>
                  <a:pt x="12495" y="17430"/>
                </a:cubicBezTo>
                <a:cubicBezTo>
                  <a:pt x="12480" y="17430"/>
                  <a:pt x="12463" y="17429"/>
                  <a:pt x="12445" y="17426"/>
                </a:cubicBezTo>
                <a:cubicBezTo>
                  <a:pt x="12280" y="17400"/>
                  <a:pt x="12170" y="17425"/>
                  <a:pt x="12113" y="17501"/>
                </a:cubicBezTo>
                <a:cubicBezTo>
                  <a:pt x="12098" y="17519"/>
                  <a:pt x="12093" y="17540"/>
                  <a:pt x="12099" y="17564"/>
                </a:cubicBezTo>
                <a:cubicBezTo>
                  <a:pt x="12114" y="17614"/>
                  <a:pt x="12159" y="17663"/>
                  <a:pt x="12234" y="17713"/>
                </a:cubicBezTo>
                <a:cubicBezTo>
                  <a:pt x="12279" y="17739"/>
                  <a:pt x="12337" y="17766"/>
                  <a:pt x="12409" y="17792"/>
                </a:cubicBezTo>
                <a:cubicBezTo>
                  <a:pt x="12532" y="17836"/>
                  <a:pt x="12632" y="17895"/>
                  <a:pt x="12710" y="17969"/>
                </a:cubicBezTo>
                <a:cubicBezTo>
                  <a:pt x="12731" y="17990"/>
                  <a:pt x="12751" y="18012"/>
                  <a:pt x="12769" y="18035"/>
                </a:cubicBezTo>
                <a:cubicBezTo>
                  <a:pt x="12799" y="18077"/>
                  <a:pt x="12830" y="18130"/>
                  <a:pt x="12863" y="18193"/>
                </a:cubicBezTo>
                <a:cubicBezTo>
                  <a:pt x="12872" y="18208"/>
                  <a:pt x="12885" y="18221"/>
                  <a:pt x="12903" y="18232"/>
                </a:cubicBezTo>
                <a:cubicBezTo>
                  <a:pt x="12945" y="18261"/>
                  <a:pt x="12983" y="18295"/>
                  <a:pt x="13016" y="18334"/>
                </a:cubicBezTo>
                <a:cubicBezTo>
                  <a:pt x="13028" y="18347"/>
                  <a:pt x="13047" y="18358"/>
                  <a:pt x="13074" y="18365"/>
                </a:cubicBezTo>
                <a:cubicBezTo>
                  <a:pt x="13092" y="18371"/>
                  <a:pt x="13110" y="18377"/>
                  <a:pt x="13128" y="18385"/>
                </a:cubicBezTo>
                <a:cubicBezTo>
                  <a:pt x="13263" y="18435"/>
                  <a:pt x="13356" y="18515"/>
                  <a:pt x="13407" y="18625"/>
                </a:cubicBezTo>
                <a:cubicBezTo>
                  <a:pt x="13413" y="18641"/>
                  <a:pt x="13423" y="18655"/>
                  <a:pt x="13438" y="18668"/>
                </a:cubicBezTo>
                <a:cubicBezTo>
                  <a:pt x="13483" y="18707"/>
                  <a:pt x="13526" y="18748"/>
                  <a:pt x="13568" y="18790"/>
                </a:cubicBezTo>
                <a:cubicBezTo>
                  <a:pt x="13676" y="18903"/>
                  <a:pt x="13765" y="18996"/>
                  <a:pt x="13833" y="19069"/>
                </a:cubicBezTo>
                <a:cubicBezTo>
                  <a:pt x="13890" y="19129"/>
                  <a:pt x="13913" y="19205"/>
                  <a:pt x="13901" y="19297"/>
                </a:cubicBezTo>
                <a:cubicBezTo>
                  <a:pt x="13892" y="19362"/>
                  <a:pt x="13877" y="19424"/>
                  <a:pt x="13856" y="19482"/>
                </a:cubicBezTo>
                <a:cubicBezTo>
                  <a:pt x="13847" y="19502"/>
                  <a:pt x="13833" y="19523"/>
                  <a:pt x="13815" y="19544"/>
                </a:cubicBezTo>
                <a:cubicBezTo>
                  <a:pt x="13780" y="19581"/>
                  <a:pt x="13714" y="19595"/>
                  <a:pt x="13618" y="19588"/>
                </a:cubicBezTo>
                <a:cubicBezTo>
                  <a:pt x="13513" y="19577"/>
                  <a:pt x="13408" y="19567"/>
                  <a:pt x="13303" y="19556"/>
                </a:cubicBezTo>
                <a:cubicBezTo>
                  <a:pt x="13237" y="19551"/>
                  <a:pt x="13195" y="19565"/>
                  <a:pt x="13178" y="19599"/>
                </a:cubicBezTo>
                <a:cubicBezTo>
                  <a:pt x="13172" y="19610"/>
                  <a:pt x="13154" y="19618"/>
                  <a:pt x="13124" y="19623"/>
                </a:cubicBezTo>
                <a:cubicBezTo>
                  <a:pt x="13079" y="19631"/>
                  <a:pt x="13034" y="19637"/>
                  <a:pt x="12989" y="19643"/>
                </a:cubicBezTo>
                <a:cubicBezTo>
                  <a:pt x="12887" y="19650"/>
                  <a:pt x="12823" y="19602"/>
                  <a:pt x="12796" y="19497"/>
                </a:cubicBezTo>
                <a:cubicBezTo>
                  <a:pt x="12790" y="19468"/>
                  <a:pt x="12779" y="19441"/>
                  <a:pt x="12764" y="19415"/>
                </a:cubicBezTo>
                <a:cubicBezTo>
                  <a:pt x="12701" y="19292"/>
                  <a:pt x="12620" y="19178"/>
                  <a:pt x="12522" y="19073"/>
                </a:cubicBezTo>
                <a:cubicBezTo>
                  <a:pt x="12504" y="19052"/>
                  <a:pt x="12480" y="19034"/>
                  <a:pt x="12450" y="19018"/>
                </a:cubicBezTo>
                <a:cubicBezTo>
                  <a:pt x="12405" y="18994"/>
                  <a:pt x="12375" y="18956"/>
                  <a:pt x="12360" y="18904"/>
                </a:cubicBezTo>
                <a:cubicBezTo>
                  <a:pt x="12345" y="18851"/>
                  <a:pt x="12331" y="18799"/>
                  <a:pt x="12319" y="18747"/>
                </a:cubicBezTo>
                <a:cubicBezTo>
                  <a:pt x="12289" y="18610"/>
                  <a:pt x="12213" y="18538"/>
                  <a:pt x="12090" y="18531"/>
                </a:cubicBezTo>
                <a:cubicBezTo>
                  <a:pt x="12075" y="18531"/>
                  <a:pt x="12062" y="18538"/>
                  <a:pt x="12050" y="18554"/>
                </a:cubicBezTo>
                <a:cubicBezTo>
                  <a:pt x="11984" y="18625"/>
                  <a:pt x="11978" y="18717"/>
                  <a:pt x="12032" y="18829"/>
                </a:cubicBezTo>
                <a:cubicBezTo>
                  <a:pt x="12041" y="18853"/>
                  <a:pt x="12051" y="18875"/>
                  <a:pt x="12063" y="18896"/>
                </a:cubicBezTo>
                <a:cubicBezTo>
                  <a:pt x="12132" y="19017"/>
                  <a:pt x="12194" y="19115"/>
                  <a:pt x="12248" y="19191"/>
                </a:cubicBezTo>
                <a:cubicBezTo>
                  <a:pt x="12263" y="19209"/>
                  <a:pt x="12275" y="19230"/>
                  <a:pt x="12284" y="19254"/>
                </a:cubicBezTo>
                <a:cubicBezTo>
                  <a:pt x="12289" y="19269"/>
                  <a:pt x="12294" y="19285"/>
                  <a:pt x="12297" y="19301"/>
                </a:cubicBezTo>
                <a:cubicBezTo>
                  <a:pt x="12309" y="19364"/>
                  <a:pt x="12309" y="19426"/>
                  <a:pt x="12297" y="19489"/>
                </a:cubicBezTo>
                <a:cubicBezTo>
                  <a:pt x="12286" y="19560"/>
                  <a:pt x="12303" y="19605"/>
                  <a:pt x="12349" y="19625"/>
                </a:cubicBezTo>
                <a:cubicBezTo>
                  <a:pt x="12364" y="19631"/>
                  <a:pt x="12383" y="19634"/>
                  <a:pt x="12405" y="19635"/>
                </a:cubicBezTo>
                <a:cubicBezTo>
                  <a:pt x="12435" y="19635"/>
                  <a:pt x="12466" y="19639"/>
                  <a:pt x="12499" y="19647"/>
                </a:cubicBezTo>
                <a:cubicBezTo>
                  <a:pt x="12583" y="19665"/>
                  <a:pt x="12652" y="19698"/>
                  <a:pt x="12706" y="19745"/>
                </a:cubicBezTo>
                <a:cubicBezTo>
                  <a:pt x="12730" y="19763"/>
                  <a:pt x="12754" y="19778"/>
                  <a:pt x="12778" y="19788"/>
                </a:cubicBezTo>
                <a:cubicBezTo>
                  <a:pt x="12784" y="19791"/>
                  <a:pt x="12794" y="19792"/>
                  <a:pt x="12809" y="19792"/>
                </a:cubicBezTo>
                <a:cubicBezTo>
                  <a:pt x="12824" y="19792"/>
                  <a:pt x="12841" y="19793"/>
                  <a:pt x="12859" y="19796"/>
                </a:cubicBezTo>
                <a:cubicBezTo>
                  <a:pt x="12915" y="19806"/>
                  <a:pt x="12962" y="19804"/>
                  <a:pt x="12998" y="19788"/>
                </a:cubicBezTo>
                <a:cubicBezTo>
                  <a:pt x="13022" y="19778"/>
                  <a:pt x="13049" y="19772"/>
                  <a:pt x="13079" y="19772"/>
                </a:cubicBezTo>
                <a:cubicBezTo>
                  <a:pt x="13154" y="19772"/>
                  <a:pt x="13227" y="19778"/>
                  <a:pt x="13299" y="19788"/>
                </a:cubicBezTo>
                <a:cubicBezTo>
                  <a:pt x="13317" y="19791"/>
                  <a:pt x="13333" y="19799"/>
                  <a:pt x="13348" y="19812"/>
                </a:cubicBezTo>
                <a:cubicBezTo>
                  <a:pt x="13387" y="19822"/>
                  <a:pt x="13359" y="19851"/>
                  <a:pt x="13263" y="19898"/>
                </a:cubicBezTo>
                <a:cubicBezTo>
                  <a:pt x="13245" y="19906"/>
                  <a:pt x="13227" y="19911"/>
                  <a:pt x="13209" y="19914"/>
                </a:cubicBezTo>
                <a:cubicBezTo>
                  <a:pt x="13065" y="19943"/>
                  <a:pt x="12917" y="19960"/>
                  <a:pt x="12764" y="19965"/>
                </a:cubicBezTo>
                <a:cubicBezTo>
                  <a:pt x="12674" y="19967"/>
                  <a:pt x="12586" y="19974"/>
                  <a:pt x="12499" y="19985"/>
                </a:cubicBezTo>
                <a:cubicBezTo>
                  <a:pt x="12481" y="19987"/>
                  <a:pt x="12463" y="19990"/>
                  <a:pt x="12445" y="19992"/>
                </a:cubicBezTo>
                <a:cubicBezTo>
                  <a:pt x="12373" y="20003"/>
                  <a:pt x="12301" y="20013"/>
                  <a:pt x="12230" y="20024"/>
                </a:cubicBezTo>
                <a:cubicBezTo>
                  <a:pt x="12184" y="20029"/>
                  <a:pt x="12148" y="20027"/>
                  <a:pt x="12122" y="20016"/>
                </a:cubicBezTo>
                <a:cubicBezTo>
                  <a:pt x="12111" y="20011"/>
                  <a:pt x="12102" y="20004"/>
                  <a:pt x="12095" y="19996"/>
                </a:cubicBezTo>
                <a:cubicBezTo>
                  <a:pt x="12092" y="19991"/>
                  <a:pt x="12075" y="19988"/>
                  <a:pt x="12045" y="19988"/>
                </a:cubicBezTo>
                <a:cubicBezTo>
                  <a:pt x="12001" y="19988"/>
                  <a:pt x="11956" y="19983"/>
                  <a:pt x="11911" y="19973"/>
                </a:cubicBezTo>
                <a:cubicBezTo>
                  <a:pt x="11851" y="19957"/>
                  <a:pt x="11791" y="19947"/>
                  <a:pt x="11731" y="19941"/>
                </a:cubicBezTo>
                <a:cubicBezTo>
                  <a:pt x="11611" y="19933"/>
                  <a:pt x="11491" y="19924"/>
                  <a:pt x="11371" y="19914"/>
                </a:cubicBezTo>
                <a:cubicBezTo>
                  <a:pt x="11357" y="19911"/>
                  <a:pt x="11342" y="19910"/>
                  <a:pt x="11327" y="19910"/>
                </a:cubicBezTo>
                <a:cubicBezTo>
                  <a:pt x="11177" y="19897"/>
                  <a:pt x="11027" y="19890"/>
                  <a:pt x="10877" y="19890"/>
                </a:cubicBezTo>
                <a:cubicBezTo>
                  <a:pt x="10731" y="19888"/>
                  <a:pt x="10608" y="19867"/>
                  <a:pt x="10509" y="19827"/>
                </a:cubicBezTo>
                <a:cubicBezTo>
                  <a:pt x="10485" y="19817"/>
                  <a:pt x="10458" y="19810"/>
                  <a:pt x="10428" y="19808"/>
                </a:cubicBezTo>
                <a:cubicBezTo>
                  <a:pt x="10263" y="19792"/>
                  <a:pt x="10112" y="19802"/>
                  <a:pt x="9974" y="19839"/>
                </a:cubicBezTo>
                <a:cubicBezTo>
                  <a:pt x="9893" y="19860"/>
                  <a:pt x="9835" y="19903"/>
                  <a:pt x="9799" y="19969"/>
                </a:cubicBezTo>
                <a:cubicBezTo>
                  <a:pt x="9784" y="19995"/>
                  <a:pt x="9777" y="20021"/>
                  <a:pt x="9777" y="20047"/>
                </a:cubicBezTo>
                <a:cubicBezTo>
                  <a:pt x="9777" y="20074"/>
                  <a:pt x="9784" y="20100"/>
                  <a:pt x="9799" y="20126"/>
                </a:cubicBezTo>
                <a:cubicBezTo>
                  <a:pt x="9847" y="20215"/>
                  <a:pt x="9952" y="20258"/>
                  <a:pt x="10114" y="20256"/>
                </a:cubicBezTo>
                <a:cubicBezTo>
                  <a:pt x="10368" y="20248"/>
                  <a:pt x="10623" y="20250"/>
                  <a:pt x="10877" y="20264"/>
                </a:cubicBezTo>
                <a:cubicBezTo>
                  <a:pt x="10892" y="20264"/>
                  <a:pt x="10909" y="20267"/>
                  <a:pt x="10927" y="20275"/>
                </a:cubicBezTo>
                <a:cubicBezTo>
                  <a:pt x="10975" y="20299"/>
                  <a:pt x="11036" y="20322"/>
                  <a:pt x="11111" y="20346"/>
                </a:cubicBezTo>
                <a:cubicBezTo>
                  <a:pt x="11201" y="20375"/>
                  <a:pt x="11265" y="20374"/>
                  <a:pt x="11304" y="20342"/>
                </a:cubicBezTo>
                <a:cubicBezTo>
                  <a:pt x="11319" y="20329"/>
                  <a:pt x="11342" y="20321"/>
                  <a:pt x="11371" y="20319"/>
                </a:cubicBezTo>
                <a:cubicBezTo>
                  <a:pt x="11524" y="20313"/>
                  <a:pt x="11674" y="20305"/>
                  <a:pt x="11821" y="20295"/>
                </a:cubicBezTo>
                <a:cubicBezTo>
                  <a:pt x="11872" y="20292"/>
                  <a:pt x="11915" y="20297"/>
                  <a:pt x="11951" y="20311"/>
                </a:cubicBezTo>
                <a:cubicBezTo>
                  <a:pt x="12019" y="20337"/>
                  <a:pt x="12058" y="20393"/>
                  <a:pt x="12068" y="20480"/>
                </a:cubicBezTo>
                <a:cubicBezTo>
                  <a:pt x="12068" y="20493"/>
                  <a:pt x="12069" y="20506"/>
                  <a:pt x="12072" y="20519"/>
                </a:cubicBezTo>
                <a:cubicBezTo>
                  <a:pt x="12078" y="20592"/>
                  <a:pt x="12093" y="20659"/>
                  <a:pt x="12117" y="20719"/>
                </a:cubicBezTo>
                <a:cubicBezTo>
                  <a:pt x="12150" y="20801"/>
                  <a:pt x="12149" y="20858"/>
                  <a:pt x="12113" y="20892"/>
                </a:cubicBezTo>
                <a:cubicBezTo>
                  <a:pt x="12098" y="20905"/>
                  <a:pt x="12092" y="20925"/>
                  <a:pt x="12095" y="20951"/>
                </a:cubicBezTo>
                <a:cubicBezTo>
                  <a:pt x="12095" y="20996"/>
                  <a:pt x="12063" y="21015"/>
                  <a:pt x="12001" y="21010"/>
                </a:cubicBezTo>
                <a:cubicBezTo>
                  <a:pt x="11985" y="21010"/>
                  <a:pt x="11969" y="21014"/>
                  <a:pt x="11951" y="21022"/>
                </a:cubicBezTo>
                <a:cubicBezTo>
                  <a:pt x="11891" y="21046"/>
                  <a:pt x="11851" y="21040"/>
                  <a:pt x="11830" y="21006"/>
                </a:cubicBezTo>
                <a:cubicBezTo>
                  <a:pt x="11824" y="20996"/>
                  <a:pt x="11807" y="20987"/>
                  <a:pt x="11780" y="20979"/>
                </a:cubicBezTo>
                <a:cubicBezTo>
                  <a:pt x="11762" y="20974"/>
                  <a:pt x="11744" y="20968"/>
                  <a:pt x="11726" y="20963"/>
                </a:cubicBezTo>
                <a:cubicBezTo>
                  <a:pt x="11640" y="20945"/>
                  <a:pt x="11575" y="20921"/>
                  <a:pt x="11533" y="20892"/>
                </a:cubicBezTo>
                <a:cubicBezTo>
                  <a:pt x="11515" y="20879"/>
                  <a:pt x="11491" y="20871"/>
                  <a:pt x="11461" y="20869"/>
                </a:cubicBezTo>
                <a:cubicBezTo>
                  <a:pt x="11387" y="20858"/>
                  <a:pt x="11312" y="20853"/>
                  <a:pt x="11237" y="20853"/>
                </a:cubicBezTo>
                <a:cubicBezTo>
                  <a:pt x="11207" y="20853"/>
                  <a:pt x="11177" y="20858"/>
                  <a:pt x="11147" y="20869"/>
                </a:cubicBezTo>
                <a:cubicBezTo>
                  <a:pt x="10964" y="20924"/>
                  <a:pt x="10823" y="20984"/>
                  <a:pt x="10725" y="21049"/>
                </a:cubicBezTo>
                <a:cubicBezTo>
                  <a:pt x="10707" y="21063"/>
                  <a:pt x="10683" y="21068"/>
                  <a:pt x="10653" y="21065"/>
                </a:cubicBezTo>
                <a:cubicBezTo>
                  <a:pt x="10485" y="21052"/>
                  <a:pt x="10349" y="21064"/>
                  <a:pt x="10244" y="21101"/>
                </a:cubicBezTo>
                <a:cubicBezTo>
                  <a:pt x="10211" y="21111"/>
                  <a:pt x="10175" y="21133"/>
                  <a:pt x="10136" y="21167"/>
                </a:cubicBezTo>
                <a:cubicBezTo>
                  <a:pt x="10121" y="21180"/>
                  <a:pt x="10100" y="21191"/>
                  <a:pt x="10073" y="21199"/>
                </a:cubicBezTo>
                <a:cubicBezTo>
                  <a:pt x="10055" y="21204"/>
                  <a:pt x="10039" y="21207"/>
                  <a:pt x="10024" y="21207"/>
                </a:cubicBezTo>
                <a:cubicBezTo>
                  <a:pt x="9739" y="21220"/>
                  <a:pt x="9453" y="21230"/>
                  <a:pt x="9166" y="21238"/>
                </a:cubicBezTo>
                <a:cubicBezTo>
                  <a:pt x="9061" y="21243"/>
                  <a:pt x="8956" y="21246"/>
                  <a:pt x="8851" y="21246"/>
                </a:cubicBezTo>
                <a:cubicBezTo>
                  <a:pt x="8836" y="21246"/>
                  <a:pt x="8821" y="21246"/>
                  <a:pt x="8806" y="21246"/>
                </a:cubicBezTo>
                <a:cubicBezTo>
                  <a:pt x="8522" y="21233"/>
                  <a:pt x="8237" y="21232"/>
                  <a:pt x="7953" y="21242"/>
                </a:cubicBezTo>
                <a:cubicBezTo>
                  <a:pt x="7878" y="21245"/>
                  <a:pt x="7804" y="21255"/>
                  <a:pt x="7733" y="21273"/>
                </a:cubicBezTo>
                <a:cubicBezTo>
                  <a:pt x="7655" y="21294"/>
                  <a:pt x="7577" y="21314"/>
                  <a:pt x="7499" y="21332"/>
                </a:cubicBezTo>
                <a:cubicBezTo>
                  <a:pt x="7367" y="21366"/>
                  <a:pt x="7247" y="21391"/>
                  <a:pt x="7140" y="21407"/>
                </a:cubicBezTo>
                <a:cubicBezTo>
                  <a:pt x="7114" y="21411"/>
                  <a:pt x="7088" y="21416"/>
                  <a:pt x="7063" y="21421"/>
                </a:cubicBezTo>
                <a:lnTo>
                  <a:pt x="7059" y="21403"/>
                </a:lnTo>
                <a:cubicBezTo>
                  <a:pt x="6900" y="21408"/>
                  <a:pt x="6752" y="21431"/>
                  <a:pt x="6614" y="21470"/>
                </a:cubicBezTo>
                <a:cubicBezTo>
                  <a:pt x="6581" y="21478"/>
                  <a:pt x="6550" y="21483"/>
                  <a:pt x="6520" y="21486"/>
                </a:cubicBezTo>
                <a:cubicBezTo>
                  <a:pt x="6289" y="21496"/>
                  <a:pt x="6064" y="21518"/>
                  <a:pt x="5846" y="21552"/>
                </a:cubicBezTo>
                <a:cubicBezTo>
                  <a:pt x="5801" y="21558"/>
                  <a:pt x="5756" y="21563"/>
                  <a:pt x="5711" y="21568"/>
                </a:cubicBezTo>
                <a:cubicBezTo>
                  <a:pt x="5591" y="21576"/>
                  <a:pt x="5471" y="21583"/>
                  <a:pt x="5352" y="21588"/>
                </a:cubicBezTo>
                <a:cubicBezTo>
                  <a:pt x="5190" y="21593"/>
                  <a:pt x="5055" y="21576"/>
                  <a:pt x="4947" y="21537"/>
                </a:cubicBezTo>
                <a:cubicBezTo>
                  <a:pt x="4917" y="21526"/>
                  <a:pt x="4886" y="21518"/>
                  <a:pt x="4853" y="21513"/>
                </a:cubicBezTo>
                <a:cubicBezTo>
                  <a:pt x="4811" y="21505"/>
                  <a:pt x="4769" y="21497"/>
                  <a:pt x="4727" y="21490"/>
                </a:cubicBezTo>
                <a:cubicBezTo>
                  <a:pt x="4583" y="21455"/>
                  <a:pt x="4432" y="21435"/>
                  <a:pt x="4273" y="21427"/>
                </a:cubicBezTo>
                <a:cubicBezTo>
                  <a:pt x="4198" y="21424"/>
                  <a:pt x="4125" y="21428"/>
                  <a:pt x="4053" y="21439"/>
                </a:cubicBezTo>
                <a:cubicBezTo>
                  <a:pt x="4035" y="21441"/>
                  <a:pt x="4017" y="21445"/>
                  <a:pt x="3999" y="21450"/>
                </a:cubicBezTo>
                <a:cubicBezTo>
                  <a:pt x="3972" y="21458"/>
                  <a:pt x="3947" y="21467"/>
                  <a:pt x="3923" y="21478"/>
                </a:cubicBezTo>
                <a:cubicBezTo>
                  <a:pt x="3812" y="21530"/>
                  <a:pt x="3707" y="21522"/>
                  <a:pt x="3608" y="21454"/>
                </a:cubicBezTo>
                <a:cubicBezTo>
                  <a:pt x="3525" y="21397"/>
                  <a:pt x="3459" y="21322"/>
                  <a:pt x="3411" y="21230"/>
                </a:cubicBezTo>
                <a:cubicBezTo>
                  <a:pt x="3402" y="21214"/>
                  <a:pt x="3397" y="21200"/>
                  <a:pt x="3397" y="21187"/>
                </a:cubicBezTo>
                <a:cubicBezTo>
                  <a:pt x="3391" y="21111"/>
                  <a:pt x="3340" y="21066"/>
                  <a:pt x="3245" y="21053"/>
                </a:cubicBezTo>
                <a:cubicBezTo>
                  <a:pt x="3227" y="21051"/>
                  <a:pt x="3209" y="21047"/>
                  <a:pt x="3191" y="21042"/>
                </a:cubicBezTo>
                <a:cubicBezTo>
                  <a:pt x="3164" y="21034"/>
                  <a:pt x="3150" y="21027"/>
                  <a:pt x="3150" y="21022"/>
                </a:cubicBezTo>
                <a:cubicBezTo>
                  <a:pt x="3120" y="20896"/>
                  <a:pt x="3111" y="20768"/>
                  <a:pt x="3123" y="20637"/>
                </a:cubicBezTo>
                <a:cubicBezTo>
                  <a:pt x="3129" y="20566"/>
                  <a:pt x="3158" y="20503"/>
                  <a:pt x="3209" y="20448"/>
                </a:cubicBezTo>
                <a:cubicBezTo>
                  <a:pt x="3274" y="20377"/>
                  <a:pt x="3361" y="20325"/>
                  <a:pt x="3469" y="20291"/>
                </a:cubicBezTo>
                <a:cubicBezTo>
                  <a:pt x="3577" y="20254"/>
                  <a:pt x="3695" y="20243"/>
                  <a:pt x="3824" y="20256"/>
                </a:cubicBezTo>
                <a:cubicBezTo>
                  <a:pt x="3869" y="20261"/>
                  <a:pt x="3914" y="20265"/>
                  <a:pt x="3959" y="20267"/>
                </a:cubicBezTo>
                <a:cubicBezTo>
                  <a:pt x="4228" y="20278"/>
                  <a:pt x="4498" y="20281"/>
                  <a:pt x="4768" y="20275"/>
                </a:cubicBezTo>
                <a:cubicBezTo>
                  <a:pt x="4926" y="20273"/>
                  <a:pt x="5074" y="20294"/>
                  <a:pt x="5212" y="20338"/>
                </a:cubicBezTo>
                <a:cubicBezTo>
                  <a:pt x="5260" y="20354"/>
                  <a:pt x="5301" y="20379"/>
                  <a:pt x="5334" y="20413"/>
                </a:cubicBezTo>
                <a:cubicBezTo>
                  <a:pt x="5393" y="20473"/>
                  <a:pt x="5474" y="20507"/>
                  <a:pt x="5576" y="20515"/>
                </a:cubicBezTo>
                <a:cubicBezTo>
                  <a:pt x="5606" y="20518"/>
                  <a:pt x="5621" y="20516"/>
                  <a:pt x="5621" y="20511"/>
                </a:cubicBezTo>
                <a:cubicBezTo>
                  <a:pt x="5642" y="20430"/>
                  <a:pt x="5675" y="20355"/>
                  <a:pt x="5720" y="20287"/>
                </a:cubicBezTo>
                <a:cubicBezTo>
                  <a:pt x="5729" y="20271"/>
                  <a:pt x="5735" y="20257"/>
                  <a:pt x="5738" y="20244"/>
                </a:cubicBezTo>
                <a:cubicBezTo>
                  <a:pt x="5750" y="20113"/>
                  <a:pt x="5759" y="19982"/>
                  <a:pt x="5765" y="19851"/>
                </a:cubicBezTo>
                <a:cubicBezTo>
                  <a:pt x="5765" y="19780"/>
                  <a:pt x="5744" y="19733"/>
                  <a:pt x="5702" y="19709"/>
                </a:cubicBezTo>
                <a:cubicBezTo>
                  <a:pt x="5672" y="19694"/>
                  <a:pt x="5653" y="19661"/>
                  <a:pt x="5644" y="19611"/>
                </a:cubicBezTo>
                <a:cubicBezTo>
                  <a:pt x="5626" y="19525"/>
                  <a:pt x="5573" y="19480"/>
                  <a:pt x="5486" y="19478"/>
                </a:cubicBezTo>
                <a:cubicBezTo>
                  <a:pt x="5456" y="19475"/>
                  <a:pt x="5429" y="19464"/>
                  <a:pt x="5405" y="19446"/>
                </a:cubicBezTo>
                <a:cubicBezTo>
                  <a:pt x="5331" y="19381"/>
                  <a:pt x="5251" y="19320"/>
                  <a:pt x="5167" y="19265"/>
                </a:cubicBezTo>
                <a:cubicBezTo>
                  <a:pt x="5140" y="19247"/>
                  <a:pt x="5116" y="19242"/>
                  <a:pt x="5096" y="19250"/>
                </a:cubicBezTo>
                <a:cubicBezTo>
                  <a:pt x="5045" y="19271"/>
                  <a:pt x="4980" y="19285"/>
                  <a:pt x="4902" y="19293"/>
                </a:cubicBezTo>
                <a:cubicBezTo>
                  <a:pt x="4806" y="19301"/>
                  <a:pt x="4750" y="19275"/>
                  <a:pt x="4732" y="19214"/>
                </a:cubicBezTo>
                <a:cubicBezTo>
                  <a:pt x="4726" y="19191"/>
                  <a:pt x="4715" y="19171"/>
                  <a:pt x="4700" y="19155"/>
                </a:cubicBezTo>
                <a:cubicBezTo>
                  <a:pt x="4670" y="19119"/>
                  <a:pt x="4651" y="19074"/>
                  <a:pt x="4642" y="19022"/>
                </a:cubicBezTo>
                <a:cubicBezTo>
                  <a:pt x="4636" y="18982"/>
                  <a:pt x="4628" y="18944"/>
                  <a:pt x="4619" y="18908"/>
                </a:cubicBezTo>
                <a:cubicBezTo>
                  <a:pt x="4613" y="18879"/>
                  <a:pt x="4604" y="18851"/>
                  <a:pt x="4592" y="18825"/>
                </a:cubicBezTo>
                <a:cubicBezTo>
                  <a:pt x="4523" y="18673"/>
                  <a:pt x="4402" y="18567"/>
                  <a:pt x="4228" y="18507"/>
                </a:cubicBezTo>
                <a:cubicBezTo>
                  <a:pt x="4198" y="18496"/>
                  <a:pt x="4172" y="18482"/>
                  <a:pt x="4148" y="18464"/>
                </a:cubicBezTo>
                <a:cubicBezTo>
                  <a:pt x="3920" y="18296"/>
                  <a:pt x="3740" y="18140"/>
                  <a:pt x="3608" y="17996"/>
                </a:cubicBezTo>
                <a:cubicBezTo>
                  <a:pt x="3587" y="17973"/>
                  <a:pt x="3565" y="17957"/>
                  <a:pt x="3541" y="17949"/>
                </a:cubicBezTo>
                <a:cubicBezTo>
                  <a:pt x="3412" y="17899"/>
                  <a:pt x="3282" y="17849"/>
                  <a:pt x="3150" y="17800"/>
                </a:cubicBezTo>
                <a:cubicBezTo>
                  <a:pt x="3120" y="17789"/>
                  <a:pt x="3089" y="17781"/>
                  <a:pt x="3056" y="17776"/>
                </a:cubicBezTo>
                <a:cubicBezTo>
                  <a:pt x="2912" y="17760"/>
                  <a:pt x="2789" y="17708"/>
                  <a:pt x="2687" y="17619"/>
                </a:cubicBezTo>
                <a:cubicBezTo>
                  <a:pt x="2667" y="17598"/>
                  <a:pt x="2644" y="17578"/>
                  <a:pt x="2620" y="17560"/>
                </a:cubicBezTo>
                <a:cubicBezTo>
                  <a:pt x="2599" y="17539"/>
                  <a:pt x="2578" y="17527"/>
                  <a:pt x="2557" y="17524"/>
                </a:cubicBezTo>
                <a:cubicBezTo>
                  <a:pt x="2428" y="17501"/>
                  <a:pt x="2297" y="17496"/>
                  <a:pt x="2162" y="17509"/>
                </a:cubicBezTo>
                <a:cubicBezTo>
                  <a:pt x="2147" y="17509"/>
                  <a:pt x="2132" y="17509"/>
                  <a:pt x="2117" y="17509"/>
                </a:cubicBezTo>
                <a:cubicBezTo>
                  <a:pt x="1967" y="17522"/>
                  <a:pt x="1817" y="17523"/>
                  <a:pt x="1668" y="17513"/>
                </a:cubicBezTo>
                <a:cubicBezTo>
                  <a:pt x="1653" y="17510"/>
                  <a:pt x="1638" y="17509"/>
                  <a:pt x="1623" y="17509"/>
                </a:cubicBezTo>
                <a:cubicBezTo>
                  <a:pt x="1476" y="17501"/>
                  <a:pt x="1383" y="17456"/>
                  <a:pt x="1344" y="17375"/>
                </a:cubicBezTo>
                <a:cubicBezTo>
                  <a:pt x="1335" y="17360"/>
                  <a:pt x="1322" y="17346"/>
                  <a:pt x="1304" y="17336"/>
                </a:cubicBezTo>
                <a:cubicBezTo>
                  <a:pt x="1163" y="17257"/>
                  <a:pt x="1058" y="17151"/>
                  <a:pt x="989" y="17018"/>
                </a:cubicBezTo>
                <a:cubicBezTo>
                  <a:pt x="977" y="16991"/>
                  <a:pt x="967" y="16964"/>
                  <a:pt x="958" y="16935"/>
                </a:cubicBezTo>
                <a:cubicBezTo>
                  <a:pt x="898" y="16778"/>
                  <a:pt x="805" y="16661"/>
                  <a:pt x="679" y="16585"/>
                </a:cubicBezTo>
                <a:cubicBezTo>
                  <a:pt x="584" y="16528"/>
                  <a:pt x="509" y="16475"/>
                  <a:pt x="455" y="16428"/>
                </a:cubicBezTo>
                <a:cubicBezTo>
                  <a:pt x="440" y="16415"/>
                  <a:pt x="423" y="16406"/>
                  <a:pt x="405" y="16401"/>
                </a:cubicBezTo>
                <a:cubicBezTo>
                  <a:pt x="229" y="16346"/>
                  <a:pt x="154" y="16224"/>
                  <a:pt x="181" y="16035"/>
                </a:cubicBezTo>
                <a:cubicBezTo>
                  <a:pt x="184" y="16009"/>
                  <a:pt x="191" y="15985"/>
                  <a:pt x="203" y="15964"/>
                </a:cubicBezTo>
                <a:cubicBezTo>
                  <a:pt x="208" y="15955"/>
                  <a:pt x="212" y="15946"/>
                  <a:pt x="217" y="15937"/>
                </a:cubicBezTo>
                <a:cubicBezTo>
                  <a:pt x="148" y="15786"/>
                  <a:pt x="121" y="15624"/>
                  <a:pt x="136" y="15450"/>
                </a:cubicBezTo>
                <a:cubicBezTo>
                  <a:pt x="151" y="15269"/>
                  <a:pt x="131" y="15100"/>
                  <a:pt x="77" y="14943"/>
                </a:cubicBezTo>
                <a:cubicBezTo>
                  <a:pt x="41" y="14833"/>
                  <a:pt x="23" y="14714"/>
                  <a:pt x="23" y="14585"/>
                </a:cubicBezTo>
                <a:cubicBezTo>
                  <a:pt x="23" y="14546"/>
                  <a:pt x="19" y="14507"/>
                  <a:pt x="10" y="14467"/>
                </a:cubicBezTo>
                <a:cubicBezTo>
                  <a:pt x="-17" y="14323"/>
                  <a:pt x="11" y="14207"/>
                  <a:pt x="95" y="14118"/>
                </a:cubicBezTo>
                <a:cubicBezTo>
                  <a:pt x="107" y="14102"/>
                  <a:pt x="116" y="14086"/>
                  <a:pt x="122" y="14070"/>
                </a:cubicBezTo>
                <a:cubicBezTo>
                  <a:pt x="161" y="13942"/>
                  <a:pt x="200" y="13814"/>
                  <a:pt x="239" y="13685"/>
                </a:cubicBezTo>
                <a:cubicBezTo>
                  <a:pt x="245" y="13669"/>
                  <a:pt x="251" y="13654"/>
                  <a:pt x="257" y="13638"/>
                </a:cubicBezTo>
                <a:cubicBezTo>
                  <a:pt x="266" y="13601"/>
                  <a:pt x="278" y="13565"/>
                  <a:pt x="293" y="13528"/>
                </a:cubicBezTo>
                <a:cubicBezTo>
                  <a:pt x="311" y="13476"/>
                  <a:pt x="329" y="13408"/>
                  <a:pt x="347" y="13324"/>
                </a:cubicBezTo>
                <a:cubicBezTo>
                  <a:pt x="356" y="13287"/>
                  <a:pt x="365" y="13250"/>
                  <a:pt x="374" y="13214"/>
                </a:cubicBezTo>
                <a:cubicBezTo>
                  <a:pt x="380" y="13185"/>
                  <a:pt x="387" y="13156"/>
                  <a:pt x="396" y="13127"/>
                </a:cubicBezTo>
                <a:cubicBezTo>
                  <a:pt x="459" y="12933"/>
                  <a:pt x="570" y="12795"/>
                  <a:pt x="729" y="12711"/>
                </a:cubicBezTo>
                <a:cubicBezTo>
                  <a:pt x="777" y="12682"/>
                  <a:pt x="802" y="12652"/>
                  <a:pt x="805" y="12620"/>
                </a:cubicBezTo>
                <a:cubicBezTo>
                  <a:pt x="808" y="12581"/>
                  <a:pt x="816" y="12543"/>
                  <a:pt x="828" y="12506"/>
                </a:cubicBezTo>
                <a:cubicBezTo>
                  <a:pt x="831" y="12491"/>
                  <a:pt x="832" y="12478"/>
                  <a:pt x="832" y="12467"/>
                </a:cubicBezTo>
                <a:cubicBezTo>
                  <a:pt x="802" y="12208"/>
                  <a:pt x="870" y="12036"/>
                  <a:pt x="1034" y="11952"/>
                </a:cubicBezTo>
                <a:cubicBezTo>
                  <a:pt x="1049" y="11992"/>
                  <a:pt x="1063" y="12031"/>
                  <a:pt x="1075" y="12070"/>
                </a:cubicBezTo>
                <a:cubicBezTo>
                  <a:pt x="1087" y="12115"/>
                  <a:pt x="1130" y="12123"/>
                  <a:pt x="1205" y="12094"/>
                </a:cubicBezTo>
                <a:cubicBezTo>
                  <a:pt x="1286" y="12065"/>
                  <a:pt x="1376" y="12002"/>
                  <a:pt x="1475" y="11905"/>
                </a:cubicBezTo>
                <a:cubicBezTo>
                  <a:pt x="1495" y="11884"/>
                  <a:pt x="1507" y="11861"/>
                  <a:pt x="1510" y="11834"/>
                </a:cubicBezTo>
                <a:cubicBezTo>
                  <a:pt x="1522" y="11730"/>
                  <a:pt x="1533" y="11625"/>
                  <a:pt x="1542" y="11520"/>
                </a:cubicBezTo>
                <a:cubicBezTo>
                  <a:pt x="1548" y="11468"/>
                  <a:pt x="1558" y="11415"/>
                  <a:pt x="1573" y="11363"/>
                </a:cubicBezTo>
                <a:cubicBezTo>
                  <a:pt x="1588" y="11310"/>
                  <a:pt x="1617" y="11270"/>
                  <a:pt x="1659" y="11241"/>
                </a:cubicBezTo>
                <a:cubicBezTo>
                  <a:pt x="1722" y="11191"/>
                  <a:pt x="1813" y="11166"/>
                  <a:pt x="1933" y="11166"/>
                </a:cubicBezTo>
                <a:cubicBezTo>
                  <a:pt x="1963" y="11166"/>
                  <a:pt x="1984" y="11160"/>
                  <a:pt x="1996" y="11147"/>
                </a:cubicBezTo>
                <a:cubicBezTo>
                  <a:pt x="2029" y="11107"/>
                  <a:pt x="2063" y="11071"/>
                  <a:pt x="2099" y="11037"/>
                </a:cubicBezTo>
                <a:cubicBezTo>
                  <a:pt x="2189" y="10945"/>
                  <a:pt x="2286" y="10876"/>
                  <a:pt x="2391" y="10828"/>
                </a:cubicBezTo>
                <a:cubicBezTo>
                  <a:pt x="2415" y="10818"/>
                  <a:pt x="2434" y="10806"/>
                  <a:pt x="2449" y="10793"/>
                </a:cubicBezTo>
                <a:cubicBezTo>
                  <a:pt x="2464" y="10780"/>
                  <a:pt x="2476" y="10762"/>
                  <a:pt x="2485" y="10738"/>
                </a:cubicBezTo>
                <a:cubicBezTo>
                  <a:pt x="2491" y="10722"/>
                  <a:pt x="2494" y="10708"/>
                  <a:pt x="2494" y="10695"/>
                </a:cubicBezTo>
                <a:cubicBezTo>
                  <a:pt x="2485" y="10582"/>
                  <a:pt x="2523" y="10521"/>
                  <a:pt x="2607" y="10510"/>
                </a:cubicBezTo>
                <a:cubicBezTo>
                  <a:pt x="2651" y="10502"/>
                  <a:pt x="2695" y="10494"/>
                  <a:pt x="2737" y="10487"/>
                </a:cubicBezTo>
                <a:cubicBezTo>
                  <a:pt x="2755" y="10481"/>
                  <a:pt x="2773" y="10476"/>
                  <a:pt x="2791" y="10471"/>
                </a:cubicBezTo>
                <a:cubicBezTo>
                  <a:pt x="2818" y="10463"/>
                  <a:pt x="2839" y="10452"/>
                  <a:pt x="2854" y="10439"/>
                </a:cubicBezTo>
                <a:cubicBezTo>
                  <a:pt x="2869" y="10426"/>
                  <a:pt x="2869" y="10416"/>
                  <a:pt x="2854" y="10408"/>
                </a:cubicBezTo>
                <a:cubicBezTo>
                  <a:pt x="2755" y="10348"/>
                  <a:pt x="2687" y="10260"/>
                  <a:pt x="2651" y="10145"/>
                </a:cubicBezTo>
                <a:cubicBezTo>
                  <a:pt x="2681" y="10145"/>
                  <a:pt x="2711" y="10143"/>
                  <a:pt x="2741" y="10141"/>
                </a:cubicBezTo>
                <a:cubicBezTo>
                  <a:pt x="2858" y="10130"/>
                  <a:pt x="2947" y="10146"/>
                  <a:pt x="3006" y="10188"/>
                </a:cubicBezTo>
                <a:cubicBezTo>
                  <a:pt x="3069" y="10235"/>
                  <a:pt x="3116" y="10234"/>
                  <a:pt x="3146" y="10184"/>
                </a:cubicBezTo>
                <a:cubicBezTo>
                  <a:pt x="3131" y="10171"/>
                  <a:pt x="3114" y="10159"/>
                  <a:pt x="3096" y="10149"/>
                </a:cubicBezTo>
                <a:cubicBezTo>
                  <a:pt x="3069" y="10133"/>
                  <a:pt x="3044" y="10116"/>
                  <a:pt x="3020" y="10097"/>
                </a:cubicBezTo>
                <a:cubicBezTo>
                  <a:pt x="2939" y="10026"/>
                  <a:pt x="2946" y="9974"/>
                  <a:pt x="3042" y="9940"/>
                </a:cubicBezTo>
                <a:cubicBezTo>
                  <a:pt x="3045" y="9939"/>
                  <a:pt x="3048" y="9937"/>
                  <a:pt x="3051" y="9936"/>
                </a:cubicBezTo>
                <a:cubicBezTo>
                  <a:pt x="3067" y="9932"/>
                  <a:pt x="3083" y="9927"/>
                  <a:pt x="3099" y="9923"/>
                </a:cubicBezTo>
                <a:cubicBezTo>
                  <a:pt x="3101" y="9922"/>
                  <a:pt x="3103" y="9921"/>
                  <a:pt x="3105" y="9921"/>
                </a:cubicBezTo>
                <a:cubicBezTo>
                  <a:pt x="3132" y="9913"/>
                  <a:pt x="3159" y="9913"/>
                  <a:pt x="3186" y="9921"/>
                </a:cubicBezTo>
                <a:cubicBezTo>
                  <a:pt x="3234" y="9939"/>
                  <a:pt x="3276" y="9965"/>
                  <a:pt x="3312" y="9999"/>
                </a:cubicBezTo>
                <a:cubicBezTo>
                  <a:pt x="3336" y="10018"/>
                  <a:pt x="3358" y="10037"/>
                  <a:pt x="3379" y="10058"/>
                </a:cubicBezTo>
                <a:cubicBezTo>
                  <a:pt x="3424" y="10105"/>
                  <a:pt x="3451" y="10108"/>
                  <a:pt x="3460" y="10066"/>
                </a:cubicBezTo>
                <a:cubicBezTo>
                  <a:pt x="3445" y="10066"/>
                  <a:pt x="3436" y="10063"/>
                  <a:pt x="3433" y="10058"/>
                </a:cubicBezTo>
                <a:cubicBezTo>
                  <a:pt x="3421" y="10037"/>
                  <a:pt x="3412" y="10014"/>
                  <a:pt x="3406" y="9987"/>
                </a:cubicBezTo>
                <a:cubicBezTo>
                  <a:pt x="3394" y="9932"/>
                  <a:pt x="3411" y="9901"/>
                  <a:pt x="3456" y="9893"/>
                </a:cubicBezTo>
                <a:cubicBezTo>
                  <a:pt x="3474" y="9890"/>
                  <a:pt x="3484" y="9881"/>
                  <a:pt x="3487" y="9866"/>
                </a:cubicBezTo>
                <a:cubicBezTo>
                  <a:pt x="3496" y="9826"/>
                  <a:pt x="3529" y="9818"/>
                  <a:pt x="3586" y="9842"/>
                </a:cubicBezTo>
                <a:cubicBezTo>
                  <a:pt x="3658" y="9873"/>
                  <a:pt x="3707" y="9922"/>
                  <a:pt x="3734" y="9987"/>
                </a:cubicBezTo>
                <a:cubicBezTo>
                  <a:pt x="3749" y="9987"/>
                  <a:pt x="3763" y="9985"/>
                  <a:pt x="3775" y="9980"/>
                </a:cubicBezTo>
                <a:cubicBezTo>
                  <a:pt x="3793" y="9972"/>
                  <a:pt x="3809" y="9961"/>
                  <a:pt x="3824" y="9948"/>
                </a:cubicBezTo>
                <a:cubicBezTo>
                  <a:pt x="3854" y="9922"/>
                  <a:pt x="3875" y="9884"/>
                  <a:pt x="3887" y="9834"/>
                </a:cubicBezTo>
                <a:cubicBezTo>
                  <a:pt x="3890" y="9818"/>
                  <a:pt x="3899" y="9811"/>
                  <a:pt x="3914" y="9811"/>
                </a:cubicBezTo>
                <a:cubicBezTo>
                  <a:pt x="4073" y="9805"/>
                  <a:pt x="4189" y="9770"/>
                  <a:pt x="4264" y="9704"/>
                </a:cubicBezTo>
                <a:cubicBezTo>
                  <a:pt x="4285" y="9684"/>
                  <a:pt x="4308" y="9668"/>
                  <a:pt x="4332" y="9657"/>
                </a:cubicBezTo>
                <a:cubicBezTo>
                  <a:pt x="4404" y="9621"/>
                  <a:pt x="4425" y="9549"/>
                  <a:pt x="4395" y="9441"/>
                </a:cubicBezTo>
                <a:cubicBezTo>
                  <a:pt x="4389" y="9425"/>
                  <a:pt x="4387" y="9415"/>
                  <a:pt x="4390" y="9410"/>
                </a:cubicBezTo>
                <a:cubicBezTo>
                  <a:pt x="4402" y="9389"/>
                  <a:pt x="4423" y="9378"/>
                  <a:pt x="4453" y="9378"/>
                </a:cubicBezTo>
                <a:cubicBezTo>
                  <a:pt x="4516" y="9384"/>
                  <a:pt x="4550" y="9364"/>
                  <a:pt x="4556" y="9319"/>
                </a:cubicBezTo>
                <a:cubicBezTo>
                  <a:pt x="4562" y="9254"/>
                  <a:pt x="4571" y="9188"/>
                  <a:pt x="4583" y="9123"/>
                </a:cubicBezTo>
                <a:cubicBezTo>
                  <a:pt x="4607" y="8974"/>
                  <a:pt x="4534" y="8907"/>
                  <a:pt x="4363" y="8923"/>
                </a:cubicBezTo>
                <a:cubicBezTo>
                  <a:pt x="4333" y="8925"/>
                  <a:pt x="4314" y="8933"/>
                  <a:pt x="4305" y="8946"/>
                </a:cubicBezTo>
                <a:cubicBezTo>
                  <a:pt x="4242" y="9033"/>
                  <a:pt x="4142" y="9078"/>
                  <a:pt x="4004" y="9084"/>
                </a:cubicBezTo>
                <a:cubicBezTo>
                  <a:pt x="4004" y="9026"/>
                  <a:pt x="4014" y="8972"/>
                  <a:pt x="4035" y="8923"/>
                </a:cubicBezTo>
                <a:cubicBezTo>
                  <a:pt x="4044" y="8899"/>
                  <a:pt x="4041" y="8881"/>
                  <a:pt x="4026" y="8867"/>
                </a:cubicBezTo>
                <a:cubicBezTo>
                  <a:pt x="4011" y="8854"/>
                  <a:pt x="3995" y="8841"/>
                  <a:pt x="3977" y="8828"/>
                </a:cubicBezTo>
                <a:cubicBezTo>
                  <a:pt x="3920" y="8789"/>
                  <a:pt x="3866" y="8807"/>
                  <a:pt x="3815" y="8883"/>
                </a:cubicBezTo>
                <a:cubicBezTo>
                  <a:pt x="3806" y="8899"/>
                  <a:pt x="3800" y="8915"/>
                  <a:pt x="3797" y="8930"/>
                </a:cubicBezTo>
                <a:cubicBezTo>
                  <a:pt x="3782" y="9004"/>
                  <a:pt x="3748" y="9056"/>
                  <a:pt x="3694" y="9088"/>
                </a:cubicBezTo>
                <a:cubicBezTo>
                  <a:pt x="3676" y="9098"/>
                  <a:pt x="3664" y="9111"/>
                  <a:pt x="3658" y="9127"/>
                </a:cubicBezTo>
                <a:cubicBezTo>
                  <a:pt x="3649" y="9150"/>
                  <a:pt x="3637" y="9169"/>
                  <a:pt x="3622" y="9182"/>
                </a:cubicBezTo>
                <a:cubicBezTo>
                  <a:pt x="3553" y="9242"/>
                  <a:pt x="3484" y="9236"/>
                  <a:pt x="3415" y="9162"/>
                </a:cubicBezTo>
                <a:cubicBezTo>
                  <a:pt x="3415" y="9188"/>
                  <a:pt x="3412" y="9213"/>
                  <a:pt x="3406" y="9237"/>
                </a:cubicBezTo>
                <a:cubicBezTo>
                  <a:pt x="3397" y="9266"/>
                  <a:pt x="3390" y="9295"/>
                  <a:pt x="3384" y="9323"/>
                </a:cubicBezTo>
                <a:cubicBezTo>
                  <a:pt x="3357" y="9449"/>
                  <a:pt x="3263" y="9513"/>
                  <a:pt x="3101" y="9516"/>
                </a:cubicBezTo>
                <a:cubicBezTo>
                  <a:pt x="3080" y="9419"/>
                  <a:pt x="3095" y="9353"/>
                  <a:pt x="3146" y="9319"/>
                </a:cubicBezTo>
                <a:cubicBezTo>
                  <a:pt x="3212" y="9280"/>
                  <a:pt x="3249" y="9215"/>
                  <a:pt x="3258" y="9123"/>
                </a:cubicBezTo>
                <a:cubicBezTo>
                  <a:pt x="3258" y="9110"/>
                  <a:pt x="3260" y="9097"/>
                  <a:pt x="3263" y="9084"/>
                </a:cubicBezTo>
                <a:cubicBezTo>
                  <a:pt x="3289" y="8856"/>
                  <a:pt x="3222" y="8706"/>
                  <a:pt x="3060" y="8636"/>
                </a:cubicBezTo>
                <a:cubicBezTo>
                  <a:pt x="2982" y="8604"/>
                  <a:pt x="2911" y="8565"/>
                  <a:pt x="2845" y="8518"/>
                </a:cubicBezTo>
                <a:cubicBezTo>
                  <a:pt x="2821" y="8499"/>
                  <a:pt x="2797" y="8484"/>
                  <a:pt x="2773" y="8471"/>
                </a:cubicBezTo>
                <a:cubicBezTo>
                  <a:pt x="2752" y="8457"/>
                  <a:pt x="2734" y="8444"/>
                  <a:pt x="2719" y="8431"/>
                </a:cubicBezTo>
                <a:cubicBezTo>
                  <a:pt x="2704" y="8418"/>
                  <a:pt x="2689" y="8402"/>
                  <a:pt x="2674" y="8384"/>
                </a:cubicBezTo>
                <a:cubicBezTo>
                  <a:pt x="2659" y="8363"/>
                  <a:pt x="2641" y="8342"/>
                  <a:pt x="2620" y="8321"/>
                </a:cubicBezTo>
                <a:cubicBezTo>
                  <a:pt x="2566" y="8264"/>
                  <a:pt x="2512" y="8206"/>
                  <a:pt x="2458" y="8148"/>
                </a:cubicBezTo>
                <a:cubicBezTo>
                  <a:pt x="2377" y="8065"/>
                  <a:pt x="2357" y="7944"/>
                  <a:pt x="2395" y="7787"/>
                </a:cubicBezTo>
                <a:cubicBezTo>
                  <a:pt x="2401" y="7758"/>
                  <a:pt x="2406" y="7730"/>
                  <a:pt x="2409" y="7704"/>
                </a:cubicBezTo>
                <a:cubicBezTo>
                  <a:pt x="2418" y="7576"/>
                  <a:pt x="2482" y="7483"/>
                  <a:pt x="2602" y="7425"/>
                </a:cubicBezTo>
                <a:cubicBezTo>
                  <a:pt x="2680" y="7389"/>
                  <a:pt x="2752" y="7347"/>
                  <a:pt x="2818" y="7300"/>
                </a:cubicBezTo>
                <a:cubicBezTo>
                  <a:pt x="2842" y="7281"/>
                  <a:pt x="2866" y="7264"/>
                  <a:pt x="2890" y="7248"/>
                </a:cubicBezTo>
                <a:cubicBezTo>
                  <a:pt x="2968" y="7191"/>
                  <a:pt x="3056" y="7123"/>
                  <a:pt x="3155" y="7044"/>
                </a:cubicBezTo>
                <a:cubicBezTo>
                  <a:pt x="3179" y="7026"/>
                  <a:pt x="3203" y="7007"/>
                  <a:pt x="3227" y="6989"/>
                </a:cubicBezTo>
                <a:cubicBezTo>
                  <a:pt x="3263" y="6955"/>
                  <a:pt x="3291" y="6917"/>
                  <a:pt x="3312" y="6875"/>
                </a:cubicBezTo>
                <a:cubicBezTo>
                  <a:pt x="3328" y="6841"/>
                  <a:pt x="3353" y="6815"/>
                  <a:pt x="3386" y="6797"/>
                </a:cubicBezTo>
                <a:cubicBezTo>
                  <a:pt x="3418" y="6778"/>
                  <a:pt x="3458" y="6768"/>
                  <a:pt x="3505" y="6765"/>
                </a:cubicBezTo>
                <a:cubicBezTo>
                  <a:pt x="3535" y="6762"/>
                  <a:pt x="3562" y="6756"/>
                  <a:pt x="3586" y="6745"/>
                </a:cubicBezTo>
                <a:cubicBezTo>
                  <a:pt x="3652" y="6711"/>
                  <a:pt x="3745" y="6685"/>
                  <a:pt x="3865" y="6667"/>
                </a:cubicBezTo>
                <a:cubicBezTo>
                  <a:pt x="3882" y="6664"/>
                  <a:pt x="3893" y="6655"/>
                  <a:pt x="3896" y="6639"/>
                </a:cubicBezTo>
                <a:cubicBezTo>
                  <a:pt x="3914" y="6571"/>
                  <a:pt x="3905" y="6520"/>
                  <a:pt x="3869" y="6486"/>
                </a:cubicBezTo>
                <a:cubicBezTo>
                  <a:pt x="3827" y="6444"/>
                  <a:pt x="3812" y="6379"/>
                  <a:pt x="3824" y="6290"/>
                </a:cubicBezTo>
                <a:cubicBezTo>
                  <a:pt x="3887" y="6274"/>
                  <a:pt x="3923" y="6286"/>
                  <a:pt x="3932" y="6325"/>
                </a:cubicBezTo>
                <a:cubicBezTo>
                  <a:pt x="3935" y="6341"/>
                  <a:pt x="3945" y="6351"/>
                  <a:pt x="3963" y="6356"/>
                </a:cubicBezTo>
                <a:cubicBezTo>
                  <a:pt x="4062" y="6388"/>
                  <a:pt x="4113" y="6366"/>
                  <a:pt x="4116" y="6290"/>
                </a:cubicBezTo>
                <a:lnTo>
                  <a:pt x="4116" y="6270"/>
                </a:lnTo>
                <a:cubicBezTo>
                  <a:pt x="4050" y="6231"/>
                  <a:pt x="4028" y="6172"/>
                  <a:pt x="4049" y="6093"/>
                </a:cubicBezTo>
                <a:cubicBezTo>
                  <a:pt x="4064" y="6093"/>
                  <a:pt x="4079" y="6094"/>
                  <a:pt x="4094" y="6097"/>
                </a:cubicBezTo>
                <a:cubicBezTo>
                  <a:pt x="4204" y="6113"/>
                  <a:pt x="4279" y="6098"/>
                  <a:pt x="4318" y="6054"/>
                </a:cubicBezTo>
                <a:cubicBezTo>
                  <a:pt x="4324" y="5996"/>
                  <a:pt x="4296" y="5965"/>
                  <a:pt x="4233" y="5960"/>
                </a:cubicBezTo>
                <a:cubicBezTo>
                  <a:pt x="4215" y="5957"/>
                  <a:pt x="4198" y="5949"/>
                  <a:pt x="4183" y="5936"/>
                </a:cubicBezTo>
                <a:cubicBezTo>
                  <a:pt x="4121" y="5891"/>
                  <a:pt x="4121" y="5839"/>
                  <a:pt x="4183" y="5779"/>
                </a:cubicBezTo>
                <a:cubicBezTo>
                  <a:pt x="4198" y="5779"/>
                  <a:pt x="4207" y="5781"/>
                  <a:pt x="4210" y="5787"/>
                </a:cubicBezTo>
                <a:cubicBezTo>
                  <a:pt x="4231" y="5839"/>
                  <a:pt x="4282" y="5863"/>
                  <a:pt x="4363" y="5857"/>
                </a:cubicBezTo>
                <a:cubicBezTo>
                  <a:pt x="4363" y="5831"/>
                  <a:pt x="4357" y="5808"/>
                  <a:pt x="4345" y="5787"/>
                </a:cubicBezTo>
                <a:cubicBezTo>
                  <a:pt x="4332" y="5760"/>
                  <a:pt x="4319" y="5736"/>
                  <a:pt x="4305" y="5714"/>
                </a:cubicBezTo>
                <a:lnTo>
                  <a:pt x="4453" y="5661"/>
                </a:lnTo>
                <a:cubicBezTo>
                  <a:pt x="4501" y="5713"/>
                  <a:pt x="4554" y="5713"/>
                  <a:pt x="4613" y="5663"/>
                </a:cubicBezTo>
                <a:cubicBezTo>
                  <a:pt x="4616" y="5660"/>
                  <a:pt x="4620" y="5657"/>
                  <a:pt x="4624" y="5653"/>
                </a:cubicBezTo>
                <a:cubicBezTo>
                  <a:pt x="4625" y="5652"/>
                  <a:pt x="4627" y="5650"/>
                  <a:pt x="4628" y="5649"/>
                </a:cubicBezTo>
                <a:cubicBezTo>
                  <a:pt x="4630" y="5647"/>
                  <a:pt x="4631" y="5645"/>
                  <a:pt x="4633" y="5643"/>
                </a:cubicBezTo>
                <a:cubicBezTo>
                  <a:pt x="4675" y="5594"/>
                  <a:pt x="4696" y="5521"/>
                  <a:pt x="4696" y="5425"/>
                </a:cubicBezTo>
                <a:cubicBezTo>
                  <a:pt x="4696" y="5360"/>
                  <a:pt x="4660" y="5307"/>
                  <a:pt x="4588" y="5268"/>
                </a:cubicBezTo>
                <a:cubicBezTo>
                  <a:pt x="4684" y="5252"/>
                  <a:pt x="4748" y="5201"/>
                  <a:pt x="4781" y="5115"/>
                </a:cubicBezTo>
                <a:cubicBezTo>
                  <a:pt x="4787" y="5099"/>
                  <a:pt x="4799" y="5088"/>
                  <a:pt x="4817" y="5083"/>
                </a:cubicBezTo>
                <a:cubicBezTo>
                  <a:pt x="4889" y="5062"/>
                  <a:pt x="4925" y="5006"/>
                  <a:pt x="4925" y="4914"/>
                </a:cubicBezTo>
                <a:cubicBezTo>
                  <a:pt x="4925" y="4901"/>
                  <a:pt x="4929" y="4887"/>
                  <a:pt x="4938" y="4871"/>
                </a:cubicBezTo>
                <a:cubicBezTo>
                  <a:pt x="4959" y="4821"/>
                  <a:pt x="4989" y="4781"/>
                  <a:pt x="5028" y="4749"/>
                </a:cubicBezTo>
                <a:cubicBezTo>
                  <a:pt x="5049" y="4728"/>
                  <a:pt x="5071" y="4707"/>
                  <a:pt x="5096" y="4686"/>
                </a:cubicBezTo>
                <a:cubicBezTo>
                  <a:pt x="5146" y="4639"/>
                  <a:pt x="5215" y="4610"/>
                  <a:pt x="5302" y="4600"/>
                </a:cubicBezTo>
                <a:cubicBezTo>
                  <a:pt x="5305" y="4600"/>
                  <a:pt x="5308" y="4587"/>
                  <a:pt x="5311" y="4561"/>
                </a:cubicBezTo>
                <a:cubicBezTo>
                  <a:pt x="5323" y="4495"/>
                  <a:pt x="5381" y="4462"/>
                  <a:pt x="5486" y="4462"/>
                </a:cubicBezTo>
                <a:cubicBezTo>
                  <a:pt x="5516" y="4462"/>
                  <a:pt x="5546" y="4454"/>
                  <a:pt x="5576" y="4439"/>
                </a:cubicBezTo>
                <a:cubicBezTo>
                  <a:pt x="5651" y="4399"/>
                  <a:pt x="5741" y="4381"/>
                  <a:pt x="5846" y="4384"/>
                </a:cubicBezTo>
                <a:cubicBezTo>
                  <a:pt x="5876" y="4384"/>
                  <a:pt x="5906" y="4382"/>
                  <a:pt x="5936" y="4380"/>
                </a:cubicBezTo>
                <a:cubicBezTo>
                  <a:pt x="6030" y="4373"/>
                  <a:pt x="6124" y="4366"/>
                  <a:pt x="6219" y="4358"/>
                </a:cubicBezTo>
                <a:cubicBezTo>
                  <a:pt x="6274" y="4354"/>
                  <a:pt x="6329" y="4349"/>
                  <a:pt x="6385" y="4344"/>
                </a:cubicBezTo>
                <a:cubicBezTo>
                  <a:pt x="6400" y="4344"/>
                  <a:pt x="6416" y="4343"/>
                  <a:pt x="6434" y="4340"/>
                </a:cubicBezTo>
                <a:cubicBezTo>
                  <a:pt x="6590" y="4322"/>
                  <a:pt x="6737" y="4334"/>
                  <a:pt x="6875" y="4376"/>
                </a:cubicBezTo>
                <a:cubicBezTo>
                  <a:pt x="6893" y="4381"/>
                  <a:pt x="6906" y="4392"/>
                  <a:pt x="6915" y="4407"/>
                </a:cubicBezTo>
                <a:cubicBezTo>
                  <a:pt x="6975" y="4496"/>
                  <a:pt x="7078" y="4580"/>
                  <a:pt x="7225" y="4659"/>
                </a:cubicBezTo>
                <a:cubicBezTo>
                  <a:pt x="7249" y="4672"/>
                  <a:pt x="7267" y="4692"/>
                  <a:pt x="7279" y="4718"/>
                </a:cubicBezTo>
                <a:cubicBezTo>
                  <a:pt x="7336" y="4830"/>
                  <a:pt x="7432" y="4944"/>
                  <a:pt x="7566" y="5060"/>
                </a:cubicBezTo>
                <a:cubicBezTo>
                  <a:pt x="7587" y="5081"/>
                  <a:pt x="7614" y="5094"/>
                  <a:pt x="7647" y="5099"/>
                </a:cubicBezTo>
                <a:cubicBezTo>
                  <a:pt x="7839" y="5133"/>
                  <a:pt x="7908" y="5060"/>
                  <a:pt x="7854" y="4879"/>
                </a:cubicBezTo>
                <a:cubicBezTo>
                  <a:pt x="7848" y="4863"/>
                  <a:pt x="7839" y="4847"/>
                  <a:pt x="7827" y="4832"/>
                </a:cubicBezTo>
                <a:cubicBezTo>
                  <a:pt x="7767" y="4761"/>
                  <a:pt x="7701" y="4703"/>
                  <a:pt x="7629" y="4659"/>
                </a:cubicBezTo>
                <a:cubicBezTo>
                  <a:pt x="7608" y="4646"/>
                  <a:pt x="7584" y="4635"/>
                  <a:pt x="7557" y="4627"/>
                </a:cubicBezTo>
                <a:cubicBezTo>
                  <a:pt x="7539" y="4622"/>
                  <a:pt x="7523" y="4613"/>
                  <a:pt x="7508" y="4600"/>
                </a:cubicBezTo>
                <a:cubicBezTo>
                  <a:pt x="7478" y="4574"/>
                  <a:pt x="7450" y="4546"/>
                  <a:pt x="7423" y="4517"/>
                </a:cubicBezTo>
                <a:cubicBezTo>
                  <a:pt x="7375" y="4465"/>
                  <a:pt x="7357" y="4388"/>
                  <a:pt x="7369" y="4286"/>
                </a:cubicBezTo>
                <a:cubicBezTo>
                  <a:pt x="7372" y="4246"/>
                  <a:pt x="7384" y="4213"/>
                  <a:pt x="7405" y="4187"/>
                </a:cubicBezTo>
                <a:cubicBezTo>
                  <a:pt x="7414" y="4174"/>
                  <a:pt x="7433" y="4165"/>
                  <a:pt x="7463" y="4160"/>
                </a:cubicBezTo>
                <a:cubicBezTo>
                  <a:pt x="7544" y="4144"/>
                  <a:pt x="7580" y="4081"/>
                  <a:pt x="7571" y="3971"/>
                </a:cubicBezTo>
                <a:cubicBezTo>
                  <a:pt x="7562" y="3885"/>
                  <a:pt x="7601" y="3845"/>
                  <a:pt x="7688" y="3853"/>
                </a:cubicBezTo>
                <a:cubicBezTo>
                  <a:pt x="7712" y="3929"/>
                  <a:pt x="7749" y="3999"/>
                  <a:pt x="7800" y="4061"/>
                </a:cubicBezTo>
                <a:cubicBezTo>
                  <a:pt x="7815" y="4080"/>
                  <a:pt x="7822" y="4102"/>
                  <a:pt x="7822" y="4128"/>
                </a:cubicBezTo>
                <a:cubicBezTo>
                  <a:pt x="7834" y="4314"/>
                  <a:pt x="7911" y="4428"/>
                  <a:pt x="8051" y="4470"/>
                </a:cubicBezTo>
                <a:cubicBezTo>
                  <a:pt x="8079" y="4478"/>
                  <a:pt x="8107" y="4482"/>
                  <a:pt x="8137" y="4482"/>
                </a:cubicBezTo>
                <a:cubicBezTo>
                  <a:pt x="8155" y="4335"/>
                  <a:pt x="8135" y="4220"/>
                  <a:pt x="8079" y="4136"/>
                </a:cubicBezTo>
                <a:cubicBezTo>
                  <a:pt x="7956" y="3963"/>
                  <a:pt x="7914" y="3738"/>
                  <a:pt x="7953" y="3460"/>
                </a:cubicBezTo>
                <a:cubicBezTo>
                  <a:pt x="7963" y="3390"/>
                  <a:pt x="7982" y="3327"/>
                  <a:pt x="8009" y="3272"/>
                </a:cubicBezTo>
                <a:cubicBezTo>
                  <a:pt x="8036" y="3215"/>
                  <a:pt x="8071" y="3167"/>
                  <a:pt x="8114" y="3126"/>
                </a:cubicBezTo>
                <a:cubicBezTo>
                  <a:pt x="8129" y="3113"/>
                  <a:pt x="8143" y="3096"/>
                  <a:pt x="8155" y="3075"/>
                </a:cubicBezTo>
                <a:cubicBezTo>
                  <a:pt x="8188" y="3018"/>
                  <a:pt x="8224" y="2961"/>
                  <a:pt x="8263" y="2906"/>
                </a:cubicBezTo>
                <a:cubicBezTo>
                  <a:pt x="8335" y="2807"/>
                  <a:pt x="8388" y="2691"/>
                  <a:pt x="8424" y="2560"/>
                </a:cubicBezTo>
                <a:cubicBezTo>
                  <a:pt x="8427" y="2545"/>
                  <a:pt x="8432" y="2529"/>
                  <a:pt x="8438" y="2513"/>
                </a:cubicBezTo>
                <a:cubicBezTo>
                  <a:pt x="8462" y="2463"/>
                  <a:pt x="8486" y="2414"/>
                  <a:pt x="8510" y="2364"/>
                </a:cubicBezTo>
                <a:cubicBezTo>
                  <a:pt x="8516" y="2348"/>
                  <a:pt x="8528" y="2335"/>
                  <a:pt x="8546" y="2325"/>
                </a:cubicBezTo>
                <a:cubicBezTo>
                  <a:pt x="8588" y="2296"/>
                  <a:pt x="8619" y="2256"/>
                  <a:pt x="8640" y="2207"/>
                </a:cubicBezTo>
                <a:cubicBezTo>
                  <a:pt x="8649" y="2178"/>
                  <a:pt x="8666" y="2154"/>
                  <a:pt x="8690" y="2136"/>
                </a:cubicBezTo>
                <a:cubicBezTo>
                  <a:pt x="8725" y="2102"/>
                  <a:pt x="8764" y="2070"/>
                  <a:pt x="8806" y="2042"/>
                </a:cubicBezTo>
                <a:cubicBezTo>
                  <a:pt x="8839" y="2018"/>
                  <a:pt x="8862" y="1981"/>
                  <a:pt x="8874" y="1932"/>
                </a:cubicBezTo>
                <a:cubicBezTo>
                  <a:pt x="8877" y="1916"/>
                  <a:pt x="8884" y="1900"/>
                  <a:pt x="8896" y="1884"/>
                </a:cubicBezTo>
                <a:cubicBezTo>
                  <a:pt x="8968" y="1798"/>
                  <a:pt x="8975" y="1693"/>
                  <a:pt x="8919" y="1570"/>
                </a:cubicBezTo>
                <a:cubicBezTo>
                  <a:pt x="8907" y="1547"/>
                  <a:pt x="8896" y="1523"/>
                  <a:pt x="8887" y="1499"/>
                </a:cubicBezTo>
                <a:cubicBezTo>
                  <a:pt x="8866" y="1444"/>
                  <a:pt x="8863" y="1363"/>
                  <a:pt x="8878" y="1256"/>
                </a:cubicBezTo>
                <a:cubicBezTo>
                  <a:pt x="8878" y="1245"/>
                  <a:pt x="8871" y="1233"/>
                  <a:pt x="8856" y="1220"/>
                </a:cubicBezTo>
                <a:cubicBezTo>
                  <a:pt x="8832" y="1199"/>
                  <a:pt x="8818" y="1170"/>
                  <a:pt x="8813" y="1132"/>
                </a:cubicBezTo>
                <a:cubicBezTo>
                  <a:pt x="8815" y="1123"/>
                  <a:pt x="8817" y="1114"/>
                  <a:pt x="8820" y="1104"/>
                </a:cubicBezTo>
                <a:cubicBezTo>
                  <a:pt x="8830" y="1045"/>
                  <a:pt x="8835" y="979"/>
                  <a:pt x="8833" y="906"/>
                </a:cubicBezTo>
                <a:cubicBezTo>
                  <a:pt x="8833" y="880"/>
                  <a:pt x="8835" y="854"/>
                  <a:pt x="8838" y="827"/>
                </a:cubicBezTo>
                <a:cubicBezTo>
                  <a:pt x="8850" y="749"/>
                  <a:pt x="8862" y="670"/>
                  <a:pt x="8874" y="592"/>
                </a:cubicBezTo>
                <a:cubicBezTo>
                  <a:pt x="8877" y="563"/>
                  <a:pt x="8889" y="538"/>
                  <a:pt x="8910" y="517"/>
                </a:cubicBezTo>
                <a:cubicBezTo>
                  <a:pt x="8999" y="428"/>
                  <a:pt x="9083" y="344"/>
                  <a:pt x="9161" y="265"/>
                </a:cubicBezTo>
                <a:cubicBezTo>
                  <a:pt x="9182" y="244"/>
                  <a:pt x="9205" y="227"/>
                  <a:pt x="9229" y="214"/>
                </a:cubicBezTo>
                <a:cubicBezTo>
                  <a:pt x="9250" y="201"/>
                  <a:pt x="9268" y="188"/>
                  <a:pt x="9282" y="175"/>
                </a:cubicBezTo>
                <a:cubicBezTo>
                  <a:pt x="9297" y="162"/>
                  <a:pt x="9309" y="144"/>
                  <a:pt x="9318" y="120"/>
                </a:cubicBezTo>
                <a:cubicBezTo>
                  <a:pt x="9322" y="110"/>
                  <a:pt x="9327" y="99"/>
                  <a:pt x="9332" y="89"/>
                </a:cubicBezTo>
                <a:cubicBezTo>
                  <a:pt x="9335" y="84"/>
                  <a:pt x="9338" y="78"/>
                  <a:pt x="9341" y="73"/>
                </a:cubicBezTo>
                <a:cubicBezTo>
                  <a:pt x="9341" y="73"/>
                  <a:pt x="9343" y="69"/>
                  <a:pt x="9343" y="69"/>
                </a:cubicBezTo>
                <a:close/>
                <a:moveTo>
                  <a:pt x="9343" y="69"/>
                </a:moveTo>
              </a:path>
            </a:pathLst>
          </a:custGeom>
          <a:solidFill>
            <a:schemeClr val="bg1">
              <a:lumMod val="75000"/>
            </a:schemeClr>
          </a:solidFill>
          <a:ln>
            <a:solidFill>
              <a:schemeClr val="bg1"/>
            </a:solid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18" name="AutoShape 7"/>
          <p:cNvSpPr>
            <a:spLocks/>
          </p:cNvSpPr>
          <p:nvPr/>
        </p:nvSpPr>
        <p:spPr bwMode="auto">
          <a:xfrm>
            <a:off x="5659504" y="2242463"/>
            <a:ext cx="701879" cy="1459682"/>
          </a:xfrm>
          <a:custGeom>
            <a:avLst/>
            <a:gdLst/>
            <a:ahLst/>
            <a:cxnLst/>
            <a:rect l="0" t="0" r="r" b="b"/>
            <a:pathLst>
              <a:path w="21547" h="21586">
                <a:moveTo>
                  <a:pt x="17305" y="686"/>
                </a:moveTo>
                <a:cubicBezTo>
                  <a:pt x="17331" y="558"/>
                  <a:pt x="17425" y="460"/>
                  <a:pt x="17586" y="392"/>
                </a:cubicBezTo>
                <a:cubicBezTo>
                  <a:pt x="17654" y="362"/>
                  <a:pt x="17706" y="323"/>
                  <a:pt x="17743" y="275"/>
                </a:cubicBezTo>
                <a:cubicBezTo>
                  <a:pt x="17759" y="248"/>
                  <a:pt x="17787" y="224"/>
                  <a:pt x="17829" y="203"/>
                </a:cubicBezTo>
                <a:cubicBezTo>
                  <a:pt x="17970" y="131"/>
                  <a:pt x="18126" y="70"/>
                  <a:pt x="18299" y="22"/>
                </a:cubicBezTo>
                <a:cubicBezTo>
                  <a:pt x="18335" y="12"/>
                  <a:pt x="18379" y="6"/>
                  <a:pt x="18432" y="4"/>
                </a:cubicBezTo>
                <a:cubicBezTo>
                  <a:pt x="18729" y="-9"/>
                  <a:pt x="18943" y="15"/>
                  <a:pt x="19073" y="75"/>
                </a:cubicBezTo>
                <a:cubicBezTo>
                  <a:pt x="19178" y="126"/>
                  <a:pt x="19300" y="168"/>
                  <a:pt x="19441" y="203"/>
                </a:cubicBezTo>
                <a:cubicBezTo>
                  <a:pt x="19473" y="211"/>
                  <a:pt x="19504" y="220"/>
                  <a:pt x="19535" y="230"/>
                </a:cubicBezTo>
                <a:cubicBezTo>
                  <a:pt x="19634" y="270"/>
                  <a:pt x="19788" y="284"/>
                  <a:pt x="19997" y="271"/>
                </a:cubicBezTo>
                <a:cubicBezTo>
                  <a:pt x="20314" y="251"/>
                  <a:pt x="20540" y="274"/>
                  <a:pt x="20674" y="341"/>
                </a:cubicBezTo>
                <a:cubicBezTo>
                  <a:pt x="20720" y="363"/>
                  <a:pt x="20755" y="390"/>
                  <a:pt x="20780" y="422"/>
                </a:cubicBezTo>
                <a:cubicBezTo>
                  <a:pt x="20800" y="449"/>
                  <a:pt x="20831" y="480"/>
                  <a:pt x="20874" y="513"/>
                </a:cubicBezTo>
                <a:cubicBezTo>
                  <a:pt x="20885" y="523"/>
                  <a:pt x="20898" y="533"/>
                  <a:pt x="20913" y="543"/>
                </a:cubicBezTo>
                <a:cubicBezTo>
                  <a:pt x="20965" y="581"/>
                  <a:pt x="21033" y="626"/>
                  <a:pt x="21116" y="679"/>
                </a:cubicBezTo>
                <a:cubicBezTo>
                  <a:pt x="21149" y="701"/>
                  <a:pt x="21200" y="715"/>
                  <a:pt x="21269" y="722"/>
                </a:cubicBezTo>
                <a:cubicBezTo>
                  <a:pt x="21362" y="798"/>
                  <a:pt x="21449" y="875"/>
                  <a:pt x="21531" y="954"/>
                </a:cubicBezTo>
                <a:cubicBezTo>
                  <a:pt x="21552" y="974"/>
                  <a:pt x="21552" y="994"/>
                  <a:pt x="21531" y="1015"/>
                </a:cubicBezTo>
                <a:cubicBezTo>
                  <a:pt x="21322" y="1216"/>
                  <a:pt x="21046" y="1394"/>
                  <a:pt x="20701" y="1550"/>
                </a:cubicBezTo>
                <a:cubicBezTo>
                  <a:pt x="20404" y="1686"/>
                  <a:pt x="20148" y="1826"/>
                  <a:pt x="19934" y="1969"/>
                </a:cubicBezTo>
                <a:cubicBezTo>
                  <a:pt x="19898" y="1992"/>
                  <a:pt x="19864" y="2014"/>
                  <a:pt x="19833" y="2037"/>
                </a:cubicBezTo>
                <a:cubicBezTo>
                  <a:pt x="19760" y="2090"/>
                  <a:pt x="19687" y="2143"/>
                  <a:pt x="19613" y="2195"/>
                </a:cubicBezTo>
                <a:cubicBezTo>
                  <a:pt x="19420" y="2339"/>
                  <a:pt x="19188" y="2478"/>
                  <a:pt x="18917" y="2614"/>
                </a:cubicBezTo>
                <a:cubicBezTo>
                  <a:pt x="18755" y="2700"/>
                  <a:pt x="18622" y="2786"/>
                  <a:pt x="18518" y="2874"/>
                </a:cubicBezTo>
                <a:cubicBezTo>
                  <a:pt x="18445" y="2942"/>
                  <a:pt x="18361" y="3004"/>
                  <a:pt x="18267" y="3059"/>
                </a:cubicBezTo>
                <a:cubicBezTo>
                  <a:pt x="18121" y="3145"/>
                  <a:pt x="18014" y="3233"/>
                  <a:pt x="17946" y="3323"/>
                </a:cubicBezTo>
                <a:cubicBezTo>
                  <a:pt x="17759" y="3557"/>
                  <a:pt x="17545" y="3756"/>
                  <a:pt x="17305" y="3919"/>
                </a:cubicBezTo>
                <a:cubicBezTo>
                  <a:pt x="17169" y="4015"/>
                  <a:pt x="17054" y="4119"/>
                  <a:pt x="16960" y="4232"/>
                </a:cubicBezTo>
                <a:cubicBezTo>
                  <a:pt x="16944" y="4255"/>
                  <a:pt x="16931" y="4278"/>
                  <a:pt x="16921" y="4300"/>
                </a:cubicBezTo>
                <a:cubicBezTo>
                  <a:pt x="16853" y="4424"/>
                  <a:pt x="16809" y="4551"/>
                  <a:pt x="16788" y="4681"/>
                </a:cubicBezTo>
                <a:cubicBezTo>
                  <a:pt x="16783" y="4706"/>
                  <a:pt x="16772" y="4730"/>
                  <a:pt x="16757" y="4753"/>
                </a:cubicBezTo>
                <a:cubicBezTo>
                  <a:pt x="16746" y="4768"/>
                  <a:pt x="16738" y="4782"/>
                  <a:pt x="16733" y="4794"/>
                </a:cubicBezTo>
                <a:cubicBezTo>
                  <a:pt x="16723" y="4865"/>
                  <a:pt x="16699" y="4929"/>
                  <a:pt x="16663" y="4987"/>
                </a:cubicBezTo>
                <a:cubicBezTo>
                  <a:pt x="16637" y="5022"/>
                  <a:pt x="16616" y="5057"/>
                  <a:pt x="16600" y="5093"/>
                </a:cubicBezTo>
                <a:cubicBezTo>
                  <a:pt x="16564" y="5170"/>
                  <a:pt x="16530" y="5248"/>
                  <a:pt x="16498" y="5326"/>
                </a:cubicBezTo>
                <a:cubicBezTo>
                  <a:pt x="16482" y="5375"/>
                  <a:pt x="16466" y="5424"/>
                  <a:pt x="16451" y="5474"/>
                </a:cubicBezTo>
                <a:cubicBezTo>
                  <a:pt x="16449" y="5486"/>
                  <a:pt x="16447" y="5499"/>
                  <a:pt x="16444" y="5511"/>
                </a:cubicBezTo>
                <a:cubicBezTo>
                  <a:pt x="16370" y="5750"/>
                  <a:pt x="16339" y="6002"/>
                  <a:pt x="16350" y="6266"/>
                </a:cubicBezTo>
                <a:cubicBezTo>
                  <a:pt x="16360" y="6399"/>
                  <a:pt x="16389" y="6526"/>
                  <a:pt x="16436" y="6647"/>
                </a:cubicBezTo>
                <a:cubicBezTo>
                  <a:pt x="16457" y="6707"/>
                  <a:pt x="16462" y="6769"/>
                  <a:pt x="16451" y="6832"/>
                </a:cubicBezTo>
                <a:cubicBezTo>
                  <a:pt x="16425" y="6970"/>
                  <a:pt x="16446" y="7097"/>
                  <a:pt x="16514" y="7213"/>
                </a:cubicBezTo>
                <a:cubicBezTo>
                  <a:pt x="16535" y="7250"/>
                  <a:pt x="16550" y="7288"/>
                  <a:pt x="16561" y="7326"/>
                </a:cubicBezTo>
                <a:cubicBezTo>
                  <a:pt x="16639" y="7552"/>
                  <a:pt x="16663" y="7791"/>
                  <a:pt x="16631" y="8043"/>
                </a:cubicBezTo>
                <a:cubicBezTo>
                  <a:pt x="16616" y="8151"/>
                  <a:pt x="16637" y="8251"/>
                  <a:pt x="16694" y="8344"/>
                </a:cubicBezTo>
                <a:cubicBezTo>
                  <a:pt x="16762" y="8455"/>
                  <a:pt x="16856" y="8548"/>
                  <a:pt x="16976" y="8623"/>
                </a:cubicBezTo>
                <a:cubicBezTo>
                  <a:pt x="17002" y="8639"/>
                  <a:pt x="17025" y="8656"/>
                  <a:pt x="17046" y="8676"/>
                </a:cubicBezTo>
                <a:cubicBezTo>
                  <a:pt x="17145" y="8774"/>
                  <a:pt x="17247" y="8849"/>
                  <a:pt x="17351" y="8899"/>
                </a:cubicBezTo>
                <a:cubicBezTo>
                  <a:pt x="17388" y="8919"/>
                  <a:pt x="17427" y="8938"/>
                  <a:pt x="17469" y="8955"/>
                </a:cubicBezTo>
                <a:cubicBezTo>
                  <a:pt x="17531" y="8988"/>
                  <a:pt x="17584" y="9025"/>
                  <a:pt x="17625" y="9065"/>
                </a:cubicBezTo>
                <a:cubicBezTo>
                  <a:pt x="17708" y="9149"/>
                  <a:pt x="17803" y="9227"/>
                  <a:pt x="17911" y="9297"/>
                </a:cubicBezTo>
                <a:cubicBezTo>
                  <a:pt x="17827" y="9356"/>
                  <a:pt x="17781" y="9428"/>
                  <a:pt x="17774" y="9514"/>
                </a:cubicBezTo>
                <a:cubicBezTo>
                  <a:pt x="17769" y="9551"/>
                  <a:pt x="17764" y="9589"/>
                  <a:pt x="17759" y="9627"/>
                </a:cubicBezTo>
                <a:cubicBezTo>
                  <a:pt x="17738" y="9715"/>
                  <a:pt x="17719" y="9803"/>
                  <a:pt x="17704" y="9891"/>
                </a:cubicBezTo>
                <a:cubicBezTo>
                  <a:pt x="17693" y="9941"/>
                  <a:pt x="17657" y="9983"/>
                  <a:pt x="17594" y="10016"/>
                </a:cubicBezTo>
                <a:cubicBezTo>
                  <a:pt x="17526" y="10046"/>
                  <a:pt x="17461" y="10077"/>
                  <a:pt x="17398" y="10110"/>
                </a:cubicBezTo>
                <a:cubicBezTo>
                  <a:pt x="17357" y="10127"/>
                  <a:pt x="17310" y="10141"/>
                  <a:pt x="17258" y="10151"/>
                </a:cubicBezTo>
                <a:cubicBezTo>
                  <a:pt x="17033" y="10192"/>
                  <a:pt x="16837" y="10261"/>
                  <a:pt x="16670" y="10359"/>
                </a:cubicBezTo>
                <a:cubicBezTo>
                  <a:pt x="16644" y="10374"/>
                  <a:pt x="16624" y="10393"/>
                  <a:pt x="16608" y="10415"/>
                </a:cubicBezTo>
                <a:cubicBezTo>
                  <a:pt x="16597" y="10430"/>
                  <a:pt x="16590" y="10444"/>
                  <a:pt x="16584" y="10457"/>
                </a:cubicBezTo>
                <a:cubicBezTo>
                  <a:pt x="16574" y="10527"/>
                  <a:pt x="16550" y="10591"/>
                  <a:pt x="16514" y="10649"/>
                </a:cubicBezTo>
                <a:cubicBezTo>
                  <a:pt x="16431" y="10783"/>
                  <a:pt x="16323" y="10910"/>
                  <a:pt x="16193" y="11030"/>
                </a:cubicBezTo>
                <a:cubicBezTo>
                  <a:pt x="16172" y="11050"/>
                  <a:pt x="16157" y="11072"/>
                  <a:pt x="16146" y="11094"/>
                </a:cubicBezTo>
                <a:cubicBezTo>
                  <a:pt x="16130" y="11122"/>
                  <a:pt x="16102" y="11145"/>
                  <a:pt x="16060" y="11162"/>
                </a:cubicBezTo>
                <a:cubicBezTo>
                  <a:pt x="15945" y="11208"/>
                  <a:pt x="15830" y="11254"/>
                  <a:pt x="15716" y="11302"/>
                </a:cubicBezTo>
                <a:cubicBezTo>
                  <a:pt x="15648" y="11330"/>
                  <a:pt x="15583" y="11360"/>
                  <a:pt x="15520" y="11392"/>
                </a:cubicBezTo>
                <a:cubicBezTo>
                  <a:pt x="15264" y="11521"/>
                  <a:pt x="15165" y="11724"/>
                  <a:pt x="15222" y="12004"/>
                </a:cubicBezTo>
                <a:cubicBezTo>
                  <a:pt x="15233" y="12071"/>
                  <a:pt x="15217" y="12124"/>
                  <a:pt x="15176" y="12162"/>
                </a:cubicBezTo>
                <a:cubicBezTo>
                  <a:pt x="15155" y="12182"/>
                  <a:pt x="15134" y="12202"/>
                  <a:pt x="15113" y="12222"/>
                </a:cubicBezTo>
                <a:cubicBezTo>
                  <a:pt x="14998" y="12341"/>
                  <a:pt x="14873" y="12455"/>
                  <a:pt x="14737" y="12566"/>
                </a:cubicBezTo>
                <a:cubicBezTo>
                  <a:pt x="14722" y="12581"/>
                  <a:pt x="14706" y="12596"/>
                  <a:pt x="14690" y="12611"/>
                </a:cubicBezTo>
                <a:cubicBezTo>
                  <a:pt x="14596" y="12696"/>
                  <a:pt x="14497" y="12786"/>
                  <a:pt x="14393" y="12879"/>
                </a:cubicBezTo>
                <a:cubicBezTo>
                  <a:pt x="14372" y="12899"/>
                  <a:pt x="14354" y="12920"/>
                  <a:pt x="14338" y="12943"/>
                </a:cubicBezTo>
                <a:cubicBezTo>
                  <a:pt x="14328" y="12958"/>
                  <a:pt x="14317" y="12973"/>
                  <a:pt x="14307" y="12988"/>
                </a:cubicBezTo>
                <a:cubicBezTo>
                  <a:pt x="14213" y="13114"/>
                  <a:pt x="14106" y="13216"/>
                  <a:pt x="13986" y="13294"/>
                </a:cubicBezTo>
                <a:cubicBezTo>
                  <a:pt x="13673" y="13497"/>
                  <a:pt x="13388" y="13699"/>
                  <a:pt x="13133" y="13897"/>
                </a:cubicBezTo>
                <a:cubicBezTo>
                  <a:pt x="13091" y="13930"/>
                  <a:pt x="13047" y="13961"/>
                  <a:pt x="13000" y="13992"/>
                </a:cubicBezTo>
                <a:cubicBezTo>
                  <a:pt x="12906" y="14060"/>
                  <a:pt x="12817" y="14153"/>
                  <a:pt x="12734" y="14271"/>
                </a:cubicBezTo>
                <a:cubicBezTo>
                  <a:pt x="12697" y="14319"/>
                  <a:pt x="12663" y="14369"/>
                  <a:pt x="12632" y="14422"/>
                </a:cubicBezTo>
                <a:cubicBezTo>
                  <a:pt x="12589" y="14492"/>
                  <a:pt x="12525" y="14560"/>
                  <a:pt x="12440" y="14623"/>
                </a:cubicBezTo>
                <a:cubicBezTo>
                  <a:pt x="12372" y="14675"/>
                  <a:pt x="12289" y="14725"/>
                  <a:pt x="12193" y="14773"/>
                </a:cubicBezTo>
                <a:cubicBezTo>
                  <a:pt x="12073" y="14828"/>
                  <a:pt x="11956" y="14884"/>
                  <a:pt x="11841" y="14942"/>
                </a:cubicBezTo>
                <a:cubicBezTo>
                  <a:pt x="11773" y="14975"/>
                  <a:pt x="11679" y="15008"/>
                  <a:pt x="11559" y="15040"/>
                </a:cubicBezTo>
                <a:cubicBezTo>
                  <a:pt x="11173" y="15148"/>
                  <a:pt x="10868" y="15265"/>
                  <a:pt x="10644" y="15391"/>
                </a:cubicBezTo>
                <a:cubicBezTo>
                  <a:pt x="10498" y="15474"/>
                  <a:pt x="10372" y="15577"/>
                  <a:pt x="10268" y="15700"/>
                </a:cubicBezTo>
                <a:cubicBezTo>
                  <a:pt x="10252" y="15716"/>
                  <a:pt x="10231" y="15729"/>
                  <a:pt x="10205" y="15742"/>
                </a:cubicBezTo>
                <a:cubicBezTo>
                  <a:pt x="9856" y="15890"/>
                  <a:pt x="9603" y="16019"/>
                  <a:pt x="9446" y="16127"/>
                </a:cubicBezTo>
                <a:cubicBezTo>
                  <a:pt x="9394" y="16165"/>
                  <a:pt x="9344" y="16215"/>
                  <a:pt x="9297" y="16278"/>
                </a:cubicBezTo>
                <a:cubicBezTo>
                  <a:pt x="9204" y="16401"/>
                  <a:pt x="9162" y="16537"/>
                  <a:pt x="9172" y="16685"/>
                </a:cubicBezTo>
                <a:cubicBezTo>
                  <a:pt x="9183" y="16797"/>
                  <a:pt x="9182" y="16907"/>
                  <a:pt x="9168" y="17013"/>
                </a:cubicBezTo>
                <a:cubicBezTo>
                  <a:pt x="9164" y="17055"/>
                  <a:pt x="9158" y="17097"/>
                  <a:pt x="9149" y="17138"/>
                </a:cubicBezTo>
                <a:cubicBezTo>
                  <a:pt x="9091" y="17402"/>
                  <a:pt x="9044" y="17666"/>
                  <a:pt x="9008" y="17930"/>
                </a:cubicBezTo>
                <a:cubicBezTo>
                  <a:pt x="8992" y="18071"/>
                  <a:pt x="9021" y="18185"/>
                  <a:pt x="9094" y="18273"/>
                </a:cubicBezTo>
                <a:cubicBezTo>
                  <a:pt x="9277" y="18492"/>
                  <a:pt x="9357" y="18730"/>
                  <a:pt x="9337" y="18986"/>
                </a:cubicBezTo>
                <a:cubicBezTo>
                  <a:pt x="9331" y="19107"/>
                  <a:pt x="9295" y="19221"/>
                  <a:pt x="9227" y="19330"/>
                </a:cubicBezTo>
                <a:cubicBezTo>
                  <a:pt x="9201" y="19365"/>
                  <a:pt x="9175" y="19399"/>
                  <a:pt x="9149" y="19431"/>
                </a:cubicBezTo>
                <a:cubicBezTo>
                  <a:pt x="9102" y="19494"/>
                  <a:pt x="9060" y="19560"/>
                  <a:pt x="9023" y="19628"/>
                </a:cubicBezTo>
                <a:cubicBezTo>
                  <a:pt x="8992" y="19688"/>
                  <a:pt x="8947" y="19746"/>
                  <a:pt x="8891" y="19803"/>
                </a:cubicBezTo>
                <a:cubicBezTo>
                  <a:pt x="8846" y="19849"/>
                  <a:pt x="8794" y="19893"/>
                  <a:pt x="8734" y="19937"/>
                </a:cubicBezTo>
                <a:cubicBezTo>
                  <a:pt x="8619" y="20020"/>
                  <a:pt x="8457" y="20105"/>
                  <a:pt x="8249" y="20193"/>
                </a:cubicBezTo>
                <a:cubicBezTo>
                  <a:pt x="8222" y="20206"/>
                  <a:pt x="8202" y="20220"/>
                  <a:pt x="8186" y="20235"/>
                </a:cubicBezTo>
                <a:cubicBezTo>
                  <a:pt x="8071" y="20338"/>
                  <a:pt x="7855" y="20382"/>
                  <a:pt x="7536" y="20367"/>
                </a:cubicBezTo>
                <a:cubicBezTo>
                  <a:pt x="7489" y="20364"/>
                  <a:pt x="7440" y="20364"/>
                  <a:pt x="7388" y="20367"/>
                </a:cubicBezTo>
                <a:cubicBezTo>
                  <a:pt x="7247" y="20372"/>
                  <a:pt x="7161" y="20401"/>
                  <a:pt x="7129" y="20454"/>
                </a:cubicBezTo>
                <a:cubicBezTo>
                  <a:pt x="7119" y="20469"/>
                  <a:pt x="7098" y="20479"/>
                  <a:pt x="7067" y="20484"/>
                </a:cubicBezTo>
                <a:cubicBezTo>
                  <a:pt x="6915" y="20502"/>
                  <a:pt x="6803" y="20524"/>
                  <a:pt x="6730" y="20552"/>
                </a:cubicBezTo>
                <a:cubicBezTo>
                  <a:pt x="6699" y="20564"/>
                  <a:pt x="6660" y="20568"/>
                  <a:pt x="6613" y="20563"/>
                </a:cubicBezTo>
                <a:cubicBezTo>
                  <a:pt x="6555" y="20556"/>
                  <a:pt x="6501" y="20547"/>
                  <a:pt x="6448" y="20537"/>
                </a:cubicBezTo>
                <a:cubicBezTo>
                  <a:pt x="6240" y="20491"/>
                  <a:pt x="6005" y="20474"/>
                  <a:pt x="5744" y="20484"/>
                </a:cubicBezTo>
                <a:cubicBezTo>
                  <a:pt x="5551" y="20491"/>
                  <a:pt x="5366" y="20488"/>
                  <a:pt x="5188" y="20473"/>
                </a:cubicBezTo>
                <a:cubicBezTo>
                  <a:pt x="4980" y="20452"/>
                  <a:pt x="4797" y="20471"/>
                  <a:pt x="4640" y="20529"/>
                </a:cubicBezTo>
                <a:cubicBezTo>
                  <a:pt x="4312" y="20652"/>
                  <a:pt x="4030" y="20755"/>
                  <a:pt x="3795" y="20839"/>
                </a:cubicBezTo>
                <a:cubicBezTo>
                  <a:pt x="3576" y="20914"/>
                  <a:pt x="3367" y="20967"/>
                  <a:pt x="3169" y="20997"/>
                </a:cubicBezTo>
                <a:cubicBezTo>
                  <a:pt x="3138" y="21002"/>
                  <a:pt x="3106" y="21008"/>
                  <a:pt x="3075" y="21016"/>
                </a:cubicBezTo>
                <a:cubicBezTo>
                  <a:pt x="2908" y="21061"/>
                  <a:pt x="2707" y="21118"/>
                  <a:pt x="2472" y="21186"/>
                </a:cubicBezTo>
                <a:cubicBezTo>
                  <a:pt x="2253" y="21248"/>
                  <a:pt x="2081" y="21301"/>
                  <a:pt x="1956" y="21344"/>
                </a:cubicBezTo>
                <a:cubicBezTo>
                  <a:pt x="1924" y="21357"/>
                  <a:pt x="1883" y="21365"/>
                  <a:pt x="1830" y="21370"/>
                </a:cubicBezTo>
                <a:cubicBezTo>
                  <a:pt x="1684" y="21383"/>
                  <a:pt x="1570" y="21414"/>
                  <a:pt x="1486" y="21465"/>
                </a:cubicBezTo>
                <a:cubicBezTo>
                  <a:pt x="1455" y="21485"/>
                  <a:pt x="1418" y="21504"/>
                  <a:pt x="1377" y="21521"/>
                </a:cubicBezTo>
                <a:cubicBezTo>
                  <a:pt x="1268" y="21570"/>
                  <a:pt x="1134" y="21591"/>
                  <a:pt x="973" y="21585"/>
                </a:cubicBezTo>
                <a:cubicBezTo>
                  <a:pt x="925" y="21584"/>
                  <a:pt x="874" y="21581"/>
                  <a:pt x="821" y="21574"/>
                </a:cubicBezTo>
                <a:cubicBezTo>
                  <a:pt x="789" y="21572"/>
                  <a:pt x="763" y="21563"/>
                  <a:pt x="742" y="21548"/>
                </a:cubicBezTo>
                <a:cubicBezTo>
                  <a:pt x="732" y="21538"/>
                  <a:pt x="719" y="21528"/>
                  <a:pt x="703" y="21518"/>
                </a:cubicBezTo>
                <a:cubicBezTo>
                  <a:pt x="625" y="21495"/>
                  <a:pt x="578" y="21457"/>
                  <a:pt x="563" y="21404"/>
                </a:cubicBezTo>
                <a:cubicBezTo>
                  <a:pt x="552" y="21369"/>
                  <a:pt x="555" y="21330"/>
                  <a:pt x="570" y="21287"/>
                </a:cubicBezTo>
                <a:cubicBezTo>
                  <a:pt x="586" y="21247"/>
                  <a:pt x="536" y="21233"/>
                  <a:pt x="422" y="21246"/>
                </a:cubicBezTo>
                <a:cubicBezTo>
                  <a:pt x="88" y="21284"/>
                  <a:pt x="-48" y="21222"/>
                  <a:pt x="15" y="21061"/>
                </a:cubicBezTo>
                <a:cubicBezTo>
                  <a:pt x="25" y="21023"/>
                  <a:pt x="35" y="20986"/>
                  <a:pt x="46" y="20948"/>
                </a:cubicBezTo>
                <a:cubicBezTo>
                  <a:pt x="61" y="20898"/>
                  <a:pt x="103" y="20857"/>
                  <a:pt x="171" y="20827"/>
                </a:cubicBezTo>
                <a:cubicBezTo>
                  <a:pt x="255" y="20792"/>
                  <a:pt x="275" y="20733"/>
                  <a:pt x="234" y="20650"/>
                </a:cubicBezTo>
                <a:cubicBezTo>
                  <a:pt x="229" y="20635"/>
                  <a:pt x="213" y="20622"/>
                  <a:pt x="187" y="20612"/>
                </a:cubicBezTo>
                <a:cubicBezTo>
                  <a:pt x="77" y="20569"/>
                  <a:pt x="67" y="20503"/>
                  <a:pt x="155" y="20412"/>
                </a:cubicBezTo>
                <a:cubicBezTo>
                  <a:pt x="176" y="20392"/>
                  <a:pt x="182" y="20369"/>
                  <a:pt x="171" y="20344"/>
                </a:cubicBezTo>
                <a:cubicBezTo>
                  <a:pt x="155" y="20294"/>
                  <a:pt x="140" y="20244"/>
                  <a:pt x="124" y="20193"/>
                </a:cubicBezTo>
                <a:cubicBezTo>
                  <a:pt x="103" y="20126"/>
                  <a:pt x="114" y="20073"/>
                  <a:pt x="155" y="20035"/>
                </a:cubicBezTo>
                <a:cubicBezTo>
                  <a:pt x="176" y="20015"/>
                  <a:pt x="184" y="19992"/>
                  <a:pt x="179" y="19967"/>
                </a:cubicBezTo>
                <a:cubicBezTo>
                  <a:pt x="148" y="19814"/>
                  <a:pt x="223" y="19698"/>
                  <a:pt x="406" y="19620"/>
                </a:cubicBezTo>
                <a:cubicBezTo>
                  <a:pt x="489" y="19585"/>
                  <a:pt x="534" y="19524"/>
                  <a:pt x="539" y="19439"/>
                </a:cubicBezTo>
                <a:cubicBezTo>
                  <a:pt x="539" y="19426"/>
                  <a:pt x="555" y="19415"/>
                  <a:pt x="586" y="19405"/>
                </a:cubicBezTo>
                <a:cubicBezTo>
                  <a:pt x="659" y="19377"/>
                  <a:pt x="698" y="19338"/>
                  <a:pt x="703" y="19288"/>
                </a:cubicBezTo>
                <a:cubicBezTo>
                  <a:pt x="714" y="19220"/>
                  <a:pt x="742" y="19167"/>
                  <a:pt x="789" y="19130"/>
                </a:cubicBezTo>
                <a:cubicBezTo>
                  <a:pt x="878" y="19057"/>
                  <a:pt x="912" y="18971"/>
                  <a:pt x="891" y="18873"/>
                </a:cubicBezTo>
                <a:cubicBezTo>
                  <a:pt x="865" y="18772"/>
                  <a:pt x="881" y="18695"/>
                  <a:pt x="938" y="18639"/>
                </a:cubicBezTo>
                <a:cubicBezTo>
                  <a:pt x="959" y="18619"/>
                  <a:pt x="962" y="18598"/>
                  <a:pt x="946" y="18575"/>
                </a:cubicBezTo>
                <a:cubicBezTo>
                  <a:pt x="910" y="18522"/>
                  <a:pt x="876" y="18469"/>
                  <a:pt x="844" y="18417"/>
                </a:cubicBezTo>
                <a:cubicBezTo>
                  <a:pt x="823" y="18381"/>
                  <a:pt x="805" y="18346"/>
                  <a:pt x="789" y="18311"/>
                </a:cubicBezTo>
                <a:cubicBezTo>
                  <a:pt x="779" y="18296"/>
                  <a:pt x="774" y="18282"/>
                  <a:pt x="774" y="18270"/>
                </a:cubicBezTo>
                <a:cubicBezTo>
                  <a:pt x="774" y="18257"/>
                  <a:pt x="776" y="18243"/>
                  <a:pt x="782" y="18228"/>
                </a:cubicBezTo>
                <a:cubicBezTo>
                  <a:pt x="855" y="18095"/>
                  <a:pt x="933" y="17980"/>
                  <a:pt x="1016" y="17885"/>
                </a:cubicBezTo>
                <a:cubicBezTo>
                  <a:pt x="1037" y="17865"/>
                  <a:pt x="1050" y="17842"/>
                  <a:pt x="1056" y="17817"/>
                </a:cubicBezTo>
                <a:cubicBezTo>
                  <a:pt x="1087" y="17678"/>
                  <a:pt x="1071" y="17550"/>
                  <a:pt x="1009" y="17432"/>
                </a:cubicBezTo>
                <a:cubicBezTo>
                  <a:pt x="972" y="17367"/>
                  <a:pt x="985" y="17318"/>
                  <a:pt x="1048" y="17285"/>
                </a:cubicBezTo>
                <a:cubicBezTo>
                  <a:pt x="1345" y="17137"/>
                  <a:pt x="1476" y="16923"/>
                  <a:pt x="1439" y="16644"/>
                </a:cubicBezTo>
                <a:cubicBezTo>
                  <a:pt x="1429" y="16576"/>
                  <a:pt x="1444" y="16523"/>
                  <a:pt x="1486" y="16485"/>
                </a:cubicBezTo>
                <a:cubicBezTo>
                  <a:pt x="1507" y="16465"/>
                  <a:pt x="1515" y="16442"/>
                  <a:pt x="1509" y="16417"/>
                </a:cubicBezTo>
                <a:cubicBezTo>
                  <a:pt x="1504" y="16349"/>
                  <a:pt x="1523" y="16297"/>
                  <a:pt x="1564" y="16259"/>
                </a:cubicBezTo>
                <a:cubicBezTo>
                  <a:pt x="1585" y="16239"/>
                  <a:pt x="1596" y="16216"/>
                  <a:pt x="1596" y="16191"/>
                </a:cubicBezTo>
                <a:cubicBezTo>
                  <a:pt x="1606" y="16050"/>
                  <a:pt x="1671" y="15944"/>
                  <a:pt x="1791" y="15874"/>
                </a:cubicBezTo>
                <a:cubicBezTo>
                  <a:pt x="1817" y="15859"/>
                  <a:pt x="1825" y="15839"/>
                  <a:pt x="1815" y="15814"/>
                </a:cubicBezTo>
                <a:cubicBezTo>
                  <a:pt x="1799" y="15763"/>
                  <a:pt x="1789" y="15713"/>
                  <a:pt x="1783" y="15663"/>
                </a:cubicBezTo>
                <a:cubicBezTo>
                  <a:pt x="1773" y="15595"/>
                  <a:pt x="1747" y="15542"/>
                  <a:pt x="1705" y="15504"/>
                </a:cubicBezTo>
                <a:cubicBezTo>
                  <a:pt x="1684" y="15484"/>
                  <a:pt x="1674" y="15462"/>
                  <a:pt x="1674" y="15436"/>
                </a:cubicBezTo>
                <a:cubicBezTo>
                  <a:pt x="1674" y="15311"/>
                  <a:pt x="1770" y="15206"/>
                  <a:pt x="1964" y="15123"/>
                </a:cubicBezTo>
                <a:cubicBezTo>
                  <a:pt x="2005" y="15106"/>
                  <a:pt x="2042" y="15086"/>
                  <a:pt x="2073" y="15063"/>
                </a:cubicBezTo>
                <a:cubicBezTo>
                  <a:pt x="2287" y="14917"/>
                  <a:pt x="2485" y="14810"/>
                  <a:pt x="2668" y="14742"/>
                </a:cubicBezTo>
                <a:cubicBezTo>
                  <a:pt x="2710" y="14727"/>
                  <a:pt x="2746" y="14707"/>
                  <a:pt x="2778" y="14682"/>
                </a:cubicBezTo>
                <a:cubicBezTo>
                  <a:pt x="2976" y="14524"/>
                  <a:pt x="3218" y="14364"/>
                  <a:pt x="3505" y="14203"/>
                </a:cubicBezTo>
                <a:cubicBezTo>
                  <a:pt x="3552" y="14178"/>
                  <a:pt x="3602" y="14151"/>
                  <a:pt x="3654" y="14124"/>
                </a:cubicBezTo>
                <a:cubicBezTo>
                  <a:pt x="3665" y="14119"/>
                  <a:pt x="3675" y="14112"/>
                  <a:pt x="3686" y="14105"/>
                </a:cubicBezTo>
                <a:cubicBezTo>
                  <a:pt x="3779" y="14060"/>
                  <a:pt x="3854" y="14008"/>
                  <a:pt x="3909" y="13950"/>
                </a:cubicBezTo>
                <a:cubicBezTo>
                  <a:pt x="4082" y="13838"/>
                  <a:pt x="4260" y="13734"/>
                  <a:pt x="4445" y="13637"/>
                </a:cubicBezTo>
                <a:cubicBezTo>
                  <a:pt x="4606" y="13551"/>
                  <a:pt x="4755" y="13447"/>
                  <a:pt x="4891" y="13324"/>
                </a:cubicBezTo>
                <a:cubicBezTo>
                  <a:pt x="5084" y="13153"/>
                  <a:pt x="5277" y="12967"/>
                  <a:pt x="5470" y="12766"/>
                </a:cubicBezTo>
                <a:cubicBezTo>
                  <a:pt x="5674" y="12552"/>
                  <a:pt x="5893" y="12359"/>
                  <a:pt x="6127" y="12188"/>
                </a:cubicBezTo>
                <a:cubicBezTo>
                  <a:pt x="6347" y="12032"/>
                  <a:pt x="6529" y="11882"/>
                  <a:pt x="6675" y="11736"/>
                </a:cubicBezTo>
                <a:cubicBezTo>
                  <a:pt x="6712" y="11700"/>
                  <a:pt x="6741" y="11664"/>
                  <a:pt x="6761" y="11626"/>
                </a:cubicBezTo>
                <a:cubicBezTo>
                  <a:pt x="6908" y="11397"/>
                  <a:pt x="7067" y="11171"/>
                  <a:pt x="7239" y="10947"/>
                </a:cubicBezTo>
                <a:cubicBezTo>
                  <a:pt x="7265" y="10915"/>
                  <a:pt x="7307" y="10874"/>
                  <a:pt x="7364" y="10827"/>
                </a:cubicBezTo>
                <a:cubicBezTo>
                  <a:pt x="7385" y="10806"/>
                  <a:pt x="7403" y="10785"/>
                  <a:pt x="7419" y="10762"/>
                </a:cubicBezTo>
                <a:cubicBezTo>
                  <a:pt x="7534" y="10571"/>
                  <a:pt x="7763" y="10417"/>
                  <a:pt x="8108" y="10298"/>
                </a:cubicBezTo>
                <a:cubicBezTo>
                  <a:pt x="8160" y="10236"/>
                  <a:pt x="8228" y="10174"/>
                  <a:pt x="8311" y="10114"/>
                </a:cubicBezTo>
                <a:cubicBezTo>
                  <a:pt x="8353" y="10081"/>
                  <a:pt x="8395" y="10048"/>
                  <a:pt x="8436" y="10016"/>
                </a:cubicBezTo>
                <a:cubicBezTo>
                  <a:pt x="8744" y="9772"/>
                  <a:pt x="9018" y="9529"/>
                  <a:pt x="9258" y="9287"/>
                </a:cubicBezTo>
                <a:cubicBezTo>
                  <a:pt x="9295" y="9252"/>
                  <a:pt x="9326" y="9216"/>
                  <a:pt x="9352" y="9178"/>
                </a:cubicBezTo>
                <a:cubicBezTo>
                  <a:pt x="9441" y="9062"/>
                  <a:pt x="9511" y="8960"/>
                  <a:pt x="9564" y="8872"/>
                </a:cubicBezTo>
                <a:cubicBezTo>
                  <a:pt x="9579" y="8837"/>
                  <a:pt x="9598" y="8802"/>
                  <a:pt x="9618" y="8767"/>
                </a:cubicBezTo>
                <a:cubicBezTo>
                  <a:pt x="9624" y="8752"/>
                  <a:pt x="9629" y="8737"/>
                  <a:pt x="9634" y="8722"/>
                </a:cubicBezTo>
                <a:cubicBezTo>
                  <a:pt x="9738" y="8505"/>
                  <a:pt x="9905" y="8304"/>
                  <a:pt x="10135" y="8118"/>
                </a:cubicBezTo>
                <a:cubicBezTo>
                  <a:pt x="10208" y="8060"/>
                  <a:pt x="10265" y="7999"/>
                  <a:pt x="10307" y="7933"/>
                </a:cubicBezTo>
                <a:cubicBezTo>
                  <a:pt x="10323" y="7905"/>
                  <a:pt x="10344" y="7879"/>
                  <a:pt x="10370" y="7854"/>
                </a:cubicBezTo>
                <a:cubicBezTo>
                  <a:pt x="10683" y="7535"/>
                  <a:pt x="11100" y="7245"/>
                  <a:pt x="11622" y="6986"/>
                </a:cubicBezTo>
                <a:cubicBezTo>
                  <a:pt x="11648" y="6974"/>
                  <a:pt x="11669" y="6960"/>
                  <a:pt x="11685" y="6945"/>
                </a:cubicBezTo>
                <a:cubicBezTo>
                  <a:pt x="11920" y="6723"/>
                  <a:pt x="12256" y="6520"/>
                  <a:pt x="12694" y="6334"/>
                </a:cubicBezTo>
                <a:cubicBezTo>
                  <a:pt x="12736" y="6316"/>
                  <a:pt x="12775" y="6296"/>
                  <a:pt x="12812" y="6273"/>
                </a:cubicBezTo>
                <a:cubicBezTo>
                  <a:pt x="12979" y="6163"/>
                  <a:pt x="13161" y="6063"/>
                  <a:pt x="13360" y="5975"/>
                </a:cubicBezTo>
                <a:cubicBezTo>
                  <a:pt x="13548" y="5892"/>
                  <a:pt x="13720" y="5788"/>
                  <a:pt x="13876" y="5662"/>
                </a:cubicBezTo>
                <a:cubicBezTo>
                  <a:pt x="14009" y="5559"/>
                  <a:pt x="14102" y="5449"/>
                  <a:pt x="14154" y="5330"/>
                </a:cubicBezTo>
                <a:cubicBezTo>
                  <a:pt x="14155" y="5328"/>
                  <a:pt x="14156" y="5326"/>
                  <a:pt x="14158" y="5324"/>
                </a:cubicBezTo>
                <a:cubicBezTo>
                  <a:pt x="14210" y="5207"/>
                  <a:pt x="14223" y="5082"/>
                  <a:pt x="14197" y="4949"/>
                </a:cubicBezTo>
                <a:cubicBezTo>
                  <a:pt x="14176" y="4849"/>
                  <a:pt x="14195" y="4771"/>
                  <a:pt x="14252" y="4715"/>
                </a:cubicBezTo>
                <a:cubicBezTo>
                  <a:pt x="14273" y="4695"/>
                  <a:pt x="14283" y="4673"/>
                  <a:pt x="14283" y="4647"/>
                </a:cubicBezTo>
                <a:cubicBezTo>
                  <a:pt x="14283" y="4434"/>
                  <a:pt x="14294" y="4220"/>
                  <a:pt x="14315" y="4006"/>
                </a:cubicBezTo>
                <a:cubicBezTo>
                  <a:pt x="14320" y="3968"/>
                  <a:pt x="14330" y="3931"/>
                  <a:pt x="14346" y="3893"/>
                </a:cubicBezTo>
                <a:cubicBezTo>
                  <a:pt x="14450" y="3644"/>
                  <a:pt x="14646" y="3446"/>
                  <a:pt x="14933" y="3301"/>
                </a:cubicBezTo>
                <a:cubicBezTo>
                  <a:pt x="15006" y="3263"/>
                  <a:pt x="15082" y="3210"/>
                  <a:pt x="15160" y="3142"/>
                </a:cubicBezTo>
                <a:cubicBezTo>
                  <a:pt x="15202" y="3102"/>
                  <a:pt x="15243" y="3062"/>
                  <a:pt x="15285" y="3021"/>
                </a:cubicBezTo>
                <a:cubicBezTo>
                  <a:pt x="15332" y="2981"/>
                  <a:pt x="15389" y="2932"/>
                  <a:pt x="15457" y="2874"/>
                </a:cubicBezTo>
                <a:cubicBezTo>
                  <a:pt x="15619" y="2744"/>
                  <a:pt x="15794" y="2603"/>
                  <a:pt x="15982" y="2452"/>
                </a:cubicBezTo>
                <a:cubicBezTo>
                  <a:pt x="16055" y="2389"/>
                  <a:pt x="16141" y="2329"/>
                  <a:pt x="16240" y="2271"/>
                </a:cubicBezTo>
                <a:cubicBezTo>
                  <a:pt x="16417" y="2165"/>
                  <a:pt x="16545" y="2051"/>
                  <a:pt x="16624" y="1927"/>
                </a:cubicBezTo>
                <a:cubicBezTo>
                  <a:pt x="16702" y="1890"/>
                  <a:pt x="16762" y="1842"/>
                  <a:pt x="16804" y="1784"/>
                </a:cubicBezTo>
                <a:cubicBezTo>
                  <a:pt x="16819" y="1756"/>
                  <a:pt x="16837" y="1730"/>
                  <a:pt x="16858" y="1705"/>
                </a:cubicBezTo>
                <a:cubicBezTo>
                  <a:pt x="16921" y="1607"/>
                  <a:pt x="16981" y="1495"/>
                  <a:pt x="17038" y="1369"/>
                </a:cubicBezTo>
                <a:cubicBezTo>
                  <a:pt x="17054" y="1342"/>
                  <a:pt x="17080" y="1316"/>
                  <a:pt x="17117" y="1294"/>
                </a:cubicBezTo>
                <a:cubicBezTo>
                  <a:pt x="17169" y="1259"/>
                  <a:pt x="17192" y="1207"/>
                  <a:pt x="17187" y="1139"/>
                </a:cubicBezTo>
                <a:cubicBezTo>
                  <a:pt x="17182" y="1046"/>
                  <a:pt x="17198" y="957"/>
                  <a:pt x="17234" y="871"/>
                </a:cubicBezTo>
                <a:cubicBezTo>
                  <a:pt x="17250" y="836"/>
                  <a:pt x="17265" y="801"/>
                  <a:pt x="17281" y="766"/>
                </a:cubicBezTo>
                <a:cubicBezTo>
                  <a:pt x="17292" y="738"/>
                  <a:pt x="17299" y="712"/>
                  <a:pt x="17305" y="686"/>
                </a:cubicBezTo>
                <a:close/>
                <a:moveTo>
                  <a:pt x="17305" y="686"/>
                </a:moveTo>
              </a:path>
            </a:pathLst>
          </a:custGeom>
          <a:solidFill>
            <a:schemeClr val="accent1"/>
          </a:solidFill>
          <a:ln>
            <a:solidFill>
              <a:schemeClr val="bg1"/>
            </a:solid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solidFill>
                <a:srgbClr val="BC141A"/>
              </a:solidFill>
            </a:endParaRPr>
          </a:p>
        </p:txBody>
      </p:sp>
    </p:spTree>
    <p:extLst>
      <p:ext uri="{BB962C8B-B14F-4D97-AF65-F5344CB8AC3E}">
        <p14:creationId xmlns:p14="http://schemas.microsoft.com/office/powerpoint/2010/main" val="36327345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nada</a:t>
            </a:r>
          </a:p>
        </p:txBody>
      </p:sp>
      <p:grpSp>
        <p:nvGrpSpPr>
          <p:cNvPr id="3" name="Group 2"/>
          <p:cNvGrpSpPr>
            <a:grpSpLocks/>
          </p:cNvGrpSpPr>
          <p:nvPr/>
        </p:nvGrpSpPr>
        <p:grpSpPr>
          <a:xfrm>
            <a:off x="3272311" y="1416043"/>
            <a:ext cx="6383068" cy="4991231"/>
            <a:chOff x="-896373" y="-1314714"/>
            <a:chExt cx="4953000" cy="4230687"/>
          </a:xfrm>
          <a:solidFill>
            <a:schemeClr val="bg1">
              <a:lumMod val="75000"/>
            </a:schemeClr>
          </a:solidFill>
        </p:grpSpPr>
        <p:sp>
          <p:nvSpPr>
            <p:cNvPr id="81" name="AutoShape 7"/>
            <p:cNvSpPr>
              <a:spLocks/>
            </p:cNvSpPr>
            <p:nvPr/>
          </p:nvSpPr>
          <p:spPr bwMode="auto">
            <a:xfrm>
              <a:off x="2037327" y="782373"/>
              <a:ext cx="1519238" cy="1654175"/>
            </a:xfrm>
            <a:custGeom>
              <a:avLst/>
              <a:gdLst/>
              <a:ahLst/>
              <a:cxnLst/>
              <a:rect l="0" t="0" r="r" b="b"/>
              <a:pathLst>
                <a:path w="21600" h="21590">
                  <a:moveTo>
                    <a:pt x="20959" y="6066"/>
                  </a:moveTo>
                  <a:cubicBezTo>
                    <a:pt x="20959" y="6066"/>
                    <a:pt x="16332" y="9007"/>
                    <a:pt x="16211" y="9117"/>
                  </a:cubicBezTo>
                  <a:cubicBezTo>
                    <a:pt x="16091" y="9228"/>
                    <a:pt x="16091" y="9166"/>
                    <a:pt x="16091" y="8958"/>
                  </a:cubicBezTo>
                  <a:cubicBezTo>
                    <a:pt x="16091" y="8751"/>
                    <a:pt x="15828" y="8806"/>
                    <a:pt x="15670" y="8765"/>
                  </a:cubicBezTo>
                  <a:cubicBezTo>
                    <a:pt x="15512" y="8723"/>
                    <a:pt x="15775" y="9062"/>
                    <a:pt x="15775" y="9193"/>
                  </a:cubicBezTo>
                  <a:cubicBezTo>
                    <a:pt x="15775" y="9324"/>
                    <a:pt x="15896" y="9414"/>
                    <a:pt x="16031" y="9538"/>
                  </a:cubicBezTo>
                  <a:cubicBezTo>
                    <a:pt x="16166" y="9663"/>
                    <a:pt x="16114" y="9746"/>
                    <a:pt x="16001" y="9746"/>
                  </a:cubicBezTo>
                  <a:cubicBezTo>
                    <a:pt x="15888" y="9746"/>
                    <a:pt x="15941" y="9746"/>
                    <a:pt x="15941" y="9977"/>
                  </a:cubicBezTo>
                  <a:cubicBezTo>
                    <a:pt x="15941" y="10208"/>
                    <a:pt x="15802" y="9977"/>
                    <a:pt x="15632" y="9821"/>
                  </a:cubicBezTo>
                  <a:cubicBezTo>
                    <a:pt x="15463" y="9666"/>
                    <a:pt x="15444" y="9953"/>
                    <a:pt x="15159" y="9891"/>
                  </a:cubicBezTo>
                  <a:cubicBezTo>
                    <a:pt x="14873" y="9828"/>
                    <a:pt x="14944" y="9770"/>
                    <a:pt x="14858" y="9690"/>
                  </a:cubicBezTo>
                  <a:cubicBezTo>
                    <a:pt x="14771" y="9611"/>
                    <a:pt x="14760" y="9870"/>
                    <a:pt x="14489" y="9870"/>
                  </a:cubicBezTo>
                  <a:cubicBezTo>
                    <a:pt x="14218" y="9870"/>
                    <a:pt x="14343" y="9866"/>
                    <a:pt x="14271" y="9801"/>
                  </a:cubicBezTo>
                  <a:cubicBezTo>
                    <a:pt x="14200" y="9735"/>
                    <a:pt x="14143" y="9683"/>
                    <a:pt x="14143" y="9835"/>
                  </a:cubicBezTo>
                  <a:cubicBezTo>
                    <a:pt x="14143" y="9987"/>
                    <a:pt x="13895" y="9801"/>
                    <a:pt x="13895" y="9801"/>
                  </a:cubicBezTo>
                  <a:cubicBezTo>
                    <a:pt x="13895" y="9801"/>
                    <a:pt x="13895" y="9725"/>
                    <a:pt x="13925" y="9531"/>
                  </a:cubicBezTo>
                  <a:cubicBezTo>
                    <a:pt x="13955" y="9338"/>
                    <a:pt x="13790" y="9303"/>
                    <a:pt x="13669" y="9090"/>
                  </a:cubicBezTo>
                  <a:cubicBezTo>
                    <a:pt x="13549" y="8875"/>
                    <a:pt x="13384" y="9034"/>
                    <a:pt x="13384" y="9034"/>
                  </a:cubicBezTo>
                  <a:cubicBezTo>
                    <a:pt x="13384" y="9034"/>
                    <a:pt x="13425" y="9148"/>
                    <a:pt x="13511" y="9228"/>
                  </a:cubicBezTo>
                  <a:cubicBezTo>
                    <a:pt x="13598" y="9307"/>
                    <a:pt x="13463" y="9380"/>
                    <a:pt x="13463" y="9500"/>
                  </a:cubicBezTo>
                  <a:cubicBezTo>
                    <a:pt x="13463" y="9621"/>
                    <a:pt x="13338" y="9614"/>
                    <a:pt x="13150" y="9442"/>
                  </a:cubicBezTo>
                  <a:cubicBezTo>
                    <a:pt x="12962" y="9269"/>
                    <a:pt x="13038" y="9442"/>
                    <a:pt x="12767" y="9297"/>
                  </a:cubicBezTo>
                  <a:cubicBezTo>
                    <a:pt x="12496" y="9152"/>
                    <a:pt x="12767" y="9069"/>
                    <a:pt x="12981" y="9041"/>
                  </a:cubicBezTo>
                  <a:cubicBezTo>
                    <a:pt x="13196" y="9013"/>
                    <a:pt x="12981" y="8872"/>
                    <a:pt x="12797" y="8703"/>
                  </a:cubicBezTo>
                  <a:cubicBezTo>
                    <a:pt x="12613" y="8534"/>
                    <a:pt x="12658" y="8665"/>
                    <a:pt x="12586" y="8731"/>
                  </a:cubicBezTo>
                  <a:cubicBezTo>
                    <a:pt x="12515" y="8796"/>
                    <a:pt x="12481" y="8731"/>
                    <a:pt x="12338" y="8599"/>
                  </a:cubicBezTo>
                  <a:cubicBezTo>
                    <a:pt x="12195" y="8468"/>
                    <a:pt x="11864" y="8316"/>
                    <a:pt x="11864" y="8316"/>
                  </a:cubicBezTo>
                  <a:cubicBezTo>
                    <a:pt x="11864" y="8316"/>
                    <a:pt x="11759" y="8220"/>
                    <a:pt x="11804" y="8054"/>
                  </a:cubicBezTo>
                  <a:cubicBezTo>
                    <a:pt x="11849" y="7888"/>
                    <a:pt x="11624" y="7847"/>
                    <a:pt x="11624" y="7847"/>
                  </a:cubicBezTo>
                  <a:cubicBezTo>
                    <a:pt x="11624" y="7847"/>
                    <a:pt x="11624" y="7791"/>
                    <a:pt x="11729" y="7695"/>
                  </a:cubicBezTo>
                  <a:cubicBezTo>
                    <a:pt x="11834" y="7598"/>
                    <a:pt x="11913" y="7636"/>
                    <a:pt x="11793" y="7526"/>
                  </a:cubicBezTo>
                  <a:cubicBezTo>
                    <a:pt x="11673" y="7415"/>
                    <a:pt x="11676" y="7418"/>
                    <a:pt x="11909" y="7350"/>
                  </a:cubicBezTo>
                  <a:cubicBezTo>
                    <a:pt x="12143" y="7280"/>
                    <a:pt x="12082" y="7115"/>
                    <a:pt x="12007" y="7115"/>
                  </a:cubicBezTo>
                  <a:cubicBezTo>
                    <a:pt x="11932" y="7115"/>
                    <a:pt x="11759" y="7122"/>
                    <a:pt x="11684" y="7191"/>
                  </a:cubicBezTo>
                  <a:cubicBezTo>
                    <a:pt x="11608" y="7260"/>
                    <a:pt x="11481" y="7191"/>
                    <a:pt x="11390" y="6935"/>
                  </a:cubicBezTo>
                  <a:cubicBezTo>
                    <a:pt x="11300" y="6680"/>
                    <a:pt x="11345" y="6749"/>
                    <a:pt x="11345" y="6749"/>
                  </a:cubicBezTo>
                  <a:cubicBezTo>
                    <a:pt x="11345" y="6749"/>
                    <a:pt x="11563" y="6535"/>
                    <a:pt x="11661" y="6445"/>
                  </a:cubicBezTo>
                  <a:cubicBezTo>
                    <a:pt x="11759" y="6355"/>
                    <a:pt x="12045" y="6818"/>
                    <a:pt x="12045" y="6818"/>
                  </a:cubicBezTo>
                  <a:lnTo>
                    <a:pt x="12330" y="6493"/>
                  </a:lnTo>
                  <a:cubicBezTo>
                    <a:pt x="12330" y="6493"/>
                    <a:pt x="12451" y="6714"/>
                    <a:pt x="12556" y="6811"/>
                  </a:cubicBezTo>
                  <a:cubicBezTo>
                    <a:pt x="12661" y="6907"/>
                    <a:pt x="12827" y="6687"/>
                    <a:pt x="12827" y="6687"/>
                  </a:cubicBezTo>
                  <a:cubicBezTo>
                    <a:pt x="12827" y="6687"/>
                    <a:pt x="12932" y="6687"/>
                    <a:pt x="12970" y="6783"/>
                  </a:cubicBezTo>
                  <a:cubicBezTo>
                    <a:pt x="13007" y="6880"/>
                    <a:pt x="13068" y="6652"/>
                    <a:pt x="13143" y="6583"/>
                  </a:cubicBezTo>
                  <a:cubicBezTo>
                    <a:pt x="13218" y="6514"/>
                    <a:pt x="13180" y="6431"/>
                    <a:pt x="13180" y="6293"/>
                  </a:cubicBezTo>
                  <a:cubicBezTo>
                    <a:pt x="13180" y="6155"/>
                    <a:pt x="13511" y="6376"/>
                    <a:pt x="13511" y="6376"/>
                  </a:cubicBezTo>
                  <a:lnTo>
                    <a:pt x="13714" y="6141"/>
                  </a:lnTo>
                  <a:cubicBezTo>
                    <a:pt x="13714" y="6141"/>
                    <a:pt x="13850" y="6107"/>
                    <a:pt x="14023" y="6266"/>
                  </a:cubicBezTo>
                  <a:cubicBezTo>
                    <a:pt x="14196" y="6424"/>
                    <a:pt x="14226" y="6190"/>
                    <a:pt x="14309" y="6113"/>
                  </a:cubicBezTo>
                  <a:cubicBezTo>
                    <a:pt x="14392" y="6037"/>
                    <a:pt x="14154" y="5972"/>
                    <a:pt x="14023" y="5851"/>
                  </a:cubicBezTo>
                  <a:cubicBezTo>
                    <a:pt x="13891" y="5730"/>
                    <a:pt x="14222" y="5792"/>
                    <a:pt x="14128" y="5706"/>
                  </a:cubicBezTo>
                  <a:cubicBezTo>
                    <a:pt x="14034" y="5620"/>
                    <a:pt x="14064" y="5516"/>
                    <a:pt x="13993" y="5451"/>
                  </a:cubicBezTo>
                  <a:cubicBezTo>
                    <a:pt x="13921" y="5385"/>
                    <a:pt x="13895" y="5458"/>
                    <a:pt x="13895" y="5368"/>
                  </a:cubicBezTo>
                  <a:cubicBezTo>
                    <a:pt x="13895" y="5278"/>
                    <a:pt x="13888" y="5188"/>
                    <a:pt x="13684" y="5188"/>
                  </a:cubicBezTo>
                  <a:cubicBezTo>
                    <a:pt x="13481" y="5188"/>
                    <a:pt x="13624" y="4961"/>
                    <a:pt x="13624" y="4961"/>
                  </a:cubicBezTo>
                  <a:cubicBezTo>
                    <a:pt x="13624" y="4961"/>
                    <a:pt x="13572" y="4843"/>
                    <a:pt x="13414" y="4808"/>
                  </a:cubicBezTo>
                  <a:cubicBezTo>
                    <a:pt x="13256" y="4774"/>
                    <a:pt x="13331" y="4712"/>
                    <a:pt x="13331" y="4712"/>
                  </a:cubicBezTo>
                  <a:cubicBezTo>
                    <a:pt x="13331" y="4712"/>
                    <a:pt x="13248" y="4636"/>
                    <a:pt x="13075" y="4636"/>
                  </a:cubicBezTo>
                  <a:cubicBezTo>
                    <a:pt x="12902" y="4636"/>
                    <a:pt x="13030" y="4505"/>
                    <a:pt x="13030" y="4505"/>
                  </a:cubicBezTo>
                  <a:cubicBezTo>
                    <a:pt x="13030" y="4505"/>
                    <a:pt x="12947" y="4408"/>
                    <a:pt x="12819" y="4373"/>
                  </a:cubicBezTo>
                  <a:cubicBezTo>
                    <a:pt x="12691" y="4339"/>
                    <a:pt x="12819" y="4291"/>
                    <a:pt x="12895" y="4222"/>
                  </a:cubicBezTo>
                  <a:cubicBezTo>
                    <a:pt x="12970" y="4152"/>
                    <a:pt x="12707" y="4090"/>
                    <a:pt x="12624" y="4014"/>
                  </a:cubicBezTo>
                  <a:cubicBezTo>
                    <a:pt x="12541" y="3938"/>
                    <a:pt x="12466" y="3807"/>
                    <a:pt x="12549" y="3731"/>
                  </a:cubicBezTo>
                  <a:cubicBezTo>
                    <a:pt x="12631" y="3656"/>
                    <a:pt x="12443" y="3614"/>
                    <a:pt x="12443" y="3614"/>
                  </a:cubicBezTo>
                  <a:cubicBezTo>
                    <a:pt x="12443" y="3614"/>
                    <a:pt x="12383" y="3531"/>
                    <a:pt x="12443" y="3414"/>
                  </a:cubicBezTo>
                  <a:cubicBezTo>
                    <a:pt x="12504" y="3296"/>
                    <a:pt x="12353" y="3276"/>
                    <a:pt x="12233" y="3241"/>
                  </a:cubicBezTo>
                  <a:cubicBezTo>
                    <a:pt x="12112" y="3207"/>
                    <a:pt x="12267" y="3113"/>
                    <a:pt x="12338" y="3048"/>
                  </a:cubicBezTo>
                  <a:cubicBezTo>
                    <a:pt x="12409" y="2982"/>
                    <a:pt x="12393" y="2881"/>
                    <a:pt x="12393" y="2881"/>
                  </a:cubicBezTo>
                  <a:cubicBezTo>
                    <a:pt x="12393" y="2881"/>
                    <a:pt x="12290" y="2746"/>
                    <a:pt x="12090" y="2779"/>
                  </a:cubicBezTo>
                  <a:cubicBezTo>
                    <a:pt x="11891" y="2811"/>
                    <a:pt x="12017" y="2846"/>
                    <a:pt x="11978" y="2726"/>
                  </a:cubicBezTo>
                  <a:cubicBezTo>
                    <a:pt x="11940" y="2606"/>
                    <a:pt x="11826" y="2726"/>
                    <a:pt x="11700" y="2726"/>
                  </a:cubicBezTo>
                  <a:cubicBezTo>
                    <a:pt x="11575" y="2726"/>
                    <a:pt x="11586" y="2596"/>
                    <a:pt x="11383" y="2596"/>
                  </a:cubicBezTo>
                  <a:cubicBezTo>
                    <a:pt x="11181" y="2596"/>
                    <a:pt x="11285" y="2626"/>
                    <a:pt x="11340" y="2496"/>
                  </a:cubicBezTo>
                  <a:cubicBezTo>
                    <a:pt x="11395" y="2365"/>
                    <a:pt x="11294" y="2275"/>
                    <a:pt x="11294" y="2275"/>
                  </a:cubicBezTo>
                  <a:cubicBezTo>
                    <a:pt x="11294" y="2275"/>
                    <a:pt x="11294" y="2127"/>
                    <a:pt x="11433" y="1999"/>
                  </a:cubicBezTo>
                  <a:cubicBezTo>
                    <a:pt x="11572" y="1872"/>
                    <a:pt x="11274" y="1964"/>
                    <a:pt x="11171" y="1964"/>
                  </a:cubicBezTo>
                  <a:cubicBezTo>
                    <a:pt x="11067" y="1964"/>
                    <a:pt x="11141" y="1802"/>
                    <a:pt x="11220" y="1729"/>
                  </a:cubicBezTo>
                  <a:cubicBezTo>
                    <a:pt x="11299" y="1656"/>
                    <a:pt x="11296" y="1659"/>
                    <a:pt x="11154" y="1659"/>
                  </a:cubicBezTo>
                  <a:cubicBezTo>
                    <a:pt x="11012" y="1659"/>
                    <a:pt x="11269" y="1473"/>
                    <a:pt x="11225" y="1433"/>
                  </a:cubicBezTo>
                  <a:cubicBezTo>
                    <a:pt x="11181" y="1393"/>
                    <a:pt x="11023" y="1639"/>
                    <a:pt x="10958" y="1774"/>
                  </a:cubicBezTo>
                  <a:cubicBezTo>
                    <a:pt x="10892" y="1909"/>
                    <a:pt x="10701" y="1824"/>
                    <a:pt x="10483" y="1824"/>
                  </a:cubicBezTo>
                  <a:cubicBezTo>
                    <a:pt x="10264" y="1824"/>
                    <a:pt x="10805" y="1694"/>
                    <a:pt x="10805" y="1694"/>
                  </a:cubicBezTo>
                  <a:cubicBezTo>
                    <a:pt x="10805" y="1694"/>
                    <a:pt x="10778" y="1589"/>
                    <a:pt x="10636" y="1528"/>
                  </a:cubicBezTo>
                  <a:cubicBezTo>
                    <a:pt x="10494" y="1468"/>
                    <a:pt x="10582" y="1404"/>
                    <a:pt x="10751" y="1404"/>
                  </a:cubicBezTo>
                  <a:cubicBezTo>
                    <a:pt x="10919" y="1404"/>
                    <a:pt x="10607" y="1289"/>
                    <a:pt x="10491" y="1258"/>
                  </a:cubicBezTo>
                  <a:cubicBezTo>
                    <a:pt x="10376" y="1227"/>
                    <a:pt x="10304" y="1046"/>
                    <a:pt x="10304" y="1046"/>
                  </a:cubicBezTo>
                  <a:cubicBezTo>
                    <a:pt x="10304" y="1046"/>
                    <a:pt x="10222" y="1037"/>
                    <a:pt x="10044" y="1037"/>
                  </a:cubicBezTo>
                  <a:cubicBezTo>
                    <a:pt x="9866" y="1037"/>
                    <a:pt x="10001" y="997"/>
                    <a:pt x="9948" y="838"/>
                  </a:cubicBezTo>
                  <a:cubicBezTo>
                    <a:pt x="9895" y="679"/>
                    <a:pt x="9813" y="648"/>
                    <a:pt x="9705" y="648"/>
                  </a:cubicBezTo>
                  <a:cubicBezTo>
                    <a:pt x="9597" y="648"/>
                    <a:pt x="9705" y="412"/>
                    <a:pt x="9760" y="362"/>
                  </a:cubicBezTo>
                  <a:cubicBezTo>
                    <a:pt x="9782" y="342"/>
                    <a:pt x="9812" y="290"/>
                    <a:pt x="9841" y="235"/>
                  </a:cubicBezTo>
                  <a:cubicBezTo>
                    <a:pt x="9834" y="231"/>
                    <a:pt x="9823" y="229"/>
                    <a:pt x="9804" y="232"/>
                  </a:cubicBezTo>
                  <a:cubicBezTo>
                    <a:pt x="9774" y="237"/>
                    <a:pt x="9790" y="286"/>
                    <a:pt x="9741" y="300"/>
                  </a:cubicBezTo>
                  <a:cubicBezTo>
                    <a:pt x="9747" y="242"/>
                    <a:pt x="9750" y="180"/>
                    <a:pt x="9666" y="203"/>
                  </a:cubicBezTo>
                  <a:cubicBezTo>
                    <a:pt x="9620" y="215"/>
                    <a:pt x="9634" y="238"/>
                    <a:pt x="9605" y="262"/>
                  </a:cubicBezTo>
                  <a:cubicBezTo>
                    <a:pt x="9580" y="283"/>
                    <a:pt x="9555" y="322"/>
                    <a:pt x="9582" y="253"/>
                  </a:cubicBezTo>
                  <a:cubicBezTo>
                    <a:pt x="9616" y="166"/>
                    <a:pt x="9707" y="178"/>
                    <a:pt x="9799" y="166"/>
                  </a:cubicBezTo>
                  <a:lnTo>
                    <a:pt x="9663" y="148"/>
                  </a:lnTo>
                  <a:cubicBezTo>
                    <a:pt x="9622" y="138"/>
                    <a:pt x="9577" y="127"/>
                    <a:pt x="9537" y="148"/>
                  </a:cubicBezTo>
                  <a:cubicBezTo>
                    <a:pt x="9541" y="152"/>
                    <a:pt x="9551" y="151"/>
                    <a:pt x="9554" y="155"/>
                  </a:cubicBezTo>
                  <a:cubicBezTo>
                    <a:pt x="9495" y="165"/>
                    <a:pt x="9448" y="166"/>
                    <a:pt x="9442" y="201"/>
                  </a:cubicBezTo>
                  <a:cubicBezTo>
                    <a:pt x="9443" y="196"/>
                    <a:pt x="9458" y="294"/>
                    <a:pt x="9459" y="299"/>
                  </a:cubicBezTo>
                  <a:cubicBezTo>
                    <a:pt x="9464" y="321"/>
                    <a:pt x="9462" y="329"/>
                    <a:pt x="9467" y="346"/>
                  </a:cubicBezTo>
                  <a:cubicBezTo>
                    <a:pt x="9471" y="356"/>
                    <a:pt x="9511" y="352"/>
                    <a:pt x="9513" y="359"/>
                  </a:cubicBezTo>
                  <a:cubicBezTo>
                    <a:pt x="9518" y="373"/>
                    <a:pt x="9508" y="428"/>
                    <a:pt x="9504" y="451"/>
                  </a:cubicBezTo>
                  <a:cubicBezTo>
                    <a:pt x="9497" y="489"/>
                    <a:pt x="9514" y="541"/>
                    <a:pt x="9511" y="562"/>
                  </a:cubicBezTo>
                  <a:cubicBezTo>
                    <a:pt x="9505" y="613"/>
                    <a:pt x="9475" y="673"/>
                    <a:pt x="9567" y="690"/>
                  </a:cubicBezTo>
                  <a:cubicBezTo>
                    <a:pt x="9559" y="695"/>
                    <a:pt x="9549" y="701"/>
                    <a:pt x="9541" y="707"/>
                  </a:cubicBezTo>
                  <a:cubicBezTo>
                    <a:pt x="9556" y="712"/>
                    <a:pt x="9582" y="734"/>
                    <a:pt x="9595" y="739"/>
                  </a:cubicBezTo>
                  <a:cubicBezTo>
                    <a:pt x="9580" y="735"/>
                    <a:pt x="9546" y="734"/>
                    <a:pt x="9540" y="752"/>
                  </a:cubicBezTo>
                  <a:cubicBezTo>
                    <a:pt x="9521" y="810"/>
                    <a:pt x="9557" y="786"/>
                    <a:pt x="9561" y="802"/>
                  </a:cubicBezTo>
                  <a:cubicBezTo>
                    <a:pt x="9562" y="805"/>
                    <a:pt x="9594" y="808"/>
                    <a:pt x="9596" y="819"/>
                  </a:cubicBezTo>
                  <a:cubicBezTo>
                    <a:pt x="9597" y="825"/>
                    <a:pt x="9585" y="843"/>
                    <a:pt x="9583" y="837"/>
                  </a:cubicBezTo>
                  <a:cubicBezTo>
                    <a:pt x="9583" y="836"/>
                    <a:pt x="9512" y="831"/>
                    <a:pt x="9543" y="854"/>
                  </a:cubicBezTo>
                  <a:cubicBezTo>
                    <a:pt x="9612" y="906"/>
                    <a:pt x="9670" y="928"/>
                    <a:pt x="9768" y="905"/>
                  </a:cubicBezTo>
                  <a:cubicBezTo>
                    <a:pt x="9713" y="954"/>
                    <a:pt x="9430" y="882"/>
                    <a:pt x="9499" y="991"/>
                  </a:cubicBezTo>
                  <a:cubicBezTo>
                    <a:pt x="9467" y="990"/>
                    <a:pt x="9448" y="1010"/>
                    <a:pt x="9439" y="1037"/>
                  </a:cubicBezTo>
                  <a:cubicBezTo>
                    <a:pt x="9481" y="1054"/>
                    <a:pt x="9458" y="1107"/>
                    <a:pt x="9475" y="1144"/>
                  </a:cubicBezTo>
                  <a:cubicBezTo>
                    <a:pt x="9487" y="1169"/>
                    <a:pt x="9521" y="1200"/>
                    <a:pt x="9541" y="1220"/>
                  </a:cubicBezTo>
                  <a:cubicBezTo>
                    <a:pt x="9570" y="1248"/>
                    <a:pt x="9646" y="1328"/>
                    <a:pt x="9688" y="1332"/>
                  </a:cubicBezTo>
                  <a:cubicBezTo>
                    <a:pt x="9738" y="1337"/>
                    <a:pt x="9790" y="1286"/>
                    <a:pt x="9848" y="1298"/>
                  </a:cubicBezTo>
                  <a:cubicBezTo>
                    <a:pt x="9909" y="1311"/>
                    <a:pt x="9969" y="1334"/>
                    <a:pt x="10038" y="1344"/>
                  </a:cubicBezTo>
                  <a:cubicBezTo>
                    <a:pt x="9970" y="1386"/>
                    <a:pt x="9883" y="1326"/>
                    <a:pt x="9818" y="1330"/>
                  </a:cubicBezTo>
                  <a:cubicBezTo>
                    <a:pt x="9738" y="1335"/>
                    <a:pt x="9682" y="1393"/>
                    <a:pt x="9610" y="1407"/>
                  </a:cubicBezTo>
                  <a:cubicBezTo>
                    <a:pt x="9668" y="1424"/>
                    <a:pt x="9710" y="1447"/>
                    <a:pt x="9773" y="1448"/>
                  </a:cubicBezTo>
                  <a:cubicBezTo>
                    <a:pt x="9687" y="1491"/>
                    <a:pt x="9849" y="1554"/>
                    <a:pt x="9877" y="1578"/>
                  </a:cubicBezTo>
                  <a:cubicBezTo>
                    <a:pt x="9804" y="1582"/>
                    <a:pt x="9748" y="1533"/>
                    <a:pt x="9673" y="1536"/>
                  </a:cubicBezTo>
                  <a:cubicBezTo>
                    <a:pt x="9685" y="1559"/>
                    <a:pt x="9705" y="1599"/>
                    <a:pt x="9729" y="1616"/>
                  </a:cubicBezTo>
                  <a:cubicBezTo>
                    <a:pt x="9738" y="1623"/>
                    <a:pt x="9805" y="1636"/>
                    <a:pt x="9806" y="1642"/>
                  </a:cubicBezTo>
                  <a:cubicBezTo>
                    <a:pt x="9811" y="1664"/>
                    <a:pt x="9748" y="1662"/>
                    <a:pt x="9745" y="1687"/>
                  </a:cubicBezTo>
                  <a:cubicBezTo>
                    <a:pt x="9743" y="1707"/>
                    <a:pt x="9780" y="1739"/>
                    <a:pt x="9792" y="1754"/>
                  </a:cubicBezTo>
                  <a:cubicBezTo>
                    <a:pt x="9764" y="1742"/>
                    <a:pt x="9704" y="1684"/>
                    <a:pt x="9667" y="1705"/>
                  </a:cubicBezTo>
                  <a:cubicBezTo>
                    <a:pt x="9615" y="1734"/>
                    <a:pt x="9709" y="1772"/>
                    <a:pt x="9714" y="1778"/>
                  </a:cubicBezTo>
                  <a:cubicBezTo>
                    <a:pt x="9736" y="1807"/>
                    <a:pt x="9792" y="1913"/>
                    <a:pt x="9864" y="1902"/>
                  </a:cubicBezTo>
                  <a:cubicBezTo>
                    <a:pt x="9893" y="1898"/>
                    <a:pt x="9898" y="1857"/>
                    <a:pt x="9922" y="1846"/>
                  </a:cubicBezTo>
                  <a:cubicBezTo>
                    <a:pt x="9936" y="1839"/>
                    <a:pt x="9985" y="1838"/>
                    <a:pt x="10001" y="1837"/>
                  </a:cubicBezTo>
                  <a:cubicBezTo>
                    <a:pt x="10045" y="1835"/>
                    <a:pt x="10104" y="1823"/>
                    <a:pt x="10012" y="1863"/>
                  </a:cubicBezTo>
                  <a:cubicBezTo>
                    <a:pt x="9972" y="1880"/>
                    <a:pt x="9930" y="1854"/>
                    <a:pt x="9912" y="1896"/>
                  </a:cubicBezTo>
                  <a:cubicBezTo>
                    <a:pt x="9893" y="1939"/>
                    <a:pt x="9970" y="1938"/>
                    <a:pt x="9994" y="1953"/>
                  </a:cubicBezTo>
                  <a:cubicBezTo>
                    <a:pt x="9918" y="1991"/>
                    <a:pt x="9845" y="1904"/>
                    <a:pt x="9797" y="1998"/>
                  </a:cubicBezTo>
                  <a:cubicBezTo>
                    <a:pt x="9803" y="2010"/>
                    <a:pt x="9943" y="2060"/>
                    <a:pt x="9916" y="2080"/>
                  </a:cubicBezTo>
                  <a:cubicBezTo>
                    <a:pt x="9909" y="2085"/>
                    <a:pt x="9758" y="2059"/>
                    <a:pt x="9742" y="2052"/>
                  </a:cubicBezTo>
                  <a:cubicBezTo>
                    <a:pt x="9748" y="2077"/>
                    <a:pt x="9789" y="2092"/>
                    <a:pt x="9793" y="2109"/>
                  </a:cubicBezTo>
                  <a:cubicBezTo>
                    <a:pt x="9802" y="2149"/>
                    <a:pt x="9771" y="2189"/>
                    <a:pt x="9780" y="2230"/>
                  </a:cubicBezTo>
                  <a:cubicBezTo>
                    <a:pt x="9811" y="2224"/>
                    <a:pt x="9909" y="2174"/>
                    <a:pt x="9898" y="2219"/>
                  </a:cubicBezTo>
                  <a:cubicBezTo>
                    <a:pt x="9888" y="2259"/>
                    <a:pt x="9849" y="2257"/>
                    <a:pt x="9817" y="2272"/>
                  </a:cubicBezTo>
                  <a:cubicBezTo>
                    <a:pt x="9808" y="2276"/>
                    <a:pt x="9760" y="2281"/>
                    <a:pt x="9766" y="2276"/>
                  </a:cubicBezTo>
                  <a:cubicBezTo>
                    <a:pt x="9679" y="2351"/>
                    <a:pt x="9829" y="2439"/>
                    <a:pt x="9884" y="2469"/>
                  </a:cubicBezTo>
                  <a:cubicBezTo>
                    <a:pt x="9874" y="2464"/>
                    <a:pt x="9934" y="2470"/>
                    <a:pt x="9932" y="2470"/>
                  </a:cubicBezTo>
                  <a:cubicBezTo>
                    <a:pt x="9934" y="2470"/>
                    <a:pt x="10003" y="2492"/>
                    <a:pt x="10006" y="2494"/>
                  </a:cubicBezTo>
                  <a:cubicBezTo>
                    <a:pt x="10081" y="2540"/>
                    <a:pt x="10045" y="2562"/>
                    <a:pt x="10043" y="2634"/>
                  </a:cubicBezTo>
                  <a:cubicBezTo>
                    <a:pt x="10040" y="2719"/>
                    <a:pt x="10072" y="2667"/>
                    <a:pt x="10101" y="2718"/>
                  </a:cubicBezTo>
                  <a:cubicBezTo>
                    <a:pt x="10133" y="2777"/>
                    <a:pt x="10060" y="2838"/>
                    <a:pt x="10095" y="2895"/>
                  </a:cubicBezTo>
                  <a:cubicBezTo>
                    <a:pt x="10009" y="2875"/>
                    <a:pt x="10075" y="2836"/>
                    <a:pt x="10072" y="2803"/>
                  </a:cubicBezTo>
                  <a:cubicBezTo>
                    <a:pt x="10069" y="2766"/>
                    <a:pt x="10064" y="2762"/>
                    <a:pt x="10042" y="2726"/>
                  </a:cubicBezTo>
                  <a:cubicBezTo>
                    <a:pt x="10015" y="2681"/>
                    <a:pt x="10002" y="2679"/>
                    <a:pt x="9993" y="2621"/>
                  </a:cubicBezTo>
                  <a:cubicBezTo>
                    <a:pt x="9980" y="2543"/>
                    <a:pt x="9993" y="2555"/>
                    <a:pt x="9924" y="2531"/>
                  </a:cubicBezTo>
                  <a:cubicBezTo>
                    <a:pt x="9903" y="2524"/>
                    <a:pt x="9923" y="2493"/>
                    <a:pt x="9888" y="2503"/>
                  </a:cubicBezTo>
                  <a:cubicBezTo>
                    <a:pt x="9835" y="2519"/>
                    <a:pt x="9846" y="2502"/>
                    <a:pt x="9804" y="2488"/>
                  </a:cubicBezTo>
                  <a:cubicBezTo>
                    <a:pt x="9769" y="2478"/>
                    <a:pt x="9717" y="2445"/>
                    <a:pt x="9669" y="2434"/>
                  </a:cubicBezTo>
                  <a:cubicBezTo>
                    <a:pt x="9635" y="2426"/>
                    <a:pt x="9526" y="2392"/>
                    <a:pt x="9520" y="2421"/>
                  </a:cubicBezTo>
                  <a:cubicBezTo>
                    <a:pt x="9511" y="2466"/>
                    <a:pt x="9520" y="2506"/>
                    <a:pt x="9526" y="2549"/>
                  </a:cubicBezTo>
                  <a:cubicBezTo>
                    <a:pt x="9527" y="2555"/>
                    <a:pt x="9558" y="2546"/>
                    <a:pt x="9558" y="2563"/>
                  </a:cubicBezTo>
                  <a:cubicBezTo>
                    <a:pt x="9558" y="2578"/>
                    <a:pt x="9537" y="2593"/>
                    <a:pt x="9537" y="2597"/>
                  </a:cubicBezTo>
                  <a:cubicBezTo>
                    <a:pt x="9537" y="2617"/>
                    <a:pt x="9504" y="2600"/>
                    <a:pt x="9517" y="2631"/>
                  </a:cubicBezTo>
                  <a:cubicBezTo>
                    <a:pt x="9526" y="2651"/>
                    <a:pt x="9526" y="2666"/>
                    <a:pt x="9523" y="2686"/>
                  </a:cubicBezTo>
                  <a:cubicBezTo>
                    <a:pt x="9522" y="2694"/>
                    <a:pt x="9536" y="2756"/>
                    <a:pt x="9540" y="2767"/>
                  </a:cubicBezTo>
                  <a:cubicBezTo>
                    <a:pt x="9554" y="2808"/>
                    <a:pt x="9569" y="2880"/>
                    <a:pt x="9613" y="2887"/>
                  </a:cubicBezTo>
                  <a:cubicBezTo>
                    <a:pt x="9533" y="2956"/>
                    <a:pt x="9505" y="2909"/>
                    <a:pt x="9512" y="3032"/>
                  </a:cubicBezTo>
                  <a:cubicBezTo>
                    <a:pt x="9439" y="3051"/>
                    <a:pt x="9480" y="2969"/>
                    <a:pt x="9416" y="2981"/>
                  </a:cubicBezTo>
                  <a:cubicBezTo>
                    <a:pt x="9375" y="2989"/>
                    <a:pt x="9403" y="3054"/>
                    <a:pt x="9404" y="3088"/>
                  </a:cubicBezTo>
                  <a:cubicBezTo>
                    <a:pt x="9404" y="3101"/>
                    <a:pt x="9406" y="3160"/>
                    <a:pt x="9401" y="3169"/>
                  </a:cubicBezTo>
                  <a:cubicBezTo>
                    <a:pt x="9385" y="3200"/>
                    <a:pt x="9364" y="3183"/>
                    <a:pt x="9355" y="3195"/>
                  </a:cubicBezTo>
                  <a:cubicBezTo>
                    <a:pt x="9300" y="3270"/>
                    <a:pt x="9276" y="3375"/>
                    <a:pt x="9191" y="3440"/>
                  </a:cubicBezTo>
                  <a:cubicBezTo>
                    <a:pt x="9199" y="3482"/>
                    <a:pt x="9177" y="3526"/>
                    <a:pt x="9177" y="3571"/>
                  </a:cubicBezTo>
                  <a:cubicBezTo>
                    <a:pt x="9177" y="3625"/>
                    <a:pt x="9193" y="3652"/>
                    <a:pt x="9212" y="3697"/>
                  </a:cubicBezTo>
                  <a:cubicBezTo>
                    <a:pt x="9239" y="3759"/>
                    <a:pt x="9243" y="3828"/>
                    <a:pt x="9274" y="3897"/>
                  </a:cubicBezTo>
                  <a:cubicBezTo>
                    <a:pt x="9270" y="3894"/>
                    <a:pt x="9263" y="3891"/>
                    <a:pt x="9260" y="3886"/>
                  </a:cubicBezTo>
                  <a:cubicBezTo>
                    <a:pt x="9228" y="3835"/>
                    <a:pt x="9238" y="3791"/>
                    <a:pt x="9215" y="3741"/>
                  </a:cubicBezTo>
                  <a:cubicBezTo>
                    <a:pt x="9192" y="3690"/>
                    <a:pt x="9137" y="3663"/>
                    <a:pt x="9119" y="3607"/>
                  </a:cubicBezTo>
                  <a:cubicBezTo>
                    <a:pt x="9109" y="3577"/>
                    <a:pt x="9126" y="3553"/>
                    <a:pt x="9111" y="3523"/>
                  </a:cubicBezTo>
                  <a:cubicBezTo>
                    <a:pt x="9088" y="3478"/>
                    <a:pt x="9033" y="3481"/>
                    <a:pt x="9001" y="3444"/>
                  </a:cubicBezTo>
                  <a:cubicBezTo>
                    <a:pt x="8981" y="3422"/>
                    <a:pt x="8991" y="3309"/>
                    <a:pt x="8951" y="3302"/>
                  </a:cubicBezTo>
                  <a:cubicBezTo>
                    <a:pt x="8788" y="3273"/>
                    <a:pt x="8983" y="3512"/>
                    <a:pt x="8962" y="3579"/>
                  </a:cubicBezTo>
                  <a:cubicBezTo>
                    <a:pt x="8959" y="3590"/>
                    <a:pt x="8934" y="3611"/>
                    <a:pt x="8932" y="3628"/>
                  </a:cubicBezTo>
                  <a:cubicBezTo>
                    <a:pt x="8929" y="3655"/>
                    <a:pt x="8939" y="3679"/>
                    <a:pt x="8938" y="3707"/>
                  </a:cubicBezTo>
                  <a:cubicBezTo>
                    <a:pt x="8935" y="3756"/>
                    <a:pt x="8926" y="3812"/>
                    <a:pt x="8903" y="3855"/>
                  </a:cubicBezTo>
                  <a:cubicBezTo>
                    <a:pt x="8853" y="3736"/>
                    <a:pt x="8949" y="3655"/>
                    <a:pt x="8931" y="3542"/>
                  </a:cubicBezTo>
                  <a:cubicBezTo>
                    <a:pt x="8919" y="3468"/>
                    <a:pt x="8848" y="3460"/>
                    <a:pt x="8811" y="3400"/>
                  </a:cubicBezTo>
                  <a:cubicBezTo>
                    <a:pt x="8797" y="3377"/>
                    <a:pt x="8801" y="3343"/>
                    <a:pt x="8788" y="3323"/>
                  </a:cubicBezTo>
                  <a:cubicBezTo>
                    <a:pt x="8766" y="3290"/>
                    <a:pt x="8751" y="3306"/>
                    <a:pt x="8729" y="3283"/>
                  </a:cubicBezTo>
                  <a:cubicBezTo>
                    <a:pt x="8653" y="3203"/>
                    <a:pt x="8669" y="3296"/>
                    <a:pt x="8654" y="3326"/>
                  </a:cubicBezTo>
                  <a:cubicBezTo>
                    <a:pt x="8636" y="3360"/>
                    <a:pt x="8584" y="3326"/>
                    <a:pt x="8600" y="3404"/>
                  </a:cubicBezTo>
                  <a:cubicBezTo>
                    <a:pt x="8609" y="3449"/>
                    <a:pt x="8661" y="3496"/>
                    <a:pt x="8671" y="3545"/>
                  </a:cubicBezTo>
                  <a:cubicBezTo>
                    <a:pt x="8681" y="3590"/>
                    <a:pt x="8704" y="3642"/>
                    <a:pt x="8711" y="3684"/>
                  </a:cubicBezTo>
                  <a:cubicBezTo>
                    <a:pt x="8719" y="3736"/>
                    <a:pt x="8706" y="3766"/>
                    <a:pt x="8727" y="3821"/>
                  </a:cubicBezTo>
                  <a:cubicBezTo>
                    <a:pt x="8748" y="3878"/>
                    <a:pt x="8752" y="3897"/>
                    <a:pt x="8731" y="3956"/>
                  </a:cubicBezTo>
                  <a:cubicBezTo>
                    <a:pt x="8695" y="4057"/>
                    <a:pt x="8625" y="4081"/>
                    <a:pt x="8546" y="4158"/>
                  </a:cubicBezTo>
                  <a:cubicBezTo>
                    <a:pt x="8479" y="4222"/>
                    <a:pt x="8419" y="4289"/>
                    <a:pt x="8374" y="4368"/>
                  </a:cubicBezTo>
                  <a:cubicBezTo>
                    <a:pt x="8333" y="4442"/>
                    <a:pt x="8317" y="4532"/>
                    <a:pt x="8263" y="4602"/>
                  </a:cubicBezTo>
                  <a:cubicBezTo>
                    <a:pt x="8265" y="4583"/>
                    <a:pt x="8271" y="4564"/>
                    <a:pt x="8275" y="4545"/>
                  </a:cubicBezTo>
                  <a:cubicBezTo>
                    <a:pt x="8304" y="4371"/>
                    <a:pt x="8448" y="4208"/>
                    <a:pt x="8580" y="4092"/>
                  </a:cubicBezTo>
                  <a:cubicBezTo>
                    <a:pt x="8662" y="4022"/>
                    <a:pt x="8726" y="3963"/>
                    <a:pt x="8712" y="3851"/>
                  </a:cubicBezTo>
                  <a:cubicBezTo>
                    <a:pt x="8706" y="3802"/>
                    <a:pt x="8671" y="3741"/>
                    <a:pt x="8662" y="3689"/>
                  </a:cubicBezTo>
                  <a:cubicBezTo>
                    <a:pt x="8652" y="3634"/>
                    <a:pt x="8644" y="3578"/>
                    <a:pt x="8627" y="3523"/>
                  </a:cubicBezTo>
                  <a:cubicBezTo>
                    <a:pt x="8612" y="3477"/>
                    <a:pt x="8596" y="3431"/>
                    <a:pt x="8564" y="3392"/>
                  </a:cubicBezTo>
                  <a:cubicBezTo>
                    <a:pt x="8556" y="3382"/>
                    <a:pt x="8565" y="3353"/>
                    <a:pt x="8552" y="3345"/>
                  </a:cubicBezTo>
                  <a:cubicBezTo>
                    <a:pt x="8539" y="3338"/>
                    <a:pt x="8524" y="3360"/>
                    <a:pt x="8526" y="3361"/>
                  </a:cubicBezTo>
                  <a:cubicBezTo>
                    <a:pt x="8528" y="3362"/>
                    <a:pt x="8510" y="3384"/>
                    <a:pt x="8506" y="3382"/>
                  </a:cubicBezTo>
                  <a:cubicBezTo>
                    <a:pt x="8495" y="3377"/>
                    <a:pt x="8486" y="3346"/>
                    <a:pt x="8484" y="3345"/>
                  </a:cubicBezTo>
                  <a:cubicBezTo>
                    <a:pt x="8496" y="3349"/>
                    <a:pt x="8455" y="3308"/>
                    <a:pt x="8458" y="3312"/>
                  </a:cubicBezTo>
                  <a:cubicBezTo>
                    <a:pt x="8457" y="3310"/>
                    <a:pt x="8426" y="3323"/>
                    <a:pt x="8412" y="3308"/>
                  </a:cubicBezTo>
                  <a:cubicBezTo>
                    <a:pt x="8388" y="3284"/>
                    <a:pt x="8391" y="3253"/>
                    <a:pt x="8371" y="3229"/>
                  </a:cubicBezTo>
                  <a:cubicBezTo>
                    <a:pt x="8348" y="3202"/>
                    <a:pt x="8319" y="3176"/>
                    <a:pt x="8298" y="3151"/>
                  </a:cubicBezTo>
                  <a:cubicBezTo>
                    <a:pt x="8277" y="3126"/>
                    <a:pt x="8282" y="3100"/>
                    <a:pt x="8238" y="3086"/>
                  </a:cubicBezTo>
                  <a:cubicBezTo>
                    <a:pt x="8211" y="3078"/>
                    <a:pt x="8150" y="3091"/>
                    <a:pt x="8117" y="3087"/>
                  </a:cubicBezTo>
                  <a:cubicBezTo>
                    <a:pt x="8057" y="3078"/>
                    <a:pt x="8040" y="3068"/>
                    <a:pt x="7986" y="3078"/>
                  </a:cubicBezTo>
                  <a:cubicBezTo>
                    <a:pt x="7904" y="3093"/>
                    <a:pt x="7928" y="3121"/>
                    <a:pt x="7872" y="3163"/>
                  </a:cubicBezTo>
                  <a:cubicBezTo>
                    <a:pt x="7816" y="3204"/>
                    <a:pt x="7776" y="3172"/>
                    <a:pt x="7707" y="3204"/>
                  </a:cubicBezTo>
                  <a:cubicBezTo>
                    <a:pt x="7663" y="3225"/>
                    <a:pt x="7634" y="3256"/>
                    <a:pt x="7608" y="3279"/>
                  </a:cubicBezTo>
                  <a:cubicBezTo>
                    <a:pt x="7561" y="3323"/>
                    <a:pt x="7568" y="3336"/>
                    <a:pt x="7554" y="3388"/>
                  </a:cubicBezTo>
                  <a:cubicBezTo>
                    <a:pt x="7541" y="3438"/>
                    <a:pt x="7502" y="3463"/>
                    <a:pt x="7487" y="3502"/>
                  </a:cubicBezTo>
                  <a:cubicBezTo>
                    <a:pt x="7481" y="3521"/>
                    <a:pt x="7480" y="3545"/>
                    <a:pt x="7475" y="3560"/>
                  </a:cubicBezTo>
                  <a:cubicBezTo>
                    <a:pt x="7471" y="3571"/>
                    <a:pt x="7492" y="3589"/>
                    <a:pt x="7490" y="3601"/>
                  </a:cubicBezTo>
                  <a:cubicBezTo>
                    <a:pt x="7488" y="3614"/>
                    <a:pt x="7461" y="3613"/>
                    <a:pt x="7462" y="3612"/>
                  </a:cubicBezTo>
                  <a:cubicBezTo>
                    <a:pt x="7459" y="3627"/>
                    <a:pt x="7460" y="3760"/>
                    <a:pt x="7445" y="3769"/>
                  </a:cubicBezTo>
                  <a:cubicBezTo>
                    <a:pt x="7373" y="3815"/>
                    <a:pt x="7397" y="3644"/>
                    <a:pt x="7364" y="3639"/>
                  </a:cubicBezTo>
                  <a:cubicBezTo>
                    <a:pt x="7322" y="3633"/>
                    <a:pt x="7348" y="3682"/>
                    <a:pt x="7326" y="3682"/>
                  </a:cubicBezTo>
                  <a:cubicBezTo>
                    <a:pt x="7282" y="3680"/>
                    <a:pt x="7315" y="3657"/>
                    <a:pt x="7275" y="3632"/>
                  </a:cubicBezTo>
                  <a:cubicBezTo>
                    <a:pt x="7232" y="3605"/>
                    <a:pt x="7285" y="3607"/>
                    <a:pt x="7238" y="3619"/>
                  </a:cubicBezTo>
                  <a:cubicBezTo>
                    <a:pt x="7230" y="3621"/>
                    <a:pt x="7222" y="3664"/>
                    <a:pt x="7210" y="3671"/>
                  </a:cubicBezTo>
                  <a:cubicBezTo>
                    <a:pt x="7216" y="3668"/>
                    <a:pt x="7135" y="3676"/>
                    <a:pt x="7129" y="3676"/>
                  </a:cubicBezTo>
                  <a:cubicBezTo>
                    <a:pt x="7094" y="3681"/>
                    <a:pt x="7076" y="3671"/>
                    <a:pt x="7044" y="3691"/>
                  </a:cubicBezTo>
                  <a:cubicBezTo>
                    <a:pt x="7054" y="3640"/>
                    <a:pt x="7087" y="3679"/>
                    <a:pt x="7116" y="3652"/>
                  </a:cubicBezTo>
                  <a:cubicBezTo>
                    <a:pt x="7137" y="3633"/>
                    <a:pt x="7142" y="3604"/>
                    <a:pt x="7158" y="3588"/>
                  </a:cubicBezTo>
                  <a:cubicBezTo>
                    <a:pt x="7193" y="3551"/>
                    <a:pt x="7266" y="3537"/>
                    <a:pt x="7219" y="3468"/>
                  </a:cubicBezTo>
                  <a:cubicBezTo>
                    <a:pt x="7387" y="3558"/>
                    <a:pt x="7240" y="3347"/>
                    <a:pt x="7165" y="3367"/>
                  </a:cubicBezTo>
                  <a:cubicBezTo>
                    <a:pt x="7174" y="3321"/>
                    <a:pt x="7133" y="3293"/>
                    <a:pt x="7120" y="3252"/>
                  </a:cubicBezTo>
                  <a:cubicBezTo>
                    <a:pt x="7151" y="3261"/>
                    <a:pt x="7201" y="3297"/>
                    <a:pt x="7224" y="3310"/>
                  </a:cubicBezTo>
                  <a:cubicBezTo>
                    <a:pt x="7219" y="3302"/>
                    <a:pt x="7269" y="3300"/>
                    <a:pt x="7274" y="3302"/>
                  </a:cubicBezTo>
                  <a:cubicBezTo>
                    <a:pt x="7310" y="3308"/>
                    <a:pt x="7273" y="3379"/>
                    <a:pt x="7322" y="3336"/>
                  </a:cubicBezTo>
                  <a:cubicBezTo>
                    <a:pt x="7370" y="3380"/>
                    <a:pt x="7311" y="3437"/>
                    <a:pt x="7384" y="3474"/>
                  </a:cubicBezTo>
                  <a:cubicBezTo>
                    <a:pt x="7469" y="3517"/>
                    <a:pt x="7463" y="3448"/>
                    <a:pt x="7468" y="3405"/>
                  </a:cubicBezTo>
                  <a:cubicBezTo>
                    <a:pt x="7470" y="3386"/>
                    <a:pt x="7457" y="3358"/>
                    <a:pt x="7458" y="3339"/>
                  </a:cubicBezTo>
                  <a:cubicBezTo>
                    <a:pt x="7458" y="3340"/>
                    <a:pt x="7495" y="3349"/>
                    <a:pt x="7489" y="3309"/>
                  </a:cubicBezTo>
                  <a:cubicBezTo>
                    <a:pt x="7479" y="3250"/>
                    <a:pt x="7383" y="3177"/>
                    <a:pt x="7355" y="3121"/>
                  </a:cubicBezTo>
                  <a:cubicBezTo>
                    <a:pt x="7401" y="3162"/>
                    <a:pt x="7402" y="3156"/>
                    <a:pt x="7422" y="3122"/>
                  </a:cubicBezTo>
                  <a:cubicBezTo>
                    <a:pt x="7449" y="3075"/>
                    <a:pt x="7440" y="3052"/>
                    <a:pt x="7382" y="3054"/>
                  </a:cubicBezTo>
                  <a:cubicBezTo>
                    <a:pt x="7337" y="3055"/>
                    <a:pt x="7327" y="3089"/>
                    <a:pt x="7302" y="3075"/>
                  </a:cubicBezTo>
                  <a:cubicBezTo>
                    <a:pt x="7262" y="3053"/>
                    <a:pt x="7249" y="2984"/>
                    <a:pt x="7277" y="2951"/>
                  </a:cubicBezTo>
                  <a:cubicBezTo>
                    <a:pt x="7299" y="2924"/>
                    <a:pt x="7381" y="2955"/>
                    <a:pt x="7345" y="2911"/>
                  </a:cubicBezTo>
                  <a:cubicBezTo>
                    <a:pt x="7295" y="2850"/>
                    <a:pt x="7386" y="2905"/>
                    <a:pt x="7403" y="2889"/>
                  </a:cubicBezTo>
                  <a:cubicBezTo>
                    <a:pt x="7449" y="2847"/>
                    <a:pt x="7347" y="2690"/>
                    <a:pt x="7291" y="2800"/>
                  </a:cubicBezTo>
                  <a:cubicBezTo>
                    <a:pt x="7249" y="2674"/>
                    <a:pt x="7142" y="2877"/>
                    <a:pt x="7119" y="2892"/>
                  </a:cubicBezTo>
                  <a:cubicBezTo>
                    <a:pt x="7071" y="2922"/>
                    <a:pt x="7031" y="2910"/>
                    <a:pt x="7029" y="2865"/>
                  </a:cubicBezTo>
                  <a:cubicBezTo>
                    <a:pt x="7027" y="2805"/>
                    <a:pt x="7090" y="2845"/>
                    <a:pt x="7038" y="2768"/>
                  </a:cubicBezTo>
                  <a:cubicBezTo>
                    <a:pt x="7005" y="2720"/>
                    <a:pt x="6933" y="2720"/>
                    <a:pt x="6913" y="2687"/>
                  </a:cubicBezTo>
                  <a:cubicBezTo>
                    <a:pt x="6897" y="2659"/>
                    <a:pt x="6922" y="2599"/>
                    <a:pt x="6934" y="2574"/>
                  </a:cubicBezTo>
                  <a:cubicBezTo>
                    <a:pt x="6951" y="2536"/>
                    <a:pt x="6979" y="2536"/>
                    <a:pt x="6979" y="2490"/>
                  </a:cubicBezTo>
                  <a:cubicBezTo>
                    <a:pt x="6978" y="2416"/>
                    <a:pt x="6914" y="2425"/>
                    <a:pt x="6865" y="2383"/>
                  </a:cubicBezTo>
                  <a:cubicBezTo>
                    <a:pt x="6910" y="2333"/>
                    <a:pt x="6843" y="2318"/>
                    <a:pt x="6815" y="2278"/>
                  </a:cubicBezTo>
                  <a:cubicBezTo>
                    <a:pt x="6804" y="2263"/>
                    <a:pt x="6819" y="2222"/>
                    <a:pt x="6811" y="2215"/>
                  </a:cubicBezTo>
                  <a:cubicBezTo>
                    <a:pt x="6784" y="2191"/>
                    <a:pt x="6698" y="2209"/>
                    <a:pt x="6660" y="2204"/>
                  </a:cubicBezTo>
                  <a:cubicBezTo>
                    <a:pt x="6725" y="2080"/>
                    <a:pt x="6459" y="2252"/>
                    <a:pt x="6422" y="2256"/>
                  </a:cubicBezTo>
                  <a:cubicBezTo>
                    <a:pt x="6260" y="2277"/>
                    <a:pt x="6153" y="2361"/>
                    <a:pt x="5987" y="2377"/>
                  </a:cubicBezTo>
                  <a:cubicBezTo>
                    <a:pt x="5910" y="2380"/>
                    <a:pt x="5826" y="2375"/>
                    <a:pt x="5751" y="2391"/>
                  </a:cubicBezTo>
                  <a:cubicBezTo>
                    <a:pt x="5779" y="2353"/>
                    <a:pt x="5988" y="2340"/>
                    <a:pt x="6046" y="2342"/>
                  </a:cubicBezTo>
                  <a:cubicBezTo>
                    <a:pt x="6096" y="2344"/>
                    <a:pt x="6260" y="2266"/>
                    <a:pt x="6212" y="2241"/>
                  </a:cubicBezTo>
                  <a:cubicBezTo>
                    <a:pt x="6279" y="2222"/>
                    <a:pt x="6335" y="2213"/>
                    <a:pt x="6401" y="2185"/>
                  </a:cubicBezTo>
                  <a:cubicBezTo>
                    <a:pt x="6434" y="2170"/>
                    <a:pt x="6570" y="2149"/>
                    <a:pt x="6582" y="2130"/>
                  </a:cubicBezTo>
                  <a:cubicBezTo>
                    <a:pt x="6612" y="2082"/>
                    <a:pt x="6478" y="2107"/>
                    <a:pt x="6520" y="2043"/>
                  </a:cubicBezTo>
                  <a:cubicBezTo>
                    <a:pt x="6524" y="2037"/>
                    <a:pt x="6590" y="2020"/>
                    <a:pt x="6599" y="2012"/>
                  </a:cubicBezTo>
                  <a:cubicBezTo>
                    <a:pt x="6623" y="1992"/>
                    <a:pt x="6633" y="2001"/>
                    <a:pt x="6634" y="1975"/>
                  </a:cubicBezTo>
                  <a:cubicBezTo>
                    <a:pt x="6637" y="1935"/>
                    <a:pt x="6593" y="1873"/>
                    <a:pt x="6569" y="1841"/>
                  </a:cubicBezTo>
                  <a:cubicBezTo>
                    <a:pt x="6528" y="1786"/>
                    <a:pt x="6474" y="1790"/>
                    <a:pt x="6426" y="1746"/>
                  </a:cubicBezTo>
                  <a:cubicBezTo>
                    <a:pt x="6391" y="1714"/>
                    <a:pt x="6399" y="1635"/>
                    <a:pt x="6337" y="1613"/>
                  </a:cubicBezTo>
                  <a:cubicBezTo>
                    <a:pt x="6343" y="1615"/>
                    <a:pt x="6228" y="1507"/>
                    <a:pt x="6228" y="1504"/>
                  </a:cubicBezTo>
                  <a:cubicBezTo>
                    <a:pt x="6227" y="1452"/>
                    <a:pt x="6316" y="1461"/>
                    <a:pt x="6290" y="1384"/>
                  </a:cubicBezTo>
                  <a:cubicBezTo>
                    <a:pt x="6283" y="1366"/>
                    <a:pt x="6230" y="1338"/>
                    <a:pt x="6220" y="1310"/>
                  </a:cubicBezTo>
                  <a:cubicBezTo>
                    <a:pt x="6207" y="1272"/>
                    <a:pt x="6218" y="1296"/>
                    <a:pt x="6224" y="1256"/>
                  </a:cubicBezTo>
                  <a:cubicBezTo>
                    <a:pt x="6232" y="1190"/>
                    <a:pt x="6269" y="1169"/>
                    <a:pt x="6302" y="1115"/>
                  </a:cubicBezTo>
                  <a:cubicBezTo>
                    <a:pt x="6343" y="1049"/>
                    <a:pt x="6328" y="1062"/>
                    <a:pt x="6291" y="997"/>
                  </a:cubicBezTo>
                  <a:cubicBezTo>
                    <a:pt x="6258" y="938"/>
                    <a:pt x="6251" y="928"/>
                    <a:pt x="6190" y="884"/>
                  </a:cubicBezTo>
                  <a:cubicBezTo>
                    <a:pt x="6165" y="866"/>
                    <a:pt x="6109" y="790"/>
                    <a:pt x="6083" y="786"/>
                  </a:cubicBezTo>
                  <a:cubicBezTo>
                    <a:pt x="5999" y="771"/>
                    <a:pt x="6001" y="860"/>
                    <a:pt x="6016" y="904"/>
                  </a:cubicBezTo>
                  <a:cubicBezTo>
                    <a:pt x="6032" y="951"/>
                    <a:pt x="6090" y="977"/>
                    <a:pt x="6102" y="1014"/>
                  </a:cubicBezTo>
                  <a:cubicBezTo>
                    <a:pt x="6118" y="1063"/>
                    <a:pt x="6101" y="1043"/>
                    <a:pt x="6071" y="1059"/>
                  </a:cubicBezTo>
                  <a:cubicBezTo>
                    <a:pt x="6038" y="1079"/>
                    <a:pt x="6059" y="1006"/>
                    <a:pt x="6002" y="1065"/>
                  </a:cubicBezTo>
                  <a:cubicBezTo>
                    <a:pt x="5976" y="1092"/>
                    <a:pt x="5922" y="1202"/>
                    <a:pt x="5996" y="1142"/>
                  </a:cubicBezTo>
                  <a:cubicBezTo>
                    <a:pt x="6048" y="1240"/>
                    <a:pt x="5859" y="1170"/>
                    <a:pt x="5814" y="1159"/>
                  </a:cubicBezTo>
                  <a:cubicBezTo>
                    <a:pt x="5827" y="1130"/>
                    <a:pt x="5799" y="1088"/>
                    <a:pt x="5775" y="1059"/>
                  </a:cubicBezTo>
                  <a:cubicBezTo>
                    <a:pt x="5763" y="1044"/>
                    <a:pt x="5758" y="1031"/>
                    <a:pt x="5748" y="1015"/>
                  </a:cubicBezTo>
                  <a:cubicBezTo>
                    <a:pt x="5758" y="1030"/>
                    <a:pt x="5689" y="958"/>
                    <a:pt x="5713" y="972"/>
                  </a:cubicBezTo>
                  <a:cubicBezTo>
                    <a:pt x="5674" y="949"/>
                    <a:pt x="5623" y="968"/>
                    <a:pt x="5565" y="1006"/>
                  </a:cubicBezTo>
                  <a:cubicBezTo>
                    <a:pt x="5537" y="1024"/>
                    <a:pt x="5497" y="1052"/>
                    <a:pt x="5537" y="1084"/>
                  </a:cubicBezTo>
                  <a:cubicBezTo>
                    <a:pt x="5488" y="1060"/>
                    <a:pt x="5408" y="1106"/>
                    <a:pt x="5479" y="1134"/>
                  </a:cubicBezTo>
                  <a:cubicBezTo>
                    <a:pt x="5392" y="1176"/>
                    <a:pt x="5388" y="1103"/>
                    <a:pt x="5309" y="1112"/>
                  </a:cubicBezTo>
                  <a:cubicBezTo>
                    <a:pt x="5302" y="1113"/>
                    <a:pt x="5312" y="1155"/>
                    <a:pt x="5259" y="1157"/>
                  </a:cubicBezTo>
                  <a:cubicBezTo>
                    <a:pt x="5218" y="1159"/>
                    <a:pt x="5196" y="1130"/>
                    <a:pt x="5162" y="1130"/>
                  </a:cubicBezTo>
                  <a:cubicBezTo>
                    <a:pt x="5115" y="1129"/>
                    <a:pt x="5051" y="1152"/>
                    <a:pt x="5014" y="1176"/>
                  </a:cubicBezTo>
                  <a:cubicBezTo>
                    <a:pt x="4982" y="1197"/>
                    <a:pt x="4975" y="1136"/>
                    <a:pt x="4963" y="1136"/>
                  </a:cubicBezTo>
                  <a:cubicBezTo>
                    <a:pt x="4929" y="1140"/>
                    <a:pt x="4878" y="1201"/>
                    <a:pt x="4888" y="1224"/>
                  </a:cubicBezTo>
                  <a:cubicBezTo>
                    <a:pt x="4863" y="1200"/>
                    <a:pt x="4832" y="1188"/>
                    <a:pt x="4800" y="1174"/>
                  </a:cubicBezTo>
                  <a:cubicBezTo>
                    <a:pt x="4745" y="1149"/>
                    <a:pt x="4777" y="1130"/>
                    <a:pt x="4746" y="1189"/>
                  </a:cubicBezTo>
                  <a:cubicBezTo>
                    <a:pt x="4747" y="1187"/>
                    <a:pt x="4810" y="1239"/>
                    <a:pt x="4752" y="1236"/>
                  </a:cubicBezTo>
                  <a:cubicBezTo>
                    <a:pt x="4717" y="1235"/>
                    <a:pt x="4735" y="1129"/>
                    <a:pt x="4682" y="1198"/>
                  </a:cubicBezTo>
                  <a:cubicBezTo>
                    <a:pt x="4665" y="1098"/>
                    <a:pt x="4635" y="1167"/>
                    <a:pt x="4569" y="1121"/>
                  </a:cubicBezTo>
                  <a:cubicBezTo>
                    <a:pt x="4563" y="1117"/>
                    <a:pt x="4585" y="1077"/>
                    <a:pt x="4556" y="1058"/>
                  </a:cubicBezTo>
                  <a:cubicBezTo>
                    <a:pt x="4536" y="1044"/>
                    <a:pt x="4484" y="1053"/>
                    <a:pt x="4458" y="1048"/>
                  </a:cubicBezTo>
                  <a:cubicBezTo>
                    <a:pt x="4541" y="1021"/>
                    <a:pt x="4530" y="997"/>
                    <a:pt x="4582" y="946"/>
                  </a:cubicBezTo>
                  <a:cubicBezTo>
                    <a:pt x="4555" y="952"/>
                    <a:pt x="4427" y="1012"/>
                    <a:pt x="4409" y="998"/>
                  </a:cubicBezTo>
                  <a:cubicBezTo>
                    <a:pt x="4377" y="973"/>
                    <a:pt x="4435" y="963"/>
                    <a:pt x="4432" y="935"/>
                  </a:cubicBezTo>
                  <a:cubicBezTo>
                    <a:pt x="4430" y="909"/>
                    <a:pt x="4410" y="869"/>
                    <a:pt x="4359" y="856"/>
                  </a:cubicBezTo>
                  <a:cubicBezTo>
                    <a:pt x="4413" y="823"/>
                    <a:pt x="4572" y="751"/>
                    <a:pt x="4467" y="715"/>
                  </a:cubicBezTo>
                  <a:cubicBezTo>
                    <a:pt x="4470" y="699"/>
                    <a:pt x="4431" y="685"/>
                    <a:pt x="4397" y="677"/>
                  </a:cubicBezTo>
                  <a:cubicBezTo>
                    <a:pt x="4303" y="656"/>
                    <a:pt x="4242" y="677"/>
                    <a:pt x="4218" y="751"/>
                  </a:cubicBezTo>
                  <a:cubicBezTo>
                    <a:pt x="4202" y="803"/>
                    <a:pt x="4236" y="803"/>
                    <a:pt x="4188" y="846"/>
                  </a:cubicBezTo>
                  <a:cubicBezTo>
                    <a:pt x="4145" y="887"/>
                    <a:pt x="4075" y="876"/>
                    <a:pt x="4047" y="932"/>
                  </a:cubicBezTo>
                  <a:cubicBezTo>
                    <a:pt x="3994" y="819"/>
                    <a:pt x="4239" y="860"/>
                    <a:pt x="4172" y="729"/>
                  </a:cubicBezTo>
                  <a:cubicBezTo>
                    <a:pt x="4165" y="714"/>
                    <a:pt x="4093" y="675"/>
                    <a:pt x="4075" y="672"/>
                  </a:cubicBezTo>
                  <a:cubicBezTo>
                    <a:pt x="4034" y="666"/>
                    <a:pt x="4031" y="719"/>
                    <a:pt x="3995" y="698"/>
                  </a:cubicBezTo>
                  <a:cubicBezTo>
                    <a:pt x="3963" y="678"/>
                    <a:pt x="3992" y="670"/>
                    <a:pt x="3986" y="653"/>
                  </a:cubicBezTo>
                  <a:cubicBezTo>
                    <a:pt x="3979" y="634"/>
                    <a:pt x="4017" y="634"/>
                    <a:pt x="4012" y="618"/>
                  </a:cubicBezTo>
                  <a:cubicBezTo>
                    <a:pt x="4009" y="607"/>
                    <a:pt x="3970" y="604"/>
                    <a:pt x="3961" y="596"/>
                  </a:cubicBezTo>
                  <a:cubicBezTo>
                    <a:pt x="3892" y="541"/>
                    <a:pt x="3849" y="566"/>
                    <a:pt x="3751" y="568"/>
                  </a:cubicBezTo>
                  <a:cubicBezTo>
                    <a:pt x="3686" y="570"/>
                    <a:pt x="3625" y="546"/>
                    <a:pt x="3646" y="626"/>
                  </a:cubicBezTo>
                  <a:cubicBezTo>
                    <a:pt x="3656" y="664"/>
                    <a:pt x="3705" y="690"/>
                    <a:pt x="3722" y="723"/>
                  </a:cubicBezTo>
                  <a:cubicBezTo>
                    <a:pt x="3686" y="714"/>
                    <a:pt x="3653" y="697"/>
                    <a:pt x="3637" y="665"/>
                  </a:cubicBezTo>
                  <a:cubicBezTo>
                    <a:pt x="3631" y="689"/>
                    <a:pt x="3614" y="715"/>
                    <a:pt x="3602" y="733"/>
                  </a:cubicBezTo>
                  <a:cubicBezTo>
                    <a:pt x="3587" y="681"/>
                    <a:pt x="3607" y="602"/>
                    <a:pt x="3603" y="560"/>
                  </a:cubicBezTo>
                  <a:cubicBezTo>
                    <a:pt x="3599" y="508"/>
                    <a:pt x="3598" y="477"/>
                    <a:pt x="3567" y="427"/>
                  </a:cubicBezTo>
                  <a:cubicBezTo>
                    <a:pt x="3547" y="397"/>
                    <a:pt x="3532" y="350"/>
                    <a:pt x="3472" y="357"/>
                  </a:cubicBezTo>
                  <a:cubicBezTo>
                    <a:pt x="3400" y="366"/>
                    <a:pt x="3449" y="420"/>
                    <a:pt x="3375" y="423"/>
                  </a:cubicBezTo>
                  <a:cubicBezTo>
                    <a:pt x="3369" y="423"/>
                    <a:pt x="3282" y="391"/>
                    <a:pt x="3269" y="386"/>
                  </a:cubicBezTo>
                  <a:cubicBezTo>
                    <a:pt x="3243" y="378"/>
                    <a:pt x="3214" y="365"/>
                    <a:pt x="3193" y="359"/>
                  </a:cubicBezTo>
                  <a:cubicBezTo>
                    <a:pt x="3165" y="350"/>
                    <a:pt x="3132" y="354"/>
                    <a:pt x="3106" y="337"/>
                  </a:cubicBezTo>
                  <a:cubicBezTo>
                    <a:pt x="3081" y="321"/>
                    <a:pt x="3079" y="283"/>
                    <a:pt x="3058" y="272"/>
                  </a:cubicBezTo>
                  <a:cubicBezTo>
                    <a:pt x="2982" y="229"/>
                    <a:pt x="2875" y="274"/>
                    <a:pt x="2799" y="255"/>
                  </a:cubicBezTo>
                  <a:cubicBezTo>
                    <a:pt x="2733" y="239"/>
                    <a:pt x="2720" y="158"/>
                    <a:pt x="2649" y="211"/>
                  </a:cubicBezTo>
                  <a:cubicBezTo>
                    <a:pt x="2552" y="283"/>
                    <a:pt x="2590" y="307"/>
                    <a:pt x="2549" y="387"/>
                  </a:cubicBezTo>
                  <a:cubicBezTo>
                    <a:pt x="2523" y="439"/>
                    <a:pt x="2450" y="477"/>
                    <a:pt x="2409" y="521"/>
                  </a:cubicBezTo>
                  <a:cubicBezTo>
                    <a:pt x="2376" y="556"/>
                    <a:pt x="2370" y="608"/>
                    <a:pt x="2329" y="644"/>
                  </a:cubicBezTo>
                  <a:cubicBezTo>
                    <a:pt x="2271" y="694"/>
                    <a:pt x="2108" y="707"/>
                    <a:pt x="2189" y="787"/>
                  </a:cubicBezTo>
                  <a:cubicBezTo>
                    <a:pt x="2221" y="819"/>
                    <a:pt x="2299" y="821"/>
                    <a:pt x="2340" y="837"/>
                  </a:cubicBezTo>
                  <a:cubicBezTo>
                    <a:pt x="2237" y="862"/>
                    <a:pt x="2169" y="806"/>
                    <a:pt x="2086" y="776"/>
                  </a:cubicBezTo>
                  <a:cubicBezTo>
                    <a:pt x="2019" y="751"/>
                    <a:pt x="1936" y="721"/>
                    <a:pt x="1913" y="820"/>
                  </a:cubicBezTo>
                  <a:cubicBezTo>
                    <a:pt x="1865" y="672"/>
                    <a:pt x="1691" y="807"/>
                    <a:pt x="1639" y="881"/>
                  </a:cubicBezTo>
                  <a:cubicBezTo>
                    <a:pt x="1600" y="938"/>
                    <a:pt x="1555" y="1040"/>
                    <a:pt x="1493" y="1066"/>
                  </a:cubicBezTo>
                  <a:cubicBezTo>
                    <a:pt x="1490" y="1006"/>
                    <a:pt x="1605" y="935"/>
                    <a:pt x="1602" y="891"/>
                  </a:cubicBezTo>
                  <a:cubicBezTo>
                    <a:pt x="1600" y="852"/>
                    <a:pt x="1275" y="865"/>
                    <a:pt x="1217" y="864"/>
                  </a:cubicBezTo>
                  <a:cubicBezTo>
                    <a:pt x="1080" y="861"/>
                    <a:pt x="943" y="850"/>
                    <a:pt x="814" y="842"/>
                  </a:cubicBezTo>
                  <a:cubicBezTo>
                    <a:pt x="660" y="833"/>
                    <a:pt x="523" y="878"/>
                    <a:pt x="375" y="895"/>
                  </a:cubicBezTo>
                  <a:cubicBezTo>
                    <a:pt x="311" y="903"/>
                    <a:pt x="323" y="846"/>
                    <a:pt x="272" y="916"/>
                  </a:cubicBezTo>
                  <a:cubicBezTo>
                    <a:pt x="221" y="986"/>
                    <a:pt x="175" y="1060"/>
                    <a:pt x="126" y="1132"/>
                  </a:cubicBezTo>
                  <a:cubicBezTo>
                    <a:pt x="54" y="1237"/>
                    <a:pt x="25" y="1273"/>
                    <a:pt x="0" y="1402"/>
                  </a:cubicBezTo>
                  <a:cubicBezTo>
                    <a:pt x="36" y="1486"/>
                    <a:pt x="64" y="1567"/>
                    <a:pt x="103" y="1649"/>
                  </a:cubicBezTo>
                  <a:cubicBezTo>
                    <a:pt x="132" y="1713"/>
                    <a:pt x="173" y="1757"/>
                    <a:pt x="207" y="1817"/>
                  </a:cubicBezTo>
                  <a:cubicBezTo>
                    <a:pt x="241" y="1876"/>
                    <a:pt x="421" y="2211"/>
                    <a:pt x="507" y="2052"/>
                  </a:cubicBezTo>
                  <a:cubicBezTo>
                    <a:pt x="530" y="2075"/>
                    <a:pt x="570" y="2138"/>
                    <a:pt x="604" y="2148"/>
                  </a:cubicBezTo>
                  <a:cubicBezTo>
                    <a:pt x="631" y="2156"/>
                    <a:pt x="723" y="2096"/>
                    <a:pt x="666" y="2160"/>
                  </a:cubicBezTo>
                  <a:cubicBezTo>
                    <a:pt x="691" y="2162"/>
                    <a:pt x="743" y="2152"/>
                    <a:pt x="766" y="2167"/>
                  </a:cubicBezTo>
                  <a:cubicBezTo>
                    <a:pt x="816" y="2199"/>
                    <a:pt x="714" y="2183"/>
                    <a:pt x="707" y="2189"/>
                  </a:cubicBezTo>
                  <a:cubicBezTo>
                    <a:pt x="696" y="2197"/>
                    <a:pt x="656" y="2200"/>
                    <a:pt x="664" y="2230"/>
                  </a:cubicBezTo>
                  <a:cubicBezTo>
                    <a:pt x="675" y="2267"/>
                    <a:pt x="738" y="2243"/>
                    <a:pt x="751" y="2263"/>
                  </a:cubicBezTo>
                  <a:cubicBezTo>
                    <a:pt x="780" y="2304"/>
                    <a:pt x="735" y="2289"/>
                    <a:pt x="708" y="2316"/>
                  </a:cubicBezTo>
                  <a:cubicBezTo>
                    <a:pt x="701" y="2323"/>
                    <a:pt x="702" y="2362"/>
                    <a:pt x="703" y="2362"/>
                  </a:cubicBezTo>
                  <a:cubicBezTo>
                    <a:pt x="705" y="2361"/>
                    <a:pt x="665" y="2368"/>
                    <a:pt x="674" y="2357"/>
                  </a:cubicBezTo>
                  <a:cubicBezTo>
                    <a:pt x="659" y="2374"/>
                    <a:pt x="616" y="2318"/>
                    <a:pt x="661" y="2421"/>
                  </a:cubicBezTo>
                  <a:cubicBezTo>
                    <a:pt x="690" y="2486"/>
                    <a:pt x="725" y="2555"/>
                    <a:pt x="760" y="2618"/>
                  </a:cubicBezTo>
                  <a:cubicBezTo>
                    <a:pt x="771" y="2637"/>
                    <a:pt x="800" y="2617"/>
                    <a:pt x="805" y="2644"/>
                  </a:cubicBezTo>
                  <a:cubicBezTo>
                    <a:pt x="808" y="2661"/>
                    <a:pt x="787" y="2674"/>
                    <a:pt x="788" y="2680"/>
                  </a:cubicBezTo>
                  <a:cubicBezTo>
                    <a:pt x="790" y="2709"/>
                    <a:pt x="766" y="2726"/>
                    <a:pt x="781" y="2764"/>
                  </a:cubicBezTo>
                  <a:cubicBezTo>
                    <a:pt x="811" y="2837"/>
                    <a:pt x="783" y="2853"/>
                    <a:pt x="752" y="2911"/>
                  </a:cubicBezTo>
                  <a:cubicBezTo>
                    <a:pt x="720" y="2975"/>
                    <a:pt x="674" y="3090"/>
                    <a:pt x="668" y="3153"/>
                  </a:cubicBezTo>
                  <a:cubicBezTo>
                    <a:pt x="652" y="3343"/>
                    <a:pt x="774" y="3164"/>
                    <a:pt x="865" y="3153"/>
                  </a:cubicBezTo>
                  <a:cubicBezTo>
                    <a:pt x="854" y="3167"/>
                    <a:pt x="847" y="3191"/>
                    <a:pt x="833" y="3205"/>
                  </a:cubicBezTo>
                  <a:cubicBezTo>
                    <a:pt x="877" y="3182"/>
                    <a:pt x="906" y="3189"/>
                    <a:pt x="898" y="3239"/>
                  </a:cubicBezTo>
                  <a:cubicBezTo>
                    <a:pt x="945" y="3182"/>
                    <a:pt x="1030" y="3094"/>
                    <a:pt x="1100" y="3064"/>
                  </a:cubicBezTo>
                  <a:cubicBezTo>
                    <a:pt x="1073" y="3114"/>
                    <a:pt x="1015" y="3145"/>
                    <a:pt x="989" y="3196"/>
                  </a:cubicBezTo>
                  <a:cubicBezTo>
                    <a:pt x="1158" y="3080"/>
                    <a:pt x="983" y="3329"/>
                    <a:pt x="988" y="3357"/>
                  </a:cubicBezTo>
                  <a:cubicBezTo>
                    <a:pt x="998" y="3410"/>
                    <a:pt x="1121" y="3442"/>
                    <a:pt x="1162" y="3434"/>
                  </a:cubicBezTo>
                  <a:cubicBezTo>
                    <a:pt x="1212" y="3423"/>
                    <a:pt x="1233" y="3356"/>
                    <a:pt x="1303" y="3398"/>
                  </a:cubicBezTo>
                  <a:cubicBezTo>
                    <a:pt x="1294" y="3402"/>
                    <a:pt x="1237" y="3417"/>
                    <a:pt x="1233" y="3423"/>
                  </a:cubicBezTo>
                  <a:cubicBezTo>
                    <a:pt x="1221" y="3440"/>
                    <a:pt x="1233" y="3463"/>
                    <a:pt x="1225" y="3475"/>
                  </a:cubicBezTo>
                  <a:cubicBezTo>
                    <a:pt x="1202" y="3508"/>
                    <a:pt x="1164" y="3534"/>
                    <a:pt x="1157" y="3577"/>
                  </a:cubicBezTo>
                  <a:cubicBezTo>
                    <a:pt x="1143" y="3661"/>
                    <a:pt x="1187" y="3633"/>
                    <a:pt x="1246" y="3675"/>
                  </a:cubicBezTo>
                  <a:cubicBezTo>
                    <a:pt x="1290" y="3706"/>
                    <a:pt x="1295" y="3804"/>
                    <a:pt x="1342" y="3749"/>
                  </a:cubicBezTo>
                  <a:cubicBezTo>
                    <a:pt x="1350" y="3788"/>
                    <a:pt x="1477" y="3816"/>
                    <a:pt x="1383" y="3847"/>
                  </a:cubicBezTo>
                  <a:cubicBezTo>
                    <a:pt x="1408" y="3862"/>
                    <a:pt x="1490" y="3881"/>
                    <a:pt x="1493" y="3906"/>
                  </a:cubicBezTo>
                  <a:cubicBezTo>
                    <a:pt x="1495" y="3924"/>
                    <a:pt x="1450" y="3927"/>
                    <a:pt x="1444" y="3938"/>
                  </a:cubicBezTo>
                  <a:cubicBezTo>
                    <a:pt x="1439" y="3947"/>
                    <a:pt x="1410" y="3950"/>
                    <a:pt x="1401" y="3974"/>
                  </a:cubicBezTo>
                  <a:cubicBezTo>
                    <a:pt x="1398" y="3981"/>
                    <a:pt x="1411" y="4004"/>
                    <a:pt x="1404" y="4023"/>
                  </a:cubicBezTo>
                  <a:cubicBezTo>
                    <a:pt x="1463" y="4026"/>
                    <a:pt x="1636" y="3992"/>
                    <a:pt x="1681" y="3956"/>
                  </a:cubicBezTo>
                  <a:cubicBezTo>
                    <a:pt x="1663" y="3994"/>
                    <a:pt x="1612" y="4031"/>
                    <a:pt x="1692" y="4026"/>
                  </a:cubicBezTo>
                  <a:cubicBezTo>
                    <a:pt x="1617" y="4065"/>
                    <a:pt x="1672" y="4135"/>
                    <a:pt x="1611" y="4172"/>
                  </a:cubicBezTo>
                  <a:cubicBezTo>
                    <a:pt x="1654" y="4175"/>
                    <a:pt x="1681" y="4206"/>
                    <a:pt x="1706" y="4236"/>
                  </a:cubicBezTo>
                  <a:cubicBezTo>
                    <a:pt x="1752" y="4292"/>
                    <a:pt x="1747" y="4269"/>
                    <a:pt x="1716" y="4315"/>
                  </a:cubicBezTo>
                  <a:cubicBezTo>
                    <a:pt x="1698" y="4342"/>
                    <a:pt x="1643" y="4364"/>
                    <a:pt x="1638" y="4394"/>
                  </a:cubicBezTo>
                  <a:cubicBezTo>
                    <a:pt x="1637" y="4399"/>
                    <a:pt x="1602" y="4416"/>
                    <a:pt x="1661" y="4437"/>
                  </a:cubicBezTo>
                  <a:cubicBezTo>
                    <a:pt x="1621" y="4482"/>
                    <a:pt x="1660" y="4460"/>
                    <a:pt x="1676" y="4480"/>
                  </a:cubicBezTo>
                  <a:cubicBezTo>
                    <a:pt x="1675" y="4479"/>
                    <a:pt x="1729" y="4523"/>
                    <a:pt x="1733" y="4526"/>
                  </a:cubicBezTo>
                  <a:cubicBezTo>
                    <a:pt x="1781" y="4559"/>
                    <a:pt x="1777" y="4566"/>
                    <a:pt x="1850" y="4573"/>
                  </a:cubicBezTo>
                  <a:cubicBezTo>
                    <a:pt x="1809" y="4602"/>
                    <a:pt x="1772" y="4594"/>
                    <a:pt x="1735" y="4571"/>
                  </a:cubicBezTo>
                  <a:cubicBezTo>
                    <a:pt x="1719" y="4561"/>
                    <a:pt x="1703" y="4524"/>
                    <a:pt x="1683" y="4509"/>
                  </a:cubicBezTo>
                  <a:cubicBezTo>
                    <a:pt x="1660" y="4492"/>
                    <a:pt x="1638" y="4504"/>
                    <a:pt x="1617" y="4476"/>
                  </a:cubicBezTo>
                  <a:cubicBezTo>
                    <a:pt x="1580" y="4560"/>
                    <a:pt x="1534" y="4478"/>
                    <a:pt x="1479" y="4504"/>
                  </a:cubicBezTo>
                  <a:cubicBezTo>
                    <a:pt x="1496" y="4539"/>
                    <a:pt x="1480" y="4544"/>
                    <a:pt x="1512" y="4593"/>
                  </a:cubicBezTo>
                  <a:cubicBezTo>
                    <a:pt x="1521" y="4605"/>
                    <a:pt x="1545" y="4594"/>
                    <a:pt x="1559" y="4615"/>
                  </a:cubicBezTo>
                  <a:cubicBezTo>
                    <a:pt x="1565" y="4622"/>
                    <a:pt x="1577" y="4670"/>
                    <a:pt x="1576" y="4680"/>
                  </a:cubicBezTo>
                  <a:cubicBezTo>
                    <a:pt x="1571" y="4723"/>
                    <a:pt x="1524" y="4728"/>
                    <a:pt x="1514" y="4770"/>
                  </a:cubicBezTo>
                  <a:cubicBezTo>
                    <a:pt x="1508" y="4794"/>
                    <a:pt x="1529" y="4803"/>
                    <a:pt x="1528" y="4824"/>
                  </a:cubicBezTo>
                  <a:cubicBezTo>
                    <a:pt x="1528" y="4820"/>
                    <a:pt x="1525" y="4883"/>
                    <a:pt x="1517" y="4870"/>
                  </a:cubicBezTo>
                  <a:cubicBezTo>
                    <a:pt x="1564" y="4942"/>
                    <a:pt x="1543" y="4873"/>
                    <a:pt x="1598" y="4855"/>
                  </a:cubicBezTo>
                  <a:cubicBezTo>
                    <a:pt x="1586" y="4859"/>
                    <a:pt x="1657" y="4877"/>
                    <a:pt x="1666" y="4867"/>
                  </a:cubicBezTo>
                  <a:cubicBezTo>
                    <a:pt x="1670" y="4887"/>
                    <a:pt x="1640" y="4920"/>
                    <a:pt x="1633" y="4935"/>
                  </a:cubicBezTo>
                  <a:cubicBezTo>
                    <a:pt x="1624" y="4952"/>
                    <a:pt x="1634" y="4993"/>
                    <a:pt x="1589" y="5018"/>
                  </a:cubicBezTo>
                  <a:cubicBezTo>
                    <a:pt x="1703" y="5017"/>
                    <a:pt x="1514" y="5133"/>
                    <a:pt x="1502" y="5168"/>
                  </a:cubicBezTo>
                  <a:cubicBezTo>
                    <a:pt x="1490" y="5202"/>
                    <a:pt x="1522" y="5392"/>
                    <a:pt x="1460" y="5340"/>
                  </a:cubicBezTo>
                  <a:cubicBezTo>
                    <a:pt x="1507" y="5417"/>
                    <a:pt x="1448" y="5382"/>
                    <a:pt x="1436" y="5427"/>
                  </a:cubicBezTo>
                  <a:cubicBezTo>
                    <a:pt x="1425" y="5468"/>
                    <a:pt x="1443" y="5518"/>
                    <a:pt x="1486" y="5490"/>
                  </a:cubicBezTo>
                  <a:cubicBezTo>
                    <a:pt x="1476" y="5511"/>
                    <a:pt x="1454" y="5643"/>
                    <a:pt x="1438" y="5601"/>
                  </a:cubicBezTo>
                  <a:cubicBezTo>
                    <a:pt x="1411" y="5528"/>
                    <a:pt x="1361" y="5571"/>
                    <a:pt x="1371" y="5630"/>
                  </a:cubicBezTo>
                  <a:cubicBezTo>
                    <a:pt x="1364" y="5623"/>
                    <a:pt x="1324" y="5589"/>
                    <a:pt x="1309" y="5593"/>
                  </a:cubicBezTo>
                  <a:cubicBezTo>
                    <a:pt x="1258" y="5608"/>
                    <a:pt x="1306" y="5596"/>
                    <a:pt x="1310" y="5617"/>
                  </a:cubicBezTo>
                  <a:cubicBezTo>
                    <a:pt x="1321" y="5674"/>
                    <a:pt x="1381" y="5707"/>
                    <a:pt x="1396" y="5750"/>
                  </a:cubicBezTo>
                  <a:cubicBezTo>
                    <a:pt x="1404" y="5772"/>
                    <a:pt x="1391" y="5820"/>
                    <a:pt x="1385" y="5804"/>
                  </a:cubicBezTo>
                  <a:cubicBezTo>
                    <a:pt x="1391" y="5823"/>
                    <a:pt x="1417" y="5839"/>
                    <a:pt x="1425" y="5857"/>
                  </a:cubicBezTo>
                  <a:cubicBezTo>
                    <a:pt x="1441" y="5889"/>
                    <a:pt x="1447" y="5879"/>
                    <a:pt x="1450" y="5911"/>
                  </a:cubicBezTo>
                  <a:cubicBezTo>
                    <a:pt x="1452" y="5938"/>
                    <a:pt x="1424" y="5944"/>
                    <a:pt x="1427" y="5970"/>
                  </a:cubicBezTo>
                  <a:cubicBezTo>
                    <a:pt x="1436" y="6053"/>
                    <a:pt x="1469" y="6005"/>
                    <a:pt x="1491" y="6017"/>
                  </a:cubicBezTo>
                  <a:cubicBezTo>
                    <a:pt x="1499" y="6021"/>
                    <a:pt x="1537" y="6045"/>
                    <a:pt x="1550" y="6050"/>
                  </a:cubicBezTo>
                  <a:cubicBezTo>
                    <a:pt x="1569" y="6057"/>
                    <a:pt x="1611" y="6088"/>
                    <a:pt x="1630" y="6074"/>
                  </a:cubicBezTo>
                  <a:cubicBezTo>
                    <a:pt x="1659" y="6054"/>
                    <a:pt x="1594" y="6045"/>
                    <a:pt x="1583" y="6031"/>
                  </a:cubicBezTo>
                  <a:cubicBezTo>
                    <a:pt x="1573" y="6017"/>
                    <a:pt x="1499" y="5986"/>
                    <a:pt x="1562" y="5985"/>
                  </a:cubicBezTo>
                  <a:cubicBezTo>
                    <a:pt x="1586" y="5984"/>
                    <a:pt x="1615" y="6010"/>
                    <a:pt x="1632" y="6022"/>
                  </a:cubicBezTo>
                  <a:cubicBezTo>
                    <a:pt x="1683" y="6056"/>
                    <a:pt x="1705" y="6072"/>
                    <a:pt x="1760" y="6094"/>
                  </a:cubicBezTo>
                  <a:cubicBezTo>
                    <a:pt x="1784" y="6103"/>
                    <a:pt x="1811" y="6125"/>
                    <a:pt x="1831" y="6132"/>
                  </a:cubicBezTo>
                  <a:cubicBezTo>
                    <a:pt x="1843" y="6136"/>
                    <a:pt x="1853" y="6111"/>
                    <a:pt x="1868" y="6118"/>
                  </a:cubicBezTo>
                  <a:cubicBezTo>
                    <a:pt x="1910" y="6138"/>
                    <a:pt x="1929" y="6180"/>
                    <a:pt x="1975" y="6201"/>
                  </a:cubicBezTo>
                  <a:cubicBezTo>
                    <a:pt x="2068" y="6242"/>
                    <a:pt x="2218" y="6230"/>
                    <a:pt x="2317" y="6257"/>
                  </a:cubicBezTo>
                  <a:cubicBezTo>
                    <a:pt x="2336" y="6262"/>
                    <a:pt x="2384" y="6270"/>
                    <a:pt x="2400" y="6281"/>
                  </a:cubicBezTo>
                  <a:cubicBezTo>
                    <a:pt x="2438" y="6306"/>
                    <a:pt x="2406" y="6318"/>
                    <a:pt x="2433" y="6338"/>
                  </a:cubicBezTo>
                  <a:cubicBezTo>
                    <a:pt x="2454" y="6352"/>
                    <a:pt x="2541" y="6374"/>
                    <a:pt x="2567" y="6383"/>
                  </a:cubicBezTo>
                  <a:cubicBezTo>
                    <a:pt x="2677" y="6424"/>
                    <a:pt x="2747" y="6453"/>
                    <a:pt x="2832" y="6524"/>
                  </a:cubicBezTo>
                  <a:cubicBezTo>
                    <a:pt x="2907" y="6587"/>
                    <a:pt x="2978" y="6654"/>
                    <a:pt x="3056" y="6717"/>
                  </a:cubicBezTo>
                  <a:cubicBezTo>
                    <a:pt x="3147" y="6791"/>
                    <a:pt x="3196" y="6885"/>
                    <a:pt x="3274" y="6974"/>
                  </a:cubicBezTo>
                  <a:cubicBezTo>
                    <a:pt x="3339" y="7050"/>
                    <a:pt x="3418" y="7112"/>
                    <a:pt x="3478" y="7196"/>
                  </a:cubicBezTo>
                  <a:cubicBezTo>
                    <a:pt x="3552" y="7298"/>
                    <a:pt x="3596" y="7388"/>
                    <a:pt x="3636" y="7501"/>
                  </a:cubicBezTo>
                  <a:cubicBezTo>
                    <a:pt x="3668" y="7592"/>
                    <a:pt x="3739" y="7674"/>
                    <a:pt x="3783" y="7760"/>
                  </a:cubicBezTo>
                  <a:cubicBezTo>
                    <a:pt x="3833" y="7860"/>
                    <a:pt x="3870" y="7978"/>
                    <a:pt x="3901" y="8083"/>
                  </a:cubicBezTo>
                  <a:cubicBezTo>
                    <a:pt x="3936" y="8207"/>
                    <a:pt x="4026" y="8316"/>
                    <a:pt x="4004" y="8450"/>
                  </a:cubicBezTo>
                  <a:cubicBezTo>
                    <a:pt x="3989" y="8541"/>
                    <a:pt x="4054" y="8633"/>
                    <a:pt x="4038" y="8729"/>
                  </a:cubicBezTo>
                  <a:cubicBezTo>
                    <a:pt x="4017" y="8845"/>
                    <a:pt x="3941" y="8956"/>
                    <a:pt x="3909" y="9072"/>
                  </a:cubicBezTo>
                  <a:cubicBezTo>
                    <a:pt x="3895" y="9124"/>
                    <a:pt x="3885" y="9172"/>
                    <a:pt x="3865" y="9222"/>
                  </a:cubicBezTo>
                  <a:cubicBezTo>
                    <a:pt x="3829" y="9309"/>
                    <a:pt x="3833" y="9327"/>
                    <a:pt x="3893" y="9240"/>
                  </a:cubicBezTo>
                  <a:cubicBezTo>
                    <a:pt x="3905" y="9346"/>
                    <a:pt x="3817" y="9472"/>
                    <a:pt x="3770" y="9565"/>
                  </a:cubicBezTo>
                  <a:cubicBezTo>
                    <a:pt x="3740" y="9624"/>
                    <a:pt x="3714" y="9684"/>
                    <a:pt x="3681" y="9741"/>
                  </a:cubicBezTo>
                  <a:cubicBezTo>
                    <a:pt x="3637" y="9818"/>
                    <a:pt x="3603" y="9919"/>
                    <a:pt x="3549" y="9986"/>
                  </a:cubicBezTo>
                  <a:cubicBezTo>
                    <a:pt x="3413" y="10153"/>
                    <a:pt x="3298" y="10338"/>
                    <a:pt x="3144" y="10489"/>
                  </a:cubicBezTo>
                  <a:cubicBezTo>
                    <a:pt x="3018" y="10611"/>
                    <a:pt x="2904" y="10744"/>
                    <a:pt x="2746" y="10831"/>
                  </a:cubicBezTo>
                  <a:cubicBezTo>
                    <a:pt x="2628" y="10896"/>
                    <a:pt x="2526" y="11011"/>
                    <a:pt x="2402" y="11061"/>
                  </a:cubicBezTo>
                  <a:cubicBezTo>
                    <a:pt x="2424" y="11111"/>
                    <a:pt x="2368" y="11145"/>
                    <a:pt x="2334" y="11180"/>
                  </a:cubicBezTo>
                  <a:cubicBezTo>
                    <a:pt x="2369" y="11186"/>
                    <a:pt x="2398" y="11178"/>
                    <a:pt x="2409" y="11152"/>
                  </a:cubicBezTo>
                  <a:cubicBezTo>
                    <a:pt x="2402" y="11193"/>
                    <a:pt x="2435" y="11214"/>
                    <a:pt x="2471" y="11169"/>
                  </a:cubicBezTo>
                  <a:cubicBezTo>
                    <a:pt x="2472" y="11171"/>
                    <a:pt x="2482" y="11242"/>
                    <a:pt x="2470" y="11237"/>
                  </a:cubicBezTo>
                  <a:cubicBezTo>
                    <a:pt x="2484" y="11243"/>
                    <a:pt x="2506" y="11248"/>
                    <a:pt x="2501" y="11213"/>
                  </a:cubicBezTo>
                  <a:cubicBezTo>
                    <a:pt x="2497" y="11185"/>
                    <a:pt x="2595" y="11224"/>
                    <a:pt x="2507" y="11263"/>
                  </a:cubicBezTo>
                  <a:cubicBezTo>
                    <a:pt x="2562" y="11269"/>
                    <a:pt x="2593" y="11315"/>
                    <a:pt x="2625" y="11354"/>
                  </a:cubicBezTo>
                  <a:cubicBezTo>
                    <a:pt x="2677" y="11417"/>
                    <a:pt x="2654" y="11436"/>
                    <a:pt x="2695" y="11489"/>
                  </a:cubicBezTo>
                  <a:cubicBezTo>
                    <a:pt x="2736" y="11541"/>
                    <a:pt x="2761" y="11560"/>
                    <a:pt x="2818" y="11581"/>
                  </a:cubicBezTo>
                  <a:cubicBezTo>
                    <a:pt x="2812" y="11579"/>
                    <a:pt x="2908" y="11550"/>
                    <a:pt x="2876" y="11580"/>
                  </a:cubicBezTo>
                  <a:cubicBezTo>
                    <a:pt x="2854" y="11600"/>
                    <a:pt x="2846" y="11627"/>
                    <a:pt x="2840" y="11654"/>
                  </a:cubicBezTo>
                  <a:cubicBezTo>
                    <a:pt x="2887" y="11644"/>
                    <a:pt x="2941" y="11673"/>
                    <a:pt x="2974" y="11666"/>
                  </a:cubicBezTo>
                  <a:cubicBezTo>
                    <a:pt x="3006" y="11659"/>
                    <a:pt x="3053" y="11613"/>
                    <a:pt x="3100" y="11601"/>
                  </a:cubicBezTo>
                  <a:cubicBezTo>
                    <a:pt x="3093" y="11628"/>
                    <a:pt x="3083" y="11646"/>
                    <a:pt x="3055" y="11659"/>
                  </a:cubicBezTo>
                  <a:cubicBezTo>
                    <a:pt x="3118" y="11691"/>
                    <a:pt x="3028" y="11756"/>
                    <a:pt x="2961" y="11768"/>
                  </a:cubicBezTo>
                  <a:cubicBezTo>
                    <a:pt x="3008" y="11776"/>
                    <a:pt x="3048" y="11744"/>
                    <a:pt x="3094" y="11743"/>
                  </a:cubicBezTo>
                  <a:cubicBezTo>
                    <a:pt x="3121" y="11742"/>
                    <a:pt x="3125" y="11775"/>
                    <a:pt x="3146" y="11780"/>
                  </a:cubicBezTo>
                  <a:cubicBezTo>
                    <a:pt x="3163" y="11784"/>
                    <a:pt x="3158" y="11760"/>
                    <a:pt x="3185" y="11772"/>
                  </a:cubicBezTo>
                  <a:cubicBezTo>
                    <a:pt x="3307" y="11828"/>
                    <a:pt x="3162" y="11775"/>
                    <a:pt x="3163" y="11857"/>
                  </a:cubicBezTo>
                  <a:cubicBezTo>
                    <a:pt x="3176" y="11856"/>
                    <a:pt x="3193" y="11857"/>
                    <a:pt x="3203" y="11856"/>
                  </a:cubicBezTo>
                  <a:cubicBezTo>
                    <a:pt x="3196" y="11859"/>
                    <a:pt x="3180" y="11872"/>
                    <a:pt x="3173" y="11875"/>
                  </a:cubicBezTo>
                  <a:cubicBezTo>
                    <a:pt x="3189" y="11873"/>
                    <a:pt x="3207" y="11876"/>
                    <a:pt x="3220" y="11875"/>
                  </a:cubicBezTo>
                  <a:cubicBezTo>
                    <a:pt x="3199" y="11890"/>
                    <a:pt x="3175" y="11898"/>
                    <a:pt x="3144" y="11893"/>
                  </a:cubicBezTo>
                  <a:cubicBezTo>
                    <a:pt x="3210" y="11914"/>
                    <a:pt x="3326" y="11899"/>
                    <a:pt x="3189" y="11946"/>
                  </a:cubicBezTo>
                  <a:cubicBezTo>
                    <a:pt x="3216" y="11956"/>
                    <a:pt x="3226" y="11965"/>
                    <a:pt x="3244" y="11988"/>
                  </a:cubicBezTo>
                  <a:cubicBezTo>
                    <a:pt x="3259" y="12009"/>
                    <a:pt x="3292" y="11979"/>
                    <a:pt x="3315" y="11986"/>
                  </a:cubicBezTo>
                  <a:cubicBezTo>
                    <a:pt x="3419" y="12021"/>
                    <a:pt x="3344" y="11988"/>
                    <a:pt x="3313" y="12007"/>
                  </a:cubicBezTo>
                  <a:cubicBezTo>
                    <a:pt x="3272" y="12033"/>
                    <a:pt x="3258" y="12031"/>
                    <a:pt x="3275" y="12085"/>
                  </a:cubicBezTo>
                  <a:cubicBezTo>
                    <a:pt x="3298" y="12154"/>
                    <a:pt x="3327" y="12168"/>
                    <a:pt x="3240" y="12198"/>
                  </a:cubicBezTo>
                  <a:cubicBezTo>
                    <a:pt x="3271" y="12214"/>
                    <a:pt x="3329" y="12188"/>
                    <a:pt x="3351" y="12201"/>
                  </a:cubicBezTo>
                  <a:cubicBezTo>
                    <a:pt x="3369" y="12212"/>
                    <a:pt x="3358" y="12269"/>
                    <a:pt x="3360" y="12272"/>
                  </a:cubicBezTo>
                  <a:cubicBezTo>
                    <a:pt x="3388" y="12332"/>
                    <a:pt x="3354" y="12275"/>
                    <a:pt x="3399" y="12290"/>
                  </a:cubicBezTo>
                  <a:cubicBezTo>
                    <a:pt x="3416" y="12295"/>
                    <a:pt x="3447" y="12287"/>
                    <a:pt x="3467" y="12314"/>
                  </a:cubicBezTo>
                  <a:cubicBezTo>
                    <a:pt x="3512" y="12376"/>
                    <a:pt x="3423" y="12340"/>
                    <a:pt x="3421" y="12348"/>
                  </a:cubicBezTo>
                  <a:cubicBezTo>
                    <a:pt x="3412" y="12374"/>
                    <a:pt x="3438" y="12362"/>
                    <a:pt x="3441" y="12393"/>
                  </a:cubicBezTo>
                  <a:cubicBezTo>
                    <a:pt x="3440" y="12383"/>
                    <a:pt x="3489" y="12417"/>
                    <a:pt x="3453" y="12434"/>
                  </a:cubicBezTo>
                  <a:cubicBezTo>
                    <a:pt x="3419" y="12448"/>
                    <a:pt x="3414" y="12421"/>
                    <a:pt x="3415" y="12397"/>
                  </a:cubicBezTo>
                  <a:cubicBezTo>
                    <a:pt x="3361" y="12404"/>
                    <a:pt x="3353" y="12448"/>
                    <a:pt x="3391" y="12481"/>
                  </a:cubicBezTo>
                  <a:cubicBezTo>
                    <a:pt x="3431" y="12515"/>
                    <a:pt x="3455" y="12480"/>
                    <a:pt x="3490" y="12497"/>
                  </a:cubicBezTo>
                  <a:cubicBezTo>
                    <a:pt x="3524" y="12514"/>
                    <a:pt x="3641" y="12688"/>
                    <a:pt x="3639" y="12704"/>
                  </a:cubicBezTo>
                  <a:cubicBezTo>
                    <a:pt x="3636" y="12718"/>
                    <a:pt x="3644" y="12775"/>
                    <a:pt x="3645" y="12796"/>
                  </a:cubicBezTo>
                  <a:cubicBezTo>
                    <a:pt x="3647" y="12843"/>
                    <a:pt x="3714" y="12943"/>
                    <a:pt x="3706" y="12964"/>
                  </a:cubicBezTo>
                  <a:cubicBezTo>
                    <a:pt x="3685" y="13020"/>
                    <a:pt x="3698" y="13006"/>
                    <a:pt x="3754" y="13017"/>
                  </a:cubicBezTo>
                  <a:cubicBezTo>
                    <a:pt x="3781" y="13023"/>
                    <a:pt x="3781" y="12990"/>
                    <a:pt x="3800" y="12994"/>
                  </a:cubicBezTo>
                  <a:cubicBezTo>
                    <a:pt x="3811" y="12996"/>
                    <a:pt x="3833" y="13013"/>
                    <a:pt x="3851" y="13017"/>
                  </a:cubicBezTo>
                  <a:cubicBezTo>
                    <a:pt x="3807" y="13056"/>
                    <a:pt x="3766" y="13123"/>
                    <a:pt x="3849" y="13153"/>
                  </a:cubicBezTo>
                  <a:cubicBezTo>
                    <a:pt x="3901" y="13172"/>
                    <a:pt x="3936" y="13133"/>
                    <a:pt x="3975" y="13111"/>
                  </a:cubicBezTo>
                  <a:cubicBezTo>
                    <a:pt x="3968" y="13133"/>
                    <a:pt x="3939" y="13177"/>
                    <a:pt x="3943" y="13201"/>
                  </a:cubicBezTo>
                  <a:cubicBezTo>
                    <a:pt x="3944" y="13210"/>
                    <a:pt x="4007" y="13184"/>
                    <a:pt x="3976" y="13247"/>
                  </a:cubicBezTo>
                  <a:cubicBezTo>
                    <a:pt x="3950" y="13302"/>
                    <a:pt x="3907" y="13242"/>
                    <a:pt x="3930" y="13310"/>
                  </a:cubicBezTo>
                  <a:cubicBezTo>
                    <a:pt x="3937" y="13331"/>
                    <a:pt x="4026" y="13305"/>
                    <a:pt x="3964" y="13360"/>
                  </a:cubicBezTo>
                  <a:cubicBezTo>
                    <a:pt x="4013" y="13343"/>
                    <a:pt x="3998" y="13369"/>
                    <a:pt x="4021" y="13384"/>
                  </a:cubicBezTo>
                  <a:cubicBezTo>
                    <a:pt x="4003" y="13373"/>
                    <a:pt x="4080" y="13440"/>
                    <a:pt x="4058" y="13409"/>
                  </a:cubicBezTo>
                  <a:cubicBezTo>
                    <a:pt x="4085" y="13447"/>
                    <a:pt x="4120" y="13468"/>
                    <a:pt x="4074" y="13508"/>
                  </a:cubicBezTo>
                  <a:cubicBezTo>
                    <a:pt x="4082" y="13514"/>
                    <a:pt x="4116" y="13530"/>
                    <a:pt x="4123" y="13532"/>
                  </a:cubicBezTo>
                  <a:cubicBezTo>
                    <a:pt x="4135" y="13518"/>
                    <a:pt x="4203" y="13509"/>
                    <a:pt x="4210" y="13510"/>
                  </a:cubicBezTo>
                  <a:cubicBezTo>
                    <a:pt x="4252" y="13519"/>
                    <a:pt x="4276" y="13523"/>
                    <a:pt x="4307" y="13565"/>
                  </a:cubicBezTo>
                  <a:cubicBezTo>
                    <a:pt x="4373" y="13654"/>
                    <a:pt x="4354" y="13724"/>
                    <a:pt x="4375" y="13824"/>
                  </a:cubicBezTo>
                  <a:cubicBezTo>
                    <a:pt x="4417" y="13802"/>
                    <a:pt x="4466" y="13786"/>
                    <a:pt x="4503" y="13821"/>
                  </a:cubicBezTo>
                  <a:cubicBezTo>
                    <a:pt x="4504" y="13821"/>
                    <a:pt x="4483" y="13826"/>
                    <a:pt x="4484" y="13825"/>
                  </a:cubicBezTo>
                  <a:cubicBezTo>
                    <a:pt x="4471" y="13840"/>
                    <a:pt x="4421" y="13815"/>
                    <a:pt x="4402" y="13847"/>
                  </a:cubicBezTo>
                  <a:cubicBezTo>
                    <a:pt x="4386" y="13873"/>
                    <a:pt x="4421" y="13909"/>
                    <a:pt x="4426" y="13937"/>
                  </a:cubicBezTo>
                  <a:cubicBezTo>
                    <a:pt x="4430" y="13964"/>
                    <a:pt x="4426" y="14018"/>
                    <a:pt x="4418" y="14044"/>
                  </a:cubicBezTo>
                  <a:cubicBezTo>
                    <a:pt x="4406" y="14084"/>
                    <a:pt x="4379" y="14136"/>
                    <a:pt x="4367" y="14161"/>
                  </a:cubicBezTo>
                  <a:cubicBezTo>
                    <a:pt x="4333" y="14233"/>
                    <a:pt x="4245" y="14289"/>
                    <a:pt x="4274" y="14356"/>
                  </a:cubicBezTo>
                  <a:cubicBezTo>
                    <a:pt x="4304" y="14426"/>
                    <a:pt x="4382" y="14448"/>
                    <a:pt x="4245" y="14510"/>
                  </a:cubicBezTo>
                  <a:cubicBezTo>
                    <a:pt x="4171" y="14543"/>
                    <a:pt x="4256" y="14589"/>
                    <a:pt x="4286" y="14619"/>
                  </a:cubicBezTo>
                  <a:cubicBezTo>
                    <a:pt x="4334" y="14667"/>
                    <a:pt x="4359" y="14668"/>
                    <a:pt x="4426" y="14699"/>
                  </a:cubicBezTo>
                  <a:cubicBezTo>
                    <a:pt x="4485" y="14726"/>
                    <a:pt x="4450" y="14699"/>
                    <a:pt x="4480" y="14751"/>
                  </a:cubicBezTo>
                  <a:cubicBezTo>
                    <a:pt x="4496" y="14780"/>
                    <a:pt x="4471" y="14810"/>
                    <a:pt x="4512" y="14828"/>
                  </a:cubicBezTo>
                  <a:cubicBezTo>
                    <a:pt x="4547" y="14845"/>
                    <a:pt x="4578" y="14805"/>
                    <a:pt x="4617" y="14818"/>
                  </a:cubicBezTo>
                  <a:cubicBezTo>
                    <a:pt x="4574" y="14872"/>
                    <a:pt x="4529" y="14886"/>
                    <a:pt x="4518" y="14955"/>
                  </a:cubicBezTo>
                  <a:cubicBezTo>
                    <a:pt x="4505" y="15032"/>
                    <a:pt x="4548" y="14981"/>
                    <a:pt x="4560" y="15036"/>
                  </a:cubicBezTo>
                  <a:cubicBezTo>
                    <a:pt x="4570" y="15079"/>
                    <a:pt x="4505" y="15114"/>
                    <a:pt x="4534" y="15174"/>
                  </a:cubicBezTo>
                  <a:cubicBezTo>
                    <a:pt x="4555" y="15215"/>
                    <a:pt x="4594" y="15222"/>
                    <a:pt x="4624" y="15256"/>
                  </a:cubicBezTo>
                  <a:cubicBezTo>
                    <a:pt x="4531" y="15213"/>
                    <a:pt x="4517" y="15197"/>
                    <a:pt x="4487" y="15126"/>
                  </a:cubicBezTo>
                  <a:cubicBezTo>
                    <a:pt x="4468" y="15083"/>
                    <a:pt x="4438" y="15049"/>
                    <a:pt x="4411" y="15011"/>
                  </a:cubicBezTo>
                  <a:cubicBezTo>
                    <a:pt x="4363" y="14943"/>
                    <a:pt x="4291" y="14861"/>
                    <a:pt x="4189" y="14892"/>
                  </a:cubicBezTo>
                  <a:cubicBezTo>
                    <a:pt x="4056" y="14933"/>
                    <a:pt x="4126" y="14883"/>
                    <a:pt x="4096" y="14821"/>
                  </a:cubicBezTo>
                  <a:cubicBezTo>
                    <a:pt x="4078" y="14785"/>
                    <a:pt x="4037" y="14762"/>
                    <a:pt x="3989" y="14791"/>
                  </a:cubicBezTo>
                  <a:cubicBezTo>
                    <a:pt x="3969" y="14803"/>
                    <a:pt x="3910" y="14909"/>
                    <a:pt x="3901" y="14938"/>
                  </a:cubicBezTo>
                  <a:cubicBezTo>
                    <a:pt x="3886" y="14984"/>
                    <a:pt x="3952" y="15047"/>
                    <a:pt x="3913" y="15077"/>
                  </a:cubicBezTo>
                  <a:cubicBezTo>
                    <a:pt x="3910" y="15078"/>
                    <a:pt x="3905" y="15083"/>
                    <a:pt x="3901" y="15086"/>
                  </a:cubicBezTo>
                  <a:cubicBezTo>
                    <a:pt x="3955" y="15217"/>
                    <a:pt x="4015" y="15373"/>
                    <a:pt x="4069" y="15542"/>
                  </a:cubicBezTo>
                  <a:cubicBezTo>
                    <a:pt x="4078" y="15569"/>
                    <a:pt x="4090" y="15607"/>
                    <a:pt x="4106" y="15653"/>
                  </a:cubicBezTo>
                  <a:cubicBezTo>
                    <a:pt x="4114" y="15656"/>
                    <a:pt x="4122" y="15659"/>
                    <a:pt x="4131" y="15662"/>
                  </a:cubicBezTo>
                  <a:cubicBezTo>
                    <a:pt x="4209" y="15752"/>
                    <a:pt x="4406" y="15799"/>
                    <a:pt x="4418" y="15929"/>
                  </a:cubicBezTo>
                  <a:cubicBezTo>
                    <a:pt x="4341" y="15840"/>
                    <a:pt x="4242" y="15769"/>
                    <a:pt x="4143" y="15694"/>
                  </a:cubicBezTo>
                  <a:cubicBezTo>
                    <a:pt x="4134" y="15690"/>
                    <a:pt x="4124" y="15686"/>
                    <a:pt x="4115" y="15682"/>
                  </a:cubicBezTo>
                  <a:cubicBezTo>
                    <a:pt x="4385" y="16481"/>
                    <a:pt x="5466" y="19541"/>
                    <a:pt x="5466" y="19541"/>
                  </a:cubicBezTo>
                  <a:cubicBezTo>
                    <a:pt x="5466" y="19541"/>
                    <a:pt x="5754" y="20147"/>
                    <a:pt x="5868" y="20346"/>
                  </a:cubicBezTo>
                  <a:cubicBezTo>
                    <a:pt x="5982" y="20544"/>
                    <a:pt x="6370" y="20858"/>
                    <a:pt x="6689" y="20983"/>
                  </a:cubicBezTo>
                  <a:cubicBezTo>
                    <a:pt x="7008" y="21109"/>
                    <a:pt x="7076" y="21078"/>
                    <a:pt x="7486" y="21078"/>
                  </a:cubicBezTo>
                  <a:cubicBezTo>
                    <a:pt x="7896" y="21078"/>
                    <a:pt x="8067" y="20973"/>
                    <a:pt x="8192" y="21088"/>
                  </a:cubicBezTo>
                  <a:cubicBezTo>
                    <a:pt x="8318" y="21203"/>
                    <a:pt x="8386" y="21287"/>
                    <a:pt x="8568" y="21287"/>
                  </a:cubicBezTo>
                  <a:cubicBezTo>
                    <a:pt x="8751" y="21287"/>
                    <a:pt x="8825" y="21072"/>
                    <a:pt x="8967" y="21203"/>
                  </a:cubicBezTo>
                  <a:cubicBezTo>
                    <a:pt x="9109" y="21334"/>
                    <a:pt x="9332" y="21590"/>
                    <a:pt x="9605" y="21590"/>
                  </a:cubicBezTo>
                  <a:cubicBezTo>
                    <a:pt x="9878" y="21590"/>
                    <a:pt x="10266" y="21412"/>
                    <a:pt x="10414" y="21182"/>
                  </a:cubicBezTo>
                  <a:cubicBezTo>
                    <a:pt x="10562" y="20952"/>
                    <a:pt x="10847" y="20712"/>
                    <a:pt x="11086" y="20712"/>
                  </a:cubicBezTo>
                  <a:cubicBezTo>
                    <a:pt x="11325" y="20712"/>
                    <a:pt x="11348" y="20754"/>
                    <a:pt x="11394" y="20900"/>
                  </a:cubicBezTo>
                  <a:cubicBezTo>
                    <a:pt x="11439" y="21046"/>
                    <a:pt x="11496" y="21255"/>
                    <a:pt x="11439" y="21423"/>
                  </a:cubicBezTo>
                  <a:cubicBezTo>
                    <a:pt x="11431" y="21445"/>
                    <a:pt x="11428" y="21474"/>
                    <a:pt x="11427" y="21507"/>
                  </a:cubicBezTo>
                  <a:lnTo>
                    <a:pt x="12647" y="21036"/>
                  </a:lnTo>
                  <a:lnTo>
                    <a:pt x="14362" y="20320"/>
                  </a:lnTo>
                  <a:cubicBezTo>
                    <a:pt x="14333" y="20229"/>
                    <a:pt x="14347" y="20145"/>
                    <a:pt x="14333" y="20052"/>
                  </a:cubicBezTo>
                  <a:cubicBezTo>
                    <a:pt x="14331" y="20039"/>
                    <a:pt x="14272" y="20037"/>
                    <a:pt x="14300" y="20013"/>
                  </a:cubicBezTo>
                  <a:cubicBezTo>
                    <a:pt x="14319" y="19997"/>
                    <a:pt x="14328" y="19972"/>
                    <a:pt x="14339" y="19951"/>
                  </a:cubicBezTo>
                  <a:cubicBezTo>
                    <a:pt x="14364" y="19901"/>
                    <a:pt x="14376" y="19920"/>
                    <a:pt x="14418" y="19910"/>
                  </a:cubicBezTo>
                  <a:cubicBezTo>
                    <a:pt x="14505" y="19891"/>
                    <a:pt x="14496" y="19907"/>
                    <a:pt x="14565" y="19819"/>
                  </a:cubicBezTo>
                  <a:cubicBezTo>
                    <a:pt x="14676" y="19695"/>
                    <a:pt x="14636" y="19732"/>
                    <a:pt x="14743" y="19784"/>
                  </a:cubicBezTo>
                  <a:cubicBezTo>
                    <a:pt x="14821" y="19822"/>
                    <a:pt x="14799" y="19750"/>
                    <a:pt x="14788" y="19685"/>
                  </a:cubicBezTo>
                  <a:cubicBezTo>
                    <a:pt x="14785" y="19662"/>
                    <a:pt x="14762" y="19637"/>
                    <a:pt x="14762" y="19608"/>
                  </a:cubicBezTo>
                  <a:cubicBezTo>
                    <a:pt x="14760" y="19525"/>
                    <a:pt x="14784" y="19562"/>
                    <a:pt x="14820" y="19548"/>
                  </a:cubicBezTo>
                  <a:cubicBezTo>
                    <a:pt x="14943" y="19503"/>
                    <a:pt x="14901" y="19529"/>
                    <a:pt x="14820" y="19480"/>
                  </a:cubicBezTo>
                  <a:cubicBezTo>
                    <a:pt x="14639" y="19368"/>
                    <a:pt x="14903" y="19140"/>
                    <a:pt x="14924" y="19018"/>
                  </a:cubicBezTo>
                  <a:cubicBezTo>
                    <a:pt x="14932" y="18971"/>
                    <a:pt x="14920" y="18901"/>
                    <a:pt x="14932" y="18844"/>
                  </a:cubicBezTo>
                  <a:cubicBezTo>
                    <a:pt x="14939" y="18808"/>
                    <a:pt x="14955" y="18746"/>
                    <a:pt x="14926" y="18715"/>
                  </a:cubicBezTo>
                  <a:cubicBezTo>
                    <a:pt x="14905" y="18692"/>
                    <a:pt x="14872" y="18724"/>
                    <a:pt x="14848" y="18698"/>
                  </a:cubicBezTo>
                  <a:cubicBezTo>
                    <a:pt x="14827" y="18676"/>
                    <a:pt x="14831" y="18620"/>
                    <a:pt x="14828" y="18593"/>
                  </a:cubicBezTo>
                  <a:cubicBezTo>
                    <a:pt x="14824" y="18560"/>
                    <a:pt x="14832" y="18510"/>
                    <a:pt x="14813" y="18482"/>
                  </a:cubicBezTo>
                  <a:cubicBezTo>
                    <a:pt x="14788" y="18447"/>
                    <a:pt x="14743" y="18477"/>
                    <a:pt x="14743" y="18423"/>
                  </a:cubicBezTo>
                  <a:cubicBezTo>
                    <a:pt x="14743" y="18319"/>
                    <a:pt x="14739" y="18251"/>
                    <a:pt x="14768" y="18163"/>
                  </a:cubicBezTo>
                  <a:cubicBezTo>
                    <a:pt x="14822" y="17995"/>
                    <a:pt x="14680" y="17873"/>
                    <a:pt x="14685" y="17708"/>
                  </a:cubicBezTo>
                  <a:cubicBezTo>
                    <a:pt x="14693" y="17397"/>
                    <a:pt x="14786" y="17067"/>
                    <a:pt x="14835" y="16759"/>
                  </a:cubicBezTo>
                  <a:cubicBezTo>
                    <a:pt x="14854" y="16635"/>
                    <a:pt x="14842" y="16505"/>
                    <a:pt x="15007" y="16520"/>
                  </a:cubicBezTo>
                  <a:cubicBezTo>
                    <a:pt x="15071" y="16527"/>
                    <a:pt x="15039" y="16509"/>
                    <a:pt x="15077" y="16560"/>
                  </a:cubicBezTo>
                  <a:cubicBezTo>
                    <a:pt x="15082" y="16566"/>
                    <a:pt x="15085" y="16575"/>
                    <a:pt x="15089" y="16582"/>
                  </a:cubicBezTo>
                  <a:cubicBezTo>
                    <a:pt x="15326" y="16456"/>
                    <a:pt x="15647" y="16247"/>
                    <a:pt x="15534" y="16023"/>
                  </a:cubicBezTo>
                  <a:cubicBezTo>
                    <a:pt x="15407" y="15772"/>
                    <a:pt x="15300" y="15583"/>
                    <a:pt x="15407" y="15583"/>
                  </a:cubicBezTo>
                  <a:cubicBezTo>
                    <a:pt x="15514" y="15583"/>
                    <a:pt x="15426" y="15395"/>
                    <a:pt x="15622" y="15350"/>
                  </a:cubicBezTo>
                  <a:cubicBezTo>
                    <a:pt x="15817" y="15305"/>
                    <a:pt x="16047" y="15444"/>
                    <a:pt x="16179" y="15323"/>
                  </a:cubicBezTo>
                  <a:cubicBezTo>
                    <a:pt x="16311" y="15202"/>
                    <a:pt x="16447" y="15091"/>
                    <a:pt x="16496" y="15046"/>
                  </a:cubicBezTo>
                  <a:cubicBezTo>
                    <a:pt x="16545" y="15002"/>
                    <a:pt x="16556" y="14962"/>
                    <a:pt x="16556" y="14962"/>
                  </a:cubicBezTo>
                  <a:cubicBezTo>
                    <a:pt x="16556" y="14962"/>
                    <a:pt x="16557" y="14962"/>
                    <a:pt x="16557" y="14961"/>
                  </a:cubicBezTo>
                  <a:cubicBezTo>
                    <a:pt x="16556" y="14962"/>
                    <a:pt x="16556" y="14962"/>
                    <a:pt x="16556" y="14962"/>
                  </a:cubicBezTo>
                  <a:cubicBezTo>
                    <a:pt x="16619" y="14903"/>
                    <a:pt x="16728" y="14834"/>
                    <a:pt x="16767" y="14758"/>
                  </a:cubicBezTo>
                  <a:cubicBezTo>
                    <a:pt x="16785" y="14722"/>
                    <a:pt x="16754" y="14700"/>
                    <a:pt x="16795" y="14664"/>
                  </a:cubicBezTo>
                  <a:cubicBezTo>
                    <a:pt x="16840" y="14624"/>
                    <a:pt x="16888" y="14657"/>
                    <a:pt x="16927" y="14645"/>
                  </a:cubicBezTo>
                  <a:cubicBezTo>
                    <a:pt x="16957" y="14634"/>
                    <a:pt x="17006" y="14630"/>
                    <a:pt x="16944" y="14605"/>
                  </a:cubicBezTo>
                  <a:cubicBezTo>
                    <a:pt x="16989" y="14563"/>
                    <a:pt x="17078" y="14565"/>
                    <a:pt x="17110" y="14538"/>
                  </a:cubicBezTo>
                  <a:cubicBezTo>
                    <a:pt x="17154" y="14504"/>
                    <a:pt x="17140" y="14422"/>
                    <a:pt x="17164" y="14376"/>
                  </a:cubicBezTo>
                  <a:cubicBezTo>
                    <a:pt x="17209" y="14292"/>
                    <a:pt x="17205" y="14352"/>
                    <a:pt x="17289" y="14373"/>
                  </a:cubicBezTo>
                  <a:cubicBezTo>
                    <a:pt x="17357" y="14390"/>
                    <a:pt x="17423" y="14368"/>
                    <a:pt x="17494" y="14358"/>
                  </a:cubicBezTo>
                  <a:cubicBezTo>
                    <a:pt x="17528" y="14353"/>
                    <a:pt x="17575" y="14339"/>
                    <a:pt x="17610" y="14340"/>
                  </a:cubicBezTo>
                  <a:cubicBezTo>
                    <a:pt x="17634" y="14341"/>
                    <a:pt x="17674" y="14363"/>
                    <a:pt x="17689" y="14362"/>
                  </a:cubicBezTo>
                  <a:cubicBezTo>
                    <a:pt x="17731" y="14360"/>
                    <a:pt x="17791" y="14330"/>
                    <a:pt x="17826" y="14301"/>
                  </a:cubicBezTo>
                  <a:cubicBezTo>
                    <a:pt x="17895" y="14244"/>
                    <a:pt x="17927" y="14157"/>
                    <a:pt x="17968" y="14083"/>
                  </a:cubicBezTo>
                  <a:cubicBezTo>
                    <a:pt x="17979" y="14064"/>
                    <a:pt x="18004" y="14038"/>
                    <a:pt x="18008" y="14017"/>
                  </a:cubicBezTo>
                  <a:cubicBezTo>
                    <a:pt x="18010" y="14005"/>
                    <a:pt x="17996" y="13951"/>
                    <a:pt x="17992" y="13959"/>
                  </a:cubicBezTo>
                  <a:cubicBezTo>
                    <a:pt x="18005" y="13931"/>
                    <a:pt x="18142" y="13889"/>
                    <a:pt x="18129" y="13831"/>
                  </a:cubicBezTo>
                  <a:cubicBezTo>
                    <a:pt x="18120" y="13787"/>
                    <a:pt x="18134" y="13681"/>
                    <a:pt x="18085" y="13674"/>
                  </a:cubicBezTo>
                  <a:cubicBezTo>
                    <a:pt x="18133" y="13560"/>
                    <a:pt x="18271" y="13459"/>
                    <a:pt x="18323" y="13352"/>
                  </a:cubicBezTo>
                  <a:cubicBezTo>
                    <a:pt x="18332" y="13333"/>
                    <a:pt x="18377" y="13275"/>
                    <a:pt x="18375" y="13258"/>
                  </a:cubicBezTo>
                  <a:cubicBezTo>
                    <a:pt x="18369" y="13196"/>
                    <a:pt x="18332" y="13253"/>
                    <a:pt x="18289" y="13229"/>
                  </a:cubicBezTo>
                  <a:cubicBezTo>
                    <a:pt x="18240" y="13202"/>
                    <a:pt x="18248" y="13151"/>
                    <a:pt x="18290" y="13123"/>
                  </a:cubicBezTo>
                  <a:cubicBezTo>
                    <a:pt x="18352" y="13082"/>
                    <a:pt x="18257" y="13079"/>
                    <a:pt x="18225" y="13069"/>
                  </a:cubicBezTo>
                  <a:cubicBezTo>
                    <a:pt x="18155" y="13048"/>
                    <a:pt x="18071" y="13000"/>
                    <a:pt x="18001" y="13045"/>
                  </a:cubicBezTo>
                  <a:cubicBezTo>
                    <a:pt x="18081" y="12933"/>
                    <a:pt x="17894" y="13038"/>
                    <a:pt x="17875" y="13039"/>
                  </a:cubicBezTo>
                  <a:cubicBezTo>
                    <a:pt x="17906" y="13000"/>
                    <a:pt x="17879" y="12984"/>
                    <a:pt x="17835" y="12984"/>
                  </a:cubicBezTo>
                  <a:cubicBezTo>
                    <a:pt x="17953" y="12932"/>
                    <a:pt x="18096" y="12932"/>
                    <a:pt x="18222" y="12949"/>
                  </a:cubicBezTo>
                  <a:cubicBezTo>
                    <a:pt x="18204" y="12925"/>
                    <a:pt x="18156" y="12894"/>
                    <a:pt x="18131" y="12872"/>
                  </a:cubicBezTo>
                  <a:cubicBezTo>
                    <a:pt x="18092" y="12837"/>
                    <a:pt x="18087" y="12829"/>
                    <a:pt x="18036" y="12810"/>
                  </a:cubicBezTo>
                  <a:cubicBezTo>
                    <a:pt x="17934" y="12772"/>
                    <a:pt x="17808" y="12762"/>
                    <a:pt x="17696" y="12750"/>
                  </a:cubicBezTo>
                  <a:cubicBezTo>
                    <a:pt x="17621" y="12742"/>
                    <a:pt x="17568" y="12765"/>
                    <a:pt x="17494" y="12765"/>
                  </a:cubicBezTo>
                  <a:cubicBezTo>
                    <a:pt x="17421" y="12765"/>
                    <a:pt x="17365" y="12753"/>
                    <a:pt x="17291" y="12773"/>
                  </a:cubicBezTo>
                  <a:cubicBezTo>
                    <a:pt x="17012" y="12845"/>
                    <a:pt x="16778" y="12967"/>
                    <a:pt x="16551" y="13128"/>
                  </a:cubicBezTo>
                  <a:cubicBezTo>
                    <a:pt x="16451" y="13198"/>
                    <a:pt x="16341" y="13252"/>
                    <a:pt x="16245" y="13329"/>
                  </a:cubicBezTo>
                  <a:cubicBezTo>
                    <a:pt x="16096" y="13447"/>
                    <a:pt x="15974" y="13595"/>
                    <a:pt x="15859" y="13739"/>
                  </a:cubicBezTo>
                  <a:cubicBezTo>
                    <a:pt x="15716" y="13918"/>
                    <a:pt x="15572" y="14091"/>
                    <a:pt x="15411" y="14250"/>
                  </a:cubicBezTo>
                  <a:cubicBezTo>
                    <a:pt x="15323" y="14336"/>
                    <a:pt x="15258" y="14455"/>
                    <a:pt x="15188" y="14556"/>
                  </a:cubicBezTo>
                  <a:cubicBezTo>
                    <a:pt x="15158" y="14598"/>
                    <a:pt x="15096" y="14630"/>
                    <a:pt x="15074" y="14663"/>
                  </a:cubicBezTo>
                  <a:cubicBezTo>
                    <a:pt x="15021" y="14746"/>
                    <a:pt x="14965" y="14817"/>
                    <a:pt x="14917" y="14905"/>
                  </a:cubicBezTo>
                  <a:cubicBezTo>
                    <a:pt x="14843" y="15044"/>
                    <a:pt x="14793" y="15185"/>
                    <a:pt x="14694" y="15317"/>
                  </a:cubicBezTo>
                  <a:cubicBezTo>
                    <a:pt x="14656" y="15369"/>
                    <a:pt x="14621" y="15413"/>
                    <a:pt x="14591" y="15481"/>
                  </a:cubicBezTo>
                  <a:cubicBezTo>
                    <a:pt x="14554" y="15566"/>
                    <a:pt x="14519" y="15652"/>
                    <a:pt x="14483" y="15739"/>
                  </a:cubicBezTo>
                  <a:cubicBezTo>
                    <a:pt x="14430" y="15863"/>
                    <a:pt x="14368" y="15981"/>
                    <a:pt x="14349" y="16114"/>
                  </a:cubicBezTo>
                  <a:cubicBezTo>
                    <a:pt x="14336" y="16207"/>
                    <a:pt x="14363" y="16244"/>
                    <a:pt x="14338" y="16337"/>
                  </a:cubicBezTo>
                  <a:cubicBezTo>
                    <a:pt x="14322" y="16396"/>
                    <a:pt x="14305" y="16457"/>
                    <a:pt x="14294" y="16517"/>
                  </a:cubicBezTo>
                  <a:cubicBezTo>
                    <a:pt x="14279" y="16596"/>
                    <a:pt x="14264" y="16674"/>
                    <a:pt x="14239" y="16751"/>
                  </a:cubicBezTo>
                  <a:cubicBezTo>
                    <a:pt x="14202" y="16866"/>
                    <a:pt x="14223" y="16949"/>
                    <a:pt x="14182" y="17058"/>
                  </a:cubicBezTo>
                  <a:cubicBezTo>
                    <a:pt x="14128" y="17204"/>
                    <a:pt x="14124" y="17368"/>
                    <a:pt x="14060" y="17510"/>
                  </a:cubicBezTo>
                  <a:cubicBezTo>
                    <a:pt x="14002" y="17641"/>
                    <a:pt x="13845" y="17775"/>
                    <a:pt x="13743" y="17880"/>
                  </a:cubicBezTo>
                  <a:cubicBezTo>
                    <a:pt x="13699" y="17926"/>
                    <a:pt x="13628" y="17969"/>
                    <a:pt x="13591" y="18014"/>
                  </a:cubicBezTo>
                  <a:cubicBezTo>
                    <a:pt x="13550" y="18063"/>
                    <a:pt x="13535" y="18139"/>
                    <a:pt x="13512" y="18195"/>
                  </a:cubicBezTo>
                  <a:lnTo>
                    <a:pt x="13498" y="18185"/>
                  </a:lnTo>
                  <a:cubicBezTo>
                    <a:pt x="13558" y="18048"/>
                    <a:pt x="13576" y="17906"/>
                    <a:pt x="13641" y="17765"/>
                  </a:cubicBezTo>
                  <a:cubicBezTo>
                    <a:pt x="13681" y="17678"/>
                    <a:pt x="13777" y="17613"/>
                    <a:pt x="13806" y="17524"/>
                  </a:cubicBezTo>
                  <a:cubicBezTo>
                    <a:pt x="13822" y="17472"/>
                    <a:pt x="13822" y="17386"/>
                    <a:pt x="13823" y="17332"/>
                  </a:cubicBezTo>
                  <a:cubicBezTo>
                    <a:pt x="13823" y="17267"/>
                    <a:pt x="13817" y="17203"/>
                    <a:pt x="13818" y="17137"/>
                  </a:cubicBezTo>
                  <a:cubicBezTo>
                    <a:pt x="13820" y="17078"/>
                    <a:pt x="13789" y="17083"/>
                    <a:pt x="13855" y="17031"/>
                  </a:cubicBezTo>
                  <a:cubicBezTo>
                    <a:pt x="13893" y="17002"/>
                    <a:pt x="13931" y="16977"/>
                    <a:pt x="13957" y="16938"/>
                  </a:cubicBezTo>
                  <a:cubicBezTo>
                    <a:pt x="14004" y="16868"/>
                    <a:pt x="13962" y="16806"/>
                    <a:pt x="13971" y="16730"/>
                  </a:cubicBezTo>
                  <a:cubicBezTo>
                    <a:pt x="13979" y="16660"/>
                    <a:pt x="14022" y="16623"/>
                    <a:pt x="14054" y="16551"/>
                  </a:cubicBezTo>
                  <a:cubicBezTo>
                    <a:pt x="14097" y="16449"/>
                    <a:pt x="14072" y="16286"/>
                    <a:pt x="14053" y="16179"/>
                  </a:cubicBezTo>
                  <a:cubicBezTo>
                    <a:pt x="14046" y="16138"/>
                    <a:pt x="14054" y="16063"/>
                    <a:pt x="14034" y="16024"/>
                  </a:cubicBezTo>
                  <a:cubicBezTo>
                    <a:pt x="14011" y="15979"/>
                    <a:pt x="14042" y="15999"/>
                    <a:pt x="13984" y="15986"/>
                  </a:cubicBezTo>
                  <a:cubicBezTo>
                    <a:pt x="13954" y="15979"/>
                    <a:pt x="13923" y="15999"/>
                    <a:pt x="13889" y="15989"/>
                  </a:cubicBezTo>
                  <a:cubicBezTo>
                    <a:pt x="13825" y="15969"/>
                    <a:pt x="13805" y="15915"/>
                    <a:pt x="13721" y="15939"/>
                  </a:cubicBezTo>
                  <a:cubicBezTo>
                    <a:pt x="13650" y="15959"/>
                    <a:pt x="13627" y="15998"/>
                    <a:pt x="13550" y="15992"/>
                  </a:cubicBezTo>
                  <a:cubicBezTo>
                    <a:pt x="13422" y="15981"/>
                    <a:pt x="13303" y="15960"/>
                    <a:pt x="13174" y="16016"/>
                  </a:cubicBezTo>
                  <a:cubicBezTo>
                    <a:pt x="13124" y="16037"/>
                    <a:pt x="13054" y="16066"/>
                    <a:pt x="13010" y="16095"/>
                  </a:cubicBezTo>
                  <a:cubicBezTo>
                    <a:pt x="12897" y="16167"/>
                    <a:pt x="12913" y="16169"/>
                    <a:pt x="12944" y="16050"/>
                  </a:cubicBezTo>
                  <a:cubicBezTo>
                    <a:pt x="12861" y="16063"/>
                    <a:pt x="12770" y="16044"/>
                    <a:pt x="12701" y="16093"/>
                  </a:cubicBezTo>
                  <a:cubicBezTo>
                    <a:pt x="12746" y="16034"/>
                    <a:pt x="12810" y="16045"/>
                    <a:pt x="12873" y="16029"/>
                  </a:cubicBezTo>
                  <a:cubicBezTo>
                    <a:pt x="12896" y="16024"/>
                    <a:pt x="12937" y="15999"/>
                    <a:pt x="12959" y="16000"/>
                  </a:cubicBezTo>
                  <a:cubicBezTo>
                    <a:pt x="12981" y="16000"/>
                    <a:pt x="13011" y="16026"/>
                    <a:pt x="13026" y="16025"/>
                  </a:cubicBezTo>
                  <a:cubicBezTo>
                    <a:pt x="13111" y="16020"/>
                    <a:pt x="13245" y="15961"/>
                    <a:pt x="13333" y="15929"/>
                  </a:cubicBezTo>
                  <a:cubicBezTo>
                    <a:pt x="13424" y="15896"/>
                    <a:pt x="13540" y="15975"/>
                    <a:pt x="13639" y="15939"/>
                  </a:cubicBezTo>
                  <a:cubicBezTo>
                    <a:pt x="13701" y="15915"/>
                    <a:pt x="13707" y="15902"/>
                    <a:pt x="13765" y="15905"/>
                  </a:cubicBezTo>
                  <a:cubicBezTo>
                    <a:pt x="13820" y="15908"/>
                    <a:pt x="13845" y="15937"/>
                    <a:pt x="13894" y="15949"/>
                  </a:cubicBezTo>
                  <a:cubicBezTo>
                    <a:pt x="13941" y="15960"/>
                    <a:pt x="14050" y="15966"/>
                    <a:pt x="14066" y="15910"/>
                  </a:cubicBezTo>
                  <a:cubicBezTo>
                    <a:pt x="14087" y="15839"/>
                    <a:pt x="14095" y="15783"/>
                    <a:pt x="14129" y="15718"/>
                  </a:cubicBezTo>
                  <a:cubicBezTo>
                    <a:pt x="14183" y="15614"/>
                    <a:pt x="14192" y="15474"/>
                    <a:pt x="14173" y="15360"/>
                  </a:cubicBezTo>
                  <a:cubicBezTo>
                    <a:pt x="14169" y="15331"/>
                    <a:pt x="14157" y="15304"/>
                    <a:pt x="14162" y="15272"/>
                  </a:cubicBezTo>
                  <a:cubicBezTo>
                    <a:pt x="14169" y="15224"/>
                    <a:pt x="14215" y="15200"/>
                    <a:pt x="14226" y="15155"/>
                  </a:cubicBezTo>
                  <a:cubicBezTo>
                    <a:pt x="14242" y="15095"/>
                    <a:pt x="14184" y="15034"/>
                    <a:pt x="14195" y="14975"/>
                  </a:cubicBezTo>
                  <a:cubicBezTo>
                    <a:pt x="14205" y="14917"/>
                    <a:pt x="14264" y="14846"/>
                    <a:pt x="14293" y="14787"/>
                  </a:cubicBezTo>
                  <a:cubicBezTo>
                    <a:pt x="14333" y="14707"/>
                    <a:pt x="14345" y="14695"/>
                    <a:pt x="14427" y="14640"/>
                  </a:cubicBezTo>
                  <a:cubicBezTo>
                    <a:pt x="14389" y="14632"/>
                    <a:pt x="14378" y="14499"/>
                    <a:pt x="14399" y="14447"/>
                  </a:cubicBezTo>
                  <a:cubicBezTo>
                    <a:pt x="14451" y="14318"/>
                    <a:pt x="14549" y="14344"/>
                    <a:pt x="14444" y="14231"/>
                  </a:cubicBezTo>
                  <a:cubicBezTo>
                    <a:pt x="14525" y="14275"/>
                    <a:pt x="14563" y="14285"/>
                    <a:pt x="14519" y="14381"/>
                  </a:cubicBezTo>
                  <a:cubicBezTo>
                    <a:pt x="14537" y="14378"/>
                    <a:pt x="14672" y="14230"/>
                    <a:pt x="14675" y="14210"/>
                  </a:cubicBezTo>
                  <a:cubicBezTo>
                    <a:pt x="14685" y="14130"/>
                    <a:pt x="14608" y="14203"/>
                    <a:pt x="14559" y="14177"/>
                  </a:cubicBezTo>
                  <a:cubicBezTo>
                    <a:pt x="14583" y="14166"/>
                    <a:pt x="14616" y="14146"/>
                    <a:pt x="14635" y="14123"/>
                  </a:cubicBezTo>
                  <a:cubicBezTo>
                    <a:pt x="14663" y="14089"/>
                    <a:pt x="14631" y="14065"/>
                    <a:pt x="14643" y="14038"/>
                  </a:cubicBezTo>
                  <a:cubicBezTo>
                    <a:pt x="14664" y="13986"/>
                    <a:pt x="14739" y="13938"/>
                    <a:pt x="14801" y="13915"/>
                  </a:cubicBezTo>
                  <a:cubicBezTo>
                    <a:pt x="14928" y="13866"/>
                    <a:pt x="15048" y="13764"/>
                    <a:pt x="15164" y="13683"/>
                  </a:cubicBezTo>
                  <a:cubicBezTo>
                    <a:pt x="15246" y="13626"/>
                    <a:pt x="15261" y="13468"/>
                    <a:pt x="15213" y="13377"/>
                  </a:cubicBezTo>
                  <a:cubicBezTo>
                    <a:pt x="15179" y="13312"/>
                    <a:pt x="15159" y="13284"/>
                    <a:pt x="15148" y="13208"/>
                  </a:cubicBezTo>
                  <a:cubicBezTo>
                    <a:pt x="15143" y="13171"/>
                    <a:pt x="15143" y="13166"/>
                    <a:pt x="15130" y="13132"/>
                  </a:cubicBezTo>
                  <a:cubicBezTo>
                    <a:pt x="15119" y="13105"/>
                    <a:pt x="15096" y="13085"/>
                    <a:pt x="15089" y="13052"/>
                  </a:cubicBezTo>
                  <a:cubicBezTo>
                    <a:pt x="15067" y="12954"/>
                    <a:pt x="15136" y="12972"/>
                    <a:pt x="15160" y="12906"/>
                  </a:cubicBezTo>
                  <a:cubicBezTo>
                    <a:pt x="15179" y="12853"/>
                    <a:pt x="15129" y="12805"/>
                    <a:pt x="15127" y="12759"/>
                  </a:cubicBezTo>
                  <a:cubicBezTo>
                    <a:pt x="15123" y="12664"/>
                    <a:pt x="15345" y="12467"/>
                    <a:pt x="15252" y="12384"/>
                  </a:cubicBezTo>
                  <a:cubicBezTo>
                    <a:pt x="15297" y="12391"/>
                    <a:pt x="15473" y="12351"/>
                    <a:pt x="15397" y="12323"/>
                  </a:cubicBezTo>
                  <a:cubicBezTo>
                    <a:pt x="15360" y="12309"/>
                    <a:pt x="15346" y="12370"/>
                    <a:pt x="15307" y="12323"/>
                  </a:cubicBezTo>
                  <a:cubicBezTo>
                    <a:pt x="15291" y="12303"/>
                    <a:pt x="15297" y="12256"/>
                    <a:pt x="15313" y="12237"/>
                  </a:cubicBezTo>
                  <a:cubicBezTo>
                    <a:pt x="15359" y="12181"/>
                    <a:pt x="15418" y="12258"/>
                    <a:pt x="15490" y="12230"/>
                  </a:cubicBezTo>
                  <a:cubicBezTo>
                    <a:pt x="15507" y="12223"/>
                    <a:pt x="15615" y="12175"/>
                    <a:pt x="15630" y="12159"/>
                  </a:cubicBezTo>
                  <a:cubicBezTo>
                    <a:pt x="15653" y="12135"/>
                    <a:pt x="15665" y="12135"/>
                    <a:pt x="15634" y="12096"/>
                  </a:cubicBezTo>
                  <a:cubicBezTo>
                    <a:pt x="15698" y="12134"/>
                    <a:pt x="15672" y="12020"/>
                    <a:pt x="15705" y="11989"/>
                  </a:cubicBezTo>
                  <a:cubicBezTo>
                    <a:pt x="15745" y="11951"/>
                    <a:pt x="15844" y="11962"/>
                    <a:pt x="15898" y="11931"/>
                  </a:cubicBezTo>
                  <a:cubicBezTo>
                    <a:pt x="16025" y="11858"/>
                    <a:pt x="16121" y="11730"/>
                    <a:pt x="16257" y="11671"/>
                  </a:cubicBezTo>
                  <a:cubicBezTo>
                    <a:pt x="16313" y="11647"/>
                    <a:pt x="16387" y="11636"/>
                    <a:pt x="16447" y="11610"/>
                  </a:cubicBezTo>
                  <a:cubicBezTo>
                    <a:pt x="16522" y="11578"/>
                    <a:pt x="16588" y="11549"/>
                    <a:pt x="16657" y="11506"/>
                  </a:cubicBezTo>
                  <a:cubicBezTo>
                    <a:pt x="16750" y="11449"/>
                    <a:pt x="16844" y="11356"/>
                    <a:pt x="16945" y="11317"/>
                  </a:cubicBezTo>
                  <a:cubicBezTo>
                    <a:pt x="17022" y="11288"/>
                    <a:pt x="17092" y="11293"/>
                    <a:pt x="17165" y="11246"/>
                  </a:cubicBezTo>
                  <a:cubicBezTo>
                    <a:pt x="17268" y="11179"/>
                    <a:pt x="17358" y="11059"/>
                    <a:pt x="17484" y="11032"/>
                  </a:cubicBezTo>
                  <a:cubicBezTo>
                    <a:pt x="17503" y="11028"/>
                    <a:pt x="17534" y="11041"/>
                    <a:pt x="17568" y="11032"/>
                  </a:cubicBezTo>
                  <a:cubicBezTo>
                    <a:pt x="17609" y="11022"/>
                    <a:pt x="17643" y="10980"/>
                    <a:pt x="17685" y="10975"/>
                  </a:cubicBezTo>
                  <a:cubicBezTo>
                    <a:pt x="17724" y="10969"/>
                    <a:pt x="17721" y="11009"/>
                    <a:pt x="17765" y="10995"/>
                  </a:cubicBezTo>
                  <a:cubicBezTo>
                    <a:pt x="17766" y="10994"/>
                    <a:pt x="17870" y="10906"/>
                    <a:pt x="17874" y="10900"/>
                  </a:cubicBezTo>
                  <a:cubicBezTo>
                    <a:pt x="17901" y="10868"/>
                    <a:pt x="17885" y="10828"/>
                    <a:pt x="17901" y="10806"/>
                  </a:cubicBezTo>
                  <a:cubicBezTo>
                    <a:pt x="17926" y="10772"/>
                    <a:pt x="18010" y="10744"/>
                    <a:pt x="18049" y="10722"/>
                  </a:cubicBezTo>
                  <a:cubicBezTo>
                    <a:pt x="18115" y="10685"/>
                    <a:pt x="18173" y="10647"/>
                    <a:pt x="18233" y="10600"/>
                  </a:cubicBezTo>
                  <a:cubicBezTo>
                    <a:pt x="18230" y="10609"/>
                    <a:pt x="18228" y="10619"/>
                    <a:pt x="18227" y="10626"/>
                  </a:cubicBezTo>
                  <a:cubicBezTo>
                    <a:pt x="18270" y="10612"/>
                    <a:pt x="18471" y="10534"/>
                    <a:pt x="18477" y="10503"/>
                  </a:cubicBezTo>
                  <a:cubicBezTo>
                    <a:pt x="18492" y="10417"/>
                    <a:pt x="18640" y="10473"/>
                    <a:pt x="18698" y="10430"/>
                  </a:cubicBezTo>
                  <a:cubicBezTo>
                    <a:pt x="18750" y="10392"/>
                    <a:pt x="18915" y="10308"/>
                    <a:pt x="18970" y="10309"/>
                  </a:cubicBezTo>
                  <a:cubicBezTo>
                    <a:pt x="19004" y="10310"/>
                    <a:pt x="19050" y="10363"/>
                    <a:pt x="19062" y="10364"/>
                  </a:cubicBezTo>
                  <a:cubicBezTo>
                    <a:pt x="19110" y="10367"/>
                    <a:pt x="19150" y="10316"/>
                    <a:pt x="19185" y="10287"/>
                  </a:cubicBezTo>
                  <a:cubicBezTo>
                    <a:pt x="19153" y="10319"/>
                    <a:pt x="19128" y="10351"/>
                    <a:pt x="19114" y="10393"/>
                  </a:cubicBezTo>
                  <a:cubicBezTo>
                    <a:pt x="19221" y="10412"/>
                    <a:pt x="19376" y="10093"/>
                    <a:pt x="19463" y="10033"/>
                  </a:cubicBezTo>
                  <a:cubicBezTo>
                    <a:pt x="19497" y="10010"/>
                    <a:pt x="19523" y="10024"/>
                    <a:pt x="19564" y="9984"/>
                  </a:cubicBezTo>
                  <a:cubicBezTo>
                    <a:pt x="19596" y="9953"/>
                    <a:pt x="19624" y="9893"/>
                    <a:pt x="19670" y="9915"/>
                  </a:cubicBezTo>
                  <a:cubicBezTo>
                    <a:pt x="19694" y="9884"/>
                    <a:pt x="19699" y="9846"/>
                    <a:pt x="19716" y="9812"/>
                  </a:cubicBezTo>
                  <a:cubicBezTo>
                    <a:pt x="19764" y="9923"/>
                    <a:pt x="20026" y="9596"/>
                    <a:pt x="20086" y="9622"/>
                  </a:cubicBezTo>
                  <a:cubicBezTo>
                    <a:pt x="20088" y="9581"/>
                    <a:pt x="20142" y="9568"/>
                    <a:pt x="20108" y="9522"/>
                  </a:cubicBezTo>
                  <a:cubicBezTo>
                    <a:pt x="20146" y="9510"/>
                    <a:pt x="20166" y="9527"/>
                    <a:pt x="20163" y="9560"/>
                  </a:cubicBezTo>
                  <a:cubicBezTo>
                    <a:pt x="20179" y="9528"/>
                    <a:pt x="20228" y="9414"/>
                    <a:pt x="20233" y="9521"/>
                  </a:cubicBezTo>
                  <a:cubicBezTo>
                    <a:pt x="20242" y="9522"/>
                    <a:pt x="20267" y="9526"/>
                    <a:pt x="20271" y="9526"/>
                  </a:cubicBezTo>
                  <a:cubicBezTo>
                    <a:pt x="20338" y="9468"/>
                    <a:pt x="20408" y="9337"/>
                    <a:pt x="20413" y="9251"/>
                  </a:cubicBezTo>
                  <a:cubicBezTo>
                    <a:pt x="20415" y="9232"/>
                    <a:pt x="20357" y="9255"/>
                    <a:pt x="20338" y="9222"/>
                  </a:cubicBezTo>
                  <a:cubicBezTo>
                    <a:pt x="20280" y="9123"/>
                    <a:pt x="20475" y="9037"/>
                    <a:pt x="20467" y="8938"/>
                  </a:cubicBezTo>
                  <a:cubicBezTo>
                    <a:pt x="20463" y="8891"/>
                    <a:pt x="20468" y="8845"/>
                    <a:pt x="20465" y="8798"/>
                  </a:cubicBezTo>
                  <a:cubicBezTo>
                    <a:pt x="20461" y="8733"/>
                    <a:pt x="20479" y="8724"/>
                    <a:pt x="20494" y="8667"/>
                  </a:cubicBezTo>
                  <a:cubicBezTo>
                    <a:pt x="20506" y="8620"/>
                    <a:pt x="20510" y="8554"/>
                    <a:pt x="20519" y="8533"/>
                  </a:cubicBezTo>
                  <a:cubicBezTo>
                    <a:pt x="20520" y="8531"/>
                    <a:pt x="20548" y="8544"/>
                    <a:pt x="20554" y="8529"/>
                  </a:cubicBezTo>
                  <a:cubicBezTo>
                    <a:pt x="20558" y="8520"/>
                    <a:pt x="20542" y="8506"/>
                    <a:pt x="20546" y="8495"/>
                  </a:cubicBezTo>
                  <a:cubicBezTo>
                    <a:pt x="20554" y="8475"/>
                    <a:pt x="20560" y="8452"/>
                    <a:pt x="20558" y="8430"/>
                  </a:cubicBezTo>
                  <a:cubicBezTo>
                    <a:pt x="20552" y="8367"/>
                    <a:pt x="20487" y="8281"/>
                    <a:pt x="20562" y="8361"/>
                  </a:cubicBezTo>
                  <a:cubicBezTo>
                    <a:pt x="20584" y="8385"/>
                    <a:pt x="20573" y="8414"/>
                    <a:pt x="20614" y="8431"/>
                  </a:cubicBezTo>
                  <a:cubicBezTo>
                    <a:pt x="20677" y="8457"/>
                    <a:pt x="20648" y="8418"/>
                    <a:pt x="20654" y="8402"/>
                  </a:cubicBezTo>
                  <a:cubicBezTo>
                    <a:pt x="20688" y="8309"/>
                    <a:pt x="20587" y="8198"/>
                    <a:pt x="20521" y="8131"/>
                  </a:cubicBezTo>
                  <a:cubicBezTo>
                    <a:pt x="20521" y="8132"/>
                    <a:pt x="20416" y="8164"/>
                    <a:pt x="20498" y="8083"/>
                  </a:cubicBezTo>
                  <a:cubicBezTo>
                    <a:pt x="20542" y="8041"/>
                    <a:pt x="20581" y="8172"/>
                    <a:pt x="20579" y="8034"/>
                  </a:cubicBezTo>
                  <a:cubicBezTo>
                    <a:pt x="20579" y="8003"/>
                    <a:pt x="20547" y="8011"/>
                    <a:pt x="20562" y="7956"/>
                  </a:cubicBezTo>
                  <a:cubicBezTo>
                    <a:pt x="20571" y="7922"/>
                    <a:pt x="20609" y="7863"/>
                    <a:pt x="20630" y="7830"/>
                  </a:cubicBezTo>
                  <a:cubicBezTo>
                    <a:pt x="20679" y="7752"/>
                    <a:pt x="20554" y="7779"/>
                    <a:pt x="20524" y="7735"/>
                  </a:cubicBezTo>
                  <a:cubicBezTo>
                    <a:pt x="20565" y="7739"/>
                    <a:pt x="20567" y="7720"/>
                    <a:pt x="20544" y="7690"/>
                  </a:cubicBezTo>
                  <a:cubicBezTo>
                    <a:pt x="20601" y="7699"/>
                    <a:pt x="20591" y="7662"/>
                    <a:pt x="20614" y="7629"/>
                  </a:cubicBezTo>
                  <a:cubicBezTo>
                    <a:pt x="20645" y="7583"/>
                    <a:pt x="20608" y="7588"/>
                    <a:pt x="20676" y="7557"/>
                  </a:cubicBezTo>
                  <a:cubicBezTo>
                    <a:pt x="20729" y="7532"/>
                    <a:pt x="20825" y="7528"/>
                    <a:pt x="20742" y="7461"/>
                  </a:cubicBezTo>
                  <a:cubicBezTo>
                    <a:pt x="20768" y="7469"/>
                    <a:pt x="20793" y="7505"/>
                    <a:pt x="20821" y="7500"/>
                  </a:cubicBezTo>
                  <a:cubicBezTo>
                    <a:pt x="20861" y="7493"/>
                    <a:pt x="20910" y="7391"/>
                    <a:pt x="20928" y="7361"/>
                  </a:cubicBezTo>
                  <a:cubicBezTo>
                    <a:pt x="20960" y="7305"/>
                    <a:pt x="20963" y="7258"/>
                    <a:pt x="20982" y="7202"/>
                  </a:cubicBezTo>
                  <a:cubicBezTo>
                    <a:pt x="20989" y="7181"/>
                    <a:pt x="20994" y="7152"/>
                    <a:pt x="21003" y="7133"/>
                  </a:cubicBezTo>
                  <a:cubicBezTo>
                    <a:pt x="21006" y="7128"/>
                    <a:pt x="21040" y="7160"/>
                    <a:pt x="21042" y="7146"/>
                  </a:cubicBezTo>
                  <a:cubicBezTo>
                    <a:pt x="21043" y="7140"/>
                    <a:pt x="21030" y="7109"/>
                    <a:pt x="21030" y="7109"/>
                  </a:cubicBezTo>
                  <a:cubicBezTo>
                    <a:pt x="21037" y="7100"/>
                    <a:pt x="21015" y="7077"/>
                    <a:pt x="21019" y="7067"/>
                  </a:cubicBezTo>
                  <a:cubicBezTo>
                    <a:pt x="21027" y="7050"/>
                    <a:pt x="21066" y="7070"/>
                    <a:pt x="21073" y="7064"/>
                  </a:cubicBezTo>
                  <a:cubicBezTo>
                    <a:pt x="21095" y="7044"/>
                    <a:pt x="21118" y="7028"/>
                    <a:pt x="21131" y="6995"/>
                  </a:cubicBezTo>
                  <a:cubicBezTo>
                    <a:pt x="21161" y="7059"/>
                    <a:pt x="21207" y="6963"/>
                    <a:pt x="21229" y="6928"/>
                  </a:cubicBezTo>
                  <a:cubicBezTo>
                    <a:pt x="21245" y="6904"/>
                    <a:pt x="21254" y="6874"/>
                    <a:pt x="21287" y="6845"/>
                  </a:cubicBezTo>
                  <a:cubicBezTo>
                    <a:pt x="21343" y="6796"/>
                    <a:pt x="21310" y="6807"/>
                    <a:pt x="21375" y="6821"/>
                  </a:cubicBezTo>
                  <a:cubicBezTo>
                    <a:pt x="21444" y="6837"/>
                    <a:pt x="21437" y="6871"/>
                    <a:pt x="21520" y="6813"/>
                  </a:cubicBezTo>
                  <a:cubicBezTo>
                    <a:pt x="21536" y="6796"/>
                    <a:pt x="21590" y="6767"/>
                    <a:pt x="21600" y="6745"/>
                  </a:cubicBezTo>
                  <a:cubicBezTo>
                    <a:pt x="21600" y="6745"/>
                    <a:pt x="20959" y="6066"/>
                    <a:pt x="20959" y="6066"/>
                  </a:cubicBezTo>
                  <a:close/>
                  <a:moveTo>
                    <a:pt x="408" y="3377"/>
                  </a:moveTo>
                  <a:cubicBezTo>
                    <a:pt x="377" y="3426"/>
                    <a:pt x="372" y="3470"/>
                    <a:pt x="434" y="3455"/>
                  </a:cubicBezTo>
                  <a:cubicBezTo>
                    <a:pt x="482" y="3444"/>
                    <a:pt x="588" y="3344"/>
                    <a:pt x="619" y="3311"/>
                  </a:cubicBezTo>
                  <a:cubicBezTo>
                    <a:pt x="612" y="3311"/>
                    <a:pt x="602" y="3312"/>
                    <a:pt x="597" y="3311"/>
                  </a:cubicBezTo>
                  <a:cubicBezTo>
                    <a:pt x="619" y="3292"/>
                    <a:pt x="636" y="3270"/>
                    <a:pt x="648" y="3245"/>
                  </a:cubicBezTo>
                  <a:cubicBezTo>
                    <a:pt x="586" y="3232"/>
                    <a:pt x="443" y="3322"/>
                    <a:pt x="408" y="3377"/>
                  </a:cubicBezTo>
                  <a:close/>
                  <a:moveTo>
                    <a:pt x="9664" y="134"/>
                  </a:moveTo>
                  <a:cubicBezTo>
                    <a:pt x="9688" y="138"/>
                    <a:pt x="9716" y="135"/>
                    <a:pt x="9734" y="127"/>
                  </a:cubicBezTo>
                  <a:cubicBezTo>
                    <a:pt x="9693" y="110"/>
                    <a:pt x="9677" y="76"/>
                    <a:pt x="9677" y="34"/>
                  </a:cubicBezTo>
                  <a:cubicBezTo>
                    <a:pt x="9641" y="-8"/>
                    <a:pt x="9615" y="16"/>
                    <a:pt x="9611" y="60"/>
                  </a:cubicBezTo>
                  <a:cubicBezTo>
                    <a:pt x="9555" y="0"/>
                    <a:pt x="9496" y="-10"/>
                    <a:pt x="9434" y="9"/>
                  </a:cubicBezTo>
                  <a:cubicBezTo>
                    <a:pt x="9374" y="27"/>
                    <a:pt x="9328" y="50"/>
                    <a:pt x="9374" y="101"/>
                  </a:cubicBezTo>
                  <a:cubicBezTo>
                    <a:pt x="9448" y="180"/>
                    <a:pt x="9576" y="105"/>
                    <a:pt x="9664" y="134"/>
                  </a:cubicBezTo>
                  <a:close/>
                  <a:moveTo>
                    <a:pt x="19874" y="11383"/>
                  </a:moveTo>
                  <a:cubicBezTo>
                    <a:pt x="19829" y="11352"/>
                    <a:pt x="19771" y="11329"/>
                    <a:pt x="19720" y="11310"/>
                  </a:cubicBezTo>
                  <a:cubicBezTo>
                    <a:pt x="19597" y="11265"/>
                    <a:pt x="19504" y="11294"/>
                    <a:pt x="19378" y="11332"/>
                  </a:cubicBezTo>
                  <a:cubicBezTo>
                    <a:pt x="19305" y="11354"/>
                    <a:pt x="19261" y="11331"/>
                    <a:pt x="19192" y="11333"/>
                  </a:cubicBezTo>
                  <a:cubicBezTo>
                    <a:pt x="19137" y="11334"/>
                    <a:pt x="19097" y="11347"/>
                    <a:pt x="19041" y="11336"/>
                  </a:cubicBezTo>
                  <a:cubicBezTo>
                    <a:pt x="19008" y="11329"/>
                    <a:pt x="18976" y="11295"/>
                    <a:pt x="18933" y="11292"/>
                  </a:cubicBezTo>
                  <a:cubicBezTo>
                    <a:pt x="18885" y="11289"/>
                    <a:pt x="18826" y="11303"/>
                    <a:pt x="18777" y="11308"/>
                  </a:cubicBezTo>
                  <a:cubicBezTo>
                    <a:pt x="18692" y="11316"/>
                    <a:pt x="18599" y="11332"/>
                    <a:pt x="18513" y="11343"/>
                  </a:cubicBezTo>
                  <a:cubicBezTo>
                    <a:pt x="18345" y="11363"/>
                    <a:pt x="18146" y="11377"/>
                    <a:pt x="17973" y="11447"/>
                  </a:cubicBezTo>
                  <a:cubicBezTo>
                    <a:pt x="17793" y="11511"/>
                    <a:pt x="17620" y="11573"/>
                    <a:pt x="17432" y="11614"/>
                  </a:cubicBezTo>
                  <a:cubicBezTo>
                    <a:pt x="17331" y="11637"/>
                    <a:pt x="17304" y="11672"/>
                    <a:pt x="17232" y="11735"/>
                  </a:cubicBezTo>
                  <a:cubicBezTo>
                    <a:pt x="17182" y="11779"/>
                    <a:pt x="17130" y="11822"/>
                    <a:pt x="17183" y="11865"/>
                  </a:cubicBezTo>
                  <a:cubicBezTo>
                    <a:pt x="17182" y="11865"/>
                    <a:pt x="17262" y="11888"/>
                    <a:pt x="17265" y="11888"/>
                  </a:cubicBezTo>
                  <a:cubicBezTo>
                    <a:pt x="17330" y="11877"/>
                    <a:pt x="17266" y="11848"/>
                    <a:pt x="17308" y="11841"/>
                  </a:cubicBezTo>
                  <a:cubicBezTo>
                    <a:pt x="17332" y="11837"/>
                    <a:pt x="17364" y="11864"/>
                    <a:pt x="17387" y="11867"/>
                  </a:cubicBezTo>
                  <a:cubicBezTo>
                    <a:pt x="17421" y="11872"/>
                    <a:pt x="17461" y="11866"/>
                    <a:pt x="17495" y="11862"/>
                  </a:cubicBezTo>
                  <a:cubicBezTo>
                    <a:pt x="17559" y="11855"/>
                    <a:pt x="17623" y="11835"/>
                    <a:pt x="17688" y="11826"/>
                  </a:cubicBezTo>
                  <a:cubicBezTo>
                    <a:pt x="17803" y="11812"/>
                    <a:pt x="17962" y="11823"/>
                    <a:pt x="18070" y="11867"/>
                  </a:cubicBezTo>
                  <a:cubicBezTo>
                    <a:pt x="18127" y="11890"/>
                    <a:pt x="18150" y="11925"/>
                    <a:pt x="18198" y="11959"/>
                  </a:cubicBezTo>
                  <a:cubicBezTo>
                    <a:pt x="18265" y="12004"/>
                    <a:pt x="18342" y="11968"/>
                    <a:pt x="18421" y="11954"/>
                  </a:cubicBezTo>
                  <a:cubicBezTo>
                    <a:pt x="18553" y="11932"/>
                    <a:pt x="18682" y="11963"/>
                    <a:pt x="18820" y="11931"/>
                  </a:cubicBezTo>
                  <a:cubicBezTo>
                    <a:pt x="18955" y="11901"/>
                    <a:pt x="19089" y="11869"/>
                    <a:pt x="19218" y="11820"/>
                  </a:cubicBezTo>
                  <a:cubicBezTo>
                    <a:pt x="19286" y="11795"/>
                    <a:pt x="19351" y="11776"/>
                    <a:pt x="19424" y="11766"/>
                  </a:cubicBezTo>
                  <a:cubicBezTo>
                    <a:pt x="19532" y="11751"/>
                    <a:pt x="19529" y="11734"/>
                    <a:pt x="19608" y="11682"/>
                  </a:cubicBezTo>
                  <a:cubicBezTo>
                    <a:pt x="19708" y="11616"/>
                    <a:pt x="19833" y="11591"/>
                    <a:pt x="19896" y="11497"/>
                  </a:cubicBezTo>
                  <a:cubicBezTo>
                    <a:pt x="19924" y="11455"/>
                    <a:pt x="19925" y="11493"/>
                    <a:pt x="19923" y="11444"/>
                  </a:cubicBezTo>
                  <a:cubicBezTo>
                    <a:pt x="19920" y="11379"/>
                    <a:pt x="19920" y="11414"/>
                    <a:pt x="19874" y="11383"/>
                  </a:cubicBezTo>
                  <a:close/>
                  <a:moveTo>
                    <a:pt x="21592" y="6700"/>
                  </a:moveTo>
                  <a:cubicBezTo>
                    <a:pt x="21592" y="6700"/>
                    <a:pt x="21592" y="6700"/>
                    <a:pt x="21592" y="6700"/>
                  </a:cubicBezTo>
                  <a:cubicBezTo>
                    <a:pt x="21592" y="6700"/>
                    <a:pt x="21592" y="6700"/>
                    <a:pt x="21592" y="6700"/>
                  </a:cubicBezTo>
                  <a:cubicBezTo>
                    <a:pt x="21592" y="6700"/>
                    <a:pt x="21592" y="6700"/>
                    <a:pt x="21592" y="6700"/>
                  </a:cubicBezTo>
                  <a:close/>
                  <a:moveTo>
                    <a:pt x="21592" y="6700"/>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82" name="AutoShape 8"/>
            <p:cNvSpPr>
              <a:spLocks/>
            </p:cNvSpPr>
            <p:nvPr/>
          </p:nvSpPr>
          <p:spPr bwMode="auto">
            <a:xfrm>
              <a:off x="-896373" y="-55827"/>
              <a:ext cx="784225" cy="1212850"/>
            </a:xfrm>
            <a:custGeom>
              <a:avLst/>
              <a:gdLst/>
              <a:ahLst/>
              <a:cxnLst/>
              <a:rect l="0" t="0" r="r" b="b"/>
              <a:pathLst>
                <a:path w="21363" h="21600">
                  <a:moveTo>
                    <a:pt x="14915" y="808"/>
                  </a:moveTo>
                  <a:cubicBezTo>
                    <a:pt x="14982" y="780"/>
                    <a:pt x="15036" y="771"/>
                    <a:pt x="15104" y="763"/>
                  </a:cubicBezTo>
                  <a:cubicBezTo>
                    <a:pt x="15178" y="754"/>
                    <a:pt x="15241" y="835"/>
                    <a:pt x="15175" y="707"/>
                  </a:cubicBezTo>
                  <a:cubicBezTo>
                    <a:pt x="15110" y="582"/>
                    <a:pt x="14942" y="613"/>
                    <a:pt x="14804" y="673"/>
                  </a:cubicBezTo>
                  <a:cubicBezTo>
                    <a:pt x="14892" y="689"/>
                    <a:pt x="14900" y="752"/>
                    <a:pt x="14915" y="808"/>
                  </a:cubicBezTo>
                  <a:close/>
                  <a:moveTo>
                    <a:pt x="20963" y="20081"/>
                  </a:moveTo>
                  <a:cubicBezTo>
                    <a:pt x="21384" y="20081"/>
                    <a:pt x="21541" y="19617"/>
                    <a:pt x="21094" y="19617"/>
                  </a:cubicBezTo>
                  <a:cubicBezTo>
                    <a:pt x="20647" y="19617"/>
                    <a:pt x="20029" y="19763"/>
                    <a:pt x="19806" y="19617"/>
                  </a:cubicBezTo>
                  <a:cubicBezTo>
                    <a:pt x="19582" y="19470"/>
                    <a:pt x="19780" y="19290"/>
                    <a:pt x="19306" y="19358"/>
                  </a:cubicBezTo>
                  <a:cubicBezTo>
                    <a:pt x="18833" y="19427"/>
                    <a:pt x="18544" y="19565"/>
                    <a:pt x="18334" y="19427"/>
                  </a:cubicBezTo>
                  <a:cubicBezTo>
                    <a:pt x="18123" y="19290"/>
                    <a:pt x="17965" y="19083"/>
                    <a:pt x="18070" y="18688"/>
                  </a:cubicBezTo>
                  <a:cubicBezTo>
                    <a:pt x="18176" y="18292"/>
                    <a:pt x="18452" y="18146"/>
                    <a:pt x="18176" y="17965"/>
                  </a:cubicBezTo>
                  <a:cubicBezTo>
                    <a:pt x="17900" y="17784"/>
                    <a:pt x="17781" y="17741"/>
                    <a:pt x="17781" y="17500"/>
                  </a:cubicBezTo>
                  <a:cubicBezTo>
                    <a:pt x="17781" y="17259"/>
                    <a:pt x="17663" y="17182"/>
                    <a:pt x="17479" y="17062"/>
                  </a:cubicBezTo>
                  <a:cubicBezTo>
                    <a:pt x="17295" y="16941"/>
                    <a:pt x="17623" y="16571"/>
                    <a:pt x="17295" y="16503"/>
                  </a:cubicBezTo>
                  <a:cubicBezTo>
                    <a:pt x="16966" y="16434"/>
                    <a:pt x="16467" y="16451"/>
                    <a:pt x="16467" y="16262"/>
                  </a:cubicBezTo>
                  <a:cubicBezTo>
                    <a:pt x="16467" y="16072"/>
                    <a:pt x="16848" y="15771"/>
                    <a:pt x="16624" y="15625"/>
                  </a:cubicBezTo>
                  <a:cubicBezTo>
                    <a:pt x="16401" y="15479"/>
                    <a:pt x="16835" y="15401"/>
                    <a:pt x="16730" y="15143"/>
                  </a:cubicBezTo>
                  <a:cubicBezTo>
                    <a:pt x="16624" y="14885"/>
                    <a:pt x="16454" y="14790"/>
                    <a:pt x="16624" y="14679"/>
                  </a:cubicBezTo>
                  <a:cubicBezTo>
                    <a:pt x="16795" y="14567"/>
                    <a:pt x="17006" y="14361"/>
                    <a:pt x="16809" y="14231"/>
                  </a:cubicBezTo>
                  <a:cubicBezTo>
                    <a:pt x="16611" y="14102"/>
                    <a:pt x="16835" y="13870"/>
                    <a:pt x="16835" y="13870"/>
                  </a:cubicBezTo>
                  <a:cubicBezTo>
                    <a:pt x="16835" y="13870"/>
                    <a:pt x="17282" y="13543"/>
                    <a:pt x="17071" y="13406"/>
                  </a:cubicBezTo>
                  <a:cubicBezTo>
                    <a:pt x="16861" y="13268"/>
                    <a:pt x="17374" y="13191"/>
                    <a:pt x="17124" y="13027"/>
                  </a:cubicBezTo>
                  <a:cubicBezTo>
                    <a:pt x="16874" y="12864"/>
                    <a:pt x="16598" y="12821"/>
                    <a:pt x="16598" y="12511"/>
                  </a:cubicBezTo>
                  <a:cubicBezTo>
                    <a:pt x="16598" y="12201"/>
                    <a:pt x="17072" y="12046"/>
                    <a:pt x="16519" y="11857"/>
                  </a:cubicBezTo>
                  <a:cubicBezTo>
                    <a:pt x="15967" y="11668"/>
                    <a:pt x="15704" y="11823"/>
                    <a:pt x="15836" y="11582"/>
                  </a:cubicBezTo>
                  <a:cubicBezTo>
                    <a:pt x="15967" y="11341"/>
                    <a:pt x="15928" y="11075"/>
                    <a:pt x="15678" y="10911"/>
                  </a:cubicBezTo>
                  <a:cubicBezTo>
                    <a:pt x="15428" y="10747"/>
                    <a:pt x="15625" y="10876"/>
                    <a:pt x="15625" y="10618"/>
                  </a:cubicBezTo>
                  <a:cubicBezTo>
                    <a:pt x="15625" y="10360"/>
                    <a:pt x="16072" y="10378"/>
                    <a:pt x="15915" y="10274"/>
                  </a:cubicBezTo>
                  <a:cubicBezTo>
                    <a:pt x="15757" y="10171"/>
                    <a:pt x="15573" y="9965"/>
                    <a:pt x="15862" y="9965"/>
                  </a:cubicBezTo>
                  <a:cubicBezTo>
                    <a:pt x="16151" y="9965"/>
                    <a:pt x="16151" y="9689"/>
                    <a:pt x="16493" y="9689"/>
                  </a:cubicBezTo>
                  <a:cubicBezTo>
                    <a:pt x="16835" y="9689"/>
                    <a:pt x="16835" y="9552"/>
                    <a:pt x="16835" y="9380"/>
                  </a:cubicBezTo>
                  <a:cubicBezTo>
                    <a:pt x="16835" y="9208"/>
                    <a:pt x="16730" y="9001"/>
                    <a:pt x="16835" y="9001"/>
                  </a:cubicBezTo>
                  <a:cubicBezTo>
                    <a:pt x="16940" y="9001"/>
                    <a:pt x="17282" y="8709"/>
                    <a:pt x="16940" y="8709"/>
                  </a:cubicBezTo>
                  <a:cubicBezTo>
                    <a:pt x="16598" y="8709"/>
                    <a:pt x="16756" y="8545"/>
                    <a:pt x="16348" y="8545"/>
                  </a:cubicBezTo>
                  <a:cubicBezTo>
                    <a:pt x="15941" y="8545"/>
                    <a:pt x="15481" y="8700"/>
                    <a:pt x="15711" y="8395"/>
                  </a:cubicBezTo>
                  <a:cubicBezTo>
                    <a:pt x="15941" y="8089"/>
                    <a:pt x="16230" y="7866"/>
                    <a:pt x="16230" y="7677"/>
                  </a:cubicBezTo>
                  <a:cubicBezTo>
                    <a:pt x="16230" y="7487"/>
                    <a:pt x="16269" y="7307"/>
                    <a:pt x="16493" y="7160"/>
                  </a:cubicBezTo>
                  <a:cubicBezTo>
                    <a:pt x="16717" y="7014"/>
                    <a:pt x="17045" y="6799"/>
                    <a:pt x="16546" y="6661"/>
                  </a:cubicBezTo>
                  <a:cubicBezTo>
                    <a:pt x="16046" y="6524"/>
                    <a:pt x="15809" y="6386"/>
                    <a:pt x="15336" y="6266"/>
                  </a:cubicBezTo>
                  <a:cubicBezTo>
                    <a:pt x="14863" y="6145"/>
                    <a:pt x="14442" y="6524"/>
                    <a:pt x="14547" y="5973"/>
                  </a:cubicBezTo>
                  <a:cubicBezTo>
                    <a:pt x="14653" y="5423"/>
                    <a:pt x="14744" y="5362"/>
                    <a:pt x="14994" y="5199"/>
                  </a:cubicBezTo>
                  <a:cubicBezTo>
                    <a:pt x="15244" y="5036"/>
                    <a:pt x="14955" y="4924"/>
                    <a:pt x="15099" y="4649"/>
                  </a:cubicBezTo>
                  <a:cubicBezTo>
                    <a:pt x="15244" y="4373"/>
                    <a:pt x="15744" y="4382"/>
                    <a:pt x="15868" y="3965"/>
                  </a:cubicBezTo>
                  <a:cubicBezTo>
                    <a:pt x="15993" y="3547"/>
                    <a:pt x="15914" y="3444"/>
                    <a:pt x="16256" y="3220"/>
                  </a:cubicBezTo>
                  <a:cubicBezTo>
                    <a:pt x="16389" y="3133"/>
                    <a:pt x="16510" y="2978"/>
                    <a:pt x="16608" y="2790"/>
                  </a:cubicBezTo>
                  <a:cubicBezTo>
                    <a:pt x="16554" y="2755"/>
                    <a:pt x="16495" y="2720"/>
                    <a:pt x="16428" y="2683"/>
                  </a:cubicBezTo>
                  <a:cubicBezTo>
                    <a:pt x="16198" y="2657"/>
                    <a:pt x="16119" y="2644"/>
                    <a:pt x="16004" y="2495"/>
                  </a:cubicBezTo>
                  <a:cubicBezTo>
                    <a:pt x="15948" y="2422"/>
                    <a:pt x="15849" y="2417"/>
                    <a:pt x="15779" y="2365"/>
                  </a:cubicBezTo>
                  <a:cubicBezTo>
                    <a:pt x="15722" y="2323"/>
                    <a:pt x="15726" y="2259"/>
                    <a:pt x="15701" y="2221"/>
                  </a:cubicBezTo>
                  <a:cubicBezTo>
                    <a:pt x="15590" y="2049"/>
                    <a:pt x="15356" y="1913"/>
                    <a:pt x="15241" y="1741"/>
                  </a:cubicBezTo>
                  <a:cubicBezTo>
                    <a:pt x="15193" y="1669"/>
                    <a:pt x="15175" y="1598"/>
                    <a:pt x="15194" y="1519"/>
                  </a:cubicBezTo>
                  <a:cubicBezTo>
                    <a:pt x="15200" y="1495"/>
                    <a:pt x="15309" y="1407"/>
                    <a:pt x="15202" y="1416"/>
                  </a:cubicBezTo>
                  <a:cubicBezTo>
                    <a:pt x="15143" y="1420"/>
                    <a:pt x="15184" y="1481"/>
                    <a:pt x="15100" y="1490"/>
                  </a:cubicBezTo>
                  <a:cubicBezTo>
                    <a:pt x="14944" y="1505"/>
                    <a:pt x="14979" y="1374"/>
                    <a:pt x="14976" y="1301"/>
                  </a:cubicBezTo>
                  <a:cubicBezTo>
                    <a:pt x="14972" y="1217"/>
                    <a:pt x="14930" y="1163"/>
                    <a:pt x="14895" y="1082"/>
                  </a:cubicBezTo>
                  <a:cubicBezTo>
                    <a:pt x="14864" y="1011"/>
                    <a:pt x="14906" y="930"/>
                    <a:pt x="14882" y="865"/>
                  </a:cubicBezTo>
                  <a:cubicBezTo>
                    <a:pt x="14829" y="719"/>
                    <a:pt x="14540" y="638"/>
                    <a:pt x="14454" y="498"/>
                  </a:cubicBezTo>
                  <a:cubicBezTo>
                    <a:pt x="14481" y="515"/>
                    <a:pt x="14510" y="530"/>
                    <a:pt x="14536" y="551"/>
                  </a:cubicBezTo>
                  <a:cubicBezTo>
                    <a:pt x="14403" y="416"/>
                    <a:pt x="14265" y="400"/>
                    <a:pt x="14053" y="327"/>
                  </a:cubicBezTo>
                  <a:cubicBezTo>
                    <a:pt x="13833" y="250"/>
                    <a:pt x="13664" y="113"/>
                    <a:pt x="13487" y="0"/>
                  </a:cubicBezTo>
                  <a:cubicBezTo>
                    <a:pt x="12516" y="1031"/>
                    <a:pt x="11547" y="2063"/>
                    <a:pt x="10578" y="3095"/>
                  </a:cubicBezTo>
                  <a:cubicBezTo>
                    <a:pt x="9484" y="4260"/>
                    <a:pt x="8391" y="5426"/>
                    <a:pt x="7294" y="6590"/>
                  </a:cubicBezTo>
                  <a:cubicBezTo>
                    <a:pt x="5948" y="8019"/>
                    <a:pt x="4604" y="9449"/>
                    <a:pt x="3264" y="10880"/>
                  </a:cubicBezTo>
                  <a:cubicBezTo>
                    <a:pt x="2525" y="11669"/>
                    <a:pt x="1782" y="12455"/>
                    <a:pt x="1042" y="13243"/>
                  </a:cubicBezTo>
                  <a:cubicBezTo>
                    <a:pt x="698" y="13609"/>
                    <a:pt x="338" y="13971"/>
                    <a:pt x="10" y="14343"/>
                  </a:cubicBezTo>
                  <a:cubicBezTo>
                    <a:pt x="-59" y="14423"/>
                    <a:pt x="237" y="14738"/>
                    <a:pt x="376" y="14759"/>
                  </a:cubicBezTo>
                  <a:cubicBezTo>
                    <a:pt x="470" y="14774"/>
                    <a:pt x="523" y="14645"/>
                    <a:pt x="627" y="14750"/>
                  </a:cubicBezTo>
                  <a:cubicBezTo>
                    <a:pt x="728" y="14853"/>
                    <a:pt x="830" y="14956"/>
                    <a:pt x="932" y="15058"/>
                  </a:cubicBezTo>
                  <a:cubicBezTo>
                    <a:pt x="1128" y="15067"/>
                    <a:pt x="1319" y="14971"/>
                    <a:pt x="1507" y="14983"/>
                  </a:cubicBezTo>
                  <a:cubicBezTo>
                    <a:pt x="1646" y="14991"/>
                    <a:pt x="1817" y="15083"/>
                    <a:pt x="1938" y="15125"/>
                  </a:cubicBezTo>
                  <a:cubicBezTo>
                    <a:pt x="2199" y="15216"/>
                    <a:pt x="2237" y="15246"/>
                    <a:pt x="2008" y="15407"/>
                  </a:cubicBezTo>
                  <a:cubicBezTo>
                    <a:pt x="1809" y="15547"/>
                    <a:pt x="1750" y="15573"/>
                    <a:pt x="1780" y="15782"/>
                  </a:cubicBezTo>
                  <a:cubicBezTo>
                    <a:pt x="1780" y="15782"/>
                    <a:pt x="1781" y="15783"/>
                    <a:pt x="1782" y="15784"/>
                  </a:cubicBezTo>
                  <a:cubicBezTo>
                    <a:pt x="4946" y="17131"/>
                    <a:pt x="11684" y="19681"/>
                    <a:pt x="21210" y="21600"/>
                  </a:cubicBezTo>
                  <a:cubicBezTo>
                    <a:pt x="21213" y="21467"/>
                    <a:pt x="21198" y="21317"/>
                    <a:pt x="21147" y="21148"/>
                  </a:cubicBezTo>
                  <a:cubicBezTo>
                    <a:pt x="20963" y="20546"/>
                    <a:pt x="20542" y="20081"/>
                    <a:pt x="20963" y="20081"/>
                  </a:cubicBezTo>
                  <a:close/>
                  <a:moveTo>
                    <a:pt x="20963" y="20081"/>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83" name="AutoShape 9"/>
            <p:cNvSpPr>
              <a:spLocks/>
            </p:cNvSpPr>
            <p:nvPr/>
          </p:nvSpPr>
          <p:spPr bwMode="auto">
            <a:xfrm>
              <a:off x="-832873" y="833173"/>
              <a:ext cx="1041400" cy="1511300"/>
            </a:xfrm>
            <a:custGeom>
              <a:avLst/>
              <a:gdLst/>
              <a:ahLst/>
              <a:cxnLst/>
              <a:rect l="0" t="0" r="r" b="b"/>
              <a:pathLst>
                <a:path w="21600" h="21600">
                  <a:moveTo>
                    <a:pt x="6910" y="17540"/>
                  </a:moveTo>
                  <a:cubicBezTo>
                    <a:pt x="6963" y="17479"/>
                    <a:pt x="6907" y="17391"/>
                    <a:pt x="6901" y="17327"/>
                  </a:cubicBezTo>
                  <a:cubicBezTo>
                    <a:pt x="6797" y="17379"/>
                    <a:pt x="6702" y="17465"/>
                    <a:pt x="6774" y="17541"/>
                  </a:cubicBezTo>
                  <a:cubicBezTo>
                    <a:pt x="6654" y="17648"/>
                    <a:pt x="6885" y="17569"/>
                    <a:pt x="6910" y="17540"/>
                  </a:cubicBezTo>
                  <a:close/>
                  <a:moveTo>
                    <a:pt x="7932" y="20038"/>
                  </a:moveTo>
                  <a:cubicBezTo>
                    <a:pt x="7934" y="20012"/>
                    <a:pt x="7952" y="19924"/>
                    <a:pt x="7941" y="19903"/>
                  </a:cubicBezTo>
                  <a:cubicBezTo>
                    <a:pt x="7898" y="19813"/>
                    <a:pt x="7893" y="19880"/>
                    <a:pt x="7863" y="19909"/>
                  </a:cubicBezTo>
                  <a:cubicBezTo>
                    <a:pt x="7817" y="19952"/>
                    <a:pt x="7752" y="20008"/>
                    <a:pt x="7683" y="20043"/>
                  </a:cubicBezTo>
                  <a:cubicBezTo>
                    <a:pt x="7690" y="20012"/>
                    <a:pt x="7717" y="20003"/>
                    <a:pt x="7738" y="19974"/>
                  </a:cubicBezTo>
                  <a:cubicBezTo>
                    <a:pt x="7760" y="19943"/>
                    <a:pt x="7732" y="19919"/>
                    <a:pt x="7738" y="19891"/>
                  </a:cubicBezTo>
                  <a:cubicBezTo>
                    <a:pt x="7754" y="19815"/>
                    <a:pt x="7753" y="19828"/>
                    <a:pt x="7719" y="19762"/>
                  </a:cubicBezTo>
                  <a:cubicBezTo>
                    <a:pt x="7661" y="19649"/>
                    <a:pt x="7716" y="19766"/>
                    <a:pt x="7783" y="19712"/>
                  </a:cubicBezTo>
                  <a:cubicBezTo>
                    <a:pt x="7821" y="19682"/>
                    <a:pt x="7761" y="19675"/>
                    <a:pt x="7762" y="19666"/>
                  </a:cubicBezTo>
                  <a:cubicBezTo>
                    <a:pt x="7763" y="19658"/>
                    <a:pt x="7791" y="19636"/>
                    <a:pt x="7790" y="19632"/>
                  </a:cubicBezTo>
                  <a:cubicBezTo>
                    <a:pt x="7781" y="19602"/>
                    <a:pt x="7765" y="19584"/>
                    <a:pt x="7745" y="19551"/>
                  </a:cubicBezTo>
                  <a:cubicBezTo>
                    <a:pt x="7713" y="19497"/>
                    <a:pt x="7676" y="19450"/>
                    <a:pt x="7637" y="19400"/>
                  </a:cubicBezTo>
                  <a:cubicBezTo>
                    <a:pt x="7623" y="19382"/>
                    <a:pt x="7571" y="19347"/>
                    <a:pt x="7583" y="19323"/>
                  </a:cubicBezTo>
                  <a:cubicBezTo>
                    <a:pt x="7598" y="19294"/>
                    <a:pt x="7644" y="19339"/>
                    <a:pt x="7636" y="19342"/>
                  </a:cubicBezTo>
                  <a:cubicBezTo>
                    <a:pt x="7631" y="19344"/>
                    <a:pt x="7678" y="19365"/>
                    <a:pt x="7698" y="19305"/>
                  </a:cubicBezTo>
                  <a:cubicBezTo>
                    <a:pt x="7709" y="19273"/>
                    <a:pt x="7689" y="19261"/>
                    <a:pt x="7680" y="19227"/>
                  </a:cubicBezTo>
                  <a:cubicBezTo>
                    <a:pt x="7667" y="19183"/>
                    <a:pt x="7682" y="19181"/>
                    <a:pt x="7644" y="19145"/>
                  </a:cubicBezTo>
                  <a:cubicBezTo>
                    <a:pt x="7613" y="19116"/>
                    <a:pt x="7574" y="19131"/>
                    <a:pt x="7549" y="19097"/>
                  </a:cubicBezTo>
                  <a:cubicBezTo>
                    <a:pt x="7499" y="19027"/>
                    <a:pt x="7592" y="19010"/>
                    <a:pt x="7521" y="18952"/>
                  </a:cubicBezTo>
                  <a:cubicBezTo>
                    <a:pt x="7482" y="18919"/>
                    <a:pt x="7357" y="18883"/>
                    <a:pt x="7304" y="18872"/>
                  </a:cubicBezTo>
                  <a:cubicBezTo>
                    <a:pt x="7498" y="18879"/>
                    <a:pt x="7277" y="18785"/>
                    <a:pt x="7227" y="18760"/>
                  </a:cubicBezTo>
                  <a:cubicBezTo>
                    <a:pt x="7147" y="18719"/>
                    <a:pt x="7071" y="18671"/>
                    <a:pt x="6978" y="18631"/>
                  </a:cubicBezTo>
                  <a:cubicBezTo>
                    <a:pt x="6871" y="18585"/>
                    <a:pt x="6854" y="18531"/>
                    <a:pt x="6781" y="18475"/>
                  </a:cubicBezTo>
                  <a:cubicBezTo>
                    <a:pt x="6706" y="18416"/>
                    <a:pt x="6648" y="18419"/>
                    <a:pt x="6624" y="18336"/>
                  </a:cubicBezTo>
                  <a:cubicBezTo>
                    <a:pt x="6608" y="18282"/>
                    <a:pt x="6618" y="18223"/>
                    <a:pt x="6599" y="18170"/>
                  </a:cubicBezTo>
                  <a:cubicBezTo>
                    <a:pt x="6595" y="18160"/>
                    <a:pt x="6545" y="18087"/>
                    <a:pt x="6544" y="18088"/>
                  </a:cubicBezTo>
                  <a:cubicBezTo>
                    <a:pt x="6581" y="18047"/>
                    <a:pt x="6615" y="18122"/>
                    <a:pt x="6651" y="18110"/>
                  </a:cubicBezTo>
                  <a:cubicBezTo>
                    <a:pt x="6776" y="18069"/>
                    <a:pt x="6575" y="17878"/>
                    <a:pt x="6529" y="17809"/>
                  </a:cubicBezTo>
                  <a:cubicBezTo>
                    <a:pt x="6453" y="17695"/>
                    <a:pt x="6475" y="17591"/>
                    <a:pt x="6448" y="17477"/>
                  </a:cubicBezTo>
                  <a:cubicBezTo>
                    <a:pt x="6437" y="17433"/>
                    <a:pt x="6347" y="17351"/>
                    <a:pt x="6373" y="17325"/>
                  </a:cubicBezTo>
                  <a:cubicBezTo>
                    <a:pt x="6405" y="17290"/>
                    <a:pt x="6384" y="17187"/>
                    <a:pt x="6385" y="17144"/>
                  </a:cubicBezTo>
                  <a:cubicBezTo>
                    <a:pt x="6387" y="17072"/>
                    <a:pt x="6384" y="17040"/>
                    <a:pt x="6291" y="16993"/>
                  </a:cubicBezTo>
                  <a:cubicBezTo>
                    <a:pt x="6215" y="16955"/>
                    <a:pt x="6129" y="16963"/>
                    <a:pt x="6048" y="16932"/>
                  </a:cubicBezTo>
                  <a:cubicBezTo>
                    <a:pt x="5896" y="16873"/>
                    <a:pt x="5797" y="16791"/>
                    <a:pt x="5671" y="16710"/>
                  </a:cubicBezTo>
                  <a:cubicBezTo>
                    <a:pt x="5542" y="16626"/>
                    <a:pt x="5358" y="16567"/>
                    <a:pt x="5193" y="16529"/>
                  </a:cubicBezTo>
                  <a:cubicBezTo>
                    <a:pt x="5088" y="16505"/>
                    <a:pt x="5076" y="16490"/>
                    <a:pt x="5004" y="16434"/>
                  </a:cubicBezTo>
                  <a:cubicBezTo>
                    <a:pt x="4948" y="16390"/>
                    <a:pt x="4867" y="16326"/>
                    <a:pt x="4778" y="16354"/>
                  </a:cubicBezTo>
                  <a:cubicBezTo>
                    <a:pt x="4822" y="16302"/>
                    <a:pt x="4734" y="16314"/>
                    <a:pt x="4692" y="16286"/>
                  </a:cubicBezTo>
                  <a:cubicBezTo>
                    <a:pt x="4661" y="16265"/>
                    <a:pt x="4661" y="16244"/>
                    <a:pt x="4637" y="16230"/>
                  </a:cubicBezTo>
                  <a:cubicBezTo>
                    <a:pt x="4556" y="16184"/>
                    <a:pt x="4484" y="16171"/>
                    <a:pt x="4405" y="16122"/>
                  </a:cubicBezTo>
                  <a:cubicBezTo>
                    <a:pt x="4362" y="16095"/>
                    <a:pt x="4284" y="16010"/>
                    <a:pt x="4261" y="15975"/>
                  </a:cubicBezTo>
                  <a:cubicBezTo>
                    <a:pt x="4224" y="15919"/>
                    <a:pt x="4248" y="15851"/>
                    <a:pt x="4140" y="15927"/>
                  </a:cubicBezTo>
                  <a:cubicBezTo>
                    <a:pt x="4132" y="15846"/>
                    <a:pt x="4169" y="15854"/>
                    <a:pt x="4088" y="15789"/>
                  </a:cubicBezTo>
                  <a:cubicBezTo>
                    <a:pt x="4041" y="15751"/>
                    <a:pt x="3984" y="15715"/>
                    <a:pt x="3930" y="15683"/>
                  </a:cubicBezTo>
                  <a:cubicBezTo>
                    <a:pt x="3879" y="15652"/>
                    <a:pt x="3819" y="15617"/>
                    <a:pt x="3768" y="15592"/>
                  </a:cubicBezTo>
                  <a:cubicBezTo>
                    <a:pt x="3697" y="15559"/>
                    <a:pt x="3664" y="15567"/>
                    <a:pt x="3581" y="15552"/>
                  </a:cubicBezTo>
                  <a:cubicBezTo>
                    <a:pt x="3551" y="15546"/>
                    <a:pt x="3546" y="15523"/>
                    <a:pt x="3502" y="15516"/>
                  </a:cubicBezTo>
                  <a:cubicBezTo>
                    <a:pt x="3480" y="15512"/>
                    <a:pt x="3425" y="15526"/>
                    <a:pt x="3404" y="15528"/>
                  </a:cubicBezTo>
                  <a:cubicBezTo>
                    <a:pt x="3347" y="15532"/>
                    <a:pt x="3270" y="15531"/>
                    <a:pt x="3205" y="15534"/>
                  </a:cubicBezTo>
                  <a:cubicBezTo>
                    <a:pt x="3102" y="15540"/>
                    <a:pt x="3070" y="15494"/>
                    <a:pt x="3032" y="15588"/>
                  </a:cubicBezTo>
                  <a:cubicBezTo>
                    <a:pt x="3009" y="15645"/>
                    <a:pt x="3035" y="15702"/>
                    <a:pt x="3128" y="15707"/>
                  </a:cubicBezTo>
                  <a:cubicBezTo>
                    <a:pt x="2995" y="15733"/>
                    <a:pt x="3044" y="15772"/>
                    <a:pt x="3089" y="15850"/>
                  </a:cubicBezTo>
                  <a:cubicBezTo>
                    <a:pt x="3132" y="15925"/>
                    <a:pt x="3124" y="16040"/>
                    <a:pt x="3269" y="16064"/>
                  </a:cubicBezTo>
                  <a:cubicBezTo>
                    <a:pt x="3257" y="16002"/>
                    <a:pt x="3399" y="16074"/>
                    <a:pt x="3477" y="16086"/>
                  </a:cubicBezTo>
                  <a:cubicBezTo>
                    <a:pt x="3492" y="16088"/>
                    <a:pt x="3516" y="16071"/>
                    <a:pt x="3539" y="16073"/>
                  </a:cubicBezTo>
                  <a:cubicBezTo>
                    <a:pt x="3561" y="16075"/>
                    <a:pt x="3572" y="16102"/>
                    <a:pt x="3602" y="16105"/>
                  </a:cubicBezTo>
                  <a:cubicBezTo>
                    <a:pt x="3643" y="16108"/>
                    <a:pt x="3696" y="16098"/>
                    <a:pt x="3739" y="16099"/>
                  </a:cubicBezTo>
                  <a:cubicBezTo>
                    <a:pt x="3814" y="16100"/>
                    <a:pt x="3965" y="16112"/>
                    <a:pt x="3830" y="16039"/>
                  </a:cubicBezTo>
                  <a:cubicBezTo>
                    <a:pt x="3742" y="15991"/>
                    <a:pt x="3664" y="15993"/>
                    <a:pt x="3600" y="15922"/>
                  </a:cubicBezTo>
                  <a:cubicBezTo>
                    <a:pt x="3692" y="15955"/>
                    <a:pt x="3790" y="15980"/>
                    <a:pt x="3878" y="16019"/>
                  </a:cubicBezTo>
                  <a:cubicBezTo>
                    <a:pt x="3928" y="16040"/>
                    <a:pt x="3982" y="16056"/>
                    <a:pt x="4023" y="16072"/>
                  </a:cubicBezTo>
                  <a:cubicBezTo>
                    <a:pt x="4069" y="16091"/>
                    <a:pt x="4144" y="16072"/>
                    <a:pt x="4094" y="16111"/>
                  </a:cubicBezTo>
                  <a:cubicBezTo>
                    <a:pt x="4092" y="16112"/>
                    <a:pt x="3968" y="16114"/>
                    <a:pt x="3948" y="16123"/>
                  </a:cubicBezTo>
                  <a:cubicBezTo>
                    <a:pt x="3896" y="16146"/>
                    <a:pt x="3898" y="16143"/>
                    <a:pt x="3892" y="16185"/>
                  </a:cubicBezTo>
                  <a:cubicBezTo>
                    <a:pt x="3885" y="16236"/>
                    <a:pt x="3934" y="16315"/>
                    <a:pt x="3933" y="16371"/>
                  </a:cubicBezTo>
                  <a:cubicBezTo>
                    <a:pt x="3871" y="16327"/>
                    <a:pt x="3906" y="16241"/>
                    <a:pt x="3857" y="16196"/>
                  </a:cubicBezTo>
                  <a:cubicBezTo>
                    <a:pt x="3819" y="16161"/>
                    <a:pt x="3705" y="16137"/>
                    <a:pt x="3647" y="16129"/>
                  </a:cubicBezTo>
                  <a:cubicBezTo>
                    <a:pt x="3609" y="16124"/>
                    <a:pt x="3557" y="16129"/>
                    <a:pt x="3520" y="16127"/>
                  </a:cubicBezTo>
                  <a:cubicBezTo>
                    <a:pt x="3499" y="16126"/>
                    <a:pt x="3417" y="16105"/>
                    <a:pt x="3408" y="16107"/>
                  </a:cubicBezTo>
                  <a:cubicBezTo>
                    <a:pt x="3401" y="16109"/>
                    <a:pt x="3273" y="16225"/>
                    <a:pt x="3273" y="16229"/>
                  </a:cubicBezTo>
                  <a:cubicBezTo>
                    <a:pt x="3261" y="16303"/>
                    <a:pt x="3329" y="16258"/>
                    <a:pt x="3373" y="16285"/>
                  </a:cubicBezTo>
                  <a:cubicBezTo>
                    <a:pt x="3446" y="16329"/>
                    <a:pt x="3405" y="16326"/>
                    <a:pt x="3411" y="16360"/>
                  </a:cubicBezTo>
                  <a:cubicBezTo>
                    <a:pt x="3411" y="16362"/>
                    <a:pt x="3364" y="16364"/>
                    <a:pt x="3386" y="16396"/>
                  </a:cubicBezTo>
                  <a:cubicBezTo>
                    <a:pt x="3388" y="16399"/>
                    <a:pt x="3444" y="16447"/>
                    <a:pt x="3445" y="16432"/>
                  </a:cubicBezTo>
                  <a:cubicBezTo>
                    <a:pt x="3442" y="16461"/>
                    <a:pt x="3416" y="16458"/>
                    <a:pt x="3369" y="16483"/>
                  </a:cubicBezTo>
                  <a:cubicBezTo>
                    <a:pt x="3310" y="16514"/>
                    <a:pt x="3184" y="16535"/>
                    <a:pt x="3194" y="16581"/>
                  </a:cubicBezTo>
                  <a:cubicBezTo>
                    <a:pt x="3218" y="16697"/>
                    <a:pt x="3390" y="16618"/>
                    <a:pt x="3456" y="16599"/>
                  </a:cubicBezTo>
                  <a:cubicBezTo>
                    <a:pt x="3639" y="16549"/>
                    <a:pt x="3489" y="16607"/>
                    <a:pt x="3552" y="16654"/>
                  </a:cubicBezTo>
                  <a:cubicBezTo>
                    <a:pt x="3622" y="16708"/>
                    <a:pt x="3731" y="16609"/>
                    <a:pt x="3802" y="16642"/>
                  </a:cubicBezTo>
                  <a:cubicBezTo>
                    <a:pt x="3745" y="16660"/>
                    <a:pt x="3696" y="16684"/>
                    <a:pt x="3767" y="16710"/>
                  </a:cubicBezTo>
                  <a:cubicBezTo>
                    <a:pt x="3629" y="16722"/>
                    <a:pt x="3735" y="16862"/>
                    <a:pt x="3834" y="16864"/>
                  </a:cubicBezTo>
                  <a:cubicBezTo>
                    <a:pt x="3944" y="16868"/>
                    <a:pt x="3961" y="16784"/>
                    <a:pt x="3963" y="16730"/>
                  </a:cubicBezTo>
                  <a:cubicBezTo>
                    <a:pt x="4027" y="16766"/>
                    <a:pt x="4123" y="16887"/>
                    <a:pt x="4194" y="16793"/>
                  </a:cubicBezTo>
                  <a:cubicBezTo>
                    <a:pt x="4227" y="16858"/>
                    <a:pt x="4156" y="16841"/>
                    <a:pt x="4112" y="16864"/>
                  </a:cubicBezTo>
                  <a:cubicBezTo>
                    <a:pt x="4072" y="16885"/>
                    <a:pt x="4048" y="16902"/>
                    <a:pt x="4014" y="16922"/>
                  </a:cubicBezTo>
                  <a:cubicBezTo>
                    <a:pt x="3942" y="16965"/>
                    <a:pt x="3906" y="16981"/>
                    <a:pt x="3911" y="17051"/>
                  </a:cubicBezTo>
                  <a:cubicBezTo>
                    <a:pt x="3917" y="17133"/>
                    <a:pt x="3977" y="17186"/>
                    <a:pt x="4098" y="17203"/>
                  </a:cubicBezTo>
                  <a:cubicBezTo>
                    <a:pt x="4246" y="17224"/>
                    <a:pt x="4222" y="17169"/>
                    <a:pt x="4297" y="17096"/>
                  </a:cubicBezTo>
                  <a:cubicBezTo>
                    <a:pt x="4310" y="17141"/>
                    <a:pt x="4231" y="17234"/>
                    <a:pt x="4348" y="17217"/>
                  </a:cubicBezTo>
                  <a:cubicBezTo>
                    <a:pt x="4429" y="17205"/>
                    <a:pt x="4421" y="17149"/>
                    <a:pt x="4396" y="17113"/>
                  </a:cubicBezTo>
                  <a:cubicBezTo>
                    <a:pt x="4452" y="17150"/>
                    <a:pt x="4438" y="17311"/>
                    <a:pt x="4568" y="17262"/>
                  </a:cubicBezTo>
                  <a:cubicBezTo>
                    <a:pt x="4587" y="17311"/>
                    <a:pt x="4433" y="17651"/>
                    <a:pt x="4673" y="17545"/>
                  </a:cubicBezTo>
                  <a:cubicBezTo>
                    <a:pt x="4696" y="17535"/>
                    <a:pt x="4730" y="17474"/>
                    <a:pt x="4731" y="17473"/>
                  </a:cubicBezTo>
                  <a:cubicBezTo>
                    <a:pt x="4795" y="17460"/>
                    <a:pt x="4774" y="17509"/>
                    <a:pt x="4762" y="17527"/>
                  </a:cubicBezTo>
                  <a:cubicBezTo>
                    <a:pt x="4705" y="17611"/>
                    <a:pt x="4585" y="17574"/>
                    <a:pt x="4768" y="17666"/>
                  </a:cubicBezTo>
                  <a:cubicBezTo>
                    <a:pt x="4849" y="17707"/>
                    <a:pt x="4896" y="17694"/>
                    <a:pt x="4995" y="17703"/>
                  </a:cubicBezTo>
                  <a:cubicBezTo>
                    <a:pt x="5009" y="17704"/>
                    <a:pt x="5108" y="17717"/>
                    <a:pt x="5112" y="17722"/>
                  </a:cubicBezTo>
                  <a:cubicBezTo>
                    <a:pt x="5162" y="17770"/>
                    <a:pt x="5013" y="17737"/>
                    <a:pt x="5015" y="17737"/>
                  </a:cubicBezTo>
                  <a:cubicBezTo>
                    <a:pt x="4844" y="17741"/>
                    <a:pt x="4663" y="17643"/>
                    <a:pt x="4519" y="17705"/>
                  </a:cubicBezTo>
                  <a:cubicBezTo>
                    <a:pt x="4443" y="17738"/>
                    <a:pt x="4463" y="17743"/>
                    <a:pt x="4434" y="17806"/>
                  </a:cubicBezTo>
                  <a:cubicBezTo>
                    <a:pt x="4415" y="17848"/>
                    <a:pt x="4330" y="17920"/>
                    <a:pt x="4341" y="17953"/>
                  </a:cubicBezTo>
                  <a:cubicBezTo>
                    <a:pt x="4350" y="17980"/>
                    <a:pt x="4405" y="18031"/>
                    <a:pt x="4459" y="18012"/>
                  </a:cubicBezTo>
                  <a:cubicBezTo>
                    <a:pt x="4504" y="17996"/>
                    <a:pt x="4446" y="17957"/>
                    <a:pt x="4471" y="17940"/>
                  </a:cubicBezTo>
                  <a:cubicBezTo>
                    <a:pt x="4587" y="17856"/>
                    <a:pt x="4557" y="17983"/>
                    <a:pt x="4605" y="18035"/>
                  </a:cubicBezTo>
                  <a:cubicBezTo>
                    <a:pt x="4716" y="18155"/>
                    <a:pt x="4690" y="18006"/>
                    <a:pt x="4758" y="17997"/>
                  </a:cubicBezTo>
                  <a:cubicBezTo>
                    <a:pt x="4759" y="17997"/>
                    <a:pt x="4831" y="18054"/>
                    <a:pt x="4869" y="18063"/>
                  </a:cubicBezTo>
                  <a:cubicBezTo>
                    <a:pt x="4906" y="18072"/>
                    <a:pt x="4968" y="18041"/>
                    <a:pt x="4996" y="18060"/>
                  </a:cubicBezTo>
                  <a:cubicBezTo>
                    <a:pt x="5040" y="18090"/>
                    <a:pt x="4865" y="18184"/>
                    <a:pt x="4995" y="18215"/>
                  </a:cubicBezTo>
                  <a:cubicBezTo>
                    <a:pt x="5068" y="18233"/>
                    <a:pt x="5136" y="18154"/>
                    <a:pt x="5196" y="18123"/>
                  </a:cubicBezTo>
                  <a:cubicBezTo>
                    <a:pt x="5178" y="18171"/>
                    <a:pt x="5104" y="18241"/>
                    <a:pt x="5046" y="18272"/>
                  </a:cubicBezTo>
                  <a:cubicBezTo>
                    <a:pt x="4995" y="18298"/>
                    <a:pt x="4918" y="18265"/>
                    <a:pt x="4955" y="18335"/>
                  </a:cubicBezTo>
                  <a:cubicBezTo>
                    <a:pt x="4975" y="18372"/>
                    <a:pt x="5100" y="18362"/>
                    <a:pt x="5152" y="18346"/>
                  </a:cubicBezTo>
                  <a:cubicBezTo>
                    <a:pt x="5208" y="18330"/>
                    <a:pt x="5244" y="18284"/>
                    <a:pt x="5310" y="18254"/>
                  </a:cubicBezTo>
                  <a:cubicBezTo>
                    <a:pt x="5292" y="18293"/>
                    <a:pt x="5138" y="18429"/>
                    <a:pt x="5287" y="18404"/>
                  </a:cubicBezTo>
                  <a:cubicBezTo>
                    <a:pt x="5277" y="18423"/>
                    <a:pt x="5180" y="18546"/>
                    <a:pt x="5230" y="18545"/>
                  </a:cubicBezTo>
                  <a:cubicBezTo>
                    <a:pt x="5287" y="18543"/>
                    <a:pt x="5369" y="18512"/>
                    <a:pt x="5424" y="18499"/>
                  </a:cubicBezTo>
                  <a:cubicBezTo>
                    <a:pt x="5400" y="18559"/>
                    <a:pt x="5232" y="18616"/>
                    <a:pt x="5150" y="18609"/>
                  </a:cubicBezTo>
                  <a:cubicBezTo>
                    <a:pt x="5114" y="18606"/>
                    <a:pt x="5029" y="18532"/>
                    <a:pt x="5011" y="18596"/>
                  </a:cubicBezTo>
                  <a:cubicBezTo>
                    <a:pt x="5002" y="18631"/>
                    <a:pt x="5194" y="18730"/>
                    <a:pt x="5219" y="18761"/>
                  </a:cubicBezTo>
                  <a:cubicBezTo>
                    <a:pt x="5288" y="18847"/>
                    <a:pt x="5327" y="18966"/>
                    <a:pt x="5507" y="18918"/>
                  </a:cubicBezTo>
                  <a:cubicBezTo>
                    <a:pt x="5605" y="18891"/>
                    <a:pt x="5640" y="18791"/>
                    <a:pt x="5738" y="18865"/>
                  </a:cubicBezTo>
                  <a:cubicBezTo>
                    <a:pt x="5736" y="18866"/>
                    <a:pt x="5642" y="18909"/>
                    <a:pt x="5642" y="18908"/>
                  </a:cubicBezTo>
                  <a:cubicBezTo>
                    <a:pt x="5635" y="18977"/>
                    <a:pt x="5764" y="18955"/>
                    <a:pt x="5808" y="18957"/>
                  </a:cubicBezTo>
                  <a:cubicBezTo>
                    <a:pt x="5833" y="18958"/>
                    <a:pt x="5846" y="18925"/>
                    <a:pt x="5885" y="18940"/>
                  </a:cubicBezTo>
                  <a:cubicBezTo>
                    <a:pt x="5912" y="18951"/>
                    <a:pt x="5931" y="18968"/>
                    <a:pt x="5960" y="18976"/>
                  </a:cubicBezTo>
                  <a:cubicBezTo>
                    <a:pt x="5982" y="18982"/>
                    <a:pt x="6071" y="19008"/>
                    <a:pt x="6095" y="19009"/>
                  </a:cubicBezTo>
                  <a:cubicBezTo>
                    <a:pt x="6334" y="19022"/>
                    <a:pt x="6359" y="18805"/>
                    <a:pt x="6467" y="18711"/>
                  </a:cubicBezTo>
                  <a:cubicBezTo>
                    <a:pt x="6482" y="18818"/>
                    <a:pt x="6399" y="18935"/>
                    <a:pt x="6276" y="19006"/>
                  </a:cubicBezTo>
                  <a:cubicBezTo>
                    <a:pt x="6229" y="19033"/>
                    <a:pt x="6163" y="19029"/>
                    <a:pt x="6117" y="19041"/>
                  </a:cubicBezTo>
                  <a:cubicBezTo>
                    <a:pt x="6088" y="19049"/>
                    <a:pt x="6057" y="19048"/>
                    <a:pt x="6027" y="19061"/>
                  </a:cubicBezTo>
                  <a:cubicBezTo>
                    <a:pt x="5991" y="19077"/>
                    <a:pt x="6018" y="19109"/>
                    <a:pt x="5990" y="19121"/>
                  </a:cubicBezTo>
                  <a:cubicBezTo>
                    <a:pt x="5933" y="19145"/>
                    <a:pt x="5864" y="19141"/>
                    <a:pt x="5799" y="19172"/>
                  </a:cubicBezTo>
                  <a:cubicBezTo>
                    <a:pt x="5773" y="19184"/>
                    <a:pt x="5700" y="19165"/>
                    <a:pt x="5711" y="19205"/>
                  </a:cubicBezTo>
                  <a:cubicBezTo>
                    <a:pt x="5719" y="19232"/>
                    <a:pt x="5737" y="19286"/>
                    <a:pt x="5762" y="19308"/>
                  </a:cubicBezTo>
                  <a:cubicBezTo>
                    <a:pt x="5996" y="19507"/>
                    <a:pt x="6229" y="19663"/>
                    <a:pt x="6559" y="19748"/>
                  </a:cubicBezTo>
                  <a:cubicBezTo>
                    <a:pt x="6388" y="19796"/>
                    <a:pt x="6812" y="19990"/>
                    <a:pt x="6878" y="20031"/>
                  </a:cubicBezTo>
                  <a:cubicBezTo>
                    <a:pt x="7069" y="20146"/>
                    <a:pt x="7287" y="20218"/>
                    <a:pt x="7471" y="20339"/>
                  </a:cubicBezTo>
                  <a:cubicBezTo>
                    <a:pt x="7565" y="20340"/>
                    <a:pt x="7660" y="20182"/>
                    <a:pt x="7751" y="20188"/>
                  </a:cubicBezTo>
                  <a:cubicBezTo>
                    <a:pt x="7800" y="20191"/>
                    <a:pt x="7800" y="20287"/>
                    <a:pt x="7887" y="20278"/>
                  </a:cubicBezTo>
                  <a:cubicBezTo>
                    <a:pt x="7963" y="20270"/>
                    <a:pt x="7960" y="20214"/>
                    <a:pt x="7957" y="20174"/>
                  </a:cubicBezTo>
                  <a:cubicBezTo>
                    <a:pt x="7953" y="20129"/>
                    <a:pt x="7929" y="20093"/>
                    <a:pt x="7932" y="20038"/>
                  </a:cubicBezTo>
                  <a:close/>
                  <a:moveTo>
                    <a:pt x="5471" y="16344"/>
                  </a:moveTo>
                  <a:cubicBezTo>
                    <a:pt x="5589" y="16361"/>
                    <a:pt x="5569" y="16369"/>
                    <a:pt x="5666" y="16301"/>
                  </a:cubicBezTo>
                  <a:cubicBezTo>
                    <a:pt x="5680" y="16291"/>
                    <a:pt x="5749" y="16284"/>
                    <a:pt x="5751" y="16282"/>
                  </a:cubicBezTo>
                  <a:cubicBezTo>
                    <a:pt x="5775" y="16247"/>
                    <a:pt x="5736" y="16187"/>
                    <a:pt x="5726" y="16152"/>
                  </a:cubicBezTo>
                  <a:cubicBezTo>
                    <a:pt x="5653" y="16101"/>
                    <a:pt x="5502" y="16143"/>
                    <a:pt x="5416" y="16163"/>
                  </a:cubicBezTo>
                  <a:cubicBezTo>
                    <a:pt x="5368" y="16174"/>
                    <a:pt x="5197" y="16197"/>
                    <a:pt x="5187" y="16243"/>
                  </a:cubicBezTo>
                  <a:cubicBezTo>
                    <a:pt x="5175" y="16293"/>
                    <a:pt x="5406" y="16335"/>
                    <a:pt x="5471" y="16344"/>
                  </a:cubicBezTo>
                  <a:close/>
                  <a:moveTo>
                    <a:pt x="4738" y="18111"/>
                  </a:moveTo>
                  <a:cubicBezTo>
                    <a:pt x="4692" y="18144"/>
                    <a:pt x="4696" y="18215"/>
                    <a:pt x="4715" y="18242"/>
                  </a:cubicBezTo>
                  <a:cubicBezTo>
                    <a:pt x="4712" y="18237"/>
                    <a:pt x="4839" y="18308"/>
                    <a:pt x="4834" y="18308"/>
                  </a:cubicBezTo>
                  <a:cubicBezTo>
                    <a:pt x="4946" y="18302"/>
                    <a:pt x="4922" y="18160"/>
                    <a:pt x="4893" y="18107"/>
                  </a:cubicBezTo>
                  <a:cubicBezTo>
                    <a:pt x="4833" y="18106"/>
                    <a:pt x="4775" y="18086"/>
                    <a:pt x="4738" y="18111"/>
                  </a:cubicBezTo>
                  <a:close/>
                  <a:moveTo>
                    <a:pt x="4491" y="17485"/>
                  </a:moveTo>
                  <a:cubicBezTo>
                    <a:pt x="4512" y="17389"/>
                    <a:pt x="4531" y="17323"/>
                    <a:pt x="4424" y="17251"/>
                  </a:cubicBezTo>
                  <a:cubicBezTo>
                    <a:pt x="4355" y="17247"/>
                    <a:pt x="4284" y="17254"/>
                    <a:pt x="4212" y="17261"/>
                  </a:cubicBezTo>
                  <a:cubicBezTo>
                    <a:pt x="4109" y="17272"/>
                    <a:pt x="4113" y="17246"/>
                    <a:pt x="4175" y="17328"/>
                  </a:cubicBezTo>
                  <a:cubicBezTo>
                    <a:pt x="4194" y="17354"/>
                    <a:pt x="4258" y="17335"/>
                    <a:pt x="4228" y="17369"/>
                  </a:cubicBezTo>
                  <a:cubicBezTo>
                    <a:pt x="4236" y="17360"/>
                    <a:pt x="4118" y="17380"/>
                    <a:pt x="4120" y="17379"/>
                  </a:cubicBezTo>
                  <a:cubicBezTo>
                    <a:pt x="4108" y="17382"/>
                    <a:pt x="4087" y="17315"/>
                    <a:pt x="4069" y="17372"/>
                  </a:cubicBezTo>
                  <a:cubicBezTo>
                    <a:pt x="4061" y="17397"/>
                    <a:pt x="4098" y="17424"/>
                    <a:pt x="4110" y="17446"/>
                  </a:cubicBezTo>
                  <a:cubicBezTo>
                    <a:pt x="4148" y="17514"/>
                    <a:pt x="4239" y="17684"/>
                    <a:pt x="4368" y="17673"/>
                  </a:cubicBezTo>
                  <a:cubicBezTo>
                    <a:pt x="4468" y="17663"/>
                    <a:pt x="4479" y="17536"/>
                    <a:pt x="4491" y="17485"/>
                  </a:cubicBezTo>
                  <a:close/>
                  <a:moveTo>
                    <a:pt x="3218" y="10937"/>
                  </a:moveTo>
                  <a:cubicBezTo>
                    <a:pt x="3152" y="10933"/>
                    <a:pt x="3187" y="10977"/>
                    <a:pt x="3142" y="10998"/>
                  </a:cubicBezTo>
                  <a:cubicBezTo>
                    <a:pt x="3112" y="11013"/>
                    <a:pt x="3041" y="11005"/>
                    <a:pt x="3016" y="11024"/>
                  </a:cubicBezTo>
                  <a:cubicBezTo>
                    <a:pt x="2947" y="11078"/>
                    <a:pt x="3019" y="11154"/>
                    <a:pt x="3080" y="11198"/>
                  </a:cubicBezTo>
                  <a:cubicBezTo>
                    <a:pt x="3173" y="11263"/>
                    <a:pt x="3235" y="11335"/>
                    <a:pt x="3265" y="11193"/>
                  </a:cubicBezTo>
                  <a:cubicBezTo>
                    <a:pt x="3280" y="11124"/>
                    <a:pt x="3252" y="11142"/>
                    <a:pt x="3234" y="11078"/>
                  </a:cubicBezTo>
                  <a:cubicBezTo>
                    <a:pt x="3221" y="11031"/>
                    <a:pt x="3266" y="10982"/>
                    <a:pt x="3218" y="10937"/>
                  </a:cubicBezTo>
                  <a:close/>
                  <a:moveTo>
                    <a:pt x="2825" y="10763"/>
                  </a:moveTo>
                  <a:cubicBezTo>
                    <a:pt x="2933" y="10728"/>
                    <a:pt x="2819" y="10681"/>
                    <a:pt x="2851" y="10633"/>
                  </a:cubicBezTo>
                  <a:cubicBezTo>
                    <a:pt x="2893" y="10572"/>
                    <a:pt x="2953" y="10621"/>
                    <a:pt x="2988" y="10654"/>
                  </a:cubicBezTo>
                  <a:cubicBezTo>
                    <a:pt x="3008" y="10673"/>
                    <a:pt x="2978" y="10701"/>
                    <a:pt x="3011" y="10719"/>
                  </a:cubicBezTo>
                  <a:cubicBezTo>
                    <a:pt x="3081" y="10757"/>
                    <a:pt x="3059" y="10711"/>
                    <a:pt x="3117" y="10691"/>
                  </a:cubicBezTo>
                  <a:cubicBezTo>
                    <a:pt x="3188" y="10667"/>
                    <a:pt x="3207" y="10660"/>
                    <a:pt x="3296" y="10657"/>
                  </a:cubicBezTo>
                  <a:cubicBezTo>
                    <a:pt x="3295" y="10665"/>
                    <a:pt x="3288" y="10688"/>
                    <a:pt x="3285" y="10695"/>
                  </a:cubicBezTo>
                  <a:cubicBezTo>
                    <a:pt x="3195" y="10656"/>
                    <a:pt x="3145" y="10711"/>
                    <a:pt x="3089" y="10758"/>
                  </a:cubicBezTo>
                  <a:cubicBezTo>
                    <a:pt x="3062" y="10779"/>
                    <a:pt x="3023" y="10754"/>
                    <a:pt x="3018" y="10801"/>
                  </a:cubicBezTo>
                  <a:cubicBezTo>
                    <a:pt x="3019" y="10793"/>
                    <a:pt x="3111" y="10837"/>
                    <a:pt x="3091" y="10831"/>
                  </a:cubicBezTo>
                  <a:cubicBezTo>
                    <a:pt x="3170" y="10853"/>
                    <a:pt x="3213" y="10839"/>
                    <a:pt x="3296" y="10793"/>
                  </a:cubicBezTo>
                  <a:cubicBezTo>
                    <a:pt x="3425" y="10723"/>
                    <a:pt x="3388" y="10684"/>
                    <a:pt x="3363" y="10563"/>
                  </a:cubicBezTo>
                  <a:cubicBezTo>
                    <a:pt x="3285" y="10390"/>
                    <a:pt x="2612" y="10628"/>
                    <a:pt x="2825" y="10763"/>
                  </a:cubicBezTo>
                  <a:close/>
                  <a:moveTo>
                    <a:pt x="6583" y="17383"/>
                  </a:moveTo>
                  <a:cubicBezTo>
                    <a:pt x="6645" y="17317"/>
                    <a:pt x="6692" y="17276"/>
                    <a:pt x="6614" y="17197"/>
                  </a:cubicBezTo>
                  <a:cubicBezTo>
                    <a:pt x="6586" y="17170"/>
                    <a:pt x="6618" y="17136"/>
                    <a:pt x="6522" y="17158"/>
                  </a:cubicBezTo>
                  <a:cubicBezTo>
                    <a:pt x="6456" y="17174"/>
                    <a:pt x="6449" y="17219"/>
                    <a:pt x="6438" y="17261"/>
                  </a:cubicBezTo>
                  <a:cubicBezTo>
                    <a:pt x="6420" y="17337"/>
                    <a:pt x="6459" y="17363"/>
                    <a:pt x="6493" y="17435"/>
                  </a:cubicBezTo>
                  <a:cubicBezTo>
                    <a:pt x="6519" y="17488"/>
                    <a:pt x="6493" y="17545"/>
                    <a:pt x="6510" y="17596"/>
                  </a:cubicBezTo>
                  <a:cubicBezTo>
                    <a:pt x="6519" y="17591"/>
                    <a:pt x="6528" y="17586"/>
                    <a:pt x="6537" y="17581"/>
                  </a:cubicBezTo>
                  <a:cubicBezTo>
                    <a:pt x="6539" y="17539"/>
                    <a:pt x="6554" y="17499"/>
                    <a:pt x="6557" y="17457"/>
                  </a:cubicBezTo>
                  <a:cubicBezTo>
                    <a:pt x="6558" y="17443"/>
                    <a:pt x="6518" y="17424"/>
                    <a:pt x="6523" y="17411"/>
                  </a:cubicBezTo>
                  <a:cubicBezTo>
                    <a:pt x="6535" y="17380"/>
                    <a:pt x="6564" y="17404"/>
                    <a:pt x="6583" y="17383"/>
                  </a:cubicBezTo>
                  <a:close/>
                  <a:moveTo>
                    <a:pt x="5662" y="13717"/>
                  </a:moveTo>
                  <a:cubicBezTo>
                    <a:pt x="5628" y="13663"/>
                    <a:pt x="5646" y="13715"/>
                    <a:pt x="5579" y="13710"/>
                  </a:cubicBezTo>
                  <a:cubicBezTo>
                    <a:pt x="5385" y="13694"/>
                    <a:pt x="5295" y="13780"/>
                    <a:pt x="5101" y="13792"/>
                  </a:cubicBezTo>
                  <a:cubicBezTo>
                    <a:pt x="5001" y="13798"/>
                    <a:pt x="4940" y="13781"/>
                    <a:pt x="4848" y="13821"/>
                  </a:cubicBezTo>
                  <a:cubicBezTo>
                    <a:pt x="4772" y="13855"/>
                    <a:pt x="4699" y="13927"/>
                    <a:pt x="4653" y="13977"/>
                  </a:cubicBezTo>
                  <a:cubicBezTo>
                    <a:pt x="4614" y="14019"/>
                    <a:pt x="4516" y="14113"/>
                    <a:pt x="4581" y="14150"/>
                  </a:cubicBezTo>
                  <a:cubicBezTo>
                    <a:pt x="4608" y="14165"/>
                    <a:pt x="4786" y="14146"/>
                    <a:pt x="4814" y="14130"/>
                  </a:cubicBezTo>
                  <a:cubicBezTo>
                    <a:pt x="4897" y="14083"/>
                    <a:pt x="4897" y="13954"/>
                    <a:pt x="5049" y="13961"/>
                  </a:cubicBezTo>
                  <a:cubicBezTo>
                    <a:pt x="5203" y="13932"/>
                    <a:pt x="5569" y="13910"/>
                    <a:pt x="5644" y="13812"/>
                  </a:cubicBezTo>
                  <a:cubicBezTo>
                    <a:pt x="5634" y="13824"/>
                    <a:pt x="5654" y="13704"/>
                    <a:pt x="5662" y="13717"/>
                  </a:cubicBezTo>
                  <a:close/>
                  <a:moveTo>
                    <a:pt x="3971" y="9597"/>
                  </a:moveTo>
                  <a:cubicBezTo>
                    <a:pt x="4105" y="9565"/>
                    <a:pt x="4320" y="9486"/>
                    <a:pt x="4309" y="9370"/>
                  </a:cubicBezTo>
                  <a:cubicBezTo>
                    <a:pt x="4227" y="9381"/>
                    <a:pt x="4158" y="9421"/>
                    <a:pt x="4088" y="9451"/>
                  </a:cubicBezTo>
                  <a:cubicBezTo>
                    <a:pt x="4037" y="9471"/>
                    <a:pt x="3878" y="9497"/>
                    <a:pt x="3848" y="9527"/>
                  </a:cubicBezTo>
                  <a:cubicBezTo>
                    <a:pt x="3762" y="9612"/>
                    <a:pt x="3890" y="9615"/>
                    <a:pt x="3971" y="9597"/>
                  </a:cubicBezTo>
                  <a:close/>
                  <a:moveTo>
                    <a:pt x="8158" y="19648"/>
                  </a:moveTo>
                  <a:cubicBezTo>
                    <a:pt x="8099" y="19558"/>
                    <a:pt x="7985" y="19482"/>
                    <a:pt x="7898" y="19404"/>
                  </a:cubicBezTo>
                  <a:cubicBezTo>
                    <a:pt x="7903" y="19468"/>
                    <a:pt x="8072" y="19653"/>
                    <a:pt x="8158" y="19648"/>
                  </a:cubicBezTo>
                  <a:close/>
                  <a:moveTo>
                    <a:pt x="7869" y="19487"/>
                  </a:moveTo>
                  <a:cubicBezTo>
                    <a:pt x="7826" y="19453"/>
                    <a:pt x="7831" y="19588"/>
                    <a:pt x="7832" y="19601"/>
                  </a:cubicBezTo>
                  <a:cubicBezTo>
                    <a:pt x="7832" y="19612"/>
                    <a:pt x="7842" y="19666"/>
                    <a:pt x="7840" y="19675"/>
                  </a:cubicBezTo>
                  <a:cubicBezTo>
                    <a:pt x="7836" y="19695"/>
                    <a:pt x="7790" y="19717"/>
                    <a:pt x="7795" y="19742"/>
                  </a:cubicBezTo>
                  <a:cubicBezTo>
                    <a:pt x="7813" y="19835"/>
                    <a:pt x="7889" y="19810"/>
                    <a:pt x="7963" y="19772"/>
                  </a:cubicBezTo>
                  <a:cubicBezTo>
                    <a:pt x="8004" y="19751"/>
                    <a:pt x="8035" y="19793"/>
                    <a:pt x="8009" y="19706"/>
                  </a:cubicBezTo>
                  <a:cubicBezTo>
                    <a:pt x="7985" y="19624"/>
                    <a:pt x="7927" y="19560"/>
                    <a:pt x="7869" y="19487"/>
                  </a:cubicBezTo>
                  <a:close/>
                  <a:moveTo>
                    <a:pt x="3632" y="12565"/>
                  </a:moveTo>
                  <a:cubicBezTo>
                    <a:pt x="3579" y="12519"/>
                    <a:pt x="3528" y="12600"/>
                    <a:pt x="3521" y="12637"/>
                  </a:cubicBezTo>
                  <a:cubicBezTo>
                    <a:pt x="3511" y="12688"/>
                    <a:pt x="3534" y="12715"/>
                    <a:pt x="3567" y="12756"/>
                  </a:cubicBezTo>
                  <a:cubicBezTo>
                    <a:pt x="3489" y="12763"/>
                    <a:pt x="3581" y="12935"/>
                    <a:pt x="3595" y="12963"/>
                  </a:cubicBezTo>
                  <a:cubicBezTo>
                    <a:pt x="3614" y="13002"/>
                    <a:pt x="3658" y="13013"/>
                    <a:pt x="3669" y="13042"/>
                  </a:cubicBezTo>
                  <a:cubicBezTo>
                    <a:pt x="3676" y="13061"/>
                    <a:pt x="3644" y="13096"/>
                    <a:pt x="3646" y="13121"/>
                  </a:cubicBezTo>
                  <a:cubicBezTo>
                    <a:pt x="3990" y="13116"/>
                    <a:pt x="3669" y="12635"/>
                    <a:pt x="3632" y="12565"/>
                  </a:cubicBezTo>
                  <a:close/>
                  <a:moveTo>
                    <a:pt x="7474" y="18555"/>
                  </a:moveTo>
                  <a:cubicBezTo>
                    <a:pt x="7582" y="18577"/>
                    <a:pt x="7463" y="18419"/>
                    <a:pt x="7429" y="18389"/>
                  </a:cubicBezTo>
                  <a:cubicBezTo>
                    <a:pt x="7349" y="18235"/>
                    <a:pt x="7257" y="18097"/>
                    <a:pt x="7031" y="18017"/>
                  </a:cubicBezTo>
                  <a:cubicBezTo>
                    <a:pt x="6947" y="18095"/>
                    <a:pt x="7070" y="18140"/>
                    <a:pt x="7134" y="18195"/>
                  </a:cubicBezTo>
                  <a:cubicBezTo>
                    <a:pt x="7184" y="18239"/>
                    <a:pt x="7206" y="18295"/>
                    <a:pt x="7252" y="18348"/>
                  </a:cubicBezTo>
                  <a:cubicBezTo>
                    <a:pt x="7286" y="18385"/>
                    <a:pt x="7420" y="18544"/>
                    <a:pt x="7474" y="18555"/>
                  </a:cubicBezTo>
                  <a:close/>
                  <a:moveTo>
                    <a:pt x="6676" y="16965"/>
                  </a:moveTo>
                  <a:cubicBezTo>
                    <a:pt x="6613" y="16995"/>
                    <a:pt x="6604" y="17049"/>
                    <a:pt x="6554" y="17074"/>
                  </a:cubicBezTo>
                  <a:cubicBezTo>
                    <a:pt x="6537" y="17083"/>
                    <a:pt x="6476" y="17040"/>
                    <a:pt x="6444" y="17076"/>
                  </a:cubicBezTo>
                  <a:cubicBezTo>
                    <a:pt x="6369" y="17163"/>
                    <a:pt x="6539" y="17105"/>
                    <a:pt x="6548" y="17106"/>
                  </a:cubicBezTo>
                  <a:cubicBezTo>
                    <a:pt x="6767" y="17135"/>
                    <a:pt x="6687" y="17311"/>
                    <a:pt x="6661" y="17415"/>
                  </a:cubicBezTo>
                  <a:cubicBezTo>
                    <a:pt x="6807" y="17363"/>
                    <a:pt x="6815" y="17314"/>
                    <a:pt x="6789" y="17208"/>
                  </a:cubicBezTo>
                  <a:cubicBezTo>
                    <a:pt x="6765" y="17109"/>
                    <a:pt x="6775" y="17043"/>
                    <a:pt x="6676" y="16965"/>
                  </a:cubicBezTo>
                  <a:close/>
                  <a:moveTo>
                    <a:pt x="21446" y="21308"/>
                  </a:moveTo>
                  <a:cubicBezTo>
                    <a:pt x="21446" y="21159"/>
                    <a:pt x="21161" y="21112"/>
                    <a:pt x="21008" y="21006"/>
                  </a:cubicBezTo>
                  <a:cubicBezTo>
                    <a:pt x="20855" y="20901"/>
                    <a:pt x="21008" y="20824"/>
                    <a:pt x="21166" y="20715"/>
                  </a:cubicBezTo>
                  <a:cubicBezTo>
                    <a:pt x="21324" y="20606"/>
                    <a:pt x="21134" y="20373"/>
                    <a:pt x="21061" y="20323"/>
                  </a:cubicBezTo>
                  <a:cubicBezTo>
                    <a:pt x="20987" y="20272"/>
                    <a:pt x="21293" y="20163"/>
                    <a:pt x="21293" y="19944"/>
                  </a:cubicBezTo>
                  <a:cubicBezTo>
                    <a:pt x="21293" y="19726"/>
                    <a:pt x="21293" y="19755"/>
                    <a:pt x="21293" y="19610"/>
                  </a:cubicBezTo>
                  <a:cubicBezTo>
                    <a:pt x="21293" y="19465"/>
                    <a:pt x="21040" y="19275"/>
                    <a:pt x="20828" y="19275"/>
                  </a:cubicBezTo>
                  <a:cubicBezTo>
                    <a:pt x="20617" y="19275"/>
                    <a:pt x="20617" y="19130"/>
                    <a:pt x="20406" y="18984"/>
                  </a:cubicBezTo>
                  <a:cubicBezTo>
                    <a:pt x="20195" y="18839"/>
                    <a:pt x="20401" y="18784"/>
                    <a:pt x="20290" y="18708"/>
                  </a:cubicBezTo>
                  <a:cubicBezTo>
                    <a:pt x="20180" y="18631"/>
                    <a:pt x="20290" y="18497"/>
                    <a:pt x="19942" y="18388"/>
                  </a:cubicBezTo>
                  <a:cubicBezTo>
                    <a:pt x="19594" y="18279"/>
                    <a:pt x="19826" y="18177"/>
                    <a:pt x="19604" y="18024"/>
                  </a:cubicBezTo>
                  <a:cubicBezTo>
                    <a:pt x="19383" y="17871"/>
                    <a:pt x="19351" y="17777"/>
                    <a:pt x="19351" y="17544"/>
                  </a:cubicBezTo>
                  <a:cubicBezTo>
                    <a:pt x="19351" y="17311"/>
                    <a:pt x="19183" y="17369"/>
                    <a:pt x="19077" y="17297"/>
                  </a:cubicBezTo>
                  <a:cubicBezTo>
                    <a:pt x="18971" y="17224"/>
                    <a:pt x="18834" y="17224"/>
                    <a:pt x="18834" y="17086"/>
                  </a:cubicBezTo>
                  <a:cubicBezTo>
                    <a:pt x="18834" y="16948"/>
                    <a:pt x="18486" y="16846"/>
                    <a:pt x="18486" y="16650"/>
                  </a:cubicBezTo>
                  <a:cubicBezTo>
                    <a:pt x="18486" y="16453"/>
                    <a:pt x="18053" y="16650"/>
                    <a:pt x="17853" y="16511"/>
                  </a:cubicBezTo>
                  <a:cubicBezTo>
                    <a:pt x="17652" y="16373"/>
                    <a:pt x="18001" y="16235"/>
                    <a:pt x="17832" y="16118"/>
                  </a:cubicBezTo>
                  <a:cubicBezTo>
                    <a:pt x="17663" y="16002"/>
                    <a:pt x="17389" y="16118"/>
                    <a:pt x="17389" y="15973"/>
                  </a:cubicBezTo>
                  <a:lnTo>
                    <a:pt x="17389" y="15551"/>
                  </a:lnTo>
                  <a:cubicBezTo>
                    <a:pt x="17389" y="15377"/>
                    <a:pt x="17389" y="15340"/>
                    <a:pt x="17230" y="15340"/>
                  </a:cubicBezTo>
                  <a:cubicBezTo>
                    <a:pt x="17072" y="15340"/>
                    <a:pt x="16882" y="15100"/>
                    <a:pt x="16882" y="14926"/>
                  </a:cubicBezTo>
                  <a:cubicBezTo>
                    <a:pt x="16882" y="14751"/>
                    <a:pt x="16671" y="14780"/>
                    <a:pt x="16523" y="14882"/>
                  </a:cubicBezTo>
                  <a:cubicBezTo>
                    <a:pt x="16376" y="14984"/>
                    <a:pt x="16049" y="14497"/>
                    <a:pt x="15806" y="14329"/>
                  </a:cubicBezTo>
                  <a:cubicBezTo>
                    <a:pt x="15563" y="14162"/>
                    <a:pt x="15806" y="14068"/>
                    <a:pt x="15933" y="14068"/>
                  </a:cubicBezTo>
                  <a:cubicBezTo>
                    <a:pt x="16059" y="14068"/>
                    <a:pt x="15785" y="13689"/>
                    <a:pt x="15785" y="13689"/>
                  </a:cubicBezTo>
                  <a:lnTo>
                    <a:pt x="18427" y="5352"/>
                  </a:lnTo>
                  <a:cubicBezTo>
                    <a:pt x="9269" y="3796"/>
                    <a:pt x="2833" y="1252"/>
                    <a:pt x="41" y="0"/>
                  </a:cubicBezTo>
                  <a:cubicBezTo>
                    <a:pt x="99" y="83"/>
                    <a:pt x="181" y="170"/>
                    <a:pt x="214" y="259"/>
                  </a:cubicBezTo>
                  <a:cubicBezTo>
                    <a:pt x="234" y="313"/>
                    <a:pt x="205" y="339"/>
                    <a:pt x="203" y="391"/>
                  </a:cubicBezTo>
                  <a:cubicBezTo>
                    <a:pt x="198" y="572"/>
                    <a:pt x="332" y="780"/>
                    <a:pt x="401" y="954"/>
                  </a:cubicBezTo>
                  <a:cubicBezTo>
                    <a:pt x="463" y="1113"/>
                    <a:pt x="603" y="1317"/>
                    <a:pt x="593" y="1478"/>
                  </a:cubicBezTo>
                  <a:cubicBezTo>
                    <a:pt x="589" y="1561"/>
                    <a:pt x="524" y="1654"/>
                    <a:pt x="493" y="1733"/>
                  </a:cubicBezTo>
                  <a:cubicBezTo>
                    <a:pt x="477" y="1773"/>
                    <a:pt x="354" y="1886"/>
                    <a:pt x="373" y="1908"/>
                  </a:cubicBezTo>
                  <a:cubicBezTo>
                    <a:pt x="397" y="1935"/>
                    <a:pt x="990" y="1862"/>
                    <a:pt x="1051" y="1857"/>
                  </a:cubicBezTo>
                  <a:cubicBezTo>
                    <a:pt x="1208" y="1843"/>
                    <a:pt x="1264" y="1831"/>
                    <a:pt x="1404" y="1885"/>
                  </a:cubicBezTo>
                  <a:cubicBezTo>
                    <a:pt x="1504" y="1924"/>
                    <a:pt x="1614" y="1850"/>
                    <a:pt x="1679" y="1801"/>
                  </a:cubicBezTo>
                  <a:cubicBezTo>
                    <a:pt x="1738" y="1756"/>
                    <a:pt x="1781" y="1629"/>
                    <a:pt x="1851" y="1600"/>
                  </a:cubicBezTo>
                  <a:cubicBezTo>
                    <a:pt x="1934" y="1565"/>
                    <a:pt x="2144" y="1660"/>
                    <a:pt x="2168" y="1527"/>
                  </a:cubicBezTo>
                  <a:cubicBezTo>
                    <a:pt x="2183" y="1449"/>
                    <a:pt x="2073" y="1425"/>
                    <a:pt x="2260" y="1437"/>
                  </a:cubicBezTo>
                  <a:cubicBezTo>
                    <a:pt x="2343" y="1442"/>
                    <a:pt x="2420" y="1465"/>
                    <a:pt x="2502" y="1475"/>
                  </a:cubicBezTo>
                  <a:cubicBezTo>
                    <a:pt x="2634" y="1492"/>
                    <a:pt x="2774" y="1481"/>
                    <a:pt x="2909" y="1478"/>
                  </a:cubicBezTo>
                  <a:cubicBezTo>
                    <a:pt x="3094" y="1476"/>
                    <a:pt x="3208" y="1561"/>
                    <a:pt x="3239" y="1691"/>
                  </a:cubicBezTo>
                  <a:cubicBezTo>
                    <a:pt x="3261" y="1784"/>
                    <a:pt x="3347" y="1879"/>
                    <a:pt x="3289" y="1974"/>
                  </a:cubicBezTo>
                  <a:cubicBezTo>
                    <a:pt x="3264" y="2013"/>
                    <a:pt x="3210" y="2026"/>
                    <a:pt x="3189" y="2047"/>
                  </a:cubicBezTo>
                  <a:cubicBezTo>
                    <a:pt x="3179" y="2059"/>
                    <a:pt x="3145" y="2052"/>
                    <a:pt x="3141" y="2072"/>
                  </a:cubicBezTo>
                  <a:cubicBezTo>
                    <a:pt x="3134" y="2104"/>
                    <a:pt x="3163" y="2132"/>
                    <a:pt x="3149" y="2162"/>
                  </a:cubicBezTo>
                  <a:cubicBezTo>
                    <a:pt x="3094" y="2279"/>
                    <a:pt x="3150" y="2304"/>
                    <a:pt x="3250" y="2393"/>
                  </a:cubicBezTo>
                  <a:cubicBezTo>
                    <a:pt x="3315" y="2450"/>
                    <a:pt x="3311" y="2470"/>
                    <a:pt x="3324" y="2545"/>
                  </a:cubicBezTo>
                  <a:cubicBezTo>
                    <a:pt x="3335" y="2613"/>
                    <a:pt x="3430" y="2630"/>
                    <a:pt x="3440" y="2687"/>
                  </a:cubicBezTo>
                  <a:cubicBezTo>
                    <a:pt x="3453" y="2757"/>
                    <a:pt x="3409" y="2794"/>
                    <a:pt x="3401" y="2850"/>
                  </a:cubicBezTo>
                  <a:cubicBezTo>
                    <a:pt x="3397" y="2874"/>
                    <a:pt x="3429" y="2906"/>
                    <a:pt x="3418" y="2928"/>
                  </a:cubicBezTo>
                  <a:cubicBezTo>
                    <a:pt x="3375" y="3018"/>
                    <a:pt x="3400" y="3077"/>
                    <a:pt x="3478" y="3161"/>
                  </a:cubicBezTo>
                  <a:cubicBezTo>
                    <a:pt x="3545" y="3233"/>
                    <a:pt x="3632" y="3307"/>
                    <a:pt x="3675" y="3389"/>
                  </a:cubicBezTo>
                  <a:cubicBezTo>
                    <a:pt x="3761" y="3555"/>
                    <a:pt x="3780" y="3760"/>
                    <a:pt x="3837" y="3933"/>
                  </a:cubicBezTo>
                  <a:cubicBezTo>
                    <a:pt x="3635" y="4016"/>
                    <a:pt x="3825" y="4345"/>
                    <a:pt x="3812" y="4475"/>
                  </a:cubicBezTo>
                  <a:cubicBezTo>
                    <a:pt x="3796" y="4634"/>
                    <a:pt x="3869" y="4786"/>
                    <a:pt x="3861" y="4946"/>
                  </a:cubicBezTo>
                  <a:cubicBezTo>
                    <a:pt x="3855" y="5069"/>
                    <a:pt x="3864" y="5195"/>
                    <a:pt x="3872" y="5318"/>
                  </a:cubicBezTo>
                  <a:cubicBezTo>
                    <a:pt x="3881" y="5473"/>
                    <a:pt x="4013" y="5681"/>
                    <a:pt x="3943" y="5838"/>
                  </a:cubicBezTo>
                  <a:cubicBezTo>
                    <a:pt x="3909" y="5914"/>
                    <a:pt x="3742" y="5930"/>
                    <a:pt x="3787" y="6012"/>
                  </a:cubicBezTo>
                  <a:cubicBezTo>
                    <a:pt x="3835" y="6099"/>
                    <a:pt x="4013" y="6084"/>
                    <a:pt x="3960" y="6190"/>
                  </a:cubicBezTo>
                  <a:cubicBezTo>
                    <a:pt x="3903" y="6302"/>
                    <a:pt x="3742" y="6293"/>
                    <a:pt x="3882" y="6425"/>
                  </a:cubicBezTo>
                  <a:cubicBezTo>
                    <a:pt x="3970" y="6509"/>
                    <a:pt x="3935" y="6534"/>
                    <a:pt x="3912" y="6627"/>
                  </a:cubicBezTo>
                  <a:cubicBezTo>
                    <a:pt x="3899" y="6677"/>
                    <a:pt x="3830" y="6775"/>
                    <a:pt x="3893" y="6796"/>
                  </a:cubicBezTo>
                  <a:cubicBezTo>
                    <a:pt x="4083" y="6858"/>
                    <a:pt x="4136" y="6872"/>
                    <a:pt x="4251" y="7005"/>
                  </a:cubicBezTo>
                  <a:cubicBezTo>
                    <a:pt x="4367" y="7140"/>
                    <a:pt x="4463" y="7261"/>
                    <a:pt x="4635" y="7361"/>
                  </a:cubicBezTo>
                  <a:cubicBezTo>
                    <a:pt x="4751" y="7428"/>
                    <a:pt x="4966" y="7610"/>
                    <a:pt x="4961" y="7720"/>
                  </a:cubicBezTo>
                  <a:cubicBezTo>
                    <a:pt x="4956" y="7809"/>
                    <a:pt x="4975" y="7891"/>
                    <a:pt x="5101" y="7941"/>
                  </a:cubicBezTo>
                  <a:cubicBezTo>
                    <a:pt x="5182" y="7973"/>
                    <a:pt x="5253" y="7932"/>
                    <a:pt x="5272" y="8018"/>
                  </a:cubicBezTo>
                  <a:cubicBezTo>
                    <a:pt x="5289" y="8100"/>
                    <a:pt x="5229" y="8177"/>
                    <a:pt x="5187" y="8251"/>
                  </a:cubicBezTo>
                  <a:cubicBezTo>
                    <a:pt x="5297" y="8204"/>
                    <a:pt x="5201" y="8277"/>
                    <a:pt x="5160" y="8302"/>
                  </a:cubicBezTo>
                  <a:cubicBezTo>
                    <a:pt x="5109" y="8334"/>
                    <a:pt x="5038" y="8352"/>
                    <a:pt x="4990" y="8383"/>
                  </a:cubicBezTo>
                  <a:cubicBezTo>
                    <a:pt x="4905" y="8439"/>
                    <a:pt x="4938" y="8478"/>
                    <a:pt x="4913" y="8546"/>
                  </a:cubicBezTo>
                  <a:cubicBezTo>
                    <a:pt x="4894" y="8596"/>
                    <a:pt x="4837" y="8631"/>
                    <a:pt x="4816" y="8680"/>
                  </a:cubicBezTo>
                  <a:cubicBezTo>
                    <a:pt x="4788" y="8748"/>
                    <a:pt x="4826" y="8825"/>
                    <a:pt x="4804" y="8895"/>
                  </a:cubicBezTo>
                  <a:cubicBezTo>
                    <a:pt x="4794" y="8927"/>
                    <a:pt x="4762" y="8954"/>
                    <a:pt x="4754" y="8987"/>
                  </a:cubicBezTo>
                  <a:cubicBezTo>
                    <a:pt x="4746" y="9022"/>
                    <a:pt x="4777" y="9060"/>
                    <a:pt x="4759" y="9095"/>
                  </a:cubicBezTo>
                  <a:cubicBezTo>
                    <a:pt x="4738" y="9135"/>
                    <a:pt x="4580" y="9163"/>
                    <a:pt x="4530" y="9187"/>
                  </a:cubicBezTo>
                  <a:cubicBezTo>
                    <a:pt x="4443" y="9230"/>
                    <a:pt x="4374" y="9277"/>
                    <a:pt x="4363" y="9346"/>
                  </a:cubicBezTo>
                  <a:cubicBezTo>
                    <a:pt x="4335" y="9512"/>
                    <a:pt x="4574" y="9333"/>
                    <a:pt x="4668" y="9282"/>
                  </a:cubicBezTo>
                  <a:cubicBezTo>
                    <a:pt x="4741" y="9243"/>
                    <a:pt x="4821" y="9185"/>
                    <a:pt x="4885" y="9140"/>
                  </a:cubicBezTo>
                  <a:cubicBezTo>
                    <a:pt x="4924" y="9113"/>
                    <a:pt x="5018" y="9038"/>
                    <a:pt x="5012" y="8996"/>
                  </a:cubicBezTo>
                  <a:cubicBezTo>
                    <a:pt x="4997" y="9005"/>
                    <a:pt x="4968" y="9015"/>
                    <a:pt x="4954" y="9026"/>
                  </a:cubicBezTo>
                  <a:cubicBezTo>
                    <a:pt x="4961" y="8966"/>
                    <a:pt x="5081" y="8925"/>
                    <a:pt x="5111" y="8862"/>
                  </a:cubicBezTo>
                  <a:cubicBezTo>
                    <a:pt x="5137" y="8807"/>
                    <a:pt x="5134" y="8741"/>
                    <a:pt x="5178" y="8693"/>
                  </a:cubicBezTo>
                  <a:cubicBezTo>
                    <a:pt x="5174" y="8752"/>
                    <a:pt x="5095" y="8925"/>
                    <a:pt x="5133" y="8973"/>
                  </a:cubicBezTo>
                  <a:cubicBezTo>
                    <a:pt x="5162" y="9010"/>
                    <a:pt x="5180" y="8966"/>
                    <a:pt x="5257" y="8964"/>
                  </a:cubicBezTo>
                  <a:cubicBezTo>
                    <a:pt x="5320" y="8963"/>
                    <a:pt x="5340" y="9010"/>
                    <a:pt x="5415" y="8985"/>
                  </a:cubicBezTo>
                  <a:cubicBezTo>
                    <a:pt x="5362" y="9060"/>
                    <a:pt x="5298" y="8975"/>
                    <a:pt x="5222" y="8987"/>
                  </a:cubicBezTo>
                  <a:cubicBezTo>
                    <a:pt x="5185" y="8993"/>
                    <a:pt x="5085" y="9066"/>
                    <a:pt x="5056" y="9086"/>
                  </a:cubicBezTo>
                  <a:cubicBezTo>
                    <a:pt x="4956" y="9154"/>
                    <a:pt x="4841" y="9217"/>
                    <a:pt x="4729" y="9280"/>
                  </a:cubicBezTo>
                  <a:cubicBezTo>
                    <a:pt x="4634" y="9334"/>
                    <a:pt x="4413" y="9404"/>
                    <a:pt x="4572" y="9479"/>
                  </a:cubicBezTo>
                  <a:cubicBezTo>
                    <a:pt x="4643" y="9512"/>
                    <a:pt x="4793" y="9544"/>
                    <a:pt x="4880" y="9563"/>
                  </a:cubicBezTo>
                  <a:cubicBezTo>
                    <a:pt x="4809" y="9615"/>
                    <a:pt x="4719" y="9521"/>
                    <a:pt x="4654" y="9519"/>
                  </a:cubicBezTo>
                  <a:cubicBezTo>
                    <a:pt x="4611" y="9518"/>
                    <a:pt x="4473" y="9553"/>
                    <a:pt x="4436" y="9562"/>
                  </a:cubicBezTo>
                  <a:cubicBezTo>
                    <a:pt x="4487" y="9543"/>
                    <a:pt x="4516" y="9489"/>
                    <a:pt x="4428" y="9485"/>
                  </a:cubicBezTo>
                  <a:cubicBezTo>
                    <a:pt x="4373" y="9482"/>
                    <a:pt x="4337" y="9523"/>
                    <a:pt x="4295" y="9541"/>
                  </a:cubicBezTo>
                  <a:cubicBezTo>
                    <a:pt x="4160" y="9602"/>
                    <a:pt x="4196" y="9616"/>
                    <a:pt x="4323" y="9572"/>
                  </a:cubicBezTo>
                  <a:cubicBezTo>
                    <a:pt x="4283" y="9647"/>
                    <a:pt x="4059" y="9644"/>
                    <a:pt x="4053" y="9738"/>
                  </a:cubicBezTo>
                  <a:cubicBezTo>
                    <a:pt x="4050" y="9767"/>
                    <a:pt x="4160" y="9857"/>
                    <a:pt x="4175" y="9894"/>
                  </a:cubicBezTo>
                  <a:cubicBezTo>
                    <a:pt x="4194" y="9944"/>
                    <a:pt x="4233" y="9977"/>
                    <a:pt x="4312" y="9976"/>
                  </a:cubicBezTo>
                  <a:cubicBezTo>
                    <a:pt x="4187" y="10059"/>
                    <a:pt x="4078" y="9787"/>
                    <a:pt x="3999" y="9760"/>
                  </a:cubicBezTo>
                  <a:cubicBezTo>
                    <a:pt x="3637" y="9636"/>
                    <a:pt x="3899" y="10068"/>
                    <a:pt x="3952" y="10142"/>
                  </a:cubicBezTo>
                  <a:cubicBezTo>
                    <a:pt x="3967" y="10086"/>
                    <a:pt x="4044" y="10086"/>
                    <a:pt x="4108" y="10087"/>
                  </a:cubicBezTo>
                  <a:cubicBezTo>
                    <a:pt x="4072" y="10135"/>
                    <a:pt x="3985" y="10108"/>
                    <a:pt x="3939" y="10179"/>
                  </a:cubicBezTo>
                  <a:cubicBezTo>
                    <a:pt x="3901" y="10237"/>
                    <a:pt x="3895" y="10298"/>
                    <a:pt x="3979" y="10347"/>
                  </a:cubicBezTo>
                  <a:cubicBezTo>
                    <a:pt x="3860" y="10368"/>
                    <a:pt x="3827" y="10113"/>
                    <a:pt x="3806" y="10044"/>
                  </a:cubicBezTo>
                  <a:cubicBezTo>
                    <a:pt x="3794" y="10003"/>
                    <a:pt x="3791" y="9828"/>
                    <a:pt x="3735" y="9806"/>
                  </a:cubicBezTo>
                  <a:cubicBezTo>
                    <a:pt x="3686" y="9786"/>
                    <a:pt x="3690" y="9830"/>
                    <a:pt x="3690" y="9854"/>
                  </a:cubicBezTo>
                  <a:cubicBezTo>
                    <a:pt x="3691" y="9899"/>
                    <a:pt x="3657" y="9871"/>
                    <a:pt x="3637" y="9905"/>
                  </a:cubicBezTo>
                  <a:cubicBezTo>
                    <a:pt x="3613" y="9948"/>
                    <a:pt x="3603" y="10016"/>
                    <a:pt x="3577" y="10038"/>
                  </a:cubicBezTo>
                  <a:cubicBezTo>
                    <a:pt x="3556" y="10056"/>
                    <a:pt x="3472" y="10035"/>
                    <a:pt x="3458" y="10106"/>
                  </a:cubicBezTo>
                  <a:cubicBezTo>
                    <a:pt x="3438" y="10205"/>
                    <a:pt x="3651" y="10269"/>
                    <a:pt x="3721" y="10159"/>
                  </a:cubicBezTo>
                  <a:cubicBezTo>
                    <a:pt x="3702" y="10198"/>
                    <a:pt x="3685" y="10253"/>
                    <a:pt x="3661" y="10289"/>
                  </a:cubicBezTo>
                  <a:cubicBezTo>
                    <a:pt x="3646" y="10311"/>
                    <a:pt x="3642" y="10331"/>
                    <a:pt x="3627" y="10349"/>
                  </a:cubicBezTo>
                  <a:cubicBezTo>
                    <a:pt x="3618" y="10359"/>
                    <a:pt x="3564" y="10345"/>
                    <a:pt x="3560" y="10355"/>
                  </a:cubicBezTo>
                  <a:cubicBezTo>
                    <a:pt x="3528" y="10440"/>
                    <a:pt x="3709" y="10528"/>
                    <a:pt x="3809" y="10521"/>
                  </a:cubicBezTo>
                  <a:cubicBezTo>
                    <a:pt x="3953" y="10512"/>
                    <a:pt x="4023" y="10474"/>
                    <a:pt x="4153" y="10549"/>
                  </a:cubicBezTo>
                  <a:cubicBezTo>
                    <a:pt x="4206" y="10579"/>
                    <a:pt x="4250" y="10620"/>
                    <a:pt x="4308" y="10625"/>
                  </a:cubicBezTo>
                  <a:cubicBezTo>
                    <a:pt x="4366" y="10629"/>
                    <a:pt x="4396" y="10572"/>
                    <a:pt x="4460" y="10615"/>
                  </a:cubicBezTo>
                  <a:cubicBezTo>
                    <a:pt x="4362" y="10618"/>
                    <a:pt x="4308" y="10651"/>
                    <a:pt x="4219" y="10629"/>
                  </a:cubicBezTo>
                  <a:cubicBezTo>
                    <a:pt x="4149" y="10611"/>
                    <a:pt x="4102" y="10531"/>
                    <a:pt x="4017" y="10524"/>
                  </a:cubicBezTo>
                  <a:cubicBezTo>
                    <a:pt x="3781" y="10504"/>
                    <a:pt x="3950" y="10839"/>
                    <a:pt x="3966" y="10910"/>
                  </a:cubicBezTo>
                  <a:cubicBezTo>
                    <a:pt x="3897" y="10834"/>
                    <a:pt x="3924" y="10474"/>
                    <a:pt x="3709" y="10572"/>
                  </a:cubicBezTo>
                  <a:cubicBezTo>
                    <a:pt x="3619" y="10613"/>
                    <a:pt x="3438" y="10916"/>
                    <a:pt x="3621" y="10916"/>
                  </a:cubicBezTo>
                  <a:cubicBezTo>
                    <a:pt x="3525" y="11012"/>
                    <a:pt x="3738" y="11149"/>
                    <a:pt x="3760" y="11251"/>
                  </a:cubicBezTo>
                  <a:cubicBezTo>
                    <a:pt x="3761" y="11252"/>
                    <a:pt x="3741" y="11294"/>
                    <a:pt x="3743" y="11319"/>
                  </a:cubicBezTo>
                  <a:cubicBezTo>
                    <a:pt x="3745" y="11352"/>
                    <a:pt x="3761" y="11383"/>
                    <a:pt x="3774" y="11414"/>
                  </a:cubicBezTo>
                  <a:cubicBezTo>
                    <a:pt x="3797" y="11474"/>
                    <a:pt x="3938" y="11806"/>
                    <a:pt x="4023" y="11804"/>
                  </a:cubicBezTo>
                  <a:cubicBezTo>
                    <a:pt x="4075" y="11804"/>
                    <a:pt x="4145" y="11681"/>
                    <a:pt x="4163" y="11651"/>
                  </a:cubicBezTo>
                  <a:cubicBezTo>
                    <a:pt x="4199" y="11590"/>
                    <a:pt x="4217" y="11522"/>
                    <a:pt x="4296" y="11481"/>
                  </a:cubicBezTo>
                  <a:cubicBezTo>
                    <a:pt x="4356" y="11448"/>
                    <a:pt x="4474" y="11442"/>
                    <a:pt x="4525" y="11412"/>
                  </a:cubicBezTo>
                  <a:cubicBezTo>
                    <a:pt x="4539" y="11404"/>
                    <a:pt x="4567" y="11411"/>
                    <a:pt x="4583" y="11399"/>
                  </a:cubicBezTo>
                  <a:cubicBezTo>
                    <a:pt x="4599" y="11386"/>
                    <a:pt x="4568" y="11352"/>
                    <a:pt x="4576" y="11347"/>
                  </a:cubicBezTo>
                  <a:cubicBezTo>
                    <a:pt x="4679" y="11284"/>
                    <a:pt x="4543" y="11375"/>
                    <a:pt x="4647" y="11372"/>
                  </a:cubicBezTo>
                  <a:cubicBezTo>
                    <a:pt x="4709" y="11370"/>
                    <a:pt x="4752" y="11278"/>
                    <a:pt x="4737" y="11221"/>
                  </a:cubicBezTo>
                  <a:cubicBezTo>
                    <a:pt x="4776" y="11250"/>
                    <a:pt x="4753" y="11298"/>
                    <a:pt x="4732" y="11336"/>
                  </a:cubicBezTo>
                  <a:cubicBezTo>
                    <a:pt x="4746" y="11325"/>
                    <a:pt x="4782" y="11310"/>
                    <a:pt x="4796" y="11300"/>
                  </a:cubicBezTo>
                  <a:cubicBezTo>
                    <a:pt x="4787" y="11333"/>
                    <a:pt x="4748" y="11363"/>
                    <a:pt x="4723" y="11390"/>
                  </a:cubicBezTo>
                  <a:cubicBezTo>
                    <a:pt x="4823" y="11343"/>
                    <a:pt x="4938" y="11306"/>
                    <a:pt x="5023" y="11267"/>
                  </a:cubicBezTo>
                  <a:cubicBezTo>
                    <a:pt x="5113" y="11226"/>
                    <a:pt x="5156" y="11165"/>
                    <a:pt x="5271" y="11159"/>
                  </a:cubicBezTo>
                  <a:cubicBezTo>
                    <a:pt x="5233" y="11184"/>
                    <a:pt x="5129" y="11256"/>
                    <a:pt x="5111" y="11289"/>
                  </a:cubicBezTo>
                  <a:cubicBezTo>
                    <a:pt x="5062" y="11375"/>
                    <a:pt x="5198" y="11362"/>
                    <a:pt x="5256" y="11416"/>
                  </a:cubicBezTo>
                  <a:cubicBezTo>
                    <a:pt x="5334" y="11488"/>
                    <a:pt x="5075" y="11369"/>
                    <a:pt x="5089" y="11370"/>
                  </a:cubicBezTo>
                  <a:cubicBezTo>
                    <a:pt x="5066" y="11369"/>
                    <a:pt x="4997" y="11408"/>
                    <a:pt x="4991" y="11410"/>
                  </a:cubicBezTo>
                  <a:cubicBezTo>
                    <a:pt x="4953" y="11423"/>
                    <a:pt x="4911" y="11410"/>
                    <a:pt x="4876" y="11438"/>
                  </a:cubicBezTo>
                  <a:cubicBezTo>
                    <a:pt x="4845" y="11463"/>
                    <a:pt x="4869" y="11507"/>
                    <a:pt x="4847" y="11536"/>
                  </a:cubicBezTo>
                  <a:cubicBezTo>
                    <a:pt x="4823" y="11567"/>
                    <a:pt x="4764" y="11574"/>
                    <a:pt x="4745" y="11603"/>
                  </a:cubicBezTo>
                  <a:cubicBezTo>
                    <a:pt x="4697" y="11676"/>
                    <a:pt x="4798" y="11778"/>
                    <a:pt x="4849" y="11839"/>
                  </a:cubicBezTo>
                  <a:cubicBezTo>
                    <a:pt x="4911" y="11912"/>
                    <a:pt x="4902" y="12001"/>
                    <a:pt x="5056" y="11978"/>
                  </a:cubicBezTo>
                  <a:cubicBezTo>
                    <a:pt x="5103" y="11971"/>
                    <a:pt x="5120" y="11936"/>
                    <a:pt x="5154" y="11939"/>
                  </a:cubicBezTo>
                  <a:cubicBezTo>
                    <a:pt x="5178" y="11941"/>
                    <a:pt x="5229" y="11989"/>
                    <a:pt x="5257" y="11999"/>
                  </a:cubicBezTo>
                  <a:cubicBezTo>
                    <a:pt x="5299" y="12014"/>
                    <a:pt x="5349" y="12003"/>
                    <a:pt x="5390" y="12028"/>
                  </a:cubicBezTo>
                  <a:cubicBezTo>
                    <a:pt x="5449" y="12064"/>
                    <a:pt x="5430" y="12126"/>
                    <a:pt x="5453" y="12181"/>
                  </a:cubicBezTo>
                  <a:cubicBezTo>
                    <a:pt x="5474" y="12230"/>
                    <a:pt x="5543" y="12276"/>
                    <a:pt x="5506" y="12325"/>
                  </a:cubicBezTo>
                  <a:cubicBezTo>
                    <a:pt x="5479" y="12362"/>
                    <a:pt x="5500" y="12405"/>
                    <a:pt x="5506" y="12444"/>
                  </a:cubicBezTo>
                  <a:cubicBezTo>
                    <a:pt x="5456" y="12414"/>
                    <a:pt x="5495" y="12133"/>
                    <a:pt x="5346" y="12229"/>
                  </a:cubicBezTo>
                  <a:cubicBezTo>
                    <a:pt x="5391" y="12179"/>
                    <a:pt x="5452" y="12132"/>
                    <a:pt x="5374" y="12073"/>
                  </a:cubicBezTo>
                  <a:cubicBezTo>
                    <a:pt x="5345" y="12052"/>
                    <a:pt x="5222" y="12004"/>
                    <a:pt x="5182" y="11997"/>
                  </a:cubicBezTo>
                  <a:cubicBezTo>
                    <a:pt x="5149" y="11990"/>
                    <a:pt x="5065" y="11990"/>
                    <a:pt x="5007" y="12004"/>
                  </a:cubicBezTo>
                  <a:cubicBezTo>
                    <a:pt x="4910" y="12029"/>
                    <a:pt x="4954" y="12038"/>
                    <a:pt x="4896" y="12107"/>
                  </a:cubicBezTo>
                  <a:cubicBezTo>
                    <a:pt x="4922" y="12048"/>
                    <a:pt x="4881" y="12004"/>
                    <a:pt x="4845" y="11949"/>
                  </a:cubicBezTo>
                  <a:cubicBezTo>
                    <a:pt x="4822" y="11913"/>
                    <a:pt x="4766" y="11802"/>
                    <a:pt x="4764" y="11899"/>
                  </a:cubicBezTo>
                  <a:cubicBezTo>
                    <a:pt x="4755" y="11879"/>
                    <a:pt x="4729" y="11854"/>
                    <a:pt x="4721" y="11835"/>
                  </a:cubicBezTo>
                  <a:cubicBezTo>
                    <a:pt x="4715" y="11818"/>
                    <a:pt x="4726" y="11765"/>
                    <a:pt x="4715" y="11752"/>
                  </a:cubicBezTo>
                  <a:cubicBezTo>
                    <a:pt x="4686" y="11717"/>
                    <a:pt x="4632" y="11719"/>
                    <a:pt x="4565" y="11714"/>
                  </a:cubicBezTo>
                  <a:cubicBezTo>
                    <a:pt x="4508" y="11710"/>
                    <a:pt x="4485" y="11650"/>
                    <a:pt x="4476" y="11746"/>
                  </a:cubicBezTo>
                  <a:cubicBezTo>
                    <a:pt x="4466" y="11848"/>
                    <a:pt x="4538" y="11776"/>
                    <a:pt x="4559" y="11798"/>
                  </a:cubicBezTo>
                  <a:cubicBezTo>
                    <a:pt x="4607" y="11852"/>
                    <a:pt x="4488" y="11814"/>
                    <a:pt x="4499" y="11888"/>
                  </a:cubicBezTo>
                  <a:cubicBezTo>
                    <a:pt x="4506" y="11935"/>
                    <a:pt x="4439" y="11962"/>
                    <a:pt x="4431" y="12003"/>
                  </a:cubicBezTo>
                  <a:cubicBezTo>
                    <a:pt x="4416" y="12073"/>
                    <a:pt x="4584" y="12332"/>
                    <a:pt x="4598" y="12195"/>
                  </a:cubicBezTo>
                  <a:cubicBezTo>
                    <a:pt x="4640" y="12259"/>
                    <a:pt x="4620" y="12346"/>
                    <a:pt x="4739" y="12367"/>
                  </a:cubicBezTo>
                  <a:cubicBezTo>
                    <a:pt x="4633" y="12358"/>
                    <a:pt x="4688" y="12395"/>
                    <a:pt x="4675" y="12412"/>
                  </a:cubicBezTo>
                  <a:cubicBezTo>
                    <a:pt x="4650" y="12445"/>
                    <a:pt x="4640" y="12468"/>
                    <a:pt x="4621" y="12509"/>
                  </a:cubicBezTo>
                  <a:cubicBezTo>
                    <a:pt x="4595" y="12567"/>
                    <a:pt x="4551" y="12643"/>
                    <a:pt x="4543" y="12698"/>
                  </a:cubicBezTo>
                  <a:cubicBezTo>
                    <a:pt x="4532" y="12768"/>
                    <a:pt x="4612" y="12879"/>
                    <a:pt x="4731" y="12891"/>
                  </a:cubicBezTo>
                  <a:cubicBezTo>
                    <a:pt x="4827" y="12901"/>
                    <a:pt x="4931" y="12827"/>
                    <a:pt x="4984" y="12774"/>
                  </a:cubicBezTo>
                  <a:cubicBezTo>
                    <a:pt x="5010" y="12799"/>
                    <a:pt x="5047" y="12810"/>
                    <a:pt x="5091" y="12808"/>
                  </a:cubicBezTo>
                  <a:cubicBezTo>
                    <a:pt x="5045" y="12837"/>
                    <a:pt x="4984" y="12821"/>
                    <a:pt x="4937" y="12856"/>
                  </a:cubicBezTo>
                  <a:cubicBezTo>
                    <a:pt x="4903" y="12881"/>
                    <a:pt x="4904" y="12939"/>
                    <a:pt x="4884" y="12971"/>
                  </a:cubicBezTo>
                  <a:cubicBezTo>
                    <a:pt x="4818" y="13074"/>
                    <a:pt x="4642" y="13143"/>
                    <a:pt x="4578" y="13257"/>
                  </a:cubicBezTo>
                  <a:cubicBezTo>
                    <a:pt x="4546" y="13313"/>
                    <a:pt x="4540" y="13382"/>
                    <a:pt x="4456" y="13420"/>
                  </a:cubicBezTo>
                  <a:cubicBezTo>
                    <a:pt x="4430" y="13432"/>
                    <a:pt x="4382" y="13421"/>
                    <a:pt x="4339" y="13441"/>
                  </a:cubicBezTo>
                  <a:cubicBezTo>
                    <a:pt x="4339" y="13441"/>
                    <a:pt x="4267" y="13512"/>
                    <a:pt x="4271" y="13505"/>
                  </a:cubicBezTo>
                  <a:cubicBezTo>
                    <a:pt x="4257" y="13529"/>
                    <a:pt x="4193" y="13530"/>
                    <a:pt x="4278" y="13563"/>
                  </a:cubicBezTo>
                  <a:cubicBezTo>
                    <a:pt x="4339" y="13586"/>
                    <a:pt x="4317" y="13573"/>
                    <a:pt x="4378" y="13554"/>
                  </a:cubicBezTo>
                  <a:cubicBezTo>
                    <a:pt x="4446" y="13532"/>
                    <a:pt x="4531" y="13476"/>
                    <a:pt x="4583" y="13444"/>
                  </a:cubicBezTo>
                  <a:cubicBezTo>
                    <a:pt x="4649" y="13403"/>
                    <a:pt x="4680" y="13353"/>
                    <a:pt x="4772" y="13327"/>
                  </a:cubicBezTo>
                  <a:cubicBezTo>
                    <a:pt x="4856" y="13305"/>
                    <a:pt x="4935" y="13334"/>
                    <a:pt x="5016" y="13309"/>
                  </a:cubicBezTo>
                  <a:cubicBezTo>
                    <a:pt x="5007" y="13336"/>
                    <a:pt x="4951" y="13365"/>
                    <a:pt x="4918" y="13372"/>
                  </a:cubicBezTo>
                  <a:cubicBezTo>
                    <a:pt x="4884" y="13380"/>
                    <a:pt x="4871" y="13349"/>
                    <a:pt x="4824" y="13360"/>
                  </a:cubicBezTo>
                  <a:cubicBezTo>
                    <a:pt x="4713" y="13387"/>
                    <a:pt x="4673" y="13460"/>
                    <a:pt x="4698" y="13535"/>
                  </a:cubicBezTo>
                  <a:cubicBezTo>
                    <a:pt x="4727" y="13620"/>
                    <a:pt x="4825" y="13614"/>
                    <a:pt x="4877" y="13537"/>
                  </a:cubicBezTo>
                  <a:cubicBezTo>
                    <a:pt x="4895" y="13511"/>
                    <a:pt x="4874" y="13476"/>
                    <a:pt x="4903" y="13441"/>
                  </a:cubicBezTo>
                  <a:cubicBezTo>
                    <a:pt x="4920" y="13420"/>
                    <a:pt x="4942" y="13404"/>
                    <a:pt x="4967" y="13391"/>
                  </a:cubicBezTo>
                  <a:cubicBezTo>
                    <a:pt x="4965" y="13435"/>
                    <a:pt x="4908" y="13428"/>
                    <a:pt x="4892" y="13464"/>
                  </a:cubicBezTo>
                  <a:cubicBezTo>
                    <a:pt x="4877" y="13496"/>
                    <a:pt x="4916" y="13532"/>
                    <a:pt x="4906" y="13562"/>
                  </a:cubicBezTo>
                  <a:cubicBezTo>
                    <a:pt x="4882" y="13629"/>
                    <a:pt x="4799" y="13591"/>
                    <a:pt x="4767" y="13674"/>
                  </a:cubicBezTo>
                  <a:cubicBezTo>
                    <a:pt x="4676" y="13910"/>
                    <a:pt x="4961" y="13676"/>
                    <a:pt x="5045" y="13656"/>
                  </a:cubicBezTo>
                  <a:cubicBezTo>
                    <a:pt x="5045" y="13658"/>
                    <a:pt x="5046" y="13660"/>
                    <a:pt x="5046" y="13662"/>
                  </a:cubicBezTo>
                  <a:cubicBezTo>
                    <a:pt x="5074" y="13702"/>
                    <a:pt x="4872" y="13761"/>
                    <a:pt x="5094" y="13757"/>
                  </a:cubicBezTo>
                  <a:cubicBezTo>
                    <a:pt x="5146" y="13757"/>
                    <a:pt x="5243" y="13741"/>
                    <a:pt x="5316" y="13719"/>
                  </a:cubicBezTo>
                  <a:cubicBezTo>
                    <a:pt x="5408" y="13693"/>
                    <a:pt x="5428" y="13673"/>
                    <a:pt x="5531" y="13664"/>
                  </a:cubicBezTo>
                  <a:cubicBezTo>
                    <a:pt x="5561" y="13662"/>
                    <a:pt x="5631" y="13663"/>
                    <a:pt x="5656" y="13649"/>
                  </a:cubicBezTo>
                  <a:cubicBezTo>
                    <a:pt x="5701" y="13625"/>
                    <a:pt x="5658" y="13605"/>
                    <a:pt x="5690" y="13577"/>
                  </a:cubicBezTo>
                  <a:cubicBezTo>
                    <a:pt x="5802" y="13479"/>
                    <a:pt x="6038" y="13513"/>
                    <a:pt x="6143" y="13417"/>
                  </a:cubicBezTo>
                  <a:cubicBezTo>
                    <a:pt x="6235" y="13334"/>
                    <a:pt x="6186" y="13247"/>
                    <a:pt x="6197" y="13149"/>
                  </a:cubicBezTo>
                  <a:cubicBezTo>
                    <a:pt x="6315" y="13271"/>
                    <a:pt x="6286" y="13447"/>
                    <a:pt x="6090" y="13508"/>
                  </a:cubicBezTo>
                  <a:cubicBezTo>
                    <a:pt x="6031" y="13527"/>
                    <a:pt x="5930" y="13520"/>
                    <a:pt x="5859" y="13543"/>
                  </a:cubicBezTo>
                  <a:cubicBezTo>
                    <a:pt x="5767" y="13572"/>
                    <a:pt x="5722" y="13599"/>
                    <a:pt x="5709" y="13672"/>
                  </a:cubicBezTo>
                  <a:cubicBezTo>
                    <a:pt x="5694" y="13755"/>
                    <a:pt x="5708" y="13842"/>
                    <a:pt x="5827" y="13880"/>
                  </a:cubicBezTo>
                  <a:cubicBezTo>
                    <a:pt x="5917" y="13909"/>
                    <a:pt x="5982" y="13879"/>
                    <a:pt x="6082" y="13883"/>
                  </a:cubicBezTo>
                  <a:cubicBezTo>
                    <a:pt x="6121" y="13885"/>
                    <a:pt x="6188" y="13871"/>
                    <a:pt x="6215" y="13898"/>
                  </a:cubicBezTo>
                  <a:cubicBezTo>
                    <a:pt x="6252" y="13935"/>
                    <a:pt x="6164" y="13912"/>
                    <a:pt x="6143" y="13916"/>
                  </a:cubicBezTo>
                  <a:cubicBezTo>
                    <a:pt x="6038" y="13938"/>
                    <a:pt x="5986" y="13900"/>
                    <a:pt x="5938" y="13979"/>
                  </a:cubicBezTo>
                  <a:cubicBezTo>
                    <a:pt x="5841" y="14138"/>
                    <a:pt x="6159" y="14289"/>
                    <a:pt x="6036" y="14463"/>
                  </a:cubicBezTo>
                  <a:cubicBezTo>
                    <a:pt x="6026" y="14367"/>
                    <a:pt x="5977" y="14285"/>
                    <a:pt x="5923" y="14197"/>
                  </a:cubicBezTo>
                  <a:cubicBezTo>
                    <a:pt x="5883" y="14131"/>
                    <a:pt x="5908" y="14103"/>
                    <a:pt x="5897" y="14044"/>
                  </a:cubicBezTo>
                  <a:cubicBezTo>
                    <a:pt x="5884" y="13975"/>
                    <a:pt x="5814" y="13912"/>
                    <a:pt x="5718" y="13898"/>
                  </a:cubicBezTo>
                  <a:cubicBezTo>
                    <a:pt x="5627" y="13885"/>
                    <a:pt x="5636" y="13911"/>
                    <a:pt x="5550" y="13933"/>
                  </a:cubicBezTo>
                  <a:cubicBezTo>
                    <a:pt x="5478" y="13951"/>
                    <a:pt x="5423" y="13938"/>
                    <a:pt x="5350" y="13947"/>
                  </a:cubicBezTo>
                  <a:cubicBezTo>
                    <a:pt x="5239" y="13959"/>
                    <a:pt x="5267" y="13983"/>
                    <a:pt x="5230" y="14041"/>
                  </a:cubicBezTo>
                  <a:cubicBezTo>
                    <a:pt x="5185" y="14112"/>
                    <a:pt x="5223" y="14092"/>
                    <a:pt x="5096" y="14093"/>
                  </a:cubicBezTo>
                  <a:cubicBezTo>
                    <a:pt x="5074" y="14093"/>
                    <a:pt x="5040" y="14084"/>
                    <a:pt x="5011" y="14085"/>
                  </a:cubicBezTo>
                  <a:cubicBezTo>
                    <a:pt x="5008" y="14085"/>
                    <a:pt x="4958" y="14112"/>
                    <a:pt x="4940" y="14115"/>
                  </a:cubicBezTo>
                  <a:cubicBezTo>
                    <a:pt x="4951" y="14107"/>
                    <a:pt x="4963" y="14098"/>
                    <a:pt x="4974" y="14090"/>
                  </a:cubicBezTo>
                  <a:cubicBezTo>
                    <a:pt x="5024" y="14050"/>
                    <a:pt x="5013" y="14059"/>
                    <a:pt x="5074" y="14047"/>
                  </a:cubicBezTo>
                  <a:cubicBezTo>
                    <a:pt x="5110" y="14040"/>
                    <a:pt x="5145" y="14098"/>
                    <a:pt x="5185" y="14046"/>
                  </a:cubicBezTo>
                  <a:cubicBezTo>
                    <a:pt x="5244" y="13966"/>
                    <a:pt x="5022" y="14007"/>
                    <a:pt x="4980" y="14026"/>
                  </a:cubicBezTo>
                  <a:cubicBezTo>
                    <a:pt x="4902" y="14062"/>
                    <a:pt x="4904" y="14132"/>
                    <a:pt x="4843" y="14173"/>
                  </a:cubicBezTo>
                  <a:cubicBezTo>
                    <a:pt x="4766" y="14223"/>
                    <a:pt x="4728" y="14165"/>
                    <a:pt x="4618" y="14191"/>
                  </a:cubicBezTo>
                  <a:cubicBezTo>
                    <a:pt x="4473" y="14226"/>
                    <a:pt x="4404" y="14397"/>
                    <a:pt x="4374" y="14492"/>
                  </a:cubicBezTo>
                  <a:cubicBezTo>
                    <a:pt x="4360" y="14536"/>
                    <a:pt x="4338" y="14702"/>
                    <a:pt x="4366" y="14730"/>
                  </a:cubicBezTo>
                  <a:cubicBezTo>
                    <a:pt x="4390" y="14753"/>
                    <a:pt x="4504" y="14732"/>
                    <a:pt x="4485" y="14783"/>
                  </a:cubicBezTo>
                  <a:cubicBezTo>
                    <a:pt x="4479" y="14800"/>
                    <a:pt x="4403" y="14790"/>
                    <a:pt x="4375" y="14786"/>
                  </a:cubicBezTo>
                  <a:cubicBezTo>
                    <a:pt x="4486" y="14973"/>
                    <a:pt x="4619" y="14771"/>
                    <a:pt x="4675" y="14717"/>
                  </a:cubicBezTo>
                  <a:cubicBezTo>
                    <a:pt x="4704" y="14689"/>
                    <a:pt x="4850" y="14653"/>
                    <a:pt x="4850" y="14654"/>
                  </a:cubicBezTo>
                  <a:cubicBezTo>
                    <a:pt x="4851" y="14644"/>
                    <a:pt x="4687" y="14579"/>
                    <a:pt x="4664" y="14560"/>
                  </a:cubicBezTo>
                  <a:cubicBezTo>
                    <a:pt x="4732" y="14547"/>
                    <a:pt x="4776" y="14595"/>
                    <a:pt x="4827" y="14591"/>
                  </a:cubicBezTo>
                  <a:cubicBezTo>
                    <a:pt x="4906" y="14584"/>
                    <a:pt x="4867" y="14554"/>
                    <a:pt x="4922" y="14530"/>
                  </a:cubicBezTo>
                  <a:cubicBezTo>
                    <a:pt x="4974" y="14507"/>
                    <a:pt x="4987" y="14527"/>
                    <a:pt x="5037" y="14503"/>
                  </a:cubicBezTo>
                  <a:cubicBezTo>
                    <a:pt x="5064" y="14490"/>
                    <a:pt x="5104" y="14442"/>
                    <a:pt x="5129" y="14426"/>
                  </a:cubicBezTo>
                  <a:cubicBezTo>
                    <a:pt x="5120" y="14527"/>
                    <a:pt x="5002" y="14530"/>
                    <a:pt x="4944" y="14572"/>
                  </a:cubicBezTo>
                  <a:cubicBezTo>
                    <a:pt x="4838" y="14651"/>
                    <a:pt x="4992" y="14701"/>
                    <a:pt x="5032" y="14627"/>
                  </a:cubicBezTo>
                  <a:cubicBezTo>
                    <a:pt x="5111" y="14707"/>
                    <a:pt x="5181" y="14697"/>
                    <a:pt x="5300" y="14722"/>
                  </a:cubicBezTo>
                  <a:cubicBezTo>
                    <a:pt x="5386" y="14740"/>
                    <a:pt x="5456" y="14778"/>
                    <a:pt x="5539" y="14805"/>
                  </a:cubicBezTo>
                  <a:cubicBezTo>
                    <a:pt x="5623" y="14832"/>
                    <a:pt x="5729" y="14884"/>
                    <a:pt x="5802" y="14865"/>
                  </a:cubicBezTo>
                  <a:cubicBezTo>
                    <a:pt x="5912" y="14835"/>
                    <a:pt x="5845" y="14797"/>
                    <a:pt x="5905" y="14734"/>
                  </a:cubicBezTo>
                  <a:cubicBezTo>
                    <a:pt x="5940" y="14924"/>
                    <a:pt x="5797" y="14922"/>
                    <a:pt x="5592" y="14867"/>
                  </a:cubicBezTo>
                  <a:cubicBezTo>
                    <a:pt x="5424" y="14821"/>
                    <a:pt x="5282" y="14753"/>
                    <a:pt x="5105" y="14723"/>
                  </a:cubicBezTo>
                  <a:cubicBezTo>
                    <a:pt x="5031" y="14710"/>
                    <a:pt x="4915" y="14695"/>
                    <a:pt x="4841" y="14703"/>
                  </a:cubicBezTo>
                  <a:cubicBezTo>
                    <a:pt x="4719" y="14718"/>
                    <a:pt x="4748" y="14755"/>
                    <a:pt x="4690" y="14821"/>
                  </a:cubicBezTo>
                  <a:cubicBezTo>
                    <a:pt x="4644" y="14872"/>
                    <a:pt x="4569" y="14880"/>
                    <a:pt x="4499" y="14906"/>
                  </a:cubicBezTo>
                  <a:cubicBezTo>
                    <a:pt x="4461" y="14920"/>
                    <a:pt x="4435" y="14948"/>
                    <a:pt x="4400" y="14955"/>
                  </a:cubicBezTo>
                  <a:cubicBezTo>
                    <a:pt x="4383" y="14959"/>
                    <a:pt x="4339" y="14936"/>
                    <a:pt x="4307" y="14945"/>
                  </a:cubicBezTo>
                  <a:cubicBezTo>
                    <a:pt x="4043" y="15015"/>
                    <a:pt x="4569" y="15049"/>
                    <a:pt x="4622" y="15061"/>
                  </a:cubicBezTo>
                  <a:cubicBezTo>
                    <a:pt x="4603" y="15068"/>
                    <a:pt x="4575" y="15091"/>
                    <a:pt x="4549" y="15099"/>
                  </a:cubicBezTo>
                  <a:cubicBezTo>
                    <a:pt x="4775" y="15163"/>
                    <a:pt x="4847" y="15228"/>
                    <a:pt x="5071" y="15127"/>
                  </a:cubicBezTo>
                  <a:cubicBezTo>
                    <a:pt x="4990" y="15349"/>
                    <a:pt x="4631" y="15137"/>
                    <a:pt x="4471" y="15116"/>
                  </a:cubicBezTo>
                  <a:cubicBezTo>
                    <a:pt x="4419" y="15109"/>
                    <a:pt x="4264" y="15096"/>
                    <a:pt x="4211" y="15107"/>
                  </a:cubicBezTo>
                  <a:cubicBezTo>
                    <a:pt x="4033" y="15144"/>
                    <a:pt x="4146" y="15247"/>
                    <a:pt x="4225" y="15310"/>
                  </a:cubicBezTo>
                  <a:cubicBezTo>
                    <a:pt x="4282" y="15355"/>
                    <a:pt x="4331" y="15348"/>
                    <a:pt x="4376" y="15368"/>
                  </a:cubicBezTo>
                  <a:cubicBezTo>
                    <a:pt x="4427" y="15390"/>
                    <a:pt x="4453" y="15427"/>
                    <a:pt x="4504" y="15460"/>
                  </a:cubicBezTo>
                  <a:cubicBezTo>
                    <a:pt x="4554" y="15492"/>
                    <a:pt x="4622" y="15514"/>
                    <a:pt x="4686" y="15530"/>
                  </a:cubicBezTo>
                  <a:cubicBezTo>
                    <a:pt x="4831" y="15568"/>
                    <a:pt x="4986" y="15580"/>
                    <a:pt x="5135" y="15604"/>
                  </a:cubicBezTo>
                  <a:cubicBezTo>
                    <a:pt x="5258" y="15624"/>
                    <a:pt x="5407" y="15614"/>
                    <a:pt x="5470" y="15523"/>
                  </a:cubicBezTo>
                  <a:cubicBezTo>
                    <a:pt x="5523" y="15606"/>
                    <a:pt x="5387" y="15597"/>
                    <a:pt x="5343" y="15636"/>
                  </a:cubicBezTo>
                  <a:cubicBezTo>
                    <a:pt x="5295" y="15678"/>
                    <a:pt x="5352" y="15713"/>
                    <a:pt x="5304" y="15758"/>
                  </a:cubicBezTo>
                  <a:cubicBezTo>
                    <a:pt x="5262" y="15796"/>
                    <a:pt x="5282" y="15715"/>
                    <a:pt x="5273" y="15707"/>
                  </a:cubicBezTo>
                  <a:cubicBezTo>
                    <a:pt x="5241" y="15677"/>
                    <a:pt x="5217" y="15648"/>
                    <a:pt x="5157" y="15632"/>
                  </a:cubicBezTo>
                  <a:cubicBezTo>
                    <a:pt x="5086" y="15613"/>
                    <a:pt x="4991" y="15612"/>
                    <a:pt x="4918" y="15598"/>
                  </a:cubicBezTo>
                  <a:cubicBezTo>
                    <a:pt x="4735" y="15561"/>
                    <a:pt x="4620" y="15531"/>
                    <a:pt x="4479" y="15448"/>
                  </a:cubicBezTo>
                  <a:cubicBezTo>
                    <a:pt x="4413" y="15409"/>
                    <a:pt x="4348" y="15385"/>
                    <a:pt x="4319" y="15475"/>
                  </a:cubicBezTo>
                  <a:cubicBezTo>
                    <a:pt x="4296" y="15545"/>
                    <a:pt x="4326" y="15491"/>
                    <a:pt x="4380" y="15561"/>
                  </a:cubicBezTo>
                  <a:cubicBezTo>
                    <a:pt x="4406" y="15595"/>
                    <a:pt x="4343" y="15601"/>
                    <a:pt x="4389" y="15636"/>
                  </a:cubicBezTo>
                  <a:cubicBezTo>
                    <a:pt x="4445" y="15678"/>
                    <a:pt x="4526" y="15696"/>
                    <a:pt x="4575" y="15733"/>
                  </a:cubicBezTo>
                  <a:cubicBezTo>
                    <a:pt x="4627" y="15773"/>
                    <a:pt x="4664" y="15833"/>
                    <a:pt x="4724" y="15869"/>
                  </a:cubicBezTo>
                  <a:cubicBezTo>
                    <a:pt x="4811" y="15920"/>
                    <a:pt x="4831" y="15905"/>
                    <a:pt x="4941" y="15875"/>
                  </a:cubicBezTo>
                  <a:cubicBezTo>
                    <a:pt x="4852" y="15826"/>
                    <a:pt x="4754" y="15799"/>
                    <a:pt x="4671" y="15736"/>
                  </a:cubicBezTo>
                  <a:cubicBezTo>
                    <a:pt x="4775" y="15708"/>
                    <a:pt x="4838" y="15824"/>
                    <a:pt x="4945" y="15832"/>
                  </a:cubicBezTo>
                  <a:cubicBezTo>
                    <a:pt x="4996" y="15835"/>
                    <a:pt x="5038" y="15802"/>
                    <a:pt x="5070" y="15807"/>
                  </a:cubicBezTo>
                  <a:cubicBezTo>
                    <a:pt x="5123" y="15818"/>
                    <a:pt x="5179" y="15911"/>
                    <a:pt x="5221" y="15937"/>
                  </a:cubicBezTo>
                  <a:cubicBezTo>
                    <a:pt x="5261" y="15963"/>
                    <a:pt x="5438" y="15946"/>
                    <a:pt x="5478" y="15905"/>
                  </a:cubicBezTo>
                  <a:cubicBezTo>
                    <a:pt x="5529" y="15852"/>
                    <a:pt x="5476" y="15798"/>
                    <a:pt x="5567" y="15744"/>
                  </a:cubicBezTo>
                  <a:cubicBezTo>
                    <a:pt x="5580" y="15840"/>
                    <a:pt x="5496" y="15867"/>
                    <a:pt x="5623" y="15945"/>
                  </a:cubicBezTo>
                  <a:cubicBezTo>
                    <a:pt x="5694" y="15987"/>
                    <a:pt x="5816" y="16032"/>
                    <a:pt x="5907" y="15998"/>
                  </a:cubicBezTo>
                  <a:cubicBezTo>
                    <a:pt x="5875" y="16143"/>
                    <a:pt x="5521" y="15910"/>
                    <a:pt x="5415" y="15969"/>
                  </a:cubicBezTo>
                  <a:cubicBezTo>
                    <a:pt x="5349" y="16006"/>
                    <a:pt x="5366" y="16046"/>
                    <a:pt x="5438" y="16073"/>
                  </a:cubicBezTo>
                  <a:cubicBezTo>
                    <a:pt x="5506" y="16098"/>
                    <a:pt x="5510" y="16067"/>
                    <a:pt x="5568" y="16069"/>
                  </a:cubicBezTo>
                  <a:cubicBezTo>
                    <a:pt x="5660" y="16073"/>
                    <a:pt x="5763" y="16113"/>
                    <a:pt x="5839" y="16113"/>
                  </a:cubicBezTo>
                  <a:cubicBezTo>
                    <a:pt x="5826" y="16209"/>
                    <a:pt x="5735" y="16189"/>
                    <a:pt x="5882" y="16244"/>
                  </a:cubicBezTo>
                  <a:cubicBezTo>
                    <a:pt x="5912" y="16255"/>
                    <a:pt x="6015" y="16228"/>
                    <a:pt x="5951" y="16274"/>
                  </a:cubicBezTo>
                  <a:cubicBezTo>
                    <a:pt x="5938" y="16282"/>
                    <a:pt x="5848" y="16286"/>
                    <a:pt x="5826" y="16290"/>
                  </a:cubicBezTo>
                  <a:cubicBezTo>
                    <a:pt x="5751" y="16302"/>
                    <a:pt x="5623" y="16326"/>
                    <a:pt x="5707" y="16372"/>
                  </a:cubicBezTo>
                  <a:cubicBezTo>
                    <a:pt x="5778" y="16412"/>
                    <a:pt x="5894" y="16365"/>
                    <a:pt x="5962" y="16378"/>
                  </a:cubicBezTo>
                  <a:cubicBezTo>
                    <a:pt x="6050" y="16396"/>
                    <a:pt x="6115" y="16449"/>
                    <a:pt x="6226" y="16444"/>
                  </a:cubicBezTo>
                  <a:cubicBezTo>
                    <a:pt x="6291" y="16441"/>
                    <a:pt x="6274" y="16426"/>
                    <a:pt x="6329" y="16413"/>
                  </a:cubicBezTo>
                  <a:cubicBezTo>
                    <a:pt x="6331" y="16412"/>
                    <a:pt x="6450" y="16381"/>
                    <a:pt x="6440" y="16390"/>
                  </a:cubicBezTo>
                  <a:cubicBezTo>
                    <a:pt x="6505" y="16330"/>
                    <a:pt x="6397" y="16285"/>
                    <a:pt x="6542" y="16241"/>
                  </a:cubicBezTo>
                  <a:cubicBezTo>
                    <a:pt x="6592" y="16226"/>
                    <a:pt x="6624" y="16260"/>
                    <a:pt x="6665" y="16223"/>
                  </a:cubicBezTo>
                  <a:cubicBezTo>
                    <a:pt x="6694" y="16196"/>
                    <a:pt x="6658" y="16155"/>
                    <a:pt x="6655" y="16124"/>
                  </a:cubicBezTo>
                  <a:cubicBezTo>
                    <a:pt x="6650" y="16076"/>
                    <a:pt x="6640" y="16004"/>
                    <a:pt x="6676" y="15965"/>
                  </a:cubicBezTo>
                  <a:cubicBezTo>
                    <a:pt x="6740" y="16056"/>
                    <a:pt x="6753" y="16176"/>
                    <a:pt x="6675" y="16250"/>
                  </a:cubicBezTo>
                  <a:cubicBezTo>
                    <a:pt x="6661" y="16264"/>
                    <a:pt x="6647" y="16300"/>
                    <a:pt x="6624" y="16306"/>
                  </a:cubicBezTo>
                  <a:cubicBezTo>
                    <a:pt x="6602" y="16311"/>
                    <a:pt x="6565" y="16290"/>
                    <a:pt x="6568" y="16289"/>
                  </a:cubicBezTo>
                  <a:cubicBezTo>
                    <a:pt x="6482" y="16320"/>
                    <a:pt x="6526" y="16287"/>
                    <a:pt x="6488" y="16355"/>
                  </a:cubicBezTo>
                  <a:cubicBezTo>
                    <a:pt x="6456" y="16414"/>
                    <a:pt x="6435" y="16449"/>
                    <a:pt x="6338" y="16474"/>
                  </a:cubicBezTo>
                  <a:cubicBezTo>
                    <a:pt x="6319" y="16478"/>
                    <a:pt x="6317" y="16504"/>
                    <a:pt x="6287" y="16509"/>
                  </a:cubicBezTo>
                  <a:cubicBezTo>
                    <a:pt x="6266" y="16513"/>
                    <a:pt x="6252" y="16485"/>
                    <a:pt x="6228" y="16485"/>
                  </a:cubicBezTo>
                  <a:cubicBezTo>
                    <a:pt x="6188" y="16484"/>
                    <a:pt x="6149" y="16480"/>
                    <a:pt x="6113" y="16478"/>
                  </a:cubicBezTo>
                  <a:cubicBezTo>
                    <a:pt x="5959" y="16468"/>
                    <a:pt x="5814" y="16400"/>
                    <a:pt x="5649" y="16403"/>
                  </a:cubicBezTo>
                  <a:cubicBezTo>
                    <a:pt x="5512" y="16405"/>
                    <a:pt x="5580" y="16466"/>
                    <a:pt x="5688" y="16480"/>
                  </a:cubicBezTo>
                  <a:cubicBezTo>
                    <a:pt x="5748" y="16488"/>
                    <a:pt x="5893" y="16445"/>
                    <a:pt x="5943" y="16473"/>
                  </a:cubicBezTo>
                  <a:cubicBezTo>
                    <a:pt x="6033" y="16524"/>
                    <a:pt x="5807" y="16509"/>
                    <a:pt x="5765" y="16509"/>
                  </a:cubicBezTo>
                  <a:cubicBezTo>
                    <a:pt x="5686" y="16508"/>
                    <a:pt x="5600" y="16495"/>
                    <a:pt x="5610" y="16576"/>
                  </a:cubicBezTo>
                  <a:cubicBezTo>
                    <a:pt x="5560" y="16505"/>
                    <a:pt x="5402" y="16542"/>
                    <a:pt x="5581" y="16614"/>
                  </a:cubicBezTo>
                  <a:cubicBezTo>
                    <a:pt x="5654" y="16644"/>
                    <a:pt x="5735" y="16669"/>
                    <a:pt x="5811" y="16690"/>
                  </a:cubicBezTo>
                  <a:cubicBezTo>
                    <a:pt x="5902" y="16715"/>
                    <a:pt x="5932" y="16695"/>
                    <a:pt x="6025" y="16690"/>
                  </a:cubicBezTo>
                  <a:cubicBezTo>
                    <a:pt x="6071" y="16687"/>
                    <a:pt x="6063" y="16654"/>
                    <a:pt x="6118" y="16697"/>
                  </a:cubicBezTo>
                  <a:cubicBezTo>
                    <a:pt x="6158" y="16728"/>
                    <a:pt x="6074" y="16705"/>
                    <a:pt x="6079" y="16739"/>
                  </a:cubicBezTo>
                  <a:cubicBezTo>
                    <a:pt x="6110" y="16955"/>
                    <a:pt x="6345" y="16750"/>
                    <a:pt x="6409" y="16681"/>
                  </a:cubicBezTo>
                  <a:cubicBezTo>
                    <a:pt x="6466" y="16620"/>
                    <a:pt x="6448" y="16584"/>
                    <a:pt x="6563" y="16556"/>
                  </a:cubicBezTo>
                  <a:cubicBezTo>
                    <a:pt x="6570" y="16554"/>
                    <a:pt x="6702" y="16514"/>
                    <a:pt x="6654" y="16553"/>
                  </a:cubicBezTo>
                  <a:cubicBezTo>
                    <a:pt x="6614" y="16585"/>
                    <a:pt x="6571" y="16570"/>
                    <a:pt x="6539" y="16588"/>
                  </a:cubicBezTo>
                  <a:cubicBezTo>
                    <a:pt x="6452" y="16638"/>
                    <a:pt x="6468" y="16697"/>
                    <a:pt x="6420" y="16756"/>
                  </a:cubicBezTo>
                  <a:cubicBezTo>
                    <a:pt x="6373" y="16813"/>
                    <a:pt x="6270" y="16871"/>
                    <a:pt x="6460" y="16875"/>
                  </a:cubicBezTo>
                  <a:cubicBezTo>
                    <a:pt x="6532" y="16876"/>
                    <a:pt x="6610" y="16788"/>
                    <a:pt x="6626" y="16790"/>
                  </a:cubicBezTo>
                  <a:cubicBezTo>
                    <a:pt x="6664" y="16794"/>
                    <a:pt x="6589" y="16976"/>
                    <a:pt x="6748" y="16879"/>
                  </a:cubicBezTo>
                  <a:cubicBezTo>
                    <a:pt x="6726" y="16928"/>
                    <a:pt x="6727" y="17024"/>
                    <a:pt x="6837" y="17009"/>
                  </a:cubicBezTo>
                  <a:cubicBezTo>
                    <a:pt x="6882" y="17002"/>
                    <a:pt x="6929" y="16943"/>
                    <a:pt x="6969" y="16918"/>
                  </a:cubicBezTo>
                  <a:cubicBezTo>
                    <a:pt x="7050" y="16868"/>
                    <a:pt x="7204" y="16863"/>
                    <a:pt x="7266" y="16812"/>
                  </a:cubicBezTo>
                  <a:cubicBezTo>
                    <a:pt x="7271" y="16807"/>
                    <a:pt x="7334" y="16690"/>
                    <a:pt x="7337" y="16679"/>
                  </a:cubicBezTo>
                  <a:cubicBezTo>
                    <a:pt x="7348" y="16631"/>
                    <a:pt x="7275" y="16576"/>
                    <a:pt x="7317" y="16532"/>
                  </a:cubicBezTo>
                  <a:cubicBezTo>
                    <a:pt x="7329" y="16520"/>
                    <a:pt x="7461" y="16470"/>
                    <a:pt x="7490" y="16456"/>
                  </a:cubicBezTo>
                  <a:cubicBezTo>
                    <a:pt x="7521" y="16441"/>
                    <a:pt x="7495" y="16400"/>
                    <a:pt x="7547" y="16418"/>
                  </a:cubicBezTo>
                  <a:cubicBezTo>
                    <a:pt x="7585" y="16430"/>
                    <a:pt x="7559" y="16482"/>
                    <a:pt x="7547" y="16499"/>
                  </a:cubicBezTo>
                  <a:cubicBezTo>
                    <a:pt x="7528" y="16526"/>
                    <a:pt x="7355" y="16568"/>
                    <a:pt x="7362" y="16596"/>
                  </a:cubicBezTo>
                  <a:cubicBezTo>
                    <a:pt x="7380" y="16660"/>
                    <a:pt x="7414" y="16667"/>
                    <a:pt x="7386" y="16728"/>
                  </a:cubicBezTo>
                  <a:cubicBezTo>
                    <a:pt x="7377" y="16747"/>
                    <a:pt x="7339" y="16778"/>
                    <a:pt x="7324" y="16798"/>
                  </a:cubicBezTo>
                  <a:cubicBezTo>
                    <a:pt x="7307" y="16821"/>
                    <a:pt x="7296" y="16874"/>
                    <a:pt x="7271" y="16889"/>
                  </a:cubicBezTo>
                  <a:cubicBezTo>
                    <a:pt x="7229" y="16916"/>
                    <a:pt x="7203" y="16892"/>
                    <a:pt x="7166" y="16907"/>
                  </a:cubicBezTo>
                  <a:cubicBezTo>
                    <a:pt x="7135" y="16919"/>
                    <a:pt x="7100" y="16950"/>
                    <a:pt x="7066" y="16964"/>
                  </a:cubicBezTo>
                  <a:cubicBezTo>
                    <a:pt x="7039" y="16975"/>
                    <a:pt x="7002" y="16955"/>
                    <a:pt x="6978" y="16968"/>
                  </a:cubicBezTo>
                  <a:cubicBezTo>
                    <a:pt x="6965" y="16974"/>
                    <a:pt x="6855" y="17125"/>
                    <a:pt x="6855" y="17126"/>
                  </a:cubicBezTo>
                  <a:cubicBezTo>
                    <a:pt x="6849" y="17210"/>
                    <a:pt x="6960" y="17140"/>
                    <a:pt x="7000" y="17111"/>
                  </a:cubicBezTo>
                  <a:cubicBezTo>
                    <a:pt x="7019" y="17096"/>
                    <a:pt x="7027" y="17082"/>
                    <a:pt x="7030" y="17073"/>
                  </a:cubicBezTo>
                  <a:cubicBezTo>
                    <a:pt x="7030" y="17084"/>
                    <a:pt x="7031" y="17107"/>
                    <a:pt x="7041" y="17148"/>
                  </a:cubicBezTo>
                  <a:cubicBezTo>
                    <a:pt x="7050" y="17188"/>
                    <a:pt x="7003" y="17189"/>
                    <a:pt x="7088" y="17229"/>
                  </a:cubicBezTo>
                  <a:cubicBezTo>
                    <a:pt x="7138" y="17252"/>
                    <a:pt x="7138" y="17253"/>
                    <a:pt x="7196" y="17250"/>
                  </a:cubicBezTo>
                  <a:cubicBezTo>
                    <a:pt x="7290" y="17245"/>
                    <a:pt x="7334" y="17165"/>
                    <a:pt x="7406" y="17153"/>
                  </a:cubicBezTo>
                  <a:cubicBezTo>
                    <a:pt x="7479" y="17141"/>
                    <a:pt x="7575" y="17183"/>
                    <a:pt x="7669" y="17172"/>
                  </a:cubicBezTo>
                  <a:cubicBezTo>
                    <a:pt x="7723" y="17166"/>
                    <a:pt x="7912" y="17110"/>
                    <a:pt x="7841" y="17163"/>
                  </a:cubicBezTo>
                  <a:cubicBezTo>
                    <a:pt x="7795" y="17198"/>
                    <a:pt x="7670" y="17224"/>
                    <a:pt x="7606" y="17222"/>
                  </a:cubicBezTo>
                  <a:cubicBezTo>
                    <a:pt x="7519" y="17219"/>
                    <a:pt x="7480" y="17187"/>
                    <a:pt x="7395" y="17222"/>
                  </a:cubicBezTo>
                  <a:cubicBezTo>
                    <a:pt x="7253" y="17279"/>
                    <a:pt x="7398" y="17358"/>
                    <a:pt x="7354" y="17452"/>
                  </a:cubicBezTo>
                  <a:cubicBezTo>
                    <a:pt x="7321" y="17520"/>
                    <a:pt x="7230" y="17526"/>
                    <a:pt x="7192" y="17566"/>
                  </a:cubicBezTo>
                  <a:cubicBezTo>
                    <a:pt x="7158" y="17601"/>
                    <a:pt x="7121" y="17690"/>
                    <a:pt x="7118" y="17736"/>
                  </a:cubicBezTo>
                  <a:cubicBezTo>
                    <a:pt x="7066" y="17676"/>
                    <a:pt x="6956" y="17506"/>
                    <a:pt x="7003" y="17680"/>
                  </a:cubicBezTo>
                  <a:cubicBezTo>
                    <a:pt x="7033" y="17790"/>
                    <a:pt x="7134" y="17918"/>
                    <a:pt x="7212" y="18016"/>
                  </a:cubicBezTo>
                  <a:cubicBezTo>
                    <a:pt x="7268" y="18086"/>
                    <a:pt x="7329" y="18090"/>
                    <a:pt x="7417" y="18126"/>
                  </a:cubicBezTo>
                  <a:cubicBezTo>
                    <a:pt x="7452" y="18141"/>
                    <a:pt x="7458" y="18173"/>
                    <a:pt x="7496" y="18180"/>
                  </a:cubicBezTo>
                  <a:cubicBezTo>
                    <a:pt x="7492" y="18180"/>
                    <a:pt x="7510" y="18145"/>
                    <a:pt x="7538" y="18147"/>
                  </a:cubicBezTo>
                  <a:cubicBezTo>
                    <a:pt x="7610" y="18153"/>
                    <a:pt x="7646" y="18176"/>
                    <a:pt x="7723" y="18164"/>
                  </a:cubicBezTo>
                  <a:cubicBezTo>
                    <a:pt x="7841" y="18145"/>
                    <a:pt x="7807" y="18068"/>
                    <a:pt x="7894" y="18011"/>
                  </a:cubicBezTo>
                  <a:cubicBezTo>
                    <a:pt x="7892" y="18033"/>
                    <a:pt x="7861" y="18130"/>
                    <a:pt x="7876" y="18149"/>
                  </a:cubicBezTo>
                  <a:cubicBezTo>
                    <a:pt x="7899" y="18180"/>
                    <a:pt x="7974" y="18180"/>
                    <a:pt x="8003" y="18143"/>
                  </a:cubicBezTo>
                  <a:cubicBezTo>
                    <a:pt x="8052" y="18082"/>
                    <a:pt x="7903" y="17985"/>
                    <a:pt x="7997" y="17913"/>
                  </a:cubicBezTo>
                  <a:cubicBezTo>
                    <a:pt x="8058" y="17867"/>
                    <a:pt x="8246" y="17910"/>
                    <a:pt x="8291" y="17843"/>
                  </a:cubicBezTo>
                  <a:cubicBezTo>
                    <a:pt x="8330" y="17782"/>
                    <a:pt x="8148" y="17697"/>
                    <a:pt x="8149" y="17628"/>
                  </a:cubicBezTo>
                  <a:cubicBezTo>
                    <a:pt x="8242" y="17683"/>
                    <a:pt x="8446" y="17824"/>
                    <a:pt x="8305" y="17895"/>
                  </a:cubicBezTo>
                  <a:cubicBezTo>
                    <a:pt x="8259" y="17918"/>
                    <a:pt x="7979" y="17911"/>
                    <a:pt x="8035" y="17994"/>
                  </a:cubicBezTo>
                  <a:cubicBezTo>
                    <a:pt x="8078" y="18057"/>
                    <a:pt x="8104" y="18116"/>
                    <a:pt x="8038" y="18180"/>
                  </a:cubicBezTo>
                  <a:cubicBezTo>
                    <a:pt x="7959" y="18255"/>
                    <a:pt x="7921" y="18222"/>
                    <a:pt x="7994" y="18340"/>
                  </a:cubicBezTo>
                  <a:cubicBezTo>
                    <a:pt x="8056" y="18437"/>
                    <a:pt x="8083" y="18478"/>
                    <a:pt x="8232" y="18475"/>
                  </a:cubicBezTo>
                  <a:cubicBezTo>
                    <a:pt x="8284" y="18474"/>
                    <a:pt x="8355" y="18466"/>
                    <a:pt x="8403" y="18449"/>
                  </a:cubicBezTo>
                  <a:cubicBezTo>
                    <a:pt x="8333" y="18523"/>
                    <a:pt x="8222" y="18494"/>
                    <a:pt x="8125" y="18512"/>
                  </a:cubicBezTo>
                  <a:cubicBezTo>
                    <a:pt x="8052" y="18525"/>
                    <a:pt x="8057" y="18529"/>
                    <a:pt x="8018" y="18568"/>
                  </a:cubicBezTo>
                  <a:cubicBezTo>
                    <a:pt x="8008" y="18579"/>
                    <a:pt x="8023" y="18667"/>
                    <a:pt x="7963" y="18646"/>
                  </a:cubicBezTo>
                  <a:cubicBezTo>
                    <a:pt x="7880" y="18616"/>
                    <a:pt x="8086" y="18192"/>
                    <a:pt x="7798" y="18279"/>
                  </a:cubicBezTo>
                  <a:cubicBezTo>
                    <a:pt x="7589" y="18342"/>
                    <a:pt x="7708" y="18584"/>
                    <a:pt x="7838" y="18656"/>
                  </a:cubicBezTo>
                  <a:cubicBezTo>
                    <a:pt x="7925" y="18704"/>
                    <a:pt x="8170" y="18904"/>
                    <a:pt x="8264" y="18867"/>
                  </a:cubicBezTo>
                  <a:cubicBezTo>
                    <a:pt x="8349" y="18835"/>
                    <a:pt x="8288" y="18779"/>
                    <a:pt x="8328" y="18738"/>
                  </a:cubicBezTo>
                  <a:cubicBezTo>
                    <a:pt x="8374" y="18692"/>
                    <a:pt x="8470" y="18704"/>
                    <a:pt x="8539" y="18697"/>
                  </a:cubicBezTo>
                  <a:cubicBezTo>
                    <a:pt x="8600" y="18691"/>
                    <a:pt x="8673" y="18679"/>
                    <a:pt x="8717" y="18654"/>
                  </a:cubicBezTo>
                  <a:cubicBezTo>
                    <a:pt x="8740" y="18641"/>
                    <a:pt x="8739" y="18597"/>
                    <a:pt x="8769" y="18578"/>
                  </a:cubicBezTo>
                  <a:cubicBezTo>
                    <a:pt x="8794" y="18562"/>
                    <a:pt x="8842" y="18569"/>
                    <a:pt x="8872" y="18550"/>
                  </a:cubicBezTo>
                  <a:cubicBezTo>
                    <a:pt x="8842" y="18619"/>
                    <a:pt x="8721" y="18684"/>
                    <a:pt x="8669" y="18754"/>
                  </a:cubicBezTo>
                  <a:cubicBezTo>
                    <a:pt x="8625" y="18813"/>
                    <a:pt x="8589" y="18894"/>
                    <a:pt x="8567" y="18956"/>
                  </a:cubicBezTo>
                  <a:cubicBezTo>
                    <a:pt x="8561" y="18972"/>
                    <a:pt x="8518" y="18943"/>
                    <a:pt x="8526" y="18981"/>
                  </a:cubicBezTo>
                  <a:cubicBezTo>
                    <a:pt x="8534" y="19014"/>
                    <a:pt x="8573" y="19019"/>
                    <a:pt x="8601" y="19038"/>
                  </a:cubicBezTo>
                  <a:cubicBezTo>
                    <a:pt x="8808" y="19179"/>
                    <a:pt x="9006" y="19158"/>
                    <a:pt x="9101" y="18964"/>
                  </a:cubicBezTo>
                  <a:cubicBezTo>
                    <a:pt x="9163" y="19079"/>
                    <a:pt x="8951" y="19173"/>
                    <a:pt x="8813" y="19153"/>
                  </a:cubicBezTo>
                  <a:cubicBezTo>
                    <a:pt x="8773" y="19147"/>
                    <a:pt x="8695" y="19108"/>
                    <a:pt x="8681" y="19106"/>
                  </a:cubicBezTo>
                  <a:cubicBezTo>
                    <a:pt x="8631" y="19100"/>
                    <a:pt x="8581" y="19132"/>
                    <a:pt x="8515" y="19110"/>
                  </a:cubicBezTo>
                  <a:cubicBezTo>
                    <a:pt x="8526" y="19162"/>
                    <a:pt x="8561" y="19208"/>
                    <a:pt x="8613" y="19245"/>
                  </a:cubicBezTo>
                  <a:cubicBezTo>
                    <a:pt x="8535" y="19195"/>
                    <a:pt x="8451" y="19270"/>
                    <a:pt x="8482" y="19323"/>
                  </a:cubicBezTo>
                  <a:cubicBezTo>
                    <a:pt x="8523" y="19396"/>
                    <a:pt x="8626" y="19353"/>
                    <a:pt x="8697" y="19341"/>
                  </a:cubicBezTo>
                  <a:cubicBezTo>
                    <a:pt x="8586" y="19426"/>
                    <a:pt x="8492" y="19399"/>
                    <a:pt x="8541" y="19525"/>
                  </a:cubicBezTo>
                  <a:cubicBezTo>
                    <a:pt x="8529" y="19570"/>
                    <a:pt x="8566" y="19565"/>
                    <a:pt x="8618" y="19542"/>
                  </a:cubicBezTo>
                  <a:cubicBezTo>
                    <a:pt x="8599" y="19486"/>
                    <a:pt x="8724" y="19440"/>
                    <a:pt x="8800" y="19454"/>
                  </a:cubicBezTo>
                  <a:cubicBezTo>
                    <a:pt x="8909" y="19475"/>
                    <a:pt x="8826" y="19494"/>
                    <a:pt x="8847" y="19523"/>
                  </a:cubicBezTo>
                  <a:cubicBezTo>
                    <a:pt x="8876" y="19562"/>
                    <a:pt x="8905" y="19584"/>
                    <a:pt x="8975" y="19617"/>
                  </a:cubicBezTo>
                  <a:lnTo>
                    <a:pt x="12591" y="20316"/>
                  </a:lnTo>
                  <a:lnTo>
                    <a:pt x="16511" y="20959"/>
                  </a:lnTo>
                  <a:lnTo>
                    <a:pt x="17830" y="21148"/>
                  </a:lnTo>
                  <a:lnTo>
                    <a:pt x="20489" y="21491"/>
                  </a:lnTo>
                  <a:lnTo>
                    <a:pt x="21600" y="21600"/>
                  </a:lnTo>
                  <a:cubicBezTo>
                    <a:pt x="21527" y="21489"/>
                    <a:pt x="21446" y="21390"/>
                    <a:pt x="21446" y="21308"/>
                  </a:cubicBezTo>
                  <a:close/>
                  <a:moveTo>
                    <a:pt x="1055" y="11294"/>
                  </a:moveTo>
                  <a:cubicBezTo>
                    <a:pt x="1041" y="11268"/>
                    <a:pt x="1017" y="11266"/>
                    <a:pt x="1011" y="11233"/>
                  </a:cubicBezTo>
                  <a:cubicBezTo>
                    <a:pt x="1005" y="11202"/>
                    <a:pt x="1045" y="11164"/>
                    <a:pt x="1037" y="11128"/>
                  </a:cubicBezTo>
                  <a:cubicBezTo>
                    <a:pt x="967" y="11149"/>
                    <a:pt x="875" y="11111"/>
                    <a:pt x="807" y="11121"/>
                  </a:cubicBezTo>
                  <a:cubicBezTo>
                    <a:pt x="704" y="11137"/>
                    <a:pt x="695" y="11151"/>
                    <a:pt x="590" y="11136"/>
                  </a:cubicBezTo>
                  <a:cubicBezTo>
                    <a:pt x="413" y="11109"/>
                    <a:pt x="264" y="11074"/>
                    <a:pt x="98" y="11011"/>
                  </a:cubicBezTo>
                  <a:cubicBezTo>
                    <a:pt x="117" y="11053"/>
                    <a:pt x="34" y="11111"/>
                    <a:pt x="70" y="11155"/>
                  </a:cubicBezTo>
                  <a:cubicBezTo>
                    <a:pt x="102" y="11194"/>
                    <a:pt x="191" y="11197"/>
                    <a:pt x="250" y="11221"/>
                  </a:cubicBezTo>
                  <a:cubicBezTo>
                    <a:pt x="304" y="11243"/>
                    <a:pt x="346" y="11276"/>
                    <a:pt x="392" y="11319"/>
                  </a:cubicBezTo>
                  <a:cubicBezTo>
                    <a:pt x="420" y="11346"/>
                    <a:pt x="460" y="11335"/>
                    <a:pt x="461" y="11365"/>
                  </a:cubicBezTo>
                  <a:cubicBezTo>
                    <a:pt x="460" y="11354"/>
                    <a:pt x="399" y="11408"/>
                    <a:pt x="397" y="11410"/>
                  </a:cubicBezTo>
                  <a:cubicBezTo>
                    <a:pt x="388" y="11400"/>
                    <a:pt x="358" y="11383"/>
                    <a:pt x="352" y="11374"/>
                  </a:cubicBezTo>
                  <a:cubicBezTo>
                    <a:pt x="355" y="11388"/>
                    <a:pt x="353" y="11407"/>
                    <a:pt x="355" y="11420"/>
                  </a:cubicBezTo>
                  <a:cubicBezTo>
                    <a:pt x="325" y="11395"/>
                    <a:pt x="220" y="11303"/>
                    <a:pt x="161" y="11361"/>
                  </a:cubicBezTo>
                  <a:cubicBezTo>
                    <a:pt x="149" y="11374"/>
                    <a:pt x="173" y="11422"/>
                    <a:pt x="176" y="11436"/>
                  </a:cubicBezTo>
                  <a:cubicBezTo>
                    <a:pt x="181" y="11461"/>
                    <a:pt x="198" y="11492"/>
                    <a:pt x="203" y="11509"/>
                  </a:cubicBezTo>
                  <a:cubicBezTo>
                    <a:pt x="211" y="11534"/>
                    <a:pt x="205" y="11644"/>
                    <a:pt x="253" y="11663"/>
                  </a:cubicBezTo>
                  <a:cubicBezTo>
                    <a:pt x="318" y="11690"/>
                    <a:pt x="387" y="11594"/>
                    <a:pt x="401" y="11557"/>
                  </a:cubicBezTo>
                  <a:cubicBezTo>
                    <a:pt x="406" y="11617"/>
                    <a:pt x="500" y="11671"/>
                    <a:pt x="470" y="11726"/>
                  </a:cubicBezTo>
                  <a:cubicBezTo>
                    <a:pt x="457" y="11710"/>
                    <a:pt x="418" y="11690"/>
                    <a:pt x="407" y="11678"/>
                  </a:cubicBezTo>
                  <a:cubicBezTo>
                    <a:pt x="413" y="11694"/>
                    <a:pt x="412" y="11721"/>
                    <a:pt x="419" y="11738"/>
                  </a:cubicBezTo>
                  <a:cubicBezTo>
                    <a:pt x="349" y="11626"/>
                    <a:pt x="271" y="11726"/>
                    <a:pt x="322" y="11806"/>
                  </a:cubicBezTo>
                  <a:cubicBezTo>
                    <a:pt x="342" y="11837"/>
                    <a:pt x="377" y="11855"/>
                    <a:pt x="386" y="11881"/>
                  </a:cubicBezTo>
                  <a:cubicBezTo>
                    <a:pt x="395" y="11911"/>
                    <a:pt x="373" y="11945"/>
                    <a:pt x="388" y="11980"/>
                  </a:cubicBezTo>
                  <a:cubicBezTo>
                    <a:pt x="422" y="12057"/>
                    <a:pt x="492" y="12104"/>
                    <a:pt x="539" y="12171"/>
                  </a:cubicBezTo>
                  <a:cubicBezTo>
                    <a:pt x="559" y="12201"/>
                    <a:pt x="543" y="12246"/>
                    <a:pt x="566" y="12273"/>
                  </a:cubicBezTo>
                  <a:cubicBezTo>
                    <a:pt x="594" y="12307"/>
                    <a:pt x="679" y="12275"/>
                    <a:pt x="661" y="12343"/>
                  </a:cubicBezTo>
                  <a:cubicBezTo>
                    <a:pt x="515" y="12264"/>
                    <a:pt x="596" y="12450"/>
                    <a:pt x="599" y="12464"/>
                  </a:cubicBezTo>
                  <a:cubicBezTo>
                    <a:pt x="611" y="12519"/>
                    <a:pt x="613" y="12611"/>
                    <a:pt x="663" y="12662"/>
                  </a:cubicBezTo>
                  <a:cubicBezTo>
                    <a:pt x="674" y="12648"/>
                    <a:pt x="699" y="12634"/>
                    <a:pt x="708" y="12618"/>
                  </a:cubicBezTo>
                  <a:cubicBezTo>
                    <a:pt x="710" y="12646"/>
                    <a:pt x="686" y="12777"/>
                    <a:pt x="717" y="12788"/>
                  </a:cubicBezTo>
                  <a:cubicBezTo>
                    <a:pt x="793" y="12816"/>
                    <a:pt x="793" y="12660"/>
                    <a:pt x="804" y="12638"/>
                  </a:cubicBezTo>
                  <a:cubicBezTo>
                    <a:pt x="848" y="12698"/>
                    <a:pt x="815" y="12726"/>
                    <a:pt x="803" y="12786"/>
                  </a:cubicBezTo>
                  <a:cubicBezTo>
                    <a:pt x="784" y="12878"/>
                    <a:pt x="926" y="12738"/>
                    <a:pt x="937" y="12721"/>
                  </a:cubicBezTo>
                  <a:cubicBezTo>
                    <a:pt x="885" y="12905"/>
                    <a:pt x="1218" y="12708"/>
                    <a:pt x="1019" y="12726"/>
                  </a:cubicBezTo>
                  <a:cubicBezTo>
                    <a:pt x="978" y="12715"/>
                    <a:pt x="938" y="12694"/>
                    <a:pt x="915" y="12670"/>
                  </a:cubicBezTo>
                  <a:cubicBezTo>
                    <a:pt x="1072" y="12695"/>
                    <a:pt x="1033" y="12557"/>
                    <a:pt x="877" y="12564"/>
                  </a:cubicBezTo>
                  <a:cubicBezTo>
                    <a:pt x="684" y="12572"/>
                    <a:pt x="843" y="12397"/>
                    <a:pt x="735" y="12373"/>
                  </a:cubicBezTo>
                  <a:cubicBezTo>
                    <a:pt x="799" y="12342"/>
                    <a:pt x="775" y="12309"/>
                    <a:pt x="769" y="12261"/>
                  </a:cubicBezTo>
                  <a:cubicBezTo>
                    <a:pt x="762" y="12196"/>
                    <a:pt x="774" y="12231"/>
                    <a:pt x="722" y="12184"/>
                  </a:cubicBezTo>
                  <a:cubicBezTo>
                    <a:pt x="651" y="12119"/>
                    <a:pt x="627" y="12104"/>
                    <a:pt x="633" y="12001"/>
                  </a:cubicBezTo>
                  <a:cubicBezTo>
                    <a:pt x="635" y="11965"/>
                    <a:pt x="679" y="11926"/>
                    <a:pt x="651" y="11870"/>
                  </a:cubicBezTo>
                  <a:cubicBezTo>
                    <a:pt x="623" y="11814"/>
                    <a:pt x="560" y="11844"/>
                    <a:pt x="579" y="11787"/>
                  </a:cubicBezTo>
                  <a:cubicBezTo>
                    <a:pt x="606" y="11707"/>
                    <a:pt x="754" y="11801"/>
                    <a:pt x="829" y="11766"/>
                  </a:cubicBezTo>
                  <a:cubicBezTo>
                    <a:pt x="750" y="11755"/>
                    <a:pt x="648" y="11728"/>
                    <a:pt x="625" y="11665"/>
                  </a:cubicBezTo>
                  <a:cubicBezTo>
                    <a:pt x="600" y="11595"/>
                    <a:pt x="690" y="11571"/>
                    <a:pt x="542" y="11550"/>
                  </a:cubicBezTo>
                  <a:cubicBezTo>
                    <a:pt x="644" y="11552"/>
                    <a:pt x="751" y="11385"/>
                    <a:pt x="656" y="11315"/>
                  </a:cubicBezTo>
                  <a:cubicBezTo>
                    <a:pt x="792" y="11361"/>
                    <a:pt x="969" y="11360"/>
                    <a:pt x="1049" y="11469"/>
                  </a:cubicBezTo>
                  <a:cubicBezTo>
                    <a:pt x="1130" y="11415"/>
                    <a:pt x="1087" y="11354"/>
                    <a:pt x="1055" y="11294"/>
                  </a:cubicBezTo>
                  <a:close/>
                  <a:moveTo>
                    <a:pt x="1299" y="9983"/>
                  </a:moveTo>
                  <a:cubicBezTo>
                    <a:pt x="1327" y="10027"/>
                    <a:pt x="1303" y="10143"/>
                    <a:pt x="1278" y="10189"/>
                  </a:cubicBezTo>
                  <a:cubicBezTo>
                    <a:pt x="1230" y="10276"/>
                    <a:pt x="1087" y="10271"/>
                    <a:pt x="1029" y="10351"/>
                  </a:cubicBezTo>
                  <a:cubicBezTo>
                    <a:pt x="998" y="10395"/>
                    <a:pt x="1068" y="10405"/>
                    <a:pt x="991" y="10444"/>
                  </a:cubicBezTo>
                  <a:cubicBezTo>
                    <a:pt x="895" y="10491"/>
                    <a:pt x="893" y="10404"/>
                    <a:pt x="804" y="10421"/>
                  </a:cubicBezTo>
                  <a:cubicBezTo>
                    <a:pt x="771" y="10427"/>
                    <a:pt x="826" y="10475"/>
                    <a:pt x="811" y="10480"/>
                  </a:cubicBezTo>
                  <a:cubicBezTo>
                    <a:pt x="775" y="10491"/>
                    <a:pt x="766" y="10464"/>
                    <a:pt x="738" y="10467"/>
                  </a:cubicBezTo>
                  <a:cubicBezTo>
                    <a:pt x="674" y="10474"/>
                    <a:pt x="628" y="10457"/>
                    <a:pt x="565" y="10478"/>
                  </a:cubicBezTo>
                  <a:cubicBezTo>
                    <a:pt x="592" y="10410"/>
                    <a:pt x="702" y="10423"/>
                    <a:pt x="779" y="10401"/>
                  </a:cubicBezTo>
                  <a:cubicBezTo>
                    <a:pt x="733" y="10382"/>
                    <a:pt x="688" y="10392"/>
                    <a:pt x="642" y="10382"/>
                  </a:cubicBezTo>
                  <a:cubicBezTo>
                    <a:pt x="581" y="10368"/>
                    <a:pt x="553" y="10327"/>
                    <a:pt x="477" y="10358"/>
                  </a:cubicBezTo>
                  <a:cubicBezTo>
                    <a:pt x="580" y="10298"/>
                    <a:pt x="407" y="10288"/>
                    <a:pt x="570" y="10273"/>
                  </a:cubicBezTo>
                  <a:cubicBezTo>
                    <a:pt x="760" y="10255"/>
                    <a:pt x="924" y="10315"/>
                    <a:pt x="1110" y="10265"/>
                  </a:cubicBezTo>
                  <a:cubicBezTo>
                    <a:pt x="1240" y="10230"/>
                    <a:pt x="1282" y="10114"/>
                    <a:pt x="1278" y="10023"/>
                  </a:cubicBezTo>
                  <a:cubicBezTo>
                    <a:pt x="1276" y="9995"/>
                    <a:pt x="1211" y="9997"/>
                    <a:pt x="1230" y="9964"/>
                  </a:cubicBezTo>
                  <a:cubicBezTo>
                    <a:pt x="1248" y="9932"/>
                    <a:pt x="1262" y="9914"/>
                    <a:pt x="1242" y="9881"/>
                  </a:cubicBezTo>
                  <a:cubicBezTo>
                    <a:pt x="1215" y="9837"/>
                    <a:pt x="1139" y="9826"/>
                    <a:pt x="1069" y="9829"/>
                  </a:cubicBezTo>
                  <a:cubicBezTo>
                    <a:pt x="1057" y="9830"/>
                    <a:pt x="889" y="9862"/>
                    <a:pt x="882" y="9867"/>
                  </a:cubicBezTo>
                  <a:cubicBezTo>
                    <a:pt x="809" y="9921"/>
                    <a:pt x="785" y="9915"/>
                    <a:pt x="690" y="9932"/>
                  </a:cubicBezTo>
                  <a:cubicBezTo>
                    <a:pt x="696" y="9846"/>
                    <a:pt x="837" y="9893"/>
                    <a:pt x="882" y="9830"/>
                  </a:cubicBezTo>
                  <a:cubicBezTo>
                    <a:pt x="943" y="9747"/>
                    <a:pt x="901" y="9701"/>
                    <a:pt x="791" y="9667"/>
                  </a:cubicBezTo>
                  <a:cubicBezTo>
                    <a:pt x="705" y="9641"/>
                    <a:pt x="657" y="9652"/>
                    <a:pt x="581" y="9601"/>
                  </a:cubicBezTo>
                  <a:cubicBezTo>
                    <a:pt x="536" y="9570"/>
                    <a:pt x="502" y="9496"/>
                    <a:pt x="423" y="9507"/>
                  </a:cubicBezTo>
                  <a:cubicBezTo>
                    <a:pt x="480" y="9539"/>
                    <a:pt x="385" y="9561"/>
                    <a:pt x="360" y="9595"/>
                  </a:cubicBezTo>
                  <a:cubicBezTo>
                    <a:pt x="328" y="9640"/>
                    <a:pt x="335" y="9672"/>
                    <a:pt x="284" y="9716"/>
                  </a:cubicBezTo>
                  <a:cubicBezTo>
                    <a:pt x="280" y="9720"/>
                    <a:pt x="239" y="9726"/>
                    <a:pt x="225" y="9734"/>
                  </a:cubicBezTo>
                  <a:cubicBezTo>
                    <a:pt x="219" y="9738"/>
                    <a:pt x="165" y="9784"/>
                    <a:pt x="157" y="9792"/>
                  </a:cubicBezTo>
                  <a:cubicBezTo>
                    <a:pt x="104" y="9849"/>
                    <a:pt x="131" y="9858"/>
                    <a:pt x="107" y="9916"/>
                  </a:cubicBezTo>
                  <a:cubicBezTo>
                    <a:pt x="84" y="9970"/>
                    <a:pt x="39" y="9968"/>
                    <a:pt x="86" y="10031"/>
                  </a:cubicBezTo>
                  <a:cubicBezTo>
                    <a:pt x="100" y="10050"/>
                    <a:pt x="157" y="10048"/>
                    <a:pt x="157" y="10048"/>
                  </a:cubicBezTo>
                  <a:cubicBezTo>
                    <a:pt x="170" y="10073"/>
                    <a:pt x="133" y="10078"/>
                    <a:pt x="133" y="10108"/>
                  </a:cubicBezTo>
                  <a:cubicBezTo>
                    <a:pt x="133" y="10124"/>
                    <a:pt x="167" y="10159"/>
                    <a:pt x="155" y="10172"/>
                  </a:cubicBezTo>
                  <a:cubicBezTo>
                    <a:pt x="144" y="10184"/>
                    <a:pt x="77" y="10131"/>
                    <a:pt x="63" y="10167"/>
                  </a:cubicBezTo>
                  <a:cubicBezTo>
                    <a:pt x="58" y="10178"/>
                    <a:pt x="133" y="10269"/>
                    <a:pt x="136" y="10300"/>
                  </a:cubicBezTo>
                  <a:cubicBezTo>
                    <a:pt x="55" y="10282"/>
                    <a:pt x="30" y="10272"/>
                    <a:pt x="0" y="10313"/>
                  </a:cubicBezTo>
                  <a:cubicBezTo>
                    <a:pt x="8" y="10303"/>
                    <a:pt x="37" y="10384"/>
                    <a:pt x="30" y="10376"/>
                  </a:cubicBezTo>
                  <a:cubicBezTo>
                    <a:pt x="32" y="10378"/>
                    <a:pt x="101" y="10418"/>
                    <a:pt x="101" y="10415"/>
                  </a:cubicBezTo>
                  <a:cubicBezTo>
                    <a:pt x="101" y="10413"/>
                    <a:pt x="65" y="10488"/>
                    <a:pt x="49" y="10473"/>
                  </a:cubicBezTo>
                  <a:cubicBezTo>
                    <a:pt x="77" y="10499"/>
                    <a:pt x="171" y="10478"/>
                    <a:pt x="212" y="10505"/>
                  </a:cubicBezTo>
                  <a:cubicBezTo>
                    <a:pt x="190" y="10491"/>
                    <a:pt x="188" y="10623"/>
                    <a:pt x="283" y="10531"/>
                  </a:cubicBezTo>
                  <a:cubicBezTo>
                    <a:pt x="204" y="10637"/>
                    <a:pt x="511" y="10780"/>
                    <a:pt x="399" y="10856"/>
                  </a:cubicBezTo>
                  <a:cubicBezTo>
                    <a:pt x="358" y="10758"/>
                    <a:pt x="171" y="10593"/>
                    <a:pt x="47" y="10715"/>
                  </a:cubicBezTo>
                  <a:cubicBezTo>
                    <a:pt x="96" y="10715"/>
                    <a:pt x="205" y="10736"/>
                    <a:pt x="244" y="10756"/>
                  </a:cubicBezTo>
                  <a:cubicBezTo>
                    <a:pt x="309" y="10789"/>
                    <a:pt x="183" y="10779"/>
                    <a:pt x="129" y="10791"/>
                  </a:cubicBezTo>
                  <a:cubicBezTo>
                    <a:pt x="1" y="10821"/>
                    <a:pt x="100" y="10793"/>
                    <a:pt x="150" y="10863"/>
                  </a:cubicBezTo>
                  <a:cubicBezTo>
                    <a:pt x="176" y="10900"/>
                    <a:pt x="110" y="11017"/>
                    <a:pt x="238" y="10998"/>
                  </a:cubicBezTo>
                  <a:cubicBezTo>
                    <a:pt x="196" y="11051"/>
                    <a:pt x="263" y="11052"/>
                    <a:pt x="319" y="11064"/>
                  </a:cubicBezTo>
                  <a:cubicBezTo>
                    <a:pt x="337" y="11068"/>
                    <a:pt x="385" y="11055"/>
                    <a:pt x="393" y="11057"/>
                  </a:cubicBezTo>
                  <a:cubicBezTo>
                    <a:pt x="398" y="11058"/>
                    <a:pt x="422" y="11080"/>
                    <a:pt x="442" y="11084"/>
                  </a:cubicBezTo>
                  <a:cubicBezTo>
                    <a:pt x="499" y="11097"/>
                    <a:pt x="549" y="11136"/>
                    <a:pt x="614" y="11098"/>
                  </a:cubicBezTo>
                  <a:cubicBezTo>
                    <a:pt x="639" y="11084"/>
                    <a:pt x="494" y="11038"/>
                    <a:pt x="481" y="11029"/>
                  </a:cubicBezTo>
                  <a:cubicBezTo>
                    <a:pt x="540" y="11039"/>
                    <a:pt x="623" y="11013"/>
                    <a:pt x="709" y="11030"/>
                  </a:cubicBezTo>
                  <a:cubicBezTo>
                    <a:pt x="846" y="11056"/>
                    <a:pt x="873" y="11068"/>
                    <a:pt x="969" y="10980"/>
                  </a:cubicBezTo>
                  <a:cubicBezTo>
                    <a:pt x="1078" y="10880"/>
                    <a:pt x="1092" y="10747"/>
                    <a:pt x="1186" y="10643"/>
                  </a:cubicBezTo>
                  <a:cubicBezTo>
                    <a:pt x="1240" y="10582"/>
                    <a:pt x="1323" y="10537"/>
                    <a:pt x="1377" y="10478"/>
                  </a:cubicBezTo>
                  <a:cubicBezTo>
                    <a:pt x="1440" y="10410"/>
                    <a:pt x="1470" y="10383"/>
                    <a:pt x="1569" y="10337"/>
                  </a:cubicBezTo>
                  <a:cubicBezTo>
                    <a:pt x="1674" y="10288"/>
                    <a:pt x="1966" y="10137"/>
                    <a:pt x="1948" y="10032"/>
                  </a:cubicBezTo>
                  <a:cubicBezTo>
                    <a:pt x="1948" y="10030"/>
                    <a:pt x="1958" y="10011"/>
                    <a:pt x="1959" y="10010"/>
                  </a:cubicBezTo>
                  <a:cubicBezTo>
                    <a:pt x="1778" y="10090"/>
                    <a:pt x="1447" y="10105"/>
                    <a:pt x="1299" y="9983"/>
                  </a:cubicBezTo>
                  <a:close/>
                  <a:moveTo>
                    <a:pt x="3167" y="11915"/>
                  </a:moveTo>
                  <a:cubicBezTo>
                    <a:pt x="3262" y="11856"/>
                    <a:pt x="3281" y="11996"/>
                    <a:pt x="3360" y="11892"/>
                  </a:cubicBezTo>
                  <a:cubicBezTo>
                    <a:pt x="3391" y="11851"/>
                    <a:pt x="3355" y="11763"/>
                    <a:pt x="3348" y="11720"/>
                  </a:cubicBezTo>
                  <a:cubicBezTo>
                    <a:pt x="3330" y="11598"/>
                    <a:pt x="3306" y="11526"/>
                    <a:pt x="3217" y="11418"/>
                  </a:cubicBezTo>
                  <a:cubicBezTo>
                    <a:pt x="3134" y="11318"/>
                    <a:pt x="3055" y="11211"/>
                    <a:pt x="2934" y="11129"/>
                  </a:cubicBezTo>
                  <a:cubicBezTo>
                    <a:pt x="2870" y="11086"/>
                    <a:pt x="2792" y="11051"/>
                    <a:pt x="2757" y="11139"/>
                  </a:cubicBezTo>
                  <a:cubicBezTo>
                    <a:pt x="2724" y="11220"/>
                    <a:pt x="2848" y="11245"/>
                    <a:pt x="2903" y="11276"/>
                  </a:cubicBezTo>
                  <a:cubicBezTo>
                    <a:pt x="2756" y="11260"/>
                    <a:pt x="2820" y="11453"/>
                    <a:pt x="2898" y="11481"/>
                  </a:cubicBezTo>
                  <a:cubicBezTo>
                    <a:pt x="3130" y="11563"/>
                    <a:pt x="2928" y="11838"/>
                    <a:pt x="3167" y="11915"/>
                  </a:cubicBezTo>
                  <a:close/>
                  <a:moveTo>
                    <a:pt x="1026" y="11518"/>
                  </a:moveTo>
                  <a:cubicBezTo>
                    <a:pt x="1016" y="11501"/>
                    <a:pt x="875" y="11410"/>
                    <a:pt x="854" y="11403"/>
                  </a:cubicBezTo>
                  <a:cubicBezTo>
                    <a:pt x="749" y="11367"/>
                    <a:pt x="685" y="11416"/>
                    <a:pt x="680" y="11497"/>
                  </a:cubicBezTo>
                  <a:cubicBezTo>
                    <a:pt x="706" y="11595"/>
                    <a:pt x="740" y="11692"/>
                    <a:pt x="911" y="11649"/>
                  </a:cubicBezTo>
                  <a:cubicBezTo>
                    <a:pt x="989" y="11629"/>
                    <a:pt x="1059" y="11574"/>
                    <a:pt x="1026" y="11518"/>
                  </a:cubicBezTo>
                  <a:close/>
                  <a:moveTo>
                    <a:pt x="940" y="12368"/>
                  </a:moveTo>
                  <a:cubicBezTo>
                    <a:pt x="856" y="12359"/>
                    <a:pt x="829" y="12396"/>
                    <a:pt x="823" y="12451"/>
                  </a:cubicBezTo>
                  <a:cubicBezTo>
                    <a:pt x="822" y="12526"/>
                    <a:pt x="989" y="12487"/>
                    <a:pt x="886" y="12467"/>
                  </a:cubicBezTo>
                  <a:cubicBezTo>
                    <a:pt x="930" y="12430"/>
                    <a:pt x="1062" y="12382"/>
                    <a:pt x="940" y="12368"/>
                  </a:cubicBezTo>
                  <a:close/>
                  <a:moveTo>
                    <a:pt x="3958" y="12254"/>
                  </a:moveTo>
                  <a:cubicBezTo>
                    <a:pt x="3864" y="12293"/>
                    <a:pt x="3708" y="12415"/>
                    <a:pt x="3840" y="12473"/>
                  </a:cubicBezTo>
                  <a:cubicBezTo>
                    <a:pt x="3996" y="12543"/>
                    <a:pt x="4048" y="12354"/>
                    <a:pt x="4217" y="12392"/>
                  </a:cubicBezTo>
                  <a:cubicBezTo>
                    <a:pt x="4206" y="12338"/>
                    <a:pt x="4132" y="12271"/>
                    <a:pt x="4145" y="12216"/>
                  </a:cubicBezTo>
                  <a:cubicBezTo>
                    <a:pt x="4176" y="12247"/>
                    <a:pt x="4215" y="12298"/>
                    <a:pt x="4227" y="12335"/>
                  </a:cubicBezTo>
                  <a:cubicBezTo>
                    <a:pt x="4260" y="12431"/>
                    <a:pt x="4239" y="12375"/>
                    <a:pt x="4148" y="12406"/>
                  </a:cubicBezTo>
                  <a:cubicBezTo>
                    <a:pt x="4084" y="12428"/>
                    <a:pt x="4050" y="12461"/>
                    <a:pt x="3992" y="12491"/>
                  </a:cubicBezTo>
                  <a:cubicBezTo>
                    <a:pt x="3909" y="12536"/>
                    <a:pt x="3878" y="12512"/>
                    <a:pt x="3903" y="12592"/>
                  </a:cubicBezTo>
                  <a:cubicBezTo>
                    <a:pt x="3839" y="12459"/>
                    <a:pt x="3775" y="12585"/>
                    <a:pt x="3775" y="12657"/>
                  </a:cubicBezTo>
                  <a:cubicBezTo>
                    <a:pt x="3775" y="12743"/>
                    <a:pt x="3840" y="12788"/>
                    <a:pt x="3883" y="12874"/>
                  </a:cubicBezTo>
                  <a:cubicBezTo>
                    <a:pt x="3956" y="12909"/>
                    <a:pt x="4029" y="12851"/>
                    <a:pt x="4070" y="12904"/>
                  </a:cubicBezTo>
                  <a:cubicBezTo>
                    <a:pt x="4107" y="12792"/>
                    <a:pt x="4267" y="12702"/>
                    <a:pt x="4284" y="12593"/>
                  </a:cubicBezTo>
                  <a:cubicBezTo>
                    <a:pt x="4319" y="12648"/>
                    <a:pt x="4385" y="12602"/>
                    <a:pt x="4421" y="12564"/>
                  </a:cubicBezTo>
                  <a:cubicBezTo>
                    <a:pt x="4394" y="12643"/>
                    <a:pt x="4317" y="12654"/>
                    <a:pt x="4251" y="12703"/>
                  </a:cubicBezTo>
                  <a:cubicBezTo>
                    <a:pt x="4187" y="12751"/>
                    <a:pt x="4150" y="12814"/>
                    <a:pt x="4117" y="12872"/>
                  </a:cubicBezTo>
                  <a:cubicBezTo>
                    <a:pt x="4062" y="12969"/>
                    <a:pt x="3995" y="12995"/>
                    <a:pt x="4155" y="13026"/>
                  </a:cubicBezTo>
                  <a:cubicBezTo>
                    <a:pt x="4263" y="13047"/>
                    <a:pt x="4299" y="12935"/>
                    <a:pt x="4345" y="12885"/>
                  </a:cubicBezTo>
                  <a:cubicBezTo>
                    <a:pt x="4449" y="12771"/>
                    <a:pt x="4572" y="12648"/>
                    <a:pt x="4599" y="12511"/>
                  </a:cubicBezTo>
                  <a:cubicBezTo>
                    <a:pt x="4609" y="12463"/>
                    <a:pt x="4626" y="12358"/>
                    <a:pt x="4598" y="12316"/>
                  </a:cubicBezTo>
                  <a:cubicBezTo>
                    <a:pt x="4563" y="12265"/>
                    <a:pt x="4480" y="12227"/>
                    <a:pt x="4442" y="12165"/>
                  </a:cubicBezTo>
                  <a:cubicBezTo>
                    <a:pt x="4411" y="12117"/>
                    <a:pt x="4285" y="11930"/>
                    <a:pt x="4169" y="11984"/>
                  </a:cubicBezTo>
                  <a:cubicBezTo>
                    <a:pt x="4163" y="11987"/>
                    <a:pt x="4095" y="12121"/>
                    <a:pt x="4085" y="12136"/>
                  </a:cubicBezTo>
                  <a:cubicBezTo>
                    <a:pt x="4036" y="12208"/>
                    <a:pt x="4042" y="12219"/>
                    <a:pt x="3958" y="12254"/>
                  </a:cubicBezTo>
                  <a:close/>
                  <a:moveTo>
                    <a:pt x="4276" y="13959"/>
                  </a:moveTo>
                  <a:cubicBezTo>
                    <a:pt x="4199" y="13985"/>
                    <a:pt x="4199" y="14037"/>
                    <a:pt x="4167" y="14064"/>
                  </a:cubicBezTo>
                  <a:cubicBezTo>
                    <a:pt x="4126" y="14100"/>
                    <a:pt x="4056" y="14101"/>
                    <a:pt x="4090" y="14159"/>
                  </a:cubicBezTo>
                  <a:cubicBezTo>
                    <a:pt x="4126" y="14220"/>
                    <a:pt x="4201" y="14149"/>
                    <a:pt x="4180" y="14237"/>
                  </a:cubicBezTo>
                  <a:cubicBezTo>
                    <a:pt x="4169" y="14284"/>
                    <a:pt x="4082" y="14310"/>
                    <a:pt x="4138" y="14341"/>
                  </a:cubicBezTo>
                  <a:cubicBezTo>
                    <a:pt x="4245" y="14401"/>
                    <a:pt x="4509" y="14047"/>
                    <a:pt x="4551" y="13990"/>
                  </a:cubicBezTo>
                  <a:cubicBezTo>
                    <a:pt x="4508" y="13924"/>
                    <a:pt x="4349" y="13934"/>
                    <a:pt x="4276" y="13959"/>
                  </a:cubicBezTo>
                  <a:close/>
                  <a:moveTo>
                    <a:pt x="4193" y="13853"/>
                  </a:moveTo>
                  <a:cubicBezTo>
                    <a:pt x="4147" y="14062"/>
                    <a:pt x="4378" y="13813"/>
                    <a:pt x="4419" y="13747"/>
                  </a:cubicBezTo>
                  <a:cubicBezTo>
                    <a:pt x="4321" y="13644"/>
                    <a:pt x="4206" y="13798"/>
                    <a:pt x="4193" y="13853"/>
                  </a:cubicBezTo>
                  <a:close/>
                  <a:moveTo>
                    <a:pt x="4064" y="14748"/>
                  </a:moveTo>
                  <a:cubicBezTo>
                    <a:pt x="4076" y="14760"/>
                    <a:pt x="4084" y="14824"/>
                    <a:pt x="4098" y="14830"/>
                  </a:cubicBezTo>
                  <a:cubicBezTo>
                    <a:pt x="4267" y="14896"/>
                    <a:pt x="4243" y="14461"/>
                    <a:pt x="4247" y="14420"/>
                  </a:cubicBezTo>
                  <a:cubicBezTo>
                    <a:pt x="4018" y="14352"/>
                    <a:pt x="3945" y="14571"/>
                    <a:pt x="3977" y="14680"/>
                  </a:cubicBezTo>
                  <a:cubicBezTo>
                    <a:pt x="3995" y="14745"/>
                    <a:pt x="4031" y="14715"/>
                    <a:pt x="4064" y="14748"/>
                  </a:cubicBezTo>
                  <a:close/>
                  <a:moveTo>
                    <a:pt x="3791" y="11494"/>
                  </a:moveTo>
                  <a:cubicBezTo>
                    <a:pt x="3759" y="11419"/>
                    <a:pt x="3727" y="11363"/>
                    <a:pt x="3704" y="11285"/>
                  </a:cubicBezTo>
                  <a:cubicBezTo>
                    <a:pt x="3665" y="11153"/>
                    <a:pt x="3573" y="11028"/>
                    <a:pt x="3483" y="10912"/>
                  </a:cubicBezTo>
                  <a:cubicBezTo>
                    <a:pt x="3441" y="10860"/>
                    <a:pt x="3396" y="10763"/>
                    <a:pt x="3285" y="10836"/>
                  </a:cubicBezTo>
                  <a:cubicBezTo>
                    <a:pt x="3211" y="10884"/>
                    <a:pt x="3276" y="10880"/>
                    <a:pt x="3275" y="10915"/>
                  </a:cubicBezTo>
                  <a:cubicBezTo>
                    <a:pt x="3274" y="10935"/>
                    <a:pt x="3264" y="10981"/>
                    <a:pt x="3263" y="11004"/>
                  </a:cubicBezTo>
                  <a:cubicBezTo>
                    <a:pt x="3263" y="11018"/>
                    <a:pt x="3232" y="11028"/>
                    <a:pt x="3236" y="11047"/>
                  </a:cubicBezTo>
                  <a:cubicBezTo>
                    <a:pt x="3239" y="11065"/>
                    <a:pt x="3281" y="11062"/>
                    <a:pt x="3286" y="11075"/>
                  </a:cubicBezTo>
                  <a:cubicBezTo>
                    <a:pt x="3297" y="11102"/>
                    <a:pt x="3315" y="11133"/>
                    <a:pt x="3324" y="11153"/>
                  </a:cubicBezTo>
                  <a:cubicBezTo>
                    <a:pt x="3343" y="11196"/>
                    <a:pt x="3283" y="11183"/>
                    <a:pt x="3349" y="11216"/>
                  </a:cubicBezTo>
                  <a:cubicBezTo>
                    <a:pt x="3358" y="11221"/>
                    <a:pt x="3436" y="11213"/>
                    <a:pt x="3459" y="11220"/>
                  </a:cubicBezTo>
                  <a:cubicBezTo>
                    <a:pt x="3500" y="11233"/>
                    <a:pt x="3525" y="11251"/>
                    <a:pt x="3531" y="11280"/>
                  </a:cubicBezTo>
                  <a:cubicBezTo>
                    <a:pt x="3494" y="11244"/>
                    <a:pt x="3323" y="11213"/>
                    <a:pt x="3305" y="11275"/>
                  </a:cubicBezTo>
                  <a:cubicBezTo>
                    <a:pt x="3276" y="11377"/>
                    <a:pt x="3553" y="11234"/>
                    <a:pt x="3434" y="11319"/>
                  </a:cubicBezTo>
                  <a:cubicBezTo>
                    <a:pt x="3476" y="11347"/>
                    <a:pt x="3476" y="11334"/>
                    <a:pt x="3433" y="11358"/>
                  </a:cubicBezTo>
                  <a:cubicBezTo>
                    <a:pt x="3525" y="11399"/>
                    <a:pt x="3414" y="11421"/>
                    <a:pt x="3409" y="11463"/>
                  </a:cubicBezTo>
                  <a:cubicBezTo>
                    <a:pt x="3401" y="11523"/>
                    <a:pt x="3441" y="11506"/>
                    <a:pt x="3449" y="11545"/>
                  </a:cubicBezTo>
                  <a:cubicBezTo>
                    <a:pt x="3451" y="11556"/>
                    <a:pt x="3413" y="11586"/>
                    <a:pt x="3413" y="11603"/>
                  </a:cubicBezTo>
                  <a:cubicBezTo>
                    <a:pt x="3411" y="11636"/>
                    <a:pt x="3447" y="11632"/>
                    <a:pt x="3455" y="11648"/>
                  </a:cubicBezTo>
                  <a:cubicBezTo>
                    <a:pt x="3473" y="11686"/>
                    <a:pt x="3454" y="11740"/>
                    <a:pt x="3541" y="11729"/>
                  </a:cubicBezTo>
                  <a:cubicBezTo>
                    <a:pt x="3523" y="11799"/>
                    <a:pt x="3539" y="11862"/>
                    <a:pt x="3554" y="11942"/>
                  </a:cubicBezTo>
                  <a:cubicBezTo>
                    <a:pt x="3712" y="11989"/>
                    <a:pt x="3667" y="11886"/>
                    <a:pt x="3706" y="11826"/>
                  </a:cubicBezTo>
                  <a:cubicBezTo>
                    <a:pt x="3742" y="11906"/>
                    <a:pt x="3892" y="11725"/>
                    <a:pt x="3875" y="11673"/>
                  </a:cubicBezTo>
                  <a:cubicBezTo>
                    <a:pt x="3851" y="11599"/>
                    <a:pt x="3735" y="11615"/>
                    <a:pt x="3702" y="11549"/>
                  </a:cubicBezTo>
                  <a:cubicBezTo>
                    <a:pt x="3796" y="11606"/>
                    <a:pt x="3825" y="11575"/>
                    <a:pt x="3791" y="11494"/>
                  </a:cubicBezTo>
                  <a:close/>
                  <a:moveTo>
                    <a:pt x="4379" y="13382"/>
                  </a:moveTo>
                  <a:cubicBezTo>
                    <a:pt x="4584" y="13293"/>
                    <a:pt x="4570" y="13019"/>
                    <a:pt x="4609" y="12871"/>
                  </a:cubicBezTo>
                  <a:cubicBezTo>
                    <a:pt x="4504" y="12871"/>
                    <a:pt x="4445" y="12995"/>
                    <a:pt x="4403" y="13059"/>
                  </a:cubicBezTo>
                  <a:cubicBezTo>
                    <a:pt x="4355" y="13133"/>
                    <a:pt x="4359" y="13263"/>
                    <a:pt x="4308" y="13314"/>
                  </a:cubicBezTo>
                  <a:cubicBezTo>
                    <a:pt x="4280" y="13343"/>
                    <a:pt x="4169" y="13370"/>
                    <a:pt x="4208" y="13404"/>
                  </a:cubicBezTo>
                  <a:cubicBezTo>
                    <a:pt x="4254" y="13445"/>
                    <a:pt x="4339" y="13399"/>
                    <a:pt x="4379" y="13382"/>
                  </a:cubicBezTo>
                  <a:close/>
                  <a:moveTo>
                    <a:pt x="3923" y="13062"/>
                  </a:moveTo>
                  <a:cubicBezTo>
                    <a:pt x="3806" y="13081"/>
                    <a:pt x="4079" y="13218"/>
                    <a:pt x="4096" y="13231"/>
                  </a:cubicBezTo>
                  <a:cubicBezTo>
                    <a:pt x="4132" y="13260"/>
                    <a:pt x="4160" y="13326"/>
                    <a:pt x="4228" y="13293"/>
                  </a:cubicBezTo>
                  <a:cubicBezTo>
                    <a:pt x="4313" y="13251"/>
                    <a:pt x="4300" y="13071"/>
                    <a:pt x="4312" y="13010"/>
                  </a:cubicBezTo>
                  <a:cubicBezTo>
                    <a:pt x="4279" y="12972"/>
                    <a:pt x="4264" y="13055"/>
                    <a:pt x="4212" y="13064"/>
                  </a:cubicBezTo>
                  <a:cubicBezTo>
                    <a:pt x="4183" y="13070"/>
                    <a:pt x="4091" y="13009"/>
                    <a:pt x="4049" y="13024"/>
                  </a:cubicBezTo>
                  <a:cubicBezTo>
                    <a:pt x="3986" y="13046"/>
                    <a:pt x="4062" y="13106"/>
                    <a:pt x="4020" y="13123"/>
                  </a:cubicBezTo>
                  <a:cubicBezTo>
                    <a:pt x="3945" y="13152"/>
                    <a:pt x="3961" y="13056"/>
                    <a:pt x="3923" y="13062"/>
                  </a:cubicBezTo>
                  <a:close/>
                  <a:moveTo>
                    <a:pt x="4640" y="11641"/>
                  </a:moveTo>
                  <a:cubicBezTo>
                    <a:pt x="4700" y="11605"/>
                    <a:pt x="4695" y="11557"/>
                    <a:pt x="4780" y="11528"/>
                  </a:cubicBezTo>
                  <a:cubicBezTo>
                    <a:pt x="4707" y="11474"/>
                    <a:pt x="4440" y="11459"/>
                    <a:pt x="4350" y="11512"/>
                  </a:cubicBezTo>
                  <a:cubicBezTo>
                    <a:pt x="4271" y="11558"/>
                    <a:pt x="4177" y="11755"/>
                    <a:pt x="4150" y="11827"/>
                  </a:cubicBezTo>
                  <a:cubicBezTo>
                    <a:pt x="4309" y="11766"/>
                    <a:pt x="4335" y="11677"/>
                    <a:pt x="4535" y="11655"/>
                  </a:cubicBezTo>
                  <a:cubicBezTo>
                    <a:pt x="4634" y="11644"/>
                    <a:pt x="4563" y="11689"/>
                    <a:pt x="4640" y="11641"/>
                  </a:cubicBezTo>
                  <a:close/>
                  <a:moveTo>
                    <a:pt x="4640" y="11641"/>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37" name="AutoShape 10"/>
            <p:cNvSpPr>
              <a:spLocks/>
            </p:cNvSpPr>
            <p:nvPr/>
          </p:nvSpPr>
          <p:spPr bwMode="auto">
            <a:xfrm>
              <a:off x="1351527" y="1557073"/>
              <a:ext cx="1497013" cy="1358900"/>
            </a:xfrm>
            <a:custGeom>
              <a:avLst/>
              <a:gdLst/>
              <a:ahLst/>
              <a:cxnLst/>
              <a:rect l="0" t="0" r="r" b="b"/>
              <a:pathLst>
                <a:path w="21566" h="21520">
                  <a:moveTo>
                    <a:pt x="21496" y="13129"/>
                  </a:moveTo>
                  <a:cubicBezTo>
                    <a:pt x="21450" y="12952"/>
                    <a:pt x="21427" y="12901"/>
                    <a:pt x="21184" y="12901"/>
                  </a:cubicBezTo>
                  <a:cubicBezTo>
                    <a:pt x="20942" y="12901"/>
                    <a:pt x="20653" y="13192"/>
                    <a:pt x="20503" y="13472"/>
                  </a:cubicBezTo>
                  <a:cubicBezTo>
                    <a:pt x="20353" y="13750"/>
                    <a:pt x="19961" y="13966"/>
                    <a:pt x="19683" y="13966"/>
                  </a:cubicBezTo>
                  <a:cubicBezTo>
                    <a:pt x="19406" y="13966"/>
                    <a:pt x="19181" y="13656"/>
                    <a:pt x="19037" y="13497"/>
                  </a:cubicBezTo>
                  <a:cubicBezTo>
                    <a:pt x="18893" y="13339"/>
                    <a:pt x="18818" y="13598"/>
                    <a:pt x="18633" y="13598"/>
                  </a:cubicBezTo>
                  <a:cubicBezTo>
                    <a:pt x="18448" y="13598"/>
                    <a:pt x="18379" y="13497"/>
                    <a:pt x="18252" y="13357"/>
                  </a:cubicBezTo>
                  <a:cubicBezTo>
                    <a:pt x="18125" y="13218"/>
                    <a:pt x="17952" y="13345"/>
                    <a:pt x="17536" y="13345"/>
                  </a:cubicBezTo>
                  <a:cubicBezTo>
                    <a:pt x="17121" y="13345"/>
                    <a:pt x="17051" y="13383"/>
                    <a:pt x="16728" y="13231"/>
                  </a:cubicBezTo>
                  <a:cubicBezTo>
                    <a:pt x="16405" y="13079"/>
                    <a:pt x="16013" y="12698"/>
                    <a:pt x="15897" y="12457"/>
                  </a:cubicBezTo>
                  <a:cubicBezTo>
                    <a:pt x="15781" y="12216"/>
                    <a:pt x="15489" y="11481"/>
                    <a:pt x="15489" y="11481"/>
                  </a:cubicBezTo>
                  <a:cubicBezTo>
                    <a:pt x="15489" y="11481"/>
                    <a:pt x="14394" y="7770"/>
                    <a:pt x="14121" y="6801"/>
                  </a:cubicBezTo>
                  <a:cubicBezTo>
                    <a:pt x="14130" y="6806"/>
                    <a:pt x="14139" y="6810"/>
                    <a:pt x="14148" y="6815"/>
                  </a:cubicBezTo>
                  <a:cubicBezTo>
                    <a:pt x="14088" y="6782"/>
                    <a:pt x="14020" y="6755"/>
                    <a:pt x="13966" y="6715"/>
                  </a:cubicBezTo>
                  <a:cubicBezTo>
                    <a:pt x="13862" y="6636"/>
                    <a:pt x="13756" y="6556"/>
                    <a:pt x="13629" y="6515"/>
                  </a:cubicBezTo>
                  <a:cubicBezTo>
                    <a:pt x="13567" y="6495"/>
                    <a:pt x="13506" y="6504"/>
                    <a:pt x="13446" y="6503"/>
                  </a:cubicBezTo>
                  <a:cubicBezTo>
                    <a:pt x="13392" y="6502"/>
                    <a:pt x="13290" y="6483"/>
                    <a:pt x="13241" y="6510"/>
                  </a:cubicBezTo>
                  <a:cubicBezTo>
                    <a:pt x="13140" y="6565"/>
                    <a:pt x="13127" y="6739"/>
                    <a:pt x="13078" y="6831"/>
                  </a:cubicBezTo>
                  <a:cubicBezTo>
                    <a:pt x="13043" y="6897"/>
                    <a:pt x="12980" y="6910"/>
                    <a:pt x="12946" y="6965"/>
                  </a:cubicBezTo>
                  <a:cubicBezTo>
                    <a:pt x="12908" y="7026"/>
                    <a:pt x="12955" y="7100"/>
                    <a:pt x="12913" y="7160"/>
                  </a:cubicBezTo>
                  <a:cubicBezTo>
                    <a:pt x="12917" y="7095"/>
                    <a:pt x="12881" y="7107"/>
                    <a:pt x="12850" y="7147"/>
                  </a:cubicBezTo>
                  <a:cubicBezTo>
                    <a:pt x="12842" y="7078"/>
                    <a:pt x="12891" y="7072"/>
                    <a:pt x="12914" y="7023"/>
                  </a:cubicBezTo>
                  <a:cubicBezTo>
                    <a:pt x="12935" y="6980"/>
                    <a:pt x="12938" y="6937"/>
                    <a:pt x="12963" y="6893"/>
                  </a:cubicBezTo>
                  <a:cubicBezTo>
                    <a:pt x="12996" y="6838"/>
                    <a:pt x="13003" y="6829"/>
                    <a:pt x="13021" y="6762"/>
                  </a:cubicBezTo>
                  <a:cubicBezTo>
                    <a:pt x="13034" y="6711"/>
                    <a:pt x="13052" y="6673"/>
                    <a:pt x="13080" y="6631"/>
                  </a:cubicBezTo>
                  <a:cubicBezTo>
                    <a:pt x="13151" y="6526"/>
                    <a:pt x="13219" y="6534"/>
                    <a:pt x="13178" y="6398"/>
                  </a:cubicBezTo>
                  <a:cubicBezTo>
                    <a:pt x="13158" y="6331"/>
                    <a:pt x="13127" y="6325"/>
                    <a:pt x="13085" y="6281"/>
                  </a:cubicBezTo>
                  <a:cubicBezTo>
                    <a:pt x="13015" y="6209"/>
                    <a:pt x="12964" y="6108"/>
                    <a:pt x="12906" y="6022"/>
                  </a:cubicBezTo>
                  <a:cubicBezTo>
                    <a:pt x="12861" y="5955"/>
                    <a:pt x="12806" y="5927"/>
                    <a:pt x="12743" y="5889"/>
                  </a:cubicBezTo>
                  <a:cubicBezTo>
                    <a:pt x="12717" y="5874"/>
                    <a:pt x="12676" y="5851"/>
                    <a:pt x="12656" y="5829"/>
                  </a:cubicBezTo>
                  <a:cubicBezTo>
                    <a:pt x="12643" y="5814"/>
                    <a:pt x="12595" y="5825"/>
                    <a:pt x="12571" y="5810"/>
                  </a:cubicBezTo>
                  <a:cubicBezTo>
                    <a:pt x="12513" y="5776"/>
                    <a:pt x="12478" y="5701"/>
                    <a:pt x="12423" y="5668"/>
                  </a:cubicBezTo>
                  <a:cubicBezTo>
                    <a:pt x="12351" y="5624"/>
                    <a:pt x="12336" y="5661"/>
                    <a:pt x="12274" y="5662"/>
                  </a:cubicBezTo>
                  <a:cubicBezTo>
                    <a:pt x="12232" y="5663"/>
                    <a:pt x="12127" y="5641"/>
                    <a:pt x="12088" y="5622"/>
                  </a:cubicBezTo>
                  <a:cubicBezTo>
                    <a:pt x="12030" y="5594"/>
                    <a:pt x="12011" y="5509"/>
                    <a:pt x="11955" y="5484"/>
                  </a:cubicBezTo>
                  <a:cubicBezTo>
                    <a:pt x="11907" y="5462"/>
                    <a:pt x="11803" y="5500"/>
                    <a:pt x="11758" y="5523"/>
                  </a:cubicBezTo>
                  <a:cubicBezTo>
                    <a:pt x="11698" y="5553"/>
                    <a:pt x="11688" y="5618"/>
                    <a:pt x="11628" y="5643"/>
                  </a:cubicBezTo>
                  <a:cubicBezTo>
                    <a:pt x="11636" y="5618"/>
                    <a:pt x="11639" y="5582"/>
                    <a:pt x="11650" y="5558"/>
                  </a:cubicBezTo>
                  <a:cubicBezTo>
                    <a:pt x="11644" y="5559"/>
                    <a:pt x="11632" y="5564"/>
                    <a:pt x="11626" y="5565"/>
                  </a:cubicBezTo>
                  <a:cubicBezTo>
                    <a:pt x="11645" y="5515"/>
                    <a:pt x="11678" y="5535"/>
                    <a:pt x="11698" y="5518"/>
                  </a:cubicBezTo>
                  <a:cubicBezTo>
                    <a:pt x="11719" y="5500"/>
                    <a:pt x="11737" y="5469"/>
                    <a:pt x="11760" y="5443"/>
                  </a:cubicBezTo>
                  <a:cubicBezTo>
                    <a:pt x="11807" y="5390"/>
                    <a:pt x="11847" y="5361"/>
                    <a:pt x="11911" y="5369"/>
                  </a:cubicBezTo>
                  <a:cubicBezTo>
                    <a:pt x="11841" y="5315"/>
                    <a:pt x="11825" y="5294"/>
                    <a:pt x="11801" y="5195"/>
                  </a:cubicBezTo>
                  <a:cubicBezTo>
                    <a:pt x="11788" y="5142"/>
                    <a:pt x="11722" y="5130"/>
                    <a:pt x="11682" y="5108"/>
                  </a:cubicBezTo>
                  <a:cubicBezTo>
                    <a:pt x="11595" y="5061"/>
                    <a:pt x="11518" y="4989"/>
                    <a:pt x="11436" y="4933"/>
                  </a:cubicBezTo>
                  <a:cubicBezTo>
                    <a:pt x="11329" y="4860"/>
                    <a:pt x="11280" y="4715"/>
                    <a:pt x="11156" y="4656"/>
                  </a:cubicBezTo>
                  <a:cubicBezTo>
                    <a:pt x="11098" y="4627"/>
                    <a:pt x="11029" y="4645"/>
                    <a:pt x="10981" y="4588"/>
                  </a:cubicBezTo>
                  <a:cubicBezTo>
                    <a:pt x="10925" y="4522"/>
                    <a:pt x="10891" y="4310"/>
                    <a:pt x="10915" y="4216"/>
                  </a:cubicBezTo>
                  <a:cubicBezTo>
                    <a:pt x="10939" y="4124"/>
                    <a:pt x="11000" y="4121"/>
                    <a:pt x="10973" y="4010"/>
                  </a:cubicBezTo>
                  <a:cubicBezTo>
                    <a:pt x="10948" y="3903"/>
                    <a:pt x="10885" y="3836"/>
                    <a:pt x="10839" y="3746"/>
                  </a:cubicBezTo>
                  <a:cubicBezTo>
                    <a:pt x="10786" y="3643"/>
                    <a:pt x="10783" y="3526"/>
                    <a:pt x="10782" y="3413"/>
                  </a:cubicBezTo>
                  <a:cubicBezTo>
                    <a:pt x="10782" y="3295"/>
                    <a:pt x="10748" y="3210"/>
                    <a:pt x="10692" y="3106"/>
                  </a:cubicBezTo>
                  <a:cubicBezTo>
                    <a:pt x="10664" y="3052"/>
                    <a:pt x="10631" y="2983"/>
                    <a:pt x="10595" y="2935"/>
                  </a:cubicBezTo>
                  <a:cubicBezTo>
                    <a:pt x="10572" y="2904"/>
                    <a:pt x="10561" y="2886"/>
                    <a:pt x="10527" y="2866"/>
                  </a:cubicBezTo>
                  <a:cubicBezTo>
                    <a:pt x="10512" y="2857"/>
                    <a:pt x="10452" y="2850"/>
                    <a:pt x="10458" y="2854"/>
                  </a:cubicBezTo>
                  <a:cubicBezTo>
                    <a:pt x="10310" y="2740"/>
                    <a:pt x="10309" y="2489"/>
                    <a:pt x="10311" y="2310"/>
                  </a:cubicBezTo>
                  <a:cubicBezTo>
                    <a:pt x="10312" y="2161"/>
                    <a:pt x="10308" y="2014"/>
                    <a:pt x="10307" y="1866"/>
                  </a:cubicBezTo>
                  <a:cubicBezTo>
                    <a:pt x="10307" y="1753"/>
                    <a:pt x="10300" y="1743"/>
                    <a:pt x="10244" y="1656"/>
                  </a:cubicBezTo>
                  <a:cubicBezTo>
                    <a:pt x="10182" y="1561"/>
                    <a:pt x="10156" y="1446"/>
                    <a:pt x="10164" y="1331"/>
                  </a:cubicBezTo>
                  <a:cubicBezTo>
                    <a:pt x="10135" y="1309"/>
                    <a:pt x="10107" y="1284"/>
                    <a:pt x="10075" y="1268"/>
                  </a:cubicBezTo>
                  <a:cubicBezTo>
                    <a:pt x="10117" y="1306"/>
                    <a:pt x="10096" y="1349"/>
                    <a:pt x="10115" y="1391"/>
                  </a:cubicBezTo>
                  <a:cubicBezTo>
                    <a:pt x="10054" y="1418"/>
                    <a:pt x="10025" y="1334"/>
                    <a:pt x="9970" y="1323"/>
                  </a:cubicBezTo>
                  <a:cubicBezTo>
                    <a:pt x="9928" y="1315"/>
                    <a:pt x="9850" y="1334"/>
                    <a:pt x="9800" y="1345"/>
                  </a:cubicBezTo>
                  <a:cubicBezTo>
                    <a:pt x="9779" y="1350"/>
                    <a:pt x="9706" y="1398"/>
                    <a:pt x="9686" y="1410"/>
                  </a:cubicBezTo>
                  <a:cubicBezTo>
                    <a:pt x="9645" y="1434"/>
                    <a:pt x="9625" y="1417"/>
                    <a:pt x="9614" y="1488"/>
                  </a:cubicBezTo>
                  <a:cubicBezTo>
                    <a:pt x="9597" y="1411"/>
                    <a:pt x="9632" y="1267"/>
                    <a:pt x="9491" y="1325"/>
                  </a:cubicBezTo>
                  <a:cubicBezTo>
                    <a:pt x="9451" y="1342"/>
                    <a:pt x="9445" y="1385"/>
                    <a:pt x="9411" y="1403"/>
                  </a:cubicBezTo>
                  <a:cubicBezTo>
                    <a:pt x="9371" y="1423"/>
                    <a:pt x="9289" y="1418"/>
                    <a:pt x="9244" y="1422"/>
                  </a:cubicBezTo>
                  <a:cubicBezTo>
                    <a:pt x="9201" y="1425"/>
                    <a:pt x="9147" y="1433"/>
                    <a:pt x="9105" y="1428"/>
                  </a:cubicBezTo>
                  <a:cubicBezTo>
                    <a:pt x="9077" y="1425"/>
                    <a:pt x="8921" y="1380"/>
                    <a:pt x="8957" y="1437"/>
                  </a:cubicBezTo>
                  <a:cubicBezTo>
                    <a:pt x="8968" y="1455"/>
                    <a:pt x="8992" y="1462"/>
                    <a:pt x="9016" y="1470"/>
                  </a:cubicBezTo>
                  <a:cubicBezTo>
                    <a:pt x="8997" y="1464"/>
                    <a:pt x="8974" y="1473"/>
                    <a:pt x="8948" y="1513"/>
                  </a:cubicBezTo>
                  <a:cubicBezTo>
                    <a:pt x="8956" y="1433"/>
                    <a:pt x="8832" y="1394"/>
                    <a:pt x="8771" y="1405"/>
                  </a:cubicBezTo>
                  <a:cubicBezTo>
                    <a:pt x="8700" y="1417"/>
                    <a:pt x="8683" y="1493"/>
                    <a:pt x="8621" y="1517"/>
                  </a:cubicBezTo>
                  <a:cubicBezTo>
                    <a:pt x="8564" y="1538"/>
                    <a:pt x="8497" y="1515"/>
                    <a:pt x="8438" y="1544"/>
                  </a:cubicBezTo>
                  <a:cubicBezTo>
                    <a:pt x="8321" y="1601"/>
                    <a:pt x="8254" y="1703"/>
                    <a:pt x="8111" y="1680"/>
                  </a:cubicBezTo>
                  <a:cubicBezTo>
                    <a:pt x="7976" y="1659"/>
                    <a:pt x="7823" y="1660"/>
                    <a:pt x="7762" y="1822"/>
                  </a:cubicBezTo>
                  <a:cubicBezTo>
                    <a:pt x="7739" y="1887"/>
                    <a:pt x="7717" y="1975"/>
                    <a:pt x="7708" y="2044"/>
                  </a:cubicBezTo>
                  <a:cubicBezTo>
                    <a:pt x="7700" y="2105"/>
                    <a:pt x="7722" y="2177"/>
                    <a:pt x="7681" y="2225"/>
                  </a:cubicBezTo>
                  <a:cubicBezTo>
                    <a:pt x="7640" y="2106"/>
                    <a:pt x="7691" y="1926"/>
                    <a:pt x="7741" y="1807"/>
                  </a:cubicBezTo>
                  <a:cubicBezTo>
                    <a:pt x="7758" y="1768"/>
                    <a:pt x="7833" y="1685"/>
                    <a:pt x="7798" y="1637"/>
                  </a:cubicBezTo>
                  <a:cubicBezTo>
                    <a:pt x="7771" y="1600"/>
                    <a:pt x="7615" y="1604"/>
                    <a:pt x="7566" y="1582"/>
                  </a:cubicBezTo>
                  <a:cubicBezTo>
                    <a:pt x="7420" y="1515"/>
                    <a:pt x="7355" y="1303"/>
                    <a:pt x="7175" y="1317"/>
                  </a:cubicBezTo>
                  <a:cubicBezTo>
                    <a:pt x="7097" y="1323"/>
                    <a:pt x="7019" y="1279"/>
                    <a:pt x="6940" y="1278"/>
                  </a:cubicBezTo>
                  <a:cubicBezTo>
                    <a:pt x="6878" y="1278"/>
                    <a:pt x="6808" y="1284"/>
                    <a:pt x="6747" y="1270"/>
                  </a:cubicBezTo>
                  <a:cubicBezTo>
                    <a:pt x="6565" y="1228"/>
                    <a:pt x="6395" y="1142"/>
                    <a:pt x="6209" y="1114"/>
                  </a:cubicBezTo>
                  <a:cubicBezTo>
                    <a:pt x="6148" y="1104"/>
                    <a:pt x="5886" y="1086"/>
                    <a:pt x="5839" y="1132"/>
                  </a:cubicBezTo>
                  <a:cubicBezTo>
                    <a:pt x="5848" y="1069"/>
                    <a:pt x="5605" y="967"/>
                    <a:pt x="5621" y="1100"/>
                  </a:cubicBezTo>
                  <a:cubicBezTo>
                    <a:pt x="5582" y="1027"/>
                    <a:pt x="5630" y="1006"/>
                    <a:pt x="5572" y="934"/>
                  </a:cubicBezTo>
                  <a:cubicBezTo>
                    <a:pt x="5524" y="875"/>
                    <a:pt x="5480" y="831"/>
                    <a:pt x="5437" y="770"/>
                  </a:cubicBezTo>
                  <a:cubicBezTo>
                    <a:pt x="5371" y="677"/>
                    <a:pt x="5281" y="557"/>
                    <a:pt x="5198" y="496"/>
                  </a:cubicBezTo>
                  <a:cubicBezTo>
                    <a:pt x="5138" y="452"/>
                    <a:pt x="5048" y="448"/>
                    <a:pt x="4980" y="420"/>
                  </a:cubicBezTo>
                  <a:cubicBezTo>
                    <a:pt x="4897" y="386"/>
                    <a:pt x="4840" y="327"/>
                    <a:pt x="4767" y="273"/>
                  </a:cubicBezTo>
                  <a:cubicBezTo>
                    <a:pt x="4683" y="210"/>
                    <a:pt x="4591" y="158"/>
                    <a:pt x="4504" y="100"/>
                  </a:cubicBezTo>
                  <a:cubicBezTo>
                    <a:pt x="4440" y="59"/>
                    <a:pt x="4416" y="-63"/>
                    <a:pt x="4322" y="41"/>
                  </a:cubicBezTo>
                  <a:lnTo>
                    <a:pt x="4089" y="6"/>
                  </a:lnTo>
                  <a:cubicBezTo>
                    <a:pt x="3195" y="1491"/>
                    <a:pt x="1312" y="4590"/>
                    <a:pt x="477" y="5750"/>
                  </a:cubicBezTo>
                  <a:lnTo>
                    <a:pt x="0" y="6347"/>
                  </a:lnTo>
                  <a:lnTo>
                    <a:pt x="546" y="12491"/>
                  </a:lnTo>
                  <a:cubicBezTo>
                    <a:pt x="651" y="12493"/>
                    <a:pt x="805" y="12470"/>
                    <a:pt x="873" y="12582"/>
                  </a:cubicBezTo>
                  <a:cubicBezTo>
                    <a:pt x="895" y="12619"/>
                    <a:pt x="887" y="12705"/>
                    <a:pt x="898" y="12750"/>
                  </a:cubicBezTo>
                  <a:cubicBezTo>
                    <a:pt x="924" y="12866"/>
                    <a:pt x="977" y="12972"/>
                    <a:pt x="1013" y="13084"/>
                  </a:cubicBezTo>
                  <a:cubicBezTo>
                    <a:pt x="1052" y="13203"/>
                    <a:pt x="1014" y="13342"/>
                    <a:pt x="1111" y="13427"/>
                  </a:cubicBezTo>
                  <a:cubicBezTo>
                    <a:pt x="1148" y="13459"/>
                    <a:pt x="1214" y="13493"/>
                    <a:pt x="1262" y="13491"/>
                  </a:cubicBezTo>
                  <a:cubicBezTo>
                    <a:pt x="1321" y="13488"/>
                    <a:pt x="1376" y="13434"/>
                    <a:pt x="1440" y="13459"/>
                  </a:cubicBezTo>
                  <a:cubicBezTo>
                    <a:pt x="1486" y="13477"/>
                    <a:pt x="1494" y="13512"/>
                    <a:pt x="1532" y="13529"/>
                  </a:cubicBezTo>
                  <a:cubicBezTo>
                    <a:pt x="1555" y="13539"/>
                    <a:pt x="1603" y="13533"/>
                    <a:pt x="1629" y="13533"/>
                  </a:cubicBezTo>
                  <a:cubicBezTo>
                    <a:pt x="1684" y="13533"/>
                    <a:pt x="1739" y="13525"/>
                    <a:pt x="1795" y="13525"/>
                  </a:cubicBezTo>
                  <a:cubicBezTo>
                    <a:pt x="1907" y="13527"/>
                    <a:pt x="1883" y="13550"/>
                    <a:pt x="1935" y="13631"/>
                  </a:cubicBezTo>
                  <a:cubicBezTo>
                    <a:pt x="1980" y="13701"/>
                    <a:pt x="2022" y="13695"/>
                    <a:pt x="2100" y="13671"/>
                  </a:cubicBezTo>
                  <a:cubicBezTo>
                    <a:pt x="2137" y="13659"/>
                    <a:pt x="2231" y="13635"/>
                    <a:pt x="2259" y="13603"/>
                  </a:cubicBezTo>
                  <a:cubicBezTo>
                    <a:pt x="2278" y="13581"/>
                    <a:pt x="2257" y="13543"/>
                    <a:pt x="2263" y="13536"/>
                  </a:cubicBezTo>
                  <a:cubicBezTo>
                    <a:pt x="2278" y="13517"/>
                    <a:pt x="2300" y="13510"/>
                    <a:pt x="2318" y="13494"/>
                  </a:cubicBezTo>
                  <a:cubicBezTo>
                    <a:pt x="2400" y="13426"/>
                    <a:pt x="2495" y="13447"/>
                    <a:pt x="2596" y="13440"/>
                  </a:cubicBezTo>
                  <a:cubicBezTo>
                    <a:pt x="2689" y="13434"/>
                    <a:pt x="2727" y="13438"/>
                    <a:pt x="2825" y="13470"/>
                  </a:cubicBezTo>
                  <a:cubicBezTo>
                    <a:pt x="2866" y="13483"/>
                    <a:pt x="3054" y="13501"/>
                    <a:pt x="3067" y="13525"/>
                  </a:cubicBezTo>
                  <a:cubicBezTo>
                    <a:pt x="3105" y="13598"/>
                    <a:pt x="3017" y="13556"/>
                    <a:pt x="3009" y="13594"/>
                  </a:cubicBezTo>
                  <a:cubicBezTo>
                    <a:pt x="2988" y="13694"/>
                    <a:pt x="3079" y="13652"/>
                    <a:pt x="3133" y="13647"/>
                  </a:cubicBezTo>
                  <a:cubicBezTo>
                    <a:pt x="3270" y="13634"/>
                    <a:pt x="3243" y="13769"/>
                    <a:pt x="3319" y="13872"/>
                  </a:cubicBezTo>
                  <a:cubicBezTo>
                    <a:pt x="3352" y="13916"/>
                    <a:pt x="3407" y="13992"/>
                    <a:pt x="3441" y="13899"/>
                  </a:cubicBezTo>
                  <a:cubicBezTo>
                    <a:pt x="3455" y="13858"/>
                    <a:pt x="3396" y="13828"/>
                    <a:pt x="3432" y="13771"/>
                  </a:cubicBezTo>
                  <a:cubicBezTo>
                    <a:pt x="3455" y="13737"/>
                    <a:pt x="3540" y="13729"/>
                    <a:pt x="3575" y="13726"/>
                  </a:cubicBezTo>
                  <a:cubicBezTo>
                    <a:pt x="3678" y="13714"/>
                    <a:pt x="3645" y="13742"/>
                    <a:pt x="3695" y="13812"/>
                  </a:cubicBezTo>
                  <a:cubicBezTo>
                    <a:pt x="3729" y="13858"/>
                    <a:pt x="3772" y="13885"/>
                    <a:pt x="3824" y="13903"/>
                  </a:cubicBezTo>
                  <a:cubicBezTo>
                    <a:pt x="3869" y="13918"/>
                    <a:pt x="3942" y="13898"/>
                    <a:pt x="3980" y="13923"/>
                  </a:cubicBezTo>
                  <a:cubicBezTo>
                    <a:pt x="4002" y="13937"/>
                    <a:pt x="4011" y="13974"/>
                    <a:pt x="4027" y="13992"/>
                  </a:cubicBezTo>
                  <a:cubicBezTo>
                    <a:pt x="4039" y="14007"/>
                    <a:pt x="4027" y="14038"/>
                    <a:pt x="4050" y="14054"/>
                  </a:cubicBezTo>
                  <a:cubicBezTo>
                    <a:pt x="4070" y="14067"/>
                    <a:pt x="4115" y="14046"/>
                    <a:pt x="4136" y="14049"/>
                  </a:cubicBezTo>
                  <a:cubicBezTo>
                    <a:pt x="4162" y="14053"/>
                    <a:pt x="4149" y="14092"/>
                    <a:pt x="4162" y="14096"/>
                  </a:cubicBezTo>
                  <a:cubicBezTo>
                    <a:pt x="4173" y="14099"/>
                    <a:pt x="4193" y="14091"/>
                    <a:pt x="4199" y="14093"/>
                  </a:cubicBezTo>
                  <a:cubicBezTo>
                    <a:pt x="4230" y="14104"/>
                    <a:pt x="4292" y="14104"/>
                    <a:pt x="4321" y="14096"/>
                  </a:cubicBezTo>
                  <a:cubicBezTo>
                    <a:pt x="4346" y="14088"/>
                    <a:pt x="4437" y="14038"/>
                    <a:pt x="4463" y="14018"/>
                  </a:cubicBezTo>
                  <a:cubicBezTo>
                    <a:pt x="4540" y="13957"/>
                    <a:pt x="4596" y="13848"/>
                    <a:pt x="4677" y="13783"/>
                  </a:cubicBezTo>
                  <a:cubicBezTo>
                    <a:pt x="4719" y="13749"/>
                    <a:pt x="4746" y="13720"/>
                    <a:pt x="4803" y="13717"/>
                  </a:cubicBezTo>
                  <a:cubicBezTo>
                    <a:pt x="4847" y="13715"/>
                    <a:pt x="4822" y="13762"/>
                    <a:pt x="4839" y="13794"/>
                  </a:cubicBezTo>
                  <a:cubicBezTo>
                    <a:pt x="4842" y="13799"/>
                    <a:pt x="4880" y="13836"/>
                    <a:pt x="4885" y="13842"/>
                  </a:cubicBezTo>
                  <a:cubicBezTo>
                    <a:pt x="4903" y="13863"/>
                    <a:pt x="4899" y="13897"/>
                    <a:pt x="4934" y="13912"/>
                  </a:cubicBezTo>
                  <a:cubicBezTo>
                    <a:pt x="4966" y="13925"/>
                    <a:pt x="5039" y="13882"/>
                    <a:pt x="5073" y="13877"/>
                  </a:cubicBezTo>
                  <a:cubicBezTo>
                    <a:pt x="5161" y="13863"/>
                    <a:pt x="5239" y="13852"/>
                    <a:pt x="5327" y="13824"/>
                  </a:cubicBezTo>
                  <a:cubicBezTo>
                    <a:pt x="5383" y="13806"/>
                    <a:pt x="5436" y="13786"/>
                    <a:pt x="5496" y="13780"/>
                  </a:cubicBezTo>
                  <a:cubicBezTo>
                    <a:pt x="5593" y="13770"/>
                    <a:pt x="5609" y="13800"/>
                    <a:pt x="5665" y="13883"/>
                  </a:cubicBezTo>
                  <a:cubicBezTo>
                    <a:pt x="5800" y="13941"/>
                    <a:pt x="5925" y="13879"/>
                    <a:pt x="6072" y="13849"/>
                  </a:cubicBezTo>
                  <a:cubicBezTo>
                    <a:pt x="6102" y="13827"/>
                    <a:pt x="6137" y="13775"/>
                    <a:pt x="6150" y="13761"/>
                  </a:cubicBezTo>
                  <a:cubicBezTo>
                    <a:pt x="6165" y="13746"/>
                    <a:pt x="6238" y="13711"/>
                    <a:pt x="6181" y="13689"/>
                  </a:cubicBezTo>
                  <a:cubicBezTo>
                    <a:pt x="6236" y="13654"/>
                    <a:pt x="6250" y="13643"/>
                    <a:pt x="6273" y="13587"/>
                  </a:cubicBezTo>
                  <a:cubicBezTo>
                    <a:pt x="6308" y="13497"/>
                    <a:pt x="6344" y="13338"/>
                    <a:pt x="6331" y="13230"/>
                  </a:cubicBezTo>
                  <a:cubicBezTo>
                    <a:pt x="6326" y="13187"/>
                    <a:pt x="6293" y="13178"/>
                    <a:pt x="6304" y="13121"/>
                  </a:cubicBezTo>
                  <a:cubicBezTo>
                    <a:pt x="6312" y="13083"/>
                    <a:pt x="6326" y="13076"/>
                    <a:pt x="6346" y="13049"/>
                  </a:cubicBezTo>
                  <a:cubicBezTo>
                    <a:pt x="6377" y="13006"/>
                    <a:pt x="6417" y="12974"/>
                    <a:pt x="6460" y="12946"/>
                  </a:cubicBezTo>
                  <a:cubicBezTo>
                    <a:pt x="6513" y="12913"/>
                    <a:pt x="6560" y="12883"/>
                    <a:pt x="6609" y="12847"/>
                  </a:cubicBezTo>
                  <a:cubicBezTo>
                    <a:pt x="6686" y="12791"/>
                    <a:pt x="6707" y="12783"/>
                    <a:pt x="6682" y="12893"/>
                  </a:cubicBezTo>
                  <a:cubicBezTo>
                    <a:pt x="6670" y="12949"/>
                    <a:pt x="6658" y="13001"/>
                    <a:pt x="6646" y="13059"/>
                  </a:cubicBezTo>
                  <a:cubicBezTo>
                    <a:pt x="6633" y="13123"/>
                    <a:pt x="6609" y="13160"/>
                    <a:pt x="6602" y="13238"/>
                  </a:cubicBezTo>
                  <a:cubicBezTo>
                    <a:pt x="6653" y="13194"/>
                    <a:pt x="6748" y="13165"/>
                    <a:pt x="6777" y="13093"/>
                  </a:cubicBezTo>
                  <a:cubicBezTo>
                    <a:pt x="6796" y="13046"/>
                    <a:pt x="6774" y="12984"/>
                    <a:pt x="6786" y="12936"/>
                  </a:cubicBezTo>
                  <a:cubicBezTo>
                    <a:pt x="6789" y="12920"/>
                    <a:pt x="6776" y="12911"/>
                    <a:pt x="6779" y="12895"/>
                  </a:cubicBezTo>
                  <a:cubicBezTo>
                    <a:pt x="6784" y="12872"/>
                    <a:pt x="6822" y="12888"/>
                    <a:pt x="6826" y="12865"/>
                  </a:cubicBezTo>
                  <a:cubicBezTo>
                    <a:pt x="6833" y="12826"/>
                    <a:pt x="6805" y="12776"/>
                    <a:pt x="6816" y="12734"/>
                  </a:cubicBezTo>
                  <a:cubicBezTo>
                    <a:pt x="6831" y="12683"/>
                    <a:pt x="6864" y="12699"/>
                    <a:pt x="6883" y="12650"/>
                  </a:cubicBezTo>
                  <a:cubicBezTo>
                    <a:pt x="6878" y="12661"/>
                    <a:pt x="6880" y="12520"/>
                    <a:pt x="6883" y="12543"/>
                  </a:cubicBezTo>
                  <a:cubicBezTo>
                    <a:pt x="6876" y="12501"/>
                    <a:pt x="6848" y="12479"/>
                    <a:pt x="6851" y="12420"/>
                  </a:cubicBezTo>
                  <a:cubicBezTo>
                    <a:pt x="6865" y="12210"/>
                    <a:pt x="7101" y="12335"/>
                    <a:pt x="7060" y="12526"/>
                  </a:cubicBezTo>
                  <a:cubicBezTo>
                    <a:pt x="7037" y="12639"/>
                    <a:pt x="6917" y="12742"/>
                    <a:pt x="6897" y="12847"/>
                  </a:cubicBezTo>
                  <a:cubicBezTo>
                    <a:pt x="6883" y="12917"/>
                    <a:pt x="6907" y="12995"/>
                    <a:pt x="6955" y="12949"/>
                  </a:cubicBezTo>
                  <a:cubicBezTo>
                    <a:pt x="6992" y="12913"/>
                    <a:pt x="6956" y="12854"/>
                    <a:pt x="6992" y="12797"/>
                  </a:cubicBezTo>
                  <a:cubicBezTo>
                    <a:pt x="7028" y="12741"/>
                    <a:pt x="7024" y="12787"/>
                    <a:pt x="7065" y="12752"/>
                  </a:cubicBezTo>
                  <a:cubicBezTo>
                    <a:pt x="7075" y="12744"/>
                    <a:pt x="7115" y="12701"/>
                    <a:pt x="7116" y="12687"/>
                  </a:cubicBezTo>
                  <a:cubicBezTo>
                    <a:pt x="7118" y="12654"/>
                    <a:pt x="7056" y="12628"/>
                    <a:pt x="7084" y="12592"/>
                  </a:cubicBezTo>
                  <a:cubicBezTo>
                    <a:pt x="7086" y="12589"/>
                    <a:pt x="7146" y="12643"/>
                    <a:pt x="7175" y="12606"/>
                  </a:cubicBezTo>
                  <a:cubicBezTo>
                    <a:pt x="7147" y="12702"/>
                    <a:pt x="7202" y="12636"/>
                    <a:pt x="7225" y="12597"/>
                  </a:cubicBezTo>
                  <a:cubicBezTo>
                    <a:pt x="7244" y="12565"/>
                    <a:pt x="7271" y="12497"/>
                    <a:pt x="7273" y="12459"/>
                  </a:cubicBezTo>
                  <a:cubicBezTo>
                    <a:pt x="7283" y="12298"/>
                    <a:pt x="7123" y="12330"/>
                    <a:pt x="7092" y="12225"/>
                  </a:cubicBezTo>
                  <a:cubicBezTo>
                    <a:pt x="7089" y="12215"/>
                    <a:pt x="7047" y="12077"/>
                    <a:pt x="7045" y="12082"/>
                  </a:cubicBezTo>
                  <a:cubicBezTo>
                    <a:pt x="7048" y="12073"/>
                    <a:pt x="7132" y="12057"/>
                    <a:pt x="7156" y="12048"/>
                  </a:cubicBezTo>
                  <a:cubicBezTo>
                    <a:pt x="7175" y="12040"/>
                    <a:pt x="7200" y="12022"/>
                    <a:pt x="7225" y="12013"/>
                  </a:cubicBezTo>
                  <a:cubicBezTo>
                    <a:pt x="7235" y="12009"/>
                    <a:pt x="7228" y="11966"/>
                    <a:pt x="7243" y="11969"/>
                  </a:cubicBezTo>
                  <a:cubicBezTo>
                    <a:pt x="7252" y="11970"/>
                    <a:pt x="7289" y="12024"/>
                    <a:pt x="7303" y="12033"/>
                  </a:cubicBezTo>
                  <a:cubicBezTo>
                    <a:pt x="7367" y="12077"/>
                    <a:pt x="7422" y="12056"/>
                    <a:pt x="7480" y="12061"/>
                  </a:cubicBezTo>
                  <a:cubicBezTo>
                    <a:pt x="7546" y="12066"/>
                    <a:pt x="7636" y="12088"/>
                    <a:pt x="7692" y="12108"/>
                  </a:cubicBezTo>
                  <a:cubicBezTo>
                    <a:pt x="7703" y="12112"/>
                    <a:pt x="7706" y="12062"/>
                    <a:pt x="7728" y="12094"/>
                  </a:cubicBezTo>
                  <a:cubicBezTo>
                    <a:pt x="7741" y="12112"/>
                    <a:pt x="7741" y="12136"/>
                    <a:pt x="7763" y="12142"/>
                  </a:cubicBezTo>
                  <a:cubicBezTo>
                    <a:pt x="7794" y="12151"/>
                    <a:pt x="7814" y="12115"/>
                    <a:pt x="7843" y="12118"/>
                  </a:cubicBezTo>
                  <a:cubicBezTo>
                    <a:pt x="7910" y="12125"/>
                    <a:pt x="7989" y="12196"/>
                    <a:pt x="8055" y="12192"/>
                  </a:cubicBezTo>
                  <a:cubicBezTo>
                    <a:pt x="8110" y="12190"/>
                    <a:pt x="8161" y="12151"/>
                    <a:pt x="8219" y="12128"/>
                  </a:cubicBezTo>
                  <a:cubicBezTo>
                    <a:pt x="8240" y="12119"/>
                    <a:pt x="8288" y="12100"/>
                    <a:pt x="8283" y="12101"/>
                  </a:cubicBezTo>
                  <a:cubicBezTo>
                    <a:pt x="8275" y="12104"/>
                    <a:pt x="8276" y="12075"/>
                    <a:pt x="8306" y="12073"/>
                  </a:cubicBezTo>
                  <a:cubicBezTo>
                    <a:pt x="8344" y="12069"/>
                    <a:pt x="8385" y="12137"/>
                    <a:pt x="8424" y="12131"/>
                  </a:cubicBezTo>
                  <a:cubicBezTo>
                    <a:pt x="8448" y="12128"/>
                    <a:pt x="8468" y="12084"/>
                    <a:pt x="8486" y="12070"/>
                  </a:cubicBezTo>
                  <a:cubicBezTo>
                    <a:pt x="8507" y="12052"/>
                    <a:pt x="8530" y="12017"/>
                    <a:pt x="8555" y="12014"/>
                  </a:cubicBezTo>
                  <a:cubicBezTo>
                    <a:pt x="8606" y="12007"/>
                    <a:pt x="8610" y="12053"/>
                    <a:pt x="8634" y="12066"/>
                  </a:cubicBezTo>
                  <a:cubicBezTo>
                    <a:pt x="8726" y="12114"/>
                    <a:pt x="8686" y="12058"/>
                    <a:pt x="8763" y="12024"/>
                  </a:cubicBezTo>
                  <a:cubicBezTo>
                    <a:pt x="8873" y="11973"/>
                    <a:pt x="8903" y="12163"/>
                    <a:pt x="8966" y="12216"/>
                  </a:cubicBezTo>
                  <a:cubicBezTo>
                    <a:pt x="9089" y="12318"/>
                    <a:pt x="9140" y="12541"/>
                    <a:pt x="9229" y="12686"/>
                  </a:cubicBezTo>
                  <a:cubicBezTo>
                    <a:pt x="9405" y="12976"/>
                    <a:pt x="9696" y="13237"/>
                    <a:pt x="10029" y="13074"/>
                  </a:cubicBezTo>
                  <a:cubicBezTo>
                    <a:pt x="10085" y="13046"/>
                    <a:pt x="10124" y="12997"/>
                    <a:pt x="10184" y="12972"/>
                  </a:cubicBezTo>
                  <a:cubicBezTo>
                    <a:pt x="10247" y="12945"/>
                    <a:pt x="10315" y="12930"/>
                    <a:pt x="10380" y="12910"/>
                  </a:cubicBezTo>
                  <a:cubicBezTo>
                    <a:pt x="10429" y="12895"/>
                    <a:pt x="10531" y="12852"/>
                    <a:pt x="10560" y="12902"/>
                  </a:cubicBezTo>
                  <a:cubicBezTo>
                    <a:pt x="10584" y="12942"/>
                    <a:pt x="10548" y="12991"/>
                    <a:pt x="10542" y="13030"/>
                  </a:cubicBezTo>
                  <a:cubicBezTo>
                    <a:pt x="10536" y="13067"/>
                    <a:pt x="10530" y="13066"/>
                    <a:pt x="10533" y="13109"/>
                  </a:cubicBezTo>
                  <a:cubicBezTo>
                    <a:pt x="10536" y="13158"/>
                    <a:pt x="10559" y="13168"/>
                    <a:pt x="10547" y="13231"/>
                  </a:cubicBezTo>
                  <a:cubicBezTo>
                    <a:pt x="10539" y="13273"/>
                    <a:pt x="10497" y="13256"/>
                    <a:pt x="10521" y="13319"/>
                  </a:cubicBezTo>
                  <a:cubicBezTo>
                    <a:pt x="10550" y="13390"/>
                    <a:pt x="10477" y="13450"/>
                    <a:pt x="10566" y="13490"/>
                  </a:cubicBezTo>
                  <a:cubicBezTo>
                    <a:pt x="10607" y="13508"/>
                    <a:pt x="10618" y="13555"/>
                    <a:pt x="10655" y="13576"/>
                  </a:cubicBezTo>
                  <a:cubicBezTo>
                    <a:pt x="10675" y="13587"/>
                    <a:pt x="10702" y="13577"/>
                    <a:pt x="10723" y="13585"/>
                  </a:cubicBezTo>
                  <a:cubicBezTo>
                    <a:pt x="10784" y="13606"/>
                    <a:pt x="10836" y="13629"/>
                    <a:pt x="10888" y="13669"/>
                  </a:cubicBezTo>
                  <a:cubicBezTo>
                    <a:pt x="10957" y="13724"/>
                    <a:pt x="11035" y="13767"/>
                    <a:pt x="11028" y="13867"/>
                  </a:cubicBezTo>
                  <a:cubicBezTo>
                    <a:pt x="11023" y="13928"/>
                    <a:pt x="10978" y="14000"/>
                    <a:pt x="10974" y="14065"/>
                  </a:cubicBezTo>
                  <a:cubicBezTo>
                    <a:pt x="10972" y="14102"/>
                    <a:pt x="10985" y="14141"/>
                    <a:pt x="10981" y="14180"/>
                  </a:cubicBezTo>
                  <a:cubicBezTo>
                    <a:pt x="10978" y="14211"/>
                    <a:pt x="10948" y="14235"/>
                    <a:pt x="10947" y="14268"/>
                  </a:cubicBezTo>
                  <a:cubicBezTo>
                    <a:pt x="10942" y="14363"/>
                    <a:pt x="10990" y="14349"/>
                    <a:pt x="11047" y="14371"/>
                  </a:cubicBezTo>
                  <a:cubicBezTo>
                    <a:pt x="11067" y="14378"/>
                    <a:pt x="11075" y="14352"/>
                    <a:pt x="11097" y="14380"/>
                  </a:cubicBezTo>
                  <a:cubicBezTo>
                    <a:pt x="11103" y="14388"/>
                    <a:pt x="11124" y="14427"/>
                    <a:pt x="11137" y="14427"/>
                  </a:cubicBezTo>
                  <a:cubicBezTo>
                    <a:pt x="11203" y="14429"/>
                    <a:pt x="11132" y="14391"/>
                    <a:pt x="11166" y="14369"/>
                  </a:cubicBezTo>
                  <a:cubicBezTo>
                    <a:pt x="11200" y="14349"/>
                    <a:pt x="11296" y="14340"/>
                    <a:pt x="11331" y="14351"/>
                  </a:cubicBezTo>
                  <a:cubicBezTo>
                    <a:pt x="11412" y="14376"/>
                    <a:pt x="11422" y="14444"/>
                    <a:pt x="11362" y="14485"/>
                  </a:cubicBezTo>
                  <a:cubicBezTo>
                    <a:pt x="11346" y="14496"/>
                    <a:pt x="11308" y="14475"/>
                    <a:pt x="11280" y="14501"/>
                  </a:cubicBezTo>
                  <a:cubicBezTo>
                    <a:pt x="11244" y="14535"/>
                    <a:pt x="11264" y="14531"/>
                    <a:pt x="11256" y="14571"/>
                  </a:cubicBezTo>
                  <a:cubicBezTo>
                    <a:pt x="11253" y="14585"/>
                    <a:pt x="11250" y="14679"/>
                    <a:pt x="11254" y="14686"/>
                  </a:cubicBezTo>
                  <a:cubicBezTo>
                    <a:pt x="11301" y="14768"/>
                    <a:pt x="11302" y="14677"/>
                    <a:pt x="11316" y="14668"/>
                  </a:cubicBezTo>
                  <a:cubicBezTo>
                    <a:pt x="11324" y="14664"/>
                    <a:pt x="11333" y="14585"/>
                    <a:pt x="11361" y="14632"/>
                  </a:cubicBezTo>
                  <a:cubicBezTo>
                    <a:pt x="11395" y="14690"/>
                    <a:pt x="11379" y="14708"/>
                    <a:pt x="11366" y="14756"/>
                  </a:cubicBezTo>
                  <a:cubicBezTo>
                    <a:pt x="11352" y="14808"/>
                    <a:pt x="11289" y="14877"/>
                    <a:pt x="11293" y="14931"/>
                  </a:cubicBezTo>
                  <a:cubicBezTo>
                    <a:pt x="11297" y="14995"/>
                    <a:pt x="11392" y="15066"/>
                    <a:pt x="11436" y="15041"/>
                  </a:cubicBezTo>
                  <a:cubicBezTo>
                    <a:pt x="11428" y="15046"/>
                    <a:pt x="11461" y="14980"/>
                    <a:pt x="11466" y="14975"/>
                  </a:cubicBezTo>
                  <a:cubicBezTo>
                    <a:pt x="11482" y="14959"/>
                    <a:pt x="11511" y="14951"/>
                    <a:pt x="11534" y="14942"/>
                  </a:cubicBezTo>
                  <a:cubicBezTo>
                    <a:pt x="11561" y="14933"/>
                    <a:pt x="11585" y="14951"/>
                    <a:pt x="11619" y="14933"/>
                  </a:cubicBezTo>
                  <a:cubicBezTo>
                    <a:pt x="11642" y="14920"/>
                    <a:pt x="11646" y="14880"/>
                    <a:pt x="11669" y="14867"/>
                  </a:cubicBezTo>
                  <a:cubicBezTo>
                    <a:pt x="11733" y="14831"/>
                    <a:pt x="11804" y="14874"/>
                    <a:pt x="11811" y="14955"/>
                  </a:cubicBezTo>
                  <a:cubicBezTo>
                    <a:pt x="11818" y="15039"/>
                    <a:pt x="11786" y="15118"/>
                    <a:pt x="11874" y="15153"/>
                  </a:cubicBezTo>
                  <a:cubicBezTo>
                    <a:pt x="11944" y="15181"/>
                    <a:pt x="11981" y="15115"/>
                    <a:pt x="12050" y="15116"/>
                  </a:cubicBezTo>
                  <a:cubicBezTo>
                    <a:pt x="12076" y="15116"/>
                    <a:pt x="12125" y="15141"/>
                    <a:pt x="12158" y="15145"/>
                  </a:cubicBezTo>
                  <a:cubicBezTo>
                    <a:pt x="12176" y="15147"/>
                    <a:pt x="12224" y="15152"/>
                    <a:pt x="12242" y="15149"/>
                  </a:cubicBezTo>
                  <a:cubicBezTo>
                    <a:pt x="12267" y="15147"/>
                    <a:pt x="12305" y="15121"/>
                    <a:pt x="12329" y="15120"/>
                  </a:cubicBezTo>
                  <a:cubicBezTo>
                    <a:pt x="12358" y="15118"/>
                    <a:pt x="12375" y="15143"/>
                    <a:pt x="12398" y="15143"/>
                  </a:cubicBezTo>
                  <a:cubicBezTo>
                    <a:pt x="12452" y="15145"/>
                    <a:pt x="12528" y="15126"/>
                    <a:pt x="12591" y="15125"/>
                  </a:cubicBezTo>
                  <a:cubicBezTo>
                    <a:pt x="12855" y="15123"/>
                    <a:pt x="13087" y="15105"/>
                    <a:pt x="13309" y="14933"/>
                  </a:cubicBezTo>
                  <a:cubicBezTo>
                    <a:pt x="13204" y="15047"/>
                    <a:pt x="13376" y="14986"/>
                    <a:pt x="13432" y="14956"/>
                  </a:cubicBezTo>
                  <a:cubicBezTo>
                    <a:pt x="13496" y="14920"/>
                    <a:pt x="13535" y="14887"/>
                    <a:pt x="13617" y="14882"/>
                  </a:cubicBezTo>
                  <a:cubicBezTo>
                    <a:pt x="13609" y="14887"/>
                    <a:pt x="13591" y="14906"/>
                    <a:pt x="13577" y="14913"/>
                  </a:cubicBezTo>
                  <a:cubicBezTo>
                    <a:pt x="13614" y="14942"/>
                    <a:pt x="13732" y="14937"/>
                    <a:pt x="13778" y="14932"/>
                  </a:cubicBezTo>
                  <a:cubicBezTo>
                    <a:pt x="13843" y="14926"/>
                    <a:pt x="13890" y="14911"/>
                    <a:pt x="13963" y="14904"/>
                  </a:cubicBezTo>
                  <a:cubicBezTo>
                    <a:pt x="14035" y="14896"/>
                    <a:pt x="14094" y="14857"/>
                    <a:pt x="14164" y="14844"/>
                  </a:cubicBezTo>
                  <a:cubicBezTo>
                    <a:pt x="14303" y="14817"/>
                    <a:pt x="14134" y="14894"/>
                    <a:pt x="14237" y="14959"/>
                  </a:cubicBezTo>
                  <a:cubicBezTo>
                    <a:pt x="14225" y="14883"/>
                    <a:pt x="14269" y="14898"/>
                    <a:pt x="14290" y="14854"/>
                  </a:cubicBezTo>
                  <a:cubicBezTo>
                    <a:pt x="14304" y="14825"/>
                    <a:pt x="14282" y="14746"/>
                    <a:pt x="14342" y="14775"/>
                  </a:cubicBezTo>
                  <a:cubicBezTo>
                    <a:pt x="14453" y="14829"/>
                    <a:pt x="14349" y="14876"/>
                    <a:pt x="14293" y="14945"/>
                  </a:cubicBezTo>
                  <a:cubicBezTo>
                    <a:pt x="14349" y="14917"/>
                    <a:pt x="14397" y="14859"/>
                    <a:pt x="14459" y="14858"/>
                  </a:cubicBezTo>
                  <a:cubicBezTo>
                    <a:pt x="14428" y="14894"/>
                    <a:pt x="14385" y="14902"/>
                    <a:pt x="14352" y="14930"/>
                  </a:cubicBezTo>
                  <a:cubicBezTo>
                    <a:pt x="14364" y="14927"/>
                    <a:pt x="14398" y="14930"/>
                    <a:pt x="14414" y="14926"/>
                  </a:cubicBezTo>
                  <a:cubicBezTo>
                    <a:pt x="14403" y="14969"/>
                    <a:pt x="14371" y="15003"/>
                    <a:pt x="14350" y="15039"/>
                  </a:cubicBezTo>
                  <a:cubicBezTo>
                    <a:pt x="14400" y="15000"/>
                    <a:pt x="14490" y="14826"/>
                    <a:pt x="14516" y="14938"/>
                  </a:cubicBezTo>
                  <a:cubicBezTo>
                    <a:pt x="14562" y="14856"/>
                    <a:pt x="14690" y="14923"/>
                    <a:pt x="14757" y="14886"/>
                  </a:cubicBezTo>
                  <a:cubicBezTo>
                    <a:pt x="14843" y="14839"/>
                    <a:pt x="14788" y="14761"/>
                    <a:pt x="14749" y="14850"/>
                  </a:cubicBezTo>
                  <a:cubicBezTo>
                    <a:pt x="14761" y="14687"/>
                    <a:pt x="14841" y="14884"/>
                    <a:pt x="14860" y="14911"/>
                  </a:cubicBezTo>
                  <a:cubicBezTo>
                    <a:pt x="14879" y="14862"/>
                    <a:pt x="14937" y="14839"/>
                    <a:pt x="14983" y="14827"/>
                  </a:cubicBezTo>
                  <a:cubicBezTo>
                    <a:pt x="15014" y="14819"/>
                    <a:pt x="15108" y="14796"/>
                    <a:pt x="15124" y="14806"/>
                  </a:cubicBezTo>
                  <a:cubicBezTo>
                    <a:pt x="15156" y="14825"/>
                    <a:pt x="15160" y="14793"/>
                    <a:pt x="15178" y="14785"/>
                  </a:cubicBezTo>
                  <a:cubicBezTo>
                    <a:pt x="15179" y="14793"/>
                    <a:pt x="15236" y="14815"/>
                    <a:pt x="15234" y="14807"/>
                  </a:cubicBezTo>
                  <a:cubicBezTo>
                    <a:pt x="15264" y="14836"/>
                    <a:pt x="15293" y="14895"/>
                    <a:pt x="15346" y="14882"/>
                  </a:cubicBezTo>
                  <a:cubicBezTo>
                    <a:pt x="15310" y="14918"/>
                    <a:pt x="15393" y="14959"/>
                    <a:pt x="15422" y="14995"/>
                  </a:cubicBezTo>
                  <a:cubicBezTo>
                    <a:pt x="15453" y="15035"/>
                    <a:pt x="15478" y="15096"/>
                    <a:pt x="15523" y="15127"/>
                  </a:cubicBezTo>
                  <a:cubicBezTo>
                    <a:pt x="15537" y="15137"/>
                    <a:pt x="15583" y="15147"/>
                    <a:pt x="15592" y="15156"/>
                  </a:cubicBezTo>
                  <a:cubicBezTo>
                    <a:pt x="15610" y="15175"/>
                    <a:pt x="15603" y="15214"/>
                    <a:pt x="15631" y="15227"/>
                  </a:cubicBezTo>
                  <a:cubicBezTo>
                    <a:pt x="15661" y="15240"/>
                    <a:pt x="15730" y="15193"/>
                    <a:pt x="15689" y="15143"/>
                  </a:cubicBezTo>
                  <a:cubicBezTo>
                    <a:pt x="15770" y="15170"/>
                    <a:pt x="15749" y="15245"/>
                    <a:pt x="15772" y="15316"/>
                  </a:cubicBezTo>
                  <a:cubicBezTo>
                    <a:pt x="15795" y="15385"/>
                    <a:pt x="15848" y="15406"/>
                    <a:pt x="15867" y="15474"/>
                  </a:cubicBezTo>
                  <a:cubicBezTo>
                    <a:pt x="15867" y="15474"/>
                    <a:pt x="15871" y="15395"/>
                    <a:pt x="15865" y="15394"/>
                  </a:cubicBezTo>
                  <a:cubicBezTo>
                    <a:pt x="15907" y="15401"/>
                    <a:pt x="15875" y="15423"/>
                    <a:pt x="15898" y="15438"/>
                  </a:cubicBezTo>
                  <a:cubicBezTo>
                    <a:pt x="15944" y="15468"/>
                    <a:pt x="15927" y="15475"/>
                    <a:pt x="15985" y="15480"/>
                  </a:cubicBezTo>
                  <a:cubicBezTo>
                    <a:pt x="15998" y="15481"/>
                    <a:pt x="16018" y="15501"/>
                    <a:pt x="16041" y="15483"/>
                  </a:cubicBezTo>
                  <a:cubicBezTo>
                    <a:pt x="16082" y="15448"/>
                    <a:pt x="16021" y="15469"/>
                    <a:pt x="16031" y="15446"/>
                  </a:cubicBezTo>
                  <a:cubicBezTo>
                    <a:pt x="16052" y="15394"/>
                    <a:pt x="16053" y="15338"/>
                    <a:pt x="16123" y="15360"/>
                  </a:cubicBezTo>
                  <a:cubicBezTo>
                    <a:pt x="16145" y="15367"/>
                    <a:pt x="16197" y="15442"/>
                    <a:pt x="16197" y="15467"/>
                  </a:cubicBezTo>
                  <a:cubicBezTo>
                    <a:pt x="16195" y="15521"/>
                    <a:pt x="16184" y="15575"/>
                    <a:pt x="16178" y="15628"/>
                  </a:cubicBezTo>
                  <a:cubicBezTo>
                    <a:pt x="16170" y="15695"/>
                    <a:pt x="16189" y="15660"/>
                    <a:pt x="16198" y="15664"/>
                  </a:cubicBezTo>
                  <a:cubicBezTo>
                    <a:pt x="16208" y="15669"/>
                    <a:pt x="16260" y="15625"/>
                    <a:pt x="16290" y="15687"/>
                  </a:cubicBezTo>
                  <a:cubicBezTo>
                    <a:pt x="16307" y="15722"/>
                    <a:pt x="16293" y="15769"/>
                    <a:pt x="16229" y="15774"/>
                  </a:cubicBezTo>
                  <a:cubicBezTo>
                    <a:pt x="16270" y="15829"/>
                    <a:pt x="16294" y="15814"/>
                    <a:pt x="16345" y="15843"/>
                  </a:cubicBezTo>
                  <a:cubicBezTo>
                    <a:pt x="16361" y="15851"/>
                    <a:pt x="16350" y="15883"/>
                    <a:pt x="16363" y="15890"/>
                  </a:cubicBezTo>
                  <a:cubicBezTo>
                    <a:pt x="16381" y="15899"/>
                    <a:pt x="16420" y="15884"/>
                    <a:pt x="16432" y="15895"/>
                  </a:cubicBezTo>
                  <a:cubicBezTo>
                    <a:pt x="16453" y="15916"/>
                    <a:pt x="16444" y="15960"/>
                    <a:pt x="16475" y="15978"/>
                  </a:cubicBezTo>
                  <a:cubicBezTo>
                    <a:pt x="16501" y="15993"/>
                    <a:pt x="16508" y="15948"/>
                    <a:pt x="16544" y="15962"/>
                  </a:cubicBezTo>
                  <a:cubicBezTo>
                    <a:pt x="16586" y="15979"/>
                    <a:pt x="16636" y="16056"/>
                    <a:pt x="16670" y="16092"/>
                  </a:cubicBezTo>
                  <a:cubicBezTo>
                    <a:pt x="16685" y="16108"/>
                    <a:pt x="16694" y="16183"/>
                    <a:pt x="16723" y="16125"/>
                  </a:cubicBezTo>
                  <a:cubicBezTo>
                    <a:pt x="16744" y="16083"/>
                    <a:pt x="16689" y="16053"/>
                    <a:pt x="16707" y="16035"/>
                  </a:cubicBezTo>
                  <a:cubicBezTo>
                    <a:pt x="16771" y="15967"/>
                    <a:pt x="16746" y="16127"/>
                    <a:pt x="16750" y="16136"/>
                  </a:cubicBezTo>
                  <a:cubicBezTo>
                    <a:pt x="16750" y="16137"/>
                    <a:pt x="16799" y="16215"/>
                    <a:pt x="16806" y="16176"/>
                  </a:cubicBezTo>
                  <a:cubicBezTo>
                    <a:pt x="16797" y="16229"/>
                    <a:pt x="16707" y="16221"/>
                    <a:pt x="16667" y="16221"/>
                  </a:cubicBezTo>
                  <a:cubicBezTo>
                    <a:pt x="16652" y="16220"/>
                    <a:pt x="16627" y="16243"/>
                    <a:pt x="16615" y="16240"/>
                  </a:cubicBezTo>
                  <a:cubicBezTo>
                    <a:pt x="16609" y="16238"/>
                    <a:pt x="16582" y="16212"/>
                    <a:pt x="16592" y="16213"/>
                  </a:cubicBezTo>
                  <a:cubicBezTo>
                    <a:pt x="16617" y="16217"/>
                    <a:pt x="16528" y="16184"/>
                    <a:pt x="16523" y="16194"/>
                  </a:cubicBezTo>
                  <a:cubicBezTo>
                    <a:pt x="16510" y="16162"/>
                    <a:pt x="16494" y="16058"/>
                    <a:pt x="16428" y="16156"/>
                  </a:cubicBezTo>
                  <a:cubicBezTo>
                    <a:pt x="16374" y="16237"/>
                    <a:pt x="16319" y="16297"/>
                    <a:pt x="16408" y="16354"/>
                  </a:cubicBezTo>
                  <a:cubicBezTo>
                    <a:pt x="16490" y="16405"/>
                    <a:pt x="16491" y="16356"/>
                    <a:pt x="16528" y="16458"/>
                  </a:cubicBezTo>
                  <a:cubicBezTo>
                    <a:pt x="16544" y="16501"/>
                    <a:pt x="16573" y="16569"/>
                    <a:pt x="16574" y="16616"/>
                  </a:cubicBezTo>
                  <a:cubicBezTo>
                    <a:pt x="16580" y="16825"/>
                    <a:pt x="16397" y="16749"/>
                    <a:pt x="16279" y="16757"/>
                  </a:cubicBezTo>
                  <a:cubicBezTo>
                    <a:pt x="16177" y="16764"/>
                    <a:pt x="15985" y="16751"/>
                    <a:pt x="15921" y="16670"/>
                  </a:cubicBezTo>
                  <a:cubicBezTo>
                    <a:pt x="15871" y="16606"/>
                    <a:pt x="15874" y="16546"/>
                    <a:pt x="15779" y="16602"/>
                  </a:cubicBezTo>
                  <a:cubicBezTo>
                    <a:pt x="15690" y="16654"/>
                    <a:pt x="15678" y="16771"/>
                    <a:pt x="15616" y="16847"/>
                  </a:cubicBezTo>
                  <a:cubicBezTo>
                    <a:pt x="15610" y="16770"/>
                    <a:pt x="15647" y="16590"/>
                    <a:pt x="15575" y="16551"/>
                  </a:cubicBezTo>
                  <a:cubicBezTo>
                    <a:pt x="15480" y="16499"/>
                    <a:pt x="15422" y="16651"/>
                    <a:pt x="15368" y="16685"/>
                  </a:cubicBezTo>
                  <a:cubicBezTo>
                    <a:pt x="15352" y="16617"/>
                    <a:pt x="15426" y="16588"/>
                    <a:pt x="15442" y="16527"/>
                  </a:cubicBezTo>
                  <a:cubicBezTo>
                    <a:pt x="15457" y="16468"/>
                    <a:pt x="15426" y="16456"/>
                    <a:pt x="15427" y="16408"/>
                  </a:cubicBezTo>
                  <a:cubicBezTo>
                    <a:pt x="15428" y="16354"/>
                    <a:pt x="15458" y="16261"/>
                    <a:pt x="15382" y="16341"/>
                  </a:cubicBezTo>
                  <a:cubicBezTo>
                    <a:pt x="15368" y="16356"/>
                    <a:pt x="15364" y="16412"/>
                    <a:pt x="15347" y="16427"/>
                  </a:cubicBezTo>
                  <a:cubicBezTo>
                    <a:pt x="15343" y="16431"/>
                    <a:pt x="15302" y="16439"/>
                    <a:pt x="15288" y="16455"/>
                  </a:cubicBezTo>
                  <a:cubicBezTo>
                    <a:pt x="15320" y="16400"/>
                    <a:pt x="15298" y="16396"/>
                    <a:pt x="15277" y="16374"/>
                  </a:cubicBezTo>
                  <a:cubicBezTo>
                    <a:pt x="15302" y="16401"/>
                    <a:pt x="15153" y="16330"/>
                    <a:pt x="15211" y="16337"/>
                  </a:cubicBezTo>
                  <a:cubicBezTo>
                    <a:pt x="15138" y="16328"/>
                    <a:pt x="15157" y="16366"/>
                    <a:pt x="15110" y="16271"/>
                  </a:cubicBezTo>
                  <a:cubicBezTo>
                    <a:pt x="15091" y="16232"/>
                    <a:pt x="15082" y="16214"/>
                    <a:pt x="15060" y="16182"/>
                  </a:cubicBezTo>
                  <a:cubicBezTo>
                    <a:pt x="15041" y="16157"/>
                    <a:pt x="15009" y="16159"/>
                    <a:pt x="15000" y="16117"/>
                  </a:cubicBezTo>
                  <a:cubicBezTo>
                    <a:pt x="14983" y="16037"/>
                    <a:pt x="15079" y="15983"/>
                    <a:pt x="14954" y="16010"/>
                  </a:cubicBezTo>
                  <a:cubicBezTo>
                    <a:pt x="14895" y="16022"/>
                    <a:pt x="14836" y="16053"/>
                    <a:pt x="14775" y="16067"/>
                  </a:cubicBezTo>
                  <a:cubicBezTo>
                    <a:pt x="14727" y="16078"/>
                    <a:pt x="14628" y="16065"/>
                    <a:pt x="14617" y="16089"/>
                  </a:cubicBezTo>
                  <a:cubicBezTo>
                    <a:pt x="14552" y="16221"/>
                    <a:pt x="14729" y="16165"/>
                    <a:pt x="14749" y="16177"/>
                  </a:cubicBezTo>
                  <a:cubicBezTo>
                    <a:pt x="14761" y="16184"/>
                    <a:pt x="14796" y="16255"/>
                    <a:pt x="14814" y="16273"/>
                  </a:cubicBezTo>
                  <a:cubicBezTo>
                    <a:pt x="14828" y="16288"/>
                    <a:pt x="14856" y="16303"/>
                    <a:pt x="14873" y="16317"/>
                  </a:cubicBezTo>
                  <a:cubicBezTo>
                    <a:pt x="14916" y="16352"/>
                    <a:pt x="14949" y="16385"/>
                    <a:pt x="14977" y="16437"/>
                  </a:cubicBezTo>
                  <a:cubicBezTo>
                    <a:pt x="15050" y="16328"/>
                    <a:pt x="15092" y="16557"/>
                    <a:pt x="15135" y="16607"/>
                  </a:cubicBezTo>
                  <a:cubicBezTo>
                    <a:pt x="15193" y="16674"/>
                    <a:pt x="15267" y="16783"/>
                    <a:pt x="15282" y="16900"/>
                  </a:cubicBezTo>
                  <a:cubicBezTo>
                    <a:pt x="15300" y="17039"/>
                    <a:pt x="15206" y="17233"/>
                    <a:pt x="15150" y="17342"/>
                  </a:cubicBezTo>
                  <a:cubicBezTo>
                    <a:pt x="15081" y="17473"/>
                    <a:pt x="15133" y="17585"/>
                    <a:pt x="15093" y="17726"/>
                  </a:cubicBezTo>
                  <a:cubicBezTo>
                    <a:pt x="15059" y="17850"/>
                    <a:pt x="15034" y="17903"/>
                    <a:pt x="15082" y="18023"/>
                  </a:cubicBezTo>
                  <a:cubicBezTo>
                    <a:pt x="15107" y="18086"/>
                    <a:pt x="15134" y="18140"/>
                    <a:pt x="15150" y="18207"/>
                  </a:cubicBezTo>
                  <a:cubicBezTo>
                    <a:pt x="15186" y="18355"/>
                    <a:pt x="15210" y="18502"/>
                    <a:pt x="15267" y="18644"/>
                  </a:cubicBezTo>
                  <a:cubicBezTo>
                    <a:pt x="15315" y="18763"/>
                    <a:pt x="15391" y="18936"/>
                    <a:pt x="15324" y="19063"/>
                  </a:cubicBezTo>
                  <a:cubicBezTo>
                    <a:pt x="15249" y="19205"/>
                    <a:pt x="15163" y="19340"/>
                    <a:pt x="15094" y="19481"/>
                  </a:cubicBezTo>
                  <a:cubicBezTo>
                    <a:pt x="15029" y="19616"/>
                    <a:pt x="14899" y="19690"/>
                    <a:pt x="14788" y="19773"/>
                  </a:cubicBezTo>
                  <a:cubicBezTo>
                    <a:pt x="14815" y="19877"/>
                    <a:pt x="14783" y="19978"/>
                    <a:pt x="14797" y="20081"/>
                  </a:cubicBezTo>
                  <a:cubicBezTo>
                    <a:pt x="14804" y="20128"/>
                    <a:pt x="14827" y="20168"/>
                    <a:pt x="14832" y="20218"/>
                  </a:cubicBezTo>
                  <a:cubicBezTo>
                    <a:pt x="14844" y="20320"/>
                    <a:pt x="14856" y="20534"/>
                    <a:pt x="14732" y="20552"/>
                  </a:cubicBezTo>
                  <a:cubicBezTo>
                    <a:pt x="14814" y="20634"/>
                    <a:pt x="14934" y="20551"/>
                    <a:pt x="15002" y="20620"/>
                  </a:cubicBezTo>
                  <a:cubicBezTo>
                    <a:pt x="15055" y="20675"/>
                    <a:pt x="15070" y="20852"/>
                    <a:pt x="14977" y="20879"/>
                  </a:cubicBezTo>
                  <a:cubicBezTo>
                    <a:pt x="14890" y="20904"/>
                    <a:pt x="14806" y="20951"/>
                    <a:pt x="14716" y="20967"/>
                  </a:cubicBezTo>
                  <a:cubicBezTo>
                    <a:pt x="14648" y="20980"/>
                    <a:pt x="14557" y="20958"/>
                    <a:pt x="14497" y="20985"/>
                  </a:cubicBezTo>
                  <a:cubicBezTo>
                    <a:pt x="14353" y="21050"/>
                    <a:pt x="14357" y="21290"/>
                    <a:pt x="14420" y="21425"/>
                  </a:cubicBezTo>
                  <a:cubicBezTo>
                    <a:pt x="14448" y="21484"/>
                    <a:pt x="14632" y="21537"/>
                    <a:pt x="14709" y="21514"/>
                  </a:cubicBezTo>
                  <a:cubicBezTo>
                    <a:pt x="14816" y="21483"/>
                    <a:pt x="14928" y="21331"/>
                    <a:pt x="15034" y="21384"/>
                  </a:cubicBezTo>
                  <a:cubicBezTo>
                    <a:pt x="15072" y="21403"/>
                    <a:pt x="15105" y="21457"/>
                    <a:pt x="15128" y="21492"/>
                  </a:cubicBezTo>
                  <a:cubicBezTo>
                    <a:pt x="15120" y="21276"/>
                    <a:pt x="15123" y="21179"/>
                    <a:pt x="15279" y="21022"/>
                  </a:cubicBezTo>
                  <a:cubicBezTo>
                    <a:pt x="15320" y="20980"/>
                    <a:pt x="15357" y="20926"/>
                    <a:pt x="15398" y="20887"/>
                  </a:cubicBezTo>
                  <a:cubicBezTo>
                    <a:pt x="15451" y="20838"/>
                    <a:pt x="15551" y="20823"/>
                    <a:pt x="15595" y="20769"/>
                  </a:cubicBezTo>
                  <a:cubicBezTo>
                    <a:pt x="15600" y="20763"/>
                    <a:pt x="15609" y="20654"/>
                    <a:pt x="15642" y="20664"/>
                  </a:cubicBezTo>
                  <a:cubicBezTo>
                    <a:pt x="15662" y="20671"/>
                    <a:pt x="15639" y="20761"/>
                    <a:pt x="15641" y="20775"/>
                  </a:cubicBezTo>
                  <a:cubicBezTo>
                    <a:pt x="15703" y="20708"/>
                    <a:pt x="15662" y="20559"/>
                    <a:pt x="15713" y="20467"/>
                  </a:cubicBezTo>
                  <a:cubicBezTo>
                    <a:pt x="15778" y="20352"/>
                    <a:pt x="15832" y="20227"/>
                    <a:pt x="15914" y="20126"/>
                  </a:cubicBezTo>
                  <a:cubicBezTo>
                    <a:pt x="16054" y="19954"/>
                    <a:pt x="16309" y="19828"/>
                    <a:pt x="16522" y="19806"/>
                  </a:cubicBezTo>
                  <a:cubicBezTo>
                    <a:pt x="16675" y="19790"/>
                    <a:pt x="16824" y="19841"/>
                    <a:pt x="16974" y="19791"/>
                  </a:cubicBezTo>
                  <a:cubicBezTo>
                    <a:pt x="17083" y="19755"/>
                    <a:pt x="17331" y="19766"/>
                    <a:pt x="17403" y="19671"/>
                  </a:cubicBezTo>
                  <a:cubicBezTo>
                    <a:pt x="17348" y="19677"/>
                    <a:pt x="16977" y="19753"/>
                    <a:pt x="16976" y="19719"/>
                  </a:cubicBezTo>
                  <a:cubicBezTo>
                    <a:pt x="16974" y="19678"/>
                    <a:pt x="16992" y="19604"/>
                    <a:pt x="17035" y="19602"/>
                  </a:cubicBezTo>
                  <a:cubicBezTo>
                    <a:pt x="17063" y="19600"/>
                    <a:pt x="17073" y="19517"/>
                    <a:pt x="17083" y="19490"/>
                  </a:cubicBezTo>
                  <a:cubicBezTo>
                    <a:pt x="17133" y="19354"/>
                    <a:pt x="17231" y="19327"/>
                    <a:pt x="17349" y="19264"/>
                  </a:cubicBezTo>
                  <a:cubicBezTo>
                    <a:pt x="17472" y="19178"/>
                    <a:pt x="17576" y="19102"/>
                    <a:pt x="17713" y="19055"/>
                  </a:cubicBezTo>
                  <a:cubicBezTo>
                    <a:pt x="17838" y="19012"/>
                    <a:pt x="17938" y="18931"/>
                    <a:pt x="18066" y="18887"/>
                  </a:cubicBezTo>
                  <a:cubicBezTo>
                    <a:pt x="18128" y="18866"/>
                    <a:pt x="18223" y="18879"/>
                    <a:pt x="18261" y="18863"/>
                  </a:cubicBezTo>
                  <a:cubicBezTo>
                    <a:pt x="18296" y="18848"/>
                    <a:pt x="18394" y="18746"/>
                    <a:pt x="18404" y="18704"/>
                  </a:cubicBezTo>
                  <a:cubicBezTo>
                    <a:pt x="18328" y="18661"/>
                    <a:pt x="18166" y="18597"/>
                    <a:pt x="18166" y="18478"/>
                  </a:cubicBezTo>
                  <a:lnTo>
                    <a:pt x="18090" y="18217"/>
                  </a:lnTo>
                  <a:cubicBezTo>
                    <a:pt x="17989" y="18268"/>
                    <a:pt x="17935" y="18388"/>
                    <a:pt x="17840" y="18436"/>
                  </a:cubicBezTo>
                  <a:cubicBezTo>
                    <a:pt x="17805" y="18453"/>
                    <a:pt x="17751" y="18460"/>
                    <a:pt x="17710" y="18473"/>
                  </a:cubicBezTo>
                  <a:cubicBezTo>
                    <a:pt x="17629" y="18499"/>
                    <a:pt x="17523" y="18520"/>
                    <a:pt x="17439" y="18492"/>
                  </a:cubicBezTo>
                  <a:cubicBezTo>
                    <a:pt x="17319" y="18452"/>
                    <a:pt x="17357" y="18371"/>
                    <a:pt x="17389" y="18272"/>
                  </a:cubicBezTo>
                  <a:cubicBezTo>
                    <a:pt x="17416" y="18186"/>
                    <a:pt x="17416" y="18108"/>
                    <a:pt x="17423" y="18026"/>
                  </a:cubicBezTo>
                  <a:cubicBezTo>
                    <a:pt x="17440" y="17835"/>
                    <a:pt x="17597" y="17797"/>
                    <a:pt x="17680" y="17651"/>
                  </a:cubicBezTo>
                  <a:cubicBezTo>
                    <a:pt x="17713" y="17592"/>
                    <a:pt x="17746" y="17532"/>
                    <a:pt x="17779" y="17474"/>
                  </a:cubicBezTo>
                  <a:cubicBezTo>
                    <a:pt x="17816" y="17409"/>
                    <a:pt x="17814" y="17389"/>
                    <a:pt x="17886" y="17340"/>
                  </a:cubicBezTo>
                  <a:cubicBezTo>
                    <a:pt x="17958" y="17290"/>
                    <a:pt x="18034" y="17247"/>
                    <a:pt x="18107" y="17198"/>
                  </a:cubicBezTo>
                  <a:cubicBezTo>
                    <a:pt x="18205" y="17132"/>
                    <a:pt x="18315" y="17092"/>
                    <a:pt x="18408" y="17024"/>
                  </a:cubicBezTo>
                  <a:cubicBezTo>
                    <a:pt x="18519" y="16943"/>
                    <a:pt x="18628" y="16859"/>
                    <a:pt x="18745" y="16789"/>
                  </a:cubicBezTo>
                  <a:cubicBezTo>
                    <a:pt x="18866" y="16716"/>
                    <a:pt x="18991" y="16641"/>
                    <a:pt x="19117" y="16595"/>
                  </a:cubicBezTo>
                  <a:cubicBezTo>
                    <a:pt x="18991" y="16590"/>
                    <a:pt x="19119" y="16540"/>
                    <a:pt x="19158" y="16517"/>
                  </a:cubicBezTo>
                  <a:cubicBezTo>
                    <a:pt x="19173" y="16508"/>
                    <a:pt x="19233" y="16502"/>
                    <a:pt x="19250" y="16512"/>
                  </a:cubicBezTo>
                  <a:cubicBezTo>
                    <a:pt x="19275" y="16526"/>
                    <a:pt x="19224" y="16548"/>
                    <a:pt x="19250" y="16570"/>
                  </a:cubicBezTo>
                  <a:cubicBezTo>
                    <a:pt x="19358" y="16660"/>
                    <a:pt x="19453" y="16498"/>
                    <a:pt x="19563" y="16495"/>
                  </a:cubicBezTo>
                  <a:cubicBezTo>
                    <a:pt x="19541" y="16516"/>
                    <a:pt x="19543" y="16523"/>
                    <a:pt x="19506" y="16526"/>
                  </a:cubicBezTo>
                  <a:cubicBezTo>
                    <a:pt x="19544" y="16597"/>
                    <a:pt x="19587" y="16550"/>
                    <a:pt x="19636" y="16533"/>
                  </a:cubicBezTo>
                  <a:cubicBezTo>
                    <a:pt x="19601" y="16604"/>
                    <a:pt x="19644" y="16608"/>
                    <a:pt x="19695" y="16598"/>
                  </a:cubicBezTo>
                  <a:cubicBezTo>
                    <a:pt x="19774" y="16582"/>
                    <a:pt x="19822" y="16476"/>
                    <a:pt x="19886" y="16416"/>
                  </a:cubicBezTo>
                  <a:cubicBezTo>
                    <a:pt x="19909" y="16396"/>
                    <a:pt x="19993" y="16351"/>
                    <a:pt x="19932" y="16343"/>
                  </a:cubicBezTo>
                  <a:cubicBezTo>
                    <a:pt x="19909" y="16339"/>
                    <a:pt x="19852" y="16394"/>
                    <a:pt x="19819" y="16395"/>
                  </a:cubicBezTo>
                  <a:cubicBezTo>
                    <a:pt x="19773" y="16397"/>
                    <a:pt x="19763" y="16412"/>
                    <a:pt x="19782" y="16332"/>
                  </a:cubicBezTo>
                  <a:cubicBezTo>
                    <a:pt x="19797" y="16271"/>
                    <a:pt x="19847" y="16223"/>
                    <a:pt x="19862" y="16158"/>
                  </a:cubicBezTo>
                  <a:cubicBezTo>
                    <a:pt x="19894" y="16022"/>
                    <a:pt x="19839" y="16164"/>
                    <a:pt x="19785" y="16217"/>
                  </a:cubicBezTo>
                  <a:cubicBezTo>
                    <a:pt x="19739" y="16262"/>
                    <a:pt x="19692" y="16260"/>
                    <a:pt x="19647" y="16299"/>
                  </a:cubicBezTo>
                  <a:cubicBezTo>
                    <a:pt x="19651" y="16228"/>
                    <a:pt x="19672" y="16097"/>
                    <a:pt x="19609" y="16110"/>
                  </a:cubicBezTo>
                  <a:cubicBezTo>
                    <a:pt x="19562" y="16120"/>
                    <a:pt x="19433" y="16238"/>
                    <a:pt x="19472" y="16275"/>
                  </a:cubicBezTo>
                  <a:cubicBezTo>
                    <a:pt x="19433" y="16332"/>
                    <a:pt x="19399" y="16277"/>
                    <a:pt x="19410" y="16230"/>
                  </a:cubicBezTo>
                  <a:cubicBezTo>
                    <a:pt x="19390" y="16233"/>
                    <a:pt x="19361" y="16245"/>
                    <a:pt x="19342" y="16260"/>
                  </a:cubicBezTo>
                  <a:cubicBezTo>
                    <a:pt x="19459" y="16181"/>
                    <a:pt x="19573" y="16104"/>
                    <a:pt x="19688" y="16022"/>
                  </a:cubicBezTo>
                  <a:cubicBezTo>
                    <a:pt x="19657" y="16056"/>
                    <a:pt x="19656" y="16104"/>
                    <a:pt x="19676" y="16146"/>
                  </a:cubicBezTo>
                  <a:cubicBezTo>
                    <a:pt x="19710" y="16118"/>
                    <a:pt x="19733" y="16020"/>
                    <a:pt x="19772" y="16010"/>
                  </a:cubicBezTo>
                  <a:cubicBezTo>
                    <a:pt x="19860" y="15987"/>
                    <a:pt x="19761" y="16088"/>
                    <a:pt x="19748" y="16102"/>
                  </a:cubicBezTo>
                  <a:cubicBezTo>
                    <a:pt x="19730" y="16120"/>
                    <a:pt x="19686" y="16173"/>
                    <a:pt x="19684" y="16203"/>
                  </a:cubicBezTo>
                  <a:cubicBezTo>
                    <a:pt x="19683" y="16219"/>
                    <a:pt x="19708" y="16221"/>
                    <a:pt x="19716" y="16247"/>
                  </a:cubicBezTo>
                  <a:cubicBezTo>
                    <a:pt x="19801" y="16213"/>
                    <a:pt x="19877" y="16026"/>
                    <a:pt x="19936" y="15945"/>
                  </a:cubicBezTo>
                  <a:cubicBezTo>
                    <a:pt x="19995" y="15865"/>
                    <a:pt x="20077" y="15845"/>
                    <a:pt x="20150" y="15795"/>
                  </a:cubicBezTo>
                  <a:cubicBezTo>
                    <a:pt x="20274" y="15709"/>
                    <a:pt x="20368" y="15561"/>
                    <a:pt x="20477" y="15455"/>
                  </a:cubicBezTo>
                  <a:cubicBezTo>
                    <a:pt x="20586" y="15349"/>
                    <a:pt x="20631" y="15245"/>
                    <a:pt x="20692" y="15096"/>
                  </a:cubicBezTo>
                  <a:lnTo>
                    <a:pt x="20713" y="15099"/>
                  </a:lnTo>
                  <a:cubicBezTo>
                    <a:pt x="20835" y="14795"/>
                    <a:pt x="20944" y="14497"/>
                    <a:pt x="21111" y="14225"/>
                  </a:cubicBezTo>
                  <a:cubicBezTo>
                    <a:pt x="21172" y="14124"/>
                    <a:pt x="21224" y="14035"/>
                    <a:pt x="21313" y="13967"/>
                  </a:cubicBezTo>
                  <a:cubicBezTo>
                    <a:pt x="21376" y="13919"/>
                    <a:pt x="21441" y="13924"/>
                    <a:pt x="21506" y="13877"/>
                  </a:cubicBezTo>
                  <a:lnTo>
                    <a:pt x="21529" y="13866"/>
                  </a:lnTo>
                  <a:cubicBezTo>
                    <a:pt x="21531" y="13826"/>
                    <a:pt x="21534" y="13791"/>
                    <a:pt x="21542" y="13763"/>
                  </a:cubicBezTo>
                  <a:cubicBezTo>
                    <a:pt x="21600" y="13560"/>
                    <a:pt x="21542" y="13307"/>
                    <a:pt x="21496" y="13129"/>
                  </a:cubicBezTo>
                  <a:close/>
                  <a:moveTo>
                    <a:pt x="21496" y="13129"/>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40" name="AutoShape 13"/>
            <p:cNvSpPr>
              <a:spLocks/>
            </p:cNvSpPr>
            <p:nvPr/>
          </p:nvSpPr>
          <p:spPr bwMode="auto">
            <a:xfrm>
              <a:off x="2723127" y="795073"/>
              <a:ext cx="1333500" cy="895350"/>
            </a:xfrm>
            <a:custGeom>
              <a:avLst/>
              <a:gdLst/>
              <a:ahLst/>
              <a:cxnLst/>
              <a:rect l="0" t="0" r="r" b="b"/>
              <a:pathLst>
                <a:path w="21504" h="21573">
                  <a:moveTo>
                    <a:pt x="9440" y="6514"/>
                  </a:moveTo>
                  <a:cubicBezTo>
                    <a:pt x="9533" y="6540"/>
                    <a:pt x="9612" y="6387"/>
                    <a:pt x="9643" y="6269"/>
                  </a:cubicBezTo>
                  <a:cubicBezTo>
                    <a:pt x="9676" y="6138"/>
                    <a:pt x="9658" y="6218"/>
                    <a:pt x="9634" y="6236"/>
                  </a:cubicBezTo>
                  <a:cubicBezTo>
                    <a:pt x="9596" y="6266"/>
                    <a:pt x="9564" y="6202"/>
                    <a:pt x="9574" y="6312"/>
                  </a:cubicBezTo>
                  <a:cubicBezTo>
                    <a:pt x="9529" y="6244"/>
                    <a:pt x="9497" y="6163"/>
                    <a:pt x="9496" y="6063"/>
                  </a:cubicBezTo>
                  <a:cubicBezTo>
                    <a:pt x="9433" y="6105"/>
                    <a:pt x="9423" y="6264"/>
                    <a:pt x="9382" y="6342"/>
                  </a:cubicBezTo>
                  <a:cubicBezTo>
                    <a:pt x="9360" y="6385"/>
                    <a:pt x="9305" y="6314"/>
                    <a:pt x="9334" y="6401"/>
                  </a:cubicBezTo>
                  <a:cubicBezTo>
                    <a:pt x="9339" y="6416"/>
                    <a:pt x="9435" y="6512"/>
                    <a:pt x="9440" y="6514"/>
                  </a:cubicBezTo>
                  <a:close/>
                  <a:moveTo>
                    <a:pt x="17072" y="13634"/>
                  </a:moveTo>
                  <a:cubicBezTo>
                    <a:pt x="17113" y="13668"/>
                    <a:pt x="17213" y="13573"/>
                    <a:pt x="17148" y="13724"/>
                  </a:cubicBezTo>
                  <a:cubicBezTo>
                    <a:pt x="17246" y="13667"/>
                    <a:pt x="17204" y="13587"/>
                    <a:pt x="17246" y="13486"/>
                  </a:cubicBezTo>
                  <a:cubicBezTo>
                    <a:pt x="17306" y="13339"/>
                    <a:pt x="17313" y="13320"/>
                    <a:pt x="17280" y="13138"/>
                  </a:cubicBezTo>
                  <a:cubicBezTo>
                    <a:pt x="17264" y="13121"/>
                    <a:pt x="17254" y="13134"/>
                    <a:pt x="17246" y="13105"/>
                  </a:cubicBezTo>
                  <a:cubicBezTo>
                    <a:pt x="17237" y="13151"/>
                    <a:pt x="17240" y="13222"/>
                    <a:pt x="17231" y="13273"/>
                  </a:cubicBezTo>
                  <a:cubicBezTo>
                    <a:pt x="17221" y="13264"/>
                    <a:pt x="17217" y="13253"/>
                    <a:pt x="17208" y="13245"/>
                  </a:cubicBezTo>
                  <a:cubicBezTo>
                    <a:pt x="17200" y="13269"/>
                    <a:pt x="17207" y="13744"/>
                    <a:pt x="17097" y="13455"/>
                  </a:cubicBezTo>
                  <a:cubicBezTo>
                    <a:pt x="17075" y="13531"/>
                    <a:pt x="16993" y="13569"/>
                    <a:pt x="17072" y="13634"/>
                  </a:cubicBezTo>
                  <a:close/>
                  <a:moveTo>
                    <a:pt x="5001" y="4723"/>
                  </a:moveTo>
                  <a:cubicBezTo>
                    <a:pt x="4989" y="4775"/>
                    <a:pt x="4976" y="4933"/>
                    <a:pt x="4986" y="4988"/>
                  </a:cubicBezTo>
                  <a:cubicBezTo>
                    <a:pt x="4996" y="5041"/>
                    <a:pt x="5037" y="5096"/>
                    <a:pt x="5054" y="5147"/>
                  </a:cubicBezTo>
                  <a:cubicBezTo>
                    <a:pt x="5082" y="5234"/>
                    <a:pt x="5082" y="5324"/>
                    <a:pt x="5104" y="5415"/>
                  </a:cubicBezTo>
                  <a:cubicBezTo>
                    <a:pt x="5133" y="5366"/>
                    <a:pt x="5134" y="5302"/>
                    <a:pt x="5165" y="5284"/>
                  </a:cubicBezTo>
                  <a:cubicBezTo>
                    <a:pt x="5215" y="5256"/>
                    <a:pt x="5288" y="5366"/>
                    <a:pt x="5337" y="5339"/>
                  </a:cubicBezTo>
                  <a:cubicBezTo>
                    <a:pt x="5386" y="5314"/>
                    <a:pt x="5314" y="5017"/>
                    <a:pt x="5239" y="4991"/>
                  </a:cubicBezTo>
                  <a:cubicBezTo>
                    <a:pt x="5145" y="4959"/>
                    <a:pt x="5173" y="5125"/>
                    <a:pt x="5131" y="5148"/>
                  </a:cubicBezTo>
                  <a:cubicBezTo>
                    <a:pt x="5086" y="5172"/>
                    <a:pt x="5104" y="5003"/>
                    <a:pt x="5114" y="4979"/>
                  </a:cubicBezTo>
                  <a:cubicBezTo>
                    <a:pt x="5115" y="4976"/>
                    <a:pt x="5102" y="4953"/>
                    <a:pt x="5107" y="4939"/>
                  </a:cubicBezTo>
                  <a:cubicBezTo>
                    <a:pt x="5116" y="4914"/>
                    <a:pt x="5146" y="4936"/>
                    <a:pt x="5145" y="4940"/>
                  </a:cubicBezTo>
                  <a:cubicBezTo>
                    <a:pt x="5148" y="4930"/>
                    <a:pt x="5177" y="4914"/>
                    <a:pt x="5184" y="4869"/>
                  </a:cubicBezTo>
                  <a:cubicBezTo>
                    <a:pt x="5201" y="4755"/>
                    <a:pt x="5109" y="4818"/>
                    <a:pt x="5144" y="4695"/>
                  </a:cubicBezTo>
                  <a:cubicBezTo>
                    <a:pt x="5128" y="4608"/>
                    <a:pt x="5018" y="4650"/>
                    <a:pt x="5001" y="4723"/>
                  </a:cubicBezTo>
                  <a:close/>
                  <a:moveTo>
                    <a:pt x="19534" y="14880"/>
                  </a:moveTo>
                  <a:cubicBezTo>
                    <a:pt x="19501" y="15065"/>
                    <a:pt x="19457" y="15096"/>
                    <a:pt x="19351" y="15155"/>
                  </a:cubicBezTo>
                  <a:cubicBezTo>
                    <a:pt x="19334" y="15164"/>
                    <a:pt x="19329" y="15206"/>
                    <a:pt x="19310" y="15216"/>
                  </a:cubicBezTo>
                  <a:cubicBezTo>
                    <a:pt x="19297" y="15223"/>
                    <a:pt x="19258" y="15181"/>
                    <a:pt x="19245" y="15194"/>
                  </a:cubicBezTo>
                  <a:cubicBezTo>
                    <a:pt x="19189" y="15251"/>
                    <a:pt x="19237" y="15249"/>
                    <a:pt x="19288" y="15292"/>
                  </a:cubicBezTo>
                  <a:cubicBezTo>
                    <a:pt x="19405" y="15391"/>
                    <a:pt x="19445" y="15271"/>
                    <a:pt x="19545" y="15175"/>
                  </a:cubicBezTo>
                  <a:cubicBezTo>
                    <a:pt x="19585" y="15136"/>
                    <a:pt x="19649" y="15129"/>
                    <a:pt x="19652" y="15025"/>
                  </a:cubicBezTo>
                  <a:cubicBezTo>
                    <a:pt x="19654" y="14943"/>
                    <a:pt x="19580" y="14765"/>
                    <a:pt x="19534" y="14880"/>
                  </a:cubicBezTo>
                  <a:close/>
                  <a:moveTo>
                    <a:pt x="17461" y="12801"/>
                  </a:moveTo>
                  <a:cubicBezTo>
                    <a:pt x="17415" y="12843"/>
                    <a:pt x="17451" y="12902"/>
                    <a:pt x="17488" y="12945"/>
                  </a:cubicBezTo>
                  <a:cubicBezTo>
                    <a:pt x="17560" y="13030"/>
                    <a:pt x="17532" y="12995"/>
                    <a:pt x="17575" y="12922"/>
                  </a:cubicBezTo>
                  <a:cubicBezTo>
                    <a:pt x="17628" y="12831"/>
                    <a:pt x="17643" y="12673"/>
                    <a:pt x="17702" y="12591"/>
                  </a:cubicBezTo>
                  <a:cubicBezTo>
                    <a:pt x="17657" y="12542"/>
                    <a:pt x="17595" y="12531"/>
                    <a:pt x="17542" y="12509"/>
                  </a:cubicBezTo>
                  <a:cubicBezTo>
                    <a:pt x="17457" y="12499"/>
                    <a:pt x="17484" y="12656"/>
                    <a:pt x="17509" y="12723"/>
                  </a:cubicBezTo>
                  <a:cubicBezTo>
                    <a:pt x="17436" y="12626"/>
                    <a:pt x="17352" y="12765"/>
                    <a:pt x="17461" y="12801"/>
                  </a:cubicBezTo>
                  <a:close/>
                  <a:moveTo>
                    <a:pt x="15344" y="12112"/>
                  </a:moveTo>
                  <a:cubicBezTo>
                    <a:pt x="15408" y="12084"/>
                    <a:pt x="15382" y="11972"/>
                    <a:pt x="15379" y="11854"/>
                  </a:cubicBezTo>
                  <a:cubicBezTo>
                    <a:pt x="15346" y="11789"/>
                    <a:pt x="15258" y="12001"/>
                    <a:pt x="15259" y="12017"/>
                  </a:cubicBezTo>
                  <a:cubicBezTo>
                    <a:pt x="15260" y="12102"/>
                    <a:pt x="15301" y="12130"/>
                    <a:pt x="15344" y="12112"/>
                  </a:cubicBezTo>
                  <a:close/>
                  <a:moveTo>
                    <a:pt x="19597" y="16443"/>
                  </a:moveTo>
                  <a:cubicBezTo>
                    <a:pt x="19600" y="16504"/>
                    <a:pt x="19630" y="16555"/>
                    <a:pt x="19632" y="16616"/>
                  </a:cubicBezTo>
                  <a:cubicBezTo>
                    <a:pt x="19633" y="16641"/>
                    <a:pt x="19601" y="16666"/>
                    <a:pt x="19605" y="16725"/>
                  </a:cubicBezTo>
                  <a:cubicBezTo>
                    <a:pt x="19606" y="16736"/>
                    <a:pt x="19637" y="16781"/>
                    <a:pt x="19648" y="16823"/>
                  </a:cubicBezTo>
                  <a:cubicBezTo>
                    <a:pt x="19659" y="16867"/>
                    <a:pt x="19669" y="16927"/>
                    <a:pt x="19670" y="16974"/>
                  </a:cubicBezTo>
                  <a:cubicBezTo>
                    <a:pt x="19670" y="17040"/>
                    <a:pt x="19618" y="17251"/>
                    <a:pt x="19719" y="17125"/>
                  </a:cubicBezTo>
                  <a:cubicBezTo>
                    <a:pt x="19808" y="17015"/>
                    <a:pt x="19654" y="16623"/>
                    <a:pt x="19619" y="16480"/>
                  </a:cubicBezTo>
                  <a:cubicBezTo>
                    <a:pt x="19611" y="16467"/>
                    <a:pt x="19606" y="16451"/>
                    <a:pt x="19597" y="16443"/>
                  </a:cubicBezTo>
                  <a:close/>
                  <a:moveTo>
                    <a:pt x="21495" y="17089"/>
                  </a:moveTo>
                  <a:cubicBezTo>
                    <a:pt x="21487" y="17006"/>
                    <a:pt x="21497" y="16947"/>
                    <a:pt x="21491" y="16870"/>
                  </a:cubicBezTo>
                  <a:cubicBezTo>
                    <a:pt x="21485" y="16786"/>
                    <a:pt x="21444" y="16715"/>
                    <a:pt x="21418" y="16631"/>
                  </a:cubicBezTo>
                  <a:cubicBezTo>
                    <a:pt x="21363" y="16450"/>
                    <a:pt x="21349" y="16238"/>
                    <a:pt x="21204" y="16270"/>
                  </a:cubicBezTo>
                  <a:cubicBezTo>
                    <a:pt x="21263" y="16198"/>
                    <a:pt x="21133" y="15731"/>
                    <a:pt x="21099" y="15726"/>
                  </a:cubicBezTo>
                  <a:cubicBezTo>
                    <a:pt x="21127" y="15676"/>
                    <a:pt x="21114" y="15656"/>
                    <a:pt x="21108" y="15601"/>
                  </a:cubicBezTo>
                  <a:cubicBezTo>
                    <a:pt x="21094" y="15484"/>
                    <a:pt x="21073" y="15340"/>
                    <a:pt x="21029" y="15246"/>
                  </a:cubicBezTo>
                  <a:cubicBezTo>
                    <a:pt x="21022" y="15229"/>
                    <a:pt x="21045" y="15192"/>
                    <a:pt x="21020" y="15164"/>
                  </a:cubicBezTo>
                  <a:cubicBezTo>
                    <a:pt x="21005" y="15147"/>
                    <a:pt x="20971" y="15178"/>
                    <a:pt x="20960" y="15162"/>
                  </a:cubicBezTo>
                  <a:cubicBezTo>
                    <a:pt x="20929" y="15118"/>
                    <a:pt x="20936" y="15085"/>
                    <a:pt x="20907" y="15032"/>
                  </a:cubicBezTo>
                  <a:cubicBezTo>
                    <a:pt x="20893" y="15006"/>
                    <a:pt x="20849" y="14931"/>
                    <a:pt x="20826" y="14953"/>
                  </a:cubicBezTo>
                  <a:cubicBezTo>
                    <a:pt x="20769" y="15009"/>
                    <a:pt x="20788" y="14914"/>
                    <a:pt x="20750" y="14881"/>
                  </a:cubicBezTo>
                  <a:cubicBezTo>
                    <a:pt x="20703" y="14840"/>
                    <a:pt x="20711" y="14831"/>
                    <a:pt x="20650" y="14824"/>
                  </a:cubicBezTo>
                  <a:cubicBezTo>
                    <a:pt x="20578" y="14816"/>
                    <a:pt x="20600" y="14796"/>
                    <a:pt x="20602" y="14882"/>
                  </a:cubicBezTo>
                  <a:cubicBezTo>
                    <a:pt x="20605" y="14991"/>
                    <a:pt x="20681" y="15083"/>
                    <a:pt x="20708" y="15174"/>
                  </a:cubicBezTo>
                  <a:cubicBezTo>
                    <a:pt x="20745" y="15295"/>
                    <a:pt x="20732" y="15393"/>
                    <a:pt x="20715" y="15510"/>
                  </a:cubicBezTo>
                  <a:cubicBezTo>
                    <a:pt x="20703" y="15593"/>
                    <a:pt x="20713" y="15744"/>
                    <a:pt x="20694" y="15810"/>
                  </a:cubicBezTo>
                  <a:cubicBezTo>
                    <a:pt x="20687" y="15837"/>
                    <a:pt x="20649" y="15924"/>
                    <a:pt x="20617" y="15897"/>
                  </a:cubicBezTo>
                  <a:cubicBezTo>
                    <a:pt x="20609" y="15891"/>
                    <a:pt x="20610" y="15789"/>
                    <a:pt x="20593" y="15761"/>
                  </a:cubicBezTo>
                  <a:cubicBezTo>
                    <a:pt x="20591" y="15780"/>
                    <a:pt x="20578" y="15818"/>
                    <a:pt x="20577" y="15840"/>
                  </a:cubicBezTo>
                  <a:cubicBezTo>
                    <a:pt x="20571" y="15821"/>
                    <a:pt x="20550" y="15734"/>
                    <a:pt x="20536" y="15726"/>
                  </a:cubicBezTo>
                  <a:cubicBezTo>
                    <a:pt x="20532" y="15724"/>
                    <a:pt x="20454" y="15711"/>
                    <a:pt x="20479" y="15736"/>
                  </a:cubicBezTo>
                  <a:cubicBezTo>
                    <a:pt x="20475" y="15733"/>
                    <a:pt x="20463" y="15782"/>
                    <a:pt x="20448" y="15754"/>
                  </a:cubicBezTo>
                  <a:cubicBezTo>
                    <a:pt x="20439" y="15736"/>
                    <a:pt x="20455" y="15697"/>
                    <a:pt x="20450" y="15685"/>
                  </a:cubicBezTo>
                  <a:cubicBezTo>
                    <a:pt x="20450" y="15684"/>
                    <a:pt x="20468" y="15593"/>
                    <a:pt x="20468" y="15587"/>
                  </a:cubicBezTo>
                  <a:cubicBezTo>
                    <a:pt x="20461" y="15616"/>
                    <a:pt x="20436" y="15665"/>
                    <a:pt x="20427" y="15694"/>
                  </a:cubicBezTo>
                  <a:cubicBezTo>
                    <a:pt x="20429" y="15675"/>
                    <a:pt x="20423" y="15627"/>
                    <a:pt x="20424" y="15608"/>
                  </a:cubicBezTo>
                  <a:cubicBezTo>
                    <a:pt x="20356" y="15725"/>
                    <a:pt x="20410" y="15570"/>
                    <a:pt x="20405" y="15527"/>
                  </a:cubicBezTo>
                  <a:cubicBezTo>
                    <a:pt x="20393" y="15416"/>
                    <a:pt x="20356" y="15435"/>
                    <a:pt x="20330" y="15369"/>
                  </a:cubicBezTo>
                  <a:cubicBezTo>
                    <a:pt x="20299" y="15294"/>
                    <a:pt x="20313" y="15154"/>
                    <a:pt x="20297" y="15053"/>
                  </a:cubicBezTo>
                  <a:cubicBezTo>
                    <a:pt x="20280" y="14935"/>
                    <a:pt x="20237" y="14877"/>
                    <a:pt x="20230" y="14750"/>
                  </a:cubicBezTo>
                  <a:cubicBezTo>
                    <a:pt x="20225" y="14656"/>
                    <a:pt x="20202" y="14584"/>
                    <a:pt x="20195" y="14504"/>
                  </a:cubicBezTo>
                  <a:cubicBezTo>
                    <a:pt x="20186" y="14403"/>
                    <a:pt x="20282" y="14249"/>
                    <a:pt x="20141" y="14267"/>
                  </a:cubicBezTo>
                  <a:cubicBezTo>
                    <a:pt x="20037" y="14280"/>
                    <a:pt x="20113" y="14407"/>
                    <a:pt x="20106" y="14529"/>
                  </a:cubicBezTo>
                  <a:cubicBezTo>
                    <a:pt x="20097" y="14701"/>
                    <a:pt x="20046" y="14633"/>
                    <a:pt x="20001" y="14718"/>
                  </a:cubicBezTo>
                  <a:cubicBezTo>
                    <a:pt x="19989" y="14740"/>
                    <a:pt x="19958" y="14926"/>
                    <a:pt x="19958" y="14973"/>
                  </a:cubicBezTo>
                  <a:cubicBezTo>
                    <a:pt x="19959" y="15053"/>
                    <a:pt x="19997" y="15226"/>
                    <a:pt x="20035" y="15272"/>
                  </a:cubicBezTo>
                  <a:cubicBezTo>
                    <a:pt x="19924" y="15320"/>
                    <a:pt x="20116" y="15832"/>
                    <a:pt x="20158" y="15902"/>
                  </a:cubicBezTo>
                  <a:cubicBezTo>
                    <a:pt x="20050" y="15922"/>
                    <a:pt x="20211" y="16015"/>
                    <a:pt x="20210" y="16072"/>
                  </a:cubicBezTo>
                  <a:cubicBezTo>
                    <a:pt x="20208" y="16142"/>
                    <a:pt x="20122" y="16103"/>
                    <a:pt x="20136" y="16219"/>
                  </a:cubicBezTo>
                  <a:cubicBezTo>
                    <a:pt x="20106" y="16092"/>
                    <a:pt x="20055" y="16178"/>
                    <a:pt x="20024" y="16141"/>
                  </a:cubicBezTo>
                  <a:cubicBezTo>
                    <a:pt x="20010" y="16122"/>
                    <a:pt x="19973" y="15884"/>
                    <a:pt x="19944" y="15972"/>
                  </a:cubicBezTo>
                  <a:cubicBezTo>
                    <a:pt x="19914" y="16061"/>
                    <a:pt x="20025" y="16110"/>
                    <a:pt x="19937" y="16146"/>
                  </a:cubicBezTo>
                  <a:cubicBezTo>
                    <a:pt x="19925" y="16150"/>
                    <a:pt x="19834" y="16098"/>
                    <a:pt x="19817" y="16083"/>
                  </a:cubicBezTo>
                  <a:cubicBezTo>
                    <a:pt x="19786" y="16055"/>
                    <a:pt x="19800" y="16033"/>
                    <a:pt x="19779" y="16013"/>
                  </a:cubicBezTo>
                  <a:cubicBezTo>
                    <a:pt x="19750" y="15984"/>
                    <a:pt x="19582" y="15872"/>
                    <a:pt x="19582" y="15871"/>
                  </a:cubicBezTo>
                  <a:cubicBezTo>
                    <a:pt x="19603" y="15794"/>
                    <a:pt x="19676" y="15881"/>
                    <a:pt x="19709" y="15880"/>
                  </a:cubicBezTo>
                  <a:cubicBezTo>
                    <a:pt x="19772" y="15878"/>
                    <a:pt x="19780" y="15900"/>
                    <a:pt x="19760" y="15767"/>
                  </a:cubicBezTo>
                  <a:cubicBezTo>
                    <a:pt x="19747" y="15681"/>
                    <a:pt x="19724" y="15600"/>
                    <a:pt x="19654" y="15648"/>
                  </a:cubicBezTo>
                  <a:cubicBezTo>
                    <a:pt x="19712" y="15549"/>
                    <a:pt x="19722" y="15545"/>
                    <a:pt x="19698" y="15409"/>
                  </a:cubicBezTo>
                  <a:cubicBezTo>
                    <a:pt x="19685" y="15333"/>
                    <a:pt x="19682" y="15266"/>
                    <a:pt x="19641" y="15208"/>
                  </a:cubicBezTo>
                  <a:cubicBezTo>
                    <a:pt x="19578" y="15354"/>
                    <a:pt x="19547" y="15548"/>
                    <a:pt x="19406" y="15543"/>
                  </a:cubicBezTo>
                  <a:cubicBezTo>
                    <a:pt x="19476" y="15454"/>
                    <a:pt x="19685" y="15112"/>
                    <a:pt x="19480" y="15309"/>
                  </a:cubicBezTo>
                  <a:cubicBezTo>
                    <a:pt x="19412" y="15374"/>
                    <a:pt x="19371" y="15466"/>
                    <a:pt x="19300" y="15371"/>
                  </a:cubicBezTo>
                  <a:cubicBezTo>
                    <a:pt x="19286" y="15350"/>
                    <a:pt x="19175" y="15229"/>
                    <a:pt x="19182" y="15187"/>
                  </a:cubicBezTo>
                  <a:cubicBezTo>
                    <a:pt x="19190" y="15130"/>
                    <a:pt x="19239" y="15163"/>
                    <a:pt x="19257" y="15151"/>
                  </a:cubicBezTo>
                  <a:cubicBezTo>
                    <a:pt x="19267" y="15144"/>
                    <a:pt x="19323" y="15120"/>
                    <a:pt x="19337" y="15113"/>
                  </a:cubicBezTo>
                  <a:cubicBezTo>
                    <a:pt x="19350" y="15106"/>
                    <a:pt x="19416" y="15066"/>
                    <a:pt x="19427" y="15056"/>
                  </a:cubicBezTo>
                  <a:cubicBezTo>
                    <a:pt x="19505" y="14987"/>
                    <a:pt x="19490" y="14969"/>
                    <a:pt x="19511" y="14834"/>
                  </a:cubicBezTo>
                  <a:cubicBezTo>
                    <a:pt x="19525" y="14748"/>
                    <a:pt x="19555" y="14639"/>
                    <a:pt x="19563" y="14563"/>
                  </a:cubicBezTo>
                  <a:cubicBezTo>
                    <a:pt x="19570" y="14495"/>
                    <a:pt x="19613" y="14541"/>
                    <a:pt x="19560" y="14452"/>
                  </a:cubicBezTo>
                  <a:cubicBezTo>
                    <a:pt x="19538" y="14415"/>
                    <a:pt x="19535" y="14343"/>
                    <a:pt x="19520" y="14300"/>
                  </a:cubicBezTo>
                  <a:cubicBezTo>
                    <a:pt x="19537" y="14283"/>
                    <a:pt x="19550" y="14253"/>
                    <a:pt x="19577" y="14234"/>
                  </a:cubicBezTo>
                  <a:cubicBezTo>
                    <a:pt x="19610" y="14211"/>
                    <a:pt x="19647" y="14259"/>
                    <a:pt x="19679" y="14209"/>
                  </a:cubicBezTo>
                  <a:cubicBezTo>
                    <a:pt x="19686" y="14197"/>
                    <a:pt x="19704" y="13970"/>
                    <a:pt x="19701" y="13937"/>
                  </a:cubicBezTo>
                  <a:cubicBezTo>
                    <a:pt x="19695" y="13858"/>
                    <a:pt x="19655" y="13722"/>
                    <a:pt x="19642" y="13658"/>
                  </a:cubicBezTo>
                  <a:cubicBezTo>
                    <a:pt x="19609" y="13507"/>
                    <a:pt x="19536" y="13481"/>
                    <a:pt x="19423" y="13470"/>
                  </a:cubicBezTo>
                  <a:cubicBezTo>
                    <a:pt x="19466" y="13585"/>
                    <a:pt x="19438" y="13691"/>
                    <a:pt x="19442" y="13816"/>
                  </a:cubicBezTo>
                  <a:cubicBezTo>
                    <a:pt x="19444" y="13895"/>
                    <a:pt x="19485" y="13951"/>
                    <a:pt x="19407" y="13943"/>
                  </a:cubicBezTo>
                  <a:cubicBezTo>
                    <a:pt x="19363" y="13939"/>
                    <a:pt x="19347" y="13860"/>
                    <a:pt x="19286" y="13885"/>
                  </a:cubicBezTo>
                  <a:cubicBezTo>
                    <a:pt x="19150" y="13941"/>
                    <a:pt x="19243" y="14050"/>
                    <a:pt x="19278" y="14173"/>
                  </a:cubicBezTo>
                  <a:cubicBezTo>
                    <a:pt x="19302" y="14260"/>
                    <a:pt x="19292" y="14421"/>
                    <a:pt x="19272" y="14515"/>
                  </a:cubicBezTo>
                  <a:cubicBezTo>
                    <a:pt x="19272" y="14446"/>
                    <a:pt x="19251" y="14386"/>
                    <a:pt x="19244" y="14320"/>
                  </a:cubicBezTo>
                  <a:cubicBezTo>
                    <a:pt x="19241" y="14320"/>
                    <a:pt x="19225" y="14349"/>
                    <a:pt x="19222" y="14354"/>
                  </a:cubicBezTo>
                  <a:cubicBezTo>
                    <a:pt x="19213" y="14339"/>
                    <a:pt x="19216" y="14320"/>
                    <a:pt x="19201" y="14315"/>
                  </a:cubicBezTo>
                  <a:cubicBezTo>
                    <a:pt x="19186" y="14380"/>
                    <a:pt x="19224" y="14431"/>
                    <a:pt x="19215" y="14490"/>
                  </a:cubicBezTo>
                  <a:cubicBezTo>
                    <a:pt x="19213" y="14502"/>
                    <a:pt x="19175" y="14570"/>
                    <a:pt x="19167" y="14591"/>
                  </a:cubicBezTo>
                  <a:cubicBezTo>
                    <a:pt x="19154" y="14531"/>
                    <a:pt x="19176" y="14471"/>
                    <a:pt x="19171" y="14410"/>
                  </a:cubicBezTo>
                  <a:cubicBezTo>
                    <a:pt x="19165" y="14343"/>
                    <a:pt x="19141" y="14380"/>
                    <a:pt x="19132" y="14302"/>
                  </a:cubicBezTo>
                  <a:cubicBezTo>
                    <a:pt x="19063" y="14346"/>
                    <a:pt x="19077" y="14504"/>
                    <a:pt x="19083" y="14594"/>
                  </a:cubicBezTo>
                  <a:cubicBezTo>
                    <a:pt x="19086" y="14630"/>
                    <a:pt x="19117" y="14875"/>
                    <a:pt x="19084" y="14851"/>
                  </a:cubicBezTo>
                  <a:cubicBezTo>
                    <a:pt x="19030" y="14809"/>
                    <a:pt x="19078" y="14496"/>
                    <a:pt x="18991" y="14710"/>
                  </a:cubicBezTo>
                  <a:cubicBezTo>
                    <a:pt x="18965" y="14773"/>
                    <a:pt x="18955" y="14892"/>
                    <a:pt x="18933" y="14959"/>
                  </a:cubicBezTo>
                  <a:cubicBezTo>
                    <a:pt x="18928" y="14976"/>
                    <a:pt x="18900" y="14994"/>
                    <a:pt x="18890" y="15015"/>
                  </a:cubicBezTo>
                  <a:cubicBezTo>
                    <a:pt x="18882" y="15035"/>
                    <a:pt x="18901" y="15088"/>
                    <a:pt x="18893" y="15101"/>
                  </a:cubicBezTo>
                  <a:cubicBezTo>
                    <a:pt x="18862" y="15152"/>
                    <a:pt x="18853" y="15142"/>
                    <a:pt x="18851" y="15059"/>
                  </a:cubicBezTo>
                  <a:cubicBezTo>
                    <a:pt x="18847" y="14941"/>
                    <a:pt x="18897" y="14965"/>
                    <a:pt x="18933" y="14882"/>
                  </a:cubicBezTo>
                  <a:cubicBezTo>
                    <a:pt x="18963" y="14811"/>
                    <a:pt x="18953" y="14692"/>
                    <a:pt x="18986" y="14611"/>
                  </a:cubicBezTo>
                  <a:cubicBezTo>
                    <a:pt x="19003" y="14567"/>
                    <a:pt x="19111" y="14402"/>
                    <a:pt x="19002" y="14456"/>
                  </a:cubicBezTo>
                  <a:cubicBezTo>
                    <a:pt x="19014" y="14426"/>
                    <a:pt x="19018" y="14394"/>
                    <a:pt x="19036" y="14364"/>
                  </a:cubicBezTo>
                  <a:cubicBezTo>
                    <a:pt x="18959" y="14395"/>
                    <a:pt x="18877" y="14498"/>
                    <a:pt x="18856" y="14612"/>
                  </a:cubicBezTo>
                  <a:cubicBezTo>
                    <a:pt x="18817" y="14529"/>
                    <a:pt x="18890" y="14408"/>
                    <a:pt x="18913" y="14340"/>
                  </a:cubicBezTo>
                  <a:cubicBezTo>
                    <a:pt x="18937" y="14269"/>
                    <a:pt x="18998" y="14155"/>
                    <a:pt x="19002" y="14069"/>
                  </a:cubicBezTo>
                  <a:cubicBezTo>
                    <a:pt x="19007" y="13943"/>
                    <a:pt x="18978" y="14060"/>
                    <a:pt x="18957" y="14076"/>
                  </a:cubicBezTo>
                  <a:cubicBezTo>
                    <a:pt x="18945" y="14087"/>
                    <a:pt x="18954" y="14142"/>
                    <a:pt x="18940" y="14155"/>
                  </a:cubicBezTo>
                  <a:cubicBezTo>
                    <a:pt x="18911" y="14182"/>
                    <a:pt x="18924" y="14114"/>
                    <a:pt x="18915" y="14117"/>
                  </a:cubicBezTo>
                  <a:cubicBezTo>
                    <a:pt x="18901" y="14123"/>
                    <a:pt x="18865" y="14103"/>
                    <a:pt x="18848" y="14109"/>
                  </a:cubicBezTo>
                  <a:cubicBezTo>
                    <a:pt x="18832" y="14114"/>
                    <a:pt x="18818" y="14161"/>
                    <a:pt x="18813" y="14162"/>
                  </a:cubicBezTo>
                  <a:cubicBezTo>
                    <a:pt x="18785" y="14166"/>
                    <a:pt x="18771" y="14234"/>
                    <a:pt x="18752" y="14125"/>
                  </a:cubicBezTo>
                  <a:cubicBezTo>
                    <a:pt x="18751" y="14167"/>
                    <a:pt x="18720" y="14324"/>
                    <a:pt x="18753" y="14339"/>
                  </a:cubicBezTo>
                  <a:cubicBezTo>
                    <a:pt x="18790" y="14357"/>
                    <a:pt x="18830" y="14245"/>
                    <a:pt x="18840" y="14207"/>
                  </a:cubicBezTo>
                  <a:cubicBezTo>
                    <a:pt x="18840" y="14281"/>
                    <a:pt x="18828" y="14372"/>
                    <a:pt x="18793" y="14431"/>
                  </a:cubicBezTo>
                  <a:cubicBezTo>
                    <a:pt x="18815" y="14325"/>
                    <a:pt x="18751" y="14428"/>
                    <a:pt x="18724" y="14344"/>
                  </a:cubicBezTo>
                  <a:cubicBezTo>
                    <a:pt x="18698" y="14267"/>
                    <a:pt x="18645" y="14274"/>
                    <a:pt x="18605" y="14311"/>
                  </a:cubicBezTo>
                  <a:cubicBezTo>
                    <a:pt x="18621" y="14194"/>
                    <a:pt x="18750" y="14244"/>
                    <a:pt x="18707" y="14090"/>
                  </a:cubicBezTo>
                  <a:cubicBezTo>
                    <a:pt x="18653" y="14230"/>
                    <a:pt x="18685" y="14045"/>
                    <a:pt x="18684" y="14042"/>
                  </a:cubicBezTo>
                  <a:cubicBezTo>
                    <a:pt x="18673" y="13993"/>
                    <a:pt x="18729" y="13930"/>
                    <a:pt x="18638" y="13983"/>
                  </a:cubicBezTo>
                  <a:cubicBezTo>
                    <a:pt x="18531" y="14045"/>
                    <a:pt x="18612" y="14156"/>
                    <a:pt x="18592" y="14251"/>
                  </a:cubicBezTo>
                  <a:cubicBezTo>
                    <a:pt x="18564" y="14088"/>
                    <a:pt x="18504" y="14233"/>
                    <a:pt x="18474" y="14311"/>
                  </a:cubicBezTo>
                  <a:cubicBezTo>
                    <a:pt x="18439" y="14400"/>
                    <a:pt x="18402" y="14486"/>
                    <a:pt x="18421" y="14318"/>
                  </a:cubicBezTo>
                  <a:cubicBezTo>
                    <a:pt x="18430" y="14240"/>
                    <a:pt x="18495" y="14208"/>
                    <a:pt x="18517" y="14130"/>
                  </a:cubicBezTo>
                  <a:cubicBezTo>
                    <a:pt x="18534" y="14064"/>
                    <a:pt x="18524" y="13990"/>
                    <a:pt x="18556" y="13907"/>
                  </a:cubicBezTo>
                  <a:cubicBezTo>
                    <a:pt x="18541" y="13933"/>
                    <a:pt x="18508" y="13968"/>
                    <a:pt x="18494" y="13995"/>
                  </a:cubicBezTo>
                  <a:cubicBezTo>
                    <a:pt x="18481" y="13879"/>
                    <a:pt x="18571" y="13887"/>
                    <a:pt x="18574" y="13795"/>
                  </a:cubicBezTo>
                  <a:cubicBezTo>
                    <a:pt x="18579" y="13658"/>
                    <a:pt x="18460" y="13836"/>
                    <a:pt x="18476" y="13704"/>
                  </a:cubicBezTo>
                  <a:cubicBezTo>
                    <a:pt x="18477" y="13696"/>
                    <a:pt x="18585" y="13621"/>
                    <a:pt x="18566" y="13549"/>
                  </a:cubicBezTo>
                  <a:cubicBezTo>
                    <a:pt x="18556" y="13512"/>
                    <a:pt x="18494" y="13606"/>
                    <a:pt x="18465" y="13599"/>
                  </a:cubicBezTo>
                  <a:cubicBezTo>
                    <a:pt x="18522" y="13551"/>
                    <a:pt x="18715" y="13302"/>
                    <a:pt x="18596" y="13228"/>
                  </a:cubicBezTo>
                  <a:cubicBezTo>
                    <a:pt x="18532" y="13187"/>
                    <a:pt x="18572" y="13156"/>
                    <a:pt x="18576" y="13056"/>
                  </a:cubicBezTo>
                  <a:cubicBezTo>
                    <a:pt x="18576" y="13062"/>
                    <a:pt x="18559" y="12840"/>
                    <a:pt x="18562" y="12846"/>
                  </a:cubicBezTo>
                  <a:cubicBezTo>
                    <a:pt x="18531" y="12768"/>
                    <a:pt x="18406" y="12827"/>
                    <a:pt x="18347" y="12828"/>
                  </a:cubicBezTo>
                  <a:cubicBezTo>
                    <a:pt x="18294" y="12829"/>
                    <a:pt x="18223" y="12809"/>
                    <a:pt x="18164" y="12829"/>
                  </a:cubicBezTo>
                  <a:cubicBezTo>
                    <a:pt x="18133" y="12840"/>
                    <a:pt x="18110" y="12877"/>
                    <a:pt x="18079" y="12887"/>
                  </a:cubicBezTo>
                  <a:cubicBezTo>
                    <a:pt x="18049" y="12897"/>
                    <a:pt x="18012" y="12872"/>
                    <a:pt x="17983" y="12891"/>
                  </a:cubicBezTo>
                  <a:cubicBezTo>
                    <a:pt x="17929" y="12926"/>
                    <a:pt x="17929" y="12969"/>
                    <a:pt x="17894" y="13033"/>
                  </a:cubicBezTo>
                  <a:cubicBezTo>
                    <a:pt x="17922" y="12868"/>
                    <a:pt x="17795" y="13002"/>
                    <a:pt x="17792" y="13084"/>
                  </a:cubicBezTo>
                  <a:cubicBezTo>
                    <a:pt x="17789" y="13151"/>
                    <a:pt x="17828" y="13187"/>
                    <a:pt x="17830" y="13249"/>
                  </a:cubicBezTo>
                  <a:cubicBezTo>
                    <a:pt x="17833" y="13323"/>
                    <a:pt x="17765" y="13248"/>
                    <a:pt x="17799" y="13348"/>
                  </a:cubicBezTo>
                  <a:cubicBezTo>
                    <a:pt x="17790" y="13325"/>
                    <a:pt x="17761" y="13283"/>
                    <a:pt x="17752" y="13257"/>
                  </a:cubicBezTo>
                  <a:cubicBezTo>
                    <a:pt x="17722" y="13396"/>
                    <a:pt x="17596" y="13285"/>
                    <a:pt x="17640" y="13504"/>
                  </a:cubicBezTo>
                  <a:cubicBezTo>
                    <a:pt x="17652" y="13566"/>
                    <a:pt x="17673" y="13595"/>
                    <a:pt x="17681" y="13648"/>
                  </a:cubicBezTo>
                  <a:cubicBezTo>
                    <a:pt x="17686" y="13684"/>
                    <a:pt x="17679" y="13755"/>
                    <a:pt x="17686" y="13789"/>
                  </a:cubicBezTo>
                  <a:cubicBezTo>
                    <a:pt x="17639" y="13686"/>
                    <a:pt x="17605" y="13572"/>
                    <a:pt x="17564" y="13478"/>
                  </a:cubicBezTo>
                  <a:cubicBezTo>
                    <a:pt x="17525" y="13390"/>
                    <a:pt x="17494" y="13310"/>
                    <a:pt x="17469" y="13473"/>
                  </a:cubicBezTo>
                  <a:cubicBezTo>
                    <a:pt x="17455" y="13393"/>
                    <a:pt x="17420" y="13326"/>
                    <a:pt x="17448" y="13245"/>
                  </a:cubicBezTo>
                  <a:cubicBezTo>
                    <a:pt x="17329" y="13350"/>
                    <a:pt x="17400" y="13533"/>
                    <a:pt x="17407" y="13689"/>
                  </a:cubicBezTo>
                  <a:cubicBezTo>
                    <a:pt x="17411" y="13771"/>
                    <a:pt x="17416" y="13854"/>
                    <a:pt x="17418" y="13930"/>
                  </a:cubicBezTo>
                  <a:cubicBezTo>
                    <a:pt x="17419" y="13956"/>
                    <a:pt x="17377" y="13926"/>
                    <a:pt x="17378" y="13945"/>
                  </a:cubicBezTo>
                  <a:cubicBezTo>
                    <a:pt x="17378" y="13960"/>
                    <a:pt x="17407" y="13990"/>
                    <a:pt x="17406" y="13996"/>
                  </a:cubicBezTo>
                  <a:cubicBezTo>
                    <a:pt x="17399" y="14023"/>
                    <a:pt x="17413" y="14070"/>
                    <a:pt x="17401" y="14106"/>
                  </a:cubicBezTo>
                  <a:cubicBezTo>
                    <a:pt x="17378" y="14077"/>
                    <a:pt x="17254" y="13817"/>
                    <a:pt x="17244" y="13912"/>
                  </a:cubicBezTo>
                  <a:cubicBezTo>
                    <a:pt x="17231" y="14025"/>
                    <a:pt x="17324" y="14008"/>
                    <a:pt x="17332" y="14101"/>
                  </a:cubicBezTo>
                  <a:cubicBezTo>
                    <a:pt x="17342" y="14200"/>
                    <a:pt x="17283" y="14152"/>
                    <a:pt x="17263" y="14223"/>
                  </a:cubicBezTo>
                  <a:cubicBezTo>
                    <a:pt x="17257" y="14243"/>
                    <a:pt x="17280" y="14360"/>
                    <a:pt x="17272" y="14399"/>
                  </a:cubicBezTo>
                  <a:cubicBezTo>
                    <a:pt x="17250" y="14211"/>
                    <a:pt x="17208" y="14228"/>
                    <a:pt x="17108" y="14194"/>
                  </a:cubicBezTo>
                  <a:cubicBezTo>
                    <a:pt x="17164" y="14320"/>
                    <a:pt x="17160" y="14306"/>
                    <a:pt x="17145" y="14431"/>
                  </a:cubicBezTo>
                  <a:cubicBezTo>
                    <a:pt x="17137" y="14498"/>
                    <a:pt x="17105" y="14570"/>
                    <a:pt x="17105" y="14641"/>
                  </a:cubicBezTo>
                  <a:cubicBezTo>
                    <a:pt x="17105" y="14668"/>
                    <a:pt x="17114" y="14783"/>
                    <a:pt x="17155" y="14810"/>
                  </a:cubicBezTo>
                  <a:cubicBezTo>
                    <a:pt x="17211" y="14846"/>
                    <a:pt x="17206" y="14826"/>
                    <a:pt x="17242" y="14741"/>
                  </a:cubicBezTo>
                  <a:cubicBezTo>
                    <a:pt x="17239" y="14872"/>
                    <a:pt x="17185" y="14953"/>
                    <a:pt x="17165" y="15073"/>
                  </a:cubicBezTo>
                  <a:cubicBezTo>
                    <a:pt x="17161" y="14977"/>
                    <a:pt x="17186" y="14931"/>
                    <a:pt x="17126" y="14878"/>
                  </a:cubicBezTo>
                  <a:cubicBezTo>
                    <a:pt x="17072" y="14831"/>
                    <a:pt x="17060" y="14837"/>
                    <a:pt x="17054" y="14726"/>
                  </a:cubicBezTo>
                  <a:cubicBezTo>
                    <a:pt x="17050" y="14658"/>
                    <a:pt x="17084" y="14600"/>
                    <a:pt x="17080" y="14538"/>
                  </a:cubicBezTo>
                  <a:cubicBezTo>
                    <a:pt x="17074" y="14429"/>
                    <a:pt x="16984" y="14342"/>
                    <a:pt x="16959" y="14238"/>
                  </a:cubicBezTo>
                  <a:cubicBezTo>
                    <a:pt x="17115" y="14183"/>
                    <a:pt x="16749" y="13733"/>
                    <a:pt x="16837" y="14038"/>
                  </a:cubicBezTo>
                  <a:cubicBezTo>
                    <a:pt x="16802" y="14001"/>
                    <a:pt x="16738" y="14019"/>
                    <a:pt x="16755" y="14092"/>
                  </a:cubicBezTo>
                  <a:cubicBezTo>
                    <a:pt x="16760" y="14111"/>
                    <a:pt x="16852" y="14194"/>
                    <a:pt x="16867" y="14216"/>
                  </a:cubicBezTo>
                  <a:cubicBezTo>
                    <a:pt x="16908" y="14280"/>
                    <a:pt x="16931" y="14268"/>
                    <a:pt x="16955" y="14358"/>
                  </a:cubicBezTo>
                  <a:cubicBezTo>
                    <a:pt x="16966" y="14403"/>
                    <a:pt x="16919" y="14429"/>
                    <a:pt x="16953" y="14498"/>
                  </a:cubicBezTo>
                  <a:cubicBezTo>
                    <a:pt x="16886" y="14472"/>
                    <a:pt x="16913" y="14406"/>
                    <a:pt x="16895" y="14336"/>
                  </a:cubicBezTo>
                  <a:cubicBezTo>
                    <a:pt x="16899" y="14333"/>
                    <a:pt x="16851" y="14370"/>
                    <a:pt x="16856" y="14366"/>
                  </a:cubicBezTo>
                  <a:cubicBezTo>
                    <a:pt x="16859" y="14413"/>
                    <a:pt x="16873" y="14468"/>
                    <a:pt x="16883" y="14518"/>
                  </a:cubicBezTo>
                  <a:cubicBezTo>
                    <a:pt x="16849" y="14474"/>
                    <a:pt x="16819" y="14465"/>
                    <a:pt x="16810" y="14534"/>
                  </a:cubicBezTo>
                  <a:cubicBezTo>
                    <a:pt x="16809" y="14483"/>
                    <a:pt x="16835" y="14332"/>
                    <a:pt x="16815" y="14285"/>
                  </a:cubicBezTo>
                  <a:cubicBezTo>
                    <a:pt x="16784" y="14210"/>
                    <a:pt x="16773" y="14360"/>
                    <a:pt x="16748" y="14398"/>
                  </a:cubicBezTo>
                  <a:cubicBezTo>
                    <a:pt x="16743" y="14340"/>
                    <a:pt x="16770" y="14168"/>
                    <a:pt x="16709" y="14213"/>
                  </a:cubicBezTo>
                  <a:cubicBezTo>
                    <a:pt x="16644" y="14260"/>
                    <a:pt x="16716" y="14365"/>
                    <a:pt x="16656" y="14365"/>
                  </a:cubicBezTo>
                  <a:cubicBezTo>
                    <a:pt x="16665" y="14441"/>
                    <a:pt x="16703" y="14566"/>
                    <a:pt x="16691" y="14644"/>
                  </a:cubicBezTo>
                  <a:cubicBezTo>
                    <a:pt x="16667" y="14597"/>
                    <a:pt x="16620" y="14371"/>
                    <a:pt x="16586" y="14406"/>
                  </a:cubicBezTo>
                  <a:cubicBezTo>
                    <a:pt x="16556" y="14435"/>
                    <a:pt x="16588" y="14579"/>
                    <a:pt x="16584" y="14619"/>
                  </a:cubicBezTo>
                  <a:cubicBezTo>
                    <a:pt x="16577" y="14686"/>
                    <a:pt x="16580" y="14762"/>
                    <a:pt x="16514" y="14630"/>
                  </a:cubicBezTo>
                  <a:cubicBezTo>
                    <a:pt x="16483" y="14568"/>
                    <a:pt x="16462" y="14631"/>
                    <a:pt x="16437" y="14693"/>
                  </a:cubicBezTo>
                  <a:cubicBezTo>
                    <a:pt x="16438" y="14638"/>
                    <a:pt x="16430" y="14644"/>
                    <a:pt x="16449" y="14594"/>
                  </a:cubicBezTo>
                  <a:cubicBezTo>
                    <a:pt x="16347" y="14624"/>
                    <a:pt x="16314" y="14574"/>
                    <a:pt x="16250" y="14740"/>
                  </a:cubicBezTo>
                  <a:cubicBezTo>
                    <a:pt x="16210" y="14843"/>
                    <a:pt x="16214" y="14957"/>
                    <a:pt x="16173" y="15054"/>
                  </a:cubicBezTo>
                  <a:cubicBezTo>
                    <a:pt x="16137" y="14874"/>
                    <a:pt x="16197" y="14833"/>
                    <a:pt x="16220" y="14683"/>
                  </a:cubicBezTo>
                  <a:cubicBezTo>
                    <a:pt x="16225" y="14651"/>
                    <a:pt x="16225" y="14585"/>
                    <a:pt x="16216" y="14555"/>
                  </a:cubicBezTo>
                  <a:cubicBezTo>
                    <a:pt x="16203" y="14507"/>
                    <a:pt x="16164" y="14572"/>
                    <a:pt x="16156" y="14544"/>
                  </a:cubicBezTo>
                  <a:cubicBezTo>
                    <a:pt x="16140" y="14487"/>
                    <a:pt x="16158" y="14363"/>
                    <a:pt x="16149" y="14298"/>
                  </a:cubicBezTo>
                  <a:cubicBezTo>
                    <a:pt x="16112" y="14322"/>
                    <a:pt x="16085" y="14359"/>
                    <a:pt x="16071" y="14415"/>
                  </a:cubicBezTo>
                  <a:cubicBezTo>
                    <a:pt x="16076" y="14388"/>
                    <a:pt x="16077" y="14330"/>
                    <a:pt x="16081" y="14305"/>
                  </a:cubicBezTo>
                  <a:cubicBezTo>
                    <a:pt x="15988" y="14420"/>
                    <a:pt x="15983" y="14648"/>
                    <a:pt x="15991" y="14806"/>
                  </a:cubicBezTo>
                  <a:cubicBezTo>
                    <a:pt x="15928" y="14756"/>
                    <a:pt x="15966" y="14484"/>
                    <a:pt x="15979" y="14388"/>
                  </a:cubicBezTo>
                  <a:cubicBezTo>
                    <a:pt x="16004" y="14207"/>
                    <a:pt x="16085" y="14016"/>
                    <a:pt x="16131" y="13833"/>
                  </a:cubicBezTo>
                  <a:cubicBezTo>
                    <a:pt x="16148" y="13765"/>
                    <a:pt x="16201" y="13608"/>
                    <a:pt x="16205" y="13547"/>
                  </a:cubicBezTo>
                  <a:cubicBezTo>
                    <a:pt x="16209" y="13479"/>
                    <a:pt x="16169" y="13325"/>
                    <a:pt x="16113" y="13371"/>
                  </a:cubicBezTo>
                  <a:cubicBezTo>
                    <a:pt x="16089" y="13390"/>
                    <a:pt x="16109" y="13441"/>
                    <a:pt x="16095" y="13464"/>
                  </a:cubicBezTo>
                  <a:cubicBezTo>
                    <a:pt x="16087" y="13478"/>
                    <a:pt x="16031" y="13560"/>
                    <a:pt x="16029" y="13566"/>
                  </a:cubicBezTo>
                  <a:cubicBezTo>
                    <a:pt x="15987" y="13684"/>
                    <a:pt x="16032" y="13722"/>
                    <a:pt x="15938" y="13732"/>
                  </a:cubicBezTo>
                  <a:cubicBezTo>
                    <a:pt x="15882" y="13738"/>
                    <a:pt x="15821" y="13666"/>
                    <a:pt x="15766" y="13688"/>
                  </a:cubicBezTo>
                  <a:cubicBezTo>
                    <a:pt x="15667" y="13728"/>
                    <a:pt x="15763" y="13827"/>
                    <a:pt x="15724" y="13922"/>
                  </a:cubicBezTo>
                  <a:cubicBezTo>
                    <a:pt x="15715" y="13790"/>
                    <a:pt x="15666" y="13799"/>
                    <a:pt x="15647" y="13918"/>
                  </a:cubicBezTo>
                  <a:cubicBezTo>
                    <a:pt x="15633" y="13998"/>
                    <a:pt x="15671" y="14073"/>
                    <a:pt x="15642" y="14151"/>
                  </a:cubicBezTo>
                  <a:cubicBezTo>
                    <a:pt x="15628" y="14058"/>
                    <a:pt x="15624" y="13817"/>
                    <a:pt x="15569" y="13746"/>
                  </a:cubicBezTo>
                  <a:cubicBezTo>
                    <a:pt x="15498" y="13655"/>
                    <a:pt x="15449" y="13661"/>
                    <a:pt x="15427" y="13786"/>
                  </a:cubicBezTo>
                  <a:cubicBezTo>
                    <a:pt x="15403" y="13914"/>
                    <a:pt x="15400" y="14317"/>
                    <a:pt x="15501" y="14372"/>
                  </a:cubicBezTo>
                  <a:cubicBezTo>
                    <a:pt x="15417" y="14402"/>
                    <a:pt x="15484" y="14490"/>
                    <a:pt x="15512" y="14544"/>
                  </a:cubicBezTo>
                  <a:cubicBezTo>
                    <a:pt x="15373" y="14395"/>
                    <a:pt x="15402" y="14751"/>
                    <a:pt x="15408" y="14899"/>
                  </a:cubicBezTo>
                  <a:cubicBezTo>
                    <a:pt x="15416" y="15095"/>
                    <a:pt x="15446" y="15299"/>
                    <a:pt x="15444" y="15499"/>
                  </a:cubicBezTo>
                  <a:cubicBezTo>
                    <a:pt x="15409" y="15407"/>
                    <a:pt x="15387" y="15123"/>
                    <a:pt x="15312" y="15101"/>
                  </a:cubicBezTo>
                  <a:cubicBezTo>
                    <a:pt x="15229" y="15076"/>
                    <a:pt x="15216" y="15269"/>
                    <a:pt x="15218" y="15064"/>
                  </a:cubicBezTo>
                  <a:cubicBezTo>
                    <a:pt x="15220" y="14933"/>
                    <a:pt x="15223" y="14891"/>
                    <a:pt x="15198" y="14752"/>
                  </a:cubicBezTo>
                  <a:cubicBezTo>
                    <a:pt x="15180" y="14645"/>
                    <a:pt x="15129" y="14543"/>
                    <a:pt x="15142" y="14719"/>
                  </a:cubicBezTo>
                  <a:cubicBezTo>
                    <a:pt x="15094" y="14603"/>
                    <a:pt x="15106" y="14241"/>
                    <a:pt x="15042" y="14222"/>
                  </a:cubicBezTo>
                  <a:cubicBezTo>
                    <a:pt x="15145" y="14097"/>
                    <a:pt x="15070" y="13447"/>
                    <a:pt x="14937" y="13579"/>
                  </a:cubicBezTo>
                  <a:cubicBezTo>
                    <a:pt x="14955" y="13518"/>
                    <a:pt x="14997" y="13548"/>
                    <a:pt x="15005" y="13522"/>
                  </a:cubicBezTo>
                  <a:cubicBezTo>
                    <a:pt x="15023" y="13466"/>
                    <a:pt x="15008" y="13388"/>
                    <a:pt x="15008" y="13328"/>
                  </a:cubicBezTo>
                  <a:cubicBezTo>
                    <a:pt x="15009" y="13245"/>
                    <a:pt x="15035" y="13094"/>
                    <a:pt x="14947" y="13147"/>
                  </a:cubicBezTo>
                  <a:cubicBezTo>
                    <a:pt x="15018" y="13077"/>
                    <a:pt x="14993" y="12914"/>
                    <a:pt x="14981" y="12794"/>
                  </a:cubicBezTo>
                  <a:cubicBezTo>
                    <a:pt x="14967" y="12655"/>
                    <a:pt x="14959" y="12703"/>
                    <a:pt x="14892" y="12627"/>
                  </a:cubicBezTo>
                  <a:cubicBezTo>
                    <a:pt x="14828" y="12555"/>
                    <a:pt x="14707" y="12313"/>
                    <a:pt x="14755" y="12243"/>
                  </a:cubicBezTo>
                  <a:cubicBezTo>
                    <a:pt x="14772" y="12317"/>
                    <a:pt x="14853" y="12565"/>
                    <a:pt x="14904" y="12493"/>
                  </a:cubicBezTo>
                  <a:cubicBezTo>
                    <a:pt x="14910" y="12513"/>
                    <a:pt x="14931" y="12546"/>
                    <a:pt x="14935" y="12558"/>
                  </a:cubicBezTo>
                  <a:cubicBezTo>
                    <a:pt x="14946" y="12430"/>
                    <a:pt x="14932" y="12302"/>
                    <a:pt x="14924" y="12175"/>
                  </a:cubicBezTo>
                  <a:cubicBezTo>
                    <a:pt x="14919" y="12106"/>
                    <a:pt x="14902" y="11993"/>
                    <a:pt x="14959" y="12069"/>
                  </a:cubicBezTo>
                  <a:cubicBezTo>
                    <a:pt x="14935" y="12018"/>
                    <a:pt x="14886" y="11925"/>
                    <a:pt x="14947" y="11925"/>
                  </a:cubicBezTo>
                  <a:cubicBezTo>
                    <a:pt x="14924" y="11860"/>
                    <a:pt x="14886" y="11797"/>
                    <a:pt x="14873" y="11717"/>
                  </a:cubicBezTo>
                  <a:cubicBezTo>
                    <a:pt x="14870" y="11700"/>
                    <a:pt x="14844" y="11668"/>
                    <a:pt x="14844" y="11658"/>
                  </a:cubicBezTo>
                  <a:cubicBezTo>
                    <a:pt x="14842" y="11634"/>
                    <a:pt x="14872" y="11632"/>
                    <a:pt x="14871" y="11625"/>
                  </a:cubicBezTo>
                  <a:cubicBezTo>
                    <a:pt x="14860" y="11539"/>
                    <a:pt x="14828" y="11398"/>
                    <a:pt x="14783" y="11339"/>
                  </a:cubicBezTo>
                  <a:cubicBezTo>
                    <a:pt x="14688" y="11216"/>
                    <a:pt x="14541" y="11511"/>
                    <a:pt x="14625" y="11578"/>
                  </a:cubicBezTo>
                  <a:cubicBezTo>
                    <a:pt x="14605" y="11591"/>
                    <a:pt x="14500" y="11575"/>
                    <a:pt x="14484" y="11556"/>
                  </a:cubicBezTo>
                  <a:cubicBezTo>
                    <a:pt x="14453" y="11520"/>
                    <a:pt x="14458" y="11481"/>
                    <a:pt x="14440" y="11400"/>
                  </a:cubicBezTo>
                  <a:cubicBezTo>
                    <a:pt x="14426" y="11336"/>
                    <a:pt x="14406" y="11413"/>
                    <a:pt x="14385" y="11393"/>
                  </a:cubicBezTo>
                  <a:cubicBezTo>
                    <a:pt x="14328" y="11337"/>
                    <a:pt x="14306" y="11364"/>
                    <a:pt x="14377" y="11258"/>
                  </a:cubicBezTo>
                  <a:cubicBezTo>
                    <a:pt x="14408" y="11213"/>
                    <a:pt x="14473" y="11222"/>
                    <a:pt x="14504" y="11181"/>
                  </a:cubicBezTo>
                  <a:cubicBezTo>
                    <a:pt x="14565" y="11103"/>
                    <a:pt x="14570" y="11077"/>
                    <a:pt x="14649" y="11044"/>
                  </a:cubicBezTo>
                  <a:cubicBezTo>
                    <a:pt x="14652" y="11042"/>
                    <a:pt x="14731" y="11004"/>
                    <a:pt x="14727" y="11011"/>
                  </a:cubicBezTo>
                  <a:cubicBezTo>
                    <a:pt x="14770" y="10950"/>
                    <a:pt x="14725" y="11008"/>
                    <a:pt x="14725" y="10920"/>
                  </a:cubicBezTo>
                  <a:cubicBezTo>
                    <a:pt x="14725" y="10907"/>
                    <a:pt x="14753" y="10900"/>
                    <a:pt x="14753" y="10876"/>
                  </a:cubicBezTo>
                  <a:cubicBezTo>
                    <a:pt x="14753" y="10853"/>
                    <a:pt x="14710" y="10852"/>
                    <a:pt x="14717" y="10822"/>
                  </a:cubicBezTo>
                  <a:cubicBezTo>
                    <a:pt x="14725" y="10788"/>
                    <a:pt x="14777" y="10809"/>
                    <a:pt x="14776" y="10789"/>
                  </a:cubicBezTo>
                  <a:cubicBezTo>
                    <a:pt x="14772" y="10700"/>
                    <a:pt x="14704" y="10534"/>
                    <a:pt x="14636" y="10551"/>
                  </a:cubicBezTo>
                  <a:cubicBezTo>
                    <a:pt x="14682" y="10494"/>
                    <a:pt x="14684" y="10432"/>
                    <a:pt x="14622" y="10387"/>
                  </a:cubicBezTo>
                  <a:cubicBezTo>
                    <a:pt x="14665" y="10370"/>
                    <a:pt x="14652" y="10346"/>
                    <a:pt x="14650" y="10292"/>
                  </a:cubicBezTo>
                  <a:cubicBezTo>
                    <a:pt x="14623" y="10309"/>
                    <a:pt x="14604" y="10304"/>
                    <a:pt x="14597" y="10330"/>
                  </a:cubicBezTo>
                  <a:lnTo>
                    <a:pt x="14450" y="10437"/>
                  </a:lnTo>
                  <a:cubicBezTo>
                    <a:pt x="14420" y="10488"/>
                    <a:pt x="14423" y="10561"/>
                    <a:pt x="14423" y="10618"/>
                  </a:cubicBezTo>
                  <a:cubicBezTo>
                    <a:pt x="14414" y="10612"/>
                    <a:pt x="14401" y="10598"/>
                    <a:pt x="14394" y="10592"/>
                  </a:cubicBezTo>
                  <a:cubicBezTo>
                    <a:pt x="14439" y="10646"/>
                    <a:pt x="14522" y="10710"/>
                    <a:pt x="14580" y="10673"/>
                  </a:cubicBezTo>
                  <a:cubicBezTo>
                    <a:pt x="14553" y="10730"/>
                    <a:pt x="14465" y="10768"/>
                    <a:pt x="14420" y="10801"/>
                  </a:cubicBezTo>
                  <a:cubicBezTo>
                    <a:pt x="14368" y="10841"/>
                    <a:pt x="14335" y="10927"/>
                    <a:pt x="14329" y="10760"/>
                  </a:cubicBezTo>
                  <a:cubicBezTo>
                    <a:pt x="14272" y="10820"/>
                    <a:pt x="14276" y="10667"/>
                    <a:pt x="14274" y="10605"/>
                  </a:cubicBezTo>
                  <a:cubicBezTo>
                    <a:pt x="14211" y="10693"/>
                    <a:pt x="14209" y="10665"/>
                    <a:pt x="14184" y="10825"/>
                  </a:cubicBezTo>
                  <a:cubicBezTo>
                    <a:pt x="14170" y="10918"/>
                    <a:pt x="14141" y="10998"/>
                    <a:pt x="14118" y="11082"/>
                  </a:cubicBezTo>
                  <a:cubicBezTo>
                    <a:pt x="14067" y="11264"/>
                    <a:pt x="14016" y="11440"/>
                    <a:pt x="13950" y="11600"/>
                  </a:cubicBezTo>
                  <a:cubicBezTo>
                    <a:pt x="13881" y="11765"/>
                    <a:pt x="13822" y="12004"/>
                    <a:pt x="13869" y="12192"/>
                  </a:cubicBezTo>
                  <a:cubicBezTo>
                    <a:pt x="13876" y="12218"/>
                    <a:pt x="13919" y="12191"/>
                    <a:pt x="13928" y="12221"/>
                  </a:cubicBezTo>
                  <a:cubicBezTo>
                    <a:pt x="13934" y="12242"/>
                    <a:pt x="13904" y="12267"/>
                    <a:pt x="13909" y="12280"/>
                  </a:cubicBezTo>
                  <a:cubicBezTo>
                    <a:pt x="13933" y="12338"/>
                    <a:pt x="13944" y="12389"/>
                    <a:pt x="13953" y="12447"/>
                  </a:cubicBezTo>
                  <a:cubicBezTo>
                    <a:pt x="13965" y="12519"/>
                    <a:pt x="13967" y="12664"/>
                    <a:pt x="13908" y="12718"/>
                  </a:cubicBezTo>
                  <a:cubicBezTo>
                    <a:pt x="13961" y="12686"/>
                    <a:pt x="14015" y="12731"/>
                    <a:pt x="13971" y="12816"/>
                  </a:cubicBezTo>
                  <a:cubicBezTo>
                    <a:pt x="13931" y="12891"/>
                    <a:pt x="13888" y="12791"/>
                    <a:pt x="13845" y="12874"/>
                  </a:cubicBezTo>
                  <a:cubicBezTo>
                    <a:pt x="13892" y="12877"/>
                    <a:pt x="13949" y="12938"/>
                    <a:pt x="13983" y="12878"/>
                  </a:cubicBezTo>
                  <a:cubicBezTo>
                    <a:pt x="13976" y="13009"/>
                    <a:pt x="14035" y="12892"/>
                    <a:pt x="14057" y="12938"/>
                  </a:cubicBezTo>
                  <a:cubicBezTo>
                    <a:pt x="14052" y="12928"/>
                    <a:pt x="14064" y="13100"/>
                    <a:pt x="14064" y="13113"/>
                  </a:cubicBezTo>
                  <a:cubicBezTo>
                    <a:pt x="14068" y="13229"/>
                    <a:pt x="14063" y="13350"/>
                    <a:pt x="14035" y="13458"/>
                  </a:cubicBezTo>
                  <a:cubicBezTo>
                    <a:pt x="14013" y="13541"/>
                    <a:pt x="13908" y="13658"/>
                    <a:pt x="13897" y="13714"/>
                  </a:cubicBezTo>
                  <a:cubicBezTo>
                    <a:pt x="13883" y="13780"/>
                    <a:pt x="14028" y="13802"/>
                    <a:pt x="14067" y="13765"/>
                  </a:cubicBezTo>
                  <a:cubicBezTo>
                    <a:pt x="14067" y="13915"/>
                    <a:pt x="14127" y="13704"/>
                    <a:pt x="14151" y="13714"/>
                  </a:cubicBezTo>
                  <a:cubicBezTo>
                    <a:pt x="14228" y="13743"/>
                    <a:pt x="14086" y="13847"/>
                    <a:pt x="14081" y="13853"/>
                  </a:cubicBezTo>
                  <a:cubicBezTo>
                    <a:pt x="13994" y="13956"/>
                    <a:pt x="14031" y="13946"/>
                    <a:pt x="14052" y="14105"/>
                  </a:cubicBezTo>
                  <a:cubicBezTo>
                    <a:pt x="14067" y="14219"/>
                    <a:pt x="14061" y="14333"/>
                    <a:pt x="14083" y="14449"/>
                  </a:cubicBezTo>
                  <a:cubicBezTo>
                    <a:pt x="14128" y="14693"/>
                    <a:pt x="14197" y="14927"/>
                    <a:pt x="14235" y="15177"/>
                  </a:cubicBezTo>
                  <a:cubicBezTo>
                    <a:pt x="14270" y="15405"/>
                    <a:pt x="14291" y="15645"/>
                    <a:pt x="14327" y="15865"/>
                  </a:cubicBezTo>
                  <a:cubicBezTo>
                    <a:pt x="14346" y="15978"/>
                    <a:pt x="14349" y="16108"/>
                    <a:pt x="14379" y="16218"/>
                  </a:cubicBezTo>
                  <a:cubicBezTo>
                    <a:pt x="14408" y="16323"/>
                    <a:pt x="14624" y="16562"/>
                    <a:pt x="14606" y="16405"/>
                  </a:cubicBezTo>
                  <a:cubicBezTo>
                    <a:pt x="14667" y="16419"/>
                    <a:pt x="14872" y="16461"/>
                    <a:pt x="14738" y="16513"/>
                  </a:cubicBezTo>
                  <a:cubicBezTo>
                    <a:pt x="14704" y="16526"/>
                    <a:pt x="14642" y="16488"/>
                    <a:pt x="14621" y="16533"/>
                  </a:cubicBezTo>
                  <a:cubicBezTo>
                    <a:pt x="14590" y="16597"/>
                    <a:pt x="14637" y="16655"/>
                    <a:pt x="14674" y="16683"/>
                  </a:cubicBezTo>
                  <a:cubicBezTo>
                    <a:pt x="14595" y="16660"/>
                    <a:pt x="14523" y="16412"/>
                    <a:pt x="14441" y="16594"/>
                  </a:cubicBezTo>
                  <a:cubicBezTo>
                    <a:pt x="14410" y="16662"/>
                    <a:pt x="14409" y="16893"/>
                    <a:pt x="14415" y="16972"/>
                  </a:cubicBezTo>
                  <a:cubicBezTo>
                    <a:pt x="14442" y="17312"/>
                    <a:pt x="14701" y="17428"/>
                    <a:pt x="14812" y="17114"/>
                  </a:cubicBezTo>
                  <a:cubicBezTo>
                    <a:pt x="14821" y="17159"/>
                    <a:pt x="14831" y="17242"/>
                    <a:pt x="14811" y="17290"/>
                  </a:cubicBezTo>
                  <a:cubicBezTo>
                    <a:pt x="14798" y="17323"/>
                    <a:pt x="14719" y="17361"/>
                    <a:pt x="14722" y="17389"/>
                  </a:cubicBezTo>
                  <a:cubicBezTo>
                    <a:pt x="14744" y="17553"/>
                    <a:pt x="14860" y="17218"/>
                    <a:pt x="14863" y="17211"/>
                  </a:cubicBezTo>
                  <a:cubicBezTo>
                    <a:pt x="14834" y="17358"/>
                    <a:pt x="14928" y="17257"/>
                    <a:pt x="14932" y="17149"/>
                  </a:cubicBezTo>
                  <a:cubicBezTo>
                    <a:pt x="14940" y="17290"/>
                    <a:pt x="14917" y="17335"/>
                    <a:pt x="14842" y="17404"/>
                  </a:cubicBezTo>
                  <a:cubicBezTo>
                    <a:pt x="14767" y="17473"/>
                    <a:pt x="14714" y="17508"/>
                    <a:pt x="14803" y="17611"/>
                  </a:cubicBezTo>
                  <a:cubicBezTo>
                    <a:pt x="14853" y="17668"/>
                    <a:pt x="14929" y="17685"/>
                    <a:pt x="14990" y="17677"/>
                  </a:cubicBezTo>
                  <a:cubicBezTo>
                    <a:pt x="15014" y="17674"/>
                    <a:pt x="15068" y="17582"/>
                    <a:pt x="15076" y="17584"/>
                  </a:cubicBezTo>
                  <a:cubicBezTo>
                    <a:pt x="15141" y="17601"/>
                    <a:pt x="14968" y="17741"/>
                    <a:pt x="14932" y="17742"/>
                  </a:cubicBezTo>
                  <a:cubicBezTo>
                    <a:pt x="14853" y="17744"/>
                    <a:pt x="14803" y="17662"/>
                    <a:pt x="14725" y="17707"/>
                  </a:cubicBezTo>
                  <a:cubicBezTo>
                    <a:pt x="14673" y="17736"/>
                    <a:pt x="14605" y="17929"/>
                    <a:pt x="14593" y="17782"/>
                  </a:cubicBezTo>
                  <a:cubicBezTo>
                    <a:pt x="14579" y="17627"/>
                    <a:pt x="14485" y="17699"/>
                    <a:pt x="14527" y="17843"/>
                  </a:cubicBezTo>
                  <a:cubicBezTo>
                    <a:pt x="14557" y="17942"/>
                    <a:pt x="14530" y="18054"/>
                    <a:pt x="14563" y="18137"/>
                  </a:cubicBezTo>
                  <a:cubicBezTo>
                    <a:pt x="14651" y="18359"/>
                    <a:pt x="14614" y="18580"/>
                    <a:pt x="14669" y="18808"/>
                  </a:cubicBezTo>
                  <a:cubicBezTo>
                    <a:pt x="14692" y="18904"/>
                    <a:pt x="14795" y="19023"/>
                    <a:pt x="14763" y="19141"/>
                  </a:cubicBezTo>
                  <a:cubicBezTo>
                    <a:pt x="14729" y="19266"/>
                    <a:pt x="14631" y="19233"/>
                    <a:pt x="14592" y="19143"/>
                  </a:cubicBezTo>
                  <a:cubicBezTo>
                    <a:pt x="14713" y="19342"/>
                    <a:pt x="14537" y="19351"/>
                    <a:pt x="14493" y="19213"/>
                  </a:cubicBezTo>
                  <a:cubicBezTo>
                    <a:pt x="14458" y="19108"/>
                    <a:pt x="14525" y="18914"/>
                    <a:pt x="14523" y="18800"/>
                  </a:cubicBezTo>
                  <a:cubicBezTo>
                    <a:pt x="14494" y="18843"/>
                    <a:pt x="14492" y="18917"/>
                    <a:pt x="14481" y="18982"/>
                  </a:cubicBezTo>
                  <a:cubicBezTo>
                    <a:pt x="14447" y="19167"/>
                    <a:pt x="14385" y="19344"/>
                    <a:pt x="14361" y="19529"/>
                  </a:cubicBezTo>
                  <a:cubicBezTo>
                    <a:pt x="14352" y="19595"/>
                    <a:pt x="14337" y="19857"/>
                    <a:pt x="14412" y="19771"/>
                  </a:cubicBezTo>
                  <a:cubicBezTo>
                    <a:pt x="14463" y="19713"/>
                    <a:pt x="14480" y="19597"/>
                    <a:pt x="14530" y="19532"/>
                  </a:cubicBezTo>
                  <a:cubicBezTo>
                    <a:pt x="14574" y="19473"/>
                    <a:pt x="14632" y="19445"/>
                    <a:pt x="14678" y="19375"/>
                  </a:cubicBezTo>
                  <a:cubicBezTo>
                    <a:pt x="14723" y="19307"/>
                    <a:pt x="14751" y="19204"/>
                    <a:pt x="14799" y="19145"/>
                  </a:cubicBezTo>
                  <a:cubicBezTo>
                    <a:pt x="14872" y="19054"/>
                    <a:pt x="14980" y="19084"/>
                    <a:pt x="15054" y="19009"/>
                  </a:cubicBezTo>
                  <a:cubicBezTo>
                    <a:pt x="15100" y="18962"/>
                    <a:pt x="15127" y="18844"/>
                    <a:pt x="15188" y="18837"/>
                  </a:cubicBezTo>
                  <a:cubicBezTo>
                    <a:pt x="15115" y="19010"/>
                    <a:pt x="15087" y="19164"/>
                    <a:pt x="15026" y="19352"/>
                  </a:cubicBezTo>
                  <a:cubicBezTo>
                    <a:pt x="15015" y="19293"/>
                    <a:pt x="15041" y="19223"/>
                    <a:pt x="15062" y="19173"/>
                  </a:cubicBezTo>
                  <a:cubicBezTo>
                    <a:pt x="14955" y="19276"/>
                    <a:pt x="15005" y="19504"/>
                    <a:pt x="15000" y="19654"/>
                  </a:cubicBezTo>
                  <a:cubicBezTo>
                    <a:pt x="14994" y="19815"/>
                    <a:pt x="14951" y="19973"/>
                    <a:pt x="14937" y="20134"/>
                  </a:cubicBezTo>
                  <a:cubicBezTo>
                    <a:pt x="14924" y="20287"/>
                    <a:pt x="14882" y="20400"/>
                    <a:pt x="14845" y="20555"/>
                  </a:cubicBezTo>
                  <a:cubicBezTo>
                    <a:pt x="14808" y="20711"/>
                    <a:pt x="14820" y="20828"/>
                    <a:pt x="14803" y="20974"/>
                  </a:cubicBezTo>
                  <a:cubicBezTo>
                    <a:pt x="14797" y="21021"/>
                    <a:pt x="14727" y="21054"/>
                    <a:pt x="14783" y="21113"/>
                  </a:cubicBezTo>
                  <a:cubicBezTo>
                    <a:pt x="14815" y="21148"/>
                    <a:pt x="14864" y="21158"/>
                    <a:pt x="14893" y="21187"/>
                  </a:cubicBezTo>
                  <a:cubicBezTo>
                    <a:pt x="14955" y="21249"/>
                    <a:pt x="14991" y="21304"/>
                    <a:pt x="15035" y="21388"/>
                  </a:cubicBezTo>
                  <a:cubicBezTo>
                    <a:pt x="15092" y="21495"/>
                    <a:pt x="15100" y="21600"/>
                    <a:pt x="15211" y="21567"/>
                  </a:cubicBezTo>
                  <a:cubicBezTo>
                    <a:pt x="15298" y="21540"/>
                    <a:pt x="15361" y="21435"/>
                    <a:pt x="15421" y="21352"/>
                  </a:cubicBezTo>
                  <a:cubicBezTo>
                    <a:pt x="15530" y="21200"/>
                    <a:pt x="15640" y="21088"/>
                    <a:pt x="15716" y="20908"/>
                  </a:cubicBezTo>
                  <a:cubicBezTo>
                    <a:pt x="15730" y="20875"/>
                    <a:pt x="15769" y="20759"/>
                    <a:pt x="15773" y="20754"/>
                  </a:cubicBezTo>
                  <a:cubicBezTo>
                    <a:pt x="15823" y="20677"/>
                    <a:pt x="15874" y="20716"/>
                    <a:pt x="15888" y="20613"/>
                  </a:cubicBezTo>
                  <a:cubicBezTo>
                    <a:pt x="15901" y="20514"/>
                    <a:pt x="15809" y="20414"/>
                    <a:pt x="15911" y="20340"/>
                  </a:cubicBezTo>
                  <a:cubicBezTo>
                    <a:pt x="15902" y="20396"/>
                    <a:pt x="15893" y="20508"/>
                    <a:pt x="15922" y="20561"/>
                  </a:cubicBezTo>
                  <a:cubicBezTo>
                    <a:pt x="15969" y="20647"/>
                    <a:pt x="15940" y="20521"/>
                    <a:pt x="16002" y="20494"/>
                  </a:cubicBezTo>
                  <a:cubicBezTo>
                    <a:pt x="16070" y="20465"/>
                    <a:pt x="16102" y="20223"/>
                    <a:pt x="16166" y="20297"/>
                  </a:cubicBezTo>
                  <a:cubicBezTo>
                    <a:pt x="16168" y="20247"/>
                    <a:pt x="16288" y="20106"/>
                    <a:pt x="16281" y="20106"/>
                  </a:cubicBezTo>
                  <a:cubicBezTo>
                    <a:pt x="16327" y="20110"/>
                    <a:pt x="16305" y="20223"/>
                    <a:pt x="16361" y="20149"/>
                  </a:cubicBezTo>
                  <a:cubicBezTo>
                    <a:pt x="16391" y="20109"/>
                    <a:pt x="16437" y="20130"/>
                    <a:pt x="16471" y="20102"/>
                  </a:cubicBezTo>
                  <a:cubicBezTo>
                    <a:pt x="16497" y="20081"/>
                    <a:pt x="16448" y="20037"/>
                    <a:pt x="16489" y="20019"/>
                  </a:cubicBezTo>
                  <a:cubicBezTo>
                    <a:pt x="16570" y="19983"/>
                    <a:pt x="16574" y="20054"/>
                    <a:pt x="16633" y="19966"/>
                  </a:cubicBezTo>
                  <a:cubicBezTo>
                    <a:pt x="16651" y="19940"/>
                    <a:pt x="16638" y="19887"/>
                    <a:pt x="16653" y="19861"/>
                  </a:cubicBezTo>
                  <a:cubicBezTo>
                    <a:pt x="16677" y="19821"/>
                    <a:pt x="16713" y="19824"/>
                    <a:pt x="16744" y="19796"/>
                  </a:cubicBezTo>
                  <a:cubicBezTo>
                    <a:pt x="16769" y="19774"/>
                    <a:pt x="16829" y="19671"/>
                    <a:pt x="16846" y="19668"/>
                  </a:cubicBezTo>
                  <a:cubicBezTo>
                    <a:pt x="16863" y="19664"/>
                    <a:pt x="16863" y="19762"/>
                    <a:pt x="16897" y="19753"/>
                  </a:cubicBezTo>
                  <a:cubicBezTo>
                    <a:pt x="16932" y="19744"/>
                    <a:pt x="16931" y="19701"/>
                    <a:pt x="16952" y="19675"/>
                  </a:cubicBezTo>
                  <a:cubicBezTo>
                    <a:pt x="16988" y="19630"/>
                    <a:pt x="17033" y="19615"/>
                    <a:pt x="17001" y="19537"/>
                  </a:cubicBezTo>
                  <a:cubicBezTo>
                    <a:pt x="17088" y="19692"/>
                    <a:pt x="17173" y="19442"/>
                    <a:pt x="17274" y="19412"/>
                  </a:cubicBezTo>
                  <a:cubicBezTo>
                    <a:pt x="17323" y="19398"/>
                    <a:pt x="17448" y="19348"/>
                    <a:pt x="17457" y="19250"/>
                  </a:cubicBezTo>
                  <a:cubicBezTo>
                    <a:pt x="17464" y="19155"/>
                    <a:pt x="17398" y="19216"/>
                    <a:pt x="17361" y="19133"/>
                  </a:cubicBezTo>
                  <a:cubicBezTo>
                    <a:pt x="17409" y="19114"/>
                    <a:pt x="17458" y="19129"/>
                    <a:pt x="17504" y="19105"/>
                  </a:cubicBezTo>
                  <a:cubicBezTo>
                    <a:pt x="17491" y="19101"/>
                    <a:pt x="17445" y="19081"/>
                    <a:pt x="17426" y="19081"/>
                  </a:cubicBezTo>
                  <a:cubicBezTo>
                    <a:pt x="17505" y="18994"/>
                    <a:pt x="17635" y="18923"/>
                    <a:pt x="17704" y="18823"/>
                  </a:cubicBezTo>
                  <a:cubicBezTo>
                    <a:pt x="17806" y="18676"/>
                    <a:pt x="17672" y="18603"/>
                    <a:pt x="17639" y="18481"/>
                  </a:cubicBezTo>
                  <a:cubicBezTo>
                    <a:pt x="17701" y="18544"/>
                    <a:pt x="17735" y="18676"/>
                    <a:pt x="17799" y="18650"/>
                  </a:cubicBezTo>
                  <a:cubicBezTo>
                    <a:pt x="17840" y="18633"/>
                    <a:pt x="17800" y="18574"/>
                    <a:pt x="17811" y="18549"/>
                  </a:cubicBezTo>
                  <a:cubicBezTo>
                    <a:pt x="17826" y="18513"/>
                    <a:pt x="17846" y="18569"/>
                    <a:pt x="17860" y="18532"/>
                  </a:cubicBezTo>
                  <a:cubicBezTo>
                    <a:pt x="17848" y="18536"/>
                    <a:pt x="17831" y="18379"/>
                    <a:pt x="17839" y="18404"/>
                  </a:cubicBezTo>
                  <a:cubicBezTo>
                    <a:pt x="17830" y="18376"/>
                    <a:pt x="17803" y="18337"/>
                    <a:pt x="17794" y="18317"/>
                  </a:cubicBezTo>
                  <a:cubicBezTo>
                    <a:pt x="17764" y="18252"/>
                    <a:pt x="17745" y="18210"/>
                    <a:pt x="17693" y="18154"/>
                  </a:cubicBezTo>
                  <a:cubicBezTo>
                    <a:pt x="17743" y="18183"/>
                    <a:pt x="17846" y="18319"/>
                    <a:pt x="17827" y="18163"/>
                  </a:cubicBezTo>
                  <a:cubicBezTo>
                    <a:pt x="17848" y="18257"/>
                    <a:pt x="17856" y="18423"/>
                    <a:pt x="17904" y="18260"/>
                  </a:cubicBezTo>
                  <a:cubicBezTo>
                    <a:pt x="17915" y="18220"/>
                    <a:pt x="17896" y="18175"/>
                    <a:pt x="17905" y="18136"/>
                  </a:cubicBezTo>
                  <a:cubicBezTo>
                    <a:pt x="17916" y="18091"/>
                    <a:pt x="17947" y="18076"/>
                    <a:pt x="17959" y="18036"/>
                  </a:cubicBezTo>
                  <a:cubicBezTo>
                    <a:pt x="17996" y="17910"/>
                    <a:pt x="17960" y="17883"/>
                    <a:pt x="17936" y="17765"/>
                  </a:cubicBezTo>
                  <a:cubicBezTo>
                    <a:pt x="17924" y="17701"/>
                    <a:pt x="17943" y="17582"/>
                    <a:pt x="17898" y="17542"/>
                  </a:cubicBezTo>
                  <a:cubicBezTo>
                    <a:pt x="17968" y="17533"/>
                    <a:pt x="17965" y="17752"/>
                    <a:pt x="17989" y="17828"/>
                  </a:cubicBezTo>
                  <a:cubicBezTo>
                    <a:pt x="18008" y="17888"/>
                    <a:pt x="18037" y="17925"/>
                    <a:pt x="18045" y="18003"/>
                  </a:cubicBezTo>
                  <a:cubicBezTo>
                    <a:pt x="18049" y="18037"/>
                    <a:pt x="18038" y="18139"/>
                    <a:pt x="18044" y="18163"/>
                  </a:cubicBezTo>
                  <a:cubicBezTo>
                    <a:pt x="18135" y="18479"/>
                    <a:pt x="18227" y="18009"/>
                    <a:pt x="18287" y="17935"/>
                  </a:cubicBezTo>
                  <a:cubicBezTo>
                    <a:pt x="18271" y="18070"/>
                    <a:pt x="18211" y="18248"/>
                    <a:pt x="18167" y="18371"/>
                  </a:cubicBezTo>
                  <a:cubicBezTo>
                    <a:pt x="18133" y="18464"/>
                    <a:pt x="18043" y="18607"/>
                    <a:pt x="18024" y="18712"/>
                  </a:cubicBezTo>
                  <a:cubicBezTo>
                    <a:pt x="18009" y="18793"/>
                    <a:pt x="18032" y="18857"/>
                    <a:pt x="18095" y="18787"/>
                  </a:cubicBezTo>
                  <a:cubicBezTo>
                    <a:pt x="18110" y="18770"/>
                    <a:pt x="18147" y="18645"/>
                    <a:pt x="18157" y="18616"/>
                  </a:cubicBezTo>
                  <a:cubicBezTo>
                    <a:pt x="18202" y="18483"/>
                    <a:pt x="18248" y="18358"/>
                    <a:pt x="18279" y="18232"/>
                  </a:cubicBezTo>
                  <a:cubicBezTo>
                    <a:pt x="18287" y="18356"/>
                    <a:pt x="18244" y="18551"/>
                    <a:pt x="18274" y="18658"/>
                  </a:cubicBezTo>
                  <a:cubicBezTo>
                    <a:pt x="18276" y="18647"/>
                    <a:pt x="18290" y="18558"/>
                    <a:pt x="18294" y="18550"/>
                  </a:cubicBezTo>
                  <a:cubicBezTo>
                    <a:pt x="18303" y="18537"/>
                    <a:pt x="18347" y="18540"/>
                    <a:pt x="18348" y="18530"/>
                  </a:cubicBezTo>
                  <a:cubicBezTo>
                    <a:pt x="18360" y="18457"/>
                    <a:pt x="18322" y="18404"/>
                    <a:pt x="18318" y="18325"/>
                  </a:cubicBezTo>
                  <a:cubicBezTo>
                    <a:pt x="18351" y="18359"/>
                    <a:pt x="18375" y="18408"/>
                    <a:pt x="18410" y="18438"/>
                  </a:cubicBezTo>
                  <a:cubicBezTo>
                    <a:pt x="18411" y="18358"/>
                    <a:pt x="18422" y="18294"/>
                    <a:pt x="18452" y="18232"/>
                  </a:cubicBezTo>
                  <a:cubicBezTo>
                    <a:pt x="18423" y="18292"/>
                    <a:pt x="18431" y="18096"/>
                    <a:pt x="18472" y="18187"/>
                  </a:cubicBezTo>
                  <a:cubicBezTo>
                    <a:pt x="18500" y="18248"/>
                    <a:pt x="18493" y="18335"/>
                    <a:pt x="18506" y="18405"/>
                  </a:cubicBezTo>
                  <a:cubicBezTo>
                    <a:pt x="18530" y="18300"/>
                    <a:pt x="18567" y="18319"/>
                    <a:pt x="18601" y="18407"/>
                  </a:cubicBezTo>
                  <a:cubicBezTo>
                    <a:pt x="18587" y="18240"/>
                    <a:pt x="18685" y="18175"/>
                    <a:pt x="18660" y="18029"/>
                  </a:cubicBezTo>
                  <a:cubicBezTo>
                    <a:pt x="18651" y="17974"/>
                    <a:pt x="18568" y="17899"/>
                    <a:pt x="18568" y="17899"/>
                  </a:cubicBezTo>
                  <a:cubicBezTo>
                    <a:pt x="18534" y="17850"/>
                    <a:pt x="18514" y="17742"/>
                    <a:pt x="18497" y="17876"/>
                  </a:cubicBezTo>
                  <a:cubicBezTo>
                    <a:pt x="18478" y="17838"/>
                    <a:pt x="18448" y="17739"/>
                    <a:pt x="18447" y="17694"/>
                  </a:cubicBezTo>
                  <a:cubicBezTo>
                    <a:pt x="18447" y="17632"/>
                    <a:pt x="18501" y="17674"/>
                    <a:pt x="18482" y="17573"/>
                  </a:cubicBezTo>
                  <a:cubicBezTo>
                    <a:pt x="18582" y="17689"/>
                    <a:pt x="18524" y="17696"/>
                    <a:pt x="18617" y="17618"/>
                  </a:cubicBezTo>
                  <a:cubicBezTo>
                    <a:pt x="18662" y="17581"/>
                    <a:pt x="18742" y="17575"/>
                    <a:pt x="18744" y="17480"/>
                  </a:cubicBezTo>
                  <a:cubicBezTo>
                    <a:pt x="18753" y="17512"/>
                    <a:pt x="18791" y="17649"/>
                    <a:pt x="18831" y="17603"/>
                  </a:cubicBezTo>
                  <a:cubicBezTo>
                    <a:pt x="18850" y="17582"/>
                    <a:pt x="18812" y="17449"/>
                    <a:pt x="18805" y="17411"/>
                  </a:cubicBezTo>
                  <a:cubicBezTo>
                    <a:pt x="18786" y="17295"/>
                    <a:pt x="18789" y="17179"/>
                    <a:pt x="18782" y="17057"/>
                  </a:cubicBezTo>
                  <a:cubicBezTo>
                    <a:pt x="18819" y="17202"/>
                    <a:pt x="18810" y="17362"/>
                    <a:pt x="18838" y="17508"/>
                  </a:cubicBezTo>
                  <a:cubicBezTo>
                    <a:pt x="18849" y="17566"/>
                    <a:pt x="18911" y="17471"/>
                    <a:pt x="18929" y="17437"/>
                  </a:cubicBezTo>
                  <a:cubicBezTo>
                    <a:pt x="18991" y="17321"/>
                    <a:pt x="19009" y="17096"/>
                    <a:pt x="19087" y="17023"/>
                  </a:cubicBezTo>
                  <a:cubicBezTo>
                    <a:pt x="19088" y="17087"/>
                    <a:pt x="19055" y="17142"/>
                    <a:pt x="19049" y="17210"/>
                  </a:cubicBezTo>
                  <a:cubicBezTo>
                    <a:pt x="19045" y="17259"/>
                    <a:pt x="19065" y="17343"/>
                    <a:pt x="19065" y="17333"/>
                  </a:cubicBezTo>
                  <a:cubicBezTo>
                    <a:pt x="19067" y="17409"/>
                    <a:pt x="19037" y="17575"/>
                    <a:pt x="19001" y="17671"/>
                  </a:cubicBezTo>
                  <a:cubicBezTo>
                    <a:pt x="18962" y="17772"/>
                    <a:pt x="18898" y="17820"/>
                    <a:pt x="18899" y="17950"/>
                  </a:cubicBezTo>
                  <a:cubicBezTo>
                    <a:pt x="18900" y="18124"/>
                    <a:pt x="18959" y="18203"/>
                    <a:pt x="18980" y="18347"/>
                  </a:cubicBezTo>
                  <a:cubicBezTo>
                    <a:pt x="19004" y="18506"/>
                    <a:pt x="18926" y="18878"/>
                    <a:pt x="18864" y="19008"/>
                  </a:cubicBezTo>
                  <a:cubicBezTo>
                    <a:pt x="18827" y="19083"/>
                    <a:pt x="18744" y="19109"/>
                    <a:pt x="18727" y="19198"/>
                  </a:cubicBezTo>
                  <a:cubicBezTo>
                    <a:pt x="18684" y="19438"/>
                    <a:pt x="18619" y="19619"/>
                    <a:pt x="18820" y="19720"/>
                  </a:cubicBezTo>
                  <a:cubicBezTo>
                    <a:pt x="18883" y="19686"/>
                    <a:pt x="18950" y="19633"/>
                    <a:pt x="19007" y="19608"/>
                  </a:cubicBezTo>
                  <a:cubicBezTo>
                    <a:pt x="19016" y="19535"/>
                    <a:pt x="19057" y="19547"/>
                    <a:pt x="19086" y="19476"/>
                  </a:cubicBezTo>
                  <a:cubicBezTo>
                    <a:pt x="19110" y="19416"/>
                    <a:pt x="19064" y="19323"/>
                    <a:pt x="19129" y="19342"/>
                  </a:cubicBezTo>
                  <a:cubicBezTo>
                    <a:pt x="19123" y="19319"/>
                    <a:pt x="19123" y="19264"/>
                    <a:pt x="19114" y="19237"/>
                  </a:cubicBezTo>
                  <a:cubicBezTo>
                    <a:pt x="19166" y="19237"/>
                    <a:pt x="19126" y="19252"/>
                    <a:pt x="19164" y="19210"/>
                  </a:cubicBezTo>
                  <a:cubicBezTo>
                    <a:pt x="19259" y="19363"/>
                    <a:pt x="19315" y="19191"/>
                    <a:pt x="19342" y="19082"/>
                  </a:cubicBezTo>
                  <a:cubicBezTo>
                    <a:pt x="19383" y="18915"/>
                    <a:pt x="19355" y="18843"/>
                    <a:pt x="19313" y="18669"/>
                  </a:cubicBezTo>
                  <a:cubicBezTo>
                    <a:pt x="19327" y="18691"/>
                    <a:pt x="19342" y="18705"/>
                    <a:pt x="19357" y="18724"/>
                  </a:cubicBezTo>
                  <a:cubicBezTo>
                    <a:pt x="19327" y="18590"/>
                    <a:pt x="19413" y="18475"/>
                    <a:pt x="19272" y="18392"/>
                  </a:cubicBezTo>
                  <a:cubicBezTo>
                    <a:pt x="19253" y="18380"/>
                    <a:pt x="19179" y="18346"/>
                    <a:pt x="19237" y="18285"/>
                  </a:cubicBezTo>
                  <a:cubicBezTo>
                    <a:pt x="19265" y="18256"/>
                    <a:pt x="19324" y="18410"/>
                    <a:pt x="19322" y="18275"/>
                  </a:cubicBezTo>
                  <a:cubicBezTo>
                    <a:pt x="19321" y="18226"/>
                    <a:pt x="19272" y="18249"/>
                    <a:pt x="19264" y="18218"/>
                  </a:cubicBezTo>
                  <a:cubicBezTo>
                    <a:pt x="19255" y="18182"/>
                    <a:pt x="19256" y="18148"/>
                    <a:pt x="19251" y="18110"/>
                  </a:cubicBezTo>
                  <a:cubicBezTo>
                    <a:pt x="19244" y="18048"/>
                    <a:pt x="19259" y="18020"/>
                    <a:pt x="19259" y="17963"/>
                  </a:cubicBezTo>
                  <a:cubicBezTo>
                    <a:pt x="19261" y="17855"/>
                    <a:pt x="19247" y="17735"/>
                    <a:pt x="19239" y="17622"/>
                  </a:cubicBezTo>
                  <a:cubicBezTo>
                    <a:pt x="19248" y="17647"/>
                    <a:pt x="19263" y="17673"/>
                    <a:pt x="19272" y="17697"/>
                  </a:cubicBezTo>
                  <a:cubicBezTo>
                    <a:pt x="19269" y="17670"/>
                    <a:pt x="19274" y="17614"/>
                    <a:pt x="19269" y="17581"/>
                  </a:cubicBezTo>
                  <a:cubicBezTo>
                    <a:pt x="19276" y="17610"/>
                    <a:pt x="19299" y="17649"/>
                    <a:pt x="19304" y="17688"/>
                  </a:cubicBezTo>
                  <a:cubicBezTo>
                    <a:pt x="19354" y="17640"/>
                    <a:pt x="19432" y="17634"/>
                    <a:pt x="19395" y="17515"/>
                  </a:cubicBezTo>
                  <a:cubicBezTo>
                    <a:pt x="19401" y="17520"/>
                    <a:pt x="19413" y="17529"/>
                    <a:pt x="19421" y="17536"/>
                  </a:cubicBezTo>
                  <a:cubicBezTo>
                    <a:pt x="19482" y="17321"/>
                    <a:pt x="19386" y="17088"/>
                    <a:pt x="19409" y="16854"/>
                  </a:cubicBezTo>
                  <a:cubicBezTo>
                    <a:pt x="19467" y="16966"/>
                    <a:pt x="19469" y="17208"/>
                    <a:pt x="19476" y="17351"/>
                  </a:cubicBezTo>
                  <a:cubicBezTo>
                    <a:pt x="19481" y="17441"/>
                    <a:pt x="19463" y="17524"/>
                    <a:pt x="19519" y="17462"/>
                  </a:cubicBezTo>
                  <a:cubicBezTo>
                    <a:pt x="19539" y="17440"/>
                    <a:pt x="19563" y="17339"/>
                    <a:pt x="19560" y="17301"/>
                  </a:cubicBezTo>
                  <a:cubicBezTo>
                    <a:pt x="19522" y="17303"/>
                    <a:pt x="19528" y="17220"/>
                    <a:pt x="19532" y="17159"/>
                  </a:cubicBezTo>
                  <a:cubicBezTo>
                    <a:pt x="19532" y="17165"/>
                    <a:pt x="19588" y="17213"/>
                    <a:pt x="19573" y="17164"/>
                  </a:cubicBezTo>
                  <a:cubicBezTo>
                    <a:pt x="19561" y="17123"/>
                    <a:pt x="19530" y="17124"/>
                    <a:pt x="19520" y="17094"/>
                  </a:cubicBezTo>
                  <a:cubicBezTo>
                    <a:pt x="19518" y="17090"/>
                    <a:pt x="19500" y="17081"/>
                    <a:pt x="19490" y="17053"/>
                  </a:cubicBezTo>
                  <a:cubicBezTo>
                    <a:pt x="19483" y="17034"/>
                    <a:pt x="19486" y="16983"/>
                    <a:pt x="19484" y="16961"/>
                  </a:cubicBezTo>
                  <a:cubicBezTo>
                    <a:pt x="19476" y="16898"/>
                    <a:pt x="19470" y="16835"/>
                    <a:pt x="19461" y="16772"/>
                  </a:cubicBezTo>
                  <a:cubicBezTo>
                    <a:pt x="19463" y="16770"/>
                    <a:pt x="19429" y="16479"/>
                    <a:pt x="19419" y="16403"/>
                  </a:cubicBezTo>
                  <a:cubicBezTo>
                    <a:pt x="19400" y="16256"/>
                    <a:pt x="19362" y="16153"/>
                    <a:pt x="19254" y="16148"/>
                  </a:cubicBezTo>
                  <a:cubicBezTo>
                    <a:pt x="19315" y="16098"/>
                    <a:pt x="19498" y="16173"/>
                    <a:pt x="19431" y="16018"/>
                  </a:cubicBezTo>
                  <a:cubicBezTo>
                    <a:pt x="19479" y="16051"/>
                    <a:pt x="19543" y="16179"/>
                    <a:pt x="19542" y="16035"/>
                  </a:cubicBezTo>
                  <a:cubicBezTo>
                    <a:pt x="19575" y="16117"/>
                    <a:pt x="19634" y="16134"/>
                    <a:pt x="19680" y="16173"/>
                  </a:cubicBezTo>
                  <a:cubicBezTo>
                    <a:pt x="19716" y="16204"/>
                    <a:pt x="19748" y="16239"/>
                    <a:pt x="19777" y="16283"/>
                  </a:cubicBezTo>
                  <a:cubicBezTo>
                    <a:pt x="19806" y="16328"/>
                    <a:pt x="19841" y="16306"/>
                    <a:pt x="19843" y="16308"/>
                  </a:cubicBezTo>
                  <a:cubicBezTo>
                    <a:pt x="19902" y="16376"/>
                    <a:pt x="19924" y="16474"/>
                    <a:pt x="19971" y="16551"/>
                  </a:cubicBezTo>
                  <a:cubicBezTo>
                    <a:pt x="19988" y="16578"/>
                    <a:pt x="19966" y="16608"/>
                    <a:pt x="19994" y="16629"/>
                  </a:cubicBezTo>
                  <a:cubicBezTo>
                    <a:pt x="20026" y="16653"/>
                    <a:pt x="20039" y="16598"/>
                    <a:pt x="20044" y="16599"/>
                  </a:cubicBezTo>
                  <a:cubicBezTo>
                    <a:pt x="20055" y="16600"/>
                    <a:pt x="20087" y="16569"/>
                    <a:pt x="20104" y="16566"/>
                  </a:cubicBezTo>
                  <a:cubicBezTo>
                    <a:pt x="20088" y="16620"/>
                    <a:pt x="20034" y="16836"/>
                    <a:pt x="20111" y="16769"/>
                  </a:cubicBezTo>
                  <a:cubicBezTo>
                    <a:pt x="20119" y="16845"/>
                    <a:pt x="20144" y="16968"/>
                    <a:pt x="20065" y="16959"/>
                  </a:cubicBezTo>
                  <a:cubicBezTo>
                    <a:pt x="20081" y="17056"/>
                    <a:pt x="20149" y="17036"/>
                    <a:pt x="20194" y="17060"/>
                  </a:cubicBezTo>
                  <a:cubicBezTo>
                    <a:pt x="20077" y="17118"/>
                    <a:pt x="20221" y="17541"/>
                    <a:pt x="20247" y="17681"/>
                  </a:cubicBezTo>
                  <a:cubicBezTo>
                    <a:pt x="20275" y="17827"/>
                    <a:pt x="20352" y="18214"/>
                    <a:pt x="20496" y="18022"/>
                  </a:cubicBezTo>
                  <a:cubicBezTo>
                    <a:pt x="20568" y="17926"/>
                    <a:pt x="20570" y="17631"/>
                    <a:pt x="20564" y="17489"/>
                  </a:cubicBezTo>
                  <a:cubicBezTo>
                    <a:pt x="20560" y="17389"/>
                    <a:pt x="20561" y="17294"/>
                    <a:pt x="20563" y="17207"/>
                  </a:cubicBezTo>
                  <a:cubicBezTo>
                    <a:pt x="20566" y="17100"/>
                    <a:pt x="20532" y="17001"/>
                    <a:pt x="20534" y="16903"/>
                  </a:cubicBezTo>
                  <a:cubicBezTo>
                    <a:pt x="20542" y="16930"/>
                    <a:pt x="20562" y="16958"/>
                    <a:pt x="20572" y="16983"/>
                  </a:cubicBezTo>
                  <a:cubicBezTo>
                    <a:pt x="20601" y="16907"/>
                    <a:pt x="20558" y="16811"/>
                    <a:pt x="20548" y="16726"/>
                  </a:cubicBezTo>
                  <a:cubicBezTo>
                    <a:pt x="20562" y="16807"/>
                    <a:pt x="20596" y="16845"/>
                    <a:pt x="20611" y="16752"/>
                  </a:cubicBezTo>
                  <a:cubicBezTo>
                    <a:pt x="20702" y="16796"/>
                    <a:pt x="20643" y="17076"/>
                    <a:pt x="20699" y="17197"/>
                  </a:cubicBezTo>
                  <a:cubicBezTo>
                    <a:pt x="20726" y="17159"/>
                    <a:pt x="20747" y="17195"/>
                    <a:pt x="20766" y="17241"/>
                  </a:cubicBezTo>
                  <a:cubicBezTo>
                    <a:pt x="20765" y="17221"/>
                    <a:pt x="20772" y="17189"/>
                    <a:pt x="20770" y="17164"/>
                  </a:cubicBezTo>
                  <a:cubicBezTo>
                    <a:pt x="20821" y="17180"/>
                    <a:pt x="20801" y="17180"/>
                    <a:pt x="20831" y="17145"/>
                  </a:cubicBezTo>
                  <a:cubicBezTo>
                    <a:pt x="20870" y="17245"/>
                    <a:pt x="20790" y="17409"/>
                    <a:pt x="20865" y="17525"/>
                  </a:cubicBezTo>
                  <a:cubicBezTo>
                    <a:pt x="20925" y="17615"/>
                    <a:pt x="20890" y="17443"/>
                    <a:pt x="20891" y="17397"/>
                  </a:cubicBezTo>
                  <a:cubicBezTo>
                    <a:pt x="20892" y="17325"/>
                    <a:pt x="20876" y="17280"/>
                    <a:pt x="20918" y="17223"/>
                  </a:cubicBezTo>
                  <a:cubicBezTo>
                    <a:pt x="20894" y="17397"/>
                    <a:pt x="20927" y="17677"/>
                    <a:pt x="21033" y="17782"/>
                  </a:cubicBezTo>
                  <a:cubicBezTo>
                    <a:pt x="21222" y="17968"/>
                    <a:pt x="21174" y="17532"/>
                    <a:pt x="21192" y="17388"/>
                  </a:cubicBezTo>
                  <a:cubicBezTo>
                    <a:pt x="21198" y="17419"/>
                    <a:pt x="21214" y="17458"/>
                    <a:pt x="21219" y="17492"/>
                  </a:cubicBezTo>
                  <a:cubicBezTo>
                    <a:pt x="21212" y="17422"/>
                    <a:pt x="21246" y="17427"/>
                    <a:pt x="21247" y="17422"/>
                  </a:cubicBezTo>
                  <a:cubicBezTo>
                    <a:pt x="21232" y="17463"/>
                    <a:pt x="21299" y="17329"/>
                    <a:pt x="21268" y="17350"/>
                  </a:cubicBezTo>
                  <a:cubicBezTo>
                    <a:pt x="21309" y="17323"/>
                    <a:pt x="21241" y="17320"/>
                    <a:pt x="21308" y="17333"/>
                  </a:cubicBezTo>
                  <a:cubicBezTo>
                    <a:pt x="21330" y="17337"/>
                    <a:pt x="21346" y="17380"/>
                    <a:pt x="21368" y="17392"/>
                  </a:cubicBezTo>
                  <a:cubicBezTo>
                    <a:pt x="21530" y="17479"/>
                    <a:pt x="21509" y="17244"/>
                    <a:pt x="21495" y="17089"/>
                  </a:cubicBezTo>
                  <a:close/>
                  <a:moveTo>
                    <a:pt x="13787" y="9959"/>
                  </a:moveTo>
                  <a:cubicBezTo>
                    <a:pt x="13819" y="9953"/>
                    <a:pt x="13842" y="9932"/>
                    <a:pt x="13862" y="9899"/>
                  </a:cubicBezTo>
                  <a:cubicBezTo>
                    <a:pt x="13934" y="9778"/>
                    <a:pt x="13852" y="9789"/>
                    <a:pt x="13856" y="9702"/>
                  </a:cubicBezTo>
                  <a:cubicBezTo>
                    <a:pt x="13862" y="9577"/>
                    <a:pt x="13951" y="9656"/>
                    <a:pt x="13863" y="9508"/>
                  </a:cubicBezTo>
                  <a:cubicBezTo>
                    <a:pt x="13820" y="9436"/>
                    <a:pt x="13809" y="9413"/>
                    <a:pt x="13743" y="9434"/>
                  </a:cubicBezTo>
                  <a:cubicBezTo>
                    <a:pt x="13776" y="9377"/>
                    <a:pt x="13816" y="9330"/>
                    <a:pt x="13855" y="9281"/>
                  </a:cubicBezTo>
                  <a:cubicBezTo>
                    <a:pt x="13818" y="9281"/>
                    <a:pt x="13745" y="9331"/>
                    <a:pt x="13729" y="9331"/>
                  </a:cubicBezTo>
                  <a:cubicBezTo>
                    <a:pt x="13724" y="9331"/>
                    <a:pt x="13708" y="9420"/>
                    <a:pt x="13698" y="9359"/>
                  </a:cubicBezTo>
                  <a:cubicBezTo>
                    <a:pt x="13697" y="9350"/>
                    <a:pt x="13709" y="9282"/>
                    <a:pt x="13714" y="9291"/>
                  </a:cubicBezTo>
                  <a:cubicBezTo>
                    <a:pt x="13709" y="9281"/>
                    <a:pt x="13706" y="9273"/>
                    <a:pt x="13704" y="9267"/>
                  </a:cubicBezTo>
                  <a:cubicBezTo>
                    <a:pt x="13700" y="9269"/>
                    <a:pt x="13696" y="9270"/>
                    <a:pt x="13690" y="9272"/>
                  </a:cubicBezTo>
                  <a:cubicBezTo>
                    <a:pt x="13664" y="9276"/>
                    <a:pt x="13624" y="9306"/>
                    <a:pt x="13595" y="9313"/>
                  </a:cubicBezTo>
                  <a:cubicBezTo>
                    <a:pt x="13594" y="9299"/>
                    <a:pt x="13590" y="9276"/>
                    <a:pt x="13590" y="9260"/>
                  </a:cubicBezTo>
                  <a:cubicBezTo>
                    <a:pt x="13517" y="9307"/>
                    <a:pt x="13464" y="9291"/>
                    <a:pt x="13392" y="9310"/>
                  </a:cubicBezTo>
                  <a:cubicBezTo>
                    <a:pt x="13328" y="9328"/>
                    <a:pt x="13271" y="9412"/>
                    <a:pt x="13206" y="9365"/>
                  </a:cubicBezTo>
                  <a:cubicBezTo>
                    <a:pt x="13271" y="9298"/>
                    <a:pt x="13378" y="9285"/>
                    <a:pt x="13456" y="9258"/>
                  </a:cubicBezTo>
                  <a:cubicBezTo>
                    <a:pt x="13502" y="9242"/>
                    <a:pt x="13680" y="9207"/>
                    <a:pt x="13576" y="9128"/>
                  </a:cubicBezTo>
                  <a:cubicBezTo>
                    <a:pt x="13519" y="9085"/>
                    <a:pt x="13633" y="9071"/>
                    <a:pt x="13641" y="9063"/>
                  </a:cubicBezTo>
                  <a:cubicBezTo>
                    <a:pt x="13682" y="9013"/>
                    <a:pt x="13689" y="9089"/>
                    <a:pt x="13682" y="8994"/>
                  </a:cubicBezTo>
                  <a:cubicBezTo>
                    <a:pt x="13683" y="9008"/>
                    <a:pt x="13608" y="8883"/>
                    <a:pt x="13622" y="8887"/>
                  </a:cubicBezTo>
                  <a:cubicBezTo>
                    <a:pt x="13584" y="8877"/>
                    <a:pt x="13559" y="8957"/>
                    <a:pt x="13523" y="8954"/>
                  </a:cubicBezTo>
                  <a:cubicBezTo>
                    <a:pt x="13493" y="8951"/>
                    <a:pt x="13537" y="8839"/>
                    <a:pt x="13469" y="8874"/>
                  </a:cubicBezTo>
                  <a:cubicBezTo>
                    <a:pt x="13449" y="8885"/>
                    <a:pt x="13418" y="8960"/>
                    <a:pt x="13407" y="8924"/>
                  </a:cubicBezTo>
                  <a:cubicBezTo>
                    <a:pt x="13397" y="8887"/>
                    <a:pt x="13316" y="9032"/>
                    <a:pt x="13284" y="9048"/>
                  </a:cubicBezTo>
                  <a:cubicBezTo>
                    <a:pt x="13215" y="9085"/>
                    <a:pt x="13187" y="9052"/>
                    <a:pt x="13131" y="9122"/>
                  </a:cubicBezTo>
                  <a:cubicBezTo>
                    <a:pt x="13069" y="9199"/>
                    <a:pt x="13053" y="9207"/>
                    <a:pt x="12978" y="9249"/>
                  </a:cubicBezTo>
                  <a:cubicBezTo>
                    <a:pt x="12923" y="9281"/>
                    <a:pt x="12872" y="9364"/>
                    <a:pt x="12809" y="9325"/>
                  </a:cubicBezTo>
                  <a:cubicBezTo>
                    <a:pt x="12877" y="9279"/>
                    <a:pt x="12948" y="9253"/>
                    <a:pt x="13016" y="9211"/>
                  </a:cubicBezTo>
                  <a:cubicBezTo>
                    <a:pt x="13094" y="9164"/>
                    <a:pt x="13096" y="9076"/>
                    <a:pt x="13157" y="9001"/>
                  </a:cubicBezTo>
                  <a:cubicBezTo>
                    <a:pt x="13182" y="8972"/>
                    <a:pt x="13219" y="9014"/>
                    <a:pt x="13237" y="8966"/>
                  </a:cubicBezTo>
                  <a:cubicBezTo>
                    <a:pt x="13256" y="8917"/>
                    <a:pt x="13173" y="8984"/>
                    <a:pt x="13175" y="8943"/>
                  </a:cubicBezTo>
                  <a:cubicBezTo>
                    <a:pt x="13176" y="8897"/>
                    <a:pt x="13221" y="8816"/>
                    <a:pt x="13159" y="8831"/>
                  </a:cubicBezTo>
                  <a:cubicBezTo>
                    <a:pt x="13119" y="8842"/>
                    <a:pt x="13083" y="8856"/>
                    <a:pt x="13054" y="8891"/>
                  </a:cubicBezTo>
                  <a:cubicBezTo>
                    <a:pt x="13067" y="8820"/>
                    <a:pt x="13137" y="8786"/>
                    <a:pt x="13183" y="8766"/>
                  </a:cubicBezTo>
                  <a:cubicBezTo>
                    <a:pt x="13216" y="8752"/>
                    <a:pt x="13246" y="8756"/>
                    <a:pt x="13276" y="8740"/>
                  </a:cubicBezTo>
                  <a:cubicBezTo>
                    <a:pt x="13303" y="8725"/>
                    <a:pt x="13311" y="8696"/>
                    <a:pt x="13348" y="8710"/>
                  </a:cubicBezTo>
                  <a:cubicBezTo>
                    <a:pt x="13364" y="8563"/>
                    <a:pt x="13315" y="8522"/>
                    <a:pt x="13228" y="8592"/>
                  </a:cubicBezTo>
                  <a:cubicBezTo>
                    <a:pt x="13140" y="8663"/>
                    <a:pt x="13152" y="8680"/>
                    <a:pt x="13038" y="8670"/>
                  </a:cubicBezTo>
                  <a:cubicBezTo>
                    <a:pt x="12943" y="8662"/>
                    <a:pt x="12801" y="8661"/>
                    <a:pt x="12939" y="8565"/>
                  </a:cubicBezTo>
                  <a:cubicBezTo>
                    <a:pt x="12991" y="8528"/>
                    <a:pt x="13037" y="8570"/>
                    <a:pt x="13055" y="8456"/>
                  </a:cubicBezTo>
                  <a:cubicBezTo>
                    <a:pt x="12937" y="8620"/>
                    <a:pt x="13096" y="8308"/>
                    <a:pt x="13097" y="8291"/>
                  </a:cubicBezTo>
                  <a:cubicBezTo>
                    <a:pt x="13100" y="8238"/>
                    <a:pt x="13084" y="8195"/>
                    <a:pt x="13037" y="8161"/>
                  </a:cubicBezTo>
                  <a:cubicBezTo>
                    <a:pt x="13007" y="8140"/>
                    <a:pt x="12928" y="8087"/>
                    <a:pt x="12914" y="8086"/>
                  </a:cubicBezTo>
                  <a:cubicBezTo>
                    <a:pt x="12874" y="8083"/>
                    <a:pt x="12818" y="8089"/>
                    <a:pt x="12786" y="8129"/>
                  </a:cubicBezTo>
                  <a:cubicBezTo>
                    <a:pt x="12775" y="8143"/>
                    <a:pt x="12747" y="8221"/>
                    <a:pt x="12749" y="8219"/>
                  </a:cubicBezTo>
                  <a:cubicBezTo>
                    <a:pt x="12745" y="8223"/>
                    <a:pt x="12761" y="8263"/>
                    <a:pt x="12751" y="8267"/>
                  </a:cubicBezTo>
                  <a:cubicBezTo>
                    <a:pt x="12719" y="8280"/>
                    <a:pt x="12729" y="8222"/>
                    <a:pt x="12721" y="8221"/>
                  </a:cubicBezTo>
                  <a:cubicBezTo>
                    <a:pt x="12714" y="8221"/>
                    <a:pt x="12696" y="8158"/>
                    <a:pt x="12650" y="8203"/>
                  </a:cubicBezTo>
                  <a:cubicBezTo>
                    <a:pt x="12689" y="8115"/>
                    <a:pt x="12968" y="7926"/>
                    <a:pt x="12767" y="7823"/>
                  </a:cubicBezTo>
                  <a:cubicBezTo>
                    <a:pt x="12881" y="7808"/>
                    <a:pt x="12878" y="7558"/>
                    <a:pt x="12741" y="7596"/>
                  </a:cubicBezTo>
                  <a:cubicBezTo>
                    <a:pt x="12758" y="7562"/>
                    <a:pt x="12770" y="7502"/>
                    <a:pt x="12756" y="7454"/>
                  </a:cubicBezTo>
                  <a:cubicBezTo>
                    <a:pt x="12729" y="7362"/>
                    <a:pt x="12724" y="7501"/>
                    <a:pt x="12724" y="7501"/>
                  </a:cubicBezTo>
                  <a:cubicBezTo>
                    <a:pt x="12712" y="7496"/>
                    <a:pt x="12687" y="7519"/>
                    <a:pt x="12669" y="7511"/>
                  </a:cubicBezTo>
                  <a:cubicBezTo>
                    <a:pt x="12668" y="7511"/>
                    <a:pt x="12689" y="7443"/>
                    <a:pt x="12680" y="7438"/>
                  </a:cubicBezTo>
                  <a:cubicBezTo>
                    <a:pt x="12641" y="7417"/>
                    <a:pt x="12624" y="7402"/>
                    <a:pt x="12577" y="7456"/>
                  </a:cubicBezTo>
                  <a:cubicBezTo>
                    <a:pt x="12618" y="7332"/>
                    <a:pt x="12622" y="7311"/>
                    <a:pt x="12551" y="7316"/>
                  </a:cubicBezTo>
                  <a:cubicBezTo>
                    <a:pt x="12520" y="7318"/>
                    <a:pt x="12496" y="7298"/>
                    <a:pt x="12460" y="7327"/>
                  </a:cubicBezTo>
                  <a:cubicBezTo>
                    <a:pt x="12445" y="7339"/>
                    <a:pt x="12454" y="7397"/>
                    <a:pt x="12445" y="7400"/>
                  </a:cubicBezTo>
                  <a:cubicBezTo>
                    <a:pt x="12389" y="7422"/>
                    <a:pt x="12453" y="7411"/>
                    <a:pt x="12415" y="7383"/>
                  </a:cubicBezTo>
                  <a:cubicBezTo>
                    <a:pt x="12406" y="7377"/>
                    <a:pt x="12437" y="7332"/>
                    <a:pt x="12369" y="7317"/>
                  </a:cubicBezTo>
                  <a:cubicBezTo>
                    <a:pt x="12319" y="7307"/>
                    <a:pt x="12291" y="7267"/>
                    <a:pt x="12231" y="7279"/>
                  </a:cubicBezTo>
                  <a:cubicBezTo>
                    <a:pt x="12188" y="7288"/>
                    <a:pt x="12024" y="7343"/>
                    <a:pt x="12087" y="7238"/>
                  </a:cubicBezTo>
                  <a:cubicBezTo>
                    <a:pt x="12113" y="7195"/>
                    <a:pt x="12165" y="7191"/>
                    <a:pt x="12198" y="7179"/>
                  </a:cubicBezTo>
                  <a:cubicBezTo>
                    <a:pt x="12195" y="7181"/>
                    <a:pt x="12308" y="7135"/>
                    <a:pt x="12295" y="7156"/>
                  </a:cubicBezTo>
                  <a:cubicBezTo>
                    <a:pt x="12353" y="7058"/>
                    <a:pt x="12193" y="7070"/>
                    <a:pt x="12159" y="7085"/>
                  </a:cubicBezTo>
                  <a:cubicBezTo>
                    <a:pt x="12095" y="7114"/>
                    <a:pt x="12080" y="7181"/>
                    <a:pt x="12028" y="7227"/>
                  </a:cubicBezTo>
                  <a:cubicBezTo>
                    <a:pt x="11959" y="7288"/>
                    <a:pt x="11939" y="7256"/>
                    <a:pt x="12012" y="7202"/>
                  </a:cubicBezTo>
                  <a:cubicBezTo>
                    <a:pt x="11927" y="7162"/>
                    <a:pt x="11875" y="7312"/>
                    <a:pt x="11802" y="7362"/>
                  </a:cubicBezTo>
                  <a:cubicBezTo>
                    <a:pt x="11737" y="7405"/>
                    <a:pt x="11651" y="7394"/>
                    <a:pt x="11593" y="7439"/>
                  </a:cubicBezTo>
                  <a:cubicBezTo>
                    <a:pt x="11616" y="7389"/>
                    <a:pt x="11665" y="7360"/>
                    <a:pt x="11688" y="7314"/>
                  </a:cubicBezTo>
                  <a:cubicBezTo>
                    <a:pt x="11693" y="7303"/>
                    <a:pt x="11690" y="7237"/>
                    <a:pt x="11701" y="7211"/>
                  </a:cubicBezTo>
                  <a:cubicBezTo>
                    <a:pt x="11711" y="7187"/>
                    <a:pt x="11766" y="7144"/>
                    <a:pt x="11768" y="7128"/>
                  </a:cubicBezTo>
                  <a:cubicBezTo>
                    <a:pt x="11781" y="7027"/>
                    <a:pt x="11705" y="7028"/>
                    <a:pt x="11656" y="7073"/>
                  </a:cubicBezTo>
                  <a:cubicBezTo>
                    <a:pt x="11615" y="7110"/>
                    <a:pt x="11638" y="7163"/>
                    <a:pt x="11590" y="7190"/>
                  </a:cubicBezTo>
                  <a:cubicBezTo>
                    <a:pt x="11599" y="7234"/>
                    <a:pt x="11609" y="7258"/>
                    <a:pt x="11647" y="7278"/>
                  </a:cubicBezTo>
                  <a:cubicBezTo>
                    <a:pt x="11602" y="7318"/>
                    <a:pt x="11532" y="7318"/>
                    <a:pt x="11507" y="7341"/>
                  </a:cubicBezTo>
                  <a:cubicBezTo>
                    <a:pt x="11520" y="7329"/>
                    <a:pt x="11462" y="7422"/>
                    <a:pt x="11446" y="7438"/>
                  </a:cubicBezTo>
                  <a:cubicBezTo>
                    <a:pt x="11438" y="7446"/>
                    <a:pt x="11409" y="7506"/>
                    <a:pt x="11403" y="7516"/>
                  </a:cubicBezTo>
                  <a:cubicBezTo>
                    <a:pt x="11388" y="7538"/>
                    <a:pt x="11369" y="7528"/>
                    <a:pt x="11352" y="7567"/>
                  </a:cubicBezTo>
                  <a:cubicBezTo>
                    <a:pt x="11330" y="7614"/>
                    <a:pt x="11339" y="7664"/>
                    <a:pt x="11341" y="7715"/>
                  </a:cubicBezTo>
                  <a:cubicBezTo>
                    <a:pt x="11342" y="7756"/>
                    <a:pt x="11358" y="7777"/>
                    <a:pt x="11358" y="7817"/>
                  </a:cubicBezTo>
                  <a:cubicBezTo>
                    <a:pt x="11359" y="7855"/>
                    <a:pt x="11332" y="7881"/>
                    <a:pt x="11335" y="7914"/>
                  </a:cubicBezTo>
                  <a:cubicBezTo>
                    <a:pt x="11343" y="7985"/>
                    <a:pt x="11391" y="8034"/>
                    <a:pt x="11389" y="8113"/>
                  </a:cubicBezTo>
                  <a:cubicBezTo>
                    <a:pt x="11388" y="8180"/>
                    <a:pt x="11360" y="8266"/>
                    <a:pt x="11350" y="8330"/>
                  </a:cubicBezTo>
                  <a:cubicBezTo>
                    <a:pt x="11345" y="8361"/>
                    <a:pt x="11379" y="8361"/>
                    <a:pt x="11367" y="8410"/>
                  </a:cubicBezTo>
                  <a:cubicBezTo>
                    <a:pt x="11369" y="8403"/>
                    <a:pt x="11324" y="8464"/>
                    <a:pt x="11324" y="8464"/>
                  </a:cubicBezTo>
                  <a:cubicBezTo>
                    <a:pt x="11334" y="8339"/>
                    <a:pt x="11306" y="8234"/>
                    <a:pt x="11237" y="8175"/>
                  </a:cubicBezTo>
                  <a:cubicBezTo>
                    <a:pt x="11175" y="8120"/>
                    <a:pt x="11053" y="8172"/>
                    <a:pt x="11046" y="8312"/>
                  </a:cubicBezTo>
                  <a:cubicBezTo>
                    <a:pt x="11005" y="8188"/>
                    <a:pt x="11116" y="8004"/>
                    <a:pt x="11150" y="7890"/>
                  </a:cubicBezTo>
                  <a:cubicBezTo>
                    <a:pt x="11166" y="7839"/>
                    <a:pt x="11217" y="7716"/>
                    <a:pt x="11219" y="7667"/>
                  </a:cubicBezTo>
                  <a:cubicBezTo>
                    <a:pt x="11218" y="7681"/>
                    <a:pt x="11179" y="7537"/>
                    <a:pt x="11183" y="7547"/>
                  </a:cubicBezTo>
                  <a:cubicBezTo>
                    <a:pt x="11163" y="7495"/>
                    <a:pt x="11174" y="7513"/>
                    <a:pt x="11179" y="7470"/>
                  </a:cubicBezTo>
                  <a:cubicBezTo>
                    <a:pt x="11124" y="7474"/>
                    <a:pt x="11047" y="7509"/>
                    <a:pt x="11002" y="7439"/>
                  </a:cubicBezTo>
                  <a:cubicBezTo>
                    <a:pt x="10965" y="7382"/>
                    <a:pt x="10972" y="7335"/>
                    <a:pt x="11021" y="7303"/>
                  </a:cubicBezTo>
                  <a:cubicBezTo>
                    <a:pt x="10927" y="7301"/>
                    <a:pt x="10889" y="7335"/>
                    <a:pt x="10796" y="7256"/>
                  </a:cubicBezTo>
                  <a:cubicBezTo>
                    <a:pt x="10733" y="7202"/>
                    <a:pt x="10679" y="7131"/>
                    <a:pt x="10630" y="7105"/>
                  </a:cubicBezTo>
                  <a:cubicBezTo>
                    <a:pt x="10536" y="7053"/>
                    <a:pt x="10539" y="7107"/>
                    <a:pt x="10485" y="7165"/>
                  </a:cubicBezTo>
                  <a:cubicBezTo>
                    <a:pt x="10470" y="7182"/>
                    <a:pt x="10466" y="7238"/>
                    <a:pt x="10451" y="7248"/>
                  </a:cubicBezTo>
                  <a:cubicBezTo>
                    <a:pt x="10449" y="7249"/>
                    <a:pt x="10394" y="7223"/>
                    <a:pt x="10370" y="7234"/>
                  </a:cubicBezTo>
                  <a:cubicBezTo>
                    <a:pt x="10306" y="7263"/>
                    <a:pt x="10277" y="7356"/>
                    <a:pt x="10229" y="7387"/>
                  </a:cubicBezTo>
                  <a:cubicBezTo>
                    <a:pt x="10184" y="7416"/>
                    <a:pt x="10120" y="7408"/>
                    <a:pt x="10077" y="7439"/>
                  </a:cubicBezTo>
                  <a:cubicBezTo>
                    <a:pt x="10046" y="7461"/>
                    <a:pt x="9963" y="7545"/>
                    <a:pt x="9941" y="7580"/>
                  </a:cubicBezTo>
                  <a:cubicBezTo>
                    <a:pt x="9913" y="7623"/>
                    <a:pt x="9936" y="7666"/>
                    <a:pt x="9922" y="7691"/>
                  </a:cubicBezTo>
                  <a:cubicBezTo>
                    <a:pt x="9904" y="7725"/>
                    <a:pt x="9861" y="7719"/>
                    <a:pt x="9844" y="7767"/>
                  </a:cubicBezTo>
                  <a:cubicBezTo>
                    <a:pt x="9783" y="7933"/>
                    <a:pt x="9895" y="7943"/>
                    <a:pt x="9965" y="7967"/>
                  </a:cubicBezTo>
                  <a:cubicBezTo>
                    <a:pt x="10009" y="7982"/>
                    <a:pt x="10014" y="7819"/>
                    <a:pt x="10044" y="7770"/>
                  </a:cubicBezTo>
                  <a:cubicBezTo>
                    <a:pt x="10071" y="7725"/>
                    <a:pt x="10358" y="7529"/>
                    <a:pt x="10381" y="7563"/>
                  </a:cubicBezTo>
                  <a:cubicBezTo>
                    <a:pt x="10416" y="7614"/>
                    <a:pt x="10118" y="7802"/>
                    <a:pt x="10094" y="7842"/>
                  </a:cubicBezTo>
                  <a:cubicBezTo>
                    <a:pt x="10077" y="7870"/>
                    <a:pt x="10078" y="7930"/>
                    <a:pt x="10063" y="7963"/>
                  </a:cubicBezTo>
                  <a:cubicBezTo>
                    <a:pt x="10049" y="7995"/>
                    <a:pt x="10022" y="8016"/>
                    <a:pt x="10006" y="8048"/>
                  </a:cubicBezTo>
                  <a:cubicBezTo>
                    <a:pt x="9973" y="8114"/>
                    <a:pt x="9942" y="8183"/>
                    <a:pt x="9911" y="8250"/>
                  </a:cubicBezTo>
                  <a:cubicBezTo>
                    <a:pt x="9855" y="8374"/>
                    <a:pt x="9797" y="8499"/>
                    <a:pt x="9745" y="8629"/>
                  </a:cubicBezTo>
                  <a:cubicBezTo>
                    <a:pt x="9704" y="8730"/>
                    <a:pt x="9726" y="8732"/>
                    <a:pt x="9723" y="8845"/>
                  </a:cubicBezTo>
                  <a:cubicBezTo>
                    <a:pt x="9721" y="8916"/>
                    <a:pt x="9666" y="9020"/>
                    <a:pt x="9670" y="9092"/>
                  </a:cubicBezTo>
                  <a:cubicBezTo>
                    <a:pt x="9675" y="9179"/>
                    <a:pt x="9705" y="9156"/>
                    <a:pt x="9731" y="9223"/>
                  </a:cubicBezTo>
                  <a:cubicBezTo>
                    <a:pt x="9750" y="9273"/>
                    <a:pt x="9752" y="9266"/>
                    <a:pt x="9756" y="9303"/>
                  </a:cubicBezTo>
                  <a:cubicBezTo>
                    <a:pt x="9761" y="9352"/>
                    <a:pt x="9752" y="9409"/>
                    <a:pt x="9711" y="9471"/>
                  </a:cubicBezTo>
                  <a:cubicBezTo>
                    <a:pt x="9677" y="9523"/>
                    <a:pt x="9600" y="9545"/>
                    <a:pt x="9582" y="9604"/>
                  </a:cubicBezTo>
                  <a:cubicBezTo>
                    <a:pt x="9565" y="9660"/>
                    <a:pt x="9558" y="9772"/>
                    <a:pt x="9550" y="9845"/>
                  </a:cubicBezTo>
                  <a:cubicBezTo>
                    <a:pt x="9525" y="10082"/>
                    <a:pt x="9451" y="10158"/>
                    <a:pt x="9334" y="10280"/>
                  </a:cubicBezTo>
                  <a:cubicBezTo>
                    <a:pt x="9318" y="10298"/>
                    <a:pt x="9256" y="10297"/>
                    <a:pt x="9261" y="10352"/>
                  </a:cubicBezTo>
                  <a:cubicBezTo>
                    <a:pt x="9270" y="10439"/>
                    <a:pt x="9345" y="10343"/>
                    <a:pt x="9361" y="10355"/>
                  </a:cubicBezTo>
                  <a:cubicBezTo>
                    <a:pt x="9406" y="10388"/>
                    <a:pt x="9272" y="10406"/>
                    <a:pt x="9351" y="10509"/>
                  </a:cubicBezTo>
                  <a:cubicBezTo>
                    <a:pt x="9295" y="10508"/>
                    <a:pt x="9321" y="10678"/>
                    <a:pt x="9308" y="10758"/>
                  </a:cubicBezTo>
                  <a:cubicBezTo>
                    <a:pt x="9301" y="10800"/>
                    <a:pt x="9279" y="10860"/>
                    <a:pt x="9274" y="10898"/>
                  </a:cubicBezTo>
                  <a:cubicBezTo>
                    <a:pt x="9271" y="10919"/>
                    <a:pt x="9237" y="10930"/>
                    <a:pt x="9240" y="10956"/>
                  </a:cubicBezTo>
                  <a:cubicBezTo>
                    <a:pt x="9242" y="10988"/>
                    <a:pt x="9279" y="10965"/>
                    <a:pt x="9279" y="10968"/>
                  </a:cubicBezTo>
                  <a:cubicBezTo>
                    <a:pt x="9279" y="10969"/>
                    <a:pt x="9330" y="10976"/>
                    <a:pt x="9316" y="11031"/>
                  </a:cubicBezTo>
                  <a:cubicBezTo>
                    <a:pt x="9306" y="11074"/>
                    <a:pt x="9266" y="11004"/>
                    <a:pt x="9256" y="11020"/>
                  </a:cubicBezTo>
                  <a:cubicBezTo>
                    <a:pt x="9245" y="11039"/>
                    <a:pt x="9236" y="11095"/>
                    <a:pt x="9217" y="11126"/>
                  </a:cubicBezTo>
                  <a:cubicBezTo>
                    <a:pt x="9174" y="11194"/>
                    <a:pt x="9138" y="11245"/>
                    <a:pt x="9079" y="11283"/>
                  </a:cubicBezTo>
                  <a:cubicBezTo>
                    <a:pt x="9096" y="11243"/>
                    <a:pt x="9254" y="11017"/>
                    <a:pt x="9206" y="10955"/>
                  </a:cubicBezTo>
                  <a:cubicBezTo>
                    <a:pt x="9159" y="10896"/>
                    <a:pt x="9031" y="11271"/>
                    <a:pt x="9014" y="11076"/>
                  </a:cubicBezTo>
                  <a:cubicBezTo>
                    <a:pt x="9078" y="11084"/>
                    <a:pt x="9069" y="10603"/>
                    <a:pt x="9224" y="10640"/>
                  </a:cubicBezTo>
                  <a:cubicBezTo>
                    <a:pt x="9193" y="10545"/>
                    <a:pt x="9086" y="10546"/>
                    <a:pt x="9017" y="10555"/>
                  </a:cubicBezTo>
                  <a:cubicBezTo>
                    <a:pt x="8959" y="10561"/>
                    <a:pt x="8920" y="10588"/>
                    <a:pt x="8856" y="10581"/>
                  </a:cubicBezTo>
                  <a:cubicBezTo>
                    <a:pt x="8807" y="10576"/>
                    <a:pt x="8758" y="10561"/>
                    <a:pt x="8709" y="10561"/>
                  </a:cubicBezTo>
                  <a:cubicBezTo>
                    <a:pt x="8600" y="10561"/>
                    <a:pt x="8451" y="10615"/>
                    <a:pt x="8358" y="10691"/>
                  </a:cubicBezTo>
                  <a:cubicBezTo>
                    <a:pt x="8305" y="10735"/>
                    <a:pt x="8312" y="10845"/>
                    <a:pt x="8267" y="10747"/>
                  </a:cubicBezTo>
                  <a:cubicBezTo>
                    <a:pt x="8235" y="10679"/>
                    <a:pt x="8285" y="10588"/>
                    <a:pt x="8218" y="10516"/>
                  </a:cubicBezTo>
                  <a:cubicBezTo>
                    <a:pt x="8285" y="10540"/>
                    <a:pt x="8309" y="10576"/>
                    <a:pt x="8381" y="10573"/>
                  </a:cubicBezTo>
                  <a:cubicBezTo>
                    <a:pt x="8423" y="10571"/>
                    <a:pt x="8452" y="10556"/>
                    <a:pt x="8492" y="10541"/>
                  </a:cubicBezTo>
                  <a:cubicBezTo>
                    <a:pt x="8615" y="10496"/>
                    <a:pt x="8692" y="10487"/>
                    <a:pt x="8811" y="10514"/>
                  </a:cubicBezTo>
                  <a:cubicBezTo>
                    <a:pt x="8881" y="10529"/>
                    <a:pt x="9069" y="10558"/>
                    <a:pt x="9082" y="10480"/>
                  </a:cubicBezTo>
                  <a:cubicBezTo>
                    <a:pt x="9096" y="10400"/>
                    <a:pt x="9022" y="10372"/>
                    <a:pt x="8991" y="10289"/>
                  </a:cubicBezTo>
                  <a:cubicBezTo>
                    <a:pt x="8966" y="10225"/>
                    <a:pt x="8929" y="10133"/>
                    <a:pt x="9000" y="10104"/>
                  </a:cubicBezTo>
                  <a:cubicBezTo>
                    <a:pt x="8953" y="10092"/>
                    <a:pt x="8902" y="10073"/>
                    <a:pt x="8858" y="10056"/>
                  </a:cubicBezTo>
                  <a:cubicBezTo>
                    <a:pt x="8864" y="10056"/>
                    <a:pt x="8911" y="10036"/>
                    <a:pt x="8915" y="10028"/>
                  </a:cubicBezTo>
                  <a:cubicBezTo>
                    <a:pt x="8948" y="9957"/>
                    <a:pt x="8985" y="9895"/>
                    <a:pt x="9024" y="9828"/>
                  </a:cubicBezTo>
                  <a:cubicBezTo>
                    <a:pt x="9128" y="9649"/>
                    <a:pt x="8994" y="9846"/>
                    <a:pt x="9012" y="9707"/>
                  </a:cubicBezTo>
                  <a:cubicBezTo>
                    <a:pt x="9026" y="9597"/>
                    <a:pt x="9279" y="9523"/>
                    <a:pt x="9333" y="9389"/>
                  </a:cubicBezTo>
                  <a:cubicBezTo>
                    <a:pt x="9396" y="9233"/>
                    <a:pt x="9407" y="9051"/>
                    <a:pt x="9490" y="8903"/>
                  </a:cubicBezTo>
                  <a:cubicBezTo>
                    <a:pt x="9553" y="8790"/>
                    <a:pt x="9661" y="8554"/>
                    <a:pt x="9482" y="8690"/>
                  </a:cubicBezTo>
                  <a:cubicBezTo>
                    <a:pt x="9510" y="8612"/>
                    <a:pt x="9557" y="8532"/>
                    <a:pt x="9609" y="8485"/>
                  </a:cubicBezTo>
                  <a:cubicBezTo>
                    <a:pt x="9669" y="8431"/>
                    <a:pt x="9752" y="8436"/>
                    <a:pt x="9788" y="8326"/>
                  </a:cubicBezTo>
                  <a:cubicBezTo>
                    <a:pt x="9812" y="8248"/>
                    <a:pt x="9786" y="8124"/>
                    <a:pt x="9789" y="8048"/>
                  </a:cubicBezTo>
                  <a:cubicBezTo>
                    <a:pt x="9794" y="7973"/>
                    <a:pt x="9791" y="7839"/>
                    <a:pt x="9804" y="7758"/>
                  </a:cubicBezTo>
                  <a:cubicBezTo>
                    <a:pt x="9775" y="7776"/>
                    <a:pt x="9785" y="7785"/>
                    <a:pt x="9771" y="7811"/>
                  </a:cubicBezTo>
                  <a:cubicBezTo>
                    <a:pt x="9717" y="7909"/>
                    <a:pt x="9703" y="8090"/>
                    <a:pt x="9659" y="8196"/>
                  </a:cubicBezTo>
                  <a:cubicBezTo>
                    <a:pt x="9634" y="8255"/>
                    <a:pt x="9591" y="8310"/>
                    <a:pt x="9561" y="8384"/>
                  </a:cubicBezTo>
                  <a:cubicBezTo>
                    <a:pt x="9535" y="8445"/>
                    <a:pt x="9499" y="8522"/>
                    <a:pt x="9469" y="8579"/>
                  </a:cubicBezTo>
                  <a:cubicBezTo>
                    <a:pt x="9401" y="8708"/>
                    <a:pt x="9319" y="8861"/>
                    <a:pt x="9237" y="8974"/>
                  </a:cubicBezTo>
                  <a:cubicBezTo>
                    <a:pt x="9214" y="9006"/>
                    <a:pt x="9154" y="9111"/>
                    <a:pt x="9127" y="9120"/>
                  </a:cubicBezTo>
                  <a:cubicBezTo>
                    <a:pt x="8993" y="9165"/>
                    <a:pt x="9081" y="9020"/>
                    <a:pt x="9127" y="8972"/>
                  </a:cubicBezTo>
                  <a:cubicBezTo>
                    <a:pt x="9239" y="8855"/>
                    <a:pt x="9286" y="8699"/>
                    <a:pt x="9375" y="8545"/>
                  </a:cubicBezTo>
                  <a:cubicBezTo>
                    <a:pt x="9448" y="8419"/>
                    <a:pt x="9525" y="8326"/>
                    <a:pt x="9601" y="8210"/>
                  </a:cubicBezTo>
                  <a:cubicBezTo>
                    <a:pt x="9680" y="8090"/>
                    <a:pt x="9678" y="7904"/>
                    <a:pt x="9746" y="7773"/>
                  </a:cubicBezTo>
                  <a:cubicBezTo>
                    <a:pt x="9778" y="7710"/>
                    <a:pt x="9860" y="7662"/>
                    <a:pt x="9883" y="7589"/>
                  </a:cubicBezTo>
                  <a:cubicBezTo>
                    <a:pt x="9893" y="7555"/>
                    <a:pt x="9853" y="7538"/>
                    <a:pt x="9860" y="7509"/>
                  </a:cubicBezTo>
                  <a:cubicBezTo>
                    <a:pt x="9864" y="7495"/>
                    <a:pt x="9887" y="7464"/>
                    <a:pt x="9888" y="7457"/>
                  </a:cubicBezTo>
                  <a:cubicBezTo>
                    <a:pt x="9892" y="7420"/>
                    <a:pt x="9917" y="7381"/>
                    <a:pt x="9920" y="7344"/>
                  </a:cubicBezTo>
                  <a:cubicBezTo>
                    <a:pt x="9883" y="7388"/>
                    <a:pt x="9852" y="7447"/>
                    <a:pt x="9818" y="7490"/>
                  </a:cubicBezTo>
                  <a:cubicBezTo>
                    <a:pt x="9852" y="7254"/>
                    <a:pt x="9948" y="7172"/>
                    <a:pt x="10068" y="7031"/>
                  </a:cubicBezTo>
                  <a:cubicBezTo>
                    <a:pt x="10119" y="6972"/>
                    <a:pt x="10200" y="6901"/>
                    <a:pt x="10237" y="6809"/>
                  </a:cubicBezTo>
                  <a:cubicBezTo>
                    <a:pt x="10285" y="6691"/>
                    <a:pt x="10220" y="6567"/>
                    <a:pt x="10316" y="6541"/>
                  </a:cubicBezTo>
                  <a:cubicBezTo>
                    <a:pt x="10245" y="6508"/>
                    <a:pt x="10157" y="6674"/>
                    <a:pt x="10106" y="6739"/>
                  </a:cubicBezTo>
                  <a:cubicBezTo>
                    <a:pt x="10089" y="6642"/>
                    <a:pt x="10194" y="6592"/>
                    <a:pt x="10236" y="6532"/>
                  </a:cubicBezTo>
                  <a:cubicBezTo>
                    <a:pt x="10275" y="6477"/>
                    <a:pt x="10339" y="6274"/>
                    <a:pt x="10225" y="6348"/>
                  </a:cubicBezTo>
                  <a:cubicBezTo>
                    <a:pt x="10260" y="6301"/>
                    <a:pt x="10262" y="6272"/>
                    <a:pt x="10246" y="6235"/>
                  </a:cubicBezTo>
                  <a:cubicBezTo>
                    <a:pt x="10270" y="6290"/>
                    <a:pt x="10119" y="6192"/>
                    <a:pt x="10141" y="6195"/>
                  </a:cubicBezTo>
                  <a:cubicBezTo>
                    <a:pt x="10037" y="6181"/>
                    <a:pt x="10059" y="6244"/>
                    <a:pt x="10008" y="6320"/>
                  </a:cubicBezTo>
                  <a:cubicBezTo>
                    <a:pt x="9941" y="6421"/>
                    <a:pt x="9933" y="6374"/>
                    <a:pt x="9855" y="6357"/>
                  </a:cubicBezTo>
                  <a:cubicBezTo>
                    <a:pt x="9786" y="6343"/>
                    <a:pt x="9711" y="6362"/>
                    <a:pt x="9648" y="6420"/>
                  </a:cubicBezTo>
                  <a:cubicBezTo>
                    <a:pt x="9636" y="6432"/>
                    <a:pt x="9656" y="6474"/>
                    <a:pt x="9644" y="6486"/>
                  </a:cubicBezTo>
                  <a:cubicBezTo>
                    <a:pt x="9630" y="6503"/>
                    <a:pt x="9607" y="6479"/>
                    <a:pt x="9597" y="6490"/>
                  </a:cubicBezTo>
                  <a:cubicBezTo>
                    <a:pt x="9583" y="6503"/>
                    <a:pt x="9521" y="6562"/>
                    <a:pt x="9502" y="6563"/>
                  </a:cubicBezTo>
                  <a:cubicBezTo>
                    <a:pt x="9417" y="6569"/>
                    <a:pt x="9412" y="6481"/>
                    <a:pt x="9330" y="6597"/>
                  </a:cubicBezTo>
                  <a:cubicBezTo>
                    <a:pt x="9314" y="6620"/>
                    <a:pt x="9281" y="6635"/>
                    <a:pt x="9273" y="6669"/>
                  </a:cubicBezTo>
                  <a:cubicBezTo>
                    <a:pt x="9265" y="6699"/>
                    <a:pt x="9323" y="6738"/>
                    <a:pt x="9317" y="6749"/>
                  </a:cubicBezTo>
                  <a:cubicBezTo>
                    <a:pt x="9277" y="6829"/>
                    <a:pt x="9196" y="6717"/>
                    <a:pt x="9165" y="6841"/>
                  </a:cubicBezTo>
                  <a:cubicBezTo>
                    <a:pt x="9168" y="6820"/>
                    <a:pt x="9162" y="6780"/>
                    <a:pt x="9165" y="6751"/>
                  </a:cubicBezTo>
                  <a:cubicBezTo>
                    <a:pt x="9117" y="6782"/>
                    <a:pt x="9075" y="6815"/>
                    <a:pt x="9025" y="6846"/>
                  </a:cubicBezTo>
                  <a:cubicBezTo>
                    <a:pt x="8998" y="6864"/>
                    <a:pt x="8930" y="6798"/>
                    <a:pt x="8989" y="6932"/>
                  </a:cubicBezTo>
                  <a:cubicBezTo>
                    <a:pt x="8934" y="6792"/>
                    <a:pt x="8918" y="6923"/>
                    <a:pt x="8895" y="6931"/>
                  </a:cubicBezTo>
                  <a:cubicBezTo>
                    <a:pt x="8808" y="6962"/>
                    <a:pt x="8857" y="6935"/>
                    <a:pt x="8798" y="6886"/>
                  </a:cubicBezTo>
                  <a:cubicBezTo>
                    <a:pt x="8753" y="6850"/>
                    <a:pt x="8811" y="6822"/>
                    <a:pt x="8751" y="6860"/>
                  </a:cubicBezTo>
                  <a:cubicBezTo>
                    <a:pt x="8760" y="6854"/>
                    <a:pt x="8736" y="6942"/>
                    <a:pt x="8717" y="6957"/>
                  </a:cubicBezTo>
                  <a:cubicBezTo>
                    <a:pt x="8695" y="6853"/>
                    <a:pt x="8757" y="6802"/>
                    <a:pt x="8712" y="6736"/>
                  </a:cubicBezTo>
                  <a:cubicBezTo>
                    <a:pt x="8669" y="6674"/>
                    <a:pt x="8589" y="6698"/>
                    <a:pt x="8592" y="6772"/>
                  </a:cubicBezTo>
                  <a:cubicBezTo>
                    <a:pt x="8577" y="6686"/>
                    <a:pt x="8590" y="6501"/>
                    <a:pt x="8528" y="6448"/>
                  </a:cubicBezTo>
                  <a:cubicBezTo>
                    <a:pt x="8543" y="6461"/>
                    <a:pt x="8433" y="6515"/>
                    <a:pt x="8436" y="6505"/>
                  </a:cubicBezTo>
                  <a:cubicBezTo>
                    <a:pt x="8430" y="6528"/>
                    <a:pt x="8474" y="6609"/>
                    <a:pt x="8467" y="6657"/>
                  </a:cubicBezTo>
                  <a:cubicBezTo>
                    <a:pt x="8409" y="6483"/>
                    <a:pt x="8430" y="6700"/>
                    <a:pt x="8433" y="6693"/>
                  </a:cubicBezTo>
                  <a:cubicBezTo>
                    <a:pt x="8420" y="6722"/>
                    <a:pt x="8388" y="6705"/>
                    <a:pt x="8368" y="6774"/>
                  </a:cubicBezTo>
                  <a:cubicBezTo>
                    <a:pt x="8369" y="6771"/>
                    <a:pt x="8373" y="6930"/>
                    <a:pt x="8371" y="6954"/>
                  </a:cubicBezTo>
                  <a:cubicBezTo>
                    <a:pt x="8366" y="7003"/>
                    <a:pt x="8332" y="7010"/>
                    <a:pt x="8354" y="7080"/>
                  </a:cubicBezTo>
                  <a:cubicBezTo>
                    <a:pt x="8305" y="7027"/>
                    <a:pt x="8334" y="6759"/>
                    <a:pt x="8340" y="6672"/>
                  </a:cubicBezTo>
                  <a:cubicBezTo>
                    <a:pt x="8345" y="6599"/>
                    <a:pt x="8405" y="6518"/>
                    <a:pt x="8341" y="6446"/>
                  </a:cubicBezTo>
                  <a:cubicBezTo>
                    <a:pt x="8279" y="6376"/>
                    <a:pt x="8292" y="6518"/>
                    <a:pt x="8297" y="6567"/>
                  </a:cubicBezTo>
                  <a:cubicBezTo>
                    <a:pt x="8255" y="6372"/>
                    <a:pt x="8235" y="6599"/>
                    <a:pt x="8241" y="6674"/>
                  </a:cubicBezTo>
                  <a:cubicBezTo>
                    <a:pt x="8249" y="6781"/>
                    <a:pt x="8261" y="6889"/>
                    <a:pt x="8283" y="6991"/>
                  </a:cubicBezTo>
                  <a:cubicBezTo>
                    <a:pt x="8201" y="6942"/>
                    <a:pt x="8200" y="7275"/>
                    <a:pt x="8178" y="7377"/>
                  </a:cubicBezTo>
                  <a:cubicBezTo>
                    <a:pt x="8159" y="7469"/>
                    <a:pt x="8117" y="7545"/>
                    <a:pt x="8140" y="7648"/>
                  </a:cubicBezTo>
                  <a:cubicBezTo>
                    <a:pt x="8165" y="7761"/>
                    <a:pt x="8229" y="7767"/>
                    <a:pt x="8179" y="7896"/>
                  </a:cubicBezTo>
                  <a:cubicBezTo>
                    <a:pt x="8114" y="8068"/>
                    <a:pt x="8155" y="7863"/>
                    <a:pt x="8149" y="7796"/>
                  </a:cubicBezTo>
                  <a:cubicBezTo>
                    <a:pt x="8136" y="7663"/>
                    <a:pt x="8092" y="7700"/>
                    <a:pt x="8101" y="7541"/>
                  </a:cubicBezTo>
                  <a:cubicBezTo>
                    <a:pt x="8110" y="7380"/>
                    <a:pt x="8117" y="7308"/>
                    <a:pt x="8140" y="7187"/>
                  </a:cubicBezTo>
                  <a:cubicBezTo>
                    <a:pt x="8160" y="7082"/>
                    <a:pt x="8152" y="7034"/>
                    <a:pt x="8158" y="6937"/>
                  </a:cubicBezTo>
                  <a:cubicBezTo>
                    <a:pt x="8163" y="6870"/>
                    <a:pt x="8158" y="6701"/>
                    <a:pt x="8114" y="6841"/>
                  </a:cubicBezTo>
                  <a:cubicBezTo>
                    <a:pt x="7986" y="6488"/>
                    <a:pt x="8097" y="7024"/>
                    <a:pt x="7980" y="6984"/>
                  </a:cubicBezTo>
                  <a:cubicBezTo>
                    <a:pt x="7905" y="6959"/>
                    <a:pt x="7923" y="7122"/>
                    <a:pt x="7893" y="7153"/>
                  </a:cubicBezTo>
                  <a:cubicBezTo>
                    <a:pt x="7851" y="7197"/>
                    <a:pt x="7763" y="7116"/>
                    <a:pt x="7790" y="7254"/>
                  </a:cubicBezTo>
                  <a:cubicBezTo>
                    <a:pt x="7675" y="7178"/>
                    <a:pt x="7795" y="7144"/>
                    <a:pt x="7829" y="7082"/>
                  </a:cubicBezTo>
                  <a:cubicBezTo>
                    <a:pt x="7855" y="7031"/>
                    <a:pt x="7870" y="6924"/>
                    <a:pt x="7869" y="6889"/>
                  </a:cubicBezTo>
                  <a:cubicBezTo>
                    <a:pt x="7865" y="6825"/>
                    <a:pt x="7820" y="6783"/>
                    <a:pt x="7804" y="6763"/>
                  </a:cubicBezTo>
                  <a:cubicBezTo>
                    <a:pt x="7736" y="6681"/>
                    <a:pt x="7706" y="6702"/>
                    <a:pt x="7694" y="6834"/>
                  </a:cubicBezTo>
                  <a:cubicBezTo>
                    <a:pt x="7690" y="6877"/>
                    <a:pt x="7694" y="6907"/>
                    <a:pt x="7687" y="6944"/>
                  </a:cubicBezTo>
                  <a:cubicBezTo>
                    <a:pt x="7683" y="6962"/>
                    <a:pt x="7706" y="6967"/>
                    <a:pt x="7698" y="6998"/>
                  </a:cubicBezTo>
                  <a:cubicBezTo>
                    <a:pt x="7694" y="7012"/>
                    <a:pt x="7668" y="7010"/>
                    <a:pt x="7665" y="7024"/>
                  </a:cubicBezTo>
                  <a:cubicBezTo>
                    <a:pt x="7650" y="7082"/>
                    <a:pt x="7631" y="7082"/>
                    <a:pt x="7636" y="7177"/>
                  </a:cubicBezTo>
                  <a:cubicBezTo>
                    <a:pt x="7646" y="7360"/>
                    <a:pt x="7616" y="7507"/>
                    <a:pt x="7611" y="7685"/>
                  </a:cubicBezTo>
                  <a:cubicBezTo>
                    <a:pt x="7580" y="7626"/>
                    <a:pt x="7579" y="7477"/>
                    <a:pt x="7621" y="7461"/>
                  </a:cubicBezTo>
                  <a:cubicBezTo>
                    <a:pt x="7609" y="7344"/>
                    <a:pt x="7581" y="7117"/>
                    <a:pt x="7597" y="7006"/>
                  </a:cubicBezTo>
                  <a:cubicBezTo>
                    <a:pt x="7554" y="7064"/>
                    <a:pt x="7538" y="7181"/>
                    <a:pt x="7541" y="7271"/>
                  </a:cubicBezTo>
                  <a:cubicBezTo>
                    <a:pt x="7523" y="7211"/>
                    <a:pt x="7503" y="7141"/>
                    <a:pt x="7498" y="7070"/>
                  </a:cubicBezTo>
                  <a:cubicBezTo>
                    <a:pt x="7468" y="7141"/>
                    <a:pt x="7446" y="7220"/>
                    <a:pt x="7432" y="7314"/>
                  </a:cubicBezTo>
                  <a:cubicBezTo>
                    <a:pt x="7425" y="7354"/>
                    <a:pt x="7431" y="7420"/>
                    <a:pt x="7422" y="7454"/>
                  </a:cubicBezTo>
                  <a:cubicBezTo>
                    <a:pt x="7412" y="7495"/>
                    <a:pt x="7380" y="7505"/>
                    <a:pt x="7376" y="7533"/>
                  </a:cubicBezTo>
                  <a:cubicBezTo>
                    <a:pt x="7369" y="7586"/>
                    <a:pt x="7394" y="7627"/>
                    <a:pt x="7390" y="7673"/>
                  </a:cubicBezTo>
                  <a:cubicBezTo>
                    <a:pt x="7386" y="7716"/>
                    <a:pt x="7361" y="7749"/>
                    <a:pt x="7356" y="7792"/>
                  </a:cubicBezTo>
                  <a:cubicBezTo>
                    <a:pt x="7346" y="7875"/>
                    <a:pt x="7352" y="7949"/>
                    <a:pt x="7336" y="8033"/>
                  </a:cubicBezTo>
                  <a:cubicBezTo>
                    <a:pt x="7293" y="7909"/>
                    <a:pt x="7326" y="7866"/>
                    <a:pt x="7340" y="7747"/>
                  </a:cubicBezTo>
                  <a:cubicBezTo>
                    <a:pt x="7353" y="7638"/>
                    <a:pt x="7343" y="7522"/>
                    <a:pt x="7346" y="7414"/>
                  </a:cubicBezTo>
                  <a:cubicBezTo>
                    <a:pt x="7350" y="7234"/>
                    <a:pt x="7346" y="7308"/>
                    <a:pt x="7317" y="7410"/>
                  </a:cubicBezTo>
                  <a:cubicBezTo>
                    <a:pt x="7319" y="7402"/>
                    <a:pt x="7287" y="7403"/>
                    <a:pt x="7279" y="7435"/>
                  </a:cubicBezTo>
                  <a:cubicBezTo>
                    <a:pt x="7272" y="7458"/>
                    <a:pt x="7285" y="7492"/>
                    <a:pt x="7277" y="7515"/>
                  </a:cubicBezTo>
                  <a:cubicBezTo>
                    <a:pt x="7261" y="7560"/>
                    <a:pt x="7266" y="7604"/>
                    <a:pt x="7242" y="7639"/>
                  </a:cubicBezTo>
                  <a:cubicBezTo>
                    <a:pt x="7275" y="7515"/>
                    <a:pt x="7236" y="7390"/>
                    <a:pt x="7246" y="7274"/>
                  </a:cubicBezTo>
                  <a:cubicBezTo>
                    <a:pt x="7245" y="7284"/>
                    <a:pt x="7288" y="7288"/>
                    <a:pt x="7290" y="7242"/>
                  </a:cubicBezTo>
                  <a:cubicBezTo>
                    <a:pt x="7290" y="7221"/>
                    <a:pt x="7266" y="7168"/>
                    <a:pt x="7261" y="7142"/>
                  </a:cubicBezTo>
                  <a:cubicBezTo>
                    <a:pt x="7245" y="7056"/>
                    <a:pt x="7242" y="7044"/>
                    <a:pt x="7253" y="6975"/>
                  </a:cubicBezTo>
                  <a:cubicBezTo>
                    <a:pt x="7260" y="6932"/>
                    <a:pt x="7384" y="6701"/>
                    <a:pt x="7249" y="6713"/>
                  </a:cubicBezTo>
                  <a:cubicBezTo>
                    <a:pt x="7151" y="6721"/>
                    <a:pt x="7274" y="6853"/>
                    <a:pt x="7199" y="6925"/>
                  </a:cubicBezTo>
                  <a:cubicBezTo>
                    <a:pt x="7191" y="6877"/>
                    <a:pt x="7188" y="6822"/>
                    <a:pt x="7179" y="6782"/>
                  </a:cubicBezTo>
                  <a:cubicBezTo>
                    <a:pt x="7122" y="6929"/>
                    <a:pt x="7224" y="7048"/>
                    <a:pt x="7183" y="7174"/>
                  </a:cubicBezTo>
                  <a:cubicBezTo>
                    <a:pt x="7173" y="7087"/>
                    <a:pt x="7139" y="7011"/>
                    <a:pt x="7132" y="6935"/>
                  </a:cubicBezTo>
                  <a:cubicBezTo>
                    <a:pt x="7127" y="6873"/>
                    <a:pt x="7136" y="6809"/>
                    <a:pt x="7133" y="6744"/>
                  </a:cubicBezTo>
                  <a:cubicBezTo>
                    <a:pt x="7131" y="6719"/>
                    <a:pt x="7178" y="6767"/>
                    <a:pt x="7143" y="6693"/>
                  </a:cubicBezTo>
                  <a:cubicBezTo>
                    <a:pt x="7125" y="6656"/>
                    <a:pt x="7101" y="6606"/>
                    <a:pt x="7075" y="6640"/>
                  </a:cubicBezTo>
                  <a:cubicBezTo>
                    <a:pt x="7058" y="6660"/>
                    <a:pt x="7075" y="6818"/>
                    <a:pt x="7067" y="6856"/>
                  </a:cubicBezTo>
                  <a:cubicBezTo>
                    <a:pt x="7056" y="6797"/>
                    <a:pt x="7054" y="6659"/>
                    <a:pt x="7017" y="6623"/>
                  </a:cubicBezTo>
                  <a:cubicBezTo>
                    <a:pt x="6955" y="6560"/>
                    <a:pt x="6911" y="6638"/>
                    <a:pt x="6922" y="6726"/>
                  </a:cubicBezTo>
                  <a:cubicBezTo>
                    <a:pt x="6869" y="6574"/>
                    <a:pt x="6934" y="6588"/>
                    <a:pt x="6948" y="6470"/>
                  </a:cubicBezTo>
                  <a:cubicBezTo>
                    <a:pt x="6953" y="6428"/>
                    <a:pt x="6926" y="6264"/>
                    <a:pt x="6905" y="6220"/>
                  </a:cubicBezTo>
                  <a:cubicBezTo>
                    <a:pt x="6899" y="6237"/>
                    <a:pt x="6903" y="6251"/>
                    <a:pt x="6898" y="6267"/>
                  </a:cubicBezTo>
                  <a:cubicBezTo>
                    <a:pt x="6889" y="6265"/>
                    <a:pt x="6774" y="6286"/>
                    <a:pt x="6775" y="6286"/>
                  </a:cubicBezTo>
                  <a:cubicBezTo>
                    <a:pt x="6749" y="6345"/>
                    <a:pt x="6778" y="6404"/>
                    <a:pt x="6793" y="6478"/>
                  </a:cubicBezTo>
                  <a:cubicBezTo>
                    <a:pt x="6823" y="6621"/>
                    <a:pt x="6829" y="6751"/>
                    <a:pt x="6838" y="6896"/>
                  </a:cubicBezTo>
                  <a:cubicBezTo>
                    <a:pt x="6791" y="6791"/>
                    <a:pt x="6779" y="6625"/>
                    <a:pt x="6741" y="6513"/>
                  </a:cubicBezTo>
                  <a:cubicBezTo>
                    <a:pt x="6737" y="6501"/>
                    <a:pt x="6673" y="6359"/>
                    <a:pt x="6681" y="6363"/>
                  </a:cubicBezTo>
                  <a:cubicBezTo>
                    <a:pt x="6606" y="6324"/>
                    <a:pt x="6645" y="6440"/>
                    <a:pt x="6639" y="6504"/>
                  </a:cubicBezTo>
                  <a:cubicBezTo>
                    <a:pt x="6629" y="6612"/>
                    <a:pt x="6591" y="6692"/>
                    <a:pt x="6515" y="6738"/>
                  </a:cubicBezTo>
                  <a:cubicBezTo>
                    <a:pt x="6405" y="6802"/>
                    <a:pt x="6570" y="6622"/>
                    <a:pt x="6579" y="6547"/>
                  </a:cubicBezTo>
                  <a:cubicBezTo>
                    <a:pt x="6598" y="6367"/>
                    <a:pt x="6497" y="6405"/>
                    <a:pt x="6425" y="6467"/>
                  </a:cubicBezTo>
                  <a:cubicBezTo>
                    <a:pt x="6376" y="6509"/>
                    <a:pt x="6334" y="6594"/>
                    <a:pt x="6291" y="6629"/>
                  </a:cubicBezTo>
                  <a:cubicBezTo>
                    <a:pt x="6268" y="6648"/>
                    <a:pt x="6226" y="6672"/>
                    <a:pt x="6198" y="6656"/>
                  </a:cubicBezTo>
                  <a:cubicBezTo>
                    <a:pt x="6126" y="6616"/>
                    <a:pt x="6202" y="6623"/>
                    <a:pt x="6203" y="6577"/>
                  </a:cubicBezTo>
                  <a:cubicBezTo>
                    <a:pt x="6205" y="6517"/>
                    <a:pt x="6261" y="6558"/>
                    <a:pt x="6211" y="6476"/>
                  </a:cubicBezTo>
                  <a:cubicBezTo>
                    <a:pt x="6165" y="6399"/>
                    <a:pt x="6129" y="6463"/>
                    <a:pt x="6099" y="6478"/>
                  </a:cubicBezTo>
                  <a:cubicBezTo>
                    <a:pt x="6108" y="6474"/>
                    <a:pt x="6047" y="6523"/>
                    <a:pt x="6039" y="6531"/>
                  </a:cubicBezTo>
                  <a:cubicBezTo>
                    <a:pt x="6016" y="6557"/>
                    <a:pt x="5985" y="6605"/>
                    <a:pt x="5958" y="6619"/>
                  </a:cubicBezTo>
                  <a:cubicBezTo>
                    <a:pt x="5898" y="6649"/>
                    <a:pt x="5881" y="6614"/>
                    <a:pt x="5889" y="6595"/>
                  </a:cubicBezTo>
                  <a:cubicBezTo>
                    <a:pt x="5857" y="6598"/>
                    <a:pt x="5824" y="6606"/>
                    <a:pt x="5826" y="6588"/>
                  </a:cubicBezTo>
                  <a:cubicBezTo>
                    <a:pt x="5837" y="6504"/>
                    <a:pt x="5947" y="6484"/>
                    <a:pt x="5982" y="6422"/>
                  </a:cubicBezTo>
                  <a:cubicBezTo>
                    <a:pt x="5970" y="6425"/>
                    <a:pt x="5951" y="6427"/>
                    <a:pt x="5943" y="6429"/>
                  </a:cubicBezTo>
                  <a:cubicBezTo>
                    <a:pt x="5957" y="6411"/>
                    <a:pt x="5968" y="6383"/>
                    <a:pt x="5985" y="6366"/>
                  </a:cubicBezTo>
                  <a:cubicBezTo>
                    <a:pt x="5919" y="6351"/>
                    <a:pt x="5848" y="6523"/>
                    <a:pt x="5823" y="6486"/>
                  </a:cubicBezTo>
                  <a:cubicBezTo>
                    <a:pt x="5779" y="6420"/>
                    <a:pt x="5867" y="6369"/>
                    <a:pt x="5864" y="6327"/>
                  </a:cubicBezTo>
                  <a:cubicBezTo>
                    <a:pt x="5858" y="6243"/>
                    <a:pt x="5810" y="6234"/>
                    <a:pt x="5798" y="6314"/>
                  </a:cubicBezTo>
                  <a:cubicBezTo>
                    <a:pt x="5769" y="6274"/>
                    <a:pt x="5818" y="6058"/>
                    <a:pt x="5741" y="6095"/>
                  </a:cubicBezTo>
                  <a:cubicBezTo>
                    <a:pt x="5700" y="6115"/>
                    <a:pt x="5674" y="6233"/>
                    <a:pt x="5632" y="6265"/>
                  </a:cubicBezTo>
                  <a:cubicBezTo>
                    <a:pt x="5591" y="6297"/>
                    <a:pt x="5541" y="6310"/>
                    <a:pt x="5497" y="6343"/>
                  </a:cubicBezTo>
                  <a:cubicBezTo>
                    <a:pt x="5462" y="6370"/>
                    <a:pt x="5435" y="6401"/>
                    <a:pt x="5401" y="6429"/>
                  </a:cubicBezTo>
                  <a:cubicBezTo>
                    <a:pt x="5358" y="6462"/>
                    <a:pt x="5333" y="6503"/>
                    <a:pt x="5284" y="6518"/>
                  </a:cubicBezTo>
                  <a:cubicBezTo>
                    <a:pt x="5232" y="6534"/>
                    <a:pt x="5128" y="6497"/>
                    <a:pt x="5168" y="6402"/>
                  </a:cubicBezTo>
                  <a:cubicBezTo>
                    <a:pt x="5175" y="6383"/>
                    <a:pt x="5231" y="6402"/>
                    <a:pt x="5246" y="6389"/>
                  </a:cubicBezTo>
                  <a:cubicBezTo>
                    <a:pt x="5265" y="6373"/>
                    <a:pt x="5268" y="6324"/>
                    <a:pt x="5294" y="6303"/>
                  </a:cubicBezTo>
                  <a:cubicBezTo>
                    <a:pt x="5342" y="6262"/>
                    <a:pt x="5438" y="6247"/>
                    <a:pt x="5358" y="6331"/>
                  </a:cubicBezTo>
                  <a:cubicBezTo>
                    <a:pt x="5407" y="6328"/>
                    <a:pt x="5438" y="6272"/>
                    <a:pt x="5474" y="6222"/>
                  </a:cubicBezTo>
                  <a:cubicBezTo>
                    <a:pt x="5431" y="6205"/>
                    <a:pt x="5381" y="6239"/>
                    <a:pt x="5336" y="6253"/>
                  </a:cubicBezTo>
                  <a:cubicBezTo>
                    <a:pt x="5378" y="6175"/>
                    <a:pt x="5458" y="6169"/>
                    <a:pt x="5513" y="6127"/>
                  </a:cubicBezTo>
                  <a:cubicBezTo>
                    <a:pt x="5455" y="6063"/>
                    <a:pt x="5380" y="6183"/>
                    <a:pt x="5371" y="6115"/>
                  </a:cubicBezTo>
                  <a:cubicBezTo>
                    <a:pt x="5337" y="6150"/>
                    <a:pt x="5220" y="6152"/>
                    <a:pt x="5269" y="6063"/>
                  </a:cubicBezTo>
                  <a:cubicBezTo>
                    <a:pt x="5240" y="6065"/>
                    <a:pt x="5194" y="6076"/>
                    <a:pt x="5164" y="6093"/>
                  </a:cubicBezTo>
                  <a:cubicBezTo>
                    <a:pt x="5152" y="6099"/>
                    <a:pt x="5137" y="6060"/>
                    <a:pt x="5122" y="6069"/>
                  </a:cubicBezTo>
                  <a:cubicBezTo>
                    <a:pt x="5112" y="6074"/>
                    <a:pt x="5124" y="6115"/>
                    <a:pt x="5117" y="6120"/>
                  </a:cubicBezTo>
                  <a:cubicBezTo>
                    <a:pt x="5083" y="6143"/>
                    <a:pt x="5042" y="6217"/>
                    <a:pt x="4997" y="6199"/>
                  </a:cubicBezTo>
                  <a:cubicBezTo>
                    <a:pt x="4901" y="6160"/>
                    <a:pt x="5059" y="6110"/>
                    <a:pt x="5074" y="6069"/>
                  </a:cubicBezTo>
                  <a:cubicBezTo>
                    <a:pt x="5114" y="5958"/>
                    <a:pt x="5007" y="6032"/>
                    <a:pt x="4980" y="6078"/>
                  </a:cubicBezTo>
                  <a:cubicBezTo>
                    <a:pt x="4951" y="5937"/>
                    <a:pt x="5170" y="5900"/>
                    <a:pt x="5222" y="5831"/>
                  </a:cubicBezTo>
                  <a:cubicBezTo>
                    <a:pt x="5349" y="5660"/>
                    <a:pt x="5148" y="5646"/>
                    <a:pt x="5068" y="5708"/>
                  </a:cubicBezTo>
                  <a:cubicBezTo>
                    <a:pt x="4991" y="5769"/>
                    <a:pt x="4884" y="5904"/>
                    <a:pt x="4788" y="5912"/>
                  </a:cubicBezTo>
                  <a:cubicBezTo>
                    <a:pt x="4701" y="5919"/>
                    <a:pt x="4799" y="5846"/>
                    <a:pt x="4833" y="5815"/>
                  </a:cubicBezTo>
                  <a:cubicBezTo>
                    <a:pt x="4880" y="5771"/>
                    <a:pt x="4934" y="5737"/>
                    <a:pt x="4983" y="5700"/>
                  </a:cubicBezTo>
                  <a:cubicBezTo>
                    <a:pt x="4933" y="5674"/>
                    <a:pt x="4926" y="5737"/>
                    <a:pt x="4882" y="5748"/>
                  </a:cubicBezTo>
                  <a:cubicBezTo>
                    <a:pt x="4830" y="5762"/>
                    <a:pt x="4771" y="5747"/>
                    <a:pt x="4717" y="5757"/>
                  </a:cubicBezTo>
                  <a:cubicBezTo>
                    <a:pt x="4618" y="5775"/>
                    <a:pt x="4501" y="5818"/>
                    <a:pt x="4402" y="5795"/>
                  </a:cubicBezTo>
                  <a:cubicBezTo>
                    <a:pt x="4360" y="5786"/>
                    <a:pt x="4298" y="5794"/>
                    <a:pt x="4326" y="5682"/>
                  </a:cubicBezTo>
                  <a:cubicBezTo>
                    <a:pt x="4346" y="5600"/>
                    <a:pt x="4404" y="5620"/>
                    <a:pt x="4451" y="5583"/>
                  </a:cubicBezTo>
                  <a:cubicBezTo>
                    <a:pt x="4531" y="5520"/>
                    <a:pt x="4608" y="5409"/>
                    <a:pt x="4696" y="5351"/>
                  </a:cubicBezTo>
                  <a:cubicBezTo>
                    <a:pt x="4682" y="5438"/>
                    <a:pt x="4633" y="5450"/>
                    <a:pt x="4586" y="5496"/>
                  </a:cubicBezTo>
                  <a:cubicBezTo>
                    <a:pt x="4540" y="5542"/>
                    <a:pt x="4517" y="5563"/>
                    <a:pt x="4475" y="5630"/>
                  </a:cubicBezTo>
                  <a:cubicBezTo>
                    <a:pt x="4407" y="5739"/>
                    <a:pt x="4366" y="5756"/>
                    <a:pt x="4489" y="5746"/>
                  </a:cubicBezTo>
                  <a:cubicBezTo>
                    <a:pt x="4562" y="5740"/>
                    <a:pt x="4631" y="5712"/>
                    <a:pt x="4700" y="5692"/>
                  </a:cubicBezTo>
                  <a:cubicBezTo>
                    <a:pt x="4760" y="5675"/>
                    <a:pt x="4836" y="5683"/>
                    <a:pt x="4893" y="5649"/>
                  </a:cubicBezTo>
                  <a:cubicBezTo>
                    <a:pt x="4924" y="5630"/>
                    <a:pt x="4918" y="5574"/>
                    <a:pt x="4948" y="5563"/>
                  </a:cubicBezTo>
                  <a:cubicBezTo>
                    <a:pt x="4954" y="5560"/>
                    <a:pt x="4945" y="5629"/>
                    <a:pt x="4957" y="5628"/>
                  </a:cubicBezTo>
                  <a:cubicBezTo>
                    <a:pt x="4978" y="5626"/>
                    <a:pt x="4999" y="5609"/>
                    <a:pt x="5019" y="5603"/>
                  </a:cubicBezTo>
                  <a:cubicBezTo>
                    <a:pt x="5063" y="5591"/>
                    <a:pt x="5194" y="5510"/>
                    <a:pt x="5149" y="5451"/>
                  </a:cubicBezTo>
                  <a:cubicBezTo>
                    <a:pt x="5136" y="5434"/>
                    <a:pt x="5055" y="5458"/>
                    <a:pt x="5034" y="5451"/>
                  </a:cubicBezTo>
                  <a:cubicBezTo>
                    <a:pt x="4979" y="5434"/>
                    <a:pt x="5006" y="5477"/>
                    <a:pt x="5008" y="5415"/>
                  </a:cubicBezTo>
                  <a:cubicBezTo>
                    <a:pt x="5008" y="5397"/>
                    <a:pt x="5086" y="5397"/>
                    <a:pt x="5051" y="5326"/>
                  </a:cubicBezTo>
                  <a:cubicBezTo>
                    <a:pt x="5033" y="5291"/>
                    <a:pt x="4977" y="5300"/>
                    <a:pt x="4954" y="5319"/>
                  </a:cubicBezTo>
                  <a:cubicBezTo>
                    <a:pt x="4893" y="5372"/>
                    <a:pt x="4926" y="5422"/>
                    <a:pt x="4931" y="5503"/>
                  </a:cubicBezTo>
                  <a:cubicBezTo>
                    <a:pt x="4922" y="5483"/>
                    <a:pt x="4846" y="5361"/>
                    <a:pt x="4846" y="5343"/>
                  </a:cubicBezTo>
                  <a:cubicBezTo>
                    <a:pt x="4847" y="5277"/>
                    <a:pt x="4864" y="5335"/>
                    <a:pt x="4892" y="5284"/>
                  </a:cubicBezTo>
                  <a:cubicBezTo>
                    <a:pt x="4915" y="5240"/>
                    <a:pt x="4953" y="5218"/>
                    <a:pt x="4973" y="5161"/>
                  </a:cubicBezTo>
                  <a:cubicBezTo>
                    <a:pt x="5002" y="5078"/>
                    <a:pt x="4985" y="5124"/>
                    <a:pt x="4982" y="5038"/>
                  </a:cubicBezTo>
                  <a:cubicBezTo>
                    <a:pt x="4978" y="4949"/>
                    <a:pt x="4950" y="4803"/>
                    <a:pt x="4970" y="4712"/>
                  </a:cubicBezTo>
                  <a:cubicBezTo>
                    <a:pt x="4987" y="4632"/>
                    <a:pt x="5064" y="4540"/>
                    <a:pt x="5116" y="4605"/>
                  </a:cubicBezTo>
                  <a:cubicBezTo>
                    <a:pt x="5074" y="4510"/>
                    <a:pt x="5019" y="4378"/>
                    <a:pt x="4952" y="4322"/>
                  </a:cubicBezTo>
                  <a:cubicBezTo>
                    <a:pt x="4831" y="4220"/>
                    <a:pt x="4831" y="4344"/>
                    <a:pt x="4738" y="4400"/>
                  </a:cubicBezTo>
                  <a:cubicBezTo>
                    <a:pt x="4714" y="4415"/>
                    <a:pt x="4718" y="4470"/>
                    <a:pt x="4682" y="4433"/>
                  </a:cubicBezTo>
                  <a:cubicBezTo>
                    <a:pt x="4656" y="4406"/>
                    <a:pt x="4681" y="4285"/>
                    <a:pt x="4678" y="4280"/>
                  </a:cubicBezTo>
                  <a:cubicBezTo>
                    <a:pt x="4639" y="4216"/>
                    <a:pt x="4629" y="4460"/>
                    <a:pt x="4626" y="4512"/>
                  </a:cubicBezTo>
                  <a:cubicBezTo>
                    <a:pt x="4588" y="4332"/>
                    <a:pt x="4582" y="4553"/>
                    <a:pt x="4536" y="4520"/>
                  </a:cubicBezTo>
                  <a:cubicBezTo>
                    <a:pt x="4496" y="4491"/>
                    <a:pt x="4410" y="4521"/>
                    <a:pt x="4386" y="4494"/>
                  </a:cubicBezTo>
                  <a:cubicBezTo>
                    <a:pt x="4365" y="4470"/>
                    <a:pt x="4532" y="4197"/>
                    <a:pt x="4344" y="4186"/>
                  </a:cubicBezTo>
                  <a:cubicBezTo>
                    <a:pt x="4459" y="4068"/>
                    <a:pt x="4382" y="4070"/>
                    <a:pt x="4268" y="4069"/>
                  </a:cubicBezTo>
                  <a:cubicBezTo>
                    <a:pt x="4208" y="4068"/>
                    <a:pt x="4127" y="4085"/>
                    <a:pt x="4078" y="4140"/>
                  </a:cubicBezTo>
                  <a:cubicBezTo>
                    <a:pt x="4028" y="4197"/>
                    <a:pt x="4016" y="4332"/>
                    <a:pt x="3954" y="4374"/>
                  </a:cubicBezTo>
                  <a:cubicBezTo>
                    <a:pt x="3913" y="4401"/>
                    <a:pt x="3807" y="4349"/>
                    <a:pt x="3761" y="4331"/>
                  </a:cubicBezTo>
                  <a:cubicBezTo>
                    <a:pt x="3793" y="4312"/>
                    <a:pt x="3931" y="4311"/>
                    <a:pt x="3945" y="4285"/>
                  </a:cubicBezTo>
                  <a:cubicBezTo>
                    <a:pt x="3975" y="4231"/>
                    <a:pt x="3917" y="4122"/>
                    <a:pt x="3947" y="4054"/>
                  </a:cubicBezTo>
                  <a:cubicBezTo>
                    <a:pt x="3984" y="3969"/>
                    <a:pt x="4032" y="4036"/>
                    <a:pt x="4061" y="3904"/>
                  </a:cubicBezTo>
                  <a:cubicBezTo>
                    <a:pt x="4067" y="3879"/>
                    <a:pt x="4045" y="3830"/>
                    <a:pt x="4055" y="3782"/>
                  </a:cubicBezTo>
                  <a:cubicBezTo>
                    <a:pt x="4064" y="3738"/>
                    <a:pt x="4093" y="3742"/>
                    <a:pt x="4104" y="3707"/>
                  </a:cubicBezTo>
                  <a:cubicBezTo>
                    <a:pt x="4109" y="3691"/>
                    <a:pt x="4136" y="3649"/>
                    <a:pt x="4134" y="3631"/>
                  </a:cubicBezTo>
                  <a:cubicBezTo>
                    <a:pt x="4126" y="3544"/>
                    <a:pt x="4081" y="3589"/>
                    <a:pt x="4062" y="3566"/>
                  </a:cubicBezTo>
                  <a:cubicBezTo>
                    <a:pt x="3996" y="3489"/>
                    <a:pt x="3966" y="3456"/>
                    <a:pt x="3872" y="3427"/>
                  </a:cubicBezTo>
                  <a:cubicBezTo>
                    <a:pt x="3788" y="3401"/>
                    <a:pt x="3809" y="3389"/>
                    <a:pt x="3777" y="3259"/>
                  </a:cubicBezTo>
                  <a:cubicBezTo>
                    <a:pt x="3753" y="3162"/>
                    <a:pt x="3738" y="3094"/>
                    <a:pt x="3644" y="3097"/>
                  </a:cubicBezTo>
                  <a:cubicBezTo>
                    <a:pt x="3645" y="3159"/>
                    <a:pt x="3644" y="3213"/>
                    <a:pt x="3656" y="3268"/>
                  </a:cubicBezTo>
                  <a:cubicBezTo>
                    <a:pt x="3569" y="3202"/>
                    <a:pt x="3581" y="3258"/>
                    <a:pt x="3567" y="3354"/>
                  </a:cubicBezTo>
                  <a:cubicBezTo>
                    <a:pt x="3536" y="3244"/>
                    <a:pt x="3498" y="3190"/>
                    <a:pt x="3511" y="3340"/>
                  </a:cubicBezTo>
                  <a:cubicBezTo>
                    <a:pt x="3516" y="3403"/>
                    <a:pt x="3534" y="3442"/>
                    <a:pt x="3542" y="3457"/>
                  </a:cubicBezTo>
                  <a:cubicBezTo>
                    <a:pt x="3536" y="3448"/>
                    <a:pt x="3522" y="3430"/>
                    <a:pt x="3497" y="3401"/>
                  </a:cubicBezTo>
                  <a:cubicBezTo>
                    <a:pt x="3444" y="3342"/>
                    <a:pt x="3426" y="3280"/>
                    <a:pt x="3360" y="3376"/>
                  </a:cubicBezTo>
                  <a:cubicBezTo>
                    <a:pt x="3333" y="3416"/>
                    <a:pt x="3320" y="3490"/>
                    <a:pt x="3306" y="3539"/>
                  </a:cubicBezTo>
                  <a:cubicBezTo>
                    <a:pt x="3271" y="3435"/>
                    <a:pt x="3347" y="3307"/>
                    <a:pt x="3392" y="3246"/>
                  </a:cubicBezTo>
                  <a:cubicBezTo>
                    <a:pt x="3421" y="3207"/>
                    <a:pt x="3450" y="3242"/>
                    <a:pt x="3467" y="3165"/>
                  </a:cubicBezTo>
                  <a:cubicBezTo>
                    <a:pt x="3486" y="3076"/>
                    <a:pt x="3449" y="3041"/>
                    <a:pt x="3415" y="3114"/>
                  </a:cubicBezTo>
                  <a:cubicBezTo>
                    <a:pt x="3404" y="3107"/>
                    <a:pt x="3369" y="3070"/>
                    <a:pt x="3360" y="3057"/>
                  </a:cubicBezTo>
                  <a:cubicBezTo>
                    <a:pt x="3407" y="2964"/>
                    <a:pt x="3340" y="2962"/>
                    <a:pt x="3314" y="3032"/>
                  </a:cubicBezTo>
                  <a:cubicBezTo>
                    <a:pt x="3297" y="3078"/>
                    <a:pt x="3301" y="3120"/>
                    <a:pt x="3317" y="3168"/>
                  </a:cubicBezTo>
                  <a:cubicBezTo>
                    <a:pt x="3230" y="3092"/>
                    <a:pt x="3306" y="2967"/>
                    <a:pt x="3264" y="2913"/>
                  </a:cubicBezTo>
                  <a:cubicBezTo>
                    <a:pt x="3203" y="2833"/>
                    <a:pt x="3220" y="3067"/>
                    <a:pt x="3220" y="3075"/>
                  </a:cubicBezTo>
                  <a:cubicBezTo>
                    <a:pt x="3211" y="3050"/>
                    <a:pt x="3192" y="3028"/>
                    <a:pt x="3182" y="3008"/>
                  </a:cubicBezTo>
                  <a:cubicBezTo>
                    <a:pt x="3158" y="3164"/>
                    <a:pt x="3148" y="3094"/>
                    <a:pt x="3084" y="3158"/>
                  </a:cubicBezTo>
                  <a:cubicBezTo>
                    <a:pt x="3067" y="3174"/>
                    <a:pt x="3027" y="3316"/>
                    <a:pt x="3001" y="3222"/>
                  </a:cubicBezTo>
                  <a:cubicBezTo>
                    <a:pt x="2939" y="3293"/>
                    <a:pt x="2901" y="3487"/>
                    <a:pt x="2893" y="3595"/>
                  </a:cubicBezTo>
                  <a:cubicBezTo>
                    <a:pt x="2887" y="3677"/>
                    <a:pt x="2923" y="3655"/>
                    <a:pt x="2882" y="3744"/>
                  </a:cubicBezTo>
                  <a:cubicBezTo>
                    <a:pt x="2866" y="3781"/>
                    <a:pt x="2803" y="3847"/>
                    <a:pt x="2776" y="3880"/>
                  </a:cubicBezTo>
                  <a:cubicBezTo>
                    <a:pt x="2785" y="3770"/>
                    <a:pt x="2900" y="3713"/>
                    <a:pt x="2855" y="3598"/>
                  </a:cubicBezTo>
                  <a:cubicBezTo>
                    <a:pt x="2841" y="3614"/>
                    <a:pt x="2817" y="3624"/>
                    <a:pt x="2806" y="3636"/>
                  </a:cubicBezTo>
                  <a:cubicBezTo>
                    <a:pt x="2826" y="3573"/>
                    <a:pt x="2943" y="3320"/>
                    <a:pt x="2830" y="3364"/>
                  </a:cubicBezTo>
                  <a:cubicBezTo>
                    <a:pt x="2875" y="3232"/>
                    <a:pt x="3164" y="3074"/>
                    <a:pt x="3118" y="2909"/>
                  </a:cubicBezTo>
                  <a:cubicBezTo>
                    <a:pt x="3079" y="2772"/>
                    <a:pt x="3006" y="2875"/>
                    <a:pt x="2968" y="2941"/>
                  </a:cubicBezTo>
                  <a:cubicBezTo>
                    <a:pt x="2916" y="3032"/>
                    <a:pt x="2908" y="2997"/>
                    <a:pt x="2913" y="3138"/>
                  </a:cubicBezTo>
                  <a:cubicBezTo>
                    <a:pt x="2834" y="3008"/>
                    <a:pt x="2939" y="2932"/>
                    <a:pt x="2977" y="2852"/>
                  </a:cubicBezTo>
                  <a:cubicBezTo>
                    <a:pt x="3028" y="2748"/>
                    <a:pt x="2999" y="2711"/>
                    <a:pt x="2956" y="2591"/>
                  </a:cubicBezTo>
                  <a:cubicBezTo>
                    <a:pt x="2915" y="2477"/>
                    <a:pt x="2931" y="2311"/>
                    <a:pt x="2842" y="2353"/>
                  </a:cubicBezTo>
                  <a:cubicBezTo>
                    <a:pt x="2795" y="2374"/>
                    <a:pt x="2761" y="2481"/>
                    <a:pt x="2781" y="2547"/>
                  </a:cubicBezTo>
                  <a:cubicBezTo>
                    <a:pt x="2772" y="2525"/>
                    <a:pt x="2754" y="2499"/>
                    <a:pt x="2743" y="2477"/>
                  </a:cubicBezTo>
                  <a:cubicBezTo>
                    <a:pt x="2742" y="2560"/>
                    <a:pt x="2711" y="2532"/>
                    <a:pt x="2687" y="2593"/>
                  </a:cubicBezTo>
                  <a:cubicBezTo>
                    <a:pt x="2684" y="2603"/>
                    <a:pt x="2649" y="2695"/>
                    <a:pt x="2649" y="2697"/>
                  </a:cubicBezTo>
                  <a:cubicBezTo>
                    <a:pt x="2624" y="2735"/>
                    <a:pt x="2595" y="2756"/>
                    <a:pt x="2582" y="2799"/>
                  </a:cubicBezTo>
                  <a:cubicBezTo>
                    <a:pt x="2572" y="2833"/>
                    <a:pt x="2582" y="2925"/>
                    <a:pt x="2576" y="2966"/>
                  </a:cubicBezTo>
                  <a:cubicBezTo>
                    <a:pt x="2552" y="2879"/>
                    <a:pt x="2592" y="2716"/>
                    <a:pt x="2496" y="2741"/>
                  </a:cubicBezTo>
                  <a:cubicBezTo>
                    <a:pt x="2450" y="2753"/>
                    <a:pt x="2419" y="2867"/>
                    <a:pt x="2408" y="2921"/>
                  </a:cubicBezTo>
                  <a:cubicBezTo>
                    <a:pt x="2378" y="3067"/>
                    <a:pt x="2396" y="3263"/>
                    <a:pt x="2331" y="3389"/>
                  </a:cubicBezTo>
                  <a:cubicBezTo>
                    <a:pt x="2313" y="3236"/>
                    <a:pt x="2443" y="2652"/>
                    <a:pt x="2232" y="2992"/>
                  </a:cubicBezTo>
                  <a:cubicBezTo>
                    <a:pt x="2255" y="2947"/>
                    <a:pt x="2264" y="2895"/>
                    <a:pt x="2252" y="2847"/>
                  </a:cubicBezTo>
                  <a:cubicBezTo>
                    <a:pt x="2328" y="2891"/>
                    <a:pt x="2427" y="2742"/>
                    <a:pt x="2458" y="2659"/>
                  </a:cubicBezTo>
                  <a:cubicBezTo>
                    <a:pt x="2479" y="2600"/>
                    <a:pt x="2507" y="2517"/>
                    <a:pt x="2525" y="2454"/>
                  </a:cubicBezTo>
                  <a:cubicBezTo>
                    <a:pt x="2543" y="2391"/>
                    <a:pt x="2565" y="2262"/>
                    <a:pt x="2556" y="2216"/>
                  </a:cubicBezTo>
                  <a:cubicBezTo>
                    <a:pt x="2546" y="2161"/>
                    <a:pt x="2560" y="2113"/>
                    <a:pt x="2503" y="2105"/>
                  </a:cubicBezTo>
                  <a:cubicBezTo>
                    <a:pt x="2453" y="2098"/>
                    <a:pt x="2472" y="2170"/>
                    <a:pt x="2442" y="2176"/>
                  </a:cubicBezTo>
                  <a:cubicBezTo>
                    <a:pt x="2348" y="2196"/>
                    <a:pt x="2416" y="2165"/>
                    <a:pt x="2419" y="2077"/>
                  </a:cubicBezTo>
                  <a:cubicBezTo>
                    <a:pt x="2422" y="1965"/>
                    <a:pt x="2408" y="1918"/>
                    <a:pt x="2319" y="1895"/>
                  </a:cubicBezTo>
                  <a:cubicBezTo>
                    <a:pt x="2267" y="1881"/>
                    <a:pt x="2219" y="1899"/>
                    <a:pt x="2271" y="1813"/>
                  </a:cubicBezTo>
                  <a:cubicBezTo>
                    <a:pt x="2169" y="1771"/>
                    <a:pt x="2212" y="1862"/>
                    <a:pt x="2195" y="1927"/>
                  </a:cubicBezTo>
                  <a:cubicBezTo>
                    <a:pt x="2183" y="1973"/>
                    <a:pt x="2187" y="2115"/>
                    <a:pt x="2160" y="1946"/>
                  </a:cubicBezTo>
                  <a:cubicBezTo>
                    <a:pt x="2146" y="2016"/>
                    <a:pt x="2098" y="2038"/>
                    <a:pt x="2054" y="2073"/>
                  </a:cubicBezTo>
                  <a:cubicBezTo>
                    <a:pt x="2088" y="2004"/>
                    <a:pt x="2147" y="1814"/>
                    <a:pt x="2056" y="1830"/>
                  </a:cubicBezTo>
                  <a:cubicBezTo>
                    <a:pt x="2112" y="1703"/>
                    <a:pt x="2016" y="1759"/>
                    <a:pt x="1998" y="1882"/>
                  </a:cubicBezTo>
                  <a:cubicBezTo>
                    <a:pt x="1980" y="1832"/>
                    <a:pt x="1984" y="1767"/>
                    <a:pt x="2002" y="1717"/>
                  </a:cubicBezTo>
                  <a:cubicBezTo>
                    <a:pt x="1976" y="1727"/>
                    <a:pt x="1934" y="1725"/>
                    <a:pt x="1913" y="1733"/>
                  </a:cubicBezTo>
                  <a:cubicBezTo>
                    <a:pt x="1938" y="1682"/>
                    <a:pt x="2023" y="1651"/>
                    <a:pt x="2030" y="1589"/>
                  </a:cubicBezTo>
                  <a:cubicBezTo>
                    <a:pt x="2036" y="1534"/>
                    <a:pt x="1948" y="1574"/>
                    <a:pt x="1916" y="1582"/>
                  </a:cubicBezTo>
                  <a:cubicBezTo>
                    <a:pt x="1806" y="1608"/>
                    <a:pt x="1824" y="1650"/>
                    <a:pt x="1761" y="1776"/>
                  </a:cubicBezTo>
                  <a:cubicBezTo>
                    <a:pt x="1749" y="1800"/>
                    <a:pt x="1771" y="1827"/>
                    <a:pt x="1756" y="1850"/>
                  </a:cubicBezTo>
                  <a:cubicBezTo>
                    <a:pt x="1741" y="1874"/>
                    <a:pt x="1706" y="1867"/>
                    <a:pt x="1689" y="1892"/>
                  </a:cubicBezTo>
                  <a:cubicBezTo>
                    <a:pt x="1662" y="1931"/>
                    <a:pt x="1641" y="2005"/>
                    <a:pt x="1609" y="2034"/>
                  </a:cubicBezTo>
                  <a:cubicBezTo>
                    <a:pt x="1573" y="2066"/>
                    <a:pt x="1521" y="1972"/>
                    <a:pt x="1523" y="2098"/>
                  </a:cubicBezTo>
                  <a:cubicBezTo>
                    <a:pt x="1524" y="2126"/>
                    <a:pt x="1574" y="2197"/>
                    <a:pt x="1581" y="2224"/>
                  </a:cubicBezTo>
                  <a:cubicBezTo>
                    <a:pt x="1542" y="2190"/>
                    <a:pt x="1496" y="2006"/>
                    <a:pt x="1441" y="2056"/>
                  </a:cubicBezTo>
                  <a:cubicBezTo>
                    <a:pt x="1437" y="2060"/>
                    <a:pt x="1433" y="2175"/>
                    <a:pt x="1416" y="2203"/>
                  </a:cubicBezTo>
                  <a:cubicBezTo>
                    <a:pt x="1356" y="1940"/>
                    <a:pt x="1603" y="1983"/>
                    <a:pt x="1692" y="1804"/>
                  </a:cubicBezTo>
                  <a:cubicBezTo>
                    <a:pt x="1718" y="1752"/>
                    <a:pt x="1748" y="1613"/>
                    <a:pt x="1752" y="1545"/>
                  </a:cubicBezTo>
                  <a:cubicBezTo>
                    <a:pt x="1759" y="1430"/>
                    <a:pt x="1674" y="1322"/>
                    <a:pt x="1684" y="1479"/>
                  </a:cubicBezTo>
                  <a:cubicBezTo>
                    <a:pt x="1666" y="1421"/>
                    <a:pt x="1665" y="1150"/>
                    <a:pt x="1606" y="1290"/>
                  </a:cubicBezTo>
                  <a:cubicBezTo>
                    <a:pt x="1572" y="1369"/>
                    <a:pt x="1630" y="1514"/>
                    <a:pt x="1534" y="1531"/>
                  </a:cubicBezTo>
                  <a:cubicBezTo>
                    <a:pt x="1572" y="1416"/>
                    <a:pt x="1526" y="1092"/>
                    <a:pt x="1413" y="1240"/>
                  </a:cubicBezTo>
                  <a:cubicBezTo>
                    <a:pt x="1356" y="1316"/>
                    <a:pt x="1482" y="1537"/>
                    <a:pt x="1378" y="1589"/>
                  </a:cubicBezTo>
                  <a:cubicBezTo>
                    <a:pt x="1419" y="1495"/>
                    <a:pt x="1368" y="1383"/>
                    <a:pt x="1352" y="1285"/>
                  </a:cubicBezTo>
                  <a:cubicBezTo>
                    <a:pt x="1307" y="1276"/>
                    <a:pt x="1240" y="1332"/>
                    <a:pt x="1162" y="1383"/>
                  </a:cubicBezTo>
                  <a:cubicBezTo>
                    <a:pt x="1137" y="1400"/>
                    <a:pt x="1093" y="1494"/>
                    <a:pt x="1090" y="1414"/>
                  </a:cubicBezTo>
                  <a:cubicBezTo>
                    <a:pt x="1087" y="1360"/>
                    <a:pt x="1136" y="1317"/>
                    <a:pt x="1160" y="1289"/>
                  </a:cubicBezTo>
                  <a:cubicBezTo>
                    <a:pt x="1220" y="1220"/>
                    <a:pt x="1228" y="1260"/>
                    <a:pt x="1240" y="1159"/>
                  </a:cubicBezTo>
                  <a:cubicBezTo>
                    <a:pt x="1243" y="1132"/>
                    <a:pt x="1229" y="989"/>
                    <a:pt x="1211" y="975"/>
                  </a:cubicBezTo>
                  <a:cubicBezTo>
                    <a:pt x="1076" y="871"/>
                    <a:pt x="1069" y="1003"/>
                    <a:pt x="1051" y="1149"/>
                  </a:cubicBezTo>
                  <a:cubicBezTo>
                    <a:pt x="995" y="1018"/>
                    <a:pt x="1106" y="812"/>
                    <a:pt x="981" y="917"/>
                  </a:cubicBezTo>
                  <a:cubicBezTo>
                    <a:pt x="913" y="975"/>
                    <a:pt x="947" y="873"/>
                    <a:pt x="941" y="1015"/>
                  </a:cubicBezTo>
                  <a:cubicBezTo>
                    <a:pt x="938" y="1086"/>
                    <a:pt x="960" y="1126"/>
                    <a:pt x="940" y="1212"/>
                  </a:cubicBezTo>
                  <a:cubicBezTo>
                    <a:pt x="931" y="1162"/>
                    <a:pt x="895" y="1027"/>
                    <a:pt x="898" y="979"/>
                  </a:cubicBezTo>
                  <a:cubicBezTo>
                    <a:pt x="903" y="898"/>
                    <a:pt x="965" y="875"/>
                    <a:pt x="964" y="831"/>
                  </a:cubicBezTo>
                  <a:cubicBezTo>
                    <a:pt x="962" y="732"/>
                    <a:pt x="789" y="897"/>
                    <a:pt x="735" y="878"/>
                  </a:cubicBezTo>
                  <a:cubicBezTo>
                    <a:pt x="720" y="873"/>
                    <a:pt x="672" y="838"/>
                    <a:pt x="663" y="818"/>
                  </a:cubicBezTo>
                  <a:cubicBezTo>
                    <a:pt x="641" y="767"/>
                    <a:pt x="664" y="750"/>
                    <a:pt x="662" y="739"/>
                  </a:cubicBezTo>
                  <a:cubicBezTo>
                    <a:pt x="656" y="702"/>
                    <a:pt x="649" y="629"/>
                    <a:pt x="634" y="568"/>
                  </a:cubicBezTo>
                  <a:cubicBezTo>
                    <a:pt x="578" y="343"/>
                    <a:pt x="649" y="505"/>
                    <a:pt x="552" y="561"/>
                  </a:cubicBezTo>
                  <a:cubicBezTo>
                    <a:pt x="601" y="472"/>
                    <a:pt x="561" y="459"/>
                    <a:pt x="524" y="412"/>
                  </a:cubicBezTo>
                  <a:cubicBezTo>
                    <a:pt x="504" y="387"/>
                    <a:pt x="495" y="397"/>
                    <a:pt x="490" y="409"/>
                  </a:cubicBezTo>
                  <a:cubicBezTo>
                    <a:pt x="491" y="398"/>
                    <a:pt x="492" y="382"/>
                    <a:pt x="493" y="357"/>
                  </a:cubicBezTo>
                  <a:cubicBezTo>
                    <a:pt x="496" y="274"/>
                    <a:pt x="582" y="269"/>
                    <a:pt x="455" y="219"/>
                  </a:cubicBezTo>
                  <a:cubicBezTo>
                    <a:pt x="416" y="203"/>
                    <a:pt x="387" y="215"/>
                    <a:pt x="354" y="226"/>
                  </a:cubicBezTo>
                  <a:cubicBezTo>
                    <a:pt x="363" y="317"/>
                    <a:pt x="418" y="319"/>
                    <a:pt x="465" y="279"/>
                  </a:cubicBezTo>
                  <a:cubicBezTo>
                    <a:pt x="430" y="348"/>
                    <a:pt x="424" y="367"/>
                    <a:pt x="409" y="461"/>
                  </a:cubicBezTo>
                  <a:cubicBezTo>
                    <a:pt x="406" y="478"/>
                    <a:pt x="436" y="499"/>
                    <a:pt x="433" y="518"/>
                  </a:cubicBezTo>
                  <a:cubicBezTo>
                    <a:pt x="430" y="548"/>
                    <a:pt x="408" y="546"/>
                    <a:pt x="403" y="566"/>
                  </a:cubicBezTo>
                  <a:cubicBezTo>
                    <a:pt x="396" y="596"/>
                    <a:pt x="371" y="638"/>
                    <a:pt x="364" y="671"/>
                  </a:cubicBezTo>
                  <a:cubicBezTo>
                    <a:pt x="339" y="578"/>
                    <a:pt x="457" y="438"/>
                    <a:pt x="301" y="440"/>
                  </a:cubicBezTo>
                  <a:cubicBezTo>
                    <a:pt x="292" y="440"/>
                    <a:pt x="283" y="445"/>
                    <a:pt x="274" y="449"/>
                  </a:cubicBezTo>
                  <a:cubicBezTo>
                    <a:pt x="300" y="430"/>
                    <a:pt x="326" y="409"/>
                    <a:pt x="332" y="386"/>
                  </a:cubicBezTo>
                  <a:cubicBezTo>
                    <a:pt x="357" y="295"/>
                    <a:pt x="258" y="266"/>
                    <a:pt x="304" y="226"/>
                  </a:cubicBezTo>
                  <a:cubicBezTo>
                    <a:pt x="289" y="194"/>
                    <a:pt x="271" y="168"/>
                    <a:pt x="247" y="149"/>
                  </a:cubicBezTo>
                  <a:cubicBezTo>
                    <a:pt x="285" y="323"/>
                    <a:pt x="219" y="294"/>
                    <a:pt x="161" y="406"/>
                  </a:cubicBezTo>
                  <a:cubicBezTo>
                    <a:pt x="119" y="487"/>
                    <a:pt x="118" y="612"/>
                    <a:pt x="69" y="683"/>
                  </a:cubicBezTo>
                  <a:cubicBezTo>
                    <a:pt x="74" y="571"/>
                    <a:pt x="116" y="427"/>
                    <a:pt x="160" y="339"/>
                  </a:cubicBezTo>
                  <a:cubicBezTo>
                    <a:pt x="218" y="222"/>
                    <a:pt x="210" y="317"/>
                    <a:pt x="203" y="158"/>
                  </a:cubicBezTo>
                  <a:cubicBezTo>
                    <a:pt x="201" y="113"/>
                    <a:pt x="234" y="26"/>
                    <a:pt x="207" y="0"/>
                  </a:cubicBezTo>
                  <a:cubicBezTo>
                    <a:pt x="174" y="102"/>
                    <a:pt x="140" y="197"/>
                    <a:pt x="116" y="234"/>
                  </a:cubicBezTo>
                  <a:cubicBezTo>
                    <a:pt x="53" y="327"/>
                    <a:pt x="-70" y="763"/>
                    <a:pt x="53" y="763"/>
                  </a:cubicBezTo>
                  <a:cubicBezTo>
                    <a:pt x="175" y="763"/>
                    <a:pt x="268" y="820"/>
                    <a:pt x="328" y="1113"/>
                  </a:cubicBezTo>
                  <a:cubicBezTo>
                    <a:pt x="388" y="1407"/>
                    <a:pt x="235" y="1480"/>
                    <a:pt x="437" y="1480"/>
                  </a:cubicBezTo>
                  <a:cubicBezTo>
                    <a:pt x="639" y="1480"/>
                    <a:pt x="732" y="1496"/>
                    <a:pt x="732" y="1496"/>
                  </a:cubicBezTo>
                  <a:cubicBezTo>
                    <a:pt x="732" y="1496"/>
                    <a:pt x="813" y="1830"/>
                    <a:pt x="944" y="1887"/>
                  </a:cubicBezTo>
                  <a:cubicBezTo>
                    <a:pt x="1075" y="1944"/>
                    <a:pt x="1430" y="2156"/>
                    <a:pt x="1239" y="2156"/>
                  </a:cubicBezTo>
                  <a:cubicBezTo>
                    <a:pt x="1048" y="2156"/>
                    <a:pt x="947" y="2276"/>
                    <a:pt x="1108" y="2387"/>
                  </a:cubicBezTo>
                  <a:cubicBezTo>
                    <a:pt x="1269" y="2498"/>
                    <a:pt x="1300" y="2692"/>
                    <a:pt x="1300" y="2692"/>
                  </a:cubicBezTo>
                  <a:cubicBezTo>
                    <a:pt x="1300" y="2692"/>
                    <a:pt x="687" y="2932"/>
                    <a:pt x="935" y="2932"/>
                  </a:cubicBezTo>
                  <a:cubicBezTo>
                    <a:pt x="1183" y="2932"/>
                    <a:pt x="1399" y="3090"/>
                    <a:pt x="1473" y="2840"/>
                  </a:cubicBezTo>
                  <a:cubicBezTo>
                    <a:pt x="1548" y="2590"/>
                    <a:pt x="1727" y="2137"/>
                    <a:pt x="1777" y="2211"/>
                  </a:cubicBezTo>
                  <a:cubicBezTo>
                    <a:pt x="1826" y="2285"/>
                    <a:pt x="1535" y="2627"/>
                    <a:pt x="1696" y="2627"/>
                  </a:cubicBezTo>
                  <a:cubicBezTo>
                    <a:pt x="1857" y="2627"/>
                    <a:pt x="1860" y="2623"/>
                    <a:pt x="1770" y="2757"/>
                  </a:cubicBezTo>
                  <a:cubicBezTo>
                    <a:pt x="1681" y="2891"/>
                    <a:pt x="1597" y="3191"/>
                    <a:pt x="1715" y="3191"/>
                  </a:cubicBezTo>
                  <a:cubicBezTo>
                    <a:pt x="1832" y="3191"/>
                    <a:pt x="2170" y="3020"/>
                    <a:pt x="2012" y="3256"/>
                  </a:cubicBezTo>
                  <a:cubicBezTo>
                    <a:pt x="1854" y="3492"/>
                    <a:pt x="1854" y="3764"/>
                    <a:pt x="1854" y="3764"/>
                  </a:cubicBezTo>
                  <a:cubicBezTo>
                    <a:pt x="1854" y="3764"/>
                    <a:pt x="1969" y="3931"/>
                    <a:pt x="1907" y="4171"/>
                  </a:cubicBezTo>
                  <a:cubicBezTo>
                    <a:pt x="1845" y="4412"/>
                    <a:pt x="1727" y="4356"/>
                    <a:pt x="1956" y="4356"/>
                  </a:cubicBezTo>
                  <a:cubicBezTo>
                    <a:pt x="2185" y="4356"/>
                    <a:pt x="2173" y="4597"/>
                    <a:pt x="2315" y="4597"/>
                  </a:cubicBezTo>
                  <a:cubicBezTo>
                    <a:pt x="2457" y="4597"/>
                    <a:pt x="2587" y="4375"/>
                    <a:pt x="2631" y="4597"/>
                  </a:cubicBezTo>
                  <a:cubicBezTo>
                    <a:pt x="2674" y="4819"/>
                    <a:pt x="2532" y="4754"/>
                    <a:pt x="2758" y="4694"/>
                  </a:cubicBezTo>
                  <a:cubicBezTo>
                    <a:pt x="2984" y="4634"/>
                    <a:pt x="3101" y="4884"/>
                    <a:pt x="3101" y="4884"/>
                  </a:cubicBezTo>
                  <a:cubicBezTo>
                    <a:pt x="3101" y="4884"/>
                    <a:pt x="3120" y="5069"/>
                    <a:pt x="3039" y="5191"/>
                  </a:cubicBezTo>
                  <a:cubicBezTo>
                    <a:pt x="2958" y="5311"/>
                    <a:pt x="2783" y="5483"/>
                    <a:pt x="2919" y="5547"/>
                  </a:cubicBezTo>
                  <a:cubicBezTo>
                    <a:pt x="3056" y="5611"/>
                    <a:pt x="3226" y="5649"/>
                    <a:pt x="3158" y="5866"/>
                  </a:cubicBezTo>
                  <a:cubicBezTo>
                    <a:pt x="3090" y="6082"/>
                    <a:pt x="3158" y="6235"/>
                    <a:pt x="3158" y="6235"/>
                  </a:cubicBezTo>
                  <a:cubicBezTo>
                    <a:pt x="3158" y="6235"/>
                    <a:pt x="3371" y="6312"/>
                    <a:pt x="3277" y="6452"/>
                  </a:cubicBezTo>
                  <a:cubicBezTo>
                    <a:pt x="3184" y="6592"/>
                    <a:pt x="3269" y="6834"/>
                    <a:pt x="3363" y="6974"/>
                  </a:cubicBezTo>
                  <a:cubicBezTo>
                    <a:pt x="3457" y="7114"/>
                    <a:pt x="3755" y="7229"/>
                    <a:pt x="3670" y="7356"/>
                  </a:cubicBezTo>
                  <a:cubicBezTo>
                    <a:pt x="3584" y="7484"/>
                    <a:pt x="3439" y="7573"/>
                    <a:pt x="3584" y="7637"/>
                  </a:cubicBezTo>
                  <a:cubicBezTo>
                    <a:pt x="3730" y="7700"/>
                    <a:pt x="3823" y="7879"/>
                    <a:pt x="3823" y="7879"/>
                  </a:cubicBezTo>
                  <a:cubicBezTo>
                    <a:pt x="3823" y="7879"/>
                    <a:pt x="3678" y="8121"/>
                    <a:pt x="3875" y="8121"/>
                  </a:cubicBezTo>
                  <a:cubicBezTo>
                    <a:pt x="4071" y="8121"/>
                    <a:pt x="4164" y="8261"/>
                    <a:pt x="4164" y="8261"/>
                  </a:cubicBezTo>
                  <a:cubicBezTo>
                    <a:pt x="4164" y="8261"/>
                    <a:pt x="4079" y="8376"/>
                    <a:pt x="4258" y="8440"/>
                  </a:cubicBezTo>
                  <a:cubicBezTo>
                    <a:pt x="4437" y="8503"/>
                    <a:pt x="4497" y="8720"/>
                    <a:pt x="4497" y="8720"/>
                  </a:cubicBezTo>
                  <a:cubicBezTo>
                    <a:pt x="4497" y="8720"/>
                    <a:pt x="4335" y="9140"/>
                    <a:pt x="4565" y="9140"/>
                  </a:cubicBezTo>
                  <a:cubicBezTo>
                    <a:pt x="4796" y="9140"/>
                    <a:pt x="4804" y="9306"/>
                    <a:pt x="4804" y="9472"/>
                  </a:cubicBezTo>
                  <a:cubicBezTo>
                    <a:pt x="4804" y="9637"/>
                    <a:pt x="4834" y="9503"/>
                    <a:pt x="4915" y="9625"/>
                  </a:cubicBezTo>
                  <a:cubicBezTo>
                    <a:pt x="4996" y="9745"/>
                    <a:pt x="4962" y="9936"/>
                    <a:pt x="5068" y="10096"/>
                  </a:cubicBezTo>
                  <a:cubicBezTo>
                    <a:pt x="5175" y="10255"/>
                    <a:pt x="4800" y="10141"/>
                    <a:pt x="4949" y="10363"/>
                  </a:cubicBezTo>
                  <a:cubicBezTo>
                    <a:pt x="5098" y="10586"/>
                    <a:pt x="5367" y="10707"/>
                    <a:pt x="5273" y="10847"/>
                  </a:cubicBezTo>
                  <a:cubicBezTo>
                    <a:pt x="5179" y="10988"/>
                    <a:pt x="5145" y="11421"/>
                    <a:pt x="4949" y="11128"/>
                  </a:cubicBezTo>
                  <a:cubicBezTo>
                    <a:pt x="4753" y="10835"/>
                    <a:pt x="4599" y="10899"/>
                    <a:pt x="4599" y="10899"/>
                  </a:cubicBezTo>
                  <a:lnTo>
                    <a:pt x="4369" y="11332"/>
                  </a:lnTo>
                  <a:cubicBezTo>
                    <a:pt x="4369" y="11332"/>
                    <a:pt x="3994" y="10924"/>
                    <a:pt x="3994" y="11179"/>
                  </a:cubicBezTo>
                  <a:cubicBezTo>
                    <a:pt x="3994" y="11434"/>
                    <a:pt x="4036" y="11587"/>
                    <a:pt x="3951" y="11714"/>
                  </a:cubicBezTo>
                  <a:cubicBezTo>
                    <a:pt x="3866" y="11841"/>
                    <a:pt x="3798" y="12262"/>
                    <a:pt x="3755" y="12083"/>
                  </a:cubicBezTo>
                  <a:cubicBezTo>
                    <a:pt x="3712" y="11905"/>
                    <a:pt x="3593" y="11905"/>
                    <a:pt x="3593" y="11905"/>
                  </a:cubicBezTo>
                  <a:cubicBezTo>
                    <a:pt x="3593" y="11905"/>
                    <a:pt x="3405" y="12313"/>
                    <a:pt x="3286" y="12134"/>
                  </a:cubicBezTo>
                  <a:cubicBezTo>
                    <a:pt x="3166" y="11956"/>
                    <a:pt x="3030" y="11548"/>
                    <a:pt x="3030" y="11548"/>
                  </a:cubicBezTo>
                  <a:lnTo>
                    <a:pt x="2706" y="12147"/>
                  </a:lnTo>
                  <a:cubicBezTo>
                    <a:pt x="2706" y="12147"/>
                    <a:pt x="2382" y="11293"/>
                    <a:pt x="2271" y="11459"/>
                  </a:cubicBezTo>
                  <a:cubicBezTo>
                    <a:pt x="2160" y="11625"/>
                    <a:pt x="1913" y="12020"/>
                    <a:pt x="1913" y="12020"/>
                  </a:cubicBezTo>
                  <a:cubicBezTo>
                    <a:pt x="1913" y="12020"/>
                    <a:pt x="1862" y="11892"/>
                    <a:pt x="1964" y="12364"/>
                  </a:cubicBezTo>
                  <a:cubicBezTo>
                    <a:pt x="2066" y="12835"/>
                    <a:pt x="2211" y="12963"/>
                    <a:pt x="2297" y="12835"/>
                  </a:cubicBezTo>
                  <a:cubicBezTo>
                    <a:pt x="2382" y="12708"/>
                    <a:pt x="2578" y="12695"/>
                    <a:pt x="2663" y="12695"/>
                  </a:cubicBezTo>
                  <a:cubicBezTo>
                    <a:pt x="2749" y="12695"/>
                    <a:pt x="2817" y="13001"/>
                    <a:pt x="2552" y="13128"/>
                  </a:cubicBezTo>
                  <a:cubicBezTo>
                    <a:pt x="2288" y="13256"/>
                    <a:pt x="2284" y="13249"/>
                    <a:pt x="2420" y="13453"/>
                  </a:cubicBezTo>
                  <a:cubicBezTo>
                    <a:pt x="2557" y="13657"/>
                    <a:pt x="2467" y="13587"/>
                    <a:pt x="2348" y="13765"/>
                  </a:cubicBezTo>
                  <a:cubicBezTo>
                    <a:pt x="2228" y="13944"/>
                    <a:pt x="2228" y="14045"/>
                    <a:pt x="2228" y="14045"/>
                  </a:cubicBezTo>
                  <a:cubicBezTo>
                    <a:pt x="2228" y="14045"/>
                    <a:pt x="2484" y="14122"/>
                    <a:pt x="2433" y="14428"/>
                  </a:cubicBezTo>
                  <a:cubicBezTo>
                    <a:pt x="2382" y="14733"/>
                    <a:pt x="2501" y="14912"/>
                    <a:pt x="2501" y="14912"/>
                  </a:cubicBezTo>
                  <a:cubicBezTo>
                    <a:pt x="2501" y="14912"/>
                    <a:pt x="2876" y="15192"/>
                    <a:pt x="3039" y="15435"/>
                  </a:cubicBezTo>
                  <a:cubicBezTo>
                    <a:pt x="3201" y="15677"/>
                    <a:pt x="3239" y="15798"/>
                    <a:pt x="3320" y="15677"/>
                  </a:cubicBezTo>
                  <a:cubicBezTo>
                    <a:pt x="3401" y="15555"/>
                    <a:pt x="3350" y="15313"/>
                    <a:pt x="3559" y="15626"/>
                  </a:cubicBezTo>
                  <a:cubicBezTo>
                    <a:pt x="3768" y="15938"/>
                    <a:pt x="4011" y="16199"/>
                    <a:pt x="3768" y="16250"/>
                  </a:cubicBezTo>
                  <a:cubicBezTo>
                    <a:pt x="3525" y="16301"/>
                    <a:pt x="3218" y="16454"/>
                    <a:pt x="3525" y="16721"/>
                  </a:cubicBezTo>
                  <a:cubicBezTo>
                    <a:pt x="3832" y="16989"/>
                    <a:pt x="3746" y="16670"/>
                    <a:pt x="3960" y="16989"/>
                  </a:cubicBezTo>
                  <a:cubicBezTo>
                    <a:pt x="4173" y="17308"/>
                    <a:pt x="4314" y="17320"/>
                    <a:pt x="4314" y="17097"/>
                  </a:cubicBezTo>
                  <a:cubicBezTo>
                    <a:pt x="4314" y="16874"/>
                    <a:pt x="4467" y="16740"/>
                    <a:pt x="4369" y="16594"/>
                  </a:cubicBezTo>
                  <a:cubicBezTo>
                    <a:pt x="4271" y="16448"/>
                    <a:pt x="4224" y="16237"/>
                    <a:pt x="4224" y="16237"/>
                  </a:cubicBezTo>
                  <a:cubicBezTo>
                    <a:pt x="4224" y="16237"/>
                    <a:pt x="4412" y="15944"/>
                    <a:pt x="4548" y="16339"/>
                  </a:cubicBezTo>
                  <a:cubicBezTo>
                    <a:pt x="4685" y="16734"/>
                    <a:pt x="4872" y="16798"/>
                    <a:pt x="4838" y="17155"/>
                  </a:cubicBezTo>
                  <a:cubicBezTo>
                    <a:pt x="4804" y="17511"/>
                    <a:pt x="4804" y="17652"/>
                    <a:pt x="4804" y="17652"/>
                  </a:cubicBezTo>
                  <a:cubicBezTo>
                    <a:pt x="4804" y="17652"/>
                    <a:pt x="5085" y="17995"/>
                    <a:pt x="5085" y="17715"/>
                  </a:cubicBezTo>
                  <a:cubicBezTo>
                    <a:pt x="5085" y="17435"/>
                    <a:pt x="5150" y="17530"/>
                    <a:pt x="5231" y="17652"/>
                  </a:cubicBezTo>
                  <a:cubicBezTo>
                    <a:pt x="5312" y="17772"/>
                    <a:pt x="5171" y="17779"/>
                    <a:pt x="5478" y="17779"/>
                  </a:cubicBezTo>
                  <a:cubicBezTo>
                    <a:pt x="5785" y="17779"/>
                    <a:pt x="5798" y="17301"/>
                    <a:pt x="5896" y="17447"/>
                  </a:cubicBezTo>
                  <a:cubicBezTo>
                    <a:pt x="5994" y="17594"/>
                    <a:pt x="5913" y="17702"/>
                    <a:pt x="6237" y="17817"/>
                  </a:cubicBezTo>
                  <a:cubicBezTo>
                    <a:pt x="6561" y="17932"/>
                    <a:pt x="6582" y="17403"/>
                    <a:pt x="6774" y="17690"/>
                  </a:cubicBezTo>
                  <a:cubicBezTo>
                    <a:pt x="6966" y="17977"/>
                    <a:pt x="7124" y="18403"/>
                    <a:pt x="7124" y="17977"/>
                  </a:cubicBezTo>
                  <a:cubicBezTo>
                    <a:pt x="7124" y="17549"/>
                    <a:pt x="7064" y="17549"/>
                    <a:pt x="7192" y="17549"/>
                  </a:cubicBezTo>
                  <a:cubicBezTo>
                    <a:pt x="7320" y="17549"/>
                    <a:pt x="7380" y="17397"/>
                    <a:pt x="7226" y="17167"/>
                  </a:cubicBezTo>
                  <a:cubicBezTo>
                    <a:pt x="7073" y="16938"/>
                    <a:pt x="6936" y="16772"/>
                    <a:pt x="6936" y="16530"/>
                  </a:cubicBezTo>
                  <a:cubicBezTo>
                    <a:pt x="6936" y="16288"/>
                    <a:pt x="6638" y="15664"/>
                    <a:pt x="6817" y="15740"/>
                  </a:cubicBezTo>
                  <a:cubicBezTo>
                    <a:pt x="6996" y="15817"/>
                    <a:pt x="7295" y="15715"/>
                    <a:pt x="7295" y="16097"/>
                  </a:cubicBezTo>
                  <a:cubicBezTo>
                    <a:pt x="7295" y="16479"/>
                    <a:pt x="7294" y="16594"/>
                    <a:pt x="7431" y="16390"/>
                  </a:cubicBezTo>
                  <a:cubicBezTo>
                    <a:pt x="7567" y="16186"/>
                    <a:pt x="12815" y="10759"/>
                    <a:pt x="12815" y="10759"/>
                  </a:cubicBezTo>
                  <a:lnTo>
                    <a:pt x="13541" y="12012"/>
                  </a:lnTo>
                  <a:cubicBezTo>
                    <a:pt x="13556" y="11956"/>
                    <a:pt x="13519" y="11920"/>
                    <a:pt x="13525" y="11892"/>
                  </a:cubicBezTo>
                  <a:cubicBezTo>
                    <a:pt x="13534" y="11842"/>
                    <a:pt x="13562" y="11849"/>
                    <a:pt x="13572" y="11810"/>
                  </a:cubicBezTo>
                  <a:cubicBezTo>
                    <a:pt x="13584" y="11759"/>
                    <a:pt x="13583" y="11690"/>
                    <a:pt x="13586" y="11609"/>
                  </a:cubicBezTo>
                  <a:cubicBezTo>
                    <a:pt x="13588" y="11534"/>
                    <a:pt x="13563" y="11336"/>
                    <a:pt x="13590" y="11296"/>
                  </a:cubicBezTo>
                  <a:cubicBezTo>
                    <a:pt x="13636" y="11230"/>
                    <a:pt x="13655" y="11166"/>
                    <a:pt x="13673" y="11072"/>
                  </a:cubicBezTo>
                  <a:cubicBezTo>
                    <a:pt x="13719" y="10840"/>
                    <a:pt x="14026" y="9996"/>
                    <a:pt x="13787" y="9959"/>
                  </a:cubicBezTo>
                  <a:close/>
                  <a:moveTo>
                    <a:pt x="13704" y="9267"/>
                  </a:moveTo>
                  <a:cubicBezTo>
                    <a:pt x="13741" y="9253"/>
                    <a:pt x="13694" y="9229"/>
                    <a:pt x="13704" y="9267"/>
                  </a:cubicBezTo>
                  <a:cubicBezTo>
                    <a:pt x="13704" y="9267"/>
                    <a:pt x="13704" y="9267"/>
                    <a:pt x="13704" y="9267"/>
                  </a:cubicBezTo>
                  <a:close/>
                  <a:moveTo>
                    <a:pt x="5940" y="6602"/>
                  </a:moveTo>
                  <a:cubicBezTo>
                    <a:pt x="5913" y="6575"/>
                    <a:pt x="5895" y="6582"/>
                    <a:pt x="5889" y="6595"/>
                  </a:cubicBezTo>
                  <a:cubicBezTo>
                    <a:pt x="5910" y="6593"/>
                    <a:pt x="5930" y="6592"/>
                    <a:pt x="5940" y="6602"/>
                  </a:cubicBezTo>
                  <a:close/>
                  <a:moveTo>
                    <a:pt x="5940" y="6602"/>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41" name="AutoShape 14"/>
            <p:cNvSpPr>
              <a:spLocks/>
            </p:cNvSpPr>
            <p:nvPr/>
          </p:nvSpPr>
          <p:spPr bwMode="auto">
            <a:xfrm>
              <a:off x="3408927" y="1785673"/>
              <a:ext cx="311150" cy="496888"/>
            </a:xfrm>
            <a:custGeom>
              <a:avLst/>
              <a:gdLst/>
              <a:ahLst/>
              <a:cxnLst/>
              <a:rect l="0" t="0" r="r" b="b"/>
              <a:pathLst>
                <a:path w="21503" h="21383">
                  <a:moveTo>
                    <a:pt x="21046" y="3438"/>
                  </a:moveTo>
                  <a:cubicBezTo>
                    <a:pt x="20928" y="3172"/>
                    <a:pt x="21562" y="2960"/>
                    <a:pt x="21499" y="2800"/>
                  </a:cubicBezTo>
                  <a:cubicBezTo>
                    <a:pt x="21443" y="2659"/>
                    <a:pt x="21152" y="2725"/>
                    <a:pt x="21054" y="2734"/>
                  </a:cubicBezTo>
                  <a:cubicBezTo>
                    <a:pt x="20889" y="2748"/>
                    <a:pt x="20871" y="2937"/>
                    <a:pt x="20675" y="2809"/>
                  </a:cubicBezTo>
                  <a:cubicBezTo>
                    <a:pt x="20619" y="2773"/>
                    <a:pt x="20840" y="2364"/>
                    <a:pt x="20835" y="2258"/>
                  </a:cubicBezTo>
                  <a:cubicBezTo>
                    <a:pt x="20643" y="2542"/>
                    <a:pt x="20512" y="2229"/>
                    <a:pt x="20604" y="2070"/>
                  </a:cubicBezTo>
                  <a:cubicBezTo>
                    <a:pt x="20511" y="2081"/>
                    <a:pt x="20390" y="2140"/>
                    <a:pt x="20294" y="2146"/>
                  </a:cubicBezTo>
                  <a:cubicBezTo>
                    <a:pt x="20243" y="2148"/>
                    <a:pt x="20256" y="2222"/>
                    <a:pt x="20204" y="2230"/>
                  </a:cubicBezTo>
                  <a:cubicBezTo>
                    <a:pt x="20115" y="2243"/>
                    <a:pt x="20022" y="2145"/>
                    <a:pt x="19939" y="2161"/>
                  </a:cubicBezTo>
                  <a:cubicBezTo>
                    <a:pt x="19739" y="2201"/>
                    <a:pt x="19599" y="2326"/>
                    <a:pt x="19398" y="2347"/>
                  </a:cubicBezTo>
                  <a:cubicBezTo>
                    <a:pt x="19595" y="2148"/>
                    <a:pt x="18992" y="2230"/>
                    <a:pt x="18960" y="2459"/>
                  </a:cubicBezTo>
                  <a:cubicBezTo>
                    <a:pt x="18948" y="2542"/>
                    <a:pt x="19159" y="2697"/>
                    <a:pt x="19146" y="2728"/>
                  </a:cubicBezTo>
                  <a:cubicBezTo>
                    <a:pt x="19122" y="2787"/>
                    <a:pt x="18853" y="2724"/>
                    <a:pt x="18787" y="2860"/>
                  </a:cubicBezTo>
                  <a:cubicBezTo>
                    <a:pt x="18751" y="2702"/>
                    <a:pt x="18910" y="2579"/>
                    <a:pt x="18695" y="2436"/>
                  </a:cubicBezTo>
                  <a:cubicBezTo>
                    <a:pt x="18384" y="2230"/>
                    <a:pt x="18022" y="2317"/>
                    <a:pt x="17873" y="2527"/>
                  </a:cubicBezTo>
                  <a:cubicBezTo>
                    <a:pt x="17692" y="2783"/>
                    <a:pt x="17743" y="3125"/>
                    <a:pt x="17683" y="3396"/>
                  </a:cubicBezTo>
                  <a:cubicBezTo>
                    <a:pt x="17664" y="3477"/>
                    <a:pt x="17558" y="3816"/>
                    <a:pt x="17720" y="3791"/>
                  </a:cubicBezTo>
                  <a:cubicBezTo>
                    <a:pt x="17836" y="3772"/>
                    <a:pt x="17917" y="3467"/>
                    <a:pt x="17943" y="3406"/>
                  </a:cubicBezTo>
                  <a:cubicBezTo>
                    <a:pt x="18086" y="3065"/>
                    <a:pt x="18101" y="2887"/>
                    <a:pt x="18454" y="2634"/>
                  </a:cubicBezTo>
                  <a:cubicBezTo>
                    <a:pt x="18521" y="2747"/>
                    <a:pt x="18309" y="2897"/>
                    <a:pt x="18256" y="3018"/>
                  </a:cubicBezTo>
                  <a:cubicBezTo>
                    <a:pt x="18198" y="3150"/>
                    <a:pt x="18243" y="3320"/>
                    <a:pt x="18182" y="3460"/>
                  </a:cubicBezTo>
                  <a:cubicBezTo>
                    <a:pt x="18073" y="3706"/>
                    <a:pt x="17878" y="3941"/>
                    <a:pt x="17726" y="4173"/>
                  </a:cubicBezTo>
                  <a:cubicBezTo>
                    <a:pt x="17635" y="4310"/>
                    <a:pt x="17558" y="4439"/>
                    <a:pt x="17689" y="4510"/>
                  </a:cubicBezTo>
                  <a:cubicBezTo>
                    <a:pt x="17619" y="4472"/>
                    <a:pt x="18114" y="4514"/>
                    <a:pt x="18069" y="4528"/>
                  </a:cubicBezTo>
                  <a:cubicBezTo>
                    <a:pt x="18247" y="4476"/>
                    <a:pt x="18180" y="4459"/>
                    <a:pt x="18296" y="4373"/>
                  </a:cubicBezTo>
                  <a:cubicBezTo>
                    <a:pt x="18558" y="4175"/>
                    <a:pt x="18661" y="3879"/>
                    <a:pt x="18946" y="3676"/>
                  </a:cubicBezTo>
                  <a:cubicBezTo>
                    <a:pt x="18934" y="4011"/>
                    <a:pt x="18685" y="4407"/>
                    <a:pt x="18572" y="4750"/>
                  </a:cubicBezTo>
                  <a:cubicBezTo>
                    <a:pt x="18531" y="4876"/>
                    <a:pt x="18412" y="4912"/>
                    <a:pt x="18464" y="5055"/>
                  </a:cubicBezTo>
                  <a:cubicBezTo>
                    <a:pt x="18506" y="5169"/>
                    <a:pt x="18689" y="5156"/>
                    <a:pt x="18712" y="5262"/>
                  </a:cubicBezTo>
                  <a:cubicBezTo>
                    <a:pt x="18723" y="5315"/>
                    <a:pt x="18628" y="5471"/>
                    <a:pt x="18550" y="5535"/>
                  </a:cubicBezTo>
                  <a:cubicBezTo>
                    <a:pt x="18524" y="5556"/>
                    <a:pt x="18521" y="5564"/>
                    <a:pt x="18508" y="5577"/>
                  </a:cubicBezTo>
                  <a:cubicBezTo>
                    <a:pt x="18510" y="5555"/>
                    <a:pt x="18500" y="5527"/>
                    <a:pt x="18464" y="5498"/>
                  </a:cubicBezTo>
                  <a:cubicBezTo>
                    <a:pt x="18340" y="5392"/>
                    <a:pt x="18536" y="5372"/>
                    <a:pt x="18258" y="5319"/>
                  </a:cubicBezTo>
                  <a:cubicBezTo>
                    <a:pt x="18094" y="5288"/>
                    <a:pt x="17784" y="5379"/>
                    <a:pt x="17670" y="5445"/>
                  </a:cubicBezTo>
                  <a:cubicBezTo>
                    <a:pt x="17572" y="5502"/>
                    <a:pt x="17536" y="5631"/>
                    <a:pt x="17457" y="5700"/>
                  </a:cubicBezTo>
                  <a:cubicBezTo>
                    <a:pt x="17348" y="5794"/>
                    <a:pt x="17281" y="5862"/>
                    <a:pt x="17099" y="5906"/>
                  </a:cubicBezTo>
                  <a:cubicBezTo>
                    <a:pt x="16973" y="5938"/>
                    <a:pt x="17078" y="5832"/>
                    <a:pt x="17045" y="5797"/>
                  </a:cubicBezTo>
                  <a:cubicBezTo>
                    <a:pt x="16838" y="5587"/>
                    <a:pt x="17062" y="5494"/>
                    <a:pt x="17221" y="5296"/>
                  </a:cubicBezTo>
                  <a:cubicBezTo>
                    <a:pt x="17339" y="5150"/>
                    <a:pt x="17544" y="4893"/>
                    <a:pt x="17011" y="5022"/>
                  </a:cubicBezTo>
                  <a:cubicBezTo>
                    <a:pt x="16973" y="5100"/>
                    <a:pt x="16810" y="5229"/>
                    <a:pt x="16664" y="5301"/>
                  </a:cubicBezTo>
                  <a:cubicBezTo>
                    <a:pt x="16697" y="5260"/>
                    <a:pt x="16680" y="5094"/>
                    <a:pt x="16656" y="5128"/>
                  </a:cubicBezTo>
                  <a:cubicBezTo>
                    <a:pt x="16705" y="5057"/>
                    <a:pt x="16839" y="5043"/>
                    <a:pt x="16936" y="4984"/>
                  </a:cubicBezTo>
                  <a:cubicBezTo>
                    <a:pt x="17087" y="4892"/>
                    <a:pt x="17480" y="4707"/>
                    <a:pt x="17510" y="4566"/>
                  </a:cubicBezTo>
                  <a:cubicBezTo>
                    <a:pt x="17520" y="4518"/>
                    <a:pt x="17429" y="4222"/>
                    <a:pt x="17393" y="4158"/>
                  </a:cubicBezTo>
                  <a:cubicBezTo>
                    <a:pt x="17263" y="3930"/>
                    <a:pt x="17030" y="4103"/>
                    <a:pt x="16853" y="4304"/>
                  </a:cubicBezTo>
                  <a:cubicBezTo>
                    <a:pt x="16790" y="4375"/>
                    <a:pt x="16758" y="4590"/>
                    <a:pt x="16699" y="4690"/>
                  </a:cubicBezTo>
                  <a:cubicBezTo>
                    <a:pt x="16651" y="4771"/>
                    <a:pt x="16743" y="4791"/>
                    <a:pt x="16666" y="4874"/>
                  </a:cubicBezTo>
                  <a:cubicBezTo>
                    <a:pt x="16598" y="4946"/>
                    <a:pt x="16206" y="5165"/>
                    <a:pt x="16230" y="4972"/>
                  </a:cubicBezTo>
                  <a:cubicBezTo>
                    <a:pt x="16238" y="4911"/>
                    <a:pt x="16598" y="4686"/>
                    <a:pt x="16648" y="4578"/>
                  </a:cubicBezTo>
                  <a:cubicBezTo>
                    <a:pt x="16718" y="4423"/>
                    <a:pt x="16596" y="4206"/>
                    <a:pt x="16803" y="4096"/>
                  </a:cubicBezTo>
                  <a:cubicBezTo>
                    <a:pt x="16804" y="4132"/>
                    <a:pt x="16820" y="4173"/>
                    <a:pt x="16828" y="4205"/>
                  </a:cubicBezTo>
                  <a:cubicBezTo>
                    <a:pt x="17389" y="3896"/>
                    <a:pt x="17605" y="3593"/>
                    <a:pt x="17654" y="3110"/>
                  </a:cubicBezTo>
                  <a:cubicBezTo>
                    <a:pt x="17664" y="3003"/>
                    <a:pt x="17851" y="2428"/>
                    <a:pt x="17508" y="2512"/>
                  </a:cubicBezTo>
                  <a:cubicBezTo>
                    <a:pt x="17213" y="2583"/>
                    <a:pt x="17414" y="3115"/>
                    <a:pt x="17326" y="3238"/>
                  </a:cubicBezTo>
                  <a:cubicBezTo>
                    <a:pt x="17109" y="2994"/>
                    <a:pt x="17185" y="2633"/>
                    <a:pt x="17105" y="2360"/>
                  </a:cubicBezTo>
                  <a:cubicBezTo>
                    <a:pt x="17030" y="2102"/>
                    <a:pt x="16939" y="1714"/>
                    <a:pt x="16803" y="1475"/>
                  </a:cubicBezTo>
                  <a:cubicBezTo>
                    <a:pt x="16703" y="1300"/>
                    <a:pt x="16493" y="1253"/>
                    <a:pt x="16449" y="1143"/>
                  </a:cubicBezTo>
                  <a:cubicBezTo>
                    <a:pt x="16391" y="996"/>
                    <a:pt x="16372" y="858"/>
                    <a:pt x="16247" y="701"/>
                  </a:cubicBezTo>
                  <a:cubicBezTo>
                    <a:pt x="16180" y="617"/>
                    <a:pt x="16127" y="517"/>
                    <a:pt x="16025" y="447"/>
                  </a:cubicBezTo>
                  <a:cubicBezTo>
                    <a:pt x="15873" y="344"/>
                    <a:pt x="15872" y="474"/>
                    <a:pt x="15767" y="478"/>
                  </a:cubicBezTo>
                  <a:cubicBezTo>
                    <a:pt x="15644" y="482"/>
                    <a:pt x="15583" y="610"/>
                    <a:pt x="15436" y="560"/>
                  </a:cubicBezTo>
                  <a:cubicBezTo>
                    <a:pt x="15289" y="510"/>
                    <a:pt x="15262" y="492"/>
                    <a:pt x="15119" y="556"/>
                  </a:cubicBezTo>
                  <a:cubicBezTo>
                    <a:pt x="15123" y="463"/>
                    <a:pt x="15171" y="230"/>
                    <a:pt x="15110" y="136"/>
                  </a:cubicBezTo>
                  <a:cubicBezTo>
                    <a:pt x="14915" y="-166"/>
                    <a:pt x="14980" y="121"/>
                    <a:pt x="14803" y="182"/>
                  </a:cubicBezTo>
                  <a:cubicBezTo>
                    <a:pt x="14637" y="241"/>
                    <a:pt x="14390" y="166"/>
                    <a:pt x="14237" y="245"/>
                  </a:cubicBezTo>
                  <a:cubicBezTo>
                    <a:pt x="14045" y="344"/>
                    <a:pt x="14166" y="551"/>
                    <a:pt x="14204" y="677"/>
                  </a:cubicBezTo>
                  <a:cubicBezTo>
                    <a:pt x="14313" y="1046"/>
                    <a:pt x="14104" y="1204"/>
                    <a:pt x="14003" y="1536"/>
                  </a:cubicBezTo>
                  <a:cubicBezTo>
                    <a:pt x="13918" y="1813"/>
                    <a:pt x="14086" y="2224"/>
                    <a:pt x="14109" y="2497"/>
                  </a:cubicBezTo>
                  <a:cubicBezTo>
                    <a:pt x="14081" y="2460"/>
                    <a:pt x="14023" y="2412"/>
                    <a:pt x="13998" y="2379"/>
                  </a:cubicBezTo>
                  <a:cubicBezTo>
                    <a:pt x="13918" y="2532"/>
                    <a:pt x="14112" y="2515"/>
                    <a:pt x="14151" y="2584"/>
                  </a:cubicBezTo>
                  <a:cubicBezTo>
                    <a:pt x="14208" y="2683"/>
                    <a:pt x="14219" y="2770"/>
                    <a:pt x="14261" y="2878"/>
                  </a:cubicBezTo>
                  <a:cubicBezTo>
                    <a:pt x="14336" y="3071"/>
                    <a:pt x="14345" y="3174"/>
                    <a:pt x="14344" y="3365"/>
                  </a:cubicBezTo>
                  <a:cubicBezTo>
                    <a:pt x="14342" y="3575"/>
                    <a:pt x="14375" y="3790"/>
                    <a:pt x="14387" y="3997"/>
                  </a:cubicBezTo>
                  <a:cubicBezTo>
                    <a:pt x="14399" y="4246"/>
                    <a:pt x="14362" y="4295"/>
                    <a:pt x="14223" y="4528"/>
                  </a:cubicBezTo>
                  <a:cubicBezTo>
                    <a:pt x="14076" y="4772"/>
                    <a:pt x="14256" y="4883"/>
                    <a:pt x="14279" y="5113"/>
                  </a:cubicBezTo>
                  <a:cubicBezTo>
                    <a:pt x="14305" y="5370"/>
                    <a:pt x="14219" y="5364"/>
                    <a:pt x="14458" y="5565"/>
                  </a:cubicBezTo>
                  <a:cubicBezTo>
                    <a:pt x="14807" y="5858"/>
                    <a:pt x="15333" y="6207"/>
                    <a:pt x="15797" y="6440"/>
                  </a:cubicBezTo>
                  <a:cubicBezTo>
                    <a:pt x="16009" y="6546"/>
                    <a:pt x="16397" y="6637"/>
                    <a:pt x="16653" y="6690"/>
                  </a:cubicBezTo>
                  <a:cubicBezTo>
                    <a:pt x="17077" y="6780"/>
                    <a:pt x="17201" y="6665"/>
                    <a:pt x="17126" y="6403"/>
                  </a:cubicBezTo>
                  <a:cubicBezTo>
                    <a:pt x="17480" y="6423"/>
                    <a:pt x="17513" y="6552"/>
                    <a:pt x="17782" y="6326"/>
                  </a:cubicBezTo>
                  <a:cubicBezTo>
                    <a:pt x="17826" y="6290"/>
                    <a:pt x="17952" y="6124"/>
                    <a:pt x="17937" y="6102"/>
                  </a:cubicBezTo>
                  <a:cubicBezTo>
                    <a:pt x="17866" y="6008"/>
                    <a:pt x="18072" y="6044"/>
                    <a:pt x="18129" y="6002"/>
                  </a:cubicBezTo>
                  <a:cubicBezTo>
                    <a:pt x="18198" y="5952"/>
                    <a:pt x="18437" y="5610"/>
                    <a:pt x="18573" y="5750"/>
                  </a:cubicBezTo>
                  <a:cubicBezTo>
                    <a:pt x="18625" y="5804"/>
                    <a:pt x="19381" y="5704"/>
                    <a:pt x="19480" y="5646"/>
                  </a:cubicBezTo>
                  <a:cubicBezTo>
                    <a:pt x="19606" y="5569"/>
                    <a:pt x="19721" y="5318"/>
                    <a:pt x="19868" y="5210"/>
                  </a:cubicBezTo>
                  <a:cubicBezTo>
                    <a:pt x="20020" y="5097"/>
                    <a:pt x="20246" y="5007"/>
                    <a:pt x="20381" y="4848"/>
                  </a:cubicBezTo>
                  <a:cubicBezTo>
                    <a:pt x="20453" y="4764"/>
                    <a:pt x="20415" y="4670"/>
                    <a:pt x="20480" y="4589"/>
                  </a:cubicBezTo>
                  <a:cubicBezTo>
                    <a:pt x="20556" y="4493"/>
                    <a:pt x="20679" y="4484"/>
                    <a:pt x="20738" y="4370"/>
                  </a:cubicBezTo>
                  <a:cubicBezTo>
                    <a:pt x="20781" y="4285"/>
                    <a:pt x="20697" y="4174"/>
                    <a:pt x="20752" y="4077"/>
                  </a:cubicBezTo>
                  <a:cubicBezTo>
                    <a:pt x="20803" y="3987"/>
                    <a:pt x="21068" y="3915"/>
                    <a:pt x="21014" y="3810"/>
                  </a:cubicBezTo>
                  <a:cubicBezTo>
                    <a:pt x="20942" y="3673"/>
                    <a:pt x="20450" y="3940"/>
                    <a:pt x="20502" y="3695"/>
                  </a:cubicBezTo>
                  <a:cubicBezTo>
                    <a:pt x="20525" y="3586"/>
                    <a:pt x="20911" y="3516"/>
                    <a:pt x="21046" y="3438"/>
                  </a:cubicBezTo>
                  <a:close/>
                  <a:moveTo>
                    <a:pt x="642" y="7573"/>
                  </a:moveTo>
                  <a:cubicBezTo>
                    <a:pt x="824" y="7526"/>
                    <a:pt x="1014" y="7443"/>
                    <a:pt x="1210" y="7402"/>
                  </a:cubicBezTo>
                  <a:cubicBezTo>
                    <a:pt x="1568" y="7328"/>
                    <a:pt x="1521" y="7426"/>
                    <a:pt x="1675" y="7178"/>
                  </a:cubicBezTo>
                  <a:cubicBezTo>
                    <a:pt x="1701" y="7286"/>
                    <a:pt x="1901" y="7301"/>
                    <a:pt x="1926" y="7357"/>
                  </a:cubicBezTo>
                  <a:cubicBezTo>
                    <a:pt x="1972" y="7462"/>
                    <a:pt x="1859" y="7545"/>
                    <a:pt x="1922" y="7669"/>
                  </a:cubicBezTo>
                  <a:cubicBezTo>
                    <a:pt x="2006" y="7835"/>
                    <a:pt x="2188" y="8033"/>
                    <a:pt x="2362" y="8041"/>
                  </a:cubicBezTo>
                  <a:cubicBezTo>
                    <a:pt x="2784" y="8059"/>
                    <a:pt x="2827" y="7793"/>
                    <a:pt x="3027" y="7707"/>
                  </a:cubicBezTo>
                  <a:cubicBezTo>
                    <a:pt x="3031" y="7705"/>
                    <a:pt x="3342" y="7693"/>
                    <a:pt x="3407" y="7680"/>
                  </a:cubicBezTo>
                  <a:cubicBezTo>
                    <a:pt x="3576" y="7646"/>
                    <a:pt x="3723" y="7579"/>
                    <a:pt x="3880" y="7554"/>
                  </a:cubicBezTo>
                  <a:cubicBezTo>
                    <a:pt x="3939" y="7597"/>
                    <a:pt x="3917" y="7597"/>
                    <a:pt x="4033" y="7657"/>
                  </a:cubicBezTo>
                  <a:cubicBezTo>
                    <a:pt x="3839" y="7670"/>
                    <a:pt x="3597" y="7753"/>
                    <a:pt x="3831" y="7877"/>
                  </a:cubicBezTo>
                  <a:cubicBezTo>
                    <a:pt x="3884" y="7905"/>
                    <a:pt x="4245" y="7894"/>
                    <a:pt x="4353" y="7907"/>
                  </a:cubicBezTo>
                  <a:cubicBezTo>
                    <a:pt x="4795" y="7960"/>
                    <a:pt x="4924" y="8003"/>
                    <a:pt x="5379" y="7901"/>
                  </a:cubicBezTo>
                  <a:cubicBezTo>
                    <a:pt x="5580" y="7856"/>
                    <a:pt x="5560" y="7852"/>
                    <a:pt x="5769" y="7826"/>
                  </a:cubicBezTo>
                  <a:cubicBezTo>
                    <a:pt x="5949" y="7803"/>
                    <a:pt x="6141" y="7799"/>
                    <a:pt x="6329" y="7781"/>
                  </a:cubicBezTo>
                  <a:cubicBezTo>
                    <a:pt x="6787" y="7741"/>
                    <a:pt x="7000" y="7644"/>
                    <a:pt x="7071" y="7350"/>
                  </a:cubicBezTo>
                  <a:cubicBezTo>
                    <a:pt x="6894" y="7417"/>
                    <a:pt x="6767" y="7547"/>
                    <a:pt x="6530" y="7522"/>
                  </a:cubicBezTo>
                  <a:cubicBezTo>
                    <a:pt x="6723" y="7424"/>
                    <a:pt x="6940" y="7241"/>
                    <a:pt x="6593" y="7159"/>
                  </a:cubicBezTo>
                  <a:cubicBezTo>
                    <a:pt x="7187" y="7192"/>
                    <a:pt x="6922" y="6844"/>
                    <a:pt x="7330" y="6619"/>
                  </a:cubicBezTo>
                  <a:cubicBezTo>
                    <a:pt x="7181" y="6882"/>
                    <a:pt x="6832" y="7407"/>
                    <a:pt x="7593" y="7192"/>
                  </a:cubicBezTo>
                  <a:cubicBezTo>
                    <a:pt x="7853" y="7117"/>
                    <a:pt x="7708" y="7086"/>
                    <a:pt x="7956" y="7118"/>
                  </a:cubicBezTo>
                  <a:cubicBezTo>
                    <a:pt x="8040" y="7129"/>
                    <a:pt x="8089" y="7442"/>
                    <a:pt x="8215" y="7105"/>
                  </a:cubicBezTo>
                  <a:cubicBezTo>
                    <a:pt x="8420" y="7288"/>
                    <a:pt x="8223" y="7493"/>
                    <a:pt x="8050" y="7651"/>
                  </a:cubicBezTo>
                  <a:cubicBezTo>
                    <a:pt x="8119" y="7631"/>
                    <a:pt x="8253" y="7531"/>
                    <a:pt x="8332" y="7521"/>
                  </a:cubicBezTo>
                  <a:cubicBezTo>
                    <a:pt x="8786" y="7462"/>
                    <a:pt x="8317" y="7505"/>
                    <a:pt x="8533" y="7596"/>
                  </a:cubicBezTo>
                  <a:cubicBezTo>
                    <a:pt x="8914" y="7757"/>
                    <a:pt x="9286" y="7660"/>
                    <a:pt x="9562" y="7561"/>
                  </a:cubicBezTo>
                  <a:cubicBezTo>
                    <a:pt x="9825" y="7466"/>
                    <a:pt x="10192" y="7352"/>
                    <a:pt x="10372" y="7186"/>
                  </a:cubicBezTo>
                  <a:cubicBezTo>
                    <a:pt x="10753" y="6836"/>
                    <a:pt x="10347" y="7007"/>
                    <a:pt x="9988" y="7030"/>
                  </a:cubicBezTo>
                  <a:cubicBezTo>
                    <a:pt x="10049" y="6879"/>
                    <a:pt x="10345" y="6828"/>
                    <a:pt x="10289" y="6657"/>
                  </a:cubicBezTo>
                  <a:cubicBezTo>
                    <a:pt x="10250" y="6537"/>
                    <a:pt x="9693" y="6381"/>
                    <a:pt x="9996" y="6580"/>
                  </a:cubicBezTo>
                  <a:cubicBezTo>
                    <a:pt x="9669" y="6791"/>
                    <a:pt x="9737" y="6366"/>
                    <a:pt x="9334" y="6554"/>
                  </a:cubicBezTo>
                  <a:cubicBezTo>
                    <a:pt x="9325" y="6536"/>
                    <a:pt x="9300" y="6451"/>
                    <a:pt x="9298" y="6438"/>
                  </a:cubicBezTo>
                  <a:cubicBezTo>
                    <a:pt x="9902" y="6425"/>
                    <a:pt x="9616" y="6358"/>
                    <a:pt x="9232" y="6316"/>
                  </a:cubicBezTo>
                  <a:cubicBezTo>
                    <a:pt x="9349" y="6295"/>
                    <a:pt x="9795" y="6259"/>
                    <a:pt x="9856" y="6164"/>
                  </a:cubicBezTo>
                  <a:cubicBezTo>
                    <a:pt x="9946" y="6024"/>
                    <a:pt x="9628" y="6008"/>
                    <a:pt x="9449" y="6043"/>
                  </a:cubicBezTo>
                  <a:cubicBezTo>
                    <a:pt x="9547" y="5977"/>
                    <a:pt x="10284" y="5819"/>
                    <a:pt x="9729" y="5769"/>
                  </a:cubicBezTo>
                  <a:cubicBezTo>
                    <a:pt x="10136" y="5630"/>
                    <a:pt x="9395" y="5522"/>
                    <a:pt x="10080" y="5432"/>
                  </a:cubicBezTo>
                  <a:cubicBezTo>
                    <a:pt x="10033" y="5409"/>
                    <a:pt x="9996" y="5375"/>
                    <a:pt x="9938" y="5352"/>
                  </a:cubicBezTo>
                  <a:cubicBezTo>
                    <a:pt x="10328" y="5345"/>
                    <a:pt x="10466" y="5231"/>
                    <a:pt x="10621" y="5026"/>
                  </a:cubicBezTo>
                  <a:cubicBezTo>
                    <a:pt x="10708" y="4911"/>
                    <a:pt x="10957" y="4603"/>
                    <a:pt x="10782" y="4554"/>
                  </a:cubicBezTo>
                  <a:cubicBezTo>
                    <a:pt x="10402" y="4446"/>
                    <a:pt x="9515" y="4979"/>
                    <a:pt x="9230" y="5096"/>
                  </a:cubicBezTo>
                  <a:cubicBezTo>
                    <a:pt x="8801" y="5291"/>
                    <a:pt x="8331" y="5471"/>
                    <a:pt x="7945" y="5701"/>
                  </a:cubicBezTo>
                  <a:cubicBezTo>
                    <a:pt x="8086" y="5675"/>
                    <a:pt x="8267" y="5635"/>
                    <a:pt x="8427" y="5646"/>
                  </a:cubicBezTo>
                  <a:cubicBezTo>
                    <a:pt x="8241" y="5701"/>
                    <a:pt x="7992" y="5736"/>
                    <a:pt x="7819" y="5812"/>
                  </a:cubicBezTo>
                  <a:cubicBezTo>
                    <a:pt x="7647" y="5885"/>
                    <a:pt x="7590" y="6016"/>
                    <a:pt x="7457" y="6066"/>
                  </a:cubicBezTo>
                  <a:cubicBezTo>
                    <a:pt x="7071" y="6213"/>
                    <a:pt x="6020" y="6443"/>
                    <a:pt x="5892" y="6717"/>
                  </a:cubicBezTo>
                  <a:cubicBezTo>
                    <a:pt x="5462" y="6611"/>
                    <a:pt x="5149" y="6520"/>
                    <a:pt x="4661" y="6699"/>
                  </a:cubicBezTo>
                  <a:cubicBezTo>
                    <a:pt x="4892" y="6673"/>
                    <a:pt x="4836" y="6827"/>
                    <a:pt x="4721" y="6818"/>
                  </a:cubicBezTo>
                  <a:cubicBezTo>
                    <a:pt x="4488" y="6800"/>
                    <a:pt x="4506" y="6695"/>
                    <a:pt x="4353" y="6678"/>
                  </a:cubicBezTo>
                  <a:cubicBezTo>
                    <a:pt x="4193" y="6660"/>
                    <a:pt x="3674" y="6729"/>
                    <a:pt x="3563" y="6795"/>
                  </a:cubicBezTo>
                  <a:cubicBezTo>
                    <a:pt x="3304" y="6951"/>
                    <a:pt x="3536" y="6933"/>
                    <a:pt x="3593" y="7027"/>
                  </a:cubicBezTo>
                  <a:cubicBezTo>
                    <a:pt x="3609" y="7052"/>
                    <a:pt x="3470" y="7100"/>
                    <a:pt x="3509" y="7135"/>
                  </a:cubicBezTo>
                  <a:cubicBezTo>
                    <a:pt x="3533" y="7156"/>
                    <a:pt x="3680" y="7183"/>
                    <a:pt x="3683" y="7193"/>
                  </a:cubicBezTo>
                  <a:cubicBezTo>
                    <a:pt x="3709" y="7294"/>
                    <a:pt x="3870" y="7400"/>
                    <a:pt x="3456" y="7409"/>
                  </a:cubicBezTo>
                  <a:cubicBezTo>
                    <a:pt x="3150" y="7416"/>
                    <a:pt x="3282" y="7235"/>
                    <a:pt x="3108" y="7246"/>
                  </a:cubicBezTo>
                  <a:cubicBezTo>
                    <a:pt x="2975" y="7254"/>
                    <a:pt x="2788" y="7462"/>
                    <a:pt x="2728" y="7509"/>
                  </a:cubicBezTo>
                  <a:cubicBezTo>
                    <a:pt x="2695" y="7375"/>
                    <a:pt x="2841" y="7290"/>
                    <a:pt x="2833" y="7145"/>
                  </a:cubicBezTo>
                  <a:cubicBezTo>
                    <a:pt x="2825" y="6987"/>
                    <a:pt x="2620" y="6755"/>
                    <a:pt x="2435" y="7000"/>
                  </a:cubicBezTo>
                  <a:cubicBezTo>
                    <a:pt x="2647" y="6848"/>
                    <a:pt x="2133" y="6756"/>
                    <a:pt x="1901" y="6729"/>
                  </a:cubicBezTo>
                  <a:cubicBezTo>
                    <a:pt x="1324" y="6666"/>
                    <a:pt x="1168" y="6804"/>
                    <a:pt x="1130" y="6458"/>
                  </a:cubicBezTo>
                  <a:cubicBezTo>
                    <a:pt x="1121" y="6382"/>
                    <a:pt x="1166" y="6263"/>
                    <a:pt x="1136" y="6172"/>
                  </a:cubicBezTo>
                  <a:cubicBezTo>
                    <a:pt x="1092" y="6037"/>
                    <a:pt x="1102" y="6071"/>
                    <a:pt x="998" y="5956"/>
                  </a:cubicBezTo>
                  <a:cubicBezTo>
                    <a:pt x="881" y="5830"/>
                    <a:pt x="663" y="5574"/>
                    <a:pt x="470" y="5486"/>
                  </a:cubicBezTo>
                  <a:cubicBezTo>
                    <a:pt x="414" y="5740"/>
                    <a:pt x="223" y="5936"/>
                    <a:pt x="115" y="6172"/>
                  </a:cubicBezTo>
                  <a:cubicBezTo>
                    <a:pt x="41" y="6339"/>
                    <a:pt x="124" y="6479"/>
                    <a:pt x="142" y="6642"/>
                  </a:cubicBezTo>
                  <a:cubicBezTo>
                    <a:pt x="162" y="6825"/>
                    <a:pt x="85" y="6920"/>
                    <a:pt x="34" y="7096"/>
                  </a:cubicBezTo>
                  <a:cubicBezTo>
                    <a:pt x="-10" y="7245"/>
                    <a:pt x="-38" y="7408"/>
                    <a:pt x="130" y="7536"/>
                  </a:cubicBezTo>
                  <a:cubicBezTo>
                    <a:pt x="352" y="7704"/>
                    <a:pt x="402" y="7633"/>
                    <a:pt x="642" y="7573"/>
                  </a:cubicBezTo>
                  <a:close/>
                  <a:moveTo>
                    <a:pt x="17882" y="7468"/>
                  </a:moveTo>
                  <a:cubicBezTo>
                    <a:pt x="17783" y="7506"/>
                    <a:pt x="17231" y="7735"/>
                    <a:pt x="17132" y="7724"/>
                  </a:cubicBezTo>
                  <a:cubicBezTo>
                    <a:pt x="16586" y="7666"/>
                    <a:pt x="17630" y="7126"/>
                    <a:pt x="17594" y="6961"/>
                  </a:cubicBezTo>
                  <a:cubicBezTo>
                    <a:pt x="17546" y="6735"/>
                    <a:pt x="17321" y="6844"/>
                    <a:pt x="17087" y="6824"/>
                  </a:cubicBezTo>
                  <a:cubicBezTo>
                    <a:pt x="16800" y="6801"/>
                    <a:pt x="16688" y="6717"/>
                    <a:pt x="16460" y="6658"/>
                  </a:cubicBezTo>
                  <a:cubicBezTo>
                    <a:pt x="15800" y="6488"/>
                    <a:pt x="15506" y="6589"/>
                    <a:pt x="15426" y="7011"/>
                  </a:cubicBezTo>
                  <a:cubicBezTo>
                    <a:pt x="15232" y="7012"/>
                    <a:pt x="15230" y="7114"/>
                    <a:pt x="15040" y="7156"/>
                  </a:cubicBezTo>
                  <a:cubicBezTo>
                    <a:pt x="14842" y="7201"/>
                    <a:pt x="14536" y="7119"/>
                    <a:pt x="14374" y="7166"/>
                  </a:cubicBezTo>
                  <a:cubicBezTo>
                    <a:pt x="14081" y="7250"/>
                    <a:pt x="14324" y="7225"/>
                    <a:pt x="14195" y="7373"/>
                  </a:cubicBezTo>
                  <a:cubicBezTo>
                    <a:pt x="14224" y="7339"/>
                    <a:pt x="14238" y="7682"/>
                    <a:pt x="14069" y="7433"/>
                  </a:cubicBezTo>
                  <a:cubicBezTo>
                    <a:pt x="14050" y="7406"/>
                    <a:pt x="14097" y="7254"/>
                    <a:pt x="14072" y="7210"/>
                  </a:cubicBezTo>
                  <a:cubicBezTo>
                    <a:pt x="14047" y="7166"/>
                    <a:pt x="13966" y="7083"/>
                    <a:pt x="13916" y="7040"/>
                  </a:cubicBezTo>
                  <a:cubicBezTo>
                    <a:pt x="13786" y="6928"/>
                    <a:pt x="13502" y="6783"/>
                    <a:pt x="13333" y="6684"/>
                  </a:cubicBezTo>
                  <a:cubicBezTo>
                    <a:pt x="13226" y="6621"/>
                    <a:pt x="13368" y="6416"/>
                    <a:pt x="13088" y="6654"/>
                  </a:cubicBezTo>
                  <a:cubicBezTo>
                    <a:pt x="13033" y="6701"/>
                    <a:pt x="13024" y="6787"/>
                    <a:pt x="12998" y="6846"/>
                  </a:cubicBezTo>
                  <a:cubicBezTo>
                    <a:pt x="12917" y="7032"/>
                    <a:pt x="12864" y="7155"/>
                    <a:pt x="12731" y="7329"/>
                  </a:cubicBezTo>
                  <a:cubicBezTo>
                    <a:pt x="12615" y="7481"/>
                    <a:pt x="12557" y="7658"/>
                    <a:pt x="12411" y="7801"/>
                  </a:cubicBezTo>
                  <a:cubicBezTo>
                    <a:pt x="12272" y="7936"/>
                    <a:pt x="11950" y="8028"/>
                    <a:pt x="11911" y="8175"/>
                  </a:cubicBezTo>
                  <a:cubicBezTo>
                    <a:pt x="11955" y="8125"/>
                    <a:pt x="12083" y="8059"/>
                    <a:pt x="12134" y="8015"/>
                  </a:cubicBezTo>
                  <a:cubicBezTo>
                    <a:pt x="12172" y="8166"/>
                    <a:pt x="11759" y="8651"/>
                    <a:pt x="11780" y="8285"/>
                  </a:cubicBezTo>
                  <a:cubicBezTo>
                    <a:pt x="11547" y="8305"/>
                    <a:pt x="11336" y="8382"/>
                    <a:pt x="11124" y="8443"/>
                  </a:cubicBezTo>
                  <a:cubicBezTo>
                    <a:pt x="10864" y="8517"/>
                    <a:pt x="11015" y="8551"/>
                    <a:pt x="10969" y="8596"/>
                  </a:cubicBezTo>
                  <a:cubicBezTo>
                    <a:pt x="10965" y="8599"/>
                    <a:pt x="11265" y="8605"/>
                    <a:pt x="11054" y="8675"/>
                  </a:cubicBezTo>
                  <a:cubicBezTo>
                    <a:pt x="10903" y="8725"/>
                    <a:pt x="10860" y="8725"/>
                    <a:pt x="10814" y="8822"/>
                  </a:cubicBezTo>
                  <a:cubicBezTo>
                    <a:pt x="10741" y="8712"/>
                    <a:pt x="10641" y="8685"/>
                    <a:pt x="10521" y="8788"/>
                  </a:cubicBezTo>
                  <a:cubicBezTo>
                    <a:pt x="10326" y="8512"/>
                    <a:pt x="11418" y="8277"/>
                    <a:pt x="10352" y="8304"/>
                  </a:cubicBezTo>
                  <a:cubicBezTo>
                    <a:pt x="10413" y="8274"/>
                    <a:pt x="10461" y="8237"/>
                    <a:pt x="10515" y="8208"/>
                  </a:cubicBezTo>
                  <a:cubicBezTo>
                    <a:pt x="9962" y="8342"/>
                    <a:pt x="9073" y="8540"/>
                    <a:pt x="8600" y="8741"/>
                  </a:cubicBezTo>
                  <a:cubicBezTo>
                    <a:pt x="9244" y="8680"/>
                    <a:pt x="8553" y="9154"/>
                    <a:pt x="8442" y="8993"/>
                  </a:cubicBezTo>
                  <a:cubicBezTo>
                    <a:pt x="8358" y="9078"/>
                    <a:pt x="8119" y="9450"/>
                    <a:pt x="7863" y="9258"/>
                  </a:cubicBezTo>
                  <a:cubicBezTo>
                    <a:pt x="7785" y="9200"/>
                    <a:pt x="8017" y="9022"/>
                    <a:pt x="8097" y="8939"/>
                  </a:cubicBezTo>
                  <a:cubicBezTo>
                    <a:pt x="7694" y="8995"/>
                    <a:pt x="7363" y="9284"/>
                    <a:pt x="6934" y="9326"/>
                  </a:cubicBezTo>
                  <a:cubicBezTo>
                    <a:pt x="7099" y="9219"/>
                    <a:pt x="7347" y="9082"/>
                    <a:pt x="6888" y="9112"/>
                  </a:cubicBezTo>
                  <a:cubicBezTo>
                    <a:pt x="6994" y="9089"/>
                    <a:pt x="7101" y="9034"/>
                    <a:pt x="7186" y="9008"/>
                  </a:cubicBezTo>
                  <a:cubicBezTo>
                    <a:pt x="6742" y="9021"/>
                    <a:pt x="6517" y="9257"/>
                    <a:pt x="6175" y="9356"/>
                  </a:cubicBezTo>
                  <a:cubicBezTo>
                    <a:pt x="6010" y="9403"/>
                    <a:pt x="6360" y="9439"/>
                    <a:pt x="6266" y="9505"/>
                  </a:cubicBezTo>
                  <a:cubicBezTo>
                    <a:pt x="6205" y="9548"/>
                    <a:pt x="5982" y="9531"/>
                    <a:pt x="5868" y="9589"/>
                  </a:cubicBezTo>
                  <a:cubicBezTo>
                    <a:pt x="5878" y="9535"/>
                    <a:pt x="5830" y="9525"/>
                    <a:pt x="5867" y="9462"/>
                  </a:cubicBezTo>
                  <a:cubicBezTo>
                    <a:pt x="5210" y="9368"/>
                    <a:pt x="4783" y="9368"/>
                    <a:pt x="4155" y="9472"/>
                  </a:cubicBezTo>
                  <a:cubicBezTo>
                    <a:pt x="4082" y="9558"/>
                    <a:pt x="4019" y="9641"/>
                    <a:pt x="3988" y="9717"/>
                  </a:cubicBezTo>
                  <a:cubicBezTo>
                    <a:pt x="3865" y="10024"/>
                    <a:pt x="3647" y="10107"/>
                    <a:pt x="3473" y="10410"/>
                  </a:cubicBezTo>
                  <a:cubicBezTo>
                    <a:pt x="3533" y="10413"/>
                    <a:pt x="3593" y="10416"/>
                    <a:pt x="3654" y="10418"/>
                  </a:cubicBezTo>
                  <a:cubicBezTo>
                    <a:pt x="3745" y="10493"/>
                    <a:pt x="3785" y="10581"/>
                    <a:pt x="3769" y="10672"/>
                  </a:cubicBezTo>
                  <a:cubicBezTo>
                    <a:pt x="3825" y="10666"/>
                    <a:pt x="3871" y="10669"/>
                    <a:pt x="3908" y="10669"/>
                  </a:cubicBezTo>
                  <a:cubicBezTo>
                    <a:pt x="3619" y="11012"/>
                    <a:pt x="3711" y="10541"/>
                    <a:pt x="3646" y="10529"/>
                  </a:cubicBezTo>
                  <a:cubicBezTo>
                    <a:pt x="3359" y="10468"/>
                    <a:pt x="3397" y="10947"/>
                    <a:pt x="3401" y="11002"/>
                  </a:cubicBezTo>
                  <a:cubicBezTo>
                    <a:pt x="3425" y="11440"/>
                    <a:pt x="3087" y="11910"/>
                    <a:pt x="2797" y="12317"/>
                  </a:cubicBezTo>
                  <a:cubicBezTo>
                    <a:pt x="2737" y="12402"/>
                    <a:pt x="2647" y="12496"/>
                    <a:pt x="2607" y="12565"/>
                  </a:cubicBezTo>
                  <a:cubicBezTo>
                    <a:pt x="2617" y="12550"/>
                    <a:pt x="2605" y="12684"/>
                    <a:pt x="2539" y="12764"/>
                  </a:cubicBezTo>
                  <a:cubicBezTo>
                    <a:pt x="2455" y="12868"/>
                    <a:pt x="2470" y="13010"/>
                    <a:pt x="2525" y="13118"/>
                  </a:cubicBezTo>
                  <a:cubicBezTo>
                    <a:pt x="2672" y="13414"/>
                    <a:pt x="2592" y="13234"/>
                    <a:pt x="2836" y="13162"/>
                  </a:cubicBezTo>
                  <a:cubicBezTo>
                    <a:pt x="3065" y="13095"/>
                    <a:pt x="3168" y="13101"/>
                    <a:pt x="3376" y="13087"/>
                  </a:cubicBezTo>
                  <a:cubicBezTo>
                    <a:pt x="3497" y="13080"/>
                    <a:pt x="3501" y="13282"/>
                    <a:pt x="3597" y="12985"/>
                  </a:cubicBezTo>
                  <a:cubicBezTo>
                    <a:pt x="3613" y="12935"/>
                    <a:pt x="3493" y="12882"/>
                    <a:pt x="3518" y="12813"/>
                  </a:cubicBezTo>
                  <a:cubicBezTo>
                    <a:pt x="3546" y="12733"/>
                    <a:pt x="3657" y="12651"/>
                    <a:pt x="3728" y="12583"/>
                  </a:cubicBezTo>
                  <a:cubicBezTo>
                    <a:pt x="3922" y="12398"/>
                    <a:pt x="4239" y="12388"/>
                    <a:pt x="4520" y="12337"/>
                  </a:cubicBezTo>
                  <a:cubicBezTo>
                    <a:pt x="4838" y="12280"/>
                    <a:pt x="5039" y="12215"/>
                    <a:pt x="5317" y="12066"/>
                  </a:cubicBezTo>
                  <a:cubicBezTo>
                    <a:pt x="5545" y="11946"/>
                    <a:pt x="5737" y="11745"/>
                    <a:pt x="6050" y="11675"/>
                  </a:cubicBezTo>
                  <a:cubicBezTo>
                    <a:pt x="6120" y="11659"/>
                    <a:pt x="6331" y="11663"/>
                    <a:pt x="6443" y="11646"/>
                  </a:cubicBezTo>
                  <a:cubicBezTo>
                    <a:pt x="6490" y="11639"/>
                    <a:pt x="6520" y="11559"/>
                    <a:pt x="6612" y="11547"/>
                  </a:cubicBezTo>
                  <a:cubicBezTo>
                    <a:pt x="6655" y="11540"/>
                    <a:pt x="6835" y="11577"/>
                    <a:pt x="6811" y="11584"/>
                  </a:cubicBezTo>
                  <a:cubicBezTo>
                    <a:pt x="6820" y="11582"/>
                    <a:pt x="6916" y="11626"/>
                    <a:pt x="7001" y="11594"/>
                  </a:cubicBezTo>
                  <a:cubicBezTo>
                    <a:pt x="7082" y="11564"/>
                    <a:pt x="7058" y="11446"/>
                    <a:pt x="7116" y="11401"/>
                  </a:cubicBezTo>
                  <a:cubicBezTo>
                    <a:pt x="7205" y="11331"/>
                    <a:pt x="7295" y="11281"/>
                    <a:pt x="7412" y="11229"/>
                  </a:cubicBezTo>
                  <a:cubicBezTo>
                    <a:pt x="7894" y="11010"/>
                    <a:pt x="8673" y="11022"/>
                    <a:pt x="9088" y="10771"/>
                  </a:cubicBezTo>
                  <a:cubicBezTo>
                    <a:pt x="9091" y="10882"/>
                    <a:pt x="9025" y="10980"/>
                    <a:pt x="8971" y="11085"/>
                  </a:cubicBezTo>
                  <a:cubicBezTo>
                    <a:pt x="8907" y="11212"/>
                    <a:pt x="8884" y="11099"/>
                    <a:pt x="8798" y="11133"/>
                  </a:cubicBezTo>
                  <a:cubicBezTo>
                    <a:pt x="8771" y="11144"/>
                    <a:pt x="8598" y="11129"/>
                    <a:pt x="8538" y="11145"/>
                  </a:cubicBezTo>
                  <a:cubicBezTo>
                    <a:pt x="8441" y="11171"/>
                    <a:pt x="8401" y="11254"/>
                    <a:pt x="8316" y="11290"/>
                  </a:cubicBezTo>
                  <a:cubicBezTo>
                    <a:pt x="7999" y="11430"/>
                    <a:pt x="7650" y="11519"/>
                    <a:pt x="7421" y="11722"/>
                  </a:cubicBezTo>
                  <a:cubicBezTo>
                    <a:pt x="7039" y="12063"/>
                    <a:pt x="5702" y="13056"/>
                    <a:pt x="7128" y="13050"/>
                  </a:cubicBezTo>
                  <a:cubicBezTo>
                    <a:pt x="7140" y="13145"/>
                    <a:pt x="7196" y="13205"/>
                    <a:pt x="7302" y="13270"/>
                  </a:cubicBezTo>
                  <a:cubicBezTo>
                    <a:pt x="7104" y="13393"/>
                    <a:pt x="6891" y="13138"/>
                    <a:pt x="6618" y="13084"/>
                  </a:cubicBezTo>
                  <a:cubicBezTo>
                    <a:pt x="6344" y="13030"/>
                    <a:pt x="5776" y="12946"/>
                    <a:pt x="5923" y="13253"/>
                  </a:cubicBezTo>
                  <a:cubicBezTo>
                    <a:pt x="5621" y="13232"/>
                    <a:pt x="5512" y="12903"/>
                    <a:pt x="5413" y="12729"/>
                  </a:cubicBezTo>
                  <a:cubicBezTo>
                    <a:pt x="5322" y="12569"/>
                    <a:pt x="5514" y="12510"/>
                    <a:pt x="5150" y="12473"/>
                  </a:cubicBezTo>
                  <a:cubicBezTo>
                    <a:pt x="5004" y="12459"/>
                    <a:pt x="4685" y="12556"/>
                    <a:pt x="4557" y="12596"/>
                  </a:cubicBezTo>
                  <a:cubicBezTo>
                    <a:pt x="5433" y="12543"/>
                    <a:pt x="4917" y="12947"/>
                    <a:pt x="4501" y="13253"/>
                  </a:cubicBezTo>
                  <a:cubicBezTo>
                    <a:pt x="4257" y="13433"/>
                    <a:pt x="3958" y="13577"/>
                    <a:pt x="3745" y="13775"/>
                  </a:cubicBezTo>
                  <a:cubicBezTo>
                    <a:pt x="3224" y="14257"/>
                    <a:pt x="2860" y="14840"/>
                    <a:pt x="2440" y="15361"/>
                  </a:cubicBezTo>
                  <a:cubicBezTo>
                    <a:pt x="2085" y="15801"/>
                    <a:pt x="1269" y="16493"/>
                    <a:pt x="1482" y="17008"/>
                  </a:cubicBezTo>
                  <a:cubicBezTo>
                    <a:pt x="1827" y="16769"/>
                    <a:pt x="2147" y="16453"/>
                    <a:pt x="2409" y="16171"/>
                  </a:cubicBezTo>
                  <a:cubicBezTo>
                    <a:pt x="2294" y="16466"/>
                    <a:pt x="2105" y="16828"/>
                    <a:pt x="1874" y="17094"/>
                  </a:cubicBezTo>
                  <a:cubicBezTo>
                    <a:pt x="1620" y="17387"/>
                    <a:pt x="1589" y="17081"/>
                    <a:pt x="1385" y="17051"/>
                  </a:cubicBezTo>
                  <a:cubicBezTo>
                    <a:pt x="770" y="16964"/>
                    <a:pt x="463" y="18416"/>
                    <a:pt x="367" y="18691"/>
                  </a:cubicBezTo>
                  <a:cubicBezTo>
                    <a:pt x="392" y="18707"/>
                    <a:pt x="417" y="18723"/>
                    <a:pt x="442" y="18739"/>
                  </a:cubicBezTo>
                  <a:cubicBezTo>
                    <a:pt x="550" y="18562"/>
                    <a:pt x="724" y="17483"/>
                    <a:pt x="1242" y="17559"/>
                  </a:cubicBezTo>
                  <a:cubicBezTo>
                    <a:pt x="1426" y="17586"/>
                    <a:pt x="1068" y="18311"/>
                    <a:pt x="1036" y="18494"/>
                  </a:cubicBezTo>
                  <a:cubicBezTo>
                    <a:pt x="971" y="18848"/>
                    <a:pt x="1174" y="19106"/>
                    <a:pt x="1248" y="19458"/>
                  </a:cubicBezTo>
                  <a:cubicBezTo>
                    <a:pt x="1270" y="19571"/>
                    <a:pt x="1253" y="19654"/>
                    <a:pt x="1338" y="19765"/>
                  </a:cubicBezTo>
                  <a:cubicBezTo>
                    <a:pt x="1444" y="19904"/>
                    <a:pt x="1414" y="19837"/>
                    <a:pt x="1563" y="19929"/>
                  </a:cubicBezTo>
                  <a:cubicBezTo>
                    <a:pt x="1768" y="20057"/>
                    <a:pt x="1839" y="20143"/>
                    <a:pt x="1978" y="20276"/>
                  </a:cubicBezTo>
                  <a:cubicBezTo>
                    <a:pt x="2326" y="20606"/>
                    <a:pt x="2551" y="20807"/>
                    <a:pt x="2951" y="21078"/>
                  </a:cubicBezTo>
                  <a:cubicBezTo>
                    <a:pt x="3018" y="20943"/>
                    <a:pt x="3156" y="21006"/>
                    <a:pt x="3286" y="21086"/>
                  </a:cubicBezTo>
                  <a:cubicBezTo>
                    <a:pt x="3280" y="21054"/>
                    <a:pt x="3285" y="21004"/>
                    <a:pt x="3281" y="20974"/>
                  </a:cubicBezTo>
                  <a:cubicBezTo>
                    <a:pt x="3364" y="21023"/>
                    <a:pt x="3471" y="21046"/>
                    <a:pt x="3536" y="21118"/>
                  </a:cubicBezTo>
                  <a:cubicBezTo>
                    <a:pt x="3532" y="21084"/>
                    <a:pt x="3569" y="20996"/>
                    <a:pt x="3557" y="20947"/>
                  </a:cubicBezTo>
                  <a:cubicBezTo>
                    <a:pt x="3591" y="20969"/>
                    <a:pt x="3640" y="20992"/>
                    <a:pt x="3677" y="21021"/>
                  </a:cubicBezTo>
                  <a:cubicBezTo>
                    <a:pt x="3742" y="20781"/>
                    <a:pt x="3211" y="20740"/>
                    <a:pt x="3139" y="20518"/>
                  </a:cubicBezTo>
                  <a:cubicBezTo>
                    <a:pt x="3300" y="20576"/>
                    <a:pt x="3787" y="20847"/>
                    <a:pt x="3494" y="20504"/>
                  </a:cubicBezTo>
                  <a:cubicBezTo>
                    <a:pt x="3661" y="20499"/>
                    <a:pt x="3827" y="20562"/>
                    <a:pt x="3956" y="20617"/>
                  </a:cubicBezTo>
                  <a:cubicBezTo>
                    <a:pt x="3937" y="20588"/>
                    <a:pt x="3916" y="20541"/>
                    <a:pt x="3886" y="20503"/>
                  </a:cubicBezTo>
                  <a:cubicBezTo>
                    <a:pt x="4251" y="20623"/>
                    <a:pt x="4454" y="20996"/>
                    <a:pt x="4799" y="21089"/>
                  </a:cubicBezTo>
                  <a:cubicBezTo>
                    <a:pt x="4749" y="20987"/>
                    <a:pt x="4599" y="20901"/>
                    <a:pt x="4630" y="20788"/>
                  </a:cubicBezTo>
                  <a:cubicBezTo>
                    <a:pt x="4797" y="20840"/>
                    <a:pt x="5169" y="21434"/>
                    <a:pt x="5188" y="21158"/>
                  </a:cubicBezTo>
                  <a:cubicBezTo>
                    <a:pt x="5353" y="21214"/>
                    <a:pt x="5382" y="21369"/>
                    <a:pt x="5570" y="21382"/>
                  </a:cubicBezTo>
                  <a:cubicBezTo>
                    <a:pt x="5891" y="21403"/>
                    <a:pt x="5844" y="21119"/>
                    <a:pt x="5943" y="21025"/>
                  </a:cubicBezTo>
                  <a:cubicBezTo>
                    <a:pt x="6105" y="20871"/>
                    <a:pt x="6079" y="20957"/>
                    <a:pt x="6365" y="21035"/>
                  </a:cubicBezTo>
                  <a:cubicBezTo>
                    <a:pt x="6486" y="21068"/>
                    <a:pt x="6620" y="21093"/>
                    <a:pt x="6711" y="21136"/>
                  </a:cubicBezTo>
                  <a:cubicBezTo>
                    <a:pt x="6577" y="20938"/>
                    <a:pt x="6575" y="20561"/>
                    <a:pt x="6891" y="20923"/>
                  </a:cubicBezTo>
                  <a:cubicBezTo>
                    <a:pt x="6916" y="20717"/>
                    <a:pt x="6550" y="20749"/>
                    <a:pt x="6411" y="20616"/>
                  </a:cubicBezTo>
                  <a:cubicBezTo>
                    <a:pt x="6628" y="20668"/>
                    <a:pt x="6817" y="20634"/>
                    <a:pt x="7011" y="20619"/>
                  </a:cubicBezTo>
                  <a:cubicBezTo>
                    <a:pt x="6878" y="20414"/>
                    <a:pt x="6697" y="20237"/>
                    <a:pt x="6508" y="20055"/>
                  </a:cubicBezTo>
                  <a:cubicBezTo>
                    <a:pt x="6463" y="20011"/>
                    <a:pt x="6110" y="19755"/>
                    <a:pt x="6447" y="19825"/>
                  </a:cubicBezTo>
                  <a:cubicBezTo>
                    <a:pt x="6640" y="19866"/>
                    <a:pt x="6490" y="20048"/>
                    <a:pt x="6772" y="20063"/>
                  </a:cubicBezTo>
                  <a:cubicBezTo>
                    <a:pt x="7446" y="20099"/>
                    <a:pt x="6646" y="19646"/>
                    <a:pt x="6658" y="19599"/>
                  </a:cubicBezTo>
                  <a:cubicBezTo>
                    <a:pt x="6721" y="19378"/>
                    <a:pt x="7323" y="20024"/>
                    <a:pt x="7267" y="19607"/>
                  </a:cubicBezTo>
                  <a:cubicBezTo>
                    <a:pt x="7480" y="19961"/>
                    <a:pt x="7539" y="19732"/>
                    <a:pt x="7491" y="19480"/>
                  </a:cubicBezTo>
                  <a:cubicBezTo>
                    <a:pt x="7655" y="19641"/>
                    <a:pt x="7931" y="19625"/>
                    <a:pt x="7843" y="19385"/>
                  </a:cubicBezTo>
                  <a:cubicBezTo>
                    <a:pt x="7806" y="19282"/>
                    <a:pt x="7563" y="19192"/>
                    <a:pt x="7448" y="19123"/>
                  </a:cubicBezTo>
                  <a:cubicBezTo>
                    <a:pt x="7577" y="19131"/>
                    <a:pt x="7973" y="19370"/>
                    <a:pt x="7983" y="19184"/>
                  </a:cubicBezTo>
                  <a:cubicBezTo>
                    <a:pt x="7995" y="18945"/>
                    <a:pt x="7751" y="18975"/>
                    <a:pt x="7587" y="18828"/>
                  </a:cubicBezTo>
                  <a:cubicBezTo>
                    <a:pt x="7649" y="18842"/>
                    <a:pt x="8029" y="19005"/>
                    <a:pt x="8088" y="18983"/>
                  </a:cubicBezTo>
                  <a:cubicBezTo>
                    <a:pt x="8282" y="18912"/>
                    <a:pt x="7927" y="18752"/>
                    <a:pt x="7820" y="18736"/>
                  </a:cubicBezTo>
                  <a:cubicBezTo>
                    <a:pt x="8095" y="18607"/>
                    <a:pt x="8270" y="18928"/>
                    <a:pt x="8260" y="18644"/>
                  </a:cubicBezTo>
                  <a:cubicBezTo>
                    <a:pt x="8251" y="18392"/>
                    <a:pt x="7999" y="18557"/>
                    <a:pt x="7937" y="18440"/>
                  </a:cubicBezTo>
                  <a:cubicBezTo>
                    <a:pt x="7898" y="18367"/>
                    <a:pt x="8863" y="17598"/>
                    <a:pt x="8063" y="17758"/>
                  </a:cubicBezTo>
                  <a:cubicBezTo>
                    <a:pt x="8311" y="17660"/>
                    <a:pt x="8839" y="17412"/>
                    <a:pt x="8500" y="17217"/>
                  </a:cubicBezTo>
                  <a:cubicBezTo>
                    <a:pt x="8406" y="17164"/>
                    <a:pt x="8151" y="17374"/>
                    <a:pt x="8172" y="17230"/>
                  </a:cubicBezTo>
                  <a:cubicBezTo>
                    <a:pt x="8184" y="17147"/>
                    <a:pt x="8556" y="17124"/>
                    <a:pt x="8634" y="17062"/>
                  </a:cubicBezTo>
                  <a:cubicBezTo>
                    <a:pt x="8739" y="16978"/>
                    <a:pt x="8740" y="16620"/>
                    <a:pt x="8732" y="16517"/>
                  </a:cubicBezTo>
                  <a:cubicBezTo>
                    <a:pt x="8712" y="16258"/>
                    <a:pt x="8735" y="16325"/>
                    <a:pt x="8315" y="16244"/>
                  </a:cubicBezTo>
                  <a:cubicBezTo>
                    <a:pt x="8613" y="16237"/>
                    <a:pt x="9316" y="16438"/>
                    <a:pt x="9227" y="16107"/>
                  </a:cubicBezTo>
                  <a:cubicBezTo>
                    <a:pt x="8881" y="16257"/>
                    <a:pt x="9157" y="15976"/>
                    <a:pt x="8830" y="16024"/>
                  </a:cubicBezTo>
                  <a:cubicBezTo>
                    <a:pt x="8846" y="16148"/>
                    <a:pt x="8703" y="16095"/>
                    <a:pt x="8568" y="16024"/>
                  </a:cubicBezTo>
                  <a:cubicBezTo>
                    <a:pt x="8700" y="15934"/>
                    <a:pt x="8918" y="15904"/>
                    <a:pt x="9076" y="15834"/>
                  </a:cubicBezTo>
                  <a:cubicBezTo>
                    <a:pt x="8945" y="15798"/>
                    <a:pt x="8778" y="15823"/>
                    <a:pt x="8654" y="15873"/>
                  </a:cubicBezTo>
                  <a:cubicBezTo>
                    <a:pt x="8670" y="15841"/>
                    <a:pt x="8660" y="15751"/>
                    <a:pt x="8677" y="15719"/>
                  </a:cubicBezTo>
                  <a:cubicBezTo>
                    <a:pt x="8263" y="15973"/>
                    <a:pt x="8307" y="15583"/>
                    <a:pt x="8257" y="15446"/>
                  </a:cubicBezTo>
                  <a:cubicBezTo>
                    <a:pt x="8233" y="15383"/>
                    <a:pt x="8039" y="15289"/>
                    <a:pt x="8072" y="15234"/>
                  </a:cubicBezTo>
                  <a:cubicBezTo>
                    <a:pt x="8105" y="15181"/>
                    <a:pt x="8351" y="15190"/>
                    <a:pt x="8454" y="15137"/>
                  </a:cubicBezTo>
                  <a:cubicBezTo>
                    <a:pt x="8571" y="15076"/>
                    <a:pt x="8268" y="14889"/>
                    <a:pt x="8694" y="14932"/>
                  </a:cubicBezTo>
                  <a:cubicBezTo>
                    <a:pt x="8908" y="14955"/>
                    <a:pt x="8863" y="15078"/>
                    <a:pt x="9014" y="15129"/>
                  </a:cubicBezTo>
                  <a:cubicBezTo>
                    <a:pt x="9416" y="15265"/>
                    <a:pt x="9116" y="15044"/>
                    <a:pt x="9383" y="14920"/>
                  </a:cubicBezTo>
                  <a:cubicBezTo>
                    <a:pt x="9270" y="14773"/>
                    <a:pt x="9016" y="14775"/>
                    <a:pt x="8918" y="14652"/>
                  </a:cubicBezTo>
                  <a:cubicBezTo>
                    <a:pt x="8760" y="14454"/>
                    <a:pt x="9077" y="14279"/>
                    <a:pt x="9332" y="14109"/>
                  </a:cubicBezTo>
                  <a:cubicBezTo>
                    <a:pt x="9336" y="14273"/>
                    <a:pt x="9544" y="14874"/>
                    <a:pt x="9994" y="14814"/>
                  </a:cubicBezTo>
                  <a:cubicBezTo>
                    <a:pt x="10172" y="14791"/>
                    <a:pt x="10147" y="14660"/>
                    <a:pt x="10325" y="14612"/>
                  </a:cubicBezTo>
                  <a:cubicBezTo>
                    <a:pt x="10411" y="14590"/>
                    <a:pt x="10380" y="14738"/>
                    <a:pt x="10512" y="14741"/>
                  </a:cubicBezTo>
                  <a:cubicBezTo>
                    <a:pt x="10616" y="14744"/>
                    <a:pt x="10488" y="14616"/>
                    <a:pt x="10602" y="14632"/>
                  </a:cubicBezTo>
                  <a:cubicBezTo>
                    <a:pt x="10692" y="14645"/>
                    <a:pt x="10758" y="14657"/>
                    <a:pt x="10847" y="14632"/>
                  </a:cubicBezTo>
                  <a:cubicBezTo>
                    <a:pt x="10961" y="14601"/>
                    <a:pt x="11202" y="14533"/>
                    <a:pt x="11284" y="14595"/>
                  </a:cubicBezTo>
                  <a:cubicBezTo>
                    <a:pt x="11285" y="14547"/>
                    <a:pt x="11332" y="14450"/>
                    <a:pt x="11322" y="14385"/>
                  </a:cubicBezTo>
                  <a:cubicBezTo>
                    <a:pt x="11555" y="14454"/>
                    <a:pt x="11603" y="14260"/>
                    <a:pt x="11537" y="14142"/>
                  </a:cubicBezTo>
                  <a:cubicBezTo>
                    <a:pt x="11529" y="14129"/>
                    <a:pt x="11212" y="13921"/>
                    <a:pt x="11186" y="13905"/>
                  </a:cubicBezTo>
                  <a:cubicBezTo>
                    <a:pt x="11077" y="13841"/>
                    <a:pt x="10939" y="13753"/>
                    <a:pt x="10790" y="13721"/>
                  </a:cubicBezTo>
                  <a:cubicBezTo>
                    <a:pt x="10621" y="13686"/>
                    <a:pt x="10526" y="13767"/>
                    <a:pt x="10370" y="13704"/>
                  </a:cubicBezTo>
                  <a:cubicBezTo>
                    <a:pt x="10048" y="13573"/>
                    <a:pt x="10897" y="13675"/>
                    <a:pt x="11042" y="13686"/>
                  </a:cubicBezTo>
                  <a:cubicBezTo>
                    <a:pt x="11184" y="13695"/>
                    <a:pt x="11493" y="13781"/>
                    <a:pt x="11585" y="13682"/>
                  </a:cubicBezTo>
                  <a:cubicBezTo>
                    <a:pt x="11698" y="13559"/>
                    <a:pt x="11468" y="13456"/>
                    <a:pt x="11307" y="13455"/>
                  </a:cubicBezTo>
                  <a:cubicBezTo>
                    <a:pt x="11605" y="13473"/>
                    <a:pt x="12118" y="13421"/>
                    <a:pt x="12142" y="13176"/>
                  </a:cubicBezTo>
                  <a:cubicBezTo>
                    <a:pt x="12150" y="13102"/>
                    <a:pt x="11911" y="12964"/>
                    <a:pt x="11934" y="12938"/>
                  </a:cubicBezTo>
                  <a:cubicBezTo>
                    <a:pt x="12005" y="12858"/>
                    <a:pt x="12190" y="12981"/>
                    <a:pt x="12241" y="13037"/>
                  </a:cubicBezTo>
                  <a:cubicBezTo>
                    <a:pt x="12258" y="12977"/>
                    <a:pt x="12311" y="12893"/>
                    <a:pt x="12293" y="12815"/>
                  </a:cubicBezTo>
                  <a:cubicBezTo>
                    <a:pt x="12621" y="13006"/>
                    <a:pt x="12393" y="12605"/>
                    <a:pt x="12273" y="12513"/>
                  </a:cubicBezTo>
                  <a:cubicBezTo>
                    <a:pt x="12386" y="12562"/>
                    <a:pt x="13208" y="12900"/>
                    <a:pt x="12959" y="12603"/>
                  </a:cubicBezTo>
                  <a:cubicBezTo>
                    <a:pt x="12902" y="12534"/>
                    <a:pt x="12532" y="12537"/>
                    <a:pt x="12627" y="12439"/>
                  </a:cubicBezTo>
                  <a:cubicBezTo>
                    <a:pt x="12776" y="12287"/>
                    <a:pt x="12905" y="12532"/>
                    <a:pt x="13009" y="12538"/>
                  </a:cubicBezTo>
                  <a:cubicBezTo>
                    <a:pt x="13166" y="12544"/>
                    <a:pt x="13417" y="12429"/>
                    <a:pt x="13574" y="12290"/>
                  </a:cubicBezTo>
                  <a:cubicBezTo>
                    <a:pt x="13604" y="12264"/>
                    <a:pt x="13620" y="12278"/>
                    <a:pt x="13675" y="12209"/>
                  </a:cubicBezTo>
                  <a:cubicBezTo>
                    <a:pt x="13703" y="12174"/>
                    <a:pt x="13646" y="12075"/>
                    <a:pt x="13668" y="12036"/>
                  </a:cubicBezTo>
                  <a:cubicBezTo>
                    <a:pt x="13785" y="11828"/>
                    <a:pt x="14127" y="11775"/>
                    <a:pt x="14209" y="11541"/>
                  </a:cubicBezTo>
                  <a:cubicBezTo>
                    <a:pt x="14252" y="11418"/>
                    <a:pt x="14525" y="11485"/>
                    <a:pt x="14625" y="11507"/>
                  </a:cubicBezTo>
                  <a:cubicBezTo>
                    <a:pt x="14264" y="11346"/>
                    <a:pt x="14449" y="10952"/>
                    <a:pt x="14836" y="11242"/>
                  </a:cubicBezTo>
                  <a:cubicBezTo>
                    <a:pt x="14858" y="11094"/>
                    <a:pt x="14851" y="10953"/>
                    <a:pt x="14929" y="10837"/>
                  </a:cubicBezTo>
                  <a:cubicBezTo>
                    <a:pt x="14935" y="10829"/>
                    <a:pt x="15082" y="10853"/>
                    <a:pt x="15116" y="10821"/>
                  </a:cubicBezTo>
                  <a:cubicBezTo>
                    <a:pt x="15148" y="10788"/>
                    <a:pt x="15085" y="10712"/>
                    <a:pt x="15132" y="10669"/>
                  </a:cubicBezTo>
                  <a:cubicBezTo>
                    <a:pt x="15293" y="10523"/>
                    <a:pt x="15418" y="10431"/>
                    <a:pt x="15625" y="10309"/>
                  </a:cubicBezTo>
                  <a:cubicBezTo>
                    <a:pt x="15771" y="10222"/>
                    <a:pt x="16578" y="9743"/>
                    <a:pt x="15955" y="9937"/>
                  </a:cubicBezTo>
                  <a:cubicBezTo>
                    <a:pt x="15992" y="9751"/>
                    <a:pt x="16294" y="9764"/>
                    <a:pt x="16444" y="9635"/>
                  </a:cubicBezTo>
                  <a:cubicBezTo>
                    <a:pt x="16546" y="9548"/>
                    <a:pt x="16432" y="9437"/>
                    <a:pt x="16494" y="9340"/>
                  </a:cubicBezTo>
                  <a:cubicBezTo>
                    <a:pt x="16608" y="9166"/>
                    <a:pt x="17031" y="9136"/>
                    <a:pt x="17274" y="8985"/>
                  </a:cubicBezTo>
                  <a:cubicBezTo>
                    <a:pt x="17105" y="8893"/>
                    <a:pt x="17027" y="8806"/>
                    <a:pt x="16776" y="8764"/>
                  </a:cubicBezTo>
                  <a:cubicBezTo>
                    <a:pt x="17267" y="8771"/>
                    <a:pt x="17830" y="8558"/>
                    <a:pt x="17966" y="8257"/>
                  </a:cubicBezTo>
                  <a:cubicBezTo>
                    <a:pt x="18073" y="8019"/>
                    <a:pt x="18284" y="7541"/>
                    <a:pt x="18797" y="7778"/>
                  </a:cubicBezTo>
                  <a:cubicBezTo>
                    <a:pt x="18416" y="7541"/>
                    <a:pt x="18932" y="7714"/>
                    <a:pt x="19068" y="7632"/>
                  </a:cubicBezTo>
                  <a:cubicBezTo>
                    <a:pt x="19216" y="7543"/>
                    <a:pt x="19058" y="7376"/>
                    <a:pt x="19090" y="7268"/>
                  </a:cubicBezTo>
                  <a:cubicBezTo>
                    <a:pt x="19133" y="7130"/>
                    <a:pt x="19529" y="7295"/>
                    <a:pt x="19256" y="7039"/>
                  </a:cubicBezTo>
                  <a:cubicBezTo>
                    <a:pt x="18759" y="7169"/>
                    <a:pt x="18318" y="7306"/>
                    <a:pt x="17882" y="7468"/>
                  </a:cubicBezTo>
                  <a:close/>
                  <a:moveTo>
                    <a:pt x="17882" y="7468"/>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42" name="AutoShape 15"/>
            <p:cNvSpPr>
              <a:spLocks/>
            </p:cNvSpPr>
            <p:nvPr/>
          </p:nvSpPr>
          <p:spPr bwMode="auto">
            <a:xfrm>
              <a:off x="3104127" y="1861873"/>
              <a:ext cx="384175" cy="336550"/>
            </a:xfrm>
            <a:custGeom>
              <a:avLst/>
              <a:gdLst/>
              <a:ahLst/>
              <a:cxnLst/>
              <a:rect l="0" t="0" r="r" b="b"/>
              <a:pathLst>
                <a:path w="21600" h="21371">
                  <a:moveTo>
                    <a:pt x="20825" y="8301"/>
                  </a:moveTo>
                  <a:cubicBezTo>
                    <a:pt x="20561" y="8381"/>
                    <a:pt x="20356" y="8309"/>
                    <a:pt x="20119" y="8512"/>
                  </a:cubicBezTo>
                  <a:cubicBezTo>
                    <a:pt x="20012" y="8603"/>
                    <a:pt x="20106" y="8752"/>
                    <a:pt x="19887" y="8802"/>
                  </a:cubicBezTo>
                  <a:cubicBezTo>
                    <a:pt x="19725" y="8839"/>
                    <a:pt x="19491" y="8639"/>
                    <a:pt x="19270" y="8711"/>
                  </a:cubicBezTo>
                  <a:cubicBezTo>
                    <a:pt x="19108" y="8765"/>
                    <a:pt x="18887" y="8969"/>
                    <a:pt x="18723" y="9044"/>
                  </a:cubicBezTo>
                  <a:cubicBezTo>
                    <a:pt x="18459" y="9166"/>
                    <a:pt x="18358" y="9477"/>
                    <a:pt x="18185" y="9237"/>
                  </a:cubicBezTo>
                  <a:cubicBezTo>
                    <a:pt x="18068" y="9074"/>
                    <a:pt x="18233" y="8606"/>
                    <a:pt x="17911" y="8674"/>
                  </a:cubicBezTo>
                  <a:cubicBezTo>
                    <a:pt x="17976" y="8660"/>
                    <a:pt x="17792" y="8956"/>
                    <a:pt x="17781" y="8970"/>
                  </a:cubicBezTo>
                  <a:cubicBezTo>
                    <a:pt x="17713" y="9067"/>
                    <a:pt x="17668" y="9121"/>
                    <a:pt x="17565" y="9154"/>
                  </a:cubicBezTo>
                  <a:cubicBezTo>
                    <a:pt x="17773" y="8992"/>
                    <a:pt x="17735" y="8688"/>
                    <a:pt x="17559" y="8500"/>
                  </a:cubicBezTo>
                  <a:cubicBezTo>
                    <a:pt x="17477" y="8410"/>
                    <a:pt x="17356" y="8409"/>
                    <a:pt x="17275" y="8343"/>
                  </a:cubicBezTo>
                  <a:cubicBezTo>
                    <a:pt x="17212" y="8291"/>
                    <a:pt x="17152" y="8185"/>
                    <a:pt x="17110" y="8147"/>
                  </a:cubicBezTo>
                  <a:cubicBezTo>
                    <a:pt x="16905" y="7967"/>
                    <a:pt x="16812" y="7873"/>
                    <a:pt x="16682" y="7642"/>
                  </a:cubicBezTo>
                  <a:cubicBezTo>
                    <a:pt x="16622" y="7534"/>
                    <a:pt x="16311" y="6976"/>
                    <a:pt x="16388" y="7412"/>
                  </a:cubicBezTo>
                  <a:cubicBezTo>
                    <a:pt x="16226" y="7396"/>
                    <a:pt x="16046" y="7354"/>
                    <a:pt x="16031" y="7570"/>
                  </a:cubicBezTo>
                  <a:cubicBezTo>
                    <a:pt x="15892" y="7423"/>
                    <a:pt x="16072" y="7316"/>
                    <a:pt x="16036" y="7244"/>
                  </a:cubicBezTo>
                  <a:cubicBezTo>
                    <a:pt x="15992" y="7155"/>
                    <a:pt x="15837" y="7101"/>
                    <a:pt x="15697" y="7039"/>
                  </a:cubicBezTo>
                  <a:cubicBezTo>
                    <a:pt x="15536" y="6966"/>
                    <a:pt x="15352" y="6766"/>
                    <a:pt x="15275" y="6590"/>
                  </a:cubicBezTo>
                  <a:cubicBezTo>
                    <a:pt x="15077" y="6137"/>
                    <a:pt x="15477" y="5789"/>
                    <a:pt x="15047" y="5449"/>
                  </a:cubicBezTo>
                  <a:cubicBezTo>
                    <a:pt x="14945" y="5367"/>
                    <a:pt x="15060" y="5243"/>
                    <a:pt x="14815" y="5394"/>
                  </a:cubicBezTo>
                  <a:cubicBezTo>
                    <a:pt x="14727" y="5449"/>
                    <a:pt x="14661" y="5535"/>
                    <a:pt x="14598" y="5588"/>
                  </a:cubicBezTo>
                  <a:cubicBezTo>
                    <a:pt x="14490" y="5679"/>
                    <a:pt x="14614" y="5784"/>
                    <a:pt x="14359" y="5787"/>
                  </a:cubicBezTo>
                  <a:cubicBezTo>
                    <a:pt x="14212" y="5789"/>
                    <a:pt x="14160" y="5858"/>
                    <a:pt x="14058" y="5957"/>
                  </a:cubicBezTo>
                  <a:cubicBezTo>
                    <a:pt x="13982" y="6029"/>
                    <a:pt x="14019" y="6184"/>
                    <a:pt x="13907" y="6247"/>
                  </a:cubicBezTo>
                  <a:cubicBezTo>
                    <a:pt x="13732" y="6345"/>
                    <a:pt x="13759" y="6142"/>
                    <a:pt x="13727" y="6151"/>
                  </a:cubicBezTo>
                  <a:cubicBezTo>
                    <a:pt x="13511" y="6220"/>
                    <a:pt x="13448" y="6436"/>
                    <a:pt x="13192" y="6424"/>
                  </a:cubicBezTo>
                  <a:cubicBezTo>
                    <a:pt x="13325" y="5936"/>
                    <a:pt x="13573" y="5489"/>
                    <a:pt x="13684" y="4992"/>
                  </a:cubicBezTo>
                  <a:cubicBezTo>
                    <a:pt x="13734" y="4773"/>
                    <a:pt x="13900" y="4553"/>
                    <a:pt x="13907" y="4368"/>
                  </a:cubicBezTo>
                  <a:cubicBezTo>
                    <a:pt x="13908" y="4335"/>
                    <a:pt x="13685" y="3424"/>
                    <a:pt x="13903" y="3967"/>
                  </a:cubicBezTo>
                  <a:cubicBezTo>
                    <a:pt x="13871" y="3801"/>
                    <a:pt x="13695" y="2923"/>
                    <a:pt x="13602" y="3465"/>
                  </a:cubicBezTo>
                  <a:cubicBezTo>
                    <a:pt x="13597" y="3388"/>
                    <a:pt x="13641" y="3239"/>
                    <a:pt x="13607" y="3148"/>
                  </a:cubicBezTo>
                  <a:cubicBezTo>
                    <a:pt x="13578" y="3072"/>
                    <a:pt x="13438" y="2946"/>
                    <a:pt x="13427" y="2882"/>
                  </a:cubicBezTo>
                  <a:cubicBezTo>
                    <a:pt x="13406" y="2763"/>
                    <a:pt x="13493" y="2628"/>
                    <a:pt x="13492" y="2507"/>
                  </a:cubicBezTo>
                  <a:cubicBezTo>
                    <a:pt x="13491" y="2380"/>
                    <a:pt x="13420" y="2239"/>
                    <a:pt x="13418" y="2145"/>
                  </a:cubicBezTo>
                  <a:cubicBezTo>
                    <a:pt x="13415" y="1957"/>
                    <a:pt x="13656" y="1737"/>
                    <a:pt x="13636" y="1570"/>
                  </a:cubicBezTo>
                  <a:cubicBezTo>
                    <a:pt x="13595" y="1212"/>
                    <a:pt x="13172" y="1477"/>
                    <a:pt x="13431" y="1720"/>
                  </a:cubicBezTo>
                  <a:cubicBezTo>
                    <a:pt x="13320" y="1659"/>
                    <a:pt x="13143" y="1609"/>
                    <a:pt x="13007" y="1675"/>
                  </a:cubicBezTo>
                  <a:cubicBezTo>
                    <a:pt x="13284" y="1524"/>
                    <a:pt x="13107" y="1181"/>
                    <a:pt x="12805" y="1424"/>
                  </a:cubicBezTo>
                  <a:cubicBezTo>
                    <a:pt x="12595" y="1593"/>
                    <a:pt x="12453" y="1855"/>
                    <a:pt x="12229" y="1993"/>
                  </a:cubicBezTo>
                  <a:cubicBezTo>
                    <a:pt x="12188" y="1827"/>
                    <a:pt x="12282" y="1657"/>
                    <a:pt x="12337" y="1504"/>
                  </a:cubicBezTo>
                  <a:cubicBezTo>
                    <a:pt x="12160" y="1591"/>
                    <a:pt x="11994" y="1736"/>
                    <a:pt x="11850" y="1883"/>
                  </a:cubicBezTo>
                  <a:cubicBezTo>
                    <a:pt x="11478" y="2264"/>
                    <a:pt x="11399" y="2739"/>
                    <a:pt x="11201" y="3232"/>
                  </a:cubicBezTo>
                  <a:cubicBezTo>
                    <a:pt x="11107" y="3467"/>
                    <a:pt x="10940" y="3661"/>
                    <a:pt x="10780" y="3834"/>
                  </a:cubicBezTo>
                  <a:cubicBezTo>
                    <a:pt x="10733" y="3884"/>
                    <a:pt x="10882" y="4006"/>
                    <a:pt x="10752" y="4033"/>
                  </a:cubicBezTo>
                  <a:cubicBezTo>
                    <a:pt x="10629" y="4058"/>
                    <a:pt x="10667" y="3854"/>
                    <a:pt x="10649" y="3843"/>
                  </a:cubicBezTo>
                  <a:cubicBezTo>
                    <a:pt x="10647" y="3843"/>
                    <a:pt x="10454" y="3733"/>
                    <a:pt x="10413" y="3691"/>
                  </a:cubicBezTo>
                  <a:cubicBezTo>
                    <a:pt x="9921" y="3203"/>
                    <a:pt x="9758" y="2805"/>
                    <a:pt x="9024" y="3021"/>
                  </a:cubicBezTo>
                  <a:cubicBezTo>
                    <a:pt x="8767" y="3098"/>
                    <a:pt x="7280" y="3589"/>
                    <a:pt x="7224" y="3114"/>
                  </a:cubicBezTo>
                  <a:cubicBezTo>
                    <a:pt x="6678" y="3511"/>
                    <a:pt x="6445" y="4334"/>
                    <a:pt x="5783" y="4489"/>
                  </a:cubicBezTo>
                  <a:cubicBezTo>
                    <a:pt x="5783" y="4489"/>
                    <a:pt x="5740" y="4680"/>
                    <a:pt x="5548" y="4897"/>
                  </a:cubicBezTo>
                  <a:cubicBezTo>
                    <a:pt x="5356" y="5113"/>
                    <a:pt x="4818" y="5651"/>
                    <a:pt x="4299" y="6237"/>
                  </a:cubicBezTo>
                  <a:cubicBezTo>
                    <a:pt x="3779" y="6824"/>
                    <a:pt x="2873" y="6151"/>
                    <a:pt x="2102" y="6367"/>
                  </a:cubicBezTo>
                  <a:cubicBezTo>
                    <a:pt x="1332" y="6585"/>
                    <a:pt x="1679" y="7498"/>
                    <a:pt x="1255" y="7498"/>
                  </a:cubicBezTo>
                  <a:cubicBezTo>
                    <a:pt x="832" y="7498"/>
                    <a:pt x="1255" y="8410"/>
                    <a:pt x="1756" y="9627"/>
                  </a:cubicBezTo>
                  <a:cubicBezTo>
                    <a:pt x="2202" y="10712"/>
                    <a:pt x="936" y="11728"/>
                    <a:pt x="0" y="12335"/>
                  </a:cubicBezTo>
                  <a:cubicBezTo>
                    <a:pt x="65" y="12484"/>
                    <a:pt x="113" y="12660"/>
                    <a:pt x="185" y="12799"/>
                  </a:cubicBezTo>
                  <a:cubicBezTo>
                    <a:pt x="914" y="13534"/>
                    <a:pt x="1437" y="12507"/>
                    <a:pt x="1861" y="11990"/>
                  </a:cubicBezTo>
                  <a:cubicBezTo>
                    <a:pt x="2010" y="11808"/>
                    <a:pt x="2296" y="11719"/>
                    <a:pt x="2414" y="11510"/>
                  </a:cubicBezTo>
                  <a:cubicBezTo>
                    <a:pt x="2509" y="11343"/>
                    <a:pt x="2358" y="11217"/>
                    <a:pt x="2580" y="11015"/>
                  </a:cubicBezTo>
                  <a:cubicBezTo>
                    <a:pt x="2829" y="10789"/>
                    <a:pt x="3068" y="10919"/>
                    <a:pt x="3327" y="10994"/>
                  </a:cubicBezTo>
                  <a:cubicBezTo>
                    <a:pt x="3753" y="11118"/>
                    <a:pt x="4124" y="11250"/>
                    <a:pt x="4519" y="11421"/>
                  </a:cubicBezTo>
                  <a:cubicBezTo>
                    <a:pt x="4840" y="11560"/>
                    <a:pt x="5041" y="11592"/>
                    <a:pt x="5228" y="11967"/>
                  </a:cubicBezTo>
                  <a:cubicBezTo>
                    <a:pt x="5390" y="12286"/>
                    <a:pt x="5541" y="12616"/>
                    <a:pt x="5697" y="12942"/>
                  </a:cubicBezTo>
                  <a:cubicBezTo>
                    <a:pt x="6327" y="14249"/>
                    <a:pt x="6957" y="15557"/>
                    <a:pt x="7588" y="16863"/>
                  </a:cubicBezTo>
                  <a:cubicBezTo>
                    <a:pt x="7718" y="17133"/>
                    <a:pt x="7832" y="17495"/>
                    <a:pt x="8017" y="17721"/>
                  </a:cubicBezTo>
                  <a:cubicBezTo>
                    <a:pt x="8148" y="17882"/>
                    <a:pt x="8106" y="17955"/>
                    <a:pt x="8176" y="18091"/>
                  </a:cubicBezTo>
                  <a:cubicBezTo>
                    <a:pt x="8233" y="18204"/>
                    <a:pt x="8362" y="18376"/>
                    <a:pt x="8408" y="18513"/>
                  </a:cubicBezTo>
                  <a:cubicBezTo>
                    <a:pt x="8437" y="18602"/>
                    <a:pt x="8379" y="18770"/>
                    <a:pt x="8409" y="18884"/>
                  </a:cubicBezTo>
                  <a:cubicBezTo>
                    <a:pt x="8428" y="18960"/>
                    <a:pt x="8578" y="19204"/>
                    <a:pt x="8624" y="19250"/>
                  </a:cubicBezTo>
                  <a:cubicBezTo>
                    <a:pt x="8770" y="19392"/>
                    <a:pt x="9284" y="19334"/>
                    <a:pt x="9479" y="19311"/>
                  </a:cubicBezTo>
                  <a:cubicBezTo>
                    <a:pt x="9771" y="19275"/>
                    <a:pt x="10220" y="18894"/>
                    <a:pt x="10339" y="19317"/>
                  </a:cubicBezTo>
                  <a:cubicBezTo>
                    <a:pt x="10397" y="19526"/>
                    <a:pt x="10214" y="19530"/>
                    <a:pt x="10240" y="19701"/>
                  </a:cubicBezTo>
                  <a:cubicBezTo>
                    <a:pt x="10276" y="19944"/>
                    <a:pt x="10640" y="19988"/>
                    <a:pt x="10745" y="20197"/>
                  </a:cubicBezTo>
                  <a:cubicBezTo>
                    <a:pt x="10831" y="20368"/>
                    <a:pt x="10770" y="20528"/>
                    <a:pt x="10830" y="20695"/>
                  </a:cubicBezTo>
                  <a:cubicBezTo>
                    <a:pt x="10921" y="20943"/>
                    <a:pt x="11159" y="21202"/>
                    <a:pt x="11376" y="21305"/>
                  </a:cubicBezTo>
                  <a:cubicBezTo>
                    <a:pt x="11988" y="21600"/>
                    <a:pt x="11526" y="20807"/>
                    <a:pt x="12039" y="20927"/>
                  </a:cubicBezTo>
                  <a:cubicBezTo>
                    <a:pt x="12045" y="20689"/>
                    <a:pt x="11905" y="20587"/>
                    <a:pt x="12074" y="20576"/>
                  </a:cubicBezTo>
                  <a:cubicBezTo>
                    <a:pt x="12227" y="20567"/>
                    <a:pt x="12223" y="20697"/>
                    <a:pt x="12314" y="20771"/>
                  </a:cubicBezTo>
                  <a:cubicBezTo>
                    <a:pt x="12475" y="20904"/>
                    <a:pt x="12634" y="21119"/>
                    <a:pt x="12861" y="21094"/>
                  </a:cubicBezTo>
                  <a:cubicBezTo>
                    <a:pt x="12576" y="20724"/>
                    <a:pt x="12874" y="20310"/>
                    <a:pt x="13261" y="20487"/>
                  </a:cubicBezTo>
                  <a:cubicBezTo>
                    <a:pt x="13431" y="20564"/>
                    <a:pt x="13321" y="20408"/>
                    <a:pt x="13408" y="20553"/>
                  </a:cubicBezTo>
                  <a:cubicBezTo>
                    <a:pt x="13438" y="20603"/>
                    <a:pt x="13294" y="20725"/>
                    <a:pt x="13340" y="20805"/>
                  </a:cubicBezTo>
                  <a:cubicBezTo>
                    <a:pt x="13457" y="21006"/>
                    <a:pt x="13721" y="20818"/>
                    <a:pt x="13815" y="20744"/>
                  </a:cubicBezTo>
                  <a:cubicBezTo>
                    <a:pt x="13947" y="20640"/>
                    <a:pt x="14121" y="20502"/>
                    <a:pt x="14224" y="20335"/>
                  </a:cubicBezTo>
                  <a:cubicBezTo>
                    <a:pt x="14378" y="20089"/>
                    <a:pt x="14384" y="19684"/>
                    <a:pt x="14695" y="19646"/>
                  </a:cubicBezTo>
                  <a:cubicBezTo>
                    <a:pt x="14869" y="19626"/>
                    <a:pt x="14917" y="20067"/>
                    <a:pt x="15030" y="19820"/>
                  </a:cubicBezTo>
                  <a:cubicBezTo>
                    <a:pt x="15141" y="19579"/>
                    <a:pt x="15317" y="19112"/>
                    <a:pt x="15348" y="18847"/>
                  </a:cubicBezTo>
                  <a:cubicBezTo>
                    <a:pt x="15290" y="18908"/>
                    <a:pt x="15172" y="18963"/>
                    <a:pt x="15121" y="19008"/>
                  </a:cubicBezTo>
                  <a:cubicBezTo>
                    <a:pt x="15206" y="18831"/>
                    <a:pt x="15414" y="18685"/>
                    <a:pt x="15524" y="18902"/>
                  </a:cubicBezTo>
                  <a:cubicBezTo>
                    <a:pt x="15583" y="18826"/>
                    <a:pt x="15769" y="18342"/>
                    <a:pt x="15770" y="18212"/>
                  </a:cubicBezTo>
                  <a:cubicBezTo>
                    <a:pt x="15774" y="17870"/>
                    <a:pt x="15793" y="18125"/>
                    <a:pt x="15603" y="18074"/>
                  </a:cubicBezTo>
                  <a:cubicBezTo>
                    <a:pt x="15505" y="18049"/>
                    <a:pt x="15260" y="18125"/>
                    <a:pt x="15192" y="17940"/>
                  </a:cubicBezTo>
                  <a:cubicBezTo>
                    <a:pt x="15147" y="17818"/>
                    <a:pt x="15380" y="17362"/>
                    <a:pt x="15421" y="17203"/>
                  </a:cubicBezTo>
                  <a:cubicBezTo>
                    <a:pt x="15468" y="17026"/>
                    <a:pt x="15394" y="16697"/>
                    <a:pt x="15594" y="16965"/>
                  </a:cubicBezTo>
                  <a:cubicBezTo>
                    <a:pt x="15701" y="17109"/>
                    <a:pt x="15667" y="17321"/>
                    <a:pt x="15631" y="17484"/>
                  </a:cubicBezTo>
                  <a:cubicBezTo>
                    <a:pt x="15583" y="17702"/>
                    <a:pt x="15371" y="17824"/>
                    <a:pt x="15579" y="17951"/>
                  </a:cubicBezTo>
                  <a:cubicBezTo>
                    <a:pt x="15658" y="18000"/>
                    <a:pt x="15840" y="17865"/>
                    <a:pt x="15932" y="17886"/>
                  </a:cubicBezTo>
                  <a:cubicBezTo>
                    <a:pt x="16143" y="17931"/>
                    <a:pt x="16195" y="18205"/>
                    <a:pt x="16473" y="18022"/>
                  </a:cubicBezTo>
                  <a:cubicBezTo>
                    <a:pt x="16691" y="17878"/>
                    <a:pt x="16832" y="17423"/>
                    <a:pt x="16956" y="17169"/>
                  </a:cubicBezTo>
                  <a:cubicBezTo>
                    <a:pt x="17154" y="16766"/>
                    <a:pt x="17354" y="16365"/>
                    <a:pt x="17546" y="15960"/>
                  </a:cubicBezTo>
                  <a:cubicBezTo>
                    <a:pt x="17847" y="15325"/>
                    <a:pt x="18159" y="14706"/>
                    <a:pt x="18486" y="14085"/>
                  </a:cubicBezTo>
                  <a:cubicBezTo>
                    <a:pt x="18671" y="13735"/>
                    <a:pt x="18840" y="13517"/>
                    <a:pt x="19095" y="13254"/>
                  </a:cubicBezTo>
                  <a:cubicBezTo>
                    <a:pt x="19238" y="13105"/>
                    <a:pt x="19221" y="13335"/>
                    <a:pt x="19293" y="12979"/>
                  </a:cubicBezTo>
                  <a:cubicBezTo>
                    <a:pt x="19355" y="12674"/>
                    <a:pt x="19253" y="12362"/>
                    <a:pt x="19271" y="12095"/>
                  </a:cubicBezTo>
                  <a:cubicBezTo>
                    <a:pt x="19298" y="11702"/>
                    <a:pt x="19377" y="11615"/>
                    <a:pt x="19104" y="11353"/>
                  </a:cubicBezTo>
                  <a:cubicBezTo>
                    <a:pt x="18915" y="11173"/>
                    <a:pt x="18685" y="11162"/>
                    <a:pt x="18492" y="11015"/>
                  </a:cubicBezTo>
                  <a:cubicBezTo>
                    <a:pt x="18299" y="10871"/>
                    <a:pt x="18281" y="10728"/>
                    <a:pt x="18005" y="10640"/>
                  </a:cubicBezTo>
                  <a:cubicBezTo>
                    <a:pt x="18242" y="10657"/>
                    <a:pt x="19209" y="11474"/>
                    <a:pt x="19311" y="11205"/>
                  </a:cubicBezTo>
                  <a:cubicBezTo>
                    <a:pt x="19396" y="11438"/>
                    <a:pt x="19586" y="11366"/>
                    <a:pt x="19690" y="11523"/>
                  </a:cubicBezTo>
                  <a:cubicBezTo>
                    <a:pt x="19777" y="11655"/>
                    <a:pt x="19770" y="11941"/>
                    <a:pt x="19776" y="12089"/>
                  </a:cubicBezTo>
                  <a:cubicBezTo>
                    <a:pt x="19974" y="12031"/>
                    <a:pt x="20031" y="11148"/>
                    <a:pt x="20040" y="10903"/>
                  </a:cubicBezTo>
                  <a:cubicBezTo>
                    <a:pt x="20007" y="10903"/>
                    <a:pt x="19974" y="10913"/>
                    <a:pt x="19942" y="10913"/>
                  </a:cubicBezTo>
                  <a:cubicBezTo>
                    <a:pt x="20028" y="10880"/>
                    <a:pt x="20116" y="10883"/>
                    <a:pt x="20206" y="10889"/>
                  </a:cubicBezTo>
                  <a:cubicBezTo>
                    <a:pt x="20347" y="10443"/>
                    <a:pt x="20524" y="10320"/>
                    <a:pt x="20624" y="9869"/>
                  </a:cubicBezTo>
                  <a:cubicBezTo>
                    <a:pt x="20649" y="9757"/>
                    <a:pt x="20699" y="9635"/>
                    <a:pt x="20757" y="9511"/>
                  </a:cubicBezTo>
                  <a:cubicBezTo>
                    <a:pt x="20732" y="9519"/>
                    <a:pt x="20711" y="9519"/>
                    <a:pt x="20685" y="9528"/>
                  </a:cubicBezTo>
                  <a:cubicBezTo>
                    <a:pt x="20397" y="9310"/>
                    <a:pt x="20422" y="9340"/>
                    <a:pt x="20545" y="9152"/>
                  </a:cubicBezTo>
                  <a:cubicBezTo>
                    <a:pt x="20656" y="8980"/>
                    <a:pt x="20913" y="8859"/>
                    <a:pt x="21039" y="8672"/>
                  </a:cubicBezTo>
                  <a:cubicBezTo>
                    <a:pt x="21260" y="8346"/>
                    <a:pt x="21339" y="8145"/>
                    <a:pt x="20825" y="8301"/>
                  </a:cubicBezTo>
                  <a:close/>
                  <a:moveTo>
                    <a:pt x="13355" y="1038"/>
                  </a:moveTo>
                  <a:cubicBezTo>
                    <a:pt x="13419" y="1087"/>
                    <a:pt x="13517" y="1066"/>
                    <a:pt x="13557" y="1107"/>
                  </a:cubicBezTo>
                  <a:cubicBezTo>
                    <a:pt x="13594" y="1146"/>
                    <a:pt x="13448" y="1283"/>
                    <a:pt x="13518" y="1312"/>
                  </a:cubicBezTo>
                  <a:cubicBezTo>
                    <a:pt x="13655" y="1370"/>
                    <a:pt x="13705" y="1355"/>
                    <a:pt x="13778" y="1268"/>
                  </a:cubicBezTo>
                  <a:cubicBezTo>
                    <a:pt x="14016" y="993"/>
                    <a:pt x="13807" y="287"/>
                    <a:pt x="13736" y="0"/>
                  </a:cubicBezTo>
                  <a:cubicBezTo>
                    <a:pt x="13607" y="66"/>
                    <a:pt x="13826" y="202"/>
                    <a:pt x="13750" y="345"/>
                  </a:cubicBezTo>
                  <a:cubicBezTo>
                    <a:pt x="13658" y="516"/>
                    <a:pt x="13532" y="373"/>
                    <a:pt x="13475" y="423"/>
                  </a:cubicBezTo>
                  <a:cubicBezTo>
                    <a:pt x="13343" y="539"/>
                    <a:pt x="13123" y="859"/>
                    <a:pt x="13355" y="1038"/>
                  </a:cubicBezTo>
                  <a:close/>
                  <a:moveTo>
                    <a:pt x="21589" y="9401"/>
                  </a:moveTo>
                  <a:cubicBezTo>
                    <a:pt x="21592" y="9401"/>
                    <a:pt x="21596" y="9401"/>
                    <a:pt x="21599" y="9401"/>
                  </a:cubicBezTo>
                  <a:lnTo>
                    <a:pt x="21600" y="9400"/>
                  </a:lnTo>
                  <a:cubicBezTo>
                    <a:pt x="21597" y="9400"/>
                    <a:pt x="21593" y="9401"/>
                    <a:pt x="21589" y="9401"/>
                  </a:cubicBezTo>
                  <a:close/>
                  <a:moveTo>
                    <a:pt x="21589" y="9401"/>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43" name="AutoShape 16"/>
            <p:cNvSpPr>
              <a:spLocks/>
            </p:cNvSpPr>
            <p:nvPr/>
          </p:nvSpPr>
          <p:spPr bwMode="auto">
            <a:xfrm>
              <a:off x="-83573" y="1201473"/>
              <a:ext cx="649288" cy="1168400"/>
            </a:xfrm>
            <a:custGeom>
              <a:avLst/>
              <a:gdLst/>
              <a:ahLst/>
              <a:cxnLst/>
              <a:rect l="0" t="0" r="r" b="b"/>
              <a:pathLst>
                <a:path w="21379" h="21600">
                  <a:moveTo>
                    <a:pt x="4328" y="0"/>
                  </a:moveTo>
                  <a:lnTo>
                    <a:pt x="131" y="10781"/>
                  </a:lnTo>
                  <a:cubicBezTo>
                    <a:pt x="131" y="10781"/>
                    <a:pt x="567" y="11270"/>
                    <a:pt x="366" y="11270"/>
                  </a:cubicBezTo>
                  <a:cubicBezTo>
                    <a:pt x="165" y="11270"/>
                    <a:pt x="-221" y="11393"/>
                    <a:pt x="165" y="11609"/>
                  </a:cubicBezTo>
                  <a:cubicBezTo>
                    <a:pt x="550" y="11825"/>
                    <a:pt x="1070" y="12455"/>
                    <a:pt x="1304" y="12324"/>
                  </a:cubicBezTo>
                  <a:cubicBezTo>
                    <a:pt x="1539" y="12192"/>
                    <a:pt x="1874" y="12154"/>
                    <a:pt x="1874" y="12380"/>
                  </a:cubicBezTo>
                  <a:cubicBezTo>
                    <a:pt x="1874" y="12606"/>
                    <a:pt x="2176" y="12916"/>
                    <a:pt x="2427" y="12916"/>
                  </a:cubicBezTo>
                  <a:cubicBezTo>
                    <a:pt x="2678" y="12916"/>
                    <a:pt x="2678" y="12963"/>
                    <a:pt x="2678" y="13189"/>
                  </a:cubicBezTo>
                  <a:lnTo>
                    <a:pt x="2678" y="13735"/>
                  </a:lnTo>
                  <a:cubicBezTo>
                    <a:pt x="2678" y="13922"/>
                    <a:pt x="3114" y="13772"/>
                    <a:pt x="3382" y="13922"/>
                  </a:cubicBezTo>
                  <a:cubicBezTo>
                    <a:pt x="3650" y="14073"/>
                    <a:pt x="3097" y="14252"/>
                    <a:pt x="3416" y="14430"/>
                  </a:cubicBezTo>
                  <a:cubicBezTo>
                    <a:pt x="3734" y="14609"/>
                    <a:pt x="4422" y="14355"/>
                    <a:pt x="4422" y="14609"/>
                  </a:cubicBezTo>
                  <a:cubicBezTo>
                    <a:pt x="4422" y="14863"/>
                    <a:pt x="4975" y="14995"/>
                    <a:pt x="4975" y="15174"/>
                  </a:cubicBezTo>
                  <a:cubicBezTo>
                    <a:pt x="4975" y="15352"/>
                    <a:pt x="5192" y="15352"/>
                    <a:pt x="5360" y="15446"/>
                  </a:cubicBezTo>
                  <a:cubicBezTo>
                    <a:pt x="5528" y="15540"/>
                    <a:pt x="5796" y="15465"/>
                    <a:pt x="5796" y="15766"/>
                  </a:cubicBezTo>
                  <a:cubicBezTo>
                    <a:pt x="5796" y="16067"/>
                    <a:pt x="5846" y="16189"/>
                    <a:pt x="6198" y="16387"/>
                  </a:cubicBezTo>
                  <a:cubicBezTo>
                    <a:pt x="6550" y="16585"/>
                    <a:pt x="6181" y="16716"/>
                    <a:pt x="6734" y="16857"/>
                  </a:cubicBezTo>
                  <a:cubicBezTo>
                    <a:pt x="7287" y="16998"/>
                    <a:pt x="7111" y="17172"/>
                    <a:pt x="7287" y="17271"/>
                  </a:cubicBezTo>
                  <a:cubicBezTo>
                    <a:pt x="7463" y="17370"/>
                    <a:pt x="7136" y="17440"/>
                    <a:pt x="7471" y="17628"/>
                  </a:cubicBezTo>
                  <a:cubicBezTo>
                    <a:pt x="7807" y="17817"/>
                    <a:pt x="7806" y="18005"/>
                    <a:pt x="8142" y="18005"/>
                  </a:cubicBezTo>
                  <a:cubicBezTo>
                    <a:pt x="8477" y="18005"/>
                    <a:pt x="8879" y="18249"/>
                    <a:pt x="8879" y="18437"/>
                  </a:cubicBezTo>
                  <a:cubicBezTo>
                    <a:pt x="8879" y="18626"/>
                    <a:pt x="8879" y="18588"/>
                    <a:pt x="8879" y="18870"/>
                  </a:cubicBezTo>
                  <a:cubicBezTo>
                    <a:pt x="8879" y="19152"/>
                    <a:pt x="8394" y="19293"/>
                    <a:pt x="8511" y="19359"/>
                  </a:cubicBezTo>
                  <a:cubicBezTo>
                    <a:pt x="8628" y="19425"/>
                    <a:pt x="8930" y="19726"/>
                    <a:pt x="8678" y="19867"/>
                  </a:cubicBezTo>
                  <a:cubicBezTo>
                    <a:pt x="8427" y="20008"/>
                    <a:pt x="8184" y="20107"/>
                    <a:pt x="8427" y="20243"/>
                  </a:cubicBezTo>
                  <a:cubicBezTo>
                    <a:pt x="8670" y="20380"/>
                    <a:pt x="9122" y="20441"/>
                    <a:pt x="9122" y="20634"/>
                  </a:cubicBezTo>
                  <a:cubicBezTo>
                    <a:pt x="9122" y="20740"/>
                    <a:pt x="9251" y="20868"/>
                    <a:pt x="9367" y="21011"/>
                  </a:cubicBezTo>
                  <a:lnTo>
                    <a:pt x="16288" y="21565"/>
                  </a:lnTo>
                  <a:lnTo>
                    <a:pt x="17078" y="21600"/>
                  </a:lnTo>
                  <a:lnTo>
                    <a:pt x="21379" y="1525"/>
                  </a:lnTo>
                  <a:cubicBezTo>
                    <a:pt x="15197" y="1264"/>
                    <a:pt x="9488" y="714"/>
                    <a:pt x="4328" y="0"/>
                  </a:cubicBezTo>
                  <a:close/>
                  <a:moveTo>
                    <a:pt x="4328" y="0"/>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44" name="AutoShape 17"/>
            <p:cNvSpPr>
              <a:spLocks/>
            </p:cNvSpPr>
            <p:nvPr/>
          </p:nvSpPr>
          <p:spPr bwMode="auto">
            <a:xfrm>
              <a:off x="970527" y="1252273"/>
              <a:ext cx="660400" cy="1143000"/>
            </a:xfrm>
            <a:custGeom>
              <a:avLst/>
              <a:gdLst/>
              <a:ahLst/>
              <a:cxnLst/>
              <a:rect l="0" t="0" r="r" b="b"/>
              <a:pathLst>
                <a:path w="21600" h="21600">
                  <a:moveTo>
                    <a:pt x="13570" y="20486"/>
                  </a:moveTo>
                  <a:lnTo>
                    <a:pt x="13570" y="20486"/>
                  </a:lnTo>
                  <a:lnTo>
                    <a:pt x="12332" y="13155"/>
                  </a:lnTo>
                  <a:lnTo>
                    <a:pt x="13413" y="12443"/>
                  </a:lnTo>
                  <a:cubicBezTo>
                    <a:pt x="15306" y="11059"/>
                    <a:pt x="19573" y="7362"/>
                    <a:pt x="21600" y="5589"/>
                  </a:cubicBezTo>
                  <a:lnTo>
                    <a:pt x="20238" y="5481"/>
                  </a:lnTo>
                  <a:cubicBezTo>
                    <a:pt x="19666" y="5322"/>
                    <a:pt x="19187" y="5175"/>
                    <a:pt x="18560" y="5185"/>
                  </a:cubicBezTo>
                  <a:cubicBezTo>
                    <a:pt x="18246" y="5191"/>
                    <a:pt x="18005" y="5286"/>
                    <a:pt x="17745" y="5379"/>
                  </a:cubicBezTo>
                  <a:cubicBezTo>
                    <a:pt x="17523" y="5458"/>
                    <a:pt x="17296" y="5531"/>
                    <a:pt x="17076" y="5611"/>
                  </a:cubicBezTo>
                  <a:cubicBezTo>
                    <a:pt x="16864" y="5689"/>
                    <a:pt x="16549" y="5727"/>
                    <a:pt x="16366" y="5815"/>
                  </a:cubicBezTo>
                  <a:cubicBezTo>
                    <a:pt x="16201" y="5893"/>
                    <a:pt x="16168" y="5963"/>
                    <a:pt x="15941" y="6017"/>
                  </a:cubicBezTo>
                  <a:cubicBezTo>
                    <a:pt x="15998" y="5953"/>
                    <a:pt x="16120" y="5931"/>
                    <a:pt x="16191" y="5872"/>
                  </a:cubicBezTo>
                  <a:cubicBezTo>
                    <a:pt x="16336" y="5754"/>
                    <a:pt x="16218" y="5737"/>
                    <a:pt x="16022" y="5786"/>
                  </a:cubicBezTo>
                  <a:cubicBezTo>
                    <a:pt x="15900" y="5816"/>
                    <a:pt x="15822" y="5858"/>
                    <a:pt x="15737" y="5916"/>
                  </a:cubicBezTo>
                  <a:cubicBezTo>
                    <a:pt x="15580" y="6023"/>
                    <a:pt x="15479" y="6070"/>
                    <a:pt x="15233" y="6119"/>
                  </a:cubicBezTo>
                  <a:cubicBezTo>
                    <a:pt x="15334" y="6065"/>
                    <a:pt x="15452" y="6052"/>
                    <a:pt x="15533" y="5988"/>
                  </a:cubicBezTo>
                  <a:cubicBezTo>
                    <a:pt x="15607" y="5931"/>
                    <a:pt x="15685" y="5826"/>
                    <a:pt x="15725" y="5758"/>
                  </a:cubicBezTo>
                  <a:cubicBezTo>
                    <a:pt x="15810" y="5615"/>
                    <a:pt x="15904" y="5419"/>
                    <a:pt x="15853" y="5269"/>
                  </a:cubicBezTo>
                  <a:cubicBezTo>
                    <a:pt x="15799" y="5106"/>
                    <a:pt x="15638" y="4989"/>
                    <a:pt x="15513" y="4854"/>
                  </a:cubicBezTo>
                  <a:cubicBezTo>
                    <a:pt x="15392" y="4723"/>
                    <a:pt x="15289" y="4583"/>
                    <a:pt x="15142" y="4459"/>
                  </a:cubicBezTo>
                  <a:cubicBezTo>
                    <a:pt x="15017" y="4352"/>
                    <a:pt x="14959" y="4189"/>
                    <a:pt x="14890" y="4042"/>
                  </a:cubicBezTo>
                  <a:cubicBezTo>
                    <a:pt x="14815" y="3883"/>
                    <a:pt x="14649" y="3770"/>
                    <a:pt x="14530" y="3621"/>
                  </a:cubicBezTo>
                  <a:cubicBezTo>
                    <a:pt x="14421" y="3485"/>
                    <a:pt x="14311" y="3353"/>
                    <a:pt x="14197" y="3220"/>
                  </a:cubicBezTo>
                  <a:cubicBezTo>
                    <a:pt x="14087" y="3092"/>
                    <a:pt x="14126" y="2934"/>
                    <a:pt x="14031" y="2813"/>
                  </a:cubicBezTo>
                  <a:cubicBezTo>
                    <a:pt x="13984" y="2752"/>
                    <a:pt x="13902" y="2704"/>
                    <a:pt x="13805" y="2707"/>
                  </a:cubicBezTo>
                  <a:cubicBezTo>
                    <a:pt x="13680" y="2711"/>
                    <a:pt x="13705" y="2774"/>
                    <a:pt x="13636" y="2792"/>
                  </a:cubicBezTo>
                  <a:cubicBezTo>
                    <a:pt x="13532" y="2820"/>
                    <a:pt x="13491" y="2823"/>
                    <a:pt x="13435" y="2749"/>
                  </a:cubicBezTo>
                  <a:cubicBezTo>
                    <a:pt x="13407" y="2712"/>
                    <a:pt x="13275" y="2728"/>
                    <a:pt x="13200" y="2729"/>
                  </a:cubicBezTo>
                  <a:cubicBezTo>
                    <a:pt x="12903" y="2736"/>
                    <a:pt x="12593" y="2830"/>
                    <a:pt x="12271" y="2796"/>
                  </a:cubicBezTo>
                  <a:lnTo>
                    <a:pt x="12192" y="2804"/>
                  </a:lnTo>
                  <a:cubicBezTo>
                    <a:pt x="12196" y="2782"/>
                    <a:pt x="12165" y="2771"/>
                    <a:pt x="12192" y="2743"/>
                  </a:cubicBezTo>
                  <a:cubicBezTo>
                    <a:pt x="12016" y="2762"/>
                    <a:pt x="12053" y="3037"/>
                    <a:pt x="11804" y="2860"/>
                  </a:cubicBezTo>
                  <a:cubicBezTo>
                    <a:pt x="11682" y="2773"/>
                    <a:pt x="11484" y="2497"/>
                    <a:pt x="11300" y="2723"/>
                  </a:cubicBezTo>
                  <a:cubicBezTo>
                    <a:pt x="11265" y="2656"/>
                    <a:pt x="11363" y="2622"/>
                    <a:pt x="11360" y="2559"/>
                  </a:cubicBezTo>
                  <a:cubicBezTo>
                    <a:pt x="11358" y="2476"/>
                    <a:pt x="11217" y="2412"/>
                    <a:pt x="11121" y="2370"/>
                  </a:cubicBezTo>
                  <a:cubicBezTo>
                    <a:pt x="11052" y="2339"/>
                    <a:pt x="11109" y="2328"/>
                    <a:pt x="11019" y="2313"/>
                  </a:cubicBezTo>
                  <a:cubicBezTo>
                    <a:pt x="10990" y="2309"/>
                    <a:pt x="10922" y="2333"/>
                    <a:pt x="10890" y="2328"/>
                  </a:cubicBezTo>
                  <a:cubicBezTo>
                    <a:pt x="10748" y="2311"/>
                    <a:pt x="10807" y="2316"/>
                    <a:pt x="10934" y="2281"/>
                  </a:cubicBezTo>
                  <a:cubicBezTo>
                    <a:pt x="11074" y="2243"/>
                    <a:pt x="11071" y="2298"/>
                    <a:pt x="11115" y="2206"/>
                  </a:cubicBezTo>
                  <a:cubicBezTo>
                    <a:pt x="11139" y="2156"/>
                    <a:pt x="11111" y="2081"/>
                    <a:pt x="11106" y="2035"/>
                  </a:cubicBezTo>
                  <a:cubicBezTo>
                    <a:pt x="11090" y="1893"/>
                    <a:pt x="11122" y="1861"/>
                    <a:pt x="11230" y="1744"/>
                  </a:cubicBezTo>
                  <a:cubicBezTo>
                    <a:pt x="11208" y="1755"/>
                    <a:pt x="11156" y="1766"/>
                    <a:pt x="11135" y="1774"/>
                  </a:cubicBezTo>
                  <a:cubicBezTo>
                    <a:pt x="11208" y="1674"/>
                    <a:pt x="11035" y="1549"/>
                    <a:pt x="10985" y="1458"/>
                  </a:cubicBezTo>
                  <a:cubicBezTo>
                    <a:pt x="10934" y="1363"/>
                    <a:pt x="10928" y="1260"/>
                    <a:pt x="10921" y="1164"/>
                  </a:cubicBezTo>
                  <a:cubicBezTo>
                    <a:pt x="10915" y="1072"/>
                    <a:pt x="10918" y="978"/>
                    <a:pt x="10886" y="886"/>
                  </a:cubicBezTo>
                  <a:cubicBezTo>
                    <a:pt x="10851" y="785"/>
                    <a:pt x="10751" y="650"/>
                    <a:pt x="10801" y="548"/>
                  </a:cubicBezTo>
                  <a:cubicBezTo>
                    <a:pt x="10868" y="502"/>
                    <a:pt x="10926" y="363"/>
                    <a:pt x="10926" y="300"/>
                  </a:cubicBezTo>
                  <a:cubicBezTo>
                    <a:pt x="10928" y="201"/>
                    <a:pt x="10879" y="109"/>
                    <a:pt x="10881" y="15"/>
                  </a:cubicBezTo>
                  <a:cubicBezTo>
                    <a:pt x="10881" y="10"/>
                    <a:pt x="10883" y="6"/>
                    <a:pt x="10884" y="0"/>
                  </a:cubicBezTo>
                  <a:cubicBezTo>
                    <a:pt x="7357" y="314"/>
                    <a:pt x="3928" y="517"/>
                    <a:pt x="601" y="625"/>
                  </a:cubicBezTo>
                  <a:lnTo>
                    <a:pt x="598" y="626"/>
                  </a:lnTo>
                  <a:lnTo>
                    <a:pt x="0" y="21598"/>
                  </a:lnTo>
                  <a:lnTo>
                    <a:pt x="382" y="21600"/>
                  </a:lnTo>
                  <a:lnTo>
                    <a:pt x="383" y="21600"/>
                  </a:lnTo>
                  <a:lnTo>
                    <a:pt x="9273" y="21403"/>
                  </a:lnTo>
                  <a:cubicBezTo>
                    <a:pt x="10744" y="21333"/>
                    <a:pt x="12215" y="21263"/>
                    <a:pt x="13685" y="21193"/>
                  </a:cubicBezTo>
                  <a:cubicBezTo>
                    <a:pt x="13649" y="20957"/>
                    <a:pt x="13599" y="20722"/>
                    <a:pt x="13570" y="20486"/>
                  </a:cubicBezTo>
                  <a:cubicBezTo>
                    <a:pt x="13570" y="20486"/>
                    <a:pt x="13570" y="20486"/>
                    <a:pt x="13570" y="20486"/>
                  </a:cubicBezTo>
                  <a:close/>
                  <a:moveTo>
                    <a:pt x="13570" y="20486"/>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45" name="AutoShape 18"/>
            <p:cNvSpPr>
              <a:spLocks/>
            </p:cNvSpPr>
            <p:nvPr/>
          </p:nvSpPr>
          <p:spPr bwMode="auto">
            <a:xfrm>
              <a:off x="1326127" y="-195527"/>
              <a:ext cx="1254125" cy="909638"/>
            </a:xfrm>
            <a:custGeom>
              <a:avLst/>
              <a:gdLst/>
              <a:ahLst/>
              <a:cxnLst/>
              <a:rect l="0" t="0" r="r" b="b"/>
              <a:pathLst>
                <a:path w="21581" h="21575">
                  <a:moveTo>
                    <a:pt x="21535" y="18804"/>
                  </a:moveTo>
                  <a:cubicBezTo>
                    <a:pt x="21454" y="18693"/>
                    <a:pt x="21363" y="18637"/>
                    <a:pt x="21272" y="18551"/>
                  </a:cubicBezTo>
                  <a:cubicBezTo>
                    <a:pt x="21222" y="18503"/>
                    <a:pt x="21213" y="18472"/>
                    <a:pt x="21174" y="18415"/>
                  </a:cubicBezTo>
                  <a:cubicBezTo>
                    <a:pt x="21132" y="18353"/>
                    <a:pt x="21058" y="18409"/>
                    <a:pt x="21057" y="18288"/>
                  </a:cubicBezTo>
                  <a:cubicBezTo>
                    <a:pt x="21100" y="18378"/>
                    <a:pt x="21156" y="18337"/>
                    <a:pt x="21217" y="18376"/>
                  </a:cubicBezTo>
                  <a:cubicBezTo>
                    <a:pt x="21198" y="18327"/>
                    <a:pt x="21174" y="18282"/>
                    <a:pt x="21157" y="18232"/>
                  </a:cubicBezTo>
                  <a:cubicBezTo>
                    <a:pt x="21233" y="18313"/>
                    <a:pt x="21390" y="18417"/>
                    <a:pt x="21483" y="18320"/>
                  </a:cubicBezTo>
                  <a:cubicBezTo>
                    <a:pt x="21492" y="18311"/>
                    <a:pt x="21572" y="18151"/>
                    <a:pt x="21575" y="18168"/>
                  </a:cubicBezTo>
                  <a:cubicBezTo>
                    <a:pt x="21540" y="17987"/>
                    <a:pt x="21458" y="18162"/>
                    <a:pt x="21494" y="18157"/>
                  </a:cubicBezTo>
                  <a:cubicBezTo>
                    <a:pt x="21475" y="18160"/>
                    <a:pt x="21443" y="18134"/>
                    <a:pt x="21424" y="18122"/>
                  </a:cubicBezTo>
                  <a:cubicBezTo>
                    <a:pt x="21414" y="18114"/>
                    <a:pt x="21388" y="18145"/>
                    <a:pt x="21378" y="18130"/>
                  </a:cubicBezTo>
                  <a:cubicBezTo>
                    <a:pt x="21367" y="18112"/>
                    <a:pt x="21402" y="18078"/>
                    <a:pt x="21400" y="18075"/>
                  </a:cubicBezTo>
                  <a:cubicBezTo>
                    <a:pt x="21367" y="18021"/>
                    <a:pt x="21361" y="17908"/>
                    <a:pt x="21329" y="17895"/>
                  </a:cubicBezTo>
                  <a:cubicBezTo>
                    <a:pt x="21189" y="17838"/>
                    <a:pt x="21358" y="17886"/>
                    <a:pt x="21293" y="17801"/>
                  </a:cubicBezTo>
                  <a:cubicBezTo>
                    <a:pt x="21239" y="17731"/>
                    <a:pt x="21168" y="17838"/>
                    <a:pt x="21191" y="17737"/>
                  </a:cubicBezTo>
                  <a:cubicBezTo>
                    <a:pt x="21118" y="17717"/>
                    <a:pt x="21064" y="17856"/>
                    <a:pt x="21015" y="17771"/>
                  </a:cubicBezTo>
                  <a:cubicBezTo>
                    <a:pt x="20989" y="17726"/>
                    <a:pt x="21150" y="17728"/>
                    <a:pt x="21029" y="17663"/>
                  </a:cubicBezTo>
                  <a:cubicBezTo>
                    <a:pt x="21031" y="17664"/>
                    <a:pt x="20858" y="17736"/>
                    <a:pt x="20919" y="17622"/>
                  </a:cubicBezTo>
                  <a:cubicBezTo>
                    <a:pt x="20917" y="17627"/>
                    <a:pt x="21105" y="17641"/>
                    <a:pt x="20930" y="17544"/>
                  </a:cubicBezTo>
                  <a:cubicBezTo>
                    <a:pt x="20997" y="17516"/>
                    <a:pt x="21123" y="17712"/>
                    <a:pt x="21055" y="17532"/>
                  </a:cubicBezTo>
                  <a:cubicBezTo>
                    <a:pt x="21017" y="17431"/>
                    <a:pt x="20886" y="17272"/>
                    <a:pt x="20815" y="17379"/>
                  </a:cubicBezTo>
                  <a:cubicBezTo>
                    <a:pt x="20821" y="17358"/>
                    <a:pt x="20822" y="17302"/>
                    <a:pt x="20826" y="17284"/>
                  </a:cubicBezTo>
                  <a:cubicBezTo>
                    <a:pt x="20813" y="17300"/>
                    <a:pt x="20787" y="17316"/>
                    <a:pt x="20774" y="17331"/>
                  </a:cubicBezTo>
                  <a:cubicBezTo>
                    <a:pt x="20857" y="17171"/>
                    <a:pt x="20714" y="17200"/>
                    <a:pt x="20697" y="17051"/>
                  </a:cubicBezTo>
                  <a:cubicBezTo>
                    <a:pt x="20679" y="16900"/>
                    <a:pt x="20777" y="16955"/>
                    <a:pt x="20633" y="16847"/>
                  </a:cubicBezTo>
                  <a:cubicBezTo>
                    <a:pt x="20560" y="16791"/>
                    <a:pt x="20485" y="16742"/>
                    <a:pt x="20414" y="16682"/>
                  </a:cubicBezTo>
                  <a:cubicBezTo>
                    <a:pt x="20366" y="16642"/>
                    <a:pt x="20343" y="16674"/>
                    <a:pt x="20364" y="16614"/>
                  </a:cubicBezTo>
                  <a:cubicBezTo>
                    <a:pt x="20377" y="16578"/>
                    <a:pt x="20438" y="16604"/>
                    <a:pt x="20456" y="16617"/>
                  </a:cubicBezTo>
                  <a:cubicBezTo>
                    <a:pt x="20442" y="16645"/>
                    <a:pt x="20573" y="16769"/>
                    <a:pt x="20624" y="16796"/>
                  </a:cubicBezTo>
                  <a:cubicBezTo>
                    <a:pt x="20659" y="16815"/>
                    <a:pt x="20694" y="16784"/>
                    <a:pt x="20733" y="16813"/>
                  </a:cubicBezTo>
                  <a:cubicBezTo>
                    <a:pt x="20756" y="16829"/>
                    <a:pt x="20791" y="16912"/>
                    <a:pt x="20815" y="16938"/>
                  </a:cubicBezTo>
                  <a:cubicBezTo>
                    <a:pt x="20899" y="17033"/>
                    <a:pt x="20990" y="17110"/>
                    <a:pt x="21064" y="17230"/>
                  </a:cubicBezTo>
                  <a:cubicBezTo>
                    <a:pt x="21109" y="17303"/>
                    <a:pt x="21168" y="17438"/>
                    <a:pt x="21253" y="17447"/>
                  </a:cubicBezTo>
                  <a:cubicBezTo>
                    <a:pt x="21258" y="17447"/>
                    <a:pt x="21379" y="17342"/>
                    <a:pt x="21339" y="17283"/>
                  </a:cubicBezTo>
                  <a:cubicBezTo>
                    <a:pt x="21318" y="17254"/>
                    <a:pt x="21255" y="17332"/>
                    <a:pt x="21224" y="17289"/>
                  </a:cubicBezTo>
                  <a:cubicBezTo>
                    <a:pt x="21219" y="17282"/>
                    <a:pt x="21291" y="17252"/>
                    <a:pt x="21294" y="17222"/>
                  </a:cubicBezTo>
                  <a:cubicBezTo>
                    <a:pt x="21307" y="17053"/>
                    <a:pt x="21149" y="17201"/>
                    <a:pt x="21141" y="17081"/>
                  </a:cubicBezTo>
                  <a:cubicBezTo>
                    <a:pt x="21142" y="17099"/>
                    <a:pt x="21205" y="17100"/>
                    <a:pt x="21208" y="17041"/>
                  </a:cubicBezTo>
                  <a:cubicBezTo>
                    <a:pt x="21214" y="16962"/>
                    <a:pt x="21165" y="16973"/>
                    <a:pt x="21141" y="16924"/>
                  </a:cubicBezTo>
                  <a:cubicBezTo>
                    <a:pt x="21098" y="16835"/>
                    <a:pt x="21083" y="16706"/>
                    <a:pt x="20994" y="16669"/>
                  </a:cubicBezTo>
                  <a:cubicBezTo>
                    <a:pt x="21101" y="16557"/>
                    <a:pt x="20889" y="16444"/>
                    <a:pt x="20819" y="16445"/>
                  </a:cubicBezTo>
                  <a:cubicBezTo>
                    <a:pt x="20773" y="16445"/>
                    <a:pt x="20618" y="16541"/>
                    <a:pt x="20569" y="16479"/>
                  </a:cubicBezTo>
                  <a:cubicBezTo>
                    <a:pt x="20504" y="16395"/>
                    <a:pt x="20542" y="16265"/>
                    <a:pt x="20557" y="16153"/>
                  </a:cubicBezTo>
                  <a:cubicBezTo>
                    <a:pt x="20572" y="16028"/>
                    <a:pt x="20703" y="15878"/>
                    <a:pt x="20531" y="15864"/>
                  </a:cubicBezTo>
                  <a:cubicBezTo>
                    <a:pt x="20546" y="15957"/>
                    <a:pt x="20490" y="15902"/>
                    <a:pt x="20453" y="15965"/>
                  </a:cubicBezTo>
                  <a:cubicBezTo>
                    <a:pt x="20432" y="16002"/>
                    <a:pt x="20457" y="16057"/>
                    <a:pt x="20424" y="16105"/>
                  </a:cubicBezTo>
                  <a:cubicBezTo>
                    <a:pt x="20450" y="15901"/>
                    <a:pt x="20276" y="16127"/>
                    <a:pt x="20233" y="16125"/>
                  </a:cubicBezTo>
                  <a:cubicBezTo>
                    <a:pt x="20149" y="16123"/>
                    <a:pt x="20259" y="16065"/>
                    <a:pt x="20262" y="16001"/>
                  </a:cubicBezTo>
                  <a:cubicBezTo>
                    <a:pt x="20267" y="15915"/>
                    <a:pt x="20214" y="15970"/>
                    <a:pt x="20184" y="16016"/>
                  </a:cubicBezTo>
                  <a:cubicBezTo>
                    <a:pt x="20212" y="15923"/>
                    <a:pt x="20103" y="15809"/>
                    <a:pt x="20029" y="15848"/>
                  </a:cubicBezTo>
                  <a:cubicBezTo>
                    <a:pt x="20030" y="15847"/>
                    <a:pt x="19987" y="16045"/>
                    <a:pt x="19986" y="15928"/>
                  </a:cubicBezTo>
                  <a:cubicBezTo>
                    <a:pt x="19986" y="15874"/>
                    <a:pt x="20001" y="15819"/>
                    <a:pt x="20027" y="15785"/>
                  </a:cubicBezTo>
                  <a:cubicBezTo>
                    <a:pt x="20012" y="15782"/>
                    <a:pt x="19916" y="15747"/>
                    <a:pt x="19930" y="15743"/>
                  </a:cubicBezTo>
                  <a:cubicBezTo>
                    <a:pt x="19890" y="15754"/>
                    <a:pt x="19866" y="15816"/>
                    <a:pt x="19834" y="15825"/>
                  </a:cubicBezTo>
                  <a:cubicBezTo>
                    <a:pt x="19742" y="15852"/>
                    <a:pt x="19847" y="15744"/>
                    <a:pt x="19844" y="15690"/>
                  </a:cubicBezTo>
                  <a:cubicBezTo>
                    <a:pt x="19775" y="15656"/>
                    <a:pt x="19740" y="15771"/>
                    <a:pt x="19676" y="15782"/>
                  </a:cubicBezTo>
                  <a:cubicBezTo>
                    <a:pt x="19743" y="15642"/>
                    <a:pt x="19791" y="15690"/>
                    <a:pt x="19891" y="15631"/>
                  </a:cubicBezTo>
                  <a:cubicBezTo>
                    <a:pt x="19923" y="15613"/>
                    <a:pt x="19971" y="15571"/>
                    <a:pt x="19968" y="15514"/>
                  </a:cubicBezTo>
                  <a:cubicBezTo>
                    <a:pt x="19963" y="15409"/>
                    <a:pt x="19876" y="15454"/>
                    <a:pt x="19862" y="15380"/>
                  </a:cubicBezTo>
                  <a:cubicBezTo>
                    <a:pt x="19851" y="15316"/>
                    <a:pt x="20006" y="15293"/>
                    <a:pt x="19903" y="15134"/>
                  </a:cubicBezTo>
                  <a:cubicBezTo>
                    <a:pt x="19939" y="15190"/>
                    <a:pt x="19768" y="15133"/>
                    <a:pt x="19848" y="15118"/>
                  </a:cubicBezTo>
                  <a:cubicBezTo>
                    <a:pt x="19902" y="15108"/>
                    <a:pt x="19790" y="15067"/>
                    <a:pt x="19823" y="15100"/>
                  </a:cubicBezTo>
                  <a:cubicBezTo>
                    <a:pt x="19827" y="15104"/>
                    <a:pt x="19801" y="15169"/>
                    <a:pt x="19800" y="15174"/>
                  </a:cubicBezTo>
                  <a:cubicBezTo>
                    <a:pt x="19787" y="15011"/>
                    <a:pt x="19730" y="15130"/>
                    <a:pt x="19784" y="15252"/>
                  </a:cubicBezTo>
                  <a:cubicBezTo>
                    <a:pt x="19730" y="15220"/>
                    <a:pt x="19713" y="15284"/>
                    <a:pt x="19718" y="15357"/>
                  </a:cubicBezTo>
                  <a:cubicBezTo>
                    <a:pt x="19702" y="15320"/>
                    <a:pt x="19720" y="15119"/>
                    <a:pt x="19659" y="15184"/>
                  </a:cubicBezTo>
                  <a:cubicBezTo>
                    <a:pt x="19631" y="15215"/>
                    <a:pt x="19641" y="15314"/>
                    <a:pt x="19615" y="15344"/>
                  </a:cubicBezTo>
                  <a:cubicBezTo>
                    <a:pt x="19649" y="15305"/>
                    <a:pt x="19451" y="15414"/>
                    <a:pt x="19482" y="15420"/>
                  </a:cubicBezTo>
                  <a:cubicBezTo>
                    <a:pt x="19434" y="15411"/>
                    <a:pt x="19434" y="15274"/>
                    <a:pt x="19390" y="15244"/>
                  </a:cubicBezTo>
                  <a:cubicBezTo>
                    <a:pt x="19399" y="15249"/>
                    <a:pt x="19434" y="14931"/>
                    <a:pt x="19373" y="14847"/>
                  </a:cubicBezTo>
                  <a:cubicBezTo>
                    <a:pt x="19261" y="14693"/>
                    <a:pt x="19239" y="14882"/>
                    <a:pt x="19309" y="14994"/>
                  </a:cubicBezTo>
                  <a:cubicBezTo>
                    <a:pt x="19218" y="14919"/>
                    <a:pt x="19276" y="14812"/>
                    <a:pt x="19238" y="14739"/>
                  </a:cubicBezTo>
                  <a:cubicBezTo>
                    <a:pt x="19178" y="14622"/>
                    <a:pt x="19147" y="14720"/>
                    <a:pt x="19165" y="14800"/>
                  </a:cubicBezTo>
                  <a:cubicBezTo>
                    <a:pt x="19148" y="14747"/>
                    <a:pt x="19034" y="14577"/>
                    <a:pt x="19061" y="14716"/>
                  </a:cubicBezTo>
                  <a:cubicBezTo>
                    <a:pt x="19055" y="14710"/>
                    <a:pt x="18989" y="14656"/>
                    <a:pt x="18985" y="14693"/>
                  </a:cubicBezTo>
                  <a:cubicBezTo>
                    <a:pt x="18977" y="14753"/>
                    <a:pt x="19037" y="14757"/>
                    <a:pt x="19058" y="14791"/>
                  </a:cubicBezTo>
                  <a:cubicBezTo>
                    <a:pt x="19077" y="14821"/>
                    <a:pt x="19091" y="14868"/>
                    <a:pt x="19105" y="14902"/>
                  </a:cubicBezTo>
                  <a:cubicBezTo>
                    <a:pt x="19111" y="14916"/>
                    <a:pt x="19140" y="14922"/>
                    <a:pt x="19150" y="14937"/>
                  </a:cubicBezTo>
                  <a:cubicBezTo>
                    <a:pt x="19156" y="14946"/>
                    <a:pt x="19131" y="14974"/>
                    <a:pt x="19147" y="14997"/>
                  </a:cubicBezTo>
                  <a:cubicBezTo>
                    <a:pt x="19177" y="15042"/>
                    <a:pt x="19329" y="15161"/>
                    <a:pt x="19251" y="15153"/>
                  </a:cubicBezTo>
                  <a:cubicBezTo>
                    <a:pt x="19179" y="15145"/>
                    <a:pt x="19120" y="15036"/>
                    <a:pt x="19060" y="14994"/>
                  </a:cubicBezTo>
                  <a:cubicBezTo>
                    <a:pt x="19062" y="15006"/>
                    <a:pt x="19113" y="15190"/>
                    <a:pt x="19075" y="15111"/>
                  </a:cubicBezTo>
                  <a:cubicBezTo>
                    <a:pt x="19031" y="15019"/>
                    <a:pt x="19021" y="14910"/>
                    <a:pt x="18972" y="14821"/>
                  </a:cubicBezTo>
                  <a:cubicBezTo>
                    <a:pt x="18916" y="14952"/>
                    <a:pt x="19014" y="15070"/>
                    <a:pt x="19008" y="15186"/>
                  </a:cubicBezTo>
                  <a:cubicBezTo>
                    <a:pt x="18999" y="15360"/>
                    <a:pt x="18928" y="15102"/>
                    <a:pt x="18842" y="15156"/>
                  </a:cubicBezTo>
                  <a:cubicBezTo>
                    <a:pt x="18863" y="15033"/>
                    <a:pt x="18962" y="15085"/>
                    <a:pt x="18876" y="14911"/>
                  </a:cubicBezTo>
                  <a:cubicBezTo>
                    <a:pt x="18852" y="14863"/>
                    <a:pt x="18866" y="14817"/>
                    <a:pt x="18804" y="14828"/>
                  </a:cubicBezTo>
                  <a:cubicBezTo>
                    <a:pt x="18780" y="14832"/>
                    <a:pt x="18744" y="14890"/>
                    <a:pt x="18771" y="14888"/>
                  </a:cubicBezTo>
                  <a:cubicBezTo>
                    <a:pt x="18761" y="14889"/>
                    <a:pt x="18788" y="14926"/>
                    <a:pt x="18754" y="14912"/>
                  </a:cubicBezTo>
                  <a:cubicBezTo>
                    <a:pt x="18732" y="14904"/>
                    <a:pt x="18727" y="14831"/>
                    <a:pt x="18706" y="14820"/>
                  </a:cubicBezTo>
                  <a:cubicBezTo>
                    <a:pt x="18634" y="14779"/>
                    <a:pt x="18704" y="14854"/>
                    <a:pt x="18679" y="14857"/>
                  </a:cubicBezTo>
                  <a:cubicBezTo>
                    <a:pt x="18634" y="14863"/>
                    <a:pt x="18553" y="14840"/>
                    <a:pt x="18542" y="14852"/>
                  </a:cubicBezTo>
                  <a:cubicBezTo>
                    <a:pt x="18519" y="14805"/>
                    <a:pt x="18456" y="14688"/>
                    <a:pt x="18400" y="14736"/>
                  </a:cubicBezTo>
                  <a:cubicBezTo>
                    <a:pt x="18354" y="14778"/>
                    <a:pt x="18398" y="14771"/>
                    <a:pt x="18420" y="14829"/>
                  </a:cubicBezTo>
                  <a:cubicBezTo>
                    <a:pt x="18456" y="14924"/>
                    <a:pt x="18493" y="15040"/>
                    <a:pt x="18531" y="15137"/>
                  </a:cubicBezTo>
                  <a:cubicBezTo>
                    <a:pt x="18545" y="15174"/>
                    <a:pt x="18619" y="15256"/>
                    <a:pt x="18621" y="15274"/>
                  </a:cubicBezTo>
                  <a:cubicBezTo>
                    <a:pt x="18639" y="15409"/>
                    <a:pt x="18545" y="15255"/>
                    <a:pt x="18531" y="15235"/>
                  </a:cubicBezTo>
                  <a:cubicBezTo>
                    <a:pt x="18484" y="15164"/>
                    <a:pt x="18456" y="14966"/>
                    <a:pt x="18370" y="15018"/>
                  </a:cubicBezTo>
                  <a:cubicBezTo>
                    <a:pt x="18441" y="14917"/>
                    <a:pt x="18326" y="14863"/>
                    <a:pt x="18302" y="14767"/>
                  </a:cubicBezTo>
                  <a:cubicBezTo>
                    <a:pt x="18299" y="14790"/>
                    <a:pt x="18281" y="14853"/>
                    <a:pt x="18255" y="14841"/>
                  </a:cubicBezTo>
                  <a:cubicBezTo>
                    <a:pt x="18190" y="14810"/>
                    <a:pt x="18267" y="14823"/>
                    <a:pt x="18261" y="14781"/>
                  </a:cubicBezTo>
                  <a:cubicBezTo>
                    <a:pt x="18253" y="14721"/>
                    <a:pt x="18273" y="14590"/>
                    <a:pt x="18231" y="14478"/>
                  </a:cubicBezTo>
                  <a:cubicBezTo>
                    <a:pt x="18196" y="14571"/>
                    <a:pt x="18224" y="14751"/>
                    <a:pt x="18186" y="14837"/>
                  </a:cubicBezTo>
                  <a:cubicBezTo>
                    <a:pt x="18131" y="14745"/>
                    <a:pt x="18111" y="14844"/>
                    <a:pt x="18090" y="14908"/>
                  </a:cubicBezTo>
                  <a:cubicBezTo>
                    <a:pt x="18052" y="14774"/>
                    <a:pt x="18138" y="14793"/>
                    <a:pt x="18141" y="14731"/>
                  </a:cubicBezTo>
                  <a:cubicBezTo>
                    <a:pt x="18145" y="14656"/>
                    <a:pt x="18081" y="14521"/>
                    <a:pt x="18053" y="14454"/>
                  </a:cubicBezTo>
                  <a:cubicBezTo>
                    <a:pt x="18062" y="14577"/>
                    <a:pt x="17956" y="14590"/>
                    <a:pt x="17914" y="14580"/>
                  </a:cubicBezTo>
                  <a:cubicBezTo>
                    <a:pt x="17946" y="14528"/>
                    <a:pt x="17949" y="14486"/>
                    <a:pt x="17902" y="14468"/>
                  </a:cubicBezTo>
                  <a:cubicBezTo>
                    <a:pt x="17874" y="14564"/>
                    <a:pt x="17865" y="14411"/>
                    <a:pt x="17821" y="14380"/>
                  </a:cubicBezTo>
                  <a:cubicBezTo>
                    <a:pt x="17781" y="14352"/>
                    <a:pt x="17747" y="14378"/>
                    <a:pt x="17724" y="14393"/>
                  </a:cubicBezTo>
                  <a:cubicBezTo>
                    <a:pt x="17752" y="14374"/>
                    <a:pt x="17699" y="14563"/>
                    <a:pt x="17666" y="14468"/>
                  </a:cubicBezTo>
                  <a:cubicBezTo>
                    <a:pt x="17641" y="14395"/>
                    <a:pt x="17755" y="14352"/>
                    <a:pt x="17780" y="14311"/>
                  </a:cubicBezTo>
                  <a:cubicBezTo>
                    <a:pt x="17814" y="14256"/>
                    <a:pt x="17823" y="14291"/>
                    <a:pt x="17827" y="14207"/>
                  </a:cubicBezTo>
                  <a:cubicBezTo>
                    <a:pt x="17830" y="14147"/>
                    <a:pt x="17770" y="14120"/>
                    <a:pt x="17781" y="14088"/>
                  </a:cubicBezTo>
                  <a:cubicBezTo>
                    <a:pt x="17818" y="13980"/>
                    <a:pt x="17696" y="14102"/>
                    <a:pt x="17683" y="14116"/>
                  </a:cubicBezTo>
                  <a:cubicBezTo>
                    <a:pt x="17667" y="14131"/>
                    <a:pt x="17647" y="14108"/>
                    <a:pt x="17630" y="14120"/>
                  </a:cubicBezTo>
                  <a:cubicBezTo>
                    <a:pt x="17614" y="14131"/>
                    <a:pt x="17638" y="14194"/>
                    <a:pt x="17617" y="14197"/>
                  </a:cubicBezTo>
                  <a:cubicBezTo>
                    <a:pt x="17604" y="14200"/>
                    <a:pt x="17527" y="14143"/>
                    <a:pt x="17497" y="14140"/>
                  </a:cubicBezTo>
                  <a:cubicBezTo>
                    <a:pt x="17587" y="14094"/>
                    <a:pt x="17533" y="14043"/>
                    <a:pt x="17529" y="14071"/>
                  </a:cubicBezTo>
                  <a:cubicBezTo>
                    <a:pt x="17531" y="14056"/>
                    <a:pt x="17506" y="13957"/>
                    <a:pt x="17592" y="13977"/>
                  </a:cubicBezTo>
                  <a:cubicBezTo>
                    <a:pt x="17591" y="13976"/>
                    <a:pt x="17540" y="13901"/>
                    <a:pt x="17542" y="13928"/>
                  </a:cubicBezTo>
                  <a:cubicBezTo>
                    <a:pt x="17546" y="13982"/>
                    <a:pt x="17513" y="13806"/>
                    <a:pt x="17533" y="13849"/>
                  </a:cubicBezTo>
                  <a:cubicBezTo>
                    <a:pt x="17512" y="13804"/>
                    <a:pt x="17515" y="13762"/>
                    <a:pt x="17463" y="13739"/>
                  </a:cubicBezTo>
                  <a:cubicBezTo>
                    <a:pt x="17375" y="13701"/>
                    <a:pt x="17346" y="13793"/>
                    <a:pt x="17310" y="13842"/>
                  </a:cubicBezTo>
                  <a:cubicBezTo>
                    <a:pt x="17179" y="14019"/>
                    <a:pt x="17164" y="14181"/>
                    <a:pt x="17147" y="14438"/>
                  </a:cubicBezTo>
                  <a:cubicBezTo>
                    <a:pt x="17123" y="14329"/>
                    <a:pt x="17145" y="14143"/>
                    <a:pt x="17057" y="14271"/>
                  </a:cubicBezTo>
                  <a:cubicBezTo>
                    <a:pt x="17139" y="14152"/>
                    <a:pt x="17053" y="14153"/>
                    <a:pt x="17058" y="14128"/>
                  </a:cubicBezTo>
                  <a:cubicBezTo>
                    <a:pt x="17069" y="14075"/>
                    <a:pt x="17115" y="14145"/>
                    <a:pt x="17103" y="14021"/>
                  </a:cubicBezTo>
                  <a:cubicBezTo>
                    <a:pt x="17086" y="13851"/>
                    <a:pt x="17019" y="13993"/>
                    <a:pt x="16994" y="13885"/>
                  </a:cubicBezTo>
                  <a:cubicBezTo>
                    <a:pt x="16975" y="13807"/>
                    <a:pt x="17034" y="13743"/>
                    <a:pt x="17009" y="13654"/>
                  </a:cubicBezTo>
                  <a:cubicBezTo>
                    <a:pt x="16982" y="13559"/>
                    <a:pt x="16986" y="13688"/>
                    <a:pt x="16977" y="13701"/>
                  </a:cubicBezTo>
                  <a:cubicBezTo>
                    <a:pt x="16956" y="13732"/>
                    <a:pt x="16918" y="13787"/>
                    <a:pt x="16885" y="13810"/>
                  </a:cubicBezTo>
                  <a:cubicBezTo>
                    <a:pt x="16849" y="13836"/>
                    <a:pt x="16817" y="13802"/>
                    <a:pt x="16784" y="13853"/>
                  </a:cubicBezTo>
                  <a:cubicBezTo>
                    <a:pt x="16794" y="13747"/>
                    <a:pt x="16746" y="13740"/>
                    <a:pt x="16739" y="13705"/>
                  </a:cubicBezTo>
                  <a:cubicBezTo>
                    <a:pt x="16725" y="13643"/>
                    <a:pt x="16742" y="13598"/>
                    <a:pt x="16707" y="13536"/>
                  </a:cubicBezTo>
                  <a:cubicBezTo>
                    <a:pt x="16701" y="13551"/>
                    <a:pt x="16704" y="13569"/>
                    <a:pt x="16701" y="13585"/>
                  </a:cubicBezTo>
                  <a:cubicBezTo>
                    <a:pt x="16667" y="13584"/>
                    <a:pt x="16643" y="13659"/>
                    <a:pt x="16620" y="13651"/>
                  </a:cubicBezTo>
                  <a:cubicBezTo>
                    <a:pt x="16528" y="13619"/>
                    <a:pt x="16614" y="13533"/>
                    <a:pt x="16614" y="13543"/>
                  </a:cubicBezTo>
                  <a:cubicBezTo>
                    <a:pt x="16612" y="13503"/>
                    <a:pt x="16660" y="13564"/>
                    <a:pt x="16612" y="13490"/>
                  </a:cubicBezTo>
                  <a:cubicBezTo>
                    <a:pt x="16602" y="13475"/>
                    <a:pt x="16573" y="13488"/>
                    <a:pt x="16562" y="13476"/>
                  </a:cubicBezTo>
                  <a:cubicBezTo>
                    <a:pt x="16534" y="13446"/>
                    <a:pt x="16507" y="13433"/>
                    <a:pt x="16493" y="13388"/>
                  </a:cubicBezTo>
                  <a:cubicBezTo>
                    <a:pt x="16545" y="13403"/>
                    <a:pt x="16668" y="13507"/>
                    <a:pt x="16674" y="13424"/>
                  </a:cubicBezTo>
                  <a:cubicBezTo>
                    <a:pt x="16677" y="13383"/>
                    <a:pt x="16586" y="13442"/>
                    <a:pt x="16597" y="13363"/>
                  </a:cubicBezTo>
                  <a:cubicBezTo>
                    <a:pt x="16609" y="13287"/>
                    <a:pt x="16683" y="13361"/>
                    <a:pt x="16695" y="13396"/>
                  </a:cubicBezTo>
                  <a:cubicBezTo>
                    <a:pt x="16720" y="13305"/>
                    <a:pt x="16646" y="13261"/>
                    <a:pt x="16661" y="13168"/>
                  </a:cubicBezTo>
                  <a:cubicBezTo>
                    <a:pt x="16632" y="13198"/>
                    <a:pt x="16394" y="13088"/>
                    <a:pt x="16540" y="13261"/>
                  </a:cubicBezTo>
                  <a:cubicBezTo>
                    <a:pt x="16421" y="13276"/>
                    <a:pt x="16360" y="13110"/>
                    <a:pt x="16251" y="13152"/>
                  </a:cubicBezTo>
                  <a:cubicBezTo>
                    <a:pt x="16234" y="13159"/>
                    <a:pt x="16189" y="13245"/>
                    <a:pt x="16159" y="13262"/>
                  </a:cubicBezTo>
                  <a:cubicBezTo>
                    <a:pt x="16128" y="13281"/>
                    <a:pt x="16085" y="13266"/>
                    <a:pt x="16051" y="13292"/>
                  </a:cubicBezTo>
                  <a:cubicBezTo>
                    <a:pt x="16095" y="13234"/>
                    <a:pt x="16254" y="13100"/>
                    <a:pt x="16246" y="13019"/>
                  </a:cubicBezTo>
                  <a:cubicBezTo>
                    <a:pt x="16243" y="12995"/>
                    <a:pt x="16182" y="12939"/>
                    <a:pt x="16169" y="12918"/>
                  </a:cubicBezTo>
                  <a:cubicBezTo>
                    <a:pt x="16256" y="12917"/>
                    <a:pt x="16252" y="13016"/>
                    <a:pt x="16312" y="13063"/>
                  </a:cubicBezTo>
                  <a:cubicBezTo>
                    <a:pt x="16425" y="13152"/>
                    <a:pt x="16324" y="13013"/>
                    <a:pt x="16354" y="12996"/>
                  </a:cubicBezTo>
                  <a:cubicBezTo>
                    <a:pt x="16418" y="12958"/>
                    <a:pt x="16447" y="13077"/>
                    <a:pt x="16503" y="13107"/>
                  </a:cubicBezTo>
                  <a:cubicBezTo>
                    <a:pt x="16542" y="13128"/>
                    <a:pt x="16643" y="13083"/>
                    <a:pt x="16675" y="13114"/>
                  </a:cubicBezTo>
                  <a:cubicBezTo>
                    <a:pt x="16681" y="13121"/>
                    <a:pt x="16695" y="13225"/>
                    <a:pt x="16710" y="13267"/>
                  </a:cubicBezTo>
                  <a:cubicBezTo>
                    <a:pt x="16733" y="13337"/>
                    <a:pt x="16740" y="13329"/>
                    <a:pt x="16776" y="13380"/>
                  </a:cubicBezTo>
                  <a:cubicBezTo>
                    <a:pt x="16810" y="13427"/>
                    <a:pt x="16859" y="13501"/>
                    <a:pt x="16910" y="13495"/>
                  </a:cubicBezTo>
                  <a:cubicBezTo>
                    <a:pt x="16994" y="13485"/>
                    <a:pt x="16982" y="13368"/>
                    <a:pt x="16939" y="13297"/>
                  </a:cubicBezTo>
                  <a:cubicBezTo>
                    <a:pt x="16998" y="13333"/>
                    <a:pt x="17046" y="13351"/>
                    <a:pt x="17106" y="13315"/>
                  </a:cubicBezTo>
                  <a:cubicBezTo>
                    <a:pt x="17141" y="13295"/>
                    <a:pt x="17179" y="13308"/>
                    <a:pt x="17170" y="13232"/>
                  </a:cubicBezTo>
                  <a:cubicBezTo>
                    <a:pt x="17158" y="13134"/>
                    <a:pt x="17183" y="13216"/>
                    <a:pt x="17216" y="13190"/>
                  </a:cubicBezTo>
                  <a:cubicBezTo>
                    <a:pt x="17292" y="13129"/>
                    <a:pt x="17334" y="13166"/>
                    <a:pt x="17258" y="13054"/>
                  </a:cubicBezTo>
                  <a:cubicBezTo>
                    <a:pt x="17237" y="13022"/>
                    <a:pt x="17186" y="13016"/>
                    <a:pt x="17185" y="12985"/>
                  </a:cubicBezTo>
                  <a:cubicBezTo>
                    <a:pt x="17181" y="12882"/>
                    <a:pt x="17188" y="12900"/>
                    <a:pt x="17142" y="12833"/>
                  </a:cubicBezTo>
                  <a:cubicBezTo>
                    <a:pt x="17070" y="12725"/>
                    <a:pt x="16929" y="12741"/>
                    <a:pt x="16849" y="12714"/>
                  </a:cubicBezTo>
                  <a:cubicBezTo>
                    <a:pt x="16827" y="12707"/>
                    <a:pt x="16716" y="12687"/>
                    <a:pt x="16707" y="12677"/>
                  </a:cubicBezTo>
                  <a:cubicBezTo>
                    <a:pt x="16680" y="12648"/>
                    <a:pt x="16714" y="12604"/>
                    <a:pt x="16695" y="12570"/>
                  </a:cubicBezTo>
                  <a:cubicBezTo>
                    <a:pt x="16681" y="12544"/>
                    <a:pt x="16655" y="12539"/>
                    <a:pt x="16640" y="12516"/>
                  </a:cubicBezTo>
                  <a:cubicBezTo>
                    <a:pt x="16559" y="12385"/>
                    <a:pt x="16446" y="12283"/>
                    <a:pt x="16337" y="12229"/>
                  </a:cubicBezTo>
                  <a:cubicBezTo>
                    <a:pt x="16396" y="12097"/>
                    <a:pt x="16438" y="12206"/>
                    <a:pt x="16501" y="12237"/>
                  </a:cubicBezTo>
                  <a:cubicBezTo>
                    <a:pt x="16568" y="12269"/>
                    <a:pt x="16644" y="12244"/>
                    <a:pt x="16712" y="12274"/>
                  </a:cubicBezTo>
                  <a:cubicBezTo>
                    <a:pt x="16778" y="12304"/>
                    <a:pt x="16803" y="12385"/>
                    <a:pt x="16861" y="12409"/>
                  </a:cubicBezTo>
                  <a:cubicBezTo>
                    <a:pt x="16847" y="12403"/>
                    <a:pt x="16948" y="12397"/>
                    <a:pt x="16945" y="12399"/>
                  </a:cubicBezTo>
                  <a:cubicBezTo>
                    <a:pt x="16973" y="12376"/>
                    <a:pt x="16995" y="12286"/>
                    <a:pt x="17033" y="12253"/>
                  </a:cubicBezTo>
                  <a:cubicBezTo>
                    <a:pt x="16953" y="12166"/>
                    <a:pt x="16825" y="12243"/>
                    <a:pt x="16763" y="12128"/>
                  </a:cubicBezTo>
                  <a:cubicBezTo>
                    <a:pt x="16846" y="12117"/>
                    <a:pt x="17041" y="12201"/>
                    <a:pt x="16918" y="12017"/>
                  </a:cubicBezTo>
                  <a:cubicBezTo>
                    <a:pt x="16890" y="11976"/>
                    <a:pt x="16869" y="11998"/>
                    <a:pt x="16832" y="11965"/>
                  </a:cubicBezTo>
                  <a:cubicBezTo>
                    <a:pt x="16814" y="11948"/>
                    <a:pt x="16792" y="11894"/>
                    <a:pt x="16772" y="11884"/>
                  </a:cubicBezTo>
                  <a:cubicBezTo>
                    <a:pt x="16675" y="11837"/>
                    <a:pt x="16618" y="11941"/>
                    <a:pt x="16520" y="11964"/>
                  </a:cubicBezTo>
                  <a:cubicBezTo>
                    <a:pt x="16379" y="11996"/>
                    <a:pt x="16475" y="11856"/>
                    <a:pt x="16549" y="11823"/>
                  </a:cubicBezTo>
                  <a:cubicBezTo>
                    <a:pt x="16537" y="11811"/>
                    <a:pt x="16524" y="11790"/>
                    <a:pt x="16515" y="11781"/>
                  </a:cubicBezTo>
                  <a:cubicBezTo>
                    <a:pt x="16582" y="11818"/>
                    <a:pt x="16633" y="11843"/>
                    <a:pt x="16661" y="11741"/>
                  </a:cubicBezTo>
                  <a:cubicBezTo>
                    <a:pt x="16684" y="11783"/>
                    <a:pt x="16795" y="11881"/>
                    <a:pt x="16829" y="11879"/>
                  </a:cubicBezTo>
                  <a:cubicBezTo>
                    <a:pt x="16898" y="11875"/>
                    <a:pt x="16928" y="11810"/>
                    <a:pt x="16855" y="11776"/>
                  </a:cubicBezTo>
                  <a:cubicBezTo>
                    <a:pt x="16882" y="11761"/>
                    <a:pt x="16972" y="11697"/>
                    <a:pt x="16965" y="11630"/>
                  </a:cubicBezTo>
                  <a:cubicBezTo>
                    <a:pt x="16956" y="11547"/>
                    <a:pt x="16853" y="11568"/>
                    <a:pt x="16802" y="11517"/>
                  </a:cubicBezTo>
                  <a:cubicBezTo>
                    <a:pt x="16850" y="11486"/>
                    <a:pt x="16878" y="11526"/>
                    <a:pt x="16926" y="11522"/>
                  </a:cubicBezTo>
                  <a:cubicBezTo>
                    <a:pt x="16933" y="11521"/>
                    <a:pt x="17014" y="11506"/>
                    <a:pt x="17008" y="11504"/>
                  </a:cubicBezTo>
                  <a:cubicBezTo>
                    <a:pt x="17022" y="11509"/>
                    <a:pt x="17028" y="11507"/>
                    <a:pt x="17031" y="11504"/>
                  </a:cubicBezTo>
                  <a:cubicBezTo>
                    <a:pt x="17032" y="11510"/>
                    <a:pt x="17034" y="11518"/>
                    <a:pt x="17040" y="11535"/>
                  </a:cubicBezTo>
                  <a:cubicBezTo>
                    <a:pt x="17051" y="11563"/>
                    <a:pt x="17020" y="11618"/>
                    <a:pt x="17011" y="11638"/>
                  </a:cubicBezTo>
                  <a:cubicBezTo>
                    <a:pt x="17045" y="11640"/>
                    <a:pt x="17189" y="11916"/>
                    <a:pt x="17179" y="11744"/>
                  </a:cubicBezTo>
                  <a:cubicBezTo>
                    <a:pt x="17209" y="11790"/>
                    <a:pt x="17242" y="11879"/>
                    <a:pt x="17202" y="11928"/>
                  </a:cubicBezTo>
                  <a:cubicBezTo>
                    <a:pt x="17325" y="11921"/>
                    <a:pt x="17291" y="11804"/>
                    <a:pt x="17370" y="11719"/>
                  </a:cubicBezTo>
                  <a:cubicBezTo>
                    <a:pt x="17370" y="11794"/>
                    <a:pt x="17337" y="11836"/>
                    <a:pt x="17351" y="11894"/>
                  </a:cubicBezTo>
                  <a:cubicBezTo>
                    <a:pt x="17352" y="11897"/>
                    <a:pt x="17399" y="11868"/>
                    <a:pt x="17407" y="11880"/>
                  </a:cubicBezTo>
                  <a:cubicBezTo>
                    <a:pt x="17417" y="11895"/>
                    <a:pt x="17398" y="11927"/>
                    <a:pt x="17410" y="11944"/>
                  </a:cubicBezTo>
                  <a:cubicBezTo>
                    <a:pt x="17429" y="11970"/>
                    <a:pt x="17451" y="12011"/>
                    <a:pt x="17468" y="12032"/>
                  </a:cubicBezTo>
                  <a:cubicBezTo>
                    <a:pt x="17405" y="12019"/>
                    <a:pt x="17422" y="12086"/>
                    <a:pt x="17462" y="12133"/>
                  </a:cubicBezTo>
                  <a:cubicBezTo>
                    <a:pt x="17492" y="12167"/>
                    <a:pt x="17524" y="12198"/>
                    <a:pt x="17559" y="12152"/>
                  </a:cubicBezTo>
                  <a:cubicBezTo>
                    <a:pt x="17606" y="12092"/>
                    <a:pt x="17506" y="12073"/>
                    <a:pt x="17509" y="11994"/>
                  </a:cubicBezTo>
                  <a:cubicBezTo>
                    <a:pt x="17604" y="11950"/>
                    <a:pt x="17632" y="12009"/>
                    <a:pt x="17659" y="11858"/>
                  </a:cubicBezTo>
                  <a:cubicBezTo>
                    <a:pt x="17705" y="11980"/>
                    <a:pt x="17615" y="11971"/>
                    <a:pt x="17698" y="12073"/>
                  </a:cubicBezTo>
                  <a:cubicBezTo>
                    <a:pt x="17810" y="12211"/>
                    <a:pt x="17922" y="12174"/>
                    <a:pt x="17979" y="12019"/>
                  </a:cubicBezTo>
                  <a:cubicBezTo>
                    <a:pt x="18068" y="11776"/>
                    <a:pt x="18007" y="11565"/>
                    <a:pt x="17987" y="11314"/>
                  </a:cubicBezTo>
                  <a:cubicBezTo>
                    <a:pt x="18087" y="11434"/>
                    <a:pt x="18073" y="11680"/>
                    <a:pt x="18052" y="11862"/>
                  </a:cubicBezTo>
                  <a:cubicBezTo>
                    <a:pt x="18027" y="12068"/>
                    <a:pt x="17926" y="12201"/>
                    <a:pt x="18049" y="12385"/>
                  </a:cubicBezTo>
                  <a:cubicBezTo>
                    <a:pt x="18088" y="12510"/>
                    <a:pt x="18469" y="12148"/>
                    <a:pt x="18412" y="11957"/>
                  </a:cubicBezTo>
                  <a:cubicBezTo>
                    <a:pt x="18476" y="11969"/>
                    <a:pt x="18574" y="11744"/>
                    <a:pt x="18591" y="11654"/>
                  </a:cubicBezTo>
                  <a:cubicBezTo>
                    <a:pt x="18611" y="11555"/>
                    <a:pt x="18568" y="11490"/>
                    <a:pt x="18557" y="11389"/>
                  </a:cubicBezTo>
                  <a:cubicBezTo>
                    <a:pt x="18543" y="11276"/>
                    <a:pt x="18556" y="11218"/>
                    <a:pt x="18587" y="11118"/>
                  </a:cubicBezTo>
                  <a:cubicBezTo>
                    <a:pt x="18606" y="11053"/>
                    <a:pt x="18696" y="10798"/>
                    <a:pt x="18696" y="10968"/>
                  </a:cubicBezTo>
                  <a:cubicBezTo>
                    <a:pt x="18696" y="11034"/>
                    <a:pt x="18633" y="11146"/>
                    <a:pt x="18624" y="11226"/>
                  </a:cubicBezTo>
                  <a:cubicBezTo>
                    <a:pt x="18610" y="11337"/>
                    <a:pt x="18617" y="11375"/>
                    <a:pt x="18645" y="11488"/>
                  </a:cubicBezTo>
                  <a:cubicBezTo>
                    <a:pt x="18661" y="11551"/>
                    <a:pt x="18667" y="11691"/>
                    <a:pt x="18689" y="11739"/>
                  </a:cubicBezTo>
                  <a:cubicBezTo>
                    <a:pt x="18716" y="11796"/>
                    <a:pt x="18768" y="11801"/>
                    <a:pt x="18810" y="11829"/>
                  </a:cubicBezTo>
                  <a:cubicBezTo>
                    <a:pt x="18713" y="11917"/>
                    <a:pt x="18683" y="11795"/>
                    <a:pt x="18615" y="11953"/>
                  </a:cubicBezTo>
                  <a:cubicBezTo>
                    <a:pt x="18577" y="12039"/>
                    <a:pt x="18499" y="12169"/>
                    <a:pt x="18482" y="12260"/>
                  </a:cubicBezTo>
                  <a:cubicBezTo>
                    <a:pt x="18468" y="12338"/>
                    <a:pt x="18484" y="12440"/>
                    <a:pt x="18496" y="12517"/>
                  </a:cubicBezTo>
                  <a:cubicBezTo>
                    <a:pt x="18512" y="12631"/>
                    <a:pt x="18572" y="12773"/>
                    <a:pt x="18563" y="12564"/>
                  </a:cubicBezTo>
                  <a:cubicBezTo>
                    <a:pt x="18658" y="12668"/>
                    <a:pt x="18555" y="12872"/>
                    <a:pt x="18731" y="12747"/>
                  </a:cubicBezTo>
                  <a:cubicBezTo>
                    <a:pt x="18819" y="12684"/>
                    <a:pt x="18788" y="12650"/>
                    <a:pt x="18836" y="12549"/>
                  </a:cubicBezTo>
                  <a:cubicBezTo>
                    <a:pt x="18854" y="12514"/>
                    <a:pt x="19007" y="12334"/>
                    <a:pt x="18989" y="12394"/>
                  </a:cubicBezTo>
                  <a:cubicBezTo>
                    <a:pt x="18963" y="12482"/>
                    <a:pt x="18890" y="12505"/>
                    <a:pt x="18862" y="12618"/>
                  </a:cubicBezTo>
                  <a:cubicBezTo>
                    <a:pt x="18855" y="12646"/>
                    <a:pt x="18875" y="12695"/>
                    <a:pt x="18869" y="12711"/>
                  </a:cubicBezTo>
                  <a:cubicBezTo>
                    <a:pt x="18852" y="12751"/>
                    <a:pt x="18801" y="12759"/>
                    <a:pt x="18787" y="12795"/>
                  </a:cubicBezTo>
                  <a:cubicBezTo>
                    <a:pt x="18752" y="12885"/>
                    <a:pt x="18774" y="13044"/>
                    <a:pt x="18864" y="12885"/>
                  </a:cubicBezTo>
                  <a:cubicBezTo>
                    <a:pt x="18873" y="13022"/>
                    <a:pt x="19005" y="12869"/>
                    <a:pt x="19022" y="12805"/>
                  </a:cubicBezTo>
                  <a:cubicBezTo>
                    <a:pt x="19055" y="12682"/>
                    <a:pt x="18954" y="12496"/>
                    <a:pt x="19109" y="12484"/>
                  </a:cubicBezTo>
                  <a:cubicBezTo>
                    <a:pt x="18995" y="12569"/>
                    <a:pt x="19101" y="12606"/>
                    <a:pt x="19105" y="12647"/>
                  </a:cubicBezTo>
                  <a:cubicBezTo>
                    <a:pt x="19107" y="12670"/>
                    <a:pt x="19088" y="12817"/>
                    <a:pt x="19078" y="12848"/>
                  </a:cubicBezTo>
                  <a:cubicBezTo>
                    <a:pt x="19036" y="12976"/>
                    <a:pt x="18922" y="13036"/>
                    <a:pt x="19027" y="13159"/>
                  </a:cubicBezTo>
                  <a:cubicBezTo>
                    <a:pt x="19043" y="13177"/>
                    <a:pt x="19129" y="13239"/>
                    <a:pt x="19147" y="13230"/>
                  </a:cubicBezTo>
                  <a:cubicBezTo>
                    <a:pt x="19191" y="13208"/>
                    <a:pt x="19145" y="13168"/>
                    <a:pt x="19169" y="13118"/>
                  </a:cubicBezTo>
                  <a:cubicBezTo>
                    <a:pt x="19196" y="13065"/>
                    <a:pt x="19232" y="13062"/>
                    <a:pt x="19257" y="13024"/>
                  </a:cubicBezTo>
                  <a:cubicBezTo>
                    <a:pt x="19286" y="12979"/>
                    <a:pt x="19396" y="12720"/>
                    <a:pt x="19421" y="12820"/>
                  </a:cubicBezTo>
                  <a:cubicBezTo>
                    <a:pt x="19442" y="12782"/>
                    <a:pt x="19448" y="12749"/>
                    <a:pt x="19431" y="12699"/>
                  </a:cubicBezTo>
                  <a:cubicBezTo>
                    <a:pt x="19567" y="12830"/>
                    <a:pt x="19379" y="12830"/>
                    <a:pt x="19368" y="12922"/>
                  </a:cubicBezTo>
                  <a:cubicBezTo>
                    <a:pt x="19355" y="13035"/>
                    <a:pt x="19286" y="13129"/>
                    <a:pt x="19259" y="13236"/>
                  </a:cubicBezTo>
                  <a:cubicBezTo>
                    <a:pt x="19299" y="13184"/>
                    <a:pt x="19352" y="13155"/>
                    <a:pt x="19399" y="13118"/>
                  </a:cubicBezTo>
                  <a:cubicBezTo>
                    <a:pt x="19396" y="13206"/>
                    <a:pt x="19349" y="13186"/>
                    <a:pt x="19334" y="13218"/>
                  </a:cubicBezTo>
                  <a:cubicBezTo>
                    <a:pt x="19301" y="13293"/>
                    <a:pt x="19309" y="13264"/>
                    <a:pt x="19321" y="13313"/>
                  </a:cubicBezTo>
                  <a:cubicBezTo>
                    <a:pt x="19360" y="13470"/>
                    <a:pt x="19424" y="13344"/>
                    <a:pt x="19502" y="13291"/>
                  </a:cubicBezTo>
                  <a:cubicBezTo>
                    <a:pt x="19460" y="13369"/>
                    <a:pt x="19522" y="13432"/>
                    <a:pt x="19535" y="13519"/>
                  </a:cubicBezTo>
                  <a:cubicBezTo>
                    <a:pt x="19545" y="13492"/>
                    <a:pt x="19578" y="13465"/>
                    <a:pt x="19587" y="13448"/>
                  </a:cubicBezTo>
                  <a:cubicBezTo>
                    <a:pt x="19599" y="13495"/>
                    <a:pt x="19613" y="13496"/>
                    <a:pt x="19621" y="13547"/>
                  </a:cubicBezTo>
                  <a:cubicBezTo>
                    <a:pt x="19671" y="13524"/>
                    <a:pt x="19653" y="13526"/>
                    <a:pt x="19693" y="13562"/>
                  </a:cubicBezTo>
                  <a:cubicBezTo>
                    <a:pt x="19709" y="13314"/>
                    <a:pt x="19561" y="13171"/>
                    <a:pt x="19576" y="12934"/>
                  </a:cubicBezTo>
                  <a:cubicBezTo>
                    <a:pt x="19582" y="12829"/>
                    <a:pt x="19593" y="12640"/>
                    <a:pt x="19628" y="12829"/>
                  </a:cubicBezTo>
                  <a:cubicBezTo>
                    <a:pt x="19645" y="12924"/>
                    <a:pt x="19596" y="13022"/>
                    <a:pt x="19636" y="13112"/>
                  </a:cubicBezTo>
                  <a:cubicBezTo>
                    <a:pt x="19645" y="13096"/>
                    <a:pt x="19661" y="13075"/>
                    <a:pt x="19668" y="13060"/>
                  </a:cubicBezTo>
                  <a:cubicBezTo>
                    <a:pt x="19654" y="13205"/>
                    <a:pt x="19717" y="13271"/>
                    <a:pt x="19793" y="13332"/>
                  </a:cubicBezTo>
                  <a:cubicBezTo>
                    <a:pt x="19826" y="13235"/>
                    <a:pt x="19838" y="13149"/>
                    <a:pt x="19906" y="13105"/>
                  </a:cubicBezTo>
                  <a:cubicBezTo>
                    <a:pt x="19888" y="13164"/>
                    <a:pt x="19841" y="13331"/>
                    <a:pt x="19873" y="13401"/>
                  </a:cubicBezTo>
                  <a:cubicBezTo>
                    <a:pt x="19884" y="13387"/>
                    <a:pt x="19995" y="13439"/>
                    <a:pt x="20004" y="13445"/>
                  </a:cubicBezTo>
                  <a:cubicBezTo>
                    <a:pt x="20011" y="13406"/>
                    <a:pt x="19978" y="13305"/>
                    <a:pt x="19985" y="13284"/>
                  </a:cubicBezTo>
                  <a:cubicBezTo>
                    <a:pt x="19999" y="13248"/>
                    <a:pt x="20037" y="13300"/>
                    <a:pt x="20047" y="13275"/>
                  </a:cubicBezTo>
                  <a:cubicBezTo>
                    <a:pt x="20085" y="13188"/>
                    <a:pt x="20073" y="13093"/>
                    <a:pt x="20098" y="12991"/>
                  </a:cubicBezTo>
                  <a:cubicBezTo>
                    <a:pt x="20152" y="13069"/>
                    <a:pt x="20094" y="13199"/>
                    <a:pt x="20160" y="13279"/>
                  </a:cubicBezTo>
                  <a:cubicBezTo>
                    <a:pt x="20251" y="13387"/>
                    <a:pt x="20226" y="13192"/>
                    <a:pt x="20318" y="13214"/>
                  </a:cubicBezTo>
                  <a:cubicBezTo>
                    <a:pt x="20262" y="13262"/>
                    <a:pt x="20285" y="13316"/>
                    <a:pt x="20238" y="13350"/>
                  </a:cubicBezTo>
                  <a:cubicBezTo>
                    <a:pt x="20250" y="13394"/>
                    <a:pt x="20297" y="13441"/>
                    <a:pt x="20336" y="13407"/>
                  </a:cubicBezTo>
                  <a:cubicBezTo>
                    <a:pt x="20401" y="13352"/>
                    <a:pt x="20351" y="13183"/>
                    <a:pt x="20421" y="13356"/>
                  </a:cubicBezTo>
                  <a:cubicBezTo>
                    <a:pt x="20432" y="13383"/>
                    <a:pt x="20404" y="13507"/>
                    <a:pt x="20479" y="13466"/>
                  </a:cubicBezTo>
                  <a:cubicBezTo>
                    <a:pt x="20531" y="13437"/>
                    <a:pt x="20501" y="13406"/>
                    <a:pt x="20481" y="13326"/>
                  </a:cubicBezTo>
                  <a:cubicBezTo>
                    <a:pt x="20465" y="13260"/>
                    <a:pt x="20485" y="13187"/>
                    <a:pt x="20447" y="13129"/>
                  </a:cubicBezTo>
                  <a:cubicBezTo>
                    <a:pt x="20505" y="13094"/>
                    <a:pt x="20479" y="13076"/>
                    <a:pt x="20428" y="13076"/>
                  </a:cubicBezTo>
                  <a:cubicBezTo>
                    <a:pt x="20514" y="12996"/>
                    <a:pt x="20423" y="13022"/>
                    <a:pt x="20409" y="12968"/>
                  </a:cubicBezTo>
                  <a:cubicBezTo>
                    <a:pt x="20397" y="12916"/>
                    <a:pt x="20450" y="12910"/>
                    <a:pt x="20410" y="12847"/>
                  </a:cubicBezTo>
                  <a:cubicBezTo>
                    <a:pt x="20409" y="12846"/>
                    <a:pt x="20330" y="12865"/>
                    <a:pt x="20322" y="12868"/>
                  </a:cubicBezTo>
                  <a:cubicBezTo>
                    <a:pt x="20308" y="12851"/>
                    <a:pt x="20317" y="12848"/>
                    <a:pt x="20281" y="12824"/>
                  </a:cubicBezTo>
                  <a:cubicBezTo>
                    <a:pt x="20282" y="12822"/>
                    <a:pt x="20390" y="12691"/>
                    <a:pt x="20382" y="12736"/>
                  </a:cubicBezTo>
                  <a:cubicBezTo>
                    <a:pt x="20398" y="12651"/>
                    <a:pt x="20313" y="12668"/>
                    <a:pt x="20270" y="12698"/>
                  </a:cubicBezTo>
                  <a:cubicBezTo>
                    <a:pt x="20338" y="12615"/>
                    <a:pt x="20272" y="12605"/>
                    <a:pt x="20272" y="12604"/>
                  </a:cubicBezTo>
                  <a:cubicBezTo>
                    <a:pt x="20273" y="12613"/>
                    <a:pt x="20235" y="12623"/>
                    <a:pt x="20230" y="12613"/>
                  </a:cubicBezTo>
                  <a:cubicBezTo>
                    <a:pt x="20205" y="12568"/>
                    <a:pt x="20268" y="12557"/>
                    <a:pt x="20267" y="12551"/>
                  </a:cubicBezTo>
                  <a:cubicBezTo>
                    <a:pt x="20241" y="12449"/>
                    <a:pt x="20173" y="12496"/>
                    <a:pt x="20096" y="12428"/>
                  </a:cubicBezTo>
                  <a:cubicBezTo>
                    <a:pt x="20116" y="12407"/>
                    <a:pt x="20138" y="12364"/>
                    <a:pt x="20157" y="12344"/>
                  </a:cubicBezTo>
                  <a:cubicBezTo>
                    <a:pt x="20089" y="12380"/>
                    <a:pt x="20001" y="12343"/>
                    <a:pt x="19932" y="12323"/>
                  </a:cubicBezTo>
                  <a:cubicBezTo>
                    <a:pt x="19981" y="12234"/>
                    <a:pt x="20030" y="12300"/>
                    <a:pt x="20093" y="12283"/>
                  </a:cubicBezTo>
                  <a:cubicBezTo>
                    <a:pt x="20137" y="12271"/>
                    <a:pt x="20149" y="12237"/>
                    <a:pt x="20189" y="12216"/>
                  </a:cubicBezTo>
                  <a:cubicBezTo>
                    <a:pt x="20160" y="12192"/>
                    <a:pt x="20117" y="12174"/>
                    <a:pt x="20080" y="12178"/>
                  </a:cubicBezTo>
                  <a:cubicBezTo>
                    <a:pt x="20045" y="12182"/>
                    <a:pt x="20023" y="12234"/>
                    <a:pt x="20002" y="12232"/>
                  </a:cubicBezTo>
                  <a:cubicBezTo>
                    <a:pt x="20029" y="12234"/>
                    <a:pt x="19888" y="12141"/>
                    <a:pt x="19908" y="12166"/>
                  </a:cubicBezTo>
                  <a:cubicBezTo>
                    <a:pt x="19883" y="12135"/>
                    <a:pt x="19894" y="12085"/>
                    <a:pt x="19854" y="12051"/>
                  </a:cubicBezTo>
                  <a:cubicBezTo>
                    <a:pt x="19912" y="11991"/>
                    <a:pt x="19935" y="12135"/>
                    <a:pt x="20000" y="12110"/>
                  </a:cubicBezTo>
                  <a:cubicBezTo>
                    <a:pt x="20071" y="12081"/>
                    <a:pt x="20050" y="11901"/>
                    <a:pt x="19996" y="11865"/>
                  </a:cubicBezTo>
                  <a:cubicBezTo>
                    <a:pt x="19906" y="11806"/>
                    <a:pt x="19793" y="12012"/>
                    <a:pt x="19705" y="11940"/>
                  </a:cubicBezTo>
                  <a:cubicBezTo>
                    <a:pt x="19777" y="11891"/>
                    <a:pt x="19845" y="11754"/>
                    <a:pt x="19937" y="11757"/>
                  </a:cubicBezTo>
                  <a:cubicBezTo>
                    <a:pt x="19891" y="11708"/>
                    <a:pt x="19856" y="11643"/>
                    <a:pt x="19813" y="11589"/>
                  </a:cubicBezTo>
                  <a:cubicBezTo>
                    <a:pt x="19770" y="11537"/>
                    <a:pt x="19717" y="11495"/>
                    <a:pt x="19677" y="11439"/>
                  </a:cubicBezTo>
                  <a:cubicBezTo>
                    <a:pt x="19657" y="11410"/>
                    <a:pt x="19556" y="11252"/>
                    <a:pt x="19645" y="11302"/>
                  </a:cubicBezTo>
                  <a:cubicBezTo>
                    <a:pt x="19687" y="11327"/>
                    <a:pt x="19752" y="11451"/>
                    <a:pt x="19795" y="11494"/>
                  </a:cubicBezTo>
                  <a:cubicBezTo>
                    <a:pt x="19847" y="11546"/>
                    <a:pt x="19902" y="11595"/>
                    <a:pt x="19953" y="11645"/>
                  </a:cubicBezTo>
                  <a:cubicBezTo>
                    <a:pt x="19964" y="11655"/>
                    <a:pt x="20029" y="11721"/>
                    <a:pt x="20037" y="11723"/>
                  </a:cubicBezTo>
                  <a:cubicBezTo>
                    <a:pt x="20099" y="11740"/>
                    <a:pt x="20059" y="11698"/>
                    <a:pt x="20109" y="11689"/>
                  </a:cubicBezTo>
                  <a:cubicBezTo>
                    <a:pt x="20138" y="11684"/>
                    <a:pt x="20190" y="11687"/>
                    <a:pt x="20202" y="11684"/>
                  </a:cubicBezTo>
                  <a:cubicBezTo>
                    <a:pt x="20208" y="11683"/>
                    <a:pt x="20252" y="11802"/>
                    <a:pt x="20246" y="11697"/>
                  </a:cubicBezTo>
                  <a:cubicBezTo>
                    <a:pt x="20240" y="11584"/>
                    <a:pt x="20195" y="11418"/>
                    <a:pt x="20109" y="11381"/>
                  </a:cubicBezTo>
                  <a:cubicBezTo>
                    <a:pt x="20191" y="11304"/>
                    <a:pt x="20385" y="11856"/>
                    <a:pt x="20409" y="11479"/>
                  </a:cubicBezTo>
                  <a:cubicBezTo>
                    <a:pt x="20417" y="11510"/>
                    <a:pt x="20432" y="11535"/>
                    <a:pt x="20439" y="11558"/>
                  </a:cubicBezTo>
                  <a:cubicBezTo>
                    <a:pt x="20401" y="11210"/>
                    <a:pt x="20283" y="11451"/>
                    <a:pt x="20169" y="11304"/>
                  </a:cubicBezTo>
                  <a:cubicBezTo>
                    <a:pt x="20222" y="11274"/>
                    <a:pt x="20297" y="11259"/>
                    <a:pt x="20358" y="11251"/>
                  </a:cubicBezTo>
                  <a:cubicBezTo>
                    <a:pt x="20325" y="11032"/>
                    <a:pt x="20152" y="11215"/>
                    <a:pt x="20094" y="11099"/>
                  </a:cubicBezTo>
                  <a:cubicBezTo>
                    <a:pt x="20081" y="11075"/>
                    <a:pt x="19984" y="11043"/>
                    <a:pt x="20042" y="11009"/>
                  </a:cubicBezTo>
                  <a:cubicBezTo>
                    <a:pt x="20062" y="10998"/>
                    <a:pt x="20111" y="11054"/>
                    <a:pt x="20129" y="11061"/>
                  </a:cubicBezTo>
                  <a:cubicBezTo>
                    <a:pt x="20229" y="11104"/>
                    <a:pt x="20231" y="11073"/>
                    <a:pt x="20310" y="11027"/>
                  </a:cubicBezTo>
                  <a:cubicBezTo>
                    <a:pt x="20320" y="11022"/>
                    <a:pt x="20346" y="11047"/>
                    <a:pt x="20387" y="11011"/>
                  </a:cubicBezTo>
                  <a:cubicBezTo>
                    <a:pt x="20393" y="11005"/>
                    <a:pt x="20447" y="10899"/>
                    <a:pt x="20447" y="10904"/>
                  </a:cubicBezTo>
                  <a:cubicBezTo>
                    <a:pt x="20444" y="10889"/>
                    <a:pt x="20360" y="10831"/>
                    <a:pt x="20348" y="10823"/>
                  </a:cubicBezTo>
                  <a:cubicBezTo>
                    <a:pt x="20354" y="10827"/>
                    <a:pt x="20262" y="10756"/>
                    <a:pt x="20281" y="10788"/>
                  </a:cubicBezTo>
                  <a:cubicBezTo>
                    <a:pt x="20250" y="10736"/>
                    <a:pt x="20298" y="10735"/>
                    <a:pt x="20272" y="10691"/>
                  </a:cubicBezTo>
                  <a:cubicBezTo>
                    <a:pt x="20230" y="10622"/>
                    <a:pt x="20223" y="10674"/>
                    <a:pt x="20175" y="10669"/>
                  </a:cubicBezTo>
                  <a:cubicBezTo>
                    <a:pt x="20117" y="10663"/>
                    <a:pt x="20085" y="10656"/>
                    <a:pt x="20016" y="10695"/>
                  </a:cubicBezTo>
                  <a:cubicBezTo>
                    <a:pt x="19920" y="10748"/>
                    <a:pt x="19944" y="10750"/>
                    <a:pt x="19846" y="10672"/>
                  </a:cubicBezTo>
                  <a:cubicBezTo>
                    <a:pt x="19777" y="10618"/>
                    <a:pt x="19774" y="10584"/>
                    <a:pt x="19707" y="10675"/>
                  </a:cubicBezTo>
                  <a:cubicBezTo>
                    <a:pt x="19806" y="10419"/>
                    <a:pt x="19823" y="10687"/>
                    <a:pt x="19936" y="10700"/>
                  </a:cubicBezTo>
                  <a:cubicBezTo>
                    <a:pt x="19985" y="10705"/>
                    <a:pt x="20101" y="10597"/>
                    <a:pt x="20156" y="10581"/>
                  </a:cubicBezTo>
                  <a:cubicBezTo>
                    <a:pt x="20176" y="10575"/>
                    <a:pt x="20245" y="10580"/>
                    <a:pt x="20255" y="10574"/>
                  </a:cubicBezTo>
                  <a:cubicBezTo>
                    <a:pt x="20303" y="10546"/>
                    <a:pt x="20285" y="10524"/>
                    <a:pt x="20322" y="10478"/>
                  </a:cubicBezTo>
                  <a:cubicBezTo>
                    <a:pt x="20350" y="10442"/>
                    <a:pt x="20422" y="10332"/>
                    <a:pt x="20460" y="10329"/>
                  </a:cubicBezTo>
                  <a:cubicBezTo>
                    <a:pt x="20435" y="10266"/>
                    <a:pt x="20389" y="10286"/>
                    <a:pt x="20349" y="10314"/>
                  </a:cubicBezTo>
                  <a:cubicBezTo>
                    <a:pt x="20358" y="10294"/>
                    <a:pt x="20364" y="10247"/>
                    <a:pt x="20373" y="10229"/>
                  </a:cubicBezTo>
                  <a:cubicBezTo>
                    <a:pt x="20362" y="10223"/>
                    <a:pt x="20346" y="10231"/>
                    <a:pt x="20335" y="10234"/>
                  </a:cubicBezTo>
                  <a:cubicBezTo>
                    <a:pt x="20339" y="10098"/>
                    <a:pt x="20298" y="10255"/>
                    <a:pt x="20276" y="10235"/>
                  </a:cubicBezTo>
                  <a:cubicBezTo>
                    <a:pt x="20215" y="10180"/>
                    <a:pt x="20288" y="10157"/>
                    <a:pt x="20200" y="10161"/>
                  </a:cubicBezTo>
                  <a:cubicBezTo>
                    <a:pt x="20167" y="10162"/>
                    <a:pt x="20116" y="10202"/>
                    <a:pt x="20081" y="10209"/>
                  </a:cubicBezTo>
                  <a:cubicBezTo>
                    <a:pt x="20056" y="10214"/>
                    <a:pt x="20004" y="10200"/>
                    <a:pt x="19975" y="10209"/>
                  </a:cubicBezTo>
                  <a:cubicBezTo>
                    <a:pt x="19960" y="10214"/>
                    <a:pt x="19950" y="10178"/>
                    <a:pt x="19929" y="10192"/>
                  </a:cubicBezTo>
                  <a:cubicBezTo>
                    <a:pt x="19914" y="10202"/>
                    <a:pt x="19917" y="10249"/>
                    <a:pt x="19901" y="10258"/>
                  </a:cubicBezTo>
                  <a:cubicBezTo>
                    <a:pt x="19848" y="10290"/>
                    <a:pt x="19869" y="10305"/>
                    <a:pt x="19812" y="10300"/>
                  </a:cubicBezTo>
                  <a:cubicBezTo>
                    <a:pt x="19723" y="10294"/>
                    <a:pt x="19707" y="10188"/>
                    <a:pt x="19624" y="10156"/>
                  </a:cubicBezTo>
                  <a:cubicBezTo>
                    <a:pt x="19695" y="10099"/>
                    <a:pt x="19776" y="10254"/>
                    <a:pt x="19841" y="10270"/>
                  </a:cubicBezTo>
                  <a:cubicBezTo>
                    <a:pt x="19878" y="10166"/>
                    <a:pt x="19914" y="10026"/>
                    <a:pt x="19913" y="9909"/>
                  </a:cubicBezTo>
                  <a:cubicBezTo>
                    <a:pt x="19913" y="9885"/>
                    <a:pt x="19852" y="9874"/>
                    <a:pt x="19830" y="9861"/>
                  </a:cubicBezTo>
                  <a:cubicBezTo>
                    <a:pt x="19780" y="9829"/>
                    <a:pt x="19816" y="9800"/>
                    <a:pt x="19760" y="9814"/>
                  </a:cubicBezTo>
                  <a:cubicBezTo>
                    <a:pt x="19743" y="9818"/>
                    <a:pt x="19733" y="9892"/>
                    <a:pt x="19703" y="9901"/>
                  </a:cubicBezTo>
                  <a:cubicBezTo>
                    <a:pt x="19646" y="9919"/>
                    <a:pt x="19635" y="9861"/>
                    <a:pt x="19679" y="9807"/>
                  </a:cubicBezTo>
                  <a:cubicBezTo>
                    <a:pt x="19726" y="9750"/>
                    <a:pt x="19815" y="9716"/>
                    <a:pt x="19877" y="9706"/>
                  </a:cubicBezTo>
                  <a:cubicBezTo>
                    <a:pt x="19948" y="9694"/>
                    <a:pt x="19926" y="9704"/>
                    <a:pt x="19975" y="9736"/>
                  </a:cubicBezTo>
                  <a:cubicBezTo>
                    <a:pt x="20001" y="9753"/>
                    <a:pt x="20009" y="9817"/>
                    <a:pt x="20038" y="9821"/>
                  </a:cubicBezTo>
                  <a:cubicBezTo>
                    <a:pt x="20068" y="9826"/>
                    <a:pt x="20113" y="9752"/>
                    <a:pt x="20140" y="9741"/>
                  </a:cubicBezTo>
                  <a:cubicBezTo>
                    <a:pt x="20166" y="9731"/>
                    <a:pt x="20195" y="9765"/>
                    <a:pt x="20224" y="9747"/>
                  </a:cubicBezTo>
                  <a:cubicBezTo>
                    <a:pt x="20279" y="9712"/>
                    <a:pt x="20249" y="9681"/>
                    <a:pt x="20278" y="9623"/>
                  </a:cubicBezTo>
                  <a:cubicBezTo>
                    <a:pt x="20283" y="9614"/>
                    <a:pt x="20281" y="9572"/>
                    <a:pt x="20287" y="9556"/>
                  </a:cubicBezTo>
                  <a:cubicBezTo>
                    <a:pt x="20293" y="9539"/>
                    <a:pt x="20328" y="9552"/>
                    <a:pt x="20336" y="9539"/>
                  </a:cubicBezTo>
                  <a:cubicBezTo>
                    <a:pt x="20354" y="9512"/>
                    <a:pt x="20434" y="9376"/>
                    <a:pt x="20423" y="9342"/>
                  </a:cubicBezTo>
                  <a:cubicBezTo>
                    <a:pt x="20370" y="9171"/>
                    <a:pt x="20116" y="9475"/>
                    <a:pt x="20076" y="9511"/>
                  </a:cubicBezTo>
                  <a:cubicBezTo>
                    <a:pt x="20112" y="9408"/>
                    <a:pt x="20148" y="9367"/>
                    <a:pt x="20193" y="9303"/>
                  </a:cubicBezTo>
                  <a:cubicBezTo>
                    <a:pt x="20284" y="9171"/>
                    <a:pt x="20240" y="9179"/>
                    <a:pt x="20142" y="9106"/>
                  </a:cubicBezTo>
                  <a:cubicBezTo>
                    <a:pt x="20075" y="9057"/>
                    <a:pt x="19967" y="8951"/>
                    <a:pt x="19884" y="9017"/>
                  </a:cubicBezTo>
                  <a:cubicBezTo>
                    <a:pt x="19827" y="9064"/>
                    <a:pt x="19854" y="9215"/>
                    <a:pt x="19765" y="9187"/>
                  </a:cubicBezTo>
                  <a:cubicBezTo>
                    <a:pt x="19790" y="9151"/>
                    <a:pt x="19803" y="9107"/>
                    <a:pt x="19818" y="9057"/>
                  </a:cubicBezTo>
                  <a:cubicBezTo>
                    <a:pt x="19822" y="9042"/>
                    <a:pt x="19811" y="8959"/>
                    <a:pt x="19810" y="8961"/>
                  </a:cubicBezTo>
                  <a:cubicBezTo>
                    <a:pt x="19829" y="8933"/>
                    <a:pt x="19830" y="8968"/>
                    <a:pt x="19849" y="8952"/>
                  </a:cubicBezTo>
                  <a:cubicBezTo>
                    <a:pt x="19887" y="8920"/>
                    <a:pt x="20018" y="8907"/>
                    <a:pt x="20063" y="8927"/>
                  </a:cubicBezTo>
                  <a:cubicBezTo>
                    <a:pt x="20135" y="8959"/>
                    <a:pt x="20167" y="9082"/>
                    <a:pt x="20247" y="8986"/>
                  </a:cubicBezTo>
                  <a:cubicBezTo>
                    <a:pt x="20271" y="8957"/>
                    <a:pt x="20310" y="8844"/>
                    <a:pt x="20311" y="8786"/>
                  </a:cubicBezTo>
                  <a:cubicBezTo>
                    <a:pt x="20314" y="8656"/>
                    <a:pt x="20227" y="8622"/>
                    <a:pt x="20155" y="8575"/>
                  </a:cubicBezTo>
                  <a:cubicBezTo>
                    <a:pt x="20071" y="8521"/>
                    <a:pt x="19982" y="8452"/>
                    <a:pt x="19888" y="8433"/>
                  </a:cubicBezTo>
                  <a:cubicBezTo>
                    <a:pt x="19809" y="8417"/>
                    <a:pt x="19759" y="8527"/>
                    <a:pt x="19673" y="8539"/>
                  </a:cubicBezTo>
                  <a:cubicBezTo>
                    <a:pt x="19653" y="8542"/>
                    <a:pt x="19590" y="8582"/>
                    <a:pt x="19645" y="8492"/>
                  </a:cubicBezTo>
                  <a:cubicBezTo>
                    <a:pt x="19678" y="8436"/>
                    <a:pt x="19825" y="8381"/>
                    <a:pt x="19707" y="8299"/>
                  </a:cubicBezTo>
                  <a:cubicBezTo>
                    <a:pt x="19551" y="8192"/>
                    <a:pt x="19623" y="8540"/>
                    <a:pt x="19536" y="8546"/>
                  </a:cubicBezTo>
                  <a:cubicBezTo>
                    <a:pt x="19535" y="8406"/>
                    <a:pt x="19484" y="8188"/>
                    <a:pt x="19373" y="8298"/>
                  </a:cubicBezTo>
                  <a:cubicBezTo>
                    <a:pt x="19249" y="8421"/>
                    <a:pt x="19395" y="8436"/>
                    <a:pt x="19404" y="8547"/>
                  </a:cubicBezTo>
                  <a:cubicBezTo>
                    <a:pt x="19414" y="8674"/>
                    <a:pt x="19293" y="8690"/>
                    <a:pt x="19405" y="8837"/>
                  </a:cubicBezTo>
                  <a:cubicBezTo>
                    <a:pt x="19457" y="8907"/>
                    <a:pt x="19573" y="8897"/>
                    <a:pt x="19588" y="9026"/>
                  </a:cubicBezTo>
                  <a:cubicBezTo>
                    <a:pt x="19503" y="9001"/>
                    <a:pt x="19097" y="8512"/>
                    <a:pt x="19150" y="8893"/>
                  </a:cubicBezTo>
                  <a:cubicBezTo>
                    <a:pt x="19165" y="8998"/>
                    <a:pt x="19256" y="9093"/>
                    <a:pt x="19277" y="9196"/>
                  </a:cubicBezTo>
                  <a:cubicBezTo>
                    <a:pt x="19297" y="9288"/>
                    <a:pt x="19351" y="9426"/>
                    <a:pt x="19320" y="9513"/>
                  </a:cubicBezTo>
                  <a:cubicBezTo>
                    <a:pt x="19257" y="9383"/>
                    <a:pt x="19246" y="9211"/>
                    <a:pt x="19186" y="9073"/>
                  </a:cubicBezTo>
                  <a:cubicBezTo>
                    <a:pt x="19162" y="9016"/>
                    <a:pt x="19127" y="8935"/>
                    <a:pt x="19089" y="8894"/>
                  </a:cubicBezTo>
                  <a:cubicBezTo>
                    <a:pt x="19019" y="8816"/>
                    <a:pt x="19038" y="8850"/>
                    <a:pt x="18982" y="8918"/>
                  </a:cubicBezTo>
                  <a:cubicBezTo>
                    <a:pt x="18943" y="8966"/>
                    <a:pt x="18929" y="9031"/>
                    <a:pt x="18907" y="9072"/>
                  </a:cubicBezTo>
                  <a:cubicBezTo>
                    <a:pt x="18884" y="9115"/>
                    <a:pt x="18826" y="9198"/>
                    <a:pt x="18829" y="9245"/>
                  </a:cubicBezTo>
                  <a:cubicBezTo>
                    <a:pt x="18832" y="9279"/>
                    <a:pt x="18905" y="9383"/>
                    <a:pt x="18919" y="9428"/>
                  </a:cubicBezTo>
                  <a:cubicBezTo>
                    <a:pt x="18939" y="9497"/>
                    <a:pt x="18959" y="9579"/>
                    <a:pt x="18953" y="9651"/>
                  </a:cubicBezTo>
                  <a:cubicBezTo>
                    <a:pt x="18890" y="9581"/>
                    <a:pt x="18873" y="9432"/>
                    <a:pt x="18820" y="9340"/>
                  </a:cubicBezTo>
                  <a:cubicBezTo>
                    <a:pt x="18806" y="9317"/>
                    <a:pt x="18766" y="9201"/>
                    <a:pt x="18746" y="9257"/>
                  </a:cubicBezTo>
                  <a:cubicBezTo>
                    <a:pt x="18719" y="9333"/>
                    <a:pt x="18789" y="9333"/>
                    <a:pt x="18791" y="9383"/>
                  </a:cubicBezTo>
                  <a:cubicBezTo>
                    <a:pt x="18795" y="9479"/>
                    <a:pt x="18755" y="9530"/>
                    <a:pt x="18692" y="9569"/>
                  </a:cubicBezTo>
                  <a:cubicBezTo>
                    <a:pt x="18548" y="9655"/>
                    <a:pt x="18674" y="9571"/>
                    <a:pt x="18704" y="9509"/>
                  </a:cubicBezTo>
                  <a:cubicBezTo>
                    <a:pt x="18760" y="9392"/>
                    <a:pt x="18685" y="9365"/>
                    <a:pt x="18710" y="9247"/>
                  </a:cubicBezTo>
                  <a:cubicBezTo>
                    <a:pt x="18730" y="9154"/>
                    <a:pt x="18823" y="9114"/>
                    <a:pt x="18820" y="9004"/>
                  </a:cubicBezTo>
                  <a:cubicBezTo>
                    <a:pt x="18818" y="8914"/>
                    <a:pt x="18747" y="8866"/>
                    <a:pt x="18713" y="8803"/>
                  </a:cubicBezTo>
                  <a:cubicBezTo>
                    <a:pt x="18653" y="8695"/>
                    <a:pt x="18669" y="8695"/>
                    <a:pt x="18709" y="8570"/>
                  </a:cubicBezTo>
                  <a:cubicBezTo>
                    <a:pt x="18759" y="8410"/>
                    <a:pt x="18698" y="8065"/>
                    <a:pt x="18520" y="8274"/>
                  </a:cubicBezTo>
                  <a:cubicBezTo>
                    <a:pt x="18584" y="8296"/>
                    <a:pt x="18580" y="8388"/>
                    <a:pt x="18541" y="8446"/>
                  </a:cubicBezTo>
                  <a:cubicBezTo>
                    <a:pt x="18549" y="8290"/>
                    <a:pt x="18487" y="8271"/>
                    <a:pt x="18476" y="8437"/>
                  </a:cubicBezTo>
                  <a:cubicBezTo>
                    <a:pt x="18467" y="8569"/>
                    <a:pt x="18536" y="8620"/>
                    <a:pt x="18558" y="8721"/>
                  </a:cubicBezTo>
                  <a:cubicBezTo>
                    <a:pt x="18605" y="8928"/>
                    <a:pt x="18400" y="9095"/>
                    <a:pt x="18502" y="9274"/>
                  </a:cubicBezTo>
                  <a:cubicBezTo>
                    <a:pt x="18376" y="9191"/>
                    <a:pt x="18508" y="8988"/>
                    <a:pt x="18518" y="8876"/>
                  </a:cubicBezTo>
                  <a:cubicBezTo>
                    <a:pt x="18525" y="8811"/>
                    <a:pt x="18510" y="8667"/>
                    <a:pt x="18473" y="8621"/>
                  </a:cubicBezTo>
                  <a:cubicBezTo>
                    <a:pt x="18411" y="8545"/>
                    <a:pt x="18364" y="8638"/>
                    <a:pt x="18308" y="8692"/>
                  </a:cubicBezTo>
                  <a:cubicBezTo>
                    <a:pt x="18294" y="8705"/>
                    <a:pt x="18227" y="8751"/>
                    <a:pt x="18218" y="8767"/>
                  </a:cubicBezTo>
                  <a:cubicBezTo>
                    <a:pt x="18192" y="8813"/>
                    <a:pt x="18226" y="8829"/>
                    <a:pt x="18204" y="8875"/>
                  </a:cubicBezTo>
                  <a:cubicBezTo>
                    <a:pt x="18169" y="8950"/>
                    <a:pt x="18121" y="8955"/>
                    <a:pt x="18077" y="9016"/>
                  </a:cubicBezTo>
                  <a:cubicBezTo>
                    <a:pt x="18019" y="9098"/>
                    <a:pt x="17892" y="9302"/>
                    <a:pt x="17900" y="9419"/>
                  </a:cubicBezTo>
                  <a:cubicBezTo>
                    <a:pt x="17905" y="9484"/>
                    <a:pt x="18001" y="9717"/>
                    <a:pt x="17896" y="9578"/>
                  </a:cubicBezTo>
                  <a:cubicBezTo>
                    <a:pt x="17839" y="9503"/>
                    <a:pt x="17841" y="9377"/>
                    <a:pt x="17868" y="9284"/>
                  </a:cubicBezTo>
                  <a:cubicBezTo>
                    <a:pt x="17896" y="9187"/>
                    <a:pt x="17958" y="9129"/>
                    <a:pt x="18004" y="9052"/>
                  </a:cubicBezTo>
                  <a:cubicBezTo>
                    <a:pt x="18027" y="9014"/>
                    <a:pt x="18035" y="8966"/>
                    <a:pt x="18059" y="8931"/>
                  </a:cubicBezTo>
                  <a:cubicBezTo>
                    <a:pt x="18085" y="8893"/>
                    <a:pt x="18119" y="8937"/>
                    <a:pt x="18137" y="8874"/>
                  </a:cubicBezTo>
                  <a:cubicBezTo>
                    <a:pt x="18183" y="8723"/>
                    <a:pt x="18072" y="8737"/>
                    <a:pt x="18018" y="8824"/>
                  </a:cubicBezTo>
                  <a:cubicBezTo>
                    <a:pt x="17971" y="8901"/>
                    <a:pt x="17955" y="8976"/>
                    <a:pt x="17888" y="9034"/>
                  </a:cubicBezTo>
                  <a:cubicBezTo>
                    <a:pt x="17852" y="9064"/>
                    <a:pt x="17808" y="9069"/>
                    <a:pt x="17778" y="9111"/>
                  </a:cubicBezTo>
                  <a:cubicBezTo>
                    <a:pt x="17755" y="9143"/>
                    <a:pt x="17757" y="9209"/>
                    <a:pt x="17733" y="9237"/>
                  </a:cubicBezTo>
                  <a:cubicBezTo>
                    <a:pt x="17641" y="9342"/>
                    <a:pt x="17709" y="9153"/>
                    <a:pt x="17751" y="9095"/>
                  </a:cubicBezTo>
                  <a:cubicBezTo>
                    <a:pt x="17804" y="9023"/>
                    <a:pt x="17890" y="9008"/>
                    <a:pt x="17920" y="8910"/>
                  </a:cubicBezTo>
                  <a:cubicBezTo>
                    <a:pt x="17970" y="8750"/>
                    <a:pt x="17845" y="8868"/>
                    <a:pt x="17782" y="8895"/>
                  </a:cubicBezTo>
                  <a:cubicBezTo>
                    <a:pt x="17750" y="8909"/>
                    <a:pt x="17549" y="8990"/>
                    <a:pt x="17569" y="8932"/>
                  </a:cubicBezTo>
                  <a:cubicBezTo>
                    <a:pt x="17588" y="8876"/>
                    <a:pt x="17770" y="8850"/>
                    <a:pt x="17808" y="8831"/>
                  </a:cubicBezTo>
                  <a:cubicBezTo>
                    <a:pt x="17875" y="8798"/>
                    <a:pt x="17938" y="8730"/>
                    <a:pt x="18006" y="8697"/>
                  </a:cubicBezTo>
                  <a:cubicBezTo>
                    <a:pt x="18120" y="8642"/>
                    <a:pt x="18122" y="8697"/>
                    <a:pt x="18057" y="8563"/>
                  </a:cubicBezTo>
                  <a:cubicBezTo>
                    <a:pt x="18019" y="8484"/>
                    <a:pt x="17977" y="8363"/>
                    <a:pt x="17903" y="8373"/>
                  </a:cubicBezTo>
                  <a:cubicBezTo>
                    <a:pt x="17817" y="8385"/>
                    <a:pt x="17782" y="8565"/>
                    <a:pt x="17689" y="8525"/>
                  </a:cubicBezTo>
                  <a:cubicBezTo>
                    <a:pt x="17751" y="8458"/>
                    <a:pt x="17837" y="8391"/>
                    <a:pt x="17826" y="8265"/>
                  </a:cubicBezTo>
                  <a:cubicBezTo>
                    <a:pt x="17824" y="8242"/>
                    <a:pt x="17793" y="8136"/>
                    <a:pt x="17761" y="8113"/>
                  </a:cubicBezTo>
                  <a:cubicBezTo>
                    <a:pt x="17743" y="8101"/>
                    <a:pt x="17762" y="8058"/>
                    <a:pt x="17726" y="8075"/>
                  </a:cubicBezTo>
                  <a:cubicBezTo>
                    <a:pt x="17719" y="8079"/>
                    <a:pt x="17664" y="8146"/>
                    <a:pt x="17660" y="8144"/>
                  </a:cubicBezTo>
                  <a:cubicBezTo>
                    <a:pt x="17632" y="8133"/>
                    <a:pt x="17594" y="7888"/>
                    <a:pt x="17504" y="7928"/>
                  </a:cubicBezTo>
                  <a:cubicBezTo>
                    <a:pt x="17503" y="7929"/>
                    <a:pt x="17481" y="7977"/>
                    <a:pt x="17455" y="8035"/>
                  </a:cubicBezTo>
                  <a:cubicBezTo>
                    <a:pt x="17457" y="8029"/>
                    <a:pt x="17460" y="8024"/>
                    <a:pt x="17461" y="8018"/>
                  </a:cubicBezTo>
                  <a:cubicBezTo>
                    <a:pt x="17481" y="7918"/>
                    <a:pt x="17388" y="7861"/>
                    <a:pt x="17332" y="7864"/>
                  </a:cubicBezTo>
                  <a:cubicBezTo>
                    <a:pt x="17015" y="7880"/>
                    <a:pt x="17343" y="8150"/>
                    <a:pt x="17225" y="8267"/>
                  </a:cubicBezTo>
                  <a:cubicBezTo>
                    <a:pt x="17217" y="8086"/>
                    <a:pt x="17129" y="8010"/>
                    <a:pt x="17064" y="8197"/>
                  </a:cubicBezTo>
                  <a:cubicBezTo>
                    <a:pt x="17064" y="8197"/>
                    <a:pt x="17072" y="8271"/>
                    <a:pt x="17070" y="8286"/>
                  </a:cubicBezTo>
                  <a:cubicBezTo>
                    <a:pt x="17066" y="8316"/>
                    <a:pt x="17037" y="8319"/>
                    <a:pt x="17036" y="8357"/>
                  </a:cubicBezTo>
                  <a:cubicBezTo>
                    <a:pt x="17034" y="8410"/>
                    <a:pt x="17069" y="8480"/>
                    <a:pt x="17082" y="8528"/>
                  </a:cubicBezTo>
                  <a:cubicBezTo>
                    <a:pt x="17043" y="8501"/>
                    <a:pt x="17015" y="8446"/>
                    <a:pt x="17008" y="8384"/>
                  </a:cubicBezTo>
                  <a:cubicBezTo>
                    <a:pt x="17000" y="8308"/>
                    <a:pt x="17039" y="8283"/>
                    <a:pt x="17041" y="8233"/>
                  </a:cubicBezTo>
                  <a:cubicBezTo>
                    <a:pt x="17046" y="8120"/>
                    <a:pt x="16966" y="8023"/>
                    <a:pt x="16964" y="8180"/>
                  </a:cubicBezTo>
                  <a:cubicBezTo>
                    <a:pt x="16958" y="8150"/>
                    <a:pt x="16930" y="8090"/>
                    <a:pt x="16931" y="8062"/>
                  </a:cubicBezTo>
                  <a:cubicBezTo>
                    <a:pt x="16933" y="8008"/>
                    <a:pt x="16964" y="8050"/>
                    <a:pt x="16970" y="7992"/>
                  </a:cubicBezTo>
                  <a:cubicBezTo>
                    <a:pt x="16978" y="7915"/>
                    <a:pt x="16981" y="7826"/>
                    <a:pt x="16913" y="7808"/>
                  </a:cubicBezTo>
                  <a:cubicBezTo>
                    <a:pt x="16972" y="7801"/>
                    <a:pt x="17026" y="7734"/>
                    <a:pt x="17027" y="7654"/>
                  </a:cubicBezTo>
                  <a:cubicBezTo>
                    <a:pt x="17027" y="7585"/>
                    <a:pt x="17046" y="7578"/>
                    <a:pt x="16972" y="7574"/>
                  </a:cubicBezTo>
                  <a:cubicBezTo>
                    <a:pt x="16943" y="7573"/>
                    <a:pt x="16882" y="7553"/>
                    <a:pt x="16854" y="7565"/>
                  </a:cubicBezTo>
                  <a:cubicBezTo>
                    <a:pt x="16791" y="7593"/>
                    <a:pt x="16765" y="7685"/>
                    <a:pt x="16763" y="7748"/>
                  </a:cubicBezTo>
                  <a:cubicBezTo>
                    <a:pt x="16762" y="7805"/>
                    <a:pt x="16794" y="7841"/>
                    <a:pt x="16761" y="7925"/>
                  </a:cubicBezTo>
                  <a:cubicBezTo>
                    <a:pt x="16714" y="8044"/>
                    <a:pt x="16700" y="7997"/>
                    <a:pt x="16715" y="8142"/>
                  </a:cubicBezTo>
                  <a:cubicBezTo>
                    <a:pt x="16722" y="8209"/>
                    <a:pt x="16714" y="8366"/>
                    <a:pt x="16742" y="8407"/>
                  </a:cubicBezTo>
                  <a:cubicBezTo>
                    <a:pt x="16777" y="8460"/>
                    <a:pt x="16872" y="8452"/>
                    <a:pt x="16917" y="8500"/>
                  </a:cubicBezTo>
                  <a:cubicBezTo>
                    <a:pt x="16956" y="8541"/>
                    <a:pt x="17001" y="8627"/>
                    <a:pt x="17024" y="8685"/>
                  </a:cubicBezTo>
                  <a:cubicBezTo>
                    <a:pt x="16945" y="8662"/>
                    <a:pt x="16927" y="8537"/>
                    <a:pt x="16853" y="8503"/>
                  </a:cubicBezTo>
                  <a:cubicBezTo>
                    <a:pt x="16711" y="8438"/>
                    <a:pt x="16715" y="8462"/>
                    <a:pt x="16698" y="8293"/>
                  </a:cubicBezTo>
                  <a:cubicBezTo>
                    <a:pt x="16678" y="8098"/>
                    <a:pt x="16630" y="7768"/>
                    <a:pt x="16468" y="8017"/>
                  </a:cubicBezTo>
                  <a:cubicBezTo>
                    <a:pt x="16394" y="8131"/>
                    <a:pt x="16466" y="8129"/>
                    <a:pt x="16486" y="8200"/>
                  </a:cubicBezTo>
                  <a:cubicBezTo>
                    <a:pt x="16521" y="8319"/>
                    <a:pt x="16473" y="8347"/>
                    <a:pt x="16472" y="8447"/>
                  </a:cubicBezTo>
                  <a:cubicBezTo>
                    <a:pt x="16470" y="8561"/>
                    <a:pt x="16562" y="8811"/>
                    <a:pt x="16601" y="8927"/>
                  </a:cubicBezTo>
                  <a:cubicBezTo>
                    <a:pt x="16541" y="8830"/>
                    <a:pt x="16514" y="8737"/>
                    <a:pt x="16479" y="8623"/>
                  </a:cubicBezTo>
                  <a:cubicBezTo>
                    <a:pt x="16451" y="8530"/>
                    <a:pt x="16434" y="8403"/>
                    <a:pt x="16393" y="8326"/>
                  </a:cubicBezTo>
                  <a:cubicBezTo>
                    <a:pt x="16325" y="8201"/>
                    <a:pt x="16309" y="8234"/>
                    <a:pt x="16309" y="8069"/>
                  </a:cubicBezTo>
                  <a:cubicBezTo>
                    <a:pt x="16309" y="7938"/>
                    <a:pt x="16287" y="7828"/>
                    <a:pt x="16198" y="7760"/>
                  </a:cubicBezTo>
                  <a:cubicBezTo>
                    <a:pt x="16162" y="7864"/>
                    <a:pt x="16270" y="7924"/>
                    <a:pt x="16273" y="8021"/>
                  </a:cubicBezTo>
                  <a:cubicBezTo>
                    <a:pt x="16274" y="8061"/>
                    <a:pt x="16237" y="8195"/>
                    <a:pt x="16223" y="8236"/>
                  </a:cubicBezTo>
                  <a:cubicBezTo>
                    <a:pt x="16180" y="8354"/>
                    <a:pt x="16151" y="8376"/>
                    <a:pt x="16177" y="8512"/>
                  </a:cubicBezTo>
                  <a:cubicBezTo>
                    <a:pt x="16192" y="8598"/>
                    <a:pt x="16243" y="8681"/>
                    <a:pt x="16250" y="8763"/>
                  </a:cubicBezTo>
                  <a:cubicBezTo>
                    <a:pt x="16204" y="8660"/>
                    <a:pt x="16124" y="8721"/>
                    <a:pt x="16050" y="8720"/>
                  </a:cubicBezTo>
                  <a:cubicBezTo>
                    <a:pt x="15925" y="8719"/>
                    <a:pt x="15971" y="8717"/>
                    <a:pt x="16063" y="8666"/>
                  </a:cubicBezTo>
                  <a:cubicBezTo>
                    <a:pt x="16163" y="8611"/>
                    <a:pt x="16143" y="8643"/>
                    <a:pt x="16129" y="8499"/>
                  </a:cubicBezTo>
                  <a:cubicBezTo>
                    <a:pt x="16120" y="8412"/>
                    <a:pt x="16125" y="8333"/>
                    <a:pt x="16126" y="8251"/>
                  </a:cubicBezTo>
                  <a:cubicBezTo>
                    <a:pt x="16127" y="8193"/>
                    <a:pt x="16166" y="8236"/>
                    <a:pt x="16140" y="8162"/>
                  </a:cubicBezTo>
                  <a:cubicBezTo>
                    <a:pt x="16103" y="8055"/>
                    <a:pt x="16061" y="8129"/>
                    <a:pt x="16018" y="8128"/>
                  </a:cubicBezTo>
                  <a:cubicBezTo>
                    <a:pt x="15959" y="8125"/>
                    <a:pt x="15998" y="8202"/>
                    <a:pt x="15975" y="8130"/>
                  </a:cubicBezTo>
                  <a:cubicBezTo>
                    <a:pt x="15977" y="8135"/>
                    <a:pt x="16017" y="8053"/>
                    <a:pt x="15997" y="8019"/>
                  </a:cubicBezTo>
                  <a:cubicBezTo>
                    <a:pt x="15974" y="7981"/>
                    <a:pt x="15878" y="8077"/>
                    <a:pt x="15860" y="8114"/>
                  </a:cubicBezTo>
                  <a:cubicBezTo>
                    <a:pt x="15819" y="8198"/>
                    <a:pt x="15838" y="8174"/>
                    <a:pt x="15851" y="8264"/>
                  </a:cubicBezTo>
                  <a:cubicBezTo>
                    <a:pt x="15862" y="8345"/>
                    <a:pt x="15910" y="8409"/>
                    <a:pt x="15871" y="8485"/>
                  </a:cubicBezTo>
                  <a:cubicBezTo>
                    <a:pt x="15859" y="8431"/>
                    <a:pt x="15823" y="8169"/>
                    <a:pt x="15771" y="8176"/>
                  </a:cubicBezTo>
                  <a:cubicBezTo>
                    <a:pt x="15693" y="8187"/>
                    <a:pt x="15700" y="8456"/>
                    <a:pt x="15720" y="8513"/>
                  </a:cubicBezTo>
                  <a:cubicBezTo>
                    <a:pt x="15638" y="8475"/>
                    <a:pt x="15720" y="8273"/>
                    <a:pt x="15663" y="8190"/>
                  </a:cubicBezTo>
                  <a:cubicBezTo>
                    <a:pt x="15613" y="8076"/>
                    <a:pt x="15688" y="7950"/>
                    <a:pt x="15554" y="7967"/>
                  </a:cubicBezTo>
                  <a:cubicBezTo>
                    <a:pt x="15457" y="7979"/>
                    <a:pt x="15367" y="7978"/>
                    <a:pt x="15348" y="8132"/>
                  </a:cubicBezTo>
                  <a:cubicBezTo>
                    <a:pt x="15334" y="8248"/>
                    <a:pt x="15447" y="8435"/>
                    <a:pt x="15312" y="8489"/>
                  </a:cubicBezTo>
                  <a:cubicBezTo>
                    <a:pt x="15300" y="8494"/>
                    <a:pt x="15229" y="8496"/>
                    <a:pt x="15225" y="8476"/>
                  </a:cubicBezTo>
                  <a:cubicBezTo>
                    <a:pt x="15211" y="8424"/>
                    <a:pt x="15305" y="8459"/>
                    <a:pt x="15314" y="8447"/>
                  </a:cubicBezTo>
                  <a:cubicBezTo>
                    <a:pt x="15387" y="8353"/>
                    <a:pt x="15322" y="8340"/>
                    <a:pt x="15308" y="8229"/>
                  </a:cubicBezTo>
                  <a:cubicBezTo>
                    <a:pt x="15285" y="8051"/>
                    <a:pt x="15348" y="8027"/>
                    <a:pt x="15422" y="7909"/>
                  </a:cubicBezTo>
                  <a:cubicBezTo>
                    <a:pt x="15360" y="7908"/>
                    <a:pt x="15236" y="7903"/>
                    <a:pt x="15243" y="8009"/>
                  </a:cubicBezTo>
                  <a:cubicBezTo>
                    <a:pt x="15168" y="7935"/>
                    <a:pt x="15138" y="8079"/>
                    <a:pt x="15130" y="8160"/>
                  </a:cubicBezTo>
                  <a:cubicBezTo>
                    <a:pt x="15123" y="8243"/>
                    <a:pt x="15182" y="8275"/>
                    <a:pt x="15096" y="8348"/>
                  </a:cubicBezTo>
                  <a:cubicBezTo>
                    <a:pt x="15151" y="8242"/>
                    <a:pt x="15080" y="8191"/>
                    <a:pt x="15108" y="8084"/>
                  </a:cubicBezTo>
                  <a:cubicBezTo>
                    <a:pt x="15041" y="8199"/>
                    <a:pt x="14967" y="8205"/>
                    <a:pt x="14985" y="8375"/>
                  </a:cubicBezTo>
                  <a:cubicBezTo>
                    <a:pt x="14881" y="8271"/>
                    <a:pt x="14976" y="8176"/>
                    <a:pt x="15031" y="8105"/>
                  </a:cubicBezTo>
                  <a:cubicBezTo>
                    <a:pt x="15092" y="8027"/>
                    <a:pt x="15120" y="7924"/>
                    <a:pt x="15175" y="7866"/>
                  </a:cubicBezTo>
                  <a:cubicBezTo>
                    <a:pt x="15244" y="7794"/>
                    <a:pt x="15349" y="7868"/>
                    <a:pt x="15396" y="7800"/>
                  </a:cubicBezTo>
                  <a:cubicBezTo>
                    <a:pt x="15450" y="7723"/>
                    <a:pt x="15347" y="7587"/>
                    <a:pt x="15471" y="7620"/>
                  </a:cubicBezTo>
                  <a:cubicBezTo>
                    <a:pt x="15446" y="7562"/>
                    <a:pt x="15488" y="7528"/>
                    <a:pt x="15523" y="7499"/>
                  </a:cubicBezTo>
                  <a:cubicBezTo>
                    <a:pt x="15460" y="7525"/>
                    <a:pt x="15407" y="7588"/>
                    <a:pt x="15343" y="7608"/>
                  </a:cubicBezTo>
                  <a:cubicBezTo>
                    <a:pt x="15276" y="7628"/>
                    <a:pt x="15275" y="7558"/>
                    <a:pt x="15251" y="7623"/>
                  </a:cubicBezTo>
                  <a:cubicBezTo>
                    <a:pt x="15241" y="7650"/>
                    <a:pt x="15289" y="7703"/>
                    <a:pt x="15269" y="7754"/>
                  </a:cubicBezTo>
                  <a:cubicBezTo>
                    <a:pt x="15257" y="7783"/>
                    <a:pt x="15196" y="7807"/>
                    <a:pt x="15173" y="7821"/>
                  </a:cubicBezTo>
                  <a:cubicBezTo>
                    <a:pt x="15188" y="7800"/>
                    <a:pt x="15198" y="7762"/>
                    <a:pt x="15224" y="7737"/>
                  </a:cubicBezTo>
                  <a:cubicBezTo>
                    <a:pt x="15210" y="7712"/>
                    <a:pt x="15182" y="7667"/>
                    <a:pt x="15166" y="7650"/>
                  </a:cubicBezTo>
                  <a:cubicBezTo>
                    <a:pt x="15165" y="7663"/>
                    <a:pt x="15158" y="7689"/>
                    <a:pt x="15158" y="7710"/>
                  </a:cubicBezTo>
                  <a:cubicBezTo>
                    <a:pt x="15143" y="7678"/>
                    <a:pt x="15106" y="7622"/>
                    <a:pt x="15088" y="7674"/>
                  </a:cubicBezTo>
                  <a:cubicBezTo>
                    <a:pt x="15068" y="7732"/>
                    <a:pt x="14993" y="7745"/>
                    <a:pt x="14982" y="7792"/>
                  </a:cubicBezTo>
                  <a:cubicBezTo>
                    <a:pt x="14974" y="7829"/>
                    <a:pt x="15035" y="7934"/>
                    <a:pt x="15029" y="8005"/>
                  </a:cubicBezTo>
                  <a:cubicBezTo>
                    <a:pt x="15013" y="7984"/>
                    <a:pt x="14920" y="7816"/>
                    <a:pt x="14918" y="7783"/>
                  </a:cubicBezTo>
                  <a:cubicBezTo>
                    <a:pt x="14915" y="7720"/>
                    <a:pt x="15036" y="7636"/>
                    <a:pt x="14915" y="7625"/>
                  </a:cubicBezTo>
                  <a:cubicBezTo>
                    <a:pt x="14880" y="7622"/>
                    <a:pt x="14769" y="7730"/>
                    <a:pt x="14761" y="7767"/>
                  </a:cubicBezTo>
                  <a:cubicBezTo>
                    <a:pt x="14748" y="7822"/>
                    <a:pt x="14778" y="7848"/>
                    <a:pt x="14786" y="7899"/>
                  </a:cubicBezTo>
                  <a:cubicBezTo>
                    <a:pt x="14798" y="7974"/>
                    <a:pt x="14834" y="8042"/>
                    <a:pt x="14809" y="8117"/>
                  </a:cubicBezTo>
                  <a:cubicBezTo>
                    <a:pt x="14792" y="7987"/>
                    <a:pt x="14744" y="7904"/>
                    <a:pt x="14706" y="7796"/>
                  </a:cubicBezTo>
                  <a:cubicBezTo>
                    <a:pt x="14698" y="7813"/>
                    <a:pt x="14692" y="7830"/>
                    <a:pt x="14684" y="7848"/>
                  </a:cubicBezTo>
                  <a:cubicBezTo>
                    <a:pt x="14645" y="7834"/>
                    <a:pt x="14619" y="7841"/>
                    <a:pt x="14600" y="7893"/>
                  </a:cubicBezTo>
                  <a:cubicBezTo>
                    <a:pt x="14540" y="7640"/>
                    <a:pt x="14304" y="8072"/>
                    <a:pt x="14207" y="8079"/>
                  </a:cubicBezTo>
                  <a:cubicBezTo>
                    <a:pt x="14232" y="8030"/>
                    <a:pt x="14421" y="7887"/>
                    <a:pt x="14276" y="7867"/>
                  </a:cubicBezTo>
                  <a:cubicBezTo>
                    <a:pt x="14163" y="7852"/>
                    <a:pt x="14197" y="8085"/>
                    <a:pt x="14094" y="8061"/>
                  </a:cubicBezTo>
                  <a:cubicBezTo>
                    <a:pt x="14154" y="7989"/>
                    <a:pt x="14150" y="7884"/>
                    <a:pt x="14220" y="7829"/>
                  </a:cubicBezTo>
                  <a:cubicBezTo>
                    <a:pt x="14267" y="7794"/>
                    <a:pt x="14339" y="7828"/>
                    <a:pt x="14382" y="7791"/>
                  </a:cubicBezTo>
                  <a:cubicBezTo>
                    <a:pt x="14411" y="7766"/>
                    <a:pt x="14458" y="7689"/>
                    <a:pt x="14478" y="7665"/>
                  </a:cubicBezTo>
                  <a:cubicBezTo>
                    <a:pt x="14481" y="7663"/>
                    <a:pt x="14519" y="7696"/>
                    <a:pt x="14537" y="7670"/>
                  </a:cubicBezTo>
                  <a:cubicBezTo>
                    <a:pt x="14562" y="7633"/>
                    <a:pt x="14476" y="7624"/>
                    <a:pt x="14469" y="7625"/>
                  </a:cubicBezTo>
                  <a:cubicBezTo>
                    <a:pt x="14480" y="7617"/>
                    <a:pt x="14506" y="7583"/>
                    <a:pt x="14518" y="7572"/>
                  </a:cubicBezTo>
                  <a:cubicBezTo>
                    <a:pt x="14419" y="7537"/>
                    <a:pt x="14348" y="7572"/>
                    <a:pt x="14257" y="7601"/>
                  </a:cubicBezTo>
                  <a:cubicBezTo>
                    <a:pt x="14186" y="7623"/>
                    <a:pt x="14103" y="7629"/>
                    <a:pt x="14034" y="7675"/>
                  </a:cubicBezTo>
                  <a:cubicBezTo>
                    <a:pt x="14009" y="7691"/>
                    <a:pt x="13933" y="7790"/>
                    <a:pt x="13928" y="7790"/>
                  </a:cubicBezTo>
                  <a:cubicBezTo>
                    <a:pt x="13918" y="7788"/>
                    <a:pt x="13926" y="7694"/>
                    <a:pt x="13897" y="7679"/>
                  </a:cubicBezTo>
                  <a:cubicBezTo>
                    <a:pt x="13853" y="7655"/>
                    <a:pt x="13690" y="7768"/>
                    <a:pt x="13643" y="7785"/>
                  </a:cubicBezTo>
                  <a:cubicBezTo>
                    <a:pt x="13660" y="7724"/>
                    <a:pt x="13713" y="7701"/>
                    <a:pt x="13757" y="7676"/>
                  </a:cubicBezTo>
                  <a:cubicBezTo>
                    <a:pt x="13710" y="7635"/>
                    <a:pt x="13653" y="7668"/>
                    <a:pt x="13605" y="7696"/>
                  </a:cubicBezTo>
                  <a:cubicBezTo>
                    <a:pt x="13626" y="7545"/>
                    <a:pt x="13827" y="7623"/>
                    <a:pt x="13900" y="7620"/>
                  </a:cubicBezTo>
                  <a:cubicBezTo>
                    <a:pt x="13937" y="7618"/>
                    <a:pt x="14186" y="7504"/>
                    <a:pt x="14160" y="7466"/>
                  </a:cubicBezTo>
                  <a:cubicBezTo>
                    <a:pt x="14112" y="7394"/>
                    <a:pt x="14030" y="7466"/>
                    <a:pt x="14141" y="7383"/>
                  </a:cubicBezTo>
                  <a:cubicBezTo>
                    <a:pt x="14187" y="7348"/>
                    <a:pt x="14235" y="7334"/>
                    <a:pt x="14290" y="7320"/>
                  </a:cubicBezTo>
                  <a:cubicBezTo>
                    <a:pt x="14366" y="7300"/>
                    <a:pt x="14548" y="7324"/>
                    <a:pt x="14585" y="7222"/>
                  </a:cubicBezTo>
                  <a:cubicBezTo>
                    <a:pt x="14503" y="7196"/>
                    <a:pt x="14435" y="7249"/>
                    <a:pt x="14349" y="7247"/>
                  </a:cubicBezTo>
                  <a:cubicBezTo>
                    <a:pt x="14305" y="7247"/>
                    <a:pt x="14259" y="7216"/>
                    <a:pt x="14212" y="7224"/>
                  </a:cubicBezTo>
                  <a:cubicBezTo>
                    <a:pt x="14167" y="7231"/>
                    <a:pt x="14135" y="7269"/>
                    <a:pt x="14093" y="7256"/>
                  </a:cubicBezTo>
                  <a:cubicBezTo>
                    <a:pt x="14137" y="7214"/>
                    <a:pt x="14408" y="7151"/>
                    <a:pt x="14409" y="7125"/>
                  </a:cubicBezTo>
                  <a:cubicBezTo>
                    <a:pt x="14410" y="7065"/>
                    <a:pt x="14352" y="7091"/>
                    <a:pt x="14342" y="7075"/>
                  </a:cubicBezTo>
                  <a:cubicBezTo>
                    <a:pt x="14342" y="7076"/>
                    <a:pt x="14308" y="6977"/>
                    <a:pt x="14310" y="6977"/>
                  </a:cubicBezTo>
                  <a:cubicBezTo>
                    <a:pt x="14297" y="6972"/>
                    <a:pt x="14154" y="6998"/>
                    <a:pt x="14144" y="7001"/>
                  </a:cubicBezTo>
                  <a:cubicBezTo>
                    <a:pt x="14114" y="7010"/>
                    <a:pt x="13986" y="7160"/>
                    <a:pt x="13998" y="7091"/>
                  </a:cubicBezTo>
                  <a:cubicBezTo>
                    <a:pt x="14015" y="6990"/>
                    <a:pt x="14107" y="6952"/>
                    <a:pt x="14162" y="6933"/>
                  </a:cubicBezTo>
                  <a:cubicBezTo>
                    <a:pt x="14199" y="6920"/>
                    <a:pt x="14261" y="6933"/>
                    <a:pt x="14293" y="6902"/>
                  </a:cubicBezTo>
                  <a:cubicBezTo>
                    <a:pt x="14331" y="6865"/>
                    <a:pt x="14313" y="6837"/>
                    <a:pt x="14340" y="6786"/>
                  </a:cubicBezTo>
                  <a:cubicBezTo>
                    <a:pt x="14357" y="6755"/>
                    <a:pt x="14460" y="6712"/>
                    <a:pt x="14423" y="6664"/>
                  </a:cubicBezTo>
                  <a:cubicBezTo>
                    <a:pt x="14402" y="6636"/>
                    <a:pt x="14333" y="6632"/>
                    <a:pt x="14303" y="6627"/>
                  </a:cubicBezTo>
                  <a:cubicBezTo>
                    <a:pt x="14165" y="6603"/>
                    <a:pt x="13969" y="6521"/>
                    <a:pt x="13867" y="6681"/>
                  </a:cubicBezTo>
                  <a:cubicBezTo>
                    <a:pt x="13827" y="6744"/>
                    <a:pt x="13749" y="6902"/>
                    <a:pt x="13731" y="6978"/>
                  </a:cubicBezTo>
                  <a:cubicBezTo>
                    <a:pt x="13706" y="7081"/>
                    <a:pt x="13803" y="7205"/>
                    <a:pt x="13735" y="7288"/>
                  </a:cubicBezTo>
                  <a:cubicBezTo>
                    <a:pt x="13730" y="7171"/>
                    <a:pt x="13691" y="6863"/>
                    <a:pt x="13592" y="7065"/>
                  </a:cubicBezTo>
                  <a:cubicBezTo>
                    <a:pt x="13587" y="6944"/>
                    <a:pt x="13775" y="6842"/>
                    <a:pt x="13804" y="6697"/>
                  </a:cubicBezTo>
                  <a:cubicBezTo>
                    <a:pt x="13826" y="6582"/>
                    <a:pt x="13813" y="6592"/>
                    <a:pt x="13723" y="6648"/>
                  </a:cubicBezTo>
                  <a:cubicBezTo>
                    <a:pt x="13665" y="6684"/>
                    <a:pt x="13645" y="6756"/>
                    <a:pt x="13570" y="6734"/>
                  </a:cubicBezTo>
                  <a:cubicBezTo>
                    <a:pt x="13668" y="6656"/>
                    <a:pt x="13760" y="6566"/>
                    <a:pt x="13872" y="6512"/>
                  </a:cubicBezTo>
                  <a:cubicBezTo>
                    <a:pt x="13899" y="6499"/>
                    <a:pt x="14036" y="6477"/>
                    <a:pt x="14047" y="6448"/>
                  </a:cubicBezTo>
                  <a:cubicBezTo>
                    <a:pt x="14079" y="6368"/>
                    <a:pt x="13988" y="6304"/>
                    <a:pt x="13937" y="6313"/>
                  </a:cubicBezTo>
                  <a:cubicBezTo>
                    <a:pt x="13883" y="6322"/>
                    <a:pt x="13826" y="6400"/>
                    <a:pt x="13770" y="6420"/>
                  </a:cubicBezTo>
                  <a:cubicBezTo>
                    <a:pt x="13718" y="6439"/>
                    <a:pt x="13661" y="6439"/>
                    <a:pt x="13607" y="6449"/>
                  </a:cubicBezTo>
                  <a:cubicBezTo>
                    <a:pt x="13453" y="6478"/>
                    <a:pt x="13433" y="6564"/>
                    <a:pt x="13352" y="6725"/>
                  </a:cubicBezTo>
                  <a:cubicBezTo>
                    <a:pt x="13346" y="6491"/>
                    <a:pt x="13462" y="6433"/>
                    <a:pt x="13598" y="6402"/>
                  </a:cubicBezTo>
                  <a:cubicBezTo>
                    <a:pt x="13658" y="6388"/>
                    <a:pt x="13731" y="6382"/>
                    <a:pt x="13788" y="6352"/>
                  </a:cubicBezTo>
                  <a:cubicBezTo>
                    <a:pt x="13853" y="6318"/>
                    <a:pt x="13881" y="6251"/>
                    <a:pt x="13945" y="6238"/>
                  </a:cubicBezTo>
                  <a:cubicBezTo>
                    <a:pt x="14055" y="6216"/>
                    <a:pt x="14191" y="6325"/>
                    <a:pt x="14302" y="6322"/>
                  </a:cubicBezTo>
                  <a:cubicBezTo>
                    <a:pt x="14458" y="6318"/>
                    <a:pt x="14456" y="6139"/>
                    <a:pt x="14614" y="6188"/>
                  </a:cubicBezTo>
                  <a:cubicBezTo>
                    <a:pt x="14562" y="6057"/>
                    <a:pt x="14704" y="6042"/>
                    <a:pt x="14761" y="6037"/>
                  </a:cubicBezTo>
                  <a:cubicBezTo>
                    <a:pt x="14863" y="6028"/>
                    <a:pt x="14933" y="6034"/>
                    <a:pt x="14875" y="5827"/>
                  </a:cubicBezTo>
                  <a:cubicBezTo>
                    <a:pt x="14811" y="5597"/>
                    <a:pt x="14589" y="5569"/>
                    <a:pt x="14443" y="5537"/>
                  </a:cubicBezTo>
                  <a:cubicBezTo>
                    <a:pt x="14314" y="5510"/>
                    <a:pt x="14315" y="5537"/>
                    <a:pt x="14195" y="5604"/>
                  </a:cubicBezTo>
                  <a:cubicBezTo>
                    <a:pt x="14149" y="5630"/>
                    <a:pt x="14099" y="5623"/>
                    <a:pt x="14054" y="5659"/>
                  </a:cubicBezTo>
                  <a:cubicBezTo>
                    <a:pt x="14013" y="5691"/>
                    <a:pt x="14007" y="5745"/>
                    <a:pt x="13978" y="5772"/>
                  </a:cubicBezTo>
                  <a:cubicBezTo>
                    <a:pt x="13849" y="5894"/>
                    <a:pt x="13664" y="5760"/>
                    <a:pt x="13514" y="5778"/>
                  </a:cubicBezTo>
                  <a:cubicBezTo>
                    <a:pt x="13295" y="5805"/>
                    <a:pt x="13280" y="6175"/>
                    <a:pt x="13086" y="6254"/>
                  </a:cubicBezTo>
                  <a:cubicBezTo>
                    <a:pt x="12999" y="6289"/>
                    <a:pt x="12923" y="6244"/>
                    <a:pt x="12849" y="6337"/>
                  </a:cubicBezTo>
                  <a:cubicBezTo>
                    <a:pt x="12810" y="6387"/>
                    <a:pt x="12775" y="6545"/>
                    <a:pt x="12707" y="6444"/>
                  </a:cubicBezTo>
                  <a:cubicBezTo>
                    <a:pt x="12789" y="6434"/>
                    <a:pt x="12837" y="6263"/>
                    <a:pt x="12928" y="6221"/>
                  </a:cubicBezTo>
                  <a:cubicBezTo>
                    <a:pt x="13015" y="6181"/>
                    <a:pt x="13096" y="6211"/>
                    <a:pt x="13169" y="6124"/>
                  </a:cubicBezTo>
                  <a:cubicBezTo>
                    <a:pt x="13213" y="6071"/>
                    <a:pt x="13258" y="5928"/>
                    <a:pt x="13291" y="5850"/>
                  </a:cubicBezTo>
                  <a:cubicBezTo>
                    <a:pt x="13354" y="5703"/>
                    <a:pt x="13373" y="5713"/>
                    <a:pt x="13481" y="5663"/>
                  </a:cubicBezTo>
                  <a:cubicBezTo>
                    <a:pt x="13644" y="5587"/>
                    <a:pt x="13523" y="5477"/>
                    <a:pt x="13593" y="5324"/>
                  </a:cubicBezTo>
                  <a:cubicBezTo>
                    <a:pt x="13647" y="5207"/>
                    <a:pt x="13630" y="5109"/>
                    <a:pt x="13746" y="5052"/>
                  </a:cubicBezTo>
                  <a:cubicBezTo>
                    <a:pt x="13825" y="5013"/>
                    <a:pt x="13911" y="5055"/>
                    <a:pt x="13992" y="5031"/>
                  </a:cubicBezTo>
                  <a:cubicBezTo>
                    <a:pt x="14034" y="5019"/>
                    <a:pt x="14164" y="4938"/>
                    <a:pt x="14163" y="4875"/>
                  </a:cubicBezTo>
                  <a:cubicBezTo>
                    <a:pt x="14162" y="4806"/>
                    <a:pt x="14023" y="4657"/>
                    <a:pt x="13991" y="4602"/>
                  </a:cubicBezTo>
                  <a:cubicBezTo>
                    <a:pt x="13837" y="4337"/>
                    <a:pt x="13547" y="4052"/>
                    <a:pt x="13294" y="3999"/>
                  </a:cubicBezTo>
                  <a:cubicBezTo>
                    <a:pt x="13295" y="3999"/>
                    <a:pt x="13136" y="3971"/>
                    <a:pt x="13161" y="3955"/>
                  </a:cubicBezTo>
                  <a:cubicBezTo>
                    <a:pt x="13089" y="4000"/>
                    <a:pt x="13128" y="4267"/>
                    <a:pt x="13142" y="4340"/>
                  </a:cubicBezTo>
                  <a:cubicBezTo>
                    <a:pt x="13152" y="4391"/>
                    <a:pt x="13138" y="4409"/>
                    <a:pt x="13177" y="4457"/>
                  </a:cubicBezTo>
                  <a:cubicBezTo>
                    <a:pt x="13203" y="4489"/>
                    <a:pt x="13227" y="4395"/>
                    <a:pt x="13251" y="4476"/>
                  </a:cubicBezTo>
                  <a:cubicBezTo>
                    <a:pt x="13280" y="4578"/>
                    <a:pt x="13149" y="4714"/>
                    <a:pt x="13116" y="4743"/>
                  </a:cubicBezTo>
                  <a:cubicBezTo>
                    <a:pt x="13148" y="4794"/>
                    <a:pt x="13137" y="4919"/>
                    <a:pt x="13126" y="4980"/>
                  </a:cubicBezTo>
                  <a:cubicBezTo>
                    <a:pt x="13115" y="5042"/>
                    <a:pt x="13149" y="4999"/>
                    <a:pt x="13089" y="5052"/>
                  </a:cubicBezTo>
                  <a:cubicBezTo>
                    <a:pt x="12990" y="5137"/>
                    <a:pt x="12937" y="5175"/>
                    <a:pt x="12898" y="5348"/>
                  </a:cubicBezTo>
                  <a:cubicBezTo>
                    <a:pt x="12874" y="5455"/>
                    <a:pt x="12878" y="5582"/>
                    <a:pt x="12841" y="5683"/>
                  </a:cubicBezTo>
                  <a:cubicBezTo>
                    <a:pt x="12825" y="5728"/>
                    <a:pt x="12748" y="5667"/>
                    <a:pt x="12718" y="5685"/>
                  </a:cubicBezTo>
                  <a:cubicBezTo>
                    <a:pt x="12620" y="5741"/>
                    <a:pt x="12672" y="6104"/>
                    <a:pt x="12667" y="6236"/>
                  </a:cubicBezTo>
                  <a:cubicBezTo>
                    <a:pt x="12595" y="6165"/>
                    <a:pt x="12633" y="6042"/>
                    <a:pt x="12626" y="5935"/>
                  </a:cubicBezTo>
                  <a:cubicBezTo>
                    <a:pt x="12619" y="5829"/>
                    <a:pt x="12581" y="5771"/>
                    <a:pt x="12638" y="5668"/>
                  </a:cubicBezTo>
                  <a:cubicBezTo>
                    <a:pt x="12689" y="5575"/>
                    <a:pt x="12773" y="5654"/>
                    <a:pt x="12822" y="5581"/>
                  </a:cubicBezTo>
                  <a:cubicBezTo>
                    <a:pt x="12870" y="5510"/>
                    <a:pt x="12842" y="5290"/>
                    <a:pt x="12865" y="5190"/>
                  </a:cubicBezTo>
                  <a:cubicBezTo>
                    <a:pt x="12887" y="5091"/>
                    <a:pt x="12937" y="5030"/>
                    <a:pt x="12968" y="4940"/>
                  </a:cubicBezTo>
                  <a:cubicBezTo>
                    <a:pt x="13009" y="4825"/>
                    <a:pt x="12980" y="4768"/>
                    <a:pt x="12961" y="4657"/>
                  </a:cubicBezTo>
                  <a:cubicBezTo>
                    <a:pt x="12934" y="4502"/>
                    <a:pt x="12968" y="4437"/>
                    <a:pt x="12844" y="4511"/>
                  </a:cubicBezTo>
                  <a:cubicBezTo>
                    <a:pt x="12777" y="4551"/>
                    <a:pt x="12746" y="4581"/>
                    <a:pt x="12674" y="4600"/>
                  </a:cubicBezTo>
                  <a:cubicBezTo>
                    <a:pt x="12835" y="4634"/>
                    <a:pt x="12687" y="4674"/>
                    <a:pt x="12618" y="4715"/>
                  </a:cubicBezTo>
                  <a:cubicBezTo>
                    <a:pt x="12557" y="4752"/>
                    <a:pt x="12455" y="4915"/>
                    <a:pt x="12435" y="4988"/>
                  </a:cubicBezTo>
                  <a:cubicBezTo>
                    <a:pt x="12388" y="5166"/>
                    <a:pt x="12534" y="5261"/>
                    <a:pt x="12510" y="5384"/>
                  </a:cubicBezTo>
                  <a:cubicBezTo>
                    <a:pt x="12490" y="5488"/>
                    <a:pt x="12373" y="5472"/>
                    <a:pt x="12336" y="5587"/>
                  </a:cubicBezTo>
                  <a:cubicBezTo>
                    <a:pt x="12309" y="5674"/>
                    <a:pt x="12329" y="5824"/>
                    <a:pt x="12279" y="5899"/>
                  </a:cubicBezTo>
                  <a:cubicBezTo>
                    <a:pt x="12190" y="6032"/>
                    <a:pt x="12272" y="5788"/>
                    <a:pt x="12278" y="5765"/>
                  </a:cubicBezTo>
                  <a:cubicBezTo>
                    <a:pt x="12307" y="5659"/>
                    <a:pt x="12281" y="5530"/>
                    <a:pt x="12356" y="5445"/>
                  </a:cubicBezTo>
                  <a:cubicBezTo>
                    <a:pt x="12402" y="5392"/>
                    <a:pt x="12540" y="5381"/>
                    <a:pt x="12417" y="5283"/>
                  </a:cubicBezTo>
                  <a:cubicBezTo>
                    <a:pt x="12322" y="5207"/>
                    <a:pt x="12280" y="5331"/>
                    <a:pt x="12243" y="5422"/>
                  </a:cubicBezTo>
                  <a:cubicBezTo>
                    <a:pt x="12222" y="5302"/>
                    <a:pt x="12299" y="5292"/>
                    <a:pt x="12326" y="5214"/>
                  </a:cubicBezTo>
                  <a:cubicBezTo>
                    <a:pt x="12357" y="5125"/>
                    <a:pt x="12338" y="5039"/>
                    <a:pt x="12354" y="4947"/>
                  </a:cubicBezTo>
                  <a:cubicBezTo>
                    <a:pt x="12377" y="4822"/>
                    <a:pt x="12455" y="4704"/>
                    <a:pt x="12502" y="4610"/>
                  </a:cubicBezTo>
                  <a:cubicBezTo>
                    <a:pt x="12564" y="4483"/>
                    <a:pt x="12663" y="4407"/>
                    <a:pt x="12742" y="4306"/>
                  </a:cubicBezTo>
                  <a:cubicBezTo>
                    <a:pt x="12888" y="4119"/>
                    <a:pt x="12695" y="4055"/>
                    <a:pt x="12756" y="3878"/>
                  </a:cubicBezTo>
                  <a:cubicBezTo>
                    <a:pt x="12786" y="3793"/>
                    <a:pt x="12821" y="4114"/>
                    <a:pt x="12901" y="4000"/>
                  </a:cubicBezTo>
                  <a:cubicBezTo>
                    <a:pt x="12896" y="4006"/>
                    <a:pt x="12881" y="3708"/>
                    <a:pt x="12881" y="3704"/>
                  </a:cubicBezTo>
                  <a:cubicBezTo>
                    <a:pt x="12875" y="3630"/>
                    <a:pt x="12881" y="3584"/>
                    <a:pt x="12835" y="3534"/>
                  </a:cubicBezTo>
                  <a:cubicBezTo>
                    <a:pt x="12745" y="3437"/>
                    <a:pt x="12499" y="3503"/>
                    <a:pt x="12387" y="3487"/>
                  </a:cubicBezTo>
                  <a:cubicBezTo>
                    <a:pt x="12310" y="3477"/>
                    <a:pt x="12236" y="3392"/>
                    <a:pt x="12168" y="3387"/>
                  </a:cubicBezTo>
                  <a:cubicBezTo>
                    <a:pt x="12107" y="3383"/>
                    <a:pt x="11992" y="3461"/>
                    <a:pt x="11974" y="3551"/>
                  </a:cubicBezTo>
                  <a:cubicBezTo>
                    <a:pt x="11962" y="3617"/>
                    <a:pt x="12012" y="3699"/>
                    <a:pt x="11994" y="3756"/>
                  </a:cubicBezTo>
                  <a:cubicBezTo>
                    <a:pt x="11994" y="3757"/>
                    <a:pt x="11923" y="3754"/>
                    <a:pt x="11919" y="3759"/>
                  </a:cubicBezTo>
                  <a:cubicBezTo>
                    <a:pt x="11939" y="3737"/>
                    <a:pt x="11881" y="3879"/>
                    <a:pt x="11878" y="3892"/>
                  </a:cubicBezTo>
                  <a:cubicBezTo>
                    <a:pt x="11861" y="3964"/>
                    <a:pt x="11867" y="4011"/>
                    <a:pt x="11875" y="4091"/>
                  </a:cubicBezTo>
                  <a:cubicBezTo>
                    <a:pt x="11868" y="4068"/>
                    <a:pt x="11844" y="4038"/>
                    <a:pt x="11834" y="4013"/>
                  </a:cubicBezTo>
                  <a:cubicBezTo>
                    <a:pt x="11764" y="4164"/>
                    <a:pt x="11642" y="4103"/>
                    <a:pt x="11722" y="4273"/>
                  </a:cubicBezTo>
                  <a:cubicBezTo>
                    <a:pt x="11770" y="4374"/>
                    <a:pt x="11828" y="4439"/>
                    <a:pt x="11715" y="4511"/>
                  </a:cubicBezTo>
                  <a:cubicBezTo>
                    <a:pt x="11753" y="4383"/>
                    <a:pt x="11693" y="4374"/>
                    <a:pt x="11657" y="4281"/>
                  </a:cubicBezTo>
                  <a:cubicBezTo>
                    <a:pt x="11606" y="4148"/>
                    <a:pt x="11641" y="4184"/>
                    <a:pt x="11698" y="4090"/>
                  </a:cubicBezTo>
                  <a:cubicBezTo>
                    <a:pt x="11767" y="3974"/>
                    <a:pt x="11809" y="3803"/>
                    <a:pt x="11819" y="3645"/>
                  </a:cubicBezTo>
                  <a:cubicBezTo>
                    <a:pt x="11827" y="3528"/>
                    <a:pt x="11808" y="3317"/>
                    <a:pt x="11711" y="3428"/>
                  </a:cubicBezTo>
                  <a:cubicBezTo>
                    <a:pt x="11661" y="3484"/>
                    <a:pt x="11625" y="3664"/>
                    <a:pt x="11584" y="3742"/>
                  </a:cubicBezTo>
                  <a:cubicBezTo>
                    <a:pt x="11499" y="3903"/>
                    <a:pt x="11306" y="4284"/>
                    <a:pt x="11353" y="4474"/>
                  </a:cubicBezTo>
                  <a:cubicBezTo>
                    <a:pt x="11364" y="4518"/>
                    <a:pt x="11401" y="4559"/>
                    <a:pt x="11406" y="4582"/>
                  </a:cubicBezTo>
                  <a:cubicBezTo>
                    <a:pt x="11408" y="4594"/>
                    <a:pt x="11395" y="4705"/>
                    <a:pt x="11401" y="4752"/>
                  </a:cubicBezTo>
                  <a:cubicBezTo>
                    <a:pt x="11414" y="4868"/>
                    <a:pt x="11425" y="4983"/>
                    <a:pt x="11447" y="5095"/>
                  </a:cubicBezTo>
                  <a:cubicBezTo>
                    <a:pt x="11505" y="5384"/>
                    <a:pt x="11498" y="5604"/>
                    <a:pt x="11484" y="5900"/>
                  </a:cubicBezTo>
                  <a:cubicBezTo>
                    <a:pt x="11459" y="5787"/>
                    <a:pt x="11463" y="5661"/>
                    <a:pt x="11458" y="5558"/>
                  </a:cubicBezTo>
                  <a:cubicBezTo>
                    <a:pt x="11453" y="5457"/>
                    <a:pt x="11462" y="5348"/>
                    <a:pt x="11439" y="5252"/>
                  </a:cubicBezTo>
                  <a:cubicBezTo>
                    <a:pt x="11423" y="5182"/>
                    <a:pt x="11391" y="5161"/>
                    <a:pt x="11381" y="5066"/>
                  </a:cubicBezTo>
                  <a:cubicBezTo>
                    <a:pt x="11372" y="4965"/>
                    <a:pt x="11361" y="4804"/>
                    <a:pt x="11326" y="4714"/>
                  </a:cubicBezTo>
                  <a:cubicBezTo>
                    <a:pt x="11294" y="4630"/>
                    <a:pt x="11206" y="4558"/>
                    <a:pt x="11152" y="4683"/>
                  </a:cubicBezTo>
                  <a:cubicBezTo>
                    <a:pt x="11152" y="4679"/>
                    <a:pt x="11144" y="4589"/>
                    <a:pt x="11125" y="4622"/>
                  </a:cubicBezTo>
                  <a:cubicBezTo>
                    <a:pt x="11094" y="4675"/>
                    <a:pt x="11122" y="4656"/>
                    <a:pt x="11112" y="4713"/>
                  </a:cubicBezTo>
                  <a:cubicBezTo>
                    <a:pt x="11105" y="4751"/>
                    <a:pt x="11083" y="4918"/>
                    <a:pt x="11097" y="4953"/>
                  </a:cubicBezTo>
                  <a:cubicBezTo>
                    <a:pt x="11144" y="5071"/>
                    <a:pt x="11189" y="5293"/>
                    <a:pt x="11122" y="5406"/>
                  </a:cubicBezTo>
                  <a:cubicBezTo>
                    <a:pt x="11138" y="5340"/>
                    <a:pt x="11140" y="5195"/>
                    <a:pt x="11100" y="5133"/>
                  </a:cubicBezTo>
                  <a:cubicBezTo>
                    <a:pt x="11043" y="5045"/>
                    <a:pt x="11023" y="5109"/>
                    <a:pt x="10959" y="5166"/>
                  </a:cubicBezTo>
                  <a:cubicBezTo>
                    <a:pt x="10978" y="5068"/>
                    <a:pt x="11058" y="5083"/>
                    <a:pt x="11046" y="4972"/>
                  </a:cubicBezTo>
                  <a:cubicBezTo>
                    <a:pt x="11038" y="4894"/>
                    <a:pt x="11080" y="4793"/>
                    <a:pt x="11062" y="4722"/>
                  </a:cubicBezTo>
                  <a:cubicBezTo>
                    <a:pt x="10996" y="4474"/>
                    <a:pt x="11139" y="4644"/>
                    <a:pt x="11237" y="4539"/>
                  </a:cubicBezTo>
                  <a:cubicBezTo>
                    <a:pt x="11301" y="4469"/>
                    <a:pt x="11233" y="4383"/>
                    <a:pt x="11265" y="4287"/>
                  </a:cubicBezTo>
                  <a:cubicBezTo>
                    <a:pt x="11281" y="4242"/>
                    <a:pt x="11311" y="4205"/>
                    <a:pt x="11329" y="4161"/>
                  </a:cubicBezTo>
                  <a:cubicBezTo>
                    <a:pt x="11388" y="4009"/>
                    <a:pt x="11326" y="3898"/>
                    <a:pt x="11339" y="3744"/>
                  </a:cubicBezTo>
                  <a:cubicBezTo>
                    <a:pt x="11350" y="3597"/>
                    <a:pt x="11366" y="3565"/>
                    <a:pt x="11305" y="3435"/>
                  </a:cubicBezTo>
                  <a:cubicBezTo>
                    <a:pt x="11261" y="3343"/>
                    <a:pt x="11213" y="3239"/>
                    <a:pt x="11133" y="3207"/>
                  </a:cubicBezTo>
                  <a:cubicBezTo>
                    <a:pt x="11016" y="3160"/>
                    <a:pt x="11035" y="3248"/>
                    <a:pt x="10994" y="3378"/>
                  </a:cubicBezTo>
                  <a:cubicBezTo>
                    <a:pt x="10963" y="3474"/>
                    <a:pt x="10933" y="3497"/>
                    <a:pt x="10947" y="3616"/>
                  </a:cubicBezTo>
                  <a:cubicBezTo>
                    <a:pt x="10956" y="3686"/>
                    <a:pt x="10959" y="3763"/>
                    <a:pt x="10981" y="3827"/>
                  </a:cubicBezTo>
                  <a:cubicBezTo>
                    <a:pt x="10985" y="3838"/>
                    <a:pt x="11035" y="3875"/>
                    <a:pt x="11035" y="3874"/>
                  </a:cubicBezTo>
                  <a:cubicBezTo>
                    <a:pt x="11028" y="3956"/>
                    <a:pt x="11011" y="3864"/>
                    <a:pt x="10954" y="3891"/>
                  </a:cubicBezTo>
                  <a:cubicBezTo>
                    <a:pt x="10938" y="3899"/>
                    <a:pt x="10860" y="3977"/>
                    <a:pt x="10845" y="3995"/>
                  </a:cubicBezTo>
                  <a:cubicBezTo>
                    <a:pt x="10773" y="4082"/>
                    <a:pt x="10747" y="4218"/>
                    <a:pt x="10686" y="4315"/>
                  </a:cubicBezTo>
                  <a:cubicBezTo>
                    <a:pt x="10655" y="4365"/>
                    <a:pt x="10599" y="4389"/>
                    <a:pt x="10578" y="4451"/>
                  </a:cubicBezTo>
                  <a:cubicBezTo>
                    <a:pt x="10548" y="4539"/>
                    <a:pt x="10585" y="4661"/>
                    <a:pt x="10563" y="4754"/>
                  </a:cubicBezTo>
                  <a:cubicBezTo>
                    <a:pt x="10539" y="4852"/>
                    <a:pt x="10492" y="4949"/>
                    <a:pt x="10441" y="4910"/>
                  </a:cubicBezTo>
                  <a:cubicBezTo>
                    <a:pt x="10475" y="4824"/>
                    <a:pt x="10542" y="4778"/>
                    <a:pt x="10537" y="4660"/>
                  </a:cubicBezTo>
                  <a:cubicBezTo>
                    <a:pt x="10535" y="4610"/>
                    <a:pt x="10508" y="4556"/>
                    <a:pt x="10517" y="4508"/>
                  </a:cubicBezTo>
                  <a:cubicBezTo>
                    <a:pt x="10526" y="4467"/>
                    <a:pt x="10540" y="4400"/>
                    <a:pt x="10534" y="4357"/>
                  </a:cubicBezTo>
                  <a:cubicBezTo>
                    <a:pt x="10495" y="4100"/>
                    <a:pt x="10321" y="4474"/>
                    <a:pt x="10224" y="4539"/>
                  </a:cubicBezTo>
                  <a:cubicBezTo>
                    <a:pt x="10273" y="4468"/>
                    <a:pt x="10371" y="4373"/>
                    <a:pt x="10395" y="4277"/>
                  </a:cubicBezTo>
                  <a:cubicBezTo>
                    <a:pt x="10414" y="4204"/>
                    <a:pt x="10385" y="4138"/>
                    <a:pt x="10395" y="4058"/>
                  </a:cubicBezTo>
                  <a:cubicBezTo>
                    <a:pt x="10402" y="3997"/>
                    <a:pt x="10440" y="4016"/>
                    <a:pt x="10435" y="3940"/>
                  </a:cubicBezTo>
                  <a:cubicBezTo>
                    <a:pt x="10428" y="3819"/>
                    <a:pt x="10394" y="3769"/>
                    <a:pt x="10443" y="3659"/>
                  </a:cubicBezTo>
                  <a:cubicBezTo>
                    <a:pt x="10510" y="3509"/>
                    <a:pt x="10560" y="3601"/>
                    <a:pt x="10663" y="3570"/>
                  </a:cubicBezTo>
                  <a:cubicBezTo>
                    <a:pt x="10782" y="3534"/>
                    <a:pt x="10739" y="3450"/>
                    <a:pt x="10740" y="3306"/>
                  </a:cubicBezTo>
                  <a:cubicBezTo>
                    <a:pt x="10740" y="3214"/>
                    <a:pt x="10792" y="3056"/>
                    <a:pt x="10772" y="2973"/>
                  </a:cubicBezTo>
                  <a:cubicBezTo>
                    <a:pt x="10737" y="2829"/>
                    <a:pt x="10490" y="2662"/>
                    <a:pt x="10414" y="2603"/>
                  </a:cubicBezTo>
                  <a:cubicBezTo>
                    <a:pt x="10281" y="2501"/>
                    <a:pt x="10081" y="2564"/>
                    <a:pt x="9931" y="2561"/>
                  </a:cubicBezTo>
                  <a:cubicBezTo>
                    <a:pt x="9856" y="2559"/>
                    <a:pt x="9706" y="2472"/>
                    <a:pt x="9732" y="2620"/>
                  </a:cubicBezTo>
                  <a:cubicBezTo>
                    <a:pt x="9751" y="2724"/>
                    <a:pt x="9761" y="2800"/>
                    <a:pt x="9742" y="2899"/>
                  </a:cubicBezTo>
                  <a:cubicBezTo>
                    <a:pt x="9733" y="2942"/>
                    <a:pt x="9676" y="2950"/>
                    <a:pt x="9699" y="2994"/>
                  </a:cubicBezTo>
                  <a:cubicBezTo>
                    <a:pt x="9720" y="3033"/>
                    <a:pt x="9799" y="3082"/>
                    <a:pt x="9777" y="3146"/>
                  </a:cubicBezTo>
                  <a:cubicBezTo>
                    <a:pt x="9757" y="3200"/>
                    <a:pt x="9690" y="3198"/>
                    <a:pt x="9683" y="3259"/>
                  </a:cubicBezTo>
                  <a:cubicBezTo>
                    <a:pt x="9672" y="3349"/>
                    <a:pt x="9789" y="3499"/>
                    <a:pt x="9779" y="3630"/>
                  </a:cubicBezTo>
                  <a:cubicBezTo>
                    <a:pt x="9774" y="3694"/>
                    <a:pt x="9731" y="3712"/>
                    <a:pt x="9725" y="3788"/>
                  </a:cubicBezTo>
                  <a:cubicBezTo>
                    <a:pt x="9721" y="3837"/>
                    <a:pt x="9755" y="3945"/>
                    <a:pt x="9754" y="4009"/>
                  </a:cubicBezTo>
                  <a:cubicBezTo>
                    <a:pt x="9752" y="4130"/>
                    <a:pt x="9708" y="4228"/>
                    <a:pt x="9768" y="4328"/>
                  </a:cubicBezTo>
                  <a:cubicBezTo>
                    <a:pt x="9666" y="4283"/>
                    <a:pt x="9726" y="4209"/>
                    <a:pt x="9737" y="4114"/>
                  </a:cubicBezTo>
                  <a:cubicBezTo>
                    <a:pt x="9753" y="3981"/>
                    <a:pt x="9664" y="3879"/>
                    <a:pt x="9666" y="3774"/>
                  </a:cubicBezTo>
                  <a:cubicBezTo>
                    <a:pt x="9669" y="3617"/>
                    <a:pt x="9795" y="3656"/>
                    <a:pt x="9682" y="3566"/>
                  </a:cubicBezTo>
                  <a:cubicBezTo>
                    <a:pt x="9631" y="3525"/>
                    <a:pt x="9537" y="3488"/>
                    <a:pt x="9494" y="3563"/>
                  </a:cubicBezTo>
                  <a:cubicBezTo>
                    <a:pt x="9462" y="3619"/>
                    <a:pt x="9467" y="3874"/>
                    <a:pt x="9477" y="3953"/>
                  </a:cubicBezTo>
                  <a:cubicBezTo>
                    <a:pt x="9495" y="4105"/>
                    <a:pt x="9569" y="4164"/>
                    <a:pt x="9488" y="4292"/>
                  </a:cubicBezTo>
                  <a:cubicBezTo>
                    <a:pt x="9401" y="4429"/>
                    <a:pt x="9492" y="4237"/>
                    <a:pt x="9492" y="4163"/>
                  </a:cubicBezTo>
                  <a:cubicBezTo>
                    <a:pt x="9494" y="4015"/>
                    <a:pt x="9413" y="3875"/>
                    <a:pt x="9424" y="3716"/>
                  </a:cubicBezTo>
                  <a:cubicBezTo>
                    <a:pt x="9427" y="3673"/>
                    <a:pt x="9436" y="3579"/>
                    <a:pt x="9443" y="3543"/>
                  </a:cubicBezTo>
                  <a:cubicBezTo>
                    <a:pt x="9449" y="3511"/>
                    <a:pt x="9484" y="3452"/>
                    <a:pt x="9479" y="3422"/>
                  </a:cubicBezTo>
                  <a:cubicBezTo>
                    <a:pt x="9433" y="3150"/>
                    <a:pt x="9395" y="3529"/>
                    <a:pt x="9382" y="3562"/>
                  </a:cubicBezTo>
                  <a:cubicBezTo>
                    <a:pt x="9376" y="3475"/>
                    <a:pt x="9330" y="3451"/>
                    <a:pt x="9304" y="3378"/>
                  </a:cubicBezTo>
                  <a:cubicBezTo>
                    <a:pt x="9282" y="3315"/>
                    <a:pt x="9290" y="3209"/>
                    <a:pt x="9269" y="3150"/>
                  </a:cubicBezTo>
                  <a:cubicBezTo>
                    <a:pt x="9210" y="2984"/>
                    <a:pt x="9126" y="3066"/>
                    <a:pt x="9127" y="3248"/>
                  </a:cubicBezTo>
                  <a:cubicBezTo>
                    <a:pt x="9129" y="3513"/>
                    <a:pt x="9268" y="3868"/>
                    <a:pt x="9157" y="4120"/>
                  </a:cubicBezTo>
                  <a:cubicBezTo>
                    <a:pt x="9158" y="4057"/>
                    <a:pt x="9184" y="3967"/>
                    <a:pt x="9174" y="3905"/>
                  </a:cubicBezTo>
                  <a:cubicBezTo>
                    <a:pt x="9165" y="3852"/>
                    <a:pt x="9121" y="3872"/>
                    <a:pt x="9118" y="3843"/>
                  </a:cubicBezTo>
                  <a:cubicBezTo>
                    <a:pt x="9113" y="3803"/>
                    <a:pt x="9149" y="3784"/>
                    <a:pt x="9146" y="3744"/>
                  </a:cubicBezTo>
                  <a:cubicBezTo>
                    <a:pt x="9144" y="3716"/>
                    <a:pt x="9101" y="3525"/>
                    <a:pt x="9081" y="3518"/>
                  </a:cubicBezTo>
                  <a:cubicBezTo>
                    <a:pt x="9048" y="3506"/>
                    <a:pt x="8993" y="3638"/>
                    <a:pt x="8969" y="3657"/>
                  </a:cubicBezTo>
                  <a:cubicBezTo>
                    <a:pt x="8988" y="3585"/>
                    <a:pt x="9066" y="3507"/>
                    <a:pt x="9081" y="3457"/>
                  </a:cubicBezTo>
                  <a:cubicBezTo>
                    <a:pt x="9099" y="3398"/>
                    <a:pt x="9044" y="3271"/>
                    <a:pt x="9068" y="3163"/>
                  </a:cubicBezTo>
                  <a:cubicBezTo>
                    <a:pt x="9089" y="3067"/>
                    <a:pt x="9054" y="2964"/>
                    <a:pt x="9082" y="2868"/>
                  </a:cubicBezTo>
                  <a:cubicBezTo>
                    <a:pt x="9109" y="2775"/>
                    <a:pt x="9148" y="2696"/>
                    <a:pt x="9091" y="2606"/>
                  </a:cubicBezTo>
                  <a:cubicBezTo>
                    <a:pt x="9088" y="2628"/>
                    <a:pt x="9074" y="2659"/>
                    <a:pt x="9071" y="2685"/>
                  </a:cubicBezTo>
                  <a:cubicBezTo>
                    <a:pt x="9016" y="2517"/>
                    <a:pt x="8891" y="2780"/>
                    <a:pt x="8900" y="2894"/>
                  </a:cubicBezTo>
                  <a:cubicBezTo>
                    <a:pt x="8913" y="3090"/>
                    <a:pt x="8877" y="3154"/>
                    <a:pt x="8964" y="3316"/>
                  </a:cubicBezTo>
                  <a:cubicBezTo>
                    <a:pt x="8909" y="3300"/>
                    <a:pt x="8865" y="3228"/>
                    <a:pt x="8862" y="3149"/>
                  </a:cubicBezTo>
                  <a:cubicBezTo>
                    <a:pt x="8859" y="3073"/>
                    <a:pt x="8926" y="2823"/>
                    <a:pt x="8818" y="2856"/>
                  </a:cubicBezTo>
                  <a:cubicBezTo>
                    <a:pt x="8770" y="2871"/>
                    <a:pt x="8691" y="3159"/>
                    <a:pt x="8694" y="3217"/>
                  </a:cubicBezTo>
                  <a:cubicBezTo>
                    <a:pt x="8702" y="3371"/>
                    <a:pt x="8629" y="3505"/>
                    <a:pt x="8702" y="3639"/>
                  </a:cubicBezTo>
                  <a:cubicBezTo>
                    <a:pt x="8771" y="3766"/>
                    <a:pt x="8821" y="3746"/>
                    <a:pt x="8804" y="3938"/>
                  </a:cubicBezTo>
                  <a:cubicBezTo>
                    <a:pt x="8793" y="4054"/>
                    <a:pt x="8781" y="4172"/>
                    <a:pt x="8754" y="4282"/>
                  </a:cubicBezTo>
                  <a:cubicBezTo>
                    <a:pt x="8712" y="4451"/>
                    <a:pt x="8696" y="4405"/>
                    <a:pt x="8718" y="4249"/>
                  </a:cubicBezTo>
                  <a:cubicBezTo>
                    <a:pt x="8739" y="4101"/>
                    <a:pt x="8851" y="3626"/>
                    <a:pt x="8618" y="3732"/>
                  </a:cubicBezTo>
                  <a:cubicBezTo>
                    <a:pt x="8659" y="3644"/>
                    <a:pt x="8638" y="3536"/>
                    <a:pt x="8556" y="3588"/>
                  </a:cubicBezTo>
                  <a:cubicBezTo>
                    <a:pt x="8502" y="3623"/>
                    <a:pt x="8494" y="3705"/>
                    <a:pt x="8483" y="3773"/>
                  </a:cubicBezTo>
                  <a:cubicBezTo>
                    <a:pt x="8454" y="3594"/>
                    <a:pt x="8557" y="3579"/>
                    <a:pt x="8610" y="3464"/>
                  </a:cubicBezTo>
                  <a:cubicBezTo>
                    <a:pt x="8637" y="3404"/>
                    <a:pt x="8674" y="3148"/>
                    <a:pt x="8589" y="3119"/>
                  </a:cubicBezTo>
                  <a:cubicBezTo>
                    <a:pt x="8536" y="3102"/>
                    <a:pt x="8485" y="3361"/>
                    <a:pt x="8460" y="3421"/>
                  </a:cubicBezTo>
                  <a:cubicBezTo>
                    <a:pt x="8418" y="3522"/>
                    <a:pt x="8338" y="3635"/>
                    <a:pt x="8315" y="3742"/>
                  </a:cubicBezTo>
                  <a:cubicBezTo>
                    <a:pt x="8302" y="3610"/>
                    <a:pt x="8422" y="3470"/>
                    <a:pt x="8445" y="3351"/>
                  </a:cubicBezTo>
                  <a:cubicBezTo>
                    <a:pt x="8499" y="3078"/>
                    <a:pt x="8284" y="3291"/>
                    <a:pt x="8215" y="3359"/>
                  </a:cubicBezTo>
                  <a:cubicBezTo>
                    <a:pt x="8218" y="3265"/>
                    <a:pt x="8327" y="3203"/>
                    <a:pt x="8380" y="3164"/>
                  </a:cubicBezTo>
                  <a:cubicBezTo>
                    <a:pt x="8444" y="3118"/>
                    <a:pt x="8497" y="3106"/>
                    <a:pt x="8541" y="2997"/>
                  </a:cubicBezTo>
                  <a:cubicBezTo>
                    <a:pt x="8580" y="2904"/>
                    <a:pt x="8550" y="2807"/>
                    <a:pt x="8582" y="2771"/>
                  </a:cubicBezTo>
                  <a:cubicBezTo>
                    <a:pt x="8589" y="2764"/>
                    <a:pt x="8657" y="2769"/>
                    <a:pt x="8689" y="2724"/>
                  </a:cubicBezTo>
                  <a:cubicBezTo>
                    <a:pt x="8719" y="2681"/>
                    <a:pt x="8724" y="2679"/>
                    <a:pt x="8727" y="2617"/>
                  </a:cubicBezTo>
                  <a:cubicBezTo>
                    <a:pt x="8731" y="2539"/>
                    <a:pt x="8690" y="2518"/>
                    <a:pt x="8678" y="2454"/>
                  </a:cubicBezTo>
                  <a:cubicBezTo>
                    <a:pt x="8666" y="2386"/>
                    <a:pt x="8694" y="2353"/>
                    <a:pt x="8668" y="2276"/>
                  </a:cubicBezTo>
                  <a:cubicBezTo>
                    <a:pt x="8634" y="2175"/>
                    <a:pt x="8560" y="2108"/>
                    <a:pt x="8489" y="2107"/>
                  </a:cubicBezTo>
                  <a:cubicBezTo>
                    <a:pt x="8403" y="2105"/>
                    <a:pt x="8315" y="2193"/>
                    <a:pt x="8228" y="2202"/>
                  </a:cubicBezTo>
                  <a:cubicBezTo>
                    <a:pt x="8116" y="2212"/>
                    <a:pt x="8092" y="2165"/>
                    <a:pt x="8078" y="2346"/>
                  </a:cubicBezTo>
                  <a:cubicBezTo>
                    <a:pt x="8067" y="2476"/>
                    <a:pt x="8081" y="2508"/>
                    <a:pt x="8008" y="2602"/>
                  </a:cubicBezTo>
                  <a:cubicBezTo>
                    <a:pt x="7987" y="2629"/>
                    <a:pt x="7954" y="2610"/>
                    <a:pt x="7936" y="2650"/>
                  </a:cubicBezTo>
                  <a:cubicBezTo>
                    <a:pt x="7908" y="2712"/>
                    <a:pt x="7944" y="2820"/>
                    <a:pt x="7951" y="2882"/>
                  </a:cubicBezTo>
                  <a:cubicBezTo>
                    <a:pt x="7965" y="3011"/>
                    <a:pt x="7974" y="3140"/>
                    <a:pt x="7963" y="3270"/>
                  </a:cubicBezTo>
                  <a:cubicBezTo>
                    <a:pt x="7948" y="3441"/>
                    <a:pt x="7916" y="3417"/>
                    <a:pt x="7829" y="3513"/>
                  </a:cubicBezTo>
                  <a:cubicBezTo>
                    <a:pt x="7850" y="3453"/>
                    <a:pt x="7900" y="3451"/>
                    <a:pt x="7927" y="3391"/>
                  </a:cubicBezTo>
                  <a:cubicBezTo>
                    <a:pt x="7956" y="3325"/>
                    <a:pt x="7934" y="3263"/>
                    <a:pt x="7936" y="3194"/>
                  </a:cubicBezTo>
                  <a:cubicBezTo>
                    <a:pt x="7939" y="3034"/>
                    <a:pt x="7930" y="2902"/>
                    <a:pt x="7897" y="2746"/>
                  </a:cubicBezTo>
                  <a:cubicBezTo>
                    <a:pt x="7861" y="2577"/>
                    <a:pt x="8090" y="2519"/>
                    <a:pt x="8032" y="2389"/>
                  </a:cubicBezTo>
                  <a:cubicBezTo>
                    <a:pt x="7994" y="2303"/>
                    <a:pt x="7800" y="2379"/>
                    <a:pt x="7754" y="2429"/>
                  </a:cubicBezTo>
                  <a:cubicBezTo>
                    <a:pt x="7669" y="2523"/>
                    <a:pt x="7651" y="2627"/>
                    <a:pt x="7641" y="2762"/>
                  </a:cubicBezTo>
                  <a:cubicBezTo>
                    <a:pt x="7631" y="2881"/>
                    <a:pt x="7603" y="2983"/>
                    <a:pt x="7589" y="3103"/>
                  </a:cubicBezTo>
                  <a:cubicBezTo>
                    <a:pt x="7563" y="3314"/>
                    <a:pt x="7542" y="3194"/>
                    <a:pt x="7562" y="3051"/>
                  </a:cubicBezTo>
                  <a:cubicBezTo>
                    <a:pt x="7575" y="2950"/>
                    <a:pt x="7603" y="2868"/>
                    <a:pt x="7606" y="2763"/>
                  </a:cubicBezTo>
                  <a:cubicBezTo>
                    <a:pt x="7614" y="2493"/>
                    <a:pt x="7718" y="2352"/>
                    <a:pt x="7909" y="2288"/>
                  </a:cubicBezTo>
                  <a:cubicBezTo>
                    <a:pt x="7982" y="2264"/>
                    <a:pt x="7960" y="2304"/>
                    <a:pt x="8004" y="2226"/>
                  </a:cubicBezTo>
                  <a:cubicBezTo>
                    <a:pt x="8020" y="2196"/>
                    <a:pt x="8043" y="2102"/>
                    <a:pt x="8049" y="2064"/>
                  </a:cubicBezTo>
                  <a:cubicBezTo>
                    <a:pt x="8069" y="1945"/>
                    <a:pt x="8046" y="1873"/>
                    <a:pt x="7994" y="1788"/>
                  </a:cubicBezTo>
                  <a:cubicBezTo>
                    <a:pt x="7929" y="1682"/>
                    <a:pt x="7857" y="1568"/>
                    <a:pt x="7787" y="1468"/>
                  </a:cubicBezTo>
                  <a:cubicBezTo>
                    <a:pt x="7742" y="1404"/>
                    <a:pt x="7774" y="1410"/>
                    <a:pt x="7700" y="1385"/>
                  </a:cubicBezTo>
                  <a:cubicBezTo>
                    <a:pt x="7664" y="1373"/>
                    <a:pt x="7609" y="1387"/>
                    <a:pt x="7571" y="1382"/>
                  </a:cubicBezTo>
                  <a:cubicBezTo>
                    <a:pt x="7502" y="1374"/>
                    <a:pt x="7390" y="1306"/>
                    <a:pt x="7320" y="1393"/>
                  </a:cubicBezTo>
                  <a:cubicBezTo>
                    <a:pt x="7238" y="1495"/>
                    <a:pt x="7368" y="1605"/>
                    <a:pt x="7328" y="1669"/>
                  </a:cubicBezTo>
                  <a:cubicBezTo>
                    <a:pt x="7295" y="1721"/>
                    <a:pt x="7253" y="1575"/>
                    <a:pt x="7236" y="1541"/>
                  </a:cubicBezTo>
                  <a:cubicBezTo>
                    <a:pt x="7199" y="1468"/>
                    <a:pt x="7225" y="1457"/>
                    <a:pt x="7154" y="1431"/>
                  </a:cubicBezTo>
                  <a:cubicBezTo>
                    <a:pt x="7075" y="1404"/>
                    <a:pt x="6977" y="1489"/>
                    <a:pt x="6906" y="1431"/>
                  </a:cubicBezTo>
                  <a:cubicBezTo>
                    <a:pt x="6891" y="1419"/>
                    <a:pt x="6875" y="1330"/>
                    <a:pt x="6839" y="1302"/>
                  </a:cubicBezTo>
                  <a:cubicBezTo>
                    <a:pt x="6801" y="1272"/>
                    <a:pt x="6761" y="1274"/>
                    <a:pt x="6717" y="1278"/>
                  </a:cubicBezTo>
                  <a:cubicBezTo>
                    <a:pt x="6630" y="1283"/>
                    <a:pt x="6555" y="1334"/>
                    <a:pt x="6473" y="1371"/>
                  </a:cubicBezTo>
                  <a:cubicBezTo>
                    <a:pt x="6329" y="1436"/>
                    <a:pt x="6194" y="1686"/>
                    <a:pt x="6113" y="1868"/>
                  </a:cubicBezTo>
                  <a:cubicBezTo>
                    <a:pt x="6014" y="2088"/>
                    <a:pt x="5976" y="2408"/>
                    <a:pt x="6189" y="2525"/>
                  </a:cubicBezTo>
                  <a:cubicBezTo>
                    <a:pt x="6334" y="2605"/>
                    <a:pt x="6493" y="2590"/>
                    <a:pt x="6639" y="2667"/>
                  </a:cubicBezTo>
                  <a:cubicBezTo>
                    <a:pt x="6795" y="2750"/>
                    <a:pt x="6905" y="2628"/>
                    <a:pt x="7065" y="2738"/>
                  </a:cubicBezTo>
                  <a:cubicBezTo>
                    <a:pt x="6980" y="2751"/>
                    <a:pt x="6910" y="2689"/>
                    <a:pt x="6821" y="2725"/>
                  </a:cubicBezTo>
                  <a:cubicBezTo>
                    <a:pt x="6661" y="2789"/>
                    <a:pt x="6790" y="2842"/>
                    <a:pt x="6746" y="2994"/>
                  </a:cubicBezTo>
                  <a:cubicBezTo>
                    <a:pt x="6748" y="2862"/>
                    <a:pt x="6508" y="2515"/>
                    <a:pt x="6469" y="2732"/>
                  </a:cubicBezTo>
                  <a:cubicBezTo>
                    <a:pt x="6457" y="2683"/>
                    <a:pt x="6241" y="2594"/>
                    <a:pt x="6199" y="2647"/>
                  </a:cubicBezTo>
                  <a:cubicBezTo>
                    <a:pt x="6131" y="2733"/>
                    <a:pt x="6296" y="2926"/>
                    <a:pt x="6301" y="3011"/>
                  </a:cubicBezTo>
                  <a:cubicBezTo>
                    <a:pt x="6215" y="2925"/>
                    <a:pt x="6203" y="2847"/>
                    <a:pt x="6154" y="2722"/>
                  </a:cubicBezTo>
                  <a:cubicBezTo>
                    <a:pt x="6135" y="2674"/>
                    <a:pt x="6129" y="2616"/>
                    <a:pt x="6080" y="2618"/>
                  </a:cubicBezTo>
                  <a:cubicBezTo>
                    <a:pt x="6102" y="2617"/>
                    <a:pt x="6006" y="2746"/>
                    <a:pt x="6012" y="2714"/>
                  </a:cubicBezTo>
                  <a:cubicBezTo>
                    <a:pt x="6002" y="2769"/>
                    <a:pt x="6042" y="2760"/>
                    <a:pt x="6048" y="2826"/>
                  </a:cubicBezTo>
                  <a:cubicBezTo>
                    <a:pt x="6052" y="2872"/>
                    <a:pt x="6017" y="2956"/>
                    <a:pt x="6025" y="2986"/>
                  </a:cubicBezTo>
                  <a:cubicBezTo>
                    <a:pt x="6052" y="3083"/>
                    <a:pt x="6194" y="3105"/>
                    <a:pt x="6256" y="3131"/>
                  </a:cubicBezTo>
                  <a:cubicBezTo>
                    <a:pt x="6348" y="3170"/>
                    <a:pt x="6375" y="3208"/>
                    <a:pt x="6419" y="3331"/>
                  </a:cubicBezTo>
                  <a:cubicBezTo>
                    <a:pt x="6486" y="3515"/>
                    <a:pt x="6548" y="3325"/>
                    <a:pt x="6601" y="3452"/>
                  </a:cubicBezTo>
                  <a:cubicBezTo>
                    <a:pt x="6620" y="3499"/>
                    <a:pt x="6736" y="3631"/>
                    <a:pt x="6771" y="3655"/>
                  </a:cubicBezTo>
                  <a:cubicBezTo>
                    <a:pt x="6883" y="3731"/>
                    <a:pt x="6871" y="3652"/>
                    <a:pt x="6903" y="3837"/>
                  </a:cubicBezTo>
                  <a:cubicBezTo>
                    <a:pt x="6866" y="3743"/>
                    <a:pt x="6767" y="3691"/>
                    <a:pt x="6711" y="3625"/>
                  </a:cubicBezTo>
                  <a:cubicBezTo>
                    <a:pt x="6672" y="3579"/>
                    <a:pt x="6570" y="3432"/>
                    <a:pt x="6535" y="3449"/>
                  </a:cubicBezTo>
                  <a:cubicBezTo>
                    <a:pt x="6357" y="3535"/>
                    <a:pt x="6757" y="3802"/>
                    <a:pt x="6806" y="3833"/>
                  </a:cubicBezTo>
                  <a:cubicBezTo>
                    <a:pt x="6529" y="3941"/>
                    <a:pt x="6466" y="3415"/>
                    <a:pt x="6321" y="3242"/>
                  </a:cubicBezTo>
                  <a:cubicBezTo>
                    <a:pt x="6277" y="3189"/>
                    <a:pt x="6211" y="3167"/>
                    <a:pt x="6152" y="3154"/>
                  </a:cubicBezTo>
                  <a:cubicBezTo>
                    <a:pt x="6066" y="3135"/>
                    <a:pt x="6076" y="3093"/>
                    <a:pt x="6069" y="3204"/>
                  </a:cubicBezTo>
                  <a:cubicBezTo>
                    <a:pt x="6065" y="3273"/>
                    <a:pt x="6105" y="3486"/>
                    <a:pt x="6144" y="3541"/>
                  </a:cubicBezTo>
                  <a:cubicBezTo>
                    <a:pt x="6182" y="3596"/>
                    <a:pt x="6248" y="3579"/>
                    <a:pt x="6292" y="3608"/>
                  </a:cubicBezTo>
                  <a:cubicBezTo>
                    <a:pt x="6352" y="3648"/>
                    <a:pt x="6492" y="3793"/>
                    <a:pt x="6348" y="3750"/>
                  </a:cubicBezTo>
                  <a:cubicBezTo>
                    <a:pt x="6277" y="3728"/>
                    <a:pt x="6205" y="3638"/>
                    <a:pt x="6119" y="3652"/>
                  </a:cubicBezTo>
                  <a:cubicBezTo>
                    <a:pt x="6026" y="3668"/>
                    <a:pt x="6008" y="3761"/>
                    <a:pt x="6002" y="3613"/>
                  </a:cubicBezTo>
                  <a:cubicBezTo>
                    <a:pt x="5997" y="3498"/>
                    <a:pt x="6013" y="3389"/>
                    <a:pt x="6005" y="3271"/>
                  </a:cubicBezTo>
                  <a:cubicBezTo>
                    <a:pt x="5988" y="3002"/>
                    <a:pt x="5956" y="2916"/>
                    <a:pt x="5807" y="2778"/>
                  </a:cubicBezTo>
                  <a:cubicBezTo>
                    <a:pt x="5695" y="2673"/>
                    <a:pt x="5674" y="2707"/>
                    <a:pt x="5657" y="2871"/>
                  </a:cubicBezTo>
                  <a:cubicBezTo>
                    <a:pt x="5649" y="2947"/>
                    <a:pt x="5644" y="2977"/>
                    <a:pt x="5662" y="3041"/>
                  </a:cubicBezTo>
                  <a:cubicBezTo>
                    <a:pt x="5679" y="3100"/>
                    <a:pt x="5719" y="3118"/>
                    <a:pt x="5717" y="3194"/>
                  </a:cubicBezTo>
                  <a:cubicBezTo>
                    <a:pt x="5707" y="3173"/>
                    <a:pt x="5674" y="3074"/>
                    <a:pt x="5655" y="3065"/>
                  </a:cubicBezTo>
                  <a:cubicBezTo>
                    <a:pt x="5587" y="3034"/>
                    <a:pt x="5618" y="3107"/>
                    <a:pt x="5581" y="3152"/>
                  </a:cubicBezTo>
                  <a:cubicBezTo>
                    <a:pt x="5574" y="3161"/>
                    <a:pt x="5550" y="3305"/>
                    <a:pt x="5541" y="3175"/>
                  </a:cubicBezTo>
                  <a:cubicBezTo>
                    <a:pt x="5537" y="3109"/>
                    <a:pt x="5577" y="3074"/>
                    <a:pt x="5579" y="3015"/>
                  </a:cubicBezTo>
                  <a:cubicBezTo>
                    <a:pt x="5583" y="2871"/>
                    <a:pt x="5520" y="2888"/>
                    <a:pt x="5473" y="2799"/>
                  </a:cubicBezTo>
                  <a:cubicBezTo>
                    <a:pt x="5439" y="2735"/>
                    <a:pt x="5460" y="2571"/>
                    <a:pt x="5400" y="2613"/>
                  </a:cubicBezTo>
                  <a:cubicBezTo>
                    <a:pt x="5360" y="2455"/>
                    <a:pt x="5365" y="2771"/>
                    <a:pt x="5355" y="2808"/>
                  </a:cubicBezTo>
                  <a:cubicBezTo>
                    <a:pt x="5337" y="2883"/>
                    <a:pt x="5260" y="2949"/>
                    <a:pt x="5281" y="3051"/>
                  </a:cubicBezTo>
                  <a:cubicBezTo>
                    <a:pt x="5329" y="3285"/>
                    <a:pt x="5551" y="3296"/>
                    <a:pt x="5646" y="3420"/>
                  </a:cubicBezTo>
                  <a:cubicBezTo>
                    <a:pt x="5643" y="3423"/>
                    <a:pt x="5640" y="3425"/>
                    <a:pt x="5637" y="3428"/>
                  </a:cubicBezTo>
                  <a:cubicBezTo>
                    <a:pt x="5587" y="3495"/>
                    <a:pt x="5442" y="3363"/>
                    <a:pt x="5406" y="3322"/>
                  </a:cubicBezTo>
                  <a:cubicBezTo>
                    <a:pt x="5355" y="3262"/>
                    <a:pt x="5238" y="3041"/>
                    <a:pt x="5247" y="3258"/>
                  </a:cubicBezTo>
                  <a:cubicBezTo>
                    <a:pt x="5252" y="3356"/>
                    <a:pt x="5296" y="3327"/>
                    <a:pt x="5279" y="3396"/>
                  </a:cubicBezTo>
                  <a:cubicBezTo>
                    <a:pt x="5261" y="3472"/>
                    <a:pt x="5208" y="3450"/>
                    <a:pt x="5206" y="3457"/>
                  </a:cubicBezTo>
                  <a:cubicBezTo>
                    <a:pt x="5172" y="3577"/>
                    <a:pt x="5338" y="3624"/>
                    <a:pt x="5319" y="3769"/>
                  </a:cubicBezTo>
                  <a:cubicBezTo>
                    <a:pt x="5304" y="3881"/>
                    <a:pt x="5210" y="3906"/>
                    <a:pt x="5180" y="3994"/>
                  </a:cubicBezTo>
                  <a:cubicBezTo>
                    <a:pt x="5157" y="4064"/>
                    <a:pt x="5179" y="4126"/>
                    <a:pt x="5160" y="4199"/>
                  </a:cubicBezTo>
                  <a:cubicBezTo>
                    <a:pt x="5154" y="4222"/>
                    <a:pt x="5084" y="4364"/>
                    <a:pt x="5088" y="4289"/>
                  </a:cubicBezTo>
                  <a:cubicBezTo>
                    <a:pt x="5094" y="4188"/>
                    <a:pt x="5167" y="4044"/>
                    <a:pt x="5108" y="3938"/>
                  </a:cubicBezTo>
                  <a:cubicBezTo>
                    <a:pt x="5042" y="3822"/>
                    <a:pt x="5037" y="3983"/>
                    <a:pt x="4943" y="3947"/>
                  </a:cubicBezTo>
                  <a:cubicBezTo>
                    <a:pt x="4976" y="3912"/>
                    <a:pt x="4984" y="3873"/>
                    <a:pt x="4956" y="3828"/>
                  </a:cubicBezTo>
                  <a:cubicBezTo>
                    <a:pt x="5009" y="3819"/>
                    <a:pt x="5051" y="3750"/>
                    <a:pt x="5095" y="3746"/>
                  </a:cubicBezTo>
                  <a:cubicBezTo>
                    <a:pt x="5111" y="3745"/>
                    <a:pt x="5199" y="3873"/>
                    <a:pt x="5204" y="3768"/>
                  </a:cubicBezTo>
                  <a:cubicBezTo>
                    <a:pt x="5208" y="3694"/>
                    <a:pt x="4972" y="3596"/>
                    <a:pt x="4926" y="3554"/>
                  </a:cubicBezTo>
                  <a:cubicBezTo>
                    <a:pt x="5021" y="3557"/>
                    <a:pt x="4959" y="3296"/>
                    <a:pt x="4997" y="3174"/>
                  </a:cubicBezTo>
                  <a:cubicBezTo>
                    <a:pt x="5032" y="3061"/>
                    <a:pt x="5050" y="3057"/>
                    <a:pt x="5044" y="2940"/>
                  </a:cubicBezTo>
                  <a:cubicBezTo>
                    <a:pt x="5042" y="2890"/>
                    <a:pt x="5036" y="2715"/>
                    <a:pt x="4981" y="2710"/>
                  </a:cubicBezTo>
                  <a:cubicBezTo>
                    <a:pt x="4909" y="2704"/>
                    <a:pt x="4832" y="3084"/>
                    <a:pt x="4819" y="3155"/>
                  </a:cubicBezTo>
                  <a:cubicBezTo>
                    <a:pt x="4797" y="3269"/>
                    <a:pt x="4778" y="3502"/>
                    <a:pt x="4686" y="3541"/>
                  </a:cubicBezTo>
                  <a:lnTo>
                    <a:pt x="4686" y="3536"/>
                  </a:lnTo>
                  <a:cubicBezTo>
                    <a:pt x="4677" y="3506"/>
                    <a:pt x="4744" y="3391"/>
                    <a:pt x="4752" y="3361"/>
                  </a:cubicBezTo>
                  <a:cubicBezTo>
                    <a:pt x="4759" y="3331"/>
                    <a:pt x="4764" y="3237"/>
                    <a:pt x="4770" y="3200"/>
                  </a:cubicBezTo>
                  <a:cubicBezTo>
                    <a:pt x="4786" y="3084"/>
                    <a:pt x="4796" y="2976"/>
                    <a:pt x="4826" y="2864"/>
                  </a:cubicBezTo>
                  <a:cubicBezTo>
                    <a:pt x="4844" y="2800"/>
                    <a:pt x="4950" y="2582"/>
                    <a:pt x="4945" y="2540"/>
                  </a:cubicBezTo>
                  <a:cubicBezTo>
                    <a:pt x="4929" y="2409"/>
                    <a:pt x="4929" y="2358"/>
                    <a:pt x="4963" y="2221"/>
                  </a:cubicBezTo>
                  <a:cubicBezTo>
                    <a:pt x="4988" y="2124"/>
                    <a:pt x="5016" y="2150"/>
                    <a:pt x="4983" y="2050"/>
                  </a:cubicBezTo>
                  <a:cubicBezTo>
                    <a:pt x="4957" y="1971"/>
                    <a:pt x="4931" y="1985"/>
                    <a:pt x="4886" y="1949"/>
                  </a:cubicBezTo>
                  <a:cubicBezTo>
                    <a:pt x="4811" y="1888"/>
                    <a:pt x="4744" y="1817"/>
                    <a:pt x="4698" y="1707"/>
                  </a:cubicBezTo>
                  <a:cubicBezTo>
                    <a:pt x="4620" y="1522"/>
                    <a:pt x="4723" y="1271"/>
                    <a:pt x="4556" y="1142"/>
                  </a:cubicBezTo>
                  <a:cubicBezTo>
                    <a:pt x="4380" y="1006"/>
                    <a:pt x="4252" y="1174"/>
                    <a:pt x="4194" y="839"/>
                  </a:cubicBezTo>
                  <a:cubicBezTo>
                    <a:pt x="4153" y="603"/>
                    <a:pt x="4096" y="387"/>
                    <a:pt x="3969" y="214"/>
                  </a:cubicBezTo>
                  <a:cubicBezTo>
                    <a:pt x="3913" y="137"/>
                    <a:pt x="3875" y="15"/>
                    <a:pt x="3793" y="1"/>
                  </a:cubicBezTo>
                  <a:cubicBezTo>
                    <a:pt x="3726" y="-10"/>
                    <a:pt x="3610" y="57"/>
                    <a:pt x="3545" y="84"/>
                  </a:cubicBezTo>
                  <a:cubicBezTo>
                    <a:pt x="3450" y="123"/>
                    <a:pt x="3368" y="167"/>
                    <a:pt x="3270" y="190"/>
                  </a:cubicBezTo>
                  <a:cubicBezTo>
                    <a:pt x="3146" y="220"/>
                    <a:pt x="3184" y="276"/>
                    <a:pt x="3115" y="398"/>
                  </a:cubicBezTo>
                  <a:cubicBezTo>
                    <a:pt x="3105" y="416"/>
                    <a:pt x="3116" y="454"/>
                    <a:pt x="3104" y="468"/>
                  </a:cubicBezTo>
                  <a:cubicBezTo>
                    <a:pt x="3097" y="476"/>
                    <a:pt x="3082" y="445"/>
                    <a:pt x="3079" y="448"/>
                  </a:cubicBezTo>
                  <a:cubicBezTo>
                    <a:pt x="3060" y="472"/>
                    <a:pt x="3012" y="503"/>
                    <a:pt x="2982" y="540"/>
                  </a:cubicBezTo>
                  <a:cubicBezTo>
                    <a:pt x="2907" y="635"/>
                    <a:pt x="2839" y="724"/>
                    <a:pt x="2775" y="832"/>
                  </a:cubicBezTo>
                  <a:cubicBezTo>
                    <a:pt x="2671" y="1007"/>
                    <a:pt x="2719" y="975"/>
                    <a:pt x="2835" y="1050"/>
                  </a:cubicBezTo>
                  <a:cubicBezTo>
                    <a:pt x="2926" y="1108"/>
                    <a:pt x="2931" y="1224"/>
                    <a:pt x="2972" y="1354"/>
                  </a:cubicBezTo>
                  <a:cubicBezTo>
                    <a:pt x="3033" y="1552"/>
                    <a:pt x="2862" y="1171"/>
                    <a:pt x="2857" y="1164"/>
                  </a:cubicBezTo>
                  <a:cubicBezTo>
                    <a:pt x="2823" y="1119"/>
                    <a:pt x="2666" y="1080"/>
                    <a:pt x="2617" y="1101"/>
                  </a:cubicBezTo>
                  <a:cubicBezTo>
                    <a:pt x="2560" y="1124"/>
                    <a:pt x="2417" y="1324"/>
                    <a:pt x="2434" y="1400"/>
                  </a:cubicBezTo>
                  <a:cubicBezTo>
                    <a:pt x="2469" y="1556"/>
                    <a:pt x="2578" y="1608"/>
                    <a:pt x="2637" y="1740"/>
                  </a:cubicBezTo>
                  <a:cubicBezTo>
                    <a:pt x="2467" y="1782"/>
                    <a:pt x="2408" y="1285"/>
                    <a:pt x="2266" y="1523"/>
                  </a:cubicBezTo>
                  <a:cubicBezTo>
                    <a:pt x="2213" y="1611"/>
                    <a:pt x="2196" y="1685"/>
                    <a:pt x="2210" y="1797"/>
                  </a:cubicBezTo>
                  <a:cubicBezTo>
                    <a:pt x="2227" y="1946"/>
                    <a:pt x="2258" y="1917"/>
                    <a:pt x="2354" y="1958"/>
                  </a:cubicBezTo>
                  <a:cubicBezTo>
                    <a:pt x="2498" y="2021"/>
                    <a:pt x="2635" y="2075"/>
                    <a:pt x="2784" y="2095"/>
                  </a:cubicBezTo>
                  <a:cubicBezTo>
                    <a:pt x="2927" y="2115"/>
                    <a:pt x="2988" y="2077"/>
                    <a:pt x="3115" y="2199"/>
                  </a:cubicBezTo>
                  <a:cubicBezTo>
                    <a:pt x="3047" y="2202"/>
                    <a:pt x="2989" y="2142"/>
                    <a:pt x="2911" y="2149"/>
                  </a:cubicBezTo>
                  <a:cubicBezTo>
                    <a:pt x="2830" y="2156"/>
                    <a:pt x="2754" y="2168"/>
                    <a:pt x="2669" y="2172"/>
                  </a:cubicBezTo>
                  <a:cubicBezTo>
                    <a:pt x="2583" y="2177"/>
                    <a:pt x="2485" y="2190"/>
                    <a:pt x="2402" y="2158"/>
                  </a:cubicBezTo>
                  <a:cubicBezTo>
                    <a:pt x="2364" y="2144"/>
                    <a:pt x="2154" y="2028"/>
                    <a:pt x="2254" y="2197"/>
                  </a:cubicBezTo>
                  <a:cubicBezTo>
                    <a:pt x="2351" y="2360"/>
                    <a:pt x="2226" y="2324"/>
                    <a:pt x="2171" y="2207"/>
                  </a:cubicBezTo>
                  <a:cubicBezTo>
                    <a:pt x="2099" y="2054"/>
                    <a:pt x="2096" y="2372"/>
                    <a:pt x="2114" y="2410"/>
                  </a:cubicBezTo>
                  <a:cubicBezTo>
                    <a:pt x="2148" y="2478"/>
                    <a:pt x="2264" y="2402"/>
                    <a:pt x="2303" y="2403"/>
                  </a:cubicBezTo>
                  <a:cubicBezTo>
                    <a:pt x="2302" y="2403"/>
                    <a:pt x="2305" y="2359"/>
                    <a:pt x="2327" y="2365"/>
                  </a:cubicBezTo>
                  <a:cubicBezTo>
                    <a:pt x="2343" y="2369"/>
                    <a:pt x="2349" y="2407"/>
                    <a:pt x="2362" y="2412"/>
                  </a:cubicBezTo>
                  <a:cubicBezTo>
                    <a:pt x="2362" y="2413"/>
                    <a:pt x="2407" y="2466"/>
                    <a:pt x="2419" y="2477"/>
                  </a:cubicBezTo>
                  <a:cubicBezTo>
                    <a:pt x="2499" y="2553"/>
                    <a:pt x="2583" y="2565"/>
                    <a:pt x="2672" y="2606"/>
                  </a:cubicBezTo>
                  <a:cubicBezTo>
                    <a:pt x="2748" y="2640"/>
                    <a:pt x="2804" y="2722"/>
                    <a:pt x="2878" y="2763"/>
                  </a:cubicBezTo>
                  <a:cubicBezTo>
                    <a:pt x="2896" y="2772"/>
                    <a:pt x="3115" y="2810"/>
                    <a:pt x="3040" y="2852"/>
                  </a:cubicBezTo>
                  <a:cubicBezTo>
                    <a:pt x="2992" y="2879"/>
                    <a:pt x="2850" y="2771"/>
                    <a:pt x="2802" y="2743"/>
                  </a:cubicBezTo>
                  <a:cubicBezTo>
                    <a:pt x="2712" y="2691"/>
                    <a:pt x="2633" y="2700"/>
                    <a:pt x="2540" y="2676"/>
                  </a:cubicBezTo>
                  <a:cubicBezTo>
                    <a:pt x="2466" y="2656"/>
                    <a:pt x="2396" y="2605"/>
                    <a:pt x="2323" y="2581"/>
                  </a:cubicBezTo>
                  <a:cubicBezTo>
                    <a:pt x="2060" y="2495"/>
                    <a:pt x="2101" y="2750"/>
                    <a:pt x="2132" y="3014"/>
                  </a:cubicBezTo>
                  <a:cubicBezTo>
                    <a:pt x="2147" y="3134"/>
                    <a:pt x="2153" y="3249"/>
                    <a:pt x="2184" y="3365"/>
                  </a:cubicBezTo>
                  <a:cubicBezTo>
                    <a:pt x="2205" y="3441"/>
                    <a:pt x="2209" y="3476"/>
                    <a:pt x="2260" y="3540"/>
                  </a:cubicBezTo>
                  <a:cubicBezTo>
                    <a:pt x="2267" y="3549"/>
                    <a:pt x="2315" y="3528"/>
                    <a:pt x="2318" y="3536"/>
                  </a:cubicBezTo>
                  <a:cubicBezTo>
                    <a:pt x="2321" y="3548"/>
                    <a:pt x="2312" y="3586"/>
                    <a:pt x="2312" y="3587"/>
                  </a:cubicBezTo>
                  <a:cubicBezTo>
                    <a:pt x="2305" y="3563"/>
                    <a:pt x="2283" y="3656"/>
                    <a:pt x="2284" y="3670"/>
                  </a:cubicBezTo>
                  <a:cubicBezTo>
                    <a:pt x="2287" y="3713"/>
                    <a:pt x="2342" y="3784"/>
                    <a:pt x="2363" y="3814"/>
                  </a:cubicBezTo>
                  <a:cubicBezTo>
                    <a:pt x="2384" y="3845"/>
                    <a:pt x="2423" y="3889"/>
                    <a:pt x="2452" y="3908"/>
                  </a:cubicBezTo>
                  <a:cubicBezTo>
                    <a:pt x="2511" y="3947"/>
                    <a:pt x="2611" y="3911"/>
                    <a:pt x="2610" y="4017"/>
                  </a:cubicBezTo>
                  <a:cubicBezTo>
                    <a:pt x="2671" y="3975"/>
                    <a:pt x="2707" y="3805"/>
                    <a:pt x="2759" y="3715"/>
                  </a:cubicBezTo>
                  <a:cubicBezTo>
                    <a:pt x="2790" y="3828"/>
                    <a:pt x="2692" y="3887"/>
                    <a:pt x="2786" y="3926"/>
                  </a:cubicBezTo>
                  <a:cubicBezTo>
                    <a:pt x="2828" y="3944"/>
                    <a:pt x="2952" y="3882"/>
                    <a:pt x="2971" y="3834"/>
                  </a:cubicBezTo>
                  <a:cubicBezTo>
                    <a:pt x="2972" y="3964"/>
                    <a:pt x="2820" y="3927"/>
                    <a:pt x="2780" y="4017"/>
                  </a:cubicBezTo>
                  <a:cubicBezTo>
                    <a:pt x="2721" y="4147"/>
                    <a:pt x="2811" y="4241"/>
                    <a:pt x="2907" y="4229"/>
                  </a:cubicBezTo>
                  <a:cubicBezTo>
                    <a:pt x="2876" y="4286"/>
                    <a:pt x="2950" y="4367"/>
                    <a:pt x="2995" y="4400"/>
                  </a:cubicBezTo>
                  <a:cubicBezTo>
                    <a:pt x="3019" y="4417"/>
                    <a:pt x="3053" y="4418"/>
                    <a:pt x="3077" y="4437"/>
                  </a:cubicBezTo>
                  <a:cubicBezTo>
                    <a:pt x="3119" y="4470"/>
                    <a:pt x="3110" y="4496"/>
                    <a:pt x="3154" y="4544"/>
                  </a:cubicBezTo>
                  <a:cubicBezTo>
                    <a:pt x="3247" y="4644"/>
                    <a:pt x="3319" y="4682"/>
                    <a:pt x="3315" y="4877"/>
                  </a:cubicBezTo>
                  <a:cubicBezTo>
                    <a:pt x="3270" y="4831"/>
                    <a:pt x="3250" y="4751"/>
                    <a:pt x="3216" y="4684"/>
                  </a:cubicBezTo>
                  <a:cubicBezTo>
                    <a:pt x="3187" y="4629"/>
                    <a:pt x="3159" y="4639"/>
                    <a:pt x="3127" y="4602"/>
                  </a:cubicBezTo>
                  <a:cubicBezTo>
                    <a:pt x="3070" y="4539"/>
                    <a:pt x="3042" y="4495"/>
                    <a:pt x="2978" y="4456"/>
                  </a:cubicBezTo>
                  <a:cubicBezTo>
                    <a:pt x="2919" y="4420"/>
                    <a:pt x="2712" y="4172"/>
                    <a:pt x="2692" y="4332"/>
                  </a:cubicBezTo>
                  <a:cubicBezTo>
                    <a:pt x="2675" y="4257"/>
                    <a:pt x="2630" y="4250"/>
                    <a:pt x="2617" y="4329"/>
                  </a:cubicBezTo>
                  <a:cubicBezTo>
                    <a:pt x="2600" y="4288"/>
                    <a:pt x="2413" y="4266"/>
                    <a:pt x="2505" y="4412"/>
                  </a:cubicBezTo>
                  <a:cubicBezTo>
                    <a:pt x="2492" y="4402"/>
                    <a:pt x="2467" y="4395"/>
                    <a:pt x="2451" y="4383"/>
                  </a:cubicBezTo>
                  <a:cubicBezTo>
                    <a:pt x="2462" y="4468"/>
                    <a:pt x="2550" y="4538"/>
                    <a:pt x="2556" y="4589"/>
                  </a:cubicBezTo>
                  <a:cubicBezTo>
                    <a:pt x="2565" y="4682"/>
                    <a:pt x="2481" y="4622"/>
                    <a:pt x="2510" y="4734"/>
                  </a:cubicBezTo>
                  <a:cubicBezTo>
                    <a:pt x="2541" y="4850"/>
                    <a:pt x="2338" y="4887"/>
                    <a:pt x="2431" y="4969"/>
                  </a:cubicBezTo>
                  <a:cubicBezTo>
                    <a:pt x="2367" y="4976"/>
                    <a:pt x="2254" y="4926"/>
                    <a:pt x="2300" y="5075"/>
                  </a:cubicBezTo>
                  <a:cubicBezTo>
                    <a:pt x="2289" y="5058"/>
                    <a:pt x="2271" y="5034"/>
                    <a:pt x="2263" y="5016"/>
                  </a:cubicBezTo>
                  <a:cubicBezTo>
                    <a:pt x="2265" y="5110"/>
                    <a:pt x="2455" y="5147"/>
                    <a:pt x="2516" y="5195"/>
                  </a:cubicBezTo>
                  <a:cubicBezTo>
                    <a:pt x="2570" y="5237"/>
                    <a:pt x="2610" y="5248"/>
                    <a:pt x="2643" y="5346"/>
                  </a:cubicBezTo>
                  <a:cubicBezTo>
                    <a:pt x="2657" y="5388"/>
                    <a:pt x="2668" y="5399"/>
                    <a:pt x="2674" y="5450"/>
                  </a:cubicBezTo>
                  <a:cubicBezTo>
                    <a:pt x="2675" y="5456"/>
                    <a:pt x="2610" y="5450"/>
                    <a:pt x="2620" y="5493"/>
                  </a:cubicBezTo>
                  <a:cubicBezTo>
                    <a:pt x="2624" y="5511"/>
                    <a:pt x="2737" y="5612"/>
                    <a:pt x="2755" y="5633"/>
                  </a:cubicBezTo>
                  <a:cubicBezTo>
                    <a:pt x="2830" y="5723"/>
                    <a:pt x="2839" y="5718"/>
                    <a:pt x="2934" y="5724"/>
                  </a:cubicBezTo>
                  <a:cubicBezTo>
                    <a:pt x="3011" y="5730"/>
                    <a:pt x="3037" y="5737"/>
                    <a:pt x="3079" y="5695"/>
                  </a:cubicBezTo>
                  <a:cubicBezTo>
                    <a:pt x="3093" y="5682"/>
                    <a:pt x="3122" y="5518"/>
                    <a:pt x="3195" y="5616"/>
                  </a:cubicBezTo>
                  <a:cubicBezTo>
                    <a:pt x="3225" y="5656"/>
                    <a:pt x="3192" y="5738"/>
                    <a:pt x="3208" y="5789"/>
                  </a:cubicBezTo>
                  <a:cubicBezTo>
                    <a:pt x="3227" y="5854"/>
                    <a:pt x="3275" y="5870"/>
                    <a:pt x="3296" y="5939"/>
                  </a:cubicBezTo>
                  <a:cubicBezTo>
                    <a:pt x="3319" y="6011"/>
                    <a:pt x="3348" y="6069"/>
                    <a:pt x="3321" y="6143"/>
                  </a:cubicBezTo>
                  <a:cubicBezTo>
                    <a:pt x="3306" y="6186"/>
                    <a:pt x="3255" y="6170"/>
                    <a:pt x="3239" y="6215"/>
                  </a:cubicBezTo>
                  <a:cubicBezTo>
                    <a:pt x="3222" y="6263"/>
                    <a:pt x="3243" y="6447"/>
                    <a:pt x="3254" y="6507"/>
                  </a:cubicBezTo>
                  <a:cubicBezTo>
                    <a:pt x="3268" y="6583"/>
                    <a:pt x="3310" y="6605"/>
                    <a:pt x="3327" y="6662"/>
                  </a:cubicBezTo>
                  <a:cubicBezTo>
                    <a:pt x="3359" y="6763"/>
                    <a:pt x="3320" y="6690"/>
                    <a:pt x="3312" y="6787"/>
                  </a:cubicBezTo>
                  <a:cubicBezTo>
                    <a:pt x="3298" y="6964"/>
                    <a:pt x="3492" y="7412"/>
                    <a:pt x="3372" y="7454"/>
                  </a:cubicBezTo>
                  <a:cubicBezTo>
                    <a:pt x="3260" y="7493"/>
                    <a:pt x="3364" y="7312"/>
                    <a:pt x="3285" y="7247"/>
                  </a:cubicBezTo>
                  <a:cubicBezTo>
                    <a:pt x="3211" y="7184"/>
                    <a:pt x="3299" y="7107"/>
                    <a:pt x="3164" y="7116"/>
                  </a:cubicBezTo>
                  <a:cubicBezTo>
                    <a:pt x="3207" y="7047"/>
                    <a:pt x="3263" y="7030"/>
                    <a:pt x="3311" y="7101"/>
                  </a:cubicBezTo>
                  <a:cubicBezTo>
                    <a:pt x="3294" y="7021"/>
                    <a:pt x="3312" y="6926"/>
                    <a:pt x="3261" y="6871"/>
                  </a:cubicBezTo>
                  <a:cubicBezTo>
                    <a:pt x="3224" y="6832"/>
                    <a:pt x="3149" y="6823"/>
                    <a:pt x="3204" y="6898"/>
                  </a:cubicBezTo>
                  <a:cubicBezTo>
                    <a:pt x="3100" y="6855"/>
                    <a:pt x="3169" y="6966"/>
                    <a:pt x="3117" y="6992"/>
                  </a:cubicBezTo>
                  <a:cubicBezTo>
                    <a:pt x="3070" y="7014"/>
                    <a:pt x="2998" y="6953"/>
                    <a:pt x="2949" y="6973"/>
                  </a:cubicBezTo>
                  <a:cubicBezTo>
                    <a:pt x="2838" y="7018"/>
                    <a:pt x="2742" y="7159"/>
                    <a:pt x="2665" y="7298"/>
                  </a:cubicBezTo>
                  <a:cubicBezTo>
                    <a:pt x="2588" y="7435"/>
                    <a:pt x="2525" y="7553"/>
                    <a:pt x="2411" y="7627"/>
                  </a:cubicBezTo>
                  <a:cubicBezTo>
                    <a:pt x="2385" y="7645"/>
                    <a:pt x="2247" y="7714"/>
                    <a:pt x="2236" y="7649"/>
                  </a:cubicBezTo>
                  <a:cubicBezTo>
                    <a:pt x="2222" y="7570"/>
                    <a:pt x="2411" y="7508"/>
                    <a:pt x="2440" y="7484"/>
                  </a:cubicBezTo>
                  <a:cubicBezTo>
                    <a:pt x="2557" y="7394"/>
                    <a:pt x="2569" y="7168"/>
                    <a:pt x="2664" y="7039"/>
                  </a:cubicBezTo>
                  <a:cubicBezTo>
                    <a:pt x="2696" y="6996"/>
                    <a:pt x="2775" y="6955"/>
                    <a:pt x="2810" y="6948"/>
                  </a:cubicBezTo>
                  <a:cubicBezTo>
                    <a:pt x="2868" y="6936"/>
                    <a:pt x="2930" y="7011"/>
                    <a:pt x="2918" y="6875"/>
                  </a:cubicBezTo>
                  <a:cubicBezTo>
                    <a:pt x="3022" y="6937"/>
                    <a:pt x="2908" y="6827"/>
                    <a:pt x="2914" y="6810"/>
                  </a:cubicBezTo>
                  <a:cubicBezTo>
                    <a:pt x="2943" y="6725"/>
                    <a:pt x="3038" y="6806"/>
                    <a:pt x="3053" y="6677"/>
                  </a:cubicBezTo>
                  <a:cubicBezTo>
                    <a:pt x="3043" y="6683"/>
                    <a:pt x="3030" y="6690"/>
                    <a:pt x="3017" y="6701"/>
                  </a:cubicBezTo>
                  <a:cubicBezTo>
                    <a:pt x="2986" y="6581"/>
                    <a:pt x="3113" y="6640"/>
                    <a:pt x="3160" y="6627"/>
                  </a:cubicBezTo>
                  <a:cubicBezTo>
                    <a:pt x="3305" y="6588"/>
                    <a:pt x="3205" y="6558"/>
                    <a:pt x="3167" y="6462"/>
                  </a:cubicBezTo>
                  <a:cubicBezTo>
                    <a:pt x="3125" y="6355"/>
                    <a:pt x="3161" y="6290"/>
                    <a:pt x="3057" y="6243"/>
                  </a:cubicBezTo>
                  <a:cubicBezTo>
                    <a:pt x="3018" y="6225"/>
                    <a:pt x="2987" y="6290"/>
                    <a:pt x="2952" y="6232"/>
                  </a:cubicBezTo>
                  <a:cubicBezTo>
                    <a:pt x="2935" y="6205"/>
                    <a:pt x="2894" y="6199"/>
                    <a:pt x="2871" y="6187"/>
                  </a:cubicBezTo>
                  <a:cubicBezTo>
                    <a:pt x="2726" y="6118"/>
                    <a:pt x="2593" y="5915"/>
                    <a:pt x="2464" y="5761"/>
                  </a:cubicBezTo>
                  <a:cubicBezTo>
                    <a:pt x="2341" y="5614"/>
                    <a:pt x="2247" y="5462"/>
                    <a:pt x="2154" y="5272"/>
                  </a:cubicBezTo>
                  <a:cubicBezTo>
                    <a:pt x="2047" y="5053"/>
                    <a:pt x="1995" y="4831"/>
                    <a:pt x="1959" y="4566"/>
                  </a:cubicBezTo>
                  <a:cubicBezTo>
                    <a:pt x="1920" y="4273"/>
                    <a:pt x="2061" y="4085"/>
                    <a:pt x="1881" y="3836"/>
                  </a:cubicBezTo>
                  <a:cubicBezTo>
                    <a:pt x="1730" y="3626"/>
                    <a:pt x="1606" y="3539"/>
                    <a:pt x="1594" y="3216"/>
                  </a:cubicBezTo>
                  <a:cubicBezTo>
                    <a:pt x="1587" y="2994"/>
                    <a:pt x="1645" y="2805"/>
                    <a:pt x="1675" y="2589"/>
                  </a:cubicBezTo>
                  <a:cubicBezTo>
                    <a:pt x="1735" y="2144"/>
                    <a:pt x="1728" y="1660"/>
                    <a:pt x="1903" y="1243"/>
                  </a:cubicBezTo>
                  <a:cubicBezTo>
                    <a:pt x="1964" y="1096"/>
                    <a:pt x="2198" y="796"/>
                    <a:pt x="2157" y="600"/>
                  </a:cubicBezTo>
                  <a:cubicBezTo>
                    <a:pt x="2106" y="354"/>
                    <a:pt x="1840" y="463"/>
                    <a:pt x="1716" y="474"/>
                  </a:cubicBezTo>
                  <a:cubicBezTo>
                    <a:pt x="1533" y="491"/>
                    <a:pt x="1364" y="494"/>
                    <a:pt x="1195" y="603"/>
                  </a:cubicBezTo>
                  <a:cubicBezTo>
                    <a:pt x="1027" y="712"/>
                    <a:pt x="842" y="883"/>
                    <a:pt x="714" y="1076"/>
                  </a:cubicBezTo>
                  <a:cubicBezTo>
                    <a:pt x="589" y="1262"/>
                    <a:pt x="490" y="1487"/>
                    <a:pt x="414" y="1713"/>
                  </a:cubicBezTo>
                  <a:cubicBezTo>
                    <a:pt x="378" y="1822"/>
                    <a:pt x="343" y="1921"/>
                    <a:pt x="307" y="2042"/>
                  </a:cubicBezTo>
                  <a:cubicBezTo>
                    <a:pt x="254" y="2222"/>
                    <a:pt x="291" y="2202"/>
                    <a:pt x="396" y="2286"/>
                  </a:cubicBezTo>
                  <a:cubicBezTo>
                    <a:pt x="333" y="2289"/>
                    <a:pt x="261" y="2245"/>
                    <a:pt x="218" y="2316"/>
                  </a:cubicBezTo>
                  <a:cubicBezTo>
                    <a:pt x="169" y="2398"/>
                    <a:pt x="206" y="2489"/>
                    <a:pt x="275" y="2489"/>
                  </a:cubicBezTo>
                  <a:cubicBezTo>
                    <a:pt x="167" y="2529"/>
                    <a:pt x="193" y="2584"/>
                    <a:pt x="173" y="2696"/>
                  </a:cubicBezTo>
                  <a:cubicBezTo>
                    <a:pt x="152" y="2815"/>
                    <a:pt x="86" y="2939"/>
                    <a:pt x="173" y="3043"/>
                  </a:cubicBezTo>
                  <a:cubicBezTo>
                    <a:pt x="88" y="3047"/>
                    <a:pt x="123" y="3168"/>
                    <a:pt x="146" y="3243"/>
                  </a:cubicBezTo>
                  <a:cubicBezTo>
                    <a:pt x="179" y="3347"/>
                    <a:pt x="117" y="3452"/>
                    <a:pt x="143" y="3532"/>
                  </a:cubicBezTo>
                  <a:cubicBezTo>
                    <a:pt x="158" y="3575"/>
                    <a:pt x="292" y="3609"/>
                    <a:pt x="227" y="3693"/>
                  </a:cubicBezTo>
                  <a:cubicBezTo>
                    <a:pt x="201" y="3727"/>
                    <a:pt x="108" y="3649"/>
                    <a:pt x="70" y="3650"/>
                  </a:cubicBezTo>
                  <a:cubicBezTo>
                    <a:pt x="100" y="3836"/>
                    <a:pt x="161" y="3939"/>
                    <a:pt x="98" y="4072"/>
                  </a:cubicBezTo>
                  <a:cubicBezTo>
                    <a:pt x="97" y="4075"/>
                    <a:pt x="46" y="4073"/>
                    <a:pt x="28" y="4135"/>
                  </a:cubicBezTo>
                  <a:cubicBezTo>
                    <a:pt x="18" y="4167"/>
                    <a:pt x="25" y="4234"/>
                    <a:pt x="28" y="4268"/>
                  </a:cubicBezTo>
                  <a:cubicBezTo>
                    <a:pt x="33" y="4338"/>
                    <a:pt x="59" y="4407"/>
                    <a:pt x="48" y="4480"/>
                  </a:cubicBezTo>
                  <a:cubicBezTo>
                    <a:pt x="42" y="4517"/>
                    <a:pt x="2" y="4516"/>
                    <a:pt x="0" y="4560"/>
                  </a:cubicBezTo>
                  <a:cubicBezTo>
                    <a:pt x="-1" y="4612"/>
                    <a:pt x="44" y="4610"/>
                    <a:pt x="44" y="4646"/>
                  </a:cubicBezTo>
                  <a:cubicBezTo>
                    <a:pt x="44" y="4730"/>
                    <a:pt x="8" y="4802"/>
                    <a:pt x="11" y="4892"/>
                  </a:cubicBezTo>
                  <a:cubicBezTo>
                    <a:pt x="13" y="4972"/>
                    <a:pt x="42" y="5084"/>
                    <a:pt x="75" y="5150"/>
                  </a:cubicBezTo>
                  <a:cubicBezTo>
                    <a:pt x="148" y="5296"/>
                    <a:pt x="143" y="5162"/>
                    <a:pt x="198" y="5180"/>
                  </a:cubicBezTo>
                  <a:cubicBezTo>
                    <a:pt x="256" y="5199"/>
                    <a:pt x="266" y="5175"/>
                    <a:pt x="231" y="5277"/>
                  </a:cubicBezTo>
                  <a:cubicBezTo>
                    <a:pt x="202" y="5359"/>
                    <a:pt x="212" y="5280"/>
                    <a:pt x="180" y="5321"/>
                  </a:cubicBezTo>
                  <a:cubicBezTo>
                    <a:pt x="131" y="5382"/>
                    <a:pt x="76" y="5445"/>
                    <a:pt x="65" y="5526"/>
                  </a:cubicBezTo>
                  <a:cubicBezTo>
                    <a:pt x="57" y="5591"/>
                    <a:pt x="67" y="5726"/>
                    <a:pt x="65" y="5796"/>
                  </a:cubicBezTo>
                  <a:cubicBezTo>
                    <a:pt x="63" y="5884"/>
                    <a:pt x="36" y="5838"/>
                    <a:pt x="100" y="5943"/>
                  </a:cubicBezTo>
                  <a:cubicBezTo>
                    <a:pt x="130" y="5992"/>
                    <a:pt x="168" y="6060"/>
                    <a:pt x="193" y="6102"/>
                  </a:cubicBezTo>
                  <a:cubicBezTo>
                    <a:pt x="320" y="6325"/>
                    <a:pt x="164" y="6436"/>
                    <a:pt x="188" y="6664"/>
                  </a:cubicBezTo>
                  <a:cubicBezTo>
                    <a:pt x="195" y="6729"/>
                    <a:pt x="223" y="6837"/>
                    <a:pt x="228" y="6865"/>
                  </a:cubicBezTo>
                  <a:cubicBezTo>
                    <a:pt x="236" y="6921"/>
                    <a:pt x="244" y="6994"/>
                    <a:pt x="262" y="7044"/>
                  </a:cubicBezTo>
                  <a:cubicBezTo>
                    <a:pt x="318" y="7201"/>
                    <a:pt x="370" y="7300"/>
                    <a:pt x="497" y="7316"/>
                  </a:cubicBezTo>
                  <a:cubicBezTo>
                    <a:pt x="656" y="7336"/>
                    <a:pt x="801" y="7303"/>
                    <a:pt x="958" y="7320"/>
                  </a:cubicBezTo>
                  <a:cubicBezTo>
                    <a:pt x="1044" y="7330"/>
                    <a:pt x="1115" y="7335"/>
                    <a:pt x="1198" y="7322"/>
                  </a:cubicBezTo>
                  <a:cubicBezTo>
                    <a:pt x="1238" y="7316"/>
                    <a:pt x="1293" y="7304"/>
                    <a:pt x="1334" y="7303"/>
                  </a:cubicBezTo>
                  <a:cubicBezTo>
                    <a:pt x="1350" y="7303"/>
                    <a:pt x="1420" y="7335"/>
                    <a:pt x="1426" y="7331"/>
                  </a:cubicBezTo>
                  <a:cubicBezTo>
                    <a:pt x="1460" y="7309"/>
                    <a:pt x="1465" y="7113"/>
                    <a:pt x="1539" y="7157"/>
                  </a:cubicBezTo>
                  <a:cubicBezTo>
                    <a:pt x="1582" y="7181"/>
                    <a:pt x="1549" y="7292"/>
                    <a:pt x="1562" y="7331"/>
                  </a:cubicBezTo>
                  <a:cubicBezTo>
                    <a:pt x="1583" y="7394"/>
                    <a:pt x="1640" y="7443"/>
                    <a:pt x="1681" y="7478"/>
                  </a:cubicBezTo>
                  <a:cubicBezTo>
                    <a:pt x="1815" y="7591"/>
                    <a:pt x="1987" y="7592"/>
                    <a:pt x="2116" y="7680"/>
                  </a:cubicBezTo>
                  <a:cubicBezTo>
                    <a:pt x="2026" y="7733"/>
                    <a:pt x="2012" y="7659"/>
                    <a:pt x="1941" y="7764"/>
                  </a:cubicBezTo>
                  <a:cubicBezTo>
                    <a:pt x="1906" y="7815"/>
                    <a:pt x="1949" y="7820"/>
                    <a:pt x="1892" y="7865"/>
                  </a:cubicBezTo>
                  <a:cubicBezTo>
                    <a:pt x="1868" y="7884"/>
                    <a:pt x="1815" y="7880"/>
                    <a:pt x="1788" y="7887"/>
                  </a:cubicBezTo>
                  <a:cubicBezTo>
                    <a:pt x="1644" y="7922"/>
                    <a:pt x="1500" y="8079"/>
                    <a:pt x="1356" y="7953"/>
                  </a:cubicBezTo>
                  <a:cubicBezTo>
                    <a:pt x="1317" y="7919"/>
                    <a:pt x="1314" y="7860"/>
                    <a:pt x="1258" y="7829"/>
                  </a:cubicBezTo>
                  <a:cubicBezTo>
                    <a:pt x="1246" y="7822"/>
                    <a:pt x="1163" y="7799"/>
                    <a:pt x="1151" y="7802"/>
                  </a:cubicBezTo>
                  <a:cubicBezTo>
                    <a:pt x="1080" y="7820"/>
                    <a:pt x="1029" y="7865"/>
                    <a:pt x="956" y="7885"/>
                  </a:cubicBezTo>
                  <a:cubicBezTo>
                    <a:pt x="844" y="7918"/>
                    <a:pt x="902" y="7920"/>
                    <a:pt x="807" y="7855"/>
                  </a:cubicBezTo>
                  <a:cubicBezTo>
                    <a:pt x="756" y="7821"/>
                    <a:pt x="675" y="7816"/>
                    <a:pt x="621" y="7839"/>
                  </a:cubicBezTo>
                  <a:cubicBezTo>
                    <a:pt x="676" y="7925"/>
                    <a:pt x="781" y="7988"/>
                    <a:pt x="828" y="8064"/>
                  </a:cubicBezTo>
                  <a:cubicBezTo>
                    <a:pt x="902" y="8187"/>
                    <a:pt x="829" y="8117"/>
                    <a:pt x="784" y="8209"/>
                  </a:cubicBezTo>
                  <a:cubicBezTo>
                    <a:pt x="741" y="8298"/>
                    <a:pt x="751" y="8377"/>
                    <a:pt x="813" y="8480"/>
                  </a:cubicBezTo>
                  <a:cubicBezTo>
                    <a:pt x="890" y="8605"/>
                    <a:pt x="997" y="8680"/>
                    <a:pt x="1058" y="8820"/>
                  </a:cubicBezTo>
                  <a:cubicBezTo>
                    <a:pt x="1140" y="9009"/>
                    <a:pt x="1214" y="9220"/>
                    <a:pt x="1379" y="9261"/>
                  </a:cubicBezTo>
                  <a:cubicBezTo>
                    <a:pt x="1445" y="9278"/>
                    <a:pt x="1493" y="9228"/>
                    <a:pt x="1535" y="9276"/>
                  </a:cubicBezTo>
                  <a:cubicBezTo>
                    <a:pt x="1579" y="9325"/>
                    <a:pt x="1655" y="9316"/>
                    <a:pt x="1706" y="9351"/>
                  </a:cubicBezTo>
                  <a:cubicBezTo>
                    <a:pt x="1757" y="9384"/>
                    <a:pt x="1915" y="9495"/>
                    <a:pt x="1796" y="9522"/>
                  </a:cubicBezTo>
                  <a:cubicBezTo>
                    <a:pt x="1769" y="9528"/>
                    <a:pt x="1738" y="9467"/>
                    <a:pt x="1706" y="9466"/>
                  </a:cubicBezTo>
                  <a:cubicBezTo>
                    <a:pt x="1688" y="9465"/>
                    <a:pt x="1592" y="9496"/>
                    <a:pt x="1645" y="9515"/>
                  </a:cubicBezTo>
                  <a:cubicBezTo>
                    <a:pt x="1678" y="9526"/>
                    <a:pt x="1746" y="9537"/>
                    <a:pt x="1769" y="9549"/>
                  </a:cubicBezTo>
                  <a:cubicBezTo>
                    <a:pt x="1802" y="9566"/>
                    <a:pt x="1846" y="9637"/>
                    <a:pt x="1880" y="9646"/>
                  </a:cubicBezTo>
                  <a:cubicBezTo>
                    <a:pt x="1927" y="9657"/>
                    <a:pt x="1968" y="9625"/>
                    <a:pt x="1993" y="9566"/>
                  </a:cubicBezTo>
                  <a:cubicBezTo>
                    <a:pt x="2030" y="9483"/>
                    <a:pt x="2019" y="9547"/>
                    <a:pt x="1991" y="9484"/>
                  </a:cubicBezTo>
                  <a:cubicBezTo>
                    <a:pt x="1984" y="9470"/>
                    <a:pt x="1859" y="9494"/>
                    <a:pt x="1932" y="9415"/>
                  </a:cubicBezTo>
                  <a:cubicBezTo>
                    <a:pt x="1928" y="9419"/>
                    <a:pt x="2030" y="9409"/>
                    <a:pt x="2036" y="9409"/>
                  </a:cubicBezTo>
                  <a:cubicBezTo>
                    <a:pt x="2113" y="9405"/>
                    <a:pt x="2193" y="9402"/>
                    <a:pt x="2270" y="9405"/>
                  </a:cubicBezTo>
                  <a:cubicBezTo>
                    <a:pt x="2366" y="9408"/>
                    <a:pt x="2416" y="9446"/>
                    <a:pt x="2390" y="9298"/>
                  </a:cubicBezTo>
                  <a:cubicBezTo>
                    <a:pt x="2372" y="9197"/>
                    <a:pt x="2286" y="9122"/>
                    <a:pt x="2228" y="9216"/>
                  </a:cubicBezTo>
                  <a:cubicBezTo>
                    <a:pt x="2234" y="9163"/>
                    <a:pt x="2257" y="9028"/>
                    <a:pt x="2297" y="8981"/>
                  </a:cubicBezTo>
                  <a:cubicBezTo>
                    <a:pt x="2378" y="8882"/>
                    <a:pt x="2323" y="9074"/>
                    <a:pt x="2414" y="9070"/>
                  </a:cubicBezTo>
                  <a:cubicBezTo>
                    <a:pt x="2357" y="9175"/>
                    <a:pt x="2464" y="9101"/>
                    <a:pt x="2466" y="9108"/>
                  </a:cubicBezTo>
                  <a:cubicBezTo>
                    <a:pt x="2476" y="9131"/>
                    <a:pt x="2481" y="9089"/>
                    <a:pt x="2484" y="9150"/>
                  </a:cubicBezTo>
                  <a:cubicBezTo>
                    <a:pt x="2486" y="9171"/>
                    <a:pt x="2426" y="9180"/>
                    <a:pt x="2432" y="9216"/>
                  </a:cubicBezTo>
                  <a:cubicBezTo>
                    <a:pt x="2447" y="9306"/>
                    <a:pt x="2500" y="9271"/>
                    <a:pt x="2543" y="9241"/>
                  </a:cubicBezTo>
                  <a:cubicBezTo>
                    <a:pt x="2556" y="9232"/>
                    <a:pt x="2564" y="9230"/>
                    <a:pt x="2569" y="9228"/>
                  </a:cubicBezTo>
                  <a:cubicBezTo>
                    <a:pt x="2568" y="9221"/>
                    <a:pt x="2569" y="9210"/>
                    <a:pt x="2573" y="9188"/>
                  </a:cubicBezTo>
                  <a:cubicBezTo>
                    <a:pt x="2585" y="9135"/>
                    <a:pt x="2558" y="9064"/>
                    <a:pt x="2592" y="8990"/>
                  </a:cubicBezTo>
                  <a:cubicBezTo>
                    <a:pt x="2633" y="8900"/>
                    <a:pt x="2753" y="8831"/>
                    <a:pt x="2674" y="8713"/>
                  </a:cubicBezTo>
                  <a:cubicBezTo>
                    <a:pt x="2792" y="8768"/>
                    <a:pt x="2689" y="8882"/>
                    <a:pt x="2656" y="8955"/>
                  </a:cubicBezTo>
                  <a:cubicBezTo>
                    <a:pt x="2605" y="9071"/>
                    <a:pt x="2617" y="9113"/>
                    <a:pt x="2641" y="9236"/>
                  </a:cubicBezTo>
                  <a:cubicBezTo>
                    <a:pt x="2679" y="9434"/>
                    <a:pt x="2766" y="9576"/>
                    <a:pt x="2898" y="9689"/>
                  </a:cubicBezTo>
                  <a:cubicBezTo>
                    <a:pt x="2969" y="9750"/>
                    <a:pt x="3146" y="9872"/>
                    <a:pt x="3229" y="9868"/>
                  </a:cubicBezTo>
                  <a:cubicBezTo>
                    <a:pt x="3299" y="9866"/>
                    <a:pt x="3339" y="9803"/>
                    <a:pt x="3415" y="9792"/>
                  </a:cubicBezTo>
                  <a:cubicBezTo>
                    <a:pt x="3465" y="9784"/>
                    <a:pt x="3515" y="9808"/>
                    <a:pt x="3561" y="9787"/>
                  </a:cubicBezTo>
                  <a:cubicBezTo>
                    <a:pt x="3505" y="9714"/>
                    <a:pt x="3370" y="9641"/>
                    <a:pt x="3290" y="9663"/>
                  </a:cubicBezTo>
                  <a:cubicBezTo>
                    <a:pt x="3245" y="9675"/>
                    <a:pt x="3182" y="9789"/>
                    <a:pt x="3160" y="9731"/>
                  </a:cubicBezTo>
                  <a:cubicBezTo>
                    <a:pt x="3131" y="9652"/>
                    <a:pt x="3199" y="9616"/>
                    <a:pt x="3248" y="9593"/>
                  </a:cubicBezTo>
                  <a:cubicBezTo>
                    <a:pt x="3331" y="9554"/>
                    <a:pt x="3426" y="9553"/>
                    <a:pt x="3506" y="9544"/>
                  </a:cubicBezTo>
                  <a:cubicBezTo>
                    <a:pt x="3578" y="9534"/>
                    <a:pt x="3656" y="9568"/>
                    <a:pt x="3722" y="9521"/>
                  </a:cubicBezTo>
                  <a:cubicBezTo>
                    <a:pt x="3721" y="9521"/>
                    <a:pt x="3779" y="9344"/>
                    <a:pt x="3777" y="9439"/>
                  </a:cubicBezTo>
                  <a:cubicBezTo>
                    <a:pt x="3774" y="9506"/>
                    <a:pt x="3738" y="9523"/>
                    <a:pt x="3788" y="9589"/>
                  </a:cubicBezTo>
                  <a:cubicBezTo>
                    <a:pt x="3840" y="9659"/>
                    <a:pt x="3936" y="9627"/>
                    <a:pt x="3993" y="9620"/>
                  </a:cubicBezTo>
                  <a:cubicBezTo>
                    <a:pt x="4089" y="9607"/>
                    <a:pt x="4268" y="9571"/>
                    <a:pt x="4407" y="9571"/>
                  </a:cubicBezTo>
                  <a:cubicBezTo>
                    <a:pt x="4494" y="9570"/>
                    <a:pt x="4552" y="9543"/>
                    <a:pt x="4624" y="9471"/>
                  </a:cubicBezTo>
                  <a:cubicBezTo>
                    <a:pt x="4672" y="9423"/>
                    <a:pt x="4693" y="9345"/>
                    <a:pt x="4733" y="9312"/>
                  </a:cubicBezTo>
                  <a:cubicBezTo>
                    <a:pt x="4789" y="9264"/>
                    <a:pt x="4871" y="9305"/>
                    <a:pt x="4932" y="9342"/>
                  </a:cubicBezTo>
                  <a:cubicBezTo>
                    <a:pt x="4976" y="9370"/>
                    <a:pt x="5084" y="9482"/>
                    <a:pt x="5084" y="9395"/>
                  </a:cubicBezTo>
                  <a:cubicBezTo>
                    <a:pt x="5144" y="9432"/>
                    <a:pt x="5224" y="9541"/>
                    <a:pt x="5294" y="9534"/>
                  </a:cubicBezTo>
                  <a:cubicBezTo>
                    <a:pt x="5314" y="9532"/>
                    <a:pt x="5307" y="9474"/>
                    <a:pt x="5350" y="9472"/>
                  </a:cubicBezTo>
                  <a:cubicBezTo>
                    <a:pt x="5380" y="9471"/>
                    <a:pt x="5413" y="9482"/>
                    <a:pt x="5438" y="9509"/>
                  </a:cubicBezTo>
                  <a:cubicBezTo>
                    <a:pt x="5418" y="9509"/>
                    <a:pt x="5396" y="9526"/>
                    <a:pt x="5379" y="9531"/>
                  </a:cubicBezTo>
                  <a:cubicBezTo>
                    <a:pt x="5398" y="9557"/>
                    <a:pt x="5391" y="9554"/>
                    <a:pt x="5407" y="9586"/>
                  </a:cubicBezTo>
                  <a:cubicBezTo>
                    <a:pt x="5601" y="9614"/>
                    <a:pt x="5421" y="9476"/>
                    <a:pt x="5532" y="9372"/>
                  </a:cubicBezTo>
                  <a:cubicBezTo>
                    <a:pt x="5557" y="9348"/>
                    <a:pt x="5592" y="9383"/>
                    <a:pt x="5639" y="9360"/>
                  </a:cubicBezTo>
                  <a:cubicBezTo>
                    <a:pt x="5665" y="9347"/>
                    <a:pt x="5603" y="9224"/>
                    <a:pt x="5697" y="9295"/>
                  </a:cubicBezTo>
                  <a:cubicBezTo>
                    <a:pt x="5681" y="9265"/>
                    <a:pt x="5685" y="9149"/>
                    <a:pt x="5684" y="9149"/>
                  </a:cubicBezTo>
                  <a:cubicBezTo>
                    <a:pt x="5647" y="9087"/>
                    <a:pt x="5592" y="9119"/>
                    <a:pt x="5543" y="9085"/>
                  </a:cubicBezTo>
                  <a:cubicBezTo>
                    <a:pt x="5452" y="9021"/>
                    <a:pt x="5396" y="8913"/>
                    <a:pt x="5294" y="8863"/>
                  </a:cubicBezTo>
                  <a:cubicBezTo>
                    <a:pt x="5195" y="8816"/>
                    <a:pt x="5091" y="8787"/>
                    <a:pt x="4986" y="8756"/>
                  </a:cubicBezTo>
                  <a:cubicBezTo>
                    <a:pt x="4886" y="8726"/>
                    <a:pt x="4813" y="8649"/>
                    <a:pt x="4723" y="8563"/>
                  </a:cubicBezTo>
                  <a:cubicBezTo>
                    <a:pt x="4783" y="8541"/>
                    <a:pt x="4854" y="8631"/>
                    <a:pt x="4910" y="8659"/>
                  </a:cubicBezTo>
                  <a:cubicBezTo>
                    <a:pt x="4968" y="8687"/>
                    <a:pt x="5036" y="8717"/>
                    <a:pt x="5092" y="8737"/>
                  </a:cubicBezTo>
                  <a:cubicBezTo>
                    <a:pt x="5230" y="8787"/>
                    <a:pt x="5319" y="8775"/>
                    <a:pt x="5447" y="8885"/>
                  </a:cubicBezTo>
                  <a:cubicBezTo>
                    <a:pt x="5500" y="8930"/>
                    <a:pt x="5574" y="9042"/>
                    <a:pt x="5638" y="9058"/>
                  </a:cubicBezTo>
                  <a:cubicBezTo>
                    <a:pt x="5674" y="9067"/>
                    <a:pt x="5709" y="9040"/>
                    <a:pt x="5739" y="9038"/>
                  </a:cubicBezTo>
                  <a:cubicBezTo>
                    <a:pt x="5732" y="9050"/>
                    <a:pt x="5835" y="9120"/>
                    <a:pt x="5811" y="9100"/>
                  </a:cubicBezTo>
                  <a:cubicBezTo>
                    <a:pt x="5878" y="9156"/>
                    <a:pt x="5965" y="9204"/>
                    <a:pt x="6030" y="9260"/>
                  </a:cubicBezTo>
                  <a:cubicBezTo>
                    <a:pt x="6098" y="9319"/>
                    <a:pt x="6149" y="9416"/>
                    <a:pt x="6235" y="9430"/>
                  </a:cubicBezTo>
                  <a:cubicBezTo>
                    <a:pt x="6257" y="9434"/>
                    <a:pt x="6298" y="9473"/>
                    <a:pt x="6322" y="9372"/>
                  </a:cubicBezTo>
                  <a:cubicBezTo>
                    <a:pt x="6342" y="9288"/>
                    <a:pt x="6321" y="9296"/>
                    <a:pt x="6282" y="9234"/>
                  </a:cubicBezTo>
                  <a:cubicBezTo>
                    <a:pt x="6220" y="9138"/>
                    <a:pt x="6124" y="9104"/>
                    <a:pt x="6055" y="9028"/>
                  </a:cubicBezTo>
                  <a:cubicBezTo>
                    <a:pt x="6003" y="8971"/>
                    <a:pt x="5948" y="8801"/>
                    <a:pt x="5864" y="8813"/>
                  </a:cubicBezTo>
                  <a:cubicBezTo>
                    <a:pt x="5842" y="8816"/>
                    <a:pt x="5842" y="8913"/>
                    <a:pt x="5819" y="8914"/>
                  </a:cubicBezTo>
                  <a:cubicBezTo>
                    <a:pt x="5793" y="8916"/>
                    <a:pt x="5783" y="8853"/>
                    <a:pt x="5755" y="8841"/>
                  </a:cubicBezTo>
                  <a:cubicBezTo>
                    <a:pt x="5706" y="8819"/>
                    <a:pt x="5551" y="8824"/>
                    <a:pt x="5567" y="8698"/>
                  </a:cubicBezTo>
                  <a:cubicBezTo>
                    <a:pt x="5571" y="8670"/>
                    <a:pt x="5767" y="8690"/>
                    <a:pt x="5801" y="8682"/>
                  </a:cubicBezTo>
                  <a:cubicBezTo>
                    <a:pt x="5891" y="8662"/>
                    <a:pt x="5957" y="8583"/>
                    <a:pt x="6027" y="8656"/>
                  </a:cubicBezTo>
                  <a:cubicBezTo>
                    <a:pt x="6044" y="8675"/>
                    <a:pt x="6110" y="8632"/>
                    <a:pt x="6133" y="8627"/>
                  </a:cubicBezTo>
                  <a:cubicBezTo>
                    <a:pt x="6164" y="8619"/>
                    <a:pt x="6210" y="8634"/>
                    <a:pt x="6245" y="8630"/>
                  </a:cubicBezTo>
                  <a:cubicBezTo>
                    <a:pt x="6297" y="8623"/>
                    <a:pt x="6308" y="8571"/>
                    <a:pt x="6367" y="8621"/>
                  </a:cubicBezTo>
                  <a:cubicBezTo>
                    <a:pt x="6385" y="8636"/>
                    <a:pt x="6437" y="8683"/>
                    <a:pt x="6461" y="8679"/>
                  </a:cubicBezTo>
                  <a:cubicBezTo>
                    <a:pt x="6506" y="8672"/>
                    <a:pt x="6503" y="8599"/>
                    <a:pt x="6572" y="8590"/>
                  </a:cubicBezTo>
                  <a:cubicBezTo>
                    <a:pt x="6640" y="8581"/>
                    <a:pt x="6625" y="8589"/>
                    <a:pt x="6664" y="8661"/>
                  </a:cubicBezTo>
                  <a:cubicBezTo>
                    <a:pt x="6715" y="8758"/>
                    <a:pt x="6690" y="8591"/>
                    <a:pt x="6722" y="8594"/>
                  </a:cubicBezTo>
                  <a:cubicBezTo>
                    <a:pt x="6815" y="8604"/>
                    <a:pt x="6843" y="8834"/>
                    <a:pt x="6937" y="8825"/>
                  </a:cubicBezTo>
                  <a:cubicBezTo>
                    <a:pt x="6990" y="8819"/>
                    <a:pt x="7069" y="8679"/>
                    <a:pt x="7135" y="8649"/>
                  </a:cubicBezTo>
                  <a:cubicBezTo>
                    <a:pt x="7213" y="8613"/>
                    <a:pt x="7277" y="8581"/>
                    <a:pt x="7352" y="8531"/>
                  </a:cubicBezTo>
                  <a:cubicBezTo>
                    <a:pt x="7417" y="8487"/>
                    <a:pt x="7453" y="8533"/>
                    <a:pt x="7460" y="8374"/>
                  </a:cubicBezTo>
                  <a:cubicBezTo>
                    <a:pt x="7464" y="8278"/>
                    <a:pt x="7439" y="8190"/>
                    <a:pt x="7404" y="8109"/>
                  </a:cubicBezTo>
                  <a:cubicBezTo>
                    <a:pt x="7333" y="7943"/>
                    <a:pt x="7234" y="7653"/>
                    <a:pt x="7098" y="7545"/>
                  </a:cubicBezTo>
                  <a:cubicBezTo>
                    <a:pt x="6980" y="7452"/>
                    <a:pt x="7043" y="7599"/>
                    <a:pt x="6952" y="7609"/>
                  </a:cubicBezTo>
                  <a:cubicBezTo>
                    <a:pt x="6903" y="7614"/>
                    <a:pt x="6805" y="7425"/>
                    <a:pt x="6791" y="7583"/>
                  </a:cubicBezTo>
                  <a:cubicBezTo>
                    <a:pt x="6760" y="7551"/>
                    <a:pt x="6693" y="7550"/>
                    <a:pt x="6674" y="7499"/>
                  </a:cubicBezTo>
                  <a:cubicBezTo>
                    <a:pt x="6634" y="7387"/>
                    <a:pt x="6723" y="7390"/>
                    <a:pt x="6732" y="7366"/>
                  </a:cubicBezTo>
                  <a:cubicBezTo>
                    <a:pt x="6720" y="7397"/>
                    <a:pt x="6757" y="7345"/>
                    <a:pt x="6759" y="7340"/>
                  </a:cubicBezTo>
                  <a:cubicBezTo>
                    <a:pt x="6768" y="7321"/>
                    <a:pt x="6719" y="7286"/>
                    <a:pt x="6737" y="7241"/>
                  </a:cubicBezTo>
                  <a:cubicBezTo>
                    <a:pt x="6719" y="7286"/>
                    <a:pt x="6801" y="7227"/>
                    <a:pt x="6790" y="7236"/>
                  </a:cubicBezTo>
                  <a:cubicBezTo>
                    <a:pt x="6789" y="7266"/>
                    <a:pt x="6795" y="7317"/>
                    <a:pt x="6794" y="7321"/>
                  </a:cubicBezTo>
                  <a:cubicBezTo>
                    <a:pt x="6907" y="7403"/>
                    <a:pt x="6891" y="7312"/>
                    <a:pt x="6877" y="7178"/>
                  </a:cubicBezTo>
                  <a:cubicBezTo>
                    <a:pt x="6871" y="7130"/>
                    <a:pt x="6909" y="6881"/>
                    <a:pt x="6887" y="6850"/>
                  </a:cubicBezTo>
                  <a:cubicBezTo>
                    <a:pt x="6852" y="6801"/>
                    <a:pt x="6833" y="6931"/>
                    <a:pt x="6800" y="6876"/>
                  </a:cubicBezTo>
                  <a:cubicBezTo>
                    <a:pt x="6793" y="6865"/>
                    <a:pt x="6820" y="6719"/>
                    <a:pt x="6828" y="6714"/>
                  </a:cubicBezTo>
                  <a:cubicBezTo>
                    <a:pt x="6879" y="6676"/>
                    <a:pt x="6927" y="6893"/>
                    <a:pt x="6961" y="6757"/>
                  </a:cubicBezTo>
                  <a:cubicBezTo>
                    <a:pt x="7006" y="6803"/>
                    <a:pt x="7034" y="6876"/>
                    <a:pt x="7077" y="6927"/>
                  </a:cubicBezTo>
                  <a:cubicBezTo>
                    <a:pt x="6982" y="6940"/>
                    <a:pt x="6995" y="6794"/>
                    <a:pt x="6927" y="6972"/>
                  </a:cubicBezTo>
                  <a:cubicBezTo>
                    <a:pt x="6937" y="6971"/>
                    <a:pt x="6976" y="6979"/>
                    <a:pt x="6991" y="6972"/>
                  </a:cubicBezTo>
                  <a:cubicBezTo>
                    <a:pt x="6949" y="7048"/>
                    <a:pt x="6854" y="7036"/>
                    <a:pt x="6921" y="7158"/>
                  </a:cubicBezTo>
                  <a:cubicBezTo>
                    <a:pt x="6960" y="7230"/>
                    <a:pt x="7019" y="7238"/>
                    <a:pt x="7079" y="7298"/>
                  </a:cubicBezTo>
                  <a:cubicBezTo>
                    <a:pt x="7053" y="7254"/>
                    <a:pt x="7036" y="7203"/>
                    <a:pt x="7039" y="7148"/>
                  </a:cubicBezTo>
                  <a:cubicBezTo>
                    <a:pt x="7062" y="7204"/>
                    <a:pt x="7087" y="7179"/>
                    <a:pt x="7107" y="7193"/>
                  </a:cubicBezTo>
                  <a:cubicBezTo>
                    <a:pt x="7125" y="7206"/>
                    <a:pt x="7141" y="7234"/>
                    <a:pt x="7174" y="7275"/>
                  </a:cubicBezTo>
                  <a:cubicBezTo>
                    <a:pt x="7217" y="7329"/>
                    <a:pt x="7240" y="7408"/>
                    <a:pt x="7307" y="7447"/>
                  </a:cubicBezTo>
                  <a:cubicBezTo>
                    <a:pt x="7273" y="7349"/>
                    <a:pt x="7335" y="7264"/>
                    <a:pt x="7394" y="7348"/>
                  </a:cubicBezTo>
                  <a:cubicBezTo>
                    <a:pt x="7293" y="7415"/>
                    <a:pt x="7433" y="7623"/>
                    <a:pt x="7507" y="7647"/>
                  </a:cubicBezTo>
                  <a:cubicBezTo>
                    <a:pt x="7523" y="7653"/>
                    <a:pt x="7511" y="7566"/>
                    <a:pt x="7532" y="7563"/>
                  </a:cubicBezTo>
                  <a:cubicBezTo>
                    <a:pt x="7547" y="7561"/>
                    <a:pt x="7604" y="7621"/>
                    <a:pt x="7609" y="7615"/>
                  </a:cubicBezTo>
                  <a:cubicBezTo>
                    <a:pt x="7644" y="7568"/>
                    <a:pt x="7591" y="7496"/>
                    <a:pt x="7564" y="7476"/>
                  </a:cubicBezTo>
                  <a:cubicBezTo>
                    <a:pt x="7584" y="7471"/>
                    <a:pt x="7632" y="7506"/>
                    <a:pt x="7642" y="7500"/>
                  </a:cubicBezTo>
                  <a:cubicBezTo>
                    <a:pt x="7650" y="7496"/>
                    <a:pt x="7673" y="7466"/>
                    <a:pt x="7681" y="7461"/>
                  </a:cubicBezTo>
                  <a:cubicBezTo>
                    <a:pt x="7733" y="7436"/>
                    <a:pt x="7743" y="7385"/>
                    <a:pt x="7789" y="7371"/>
                  </a:cubicBezTo>
                  <a:cubicBezTo>
                    <a:pt x="7854" y="7494"/>
                    <a:pt x="7912" y="7528"/>
                    <a:pt x="7956" y="7688"/>
                  </a:cubicBezTo>
                  <a:cubicBezTo>
                    <a:pt x="8005" y="7863"/>
                    <a:pt x="8040" y="8044"/>
                    <a:pt x="8092" y="8217"/>
                  </a:cubicBezTo>
                  <a:cubicBezTo>
                    <a:pt x="8108" y="8267"/>
                    <a:pt x="8144" y="8473"/>
                    <a:pt x="8188" y="8493"/>
                  </a:cubicBezTo>
                  <a:cubicBezTo>
                    <a:pt x="8268" y="8528"/>
                    <a:pt x="8215" y="8364"/>
                    <a:pt x="8269" y="8354"/>
                  </a:cubicBezTo>
                  <a:cubicBezTo>
                    <a:pt x="8235" y="8293"/>
                    <a:pt x="8187" y="8290"/>
                    <a:pt x="8152" y="8324"/>
                  </a:cubicBezTo>
                  <a:cubicBezTo>
                    <a:pt x="8180" y="8290"/>
                    <a:pt x="8409" y="7839"/>
                    <a:pt x="8444" y="7865"/>
                  </a:cubicBezTo>
                  <a:cubicBezTo>
                    <a:pt x="8474" y="7886"/>
                    <a:pt x="8316" y="8095"/>
                    <a:pt x="8322" y="8147"/>
                  </a:cubicBezTo>
                  <a:cubicBezTo>
                    <a:pt x="8327" y="8182"/>
                    <a:pt x="8393" y="8219"/>
                    <a:pt x="8426" y="8193"/>
                  </a:cubicBezTo>
                  <a:cubicBezTo>
                    <a:pt x="8457" y="8170"/>
                    <a:pt x="8447" y="8092"/>
                    <a:pt x="8492" y="8066"/>
                  </a:cubicBezTo>
                  <a:cubicBezTo>
                    <a:pt x="8433" y="8241"/>
                    <a:pt x="8611" y="8149"/>
                    <a:pt x="8628" y="8046"/>
                  </a:cubicBezTo>
                  <a:cubicBezTo>
                    <a:pt x="8654" y="8126"/>
                    <a:pt x="8585" y="8132"/>
                    <a:pt x="8590" y="8178"/>
                  </a:cubicBezTo>
                  <a:cubicBezTo>
                    <a:pt x="8597" y="8249"/>
                    <a:pt x="8643" y="8245"/>
                    <a:pt x="8645" y="8249"/>
                  </a:cubicBezTo>
                  <a:cubicBezTo>
                    <a:pt x="8662" y="8278"/>
                    <a:pt x="8693" y="8243"/>
                    <a:pt x="8692" y="8350"/>
                  </a:cubicBezTo>
                  <a:cubicBezTo>
                    <a:pt x="8692" y="8397"/>
                    <a:pt x="8672" y="8428"/>
                    <a:pt x="8644" y="8447"/>
                  </a:cubicBezTo>
                  <a:cubicBezTo>
                    <a:pt x="8645" y="8427"/>
                    <a:pt x="8633" y="8392"/>
                    <a:pt x="8631" y="8380"/>
                  </a:cubicBezTo>
                  <a:cubicBezTo>
                    <a:pt x="8600" y="8403"/>
                    <a:pt x="8479" y="8532"/>
                    <a:pt x="8510" y="8603"/>
                  </a:cubicBezTo>
                  <a:cubicBezTo>
                    <a:pt x="8518" y="8620"/>
                    <a:pt x="8638" y="8658"/>
                    <a:pt x="8636" y="8659"/>
                  </a:cubicBezTo>
                  <a:cubicBezTo>
                    <a:pt x="8693" y="8640"/>
                    <a:pt x="8681" y="8600"/>
                    <a:pt x="8733" y="8548"/>
                  </a:cubicBezTo>
                  <a:cubicBezTo>
                    <a:pt x="8692" y="8664"/>
                    <a:pt x="8812" y="8701"/>
                    <a:pt x="8855" y="8637"/>
                  </a:cubicBezTo>
                  <a:cubicBezTo>
                    <a:pt x="8861" y="8630"/>
                    <a:pt x="8900" y="8414"/>
                    <a:pt x="8896" y="8402"/>
                  </a:cubicBezTo>
                  <a:cubicBezTo>
                    <a:pt x="8879" y="8339"/>
                    <a:pt x="8755" y="8368"/>
                    <a:pt x="8886" y="8294"/>
                  </a:cubicBezTo>
                  <a:cubicBezTo>
                    <a:pt x="8955" y="8255"/>
                    <a:pt x="8999" y="8329"/>
                    <a:pt x="9080" y="8265"/>
                  </a:cubicBezTo>
                  <a:cubicBezTo>
                    <a:pt x="9085" y="8287"/>
                    <a:pt x="9094" y="8348"/>
                    <a:pt x="9095" y="8372"/>
                  </a:cubicBezTo>
                  <a:cubicBezTo>
                    <a:pt x="8981" y="8353"/>
                    <a:pt x="8906" y="8354"/>
                    <a:pt x="8896" y="8535"/>
                  </a:cubicBezTo>
                  <a:cubicBezTo>
                    <a:pt x="8886" y="8727"/>
                    <a:pt x="8977" y="8698"/>
                    <a:pt x="9065" y="8812"/>
                  </a:cubicBezTo>
                  <a:cubicBezTo>
                    <a:pt x="9105" y="8863"/>
                    <a:pt x="9106" y="8925"/>
                    <a:pt x="9157" y="8926"/>
                  </a:cubicBezTo>
                  <a:cubicBezTo>
                    <a:pt x="9182" y="8927"/>
                    <a:pt x="9241" y="8851"/>
                    <a:pt x="9286" y="8848"/>
                  </a:cubicBezTo>
                  <a:cubicBezTo>
                    <a:pt x="9353" y="8844"/>
                    <a:pt x="9456" y="8896"/>
                    <a:pt x="9518" y="8929"/>
                  </a:cubicBezTo>
                  <a:cubicBezTo>
                    <a:pt x="9604" y="8975"/>
                    <a:pt x="9671" y="9015"/>
                    <a:pt x="9725" y="9117"/>
                  </a:cubicBezTo>
                  <a:cubicBezTo>
                    <a:pt x="9753" y="9171"/>
                    <a:pt x="9775" y="9236"/>
                    <a:pt x="9785" y="9302"/>
                  </a:cubicBezTo>
                  <a:cubicBezTo>
                    <a:pt x="9803" y="9420"/>
                    <a:pt x="9779" y="9373"/>
                    <a:pt x="9748" y="9432"/>
                  </a:cubicBezTo>
                  <a:cubicBezTo>
                    <a:pt x="9719" y="9486"/>
                    <a:pt x="9698" y="9481"/>
                    <a:pt x="9676" y="9563"/>
                  </a:cubicBezTo>
                  <a:cubicBezTo>
                    <a:pt x="9671" y="9579"/>
                    <a:pt x="9627" y="9707"/>
                    <a:pt x="9621" y="9712"/>
                  </a:cubicBezTo>
                  <a:cubicBezTo>
                    <a:pt x="9565" y="9758"/>
                    <a:pt x="9493" y="9688"/>
                    <a:pt x="9418" y="9711"/>
                  </a:cubicBezTo>
                  <a:cubicBezTo>
                    <a:pt x="9337" y="9737"/>
                    <a:pt x="9207" y="9817"/>
                    <a:pt x="9249" y="9960"/>
                  </a:cubicBezTo>
                  <a:cubicBezTo>
                    <a:pt x="9275" y="10048"/>
                    <a:pt x="9294" y="10114"/>
                    <a:pt x="9332" y="10186"/>
                  </a:cubicBezTo>
                  <a:cubicBezTo>
                    <a:pt x="9357" y="10236"/>
                    <a:pt x="9393" y="10152"/>
                    <a:pt x="9395" y="10308"/>
                  </a:cubicBezTo>
                  <a:cubicBezTo>
                    <a:pt x="9396" y="10418"/>
                    <a:pt x="9322" y="10555"/>
                    <a:pt x="9422" y="10635"/>
                  </a:cubicBezTo>
                  <a:cubicBezTo>
                    <a:pt x="9511" y="10707"/>
                    <a:pt x="9587" y="10581"/>
                    <a:pt x="9635" y="10493"/>
                  </a:cubicBezTo>
                  <a:cubicBezTo>
                    <a:pt x="9687" y="10399"/>
                    <a:pt x="9729" y="10296"/>
                    <a:pt x="9768" y="10197"/>
                  </a:cubicBezTo>
                  <a:cubicBezTo>
                    <a:pt x="9807" y="10095"/>
                    <a:pt x="9883" y="10003"/>
                    <a:pt x="9928" y="9892"/>
                  </a:cubicBezTo>
                  <a:cubicBezTo>
                    <a:pt x="10000" y="9713"/>
                    <a:pt x="9878" y="9734"/>
                    <a:pt x="9890" y="9598"/>
                  </a:cubicBezTo>
                  <a:cubicBezTo>
                    <a:pt x="9903" y="9449"/>
                    <a:pt x="9971" y="9562"/>
                    <a:pt x="10016" y="9602"/>
                  </a:cubicBezTo>
                  <a:cubicBezTo>
                    <a:pt x="10062" y="9643"/>
                    <a:pt x="10174" y="9758"/>
                    <a:pt x="10218" y="9695"/>
                  </a:cubicBezTo>
                  <a:cubicBezTo>
                    <a:pt x="10253" y="9645"/>
                    <a:pt x="10189" y="9433"/>
                    <a:pt x="10194" y="9377"/>
                  </a:cubicBezTo>
                  <a:cubicBezTo>
                    <a:pt x="10201" y="9312"/>
                    <a:pt x="10242" y="9122"/>
                    <a:pt x="10314" y="9181"/>
                  </a:cubicBezTo>
                  <a:cubicBezTo>
                    <a:pt x="10397" y="9250"/>
                    <a:pt x="10440" y="9234"/>
                    <a:pt x="10339" y="9357"/>
                  </a:cubicBezTo>
                  <a:cubicBezTo>
                    <a:pt x="10345" y="9337"/>
                    <a:pt x="10350" y="9302"/>
                    <a:pt x="10356" y="9283"/>
                  </a:cubicBezTo>
                  <a:cubicBezTo>
                    <a:pt x="10279" y="9371"/>
                    <a:pt x="10185" y="9635"/>
                    <a:pt x="10318" y="9442"/>
                  </a:cubicBezTo>
                  <a:cubicBezTo>
                    <a:pt x="10302" y="9489"/>
                    <a:pt x="10271" y="9531"/>
                    <a:pt x="10246" y="9573"/>
                  </a:cubicBezTo>
                  <a:cubicBezTo>
                    <a:pt x="10279" y="9545"/>
                    <a:pt x="10312" y="9505"/>
                    <a:pt x="10349" y="9500"/>
                  </a:cubicBezTo>
                  <a:cubicBezTo>
                    <a:pt x="10319" y="9545"/>
                    <a:pt x="10277" y="9577"/>
                    <a:pt x="10263" y="9637"/>
                  </a:cubicBezTo>
                  <a:cubicBezTo>
                    <a:pt x="10310" y="9613"/>
                    <a:pt x="10445" y="9375"/>
                    <a:pt x="10470" y="9519"/>
                  </a:cubicBezTo>
                  <a:cubicBezTo>
                    <a:pt x="10488" y="9618"/>
                    <a:pt x="10423" y="9771"/>
                    <a:pt x="10361" y="9834"/>
                  </a:cubicBezTo>
                  <a:cubicBezTo>
                    <a:pt x="10409" y="9825"/>
                    <a:pt x="10473" y="9880"/>
                    <a:pt x="10504" y="9862"/>
                  </a:cubicBezTo>
                  <a:cubicBezTo>
                    <a:pt x="10557" y="9831"/>
                    <a:pt x="10587" y="9665"/>
                    <a:pt x="10495" y="9741"/>
                  </a:cubicBezTo>
                  <a:cubicBezTo>
                    <a:pt x="10506" y="9697"/>
                    <a:pt x="10543" y="9602"/>
                    <a:pt x="10587" y="9645"/>
                  </a:cubicBezTo>
                  <a:cubicBezTo>
                    <a:pt x="10648" y="9705"/>
                    <a:pt x="10539" y="9808"/>
                    <a:pt x="10542" y="9856"/>
                  </a:cubicBezTo>
                  <a:cubicBezTo>
                    <a:pt x="10548" y="9944"/>
                    <a:pt x="10697" y="10030"/>
                    <a:pt x="10743" y="10081"/>
                  </a:cubicBezTo>
                  <a:cubicBezTo>
                    <a:pt x="10823" y="10169"/>
                    <a:pt x="10858" y="10227"/>
                    <a:pt x="10970" y="10222"/>
                  </a:cubicBezTo>
                  <a:cubicBezTo>
                    <a:pt x="10993" y="10221"/>
                    <a:pt x="11013" y="10259"/>
                    <a:pt x="11030" y="10250"/>
                  </a:cubicBezTo>
                  <a:cubicBezTo>
                    <a:pt x="11040" y="10244"/>
                    <a:pt x="11033" y="10207"/>
                    <a:pt x="11051" y="10203"/>
                  </a:cubicBezTo>
                  <a:cubicBezTo>
                    <a:pt x="11103" y="10190"/>
                    <a:pt x="11127" y="10089"/>
                    <a:pt x="11162" y="10218"/>
                  </a:cubicBezTo>
                  <a:cubicBezTo>
                    <a:pt x="11236" y="10104"/>
                    <a:pt x="11162" y="10023"/>
                    <a:pt x="11098" y="9953"/>
                  </a:cubicBezTo>
                  <a:cubicBezTo>
                    <a:pt x="11074" y="9926"/>
                    <a:pt x="11051" y="9902"/>
                    <a:pt x="11025" y="9880"/>
                  </a:cubicBezTo>
                  <a:cubicBezTo>
                    <a:pt x="11022" y="9878"/>
                    <a:pt x="10918" y="9803"/>
                    <a:pt x="10927" y="9822"/>
                  </a:cubicBezTo>
                  <a:cubicBezTo>
                    <a:pt x="10846" y="9670"/>
                    <a:pt x="11301" y="9625"/>
                    <a:pt x="11181" y="9864"/>
                  </a:cubicBezTo>
                  <a:cubicBezTo>
                    <a:pt x="11215" y="9839"/>
                    <a:pt x="11243" y="9835"/>
                    <a:pt x="11241" y="9898"/>
                  </a:cubicBezTo>
                  <a:cubicBezTo>
                    <a:pt x="11240" y="9911"/>
                    <a:pt x="11221" y="9962"/>
                    <a:pt x="11224" y="9970"/>
                  </a:cubicBezTo>
                  <a:cubicBezTo>
                    <a:pt x="11226" y="9975"/>
                    <a:pt x="11262" y="10019"/>
                    <a:pt x="11261" y="10011"/>
                  </a:cubicBezTo>
                  <a:cubicBezTo>
                    <a:pt x="11266" y="10054"/>
                    <a:pt x="11319" y="10045"/>
                    <a:pt x="11273" y="10117"/>
                  </a:cubicBezTo>
                  <a:cubicBezTo>
                    <a:pt x="11232" y="10181"/>
                    <a:pt x="11247" y="10185"/>
                    <a:pt x="11251" y="10268"/>
                  </a:cubicBezTo>
                  <a:cubicBezTo>
                    <a:pt x="11266" y="10548"/>
                    <a:pt x="11410" y="10490"/>
                    <a:pt x="11537" y="10516"/>
                  </a:cubicBezTo>
                  <a:cubicBezTo>
                    <a:pt x="11505" y="10547"/>
                    <a:pt x="11499" y="10653"/>
                    <a:pt x="11549" y="10646"/>
                  </a:cubicBezTo>
                  <a:cubicBezTo>
                    <a:pt x="11555" y="10645"/>
                    <a:pt x="11583" y="10495"/>
                    <a:pt x="11597" y="10463"/>
                  </a:cubicBezTo>
                  <a:cubicBezTo>
                    <a:pt x="11601" y="10454"/>
                    <a:pt x="11630" y="10389"/>
                    <a:pt x="11631" y="10381"/>
                  </a:cubicBezTo>
                  <a:cubicBezTo>
                    <a:pt x="11631" y="10380"/>
                    <a:pt x="11634" y="10284"/>
                    <a:pt x="11633" y="10286"/>
                  </a:cubicBezTo>
                  <a:cubicBezTo>
                    <a:pt x="11652" y="10228"/>
                    <a:pt x="11640" y="10157"/>
                    <a:pt x="11702" y="10210"/>
                  </a:cubicBezTo>
                  <a:cubicBezTo>
                    <a:pt x="11622" y="10274"/>
                    <a:pt x="11732" y="10323"/>
                    <a:pt x="11677" y="10380"/>
                  </a:cubicBezTo>
                  <a:cubicBezTo>
                    <a:pt x="11638" y="10420"/>
                    <a:pt x="11613" y="10495"/>
                    <a:pt x="11634" y="10527"/>
                  </a:cubicBezTo>
                  <a:cubicBezTo>
                    <a:pt x="11694" y="10619"/>
                    <a:pt x="11726" y="10478"/>
                    <a:pt x="11714" y="10484"/>
                  </a:cubicBezTo>
                  <a:cubicBezTo>
                    <a:pt x="11748" y="10466"/>
                    <a:pt x="11808" y="10395"/>
                    <a:pt x="11818" y="10517"/>
                  </a:cubicBezTo>
                  <a:cubicBezTo>
                    <a:pt x="11853" y="10541"/>
                    <a:pt x="11883" y="10534"/>
                    <a:pt x="11925" y="10546"/>
                  </a:cubicBezTo>
                  <a:cubicBezTo>
                    <a:pt x="11898" y="10304"/>
                    <a:pt x="12025" y="10670"/>
                    <a:pt x="12060" y="10737"/>
                  </a:cubicBezTo>
                  <a:cubicBezTo>
                    <a:pt x="12122" y="10854"/>
                    <a:pt x="12203" y="10961"/>
                    <a:pt x="12195" y="11122"/>
                  </a:cubicBezTo>
                  <a:cubicBezTo>
                    <a:pt x="12238" y="11044"/>
                    <a:pt x="12249" y="11221"/>
                    <a:pt x="12315" y="11249"/>
                  </a:cubicBezTo>
                  <a:cubicBezTo>
                    <a:pt x="12328" y="11255"/>
                    <a:pt x="12330" y="11170"/>
                    <a:pt x="12346" y="11176"/>
                  </a:cubicBezTo>
                  <a:cubicBezTo>
                    <a:pt x="12358" y="11181"/>
                    <a:pt x="12367" y="11212"/>
                    <a:pt x="12372" y="11214"/>
                  </a:cubicBezTo>
                  <a:cubicBezTo>
                    <a:pt x="12387" y="11217"/>
                    <a:pt x="12423" y="11267"/>
                    <a:pt x="12437" y="11282"/>
                  </a:cubicBezTo>
                  <a:cubicBezTo>
                    <a:pt x="12536" y="11388"/>
                    <a:pt x="12516" y="11341"/>
                    <a:pt x="12536" y="11530"/>
                  </a:cubicBezTo>
                  <a:cubicBezTo>
                    <a:pt x="12540" y="11570"/>
                    <a:pt x="12580" y="11602"/>
                    <a:pt x="12605" y="11622"/>
                  </a:cubicBezTo>
                  <a:cubicBezTo>
                    <a:pt x="12631" y="11642"/>
                    <a:pt x="12658" y="11595"/>
                    <a:pt x="12677" y="11614"/>
                  </a:cubicBezTo>
                  <a:cubicBezTo>
                    <a:pt x="12712" y="11648"/>
                    <a:pt x="12774" y="11779"/>
                    <a:pt x="12796" y="11826"/>
                  </a:cubicBezTo>
                  <a:cubicBezTo>
                    <a:pt x="12814" y="11865"/>
                    <a:pt x="12816" y="11924"/>
                    <a:pt x="12839" y="11973"/>
                  </a:cubicBezTo>
                  <a:cubicBezTo>
                    <a:pt x="12857" y="12011"/>
                    <a:pt x="12878" y="12034"/>
                    <a:pt x="12897" y="12068"/>
                  </a:cubicBezTo>
                  <a:cubicBezTo>
                    <a:pt x="12938" y="12143"/>
                    <a:pt x="12961" y="12230"/>
                    <a:pt x="13014" y="12269"/>
                  </a:cubicBezTo>
                  <a:cubicBezTo>
                    <a:pt x="13031" y="12282"/>
                    <a:pt x="13107" y="12284"/>
                    <a:pt x="13110" y="12288"/>
                  </a:cubicBezTo>
                  <a:cubicBezTo>
                    <a:pt x="13139" y="12331"/>
                    <a:pt x="13115" y="12428"/>
                    <a:pt x="13123" y="12487"/>
                  </a:cubicBezTo>
                  <a:cubicBezTo>
                    <a:pt x="13144" y="12653"/>
                    <a:pt x="13092" y="12753"/>
                    <a:pt x="13008" y="12873"/>
                  </a:cubicBezTo>
                  <a:cubicBezTo>
                    <a:pt x="12884" y="13047"/>
                    <a:pt x="12934" y="13178"/>
                    <a:pt x="12935" y="13402"/>
                  </a:cubicBezTo>
                  <a:cubicBezTo>
                    <a:pt x="12937" y="13614"/>
                    <a:pt x="12932" y="13784"/>
                    <a:pt x="13121" y="13765"/>
                  </a:cubicBezTo>
                  <a:cubicBezTo>
                    <a:pt x="13275" y="13751"/>
                    <a:pt x="13414" y="13609"/>
                    <a:pt x="13563" y="13566"/>
                  </a:cubicBezTo>
                  <a:cubicBezTo>
                    <a:pt x="13639" y="13544"/>
                    <a:pt x="13694" y="13528"/>
                    <a:pt x="13773" y="13518"/>
                  </a:cubicBezTo>
                  <a:cubicBezTo>
                    <a:pt x="13842" y="13510"/>
                    <a:pt x="13927" y="13512"/>
                    <a:pt x="13990" y="13496"/>
                  </a:cubicBezTo>
                  <a:cubicBezTo>
                    <a:pt x="14133" y="13462"/>
                    <a:pt x="14091" y="13284"/>
                    <a:pt x="14075" y="13108"/>
                  </a:cubicBezTo>
                  <a:cubicBezTo>
                    <a:pt x="14070" y="13058"/>
                    <a:pt x="14044" y="13036"/>
                    <a:pt x="14043" y="12986"/>
                  </a:cubicBezTo>
                  <a:cubicBezTo>
                    <a:pt x="14042" y="12942"/>
                    <a:pt x="14072" y="12933"/>
                    <a:pt x="14072" y="12898"/>
                  </a:cubicBezTo>
                  <a:cubicBezTo>
                    <a:pt x="14072" y="12831"/>
                    <a:pt x="14042" y="12691"/>
                    <a:pt x="14018" y="12638"/>
                  </a:cubicBezTo>
                  <a:cubicBezTo>
                    <a:pt x="13977" y="12550"/>
                    <a:pt x="13930" y="12575"/>
                    <a:pt x="13914" y="12509"/>
                  </a:cubicBezTo>
                  <a:cubicBezTo>
                    <a:pt x="13894" y="12426"/>
                    <a:pt x="13952" y="12418"/>
                    <a:pt x="14004" y="12407"/>
                  </a:cubicBezTo>
                  <a:cubicBezTo>
                    <a:pt x="14034" y="12401"/>
                    <a:pt x="14036" y="12336"/>
                    <a:pt x="14073" y="12379"/>
                  </a:cubicBezTo>
                  <a:cubicBezTo>
                    <a:pt x="14122" y="12437"/>
                    <a:pt x="14112" y="12385"/>
                    <a:pt x="14150" y="12383"/>
                  </a:cubicBezTo>
                  <a:cubicBezTo>
                    <a:pt x="14180" y="12382"/>
                    <a:pt x="14240" y="12377"/>
                    <a:pt x="14270" y="12356"/>
                  </a:cubicBezTo>
                  <a:cubicBezTo>
                    <a:pt x="14115" y="12484"/>
                    <a:pt x="14321" y="12478"/>
                    <a:pt x="14366" y="12504"/>
                  </a:cubicBezTo>
                  <a:cubicBezTo>
                    <a:pt x="14399" y="12524"/>
                    <a:pt x="14367" y="12564"/>
                    <a:pt x="14389" y="12595"/>
                  </a:cubicBezTo>
                  <a:cubicBezTo>
                    <a:pt x="14401" y="12613"/>
                    <a:pt x="14415" y="12589"/>
                    <a:pt x="14436" y="12618"/>
                  </a:cubicBezTo>
                  <a:cubicBezTo>
                    <a:pt x="14522" y="12741"/>
                    <a:pt x="14574" y="12813"/>
                    <a:pt x="14734" y="12759"/>
                  </a:cubicBezTo>
                  <a:cubicBezTo>
                    <a:pt x="14717" y="12747"/>
                    <a:pt x="14697" y="12721"/>
                    <a:pt x="14680" y="12710"/>
                  </a:cubicBezTo>
                  <a:cubicBezTo>
                    <a:pt x="14742" y="12736"/>
                    <a:pt x="14777" y="12666"/>
                    <a:pt x="14827" y="12727"/>
                  </a:cubicBezTo>
                  <a:cubicBezTo>
                    <a:pt x="14880" y="12645"/>
                    <a:pt x="14910" y="12678"/>
                    <a:pt x="14981" y="12682"/>
                  </a:cubicBezTo>
                  <a:cubicBezTo>
                    <a:pt x="15016" y="12683"/>
                    <a:pt x="15082" y="12667"/>
                    <a:pt x="15115" y="12678"/>
                  </a:cubicBezTo>
                  <a:cubicBezTo>
                    <a:pt x="15147" y="12689"/>
                    <a:pt x="15185" y="12755"/>
                    <a:pt x="15220" y="12774"/>
                  </a:cubicBezTo>
                  <a:cubicBezTo>
                    <a:pt x="15224" y="12725"/>
                    <a:pt x="15315" y="12673"/>
                    <a:pt x="15350" y="12700"/>
                  </a:cubicBezTo>
                  <a:cubicBezTo>
                    <a:pt x="15402" y="12741"/>
                    <a:pt x="15387" y="12850"/>
                    <a:pt x="15365" y="12921"/>
                  </a:cubicBezTo>
                  <a:cubicBezTo>
                    <a:pt x="15423" y="12875"/>
                    <a:pt x="15451" y="12605"/>
                    <a:pt x="15494" y="12630"/>
                  </a:cubicBezTo>
                  <a:cubicBezTo>
                    <a:pt x="15514" y="12641"/>
                    <a:pt x="15405" y="13140"/>
                    <a:pt x="15381" y="12953"/>
                  </a:cubicBezTo>
                  <a:cubicBezTo>
                    <a:pt x="15331" y="12998"/>
                    <a:pt x="15304" y="13060"/>
                    <a:pt x="15324" y="13137"/>
                  </a:cubicBezTo>
                  <a:cubicBezTo>
                    <a:pt x="15360" y="13078"/>
                    <a:pt x="15386" y="13116"/>
                    <a:pt x="15418" y="13094"/>
                  </a:cubicBezTo>
                  <a:cubicBezTo>
                    <a:pt x="15428" y="13088"/>
                    <a:pt x="15488" y="13066"/>
                    <a:pt x="15492" y="13060"/>
                  </a:cubicBezTo>
                  <a:cubicBezTo>
                    <a:pt x="15503" y="13040"/>
                    <a:pt x="15485" y="12992"/>
                    <a:pt x="15477" y="13005"/>
                  </a:cubicBezTo>
                  <a:cubicBezTo>
                    <a:pt x="15471" y="13015"/>
                    <a:pt x="15476" y="12947"/>
                    <a:pt x="15481" y="12936"/>
                  </a:cubicBezTo>
                  <a:cubicBezTo>
                    <a:pt x="15485" y="12928"/>
                    <a:pt x="15529" y="12941"/>
                    <a:pt x="15540" y="12934"/>
                  </a:cubicBezTo>
                  <a:cubicBezTo>
                    <a:pt x="15586" y="12907"/>
                    <a:pt x="15587" y="12862"/>
                    <a:pt x="15643" y="12898"/>
                  </a:cubicBezTo>
                  <a:cubicBezTo>
                    <a:pt x="15733" y="12954"/>
                    <a:pt x="15651" y="13128"/>
                    <a:pt x="15630" y="13194"/>
                  </a:cubicBezTo>
                  <a:cubicBezTo>
                    <a:pt x="15604" y="13275"/>
                    <a:pt x="15578" y="13341"/>
                    <a:pt x="15571" y="13419"/>
                  </a:cubicBezTo>
                  <a:cubicBezTo>
                    <a:pt x="15566" y="13472"/>
                    <a:pt x="15621" y="13470"/>
                    <a:pt x="15577" y="13546"/>
                  </a:cubicBezTo>
                  <a:cubicBezTo>
                    <a:pt x="15644" y="13540"/>
                    <a:pt x="15512" y="13692"/>
                    <a:pt x="15498" y="13497"/>
                  </a:cubicBezTo>
                  <a:cubicBezTo>
                    <a:pt x="15482" y="13554"/>
                    <a:pt x="15466" y="13612"/>
                    <a:pt x="15478" y="13670"/>
                  </a:cubicBezTo>
                  <a:cubicBezTo>
                    <a:pt x="15355" y="13649"/>
                    <a:pt x="15367" y="13532"/>
                    <a:pt x="15257" y="13663"/>
                  </a:cubicBezTo>
                  <a:cubicBezTo>
                    <a:pt x="15213" y="13717"/>
                    <a:pt x="15210" y="13695"/>
                    <a:pt x="15181" y="13801"/>
                  </a:cubicBezTo>
                  <a:cubicBezTo>
                    <a:pt x="15175" y="13821"/>
                    <a:pt x="15141" y="14011"/>
                    <a:pt x="15116" y="13960"/>
                  </a:cubicBezTo>
                  <a:cubicBezTo>
                    <a:pt x="15089" y="13903"/>
                    <a:pt x="15050" y="13955"/>
                    <a:pt x="15025" y="13934"/>
                  </a:cubicBezTo>
                  <a:cubicBezTo>
                    <a:pt x="15004" y="13917"/>
                    <a:pt x="14994" y="13853"/>
                    <a:pt x="14965" y="13833"/>
                  </a:cubicBezTo>
                  <a:cubicBezTo>
                    <a:pt x="14935" y="13811"/>
                    <a:pt x="14899" y="13827"/>
                    <a:pt x="14882" y="13819"/>
                  </a:cubicBezTo>
                  <a:cubicBezTo>
                    <a:pt x="14861" y="13810"/>
                    <a:pt x="14848" y="13752"/>
                    <a:pt x="14815" y="13743"/>
                  </a:cubicBezTo>
                  <a:cubicBezTo>
                    <a:pt x="14809" y="13829"/>
                    <a:pt x="14863" y="13890"/>
                    <a:pt x="14867" y="13984"/>
                  </a:cubicBezTo>
                  <a:cubicBezTo>
                    <a:pt x="14868" y="13997"/>
                    <a:pt x="14857" y="14107"/>
                    <a:pt x="14853" y="14117"/>
                  </a:cubicBezTo>
                  <a:cubicBezTo>
                    <a:pt x="14833" y="14168"/>
                    <a:pt x="14801" y="14168"/>
                    <a:pt x="14783" y="14245"/>
                  </a:cubicBezTo>
                  <a:cubicBezTo>
                    <a:pt x="14753" y="14376"/>
                    <a:pt x="14823" y="14721"/>
                    <a:pt x="14706" y="14817"/>
                  </a:cubicBezTo>
                  <a:cubicBezTo>
                    <a:pt x="14632" y="14875"/>
                    <a:pt x="14597" y="14808"/>
                    <a:pt x="14614" y="14726"/>
                  </a:cubicBezTo>
                  <a:cubicBezTo>
                    <a:pt x="14626" y="14666"/>
                    <a:pt x="14730" y="14594"/>
                    <a:pt x="14717" y="14521"/>
                  </a:cubicBezTo>
                  <a:cubicBezTo>
                    <a:pt x="14705" y="14455"/>
                    <a:pt x="14678" y="14474"/>
                    <a:pt x="14651" y="14511"/>
                  </a:cubicBezTo>
                  <a:cubicBezTo>
                    <a:pt x="14534" y="14670"/>
                    <a:pt x="14594" y="14476"/>
                    <a:pt x="14594" y="14385"/>
                  </a:cubicBezTo>
                  <a:cubicBezTo>
                    <a:pt x="14594" y="14338"/>
                    <a:pt x="14577" y="14210"/>
                    <a:pt x="14565" y="14170"/>
                  </a:cubicBezTo>
                  <a:cubicBezTo>
                    <a:pt x="14555" y="14141"/>
                    <a:pt x="14515" y="14119"/>
                    <a:pt x="14501" y="14069"/>
                  </a:cubicBezTo>
                  <a:cubicBezTo>
                    <a:pt x="14492" y="14037"/>
                    <a:pt x="14517" y="13982"/>
                    <a:pt x="14511" y="13967"/>
                  </a:cubicBezTo>
                  <a:cubicBezTo>
                    <a:pt x="14487" y="13895"/>
                    <a:pt x="14428" y="13889"/>
                    <a:pt x="14392" y="13849"/>
                  </a:cubicBezTo>
                  <a:cubicBezTo>
                    <a:pt x="14308" y="13759"/>
                    <a:pt x="14260" y="13573"/>
                    <a:pt x="14140" y="13556"/>
                  </a:cubicBezTo>
                  <a:cubicBezTo>
                    <a:pt x="14064" y="13545"/>
                    <a:pt x="13980" y="13597"/>
                    <a:pt x="13902" y="13598"/>
                  </a:cubicBezTo>
                  <a:cubicBezTo>
                    <a:pt x="13833" y="13599"/>
                    <a:pt x="13764" y="13581"/>
                    <a:pt x="13693" y="13585"/>
                  </a:cubicBezTo>
                  <a:cubicBezTo>
                    <a:pt x="13522" y="13596"/>
                    <a:pt x="13407" y="13738"/>
                    <a:pt x="13244" y="13799"/>
                  </a:cubicBezTo>
                  <a:cubicBezTo>
                    <a:pt x="13169" y="13827"/>
                    <a:pt x="13081" y="13806"/>
                    <a:pt x="13010" y="13839"/>
                  </a:cubicBezTo>
                  <a:cubicBezTo>
                    <a:pt x="12877" y="13899"/>
                    <a:pt x="12874" y="14167"/>
                    <a:pt x="12843" y="14340"/>
                  </a:cubicBezTo>
                  <a:cubicBezTo>
                    <a:pt x="12802" y="14572"/>
                    <a:pt x="12732" y="14824"/>
                    <a:pt x="12655" y="15040"/>
                  </a:cubicBezTo>
                  <a:cubicBezTo>
                    <a:pt x="12591" y="15221"/>
                    <a:pt x="12501" y="15359"/>
                    <a:pt x="12466" y="15554"/>
                  </a:cubicBezTo>
                  <a:cubicBezTo>
                    <a:pt x="12420" y="15806"/>
                    <a:pt x="12585" y="15830"/>
                    <a:pt x="12709" y="15932"/>
                  </a:cubicBezTo>
                  <a:cubicBezTo>
                    <a:pt x="12830" y="16033"/>
                    <a:pt x="12911" y="16143"/>
                    <a:pt x="13053" y="16179"/>
                  </a:cubicBezTo>
                  <a:cubicBezTo>
                    <a:pt x="13121" y="16195"/>
                    <a:pt x="13177" y="16200"/>
                    <a:pt x="13228" y="16280"/>
                  </a:cubicBezTo>
                  <a:cubicBezTo>
                    <a:pt x="13257" y="16325"/>
                    <a:pt x="13250" y="16383"/>
                    <a:pt x="13271" y="16414"/>
                  </a:cubicBezTo>
                  <a:cubicBezTo>
                    <a:pt x="13288" y="16440"/>
                    <a:pt x="13332" y="16441"/>
                    <a:pt x="13336" y="16448"/>
                  </a:cubicBezTo>
                  <a:cubicBezTo>
                    <a:pt x="13379" y="16520"/>
                    <a:pt x="13390" y="16559"/>
                    <a:pt x="13444" y="16632"/>
                  </a:cubicBezTo>
                  <a:cubicBezTo>
                    <a:pt x="13488" y="16692"/>
                    <a:pt x="13538" y="16762"/>
                    <a:pt x="13571" y="16829"/>
                  </a:cubicBezTo>
                  <a:cubicBezTo>
                    <a:pt x="13536" y="16846"/>
                    <a:pt x="13444" y="16902"/>
                    <a:pt x="13408" y="16892"/>
                  </a:cubicBezTo>
                  <a:cubicBezTo>
                    <a:pt x="13365" y="16879"/>
                    <a:pt x="13379" y="16816"/>
                    <a:pt x="13335" y="16805"/>
                  </a:cubicBezTo>
                  <a:cubicBezTo>
                    <a:pt x="13248" y="16782"/>
                    <a:pt x="13106" y="16921"/>
                    <a:pt x="13078" y="16985"/>
                  </a:cubicBezTo>
                  <a:cubicBezTo>
                    <a:pt x="13071" y="17001"/>
                    <a:pt x="13100" y="17021"/>
                    <a:pt x="13080" y="17059"/>
                  </a:cubicBezTo>
                  <a:cubicBezTo>
                    <a:pt x="13061" y="17094"/>
                    <a:pt x="13033" y="17128"/>
                    <a:pt x="13022" y="17169"/>
                  </a:cubicBezTo>
                  <a:cubicBezTo>
                    <a:pt x="13011" y="17211"/>
                    <a:pt x="13029" y="17255"/>
                    <a:pt x="13021" y="17296"/>
                  </a:cubicBezTo>
                  <a:cubicBezTo>
                    <a:pt x="13000" y="17398"/>
                    <a:pt x="12959" y="17520"/>
                    <a:pt x="12881" y="17537"/>
                  </a:cubicBezTo>
                  <a:cubicBezTo>
                    <a:pt x="12809" y="17552"/>
                    <a:pt x="12814" y="17428"/>
                    <a:pt x="12790" y="17402"/>
                  </a:cubicBezTo>
                  <a:cubicBezTo>
                    <a:pt x="12730" y="17335"/>
                    <a:pt x="12791" y="17469"/>
                    <a:pt x="12692" y="17502"/>
                  </a:cubicBezTo>
                  <a:cubicBezTo>
                    <a:pt x="12660" y="17512"/>
                    <a:pt x="12616" y="17562"/>
                    <a:pt x="12593" y="17589"/>
                  </a:cubicBezTo>
                  <a:cubicBezTo>
                    <a:pt x="12542" y="17647"/>
                    <a:pt x="12543" y="17544"/>
                    <a:pt x="12546" y="17663"/>
                  </a:cubicBezTo>
                  <a:cubicBezTo>
                    <a:pt x="12548" y="17734"/>
                    <a:pt x="12652" y="17826"/>
                    <a:pt x="12580" y="17906"/>
                  </a:cubicBezTo>
                  <a:cubicBezTo>
                    <a:pt x="12534" y="17958"/>
                    <a:pt x="12389" y="18016"/>
                    <a:pt x="12329" y="18018"/>
                  </a:cubicBezTo>
                  <a:cubicBezTo>
                    <a:pt x="12247" y="18021"/>
                    <a:pt x="12246" y="17999"/>
                    <a:pt x="12205" y="17903"/>
                  </a:cubicBezTo>
                  <a:cubicBezTo>
                    <a:pt x="12183" y="18089"/>
                    <a:pt x="12025" y="17984"/>
                    <a:pt x="12002" y="18080"/>
                  </a:cubicBezTo>
                  <a:cubicBezTo>
                    <a:pt x="11978" y="18182"/>
                    <a:pt x="12106" y="18171"/>
                    <a:pt x="12127" y="18182"/>
                  </a:cubicBezTo>
                  <a:cubicBezTo>
                    <a:pt x="12156" y="18197"/>
                    <a:pt x="12200" y="18231"/>
                    <a:pt x="12224" y="18242"/>
                  </a:cubicBezTo>
                  <a:cubicBezTo>
                    <a:pt x="12228" y="18244"/>
                    <a:pt x="12222" y="18278"/>
                    <a:pt x="12236" y="18287"/>
                  </a:cubicBezTo>
                  <a:cubicBezTo>
                    <a:pt x="12249" y="18294"/>
                    <a:pt x="12268" y="18260"/>
                    <a:pt x="12288" y="18271"/>
                  </a:cubicBezTo>
                  <a:cubicBezTo>
                    <a:pt x="12334" y="18295"/>
                    <a:pt x="12393" y="18317"/>
                    <a:pt x="12451" y="18373"/>
                  </a:cubicBezTo>
                  <a:cubicBezTo>
                    <a:pt x="12472" y="18394"/>
                    <a:pt x="12585" y="18568"/>
                    <a:pt x="12596" y="18565"/>
                  </a:cubicBezTo>
                  <a:cubicBezTo>
                    <a:pt x="12645" y="18551"/>
                    <a:pt x="12601" y="18197"/>
                    <a:pt x="12658" y="18320"/>
                  </a:cubicBezTo>
                  <a:cubicBezTo>
                    <a:pt x="12679" y="18367"/>
                    <a:pt x="12658" y="18519"/>
                    <a:pt x="12656" y="18573"/>
                  </a:cubicBezTo>
                  <a:cubicBezTo>
                    <a:pt x="12654" y="18619"/>
                    <a:pt x="12705" y="18598"/>
                    <a:pt x="12681" y="18643"/>
                  </a:cubicBezTo>
                  <a:cubicBezTo>
                    <a:pt x="12674" y="18656"/>
                    <a:pt x="12627" y="18608"/>
                    <a:pt x="12622" y="18614"/>
                  </a:cubicBezTo>
                  <a:cubicBezTo>
                    <a:pt x="12610" y="18630"/>
                    <a:pt x="12613" y="18657"/>
                    <a:pt x="12604" y="18671"/>
                  </a:cubicBezTo>
                  <a:cubicBezTo>
                    <a:pt x="12549" y="18757"/>
                    <a:pt x="12601" y="18855"/>
                    <a:pt x="12538" y="18926"/>
                  </a:cubicBezTo>
                  <a:cubicBezTo>
                    <a:pt x="12554" y="18922"/>
                    <a:pt x="12598" y="18908"/>
                    <a:pt x="12602" y="18906"/>
                  </a:cubicBezTo>
                  <a:cubicBezTo>
                    <a:pt x="12620" y="18863"/>
                    <a:pt x="12629" y="18812"/>
                    <a:pt x="12633" y="18764"/>
                  </a:cubicBezTo>
                  <a:cubicBezTo>
                    <a:pt x="12650" y="18776"/>
                    <a:pt x="12812" y="19180"/>
                    <a:pt x="12818" y="19165"/>
                  </a:cubicBezTo>
                  <a:cubicBezTo>
                    <a:pt x="12809" y="19188"/>
                    <a:pt x="12625" y="19143"/>
                    <a:pt x="12622" y="19136"/>
                  </a:cubicBezTo>
                  <a:cubicBezTo>
                    <a:pt x="12592" y="19069"/>
                    <a:pt x="12669" y="19058"/>
                    <a:pt x="12642" y="19000"/>
                  </a:cubicBezTo>
                  <a:cubicBezTo>
                    <a:pt x="12621" y="18954"/>
                    <a:pt x="12604" y="18953"/>
                    <a:pt x="12562" y="18972"/>
                  </a:cubicBezTo>
                  <a:cubicBezTo>
                    <a:pt x="12503" y="18999"/>
                    <a:pt x="12524" y="18930"/>
                    <a:pt x="12497" y="18899"/>
                  </a:cubicBezTo>
                  <a:cubicBezTo>
                    <a:pt x="12408" y="18797"/>
                    <a:pt x="12445" y="18856"/>
                    <a:pt x="12510" y="18771"/>
                  </a:cubicBezTo>
                  <a:cubicBezTo>
                    <a:pt x="12590" y="18670"/>
                    <a:pt x="12573" y="18529"/>
                    <a:pt x="12478" y="18438"/>
                  </a:cubicBezTo>
                  <a:cubicBezTo>
                    <a:pt x="12426" y="18387"/>
                    <a:pt x="12374" y="18399"/>
                    <a:pt x="12317" y="18377"/>
                  </a:cubicBezTo>
                  <a:cubicBezTo>
                    <a:pt x="12266" y="18357"/>
                    <a:pt x="12265" y="18364"/>
                    <a:pt x="12225" y="18328"/>
                  </a:cubicBezTo>
                  <a:cubicBezTo>
                    <a:pt x="12204" y="18309"/>
                    <a:pt x="12203" y="18266"/>
                    <a:pt x="12190" y="18253"/>
                  </a:cubicBezTo>
                  <a:cubicBezTo>
                    <a:pt x="12096" y="18160"/>
                    <a:pt x="11929" y="18209"/>
                    <a:pt x="11827" y="18202"/>
                  </a:cubicBezTo>
                  <a:cubicBezTo>
                    <a:pt x="11682" y="18192"/>
                    <a:pt x="11520" y="18099"/>
                    <a:pt x="11390" y="18174"/>
                  </a:cubicBezTo>
                  <a:cubicBezTo>
                    <a:pt x="11362" y="18190"/>
                    <a:pt x="11324" y="18146"/>
                    <a:pt x="11284" y="18162"/>
                  </a:cubicBezTo>
                  <a:cubicBezTo>
                    <a:pt x="11242" y="18180"/>
                    <a:pt x="11223" y="18260"/>
                    <a:pt x="11178" y="18269"/>
                  </a:cubicBezTo>
                  <a:cubicBezTo>
                    <a:pt x="11123" y="18281"/>
                    <a:pt x="11081" y="18200"/>
                    <a:pt x="11004" y="18223"/>
                  </a:cubicBezTo>
                  <a:cubicBezTo>
                    <a:pt x="11007" y="18211"/>
                    <a:pt x="11015" y="18207"/>
                    <a:pt x="11019" y="18195"/>
                  </a:cubicBezTo>
                  <a:cubicBezTo>
                    <a:pt x="10993" y="18198"/>
                    <a:pt x="10872" y="18248"/>
                    <a:pt x="10903" y="18305"/>
                  </a:cubicBezTo>
                  <a:cubicBezTo>
                    <a:pt x="10946" y="18386"/>
                    <a:pt x="11063" y="18371"/>
                    <a:pt x="11017" y="18471"/>
                  </a:cubicBezTo>
                  <a:cubicBezTo>
                    <a:pt x="11005" y="18497"/>
                    <a:pt x="10941" y="18453"/>
                    <a:pt x="10925" y="18484"/>
                  </a:cubicBezTo>
                  <a:cubicBezTo>
                    <a:pt x="10891" y="18552"/>
                    <a:pt x="10939" y="18635"/>
                    <a:pt x="10966" y="18677"/>
                  </a:cubicBezTo>
                  <a:cubicBezTo>
                    <a:pt x="10995" y="18721"/>
                    <a:pt x="11122" y="18779"/>
                    <a:pt x="11129" y="18839"/>
                  </a:cubicBezTo>
                  <a:cubicBezTo>
                    <a:pt x="11144" y="18972"/>
                    <a:pt x="11008" y="19003"/>
                    <a:pt x="10966" y="19052"/>
                  </a:cubicBezTo>
                  <a:cubicBezTo>
                    <a:pt x="10875" y="19160"/>
                    <a:pt x="10744" y="19425"/>
                    <a:pt x="10719" y="19591"/>
                  </a:cubicBezTo>
                  <a:cubicBezTo>
                    <a:pt x="10701" y="19718"/>
                    <a:pt x="10729" y="19747"/>
                    <a:pt x="10774" y="19851"/>
                  </a:cubicBezTo>
                  <a:cubicBezTo>
                    <a:pt x="10823" y="19965"/>
                    <a:pt x="10853" y="20195"/>
                    <a:pt x="10730" y="20291"/>
                  </a:cubicBezTo>
                  <a:cubicBezTo>
                    <a:pt x="10836" y="20204"/>
                    <a:pt x="10811" y="20304"/>
                    <a:pt x="10846" y="20388"/>
                  </a:cubicBezTo>
                  <a:cubicBezTo>
                    <a:pt x="10861" y="20425"/>
                    <a:pt x="10900" y="20493"/>
                    <a:pt x="10908" y="20509"/>
                  </a:cubicBezTo>
                  <a:cubicBezTo>
                    <a:pt x="10900" y="20494"/>
                    <a:pt x="10878" y="20538"/>
                    <a:pt x="10895" y="20562"/>
                  </a:cubicBezTo>
                  <a:cubicBezTo>
                    <a:pt x="10918" y="20591"/>
                    <a:pt x="10967" y="20583"/>
                    <a:pt x="10994" y="20606"/>
                  </a:cubicBezTo>
                  <a:cubicBezTo>
                    <a:pt x="10996" y="20608"/>
                    <a:pt x="11010" y="20674"/>
                    <a:pt x="11022" y="20688"/>
                  </a:cubicBezTo>
                  <a:cubicBezTo>
                    <a:pt x="11040" y="20709"/>
                    <a:pt x="11076" y="20695"/>
                    <a:pt x="11093" y="20721"/>
                  </a:cubicBezTo>
                  <a:cubicBezTo>
                    <a:pt x="11121" y="20766"/>
                    <a:pt x="11054" y="20800"/>
                    <a:pt x="11112" y="20832"/>
                  </a:cubicBezTo>
                  <a:cubicBezTo>
                    <a:pt x="11155" y="20857"/>
                    <a:pt x="11164" y="20773"/>
                    <a:pt x="11185" y="20781"/>
                  </a:cubicBezTo>
                  <a:cubicBezTo>
                    <a:pt x="11224" y="20794"/>
                    <a:pt x="11205" y="20844"/>
                    <a:pt x="11191" y="20831"/>
                  </a:cubicBezTo>
                  <a:cubicBezTo>
                    <a:pt x="11231" y="20866"/>
                    <a:pt x="11269" y="20964"/>
                    <a:pt x="11353" y="20938"/>
                  </a:cubicBezTo>
                  <a:cubicBezTo>
                    <a:pt x="11416" y="20918"/>
                    <a:pt x="11416" y="20881"/>
                    <a:pt x="11367" y="20801"/>
                  </a:cubicBezTo>
                  <a:cubicBezTo>
                    <a:pt x="11419" y="20807"/>
                    <a:pt x="11500" y="20829"/>
                    <a:pt x="11494" y="20909"/>
                  </a:cubicBezTo>
                  <a:cubicBezTo>
                    <a:pt x="11612" y="20817"/>
                    <a:pt x="11551" y="20901"/>
                    <a:pt x="11584" y="20940"/>
                  </a:cubicBezTo>
                  <a:cubicBezTo>
                    <a:pt x="11640" y="21005"/>
                    <a:pt x="11659" y="21000"/>
                    <a:pt x="11718" y="20951"/>
                  </a:cubicBezTo>
                  <a:cubicBezTo>
                    <a:pt x="11771" y="20906"/>
                    <a:pt x="11780" y="20832"/>
                    <a:pt x="11836" y="20813"/>
                  </a:cubicBezTo>
                  <a:cubicBezTo>
                    <a:pt x="11936" y="20778"/>
                    <a:pt x="12029" y="20895"/>
                    <a:pt x="12106" y="20889"/>
                  </a:cubicBezTo>
                  <a:cubicBezTo>
                    <a:pt x="12255" y="20879"/>
                    <a:pt x="12151" y="20843"/>
                    <a:pt x="12119" y="20765"/>
                  </a:cubicBezTo>
                  <a:cubicBezTo>
                    <a:pt x="12070" y="20646"/>
                    <a:pt x="12092" y="20696"/>
                    <a:pt x="12151" y="20646"/>
                  </a:cubicBezTo>
                  <a:cubicBezTo>
                    <a:pt x="12186" y="20617"/>
                    <a:pt x="12158" y="20564"/>
                    <a:pt x="12221" y="20587"/>
                  </a:cubicBezTo>
                  <a:cubicBezTo>
                    <a:pt x="12267" y="20604"/>
                    <a:pt x="12261" y="20640"/>
                    <a:pt x="12314" y="20603"/>
                  </a:cubicBezTo>
                  <a:cubicBezTo>
                    <a:pt x="12372" y="20564"/>
                    <a:pt x="12285" y="20527"/>
                    <a:pt x="12255" y="20522"/>
                  </a:cubicBezTo>
                  <a:cubicBezTo>
                    <a:pt x="12302" y="20498"/>
                    <a:pt x="12429" y="20552"/>
                    <a:pt x="12454" y="20473"/>
                  </a:cubicBezTo>
                  <a:cubicBezTo>
                    <a:pt x="12475" y="20405"/>
                    <a:pt x="12333" y="20505"/>
                    <a:pt x="12310" y="20412"/>
                  </a:cubicBezTo>
                  <a:cubicBezTo>
                    <a:pt x="12306" y="20393"/>
                    <a:pt x="12371" y="20346"/>
                    <a:pt x="12406" y="20337"/>
                  </a:cubicBezTo>
                  <a:cubicBezTo>
                    <a:pt x="12472" y="20319"/>
                    <a:pt x="12437" y="20286"/>
                    <a:pt x="12468" y="20233"/>
                  </a:cubicBezTo>
                  <a:cubicBezTo>
                    <a:pt x="12481" y="20212"/>
                    <a:pt x="12565" y="20146"/>
                    <a:pt x="12575" y="20162"/>
                  </a:cubicBezTo>
                  <a:cubicBezTo>
                    <a:pt x="12594" y="20193"/>
                    <a:pt x="12745" y="20107"/>
                    <a:pt x="12745" y="20102"/>
                  </a:cubicBezTo>
                  <a:cubicBezTo>
                    <a:pt x="12743" y="20085"/>
                    <a:pt x="12571" y="19946"/>
                    <a:pt x="12550" y="19931"/>
                  </a:cubicBezTo>
                  <a:cubicBezTo>
                    <a:pt x="12612" y="19908"/>
                    <a:pt x="12692" y="19910"/>
                    <a:pt x="12756" y="19894"/>
                  </a:cubicBezTo>
                  <a:cubicBezTo>
                    <a:pt x="12683" y="19845"/>
                    <a:pt x="12610" y="19817"/>
                    <a:pt x="12554" y="19742"/>
                  </a:cubicBezTo>
                  <a:cubicBezTo>
                    <a:pt x="12581" y="19778"/>
                    <a:pt x="12548" y="19645"/>
                    <a:pt x="12547" y="19680"/>
                  </a:cubicBezTo>
                  <a:cubicBezTo>
                    <a:pt x="12547" y="19667"/>
                    <a:pt x="12472" y="19610"/>
                    <a:pt x="12555" y="19611"/>
                  </a:cubicBezTo>
                  <a:cubicBezTo>
                    <a:pt x="12701" y="19613"/>
                    <a:pt x="12851" y="19667"/>
                    <a:pt x="12986" y="19743"/>
                  </a:cubicBezTo>
                  <a:cubicBezTo>
                    <a:pt x="13066" y="19788"/>
                    <a:pt x="13144" y="19740"/>
                    <a:pt x="13049" y="19655"/>
                  </a:cubicBezTo>
                  <a:cubicBezTo>
                    <a:pt x="13178" y="19641"/>
                    <a:pt x="13308" y="19706"/>
                    <a:pt x="13437" y="19685"/>
                  </a:cubicBezTo>
                  <a:cubicBezTo>
                    <a:pt x="13486" y="19677"/>
                    <a:pt x="13488" y="19598"/>
                    <a:pt x="13503" y="19564"/>
                  </a:cubicBezTo>
                  <a:cubicBezTo>
                    <a:pt x="13515" y="19535"/>
                    <a:pt x="13564" y="19504"/>
                    <a:pt x="13534" y="19447"/>
                  </a:cubicBezTo>
                  <a:cubicBezTo>
                    <a:pt x="13524" y="19428"/>
                    <a:pt x="13344" y="19379"/>
                    <a:pt x="13482" y="19354"/>
                  </a:cubicBezTo>
                  <a:cubicBezTo>
                    <a:pt x="13458" y="19345"/>
                    <a:pt x="13424" y="19313"/>
                    <a:pt x="13407" y="19305"/>
                  </a:cubicBezTo>
                  <a:cubicBezTo>
                    <a:pt x="13600" y="19341"/>
                    <a:pt x="13413" y="19133"/>
                    <a:pt x="13344" y="19089"/>
                  </a:cubicBezTo>
                  <a:cubicBezTo>
                    <a:pt x="13285" y="19052"/>
                    <a:pt x="13221" y="19057"/>
                    <a:pt x="13164" y="19023"/>
                  </a:cubicBezTo>
                  <a:cubicBezTo>
                    <a:pt x="13157" y="19019"/>
                    <a:pt x="12996" y="18890"/>
                    <a:pt x="13002" y="18904"/>
                  </a:cubicBezTo>
                  <a:cubicBezTo>
                    <a:pt x="12967" y="18833"/>
                    <a:pt x="13061" y="18879"/>
                    <a:pt x="13081" y="18865"/>
                  </a:cubicBezTo>
                  <a:cubicBezTo>
                    <a:pt x="13112" y="18846"/>
                    <a:pt x="13089" y="18808"/>
                    <a:pt x="13121" y="18807"/>
                  </a:cubicBezTo>
                  <a:cubicBezTo>
                    <a:pt x="13234" y="18805"/>
                    <a:pt x="13134" y="18738"/>
                    <a:pt x="13126" y="18662"/>
                  </a:cubicBezTo>
                  <a:cubicBezTo>
                    <a:pt x="13129" y="18693"/>
                    <a:pt x="13198" y="18497"/>
                    <a:pt x="13155" y="18522"/>
                  </a:cubicBezTo>
                  <a:cubicBezTo>
                    <a:pt x="13226" y="18481"/>
                    <a:pt x="13221" y="18591"/>
                    <a:pt x="13287" y="18620"/>
                  </a:cubicBezTo>
                  <a:cubicBezTo>
                    <a:pt x="13235" y="18613"/>
                    <a:pt x="13239" y="18729"/>
                    <a:pt x="13234" y="18801"/>
                  </a:cubicBezTo>
                  <a:cubicBezTo>
                    <a:pt x="13228" y="18910"/>
                    <a:pt x="13221" y="18914"/>
                    <a:pt x="13292" y="18989"/>
                  </a:cubicBezTo>
                  <a:cubicBezTo>
                    <a:pt x="13317" y="19015"/>
                    <a:pt x="13392" y="19084"/>
                    <a:pt x="13414" y="19095"/>
                  </a:cubicBezTo>
                  <a:cubicBezTo>
                    <a:pt x="13436" y="19106"/>
                    <a:pt x="13472" y="19056"/>
                    <a:pt x="13485" y="19062"/>
                  </a:cubicBezTo>
                  <a:cubicBezTo>
                    <a:pt x="13494" y="19067"/>
                    <a:pt x="13504" y="19120"/>
                    <a:pt x="13506" y="19120"/>
                  </a:cubicBezTo>
                  <a:cubicBezTo>
                    <a:pt x="13548" y="19116"/>
                    <a:pt x="13569" y="19184"/>
                    <a:pt x="13549" y="19074"/>
                  </a:cubicBezTo>
                  <a:cubicBezTo>
                    <a:pt x="13545" y="19049"/>
                    <a:pt x="13488" y="18998"/>
                    <a:pt x="13475" y="18976"/>
                  </a:cubicBezTo>
                  <a:cubicBezTo>
                    <a:pt x="13534" y="18984"/>
                    <a:pt x="13555" y="18955"/>
                    <a:pt x="13524" y="18890"/>
                  </a:cubicBezTo>
                  <a:cubicBezTo>
                    <a:pt x="13595" y="18922"/>
                    <a:pt x="13558" y="19015"/>
                    <a:pt x="13616" y="19048"/>
                  </a:cubicBezTo>
                  <a:cubicBezTo>
                    <a:pt x="13699" y="19097"/>
                    <a:pt x="13612" y="18966"/>
                    <a:pt x="13611" y="18937"/>
                  </a:cubicBezTo>
                  <a:cubicBezTo>
                    <a:pt x="13607" y="18845"/>
                    <a:pt x="13656" y="18868"/>
                    <a:pt x="13665" y="18792"/>
                  </a:cubicBezTo>
                  <a:cubicBezTo>
                    <a:pt x="13665" y="18788"/>
                    <a:pt x="13586" y="18577"/>
                    <a:pt x="13659" y="18678"/>
                  </a:cubicBezTo>
                  <a:cubicBezTo>
                    <a:pt x="13707" y="18744"/>
                    <a:pt x="13690" y="18829"/>
                    <a:pt x="13720" y="18892"/>
                  </a:cubicBezTo>
                  <a:cubicBezTo>
                    <a:pt x="13746" y="18945"/>
                    <a:pt x="13812" y="18950"/>
                    <a:pt x="13801" y="18997"/>
                  </a:cubicBezTo>
                  <a:cubicBezTo>
                    <a:pt x="13799" y="19004"/>
                    <a:pt x="13676" y="19005"/>
                    <a:pt x="13708" y="19072"/>
                  </a:cubicBezTo>
                  <a:cubicBezTo>
                    <a:pt x="13728" y="19115"/>
                    <a:pt x="13824" y="19029"/>
                    <a:pt x="13862" y="19123"/>
                  </a:cubicBezTo>
                  <a:cubicBezTo>
                    <a:pt x="13828" y="19131"/>
                    <a:pt x="13789" y="19135"/>
                    <a:pt x="13757" y="19139"/>
                  </a:cubicBezTo>
                  <a:cubicBezTo>
                    <a:pt x="13829" y="19234"/>
                    <a:pt x="13949" y="19352"/>
                    <a:pt x="13776" y="19319"/>
                  </a:cubicBezTo>
                  <a:cubicBezTo>
                    <a:pt x="13820" y="19351"/>
                    <a:pt x="13952" y="19491"/>
                    <a:pt x="13840" y="19540"/>
                  </a:cubicBezTo>
                  <a:cubicBezTo>
                    <a:pt x="14075" y="19597"/>
                    <a:pt x="13947" y="19365"/>
                    <a:pt x="13913" y="19195"/>
                  </a:cubicBezTo>
                  <a:cubicBezTo>
                    <a:pt x="14028" y="19225"/>
                    <a:pt x="13905" y="19099"/>
                    <a:pt x="14030" y="19124"/>
                  </a:cubicBezTo>
                  <a:cubicBezTo>
                    <a:pt x="14006" y="19100"/>
                    <a:pt x="13837" y="18959"/>
                    <a:pt x="13850" y="18910"/>
                  </a:cubicBezTo>
                  <a:cubicBezTo>
                    <a:pt x="13860" y="18875"/>
                    <a:pt x="13986" y="18951"/>
                    <a:pt x="14011" y="18938"/>
                  </a:cubicBezTo>
                  <a:cubicBezTo>
                    <a:pt x="14086" y="18896"/>
                    <a:pt x="14038" y="18885"/>
                    <a:pt x="14035" y="18848"/>
                  </a:cubicBezTo>
                  <a:cubicBezTo>
                    <a:pt x="14034" y="18829"/>
                    <a:pt x="13996" y="18704"/>
                    <a:pt x="13996" y="18704"/>
                  </a:cubicBezTo>
                  <a:cubicBezTo>
                    <a:pt x="14015" y="18619"/>
                    <a:pt x="14032" y="18737"/>
                    <a:pt x="14084" y="18756"/>
                  </a:cubicBezTo>
                  <a:cubicBezTo>
                    <a:pt x="14137" y="18777"/>
                    <a:pt x="14123" y="18708"/>
                    <a:pt x="14154" y="18708"/>
                  </a:cubicBezTo>
                  <a:cubicBezTo>
                    <a:pt x="14182" y="18708"/>
                    <a:pt x="14215" y="18790"/>
                    <a:pt x="14247" y="18814"/>
                  </a:cubicBezTo>
                  <a:cubicBezTo>
                    <a:pt x="14228" y="18808"/>
                    <a:pt x="14197" y="18814"/>
                    <a:pt x="14179" y="18809"/>
                  </a:cubicBezTo>
                  <a:cubicBezTo>
                    <a:pt x="14225" y="18893"/>
                    <a:pt x="14208" y="18945"/>
                    <a:pt x="14271" y="18879"/>
                  </a:cubicBezTo>
                  <a:cubicBezTo>
                    <a:pt x="14330" y="18818"/>
                    <a:pt x="14323" y="18790"/>
                    <a:pt x="14296" y="18705"/>
                  </a:cubicBezTo>
                  <a:cubicBezTo>
                    <a:pt x="14290" y="18683"/>
                    <a:pt x="14186" y="18571"/>
                    <a:pt x="14235" y="18543"/>
                  </a:cubicBezTo>
                  <a:cubicBezTo>
                    <a:pt x="14287" y="18514"/>
                    <a:pt x="14300" y="18765"/>
                    <a:pt x="14360" y="18589"/>
                  </a:cubicBezTo>
                  <a:cubicBezTo>
                    <a:pt x="14394" y="18628"/>
                    <a:pt x="14369" y="18780"/>
                    <a:pt x="14351" y="18837"/>
                  </a:cubicBezTo>
                  <a:cubicBezTo>
                    <a:pt x="14337" y="18881"/>
                    <a:pt x="14290" y="18911"/>
                    <a:pt x="14287" y="18957"/>
                  </a:cubicBezTo>
                  <a:cubicBezTo>
                    <a:pt x="14281" y="19049"/>
                    <a:pt x="14333" y="18996"/>
                    <a:pt x="14352" y="18953"/>
                  </a:cubicBezTo>
                  <a:cubicBezTo>
                    <a:pt x="14404" y="19079"/>
                    <a:pt x="14229" y="19031"/>
                    <a:pt x="14298" y="19165"/>
                  </a:cubicBezTo>
                  <a:cubicBezTo>
                    <a:pt x="14371" y="19310"/>
                    <a:pt x="14377" y="18995"/>
                    <a:pt x="14471" y="19189"/>
                  </a:cubicBezTo>
                  <a:cubicBezTo>
                    <a:pt x="14396" y="19172"/>
                    <a:pt x="14396" y="19304"/>
                    <a:pt x="14435" y="19372"/>
                  </a:cubicBezTo>
                  <a:cubicBezTo>
                    <a:pt x="14499" y="19482"/>
                    <a:pt x="14575" y="19363"/>
                    <a:pt x="14478" y="19302"/>
                  </a:cubicBezTo>
                  <a:cubicBezTo>
                    <a:pt x="14499" y="19265"/>
                    <a:pt x="14494" y="19279"/>
                    <a:pt x="14510" y="19237"/>
                  </a:cubicBezTo>
                  <a:cubicBezTo>
                    <a:pt x="14541" y="19303"/>
                    <a:pt x="14600" y="19278"/>
                    <a:pt x="14629" y="19295"/>
                  </a:cubicBezTo>
                  <a:cubicBezTo>
                    <a:pt x="14645" y="19304"/>
                    <a:pt x="14701" y="19402"/>
                    <a:pt x="14721" y="19419"/>
                  </a:cubicBezTo>
                  <a:cubicBezTo>
                    <a:pt x="14734" y="19432"/>
                    <a:pt x="14707" y="19465"/>
                    <a:pt x="14737" y="19483"/>
                  </a:cubicBezTo>
                  <a:cubicBezTo>
                    <a:pt x="14749" y="19489"/>
                    <a:pt x="14772" y="19435"/>
                    <a:pt x="14785" y="19441"/>
                  </a:cubicBezTo>
                  <a:cubicBezTo>
                    <a:pt x="14832" y="19464"/>
                    <a:pt x="14868" y="19477"/>
                    <a:pt x="14896" y="19550"/>
                  </a:cubicBezTo>
                  <a:cubicBezTo>
                    <a:pt x="14905" y="19575"/>
                    <a:pt x="14921" y="19587"/>
                    <a:pt x="14930" y="19617"/>
                  </a:cubicBezTo>
                  <a:cubicBezTo>
                    <a:pt x="14931" y="19622"/>
                    <a:pt x="14892" y="19631"/>
                    <a:pt x="14901" y="19656"/>
                  </a:cubicBezTo>
                  <a:cubicBezTo>
                    <a:pt x="14934" y="19736"/>
                    <a:pt x="14985" y="19756"/>
                    <a:pt x="15056" y="19791"/>
                  </a:cubicBezTo>
                  <a:cubicBezTo>
                    <a:pt x="15225" y="19877"/>
                    <a:pt x="15089" y="19653"/>
                    <a:pt x="15076" y="19544"/>
                  </a:cubicBezTo>
                  <a:cubicBezTo>
                    <a:pt x="15081" y="19553"/>
                    <a:pt x="15111" y="19642"/>
                    <a:pt x="15108" y="19640"/>
                  </a:cubicBezTo>
                  <a:cubicBezTo>
                    <a:pt x="15096" y="19630"/>
                    <a:pt x="15176" y="19701"/>
                    <a:pt x="15150" y="19654"/>
                  </a:cubicBezTo>
                  <a:cubicBezTo>
                    <a:pt x="15154" y="19663"/>
                    <a:pt x="15199" y="19714"/>
                    <a:pt x="15208" y="19770"/>
                  </a:cubicBezTo>
                  <a:cubicBezTo>
                    <a:pt x="15217" y="19824"/>
                    <a:pt x="15199" y="19854"/>
                    <a:pt x="15207" y="19900"/>
                  </a:cubicBezTo>
                  <a:cubicBezTo>
                    <a:pt x="15214" y="19947"/>
                    <a:pt x="15258" y="19961"/>
                    <a:pt x="15249" y="20033"/>
                  </a:cubicBezTo>
                  <a:cubicBezTo>
                    <a:pt x="15292" y="19968"/>
                    <a:pt x="15357" y="20016"/>
                    <a:pt x="15398" y="20076"/>
                  </a:cubicBezTo>
                  <a:cubicBezTo>
                    <a:pt x="15354" y="20147"/>
                    <a:pt x="15455" y="20107"/>
                    <a:pt x="15475" y="20083"/>
                  </a:cubicBezTo>
                  <a:cubicBezTo>
                    <a:pt x="15530" y="20012"/>
                    <a:pt x="15457" y="20055"/>
                    <a:pt x="15456" y="19996"/>
                  </a:cubicBezTo>
                  <a:cubicBezTo>
                    <a:pt x="15454" y="19928"/>
                    <a:pt x="15454" y="19782"/>
                    <a:pt x="15511" y="19780"/>
                  </a:cubicBezTo>
                  <a:cubicBezTo>
                    <a:pt x="15476" y="19756"/>
                    <a:pt x="15462" y="19712"/>
                    <a:pt x="15470" y="19657"/>
                  </a:cubicBezTo>
                  <a:cubicBezTo>
                    <a:pt x="15505" y="19724"/>
                    <a:pt x="15544" y="19787"/>
                    <a:pt x="15600" y="19691"/>
                  </a:cubicBezTo>
                  <a:cubicBezTo>
                    <a:pt x="15607" y="19761"/>
                    <a:pt x="15562" y="19783"/>
                    <a:pt x="15552" y="19867"/>
                  </a:cubicBezTo>
                  <a:cubicBezTo>
                    <a:pt x="15544" y="19935"/>
                    <a:pt x="15570" y="20026"/>
                    <a:pt x="15598" y="20070"/>
                  </a:cubicBezTo>
                  <a:cubicBezTo>
                    <a:pt x="15457" y="20015"/>
                    <a:pt x="15586" y="20261"/>
                    <a:pt x="15628" y="20270"/>
                  </a:cubicBezTo>
                  <a:cubicBezTo>
                    <a:pt x="15724" y="20289"/>
                    <a:pt x="15640" y="20076"/>
                    <a:pt x="15624" y="20019"/>
                  </a:cubicBezTo>
                  <a:cubicBezTo>
                    <a:pt x="15666" y="20062"/>
                    <a:pt x="15714" y="20128"/>
                    <a:pt x="15737" y="20042"/>
                  </a:cubicBezTo>
                  <a:cubicBezTo>
                    <a:pt x="15772" y="20071"/>
                    <a:pt x="15795" y="20133"/>
                    <a:pt x="15816" y="20176"/>
                  </a:cubicBezTo>
                  <a:cubicBezTo>
                    <a:pt x="15832" y="20127"/>
                    <a:pt x="15833" y="20067"/>
                    <a:pt x="15828" y="20018"/>
                  </a:cubicBezTo>
                  <a:cubicBezTo>
                    <a:pt x="15876" y="20046"/>
                    <a:pt x="15889" y="20257"/>
                    <a:pt x="15909" y="20111"/>
                  </a:cubicBezTo>
                  <a:cubicBezTo>
                    <a:pt x="15916" y="20058"/>
                    <a:pt x="15894" y="19971"/>
                    <a:pt x="15888" y="19901"/>
                  </a:cubicBezTo>
                  <a:cubicBezTo>
                    <a:pt x="15877" y="19905"/>
                    <a:pt x="15789" y="19978"/>
                    <a:pt x="15796" y="19982"/>
                  </a:cubicBezTo>
                  <a:cubicBezTo>
                    <a:pt x="15769" y="19965"/>
                    <a:pt x="15765" y="19867"/>
                    <a:pt x="15782" y="19837"/>
                  </a:cubicBezTo>
                  <a:cubicBezTo>
                    <a:pt x="15824" y="19767"/>
                    <a:pt x="15968" y="19912"/>
                    <a:pt x="15990" y="19992"/>
                  </a:cubicBezTo>
                  <a:cubicBezTo>
                    <a:pt x="15990" y="19951"/>
                    <a:pt x="15998" y="19898"/>
                    <a:pt x="15999" y="19854"/>
                  </a:cubicBezTo>
                  <a:cubicBezTo>
                    <a:pt x="16015" y="19872"/>
                    <a:pt x="16084" y="20146"/>
                    <a:pt x="16117" y="20001"/>
                  </a:cubicBezTo>
                  <a:cubicBezTo>
                    <a:pt x="16123" y="19975"/>
                    <a:pt x="16048" y="19963"/>
                    <a:pt x="16058" y="19904"/>
                  </a:cubicBezTo>
                  <a:cubicBezTo>
                    <a:pt x="16065" y="19867"/>
                    <a:pt x="16123" y="19874"/>
                    <a:pt x="16140" y="19876"/>
                  </a:cubicBezTo>
                  <a:cubicBezTo>
                    <a:pt x="16137" y="20002"/>
                    <a:pt x="16183" y="19989"/>
                    <a:pt x="16206" y="20048"/>
                  </a:cubicBezTo>
                  <a:cubicBezTo>
                    <a:pt x="16213" y="20067"/>
                    <a:pt x="16163" y="20219"/>
                    <a:pt x="16275" y="20124"/>
                  </a:cubicBezTo>
                  <a:cubicBezTo>
                    <a:pt x="16309" y="20095"/>
                    <a:pt x="16269" y="20053"/>
                    <a:pt x="16296" y="20008"/>
                  </a:cubicBezTo>
                  <a:cubicBezTo>
                    <a:pt x="16293" y="20012"/>
                    <a:pt x="16278" y="19905"/>
                    <a:pt x="16321" y="19993"/>
                  </a:cubicBezTo>
                  <a:cubicBezTo>
                    <a:pt x="16336" y="20025"/>
                    <a:pt x="16335" y="20070"/>
                    <a:pt x="16326" y="20105"/>
                  </a:cubicBezTo>
                  <a:cubicBezTo>
                    <a:pt x="16439" y="20105"/>
                    <a:pt x="16323" y="20008"/>
                    <a:pt x="16389" y="19962"/>
                  </a:cubicBezTo>
                  <a:cubicBezTo>
                    <a:pt x="16413" y="19945"/>
                    <a:pt x="16432" y="20045"/>
                    <a:pt x="16426" y="20089"/>
                  </a:cubicBezTo>
                  <a:cubicBezTo>
                    <a:pt x="16418" y="20154"/>
                    <a:pt x="16400" y="20183"/>
                    <a:pt x="16378" y="20241"/>
                  </a:cubicBezTo>
                  <a:cubicBezTo>
                    <a:pt x="16372" y="20254"/>
                    <a:pt x="16386" y="20287"/>
                    <a:pt x="16371" y="20318"/>
                  </a:cubicBezTo>
                  <a:cubicBezTo>
                    <a:pt x="16360" y="20341"/>
                    <a:pt x="16327" y="20350"/>
                    <a:pt x="16316" y="20378"/>
                  </a:cubicBezTo>
                  <a:cubicBezTo>
                    <a:pt x="16271" y="20492"/>
                    <a:pt x="16323" y="20525"/>
                    <a:pt x="16175" y="20578"/>
                  </a:cubicBezTo>
                  <a:cubicBezTo>
                    <a:pt x="16117" y="20599"/>
                    <a:pt x="15973" y="20613"/>
                    <a:pt x="15976" y="20702"/>
                  </a:cubicBezTo>
                  <a:cubicBezTo>
                    <a:pt x="15783" y="20637"/>
                    <a:pt x="16077" y="20878"/>
                    <a:pt x="16024" y="20685"/>
                  </a:cubicBezTo>
                  <a:cubicBezTo>
                    <a:pt x="16073" y="20723"/>
                    <a:pt x="16218" y="20750"/>
                    <a:pt x="16178" y="20626"/>
                  </a:cubicBezTo>
                  <a:cubicBezTo>
                    <a:pt x="16207" y="20642"/>
                    <a:pt x="16248" y="20686"/>
                    <a:pt x="16258" y="20728"/>
                  </a:cubicBezTo>
                  <a:cubicBezTo>
                    <a:pt x="16269" y="20772"/>
                    <a:pt x="16203" y="20753"/>
                    <a:pt x="16208" y="20782"/>
                  </a:cubicBezTo>
                  <a:cubicBezTo>
                    <a:pt x="16213" y="20807"/>
                    <a:pt x="16268" y="20845"/>
                    <a:pt x="16279" y="20860"/>
                  </a:cubicBezTo>
                  <a:cubicBezTo>
                    <a:pt x="16290" y="20876"/>
                    <a:pt x="16301" y="20931"/>
                    <a:pt x="16303" y="20942"/>
                  </a:cubicBezTo>
                  <a:cubicBezTo>
                    <a:pt x="16332" y="20904"/>
                    <a:pt x="16365" y="20877"/>
                    <a:pt x="16389" y="20913"/>
                  </a:cubicBezTo>
                  <a:cubicBezTo>
                    <a:pt x="16412" y="20948"/>
                    <a:pt x="16325" y="20958"/>
                    <a:pt x="16328" y="20994"/>
                  </a:cubicBezTo>
                  <a:cubicBezTo>
                    <a:pt x="16327" y="20984"/>
                    <a:pt x="16429" y="21119"/>
                    <a:pt x="16400" y="21098"/>
                  </a:cubicBezTo>
                  <a:cubicBezTo>
                    <a:pt x="16469" y="21147"/>
                    <a:pt x="16555" y="21136"/>
                    <a:pt x="16627" y="21104"/>
                  </a:cubicBezTo>
                  <a:cubicBezTo>
                    <a:pt x="16710" y="21067"/>
                    <a:pt x="16660" y="21171"/>
                    <a:pt x="16687" y="21199"/>
                  </a:cubicBezTo>
                  <a:cubicBezTo>
                    <a:pt x="16713" y="21225"/>
                    <a:pt x="16814" y="21287"/>
                    <a:pt x="16841" y="21270"/>
                  </a:cubicBezTo>
                  <a:cubicBezTo>
                    <a:pt x="16910" y="21223"/>
                    <a:pt x="16844" y="21116"/>
                    <a:pt x="16858" y="21027"/>
                  </a:cubicBezTo>
                  <a:cubicBezTo>
                    <a:pt x="16994" y="21162"/>
                    <a:pt x="16941" y="20927"/>
                    <a:pt x="16944" y="20888"/>
                  </a:cubicBezTo>
                  <a:cubicBezTo>
                    <a:pt x="16947" y="20848"/>
                    <a:pt x="16939" y="20830"/>
                    <a:pt x="16953" y="20789"/>
                  </a:cubicBezTo>
                  <a:cubicBezTo>
                    <a:pt x="16980" y="20715"/>
                    <a:pt x="17000" y="20829"/>
                    <a:pt x="16973" y="20832"/>
                  </a:cubicBezTo>
                  <a:cubicBezTo>
                    <a:pt x="16953" y="20836"/>
                    <a:pt x="17071" y="20890"/>
                    <a:pt x="17025" y="20828"/>
                  </a:cubicBezTo>
                  <a:cubicBezTo>
                    <a:pt x="17034" y="20840"/>
                    <a:pt x="17050" y="20734"/>
                    <a:pt x="17052" y="20858"/>
                  </a:cubicBezTo>
                  <a:cubicBezTo>
                    <a:pt x="17052" y="20861"/>
                    <a:pt x="17024" y="20995"/>
                    <a:pt x="17023" y="21000"/>
                  </a:cubicBezTo>
                  <a:cubicBezTo>
                    <a:pt x="17017" y="21022"/>
                    <a:pt x="17010" y="21097"/>
                    <a:pt x="17003" y="21113"/>
                  </a:cubicBezTo>
                  <a:cubicBezTo>
                    <a:pt x="17000" y="21119"/>
                    <a:pt x="16846" y="21203"/>
                    <a:pt x="16942" y="21252"/>
                  </a:cubicBezTo>
                  <a:cubicBezTo>
                    <a:pt x="17040" y="21302"/>
                    <a:pt x="17016" y="21111"/>
                    <a:pt x="17029" y="21103"/>
                  </a:cubicBezTo>
                  <a:cubicBezTo>
                    <a:pt x="17071" y="21079"/>
                    <a:pt x="17086" y="21186"/>
                    <a:pt x="17089" y="21226"/>
                  </a:cubicBezTo>
                  <a:cubicBezTo>
                    <a:pt x="17090" y="21231"/>
                    <a:pt x="16996" y="21257"/>
                    <a:pt x="17060" y="21276"/>
                  </a:cubicBezTo>
                  <a:cubicBezTo>
                    <a:pt x="17102" y="21289"/>
                    <a:pt x="17148" y="21208"/>
                    <a:pt x="17190" y="21220"/>
                  </a:cubicBezTo>
                  <a:cubicBezTo>
                    <a:pt x="17230" y="21232"/>
                    <a:pt x="17164" y="21294"/>
                    <a:pt x="17178" y="21300"/>
                  </a:cubicBezTo>
                  <a:cubicBezTo>
                    <a:pt x="17229" y="21324"/>
                    <a:pt x="17314" y="21279"/>
                    <a:pt x="17367" y="21265"/>
                  </a:cubicBezTo>
                  <a:cubicBezTo>
                    <a:pt x="17468" y="21237"/>
                    <a:pt x="17498" y="21234"/>
                    <a:pt x="17597" y="21281"/>
                  </a:cubicBezTo>
                  <a:cubicBezTo>
                    <a:pt x="17699" y="21329"/>
                    <a:pt x="17971" y="21369"/>
                    <a:pt x="17949" y="21114"/>
                  </a:cubicBezTo>
                  <a:cubicBezTo>
                    <a:pt x="17989" y="21169"/>
                    <a:pt x="18120" y="21184"/>
                    <a:pt x="18094" y="21087"/>
                  </a:cubicBezTo>
                  <a:cubicBezTo>
                    <a:pt x="18082" y="21047"/>
                    <a:pt x="18014" y="21071"/>
                    <a:pt x="18005" y="21001"/>
                  </a:cubicBezTo>
                  <a:cubicBezTo>
                    <a:pt x="18053" y="21013"/>
                    <a:pt x="18109" y="21027"/>
                    <a:pt x="18149" y="21066"/>
                  </a:cubicBezTo>
                  <a:cubicBezTo>
                    <a:pt x="18198" y="21114"/>
                    <a:pt x="18160" y="21054"/>
                    <a:pt x="18191" y="21031"/>
                  </a:cubicBezTo>
                  <a:cubicBezTo>
                    <a:pt x="18203" y="21022"/>
                    <a:pt x="18162" y="20972"/>
                    <a:pt x="18229" y="20964"/>
                  </a:cubicBezTo>
                  <a:cubicBezTo>
                    <a:pt x="18256" y="20960"/>
                    <a:pt x="18314" y="20915"/>
                    <a:pt x="18338" y="20928"/>
                  </a:cubicBezTo>
                  <a:cubicBezTo>
                    <a:pt x="18395" y="20956"/>
                    <a:pt x="18163" y="21166"/>
                    <a:pt x="18371" y="21056"/>
                  </a:cubicBezTo>
                  <a:cubicBezTo>
                    <a:pt x="18379" y="21160"/>
                    <a:pt x="18293" y="21132"/>
                    <a:pt x="18295" y="21212"/>
                  </a:cubicBezTo>
                  <a:cubicBezTo>
                    <a:pt x="18296" y="21262"/>
                    <a:pt x="18458" y="21356"/>
                    <a:pt x="18485" y="21386"/>
                  </a:cubicBezTo>
                  <a:cubicBezTo>
                    <a:pt x="18487" y="21330"/>
                    <a:pt x="18456" y="21276"/>
                    <a:pt x="18428" y="21241"/>
                  </a:cubicBezTo>
                  <a:cubicBezTo>
                    <a:pt x="18479" y="21270"/>
                    <a:pt x="18510" y="21336"/>
                    <a:pt x="18544" y="21385"/>
                  </a:cubicBezTo>
                  <a:cubicBezTo>
                    <a:pt x="18555" y="21316"/>
                    <a:pt x="18551" y="21242"/>
                    <a:pt x="18537" y="21167"/>
                  </a:cubicBezTo>
                  <a:cubicBezTo>
                    <a:pt x="18635" y="21275"/>
                    <a:pt x="18591" y="21429"/>
                    <a:pt x="18741" y="21500"/>
                  </a:cubicBezTo>
                  <a:cubicBezTo>
                    <a:pt x="18786" y="21521"/>
                    <a:pt x="18861" y="21555"/>
                    <a:pt x="18908" y="21550"/>
                  </a:cubicBezTo>
                  <a:cubicBezTo>
                    <a:pt x="18943" y="21547"/>
                    <a:pt x="18971" y="21513"/>
                    <a:pt x="19006" y="21501"/>
                  </a:cubicBezTo>
                  <a:cubicBezTo>
                    <a:pt x="19073" y="21479"/>
                    <a:pt x="19026" y="21499"/>
                    <a:pt x="19085" y="21509"/>
                  </a:cubicBezTo>
                  <a:cubicBezTo>
                    <a:pt x="19140" y="21519"/>
                    <a:pt x="19196" y="21559"/>
                    <a:pt x="19253" y="21570"/>
                  </a:cubicBezTo>
                  <a:cubicBezTo>
                    <a:pt x="19356" y="21590"/>
                    <a:pt x="19442" y="21547"/>
                    <a:pt x="19542" y="21504"/>
                  </a:cubicBezTo>
                  <a:cubicBezTo>
                    <a:pt x="19629" y="21466"/>
                    <a:pt x="19856" y="21401"/>
                    <a:pt x="19910" y="21319"/>
                  </a:cubicBezTo>
                  <a:cubicBezTo>
                    <a:pt x="19967" y="21462"/>
                    <a:pt x="20075" y="21281"/>
                    <a:pt x="20137" y="21244"/>
                  </a:cubicBezTo>
                  <a:cubicBezTo>
                    <a:pt x="20168" y="21226"/>
                    <a:pt x="20259" y="21199"/>
                    <a:pt x="20292" y="21213"/>
                  </a:cubicBezTo>
                  <a:cubicBezTo>
                    <a:pt x="20318" y="21224"/>
                    <a:pt x="20360" y="21308"/>
                    <a:pt x="20374" y="21311"/>
                  </a:cubicBezTo>
                  <a:cubicBezTo>
                    <a:pt x="20418" y="21321"/>
                    <a:pt x="20417" y="21236"/>
                    <a:pt x="20448" y="21242"/>
                  </a:cubicBezTo>
                  <a:cubicBezTo>
                    <a:pt x="20489" y="21250"/>
                    <a:pt x="20532" y="21294"/>
                    <a:pt x="20573" y="21290"/>
                  </a:cubicBezTo>
                  <a:cubicBezTo>
                    <a:pt x="20600" y="21288"/>
                    <a:pt x="20607" y="21228"/>
                    <a:pt x="20623" y="21222"/>
                  </a:cubicBezTo>
                  <a:cubicBezTo>
                    <a:pt x="20628" y="21220"/>
                    <a:pt x="20670" y="21243"/>
                    <a:pt x="20670" y="21242"/>
                  </a:cubicBezTo>
                  <a:cubicBezTo>
                    <a:pt x="20705" y="21215"/>
                    <a:pt x="20713" y="21242"/>
                    <a:pt x="20691" y="21188"/>
                  </a:cubicBezTo>
                  <a:cubicBezTo>
                    <a:pt x="20790" y="21154"/>
                    <a:pt x="20885" y="21173"/>
                    <a:pt x="20966" y="21216"/>
                  </a:cubicBezTo>
                  <a:cubicBezTo>
                    <a:pt x="21003" y="21235"/>
                    <a:pt x="20973" y="21278"/>
                    <a:pt x="21047" y="21271"/>
                  </a:cubicBezTo>
                  <a:cubicBezTo>
                    <a:pt x="21137" y="21262"/>
                    <a:pt x="21228" y="21234"/>
                    <a:pt x="21317" y="21215"/>
                  </a:cubicBezTo>
                  <a:lnTo>
                    <a:pt x="21520" y="20973"/>
                  </a:lnTo>
                  <a:cubicBezTo>
                    <a:pt x="21487" y="20935"/>
                    <a:pt x="21455" y="20891"/>
                    <a:pt x="21425" y="20851"/>
                  </a:cubicBezTo>
                  <a:cubicBezTo>
                    <a:pt x="21415" y="20868"/>
                    <a:pt x="21317" y="20845"/>
                    <a:pt x="21295" y="20821"/>
                  </a:cubicBezTo>
                  <a:cubicBezTo>
                    <a:pt x="21292" y="20818"/>
                    <a:pt x="21297" y="20760"/>
                    <a:pt x="21280" y="20738"/>
                  </a:cubicBezTo>
                  <a:cubicBezTo>
                    <a:pt x="21263" y="20718"/>
                    <a:pt x="21242" y="20710"/>
                    <a:pt x="21226" y="20691"/>
                  </a:cubicBezTo>
                  <a:cubicBezTo>
                    <a:pt x="21196" y="20651"/>
                    <a:pt x="21193" y="20639"/>
                    <a:pt x="21165" y="20655"/>
                  </a:cubicBezTo>
                  <a:cubicBezTo>
                    <a:pt x="21169" y="20566"/>
                    <a:pt x="21242" y="20659"/>
                    <a:pt x="21312" y="20654"/>
                  </a:cubicBezTo>
                  <a:cubicBezTo>
                    <a:pt x="21296" y="20563"/>
                    <a:pt x="21257" y="20527"/>
                    <a:pt x="21249" y="20427"/>
                  </a:cubicBezTo>
                  <a:cubicBezTo>
                    <a:pt x="21242" y="20339"/>
                    <a:pt x="21314" y="20328"/>
                    <a:pt x="21222" y="20280"/>
                  </a:cubicBezTo>
                  <a:cubicBezTo>
                    <a:pt x="21156" y="20244"/>
                    <a:pt x="21114" y="20434"/>
                    <a:pt x="20996" y="20360"/>
                  </a:cubicBezTo>
                  <a:cubicBezTo>
                    <a:pt x="21018" y="20356"/>
                    <a:pt x="21043" y="20333"/>
                    <a:pt x="21069" y="20330"/>
                  </a:cubicBezTo>
                  <a:cubicBezTo>
                    <a:pt x="21048" y="20256"/>
                    <a:pt x="20982" y="20202"/>
                    <a:pt x="20940" y="20160"/>
                  </a:cubicBezTo>
                  <a:cubicBezTo>
                    <a:pt x="20944" y="20175"/>
                    <a:pt x="20945" y="20210"/>
                    <a:pt x="20951" y="20230"/>
                  </a:cubicBezTo>
                  <a:cubicBezTo>
                    <a:pt x="20852" y="20147"/>
                    <a:pt x="20869" y="20310"/>
                    <a:pt x="20942" y="20371"/>
                  </a:cubicBezTo>
                  <a:cubicBezTo>
                    <a:pt x="20909" y="20388"/>
                    <a:pt x="20870" y="20371"/>
                    <a:pt x="20835" y="20344"/>
                  </a:cubicBezTo>
                  <a:cubicBezTo>
                    <a:pt x="20768" y="20289"/>
                    <a:pt x="20799" y="20349"/>
                    <a:pt x="20799" y="20268"/>
                  </a:cubicBezTo>
                  <a:cubicBezTo>
                    <a:pt x="20799" y="20215"/>
                    <a:pt x="20837" y="20188"/>
                    <a:pt x="20832" y="20144"/>
                  </a:cubicBezTo>
                  <a:cubicBezTo>
                    <a:pt x="20828" y="20100"/>
                    <a:pt x="20757" y="20136"/>
                    <a:pt x="20772" y="20042"/>
                  </a:cubicBezTo>
                  <a:cubicBezTo>
                    <a:pt x="20741" y="20051"/>
                    <a:pt x="20683" y="20161"/>
                    <a:pt x="20682" y="20161"/>
                  </a:cubicBezTo>
                  <a:cubicBezTo>
                    <a:pt x="20655" y="20148"/>
                    <a:pt x="20660" y="20039"/>
                    <a:pt x="20644" y="20012"/>
                  </a:cubicBezTo>
                  <a:cubicBezTo>
                    <a:pt x="20624" y="19976"/>
                    <a:pt x="20603" y="19987"/>
                    <a:pt x="20582" y="19964"/>
                  </a:cubicBezTo>
                  <a:cubicBezTo>
                    <a:pt x="20537" y="19916"/>
                    <a:pt x="20527" y="19905"/>
                    <a:pt x="20477" y="19879"/>
                  </a:cubicBezTo>
                  <a:cubicBezTo>
                    <a:pt x="20428" y="19854"/>
                    <a:pt x="20370" y="19857"/>
                    <a:pt x="20383" y="19799"/>
                  </a:cubicBezTo>
                  <a:cubicBezTo>
                    <a:pt x="20304" y="19915"/>
                    <a:pt x="20353" y="19756"/>
                    <a:pt x="20264" y="19778"/>
                  </a:cubicBezTo>
                  <a:cubicBezTo>
                    <a:pt x="20235" y="19785"/>
                    <a:pt x="20163" y="19898"/>
                    <a:pt x="20144" y="19936"/>
                  </a:cubicBezTo>
                  <a:cubicBezTo>
                    <a:pt x="20154" y="19891"/>
                    <a:pt x="20151" y="19850"/>
                    <a:pt x="20171" y="19811"/>
                  </a:cubicBezTo>
                  <a:cubicBezTo>
                    <a:pt x="20134" y="19810"/>
                    <a:pt x="20101" y="19838"/>
                    <a:pt x="20079" y="19881"/>
                  </a:cubicBezTo>
                  <a:cubicBezTo>
                    <a:pt x="20084" y="19809"/>
                    <a:pt x="20011" y="19646"/>
                    <a:pt x="19980" y="19777"/>
                  </a:cubicBezTo>
                  <a:cubicBezTo>
                    <a:pt x="19978" y="19606"/>
                    <a:pt x="19895" y="19666"/>
                    <a:pt x="19854" y="19723"/>
                  </a:cubicBezTo>
                  <a:cubicBezTo>
                    <a:pt x="19865" y="19690"/>
                    <a:pt x="19871" y="19634"/>
                    <a:pt x="19845" y="19602"/>
                  </a:cubicBezTo>
                  <a:cubicBezTo>
                    <a:pt x="19796" y="19542"/>
                    <a:pt x="19816" y="19622"/>
                    <a:pt x="19788" y="19631"/>
                  </a:cubicBezTo>
                  <a:cubicBezTo>
                    <a:pt x="19773" y="19636"/>
                    <a:pt x="19770" y="19708"/>
                    <a:pt x="19734" y="19701"/>
                  </a:cubicBezTo>
                  <a:cubicBezTo>
                    <a:pt x="19703" y="19696"/>
                    <a:pt x="19774" y="19596"/>
                    <a:pt x="19782" y="19588"/>
                  </a:cubicBezTo>
                  <a:cubicBezTo>
                    <a:pt x="19728" y="19579"/>
                    <a:pt x="19655" y="19465"/>
                    <a:pt x="19628" y="19563"/>
                  </a:cubicBezTo>
                  <a:cubicBezTo>
                    <a:pt x="19611" y="19522"/>
                    <a:pt x="19579" y="19473"/>
                    <a:pt x="19543" y="19482"/>
                  </a:cubicBezTo>
                  <a:cubicBezTo>
                    <a:pt x="19503" y="19491"/>
                    <a:pt x="19400" y="19945"/>
                    <a:pt x="19456" y="19538"/>
                  </a:cubicBezTo>
                  <a:cubicBezTo>
                    <a:pt x="19464" y="19479"/>
                    <a:pt x="19532" y="19368"/>
                    <a:pt x="19422" y="19411"/>
                  </a:cubicBezTo>
                  <a:cubicBezTo>
                    <a:pt x="19388" y="19424"/>
                    <a:pt x="19354" y="19533"/>
                    <a:pt x="19347" y="19584"/>
                  </a:cubicBezTo>
                  <a:cubicBezTo>
                    <a:pt x="19346" y="19595"/>
                    <a:pt x="19433" y="19702"/>
                    <a:pt x="19358" y="19684"/>
                  </a:cubicBezTo>
                  <a:cubicBezTo>
                    <a:pt x="19375" y="19688"/>
                    <a:pt x="19315" y="19593"/>
                    <a:pt x="19313" y="19586"/>
                  </a:cubicBezTo>
                  <a:cubicBezTo>
                    <a:pt x="19298" y="19526"/>
                    <a:pt x="19387" y="19351"/>
                    <a:pt x="19353" y="19333"/>
                  </a:cubicBezTo>
                  <a:cubicBezTo>
                    <a:pt x="19306" y="19308"/>
                    <a:pt x="19306" y="19388"/>
                    <a:pt x="19269" y="19401"/>
                  </a:cubicBezTo>
                  <a:cubicBezTo>
                    <a:pt x="19257" y="19404"/>
                    <a:pt x="19176" y="19401"/>
                    <a:pt x="19178" y="19399"/>
                  </a:cubicBezTo>
                  <a:cubicBezTo>
                    <a:pt x="19114" y="19451"/>
                    <a:pt x="19181" y="19515"/>
                    <a:pt x="19126" y="19565"/>
                  </a:cubicBezTo>
                  <a:cubicBezTo>
                    <a:pt x="19097" y="19450"/>
                    <a:pt x="19137" y="19403"/>
                    <a:pt x="19048" y="19395"/>
                  </a:cubicBezTo>
                  <a:cubicBezTo>
                    <a:pt x="19021" y="19393"/>
                    <a:pt x="18988" y="19417"/>
                    <a:pt x="18970" y="19421"/>
                  </a:cubicBezTo>
                  <a:cubicBezTo>
                    <a:pt x="18946" y="19425"/>
                    <a:pt x="18962" y="19455"/>
                    <a:pt x="18921" y="19451"/>
                  </a:cubicBezTo>
                  <a:cubicBezTo>
                    <a:pt x="18888" y="19448"/>
                    <a:pt x="18840" y="19372"/>
                    <a:pt x="18843" y="19374"/>
                  </a:cubicBezTo>
                  <a:cubicBezTo>
                    <a:pt x="18782" y="19320"/>
                    <a:pt x="18722" y="19244"/>
                    <a:pt x="18652" y="19184"/>
                  </a:cubicBezTo>
                  <a:cubicBezTo>
                    <a:pt x="18606" y="19146"/>
                    <a:pt x="18464" y="19093"/>
                    <a:pt x="18502" y="19021"/>
                  </a:cubicBezTo>
                  <a:cubicBezTo>
                    <a:pt x="18431" y="19054"/>
                    <a:pt x="18335" y="19000"/>
                    <a:pt x="18264" y="18956"/>
                  </a:cubicBezTo>
                  <a:cubicBezTo>
                    <a:pt x="18220" y="18929"/>
                    <a:pt x="18194" y="18905"/>
                    <a:pt x="18156" y="18866"/>
                  </a:cubicBezTo>
                  <a:cubicBezTo>
                    <a:pt x="18135" y="18846"/>
                    <a:pt x="18105" y="18866"/>
                    <a:pt x="18090" y="18847"/>
                  </a:cubicBezTo>
                  <a:cubicBezTo>
                    <a:pt x="18080" y="18835"/>
                    <a:pt x="18105" y="18789"/>
                    <a:pt x="18082" y="18761"/>
                  </a:cubicBezTo>
                  <a:cubicBezTo>
                    <a:pt x="18039" y="18707"/>
                    <a:pt x="17847" y="18648"/>
                    <a:pt x="17906" y="18563"/>
                  </a:cubicBezTo>
                  <a:cubicBezTo>
                    <a:pt x="17925" y="18536"/>
                    <a:pt x="18180" y="18557"/>
                    <a:pt x="18033" y="18443"/>
                  </a:cubicBezTo>
                  <a:cubicBezTo>
                    <a:pt x="18086" y="18430"/>
                    <a:pt x="18215" y="18396"/>
                    <a:pt x="18246" y="18403"/>
                  </a:cubicBezTo>
                  <a:cubicBezTo>
                    <a:pt x="18311" y="18417"/>
                    <a:pt x="18345" y="18541"/>
                    <a:pt x="18415" y="18525"/>
                  </a:cubicBezTo>
                  <a:cubicBezTo>
                    <a:pt x="18490" y="18507"/>
                    <a:pt x="18347" y="18307"/>
                    <a:pt x="18463" y="18436"/>
                  </a:cubicBezTo>
                  <a:cubicBezTo>
                    <a:pt x="18490" y="18467"/>
                    <a:pt x="18512" y="18548"/>
                    <a:pt x="18533" y="18560"/>
                  </a:cubicBezTo>
                  <a:cubicBezTo>
                    <a:pt x="18525" y="18555"/>
                    <a:pt x="18586" y="18557"/>
                    <a:pt x="18600" y="18562"/>
                  </a:cubicBezTo>
                  <a:cubicBezTo>
                    <a:pt x="18599" y="18562"/>
                    <a:pt x="18612" y="18541"/>
                    <a:pt x="18631" y="18547"/>
                  </a:cubicBezTo>
                  <a:cubicBezTo>
                    <a:pt x="18641" y="18550"/>
                    <a:pt x="18644" y="18586"/>
                    <a:pt x="18658" y="18590"/>
                  </a:cubicBezTo>
                  <a:cubicBezTo>
                    <a:pt x="18687" y="18598"/>
                    <a:pt x="18704" y="18579"/>
                    <a:pt x="18737" y="18594"/>
                  </a:cubicBezTo>
                  <a:cubicBezTo>
                    <a:pt x="18802" y="18624"/>
                    <a:pt x="18858" y="18669"/>
                    <a:pt x="18915" y="18710"/>
                  </a:cubicBezTo>
                  <a:cubicBezTo>
                    <a:pt x="18958" y="18742"/>
                    <a:pt x="19074" y="18883"/>
                    <a:pt x="19072" y="18740"/>
                  </a:cubicBezTo>
                  <a:cubicBezTo>
                    <a:pt x="19070" y="18636"/>
                    <a:pt x="18951" y="18566"/>
                    <a:pt x="18904" y="18509"/>
                  </a:cubicBezTo>
                  <a:cubicBezTo>
                    <a:pt x="18839" y="18432"/>
                    <a:pt x="18806" y="18335"/>
                    <a:pt x="18756" y="18249"/>
                  </a:cubicBezTo>
                  <a:cubicBezTo>
                    <a:pt x="18716" y="18178"/>
                    <a:pt x="18647" y="18133"/>
                    <a:pt x="18611" y="18071"/>
                  </a:cubicBezTo>
                  <a:cubicBezTo>
                    <a:pt x="18685" y="18064"/>
                    <a:pt x="18724" y="18156"/>
                    <a:pt x="18764" y="18185"/>
                  </a:cubicBezTo>
                  <a:cubicBezTo>
                    <a:pt x="18780" y="18198"/>
                    <a:pt x="18777" y="18244"/>
                    <a:pt x="18802" y="18251"/>
                  </a:cubicBezTo>
                  <a:cubicBezTo>
                    <a:pt x="18815" y="18254"/>
                    <a:pt x="18829" y="18207"/>
                    <a:pt x="18829" y="18207"/>
                  </a:cubicBezTo>
                  <a:cubicBezTo>
                    <a:pt x="18824" y="18205"/>
                    <a:pt x="18849" y="18170"/>
                    <a:pt x="18861" y="18174"/>
                  </a:cubicBezTo>
                  <a:cubicBezTo>
                    <a:pt x="18863" y="18174"/>
                    <a:pt x="18888" y="18245"/>
                    <a:pt x="18896" y="18254"/>
                  </a:cubicBezTo>
                  <a:cubicBezTo>
                    <a:pt x="18957" y="18326"/>
                    <a:pt x="19004" y="18335"/>
                    <a:pt x="19062" y="18385"/>
                  </a:cubicBezTo>
                  <a:cubicBezTo>
                    <a:pt x="19122" y="18438"/>
                    <a:pt x="19134" y="18560"/>
                    <a:pt x="19228" y="18554"/>
                  </a:cubicBezTo>
                  <a:cubicBezTo>
                    <a:pt x="19217" y="18530"/>
                    <a:pt x="19209" y="18475"/>
                    <a:pt x="19195" y="18450"/>
                  </a:cubicBezTo>
                  <a:cubicBezTo>
                    <a:pt x="19250" y="18476"/>
                    <a:pt x="19322" y="18582"/>
                    <a:pt x="19384" y="18628"/>
                  </a:cubicBezTo>
                  <a:cubicBezTo>
                    <a:pt x="19428" y="18661"/>
                    <a:pt x="19587" y="18766"/>
                    <a:pt x="19481" y="18635"/>
                  </a:cubicBezTo>
                  <a:cubicBezTo>
                    <a:pt x="19680" y="18758"/>
                    <a:pt x="19542" y="18502"/>
                    <a:pt x="19530" y="18358"/>
                  </a:cubicBezTo>
                  <a:cubicBezTo>
                    <a:pt x="19568" y="18389"/>
                    <a:pt x="19630" y="18571"/>
                    <a:pt x="19649" y="18616"/>
                  </a:cubicBezTo>
                  <a:cubicBezTo>
                    <a:pt x="19662" y="18644"/>
                    <a:pt x="19616" y="18670"/>
                    <a:pt x="19651" y="18705"/>
                  </a:cubicBezTo>
                  <a:cubicBezTo>
                    <a:pt x="19676" y="18730"/>
                    <a:pt x="19705" y="18732"/>
                    <a:pt x="19731" y="18750"/>
                  </a:cubicBezTo>
                  <a:cubicBezTo>
                    <a:pt x="19760" y="18771"/>
                    <a:pt x="19839" y="18866"/>
                    <a:pt x="19856" y="18788"/>
                  </a:cubicBezTo>
                  <a:cubicBezTo>
                    <a:pt x="19875" y="18706"/>
                    <a:pt x="19742" y="18650"/>
                    <a:pt x="19761" y="18540"/>
                  </a:cubicBezTo>
                  <a:cubicBezTo>
                    <a:pt x="19788" y="18590"/>
                    <a:pt x="19839" y="18639"/>
                    <a:pt x="19868" y="18691"/>
                  </a:cubicBezTo>
                  <a:cubicBezTo>
                    <a:pt x="19898" y="18746"/>
                    <a:pt x="19901" y="18835"/>
                    <a:pt x="19937" y="18886"/>
                  </a:cubicBezTo>
                  <a:cubicBezTo>
                    <a:pt x="20010" y="18993"/>
                    <a:pt x="20093" y="18963"/>
                    <a:pt x="20175" y="18984"/>
                  </a:cubicBezTo>
                  <a:cubicBezTo>
                    <a:pt x="20132" y="18901"/>
                    <a:pt x="20043" y="18924"/>
                    <a:pt x="20002" y="18835"/>
                  </a:cubicBezTo>
                  <a:cubicBezTo>
                    <a:pt x="20078" y="18898"/>
                    <a:pt x="20091" y="18852"/>
                    <a:pt x="20066" y="18776"/>
                  </a:cubicBezTo>
                  <a:cubicBezTo>
                    <a:pt x="20045" y="18713"/>
                    <a:pt x="19974" y="18620"/>
                    <a:pt x="19943" y="18562"/>
                  </a:cubicBezTo>
                  <a:cubicBezTo>
                    <a:pt x="19909" y="18499"/>
                    <a:pt x="19839" y="18540"/>
                    <a:pt x="19805" y="18470"/>
                  </a:cubicBezTo>
                  <a:cubicBezTo>
                    <a:pt x="19785" y="18430"/>
                    <a:pt x="19796" y="18287"/>
                    <a:pt x="19790" y="18241"/>
                  </a:cubicBezTo>
                  <a:cubicBezTo>
                    <a:pt x="19830" y="18283"/>
                    <a:pt x="19806" y="18331"/>
                    <a:pt x="19827" y="18383"/>
                  </a:cubicBezTo>
                  <a:cubicBezTo>
                    <a:pt x="19857" y="18451"/>
                    <a:pt x="19859" y="18441"/>
                    <a:pt x="19907" y="18483"/>
                  </a:cubicBezTo>
                  <a:cubicBezTo>
                    <a:pt x="19982" y="18549"/>
                    <a:pt x="19995" y="18588"/>
                    <a:pt x="20050" y="18677"/>
                  </a:cubicBezTo>
                  <a:cubicBezTo>
                    <a:pt x="20086" y="18734"/>
                    <a:pt x="20149" y="18809"/>
                    <a:pt x="20190" y="18846"/>
                  </a:cubicBezTo>
                  <a:cubicBezTo>
                    <a:pt x="20263" y="18910"/>
                    <a:pt x="20276" y="18869"/>
                    <a:pt x="20342" y="18866"/>
                  </a:cubicBezTo>
                  <a:cubicBezTo>
                    <a:pt x="20362" y="18865"/>
                    <a:pt x="20494" y="18912"/>
                    <a:pt x="20509" y="18887"/>
                  </a:cubicBezTo>
                  <a:cubicBezTo>
                    <a:pt x="20558" y="18807"/>
                    <a:pt x="20374" y="18710"/>
                    <a:pt x="20345" y="18657"/>
                  </a:cubicBezTo>
                  <a:cubicBezTo>
                    <a:pt x="20333" y="18635"/>
                    <a:pt x="20250" y="18595"/>
                    <a:pt x="20252" y="18580"/>
                  </a:cubicBezTo>
                  <a:cubicBezTo>
                    <a:pt x="20257" y="18550"/>
                    <a:pt x="20319" y="18566"/>
                    <a:pt x="20339" y="18575"/>
                  </a:cubicBezTo>
                  <a:cubicBezTo>
                    <a:pt x="20385" y="18597"/>
                    <a:pt x="20445" y="18751"/>
                    <a:pt x="20465" y="18614"/>
                  </a:cubicBezTo>
                  <a:cubicBezTo>
                    <a:pt x="20487" y="18661"/>
                    <a:pt x="20533" y="18774"/>
                    <a:pt x="20590" y="18723"/>
                  </a:cubicBezTo>
                  <a:cubicBezTo>
                    <a:pt x="20615" y="18701"/>
                    <a:pt x="20603" y="18578"/>
                    <a:pt x="20633" y="18533"/>
                  </a:cubicBezTo>
                  <a:cubicBezTo>
                    <a:pt x="20635" y="18578"/>
                    <a:pt x="20616" y="18775"/>
                    <a:pt x="20639" y="18806"/>
                  </a:cubicBezTo>
                  <a:cubicBezTo>
                    <a:pt x="20630" y="18794"/>
                    <a:pt x="20780" y="18827"/>
                    <a:pt x="20801" y="18840"/>
                  </a:cubicBezTo>
                  <a:cubicBezTo>
                    <a:pt x="20791" y="18821"/>
                    <a:pt x="20742" y="18767"/>
                    <a:pt x="20739" y="18746"/>
                  </a:cubicBezTo>
                  <a:cubicBezTo>
                    <a:pt x="20734" y="18711"/>
                    <a:pt x="20757" y="18659"/>
                    <a:pt x="20753" y="18642"/>
                  </a:cubicBezTo>
                  <a:cubicBezTo>
                    <a:pt x="20748" y="18614"/>
                    <a:pt x="20671" y="18441"/>
                    <a:pt x="20702" y="18432"/>
                  </a:cubicBezTo>
                  <a:cubicBezTo>
                    <a:pt x="20768" y="18414"/>
                    <a:pt x="20801" y="18885"/>
                    <a:pt x="20863" y="18711"/>
                  </a:cubicBezTo>
                  <a:cubicBezTo>
                    <a:pt x="20940" y="18865"/>
                    <a:pt x="21007" y="18867"/>
                    <a:pt x="21078" y="18730"/>
                  </a:cubicBezTo>
                  <a:cubicBezTo>
                    <a:pt x="21146" y="18793"/>
                    <a:pt x="21069" y="18540"/>
                    <a:pt x="21075" y="18491"/>
                  </a:cubicBezTo>
                  <a:cubicBezTo>
                    <a:pt x="21100" y="18575"/>
                    <a:pt x="21136" y="18699"/>
                    <a:pt x="21205" y="18638"/>
                  </a:cubicBezTo>
                  <a:cubicBezTo>
                    <a:pt x="21116" y="18738"/>
                    <a:pt x="21194" y="18872"/>
                    <a:pt x="21253" y="18738"/>
                  </a:cubicBezTo>
                  <a:cubicBezTo>
                    <a:pt x="21241" y="18817"/>
                    <a:pt x="21226" y="18967"/>
                    <a:pt x="21291" y="19012"/>
                  </a:cubicBezTo>
                  <a:cubicBezTo>
                    <a:pt x="21294" y="18978"/>
                    <a:pt x="21312" y="18945"/>
                    <a:pt x="21314" y="18933"/>
                  </a:cubicBezTo>
                  <a:cubicBezTo>
                    <a:pt x="21318" y="19045"/>
                    <a:pt x="21455" y="19183"/>
                    <a:pt x="21518" y="19116"/>
                  </a:cubicBezTo>
                  <a:cubicBezTo>
                    <a:pt x="21547" y="19084"/>
                    <a:pt x="21564" y="18989"/>
                    <a:pt x="21570" y="18943"/>
                  </a:cubicBezTo>
                  <a:cubicBezTo>
                    <a:pt x="21582" y="18842"/>
                    <a:pt x="21599" y="18891"/>
                    <a:pt x="21535" y="18804"/>
                  </a:cubicBezTo>
                  <a:close/>
                  <a:moveTo>
                    <a:pt x="21535" y="18804"/>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65" name="AutoShape 20"/>
            <p:cNvSpPr>
              <a:spLocks/>
            </p:cNvSpPr>
            <p:nvPr/>
          </p:nvSpPr>
          <p:spPr bwMode="auto">
            <a:xfrm>
              <a:off x="221227" y="-1314714"/>
              <a:ext cx="2425700" cy="3201987"/>
            </a:xfrm>
            <a:custGeom>
              <a:avLst/>
              <a:gdLst/>
              <a:ahLst/>
              <a:cxnLst/>
              <a:rect l="0" t="0" r="r" b="b"/>
              <a:pathLst>
                <a:path w="21598" h="21536">
                  <a:moveTo>
                    <a:pt x="17183" y="18907"/>
                  </a:moveTo>
                  <a:cubicBezTo>
                    <a:pt x="17172" y="18948"/>
                    <a:pt x="17152" y="18992"/>
                    <a:pt x="17127" y="19029"/>
                  </a:cubicBezTo>
                  <a:cubicBezTo>
                    <a:pt x="17119" y="19060"/>
                    <a:pt x="17191" y="19097"/>
                    <a:pt x="17216" y="19075"/>
                  </a:cubicBezTo>
                  <a:cubicBezTo>
                    <a:pt x="17224" y="19068"/>
                    <a:pt x="17230" y="19020"/>
                    <a:pt x="17235" y="19008"/>
                  </a:cubicBezTo>
                  <a:cubicBezTo>
                    <a:pt x="17245" y="18984"/>
                    <a:pt x="17281" y="18840"/>
                    <a:pt x="17319" y="18849"/>
                  </a:cubicBezTo>
                  <a:cubicBezTo>
                    <a:pt x="17354" y="18858"/>
                    <a:pt x="17271" y="19068"/>
                    <a:pt x="17275" y="19097"/>
                  </a:cubicBezTo>
                  <a:cubicBezTo>
                    <a:pt x="17284" y="19087"/>
                    <a:pt x="17284" y="19072"/>
                    <a:pt x="17293" y="19061"/>
                  </a:cubicBezTo>
                  <a:cubicBezTo>
                    <a:pt x="17318" y="19031"/>
                    <a:pt x="17328" y="19042"/>
                    <a:pt x="17369" y="19022"/>
                  </a:cubicBezTo>
                  <a:cubicBezTo>
                    <a:pt x="17408" y="19003"/>
                    <a:pt x="17412" y="18972"/>
                    <a:pt x="17420" y="18936"/>
                  </a:cubicBezTo>
                  <a:cubicBezTo>
                    <a:pt x="17434" y="18873"/>
                    <a:pt x="17407" y="18801"/>
                    <a:pt x="17450" y="18743"/>
                  </a:cubicBezTo>
                  <a:cubicBezTo>
                    <a:pt x="17517" y="18815"/>
                    <a:pt x="17466" y="18909"/>
                    <a:pt x="17487" y="18989"/>
                  </a:cubicBezTo>
                  <a:cubicBezTo>
                    <a:pt x="17512" y="18925"/>
                    <a:pt x="17508" y="18800"/>
                    <a:pt x="17495" y="18738"/>
                  </a:cubicBezTo>
                  <a:cubicBezTo>
                    <a:pt x="17457" y="18772"/>
                    <a:pt x="17467" y="18645"/>
                    <a:pt x="17485" y="18624"/>
                  </a:cubicBezTo>
                  <a:cubicBezTo>
                    <a:pt x="17486" y="18651"/>
                    <a:pt x="17511" y="18677"/>
                    <a:pt x="17514" y="18713"/>
                  </a:cubicBezTo>
                  <a:cubicBezTo>
                    <a:pt x="17516" y="18740"/>
                    <a:pt x="17512" y="18768"/>
                    <a:pt x="17510" y="18795"/>
                  </a:cubicBezTo>
                  <a:cubicBezTo>
                    <a:pt x="17506" y="18847"/>
                    <a:pt x="17494" y="18941"/>
                    <a:pt x="17525" y="18987"/>
                  </a:cubicBezTo>
                  <a:cubicBezTo>
                    <a:pt x="17507" y="18945"/>
                    <a:pt x="17523" y="18882"/>
                    <a:pt x="17521" y="18837"/>
                  </a:cubicBezTo>
                  <a:cubicBezTo>
                    <a:pt x="17517" y="18773"/>
                    <a:pt x="17527" y="18717"/>
                    <a:pt x="17544" y="18656"/>
                  </a:cubicBezTo>
                  <a:cubicBezTo>
                    <a:pt x="17536" y="18660"/>
                    <a:pt x="17523" y="18662"/>
                    <a:pt x="17516" y="18665"/>
                  </a:cubicBezTo>
                  <a:cubicBezTo>
                    <a:pt x="17525" y="18653"/>
                    <a:pt x="17515" y="18602"/>
                    <a:pt x="17491" y="18593"/>
                  </a:cubicBezTo>
                  <a:cubicBezTo>
                    <a:pt x="17463" y="18582"/>
                    <a:pt x="17438" y="18613"/>
                    <a:pt x="17399" y="18585"/>
                  </a:cubicBezTo>
                  <a:cubicBezTo>
                    <a:pt x="17389" y="18579"/>
                    <a:pt x="17387" y="18565"/>
                    <a:pt x="17378" y="18559"/>
                  </a:cubicBezTo>
                  <a:cubicBezTo>
                    <a:pt x="17350" y="18541"/>
                    <a:pt x="17366" y="18556"/>
                    <a:pt x="17348" y="18551"/>
                  </a:cubicBezTo>
                  <a:cubicBezTo>
                    <a:pt x="17334" y="18546"/>
                    <a:pt x="17318" y="18555"/>
                    <a:pt x="17309" y="18551"/>
                  </a:cubicBezTo>
                  <a:cubicBezTo>
                    <a:pt x="17298" y="18545"/>
                    <a:pt x="17295" y="18517"/>
                    <a:pt x="17281" y="18507"/>
                  </a:cubicBezTo>
                  <a:cubicBezTo>
                    <a:pt x="17270" y="18556"/>
                    <a:pt x="17315" y="18632"/>
                    <a:pt x="17318" y="18685"/>
                  </a:cubicBezTo>
                  <a:cubicBezTo>
                    <a:pt x="17319" y="18712"/>
                    <a:pt x="17337" y="18757"/>
                    <a:pt x="17326" y="18782"/>
                  </a:cubicBezTo>
                  <a:cubicBezTo>
                    <a:pt x="17313" y="18813"/>
                    <a:pt x="17279" y="18829"/>
                    <a:pt x="17265" y="18866"/>
                  </a:cubicBezTo>
                  <a:cubicBezTo>
                    <a:pt x="17252" y="18843"/>
                    <a:pt x="17276" y="18804"/>
                    <a:pt x="17277" y="18775"/>
                  </a:cubicBezTo>
                  <a:cubicBezTo>
                    <a:pt x="17278" y="18747"/>
                    <a:pt x="17267" y="18723"/>
                    <a:pt x="17262" y="18696"/>
                  </a:cubicBezTo>
                  <a:cubicBezTo>
                    <a:pt x="17254" y="18644"/>
                    <a:pt x="17251" y="18618"/>
                    <a:pt x="17216" y="18573"/>
                  </a:cubicBezTo>
                  <a:cubicBezTo>
                    <a:pt x="17205" y="18595"/>
                    <a:pt x="17240" y="18641"/>
                    <a:pt x="17245" y="18668"/>
                  </a:cubicBezTo>
                  <a:cubicBezTo>
                    <a:pt x="17253" y="18710"/>
                    <a:pt x="17265" y="18751"/>
                    <a:pt x="17243" y="18792"/>
                  </a:cubicBezTo>
                  <a:cubicBezTo>
                    <a:pt x="17220" y="18837"/>
                    <a:pt x="17195" y="18859"/>
                    <a:pt x="17183" y="18907"/>
                  </a:cubicBezTo>
                  <a:close/>
                  <a:moveTo>
                    <a:pt x="17323" y="20919"/>
                  </a:moveTo>
                  <a:cubicBezTo>
                    <a:pt x="17291" y="20898"/>
                    <a:pt x="17177" y="20924"/>
                    <a:pt x="17139" y="20934"/>
                  </a:cubicBezTo>
                  <a:cubicBezTo>
                    <a:pt x="17079" y="20951"/>
                    <a:pt x="17031" y="20974"/>
                    <a:pt x="16976" y="20997"/>
                  </a:cubicBezTo>
                  <a:cubicBezTo>
                    <a:pt x="16913" y="21024"/>
                    <a:pt x="16900" y="21032"/>
                    <a:pt x="16881" y="21089"/>
                  </a:cubicBezTo>
                  <a:cubicBezTo>
                    <a:pt x="16870" y="21122"/>
                    <a:pt x="16856" y="21119"/>
                    <a:pt x="16898" y="21140"/>
                  </a:cubicBezTo>
                  <a:cubicBezTo>
                    <a:pt x="16917" y="21150"/>
                    <a:pt x="16942" y="21153"/>
                    <a:pt x="16964" y="21155"/>
                  </a:cubicBezTo>
                  <a:cubicBezTo>
                    <a:pt x="17036" y="21161"/>
                    <a:pt x="17132" y="21171"/>
                    <a:pt x="17204" y="21168"/>
                  </a:cubicBezTo>
                  <a:cubicBezTo>
                    <a:pt x="17247" y="21166"/>
                    <a:pt x="17287" y="21156"/>
                    <a:pt x="17333" y="21162"/>
                  </a:cubicBezTo>
                  <a:cubicBezTo>
                    <a:pt x="17371" y="21166"/>
                    <a:pt x="17406" y="21178"/>
                    <a:pt x="17444" y="21182"/>
                  </a:cubicBezTo>
                  <a:cubicBezTo>
                    <a:pt x="17487" y="21185"/>
                    <a:pt x="17527" y="21177"/>
                    <a:pt x="17570" y="21179"/>
                  </a:cubicBezTo>
                  <a:cubicBezTo>
                    <a:pt x="17615" y="21182"/>
                    <a:pt x="17653" y="21200"/>
                    <a:pt x="17649" y="21151"/>
                  </a:cubicBezTo>
                  <a:cubicBezTo>
                    <a:pt x="17646" y="21118"/>
                    <a:pt x="17595" y="21083"/>
                    <a:pt x="17567" y="21058"/>
                  </a:cubicBezTo>
                  <a:cubicBezTo>
                    <a:pt x="17502" y="21002"/>
                    <a:pt x="17405" y="20962"/>
                    <a:pt x="17323" y="20919"/>
                  </a:cubicBezTo>
                  <a:close/>
                  <a:moveTo>
                    <a:pt x="18534" y="21392"/>
                  </a:moveTo>
                  <a:cubicBezTo>
                    <a:pt x="18501" y="21380"/>
                    <a:pt x="18463" y="21429"/>
                    <a:pt x="18443" y="21446"/>
                  </a:cubicBezTo>
                  <a:cubicBezTo>
                    <a:pt x="18418" y="21466"/>
                    <a:pt x="18376" y="21480"/>
                    <a:pt x="18380" y="21506"/>
                  </a:cubicBezTo>
                  <a:cubicBezTo>
                    <a:pt x="18390" y="21565"/>
                    <a:pt x="18456" y="21522"/>
                    <a:pt x="18491" y="21509"/>
                  </a:cubicBezTo>
                  <a:cubicBezTo>
                    <a:pt x="18518" y="21498"/>
                    <a:pt x="18544" y="21506"/>
                    <a:pt x="18552" y="21475"/>
                  </a:cubicBezTo>
                  <a:cubicBezTo>
                    <a:pt x="18559" y="21450"/>
                    <a:pt x="18573" y="21398"/>
                    <a:pt x="18534" y="21392"/>
                  </a:cubicBezTo>
                  <a:close/>
                  <a:moveTo>
                    <a:pt x="17562" y="18626"/>
                  </a:moveTo>
                  <a:cubicBezTo>
                    <a:pt x="17564" y="18644"/>
                    <a:pt x="17585" y="18668"/>
                    <a:pt x="17586" y="18684"/>
                  </a:cubicBezTo>
                  <a:cubicBezTo>
                    <a:pt x="17587" y="18703"/>
                    <a:pt x="17580" y="18718"/>
                    <a:pt x="17577" y="18736"/>
                  </a:cubicBezTo>
                  <a:cubicBezTo>
                    <a:pt x="17575" y="18754"/>
                    <a:pt x="17567" y="18784"/>
                    <a:pt x="17593" y="18784"/>
                  </a:cubicBezTo>
                  <a:cubicBezTo>
                    <a:pt x="17624" y="18785"/>
                    <a:pt x="17625" y="18750"/>
                    <a:pt x="17637" y="18740"/>
                  </a:cubicBezTo>
                  <a:cubicBezTo>
                    <a:pt x="17642" y="18737"/>
                    <a:pt x="17671" y="18742"/>
                    <a:pt x="17680" y="18723"/>
                  </a:cubicBezTo>
                  <a:cubicBezTo>
                    <a:pt x="17697" y="18689"/>
                    <a:pt x="17635" y="18600"/>
                    <a:pt x="17623" y="18568"/>
                  </a:cubicBezTo>
                  <a:cubicBezTo>
                    <a:pt x="17596" y="18516"/>
                    <a:pt x="17560" y="18608"/>
                    <a:pt x="17562" y="18626"/>
                  </a:cubicBezTo>
                  <a:close/>
                  <a:moveTo>
                    <a:pt x="17006" y="18796"/>
                  </a:moveTo>
                  <a:cubicBezTo>
                    <a:pt x="16994" y="18812"/>
                    <a:pt x="16992" y="18884"/>
                    <a:pt x="17032" y="18879"/>
                  </a:cubicBezTo>
                  <a:cubicBezTo>
                    <a:pt x="17089" y="18827"/>
                    <a:pt x="17174" y="18777"/>
                    <a:pt x="17182" y="18707"/>
                  </a:cubicBezTo>
                  <a:cubicBezTo>
                    <a:pt x="17186" y="18674"/>
                    <a:pt x="17187" y="18635"/>
                    <a:pt x="17178" y="18603"/>
                  </a:cubicBezTo>
                  <a:cubicBezTo>
                    <a:pt x="17157" y="18633"/>
                    <a:pt x="17185" y="18667"/>
                    <a:pt x="17164" y="18699"/>
                  </a:cubicBezTo>
                  <a:cubicBezTo>
                    <a:pt x="17149" y="18724"/>
                    <a:pt x="17140" y="18722"/>
                    <a:pt x="17111" y="18732"/>
                  </a:cubicBezTo>
                  <a:cubicBezTo>
                    <a:pt x="17103" y="18735"/>
                    <a:pt x="17083" y="18727"/>
                    <a:pt x="17076" y="18731"/>
                  </a:cubicBezTo>
                  <a:cubicBezTo>
                    <a:pt x="17061" y="18742"/>
                    <a:pt x="17086" y="18746"/>
                    <a:pt x="17081" y="18752"/>
                  </a:cubicBezTo>
                  <a:cubicBezTo>
                    <a:pt x="17063" y="18769"/>
                    <a:pt x="17022" y="18773"/>
                    <a:pt x="17006" y="18796"/>
                  </a:cubicBezTo>
                  <a:close/>
                  <a:moveTo>
                    <a:pt x="13815" y="10024"/>
                  </a:moveTo>
                  <a:cubicBezTo>
                    <a:pt x="13803" y="10038"/>
                    <a:pt x="13790" y="10039"/>
                    <a:pt x="13780" y="10057"/>
                  </a:cubicBezTo>
                  <a:cubicBezTo>
                    <a:pt x="13769" y="10075"/>
                    <a:pt x="13755" y="10122"/>
                    <a:pt x="13753" y="10141"/>
                  </a:cubicBezTo>
                  <a:cubicBezTo>
                    <a:pt x="13747" y="10218"/>
                    <a:pt x="13776" y="10141"/>
                    <a:pt x="13798" y="10130"/>
                  </a:cubicBezTo>
                  <a:cubicBezTo>
                    <a:pt x="13812" y="10123"/>
                    <a:pt x="13835" y="10131"/>
                    <a:pt x="13837" y="10130"/>
                  </a:cubicBezTo>
                  <a:cubicBezTo>
                    <a:pt x="13849" y="10124"/>
                    <a:pt x="13845" y="10121"/>
                    <a:pt x="13860" y="10110"/>
                  </a:cubicBezTo>
                  <a:cubicBezTo>
                    <a:pt x="13885" y="10093"/>
                    <a:pt x="13918" y="10063"/>
                    <a:pt x="13937" y="10043"/>
                  </a:cubicBezTo>
                  <a:cubicBezTo>
                    <a:pt x="13987" y="9991"/>
                    <a:pt x="13980" y="9947"/>
                    <a:pt x="13887" y="9929"/>
                  </a:cubicBezTo>
                  <a:cubicBezTo>
                    <a:pt x="13831" y="9943"/>
                    <a:pt x="13885" y="9974"/>
                    <a:pt x="13860" y="9996"/>
                  </a:cubicBezTo>
                  <a:cubicBezTo>
                    <a:pt x="13869" y="9988"/>
                    <a:pt x="13821" y="9969"/>
                    <a:pt x="13831" y="9991"/>
                  </a:cubicBezTo>
                  <a:cubicBezTo>
                    <a:pt x="13843" y="10016"/>
                    <a:pt x="13827" y="10009"/>
                    <a:pt x="13815" y="10024"/>
                  </a:cubicBezTo>
                  <a:close/>
                  <a:moveTo>
                    <a:pt x="13756" y="10601"/>
                  </a:moveTo>
                  <a:cubicBezTo>
                    <a:pt x="13796" y="10644"/>
                    <a:pt x="13813" y="10614"/>
                    <a:pt x="13843" y="10591"/>
                  </a:cubicBezTo>
                  <a:cubicBezTo>
                    <a:pt x="13876" y="10566"/>
                    <a:pt x="13906" y="10556"/>
                    <a:pt x="13924" y="10525"/>
                  </a:cubicBezTo>
                  <a:cubicBezTo>
                    <a:pt x="13941" y="10496"/>
                    <a:pt x="13933" y="10468"/>
                    <a:pt x="13941" y="10436"/>
                  </a:cubicBezTo>
                  <a:cubicBezTo>
                    <a:pt x="13949" y="10405"/>
                    <a:pt x="13961" y="10374"/>
                    <a:pt x="13957" y="10346"/>
                  </a:cubicBezTo>
                  <a:cubicBezTo>
                    <a:pt x="13956" y="10336"/>
                    <a:pt x="13945" y="10308"/>
                    <a:pt x="13950" y="10299"/>
                  </a:cubicBezTo>
                  <a:cubicBezTo>
                    <a:pt x="13955" y="10291"/>
                    <a:pt x="13982" y="10310"/>
                    <a:pt x="13986" y="10306"/>
                  </a:cubicBezTo>
                  <a:cubicBezTo>
                    <a:pt x="13995" y="10295"/>
                    <a:pt x="13983" y="10284"/>
                    <a:pt x="13988" y="10272"/>
                  </a:cubicBezTo>
                  <a:cubicBezTo>
                    <a:pt x="13998" y="10242"/>
                    <a:pt x="14003" y="10230"/>
                    <a:pt x="13976" y="10206"/>
                  </a:cubicBezTo>
                  <a:cubicBezTo>
                    <a:pt x="13946" y="10179"/>
                    <a:pt x="13940" y="10191"/>
                    <a:pt x="13898" y="10188"/>
                  </a:cubicBezTo>
                  <a:cubicBezTo>
                    <a:pt x="13881" y="10202"/>
                    <a:pt x="13829" y="10231"/>
                    <a:pt x="13836" y="10253"/>
                  </a:cubicBezTo>
                  <a:cubicBezTo>
                    <a:pt x="13841" y="10271"/>
                    <a:pt x="13877" y="10273"/>
                    <a:pt x="13879" y="10290"/>
                  </a:cubicBezTo>
                  <a:cubicBezTo>
                    <a:pt x="13879" y="10286"/>
                    <a:pt x="13836" y="10331"/>
                    <a:pt x="13834" y="10345"/>
                  </a:cubicBezTo>
                  <a:cubicBezTo>
                    <a:pt x="13831" y="10370"/>
                    <a:pt x="13848" y="10391"/>
                    <a:pt x="13826" y="10417"/>
                  </a:cubicBezTo>
                  <a:cubicBezTo>
                    <a:pt x="13800" y="10446"/>
                    <a:pt x="13764" y="10441"/>
                    <a:pt x="13753" y="10483"/>
                  </a:cubicBezTo>
                  <a:cubicBezTo>
                    <a:pt x="13745" y="10516"/>
                    <a:pt x="13732" y="10574"/>
                    <a:pt x="13756" y="10601"/>
                  </a:cubicBezTo>
                  <a:close/>
                  <a:moveTo>
                    <a:pt x="14688" y="13971"/>
                  </a:moveTo>
                  <a:cubicBezTo>
                    <a:pt x="14742" y="13977"/>
                    <a:pt x="14772" y="13952"/>
                    <a:pt x="14729" y="13913"/>
                  </a:cubicBezTo>
                  <a:cubicBezTo>
                    <a:pt x="14696" y="13884"/>
                    <a:pt x="14584" y="13861"/>
                    <a:pt x="14536" y="13851"/>
                  </a:cubicBezTo>
                  <a:cubicBezTo>
                    <a:pt x="14552" y="13868"/>
                    <a:pt x="14534" y="13885"/>
                    <a:pt x="14543" y="13900"/>
                  </a:cubicBezTo>
                  <a:cubicBezTo>
                    <a:pt x="14553" y="13916"/>
                    <a:pt x="14577" y="13911"/>
                    <a:pt x="14582" y="13932"/>
                  </a:cubicBezTo>
                  <a:cubicBezTo>
                    <a:pt x="14535" y="13930"/>
                    <a:pt x="14488" y="13922"/>
                    <a:pt x="14441" y="13916"/>
                  </a:cubicBezTo>
                  <a:cubicBezTo>
                    <a:pt x="14435" y="13915"/>
                    <a:pt x="14364" y="13919"/>
                    <a:pt x="14371" y="13913"/>
                  </a:cubicBezTo>
                  <a:cubicBezTo>
                    <a:pt x="14351" y="13929"/>
                    <a:pt x="14380" y="13935"/>
                    <a:pt x="14371" y="13946"/>
                  </a:cubicBezTo>
                  <a:cubicBezTo>
                    <a:pt x="14359" y="13960"/>
                    <a:pt x="14348" y="13959"/>
                    <a:pt x="14328" y="13969"/>
                  </a:cubicBezTo>
                  <a:cubicBezTo>
                    <a:pt x="14293" y="13987"/>
                    <a:pt x="14158" y="14062"/>
                    <a:pt x="14168" y="13995"/>
                  </a:cubicBezTo>
                  <a:cubicBezTo>
                    <a:pt x="14173" y="13964"/>
                    <a:pt x="14337" y="13915"/>
                    <a:pt x="14273" y="13868"/>
                  </a:cubicBezTo>
                  <a:cubicBezTo>
                    <a:pt x="14233" y="13839"/>
                    <a:pt x="14190" y="13831"/>
                    <a:pt x="14171" y="13789"/>
                  </a:cubicBezTo>
                  <a:cubicBezTo>
                    <a:pt x="14160" y="13765"/>
                    <a:pt x="14159" y="13732"/>
                    <a:pt x="14143" y="13709"/>
                  </a:cubicBezTo>
                  <a:cubicBezTo>
                    <a:pt x="14111" y="13662"/>
                    <a:pt x="14038" y="13647"/>
                    <a:pt x="13987" y="13608"/>
                  </a:cubicBezTo>
                  <a:cubicBezTo>
                    <a:pt x="13963" y="13590"/>
                    <a:pt x="13953" y="13595"/>
                    <a:pt x="13934" y="13587"/>
                  </a:cubicBezTo>
                  <a:cubicBezTo>
                    <a:pt x="13916" y="13580"/>
                    <a:pt x="13898" y="13571"/>
                    <a:pt x="13872" y="13562"/>
                  </a:cubicBezTo>
                  <a:cubicBezTo>
                    <a:pt x="13817" y="13545"/>
                    <a:pt x="13808" y="13582"/>
                    <a:pt x="13758" y="13569"/>
                  </a:cubicBezTo>
                  <a:cubicBezTo>
                    <a:pt x="13734" y="13562"/>
                    <a:pt x="13706" y="13571"/>
                    <a:pt x="13682" y="13563"/>
                  </a:cubicBezTo>
                  <a:cubicBezTo>
                    <a:pt x="13658" y="13555"/>
                    <a:pt x="13653" y="13538"/>
                    <a:pt x="13633" y="13527"/>
                  </a:cubicBezTo>
                  <a:cubicBezTo>
                    <a:pt x="13601" y="13509"/>
                    <a:pt x="13545" y="13501"/>
                    <a:pt x="13504" y="13501"/>
                  </a:cubicBezTo>
                  <a:cubicBezTo>
                    <a:pt x="13472" y="13501"/>
                    <a:pt x="13431" y="13466"/>
                    <a:pt x="13413" y="13447"/>
                  </a:cubicBezTo>
                  <a:cubicBezTo>
                    <a:pt x="13386" y="13419"/>
                    <a:pt x="13379" y="13386"/>
                    <a:pt x="13320" y="13383"/>
                  </a:cubicBezTo>
                  <a:cubicBezTo>
                    <a:pt x="13285" y="13381"/>
                    <a:pt x="13244" y="13398"/>
                    <a:pt x="13210" y="13397"/>
                  </a:cubicBezTo>
                  <a:cubicBezTo>
                    <a:pt x="13177" y="13396"/>
                    <a:pt x="13158" y="13396"/>
                    <a:pt x="13114" y="13391"/>
                  </a:cubicBezTo>
                  <a:cubicBezTo>
                    <a:pt x="13091" y="13388"/>
                    <a:pt x="13047" y="13380"/>
                    <a:pt x="13035" y="13362"/>
                  </a:cubicBezTo>
                  <a:cubicBezTo>
                    <a:pt x="13026" y="13348"/>
                    <a:pt x="13052" y="13326"/>
                    <a:pt x="13043" y="13313"/>
                  </a:cubicBezTo>
                  <a:cubicBezTo>
                    <a:pt x="13037" y="13304"/>
                    <a:pt x="12988" y="13296"/>
                    <a:pt x="12976" y="13293"/>
                  </a:cubicBezTo>
                  <a:cubicBezTo>
                    <a:pt x="12960" y="13289"/>
                    <a:pt x="12941" y="13288"/>
                    <a:pt x="12927" y="13281"/>
                  </a:cubicBezTo>
                  <a:cubicBezTo>
                    <a:pt x="12917" y="13275"/>
                    <a:pt x="12924" y="13261"/>
                    <a:pt x="12914" y="13256"/>
                  </a:cubicBezTo>
                  <a:cubicBezTo>
                    <a:pt x="12854" y="13227"/>
                    <a:pt x="12850" y="13262"/>
                    <a:pt x="12839" y="13299"/>
                  </a:cubicBezTo>
                  <a:cubicBezTo>
                    <a:pt x="12828" y="13335"/>
                    <a:pt x="12831" y="13355"/>
                    <a:pt x="12835" y="13389"/>
                  </a:cubicBezTo>
                  <a:cubicBezTo>
                    <a:pt x="12839" y="13426"/>
                    <a:pt x="12824" y="13457"/>
                    <a:pt x="12783" y="13433"/>
                  </a:cubicBezTo>
                  <a:cubicBezTo>
                    <a:pt x="12765" y="13422"/>
                    <a:pt x="12737" y="13381"/>
                    <a:pt x="12727" y="13364"/>
                  </a:cubicBezTo>
                  <a:cubicBezTo>
                    <a:pt x="12714" y="13344"/>
                    <a:pt x="12729" y="13336"/>
                    <a:pt x="12700" y="13320"/>
                  </a:cubicBezTo>
                  <a:cubicBezTo>
                    <a:pt x="12676" y="13307"/>
                    <a:pt x="12600" y="13287"/>
                    <a:pt x="12587" y="13265"/>
                  </a:cubicBezTo>
                  <a:cubicBezTo>
                    <a:pt x="12566" y="13230"/>
                    <a:pt x="12630" y="13243"/>
                    <a:pt x="12648" y="13209"/>
                  </a:cubicBezTo>
                  <a:cubicBezTo>
                    <a:pt x="12670" y="13169"/>
                    <a:pt x="12618" y="13164"/>
                    <a:pt x="12594" y="13136"/>
                  </a:cubicBezTo>
                  <a:cubicBezTo>
                    <a:pt x="12577" y="13114"/>
                    <a:pt x="12586" y="13073"/>
                    <a:pt x="12529" y="13064"/>
                  </a:cubicBezTo>
                  <a:cubicBezTo>
                    <a:pt x="12481" y="13056"/>
                    <a:pt x="12470" y="13113"/>
                    <a:pt x="12440" y="13080"/>
                  </a:cubicBezTo>
                  <a:cubicBezTo>
                    <a:pt x="12420" y="13058"/>
                    <a:pt x="12465" y="12998"/>
                    <a:pt x="12399" y="13014"/>
                  </a:cubicBezTo>
                  <a:cubicBezTo>
                    <a:pt x="12367" y="13021"/>
                    <a:pt x="12336" y="13077"/>
                    <a:pt x="12324" y="13098"/>
                  </a:cubicBezTo>
                  <a:cubicBezTo>
                    <a:pt x="12283" y="13165"/>
                    <a:pt x="12298" y="13209"/>
                    <a:pt x="12294" y="13277"/>
                  </a:cubicBezTo>
                  <a:cubicBezTo>
                    <a:pt x="12292" y="13307"/>
                    <a:pt x="12296" y="13335"/>
                    <a:pt x="12298" y="13365"/>
                  </a:cubicBezTo>
                  <a:cubicBezTo>
                    <a:pt x="12301" y="13401"/>
                    <a:pt x="12316" y="13417"/>
                    <a:pt x="12321" y="13444"/>
                  </a:cubicBezTo>
                  <a:cubicBezTo>
                    <a:pt x="12327" y="13476"/>
                    <a:pt x="12323" y="13495"/>
                    <a:pt x="12338" y="13528"/>
                  </a:cubicBezTo>
                  <a:cubicBezTo>
                    <a:pt x="12350" y="13555"/>
                    <a:pt x="12361" y="13587"/>
                    <a:pt x="12359" y="13614"/>
                  </a:cubicBezTo>
                  <a:cubicBezTo>
                    <a:pt x="12358" y="13640"/>
                    <a:pt x="12339" y="13664"/>
                    <a:pt x="12356" y="13691"/>
                  </a:cubicBezTo>
                  <a:cubicBezTo>
                    <a:pt x="12363" y="13703"/>
                    <a:pt x="12386" y="13708"/>
                    <a:pt x="12393" y="13722"/>
                  </a:cubicBezTo>
                  <a:cubicBezTo>
                    <a:pt x="12397" y="13731"/>
                    <a:pt x="12381" y="13737"/>
                    <a:pt x="12383" y="13744"/>
                  </a:cubicBezTo>
                  <a:cubicBezTo>
                    <a:pt x="12384" y="13750"/>
                    <a:pt x="12394" y="13762"/>
                    <a:pt x="12394" y="13765"/>
                  </a:cubicBezTo>
                  <a:cubicBezTo>
                    <a:pt x="12396" y="13809"/>
                    <a:pt x="12370" y="13876"/>
                    <a:pt x="12368" y="13936"/>
                  </a:cubicBezTo>
                  <a:cubicBezTo>
                    <a:pt x="12367" y="13985"/>
                    <a:pt x="12398" y="14057"/>
                    <a:pt x="12419" y="14098"/>
                  </a:cubicBezTo>
                  <a:cubicBezTo>
                    <a:pt x="12432" y="14126"/>
                    <a:pt x="12445" y="14147"/>
                    <a:pt x="12465" y="14171"/>
                  </a:cubicBezTo>
                  <a:cubicBezTo>
                    <a:pt x="12475" y="14183"/>
                    <a:pt x="12476" y="14192"/>
                    <a:pt x="12490" y="14206"/>
                  </a:cubicBezTo>
                  <a:cubicBezTo>
                    <a:pt x="12503" y="14219"/>
                    <a:pt x="12523" y="14223"/>
                    <a:pt x="12532" y="14239"/>
                  </a:cubicBezTo>
                  <a:cubicBezTo>
                    <a:pt x="12562" y="14287"/>
                    <a:pt x="12456" y="14335"/>
                    <a:pt x="12409" y="14365"/>
                  </a:cubicBezTo>
                  <a:cubicBezTo>
                    <a:pt x="12340" y="14410"/>
                    <a:pt x="12300" y="14441"/>
                    <a:pt x="12270" y="14506"/>
                  </a:cubicBezTo>
                  <a:cubicBezTo>
                    <a:pt x="12248" y="14555"/>
                    <a:pt x="12208" y="14605"/>
                    <a:pt x="12237" y="14657"/>
                  </a:cubicBezTo>
                  <a:cubicBezTo>
                    <a:pt x="12285" y="14692"/>
                    <a:pt x="12326" y="14709"/>
                    <a:pt x="12390" y="14676"/>
                  </a:cubicBezTo>
                  <a:cubicBezTo>
                    <a:pt x="12439" y="14651"/>
                    <a:pt x="12433" y="14598"/>
                    <a:pt x="12497" y="14582"/>
                  </a:cubicBezTo>
                  <a:cubicBezTo>
                    <a:pt x="12521" y="14577"/>
                    <a:pt x="12561" y="14583"/>
                    <a:pt x="12585" y="14582"/>
                  </a:cubicBezTo>
                  <a:cubicBezTo>
                    <a:pt x="12622" y="14582"/>
                    <a:pt x="12627" y="14570"/>
                    <a:pt x="12655" y="14557"/>
                  </a:cubicBezTo>
                  <a:cubicBezTo>
                    <a:pt x="12687" y="14541"/>
                    <a:pt x="12739" y="14531"/>
                    <a:pt x="12765" y="14510"/>
                  </a:cubicBezTo>
                  <a:cubicBezTo>
                    <a:pt x="12782" y="14497"/>
                    <a:pt x="12785" y="14479"/>
                    <a:pt x="12798" y="14463"/>
                  </a:cubicBezTo>
                  <a:cubicBezTo>
                    <a:pt x="12800" y="14509"/>
                    <a:pt x="12836" y="14500"/>
                    <a:pt x="12863" y="14531"/>
                  </a:cubicBezTo>
                  <a:cubicBezTo>
                    <a:pt x="12880" y="14551"/>
                    <a:pt x="12878" y="14591"/>
                    <a:pt x="12884" y="14613"/>
                  </a:cubicBezTo>
                  <a:cubicBezTo>
                    <a:pt x="12897" y="14668"/>
                    <a:pt x="12897" y="14723"/>
                    <a:pt x="12923" y="14778"/>
                  </a:cubicBezTo>
                  <a:cubicBezTo>
                    <a:pt x="12956" y="14846"/>
                    <a:pt x="13013" y="14895"/>
                    <a:pt x="13114" y="14858"/>
                  </a:cubicBezTo>
                  <a:cubicBezTo>
                    <a:pt x="13179" y="14834"/>
                    <a:pt x="13233" y="14772"/>
                    <a:pt x="13273" y="14729"/>
                  </a:cubicBezTo>
                  <a:cubicBezTo>
                    <a:pt x="13303" y="14697"/>
                    <a:pt x="13333" y="14682"/>
                    <a:pt x="13346" y="14643"/>
                  </a:cubicBezTo>
                  <a:cubicBezTo>
                    <a:pt x="13355" y="14612"/>
                    <a:pt x="13348" y="14591"/>
                    <a:pt x="13348" y="14559"/>
                  </a:cubicBezTo>
                  <a:cubicBezTo>
                    <a:pt x="13348" y="14526"/>
                    <a:pt x="13360" y="14495"/>
                    <a:pt x="13382" y="14466"/>
                  </a:cubicBezTo>
                  <a:cubicBezTo>
                    <a:pt x="13404" y="14437"/>
                    <a:pt x="13435" y="14464"/>
                    <a:pt x="13460" y="14449"/>
                  </a:cubicBezTo>
                  <a:cubicBezTo>
                    <a:pt x="13479" y="14438"/>
                    <a:pt x="13471" y="14416"/>
                    <a:pt x="13480" y="14401"/>
                  </a:cubicBezTo>
                  <a:cubicBezTo>
                    <a:pt x="13485" y="14392"/>
                    <a:pt x="13505" y="14376"/>
                    <a:pt x="13513" y="14366"/>
                  </a:cubicBezTo>
                  <a:cubicBezTo>
                    <a:pt x="13525" y="14352"/>
                    <a:pt x="13530" y="14335"/>
                    <a:pt x="13547" y="14323"/>
                  </a:cubicBezTo>
                  <a:cubicBezTo>
                    <a:pt x="13570" y="14308"/>
                    <a:pt x="13590" y="14317"/>
                    <a:pt x="13600" y="14296"/>
                  </a:cubicBezTo>
                  <a:cubicBezTo>
                    <a:pt x="13607" y="14281"/>
                    <a:pt x="13590" y="14268"/>
                    <a:pt x="13587" y="14258"/>
                  </a:cubicBezTo>
                  <a:cubicBezTo>
                    <a:pt x="13577" y="14232"/>
                    <a:pt x="13568" y="14206"/>
                    <a:pt x="13553" y="14179"/>
                  </a:cubicBezTo>
                  <a:cubicBezTo>
                    <a:pt x="13532" y="14144"/>
                    <a:pt x="13526" y="14155"/>
                    <a:pt x="13550" y="14112"/>
                  </a:cubicBezTo>
                  <a:cubicBezTo>
                    <a:pt x="13559" y="14095"/>
                    <a:pt x="13557" y="14080"/>
                    <a:pt x="13576" y="14065"/>
                  </a:cubicBezTo>
                  <a:cubicBezTo>
                    <a:pt x="13587" y="14057"/>
                    <a:pt x="13598" y="14069"/>
                    <a:pt x="13609" y="14064"/>
                  </a:cubicBezTo>
                  <a:cubicBezTo>
                    <a:pt x="13621" y="14059"/>
                    <a:pt x="13626" y="14044"/>
                    <a:pt x="13639" y="14040"/>
                  </a:cubicBezTo>
                  <a:cubicBezTo>
                    <a:pt x="13667" y="14031"/>
                    <a:pt x="13675" y="14050"/>
                    <a:pt x="13688" y="14027"/>
                  </a:cubicBezTo>
                  <a:cubicBezTo>
                    <a:pt x="13702" y="14005"/>
                    <a:pt x="13727" y="13987"/>
                    <a:pt x="13747" y="13995"/>
                  </a:cubicBezTo>
                  <a:cubicBezTo>
                    <a:pt x="13834" y="14028"/>
                    <a:pt x="13650" y="14145"/>
                    <a:pt x="13795" y="14117"/>
                  </a:cubicBezTo>
                  <a:cubicBezTo>
                    <a:pt x="13851" y="14106"/>
                    <a:pt x="14095" y="14062"/>
                    <a:pt x="14068" y="14159"/>
                  </a:cubicBezTo>
                  <a:cubicBezTo>
                    <a:pt x="14060" y="14190"/>
                    <a:pt x="14005" y="14200"/>
                    <a:pt x="14024" y="14241"/>
                  </a:cubicBezTo>
                  <a:cubicBezTo>
                    <a:pt x="14036" y="14266"/>
                    <a:pt x="14094" y="14281"/>
                    <a:pt x="14128" y="14279"/>
                  </a:cubicBezTo>
                  <a:cubicBezTo>
                    <a:pt x="14156" y="14277"/>
                    <a:pt x="14172" y="14249"/>
                    <a:pt x="14199" y="14242"/>
                  </a:cubicBezTo>
                  <a:cubicBezTo>
                    <a:pt x="14233" y="14234"/>
                    <a:pt x="14224" y="14244"/>
                    <a:pt x="14254" y="14246"/>
                  </a:cubicBezTo>
                  <a:cubicBezTo>
                    <a:pt x="14281" y="14248"/>
                    <a:pt x="14302" y="14247"/>
                    <a:pt x="14330" y="14244"/>
                  </a:cubicBezTo>
                  <a:cubicBezTo>
                    <a:pt x="14357" y="14241"/>
                    <a:pt x="14365" y="14254"/>
                    <a:pt x="14389" y="14259"/>
                  </a:cubicBezTo>
                  <a:cubicBezTo>
                    <a:pt x="14474" y="14274"/>
                    <a:pt x="14568" y="14289"/>
                    <a:pt x="14659" y="14299"/>
                  </a:cubicBezTo>
                  <a:cubicBezTo>
                    <a:pt x="14729" y="14306"/>
                    <a:pt x="14694" y="14272"/>
                    <a:pt x="14705" y="14245"/>
                  </a:cubicBezTo>
                  <a:cubicBezTo>
                    <a:pt x="14708" y="14237"/>
                    <a:pt x="14732" y="14222"/>
                    <a:pt x="14739" y="14214"/>
                  </a:cubicBezTo>
                  <a:cubicBezTo>
                    <a:pt x="14751" y="14201"/>
                    <a:pt x="14758" y="14183"/>
                    <a:pt x="14770" y="14169"/>
                  </a:cubicBezTo>
                  <a:cubicBezTo>
                    <a:pt x="14793" y="14143"/>
                    <a:pt x="14801" y="14115"/>
                    <a:pt x="14819" y="14090"/>
                  </a:cubicBezTo>
                  <a:cubicBezTo>
                    <a:pt x="14840" y="14061"/>
                    <a:pt x="14917" y="14050"/>
                    <a:pt x="14924" y="14015"/>
                  </a:cubicBezTo>
                  <a:cubicBezTo>
                    <a:pt x="14863" y="13961"/>
                    <a:pt x="14737" y="14014"/>
                    <a:pt x="14688" y="13971"/>
                  </a:cubicBezTo>
                  <a:close/>
                  <a:moveTo>
                    <a:pt x="14484" y="14779"/>
                  </a:moveTo>
                  <a:cubicBezTo>
                    <a:pt x="14482" y="14757"/>
                    <a:pt x="14511" y="14717"/>
                    <a:pt x="14467" y="14703"/>
                  </a:cubicBezTo>
                  <a:cubicBezTo>
                    <a:pt x="14454" y="14699"/>
                    <a:pt x="14381" y="14709"/>
                    <a:pt x="14364" y="14709"/>
                  </a:cubicBezTo>
                  <a:cubicBezTo>
                    <a:pt x="14322" y="14710"/>
                    <a:pt x="14315" y="14709"/>
                    <a:pt x="14286" y="14736"/>
                  </a:cubicBezTo>
                  <a:cubicBezTo>
                    <a:pt x="14275" y="14745"/>
                    <a:pt x="14294" y="14754"/>
                    <a:pt x="14273" y="14764"/>
                  </a:cubicBezTo>
                  <a:cubicBezTo>
                    <a:pt x="14254" y="14771"/>
                    <a:pt x="14228" y="14762"/>
                    <a:pt x="14209" y="14765"/>
                  </a:cubicBezTo>
                  <a:cubicBezTo>
                    <a:pt x="14126" y="14777"/>
                    <a:pt x="14126" y="14839"/>
                    <a:pt x="14064" y="14866"/>
                  </a:cubicBezTo>
                  <a:cubicBezTo>
                    <a:pt x="13988" y="14899"/>
                    <a:pt x="13956" y="14795"/>
                    <a:pt x="13894" y="14863"/>
                  </a:cubicBezTo>
                  <a:cubicBezTo>
                    <a:pt x="13842" y="14920"/>
                    <a:pt x="13888" y="14975"/>
                    <a:pt x="13871" y="15035"/>
                  </a:cubicBezTo>
                  <a:cubicBezTo>
                    <a:pt x="13855" y="15091"/>
                    <a:pt x="13802" y="15132"/>
                    <a:pt x="13782" y="15187"/>
                  </a:cubicBezTo>
                  <a:cubicBezTo>
                    <a:pt x="13793" y="15232"/>
                    <a:pt x="13826" y="15246"/>
                    <a:pt x="13868" y="15272"/>
                  </a:cubicBezTo>
                  <a:cubicBezTo>
                    <a:pt x="13911" y="15298"/>
                    <a:pt x="13913" y="15310"/>
                    <a:pt x="13931" y="15349"/>
                  </a:cubicBezTo>
                  <a:cubicBezTo>
                    <a:pt x="13957" y="15404"/>
                    <a:pt x="13975" y="15365"/>
                    <a:pt x="14003" y="15335"/>
                  </a:cubicBezTo>
                  <a:cubicBezTo>
                    <a:pt x="14026" y="15310"/>
                    <a:pt x="14043" y="15282"/>
                    <a:pt x="14090" y="15286"/>
                  </a:cubicBezTo>
                  <a:cubicBezTo>
                    <a:pt x="14151" y="15291"/>
                    <a:pt x="14171" y="15320"/>
                    <a:pt x="14217" y="15283"/>
                  </a:cubicBezTo>
                  <a:cubicBezTo>
                    <a:pt x="14240" y="15265"/>
                    <a:pt x="14262" y="15237"/>
                    <a:pt x="14280" y="15216"/>
                  </a:cubicBezTo>
                  <a:cubicBezTo>
                    <a:pt x="14300" y="15192"/>
                    <a:pt x="14302" y="15171"/>
                    <a:pt x="14314" y="15145"/>
                  </a:cubicBezTo>
                  <a:cubicBezTo>
                    <a:pt x="14328" y="15117"/>
                    <a:pt x="14359" y="15101"/>
                    <a:pt x="14374" y="15076"/>
                  </a:cubicBezTo>
                  <a:cubicBezTo>
                    <a:pt x="14389" y="15051"/>
                    <a:pt x="14375" y="15027"/>
                    <a:pt x="14390" y="15002"/>
                  </a:cubicBezTo>
                  <a:cubicBezTo>
                    <a:pt x="14410" y="14970"/>
                    <a:pt x="14458" y="14947"/>
                    <a:pt x="14481" y="14914"/>
                  </a:cubicBezTo>
                  <a:cubicBezTo>
                    <a:pt x="14498" y="14891"/>
                    <a:pt x="14522" y="14871"/>
                    <a:pt x="14515" y="14843"/>
                  </a:cubicBezTo>
                  <a:cubicBezTo>
                    <a:pt x="14509" y="14818"/>
                    <a:pt x="14485" y="14804"/>
                    <a:pt x="14484" y="14779"/>
                  </a:cubicBezTo>
                  <a:close/>
                  <a:moveTo>
                    <a:pt x="15337" y="10484"/>
                  </a:moveTo>
                  <a:cubicBezTo>
                    <a:pt x="15332" y="10445"/>
                    <a:pt x="15308" y="10450"/>
                    <a:pt x="15268" y="10420"/>
                  </a:cubicBezTo>
                  <a:cubicBezTo>
                    <a:pt x="15247" y="10405"/>
                    <a:pt x="15228" y="10363"/>
                    <a:pt x="15203" y="10355"/>
                  </a:cubicBezTo>
                  <a:cubicBezTo>
                    <a:pt x="15201" y="10354"/>
                    <a:pt x="15107" y="10354"/>
                    <a:pt x="15116" y="10350"/>
                  </a:cubicBezTo>
                  <a:cubicBezTo>
                    <a:pt x="15095" y="10360"/>
                    <a:pt x="15098" y="10401"/>
                    <a:pt x="15099" y="10423"/>
                  </a:cubicBezTo>
                  <a:cubicBezTo>
                    <a:pt x="15105" y="10531"/>
                    <a:pt x="15257" y="10500"/>
                    <a:pt x="15318" y="10574"/>
                  </a:cubicBezTo>
                  <a:cubicBezTo>
                    <a:pt x="15334" y="10561"/>
                    <a:pt x="15357" y="10559"/>
                    <a:pt x="15377" y="10566"/>
                  </a:cubicBezTo>
                  <a:cubicBezTo>
                    <a:pt x="15374" y="10551"/>
                    <a:pt x="15368" y="10552"/>
                    <a:pt x="15365" y="10536"/>
                  </a:cubicBezTo>
                  <a:cubicBezTo>
                    <a:pt x="15368" y="10550"/>
                    <a:pt x="15346" y="10513"/>
                    <a:pt x="15353" y="10511"/>
                  </a:cubicBezTo>
                  <a:cubicBezTo>
                    <a:pt x="15342" y="10507"/>
                    <a:pt x="15318" y="10498"/>
                    <a:pt x="15321" y="10509"/>
                  </a:cubicBezTo>
                  <a:cubicBezTo>
                    <a:pt x="15317" y="10494"/>
                    <a:pt x="15338" y="10489"/>
                    <a:pt x="15337" y="10484"/>
                  </a:cubicBezTo>
                  <a:close/>
                  <a:moveTo>
                    <a:pt x="15439" y="11310"/>
                  </a:moveTo>
                  <a:cubicBezTo>
                    <a:pt x="15496" y="11263"/>
                    <a:pt x="15547" y="11212"/>
                    <a:pt x="15564" y="11143"/>
                  </a:cubicBezTo>
                  <a:cubicBezTo>
                    <a:pt x="15581" y="11076"/>
                    <a:pt x="15538" y="11027"/>
                    <a:pt x="15507" y="10969"/>
                  </a:cubicBezTo>
                  <a:cubicBezTo>
                    <a:pt x="15492" y="10942"/>
                    <a:pt x="15477" y="10922"/>
                    <a:pt x="15458" y="10901"/>
                  </a:cubicBezTo>
                  <a:cubicBezTo>
                    <a:pt x="15441" y="10882"/>
                    <a:pt x="15407" y="10859"/>
                    <a:pt x="15398" y="10837"/>
                  </a:cubicBezTo>
                  <a:cubicBezTo>
                    <a:pt x="15374" y="10779"/>
                    <a:pt x="15418" y="10731"/>
                    <a:pt x="15354" y="10681"/>
                  </a:cubicBezTo>
                  <a:cubicBezTo>
                    <a:pt x="15298" y="10636"/>
                    <a:pt x="15219" y="10659"/>
                    <a:pt x="15141" y="10649"/>
                  </a:cubicBezTo>
                  <a:cubicBezTo>
                    <a:pt x="15102" y="10644"/>
                    <a:pt x="15053" y="10641"/>
                    <a:pt x="15019" y="10661"/>
                  </a:cubicBezTo>
                  <a:cubicBezTo>
                    <a:pt x="14987" y="10682"/>
                    <a:pt x="15003" y="10701"/>
                    <a:pt x="14949" y="10707"/>
                  </a:cubicBezTo>
                  <a:cubicBezTo>
                    <a:pt x="14931" y="10708"/>
                    <a:pt x="14926" y="10691"/>
                    <a:pt x="14912" y="10695"/>
                  </a:cubicBezTo>
                  <a:cubicBezTo>
                    <a:pt x="14900" y="10698"/>
                    <a:pt x="14889" y="10720"/>
                    <a:pt x="14879" y="10727"/>
                  </a:cubicBezTo>
                  <a:cubicBezTo>
                    <a:pt x="14852" y="10748"/>
                    <a:pt x="14824" y="10755"/>
                    <a:pt x="14808" y="10784"/>
                  </a:cubicBezTo>
                  <a:cubicBezTo>
                    <a:pt x="14780" y="10833"/>
                    <a:pt x="14779" y="10898"/>
                    <a:pt x="14775" y="10951"/>
                  </a:cubicBezTo>
                  <a:cubicBezTo>
                    <a:pt x="14771" y="11008"/>
                    <a:pt x="14758" y="11067"/>
                    <a:pt x="14765" y="11123"/>
                  </a:cubicBezTo>
                  <a:cubicBezTo>
                    <a:pt x="14775" y="11198"/>
                    <a:pt x="14819" y="11229"/>
                    <a:pt x="14860" y="11293"/>
                  </a:cubicBezTo>
                  <a:cubicBezTo>
                    <a:pt x="14874" y="11316"/>
                    <a:pt x="14865" y="11360"/>
                    <a:pt x="14912" y="11367"/>
                  </a:cubicBezTo>
                  <a:cubicBezTo>
                    <a:pt x="14965" y="11418"/>
                    <a:pt x="14985" y="11463"/>
                    <a:pt x="15069" y="11460"/>
                  </a:cubicBezTo>
                  <a:cubicBezTo>
                    <a:pt x="15122" y="11458"/>
                    <a:pt x="15153" y="11436"/>
                    <a:pt x="15197" y="11428"/>
                  </a:cubicBezTo>
                  <a:cubicBezTo>
                    <a:pt x="15244" y="11419"/>
                    <a:pt x="15279" y="11390"/>
                    <a:pt x="15327" y="11376"/>
                  </a:cubicBezTo>
                  <a:cubicBezTo>
                    <a:pt x="15391" y="11358"/>
                    <a:pt x="15397" y="11345"/>
                    <a:pt x="15439" y="11310"/>
                  </a:cubicBezTo>
                  <a:close/>
                  <a:moveTo>
                    <a:pt x="14441" y="10033"/>
                  </a:moveTo>
                  <a:cubicBezTo>
                    <a:pt x="14409" y="10021"/>
                    <a:pt x="14423" y="10039"/>
                    <a:pt x="14391" y="10046"/>
                  </a:cubicBezTo>
                  <a:cubicBezTo>
                    <a:pt x="14355" y="10055"/>
                    <a:pt x="14335" y="10050"/>
                    <a:pt x="14295" y="10042"/>
                  </a:cubicBezTo>
                  <a:cubicBezTo>
                    <a:pt x="14213" y="10060"/>
                    <a:pt x="14249" y="10139"/>
                    <a:pt x="14268" y="10182"/>
                  </a:cubicBezTo>
                  <a:cubicBezTo>
                    <a:pt x="14279" y="10204"/>
                    <a:pt x="14323" y="10250"/>
                    <a:pt x="14355" y="10256"/>
                  </a:cubicBezTo>
                  <a:cubicBezTo>
                    <a:pt x="14389" y="10262"/>
                    <a:pt x="14417" y="10238"/>
                    <a:pt x="14443" y="10230"/>
                  </a:cubicBezTo>
                  <a:cubicBezTo>
                    <a:pt x="14440" y="10231"/>
                    <a:pt x="14477" y="10268"/>
                    <a:pt x="14466" y="10228"/>
                  </a:cubicBezTo>
                  <a:cubicBezTo>
                    <a:pt x="14461" y="10209"/>
                    <a:pt x="14441" y="10214"/>
                    <a:pt x="14433" y="10198"/>
                  </a:cubicBezTo>
                  <a:cubicBezTo>
                    <a:pt x="14420" y="10168"/>
                    <a:pt x="14441" y="10142"/>
                    <a:pt x="14453" y="10112"/>
                  </a:cubicBezTo>
                  <a:cubicBezTo>
                    <a:pt x="14464" y="10088"/>
                    <a:pt x="14486" y="10050"/>
                    <a:pt x="14441" y="10033"/>
                  </a:cubicBezTo>
                  <a:close/>
                  <a:moveTo>
                    <a:pt x="12207" y="12929"/>
                  </a:moveTo>
                  <a:cubicBezTo>
                    <a:pt x="12205" y="12884"/>
                    <a:pt x="12260" y="12885"/>
                    <a:pt x="12194" y="12858"/>
                  </a:cubicBezTo>
                  <a:cubicBezTo>
                    <a:pt x="12160" y="12844"/>
                    <a:pt x="12117" y="12838"/>
                    <a:pt x="12080" y="12832"/>
                  </a:cubicBezTo>
                  <a:cubicBezTo>
                    <a:pt x="12014" y="12821"/>
                    <a:pt x="11894" y="12828"/>
                    <a:pt x="11869" y="12761"/>
                  </a:cubicBezTo>
                  <a:cubicBezTo>
                    <a:pt x="11858" y="12732"/>
                    <a:pt x="11879" y="12744"/>
                    <a:pt x="11912" y="12735"/>
                  </a:cubicBezTo>
                  <a:cubicBezTo>
                    <a:pt x="11890" y="12725"/>
                    <a:pt x="11820" y="12683"/>
                    <a:pt x="11880" y="12688"/>
                  </a:cubicBezTo>
                  <a:cubicBezTo>
                    <a:pt x="11912" y="12691"/>
                    <a:pt x="11918" y="12683"/>
                    <a:pt x="11915" y="12662"/>
                  </a:cubicBezTo>
                  <a:cubicBezTo>
                    <a:pt x="11913" y="12647"/>
                    <a:pt x="11956" y="12666"/>
                    <a:pt x="11966" y="12667"/>
                  </a:cubicBezTo>
                  <a:cubicBezTo>
                    <a:pt x="11987" y="12671"/>
                    <a:pt x="12000" y="12654"/>
                    <a:pt x="12014" y="12654"/>
                  </a:cubicBezTo>
                  <a:cubicBezTo>
                    <a:pt x="12027" y="12653"/>
                    <a:pt x="12058" y="12666"/>
                    <a:pt x="12074" y="12665"/>
                  </a:cubicBezTo>
                  <a:cubicBezTo>
                    <a:pt x="12103" y="12663"/>
                    <a:pt x="12156" y="12654"/>
                    <a:pt x="12184" y="12645"/>
                  </a:cubicBezTo>
                  <a:cubicBezTo>
                    <a:pt x="12218" y="12633"/>
                    <a:pt x="12250" y="12578"/>
                    <a:pt x="12287" y="12577"/>
                  </a:cubicBezTo>
                  <a:cubicBezTo>
                    <a:pt x="12318" y="12575"/>
                    <a:pt x="12305" y="12584"/>
                    <a:pt x="12328" y="12599"/>
                  </a:cubicBezTo>
                  <a:cubicBezTo>
                    <a:pt x="12361" y="12622"/>
                    <a:pt x="12362" y="12635"/>
                    <a:pt x="12378" y="12666"/>
                  </a:cubicBezTo>
                  <a:cubicBezTo>
                    <a:pt x="12388" y="12685"/>
                    <a:pt x="12400" y="12723"/>
                    <a:pt x="12414" y="12737"/>
                  </a:cubicBezTo>
                  <a:cubicBezTo>
                    <a:pt x="12447" y="12773"/>
                    <a:pt x="12484" y="12764"/>
                    <a:pt x="12479" y="12720"/>
                  </a:cubicBezTo>
                  <a:cubicBezTo>
                    <a:pt x="12513" y="12760"/>
                    <a:pt x="12533" y="12734"/>
                    <a:pt x="12585" y="12743"/>
                  </a:cubicBezTo>
                  <a:cubicBezTo>
                    <a:pt x="12605" y="12746"/>
                    <a:pt x="12615" y="12763"/>
                    <a:pt x="12637" y="12766"/>
                  </a:cubicBezTo>
                  <a:cubicBezTo>
                    <a:pt x="12656" y="12769"/>
                    <a:pt x="12685" y="12761"/>
                    <a:pt x="12707" y="12764"/>
                  </a:cubicBezTo>
                  <a:cubicBezTo>
                    <a:pt x="12752" y="12769"/>
                    <a:pt x="12805" y="12785"/>
                    <a:pt x="12747" y="12739"/>
                  </a:cubicBezTo>
                  <a:cubicBezTo>
                    <a:pt x="12722" y="12718"/>
                    <a:pt x="12675" y="12706"/>
                    <a:pt x="12654" y="12686"/>
                  </a:cubicBezTo>
                  <a:cubicBezTo>
                    <a:pt x="12626" y="12661"/>
                    <a:pt x="12675" y="12614"/>
                    <a:pt x="12715" y="12647"/>
                  </a:cubicBezTo>
                  <a:cubicBezTo>
                    <a:pt x="12726" y="12655"/>
                    <a:pt x="12727" y="12676"/>
                    <a:pt x="12738" y="12683"/>
                  </a:cubicBezTo>
                  <a:cubicBezTo>
                    <a:pt x="12786" y="12711"/>
                    <a:pt x="12757" y="12674"/>
                    <a:pt x="12794" y="12668"/>
                  </a:cubicBezTo>
                  <a:cubicBezTo>
                    <a:pt x="12832" y="12661"/>
                    <a:pt x="12841" y="12696"/>
                    <a:pt x="12887" y="12706"/>
                  </a:cubicBezTo>
                  <a:cubicBezTo>
                    <a:pt x="12901" y="12709"/>
                    <a:pt x="12910" y="12712"/>
                    <a:pt x="12925" y="12713"/>
                  </a:cubicBezTo>
                  <a:cubicBezTo>
                    <a:pt x="12941" y="12714"/>
                    <a:pt x="12956" y="12704"/>
                    <a:pt x="12973" y="12706"/>
                  </a:cubicBezTo>
                  <a:cubicBezTo>
                    <a:pt x="12988" y="12707"/>
                    <a:pt x="12969" y="12727"/>
                    <a:pt x="12970" y="12727"/>
                  </a:cubicBezTo>
                  <a:cubicBezTo>
                    <a:pt x="12987" y="12730"/>
                    <a:pt x="12994" y="12736"/>
                    <a:pt x="13013" y="12710"/>
                  </a:cubicBezTo>
                  <a:cubicBezTo>
                    <a:pt x="13027" y="12691"/>
                    <a:pt x="12994" y="12688"/>
                    <a:pt x="12984" y="12676"/>
                  </a:cubicBezTo>
                  <a:cubicBezTo>
                    <a:pt x="12960" y="12652"/>
                    <a:pt x="12937" y="12644"/>
                    <a:pt x="12918" y="12622"/>
                  </a:cubicBezTo>
                  <a:cubicBezTo>
                    <a:pt x="12896" y="12599"/>
                    <a:pt x="12900" y="12573"/>
                    <a:pt x="12869" y="12551"/>
                  </a:cubicBezTo>
                  <a:cubicBezTo>
                    <a:pt x="12840" y="12529"/>
                    <a:pt x="12798" y="12517"/>
                    <a:pt x="12770" y="12493"/>
                  </a:cubicBezTo>
                  <a:cubicBezTo>
                    <a:pt x="12747" y="12473"/>
                    <a:pt x="12756" y="12488"/>
                    <a:pt x="12748" y="12463"/>
                  </a:cubicBezTo>
                  <a:cubicBezTo>
                    <a:pt x="12743" y="12450"/>
                    <a:pt x="12760" y="12434"/>
                    <a:pt x="12745" y="12421"/>
                  </a:cubicBezTo>
                  <a:cubicBezTo>
                    <a:pt x="12718" y="12397"/>
                    <a:pt x="12685" y="12435"/>
                    <a:pt x="12651" y="12415"/>
                  </a:cubicBezTo>
                  <a:cubicBezTo>
                    <a:pt x="12620" y="12397"/>
                    <a:pt x="12653" y="12414"/>
                    <a:pt x="12647" y="12387"/>
                  </a:cubicBezTo>
                  <a:cubicBezTo>
                    <a:pt x="12644" y="12376"/>
                    <a:pt x="12646" y="12372"/>
                    <a:pt x="12648" y="12371"/>
                  </a:cubicBezTo>
                  <a:cubicBezTo>
                    <a:pt x="12645" y="12370"/>
                    <a:pt x="12642" y="12369"/>
                    <a:pt x="12635" y="12366"/>
                  </a:cubicBezTo>
                  <a:cubicBezTo>
                    <a:pt x="12607" y="12351"/>
                    <a:pt x="12544" y="12366"/>
                    <a:pt x="12524" y="12341"/>
                  </a:cubicBezTo>
                  <a:cubicBezTo>
                    <a:pt x="12540" y="12343"/>
                    <a:pt x="12563" y="12344"/>
                    <a:pt x="12580" y="12341"/>
                  </a:cubicBezTo>
                  <a:cubicBezTo>
                    <a:pt x="12558" y="12323"/>
                    <a:pt x="12519" y="12319"/>
                    <a:pt x="12491" y="12309"/>
                  </a:cubicBezTo>
                  <a:cubicBezTo>
                    <a:pt x="12506" y="12305"/>
                    <a:pt x="12521" y="12298"/>
                    <a:pt x="12539" y="12296"/>
                  </a:cubicBezTo>
                  <a:cubicBezTo>
                    <a:pt x="12512" y="12247"/>
                    <a:pt x="12436" y="12313"/>
                    <a:pt x="12392" y="12312"/>
                  </a:cubicBezTo>
                  <a:cubicBezTo>
                    <a:pt x="12430" y="12314"/>
                    <a:pt x="12435" y="12329"/>
                    <a:pt x="12411" y="12353"/>
                  </a:cubicBezTo>
                  <a:cubicBezTo>
                    <a:pt x="12397" y="12367"/>
                    <a:pt x="12313" y="12382"/>
                    <a:pt x="12331" y="12356"/>
                  </a:cubicBezTo>
                  <a:cubicBezTo>
                    <a:pt x="12351" y="12327"/>
                    <a:pt x="12336" y="12307"/>
                    <a:pt x="12381" y="12282"/>
                  </a:cubicBezTo>
                  <a:cubicBezTo>
                    <a:pt x="12415" y="12264"/>
                    <a:pt x="12459" y="12260"/>
                    <a:pt x="12496" y="12248"/>
                  </a:cubicBezTo>
                  <a:cubicBezTo>
                    <a:pt x="12462" y="12229"/>
                    <a:pt x="12450" y="12261"/>
                    <a:pt x="12421" y="12257"/>
                  </a:cubicBezTo>
                  <a:cubicBezTo>
                    <a:pt x="12431" y="12258"/>
                    <a:pt x="12394" y="12222"/>
                    <a:pt x="12396" y="12215"/>
                  </a:cubicBezTo>
                  <a:cubicBezTo>
                    <a:pt x="12445" y="12252"/>
                    <a:pt x="12543" y="12209"/>
                    <a:pt x="12592" y="12243"/>
                  </a:cubicBezTo>
                  <a:cubicBezTo>
                    <a:pt x="12573" y="12249"/>
                    <a:pt x="12549" y="12248"/>
                    <a:pt x="12530" y="12249"/>
                  </a:cubicBezTo>
                  <a:cubicBezTo>
                    <a:pt x="12538" y="12255"/>
                    <a:pt x="12561" y="12267"/>
                    <a:pt x="12572" y="12266"/>
                  </a:cubicBezTo>
                  <a:cubicBezTo>
                    <a:pt x="12609" y="12261"/>
                    <a:pt x="12589" y="12276"/>
                    <a:pt x="12598" y="12282"/>
                  </a:cubicBezTo>
                  <a:cubicBezTo>
                    <a:pt x="12605" y="12287"/>
                    <a:pt x="12615" y="12303"/>
                    <a:pt x="12624" y="12309"/>
                  </a:cubicBezTo>
                  <a:cubicBezTo>
                    <a:pt x="12630" y="12315"/>
                    <a:pt x="12660" y="12318"/>
                    <a:pt x="12670" y="12323"/>
                  </a:cubicBezTo>
                  <a:cubicBezTo>
                    <a:pt x="12654" y="12326"/>
                    <a:pt x="12627" y="12328"/>
                    <a:pt x="12614" y="12337"/>
                  </a:cubicBezTo>
                  <a:cubicBezTo>
                    <a:pt x="12595" y="12351"/>
                    <a:pt x="12652" y="12348"/>
                    <a:pt x="12653" y="12348"/>
                  </a:cubicBezTo>
                  <a:cubicBezTo>
                    <a:pt x="12656" y="12351"/>
                    <a:pt x="12669" y="12349"/>
                    <a:pt x="12675" y="12354"/>
                  </a:cubicBezTo>
                  <a:cubicBezTo>
                    <a:pt x="12684" y="12360"/>
                    <a:pt x="12664" y="12371"/>
                    <a:pt x="12669" y="12376"/>
                  </a:cubicBezTo>
                  <a:cubicBezTo>
                    <a:pt x="12683" y="12389"/>
                    <a:pt x="12676" y="12395"/>
                    <a:pt x="12704" y="12399"/>
                  </a:cubicBezTo>
                  <a:cubicBezTo>
                    <a:pt x="12768" y="12408"/>
                    <a:pt x="12775" y="12305"/>
                    <a:pt x="12781" y="12270"/>
                  </a:cubicBezTo>
                  <a:cubicBezTo>
                    <a:pt x="12815" y="12299"/>
                    <a:pt x="12785" y="12320"/>
                    <a:pt x="12792" y="12347"/>
                  </a:cubicBezTo>
                  <a:cubicBezTo>
                    <a:pt x="12800" y="12377"/>
                    <a:pt x="12862" y="12385"/>
                    <a:pt x="12837" y="12419"/>
                  </a:cubicBezTo>
                  <a:cubicBezTo>
                    <a:pt x="12834" y="12411"/>
                    <a:pt x="12815" y="12381"/>
                    <a:pt x="12794" y="12391"/>
                  </a:cubicBezTo>
                  <a:cubicBezTo>
                    <a:pt x="12777" y="12400"/>
                    <a:pt x="12798" y="12413"/>
                    <a:pt x="12800" y="12423"/>
                  </a:cubicBezTo>
                  <a:cubicBezTo>
                    <a:pt x="12808" y="12452"/>
                    <a:pt x="12827" y="12459"/>
                    <a:pt x="12858" y="12470"/>
                  </a:cubicBezTo>
                  <a:cubicBezTo>
                    <a:pt x="12889" y="12481"/>
                    <a:pt x="12925" y="12484"/>
                    <a:pt x="12953" y="12501"/>
                  </a:cubicBezTo>
                  <a:cubicBezTo>
                    <a:pt x="12974" y="12514"/>
                    <a:pt x="13021" y="12553"/>
                    <a:pt x="13023" y="12571"/>
                  </a:cubicBezTo>
                  <a:cubicBezTo>
                    <a:pt x="13007" y="12564"/>
                    <a:pt x="12992" y="12552"/>
                    <a:pt x="12979" y="12544"/>
                  </a:cubicBezTo>
                  <a:cubicBezTo>
                    <a:pt x="12973" y="12582"/>
                    <a:pt x="13050" y="12597"/>
                    <a:pt x="13089" y="12579"/>
                  </a:cubicBezTo>
                  <a:cubicBezTo>
                    <a:pt x="13117" y="12565"/>
                    <a:pt x="13139" y="12517"/>
                    <a:pt x="13157" y="12494"/>
                  </a:cubicBezTo>
                  <a:cubicBezTo>
                    <a:pt x="13184" y="12460"/>
                    <a:pt x="13172" y="12422"/>
                    <a:pt x="13225" y="12399"/>
                  </a:cubicBezTo>
                  <a:cubicBezTo>
                    <a:pt x="13247" y="12390"/>
                    <a:pt x="13293" y="12397"/>
                    <a:pt x="13309" y="12382"/>
                  </a:cubicBezTo>
                  <a:cubicBezTo>
                    <a:pt x="13321" y="12371"/>
                    <a:pt x="13309" y="12354"/>
                    <a:pt x="13312" y="12340"/>
                  </a:cubicBezTo>
                  <a:cubicBezTo>
                    <a:pt x="13315" y="12327"/>
                    <a:pt x="13348" y="12263"/>
                    <a:pt x="13360" y="12256"/>
                  </a:cubicBezTo>
                  <a:cubicBezTo>
                    <a:pt x="13373" y="12249"/>
                    <a:pt x="13416" y="12259"/>
                    <a:pt x="13425" y="12248"/>
                  </a:cubicBezTo>
                  <a:cubicBezTo>
                    <a:pt x="13424" y="12250"/>
                    <a:pt x="13408" y="12214"/>
                    <a:pt x="13408" y="12208"/>
                  </a:cubicBezTo>
                  <a:cubicBezTo>
                    <a:pt x="13407" y="12176"/>
                    <a:pt x="13425" y="12148"/>
                    <a:pt x="13429" y="12117"/>
                  </a:cubicBezTo>
                  <a:cubicBezTo>
                    <a:pt x="13434" y="12083"/>
                    <a:pt x="13429" y="12059"/>
                    <a:pt x="13486" y="12037"/>
                  </a:cubicBezTo>
                  <a:cubicBezTo>
                    <a:pt x="13491" y="12035"/>
                    <a:pt x="13513" y="12044"/>
                    <a:pt x="13521" y="12042"/>
                  </a:cubicBezTo>
                  <a:cubicBezTo>
                    <a:pt x="13533" y="12039"/>
                    <a:pt x="13529" y="12025"/>
                    <a:pt x="13536" y="12022"/>
                  </a:cubicBezTo>
                  <a:cubicBezTo>
                    <a:pt x="13560" y="12012"/>
                    <a:pt x="13567" y="12020"/>
                    <a:pt x="13581" y="12003"/>
                  </a:cubicBezTo>
                  <a:cubicBezTo>
                    <a:pt x="13594" y="11988"/>
                    <a:pt x="13580" y="11938"/>
                    <a:pt x="13577" y="11917"/>
                  </a:cubicBezTo>
                  <a:cubicBezTo>
                    <a:pt x="13569" y="11861"/>
                    <a:pt x="13549" y="11802"/>
                    <a:pt x="13548" y="11746"/>
                  </a:cubicBezTo>
                  <a:cubicBezTo>
                    <a:pt x="13546" y="11701"/>
                    <a:pt x="13556" y="11693"/>
                    <a:pt x="13515" y="11659"/>
                  </a:cubicBezTo>
                  <a:cubicBezTo>
                    <a:pt x="13487" y="11636"/>
                    <a:pt x="13463" y="11611"/>
                    <a:pt x="13428" y="11594"/>
                  </a:cubicBezTo>
                  <a:cubicBezTo>
                    <a:pt x="13351" y="11558"/>
                    <a:pt x="13283" y="11517"/>
                    <a:pt x="13213" y="11491"/>
                  </a:cubicBezTo>
                  <a:cubicBezTo>
                    <a:pt x="13153" y="11469"/>
                    <a:pt x="13102" y="11417"/>
                    <a:pt x="13100" y="11368"/>
                  </a:cubicBezTo>
                  <a:cubicBezTo>
                    <a:pt x="13098" y="11338"/>
                    <a:pt x="13122" y="11305"/>
                    <a:pt x="13112" y="11274"/>
                  </a:cubicBezTo>
                  <a:cubicBezTo>
                    <a:pt x="13096" y="11224"/>
                    <a:pt x="13092" y="11258"/>
                    <a:pt x="13079" y="11287"/>
                  </a:cubicBezTo>
                  <a:cubicBezTo>
                    <a:pt x="13057" y="11332"/>
                    <a:pt x="13011" y="11323"/>
                    <a:pt x="13000" y="11279"/>
                  </a:cubicBezTo>
                  <a:cubicBezTo>
                    <a:pt x="12996" y="11265"/>
                    <a:pt x="13011" y="11249"/>
                    <a:pt x="13004" y="11235"/>
                  </a:cubicBezTo>
                  <a:cubicBezTo>
                    <a:pt x="12988" y="11200"/>
                    <a:pt x="12994" y="11228"/>
                    <a:pt x="12973" y="11225"/>
                  </a:cubicBezTo>
                  <a:cubicBezTo>
                    <a:pt x="12963" y="11223"/>
                    <a:pt x="12929" y="11239"/>
                    <a:pt x="12918" y="11215"/>
                  </a:cubicBezTo>
                  <a:cubicBezTo>
                    <a:pt x="12907" y="11191"/>
                    <a:pt x="12957" y="11207"/>
                    <a:pt x="12953" y="11184"/>
                  </a:cubicBezTo>
                  <a:cubicBezTo>
                    <a:pt x="12946" y="11149"/>
                    <a:pt x="12863" y="11162"/>
                    <a:pt x="12852" y="11155"/>
                  </a:cubicBezTo>
                  <a:cubicBezTo>
                    <a:pt x="12815" y="11131"/>
                    <a:pt x="12854" y="11132"/>
                    <a:pt x="12874" y="11109"/>
                  </a:cubicBezTo>
                  <a:cubicBezTo>
                    <a:pt x="12857" y="11109"/>
                    <a:pt x="12832" y="11102"/>
                    <a:pt x="12828" y="11088"/>
                  </a:cubicBezTo>
                  <a:cubicBezTo>
                    <a:pt x="12818" y="11055"/>
                    <a:pt x="12858" y="11088"/>
                    <a:pt x="12870" y="11090"/>
                  </a:cubicBezTo>
                  <a:cubicBezTo>
                    <a:pt x="12902" y="11097"/>
                    <a:pt x="12971" y="11110"/>
                    <a:pt x="12972" y="11071"/>
                  </a:cubicBezTo>
                  <a:cubicBezTo>
                    <a:pt x="12973" y="11059"/>
                    <a:pt x="12915" y="11060"/>
                    <a:pt x="12944" y="11045"/>
                  </a:cubicBezTo>
                  <a:cubicBezTo>
                    <a:pt x="12948" y="11042"/>
                    <a:pt x="13002" y="11054"/>
                    <a:pt x="13007" y="11057"/>
                  </a:cubicBezTo>
                  <a:cubicBezTo>
                    <a:pt x="13016" y="11063"/>
                    <a:pt x="13025" y="11091"/>
                    <a:pt x="13035" y="11093"/>
                  </a:cubicBezTo>
                  <a:cubicBezTo>
                    <a:pt x="13064" y="11099"/>
                    <a:pt x="13086" y="11063"/>
                    <a:pt x="13093" y="11049"/>
                  </a:cubicBezTo>
                  <a:cubicBezTo>
                    <a:pt x="13105" y="11026"/>
                    <a:pt x="13084" y="11031"/>
                    <a:pt x="13103" y="11016"/>
                  </a:cubicBezTo>
                  <a:cubicBezTo>
                    <a:pt x="13102" y="11016"/>
                    <a:pt x="13132" y="11014"/>
                    <a:pt x="13135" y="11012"/>
                  </a:cubicBezTo>
                  <a:cubicBezTo>
                    <a:pt x="13160" y="11000"/>
                    <a:pt x="13175" y="10976"/>
                    <a:pt x="13191" y="10957"/>
                  </a:cubicBezTo>
                  <a:cubicBezTo>
                    <a:pt x="13234" y="10906"/>
                    <a:pt x="13223" y="10902"/>
                    <a:pt x="13206" y="10852"/>
                  </a:cubicBezTo>
                  <a:cubicBezTo>
                    <a:pt x="13196" y="10824"/>
                    <a:pt x="13189" y="10783"/>
                    <a:pt x="13146" y="10769"/>
                  </a:cubicBezTo>
                  <a:cubicBezTo>
                    <a:pt x="13100" y="10755"/>
                    <a:pt x="13127" y="10780"/>
                    <a:pt x="13092" y="10786"/>
                  </a:cubicBezTo>
                  <a:cubicBezTo>
                    <a:pt x="13050" y="10793"/>
                    <a:pt x="13097" y="10787"/>
                    <a:pt x="13062" y="10773"/>
                  </a:cubicBezTo>
                  <a:cubicBezTo>
                    <a:pt x="13021" y="10757"/>
                    <a:pt x="13004" y="10758"/>
                    <a:pt x="12964" y="10773"/>
                  </a:cubicBezTo>
                  <a:cubicBezTo>
                    <a:pt x="12954" y="10776"/>
                    <a:pt x="12934" y="10800"/>
                    <a:pt x="12925" y="10797"/>
                  </a:cubicBezTo>
                  <a:cubicBezTo>
                    <a:pt x="12903" y="10792"/>
                    <a:pt x="12944" y="10769"/>
                    <a:pt x="12950" y="10763"/>
                  </a:cubicBezTo>
                  <a:cubicBezTo>
                    <a:pt x="12965" y="10749"/>
                    <a:pt x="12992" y="10741"/>
                    <a:pt x="13001" y="10723"/>
                  </a:cubicBezTo>
                  <a:cubicBezTo>
                    <a:pt x="13005" y="10715"/>
                    <a:pt x="12998" y="10706"/>
                    <a:pt x="13003" y="10700"/>
                  </a:cubicBezTo>
                  <a:cubicBezTo>
                    <a:pt x="13009" y="10693"/>
                    <a:pt x="13029" y="10695"/>
                    <a:pt x="13035" y="10686"/>
                  </a:cubicBezTo>
                  <a:cubicBezTo>
                    <a:pt x="13043" y="10675"/>
                    <a:pt x="13045" y="10664"/>
                    <a:pt x="13047" y="10651"/>
                  </a:cubicBezTo>
                  <a:cubicBezTo>
                    <a:pt x="13051" y="10625"/>
                    <a:pt x="13082" y="10615"/>
                    <a:pt x="13088" y="10602"/>
                  </a:cubicBezTo>
                  <a:cubicBezTo>
                    <a:pt x="13092" y="10589"/>
                    <a:pt x="13071" y="10544"/>
                    <a:pt x="13037" y="10534"/>
                  </a:cubicBezTo>
                  <a:cubicBezTo>
                    <a:pt x="13029" y="10532"/>
                    <a:pt x="13000" y="10542"/>
                    <a:pt x="12982" y="10539"/>
                  </a:cubicBezTo>
                  <a:cubicBezTo>
                    <a:pt x="12958" y="10535"/>
                    <a:pt x="12943" y="10519"/>
                    <a:pt x="12917" y="10518"/>
                  </a:cubicBezTo>
                  <a:cubicBezTo>
                    <a:pt x="12884" y="10516"/>
                    <a:pt x="12839" y="10531"/>
                    <a:pt x="12818" y="10542"/>
                  </a:cubicBezTo>
                  <a:cubicBezTo>
                    <a:pt x="12811" y="10546"/>
                    <a:pt x="12809" y="10561"/>
                    <a:pt x="12785" y="10566"/>
                  </a:cubicBezTo>
                  <a:cubicBezTo>
                    <a:pt x="12749" y="10573"/>
                    <a:pt x="12764" y="10573"/>
                    <a:pt x="12754" y="10547"/>
                  </a:cubicBezTo>
                  <a:cubicBezTo>
                    <a:pt x="12743" y="10518"/>
                    <a:pt x="12781" y="10537"/>
                    <a:pt x="12746" y="10509"/>
                  </a:cubicBezTo>
                  <a:cubicBezTo>
                    <a:pt x="12727" y="10493"/>
                    <a:pt x="12696" y="10490"/>
                    <a:pt x="12677" y="10472"/>
                  </a:cubicBezTo>
                  <a:cubicBezTo>
                    <a:pt x="12680" y="10473"/>
                    <a:pt x="12731" y="10478"/>
                    <a:pt x="12721" y="10465"/>
                  </a:cubicBezTo>
                  <a:cubicBezTo>
                    <a:pt x="12713" y="10454"/>
                    <a:pt x="12682" y="10456"/>
                    <a:pt x="12667" y="10453"/>
                  </a:cubicBezTo>
                  <a:cubicBezTo>
                    <a:pt x="12632" y="10447"/>
                    <a:pt x="12595" y="10442"/>
                    <a:pt x="12559" y="10438"/>
                  </a:cubicBezTo>
                  <a:cubicBezTo>
                    <a:pt x="12510" y="10433"/>
                    <a:pt x="12413" y="10455"/>
                    <a:pt x="12371" y="10436"/>
                  </a:cubicBezTo>
                  <a:cubicBezTo>
                    <a:pt x="12333" y="10418"/>
                    <a:pt x="12417" y="10427"/>
                    <a:pt x="12436" y="10427"/>
                  </a:cubicBezTo>
                  <a:cubicBezTo>
                    <a:pt x="12465" y="10428"/>
                    <a:pt x="12496" y="10425"/>
                    <a:pt x="12524" y="10422"/>
                  </a:cubicBezTo>
                  <a:cubicBezTo>
                    <a:pt x="12544" y="10419"/>
                    <a:pt x="12613" y="10412"/>
                    <a:pt x="12613" y="10407"/>
                  </a:cubicBezTo>
                  <a:cubicBezTo>
                    <a:pt x="12613" y="10385"/>
                    <a:pt x="12539" y="10374"/>
                    <a:pt x="12522" y="10376"/>
                  </a:cubicBezTo>
                  <a:cubicBezTo>
                    <a:pt x="12532" y="10365"/>
                    <a:pt x="12553" y="10358"/>
                    <a:pt x="12569" y="10353"/>
                  </a:cubicBezTo>
                  <a:cubicBezTo>
                    <a:pt x="12526" y="10344"/>
                    <a:pt x="12541" y="10325"/>
                    <a:pt x="12572" y="10319"/>
                  </a:cubicBezTo>
                  <a:cubicBezTo>
                    <a:pt x="12607" y="10312"/>
                    <a:pt x="12616" y="10338"/>
                    <a:pt x="12647" y="10305"/>
                  </a:cubicBezTo>
                  <a:cubicBezTo>
                    <a:pt x="12624" y="10305"/>
                    <a:pt x="12596" y="10311"/>
                    <a:pt x="12571" y="10307"/>
                  </a:cubicBezTo>
                  <a:cubicBezTo>
                    <a:pt x="12553" y="10304"/>
                    <a:pt x="12500" y="10268"/>
                    <a:pt x="12512" y="10302"/>
                  </a:cubicBezTo>
                  <a:cubicBezTo>
                    <a:pt x="12473" y="10303"/>
                    <a:pt x="12443" y="10318"/>
                    <a:pt x="12410" y="10324"/>
                  </a:cubicBezTo>
                  <a:cubicBezTo>
                    <a:pt x="12393" y="10327"/>
                    <a:pt x="12374" y="10322"/>
                    <a:pt x="12356" y="10325"/>
                  </a:cubicBezTo>
                  <a:cubicBezTo>
                    <a:pt x="12347" y="10326"/>
                    <a:pt x="12336" y="10320"/>
                    <a:pt x="12327" y="10323"/>
                  </a:cubicBezTo>
                  <a:cubicBezTo>
                    <a:pt x="12314" y="10327"/>
                    <a:pt x="12315" y="10343"/>
                    <a:pt x="12307" y="10345"/>
                  </a:cubicBezTo>
                  <a:cubicBezTo>
                    <a:pt x="12239" y="10364"/>
                    <a:pt x="12122" y="10352"/>
                    <a:pt x="12059" y="10326"/>
                  </a:cubicBezTo>
                  <a:cubicBezTo>
                    <a:pt x="12037" y="10317"/>
                    <a:pt x="12026" y="10306"/>
                    <a:pt x="12003" y="10297"/>
                  </a:cubicBezTo>
                  <a:cubicBezTo>
                    <a:pt x="12003" y="10298"/>
                    <a:pt x="11953" y="10289"/>
                    <a:pt x="11951" y="10289"/>
                  </a:cubicBezTo>
                  <a:cubicBezTo>
                    <a:pt x="11905" y="10288"/>
                    <a:pt x="11885" y="10306"/>
                    <a:pt x="11845" y="10317"/>
                  </a:cubicBezTo>
                  <a:cubicBezTo>
                    <a:pt x="11833" y="10320"/>
                    <a:pt x="11794" y="10319"/>
                    <a:pt x="11786" y="10323"/>
                  </a:cubicBezTo>
                  <a:cubicBezTo>
                    <a:pt x="11779" y="10326"/>
                    <a:pt x="11802" y="10340"/>
                    <a:pt x="11795" y="10345"/>
                  </a:cubicBezTo>
                  <a:cubicBezTo>
                    <a:pt x="11789" y="10350"/>
                    <a:pt x="11773" y="10351"/>
                    <a:pt x="11768" y="10356"/>
                  </a:cubicBezTo>
                  <a:cubicBezTo>
                    <a:pt x="11730" y="10400"/>
                    <a:pt x="11727" y="10378"/>
                    <a:pt x="11669" y="10363"/>
                  </a:cubicBezTo>
                  <a:cubicBezTo>
                    <a:pt x="11646" y="10357"/>
                    <a:pt x="11533" y="10363"/>
                    <a:pt x="11580" y="10379"/>
                  </a:cubicBezTo>
                  <a:cubicBezTo>
                    <a:pt x="11598" y="10385"/>
                    <a:pt x="11626" y="10363"/>
                    <a:pt x="11643" y="10371"/>
                  </a:cubicBezTo>
                  <a:cubicBezTo>
                    <a:pt x="11665" y="10381"/>
                    <a:pt x="11661" y="10410"/>
                    <a:pt x="11645" y="10419"/>
                  </a:cubicBezTo>
                  <a:cubicBezTo>
                    <a:pt x="11645" y="10405"/>
                    <a:pt x="11624" y="10382"/>
                    <a:pt x="11616" y="10409"/>
                  </a:cubicBezTo>
                  <a:cubicBezTo>
                    <a:pt x="11608" y="10434"/>
                    <a:pt x="11634" y="10418"/>
                    <a:pt x="11639" y="10439"/>
                  </a:cubicBezTo>
                  <a:cubicBezTo>
                    <a:pt x="11651" y="10487"/>
                    <a:pt x="11609" y="10483"/>
                    <a:pt x="11652" y="10524"/>
                  </a:cubicBezTo>
                  <a:cubicBezTo>
                    <a:pt x="11669" y="10542"/>
                    <a:pt x="11679" y="10539"/>
                    <a:pt x="11679" y="10551"/>
                  </a:cubicBezTo>
                  <a:cubicBezTo>
                    <a:pt x="11679" y="10556"/>
                    <a:pt x="11660" y="10579"/>
                    <a:pt x="11661" y="10594"/>
                  </a:cubicBezTo>
                  <a:cubicBezTo>
                    <a:pt x="11665" y="10661"/>
                    <a:pt x="11694" y="10602"/>
                    <a:pt x="11728" y="10628"/>
                  </a:cubicBezTo>
                  <a:cubicBezTo>
                    <a:pt x="11725" y="10637"/>
                    <a:pt x="11690" y="10656"/>
                    <a:pt x="11690" y="10662"/>
                  </a:cubicBezTo>
                  <a:cubicBezTo>
                    <a:pt x="11689" y="10673"/>
                    <a:pt x="11714" y="10695"/>
                    <a:pt x="11724" y="10705"/>
                  </a:cubicBezTo>
                  <a:cubicBezTo>
                    <a:pt x="11729" y="10710"/>
                    <a:pt x="11745" y="10707"/>
                    <a:pt x="11753" y="10716"/>
                  </a:cubicBezTo>
                  <a:cubicBezTo>
                    <a:pt x="11763" y="10727"/>
                    <a:pt x="11731" y="10723"/>
                    <a:pt x="11732" y="10721"/>
                  </a:cubicBezTo>
                  <a:cubicBezTo>
                    <a:pt x="11732" y="10720"/>
                    <a:pt x="11714" y="10719"/>
                    <a:pt x="11712" y="10730"/>
                  </a:cubicBezTo>
                  <a:cubicBezTo>
                    <a:pt x="11711" y="10736"/>
                    <a:pt x="11726" y="10749"/>
                    <a:pt x="11730" y="10754"/>
                  </a:cubicBezTo>
                  <a:cubicBezTo>
                    <a:pt x="11735" y="10760"/>
                    <a:pt x="11769" y="10790"/>
                    <a:pt x="11775" y="10793"/>
                  </a:cubicBezTo>
                  <a:cubicBezTo>
                    <a:pt x="11780" y="10795"/>
                    <a:pt x="11810" y="10795"/>
                    <a:pt x="11809" y="10794"/>
                  </a:cubicBezTo>
                  <a:cubicBezTo>
                    <a:pt x="11807" y="10792"/>
                    <a:pt x="11830" y="10816"/>
                    <a:pt x="11821" y="10809"/>
                  </a:cubicBezTo>
                  <a:cubicBezTo>
                    <a:pt x="11823" y="10811"/>
                    <a:pt x="11789" y="10827"/>
                    <a:pt x="11817" y="10832"/>
                  </a:cubicBezTo>
                  <a:cubicBezTo>
                    <a:pt x="11841" y="10836"/>
                    <a:pt x="11838" y="10820"/>
                    <a:pt x="11844" y="10808"/>
                  </a:cubicBezTo>
                  <a:cubicBezTo>
                    <a:pt x="11852" y="10792"/>
                    <a:pt x="11886" y="10792"/>
                    <a:pt x="11901" y="10798"/>
                  </a:cubicBezTo>
                  <a:cubicBezTo>
                    <a:pt x="11842" y="10810"/>
                    <a:pt x="11879" y="10862"/>
                    <a:pt x="11906" y="10811"/>
                  </a:cubicBezTo>
                  <a:cubicBezTo>
                    <a:pt x="11903" y="10842"/>
                    <a:pt x="11943" y="10840"/>
                    <a:pt x="11968" y="10848"/>
                  </a:cubicBezTo>
                  <a:cubicBezTo>
                    <a:pt x="11972" y="10849"/>
                    <a:pt x="11985" y="10838"/>
                    <a:pt x="11993" y="10839"/>
                  </a:cubicBezTo>
                  <a:cubicBezTo>
                    <a:pt x="12004" y="10842"/>
                    <a:pt x="12001" y="10856"/>
                    <a:pt x="12004" y="10857"/>
                  </a:cubicBezTo>
                  <a:cubicBezTo>
                    <a:pt x="12014" y="10860"/>
                    <a:pt x="12033" y="10865"/>
                    <a:pt x="12046" y="10870"/>
                  </a:cubicBezTo>
                  <a:cubicBezTo>
                    <a:pt x="12068" y="10878"/>
                    <a:pt x="12104" y="10873"/>
                    <a:pt x="12055" y="10885"/>
                  </a:cubicBezTo>
                  <a:cubicBezTo>
                    <a:pt x="12014" y="10896"/>
                    <a:pt x="11981" y="10884"/>
                    <a:pt x="11941" y="10907"/>
                  </a:cubicBezTo>
                  <a:cubicBezTo>
                    <a:pt x="11963" y="10922"/>
                    <a:pt x="12038" y="10926"/>
                    <a:pt x="11996" y="10943"/>
                  </a:cubicBezTo>
                  <a:cubicBezTo>
                    <a:pt x="11980" y="10949"/>
                    <a:pt x="11962" y="10938"/>
                    <a:pt x="11945" y="10942"/>
                  </a:cubicBezTo>
                  <a:cubicBezTo>
                    <a:pt x="11905" y="10949"/>
                    <a:pt x="11919" y="10944"/>
                    <a:pt x="11919" y="10961"/>
                  </a:cubicBezTo>
                  <a:cubicBezTo>
                    <a:pt x="11919" y="10965"/>
                    <a:pt x="11944" y="10958"/>
                    <a:pt x="11946" y="10960"/>
                  </a:cubicBezTo>
                  <a:cubicBezTo>
                    <a:pt x="11958" y="10972"/>
                    <a:pt x="11934" y="10969"/>
                    <a:pt x="11937" y="10976"/>
                  </a:cubicBezTo>
                  <a:cubicBezTo>
                    <a:pt x="11939" y="10980"/>
                    <a:pt x="11961" y="10987"/>
                    <a:pt x="11956" y="10993"/>
                  </a:cubicBezTo>
                  <a:cubicBezTo>
                    <a:pt x="11952" y="10999"/>
                    <a:pt x="11928" y="11008"/>
                    <a:pt x="11930" y="11005"/>
                  </a:cubicBezTo>
                  <a:cubicBezTo>
                    <a:pt x="11924" y="11015"/>
                    <a:pt x="11888" y="11007"/>
                    <a:pt x="11923" y="11030"/>
                  </a:cubicBezTo>
                  <a:cubicBezTo>
                    <a:pt x="11935" y="11037"/>
                    <a:pt x="11965" y="11039"/>
                    <a:pt x="11980" y="11038"/>
                  </a:cubicBezTo>
                  <a:cubicBezTo>
                    <a:pt x="12005" y="11036"/>
                    <a:pt x="12062" y="11004"/>
                    <a:pt x="12067" y="11055"/>
                  </a:cubicBezTo>
                  <a:cubicBezTo>
                    <a:pt x="12071" y="11089"/>
                    <a:pt x="12015" y="11073"/>
                    <a:pt x="11985" y="11075"/>
                  </a:cubicBezTo>
                  <a:cubicBezTo>
                    <a:pt x="11984" y="11075"/>
                    <a:pt x="11931" y="11086"/>
                    <a:pt x="11935" y="11084"/>
                  </a:cubicBezTo>
                  <a:cubicBezTo>
                    <a:pt x="11930" y="11086"/>
                    <a:pt x="11916" y="11092"/>
                    <a:pt x="11911" y="11095"/>
                  </a:cubicBezTo>
                  <a:cubicBezTo>
                    <a:pt x="11909" y="11096"/>
                    <a:pt x="11938" y="11113"/>
                    <a:pt x="11925" y="11118"/>
                  </a:cubicBezTo>
                  <a:cubicBezTo>
                    <a:pt x="11884" y="11133"/>
                    <a:pt x="11859" y="11063"/>
                    <a:pt x="11812" y="11090"/>
                  </a:cubicBezTo>
                  <a:cubicBezTo>
                    <a:pt x="11811" y="11090"/>
                    <a:pt x="11810" y="11091"/>
                    <a:pt x="11809" y="11092"/>
                  </a:cubicBezTo>
                  <a:cubicBezTo>
                    <a:pt x="11890" y="11105"/>
                    <a:pt x="11789" y="11122"/>
                    <a:pt x="11787" y="11124"/>
                  </a:cubicBezTo>
                  <a:cubicBezTo>
                    <a:pt x="11772" y="11140"/>
                    <a:pt x="11776" y="11198"/>
                    <a:pt x="11779" y="11215"/>
                  </a:cubicBezTo>
                  <a:cubicBezTo>
                    <a:pt x="11782" y="11237"/>
                    <a:pt x="11799" y="11268"/>
                    <a:pt x="11810" y="11289"/>
                  </a:cubicBezTo>
                  <a:cubicBezTo>
                    <a:pt x="11813" y="11293"/>
                    <a:pt x="11829" y="11321"/>
                    <a:pt x="11828" y="11320"/>
                  </a:cubicBezTo>
                  <a:cubicBezTo>
                    <a:pt x="11830" y="11327"/>
                    <a:pt x="11819" y="11333"/>
                    <a:pt x="11820" y="11335"/>
                  </a:cubicBezTo>
                  <a:cubicBezTo>
                    <a:pt x="11821" y="11338"/>
                    <a:pt x="11833" y="11354"/>
                    <a:pt x="11833" y="11356"/>
                  </a:cubicBezTo>
                  <a:cubicBezTo>
                    <a:pt x="11829" y="11371"/>
                    <a:pt x="11822" y="11387"/>
                    <a:pt x="11816" y="11403"/>
                  </a:cubicBezTo>
                  <a:cubicBezTo>
                    <a:pt x="11806" y="11425"/>
                    <a:pt x="11831" y="11430"/>
                    <a:pt x="11823" y="11451"/>
                  </a:cubicBezTo>
                  <a:cubicBezTo>
                    <a:pt x="11818" y="11464"/>
                    <a:pt x="11821" y="11481"/>
                    <a:pt x="11840" y="11486"/>
                  </a:cubicBezTo>
                  <a:cubicBezTo>
                    <a:pt x="11856" y="11491"/>
                    <a:pt x="11823" y="11513"/>
                    <a:pt x="11822" y="11520"/>
                  </a:cubicBezTo>
                  <a:cubicBezTo>
                    <a:pt x="11819" y="11546"/>
                    <a:pt x="11850" y="11581"/>
                    <a:pt x="11844" y="11608"/>
                  </a:cubicBezTo>
                  <a:cubicBezTo>
                    <a:pt x="11841" y="11629"/>
                    <a:pt x="11807" y="11645"/>
                    <a:pt x="11797" y="11665"/>
                  </a:cubicBezTo>
                  <a:cubicBezTo>
                    <a:pt x="11793" y="11658"/>
                    <a:pt x="11782" y="11648"/>
                    <a:pt x="11779" y="11642"/>
                  </a:cubicBezTo>
                  <a:cubicBezTo>
                    <a:pt x="11774" y="11661"/>
                    <a:pt x="11787" y="11678"/>
                    <a:pt x="11781" y="11699"/>
                  </a:cubicBezTo>
                  <a:cubicBezTo>
                    <a:pt x="11774" y="11725"/>
                    <a:pt x="11752" y="11747"/>
                    <a:pt x="11742" y="11771"/>
                  </a:cubicBezTo>
                  <a:cubicBezTo>
                    <a:pt x="11724" y="11817"/>
                    <a:pt x="11706" y="11869"/>
                    <a:pt x="11725" y="11911"/>
                  </a:cubicBezTo>
                  <a:cubicBezTo>
                    <a:pt x="11744" y="11953"/>
                    <a:pt x="11759" y="11998"/>
                    <a:pt x="11766" y="12043"/>
                  </a:cubicBezTo>
                  <a:cubicBezTo>
                    <a:pt x="11767" y="12049"/>
                    <a:pt x="11758" y="12062"/>
                    <a:pt x="11759" y="12071"/>
                  </a:cubicBezTo>
                  <a:cubicBezTo>
                    <a:pt x="11761" y="12084"/>
                    <a:pt x="11779" y="12092"/>
                    <a:pt x="11775" y="12106"/>
                  </a:cubicBezTo>
                  <a:cubicBezTo>
                    <a:pt x="11766" y="12136"/>
                    <a:pt x="11741" y="12110"/>
                    <a:pt x="11739" y="12089"/>
                  </a:cubicBezTo>
                  <a:cubicBezTo>
                    <a:pt x="11744" y="12140"/>
                    <a:pt x="11686" y="12077"/>
                    <a:pt x="11650" y="12094"/>
                  </a:cubicBezTo>
                  <a:cubicBezTo>
                    <a:pt x="11635" y="12101"/>
                    <a:pt x="11621" y="12132"/>
                    <a:pt x="11623" y="12144"/>
                  </a:cubicBezTo>
                  <a:cubicBezTo>
                    <a:pt x="11632" y="12187"/>
                    <a:pt x="11603" y="12142"/>
                    <a:pt x="11600" y="12146"/>
                  </a:cubicBezTo>
                  <a:cubicBezTo>
                    <a:pt x="11581" y="12168"/>
                    <a:pt x="11591" y="12149"/>
                    <a:pt x="11612" y="12174"/>
                  </a:cubicBezTo>
                  <a:cubicBezTo>
                    <a:pt x="11616" y="12180"/>
                    <a:pt x="11621" y="12184"/>
                    <a:pt x="11626" y="12196"/>
                  </a:cubicBezTo>
                  <a:cubicBezTo>
                    <a:pt x="11636" y="12228"/>
                    <a:pt x="11616" y="12203"/>
                    <a:pt x="11614" y="12211"/>
                  </a:cubicBezTo>
                  <a:cubicBezTo>
                    <a:pt x="11611" y="12220"/>
                    <a:pt x="11613" y="12247"/>
                    <a:pt x="11606" y="12263"/>
                  </a:cubicBezTo>
                  <a:cubicBezTo>
                    <a:pt x="11601" y="12251"/>
                    <a:pt x="11590" y="12237"/>
                    <a:pt x="11578" y="12228"/>
                  </a:cubicBezTo>
                  <a:cubicBezTo>
                    <a:pt x="11543" y="12248"/>
                    <a:pt x="11563" y="12290"/>
                    <a:pt x="11560" y="12330"/>
                  </a:cubicBezTo>
                  <a:cubicBezTo>
                    <a:pt x="11510" y="12290"/>
                    <a:pt x="11534" y="12262"/>
                    <a:pt x="11478" y="12331"/>
                  </a:cubicBezTo>
                  <a:cubicBezTo>
                    <a:pt x="11472" y="12313"/>
                    <a:pt x="11476" y="12295"/>
                    <a:pt x="11482" y="12277"/>
                  </a:cubicBezTo>
                  <a:cubicBezTo>
                    <a:pt x="11489" y="12261"/>
                    <a:pt x="11499" y="12242"/>
                    <a:pt x="11498" y="12225"/>
                  </a:cubicBezTo>
                  <a:cubicBezTo>
                    <a:pt x="11497" y="12209"/>
                    <a:pt x="11479" y="12230"/>
                    <a:pt x="11475" y="12223"/>
                  </a:cubicBezTo>
                  <a:cubicBezTo>
                    <a:pt x="11449" y="12181"/>
                    <a:pt x="11448" y="12173"/>
                    <a:pt x="11400" y="12144"/>
                  </a:cubicBezTo>
                  <a:cubicBezTo>
                    <a:pt x="11337" y="12106"/>
                    <a:pt x="11292" y="12048"/>
                    <a:pt x="11224" y="12016"/>
                  </a:cubicBezTo>
                  <a:cubicBezTo>
                    <a:pt x="11183" y="11996"/>
                    <a:pt x="11169" y="11995"/>
                    <a:pt x="11143" y="11963"/>
                  </a:cubicBezTo>
                  <a:cubicBezTo>
                    <a:pt x="11125" y="11940"/>
                    <a:pt x="11100" y="11917"/>
                    <a:pt x="11082" y="11891"/>
                  </a:cubicBezTo>
                  <a:cubicBezTo>
                    <a:pt x="11047" y="11841"/>
                    <a:pt x="11011" y="11779"/>
                    <a:pt x="11023" y="11724"/>
                  </a:cubicBezTo>
                  <a:cubicBezTo>
                    <a:pt x="11032" y="11680"/>
                    <a:pt x="11012" y="11656"/>
                    <a:pt x="10988" y="11617"/>
                  </a:cubicBezTo>
                  <a:cubicBezTo>
                    <a:pt x="10973" y="11593"/>
                    <a:pt x="10966" y="11593"/>
                    <a:pt x="10975" y="11568"/>
                  </a:cubicBezTo>
                  <a:cubicBezTo>
                    <a:pt x="10976" y="11565"/>
                    <a:pt x="11004" y="11519"/>
                    <a:pt x="11006" y="11518"/>
                  </a:cubicBezTo>
                  <a:cubicBezTo>
                    <a:pt x="11040" y="11500"/>
                    <a:pt x="11023" y="11590"/>
                    <a:pt x="11050" y="11604"/>
                  </a:cubicBezTo>
                  <a:cubicBezTo>
                    <a:pt x="11064" y="11611"/>
                    <a:pt x="11105" y="11586"/>
                    <a:pt x="11132" y="11616"/>
                  </a:cubicBezTo>
                  <a:cubicBezTo>
                    <a:pt x="11163" y="11524"/>
                    <a:pt x="11149" y="11475"/>
                    <a:pt x="11092" y="11397"/>
                  </a:cubicBezTo>
                  <a:cubicBezTo>
                    <a:pt x="11051" y="11341"/>
                    <a:pt x="11055" y="11275"/>
                    <a:pt x="11006" y="11221"/>
                  </a:cubicBezTo>
                  <a:cubicBezTo>
                    <a:pt x="10915" y="11120"/>
                    <a:pt x="10753" y="11101"/>
                    <a:pt x="10658" y="11010"/>
                  </a:cubicBezTo>
                  <a:cubicBezTo>
                    <a:pt x="10620" y="10974"/>
                    <a:pt x="10584" y="10901"/>
                    <a:pt x="10508" y="10956"/>
                  </a:cubicBezTo>
                  <a:cubicBezTo>
                    <a:pt x="10476" y="10979"/>
                    <a:pt x="10481" y="11009"/>
                    <a:pt x="10471" y="11040"/>
                  </a:cubicBezTo>
                  <a:cubicBezTo>
                    <a:pt x="10460" y="11073"/>
                    <a:pt x="10440" y="11096"/>
                    <a:pt x="10417" y="11125"/>
                  </a:cubicBezTo>
                  <a:cubicBezTo>
                    <a:pt x="10404" y="11182"/>
                    <a:pt x="10411" y="11216"/>
                    <a:pt x="10433" y="11270"/>
                  </a:cubicBezTo>
                  <a:cubicBezTo>
                    <a:pt x="10447" y="11306"/>
                    <a:pt x="10478" y="11372"/>
                    <a:pt x="10456" y="11412"/>
                  </a:cubicBezTo>
                  <a:cubicBezTo>
                    <a:pt x="10440" y="11258"/>
                    <a:pt x="10346" y="11502"/>
                    <a:pt x="10450" y="11472"/>
                  </a:cubicBezTo>
                  <a:cubicBezTo>
                    <a:pt x="10435" y="11489"/>
                    <a:pt x="10441" y="11513"/>
                    <a:pt x="10434" y="11534"/>
                  </a:cubicBezTo>
                  <a:cubicBezTo>
                    <a:pt x="10395" y="11545"/>
                    <a:pt x="10403" y="11568"/>
                    <a:pt x="10412" y="11592"/>
                  </a:cubicBezTo>
                  <a:cubicBezTo>
                    <a:pt x="10400" y="11605"/>
                    <a:pt x="10372" y="11625"/>
                    <a:pt x="10370" y="11641"/>
                  </a:cubicBezTo>
                  <a:cubicBezTo>
                    <a:pt x="10369" y="11648"/>
                    <a:pt x="10378" y="11657"/>
                    <a:pt x="10378" y="11658"/>
                  </a:cubicBezTo>
                  <a:cubicBezTo>
                    <a:pt x="10376" y="11671"/>
                    <a:pt x="10396" y="11710"/>
                    <a:pt x="10348" y="11701"/>
                  </a:cubicBezTo>
                  <a:cubicBezTo>
                    <a:pt x="10334" y="11699"/>
                    <a:pt x="10330" y="11673"/>
                    <a:pt x="10322" y="11664"/>
                  </a:cubicBezTo>
                  <a:cubicBezTo>
                    <a:pt x="10300" y="11643"/>
                    <a:pt x="10309" y="11641"/>
                    <a:pt x="10260" y="11641"/>
                  </a:cubicBezTo>
                  <a:cubicBezTo>
                    <a:pt x="10293" y="11604"/>
                    <a:pt x="10323" y="11621"/>
                    <a:pt x="10266" y="11597"/>
                  </a:cubicBezTo>
                  <a:cubicBezTo>
                    <a:pt x="10175" y="11560"/>
                    <a:pt x="10224" y="11575"/>
                    <a:pt x="10223" y="11517"/>
                  </a:cubicBezTo>
                  <a:cubicBezTo>
                    <a:pt x="10222" y="11488"/>
                    <a:pt x="10200" y="11451"/>
                    <a:pt x="10197" y="11422"/>
                  </a:cubicBezTo>
                  <a:cubicBezTo>
                    <a:pt x="10196" y="11398"/>
                    <a:pt x="10176" y="11366"/>
                    <a:pt x="10183" y="11341"/>
                  </a:cubicBezTo>
                  <a:cubicBezTo>
                    <a:pt x="10202" y="11341"/>
                    <a:pt x="10195" y="11319"/>
                    <a:pt x="10195" y="11303"/>
                  </a:cubicBezTo>
                  <a:cubicBezTo>
                    <a:pt x="10185" y="11309"/>
                    <a:pt x="10161" y="11317"/>
                    <a:pt x="10152" y="11321"/>
                  </a:cubicBezTo>
                  <a:cubicBezTo>
                    <a:pt x="10156" y="11302"/>
                    <a:pt x="10182" y="11293"/>
                    <a:pt x="10193" y="11284"/>
                  </a:cubicBezTo>
                  <a:cubicBezTo>
                    <a:pt x="10173" y="11275"/>
                    <a:pt x="10168" y="11247"/>
                    <a:pt x="10124" y="11243"/>
                  </a:cubicBezTo>
                  <a:cubicBezTo>
                    <a:pt x="10150" y="11214"/>
                    <a:pt x="10090" y="11205"/>
                    <a:pt x="10082" y="11190"/>
                  </a:cubicBezTo>
                  <a:cubicBezTo>
                    <a:pt x="10067" y="11155"/>
                    <a:pt x="10095" y="11151"/>
                    <a:pt x="10056" y="11123"/>
                  </a:cubicBezTo>
                  <a:cubicBezTo>
                    <a:pt x="9979" y="11067"/>
                    <a:pt x="9872" y="11036"/>
                    <a:pt x="9800" y="10978"/>
                  </a:cubicBezTo>
                  <a:cubicBezTo>
                    <a:pt x="9826" y="10987"/>
                    <a:pt x="9862" y="11015"/>
                    <a:pt x="9890" y="11011"/>
                  </a:cubicBezTo>
                  <a:cubicBezTo>
                    <a:pt x="9926" y="11005"/>
                    <a:pt x="9924" y="10967"/>
                    <a:pt x="9952" y="10958"/>
                  </a:cubicBezTo>
                  <a:cubicBezTo>
                    <a:pt x="9948" y="10964"/>
                    <a:pt x="9918" y="11013"/>
                    <a:pt x="9917" y="11012"/>
                  </a:cubicBezTo>
                  <a:cubicBezTo>
                    <a:pt x="9926" y="11034"/>
                    <a:pt x="9953" y="11002"/>
                    <a:pt x="9972" y="10997"/>
                  </a:cubicBezTo>
                  <a:cubicBezTo>
                    <a:pt x="9961" y="11012"/>
                    <a:pt x="9954" y="11026"/>
                    <a:pt x="9982" y="11016"/>
                  </a:cubicBezTo>
                  <a:cubicBezTo>
                    <a:pt x="9980" y="11020"/>
                    <a:pt x="9976" y="11024"/>
                    <a:pt x="9977" y="11029"/>
                  </a:cubicBezTo>
                  <a:cubicBezTo>
                    <a:pt x="10038" y="11030"/>
                    <a:pt x="9990" y="10972"/>
                    <a:pt x="10006" y="10942"/>
                  </a:cubicBezTo>
                  <a:cubicBezTo>
                    <a:pt x="10015" y="10924"/>
                    <a:pt x="10041" y="10910"/>
                    <a:pt x="10061" y="10899"/>
                  </a:cubicBezTo>
                  <a:cubicBezTo>
                    <a:pt x="10045" y="10896"/>
                    <a:pt x="10034" y="10887"/>
                    <a:pt x="10020" y="10880"/>
                  </a:cubicBezTo>
                  <a:cubicBezTo>
                    <a:pt x="10027" y="10880"/>
                    <a:pt x="10056" y="10886"/>
                    <a:pt x="10049" y="10887"/>
                  </a:cubicBezTo>
                  <a:cubicBezTo>
                    <a:pt x="10045" y="10888"/>
                    <a:pt x="10092" y="10886"/>
                    <a:pt x="10084" y="10886"/>
                  </a:cubicBezTo>
                  <a:cubicBezTo>
                    <a:pt x="10070" y="10885"/>
                    <a:pt x="10121" y="10873"/>
                    <a:pt x="10110" y="10878"/>
                  </a:cubicBezTo>
                  <a:cubicBezTo>
                    <a:pt x="10122" y="10873"/>
                    <a:pt x="10135" y="10892"/>
                    <a:pt x="10141" y="10865"/>
                  </a:cubicBezTo>
                  <a:cubicBezTo>
                    <a:pt x="10139" y="10866"/>
                    <a:pt x="10133" y="10872"/>
                    <a:pt x="10131" y="10872"/>
                  </a:cubicBezTo>
                  <a:cubicBezTo>
                    <a:pt x="10112" y="10859"/>
                    <a:pt x="10047" y="10806"/>
                    <a:pt x="10009" y="10821"/>
                  </a:cubicBezTo>
                  <a:cubicBezTo>
                    <a:pt x="9989" y="10829"/>
                    <a:pt x="10005" y="10855"/>
                    <a:pt x="9992" y="10861"/>
                  </a:cubicBezTo>
                  <a:cubicBezTo>
                    <a:pt x="9964" y="10875"/>
                    <a:pt x="9945" y="10847"/>
                    <a:pt x="9942" y="10831"/>
                  </a:cubicBezTo>
                  <a:cubicBezTo>
                    <a:pt x="9899" y="10861"/>
                    <a:pt x="9872" y="10829"/>
                    <a:pt x="9828" y="10837"/>
                  </a:cubicBezTo>
                  <a:cubicBezTo>
                    <a:pt x="9806" y="10841"/>
                    <a:pt x="9803" y="10852"/>
                    <a:pt x="9785" y="10857"/>
                  </a:cubicBezTo>
                  <a:cubicBezTo>
                    <a:pt x="9769" y="10862"/>
                    <a:pt x="9747" y="10862"/>
                    <a:pt x="9733" y="10866"/>
                  </a:cubicBezTo>
                  <a:cubicBezTo>
                    <a:pt x="9747" y="10849"/>
                    <a:pt x="9771" y="10854"/>
                    <a:pt x="9788" y="10842"/>
                  </a:cubicBezTo>
                  <a:cubicBezTo>
                    <a:pt x="9810" y="10828"/>
                    <a:pt x="9808" y="10812"/>
                    <a:pt x="9824" y="10795"/>
                  </a:cubicBezTo>
                  <a:cubicBezTo>
                    <a:pt x="9830" y="10789"/>
                    <a:pt x="9860" y="10782"/>
                    <a:pt x="9861" y="10778"/>
                  </a:cubicBezTo>
                  <a:cubicBezTo>
                    <a:pt x="9862" y="10749"/>
                    <a:pt x="9825" y="10770"/>
                    <a:pt x="9810" y="10765"/>
                  </a:cubicBezTo>
                  <a:cubicBezTo>
                    <a:pt x="9740" y="10741"/>
                    <a:pt x="9736" y="10786"/>
                    <a:pt x="9715" y="10814"/>
                  </a:cubicBezTo>
                  <a:cubicBezTo>
                    <a:pt x="9700" y="10835"/>
                    <a:pt x="9649" y="10870"/>
                    <a:pt x="9660" y="10897"/>
                  </a:cubicBezTo>
                  <a:cubicBezTo>
                    <a:pt x="9602" y="10876"/>
                    <a:pt x="9519" y="10850"/>
                    <a:pt x="9482" y="10808"/>
                  </a:cubicBezTo>
                  <a:cubicBezTo>
                    <a:pt x="9501" y="10811"/>
                    <a:pt x="9555" y="10828"/>
                    <a:pt x="9535" y="10810"/>
                  </a:cubicBezTo>
                  <a:cubicBezTo>
                    <a:pt x="9506" y="10784"/>
                    <a:pt x="9444" y="10808"/>
                    <a:pt x="9450" y="10767"/>
                  </a:cubicBezTo>
                  <a:cubicBezTo>
                    <a:pt x="9445" y="10783"/>
                    <a:pt x="9436" y="10773"/>
                    <a:pt x="9418" y="10777"/>
                  </a:cubicBezTo>
                  <a:cubicBezTo>
                    <a:pt x="9369" y="10806"/>
                    <a:pt x="9339" y="10819"/>
                    <a:pt x="9277" y="10802"/>
                  </a:cubicBezTo>
                  <a:cubicBezTo>
                    <a:pt x="9291" y="10800"/>
                    <a:pt x="9313" y="10795"/>
                    <a:pt x="9325" y="10795"/>
                  </a:cubicBezTo>
                  <a:cubicBezTo>
                    <a:pt x="9313" y="10793"/>
                    <a:pt x="9303" y="10786"/>
                    <a:pt x="9292" y="10783"/>
                  </a:cubicBezTo>
                  <a:cubicBezTo>
                    <a:pt x="9316" y="10770"/>
                    <a:pt x="9327" y="10749"/>
                    <a:pt x="9347" y="10736"/>
                  </a:cubicBezTo>
                  <a:cubicBezTo>
                    <a:pt x="9338" y="10742"/>
                    <a:pt x="9372" y="10707"/>
                    <a:pt x="9359" y="10723"/>
                  </a:cubicBezTo>
                  <a:cubicBezTo>
                    <a:pt x="9359" y="10722"/>
                    <a:pt x="9398" y="10743"/>
                    <a:pt x="9378" y="10699"/>
                  </a:cubicBezTo>
                  <a:cubicBezTo>
                    <a:pt x="9427" y="10666"/>
                    <a:pt x="9595" y="10552"/>
                    <a:pt x="9517" y="10503"/>
                  </a:cubicBezTo>
                  <a:cubicBezTo>
                    <a:pt x="9478" y="10479"/>
                    <a:pt x="9379" y="10493"/>
                    <a:pt x="9373" y="10532"/>
                  </a:cubicBezTo>
                  <a:cubicBezTo>
                    <a:pt x="9358" y="10520"/>
                    <a:pt x="9354" y="10520"/>
                    <a:pt x="9336" y="10513"/>
                  </a:cubicBezTo>
                  <a:cubicBezTo>
                    <a:pt x="9366" y="10503"/>
                    <a:pt x="9410" y="10448"/>
                    <a:pt x="9357" y="10442"/>
                  </a:cubicBezTo>
                  <a:cubicBezTo>
                    <a:pt x="9391" y="10434"/>
                    <a:pt x="9450" y="10416"/>
                    <a:pt x="9389" y="10394"/>
                  </a:cubicBezTo>
                  <a:cubicBezTo>
                    <a:pt x="9390" y="10392"/>
                    <a:pt x="9404" y="10384"/>
                    <a:pt x="9408" y="10382"/>
                  </a:cubicBezTo>
                  <a:cubicBezTo>
                    <a:pt x="9451" y="10424"/>
                    <a:pt x="9475" y="10465"/>
                    <a:pt x="9552" y="10456"/>
                  </a:cubicBezTo>
                  <a:cubicBezTo>
                    <a:pt x="9571" y="10453"/>
                    <a:pt x="9655" y="10440"/>
                    <a:pt x="9662" y="10424"/>
                  </a:cubicBezTo>
                  <a:cubicBezTo>
                    <a:pt x="9670" y="10403"/>
                    <a:pt x="9618" y="10367"/>
                    <a:pt x="9600" y="10399"/>
                  </a:cubicBezTo>
                  <a:cubicBezTo>
                    <a:pt x="9597" y="10377"/>
                    <a:pt x="9573" y="10270"/>
                    <a:pt x="9553" y="10303"/>
                  </a:cubicBezTo>
                  <a:cubicBezTo>
                    <a:pt x="9515" y="10271"/>
                    <a:pt x="9529" y="10312"/>
                    <a:pt x="9525" y="10323"/>
                  </a:cubicBezTo>
                  <a:cubicBezTo>
                    <a:pt x="9522" y="10331"/>
                    <a:pt x="9507" y="10350"/>
                    <a:pt x="9510" y="10366"/>
                  </a:cubicBezTo>
                  <a:cubicBezTo>
                    <a:pt x="9504" y="10350"/>
                    <a:pt x="9492" y="10337"/>
                    <a:pt x="9468" y="10337"/>
                  </a:cubicBezTo>
                  <a:cubicBezTo>
                    <a:pt x="9496" y="10272"/>
                    <a:pt x="9457" y="10235"/>
                    <a:pt x="9381" y="10216"/>
                  </a:cubicBezTo>
                  <a:cubicBezTo>
                    <a:pt x="9418" y="10195"/>
                    <a:pt x="9382" y="10186"/>
                    <a:pt x="9378" y="10158"/>
                  </a:cubicBezTo>
                  <a:cubicBezTo>
                    <a:pt x="9380" y="10170"/>
                    <a:pt x="9422" y="10116"/>
                    <a:pt x="9380" y="10126"/>
                  </a:cubicBezTo>
                  <a:cubicBezTo>
                    <a:pt x="9368" y="10129"/>
                    <a:pt x="9371" y="10161"/>
                    <a:pt x="9365" y="10161"/>
                  </a:cubicBezTo>
                  <a:cubicBezTo>
                    <a:pt x="9343" y="10162"/>
                    <a:pt x="9353" y="10120"/>
                    <a:pt x="9345" y="10112"/>
                  </a:cubicBezTo>
                  <a:cubicBezTo>
                    <a:pt x="9334" y="10102"/>
                    <a:pt x="9306" y="10099"/>
                    <a:pt x="9290" y="10096"/>
                  </a:cubicBezTo>
                  <a:cubicBezTo>
                    <a:pt x="9278" y="10094"/>
                    <a:pt x="9238" y="10093"/>
                    <a:pt x="9236" y="10092"/>
                  </a:cubicBezTo>
                  <a:cubicBezTo>
                    <a:pt x="9219" y="10084"/>
                    <a:pt x="9244" y="10074"/>
                    <a:pt x="9217" y="10064"/>
                  </a:cubicBezTo>
                  <a:cubicBezTo>
                    <a:pt x="9244" y="10039"/>
                    <a:pt x="9202" y="10020"/>
                    <a:pt x="9172" y="10010"/>
                  </a:cubicBezTo>
                  <a:cubicBezTo>
                    <a:pt x="9134" y="9998"/>
                    <a:pt x="9111" y="10007"/>
                    <a:pt x="9099" y="9966"/>
                  </a:cubicBezTo>
                  <a:cubicBezTo>
                    <a:pt x="9112" y="9973"/>
                    <a:pt x="9123" y="9978"/>
                    <a:pt x="9131" y="9991"/>
                  </a:cubicBezTo>
                  <a:cubicBezTo>
                    <a:pt x="9161" y="9979"/>
                    <a:pt x="9128" y="9843"/>
                    <a:pt x="9122" y="9810"/>
                  </a:cubicBezTo>
                  <a:cubicBezTo>
                    <a:pt x="9116" y="9770"/>
                    <a:pt x="9106" y="9691"/>
                    <a:pt x="9066" y="9662"/>
                  </a:cubicBezTo>
                  <a:cubicBezTo>
                    <a:pt x="9054" y="9653"/>
                    <a:pt x="9058" y="9637"/>
                    <a:pt x="9047" y="9626"/>
                  </a:cubicBezTo>
                  <a:cubicBezTo>
                    <a:pt x="9039" y="9619"/>
                    <a:pt x="9022" y="9627"/>
                    <a:pt x="9018" y="9623"/>
                  </a:cubicBezTo>
                  <a:cubicBezTo>
                    <a:pt x="9001" y="9610"/>
                    <a:pt x="8999" y="9591"/>
                    <a:pt x="8987" y="9575"/>
                  </a:cubicBezTo>
                  <a:cubicBezTo>
                    <a:pt x="8946" y="9524"/>
                    <a:pt x="8812" y="9509"/>
                    <a:pt x="8788" y="9450"/>
                  </a:cubicBezTo>
                  <a:cubicBezTo>
                    <a:pt x="8779" y="9429"/>
                    <a:pt x="8832" y="9358"/>
                    <a:pt x="8769" y="9355"/>
                  </a:cubicBezTo>
                  <a:cubicBezTo>
                    <a:pt x="8761" y="9355"/>
                    <a:pt x="8735" y="9373"/>
                    <a:pt x="8722" y="9374"/>
                  </a:cubicBezTo>
                  <a:cubicBezTo>
                    <a:pt x="8723" y="9374"/>
                    <a:pt x="8698" y="9355"/>
                    <a:pt x="8694" y="9354"/>
                  </a:cubicBezTo>
                  <a:cubicBezTo>
                    <a:pt x="8686" y="9351"/>
                    <a:pt x="8685" y="9372"/>
                    <a:pt x="8678" y="9371"/>
                  </a:cubicBezTo>
                  <a:cubicBezTo>
                    <a:pt x="8665" y="9371"/>
                    <a:pt x="8661" y="9347"/>
                    <a:pt x="8647" y="9357"/>
                  </a:cubicBezTo>
                  <a:cubicBezTo>
                    <a:pt x="8635" y="9365"/>
                    <a:pt x="8643" y="9380"/>
                    <a:pt x="8638" y="9390"/>
                  </a:cubicBezTo>
                  <a:cubicBezTo>
                    <a:pt x="8628" y="9408"/>
                    <a:pt x="8618" y="9434"/>
                    <a:pt x="8600" y="9448"/>
                  </a:cubicBezTo>
                  <a:cubicBezTo>
                    <a:pt x="8603" y="9427"/>
                    <a:pt x="8599" y="9406"/>
                    <a:pt x="8596" y="9385"/>
                  </a:cubicBezTo>
                  <a:cubicBezTo>
                    <a:pt x="8594" y="9370"/>
                    <a:pt x="8608" y="9330"/>
                    <a:pt x="8582" y="9354"/>
                  </a:cubicBezTo>
                  <a:cubicBezTo>
                    <a:pt x="8578" y="9350"/>
                    <a:pt x="8570" y="9343"/>
                    <a:pt x="8565" y="9338"/>
                  </a:cubicBezTo>
                  <a:cubicBezTo>
                    <a:pt x="8556" y="9353"/>
                    <a:pt x="8563" y="9401"/>
                    <a:pt x="8533" y="9387"/>
                  </a:cubicBezTo>
                  <a:cubicBezTo>
                    <a:pt x="8478" y="9362"/>
                    <a:pt x="8549" y="9328"/>
                    <a:pt x="8555" y="9320"/>
                  </a:cubicBezTo>
                  <a:cubicBezTo>
                    <a:pt x="8563" y="9310"/>
                    <a:pt x="8552" y="9298"/>
                    <a:pt x="8556" y="9288"/>
                  </a:cubicBezTo>
                  <a:cubicBezTo>
                    <a:pt x="8561" y="9272"/>
                    <a:pt x="8582" y="9276"/>
                    <a:pt x="8575" y="9252"/>
                  </a:cubicBezTo>
                  <a:cubicBezTo>
                    <a:pt x="8565" y="9213"/>
                    <a:pt x="8508" y="9218"/>
                    <a:pt x="8472" y="9224"/>
                  </a:cubicBezTo>
                  <a:cubicBezTo>
                    <a:pt x="8412" y="9236"/>
                    <a:pt x="8309" y="9262"/>
                    <a:pt x="8335" y="9317"/>
                  </a:cubicBezTo>
                  <a:cubicBezTo>
                    <a:pt x="8354" y="9355"/>
                    <a:pt x="8483" y="9328"/>
                    <a:pt x="8523" y="9313"/>
                  </a:cubicBezTo>
                  <a:cubicBezTo>
                    <a:pt x="8490" y="9369"/>
                    <a:pt x="8389" y="9308"/>
                    <a:pt x="8344" y="9361"/>
                  </a:cubicBezTo>
                  <a:cubicBezTo>
                    <a:pt x="8321" y="9389"/>
                    <a:pt x="8352" y="9412"/>
                    <a:pt x="8326" y="9429"/>
                  </a:cubicBezTo>
                  <a:cubicBezTo>
                    <a:pt x="8313" y="9437"/>
                    <a:pt x="8285" y="9431"/>
                    <a:pt x="8271" y="9437"/>
                  </a:cubicBezTo>
                  <a:cubicBezTo>
                    <a:pt x="8261" y="9442"/>
                    <a:pt x="8252" y="9461"/>
                    <a:pt x="8245" y="9468"/>
                  </a:cubicBezTo>
                  <a:cubicBezTo>
                    <a:pt x="8240" y="9473"/>
                    <a:pt x="8231" y="9488"/>
                    <a:pt x="8226" y="9493"/>
                  </a:cubicBezTo>
                  <a:cubicBezTo>
                    <a:pt x="8213" y="9502"/>
                    <a:pt x="8195" y="9502"/>
                    <a:pt x="8184" y="9512"/>
                  </a:cubicBezTo>
                  <a:cubicBezTo>
                    <a:pt x="8168" y="9525"/>
                    <a:pt x="8153" y="9548"/>
                    <a:pt x="8166" y="9566"/>
                  </a:cubicBezTo>
                  <a:cubicBezTo>
                    <a:pt x="8194" y="9607"/>
                    <a:pt x="8293" y="9604"/>
                    <a:pt x="8327" y="9583"/>
                  </a:cubicBezTo>
                  <a:cubicBezTo>
                    <a:pt x="8311" y="9594"/>
                    <a:pt x="8309" y="9604"/>
                    <a:pt x="8304" y="9618"/>
                  </a:cubicBezTo>
                  <a:cubicBezTo>
                    <a:pt x="8295" y="9645"/>
                    <a:pt x="8314" y="9640"/>
                    <a:pt x="8314" y="9668"/>
                  </a:cubicBezTo>
                  <a:cubicBezTo>
                    <a:pt x="8314" y="9680"/>
                    <a:pt x="8306" y="9683"/>
                    <a:pt x="8306" y="9691"/>
                  </a:cubicBezTo>
                  <a:cubicBezTo>
                    <a:pt x="8306" y="9692"/>
                    <a:pt x="8290" y="9694"/>
                    <a:pt x="8288" y="9698"/>
                  </a:cubicBezTo>
                  <a:cubicBezTo>
                    <a:pt x="8287" y="9703"/>
                    <a:pt x="8307" y="9711"/>
                    <a:pt x="8302" y="9718"/>
                  </a:cubicBezTo>
                  <a:cubicBezTo>
                    <a:pt x="8289" y="9734"/>
                    <a:pt x="8313" y="9733"/>
                    <a:pt x="8282" y="9738"/>
                  </a:cubicBezTo>
                  <a:cubicBezTo>
                    <a:pt x="8249" y="9742"/>
                    <a:pt x="8214" y="9692"/>
                    <a:pt x="8188" y="9678"/>
                  </a:cubicBezTo>
                  <a:cubicBezTo>
                    <a:pt x="8149" y="9656"/>
                    <a:pt x="8121" y="9653"/>
                    <a:pt x="8092" y="9688"/>
                  </a:cubicBezTo>
                  <a:cubicBezTo>
                    <a:pt x="8082" y="9700"/>
                    <a:pt x="8086" y="9719"/>
                    <a:pt x="8076" y="9731"/>
                  </a:cubicBezTo>
                  <a:cubicBezTo>
                    <a:pt x="8065" y="9743"/>
                    <a:pt x="8051" y="9746"/>
                    <a:pt x="8044" y="9752"/>
                  </a:cubicBezTo>
                  <a:cubicBezTo>
                    <a:pt x="8018" y="9776"/>
                    <a:pt x="8017" y="9766"/>
                    <a:pt x="8033" y="9801"/>
                  </a:cubicBezTo>
                  <a:cubicBezTo>
                    <a:pt x="8049" y="9835"/>
                    <a:pt x="8049" y="9840"/>
                    <a:pt x="8017" y="9860"/>
                  </a:cubicBezTo>
                  <a:cubicBezTo>
                    <a:pt x="7987" y="9878"/>
                    <a:pt x="8062" y="9934"/>
                    <a:pt x="8053" y="9880"/>
                  </a:cubicBezTo>
                  <a:cubicBezTo>
                    <a:pt x="8072" y="9894"/>
                    <a:pt x="8064" y="9918"/>
                    <a:pt x="8042" y="9930"/>
                  </a:cubicBezTo>
                  <a:cubicBezTo>
                    <a:pt x="8027" y="9938"/>
                    <a:pt x="8034" y="9974"/>
                    <a:pt x="8032" y="9988"/>
                  </a:cubicBezTo>
                  <a:cubicBezTo>
                    <a:pt x="8027" y="10037"/>
                    <a:pt x="7992" y="10085"/>
                    <a:pt x="8034" y="10126"/>
                  </a:cubicBezTo>
                  <a:cubicBezTo>
                    <a:pt x="8044" y="10136"/>
                    <a:pt x="8064" y="10139"/>
                    <a:pt x="8075" y="10150"/>
                  </a:cubicBezTo>
                  <a:cubicBezTo>
                    <a:pt x="8084" y="10160"/>
                    <a:pt x="8081" y="10176"/>
                    <a:pt x="8091" y="10186"/>
                  </a:cubicBezTo>
                  <a:cubicBezTo>
                    <a:pt x="8100" y="10195"/>
                    <a:pt x="8150" y="10228"/>
                    <a:pt x="8164" y="10226"/>
                  </a:cubicBezTo>
                  <a:cubicBezTo>
                    <a:pt x="8159" y="10227"/>
                    <a:pt x="8198" y="10189"/>
                    <a:pt x="8202" y="10185"/>
                  </a:cubicBezTo>
                  <a:cubicBezTo>
                    <a:pt x="8221" y="10170"/>
                    <a:pt x="8234" y="10154"/>
                    <a:pt x="8263" y="10154"/>
                  </a:cubicBezTo>
                  <a:cubicBezTo>
                    <a:pt x="8246" y="10162"/>
                    <a:pt x="8211" y="10185"/>
                    <a:pt x="8205" y="10199"/>
                  </a:cubicBezTo>
                  <a:cubicBezTo>
                    <a:pt x="8187" y="10240"/>
                    <a:pt x="8244" y="10243"/>
                    <a:pt x="8279" y="10270"/>
                  </a:cubicBezTo>
                  <a:cubicBezTo>
                    <a:pt x="8233" y="10258"/>
                    <a:pt x="8217" y="10244"/>
                    <a:pt x="8179" y="10257"/>
                  </a:cubicBezTo>
                  <a:cubicBezTo>
                    <a:pt x="8167" y="10261"/>
                    <a:pt x="8170" y="10308"/>
                    <a:pt x="8147" y="10264"/>
                  </a:cubicBezTo>
                  <a:cubicBezTo>
                    <a:pt x="8137" y="10287"/>
                    <a:pt x="8131" y="10309"/>
                    <a:pt x="8124" y="10333"/>
                  </a:cubicBezTo>
                  <a:cubicBezTo>
                    <a:pt x="8116" y="10364"/>
                    <a:pt x="8109" y="10367"/>
                    <a:pt x="8087" y="10395"/>
                  </a:cubicBezTo>
                  <a:cubicBezTo>
                    <a:pt x="8050" y="10441"/>
                    <a:pt x="8066" y="10495"/>
                    <a:pt x="8081" y="10544"/>
                  </a:cubicBezTo>
                  <a:cubicBezTo>
                    <a:pt x="8095" y="10589"/>
                    <a:pt x="8118" y="10633"/>
                    <a:pt x="8165" y="10666"/>
                  </a:cubicBezTo>
                  <a:cubicBezTo>
                    <a:pt x="8207" y="10695"/>
                    <a:pt x="8257" y="10689"/>
                    <a:pt x="8235" y="10746"/>
                  </a:cubicBezTo>
                  <a:cubicBezTo>
                    <a:pt x="8191" y="10753"/>
                    <a:pt x="8231" y="10755"/>
                    <a:pt x="8239" y="10764"/>
                  </a:cubicBezTo>
                  <a:cubicBezTo>
                    <a:pt x="8245" y="10770"/>
                    <a:pt x="8270" y="10794"/>
                    <a:pt x="8281" y="10799"/>
                  </a:cubicBezTo>
                  <a:cubicBezTo>
                    <a:pt x="8295" y="10805"/>
                    <a:pt x="8346" y="10801"/>
                    <a:pt x="8330" y="10794"/>
                  </a:cubicBezTo>
                  <a:cubicBezTo>
                    <a:pt x="8347" y="10801"/>
                    <a:pt x="8334" y="10817"/>
                    <a:pt x="8356" y="10830"/>
                  </a:cubicBezTo>
                  <a:cubicBezTo>
                    <a:pt x="8360" y="10768"/>
                    <a:pt x="8399" y="10814"/>
                    <a:pt x="8423" y="10833"/>
                  </a:cubicBezTo>
                  <a:cubicBezTo>
                    <a:pt x="8458" y="10860"/>
                    <a:pt x="8507" y="10873"/>
                    <a:pt x="8550" y="10888"/>
                  </a:cubicBezTo>
                  <a:cubicBezTo>
                    <a:pt x="8560" y="10892"/>
                    <a:pt x="8566" y="10902"/>
                    <a:pt x="8577" y="10905"/>
                  </a:cubicBezTo>
                  <a:cubicBezTo>
                    <a:pt x="8588" y="10908"/>
                    <a:pt x="8601" y="10897"/>
                    <a:pt x="8609" y="10899"/>
                  </a:cubicBezTo>
                  <a:cubicBezTo>
                    <a:pt x="8626" y="10905"/>
                    <a:pt x="8630" y="10923"/>
                    <a:pt x="8655" y="10926"/>
                  </a:cubicBezTo>
                  <a:cubicBezTo>
                    <a:pt x="8740" y="10936"/>
                    <a:pt x="8662" y="10859"/>
                    <a:pt x="8729" y="10846"/>
                  </a:cubicBezTo>
                  <a:cubicBezTo>
                    <a:pt x="8726" y="10867"/>
                    <a:pt x="8760" y="10893"/>
                    <a:pt x="8775" y="10918"/>
                  </a:cubicBezTo>
                  <a:cubicBezTo>
                    <a:pt x="8789" y="10941"/>
                    <a:pt x="8820" y="10984"/>
                    <a:pt x="8847" y="10997"/>
                  </a:cubicBezTo>
                  <a:cubicBezTo>
                    <a:pt x="8871" y="11009"/>
                    <a:pt x="8929" y="11008"/>
                    <a:pt x="8957" y="11001"/>
                  </a:cubicBezTo>
                  <a:cubicBezTo>
                    <a:pt x="9012" y="10987"/>
                    <a:pt x="9014" y="10947"/>
                    <a:pt x="9080" y="10926"/>
                  </a:cubicBezTo>
                  <a:cubicBezTo>
                    <a:pt x="9149" y="10970"/>
                    <a:pt x="9112" y="10981"/>
                    <a:pt x="9101" y="11038"/>
                  </a:cubicBezTo>
                  <a:cubicBezTo>
                    <a:pt x="9121" y="11049"/>
                    <a:pt x="9146" y="11043"/>
                    <a:pt x="9167" y="11033"/>
                  </a:cubicBezTo>
                  <a:cubicBezTo>
                    <a:pt x="9125" y="11083"/>
                    <a:pt x="9087" y="11139"/>
                    <a:pt x="9035" y="11184"/>
                  </a:cubicBezTo>
                  <a:cubicBezTo>
                    <a:pt x="9046" y="11146"/>
                    <a:pt x="9004" y="11126"/>
                    <a:pt x="9038" y="11078"/>
                  </a:cubicBezTo>
                  <a:cubicBezTo>
                    <a:pt x="9057" y="11052"/>
                    <a:pt x="9148" y="10959"/>
                    <a:pt x="9055" y="11013"/>
                  </a:cubicBezTo>
                  <a:cubicBezTo>
                    <a:pt x="9016" y="11036"/>
                    <a:pt x="8975" y="11046"/>
                    <a:pt x="8933" y="11066"/>
                  </a:cubicBezTo>
                  <a:cubicBezTo>
                    <a:pt x="8872" y="11096"/>
                    <a:pt x="8879" y="11095"/>
                    <a:pt x="8884" y="11136"/>
                  </a:cubicBezTo>
                  <a:cubicBezTo>
                    <a:pt x="8889" y="11184"/>
                    <a:pt x="8867" y="11249"/>
                    <a:pt x="8960" y="11209"/>
                  </a:cubicBezTo>
                  <a:cubicBezTo>
                    <a:pt x="8946" y="11225"/>
                    <a:pt x="8931" y="11290"/>
                    <a:pt x="8912" y="11292"/>
                  </a:cubicBezTo>
                  <a:cubicBezTo>
                    <a:pt x="8869" y="11297"/>
                    <a:pt x="8879" y="11337"/>
                    <a:pt x="8856" y="11360"/>
                  </a:cubicBezTo>
                  <a:cubicBezTo>
                    <a:pt x="8849" y="11342"/>
                    <a:pt x="8823" y="11333"/>
                    <a:pt x="8808" y="11352"/>
                  </a:cubicBezTo>
                  <a:cubicBezTo>
                    <a:pt x="8807" y="11353"/>
                    <a:pt x="8829" y="11392"/>
                    <a:pt x="8829" y="11395"/>
                  </a:cubicBezTo>
                  <a:cubicBezTo>
                    <a:pt x="8833" y="11424"/>
                    <a:pt x="8822" y="11463"/>
                    <a:pt x="8820" y="11495"/>
                  </a:cubicBezTo>
                  <a:cubicBezTo>
                    <a:pt x="8839" y="11484"/>
                    <a:pt x="8835" y="11493"/>
                    <a:pt x="8851" y="11498"/>
                  </a:cubicBezTo>
                  <a:cubicBezTo>
                    <a:pt x="8856" y="11499"/>
                    <a:pt x="8855" y="11510"/>
                    <a:pt x="8864" y="11512"/>
                  </a:cubicBezTo>
                  <a:cubicBezTo>
                    <a:pt x="8867" y="11513"/>
                    <a:pt x="8868" y="11500"/>
                    <a:pt x="8871" y="11501"/>
                  </a:cubicBezTo>
                  <a:cubicBezTo>
                    <a:pt x="8910" y="11506"/>
                    <a:pt x="8901" y="11497"/>
                    <a:pt x="8947" y="11482"/>
                  </a:cubicBezTo>
                  <a:cubicBezTo>
                    <a:pt x="8979" y="11471"/>
                    <a:pt x="8986" y="11480"/>
                    <a:pt x="9015" y="11448"/>
                  </a:cubicBezTo>
                  <a:cubicBezTo>
                    <a:pt x="9036" y="11426"/>
                    <a:pt x="9065" y="11400"/>
                    <a:pt x="9076" y="11375"/>
                  </a:cubicBezTo>
                  <a:cubicBezTo>
                    <a:pt x="9066" y="11383"/>
                    <a:pt x="9050" y="11394"/>
                    <a:pt x="9038" y="11402"/>
                  </a:cubicBezTo>
                  <a:cubicBezTo>
                    <a:pt x="9039" y="11397"/>
                    <a:pt x="9039" y="11391"/>
                    <a:pt x="9040" y="11386"/>
                  </a:cubicBezTo>
                  <a:cubicBezTo>
                    <a:pt x="8996" y="11439"/>
                    <a:pt x="8989" y="11401"/>
                    <a:pt x="9005" y="11359"/>
                  </a:cubicBezTo>
                  <a:cubicBezTo>
                    <a:pt x="9017" y="11328"/>
                    <a:pt x="9021" y="11296"/>
                    <a:pt x="9032" y="11271"/>
                  </a:cubicBezTo>
                  <a:cubicBezTo>
                    <a:pt x="9032" y="11279"/>
                    <a:pt x="9037" y="11295"/>
                    <a:pt x="9035" y="11305"/>
                  </a:cubicBezTo>
                  <a:cubicBezTo>
                    <a:pt x="9038" y="11305"/>
                    <a:pt x="9040" y="11301"/>
                    <a:pt x="9042" y="11301"/>
                  </a:cubicBezTo>
                  <a:cubicBezTo>
                    <a:pt x="9043" y="11354"/>
                    <a:pt x="9117" y="11286"/>
                    <a:pt x="9129" y="11355"/>
                  </a:cubicBezTo>
                  <a:cubicBezTo>
                    <a:pt x="9134" y="11389"/>
                    <a:pt x="9159" y="11393"/>
                    <a:pt x="9150" y="11431"/>
                  </a:cubicBezTo>
                  <a:cubicBezTo>
                    <a:pt x="9139" y="11476"/>
                    <a:pt x="9132" y="11519"/>
                    <a:pt x="9130" y="11567"/>
                  </a:cubicBezTo>
                  <a:cubicBezTo>
                    <a:pt x="9142" y="11558"/>
                    <a:pt x="9159" y="11558"/>
                    <a:pt x="9172" y="11556"/>
                  </a:cubicBezTo>
                  <a:cubicBezTo>
                    <a:pt x="9194" y="11554"/>
                    <a:pt x="9218" y="11549"/>
                    <a:pt x="9246" y="11542"/>
                  </a:cubicBezTo>
                  <a:cubicBezTo>
                    <a:pt x="9217" y="11561"/>
                    <a:pt x="9201" y="11588"/>
                    <a:pt x="9178" y="11609"/>
                  </a:cubicBezTo>
                  <a:cubicBezTo>
                    <a:pt x="9155" y="11630"/>
                    <a:pt x="9130" y="11646"/>
                    <a:pt x="9099" y="11663"/>
                  </a:cubicBezTo>
                  <a:cubicBezTo>
                    <a:pt x="9069" y="11679"/>
                    <a:pt x="9035" y="11687"/>
                    <a:pt x="9022" y="11718"/>
                  </a:cubicBezTo>
                  <a:cubicBezTo>
                    <a:pt x="9014" y="11736"/>
                    <a:pt x="9003" y="11746"/>
                    <a:pt x="9001" y="11765"/>
                  </a:cubicBezTo>
                  <a:cubicBezTo>
                    <a:pt x="8999" y="11782"/>
                    <a:pt x="9013" y="11798"/>
                    <a:pt x="9008" y="11815"/>
                  </a:cubicBezTo>
                  <a:cubicBezTo>
                    <a:pt x="9004" y="11832"/>
                    <a:pt x="8946" y="11866"/>
                    <a:pt x="8930" y="11882"/>
                  </a:cubicBezTo>
                  <a:cubicBezTo>
                    <a:pt x="8901" y="11909"/>
                    <a:pt x="8874" y="11974"/>
                    <a:pt x="8836" y="11989"/>
                  </a:cubicBezTo>
                  <a:cubicBezTo>
                    <a:pt x="8809" y="11999"/>
                    <a:pt x="8808" y="11989"/>
                    <a:pt x="8788" y="11989"/>
                  </a:cubicBezTo>
                  <a:cubicBezTo>
                    <a:pt x="8783" y="11989"/>
                    <a:pt x="8758" y="11995"/>
                    <a:pt x="8752" y="11993"/>
                  </a:cubicBezTo>
                  <a:cubicBezTo>
                    <a:pt x="8731" y="11987"/>
                    <a:pt x="8734" y="11968"/>
                    <a:pt x="8713" y="11970"/>
                  </a:cubicBezTo>
                  <a:cubicBezTo>
                    <a:pt x="8703" y="11972"/>
                    <a:pt x="8682" y="11997"/>
                    <a:pt x="8675" y="12003"/>
                  </a:cubicBezTo>
                  <a:cubicBezTo>
                    <a:pt x="8693" y="11959"/>
                    <a:pt x="8630" y="11980"/>
                    <a:pt x="8600" y="11997"/>
                  </a:cubicBezTo>
                  <a:cubicBezTo>
                    <a:pt x="8621" y="12008"/>
                    <a:pt x="8605" y="12034"/>
                    <a:pt x="8597" y="12053"/>
                  </a:cubicBezTo>
                  <a:cubicBezTo>
                    <a:pt x="8584" y="12088"/>
                    <a:pt x="8592" y="12098"/>
                    <a:pt x="8594" y="12126"/>
                  </a:cubicBezTo>
                  <a:cubicBezTo>
                    <a:pt x="8595" y="12146"/>
                    <a:pt x="8595" y="12166"/>
                    <a:pt x="8583" y="12185"/>
                  </a:cubicBezTo>
                  <a:cubicBezTo>
                    <a:pt x="8572" y="12204"/>
                    <a:pt x="8536" y="12216"/>
                    <a:pt x="8548" y="12239"/>
                  </a:cubicBezTo>
                  <a:cubicBezTo>
                    <a:pt x="8559" y="12261"/>
                    <a:pt x="8618" y="12276"/>
                    <a:pt x="8639" y="12293"/>
                  </a:cubicBezTo>
                  <a:cubicBezTo>
                    <a:pt x="8673" y="12320"/>
                    <a:pt x="8687" y="12346"/>
                    <a:pt x="8685" y="12384"/>
                  </a:cubicBezTo>
                  <a:cubicBezTo>
                    <a:pt x="8684" y="12411"/>
                    <a:pt x="8680" y="12450"/>
                    <a:pt x="8704" y="12479"/>
                  </a:cubicBezTo>
                  <a:cubicBezTo>
                    <a:pt x="8716" y="12494"/>
                    <a:pt x="8740" y="12497"/>
                    <a:pt x="8750" y="12509"/>
                  </a:cubicBezTo>
                  <a:cubicBezTo>
                    <a:pt x="8776" y="12539"/>
                    <a:pt x="8750" y="12528"/>
                    <a:pt x="8743" y="12559"/>
                  </a:cubicBezTo>
                  <a:cubicBezTo>
                    <a:pt x="8734" y="12606"/>
                    <a:pt x="8716" y="12632"/>
                    <a:pt x="8730" y="12678"/>
                  </a:cubicBezTo>
                  <a:cubicBezTo>
                    <a:pt x="8739" y="12708"/>
                    <a:pt x="8767" y="12726"/>
                    <a:pt x="8767" y="12757"/>
                  </a:cubicBezTo>
                  <a:cubicBezTo>
                    <a:pt x="8769" y="12818"/>
                    <a:pt x="8743" y="12775"/>
                    <a:pt x="8715" y="12777"/>
                  </a:cubicBezTo>
                  <a:cubicBezTo>
                    <a:pt x="8695" y="12778"/>
                    <a:pt x="8672" y="12792"/>
                    <a:pt x="8642" y="12793"/>
                  </a:cubicBezTo>
                  <a:cubicBezTo>
                    <a:pt x="8633" y="12794"/>
                    <a:pt x="8609" y="12800"/>
                    <a:pt x="8604" y="12799"/>
                  </a:cubicBezTo>
                  <a:cubicBezTo>
                    <a:pt x="8586" y="12796"/>
                    <a:pt x="8593" y="12780"/>
                    <a:pt x="8575" y="12776"/>
                  </a:cubicBezTo>
                  <a:cubicBezTo>
                    <a:pt x="8561" y="12773"/>
                    <a:pt x="8553" y="12784"/>
                    <a:pt x="8539" y="12784"/>
                  </a:cubicBezTo>
                  <a:cubicBezTo>
                    <a:pt x="8524" y="12783"/>
                    <a:pt x="8512" y="12769"/>
                    <a:pt x="8496" y="12775"/>
                  </a:cubicBezTo>
                  <a:cubicBezTo>
                    <a:pt x="8436" y="12796"/>
                    <a:pt x="8535" y="12860"/>
                    <a:pt x="8555" y="12877"/>
                  </a:cubicBezTo>
                  <a:cubicBezTo>
                    <a:pt x="8573" y="12892"/>
                    <a:pt x="8586" y="12918"/>
                    <a:pt x="8602" y="12931"/>
                  </a:cubicBezTo>
                  <a:cubicBezTo>
                    <a:pt x="8612" y="12939"/>
                    <a:pt x="8596" y="12957"/>
                    <a:pt x="8625" y="12952"/>
                  </a:cubicBezTo>
                  <a:cubicBezTo>
                    <a:pt x="8641" y="12949"/>
                    <a:pt x="8641" y="12922"/>
                    <a:pt x="8641" y="12916"/>
                  </a:cubicBezTo>
                  <a:cubicBezTo>
                    <a:pt x="8673" y="12954"/>
                    <a:pt x="8624" y="12981"/>
                    <a:pt x="8598" y="13014"/>
                  </a:cubicBezTo>
                  <a:cubicBezTo>
                    <a:pt x="8620" y="12968"/>
                    <a:pt x="8586" y="12917"/>
                    <a:pt x="8542" y="12890"/>
                  </a:cubicBezTo>
                  <a:cubicBezTo>
                    <a:pt x="8518" y="12875"/>
                    <a:pt x="8489" y="12871"/>
                    <a:pt x="8470" y="12850"/>
                  </a:cubicBezTo>
                  <a:cubicBezTo>
                    <a:pt x="8462" y="12841"/>
                    <a:pt x="8466" y="12827"/>
                    <a:pt x="8457" y="12817"/>
                  </a:cubicBezTo>
                  <a:cubicBezTo>
                    <a:pt x="8447" y="12807"/>
                    <a:pt x="8428" y="12807"/>
                    <a:pt x="8416" y="12797"/>
                  </a:cubicBezTo>
                  <a:cubicBezTo>
                    <a:pt x="8392" y="12778"/>
                    <a:pt x="8316" y="12722"/>
                    <a:pt x="8344" y="12696"/>
                  </a:cubicBezTo>
                  <a:cubicBezTo>
                    <a:pt x="8361" y="12679"/>
                    <a:pt x="8391" y="12708"/>
                    <a:pt x="8400" y="12718"/>
                  </a:cubicBezTo>
                  <a:cubicBezTo>
                    <a:pt x="8409" y="12729"/>
                    <a:pt x="8396" y="12781"/>
                    <a:pt x="8447" y="12752"/>
                  </a:cubicBezTo>
                  <a:cubicBezTo>
                    <a:pt x="8449" y="12797"/>
                    <a:pt x="8478" y="12758"/>
                    <a:pt x="8485" y="12745"/>
                  </a:cubicBezTo>
                  <a:cubicBezTo>
                    <a:pt x="8494" y="12729"/>
                    <a:pt x="8488" y="12710"/>
                    <a:pt x="8505" y="12693"/>
                  </a:cubicBezTo>
                  <a:cubicBezTo>
                    <a:pt x="8505" y="12721"/>
                    <a:pt x="8509" y="12769"/>
                    <a:pt x="8556" y="12771"/>
                  </a:cubicBezTo>
                  <a:cubicBezTo>
                    <a:pt x="8580" y="12772"/>
                    <a:pt x="8599" y="12746"/>
                    <a:pt x="8619" y="12745"/>
                  </a:cubicBezTo>
                  <a:cubicBezTo>
                    <a:pt x="8638" y="12744"/>
                    <a:pt x="8637" y="12768"/>
                    <a:pt x="8673" y="12767"/>
                  </a:cubicBezTo>
                  <a:cubicBezTo>
                    <a:pt x="8731" y="12766"/>
                    <a:pt x="8741" y="12730"/>
                    <a:pt x="8728" y="12696"/>
                  </a:cubicBezTo>
                  <a:cubicBezTo>
                    <a:pt x="8726" y="12690"/>
                    <a:pt x="8704" y="12687"/>
                    <a:pt x="8700" y="12677"/>
                  </a:cubicBezTo>
                  <a:cubicBezTo>
                    <a:pt x="8697" y="12669"/>
                    <a:pt x="8711" y="12655"/>
                    <a:pt x="8709" y="12645"/>
                  </a:cubicBezTo>
                  <a:cubicBezTo>
                    <a:pt x="8704" y="12622"/>
                    <a:pt x="8700" y="12599"/>
                    <a:pt x="8669" y="12628"/>
                  </a:cubicBezTo>
                  <a:cubicBezTo>
                    <a:pt x="8668" y="12607"/>
                    <a:pt x="8668" y="12594"/>
                    <a:pt x="8648" y="12582"/>
                  </a:cubicBezTo>
                  <a:cubicBezTo>
                    <a:pt x="8630" y="12572"/>
                    <a:pt x="8605" y="12616"/>
                    <a:pt x="8606" y="12577"/>
                  </a:cubicBezTo>
                  <a:cubicBezTo>
                    <a:pt x="8591" y="12594"/>
                    <a:pt x="8578" y="12618"/>
                    <a:pt x="8547" y="12621"/>
                  </a:cubicBezTo>
                  <a:cubicBezTo>
                    <a:pt x="8558" y="12578"/>
                    <a:pt x="8618" y="12551"/>
                    <a:pt x="8630" y="12509"/>
                  </a:cubicBezTo>
                  <a:cubicBezTo>
                    <a:pt x="8652" y="12431"/>
                    <a:pt x="8586" y="12539"/>
                    <a:pt x="8569" y="12475"/>
                  </a:cubicBezTo>
                  <a:cubicBezTo>
                    <a:pt x="8545" y="12494"/>
                    <a:pt x="8527" y="12522"/>
                    <a:pt x="8505" y="12544"/>
                  </a:cubicBezTo>
                  <a:cubicBezTo>
                    <a:pt x="8511" y="12537"/>
                    <a:pt x="8482" y="12560"/>
                    <a:pt x="8478" y="12562"/>
                  </a:cubicBezTo>
                  <a:cubicBezTo>
                    <a:pt x="8464" y="12572"/>
                    <a:pt x="8460" y="12588"/>
                    <a:pt x="8438" y="12591"/>
                  </a:cubicBezTo>
                  <a:cubicBezTo>
                    <a:pt x="8455" y="12588"/>
                    <a:pt x="8410" y="12563"/>
                    <a:pt x="8416" y="12568"/>
                  </a:cubicBezTo>
                  <a:cubicBezTo>
                    <a:pt x="8401" y="12556"/>
                    <a:pt x="8396" y="12581"/>
                    <a:pt x="8394" y="12547"/>
                  </a:cubicBezTo>
                  <a:cubicBezTo>
                    <a:pt x="8393" y="12518"/>
                    <a:pt x="8421" y="12496"/>
                    <a:pt x="8427" y="12466"/>
                  </a:cubicBezTo>
                  <a:cubicBezTo>
                    <a:pt x="8437" y="12418"/>
                    <a:pt x="8428" y="12446"/>
                    <a:pt x="8382" y="12447"/>
                  </a:cubicBezTo>
                  <a:cubicBezTo>
                    <a:pt x="8354" y="12448"/>
                    <a:pt x="8352" y="12439"/>
                    <a:pt x="8332" y="12432"/>
                  </a:cubicBezTo>
                  <a:cubicBezTo>
                    <a:pt x="8332" y="12432"/>
                    <a:pt x="8333" y="12418"/>
                    <a:pt x="8330" y="12416"/>
                  </a:cubicBezTo>
                  <a:cubicBezTo>
                    <a:pt x="8321" y="12409"/>
                    <a:pt x="8305" y="12429"/>
                    <a:pt x="8298" y="12416"/>
                  </a:cubicBezTo>
                  <a:cubicBezTo>
                    <a:pt x="8280" y="12384"/>
                    <a:pt x="8317" y="12373"/>
                    <a:pt x="8325" y="12353"/>
                  </a:cubicBezTo>
                  <a:cubicBezTo>
                    <a:pt x="8337" y="12324"/>
                    <a:pt x="8321" y="12295"/>
                    <a:pt x="8333" y="12268"/>
                  </a:cubicBezTo>
                  <a:cubicBezTo>
                    <a:pt x="8341" y="12277"/>
                    <a:pt x="8352" y="12319"/>
                    <a:pt x="8377" y="12315"/>
                  </a:cubicBezTo>
                  <a:cubicBezTo>
                    <a:pt x="8410" y="12308"/>
                    <a:pt x="8371" y="12266"/>
                    <a:pt x="8369" y="12258"/>
                  </a:cubicBezTo>
                  <a:cubicBezTo>
                    <a:pt x="8357" y="12218"/>
                    <a:pt x="8366" y="12167"/>
                    <a:pt x="8374" y="12124"/>
                  </a:cubicBezTo>
                  <a:cubicBezTo>
                    <a:pt x="8382" y="12080"/>
                    <a:pt x="8400" y="12034"/>
                    <a:pt x="8401" y="11991"/>
                  </a:cubicBezTo>
                  <a:cubicBezTo>
                    <a:pt x="8403" y="11962"/>
                    <a:pt x="8387" y="11953"/>
                    <a:pt x="8392" y="11925"/>
                  </a:cubicBezTo>
                  <a:cubicBezTo>
                    <a:pt x="8396" y="11903"/>
                    <a:pt x="8421" y="11878"/>
                    <a:pt x="8429" y="11857"/>
                  </a:cubicBezTo>
                  <a:cubicBezTo>
                    <a:pt x="8371" y="11903"/>
                    <a:pt x="8239" y="11926"/>
                    <a:pt x="8228" y="12000"/>
                  </a:cubicBezTo>
                  <a:cubicBezTo>
                    <a:pt x="8253" y="11990"/>
                    <a:pt x="8251" y="12006"/>
                    <a:pt x="8257" y="12023"/>
                  </a:cubicBezTo>
                  <a:cubicBezTo>
                    <a:pt x="8269" y="12052"/>
                    <a:pt x="8210" y="12022"/>
                    <a:pt x="8208" y="12022"/>
                  </a:cubicBezTo>
                  <a:cubicBezTo>
                    <a:pt x="8183" y="12020"/>
                    <a:pt x="8192" y="12055"/>
                    <a:pt x="8163" y="12054"/>
                  </a:cubicBezTo>
                  <a:cubicBezTo>
                    <a:pt x="8132" y="12052"/>
                    <a:pt x="8141" y="12032"/>
                    <a:pt x="8150" y="12017"/>
                  </a:cubicBezTo>
                  <a:cubicBezTo>
                    <a:pt x="8155" y="12008"/>
                    <a:pt x="8186" y="11997"/>
                    <a:pt x="8196" y="11985"/>
                  </a:cubicBezTo>
                  <a:cubicBezTo>
                    <a:pt x="8202" y="11977"/>
                    <a:pt x="8189" y="11972"/>
                    <a:pt x="8193" y="11965"/>
                  </a:cubicBezTo>
                  <a:cubicBezTo>
                    <a:pt x="8199" y="11957"/>
                    <a:pt x="8214" y="11949"/>
                    <a:pt x="8217" y="11942"/>
                  </a:cubicBezTo>
                  <a:cubicBezTo>
                    <a:pt x="8234" y="11912"/>
                    <a:pt x="8232" y="11877"/>
                    <a:pt x="8249" y="11849"/>
                  </a:cubicBezTo>
                  <a:cubicBezTo>
                    <a:pt x="8203" y="11856"/>
                    <a:pt x="8184" y="11906"/>
                    <a:pt x="8192" y="11935"/>
                  </a:cubicBezTo>
                  <a:cubicBezTo>
                    <a:pt x="8151" y="11912"/>
                    <a:pt x="8204" y="11883"/>
                    <a:pt x="8171" y="11871"/>
                  </a:cubicBezTo>
                  <a:cubicBezTo>
                    <a:pt x="8151" y="11863"/>
                    <a:pt x="8061" y="11921"/>
                    <a:pt x="8035" y="11889"/>
                  </a:cubicBezTo>
                  <a:cubicBezTo>
                    <a:pt x="8016" y="11866"/>
                    <a:pt x="8058" y="11866"/>
                    <a:pt x="8059" y="11860"/>
                  </a:cubicBezTo>
                  <a:cubicBezTo>
                    <a:pt x="8062" y="11840"/>
                    <a:pt x="8051" y="11837"/>
                    <a:pt x="8042" y="11825"/>
                  </a:cubicBezTo>
                  <a:cubicBezTo>
                    <a:pt x="8037" y="11820"/>
                    <a:pt x="8016" y="11820"/>
                    <a:pt x="8009" y="11815"/>
                  </a:cubicBezTo>
                  <a:cubicBezTo>
                    <a:pt x="7998" y="11808"/>
                    <a:pt x="8018" y="11804"/>
                    <a:pt x="8009" y="11796"/>
                  </a:cubicBezTo>
                  <a:cubicBezTo>
                    <a:pt x="7996" y="11784"/>
                    <a:pt x="7977" y="11774"/>
                    <a:pt x="7963" y="11763"/>
                  </a:cubicBezTo>
                  <a:cubicBezTo>
                    <a:pt x="7943" y="11748"/>
                    <a:pt x="7886" y="11706"/>
                    <a:pt x="7848" y="11740"/>
                  </a:cubicBezTo>
                  <a:cubicBezTo>
                    <a:pt x="7823" y="11761"/>
                    <a:pt x="7864" y="11768"/>
                    <a:pt x="7864" y="11768"/>
                  </a:cubicBezTo>
                  <a:cubicBezTo>
                    <a:pt x="7863" y="11776"/>
                    <a:pt x="7869" y="11798"/>
                    <a:pt x="7836" y="11772"/>
                  </a:cubicBezTo>
                  <a:cubicBezTo>
                    <a:pt x="7800" y="11744"/>
                    <a:pt x="7834" y="11723"/>
                    <a:pt x="7765" y="11714"/>
                  </a:cubicBezTo>
                  <a:cubicBezTo>
                    <a:pt x="7725" y="11709"/>
                    <a:pt x="7695" y="11709"/>
                    <a:pt x="7708" y="11743"/>
                  </a:cubicBezTo>
                  <a:cubicBezTo>
                    <a:pt x="7712" y="11755"/>
                    <a:pt x="7734" y="11767"/>
                    <a:pt x="7743" y="11775"/>
                  </a:cubicBezTo>
                  <a:cubicBezTo>
                    <a:pt x="7747" y="11778"/>
                    <a:pt x="7749" y="11790"/>
                    <a:pt x="7756" y="11795"/>
                  </a:cubicBezTo>
                  <a:cubicBezTo>
                    <a:pt x="7763" y="11801"/>
                    <a:pt x="7780" y="11794"/>
                    <a:pt x="7789" y="11802"/>
                  </a:cubicBezTo>
                  <a:cubicBezTo>
                    <a:pt x="7815" y="11830"/>
                    <a:pt x="7783" y="11823"/>
                    <a:pt x="7761" y="11820"/>
                  </a:cubicBezTo>
                  <a:cubicBezTo>
                    <a:pt x="7730" y="11818"/>
                    <a:pt x="7751" y="11842"/>
                    <a:pt x="7744" y="11843"/>
                  </a:cubicBezTo>
                  <a:cubicBezTo>
                    <a:pt x="7742" y="11844"/>
                    <a:pt x="7718" y="11843"/>
                    <a:pt x="7716" y="11843"/>
                  </a:cubicBezTo>
                  <a:cubicBezTo>
                    <a:pt x="7694" y="11854"/>
                    <a:pt x="7675" y="11817"/>
                    <a:pt x="7684" y="11856"/>
                  </a:cubicBezTo>
                  <a:cubicBezTo>
                    <a:pt x="7690" y="11878"/>
                    <a:pt x="7641" y="11870"/>
                    <a:pt x="7630" y="11866"/>
                  </a:cubicBezTo>
                  <a:cubicBezTo>
                    <a:pt x="7595" y="11853"/>
                    <a:pt x="7570" y="11815"/>
                    <a:pt x="7530" y="11805"/>
                  </a:cubicBezTo>
                  <a:cubicBezTo>
                    <a:pt x="7541" y="11819"/>
                    <a:pt x="7567" y="11841"/>
                    <a:pt x="7535" y="11845"/>
                  </a:cubicBezTo>
                  <a:cubicBezTo>
                    <a:pt x="7536" y="11851"/>
                    <a:pt x="7538" y="11856"/>
                    <a:pt x="7539" y="11862"/>
                  </a:cubicBezTo>
                  <a:cubicBezTo>
                    <a:pt x="7506" y="11828"/>
                    <a:pt x="7459" y="11825"/>
                    <a:pt x="7498" y="11872"/>
                  </a:cubicBezTo>
                  <a:cubicBezTo>
                    <a:pt x="7525" y="11904"/>
                    <a:pt x="7543" y="11930"/>
                    <a:pt x="7573" y="11952"/>
                  </a:cubicBezTo>
                  <a:cubicBezTo>
                    <a:pt x="7595" y="11968"/>
                    <a:pt x="7610" y="11961"/>
                    <a:pt x="7617" y="11987"/>
                  </a:cubicBezTo>
                  <a:cubicBezTo>
                    <a:pt x="7621" y="12001"/>
                    <a:pt x="7609" y="12040"/>
                    <a:pt x="7587" y="12031"/>
                  </a:cubicBezTo>
                  <a:cubicBezTo>
                    <a:pt x="7563" y="12021"/>
                    <a:pt x="7590" y="11994"/>
                    <a:pt x="7580" y="11982"/>
                  </a:cubicBezTo>
                  <a:cubicBezTo>
                    <a:pt x="7556" y="11955"/>
                    <a:pt x="7550" y="11983"/>
                    <a:pt x="7527" y="11990"/>
                  </a:cubicBezTo>
                  <a:cubicBezTo>
                    <a:pt x="7553" y="12032"/>
                    <a:pt x="7589" y="12073"/>
                    <a:pt x="7628" y="12107"/>
                  </a:cubicBezTo>
                  <a:cubicBezTo>
                    <a:pt x="7652" y="12128"/>
                    <a:pt x="7658" y="12151"/>
                    <a:pt x="7677" y="12172"/>
                  </a:cubicBezTo>
                  <a:cubicBezTo>
                    <a:pt x="7714" y="12213"/>
                    <a:pt x="7712" y="12198"/>
                    <a:pt x="7719" y="12165"/>
                  </a:cubicBezTo>
                  <a:cubicBezTo>
                    <a:pt x="7729" y="12121"/>
                    <a:pt x="7731" y="12131"/>
                    <a:pt x="7766" y="12117"/>
                  </a:cubicBezTo>
                  <a:cubicBezTo>
                    <a:pt x="7778" y="12113"/>
                    <a:pt x="7811" y="12102"/>
                    <a:pt x="7819" y="12097"/>
                  </a:cubicBezTo>
                  <a:cubicBezTo>
                    <a:pt x="7833" y="12089"/>
                    <a:pt x="7838" y="12072"/>
                    <a:pt x="7855" y="12074"/>
                  </a:cubicBezTo>
                  <a:cubicBezTo>
                    <a:pt x="7896" y="12078"/>
                    <a:pt x="7966" y="12221"/>
                    <a:pt x="7998" y="12127"/>
                  </a:cubicBezTo>
                  <a:cubicBezTo>
                    <a:pt x="8012" y="12146"/>
                    <a:pt x="8035" y="12179"/>
                    <a:pt x="8042" y="12202"/>
                  </a:cubicBezTo>
                  <a:cubicBezTo>
                    <a:pt x="8049" y="12222"/>
                    <a:pt x="8043" y="12223"/>
                    <a:pt x="8040" y="12242"/>
                  </a:cubicBezTo>
                  <a:cubicBezTo>
                    <a:pt x="8038" y="12249"/>
                    <a:pt x="8017" y="12260"/>
                    <a:pt x="8019" y="12268"/>
                  </a:cubicBezTo>
                  <a:cubicBezTo>
                    <a:pt x="8023" y="12282"/>
                    <a:pt x="8038" y="12264"/>
                    <a:pt x="8041" y="12268"/>
                  </a:cubicBezTo>
                  <a:cubicBezTo>
                    <a:pt x="8055" y="12289"/>
                    <a:pt x="8064" y="12279"/>
                    <a:pt x="8059" y="12299"/>
                  </a:cubicBezTo>
                  <a:cubicBezTo>
                    <a:pt x="8060" y="12295"/>
                    <a:pt x="8013" y="12330"/>
                    <a:pt x="8019" y="12328"/>
                  </a:cubicBezTo>
                  <a:cubicBezTo>
                    <a:pt x="8016" y="12329"/>
                    <a:pt x="8010" y="12304"/>
                    <a:pt x="7972" y="12334"/>
                  </a:cubicBezTo>
                  <a:cubicBezTo>
                    <a:pt x="7960" y="12344"/>
                    <a:pt x="7927" y="12360"/>
                    <a:pt x="7908" y="12357"/>
                  </a:cubicBezTo>
                  <a:cubicBezTo>
                    <a:pt x="7870" y="12352"/>
                    <a:pt x="7849" y="12313"/>
                    <a:pt x="7819" y="12300"/>
                  </a:cubicBezTo>
                  <a:cubicBezTo>
                    <a:pt x="7800" y="12291"/>
                    <a:pt x="7783" y="12294"/>
                    <a:pt x="7765" y="12283"/>
                  </a:cubicBezTo>
                  <a:cubicBezTo>
                    <a:pt x="7749" y="12274"/>
                    <a:pt x="7765" y="12250"/>
                    <a:pt x="7728" y="12254"/>
                  </a:cubicBezTo>
                  <a:cubicBezTo>
                    <a:pt x="7708" y="12257"/>
                    <a:pt x="7634" y="12131"/>
                    <a:pt x="7613" y="12112"/>
                  </a:cubicBezTo>
                  <a:cubicBezTo>
                    <a:pt x="7595" y="12096"/>
                    <a:pt x="7568" y="12065"/>
                    <a:pt x="7546" y="12053"/>
                  </a:cubicBezTo>
                  <a:cubicBezTo>
                    <a:pt x="7529" y="12045"/>
                    <a:pt x="7530" y="12033"/>
                    <a:pt x="7498" y="12048"/>
                  </a:cubicBezTo>
                  <a:cubicBezTo>
                    <a:pt x="7469" y="12062"/>
                    <a:pt x="7483" y="12059"/>
                    <a:pt x="7482" y="12085"/>
                  </a:cubicBezTo>
                  <a:cubicBezTo>
                    <a:pt x="7480" y="12115"/>
                    <a:pt x="7493" y="12132"/>
                    <a:pt x="7517" y="12153"/>
                  </a:cubicBezTo>
                  <a:cubicBezTo>
                    <a:pt x="7545" y="12178"/>
                    <a:pt x="7587" y="12180"/>
                    <a:pt x="7604" y="12208"/>
                  </a:cubicBezTo>
                  <a:cubicBezTo>
                    <a:pt x="7634" y="12254"/>
                    <a:pt x="7568" y="12239"/>
                    <a:pt x="7528" y="12244"/>
                  </a:cubicBezTo>
                  <a:cubicBezTo>
                    <a:pt x="7522" y="12245"/>
                    <a:pt x="7515" y="12228"/>
                    <a:pt x="7502" y="12232"/>
                  </a:cubicBezTo>
                  <a:cubicBezTo>
                    <a:pt x="7496" y="12234"/>
                    <a:pt x="7502" y="12248"/>
                    <a:pt x="7496" y="12251"/>
                  </a:cubicBezTo>
                  <a:cubicBezTo>
                    <a:pt x="7491" y="12253"/>
                    <a:pt x="7475" y="12271"/>
                    <a:pt x="7470" y="12275"/>
                  </a:cubicBezTo>
                  <a:cubicBezTo>
                    <a:pt x="7468" y="12276"/>
                    <a:pt x="7440" y="12273"/>
                    <a:pt x="7434" y="12276"/>
                  </a:cubicBezTo>
                  <a:cubicBezTo>
                    <a:pt x="7427" y="12278"/>
                    <a:pt x="7433" y="12300"/>
                    <a:pt x="7426" y="12301"/>
                  </a:cubicBezTo>
                  <a:cubicBezTo>
                    <a:pt x="7415" y="12304"/>
                    <a:pt x="7413" y="12292"/>
                    <a:pt x="7406" y="12294"/>
                  </a:cubicBezTo>
                  <a:cubicBezTo>
                    <a:pt x="7392" y="12297"/>
                    <a:pt x="7366" y="12295"/>
                    <a:pt x="7350" y="12298"/>
                  </a:cubicBezTo>
                  <a:cubicBezTo>
                    <a:pt x="7313" y="12305"/>
                    <a:pt x="7324" y="12290"/>
                    <a:pt x="7299" y="12279"/>
                  </a:cubicBezTo>
                  <a:cubicBezTo>
                    <a:pt x="7281" y="12272"/>
                    <a:pt x="7263" y="12266"/>
                    <a:pt x="7240" y="12259"/>
                  </a:cubicBezTo>
                  <a:cubicBezTo>
                    <a:pt x="7225" y="12256"/>
                    <a:pt x="7227" y="12247"/>
                    <a:pt x="7211" y="12243"/>
                  </a:cubicBezTo>
                  <a:cubicBezTo>
                    <a:pt x="7213" y="12243"/>
                    <a:pt x="7158" y="12237"/>
                    <a:pt x="7165" y="12237"/>
                  </a:cubicBezTo>
                  <a:cubicBezTo>
                    <a:pt x="7127" y="12237"/>
                    <a:pt x="7100" y="12244"/>
                    <a:pt x="7063" y="12238"/>
                  </a:cubicBezTo>
                  <a:cubicBezTo>
                    <a:pt x="7037" y="12235"/>
                    <a:pt x="7009" y="12220"/>
                    <a:pt x="6986" y="12218"/>
                  </a:cubicBezTo>
                  <a:cubicBezTo>
                    <a:pt x="6933" y="12212"/>
                    <a:pt x="6894" y="12240"/>
                    <a:pt x="6847" y="12251"/>
                  </a:cubicBezTo>
                  <a:cubicBezTo>
                    <a:pt x="6858" y="12218"/>
                    <a:pt x="6805" y="12216"/>
                    <a:pt x="6780" y="12237"/>
                  </a:cubicBezTo>
                  <a:cubicBezTo>
                    <a:pt x="6737" y="12273"/>
                    <a:pt x="6746" y="12219"/>
                    <a:pt x="6737" y="12273"/>
                  </a:cubicBezTo>
                  <a:cubicBezTo>
                    <a:pt x="6732" y="12309"/>
                    <a:pt x="6661" y="12280"/>
                    <a:pt x="6659" y="12281"/>
                  </a:cubicBezTo>
                  <a:cubicBezTo>
                    <a:pt x="6637" y="12285"/>
                    <a:pt x="6630" y="12274"/>
                    <a:pt x="6616" y="12280"/>
                  </a:cubicBezTo>
                  <a:cubicBezTo>
                    <a:pt x="6613" y="12281"/>
                    <a:pt x="6621" y="12301"/>
                    <a:pt x="6615" y="12304"/>
                  </a:cubicBezTo>
                  <a:cubicBezTo>
                    <a:pt x="6604" y="12308"/>
                    <a:pt x="6593" y="12306"/>
                    <a:pt x="6582" y="12311"/>
                  </a:cubicBezTo>
                  <a:cubicBezTo>
                    <a:pt x="6572" y="12315"/>
                    <a:pt x="6562" y="12301"/>
                    <a:pt x="6554" y="12304"/>
                  </a:cubicBezTo>
                  <a:cubicBezTo>
                    <a:pt x="6547" y="12305"/>
                    <a:pt x="6545" y="12316"/>
                    <a:pt x="6541" y="12317"/>
                  </a:cubicBezTo>
                  <a:cubicBezTo>
                    <a:pt x="6510" y="12323"/>
                    <a:pt x="6527" y="12332"/>
                    <a:pt x="6487" y="12329"/>
                  </a:cubicBezTo>
                  <a:cubicBezTo>
                    <a:pt x="6443" y="12326"/>
                    <a:pt x="6430" y="12310"/>
                    <a:pt x="6405" y="12292"/>
                  </a:cubicBezTo>
                  <a:cubicBezTo>
                    <a:pt x="6397" y="12287"/>
                    <a:pt x="6381" y="12272"/>
                    <a:pt x="6372" y="12267"/>
                  </a:cubicBezTo>
                  <a:cubicBezTo>
                    <a:pt x="6357" y="12260"/>
                    <a:pt x="6354" y="12289"/>
                    <a:pt x="6338" y="12293"/>
                  </a:cubicBezTo>
                  <a:cubicBezTo>
                    <a:pt x="6316" y="12298"/>
                    <a:pt x="6322" y="12274"/>
                    <a:pt x="6295" y="12288"/>
                  </a:cubicBezTo>
                  <a:cubicBezTo>
                    <a:pt x="6279" y="12296"/>
                    <a:pt x="6274" y="12313"/>
                    <a:pt x="6275" y="12327"/>
                  </a:cubicBezTo>
                  <a:cubicBezTo>
                    <a:pt x="6261" y="12310"/>
                    <a:pt x="6228" y="12277"/>
                    <a:pt x="6197" y="12264"/>
                  </a:cubicBezTo>
                  <a:cubicBezTo>
                    <a:pt x="6157" y="12248"/>
                    <a:pt x="6105" y="12255"/>
                    <a:pt x="6070" y="12230"/>
                  </a:cubicBezTo>
                  <a:cubicBezTo>
                    <a:pt x="6058" y="12221"/>
                    <a:pt x="6054" y="12204"/>
                    <a:pt x="6043" y="12195"/>
                  </a:cubicBezTo>
                  <a:cubicBezTo>
                    <a:pt x="6024" y="12177"/>
                    <a:pt x="6017" y="12180"/>
                    <a:pt x="5992" y="12166"/>
                  </a:cubicBezTo>
                  <a:cubicBezTo>
                    <a:pt x="5964" y="12150"/>
                    <a:pt x="5935" y="12136"/>
                    <a:pt x="5911" y="12114"/>
                  </a:cubicBezTo>
                  <a:cubicBezTo>
                    <a:pt x="5878" y="12085"/>
                    <a:pt x="5900" y="12078"/>
                    <a:pt x="5895" y="12041"/>
                  </a:cubicBezTo>
                  <a:cubicBezTo>
                    <a:pt x="5890" y="11997"/>
                    <a:pt x="5856" y="11987"/>
                    <a:pt x="5827" y="12030"/>
                  </a:cubicBezTo>
                  <a:cubicBezTo>
                    <a:pt x="5814" y="12051"/>
                    <a:pt x="5829" y="12056"/>
                    <a:pt x="5802" y="12071"/>
                  </a:cubicBezTo>
                  <a:cubicBezTo>
                    <a:pt x="5799" y="12073"/>
                    <a:pt x="5776" y="12066"/>
                    <a:pt x="5768" y="12068"/>
                  </a:cubicBezTo>
                  <a:cubicBezTo>
                    <a:pt x="5749" y="12073"/>
                    <a:pt x="5737" y="12088"/>
                    <a:pt x="5717" y="12092"/>
                  </a:cubicBezTo>
                  <a:cubicBezTo>
                    <a:pt x="5668" y="12105"/>
                    <a:pt x="5593" y="12088"/>
                    <a:pt x="5544" y="12081"/>
                  </a:cubicBezTo>
                  <a:cubicBezTo>
                    <a:pt x="5529" y="12079"/>
                    <a:pt x="5512" y="12086"/>
                    <a:pt x="5498" y="12080"/>
                  </a:cubicBezTo>
                  <a:cubicBezTo>
                    <a:pt x="5487" y="12076"/>
                    <a:pt x="5503" y="12064"/>
                    <a:pt x="5498" y="12060"/>
                  </a:cubicBezTo>
                  <a:cubicBezTo>
                    <a:pt x="5482" y="12047"/>
                    <a:pt x="5478" y="12043"/>
                    <a:pt x="5466" y="12030"/>
                  </a:cubicBezTo>
                  <a:cubicBezTo>
                    <a:pt x="5462" y="12026"/>
                    <a:pt x="5444" y="11999"/>
                    <a:pt x="5444" y="11997"/>
                  </a:cubicBezTo>
                  <a:cubicBezTo>
                    <a:pt x="5444" y="11982"/>
                    <a:pt x="5475" y="11964"/>
                    <a:pt x="5469" y="11948"/>
                  </a:cubicBezTo>
                  <a:cubicBezTo>
                    <a:pt x="5463" y="11931"/>
                    <a:pt x="5449" y="11925"/>
                    <a:pt x="5423" y="11928"/>
                  </a:cubicBezTo>
                  <a:cubicBezTo>
                    <a:pt x="5426" y="11928"/>
                    <a:pt x="5353" y="11935"/>
                    <a:pt x="5368" y="11940"/>
                  </a:cubicBezTo>
                  <a:cubicBezTo>
                    <a:pt x="5321" y="11924"/>
                    <a:pt x="5407" y="11909"/>
                    <a:pt x="5389" y="11877"/>
                  </a:cubicBezTo>
                  <a:cubicBezTo>
                    <a:pt x="5378" y="11858"/>
                    <a:pt x="5358" y="11863"/>
                    <a:pt x="5337" y="11876"/>
                  </a:cubicBezTo>
                  <a:cubicBezTo>
                    <a:pt x="5299" y="11897"/>
                    <a:pt x="5332" y="11883"/>
                    <a:pt x="5325" y="11910"/>
                  </a:cubicBezTo>
                  <a:cubicBezTo>
                    <a:pt x="5321" y="11927"/>
                    <a:pt x="5254" y="11876"/>
                    <a:pt x="5243" y="11864"/>
                  </a:cubicBezTo>
                  <a:cubicBezTo>
                    <a:pt x="5233" y="11854"/>
                    <a:pt x="5229" y="11834"/>
                    <a:pt x="5222" y="11827"/>
                  </a:cubicBezTo>
                  <a:cubicBezTo>
                    <a:pt x="5214" y="11819"/>
                    <a:pt x="5217" y="11820"/>
                    <a:pt x="5203" y="11811"/>
                  </a:cubicBezTo>
                  <a:cubicBezTo>
                    <a:pt x="5194" y="11805"/>
                    <a:pt x="5172" y="11815"/>
                    <a:pt x="5164" y="11809"/>
                  </a:cubicBezTo>
                  <a:cubicBezTo>
                    <a:pt x="5134" y="11786"/>
                    <a:pt x="5201" y="11743"/>
                    <a:pt x="5231" y="11763"/>
                  </a:cubicBezTo>
                  <a:cubicBezTo>
                    <a:pt x="5239" y="11745"/>
                    <a:pt x="5205" y="11716"/>
                    <a:pt x="5195" y="11692"/>
                  </a:cubicBezTo>
                  <a:cubicBezTo>
                    <a:pt x="5190" y="11680"/>
                    <a:pt x="5178" y="11665"/>
                    <a:pt x="5176" y="11654"/>
                  </a:cubicBezTo>
                  <a:cubicBezTo>
                    <a:pt x="5173" y="11634"/>
                    <a:pt x="5185" y="11628"/>
                    <a:pt x="5186" y="11614"/>
                  </a:cubicBezTo>
                  <a:cubicBezTo>
                    <a:pt x="5189" y="11568"/>
                    <a:pt x="5125" y="11497"/>
                    <a:pt x="5073" y="11474"/>
                  </a:cubicBezTo>
                  <a:cubicBezTo>
                    <a:pt x="5055" y="11466"/>
                    <a:pt x="4973" y="11428"/>
                    <a:pt x="4953" y="11432"/>
                  </a:cubicBezTo>
                  <a:cubicBezTo>
                    <a:pt x="4949" y="11432"/>
                    <a:pt x="4923" y="11458"/>
                    <a:pt x="4913" y="11463"/>
                  </a:cubicBezTo>
                  <a:cubicBezTo>
                    <a:pt x="4897" y="11471"/>
                    <a:pt x="4878" y="11475"/>
                    <a:pt x="4860" y="11481"/>
                  </a:cubicBezTo>
                  <a:cubicBezTo>
                    <a:pt x="4786" y="11509"/>
                    <a:pt x="4701" y="11519"/>
                    <a:pt x="4627" y="11552"/>
                  </a:cubicBezTo>
                  <a:cubicBezTo>
                    <a:pt x="4534" y="11592"/>
                    <a:pt x="4423" y="11599"/>
                    <a:pt x="4313" y="11610"/>
                  </a:cubicBezTo>
                  <a:cubicBezTo>
                    <a:pt x="4240" y="11618"/>
                    <a:pt x="4221" y="11623"/>
                    <a:pt x="4187" y="11669"/>
                  </a:cubicBezTo>
                  <a:cubicBezTo>
                    <a:pt x="4168" y="11695"/>
                    <a:pt x="4154" y="11726"/>
                    <a:pt x="4131" y="11750"/>
                  </a:cubicBezTo>
                  <a:cubicBezTo>
                    <a:pt x="4109" y="11772"/>
                    <a:pt x="4082" y="11787"/>
                    <a:pt x="4063" y="11809"/>
                  </a:cubicBezTo>
                  <a:cubicBezTo>
                    <a:pt x="4053" y="11820"/>
                    <a:pt x="4019" y="11879"/>
                    <a:pt x="4076" y="11866"/>
                  </a:cubicBezTo>
                  <a:cubicBezTo>
                    <a:pt x="4101" y="11860"/>
                    <a:pt x="4155" y="11820"/>
                    <a:pt x="4172" y="11830"/>
                  </a:cubicBezTo>
                  <a:cubicBezTo>
                    <a:pt x="4206" y="11851"/>
                    <a:pt x="4134" y="11889"/>
                    <a:pt x="4171" y="11909"/>
                  </a:cubicBezTo>
                  <a:cubicBezTo>
                    <a:pt x="4174" y="11898"/>
                    <a:pt x="4184" y="11892"/>
                    <a:pt x="4189" y="11883"/>
                  </a:cubicBezTo>
                  <a:cubicBezTo>
                    <a:pt x="4203" y="11901"/>
                    <a:pt x="4199" y="11929"/>
                    <a:pt x="4177" y="11944"/>
                  </a:cubicBezTo>
                  <a:cubicBezTo>
                    <a:pt x="4153" y="11913"/>
                    <a:pt x="4149" y="11956"/>
                    <a:pt x="4184" y="11960"/>
                  </a:cubicBezTo>
                  <a:cubicBezTo>
                    <a:pt x="4203" y="11963"/>
                    <a:pt x="4236" y="11931"/>
                    <a:pt x="4254" y="11928"/>
                  </a:cubicBezTo>
                  <a:cubicBezTo>
                    <a:pt x="4284" y="11923"/>
                    <a:pt x="4309" y="11943"/>
                    <a:pt x="4336" y="11943"/>
                  </a:cubicBezTo>
                  <a:cubicBezTo>
                    <a:pt x="4354" y="11943"/>
                    <a:pt x="4367" y="11928"/>
                    <a:pt x="4385" y="11928"/>
                  </a:cubicBezTo>
                  <a:cubicBezTo>
                    <a:pt x="4404" y="11927"/>
                    <a:pt x="4422" y="11940"/>
                    <a:pt x="4441" y="11939"/>
                  </a:cubicBezTo>
                  <a:cubicBezTo>
                    <a:pt x="4413" y="11911"/>
                    <a:pt x="4358" y="11892"/>
                    <a:pt x="4358" y="11857"/>
                  </a:cubicBezTo>
                  <a:cubicBezTo>
                    <a:pt x="4357" y="11805"/>
                    <a:pt x="4442" y="11817"/>
                    <a:pt x="4481" y="11826"/>
                  </a:cubicBezTo>
                  <a:cubicBezTo>
                    <a:pt x="4499" y="11830"/>
                    <a:pt x="4531" y="11843"/>
                    <a:pt x="4550" y="11851"/>
                  </a:cubicBezTo>
                  <a:cubicBezTo>
                    <a:pt x="4589" y="11867"/>
                    <a:pt x="4570" y="11885"/>
                    <a:pt x="4611" y="11862"/>
                  </a:cubicBezTo>
                  <a:cubicBezTo>
                    <a:pt x="4629" y="11852"/>
                    <a:pt x="4642" y="11827"/>
                    <a:pt x="4662" y="11819"/>
                  </a:cubicBezTo>
                  <a:cubicBezTo>
                    <a:pt x="4696" y="11806"/>
                    <a:pt x="4738" y="11826"/>
                    <a:pt x="4734" y="11789"/>
                  </a:cubicBezTo>
                  <a:cubicBezTo>
                    <a:pt x="4744" y="11795"/>
                    <a:pt x="4746" y="11806"/>
                    <a:pt x="4755" y="11813"/>
                  </a:cubicBezTo>
                  <a:cubicBezTo>
                    <a:pt x="4755" y="11813"/>
                    <a:pt x="4778" y="11834"/>
                    <a:pt x="4778" y="11834"/>
                  </a:cubicBezTo>
                  <a:cubicBezTo>
                    <a:pt x="4784" y="11841"/>
                    <a:pt x="4784" y="11859"/>
                    <a:pt x="4794" y="11863"/>
                  </a:cubicBezTo>
                  <a:cubicBezTo>
                    <a:pt x="4828" y="11877"/>
                    <a:pt x="4801" y="11865"/>
                    <a:pt x="4810" y="11856"/>
                  </a:cubicBezTo>
                  <a:cubicBezTo>
                    <a:pt x="4812" y="11853"/>
                    <a:pt x="4837" y="11802"/>
                    <a:pt x="4835" y="11796"/>
                  </a:cubicBezTo>
                  <a:cubicBezTo>
                    <a:pt x="4832" y="11785"/>
                    <a:pt x="4805" y="11789"/>
                    <a:pt x="4799" y="11777"/>
                  </a:cubicBezTo>
                  <a:cubicBezTo>
                    <a:pt x="4792" y="11764"/>
                    <a:pt x="4802" y="11739"/>
                    <a:pt x="4817" y="11761"/>
                  </a:cubicBezTo>
                  <a:cubicBezTo>
                    <a:pt x="4825" y="11774"/>
                    <a:pt x="4825" y="11724"/>
                    <a:pt x="4833" y="11716"/>
                  </a:cubicBezTo>
                  <a:cubicBezTo>
                    <a:pt x="4857" y="11693"/>
                    <a:pt x="4929" y="11690"/>
                    <a:pt x="4962" y="11677"/>
                  </a:cubicBezTo>
                  <a:cubicBezTo>
                    <a:pt x="5027" y="11652"/>
                    <a:pt x="5055" y="11651"/>
                    <a:pt x="5129" y="11648"/>
                  </a:cubicBezTo>
                  <a:cubicBezTo>
                    <a:pt x="5121" y="11656"/>
                    <a:pt x="5090" y="11691"/>
                    <a:pt x="5089" y="11701"/>
                  </a:cubicBezTo>
                  <a:cubicBezTo>
                    <a:pt x="5086" y="11725"/>
                    <a:pt x="5106" y="11732"/>
                    <a:pt x="5107" y="11755"/>
                  </a:cubicBezTo>
                  <a:cubicBezTo>
                    <a:pt x="5107" y="11774"/>
                    <a:pt x="5084" y="11817"/>
                    <a:pt x="5066" y="11784"/>
                  </a:cubicBezTo>
                  <a:cubicBezTo>
                    <a:pt x="5058" y="11769"/>
                    <a:pt x="4986" y="11814"/>
                    <a:pt x="4970" y="11817"/>
                  </a:cubicBezTo>
                  <a:cubicBezTo>
                    <a:pt x="4939" y="11823"/>
                    <a:pt x="4927" y="11809"/>
                    <a:pt x="4897" y="11825"/>
                  </a:cubicBezTo>
                  <a:cubicBezTo>
                    <a:pt x="4882" y="11832"/>
                    <a:pt x="4865" y="11832"/>
                    <a:pt x="4850" y="11838"/>
                  </a:cubicBezTo>
                  <a:cubicBezTo>
                    <a:pt x="4824" y="11847"/>
                    <a:pt x="4854" y="11855"/>
                    <a:pt x="4851" y="11863"/>
                  </a:cubicBezTo>
                  <a:cubicBezTo>
                    <a:pt x="4843" y="11881"/>
                    <a:pt x="4822" y="11909"/>
                    <a:pt x="4827" y="11927"/>
                  </a:cubicBezTo>
                  <a:cubicBezTo>
                    <a:pt x="4833" y="11945"/>
                    <a:pt x="4897" y="11946"/>
                    <a:pt x="4836" y="11968"/>
                  </a:cubicBezTo>
                  <a:cubicBezTo>
                    <a:pt x="4834" y="11952"/>
                    <a:pt x="4819" y="11926"/>
                    <a:pt x="4799" y="11918"/>
                  </a:cubicBezTo>
                  <a:cubicBezTo>
                    <a:pt x="4755" y="11899"/>
                    <a:pt x="4789" y="11932"/>
                    <a:pt x="4764" y="11954"/>
                  </a:cubicBezTo>
                  <a:cubicBezTo>
                    <a:pt x="4757" y="11943"/>
                    <a:pt x="4731" y="11907"/>
                    <a:pt x="4715" y="11928"/>
                  </a:cubicBezTo>
                  <a:cubicBezTo>
                    <a:pt x="4710" y="11936"/>
                    <a:pt x="4736" y="11964"/>
                    <a:pt x="4731" y="11978"/>
                  </a:cubicBezTo>
                  <a:cubicBezTo>
                    <a:pt x="4716" y="12020"/>
                    <a:pt x="4683" y="11973"/>
                    <a:pt x="4658" y="11999"/>
                  </a:cubicBezTo>
                  <a:cubicBezTo>
                    <a:pt x="4625" y="12034"/>
                    <a:pt x="4591" y="11980"/>
                    <a:pt x="4592" y="11980"/>
                  </a:cubicBezTo>
                  <a:cubicBezTo>
                    <a:pt x="4577" y="11981"/>
                    <a:pt x="4548" y="12012"/>
                    <a:pt x="4533" y="12019"/>
                  </a:cubicBezTo>
                  <a:cubicBezTo>
                    <a:pt x="4497" y="12037"/>
                    <a:pt x="4474" y="12019"/>
                    <a:pt x="4434" y="12020"/>
                  </a:cubicBezTo>
                  <a:cubicBezTo>
                    <a:pt x="4393" y="12022"/>
                    <a:pt x="4396" y="12051"/>
                    <a:pt x="4365" y="12059"/>
                  </a:cubicBezTo>
                  <a:cubicBezTo>
                    <a:pt x="4345" y="12064"/>
                    <a:pt x="4359" y="12034"/>
                    <a:pt x="4381" y="12031"/>
                  </a:cubicBezTo>
                  <a:cubicBezTo>
                    <a:pt x="4378" y="12029"/>
                    <a:pt x="4369" y="12024"/>
                    <a:pt x="4366" y="12023"/>
                  </a:cubicBezTo>
                  <a:cubicBezTo>
                    <a:pt x="4442" y="12011"/>
                    <a:pt x="4358" y="11978"/>
                    <a:pt x="4342" y="11986"/>
                  </a:cubicBezTo>
                  <a:cubicBezTo>
                    <a:pt x="4323" y="11996"/>
                    <a:pt x="4329" y="12053"/>
                    <a:pt x="4333" y="12059"/>
                  </a:cubicBezTo>
                  <a:cubicBezTo>
                    <a:pt x="4352" y="12087"/>
                    <a:pt x="4413" y="12074"/>
                    <a:pt x="4398" y="12113"/>
                  </a:cubicBezTo>
                  <a:cubicBezTo>
                    <a:pt x="4389" y="12137"/>
                    <a:pt x="4329" y="12138"/>
                    <a:pt x="4309" y="12154"/>
                  </a:cubicBezTo>
                  <a:cubicBezTo>
                    <a:pt x="4295" y="12163"/>
                    <a:pt x="4283" y="12184"/>
                    <a:pt x="4277" y="12199"/>
                  </a:cubicBezTo>
                  <a:cubicBezTo>
                    <a:pt x="4250" y="12267"/>
                    <a:pt x="4305" y="12285"/>
                    <a:pt x="4348" y="12338"/>
                  </a:cubicBezTo>
                  <a:cubicBezTo>
                    <a:pt x="4359" y="12352"/>
                    <a:pt x="4397" y="12392"/>
                    <a:pt x="4399" y="12406"/>
                  </a:cubicBezTo>
                  <a:cubicBezTo>
                    <a:pt x="4403" y="12428"/>
                    <a:pt x="4375" y="12477"/>
                    <a:pt x="4347" y="12456"/>
                  </a:cubicBezTo>
                  <a:cubicBezTo>
                    <a:pt x="4349" y="12491"/>
                    <a:pt x="4381" y="12540"/>
                    <a:pt x="4392" y="12577"/>
                  </a:cubicBezTo>
                  <a:cubicBezTo>
                    <a:pt x="4398" y="12599"/>
                    <a:pt x="4403" y="12618"/>
                    <a:pt x="4423" y="12636"/>
                  </a:cubicBezTo>
                  <a:cubicBezTo>
                    <a:pt x="4433" y="12646"/>
                    <a:pt x="4502" y="12669"/>
                    <a:pt x="4502" y="12669"/>
                  </a:cubicBezTo>
                  <a:cubicBezTo>
                    <a:pt x="4515" y="12694"/>
                    <a:pt x="4443" y="12698"/>
                    <a:pt x="4435" y="12716"/>
                  </a:cubicBezTo>
                  <a:cubicBezTo>
                    <a:pt x="4429" y="12730"/>
                    <a:pt x="4459" y="12748"/>
                    <a:pt x="4471" y="12761"/>
                  </a:cubicBezTo>
                  <a:cubicBezTo>
                    <a:pt x="4502" y="12797"/>
                    <a:pt x="4518" y="12843"/>
                    <a:pt x="4520" y="12880"/>
                  </a:cubicBezTo>
                  <a:cubicBezTo>
                    <a:pt x="4487" y="12857"/>
                    <a:pt x="4480" y="12800"/>
                    <a:pt x="4435" y="12778"/>
                  </a:cubicBezTo>
                  <a:cubicBezTo>
                    <a:pt x="4393" y="12759"/>
                    <a:pt x="4430" y="12807"/>
                    <a:pt x="4417" y="12819"/>
                  </a:cubicBezTo>
                  <a:cubicBezTo>
                    <a:pt x="4383" y="12850"/>
                    <a:pt x="4413" y="12846"/>
                    <a:pt x="4405" y="12883"/>
                  </a:cubicBezTo>
                  <a:cubicBezTo>
                    <a:pt x="4395" y="12877"/>
                    <a:pt x="4367" y="12871"/>
                    <a:pt x="4360" y="12862"/>
                  </a:cubicBezTo>
                  <a:cubicBezTo>
                    <a:pt x="4349" y="12848"/>
                    <a:pt x="4385" y="12842"/>
                    <a:pt x="4359" y="12824"/>
                  </a:cubicBezTo>
                  <a:cubicBezTo>
                    <a:pt x="4355" y="12827"/>
                    <a:pt x="4355" y="12830"/>
                    <a:pt x="4351" y="12832"/>
                  </a:cubicBezTo>
                  <a:cubicBezTo>
                    <a:pt x="4341" y="12823"/>
                    <a:pt x="4331" y="12810"/>
                    <a:pt x="4329" y="12798"/>
                  </a:cubicBezTo>
                  <a:cubicBezTo>
                    <a:pt x="4322" y="12754"/>
                    <a:pt x="4343" y="12798"/>
                    <a:pt x="4353" y="12798"/>
                  </a:cubicBezTo>
                  <a:cubicBezTo>
                    <a:pt x="4395" y="12798"/>
                    <a:pt x="4401" y="12783"/>
                    <a:pt x="4388" y="12745"/>
                  </a:cubicBezTo>
                  <a:cubicBezTo>
                    <a:pt x="4384" y="12735"/>
                    <a:pt x="4375" y="12715"/>
                    <a:pt x="4363" y="12709"/>
                  </a:cubicBezTo>
                  <a:cubicBezTo>
                    <a:pt x="4325" y="12688"/>
                    <a:pt x="4350" y="12714"/>
                    <a:pt x="4346" y="12729"/>
                  </a:cubicBezTo>
                  <a:cubicBezTo>
                    <a:pt x="4336" y="12776"/>
                    <a:pt x="4355" y="12765"/>
                    <a:pt x="4299" y="12743"/>
                  </a:cubicBezTo>
                  <a:cubicBezTo>
                    <a:pt x="4293" y="12769"/>
                    <a:pt x="4327" y="12938"/>
                    <a:pt x="4270" y="12909"/>
                  </a:cubicBezTo>
                  <a:cubicBezTo>
                    <a:pt x="4278" y="12934"/>
                    <a:pt x="4312" y="12954"/>
                    <a:pt x="4325" y="12980"/>
                  </a:cubicBezTo>
                  <a:cubicBezTo>
                    <a:pt x="4339" y="13009"/>
                    <a:pt x="4356" y="13030"/>
                    <a:pt x="4372" y="13056"/>
                  </a:cubicBezTo>
                  <a:cubicBezTo>
                    <a:pt x="4389" y="13083"/>
                    <a:pt x="4397" y="13105"/>
                    <a:pt x="4419" y="13132"/>
                  </a:cubicBezTo>
                  <a:cubicBezTo>
                    <a:pt x="4432" y="13147"/>
                    <a:pt x="4473" y="13219"/>
                    <a:pt x="4425" y="13188"/>
                  </a:cubicBezTo>
                  <a:cubicBezTo>
                    <a:pt x="4412" y="13180"/>
                    <a:pt x="4414" y="13160"/>
                    <a:pt x="4407" y="13151"/>
                  </a:cubicBezTo>
                  <a:cubicBezTo>
                    <a:pt x="4396" y="13137"/>
                    <a:pt x="4381" y="13130"/>
                    <a:pt x="4372" y="13114"/>
                  </a:cubicBezTo>
                  <a:cubicBezTo>
                    <a:pt x="4365" y="13103"/>
                    <a:pt x="4372" y="13085"/>
                    <a:pt x="4362" y="13074"/>
                  </a:cubicBezTo>
                  <a:cubicBezTo>
                    <a:pt x="4344" y="13053"/>
                    <a:pt x="4346" y="13078"/>
                    <a:pt x="4325" y="13060"/>
                  </a:cubicBezTo>
                  <a:cubicBezTo>
                    <a:pt x="4302" y="13040"/>
                    <a:pt x="4279" y="12910"/>
                    <a:pt x="4243" y="12911"/>
                  </a:cubicBezTo>
                  <a:cubicBezTo>
                    <a:pt x="4242" y="12911"/>
                    <a:pt x="4240" y="12911"/>
                    <a:pt x="4239" y="12911"/>
                  </a:cubicBezTo>
                  <a:cubicBezTo>
                    <a:pt x="4249" y="12930"/>
                    <a:pt x="4239" y="12951"/>
                    <a:pt x="4232" y="12971"/>
                  </a:cubicBezTo>
                  <a:cubicBezTo>
                    <a:pt x="4212" y="12938"/>
                    <a:pt x="4231" y="12903"/>
                    <a:pt x="4212" y="12873"/>
                  </a:cubicBezTo>
                  <a:cubicBezTo>
                    <a:pt x="4193" y="12844"/>
                    <a:pt x="4186" y="12857"/>
                    <a:pt x="4140" y="12850"/>
                  </a:cubicBezTo>
                  <a:cubicBezTo>
                    <a:pt x="4088" y="12841"/>
                    <a:pt x="4159" y="12833"/>
                    <a:pt x="4161" y="12830"/>
                  </a:cubicBezTo>
                  <a:cubicBezTo>
                    <a:pt x="4193" y="12780"/>
                    <a:pt x="4145" y="12770"/>
                    <a:pt x="4111" y="12745"/>
                  </a:cubicBezTo>
                  <a:cubicBezTo>
                    <a:pt x="4089" y="12730"/>
                    <a:pt x="4054" y="12656"/>
                    <a:pt x="4035" y="12700"/>
                  </a:cubicBezTo>
                  <a:cubicBezTo>
                    <a:pt x="4018" y="12678"/>
                    <a:pt x="4021" y="12644"/>
                    <a:pt x="4014" y="12619"/>
                  </a:cubicBezTo>
                  <a:cubicBezTo>
                    <a:pt x="4040" y="12634"/>
                    <a:pt x="4060" y="12665"/>
                    <a:pt x="4086" y="12684"/>
                  </a:cubicBezTo>
                  <a:cubicBezTo>
                    <a:pt x="4100" y="12695"/>
                    <a:pt x="4113" y="12706"/>
                    <a:pt x="4130" y="12715"/>
                  </a:cubicBezTo>
                  <a:cubicBezTo>
                    <a:pt x="4156" y="12728"/>
                    <a:pt x="4150" y="12688"/>
                    <a:pt x="4176" y="12684"/>
                  </a:cubicBezTo>
                  <a:cubicBezTo>
                    <a:pt x="4193" y="12682"/>
                    <a:pt x="4208" y="12686"/>
                    <a:pt x="4223" y="12688"/>
                  </a:cubicBezTo>
                  <a:cubicBezTo>
                    <a:pt x="4257" y="12692"/>
                    <a:pt x="4242" y="12715"/>
                    <a:pt x="4262" y="12691"/>
                  </a:cubicBezTo>
                  <a:cubicBezTo>
                    <a:pt x="4278" y="12672"/>
                    <a:pt x="4263" y="12627"/>
                    <a:pt x="4257" y="12605"/>
                  </a:cubicBezTo>
                  <a:cubicBezTo>
                    <a:pt x="4241" y="12542"/>
                    <a:pt x="4198" y="12519"/>
                    <a:pt x="4153" y="12468"/>
                  </a:cubicBezTo>
                  <a:cubicBezTo>
                    <a:pt x="4143" y="12456"/>
                    <a:pt x="4139" y="12438"/>
                    <a:pt x="4124" y="12429"/>
                  </a:cubicBezTo>
                  <a:cubicBezTo>
                    <a:pt x="4091" y="12410"/>
                    <a:pt x="4098" y="12453"/>
                    <a:pt x="4091" y="12460"/>
                  </a:cubicBezTo>
                  <a:cubicBezTo>
                    <a:pt x="4057" y="12498"/>
                    <a:pt x="4065" y="12457"/>
                    <a:pt x="4066" y="12422"/>
                  </a:cubicBezTo>
                  <a:cubicBezTo>
                    <a:pt x="4067" y="12398"/>
                    <a:pt x="4066" y="12252"/>
                    <a:pt x="4006" y="12305"/>
                  </a:cubicBezTo>
                  <a:cubicBezTo>
                    <a:pt x="3990" y="12319"/>
                    <a:pt x="3998" y="12371"/>
                    <a:pt x="3995" y="12389"/>
                  </a:cubicBezTo>
                  <a:cubicBezTo>
                    <a:pt x="3988" y="12418"/>
                    <a:pt x="3982" y="12454"/>
                    <a:pt x="3954" y="12475"/>
                  </a:cubicBezTo>
                  <a:cubicBezTo>
                    <a:pt x="3952" y="12440"/>
                    <a:pt x="3897" y="12428"/>
                    <a:pt x="3896" y="12398"/>
                  </a:cubicBezTo>
                  <a:cubicBezTo>
                    <a:pt x="3895" y="12373"/>
                    <a:pt x="3915" y="12377"/>
                    <a:pt x="3921" y="12362"/>
                  </a:cubicBezTo>
                  <a:cubicBezTo>
                    <a:pt x="3930" y="12341"/>
                    <a:pt x="3922" y="12342"/>
                    <a:pt x="3920" y="12319"/>
                  </a:cubicBezTo>
                  <a:cubicBezTo>
                    <a:pt x="3918" y="12290"/>
                    <a:pt x="3927" y="12255"/>
                    <a:pt x="3903" y="12230"/>
                  </a:cubicBezTo>
                  <a:cubicBezTo>
                    <a:pt x="3874" y="12199"/>
                    <a:pt x="3791" y="12224"/>
                    <a:pt x="3784" y="12179"/>
                  </a:cubicBezTo>
                  <a:cubicBezTo>
                    <a:pt x="3747" y="12192"/>
                    <a:pt x="3753" y="12220"/>
                    <a:pt x="3716" y="12219"/>
                  </a:cubicBezTo>
                  <a:cubicBezTo>
                    <a:pt x="3708" y="12219"/>
                    <a:pt x="3680" y="12204"/>
                    <a:pt x="3677" y="12199"/>
                  </a:cubicBezTo>
                  <a:cubicBezTo>
                    <a:pt x="3675" y="12196"/>
                    <a:pt x="3705" y="12192"/>
                    <a:pt x="3704" y="12190"/>
                  </a:cubicBezTo>
                  <a:cubicBezTo>
                    <a:pt x="3707" y="12196"/>
                    <a:pt x="3698" y="12170"/>
                    <a:pt x="3697" y="12177"/>
                  </a:cubicBezTo>
                  <a:cubicBezTo>
                    <a:pt x="3695" y="12184"/>
                    <a:pt x="3674" y="12149"/>
                    <a:pt x="3676" y="12152"/>
                  </a:cubicBezTo>
                  <a:cubicBezTo>
                    <a:pt x="3680" y="12158"/>
                    <a:pt x="3678" y="12132"/>
                    <a:pt x="3676" y="12128"/>
                  </a:cubicBezTo>
                  <a:cubicBezTo>
                    <a:pt x="3668" y="12106"/>
                    <a:pt x="3645" y="12082"/>
                    <a:pt x="3613" y="12083"/>
                  </a:cubicBezTo>
                  <a:cubicBezTo>
                    <a:pt x="3622" y="12111"/>
                    <a:pt x="3598" y="12120"/>
                    <a:pt x="3593" y="12089"/>
                  </a:cubicBezTo>
                  <a:cubicBezTo>
                    <a:pt x="3589" y="12068"/>
                    <a:pt x="3621" y="12047"/>
                    <a:pt x="3612" y="12023"/>
                  </a:cubicBezTo>
                  <a:cubicBezTo>
                    <a:pt x="3605" y="12007"/>
                    <a:pt x="3574" y="11982"/>
                    <a:pt x="3550" y="11991"/>
                  </a:cubicBezTo>
                  <a:cubicBezTo>
                    <a:pt x="3527" y="12000"/>
                    <a:pt x="3539" y="12037"/>
                    <a:pt x="3541" y="12048"/>
                  </a:cubicBezTo>
                  <a:cubicBezTo>
                    <a:pt x="3515" y="11986"/>
                    <a:pt x="3417" y="12038"/>
                    <a:pt x="3372" y="12057"/>
                  </a:cubicBezTo>
                  <a:cubicBezTo>
                    <a:pt x="3341" y="12070"/>
                    <a:pt x="3328" y="12087"/>
                    <a:pt x="3302" y="12103"/>
                  </a:cubicBezTo>
                  <a:cubicBezTo>
                    <a:pt x="3254" y="12130"/>
                    <a:pt x="3210" y="12107"/>
                    <a:pt x="3167" y="12124"/>
                  </a:cubicBezTo>
                  <a:cubicBezTo>
                    <a:pt x="3182" y="12094"/>
                    <a:pt x="3195" y="12054"/>
                    <a:pt x="3129" y="12091"/>
                  </a:cubicBezTo>
                  <a:cubicBezTo>
                    <a:pt x="3104" y="12105"/>
                    <a:pt x="3089" y="12121"/>
                    <a:pt x="3071" y="12126"/>
                  </a:cubicBezTo>
                  <a:cubicBezTo>
                    <a:pt x="3068" y="12127"/>
                    <a:pt x="3030" y="12102"/>
                    <a:pt x="3041" y="12142"/>
                  </a:cubicBezTo>
                  <a:cubicBezTo>
                    <a:pt x="3016" y="12125"/>
                    <a:pt x="2949" y="12105"/>
                    <a:pt x="2916" y="12107"/>
                  </a:cubicBezTo>
                  <a:cubicBezTo>
                    <a:pt x="2916" y="12112"/>
                    <a:pt x="2925" y="12141"/>
                    <a:pt x="2923" y="12143"/>
                  </a:cubicBezTo>
                  <a:cubicBezTo>
                    <a:pt x="2901" y="12169"/>
                    <a:pt x="2894" y="12126"/>
                    <a:pt x="2894" y="12126"/>
                  </a:cubicBezTo>
                  <a:cubicBezTo>
                    <a:pt x="2862" y="12111"/>
                    <a:pt x="2790" y="12100"/>
                    <a:pt x="2765" y="12110"/>
                  </a:cubicBezTo>
                  <a:cubicBezTo>
                    <a:pt x="2748" y="12116"/>
                    <a:pt x="2753" y="12129"/>
                    <a:pt x="2720" y="12134"/>
                  </a:cubicBezTo>
                  <a:cubicBezTo>
                    <a:pt x="2701" y="12137"/>
                    <a:pt x="2676" y="12133"/>
                    <a:pt x="2656" y="12132"/>
                  </a:cubicBezTo>
                  <a:cubicBezTo>
                    <a:pt x="2620" y="12130"/>
                    <a:pt x="2580" y="12129"/>
                    <a:pt x="2545" y="12121"/>
                  </a:cubicBezTo>
                  <a:cubicBezTo>
                    <a:pt x="2513" y="12114"/>
                    <a:pt x="2504" y="12100"/>
                    <a:pt x="2479" y="12092"/>
                  </a:cubicBezTo>
                  <a:cubicBezTo>
                    <a:pt x="2417" y="12073"/>
                    <a:pt x="2328" y="12077"/>
                    <a:pt x="2263" y="12069"/>
                  </a:cubicBezTo>
                  <a:cubicBezTo>
                    <a:pt x="2237" y="12066"/>
                    <a:pt x="2228" y="12051"/>
                    <a:pt x="2206" y="12045"/>
                  </a:cubicBezTo>
                  <a:cubicBezTo>
                    <a:pt x="2167" y="12035"/>
                    <a:pt x="2124" y="12036"/>
                    <a:pt x="2089" y="12021"/>
                  </a:cubicBezTo>
                  <a:cubicBezTo>
                    <a:pt x="2048" y="12004"/>
                    <a:pt x="2022" y="11978"/>
                    <a:pt x="1976" y="11967"/>
                  </a:cubicBezTo>
                  <a:cubicBezTo>
                    <a:pt x="1909" y="11950"/>
                    <a:pt x="1846" y="11953"/>
                    <a:pt x="1805" y="11913"/>
                  </a:cubicBezTo>
                  <a:cubicBezTo>
                    <a:pt x="1796" y="11904"/>
                    <a:pt x="1796" y="11890"/>
                    <a:pt x="1784" y="11881"/>
                  </a:cubicBezTo>
                  <a:cubicBezTo>
                    <a:pt x="1770" y="11871"/>
                    <a:pt x="1746" y="11872"/>
                    <a:pt x="1732" y="11862"/>
                  </a:cubicBezTo>
                  <a:cubicBezTo>
                    <a:pt x="1697" y="11837"/>
                    <a:pt x="1704" y="11835"/>
                    <a:pt x="1745" y="11821"/>
                  </a:cubicBezTo>
                  <a:cubicBezTo>
                    <a:pt x="1772" y="11813"/>
                    <a:pt x="1810" y="11818"/>
                    <a:pt x="1835" y="11807"/>
                  </a:cubicBezTo>
                  <a:cubicBezTo>
                    <a:pt x="1886" y="11785"/>
                    <a:pt x="1839" y="11794"/>
                    <a:pt x="1835" y="11777"/>
                  </a:cubicBezTo>
                  <a:cubicBezTo>
                    <a:pt x="1828" y="11746"/>
                    <a:pt x="1855" y="11735"/>
                    <a:pt x="1867" y="11708"/>
                  </a:cubicBezTo>
                  <a:cubicBezTo>
                    <a:pt x="1881" y="11677"/>
                    <a:pt x="1853" y="11662"/>
                    <a:pt x="1915" y="11689"/>
                  </a:cubicBezTo>
                  <a:cubicBezTo>
                    <a:pt x="1939" y="11700"/>
                    <a:pt x="2008" y="11715"/>
                    <a:pt x="2016" y="11683"/>
                  </a:cubicBezTo>
                  <a:cubicBezTo>
                    <a:pt x="2019" y="11670"/>
                    <a:pt x="1977" y="11630"/>
                    <a:pt x="1970" y="11616"/>
                  </a:cubicBezTo>
                  <a:cubicBezTo>
                    <a:pt x="1986" y="11620"/>
                    <a:pt x="1996" y="11633"/>
                    <a:pt x="2013" y="11638"/>
                  </a:cubicBezTo>
                  <a:cubicBezTo>
                    <a:pt x="2049" y="11650"/>
                    <a:pt x="2091" y="11645"/>
                    <a:pt x="2129" y="11650"/>
                  </a:cubicBezTo>
                  <a:cubicBezTo>
                    <a:pt x="2159" y="11653"/>
                    <a:pt x="2231" y="11710"/>
                    <a:pt x="2271" y="11683"/>
                  </a:cubicBezTo>
                  <a:cubicBezTo>
                    <a:pt x="2286" y="11672"/>
                    <a:pt x="2266" y="11657"/>
                    <a:pt x="2273" y="11643"/>
                  </a:cubicBezTo>
                  <a:cubicBezTo>
                    <a:pt x="2280" y="11626"/>
                    <a:pt x="2296" y="11620"/>
                    <a:pt x="2308" y="11606"/>
                  </a:cubicBezTo>
                  <a:cubicBezTo>
                    <a:pt x="2320" y="11593"/>
                    <a:pt x="2338" y="11585"/>
                    <a:pt x="2330" y="11569"/>
                  </a:cubicBezTo>
                  <a:cubicBezTo>
                    <a:pt x="2311" y="11533"/>
                    <a:pt x="2305" y="11583"/>
                    <a:pt x="2285" y="11577"/>
                  </a:cubicBezTo>
                  <a:cubicBezTo>
                    <a:pt x="2259" y="11569"/>
                    <a:pt x="2296" y="11527"/>
                    <a:pt x="2288" y="11499"/>
                  </a:cubicBezTo>
                  <a:cubicBezTo>
                    <a:pt x="2279" y="11469"/>
                    <a:pt x="2254" y="11453"/>
                    <a:pt x="2229" y="11428"/>
                  </a:cubicBezTo>
                  <a:cubicBezTo>
                    <a:pt x="2200" y="11400"/>
                    <a:pt x="2211" y="11377"/>
                    <a:pt x="2195" y="11352"/>
                  </a:cubicBezTo>
                  <a:cubicBezTo>
                    <a:pt x="2177" y="11323"/>
                    <a:pt x="2131" y="11313"/>
                    <a:pt x="2109" y="11288"/>
                  </a:cubicBezTo>
                  <a:cubicBezTo>
                    <a:pt x="2091" y="11266"/>
                    <a:pt x="2096" y="11242"/>
                    <a:pt x="2056" y="11227"/>
                  </a:cubicBezTo>
                  <a:cubicBezTo>
                    <a:pt x="2016" y="11212"/>
                    <a:pt x="1996" y="11196"/>
                    <a:pt x="1966" y="11174"/>
                  </a:cubicBezTo>
                  <a:cubicBezTo>
                    <a:pt x="1912" y="11136"/>
                    <a:pt x="1837" y="11093"/>
                    <a:pt x="1768" y="11074"/>
                  </a:cubicBezTo>
                  <a:cubicBezTo>
                    <a:pt x="1776" y="11091"/>
                    <a:pt x="1822" y="11124"/>
                    <a:pt x="1778" y="11127"/>
                  </a:cubicBezTo>
                  <a:cubicBezTo>
                    <a:pt x="1750" y="11130"/>
                    <a:pt x="1720" y="11093"/>
                    <a:pt x="1696" y="11085"/>
                  </a:cubicBezTo>
                  <a:cubicBezTo>
                    <a:pt x="1640" y="11065"/>
                    <a:pt x="1629" y="11080"/>
                    <a:pt x="1658" y="11114"/>
                  </a:cubicBezTo>
                  <a:cubicBezTo>
                    <a:pt x="1668" y="11124"/>
                    <a:pt x="1685" y="11131"/>
                    <a:pt x="1693" y="11143"/>
                  </a:cubicBezTo>
                  <a:cubicBezTo>
                    <a:pt x="1700" y="11152"/>
                    <a:pt x="1685" y="11154"/>
                    <a:pt x="1693" y="11169"/>
                  </a:cubicBezTo>
                  <a:cubicBezTo>
                    <a:pt x="1703" y="11188"/>
                    <a:pt x="1748" y="11202"/>
                    <a:pt x="1700" y="11198"/>
                  </a:cubicBezTo>
                  <a:cubicBezTo>
                    <a:pt x="1655" y="11195"/>
                    <a:pt x="1650" y="11162"/>
                    <a:pt x="1618" y="11147"/>
                  </a:cubicBezTo>
                  <a:cubicBezTo>
                    <a:pt x="1583" y="11131"/>
                    <a:pt x="1532" y="11136"/>
                    <a:pt x="1490" y="11120"/>
                  </a:cubicBezTo>
                  <a:cubicBezTo>
                    <a:pt x="1468" y="11112"/>
                    <a:pt x="1458" y="11108"/>
                    <a:pt x="1443" y="11096"/>
                  </a:cubicBezTo>
                  <a:cubicBezTo>
                    <a:pt x="1429" y="11086"/>
                    <a:pt x="1435" y="11071"/>
                    <a:pt x="1410" y="11063"/>
                  </a:cubicBezTo>
                  <a:cubicBezTo>
                    <a:pt x="1421" y="11110"/>
                    <a:pt x="1340" y="11081"/>
                    <a:pt x="1315" y="11062"/>
                  </a:cubicBezTo>
                  <a:cubicBezTo>
                    <a:pt x="1283" y="11037"/>
                    <a:pt x="1263" y="11023"/>
                    <a:pt x="1218" y="11008"/>
                  </a:cubicBezTo>
                  <a:cubicBezTo>
                    <a:pt x="1140" y="10981"/>
                    <a:pt x="1106" y="10958"/>
                    <a:pt x="1050" y="10910"/>
                  </a:cubicBezTo>
                  <a:cubicBezTo>
                    <a:pt x="1024" y="10887"/>
                    <a:pt x="987" y="10872"/>
                    <a:pt x="966" y="10846"/>
                  </a:cubicBezTo>
                  <a:cubicBezTo>
                    <a:pt x="945" y="10819"/>
                    <a:pt x="945" y="10794"/>
                    <a:pt x="916" y="10770"/>
                  </a:cubicBezTo>
                  <a:cubicBezTo>
                    <a:pt x="862" y="10726"/>
                    <a:pt x="763" y="10695"/>
                    <a:pt x="692" y="10673"/>
                  </a:cubicBezTo>
                  <a:cubicBezTo>
                    <a:pt x="638" y="10656"/>
                    <a:pt x="588" y="10631"/>
                    <a:pt x="537" y="10611"/>
                  </a:cubicBezTo>
                  <a:cubicBezTo>
                    <a:pt x="485" y="10571"/>
                    <a:pt x="447" y="10532"/>
                    <a:pt x="411" y="10489"/>
                  </a:cubicBezTo>
                  <a:lnTo>
                    <a:pt x="0" y="11453"/>
                  </a:lnTo>
                  <a:lnTo>
                    <a:pt x="2529" y="13559"/>
                  </a:lnTo>
                  <a:lnTo>
                    <a:pt x="3288" y="13559"/>
                  </a:lnTo>
                  <a:lnTo>
                    <a:pt x="3752" y="14080"/>
                  </a:lnTo>
                  <a:lnTo>
                    <a:pt x="6620" y="14473"/>
                  </a:lnTo>
                  <a:lnTo>
                    <a:pt x="6790" y="17480"/>
                  </a:lnTo>
                  <a:cubicBezTo>
                    <a:pt x="7696" y="17442"/>
                    <a:pt x="8629" y="17370"/>
                    <a:pt x="9588" y="17258"/>
                  </a:cubicBezTo>
                  <a:cubicBezTo>
                    <a:pt x="9592" y="17222"/>
                    <a:pt x="9619" y="17199"/>
                    <a:pt x="9598" y="17162"/>
                  </a:cubicBezTo>
                  <a:cubicBezTo>
                    <a:pt x="9581" y="17133"/>
                    <a:pt x="9562" y="17130"/>
                    <a:pt x="9525" y="17119"/>
                  </a:cubicBezTo>
                  <a:cubicBezTo>
                    <a:pt x="9565" y="17116"/>
                    <a:pt x="9614" y="17100"/>
                    <a:pt x="9546" y="17090"/>
                  </a:cubicBezTo>
                  <a:cubicBezTo>
                    <a:pt x="9575" y="17079"/>
                    <a:pt x="9603" y="17101"/>
                    <a:pt x="9625" y="17091"/>
                  </a:cubicBezTo>
                  <a:cubicBezTo>
                    <a:pt x="9657" y="17077"/>
                    <a:pt x="9648" y="17018"/>
                    <a:pt x="9654" y="16994"/>
                  </a:cubicBezTo>
                  <a:cubicBezTo>
                    <a:pt x="9667" y="16951"/>
                    <a:pt x="9669" y="16895"/>
                    <a:pt x="9691" y="16855"/>
                  </a:cubicBezTo>
                  <a:cubicBezTo>
                    <a:pt x="9712" y="16818"/>
                    <a:pt x="9734" y="16783"/>
                    <a:pt x="9749" y="16741"/>
                  </a:cubicBezTo>
                  <a:cubicBezTo>
                    <a:pt x="9760" y="16708"/>
                    <a:pt x="9809" y="16706"/>
                    <a:pt x="9816" y="16683"/>
                  </a:cubicBezTo>
                  <a:cubicBezTo>
                    <a:pt x="9818" y="16676"/>
                    <a:pt x="9787" y="16685"/>
                    <a:pt x="9786" y="16683"/>
                  </a:cubicBezTo>
                  <a:cubicBezTo>
                    <a:pt x="9784" y="16679"/>
                    <a:pt x="9777" y="16645"/>
                    <a:pt x="9776" y="16648"/>
                  </a:cubicBezTo>
                  <a:cubicBezTo>
                    <a:pt x="9777" y="16639"/>
                    <a:pt x="9795" y="16614"/>
                    <a:pt x="9789" y="16594"/>
                  </a:cubicBezTo>
                  <a:cubicBezTo>
                    <a:pt x="9781" y="16569"/>
                    <a:pt x="9757" y="16563"/>
                    <a:pt x="9744" y="16541"/>
                  </a:cubicBezTo>
                  <a:cubicBezTo>
                    <a:pt x="9781" y="16550"/>
                    <a:pt x="9899" y="16554"/>
                    <a:pt x="9849" y="16497"/>
                  </a:cubicBezTo>
                  <a:cubicBezTo>
                    <a:pt x="9833" y="16478"/>
                    <a:pt x="9812" y="16494"/>
                    <a:pt x="9795" y="16471"/>
                  </a:cubicBezTo>
                  <a:cubicBezTo>
                    <a:pt x="9776" y="16444"/>
                    <a:pt x="9796" y="16436"/>
                    <a:pt x="9809" y="16413"/>
                  </a:cubicBezTo>
                  <a:cubicBezTo>
                    <a:pt x="9816" y="16400"/>
                    <a:pt x="9821" y="16379"/>
                    <a:pt x="9833" y="16368"/>
                  </a:cubicBezTo>
                  <a:cubicBezTo>
                    <a:pt x="9843" y="16359"/>
                    <a:pt x="9851" y="16379"/>
                    <a:pt x="9856" y="16376"/>
                  </a:cubicBezTo>
                  <a:cubicBezTo>
                    <a:pt x="9875" y="16360"/>
                    <a:pt x="9883" y="16336"/>
                    <a:pt x="9903" y="16319"/>
                  </a:cubicBezTo>
                  <a:cubicBezTo>
                    <a:pt x="9940" y="16288"/>
                    <a:pt x="10011" y="16272"/>
                    <a:pt x="10033" y="16237"/>
                  </a:cubicBezTo>
                  <a:cubicBezTo>
                    <a:pt x="10005" y="16250"/>
                    <a:pt x="9988" y="16245"/>
                    <a:pt x="9973" y="16224"/>
                  </a:cubicBezTo>
                  <a:cubicBezTo>
                    <a:pt x="9965" y="16214"/>
                    <a:pt x="10035" y="16231"/>
                    <a:pt x="10048" y="16225"/>
                  </a:cubicBezTo>
                  <a:cubicBezTo>
                    <a:pt x="10102" y="16199"/>
                    <a:pt x="10026" y="16203"/>
                    <a:pt x="10019" y="16201"/>
                  </a:cubicBezTo>
                  <a:cubicBezTo>
                    <a:pt x="10004" y="16196"/>
                    <a:pt x="9950" y="16185"/>
                    <a:pt x="10006" y="16181"/>
                  </a:cubicBezTo>
                  <a:cubicBezTo>
                    <a:pt x="9992" y="16178"/>
                    <a:pt x="9906" y="16166"/>
                    <a:pt x="9904" y="16163"/>
                  </a:cubicBezTo>
                  <a:cubicBezTo>
                    <a:pt x="9884" y="16132"/>
                    <a:pt x="9941" y="16154"/>
                    <a:pt x="9941" y="16140"/>
                  </a:cubicBezTo>
                  <a:cubicBezTo>
                    <a:pt x="9940" y="16124"/>
                    <a:pt x="9908" y="16127"/>
                    <a:pt x="9899" y="16113"/>
                  </a:cubicBezTo>
                  <a:cubicBezTo>
                    <a:pt x="9881" y="16081"/>
                    <a:pt x="9961" y="16117"/>
                    <a:pt x="9988" y="16121"/>
                  </a:cubicBezTo>
                  <a:cubicBezTo>
                    <a:pt x="10044" y="16131"/>
                    <a:pt x="10033" y="16110"/>
                    <a:pt x="9985" y="16093"/>
                  </a:cubicBezTo>
                  <a:cubicBezTo>
                    <a:pt x="10031" y="16081"/>
                    <a:pt x="10069" y="16098"/>
                    <a:pt x="10013" y="16065"/>
                  </a:cubicBezTo>
                  <a:cubicBezTo>
                    <a:pt x="9987" y="16049"/>
                    <a:pt x="9943" y="16027"/>
                    <a:pt x="10011" y="16039"/>
                  </a:cubicBezTo>
                  <a:cubicBezTo>
                    <a:pt x="10006" y="16034"/>
                    <a:pt x="10001" y="16026"/>
                    <a:pt x="9998" y="16022"/>
                  </a:cubicBezTo>
                  <a:cubicBezTo>
                    <a:pt x="10025" y="16022"/>
                    <a:pt x="10108" y="16096"/>
                    <a:pt x="10069" y="16015"/>
                  </a:cubicBezTo>
                  <a:cubicBezTo>
                    <a:pt x="10101" y="16028"/>
                    <a:pt x="10104" y="16003"/>
                    <a:pt x="10114" y="15995"/>
                  </a:cubicBezTo>
                  <a:cubicBezTo>
                    <a:pt x="10124" y="15986"/>
                    <a:pt x="10178" y="15979"/>
                    <a:pt x="10127" y="15961"/>
                  </a:cubicBezTo>
                  <a:cubicBezTo>
                    <a:pt x="10116" y="15957"/>
                    <a:pt x="10065" y="15993"/>
                    <a:pt x="10076" y="15950"/>
                  </a:cubicBezTo>
                  <a:cubicBezTo>
                    <a:pt x="10083" y="15920"/>
                    <a:pt x="10141" y="15935"/>
                    <a:pt x="10115" y="15909"/>
                  </a:cubicBezTo>
                  <a:cubicBezTo>
                    <a:pt x="10124" y="15910"/>
                    <a:pt x="10191" y="15916"/>
                    <a:pt x="10189" y="15917"/>
                  </a:cubicBezTo>
                  <a:cubicBezTo>
                    <a:pt x="10248" y="15888"/>
                    <a:pt x="10181" y="15870"/>
                    <a:pt x="10157" y="15863"/>
                  </a:cubicBezTo>
                  <a:cubicBezTo>
                    <a:pt x="10135" y="15856"/>
                    <a:pt x="10113" y="15843"/>
                    <a:pt x="10086" y="15835"/>
                  </a:cubicBezTo>
                  <a:cubicBezTo>
                    <a:pt x="10061" y="15828"/>
                    <a:pt x="10019" y="15822"/>
                    <a:pt x="9997" y="15808"/>
                  </a:cubicBezTo>
                  <a:cubicBezTo>
                    <a:pt x="10046" y="15839"/>
                    <a:pt x="10142" y="15821"/>
                    <a:pt x="10199" y="15841"/>
                  </a:cubicBezTo>
                  <a:cubicBezTo>
                    <a:pt x="10220" y="15849"/>
                    <a:pt x="10251" y="15866"/>
                    <a:pt x="10266" y="15884"/>
                  </a:cubicBezTo>
                  <a:cubicBezTo>
                    <a:pt x="10271" y="15891"/>
                    <a:pt x="10275" y="15915"/>
                    <a:pt x="10284" y="15919"/>
                  </a:cubicBezTo>
                  <a:cubicBezTo>
                    <a:pt x="10288" y="15922"/>
                    <a:pt x="10323" y="15917"/>
                    <a:pt x="10336" y="15921"/>
                  </a:cubicBezTo>
                  <a:cubicBezTo>
                    <a:pt x="10306" y="15892"/>
                    <a:pt x="10293" y="15881"/>
                    <a:pt x="10274" y="15844"/>
                  </a:cubicBezTo>
                  <a:cubicBezTo>
                    <a:pt x="10255" y="15808"/>
                    <a:pt x="10233" y="15800"/>
                    <a:pt x="10176" y="15798"/>
                  </a:cubicBezTo>
                  <a:cubicBezTo>
                    <a:pt x="10253" y="15790"/>
                    <a:pt x="10187" y="15760"/>
                    <a:pt x="10208" y="15724"/>
                  </a:cubicBezTo>
                  <a:cubicBezTo>
                    <a:pt x="10230" y="15687"/>
                    <a:pt x="10286" y="15755"/>
                    <a:pt x="10284" y="15679"/>
                  </a:cubicBezTo>
                  <a:cubicBezTo>
                    <a:pt x="10280" y="15683"/>
                    <a:pt x="10274" y="15688"/>
                    <a:pt x="10269" y="15692"/>
                  </a:cubicBezTo>
                  <a:cubicBezTo>
                    <a:pt x="10271" y="15662"/>
                    <a:pt x="10239" y="15637"/>
                    <a:pt x="10234" y="15609"/>
                  </a:cubicBezTo>
                  <a:cubicBezTo>
                    <a:pt x="10250" y="15632"/>
                    <a:pt x="10290" y="15626"/>
                    <a:pt x="10289" y="15633"/>
                  </a:cubicBezTo>
                  <a:cubicBezTo>
                    <a:pt x="10280" y="15672"/>
                    <a:pt x="10327" y="15656"/>
                    <a:pt x="10349" y="15648"/>
                  </a:cubicBezTo>
                  <a:cubicBezTo>
                    <a:pt x="10365" y="15641"/>
                    <a:pt x="10373" y="15614"/>
                    <a:pt x="10385" y="15612"/>
                  </a:cubicBezTo>
                  <a:cubicBezTo>
                    <a:pt x="10428" y="15605"/>
                    <a:pt x="10399" y="15626"/>
                    <a:pt x="10429" y="15642"/>
                  </a:cubicBezTo>
                  <a:cubicBezTo>
                    <a:pt x="10478" y="15668"/>
                    <a:pt x="10563" y="15597"/>
                    <a:pt x="10508" y="15567"/>
                  </a:cubicBezTo>
                  <a:cubicBezTo>
                    <a:pt x="10475" y="15549"/>
                    <a:pt x="10398" y="15567"/>
                    <a:pt x="10356" y="15556"/>
                  </a:cubicBezTo>
                  <a:cubicBezTo>
                    <a:pt x="10360" y="15554"/>
                    <a:pt x="10366" y="15552"/>
                    <a:pt x="10373" y="15550"/>
                  </a:cubicBezTo>
                  <a:cubicBezTo>
                    <a:pt x="10309" y="15537"/>
                    <a:pt x="10214" y="15439"/>
                    <a:pt x="10341" y="15454"/>
                  </a:cubicBezTo>
                  <a:cubicBezTo>
                    <a:pt x="10355" y="15455"/>
                    <a:pt x="10378" y="15469"/>
                    <a:pt x="10391" y="15467"/>
                  </a:cubicBezTo>
                  <a:cubicBezTo>
                    <a:pt x="10447" y="15458"/>
                    <a:pt x="10385" y="15451"/>
                    <a:pt x="10397" y="15437"/>
                  </a:cubicBezTo>
                  <a:cubicBezTo>
                    <a:pt x="10415" y="15417"/>
                    <a:pt x="10401" y="15426"/>
                    <a:pt x="10441" y="15428"/>
                  </a:cubicBezTo>
                  <a:cubicBezTo>
                    <a:pt x="10458" y="15430"/>
                    <a:pt x="10475" y="15435"/>
                    <a:pt x="10492" y="15437"/>
                  </a:cubicBezTo>
                  <a:cubicBezTo>
                    <a:pt x="10558" y="15442"/>
                    <a:pt x="10673" y="15460"/>
                    <a:pt x="10714" y="15432"/>
                  </a:cubicBezTo>
                  <a:cubicBezTo>
                    <a:pt x="10714" y="15432"/>
                    <a:pt x="10687" y="15429"/>
                    <a:pt x="10695" y="15422"/>
                  </a:cubicBezTo>
                  <a:cubicBezTo>
                    <a:pt x="10702" y="15416"/>
                    <a:pt x="10716" y="15420"/>
                    <a:pt x="10721" y="15417"/>
                  </a:cubicBezTo>
                  <a:cubicBezTo>
                    <a:pt x="10739" y="15401"/>
                    <a:pt x="10763" y="15400"/>
                    <a:pt x="10768" y="15373"/>
                  </a:cubicBezTo>
                  <a:cubicBezTo>
                    <a:pt x="10775" y="15345"/>
                    <a:pt x="10820" y="15327"/>
                    <a:pt x="10853" y="15320"/>
                  </a:cubicBezTo>
                  <a:cubicBezTo>
                    <a:pt x="10889" y="15313"/>
                    <a:pt x="10895" y="15324"/>
                    <a:pt x="10924" y="15304"/>
                  </a:cubicBezTo>
                  <a:cubicBezTo>
                    <a:pt x="10945" y="15289"/>
                    <a:pt x="10948" y="15272"/>
                    <a:pt x="10953" y="15248"/>
                  </a:cubicBezTo>
                  <a:cubicBezTo>
                    <a:pt x="10960" y="15214"/>
                    <a:pt x="10960" y="15218"/>
                    <a:pt x="10944" y="15185"/>
                  </a:cubicBezTo>
                  <a:cubicBezTo>
                    <a:pt x="10933" y="15161"/>
                    <a:pt x="10930" y="15133"/>
                    <a:pt x="10919" y="15110"/>
                  </a:cubicBezTo>
                  <a:cubicBezTo>
                    <a:pt x="10909" y="15090"/>
                    <a:pt x="10908" y="15068"/>
                    <a:pt x="10900" y="15051"/>
                  </a:cubicBezTo>
                  <a:cubicBezTo>
                    <a:pt x="10894" y="15041"/>
                    <a:pt x="10917" y="15041"/>
                    <a:pt x="10900" y="15028"/>
                  </a:cubicBezTo>
                  <a:cubicBezTo>
                    <a:pt x="10896" y="15025"/>
                    <a:pt x="10866" y="15030"/>
                    <a:pt x="10860" y="15029"/>
                  </a:cubicBezTo>
                  <a:cubicBezTo>
                    <a:pt x="10844" y="15026"/>
                    <a:pt x="10789" y="15019"/>
                    <a:pt x="10789" y="15002"/>
                  </a:cubicBezTo>
                  <a:cubicBezTo>
                    <a:pt x="10789" y="14999"/>
                    <a:pt x="10845" y="15014"/>
                    <a:pt x="10861" y="15008"/>
                  </a:cubicBezTo>
                  <a:cubicBezTo>
                    <a:pt x="10824" y="15000"/>
                    <a:pt x="10797" y="14978"/>
                    <a:pt x="10762" y="14971"/>
                  </a:cubicBezTo>
                  <a:cubicBezTo>
                    <a:pt x="10754" y="14969"/>
                    <a:pt x="10755" y="14986"/>
                    <a:pt x="10744" y="14984"/>
                  </a:cubicBezTo>
                  <a:cubicBezTo>
                    <a:pt x="10736" y="14982"/>
                    <a:pt x="10724" y="14974"/>
                    <a:pt x="10719" y="14974"/>
                  </a:cubicBezTo>
                  <a:cubicBezTo>
                    <a:pt x="10703" y="14972"/>
                    <a:pt x="10681" y="14961"/>
                    <a:pt x="10660" y="14960"/>
                  </a:cubicBezTo>
                  <a:cubicBezTo>
                    <a:pt x="10643" y="14960"/>
                    <a:pt x="10633" y="14975"/>
                    <a:pt x="10616" y="14971"/>
                  </a:cubicBezTo>
                  <a:cubicBezTo>
                    <a:pt x="10613" y="14970"/>
                    <a:pt x="10577" y="14941"/>
                    <a:pt x="10563" y="14936"/>
                  </a:cubicBezTo>
                  <a:cubicBezTo>
                    <a:pt x="10561" y="14935"/>
                    <a:pt x="10515" y="14917"/>
                    <a:pt x="10519" y="14920"/>
                  </a:cubicBezTo>
                  <a:cubicBezTo>
                    <a:pt x="10503" y="14907"/>
                    <a:pt x="10510" y="14890"/>
                    <a:pt x="10498" y="14875"/>
                  </a:cubicBezTo>
                  <a:cubicBezTo>
                    <a:pt x="10439" y="14804"/>
                    <a:pt x="10368" y="14865"/>
                    <a:pt x="10322" y="14898"/>
                  </a:cubicBezTo>
                  <a:cubicBezTo>
                    <a:pt x="10308" y="14909"/>
                    <a:pt x="10283" y="14917"/>
                    <a:pt x="10275" y="14930"/>
                  </a:cubicBezTo>
                  <a:cubicBezTo>
                    <a:pt x="10269" y="14940"/>
                    <a:pt x="10281" y="14964"/>
                    <a:pt x="10271" y="14971"/>
                  </a:cubicBezTo>
                  <a:cubicBezTo>
                    <a:pt x="10258" y="14981"/>
                    <a:pt x="10258" y="14966"/>
                    <a:pt x="10250" y="14968"/>
                  </a:cubicBezTo>
                  <a:cubicBezTo>
                    <a:pt x="10255" y="14967"/>
                    <a:pt x="10233" y="14960"/>
                    <a:pt x="10229" y="14960"/>
                  </a:cubicBezTo>
                  <a:cubicBezTo>
                    <a:pt x="10227" y="14960"/>
                    <a:pt x="10219" y="14974"/>
                    <a:pt x="10211" y="14976"/>
                  </a:cubicBezTo>
                  <a:cubicBezTo>
                    <a:pt x="10194" y="14981"/>
                    <a:pt x="10180" y="14993"/>
                    <a:pt x="10169" y="14991"/>
                  </a:cubicBezTo>
                  <a:cubicBezTo>
                    <a:pt x="10123" y="14980"/>
                    <a:pt x="10187" y="14951"/>
                    <a:pt x="10203" y="14937"/>
                  </a:cubicBezTo>
                  <a:cubicBezTo>
                    <a:pt x="10214" y="14928"/>
                    <a:pt x="10208" y="14916"/>
                    <a:pt x="10222" y="14908"/>
                  </a:cubicBezTo>
                  <a:cubicBezTo>
                    <a:pt x="10230" y="14904"/>
                    <a:pt x="10230" y="14928"/>
                    <a:pt x="10242" y="14921"/>
                  </a:cubicBezTo>
                  <a:cubicBezTo>
                    <a:pt x="10263" y="14910"/>
                    <a:pt x="10280" y="14909"/>
                    <a:pt x="10269" y="14891"/>
                  </a:cubicBezTo>
                  <a:cubicBezTo>
                    <a:pt x="10255" y="14868"/>
                    <a:pt x="10302" y="14874"/>
                    <a:pt x="10294" y="14858"/>
                  </a:cubicBezTo>
                  <a:cubicBezTo>
                    <a:pt x="10291" y="14853"/>
                    <a:pt x="10242" y="14842"/>
                    <a:pt x="10236" y="14841"/>
                  </a:cubicBezTo>
                  <a:cubicBezTo>
                    <a:pt x="10221" y="14840"/>
                    <a:pt x="10198" y="14854"/>
                    <a:pt x="10184" y="14849"/>
                  </a:cubicBezTo>
                  <a:cubicBezTo>
                    <a:pt x="10159" y="14841"/>
                    <a:pt x="10173" y="14824"/>
                    <a:pt x="10155" y="14813"/>
                  </a:cubicBezTo>
                  <a:cubicBezTo>
                    <a:pt x="10128" y="14797"/>
                    <a:pt x="10131" y="14806"/>
                    <a:pt x="10107" y="14809"/>
                  </a:cubicBezTo>
                  <a:cubicBezTo>
                    <a:pt x="10076" y="14815"/>
                    <a:pt x="10110" y="14829"/>
                    <a:pt x="10068" y="14823"/>
                  </a:cubicBezTo>
                  <a:cubicBezTo>
                    <a:pt x="10030" y="14817"/>
                    <a:pt x="9989" y="14802"/>
                    <a:pt x="9950" y="14795"/>
                  </a:cubicBezTo>
                  <a:cubicBezTo>
                    <a:pt x="9916" y="14790"/>
                    <a:pt x="9756" y="14722"/>
                    <a:pt x="9743" y="14735"/>
                  </a:cubicBezTo>
                  <a:cubicBezTo>
                    <a:pt x="9711" y="14766"/>
                    <a:pt x="9815" y="14811"/>
                    <a:pt x="9840" y="14812"/>
                  </a:cubicBezTo>
                  <a:cubicBezTo>
                    <a:pt x="9824" y="14822"/>
                    <a:pt x="9801" y="14823"/>
                    <a:pt x="9782" y="14819"/>
                  </a:cubicBezTo>
                  <a:cubicBezTo>
                    <a:pt x="9785" y="14823"/>
                    <a:pt x="9792" y="14832"/>
                    <a:pt x="9796" y="14835"/>
                  </a:cubicBezTo>
                  <a:cubicBezTo>
                    <a:pt x="9738" y="14814"/>
                    <a:pt x="9700" y="14819"/>
                    <a:pt x="9658" y="14780"/>
                  </a:cubicBezTo>
                  <a:cubicBezTo>
                    <a:pt x="9643" y="14767"/>
                    <a:pt x="9616" y="14737"/>
                    <a:pt x="9624" y="14730"/>
                  </a:cubicBezTo>
                  <a:cubicBezTo>
                    <a:pt x="9640" y="14715"/>
                    <a:pt x="9677" y="14731"/>
                    <a:pt x="9696" y="14714"/>
                  </a:cubicBezTo>
                  <a:cubicBezTo>
                    <a:pt x="9690" y="14712"/>
                    <a:pt x="9684" y="14713"/>
                    <a:pt x="9677" y="14711"/>
                  </a:cubicBezTo>
                  <a:cubicBezTo>
                    <a:pt x="9699" y="14692"/>
                    <a:pt x="9602" y="14619"/>
                    <a:pt x="9587" y="14592"/>
                  </a:cubicBezTo>
                  <a:cubicBezTo>
                    <a:pt x="9598" y="14602"/>
                    <a:pt x="9622" y="14607"/>
                    <a:pt x="9631" y="14613"/>
                  </a:cubicBezTo>
                  <a:cubicBezTo>
                    <a:pt x="9634" y="14616"/>
                    <a:pt x="9644" y="14607"/>
                    <a:pt x="9652" y="14614"/>
                  </a:cubicBezTo>
                  <a:cubicBezTo>
                    <a:pt x="9658" y="14619"/>
                    <a:pt x="9643" y="14633"/>
                    <a:pt x="9649" y="14640"/>
                  </a:cubicBezTo>
                  <a:cubicBezTo>
                    <a:pt x="9670" y="14661"/>
                    <a:pt x="9707" y="14685"/>
                    <a:pt x="9737" y="14700"/>
                  </a:cubicBezTo>
                  <a:cubicBezTo>
                    <a:pt x="9767" y="14715"/>
                    <a:pt x="9811" y="14714"/>
                    <a:pt x="9843" y="14722"/>
                  </a:cubicBezTo>
                  <a:cubicBezTo>
                    <a:pt x="9880" y="14732"/>
                    <a:pt x="9906" y="14740"/>
                    <a:pt x="9938" y="14745"/>
                  </a:cubicBezTo>
                  <a:cubicBezTo>
                    <a:pt x="9935" y="14744"/>
                    <a:pt x="9984" y="14755"/>
                    <a:pt x="9983" y="14755"/>
                  </a:cubicBezTo>
                  <a:cubicBezTo>
                    <a:pt x="10003" y="14762"/>
                    <a:pt x="10015" y="14773"/>
                    <a:pt x="10027" y="14778"/>
                  </a:cubicBezTo>
                  <a:cubicBezTo>
                    <a:pt x="10068" y="14795"/>
                    <a:pt x="10103" y="14786"/>
                    <a:pt x="10144" y="14797"/>
                  </a:cubicBezTo>
                  <a:cubicBezTo>
                    <a:pt x="10163" y="14803"/>
                    <a:pt x="10169" y="14816"/>
                    <a:pt x="10191" y="14821"/>
                  </a:cubicBezTo>
                  <a:cubicBezTo>
                    <a:pt x="10205" y="14823"/>
                    <a:pt x="10237" y="14820"/>
                    <a:pt x="10251" y="14821"/>
                  </a:cubicBezTo>
                  <a:cubicBezTo>
                    <a:pt x="10274" y="14822"/>
                    <a:pt x="10284" y="14842"/>
                    <a:pt x="10305" y="14821"/>
                  </a:cubicBezTo>
                  <a:cubicBezTo>
                    <a:pt x="10312" y="14813"/>
                    <a:pt x="10335" y="14754"/>
                    <a:pt x="10363" y="14783"/>
                  </a:cubicBezTo>
                  <a:cubicBezTo>
                    <a:pt x="10364" y="14784"/>
                    <a:pt x="10366" y="14785"/>
                    <a:pt x="10367" y="14786"/>
                  </a:cubicBezTo>
                  <a:cubicBezTo>
                    <a:pt x="10328" y="14797"/>
                    <a:pt x="10337" y="14819"/>
                    <a:pt x="10375" y="14826"/>
                  </a:cubicBezTo>
                  <a:cubicBezTo>
                    <a:pt x="10410" y="14832"/>
                    <a:pt x="10443" y="14792"/>
                    <a:pt x="10456" y="14795"/>
                  </a:cubicBezTo>
                  <a:cubicBezTo>
                    <a:pt x="10476" y="14799"/>
                    <a:pt x="10455" y="14823"/>
                    <a:pt x="10470" y="14829"/>
                  </a:cubicBezTo>
                  <a:cubicBezTo>
                    <a:pt x="10494" y="14838"/>
                    <a:pt x="10501" y="14818"/>
                    <a:pt x="10514" y="14818"/>
                  </a:cubicBezTo>
                  <a:cubicBezTo>
                    <a:pt x="10540" y="14818"/>
                    <a:pt x="10589" y="14827"/>
                    <a:pt x="10604" y="14843"/>
                  </a:cubicBezTo>
                  <a:cubicBezTo>
                    <a:pt x="10539" y="14849"/>
                    <a:pt x="10663" y="14863"/>
                    <a:pt x="10678" y="14865"/>
                  </a:cubicBezTo>
                  <a:cubicBezTo>
                    <a:pt x="10716" y="14871"/>
                    <a:pt x="10749" y="14898"/>
                    <a:pt x="10791" y="14899"/>
                  </a:cubicBezTo>
                  <a:cubicBezTo>
                    <a:pt x="10830" y="14901"/>
                    <a:pt x="10881" y="14877"/>
                    <a:pt x="10906" y="14855"/>
                  </a:cubicBezTo>
                  <a:cubicBezTo>
                    <a:pt x="10911" y="14851"/>
                    <a:pt x="10945" y="14848"/>
                    <a:pt x="10919" y="14824"/>
                  </a:cubicBezTo>
                  <a:cubicBezTo>
                    <a:pt x="10901" y="14808"/>
                    <a:pt x="10889" y="14822"/>
                    <a:pt x="10863" y="14824"/>
                  </a:cubicBezTo>
                  <a:cubicBezTo>
                    <a:pt x="10879" y="14775"/>
                    <a:pt x="10944" y="14806"/>
                    <a:pt x="10926" y="14820"/>
                  </a:cubicBezTo>
                  <a:cubicBezTo>
                    <a:pt x="10956" y="14821"/>
                    <a:pt x="10945" y="14842"/>
                    <a:pt x="10982" y="14840"/>
                  </a:cubicBezTo>
                  <a:cubicBezTo>
                    <a:pt x="11016" y="14837"/>
                    <a:pt x="11014" y="14801"/>
                    <a:pt x="11048" y="14821"/>
                  </a:cubicBezTo>
                  <a:cubicBezTo>
                    <a:pt x="11036" y="14832"/>
                    <a:pt x="11036" y="14849"/>
                    <a:pt x="11058" y="14834"/>
                  </a:cubicBezTo>
                  <a:cubicBezTo>
                    <a:pt x="11080" y="14820"/>
                    <a:pt x="11069" y="14815"/>
                    <a:pt x="11076" y="14799"/>
                  </a:cubicBezTo>
                  <a:cubicBezTo>
                    <a:pt x="11088" y="14775"/>
                    <a:pt x="11117" y="14735"/>
                    <a:pt x="11078" y="14717"/>
                  </a:cubicBezTo>
                  <a:cubicBezTo>
                    <a:pt x="11175" y="14708"/>
                    <a:pt x="11101" y="14680"/>
                    <a:pt x="11073" y="14653"/>
                  </a:cubicBezTo>
                  <a:cubicBezTo>
                    <a:pt x="11045" y="14626"/>
                    <a:pt x="11037" y="14585"/>
                    <a:pt x="10979" y="14572"/>
                  </a:cubicBezTo>
                  <a:cubicBezTo>
                    <a:pt x="11023" y="14553"/>
                    <a:pt x="11012" y="14585"/>
                    <a:pt x="11039" y="14589"/>
                  </a:cubicBezTo>
                  <a:cubicBezTo>
                    <a:pt x="11069" y="14593"/>
                    <a:pt x="11078" y="14564"/>
                    <a:pt x="11104" y="14580"/>
                  </a:cubicBezTo>
                  <a:cubicBezTo>
                    <a:pt x="11123" y="14593"/>
                    <a:pt x="11080" y="14608"/>
                    <a:pt x="11118" y="14616"/>
                  </a:cubicBezTo>
                  <a:cubicBezTo>
                    <a:pt x="11123" y="14617"/>
                    <a:pt x="11166" y="14598"/>
                    <a:pt x="11166" y="14595"/>
                  </a:cubicBezTo>
                  <a:cubicBezTo>
                    <a:pt x="11177" y="14561"/>
                    <a:pt x="11091" y="14563"/>
                    <a:pt x="11137" y="14540"/>
                  </a:cubicBezTo>
                  <a:cubicBezTo>
                    <a:pt x="11132" y="14536"/>
                    <a:pt x="11106" y="14523"/>
                    <a:pt x="11105" y="14521"/>
                  </a:cubicBezTo>
                  <a:cubicBezTo>
                    <a:pt x="11106" y="14523"/>
                    <a:pt x="11094" y="14486"/>
                    <a:pt x="11099" y="14488"/>
                  </a:cubicBezTo>
                  <a:cubicBezTo>
                    <a:pt x="11064" y="14472"/>
                    <a:pt x="11061" y="14512"/>
                    <a:pt x="11021" y="14481"/>
                  </a:cubicBezTo>
                  <a:cubicBezTo>
                    <a:pt x="11036" y="14475"/>
                    <a:pt x="11047" y="14466"/>
                    <a:pt x="11060" y="14456"/>
                  </a:cubicBezTo>
                  <a:cubicBezTo>
                    <a:pt x="11092" y="14456"/>
                    <a:pt x="11172" y="14451"/>
                    <a:pt x="11107" y="14424"/>
                  </a:cubicBezTo>
                  <a:cubicBezTo>
                    <a:pt x="11126" y="14420"/>
                    <a:pt x="11136" y="14409"/>
                    <a:pt x="11138" y="14394"/>
                  </a:cubicBezTo>
                  <a:cubicBezTo>
                    <a:pt x="11147" y="14402"/>
                    <a:pt x="11161" y="14428"/>
                    <a:pt x="11160" y="14442"/>
                  </a:cubicBezTo>
                  <a:cubicBezTo>
                    <a:pt x="11158" y="14455"/>
                    <a:pt x="11129" y="14470"/>
                    <a:pt x="11140" y="14483"/>
                  </a:cubicBezTo>
                  <a:cubicBezTo>
                    <a:pt x="11151" y="14497"/>
                    <a:pt x="11170" y="14513"/>
                    <a:pt x="11188" y="14520"/>
                  </a:cubicBezTo>
                  <a:cubicBezTo>
                    <a:pt x="11198" y="14524"/>
                    <a:pt x="11206" y="14509"/>
                    <a:pt x="11223" y="14516"/>
                  </a:cubicBezTo>
                  <a:cubicBezTo>
                    <a:pt x="11251" y="14527"/>
                    <a:pt x="11264" y="14558"/>
                    <a:pt x="11293" y="14571"/>
                  </a:cubicBezTo>
                  <a:cubicBezTo>
                    <a:pt x="11285" y="14560"/>
                    <a:pt x="11262" y="14549"/>
                    <a:pt x="11257" y="14538"/>
                  </a:cubicBezTo>
                  <a:cubicBezTo>
                    <a:pt x="11252" y="14527"/>
                    <a:pt x="11251" y="14475"/>
                    <a:pt x="11277" y="14499"/>
                  </a:cubicBezTo>
                  <a:cubicBezTo>
                    <a:pt x="11306" y="14527"/>
                    <a:pt x="11314" y="14497"/>
                    <a:pt x="11342" y="14520"/>
                  </a:cubicBezTo>
                  <a:cubicBezTo>
                    <a:pt x="11376" y="14549"/>
                    <a:pt x="11421" y="14551"/>
                    <a:pt x="11470" y="14545"/>
                  </a:cubicBezTo>
                  <a:cubicBezTo>
                    <a:pt x="11439" y="14543"/>
                    <a:pt x="11409" y="14505"/>
                    <a:pt x="11391" y="14486"/>
                  </a:cubicBezTo>
                  <a:cubicBezTo>
                    <a:pt x="11375" y="14470"/>
                    <a:pt x="11318" y="14402"/>
                    <a:pt x="11370" y="14435"/>
                  </a:cubicBezTo>
                  <a:cubicBezTo>
                    <a:pt x="11409" y="14459"/>
                    <a:pt x="11406" y="14488"/>
                    <a:pt x="11466" y="14501"/>
                  </a:cubicBezTo>
                  <a:cubicBezTo>
                    <a:pt x="11478" y="14504"/>
                    <a:pt x="11477" y="14513"/>
                    <a:pt x="11488" y="14515"/>
                  </a:cubicBezTo>
                  <a:cubicBezTo>
                    <a:pt x="11502" y="14517"/>
                    <a:pt x="11506" y="14500"/>
                    <a:pt x="11516" y="14501"/>
                  </a:cubicBezTo>
                  <a:cubicBezTo>
                    <a:pt x="11549" y="14505"/>
                    <a:pt x="11573" y="14531"/>
                    <a:pt x="11605" y="14501"/>
                  </a:cubicBezTo>
                  <a:cubicBezTo>
                    <a:pt x="11629" y="14460"/>
                    <a:pt x="11684" y="14419"/>
                    <a:pt x="11730" y="14388"/>
                  </a:cubicBezTo>
                  <a:cubicBezTo>
                    <a:pt x="11752" y="14373"/>
                    <a:pt x="11796" y="14356"/>
                    <a:pt x="11812" y="14338"/>
                  </a:cubicBezTo>
                  <a:cubicBezTo>
                    <a:pt x="11831" y="14317"/>
                    <a:pt x="11820" y="14324"/>
                    <a:pt x="11823" y="14309"/>
                  </a:cubicBezTo>
                  <a:cubicBezTo>
                    <a:pt x="11822" y="14315"/>
                    <a:pt x="11812" y="14291"/>
                    <a:pt x="11812" y="14284"/>
                  </a:cubicBezTo>
                  <a:cubicBezTo>
                    <a:pt x="11814" y="14265"/>
                    <a:pt x="11837" y="14246"/>
                    <a:pt x="11843" y="14227"/>
                  </a:cubicBezTo>
                  <a:cubicBezTo>
                    <a:pt x="11849" y="14205"/>
                    <a:pt x="11843" y="14189"/>
                    <a:pt x="11843" y="14167"/>
                  </a:cubicBezTo>
                  <a:cubicBezTo>
                    <a:pt x="11842" y="14147"/>
                    <a:pt x="11849" y="14128"/>
                    <a:pt x="11848" y="14107"/>
                  </a:cubicBezTo>
                  <a:cubicBezTo>
                    <a:pt x="11846" y="14090"/>
                    <a:pt x="11901" y="14069"/>
                    <a:pt x="11917" y="14052"/>
                  </a:cubicBezTo>
                  <a:cubicBezTo>
                    <a:pt x="11956" y="14012"/>
                    <a:pt x="11902" y="13964"/>
                    <a:pt x="11931" y="13926"/>
                  </a:cubicBezTo>
                  <a:cubicBezTo>
                    <a:pt x="11933" y="13933"/>
                    <a:pt x="11939" y="13940"/>
                    <a:pt x="11941" y="13946"/>
                  </a:cubicBezTo>
                  <a:cubicBezTo>
                    <a:pt x="11987" y="13905"/>
                    <a:pt x="11980" y="13891"/>
                    <a:pt x="11989" y="13843"/>
                  </a:cubicBezTo>
                  <a:cubicBezTo>
                    <a:pt x="11995" y="13812"/>
                    <a:pt x="12008" y="13788"/>
                    <a:pt x="12030" y="13762"/>
                  </a:cubicBezTo>
                  <a:cubicBezTo>
                    <a:pt x="12045" y="13745"/>
                    <a:pt x="12018" y="13739"/>
                    <a:pt x="12023" y="13727"/>
                  </a:cubicBezTo>
                  <a:cubicBezTo>
                    <a:pt x="12029" y="13710"/>
                    <a:pt x="12055" y="13700"/>
                    <a:pt x="12061" y="13682"/>
                  </a:cubicBezTo>
                  <a:cubicBezTo>
                    <a:pt x="12063" y="13672"/>
                    <a:pt x="12054" y="13631"/>
                    <a:pt x="12051" y="13619"/>
                  </a:cubicBezTo>
                  <a:cubicBezTo>
                    <a:pt x="12046" y="13598"/>
                    <a:pt x="11988" y="13574"/>
                    <a:pt x="11968" y="13569"/>
                  </a:cubicBezTo>
                  <a:cubicBezTo>
                    <a:pt x="11908" y="13556"/>
                    <a:pt x="11799" y="13561"/>
                    <a:pt x="11742" y="13571"/>
                  </a:cubicBezTo>
                  <a:cubicBezTo>
                    <a:pt x="11727" y="13573"/>
                    <a:pt x="11740" y="13586"/>
                    <a:pt x="11733" y="13588"/>
                  </a:cubicBezTo>
                  <a:cubicBezTo>
                    <a:pt x="11723" y="13590"/>
                    <a:pt x="11713" y="13585"/>
                    <a:pt x="11706" y="13586"/>
                  </a:cubicBezTo>
                  <a:cubicBezTo>
                    <a:pt x="11688" y="13590"/>
                    <a:pt x="11666" y="13586"/>
                    <a:pt x="11647" y="13590"/>
                  </a:cubicBezTo>
                  <a:cubicBezTo>
                    <a:pt x="11629" y="13594"/>
                    <a:pt x="11622" y="13605"/>
                    <a:pt x="11607" y="13608"/>
                  </a:cubicBezTo>
                  <a:cubicBezTo>
                    <a:pt x="11599" y="13610"/>
                    <a:pt x="11566" y="13607"/>
                    <a:pt x="11551" y="13609"/>
                  </a:cubicBezTo>
                  <a:cubicBezTo>
                    <a:pt x="11486" y="13616"/>
                    <a:pt x="11421" y="13614"/>
                    <a:pt x="11362" y="13616"/>
                  </a:cubicBezTo>
                  <a:cubicBezTo>
                    <a:pt x="11324" y="13618"/>
                    <a:pt x="11301" y="13609"/>
                    <a:pt x="11269" y="13606"/>
                  </a:cubicBezTo>
                  <a:cubicBezTo>
                    <a:pt x="11253" y="13605"/>
                    <a:pt x="11250" y="13623"/>
                    <a:pt x="11230" y="13616"/>
                  </a:cubicBezTo>
                  <a:cubicBezTo>
                    <a:pt x="11221" y="13613"/>
                    <a:pt x="11206" y="13593"/>
                    <a:pt x="11200" y="13587"/>
                  </a:cubicBezTo>
                  <a:cubicBezTo>
                    <a:pt x="11170" y="13554"/>
                    <a:pt x="11145" y="13556"/>
                    <a:pt x="11106" y="13533"/>
                  </a:cubicBezTo>
                  <a:cubicBezTo>
                    <a:pt x="11080" y="13518"/>
                    <a:pt x="11068" y="13492"/>
                    <a:pt x="11051" y="13471"/>
                  </a:cubicBezTo>
                  <a:cubicBezTo>
                    <a:pt x="11035" y="13451"/>
                    <a:pt x="11019" y="13456"/>
                    <a:pt x="10997" y="13443"/>
                  </a:cubicBezTo>
                  <a:cubicBezTo>
                    <a:pt x="10936" y="13408"/>
                    <a:pt x="10888" y="13367"/>
                    <a:pt x="10810" y="13349"/>
                  </a:cubicBezTo>
                  <a:cubicBezTo>
                    <a:pt x="10703" y="13333"/>
                    <a:pt x="10601" y="13317"/>
                    <a:pt x="10492" y="13315"/>
                  </a:cubicBezTo>
                  <a:cubicBezTo>
                    <a:pt x="10474" y="13315"/>
                    <a:pt x="10391" y="13306"/>
                    <a:pt x="10382" y="13321"/>
                  </a:cubicBezTo>
                  <a:cubicBezTo>
                    <a:pt x="10375" y="13332"/>
                    <a:pt x="10404" y="13346"/>
                    <a:pt x="10409" y="13355"/>
                  </a:cubicBezTo>
                  <a:cubicBezTo>
                    <a:pt x="10431" y="13401"/>
                    <a:pt x="10416" y="13383"/>
                    <a:pt x="10364" y="13365"/>
                  </a:cubicBezTo>
                  <a:cubicBezTo>
                    <a:pt x="10319" y="13350"/>
                    <a:pt x="10281" y="13341"/>
                    <a:pt x="10246" y="13313"/>
                  </a:cubicBezTo>
                  <a:cubicBezTo>
                    <a:pt x="10290" y="13302"/>
                    <a:pt x="10292" y="13302"/>
                    <a:pt x="10335" y="13301"/>
                  </a:cubicBezTo>
                  <a:cubicBezTo>
                    <a:pt x="10366" y="13301"/>
                    <a:pt x="10391" y="13300"/>
                    <a:pt x="10423" y="13302"/>
                  </a:cubicBezTo>
                  <a:cubicBezTo>
                    <a:pt x="10482" y="13307"/>
                    <a:pt x="10540" y="13314"/>
                    <a:pt x="10601" y="13305"/>
                  </a:cubicBezTo>
                  <a:cubicBezTo>
                    <a:pt x="10629" y="13300"/>
                    <a:pt x="10659" y="13284"/>
                    <a:pt x="10685" y="13281"/>
                  </a:cubicBezTo>
                  <a:cubicBezTo>
                    <a:pt x="10761" y="13274"/>
                    <a:pt x="10664" y="13296"/>
                    <a:pt x="10659" y="13299"/>
                  </a:cubicBezTo>
                  <a:cubicBezTo>
                    <a:pt x="10604" y="13341"/>
                    <a:pt x="10786" y="13291"/>
                    <a:pt x="10798" y="13297"/>
                  </a:cubicBezTo>
                  <a:cubicBezTo>
                    <a:pt x="10835" y="13304"/>
                    <a:pt x="10932" y="13334"/>
                    <a:pt x="10888" y="13283"/>
                  </a:cubicBezTo>
                  <a:cubicBezTo>
                    <a:pt x="10872" y="13264"/>
                    <a:pt x="10821" y="13254"/>
                    <a:pt x="10795" y="13249"/>
                  </a:cubicBezTo>
                  <a:cubicBezTo>
                    <a:pt x="10885" y="13226"/>
                    <a:pt x="10963" y="13262"/>
                    <a:pt x="11035" y="13288"/>
                  </a:cubicBezTo>
                  <a:cubicBezTo>
                    <a:pt x="11071" y="13301"/>
                    <a:pt x="11106" y="13323"/>
                    <a:pt x="11135" y="13341"/>
                  </a:cubicBezTo>
                  <a:cubicBezTo>
                    <a:pt x="11213" y="13391"/>
                    <a:pt x="11329" y="13369"/>
                    <a:pt x="11421" y="13386"/>
                  </a:cubicBezTo>
                  <a:cubicBezTo>
                    <a:pt x="11393" y="13392"/>
                    <a:pt x="11328" y="13395"/>
                    <a:pt x="11297" y="13392"/>
                  </a:cubicBezTo>
                  <a:cubicBezTo>
                    <a:pt x="11345" y="13415"/>
                    <a:pt x="11396" y="13429"/>
                    <a:pt x="11443" y="13454"/>
                  </a:cubicBezTo>
                  <a:cubicBezTo>
                    <a:pt x="11482" y="13477"/>
                    <a:pt x="11510" y="13506"/>
                    <a:pt x="11554" y="13525"/>
                  </a:cubicBezTo>
                  <a:cubicBezTo>
                    <a:pt x="11641" y="13562"/>
                    <a:pt x="11726" y="13557"/>
                    <a:pt x="11822" y="13537"/>
                  </a:cubicBezTo>
                  <a:cubicBezTo>
                    <a:pt x="11867" y="13527"/>
                    <a:pt x="11900" y="13505"/>
                    <a:pt x="11929" y="13477"/>
                  </a:cubicBezTo>
                  <a:cubicBezTo>
                    <a:pt x="11936" y="13470"/>
                    <a:pt x="11954" y="13467"/>
                    <a:pt x="11957" y="13457"/>
                  </a:cubicBezTo>
                  <a:cubicBezTo>
                    <a:pt x="11960" y="13447"/>
                    <a:pt x="11941" y="13443"/>
                    <a:pt x="11941" y="13442"/>
                  </a:cubicBezTo>
                  <a:cubicBezTo>
                    <a:pt x="11941" y="13442"/>
                    <a:pt x="11934" y="13426"/>
                    <a:pt x="11934" y="13422"/>
                  </a:cubicBezTo>
                  <a:cubicBezTo>
                    <a:pt x="11935" y="13414"/>
                    <a:pt x="11956" y="13407"/>
                    <a:pt x="11960" y="13399"/>
                  </a:cubicBezTo>
                  <a:cubicBezTo>
                    <a:pt x="11965" y="13389"/>
                    <a:pt x="11962" y="13367"/>
                    <a:pt x="11967" y="13363"/>
                  </a:cubicBezTo>
                  <a:cubicBezTo>
                    <a:pt x="11980" y="13349"/>
                    <a:pt x="12008" y="13343"/>
                    <a:pt x="12023" y="13329"/>
                  </a:cubicBezTo>
                  <a:cubicBezTo>
                    <a:pt x="12033" y="13319"/>
                    <a:pt x="12038" y="13300"/>
                    <a:pt x="12047" y="13289"/>
                  </a:cubicBezTo>
                  <a:cubicBezTo>
                    <a:pt x="12061" y="13273"/>
                    <a:pt x="12082" y="13262"/>
                    <a:pt x="12096" y="13246"/>
                  </a:cubicBezTo>
                  <a:cubicBezTo>
                    <a:pt x="12121" y="13218"/>
                    <a:pt x="12107" y="13185"/>
                    <a:pt x="12100" y="13159"/>
                  </a:cubicBezTo>
                  <a:cubicBezTo>
                    <a:pt x="12090" y="13122"/>
                    <a:pt x="12104" y="13106"/>
                    <a:pt x="12135" y="13071"/>
                  </a:cubicBezTo>
                  <a:cubicBezTo>
                    <a:pt x="12158" y="13045"/>
                    <a:pt x="12185" y="13022"/>
                    <a:pt x="12208" y="12996"/>
                  </a:cubicBezTo>
                  <a:cubicBezTo>
                    <a:pt x="12217" y="12985"/>
                    <a:pt x="12231" y="12978"/>
                    <a:pt x="12231" y="12965"/>
                  </a:cubicBezTo>
                  <a:cubicBezTo>
                    <a:pt x="12232" y="12951"/>
                    <a:pt x="12207" y="12937"/>
                    <a:pt x="12207" y="12929"/>
                  </a:cubicBezTo>
                  <a:close/>
                  <a:moveTo>
                    <a:pt x="12665" y="12971"/>
                  </a:moveTo>
                  <a:cubicBezTo>
                    <a:pt x="12640" y="12958"/>
                    <a:pt x="12653" y="12935"/>
                    <a:pt x="12623" y="12921"/>
                  </a:cubicBezTo>
                  <a:cubicBezTo>
                    <a:pt x="12577" y="12934"/>
                    <a:pt x="12508" y="12897"/>
                    <a:pt x="12538" y="12973"/>
                  </a:cubicBezTo>
                  <a:cubicBezTo>
                    <a:pt x="12558" y="13025"/>
                    <a:pt x="12587" y="13099"/>
                    <a:pt x="12655" y="13125"/>
                  </a:cubicBezTo>
                  <a:cubicBezTo>
                    <a:pt x="12708" y="13145"/>
                    <a:pt x="12700" y="13149"/>
                    <a:pt x="12732" y="13183"/>
                  </a:cubicBezTo>
                  <a:cubicBezTo>
                    <a:pt x="12767" y="13220"/>
                    <a:pt x="12797" y="13217"/>
                    <a:pt x="12814" y="13173"/>
                  </a:cubicBezTo>
                  <a:cubicBezTo>
                    <a:pt x="12834" y="13119"/>
                    <a:pt x="12784" y="13090"/>
                    <a:pt x="12747" y="13045"/>
                  </a:cubicBezTo>
                  <a:cubicBezTo>
                    <a:pt x="12722" y="13015"/>
                    <a:pt x="12704" y="12992"/>
                    <a:pt x="12665" y="12971"/>
                  </a:cubicBezTo>
                  <a:close/>
                  <a:moveTo>
                    <a:pt x="4237" y="12402"/>
                  </a:moveTo>
                  <a:cubicBezTo>
                    <a:pt x="4257" y="12388"/>
                    <a:pt x="4221" y="12366"/>
                    <a:pt x="4265" y="12359"/>
                  </a:cubicBezTo>
                  <a:cubicBezTo>
                    <a:pt x="4268" y="12362"/>
                    <a:pt x="4277" y="12371"/>
                    <a:pt x="4278" y="12372"/>
                  </a:cubicBezTo>
                  <a:cubicBezTo>
                    <a:pt x="4284" y="12347"/>
                    <a:pt x="4275" y="12320"/>
                    <a:pt x="4271" y="12294"/>
                  </a:cubicBezTo>
                  <a:cubicBezTo>
                    <a:pt x="4255" y="12264"/>
                    <a:pt x="4232" y="12270"/>
                    <a:pt x="4219" y="12295"/>
                  </a:cubicBezTo>
                  <a:cubicBezTo>
                    <a:pt x="4212" y="12307"/>
                    <a:pt x="4220" y="12323"/>
                    <a:pt x="4219" y="12336"/>
                  </a:cubicBezTo>
                  <a:cubicBezTo>
                    <a:pt x="4218" y="12342"/>
                    <a:pt x="4231" y="12346"/>
                    <a:pt x="4230" y="12352"/>
                  </a:cubicBezTo>
                  <a:cubicBezTo>
                    <a:pt x="4230" y="12358"/>
                    <a:pt x="4213" y="12355"/>
                    <a:pt x="4213" y="12357"/>
                  </a:cubicBezTo>
                  <a:cubicBezTo>
                    <a:pt x="4212" y="12372"/>
                    <a:pt x="4201" y="12427"/>
                    <a:pt x="4237" y="12402"/>
                  </a:cubicBezTo>
                  <a:close/>
                  <a:moveTo>
                    <a:pt x="15538" y="10697"/>
                  </a:moveTo>
                  <a:cubicBezTo>
                    <a:pt x="15492" y="10723"/>
                    <a:pt x="15478" y="10738"/>
                    <a:pt x="15511" y="10781"/>
                  </a:cubicBezTo>
                  <a:cubicBezTo>
                    <a:pt x="15546" y="10825"/>
                    <a:pt x="15625" y="10877"/>
                    <a:pt x="15696" y="10874"/>
                  </a:cubicBezTo>
                  <a:cubicBezTo>
                    <a:pt x="15739" y="10872"/>
                    <a:pt x="15755" y="10853"/>
                    <a:pt x="15790" y="10838"/>
                  </a:cubicBezTo>
                  <a:cubicBezTo>
                    <a:pt x="15828" y="10821"/>
                    <a:pt x="15867" y="10821"/>
                    <a:pt x="15908" y="10813"/>
                  </a:cubicBezTo>
                  <a:cubicBezTo>
                    <a:pt x="15927" y="10809"/>
                    <a:pt x="16004" y="10795"/>
                    <a:pt x="16015" y="10784"/>
                  </a:cubicBezTo>
                  <a:cubicBezTo>
                    <a:pt x="16047" y="10755"/>
                    <a:pt x="16002" y="10722"/>
                    <a:pt x="15982" y="10702"/>
                  </a:cubicBezTo>
                  <a:cubicBezTo>
                    <a:pt x="15960" y="10678"/>
                    <a:pt x="15911" y="10600"/>
                    <a:pt x="15858" y="10650"/>
                  </a:cubicBezTo>
                  <a:cubicBezTo>
                    <a:pt x="15816" y="10688"/>
                    <a:pt x="15710" y="10682"/>
                    <a:pt x="15650" y="10676"/>
                  </a:cubicBezTo>
                  <a:cubicBezTo>
                    <a:pt x="15621" y="10673"/>
                    <a:pt x="15649" y="10651"/>
                    <a:pt x="15640" y="10643"/>
                  </a:cubicBezTo>
                  <a:cubicBezTo>
                    <a:pt x="15624" y="10628"/>
                    <a:pt x="15602" y="10618"/>
                    <a:pt x="15578" y="10615"/>
                  </a:cubicBezTo>
                  <a:cubicBezTo>
                    <a:pt x="15585" y="10660"/>
                    <a:pt x="15587" y="10670"/>
                    <a:pt x="15538" y="10697"/>
                  </a:cubicBezTo>
                  <a:close/>
                  <a:moveTo>
                    <a:pt x="8219" y="11121"/>
                  </a:moveTo>
                  <a:cubicBezTo>
                    <a:pt x="8184" y="11099"/>
                    <a:pt x="8142" y="11081"/>
                    <a:pt x="8106" y="11062"/>
                  </a:cubicBezTo>
                  <a:cubicBezTo>
                    <a:pt x="8027" y="11019"/>
                    <a:pt x="7966" y="10967"/>
                    <a:pt x="7902" y="10912"/>
                  </a:cubicBezTo>
                  <a:cubicBezTo>
                    <a:pt x="7836" y="10854"/>
                    <a:pt x="7882" y="10956"/>
                    <a:pt x="7849" y="10961"/>
                  </a:cubicBezTo>
                  <a:cubicBezTo>
                    <a:pt x="7842" y="10962"/>
                    <a:pt x="7823" y="10935"/>
                    <a:pt x="7821" y="10930"/>
                  </a:cubicBezTo>
                  <a:cubicBezTo>
                    <a:pt x="7814" y="10903"/>
                    <a:pt x="7838" y="10911"/>
                    <a:pt x="7840" y="10901"/>
                  </a:cubicBezTo>
                  <a:cubicBezTo>
                    <a:pt x="7847" y="10852"/>
                    <a:pt x="7780" y="10835"/>
                    <a:pt x="7737" y="10808"/>
                  </a:cubicBezTo>
                  <a:cubicBezTo>
                    <a:pt x="7708" y="10790"/>
                    <a:pt x="7662" y="10752"/>
                    <a:pt x="7623" y="10780"/>
                  </a:cubicBezTo>
                  <a:cubicBezTo>
                    <a:pt x="7613" y="10787"/>
                    <a:pt x="7602" y="10817"/>
                    <a:pt x="7594" y="10826"/>
                  </a:cubicBezTo>
                  <a:cubicBezTo>
                    <a:pt x="7580" y="10842"/>
                    <a:pt x="7560" y="10847"/>
                    <a:pt x="7550" y="10872"/>
                  </a:cubicBezTo>
                  <a:cubicBezTo>
                    <a:pt x="7542" y="10893"/>
                    <a:pt x="7545" y="10910"/>
                    <a:pt x="7542" y="10931"/>
                  </a:cubicBezTo>
                  <a:cubicBezTo>
                    <a:pt x="7538" y="10963"/>
                    <a:pt x="7541" y="10963"/>
                    <a:pt x="7555" y="10984"/>
                  </a:cubicBezTo>
                  <a:cubicBezTo>
                    <a:pt x="7563" y="10996"/>
                    <a:pt x="7582" y="11019"/>
                    <a:pt x="7594" y="11031"/>
                  </a:cubicBezTo>
                  <a:cubicBezTo>
                    <a:pt x="7604" y="11043"/>
                    <a:pt x="7647" y="11061"/>
                    <a:pt x="7651" y="11073"/>
                  </a:cubicBezTo>
                  <a:cubicBezTo>
                    <a:pt x="7666" y="11120"/>
                    <a:pt x="7575" y="11046"/>
                    <a:pt x="7556" y="11033"/>
                  </a:cubicBezTo>
                  <a:cubicBezTo>
                    <a:pt x="7530" y="11014"/>
                    <a:pt x="7477" y="10972"/>
                    <a:pt x="7461" y="11011"/>
                  </a:cubicBezTo>
                  <a:cubicBezTo>
                    <a:pt x="7452" y="11035"/>
                    <a:pt x="7474" y="11049"/>
                    <a:pt x="7501" y="11056"/>
                  </a:cubicBezTo>
                  <a:cubicBezTo>
                    <a:pt x="7432" y="11064"/>
                    <a:pt x="7473" y="11105"/>
                    <a:pt x="7497" y="11126"/>
                  </a:cubicBezTo>
                  <a:cubicBezTo>
                    <a:pt x="7528" y="11156"/>
                    <a:pt x="7561" y="11170"/>
                    <a:pt x="7503" y="11188"/>
                  </a:cubicBezTo>
                  <a:cubicBezTo>
                    <a:pt x="7483" y="11194"/>
                    <a:pt x="7459" y="11188"/>
                    <a:pt x="7447" y="11199"/>
                  </a:cubicBezTo>
                  <a:cubicBezTo>
                    <a:pt x="7427" y="11216"/>
                    <a:pt x="7449" y="11233"/>
                    <a:pt x="7440" y="11248"/>
                  </a:cubicBezTo>
                  <a:cubicBezTo>
                    <a:pt x="7429" y="11269"/>
                    <a:pt x="7340" y="11305"/>
                    <a:pt x="7306" y="11306"/>
                  </a:cubicBezTo>
                  <a:cubicBezTo>
                    <a:pt x="7237" y="11308"/>
                    <a:pt x="7207" y="11290"/>
                    <a:pt x="7174" y="11344"/>
                  </a:cubicBezTo>
                  <a:cubicBezTo>
                    <a:pt x="7152" y="11380"/>
                    <a:pt x="7160" y="11389"/>
                    <a:pt x="7178" y="11419"/>
                  </a:cubicBezTo>
                  <a:cubicBezTo>
                    <a:pt x="7185" y="11430"/>
                    <a:pt x="7197" y="11447"/>
                    <a:pt x="7204" y="11457"/>
                  </a:cubicBezTo>
                  <a:cubicBezTo>
                    <a:pt x="7222" y="11483"/>
                    <a:pt x="7215" y="11476"/>
                    <a:pt x="7246" y="11495"/>
                  </a:cubicBezTo>
                  <a:cubicBezTo>
                    <a:pt x="7250" y="11497"/>
                    <a:pt x="7290" y="11524"/>
                    <a:pt x="7291" y="11524"/>
                  </a:cubicBezTo>
                  <a:cubicBezTo>
                    <a:pt x="7298" y="11524"/>
                    <a:pt x="7338" y="11499"/>
                    <a:pt x="7340" y="11494"/>
                  </a:cubicBezTo>
                  <a:cubicBezTo>
                    <a:pt x="7341" y="11488"/>
                    <a:pt x="7318" y="11464"/>
                    <a:pt x="7316" y="11459"/>
                  </a:cubicBezTo>
                  <a:cubicBezTo>
                    <a:pt x="7369" y="11485"/>
                    <a:pt x="7340" y="11411"/>
                    <a:pt x="7397" y="11445"/>
                  </a:cubicBezTo>
                  <a:cubicBezTo>
                    <a:pt x="7433" y="11467"/>
                    <a:pt x="7382" y="11495"/>
                    <a:pt x="7420" y="11525"/>
                  </a:cubicBezTo>
                  <a:cubicBezTo>
                    <a:pt x="7436" y="11539"/>
                    <a:pt x="7455" y="11537"/>
                    <a:pt x="7469" y="11543"/>
                  </a:cubicBezTo>
                  <a:cubicBezTo>
                    <a:pt x="7470" y="11543"/>
                    <a:pt x="7488" y="11541"/>
                    <a:pt x="7496" y="11544"/>
                  </a:cubicBezTo>
                  <a:cubicBezTo>
                    <a:pt x="7505" y="11547"/>
                    <a:pt x="7505" y="11564"/>
                    <a:pt x="7511" y="11565"/>
                  </a:cubicBezTo>
                  <a:cubicBezTo>
                    <a:pt x="7588" y="11581"/>
                    <a:pt x="7534" y="11535"/>
                    <a:pt x="7550" y="11509"/>
                  </a:cubicBezTo>
                  <a:cubicBezTo>
                    <a:pt x="7570" y="11474"/>
                    <a:pt x="7614" y="11519"/>
                    <a:pt x="7602" y="11550"/>
                  </a:cubicBezTo>
                  <a:cubicBezTo>
                    <a:pt x="7593" y="11572"/>
                    <a:pt x="7638" y="11615"/>
                    <a:pt x="7663" y="11620"/>
                  </a:cubicBezTo>
                  <a:cubicBezTo>
                    <a:pt x="7663" y="11620"/>
                    <a:pt x="7688" y="11606"/>
                    <a:pt x="7703" y="11607"/>
                  </a:cubicBezTo>
                  <a:cubicBezTo>
                    <a:pt x="7722" y="11609"/>
                    <a:pt x="7750" y="11624"/>
                    <a:pt x="7764" y="11631"/>
                  </a:cubicBezTo>
                  <a:cubicBezTo>
                    <a:pt x="7787" y="11642"/>
                    <a:pt x="7816" y="11667"/>
                    <a:pt x="7845" y="11684"/>
                  </a:cubicBezTo>
                  <a:cubicBezTo>
                    <a:pt x="7880" y="11704"/>
                    <a:pt x="7881" y="11691"/>
                    <a:pt x="7911" y="11695"/>
                  </a:cubicBezTo>
                  <a:cubicBezTo>
                    <a:pt x="7927" y="11697"/>
                    <a:pt x="7960" y="11719"/>
                    <a:pt x="7978" y="11716"/>
                  </a:cubicBezTo>
                  <a:cubicBezTo>
                    <a:pt x="8037" y="11705"/>
                    <a:pt x="7980" y="11678"/>
                    <a:pt x="7994" y="11668"/>
                  </a:cubicBezTo>
                  <a:cubicBezTo>
                    <a:pt x="8011" y="11656"/>
                    <a:pt x="8025" y="11684"/>
                    <a:pt x="8043" y="11694"/>
                  </a:cubicBezTo>
                  <a:cubicBezTo>
                    <a:pt x="8128" y="11744"/>
                    <a:pt x="8255" y="11775"/>
                    <a:pt x="8307" y="11691"/>
                  </a:cubicBezTo>
                  <a:cubicBezTo>
                    <a:pt x="8326" y="11670"/>
                    <a:pt x="8355" y="11611"/>
                    <a:pt x="8397" y="11618"/>
                  </a:cubicBezTo>
                  <a:cubicBezTo>
                    <a:pt x="8429" y="11624"/>
                    <a:pt x="8423" y="11591"/>
                    <a:pt x="8429" y="11570"/>
                  </a:cubicBezTo>
                  <a:cubicBezTo>
                    <a:pt x="8438" y="11532"/>
                    <a:pt x="8437" y="11542"/>
                    <a:pt x="8481" y="11522"/>
                  </a:cubicBezTo>
                  <a:cubicBezTo>
                    <a:pt x="8518" y="11506"/>
                    <a:pt x="8520" y="11551"/>
                    <a:pt x="8523" y="11567"/>
                  </a:cubicBezTo>
                  <a:cubicBezTo>
                    <a:pt x="8543" y="11547"/>
                    <a:pt x="8679" y="11380"/>
                    <a:pt x="8550" y="11416"/>
                  </a:cubicBezTo>
                  <a:cubicBezTo>
                    <a:pt x="8529" y="11422"/>
                    <a:pt x="8527" y="11446"/>
                    <a:pt x="8512" y="11454"/>
                  </a:cubicBezTo>
                  <a:cubicBezTo>
                    <a:pt x="8478" y="11471"/>
                    <a:pt x="8489" y="11461"/>
                    <a:pt x="8465" y="11451"/>
                  </a:cubicBezTo>
                  <a:cubicBezTo>
                    <a:pt x="8459" y="11448"/>
                    <a:pt x="8438" y="11431"/>
                    <a:pt x="8428" y="11426"/>
                  </a:cubicBezTo>
                  <a:cubicBezTo>
                    <a:pt x="8420" y="11422"/>
                    <a:pt x="8405" y="11453"/>
                    <a:pt x="8401" y="11413"/>
                  </a:cubicBezTo>
                  <a:cubicBezTo>
                    <a:pt x="8397" y="11376"/>
                    <a:pt x="8374" y="11370"/>
                    <a:pt x="8359" y="11341"/>
                  </a:cubicBezTo>
                  <a:cubicBezTo>
                    <a:pt x="8342" y="11308"/>
                    <a:pt x="8354" y="11277"/>
                    <a:pt x="8336" y="11243"/>
                  </a:cubicBezTo>
                  <a:cubicBezTo>
                    <a:pt x="8264" y="11108"/>
                    <a:pt x="8296" y="11339"/>
                    <a:pt x="8296" y="11338"/>
                  </a:cubicBezTo>
                  <a:cubicBezTo>
                    <a:pt x="8259" y="11351"/>
                    <a:pt x="8262" y="11262"/>
                    <a:pt x="8248" y="11252"/>
                  </a:cubicBezTo>
                  <a:cubicBezTo>
                    <a:pt x="8261" y="11196"/>
                    <a:pt x="8279" y="11160"/>
                    <a:pt x="8219" y="11121"/>
                  </a:cubicBezTo>
                  <a:close/>
                  <a:moveTo>
                    <a:pt x="13217" y="13050"/>
                  </a:moveTo>
                  <a:cubicBezTo>
                    <a:pt x="13251" y="13054"/>
                    <a:pt x="13263" y="13082"/>
                    <a:pt x="13291" y="13051"/>
                  </a:cubicBezTo>
                  <a:cubicBezTo>
                    <a:pt x="13341" y="12994"/>
                    <a:pt x="13225" y="12976"/>
                    <a:pt x="13190" y="13015"/>
                  </a:cubicBezTo>
                  <a:cubicBezTo>
                    <a:pt x="13163" y="12975"/>
                    <a:pt x="13084" y="12991"/>
                    <a:pt x="13076" y="12956"/>
                  </a:cubicBezTo>
                  <a:cubicBezTo>
                    <a:pt x="13074" y="12945"/>
                    <a:pt x="13097" y="12928"/>
                    <a:pt x="13089" y="12909"/>
                  </a:cubicBezTo>
                  <a:cubicBezTo>
                    <a:pt x="13076" y="12880"/>
                    <a:pt x="13008" y="12861"/>
                    <a:pt x="12976" y="12847"/>
                  </a:cubicBezTo>
                  <a:cubicBezTo>
                    <a:pt x="12942" y="12846"/>
                    <a:pt x="12951" y="12824"/>
                    <a:pt x="12937" y="12820"/>
                  </a:cubicBezTo>
                  <a:cubicBezTo>
                    <a:pt x="12939" y="12820"/>
                    <a:pt x="12911" y="12812"/>
                    <a:pt x="12918" y="12814"/>
                  </a:cubicBezTo>
                  <a:cubicBezTo>
                    <a:pt x="12934" y="12819"/>
                    <a:pt x="12879" y="12815"/>
                    <a:pt x="12879" y="12815"/>
                  </a:cubicBezTo>
                  <a:cubicBezTo>
                    <a:pt x="12860" y="12815"/>
                    <a:pt x="12846" y="12813"/>
                    <a:pt x="12827" y="12809"/>
                  </a:cubicBezTo>
                  <a:cubicBezTo>
                    <a:pt x="12779" y="12801"/>
                    <a:pt x="12735" y="12784"/>
                    <a:pt x="12764" y="12838"/>
                  </a:cubicBezTo>
                  <a:cubicBezTo>
                    <a:pt x="12777" y="12863"/>
                    <a:pt x="12800" y="12879"/>
                    <a:pt x="12831" y="12887"/>
                  </a:cubicBezTo>
                  <a:cubicBezTo>
                    <a:pt x="12885" y="12901"/>
                    <a:pt x="12899" y="12901"/>
                    <a:pt x="12930" y="12940"/>
                  </a:cubicBezTo>
                  <a:cubicBezTo>
                    <a:pt x="12944" y="12958"/>
                    <a:pt x="12941" y="13003"/>
                    <a:pt x="12952" y="13015"/>
                  </a:cubicBezTo>
                  <a:cubicBezTo>
                    <a:pt x="12961" y="13024"/>
                    <a:pt x="13008" y="13036"/>
                    <a:pt x="13028" y="13026"/>
                  </a:cubicBezTo>
                  <a:cubicBezTo>
                    <a:pt x="13035" y="13023"/>
                    <a:pt x="13099" y="12951"/>
                    <a:pt x="13072" y="13011"/>
                  </a:cubicBezTo>
                  <a:cubicBezTo>
                    <a:pt x="13075" y="13009"/>
                    <a:pt x="13105" y="12991"/>
                    <a:pt x="13109" y="12999"/>
                  </a:cubicBezTo>
                  <a:cubicBezTo>
                    <a:pt x="13117" y="13013"/>
                    <a:pt x="13104" y="13003"/>
                    <a:pt x="13105" y="13017"/>
                  </a:cubicBezTo>
                  <a:cubicBezTo>
                    <a:pt x="13105" y="13024"/>
                    <a:pt x="13077" y="13058"/>
                    <a:pt x="13081" y="13065"/>
                  </a:cubicBezTo>
                  <a:cubicBezTo>
                    <a:pt x="13091" y="13083"/>
                    <a:pt x="13113" y="13073"/>
                    <a:pt x="13133" y="13064"/>
                  </a:cubicBezTo>
                  <a:cubicBezTo>
                    <a:pt x="13141" y="13061"/>
                    <a:pt x="13167" y="13079"/>
                    <a:pt x="13163" y="13061"/>
                  </a:cubicBezTo>
                  <a:cubicBezTo>
                    <a:pt x="13161" y="13044"/>
                    <a:pt x="13158" y="13040"/>
                    <a:pt x="13166" y="13028"/>
                  </a:cubicBezTo>
                  <a:cubicBezTo>
                    <a:pt x="13146" y="13070"/>
                    <a:pt x="13190" y="13047"/>
                    <a:pt x="13217" y="13050"/>
                  </a:cubicBezTo>
                  <a:close/>
                  <a:moveTo>
                    <a:pt x="13110" y="10120"/>
                  </a:moveTo>
                  <a:cubicBezTo>
                    <a:pt x="13087" y="10129"/>
                    <a:pt x="13080" y="10171"/>
                    <a:pt x="13114" y="10178"/>
                  </a:cubicBezTo>
                  <a:cubicBezTo>
                    <a:pt x="13148" y="10185"/>
                    <a:pt x="13175" y="10159"/>
                    <a:pt x="13214" y="10172"/>
                  </a:cubicBezTo>
                  <a:cubicBezTo>
                    <a:pt x="13242" y="10180"/>
                    <a:pt x="13260" y="10197"/>
                    <a:pt x="13271" y="10220"/>
                  </a:cubicBezTo>
                  <a:cubicBezTo>
                    <a:pt x="13276" y="10206"/>
                    <a:pt x="13275" y="10183"/>
                    <a:pt x="13287" y="10168"/>
                  </a:cubicBezTo>
                  <a:cubicBezTo>
                    <a:pt x="13300" y="10184"/>
                    <a:pt x="13291" y="10215"/>
                    <a:pt x="13308" y="10228"/>
                  </a:cubicBezTo>
                  <a:cubicBezTo>
                    <a:pt x="13315" y="10233"/>
                    <a:pt x="13373" y="10237"/>
                    <a:pt x="13388" y="10241"/>
                  </a:cubicBezTo>
                  <a:cubicBezTo>
                    <a:pt x="13422" y="10201"/>
                    <a:pt x="13364" y="10196"/>
                    <a:pt x="13346" y="10169"/>
                  </a:cubicBezTo>
                  <a:cubicBezTo>
                    <a:pt x="13314" y="10119"/>
                    <a:pt x="13354" y="10158"/>
                    <a:pt x="13374" y="10157"/>
                  </a:cubicBezTo>
                  <a:cubicBezTo>
                    <a:pt x="13456" y="10150"/>
                    <a:pt x="13583" y="10052"/>
                    <a:pt x="13492" y="10008"/>
                  </a:cubicBezTo>
                  <a:cubicBezTo>
                    <a:pt x="13463" y="9994"/>
                    <a:pt x="13450" y="9992"/>
                    <a:pt x="13424" y="10000"/>
                  </a:cubicBezTo>
                  <a:cubicBezTo>
                    <a:pt x="13378" y="10015"/>
                    <a:pt x="13410" y="10016"/>
                    <a:pt x="13390" y="10045"/>
                  </a:cubicBezTo>
                  <a:cubicBezTo>
                    <a:pt x="13390" y="10045"/>
                    <a:pt x="13341" y="10080"/>
                    <a:pt x="13334" y="10083"/>
                  </a:cubicBezTo>
                  <a:cubicBezTo>
                    <a:pt x="13314" y="10090"/>
                    <a:pt x="13291" y="10061"/>
                    <a:pt x="13280" y="10093"/>
                  </a:cubicBezTo>
                  <a:cubicBezTo>
                    <a:pt x="13288" y="10005"/>
                    <a:pt x="13059" y="10093"/>
                    <a:pt x="13214" y="10124"/>
                  </a:cubicBezTo>
                  <a:cubicBezTo>
                    <a:pt x="13188" y="10127"/>
                    <a:pt x="13133" y="10111"/>
                    <a:pt x="13110" y="10120"/>
                  </a:cubicBezTo>
                  <a:close/>
                  <a:moveTo>
                    <a:pt x="11594" y="11498"/>
                  </a:moveTo>
                  <a:cubicBezTo>
                    <a:pt x="11535" y="11468"/>
                    <a:pt x="11526" y="11479"/>
                    <a:pt x="11505" y="11524"/>
                  </a:cubicBezTo>
                  <a:cubicBezTo>
                    <a:pt x="11490" y="11558"/>
                    <a:pt x="11482" y="11590"/>
                    <a:pt x="11482" y="11621"/>
                  </a:cubicBezTo>
                  <a:cubicBezTo>
                    <a:pt x="11482" y="11645"/>
                    <a:pt x="11467" y="11644"/>
                    <a:pt x="11493" y="11668"/>
                  </a:cubicBezTo>
                  <a:cubicBezTo>
                    <a:pt x="11508" y="11682"/>
                    <a:pt x="11525" y="11670"/>
                    <a:pt x="11538" y="11689"/>
                  </a:cubicBezTo>
                  <a:cubicBezTo>
                    <a:pt x="11558" y="11718"/>
                    <a:pt x="11514" y="11735"/>
                    <a:pt x="11521" y="11760"/>
                  </a:cubicBezTo>
                  <a:cubicBezTo>
                    <a:pt x="11535" y="11805"/>
                    <a:pt x="11628" y="11889"/>
                    <a:pt x="11684" y="11857"/>
                  </a:cubicBezTo>
                  <a:cubicBezTo>
                    <a:pt x="11782" y="11801"/>
                    <a:pt x="11665" y="11615"/>
                    <a:pt x="11642" y="11560"/>
                  </a:cubicBezTo>
                  <a:cubicBezTo>
                    <a:pt x="11656" y="11530"/>
                    <a:pt x="11624" y="11512"/>
                    <a:pt x="11594" y="11498"/>
                  </a:cubicBezTo>
                  <a:close/>
                  <a:moveTo>
                    <a:pt x="17543" y="14127"/>
                  </a:moveTo>
                  <a:cubicBezTo>
                    <a:pt x="17574" y="14124"/>
                    <a:pt x="17696" y="14108"/>
                    <a:pt x="17623" y="14075"/>
                  </a:cubicBezTo>
                  <a:cubicBezTo>
                    <a:pt x="17596" y="14064"/>
                    <a:pt x="17542" y="14081"/>
                    <a:pt x="17514" y="14088"/>
                  </a:cubicBezTo>
                  <a:cubicBezTo>
                    <a:pt x="17465" y="14101"/>
                    <a:pt x="17460" y="14097"/>
                    <a:pt x="17408" y="14077"/>
                  </a:cubicBezTo>
                  <a:cubicBezTo>
                    <a:pt x="17361" y="14075"/>
                    <a:pt x="17335" y="14117"/>
                    <a:pt x="17396" y="14127"/>
                  </a:cubicBezTo>
                  <a:cubicBezTo>
                    <a:pt x="17436" y="14134"/>
                    <a:pt x="17500" y="14131"/>
                    <a:pt x="17543" y="14127"/>
                  </a:cubicBezTo>
                  <a:close/>
                  <a:moveTo>
                    <a:pt x="15706" y="14917"/>
                  </a:moveTo>
                  <a:cubicBezTo>
                    <a:pt x="15685" y="14895"/>
                    <a:pt x="15563" y="14823"/>
                    <a:pt x="15527" y="14835"/>
                  </a:cubicBezTo>
                  <a:cubicBezTo>
                    <a:pt x="15513" y="14839"/>
                    <a:pt x="15512" y="14857"/>
                    <a:pt x="15503" y="14861"/>
                  </a:cubicBezTo>
                  <a:cubicBezTo>
                    <a:pt x="15498" y="14863"/>
                    <a:pt x="15499" y="14873"/>
                    <a:pt x="15492" y="14876"/>
                  </a:cubicBezTo>
                  <a:cubicBezTo>
                    <a:pt x="15484" y="14880"/>
                    <a:pt x="15479" y="14863"/>
                    <a:pt x="15477" y="14863"/>
                  </a:cubicBezTo>
                  <a:cubicBezTo>
                    <a:pt x="15445" y="14869"/>
                    <a:pt x="15416" y="14867"/>
                    <a:pt x="15391" y="14890"/>
                  </a:cubicBezTo>
                  <a:cubicBezTo>
                    <a:pt x="15361" y="14918"/>
                    <a:pt x="15378" y="14947"/>
                    <a:pt x="15368" y="14978"/>
                  </a:cubicBezTo>
                  <a:cubicBezTo>
                    <a:pt x="15359" y="15009"/>
                    <a:pt x="15344" y="15028"/>
                    <a:pt x="15343" y="15061"/>
                  </a:cubicBezTo>
                  <a:cubicBezTo>
                    <a:pt x="15340" y="15128"/>
                    <a:pt x="15368" y="15181"/>
                    <a:pt x="15396" y="15242"/>
                  </a:cubicBezTo>
                  <a:cubicBezTo>
                    <a:pt x="15412" y="15275"/>
                    <a:pt x="15415" y="15299"/>
                    <a:pt x="15465" y="15317"/>
                  </a:cubicBezTo>
                  <a:cubicBezTo>
                    <a:pt x="15493" y="15327"/>
                    <a:pt x="15513" y="15312"/>
                    <a:pt x="15541" y="15327"/>
                  </a:cubicBezTo>
                  <a:cubicBezTo>
                    <a:pt x="15587" y="15350"/>
                    <a:pt x="15625" y="15378"/>
                    <a:pt x="15665" y="15407"/>
                  </a:cubicBezTo>
                  <a:cubicBezTo>
                    <a:pt x="15696" y="15398"/>
                    <a:pt x="15713" y="15348"/>
                    <a:pt x="15716" y="15324"/>
                  </a:cubicBezTo>
                  <a:cubicBezTo>
                    <a:pt x="15719" y="15303"/>
                    <a:pt x="15702" y="15286"/>
                    <a:pt x="15702" y="15268"/>
                  </a:cubicBezTo>
                  <a:cubicBezTo>
                    <a:pt x="15702" y="15251"/>
                    <a:pt x="15714" y="15241"/>
                    <a:pt x="15717" y="15227"/>
                  </a:cubicBezTo>
                  <a:cubicBezTo>
                    <a:pt x="15722" y="15197"/>
                    <a:pt x="15726" y="15160"/>
                    <a:pt x="15726" y="15129"/>
                  </a:cubicBezTo>
                  <a:cubicBezTo>
                    <a:pt x="15725" y="15110"/>
                    <a:pt x="15711" y="15064"/>
                    <a:pt x="15750" y="15088"/>
                  </a:cubicBezTo>
                  <a:cubicBezTo>
                    <a:pt x="15744" y="15059"/>
                    <a:pt x="15731" y="15033"/>
                    <a:pt x="15729" y="15000"/>
                  </a:cubicBezTo>
                  <a:cubicBezTo>
                    <a:pt x="15727" y="14980"/>
                    <a:pt x="15722" y="14932"/>
                    <a:pt x="15706" y="14917"/>
                  </a:cubicBezTo>
                  <a:close/>
                  <a:moveTo>
                    <a:pt x="20750" y="14527"/>
                  </a:moveTo>
                  <a:cubicBezTo>
                    <a:pt x="20643" y="14508"/>
                    <a:pt x="20688" y="14597"/>
                    <a:pt x="20688" y="14637"/>
                  </a:cubicBezTo>
                  <a:cubicBezTo>
                    <a:pt x="20688" y="14669"/>
                    <a:pt x="20658" y="14769"/>
                    <a:pt x="20713" y="14787"/>
                  </a:cubicBezTo>
                  <a:cubicBezTo>
                    <a:pt x="20764" y="14804"/>
                    <a:pt x="20818" y="14718"/>
                    <a:pt x="20838" y="14692"/>
                  </a:cubicBezTo>
                  <a:cubicBezTo>
                    <a:pt x="20856" y="14668"/>
                    <a:pt x="20867" y="14638"/>
                    <a:pt x="20865" y="14610"/>
                  </a:cubicBezTo>
                  <a:cubicBezTo>
                    <a:pt x="20861" y="14557"/>
                    <a:pt x="20811" y="14551"/>
                    <a:pt x="20750" y="14527"/>
                  </a:cubicBezTo>
                  <a:close/>
                  <a:moveTo>
                    <a:pt x="18975" y="13616"/>
                  </a:moveTo>
                  <a:cubicBezTo>
                    <a:pt x="18983" y="13565"/>
                    <a:pt x="18911" y="13569"/>
                    <a:pt x="18861" y="13566"/>
                  </a:cubicBezTo>
                  <a:cubicBezTo>
                    <a:pt x="18809" y="13566"/>
                    <a:pt x="18773" y="13560"/>
                    <a:pt x="18719" y="13567"/>
                  </a:cubicBezTo>
                  <a:cubicBezTo>
                    <a:pt x="18673" y="13573"/>
                    <a:pt x="18626" y="13573"/>
                    <a:pt x="18579" y="13582"/>
                  </a:cubicBezTo>
                  <a:cubicBezTo>
                    <a:pt x="18602" y="13605"/>
                    <a:pt x="18638" y="13599"/>
                    <a:pt x="18672" y="13600"/>
                  </a:cubicBezTo>
                  <a:cubicBezTo>
                    <a:pt x="18627" y="13607"/>
                    <a:pt x="18624" y="13639"/>
                    <a:pt x="18660" y="13615"/>
                  </a:cubicBezTo>
                  <a:cubicBezTo>
                    <a:pt x="18687" y="13597"/>
                    <a:pt x="18768" y="13601"/>
                    <a:pt x="18800" y="13606"/>
                  </a:cubicBezTo>
                  <a:cubicBezTo>
                    <a:pt x="18783" y="13619"/>
                    <a:pt x="18752" y="13617"/>
                    <a:pt x="18755" y="13632"/>
                  </a:cubicBezTo>
                  <a:cubicBezTo>
                    <a:pt x="18753" y="13624"/>
                    <a:pt x="18804" y="13659"/>
                    <a:pt x="18807" y="13661"/>
                  </a:cubicBezTo>
                  <a:cubicBezTo>
                    <a:pt x="18822" y="13674"/>
                    <a:pt x="18828" y="13705"/>
                    <a:pt x="18856" y="13700"/>
                  </a:cubicBezTo>
                  <a:cubicBezTo>
                    <a:pt x="18883" y="13695"/>
                    <a:pt x="18862" y="13717"/>
                    <a:pt x="18898" y="13721"/>
                  </a:cubicBezTo>
                  <a:cubicBezTo>
                    <a:pt x="18918" y="13723"/>
                    <a:pt x="18915" y="13705"/>
                    <a:pt x="18924" y="13704"/>
                  </a:cubicBezTo>
                  <a:cubicBezTo>
                    <a:pt x="18935" y="13702"/>
                    <a:pt x="18943" y="13711"/>
                    <a:pt x="18956" y="13709"/>
                  </a:cubicBezTo>
                  <a:cubicBezTo>
                    <a:pt x="18980" y="13703"/>
                    <a:pt x="19010" y="13699"/>
                    <a:pt x="19031" y="13687"/>
                  </a:cubicBezTo>
                  <a:cubicBezTo>
                    <a:pt x="19040" y="13682"/>
                    <a:pt x="19070" y="13653"/>
                    <a:pt x="19070" y="13645"/>
                  </a:cubicBezTo>
                  <a:cubicBezTo>
                    <a:pt x="19069" y="13620"/>
                    <a:pt x="19004" y="13603"/>
                    <a:pt x="18975" y="13616"/>
                  </a:cubicBezTo>
                  <a:close/>
                  <a:moveTo>
                    <a:pt x="11978" y="7443"/>
                  </a:moveTo>
                  <a:cubicBezTo>
                    <a:pt x="11992" y="7471"/>
                    <a:pt x="11978" y="7497"/>
                    <a:pt x="11986" y="7521"/>
                  </a:cubicBezTo>
                  <a:cubicBezTo>
                    <a:pt x="11998" y="7554"/>
                    <a:pt x="12033" y="7565"/>
                    <a:pt x="12061" y="7586"/>
                  </a:cubicBezTo>
                  <a:cubicBezTo>
                    <a:pt x="11998" y="7569"/>
                    <a:pt x="12055" y="7713"/>
                    <a:pt x="12117" y="7725"/>
                  </a:cubicBezTo>
                  <a:cubicBezTo>
                    <a:pt x="12160" y="7734"/>
                    <a:pt x="12209" y="7715"/>
                    <a:pt x="12247" y="7720"/>
                  </a:cubicBezTo>
                  <a:cubicBezTo>
                    <a:pt x="12298" y="7727"/>
                    <a:pt x="12298" y="7761"/>
                    <a:pt x="12307" y="7792"/>
                  </a:cubicBezTo>
                  <a:cubicBezTo>
                    <a:pt x="12323" y="7847"/>
                    <a:pt x="12360" y="7906"/>
                    <a:pt x="12416" y="7950"/>
                  </a:cubicBezTo>
                  <a:cubicBezTo>
                    <a:pt x="12462" y="7988"/>
                    <a:pt x="12557" y="8009"/>
                    <a:pt x="12628" y="8011"/>
                  </a:cubicBezTo>
                  <a:cubicBezTo>
                    <a:pt x="12670" y="7980"/>
                    <a:pt x="12713" y="7949"/>
                    <a:pt x="12755" y="7918"/>
                  </a:cubicBezTo>
                  <a:cubicBezTo>
                    <a:pt x="12784" y="7897"/>
                    <a:pt x="12849" y="7828"/>
                    <a:pt x="12888" y="7823"/>
                  </a:cubicBezTo>
                  <a:cubicBezTo>
                    <a:pt x="12930" y="7818"/>
                    <a:pt x="12968" y="7803"/>
                    <a:pt x="13006" y="7790"/>
                  </a:cubicBezTo>
                  <a:cubicBezTo>
                    <a:pt x="13054" y="7773"/>
                    <a:pt x="13095" y="7784"/>
                    <a:pt x="13144" y="7784"/>
                  </a:cubicBezTo>
                  <a:cubicBezTo>
                    <a:pt x="13188" y="7784"/>
                    <a:pt x="13230" y="7774"/>
                    <a:pt x="13272" y="7765"/>
                  </a:cubicBezTo>
                  <a:cubicBezTo>
                    <a:pt x="13325" y="7753"/>
                    <a:pt x="13422" y="7750"/>
                    <a:pt x="13449" y="7707"/>
                  </a:cubicBezTo>
                  <a:cubicBezTo>
                    <a:pt x="13470" y="7671"/>
                    <a:pt x="13446" y="7650"/>
                    <a:pt x="13407" y="7639"/>
                  </a:cubicBezTo>
                  <a:cubicBezTo>
                    <a:pt x="13391" y="7634"/>
                    <a:pt x="13382" y="7650"/>
                    <a:pt x="13361" y="7638"/>
                  </a:cubicBezTo>
                  <a:cubicBezTo>
                    <a:pt x="13369" y="7643"/>
                    <a:pt x="13352" y="7601"/>
                    <a:pt x="13353" y="7603"/>
                  </a:cubicBezTo>
                  <a:cubicBezTo>
                    <a:pt x="13349" y="7593"/>
                    <a:pt x="13342" y="7583"/>
                    <a:pt x="13335" y="7573"/>
                  </a:cubicBezTo>
                  <a:cubicBezTo>
                    <a:pt x="13312" y="7538"/>
                    <a:pt x="13352" y="7559"/>
                    <a:pt x="13304" y="7547"/>
                  </a:cubicBezTo>
                  <a:cubicBezTo>
                    <a:pt x="13261" y="7536"/>
                    <a:pt x="13244" y="7545"/>
                    <a:pt x="13215" y="7514"/>
                  </a:cubicBezTo>
                  <a:cubicBezTo>
                    <a:pt x="13204" y="7502"/>
                    <a:pt x="13199" y="7486"/>
                    <a:pt x="13184" y="7473"/>
                  </a:cubicBezTo>
                  <a:cubicBezTo>
                    <a:pt x="13166" y="7456"/>
                    <a:pt x="13158" y="7455"/>
                    <a:pt x="13146" y="7434"/>
                  </a:cubicBezTo>
                  <a:cubicBezTo>
                    <a:pt x="13139" y="7422"/>
                    <a:pt x="13083" y="7440"/>
                    <a:pt x="13058" y="7429"/>
                  </a:cubicBezTo>
                  <a:cubicBezTo>
                    <a:pt x="13032" y="7417"/>
                    <a:pt x="12998" y="7374"/>
                    <a:pt x="12977" y="7353"/>
                  </a:cubicBezTo>
                  <a:cubicBezTo>
                    <a:pt x="12959" y="7336"/>
                    <a:pt x="12896" y="7323"/>
                    <a:pt x="12867" y="7317"/>
                  </a:cubicBezTo>
                  <a:cubicBezTo>
                    <a:pt x="12826" y="7309"/>
                    <a:pt x="12776" y="7315"/>
                    <a:pt x="12732" y="7306"/>
                  </a:cubicBezTo>
                  <a:cubicBezTo>
                    <a:pt x="12644" y="7289"/>
                    <a:pt x="12553" y="7314"/>
                    <a:pt x="12473" y="7350"/>
                  </a:cubicBezTo>
                  <a:cubicBezTo>
                    <a:pt x="12466" y="7354"/>
                    <a:pt x="12466" y="7366"/>
                    <a:pt x="12454" y="7371"/>
                  </a:cubicBezTo>
                  <a:cubicBezTo>
                    <a:pt x="12438" y="7379"/>
                    <a:pt x="12414" y="7381"/>
                    <a:pt x="12396" y="7385"/>
                  </a:cubicBezTo>
                  <a:cubicBezTo>
                    <a:pt x="12342" y="7400"/>
                    <a:pt x="12336" y="7393"/>
                    <a:pt x="12284" y="7385"/>
                  </a:cubicBezTo>
                  <a:cubicBezTo>
                    <a:pt x="12266" y="7383"/>
                    <a:pt x="12181" y="7370"/>
                    <a:pt x="12170" y="7372"/>
                  </a:cubicBezTo>
                  <a:cubicBezTo>
                    <a:pt x="12148" y="7376"/>
                    <a:pt x="12174" y="7397"/>
                    <a:pt x="12149" y="7399"/>
                  </a:cubicBezTo>
                  <a:cubicBezTo>
                    <a:pt x="12126" y="7401"/>
                    <a:pt x="12113" y="7383"/>
                    <a:pt x="12094" y="7378"/>
                  </a:cubicBezTo>
                  <a:cubicBezTo>
                    <a:pt x="12052" y="7367"/>
                    <a:pt x="12021" y="7370"/>
                    <a:pt x="11983" y="7394"/>
                  </a:cubicBezTo>
                  <a:cubicBezTo>
                    <a:pt x="11944" y="7419"/>
                    <a:pt x="11960" y="7408"/>
                    <a:pt x="11978" y="7443"/>
                  </a:cubicBezTo>
                  <a:close/>
                  <a:moveTo>
                    <a:pt x="21598" y="13556"/>
                  </a:moveTo>
                  <a:cubicBezTo>
                    <a:pt x="21599" y="13541"/>
                    <a:pt x="21592" y="13523"/>
                    <a:pt x="21592" y="13514"/>
                  </a:cubicBezTo>
                  <a:cubicBezTo>
                    <a:pt x="21591" y="13498"/>
                    <a:pt x="21600" y="13489"/>
                    <a:pt x="21592" y="13470"/>
                  </a:cubicBezTo>
                  <a:cubicBezTo>
                    <a:pt x="21581" y="13440"/>
                    <a:pt x="21531" y="13441"/>
                    <a:pt x="21553" y="13399"/>
                  </a:cubicBezTo>
                  <a:cubicBezTo>
                    <a:pt x="21530" y="13391"/>
                    <a:pt x="21510" y="13387"/>
                    <a:pt x="21491" y="13400"/>
                  </a:cubicBezTo>
                  <a:cubicBezTo>
                    <a:pt x="21513" y="13359"/>
                    <a:pt x="21472" y="13377"/>
                    <a:pt x="21434" y="13385"/>
                  </a:cubicBezTo>
                  <a:cubicBezTo>
                    <a:pt x="21380" y="13396"/>
                    <a:pt x="21344" y="13409"/>
                    <a:pt x="21301" y="13436"/>
                  </a:cubicBezTo>
                  <a:cubicBezTo>
                    <a:pt x="21242" y="13473"/>
                    <a:pt x="21191" y="13529"/>
                    <a:pt x="21303" y="13542"/>
                  </a:cubicBezTo>
                  <a:cubicBezTo>
                    <a:pt x="21341" y="13546"/>
                    <a:pt x="21373" y="13541"/>
                    <a:pt x="21406" y="13548"/>
                  </a:cubicBezTo>
                  <a:cubicBezTo>
                    <a:pt x="21438" y="13554"/>
                    <a:pt x="21453" y="13565"/>
                    <a:pt x="21489" y="13570"/>
                  </a:cubicBezTo>
                  <a:cubicBezTo>
                    <a:pt x="21500" y="13571"/>
                    <a:pt x="21505" y="13551"/>
                    <a:pt x="21520" y="13556"/>
                  </a:cubicBezTo>
                  <a:cubicBezTo>
                    <a:pt x="21534" y="13560"/>
                    <a:pt x="21528" y="13583"/>
                    <a:pt x="21549" y="13592"/>
                  </a:cubicBezTo>
                  <a:cubicBezTo>
                    <a:pt x="21536" y="13586"/>
                    <a:pt x="21599" y="13583"/>
                    <a:pt x="21591" y="13590"/>
                  </a:cubicBezTo>
                  <a:cubicBezTo>
                    <a:pt x="21596" y="13586"/>
                    <a:pt x="21598" y="13563"/>
                    <a:pt x="21598" y="13556"/>
                  </a:cubicBezTo>
                  <a:close/>
                  <a:moveTo>
                    <a:pt x="21237" y="12913"/>
                  </a:moveTo>
                  <a:cubicBezTo>
                    <a:pt x="21247" y="12893"/>
                    <a:pt x="21225" y="12886"/>
                    <a:pt x="21227" y="12876"/>
                  </a:cubicBezTo>
                  <a:cubicBezTo>
                    <a:pt x="21228" y="12871"/>
                    <a:pt x="21280" y="12831"/>
                    <a:pt x="21218" y="12852"/>
                  </a:cubicBezTo>
                  <a:cubicBezTo>
                    <a:pt x="21235" y="12838"/>
                    <a:pt x="21251" y="12821"/>
                    <a:pt x="21229" y="12807"/>
                  </a:cubicBezTo>
                  <a:cubicBezTo>
                    <a:pt x="21234" y="12803"/>
                    <a:pt x="21198" y="12826"/>
                    <a:pt x="21208" y="12824"/>
                  </a:cubicBezTo>
                  <a:cubicBezTo>
                    <a:pt x="21194" y="12827"/>
                    <a:pt x="21195" y="12806"/>
                    <a:pt x="21177" y="12811"/>
                  </a:cubicBezTo>
                  <a:cubicBezTo>
                    <a:pt x="21147" y="12819"/>
                    <a:pt x="21157" y="12830"/>
                    <a:pt x="21123" y="12843"/>
                  </a:cubicBezTo>
                  <a:cubicBezTo>
                    <a:pt x="21104" y="12850"/>
                    <a:pt x="21082" y="12837"/>
                    <a:pt x="21062" y="12853"/>
                  </a:cubicBezTo>
                  <a:cubicBezTo>
                    <a:pt x="21035" y="12875"/>
                    <a:pt x="21069" y="12894"/>
                    <a:pt x="21096" y="12892"/>
                  </a:cubicBezTo>
                  <a:cubicBezTo>
                    <a:pt x="21061" y="12901"/>
                    <a:pt x="21026" y="12935"/>
                    <a:pt x="21073" y="12955"/>
                  </a:cubicBezTo>
                  <a:cubicBezTo>
                    <a:pt x="21099" y="12965"/>
                    <a:pt x="21162" y="12946"/>
                    <a:pt x="21186" y="12939"/>
                  </a:cubicBezTo>
                  <a:cubicBezTo>
                    <a:pt x="21213" y="12932"/>
                    <a:pt x="21225" y="12938"/>
                    <a:pt x="21237" y="12913"/>
                  </a:cubicBezTo>
                  <a:close/>
                  <a:moveTo>
                    <a:pt x="21399" y="13364"/>
                  </a:moveTo>
                  <a:cubicBezTo>
                    <a:pt x="21429" y="13346"/>
                    <a:pt x="21404" y="13322"/>
                    <a:pt x="21383" y="13310"/>
                  </a:cubicBezTo>
                  <a:cubicBezTo>
                    <a:pt x="21370" y="13302"/>
                    <a:pt x="21348" y="13307"/>
                    <a:pt x="21347" y="13306"/>
                  </a:cubicBezTo>
                  <a:cubicBezTo>
                    <a:pt x="21346" y="13306"/>
                    <a:pt x="21320" y="13287"/>
                    <a:pt x="21321" y="13287"/>
                  </a:cubicBezTo>
                  <a:cubicBezTo>
                    <a:pt x="21307" y="13286"/>
                    <a:pt x="21297" y="13269"/>
                    <a:pt x="21305" y="13299"/>
                  </a:cubicBezTo>
                  <a:cubicBezTo>
                    <a:pt x="21285" y="13292"/>
                    <a:pt x="21269" y="13279"/>
                    <a:pt x="21252" y="13268"/>
                  </a:cubicBezTo>
                  <a:cubicBezTo>
                    <a:pt x="21197" y="13268"/>
                    <a:pt x="21177" y="13293"/>
                    <a:pt x="21211" y="13330"/>
                  </a:cubicBezTo>
                  <a:cubicBezTo>
                    <a:pt x="21243" y="13363"/>
                    <a:pt x="21290" y="13358"/>
                    <a:pt x="21336" y="13360"/>
                  </a:cubicBezTo>
                  <a:cubicBezTo>
                    <a:pt x="21355" y="13361"/>
                    <a:pt x="21382" y="13373"/>
                    <a:pt x="21399" y="13364"/>
                  </a:cubicBezTo>
                  <a:close/>
                  <a:moveTo>
                    <a:pt x="16331" y="13855"/>
                  </a:moveTo>
                  <a:cubicBezTo>
                    <a:pt x="16369" y="13800"/>
                    <a:pt x="16182" y="13780"/>
                    <a:pt x="16127" y="13774"/>
                  </a:cubicBezTo>
                  <a:cubicBezTo>
                    <a:pt x="16113" y="13772"/>
                    <a:pt x="16030" y="13780"/>
                    <a:pt x="16015" y="13788"/>
                  </a:cubicBezTo>
                  <a:cubicBezTo>
                    <a:pt x="15977" y="13807"/>
                    <a:pt x="15978" y="13848"/>
                    <a:pt x="16037" y="13833"/>
                  </a:cubicBezTo>
                  <a:cubicBezTo>
                    <a:pt x="15965" y="13860"/>
                    <a:pt x="16051" y="13865"/>
                    <a:pt x="16080" y="13873"/>
                  </a:cubicBezTo>
                  <a:cubicBezTo>
                    <a:pt x="16114" y="13883"/>
                    <a:pt x="16150" y="13898"/>
                    <a:pt x="16184" y="13912"/>
                  </a:cubicBezTo>
                  <a:cubicBezTo>
                    <a:pt x="16227" y="13930"/>
                    <a:pt x="16406" y="13961"/>
                    <a:pt x="16363" y="13885"/>
                  </a:cubicBezTo>
                  <a:cubicBezTo>
                    <a:pt x="16417" y="13862"/>
                    <a:pt x="16366" y="13854"/>
                    <a:pt x="16331" y="13855"/>
                  </a:cubicBezTo>
                  <a:close/>
                  <a:moveTo>
                    <a:pt x="15817" y="13623"/>
                  </a:moveTo>
                  <a:cubicBezTo>
                    <a:pt x="15826" y="13613"/>
                    <a:pt x="15819" y="13606"/>
                    <a:pt x="15837" y="13601"/>
                  </a:cubicBezTo>
                  <a:cubicBezTo>
                    <a:pt x="15801" y="13596"/>
                    <a:pt x="15697" y="13626"/>
                    <a:pt x="15691" y="13655"/>
                  </a:cubicBezTo>
                  <a:cubicBezTo>
                    <a:pt x="15684" y="13683"/>
                    <a:pt x="15713" y="13682"/>
                    <a:pt x="15740" y="13683"/>
                  </a:cubicBezTo>
                  <a:cubicBezTo>
                    <a:pt x="15797" y="13685"/>
                    <a:pt x="15798" y="13663"/>
                    <a:pt x="15817" y="13623"/>
                  </a:cubicBezTo>
                  <a:close/>
                  <a:moveTo>
                    <a:pt x="15997" y="14011"/>
                  </a:moveTo>
                  <a:cubicBezTo>
                    <a:pt x="15977" y="13981"/>
                    <a:pt x="15959" y="14006"/>
                    <a:pt x="15943" y="14004"/>
                  </a:cubicBezTo>
                  <a:cubicBezTo>
                    <a:pt x="15937" y="14003"/>
                    <a:pt x="15912" y="14003"/>
                    <a:pt x="15908" y="14002"/>
                  </a:cubicBezTo>
                  <a:cubicBezTo>
                    <a:pt x="15914" y="14003"/>
                    <a:pt x="15892" y="13988"/>
                    <a:pt x="15885" y="13987"/>
                  </a:cubicBezTo>
                  <a:cubicBezTo>
                    <a:pt x="15839" y="13979"/>
                    <a:pt x="15798" y="14011"/>
                    <a:pt x="15747" y="14004"/>
                  </a:cubicBezTo>
                  <a:cubicBezTo>
                    <a:pt x="15685" y="14042"/>
                    <a:pt x="15591" y="14072"/>
                    <a:pt x="15676" y="14116"/>
                  </a:cubicBezTo>
                  <a:cubicBezTo>
                    <a:pt x="15702" y="14129"/>
                    <a:pt x="15736" y="14137"/>
                    <a:pt x="15762" y="14149"/>
                  </a:cubicBezTo>
                  <a:cubicBezTo>
                    <a:pt x="15814" y="14176"/>
                    <a:pt x="15883" y="14222"/>
                    <a:pt x="15944" y="14229"/>
                  </a:cubicBezTo>
                  <a:cubicBezTo>
                    <a:pt x="16006" y="14237"/>
                    <a:pt x="16066" y="14160"/>
                    <a:pt x="16080" y="14128"/>
                  </a:cubicBezTo>
                  <a:cubicBezTo>
                    <a:pt x="16109" y="14061"/>
                    <a:pt x="16031" y="14062"/>
                    <a:pt x="15997" y="14011"/>
                  </a:cubicBezTo>
                  <a:close/>
                  <a:moveTo>
                    <a:pt x="3292" y="11626"/>
                  </a:moveTo>
                  <a:cubicBezTo>
                    <a:pt x="3327" y="11640"/>
                    <a:pt x="3374" y="11637"/>
                    <a:pt x="3413" y="11640"/>
                  </a:cubicBezTo>
                  <a:cubicBezTo>
                    <a:pt x="3456" y="11577"/>
                    <a:pt x="3323" y="11607"/>
                    <a:pt x="3292" y="11626"/>
                  </a:cubicBezTo>
                  <a:close/>
                  <a:moveTo>
                    <a:pt x="8061" y="7220"/>
                  </a:moveTo>
                  <a:cubicBezTo>
                    <a:pt x="8078" y="7222"/>
                    <a:pt x="8111" y="7259"/>
                    <a:pt x="8115" y="7271"/>
                  </a:cubicBezTo>
                  <a:cubicBezTo>
                    <a:pt x="8121" y="7288"/>
                    <a:pt x="8124" y="7298"/>
                    <a:pt x="8143" y="7305"/>
                  </a:cubicBezTo>
                  <a:cubicBezTo>
                    <a:pt x="8156" y="7309"/>
                    <a:pt x="8176" y="7300"/>
                    <a:pt x="8172" y="7299"/>
                  </a:cubicBezTo>
                  <a:cubicBezTo>
                    <a:pt x="8189" y="7303"/>
                    <a:pt x="8212" y="7327"/>
                    <a:pt x="8240" y="7332"/>
                  </a:cubicBezTo>
                  <a:cubicBezTo>
                    <a:pt x="8278" y="7338"/>
                    <a:pt x="8298" y="7312"/>
                    <a:pt x="8330" y="7306"/>
                  </a:cubicBezTo>
                  <a:cubicBezTo>
                    <a:pt x="8332" y="7306"/>
                    <a:pt x="8367" y="7311"/>
                    <a:pt x="8374" y="7311"/>
                  </a:cubicBezTo>
                  <a:cubicBezTo>
                    <a:pt x="8384" y="7311"/>
                    <a:pt x="8403" y="7309"/>
                    <a:pt x="8414" y="7308"/>
                  </a:cubicBezTo>
                  <a:cubicBezTo>
                    <a:pt x="8445" y="7304"/>
                    <a:pt x="8474" y="7304"/>
                    <a:pt x="8499" y="7289"/>
                  </a:cubicBezTo>
                  <a:cubicBezTo>
                    <a:pt x="8527" y="7273"/>
                    <a:pt x="8550" y="7232"/>
                    <a:pt x="8504" y="7222"/>
                  </a:cubicBezTo>
                  <a:cubicBezTo>
                    <a:pt x="8562" y="7219"/>
                    <a:pt x="8521" y="6992"/>
                    <a:pt x="8450" y="7008"/>
                  </a:cubicBezTo>
                  <a:cubicBezTo>
                    <a:pt x="8513" y="6970"/>
                    <a:pt x="8461" y="6938"/>
                    <a:pt x="8449" y="6896"/>
                  </a:cubicBezTo>
                  <a:cubicBezTo>
                    <a:pt x="8440" y="6860"/>
                    <a:pt x="8471" y="6806"/>
                    <a:pt x="8381" y="6816"/>
                  </a:cubicBezTo>
                  <a:cubicBezTo>
                    <a:pt x="8448" y="6797"/>
                    <a:pt x="8324" y="6727"/>
                    <a:pt x="8295" y="6699"/>
                  </a:cubicBezTo>
                  <a:cubicBezTo>
                    <a:pt x="8270" y="6675"/>
                    <a:pt x="8237" y="6629"/>
                    <a:pt x="8199" y="6615"/>
                  </a:cubicBezTo>
                  <a:cubicBezTo>
                    <a:pt x="8168" y="6603"/>
                    <a:pt x="8116" y="6602"/>
                    <a:pt x="8080" y="6597"/>
                  </a:cubicBezTo>
                  <a:cubicBezTo>
                    <a:pt x="8021" y="6634"/>
                    <a:pt x="7858" y="6663"/>
                    <a:pt x="7865" y="6743"/>
                  </a:cubicBezTo>
                  <a:cubicBezTo>
                    <a:pt x="7867" y="6772"/>
                    <a:pt x="7917" y="6774"/>
                    <a:pt x="7866" y="6789"/>
                  </a:cubicBezTo>
                  <a:cubicBezTo>
                    <a:pt x="7881" y="6785"/>
                    <a:pt x="7844" y="6774"/>
                    <a:pt x="7839" y="6774"/>
                  </a:cubicBezTo>
                  <a:cubicBezTo>
                    <a:pt x="7815" y="6775"/>
                    <a:pt x="7793" y="6791"/>
                    <a:pt x="7789" y="6806"/>
                  </a:cubicBezTo>
                  <a:cubicBezTo>
                    <a:pt x="7819" y="6783"/>
                    <a:pt x="7888" y="6784"/>
                    <a:pt x="7868" y="6820"/>
                  </a:cubicBezTo>
                  <a:cubicBezTo>
                    <a:pt x="7861" y="6833"/>
                    <a:pt x="7785" y="6854"/>
                    <a:pt x="7798" y="6873"/>
                  </a:cubicBezTo>
                  <a:cubicBezTo>
                    <a:pt x="7803" y="6879"/>
                    <a:pt x="7838" y="6861"/>
                    <a:pt x="7857" y="6868"/>
                  </a:cubicBezTo>
                  <a:cubicBezTo>
                    <a:pt x="7834" y="6877"/>
                    <a:pt x="7802" y="6894"/>
                    <a:pt x="7841" y="6901"/>
                  </a:cubicBezTo>
                  <a:cubicBezTo>
                    <a:pt x="7812" y="6916"/>
                    <a:pt x="7730" y="6913"/>
                    <a:pt x="7751" y="6958"/>
                  </a:cubicBezTo>
                  <a:cubicBezTo>
                    <a:pt x="7746" y="6955"/>
                    <a:pt x="7737" y="6952"/>
                    <a:pt x="7733" y="6949"/>
                  </a:cubicBezTo>
                  <a:cubicBezTo>
                    <a:pt x="7729" y="6981"/>
                    <a:pt x="7711" y="7011"/>
                    <a:pt x="7708" y="7042"/>
                  </a:cubicBezTo>
                  <a:cubicBezTo>
                    <a:pt x="7707" y="7049"/>
                    <a:pt x="7708" y="7097"/>
                    <a:pt x="7712" y="7099"/>
                  </a:cubicBezTo>
                  <a:cubicBezTo>
                    <a:pt x="7720" y="7105"/>
                    <a:pt x="7738" y="7085"/>
                    <a:pt x="7758" y="7088"/>
                  </a:cubicBezTo>
                  <a:cubicBezTo>
                    <a:pt x="7817" y="7096"/>
                    <a:pt x="7734" y="7116"/>
                    <a:pt x="7773" y="7149"/>
                  </a:cubicBezTo>
                  <a:cubicBezTo>
                    <a:pt x="7820" y="7188"/>
                    <a:pt x="7822" y="7083"/>
                    <a:pt x="7840" y="7067"/>
                  </a:cubicBezTo>
                  <a:cubicBezTo>
                    <a:pt x="7841" y="7085"/>
                    <a:pt x="7831" y="7102"/>
                    <a:pt x="7833" y="7120"/>
                  </a:cubicBezTo>
                  <a:cubicBezTo>
                    <a:pt x="7839" y="7116"/>
                    <a:pt x="7847" y="7111"/>
                    <a:pt x="7852" y="7106"/>
                  </a:cubicBezTo>
                  <a:cubicBezTo>
                    <a:pt x="7860" y="7142"/>
                    <a:pt x="7840" y="7140"/>
                    <a:pt x="7873" y="7175"/>
                  </a:cubicBezTo>
                  <a:cubicBezTo>
                    <a:pt x="7894" y="7198"/>
                    <a:pt x="7902" y="7216"/>
                    <a:pt x="7942" y="7210"/>
                  </a:cubicBezTo>
                  <a:cubicBezTo>
                    <a:pt x="7943" y="7205"/>
                    <a:pt x="7945" y="7199"/>
                    <a:pt x="7946" y="7197"/>
                  </a:cubicBezTo>
                  <a:cubicBezTo>
                    <a:pt x="7958" y="7214"/>
                    <a:pt x="7989" y="7210"/>
                    <a:pt x="7997" y="7218"/>
                  </a:cubicBezTo>
                  <a:cubicBezTo>
                    <a:pt x="8006" y="7228"/>
                    <a:pt x="7994" y="7280"/>
                    <a:pt x="8022" y="7257"/>
                  </a:cubicBezTo>
                  <a:cubicBezTo>
                    <a:pt x="8018" y="7260"/>
                    <a:pt x="8017" y="7223"/>
                    <a:pt x="8017" y="7220"/>
                  </a:cubicBezTo>
                  <a:cubicBezTo>
                    <a:pt x="8018" y="7218"/>
                    <a:pt x="8039" y="7219"/>
                    <a:pt x="8020" y="7239"/>
                  </a:cubicBezTo>
                  <a:cubicBezTo>
                    <a:pt x="8032" y="7233"/>
                    <a:pt x="8045" y="7218"/>
                    <a:pt x="8061" y="7220"/>
                  </a:cubicBezTo>
                  <a:close/>
                  <a:moveTo>
                    <a:pt x="11851" y="6606"/>
                  </a:moveTo>
                  <a:cubicBezTo>
                    <a:pt x="11886" y="6604"/>
                    <a:pt x="11911" y="6577"/>
                    <a:pt x="11936" y="6558"/>
                  </a:cubicBezTo>
                  <a:cubicBezTo>
                    <a:pt x="11943" y="6553"/>
                    <a:pt x="11989" y="6528"/>
                    <a:pt x="11987" y="6519"/>
                  </a:cubicBezTo>
                  <a:cubicBezTo>
                    <a:pt x="11984" y="6509"/>
                    <a:pt x="11960" y="6514"/>
                    <a:pt x="11954" y="6507"/>
                  </a:cubicBezTo>
                  <a:cubicBezTo>
                    <a:pt x="11925" y="6478"/>
                    <a:pt x="11905" y="6434"/>
                    <a:pt x="11845" y="6453"/>
                  </a:cubicBezTo>
                  <a:cubicBezTo>
                    <a:pt x="11823" y="6460"/>
                    <a:pt x="11810" y="6482"/>
                    <a:pt x="11797" y="6496"/>
                  </a:cubicBezTo>
                  <a:cubicBezTo>
                    <a:pt x="11782" y="6512"/>
                    <a:pt x="11787" y="6517"/>
                    <a:pt x="11758" y="6532"/>
                  </a:cubicBezTo>
                  <a:cubicBezTo>
                    <a:pt x="11770" y="6486"/>
                    <a:pt x="11662" y="6519"/>
                    <a:pt x="11701" y="6471"/>
                  </a:cubicBezTo>
                  <a:cubicBezTo>
                    <a:pt x="11715" y="6454"/>
                    <a:pt x="11740" y="6450"/>
                    <a:pt x="11756" y="6434"/>
                  </a:cubicBezTo>
                  <a:cubicBezTo>
                    <a:pt x="11781" y="6409"/>
                    <a:pt x="11766" y="6383"/>
                    <a:pt x="11789" y="6358"/>
                  </a:cubicBezTo>
                  <a:cubicBezTo>
                    <a:pt x="11803" y="6343"/>
                    <a:pt x="11833" y="6349"/>
                    <a:pt x="11838" y="6320"/>
                  </a:cubicBezTo>
                  <a:cubicBezTo>
                    <a:pt x="11841" y="6306"/>
                    <a:pt x="11849" y="6282"/>
                    <a:pt x="11843" y="6270"/>
                  </a:cubicBezTo>
                  <a:cubicBezTo>
                    <a:pt x="11833" y="6250"/>
                    <a:pt x="11815" y="6270"/>
                    <a:pt x="11809" y="6259"/>
                  </a:cubicBezTo>
                  <a:cubicBezTo>
                    <a:pt x="11794" y="6228"/>
                    <a:pt x="11812" y="6208"/>
                    <a:pt x="11787" y="6185"/>
                  </a:cubicBezTo>
                  <a:cubicBezTo>
                    <a:pt x="11775" y="6174"/>
                    <a:pt x="11726" y="6174"/>
                    <a:pt x="11756" y="6148"/>
                  </a:cubicBezTo>
                  <a:cubicBezTo>
                    <a:pt x="11715" y="6124"/>
                    <a:pt x="11656" y="6159"/>
                    <a:pt x="11616" y="6170"/>
                  </a:cubicBezTo>
                  <a:cubicBezTo>
                    <a:pt x="11579" y="6180"/>
                    <a:pt x="11571" y="6191"/>
                    <a:pt x="11594" y="6160"/>
                  </a:cubicBezTo>
                  <a:cubicBezTo>
                    <a:pt x="11608" y="6140"/>
                    <a:pt x="11640" y="6130"/>
                    <a:pt x="11643" y="6105"/>
                  </a:cubicBezTo>
                  <a:cubicBezTo>
                    <a:pt x="11624" y="6110"/>
                    <a:pt x="11579" y="6071"/>
                    <a:pt x="11546" y="6064"/>
                  </a:cubicBezTo>
                  <a:cubicBezTo>
                    <a:pt x="11488" y="6051"/>
                    <a:pt x="11463" y="6074"/>
                    <a:pt x="11408" y="6088"/>
                  </a:cubicBezTo>
                  <a:cubicBezTo>
                    <a:pt x="11370" y="6098"/>
                    <a:pt x="11316" y="6104"/>
                    <a:pt x="11303" y="6078"/>
                  </a:cubicBezTo>
                  <a:cubicBezTo>
                    <a:pt x="11296" y="6063"/>
                    <a:pt x="11318" y="6044"/>
                    <a:pt x="11315" y="6030"/>
                  </a:cubicBezTo>
                  <a:cubicBezTo>
                    <a:pt x="11306" y="5994"/>
                    <a:pt x="11308" y="6015"/>
                    <a:pt x="11267" y="6010"/>
                  </a:cubicBezTo>
                  <a:cubicBezTo>
                    <a:pt x="11189" y="6000"/>
                    <a:pt x="11062" y="6006"/>
                    <a:pt x="10989" y="6032"/>
                  </a:cubicBezTo>
                  <a:cubicBezTo>
                    <a:pt x="10895" y="6066"/>
                    <a:pt x="10896" y="6147"/>
                    <a:pt x="10780" y="6132"/>
                  </a:cubicBezTo>
                  <a:cubicBezTo>
                    <a:pt x="10772" y="6131"/>
                    <a:pt x="10755" y="6116"/>
                    <a:pt x="10744" y="6113"/>
                  </a:cubicBezTo>
                  <a:cubicBezTo>
                    <a:pt x="10739" y="6112"/>
                    <a:pt x="10704" y="6114"/>
                    <a:pt x="10697" y="6114"/>
                  </a:cubicBezTo>
                  <a:cubicBezTo>
                    <a:pt x="10690" y="6114"/>
                    <a:pt x="10696" y="6100"/>
                    <a:pt x="10688" y="6100"/>
                  </a:cubicBezTo>
                  <a:cubicBezTo>
                    <a:pt x="10680" y="6099"/>
                    <a:pt x="10677" y="6109"/>
                    <a:pt x="10674" y="6109"/>
                  </a:cubicBezTo>
                  <a:cubicBezTo>
                    <a:pt x="10661" y="6108"/>
                    <a:pt x="10642" y="6113"/>
                    <a:pt x="10630" y="6113"/>
                  </a:cubicBezTo>
                  <a:cubicBezTo>
                    <a:pt x="10660" y="6118"/>
                    <a:pt x="10648" y="6136"/>
                    <a:pt x="10637" y="6152"/>
                  </a:cubicBezTo>
                  <a:cubicBezTo>
                    <a:pt x="10630" y="6162"/>
                    <a:pt x="10605" y="6157"/>
                    <a:pt x="10600" y="6164"/>
                  </a:cubicBezTo>
                  <a:cubicBezTo>
                    <a:pt x="10592" y="6173"/>
                    <a:pt x="10602" y="6189"/>
                    <a:pt x="10594" y="6197"/>
                  </a:cubicBezTo>
                  <a:cubicBezTo>
                    <a:pt x="10578" y="6214"/>
                    <a:pt x="10538" y="6217"/>
                    <a:pt x="10523" y="6234"/>
                  </a:cubicBezTo>
                  <a:cubicBezTo>
                    <a:pt x="10510" y="6250"/>
                    <a:pt x="10518" y="6275"/>
                    <a:pt x="10557" y="6271"/>
                  </a:cubicBezTo>
                  <a:cubicBezTo>
                    <a:pt x="10521" y="6289"/>
                    <a:pt x="10469" y="6263"/>
                    <a:pt x="10425" y="6277"/>
                  </a:cubicBezTo>
                  <a:cubicBezTo>
                    <a:pt x="10453" y="6303"/>
                    <a:pt x="10339" y="6331"/>
                    <a:pt x="10404" y="6355"/>
                  </a:cubicBezTo>
                  <a:cubicBezTo>
                    <a:pt x="10376" y="6359"/>
                    <a:pt x="10322" y="6373"/>
                    <a:pt x="10321" y="6341"/>
                  </a:cubicBezTo>
                  <a:cubicBezTo>
                    <a:pt x="10309" y="6353"/>
                    <a:pt x="10298" y="6374"/>
                    <a:pt x="10282" y="6385"/>
                  </a:cubicBezTo>
                  <a:cubicBezTo>
                    <a:pt x="10265" y="6397"/>
                    <a:pt x="10210" y="6400"/>
                    <a:pt x="10204" y="6424"/>
                  </a:cubicBezTo>
                  <a:cubicBezTo>
                    <a:pt x="10195" y="6465"/>
                    <a:pt x="10329" y="6470"/>
                    <a:pt x="10368" y="6481"/>
                  </a:cubicBezTo>
                  <a:cubicBezTo>
                    <a:pt x="10327" y="6485"/>
                    <a:pt x="10276" y="6478"/>
                    <a:pt x="10238" y="6488"/>
                  </a:cubicBezTo>
                  <a:cubicBezTo>
                    <a:pt x="10191" y="6501"/>
                    <a:pt x="10173" y="6551"/>
                    <a:pt x="10120" y="6548"/>
                  </a:cubicBezTo>
                  <a:cubicBezTo>
                    <a:pt x="10130" y="6536"/>
                    <a:pt x="10165" y="6521"/>
                    <a:pt x="10154" y="6506"/>
                  </a:cubicBezTo>
                  <a:cubicBezTo>
                    <a:pt x="10136" y="6480"/>
                    <a:pt x="10113" y="6478"/>
                    <a:pt x="10082" y="6473"/>
                  </a:cubicBezTo>
                  <a:cubicBezTo>
                    <a:pt x="10049" y="6467"/>
                    <a:pt x="10031" y="6472"/>
                    <a:pt x="10000" y="6456"/>
                  </a:cubicBezTo>
                  <a:cubicBezTo>
                    <a:pt x="9975" y="6443"/>
                    <a:pt x="9953" y="6410"/>
                    <a:pt x="9924" y="6403"/>
                  </a:cubicBezTo>
                  <a:cubicBezTo>
                    <a:pt x="9897" y="6396"/>
                    <a:pt x="9902" y="6396"/>
                    <a:pt x="9881" y="6410"/>
                  </a:cubicBezTo>
                  <a:cubicBezTo>
                    <a:pt x="9889" y="6405"/>
                    <a:pt x="9863" y="6456"/>
                    <a:pt x="9862" y="6447"/>
                  </a:cubicBezTo>
                  <a:cubicBezTo>
                    <a:pt x="9865" y="6471"/>
                    <a:pt x="9939" y="6520"/>
                    <a:pt x="9864" y="6528"/>
                  </a:cubicBezTo>
                  <a:cubicBezTo>
                    <a:pt x="9887" y="6512"/>
                    <a:pt x="9849" y="6459"/>
                    <a:pt x="9819" y="6450"/>
                  </a:cubicBezTo>
                  <a:cubicBezTo>
                    <a:pt x="9784" y="6440"/>
                    <a:pt x="9770" y="6468"/>
                    <a:pt x="9749" y="6489"/>
                  </a:cubicBezTo>
                  <a:cubicBezTo>
                    <a:pt x="9746" y="6493"/>
                    <a:pt x="9730" y="6512"/>
                    <a:pt x="9726" y="6515"/>
                  </a:cubicBezTo>
                  <a:cubicBezTo>
                    <a:pt x="9695" y="6534"/>
                    <a:pt x="9703" y="6527"/>
                    <a:pt x="9693" y="6517"/>
                  </a:cubicBezTo>
                  <a:cubicBezTo>
                    <a:pt x="9686" y="6511"/>
                    <a:pt x="9720" y="6498"/>
                    <a:pt x="9689" y="6486"/>
                  </a:cubicBezTo>
                  <a:cubicBezTo>
                    <a:pt x="9665" y="6476"/>
                    <a:pt x="9647" y="6464"/>
                    <a:pt x="9626" y="6450"/>
                  </a:cubicBezTo>
                  <a:cubicBezTo>
                    <a:pt x="9605" y="6436"/>
                    <a:pt x="9587" y="6416"/>
                    <a:pt x="9560" y="6406"/>
                  </a:cubicBezTo>
                  <a:cubicBezTo>
                    <a:pt x="9534" y="6396"/>
                    <a:pt x="9553" y="6426"/>
                    <a:pt x="9548" y="6434"/>
                  </a:cubicBezTo>
                  <a:cubicBezTo>
                    <a:pt x="9526" y="6474"/>
                    <a:pt x="9530" y="6469"/>
                    <a:pt x="9558" y="6514"/>
                  </a:cubicBezTo>
                  <a:cubicBezTo>
                    <a:pt x="9573" y="6537"/>
                    <a:pt x="9610" y="6598"/>
                    <a:pt x="9540" y="6589"/>
                  </a:cubicBezTo>
                  <a:cubicBezTo>
                    <a:pt x="9505" y="6585"/>
                    <a:pt x="9488" y="6529"/>
                    <a:pt x="9468" y="6511"/>
                  </a:cubicBezTo>
                  <a:cubicBezTo>
                    <a:pt x="9403" y="6452"/>
                    <a:pt x="9401" y="6541"/>
                    <a:pt x="9340" y="6522"/>
                  </a:cubicBezTo>
                  <a:cubicBezTo>
                    <a:pt x="9382" y="6511"/>
                    <a:pt x="9351" y="6492"/>
                    <a:pt x="9323" y="6510"/>
                  </a:cubicBezTo>
                  <a:cubicBezTo>
                    <a:pt x="9326" y="6506"/>
                    <a:pt x="9337" y="6488"/>
                    <a:pt x="9341" y="6486"/>
                  </a:cubicBezTo>
                  <a:cubicBezTo>
                    <a:pt x="9353" y="6479"/>
                    <a:pt x="9359" y="6486"/>
                    <a:pt x="9377" y="6480"/>
                  </a:cubicBezTo>
                  <a:cubicBezTo>
                    <a:pt x="9409" y="6467"/>
                    <a:pt x="9422" y="6461"/>
                    <a:pt x="9431" y="6440"/>
                  </a:cubicBezTo>
                  <a:cubicBezTo>
                    <a:pt x="9457" y="6376"/>
                    <a:pt x="9405" y="6309"/>
                    <a:pt x="9316" y="6301"/>
                  </a:cubicBezTo>
                  <a:cubicBezTo>
                    <a:pt x="9322" y="6316"/>
                    <a:pt x="9287" y="6384"/>
                    <a:pt x="9274" y="6327"/>
                  </a:cubicBezTo>
                  <a:cubicBezTo>
                    <a:pt x="9270" y="6313"/>
                    <a:pt x="9289" y="6297"/>
                    <a:pt x="9283" y="6282"/>
                  </a:cubicBezTo>
                  <a:cubicBezTo>
                    <a:pt x="9277" y="6265"/>
                    <a:pt x="9253" y="6258"/>
                    <a:pt x="9237" y="6244"/>
                  </a:cubicBezTo>
                  <a:cubicBezTo>
                    <a:pt x="9229" y="6238"/>
                    <a:pt x="9196" y="6203"/>
                    <a:pt x="9195" y="6203"/>
                  </a:cubicBezTo>
                  <a:cubicBezTo>
                    <a:pt x="9161" y="6204"/>
                    <a:pt x="9191" y="6229"/>
                    <a:pt x="9177" y="6238"/>
                  </a:cubicBezTo>
                  <a:cubicBezTo>
                    <a:pt x="9160" y="6249"/>
                    <a:pt x="9140" y="6238"/>
                    <a:pt x="9120" y="6248"/>
                  </a:cubicBezTo>
                  <a:cubicBezTo>
                    <a:pt x="9113" y="6251"/>
                    <a:pt x="9091" y="6291"/>
                    <a:pt x="9086" y="6299"/>
                  </a:cubicBezTo>
                  <a:cubicBezTo>
                    <a:pt x="9075" y="6271"/>
                    <a:pt x="9105" y="6252"/>
                    <a:pt x="9067" y="6242"/>
                  </a:cubicBezTo>
                  <a:cubicBezTo>
                    <a:pt x="9048" y="6237"/>
                    <a:pt x="9032" y="6280"/>
                    <a:pt x="9010" y="6237"/>
                  </a:cubicBezTo>
                  <a:cubicBezTo>
                    <a:pt x="9004" y="6263"/>
                    <a:pt x="8992" y="6282"/>
                    <a:pt x="8979" y="6305"/>
                  </a:cubicBezTo>
                  <a:cubicBezTo>
                    <a:pt x="8972" y="6317"/>
                    <a:pt x="8963" y="6346"/>
                    <a:pt x="8952" y="6357"/>
                  </a:cubicBezTo>
                  <a:cubicBezTo>
                    <a:pt x="8951" y="6349"/>
                    <a:pt x="8945" y="6336"/>
                    <a:pt x="8946" y="6328"/>
                  </a:cubicBezTo>
                  <a:cubicBezTo>
                    <a:pt x="8947" y="6313"/>
                    <a:pt x="8962" y="6304"/>
                    <a:pt x="8965" y="6295"/>
                  </a:cubicBezTo>
                  <a:cubicBezTo>
                    <a:pt x="8967" y="6287"/>
                    <a:pt x="8970" y="6279"/>
                    <a:pt x="8971" y="6269"/>
                  </a:cubicBezTo>
                  <a:cubicBezTo>
                    <a:pt x="8973" y="6251"/>
                    <a:pt x="8933" y="6256"/>
                    <a:pt x="8959" y="6233"/>
                  </a:cubicBezTo>
                  <a:cubicBezTo>
                    <a:pt x="8949" y="6233"/>
                    <a:pt x="8930" y="6229"/>
                    <a:pt x="8923" y="6229"/>
                  </a:cubicBezTo>
                  <a:cubicBezTo>
                    <a:pt x="8952" y="6220"/>
                    <a:pt x="8981" y="6223"/>
                    <a:pt x="9011" y="6216"/>
                  </a:cubicBezTo>
                  <a:cubicBezTo>
                    <a:pt x="9032" y="6212"/>
                    <a:pt x="9109" y="6203"/>
                    <a:pt x="9122" y="6193"/>
                  </a:cubicBezTo>
                  <a:cubicBezTo>
                    <a:pt x="9158" y="6168"/>
                    <a:pt x="9082" y="6154"/>
                    <a:pt x="9056" y="6160"/>
                  </a:cubicBezTo>
                  <a:cubicBezTo>
                    <a:pt x="9025" y="6167"/>
                    <a:pt x="9025" y="6201"/>
                    <a:pt x="8981" y="6187"/>
                  </a:cubicBezTo>
                  <a:cubicBezTo>
                    <a:pt x="9031" y="6171"/>
                    <a:pt x="9004" y="6145"/>
                    <a:pt x="8967" y="6136"/>
                  </a:cubicBezTo>
                  <a:cubicBezTo>
                    <a:pt x="8922" y="6125"/>
                    <a:pt x="8884" y="6133"/>
                    <a:pt x="8842" y="6140"/>
                  </a:cubicBezTo>
                  <a:cubicBezTo>
                    <a:pt x="8877" y="6107"/>
                    <a:pt x="8806" y="6085"/>
                    <a:pt x="8779" y="6064"/>
                  </a:cubicBezTo>
                  <a:cubicBezTo>
                    <a:pt x="8835" y="6050"/>
                    <a:pt x="8905" y="6107"/>
                    <a:pt x="8967" y="6111"/>
                  </a:cubicBezTo>
                  <a:cubicBezTo>
                    <a:pt x="8996" y="6114"/>
                    <a:pt x="9028" y="6107"/>
                    <a:pt x="9059" y="6110"/>
                  </a:cubicBezTo>
                  <a:cubicBezTo>
                    <a:pt x="9091" y="6113"/>
                    <a:pt x="9122" y="6126"/>
                    <a:pt x="9151" y="6115"/>
                  </a:cubicBezTo>
                  <a:cubicBezTo>
                    <a:pt x="9114" y="6108"/>
                    <a:pt x="9023" y="6107"/>
                    <a:pt x="9097" y="6089"/>
                  </a:cubicBezTo>
                  <a:cubicBezTo>
                    <a:pt x="9132" y="6080"/>
                    <a:pt x="9178" y="6089"/>
                    <a:pt x="9215" y="6085"/>
                  </a:cubicBezTo>
                  <a:cubicBezTo>
                    <a:pt x="9326" y="6074"/>
                    <a:pt x="9391" y="5984"/>
                    <a:pt x="9250" y="5966"/>
                  </a:cubicBezTo>
                  <a:cubicBezTo>
                    <a:pt x="9209" y="5961"/>
                    <a:pt x="9172" y="5955"/>
                    <a:pt x="9132" y="5946"/>
                  </a:cubicBezTo>
                  <a:cubicBezTo>
                    <a:pt x="9089" y="5937"/>
                    <a:pt x="9046" y="5938"/>
                    <a:pt x="9007" y="5934"/>
                  </a:cubicBezTo>
                  <a:cubicBezTo>
                    <a:pt x="8968" y="5930"/>
                    <a:pt x="8927" y="5913"/>
                    <a:pt x="8887" y="5910"/>
                  </a:cubicBezTo>
                  <a:cubicBezTo>
                    <a:pt x="8867" y="5909"/>
                    <a:pt x="8704" y="5899"/>
                    <a:pt x="8780" y="5875"/>
                  </a:cubicBezTo>
                  <a:cubicBezTo>
                    <a:pt x="8821" y="5862"/>
                    <a:pt x="9018" y="5931"/>
                    <a:pt x="8993" y="5863"/>
                  </a:cubicBezTo>
                  <a:cubicBezTo>
                    <a:pt x="8976" y="5816"/>
                    <a:pt x="8870" y="5762"/>
                    <a:pt x="8811" y="5751"/>
                  </a:cubicBezTo>
                  <a:cubicBezTo>
                    <a:pt x="8765" y="5742"/>
                    <a:pt x="8723" y="5745"/>
                    <a:pt x="8680" y="5759"/>
                  </a:cubicBezTo>
                  <a:cubicBezTo>
                    <a:pt x="8636" y="5774"/>
                    <a:pt x="8627" y="5800"/>
                    <a:pt x="8592" y="5817"/>
                  </a:cubicBezTo>
                  <a:cubicBezTo>
                    <a:pt x="8563" y="5831"/>
                    <a:pt x="8556" y="5819"/>
                    <a:pt x="8531" y="5825"/>
                  </a:cubicBezTo>
                  <a:cubicBezTo>
                    <a:pt x="8518" y="5828"/>
                    <a:pt x="8486" y="5844"/>
                    <a:pt x="8477" y="5841"/>
                  </a:cubicBezTo>
                  <a:cubicBezTo>
                    <a:pt x="8368" y="5811"/>
                    <a:pt x="8394" y="5877"/>
                    <a:pt x="8352" y="5935"/>
                  </a:cubicBezTo>
                  <a:cubicBezTo>
                    <a:pt x="8347" y="5942"/>
                    <a:pt x="8320" y="5964"/>
                    <a:pt x="8320" y="5966"/>
                  </a:cubicBezTo>
                  <a:cubicBezTo>
                    <a:pt x="8316" y="5976"/>
                    <a:pt x="8329" y="6012"/>
                    <a:pt x="8318" y="6013"/>
                  </a:cubicBezTo>
                  <a:cubicBezTo>
                    <a:pt x="8254" y="6017"/>
                    <a:pt x="8313" y="5948"/>
                    <a:pt x="8320" y="5939"/>
                  </a:cubicBezTo>
                  <a:cubicBezTo>
                    <a:pt x="8347" y="5905"/>
                    <a:pt x="8390" y="5787"/>
                    <a:pt x="8346" y="5753"/>
                  </a:cubicBezTo>
                  <a:cubicBezTo>
                    <a:pt x="8300" y="5717"/>
                    <a:pt x="8229" y="5594"/>
                    <a:pt x="8151" y="5626"/>
                  </a:cubicBezTo>
                  <a:cubicBezTo>
                    <a:pt x="8134" y="5632"/>
                    <a:pt x="8148" y="5650"/>
                    <a:pt x="8122" y="5655"/>
                  </a:cubicBezTo>
                  <a:cubicBezTo>
                    <a:pt x="8122" y="5655"/>
                    <a:pt x="8051" y="5637"/>
                    <a:pt x="8050" y="5637"/>
                  </a:cubicBezTo>
                  <a:cubicBezTo>
                    <a:pt x="8030" y="5626"/>
                    <a:pt x="8035" y="5607"/>
                    <a:pt x="8010" y="5598"/>
                  </a:cubicBezTo>
                  <a:cubicBezTo>
                    <a:pt x="7993" y="5593"/>
                    <a:pt x="7971" y="5607"/>
                    <a:pt x="7948" y="5599"/>
                  </a:cubicBezTo>
                  <a:cubicBezTo>
                    <a:pt x="7887" y="5578"/>
                    <a:pt x="7825" y="5545"/>
                    <a:pt x="7759" y="5551"/>
                  </a:cubicBezTo>
                  <a:cubicBezTo>
                    <a:pt x="7736" y="5552"/>
                    <a:pt x="7651" y="5564"/>
                    <a:pt x="7635" y="5577"/>
                  </a:cubicBezTo>
                  <a:cubicBezTo>
                    <a:pt x="7602" y="5603"/>
                    <a:pt x="7661" y="5595"/>
                    <a:pt x="7614" y="5618"/>
                  </a:cubicBezTo>
                  <a:cubicBezTo>
                    <a:pt x="7584" y="5633"/>
                    <a:pt x="7565" y="5622"/>
                    <a:pt x="7525" y="5628"/>
                  </a:cubicBezTo>
                  <a:cubicBezTo>
                    <a:pt x="7587" y="5656"/>
                    <a:pt x="7515" y="5655"/>
                    <a:pt x="7509" y="5679"/>
                  </a:cubicBezTo>
                  <a:cubicBezTo>
                    <a:pt x="7501" y="5713"/>
                    <a:pt x="7611" y="5745"/>
                    <a:pt x="7640" y="5757"/>
                  </a:cubicBezTo>
                  <a:cubicBezTo>
                    <a:pt x="7610" y="5757"/>
                    <a:pt x="7595" y="5756"/>
                    <a:pt x="7589" y="5781"/>
                  </a:cubicBezTo>
                  <a:cubicBezTo>
                    <a:pt x="7608" y="5783"/>
                    <a:pt x="7629" y="5786"/>
                    <a:pt x="7647" y="5791"/>
                  </a:cubicBezTo>
                  <a:cubicBezTo>
                    <a:pt x="7631" y="5797"/>
                    <a:pt x="7600" y="5795"/>
                    <a:pt x="7584" y="5792"/>
                  </a:cubicBezTo>
                  <a:cubicBezTo>
                    <a:pt x="7558" y="5787"/>
                    <a:pt x="7543" y="5768"/>
                    <a:pt x="7513" y="5761"/>
                  </a:cubicBezTo>
                  <a:cubicBezTo>
                    <a:pt x="7523" y="5795"/>
                    <a:pt x="7487" y="5825"/>
                    <a:pt x="7543" y="5841"/>
                  </a:cubicBezTo>
                  <a:cubicBezTo>
                    <a:pt x="7563" y="5846"/>
                    <a:pt x="7582" y="5830"/>
                    <a:pt x="7608" y="5842"/>
                  </a:cubicBezTo>
                  <a:cubicBezTo>
                    <a:pt x="7622" y="5849"/>
                    <a:pt x="7632" y="5871"/>
                    <a:pt x="7646" y="5882"/>
                  </a:cubicBezTo>
                  <a:cubicBezTo>
                    <a:pt x="7650" y="5885"/>
                    <a:pt x="7666" y="5884"/>
                    <a:pt x="7672" y="5888"/>
                  </a:cubicBezTo>
                  <a:cubicBezTo>
                    <a:pt x="7681" y="5894"/>
                    <a:pt x="7684" y="5907"/>
                    <a:pt x="7692" y="5912"/>
                  </a:cubicBezTo>
                  <a:cubicBezTo>
                    <a:pt x="7699" y="5916"/>
                    <a:pt x="7733" y="5929"/>
                    <a:pt x="7731" y="5928"/>
                  </a:cubicBezTo>
                  <a:cubicBezTo>
                    <a:pt x="7742" y="5931"/>
                    <a:pt x="7747" y="5947"/>
                    <a:pt x="7777" y="5936"/>
                  </a:cubicBezTo>
                  <a:cubicBezTo>
                    <a:pt x="7802" y="5928"/>
                    <a:pt x="7799" y="5906"/>
                    <a:pt x="7822" y="5895"/>
                  </a:cubicBezTo>
                  <a:cubicBezTo>
                    <a:pt x="7815" y="5920"/>
                    <a:pt x="7805" y="5948"/>
                    <a:pt x="7773" y="5960"/>
                  </a:cubicBezTo>
                  <a:cubicBezTo>
                    <a:pt x="7739" y="5972"/>
                    <a:pt x="7712" y="5946"/>
                    <a:pt x="7719" y="5990"/>
                  </a:cubicBezTo>
                  <a:cubicBezTo>
                    <a:pt x="7729" y="6047"/>
                    <a:pt x="7839" y="6068"/>
                    <a:pt x="7889" y="6048"/>
                  </a:cubicBezTo>
                  <a:cubicBezTo>
                    <a:pt x="7856" y="6089"/>
                    <a:pt x="7998" y="6071"/>
                    <a:pt x="8027" y="6088"/>
                  </a:cubicBezTo>
                  <a:cubicBezTo>
                    <a:pt x="7977" y="6075"/>
                    <a:pt x="7989" y="6100"/>
                    <a:pt x="7960" y="6112"/>
                  </a:cubicBezTo>
                  <a:cubicBezTo>
                    <a:pt x="7934" y="6122"/>
                    <a:pt x="7883" y="6111"/>
                    <a:pt x="7902" y="6147"/>
                  </a:cubicBezTo>
                  <a:cubicBezTo>
                    <a:pt x="7909" y="6160"/>
                    <a:pt x="7964" y="6170"/>
                    <a:pt x="7985" y="6164"/>
                  </a:cubicBezTo>
                  <a:cubicBezTo>
                    <a:pt x="8000" y="6160"/>
                    <a:pt x="8026" y="6115"/>
                    <a:pt x="8040" y="6109"/>
                  </a:cubicBezTo>
                  <a:cubicBezTo>
                    <a:pt x="8072" y="6094"/>
                    <a:pt x="8053" y="6109"/>
                    <a:pt x="8094" y="6118"/>
                  </a:cubicBezTo>
                  <a:cubicBezTo>
                    <a:pt x="8114" y="6122"/>
                    <a:pt x="8169" y="6114"/>
                    <a:pt x="8190" y="6115"/>
                  </a:cubicBezTo>
                  <a:cubicBezTo>
                    <a:pt x="8209" y="6117"/>
                    <a:pt x="8247" y="6126"/>
                    <a:pt x="8269" y="6119"/>
                  </a:cubicBezTo>
                  <a:cubicBezTo>
                    <a:pt x="8298" y="6110"/>
                    <a:pt x="8292" y="6129"/>
                    <a:pt x="8282" y="6097"/>
                  </a:cubicBezTo>
                  <a:cubicBezTo>
                    <a:pt x="8278" y="6083"/>
                    <a:pt x="8283" y="6074"/>
                    <a:pt x="8298" y="6066"/>
                  </a:cubicBezTo>
                  <a:cubicBezTo>
                    <a:pt x="8294" y="6124"/>
                    <a:pt x="8359" y="6033"/>
                    <a:pt x="8382" y="6027"/>
                  </a:cubicBezTo>
                  <a:cubicBezTo>
                    <a:pt x="8438" y="6012"/>
                    <a:pt x="8433" y="6062"/>
                    <a:pt x="8455" y="6090"/>
                  </a:cubicBezTo>
                  <a:cubicBezTo>
                    <a:pt x="8481" y="6122"/>
                    <a:pt x="8512" y="6140"/>
                    <a:pt x="8535" y="6174"/>
                  </a:cubicBezTo>
                  <a:cubicBezTo>
                    <a:pt x="8556" y="6206"/>
                    <a:pt x="8555" y="6235"/>
                    <a:pt x="8572" y="6268"/>
                  </a:cubicBezTo>
                  <a:cubicBezTo>
                    <a:pt x="8602" y="6326"/>
                    <a:pt x="8724" y="6340"/>
                    <a:pt x="8725" y="6412"/>
                  </a:cubicBezTo>
                  <a:cubicBezTo>
                    <a:pt x="8726" y="6425"/>
                    <a:pt x="8714" y="6442"/>
                    <a:pt x="8717" y="6454"/>
                  </a:cubicBezTo>
                  <a:cubicBezTo>
                    <a:pt x="8723" y="6475"/>
                    <a:pt x="8751" y="6486"/>
                    <a:pt x="8759" y="6506"/>
                  </a:cubicBezTo>
                  <a:cubicBezTo>
                    <a:pt x="8767" y="6525"/>
                    <a:pt x="8774" y="6562"/>
                    <a:pt x="8768" y="6580"/>
                  </a:cubicBezTo>
                  <a:cubicBezTo>
                    <a:pt x="8765" y="6590"/>
                    <a:pt x="8740" y="6606"/>
                    <a:pt x="8733" y="6615"/>
                  </a:cubicBezTo>
                  <a:cubicBezTo>
                    <a:pt x="8720" y="6633"/>
                    <a:pt x="8716" y="6650"/>
                    <a:pt x="8710" y="6669"/>
                  </a:cubicBezTo>
                  <a:cubicBezTo>
                    <a:pt x="8706" y="6684"/>
                    <a:pt x="8700" y="6700"/>
                    <a:pt x="8703" y="6716"/>
                  </a:cubicBezTo>
                  <a:cubicBezTo>
                    <a:pt x="8705" y="6729"/>
                    <a:pt x="8728" y="6729"/>
                    <a:pt x="8729" y="6737"/>
                  </a:cubicBezTo>
                  <a:cubicBezTo>
                    <a:pt x="8729" y="6745"/>
                    <a:pt x="8713" y="6751"/>
                    <a:pt x="8712" y="6760"/>
                  </a:cubicBezTo>
                  <a:cubicBezTo>
                    <a:pt x="8712" y="6790"/>
                    <a:pt x="8701" y="6831"/>
                    <a:pt x="8716" y="6855"/>
                  </a:cubicBezTo>
                  <a:cubicBezTo>
                    <a:pt x="8721" y="6863"/>
                    <a:pt x="8752" y="6892"/>
                    <a:pt x="8760" y="6895"/>
                  </a:cubicBezTo>
                  <a:cubicBezTo>
                    <a:pt x="8790" y="6907"/>
                    <a:pt x="8791" y="6895"/>
                    <a:pt x="8827" y="6892"/>
                  </a:cubicBezTo>
                  <a:cubicBezTo>
                    <a:pt x="8804" y="6913"/>
                    <a:pt x="8847" y="6914"/>
                    <a:pt x="8843" y="6924"/>
                  </a:cubicBezTo>
                  <a:cubicBezTo>
                    <a:pt x="8836" y="6942"/>
                    <a:pt x="8807" y="6938"/>
                    <a:pt x="8799" y="6955"/>
                  </a:cubicBezTo>
                  <a:cubicBezTo>
                    <a:pt x="8788" y="6981"/>
                    <a:pt x="8840" y="7015"/>
                    <a:pt x="8855" y="7035"/>
                  </a:cubicBezTo>
                  <a:cubicBezTo>
                    <a:pt x="8878" y="7068"/>
                    <a:pt x="8870" y="7097"/>
                    <a:pt x="8872" y="7134"/>
                  </a:cubicBezTo>
                  <a:cubicBezTo>
                    <a:pt x="8873" y="7177"/>
                    <a:pt x="8961" y="7165"/>
                    <a:pt x="8940" y="7211"/>
                  </a:cubicBezTo>
                  <a:cubicBezTo>
                    <a:pt x="8945" y="7195"/>
                    <a:pt x="9001" y="7171"/>
                    <a:pt x="8995" y="7205"/>
                  </a:cubicBezTo>
                  <a:cubicBezTo>
                    <a:pt x="8992" y="7223"/>
                    <a:pt x="9011" y="7249"/>
                    <a:pt x="9046" y="7242"/>
                  </a:cubicBezTo>
                  <a:cubicBezTo>
                    <a:pt x="9100" y="7232"/>
                    <a:pt x="9050" y="7215"/>
                    <a:pt x="9063" y="7194"/>
                  </a:cubicBezTo>
                  <a:cubicBezTo>
                    <a:pt x="9083" y="7163"/>
                    <a:pt x="9085" y="7222"/>
                    <a:pt x="9089" y="7232"/>
                  </a:cubicBezTo>
                  <a:cubicBezTo>
                    <a:pt x="9094" y="7243"/>
                    <a:pt x="9112" y="7249"/>
                    <a:pt x="9127" y="7244"/>
                  </a:cubicBezTo>
                  <a:cubicBezTo>
                    <a:pt x="9152" y="7234"/>
                    <a:pt x="9126" y="7229"/>
                    <a:pt x="9121" y="7215"/>
                  </a:cubicBezTo>
                  <a:cubicBezTo>
                    <a:pt x="9112" y="7189"/>
                    <a:pt x="9090" y="7179"/>
                    <a:pt x="9104" y="7151"/>
                  </a:cubicBezTo>
                  <a:cubicBezTo>
                    <a:pt x="9101" y="7156"/>
                    <a:pt x="9139" y="7126"/>
                    <a:pt x="9146" y="7113"/>
                  </a:cubicBezTo>
                  <a:cubicBezTo>
                    <a:pt x="9157" y="7091"/>
                    <a:pt x="9159" y="7060"/>
                    <a:pt x="9187" y="7048"/>
                  </a:cubicBezTo>
                  <a:cubicBezTo>
                    <a:pt x="9209" y="7078"/>
                    <a:pt x="9123" y="7196"/>
                    <a:pt x="9177" y="7194"/>
                  </a:cubicBezTo>
                  <a:cubicBezTo>
                    <a:pt x="9198" y="7194"/>
                    <a:pt x="9178" y="7159"/>
                    <a:pt x="9202" y="7162"/>
                  </a:cubicBezTo>
                  <a:cubicBezTo>
                    <a:pt x="9222" y="7163"/>
                    <a:pt x="9220" y="7194"/>
                    <a:pt x="9228" y="7203"/>
                  </a:cubicBezTo>
                  <a:cubicBezTo>
                    <a:pt x="9257" y="7238"/>
                    <a:pt x="9301" y="7252"/>
                    <a:pt x="9337" y="7219"/>
                  </a:cubicBezTo>
                  <a:cubicBezTo>
                    <a:pt x="9328" y="7239"/>
                    <a:pt x="9350" y="7257"/>
                    <a:pt x="9378" y="7261"/>
                  </a:cubicBezTo>
                  <a:cubicBezTo>
                    <a:pt x="9412" y="7265"/>
                    <a:pt x="9419" y="7236"/>
                    <a:pt x="9423" y="7237"/>
                  </a:cubicBezTo>
                  <a:cubicBezTo>
                    <a:pt x="9444" y="7241"/>
                    <a:pt x="9436" y="7267"/>
                    <a:pt x="9462" y="7272"/>
                  </a:cubicBezTo>
                  <a:cubicBezTo>
                    <a:pt x="9486" y="7276"/>
                    <a:pt x="9517" y="7254"/>
                    <a:pt x="9534" y="7248"/>
                  </a:cubicBezTo>
                  <a:cubicBezTo>
                    <a:pt x="9538" y="7247"/>
                    <a:pt x="9557" y="7251"/>
                    <a:pt x="9569" y="7245"/>
                  </a:cubicBezTo>
                  <a:cubicBezTo>
                    <a:pt x="9583" y="7238"/>
                    <a:pt x="9572" y="7224"/>
                    <a:pt x="9583" y="7218"/>
                  </a:cubicBezTo>
                  <a:cubicBezTo>
                    <a:pt x="9604" y="7206"/>
                    <a:pt x="9619" y="7223"/>
                    <a:pt x="9637" y="7198"/>
                  </a:cubicBezTo>
                  <a:cubicBezTo>
                    <a:pt x="9672" y="7150"/>
                    <a:pt x="9601" y="7127"/>
                    <a:pt x="9585" y="7091"/>
                  </a:cubicBezTo>
                  <a:cubicBezTo>
                    <a:pt x="9677" y="7135"/>
                    <a:pt x="9622" y="7063"/>
                    <a:pt x="9613" y="7026"/>
                  </a:cubicBezTo>
                  <a:cubicBezTo>
                    <a:pt x="9632" y="7044"/>
                    <a:pt x="9669" y="7055"/>
                    <a:pt x="9671" y="7078"/>
                  </a:cubicBezTo>
                  <a:cubicBezTo>
                    <a:pt x="9673" y="7098"/>
                    <a:pt x="9686" y="7156"/>
                    <a:pt x="9710" y="7134"/>
                  </a:cubicBezTo>
                  <a:cubicBezTo>
                    <a:pt x="9729" y="7117"/>
                    <a:pt x="9708" y="7075"/>
                    <a:pt x="9707" y="7055"/>
                  </a:cubicBezTo>
                  <a:cubicBezTo>
                    <a:pt x="9707" y="7036"/>
                    <a:pt x="9716" y="6977"/>
                    <a:pt x="9734" y="7022"/>
                  </a:cubicBezTo>
                  <a:cubicBezTo>
                    <a:pt x="9756" y="6999"/>
                    <a:pt x="9729" y="6979"/>
                    <a:pt x="9734" y="6956"/>
                  </a:cubicBezTo>
                  <a:cubicBezTo>
                    <a:pt x="9748" y="6972"/>
                    <a:pt x="9760" y="6993"/>
                    <a:pt x="9771" y="7010"/>
                  </a:cubicBezTo>
                  <a:cubicBezTo>
                    <a:pt x="9790" y="7036"/>
                    <a:pt x="9770" y="7034"/>
                    <a:pt x="9821" y="7043"/>
                  </a:cubicBezTo>
                  <a:cubicBezTo>
                    <a:pt x="9786" y="7048"/>
                    <a:pt x="9787" y="7143"/>
                    <a:pt x="9788" y="7176"/>
                  </a:cubicBezTo>
                  <a:cubicBezTo>
                    <a:pt x="9789" y="7199"/>
                    <a:pt x="9796" y="7235"/>
                    <a:pt x="9822" y="7247"/>
                  </a:cubicBezTo>
                  <a:cubicBezTo>
                    <a:pt x="9845" y="7257"/>
                    <a:pt x="9901" y="7251"/>
                    <a:pt x="9907" y="7230"/>
                  </a:cubicBezTo>
                  <a:cubicBezTo>
                    <a:pt x="9936" y="7271"/>
                    <a:pt x="9994" y="7235"/>
                    <a:pt x="10006" y="7209"/>
                  </a:cubicBezTo>
                  <a:cubicBezTo>
                    <a:pt x="10007" y="7238"/>
                    <a:pt x="10039" y="7256"/>
                    <a:pt x="10073" y="7233"/>
                  </a:cubicBezTo>
                  <a:cubicBezTo>
                    <a:pt x="10100" y="7215"/>
                    <a:pt x="10072" y="7180"/>
                    <a:pt x="10112" y="7171"/>
                  </a:cubicBezTo>
                  <a:cubicBezTo>
                    <a:pt x="10077" y="7223"/>
                    <a:pt x="10194" y="7241"/>
                    <a:pt x="10195" y="7184"/>
                  </a:cubicBezTo>
                  <a:cubicBezTo>
                    <a:pt x="10219" y="7224"/>
                    <a:pt x="10261" y="7204"/>
                    <a:pt x="10305" y="7192"/>
                  </a:cubicBezTo>
                  <a:cubicBezTo>
                    <a:pt x="10257" y="7167"/>
                    <a:pt x="10232" y="7141"/>
                    <a:pt x="10231" y="7096"/>
                  </a:cubicBezTo>
                  <a:cubicBezTo>
                    <a:pt x="10252" y="7123"/>
                    <a:pt x="10315" y="7199"/>
                    <a:pt x="10368" y="7168"/>
                  </a:cubicBezTo>
                  <a:cubicBezTo>
                    <a:pt x="10392" y="7153"/>
                    <a:pt x="10386" y="7117"/>
                    <a:pt x="10376" y="7099"/>
                  </a:cubicBezTo>
                  <a:cubicBezTo>
                    <a:pt x="10353" y="7057"/>
                    <a:pt x="10403" y="7086"/>
                    <a:pt x="10414" y="7105"/>
                  </a:cubicBezTo>
                  <a:cubicBezTo>
                    <a:pt x="10428" y="7130"/>
                    <a:pt x="10412" y="7156"/>
                    <a:pt x="10447" y="7161"/>
                  </a:cubicBezTo>
                  <a:cubicBezTo>
                    <a:pt x="10463" y="7164"/>
                    <a:pt x="10521" y="7140"/>
                    <a:pt x="10535" y="7134"/>
                  </a:cubicBezTo>
                  <a:cubicBezTo>
                    <a:pt x="10614" y="7093"/>
                    <a:pt x="10526" y="7048"/>
                    <a:pt x="10528" y="6991"/>
                  </a:cubicBezTo>
                  <a:cubicBezTo>
                    <a:pt x="10573" y="7016"/>
                    <a:pt x="10588" y="7137"/>
                    <a:pt x="10656" y="7113"/>
                  </a:cubicBezTo>
                  <a:cubicBezTo>
                    <a:pt x="10703" y="7096"/>
                    <a:pt x="10678" y="7066"/>
                    <a:pt x="10668" y="7039"/>
                  </a:cubicBezTo>
                  <a:cubicBezTo>
                    <a:pt x="10656" y="7009"/>
                    <a:pt x="10662" y="6988"/>
                    <a:pt x="10657" y="6960"/>
                  </a:cubicBezTo>
                  <a:cubicBezTo>
                    <a:pt x="10681" y="6969"/>
                    <a:pt x="10682" y="7021"/>
                    <a:pt x="10689" y="7043"/>
                  </a:cubicBezTo>
                  <a:cubicBezTo>
                    <a:pt x="10691" y="7048"/>
                    <a:pt x="10715" y="7086"/>
                    <a:pt x="10721" y="7088"/>
                  </a:cubicBezTo>
                  <a:cubicBezTo>
                    <a:pt x="10753" y="7097"/>
                    <a:pt x="10747" y="7075"/>
                    <a:pt x="10772" y="7069"/>
                  </a:cubicBezTo>
                  <a:cubicBezTo>
                    <a:pt x="10778" y="7068"/>
                    <a:pt x="10815" y="7070"/>
                    <a:pt x="10827" y="7070"/>
                  </a:cubicBezTo>
                  <a:cubicBezTo>
                    <a:pt x="10846" y="7068"/>
                    <a:pt x="10873" y="7066"/>
                    <a:pt x="10892" y="7060"/>
                  </a:cubicBezTo>
                  <a:cubicBezTo>
                    <a:pt x="10931" y="7046"/>
                    <a:pt x="10966" y="7020"/>
                    <a:pt x="11006" y="7006"/>
                  </a:cubicBezTo>
                  <a:cubicBezTo>
                    <a:pt x="11062" y="6987"/>
                    <a:pt x="11056" y="6981"/>
                    <a:pt x="11056" y="6936"/>
                  </a:cubicBezTo>
                  <a:cubicBezTo>
                    <a:pt x="11056" y="6910"/>
                    <a:pt x="11071" y="6859"/>
                    <a:pt x="11056" y="6835"/>
                  </a:cubicBezTo>
                  <a:cubicBezTo>
                    <a:pt x="11044" y="6815"/>
                    <a:pt x="10959" y="6791"/>
                    <a:pt x="10970" y="6757"/>
                  </a:cubicBezTo>
                  <a:cubicBezTo>
                    <a:pt x="10977" y="6734"/>
                    <a:pt x="11045" y="6777"/>
                    <a:pt x="11070" y="6785"/>
                  </a:cubicBezTo>
                  <a:cubicBezTo>
                    <a:pt x="11085" y="6790"/>
                    <a:pt x="11083" y="6773"/>
                    <a:pt x="11103" y="6786"/>
                  </a:cubicBezTo>
                  <a:cubicBezTo>
                    <a:pt x="11124" y="6800"/>
                    <a:pt x="11114" y="6807"/>
                    <a:pt x="11117" y="6821"/>
                  </a:cubicBezTo>
                  <a:cubicBezTo>
                    <a:pt x="11122" y="6847"/>
                    <a:pt x="11117" y="6867"/>
                    <a:pt x="11135" y="6894"/>
                  </a:cubicBezTo>
                  <a:cubicBezTo>
                    <a:pt x="11161" y="6933"/>
                    <a:pt x="11217" y="6985"/>
                    <a:pt x="11281" y="6972"/>
                  </a:cubicBezTo>
                  <a:cubicBezTo>
                    <a:pt x="11327" y="6963"/>
                    <a:pt x="11297" y="6943"/>
                    <a:pt x="11320" y="6930"/>
                  </a:cubicBezTo>
                  <a:cubicBezTo>
                    <a:pt x="11339" y="6919"/>
                    <a:pt x="11346" y="6955"/>
                    <a:pt x="11351" y="6958"/>
                  </a:cubicBezTo>
                  <a:cubicBezTo>
                    <a:pt x="11358" y="6961"/>
                    <a:pt x="11410" y="6964"/>
                    <a:pt x="11420" y="6965"/>
                  </a:cubicBezTo>
                  <a:cubicBezTo>
                    <a:pt x="11449" y="6968"/>
                    <a:pt x="11479" y="6969"/>
                    <a:pt x="11509" y="6968"/>
                  </a:cubicBezTo>
                  <a:cubicBezTo>
                    <a:pt x="11574" y="6906"/>
                    <a:pt x="11611" y="6853"/>
                    <a:pt x="11710" y="6838"/>
                  </a:cubicBezTo>
                  <a:cubicBezTo>
                    <a:pt x="11749" y="6833"/>
                    <a:pt x="11800" y="6823"/>
                    <a:pt x="11834" y="6803"/>
                  </a:cubicBezTo>
                  <a:cubicBezTo>
                    <a:pt x="11878" y="6778"/>
                    <a:pt x="11863" y="6774"/>
                    <a:pt x="11858" y="6748"/>
                  </a:cubicBezTo>
                  <a:cubicBezTo>
                    <a:pt x="11855" y="6734"/>
                    <a:pt x="11854" y="6711"/>
                    <a:pt x="11849" y="6698"/>
                  </a:cubicBezTo>
                  <a:cubicBezTo>
                    <a:pt x="11845" y="6687"/>
                    <a:pt x="11827" y="6684"/>
                    <a:pt x="11826" y="6675"/>
                  </a:cubicBezTo>
                  <a:cubicBezTo>
                    <a:pt x="11823" y="6662"/>
                    <a:pt x="11836" y="6649"/>
                    <a:pt x="11831" y="6635"/>
                  </a:cubicBezTo>
                  <a:cubicBezTo>
                    <a:pt x="11816" y="6597"/>
                    <a:pt x="11697" y="6607"/>
                    <a:pt x="11745" y="6551"/>
                  </a:cubicBezTo>
                  <a:cubicBezTo>
                    <a:pt x="11763" y="6598"/>
                    <a:pt x="11787" y="6585"/>
                    <a:pt x="11773" y="6543"/>
                  </a:cubicBezTo>
                  <a:cubicBezTo>
                    <a:pt x="11809" y="6566"/>
                    <a:pt x="11780" y="6610"/>
                    <a:pt x="11851" y="6606"/>
                  </a:cubicBezTo>
                  <a:close/>
                  <a:moveTo>
                    <a:pt x="9474" y="7780"/>
                  </a:moveTo>
                  <a:cubicBezTo>
                    <a:pt x="9501" y="7743"/>
                    <a:pt x="9474" y="7734"/>
                    <a:pt x="9444" y="7728"/>
                  </a:cubicBezTo>
                  <a:cubicBezTo>
                    <a:pt x="9417" y="7722"/>
                    <a:pt x="9368" y="7712"/>
                    <a:pt x="9333" y="7705"/>
                  </a:cubicBezTo>
                  <a:cubicBezTo>
                    <a:pt x="9266" y="7691"/>
                    <a:pt x="9183" y="7682"/>
                    <a:pt x="9112" y="7689"/>
                  </a:cubicBezTo>
                  <a:cubicBezTo>
                    <a:pt x="9075" y="7692"/>
                    <a:pt x="9027" y="7700"/>
                    <a:pt x="8999" y="7719"/>
                  </a:cubicBezTo>
                  <a:cubicBezTo>
                    <a:pt x="8975" y="7736"/>
                    <a:pt x="8978" y="7769"/>
                    <a:pt x="8938" y="7766"/>
                  </a:cubicBezTo>
                  <a:cubicBezTo>
                    <a:pt x="8914" y="7765"/>
                    <a:pt x="8928" y="7723"/>
                    <a:pt x="8895" y="7700"/>
                  </a:cubicBezTo>
                  <a:cubicBezTo>
                    <a:pt x="8872" y="7684"/>
                    <a:pt x="8811" y="7652"/>
                    <a:pt x="8800" y="7681"/>
                  </a:cubicBezTo>
                  <a:cubicBezTo>
                    <a:pt x="8749" y="7656"/>
                    <a:pt x="8725" y="7638"/>
                    <a:pt x="8659" y="7635"/>
                  </a:cubicBezTo>
                  <a:cubicBezTo>
                    <a:pt x="8594" y="7631"/>
                    <a:pt x="8548" y="7630"/>
                    <a:pt x="8521" y="7671"/>
                  </a:cubicBezTo>
                  <a:cubicBezTo>
                    <a:pt x="8512" y="7686"/>
                    <a:pt x="8538" y="7704"/>
                    <a:pt x="8507" y="7704"/>
                  </a:cubicBezTo>
                  <a:cubicBezTo>
                    <a:pt x="8503" y="7704"/>
                    <a:pt x="8473" y="7673"/>
                    <a:pt x="8458" y="7670"/>
                  </a:cubicBezTo>
                  <a:cubicBezTo>
                    <a:pt x="8423" y="7664"/>
                    <a:pt x="8361" y="7692"/>
                    <a:pt x="8330" y="7701"/>
                  </a:cubicBezTo>
                  <a:cubicBezTo>
                    <a:pt x="8272" y="7718"/>
                    <a:pt x="8195" y="7758"/>
                    <a:pt x="8146" y="7789"/>
                  </a:cubicBezTo>
                  <a:cubicBezTo>
                    <a:pt x="8119" y="7807"/>
                    <a:pt x="8123" y="7858"/>
                    <a:pt x="8137" y="7880"/>
                  </a:cubicBezTo>
                  <a:cubicBezTo>
                    <a:pt x="8146" y="7895"/>
                    <a:pt x="8171" y="7916"/>
                    <a:pt x="8190" y="7918"/>
                  </a:cubicBezTo>
                  <a:cubicBezTo>
                    <a:pt x="8206" y="7921"/>
                    <a:pt x="8210" y="7880"/>
                    <a:pt x="8222" y="7908"/>
                  </a:cubicBezTo>
                  <a:cubicBezTo>
                    <a:pt x="8225" y="7915"/>
                    <a:pt x="8200" y="7934"/>
                    <a:pt x="8208" y="7953"/>
                  </a:cubicBezTo>
                  <a:cubicBezTo>
                    <a:pt x="8213" y="7967"/>
                    <a:pt x="8236" y="7980"/>
                    <a:pt x="8250" y="7990"/>
                  </a:cubicBezTo>
                  <a:cubicBezTo>
                    <a:pt x="8275" y="8009"/>
                    <a:pt x="8346" y="8024"/>
                    <a:pt x="8326" y="8038"/>
                  </a:cubicBezTo>
                  <a:cubicBezTo>
                    <a:pt x="8298" y="8057"/>
                    <a:pt x="8243" y="8036"/>
                    <a:pt x="8218" y="8021"/>
                  </a:cubicBezTo>
                  <a:cubicBezTo>
                    <a:pt x="8181" y="7999"/>
                    <a:pt x="8158" y="7957"/>
                    <a:pt x="8101" y="7972"/>
                  </a:cubicBezTo>
                  <a:cubicBezTo>
                    <a:pt x="8049" y="7986"/>
                    <a:pt x="8045" y="8029"/>
                    <a:pt x="8053" y="8062"/>
                  </a:cubicBezTo>
                  <a:cubicBezTo>
                    <a:pt x="8055" y="8073"/>
                    <a:pt x="8090" y="8081"/>
                    <a:pt x="8093" y="8098"/>
                  </a:cubicBezTo>
                  <a:cubicBezTo>
                    <a:pt x="8098" y="8120"/>
                    <a:pt x="8056" y="8109"/>
                    <a:pt x="8076" y="8140"/>
                  </a:cubicBezTo>
                  <a:cubicBezTo>
                    <a:pt x="8085" y="8153"/>
                    <a:pt x="8073" y="8173"/>
                    <a:pt x="8075" y="8188"/>
                  </a:cubicBezTo>
                  <a:cubicBezTo>
                    <a:pt x="8077" y="8207"/>
                    <a:pt x="8088" y="8222"/>
                    <a:pt x="8093" y="8240"/>
                  </a:cubicBezTo>
                  <a:cubicBezTo>
                    <a:pt x="8102" y="8273"/>
                    <a:pt x="8108" y="8303"/>
                    <a:pt x="8116" y="8337"/>
                  </a:cubicBezTo>
                  <a:cubicBezTo>
                    <a:pt x="8121" y="8355"/>
                    <a:pt x="8147" y="8417"/>
                    <a:pt x="8143" y="8431"/>
                  </a:cubicBezTo>
                  <a:cubicBezTo>
                    <a:pt x="8140" y="8441"/>
                    <a:pt x="8112" y="8453"/>
                    <a:pt x="8106" y="8466"/>
                  </a:cubicBezTo>
                  <a:cubicBezTo>
                    <a:pt x="8108" y="8463"/>
                    <a:pt x="8109" y="8516"/>
                    <a:pt x="8108" y="8513"/>
                  </a:cubicBezTo>
                  <a:cubicBezTo>
                    <a:pt x="8113" y="8536"/>
                    <a:pt x="8127" y="8557"/>
                    <a:pt x="8131" y="8583"/>
                  </a:cubicBezTo>
                  <a:cubicBezTo>
                    <a:pt x="8134" y="8605"/>
                    <a:pt x="8121" y="8633"/>
                    <a:pt x="8131" y="8654"/>
                  </a:cubicBezTo>
                  <a:cubicBezTo>
                    <a:pt x="8147" y="8684"/>
                    <a:pt x="8164" y="8670"/>
                    <a:pt x="8174" y="8704"/>
                  </a:cubicBezTo>
                  <a:cubicBezTo>
                    <a:pt x="8178" y="8716"/>
                    <a:pt x="8151" y="8715"/>
                    <a:pt x="8161" y="8730"/>
                  </a:cubicBezTo>
                  <a:cubicBezTo>
                    <a:pt x="8174" y="8749"/>
                    <a:pt x="8185" y="8739"/>
                    <a:pt x="8194" y="8745"/>
                  </a:cubicBezTo>
                  <a:cubicBezTo>
                    <a:pt x="8212" y="8758"/>
                    <a:pt x="8246" y="8778"/>
                    <a:pt x="8244" y="8802"/>
                  </a:cubicBezTo>
                  <a:cubicBezTo>
                    <a:pt x="8242" y="8840"/>
                    <a:pt x="8271" y="8834"/>
                    <a:pt x="8290" y="8856"/>
                  </a:cubicBezTo>
                  <a:cubicBezTo>
                    <a:pt x="8307" y="8875"/>
                    <a:pt x="8309" y="8903"/>
                    <a:pt x="8312" y="8919"/>
                  </a:cubicBezTo>
                  <a:cubicBezTo>
                    <a:pt x="8272" y="8922"/>
                    <a:pt x="8313" y="8966"/>
                    <a:pt x="8318" y="8987"/>
                  </a:cubicBezTo>
                  <a:cubicBezTo>
                    <a:pt x="8325" y="9016"/>
                    <a:pt x="8311" y="9047"/>
                    <a:pt x="8317" y="9075"/>
                  </a:cubicBezTo>
                  <a:cubicBezTo>
                    <a:pt x="8321" y="9099"/>
                    <a:pt x="8327" y="9125"/>
                    <a:pt x="8354" y="9128"/>
                  </a:cubicBezTo>
                  <a:cubicBezTo>
                    <a:pt x="8382" y="9130"/>
                    <a:pt x="8416" y="9106"/>
                    <a:pt x="8450" y="9109"/>
                  </a:cubicBezTo>
                  <a:cubicBezTo>
                    <a:pt x="8426" y="9117"/>
                    <a:pt x="8286" y="9171"/>
                    <a:pt x="8358" y="9160"/>
                  </a:cubicBezTo>
                  <a:cubicBezTo>
                    <a:pt x="8343" y="9177"/>
                    <a:pt x="8310" y="9245"/>
                    <a:pt x="8363" y="9233"/>
                  </a:cubicBezTo>
                  <a:cubicBezTo>
                    <a:pt x="8360" y="9238"/>
                    <a:pt x="8358" y="9246"/>
                    <a:pt x="8355" y="9251"/>
                  </a:cubicBezTo>
                  <a:cubicBezTo>
                    <a:pt x="8415" y="9235"/>
                    <a:pt x="8483" y="9198"/>
                    <a:pt x="8548" y="9197"/>
                  </a:cubicBezTo>
                  <a:cubicBezTo>
                    <a:pt x="8581" y="9196"/>
                    <a:pt x="8618" y="9213"/>
                    <a:pt x="8642" y="9211"/>
                  </a:cubicBezTo>
                  <a:cubicBezTo>
                    <a:pt x="8696" y="9207"/>
                    <a:pt x="8660" y="9194"/>
                    <a:pt x="8667" y="9158"/>
                  </a:cubicBezTo>
                  <a:cubicBezTo>
                    <a:pt x="8661" y="9176"/>
                    <a:pt x="8610" y="9211"/>
                    <a:pt x="8619" y="9174"/>
                  </a:cubicBezTo>
                  <a:cubicBezTo>
                    <a:pt x="8622" y="9161"/>
                    <a:pt x="8649" y="9164"/>
                    <a:pt x="8657" y="9152"/>
                  </a:cubicBezTo>
                  <a:cubicBezTo>
                    <a:pt x="8667" y="9138"/>
                    <a:pt x="8658" y="9126"/>
                    <a:pt x="8660" y="9112"/>
                  </a:cubicBezTo>
                  <a:cubicBezTo>
                    <a:pt x="8671" y="9060"/>
                    <a:pt x="8690" y="9000"/>
                    <a:pt x="8729" y="8960"/>
                  </a:cubicBezTo>
                  <a:cubicBezTo>
                    <a:pt x="8776" y="8911"/>
                    <a:pt x="8806" y="8864"/>
                    <a:pt x="8758" y="8801"/>
                  </a:cubicBezTo>
                  <a:cubicBezTo>
                    <a:pt x="8747" y="8787"/>
                    <a:pt x="8739" y="8776"/>
                    <a:pt x="8722" y="8765"/>
                  </a:cubicBezTo>
                  <a:cubicBezTo>
                    <a:pt x="8714" y="8760"/>
                    <a:pt x="8683" y="8751"/>
                    <a:pt x="8680" y="8748"/>
                  </a:cubicBezTo>
                  <a:cubicBezTo>
                    <a:pt x="8661" y="8727"/>
                    <a:pt x="8671" y="8695"/>
                    <a:pt x="8666" y="8671"/>
                  </a:cubicBezTo>
                  <a:cubicBezTo>
                    <a:pt x="8655" y="8698"/>
                    <a:pt x="8627" y="8698"/>
                    <a:pt x="8599" y="8697"/>
                  </a:cubicBezTo>
                  <a:cubicBezTo>
                    <a:pt x="8582" y="8696"/>
                    <a:pt x="8567" y="8688"/>
                    <a:pt x="8550" y="8685"/>
                  </a:cubicBezTo>
                  <a:cubicBezTo>
                    <a:pt x="8547" y="8685"/>
                    <a:pt x="8488" y="8707"/>
                    <a:pt x="8515" y="8672"/>
                  </a:cubicBezTo>
                  <a:cubicBezTo>
                    <a:pt x="8531" y="8650"/>
                    <a:pt x="8592" y="8655"/>
                    <a:pt x="8628" y="8649"/>
                  </a:cubicBezTo>
                  <a:cubicBezTo>
                    <a:pt x="8668" y="8641"/>
                    <a:pt x="8702" y="8634"/>
                    <a:pt x="8736" y="8624"/>
                  </a:cubicBezTo>
                  <a:cubicBezTo>
                    <a:pt x="8779" y="8611"/>
                    <a:pt x="8805" y="8608"/>
                    <a:pt x="8844" y="8620"/>
                  </a:cubicBezTo>
                  <a:cubicBezTo>
                    <a:pt x="8888" y="8632"/>
                    <a:pt x="8922" y="8637"/>
                    <a:pt x="8969" y="8642"/>
                  </a:cubicBezTo>
                  <a:cubicBezTo>
                    <a:pt x="9015" y="8647"/>
                    <a:pt x="9063" y="8664"/>
                    <a:pt x="9106" y="8646"/>
                  </a:cubicBezTo>
                  <a:cubicBezTo>
                    <a:pt x="9142" y="8631"/>
                    <a:pt x="9154" y="8594"/>
                    <a:pt x="9170" y="8570"/>
                  </a:cubicBezTo>
                  <a:cubicBezTo>
                    <a:pt x="9207" y="8512"/>
                    <a:pt x="9218" y="8453"/>
                    <a:pt x="9238" y="8391"/>
                  </a:cubicBezTo>
                  <a:cubicBezTo>
                    <a:pt x="9247" y="8362"/>
                    <a:pt x="9263" y="8336"/>
                    <a:pt x="9267" y="8306"/>
                  </a:cubicBezTo>
                  <a:cubicBezTo>
                    <a:pt x="9273" y="8260"/>
                    <a:pt x="9266" y="8264"/>
                    <a:pt x="9205" y="8261"/>
                  </a:cubicBezTo>
                  <a:cubicBezTo>
                    <a:pt x="9226" y="8247"/>
                    <a:pt x="9259" y="8249"/>
                    <a:pt x="9279" y="8236"/>
                  </a:cubicBezTo>
                  <a:cubicBezTo>
                    <a:pt x="9309" y="8216"/>
                    <a:pt x="9300" y="8188"/>
                    <a:pt x="9310" y="8160"/>
                  </a:cubicBezTo>
                  <a:cubicBezTo>
                    <a:pt x="9317" y="8135"/>
                    <a:pt x="9329" y="8111"/>
                    <a:pt x="9337" y="8087"/>
                  </a:cubicBezTo>
                  <a:cubicBezTo>
                    <a:pt x="9341" y="8075"/>
                    <a:pt x="9354" y="8066"/>
                    <a:pt x="9355" y="8053"/>
                  </a:cubicBezTo>
                  <a:cubicBezTo>
                    <a:pt x="9355" y="8043"/>
                    <a:pt x="9322" y="8020"/>
                    <a:pt x="9339" y="8017"/>
                  </a:cubicBezTo>
                  <a:cubicBezTo>
                    <a:pt x="9399" y="8007"/>
                    <a:pt x="9416" y="7937"/>
                    <a:pt x="9433" y="7894"/>
                  </a:cubicBezTo>
                  <a:cubicBezTo>
                    <a:pt x="9442" y="7871"/>
                    <a:pt x="9456" y="7839"/>
                    <a:pt x="9457" y="7816"/>
                  </a:cubicBezTo>
                  <a:cubicBezTo>
                    <a:pt x="9457" y="7805"/>
                    <a:pt x="9445" y="7732"/>
                    <a:pt x="9474" y="7780"/>
                  </a:cubicBezTo>
                  <a:close/>
                  <a:moveTo>
                    <a:pt x="4262" y="12528"/>
                  </a:moveTo>
                  <a:cubicBezTo>
                    <a:pt x="4270" y="12493"/>
                    <a:pt x="4285" y="12460"/>
                    <a:pt x="4292" y="12422"/>
                  </a:cubicBezTo>
                  <a:cubicBezTo>
                    <a:pt x="4287" y="12390"/>
                    <a:pt x="4264" y="12413"/>
                    <a:pt x="4248" y="12428"/>
                  </a:cubicBezTo>
                  <a:cubicBezTo>
                    <a:pt x="4230" y="12443"/>
                    <a:pt x="4223" y="12443"/>
                    <a:pt x="4228" y="12468"/>
                  </a:cubicBezTo>
                  <a:cubicBezTo>
                    <a:pt x="4221" y="12460"/>
                    <a:pt x="4210" y="12454"/>
                    <a:pt x="4203" y="12446"/>
                  </a:cubicBezTo>
                  <a:cubicBezTo>
                    <a:pt x="4199" y="12458"/>
                    <a:pt x="4247" y="12512"/>
                    <a:pt x="4262" y="12528"/>
                  </a:cubicBezTo>
                  <a:close/>
                  <a:moveTo>
                    <a:pt x="5870" y="5889"/>
                  </a:moveTo>
                  <a:cubicBezTo>
                    <a:pt x="5834" y="5886"/>
                    <a:pt x="5773" y="5912"/>
                    <a:pt x="5753" y="5935"/>
                  </a:cubicBezTo>
                  <a:cubicBezTo>
                    <a:pt x="5739" y="5951"/>
                    <a:pt x="5752" y="6007"/>
                    <a:pt x="5767" y="6025"/>
                  </a:cubicBezTo>
                  <a:cubicBezTo>
                    <a:pt x="5780" y="6041"/>
                    <a:pt x="5798" y="6028"/>
                    <a:pt x="5805" y="6060"/>
                  </a:cubicBezTo>
                  <a:cubicBezTo>
                    <a:pt x="5807" y="6069"/>
                    <a:pt x="5793" y="6077"/>
                    <a:pt x="5794" y="6084"/>
                  </a:cubicBezTo>
                  <a:cubicBezTo>
                    <a:pt x="5794" y="6084"/>
                    <a:pt x="5801" y="6106"/>
                    <a:pt x="5802" y="6097"/>
                  </a:cubicBezTo>
                  <a:cubicBezTo>
                    <a:pt x="5802" y="6088"/>
                    <a:pt x="5807" y="6149"/>
                    <a:pt x="5798" y="6137"/>
                  </a:cubicBezTo>
                  <a:cubicBezTo>
                    <a:pt x="5811" y="6153"/>
                    <a:pt x="5829" y="6149"/>
                    <a:pt x="5853" y="6151"/>
                  </a:cubicBezTo>
                  <a:cubicBezTo>
                    <a:pt x="5934" y="6159"/>
                    <a:pt x="6043" y="6176"/>
                    <a:pt x="6097" y="6109"/>
                  </a:cubicBezTo>
                  <a:cubicBezTo>
                    <a:pt x="6156" y="6037"/>
                    <a:pt x="5988" y="6046"/>
                    <a:pt x="5996" y="5983"/>
                  </a:cubicBezTo>
                  <a:cubicBezTo>
                    <a:pt x="6001" y="5937"/>
                    <a:pt x="5912" y="5961"/>
                    <a:pt x="5891" y="5968"/>
                  </a:cubicBezTo>
                  <a:cubicBezTo>
                    <a:pt x="5903" y="5930"/>
                    <a:pt x="5933" y="5921"/>
                    <a:pt x="5870" y="5889"/>
                  </a:cubicBezTo>
                  <a:close/>
                  <a:moveTo>
                    <a:pt x="6426" y="4971"/>
                  </a:moveTo>
                  <a:cubicBezTo>
                    <a:pt x="6375" y="4974"/>
                    <a:pt x="6281" y="4963"/>
                    <a:pt x="6253" y="5000"/>
                  </a:cubicBezTo>
                  <a:cubicBezTo>
                    <a:pt x="6235" y="5024"/>
                    <a:pt x="6255" y="5052"/>
                    <a:pt x="6262" y="5074"/>
                  </a:cubicBezTo>
                  <a:cubicBezTo>
                    <a:pt x="6278" y="5124"/>
                    <a:pt x="6366" y="5144"/>
                    <a:pt x="6425" y="5124"/>
                  </a:cubicBezTo>
                  <a:cubicBezTo>
                    <a:pt x="6465" y="5110"/>
                    <a:pt x="6469" y="5102"/>
                    <a:pt x="6519" y="5100"/>
                  </a:cubicBezTo>
                  <a:cubicBezTo>
                    <a:pt x="6547" y="5098"/>
                    <a:pt x="6581" y="5106"/>
                    <a:pt x="6581" y="5076"/>
                  </a:cubicBezTo>
                  <a:cubicBezTo>
                    <a:pt x="6581" y="5027"/>
                    <a:pt x="6465" y="4996"/>
                    <a:pt x="6426" y="4971"/>
                  </a:cubicBezTo>
                  <a:close/>
                  <a:moveTo>
                    <a:pt x="6204" y="6178"/>
                  </a:moveTo>
                  <a:cubicBezTo>
                    <a:pt x="6163" y="6128"/>
                    <a:pt x="5944" y="6201"/>
                    <a:pt x="5888" y="6212"/>
                  </a:cubicBezTo>
                  <a:cubicBezTo>
                    <a:pt x="5837" y="6222"/>
                    <a:pt x="5776" y="6244"/>
                    <a:pt x="5777" y="6291"/>
                  </a:cubicBezTo>
                  <a:cubicBezTo>
                    <a:pt x="5778" y="6347"/>
                    <a:pt x="5865" y="6340"/>
                    <a:pt x="5912" y="6353"/>
                  </a:cubicBezTo>
                  <a:cubicBezTo>
                    <a:pt x="5906" y="6356"/>
                    <a:pt x="5900" y="6358"/>
                    <a:pt x="5894" y="6361"/>
                  </a:cubicBezTo>
                  <a:cubicBezTo>
                    <a:pt x="5951" y="6380"/>
                    <a:pt x="6063" y="6359"/>
                    <a:pt x="6121" y="6343"/>
                  </a:cubicBezTo>
                  <a:cubicBezTo>
                    <a:pt x="6228" y="6312"/>
                    <a:pt x="6247" y="6254"/>
                    <a:pt x="6204" y="6178"/>
                  </a:cubicBezTo>
                  <a:close/>
                  <a:moveTo>
                    <a:pt x="6060" y="6581"/>
                  </a:moveTo>
                  <a:cubicBezTo>
                    <a:pt x="6075" y="6585"/>
                    <a:pt x="6129" y="6582"/>
                    <a:pt x="6145" y="6578"/>
                  </a:cubicBezTo>
                  <a:cubicBezTo>
                    <a:pt x="6192" y="6567"/>
                    <a:pt x="6215" y="6561"/>
                    <a:pt x="6239" y="6524"/>
                  </a:cubicBezTo>
                  <a:cubicBezTo>
                    <a:pt x="6268" y="6477"/>
                    <a:pt x="6294" y="6469"/>
                    <a:pt x="6360" y="6441"/>
                  </a:cubicBezTo>
                  <a:cubicBezTo>
                    <a:pt x="6330" y="6392"/>
                    <a:pt x="6269" y="6409"/>
                    <a:pt x="6197" y="6431"/>
                  </a:cubicBezTo>
                  <a:cubicBezTo>
                    <a:pt x="6172" y="6438"/>
                    <a:pt x="6121" y="6452"/>
                    <a:pt x="6104" y="6468"/>
                  </a:cubicBezTo>
                  <a:cubicBezTo>
                    <a:pt x="6089" y="6483"/>
                    <a:pt x="6100" y="6507"/>
                    <a:pt x="6098" y="6509"/>
                  </a:cubicBezTo>
                  <a:cubicBezTo>
                    <a:pt x="6090" y="6519"/>
                    <a:pt x="6073" y="6512"/>
                    <a:pt x="6063" y="6522"/>
                  </a:cubicBezTo>
                  <a:cubicBezTo>
                    <a:pt x="6039" y="6546"/>
                    <a:pt x="6012" y="6567"/>
                    <a:pt x="6060" y="6581"/>
                  </a:cubicBezTo>
                  <a:close/>
                  <a:moveTo>
                    <a:pt x="7798" y="8413"/>
                  </a:moveTo>
                  <a:cubicBezTo>
                    <a:pt x="7697" y="8383"/>
                    <a:pt x="7677" y="8569"/>
                    <a:pt x="7759" y="8598"/>
                  </a:cubicBezTo>
                  <a:cubicBezTo>
                    <a:pt x="7821" y="8621"/>
                    <a:pt x="7857" y="8561"/>
                    <a:pt x="7860" y="8524"/>
                  </a:cubicBezTo>
                  <a:cubicBezTo>
                    <a:pt x="7862" y="8489"/>
                    <a:pt x="7838" y="8469"/>
                    <a:pt x="7824" y="8454"/>
                  </a:cubicBezTo>
                  <a:cubicBezTo>
                    <a:pt x="7830" y="8461"/>
                    <a:pt x="7814" y="8454"/>
                    <a:pt x="7810" y="8449"/>
                  </a:cubicBezTo>
                  <a:cubicBezTo>
                    <a:pt x="7802" y="8441"/>
                    <a:pt x="7812" y="8425"/>
                    <a:pt x="7798" y="8413"/>
                  </a:cubicBezTo>
                  <a:close/>
                  <a:moveTo>
                    <a:pt x="7233" y="7948"/>
                  </a:moveTo>
                  <a:cubicBezTo>
                    <a:pt x="7274" y="8017"/>
                    <a:pt x="7542" y="7842"/>
                    <a:pt x="7502" y="7762"/>
                  </a:cubicBezTo>
                  <a:cubicBezTo>
                    <a:pt x="7402" y="7759"/>
                    <a:pt x="7340" y="7779"/>
                    <a:pt x="7250" y="7812"/>
                  </a:cubicBezTo>
                  <a:cubicBezTo>
                    <a:pt x="7197" y="7832"/>
                    <a:pt x="7068" y="7882"/>
                    <a:pt x="7047" y="7924"/>
                  </a:cubicBezTo>
                  <a:cubicBezTo>
                    <a:pt x="7024" y="7966"/>
                    <a:pt x="7146" y="7954"/>
                    <a:pt x="7169" y="7958"/>
                  </a:cubicBezTo>
                  <a:cubicBezTo>
                    <a:pt x="7252" y="7971"/>
                    <a:pt x="7144" y="7964"/>
                    <a:pt x="7121" y="7980"/>
                  </a:cubicBezTo>
                  <a:cubicBezTo>
                    <a:pt x="7178" y="7996"/>
                    <a:pt x="7229" y="7986"/>
                    <a:pt x="7233" y="7948"/>
                  </a:cubicBezTo>
                  <a:close/>
                  <a:moveTo>
                    <a:pt x="6519" y="5911"/>
                  </a:moveTo>
                  <a:cubicBezTo>
                    <a:pt x="6488" y="5925"/>
                    <a:pt x="6384" y="5964"/>
                    <a:pt x="6477" y="5979"/>
                  </a:cubicBezTo>
                  <a:cubicBezTo>
                    <a:pt x="6555" y="5991"/>
                    <a:pt x="6689" y="5882"/>
                    <a:pt x="6744" y="5851"/>
                  </a:cubicBezTo>
                  <a:cubicBezTo>
                    <a:pt x="6756" y="5824"/>
                    <a:pt x="6650" y="5828"/>
                    <a:pt x="6623" y="5838"/>
                  </a:cubicBezTo>
                  <a:cubicBezTo>
                    <a:pt x="6574" y="5855"/>
                    <a:pt x="6564" y="5890"/>
                    <a:pt x="6519" y="5911"/>
                  </a:cubicBezTo>
                  <a:close/>
                  <a:moveTo>
                    <a:pt x="8227" y="5076"/>
                  </a:moveTo>
                  <a:cubicBezTo>
                    <a:pt x="8241" y="5059"/>
                    <a:pt x="8276" y="5061"/>
                    <a:pt x="8237" y="5026"/>
                  </a:cubicBezTo>
                  <a:cubicBezTo>
                    <a:pt x="8226" y="5003"/>
                    <a:pt x="8150" y="4978"/>
                    <a:pt x="8121" y="4984"/>
                  </a:cubicBezTo>
                  <a:cubicBezTo>
                    <a:pt x="8096" y="4990"/>
                    <a:pt x="8097" y="5014"/>
                    <a:pt x="8072" y="5018"/>
                  </a:cubicBezTo>
                  <a:cubicBezTo>
                    <a:pt x="8065" y="5019"/>
                    <a:pt x="8058" y="5003"/>
                    <a:pt x="8053" y="5003"/>
                  </a:cubicBezTo>
                  <a:cubicBezTo>
                    <a:pt x="8045" y="5002"/>
                    <a:pt x="8029" y="5007"/>
                    <a:pt x="8028" y="5007"/>
                  </a:cubicBezTo>
                  <a:cubicBezTo>
                    <a:pt x="7987" y="5002"/>
                    <a:pt x="7949" y="4993"/>
                    <a:pt x="7898" y="4992"/>
                  </a:cubicBezTo>
                  <a:cubicBezTo>
                    <a:pt x="7857" y="4991"/>
                    <a:pt x="7806" y="5048"/>
                    <a:pt x="7781" y="5021"/>
                  </a:cubicBezTo>
                  <a:cubicBezTo>
                    <a:pt x="7766" y="5056"/>
                    <a:pt x="7763" y="4991"/>
                    <a:pt x="7725" y="4998"/>
                  </a:cubicBezTo>
                  <a:cubicBezTo>
                    <a:pt x="7724" y="4998"/>
                    <a:pt x="7688" y="5024"/>
                    <a:pt x="7681" y="5027"/>
                  </a:cubicBezTo>
                  <a:cubicBezTo>
                    <a:pt x="7668" y="5035"/>
                    <a:pt x="7655" y="5037"/>
                    <a:pt x="7643" y="5044"/>
                  </a:cubicBezTo>
                  <a:cubicBezTo>
                    <a:pt x="7570" y="5089"/>
                    <a:pt x="7564" y="5143"/>
                    <a:pt x="7618" y="5204"/>
                  </a:cubicBezTo>
                  <a:cubicBezTo>
                    <a:pt x="7689" y="5283"/>
                    <a:pt x="7812" y="5239"/>
                    <a:pt x="7920" y="5226"/>
                  </a:cubicBezTo>
                  <a:cubicBezTo>
                    <a:pt x="7967" y="5220"/>
                    <a:pt x="8001" y="5230"/>
                    <a:pt x="8046" y="5234"/>
                  </a:cubicBezTo>
                  <a:cubicBezTo>
                    <a:pt x="8077" y="5238"/>
                    <a:pt x="8129" y="5245"/>
                    <a:pt x="8131" y="5229"/>
                  </a:cubicBezTo>
                  <a:cubicBezTo>
                    <a:pt x="8213" y="5236"/>
                    <a:pt x="8188" y="5191"/>
                    <a:pt x="8191" y="5144"/>
                  </a:cubicBezTo>
                  <a:cubicBezTo>
                    <a:pt x="8194" y="5107"/>
                    <a:pt x="8208" y="5101"/>
                    <a:pt x="8227" y="5076"/>
                  </a:cubicBezTo>
                  <a:close/>
                  <a:moveTo>
                    <a:pt x="6833" y="10248"/>
                  </a:moveTo>
                  <a:cubicBezTo>
                    <a:pt x="6812" y="10228"/>
                    <a:pt x="6789" y="10257"/>
                    <a:pt x="6760" y="10236"/>
                  </a:cubicBezTo>
                  <a:cubicBezTo>
                    <a:pt x="6772" y="10273"/>
                    <a:pt x="6759" y="10306"/>
                    <a:pt x="6791" y="10336"/>
                  </a:cubicBezTo>
                  <a:cubicBezTo>
                    <a:pt x="6822" y="10366"/>
                    <a:pt x="6874" y="10368"/>
                    <a:pt x="6905" y="10394"/>
                  </a:cubicBezTo>
                  <a:cubicBezTo>
                    <a:pt x="6904" y="10362"/>
                    <a:pt x="6882" y="10333"/>
                    <a:pt x="6882" y="10301"/>
                  </a:cubicBezTo>
                  <a:cubicBezTo>
                    <a:pt x="6893" y="10307"/>
                    <a:pt x="6910" y="10309"/>
                    <a:pt x="6917" y="10311"/>
                  </a:cubicBezTo>
                  <a:cubicBezTo>
                    <a:pt x="6897" y="10286"/>
                    <a:pt x="6862" y="10268"/>
                    <a:pt x="6833" y="10248"/>
                  </a:cubicBezTo>
                  <a:close/>
                  <a:moveTo>
                    <a:pt x="6821" y="11581"/>
                  </a:moveTo>
                  <a:cubicBezTo>
                    <a:pt x="6842" y="11597"/>
                    <a:pt x="6843" y="11560"/>
                    <a:pt x="6855" y="11561"/>
                  </a:cubicBezTo>
                  <a:cubicBezTo>
                    <a:pt x="6893" y="11565"/>
                    <a:pt x="6871" y="11656"/>
                    <a:pt x="6935" y="11572"/>
                  </a:cubicBezTo>
                  <a:cubicBezTo>
                    <a:pt x="6952" y="11551"/>
                    <a:pt x="6973" y="11529"/>
                    <a:pt x="6966" y="11492"/>
                  </a:cubicBezTo>
                  <a:cubicBezTo>
                    <a:pt x="6963" y="11473"/>
                    <a:pt x="6932" y="11447"/>
                    <a:pt x="6913" y="11416"/>
                  </a:cubicBezTo>
                  <a:cubicBezTo>
                    <a:pt x="6893" y="11386"/>
                    <a:pt x="6847" y="11383"/>
                    <a:pt x="6827" y="11408"/>
                  </a:cubicBezTo>
                  <a:cubicBezTo>
                    <a:pt x="6814" y="11424"/>
                    <a:pt x="6823" y="11449"/>
                    <a:pt x="6822" y="11469"/>
                  </a:cubicBezTo>
                  <a:cubicBezTo>
                    <a:pt x="6820" y="11492"/>
                    <a:pt x="6811" y="11519"/>
                    <a:pt x="6815" y="11545"/>
                  </a:cubicBezTo>
                  <a:cubicBezTo>
                    <a:pt x="6817" y="11557"/>
                    <a:pt x="6809" y="11571"/>
                    <a:pt x="6821" y="11581"/>
                  </a:cubicBezTo>
                  <a:close/>
                  <a:moveTo>
                    <a:pt x="8427" y="11124"/>
                  </a:moveTo>
                  <a:cubicBezTo>
                    <a:pt x="8464" y="11128"/>
                    <a:pt x="8499" y="11087"/>
                    <a:pt x="8507" y="11067"/>
                  </a:cubicBezTo>
                  <a:cubicBezTo>
                    <a:pt x="8523" y="11020"/>
                    <a:pt x="8504" y="10981"/>
                    <a:pt x="8464" y="10949"/>
                  </a:cubicBezTo>
                  <a:cubicBezTo>
                    <a:pt x="8433" y="10938"/>
                    <a:pt x="8416" y="10915"/>
                    <a:pt x="8392" y="10915"/>
                  </a:cubicBezTo>
                  <a:cubicBezTo>
                    <a:pt x="8371" y="10914"/>
                    <a:pt x="8335" y="10919"/>
                    <a:pt x="8323" y="10938"/>
                  </a:cubicBezTo>
                  <a:cubicBezTo>
                    <a:pt x="8308" y="10961"/>
                    <a:pt x="8306" y="11012"/>
                    <a:pt x="8307" y="11036"/>
                  </a:cubicBezTo>
                  <a:cubicBezTo>
                    <a:pt x="8308" y="11047"/>
                    <a:pt x="8320" y="11064"/>
                    <a:pt x="8323" y="11072"/>
                  </a:cubicBezTo>
                  <a:cubicBezTo>
                    <a:pt x="8326" y="11084"/>
                    <a:pt x="8303" y="11108"/>
                    <a:pt x="8338" y="11113"/>
                  </a:cubicBezTo>
                  <a:cubicBezTo>
                    <a:pt x="8356" y="11115"/>
                    <a:pt x="8377" y="11038"/>
                    <a:pt x="8375" y="11020"/>
                  </a:cubicBezTo>
                  <a:cubicBezTo>
                    <a:pt x="8374" y="11008"/>
                    <a:pt x="8340" y="10921"/>
                    <a:pt x="8402" y="10977"/>
                  </a:cubicBezTo>
                  <a:cubicBezTo>
                    <a:pt x="8413" y="10987"/>
                    <a:pt x="8425" y="11049"/>
                    <a:pt x="8424" y="11062"/>
                  </a:cubicBezTo>
                  <a:cubicBezTo>
                    <a:pt x="8424" y="11084"/>
                    <a:pt x="8372" y="11118"/>
                    <a:pt x="8427" y="11124"/>
                  </a:cubicBezTo>
                  <a:close/>
                  <a:moveTo>
                    <a:pt x="5331" y="11706"/>
                  </a:moveTo>
                  <a:cubicBezTo>
                    <a:pt x="5315" y="11724"/>
                    <a:pt x="5354" y="11766"/>
                    <a:pt x="5373" y="11782"/>
                  </a:cubicBezTo>
                  <a:cubicBezTo>
                    <a:pt x="5400" y="11803"/>
                    <a:pt x="5458" y="11838"/>
                    <a:pt x="5501" y="11826"/>
                  </a:cubicBezTo>
                  <a:cubicBezTo>
                    <a:pt x="5589" y="11801"/>
                    <a:pt x="5482" y="11729"/>
                    <a:pt x="5453" y="11702"/>
                  </a:cubicBezTo>
                  <a:cubicBezTo>
                    <a:pt x="5427" y="11693"/>
                    <a:pt x="5351" y="11684"/>
                    <a:pt x="5331" y="11706"/>
                  </a:cubicBezTo>
                  <a:close/>
                  <a:moveTo>
                    <a:pt x="5582" y="8466"/>
                  </a:moveTo>
                  <a:cubicBezTo>
                    <a:pt x="5638" y="8374"/>
                    <a:pt x="5651" y="8290"/>
                    <a:pt x="5681" y="8194"/>
                  </a:cubicBezTo>
                  <a:cubicBezTo>
                    <a:pt x="5694" y="8154"/>
                    <a:pt x="5645" y="8137"/>
                    <a:pt x="5615" y="8117"/>
                  </a:cubicBezTo>
                  <a:cubicBezTo>
                    <a:pt x="5590" y="8100"/>
                    <a:pt x="5565" y="8076"/>
                    <a:pt x="5538" y="8055"/>
                  </a:cubicBezTo>
                  <a:cubicBezTo>
                    <a:pt x="5462" y="7992"/>
                    <a:pt x="5407" y="8034"/>
                    <a:pt x="5314" y="8035"/>
                  </a:cubicBezTo>
                  <a:cubicBezTo>
                    <a:pt x="5247" y="8036"/>
                    <a:pt x="5152" y="8017"/>
                    <a:pt x="5098" y="8057"/>
                  </a:cubicBezTo>
                  <a:cubicBezTo>
                    <a:pt x="5069" y="8079"/>
                    <a:pt x="5050" y="8123"/>
                    <a:pt x="5026" y="8149"/>
                  </a:cubicBezTo>
                  <a:cubicBezTo>
                    <a:pt x="4998" y="8178"/>
                    <a:pt x="4977" y="8194"/>
                    <a:pt x="5019" y="8215"/>
                  </a:cubicBezTo>
                  <a:cubicBezTo>
                    <a:pt x="5027" y="8219"/>
                    <a:pt x="5057" y="8221"/>
                    <a:pt x="5072" y="8227"/>
                  </a:cubicBezTo>
                  <a:cubicBezTo>
                    <a:pt x="5078" y="8230"/>
                    <a:pt x="5111" y="8251"/>
                    <a:pt x="5115" y="8254"/>
                  </a:cubicBezTo>
                  <a:cubicBezTo>
                    <a:pt x="5144" y="8276"/>
                    <a:pt x="5162" y="8299"/>
                    <a:pt x="5187" y="8323"/>
                  </a:cubicBezTo>
                  <a:cubicBezTo>
                    <a:pt x="5193" y="8329"/>
                    <a:pt x="5206" y="8332"/>
                    <a:pt x="5210" y="8339"/>
                  </a:cubicBezTo>
                  <a:cubicBezTo>
                    <a:pt x="5213" y="8343"/>
                    <a:pt x="5216" y="8361"/>
                    <a:pt x="5211" y="8354"/>
                  </a:cubicBezTo>
                  <a:cubicBezTo>
                    <a:pt x="5215" y="8360"/>
                    <a:pt x="5234" y="8384"/>
                    <a:pt x="5238" y="8392"/>
                  </a:cubicBezTo>
                  <a:cubicBezTo>
                    <a:pt x="5247" y="8413"/>
                    <a:pt x="5232" y="8415"/>
                    <a:pt x="5242" y="8432"/>
                  </a:cubicBezTo>
                  <a:cubicBezTo>
                    <a:pt x="5246" y="8439"/>
                    <a:pt x="5272" y="8451"/>
                    <a:pt x="5276" y="8455"/>
                  </a:cubicBezTo>
                  <a:cubicBezTo>
                    <a:pt x="5330" y="8506"/>
                    <a:pt x="5356" y="8592"/>
                    <a:pt x="5403" y="8646"/>
                  </a:cubicBezTo>
                  <a:cubicBezTo>
                    <a:pt x="5411" y="8657"/>
                    <a:pt x="5431" y="8674"/>
                    <a:pt x="5448" y="8669"/>
                  </a:cubicBezTo>
                  <a:cubicBezTo>
                    <a:pt x="5468" y="8664"/>
                    <a:pt x="5442" y="8658"/>
                    <a:pt x="5443" y="8653"/>
                  </a:cubicBezTo>
                  <a:cubicBezTo>
                    <a:pt x="5443" y="8642"/>
                    <a:pt x="5421" y="8609"/>
                    <a:pt x="5427" y="8601"/>
                  </a:cubicBezTo>
                  <a:cubicBezTo>
                    <a:pt x="5435" y="8589"/>
                    <a:pt x="5505" y="8571"/>
                    <a:pt x="5523" y="8556"/>
                  </a:cubicBezTo>
                  <a:cubicBezTo>
                    <a:pt x="5545" y="8539"/>
                    <a:pt x="5569" y="8488"/>
                    <a:pt x="5582" y="8466"/>
                  </a:cubicBezTo>
                  <a:close/>
                  <a:moveTo>
                    <a:pt x="5806" y="7105"/>
                  </a:moveTo>
                  <a:cubicBezTo>
                    <a:pt x="5895" y="7094"/>
                    <a:pt x="5972" y="7036"/>
                    <a:pt x="5942" y="6970"/>
                  </a:cubicBezTo>
                  <a:cubicBezTo>
                    <a:pt x="5931" y="6946"/>
                    <a:pt x="5906" y="6902"/>
                    <a:pt x="5911" y="6872"/>
                  </a:cubicBezTo>
                  <a:cubicBezTo>
                    <a:pt x="5914" y="6848"/>
                    <a:pt x="5851" y="6821"/>
                    <a:pt x="5829" y="6805"/>
                  </a:cubicBezTo>
                  <a:cubicBezTo>
                    <a:pt x="5681" y="6830"/>
                    <a:pt x="5701" y="6906"/>
                    <a:pt x="5649" y="6988"/>
                  </a:cubicBezTo>
                  <a:cubicBezTo>
                    <a:pt x="5620" y="7034"/>
                    <a:pt x="5650" y="7050"/>
                    <a:pt x="5699" y="7080"/>
                  </a:cubicBezTo>
                  <a:cubicBezTo>
                    <a:pt x="5732" y="7099"/>
                    <a:pt x="5771" y="7109"/>
                    <a:pt x="5806" y="7105"/>
                  </a:cubicBezTo>
                  <a:close/>
                  <a:moveTo>
                    <a:pt x="7101" y="9576"/>
                  </a:moveTo>
                  <a:cubicBezTo>
                    <a:pt x="7121" y="9593"/>
                    <a:pt x="7126" y="9586"/>
                    <a:pt x="7137" y="9607"/>
                  </a:cubicBezTo>
                  <a:cubicBezTo>
                    <a:pt x="7141" y="9616"/>
                    <a:pt x="7143" y="9640"/>
                    <a:pt x="7148" y="9654"/>
                  </a:cubicBezTo>
                  <a:cubicBezTo>
                    <a:pt x="7155" y="9672"/>
                    <a:pt x="7167" y="9738"/>
                    <a:pt x="7185" y="9749"/>
                  </a:cubicBezTo>
                  <a:cubicBezTo>
                    <a:pt x="7225" y="9772"/>
                    <a:pt x="7237" y="9716"/>
                    <a:pt x="7278" y="9739"/>
                  </a:cubicBezTo>
                  <a:cubicBezTo>
                    <a:pt x="7309" y="9756"/>
                    <a:pt x="7303" y="9790"/>
                    <a:pt x="7345" y="9803"/>
                  </a:cubicBezTo>
                  <a:cubicBezTo>
                    <a:pt x="7434" y="9761"/>
                    <a:pt x="7494" y="9708"/>
                    <a:pt x="7527" y="9633"/>
                  </a:cubicBezTo>
                  <a:cubicBezTo>
                    <a:pt x="7538" y="9608"/>
                    <a:pt x="7487" y="9580"/>
                    <a:pt x="7465" y="9558"/>
                  </a:cubicBezTo>
                  <a:cubicBezTo>
                    <a:pt x="7454" y="9548"/>
                    <a:pt x="7431" y="9530"/>
                    <a:pt x="7427" y="9516"/>
                  </a:cubicBezTo>
                  <a:cubicBezTo>
                    <a:pt x="7422" y="9492"/>
                    <a:pt x="7399" y="9484"/>
                    <a:pt x="7397" y="9462"/>
                  </a:cubicBezTo>
                  <a:cubicBezTo>
                    <a:pt x="7393" y="9416"/>
                    <a:pt x="7457" y="9388"/>
                    <a:pt x="7454" y="9351"/>
                  </a:cubicBezTo>
                  <a:cubicBezTo>
                    <a:pt x="7488" y="9365"/>
                    <a:pt x="7401" y="9473"/>
                    <a:pt x="7467" y="9516"/>
                  </a:cubicBezTo>
                  <a:cubicBezTo>
                    <a:pt x="7482" y="9527"/>
                    <a:pt x="7497" y="9543"/>
                    <a:pt x="7521" y="9530"/>
                  </a:cubicBezTo>
                  <a:cubicBezTo>
                    <a:pt x="7551" y="9513"/>
                    <a:pt x="7540" y="9527"/>
                    <a:pt x="7568" y="9528"/>
                  </a:cubicBezTo>
                  <a:cubicBezTo>
                    <a:pt x="7610" y="9529"/>
                    <a:pt x="7642" y="9549"/>
                    <a:pt x="7684" y="9542"/>
                  </a:cubicBezTo>
                  <a:cubicBezTo>
                    <a:pt x="7756" y="9531"/>
                    <a:pt x="7802" y="9482"/>
                    <a:pt x="7828" y="9436"/>
                  </a:cubicBezTo>
                  <a:cubicBezTo>
                    <a:pt x="7840" y="9414"/>
                    <a:pt x="7851" y="9389"/>
                    <a:pt x="7881" y="9376"/>
                  </a:cubicBezTo>
                  <a:cubicBezTo>
                    <a:pt x="7936" y="9353"/>
                    <a:pt x="7891" y="9384"/>
                    <a:pt x="7903" y="9389"/>
                  </a:cubicBezTo>
                  <a:cubicBezTo>
                    <a:pt x="7915" y="9394"/>
                    <a:pt x="7927" y="9407"/>
                    <a:pt x="7952" y="9383"/>
                  </a:cubicBezTo>
                  <a:cubicBezTo>
                    <a:pt x="7961" y="9375"/>
                    <a:pt x="7967" y="9341"/>
                    <a:pt x="7965" y="9330"/>
                  </a:cubicBezTo>
                  <a:cubicBezTo>
                    <a:pt x="7957" y="9271"/>
                    <a:pt x="7894" y="9338"/>
                    <a:pt x="7896" y="9315"/>
                  </a:cubicBezTo>
                  <a:cubicBezTo>
                    <a:pt x="7898" y="9299"/>
                    <a:pt x="8002" y="9253"/>
                    <a:pt x="7959" y="9229"/>
                  </a:cubicBezTo>
                  <a:cubicBezTo>
                    <a:pt x="7942" y="9219"/>
                    <a:pt x="7926" y="9245"/>
                    <a:pt x="7909" y="9246"/>
                  </a:cubicBezTo>
                  <a:cubicBezTo>
                    <a:pt x="7898" y="9247"/>
                    <a:pt x="7868" y="9233"/>
                    <a:pt x="7856" y="9231"/>
                  </a:cubicBezTo>
                  <a:cubicBezTo>
                    <a:pt x="7925" y="9191"/>
                    <a:pt x="7975" y="9198"/>
                    <a:pt x="7939" y="9118"/>
                  </a:cubicBezTo>
                  <a:cubicBezTo>
                    <a:pt x="7931" y="9100"/>
                    <a:pt x="7934" y="9069"/>
                    <a:pt x="7918" y="9058"/>
                  </a:cubicBezTo>
                  <a:cubicBezTo>
                    <a:pt x="7922" y="9061"/>
                    <a:pt x="7883" y="9049"/>
                    <a:pt x="7880" y="9048"/>
                  </a:cubicBezTo>
                  <a:cubicBezTo>
                    <a:pt x="7864" y="9042"/>
                    <a:pt x="7849" y="9039"/>
                    <a:pt x="7834" y="9030"/>
                  </a:cubicBezTo>
                  <a:cubicBezTo>
                    <a:pt x="7854" y="9026"/>
                    <a:pt x="7876" y="9037"/>
                    <a:pt x="7891" y="9032"/>
                  </a:cubicBezTo>
                  <a:cubicBezTo>
                    <a:pt x="7918" y="9023"/>
                    <a:pt x="7940" y="8982"/>
                    <a:pt x="7958" y="8966"/>
                  </a:cubicBezTo>
                  <a:cubicBezTo>
                    <a:pt x="7993" y="8936"/>
                    <a:pt x="7980" y="8917"/>
                    <a:pt x="7960" y="8878"/>
                  </a:cubicBezTo>
                  <a:cubicBezTo>
                    <a:pt x="7945" y="8850"/>
                    <a:pt x="7929" y="8819"/>
                    <a:pt x="7918" y="8789"/>
                  </a:cubicBezTo>
                  <a:cubicBezTo>
                    <a:pt x="7913" y="8775"/>
                    <a:pt x="7909" y="8745"/>
                    <a:pt x="7899" y="8733"/>
                  </a:cubicBezTo>
                  <a:cubicBezTo>
                    <a:pt x="7876" y="8705"/>
                    <a:pt x="7896" y="8730"/>
                    <a:pt x="7874" y="8740"/>
                  </a:cubicBezTo>
                  <a:cubicBezTo>
                    <a:pt x="7836" y="8756"/>
                    <a:pt x="7803" y="8769"/>
                    <a:pt x="7774" y="8797"/>
                  </a:cubicBezTo>
                  <a:cubicBezTo>
                    <a:pt x="7742" y="8826"/>
                    <a:pt x="7712" y="8854"/>
                    <a:pt x="7722" y="8788"/>
                  </a:cubicBezTo>
                  <a:cubicBezTo>
                    <a:pt x="7727" y="8750"/>
                    <a:pt x="7770" y="8748"/>
                    <a:pt x="7739" y="8707"/>
                  </a:cubicBezTo>
                  <a:cubicBezTo>
                    <a:pt x="7736" y="8703"/>
                    <a:pt x="7722" y="8709"/>
                    <a:pt x="7716" y="8703"/>
                  </a:cubicBezTo>
                  <a:cubicBezTo>
                    <a:pt x="7710" y="8697"/>
                    <a:pt x="7714" y="8684"/>
                    <a:pt x="7705" y="8679"/>
                  </a:cubicBezTo>
                  <a:cubicBezTo>
                    <a:pt x="7702" y="8677"/>
                    <a:pt x="7646" y="8649"/>
                    <a:pt x="7648" y="8653"/>
                  </a:cubicBezTo>
                  <a:cubicBezTo>
                    <a:pt x="7647" y="8652"/>
                    <a:pt x="7646" y="8651"/>
                    <a:pt x="7644" y="8650"/>
                  </a:cubicBezTo>
                  <a:cubicBezTo>
                    <a:pt x="7772" y="8599"/>
                    <a:pt x="7568" y="8518"/>
                    <a:pt x="7504" y="8525"/>
                  </a:cubicBezTo>
                  <a:cubicBezTo>
                    <a:pt x="7428" y="8532"/>
                    <a:pt x="7366" y="8607"/>
                    <a:pt x="7360" y="8665"/>
                  </a:cubicBezTo>
                  <a:cubicBezTo>
                    <a:pt x="7348" y="8644"/>
                    <a:pt x="7348" y="8613"/>
                    <a:pt x="7342" y="8592"/>
                  </a:cubicBezTo>
                  <a:cubicBezTo>
                    <a:pt x="7335" y="8566"/>
                    <a:pt x="7336" y="8567"/>
                    <a:pt x="7349" y="8547"/>
                  </a:cubicBezTo>
                  <a:cubicBezTo>
                    <a:pt x="7371" y="8514"/>
                    <a:pt x="7419" y="8477"/>
                    <a:pt x="7449" y="8445"/>
                  </a:cubicBezTo>
                  <a:cubicBezTo>
                    <a:pt x="7479" y="8413"/>
                    <a:pt x="7488" y="8367"/>
                    <a:pt x="7527" y="8341"/>
                  </a:cubicBezTo>
                  <a:cubicBezTo>
                    <a:pt x="7549" y="8326"/>
                    <a:pt x="7646" y="8283"/>
                    <a:pt x="7660" y="8298"/>
                  </a:cubicBezTo>
                  <a:cubicBezTo>
                    <a:pt x="7685" y="8278"/>
                    <a:pt x="7667" y="8266"/>
                    <a:pt x="7667" y="8250"/>
                  </a:cubicBezTo>
                  <a:cubicBezTo>
                    <a:pt x="7667" y="8244"/>
                    <a:pt x="7670" y="8218"/>
                    <a:pt x="7658" y="8210"/>
                  </a:cubicBezTo>
                  <a:cubicBezTo>
                    <a:pt x="7664" y="8215"/>
                    <a:pt x="7605" y="8209"/>
                    <a:pt x="7609" y="8208"/>
                  </a:cubicBezTo>
                  <a:cubicBezTo>
                    <a:pt x="7610" y="8208"/>
                    <a:pt x="7600" y="8200"/>
                    <a:pt x="7590" y="8201"/>
                  </a:cubicBezTo>
                  <a:cubicBezTo>
                    <a:pt x="7579" y="8202"/>
                    <a:pt x="7568" y="8224"/>
                    <a:pt x="7564" y="8223"/>
                  </a:cubicBezTo>
                  <a:cubicBezTo>
                    <a:pt x="7541" y="8223"/>
                    <a:pt x="7538" y="8201"/>
                    <a:pt x="7543" y="8178"/>
                  </a:cubicBezTo>
                  <a:cubicBezTo>
                    <a:pt x="7547" y="8156"/>
                    <a:pt x="7564" y="8181"/>
                    <a:pt x="7568" y="8176"/>
                  </a:cubicBezTo>
                  <a:cubicBezTo>
                    <a:pt x="7559" y="8186"/>
                    <a:pt x="7600" y="8160"/>
                    <a:pt x="7593" y="8164"/>
                  </a:cubicBezTo>
                  <a:cubicBezTo>
                    <a:pt x="7596" y="8162"/>
                    <a:pt x="7582" y="8142"/>
                    <a:pt x="7587" y="8139"/>
                  </a:cubicBezTo>
                  <a:cubicBezTo>
                    <a:pt x="7599" y="8132"/>
                    <a:pt x="7605" y="8147"/>
                    <a:pt x="7612" y="8144"/>
                  </a:cubicBezTo>
                  <a:cubicBezTo>
                    <a:pt x="7616" y="8143"/>
                    <a:pt x="7636" y="8151"/>
                    <a:pt x="7644" y="8149"/>
                  </a:cubicBezTo>
                  <a:cubicBezTo>
                    <a:pt x="7654" y="8147"/>
                    <a:pt x="7659" y="8131"/>
                    <a:pt x="7666" y="8125"/>
                  </a:cubicBezTo>
                  <a:cubicBezTo>
                    <a:pt x="7751" y="8056"/>
                    <a:pt x="7699" y="8001"/>
                    <a:pt x="7634" y="7937"/>
                  </a:cubicBezTo>
                  <a:cubicBezTo>
                    <a:pt x="7616" y="7920"/>
                    <a:pt x="7600" y="7938"/>
                    <a:pt x="7588" y="7935"/>
                  </a:cubicBezTo>
                  <a:cubicBezTo>
                    <a:pt x="7576" y="7932"/>
                    <a:pt x="7538" y="7911"/>
                    <a:pt x="7533" y="7911"/>
                  </a:cubicBezTo>
                  <a:cubicBezTo>
                    <a:pt x="7515" y="7911"/>
                    <a:pt x="7488" y="7942"/>
                    <a:pt x="7475" y="7936"/>
                  </a:cubicBezTo>
                  <a:cubicBezTo>
                    <a:pt x="7457" y="7929"/>
                    <a:pt x="7508" y="7901"/>
                    <a:pt x="7472" y="7901"/>
                  </a:cubicBezTo>
                  <a:cubicBezTo>
                    <a:pt x="7442" y="7901"/>
                    <a:pt x="7431" y="7951"/>
                    <a:pt x="7409" y="7964"/>
                  </a:cubicBezTo>
                  <a:cubicBezTo>
                    <a:pt x="7376" y="7985"/>
                    <a:pt x="7339" y="7985"/>
                    <a:pt x="7296" y="7995"/>
                  </a:cubicBezTo>
                  <a:cubicBezTo>
                    <a:pt x="7257" y="8004"/>
                    <a:pt x="7229" y="8021"/>
                    <a:pt x="7199" y="8026"/>
                  </a:cubicBezTo>
                  <a:cubicBezTo>
                    <a:pt x="7185" y="8029"/>
                    <a:pt x="7162" y="8025"/>
                    <a:pt x="7149" y="8030"/>
                  </a:cubicBezTo>
                  <a:cubicBezTo>
                    <a:pt x="7122" y="8040"/>
                    <a:pt x="7139" y="8044"/>
                    <a:pt x="7120" y="8056"/>
                  </a:cubicBezTo>
                  <a:cubicBezTo>
                    <a:pt x="7105" y="8065"/>
                    <a:pt x="7132" y="8088"/>
                    <a:pt x="7100" y="8067"/>
                  </a:cubicBezTo>
                  <a:cubicBezTo>
                    <a:pt x="7103" y="8069"/>
                    <a:pt x="7081" y="8027"/>
                    <a:pt x="7076" y="8022"/>
                  </a:cubicBezTo>
                  <a:cubicBezTo>
                    <a:pt x="7042" y="7987"/>
                    <a:pt x="7009" y="7986"/>
                    <a:pt x="6967" y="7964"/>
                  </a:cubicBezTo>
                  <a:cubicBezTo>
                    <a:pt x="6932" y="7945"/>
                    <a:pt x="6950" y="7906"/>
                    <a:pt x="6915" y="7895"/>
                  </a:cubicBezTo>
                  <a:cubicBezTo>
                    <a:pt x="6887" y="7886"/>
                    <a:pt x="6848" y="7907"/>
                    <a:pt x="6833" y="7921"/>
                  </a:cubicBezTo>
                  <a:cubicBezTo>
                    <a:pt x="6811" y="7942"/>
                    <a:pt x="6803" y="7987"/>
                    <a:pt x="6860" y="7980"/>
                  </a:cubicBezTo>
                  <a:cubicBezTo>
                    <a:pt x="6894" y="7976"/>
                    <a:pt x="6905" y="7944"/>
                    <a:pt x="6923" y="7932"/>
                  </a:cubicBezTo>
                  <a:cubicBezTo>
                    <a:pt x="6949" y="7960"/>
                    <a:pt x="6884" y="8015"/>
                    <a:pt x="6886" y="8050"/>
                  </a:cubicBezTo>
                  <a:cubicBezTo>
                    <a:pt x="6870" y="8008"/>
                    <a:pt x="6847" y="8007"/>
                    <a:pt x="6801" y="7990"/>
                  </a:cubicBezTo>
                  <a:cubicBezTo>
                    <a:pt x="6781" y="7982"/>
                    <a:pt x="6781" y="7967"/>
                    <a:pt x="6752" y="7965"/>
                  </a:cubicBezTo>
                  <a:cubicBezTo>
                    <a:pt x="6723" y="7964"/>
                    <a:pt x="6722" y="7981"/>
                    <a:pt x="6704" y="7985"/>
                  </a:cubicBezTo>
                  <a:cubicBezTo>
                    <a:pt x="6677" y="7991"/>
                    <a:pt x="6641" y="7981"/>
                    <a:pt x="6621" y="8007"/>
                  </a:cubicBezTo>
                  <a:cubicBezTo>
                    <a:pt x="6613" y="8018"/>
                    <a:pt x="6625" y="8030"/>
                    <a:pt x="6624" y="8040"/>
                  </a:cubicBezTo>
                  <a:cubicBezTo>
                    <a:pt x="6623" y="8045"/>
                    <a:pt x="6603" y="8050"/>
                    <a:pt x="6599" y="8056"/>
                  </a:cubicBezTo>
                  <a:cubicBezTo>
                    <a:pt x="6592" y="8066"/>
                    <a:pt x="6617" y="8058"/>
                    <a:pt x="6618" y="8067"/>
                  </a:cubicBezTo>
                  <a:cubicBezTo>
                    <a:pt x="6624" y="8106"/>
                    <a:pt x="6628" y="8083"/>
                    <a:pt x="6664" y="8112"/>
                  </a:cubicBezTo>
                  <a:cubicBezTo>
                    <a:pt x="6672" y="8119"/>
                    <a:pt x="6657" y="8128"/>
                    <a:pt x="6678" y="8141"/>
                  </a:cubicBezTo>
                  <a:cubicBezTo>
                    <a:pt x="6690" y="8148"/>
                    <a:pt x="6705" y="8140"/>
                    <a:pt x="6724" y="8150"/>
                  </a:cubicBezTo>
                  <a:cubicBezTo>
                    <a:pt x="6774" y="8173"/>
                    <a:pt x="6723" y="8188"/>
                    <a:pt x="6740" y="8230"/>
                  </a:cubicBezTo>
                  <a:cubicBezTo>
                    <a:pt x="6745" y="8241"/>
                    <a:pt x="6822" y="8321"/>
                    <a:pt x="6757" y="8266"/>
                  </a:cubicBezTo>
                  <a:cubicBezTo>
                    <a:pt x="6723" y="8236"/>
                    <a:pt x="6690" y="8203"/>
                    <a:pt x="6666" y="8165"/>
                  </a:cubicBezTo>
                  <a:cubicBezTo>
                    <a:pt x="6660" y="8157"/>
                    <a:pt x="6587" y="8141"/>
                    <a:pt x="6569" y="8148"/>
                  </a:cubicBezTo>
                  <a:cubicBezTo>
                    <a:pt x="6558" y="8152"/>
                    <a:pt x="6551" y="8178"/>
                    <a:pt x="6542" y="8185"/>
                  </a:cubicBezTo>
                  <a:cubicBezTo>
                    <a:pt x="6539" y="8188"/>
                    <a:pt x="6505" y="8197"/>
                    <a:pt x="6496" y="8203"/>
                  </a:cubicBezTo>
                  <a:cubicBezTo>
                    <a:pt x="6501" y="8199"/>
                    <a:pt x="6461" y="8247"/>
                    <a:pt x="6463" y="8231"/>
                  </a:cubicBezTo>
                  <a:cubicBezTo>
                    <a:pt x="6461" y="8252"/>
                    <a:pt x="6484" y="8256"/>
                    <a:pt x="6496" y="8265"/>
                  </a:cubicBezTo>
                  <a:cubicBezTo>
                    <a:pt x="6527" y="8288"/>
                    <a:pt x="6540" y="8315"/>
                    <a:pt x="6573" y="8336"/>
                  </a:cubicBezTo>
                  <a:cubicBezTo>
                    <a:pt x="6589" y="8347"/>
                    <a:pt x="6610" y="8354"/>
                    <a:pt x="6622" y="8362"/>
                  </a:cubicBezTo>
                  <a:cubicBezTo>
                    <a:pt x="6637" y="8371"/>
                    <a:pt x="6635" y="8382"/>
                    <a:pt x="6657" y="8389"/>
                  </a:cubicBezTo>
                  <a:cubicBezTo>
                    <a:pt x="6695" y="8400"/>
                    <a:pt x="6730" y="8374"/>
                    <a:pt x="6759" y="8363"/>
                  </a:cubicBezTo>
                  <a:cubicBezTo>
                    <a:pt x="6767" y="8360"/>
                    <a:pt x="6807" y="8349"/>
                    <a:pt x="6809" y="8346"/>
                  </a:cubicBezTo>
                  <a:cubicBezTo>
                    <a:pt x="6815" y="8338"/>
                    <a:pt x="6781" y="8307"/>
                    <a:pt x="6797" y="8297"/>
                  </a:cubicBezTo>
                  <a:cubicBezTo>
                    <a:pt x="6804" y="8293"/>
                    <a:pt x="6900" y="8410"/>
                    <a:pt x="6923" y="8421"/>
                  </a:cubicBezTo>
                  <a:cubicBezTo>
                    <a:pt x="6932" y="8425"/>
                    <a:pt x="6973" y="8416"/>
                    <a:pt x="6970" y="8432"/>
                  </a:cubicBezTo>
                  <a:cubicBezTo>
                    <a:pt x="6968" y="8439"/>
                    <a:pt x="6922" y="8445"/>
                    <a:pt x="6914" y="8444"/>
                  </a:cubicBezTo>
                  <a:cubicBezTo>
                    <a:pt x="6895" y="8442"/>
                    <a:pt x="6900" y="8435"/>
                    <a:pt x="6881" y="8426"/>
                  </a:cubicBezTo>
                  <a:cubicBezTo>
                    <a:pt x="6871" y="8422"/>
                    <a:pt x="6879" y="8411"/>
                    <a:pt x="6876" y="8408"/>
                  </a:cubicBezTo>
                  <a:cubicBezTo>
                    <a:pt x="6871" y="8404"/>
                    <a:pt x="6858" y="8408"/>
                    <a:pt x="6860" y="8409"/>
                  </a:cubicBezTo>
                  <a:cubicBezTo>
                    <a:pt x="6830" y="8385"/>
                    <a:pt x="6824" y="8370"/>
                    <a:pt x="6790" y="8388"/>
                  </a:cubicBezTo>
                  <a:cubicBezTo>
                    <a:pt x="6758" y="8406"/>
                    <a:pt x="6775" y="8430"/>
                    <a:pt x="6769" y="8444"/>
                  </a:cubicBezTo>
                  <a:cubicBezTo>
                    <a:pt x="6766" y="8455"/>
                    <a:pt x="6747" y="8452"/>
                    <a:pt x="6746" y="8466"/>
                  </a:cubicBezTo>
                  <a:cubicBezTo>
                    <a:pt x="6745" y="8486"/>
                    <a:pt x="6765" y="8488"/>
                    <a:pt x="6767" y="8507"/>
                  </a:cubicBezTo>
                  <a:cubicBezTo>
                    <a:pt x="6771" y="8541"/>
                    <a:pt x="6811" y="8474"/>
                    <a:pt x="6845" y="8486"/>
                  </a:cubicBezTo>
                  <a:cubicBezTo>
                    <a:pt x="6834" y="8494"/>
                    <a:pt x="6836" y="8502"/>
                    <a:pt x="6825" y="8511"/>
                  </a:cubicBezTo>
                  <a:cubicBezTo>
                    <a:pt x="6876" y="8508"/>
                    <a:pt x="6846" y="8528"/>
                    <a:pt x="6856" y="8547"/>
                  </a:cubicBezTo>
                  <a:cubicBezTo>
                    <a:pt x="6861" y="8555"/>
                    <a:pt x="6884" y="8560"/>
                    <a:pt x="6882" y="8581"/>
                  </a:cubicBezTo>
                  <a:cubicBezTo>
                    <a:pt x="6852" y="8580"/>
                    <a:pt x="6926" y="8625"/>
                    <a:pt x="6897" y="8654"/>
                  </a:cubicBezTo>
                  <a:cubicBezTo>
                    <a:pt x="6889" y="8662"/>
                    <a:pt x="6838" y="8675"/>
                    <a:pt x="6826" y="8664"/>
                  </a:cubicBezTo>
                  <a:cubicBezTo>
                    <a:pt x="6813" y="8652"/>
                    <a:pt x="6846" y="8626"/>
                    <a:pt x="6837" y="8610"/>
                  </a:cubicBezTo>
                  <a:cubicBezTo>
                    <a:pt x="6836" y="8615"/>
                    <a:pt x="6835" y="8622"/>
                    <a:pt x="6833" y="8627"/>
                  </a:cubicBezTo>
                  <a:cubicBezTo>
                    <a:pt x="6775" y="8600"/>
                    <a:pt x="6824" y="8577"/>
                    <a:pt x="6811" y="8547"/>
                  </a:cubicBezTo>
                  <a:cubicBezTo>
                    <a:pt x="6796" y="8560"/>
                    <a:pt x="6796" y="8561"/>
                    <a:pt x="6789" y="8582"/>
                  </a:cubicBezTo>
                  <a:cubicBezTo>
                    <a:pt x="6782" y="8600"/>
                    <a:pt x="6788" y="8608"/>
                    <a:pt x="6789" y="8614"/>
                  </a:cubicBezTo>
                  <a:cubicBezTo>
                    <a:pt x="6788" y="8609"/>
                    <a:pt x="6803" y="8621"/>
                    <a:pt x="6803" y="8623"/>
                  </a:cubicBezTo>
                  <a:cubicBezTo>
                    <a:pt x="6805" y="8627"/>
                    <a:pt x="6791" y="8631"/>
                    <a:pt x="6794" y="8637"/>
                  </a:cubicBezTo>
                  <a:cubicBezTo>
                    <a:pt x="6810" y="8675"/>
                    <a:pt x="6865" y="8748"/>
                    <a:pt x="6788" y="8766"/>
                  </a:cubicBezTo>
                  <a:cubicBezTo>
                    <a:pt x="6773" y="8770"/>
                    <a:pt x="6729" y="8755"/>
                    <a:pt x="6711" y="8759"/>
                  </a:cubicBezTo>
                  <a:cubicBezTo>
                    <a:pt x="6654" y="8768"/>
                    <a:pt x="6715" y="8772"/>
                    <a:pt x="6675" y="8802"/>
                  </a:cubicBezTo>
                  <a:cubicBezTo>
                    <a:pt x="6653" y="8819"/>
                    <a:pt x="6539" y="8790"/>
                    <a:pt x="6529" y="8763"/>
                  </a:cubicBezTo>
                  <a:cubicBezTo>
                    <a:pt x="6565" y="8775"/>
                    <a:pt x="6562" y="8741"/>
                    <a:pt x="6542" y="8725"/>
                  </a:cubicBezTo>
                  <a:cubicBezTo>
                    <a:pt x="6543" y="8730"/>
                    <a:pt x="6545" y="8737"/>
                    <a:pt x="6546" y="8742"/>
                  </a:cubicBezTo>
                  <a:cubicBezTo>
                    <a:pt x="6503" y="8738"/>
                    <a:pt x="6464" y="8667"/>
                    <a:pt x="6480" y="8640"/>
                  </a:cubicBezTo>
                  <a:cubicBezTo>
                    <a:pt x="6474" y="8647"/>
                    <a:pt x="6469" y="8649"/>
                    <a:pt x="6464" y="8660"/>
                  </a:cubicBezTo>
                  <a:cubicBezTo>
                    <a:pt x="6406" y="8624"/>
                    <a:pt x="6430" y="8610"/>
                    <a:pt x="6418" y="8570"/>
                  </a:cubicBezTo>
                  <a:cubicBezTo>
                    <a:pt x="6399" y="8578"/>
                    <a:pt x="6359" y="8540"/>
                    <a:pt x="6369" y="8522"/>
                  </a:cubicBezTo>
                  <a:cubicBezTo>
                    <a:pt x="6322" y="8536"/>
                    <a:pt x="6288" y="8524"/>
                    <a:pt x="6257" y="8540"/>
                  </a:cubicBezTo>
                  <a:cubicBezTo>
                    <a:pt x="6197" y="8573"/>
                    <a:pt x="6204" y="8604"/>
                    <a:pt x="6185" y="8658"/>
                  </a:cubicBezTo>
                  <a:cubicBezTo>
                    <a:pt x="6163" y="8721"/>
                    <a:pt x="6123" y="8751"/>
                    <a:pt x="6172" y="8813"/>
                  </a:cubicBezTo>
                  <a:cubicBezTo>
                    <a:pt x="6209" y="8859"/>
                    <a:pt x="6263" y="8884"/>
                    <a:pt x="6304" y="8924"/>
                  </a:cubicBezTo>
                  <a:cubicBezTo>
                    <a:pt x="6318" y="8919"/>
                    <a:pt x="6367" y="8943"/>
                    <a:pt x="6378" y="8959"/>
                  </a:cubicBezTo>
                  <a:cubicBezTo>
                    <a:pt x="6383" y="8966"/>
                    <a:pt x="6371" y="8980"/>
                    <a:pt x="6380" y="8993"/>
                  </a:cubicBezTo>
                  <a:cubicBezTo>
                    <a:pt x="6392" y="9009"/>
                    <a:pt x="6403" y="9010"/>
                    <a:pt x="6419" y="9024"/>
                  </a:cubicBezTo>
                  <a:cubicBezTo>
                    <a:pt x="6370" y="9000"/>
                    <a:pt x="6391" y="9098"/>
                    <a:pt x="6437" y="9081"/>
                  </a:cubicBezTo>
                  <a:cubicBezTo>
                    <a:pt x="6446" y="9099"/>
                    <a:pt x="6460" y="9077"/>
                    <a:pt x="6490" y="9094"/>
                  </a:cubicBezTo>
                  <a:cubicBezTo>
                    <a:pt x="6498" y="9098"/>
                    <a:pt x="6513" y="9128"/>
                    <a:pt x="6506" y="9127"/>
                  </a:cubicBezTo>
                  <a:cubicBezTo>
                    <a:pt x="6537" y="9131"/>
                    <a:pt x="6518" y="9109"/>
                    <a:pt x="6529" y="9099"/>
                  </a:cubicBezTo>
                  <a:cubicBezTo>
                    <a:pt x="6549" y="9080"/>
                    <a:pt x="6558" y="9062"/>
                    <a:pt x="6588" y="9068"/>
                  </a:cubicBezTo>
                  <a:cubicBezTo>
                    <a:pt x="6602" y="9071"/>
                    <a:pt x="6638" y="9119"/>
                    <a:pt x="6637" y="9116"/>
                  </a:cubicBezTo>
                  <a:cubicBezTo>
                    <a:pt x="6642" y="9127"/>
                    <a:pt x="6625" y="9155"/>
                    <a:pt x="6647" y="9167"/>
                  </a:cubicBezTo>
                  <a:cubicBezTo>
                    <a:pt x="6659" y="9173"/>
                    <a:pt x="6679" y="9154"/>
                    <a:pt x="6696" y="9153"/>
                  </a:cubicBezTo>
                  <a:cubicBezTo>
                    <a:pt x="6759" y="9148"/>
                    <a:pt x="6787" y="9237"/>
                    <a:pt x="6813" y="9227"/>
                  </a:cubicBezTo>
                  <a:cubicBezTo>
                    <a:pt x="6807" y="9271"/>
                    <a:pt x="6874" y="9346"/>
                    <a:pt x="6914" y="9377"/>
                  </a:cubicBezTo>
                  <a:cubicBezTo>
                    <a:pt x="6928" y="9388"/>
                    <a:pt x="6941" y="9389"/>
                    <a:pt x="6956" y="9397"/>
                  </a:cubicBezTo>
                  <a:cubicBezTo>
                    <a:pt x="6962" y="9400"/>
                    <a:pt x="6975" y="9391"/>
                    <a:pt x="6981" y="9395"/>
                  </a:cubicBezTo>
                  <a:cubicBezTo>
                    <a:pt x="6990" y="9400"/>
                    <a:pt x="6986" y="9410"/>
                    <a:pt x="6992" y="9415"/>
                  </a:cubicBezTo>
                  <a:cubicBezTo>
                    <a:pt x="7017" y="9434"/>
                    <a:pt x="7031" y="9465"/>
                    <a:pt x="7044" y="9488"/>
                  </a:cubicBezTo>
                  <a:cubicBezTo>
                    <a:pt x="7062" y="9521"/>
                    <a:pt x="7071" y="9550"/>
                    <a:pt x="7101" y="9576"/>
                  </a:cubicBezTo>
                  <a:close/>
                  <a:moveTo>
                    <a:pt x="6970" y="11314"/>
                  </a:moveTo>
                  <a:cubicBezTo>
                    <a:pt x="6939" y="11383"/>
                    <a:pt x="6911" y="11415"/>
                    <a:pt x="7019" y="11453"/>
                  </a:cubicBezTo>
                  <a:cubicBezTo>
                    <a:pt x="7020" y="11390"/>
                    <a:pt x="7012" y="11366"/>
                    <a:pt x="6970" y="11314"/>
                  </a:cubicBezTo>
                  <a:close/>
                  <a:moveTo>
                    <a:pt x="4756" y="4757"/>
                  </a:moveTo>
                  <a:lnTo>
                    <a:pt x="4741" y="4847"/>
                  </a:lnTo>
                  <a:cubicBezTo>
                    <a:pt x="4764" y="4832"/>
                    <a:pt x="4779" y="4811"/>
                    <a:pt x="4777" y="4781"/>
                  </a:cubicBezTo>
                  <a:cubicBezTo>
                    <a:pt x="4776" y="4772"/>
                    <a:pt x="4768" y="4764"/>
                    <a:pt x="4756" y="4757"/>
                  </a:cubicBezTo>
                  <a:close/>
                  <a:moveTo>
                    <a:pt x="4865" y="4528"/>
                  </a:moveTo>
                  <a:cubicBezTo>
                    <a:pt x="4876" y="4493"/>
                    <a:pt x="4894" y="4469"/>
                    <a:pt x="4878" y="4432"/>
                  </a:cubicBezTo>
                  <a:cubicBezTo>
                    <a:pt x="4865" y="4402"/>
                    <a:pt x="4843" y="4389"/>
                    <a:pt x="4822" y="4371"/>
                  </a:cubicBezTo>
                  <a:lnTo>
                    <a:pt x="4785" y="4588"/>
                  </a:lnTo>
                  <a:cubicBezTo>
                    <a:pt x="4848" y="4600"/>
                    <a:pt x="4849" y="4577"/>
                    <a:pt x="4865" y="4528"/>
                  </a:cubicBezTo>
                  <a:close/>
                  <a:moveTo>
                    <a:pt x="5531" y="5198"/>
                  </a:moveTo>
                  <a:cubicBezTo>
                    <a:pt x="5526" y="5224"/>
                    <a:pt x="5548" y="5233"/>
                    <a:pt x="5557" y="5256"/>
                  </a:cubicBezTo>
                  <a:cubicBezTo>
                    <a:pt x="5559" y="5260"/>
                    <a:pt x="5545" y="5276"/>
                    <a:pt x="5545" y="5283"/>
                  </a:cubicBezTo>
                  <a:cubicBezTo>
                    <a:pt x="5545" y="5293"/>
                    <a:pt x="5563" y="5297"/>
                    <a:pt x="5559" y="5311"/>
                  </a:cubicBezTo>
                  <a:cubicBezTo>
                    <a:pt x="5553" y="5336"/>
                    <a:pt x="5583" y="5347"/>
                    <a:pt x="5580" y="5366"/>
                  </a:cubicBezTo>
                  <a:cubicBezTo>
                    <a:pt x="5575" y="5403"/>
                    <a:pt x="5639" y="5447"/>
                    <a:pt x="5614" y="5476"/>
                  </a:cubicBezTo>
                  <a:cubicBezTo>
                    <a:pt x="5653" y="5479"/>
                    <a:pt x="5623" y="5500"/>
                    <a:pt x="5644" y="5510"/>
                  </a:cubicBezTo>
                  <a:cubicBezTo>
                    <a:pt x="5657" y="5516"/>
                    <a:pt x="5669" y="5499"/>
                    <a:pt x="5693" y="5511"/>
                  </a:cubicBezTo>
                  <a:cubicBezTo>
                    <a:pt x="5753" y="5540"/>
                    <a:pt x="5708" y="5562"/>
                    <a:pt x="5779" y="5534"/>
                  </a:cubicBezTo>
                  <a:cubicBezTo>
                    <a:pt x="5797" y="5527"/>
                    <a:pt x="5802" y="5541"/>
                    <a:pt x="5822" y="5518"/>
                  </a:cubicBezTo>
                  <a:cubicBezTo>
                    <a:pt x="5831" y="5507"/>
                    <a:pt x="5832" y="5483"/>
                    <a:pt x="5834" y="5470"/>
                  </a:cubicBezTo>
                  <a:cubicBezTo>
                    <a:pt x="5840" y="5438"/>
                    <a:pt x="5820" y="5412"/>
                    <a:pt x="5803" y="5388"/>
                  </a:cubicBezTo>
                  <a:cubicBezTo>
                    <a:pt x="5794" y="5373"/>
                    <a:pt x="5778" y="5356"/>
                    <a:pt x="5763" y="5345"/>
                  </a:cubicBezTo>
                  <a:cubicBezTo>
                    <a:pt x="5757" y="5340"/>
                    <a:pt x="5767" y="5330"/>
                    <a:pt x="5757" y="5325"/>
                  </a:cubicBezTo>
                  <a:cubicBezTo>
                    <a:pt x="5749" y="5321"/>
                    <a:pt x="5728" y="5333"/>
                    <a:pt x="5724" y="5330"/>
                  </a:cubicBezTo>
                  <a:cubicBezTo>
                    <a:pt x="5688" y="5305"/>
                    <a:pt x="5723" y="5281"/>
                    <a:pt x="5711" y="5240"/>
                  </a:cubicBezTo>
                  <a:cubicBezTo>
                    <a:pt x="5694" y="5183"/>
                    <a:pt x="5635" y="5107"/>
                    <a:pt x="5580" y="5066"/>
                  </a:cubicBezTo>
                  <a:cubicBezTo>
                    <a:pt x="5478" y="5038"/>
                    <a:pt x="5490" y="5084"/>
                    <a:pt x="5518" y="5133"/>
                  </a:cubicBezTo>
                  <a:cubicBezTo>
                    <a:pt x="5530" y="5155"/>
                    <a:pt x="5536" y="5174"/>
                    <a:pt x="5531" y="5198"/>
                  </a:cubicBezTo>
                  <a:close/>
                  <a:moveTo>
                    <a:pt x="1534" y="10532"/>
                  </a:moveTo>
                  <a:cubicBezTo>
                    <a:pt x="1554" y="10550"/>
                    <a:pt x="1576" y="10567"/>
                    <a:pt x="1597" y="10587"/>
                  </a:cubicBezTo>
                  <a:cubicBezTo>
                    <a:pt x="1556" y="10619"/>
                    <a:pt x="1586" y="10636"/>
                    <a:pt x="1615" y="10663"/>
                  </a:cubicBezTo>
                  <a:cubicBezTo>
                    <a:pt x="1610" y="10646"/>
                    <a:pt x="1613" y="10637"/>
                    <a:pt x="1638" y="10648"/>
                  </a:cubicBezTo>
                  <a:cubicBezTo>
                    <a:pt x="1670" y="10661"/>
                    <a:pt x="1658" y="10675"/>
                    <a:pt x="1658" y="10699"/>
                  </a:cubicBezTo>
                  <a:cubicBezTo>
                    <a:pt x="1658" y="10716"/>
                    <a:pt x="1640" y="10729"/>
                    <a:pt x="1648" y="10749"/>
                  </a:cubicBezTo>
                  <a:cubicBezTo>
                    <a:pt x="1657" y="10773"/>
                    <a:pt x="1671" y="10767"/>
                    <a:pt x="1693" y="10782"/>
                  </a:cubicBezTo>
                  <a:cubicBezTo>
                    <a:pt x="1769" y="10835"/>
                    <a:pt x="1826" y="10874"/>
                    <a:pt x="1922" y="10906"/>
                  </a:cubicBezTo>
                  <a:cubicBezTo>
                    <a:pt x="1959" y="10919"/>
                    <a:pt x="2023" y="10948"/>
                    <a:pt x="2061" y="10949"/>
                  </a:cubicBezTo>
                  <a:cubicBezTo>
                    <a:pt x="2083" y="10949"/>
                    <a:pt x="2094" y="10933"/>
                    <a:pt x="2109" y="10934"/>
                  </a:cubicBezTo>
                  <a:cubicBezTo>
                    <a:pt x="2134" y="10934"/>
                    <a:pt x="2161" y="10952"/>
                    <a:pt x="2186" y="10956"/>
                  </a:cubicBezTo>
                  <a:cubicBezTo>
                    <a:pt x="2223" y="10961"/>
                    <a:pt x="2265" y="10949"/>
                    <a:pt x="2298" y="10953"/>
                  </a:cubicBezTo>
                  <a:cubicBezTo>
                    <a:pt x="2389" y="10964"/>
                    <a:pt x="2507" y="11027"/>
                    <a:pt x="2583" y="11066"/>
                  </a:cubicBezTo>
                  <a:cubicBezTo>
                    <a:pt x="2575" y="11065"/>
                    <a:pt x="2533" y="11045"/>
                    <a:pt x="2530" y="11047"/>
                  </a:cubicBezTo>
                  <a:cubicBezTo>
                    <a:pt x="2531" y="11046"/>
                    <a:pt x="2525" y="11095"/>
                    <a:pt x="2524" y="11093"/>
                  </a:cubicBezTo>
                  <a:cubicBezTo>
                    <a:pt x="2531" y="11135"/>
                    <a:pt x="2550" y="11143"/>
                    <a:pt x="2535" y="11180"/>
                  </a:cubicBezTo>
                  <a:cubicBezTo>
                    <a:pt x="2511" y="11242"/>
                    <a:pt x="2471" y="11276"/>
                    <a:pt x="2499" y="11337"/>
                  </a:cubicBezTo>
                  <a:cubicBezTo>
                    <a:pt x="2506" y="11352"/>
                    <a:pt x="2507" y="11364"/>
                    <a:pt x="2520" y="11378"/>
                  </a:cubicBezTo>
                  <a:cubicBezTo>
                    <a:pt x="2540" y="11400"/>
                    <a:pt x="2521" y="11405"/>
                    <a:pt x="2527" y="11427"/>
                  </a:cubicBezTo>
                  <a:cubicBezTo>
                    <a:pt x="2540" y="11477"/>
                    <a:pt x="2627" y="11492"/>
                    <a:pt x="2635" y="11535"/>
                  </a:cubicBezTo>
                  <a:cubicBezTo>
                    <a:pt x="2643" y="11575"/>
                    <a:pt x="2529" y="11522"/>
                    <a:pt x="2562" y="11566"/>
                  </a:cubicBezTo>
                  <a:cubicBezTo>
                    <a:pt x="2576" y="11585"/>
                    <a:pt x="2644" y="11566"/>
                    <a:pt x="2669" y="11568"/>
                  </a:cubicBezTo>
                  <a:cubicBezTo>
                    <a:pt x="2699" y="11570"/>
                    <a:pt x="2723" y="11585"/>
                    <a:pt x="2755" y="11582"/>
                  </a:cubicBezTo>
                  <a:cubicBezTo>
                    <a:pt x="2773" y="11581"/>
                    <a:pt x="2771" y="11565"/>
                    <a:pt x="2781" y="11564"/>
                  </a:cubicBezTo>
                  <a:cubicBezTo>
                    <a:pt x="2796" y="11562"/>
                    <a:pt x="2808" y="11569"/>
                    <a:pt x="2823" y="11569"/>
                  </a:cubicBezTo>
                  <a:cubicBezTo>
                    <a:pt x="2882" y="11568"/>
                    <a:pt x="2932" y="11571"/>
                    <a:pt x="2990" y="11573"/>
                  </a:cubicBezTo>
                  <a:cubicBezTo>
                    <a:pt x="3038" y="11575"/>
                    <a:pt x="3088" y="11564"/>
                    <a:pt x="3138" y="11572"/>
                  </a:cubicBezTo>
                  <a:cubicBezTo>
                    <a:pt x="3200" y="11581"/>
                    <a:pt x="3316" y="11623"/>
                    <a:pt x="3196" y="11555"/>
                  </a:cubicBezTo>
                  <a:cubicBezTo>
                    <a:pt x="3225" y="11543"/>
                    <a:pt x="3247" y="11562"/>
                    <a:pt x="3277" y="11563"/>
                  </a:cubicBezTo>
                  <a:cubicBezTo>
                    <a:pt x="3302" y="11563"/>
                    <a:pt x="3317" y="11553"/>
                    <a:pt x="3340" y="11553"/>
                  </a:cubicBezTo>
                  <a:cubicBezTo>
                    <a:pt x="3456" y="11550"/>
                    <a:pt x="3292" y="11577"/>
                    <a:pt x="3341" y="11586"/>
                  </a:cubicBezTo>
                  <a:cubicBezTo>
                    <a:pt x="3386" y="11594"/>
                    <a:pt x="3441" y="11558"/>
                    <a:pt x="3483" y="11558"/>
                  </a:cubicBezTo>
                  <a:cubicBezTo>
                    <a:pt x="3509" y="11559"/>
                    <a:pt x="3528" y="11582"/>
                    <a:pt x="3539" y="11583"/>
                  </a:cubicBezTo>
                  <a:cubicBezTo>
                    <a:pt x="3560" y="11584"/>
                    <a:pt x="3552" y="11577"/>
                    <a:pt x="3571" y="11574"/>
                  </a:cubicBezTo>
                  <a:cubicBezTo>
                    <a:pt x="3579" y="11572"/>
                    <a:pt x="3588" y="11558"/>
                    <a:pt x="3599" y="11556"/>
                  </a:cubicBezTo>
                  <a:cubicBezTo>
                    <a:pt x="3619" y="11551"/>
                    <a:pt x="3654" y="11563"/>
                    <a:pt x="3672" y="11566"/>
                  </a:cubicBezTo>
                  <a:cubicBezTo>
                    <a:pt x="3836" y="11569"/>
                    <a:pt x="3990" y="11534"/>
                    <a:pt x="4122" y="11463"/>
                  </a:cubicBezTo>
                  <a:cubicBezTo>
                    <a:pt x="4167" y="11440"/>
                    <a:pt x="4171" y="11424"/>
                    <a:pt x="4187" y="11390"/>
                  </a:cubicBezTo>
                  <a:cubicBezTo>
                    <a:pt x="4199" y="11365"/>
                    <a:pt x="4298" y="11397"/>
                    <a:pt x="4323" y="11398"/>
                  </a:cubicBezTo>
                  <a:cubicBezTo>
                    <a:pt x="4391" y="11400"/>
                    <a:pt x="4540" y="11382"/>
                    <a:pt x="4593" y="11352"/>
                  </a:cubicBezTo>
                  <a:cubicBezTo>
                    <a:pt x="4629" y="11331"/>
                    <a:pt x="4636" y="11275"/>
                    <a:pt x="4685" y="11268"/>
                  </a:cubicBezTo>
                  <a:cubicBezTo>
                    <a:pt x="4727" y="11262"/>
                    <a:pt x="4737" y="11214"/>
                    <a:pt x="4735" y="11188"/>
                  </a:cubicBezTo>
                  <a:cubicBezTo>
                    <a:pt x="4732" y="11134"/>
                    <a:pt x="4728" y="11134"/>
                    <a:pt x="4796" y="11114"/>
                  </a:cubicBezTo>
                  <a:cubicBezTo>
                    <a:pt x="4815" y="11109"/>
                    <a:pt x="4835" y="11052"/>
                    <a:pt x="4862" y="11037"/>
                  </a:cubicBezTo>
                  <a:cubicBezTo>
                    <a:pt x="4881" y="11026"/>
                    <a:pt x="4921" y="11075"/>
                    <a:pt x="4930" y="11088"/>
                  </a:cubicBezTo>
                  <a:cubicBezTo>
                    <a:pt x="4947" y="11111"/>
                    <a:pt x="4953" y="11131"/>
                    <a:pt x="4951" y="11162"/>
                  </a:cubicBezTo>
                  <a:cubicBezTo>
                    <a:pt x="4950" y="11200"/>
                    <a:pt x="4923" y="11195"/>
                    <a:pt x="4911" y="11227"/>
                  </a:cubicBezTo>
                  <a:cubicBezTo>
                    <a:pt x="4878" y="11311"/>
                    <a:pt x="5105" y="11262"/>
                    <a:pt x="5161" y="11281"/>
                  </a:cubicBezTo>
                  <a:cubicBezTo>
                    <a:pt x="5198" y="11294"/>
                    <a:pt x="5203" y="11319"/>
                    <a:pt x="5233" y="11332"/>
                  </a:cubicBezTo>
                  <a:cubicBezTo>
                    <a:pt x="5255" y="11341"/>
                    <a:pt x="5330" y="11356"/>
                    <a:pt x="5352" y="11355"/>
                  </a:cubicBezTo>
                  <a:cubicBezTo>
                    <a:pt x="5319" y="11322"/>
                    <a:pt x="5409" y="11335"/>
                    <a:pt x="5385" y="11381"/>
                  </a:cubicBezTo>
                  <a:cubicBezTo>
                    <a:pt x="5382" y="11387"/>
                    <a:pt x="5338" y="11404"/>
                    <a:pt x="5330" y="11405"/>
                  </a:cubicBezTo>
                  <a:cubicBezTo>
                    <a:pt x="5297" y="11406"/>
                    <a:pt x="5299" y="11424"/>
                    <a:pt x="5273" y="11434"/>
                  </a:cubicBezTo>
                  <a:cubicBezTo>
                    <a:pt x="5321" y="11476"/>
                    <a:pt x="5372" y="11490"/>
                    <a:pt x="5447" y="11498"/>
                  </a:cubicBezTo>
                  <a:cubicBezTo>
                    <a:pt x="5468" y="11500"/>
                    <a:pt x="5498" y="11508"/>
                    <a:pt x="5517" y="11498"/>
                  </a:cubicBezTo>
                  <a:cubicBezTo>
                    <a:pt x="5530" y="11490"/>
                    <a:pt x="5528" y="11470"/>
                    <a:pt x="5539" y="11464"/>
                  </a:cubicBezTo>
                  <a:cubicBezTo>
                    <a:pt x="5563" y="11452"/>
                    <a:pt x="5606" y="11489"/>
                    <a:pt x="5606" y="11452"/>
                  </a:cubicBezTo>
                  <a:cubicBezTo>
                    <a:pt x="5621" y="11527"/>
                    <a:pt x="5759" y="11514"/>
                    <a:pt x="5838" y="11537"/>
                  </a:cubicBezTo>
                  <a:cubicBezTo>
                    <a:pt x="5854" y="11541"/>
                    <a:pt x="5861" y="11566"/>
                    <a:pt x="5889" y="11565"/>
                  </a:cubicBezTo>
                  <a:cubicBezTo>
                    <a:pt x="5905" y="11565"/>
                    <a:pt x="5906" y="11543"/>
                    <a:pt x="5933" y="11534"/>
                  </a:cubicBezTo>
                  <a:cubicBezTo>
                    <a:pt x="5985" y="11516"/>
                    <a:pt x="6049" y="11582"/>
                    <a:pt x="6105" y="11537"/>
                  </a:cubicBezTo>
                  <a:cubicBezTo>
                    <a:pt x="6118" y="11526"/>
                    <a:pt x="6107" y="11508"/>
                    <a:pt x="6107" y="11507"/>
                  </a:cubicBezTo>
                  <a:cubicBezTo>
                    <a:pt x="6137" y="11486"/>
                    <a:pt x="6132" y="11508"/>
                    <a:pt x="6178" y="11508"/>
                  </a:cubicBezTo>
                  <a:cubicBezTo>
                    <a:pt x="6200" y="11508"/>
                    <a:pt x="6208" y="11491"/>
                    <a:pt x="6224" y="11481"/>
                  </a:cubicBezTo>
                  <a:cubicBezTo>
                    <a:pt x="6232" y="11476"/>
                    <a:pt x="6226" y="11462"/>
                    <a:pt x="6238" y="11457"/>
                  </a:cubicBezTo>
                  <a:cubicBezTo>
                    <a:pt x="6251" y="11452"/>
                    <a:pt x="6283" y="11461"/>
                    <a:pt x="6300" y="11454"/>
                  </a:cubicBezTo>
                  <a:cubicBezTo>
                    <a:pt x="6321" y="11447"/>
                    <a:pt x="6321" y="11427"/>
                    <a:pt x="6345" y="11422"/>
                  </a:cubicBezTo>
                  <a:cubicBezTo>
                    <a:pt x="6363" y="11419"/>
                    <a:pt x="6378" y="11449"/>
                    <a:pt x="6406" y="11428"/>
                  </a:cubicBezTo>
                  <a:cubicBezTo>
                    <a:pt x="6430" y="11411"/>
                    <a:pt x="6405" y="11416"/>
                    <a:pt x="6410" y="11400"/>
                  </a:cubicBezTo>
                  <a:cubicBezTo>
                    <a:pt x="6414" y="11387"/>
                    <a:pt x="6417" y="11371"/>
                    <a:pt x="6425" y="11354"/>
                  </a:cubicBezTo>
                  <a:cubicBezTo>
                    <a:pt x="6442" y="11316"/>
                    <a:pt x="6442" y="11295"/>
                    <a:pt x="6408" y="11265"/>
                  </a:cubicBezTo>
                  <a:cubicBezTo>
                    <a:pt x="6340" y="11205"/>
                    <a:pt x="6373" y="11278"/>
                    <a:pt x="6328" y="11288"/>
                  </a:cubicBezTo>
                  <a:cubicBezTo>
                    <a:pt x="6319" y="11290"/>
                    <a:pt x="6290" y="11269"/>
                    <a:pt x="6287" y="11260"/>
                  </a:cubicBezTo>
                  <a:cubicBezTo>
                    <a:pt x="6277" y="11226"/>
                    <a:pt x="6304" y="11238"/>
                    <a:pt x="6312" y="11235"/>
                  </a:cubicBezTo>
                  <a:cubicBezTo>
                    <a:pt x="6311" y="11235"/>
                    <a:pt x="6355" y="11259"/>
                    <a:pt x="6345" y="11221"/>
                  </a:cubicBezTo>
                  <a:cubicBezTo>
                    <a:pt x="6341" y="11204"/>
                    <a:pt x="6320" y="11195"/>
                    <a:pt x="6301" y="11192"/>
                  </a:cubicBezTo>
                  <a:cubicBezTo>
                    <a:pt x="6332" y="11170"/>
                    <a:pt x="6384" y="11160"/>
                    <a:pt x="6375" y="11119"/>
                  </a:cubicBezTo>
                  <a:cubicBezTo>
                    <a:pt x="6368" y="11084"/>
                    <a:pt x="6319" y="11084"/>
                    <a:pt x="6288" y="11077"/>
                  </a:cubicBezTo>
                  <a:cubicBezTo>
                    <a:pt x="6202" y="11058"/>
                    <a:pt x="6208" y="11106"/>
                    <a:pt x="6161" y="11130"/>
                  </a:cubicBezTo>
                  <a:cubicBezTo>
                    <a:pt x="6139" y="11141"/>
                    <a:pt x="6105" y="11138"/>
                    <a:pt x="6085" y="11151"/>
                  </a:cubicBezTo>
                  <a:cubicBezTo>
                    <a:pt x="6068" y="11161"/>
                    <a:pt x="6072" y="11181"/>
                    <a:pt x="6064" y="11195"/>
                  </a:cubicBezTo>
                  <a:cubicBezTo>
                    <a:pt x="6048" y="11223"/>
                    <a:pt x="6027" y="11254"/>
                    <a:pt x="6006" y="11282"/>
                  </a:cubicBezTo>
                  <a:cubicBezTo>
                    <a:pt x="5988" y="11306"/>
                    <a:pt x="5956" y="11361"/>
                    <a:pt x="5957" y="11305"/>
                  </a:cubicBezTo>
                  <a:cubicBezTo>
                    <a:pt x="5959" y="11265"/>
                    <a:pt x="5999" y="11264"/>
                    <a:pt x="6019" y="11231"/>
                  </a:cubicBezTo>
                  <a:cubicBezTo>
                    <a:pt x="6032" y="11207"/>
                    <a:pt x="6029" y="11161"/>
                    <a:pt x="6030" y="11137"/>
                  </a:cubicBezTo>
                  <a:cubicBezTo>
                    <a:pt x="6031" y="11119"/>
                    <a:pt x="6036" y="11090"/>
                    <a:pt x="6025" y="11074"/>
                  </a:cubicBezTo>
                  <a:cubicBezTo>
                    <a:pt x="5993" y="11030"/>
                    <a:pt x="6008" y="11091"/>
                    <a:pt x="5989" y="11108"/>
                  </a:cubicBezTo>
                  <a:cubicBezTo>
                    <a:pt x="5984" y="11087"/>
                    <a:pt x="5984" y="11055"/>
                    <a:pt x="5967" y="11036"/>
                  </a:cubicBezTo>
                  <a:cubicBezTo>
                    <a:pt x="5948" y="11015"/>
                    <a:pt x="5889" y="11006"/>
                    <a:pt x="5876" y="10985"/>
                  </a:cubicBezTo>
                  <a:cubicBezTo>
                    <a:pt x="5860" y="10959"/>
                    <a:pt x="5888" y="10915"/>
                    <a:pt x="5929" y="10928"/>
                  </a:cubicBezTo>
                  <a:cubicBezTo>
                    <a:pt x="5951" y="10935"/>
                    <a:pt x="5972" y="10974"/>
                    <a:pt x="5994" y="10990"/>
                  </a:cubicBezTo>
                  <a:cubicBezTo>
                    <a:pt x="6037" y="11021"/>
                    <a:pt x="6149" y="11073"/>
                    <a:pt x="6191" y="11019"/>
                  </a:cubicBezTo>
                  <a:cubicBezTo>
                    <a:pt x="6197" y="11012"/>
                    <a:pt x="6206" y="10943"/>
                    <a:pt x="6201" y="10936"/>
                  </a:cubicBezTo>
                  <a:cubicBezTo>
                    <a:pt x="6197" y="10929"/>
                    <a:pt x="6171" y="10933"/>
                    <a:pt x="6160" y="10922"/>
                  </a:cubicBezTo>
                  <a:cubicBezTo>
                    <a:pt x="6148" y="10911"/>
                    <a:pt x="6143" y="10896"/>
                    <a:pt x="6145" y="10883"/>
                  </a:cubicBezTo>
                  <a:cubicBezTo>
                    <a:pt x="6172" y="10909"/>
                    <a:pt x="6226" y="10869"/>
                    <a:pt x="6235" y="10853"/>
                  </a:cubicBezTo>
                  <a:cubicBezTo>
                    <a:pt x="6236" y="10861"/>
                    <a:pt x="6243" y="10873"/>
                    <a:pt x="6243" y="10882"/>
                  </a:cubicBezTo>
                  <a:cubicBezTo>
                    <a:pt x="6272" y="10867"/>
                    <a:pt x="6245" y="10856"/>
                    <a:pt x="6251" y="10842"/>
                  </a:cubicBezTo>
                  <a:cubicBezTo>
                    <a:pt x="6255" y="10833"/>
                    <a:pt x="6274" y="10830"/>
                    <a:pt x="6277" y="10822"/>
                  </a:cubicBezTo>
                  <a:cubicBezTo>
                    <a:pt x="6278" y="10818"/>
                    <a:pt x="6273" y="10798"/>
                    <a:pt x="6276" y="10796"/>
                  </a:cubicBezTo>
                  <a:cubicBezTo>
                    <a:pt x="6305" y="10774"/>
                    <a:pt x="6281" y="10782"/>
                    <a:pt x="6304" y="10803"/>
                  </a:cubicBezTo>
                  <a:cubicBezTo>
                    <a:pt x="6310" y="10810"/>
                    <a:pt x="6296" y="10822"/>
                    <a:pt x="6306" y="10831"/>
                  </a:cubicBezTo>
                  <a:cubicBezTo>
                    <a:pt x="6319" y="10842"/>
                    <a:pt x="6337" y="10820"/>
                    <a:pt x="6339" y="10821"/>
                  </a:cubicBezTo>
                  <a:cubicBezTo>
                    <a:pt x="6359" y="10838"/>
                    <a:pt x="6346" y="10878"/>
                    <a:pt x="6372" y="10896"/>
                  </a:cubicBezTo>
                  <a:cubicBezTo>
                    <a:pt x="6388" y="10907"/>
                    <a:pt x="6417" y="10903"/>
                    <a:pt x="6436" y="10918"/>
                  </a:cubicBezTo>
                  <a:cubicBezTo>
                    <a:pt x="6449" y="10929"/>
                    <a:pt x="6459" y="10949"/>
                    <a:pt x="6464" y="10961"/>
                  </a:cubicBezTo>
                  <a:cubicBezTo>
                    <a:pt x="6466" y="10932"/>
                    <a:pt x="6492" y="10903"/>
                    <a:pt x="6500" y="10874"/>
                  </a:cubicBezTo>
                  <a:cubicBezTo>
                    <a:pt x="6509" y="10845"/>
                    <a:pt x="6513" y="10808"/>
                    <a:pt x="6537" y="10785"/>
                  </a:cubicBezTo>
                  <a:cubicBezTo>
                    <a:pt x="6550" y="10811"/>
                    <a:pt x="6523" y="10840"/>
                    <a:pt x="6536" y="10871"/>
                  </a:cubicBezTo>
                  <a:cubicBezTo>
                    <a:pt x="6545" y="10897"/>
                    <a:pt x="6562" y="10934"/>
                    <a:pt x="6588" y="10944"/>
                  </a:cubicBezTo>
                  <a:cubicBezTo>
                    <a:pt x="6591" y="10945"/>
                    <a:pt x="6655" y="10949"/>
                    <a:pt x="6666" y="10950"/>
                  </a:cubicBezTo>
                  <a:cubicBezTo>
                    <a:pt x="6707" y="10955"/>
                    <a:pt x="6695" y="10938"/>
                    <a:pt x="6704" y="10918"/>
                  </a:cubicBezTo>
                  <a:cubicBezTo>
                    <a:pt x="6715" y="10893"/>
                    <a:pt x="6719" y="10853"/>
                    <a:pt x="6714" y="10822"/>
                  </a:cubicBezTo>
                  <a:cubicBezTo>
                    <a:pt x="6705" y="10766"/>
                    <a:pt x="6684" y="10716"/>
                    <a:pt x="6674" y="10655"/>
                  </a:cubicBezTo>
                  <a:cubicBezTo>
                    <a:pt x="6670" y="10633"/>
                    <a:pt x="6699" y="10594"/>
                    <a:pt x="6655" y="10584"/>
                  </a:cubicBezTo>
                  <a:cubicBezTo>
                    <a:pt x="6623" y="10577"/>
                    <a:pt x="6646" y="10600"/>
                    <a:pt x="6619" y="10609"/>
                  </a:cubicBezTo>
                  <a:cubicBezTo>
                    <a:pt x="6584" y="10620"/>
                    <a:pt x="6603" y="10604"/>
                    <a:pt x="6573" y="10606"/>
                  </a:cubicBezTo>
                  <a:cubicBezTo>
                    <a:pt x="6574" y="10606"/>
                    <a:pt x="6556" y="10594"/>
                    <a:pt x="6556" y="10593"/>
                  </a:cubicBezTo>
                  <a:cubicBezTo>
                    <a:pt x="6553" y="10636"/>
                    <a:pt x="6509" y="10646"/>
                    <a:pt x="6484" y="10615"/>
                  </a:cubicBezTo>
                  <a:cubicBezTo>
                    <a:pt x="6455" y="10580"/>
                    <a:pt x="6496" y="10539"/>
                    <a:pt x="6471" y="10515"/>
                  </a:cubicBezTo>
                  <a:cubicBezTo>
                    <a:pt x="6428" y="10473"/>
                    <a:pt x="6420" y="10542"/>
                    <a:pt x="6377" y="10531"/>
                  </a:cubicBezTo>
                  <a:cubicBezTo>
                    <a:pt x="6346" y="10523"/>
                    <a:pt x="6330" y="10460"/>
                    <a:pt x="6300" y="10489"/>
                  </a:cubicBezTo>
                  <a:cubicBezTo>
                    <a:pt x="6265" y="10427"/>
                    <a:pt x="6185" y="10409"/>
                    <a:pt x="6125" y="10368"/>
                  </a:cubicBezTo>
                  <a:cubicBezTo>
                    <a:pt x="6094" y="10347"/>
                    <a:pt x="6107" y="10364"/>
                    <a:pt x="6095" y="10334"/>
                  </a:cubicBezTo>
                  <a:cubicBezTo>
                    <a:pt x="6088" y="10318"/>
                    <a:pt x="6092" y="10307"/>
                    <a:pt x="6082" y="10292"/>
                  </a:cubicBezTo>
                  <a:cubicBezTo>
                    <a:pt x="6073" y="10278"/>
                    <a:pt x="6029" y="10230"/>
                    <a:pt x="6002" y="10246"/>
                  </a:cubicBezTo>
                  <a:cubicBezTo>
                    <a:pt x="5982" y="10258"/>
                    <a:pt x="6014" y="10319"/>
                    <a:pt x="6025" y="10331"/>
                  </a:cubicBezTo>
                  <a:cubicBezTo>
                    <a:pt x="6040" y="10346"/>
                    <a:pt x="6104" y="10369"/>
                    <a:pt x="6040" y="10368"/>
                  </a:cubicBezTo>
                  <a:cubicBezTo>
                    <a:pt x="5987" y="10367"/>
                    <a:pt x="5999" y="10327"/>
                    <a:pt x="5966" y="10308"/>
                  </a:cubicBezTo>
                  <a:cubicBezTo>
                    <a:pt x="5932" y="10287"/>
                    <a:pt x="5898" y="10309"/>
                    <a:pt x="5864" y="10281"/>
                  </a:cubicBezTo>
                  <a:cubicBezTo>
                    <a:pt x="5839" y="10260"/>
                    <a:pt x="5836" y="10229"/>
                    <a:pt x="5805" y="10207"/>
                  </a:cubicBezTo>
                  <a:cubicBezTo>
                    <a:pt x="5778" y="10189"/>
                    <a:pt x="5754" y="10189"/>
                    <a:pt x="5736" y="10167"/>
                  </a:cubicBezTo>
                  <a:cubicBezTo>
                    <a:pt x="5718" y="10144"/>
                    <a:pt x="5725" y="10106"/>
                    <a:pt x="5713" y="10081"/>
                  </a:cubicBezTo>
                  <a:cubicBezTo>
                    <a:pt x="5696" y="10047"/>
                    <a:pt x="5675" y="10039"/>
                    <a:pt x="5645" y="10020"/>
                  </a:cubicBezTo>
                  <a:cubicBezTo>
                    <a:pt x="5621" y="10004"/>
                    <a:pt x="5592" y="9983"/>
                    <a:pt x="5577" y="9962"/>
                  </a:cubicBezTo>
                  <a:cubicBezTo>
                    <a:pt x="5543" y="9913"/>
                    <a:pt x="5597" y="9897"/>
                    <a:pt x="5614" y="9851"/>
                  </a:cubicBezTo>
                  <a:cubicBezTo>
                    <a:pt x="5625" y="9823"/>
                    <a:pt x="5591" y="9770"/>
                    <a:pt x="5620" y="9750"/>
                  </a:cubicBezTo>
                  <a:cubicBezTo>
                    <a:pt x="5636" y="9739"/>
                    <a:pt x="5662" y="9761"/>
                    <a:pt x="5670" y="9750"/>
                  </a:cubicBezTo>
                  <a:cubicBezTo>
                    <a:pt x="5677" y="9741"/>
                    <a:pt x="5654" y="9719"/>
                    <a:pt x="5655" y="9708"/>
                  </a:cubicBezTo>
                  <a:cubicBezTo>
                    <a:pt x="5661" y="9669"/>
                    <a:pt x="5636" y="9651"/>
                    <a:pt x="5650" y="9610"/>
                  </a:cubicBezTo>
                  <a:cubicBezTo>
                    <a:pt x="5661" y="9578"/>
                    <a:pt x="5634" y="9553"/>
                    <a:pt x="5620" y="9524"/>
                  </a:cubicBezTo>
                  <a:cubicBezTo>
                    <a:pt x="5607" y="9497"/>
                    <a:pt x="5596" y="9472"/>
                    <a:pt x="5579" y="9446"/>
                  </a:cubicBezTo>
                  <a:cubicBezTo>
                    <a:pt x="5571" y="9433"/>
                    <a:pt x="5565" y="9420"/>
                    <a:pt x="5557" y="9409"/>
                  </a:cubicBezTo>
                  <a:cubicBezTo>
                    <a:pt x="5548" y="9397"/>
                    <a:pt x="5529" y="9396"/>
                    <a:pt x="5529" y="9373"/>
                  </a:cubicBezTo>
                  <a:cubicBezTo>
                    <a:pt x="5529" y="9342"/>
                    <a:pt x="5525" y="9317"/>
                    <a:pt x="5514" y="9287"/>
                  </a:cubicBezTo>
                  <a:cubicBezTo>
                    <a:pt x="5504" y="9262"/>
                    <a:pt x="5478" y="9242"/>
                    <a:pt x="5483" y="9218"/>
                  </a:cubicBezTo>
                  <a:cubicBezTo>
                    <a:pt x="5491" y="9175"/>
                    <a:pt x="5500" y="9158"/>
                    <a:pt x="5481" y="9119"/>
                  </a:cubicBezTo>
                  <a:cubicBezTo>
                    <a:pt x="5467" y="9090"/>
                    <a:pt x="5463" y="9061"/>
                    <a:pt x="5452" y="9033"/>
                  </a:cubicBezTo>
                  <a:cubicBezTo>
                    <a:pt x="5442" y="9009"/>
                    <a:pt x="5426" y="8988"/>
                    <a:pt x="5417" y="8963"/>
                  </a:cubicBezTo>
                  <a:cubicBezTo>
                    <a:pt x="5415" y="8955"/>
                    <a:pt x="5441" y="8935"/>
                    <a:pt x="5438" y="8917"/>
                  </a:cubicBezTo>
                  <a:cubicBezTo>
                    <a:pt x="5436" y="8896"/>
                    <a:pt x="5419" y="8894"/>
                    <a:pt x="5415" y="8880"/>
                  </a:cubicBezTo>
                  <a:cubicBezTo>
                    <a:pt x="5408" y="8850"/>
                    <a:pt x="5418" y="8828"/>
                    <a:pt x="5408" y="8801"/>
                  </a:cubicBezTo>
                  <a:cubicBezTo>
                    <a:pt x="5399" y="8777"/>
                    <a:pt x="5383" y="8751"/>
                    <a:pt x="5374" y="8725"/>
                  </a:cubicBezTo>
                  <a:cubicBezTo>
                    <a:pt x="5406" y="8745"/>
                    <a:pt x="5425" y="8777"/>
                    <a:pt x="5408" y="8720"/>
                  </a:cubicBezTo>
                  <a:cubicBezTo>
                    <a:pt x="5399" y="8690"/>
                    <a:pt x="5375" y="8659"/>
                    <a:pt x="5360" y="8631"/>
                  </a:cubicBezTo>
                  <a:cubicBezTo>
                    <a:pt x="5343" y="8601"/>
                    <a:pt x="5314" y="8592"/>
                    <a:pt x="5295" y="8563"/>
                  </a:cubicBezTo>
                  <a:cubicBezTo>
                    <a:pt x="5287" y="8550"/>
                    <a:pt x="5304" y="8532"/>
                    <a:pt x="5286" y="8521"/>
                  </a:cubicBezTo>
                  <a:cubicBezTo>
                    <a:pt x="5267" y="8510"/>
                    <a:pt x="5256" y="8529"/>
                    <a:pt x="5241" y="8525"/>
                  </a:cubicBezTo>
                  <a:cubicBezTo>
                    <a:pt x="5203" y="8515"/>
                    <a:pt x="5187" y="8489"/>
                    <a:pt x="5165" y="8463"/>
                  </a:cubicBezTo>
                  <a:cubicBezTo>
                    <a:pt x="5154" y="8450"/>
                    <a:pt x="5141" y="8443"/>
                    <a:pt x="5132" y="8429"/>
                  </a:cubicBezTo>
                  <a:cubicBezTo>
                    <a:pt x="5129" y="8424"/>
                    <a:pt x="5128" y="8406"/>
                    <a:pt x="5124" y="8404"/>
                  </a:cubicBezTo>
                  <a:cubicBezTo>
                    <a:pt x="5116" y="8396"/>
                    <a:pt x="5105" y="8396"/>
                    <a:pt x="5105" y="8396"/>
                  </a:cubicBezTo>
                  <a:cubicBezTo>
                    <a:pt x="5095" y="8389"/>
                    <a:pt x="5075" y="8387"/>
                    <a:pt x="5061" y="8374"/>
                  </a:cubicBezTo>
                  <a:cubicBezTo>
                    <a:pt x="5045" y="8358"/>
                    <a:pt x="5060" y="8346"/>
                    <a:pt x="5035" y="8333"/>
                  </a:cubicBezTo>
                  <a:cubicBezTo>
                    <a:pt x="5006" y="8318"/>
                    <a:pt x="4957" y="8336"/>
                    <a:pt x="4953" y="8367"/>
                  </a:cubicBezTo>
                  <a:cubicBezTo>
                    <a:pt x="4950" y="8390"/>
                    <a:pt x="4994" y="8447"/>
                    <a:pt x="4924" y="8401"/>
                  </a:cubicBezTo>
                  <a:cubicBezTo>
                    <a:pt x="4896" y="8383"/>
                    <a:pt x="4879" y="8351"/>
                    <a:pt x="4851" y="8331"/>
                  </a:cubicBezTo>
                  <a:cubicBezTo>
                    <a:pt x="4820" y="8310"/>
                    <a:pt x="4781" y="8297"/>
                    <a:pt x="4743" y="8288"/>
                  </a:cubicBezTo>
                  <a:cubicBezTo>
                    <a:pt x="4724" y="8284"/>
                    <a:pt x="4718" y="8273"/>
                    <a:pt x="4696" y="8278"/>
                  </a:cubicBezTo>
                  <a:cubicBezTo>
                    <a:pt x="4725" y="8271"/>
                    <a:pt x="4678" y="8330"/>
                    <a:pt x="4683" y="8307"/>
                  </a:cubicBezTo>
                  <a:cubicBezTo>
                    <a:pt x="4676" y="8340"/>
                    <a:pt x="4693" y="8344"/>
                    <a:pt x="4716" y="8375"/>
                  </a:cubicBezTo>
                  <a:cubicBezTo>
                    <a:pt x="4753" y="8425"/>
                    <a:pt x="4704" y="8373"/>
                    <a:pt x="4664" y="8380"/>
                  </a:cubicBezTo>
                  <a:cubicBezTo>
                    <a:pt x="4612" y="8389"/>
                    <a:pt x="4619" y="8435"/>
                    <a:pt x="4625" y="8463"/>
                  </a:cubicBezTo>
                  <a:cubicBezTo>
                    <a:pt x="4631" y="8492"/>
                    <a:pt x="4645" y="8500"/>
                    <a:pt x="4645" y="8528"/>
                  </a:cubicBezTo>
                  <a:cubicBezTo>
                    <a:pt x="4643" y="8590"/>
                    <a:pt x="4642" y="8649"/>
                    <a:pt x="4646" y="8713"/>
                  </a:cubicBezTo>
                  <a:cubicBezTo>
                    <a:pt x="4648" y="8738"/>
                    <a:pt x="4661" y="8766"/>
                    <a:pt x="4668" y="8791"/>
                  </a:cubicBezTo>
                  <a:cubicBezTo>
                    <a:pt x="4669" y="8795"/>
                    <a:pt x="4661" y="8800"/>
                    <a:pt x="4664" y="8810"/>
                  </a:cubicBezTo>
                  <a:cubicBezTo>
                    <a:pt x="4671" y="8831"/>
                    <a:pt x="4691" y="8827"/>
                    <a:pt x="4684" y="8857"/>
                  </a:cubicBezTo>
                  <a:cubicBezTo>
                    <a:pt x="4682" y="8868"/>
                    <a:pt x="4656" y="8884"/>
                    <a:pt x="4657" y="8887"/>
                  </a:cubicBezTo>
                  <a:cubicBezTo>
                    <a:pt x="4659" y="8902"/>
                    <a:pt x="4686" y="8909"/>
                    <a:pt x="4689" y="8917"/>
                  </a:cubicBezTo>
                  <a:cubicBezTo>
                    <a:pt x="4698" y="8941"/>
                    <a:pt x="4679" y="8924"/>
                    <a:pt x="4677" y="8948"/>
                  </a:cubicBezTo>
                  <a:cubicBezTo>
                    <a:pt x="4677" y="8953"/>
                    <a:pt x="4682" y="8994"/>
                    <a:pt x="4682" y="8995"/>
                  </a:cubicBezTo>
                  <a:cubicBezTo>
                    <a:pt x="4689" y="9010"/>
                    <a:pt x="4710" y="9013"/>
                    <a:pt x="4711" y="9032"/>
                  </a:cubicBezTo>
                  <a:cubicBezTo>
                    <a:pt x="4714" y="9068"/>
                    <a:pt x="4681" y="9019"/>
                    <a:pt x="4672" y="9038"/>
                  </a:cubicBezTo>
                  <a:cubicBezTo>
                    <a:pt x="4670" y="9042"/>
                    <a:pt x="4683" y="9119"/>
                    <a:pt x="4686" y="9127"/>
                  </a:cubicBezTo>
                  <a:cubicBezTo>
                    <a:pt x="4688" y="9135"/>
                    <a:pt x="4681" y="9143"/>
                    <a:pt x="4685" y="9150"/>
                  </a:cubicBezTo>
                  <a:cubicBezTo>
                    <a:pt x="4688" y="9157"/>
                    <a:pt x="4707" y="9147"/>
                    <a:pt x="4710" y="9154"/>
                  </a:cubicBezTo>
                  <a:cubicBezTo>
                    <a:pt x="4721" y="9175"/>
                    <a:pt x="4712" y="9187"/>
                    <a:pt x="4714" y="9207"/>
                  </a:cubicBezTo>
                  <a:cubicBezTo>
                    <a:pt x="4720" y="9254"/>
                    <a:pt x="4743" y="9238"/>
                    <a:pt x="4768" y="9268"/>
                  </a:cubicBezTo>
                  <a:cubicBezTo>
                    <a:pt x="4778" y="9281"/>
                    <a:pt x="4775" y="9297"/>
                    <a:pt x="4782" y="9310"/>
                  </a:cubicBezTo>
                  <a:cubicBezTo>
                    <a:pt x="4792" y="9329"/>
                    <a:pt x="4829" y="9322"/>
                    <a:pt x="4803" y="9346"/>
                  </a:cubicBezTo>
                  <a:cubicBezTo>
                    <a:pt x="4788" y="9360"/>
                    <a:pt x="4760" y="9323"/>
                    <a:pt x="4755" y="9352"/>
                  </a:cubicBezTo>
                  <a:cubicBezTo>
                    <a:pt x="4753" y="9370"/>
                    <a:pt x="4796" y="9377"/>
                    <a:pt x="4799" y="9387"/>
                  </a:cubicBezTo>
                  <a:cubicBezTo>
                    <a:pt x="4809" y="9418"/>
                    <a:pt x="4749" y="9396"/>
                    <a:pt x="4716" y="9417"/>
                  </a:cubicBezTo>
                  <a:cubicBezTo>
                    <a:pt x="4702" y="9426"/>
                    <a:pt x="4697" y="9456"/>
                    <a:pt x="4683" y="9461"/>
                  </a:cubicBezTo>
                  <a:cubicBezTo>
                    <a:pt x="4659" y="9468"/>
                    <a:pt x="4669" y="9430"/>
                    <a:pt x="4640" y="9448"/>
                  </a:cubicBezTo>
                  <a:cubicBezTo>
                    <a:pt x="4598" y="9474"/>
                    <a:pt x="4693" y="9515"/>
                    <a:pt x="4637" y="9523"/>
                  </a:cubicBezTo>
                  <a:cubicBezTo>
                    <a:pt x="4594" y="9529"/>
                    <a:pt x="4599" y="9491"/>
                    <a:pt x="4582" y="9469"/>
                  </a:cubicBezTo>
                  <a:cubicBezTo>
                    <a:pt x="4576" y="9461"/>
                    <a:pt x="4576" y="9450"/>
                    <a:pt x="4565" y="9444"/>
                  </a:cubicBezTo>
                  <a:cubicBezTo>
                    <a:pt x="4551" y="9437"/>
                    <a:pt x="4532" y="9460"/>
                    <a:pt x="4523" y="9451"/>
                  </a:cubicBezTo>
                  <a:cubicBezTo>
                    <a:pt x="4507" y="9434"/>
                    <a:pt x="4536" y="9432"/>
                    <a:pt x="4534" y="9419"/>
                  </a:cubicBezTo>
                  <a:cubicBezTo>
                    <a:pt x="4533" y="9408"/>
                    <a:pt x="4520" y="9401"/>
                    <a:pt x="4518" y="9387"/>
                  </a:cubicBezTo>
                  <a:cubicBezTo>
                    <a:pt x="4515" y="9358"/>
                    <a:pt x="4514" y="9329"/>
                    <a:pt x="4532" y="9307"/>
                  </a:cubicBezTo>
                  <a:cubicBezTo>
                    <a:pt x="4560" y="9273"/>
                    <a:pt x="4536" y="9251"/>
                    <a:pt x="4508" y="9284"/>
                  </a:cubicBezTo>
                  <a:cubicBezTo>
                    <a:pt x="4530" y="9257"/>
                    <a:pt x="4496" y="9238"/>
                    <a:pt x="4497" y="9208"/>
                  </a:cubicBezTo>
                  <a:cubicBezTo>
                    <a:pt x="4498" y="9180"/>
                    <a:pt x="4503" y="9149"/>
                    <a:pt x="4496" y="9125"/>
                  </a:cubicBezTo>
                  <a:cubicBezTo>
                    <a:pt x="4493" y="9128"/>
                    <a:pt x="4484" y="9134"/>
                    <a:pt x="4480" y="9138"/>
                  </a:cubicBezTo>
                  <a:cubicBezTo>
                    <a:pt x="4431" y="9054"/>
                    <a:pt x="4475" y="8956"/>
                    <a:pt x="4479" y="8873"/>
                  </a:cubicBezTo>
                  <a:cubicBezTo>
                    <a:pt x="4480" y="8845"/>
                    <a:pt x="4462" y="8805"/>
                    <a:pt x="4419" y="8801"/>
                  </a:cubicBezTo>
                  <a:cubicBezTo>
                    <a:pt x="4420" y="8801"/>
                    <a:pt x="4387" y="8840"/>
                    <a:pt x="4364" y="8815"/>
                  </a:cubicBezTo>
                  <a:cubicBezTo>
                    <a:pt x="4348" y="8798"/>
                    <a:pt x="4377" y="8772"/>
                    <a:pt x="4378" y="8758"/>
                  </a:cubicBezTo>
                  <a:cubicBezTo>
                    <a:pt x="4378" y="8747"/>
                    <a:pt x="4387" y="8755"/>
                    <a:pt x="4381" y="8741"/>
                  </a:cubicBezTo>
                  <a:cubicBezTo>
                    <a:pt x="4381" y="8741"/>
                    <a:pt x="4350" y="8720"/>
                    <a:pt x="4345" y="8714"/>
                  </a:cubicBezTo>
                  <a:cubicBezTo>
                    <a:pt x="4332" y="8696"/>
                    <a:pt x="4361" y="8694"/>
                    <a:pt x="4330" y="8678"/>
                  </a:cubicBezTo>
                  <a:cubicBezTo>
                    <a:pt x="4321" y="8672"/>
                    <a:pt x="4277" y="8691"/>
                    <a:pt x="4281" y="8675"/>
                  </a:cubicBezTo>
                  <a:cubicBezTo>
                    <a:pt x="4285" y="8660"/>
                    <a:pt x="4262" y="8647"/>
                    <a:pt x="4251" y="8636"/>
                  </a:cubicBezTo>
                  <a:cubicBezTo>
                    <a:pt x="4239" y="8625"/>
                    <a:pt x="4219" y="8617"/>
                    <a:pt x="4210" y="8604"/>
                  </a:cubicBezTo>
                  <a:cubicBezTo>
                    <a:pt x="4193" y="8579"/>
                    <a:pt x="4213" y="8580"/>
                    <a:pt x="4212" y="8571"/>
                  </a:cubicBezTo>
                  <a:cubicBezTo>
                    <a:pt x="4211" y="8564"/>
                    <a:pt x="4237" y="8566"/>
                    <a:pt x="4220" y="8550"/>
                  </a:cubicBezTo>
                  <a:cubicBezTo>
                    <a:pt x="4207" y="8537"/>
                    <a:pt x="4184" y="8551"/>
                    <a:pt x="4179" y="8549"/>
                  </a:cubicBezTo>
                  <a:cubicBezTo>
                    <a:pt x="4164" y="8540"/>
                    <a:pt x="4163" y="8511"/>
                    <a:pt x="4130" y="8506"/>
                  </a:cubicBezTo>
                  <a:cubicBezTo>
                    <a:pt x="4127" y="8505"/>
                    <a:pt x="4123" y="8504"/>
                    <a:pt x="4120" y="8502"/>
                  </a:cubicBezTo>
                  <a:lnTo>
                    <a:pt x="4092" y="8665"/>
                  </a:lnTo>
                  <a:cubicBezTo>
                    <a:pt x="4097" y="8666"/>
                    <a:pt x="4101" y="8667"/>
                    <a:pt x="4106" y="8670"/>
                  </a:cubicBezTo>
                  <a:cubicBezTo>
                    <a:pt x="4127" y="8678"/>
                    <a:pt x="4149" y="8684"/>
                    <a:pt x="4163" y="8697"/>
                  </a:cubicBezTo>
                  <a:cubicBezTo>
                    <a:pt x="4149" y="8705"/>
                    <a:pt x="4143" y="8717"/>
                    <a:pt x="4145" y="8732"/>
                  </a:cubicBezTo>
                  <a:cubicBezTo>
                    <a:pt x="4131" y="8721"/>
                    <a:pt x="4116" y="8709"/>
                    <a:pt x="4101" y="8699"/>
                  </a:cubicBezTo>
                  <a:cubicBezTo>
                    <a:pt x="4097" y="8697"/>
                    <a:pt x="4092" y="8695"/>
                    <a:pt x="4087" y="8694"/>
                  </a:cubicBezTo>
                  <a:lnTo>
                    <a:pt x="4079" y="8743"/>
                  </a:lnTo>
                  <a:cubicBezTo>
                    <a:pt x="4084" y="8746"/>
                    <a:pt x="4088" y="8751"/>
                    <a:pt x="4092" y="8759"/>
                  </a:cubicBezTo>
                  <a:cubicBezTo>
                    <a:pt x="4099" y="8772"/>
                    <a:pt x="4155" y="8848"/>
                    <a:pt x="4129" y="8857"/>
                  </a:cubicBezTo>
                  <a:cubicBezTo>
                    <a:pt x="4109" y="8863"/>
                    <a:pt x="4091" y="8843"/>
                    <a:pt x="4081" y="8831"/>
                  </a:cubicBezTo>
                  <a:cubicBezTo>
                    <a:pt x="4078" y="8827"/>
                    <a:pt x="4073" y="8822"/>
                    <a:pt x="4066" y="8817"/>
                  </a:cubicBezTo>
                  <a:lnTo>
                    <a:pt x="4062" y="8839"/>
                  </a:lnTo>
                  <a:cubicBezTo>
                    <a:pt x="4069" y="8843"/>
                    <a:pt x="4075" y="8846"/>
                    <a:pt x="4079" y="8849"/>
                  </a:cubicBezTo>
                  <a:cubicBezTo>
                    <a:pt x="4097" y="8866"/>
                    <a:pt x="4120" y="8880"/>
                    <a:pt x="4130" y="8901"/>
                  </a:cubicBezTo>
                  <a:cubicBezTo>
                    <a:pt x="4114" y="8889"/>
                    <a:pt x="4097" y="8875"/>
                    <a:pt x="4074" y="8879"/>
                  </a:cubicBezTo>
                  <a:cubicBezTo>
                    <a:pt x="4067" y="8883"/>
                    <a:pt x="4061" y="8883"/>
                    <a:pt x="4055" y="8882"/>
                  </a:cubicBezTo>
                  <a:lnTo>
                    <a:pt x="3782" y="10488"/>
                  </a:lnTo>
                  <a:lnTo>
                    <a:pt x="1720" y="10252"/>
                  </a:lnTo>
                  <a:cubicBezTo>
                    <a:pt x="1720" y="10252"/>
                    <a:pt x="1514" y="10292"/>
                    <a:pt x="1592" y="10406"/>
                  </a:cubicBezTo>
                  <a:cubicBezTo>
                    <a:pt x="1649" y="10490"/>
                    <a:pt x="1597" y="10525"/>
                    <a:pt x="1534" y="10532"/>
                  </a:cubicBezTo>
                  <a:close/>
                  <a:moveTo>
                    <a:pt x="4739" y="8085"/>
                  </a:moveTo>
                  <a:cubicBezTo>
                    <a:pt x="4716" y="8095"/>
                    <a:pt x="4705" y="8108"/>
                    <a:pt x="4725" y="8128"/>
                  </a:cubicBezTo>
                  <a:cubicBezTo>
                    <a:pt x="4749" y="8154"/>
                    <a:pt x="4797" y="8133"/>
                    <a:pt x="4830" y="8126"/>
                  </a:cubicBezTo>
                  <a:cubicBezTo>
                    <a:pt x="4894" y="8102"/>
                    <a:pt x="4772" y="8071"/>
                    <a:pt x="4739" y="8085"/>
                  </a:cubicBezTo>
                  <a:close/>
                  <a:moveTo>
                    <a:pt x="6390" y="11549"/>
                  </a:moveTo>
                  <a:cubicBezTo>
                    <a:pt x="6338" y="11540"/>
                    <a:pt x="6364" y="11546"/>
                    <a:pt x="6339" y="11572"/>
                  </a:cubicBezTo>
                  <a:cubicBezTo>
                    <a:pt x="6312" y="11599"/>
                    <a:pt x="6238" y="11629"/>
                    <a:pt x="6263" y="11656"/>
                  </a:cubicBezTo>
                  <a:cubicBezTo>
                    <a:pt x="6272" y="11664"/>
                    <a:pt x="6315" y="11684"/>
                    <a:pt x="6324" y="11686"/>
                  </a:cubicBezTo>
                  <a:cubicBezTo>
                    <a:pt x="6329" y="11688"/>
                    <a:pt x="6390" y="11708"/>
                    <a:pt x="6389" y="11708"/>
                  </a:cubicBezTo>
                  <a:cubicBezTo>
                    <a:pt x="6413" y="11709"/>
                    <a:pt x="6411" y="11720"/>
                    <a:pt x="6416" y="11687"/>
                  </a:cubicBezTo>
                  <a:cubicBezTo>
                    <a:pt x="6419" y="11664"/>
                    <a:pt x="6429" y="11673"/>
                    <a:pt x="6436" y="11665"/>
                  </a:cubicBezTo>
                  <a:cubicBezTo>
                    <a:pt x="6436" y="11665"/>
                    <a:pt x="6453" y="11662"/>
                    <a:pt x="6461" y="11651"/>
                  </a:cubicBezTo>
                  <a:cubicBezTo>
                    <a:pt x="6473" y="11636"/>
                    <a:pt x="6460" y="11596"/>
                    <a:pt x="6459" y="11580"/>
                  </a:cubicBezTo>
                  <a:cubicBezTo>
                    <a:pt x="6454" y="11572"/>
                    <a:pt x="6408" y="11552"/>
                    <a:pt x="6390" y="11549"/>
                  </a:cubicBezTo>
                  <a:close/>
                  <a:moveTo>
                    <a:pt x="5668" y="4094"/>
                  </a:moveTo>
                  <a:cubicBezTo>
                    <a:pt x="5709" y="4123"/>
                    <a:pt x="5761" y="4074"/>
                    <a:pt x="5793" y="4077"/>
                  </a:cubicBezTo>
                  <a:cubicBezTo>
                    <a:pt x="5858" y="4083"/>
                    <a:pt x="5824" y="4123"/>
                    <a:pt x="5813" y="4145"/>
                  </a:cubicBezTo>
                  <a:cubicBezTo>
                    <a:pt x="5798" y="4179"/>
                    <a:pt x="5716" y="4320"/>
                    <a:pt x="5818" y="4248"/>
                  </a:cubicBezTo>
                  <a:cubicBezTo>
                    <a:pt x="5858" y="4220"/>
                    <a:pt x="5846" y="4189"/>
                    <a:pt x="5872" y="4159"/>
                  </a:cubicBezTo>
                  <a:cubicBezTo>
                    <a:pt x="5879" y="4151"/>
                    <a:pt x="5906" y="4142"/>
                    <a:pt x="5912" y="4140"/>
                  </a:cubicBezTo>
                  <a:cubicBezTo>
                    <a:pt x="5935" y="4134"/>
                    <a:pt x="5925" y="4123"/>
                    <a:pt x="5956" y="4145"/>
                  </a:cubicBezTo>
                  <a:cubicBezTo>
                    <a:pt x="5970" y="4154"/>
                    <a:pt x="5998" y="4196"/>
                    <a:pt x="5993" y="4211"/>
                  </a:cubicBezTo>
                  <a:cubicBezTo>
                    <a:pt x="5986" y="4236"/>
                    <a:pt x="5930" y="4243"/>
                    <a:pt x="5924" y="4270"/>
                  </a:cubicBezTo>
                  <a:cubicBezTo>
                    <a:pt x="5910" y="4329"/>
                    <a:pt x="5967" y="4290"/>
                    <a:pt x="5981" y="4285"/>
                  </a:cubicBezTo>
                  <a:cubicBezTo>
                    <a:pt x="5977" y="4287"/>
                    <a:pt x="6007" y="4263"/>
                    <a:pt x="6017" y="4278"/>
                  </a:cubicBezTo>
                  <a:cubicBezTo>
                    <a:pt x="6023" y="4288"/>
                    <a:pt x="6002" y="4310"/>
                    <a:pt x="6001" y="4321"/>
                  </a:cubicBezTo>
                  <a:cubicBezTo>
                    <a:pt x="6015" y="4309"/>
                    <a:pt x="6029" y="4304"/>
                    <a:pt x="6043" y="4315"/>
                  </a:cubicBezTo>
                  <a:cubicBezTo>
                    <a:pt x="6051" y="4293"/>
                    <a:pt x="6066" y="4286"/>
                    <a:pt x="6083" y="4305"/>
                  </a:cubicBezTo>
                  <a:cubicBezTo>
                    <a:pt x="6112" y="4336"/>
                    <a:pt x="6070" y="4326"/>
                    <a:pt x="6060" y="4341"/>
                  </a:cubicBezTo>
                  <a:cubicBezTo>
                    <a:pt x="6046" y="4364"/>
                    <a:pt x="6066" y="4367"/>
                    <a:pt x="6037" y="4379"/>
                  </a:cubicBezTo>
                  <a:cubicBezTo>
                    <a:pt x="6015" y="4388"/>
                    <a:pt x="5998" y="4367"/>
                    <a:pt x="5970" y="4385"/>
                  </a:cubicBezTo>
                  <a:cubicBezTo>
                    <a:pt x="5918" y="4417"/>
                    <a:pt x="5989" y="4412"/>
                    <a:pt x="6020" y="4414"/>
                  </a:cubicBezTo>
                  <a:cubicBezTo>
                    <a:pt x="6048" y="4416"/>
                    <a:pt x="6063" y="4410"/>
                    <a:pt x="6074" y="4428"/>
                  </a:cubicBezTo>
                  <a:cubicBezTo>
                    <a:pt x="6077" y="4432"/>
                    <a:pt x="6066" y="4468"/>
                    <a:pt x="6064" y="4472"/>
                  </a:cubicBezTo>
                  <a:cubicBezTo>
                    <a:pt x="6053" y="4494"/>
                    <a:pt x="6063" y="4499"/>
                    <a:pt x="6037" y="4503"/>
                  </a:cubicBezTo>
                  <a:cubicBezTo>
                    <a:pt x="6035" y="4503"/>
                    <a:pt x="5967" y="4492"/>
                    <a:pt x="5962" y="4491"/>
                  </a:cubicBezTo>
                  <a:cubicBezTo>
                    <a:pt x="5915" y="4479"/>
                    <a:pt x="5872" y="4433"/>
                    <a:pt x="5815" y="4440"/>
                  </a:cubicBezTo>
                  <a:cubicBezTo>
                    <a:pt x="5692" y="4457"/>
                    <a:pt x="5761" y="4572"/>
                    <a:pt x="5796" y="4619"/>
                  </a:cubicBezTo>
                  <a:cubicBezTo>
                    <a:pt x="5824" y="4656"/>
                    <a:pt x="5843" y="4677"/>
                    <a:pt x="5894" y="4692"/>
                  </a:cubicBezTo>
                  <a:cubicBezTo>
                    <a:pt x="5955" y="4711"/>
                    <a:pt x="5944" y="4703"/>
                    <a:pt x="5979" y="4673"/>
                  </a:cubicBezTo>
                  <a:cubicBezTo>
                    <a:pt x="6009" y="4646"/>
                    <a:pt x="6203" y="4573"/>
                    <a:pt x="6216" y="4622"/>
                  </a:cubicBezTo>
                  <a:cubicBezTo>
                    <a:pt x="6220" y="4640"/>
                    <a:pt x="6154" y="4697"/>
                    <a:pt x="6235" y="4706"/>
                  </a:cubicBezTo>
                  <a:cubicBezTo>
                    <a:pt x="6259" y="4708"/>
                    <a:pt x="6279" y="4686"/>
                    <a:pt x="6301" y="4682"/>
                  </a:cubicBezTo>
                  <a:cubicBezTo>
                    <a:pt x="6329" y="4676"/>
                    <a:pt x="6330" y="4681"/>
                    <a:pt x="6357" y="4684"/>
                  </a:cubicBezTo>
                  <a:cubicBezTo>
                    <a:pt x="6393" y="4689"/>
                    <a:pt x="6445" y="4700"/>
                    <a:pt x="6472" y="4717"/>
                  </a:cubicBezTo>
                  <a:cubicBezTo>
                    <a:pt x="6496" y="4732"/>
                    <a:pt x="6494" y="4738"/>
                    <a:pt x="6522" y="4747"/>
                  </a:cubicBezTo>
                  <a:cubicBezTo>
                    <a:pt x="6531" y="4750"/>
                    <a:pt x="6542" y="4734"/>
                    <a:pt x="6555" y="4741"/>
                  </a:cubicBezTo>
                  <a:cubicBezTo>
                    <a:pt x="6568" y="4747"/>
                    <a:pt x="6555" y="4761"/>
                    <a:pt x="6560" y="4768"/>
                  </a:cubicBezTo>
                  <a:cubicBezTo>
                    <a:pt x="6569" y="4779"/>
                    <a:pt x="6613" y="4821"/>
                    <a:pt x="6616" y="4830"/>
                  </a:cubicBezTo>
                  <a:cubicBezTo>
                    <a:pt x="6620" y="4842"/>
                    <a:pt x="6601" y="4860"/>
                    <a:pt x="6601" y="4875"/>
                  </a:cubicBezTo>
                  <a:cubicBezTo>
                    <a:pt x="6601" y="4890"/>
                    <a:pt x="6611" y="4909"/>
                    <a:pt x="6619" y="4922"/>
                  </a:cubicBezTo>
                  <a:cubicBezTo>
                    <a:pt x="6640" y="4960"/>
                    <a:pt x="6651" y="4985"/>
                    <a:pt x="6691" y="5007"/>
                  </a:cubicBezTo>
                  <a:cubicBezTo>
                    <a:pt x="6729" y="5028"/>
                    <a:pt x="6763" y="5032"/>
                    <a:pt x="6802" y="5054"/>
                  </a:cubicBezTo>
                  <a:cubicBezTo>
                    <a:pt x="6817" y="5015"/>
                    <a:pt x="6883" y="5020"/>
                    <a:pt x="6924" y="5005"/>
                  </a:cubicBezTo>
                  <a:cubicBezTo>
                    <a:pt x="6977" y="4986"/>
                    <a:pt x="6968" y="4977"/>
                    <a:pt x="6975" y="4946"/>
                  </a:cubicBezTo>
                  <a:cubicBezTo>
                    <a:pt x="6980" y="4918"/>
                    <a:pt x="7004" y="4867"/>
                    <a:pt x="6991" y="4837"/>
                  </a:cubicBezTo>
                  <a:cubicBezTo>
                    <a:pt x="6979" y="4811"/>
                    <a:pt x="6941" y="4775"/>
                    <a:pt x="6920" y="4751"/>
                  </a:cubicBezTo>
                  <a:cubicBezTo>
                    <a:pt x="6897" y="4723"/>
                    <a:pt x="6877" y="4685"/>
                    <a:pt x="6849" y="4663"/>
                  </a:cubicBezTo>
                  <a:cubicBezTo>
                    <a:pt x="6836" y="4653"/>
                    <a:pt x="6823" y="4668"/>
                    <a:pt x="6809" y="4650"/>
                  </a:cubicBezTo>
                  <a:cubicBezTo>
                    <a:pt x="6800" y="4637"/>
                    <a:pt x="6811" y="4590"/>
                    <a:pt x="6809" y="4573"/>
                  </a:cubicBezTo>
                  <a:cubicBezTo>
                    <a:pt x="6808" y="4563"/>
                    <a:pt x="6790" y="4557"/>
                    <a:pt x="6792" y="4548"/>
                  </a:cubicBezTo>
                  <a:cubicBezTo>
                    <a:pt x="6794" y="4539"/>
                    <a:pt x="6811" y="4536"/>
                    <a:pt x="6814" y="4529"/>
                  </a:cubicBezTo>
                  <a:cubicBezTo>
                    <a:pt x="6820" y="4515"/>
                    <a:pt x="6832" y="4499"/>
                    <a:pt x="6838" y="4483"/>
                  </a:cubicBezTo>
                  <a:cubicBezTo>
                    <a:pt x="6838" y="4482"/>
                    <a:pt x="6850" y="4437"/>
                    <a:pt x="6851" y="4438"/>
                  </a:cubicBezTo>
                  <a:cubicBezTo>
                    <a:pt x="6843" y="4424"/>
                    <a:pt x="6830" y="4431"/>
                    <a:pt x="6821" y="4425"/>
                  </a:cubicBezTo>
                  <a:cubicBezTo>
                    <a:pt x="6827" y="4429"/>
                    <a:pt x="6790" y="4406"/>
                    <a:pt x="6798" y="4407"/>
                  </a:cubicBezTo>
                  <a:cubicBezTo>
                    <a:pt x="6751" y="4398"/>
                    <a:pt x="6755" y="4432"/>
                    <a:pt x="6762" y="4380"/>
                  </a:cubicBezTo>
                  <a:cubicBezTo>
                    <a:pt x="6770" y="4319"/>
                    <a:pt x="6751" y="4342"/>
                    <a:pt x="6703" y="4302"/>
                  </a:cubicBezTo>
                  <a:cubicBezTo>
                    <a:pt x="6671" y="4274"/>
                    <a:pt x="6700" y="4260"/>
                    <a:pt x="6650" y="4262"/>
                  </a:cubicBezTo>
                  <a:cubicBezTo>
                    <a:pt x="6639" y="4262"/>
                    <a:pt x="6603" y="4286"/>
                    <a:pt x="6586" y="4287"/>
                  </a:cubicBezTo>
                  <a:cubicBezTo>
                    <a:pt x="6579" y="4288"/>
                    <a:pt x="6580" y="4302"/>
                    <a:pt x="6571" y="4302"/>
                  </a:cubicBezTo>
                  <a:cubicBezTo>
                    <a:pt x="6561" y="4302"/>
                    <a:pt x="6560" y="4284"/>
                    <a:pt x="6555" y="4282"/>
                  </a:cubicBezTo>
                  <a:cubicBezTo>
                    <a:pt x="6526" y="4270"/>
                    <a:pt x="6525" y="4277"/>
                    <a:pt x="6521" y="4254"/>
                  </a:cubicBezTo>
                  <a:cubicBezTo>
                    <a:pt x="6513" y="4217"/>
                    <a:pt x="6584" y="4180"/>
                    <a:pt x="6527" y="4146"/>
                  </a:cubicBezTo>
                  <a:cubicBezTo>
                    <a:pt x="6503" y="4172"/>
                    <a:pt x="6466" y="4107"/>
                    <a:pt x="6448" y="4092"/>
                  </a:cubicBezTo>
                  <a:cubicBezTo>
                    <a:pt x="6418" y="4065"/>
                    <a:pt x="6400" y="4051"/>
                    <a:pt x="6357" y="4067"/>
                  </a:cubicBezTo>
                  <a:cubicBezTo>
                    <a:pt x="6354" y="4068"/>
                    <a:pt x="6279" y="4113"/>
                    <a:pt x="6279" y="4113"/>
                  </a:cubicBezTo>
                  <a:cubicBezTo>
                    <a:pt x="6268" y="4129"/>
                    <a:pt x="6285" y="4157"/>
                    <a:pt x="6279" y="4176"/>
                  </a:cubicBezTo>
                  <a:cubicBezTo>
                    <a:pt x="6278" y="4179"/>
                    <a:pt x="6255" y="4217"/>
                    <a:pt x="6255" y="4217"/>
                  </a:cubicBezTo>
                  <a:cubicBezTo>
                    <a:pt x="6223" y="4224"/>
                    <a:pt x="6246" y="4190"/>
                    <a:pt x="6242" y="4184"/>
                  </a:cubicBezTo>
                  <a:cubicBezTo>
                    <a:pt x="6243" y="4185"/>
                    <a:pt x="6216" y="4148"/>
                    <a:pt x="6221" y="4167"/>
                  </a:cubicBezTo>
                  <a:cubicBezTo>
                    <a:pt x="6217" y="4153"/>
                    <a:pt x="6220" y="4149"/>
                    <a:pt x="6229" y="4124"/>
                  </a:cubicBezTo>
                  <a:cubicBezTo>
                    <a:pt x="6242" y="4089"/>
                    <a:pt x="6238" y="4059"/>
                    <a:pt x="6217" y="4028"/>
                  </a:cubicBezTo>
                  <a:cubicBezTo>
                    <a:pt x="6190" y="3987"/>
                    <a:pt x="6188" y="3945"/>
                    <a:pt x="6153" y="3910"/>
                  </a:cubicBezTo>
                  <a:cubicBezTo>
                    <a:pt x="6126" y="3883"/>
                    <a:pt x="6071" y="3877"/>
                    <a:pt x="6038" y="3851"/>
                  </a:cubicBezTo>
                  <a:cubicBezTo>
                    <a:pt x="6006" y="3826"/>
                    <a:pt x="5962" y="3836"/>
                    <a:pt x="5925" y="3845"/>
                  </a:cubicBezTo>
                  <a:cubicBezTo>
                    <a:pt x="5879" y="3856"/>
                    <a:pt x="5833" y="3870"/>
                    <a:pt x="5784" y="3873"/>
                  </a:cubicBezTo>
                  <a:cubicBezTo>
                    <a:pt x="5773" y="3874"/>
                    <a:pt x="5767" y="3883"/>
                    <a:pt x="5754" y="3882"/>
                  </a:cubicBezTo>
                  <a:cubicBezTo>
                    <a:pt x="5745" y="3881"/>
                    <a:pt x="5735" y="3868"/>
                    <a:pt x="5727" y="3869"/>
                  </a:cubicBezTo>
                  <a:cubicBezTo>
                    <a:pt x="5679" y="3869"/>
                    <a:pt x="5720" y="3858"/>
                    <a:pt x="5703" y="3891"/>
                  </a:cubicBezTo>
                  <a:cubicBezTo>
                    <a:pt x="5683" y="3930"/>
                    <a:pt x="5612" y="4055"/>
                    <a:pt x="5668" y="4094"/>
                  </a:cubicBezTo>
                  <a:close/>
                  <a:moveTo>
                    <a:pt x="4399" y="7152"/>
                  </a:moveTo>
                  <a:cubicBezTo>
                    <a:pt x="4450" y="7151"/>
                    <a:pt x="4454" y="7148"/>
                    <a:pt x="4492" y="7128"/>
                  </a:cubicBezTo>
                  <a:cubicBezTo>
                    <a:pt x="4528" y="7109"/>
                    <a:pt x="4584" y="7087"/>
                    <a:pt x="4615" y="7060"/>
                  </a:cubicBezTo>
                  <a:cubicBezTo>
                    <a:pt x="4638" y="7039"/>
                    <a:pt x="4639" y="7008"/>
                    <a:pt x="4687" y="7030"/>
                  </a:cubicBezTo>
                  <a:cubicBezTo>
                    <a:pt x="4698" y="7035"/>
                    <a:pt x="4725" y="7069"/>
                    <a:pt x="4719" y="7080"/>
                  </a:cubicBezTo>
                  <a:cubicBezTo>
                    <a:pt x="4709" y="7099"/>
                    <a:pt x="4677" y="7082"/>
                    <a:pt x="4649" y="7081"/>
                  </a:cubicBezTo>
                  <a:cubicBezTo>
                    <a:pt x="4661" y="7086"/>
                    <a:pt x="4683" y="7090"/>
                    <a:pt x="4693" y="7097"/>
                  </a:cubicBezTo>
                  <a:cubicBezTo>
                    <a:pt x="4705" y="7106"/>
                    <a:pt x="4710" y="7121"/>
                    <a:pt x="4724" y="7128"/>
                  </a:cubicBezTo>
                  <a:cubicBezTo>
                    <a:pt x="4753" y="7142"/>
                    <a:pt x="4824" y="7139"/>
                    <a:pt x="4858" y="7130"/>
                  </a:cubicBezTo>
                  <a:cubicBezTo>
                    <a:pt x="4854" y="7128"/>
                    <a:pt x="4849" y="7128"/>
                    <a:pt x="4846" y="7126"/>
                  </a:cubicBezTo>
                  <a:cubicBezTo>
                    <a:pt x="4860" y="7115"/>
                    <a:pt x="4854" y="7093"/>
                    <a:pt x="4868" y="7086"/>
                  </a:cubicBezTo>
                  <a:cubicBezTo>
                    <a:pt x="4889" y="7075"/>
                    <a:pt x="4907" y="7066"/>
                    <a:pt x="4919" y="7051"/>
                  </a:cubicBezTo>
                  <a:cubicBezTo>
                    <a:pt x="4918" y="7053"/>
                    <a:pt x="4910" y="6998"/>
                    <a:pt x="4928" y="7021"/>
                  </a:cubicBezTo>
                  <a:cubicBezTo>
                    <a:pt x="4944" y="7041"/>
                    <a:pt x="4923" y="7054"/>
                    <a:pt x="4923" y="7072"/>
                  </a:cubicBezTo>
                  <a:cubicBezTo>
                    <a:pt x="4923" y="7153"/>
                    <a:pt x="5072" y="7160"/>
                    <a:pt x="5146" y="7135"/>
                  </a:cubicBezTo>
                  <a:cubicBezTo>
                    <a:pt x="5198" y="7118"/>
                    <a:pt x="5251" y="7103"/>
                    <a:pt x="5302" y="7086"/>
                  </a:cubicBezTo>
                  <a:cubicBezTo>
                    <a:pt x="5318" y="7081"/>
                    <a:pt x="5349" y="7076"/>
                    <a:pt x="5357" y="7064"/>
                  </a:cubicBezTo>
                  <a:cubicBezTo>
                    <a:pt x="5359" y="7060"/>
                    <a:pt x="5346" y="7053"/>
                    <a:pt x="5347" y="7051"/>
                  </a:cubicBezTo>
                  <a:cubicBezTo>
                    <a:pt x="5346" y="7052"/>
                    <a:pt x="5341" y="7036"/>
                    <a:pt x="5343" y="7032"/>
                  </a:cubicBezTo>
                  <a:cubicBezTo>
                    <a:pt x="5349" y="7021"/>
                    <a:pt x="5375" y="7019"/>
                    <a:pt x="5384" y="7009"/>
                  </a:cubicBezTo>
                  <a:cubicBezTo>
                    <a:pt x="5400" y="6989"/>
                    <a:pt x="5385" y="6980"/>
                    <a:pt x="5386" y="6968"/>
                  </a:cubicBezTo>
                  <a:cubicBezTo>
                    <a:pt x="5387" y="6925"/>
                    <a:pt x="5411" y="6912"/>
                    <a:pt x="5439" y="6876"/>
                  </a:cubicBezTo>
                  <a:cubicBezTo>
                    <a:pt x="5451" y="6860"/>
                    <a:pt x="5451" y="6848"/>
                    <a:pt x="5455" y="6832"/>
                  </a:cubicBezTo>
                  <a:cubicBezTo>
                    <a:pt x="5457" y="6826"/>
                    <a:pt x="5449" y="6813"/>
                    <a:pt x="5450" y="6805"/>
                  </a:cubicBezTo>
                  <a:cubicBezTo>
                    <a:pt x="5452" y="6797"/>
                    <a:pt x="5472" y="6793"/>
                    <a:pt x="5471" y="6781"/>
                  </a:cubicBezTo>
                  <a:cubicBezTo>
                    <a:pt x="5471" y="6768"/>
                    <a:pt x="5469" y="6760"/>
                    <a:pt x="5446" y="6756"/>
                  </a:cubicBezTo>
                  <a:cubicBezTo>
                    <a:pt x="5455" y="6739"/>
                    <a:pt x="5461" y="6728"/>
                    <a:pt x="5482" y="6718"/>
                  </a:cubicBezTo>
                  <a:cubicBezTo>
                    <a:pt x="5513" y="6702"/>
                    <a:pt x="5502" y="6693"/>
                    <a:pt x="5514" y="6671"/>
                  </a:cubicBezTo>
                  <a:cubicBezTo>
                    <a:pt x="5531" y="6637"/>
                    <a:pt x="5535" y="6622"/>
                    <a:pt x="5530" y="6584"/>
                  </a:cubicBezTo>
                  <a:cubicBezTo>
                    <a:pt x="5520" y="6511"/>
                    <a:pt x="5535" y="6436"/>
                    <a:pt x="5451" y="6380"/>
                  </a:cubicBezTo>
                  <a:cubicBezTo>
                    <a:pt x="5413" y="6355"/>
                    <a:pt x="5308" y="6307"/>
                    <a:pt x="5260" y="6327"/>
                  </a:cubicBezTo>
                  <a:cubicBezTo>
                    <a:pt x="5245" y="6333"/>
                    <a:pt x="5196" y="6394"/>
                    <a:pt x="5191" y="6406"/>
                  </a:cubicBezTo>
                  <a:cubicBezTo>
                    <a:pt x="5181" y="6433"/>
                    <a:pt x="5185" y="6481"/>
                    <a:pt x="5204" y="6500"/>
                  </a:cubicBezTo>
                  <a:cubicBezTo>
                    <a:pt x="5219" y="6517"/>
                    <a:pt x="5244" y="6495"/>
                    <a:pt x="5233" y="6517"/>
                  </a:cubicBezTo>
                  <a:cubicBezTo>
                    <a:pt x="5237" y="6508"/>
                    <a:pt x="5193" y="6532"/>
                    <a:pt x="5189" y="6536"/>
                  </a:cubicBezTo>
                  <a:cubicBezTo>
                    <a:pt x="5168" y="6557"/>
                    <a:pt x="5170" y="6600"/>
                    <a:pt x="5176" y="6624"/>
                  </a:cubicBezTo>
                  <a:cubicBezTo>
                    <a:pt x="5152" y="6602"/>
                    <a:pt x="5165" y="6570"/>
                    <a:pt x="5161" y="6543"/>
                  </a:cubicBezTo>
                  <a:cubicBezTo>
                    <a:pt x="5157" y="6519"/>
                    <a:pt x="5141" y="6503"/>
                    <a:pt x="5137" y="6476"/>
                  </a:cubicBezTo>
                  <a:cubicBezTo>
                    <a:pt x="5132" y="6446"/>
                    <a:pt x="5159" y="6456"/>
                    <a:pt x="5131" y="6436"/>
                  </a:cubicBezTo>
                  <a:cubicBezTo>
                    <a:pt x="5118" y="6427"/>
                    <a:pt x="5094" y="6422"/>
                    <a:pt x="5077" y="6422"/>
                  </a:cubicBezTo>
                  <a:cubicBezTo>
                    <a:pt x="5033" y="6421"/>
                    <a:pt x="4985" y="6441"/>
                    <a:pt x="4967" y="6468"/>
                  </a:cubicBezTo>
                  <a:cubicBezTo>
                    <a:pt x="4955" y="6485"/>
                    <a:pt x="4923" y="6530"/>
                    <a:pt x="4909" y="6496"/>
                  </a:cubicBezTo>
                  <a:cubicBezTo>
                    <a:pt x="4902" y="6480"/>
                    <a:pt x="4923" y="6467"/>
                    <a:pt x="4933" y="6455"/>
                  </a:cubicBezTo>
                  <a:cubicBezTo>
                    <a:pt x="4939" y="6446"/>
                    <a:pt x="4941" y="6435"/>
                    <a:pt x="4949" y="6427"/>
                  </a:cubicBezTo>
                  <a:cubicBezTo>
                    <a:pt x="4957" y="6420"/>
                    <a:pt x="4977" y="6426"/>
                    <a:pt x="4985" y="6418"/>
                  </a:cubicBezTo>
                  <a:cubicBezTo>
                    <a:pt x="5038" y="6363"/>
                    <a:pt x="5013" y="6302"/>
                    <a:pt x="4921" y="6303"/>
                  </a:cubicBezTo>
                  <a:cubicBezTo>
                    <a:pt x="4900" y="6303"/>
                    <a:pt x="4850" y="6303"/>
                    <a:pt x="4828" y="6311"/>
                  </a:cubicBezTo>
                  <a:cubicBezTo>
                    <a:pt x="4844" y="6278"/>
                    <a:pt x="4837" y="6248"/>
                    <a:pt x="4864" y="6214"/>
                  </a:cubicBezTo>
                  <a:cubicBezTo>
                    <a:pt x="4875" y="6202"/>
                    <a:pt x="4904" y="6201"/>
                    <a:pt x="4912" y="6191"/>
                  </a:cubicBezTo>
                  <a:cubicBezTo>
                    <a:pt x="4930" y="6170"/>
                    <a:pt x="4913" y="6179"/>
                    <a:pt x="4910" y="6152"/>
                  </a:cubicBezTo>
                  <a:cubicBezTo>
                    <a:pt x="4910" y="6147"/>
                    <a:pt x="4932" y="6141"/>
                    <a:pt x="4933" y="6132"/>
                  </a:cubicBezTo>
                  <a:cubicBezTo>
                    <a:pt x="4934" y="6127"/>
                    <a:pt x="4919" y="6116"/>
                    <a:pt x="4918" y="6108"/>
                  </a:cubicBezTo>
                  <a:cubicBezTo>
                    <a:pt x="4918" y="6093"/>
                    <a:pt x="4913" y="6071"/>
                    <a:pt x="4898" y="6058"/>
                  </a:cubicBezTo>
                  <a:cubicBezTo>
                    <a:pt x="4886" y="6047"/>
                    <a:pt x="4869" y="6047"/>
                    <a:pt x="4858" y="6038"/>
                  </a:cubicBezTo>
                  <a:cubicBezTo>
                    <a:pt x="4830" y="6016"/>
                    <a:pt x="4845" y="6040"/>
                    <a:pt x="4844" y="6009"/>
                  </a:cubicBezTo>
                  <a:cubicBezTo>
                    <a:pt x="4844" y="5998"/>
                    <a:pt x="4848" y="5980"/>
                    <a:pt x="4851" y="5963"/>
                  </a:cubicBezTo>
                  <a:cubicBezTo>
                    <a:pt x="4851" y="5965"/>
                    <a:pt x="4859" y="5932"/>
                    <a:pt x="4858" y="5929"/>
                  </a:cubicBezTo>
                  <a:cubicBezTo>
                    <a:pt x="4853" y="5912"/>
                    <a:pt x="4791" y="5865"/>
                    <a:pt x="4843" y="5857"/>
                  </a:cubicBezTo>
                  <a:cubicBezTo>
                    <a:pt x="4870" y="5852"/>
                    <a:pt x="4898" y="5821"/>
                    <a:pt x="4892" y="5799"/>
                  </a:cubicBezTo>
                  <a:cubicBezTo>
                    <a:pt x="4885" y="5774"/>
                    <a:pt x="4856" y="5783"/>
                    <a:pt x="4848" y="5771"/>
                  </a:cubicBezTo>
                  <a:cubicBezTo>
                    <a:pt x="4836" y="5752"/>
                    <a:pt x="4860" y="5734"/>
                    <a:pt x="4841" y="5714"/>
                  </a:cubicBezTo>
                  <a:cubicBezTo>
                    <a:pt x="4812" y="5683"/>
                    <a:pt x="4841" y="5718"/>
                    <a:pt x="4814" y="5720"/>
                  </a:cubicBezTo>
                  <a:cubicBezTo>
                    <a:pt x="4808" y="5721"/>
                    <a:pt x="4798" y="5729"/>
                    <a:pt x="4791" y="5731"/>
                  </a:cubicBezTo>
                  <a:cubicBezTo>
                    <a:pt x="4785" y="5732"/>
                    <a:pt x="4781" y="5719"/>
                    <a:pt x="4775" y="5720"/>
                  </a:cubicBezTo>
                  <a:cubicBezTo>
                    <a:pt x="4753" y="5723"/>
                    <a:pt x="4744" y="5720"/>
                    <a:pt x="4727" y="5728"/>
                  </a:cubicBezTo>
                  <a:cubicBezTo>
                    <a:pt x="4706" y="5737"/>
                    <a:pt x="4670" y="5771"/>
                    <a:pt x="4653" y="5790"/>
                  </a:cubicBezTo>
                  <a:cubicBezTo>
                    <a:pt x="4629" y="5817"/>
                    <a:pt x="4631" y="5852"/>
                    <a:pt x="4606" y="5875"/>
                  </a:cubicBezTo>
                  <a:cubicBezTo>
                    <a:pt x="4590" y="5890"/>
                    <a:pt x="4593" y="5874"/>
                    <a:pt x="4579" y="5892"/>
                  </a:cubicBezTo>
                  <a:cubicBezTo>
                    <a:pt x="4573" y="5900"/>
                    <a:pt x="4569" y="5907"/>
                    <a:pt x="4562" y="5914"/>
                  </a:cubicBezTo>
                  <a:cubicBezTo>
                    <a:pt x="4548" y="5928"/>
                    <a:pt x="4578" y="5925"/>
                    <a:pt x="4578" y="5924"/>
                  </a:cubicBezTo>
                  <a:cubicBezTo>
                    <a:pt x="4574" y="5933"/>
                    <a:pt x="4565" y="5940"/>
                    <a:pt x="4554" y="5946"/>
                  </a:cubicBezTo>
                  <a:lnTo>
                    <a:pt x="4521" y="6144"/>
                  </a:lnTo>
                  <a:cubicBezTo>
                    <a:pt x="4528" y="6142"/>
                    <a:pt x="4539" y="6144"/>
                    <a:pt x="4549" y="6154"/>
                  </a:cubicBezTo>
                  <a:cubicBezTo>
                    <a:pt x="4557" y="6162"/>
                    <a:pt x="4544" y="6169"/>
                    <a:pt x="4551" y="6175"/>
                  </a:cubicBezTo>
                  <a:cubicBezTo>
                    <a:pt x="4558" y="6180"/>
                    <a:pt x="4577" y="6180"/>
                    <a:pt x="4586" y="6185"/>
                  </a:cubicBezTo>
                  <a:cubicBezTo>
                    <a:pt x="4589" y="6187"/>
                    <a:pt x="4615" y="6221"/>
                    <a:pt x="4617" y="6225"/>
                  </a:cubicBezTo>
                  <a:cubicBezTo>
                    <a:pt x="4620" y="6233"/>
                    <a:pt x="4631" y="6239"/>
                    <a:pt x="4634" y="6247"/>
                  </a:cubicBezTo>
                  <a:cubicBezTo>
                    <a:pt x="4637" y="6257"/>
                    <a:pt x="4615" y="6256"/>
                    <a:pt x="4616" y="6264"/>
                  </a:cubicBezTo>
                  <a:cubicBezTo>
                    <a:pt x="4618" y="6277"/>
                    <a:pt x="4629" y="6283"/>
                    <a:pt x="4631" y="6293"/>
                  </a:cubicBezTo>
                  <a:cubicBezTo>
                    <a:pt x="4625" y="6285"/>
                    <a:pt x="4588" y="6317"/>
                    <a:pt x="4604" y="6309"/>
                  </a:cubicBezTo>
                  <a:cubicBezTo>
                    <a:pt x="4582" y="6321"/>
                    <a:pt x="4551" y="6351"/>
                    <a:pt x="4525" y="6361"/>
                  </a:cubicBezTo>
                  <a:cubicBezTo>
                    <a:pt x="4515" y="6365"/>
                    <a:pt x="4498" y="6366"/>
                    <a:pt x="4482" y="6369"/>
                  </a:cubicBezTo>
                  <a:lnTo>
                    <a:pt x="4474" y="6419"/>
                  </a:lnTo>
                  <a:cubicBezTo>
                    <a:pt x="4492" y="6417"/>
                    <a:pt x="4513" y="6407"/>
                    <a:pt x="4526" y="6420"/>
                  </a:cubicBezTo>
                  <a:cubicBezTo>
                    <a:pt x="4527" y="6422"/>
                    <a:pt x="4513" y="6456"/>
                    <a:pt x="4516" y="6458"/>
                  </a:cubicBezTo>
                  <a:cubicBezTo>
                    <a:pt x="4529" y="6473"/>
                    <a:pt x="4550" y="6463"/>
                    <a:pt x="4567" y="6470"/>
                  </a:cubicBezTo>
                  <a:cubicBezTo>
                    <a:pt x="4566" y="6469"/>
                    <a:pt x="4597" y="6492"/>
                    <a:pt x="4602" y="6494"/>
                  </a:cubicBezTo>
                  <a:cubicBezTo>
                    <a:pt x="4618" y="6504"/>
                    <a:pt x="4638" y="6509"/>
                    <a:pt x="4654" y="6522"/>
                  </a:cubicBezTo>
                  <a:cubicBezTo>
                    <a:pt x="4671" y="6537"/>
                    <a:pt x="4679" y="6554"/>
                    <a:pt x="4705" y="6567"/>
                  </a:cubicBezTo>
                  <a:cubicBezTo>
                    <a:pt x="4664" y="6569"/>
                    <a:pt x="4700" y="6583"/>
                    <a:pt x="4697" y="6602"/>
                  </a:cubicBezTo>
                  <a:cubicBezTo>
                    <a:pt x="4694" y="6621"/>
                    <a:pt x="4676" y="6639"/>
                    <a:pt x="4688" y="6657"/>
                  </a:cubicBezTo>
                  <a:cubicBezTo>
                    <a:pt x="4624" y="6642"/>
                    <a:pt x="4669" y="6668"/>
                    <a:pt x="4669" y="6683"/>
                  </a:cubicBezTo>
                  <a:cubicBezTo>
                    <a:pt x="4670" y="6734"/>
                    <a:pt x="4659" y="6708"/>
                    <a:pt x="4614" y="6693"/>
                  </a:cubicBezTo>
                  <a:cubicBezTo>
                    <a:pt x="4562" y="6675"/>
                    <a:pt x="4496" y="6662"/>
                    <a:pt x="4434" y="6654"/>
                  </a:cubicBezTo>
                  <a:lnTo>
                    <a:pt x="4349" y="7153"/>
                  </a:lnTo>
                  <a:cubicBezTo>
                    <a:pt x="4351" y="7152"/>
                    <a:pt x="4353" y="7151"/>
                    <a:pt x="4355" y="7150"/>
                  </a:cubicBezTo>
                  <a:cubicBezTo>
                    <a:pt x="4379" y="7139"/>
                    <a:pt x="4379" y="7152"/>
                    <a:pt x="4399" y="7152"/>
                  </a:cubicBezTo>
                  <a:close/>
                  <a:moveTo>
                    <a:pt x="11711" y="5640"/>
                  </a:moveTo>
                  <a:cubicBezTo>
                    <a:pt x="11651" y="5639"/>
                    <a:pt x="11637" y="5745"/>
                    <a:pt x="11626" y="5782"/>
                  </a:cubicBezTo>
                  <a:cubicBezTo>
                    <a:pt x="11621" y="5799"/>
                    <a:pt x="11598" y="5839"/>
                    <a:pt x="11601" y="5858"/>
                  </a:cubicBezTo>
                  <a:cubicBezTo>
                    <a:pt x="11608" y="5854"/>
                    <a:pt x="11661" y="5892"/>
                    <a:pt x="11645" y="5885"/>
                  </a:cubicBezTo>
                  <a:cubicBezTo>
                    <a:pt x="11661" y="5892"/>
                    <a:pt x="11669" y="5886"/>
                    <a:pt x="11688" y="5898"/>
                  </a:cubicBezTo>
                  <a:cubicBezTo>
                    <a:pt x="11684" y="5864"/>
                    <a:pt x="11677" y="5820"/>
                    <a:pt x="11745" y="5823"/>
                  </a:cubicBezTo>
                  <a:cubicBezTo>
                    <a:pt x="11770" y="5825"/>
                    <a:pt x="11745" y="5846"/>
                    <a:pt x="11770" y="5839"/>
                  </a:cubicBezTo>
                  <a:cubicBezTo>
                    <a:pt x="11793" y="5834"/>
                    <a:pt x="11800" y="5832"/>
                    <a:pt x="11784" y="5814"/>
                  </a:cubicBezTo>
                  <a:cubicBezTo>
                    <a:pt x="11776" y="5805"/>
                    <a:pt x="11739" y="5806"/>
                    <a:pt x="11727" y="5797"/>
                  </a:cubicBezTo>
                  <a:cubicBezTo>
                    <a:pt x="11700" y="5779"/>
                    <a:pt x="11702" y="5764"/>
                    <a:pt x="11711" y="5737"/>
                  </a:cubicBezTo>
                  <a:cubicBezTo>
                    <a:pt x="11722" y="5705"/>
                    <a:pt x="11776" y="5660"/>
                    <a:pt x="11711" y="5640"/>
                  </a:cubicBezTo>
                  <a:close/>
                  <a:moveTo>
                    <a:pt x="8923" y="5060"/>
                  </a:moveTo>
                  <a:cubicBezTo>
                    <a:pt x="8875" y="5029"/>
                    <a:pt x="8856" y="5029"/>
                    <a:pt x="8799" y="5023"/>
                  </a:cubicBezTo>
                  <a:cubicBezTo>
                    <a:pt x="8746" y="5018"/>
                    <a:pt x="8728" y="5004"/>
                    <a:pt x="8694" y="5042"/>
                  </a:cubicBezTo>
                  <a:cubicBezTo>
                    <a:pt x="8672" y="5067"/>
                    <a:pt x="8675" y="5090"/>
                    <a:pt x="8686" y="5129"/>
                  </a:cubicBezTo>
                  <a:cubicBezTo>
                    <a:pt x="8708" y="5208"/>
                    <a:pt x="8716" y="5243"/>
                    <a:pt x="8811" y="5284"/>
                  </a:cubicBezTo>
                  <a:cubicBezTo>
                    <a:pt x="8847" y="5300"/>
                    <a:pt x="8900" y="5313"/>
                    <a:pt x="8913" y="5338"/>
                  </a:cubicBezTo>
                  <a:cubicBezTo>
                    <a:pt x="8978" y="5325"/>
                    <a:pt x="9035" y="5298"/>
                    <a:pt x="9043" y="5240"/>
                  </a:cubicBezTo>
                  <a:cubicBezTo>
                    <a:pt x="9047" y="5208"/>
                    <a:pt x="9025" y="5178"/>
                    <a:pt x="9013" y="5145"/>
                  </a:cubicBezTo>
                  <a:cubicBezTo>
                    <a:pt x="9001" y="5108"/>
                    <a:pt x="8961" y="5084"/>
                    <a:pt x="8923" y="5060"/>
                  </a:cubicBezTo>
                  <a:close/>
                  <a:moveTo>
                    <a:pt x="8010" y="2007"/>
                  </a:moveTo>
                  <a:cubicBezTo>
                    <a:pt x="8024" y="2059"/>
                    <a:pt x="8036" y="1997"/>
                    <a:pt x="8071" y="2014"/>
                  </a:cubicBezTo>
                  <a:cubicBezTo>
                    <a:pt x="8092" y="1994"/>
                    <a:pt x="8076" y="1962"/>
                    <a:pt x="8092" y="1938"/>
                  </a:cubicBezTo>
                  <a:cubicBezTo>
                    <a:pt x="8116" y="1904"/>
                    <a:pt x="8119" y="1906"/>
                    <a:pt x="8171" y="1916"/>
                  </a:cubicBezTo>
                  <a:cubicBezTo>
                    <a:pt x="8158" y="1900"/>
                    <a:pt x="8149" y="1876"/>
                    <a:pt x="8176" y="1880"/>
                  </a:cubicBezTo>
                  <a:cubicBezTo>
                    <a:pt x="8186" y="1881"/>
                    <a:pt x="8202" y="1908"/>
                    <a:pt x="8211" y="1913"/>
                  </a:cubicBezTo>
                  <a:cubicBezTo>
                    <a:pt x="8221" y="1919"/>
                    <a:pt x="8205" y="1925"/>
                    <a:pt x="8223" y="1930"/>
                  </a:cubicBezTo>
                  <a:cubicBezTo>
                    <a:pt x="8227" y="1931"/>
                    <a:pt x="8238" y="1919"/>
                    <a:pt x="8245" y="1921"/>
                  </a:cubicBezTo>
                  <a:cubicBezTo>
                    <a:pt x="8263" y="1925"/>
                    <a:pt x="8284" y="1913"/>
                    <a:pt x="8284" y="1930"/>
                  </a:cubicBezTo>
                  <a:cubicBezTo>
                    <a:pt x="8284" y="1923"/>
                    <a:pt x="8238" y="1971"/>
                    <a:pt x="8238" y="1970"/>
                  </a:cubicBezTo>
                  <a:cubicBezTo>
                    <a:pt x="8227" y="1979"/>
                    <a:pt x="8214" y="1979"/>
                    <a:pt x="8202" y="1991"/>
                  </a:cubicBezTo>
                  <a:cubicBezTo>
                    <a:pt x="8186" y="2008"/>
                    <a:pt x="8116" y="2069"/>
                    <a:pt x="8123" y="2088"/>
                  </a:cubicBezTo>
                  <a:cubicBezTo>
                    <a:pt x="8128" y="2104"/>
                    <a:pt x="8169" y="2111"/>
                    <a:pt x="8185" y="2118"/>
                  </a:cubicBezTo>
                  <a:cubicBezTo>
                    <a:pt x="8204" y="2125"/>
                    <a:pt x="8176" y="2142"/>
                    <a:pt x="8215" y="2130"/>
                  </a:cubicBezTo>
                  <a:cubicBezTo>
                    <a:pt x="8255" y="2116"/>
                    <a:pt x="8291" y="2064"/>
                    <a:pt x="8316" y="2040"/>
                  </a:cubicBezTo>
                  <a:cubicBezTo>
                    <a:pt x="8348" y="2009"/>
                    <a:pt x="8386" y="1982"/>
                    <a:pt x="8427" y="1960"/>
                  </a:cubicBezTo>
                  <a:cubicBezTo>
                    <a:pt x="8443" y="1952"/>
                    <a:pt x="8473" y="1931"/>
                    <a:pt x="8492" y="1927"/>
                  </a:cubicBezTo>
                  <a:cubicBezTo>
                    <a:pt x="8504" y="1924"/>
                    <a:pt x="8510" y="1942"/>
                    <a:pt x="8521" y="1943"/>
                  </a:cubicBezTo>
                  <a:cubicBezTo>
                    <a:pt x="8532" y="1944"/>
                    <a:pt x="8532" y="1932"/>
                    <a:pt x="8549" y="1935"/>
                  </a:cubicBezTo>
                  <a:cubicBezTo>
                    <a:pt x="8580" y="1943"/>
                    <a:pt x="8662" y="1949"/>
                    <a:pt x="8673" y="1973"/>
                  </a:cubicBezTo>
                  <a:cubicBezTo>
                    <a:pt x="8644" y="1967"/>
                    <a:pt x="8616" y="1970"/>
                    <a:pt x="8584" y="1967"/>
                  </a:cubicBezTo>
                  <a:cubicBezTo>
                    <a:pt x="8553" y="1964"/>
                    <a:pt x="8554" y="1962"/>
                    <a:pt x="8516" y="1966"/>
                  </a:cubicBezTo>
                  <a:cubicBezTo>
                    <a:pt x="8481" y="1970"/>
                    <a:pt x="8378" y="2003"/>
                    <a:pt x="8436" y="2038"/>
                  </a:cubicBezTo>
                  <a:cubicBezTo>
                    <a:pt x="8390" y="2030"/>
                    <a:pt x="8371" y="2083"/>
                    <a:pt x="8350" y="2107"/>
                  </a:cubicBezTo>
                  <a:cubicBezTo>
                    <a:pt x="8324" y="2135"/>
                    <a:pt x="8271" y="2152"/>
                    <a:pt x="8306" y="2180"/>
                  </a:cubicBezTo>
                  <a:cubicBezTo>
                    <a:pt x="8320" y="2191"/>
                    <a:pt x="8393" y="2212"/>
                    <a:pt x="8408" y="2214"/>
                  </a:cubicBezTo>
                  <a:cubicBezTo>
                    <a:pt x="8414" y="2215"/>
                    <a:pt x="8461" y="2183"/>
                    <a:pt x="8454" y="2208"/>
                  </a:cubicBezTo>
                  <a:cubicBezTo>
                    <a:pt x="8454" y="2206"/>
                    <a:pt x="8406" y="2236"/>
                    <a:pt x="8405" y="2237"/>
                  </a:cubicBezTo>
                  <a:cubicBezTo>
                    <a:pt x="8350" y="2258"/>
                    <a:pt x="8346" y="2219"/>
                    <a:pt x="8301" y="2231"/>
                  </a:cubicBezTo>
                  <a:cubicBezTo>
                    <a:pt x="8261" y="2241"/>
                    <a:pt x="8244" y="2288"/>
                    <a:pt x="8260" y="2315"/>
                  </a:cubicBezTo>
                  <a:cubicBezTo>
                    <a:pt x="8320" y="2416"/>
                    <a:pt x="8360" y="2419"/>
                    <a:pt x="8478" y="2373"/>
                  </a:cubicBezTo>
                  <a:cubicBezTo>
                    <a:pt x="8513" y="2360"/>
                    <a:pt x="8553" y="2343"/>
                    <a:pt x="8591" y="2332"/>
                  </a:cubicBezTo>
                  <a:cubicBezTo>
                    <a:pt x="8637" y="2319"/>
                    <a:pt x="8683" y="2327"/>
                    <a:pt x="8728" y="2312"/>
                  </a:cubicBezTo>
                  <a:cubicBezTo>
                    <a:pt x="8769" y="2299"/>
                    <a:pt x="8797" y="2273"/>
                    <a:pt x="8836" y="2258"/>
                  </a:cubicBezTo>
                  <a:cubicBezTo>
                    <a:pt x="8898" y="2234"/>
                    <a:pt x="8890" y="2217"/>
                    <a:pt x="8918" y="2174"/>
                  </a:cubicBezTo>
                  <a:cubicBezTo>
                    <a:pt x="8937" y="2143"/>
                    <a:pt x="9040" y="2047"/>
                    <a:pt x="9089" y="2060"/>
                  </a:cubicBezTo>
                  <a:cubicBezTo>
                    <a:pt x="9150" y="2076"/>
                    <a:pt x="9072" y="2110"/>
                    <a:pt x="9049" y="2130"/>
                  </a:cubicBezTo>
                  <a:cubicBezTo>
                    <a:pt x="9018" y="2159"/>
                    <a:pt x="8989" y="2199"/>
                    <a:pt x="8973" y="2234"/>
                  </a:cubicBezTo>
                  <a:cubicBezTo>
                    <a:pt x="8969" y="2243"/>
                    <a:pt x="8995" y="2252"/>
                    <a:pt x="8991" y="2258"/>
                  </a:cubicBezTo>
                  <a:cubicBezTo>
                    <a:pt x="8985" y="2266"/>
                    <a:pt x="8964" y="2256"/>
                    <a:pt x="8956" y="2263"/>
                  </a:cubicBezTo>
                  <a:cubicBezTo>
                    <a:pt x="8938" y="2278"/>
                    <a:pt x="8924" y="2292"/>
                    <a:pt x="8908" y="2308"/>
                  </a:cubicBezTo>
                  <a:cubicBezTo>
                    <a:pt x="8876" y="2340"/>
                    <a:pt x="8829" y="2358"/>
                    <a:pt x="8782" y="2373"/>
                  </a:cubicBezTo>
                  <a:cubicBezTo>
                    <a:pt x="8733" y="2390"/>
                    <a:pt x="8681" y="2372"/>
                    <a:pt x="8627" y="2381"/>
                  </a:cubicBezTo>
                  <a:cubicBezTo>
                    <a:pt x="8581" y="2388"/>
                    <a:pt x="8543" y="2403"/>
                    <a:pt x="8506" y="2424"/>
                  </a:cubicBezTo>
                  <a:cubicBezTo>
                    <a:pt x="8464" y="2449"/>
                    <a:pt x="8426" y="2467"/>
                    <a:pt x="8460" y="2508"/>
                  </a:cubicBezTo>
                  <a:cubicBezTo>
                    <a:pt x="8489" y="2542"/>
                    <a:pt x="8548" y="2551"/>
                    <a:pt x="8591" y="2573"/>
                  </a:cubicBezTo>
                  <a:cubicBezTo>
                    <a:pt x="8642" y="2599"/>
                    <a:pt x="8788" y="2685"/>
                    <a:pt x="8852" y="2649"/>
                  </a:cubicBezTo>
                  <a:cubicBezTo>
                    <a:pt x="8885" y="2631"/>
                    <a:pt x="8873" y="2585"/>
                    <a:pt x="8880" y="2558"/>
                  </a:cubicBezTo>
                  <a:cubicBezTo>
                    <a:pt x="8889" y="2520"/>
                    <a:pt x="8909" y="2484"/>
                    <a:pt x="8923" y="2449"/>
                  </a:cubicBezTo>
                  <a:cubicBezTo>
                    <a:pt x="8947" y="2393"/>
                    <a:pt x="8965" y="2303"/>
                    <a:pt x="9041" y="2269"/>
                  </a:cubicBezTo>
                  <a:cubicBezTo>
                    <a:pt x="9076" y="2253"/>
                    <a:pt x="9126" y="2243"/>
                    <a:pt x="9165" y="2227"/>
                  </a:cubicBezTo>
                  <a:cubicBezTo>
                    <a:pt x="9209" y="2209"/>
                    <a:pt x="9248" y="2199"/>
                    <a:pt x="9288" y="2181"/>
                  </a:cubicBezTo>
                  <a:cubicBezTo>
                    <a:pt x="9333" y="2160"/>
                    <a:pt x="9370" y="2143"/>
                    <a:pt x="9408" y="2118"/>
                  </a:cubicBezTo>
                  <a:cubicBezTo>
                    <a:pt x="9440" y="2096"/>
                    <a:pt x="9490" y="2095"/>
                    <a:pt x="9514" y="2075"/>
                  </a:cubicBezTo>
                  <a:cubicBezTo>
                    <a:pt x="9519" y="2115"/>
                    <a:pt x="9378" y="2169"/>
                    <a:pt x="9333" y="2194"/>
                  </a:cubicBezTo>
                  <a:cubicBezTo>
                    <a:pt x="9302" y="2210"/>
                    <a:pt x="9267" y="2225"/>
                    <a:pt x="9236" y="2241"/>
                  </a:cubicBezTo>
                  <a:cubicBezTo>
                    <a:pt x="9204" y="2256"/>
                    <a:pt x="9154" y="2260"/>
                    <a:pt x="9136" y="2268"/>
                  </a:cubicBezTo>
                  <a:cubicBezTo>
                    <a:pt x="9069" y="2297"/>
                    <a:pt x="9030" y="2367"/>
                    <a:pt x="9014" y="2424"/>
                  </a:cubicBezTo>
                  <a:cubicBezTo>
                    <a:pt x="8997" y="2483"/>
                    <a:pt x="8921" y="2585"/>
                    <a:pt x="8953" y="2645"/>
                  </a:cubicBezTo>
                  <a:cubicBezTo>
                    <a:pt x="8964" y="2664"/>
                    <a:pt x="9051" y="2704"/>
                    <a:pt x="9082" y="2693"/>
                  </a:cubicBezTo>
                  <a:cubicBezTo>
                    <a:pt x="9120" y="2679"/>
                    <a:pt x="9095" y="2621"/>
                    <a:pt x="9145" y="2610"/>
                  </a:cubicBezTo>
                  <a:cubicBezTo>
                    <a:pt x="9140" y="2621"/>
                    <a:pt x="9109" y="2665"/>
                    <a:pt x="9117" y="2675"/>
                  </a:cubicBezTo>
                  <a:cubicBezTo>
                    <a:pt x="9125" y="2686"/>
                    <a:pt x="9187" y="2681"/>
                    <a:pt x="9206" y="2681"/>
                  </a:cubicBezTo>
                  <a:cubicBezTo>
                    <a:pt x="9247" y="2680"/>
                    <a:pt x="9254" y="2679"/>
                    <a:pt x="9288" y="2662"/>
                  </a:cubicBezTo>
                  <a:cubicBezTo>
                    <a:pt x="9315" y="2649"/>
                    <a:pt x="9344" y="2661"/>
                    <a:pt x="9372" y="2654"/>
                  </a:cubicBezTo>
                  <a:cubicBezTo>
                    <a:pt x="9495" y="2623"/>
                    <a:pt x="9458" y="2510"/>
                    <a:pt x="9397" y="2448"/>
                  </a:cubicBezTo>
                  <a:cubicBezTo>
                    <a:pt x="9394" y="2448"/>
                    <a:pt x="9416" y="2445"/>
                    <a:pt x="9414" y="2449"/>
                  </a:cubicBezTo>
                  <a:cubicBezTo>
                    <a:pt x="9415" y="2448"/>
                    <a:pt x="9462" y="2372"/>
                    <a:pt x="9466" y="2370"/>
                  </a:cubicBezTo>
                  <a:cubicBezTo>
                    <a:pt x="9528" y="2338"/>
                    <a:pt x="9451" y="2457"/>
                    <a:pt x="9450" y="2454"/>
                  </a:cubicBezTo>
                  <a:cubicBezTo>
                    <a:pt x="9465" y="2547"/>
                    <a:pt x="9632" y="2385"/>
                    <a:pt x="9650" y="2366"/>
                  </a:cubicBezTo>
                  <a:cubicBezTo>
                    <a:pt x="9677" y="2338"/>
                    <a:pt x="9715" y="2300"/>
                    <a:pt x="9711" y="2357"/>
                  </a:cubicBezTo>
                  <a:cubicBezTo>
                    <a:pt x="9709" y="2397"/>
                    <a:pt x="9674" y="2418"/>
                    <a:pt x="9636" y="2441"/>
                  </a:cubicBezTo>
                  <a:cubicBezTo>
                    <a:pt x="9598" y="2463"/>
                    <a:pt x="9555" y="2496"/>
                    <a:pt x="9552" y="2531"/>
                  </a:cubicBezTo>
                  <a:cubicBezTo>
                    <a:pt x="9546" y="2596"/>
                    <a:pt x="9603" y="2588"/>
                    <a:pt x="9653" y="2568"/>
                  </a:cubicBezTo>
                  <a:cubicBezTo>
                    <a:pt x="9807" y="2506"/>
                    <a:pt x="9922" y="2412"/>
                    <a:pt x="10017" y="2302"/>
                  </a:cubicBezTo>
                  <a:cubicBezTo>
                    <a:pt x="10050" y="2265"/>
                    <a:pt x="10065" y="2238"/>
                    <a:pt x="10071" y="2194"/>
                  </a:cubicBezTo>
                  <a:cubicBezTo>
                    <a:pt x="10073" y="2181"/>
                    <a:pt x="10073" y="2167"/>
                    <a:pt x="10075" y="2157"/>
                  </a:cubicBezTo>
                  <a:cubicBezTo>
                    <a:pt x="10077" y="2146"/>
                    <a:pt x="10092" y="2126"/>
                    <a:pt x="10082" y="2110"/>
                  </a:cubicBezTo>
                  <a:cubicBezTo>
                    <a:pt x="10072" y="2094"/>
                    <a:pt x="10047" y="2113"/>
                    <a:pt x="10044" y="2080"/>
                  </a:cubicBezTo>
                  <a:cubicBezTo>
                    <a:pt x="10043" y="2066"/>
                    <a:pt x="10063" y="2034"/>
                    <a:pt x="10060" y="2028"/>
                  </a:cubicBezTo>
                  <a:cubicBezTo>
                    <a:pt x="10051" y="2006"/>
                    <a:pt x="9980" y="1982"/>
                    <a:pt x="9960" y="1960"/>
                  </a:cubicBezTo>
                  <a:cubicBezTo>
                    <a:pt x="9991" y="1973"/>
                    <a:pt x="10020" y="1997"/>
                    <a:pt x="10059" y="1999"/>
                  </a:cubicBezTo>
                  <a:cubicBezTo>
                    <a:pt x="10114" y="2003"/>
                    <a:pt x="10091" y="1992"/>
                    <a:pt x="10089" y="1960"/>
                  </a:cubicBezTo>
                  <a:cubicBezTo>
                    <a:pt x="10087" y="1908"/>
                    <a:pt x="10113" y="1844"/>
                    <a:pt x="10143" y="1798"/>
                  </a:cubicBezTo>
                  <a:cubicBezTo>
                    <a:pt x="10139" y="1798"/>
                    <a:pt x="10127" y="1798"/>
                    <a:pt x="10122" y="1798"/>
                  </a:cubicBezTo>
                  <a:cubicBezTo>
                    <a:pt x="10142" y="1770"/>
                    <a:pt x="10174" y="1745"/>
                    <a:pt x="10197" y="1717"/>
                  </a:cubicBezTo>
                  <a:cubicBezTo>
                    <a:pt x="10204" y="1709"/>
                    <a:pt x="10273" y="1648"/>
                    <a:pt x="10254" y="1688"/>
                  </a:cubicBezTo>
                  <a:cubicBezTo>
                    <a:pt x="10238" y="1722"/>
                    <a:pt x="10226" y="1761"/>
                    <a:pt x="10188" y="1786"/>
                  </a:cubicBezTo>
                  <a:cubicBezTo>
                    <a:pt x="10174" y="1796"/>
                    <a:pt x="10152" y="1817"/>
                    <a:pt x="10151" y="1832"/>
                  </a:cubicBezTo>
                  <a:cubicBezTo>
                    <a:pt x="10148" y="1862"/>
                    <a:pt x="10164" y="1837"/>
                    <a:pt x="10172" y="1865"/>
                  </a:cubicBezTo>
                  <a:cubicBezTo>
                    <a:pt x="10178" y="1885"/>
                    <a:pt x="10162" y="1904"/>
                    <a:pt x="10154" y="1921"/>
                  </a:cubicBezTo>
                  <a:cubicBezTo>
                    <a:pt x="10150" y="1930"/>
                    <a:pt x="10133" y="1932"/>
                    <a:pt x="10131" y="1943"/>
                  </a:cubicBezTo>
                  <a:cubicBezTo>
                    <a:pt x="10129" y="1951"/>
                    <a:pt x="10146" y="1950"/>
                    <a:pt x="10146" y="1957"/>
                  </a:cubicBezTo>
                  <a:cubicBezTo>
                    <a:pt x="10144" y="1997"/>
                    <a:pt x="10121" y="2034"/>
                    <a:pt x="10119" y="2072"/>
                  </a:cubicBezTo>
                  <a:cubicBezTo>
                    <a:pt x="10118" y="2106"/>
                    <a:pt x="10149" y="2130"/>
                    <a:pt x="10151" y="2165"/>
                  </a:cubicBezTo>
                  <a:cubicBezTo>
                    <a:pt x="10153" y="2218"/>
                    <a:pt x="10209" y="2168"/>
                    <a:pt x="10233" y="2154"/>
                  </a:cubicBezTo>
                  <a:cubicBezTo>
                    <a:pt x="10262" y="2138"/>
                    <a:pt x="10291" y="2121"/>
                    <a:pt x="10321" y="2108"/>
                  </a:cubicBezTo>
                  <a:cubicBezTo>
                    <a:pt x="10362" y="2091"/>
                    <a:pt x="10404" y="2097"/>
                    <a:pt x="10449" y="2089"/>
                  </a:cubicBezTo>
                  <a:cubicBezTo>
                    <a:pt x="10471" y="2084"/>
                    <a:pt x="10545" y="2039"/>
                    <a:pt x="10549" y="2077"/>
                  </a:cubicBezTo>
                  <a:cubicBezTo>
                    <a:pt x="10553" y="2113"/>
                    <a:pt x="10488" y="2119"/>
                    <a:pt x="10455" y="2131"/>
                  </a:cubicBezTo>
                  <a:cubicBezTo>
                    <a:pt x="10382" y="2157"/>
                    <a:pt x="10318" y="2189"/>
                    <a:pt x="10261" y="2232"/>
                  </a:cubicBezTo>
                  <a:cubicBezTo>
                    <a:pt x="10228" y="2257"/>
                    <a:pt x="10051" y="2405"/>
                    <a:pt x="10093" y="2421"/>
                  </a:cubicBezTo>
                  <a:cubicBezTo>
                    <a:pt x="10122" y="2432"/>
                    <a:pt x="10186" y="2398"/>
                    <a:pt x="10209" y="2386"/>
                  </a:cubicBezTo>
                  <a:cubicBezTo>
                    <a:pt x="10247" y="2366"/>
                    <a:pt x="10308" y="2364"/>
                    <a:pt x="10351" y="2361"/>
                  </a:cubicBezTo>
                  <a:cubicBezTo>
                    <a:pt x="10369" y="2360"/>
                    <a:pt x="10416" y="2340"/>
                    <a:pt x="10394" y="2373"/>
                  </a:cubicBezTo>
                  <a:cubicBezTo>
                    <a:pt x="10385" y="2387"/>
                    <a:pt x="10345" y="2390"/>
                    <a:pt x="10327" y="2396"/>
                  </a:cubicBezTo>
                  <a:cubicBezTo>
                    <a:pt x="10288" y="2408"/>
                    <a:pt x="10244" y="2421"/>
                    <a:pt x="10207" y="2436"/>
                  </a:cubicBezTo>
                  <a:cubicBezTo>
                    <a:pt x="10170" y="2451"/>
                    <a:pt x="10121" y="2467"/>
                    <a:pt x="10086" y="2486"/>
                  </a:cubicBezTo>
                  <a:cubicBezTo>
                    <a:pt x="10057" y="2502"/>
                    <a:pt x="10067" y="2512"/>
                    <a:pt x="10057" y="2526"/>
                  </a:cubicBezTo>
                  <a:cubicBezTo>
                    <a:pt x="10039" y="2551"/>
                    <a:pt x="10051" y="2536"/>
                    <a:pt x="10020" y="2553"/>
                  </a:cubicBezTo>
                  <a:cubicBezTo>
                    <a:pt x="9953" y="2589"/>
                    <a:pt x="9881" y="2621"/>
                    <a:pt x="9811" y="2655"/>
                  </a:cubicBezTo>
                  <a:cubicBezTo>
                    <a:pt x="9775" y="2672"/>
                    <a:pt x="9745" y="2698"/>
                    <a:pt x="9707" y="2715"/>
                  </a:cubicBezTo>
                  <a:cubicBezTo>
                    <a:pt x="9661" y="2734"/>
                    <a:pt x="9616" y="2740"/>
                    <a:pt x="9643" y="2779"/>
                  </a:cubicBezTo>
                  <a:cubicBezTo>
                    <a:pt x="9661" y="2803"/>
                    <a:pt x="9724" y="2837"/>
                    <a:pt x="9754" y="2858"/>
                  </a:cubicBezTo>
                  <a:cubicBezTo>
                    <a:pt x="9790" y="2884"/>
                    <a:pt x="9822" y="2916"/>
                    <a:pt x="9861" y="2939"/>
                  </a:cubicBezTo>
                  <a:cubicBezTo>
                    <a:pt x="9893" y="2958"/>
                    <a:pt x="9925" y="2969"/>
                    <a:pt x="9967" y="2975"/>
                  </a:cubicBezTo>
                  <a:cubicBezTo>
                    <a:pt x="9983" y="2978"/>
                    <a:pt x="10025" y="2968"/>
                    <a:pt x="10035" y="2983"/>
                  </a:cubicBezTo>
                  <a:cubicBezTo>
                    <a:pt x="10047" y="3000"/>
                    <a:pt x="10009" y="3002"/>
                    <a:pt x="10008" y="3019"/>
                  </a:cubicBezTo>
                  <a:cubicBezTo>
                    <a:pt x="10006" y="3045"/>
                    <a:pt x="10047" y="3086"/>
                    <a:pt x="10053" y="3114"/>
                  </a:cubicBezTo>
                  <a:cubicBezTo>
                    <a:pt x="10054" y="3118"/>
                    <a:pt x="10095" y="3156"/>
                    <a:pt x="10098" y="3157"/>
                  </a:cubicBezTo>
                  <a:cubicBezTo>
                    <a:pt x="10110" y="3160"/>
                    <a:pt x="10146" y="3151"/>
                    <a:pt x="10168" y="3157"/>
                  </a:cubicBezTo>
                  <a:cubicBezTo>
                    <a:pt x="10230" y="3173"/>
                    <a:pt x="10226" y="3183"/>
                    <a:pt x="10285" y="3147"/>
                  </a:cubicBezTo>
                  <a:cubicBezTo>
                    <a:pt x="10321" y="3125"/>
                    <a:pt x="10358" y="3111"/>
                    <a:pt x="10399" y="3094"/>
                  </a:cubicBezTo>
                  <a:cubicBezTo>
                    <a:pt x="10393" y="3157"/>
                    <a:pt x="10331" y="3150"/>
                    <a:pt x="10289" y="3199"/>
                  </a:cubicBezTo>
                  <a:cubicBezTo>
                    <a:pt x="10267" y="3225"/>
                    <a:pt x="10312" y="3222"/>
                    <a:pt x="10267" y="3230"/>
                  </a:cubicBezTo>
                  <a:cubicBezTo>
                    <a:pt x="10256" y="3232"/>
                    <a:pt x="10218" y="3224"/>
                    <a:pt x="10205" y="3222"/>
                  </a:cubicBezTo>
                  <a:cubicBezTo>
                    <a:pt x="10189" y="3219"/>
                    <a:pt x="10154" y="3206"/>
                    <a:pt x="10137" y="3211"/>
                  </a:cubicBezTo>
                  <a:cubicBezTo>
                    <a:pt x="10105" y="3221"/>
                    <a:pt x="10130" y="3239"/>
                    <a:pt x="10111" y="3250"/>
                  </a:cubicBezTo>
                  <a:cubicBezTo>
                    <a:pt x="10072" y="3272"/>
                    <a:pt x="10082" y="3239"/>
                    <a:pt x="10081" y="3239"/>
                  </a:cubicBezTo>
                  <a:cubicBezTo>
                    <a:pt x="10089" y="3252"/>
                    <a:pt x="10083" y="3220"/>
                    <a:pt x="10075" y="3210"/>
                  </a:cubicBezTo>
                  <a:cubicBezTo>
                    <a:pt x="10052" y="3181"/>
                    <a:pt x="10023" y="3183"/>
                    <a:pt x="9996" y="3149"/>
                  </a:cubicBezTo>
                  <a:cubicBezTo>
                    <a:pt x="9938" y="3077"/>
                    <a:pt x="9873" y="3036"/>
                    <a:pt x="9782" y="2988"/>
                  </a:cubicBezTo>
                  <a:cubicBezTo>
                    <a:pt x="9704" y="2947"/>
                    <a:pt x="9641" y="2886"/>
                    <a:pt x="9563" y="2848"/>
                  </a:cubicBezTo>
                  <a:cubicBezTo>
                    <a:pt x="9468" y="2801"/>
                    <a:pt x="9380" y="2869"/>
                    <a:pt x="9285" y="2870"/>
                  </a:cubicBezTo>
                  <a:cubicBezTo>
                    <a:pt x="9232" y="2870"/>
                    <a:pt x="9193" y="2836"/>
                    <a:pt x="9141" y="2843"/>
                  </a:cubicBezTo>
                  <a:cubicBezTo>
                    <a:pt x="9081" y="2851"/>
                    <a:pt x="9066" y="2878"/>
                    <a:pt x="9071" y="2920"/>
                  </a:cubicBezTo>
                  <a:cubicBezTo>
                    <a:pt x="9076" y="2958"/>
                    <a:pt x="9068" y="2997"/>
                    <a:pt x="9082" y="3034"/>
                  </a:cubicBezTo>
                  <a:cubicBezTo>
                    <a:pt x="9089" y="3051"/>
                    <a:pt x="9108" y="3091"/>
                    <a:pt x="9130" y="3102"/>
                  </a:cubicBezTo>
                  <a:cubicBezTo>
                    <a:pt x="9156" y="3114"/>
                    <a:pt x="9158" y="3103"/>
                    <a:pt x="9188" y="3104"/>
                  </a:cubicBezTo>
                  <a:cubicBezTo>
                    <a:pt x="9228" y="3107"/>
                    <a:pt x="9283" y="3109"/>
                    <a:pt x="9320" y="3118"/>
                  </a:cubicBezTo>
                  <a:cubicBezTo>
                    <a:pt x="9333" y="3121"/>
                    <a:pt x="9374" y="3137"/>
                    <a:pt x="9368" y="3148"/>
                  </a:cubicBezTo>
                  <a:cubicBezTo>
                    <a:pt x="9354" y="3172"/>
                    <a:pt x="9329" y="3137"/>
                    <a:pt x="9313" y="3135"/>
                  </a:cubicBezTo>
                  <a:cubicBezTo>
                    <a:pt x="9297" y="3133"/>
                    <a:pt x="9204" y="3125"/>
                    <a:pt x="9187" y="3130"/>
                  </a:cubicBezTo>
                  <a:cubicBezTo>
                    <a:pt x="9136" y="3145"/>
                    <a:pt x="9159" y="3204"/>
                    <a:pt x="9182" y="3233"/>
                  </a:cubicBezTo>
                  <a:cubicBezTo>
                    <a:pt x="9207" y="3263"/>
                    <a:pt x="9158" y="3285"/>
                    <a:pt x="9233" y="3305"/>
                  </a:cubicBezTo>
                  <a:cubicBezTo>
                    <a:pt x="9247" y="3309"/>
                    <a:pt x="9283" y="3318"/>
                    <a:pt x="9297" y="3319"/>
                  </a:cubicBezTo>
                  <a:cubicBezTo>
                    <a:pt x="9323" y="3320"/>
                    <a:pt x="9342" y="3308"/>
                    <a:pt x="9369" y="3309"/>
                  </a:cubicBezTo>
                  <a:cubicBezTo>
                    <a:pt x="9485" y="3313"/>
                    <a:pt x="9499" y="3420"/>
                    <a:pt x="9569" y="3465"/>
                  </a:cubicBezTo>
                  <a:cubicBezTo>
                    <a:pt x="9589" y="3479"/>
                    <a:pt x="9616" y="3479"/>
                    <a:pt x="9631" y="3498"/>
                  </a:cubicBezTo>
                  <a:cubicBezTo>
                    <a:pt x="9656" y="3531"/>
                    <a:pt x="9671" y="3568"/>
                    <a:pt x="9695" y="3602"/>
                  </a:cubicBezTo>
                  <a:cubicBezTo>
                    <a:pt x="9718" y="3636"/>
                    <a:pt x="9762" y="3686"/>
                    <a:pt x="9778" y="3621"/>
                  </a:cubicBezTo>
                  <a:cubicBezTo>
                    <a:pt x="9796" y="3640"/>
                    <a:pt x="9780" y="3660"/>
                    <a:pt x="9791" y="3676"/>
                  </a:cubicBezTo>
                  <a:cubicBezTo>
                    <a:pt x="9803" y="3692"/>
                    <a:pt x="9836" y="3699"/>
                    <a:pt x="9857" y="3710"/>
                  </a:cubicBezTo>
                  <a:cubicBezTo>
                    <a:pt x="9869" y="3716"/>
                    <a:pt x="9877" y="3727"/>
                    <a:pt x="9890" y="3730"/>
                  </a:cubicBezTo>
                  <a:cubicBezTo>
                    <a:pt x="9888" y="3729"/>
                    <a:pt x="9938" y="3736"/>
                    <a:pt x="9920" y="3725"/>
                  </a:cubicBezTo>
                  <a:cubicBezTo>
                    <a:pt x="9934" y="3734"/>
                    <a:pt x="9941" y="3739"/>
                    <a:pt x="9905" y="3753"/>
                  </a:cubicBezTo>
                  <a:cubicBezTo>
                    <a:pt x="9834" y="3780"/>
                    <a:pt x="9819" y="3724"/>
                    <a:pt x="9781" y="3708"/>
                  </a:cubicBezTo>
                  <a:cubicBezTo>
                    <a:pt x="9730" y="3686"/>
                    <a:pt x="9655" y="3705"/>
                    <a:pt x="9665" y="3760"/>
                  </a:cubicBezTo>
                  <a:cubicBezTo>
                    <a:pt x="9677" y="3828"/>
                    <a:pt x="9828" y="3822"/>
                    <a:pt x="9885" y="3822"/>
                  </a:cubicBezTo>
                  <a:cubicBezTo>
                    <a:pt x="9939" y="3822"/>
                    <a:pt x="9980" y="3798"/>
                    <a:pt x="10033" y="3796"/>
                  </a:cubicBezTo>
                  <a:cubicBezTo>
                    <a:pt x="10074" y="3795"/>
                    <a:pt x="10115" y="3820"/>
                    <a:pt x="10151" y="3812"/>
                  </a:cubicBezTo>
                  <a:cubicBezTo>
                    <a:pt x="10196" y="3803"/>
                    <a:pt x="10211" y="3767"/>
                    <a:pt x="10218" y="3739"/>
                  </a:cubicBezTo>
                  <a:cubicBezTo>
                    <a:pt x="10222" y="3718"/>
                    <a:pt x="10234" y="3656"/>
                    <a:pt x="10269" y="3649"/>
                  </a:cubicBezTo>
                  <a:cubicBezTo>
                    <a:pt x="10307" y="3642"/>
                    <a:pt x="10269" y="3698"/>
                    <a:pt x="10271" y="3718"/>
                  </a:cubicBezTo>
                  <a:cubicBezTo>
                    <a:pt x="10274" y="3743"/>
                    <a:pt x="10325" y="3810"/>
                    <a:pt x="10283" y="3815"/>
                  </a:cubicBezTo>
                  <a:cubicBezTo>
                    <a:pt x="10285" y="3813"/>
                    <a:pt x="10292" y="3808"/>
                    <a:pt x="10294" y="3805"/>
                  </a:cubicBezTo>
                  <a:cubicBezTo>
                    <a:pt x="10250" y="3797"/>
                    <a:pt x="10235" y="3824"/>
                    <a:pt x="10203" y="3838"/>
                  </a:cubicBezTo>
                  <a:cubicBezTo>
                    <a:pt x="10160" y="3856"/>
                    <a:pt x="9947" y="3853"/>
                    <a:pt x="10053" y="3905"/>
                  </a:cubicBezTo>
                  <a:cubicBezTo>
                    <a:pt x="10080" y="3919"/>
                    <a:pt x="10124" y="3942"/>
                    <a:pt x="10157" y="3937"/>
                  </a:cubicBezTo>
                  <a:cubicBezTo>
                    <a:pt x="10182" y="3934"/>
                    <a:pt x="10183" y="3912"/>
                    <a:pt x="10213" y="3910"/>
                  </a:cubicBezTo>
                  <a:cubicBezTo>
                    <a:pt x="10269" y="3907"/>
                    <a:pt x="10217" y="3927"/>
                    <a:pt x="10217" y="3927"/>
                  </a:cubicBezTo>
                  <a:cubicBezTo>
                    <a:pt x="10205" y="3938"/>
                    <a:pt x="10175" y="3933"/>
                    <a:pt x="10184" y="3961"/>
                  </a:cubicBezTo>
                  <a:cubicBezTo>
                    <a:pt x="10189" y="3975"/>
                    <a:pt x="10223" y="3988"/>
                    <a:pt x="10237" y="3998"/>
                  </a:cubicBezTo>
                  <a:cubicBezTo>
                    <a:pt x="10281" y="4027"/>
                    <a:pt x="10279" y="4057"/>
                    <a:pt x="10215" y="4029"/>
                  </a:cubicBezTo>
                  <a:cubicBezTo>
                    <a:pt x="10175" y="4011"/>
                    <a:pt x="10160" y="3983"/>
                    <a:pt x="10118" y="3972"/>
                  </a:cubicBezTo>
                  <a:cubicBezTo>
                    <a:pt x="10081" y="3961"/>
                    <a:pt x="10049" y="3945"/>
                    <a:pt x="10013" y="3932"/>
                  </a:cubicBezTo>
                  <a:cubicBezTo>
                    <a:pt x="9975" y="3917"/>
                    <a:pt x="9925" y="3902"/>
                    <a:pt x="9882" y="3901"/>
                  </a:cubicBezTo>
                  <a:cubicBezTo>
                    <a:pt x="9836" y="3900"/>
                    <a:pt x="9792" y="3915"/>
                    <a:pt x="9746" y="3912"/>
                  </a:cubicBezTo>
                  <a:cubicBezTo>
                    <a:pt x="9698" y="3909"/>
                    <a:pt x="9670" y="3880"/>
                    <a:pt x="9625" y="3897"/>
                  </a:cubicBezTo>
                  <a:cubicBezTo>
                    <a:pt x="9590" y="3911"/>
                    <a:pt x="9561" y="3955"/>
                    <a:pt x="9523" y="3974"/>
                  </a:cubicBezTo>
                  <a:cubicBezTo>
                    <a:pt x="9443" y="4015"/>
                    <a:pt x="9323" y="4029"/>
                    <a:pt x="9336" y="4124"/>
                  </a:cubicBezTo>
                  <a:cubicBezTo>
                    <a:pt x="9339" y="4141"/>
                    <a:pt x="9335" y="4157"/>
                    <a:pt x="9336" y="4173"/>
                  </a:cubicBezTo>
                  <a:cubicBezTo>
                    <a:pt x="9337" y="4202"/>
                    <a:pt x="9335" y="4191"/>
                    <a:pt x="9353" y="4212"/>
                  </a:cubicBezTo>
                  <a:cubicBezTo>
                    <a:pt x="9364" y="4224"/>
                    <a:pt x="9391" y="4200"/>
                    <a:pt x="9365" y="4227"/>
                  </a:cubicBezTo>
                  <a:cubicBezTo>
                    <a:pt x="9358" y="4234"/>
                    <a:pt x="9330" y="4239"/>
                    <a:pt x="9317" y="4253"/>
                  </a:cubicBezTo>
                  <a:cubicBezTo>
                    <a:pt x="9264" y="4311"/>
                    <a:pt x="9287" y="4394"/>
                    <a:pt x="9317" y="4456"/>
                  </a:cubicBezTo>
                  <a:cubicBezTo>
                    <a:pt x="9332" y="4486"/>
                    <a:pt x="9317" y="4478"/>
                    <a:pt x="9356" y="4486"/>
                  </a:cubicBezTo>
                  <a:cubicBezTo>
                    <a:pt x="9354" y="4486"/>
                    <a:pt x="9421" y="4476"/>
                    <a:pt x="9406" y="4493"/>
                  </a:cubicBezTo>
                  <a:cubicBezTo>
                    <a:pt x="9387" y="4516"/>
                    <a:pt x="9294" y="4530"/>
                    <a:pt x="9360" y="4562"/>
                  </a:cubicBezTo>
                  <a:cubicBezTo>
                    <a:pt x="9390" y="4576"/>
                    <a:pt x="9468" y="4564"/>
                    <a:pt x="9492" y="4547"/>
                  </a:cubicBezTo>
                  <a:cubicBezTo>
                    <a:pt x="9509" y="4535"/>
                    <a:pt x="9516" y="4514"/>
                    <a:pt x="9524" y="4497"/>
                  </a:cubicBezTo>
                  <a:cubicBezTo>
                    <a:pt x="9527" y="4492"/>
                    <a:pt x="9523" y="4473"/>
                    <a:pt x="9527" y="4470"/>
                  </a:cubicBezTo>
                  <a:cubicBezTo>
                    <a:pt x="9533" y="4467"/>
                    <a:pt x="9547" y="4467"/>
                    <a:pt x="9547" y="4467"/>
                  </a:cubicBezTo>
                  <a:cubicBezTo>
                    <a:pt x="9567" y="4454"/>
                    <a:pt x="9570" y="4474"/>
                    <a:pt x="9591" y="4447"/>
                  </a:cubicBezTo>
                  <a:cubicBezTo>
                    <a:pt x="9606" y="4428"/>
                    <a:pt x="9598" y="4417"/>
                    <a:pt x="9603" y="4398"/>
                  </a:cubicBezTo>
                  <a:cubicBezTo>
                    <a:pt x="9609" y="4372"/>
                    <a:pt x="9620" y="4344"/>
                    <a:pt x="9622" y="4320"/>
                  </a:cubicBezTo>
                  <a:cubicBezTo>
                    <a:pt x="9669" y="4384"/>
                    <a:pt x="9611" y="4455"/>
                    <a:pt x="9599" y="4510"/>
                  </a:cubicBezTo>
                  <a:cubicBezTo>
                    <a:pt x="9570" y="4639"/>
                    <a:pt x="9737" y="4497"/>
                    <a:pt x="9755" y="4509"/>
                  </a:cubicBezTo>
                  <a:cubicBezTo>
                    <a:pt x="9796" y="4483"/>
                    <a:pt x="9811" y="4356"/>
                    <a:pt x="9806" y="4319"/>
                  </a:cubicBezTo>
                  <a:cubicBezTo>
                    <a:pt x="9798" y="4258"/>
                    <a:pt x="9770" y="4173"/>
                    <a:pt x="9810" y="4116"/>
                  </a:cubicBezTo>
                  <a:cubicBezTo>
                    <a:pt x="9822" y="4154"/>
                    <a:pt x="9808" y="4199"/>
                    <a:pt x="9814" y="4241"/>
                  </a:cubicBezTo>
                  <a:cubicBezTo>
                    <a:pt x="9818" y="4264"/>
                    <a:pt x="9853" y="4347"/>
                    <a:pt x="9874" y="4281"/>
                  </a:cubicBezTo>
                  <a:cubicBezTo>
                    <a:pt x="9887" y="4304"/>
                    <a:pt x="9788" y="4384"/>
                    <a:pt x="9843" y="4414"/>
                  </a:cubicBezTo>
                  <a:cubicBezTo>
                    <a:pt x="9858" y="4423"/>
                    <a:pt x="9917" y="4387"/>
                    <a:pt x="9952" y="4391"/>
                  </a:cubicBezTo>
                  <a:cubicBezTo>
                    <a:pt x="9986" y="4395"/>
                    <a:pt x="10003" y="4415"/>
                    <a:pt x="10031" y="4400"/>
                  </a:cubicBezTo>
                  <a:cubicBezTo>
                    <a:pt x="10004" y="4440"/>
                    <a:pt x="9972" y="4401"/>
                    <a:pt x="9930" y="4406"/>
                  </a:cubicBezTo>
                  <a:cubicBezTo>
                    <a:pt x="9918" y="4408"/>
                    <a:pt x="9840" y="4441"/>
                    <a:pt x="9837" y="4445"/>
                  </a:cubicBezTo>
                  <a:cubicBezTo>
                    <a:pt x="9823" y="4466"/>
                    <a:pt x="9852" y="4515"/>
                    <a:pt x="9887" y="4519"/>
                  </a:cubicBezTo>
                  <a:cubicBezTo>
                    <a:pt x="9939" y="4524"/>
                    <a:pt x="9951" y="4470"/>
                    <a:pt x="10005" y="4484"/>
                  </a:cubicBezTo>
                  <a:cubicBezTo>
                    <a:pt x="9996" y="4490"/>
                    <a:pt x="9969" y="4492"/>
                    <a:pt x="9962" y="4497"/>
                  </a:cubicBezTo>
                  <a:cubicBezTo>
                    <a:pt x="9954" y="4504"/>
                    <a:pt x="9945" y="4524"/>
                    <a:pt x="9937" y="4528"/>
                  </a:cubicBezTo>
                  <a:cubicBezTo>
                    <a:pt x="9901" y="4546"/>
                    <a:pt x="9903" y="4525"/>
                    <a:pt x="9869" y="4529"/>
                  </a:cubicBezTo>
                  <a:cubicBezTo>
                    <a:pt x="9847" y="4532"/>
                    <a:pt x="9758" y="4609"/>
                    <a:pt x="9761" y="4632"/>
                  </a:cubicBezTo>
                  <a:cubicBezTo>
                    <a:pt x="9762" y="4637"/>
                    <a:pt x="9811" y="4677"/>
                    <a:pt x="9811" y="4677"/>
                  </a:cubicBezTo>
                  <a:cubicBezTo>
                    <a:pt x="9826" y="4677"/>
                    <a:pt x="9875" y="4651"/>
                    <a:pt x="9895" y="4644"/>
                  </a:cubicBezTo>
                  <a:cubicBezTo>
                    <a:pt x="9928" y="4633"/>
                    <a:pt x="10022" y="4583"/>
                    <a:pt x="10043" y="4626"/>
                  </a:cubicBezTo>
                  <a:cubicBezTo>
                    <a:pt x="9971" y="4615"/>
                    <a:pt x="9968" y="4644"/>
                    <a:pt x="9945" y="4686"/>
                  </a:cubicBezTo>
                  <a:cubicBezTo>
                    <a:pt x="9937" y="4653"/>
                    <a:pt x="9950" y="4655"/>
                    <a:pt x="9918" y="4653"/>
                  </a:cubicBezTo>
                  <a:cubicBezTo>
                    <a:pt x="9906" y="4652"/>
                    <a:pt x="9863" y="4664"/>
                    <a:pt x="9855" y="4672"/>
                  </a:cubicBezTo>
                  <a:cubicBezTo>
                    <a:pt x="9840" y="4685"/>
                    <a:pt x="9830" y="4720"/>
                    <a:pt x="9860" y="4727"/>
                  </a:cubicBezTo>
                  <a:cubicBezTo>
                    <a:pt x="9880" y="4731"/>
                    <a:pt x="9914" y="4697"/>
                    <a:pt x="9924" y="4686"/>
                  </a:cubicBezTo>
                  <a:cubicBezTo>
                    <a:pt x="9942" y="4712"/>
                    <a:pt x="9910" y="4710"/>
                    <a:pt x="9902" y="4724"/>
                  </a:cubicBezTo>
                  <a:cubicBezTo>
                    <a:pt x="9896" y="4734"/>
                    <a:pt x="9898" y="4746"/>
                    <a:pt x="9894" y="4760"/>
                  </a:cubicBezTo>
                  <a:cubicBezTo>
                    <a:pt x="9887" y="4782"/>
                    <a:pt x="9865" y="4787"/>
                    <a:pt x="9894" y="4816"/>
                  </a:cubicBezTo>
                  <a:cubicBezTo>
                    <a:pt x="9908" y="4831"/>
                    <a:pt x="9924" y="4835"/>
                    <a:pt x="9945" y="4843"/>
                  </a:cubicBezTo>
                  <a:cubicBezTo>
                    <a:pt x="9992" y="4862"/>
                    <a:pt x="10003" y="4855"/>
                    <a:pt x="10031" y="4819"/>
                  </a:cubicBezTo>
                  <a:cubicBezTo>
                    <a:pt x="10051" y="4792"/>
                    <a:pt x="10067" y="4765"/>
                    <a:pt x="10049" y="4734"/>
                  </a:cubicBezTo>
                  <a:cubicBezTo>
                    <a:pt x="10119" y="4783"/>
                    <a:pt x="9982" y="4855"/>
                    <a:pt x="10023" y="4897"/>
                  </a:cubicBezTo>
                  <a:cubicBezTo>
                    <a:pt x="10055" y="4930"/>
                    <a:pt x="10096" y="4897"/>
                    <a:pt x="10128" y="4892"/>
                  </a:cubicBezTo>
                  <a:cubicBezTo>
                    <a:pt x="10162" y="4887"/>
                    <a:pt x="10202" y="4909"/>
                    <a:pt x="10226" y="4886"/>
                  </a:cubicBezTo>
                  <a:cubicBezTo>
                    <a:pt x="10262" y="4919"/>
                    <a:pt x="10316" y="4746"/>
                    <a:pt x="10321" y="4721"/>
                  </a:cubicBezTo>
                  <a:cubicBezTo>
                    <a:pt x="10326" y="4689"/>
                    <a:pt x="10325" y="4656"/>
                    <a:pt x="10329" y="4623"/>
                  </a:cubicBezTo>
                  <a:cubicBezTo>
                    <a:pt x="10333" y="4597"/>
                    <a:pt x="10354" y="4567"/>
                    <a:pt x="10357" y="4541"/>
                  </a:cubicBezTo>
                  <a:cubicBezTo>
                    <a:pt x="10362" y="4505"/>
                    <a:pt x="10319" y="4487"/>
                    <a:pt x="10338" y="4447"/>
                  </a:cubicBezTo>
                  <a:cubicBezTo>
                    <a:pt x="10353" y="4416"/>
                    <a:pt x="10410" y="4382"/>
                    <a:pt x="10396" y="4436"/>
                  </a:cubicBezTo>
                  <a:cubicBezTo>
                    <a:pt x="10391" y="4456"/>
                    <a:pt x="10358" y="4446"/>
                    <a:pt x="10381" y="4476"/>
                  </a:cubicBezTo>
                  <a:cubicBezTo>
                    <a:pt x="10392" y="4491"/>
                    <a:pt x="10388" y="4503"/>
                    <a:pt x="10394" y="4518"/>
                  </a:cubicBezTo>
                  <a:cubicBezTo>
                    <a:pt x="10409" y="4550"/>
                    <a:pt x="10372" y="4604"/>
                    <a:pt x="10385" y="4632"/>
                  </a:cubicBezTo>
                  <a:cubicBezTo>
                    <a:pt x="10411" y="4684"/>
                    <a:pt x="10360" y="4772"/>
                    <a:pt x="10344" y="4823"/>
                  </a:cubicBezTo>
                  <a:cubicBezTo>
                    <a:pt x="10339" y="4841"/>
                    <a:pt x="10342" y="4856"/>
                    <a:pt x="10331" y="4872"/>
                  </a:cubicBezTo>
                  <a:cubicBezTo>
                    <a:pt x="10322" y="4886"/>
                    <a:pt x="10281" y="4899"/>
                    <a:pt x="10275" y="4910"/>
                  </a:cubicBezTo>
                  <a:cubicBezTo>
                    <a:pt x="10255" y="4945"/>
                    <a:pt x="10303" y="4961"/>
                    <a:pt x="10353" y="4957"/>
                  </a:cubicBezTo>
                  <a:cubicBezTo>
                    <a:pt x="10372" y="5014"/>
                    <a:pt x="10275" y="4970"/>
                    <a:pt x="10237" y="4972"/>
                  </a:cubicBezTo>
                  <a:cubicBezTo>
                    <a:pt x="10214" y="4974"/>
                    <a:pt x="10168" y="4989"/>
                    <a:pt x="10149" y="4995"/>
                  </a:cubicBezTo>
                  <a:cubicBezTo>
                    <a:pt x="10117" y="5006"/>
                    <a:pt x="10099" y="4998"/>
                    <a:pt x="10135" y="5039"/>
                  </a:cubicBezTo>
                  <a:cubicBezTo>
                    <a:pt x="10193" y="5106"/>
                    <a:pt x="10050" y="5030"/>
                    <a:pt x="10031" y="5026"/>
                  </a:cubicBezTo>
                  <a:cubicBezTo>
                    <a:pt x="9986" y="5017"/>
                    <a:pt x="9890" y="5044"/>
                    <a:pt x="9904" y="4979"/>
                  </a:cubicBezTo>
                  <a:cubicBezTo>
                    <a:pt x="9887" y="4991"/>
                    <a:pt x="9871" y="5010"/>
                    <a:pt x="9854" y="5023"/>
                  </a:cubicBezTo>
                  <a:cubicBezTo>
                    <a:pt x="9869" y="4981"/>
                    <a:pt x="9808" y="4909"/>
                    <a:pt x="9781" y="4868"/>
                  </a:cubicBezTo>
                  <a:cubicBezTo>
                    <a:pt x="9750" y="4819"/>
                    <a:pt x="9700" y="4771"/>
                    <a:pt x="9635" y="4748"/>
                  </a:cubicBezTo>
                  <a:cubicBezTo>
                    <a:pt x="9574" y="4726"/>
                    <a:pt x="9485" y="4712"/>
                    <a:pt x="9425" y="4732"/>
                  </a:cubicBezTo>
                  <a:cubicBezTo>
                    <a:pt x="9361" y="4754"/>
                    <a:pt x="9321" y="4833"/>
                    <a:pt x="9256" y="4786"/>
                  </a:cubicBezTo>
                  <a:cubicBezTo>
                    <a:pt x="9271" y="4806"/>
                    <a:pt x="9269" y="4822"/>
                    <a:pt x="9275" y="4843"/>
                  </a:cubicBezTo>
                  <a:cubicBezTo>
                    <a:pt x="9279" y="4854"/>
                    <a:pt x="9287" y="4875"/>
                    <a:pt x="9293" y="4892"/>
                  </a:cubicBezTo>
                  <a:cubicBezTo>
                    <a:pt x="9304" y="4925"/>
                    <a:pt x="9285" y="4928"/>
                    <a:pt x="9328" y="4957"/>
                  </a:cubicBezTo>
                  <a:cubicBezTo>
                    <a:pt x="9357" y="4977"/>
                    <a:pt x="9418" y="5000"/>
                    <a:pt x="9434" y="5029"/>
                  </a:cubicBezTo>
                  <a:cubicBezTo>
                    <a:pt x="9455" y="5064"/>
                    <a:pt x="9415" y="5086"/>
                    <a:pt x="9454" y="5121"/>
                  </a:cubicBezTo>
                  <a:cubicBezTo>
                    <a:pt x="9469" y="5135"/>
                    <a:pt x="9481" y="5154"/>
                    <a:pt x="9521" y="5148"/>
                  </a:cubicBezTo>
                  <a:cubicBezTo>
                    <a:pt x="9550" y="5143"/>
                    <a:pt x="9551" y="5128"/>
                    <a:pt x="9577" y="5117"/>
                  </a:cubicBezTo>
                  <a:cubicBezTo>
                    <a:pt x="9585" y="5114"/>
                    <a:pt x="9626" y="5101"/>
                    <a:pt x="9636" y="5108"/>
                  </a:cubicBezTo>
                  <a:cubicBezTo>
                    <a:pt x="9656" y="5122"/>
                    <a:pt x="9607" y="5126"/>
                    <a:pt x="9604" y="5128"/>
                  </a:cubicBezTo>
                  <a:cubicBezTo>
                    <a:pt x="9595" y="5137"/>
                    <a:pt x="9561" y="5158"/>
                    <a:pt x="9573" y="5172"/>
                  </a:cubicBezTo>
                  <a:cubicBezTo>
                    <a:pt x="9586" y="5187"/>
                    <a:pt x="9621" y="5171"/>
                    <a:pt x="9627" y="5177"/>
                  </a:cubicBezTo>
                  <a:cubicBezTo>
                    <a:pt x="9646" y="5196"/>
                    <a:pt x="9575" y="5218"/>
                    <a:pt x="9609" y="5237"/>
                  </a:cubicBezTo>
                  <a:cubicBezTo>
                    <a:pt x="9619" y="5243"/>
                    <a:pt x="9710" y="5234"/>
                    <a:pt x="9723" y="5234"/>
                  </a:cubicBezTo>
                  <a:cubicBezTo>
                    <a:pt x="9706" y="5239"/>
                    <a:pt x="9687" y="5248"/>
                    <a:pt x="9678" y="5257"/>
                  </a:cubicBezTo>
                  <a:cubicBezTo>
                    <a:pt x="9674" y="5260"/>
                    <a:pt x="9726" y="5279"/>
                    <a:pt x="9685" y="5277"/>
                  </a:cubicBezTo>
                  <a:cubicBezTo>
                    <a:pt x="9649" y="5275"/>
                    <a:pt x="9629" y="5233"/>
                    <a:pt x="9583" y="5257"/>
                  </a:cubicBezTo>
                  <a:cubicBezTo>
                    <a:pt x="9544" y="5279"/>
                    <a:pt x="9580" y="5308"/>
                    <a:pt x="9558" y="5320"/>
                  </a:cubicBezTo>
                  <a:cubicBezTo>
                    <a:pt x="9538" y="5331"/>
                    <a:pt x="9533" y="5328"/>
                    <a:pt x="9522" y="5314"/>
                  </a:cubicBezTo>
                  <a:cubicBezTo>
                    <a:pt x="9512" y="5300"/>
                    <a:pt x="9499" y="5314"/>
                    <a:pt x="9485" y="5315"/>
                  </a:cubicBezTo>
                  <a:cubicBezTo>
                    <a:pt x="9465" y="5317"/>
                    <a:pt x="9451" y="5325"/>
                    <a:pt x="9436" y="5327"/>
                  </a:cubicBezTo>
                  <a:cubicBezTo>
                    <a:pt x="9419" y="5329"/>
                    <a:pt x="9396" y="5324"/>
                    <a:pt x="9379" y="5327"/>
                  </a:cubicBezTo>
                  <a:cubicBezTo>
                    <a:pt x="9324" y="5340"/>
                    <a:pt x="9342" y="5378"/>
                    <a:pt x="9315" y="5409"/>
                  </a:cubicBezTo>
                  <a:cubicBezTo>
                    <a:pt x="9304" y="5423"/>
                    <a:pt x="9290" y="5434"/>
                    <a:pt x="9279" y="5446"/>
                  </a:cubicBezTo>
                  <a:cubicBezTo>
                    <a:pt x="9273" y="5453"/>
                    <a:pt x="9259" y="5452"/>
                    <a:pt x="9253" y="5458"/>
                  </a:cubicBezTo>
                  <a:cubicBezTo>
                    <a:pt x="9248" y="5462"/>
                    <a:pt x="9261" y="5474"/>
                    <a:pt x="9254" y="5481"/>
                  </a:cubicBezTo>
                  <a:cubicBezTo>
                    <a:pt x="9228" y="5508"/>
                    <a:pt x="9162" y="5535"/>
                    <a:pt x="9157" y="5571"/>
                  </a:cubicBezTo>
                  <a:cubicBezTo>
                    <a:pt x="9153" y="5599"/>
                    <a:pt x="9196" y="5633"/>
                    <a:pt x="9206" y="5657"/>
                  </a:cubicBezTo>
                  <a:cubicBezTo>
                    <a:pt x="9221" y="5694"/>
                    <a:pt x="9184" y="5719"/>
                    <a:pt x="9180" y="5756"/>
                  </a:cubicBezTo>
                  <a:cubicBezTo>
                    <a:pt x="9178" y="5768"/>
                    <a:pt x="9172" y="5805"/>
                    <a:pt x="9208" y="5795"/>
                  </a:cubicBezTo>
                  <a:cubicBezTo>
                    <a:pt x="9241" y="5785"/>
                    <a:pt x="9220" y="5791"/>
                    <a:pt x="9241" y="5811"/>
                  </a:cubicBezTo>
                  <a:cubicBezTo>
                    <a:pt x="9255" y="5824"/>
                    <a:pt x="9295" y="5895"/>
                    <a:pt x="9334" y="5863"/>
                  </a:cubicBezTo>
                  <a:cubicBezTo>
                    <a:pt x="9368" y="5907"/>
                    <a:pt x="9388" y="5848"/>
                    <a:pt x="9390" y="5826"/>
                  </a:cubicBezTo>
                  <a:cubicBezTo>
                    <a:pt x="9392" y="5800"/>
                    <a:pt x="9377" y="5769"/>
                    <a:pt x="9383" y="5738"/>
                  </a:cubicBezTo>
                  <a:cubicBezTo>
                    <a:pt x="9444" y="5762"/>
                    <a:pt x="9394" y="5845"/>
                    <a:pt x="9433" y="5874"/>
                  </a:cubicBezTo>
                  <a:cubicBezTo>
                    <a:pt x="9442" y="5845"/>
                    <a:pt x="9451" y="5800"/>
                    <a:pt x="9442" y="5771"/>
                  </a:cubicBezTo>
                  <a:cubicBezTo>
                    <a:pt x="9438" y="5758"/>
                    <a:pt x="9431" y="5733"/>
                    <a:pt x="9408" y="5732"/>
                  </a:cubicBezTo>
                  <a:cubicBezTo>
                    <a:pt x="9385" y="5732"/>
                    <a:pt x="9410" y="5711"/>
                    <a:pt x="9405" y="5699"/>
                  </a:cubicBezTo>
                  <a:cubicBezTo>
                    <a:pt x="9385" y="5653"/>
                    <a:pt x="9360" y="5654"/>
                    <a:pt x="9378" y="5604"/>
                  </a:cubicBezTo>
                  <a:cubicBezTo>
                    <a:pt x="9400" y="5543"/>
                    <a:pt x="9389" y="5589"/>
                    <a:pt x="9395" y="5623"/>
                  </a:cubicBezTo>
                  <a:cubicBezTo>
                    <a:pt x="9406" y="5688"/>
                    <a:pt x="9463" y="5739"/>
                    <a:pt x="9485" y="5802"/>
                  </a:cubicBezTo>
                  <a:cubicBezTo>
                    <a:pt x="9487" y="5806"/>
                    <a:pt x="9479" y="5821"/>
                    <a:pt x="9479" y="5826"/>
                  </a:cubicBezTo>
                  <a:cubicBezTo>
                    <a:pt x="9479" y="5829"/>
                    <a:pt x="9491" y="5838"/>
                    <a:pt x="9493" y="5843"/>
                  </a:cubicBezTo>
                  <a:cubicBezTo>
                    <a:pt x="9501" y="5868"/>
                    <a:pt x="9474" y="5860"/>
                    <a:pt x="9512" y="5876"/>
                  </a:cubicBezTo>
                  <a:cubicBezTo>
                    <a:pt x="9551" y="5893"/>
                    <a:pt x="9615" y="5882"/>
                    <a:pt x="9613" y="5845"/>
                  </a:cubicBezTo>
                  <a:cubicBezTo>
                    <a:pt x="9628" y="5855"/>
                    <a:pt x="9640" y="5883"/>
                    <a:pt x="9663" y="5885"/>
                  </a:cubicBezTo>
                  <a:cubicBezTo>
                    <a:pt x="9688" y="5888"/>
                    <a:pt x="9682" y="5854"/>
                    <a:pt x="9720" y="5867"/>
                  </a:cubicBezTo>
                  <a:cubicBezTo>
                    <a:pt x="9693" y="5848"/>
                    <a:pt x="9720" y="5841"/>
                    <a:pt x="9709" y="5822"/>
                  </a:cubicBezTo>
                  <a:cubicBezTo>
                    <a:pt x="9703" y="5812"/>
                    <a:pt x="9681" y="5805"/>
                    <a:pt x="9673" y="5791"/>
                  </a:cubicBezTo>
                  <a:cubicBezTo>
                    <a:pt x="9670" y="5786"/>
                    <a:pt x="9664" y="5757"/>
                    <a:pt x="9662" y="5752"/>
                  </a:cubicBezTo>
                  <a:cubicBezTo>
                    <a:pt x="9660" y="5744"/>
                    <a:pt x="9650" y="5731"/>
                    <a:pt x="9647" y="5719"/>
                  </a:cubicBezTo>
                  <a:cubicBezTo>
                    <a:pt x="9644" y="5710"/>
                    <a:pt x="9634" y="5665"/>
                    <a:pt x="9660" y="5692"/>
                  </a:cubicBezTo>
                  <a:cubicBezTo>
                    <a:pt x="9673" y="5706"/>
                    <a:pt x="9667" y="5724"/>
                    <a:pt x="9674" y="5739"/>
                  </a:cubicBezTo>
                  <a:cubicBezTo>
                    <a:pt x="9672" y="5735"/>
                    <a:pt x="9708" y="5788"/>
                    <a:pt x="9700" y="5783"/>
                  </a:cubicBezTo>
                  <a:cubicBezTo>
                    <a:pt x="9716" y="5794"/>
                    <a:pt x="9737" y="5783"/>
                    <a:pt x="9754" y="5791"/>
                  </a:cubicBezTo>
                  <a:cubicBezTo>
                    <a:pt x="9796" y="5812"/>
                    <a:pt x="9770" y="5833"/>
                    <a:pt x="9834" y="5838"/>
                  </a:cubicBezTo>
                  <a:cubicBezTo>
                    <a:pt x="9895" y="5842"/>
                    <a:pt x="9883" y="5834"/>
                    <a:pt x="9883" y="5786"/>
                  </a:cubicBezTo>
                  <a:cubicBezTo>
                    <a:pt x="9883" y="5747"/>
                    <a:pt x="9892" y="5740"/>
                    <a:pt x="9933" y="5709"/>
                  </a:cubicBezTo>
                  <a:cubicBezTo>
                    <a:pt x="9948" y="5697"/>
                    <a:pt x="9862" y="5651"/>
                    <a:pt x="9850" y="5638"/>
                  </a:cubicBezTo>
                  <a:cubicBezTo>
                    <a:pt x="9874" y="5640"/>
                    <a:pt x="9915" y="5661"/>
                    <a:pt x="9933" y="5675"/>
                  </a:cubicBezTo>
                  <a:cubicBezTo>
                    <a:pt x="9973" y="5708"/>
                    <a:pt x="9948" y="5695"/>
                    <a:pt x="9936" y="5729"/>
                  </a:cubicBezTo>
                  <a:cubicBezTo>
                    <a:pt x="9911" y="5804"/>
                    <a:pt x="9974" y="5803"/>
                    <a:pt x="10050" y="5804"/>
                  </a:cubicBezTo>
                  <a:cubicBezTo>
                    <a:pt x="10100" y="5804"/>
                    <a:pt x="10140" y="5816"/>
                    <a:pt x="10186" y="5825"/>
                  </a:cubicBezTo>
                  <a:cubicBezTo>
                    <a:pt x="10245" y="5836"/>
                    <a:pt x="10278" y="5819"/>
                    <a:pt x="10331" y="5802"/>
                  </a:cubicBezTo>
                  <a:cubicBezTo>
                    <a:pt x="10378" y="5787"/>
                    <a:pt x="10444" y="5788"/>
                    <a:pt x="10381" y="5755"/>
                  </a:cubicBezTo>
                  <a:cubicBezTo>
                    <a:pt x="10344" y="5735"/>
                    <a:pt x="10288" y="5735"/>
                    <a:pt x="10257" y="5711"/>
                  </a:cubicBezTo>
                  <a:cubicBezTo>
                    <a:pt x="10242" y="5699"/>
                    <a:pt x="10201" y="5620"/>
                    <a:pt x="10224" y="5614"/>
                  </a:cubicBezTo>
                  <a:cubicBezTo>
                    <a:pt x="10259" y="5605"/>
                    <a:pt x="10296" y="5684"/>
                    <a:pt x="10326" y="5693"/>
                  </a:cubicBezTo>
                  <a:cubicBezTo>
                    <a:pt x="10358" y="5703"/>
                    <a:pt x="10382" y="5694"/>
                    <a:pt x="10410" y="5675"/>
                  </a:cubicBezTo>
                  <a:cubicBezTo>
                    <a:pt x="10444" y="5652"/>
                    <a:pt x="10412" y="5642"/>
                    <a:pt x="10406" y="5621"/>
                  </a:cubicBezTo>
                  <a:cubicBezTo>
                    <a:pt x="10393" y="5579"/>
                    <a:pt x="10395" y="5556"/>
                    <a:pt x="10353" y="5528"/>
                  </a:cubicBezTo>
                  <a:cubicBezTo>
                    <a:pt x="10427" y="5522"/>
                    <a:pt x="10434" y="5595"/>
                    <a:pt x="10484" y="5622"/>
                  </a:cubicBezTo>
                  <a:cubicBezTo>
                    <a:pt x="10516" y="5639"/>
                    <a:pt x="10595" y="5689"/>
                    <a:pt x="10645" y="5659"/>
                  </a:cubicBezTo>
                  <a:cubicBezTo>
                    <a:pt x="10674" y="5641"/>
                    <a:pt x="10625" y="5556"/>
                    <a:pt x="10602" y="5531"/>
                  </a:cubicBezTo>
                  <a:cubicBezTo>
                    <a:pt x="10561" y="5487"/>
                    <a:pt x="10497" y="5471"/>
                    <a:pt x="10530" y="5410"/>
                  </a:cubicBezTo>
                  <a:cubicBezTo>
                    <a:pt x="10557" y="5452"/>
                    <a:pt x="10550" y="5470"/>
                    <a:pt x="10610" y="5504"/>
                  </a:cubicBezTo>
                  <a:cubicBezTo>
                    <a:pt x="10667" y="5538"/>
                    <a:pt x="10650" y="5597"/>
                    <a:pt x="10701" y="5629"/>
                  </a:cubicBezTo>
                  <a:cubicBezTo>
                    <a:pt x="10745" y="5656"/>
                    <a:pt x="10804" y="5644"/>
                    <a:pt x="10851" y="5624"/>
                  </a:cubicBezTo>
                  <a:cubicBezTo>
                    <a:pt x="10879" y="5612"/>
                    <a:pt x="10907" y="5595"/>
                    <a:pt x="10885" y="5568"/>
                  </a:cubicBezTo>
                  <a:cubicBezTo>
                    <a:pt x="10874" y="5554"/>
                    <a:pt x="10854" y="5539"/>
                    <a:pt x="10850" y="5523"/>
                  </a:cubicBezTo>
                  <a:cubicBezTo>
                    <a:pt x="10847" y="5512"/>
                    <a:pt x="10869" y="5501"/>
                    <a:pt x="10864" y="5493"/>
                  </a:cubicBezTo>
                  <a:cubicBezTo>
                    <a:pt x="10849" y="5469"/>
                    <a:pt x="10800" y="5474"/>
                    <a:pt x="10776" y="5460"/>
                  </a:cubicBezTo>
                  <a:cubicBezTo>
                    <a:pt x="10736" y="5437"/>
                    <a:pt x="10702" y="5383"/>
                    <a:pt x="10670" y="5353"/>
                  </a:cubicBezTo>
                  <a:cubicBezTo>
                    <a:pt x="10663" y="5351"/>
                    <a:pt x="10658" y="5348"/>
                    <a:pt x="10656" y="5343"/>
                  </a:cubicBezTo>
                  <a:cubicBezTo>
                    <a:pt x="10661" y="5342"/>
                    <a:pt x="10666" y="5342"/>
                    <a:pt x="10671" y="5341"/>
                  </a:cubicBezTo>
                  <a:cubicBezTo>
                    <a:pt x="10702" y="5364"/>
                    <a:pt x="10722" y="5388"/>
                    <a:pt x="10749" y="5411"/>
                  </a:cubicBezTo>
                  <a:cubicBezTo>
                    <a:pt x="10795" y="5450"/>
                    <a:pt x="10810" y="5439"/>
                    <a:pt x="10875" y="5418"/>
                  </a:cubicBezTo>
                  <a:cubicBezTo>
                    <a:pt x="10881" y="5409"/>
                    <a:pt x="10893" y="5399"/>
                    <a:pt x="10899" y="5391"/>
                  </a:cubicBezTo>
                  <a:cubicBezTo>
                    <a:pt x="10913" y="5417"/>
                    <a:pt x="10870" y="5432"/>
                    <a:pt x="10868" y="5455"/>
                  </a:cubicBezTo>
                  <a:cubicBezTo>
                    <a:pt x="10865" y="5479"/>
                    <a:pt x="10889" y="5518"/>
                    <a:pt x="10909" y="5529"/>
                  </a:cubicBezTo>
                  <a:cubicBezTo>
                    <a:pt x="10936" y="5543"/>
                    <a:pt x="10990" y="5542"/>
                    <a:pt x="11018" y="5530"/>
                  </a:cubicBezTo>
                  <a:cubicBezTo>
                    <a:pt x="11062" y="5512"/>
                    <a:pt x="11051" y="5488"/>
                    <a:pt x="11061" y="5456"/>
                  </a:cubicBezTo>
                  <a:cubicBezTo>
                    <a:pt x="11077" y="5478"/>
                    <a:pt x="11083" y="5480"/>
                    <a:pt x="11101" y="5490"/>
                  </a:cubicBezTo>
                  <a:cubicBezTo>
                    <a:pt x="11117" y="5499"/>
                    <a:pt x="11135" y="5490"/>
                    <a:pt x="11153" y="5507"/>
                  </a:cubicBezTo>
                  <a:cubicBezTo>
                    <a:pt x="11190" y="5540"/>
                    <a:pt x="11219" y="5528"/>
                    <a:pt x="11203" y="5586"/>
                  </a:cubicBezTo>
                  <a:cubicBezTo>
                    <a:pt x="11195" y="5613"/>
                    <a:pt x="11188" y="5655"/>
                    <a:pt x="11190" y="5683"/>
                  </a:cubicBezTo>
                  <a:cubicBezTo>
                    <a:pt x="11191" y="5698"/>
                    <a:pt x="11217" y="5691"/>
                    <a:pt x="11223" y="5703"/>
                  </a:cubicBezTo>
                  <a:cubicBezTo>
                    <a:pt x="11231" y="5718"/>
                    <a:pt x="11197" y="5729"/>
                    <a:pt x="11222" y="5749"/>
                  </a:cubicBezTo>
                  <a:cubicBezTo>
                    <a:pt x="11327" y="5690"/>
                    <a:pt x="11408" y="5620"/>
                    <a:pt x="11500" y="5551"/>
                  </a:cubicBezTo>
                  <a:cubicBezTo>
                    <a:pt x="11545" y="5518"/>
                    <a:pt x="11553" y="5550"/>
                    <a:pt x="11556" y="5494"/>
                  </a:cubicBezTo>
                  <a:cubicBezTo>
                    <a:pt x="11557" y="5455"/>
                    <a:pt x="11581" y="5428"/>
                    <a:pt x="11590" y="5390"/>
                  </a:cubicBezTo>
                  <a:cubicBezTo>
                    <a:pt x="11596" y="5368"/>
                    <a:pt x="11575" y="5326"/>
                    <a:pt x="11603" y="5312"/>
                  </a:cubicBezTo>
                  <a:cubicBezTo>
                    <a:pt x="11649" y="5289"/>
                    <a:pt x="11638" y="5341"/>
                    <a:pt x="11651" y="5355"/>
                  </a:cubicBezTo>
                  <a:cubicBezTo>
                    <a:pt x="11696" y="5403"/>
                    <a:pt x="11709" y="5348"/>
                    <a:pt x="11719" y="5311"/>
                  </a:cubicBezTo>
                  <a:cubicBezTo>
                    <a:pt x="11731" y="5263"/>
                    <a:pt x="11729" y="5247"/>
                    <a:pt x="11777" y="5210"/>
                  </a:cubicBezTo>
                  <a:cubicBezTo>
                    <a:pt x="11764" y="5173"/>
                    <a:pt x="11740" y="5132"/>
                    <a:pt x="11735" y="5094"/>
                  </a:cubicBezTo>
                  <a:cubicBezTo>
                    <a:pt x="11730" y="5062"/>
                    <a:pt x="11709" y="5073"/>
                    <a:pt x="11689" y="5053"/>
                  </a:cubicBezTo>
                  <a:cubicBezTo>
                    <a:pt x="11677" y="5042"/>
                    <a:pt x="11676" y="5019"/>
                    <a:pt x="11666" y="5007"/>
                  </a:cubicBezTo>
                  <a:cubicBezTo>
                    <a:pt x="11646" y="4984"/>
                    <a:pt x="11604" y="4950"/>
                    <a:pt x="11565" y="4965"/>
                  </a:cubicBezTo>
                  <a:cubicBezTo>
                    <a:pt x="11531" y="4978"/>
                    <a:pt x="11533" y="5022"/>
                    <a:pt x="11525" y="5045"/>
                  </a:cubicBezTo>
                  <a:cubicBezTo>
                    <a:pt x="11523" y="5052"/>
                    <a:pt x="11532" y="5069"/>
                    <a:pt x="11532" y="5077"/>
                  </a:cubicBezTo>
                  <a:cubicBezTo>
                    <a:pt x="11531" y="5084"/>
                    <a:pt x="11512" y="5085"/>
                    <a:pt x="11510" y="5094"/>
                  </a:cubicBezTo>
                  <a:cubicBezTo>
                    <a:pt x="11505" y="5111"/>
                    <a:pt x="11537" y="5115"/>
                    <a:pt x="11515" y="5130"/>
                  </a:cubicBezTo>
                  <a:cubicBezTo>
                    <a:pt x="11456" y="5169"/>
                    <a:pt x="11469" y="5075"/>
                    <a:pt x="11455" y="5068"/>
                  </a:cubicBezTo>
                  <a:cubicBezTo>
                    <a:pt x="11420" y="5050"/>
                    <a:pt x="11379" y="5112"/>
                    <a:pt x="11346" y="5088"/>
                  </a:cubicBezTo>
                  <a:cubicBezTo>
                    <a:pt x="11310" y="5062"/>
                    <a:pt x="11383" y="4962"/>
                    <a:pt x="11354" y="4922"/>
                  </a:cubicBezTo>
                  <a:cubicBezTo>
                    <a:pt x="11305" y="4855"/>
                    <a:pt x="11174" y="4866"/>
                    <a:pt x="11135" y="4938"/>
                  </a:cubicBezTo>
                  <a:cubicBezTo>
                    <a:pt x="11126" y="4954"/>
                    <a:pt x="11125" y="5037"/>
                    <a:pt x="11095" y="5039"/>
                  </a:cubicBezTo>
                  <a:cubicBezTo>
                    <a:pt x="11081" y="5040"/>
                    <a:pt x="11108" y="4941"/>
                    <a:pt x="11094" y="4933"/>
                  </a:cubicBezTo>
                  <a:cubicBezTo>
                    <a:pt x="11078" y="4923"/>
                    <a:pt x="10986" y="4926"/>
                    <a:pt x="10963" y="4926"/>
                  </a:cubicBezTo>
                  <a:cubicBezTo>
                    <a:pt x="10909" y="4923"/>
                    <a:pt x="10876" y="4923"/>
                    <a:pt x="10843" y="4959"/>
                  </a:cubicBezTo>
                  <a:cubicBezTo>
                    <a:pt x="10832" y="4972"/>
                    <a:pt x="10786" y="5045"/>
                    <a:pt x="10769" y="5048"/>
                  </a:cubicBezTo>
                  <a:cubicBezTo>
                    <a:pt x="10740" y="5052"/>
                    <a:pt x="10741" y="5023"/>
                    <a:pt x="10732" y="5014"/>
                  </a:cubicBezTo>
                  <a:cubicBezTo>
                    <a:pt x="10716" y="4997"/>
                    <a:pt x="10714" y="4995"/>
                    <a:pt x="10696" y="4983"/>
                  </a:cubicBezTo>
                  <a:cubicBezTo>
                    <a:pt x="10686" y="4977"/>
                    <a:pt x="10632" y="4972"/>
                    <a:pt x="10663" y="4958"/>
                  </a:cubicBezTo>
                  <a:cubicBezTo>
                    <a:pt x="10688" y="4947"/>
                    <a:pt x="10704" y="4960"/>
                    <a:pt x="10725" y="4956"/>
                  </a:cubicBezTo>
                  <a:cubicBezTo>
                    <a:pt x="10756" y="4950"/>
                    <a:pt x="10855" y="4910"/>
                    <a:pt x="10846" y="4884"/>
                  </a:cubicBezTo>
                  <a:cubicBezTo>
                    <a:pt x="10839" y="4864"/>
                    <a:pt x="10773" y="4875"/>
                    <a:pt x="10743" y="4864"/>
                  </a:cubicBezTo>
                  <a:cubicBezTo>
                    <a:pt x="10682" y="4841"/>
                    <a:pt x="10713" y="4820"/>
                    <a:pt x="10692" y="4780"/>
                  </a:cubicBezTo>
                  <a:cubicBezTo>
                    <a:pt x="10674" y="4745"/>
                    <a:pt x="10617" y="4737"/>
                    <a:pt x="10600" y="4703"/>
                  </a:cubicBezTo>
                  <a:cubicBezTo>
                    <a:pt x="10585" y="4672"/>
                    <a:pt x="10595" y="4679"/>
                    <a:pt x="10619" y="4690"/>
                  </a:cubicBezTo>
                  <a:cubicBezTo>
                    <a:pt x="10617" y="4689"/>
                    <a:pt x="10657" y="4720"/>
                    <a:pt x="10659" y="4721"/>
                  </a:cubicBezTo>
                  <a:cubicBezTo>
                    <a:pt x="10683" y="4742"/>
                    <a:pt x="10698" y="4765"/>
                    <a:pt x="10729" y="4785"/>
                  </a:cubicBezTo>
                  <a:cubicBezTo>
                    <a:pt x="10742" y="4794"/>
                    <a:pt x="10773" y="4812"/>
                    <a:pt x="10787" y="4818"/>
                  </a:cubicBezTo>
                  <a:cubicBezTo>
                    <a:pt x="10810" y="4829"/>
                    <a:pt x="10823" y="4825"/>
                    <a:pt x="10847" y="4833"/>
                  </a:cubicBezTo>
                  <a:cubicBezTo>
                    <a:pt x="10880" y="4843"/>
                    <a:pt x="10903" y="4865"/>
                    <a:pt x="10943" y="4874"/>
                  </a:cubicBezTo>
                  <a:cubicBezTo>
                    <a:pt x="10984" y="4883"/>
                    <a:pt x="11043" y="4886"/>
                    <a:pt x="11083" y="4878"/>
                  </a:cubicBezTo>
                  <a:cubicBezTo>
                    <a:pt x="11140" y="4867"/>
                    <a:pt x="11157" y="4832"/>
                    <a:pt x="11220" y="4828"/>
                  </a:cubicBezTo>
                  <a:cubicBezTo>
                    <a:pt x="11302" y="4823"/>
                    <a:pt x="11295" y="4791"/>
                    <a:pt x="11347" y="4744"/>
                  </a:cubicBezTo>
                  <a:cubicBezTo>
                    <a:pt x="11347" y="4770"/>
                    <a:pt x="11327" y="4796"/>
                    <a:pt x="11366" y="4781"/>
                  </a:cubicBezTo>
                  <a:cubicBezTo>
                    <a:pt x="11393" y="4771"/>
                    <a:pt x="11447" y="4707"/>
                    <a:pt x="11429" y="4685"/>
                  </a:cubicBezTo>
                  <a:cubicBezTo>
                    <a:pt x="11413" y="4665"/>
                    <a:pt x="11460" y="4638"/>
                    <a:pt x="11459" y="4610"/>
                  </a:cubicBezTo>
                  <a:cubicBezTo>
                    <a:pt x="11458" y="4595"/>
                    <a:pt x="11441" y="4582"/>
                    <a:pt x="11442" y="4569"/>
                  </a:cubicBezTo>
                  <a:cubicBezTo>
                    <a:pt x="11445" y="4554"/>
                    <a:pt x="11478" y="4536"/>
                    <a:pt x="11473" y="4521"/>
                  </a:cubicBezTo>
                  <a:cubicBezTo>
                    <a:pt x="11472" y="4517"/>
                    <a:pt x="11431" y="4490"/>
                    <a:pt x="11424" y="4488"/>
                  </a:cubicBezTo>
                  <a:cubicBezTo>
                    <a:pt x="11416" y="4486"/>
                    <a:pt x="11389" y="4495"/>
                    <a:pt x="11386" y="4492"/>
                  </a:cubicBezTo>
                  <a:cubicBezTo>
                    <a:pt x="11364" y="4475"/>
                    <a:pt x="11383" y="4426"/>
                    <a:pt x="11366" y="4402"/>
                  </a:cubicBezTo>
                  <a:cubicBezTo>
                    <a:pt x="11352" y="4382"/>
                    <a:pt x="11344" y="4388"/>
                    <a:pt x="11320" y="4379"/>
                  </a:cubicBezTo>
                  <a:cubicBezTo>
                    <a:pt x="11309" y="4376"/>
                    <a:pt x="11313" y="4365"/>
                    <a:pt x="11303" y="4362"/>
                  </a:cubicBezTo>
                  <a:cubicBezTo>
                    <a:pt x="11295" y="4359"/>
                    <a:pt x="11281" y="4369"/>
                    <a:pt x="11273" y="4365"/>
                  </a:cubicBezTo>
                  <a:cubicBezTo>
                    <a:pt x="11255" y="4357"/>
                    <a:pt x="11229" y="4348"/>
                    <a:pt x="11234" y="4328"/>
                  </a:cubicBezTo>
                  <a:cubicBezTo>
                    <a:pt x="11236" y="4320"/>
                    <a:pt x="11237" y="4273"/>
                    <a:pt x="11243" y="4270"/>
                  </a:cubicBezTo>
                  <a:cubicBezTo>
                    <a:pt x="11262" y="4262"/>
                    <a:pt x="11285" y="4281"/>
                    <a:pt x="11301" y="4282"/>
                  </a:cubicBezTo>
                  <a:cubicBezTo>
                    <a:pt x="11329" y="4285"/>
                    <a:pt x="11331" y="4281"/>
                    <a:pt x="11358" y="4276"/>
                  </a:cubicBezTo>
                  <a:cubicBezTo>
                    <a:pt x="11385" y="4271"/>
                    <a:pt x="11411" y="4263"/>
                    <a:pt x="11438" y="4258"/>
                  </a:cubicBezTo>
                  <a:cubicBezTo>
                    <a:pt x="11451" y="4255"/>
                    <a:pt x="11455" y="4245"/>
                    <a:pt x="11471" y="4246"/>
                  </a:cubicBezTo>
                  <a:cubicBezTo>
                    <a:pt x="11483" y="4246"/>
                    <a:pt x="11489" y="4262"/>
                    <a:pt x="11498" y="4262"/>
                  </a:cubicBezTo>
                  <a:cubicBezTo>
                    <a:pt x="11595" y="4263"/>
                    <a:pt x="11613" y="4088"/>
                    <a:pt x="11703" y="4169"/>
                  </a:cubicBezTo>
                  <a:cubicBezTo>
                    <a:pt x="11716" y="4147"/>
                    <a:pt x="11750" y="4051"/>
                    <a:pt x="11711" y="4033"/>
                  </a:cubicBezTo>
                  <a:cubicBezTo>
                    <a:pt x="11685" y="4021"/>
                    <a:pt x="11613" y="4055"/>
                    <a:pt x="11589" y="4058"/>
                  </a:cubicBezTo>
                  <a:cubicBezTo>
                    <a:pt x="11565" y="4060"/>
                    <a:pt x="11467" y="4067"/>
                    <a:pt x="11448" y="4054"/>
                  </a:cubicBezTo>
                  <a:cubicBezTo>
                    <a:pt x="11360" y="4000"/>
                    <a:pt x="11673" y="3979"/>
                    <a:pt x="11683" y="3971"/>
                  </a:cubicBezTo>
                  <a:cubicBezTo>
                    <a:pt x="11702" y="3955"/>
                    <a:pt x="11698" y="3919"/>
                    <a:pt x="11708" y="3900"/>
                  </a:cubicBezTo>
                  <a:cubicBezTo>
                    <a:pt x="11712" y="3892"/>
                    <a:pt x="11729" y="3883"/>
                    <a:pt x="11731" y="3877"/>
                  </a:cubicBezTo>
                  <a:cubicBezTo>
                    <a:pt x="11736" y="3860"/>
                    <a:pt x="11741" y="3846"/>
                    <a:pt x="11718" y="3830"/>
                  </a:cubicBezTo>
                  <a:cubicBezTo>
                    <a:pt x="11689" y="3808"/>
                    <a:pt x="11630" y="3807"/>
                    <a:pt x="11593" y="3809"/>
                  </a:cubicBezTo>
                  <a:cubicBezTo>
                    <a:pt x="11571" y="3809"/>
                    <a:pt x="11548" y="3815"/>
                    <a:pt x="11525" y="3813"/>
                  </a:cubicBezTo>
                  <a:cubicBezTo>
                    <a:pt x="11504" y="3812"/>
                    <a:pt x="11494" y="3803"/>
                    <a:pt x="11480" y="3801"/>
                  </a:cubicBezTo>
                  <a:cubicBezTo>
                    <a:pt x="11457" y="3797"/>
                    <a:pt x="11445" y="3784"/>
                    <a:pt x="11422" y="3798"/>
                  </a:cubicBezTo>
                  <a:cubicBezTo>
                    <a:pt x="11402" y="3810"/>
                    <a:pt x="11383" y="3822"/>
                    <a:pt x="11362" y="3813"/>
                  </a:cubicBezTo>
                  <a:cubicBezTo>
                    <a:pt x="11418" y="3782"/>
                    <a:pt x="11483" y="3783"/>
                    <a:pt x="11543" y="3767"/>
                  </a:cubicBezTo>
                  <a:cubicBezTo>
                    <a:pt x="11576" y="3758"/>
                    <a:pt x="11605" y="3740"/>
                    <a:pt x="11631" y="3723"/>
                  </a:cubicBezTo>
                  <a:cubicBezTo>
                    <a:pt x="11664" y="3701"/>
                    <a:pt x="11674" y="3652"/>
                    <a:pt x="11721" y="3646"/>
                  </a:cubicBezTo>
                  <a:cubicBezTo>
                    <a:pt x="11700" y="3625"/>
                    <a:pt x="11674" y="3633"/>
                    <a:pt x="11658" y="3613"/>
                  </a:cubicBezTo>
                  <a:cubicBezTo>
                    <a:pt x="11640" y="3591"/>
                    <a:pt x="11657" y="3583"/>
                    <a:pt x="11650" y="3563"/>
                  </a:cubicBezTo>
                  <a:cubicBezTo>
                    <a:pt x="11646" y="3551"/>
                    <a:pt x="11607" y="3521"/>
                    <a:pt x="11607" y="3522"/>
                  </a:cubicBezTo>
                  <a:cubicBezTo>
                    <a:pt x="11603" y="3513"/>
                    <a:pt x="11617" y="3477"/>
                    <a:pt x="11586" y="3492"/>
                  </a:cubicBezTo>
                  <a:cubicBezTo>
                    <a:pt x="11549" y="3427"/>
                    <a:pt x="11406" y="3498"/>
                    <a:pt x="11362" y="3518"/>
                  </a:cubicBezTo>
                  <a:cubicBezTo>
                    <a:pt x="11346" y="3526"/>
                    <a:pt x="11328" y="3528"/>
                    <a:pt x="11313" y="3534"/>
                  </a:cubicBezTo>
                  <a:cubicBezTo>
                    <a:pt x="11305" y="3538"/>
                    <a:pt x="11285" y="3580"/>
                    <a:pt x="11287" y="3549"/>
                  </a:cubicBezTo>
                  <a:cubicBezTo>
                    <a:pt x="11290" y="3511"/>
                    <a:pt x="11397" y="3480"/>
                    <a:pt x="11374" y="3443"/>
                  </a:cubicBezTo>
                  <a:cubicBezTo>
                    <a:pt x="11351" y="3407"/>
                    <a:pt x="11181" y="3440"/>
                    <a:pt x="11151" y="3458"/>
                  </a:cubicBezTo>
                  <a:cubicBezTo>
                    <a:pt x="11119" y="3478"/>
                    <a:pt x="11091" y="3496"/>
                    <a:pt x="11057" y="3514"/>
                  </a:cubicBezTo>
                  <a:cubicBezTo>
                    <a:pt x="11002" y="3544"/>
                    <a:pt x="10998" y="3576"/>
                    <a:pt x="10989" y="3627"/>
                  </a:cubicBezTo>
                  <a:cubicBezTo>
                    <a:pt x="10986" y="3645"/>
                    <a:pt x="10992" y="3742"/>
                    <a:pt x="10964" y="3684"/>
                  </a:cubicBezTo>
                  <a:cubicBezTo>
                    <a:pt x="10952" y="3662"/>
                    <a:pt x="10969" y="3606"/>
                    <a:pt x="10972" y="3582"/>
                  </a:cubicBezTo>
                  <a:cubicBezTo>
                    <a:pt x="10974" y="3562"/>
                    <a:pt x="10998" y="3498"/>
                    <a:pt x="10970" y="3487"/>
                  </a:cubicBezTo>
                  <a:cubicBezTo>
                    <a:pt x="10955" y="3481"/>
                    <a:pt x="10923" y="3497"/>
                    <a:pt x="10908" y="3499"/>
                  </a:cubicBezTo>
                  <a:cubicBezTo>
                    <a:pt x="10884" y="3502"/>
                    <a:pt x="10868" y="3499"/>
                    <a:pt x="10840" y="3506"/>
                  </a:cubicBezTo>
                  <a:cubicBezTo>
                    <a:pt x="10816" y="3512"/>
                    <a:pt x="10794" y="3521"/>
                    <a:pt x="10768" y="3526"/>
                  </a:cubicBezTo>
                  <a:cubicBezTo>
                    <a:pt x="10812" y="3497"/>
                    <a:pt x="10845" y="3493"/>
                    <a:pt x="10895" y="3485"/>
                  </a:cubicBezTo>
                  <a:cubicBezTo>
                    <a:pt x="10912" y="3483"/>
                    <a:pt x="10942" y="3470"/>
                    <a:pt x="10957" y="3471"/>
                  </a:cubicBezTo>
                  <a:cubicBezTo>
                    <a:pt x="10980" y="3471"/>
                    <a:pt x="10989" y="3493"/>
                    <a:pt x="11018" y="3490"/>
                  </a:cubicBezTo>
                  <a:cubicBezTo>
                    <a:pt x="11051" y="3486"/>
                    <a:pt x="11087" y="3435"/>
                    <a:pt x="11121" y="3417"/>
                  </a:cubicBezTo>
                  <a:cubicBezTo>
                    <a:pt x="11156" y="3398"/>
                    <a:pt x="11194" y="3401"/>
                    <a:pt x="11227" y="3388"/>
                  </a:cubicBezTo>
                  <a:cubicBezTo>
                    <a:pt x="11300" y="3359"/>
                    <a:pt x="11221" y="3350"/>
                    <a:pt x="11178" y="3353"/>
                  </a:cubicBezTo>
                  <a:cubicBezTo>
                    <a:pt x="11133" y="3356"/>
                    <a:pt x="11099" y="3365"/>
                    <a:pt x="11057" y="3372"/>
                  </a:cubicBezTo>
                  <a:cubicBezTo>
                    <a:pt x="11014" y="3379"/>
                    <a:pt x="10960" y="3378"/>
                    <a:pt x="10917" y="3391"/>
                  </a:cubicBezTo>
                  <a:cubicBezTo>
                    <a:pt x="10876" y="3403"/>
                    <a:pt x="10813" y="3441"/>
                    <a:pt x="10881" y="3391"/>
                  </a:cubicBezTo>
                  <a:cubicBezTo>
                    <a:pt x="10941" y="3347"/>
                    <a:pt x="11048" y="3351"/>
                    <a:pt x="11123" y="3322"/>
                  </a:cubicBezTo>
                  <a:cubicBezTo>
                    <a:pt x="11159" y="3308"/>
                    <a:pt x="11213" y="3287"/>
                    <a:pt x="11249" y="3295"/>
                  </a:cubicBezTo>
                  <a:cubicBezTo>
                    <a:pt x="11272" y="3300"/>
                    <a:pt x="11277" y="3312"/>
                    <a:pt x="11288" y="3320"/>
                  </a:cubicBezTo>
                  <a:cubicBezTo>
                    <a:pt x="11302" y="3330"/>
                    <a:pt x="11305" y="3339"/>
                    <a:pt x="11314" y="3343"/>
                  </a:cubicBezTo>
                  <a:cubicBezTo>
                    <a:pt x="11344" y="3360"/>
                    <a:pt x="11570" y="3368"/>
                    <a:pt x="11570" y="3320"/>
                  </a:cubicBezTo>
                  <a:cubicBezTo>
                    <a:pt x="11570" y="3284"/>
                    <a:pt x="11521" y="3262"/>
                    <a:pt x="11495" y="3242"/>
                  </a:cubicBezTo>
                  <a:cubicBezTo>
                    <a:pt x="11478" y="3229"/>
                    <a:pt x="11448" y="3244"/>
                    <a:pt x="11490" y="3215"/>
                  </a:cubicBezTo>
                  <a:cubicBezTo>
                    <a:pt x="11520" y="3194"/>
                    <a:pt x="11498" y="3187"/>
                    <a:pt x="11470" y="3185"/>
                  </a:cubicBezTo>
                  <a:cubicBezTo>
                    <a:pt x="11436" y="3183"/>
                    <a:pt x="11367" y="3213"/>
                    <a:pt x="11334" y="3223"/>
                  </a:cubicBezTo>
                  <a:cubicBezTo>
                    <a:pt x="11311" y="3230"/>
                    <a:pt x="11282" y="3249"/>
                    <a:pt x="11260" y="3252"/>
                  </a:cubicBezTo>
                  <a:cubicBezTo>
                    <a:pt x="11228" y="3257"/>
                    <a:pt x="11224" y="3241"/>
                    <a:pt x="11198" y="3240"/>
                  </a:cubicBezTo>
                  <a:cubicBezTo>
                    <a:pt x="11108" y="3237"/>
                    <a:pt x="11032" y="3290"/>
                    <a:pt x="10961" y="3324"/>
                  </a:cubicBezTo>
                  <a:cubicBezTo>
                    <a:pt x="10975" y="3257"/>
                    <a:pt x="10862" y="3299"/>
                    <a:pt x="10821" y="3276"/>
                  </a:cubicBezTo>
                  <a:cubicBezTo>
                    <a:pt x="10850" y="3250"/>
                    <a:pt x="10919" y="3266"/>
                    <a:pt x="10954" y="3254"/>
                  </a:cubicBezTo>
                  <a:cubicBezTo>
                    <a:pt x="10988" y="3243"/>
                    <a:pt x="10979" y="3258"/>
                    <a:pt x="10962" y="3230"/>
                  </a:cubicBezTo>
                  <a:cubicBezTo>
                    <a:pt x="10954" y="3216"/>
                    <a:pt x="10925" y="3203"/>
                    <a:pt x="10920" y="3188"/>
                  </a:cubicBezTo>
                  <a:cubicBezTo>
                    <a:pt x="10911" y="3163"/>
                    <a:pt x="10913" y="3176"/>
                    <a:pt x="10943" y="3159"/>
                  </a:cubicBezTo>
                  <a:cubicBezTo>
                    <a:pt x="10954" y="3153"/>
                    <a:pt x="10973" y="3188"/>
                    <a:pt x="10983" y="3195"/>
                  </a:cubicBezTo>
                  <a:cubicBezTo>
                    <a:pt x="11024" y="3226"/>
                    <a:pt x="11065" y="3205"/>
                    <a:pt x="11114" y="3199"/>
                  </a:cubicBezTo>
                  <a:cubicBezTo>
                    <a:pt x="11132" y="3196"/>
                    <a:pt x="11171" y="3194"/>
                    <a:pt x="11181" y="3185"/>
                  </a:cubicBezTo>
                  <a:cubicBezTo>
                    <a:pt x="11207" y="3167"/>
                    <a:pt x="11197" y="3176"/>
                    <a:pt x="11181" y="3160"/>
                  </a:cubicBezTo>
                  <a:cubicBezTo>
                    <a:pt x="11174" y="3154"/>
                    <a:pt x="11146" y="3150"/>
                    <a:pt x="11135" y="3141"/>
                  </a:cubicBezTo>
                  <a:cubicBezTo>
                    <a:pt x="11115" y="3125"/>
                    <a:pt x="11132" y="3112"/>
                    <a:pt x="11105" y="3104"/>
                  </a:cubicBezTo>
                  <a:cubicBezTo>
                    <a:pt x="11062" y="3090"/>
                    <a:pt x="10902" y="3164"/>
                    <a:pt x="10914" y="3092"/>
                  </a:cubicBezTo>
                  <a:cubicBezTo>
                    <a:pt x="10972" y="3122"/>
                    <a:pt x="11041" y="3062"/>
                    <a:pt x="11115" y="3086"/>
                  </a:cubicBezTo>
                  <a:cubicBezTo>
                    <a:pt x="11129" y="3091"/>
                    <a:pt x="11137" y="3107"/>
                    <a:pt x="11153" y="3112"/>
                  </a:cubicBezTo>
                  <a:cubicBezTo>
                    <a:pt x="11172" y="3119"/>
                    <a:pt x="11177" y="3103"/>
                    <a:pt x="11191" y="3104"/>
                  </a:cubicBezTo>
                  <a:cubicBezTo>
                    <a:pt x="11217" y="3105"/>
                    <a:pt x="11251" y="3118"/>
                    <a:pt x="11290" y="3116"/>
                  </a:cubicBezTo>
                  <a:cubicBezTo>
                    <a:pt x="11328" y="3114"/>
                    <a:pt x="11366" y="3107"/>
                    <a:pt x="11356" y="3073"/>
                  </a:cubicBezTo>
                  <a:cubicBezTo>
                    <a:pt x="11350" y="3050"/>
                    <a:pt x="11294" y="3040"/>
                    <a:pt x="11301" y="3014"/>
                  </a:cubicBezTo>
                  <a:cubicBezTo>
                    <a:pt x="11300" y="3018"/>
                    <a:pt x="11465" y="3046"/>
                    <a:pt x="11490" y="3002"/>
                  </a:cubicBezTo>
                  <a:cubicBezTo>
                    <a:pt x="11505" y="2976"/>
                    <a:pt x="11446" y="2921"/>
                    <a:pt x="11481" y="2920"/>
                  </a:cubicBezTo>
                  <a:cubicBezTo>
                    <a:pt x="11504" y="2920"/>
                    <a:pt x="11509" y="2944"/>
                    <a:pt x="11540" y="2942"/>
                  </a:cubicBezTo>
                  <a:cubicBezTo>
                    <a:pt x="11561" y="2940"/>
                    <a:pt x="11584" y="2923"/>
                    <a:pt x="11592" y="2910"/>
                  </a:cubicBezTo>
                  <a:cubicBezTo>
                    <a:pt x="11618" y="2868"/>
                    <a:pt x="11569" y="2817"/>
                    <a:pt x="11536" y="2790"/>
                  </a:cubicBezTo>
                  <a:cubicBezTo>
                    <a:pt x="11523" y="2779"/>
                    <a:pt x="11509" y="2767"/>
                    <a:pt x="11496" y="2757"/>
                  </a:cubicBezTo>
                  <a:cubicBezTo>
                    <a:pt x="11483" y="2747"/>
                    <a:pt x="11480" y="2743"/>
                    <a:pt x="11480" y="2742"/>
                  </a:cubicBezTo>
                  <a:cubicBezTo>
                    <a:pt x="11479" y="2743"/>
                    <a:pt x="11476" y="2744"/>
                    <a:pt x="11464" y="2744"/>
                  </a:cubicBezTo>
                  <a:cubicBezTo>
                    <a:pt x="11437" y="2743"/>
                    <a:pt x="11379" y="2746"/>
                    <a:pt x="11349" y="2749"/>
                  </a:cubicBezTo>
                  <a:cubicBezTo>
                    <a:pt x="11301" y="2754"/>
                    <a:pt x="11260" y="2802"/>
                    <a:pt x="11222" y="2768"/>
                  </a:cubicBezTo>
                  <a:cubicBezTo>
                    <a:pt x="11201" y="2749"/>
                    <a:pt x="11251" y="2713"/>
                    <a:pt x="11284" y="2696"/>
                  </a:cubicBezTo>
                  <a:cubicBezTo>
                    <a:pt x="11309" y="2683"/>
                    <a:pt x="11400" y="2668"/>
                    <a:pt x="11376" y="2711"/>
                  </a:cubicBezTo>
                  <a:cubicBezTo>
                    <a:pt x="11427" y="2700"/>
                    <a:pt x="11482" y="2668"/>
                    <a:pt x="11537" y="2673"/>
                  </a:cubicBezTo>
                  <a:cubicBezTo>
                    <a:pt x="11509" y="2694"/>
                    <a:pt x="11562" y="2743"/>
                    <a:pt x="11590" y="2753"/>
                  </a:cubicBezTo>
                  <a:cubicBezTo>
                    <a:pt x="11620" y="2763"/>
                    <a:pt x="11632" y="2748"/>
                    <a:pt x="11656" y="2747"/>
                  </a:cubicBezTo>
                  <a:cubicBezTo>
                    <a:pt x="11668" y="2746"/>
                    <a:pt x="11710" y="2747"/>
                    <a:pt x="11719" y="2744"/>
                  </a:cubicBezTo>
                  <a:cubicBezTo>
                    <a:pt x="11780" y="2719"/>
                    <a:pt x="11908" y="2522"/>
                    <a:pt x="11817" y="2501"/>
                  </a:cubicBezTo>
                  <a:cubicBezTo>
                    <a:pt x="11787" y="2494"/>
                    <a:pt x="11733" y="2569"/>
                    <a:pt x="11739" y="2507"/>
                  </a:cubicBezTo>
                  <a:cubicBezTo>
                    <a:pt x="11744" y="2461"/>
                    <a:pt x="11810" y="2457"/>
                    <a:pt x="11826" y="2421"/>
                  </a:cubicBezTo>
                  <a:cubicBezTo>
                    <a:pt x="11823" y="2427"/>
                    <a:pt x="11822" y="2369"/>
                    <a:pt x="11823" y="2375"/>
                  </a:cubicBezTo>
                  <a:cubicBezTo>
                    <a:pt x="11819" y="2357"/>
                    <a:pt x="11818" y="2344"/>
                    <a:pt x="11795" y="2332"/>
                  </a:cubicBezTo>
                  <a:cubicBezTo>
                    <a:pt x="11742" y="2306"/>
                    <a:pt x="11722" y="2355"/>
                    <a:pt x="11692" y="2383"/>
                  </a:cubicBezTo>
                  <a:cubicBezTo>
                    <a:pt x="11663" y="2411"/>
                    <a:pt x="11539" y="2490"/>
                    <a:pt x="11504" y="2455"/>
                  </a:cubicBezTo>
                  <a:cubicBezTo>
                    <a:pt x="11599" y="2408"/>
                    <a:pt x="11560" y="2408"/>
                    <a:pt x="11482" y="2378"/>
                  </a:cubicBezTo>
                  <a:cubicBezTo>
                    <a:pt x="11423" y="2355"/>
                    <a:pt x="11456" y="2362"/>
                    <a:pt x="11498" y="2365"/>
                  </a:cubicBezTo>
                  <a:cubicBezTo>
                    <a:pt x="11510" y="2366"/>
                    <a:pt x="11516" y="2356"/>
                    <a:pt x="11534" y="2362"/>
                  </a:cubicBezTo>
                  <a:cubicBezTo>
                    <a:pt x="11551" y="2366"/>
                    <a:pt x="11559" y="2385"/>
                    <a:pt x="11573" y="2389"/>
                  </a:cubicBezTo>
                  <a:cubicBezTo>
                    <a:pt x="11639" y="2408"/>
                    <a:pt x="11657" y="2344"/>
                    <a:pt x="11689" y="2308"/>
                  </a:cubicBezTo>
                  <a:cubicBezTo>
                    <a:pt x="11724" y="2270"/>
                    <a:pt x="11755" y="2285"/>
                    <a:pt x="11797" y="2261"/>
                  </a:cubicBezTo>
                  <a:cubicBezTo>
                    <a:pt x="11846" y="2232"/>
                    <a:pt x="11817" y="2188"/>
                    <a:pt x="11767" y="2171"/>
                  </a:cubicBezTo>
                  <a:cubicBezTo>
                    <a:pt x="11717" y="2155"/>
                    <a:pt x="11714" y="2164"/>
                    <a:pt x="11686" y="2126"/>
                  </a:cubicBezTo>
                  <a:cubicBezTo>
                    <a:pt x="11663" y="2095"/>
                    <a:pt x="11643" y="2073"/>
                    <a:pt x="11600" y="2051"/>
                  </a:cubicBezTo>
                  <a:cubicBezTo>
                    <a:pt x="11540" y="2021"/>
                    <a:pt x="11562" y="2018"/>
                    <a:pt x="11620" y="2040"/>
                  </a:cubicBezTo>
                  <a:cubicBezTo>
                    <a:pt x="11668" y="2058"/>
                    <a:pt x="11691" y="2079"/>
                    <a:pt x="11716" y="2112"/>
                  </a:cubicBezTo>
                  <a:cubicBezTo>
                    <a:pt x="11735" y="2135"/>
                    <a:pt x="11710" y="2143"/>
                    <a:pt x="11758" y="2137"/>
                  </a:cubicBezTo>
                  <a:cubicBezTo>
                    <a:pt x="11773" y="2136"/>
                    <a:pt x="11792" y="2123"/>
                    <a:pt x="11803" y="2116"/>
                  </a:cubicBezTo>
                  <a:cubicBezTo>
                    <a:pt x="11900" y="2054"/>
                    <a:pt x="11794" y="1923"/>
                    <a:pt x="11828" y="1842"/>
                  </a:cubicBezTo>
                  <a:cubicBezTo>
                    <a:pt x="11851" y="1786"/>
                    <a:pt x="11869" y="1725"/>
                    <a:pt x="11881" y="1667"/>
                  </a:cubicBezTo>
                  <a:cubicBezTo>
                    <a:pt x="11887" y="1639"/>
                    <a:pt x="11856" y="1580"/>
                    <a:pt x="11881" y="1563"/>
                  </a:cubicBezTo>
                  <a:cubicBezTo>
                    <a:pt x="11982" y="1543"/>
                    <a:pt x="11931" y="1377"/>
                    <a:pt x="11943" y="1324"/>
                  </a:cubicBezTo>
                  <a:cubicBezTo>
                    <a:pt x="11953" y="1277"/>
                    <a:pt x="11991" y="1254"/>
                    <a:pt x="12012" y="1215"/>
                  </a:cubicBezTo>
                  <a:cubicBezTo>
                    <a:pt x="12025" y="1188"/>
                    <a:pt x="12032" y="1149"/>
                    <a:pt x="12040" y="1121"/>
                  </a:cubicBezTo>
                  <a:cubicBezTo>
                    <a:pt x="12050" y="1084"/>
                    <a:pt x="12058" y="984"/>
                    <a:pt x="11995" y="968"/>
                  </a:cubicBezTo>
                  <a:cubicBezTo>
                    <a:pt x="11960" y="959"/>
                    <a:pt x="11926" y="998"/>
                    <a:pt x="11900" y="1021"/>
                  </a:cubicBezTo>
                  <a:cubicBezTo>
                    <a:pt x="11830" y="1082"/>
                    <a:pt x="11794" y="1163"/>
                    <a:pt x="11719" y="1222"/>
                  </a:cubicBezTo>
                  <a:cubicBezTo>
                    <a:pt x="11683" y="1250"/>
                    <a:pt x="11667" y="1283"/>
                    <a:pt x="11646" y="1318"/>
                  </a:cubicBezTo>
                  <a:cubicBezTo>
                    <a:pt x="11620" y="1357"/>
                    <a:pt x="11580" y="1386"/>
                    <a:pt x="11546" y="1421"/>
                  </a:cubicBezTo>
                  <a:cubicBezTo>
                    <a:pt x="11507" y="1460"/>
                    <a:pt x="11471" y="1491"/>
                    <a:pt x="11460" y="1540"/>
                  </a:cubicBezTo>
                  <a:cubicBezTo>
                    <a:pt x="11458" y="1547"/>
                    <a:pt x="11445" y="1596"/>
                    <a:pt x="11425" y="1589"/>
                  </a:cubicBezTo>
                  <a:cubicBezTo>
                    <a:pt x="11417" y="1587"/>
                    <a:pt x="11429" y="1535"/>
                    <a:pt x="11427" y="1528"/>
                  </a:cubicBezTo>
                  <a:cubicBezTo>
                    <a:pt x="11414" y="1544"/>
                    <a:pt x="11390" y="1552"/>
                    <a:pt x="11368" y="1546"/>
                  </a:cubicBezTo>
                  <a:cubicBezTo>
                    <a:pt x="11402" y="1526"/>
                    <a:pt x="11442" y="1496"/>
                    <a:pt x="11454" y="1463"/>
                  </a:cubicBezTo>
                  <a:cubicBezTo>
                    <a:pt x="11462" y="1442"/>
                    <a:pt x="11428" y="1458"/>
                    <a:pt x="11449" y="1437"/>
                  </a:cubicBezTo>
                  <a:cubicBezTo>
                    <a:pt x="11455" y="1430"/>
                    <a:pt x="11486" y="1427"/>
                    <a:pt x="11496" y="1421"/>
                  </a:cubicBezTo>
                  <a:cubicBezTo>
                    <a:pt x="11579" y="1374"/>
                    <a:pt x="11610" y="1262"/>
                    <a:pt x="11655" y="1193"/>
                  </a:cubicBezTo>
                  <a:cubicBezTo>
                    <a:pt x="11671" y="1169"/>
                    <a:pt x="11728" y="1123"/>
                    <a:pt x="11697" y="1100"/>
                  </a:cubicBezTo>
                  <a:cubicBezTo>
                    <a:pt x="11668" y="1078"/>
                    <a:pt x="11611" y="1101"/>
                    <a:pt x="11587" y="1113"/>
                  </a:cubicBezTo>
                  <a:cubicBezTo>
                    <a:pt x="11524" y="1143"/>
                    <a:pt x="11469" y="1228"/>
                    <a:pt x="11389" y="1208"/>
                  </a:cubicBezTo>
                  <a:cubicBezTo>
                    <a:pt x="11456" y="1190"/>
                    <a:pt x="11458" y="1175"/>
                    <a:pt x="11388" y="1151"/>
                  </a:cubicBezTo>
                  <a:cubicBezTo>
                    <a:pt x="11343" y="1135"/>
                    <a:pt x="11282" y="1128"/>
                    <a:pt x="11244" y="1108"/>
                  </a:cubicBezTo>
                  <a:cubicBezTo>
                    <a:pt x="11295" y="1092"/>
                    <a:pt x="11371" y="1137"/>
                    <a:pt x="11420" y="1149"/>
                  </a:cubicBezTo>
                  <a:cubicBezTo>
                    <a:pt x="11494" y="1166"/>
                    <a:pt x="11515" y="1113"/>
                    <a:pt x="11573" y="1078"/>
                  </a:cubicBezTo>
                  <a:cubicBezTo>
                    <a:pt x="11614" y="1055"/>
                    <a:pt x="11659" y="1033"/>
                    <a:pt x="11697" y="1014"/>
                  </a:cubicBezTo>
                  <a:cubicBezTo>
                    <a:pt x="11718" y="1003"/>
                    <a:pt x="11758" y="984"/>
                    <a:pt x="11763" y="966"/>
                  </a:cubicBezTo>
                  <a:cubicBezTo>
                    <a:pt x="11776" y="921"/>
                    <a:pt x="11736" y="938"/>
                    <a:pt x="11703" y="945"/>
                  </a:cubicBezTo>
                  <a:cubicBezTo>
                    <a:pt x="11714" y="930"/>
                    <a:pt x="11737" y="926"/>
                    <a:pt x="11748" y="912"/>
                  </a:cubicBezTo>
                  <a:cubicBezTo>
                    <a:pt x="11761" y="897"/>
                    <a:pt x="11754" y="869"/>
                    <a:pt x="11764" y="859"/>
                  </a:cubicBezTo>
                  <a:cubicBezTo>
                    <a:pt x="11779" y="844"/>
                    <a:pt x="11835" y="847"/>
                    <a:pt x="11846" y="844"/>
                  </a:cubicBezTo>
                  <a:cubicBezTo>
                    <a:pt x="11878" y="837"/>
                    <a:pt x="11911" y="837"/>
                    <a:pt x="11907" y="806"/>
                  </a:cubicBezTo>
                  <a:cubicBezTo>
                    <a:pt x="11905" y="782"/>
                    <a:pt x="11898" y="763"/>
                    <a:pt x="11866" y="754"/>
                  </a:cubicBezTo>
                  <a:cubicBezTo>
                    <a:pt x="11882" y="752"/>
                    <a:pt x="11906" y="761"/>
                    <a:pt x="11921" y="755"/>
                  </a:cubicBezTo>
                  <a:cubicBezTo>
                    <a:pt x="11953" y="741"/>
                    <a:pt x="11955" y="679"/>
                    <a:pt x="11964" y="655"/>
                  </a:cubicBezTo>
                  <a:cubicBezTo>
                    <a:pt x="11979" y="615"/>
                    <a:pt x="11995" y="576"/>
                    <a:pt x="12004" y="535"/>
                  </a:cubicBezTo>
                  <a:cubicBezTo>
                    <a:pt x="12006" y="525"/>
                    <a:pt x="11994" y="517"/>
                    <a:pt x="11995" y="508"/>
                  </a:cubicBezTo>
                  <a:cubicBezTo>
                    <a:pt x="11996" y="502"/>
                    <a:pt x="12010" y="487"/>
                    <a:pt x="12010" y="471"/>
                  </a:cubicBezTo>
                  <a:cubicBezTo>
                    <a:pt x="12012" y="426"/>
                    <a:pt x="11984" y="412"/>
                    <a:pt x="12005" y="371"/>
                  </a:cubicBezTo>
                  <a:cubicBezTo>
                    <a:pt x="12040" y="306"/>
                    <a:pt x="12034" y="280"/>
                    <a:pt x="11989" y="211"/>
                  </a:cubicBezTo>
                  <a:cubicBezTo>
                    <a:pt x="11959" y="181"/>
                    <a:pt x="11920" y="150"/>
                    <a:pt x="11871" y="139"/>
                  </a:cubicBezTo>
                  <a:cubicBezTo>
                    <a:pt x="11839" y="132"/>
                    <a:pt x="11741" y="139"/>
                    <a:pt x="11744" y="169"/>
                  </a:cubicBezTo>
                  <a:cubicBezTo>
                    <a:pt x="11732" y="157"/>
                    <a:pt x="11729" y="155"/>
                    <a:pt x="11733" y="138"/>
                  </a:cubicBezTo>
                  <a:cubicBezTo>
                    <a:pt x="11700" y="143"/>
                    <a:pt x="11659" y="171"/>
                    <a:pt x="11688" y="194"/>
                  </a:cubicBezTo>
                  <a:cubicBezTo>
                    <a:pt x="11682" y="192"/>
                    <a:pt x="11676" y="192"/>
                    <a:pt x="11669" y="190"/>
                  </a:cubicBezTo>
                  <a:cubicBezTo>
                    <a:pt x="11666" y="216"/>
                    <a:pt x="11680" y="239"/>
                    <a:pt x="11646" y="258"/>
                  </a:cubicBezTo>
                  <a:cubicBezTo>
                    <a:pt x="11651" y="227"/>
                    <a:pt x="11645" y="194"/>
                    <a:pt x="11620" y="161"/>
                  </a:cubicBezTo>
                  <a:cubicBezTo>
                    <a:pt x="11588" y="119"/>
                    <a:pt x="11530" y="122"/>
                    <a:pt x="11478" y="94"/>
                  </a:cubicBezTo>
                  <a:cubicBezTo>
                    <a:pt x="11472" y="91"/>
                    <a:pt x="11461" y="90"/>
                    <a:pt x="11456" y="86"/>
                  </a:cubicBezTo>
                  <a:cubicBezTo>
                    <a:pt x="11437" y="70"/>
                    <a:pt x="11450" y="81"/>
                    <a:pt x="11446" y="67"/>
                  </a:cubicBezTo>
                  <a:cubicBezTo>
                    <a:pt x="11443" y="56"/>
                    <a:pt x="11455" y="36"/>
                    <a:pt x="11439" y="17"/>
                  </a:cubicBezTo>
                  <a:cubicBezTo>
                    <a:pt x="11399" y="-35"/>
                    <a:pt x="11305" y="45"/>
                    <a:pt x="11330" y="89"/>
                  </a:cubicBezTo>
                  <a:cubicBezTo>
                    <a:pt x="11274" y="81"/>
                    <a:pt x="11259" y="37"/>
                    <a:pt x="11214" y="31"/>
                  </a:cubicBezTo>
                  <a:cubicBezTo>
                    <a:pt x="11247" y="12"/>
                    <a:pt x="11220" y="7"/>
                    <a:pt x="11193" y="26"/>
                  </a:cubicBezTo>
                  <a:cubicBezTo>
                    <a:pt x="11161" y="47"/>
                    <a:pt x="11178" y="49"/>
                    <a:pt x="11180" y="62"/>
                  </a:cubicBezTo>
                  <a:cubicBezTo>
                    <a:pt x="11178" y="50"/>
                    <a:pt x="11195" y="74"/>
                    <a:pt x="11193" y="69"/>
                  </a:cubicBezTo>
                  <a:cubicBezTo>
                    <a:pt x="11196" y="76"/>
                    <a:pt x="11193" y="89"/>
                    <a:pt x="11198" y="96"/>
                  </a:cubicBezTo>
                  <a:cubicBezTo>
                    <a:pt x="11205" y="105"/>
                    <a:pt x="11205" y="113"/>
                    <a:pt x="11212" y="119"/>
                  </a:cubicBezTo>
                  <a:cubicBezTo>
                    <a:pt x="11187" y="109"/>
                    <a:pt x="11168" y="94"/>
                    <a:pt x="11141" y="106"/>
                  </a:cubicBezTo>
                  <a:cubicBezTo>
                    <a:pt x="11106" y="121"/>
                    <a:pt x="11102" y="139"/>
                    <a:pt x="11090" y="165"/>
                  </a:cubicBezTo>
                  <a:cubicBezTo>
                    <a:pt x="11081" y="185"/>
                    <a:pt x="11081" y="211"/>
                    <a:pt x="11073" y="228"/>
                  </a:cubicBezTo>
                  <a:cubicBezTo>
                    <a:pt x="11071" y="232"/>
                    <a:pt x="11087" y="234"/>
                    <a:pt x="11085" y="238"/>
                  </a:cubicBezTo>
                  <a:cubicBezTo>
                    <a:pt x="11080" y="249"/>
                    <a:pt x="11062" y="241"/>
                    <a:pt x="11059" y="244"/>
                  </a:cubicBezTo>
                  <a:cubicBezTo>
                    <a:pt x="11044" y="265"/>
                    <a:pt x="11033" y="312"/>
                    <a:pt x="11017" y="326"/>
                  </a:cubicBezTo>
                  <a:cubicBezTo>
                    <a:pt x="10984" y="355"/>
                    <a:pt x="10915" y="356"/>
                    <a:pt x="10889" y="399"/>
                  </a:cubicBezTo>
                  <a:cubicBezTo>
                    <a:pt x="10863" y="334"/>
                    <a:pt x="10969" y="262"/>
                    <a:pt x="10997" y="201"/>
                  </a:cubicBezTo>
                  <a:cubicBezTo>
                    <a:pt x="11011" y="172"/>
                    <a:pt x="11028" y="135"/>
                    <a:pt x="11025" y="103"/>
                  </a:cubicBezTo>
                  <a:cubicBezTo>
                    <a:pt x="11016" y="31"/>
                    <a:pt x="10920" y="88"/>
                    <a:pt x="10858" y="105"/>
                  </a:cubicBezTo>
                  <a:cubicBezTo>
                    <a:pt x="10827" y="114"/>
                    <a:pt x="10795" y="120"/>
                    <a:pt x="10796" y="147"/>
                  </a:cubicBezTo>
                  <a:cubicBezTo>
                    <a:pt x="10768" y="138"/>
                    <a:pt x="10772" y="110"/>
                    <a:pt x="10732" y="121"/>
                  </a:cubicBezTo>
                  <a:cubicBezTo>
                    <a:pt x="10707" y="127"/>
                    <a:pt x="10701" y="150"/>
                    <a:pt x="10672" y="148"/>
                  </a:cubicBezTo>
                  <a:cubicBezTo>
                    <a:pt x="10640" y="146"/>
                    <a:pt x="10658" y="121"/>
                    <a:pt x="10627" y="131"/>
                  </a:cubicBezTo>
                  <a:cubicBezTo>
                    <a:pt x="10616" y="135"/>
                    <a:pt x="10595" y="167"/>
                    <a:pt x="10582" y="176"/>
                  </a:cubicBezTo>
                  <a:cubicBezTo>
                    <a:pt x="10582" y="178"/>
                    <a:pt x="10576" y="150"/>
                    <a:pt x="10580" y="151"/>
                  </a:cubicBezTo>
                  <a:cubicBezTo>
                    <a:pt x="10587" y="155"/>
                    <a:pt x="10550" y="135"/>
                    <a:pt x="10557" y="142"/>
                  </a:cubicBezTo>
                  <a:cubicBezTo>
                    <a:pt x="10550" y="134"/>
                    <a:pt x="10541" y="143"/>
                    <a:pt x="10535" y="125"/>
                  </a:cubicBezTo>
                  <a:cubicBezTo>
                    <a:pt x="10532" y="116"/>
                    <a:pt x="10525" y="105"/>
                    <a:pt x="10521" y="96"/>
                  </a:cubicBezTo>
                  <a:cubicBezTo>
                    <a:pt x="10469" y="123"/>
                    <a:pt x="10320" y="168"/>
                    <a:pt x="10340" y="235"/>
                  </a:cubicBezTo>
                  <a:cubicBezTo>
                    <a:pt x="10351" y="273"/>
                    <a:pt x="10431" y="270"/>
                    <a:pt x="10461" y="299"/>
                  </a:cubicBezTo>
                  <a:cubicBezTo>
                    <a:pt x="10495" y="332"/>
                    <a:pt x="10382" y="315"/>
                    <a:pt x="10361" y="300"/>
                  </a:cubicBezTo>
                  <a:cubicBezTo>
                    <a:pt x="10348" y="291"/>
                    <a:pt x="10316" y="276"/>
                    <a:pt x="10307" y="265"/>
                  </a:cubicBezTo>
                  <a:cubicBezTo>
                    <a:pt x="10289" y="242"/>
                    <a:pt x="10302" y="209"/>
                    <a:pt x="10284" y="187"/>
                  </a:cubicBezTo>
                  <a:cubicBezTo>
                    <a:pt x="10201" y="214"/>
                    <a:pt x="10169" y="221"/>
                    <a:pt x="10143" y="284"/>
                  </a:cubicBezTo>
                  <a:cubicBezTo>
                    <a:pt x="10125" y="326"/>
                    <a:pt x="10087" y="377"/>
                    <a:pt x="10123" y="414"/>
                  </a:cubicBezTo>
                  <a:cubicBezTo>
                    <a:pt x="10131" y="422"/>
                    <a:pt x="10168" y="447"/>
                    <a:pt x="10182" y="458"/>
                  </a:cubicBezTo>
                  <a:cubicBezTo>
                    <a:pt x="10202" y="474"/>
                    <a:pt x="10229" y="478"/>
                    <a:pt x="10253" y="485"/>
                  </a:cubicBezTo>
                  <a:cubicBezTo>
                    <a:pt x="10290" y="496"/>
                    <a:pt x="10351" y="497"/>
                    <a:pt x="10341" y="532"/>
                  </a:cubicBezTo>
                  <a:cubicBezTo>
                    <a:pt x="10278" y="525"/>
                    <a:pt x="10209" y="509"/>
                    <a:pt x="10152" y="484"/>
                  </a:cubicBezTo>
                  <a:cubicBezTo>
                    <a:pt x="10101" y="461"/>
                    <a:pt x="10083" y="422"/>
                    <a:pt x="10040" y="393"/>
                  </a:cubicBezTo>
                  <a:cubicBezTo>
                    <a:pt x="9956" y="335"/>
                    <a:pt x="9911" y="370"/>
                    <a:pt x="9821" y="393"/>
                  </a:cubicBezTo>
                  <a:cubicBezTo>
                    <a:pt x="9766" y="407"/>
                    <a:pt x="9745" y="398"/>
                    <a:pt x="9698" y="432"/>
                  </a:cubicBezTo>
                  <a:cubicBezTo>
                    <a:pt x="9678" y="446"/>
                    <a:pt x="9624" y="491"/>
                    <a:pt x="9606" y="463"/>
                  </a:cubicBezTo>
                  <a:cubicBezTo>
                    <a:pt x="9549" y="525"/>
                    <a:pt x="9681" y="534"/>
                    <a:pt x="9724" y="562"/>
                  </a:cubicBezTo>
                  <a:cubicBezTo>
                    <a:pt x="9774" y="594"/>
                    <a:pt x="9783" y="633"/>
                    <a:pt x="9856" y="609"/>
                  </a:cubicBezTo>
                  <a:cubicBezTo>
                    <a:pt x="9823" y="706"/>
                    <a:pt x="9894" y="668"/>
                    <a:pt x="9977" y="711"/>
                  </a:cubicBezTo>
                  <a:cubicBezTo>
                    <a:pt x="9999" y="723"/>
                    <a:pt x="10010" y="714"/>
                    <a:pt x="9989" y="743"/>
                  </a:cubicBezTo>
                  <a:cubicBezTo>
                    <a:pt x="9976" y="761"/>
                    <a:pt x="9979" y="772"/>
                    <a:pt x="9975" y="790"/>
                  </a:cubicBezTo>
                  <a:cubicBezTo>
                    <a:pt x="9969" y="820"/>
                    <a:pt x="9968" y="850"/>
                    <a:pt x="9954" y="878"/>
                  </a:cubicBezTo>
                  <a:cubicBezTo>
                    <a:pt x="9912" y="837"/>
                    <a:pt x="9970" y="774"/>
                    <a:pt x="9923" y="745"/>
                  </a:cubicBezTo>
                  <a:cubicBezTo>
                    <a:pt x="9898" y="730"/>
                    <a:pt x="9854" y="736"/>
                    <a:pt x="9828" y="723"/>
                  </a:cubicBezTo>
                  <a:cubicBezTo>
                    <a:pt x="9808" y="713"/>
                    <a:pt x="9799" y="693"/>
                    <a:pt x="9781" y="680"/>
                  </a:cubicBezTo>
                  <a:cubicBezTo>
                    <a:pt x="9752" y="659"/>
                    <a:pt x="9736" y="650"/>
                    <a:pt x="9711" y="627"/>
                  </a:cubicBezTo>
                  <a:cubicBezTo>
                    <a:pt x="9688" y="606"/>
                    <a:pt x="9678" y="601"/>
                    <a:pt x="9647" y="591"/>
                  </a:cubicBezTo>
                  <a:cubicBezTo>
                    <a:pt x="9643" y="590"/>
                    <a:pt x="9596" y="580"/>
                    <a:pt x="9594" y="581"/>
                  </a:cubicBezTo>
                  <a:cubicBezTo>
                    <a:pt x="9570" y="588"/>
                    <a:pt x="9594" y="585"/>
                    <a:pt x="9582" y="603"/>
                  </a:cubicBezTo>
                  <a:cubicBezTo>
                    <a:pt x="9574" y="615"/>
                    <a:pt x="9560" y="623"/>
                    <a:pt x="9580" y="640"/>
                  </a:cubicBezTo>
                  <a:cubicBezTo>
                    <a:pt x="9561" y="636"/>
                    <a:pt x="9521" y="624"/>
                    <a:pt x="9513" y="618"/>
                  </a:cubicBezTo>
                  <a:cubicBezTo>
                    <a:pt x="9509" y="615"/>
                    <a:pt x="9492" y="549"/>
                    <a:pt x="9467" y="576"/>
                  </a:cubicBezTo>
                  <a:cubicBezTo>
                    <a:pt x="9454" y="591"/>
                    <a:pt x="9465" y="630"/>
                    <a:pt x="9444" y="628"/>
                  </a:cubicBezTo>
                  <a:cubicBezTo>
                    <a:pt x="9428" y="627"/>
                    <a:pt x="9410" y="585"/>
                    <a:pt x="9401" y="581"/>
                  </a:cubicBezTo>
                  <a:cubicBezTo>
                    <a:pt x="9354" y="559"/>
                    <a:pt x="9299" y="604"/>
                    <a:pt x="9278" y="638"/>
                  </a:cubicBezTo>
                  <a:cubicBezTo>
                    <a:pt x="9235" y="706"/>
                    <a:pt x="9336" y="692"/>
                    <a:pt x="9382" y="697"/>
                  </a:cubicBezTo>
                  <a:cubicBezTo>
                    <a:pt x="9312" y="730"/>
                    <a:pt x="9403" y="769"/>
                    <a:pt x="9445" y="777"/>
                  </a:cubicBezTo>
                  <a:cubicBezTo>
                    <a:pt x="9496" y="787"/>
                    <a:pt x="9534" y="782"/>
                    <a:pt x="9581" y="770"/>
                  </a:cubicBezTo>
                  <a:cubicBezTo>
                    <a:pt x="9558" y="787"/>
                    <a:pt x="9516" y="800"/>
                    <a:pt x="9484" y="806"/>
                  </a:cubicBezTo>
                  <a:cubicBezTo>
                    <a:pt x="9464" y="809"/>
                    <a:pt x="9447" y="796"/>
                    <a:pt x="9430" y="798"/>
                  </a:cubicBezTo>
                  <a:cubicBezTo>
                    <a:pt x="9394" y="802"/>
                    <a:pt x="9387" y="817"/>
                    <a:pt x="9426" y="841"/>
                  </a:cubicBezTo>
                  <a:cubicBezTo>
                    <a:pt x="9372" y="847"/>
                    <a:pt x="9375" y="817"/>
                    <a:pt x="9356" y="794"/>
                  </a:cubicBezTo>
                  <a:cubicBezTo>
                    <a:pt x="9324" y="755"/>
                    <a:pt x="9287" y="741"/>
                    <a:pt x="9226" y="742"/>
                  </a:cubicBezTo>
                  <a:cubicBezTo>
                    <a:pt x="9183" y="742"/>
                    <a:pt x="9125" y="743"/>
                    <a:pt x="9151" y="787"/>
                  </a:cubicBezTo>
                  <a:cubicBezTo>
                    <a:pt x="9165" y="811"/>
                    <a:pt x="9211" y="828"/>
                    <a:pt x="9235" y="848"/>
                  </a:cubicBezTo>
                  <a:cubicBezTo>
                    <a:pt x="9261" y="868"/>
                    <a:pt x="9289" y="889"/>
                    <a:pt x="9315" y="911"/>
                  </a:cubicBezTo>
                  <a:cubicBezTo>
                    <a:pt x="9323" y="918"/>
                    <a:pt x="9353" y="937"/>
                    <a:pt x="9347" y="945"/>
                  </a:cubicBezTo>
                  <a:cubicBezTo>
                    <a:pt x="9335" y="964"/>
                    <a:pt x="9278" y="941"/>
                    <a:pt x="9264" y="935"/>
                  </a:cubicBezTo>
                  <a:cubicBezTo>
                    <a:pt x="9225" y="920"/>
                    <a:pt x="9171" y="886"/>
                    <a:pt x="9123" y="894"/>
                  </a:cubicBezTo>
                  <a:cubicBezTo>
                    <a:pt x="9050" y="905"/>
                    <a:pt x="9100" y="959"/>
                    <a:pt x="9134" y="982"/>
                  </a:cubicBezTo>
                  <a:cubicBezTo>
                    <a:pt x="9174" y="1008"/>
                    <a:pt x="9206" y="1005"/>
                    <a:pt x="9248" y="1012"/>
                  </a:cubicBezTo>
                  <a:cubicBezTo>
                    <a:pt x="9201" y="1020"/>
                    <a:pt x="9153" y="1029"/>
                    <a:pt x="9106" y="1037"/>
                  </a:cubicBezTo>
                  <a:cubicBezTo>
                    <a:pt x="9102" y="1095"/>
                    <a:pt x="9093" y="1136"/>
                    <a:pt x="9160" y="1174"/>
                  </a:cubicBezTo>
                  <a:cubicBezTo>
                    <a:pt x="9208" y="1202"/>
                    <a:pt x="9264" y="1228"/>
                    <a:pt x="9316" y="1250"/>
                  </a:cubicBezTo>
                  <a:cubicBezTo>
                    <a:pt x="9345" y="1262"/>
                    <a:pt x="9374" y="1264"/>
                    <a:pt x="9403" y="1271"/>
                  </a:cubicBezTo>
                  <a:cubicBezTo>
                    <a:pt x="9417" y="1275"/>
                    <a:pt x="9427" y="1264"/>
                    <a:pt x="9440" y="1271"/>
                  </a:cubicBezTo>
                  <a:cubicBezTo>
                    <a:pt x="9437" y="1270"/>
                    <a:pt x="9440" y="1296"/>
                    <a:pt x="9445" y="1301"/>
                  </a:cubicBezTo>
                  <a:cubicBezTo>
                    <a:pt x="9468" y="1321"/>
                    <a:pt x="9498" y="1327"/>
                    <a:pt x="9531" y="1332"/>
                  </a:cubicBezTo>
                  <a:cubicBezTo>
                    <a:pt x="9553" y="1335"/>
                    <a:pt x="9609" y="1328"/>
                    <a:pt x="9625" y="1335"/>
                  </a:cubicBezTo>
                  <a:cubicBezTo>
                    <a:pt x="9632" y="1337"/>
                    <a:pt x="9649" y="1366"/>
                    <a:pt x="9654" y="1372"/>
                  </a:cubicBezTo>
                  <a:cubicBezTo>
                    <a:pt x="9661" y="1380"/>
                    <a:pt x="9687" y="1396"/>
                    <a:pt x="9699" y="1405"/>
                  </a:cubicBezTo>
                  <a:cubicBezTo>
                    <a:pt x="9711" y="1414"/>
                    <a:pt x="9827" y="1493"/>
                    <a:pt x="9745" y="1473"/>
                  </a:cubicBezTo>
                  <a:cubicBezTo>
                    <a:pt x="9701" y="1462"/>
                    <a:pt x="9672" y="1412"/>
                    <a:pt x="9633" y="1393"/>
                  </a:cubicBezTo>
                  <a:cubicBezTo>
                    <a:pt x="9598" y="1376"/>
                    <a:pt x="9576" y="1388"/>
                    <a:pt x="9540" y="1381"/>
                  </a:cubicBezTo>
                  <a:cubicBezTo>
                    <a:pt x="9527" y="1378"/>
                    <a:pt x="9516" y="1362"/>
                    <a:pt x="9500" y="1357"/>
                  </a:cubicBezTo>
                  <a:cubicBezTo>
                    <a:pt x="9464" y="1346"/>
                    <a:pt x="9429" y="1336"/>
                    <a:pt x="9394" y="1325"/>
                  </a:cubicBezTo>
                  <a:cubicBezTo>
                    <a:pt x="9312" y="1299"/>
                    <a:pt x="9261" y="1272"/>
                    <a:pt x="9191" y="1240"/>
                  </a:cubicBezTo>
                  <a:cubicBezTo>
                    <a:pt x="9138" y="1216"/>
                    <a:pt x="9076" y="1219"/>
                    <a:pt x="9117" y="1275"/>
                  </a:cubicBezTo>
                  <a:cubicBezTo>
                    <a:pt x="9126" y="1288"/>
                    <a:pt x="9184" y="1350"/>
                    <a:pt x="9200" y="1358"/>
                  </a:cubicBezTo>
                  <a:cubicBezTo>
                    <a:pt x="9247" y="1384"/>
                    <a:pt x="9304" y="1335"/>
                    <a:pt x="9331" y="1391"/>
                  </a:cubicBezTo>
                  <a:cubicBezTo>
                    <a:pt x="9293" y="1384"/>
                    <a:pt x="9275" y="1380"/>
                    <a:pt x="9236" y="1384"/>
                  </a:cubicBezTo>
                  <a:cubicBezTo>
                    <a:pt x="9226" y="1385"/>
                    <a:pt x="9154" y="1403"/>
                    <a:pt x="9155" y="1404"/>
                  </a:cubicBezTo>
                  <a:cubicBezTo>
                    <a:pt x="9152" y="1402"/>
                    <a:pt x="9153" y="1353"/>
                    <a:pt x="9146" y="1343"/>
                  </a:cubicBezTo>
                  <a:cubicBezTo>
                    <a:pt x="9128" y="1314"/>
                    <a:pt x="9088" y="1295"/>
                    <a:pt x="9064" y="1269"/>
                  </a:cubicBezTo>
                  <a:cubicBezTo>
                    <a:pt x="9038" y="1240"/>
                    <a:pt x="9040" y="1229"/>
                    <a:pt x="8992" y="1214"/>
                  </a:cubicBezTo>
                  <a:cubicBezTo>
                    <a:pt x="8936" y="1196"/>
                    <a:pt x="8897" y="1212"/>
                    <a:pt x="8847" y="1191"/>
                  </a:cubicBezTo>
                  <a:cubicBezTo>
                    <a:pt x="8840" y="1188"/>
                    <a:pt x="8797" y="1176"/>
                    <a:pt x="8795" y="1171"/>
                  </a:cubicBezTo>
                  <a:cubicBezTo>
                    <a:pt x="8791" y="1160"/>
                    <a:pt x="8816" y="1164"/>
                    <a:pt x="8814" y="1154"/>
                  </a:cubicBezTo>
                  <a:cubicBezTo>
                    <a:pt x="8812" y="1149"/>
                    <a:pt x="8844" y="1148"/>
                    <a:pt x="8823" y="1136"/>
                  </a:cubicBezTo>
                  <a:cubicBezTo>
                    <a:pt x="8808" y="1127"/>
                    <a:pt x="8786" y="1126"/>
                    <a:pt x="8767" y="1126"/>
                  </a:cubicBezTo>
                  <a:cubicBezTo>
                    <a:pt x="8740" y="1130"/>
                    <a:pt x="8652" y="1152"/>
                    <a:pt x="8655" y="1181"/>
                  </a:cubicBezTo>
                  <a:cubicBezTo>
                    <a:pt x="8657" y="1203"/>
                    <a:pt x="8699" y="1190"/>
                    <a:pt x="8714" y="1203"/>
                  </a:cubicBezTo>
                  <a:cubicBezTo>
                    <a:pt x="8720" y="1207"/>
                    <a:pt x="8732" y="1243"/>
                    <a:pt x="8733" y="1245"/>
                  </a:cubicBezTo>
                  <a:cubicBezTo>
                    <a:pt x="8746" y="1270"/>
                    <a:pt x="8777" y="1300"/>
                    <a:pt x="8740" y="1328"/>
                  </a:cubicBezTo>
                  <a:cubicBezTo>
                    <a:pt x="8706" y="1353"/>
                    <a:pt x="8655" y="1351"/>
                    <a:pt x="8614" y="1366"/>
                  </a:cubicBezTo>
                  <a:cubicBezTo>
                    <a:pt x="8559" y="1385"/>
                    <a:pt x="8567" y="1431"/>
                    <a:pt x="8622" y="1453"/>
                  </a:cubicBezTo>
                  <a:cubicBezTo>
                    <a:pt x="8645" y="1462"/>
                    <a:pt x="8673" y="1454"/>
                    <a:pt x="8696" y="1459"/>
                  </a:cubicBezTo>
                  <a:cubicBezTo>
                    <a:pt x="8719" y="1463"/>
                    <a:pt x="8731" y="1473"/>
                    <a:pt x="8756" y="1480"/>
                  </a:cubicBezTo>
                  <a:cubicBezTo>
                    <a:pt x="8802" y="1494"/>
                    <a:pt x="8858" y="1477"/>
                    <a:pt x="8902" y="1496"/>
                  </a:cubicBezTo>
                  <a:cubicBezTo>
                    <a:pt x="8941" y="1512"/>
                    <a:pt x="8965" y="1560"/>
                    <a:pt x="8974" y="1589"/>
                  </a:cubicBezTo>
                  <a:cubicBezTo>
                    <a:pt x="8951" y="1582"/>
                    <a:pt x="8904" y="1506"/>
                    <a:pt x="8892" y="1515"/>
                  </a:cubicBezTo>
                  <a:cubicBezTo>
                    <a:pt x="8873" y="1530"/>
                    <a:pt x="8938" y="1585"/>
                    <a:pt x="8949" y="1597"/>
                  </a:cubicBezTo>
                  <a:cubicBezTo>
                    <a:pt x="8900" y="1582"/>
                    <a:pt x="8878" y="1500"/>
                    <a:pt x="8816" y="1524"/>
                  </a:cubicBezTo>
                  <a:cubicBezTo>
                    <a:pt x="8750" y="1549"/>
                    <a:pt x="8859" y="1596"/>
                    <a:pt x="8869" y="1631"/>
                  </a:cubicBezTo>
                  <a:cubicBezTo>
                    <a:pt x="8852" y="1626"/>
                    <a:pt x="8839" y="1612"/>
                    <a:pt x="8826" y="1599"/>
                  </a:cubicBezTo>
                  <a:cubicBezTo>
                    <a:pt x="8798" y="1572"/>
                    <a:pt x="8774" y="1544"/>
                    <a:pt x="8739" y="1524"/>
                  </a:cubicBezTo>
                  <a:cubicBezTo>
                    <a:pt x="8710" y="1508"/>
                    <a:pt x="8604" y="1485"/>
                    <a:pt x="8592" y="1529"/>
                  </a:cubicBezTo>
                  <a:cubicBezTo>
                    <a:pt x="8587" y="1544"/>
                    <a:pt x="8616" y="1561"/>
                    <a:pt x="8617" y="1572"/>
                  </a:cubicBezTo>
                  <a:cubicBezTo>
                    <a:pt x="8617" y="1575"/>
                    <a:pt x="8583" y="1574"/>
                    <a:pt x="8599" y="1598"/>
                  </a:cubicBezTo>
                  <a:cubicBezTo>
                    <a:pt x="8604" y="1606"/>
                    <a:pt x="8671" y="1618"/>
                    <a:pt x="8660" y="1637"/>
                  </a:cubicBezTo>
                  <a:cubicBezTo>
                    <a:pt x="8656" y="1643"/>
                    <a:pt x="8607" y="1619"/>
                    <a:pt x="8597" y="1613"/>
                  </a:cubicBezTo>
                  <a:cubicBezTo>
                    <a:pt x="8560" y="1590"/>
                    <a:pt x="8578" y="1596"/>
                    <a:pt x="8567" y="1568"/>
                  </a:cubicBezTo>
                  <a:cubicBezTo>
                    <a:pt x="8560" y="1552"/>
                    <a:pt x="8562" y="1541"/>
                    <a:pt x="8543" y="1526"/>
                  </a:cubicBezTo>
                  <a:cubicBezTo>
                    <a:pt x="8525" y="1511"/>
                    <a:pt x="8511" y="1507"/>
                    <a:pt x="8485" y="1505"/>
                  </a:cubicBezTo>
                  <a:cubicBezTo>
                    <a:pt x="8472" y="1503"/>
                    <a:pt x="8477" y="1521"/>
                    <a:pt x="8469" y="1521"/>
                  </a:cubicBezTo>
                  <a:cubicBezTo>
                    <a:pt x="8460" y="1520"/>
                    <a:pt x="8448" y="1505"/>
                    <a:pt x="8438" y="1507"/>
                  </a:cubicBezTo>
                  <a:cubicBezTo>
                    <a:pt x="8416" y="1512"/>
                    <a:pt x="8372" y="1528"/>
                    <a:pt x="8346" y="1548"/>
                  </a:cubicBezTo>
                  <a:cubicBezTo>
                    <a:pt x="8290" y="1592"/>
                    <a:pt x="8323" y="1628"/>
                    <a:pt x="8309" y="1677"/>
                  </a:cubicBezTo>
                  <a:cubicBezTo>
                    <a:pt x="8298" y="1667"/>
                    <a:pt x="8277" y="1654"/>
                    <a:pt x="8261" y="1665"/>
                  </a:cubicBezTo>
                  <a:cubicBezTo>
                    <a:pt x="8236" y="1683"/>
                    <a:pt x="8283" y="1688"/>
                    <a:pt x="8285" y="1693"/>
                  </a:cubicBezTo>
                  <a:cubicBezTo>
                    <a:pt x="8289" y="1699"/>
                    <a:pt x="8316" y="1752"/>
                    <a:pt x="8286" y="1762"/>
                  </a:cubicBezTo>
                  <a:cubicBezTo>
                    <a:pt x="8234" y="1781"/>
                    <a:pt x="8242" y="1665"/>
                    <a:pt x="8171" y="1705"/>
                  </a:cubicBezTo>
                  <a:cubicBezTo>
                    <a:pt x="8190" y="1726"/>
                    <a:pt x="8140" y="1711"/>
                    <a:pt x="8113" y="1724"/>
                  </a:cubicBezTo>
                  <a:cubicBezTo>
                    <a:pt x="8096" y="1732"/>
                    <a:pt x="8092" y="1743"/>
                    <a:pt x="8079" y="1753"/>
                  </a:cubicBezTo>
                  <a:cubicBezTo>
                    <a:pt x="8072" y="1758"/>
                    <a:pt x="8052" y="1769"/>
                    <a:pt x="8045" y="1776"/>
                  </a:cubicBezTo>
                  <a:cubicBezTo>
                    <a:pt x="8018" y="1803"/>
                    <a:pt x="8013" y="1795"/>
                    <a:pt x="8033" y="1828"/>
                  </a:cubicBezTo>
                  <a:cubicBezTo>
                    <a:pt x="8038" y="1837"/>
                    <a:pt x="7977" y="1841"/>
                    <a:pt x="7966" y="1848"/>
                  </a:cubicBezTo>
                  <a:cubicBezTo>
                    <a:pt x="7942" y="1863"/>
                    <a:pt x="7914" y="1949"/>
                    <a:pt x="7929" y="1963"/>
                  </a:cubicBezTo>
                  <a:cubicBezTo>
                    <a:pt x="7954" y="1988"/>
                    <a:pt x="8000" y="1966"/>
                    <a:pt x="8010" y="2007"/>
                  </a:cubicBezTo>
                  <a:close/>
                  <a:moveTo>
                    <a:pt x="7145" y="4431"/>
                  </a:moveTo>
                  <a:cubicBezTo>
                    <a:pt x="7168" y="4459"/>
                    <a:pt x="7149" y="4455"/>
                    <a:pt x="7129" y="4469"/>
                  </a:cubicBezTo>
                  <a:cubicBezTo>
                    <a:pt x="7112" y="4481"/>
                    <a:pt x="7112" y="4465"/>
                    <a:pt x="7096" y="4481"/>
                  </a:cubicBezTo>
                  <a:cubicBezTo>
                    <a:pt x="7082" y="4497"/>
                    <a:pt x="7080" y="4508"/>
                    <a:pt x="7093" y="4528"/>
                  </a:cubicBezTo>
                  <a:cubicBezTo>
                    <a:pt x="7102" y="4544"/>
                    <a:pt x="7129" y="4552"/>
                    <a:pt x="7141" y="4565"/>
                  </a:cubicBezTo>
                  <a:cubicBezTo>
                    <a:pt x="7156" y="4581"/>
                    <a:pt x="7158" y="4579"/>
                    <a:pt x="7164" y="4605"/>
                  </a:cubicBezTo>
                  <a:cubicBezTo>
                    <a:pt x="7167" y="4619"/>
                    <a:pt x="7163" y="4634"/>
                    <a:pt x="7170" y="4645"/>
                  </a:cubicBezTo>
                  <a:cubicBezTo>
                    <a:pt x="7179" y="4657"/>
                    <a:pt x="7211" y="4660"/>
                    <a:pt x="7221" y="4681"/>
                  </a:cubicBezTo>
                  <a:cubicBezTo>
                    <a:pt x="7231" y="4702"/>
                    <a:pt x="7179" y="4685"/>
                    <a:pt x="7196" y="4701"/>
                  </a:cubicBezTo>
                  <a:cubicBezTo>
                    <a:pt x="7199" y="4704"/>
                    <a:pt x="7242" y="4709"/>
                    <a:pt x="7252" y="4709"/>
                  </a:cubicBezTo>
                  <a:cubicBezTo>
                    <a:pt x="7308" y="4712"/>
                    <a:pt x="7333" y="4714"/>
                    <a:pt x="7379" y="4743"/>
                  </a:cubicBezTo>
                  <a:cubicBezTo>
                    <a:pt x="7403" y="4758"/>
                    <a:pt x="7450" y="4778"/>
                    <a:pt x="7410" y="4802"/>
                  </a:cubicBezTo>
                  <a:cubicBezTo>
                    <a:pt x="7379" y="4821"/>
                    <a:pt x="7312" y="4792"/>
                    <a:pt x="7281" y="4801"/>
                  </a:cubicBezTo>
                  <a:cubicBezTo>
                    <a:pt x="7247" y="4810"/>
                    <a:pt x="7270" y="4805"/>
                    <a:pt x="7261" y="4826"/>
                  </a:cubicBezTo>
                  <a:cubicBezTo>
                    <a:pt x="7249" y="4858"/>
                    <a:pt x="7243" y="4833"/>
                    <a:pt x="7271" y="4855"/>
                  </a:cubicBezTo>
                  <a:cubicBezTo>
                    <a:pt x="7292" y="4872"/>
                    <a:pt x="7333" y="4893"/>
                    <a:pt x="7357" y="4905"/>
                  </a:cubicBezTo>
                  <a:cubicBezTo>
                    <a:pt x="7419" y="4935"/>
                    <a:pt x="7398" y="4916"/>
                    <a:pt x="7388" y="4965"/>
                  </a:cubicBezTo>
                  <a:cubicBezTo>
                    <a:pt x="7381" y="5002"/>
                    <a:pt x="7407" y="5010"/>
                    <a:pt x="7443" y="5022"/>
                  </a:cubicBezTo>
                  <a:cubicBezTo>
                    <a:pt x="7462" y="5002"/>
                    <a:pt x="7512" y="4978"/>
                    <a:pt x="7518" y="4956"/>
                  </a:cubicBezTo>
                  <a:cubicBezTo>
                    <a:pt x="7503" y="4969"/>
                    <a:pt x="7456" y="4977"/>
                    <a:pt x="7482" y="4950"/>
                  </a:cubicBezTo>
                  <a:cubicBezTo>
                    <a:pt x="7502" y="4930"/>
                    <a:pt x="7538" y="4924"/>
                    <a:pt x="7538" y="4955"/>
                  </a:cubicBezTo>
                  <a:cubicBezTo>
                    <a:pt x="7614" y="4922"/>
                    <a:pt x="7692" y="4889"/>
                    <a:pt x="7770" y="4866"/>
                  </a:cubicBezTo>
                  <a:cubicBezTo>
                    <a:pt x="7804" y="4856"/>
                    <a:pt x="7795" y="4872"/>
                    <a:pt x="7817" y="4847"/>
                  </a:cubicBezTo>
                  <a:cubicBezTo>
                    <a:pt x="7823" y="4840"/>
                    <a:pt x="7828" y="4815"/>
                    <a:pt x="7829" y="4808"/>
                  </a:cubicBezTo>
                  <a:cubicBezTo>
                    <a:pt x="7834" y="4771"/>
                    <a:pt x="7828" y="4760"/>
                    <a:pt x="7805" y="4731"/>
                  </a:cubicBezTo>
                  <a:cubicBezTo>
                    <a:pt x="7793" y="4714"/>
                    <a:pt x="7722" y="4672"/>
                    <a:pt x="7721" y="4664"/>
                  </a:cubicBezTo>
                  <a:cubicBezTo>
                    <a:pt x="7717" y="4645"/>
                    <a:pt x="7786" y="4599"/>
                    <a:pt x="7796" y="4582"/>
                  </a:cubicBezTo>
                  <a:cubicBezTo>
                    <a:pt x="7817" y="4548"/>
                    <a:pt x="7814" y="4549"/>
                    <a:pt x="7786" y="4523"/>
                  </a:cubicBezTo>
                  <a:cubicBezTo>
                    <a:pt x="7762" y="4501"/>
                    <a:pt x="7702" y="4462"/>
                    <a:pt x="7666" y="4454"/>
                  </a:cubicBezTo>
                  <a:cubicBezTo>
                    <a:pt x="7616" y="4442"/>
                    <a:pt x="7617" y="4479"/>
                    <a:pt x="7582" y="4482"/>
                  </a:cubicBezTo>
                  <a:cubicBezTo>
                    <a:pt x="7509" y="4486"/>
                    <a:pt x="7525" y="4400"/>
                    <a:pt x="7517" y="4374"/>
                  </a:cubicBezTo>
                  <a:cubicBezTo>
                    <a:pt x="7496" y="4387"/>
                    <a:pt x="7444" y="4345"/>
                    <a:pt x="7418" y="4336"/>
                  </a:cubicBezTo>
                  <a:cubicBezTo>
                    <a:pt x="7380" y="4323"/>
                    <a:pt x="7362" y="4304"/>
                    <a:pt x="7323" y="4287"/>
                  </a:cubicBezTo>
                  <a:cubicBezTo>
                    <a:pt x="7265" y="4261"/>
                    <a:pt x="7114" y="4207"/>
                    <a:pt x="7080" y="4287"/>
                  </a:cubicBezTo>
                  <a:cubicBezTo>
                    <a:pt x="7072" y="4309"/>
                    <a:pt x="7086" y="4372"/>
                    <a:pt x="7102" y="4392"/>
                  </a:cubicBezTo>
                  <a:cubicBezTo>
                    <a:pt x="7116" y="4410"/>
                    <a:pt x="7131" y="4414"/>
                    <a:pt x="7145" y="4431"/>
                  </a:cubicBezTo>
                  <a:close/>
                  <a:moveTo>
                    <a:pt x="7517" y="3272"/>
                  </a:moveTo>
                  <a:cubicBezTo>
                    <a:pt x="7482" y="3269"/>
                    <a:pt x="7448" y="3263"/>
                    <a:pt x="7418" y="3249"/>
                  </a:cubicBezTo>
                  <a:cubicBezTo>
                    <a:pt x="7382" y="3230"/>
                    <a:pt x="7373" y="3205"/>
                    <a:pt x="7324" y="3205"/>
                  </a:cubicBezTo>
                  <a:cubicBezTo>
                    <a:pt x="7276" y="3206"/>
                    <a:pt x="7286" y="3248"/>
                    <a:pt x="7302" y="3272"/>
                  </a:cubicBezTo>
                  <a:cubicBezTo>
                    <a:pt x="7309" y="3283"/>
                    <a:pt x="7347" y="3267"/>
                    <a:pt x="7342" y="3279"/>
                  </a:cubicBezTo>
                  <a:cubicBezTo>
                    <a:pt x="7333" y="3301"/>
                    <a:pt x="7321" y="3301"/>
                    <a:pt x="7325" y="3322"/>
                  </a:cubicBezTo>
                  <a:cubicBezTo>
                    <a:pt x="7333" y="3372"/>
                    <a:pt x="7376" y="3342"/>
                    <a:pt x="7404" y="3367"/>
                  </a:cubicBezTo>
                  <a:cubicBezTo>
                    <a:pt x="7438" y="3397"/>
                    <a:pt x="7285" y="3419"/>
                    <a:pt x="7365" y="3430"/>
                  </a:cubicBezTo>
                  <a:cubicBezTo>
                    <a:pt x="7371" y="3450"/>
                    <a:pt x="7393" y="3454"/>
                    <a:pt x="7406" y="3473"/>
                  </a:cubicBezTo>
                  <a:cubicBezTo>
                    <a:pt x="7416" y="3487"/>
                    <a:pt x="7417" y="3507"/>
                    <a:pt x="7425" y="3518"/>
                  </a:cubicBezTo>
                  <a:cubicBezTo>
                    <a:pt x="7433" y="3528"/>
                    <a:pt x="7488" y="3580"/>
                    <a:pt x="7507" y="3586"/>
                  </a:cubicBezTo>
                  <a:cubicBezTo>
                    <a:pt x="7552" y="3600"/>
                    <a:pt x="7612" y="3576"/>
                    <a:pt x="7648" y="3561"/>
                  </a:cubicBezTo>
                  <a:cubicBezTo>
                    <a:pt x="7669" y="3552"/>
                    <a:pt x="7784" y="3468"/>
                    <a:pt x="7765" y="3460"/>
                  </a:cubicBezTo>
                  <a:cubicBezTo>
                    <a:pt x="7808" y="3478"/>
                    <a:pt x="7712" y="3593"/>
                    <a:pt x="7695" y="3605"/>
                  </a:cubicBezTo>
                  <a:cubicBezTo>
                    <a:pt x="7663" y="3627"/>
                    <a:pt x="7599" y="3644"/>
                    <a:pt x="7557" y="3651"/>
                  </a:cubicBezTo>
                  <a:cubicBezTo>
                    <a:pt x="7508" y="3659"/>
                    <a:pt x="7542" y="3722"/>
                    <a:pt x="7537" y="3746"/>
                  </a:cubicBezTo>
                  <a:cubicBezTo>
                    <a:pt x="7533" y="3766"/>
                    <a:pt x="7544" y="3776"/>
                    <a:pt x="7567" y="3783"/>
                  </a:cubicBezTo>
                  <a:cubicBezTo>
                    <a:pt x="7586" y="3788"/>
                    <a:pt x="7618" y="3773"/>
                    <a:pt x="7609" y="3771"/>
                  </a:cubicBezTo>
                  <a:cubicBezTo>
                    <a:pt x="7619" y="3774"/>
                    <a:pt x="7659" y="3812"/>
                    <a:pt x="7629" y="3822"/>
                  </a:cubicBezTo>
                  <a:cubicBezTo>
                    <a:pt x="7655" y="3848"/>
                    <a:pt x="7655" y="3869"/>
                    <a:pt x="7697" y="3855"/>
                  </a:cubicBezTo>
                  <a:cubicBezTo>
                    <a:pt x="7721" y="3846"/>
                    <a:pt x="7776" y="3803"/>
                    <a:pt x="7791" y="3786"/>
                  </a:cubicBezTo>
                  <a:cubicBezTo>
                    <a:pt x="7803" y="3775"/>
                    <a:pt x="7743" y="3747"/>
                    <a:pt x="7793" y="3740"/>
                  </a:cubicBezTo>
                  <a:cubicBezTo>
                    <a:pt x="7831" y="3734"/>
                    <a:pt x="7849" y="3779"/>
                    <a:pt x="7893" y="3755"/>
                  </a:cubicBezTo>
                  <a:cubicBezTo>
                    <a:pt x="7881" y="3777"/>
                    <a:pt x="7800" y="3861"/>
                    <a:pt x="7883" y="3859"/>
                  </a:cubicBezTo>
                  <a:cubicBezTo>
                    <a:pt x="7926" y="3858"/>
                    <a:pt x="7931" y="3819"/>
                    <a:pt x="7943" y="3799"/>
                  </a:cubicBezTo>
                  <a:cubicBezTo>
                    <a:pt x="7946" y="3795"/>
                    <a:pt x="7933" y="3783"/>
                    <a:pt x="7937" y="3776"/>
                  </a:cubicBezTo>
                  <a:cubicBezTo>
                    <a:pt x="7942" y="3768"/>
                    <a:pt x="7963" y="3784"/>
                    <a:pt x="7968" y="3774"/>
                  </a:cubicBezTo>
                  <a:cubicBezTo>
                    <a:pt x="7976" y="3760"/>
                    <a:pt x="7969" y="3741"/>
                    <a:pt x="7978" y="3727"/>
                  </a:cubicBezTo>
                  <a:cubicBezTo>
                    <a:pt x="8018" y="3659"/>
                    <a:pt x="7995" y="3763"/>
                    <a:pt x="7998" y="3783"/>
                  </a:cubicBezTo>
                  <a:cubicBezTo>
                    <a:pt x="8055" y="3745"/>
                    <a:pt x="8046" y="3752"/>
                    <a:pt x="8031" y="3703"/>
                  </a:cubicBezTo>
                  <a:cubicBezTo>
                    <a:pt x="8011" y="3637"/>
                    <a:pt x="8038" y="3703"/>
                    <a:pt x="8059" y="3713"/>
                  </a:cubicBezTo>
                  <a:cubicBezTo>
                    <a:pt x="8106" y="3737"/>
                    <a:pt x="8112" y="3667"/>
                    <a:pt x="8167" y="3678"/>
                  </a:cubicBezTo>
                  <a:cubicBezTo>
                    <a:pt x="8236" y="3691"/>
                    <a:pt x="8119" y="3721"/>
                    <a:pt x="8147" y="3749"/>
                  </a:cubicBezTo>
                  <a:cubicBezTo>
                    <a:pt x="8153" y="3755"/>
                    <a:pt x="8250" y="3760"/>
                    <a:pt x="8266" y="3756"/>
                  </a:cubicBezTo>
                  <a:cubicBezTo>
                    <a:pt x="8298" y="3749"/>
                    <a:pt x="8348" y="3705"/>
                    <a:pt x="8385" y="3708"/>
                  </a:cubicBezTo>
                  <a:cubicBezTo>
                    <a:pt x="8458" y="3715"/>
                    <a:pt x="8352" y="3748"/>
                    <a:pt x="8330" y="3756"/>
                  </a:cubicBezTo>
                  <a:cubicBezTo>
                    <a:pt x="8295" y="3770"/>
                    <a:pt x="8263" y="3806"/>
                    <a:pt x="8225" y="3782"/>
                  </a:cubicBezTo>
                  <a:cubicBezTo>
                    <a:pt x="8227" y="3785"/>
                    <a:pt x="8229" y="3789"/>
                    <a:pt x="8231" y="3792"/>
                  </a:cubicBezTo>
                  <a:cubicBezTo>
                    <a:pt x="8195" y="3790"/>
                    <a:pt x="8107" y="3801"/>
                    <a:pt x="8148" y="3844"/>
                  </a:cubicBezTo>
                  <a:cubicBezTo>
                    <a:pt x="8171" y="3868"/>
                    <a:pt x="8242" y="3863"/>
                    <a:pt x="8272" y="3859"/>
                  </a:cubicBezTo>
                  <a:cubicBezTo>
                    <a:pt x="8363" y="3847"/>
                    <a:pt x="8435" y="3807"/>
                    <a:pt x="8531" y="3804"/>
                  </a:cubicBezTo>
                  <a:cubicBezTo>
                    <a:pt x="8545" y="3803"/>
                    <a:pt x="8594" y="3784"/>
                    <a:pt x="8559" y="3813"/>
                  </a:cubicBezTo>
                  <a:cubicBezTo>
                    <a:pt x="8546" y="3823"/>
                    <a:pt x="8503" y="3835"/>
                    <a:pt x="8484" y="3839"/>
                  </a:cubicBezTo>
                  <a:cubicBezTo>
                    <a:pt x="8439" y="3851"/>
                    <a:pt x="8393" y="3861"/>
                    <a:pt x="8348" y="3875"/>
                  </a:cubicBezTo>
                  <a:cubicBezTo>
                    <a:pt x="8261" y="3903"/>
                    <a:pt x="8175" y="3916"/>
                    <a:pt x="8098" y="3921"/>
                  </a:cubicBezTo>
                  <a:cubicBezTo>
                    <a:pt x="8084" y="3921"/>
                    <a:pt x="8052" y="3913"/>
                    <a:pt x="8042" y="3915"/>
                  </a:cubicBezTo>
                  <a:cubicBezTo>
                    <a:pt x="7996" y="3927"/>
                    <a:pt x="8006" y="3964"/>
                    <a:pt x="7986" y="3992"/>
                  </a:cubicBezTo>
                  <a:cubicBezTo>
                    <a:pt x="7962" y="4026"/>
                    <a:pt x="7916" y="4020"/>
                    <a:pt x="7886" y="4053"/>
                  </a:cubicBezTo>
                  <a:cubicBezTo>
                    <a:pt x="7846" y="4095"/>
                    <a:pt x="7890" y="4105"/>
                    <a:pt x="7925" y="4141"/>
                  </a:cubicBezTo>
                  <a:cubicBezTo>
                    <a:pt x="7932" y="4148"/>
                    <a:pt x="7947" y="4175"/>
                    <a:pt x="7955" y="4178"/>
                  </a:cubicBezTo>
                  <a:cubicBezTo>
                    <a:pt x="7975" y="4187"/>
                    <a:pt x="8007" y="4175"/>
                    <a:pt x="8031" y="4179"/>
                  </a:cubicBezTo>
                  <a:cubicBezTo>
                    <a:pt x="8055" y="4183"/>
                    <a:pt x="8168" y="4232"/>
                    <a:pt x="8110" y="4244"/>
                  </a:cubicBezTo>
                  <a:cubicBezTo>
                    <a:pt x="8083" y="4249"/>
                    <a:pt x="7994" y="4183"/>
                    <a:pt x="7982" y="4235"/>
                  </a:cubicBezTo>
                  <a:cubicBezTo>
                    <a:pt x="7980" y="4242"/>
                    <a:pt x="8006" y="4262"/>
                    <a:pt x="8013" y="4267"/>
                  </a:cubicBezTo>
                  <a:cubicBezTo>
                    <a:pt x="8018" y="4272"/>
                    <a:pt x="8024" y="4282"/>
                    <a:pt x="8031" y="4285"/>
                  </a:cubicBezTo>
                  <a:cubicBezTo>
                    <a:pt x="8032" y="4286"/>
                    <a:pt x="8074" y="4299"/>
                    <a:pt x="8067" y="4292"/>
                  </a:cubicBezTo>
                  <a:cubicBezTo>
                    <a:pt x="8078" y="4305"/>
                    <a:pt x="8064" y="4361"/>
                    <a:pt x="8125" y="4358"/>
                  </a:cubicBezTo>
                  <a:cubicBezTo>
                    <a:pt x="8151" y="4356"/>
                    <a:pt x="8159" y="4331"/>
                    <a:pt x="8175" y="4327"/>
                  </a:cubicBezTo>
                  <a:cubicBezTo>
                    <a:pt x="8213" y="4317"/>
                    <a:pt x="8200" y="4328"/>
                    <a:pt x="8238" y="4337"/>
                  </a:cubicBezTo>
                  <a:cubicBezTo>
                    <a:pt x="8280" y="4347"/>
                    <a:pt x="8330" y="4344"/>
                    <a:pt x="8373" y="4344"/>
                  </a:cubicBezTo>
                  <a:cubicBezTo>
                    <a:pt x="8389" y="4344"/>
                    <a:pt x="8430" y="4347"/>
                    <a:pt x="8435" y="4352"/>
                  </a:cubicBezTo>
                  <a:cubicBezTo>
                    <a:pt x="8469" y="4380"/>
                    <a:pt x="8397" y="4364"/>
                    <a:pt x="8392" y="4365"/>
                  </a:cubicBezTo>
                  <a:cubicBezTo>
                    <a:pt x="8350" y="4374"/>
                    <a:pt x="8309" y="4392"/>
                    <a:pt x="8260" y="4396"/>
                  </a:cubicBezTo>
                  <a:cubicBezTo>
                    <a:pt x="8281" y="4429"/>
                    <a:pt x="8208" y="4418"/>
                    <a:pt x="8186" y="4431"/>
                  </a:cubicBezTo>
                  <a:cubicBezTo>
                    <a:pt x="8146" y="4454"/>
                    <a:pt x="8235" y="4502"/>
                    <a:pt x="8250" y="4515"/>
                  </a:cubicBezTo>
                  <a:cubicBezTo>
                    <a:pt x="8262" y="4526"/>
                    <a:pt x="8269" y="4539"/>
                    <a:pt x="8283" y="4549"/>
                  </a:cubicBezTo>
                  <a:cubicBezTo>
                    <a:pt x="8314" y="4573"/>
                    <a:pt x="8328" y="4537"/>
                    <a:pt x="8346" y="4541"/>
                  </a:cubicBezTo>
                  <a:cubicBezTo>
                    <a:pt x="8384" y="4551"/>
                    <a:pt x="8334" y="4556"/>
                    <a:pt x="8341" y="4571"/>
                  </a:cubicBezTo>
                  <a:cubicBezTo>
                    <a:pt x="8338" y="4564"/>
                    <a:pt x="8385" y="4609"/>
                    <a:pt x="8385" y="4609"/>
                  </a:cubicBezTo>
                  <a:cubicBezTo>
                    <a:pt x="8431" y="4634"/>
                    <a:pt x="8418" y="4576"/>
                    <a:pt x="8469" y="4611"/>
                  </a:cubicBezTo>
                  <a:cubicBezTo>
                    <a:pt x="8511" y="4639"/>
                    <a:pt x="8551" y="4630"/>
                    <a:pt x="8600" y="4635"/>
                  </a:cubicBezTo>
                  <a:cubicBezTo>
                    <a:pt x="8642" y="4640"/>
                    <a:pt x="8681" y="4655"/>
                    <a:pt x="8728" y="4641"/>
                  </a:cubicBezTo>
                  <a:cubicBezTo>
                    <a:pt x="8792" y="4623"/>
                    <a:pt x="8765" y="4601"/>
                    <a:pt x="8745" y="4565"/>
                  </a:cubicBezTo>
                  <a:cubicBezTo>
                    <a:pt x="8731" y="4540"/>
                    <a:pt x="8746" y="4545"/>
                    <a:pt x="8722" y="4532"/>
                  </a:cubicBezTo>
                  <a:cubicBezTo>
                    <a:pt x="8712" y="4526"/>
                    <a:pt x="8659" y="4530"/>
                    <a:pt x="8656" y="4511"/>
                  </a:cubicBezTo>
                  <a:cubicBezTo>
                    <a:pt x="8655" y="4503"/>
                    <a:pt x="8754" y="4483"/>
                    <a:pt x="8772" y="4488"/>
                  </a:cubicBezTo>
                  <a:cubicBezTo>
                    <a:pt x="8818" y="4500"/>
                    <a:pt x="8815" y="4546"/>
                    <a:pt x="8848" y="4565"/>
                  </a:cubicBezTo>
                  <a:cubicBezTo>
                    <a:pt x="8872" y="4578"/>
                    <a:pt x="8883" y="4541"/>
                    <a:pt x="8898" y="4581"/>
                  </a:cubicBezTo>
                  <a:cubicBezTo>
                    <a:pt x="8904" y="4597"/>
                    <a:pt x="8930" y="4617"/>
                    <a:pt x="8940" y="4592"/>
                  </a:cubicBezTo>
                  <a:cubicBezTo>
                    <a:pt x="8945" y="4581"/>
                    <a:pt x="8889" y="4499"/>
                    <a:pt x="8878" y="4486"/>
                  </a:cubicBezTo>
                  <a:cubicBezTo>
                    <a:pt x="8851" y="4451"/>
                    <a:pt x="8822" y="4428"/>
                    <a:pt x="8791" y="4398"/>
                  </a:cubicBezTo>
                  <a:cubicBezTo>
                    <a:pt x="8771" y="4378"/>
                    <a:pt x="8748" y="4336"/>
                    <a:pt x="8744" y="4313"/>
                  </a:cubicBezTo>
                  <a:cubicBezTo>
                    <a:pt x="8734" y="4257"/>
                    <a:pt x="8761" y="4273"/>
                    <a:pt x="8786" y="4310"/>
                  </a:cubicBezTo>
                  <a:cubicBezTo>
                    <a:pt x="8828" y="4373"/>
                    <a:pt x="8894" y="4419"/>
                    <a:pt x="8941" y="4477"/>
                  </a:cubicBezTo>
                  <a:cubicBezTo>
                    <a:pt x="8979" y="4524"/>
                    <a:pt x="9082" y="4648"/>
                    <a:pt x="9077" y="4520"/>
                  </a:cubicBezTo>
                  <a:cubicBezTo>
                    <a:pt x="9075" y="4443"/>
                    <a:pt x="9088" y="4387"/>
                    <a:pt x="9037" y="4318"/>
                  </a:cubicBezTo>
                  <a:cubicBezTo>
                    <a:pt x="9023" y="4299"/>
                    <a:pt x="8973" y="4236"/>
                    <a:pt x="9014" y="4232"/>
                  </a:cubicBezTo>
                  <a:cubicBezTo>
                    <a:pt x="9043" y="4230"/>
                    <a:pt x="9080" y="4283"/>
                    <a:pt x="9096" y="4299"/>
                  </a:cubicBezTo>
                  <a:cubicBezTo>
                    <a:pt x="9120" y="4323"/>
                    <a:pt x="9131" y="4349"/>
                    <a:pt x="9163" y="4319"/>
                  </a:cubicBezTo>
                  <a:cubicBezTo>
                    <a:pt x="9179" y="4304"/>
                    <a:pt x="9180" y="4273"/>
                    <a:pt x="9178" y="4255"/>
                  </a:cubicBezTo>
                  <a:cubicBezTo>
                    <a:pt x="9172" y="4203"/>
                    <a:pt x="9138" y="4169"/>
                    <a:pt x="9072" y="4190"/>
                  </a:cubicBezTo>
                  <a:cubicBezTo>
                    <a:pt x="9082" y="4174"/>
                    <a:pt x="9102" y="4176"/>
                    <a:pt x="9105" y="4157"/>
                  </a:cubicBezTo>
                  <a:cubicBezTo>
                    <a:pt x="9108" y="4142"/>
                    <a:pt x="9082" y="4114"/>
                    <a:pt x="9075" y="4100"/>
                  </a:cubicBezTo>
                  <a:cubicBezTo>
                    <a:pt x="9059" y="4063"/>
                    <a:pt x="9057" y="4024"/>
                    <a:pt x="9047" y="3986"/>
                  </a:cubicBezTo>
                  <a:cubicBezTo>
                    <a:pt x="9043" y="3970"/>
                    <a:pt x="9029" y="3953"/>
                    <a:pt x="9039" y="3936"/>
                  </a:cubicBezTo>
                  <a:cubicBezTo>
                    <a:pt x="9049" y="3918"/>
                    <a:pt x="9071" y="3924"/>
                    <a:pt x="9081" y="3912"/>
                  </a:cubicBezTo>
                  <a:cubicBezTo>
                    <a:pt x="9107" y="3877"/>
                    <a:pt x="9087" y="3829"/>
                    <a:pt x="9103" y="3895"/>
                  </a:cubicBezTo>
                  <a:cubicBezTo>
                    <a:pt x="9108" y="3916"/>
                    <a:pt x="9092" y="3918"/>
                    <a:pt x="9090" y="3936"/>
                  </a:cubicBezTo>
                  <a:cubicBezTo>
                    <a:pt x="9088" y="3955"/>
                    <a:pt x="9093" y="3966"/>
                    <a:pt x="9098" y="3987"/>
                  </a:cubicBezTo>
                  <a:cubicBezTo>
                    <a:pt x="9108" y="4029"/>
                    <a:pt x="9107" y="4061"/>
                    <a:pt x="9128" y="4102"/>
                  </a:cubicBezTo>
                  <a:cubicBezTo>
                    <a:pt x="9136" y="4119"/>
                    <a:pt x="9181" y="4185"/>
                    <a:pt x="9212" y="4177"/>
                  </a:cubicBezTo>
                  <a:cubicBezTo>
                    <a:pt x="9237" y="4171"/>
                    <a:pt x="9234" y="4094"/>
                    <a:pt x="9239" y="4077"/>
                  </a:cubicBezTo>
                  <a:cubicBezTo>
                    <a:pt x="9247" y="4040"/>
                    <a:pt x="9283" y="4008"/>
                    <a:pt x="9288" y="3971"/>
                  </a:cubicBezTo>
                  <a:cubicBezTo>
                    <a:pt x="9292" y="3937"/>
                    <a:pt x="9262" y="3908"/>
                    <a:pt x="9259" y="3873"/>
                  </a:cubicBezTo>
                  <a:cubicBezTo>
                    <a:pt x="9279" y="3883"/>
                    <a:pt x="9306" y="3924"/>
                    <a:pt x="9331" y="3910"/>
                  </a:cubicBezTo>
                  <a:cubicBezTo>
                    <a:pt x="9350" y="3898"/>
                    <a:pt x="9338" y="3876"/>
                    <a:pt x="9340" y="3862"/>
                  </a:cubicBezTo>
                  <a:cubicBezTo>
                    <a:pt x="9347" y="3821"/>
                    <a:pt x="9359" y="3807"/>
                    <a:pt x="9404" y="3782"/>
                  </a:cubicBezTo>
                  <a:cubicBezTo>
                    <a:pt x="9444" y="3760"/>
                    <a:pt x="9477" y="3740"/>
                    <a:pt x="9510" y="3712"/>
                  </a:cubicBezTo>
                  <a:cubicBezTo>
                    <a:pt x="9530" y="3696"/>
                    <a:pt x="9579" y="3651"/>
                    <a:pt x="9586" y="3628"/>
                  </a:cubicBezTo>
                  <a:cubicBezTo>
                    <a:pt x="9595" y="3598"/>
                    <a:pt x="9553" y="3567"/>
                    <a:pt x="9527" y="3546"/>
                  </a:cubicBezTo>
                  <a:cubicBezTo>
                    <a:pt x="9491" y="3518"/>
                    <a:pt x="9459" y="3495"/>
                    <a:pt x="9433" y="3457"/>
                  </a:cubicBezTo>
                  <a:cubicBezTo>
                    <a:pt x="9419" y="3437"/>
                    <a:pt x="9379" y="3362"/>
                    <a:pt x="9344" y="3393"/>
                  </a:cubicBezTo>
                  <a:cubicBezTo>
                    <a:pt x="9323" y="3411"/>
                    <a:pt x="9357" y="3472"/>
                    <a:pt x="9352" y="3495"/>
                  </a:cubicBezTo>
                  <a:cubicBezTo>
                    <a:pt x="9349" y="3506"/>
                    <a:pt x="9357" y="3517"/>
                    <a:pt x="9346" y="3525"/>
                  </a:cubicBezTo>
                  <a:cubicBezTo>
                    <a:pt x="9310" y="3551"/>
                    <a:pt x="9329" y="3493"/>
                    <a:pt x="9333" y="3501"/>
                  </a:cubicBezTo>
                  <a:cubicBezTo>
                    <a:pt x="9318" y="3471"/>
                    <a:pt x="9317" y="3442"/>
                    <a:pt x="9297" y="3416"/>
                  </a:cubicBezTo>
                  <a:cubicBezTo>
                    <a:pt x="9280" y="3394"/>
                    <a:pt x="9225" y="3363"/>
                    <a:pt x="9190" y="3380"/>
                  </a:cubicBezTo>
                  <a:cubicBezTo>
                    <a:pt x="9139" y="3405"/>
                    <a:pt x="9201" y="3441"/>
                    <a:pt x="9181" y="3473"/>
                  </a:cubicBezTo>
                  <a:cubicBezTo>
                    <a:pt x="9160" y="3450"/>
                    <a:pt x="9143" y="3406"/>
                    <a:pt x="9109" y="3461"/>
                  </a:cubicBezTo>
                  <a:cubicBezTo>
                    <a:pt x="9102" y="3472"/>
                    <a:pt x="9116" y="3506"/>
                    <a:pt x="9098" y="3513"/>
                  </a:cubicBezTo>
                  <a:cubicBezTo>
                    <a:pt x="9069" y="3523"/>
                    <a:pt x="9059" y="3490"/>
                    <a:pt x="9059" y="3476"/>
                  </a:cubicBezTo>
                  <a:cubicBezTo>
                    <a:pt x="9058" y="3454"/>
                    <a:pt x="9079" y="3445"/>
                    <a:pt x="9088" y="3425"/>
                  </a:cubicBezTo>
                  <a:cubicBezTo>
                    <a:pt x="9097" y="3404"/>
                    <a:pt x="9092" y="3393"/>
                    <a:pt x="9091" y="3371"/>
                  </a:cubicBezTo>
                  <a:cubicBezTo>
                    <a:pt x="9089" y="3332"/>
                    <a:pt x="9079" y="3295"/>
                    <a:pt x="9076" y="3256"/>
                  </a:cubicBezTo>
                  <a:cubicBezTo>
                    <a:pt x="9075" y="3234"/>
                    <a:pt x="9085" y="3185"/>
                    <a:pt x="9055" y="3201"/>
                  </a:cubicBezTo>
                  <a:cubicBezTo>
                    <a:pt x="9042" y="3208"/>
                    <a:pt x="9039" y="3241"/>
                    <a:pt x="9022" y="3252"/>
                  </a:cubicBezTo>
                  <a:cubicBezTo>
                    <a:pt x="8986" y="3276"/>
                    <a:pt x="9008" y="3256"/>
                    <a:pt x="9009" y="3247"/>
                  </a:cubicBezTo>
                  <a:cubicBezTo>
                    <a:pt x="9011" y="3213"/>
                    <a:pt x="9053" y="3187"/>
                    <a:pt x="9044" y="3156"/>
                  </a:cubicBezTo>
                  <a:cubicBezTo>
                    <a:pt x="9040" y="3143"/>
                    <a:pt x="8987" y="3087"/>
                    <a:pt x="8970" y="3082"/>
                  </a:cubicBezTo>
                  <a:cubicBezTo>
                    <a:pt x="8937" y="3073"/>
                    <a:pt x="8891" y="3110"/>
                    <a:pt x="8870" y="3106"/>
                  </a:cubicBezTo>
                  <a:cubicBezTo>
                    <a:pt x="8816" y="3093"/>
                    <a:pt x="8852" y="3051"/>
                    <a:pt x="8867" y="3036"/>
                  </a:cubicBezTo>
                  <a:cubicBezTo>
                    <a:pt x="8895" y="3008"/>
                    <a:pt x="8908" y="3004"/>
                    <a:pt x="8894" y="2964"/>
                  </a:cubicBezTo>
                  <a:cubicBezTo>
                    <a:pt x="8884" y="2934"/>
                    <a:pt x="8871" y="2904"/>
                    <a:pt x="8860" y="2875"/>
                  </a:cubicBezTo>
                  <a:cubicBezTo>
                    <a:pt x="8845" y="2837"/>
                    <a:pt x="8839" y="2831"/>
                    <a:pt x="8788" y="2825"/>
                  </a:cubicBezTo>
                  <a:cubicBezTo>
                    <a:pt x="8741" y="2820"/>
                    <a:pt x="8708" y="2815"/>
                    <a:pt x="8684" y="2850"/>
                  </a:cubicBezTo>
                  <a:cubicBezTo>
                    <a:pt x="8667" y="2876"/>
                    <a:pt x="8677" y="2915"/>
                    <a:pt x="8688" y="2940"/>
                  </a:cubicBezTo>
                  <a:cubicBezTo>
                    <a:pt x="8704" y="2977"/>
                    <a:pt x="8774" y="2995"/>
                    <a:pt x="8783" y="3025"/>
                  </a:cubicBezTo>
                  <a:cubicBezTo>
                    <a:pt x="8779" y="3024"/>
                    <a:pt x="8773" y="3023"/>
                    <a:pt x="8768" y="3023"/>
                  </a:cubicBezTo>
                  <a:cubicBezTo>
                    <a:pt x="8781" y="3044"/>
                    <a:pt x="8805" y="3064"/>
                    <a:pt x="8817" y="3087"/>
                  </a:cubicBezTo>
                  <a:cubicBezTo>
                    <a:pt x="8798" y="3079"/>
                    <a:pt x="8782" y="3067"/>
                    <a:pt x="8768" y="3057"/>
                  </a:cubicBezTo>
                  <a:cubicBezTo>
                    <a:pt x="8790" y="3129"/>
                    <a:pt x="8665" y="3052"/>
                    <a:pt x="8640" y="3031"/>
                  </a:cubicBezTo>
                  <a:cubicBezTo>
                    <a:pt x="8588" y="2986"/>
                    <a:pt x="8597" y="2950"/>
                    <a:pt x="8599" y="2898"/>
                  </a:cubicBezTo>
                  <a:cubicBezTo>
                    <a:pt x="8600" y="2890"/>
                    <a:pt x="8597" y="2868"/>
                    <a:pt x="8581" y="2879"/>
                  </a:cubicBezTo>
                  <a:cubicBezTo>
                    <a:pt x="8562" y="2892"/>
                    <a:pt x="8579" y="2856"/>
                    <a:pt x="8579" y="2855"/>
                  </a:cubicBezTo>
                  <a:cubicBezTo>
                    <a:pt x="8576" y="2829"/>
                    <a:pt x="8591" y="2825"/>
                    <a:pt x="8562" y="2799"/>
                  </a:cubicBezTo>
                  <a:cubicBezTo>
                    <a:pt x="8528" y="2768"/>
                    <a:pt x="8515" y="2769"/>
                    <a:pt x="8482" y="2785"/>
                  </a:cubicBezTo>
                  <a:cubicBezTo>
                    <a:pt x="8443" y="2805"/>
                    <a:pt x="8459" y="2794"/>
                    <a:pt x="8472" y="2837"/>
                  </a:cubicBezTo>
                  <a:cubicBezTo>
                    <a:pt x="8451" y="2824"/>
                    <a:pt x="8433" y="2807"/>
                    <a:pt x="8418" y="2789"/>
                  </a:cubicBezTo>
                  <a:cubicBezTo>
                    <a:pt x="8394" y="2787"/>
                    <a:pt x="8295" y="2793"/>
                    <a:pt x="8280" y="2772"/>
                  </a:cubicBezTo>
                  <a:cubicBezTo>
                    <a:pt x="8270" y="2757"/>
                    <a:pt x="8301" y="2731"/>
                    <a:pt x="8298" y="2715"/>
                  </a:cubicBezTo>
                  <a:cubicBezTo>
                    <a:pt x="8289" y="2668"/>
                    <a:pt x="8210" y="2650"/>
                    <a:pt x="8182" y="2616"/>
                  </a:cubicBezTo>
                  <a:cubicBezTo>
                    <a:pt x="8147" y="2574"/>
                    <a:pt x="8112" y="2526"/>
                    <a:pt x="8084" y="2480"/>
                  </a:cubicBezTo>
                  <a:cubicBezTo>
                    <a:pt x="8068" y="2453"/>
                    <a:pt x="8022" y="2427"/>
                    <a:pt x="8012" y="2402"/>
                  </a:cubicBezTo>
                  <a:cubicBezTo>
                    <a:pt x="8008" y="2393"/>
                    <a:pt x="8032" y="2397"/>
                    <a:pt x="8029" y="2391"/>
                  </a:cubicBezTo>
                  <a:cubicBezTo>
                    <a:pt x="8026" y="2382"/>
                    <a:pt x="8018" y="2372"/>
                    <a:pt x="8016" y="2362"/>
                  </a:cubicBezTo>
                  <a:cubicBezTo>
                    <a:pt x="7998" y="2289"/>
                    <a:pt x="7846" y="2210"/>
                    <a:pt x="7751" y="2191"/>
                  </a:cubicBezTo>
                  <a:cubicBezTo>
                    <a:pt x="7664" y="2174"/>
                    <a:pt x="7745" y="2251"/>
                    <a:pt x="7694" y="2224"/>
                  </a:cubicBezTo>
                  <a:cubicBezTo>
                    <a:pt x="7680" y="2217"/>
                    <a:pt x="7648" y="2203"/>
                    <a:pt x="7630" y="2206"/>
                  </a:cubicBezTo>
                  <a:cubicBezTo>
                    <a:pt x="7589" y="2212"/>
                    <a:pt x="7610" y="2223"/>
                    <a:pt x="7601" y="2243"/>
                  </a:cubicBezTo>
                  <a:cubicBezTo>
                    <a:pt x="7580" y="2292"/>
                    <a:pt x="7613" y="2354"/>
                    <a:pt x="7698" y="2324"/>
                  </a:cubicBezTo>
                  <a:cubicBezTo>
                    <a:pt x="7773" y="2299"/>
                    <a:pt x="7801" y="2326"/>
                    <a:pt x="7798" y="2377"/>
                  </a:cubicBezTo>
                  <a:cubicBezTo>
                    <a:pt x="7797" y="2406"/>
                    <a:pt x="7813" y="2405"/>
                    <a:pt x="7773" y="2419"/>
                  </a:cubicBezTo>
                  <a:cubicBezTo>
                    <a:pt x="7744" y="2430"/>
                    <a:pt x="7742" y="2416"/>
                    <a:pt x="7707" y="2413"/>
                  </a:cubicBezTo>
                  <a:cubicBezTo>
                    <a:pt x="7693" y="2412"/>
                    <a:pt x="7612" y="2410"/>
                    <a:pt x="7610" y="2413"/>
                  </a:cubicBezTo>
                  <a:cubicBezTo>
                    <a:pt x="7596" y="2428"/>
                    <a:pt x="7678" y="2455"/>
                    <a:pt x="7687" y="2461"/>
                  </a:cubicBezTo>
                  <a:cubicBezTo>
                    <a:pt x="7681" y="2461"/>
                    <a:pt x="7672" y="2461"/>
                    <a:pt x="7667" y="2461"/>
                  </a:cubicBezTo>
                  <a:cubicBezTo>
                    <a:pt x="7672" y="2464"/>
                    <a:pt x="7681" y="2471"/>
                    <a:pt x="7686" y="2476"/>
                  </a:cubicBezTo>
                  <a:cubicBezTo>
                    <a:pt x="7670" y="2479"/>
                    <a:pt x="7665" y="2479"/>
                    <a:pt x="7655" y="2488"/>
                  </a:cubicBezTo>
                  <a:cubicBezTo>
                    <a:pt x="7659" y="2485"/>
                    <a:pt x="7617" y="2514"/>
                    <a:pt x="7627" y="2511"/>
                  </a:cubicBezTo>
                  <a:cubicBezTo>
                    <a:pt x="7590" y="2523"/>
                    <a:pt x="7612" y="2518"/>
                    <a:pt x="7578" y="2498"/>
                  </a:cubicBezTo>
                  <a:cubicBezTo>
                    <a:pt x="7552" y="2483"/>
                    <a:pt x="7535" y="2459"/>
                    <a:pt x="7509" y="2478"/>
                  </a:cubicBezTo>
                  <a:cubicBezTo>
                    <a:pt x="7471" y="2507"/>
                    <a:pt x="7482" y="2521"/>
                    <a:pt x="7469" y="2560"/>
                  </a:cubicBezTo>
                  <a:cubicBezTo>
                    <a:pt x="7459" y="2589"/>
                    <a:pt x="7427" y="2613"/>
                    <a:pt x="7500" y="2603"/>
                  </a:cubicBezTo>
                  <a:cubicBezTo>
                    <a:pt x="7485" y="2627"/>
                    <a:pt x="7410" y="2649"/>
                    <a:pt x="7467" y="2673"/>
                  </a:cubicBezTo>
                  <a:cubicBezTo>
                    <a:pt x="7486" y="2682"/>
                    <a:pt x="7586" y="2646"/>
                    <a:pt x="7544" y="2674"/>
                  </a:cubicBezTo>
                  <a:cubicBezTo>
                    <a:pt x="7517" y="2693"/>
                    <a:pt x="7578" y="2722"/>
                    <a:pt x="7607" y="2721"/>
                  </a:cubicBezTo>
                  <a:cubicBezTo>
                    <a:pt x="7632" y="2720"/>
                    <a:pt x="7640" y="2705"/>
                    <a:pt x="7659" y="2706"/>
                  </a:cubicBezTo>
                  <a:cubicBezTo>
                    <a:pt x="7652" y="2706"/>
                    <a:pt x="7693" y="2725"/>
                    <a:pt x="7700" y="2726"/>
                  </a:cubicBezTo>
                  <a:cubicBezTo>
                    <a:pt x="7678" y="2737"/>
                    <a:pt x="7619" y="2737"/>
                    <a:pt x="7608" y="2756"/>
                  </a:cubicBezTo>
                  <a:cubicBezTo>
                    <a:pt x="7598" y="2775"/>
                    <a:pt x="7621" y="2802"/>
                    <a:pt x="7646" y="2805"/>
                  </a:cubicBezTo>
                  <a:cubicBezTo>
                    <a:pt x="7676" y="2808"/>
                    <a:pt x="7772" y="2824"/>
                    <a:pt x="7763" y="2858"/>
                  </a:cubicBezTo>
                  <a:cubicBezTo>
                    <a:pt x="7760" y="2868"/>
                    <a:pt x="7618" y="2865"/>
                    <a:pt x="7591" y="2847"/>
                  </a:cubicBezTo>
                  <a:cubicBezTo>
                    <a:pt x="7555" y="2824"/>
                    <a:pt x="7547" y="2827"/>
                    <a:pt x="7501" y="2833"/>
                  </a:cubicBezTo>
                  <a:cubicBezTo>
                    <a:pt x="7472" y="2836"/>
                    <a:pt x="7443" y="2841"/>
                    <a:pt x="7415" y="2847"/>
                  </a:cubicBezTo>
                  <a:cubicBezTo>
                    <a:pt x="7374" y="2855"/>
                    <a:pt x="7397" y="2854"/>
                    <a:pt x="7392" y="2872"/>
                  </a:cubicBezTo>
                  <a:cubicBezTo>
                    <a:pt x="7393" y="2870"/>
                    <a:pt x="7400" y="2908"/>
                    <a:pt x="7400" y="2911"/>
                  </a:cubicBezTo>
                  <a:cubicBezTo>
                    <a:pt x="7401" y="2917"/>
                    <a:pt x="7377" y="2919"/>
                    <a:pt x="7382" y="2929"/>
                  </a:cubicBezTo>
                  <a:cubicBezTo>
                    <a:pt x="7385" y="2935"/>
                    <a:pt x="7404" y="2937"/>
                    <a:pt x="7409" y="2943"/>
                  </a:cubicBezTo>
                  <a:cubicBezTo>
                    <a:pt x="7429" y="2966"/>
                    <a:pt x="7490" y="2993"/>
                    <a:pt x="7499" y="3013"/>
                  </a:cubicBezTo>
                  <a:cubicBezTo>
                    <a:pt x="7518" y="3052"/>
                    <a:pt x="7420" y="2995"/>
                    <a:pt x="7385" y="3009"/>
                  </a:cubicBezTo>
                  <a:cubicBezTo>
                    <a:pt x="7365" y="3017"/>
                    <a:pt x="7364" y="3046"/>
                    <a:pt x="7364" y="3047"/>
                  </a:cubicBezTo>
                  <a:cubicBezTo>
                    <a:pt x="7343" y="3054"/>
                    <a:pt x="7303" y="3023"/>
                    <a:pt x="7291" y="3044"/>
                  </a:cubicBezTo>
                  <a:cubicBezTo>
                    <a:pt x="7281" y="3060"/>
                    <a:pt x="7322" y="3055"/>
                    <a:pt x="7323" y="3060"/>
                  </a:cubicBezTo>
                  <a:cubicBezTo>
                    <a:pt x="7325" y="3065"/>
                    <a:pt x="7314" y="3089"/>
                    <a:pt x="7317" y="3092"/>
                  </a:cubicBezTo>
                  <a:cubicBezTo>
                    <a:pt x="7325" y="3102"/>
                    <a:pt x="7357" y="3114"/>
                    <a:pt x="7380" y="3126"/>
                  </a:cubicBezTo>
                  <a:cubicBezTo>
                    <a:pt x="7422" y="3150"/>
                    <a:pt x="7418" y="3148"/>
                    <a:pt x="7457" y="3138"/>
                  </a:cubicBezTo>
                  <a:cubicBezTo>
                    <a:pt x="7466" y="3135"/>
                    <a:pt x="7469" y="3123"/>
                    <a:pt x="7478" y="3120"/>
                  </a:cubicBezTo>
                  <a:cubicBezTo>
                    <a:pt x="7489" y="3115"/>
                    <a:pt x="7493" y="3124"/>
                    <a:pt x="7493" y="3124"/>
                  </a:cubicBezTo>
                  <a:cubicBezTo>
                    <a:pt x="7502" y="3121"/>
                    <a:pt x="7525" y="3125"/>
                    <a:pt x="7544" y="3111"/>
                  </a:cubicBezTo>
                  <a:cubicBezTo>
                    <a:pt x="7517" y="3142"/>
                    <a:pt x="7469" y="3146"/>
                    <a:pt x="7493" y="3179"/>
                  </a:cubicBezTo>
                  <a:cubicBezTo>
                    <a:pt x="7518" y="3211"/>
                    <a:pt x="7568" y="3204"/>
                    <a:pt x="7604" y="3188"/>
                  </a:cubicBezTo>
                  <a:cubicBezTo>
                    <a:pt x="7626" y="3178"/>
                    <a:pt x="7650" y="3160"/>
                    <a:pt x="7659" y="3141"/>
                  </a:cubicBezTo>
                  <a:cubicBezTo>
                    <a:pt x="7678" y="3098"/>
                    <a:pt x="7679" y="3140"/>
                    <a:pt x="7719" y="3139"/>
                  </a:cubicBezTo>
                  <a:cubicBezTo>
                    <a:pt x="7704" y="3170"/>
                    <a:pt x="7642" y="3198"/>
                    <a:pt x="7654" y="3231"/>
                  </a:cubicBezTo>
                  <a:cubicBezTo>
                    <a:pt x="7665" y="3260"/>
                    <a:pt x="7718" y="3269"/>
                    <a:pt x="7722" y="3300"/>
                  </a:cubicBezTo>
                  <a:cubicBezTo>
                    <a:pt x="7691" y="3295"/>
                    <a:pt x="7668" y="3271"/>
                    <a:pt x="7636" y="3267"/>
                  </a:cubicBezTo>
                  <a:cubicBezTo>
                    <a:pt x="7602" y="3263"/>
                    <a:pt x="7555" y="3275"/>
                    <a:pt x="7517" y="3272"/>
                  </a:cubicBezTo>
                  <a:close/>
                  <a:moveTo>
                    <a:pt x="9098" y="5614"/>
                  </a:moveTo>
                  <a:cubicBezTo>
                    <a:pt x="9051" y="5583"/>
                    <a:pt x="8965" y="5607"/>
                    <a:pt x="8941" y="5651"/>
                  </a:cubicBezTo>
                  <a:cubicBezTo>
                    <a:pt x="8906" y="5717"/>
                    <a:pt x="9056" y="5830"/>
                    <a:pt x="9120" y="5865"/>
                  </a:cubicBezTo>
                  <a:cubicBezTo>
                    <a:pt x="9125" y="5814"/>
                    <a:pt x="9165" y="5872"/>
                    <a:pt x="9178" y="5836"/>
                  </a:cubicBezTo>
                  <a:cubicBezTo>
                    <a:pt x="9181" y="5828"/>
                    <a:pt x="9129" y="5782"/>
                    <a:pt x="9124" y="5763"/>
                  </a:cubicBezTo>
                  <a:cubicBezTo>
                    <a:pt x="9108" y="5705"/>
                    <a:pt x="9181" y="5669"/>
                    <a:pt x="9098" y="5614"/>
                  </a:cubicBezTo>
                  <a:close/>
                  <a:moveTo>
                    <a:pt x="6942" y="5968"/>
                  </a:moveTo>
                  <a:cubicBezTo>
                    <a:pt x="6931" y="5959"/>
                    <a:pt x="6899" y="5949"/>
                    <a:pt x="6894" y="5945"/>
                  </a:cubicBezTo>
                  <a:cubicBezTo>
                    <a:pt x="6884" y="5935"/>
                    <a:pt x="6932" y="5922"/>
                    <a:pt x="6887" y="5915"/>
                  </a:cubicBezTo>
                  <a:cubicBezTo>
                    <a:pt x="6868" y="5912"/>
                    <a:pt x="6858" y="5931"/>
                    <a:pt x="6835" y="5931"/>
                  </a:cubicBezTo>
                  <a:cubicBezTo>
                    <a:pt x="6819" y="5931"/>
                    <a:pt x="6799" y="5916"/>
                    <a:pt x="6781" y="5914"/>
                  </a:cubicBezTo>
                  <a:cubicBezTo>
                    <a:pt x="6733" y="5911"/>
                    <a:pt x="6688" y="5942"/>
                    <a:pt x="6657" y="5969"/>
                  </a:cubicBezTo>
                  <a:cubicBezTo>
                    <a:pt x="6643" y="5982"/>
                    <a:pt x="6650" y="5987"/>
                    <a:pt x="6635" y="5999"/>
                  </a:cubicBezTo>
                  <a:cubicBezTo>
                    <a:pt x="6614" y="6016"/>
                    <a:pt x="6592" y="6003"/>
                    <a:pt x="6597" y="6034"/>
                  </a:cubicBezTo>
                  <a:cubicBezTo>
                    <a:pt x="6598" y="6045"/>
                    <a:pt x="6652" y="6108"/>
                    <a:pt x="6666" y="6113"/>
                  </a:cubicBezTo>
                  <a:cubicBezTo>
                    <a:pt x="6685" y="6121"/>
                    <a:pt x="6770" y="6111"/>
                    <a:pt x="6785" y="6107"/>
                  </a:cubicBezTo>
                  <a:cubicBezTo>
                    <a:pt x="6779" y="6131"/>
                    <a:pt x="6809" y="6153"/>
                    <a:pt x="6837" y="6152"/>
                  </a:cubicBezTo>
                  <a:cubicBezTo>
                    <a:pt x="6800" y="6172"/>
                    <a:pt x="6854" y="6178"/>
                    <a:pt x="6857" y="6176"/>
                  </a:cubicBezTo>
                  <a:cubicBezTo>
                    <a:pt x="6834" y="6194"/>
                    <a:pt x="6798" y="6171"/>
                    <a:pt x="6779" y="6158"/>
                  </a:cubicBezTo>
                  <a:cubicBezTo>
                    <a:pt x="6784" y="6166"/>
                    <a:pt x="6793" y="6180"/>
                    <a:pt x="6805" y="6187"/>
                  </a:cubicBezTo>
                  <a:cubicBezTo>
                    <a:pt x="6776" y="6189"/>
                    <a:pt x="6719" y="6166"/>
                    <a:pt x="6707" y="6199"/>
                  </a:cubicBezTo>
                  <a:cubicBezTo>
                    <a:pt x="6698" y="6224"/>
                    <a:pt x="6754" y="6244"/>
                    <a:pt x="6779" y="6247"/>
                  </a:cubicBezTo>
                  <a:cubicBezTo>
                    <a:pt x="6838" y="6254"/>
                    <a:pt x="6806" y="6234"/>
                    <a:pt x="6862" y="6263"/>
                  </a:cubicBezTo>
                  <a:cubicBezTo>
                    <a:pt x="6908" y="6286"/>
                    <a:pt x="6914" y="6266"/>
                    <a:pt x="6963" y="6268"/>
                  </a:cubicBezTo>
                  <a:cubicBezTo>
                    <a:pt x="6951" y="6273"/>
                    <a:pt x="6919" y="6293"/>
                    <a:pt x="6907" y="6295"/>
                  </a:cubicBezTo>
                  <a:cubicBezTo>
                    <a:pt x="6887" y="6297"/>
                    <a:pt x="6884" y="6288"/>
                    <a:pt x="6860" y="6283"/>
                  </a:cubicBezTo>
                  <a:cubicBezTo>
                    <a:pt x="6820" y="6275"/>
                    <a:pt x="6813" y="6272"/>
                    <a:pt x="6781" y="6292"/>
                  </a:cubicBezTo>
                  <a:cubicBezTo>
                    <a:pt x="6807" y="6311"/>
                    <a:pt x="6815" y="6352"/>
                    <a:pt x="6830" y="6371"/>
                  </a:cubicBezTo>
                  <a:cubicBezTo>
                    <a:pt x="6841" y="6385"/>
                    <a:pt x="6862" y="6413"/>
                    <a:pt x="6868" y="6434"/>
                  </a:cubicBezTo>
                  <a:cubicBezTo>
                    <a:pt x="6889" y="6418"/>
                    <a:pt x="6936" y="6404"/>
                    <a:pt x="6963" y="6410"/>
                  </a:cubicBezTo>
                  <a:cubicBezTo>
                    <a:pt x="6938" y="6415"/>
                    <a:pt x="6864" y="6458"/>
                    <a:pt x="6859" y="6475"/>
                  </a:cubicBezTo>
                  <a:cubicBezTo>
                    <a:pt x="6835" y="6435"/>
                    <a:pt x="6820" y="6468"/>
                    <a:pt x="6801" y="6452"/>
                  </a:cubicBezTo>
                  <a:cubicBezTo>
                    <a:pt x="6797" y="6448"/>
                    <a:pt x="6816" y="6435"/>
                    <a:pt x="6811" y="6428"/>
                  </a:cubicBezTo>
                  <a:cubicBezTo>
                    <a:pt x="6803" y="6417"/>
                    <a:pt x="6790" y="6406"/>
                    <a:pt x="6781" y="6394"/>
                  </a:cubicBezTo>
                  <a:cubicBezTo>
                    <a:pt x="6763" y="6368"/>
                    <a:pt x="6753" y="6357"/>
                    <a:pt x="6725" y="6338"/>
                  </a:cubicBezTo>
                  <a:cubicBezTo>
                    <a:pt x="6715" y="6331"/>
                    <a:pt x="6690" y="6341"/>
                    <a:pt x="6687" y="6327"/>
                  </a:cubicBezTo>
                  <a:cubicBezTo>
                    <a:pt x="6688" y="6331"/>
                    <a:pt x="6724" y="6308"/>
                    <a:pt x="6726" y="6303"/>
                  </a:cubicBezTo>
                  <a:cubicBezTo>
                    <a:pt x="6702" y="6306"/>
                    <a:pt x="6683" y="6321"/>
                    <a:pt x="6659" y="6320"/>
                  </a:cubicBezTo>
                  <a:cubicBezTo>
                    <a:pt x="6707" y="6288"/>
                    <a:pt x="6631" y="6240"/>
                    <a:pt x="6599" y="6219"/>
                  </a:cubicBezTo>
                  <a:cubicBezTo>
                    <a:pt x="6565" y="6198"/>
                    <a:pt x="6572" y="6224"/>
                    <a:pt x="6567" y="6186"/>
                  </a:cubicBezTo>
                  <a:cubicBezTo>
                    <a:pt x="6562" y="6156"/>
                    <a:pt x="6570" y="6155"/>
                    <a:pt x="6552" y="6128"/>
                  </a:cubicBezTo>
                  <a:cubicBezTo>
                    <a:pt x="6527" y="6093"/>
                    <a:pt x="6458" y="6041"/>
                    <a:pt x="6395" y="6057"/>
                  </a:cubicBezTo>
                  <a:cubicBezTo>
                    <a:pt x="6369" y="6063"/>
                    <a:pt x="6355" y="6092"/>
                    <a:pt x="6348" y="6106"/>
                  </a:cubicBezTo>
                  <a:cubicBezTo>
                    <a:pt x="6343" y="6114"/>
                    <a:pt x="6384" y="6135"/>
                    <a:pt x="6345" y="6125"/>
                  </a:cubicBezTo>
                  <a:cubicBezTo>
                    <a:pt x="6347" y="6148"/>
                    <a:pt x="6345" y="6167"/>
                    <a:pt x="6315" y="6178"/>
                  </a:cubicBezTo>
                  <a:cubicBezTo>
                    <a:pt x="6357" y="6176"/>
                    <a:pt x="6330" y="6194"/>
                    <a:pt x="6337" y="6206"/>
                  </a:cubicBezTo>
                  <a:cubicBezTo>
                    <a:pt x="6338" y="6209"/>
                    <a:pt x="6311" y="6216"/>
                    <a:pt x="6326" y="6229"/>
                  </a:cubicBezTo>
                  <a:cubicBezTo>
                    <a:pt x="6336" y="6238"/>
                    <a:pt x="6346" y="6229"/>
                    <a:pt x="6356" y="6231"/>
                  </a:cubicBezTo>
                  <a:cubicBezTo>
                    <a:pt x="6389" y="6239"/>
                    <a:pt x="6467" y="6225"/>
                    <a:pt x="6498" y="6208"/>
                  </a:cubicBezTo>
                  <a:cubicBezTo>
                    <a:pt x="6472" y="6266"/>
                    <a:pt x="6363" y="6267"/>
                    <a:pt x="6383" y="6348"/>
                  </a:cubicBezTo>
                  <a:cubicBezTo>
                    <a:pt x="6397" y="6402"/>
                    <a:pt x="6472" y="6427"/>
                    <a:pt x="6516" y="6380"/>
                  </a:cubicBezTo>
                  <a:cubicBezTo>
                    <a:pt x="6517" y="6403"/>
                    <a:pt x="6485" y="6414"/>
                    <a:pt x="6472" y="6434"/>
                  </a:cubicBezTo>
                  <a:cubicBezTo>
                    <a:pt x="6451" y="6466"/>
                    <a:pt x="6462" y="6475"/>
                    <a:pt x="6486" y="6501"/>
                  </a:cubicBezTo>
                  <a:cubicBezTo>
                    <a:pt x="6492" y="6508"/>
                    <a:pt x="6509" y="6516"/>
                    <a:pt x="6517" y="6526"/>
                  </a:cubicBezTo>
                  <a:cubicBezTo>
                    <a:pt x="6530" y="6540"/>
                    <a:pt x="6502" y="6550"/>
                    <a:pt x="6524" y="6559"/>
                  </a:cubicBezTo>
                  <a:cubicBezTo>
                    <a:pt x="6551" y="6569"/>
                    <a:pt x="6590" y="6535"/>
                    <a:pt x="6615" y="6532"/>
                  </a:cubicBezTo>
                  <a:cubicBezTo>
                    <a:pt x="6603" y="6559"/>
                    <a:pt x="6528" y="6584"/>
                    <a:pt x="6498" y="6572"/>
                  </a:cubicBezTo>
                  <a:cubicBezTo>
                    <a:pt x="6477" y="6564"/>
                    <a:pt x="6495" y="6555"/>
                    <a:pt x="6486" y="6546"/>
                  </a:cubicBezTo>
                  <a:cubicBezTo>
                    <a:pt x="6479" y="6539"/>
                    <a:pt x="6467" y="6530"/>
                    <a:pt x="6460" y="6523"/>
                  </a:cubicBezTo>
                  <a:cubicBezTo>
                    <a:pt x="6434" y="6495"/>
                    <a:pt x="6410" y="6473"/>
                    <a:pt x="6374" y="6472"/>
                  </a:cubicBezTo>
                  <a:cubicBezTo>
                    <a:pt x="6338" y="6471"/>
                    <a:pt x="6229" y="6516"/>
                    <a:pt x="6275" y="6552"/>
                  </a:cubicBezTo>
                  <a:cubicBezTo>
                    <a:pt x="6285" y="6560"/>
                    <a:pt x="6307" y="6544"/>
                    <a:pt x="6313" y="6549"/>
                  </a:cubicBezTo>
                  <a:cubicBezTo>
                    <a:pt x="6333" y="6565"/>
                    <a:pt x="6308" y="6553"/>
                    <a:pt x="6316" y="6565"/>
                  </a:cubicBezTo>
                  <a:cubicBezTo>
                    <a:pt x="6324" y="6578"/>
                    <a:pt x="6323" y="6602"/>
                    <a:pt x="6352" y="6614"/>
                  </a:cubicBezTo>
                  <a:cubicBezTo>
                    <a:pt x="6315" y="6623"/>
                    <a:pt x="6275" y="6580"/>
                    <a:pt x="6227" y="6600"/>
                  </a:cubicBezTo>
                  <a:cubicBezTo>
                    <a:pt x="6239" y="6595"/>
                    <a:pt x="6196" y="6638"/>
                    <a:pt x="6199" y="6630"/>
                  </a:cubicBezTo>
                  <a:cubicBezTo>
                    <a:pt x="6193" y="6647"/>
                    <a:pt x="6191" y="6659"/>
                    <a:pt x="6200" y="6676"/>
                  </a:cubicBezTo>
                  <a:cubicBezTo>
                    <a:pt x="6112" y="6642"/>
                    <a:pt x="6179" y="6704"/>
                    <a:pt x="6172" y="6723"/>
                  </a:cubicBezTo>
                  <a:cubicBezTo>
                    <a:pt x="6173" y="6722"/>
                    <a:pt x="6196" y="6763"/>
                    <a:pt x="6195" y="6763"/>
                  </a:cubicBezTo>
                  <a:cubicBezTo>
                    <a:pt x="6222" y="6770"/>
                    <a:pt x="6235" y="6746"/>
                    <a:pt x="6259" y="6735"/>
                  </a:cubicBezTo>
                  <a:cubicBezTo>
                    <a:pt x="6298" y="6719"/>
                    <a:pt x="6336" y="6729"/>
                    <a:pt x="6375" y="6723"/>
                  </a:cubicBezTo>
                  <a:cubicBezTo>
                    <a:pt x="6395" y="6720"/>
                    <a:pt x="6499" y="6676"/>
                    <a:pt x="6505" y="6696"/>
                  </a:cubicBezTo>
                  <a:cubicBezTo>
                    <a:pt x="6509" y="6712"/>
                    <a:pt x="6671" y="6662"/>
                    <a:pt x="6706" y="6653"/>
                  </a:cubicBezTo>
                  <a:cubicBezTo>
                    <a:pt x="6737" y="6644"/>
                    <a:pt x="6783" y="6647"/>
                    <a:pt x="6822" y="6638"/>
                  </a:cubicBezTo>
                  <a:cubicBezTo>
                    <a:pt x="6860" y="6630"/>
                    <a:pt x="6903" y="6609"/>
                    <a:pt x="6943" y="6613"/>
                  </a:cubicBezTo>
                  <a:cubicBezTo>
                    <a:pt x="6939" y="6617"/>
                    <a:pt x="6931" y="6622"/>
                    <a:pt x="6926" y="6626"/>
                  </a:cubicBezTo>
                  <a:cubicBezTo>
                    <a:pt x="6971" y="6629"/>
                    <a:pt x="7028" y="6593"/>
                    <a:pt x="7076" y="6599"/>
                  </a:cubicBezTo>
                  <a:cubicBezTo>
                    <a:pt x="7156" y="6609"/>
                    <a:pt x="7034" y="6618"/>
                    <a:pt x="7012" y="6620"/>
                  </a:cubicBezTo>
                  <a:cubicBezTo>
                    <a:pt x="6979" y="6624"/>
                    <a:pt x="6880" y="6633"/>
                    <a:pt x="6881" y="6666"/>
                  </a:cubicBezTo>
                  <a:cubicBezTo>
                    <a:pt x="6882" y="6685"/>
                    <a:pt x="6934" y="6657"/>
                    <a:pt x="6907" y="6691"/>
                  </a:cubicBezTo>
                  <a:cubicBezTo>
                    <a:pt x="6902" y="6697"/>
                    <a:pt x="6850" y="6715"/>
                    <a:pt x="6838" y="6720"/>
                  </a:cubicBezTo>
                  <a:cubicBezTo>
                    <a:pt x="6849" y="6721"/>
                    <a:pt x="6871" y="6726"/>
                    <a:pt x="6883" y="6724"/>
                  </a:cubicBezTo>
                  <a:cubicBezTo>
                    <a:pt x="6851" y="6735"/>
                    <a:pt x="6811" y="6736"/>
                    <a:pt x="6781" y="6747"/>
                  </a:cubicBezTo>
                  <a:cubicBezTo>
                    <a:pt x="6803" y="6756"/>
                    <a:pt x="6831" y="6756"/>
                    <a:pt x="6855" y="6761"/>
                  </a:cubicBezTo>
                  <a:cubicBezTo>
                    <a:pt x="6836" y="6776"/>
                    <a:pt x="6801" y="6769"/>
                    <a:pt x="6776" y="6778"/>
                  </a:cubicBezTo>
                  <a:cubicBezTo>
                    <a:pt x="6796" y="6782"/>
                    <a:pt x="6819" y="6780"/>
                    <a:pt x="6841" y="6783"/>
                  </a:cubicBezTo>
                  <a:cubicBezTo>
                    <a:pt x="6808" y="6811"/>
                    <a:pt x="6721" y="6794"/>
                    <a:pt x="6677" y="6811"/>
                  </a:cubicBezTo>
                  <a:cubicBezTo>
                    <a:pt x="6700" y="6816"/>
                    <a:pt x="6745" y="6841"/>
                    <a:pt x="6734" y="6858"/>
                  </a:cubicBezTo>
                  <a:cubicBezTo>
                    <a:pt x="6730" y="6864"/>
                    <a:pt x="6678" y="6882"/>
                    <a:pt x="6696" y="6852"/>
                  </a:cubicBezTo>
                  <a:cubicBezTo>
                    <a:pt x="6652" y="6858"/>
                    <a:pt x="6670" y="6878"/>
                    <a:pt x="6693" y="6893"/>
                  </a:cubicBezTo>
                  <a:cubicBezTo>
                    <a:pt x="6727" y="6915"/>
                    <a:pt x="6746" y="6908"/>
                    <a:pt x="6788" y="6901"/>
                  </a:cubicBezTo>
                  <a:cubicBezTo>
                    <a:pt x="6782" y="6937"/>
                    <a:pt x="6736" y="6924"/>
                    <a:pt x="6786" y="6941"/>
                  </a:cubicBezTo>
                  <a:cubicBezTo>
                    <a:pt x="6796" y="6945"/>
                    <a:pt x="6862" y="6940"/>
                    <a:pt x="6852" y="6957"/>
                  </a:cubicBezTo>
                  <a:cubicBezTo>
                    <a:pt x="6845" y="6967"/>
                    <a:pt x="6778" y="6956"/>
                    <a:pt x="6766" y="6959"/>
                  </a:cubicBezTo>
                  <a:cubicBezTo>
                    <a:pt x="6748" y="6963"/>
                    <a:pt x="6737" y="6962"/>
                    <a:pt x="6726" y="6976"/>
                  </a:cubicBezTo>
                  <a:cubicBezTo>
                    <a:pt x="6709" y="6995"/>
                    <a:pt x="6744" y="6992"/>
                    <a:pt x="6750" y="7005"/>
                  </a:cubicBezTo>
                  <a:cubicBezTo>
                    <a:pt x="6771" y="7050"/>
                    <a:pt x="6735" y="7100"/>
                    <a:pt x="6801" y="7126"/>
                  </a:cubicBezTo>
                  <a:cubicBezTo>
                    <a:pt x="6846" y="7144"/>
                    <a:pt x="6911" y="7140"/>
                    <a:pt x="6960" y="7144"/>
                  </a:cubicBezTo>
                  <a:cubicBezTo>
                    <a:pt x="7020" y="7131"/>
                    <a:pt x="7004" y="7070"/>
                    <a:pt x="7035" y="7032"/>
                  </a:cubicBezTo>
                  <a:cubicBezTo>
                    <a:pt x="7035" y="7050"/>
                    <a:pt x="6999" y="7096"/>
                    <a:pt x="7014" y="7112"/>
                  </a:cubicBezTo>
                  <a:cubicBezTo>
                    <a:pt x="7024" y="7123"/>
                    <a:pt x="7092" y="7124"/>
                    <a:pt x="7107" y="7118"/>
                  </a:cubicBezTo>
                  <a:cubicBezTo>
                    <a:pt x="7131" y="7108"/>
                    <a:pt x="7126" y="7094"/>
                    <a:pt x="7145" y="7078"/>
                  </a:cubicBezTo>
                  <a:cubicBezTo>
                    <a:pt x="7134" y="7118"/>
                    <a:pt x="7245" y="7100"/>
                    <a:pt x="7279" y="7099"/>
                  </a:cubicBezTo>
                  <a:cubicBezTo>
                    <a:pt x="7329" y="7097"/>
                    <a:pt x="7386" y="7102"/>
                    <a:pt x="7371" y="7054"/>
                  </a:cubicBezTo>
                  <a:cubicBezTo>
                    <a:pt x="7364" y="7030"/>
                    <a:pt x="7346" y="7025"/>
                    <a:pt x="7327" y="7006"/>
                  </a:cubicBezTo>
                  <a:cubicBezTo>
                    <a:pt x="7308" y="6987"/>
                    <a:pt x="7326" y="6968"/>
                    <a:pt x="7330" y="6949"/>
                  </a:cubicBezTo>
                  <a:cubicBezTo>
                    <a:pt x="7366" y="6967"/>
                    <a:pt x="7332" y="7015"/>
                    <a:pt x="7407" y="7016"/>
                  </a:cubicBezTo>
                  <a:cubicBezTo>
                    <a:pt x="7497" y="7017"/>
                    <a:pt x="7434" y="6961"/>
                    <a:pt x="7409" y="6968"/>
                  </a:cubicBezTo>
                  <a:cubicBezTo>
                    <a:pt x="7425" y="6941"/>
                    <a:pt x="7380" y="6911"/>
                    <a:pt x="7366" y="6890"/>
                  </a:cubicBezTo>
                  <a:cubicBezTo>
                    <a:pt x="7371" y="6931"/>
                    <a:pt x="7339" y="6900"/>
                    <a:pt x="7367" y="6871"/>
                  </a:cubicBezTo>
                  <a:cubicBezTo>
                    <a:pt x="7343" y="6870"/>
                    <a:pt x="7306" y="6925"/>
                    <a:pt x="7323" y="6872"/>
                  </a:cubicBezTo>
                  <a:cubicBezTo>
                    <a:pt x="7293" y="6874"/>
                    <a:pt x="7305" y="6851"/>
                    <a:pt x="7322" y="6838"/>
                  </a:cubicBezTo>
                  <a:cubicBezTo>
                    <a:pt x="7324" y="6840"/>
                    <a:pt x="7355" y="6853"/>
                    <a:pt x="7363" y="6842"/>
                  </a:cubicBezTo>
                  <a:cubicBezTo>
                    <a:pt x="7380" y="6821"/>
                    <a:pt x="7336" y="6831"/>
                    <a:pt x="7338" y="6823"/>
                  </a:cubicBezTo>
                  <a:cubicBezTo>
                    <a:pt x="7344" y="6791"/>
                    <a:pt x="7343" y="6828"/>
                    <a:pt x="7364" y="6806"/>
                  </a:cubicBezTo>
                  <a:cubicBezTo>
                    <a:pt x="7371" y="6798"/>
                    <a:pt x="7376" y="6795"/>
                    <a:pt x="7378" y="6793"/>
                  </a:cubicBezTo>
                  <a:cubicBezTo>
                    <a:pt x="7374" y="6795"/>
                    <a:pt x="7365" y="6795"/>
                    <a:pt x="7353" y="6780"/>
                  </a:cubicBezTo>
                  <a:cubicBezTo>
                    <a:pt x="7348" y="6774"/>
                    <a:pt x="7341" y="6788"/>
                    <a:pt x="7335" y="6775"/>
                  </a:cubicBezTo>
                  <a:cubicBezTo>
                    <a:pt x="7338" y="6781"/>
                    <a:pt x="7345" y="6750"/>
                    <a:pt x="7345" y="6748"/>
                  </a:cubicBezTo>
                  <a:cubicBezTo>
                    <a:pt x="7353" y="6703"/>
                    <a:pt x="7379" y="6765"/>
                    <a:pt x="7380" y="6765"/>
                  </a:cubicBezTo>
                  <a:cubicBezTo>
                    <a:pt x="7418" y="6759"/>
                    <a:pt x="7381" y="6740"/>
                    <a:pt x="7381" y="6723"/>
                  </a:cubicBezTo>
                  <a:cubicBezTo>
                    <a:pt x="7380" y="6702"/>
                    <a:pt x="7384" y="6708"/>
                    <a:pt x="7396" y="6688"/>
                  </a:cubicBezTo>
                  <a:cubicBezTo>
                    <a:pt x="7416" y="6709"/>
                    <a:pt x="7448" y="6728"/>
                    <a:pt x="7460" y="6749"/>
                  </a:cubicBezTo>
                  <a:cubicBezTo>
                    <a:pt x="7473" y="6772"/>
                    <a:pt x="7453" y="6812"/>
                    <a:pt x="7512" y="6805"/>
                  </a:cubicBezTo>
                  <a:cubicBezTo>
                    <a:pt x="7480" y="6781"/>
                    <a:pt x="7471" y="6738"/>
                    <a:pt x="7474" y="6704"/>
                  </a:cubicBezTo>
                  <a:cubicBezTo>
                    <a:pt x="7477" y="6678"/>
                    <a:pt x="7487" y="6615"/>
                    <a:pt x="7467" y="6597"/>
                  </a:cubicBezTo>
                  <a:cubicBezTo>
                    <a:pt x="7446" y="6579"/>
                    <a:pt x="7350" y="6586"/>
                    <a:pt x="7342" y="6560"/>
                  </a:cubicBezTo>
                  <a:cubicBezTo>
                    <a:pt x="7338" y="6551"/>
                    <a:pt x="7387" y="6528"/>
                    <a:pt x="7394" y="6520"/>
                  </a:cubicBezTo>
                  <a:cubicBezTo>
                    <a:pt x="7421" y="6490"/>
                    <a:pt x="7411" y="6471"/>
                    <a:pt x="7404" y="6441"/>
                  </a:cubicBezTo>
                  <a:cubicBezTo>
                    <a:pt x="7388" y="6368"/>
                    <a:pt x="7444" y="6272"/>
                    <a:pt x="7399" y="6206"/>
                  </a:cubicBezTo>
                  <a:cubicBezTo>
                    <a:pt x="7388" y="6189"/>
                    <a:pt x="7365" y="6179"/>
                    <a:pt x="7356" y="6163"/>
                  </a:cubicBezTo>
                  <a:cubicBezTo>
                    <a:pt x="7341" y="6135"/>
                    <a:pt x="7355" y="6097"/>
                    <a:pt x="7358" y="6069"/>
                  </a:cubicBezTo>
                  <a:cubicBezTo>
                    <a:pt x="7363" y="6017"/>
                    <a:pt x="7350" y="6006"/>
                    <a:pt x="7296" y="5988"/>
                  </a:cubicBezTo>
                  <a:cubicBezTo>
                    <a:pt x="7268" y="5978"/>
                    <a:pt x="7235" y="5973"/>
                    <a:pt x="7216" y="5961"/>
                  </a:cubicBezTo>
                  <a:cubicBezTo>
                    <a:pt x="7154" y="5923"/>
                    <a:pt x="7212" y="5957"/>
                    <a:pt x="7235" y="5938"/>
                  </a:cubicBezTo>
                  <a:cubicBezTo>
                    <a:pt x="7224" y="5934"/>
                    <a:pt x="7196" y="5929"/>
                    <a:pt x="7188" y="5922"/>
                  </a:cubicBezTo>
                  <a:cubicBezTo>
                    <a:pt x="7173" y="5909"/>
                    <a:pt x="7184" y="5887"/>
                    <a:pt x="7168" y="5876"/>
                  </a:cubicBezTo>
                  <a:cubicBezTo>
                    <a:pt x="7149" y="5864"/>
                    <a:pt x="7045" y="5875"/>
                    <a:pt x="7089" y="5895"/>
                  </a:cubicBezTo>
                  <a:cubicBezTo>
                    <a:pt x="7114" y="5906"/>
                    <a:pt x="7165" y="5873"/>
                    <a:pt x="7151" y="5904"/>
                  </a:cubicBezTo>
                  <a:cubicBezTo>
                    <a:pt x="7140" y="5931"/>
                    <a:pt x="7097" y="5913"/>
                    <a:pt x="7104" y="5946"/>
                  </a:cubicBezTo>
                  <a:cubicBezTo>
                    <a:pt x="7084" y="5901"/>
                    <a:pt x="7038" y="5934"/>
                    <a:pt x="7037" y="5961"/>
                  </a:cubicBezTo>
                  <a:cubicBezTo>
                    <a:pt x="7035" y="5997"/>
                    <a:pt x="7084" y="6021"/>
                    <a:pt x="7082" y="6058"/>
                  </a:cubicBezTo>
                  <a:cubicBezTo>
                    <a:pt x="7055" y="6044"/>
                    <a:pt x="7041" y="6022"/>
                    <a:pt x="7021" y="6053"/>
                  </a:cubicBezTo>
                  <a:cubicBezTo>
                    <a:pt x="7017" y="6060"/>
                    <a:pt x="7053" y="6102"/>
                    <a:pt x="7014" y="6078"/>
                  </a:cubicBezTo>
                  <a:cubicBezTo>
                    <a:pt x="6990" y="6062"/>
                    <a:pt x="7000" y="6043"/>
                    <a:pt x="6997" y="6026"/>
                  </a:cubicBezTo>
                  <a:cubicBezTo>
                    <a:pt x="6995" y="6018"/>
                    <a:pt x="7017" y="6020"/>
                    <a:pt x="7010" y="6007"/>
                  </a:cubicBezTo>
                  <a:cubicBezTo>
                    <a:pt x="7004" y="5997"/>
                    <a:pt x="6987" y="6013"/>
                    <a:pt x="6986" y="6012"/>
                  </a:cubicBezTo>
                  <a:cubicBezTo>
                    <a:pt x="6971" y="5999"/>
                    <a:pt x="6958" y="5981"/>
                    <a:pt x="6942" y="5968"/>
                  </a:cubicBezTo>
                  <a:close/>
                  <a:moveTo>
                    <a:pt x="6741" y="3436"/>
                  </a:moveTo>
                  <a:cubicBezTo>
                    <a:pt x="6768" y="3437"/>
                    <a:pt x="6789" y="3414"/>
                    <a:pt x="6809" y="3432"/>
                  </a:cubicBezTo>
                  <a:cubicBezTo>
                    <a:pt x="6834" y="3455"/>
                    <a:pt x="6836" y="3477"/>
                    <a:pt x="6850" y="3502"/>
                  </a:cubicBezTo>
                  <a:cubicBezTo>
                    <a:pt x="6872" y="3542"/>
                    <a:pt x="6922" y="3549"/>
                    <a:pt x="6944" y="3597"/>
                  </a:cubicBezTo>
                  <a:cubicBezTo>
                    <a:pt x="6960" y="3557"/>
                    <a:pt x="6978" y="3506"/>
                    <a:pt x="6967" y="3464"/>
                  </a:cubicBezTo>
                  <a:cubicBezTo>
                    <a:pt x="6957" y="3426"/>
                    <a:pt x="6953" y="3402"/>
                    <a:pt x="6951" y="3365"/>
                  </a:cubicBezTo>
                  <a:cubicBezTo>
                    <a:pt x="6950" y="3344"/>
                    <a:pt x="6929" y="3290"/>
                    <a:pt x="6918" y="3274"/>
                  </a:cubicBezTo>
                  <a:cubicBezTo>
                    <a:pt x="6915" y="3271"/>
                    <a:pt x="6876" y="3235"/>
                    <a:pt x="6873" y="3235"/>
                  </a:cubicBezTo>
                  <a:cubicBezTo>
                    <a:pt x="6849" y="3230"/>
                    <a:pt x="6831" y="3252"/>
                    <a:pt x="6806" y="3247"/>
                  </a:cubicBezTo>
                  <a:cubicBezTo>
                    <a:pt x="6784" y="3243"/>
                    <a:pt x="6789" y="3218"/>
                    <a:pt x="6758" y="3221"/>
                  </a:cubicBezTo>
                  <a:cubicBezTo>
                    <a:pt x="6740" y="3223"/>
                    <a:pt x="6733" y="3241"/>
                    <a:pt x="6724" y="3251"/>
                  </a:cubicBezTo>
                  <a:cubicBezTo>
                    <a:pt x="6687" y="3288"/>
                    <a:pt x="6649" y="3433"/>
                    <a:pt x="6741" y="3436"/>
                  </a:cubicBezTo>
                  <a:close/>
                  <a:moveTo>
                    <a:pt x="6741" y="3436"/>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66" name="AutoShape 21"/>
            <p:cNvSpPr>
              <a:spLocks/>
            </p:cNvSpPr>
            <p:nvPr/>
          </p:nvSpPr>
          <p:spPr bwMode="auto">
            <a:xfrm>
              <a:off x="437127" y="1290373"/>
              <a:ext cx="627063" cy="1116013"/>
            </a:xfrm>
            <a:custGeom>
              <a:avLst/>
              <a:gdLst/>
              <a:ahLst/>
              <a:cxnLst/>
              <a:rect l="0" t="0" r="r" b="b"/>
              <a:pathLst>
                <a:path w="21600" h="21600">
                  <a:moveTo>
                    <a:pt x="18853" y="107"/>
                  </a:moveTo>
                  <a:lnTo>
                    <a:pt x="18872" y="106"/>
                  </a:lnTo>
                  <a:cubicBezTo>
                    <a:pt x="13846" y="266"/>
                    <a:pt x="9045" y="226"/>
                    <a:pt x="4492" y="33"/>
                  </a:cubicBezTo>
                  <a:lnTo>
                    <a:pt x="0" y="21068"/>
                  </a:lnTo>
                  <a:lnTo>
                    <a:pt x="10425" y="21525"/>
                  </a:lnTo>
                  <a:lnTo>
                    <a:pt x="12606" y="21569"/>
                  </a:lnTo>
                  <a:lnTo>
                    <a:pt x="18221" y="21600"/>
                  </a:lnTo>
                  <a:lnTo>
                    <a:pt x="18850" y="108"/>
                  </a:lnTo>
                  <a:cubicBezTo>
                    <a:pt x="18850" y="108"/>
                    <a:pt x="18853" y="107"/>
                    <a:pt x="18853" y="107"/>
                  </a:cubicBezTo>
                  <a:close/>
                  <a:moveTo>
                    <a:pt x="21597" y="0"/>
                  </a:moveTo>
                  <a:cubicBezTo>
                    <a:pt x="21553" y="2"/>
                    <a:pt x="21508" y="4"/>
                    <a:pt x="21463" y="7"/>
                  </a:cubicBezTo>
                  <a:cubicBezTo>
                    <a:pt x="21456" y="7"/>
                    <a:pt x="21449" y="7"/>
                    <a:pt x="21442" y="8"/>
                  </a:cubicBezTo>
                  <a:cubicBezTo>
                    <a:pt x="21495" y="5"/>
                    <a:pt x="21548" y="2"/>
                    <a:pt x="21600" y="0"/>
                  </a:cubicBezTo>
                  <a:cubicBezTo>
                    <a:pt x="21599" y="0"/>
                    <a:pt x="21598" y="0"/>
                    <a:pt x="21597" y="0"/>
                  </a:cubicBezTo>
                  <a:close/>
                  <a:moveTo>
                    <a:pt x="21597" y="0"/>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69" name="AutoShape 24"/>
            <p:cNvSpPr>
              <a:spLocks/>
            </p:cNvSpPr>
            <p:nvPr/>
          </p:nvSpPr>
          <p:spPr bwMode="auto">
            <a:xfrm>
              <a:off x="-362973" y="45773"/>
              <a:ext cx="1354138" cy="1244600"/>
            </a:xfrm>
            <a:custGeom>
              <a:avLst/>
              <a:gdLst/>
              <a:ahLst/>
              <a:cxnLst/>
              <a:rect l="0" t="0" r="r" b="b"/>
              <a:pathLst>
                <a:path w="21548" h="21249">
                  <a:moveTo>
                    <a:pt x="21244" y="13540"/>
                  </a:moveTo>
                  <a:lnTo>
                    <a:pt x="16120" y="12542"/>
                  </a:lnTo>
                  <a:lnTo>
                    <a:pt x="15291" y="11222"/>
                  </a:lnTo>
                  <a:lnTo>
                    <a:pt x="13934" y="11222"/>
                  </a:lnTo>
                  <a:lnTo>
                    <a:pt x="9415" y="5882"/>
                  </a:lnTo>
                  <a:lnTo>
                    <a:pt x="10150" y="3437"/>
                  </a:lnTo>
                  <a:cubicBezTo>
                    <a:pt x="10125" y="3393"/>
                    <a:pt x="10101" y="3347"/>
                    <a:pt x="10076" y="3298"/>
                  </a:cubicBezTo>
                  <a:cubicBezTo>
                    <a:pt x="9987" y="3019"/>
                    <a:pt x="9758" y="2767"/>
                    <a:pt x="9509" y="2642"/>
                  </a:cubicBezTo>
                  <a:cubicBezTo>
                    <a:pt x="9443" y="2609"/>
                    <a:pt x="9366" y="2605"/>
                    <a:pt x="9298" y="2583"/>
                  </a:cubicBezTo>
                  <a:cubicBezTo>
                    <a:pt x="9219" y="2558"/>
                    <a:pt x="9102" y="2510"/>
                    <a:pt x="9050" y="2490"/>
                  </a:cubicBezTo>
                  <a:cubicBezTo>
                    <a:pt x="8982" y="2462"/>
                    <a:pt x="8912" y="2393"/>
                    <a:pt x="8839" y="2485"/>
                  </a:cubicBezTo>
                  <a:cubicBezTo>
                    <a:pt x="8805" y="2528"/>
                    <a:pt x="8815" y="2613"/>
                    <a:pt x="8784" y="2682"/>
                  </a:cubicBezTo>
                  <a:cubicBezTo>
                    <a:pt x="8768" y="2717"/>
                    <a:pt x="8743" y="2749"/>
                    <a:pt x="8728" y="2783"/>
                  </a:cubicBezTo>
                  <a:cubicBezTo>
                    <a:pt x="8712" y="2821"/>
                    <a:pt x="8726" y="2860"/>
                    <a:pt x="8687" y="2893"/>
                  </a:cubicBezTo>
                  <a:cubicBezTo>
                    <a:pt x="8611" y="2958"/>
                    <a:pt x="8546" y="2882"/>
                    <a:pt x="8485" y="2995"/>
                  </a:cubicBezTo>
                  <a:cubicBezTo>
                    <a:pt x="8474" y="3015"/>
                    <a:pt x="8491" y="3046"/>
                    <a:pt x="8501" y="3060"/>
                  </a:cubicBezTo>
                  <a:cubicBezTo>
                    <a:pt x="8392" y="3100"/>
                    <a:pt x="8199" y="3102"/>
                    <a:pt x="8159" y="2961"/>
                  </a:cubicBezTo>
                  <a:cubicBezTo>
                    <a:pt x="8149" y="2987"/>
                    <a:pt x="8126" y="3018"/>
                    <a:pt x="8120" y="3043"/>
                  </a:cubicBezTo>
                  <a:cubicBezTo>
                    <a:pt x="8084" y="2948"/>
                    <a:pt x="7875" y="2996"/>
                    <a:pt x="7877" y="2880"/>
                  </a:cubicBezTo>
                  <a:cubicBezTo>
                    <a:pt x="7878" y="2812"/>
                    <a:pt x="7915" y="2885"/>
                    <a:pt x="7932" y="2858"/>
                  </a:cubicBezTo>
                  <a:cubicBezTo>
                    <a:pt x="7948" y="2831"/>
                    <a:pt x="7939" y="2794"/>
                    <a:pt x="7961" y="2763"/>
                  </a:cubicBezTo>
                  <a:cubicBezTo>
                    <a:pt x="8002" y="2705"/>
                    <a:pt x="8072" y="2687"/>
                    <a:pt x="8115" y="2635"/>
                  </a:cubicBezTo>
                  <a:cubicBezTo>
                    <a:pt x="8141" y="2604"/>
                    <a:pt x="8141" y="2568"/>
                    <a:pt x="8172" y="2540"/>
                  </a:cubicBezTo>
                  <a:cubicBezTo>
                    <a:pt x="8195" y="2519"/>
                    <a:pt x="8236" y="2532"/>
                    <a:pt x="8256" y="2499"/>
                  </a:cubicBezTo>
                  <a:cubicBezTo>
                    <a:pt x="8345" y="2355"/>
                    <a:pt x="8113" y="2394"/>
                    <a:pt x="8070" y="2342"/>
                  </a:cubicBezTo>
                  <a:cubicBezTo>
                    <a:pt x="8031" y="2296"/>
                    <a:pt x="8092" y="2222"/>
                    <a:pt x="8114" y="2171"/>
                  </a:cubicBezTo>
                  <a:cubicBezTo>
                    <a:pt x="8130" y="2130"/>
                    <a:pt x="8141" y="2121"/>
                    <a:pt x="8150" y="2085"/>
                  </a:cubicBezTo>
                  <a:cubicBezTo>
                    <a:pt x="8157" y="2058"/>
                    <a:pt x="8156" y="2012"/>
                    <a:pt x="8157" y="2001"/>
                  </a:cubicBezTo>
                  <a:cubicBezTo>
                    <a:pt x="8157" y="2006"/>
                    <a:pt x="8191" y="1993"/>
                    <a:pt x="8193" y="1979"/>
                  </a:cubicBezTo>
                  <a:cubicBezTo>
                    <a:pt x="8196" y="1961"/>
                    <a:pt x="8161" y="1929"/>
                    <a:pt x="8164" y="1924"/>
                  </a:cubicBezTo>
                  <a:cubicBezTo>
                    <a:pt x="8174" y="1902"/>
                    <a:pt x="8186" y="1879"/>
                    <a:pt x="8233" y="1866"/>
                  </a:cubicBezTo>
                  <a:cubicBezTo>
                    <a:pt x="8171" y="1820"/>
                    <a:pt x="8255" y="1815"/>
                    <a:pt x="8290" y="1768"/>
                  </a:cubicBezTo>
                  <a:cubicBezTo>
                    <a:pt x="8302" y="1751"/>
                    <a:pt x="8300" y="1663"/>
                    <a:pt x="8298" y="1654"/>
                  </a:cubicBezTo>
                  <a:cubicBezTo>
                    <a:pt x="8294" y="1637"/>
                    <a:pt x="8327" y="1638"/>
                    <a:pt x="8312" y="1609"/>
                  </a:cubicBezTo>
                  <a:cubicBezTo>
                    <a:pt x="8312" y="1609"/>
                    <a:pt x="8264" y="1599"/>
                    <a:pt x="8257" y="1593"/>
                  </a:cubicBezTo>
                  <a:cubicBezTo>
                    <a:pt x="8234" y="1573"/>
                    <a:pt x="8171" y="1581"/>
                    <a:pt x="8195" y="1536"/>
                  </a:cubicBezTo>
                  <a:cubicBezTo>
                    <a:pt x="8200" y="1526"/>
                    <a:pt x="8292" y="1555"/>
                    <a:pt x="8280" y="1505"/>
                  </a:cubicBezTo>
                  <a:cubicBezTo>
                    <a:pt x="8280" y="1504"/>
                    <a:pt x="8194" y="1482"/>
                    <a:pt x="8177" y="1476"/>
                  </a:cubicBezTo>
                  <a:cubicBezTo>
                    <a:pt x="8164" y="1472"/>
                    <a:pt x="8130" y="1630"/>
                    <a:pt x="8123" y="1657"/>
                  </a:cubicBezTo>
                  <a:cubicBezTo>
                    <a:pt x="8131" y="1654"/>
                    <a:pt x="8197" y="1641"/>
                    <a:pt x="8201" y="1645"/>
                  </a:cubicBezTo>
                  <a:cubicBezTo>
                    <a:pt x="8234" y="1679"/>
                    <a:pt x="8214" y="1715"/>
                    <a:pt x="8202" y="1696"/>
                  </a:cubicBezTo>
                  <a:cubicBezTo>
                    <a:pt x="8192" y="1682"/>
                    <a:pt x="8259" y="1763"/>
                    <a:pt x="8257" y="1727"/>
                  </a:cubicBezTo>
                  <a:cubicBezTo>
                    <a:pt x="8258" y="1744"/>
                    <a:pt x="8267" y="1823"/>
                    <a:pt x="8233" y="1777"/>
                  </a:cubicBezTo>
                  <a:cubicBezTo>
                    <a:pt x="8194" y="1726"/>
                    <a:pt x="8195" y="1789"/>
                    <a:pt x="8168" y="1797"/>
                  </a:cubicBezTo>
                  <a:cubicBezTo>
                    <a:pt x="8134" y="1807"/>
                    <a:pt x="8158" y="1719"/>
                    <a:pt x="8134" y="1697"/>
                  </a:cubicBezTo>
                  <a:cubicBezTo>
                    <a:pt x="8097" y="1662"/>
                    <a:pt x="7982" y="1678"/>
                    <a:pt x="7991" y="1720"/>
                  </a:cubicBezTo>
                  <a:cubicBezTo>
                    <a:pt x="7965" y="1728"/>
                    <a:pt x="7935" y="1727"/>
                    <a:pt x="7908" y="1716"/>
                  </a:cubicBezTo>
                  <a:cubicBezTo>
                    <a:pt x="7940" y="1701"/>
                    <a:pt x="7969" y="1666"/>
                    <a:pt x="7954" y="1627"/>
                  </a:cubicBezTo>
                  <a:cubicBezTo>
                    <a:pt x="7923" y="1684"/>
                    <a:pt x="7849" y="1683"/>
                    <a:pt x="7813" y="1727"/>
                  </a:cubicBezTo>
                  <a:cubicBezTo>
                    <a:pt x="7815" y="1724"/>
                    <a:pt x="7778" y="1816"/>
                    <a:pt x="7775" y="1810"/>
                  </a:cubicBezTo>
                  <a:cubicBezTo>
                    <a:pt x="7796" y="1860"/>
                    <a:pt x="7825" y="1796"/>
                    <a:pt x="7846" y="1789"/>
                  </a:cubicBezTo>
                  <a:cubicBezTo>
                    <a:pt x="7891" y="1772"/>
                    <a:pt x="7905" y="1756"/>
                    <a:pt x="7945" y="1757"/>
                  </a:cubicBezTo>
                  <a:cubicBezTo>
                    <a:pt x="7959" y="1757"/>
                    <a:pt x="7991" y="1753"/>
                    <a:pt x="8005" y="1762"/>
                  </a:cubicBezTo>
                  <a:cubicBezTo>
                    <a:pt x="8029" y="1779"/>
                    <a:pt x="8025" y="1817"/>
                    <a:pt x="8005" y="1804"/>
                  </a:cubicBezTo>
                  <a:cubicBezTo>
                    <a:pt x="8012" y="1808"/>
                    <a:pt x="8013" y="1841"/>
                    <a:pt x="8031" y="1846"/>
                  </a:cubicBezTo>
                  <a:cubicBezTo>
                    <a:pt x="8048" y="1850"/>
                    <a:pt x="8067" y="1824"/>
                    <a:pt x="8070" y="1825"/>
                  </a:cubicBezTo>
                  <a:cubicBezTo>
                    <a:pt x="8038" y="1815"/>
                    <a:pt x="8151" y="1811"/>
                    <a:pt x="8115" y="1819"/>
                  </a:cubicBezTo>
                  <a:cubicBezTo>
                    <a:pt x="8052" y="1832"/>
                    <a:pt x="7951" y="1876"/>
                    <a:pt x="7897" y="1926"/>
                  </a:cubicBezTo>
                  <a:cubicBezTo>
                    <a:pt x="7850" y="1968"/>
                    <a:pt x="7833" y="2020"/>
                    <a:pt x="7795" y="2070"/>
                  </a:cubicBezTo>
                  <a:cubicBezTo>
                    <a:pt x="7726" y="2159"/>
                    <a:pt x="7741" y="1986"/>
                    <a:pt x="7736" y="1969"/>
                  </a:cubicBezTo>
                  <a:cubicBezTo>
                    <a:pt x="7604" y="2034"/>
                    <a:pt x="7688" y="2117"/>
                    <a:pt x="7756" y="2152"/>
                  </a:cubicBezTo>
                  <a:cubicBezTo>
                    <a:pt x="7871" y="2211"/>
                    <a:pt x="7884" y="2265"/>
                    <a:pt x="7769" y="2356"/>
                  </a:cubicBezTo>
                  <a:cubicBezTo>
                    <a:pt x="7780" y="2323"/>
                    <a:pt x="7811" y="2222"/>
                    <a:pt x="7780" y="2194"/>
                  </a:cubicBezTo>
                  <a:cubicBezTo>
                    <a:pt x="7772" y="2187"/>
                    <a:pt x="7547" y="2219"/>
                    <a:pt x="7537" y="2232"/>
                  </a:cubicBezTo>
                  <a:cubicBezTo>
                    <a:pt x="7523" y="2249"/>
                    <a:pt x="7475" y="2312"/>
                    <a:pt x="7480" y="2334"/>
                  </a:cubicBezTo>
                  <a:cubicBezTo>
                    <a:pt x="7489" y="2372"/>
                    <a:pt x="7548" y="2358"/>
                    <a:pt x="7558" y="2387"/>
                  </a:cubicBezTo>
                  <a:cubicBezTo>
                    <a:pt x="7570" y="2419"/>
                    <a:pt x="7525" y="2451"/>
                    <a:pt x="7527" y="2491"/>
                  </a:cubicBezTo>
                  <a:cubicBezTo>
                    <a:pt x="7529" y="2524"/>
                    <a:pt x="7564" y="2562"/>
                    <a:pt x="7578" y="2591"/>
                  </a:cubicBezTo>
                  <a:cubicBezTo>
                    <a:pt x="7543" y="2580"/>
                    <a:pt x="7512" y="2537"/>
                    <a:pt x="7490" y="2504"/>
                  </a:cubicBezTo>
                  <a:cubicBezTo>
                    <a:pt x="7466" y="2578"/>
                    <a:pt x="7435" y="2470"/>
                    <a:pt x="7389" y="2499"/>
                  </a:cubicBezTo>
                  <a:cubicBezTo>
                    <a:pt x="7348" y="2524"/>
                    <a:pt x="7294" y="2559"/>
                    <a:pt x="7277" y="2613"/>
                  </a:cubicBezTo>
                  <a:cubicBezTo>
                    <a:pt x="7341" y="2595"/>
                    <a:pt x="7409" y="2575"/>
                    <a:pt x="7469" y="2591"/>
                  </a:cubicBezTo>
                  <a:cubicBezTo>
                    <a:pt x="7438" y="2583"/>
                    <a:pt x="7547" y="2639"/>
                    <a:pt x="7540" y="2627"/>
                  </a:cubicBezTo>
                  <a:cubicBezTo>
                    <a:pt x="7562" y="2661"/>
                    <a:pt x="7562" y="2646"/>
                    <a:pt x="7542" y="2696"/>
                  </a:cubicBezTo>
                  <a:cubicBezTo>
                    <a:pt x="7484" y="2835"/>
                    <a:pt x="7460" y="2684"/>
                    <a:pt x="7369" y="2686"/>
                  </a:cubicBezTo>
                  <a:cubicBezTo>
                    <a:pt x="7312" y="2686"/>
                    <a:pt x="7369" y="2688"/>
                    <a:pt x="7365" y="2738"/>
                  </a:cubicBezTo>
                  <a:cubicBezTo>
                    <a:pt x="7359" y="2822"/>
                    <a:pt x="7323" y="2802"/>
                    <a:pt x="7286" y="2778"/>
                  </a:cubicBezTo>
                  <a:cubicBezTo>
                    <a:pt x="7250" y="2756"/>
                    <a:pt x="7256" y="2717"/>
                    <a:pt x="7239" y="2696"/>
                  </a:cubicBezTo>
                  <a:cubicBezTo>
                    <a:pt x="7207" y="2658"/>
                    <a:pt x="7203" y="2671"/>
                    <a:pt x="7170" y="2640"/>
                  </a:cubicBezTo>
                  <a:cubicBezTo>
                    <a:pt x="7115" y="2587"/>
                    <a:pt x="7084" y="2537"/>
                    <a:pt x="7055" y="2464"/>
                  </a:cubicBezTo>
                  <a:cubicBezTo>
                    <a:pt x="6999" y="2326"/>
                    <a:pt x="6965" y="2192"/>
                    <a:pt x="6933" y="2041"/>
                  </a:cubicBezTo>
                  <a:cubicBezTo>
                    <a:pt x="6904" y="1906"/>
                    <a:pt x="6872" y="1811"/>
                    <a:pt x="6885" y="1670"/>
                  </a:cubicBezTo>
                  <a:cubicBezTo>
                    <a:pt x="6891" y="1603"/>
                    <a:pt x="6921" y="1547"/>
                    <a:pt x="6930" y="1503"/>
                  </a:cubicBezTo>
                  <a:cubicBezTo>
                    <a:pt x="6943" y="1436"/>
                    <a:pt x="6918" y="1426"/>
                    <a:pt x="6913" y="1363"/>
                  </a:cubicBezTo>
                  <a:cubicBezTo>
                    <a:pt x="6890" y="1075"/>
                    <a:pt x="6935" y="826"/>
                    <a:pt x="6828" y="543"/>
                  </a:cubicBezTo>
                  <a:lnTo>
                    <a:pt x="6665" y="151"/>
                  </a:lnTo>
                  <a:cubicBezTo>
                    <a:pt x="6608" y="197"/>
                    <a:pt x="6437" y="333"/>
                    <a:pt x="6452" y="438"/>
                  </a:cubicBezTo>
                  <a:cubicBezTo>
                    <a:pt x="6461" y="509"/>
                    <a:pt x="6543" y="501"/>
                    <a:pt x="6597" y="497"/>
                  </a:cubicBezTo>
                  <a:cubicBezTo>
                    <a:pt x="6551" y="610"/>
                    <a:pt x="6508" y="500"/>
                    <a:pt x="6486" y="515"/>
                  </a:cubicBezTo>
                  <a:cubicBezTo>
                    <a:pt x="6450" y="541"/>
                    <a:pt x="6471" y="622"/>
                    <a:pt x="6488" y="655"/>
                  </a:cubicBezTo>
                  <a:cubicBezTo>
                    <a:pt x="6532" y="744"/>
                    <a:pt x="6668" y="753"/>
                    <a:pt x="6694" y="856"/>
                  </a:cubicBezTo>
                  <a:cubicBezTo>
                    <a:pt x="6661" y="831"/>
                    <a:pt x="6538" y="822"/>
                    <a:pt x="6497" y="818"/>
                  </a:cubicBezTo>
                  <a:cubicBezTo>
                    <a:pt x="6441" y="813"/>
                    <a:pt x="6367" y="817"/>
                    <a:pt x="6313" y="825"/>
                  </a:cubicBezTo>
                  <a:cubicBezTo>
                    <a:pt x="6223" y="840"/>
                    <a:pt x="6181" y="884"/>
                    <a:pt x="6157" y="974"/>
                  </a:cubicBezTo>
                  <a:cubicBezTo>
                    <a:pt x="6130" y="1077"/>
                    <a:pt x="6155" y="1090"/>
                    <a:pt x="6066" y="1148"/>
                  </a:cubicBezTo>
                  <a:cubicBezTo>
                    <a:pt x="6002" y="1189"/>
                    <a:pt x="5936" y="1216"/>
                    <a:pt x="5874" y="1260"/>
                  </a:cubicBezTo>
                  <a:cubicBezTo>
                    <a:pt x="5843" y="1282"/>
                    <a:pt x="5818" y="1309"/>
                    <a:pt x="5784" y="1327"/>
                  </a:cubicBezTo>
                  <a:cubicBezTo>
                    <a:pt x="5755" y="1342"/>
                    <a:pt x="5701" y="1346"/>
                    <a:pt x="5679" y="1360"/>
                  </a:cubicBezTo>
                  <a:cubicBezTo>
                    <a:pt x="5618" y="1399"/>
                    <a:pt x="5616" y="1504"/>
                    <a:pt x="5549" y="1396"/>
                  </a:cubicBezTo>
                  <a:cubicBezTo>
                    <a:pt x="5526" y="1359"/>
                    <a:pt x="5548" y="1269"/>
                    <a:pt x="5584" y="1202"/>
                  </a:cubicBezTo>
                  <a:cubicBezTo>
                    <a:pt x="5631" y="1117"/>
                    <a:pt x="5634" y="1145"/>
                    <a:pt x="5713" y="1173"/>
                  </a:cubicBezTo>
                  <a:cubicBezTo>
                    <a:pt x="5718" y="1175"/>
                    <a:pt x="5810" y="1034"/>
                    <a:pt x="5820" y="1008"/>
                  </a:cubicBezTo>
                  <a:cubicBezTo>
                    <a:pt x="5741" y="1043"/>
                    <a:pt x="5685" y="1118"/>
                    <a:pt x="5599" y="1118"/>
                  </a:cubicBezTo>
                  <a:cubicBezTo>
                    <a:pt x="5561" y="1118"/>
                    <a:pt x="5508" y="1089"/>
                    <a:pt x="5468" y="1084"/>
                  </a:cubicBezTo>
                  <a:cubicBezTo>
                    <a:pt x="5370" y="1071"/>
                    <a:pt x="5275" y="1106"/>
                    <a:pt x="5177" y="1109"/>
                  </a:cubicBezTo>
                  <a:cubicBezTo>
                    <a:pt x="5093" y="1111"/>
                    <a:pt x="5004" y="1109"/>
                    <a:pt x="4916" y="1104"/>
                  </a:cubicBezTo>
                  <a:cubicBezTo>
                    <a:pt x="4863" y="1101"/>
                    <a:pt x="4825" y="1160"/>
                    <a:pt x="4784" y="1196"/>
                  </a:cubicBezTo>
                  <a:cubicBezTo>
                    <a:pt x="4699" y="1271"/>
                    <a:pt x="4600" y="1324"/>
                    <a:pt x="4516" y="1398"/>
                  </a:cubicBezTo>
                  <a:cubicBezTo>
                    <a:pt x="4525" y="1400"/>
                    <a:pt x="4547" y="1412"/>
                    <a:pt x="4562" y="1413"/>
                  </a:cubicBezTo>
                  <a:cubicBezTo>
                    <a:pt x="4536" y="1475"/>
                    <a:pt x="4452" y="1502"/>
                    <a:pt x="4407" y="1536"/>
                  </a:cubicBezTo>
                  <a:cubicBezTo>
                    <a:pt x="4366" y="1566"/>
                    <a:pt x="4303" y="1616"/>
                    <a:pt x="4275" y="1663"/>
                  </a:cubicBezTo>
                  <a:cubicBezTo>
                    <a:pt x="4259" y="1690"/>
                    <a:pt x="4172" y="1943"/>
                    <a:pt x="4167" y="1825"/>
                  </a:cubicBezTo>
                  <a:cubicBezTo>
                    <a:pt x="4164" y="1748"/>
                    <a:pt x="4253" y="1660"/>
                    <a:pt x="4293" y="1608"/>
                  </a:cubicBezTo>
                  <a:cubicBezTo>
                    <a:pt x="4311" y="1584"/>
                    <a:pt x="4401" y="1516"/>
                    <a:pt x="4380" y="1473"/>
                  </a:cubicBezTo>
                  <a:cubicBezTo>
                    <a:pt x="4363" y="1438"/>
                    <a:pt x="4289" y="1536"/>
                    <a:pt x="4269" y="1558"/>
                  </a:cubicBezTo>
                  <a:cubicBezTo>
                    <a:pt x="4257" y="1455"/>
                    <a:pt x="4475" y="1366"/>
                    <a:pt x="4456" y="1222"/>
                  </a:cubicBezTo>
                  <a:cubicBezTo>
                    <a:pt x="4447" y="1157"/>
                    <a:pt x="4396" y="1316"/>
                    <a:pt x="4386" y="1335"/>
                  </a:cubicBezTo>
                  <a:cubicBezTo>
                    <a:pt x="4354" y="1399"/>
                    <a:pt x="4294" y="1475"/>
                    <a:pt x="4235" y="1507"/>
                  </a:cubicBezTo>
                  <a:cubicBezTo>
                    <a:pt x="4292" y="1457"/>
                    <a:pt x="4348" y="1365"/>
                    <a:pt x="4375" y="1290"/>
                  </a:cubicBezTo>
                  <a:cubicBezTo>
                    <a:pt x="4383" y="1266"/>
                    <a:pt x="4432" y="1079"/>
                    <a:pt x="4428" y="1072"/>
                  </a:cubicBezTo>
                  <a:cubicBezTo>
                    <a:pt x="4358" y="934"/>
                    <a:pt x="4383" y="1201"/>
                    <a:pt x="4381" y="1215"/>
                  </a:cubicBezTo>
                  <a:cubicBezTo>
                    <a:pt x="4371" y="1288"/>
                    <a:pt x="4298" y="1402"/>
                    <a:pt x="4245" y="1441"/>
                  </a:cubicBezTo>
                  <a:cubicBezTo>
                    <a:pt x="4309" y="1298"/>
                    <a:pt x="4357" y="1233"/>
                    <a:pt x="4330" y="1070"/>
                  </a:cubicBezTo>
                  <a:cubicBezTo>
                    <a:pt x="4300" y="1119"/>
                    <a:pt x="4316" y="1206"/>
                    <a:pt x="4298" y="1268"/>
                  </a:cubicBezTo>
                  <a:cubicBezTo>
                    <a:pt x="4267" y="1375"/>
                    <a:pt x="4165" y="1461"/>
                    <a:pt x="4058" y="1478"/>
                  </a:cubicBezTo>
                  <a:cubicBezTo>
                    <a:pt x="4141" y="1388"/>
                    <a:pt x="4299" y="1371"/>
                    <a:pt x="4264" y="1198"/>
                  </a:cubicBezTo>
                  <a:cubicBezTo>
                    <a:pt x="4242" y="1239"/>
                    <a:pt x="4238" y="1298"/>
                    <a:pt x="4213" y="1342"/>
                  </a:cubicBezTo>
                  <a:cubicBezTo>
                    <a:pt x="4216" y="1294"/>
                    <a:pt x="4231" y="1246"/>
                    <a:pt x="4231" y="1198"/>
                  </a:cubicBezTo>
                  <a:cubicBezTo>
                    <a:pt x="4176" y="1258"/>
                    <a:pt x="4102" y="1365"/>
                    <a:pt x="4017" y="1399"/>
                  </a:cubicBezTo>
                  <a:cubicBezTo>
                    <a:pt x="4033" y="1388"/>
                    <a:pt x="4140" y="1256"/>
                    <a:pt x="4141" y="1249"/>
                  </a:cubicBezTo>
                  <a:cubicBezTo>
                    <a:pt x="4141" y="1195"/>
                    <a:pt x="4002" y="1089"/>
                    <a:pt x="4008" y="1210"/>
                  </a:cubicBezTo>
                  <a:cubicBezTo>
                    <a:pt x="3956" y="1175"/>
                    <a:pt x="3890" y="1165"/>
                    <a:pt x="3829" y="1178"/>
                  </a:cubicBezTo>
                  <a:cubicBezTo>
                    <a:pt x="3889" y="1187"/>
                    <a:pt x="3880" y="1241"/>
                    <a:pt x="3955" y="1242"/>
                  </a:cubicBezTo>
                  <a:cubicBezTo>
                    <a:pt x="3921" y="1273"/>
                    <a:pt x="3763" y="1456"/>
                    <a:pt x="3785" y="1346"/>
                  </a:cubicBezTo>
                  <a:cubicBezTo>
                    <a:pt x="3739" y="1416"/>
                    <a:pt x="3696" y="1395"/>
                    <a:pt x="3633" y="1415"/>
                  </a:cubicBezTo>
                  <a:cubicBezTo>
                    <a:pt x="3624" y="1417"/>
                    <a:pt x="3622" y="1386"/>
                    <a:pt x="3600" y="1397"/>
                  </a:cubicBezTo>
                  <a:cubicBezTo>
                    <a:pt x="3590" y="1402"/>
                    <a:pt x="3593" y="1434"/>
                    <a:pt x="3581" y="1442"/>
                  </a:cubicBezTo>
                  <a:cubicBezTo>
                    <a:pt x="3557" y="1459"/>
                    <a:pt x="3536" y="1493"/>
                    <a:pt x="3514" y="1512"/>
                  </a:cubicBezTo>
                  <a:cubicBezTo>
                    <a:pt x="3526" y="1494"/>
                    <a:pt x="3537" y="1467"/>
                    <a:pt x="3555" y="1447"/>
                  </a:cubicBezTo>
                  <a:cubicBezTo>
                    <a:pt x="3443" y="1463"/>
                    <a:pt x="3545" y="1360"/>
                    <a:pt x="3510" y="1363"/>
                  </a:cubicBezTo>
                  <a:cubicBezTo>
                    <a:pt x="3493" y="1364"/>
                    <a:pt x="3397" y="1494"/>
                    <a:pt x="3365" y="1507"/>
                  </a:cubicBezTo>
                  <a:cubicBezTo>
                    <a:pt x="3410" y="1466"/>
                    <a:pt x="3453" y="1401"/>
                    <a:pt x="3459" y="1340"/>
                  </a:cubicBezTo>
                  <a:cubicBezTo>
                    <a:pt x="3420" y="1389"/>
                    <a:pt x="3400" y="1452"/>
                    <a:pt x="3333" y="1472"/>
                  </a:cubicBezTo>
                  <a:cubicBezTo>
                    <a:pt x="3271" y="1491"/>
                    <a:pt x="3169" y="1457"/>
                    <a:pt x="3120" y="1483"/>
                  </a:cubicBezTo>
                  <a:cubicBezTo>
                    <a:pt x="3117" y="1485"/>
                    <a:pt x="3069" y="1575"/>
                    <a:pt x="3068" y="1602"/>
                  </a:cubicBezTo>
                  <a:cubicBezTo>
                    <a:pt x="3064" y="1655"/>
                    <a:pt x="3117" y="1694"/>
                    <a:pt x="3112" y="1747"/>
                  </a:cubicBezTo>
                  <a:cubicBezTo>
                    <a:pt x="3056" y="1688"/>
                    <a:pt x="3055" y="1731"/>
                    <a:pt x="3035" y="1758"/>
                  </a:cubicBezTo>
                  <a:cubicBezTo>
                    <a:pt x="3054" y="1734"/>
                    <a:pt x="3034" y="1849"/>
                    <a:pt x="3027" y="1819"/>
                  </a:cubicBezTo>
                  <a:cubicBezTo>
                    <a:pt x="3032" y="1841"/>
                    <a:pt x="2995" y="1836"/>
                    <a:pt x="3026" y="1867"/>
                  </a:cubicBezTo>
                  <a:cubicBezTo>
                    <a:pt x="3070" y="1912"/>
                    <a:pt x="3109" y="1844"/>
                    <a:pt x="3142" y="1831"/>
                  </a:cubicBezTo>
                  <a:cubicBezTo>
                    <a:pt x="3152" y="1827"/>
                    <a:pt x="3210" y="1911"/>
                    <a:pt x="3181" y="1807"/>
                  </a:cubicBezTo>
                  <a:cubicBezTo>
                    <a:pt x="3228" y="1861"/>
                    <a:pt x="3226" y="1915"/>
                    <a:pt x="3176" y="1961"/>
                  </a:cubicBezTo>
                  <a:cubicBezTo>
                    <a:pt x="3102" y="2028"/>
                    <a:pt x="3090" y="1938"/>
                    <a:pt x="3017" y="1903"/>
                  </a:cubicBezTo>
                  <a:cubicBezTo>
                    <a:pt x="3015" y="1921"/>
                    <a:pt x="3004" y="1946"/>
                    <a:pt x="3002" y="1958"/>
                  </a:cubicBezTo>
                  <a:cubicBezTo>
                    <a:pt x="2988" y="1888"/>
                    <a:pt x="2911" y="1725"/>
                    <a:pt x="2886" y="1879"/>
                  </a:cubicBezTo>
                  <a:cubicBezTo>
                    <a:pt x="2863" y="1834"/>
                    <a:pt x="2826" y="1840"/>
                    <a:pt x="2802" y="1804"/>
                  </a:cubicBezTo>
                  <a:cubicBezTo>
                    <a:pt x="2767" y="1753"/>
                    <a:pt x="2812" y="1715"/>
                    <a:pt x="2734" y="1704"/>
                  </a:cubicBezTo>
                  <a:cubicBezTo>
                    <a:pt x="2689" y="1697"/>
                    <a:pt x="2654" y="1732"/>
                    <a:pt x="2671" y="1792"/>
                  </a:cubicBezTo>
                  <a:cubicBezTo>
                    <a:pt x="2681" y="1828"/>
                    <a:pt x="2759" y="1798"/>
                    <a:pt x="2741" y="1886"/>
                  </a:cubicBezTo>
                  <a:cubicBezTo>
                    <a:pt x="2733" y="1868"/>
                    <a:pt x="2717" y="1850"/>
                    <a:pt x="2709" y="1830"/>
                  </a:cubicBezTo>
                  <a:cubicBezTo>
                    <a:pt x="2641" y="1927"/>
                    <a:pt x="2822" y="1986"/>
                    <a:pt x="2825" y="2052"/>
                  </a:cubicBezTo>
                  <a:cubicBezTo>
                    <a:pt x="2711" y="2022"/>
                    <a:pt x="2687" y="1932"/>
                    <a:pt x="2641" y="1832"/>
                  </a:cubicBezTo>
                  <a:cubicBezTo>
                    <a:pt x="2616" y="1777"/>
                    <a:pt x="2596" y="1752"/>
                    <a:pt x="2616" y="1690"/>
                  </a:cubicBezTo>
                  <a:cubicBezTo>
                    <a:pt x="2624" y="1665"/>
                    <a:pt x="2706" y="1589"/>
                    <a:pt x="2733" y="1593"/>
                  </a:cubicBezTo>
                  <a:cubicBezTo>
                    <a:pt x="2668" y="1650"/>
                    <a:pt x="2724" y="1654"/>
                    <a:pt x="2769" y="1638"/>
                  </a:cubicBezTo>
                  <a:cubicBezTo>
                    <a:pt x="2829" y="1618"/>
                    <a:pt x="2820" y="1562"/>
                    <a:pt x="2856" y="1541"/>
                  </a:cubicBezTo>
                  <a:cubicBezTo>
                    <a:pt x="2899" y="1516"/>
                    <a:pt x="2885" y="1454"/>
                    <a:pt x="2946" y="1431"/>
                  </a:cubicBezTo>
                  <a:cubicBezTo>
                    <a:pt x="3012" y="1407"/>
                    <a:pt x="3019" y="1470"/>
                    <a:pt x="3090" y="1449"/>
                  </a:cubicBezTo>
                  <a:cubicBezTo>
                    <a:pt x="3055" y="1489"/>
                    <a:pt x="3035" y="1549"/>
                    <a:pt x="3043" y="1598"/>
                  </a:cubicBezTo>
                  <a:cubicBezTo>
                    <a:pt x="3093" y="1544"/>
                    <a:pt x="3074" y="1451"/>
                    <a:pt x="3160" y="1422"/>
                  </a:cubicBezTo>
                  <a:cubicBezTo>
                    <a:pt x="3093" y="1377"/>
                    <a:pt x="3282" y="1208"/>
                    <a:pt x="3341" y="1196"/>
                  </a:cubicBezTo>
                  <a:cubicBezTo>
                    <a:pt x="3518" y="1160"/>
                    <a:pt x="3394" y="1332"/>
                    <a:pt x="3388" y="1417"/>
                  </a:cubicBezTo>
                  <a:cubicBezTo>
                    <a:pt x="3419" y="1355"/>
                    <a:pt x="3479" y="1242"/>
                    <a:pt x="3538" y="1221"/>
                  </a:cubicBezTo>
                  <a:cubicBezTo>
                    <a:pt x="3529" y="1253"/>
                    <a:pt x="3534" y="1287"/>
                    <a:pt x="3535" y="1318"/>
                  </a:cubicBezTo>
                  <a:cubicBezTo>
                    <a:pt x="3558" y="1197"/>
                    <a:pt x="3670" y="1257"/>
                    <a:pt x="3740" y="1193"/>
                  </a:cubicBezTo>
                  <a:cubicBezTo>
                    <a:pt x="3766" y="1170"/>
                    <a:pt x="3745" y="1140"/>
                    <a:pt x="3763" y="1114"/>
                  </a:cubicBezTo>
                  <a:cubicBezTo>
                    <a:pt x="3779" y="1089"/>
                    <a:pt x="3810" y="1070"/>
                    <a:pt x="3828" y="1049"/>
                  </a:cubicBezTo>
                  <a:cubicBezTo>
                    <a:pt x="3879" y="989"/>
                    <a:pt x="3875" y="983"/>
                    <a:pt x="3966" y="976"/>
                  </a:cubicBezTo>
                  <a:cubicBezTo>
                    <a:pt x="4026" y="971"/>
                    <a:pt x="4081" y="936"/>
                    <a:pt x="4085" y="1029"/>
                  </a:cubicBezTo>
                  <a:cubicBezTo>
                    <a:pt x="4100" y="934"/>
                    <a:pt x="4193" y="1016"/>
                    <a:pt x="4250" y="1024"/>
                  </a:cubicBezTo>
                  <a:cubicBezTo>
                    <a:pt x="4305" y="1032"/>
                    <a:pt x="4394" y="1007"/>
                    <a:pt x="4475" y="1020"/>
                  </a:cubicBezTo>
                  <a:cubicBezTo>
                    <a:pt x="4456" y="1051"/>
                    <a:pt x="4447" y="1149"/>
                    <a:pt x="4494" y="1162"/>
                  </a:cubicBezTo>
                  <a:cubicBezTo>
                    <a:pt x="4538" y="1174"/>
                    <a:pt x="4589" y="1069"/>
                    <a:pt x="4620" y="1049"/>
                  </a:cubicBezTo>
                  <a:cubicBezTo>
                    <a:pt x="4673" y="1014"/>
                    <a:pt x="4720" y="1042"/>
                    <a:pt x="4775" y="1012"/>
                  </a:cubicBezTo>
                  <a:cubicBezTo>
                    <a:pt x="4800" y="999"/>
                    <a:pt x="4792" y="957"/>
                    <a:pt x="4817" y="939"/>
                  </a:cubicBezTo>
                  <a:cubicBezTo>
                    <a:pt x="4844" y="921"/>
                    <a:pt x="4877" y="928"/>
                    <a:pt x="4908" y="918"/>
                  </a:cubicBezTo>
                  <a:cubicBezTo>
                    <a:pt x="4940" y="908"/>
                    <a:pt x="4963" y="873"/>
                    <a:pt x="4995" y="864"/>
                  </a:cubicBezTo>
                  <a:cubicBezTo>
                    <a:pt x="5015" y="859"/>
                    <a:pt x="5033" y="887"/>
                    <a:pt x="5068" y="875"/>
                  </a:cubicBezTo>
                  <a:cubicBezTo>
                    <a:pt x="5135" y="853"/>
                    <a:pt x="5213" y="854"/>
                    <a:pt x="5282" y="836"/>
                  </a:cubicBezTo>
                  <a:cubicBezTo>
                    <a:pt x="5338" y="821"/>
                    <a:pt x="5558" y="796"/>
                    <a:pt x="5530" y="718"/>
                  </a:cubicBezTo>
                  <a:cubicBezTo>
                    <a:pt x="5586" y="729"/>
                    <a:pt x="5641" y="676"/>
                    <a:pt x="5636" y="617"/>
                  </a:cubicBezTo>
                  <a:cubicBezTo>
                    <a:pt x="5561" y="667"/>
                    <a:pt x="5618" y="613"/>
                    <a:pt x="5610" y="592"/>
                  </a:cubicBezTo>
                  <a:cubicBezTo>
                    <a:pt x="5616" y="608"/>
                    <a:pt x="5613" y="537"/>
                    <a:pt x="5612" y="530"/>
                  </a:cubicBezTo>
                  <a:cubicBezTo>
                    <a:pt x="5610" y="511"/>
                    <a:pt x="5576" y="525"/>
                    <a:pt x="5573" y="512"/>
                  </a:cubicBezTo>
                  <a:cubicBezTo>
                    <a:pt x="5567" y="487"/>
                    <a:pt x="5583" y="497"/>
                    <a:pt x="5581" y="480"/>
                  </a:cubicBezTo>
                  <a:cubicBezTo>
                    <a:pt x="5579" y="453"/>
                    <a:pt x="5598" y="415"/>
                    <a:pt x="5592" y="383"/>
                  </a:cubicBezTo>
                  <a:cubicBezTo>
                    <a:pt x="5559" y="201"/>
                    <a:pt x="5414" y="612"/>
                    <a:pt x="5313" y="560"/>
                  </a:cubicBezTo>
                  <a:cubicBezTo>
                    <a:pt x="5323" y="555"/>
                    <a:pt x="5339" y="546"/>
                    <a:pt x="5348" y="541"/>
                  </a:cubicBezTo>
                  <a:cubicBezTo>
                    <a:pt x="5296" y="552"/>
                    <a:pt x="5254" y="547"/>
                    <a:pt x="5275" y="486"/>
                  </a:cubicBezTo>
                  <a:cubicBezTo>
                    <a:pt x="5255" y="510"/>
                    <a:pt x="5218" y="524"/>
                    <a:pt x="5199" y="538"/>
                  </a:cubicBezTo>
                  <a:cubicBezTo>
                    <a:pt x="5231" y="490"/>
                    <a:pt x="5188" y="476"/>
                    <a:pt x="5142" y="471"/>
                  </a:cubicBezTo>
                  <a:cubicBezTo>
                    <a:pt x="5174" y="436"/>
                    <a:pt x="5177" y="382"/>
                    <a:pt x="5158" y="326"/>
                  </a:cubicBezTo>
                  <a:cubicBezTo>
                    <a:pt x="5113" y="322"/>
                    <a:pt x="5072" y="343"/>
                    <a:pt x="5060" y="387"/>
                  </a:cubicBezTo>
                  <a:cubicBezTo>
                    <a:pt x="5053" y="354"/>
                    <a:pt x="5066" y="317"/>
                    <a:pt x="5079" y="283"/>
                  </a:cubicBezTo>
                  <a:cubicBezTo>
                    <a:pt x="5017" y="297"/>
                    <a:pt x="4980" y="357"/>
                    <a:pt x="4926" y="367"/>
                  </a:cubicBezTo>
                  <a:cubicBezTo>
                    <a:pt x="4999" y="271"/>
                    <a:pt x="4889" y="331"/>
                    <a:pt x="4840" y="342"/>
                  </a:cubicBezTo>
                  <a:cubicBezTo>
                    <a:pt x="4842" y="333"/>
                    <a:pt x="4846" y="323"/>
                    <a:pt x="4848" y="313"/>
                  </a:cubicBezTo>
                  <a:cubicBezTo>
                    <a:pt x="4814" y="335"/>
                    <a:pt x="4782" y="364"/>
                    <a:pt x="4751" y="390"/>
                  </a:cubicBezTo>
                  <a:cubicBezTo>
                    <a:pt x="4760" y="393"/>
                    <a:pt x="4780" y="404"/>
                    <a:pt x="4788" y="406"/>
                  </a:cubicBezTo>
                  <a:cubicBezTo>
                    <a:pt x="4732" y="425"/>
                    <a:pt x="4722" y="469"/>
                    <a:pt x="4687" y="515"/>
                  </a:cubicBezTo>
                  <a:cubicBezTo>
                    <a:pt x="4639" y="576"/>
                    <a:pt x="4608" y="575"/>
                    <a:pt x="4557" y="609"/>
                  </a:cubicBezTo>
                  <a:cubicBezTo>
                    <a:pt x="4563" y="605"/>
                    <a:pt x="4534" y="702"/>
                    <a:pt x="4518" y="668"/>
                  </a:cubicBezTo>
                  <a:cubicBezTo>
                    <a:pt x="4502" y="636"/>
                    <a:pt x="4547" y="615"/>
                    <a:pt x="4550" y="590"/>
                  </a:cubicBezTo>
                  <a:cubicBezTo>
                    <a:pt x="4558" y="537"/>
                    <a:pt x="4584" y="468"/>
                    <a:pt x="4520" y="435"/>
                  </a:cubicBezTo>
                  <a:cubicBezTo>
                    <a:pt x="4485" y="417"/>
                    <a:pt x="4375" y="484"/>
                    <a:pt x="4320" y="500"/>
                  </a:cubicBezTo>
                  <a:cubicBezTo>
                    <a:pt x="4238" y="524"/>
                    <a:pt x="4195" y="575"/>
                    <a:pt x="4109" y="592"/>
                  </a:cubicBezTo>
                  <a:cubicBezTo>
                    <a:pt x="4060" y="601"/>
                    <a:pt x="3980" y="600"/>
                    <a:pt x="3945" y="645"/>
                  </a:cubicBezTo>
                  <a:cubicBezTo>
                    <a:pt x="3908" y="694"/>
                    <a:pt x="3909" y="629"/>
                    <a:pt x="3892" y="615"/>
                  </a:cubicBezTo>
                  <a:cubicBezTo>
                    <a:pt x="3843" y="575"/>
                    <a:pt x="3892" y="541"/>
                    <a:pt x="3810" y="528"/>
                  </a:cubicBezTo>
                  <a:cubicBezTo>
                    <a:pt x="3836" y="524"/>
                    <a:pt x="3867" y="509"/>
                    <a:pt x="3896" y="506"/>
                  </a:cubicBezTo>
                  <a:cubicBezTo>
                    <a:pt x="3798" y="473"/>
                    <a:pt x="3759" y="487"/>
                    <a:pt x="3685" y="547"/>
                  </a:cubicBezTo>
                  <a:cubicBezTo>
                    <a:pt x="3759" y="565"/>
                    <a:pt x="3764" y="604"/>
                    <a:pt x="3819" y="616"/>
                  </a:cubicBezTo>
                  <a:cubicBezTo>
                    <a:pt x="3739" y="799"/>
                    <a:pt x="3544" y="431"/>
                    <a:pt x="3424" y="593"/>
                  </a:cubicBezTo>
                  <a:cubicBezTo>
                    <a:pt x="3409" y="614"/>
                    <a:pt x="3401" y="668"/>
                    <a:pt x="3383" y="698"/>
                  </a:cubicBezTo>
                  <a:cubicBezTo>
                    <a:pt x="3356" y="742"/>
                    <a:pt x="3342" y="754"/>
                    <a:pt x="3298" y="785"/>
                  </a:cubicBezTo>
                  <a:cubicBezTo>
                    <a:pt x="3154" y="886"/>
                    <a:pt x="3179" y="798"/>
                    <a:pt x="3063" y="771"/>
                  </a:cubicBezTo>
                  <a:cubicBezTo>
                    <a:pt x="2993" y="755"/>
                    <a:pt x="2941" y="770"/>
                    <a:pt x="2888" y="778"/>
                  </a:cubicBezTo>
                  <a:cubicBezTo>
                    <a:pt x="2878" y="780"/>
                    <a:pt x="2864" y="812"/>
                    <a:pt x="2847" y="817"/>
                  </a:cubicBezTo>
                  <a:cubicBezTo>
                    <a:pt x="2833" y="821"/>
                    <a:pt x="2801" y="778"/>
                    <a:pt x="2779" y="781"/>
                  </a:cubicBezTo>
                  <a:cubicBezTo>
                    <a:pt x="2745" y="786"/>
                    <a:pt x="2713" y="832"/>
                    <a:pt x="2672" y="838"/>
                  </a:cubicBezTo>
                  <a:cubicBezTo>
                    <a:pt x="2606" y="849"/>
                    <a:pt x="2578" y="815"/>
                    <a:pt x="2518" y="856"/>
                  </a:cubicBezTo>
                  <a:cubicBezTo>
                    <a:pt x="2454" y="900"/>
                    <a:pt x="2417" y="989"/>
                    <a:pt x="2330" y="1002"/>
                  </a:cubicBezTo>
                  <a:cubicBezTo>
                    <a:pt x="2260" y="1012"/>
                    <a:pt x="2267" y="977"/>
                    <a:pt x="2207" y="1013"/>
                  </a:cubicBezTo>
                  <a:cubicBezTo>
                    <a:pt x="2186" y="1026"/>
                    <a:pt x="2141" y="1074"/>
                    <a:pt x="2130" y="1098"/>
                  </a:cubicBezTo>
                  <a:cubicBezTo>
                    <a:pt x="2060" y="1264"/>
                    <a:pt x="2145" y="1473"/>
                    <a:pt x="2128" y="1647"/>
                  </a:cubicBezTo>
                  <a:cubicBezTo>
                    <a:pt x="2126" y="1621"/>
                    <a:pt x="2117" y="1585"/>
                    <a:pt x="2111" y="1557"/>
                  </a:cubicBezTo>
                  <a:cubicBezTo>
                    <a:pt x="2096" y="1477"/>
                    <a:pt x="2102" y="1445"/>
                    <a:pt x="2107" y="1360"/>
                  </a:cubicBezTo>
                  <a:cubicBezTo>
                    <a:pt x="2111" y="1292"/>
                    <a:pt x="2072" y="1218"/>
                    <a:pt x="2078" y="1156"/>
                  </a:cubicBezTo>
                  <a:cubicBezTo>
                    <a:pt x="2086" y="1077"/>
                    <a:pt x="2141" y="1051"/>
                    <a:pt x="2190" y="1010"/>
                  </a:cubicBezTo>
                  <a:cubicBezTo>
                    <a:pt x="2225" y="981"/>
                    <a:pt x="2216" y="959"/>
                    <a:pt x="2264" y="946"/>
                  </a:cubicBezTo>
                  <a:cubicBezTo>
                    <a:pt x="2298" y="937"/>
                    <a:pt x="2332" y="963"/>
                    <a:pt x="2365" y="954"/>
                  </a:cubicBezTo>
                  <a:cubicBezTo>
                    <a:pt x="2438" y="935"/>
                    <a:pt x="2462" y="862"/>
                    <a:pt x="2512" y="817"/>
                  </a:cubicBezTo>
                  <a:cubicBezTo>
                    <a:pt x="2551" y="782"/>
                    <a:pt x="2588" y="794"/>
                    <a:pt x="2619" y="773"/>
                  </a:cubicBezTo>
                  <a:cubicBezTo>
                    <a:pt x="2646" y="754"/>
                    <a:pt x="2664" y="708"/>
                    <a:pt x="2695" y="684"/>
                  </a:cubicBezTo>
                  <a:cubicBezTo>
                    <a:pt x="2781" y="618"/>
                    <a:pt x="3014" y="582"/>
                    <a:pt x="2988" y="414"/>
                  </a:cubicBezTo>
                  <a:cubicBezTo>
                    <a:pt x="2926" y="492"/>
                    <a:pt x="2888" y="492"/>
                    <a:pt x="2831" y="424"/>
                  </a:cubicBezTo>
                  <a:cubicBezTo>
                    <a:pt x="2824" y="416"/>
                    <a:pt x="2863" y="393"/>
                    <a:pt x="2849" y="371"/>
                  </a:cubicBezTo>
                  <a:cubicBezTo>
                    <a:pt x="2841" y="360"/>
                    <a:pt x="2806" y="388"/>
                    <a:pt x="2803" y="382"/>
                  </a:cubicBezTo>
                  <a:cubicBezTo>
                    <a:pt x="2781" y="343"/>
                    <a:pt x="2792" y="307"/>
                    <a:pt x="2754" y="296"/>
                  </a:cubicBezTo>
                  <a:cubicBezTo>
                    <a:pt x="2770" y="266"/>
                    <a:pt x="2930" y="96"/>
                    <a:pt x="2773" y="115"/>
                  </a:cubicBezTo>
                  <a:cubicBezTo>
                    <a:pt x="2808" y="73"/>
                    <a:pt x="2821" y="-20"/>
                    <a:pt x="2747" y="5"/>
                  </a:cubicBezTo>
                  <a:cubicBezTo>
                    <a:pt x="2705" y="18"/>
                    <a:pt x="2740" y="90"/>
                    <a:pt x="2716" y="145"/>
                  </a:cubicBezTo>
                  <a:cubicBezTo>
                    <a:pt x="2701" y="179"/>
                    <a:pt x="2622" y="264"/>
                    <a:pt x="2596" y="279"/>
                  </a:cubicBezTo>
                  <a:cubicBezTo>
                    <a:pt x="2570" y="294"/>
                    <a:pt x="2573" y="219"/>
                    <a:pt x="2533" y="279"/>
                  </a:cubicBezTo>
                  <a:cubicBezTo>
                    <a:pt x="2517" y="303"/>
                    <a:pt x="2522" y="342"/>
                    <a:pt x="2533" y="365"/>
                  </a:cubicBezTo>
                  <a:cubicBezTo>
                    <a:pt x="2610" y="240"/>
                    <a:pt x="2633" y="465"/>
                    <a:pt x="2524" y="430"/>
                  </a:cubicBezTo>
                  <a:cubicBezTo>
                    <a:pt x="2504" y="424"/>
                    <a:pt x="2410" y="275"/>
                    <a:pt x="2409" y="266"/>
                  </a:cubicBezTo>
                  <a:cubicBezTo>
                    <a:pt x="2375" y="268"/>
                    <a:pt x="2349" y="256"/>
                    <a:pt x="2308" y="259"/>
                  </a:cubicBezTo>
                  <a:cubicBezTo>
                    <a:pt x="2072" y="112"/>
                    <a:pt x="2080" y="365"/>
                    <a:pt x="2034" y="529"/>
                  </a:cubicBezTo>
                  <a:cubicBezTo>
                    <a:pt x="1985" y="481"/>
                    <a:pt x="1980" y="366"/>
                    <a:pt x="1938" y="334"/>
                  </a:cubicBezTo>
                  <a:cubicBezTo>
                    <a:pt x="1825" y="245"/>
                    <a:pt x="1848" y="407"/>
                    <a:pt x="1798" y="466"/>
                  </a:cubicBezTo>
                  <a:cubicBezTo>
                    <a:pt x="1801" y="429"/>
                    <a:pt x="1831" y="335"/>
                    <a:pt x="1814" y="309"/>
                  </a:cubicBezTo>
                  <a:cubicBezTo>
                    <a:pt x="1741" y="193"/>
                    <a:pt x="1694" y="325"/>
                    <a:pt x="1692" y="384"/>
                  </a:cubicBezTo>
                  <a:cubicBezTo>
                    <a:pt x="1691" y="427"/>
                    <a:pt x="1700" y="505"/>
                    <a:pt x="1711" y="546"/>
                  </a:cubicBezTo>
                  <a:cubicBezTo>
                    <a:pt x="1727" y="603"/>
                    <a:pt x="1784" y="656"/>
                    <a:pt x="1784" y="709"/>
                  </a:cubicBezTo>
                  <a:cubicBezTo>
                    <a:pt x="1735" y="633"/>
                    <a:pt x="1696" y="587"/>
                    <a:pt x="1674" y="492"/>
                  </a:cubicBezTo>
                  <a:cubicBezTo>
                    <a:pt x="1654" y="407"/>
                    <a:pt x="1661" y="271"/>
                    <a:pt x="1575" y="401"/>
                  </a:cubicBezTo>
                  <a:cubicBezTo>
                    <a:pt x="1560" y="425"/>
                    <a:pt x="1533" y="498"/>
                    <a:pt x="1530" y="528"/>
                  </a:cubicBezTo>
                  <a:cubicBezTo>
                    <a:pt x="1523" y="596"/>
                    <a:pt x="1540" y="573"/>
                    <a:pt x="1559" y="637"/>
                  </a:cubicBezTo>
                  <a:cubicBezTo>
                    <a:pt x="1595" y="754"/>
                    <a:pt x="1572" y="759"/>
                    <a:pt x="1674" y="804"/>
                  </a:cubicBezTo>
                  <a:cubicBezTo>
                    <a:pt x="1583" y="839"/>
                    <a:pt x="1539" y="789"/>
                    <a:pt x="1490" y="733"/>
                  </a:cubicBezTo>
                  <a:cubicBezTo>
                    <a:pt x="1441" y="678"/>
                    <a:pt x="1482" y="633"/>
                    <a:pt x="1419" y="702"/>
                  </a:cubicBezTo>
                  <a:cubicBezTo>
                    <a:pt x="1388" y="737"/>
                    <a:pt x="1450" y="801"/>
                    <a:pt x="1364" y="788"/>
                  </a:cubicBezTo>
                  <a:cubicBezTo>
                    <a:pt x="1382" y="878"/>
                    <a:pt x="1408" y="891"/>
                    <a:pt x="1468" y="925"/>
                  </a:cubicBezTo>
                  <a:cubicBezTo>
                    <a:pt x="1480" y="932"/>
                    <a:pt x="1539" y="963"/>
                    <a:pt x="1555" y="963"/>
                  </a:cubicBezTo>
                  <a:cubicBezTo>
                    <a:pt x="1583" y="962"/>
                    <a:pt x="1572" y="973"/>
                    <a:pt x="1597" y="965"/>
                  </a:cubicBezTo>
                  <a:cubicBezTo>
                    <a:pt x="1608" y="961"/>
                    <a:pt x="1606" y="909"/>
                    <a:pt x="1632" y="907"/>
                  </a:cubicBezTo>
                  <a:cubicBezTo>
                    <a:pt x="1710" y="897"/>
                    <a:pt x="1619" y="935"/>
                    <a:pt x="1654" y="974"/>
                  </a:cubicBezTo>
                  <a:cubicBezTo>
                    <a:pt x="1682" y="1007"/>
                    <a:pt x="1727" y="999"/>
                    <a:pt x="1753" y="1025"/>
                  </a:cubicBezTo>
                  <a:cubicBezTo>
                    <a:pt x="1791" y="1064"/>
                    <a:pt x="1812" y="1192"/>
                    <a:pt x="1897" y="1162"/>
                  </a:cubicBezTo>
                  <a:cubicBezTo>
                    <a:pt x="1930" y="1151"/>
                    <a:pt x="2004" y="971"/>
                    <a:pt x="2021" y="1120"/>
                  </a:cubicBezTo>
                  <a:cubicBezTo>
                    <a:pt x="2031" y="1213"/>
                    <a:pt x="2034" y="1303"/>
                    <a:pt x="2023" y="1396"/>
                  </a:cubicBezTo>
                  <a:cubicBezTo>
                    <a:pt x="2020" y="1426"/>
                    <a:pt x="2017" y="1459"/>
                    <a:pt x="2016" y="1493"/>
                  </a:cubicBezTo>
                  <a:cubicBezTo>
                    <a:pt x="2008" y="1456"/>
                    <a:pt x="2003" y="1418"/>
                    <a:pt x="2003" y="1374"/>
                  </a:cubicBezTo>
                  <a:cubicBezTo>
                    <a:pt x="2002" y="1334"/>
                    <a:pt x="2034" y="1129"/>
                    <a:pt x="1939" y="1160"/>
                  </a:cubicBezTo>
                  <a:cubicBezTo>
                    <a:pt x="1863" y="1185"/>
                    <a:pt x="1863" y="1197"/>
                    <a:pt x="1798" y="1125"/>
                  </a:cubicBezTo>
                  <a:cubicBezTo>
                    <a:pt x="1733" y="1051"/>
                    <a:pt x="1743" y="1038"/>
                    <a:pt x="1631" y="1016"/>
                  </a:cubicBezTo>
                  <a:cubicBezTo>
                    <a:pt x="1444" y="979"/>
                    <a:pt x="1566" y="1057"/>
                    <a:pt x="1626" y="1147"/>
                  </a:cubicBezTo>
                  <a:cubicBezTo>
                    <a:pt x="1507" y="1099"/>
                    <a:pt x="1544" y="1211"/>
                    <a:pt x="1559" y="1289"/>
                  </a:cubicBezTo>
                  <a:cubicBezTo>
                    <a:pt x="1572" y="1357"/>
                    <a:pt x="1583" y="1427"/>
                    <a:pt x="1602" y="1480"/>
                  </a:cubicBezTo>
                  <a:cubicBezTo>
                    <a:pt x="1457" y="1415"/>
                    <a:pt x="1492" y="1306"/>
                    <a:pt x="1436" y="1176"/>
                  </a:cubicBezTo>
                  <a:cubicBezTo>
                    <a:pt x="1373" y="1030"/>
                    <a:pt x="1309" y="933"/>
                    <a:pt x="1215" y="834"/>
                  </a:cubicBezTo>
                  <a:lnTo>
                    <a:pt x="1214" y="834"/>
                  </a:lnTo>
                  <a:cubicBezTo>
                    <a:pt x="1157" y="1015"/>
                    <a:pt x="1087" y="1164"/>
                    <a:pt x="1009" y="1247"/>
                  </a:cubicBezTo>
                  <a:cubicBezTo>
                    <a:pt x="809" y="1462"/>
                    <a:pt x="855" y="1561"/>
                    <a:pt x="782" y="1961"/>
                  </a:cubicBezTo>
                  <a:cubicBezTo>
                    <a:pt x="709" y="2361"/>
                    <a:pt x="417" y="2353"/>
                    <a:pt x="332" y="2617"/>
                  </a:cubicBezTo>
                  <a:cubicBezTo>
                    <a:pt x="248" y="2880"/>
                    <a:pt x="417" y="2988"/>
                    <a:pt x="271" y="3144"/>
                  </a:cubicBezTo>
                  <a:cubicBezTo>
                    <a:pt x="125" y="3301"/>
                    <a:pt x="71" y="3359"/>
                    <a:pt x="10" y="3887"/>
                  </a:cubicBezTo>
                  <a:cubicBezTo>
                    <a:pt x="-52" y="4414"/>
                    <a:pt x="194" y="4052"/>
                    <a:pt x="471" y="4167"/>
                  </a:cubicBezTo>
                  <a:cubicBezTo>
                    <a:pt x="747" y="4282"/>
                    <a:pt x="886" y="4414"/>
                    <a:pt x="1178" y="4546"/>
                  </a:cubicBezTo>
                  <a:cubicBezTo>
                    <a:pt x="1470" y="4678"/>
                    <a:pt x="1278" y="4885"/>
                    <a:pt x="1147" y="5025"/>
                  </a:cubicBezTo>
                  <a:cubicBezTo>
                    <a:pt x="1016" y="5165"/>
                    <a:pt x="993" y="5338"/>
                    <a:pt x="993" y="5520"/>
                  </a:cubicBezTo>
                  <a:cubicBezTo>
                    <a:pt x="993" y="5701"/>
                    <a:pt x="824" y="5915"/>
                    <a:pt x="690" y="6208"/>
                  </a:cubicBezTo>
                  <a:cubicBezTo>
                    <a:pt x="555" y="6501"/>
                    <a:pt x="824" y="6353"/>
                    <a:pt x="1063" y="6353"/>
                  </a:cubicBezTo>
                  <a:cubicBezTo>
                    <a:pt x="1301" y="6353"/>
                    <a:pt x="1209" y="6509"/>
                    <a:pt x="1409" y="6509"/>
                  </a:cubicBezTo>
                  <a:cubicBezTo>
                    <a:pt x="1608" y="6509"/>
                    <a:pt x="1409" y="6790"/>
                    <a:pt x="1347" y="6790"/>
                  </a:cubicBezTo>
                  <a:cubicBezTo>
                    <a:pt x="1285" y="6790"/>
                    <a:pt x="1347" y="6988"/>
                    <a:pt x="1347" y="7153"/>
                  </a:cubicBezTo>
                  <a:cubicBezTo>
                    <a:pt x="1347" y="7318"/>
                    <a:pt x="1347" y="7449"/>
                    <a:pt x="1147" y="7449"/>
                  </a:cubicBezTo>
                  <a:cubicBezTo>
                    <a:pt x="947" y="7449"/>
                    <a:pt x="947" y="7713"/>
                    <a:pt x="778" y="7713"/>
                  </a:cubicBezTo>
                  <a:cubicBezTo>
                    <a:pt x="609" y="7713"/>
                    <a:pt x="717" y="7911"/>
                    <a:pt x="809" y="8010"/>
                  </a:cubicBezTo>
                  <a:cubicBezTo>
                    <a:pt x="901" y="8109"/>
                    <a:pt x="640" y="8093"/>
                    <a:pt x="640" y="8340"/>
                  </a:cubicBezTo>
                  <a:cubicBezTo>
                    <a:pt x="640" y="8587"/>
                    <a:pt x="524" y="8464"/>
                    <a:pt x="671" y="8621"/>
                  </a:cubicBezTo>
                  <a:cubicBezTo>
                    <a:pt x="817" y="8777"/>
                    <a:pt x="840" y="9033"/>
                    <a:pt x="763" y="9264"/>
                  </a:cubicBezTo>
                  <a:cubicBezTo>
                    <a:pt x="686" y="9495"/>
                    <a:pt x="840" y="9346"/>
                    <a:pt x="1163" y="9528"/>
                  </a:cubicBezTo>
                  <a:cubicBezTo>
                    <a:pt x="1485" y="9709"/>
                    <a:pt x="1209" y="9858"/>
                    <a:pt x="1209" y="10155"/>
                  </a:cubicBezTo>
                  <a:cubicBezTo>
                    <a:pt x="1209" y="10452"/>
                    <a:pt x="1370" y="10493"/>
                    <a:pt x="1516" y="10649"/>
                  </a:cubicBezTo>
                  <a:cubicBezTo>
                    <a:pt x="1662" y="10806"/>
                    <a:pt x="1362" y="10880"/>
                    <a:pt x="1485" y="11012"/>
                  </a:cubicBezTo>
                  <a:cubicBezTo>
                    <a:pt x="1608" y="11144"/>
                    <a:pt x="1347" y="11458"/>
                    <a:pt x="1347" y="11458"/>
                  </a:cubicBezTo>
                  <a:cubicBezTo>
                    <a:pt x="1347" y="11458"/>
                    <a:pt x="1216" y="11680"/>
                    <a:pt x="1332" y="11804"/>
                  </a:cubicBezTo>
                  <a:cubicBezTo>
                    <a:pt x="1447" y="11928"/>
                    <a:pt x="1324" y="12125"/>
                    <a:pt x="1224" y="12233"/>
                  </a:cubicBezTo>
                  <a:cubicBezTo>
                    <a:pt x="1124" y="12340"/>
                    <a:pt x="1224" y="12431"/>
                    <a:pt x="1285" y="12678"/>
                  </a:cubicBezTo>
                  <a:cubicBezTo>
                    <a:pt x="1347" y="12926"/>
                    <a:pt x="1093" y="13000"/>
                    <a:pt x="1224" y="13140"/>
                  </a:cubicBezTo>
                  <a:cubicBezTo>
                    <a:pt x="1355" y="13280"/>
                    <a:pt x="1132" y="13569"/>
                    <a:pt x="1132" y="13750"/>
                  </a:cubicBezTo>
                  <a:cubicBezTo>
                    <a:pt x="1132" y="13932"/>
                    <a:pt x="1424" y="13915"/>
                    <a:pt x="1616" y="13981"/>
                  </a:cubicBezTo>
                  <a:cubicBezTo>
                    <a:pt x="1808" y="14047"/>
                    <a:pt x="1616" y="14402"/>
                    <a:pt x="1724" y="14518"/>
                  </a:cubicBezTo>
                  <a:cubicBezTo>
                    <a:pt x="1831" y="14633"/>
                    <a:pt x="1900" y="14707"/>
                    <a:pt x="1900" y="14938"/>
                  </a:cubicBezTo>
                  <a:cubicBezTo>
                    <a:pt x="1900" y="15169"/>
                    <a:pt x="1970" y="15210"/>
                    <a:pt x="2131" y="15383"/>
                  </a:cubicBezTo>
                  <a:cubicBezTo>
                    <a:pt x="2292" y="15557"/>
                    <a:pt x="2131" y="15697"/>
                    <a:pt x="2069" y="16076"/>
                  </a:cubicBezTo>
                  <a:cubicBezTo>
                    <a:pt x="2008" y="16455"/>
                    <a:pt x="2100" y="16654"/>
                    <a:pt x="2223" y="16786"/>
                  </a:cubicBezTo>
                  <a:cubicBezTo>
                    <a:pt x="2346" y="16918"/>
                    <a:pt x="2515" y="16786"/>
                    <a:pt x="2792" y="16720"/>
                  </a:cubicBezTo>
                  <a:cubicBezTo>
                    <a:pt x="3069" y="16654"/>
                    <a:pt x="2954" y="16827"/>
                    <a:pt x="3084" y="16967"/>
                  </a:cubicBezTo>
                  <a:cubicBezTo>
                    <a:pt x="3215" y="17107"/>
                    <a:pt x="3576" y="16967"/>
                    <a:pt x="3837" y="16967"/>
                  </a:cubicBezTo>
                  <a:cubicBezTo>
                    <a:pt x="4099" y="16967"/>
                    <a:pt x="4007" y="17412"/>
                    <a:pt x="3761" y="17412"/>
                  </a:cubicBezTo>
                  <a:cubicBezTo>
                    <a:pt x="3515" y="17412"/>
                    <a:pt x="3761" y="17858"/>
                    <a:pt x="3868" y="18435"/>
                  </a:cubicBezTo>
                  <a:cubicBezTo>
                    <a:pt x="3898" y="18597"/>
                    <a:pt x="3907" y="18741"/>
                    <a:pt x="3905" y="18869"/>
                  </a:cubicBezTo>
                  <a:cubicBezTo>
                    <a:pt x="8682" y="20447"/>
                    <a:pt x="14659" y="21580"/>
                    <a:pt x="21548" y="21163"/>
                  </a:cubicBezTo>
                  <a:cubicBezTo>
                    <a:pt x="21548" y="21163"/>
                    <a:pt x="21244" y="13540"/>
                    <a:pt x="21244" y="13540"/>
                  </a:cubicBezTo>
                  <a:close/>
                  <a:moveTo>
                    <a:pt x="21244" y="13540"/>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sp>
          <p:nvSpPr>
            <p:cNvPr id="171" name="AutoShape 26"/>
            <p:cNvSpPr>
              <a:spLocks/>
            </p:cNvSpPr>
            <p:nvPr/>
          </p:nvSpPr>
          <p:spPr bwMode="auto">
            <a:xfrm>
              <a:off x="170427" y="-678127"/>
              <a:ext cx="598488" cy="933450"/>
            </a:xfrm>
            <a:custGeom>
              <a:avLst/>
              <a:gdLst/>
              <a:ahLst/>
              <a:cxnLst/>
              <a:rect l="0" t="0" r="r" b="b"/>
              <a:pathLst>
                <a:path w="21600" h="21536">
                  <a:moveTo>
                    <a:pt x="18530" y="15686"/>
                  </a:moveTo>
                  <a:lnTo>
                    <a:pt x="18534" y="15667"/>
                  </a:lnTo>
                  <a:cubicBezTo>
                    <a:pt x="18455" y="15616"/>
                    <a:pt x="18342" y="15569"/>
                    <a:pt x="18391" y="15649"/>
                  </a:cubicBezTo>
                  <a:cubicBezTo>
                    <a:pt x="18408" y="15677"/>
                    <a:pt x="18467" y="15711"/>
                    <a:pt x="18520" y="15740"/>
                  </a:cubicBezTo>
                  <a:cubicBezTo>
                    <a:pt x="18520" y="15740"/>
                    <a:pt x="18530" y="15686"/>
                    <a:pt x="18530" y="15686"/>
                  </a:cubicBezTo>
                  <a:close/>
                  <a:moveTo>
                    <a:pt x="18369" y="15377"/>
                  </a:moveTo>
                  <a:cubicBezTo>
                    <a:pt x="18416" y="15422"/>
                    <a:pt x="18512" y="15380"/>
                    <a:pt x="18585" y="15415"/>
                  </a:cubicBezTo>
                  <a:lnTo>
                    <a:pt x="18619" y="15244"/>
                  </a:lnTo>
                  <a:cubicBezTo>
                    <a:pt x="18471" y="15211"/>
                    <a:pt x="18262" y="15275"/>
                    <a:pt x="18369" y="15377"/>
                  </a:cubicBezTo>
                  <a:close/>
                  <a:moveTo>
                    <a:pt x="18751" y="14589"/>
                  </a:moveTo>
                  <a:cubicBezTo>
                    <a:pt x="18582" y="14540"/>
                    <a:pt x="18172" y="14399"/>
                    <a:pt x="18021" y="14476"/>
                  </a:cubicBezTo>
                  <a:cubicBezTo>
                    <a:pt x="17872" y="14552"/>
                    <a:pt x="18018" y="14643"/>
                    <a:pt x="18067" y="14722"/>
                  </a:cubicBezTo>
                  <a:cubicBezTo>
                    <a:pt x="18153" y="14861"/>
                    <a:pt x="18148" y="14856"/>
                    <a:pt x="18343" y="14937"/>
                  </a:cubicBezTo>
                  <a:cubicBezTo>
                    <a:pt x="18521" y="15011"/>
                    <a:pt x="18547" y="15049"/>
                    <a:pt x="18409" y="15173"/>
                  </a:cubicBezTo>
                  <a:cubicBezTo>
                    <a:pt x="18484" y="15151"/>
                    <a:pt x="18564" y="15128"/>
                    <a:pt x="18639" y="15145"/>
                  </a:cubicBezTo>
                  <a:cubicBezTo>
                    <a:pt x="18639" y="15145"/>
                    <a:pt x="18751" y="14589"/>
                    <a:pt x="18751" y="14589"/>
                  </a:cubicBezTo>
                  <a:close/>
                  <a:moveTo>
                    <a:pt x="1077" y="14634"/>
                  </a:moveTo>
                  <a:cubicBezTo>
                    <a:pt x="1080" y="14653"/>
                    <a:pt x="827" y="14594"/>
                    <a:pt x="755" y="14573"/>
                  </a:cubicBezTo>
                  <a:cubicBezTo>
                    <a:pt x="789" y="14674"/>
                    <a:pt x="949" y="14727"/>
                    <a:pt x="1006" y="14821"/>
                  </a:cubicBezTo>
                  <a:cubicBezTo>
                    <a:pt x="1057" y="14905"/>
                    <a:pt x="1124" y="14999"/>
                    <a:pt x="1213" y="15070"/>
                  </a:cubicBezTo>
                  <a:cubicBezTo>
                    <a:pt x="1375" y="15199"/>
                    <a:pt x="1646" y="15295"/>
                    <a:pt x="1778" y="15438"/>
                  </a:cubicBezTo>
                  <a:cubicBezTo>
                    <a:pt x="1913" y="15586"/>
                    <a:pt x="1790" y="15799"/>
                    <a:pt x="1946" y="15929"/>
                  </a:cubicBezTo>
                  <a:cubicBezTo>
                    <a:pt x="2066" y="16028"/>
                    <a:pt x="2014" y="16235"/>
                    <a:pt x="2007" y="16357"/>
                  </a:cubicBezTo>
                  <a:cubicBezTo>
                    <a:pt x="1989" y="16662"/>
                    <a:pt x="2018" y="16816"/>
                    <a:pt x="2218" y="17110"/>
                  </a:cubicBezTo>
                  <a:cubicBezTo>
                    <a:pt x="2499" y="17143"/>
                    <a:pt x="2520" y="17171"/>
                    <a:pt x="2743" y="17062"/>
                  </a:cubicBezTo>
                  <a:cubicBezTo>
                    <a:pt x="2883" y="16993"/>
                    <a:pt x="3022" y="16956"/>
                    <a:pt x="3198" y="16932"/>
                  </a:cubicBezTo>
                  <a:cubicBezTo>
                    <a:pt x="3587" y="16878"/>
                    <a:pt x="3721" y="16776"/>
                    <a:pt x="4020" y="16615"/>
                  </a:cubicBezTo>
                  <a:cubicBezTo>
                    <a:pt x="4161" y="16540"/>
                    <a:pt x="4295" y="16482"/>
                    <a:pt x="4402" y="16611"/>
                  </a:cubicBezTo>
                  <a:cubicBezTo>
                    <a:pt x="4450" y="16669"/>
                    <a:pt x="4329" y="16714"/>
                    <a:pt x="4455" y="16769"/>
                  </a:cubicBezTo>
                  <a:cubicBezTo>
                    <a:pt x="4515" y="16795"/>
                    <a:pt x="4627" y="16773"/>
                    <a:pt x="4694" y="16771"/>
                  </a:cubicBezTo>
                  <a:cubicBezTo>
                    <a:pt x="4987" y="16762"/>
                    <a:pt x="5388" y="16762"/>
                    <a:pt x="5631" y="16643"/>
                  </a:cubicBezTo>
                  <a:cubicBezTo>
                    <a:pt x="5939" y="16492"/>
                    <a:pt x="5985" y="16219"/>
                    <a:pt x="6088" y="16010"/>
                  </a:cubicBezTo>
                  <a:cubicBezTo>
                    <a:pt x="6114" y="15956"/>
                    <a:pt x="6173" y="15878"/>
                    <a:pt x="6182" y="15826"/>
                  </a:cubicBezTo>
                  <a:cubicBezTo>
                    <a:pt x="6193" y="15767"/>
                    <a:pt x="6141" y="15714"/>
                    <a:pt x="6176" y="15655"/>
                  </a:cubicBezTo>
                  <a:cubicBezTo>
                    <a:pt x="6214" y="15590"/>
                    <a:pt x="6371" y="15531"/>
                    <a:pt x="6452" y="15480"/>
                  </a:cubicBezTo>
                  <a:cubicBezTo>
                    <a:pt x="6566" y="15409"/>
                    <a:pt x="6727" y="15303"/>
                    <a:pt x="6725" y="15194"/>
                  </a:cubicBezTo>
                  <a:cubicBezTo>
                    <a:pt x="6724" y="15122"/>
                    <a:pt x="6630" y="14881"/>
                    <a:pt x="6845" y="14942"/>
                  </a:cubicBezTo>
                  <a:cubicBezTo>
                    <a:pt x="6850" y="14944"/>
                    <a:pt x="6893" y="15053"/>
                    <a:pt x="6957" y="15081"/>
                  </a:cubicBezTo>
                  <a:cubicBezTo>
                    <a:pt x="6976" y="15089"/>
                    <a:pt x="7145" y="15113"/>
                    <a:pt x="7167" y="15112"/>
                  </a:cubicBezTo>
                  <a:cubicBezTo>
                    <a:pt x="7307" y="15101"/>
                    <a:pt x="7443" y="15010"/>
                    <a:pt x="7575" y="14971"/>
                  </a:cubicBezTo>
                  <a:cubicBezTo>
                    <a:pt x="7803" y="14905"/>
                    <a:pt x="7805" y="14919"/>
                    <a:pt x="7895" y="14776"/>
                  </a:cubicBezTo>
                  <a:cubicBezTo>
                    <a:pt x="7964" y="14666"/>
                    <a:pt x="8107" y="14584"/>
                    <a:pt x="8174" y="14485"/>
                  </a:cubicBezTo>
                  <a:cubicBezTo>
                    <a:pt x="8267" y="14347"/>
                    <a:pt x="8243" y="14296"/>
                    <a:pt x="8458" y="14219"/>
                  </a:cubicBezTo>
                  <a:cubicBezTo>
                    <a:pt x="8564" y="14181"/>
                    <a:pt x="8686" y="14118"/>
                    <a:pt x="8796" y="14091"/>
                  </a:cubicBezTo>
                  <a:cubicBezTo>
                    <a:pt x="8984" y="14044"/>
                    <a:pt x="9068" y="14061"/>
                    <a:pt x="9230" y="13989"/>
                  </a:cubicBezTo>
                  <a:cubicBezTo>
                    <a:pt x="9369" y="13927"/>
                    <a:pt x="9492" y="13898"/>
                    <a:pt x="9653" y="13863"/>
                  </a:cubicBezTo>
                  <a:cubicBezTo>
                    <a:pt x="9907" y="13809"/>
                    <a:pt x="10123" y="13712"/>
                    <a:pt x="10359" y="13633"/>
                  </a:cubicBezTo>
                  <a:cubicBezTo>
                    <a:pt x="10621" y="13544"/>
                    <a:pt x="10881" y="13530"/>
                    <a:pt x="11141" y="13446"/>
                  </a:cubicBezTo>
                  <a:cubicBezTo>
                    <a:pt x="11447" y="13347"/>
                    <a:pt x="11657" y="13238"/>
                    <a:pt x="11977" y="13181"/>
                  </a:cubicBezTo>
                  <a:cubicBezTo>
                    <a:pt x="12260" y="13130"/>
                    <a:pt x="12538" y="13074"/>
                    <a:pt x="12806" y="12990"/>
                  </a:cubicBezTo>
                  <a:cubicBezTo>
                    <a:pt x="13146" y="12883"/>
                    <a:pt x="13308" y="12762"/>
                    <a:pt x="13149" y="12511"/>
                  </a:cubicBezTo>
                  <a:cubicBezTo>
                    <a:pt x="13027" y="12318"/>
                    <a:pt x="12841" y="12201"/>
                    <a:pt x="12705" y="12007"/>
                  </a:cubicBezTo>
                  <a:cubicBezTo>
                    <a:pt x="12580" y="11828"/>
                    <a:pt x="12408" y="11689"/>
                    <a:pt x="12290" y="11507"/>
                  </a:cubicBezTo>
                  <a:cubicBezTo>
                    <a:pt x="12082" y="11184"/>
                    <a:pt x="11859" y="10766"/>
                    <a:pt x="11334" y="10608"/>
                  </a:cubicBezTo>
                  <a:cubicBezTo>
                    <a:pt x="10982" y="10502"/>
                    <a:pt x="10811" y="10454"/>
                    <a:pt x="10410" y="10503"/>
                  </a:cubicBezTo>
                  <a:cubicBezTo>
                    <a:pt x="10219" y="10527"/>
                    <a:pt x="10087" y="10539"/>
                    <a:pt x="10023" y="10659"/>
                  </a:cubicBezTo>
                  <a:cubicBezTo>
                    <a:pt x="10000" y="10703"/>
                    <a:pt x="10053" y="10745"/>
                    <a:pt x="10009" y="10807"/>
                  </a:cubicBezTo>
                  <a:cubicBezTo>
                    <a:pt x="9965" y="10867"/>
                    <a:pt x="9811" y="10947"/>
                    <a:pt x="9738" y="11000"/>
                  </a:cubicBezTo>
                  <a:cubicBezTo>
                    <a:pt x="9697" y="10933"/>
                    <a:pt x="9606" y="10963"/>
                    <a:pt x="9537" y="10993"/>
                  </a:cubicBezTo>
                  <a:cubicBezTo>
                    <a:pt x="9615" y="10850"/>
                    <a:pt x="9771" y="10745"/>
                    <a:pt x="9784" y="10605"/>
                  </a:cubicBezTo>
                  <a:cubicBezTo>
                    <a:pt x="9802" y="10396"/>
                    <a:pt x="9490" y="10352"/>
                    <a:pt x="9310" y="10497"/>
                  </a:cubicBezTo>
                  <a:cubicBezTo>
                    <a:pt x="9215" y="10573"/>
                    <a:pt x="9041" y="10619"/>
                    <a:pt x="9024" y="10720"/>
                  </a:cubicBezTo>
                  <a:cubicBezTo>
                    <a:pt x="9001" y="10853"/>
                    <a:pt x="8914" y="10757"/>
                    <a:pt x="8939" y="10676"/>
                  </a:cubicBezTo>
                  <a:cubicBezTo>
                    <a:pt x="8965" y="10592"/>
                    <a:pt x="9126" y="10552"/>
                    <a:pt x="9193" y="10486"/>
                  </a:cubicBezTo>
                  <a:cubicBezTo>
                    <a:pt x="9266" y="10414"/>
                    <a:pt x="9241" y="10329"/>
                    <a:pt x="9397" y="10366"/>
                  </a:cubicBezTo>
                  <a:cubicBezTo>
                    <a:pt x="9330" y="10322"/>
                    <a:pt x="9229" y="10334"/>
                    <a:pt x="9145" y="10302"/>
                  </a:cubicBezTo>
                  <a:cubicBezTo>
                    <a:pt x="9074" y="10275"/>
                    <a:pt x="9062" y="10233"/>
                    <a:pt x="9007" y="10208"/>
                  </a:cubicBezTo>
                  <a:cubicBezTo>
                    <a:pt x="8911" y="10166"/>
                    <a:pt x="8819" y="10144"/>
                    <a:pt x="8726" y="10094"/>
                  </a:cubicBezTo>
                  <a:cubicBezTo>
                    <a:pt x="8565" y="10005"/>
                    <a:pt x="8204" y="9776"/>
                    <a:pt x="8126" y="9652"/>
                  </a:cubicBezTo>
                  <a:cubicBezTo>
                    <a:pt x="8051" y="9533"/>
                    <a:pt x="8152" y="9477"/>
                    <a:pt x="7960" y="9380"/>
                  </a:cubicBezTo>
                  <a:cubicBezTo>
                    <a:pt x="7853" y="9325"/>
                    <a:pt x="7723" y="9241"/>
                    <a:pt x="7570" y="9218"/>
                  </a:cubicBezTo>
                  <a:cubicBezTo>
                    <a:pt x="7281" y="9175"/>
                    <a:pt x="6906" y="9284"/>
                    <a:pt x="6599" y="9263"/>
                  </a:cubicBezTo>
                  <a:cubicBezTo>
                    <a:pt x="6220" y="9238"/>
                    <a:pt x="5872" y="9164"/>
                    <a:pt x="5501" y="9147"/>
                  </a:cubicBezTo>
                  <a:cubicBezTo>
                    <a:pt x="5132" y="9130"/>
                    <a:pt x="4888" y="9120"/>
                    <a:pt x="4540" y="9106"/>
                  </a:cubicBezTo>
                  <a:cubicBezTo>
                    <a:pt x="4491" y="9104"/>
                    <a:pt x="4298" y="9080"/>
                    <a:pt x="4262" y="9097"/>
                  </a:cubicBezTo>
                  <a:cubicBezTo>
                    <a:pt x="4130" y="9159"/>
                    <a:pt x="4333" y="9141"/>
                    <a:pt x="4322" y="9189"/>
                  </a:cubicBezTo>
                  <a:cubicBezTo>
                    <a:pt x="4317" y="9209"/>
                    <a:pt x="4222" y="9243"/>
                    <a:pt x="4223" y="9246"/>
                  </a:cubicBezTo>
                  <a:cubicBezTo>
                    <a:pt x="4221" y="9241"/>
                    <a:pt x="4261" y="9326"/>
                    <a:pt x="4262" y="9303"/>
                  </a:cubicBezTo>
                  <a:cubicBezTo>
                    <a:pt x="4262" y="9304"/>
                    <a:pt x="4293" y="9400"/>
                    <a:pt x="4290" y="9444"/>
                  </a:cubicBezTo>
                  <a:cubicBezTo>
                    <a:pt x="4286" y="9502"/>
                    <a:pt x="4301" y="9572"/>
                    <a:pt x="4284" y="9630"/>
                  </a:cubicBezTo>
                  <a:cubicBezTo>
                    <a:pt x="4266" y="9692"/>
                    <a:pt x="4178" y="9744"/>
                    <a:pt x="4199" y="9810"/>
                  </a:cubicBezTo>
                  <a:cubicBezTo>
                    <a:pt x="4229" y="9898"/>
                    <a:pt x="4237" y="10014"/>
                    <a:pt x="4246" y="10096"/>
                  </a:cubicBezTo>
                  <a:cubicBezTo>
                    <a:pt x="4259" y="10203"/>
                    <a:pt x="4153" y="10312"/>
                    <a:pt x="4262" y="10405"/>
                  </a:cubicBezTo>
                  <a:cubicBezTo>
                    <a:pt x="4378" y="10503"/>
                    <a:pt x="4549" y="10451"/>
                    <a:pt x="4521" y="10623"/>
                  </a:cubicBezTo>
                  <a:cubicBezTo>
                    <a:pt x="4503" y="10738"/>
                    <a:pt x="4321" y="10787"/>
                    <a:pt x="4195" y="10845"/>
                  </a:cubicBezTo>
                  <a:cubicBezTo>
                    <a:pt x="4036" y="10919"/>
                    <a:pt x="4071" y="10972"/>
                    <a:pt x="3969" y="11085"/>
                  </a:cubicBezTo>
                  <a:cubicBezTo>
                    <a:pt x="3853" y="11215"/>
                    <a:pt x="3717" y="11216"/>
                    <a:pt x="3555" y="11285"/>
                  </a:cubicBezTo>
                  <a:cubicBezTo>
                    <a:pt x="3404" y="11349"/>
                    <a:pt x="3359" y="11444"/>
                    <a:pt x="3243" y="11535"/>
                  </a:cubicBezTo>
                  <a:cubicBezTo>
                    <a:pt x="3131" y="11623"/>
                    <a:pt x="3045" y="11720"/>
                    <a:pt x="2928" y="11807"/>
                  </a:cubicBezTo>
                  <a:cubicBezTo>
                    <a:pt x="2835" y="11877"/>
                    <a:pt x="2609" y="11946"/>
                    <a:pt x="2561" y="12029"/>
                  </a:cubicBezTo>
                  <a:cubicBezTo>
                    <a:pt x="2468" y="12191"/>
                    <a:pt x="3079" y="12443"/>
                    <a:pt x="2624" y="12523"/>
                  </a:cubicBezTo>
                  <a:cubicBezTo>
                    <a:pt x="2507" y="12544"/>
                    <a:pt x="2264" y="12530"/>
                    <a:pt x="2168" y="12531"/>
                  </a:cubicBezTo>
                  <a:cubicBezTo>
                    <a:pt x="2080" y="12531"/>
                    <a:pt x="2111" y="12423"/>
                    <a:pt x="2013" y="12510"/>
                  </a:cubicBezTo>
                  <a:cubicBezTo>
                    <a:pt x="2014" y="12509"/>
                    <a:pt x="2034" y="12684"/>
                    <a:pt x="2032" y="12695"/>
                  </a:cubicBezTo>
                  <a:cubicBezTo>
                    <a:pt x="2011" y="12838"/>
                    <a:pt x="1958" y="12893"/>
                    <a:pt x="1893" y="12972"/>
                  </a:cubicBezTo>
                  <a:cubicBezTo>
                    <a:pt x="1896" y="12969"/>
                    <a:pt x="1800" y="12997"/>
                    <a:pt x="1785" y="13024"/>
                  </a:cubicBezTo>
                  <a:cubicBezTo>
                    <a:pt x="1764" y="13061"/>
                    <a:pt x="1812" y="13081"/>
                    <a:pt x="1806" y="13108"/>
                  </a:cubicBezTo>
                  <a:cubicBezTo>
                    <a:pt x="1789" y="13181"/>
                    <a:pt x="1815" y="13174"/>
                    <a:pt x="1752" y="13211"/>
                  </a:cubicBezTo>
                  <a:cubicBezTo>
                    <a:pt x="1686" y="13250"/>
                    <a:pt x="1472" y="13277"/>
                    <a:pt x="1376" y="13318"/>
                  </a:cubicBezTo>
                  <a:cubicBezTo>
                    <a:pt x="1214" y="13387"/>
                    <a:pt x="1172" y="13482"/>
                    <a:pt x="1063" y="13566"/>
                  </a:cubicBezTo>
                  <a:cubicBezTo>
                    <a:pt x="1013" y="13604"/>
                    <a:pt x="936" y="13626"/>
                    <a:pt x="888" y="13673"/>
                  </a:cubicBezTo>
                  <a:cubicBezTo>
                    <a:pt x="837" y="13724"/>
                    <a:pt x="923" y="13740"/>
                    <a:pt x="821" y="13797"/>
                  </a:cubicBezTo>
                  <a:cubicBezTo>
                    <a:pt x="732" y="13847"/>
                    <a:pt x="711" y="13757"/>
                    <a:pt x="619" y="13830"/>
                  </a:cubicBezTo>
                  <a:cubicBezTo>
                    <a:pt x="580" y="13861"/>
                    <a:pt x="626" y="13920"/>
                    <a:pt x="596" y="13949"/>
                  </a:cubicBezTo>
                  <a:cubicBezTo>
                    <a:pt x="563" y="13981"/>
                    <a:pt x="528" y="13962"/>
                    <a:pt x="512" y="13974"/>
                  </a:cubicBezTo>
                  <a:cubicBezTo>
                    <a:pt x="456" y="14016"/>
                    <a:pt x="362" y="14024"/>
                    <a:pt x="347" y="14085"/>
                  </a:cubicBezTo>
                  <a:cubicBezTo>
                    <a:pt x="326" y="14167"/>
                    <a:pt x="346" y="14229"/>
                    <a:pt x="268" y="14299"/>
                  </a:cubicBezTo>
                  <a:cubicBezTo>
                    <a:pt x="203" y="14358"/>
                    <a:pt x="87" y="14418"/>
                    <a:pt x="0" y="14367"/>
                  </a:cubicBezTo>
                  <a:cubicBezTo>
                    <a:pt x="165" y="14490"/>
                    <a:pt x="512" y="14461"/>
                    <a:pt x="744" y="14514"/>
                  </a:cubicBezTo>
                  <a:cubicBezTo>
                    <a:pt x="832" y="14534"/>
                    <a:pt x="1067" y="14569"/>
                    <a:pt x="1077" y="14634"/>
                  </a:cubicBezTo>
                  <a:close/>
                  <a:moveTo>
                    <a:pt x="11507" y="7403"/>
                  </a:moveTo>
                  <a:cubicBezTo>
                    <a:pt x="11586" y="7403"/>
                    <a:pt x="11797" y="7305"/>
                    <a:pt x="11862" y="7267"/>
                  </a:cubicBezTo>
                  <a:cubicBezTo>
                    <a:pt x="11985" y="7192"/>
                    <a:pt x="12195" y="7065"/>
                    <a:pt x="12319" y="6952"/>
                  </a:cubicBezTo>
                  <a:cubicBezTo>
                    <a:pt x="12465" y="6818"/>
                    <a:pt x="12554" y="6644"/>
                    <a:pt x="12723" y="6512"/>
                  </a:cubicBezTo>
                  <a:cubicBezTo>
                    <a:pt x="12854" y="6409"/>
                    <a:pt x="13284" y="6155"/>
                    <a:pt x="12999" y="6028"/>
                  </a:cubicBezTo>
                  <a:cubicBezTo>
                    <a:pt x="12809" y="5965"/>
                    <a:pt x="12548" y="6198"/>
                    <a:pt x="12422" y="6252"/>
                  </a:cubicBezTo>
                  <a:cubicBezTo>
                    <a:pt x="12350" y="6282"/>
                    <a:pt x="12364" y="6286"/>
                    <a:pt x="12288" y="6307"/>
                  </a:cubicBezTo>
                  <a:cubicBezTo>
                    <a:pt x="12258" y="6314"/>
                    <a:pt x="12137" y="6311"/>
                    <a:pt x="12091" y="6319"/>
                  </a:cubicBezTo>
                  <a:cubicBezTo>
                    <a:pt x="11931" y="6347"/>
                    <a:pt x="11769" y="6428"/>
                    <a:pt x="11685" y="6519"/>
                  </a:cubicBezTo>
                  <a:cubicBezTo>
                    <a:pt x="11529" y="6686"/>
                    <a:pt x="11185" y="6773"/>
                    <a:pt x="10983" y="6915"/>
                  </a:cubicBezTo>
                  <a:cubicBezTo>
                    <a:pt x="10610" y="7180"/>
                    <a:pt x="11390" y="7164"/>
                    <a:pt x="11252" y="7289"/>
                  </a:cubicBezTo>
                  <a:cubicBezTo>
                    <a:pt x="11410" y="7283"/>
                    <a:pt x="11365" y="7404"/>
                    <a:pt x="11507" y="7403"/>
                  </a:cubicBezTo>
                  <a:close/>
                  <a:moveTo>
                    <a:pt x="9020" y="20578"/>
                  </a:moveTo>
                  <a:lnTo>
                    <a:pt x="17382" y="21386"/>
                  </a:lnTo>
                  <a:lnTo>
                    <a:pt x="18490" y="15887"/>
                  </a:lnTo>
                  <a:cubicBezTo>
                    <a:pt x="18361" y="15853"/>
                    <a:pt x="18285" y="15549"/>
                    <a:pt x="18073" y="15666"/>
                  </a:cubicBezTo>
                  <a:cubicBezTo>
                    <a:pt x="17900" y="15761"/>
                    <a:pt x="18133" y="15784"/>
                    <a:pt x="18140" y="15896"/>
                  </a:cubicBezTo>
                  <a:cubicBezTo>
                    <a:pt x="18077" y="15861"/>
                    <a:pt x="17972" y="15819"/>
                    <a:pt x="17938" y="15769"/>
                  </a:cubicBezTo>
                  <a:cubicBezTo>
                    <a:pt x="17896" y="15708"/>
                    <a:pt x="17974" y="15689"/>
                    <a:pt x="17944" y="15640"/>
                  </a:cubicBezTo>
                  <a:cubicBezTo>
                    <a:pt x="17794" y="15401"/>
                    <a:pt x="17706" y="15675"/>
                    <a:pt x="17550" y="15710"/>
                  </a:cubicBezTo>
                  <a:cubicBezTo>
                    <a:pt x="17426" y="15738"/>
                    <a:pt x="17479" y="15753"/>
                    <a:pt x="17433" y="15784"/>
                  </a:cubicBezTo>
                  <a:cubicBezTo>
                    <a:pt x="17465" y="15762"/>
                    <a:pt x="17319" y="15900"/>
                    <a:pt x="17332" y="15877"/>
                  </a:cubicBezTo>
                  <a:cubicBezTo>
                    <a:pt x="17271" y="15978"/>
                    <a:pt x="17351" y="16091"/>
                    <a:pt x="17289" y="16186"/>
                  </a:cubicBezTo>
                  <a:cubicBezTo>
                    <a:pt x="17274" y="16101"/>
                    <a:pt x="17078" y="15934"/>
                    <a:pt x="16956" y="16016"/>
                  </a:cubicBezTo>
                  <a:cubicBezTo>
                    <a:pt x="16961" y="16004"/>
                    <a:pt x="17018" y="15945"/>
                    <a:pt x="17020" y="15936"/>
                  </a:cubicBezTo>
                  <a:cubicBezTo>
                    <a:pt x="17023" y="15922"/>
                    <a:pt x="16987" y="15859"/>
                    <a:pt x="16985" y="15864"/>
                  </a:cubicBezTo>
                  <a:cubicBezTo>
                    <a:pt x="16998" y="15844"/>
                    <a:pt x="17268" y="15722"/>
                    <a:pt x="17004" y="15763"/>
                  </a:cubicBezTo>
                  <a:cubicBezTo>
                    <a:pt x="16861" y="15785"/>
                    <a:pt x="16464" y="16066"/>
                    <a:pt x="16875" y="16017"/>
                  </a:cubicBezTo>
                  <a:cubicBezTo>
                    <a:pt x="16809" y="16089"/>
                    <a:pt x="16660" y="16081"/>
                    <a:pt x="16570" y="16140"/>
                  </a:cubicBezTo>
                  <a:cubicBezTo>
                    <a:pt x="16500" y="16187"/>
                    <a:pt x="16487" y="16266"/>
                    <a:pt x="16413" y="16314"/>
                  </a:cubicBezTo>
                  <a:cubicBezTo>
                    <a:pt x="16395" y="16257"/>
                    <a:pt x="16499" y="16097"/>
                    <a:pt x="16570" y="16063"/>
                  </a:cubicBezTo>
                  <a:cubicBezTo>
                    <a:pt x="16347" y="15972"/>
                    <a:pt x="16267" y="15950"/>
                    <a:pt x="16526" y="15858"/>
                  </a:cubicBezTo>
                  <a:cubicBezTo>
                    <a:pt x="16669" y="15807"/>
                    <a:pt x="16815" y="15784"/>
                    <a:pt x="16913" y="15684"/>
                  </a:cubicBezTo>
                  <a:cubicBezTo>
                    <a:pt x="16955" y="15643"/>
                    <a:pt x="16930" y="15620"/>
                    <a:pt x="16994" y="15567"/>
                  </a:cubicBezTo>
                  <a:cubicBezTo>
                    <a:pt x="17052" y="15519"/>
                    <a:pt x="17131" y="15506"/>
                    <a:pt x="17181" y="15457"/>
                  </a:cubicBezTo>
                  <a:cubicBezTo>
                    <a:pt x="17271" y="15369"/>
                    <a:pt x="17347" y="15169"/>
                    <a:pt x="17216" y="15085"/>
                  </a:cubicBezTo>
                  <a:cubicBezTo>
                    <a:pt x="16795" y="14818"/>
                    <a:pt x="16371" y="14585"/>
                    <a:pt x="15857" y="14378"/>
                  </a:cubicBezTo>
                  <a:cubicBezTo>
                    <a:pt x="15436" y="14209"/>
                    <a:pt x="15218" y="14195"/>
                    <a:pt x="14929" y="14470"/>
                  </a:cubicBezTo>
                  <a:cubicBezTo>
                    <a:pt x="14866" y="14530"/>
                    <a:pt x="14788" y="14596"/>
                    <a:pt x="14731" y="14655"/>
                  </a:cubicBezTo>
                  <a:cubicBezTo>
                    <a:pt x="14705" y="14682"/>
                    <a:pt x="14629" y="14702"/>
                    <a:pt x="14632" y="14742"/>
                  </a:cubicBezTo>
                  <a:cubicBezTo>
                    <a:pt x="14639" y="14814"/>
                    <a:pt x="14742" y="14774"/>
                    <a:pt x="14770" y="14816"/>
                  </a:cubicBezTo>
                  <a:cubicBezTo>
                    <a:pt x="14870" y="14965"/>
                    <a:pt x="14641" y="15066"/>
                    <a:pt x="14406" y="15110"/>
                  </a:cubicBezTo>
                  <a:cubicBezTo>
                    <a:pt x="14465" y="15041"/>
                    <a:pt x="14633" y="15009"/>
                    <a:pt x="14668" y="14926"/>
                  </a:cubicBezTo>
                  <a:cubicBezTo>
                    <a:pt x="14601" y="14939"/>
                    <a:pt x="14543" y="14977"/>
                    <a:pt x="14477" y="14990"/>
                  </a:cubicBezTo>
                  <a:cubicBezTo>
                    <a:pt x="14353" y="15015"/>
                    <a:pt x="14297" y="14981"/>
                    <a:pt x="14218" y="14981"/>
                  </a:cubicBezTo>
                  <a:cubicBezTo>
                    <a:pt x="14067" y="14981"/>
                    <a:pt x="13990" y="15036"/>
                    <a:pt x="13859" y="15071"/>
                  </a:cubicBezTo>
                  <a:cubicBezTo>
                    <a:pt x="13759" y="15097"/>
                    <a:pt x="13311" y="15169"/>
                    <a:pt x="13404" y="15021"/>
                  </a:cubicBezTo>
                  <a:cubicBezTo>
                    <a:pt x="13431" y="14979"/>
                    <a:pt x="13754" y="14938"/>
                    <a:pt x="13794" y="14878"/>
                  </a:cubicBezTo>
                  <a:cubicBezTo>
                    <a:pt x="13848" y="14796"/>
                    <a:pt x="13716" y="14654"/>
                    <a:pt x="13955" y="14608"/>
                  </a:cubicBezTo>
                  <a:cubicBezTo>
                    <a:pt x="14178" y="14566"/>
                    <a:pt x="14193" y="14695"/>
                    <a:pt x="14239" y="14523"/>
                  </a:cubicBezTo>
                  <a:cubicBezTo>
                    <a:pt x="14260" y="14445"/>
                    <a:pt x="14228" y="14339"/>
                    <a:pt x="14261" y="14252"/>
                  </a:cubicBezTo>
                  <a:cubicBezTo>
                    <a:pt x="14290" y="14175"/>
                    <a:pt x="14326" y="14121"/>
                    <a:pt x="14364" y="14049"/>
                  </a:cubicBezTo>
                  <a:cubicBezTo>
                    <a:pt x="14446" y="13893"/>
                    <a:pt x="14519" y="13727"/>
                    <a:pt x="14427" y="13562"/>
                  </a:cubicBezTo>
                  <a:cubicBezTo>
                    <a:pt x="14355" y="13434"/>
                    <a:pt x="14056" y="13137"/>
                    <a:pt x="13826" y="13152"/>
                  </a:cubicBezTo>
                  <a:cubicBezTo>
                    <a:pt x="13713" y="13159"/>
                    <a:pt x="13555" y="13251"/>
                    <a:pt x="13440" y="13277"/>
                  </a:cubicBezTo>
                  <a:cubicBezTo>
                    <a:pt x="12891" y="13404"/>
                    <a:pt x="12327" y="13502"/>
                    <a:pt x="11752" y="13630"/>
                  </a:cubicBezTo>
                  <a:cubicBezTo>
                    <a:pt x="11486" y="13689"/>
                    <a:pt x="11254" y="13788"/>
                    <a:pt x="10988" y="13842"/>
                  </a:cubicBezTo>
                  <a:cubicBezTo>
                    <a:pt x="10849" y="13871"/>
                    <a:pt x="10670" y="13847"/>
                    <a:pt x="10541" y="13884"/>
                  </a:cubicBezTo>
                  <a:cubicBezTo>
                    <a:pt x="10405" y="13923"/>
                    <a:pt x="10306" y="14058"/>
                    <a:pt x="10177" y="14120"/>
                  </a:cubicBezTo>
                  <a:cubicBezTo>
                    <a:pt x="9896" y="14257"/>
                    <a:pt x="9594" y="14345"/>
                    <a:pt x="9326" y="14474"/>
                  </a:cubicBezTo>
                  <a:cubicBezTo>
                    <a:pt x="9108" y="14579"/>
                    <a:pt x="8538" y="14781"/>
                    <a:pt x="8779" y="15014"/>
                  </a:cubicBezTo>
                  <a:cubicBezTo>
                    <a:pt x="8882" y="15114"/>
                    <a:pt x="9090" y="15060"/>
                    <a:pt x="9168" y="15169"/>
                  </a:cubicBezTo>
                  <a:cubicBezTo>
                    <a:pt x="9261" y="15296"/>
                    <a:pt x="9103" y="15390"/>
                    <a:pt x="8958" y="15416"/>
                  </a:cubicBezTo>
                  <a:cubicBezTo>
                    <a:pt x="8704" y="15462"/>
                    <a:pt x="8487" y="15415"/>
                    <a:pt x="8321" y="15572"/>
                  </a:cubicBezTo>
                  <a:cubicBezTo>
                    <a:pt x="8275" y="15616"/>
                    <a:pt x="8298" y="15660"/>
                    <a:pt x="8227" y="15707"/>
                  </a:cubicBezTo>
                  <a:cubicBezTo>
                    <a:pt x="8168" y="15745"/>
                    <a:pt x="8054" y="15759"/>
                    <a:pt x="7985" y="15795"/>
                  </a:cubicBezTo>
                  <a:cubicBezTo>
                    <a:pt x="7587" y="16003"/>
                    <a:pt x="7278" y="16534"/>
                    <a:pt x="7662" y="16796"/>
                  </a:cubicBezTo>
                  <a:cubicBezTo>
                    <a:pt x="7561" y="16477"/>
                    <a:pt x="8490" y="16692"/>
                    <a:pt x="8196" y="16883"/>
                  </a:cubicBezTo>
                  <a:cubicBezTo>
                    <a:pt x="8258" y="16884"/>
                    <a:pt x="8385" y="16906"/>
                    <a:pt x="8443" y="16891"/>
                  </a:cubicBezTo>
                  <a:cubicBezTo>
                    <a:pt x="8536" y="16868"/>
                    <a:pt x="8522" y="16815"/>
                    <a:pt x="8611" y="16776"/>
                  </a:cubicBezTo>
                  <a:cubicBezTo>
                    <a:pt x="8769" y="16708"/>
                    <a:pt x="8852" y="16788"/>
                    <a:pt x="9019" y="16778"/>
                  </a:cubicBezTo>
                  <a:cubicBezTo>
                    <a:pt x="8976" y="16797"/>
                    <a:pt x="8768" y="16833"/>
                    <a:pt x="8760" y="16870"/>
                  </a:cubicBezTo>
                  <a:cubicBezTo>
                    <a:pt x="8752" y="16908"/>
                    <a:pt x="8856" y="16903"/>
                    <a:pt x="8904" y="16933"/>
                  </a:cubicBezTo>
                  <a:cubicBezTo>
                    <a:pt x="8999" y="16992"/>
                    <a:pt x="9118" y="17114"/>
                    <a:pt x="8874" y="17057"/>
                  </a:cubicBezTo>
                  <a:cubicBezTo>
                    <a:pt x="8959" y="17158"/>
                    <a:pt x="8824" y="17094"/>
                    <a:pt x="8721" y="17092"/>
                  </a:cubicBezTo>
                  <a:cubicBezTo>
                    <a:pt x="8568" y="17090"/>
                    <a:pt x="8414" y="17056"/>
                    <a:pt x="8291" y="17125"/>
                  </a:cubicBezTo>
                  <a:cubicBezTo>
                    <a:pt x="8147" y="17206"/>
                    <a:pt x="8168" y="17339"/>
                    <a:pt x="8316" y="17407"/>
                  </a:cubicBezTo>
                  <a:cubicBezTo>
                    <a:pt x="8386" y="17439"/>
                    <a:pt x="8718" y="17487"/>
                    <a:pt x="8781" y="17479"/>
                  </a:cubicBezTo>
                  <a:cubicBezTo>
                    <a:pt x="8883" y="17466"/>
                    <a:pt x="9199" y="17582"/>
                    <a:pt x="9162" y="17388"/>
                  </a:cubicBezTo>
                  <a:cubicBezTo>
                    <a:pt x="9155" y="17344"/>
                    <a:pt x="8942" y="17346"/>
                    <a:pt x="9052" y="17284"/>
                  </a:cubicBezTo>
                  <a:cubicBezTo>
                    <a:pt x="9164" y="17221"/>
                    <a:pt x="9149" y="17246"/>
                    <a:pt x="9238" y="17296"/>
                  </a:cubicBezTo>
                  <a:cubicBezTo>
                    <a:pt x="9213" y="17281"/>
                    <a:pt x="9309" y="17396"/>
                    <a:pt x="9306" y="17379"/>
                  </a:cubicBezTo>
                  <a:cubicBezTo>
                    <a:pt x="9320" y="17463"/>
                    <a:pt x="9115" y="17510"/>
                    <a:pt x="9371" y="17500"/>
                  </a:cubicBezTo>
                  <a:cubicBezTo>
                    <a:pt x="9761" y="17485"/>
                    <a:pt x="10135" y="17451"/>
                    <a:pt x="10527" y="17440"/>
                  </a:cubicBezTo>
                  <a:cubicBezTo>
                    <a:pt x="10774" y="17434"/>
                    <a:pt x="11118" y="17373"/>
                    <a:pt x="11359" y="17387"/>
                  </a:cubicBezTo>
                  <a:cubicBezTo>
                    <a:pt x="11435" y="17392"/>
                    <a:pt x="11507" y="17396"/>
                    <a:pt x="11559" y="17441"/>
                  </a:cubicBezTo>
                  <a:cubicBezTo>
                    <a:pt x="11634" y="17505"/>
                    <a:pt x="11481" y="17490"/>
                    <a:pt x="11556" y="17548"/>
                  </a:cubicBezTo>
                  <a:cubicBezTo>
                    <a:pt x="11674" y="17640"/>
                    <a:pt x="11919" y="17566"/>
                    <a:pt x="12059" y="17546"/>
                  </a:cubicBezTo>
                  <a:cubicBezTo>
                    <a:pt x="11778" y="17683"/>
                    <a:pt x="11704" y="17672"/>
                    <a:pt x="11453" y="17588"/>
                  </a:cubicBezTo>
                  <a:cubicBezTo>
                    <a:pt x="11301" y="17537"/>
                    <a:pt x="10921" y="17564"/>
                    <a:pt x="10677" y="17620"/>
                  </a:cubicBezTo>
                  <a:cubicBezTo>
                    <a:pt x="10753" y="17639"/>
                    <a:pt x="10839" y="17669"/>
                    <a:pt x="10920" y="17693"/>
                  </a:cubicBezTo>
                  <a:cubicBezTo>
                    <a:pt x="10925" y="17694"/>
                    <a:pt x="11174" y="17768"/>
                    <a:pt x="11158" y="17754"/>
                  </a:cubicBezTo>
                  <a:cubicBezTo>
                    <a:pt x="11282" y="17864"/>
                    <a:pt x="10798" y="17811"/>
                    <a:pt x="10680" y="17820"/>
                  </a:cubicBezTo>
                  <a:cubicBezTo>
                    <a:pt x="10706" y="17810"/>
                    <a:pt x="10741" y="17790"/>
                    <a:pt x="10770" y="17779"/>
                  </a:cubicBezTo>
                  <a:cubicBezTo>
                    <a:pt x="10535" y="17723"/>
                    <a:pt x="10108" y="17822"/>
                    <a:pt x="9876" y="17862"/>
                  </a:cubicBezTo>
                  <a:cubicBezTo>
                    <a:pt x="9795" y="17876"/>
                    <a:pt x="9767" y="17929"/>
                    <a:pt x="9671" y="17948"/>
                  </a:cubicBezTo>
                  <a:cubicBezTo>
                    <a:pt x="9616" y="17959"/>
                    <a:pt x="9521" y="17931"/>
                    <a:pt x="9463" y="17933"/>
                  </a:cubicBezTo>
                  <a:cubicBezTo>
                    <a:pt x="9271" y="17939"/>
                    <a:pt x="9089" y="17985"/>
                    <a:pt x="8893" y="17988"/>
                  </a:cubicBezTo>
                  <a:cubicBezTo>
                    <a:pt x="8673" y="17992"/>
                    <a:pt x="8509" y="17982"/>
                    <a:pt x="8310" y="18047"/>
                  </a:cubicBezTo>
                  <a:cubicBezTo>
                    <a:pt x="8027" y="18139"/>
                    <a:pt x="7667" y="18182"/>
                    <a:pt x="7706" y="18411"/>
                  </a:cubicBezTo>
                  <a:cubicBezTo>
                    <a:pt x="7740" y="18610"/>
                    <a:pt x="7885" y="18746"/>
                    <a:pt x="8074" y="18898"/>
                  </a:cubicBezTo>
                  <a:cubicBezTo>
                    <a:pt x="8117" y="18932"/>
                    <a:pt x="8181" y="18974"/>
                    <a:pt x="8210" y="19013"/>
                  </a:cubicBezTo>
                  <a:cubicBezTo>
                    <a:pt x="8268" y="19096"/>
                    <a:pt x="8210" y="19093"/>
                    <a:pt x="8229" y="19172"/>
                  </a:cubicBezTo>
                  <a:cubicBezTo>
                    <a:pt x="8241" y="19224"/>
                    <a:pt x="8237" y="19251"/>
                    <a:pt x="8303" y="19295"/>
                  </a:cubicBezTo>
                  <a:cubicBezTo>
                    <a:pt x="8420" y="19372"/>
                    <a:pt x="8402" y="19305"/>
                    <a:pt x="8521" y="19331"/>
                  </a:cubicBezTo>
                  <a:cubicBezTo>
                    <a:pt x="8722" y="19376"/>
                    <a:pt x="9031" y="19455"/>
                    <a:pt x="9327" y="19478"/>
                  </a:cubicBezTo>
                  <a:cubicBezTo>
                    <a:pt x="9512" y="19493"/>
                    <a:pt x="9630" y="19446"/>
                    <a:pt x="9816" y="19463"/>
                  </a:cubicBezTo>
                  <a:cubicBezTo>
                    <a:pt x="10083" y="19487"/>
                    <a:pt x="10004" y="19586"/>
                    <a:pt x="10203" y="19642"/>
                  </a:cubicBezTo>
                  <a:cubicBezTo>
                    <a:pt x="10305" y="19670"/>
                    <a:pt x="10435" y="19637"/>
                    <a:pt x="10579" y="19657"/>
                  </a:cubicBezTo>
                  <a:cubicBezTo>
                    <a:pt x="10648" y="19667"/>
                    <a:pt x="10755" y="19719"/>
                    <a:pt x="10791" y="19723"/>
                  </a:cubicBezTo>
                  <a:cubicBezTo>
                    <a:pt x="10858" y="19731"/>
                    <a:pt x="10917" y="19704"/>
                    <a:pt x="11006" y="19702"/>
                  </a:cubicBezTo>
                  <a:cubicBezTo>
                    <a:pt x="11183" y="19697"/>
                    <a:pt x="11350" y="19758"/>
                    <a:pt x="11527" y="19759"/>
                  </a:cubicBezTo>
                  <a:cubicBezTo>
                    <a:pt x="11670" y="19761"/>
                    <a:pt x="11786" y="19754"/>
                    <a:pt x="11924" y="19756"/>
                  </a:cubicBezTo>
                  <a:cubicBezTo>
                    <a:pt x="12102" y="19759"/>
                    <a:pt x="12219" y="19682"/>
                    <a:pt x="12373" y="19676"/>
                  </a:cubicBezTo>
                  <a:cubicBezTo>
                    <a:pt x="12467" y="19673"/>
                    <a:pt x="12545" y="19734"/>
                    <a:pt x="12638" y="19726"/>
                  </a:cubicBezTo>
                  <a:cubicBezTo>
                    <a:pt x="12718" y="19719"/>
                    <a:pt x="12766" y="19653"/>
                    <a:pt x="12841" y="19645"/>
                  </a:cubicBezTo>
                  <a:cubicBezTo>
                    <a:pt x="12999" y="19626"/>
                    <a:pt x="13115" y="19710"/>
                    <a:pt x="13231" y="19764"/>
                  </a:cubicBezTo>
                  <a:cubicBezTo>
                    <a:pt x="13318" y="19804"/>
                    <a:pt x="13309" y="19819"/>
                    <a:pt x="13395" y="19840"/>
                  </a:cubicBezTo>
                  <a:cubicBezTo>
                    <a:pt x="13374" y="19835"/>
                    <a:pt x="13472" y="19805"/>
                    <a:pt x="13499" y="19808"/>
                  </a:cubicBezTo>
                  <a:cubicBezTo>
                    <a:pt x="13525" y="19810"/>
                    <a:pt x="13544" y="19862"/>
                    <a:pt x="13578" y="19871"/>
                  </a:cubicBezTo>
                  <a:cubicBezTo>
                    <a:pt x="13647" y="19889"/>
                    <a:pt x="13747" y="19899"/>
                    <a:pt x="13796" y="19919"/>
                  </a:cubicBezTo>
                  <a:cubicBezTo>
                    <a:pt x="13806" y="19923"/>
                    <a:pt x="13777" y="19981"/>
                    <a:pt x="13799" y="19994"/>
                  </a:cubicBezTo>
                  <a:cubicBezTo>
                    <a:pt x="13838" y="20017"/>
                    <a:pt x="13880" y="19982"/>
                    <a:pt x="13905" y="19998"/>
                  </a:cubicBezTo>
                  <a:cubicBezTo>
                    <a:pt x="13974" y="20045"/>
                    <a:pt x="14079" y="20167"/>
                    <a:pt x="14151" y="20180"/>
                  </a:cubicBezTo>
                  <a:cubicBezTo>
                    <a:pt x="14186" y="20187"/>
                    <a:pt x="14286" y="20127"/>
                    <a:pt x="14385" y="20161"/>
                  </a:cubicBezTo>
                  <a:cubicBezTo>
                    <a:pt x="14444" y="20181"/>
                    <a:pt x="14458" y="20251"/>
                    <a:pt x="14523" y="20275"/>
                  </a:cubicBezTo>
                  <a:cubicBezTo>
                    <a:pt x="14613" y="20310"/>
                    <a:pt x="14633" y="20268"/>
                    <a:pt x="14702" y="20284"/>
                  </a:cubicBezTo>
                  <a:cubicBezTo>
                    <a:pt x="14720" y="20287"/>
                    <a:pt x="14798" y="20323"/>
                    <a:pt x="14836" y="20338"/>
                  </a:cubicBezTo>
                  <a:cubicBezTo>
                    <a:pt x="15009" y="20404"/>
                    <a:pt x="15034" y="20401"/>
                    <a:pt x="15094" y="20539"/>
                  </a:cubicBezTo>
                  <a:cubicBezTo>
                    <a:pt x="15146" y="20659"/>
                    <a:pt x="15125" y="20675"/>
                    <a:pt x="15301" y="20735"/>
                  </a:cubicBezTo>
                  <a:cubicBezTo>
                    <a:pt x="15404" y="20770"/>
                    <a:pt x="15739" y="20762"/>
                    <a:pt x="15762" y="20847"/>
                  </a:cubicBezTo>
                  <a:cubicBezTo>
                    <a:pt x="15769" y="20876"/>
                    <a:pt x="15687" y="20904"/>
                    <a:pt x="15683" y="20895"/>
                  </a:cubicBezTo>
                  <a:cubicBezTo>
                    <a:pt x="15668" y="20863"/>
                    <a:pt x="15674" y="20981"/>
                    <a:pt x="15698" y="20937"/>
                  </a:cubicBezTo>
                  <a:cubicBezTo>
                    <a:pt x="15687" y="20957"/>
                    <a:pt x="15867" y="20955"/>
                    <a:pt x="15683" y="20995"/>
                  </a:cubicBezTo>
                  <a:cubicBezTo>
                    <a:pt x="15604" y="21012"/>
                    <a:pt x="15231" y="20989"/>
                    <a:pt x="15164" y="20979"/>
                  </a:cubicBezTo>
                  <a:cubicBezTo>
                    <a:pt x="15017" y="20958"/>
                    <a:pt x="14900" y="20847"/>
                    <a:pt x="14750" y="20855"/>
                  </a:cubicBezTo>
                  <a:cubicBezTo>
                    <a:pt x="14789" y="20869"/>
                    <a:pt x="14858" y="20909"/>
                    <a:pt x="14912" y="20922"/>
                  </a:cubicBezTo>
                  <a:cubicBezTo>
                    <a:pt x="14886" y="20923"/>
                    <a:pt x="14751" y="20911"/>
                    <a:pt x="14727" y="20920"/>
                  </a:cubicBezTo>
                  <a:cubicBezTo>
                    <a:pt x="14721" y="20923"/>
                    <a:pt x="14557" y="20996"/>
                    <a:pt x="14622" y="20987"/>
                  </a:cubicBezTo>
                  <a:cubicBezTo>
                    <a:pt x="14581" y="20992"/>
                    <a:pt x="14252" y="20920"/>
                    <a:pt x="14391" y="21039"/>
                  </a:cubicBezTo>
                  <a:cubicBezTo>
                    <a:pt x="14223" y="21064"/>
                    <a:pt x="14091" y="20948"/>
                    <a:pt x="13948" y="20912"/>
                  </a:cubicBezTo>
                  <a:cubicBezTo>
                    <a:pt x="13856" y="20889"/>
                    <a:pt x="13861" y="20932"/>
                    <a:pt x="13800" y="20917"/>
                  </a:cubicBezTo>
                  <a:cubicBezTo>
                    <a:pt x="13747" y="20903"/>
                    <a:pt x="13639" y="20848"/>
                    <a:pt x="13580" y="20827"/>
                  </a:cubicBezTo>
                  <a:cubicBezTo>
                    <a:pt x="13263" y="20715"/>
                    <a:pt x="12913" y="20783"/>
                    <a:pt x="12588" y="20671"/>
                  </a:cubicBezTo>
                  <a:cubicBezTo>
                    <a:pt x="12433" y="20617"/>
                    <a:pt x="12371" y="20558"/>
                    <a:pt x="12182" y="20534"/>
                  </a:cubicBezTo>
                  <a:cubicBezTo>
                    <a:pt x="12002" y="20511"/>
                    <a:pt x="11857" y="20530"/>
                    <a:pt x="11680" y="20536"/>
                  </a:cubicBezTo>
                  <a:cubicBezTo>
                    <a:pt x="11378" y="20547"/>
                    <a:pt x="11053" y="20524"/>
                    <a:pt x="10748" y="20523"/>
                  </a:cubicBezTo>
                  <a:cubicBezTo>
                    <a:pt x="10359" y="20520"/>
                    <a:pt x="10004" y="20519"/>
                    <a:pt x="9617" y="20546"/>
                  </a:cubicBezTo>
                  <a:cubicBezTo>
                    <a:pt x="9418" y="20560"/>
                    <a:pt x="9219" y="20571"/>
                    <a:pt x="9020" y="20578"/>
                  </a:cubicBezTo>
                  <a:cubicBezTo>
                    <a:pt x="8643" y="20593"/>
                    <a:pt x="8419" y="20678"/>
                    <a:pt x="8067" y="20790"/>
                  </a:cubicBezTo>
                  <a:cubicBezTo>
                    <a:pt x="8079" y="21011"/>
                    <a:pt x="8015" y="21289"/>
                    <a:pt x="8196" y="21480"/>
                  </a:cubicBezTo>
                  <a:cubicBezTo>
                    <a:pt x="8216" y="21501"/>
                    <a:pt x="8243" y="21517"/>
                    <a:pt x="8266" y="21536"/>
                  </a:cubicBezTo>
                  <a:cubicBezTo>
                    <a:pt x="8521" y="21513"/>
                    <a:pt x="8734" y="21392"/>
                    <a:pt x="8504" y="21107"/>
                  </a:cubicBezTo>
                  <a:cubicBezTo>
                    <a:pt x="8186" y="20715"/>
                    <a:pt x="9020" y="20578"/>
                    <a:pt x="9020" y="20578"/>
                  </a:cubicBezTo>
                  <a:close/>
                  <a:moveTo>
                    <a:pt x="8468" y="5229"/>
                  </a:moveTo>
                  <a:cubicBezTo>
                    <a:pt x="8569" y="5318"/>
                    <a:pt x="8359" y="5452"/>
                    <a:pt x="8227" y="5485"/>
                  </a:cubicBezTo>
                  <a:cubicBezTo>
                    <a:pt x="8358" y="5518"/>
                    <a:pt x="8133" y="5605"/>
                    <a:pt x="8250" y="5715"/>
                  </a:cubicBezTo>
                  <a:cubicBezTo>
                    <a:pt x="8359" y="5819"/>
                    <a:pt x="8639" y="5636"/>
                    <a:pt x="8683" y="5619"/>
                  </a:cubicBezTo>
                  <a:cubicBezTo>
                    <a:pt x="8777" y="5584"/>
                    <a:pt x="8694" y="5570"/>
                    <a:pt x="8832" y="5559"/>
                  </a:cubicBezTo>
                  <a:cubicBezTo>
                    <a:pt x="8975" y="5549"/>
                    <a:pt x="9110" y="5622"/>
                    <a:pt x="9189" y="5691"/>
                  </a:cubicBezTo>
                  <a:cubicBezTo>
                    <a:pt x="9283" y="5772"/>
                    <a:pt x="9274" y="5913"/>
                    <a:pt x="9390" y="5971"/>
                  </a:cubicBezTo>
                  <a:cubicBezTo>
                    <a:pt x="9431" y="5858"/>
                    <a:pt x="9560" y="5802"/>
                    <a:pt x="9741" y="5839"/>
                  </a:cubicBezTo>
                  <a:cubicBezTo>
                    <a:pt x="9663" y="5919"/>
                    <a:pt x="9714" y="5988"/>
                    <a:pt x="9771" y="5866"/>
                  </a:cubicBezTo>
                  <a:cubicBezTo>
                    <a:pt x="9798" y="5808"/>
                    <a:pt x="9767" y="5744"/>
                    <a:pt x="9783" y="5687"/>
                  </a:cubicBezTo>
                  <a:cubicBezTo>
                    <a:pt x="9817" y="5573"/>
                    <a:pt x="10076" y="5194"/>
                    <a:pt x="10195" y="5485"/>
                  </a:cubicBezTo>
                  <a:cubicBezTo>
                    <a:pt x="10207" y="5512"/>
                    <a:pt x="9856" y="5983"/>
                    <a:pt x="10201" y="5889"/>
                  </a:cubicBezTo>
                  <a:cubicBezTo>
                    <a:pt x="10347" y="5850"/>
                    <a:pt x="10205" y="6033"/>
                    <a:pt x="10193" y="6056"/>
                  </a:cubicBezTo>
                  <a:cubicBezTo>
                    <a:pt x="10131" y="6180"/>
                    <a:pt x="10017" y="6258"/>
                    <a:pt x="10146" y="6387"/>
                  </a:cubicBezTo>
                  <a:cubicBezTo>
                    <a:pt x="10262" y="6341"/>
                    <a:pt x="10331" y="6255"/>
                    <a:pt x="10453" y="6224"/>
                  </a:cubicBezTo>
                  <a:cubicBezTo>
                    <a:pt x="10475" y="6357"/>
                    <a:pt x="10669" y="6315"/>
                    <a:pt x="10791" y="6286"/>
                  </a:cubicBezTo>
                  <a:cubicBezTo>
                    <a:pt x="10844" y="6273"/>
                    <a:pt x="10839" y="6205"/>
                    <a:pt x="10917" y="6226"/>
                  </a:cubicBezTo>
                  <a:cubicBezTo>
                    <a:pt x="11022" y="6255"/>
                    <a:pt x="10896" y="6159"/>
                    <a:pt x="10903" y="6153"/>
                  </a:cubicBezTo>
                  <a:cubicBezTo>
                    <a:pt x="11028" y="6036"/>
                    <a:pt x="11091" y="6131"/>
                    <a:pt x="11164" y="6052"/>
                  </a:cubicBezTo>
                  <a:cubicBezTo>
                    <a:pt x="11229" y="5982"/>
                    <a:pt x="11139" y="5898"/>
                    <a:pt x="11096" y="5836"/>
                  </a:cubicBezTo>
                  <a:cubicBezTo>
                    <a:pt x="10954" y="5635"/>
                    <a:pt x="11053" y="5822"/>
                    <a:pt x="11177" y="5739"/>
                  </a:cubicBezTo>
                  <a:cubicBezTo>
                    <a:pt x="11202" y="5723"/>
                    <a:pt x="11109" y="5665"/>
                    <a:pt x="11131" y="5631"/>
                  </a:cubicBezTo>
                  <a:cubicBezTo>
                    <a:pt x="11153" y="5595"/>
                    <a:pt x="11228" y="5626"/>
                    <a:pt x="11254" y="5559"/>
                  </a:cubicBezTo>
                  <a:cubicBezTo>
                    <a:pt x="11287" y="5476"/>
                    <a:pt x="11242" y="5398"/>
                    <a:pt x="11280" y="5314"/>
                  </a:cubicBezTo>
                  <a:cubicBezTo>
                    <a:pt x="11351" y="5157"/>
                    <a:pt x="11301" y="5258"/>
                    <a:pt x="11496" y="5161"/>
                  </a:cubicBezTo>
                  <a:cubicBezTo>
                    <a:pt x="11497" y="5342"/>
                    <a:pt x="11430" y="5527"/>
                    <a:pt x="11466" y="5702"/>
                  </a:cubicBezTo>
                  <a:cubicBezTo>
                    <a:pt x="11486" y="5803"/>
                    <a:pt x="11591" y="5896"/>
                    <a:pt x="11770" y="5788"/>
                  </a:cubicBezTo>
                  <a:cubicBezTo>
                    <a:pt x="11894" y="5712"/>
                    <a:pt x="11850" y="5623"/>
                    <a:pt x="11912" y="5529"/>
                  </a:cubicBezTo>
                  <a:cubicBezTo>
                    <a:pt x="12001" y="5397"/>
                    <a:pt x="12115" y="5509"/>
                    <a:pt x="12232" y="5434"/>
                  </a:cubicBezTo>
                  <a:cubicBezTo>
                    <a:pt x="12330" y="5371"/>
                    <a:pt x="12353" y="5268"/>
                    <a:pt x="12342" y="5182"/>
                  </a:cubicBezTo>
                  <a:cubicBezTo>
                    <a:pt x="12327" y="5070"/>
                    <a:pt x="12246" y="5045"/>
                    <a:pt x="12189" y="4957"/>
                  </a:cubicBezTo>
                  <a:cubicBezTo>
                    <a:pt x="12098" y="4817"/>
                    <a:pt x="12312" y="4883"/>
                    <a:pt x="12289" y="4782"/>
                  </a:cubicBezTo>
                  <a:cubicBezTo>
                    <a:pt x="12369" y="4809"/>
                    <a:pt x="12349" y="4906"/>
                    <a:pt x="12422" y="4917"/>
                  </a:cubicBezTo>
                  <a:cubicBezTo>
                    <a:pt x="12449" y="4921"/>
                    <a:pt x="12684" y="4848"/>
                    <a:pt x="12708" y="4833"/>
                  </a:cubicBezTo>
                  <a:cubicBezTo>
                    <a:pt x="12763" y="4798"/>
                    <a:pt x="12785" y="4782"/>
                    <a:pt x="12790" y="4702"/>
                  </a:cubicBezTo>
                  <a:cubicBezTo>
                    <a:pt x="12795" y="4632"/>
                    <a:pt x="12725" y="4566"/>
                    <a:pt x="12734" y="4507"/>
                  </a:cubicBezTo>
                  <a:cubicBezTo>
                    <a:pt x="12746" y="4423"/>
                    <a:pt x="12756" y="4397"/>
                    <a:pt x="12874" y="4446"/>
                  </a:cubicBezTo>
                  <a:cubicBezTo>
                    <a:pt x="12928" y="4469"/>
                    <a:pt x="12940" y="4321"/>
                    <a:pt x="12975" y="4306"/>
                  </a:cubicBezTo>
                  <a:cubicBezTo>
                    <a:pt x="13011" y="4291"/>
                    <a:pt x="13071" y="4343"/>
                    <a:pt x="13108" y="4340"/>
                  </a:cubicBezTo>
                  <a:cubicBezTo>
                    <a:pt x="13195" y="4335"/>
                    <a:pt x="13242" y="4278"/>
                    <a:pt x="13319" y="4268"/>
                  </a:cubicBezTo>
                  <a:cubicBezTo>
                    <a:pt x="13441" y="4251"/>
                    <a:pt x="13479" y="4237"/>
                    <a:pt x="13480" y="4344"/>
                  </a:cubicBezTo>
                  <a:cubicBezTo>
                    <a:pt x="13480" y="4434"/>
                    <a:pt x="13264" y="4570"/>
                    <a:pt x="13207" y="4646"/>
                  </a:cubicBezTo>
                  <a:cubicBezTo>
                    <a:pt x="13129" y="4752"/>
                    <a:pt x="13161" y="4863"/>
                    <a:pt x="13094" y="4961"/>
                  </a:cubicBezTo>
                  <a:cubicBezTo>
                    <a:pt x="13054" y="5020"/>
                    <a:pt x="12987" y="5064"/>
                    <a:pt x="12949" y="5128"/>
                  </a:cubicBezTo>
                  <a:cubicBezTo>
                    <a:pt x="12880" y="5243"/>
                    <a:pt x="12880" y="5256"/>
                    <a:pt x="12965" y="5377"/>
                  </a:cubicBezTo>
                  <a:cubicBezTo>
                    <a:pt x="12994" y="5419"/>
                    <a:pt x="13040" y="5472"/>
                    <a:pt x="13059" y="5496"/>
                  </a:cubicBezTo>
                  <a:cubicBezTo>
                    <a:pt x="13049" y="5484"/>
                    <a:pt x="13142" y="5551"/>
                    <a:pt x="13140" y="5549"/>
                  </a:cubicBezTo>
                  <a:cubicBezTo>
                    <a:pt x="13164" y="5569"/>
                    <a:pt x="13123" y="5616"/>
                    <a:pt x="13179" y="5648"/>
                  </a:cubicBezTo>
                  <a:cubicBezTo>
                    <a:pt x="13340" y="5738"/>
                    <a:pt x="13767" y="5631"/>
                    <a:pt x="13842" y="5511"/>
                  </a:cubicBezTo>
                  <a:cubicBezTo>
                    <a:pt x="13927" y="5375"/>
                    <a:pt x="13748" y="5129"/>
                    <a:pt x="13955" y="5034"/>
                  </a:cubicBezTo>
                  <a:cubicBezTo>
                    <a:pt x="14107" y="4964"/>
                    <a:pt x="14372" y="5042"/>
                    <a:pt x="14537" y="5012"/>
                  </a:cubicBezTo>
                  <a:cubicBezTo>
                    <a:pt x="14835" y="4959"/>
                    <a:pt x="15042" y="4890"/>
                    <a:pt x="15062" y="4686"/>
                  </a:cubicBezTo>
                  <a:cubicBezTo>
                    <a:pt x="15063" y="4671"/>
                    <a:pt x="15075" y="4508"/>
                    <a:pt x="15066" y="4490"/>
                  </a:cubicBezTo>
                  <a:cubicBezTo>
                    <a:pt x="15025" y="4406"/>
                    <a:pt x="14781" y="4305"/>
                    <a:pt x="14832" y="4200"/>
                  </a:cubicBezTo>
                  <a:cubicBezTo>
                    <a:pt x="14891" y="4082"/>
                    <a:pt x="15065" y="4268"/>
                    <a:pt x="15209" y="4263"/>
                  </a:cubicBezTo>
                  <a:cubicBezTo>
                    <a:pt x="15573" y="4249"/>
                    <a:pt x="15318" y="4095"/>
                    <a:pt x="15211" y="4019"/>
                  </a:cubicBezTo>
                  <a:cubicBezTo>
                    <a:pt x="15076" y="3926"/>
                    <a:pt x="15044" y="3874"/>
                    <a:pt x="15037" y="3753"/>
                  </a:cubicBezTo>
                  <a:cubicBezTo>
                    <a:pt x="15031" y="3678"/>
                    <a:pt x="15008" y="3655"/>
                    <a:pt x="15071" y="3595"/>
                  </a:cubicBezTo>
                  <a:cubicBezTo>
                    <a:pt x="15171" y="3501"/>
                    <a:pt x="15151" y="3543"/>
                    <a:pt x="15293" y="3507"/>
                  </a:cubicBezTo>
                  <a:cubicBezTo>
                    <a:pt x="15561" y="3440"/>
                    <a:pt x="16209" y="3338"/>
                    <a:pt x="15867" y="3107"/>
                  </a:cubicBezTo>
                  <a:cubicBezTo>
                    <a:pt x="15797" y="3060"/>
                    <a:pt x="15764" y="2996"/>
                    <a:pt x="15697" y="2948"/>
                  </a:cubicBezTo>
                  <a:cubicBezTo>
                    <a:pt x="15655" y="2919"/>
                    <a:pt x="15557" y="2887"/>
                    <a:pt x="15526" y="2854"/>
                  </a:cubicBezTo>
                  <a:cubicBezTo>
                    <a:pt x="15459" y="2782"/>
                    <a:pt x="15466" y="2645"/>
                    <a:pt x="15330" y="2597"/>
                  </a:cubicBezTo>
                  <a:cubicBezTo>
                    <a:pt x="15273" y="2578"/>
                    <a:pt x="14994" y="2535"/>
                    <a:pt x="14905" y="2564"/>
                  </a:cubicBezTo>
                  <a:cubicBezTo>
                    <a:pt x="14768" y="2608"/>
                    <a:pt x="14992" y="2590"/>
                    <a:pt x="14935" y="2659"/>
                  </a:cubicBezTo>
                  <a:cubicBezTo>
                    <a:pt x="14898" y="2702"/>
                    <a:pt x="14782" y="2705"/>
                    <a:pt x="14725" y="2721"/>
                  </a:cubicBezTo>
                  <a:cubicBezTo>
                    <a:pt x="14672" y="2736"/>
                    <a:pt x="14645" y="2657"/>
                    <a:pt x="14593" y="2727"/>
                  </a:cubicBezTo>
                  <a:cubicBezTo>
                    <a:pt x="14595" y="2723"/>
                    <a:pt x="14659" y="2884"/>
                    <a:pt x="14660" y="2885"/>
                  </a:cubicBezTo>
                  <a:cubicBezTo>
                    <a:pt x="14717" y="2936"/>
                    <a:pt x="14951" y="2913"/>
                    <a:pt x="14946" y="2983"/>
                  </a:cubicBezTo>
                  <a:cubicBezTo>
                    <a:pt x="14947" y="2964"/>
                    <a:pt x="14715" y="3120"/>
                    <a:pt x="14771" y="3116"/>
                  </a:cubicBezTo>
                  <a:cubicBezTo>
                    <a:pt x="14669" y="3123"/>
                    <a:pt x="14680" y="3050"/>
                    <a:pt x="14615" y="3030"/>
                  </a:cubicBezTo>
                  <a:cubicBezTo>
                    <a:pt x="14309" y="2937"/>
                    <a:pt x="14691" y="3082"/>
                    <a:pt x="14521" y="3151"/>
                  </a:cubicBezTo>
                  <a:cubicBezTo>
                    <a:pt x="14491" y="3163"/>
                    <a:pt x="14339" y="3113"/>
                    <a:pt x="14313" y="3102"/>
                  </a:cubicBezTo>
                  <a:cubicBezTo>
                    <a:pt x="14239" y="3070"/>
                    <a:pt x="14222" y="3026"/>
                    <a:pt x="14165" y="2997"/>
                  </a:cubicBezTo>
                  <a:cubicBezTo>
                    <a:pt x="14069" y="2948"/>
                    <a:pt x="13790" y="2884"/>
                    <a:pt x="13882" y="2813"/>
                  </a:cubicBezTo>
                  <a:cubicBezTo>
                    <a:pt x="13752" y="2827"/>
                    <a:pt x="13656" y="2836"/>
                    <a:pt x="13547" y="2834"/>
                  </a:cubicBezTo>
                  <a:cubicBezTo>
                    <a:pt x="13388" y="2832"/>
                    <a:pt x="13205" y="2763"/>
                    <a:pt x="13039" y="2779"/>
                  </a:cubicBezTo>
                  <a:cubicBezTo>
                    <a:pt x="13013" y="2782"/>
                    <a:pt x="12900" y="2822"/>
                    <a:pt x="12861" y="2829"/>
                  </a:cubicBezTo>
                  <a:cubicBezTo>
                    <a:pt x="12737" y="2848"/>
                    <a:pt x="12742" y="2788"/>
                    <a:pt x="12607" y="2876"/>
                  </a:cubicBezTo>
                  <a:cubicBezTo>
                    <a:pt x="12532" y="2924"/>
                    <a:pt x="12520" y="2996"/>
                    <a:pt x="12462" y="3049"/>
                  </a:cubicBezTo>
                  <a:cubicBezTo>
                    <a:pt x="12382" y="3124"/>
                    <a:pt x="12328" y="3130"/>
                    <a:pt x="12213" y="3178"/>
                  </a:cubicBezTo>
                  <a:cubicBezTo>
                    <a:pt x="12071" y="3238"/>
                    <a:pt x="11999" y="3277"/>
                    <a:pt x="11890" y="3360"/>
                  </a:cubicBezTo>
                  <a:cubicBezTo>
                    <a:pt x="11845" y="3394"/>
                    <a:pt x="11793" y="3438"/>
                    <a:pt x="11737" y="3467"/>
                  </a:cubicBezTo>
                  <a:cubicBezTo>
                    <a:pt x="11728" y="3472"/>
                    <a:pt x="11655" y="3447"/>
                    <a:pt x="11612" y="3472"/>
                  </a:cubicBezTo>
                  <a:cubicBezTo>
                    <a:pt x="11567" y="3497"/>
                    <a:pt x="11552" y="3554"/>
                    <a:pt x="11521" y="3584"/>
                  </a:cubicBezTo>
                  <a:cubicBezTo>
                    <a:pt x="11466" y="3637"/>
                    <a:pt x="11395" y="3672"/>
                    <a:pt x="11321" y="3720"/>
                  </a:cubicBezTo>
                  <a:cubicBezTo>
                    <a:pt x="11291" y="3740"/>
                    <a:pt x="11224" y="3716"/>
                    <a:pt x="11190" y="3744"/>
                  </a:cubicBezTo>
                  <a:cubicBezTo>
                    <a:pt x="11151" y="3776"/>
                    <a:pt x="11206" y="3809"/>
                    <a:pt x="11186" y="3832"/>
                  </a:cubicBezTo>
                  <a:cubicBezTo>
                    <a:pt x="11116" y="3910"/>
                    <a:pt x="11142" y="3910"/>
                    <a:pt x="11014" y="3964"/>
                  </a:cubicBezTo>
                  <a:cubicBezTo>
                    <a:pt x="10913" y="4006"/>
                    <a:pt x="10886" y="3992"/>
                    <a:pt x="10797" y="4016"/>
                  </a:cubicBezTo>
                  <a:cubicBezTo>
                    <a:pt x="10712" y="4039"/>
                    <a:pt x="10663" y="4081"/>
                    <a:pt x="10587" y="4106"/>
                  </a:cubicBezTo>
                  <a:cubicBezTo>
                    <a:pt x="10506" y="4132"/>
                    <a:pt x="10343" y="4100"/>
                    <a:pt x="10322" y="4107"/>
                  </a:cubicBezTo>
                  <a:cubicBezTo>
                    <a:pt x="10233" y="4136"/>
                    <a:pt x="10238" y="4210"/>
                    <a:pt x="10187" y="4263"/>
                  </a:cubicBezTo>
                  <a:cubicBezTo>
                    <a:pt x="10147" y="4304"/>
                    <a:pt x="10021" y="4340"/>
                    <a:pt x="9987" y="4373"/>
                  </a:cubicBezTo>
                  <a:cubicBezTo>
                    <a:pt x="9928" y="4430"/>
                    <a:pt x="9906" y="4493"/>
                    <a:pt x="9846" y="4550"/>
                  </a:cubicBezTo>
                  <a:cubicBezTo>
                    <a:pt x="9716" y="4672"/>
                    <a:pt x="9620" y="4645"/>
                    <a:pt x="9427" y="4621"/>
                  </a:cubicBezTo>
                  <a:cubicBezTo>
                    <a:pt x="9377" y="4615"/>
                    <a:pt x="9322" y="4584"/>
                    <a:pt x="9282" y="4580"/>
                  </a:cubicBezTo>
                  <a:cubicBezTo>
                    <a:pt x="9250" y="4577"/>
                    <a:pt x="9094" y="4592"/>
                    <a:pt x="9052" y="4598"/>
                  </a:cubicBezTo>
                  <a:cubicBezTo>
                    <a:pt x="8838" y="4625"/>
                    <a:pt x="8694" y="4657"/>
                    <a:pt x="8575" y="4784"/>
                  </a:cubicBezTo>
                  <a:cubicBezTo>
                    <a:pt x="8514" y="4849"/>
                    <a:pt x="8523" y="4882"/>
                    <a:pt x="8429" y="4938"/>
                  </a:cubicBezTo>
                  <a:cubicBezTo>
                    <a:pt x="8385" y="4965"/>
                    <a:pt x="8359" y="4917"/>
                    <a:pt x="8323" y="4933"/>
                  </a:cubicBezTo>
                  <a:cubicBezTo>
                    <a:pt x="8273" y="4957"/>
                    <a:pt x="8291" y="5003"/>
                    <a:pt x="8254" y="5028"/>
                  </a:cubicBezTo>
                  <a:cubicBezTo>
                    <a:pt x="8224" y="5048"/>
                    <a:pt x="8175" y="5025"/>
                    <a:pt x="8161" y="5037"/>
                  </a:cubicBezTo>
                  <a:cubicBezTo>
                    <a:pt x="8137" y="5058"/>
                    <a:pt x="8173" y="5088"/>
                    <a:pt x="8144" y="5110"/>
                  </a:cubicBezTo>
                  <a:cubicBezTo>
                    <a:pt x="8078" y="5160"/>
                    <a:pt x="8017" y="5199"/>
                    <a:pt x="7959" y="5253"/>
                  </a:cubicBezTo>
                  <a:cubicBezTo>
                    <a:pt x="8140" y="5261"/>
                    <a:pt x="8172" y="5145"/>
                    <a:pt x="8335" y="5126"/>
                  </a:cubicBezTo>
                  <a:cubicBezTo>
                    <a:pt x="8457" y="5112"/>
                    <a:pt x="8549" y="5171"/>
                    <a:pt x="8468" y="5229"/>
                  </a:cubicBezTo>
                  <a:close/>
                  <a:moveTo>
                    <a:pt x="21464" y="1188"/>
                  </a:moveTo>
                  <a:cubicBezTo>
                    <a:pt x="21460" y="1187"/>
                    <a:pt x="21455" y="1186"/>
                    <a:pt x="21451" y="1185"/>
                  </a:cubicBezTo>
                  <a:lnTo>
                    <a:pt x="21451" y="1187"/>
                  </a:lnTo>
                  <a:cubicBezTo>
                    <a:pt x="21456" y="1188"/>
                    <a:pt x="21459" y="1187"/>
                    <a:pt x="21464" y="1188"/>
                  </a:cubicBezTo>
                  <a:close/>
                  <a:moveTo>
                    <a:pt x="18211" y="3017"/>
                  </a:moveTo>
                  <a:cubicBezTo>
                    <a:pt x="18290" y="3096"/>
                    <a:pt x="18226" y="3147"/>
                    <a:pt x="18375" y="3209"/>
                  </a:cubicBezTo>
                  <a:cubicBezTo>
                    <a:pt x="18453" y="3242"/>
                    <a:pt x="18442" y="3156"/>
                    <a:pt x="18526" y="3237"/>
                  </a:cubicBezTo>
                  <a:cubicBezTo>
                    <a:pt x="18564" y="3273"/>
                    <a:pt x="18534" y="3337"/>
                    <a:pt x="18558" y="3376"/>
                  </a:cubicBezTo>
                  <a:cubicBezTo>
                    <a:pt x="18613" y="3463"/>
                    <a:pt x="18753" y="3548"/>
                    <a:pt x="18899" y="3573"/>
                  </a:cubicBezTo>
                  <a:cubicBezTo>
                    <a:pt x="19104" y="3521"/>
                    <a:pt x="19327" y="3437"/>
                    <a:pt x="19543" y="3409"/>
                  </a:cubicBezTo>
                  <a:cubicBezTo>
                    <a:pt x="19719" y="3386"/>
                    <a:pt x="19802" y="3431"/>
                    <a:pt x="19979" y="3427"/>
                  </a:cubicBezTo>
                  <a:cubicBezTo>
                    <a:pt x="20194" y="3423"/>
                    <a:pt x="20648" y="3276"/>
                    <a:pt x="20742" y="3145"/>
                  </a:cubicBezTo>
                  <a:cubicBezTo>
                    <a:pt x="20813" y="3046"/>
                    <a:pt x="20807" y="2906"/>
                    <a:pt x="20815" y="2795"/>
                  </a:cubicBezTo>
                  <a:cubicBezTo>
                    <a:pt x="20825" y="2653"/>
                    <a:pt x="20950" y="2530"/>
                    <a:pt x="20650" y="2525"/>
                  </a:cubicBezTo>
                  <a:cubicBezTo>
                    <a:pt x="20558" y="2523"/>
                    <a:pt x="20470" y="2585"/>
                    <a:pt x="20370" y="2553"/>
                  </a:cubicBezTo>
                  <a:cubicBezTo>
                    <a:pt x="20327" y="2539"/>
                    <a:pt x="20209" y="2408"/>
                    <a:pt x="20211" y="2377"/>
                  </a:cubicBezTo>
                  <a:cubicBezTo>
                    <a:pt x="20215" y="2228"/>
                    <a:pt x="20481" y="2257"/>
                    <a:pt x="20666" y="2231"/>
                  </a:cubicBezTo>
                  <a:cubicBezTo>
                    <a:pt x="20853" y="2204"/>
                    <a:pt x="21112" y="2167"/>
                    <a:pt x="21272" y="2076"/>
                  </a:cubicBezTo>
                  <a:lnTo>
                    <a:pt x="21334" y="1767"/>
                  </a:lnTo>
                  <a:cubicBezTo>
                    <a:pt x="21157" y="1674"/>
                    <a:pt x="20733" y="1645"/>
                    <a:pt x="20585" y="1672"/>
                  </a:cubicBezTo>
                  <a:cubicBezTo>
                    <a:pt x="20535" y="1682"/>
                    <a:pt x="20389" y="1760"/>
                    <a:pt x="20374" y="1759"/>
                  </a:cubicBezTo>
                  <a:cubicBezTo>
                    <a:pt x="20281" y="1755"/>
                    <a:pt x="20298" y="1688"/>
                    <a:pt x="20246" y="1678"/>
                  </a:cubicBezTo>
                  <a:cubicBezTo>
                    <a:pt x="20112" y="1652"/>
                    <a:pt x="19889" y="1699"/>
                    <a:pt x="19764" y="1728"/>
                  </a:cubicBezTo>
                  <a:cubicBezTo>
                    <a:pt x="19732" y="1736"/>
                    <a:pt x="19702" y="1769"/>
                    <a:pt x="19669" y="1773"/>
                  </a:cubicBezTo>
                  <a:cubicBezTo>
                    <a:pt x="19627" y="1778"/>
                    <a:pt x="19552" y="1754"/>
                    <a:pt x="19563" y="1752"/>
                  </a:cubicBezTo>
                  <a:cubicBezTo>
                    <a:pt x="19520" y="1758"/>
                    <a:pt x="19430" y="1777"/>
                    <a:pt x="19372" y="1785"/>
                  </a:cubicBezTo>
                  <a:cubicBezTo>
                    <a:pt x="19251" y="1801"/>
                    <a:pt x="19167" y="1803"/>
                    <a:pt x="19063" y="1813"/>
                  </a:cubicBezTo>
                  <a:cubicBezTo>
                    <a:pt x="18892" y="1830"/>
                    <a:pt x="18521" y="1934"/>
                    <a:pt x="18451" y="2042"/>
                  </a:cubicBezTo>
                  <a:cubicBezTo>
                    <a:pt x="18336" y="1808"/>
                    <a:pt x="18126" y="2261"/>
                    <a:pt x="18132" y="2350"/>
                  </a:cubicBezTo>
                  <a:cubicBezTo>
                    <a:pt x="18136" y="2419"/>
                    <a:pt x="18102" y="2523"/>
                    <a:pt x="18112" y="2593"/>
                  </a:cubicBezTo>
                  <a:cubicBezTo>
                    <a:pt x="18118" y="2632"/>
                    <a:pt x="18206" y="2675"/>
                    <a:pt x="18195" y="2713"/>
                  </a:cubicBezTo>
                  <a:cubicBezTo>
                    <a:pt x="18181" y="2761"/>
                    <a:pt x="18090" y="2762"/>
                    <a:pt x="18060" y="2813"/>
                  </a:cubicBezTo>
                  <a:cubicBezTo>
                    <a:pt x="17979" y="2953"/>
                    <a:pt x="18137" y="2942"/>
                    <a:pt x="18211" y="3017"/>
                  </a:cubicBezTo>
                  <a:close/>
                  <a:moveTo>
                    <a:pt x="19503" y="909"/>
                  </a:moveTo>
                  <a:cubicBezTo>
                    <a:pt x="19598" y="948"/>
                    <a:pt x="19586" y="1004"/>
                    <a:pt x="19635" y="1055"/>
                  </a:cubicBezTo>
                  <a:cubicBezTo>
                    <a:pt x="19738" y="1164"/>
                    <a:pt x="19734" y="1131"/>
                    <a:pt x="19922" y="1187"/>
                  </a:cubicBezTo>
                  <a:cubicBezTo>
                    <a:pt x="19999" y="1161"/>
                    <a:pt x="20017" y="1039"/>
                    <a:pt x="20075" y="1044"/>
                  </a:cubicBezTo>
                  <a:cubicBezTo>
                    <a:pt x="20247" y="1059"/>
                    <a:pt x="20084" y="959"/>
                    <a:pt x="20208" y="925"/>
                  </a:cubicBezTo>
                  <a:cubicBezTo>
                    <a:pt x="20410" y="869"/>
                    <a:pt x="20444" y="1073"/>
                    <a:pt x="20517" y="1122"/>
                  </a:cubicBezTo>
                  <a:cubicBezTo>
                    <a:pt x="20831" y="1333"/>
                    <a:pt x="21029" y="1091"/>
                    <a:pt x="21327" y="1161"/>
                  </a:cubicBezTo>
                  <a:cubicBezTo>
                    <a:pt x="21376" y="1173"/>
                    <a:pt x="21414" y="1180"/>
                    <a:pt x="21451" y="1185"/>
                  </a:cubicBezTo>
                  <a:lnTo>
                    <a:pt x="21600" y="445"/>
                  </a:lnTo>
                  <a:cubicBezTo>
                    <a:pt x="21569" y="423"/>
                    <a:pt x="21539" y="398"/>
                    <a:pt x="21511" y="368"/>
                  </a:cubicBezTo>
                  <a:cubicBezTo>
                    <a:pt x="21331" y="173"/>
                    <a:pt x="21126" y="-64"/>
                    <a:pt x="20750" y="15"/>
                  </a:cubicBezTo>
                  <a:cubicBezTo>
                    <a:pt x="20587" y="50"/>
                    <a:pt x="20426" y="105"/>
                    <a:pt x="20306" y="187"/>
                  </a:cubicBezTo>
                  <a:cubicBezTo>
                    <a:pt x="20285" y="201"/>
                    <a:pt x="20210" y="211"/>
                    <a:pt x="20208" y="212"/>
                  </a:cubicBezTo>
                  <a:cubicBezTo>
                    <a:pt x="20188" y="228"/>
                    <a:pt x="20222" y="267"/>
                    <a:pt x="20214" y="271"/>
                  </a:cubicBezTo>
                  <a:cubicBezTo>
                    <a:pt x="20134" y="322"/>
                    <a:pt x="20089" y="344"/>
                    <a:pt x="19982" y="379"/>
                  </a:cubicBezTo>
                  <a:cubicBezTo>
                    <a:pt x="19852" y="421"/>
                    <a:pt x="19864" y="416"/>
                    <a:pt x="19739" y="417"/>
                  </a:cubicBezTo>
                  <a:cubicBezTo>
                    <a:pt x="19655" y="417"/>
                    <a:pt x="19572" y="394"/>
                    <a:pt x="19483" y="407"/>
                  </a:cubicBezTo>
                  <a:cubicBezTo>
                    <a:pt x="19305" y="433"/>
                    <a:pt x="19117" y="521"/>
                    <a:pt x="18960" y="573"/>
                  </a:cubicBezTo>
                  <a:cubicBezTo>
                    <a:pt x="18788" y="631"/>
                    <a:pt x="18218" y="887"/>
                    <a:pt x="18529" y="1038"/>
                  </a:cubicBezTo>
                  <a:cubicBezTo>
                    <a:pt x="18761" y="1151"/>
                    <a:pt x="19182" y="778"/>
                    <a:pt x="19503" y="909"/>
                  </a:cubicBezTo>
                  <a:close/>
                  <a:moveTo>
                    <a:pt x="20318" y="6593"/>
                  </a:moveTo>
                  <a:cubicBezTo>
                    <a:pt x="20321" y="6552"/>
                    <a:pt x="20344" y="6524"/>
                    <a:pt x="20377" y="6516"/>
                  </a:cubicBezTo>
                  <a:lnTo>
                    <a:pt x="20514" y="5836"/>
                  </a:lnTo>
                  <a:cubicBezTo>
                    <a:pt x="20345" y="5909"/>
                    <a:pt x="20023" y="5923"/>
                    <a:pt x="19950" y="6059"/>
                  </a:cubicBezTo>
                  <a:cubicBezTo>
                    <a:pt x="19927" y="6105"/>
                    <a:pt x="19970" y="6171"/>
                    <a:pt x="19961" y="6218"/>
                  </a:cubicBezTo>
                  <a:cubicBezTo>
                    <a:pt x="19939" y="6348"/>
                    <a:pt x="19935" y="6261"/>
                    <a:pt x="20018" y="6337"/>
                  </a:cubicBezTo>
                  <a:cubicBezTo>
                    <a:pt x="20079" y="6392"/>
                    <a:pt x="20215" y="6546"/>
                    <a:pt x="20305" y="6588"/>
                  </a:cubicBezTo>
                  <a:cubicBezTo>
                    <a:pt x="20310" y="6589"/>
                    <a:pt x="20314" y="6591"/>
                    <a:pt x="20318" y="6593"/>
                  </a:cubicBezTo>
                  <a:close/>
                  <a:moveTo>
                    <a:pt x="20067" y="7395"/>
                  </a:moveTo>
                  <a:cubicBezTo>
                    <a:pt x="20090" y="7453"/>
                    <a:pt x="20136" y="7461"/>
                    <a:pt x="20188" y="7456"/>
                  </a:cubicBezTo>
                  <a:lnTo>
                    <a:pt x="20223" y="7285"/>
                  </a:lnTo>
                  <a:cubicBezTo>
                    <a:pt x="20126" y="7298"/>
                    <a:pt x="20037" y="7320"/>
                    <a:pt x="20067" y="7395"/>
                  </a:cubicBezTo>
                  <a:close/>
                  <a:moveTo>
                    <a:pt x="16747" y="4969"/>
                  </a:moveTo>
                  <a:cubicBezTo>
                    <a:pt x="17001" y="4918"/>
                    <a:pt x="17171" y="5066"/>
                    <a:pt x="17328" y="4858"/>
                  </a:cubicBezTo>
                  <a:cubicBezTo>
                    <a:pt x="17437" y="4713"/>
                    <a:pt x="17174" y="4542"/>
                    <a:pt x="16981" y="4508"/>
                  </a:cubicBezTo>
                  <a:cubicBezTo>
                    <a:pt x="16849" y="4484"/>
                    <a:pt x="16431" y="4471"/>
                    <a:pt x="16332" y="4523"/>
                  </a:cubicBezTo>
                  <a:cubicBezTo>
                    <a:pt x="16267" y="4557"/>
                    <a:pt x="16071" y="4619"/>
                    <a:pt x="16073" y="4680"/>
                  </a:cubicBezTo>
                  <a:cubicBezTo>
                    <a:pt x="16077" y="4786"/>
                    <a:pt x="16621" y="4922"/>
                    <a:pt x="16747" y="4969"/>
                  </a:cubicBezTo>
                  <a:close/>
                  <a:moveTo>
                    <a:pt x="16995" y="2111"/>
                  </a:moveTo>
                  <a:cubicBezTo>
                    <a:pt x="17040" y="2176"/>
                    <a:pt x="17091" y="2305"/>
                    <a:pt x="17179" y="2356"/>
                  </a:cubicBezTo>
                  <a:cubicBezTo>
                    <a:pt x="17429" y="2500"/>
                    <a:pt x="18040" y="2278"/>
                    <a:pt x="17868" y="2082"/>
                  </a:cubicBezTo>
                  <a:cubicBezTo>
                    <a:pt x="17761" y="1960"/>
                    <a:pt x="17624" y="1868"/>
                    <a:pt x="17564" y="1762"/>
                  </a:cubicBezTo>
                  <a:cubicBezTo>
                    <a:pt x="17551" y="1740"/>
                    <a:pt x="17681" y="1737"/>
                    <a:pt x="17625" y="1698"/>
                  </a:cubicBezTo>
                  <a:cubicBezTo>
                    <a:pt x="17611" y="1688"/>
                    <a:pt x="17526" y="1682"/>
                    <a:pt x="17527" y="1682"/>
                  </a:cubicBezTo>
                  <a:cubicBezTo>
                    <a:pt x="17551" y="1713"/>
                    <a:pt x="17430" y="1653"/>
                    <a:pt x="17423" y="1648"/>
                  </a:cubicBezTo>
                  <a:cubicBezTo>
                    <a:pt x="17491" y="1600"/>
                    <a:pt x="17436" y="1525"/>
                    <a:pt x="17462" y="1445"/>
                  </a:cubicBezTo>
                  <a:cubicBezTo>
                    <a:pt x="17358" y="1456"/>
                    <a:pt x="17183" y="1508"/>
                    <a:pt x="17092" y="1546"/>
                  </a:cubicBezTo>
                  <a:cubicBezTo>
                    <a:pt x="16992" y="1588"/>
                    <a:pt x="16947" y="1652"/>
                    <a:pt x="16841" y="1691"/>
                  </a:cubicBezTo>
                  <a:cubicBezTo>
                    <a:pt x="16808" y="1703"/>
                    <a:pt x="16779" y="1617"/>
                    <a:pt x="16739" y="1672"/>
                  </a:cubicBezTo>
                  <a:cubicBezTo>
                    <a:pt x="16706" y="1717"/>
                    <a:pt x="16761" y="1772"/>
                    <a:pt x="16781" y="1815"/>
                  </a:cubicBezTo>
                  <a:cubicBezTo>
                    <a:pt x="16829" y="1922"/>
                    <a:pt x="16924" y="2011"/>
                    <a:pt x="16995" y="2111"/>
                  </a:cubicBezTo>
                  <a:close/>
                  <a:moveTo>
                    <a:pt x="15765" y="5419"/>
                  </a:moveTo>
                  <a:cubicBezTo>
                    <a:pt x="15697" y="5431"/>
                    <a:pt x="15651" y="5423"/>
                    <a:pt x="15579" y="5431"/>
                  </a:cubicBezTo>
                  <a:cubicBezTo>
                    <a:pt x="15305" y="5465"/>
                    <a:pt x="15218" y="5451"/>
                    <a:pt x="14996" y="5571"/>
                  </a:cubicBezTo>
                  <a:cubicBezTo>
                    <a:pt x="14868" y="5640"/>
                    <a:pt x="14620" y="5820"/>
                    <a:pt x="14779" y="5940"/>
                  </a:cubicBezTo>
                  <a:cubicBezTo>
                    <a:pt x="14888" y="6023"/>
                    <a:pt x="15205" y="5999"/>
                    <a:pt x="15343" y="6055"/>
                  </a:cubicBezTo>
                  <a:cubicBezTo>
                    <a:pt x="15427" y="6090"/>
                    <a:pt x="15453" y="6149"/>
                    <a:pt x="15519" y="6182"/>
                  </a:cubicBezTo>
                  <a:cubicBezTo>
                    <a:pt x="15605" y="6225"/>
                    <a:pt x="15716" y="6235"/>
                    <a:pt x="15803" y="6271"/>
                  </a:cubicBezTo>
                  <a:cubicBezTo>
                    <a:pt x="15553" y="6329"/>
                    <a:pt x="15167" y="6133"/>
                    <a:pt x="14931" y="6097"/>
                  </a:cubicBezTo>
                  <a:cubicBezTo>
                    <a:pt x="14597" y="6046"/>
                    <a:pt x="14316" y="5943"/>
                    <a:pt x="14021" y="6106"/>
                  </a:cubicBezTo>
                  <a:cubicBezTo>
                    <a:pt x="13878" y="6185"/>
                    <a:pt x="13789" y="6272"/>
                    <a:pt x="13857" y="6385"/>
                  </a:cubicBezTo>
                  <a:cubicBezTo>
                    <a:pt x="13874" y="6413"/>
                    <a:pt x="14039" y="6391"/>
                    <a:pt x="13972" y="6491"/>
                  </a:cubicBezTo>
                  <a:cubicBezTo>
                    <a:pt x="13914" y="6578"/>
                    <a:pt x="13877" y="6475"/>
                    <a:pt x="13760" y="6526"/>
                  </a:cubicBezTo>
                  <a:cubicBezTo>
                    <a:pt x="13372" y="6693"/>
                    <a:pt x="14135" y="6842"/>
                    <a:pt x="14326" y="6844"/>
                  </a:cubicBezTo>
                  <a:cubicBezTo>
                    <a:pt x="14645" y="6848"/>
                    <a:pt x="14976" y="6872"/>
                    <a:pt x="15300" y="6888"/>
                  </a:cubicBezTo>
                  <a:cubicBezTo>
                    <a:pt x="15545" y="6900"/>
                    <a:pt x="15487" y="6980"/>
                    <a:pt x="15269" y="7001"/>
                  </a:cubicBezTo>
                  <a:cubicBezTo>
                    <a:pt x="15193" y="7009"/>
                    <a:pt x="14941" y="6995"/>
                    <a:pt x="14871" y="6991"/>
                  </a:cubicBezTo>
                  <a:cubicBezTo>
                    <a:pt x="14784" y="6986"/>
                    <a:pt x="14683" y="6947"/>
                    <a:pt x="14619" y="6943"/>
                  </a:cubicBezTo>
                  <a:cubicBezTo>
                    <a:pt x="14490" y="6936"/>
                    <a:pt x="14570" y="6954"/>
                    <a:pt x="14442" y="6968"/>
                  </a:cubicBezTo>
                  <a:cubicBezTo>
                    <a:pt x="14288" y="6985"/>
                    <a:pt x="14163" y="6981"/>
                    <a:pt x="14007" y="6967"/>
                  </a:cubicBezTo>
                  <a:cubicBezTo>
                    <a:pt x="13859" y="6953"/>
                    <a:pt x="13638" y="6899"/>
                    <a:pt x="13492" y="6923"/>
                  </a:cubicBezTo>
                  <a:cubicBezTo>
                    <a:pt x="13333" y="6949"/>
                    <a:pt x="13219" y="7070"/>
                    <a:pt x="13123" y="7149"/>
                  </a:cubicBezTo>
                  <a:cubicBezTo>
                    <a:pt x="12941" y="7297"/>
                    <a:pt x="12808" y="7394"/>
                    <a:pt x="13128" y="7461"/>
                  </a:cubicBezTo>
                  <a:cubicBezTo>
                    <a:pt x="13381" y="7515"/>
                    <a:pt x="13638" y="7584"/>
                    <a:pt x="13903" y="7550"/>
                  </a:cubicBezTo>
                  <a:cubicBezTo>
                    <a:pt x="14054" y="7531"/>
                    <a:pt x="14267" y="7459"/>
                    <a:pt x="14428" y="7442"/>
                  </a:cubicBezTo>
                  <a:cubicBezTo>
                    <a:pt x="14582" y="7427"/>
                    <a:pt x="14710" y="7456"/>
                    <a:pt x="14865" y="7430"/>
                  </a:cubicBezTo>
                  <a:cubicBezTo>
                    <a:pt x="14962" y="7413"/>
                    <a:pt x="15091" y="7326"/>
                    <a:pt x="15150" y="7406"/>
                  </a:cubicBezTo>
                  <a:cubicBezTo>
                    <a:pt x="14936" y="7386"/>
                    <a:pt x="14922" y="7545"/>
                    <a:pt x="14826" y="7587"/>
                  </a:cubicBezTo>
                  <a:cubicBezTo>
                    <a:pt x="14765" y="7613"/>
                    <a:pt x="14536" y="7595"/>
                    <a:pt x="14414" y="7630"/>
                  </a:cubicBezTo>
                  <a:cubicBezTo>
                    <a:pt x="14263" y="7673"/>
                    <a:pt x="14146" y="7780"/>
                    <a:pt x="13983" y="7795"/>
                  </a:cubicBezTo>
                  <a:cubicBezTo>
                    <a:pt x="13824" y="7809"/>
                    <a:pt x="13635" y="7759"/>
                    <a:pt x="13474" y="7739"/>
                  </a:cubicBezTo>
                  <a:cubicBezTo>
                    <a:pt x="13133" y="7698"/>
                    <a:pt x="12902" y="7596"/>
                    <a:pt x="12621" y="7770"/>
                  </a:cubicBezTo>
                  <a:cubicBezTo>
                    <a:pt x="12540" y="7820"/>
                    <a:pt x="12467" y="7871"/>
                    <a:pt x="12399" y="7928"/>
                  </a:cubicBezTo>
                  <a:cubicBezTo>
                    <a:pt x="12371" y="7951"/>
                    <a:pt x="12381" y="7989"/>
                    <a:pt x="12366" y="8004"/>
                  </a:cubicBezTo>
                  <a:cubicBezTo>
                    <a:pt x="12347" y="8022"/>
                    <a:pt x="12282" y="8018"/>
                    <a:pt x="12269" y="8033"/>
                  </a:cubicBezTo>
                  <a:cubicBezTo>
                    <a:pt x="12179" y="8140"/>
                    <a:pt x="12204" y="8228"/>
                    <a:pt x="12345" y="8324"/>
                  </a:cubicBezTo>
                  <a:cubicBezTo>
                    <a:pt x="12465" y="8406"/>
                    <a:pt x="12629" y="8446"/>
                    <a:pt x="12775" y="8502"/>
                  </a:cubicBezTo>
                  <a:cubicBezTo>
                    <a:pt x="12784" y="8506"/>
                    <a:pt x="12884" y="8561"/>
                    <a:pt x="12922" y="8570"/>
                  </a:cubicBezTo>
                  <a:cubicBezTo>
                    <a:pt x="13119" y="8618"/>
                    <a:pt x="12990" y="8592"/>
                    <a:pt x="13155" y="8539"/>
                  </a:cubicBezTo>
                  <a:cubicBezTo>
                    <a:pt x="13264" y="8504"/>
                    <a:pt x="13559" y="8384"/>
                    <a:pt x="13544" y="8535"/>
                  </a:cubicBezTo>
                  <a:cubicBezTo>
                    <a:pt x="13540" y="8585"/>
                    <a:pt x="13374" y="8667"/>
                    <a:pt x="13421" y="8705"/>
                  </a:cubicBezTo>
                  <a:cubicBezTo>
                    <a:pt x="13458" y="8735"/>
                    <a:pt x="13649" y="8698"/>
                    <a:pt x="13693" y="8692"/>
                  </a:cubicBezTo>
                  <a:cubicBezTo>
                    <a:pt x="13655" y="8756"/>
                    <a:pt x="13459" y="8772"/>
                    <a:pt x="13453" y="8829"/>
                  </a:cubicBezTo>
                  <a:cubicBezTo>
                    <a:pt x="13450" y="8856"/>
                    <a:pt x="13627" y="8935"/>
                    <a:pt x="13661" y="8956"/>
                  </a:cubicBezTo>
                  <a:cubicBezTo>
                    <a:pt x="13786" y="9033"/>
                    <a:pt x="13864" y="9159"/>
                    <a:pt x="14037" y="9080"/>
                  </a:cubicBezTo>
                  <a:cubicBezTo>
                    <a:pt x="14219" y="8997"/>
                    <a:pt x="14019" y="8733"/>
                    <a:pt x="14106" y="8700"/>
                  </a:cubicBezTo>
                  <a:cubicBezTo>
                    <a:pt x="14177" y="8672"/>
                    <a:pt x="14235" y="8822"/>
                    <a:pt x="14318" y="8823"/>
                  </a:cubicBezTo>
                  <a:cubicBezTo>
                    <a:pt x="14421" y="8824"/>
                    <a:pt x="14511" y="8697"/>
                    <a:pt x="14534" y="8650"/>
                  </a:cubicBezTo>
                  <a:cubicBezTo>
                    <a:pt x="14597" y="8791"/>
                    <a:pt x="14291" y="9123"/>
                    <a:pt x="14554" y="9203"/>
                  </a:cubicBezTo>
                  <a:cubicBezTo>
                    <a:pt x="14767" y="9267"/>
                    <a:pt x="15307" y="9002"/>
                    <a:pt x="15383" y="8899"/>
                  </a:cubicBezTo>
                  <a:cubicBezTo>
                    <a:pt x="15448" y="8813"/>
                    <a:pt x="15467" y="8727"/>
                    <a:pt x="15418" y="8629"/>
                  </a:cubicBezTo>
                  <a:cubicBezTo>
                    <a:pt x="15408" y="8610"/>
                    <a:pt x="15239" y="8479"/>
                    <a:pt x="15242" y="8504"/>
                  </a:cubicBezTo>
                  <a:cubicBezTo>
                    <a:pt x="15217" y="8315"/>
                    <a:pt x="15432" y="8472"/>
                    <a:pt x="15481" y="8556"/>
                  </a:cubicBezTo>
                  <a:cubicBezTo>
                    <a:pt x="15680" y="8901"/>
                    <a:pt x="15849" y="8127"/>
                    <a:pt x="15889" y="8088"/>
                  </a:cubicBezTo>
                  <a:cubicBezTo>
                    <a:pt x="15893" y="8081"/>
                    <a:pt x="15901" y="8076"/>
                    <a:pt x="15911" y="8074"/>
                  </a:cubicBezTo>
                  <a:cubicBezTo>
                    <a:pt x="15989" y="8137"/>
                    <a:pt x="15926" y="8282"/>
                    <a:pt x="16029" y="8317"/>
                  </a:cubicBezTo>
                  <a:cubicBezTo>
                    <a:pt x="16109" y="8344"/>
                    <a:pt x="16268" y="8264"/>
                    <a:pt x="16344" y="8256"/>
                  </a:cubicBezTo>
                  <a:cubicBezTo>
                    <a:pt x="16431" y="8247"/>
                    <a:pt x="16494" y="8250"/>
                    <a:pt x="16589" y="8271"/>
                  </a:cubicBezTo>
                  <a:cubicBezTo>
                    <a:pt x="16378" y="8323"/>
                    <a:pt x="16112" y="8399"/>
                    <a:pt x="16010" y="8522"/>
                  </a:cubicBezTo>
                  <a:cubicBezTo>
                    <a:pt x="15974" y="8566"/>
                    <a:pt x="15859" y="8714"/>
                    <a:pt x="15862" y="8757"/>
                  </a:cubicBezTo>
                  <a:cubicBezTo>
                    <a:pt x="15870" y="8875"/>
                    <a:pt x="15967" y="8795"/>
                    <a:pt x="16117" y="8803"/>
                  </a:cubicBezTo>
                  <a:cubicBezTo>
                    <a:pt x="16023" y="8861"/>
                    <a:pt x="15867" y="8849"/>
                    <a:pt x="15785" y="8930"/>
                  </a:cubicBezTo>
                  <a:cubicBezTo>
                    <a:pt x="15660" y="9052"/>
                    <a:pt x="15762" y="9105"/>
                    <a:pt x="15936" y="9118"/>
                  </a:cubicBezTo>
                  <a:cubicBezTo>
                    <a:pt x="16155" y="9135"/>
                    <a:pt x="16516" y="9163"/>
                    <a:pt x="16617" y="8983"/>
                  </a:cubicBezTo>
                  <a:cubicBezTo>
                    <a:pt x="16623" y="9114"/>
                    <a:pt x="16784" y="9137"/>
                    <a:pt x="16942" y="9058"/>
                  </a:cubicBezTo>
                  <a:cubicBezTo>
                    <a:pt x="17133" y="8963"/>
                    <a:pt x="17009" y="8794"/>
                    <a:pt x="17162" y="8685"/>
                  </a:cubicBezTo>
                  <a:cubicBezTo>
                    <a:pt x="17280" y="8773"/>
                    <a:pt x="17102" y="8814"/>
                    <a:pt x="17147" y="8887"/>
                  </a:cubicBezTo>
                  <a:cubicBezTo>
                    <a:pt x="17236" y="9033"/>
                    <a:pt x="17363" y="8862"/>
                    <a:pt x="17401" y="8803"/>
                  </a:cubicBezTo>
                  <a:cubicBezTo>
                    <a:pt x="17406" y="8839"/>
                    <a:pt x="17418" y="8841"/>
                    <a:pt x="17408" y="8877"/>
                  </a:cubicBezTo>
                  <a:cubicBezTo>
                    <a:pt x="17590" y="8947"/>
                    <a:pt x="17261" y="8979"/>
                    <a:pt x="17288" y="9050"/>
                  </a:cubicBezTo>
                  <a:cubicBezTo>
                    <a:pt x="17324" y="9141"/>
                    <a:pt x="17560" y="9078"/>
                    <a:pt x="17646" y="9077"/>
                  </a:cubicBezTo>
                  <a:cubicBezTo>
                    <a:pt x="17793" y="9075"/>
                    <a:pt x="17810" y="9122"/>
                    <a:pt x="17946" y="9034"/>
                  </a:cubicBezTo>
                  <a:cubicBezTo>
                    <a:pt x="18064" y="8957"/>
                    <a:pt x="18009" y="9124"/>
                    <a:pt x="18182" y="9103"/>
                  </a:cubicBezTo>
                  <a:cubicBezTo>
                    <a:pt x="18177" y="9088"/>
                    <a:pt x="18171" y="9070"/>
                    <a:pt x="18168" y="9057"/>
                  </a:cubicBezTo>
                  <a:cubicBezTo>
                    <a:pt x="18431" y="9170"/>
                    <a:pt x="18589" y="8654"/>
                    <a:pt x="18857" y="8929"/>
                  </a:cubicBezTo>
                  <a:cubicBezTo>
                    <a:pt x="18902" y="8975"/>
                    <a:pt x="18517" y="9229"/>
                    <a:pt x="18384" y="9232"/>
                  </a:cubicBezTo>
                  <a:cubicBezTo>
                    <a:pt x="18535" y="9359"/>
                    <a:pt x="18223" y="9314"/>
                    <a:pt x="18223" y="9314"/>
                  </a:cubicBezTo>
                  <a:cubicBezTo>
                    <a:pt x="18097" y="9369"/>
                    <a:pt x="18256" y="9372"/>
                    <a:pt x="18103" y="9450"/>
                  </a:cubicBezTo>
                  <a:cubicBezTo>
                    <a:pt x="17943" y="9531"/>
                    <a:pt x="17765" y="9449"/>
                    <a:pt x="17597" y="9426"/>
                  </a:cubicBezTo>
                  <a:cubicBezTo>
                    <a:pt x="17372" y="9395"/>
                    <a:pt x="17140" y="9398"/>
                    <a:pt x="16914" y="9416"/>
                  </a:cubicBezTo>
                  <a:cubicBezTo>
                    <a:pt x="16791" y="9426"/>
                    <a:pt x="16689" y="9421"/>
                    <a:pt x="16578" y="9467"/>
                  </a:cubicBezTo>
                  <a:cubicBezTo>
                    <a:pt x="16459" y="9518"/>
                    <a:pt x="16413" y="9586"/>
                    <a:pt x="16270" y="9605"/>
                  </a:cubicBezTo>
                  <a:cubicBezTo>
                    <a:pt x="16513" y="9691"/>
                    <a:pt x="16223" y="9694"/>
                    <a:pt x="16118" y="9689"/>
                  </a:cubicBezTo>
                  <a:cubicBezTo>
                    <a:pt x="15952" y="9682"/>
                    <a:pt x="15849" y="9690"/>
                    <a:pt x="15674" y="9722"/>
                  </a:cubicBezTo>
                  <a:cubicBezTo>
                    <a:pt x="15429" y="9767"/>
                    <a:pt x="14961" y="9850"/>
                    <a:pt x="14994" y="10051"/>
                  </a:cubicBezTo>
                  <a:cubicBezTo>
                    <a:pt x="15023" y="10223"/>
                    <a:pt x="15365" y="10463"/>
                    <a:pt x="15547" y="10583"/>
                  </a:cubicBezTo>
                  <a:cubicBezTo>
                    <a:pt x="15768" y="10730"/>
                    <a:pt x="16058" y="10807"/>
                    <a:pt x="16377" y="10837"/>
                  </a:cubicBezTo>
                  <a:cubicBezTo>
                    <a:pt x="17112" y="10839"/>
                    <a:pt x="17709" y="10734"/>
                    <a:pt x="18360" y="10516"/>
                  </a:cubicBezTo>
                  <a:cubicBezTo>
                    <a:pt x="18511" y="10465"/>
                    <a:pt x="18645" y="10410"/>
                    <a:pt x="18780" y="10345"/>
                  </a:cubicBezTo>
                  <a:cubicBezTo>
                    <a:pt x="18903" y="10285"/>
                    <a:pt x="18909" y="10289"/>
                    <a:pt x="18945" y="10213"/>
                  </a:cubicBezTo>
                  <a:cubicBezTo>
                    <a:pt x="18969" y="10164"/>
                    <a:pt x="18877" y="10137"/>
                    <a:pt x="18948" y="10077"/>
                  </a:cubicBezTo>
                  <a:cubicBezTo>
                    <a:pt x="19036" y="10131"/>
                    <a:pt x="19196" y="10069"/>
                    <a:pt x="19243" y="10050"/>
                  </a:cubicBezTo>
                  <a:cubicBezTo>
                    <a:pt x="19293" y="10030"/>
                    <a:pt x="19228" y="9981"/>
                    <a:pt x="19343" y="9971"/>
                  </a:cubicBezTo>
                  <a:cubicBezTo>
                    <a:pt x="19383" y="9968"/>
                    <a:pt x="19450" y="10010"/>
                    <a:pt x="19494" y="10010"/>
                  </a:cubicBezTo>
                  <a:cubicBezTo>
                    <a:pt x="19587" y="10012"/>
                    <a:pt x="19601" y="10002"/>
                    <a:pt x="19682" y="9970"/>
                  </a:cubicBezTo>
                  <a:lnTo>
                    <a:pt x="20026" y="8261"/>
                  </a:lnTo>
                  <a:cubicBezTo>
                    <a:pt x="19971" y="8254"/>
                    <a:pt x="19915" y="8247"/>
                    <a:pt x="19863" y="8242"/>
                  </a:cubicBezTo>
                  <a:cubicBezTo>
                    <a:pt x="19798" y="8236"/>
                    <a:pt x="19705" y="8247"/>
                    <a:pt x="19643" y="8233"/>
                  </a:cubicBezTo>
                  <a:cubicBezTo>
                    <a:pt x="19538" y="8210"/>
                    <a:pt x="19548" y="8163"/>
                    <a:pt x="19474" y="8145"/>
                  </a:cubicBezTo>
                  <a:cubicBezTo>
                    <a:pt x="19315" y="8106"/>
                    <a:pt x="19154" y="8146"/>
                    <a:pt x="19007" y="8170"/>
                  </a:cubicBezTo>
                  <a:cubicBezTo>
                    <a:pt x="18856" y="8194"/>
                    <a:pt x="18770" y="8232"/>
                    <a:pt x="18670" y="8157"/>
                  </a:cubicBezTo>
                  <a:cubicBezTo>
                    <a:pt x="18551" y="8068"/>
                    <a:pt x="18635" y="7860"/>
                    <a:pt x="18671" y="7752"/>
                  </a:cubicBezTo>
                  <a:cubicBezTo>
                    <a:pt x="18711" y="7636"/>
                    <a:pt x="18610" y="7536"/>
                    <a:pt x="18531" y="7443"/>
                  </a:cubicBezTo>
                  <a:cubicBezTo>
                    <a:pt x="18834" y="7432"/>
                    <a:pt x="18423" y="7366"/>
                    <a:pt x="18318" y="7372"/>
                  </a:cubicBezTo>
                  <a:cubicBezTo>
                    <a:pt x="18236" y="7376"/>
                    <a:pt x="18201" y="7414"/>
                    <a:pt x="18120" y="7414"/>
                  </a:cubicBezTo>
                  <a:cubicBezTo>
                    <a:pt x="18062" y="7413"/>
                    <a:pt x="18173" y="7351"/>
                    <a:pt x="18126" y="7349"/>
                  </a:cubicBezTo>
                  <a:cubicBezTo>
                    <a:pt x="18069" y="7347"/>
                    <a:pt x="17996" y="7420"/>
                    <a:pt x="17945" y="7404"/>
                  </a:cubicBezTo>
                  <a:cubicBezTo>
                    <a:pt x="17928" y="7398"/>
                    <a:pt x="17960" y="7308"/>
                    <a:pt x="17986" y="7290"/>
                  </a:cubicBezTo>
                  <a:cubicBezTo>
                    <a:pt x="18096" y="7214"/>
                    <a:pt x="18360" y="7261"/>
                    <a:pt x="18421" y="7177"/>
                  </a:cubicBezTo>
                  <a:cubicBezTo>
                    <a:pt x="18526" y="7032"/>
                    <a:pt x="17958" y="6880"/>
                    <a:pt x="17856" y="6787"/>
                  </a:cubicBezTo>
                  <a:cubicBezTo>
                    <a:pt x="17847" y="6778"/>
                    <a:pt x="17789" y="6638"/>
                    <a:pt x="17790" y="6627"/>
                  </a:cubicBezTo>
                  <a:cubicBezTo>
                    <a:pt x="17795" y="6587"/>
                    <a:pt x="17908" y="6499"/>
                    <a:pt x="17905" y="6482"/>
                  </a:cubicBezTo>
                  <a:cubicBezTo>
                    <a:pt x="17896" y="6435"/>
                    <a:pt x="17826" y="6422"/>
                    <a:pt x="17777" y="6388"/>
                  </a:cubicBezTo>
                  <a:cubicBezTo>
                    <a:pt x="17751" y="6369"/>
                    <a:pt x="17693" y="6384"/>
                    <a:pt x="17665" y="6370"/>
                  </a:cubicBezTo>
                  <a:cubicBezTo>
                    <a:pt x="17632" y="6355"/>
                    <a:pt x="17650" y="6323"/>
                    <a:pt x="17624" y="6305"/>
                  </a:cubicBezTo>
                  <a:cubicBezTo>
                    <a:pt x="17610" y="6296"/>
                    <a:pt x="17580" y="6319"/>
                    <a:pt x="17552" y="6295"/>
                  </a:cubicBezTo>
                  <a:cubicBezTo>
                    <a:pt x="17535" y="6280"/>
                    <a:pt x="17547" y="6239"/>
                    <a:pt x="17525" y="6217"/>
                  </a:cubicBezTo>
                  <a:cubicBezTo>
                    <a:pt x="17465" y="6159"/>
                    <a:pt x="17442" y="6195"/>
                    <a:pt x="17399" y="6183"/>
                  </a:cubicBezTo>
                  <a:cubicBezTo>
                    <a:pt x="17278" y="6149"/>
                    <a:pt x="17135" y="6173"/>
                    <a:pt x="17007" y="6201"/>
                  </a:cubicBezTo>
                  <a:cubicBezTo>
                    <a:pt x="16918" y="6221"/>
                    <a:pt x="16577" y="6312"/>
                    <a:pt x="16485" y="6268"/>
                  </a:cubicBezTo>
                  <a:cubicBezTo>
                    <a:pt x="16370" y="6211"/>
                    <a:pt x="16508" y="6140"/>
                    <a:pt x="16502" y="6072"/>
                  </a:cubicBezTo>
                  <a:cubicBezTo>
                    <a:pt x="16491" y="5953"/>
                    <a:pt x="16403" y="5916"/>
                    <a:pt x="16468" y="5803"/>
                  </a:cubicBezTo>
                  <a:cubicBezTo>
                    <a:pt x="16543" y="5671"/>
                    <a:pt x="16509" y="5550"/>
                    <a:pt x="16308" y="5483"/>
                  </a:cubicBezTo>
                  <a:cubicBezTo>
                    <a:pt x="16222" y="5455"/>
                    <a:pt x="16133" y="5477"/>
                    <a:pt x="16065" y="5451"/>
                  </a:cubicBezTo>
                  <a:cubicBezTo>
                    <a:pt x="15979" y="5417"/>
                    <a:pt x="16004" y="5372"/>
                    <a:pt x="15952" y="5367"/>
                  </a:cubicBezTo>
                  <a:cubicBezTo>
                    <a:pt x="15798" y="5349"/>
                    <a:pt x="15867" y="5401"/>
                    <a:pt x="15765" y="5419"/>
                  </a:cubicBezTo>
                  <a:close/>
                  <a:moveTo>
                    <a:pt x="15765" y="5419"/>
                  </a:moveTo>
                </a:path>
              </a:pathLst>
            </a:custGeom>
            <a:grpFill/>
            <a:ln w="12700" cap="flat">
              <a:solidFill>
                <a:srgbClr val="FFFFFF"/>
              </a:solidFill>
              <a:miter lim="800000"/>
              <a:headEnd type="none" w="med" len="med"/>
              <a:tailEnd type="none" w="med" len="med"/>
            </a:ln>
          </p:spPr>
          <p:txBody>
            <a:bodyPr lIns="0" tIns="0" rIns="0" bIns="0"/>
            <a:lstStyle/>
            <a:p>
              <a:endParaRPr lang="en-US"/>
            </a:p>
          </p:txBody>
        </p:sp>
      </p:grpSp>
    </p:spTree>
    <p:extLst>
      <p:ext uri="{BB962C8B-B14F-4D97-AF65-F5344CB8AC3E}">
        <p14:creationId xmlns:p14="http://schemas.microsoft.com/office/powerpoint/2010/main" val="35171485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28A10-096E-7949-82A0-256E4D0AC6CA}"/>
              </a:ext>
            </a:extLst>
          </p:cNvPr>
          <p:cNvSpPr>
            <a:spLocks noGrp="1"/>
          </p:cNvSpPr>
          <p:nvPr>
            <p:ph type="title"/>
          </p:nvPr>
        </p:nvSpPr>
        <p:spPr/>
        <p:txBody>
          <a:bodyPr/>
          <a:lstStyle/>
          <a:p>
            <a:r>
              <a:rPr lang="en-US" dirty="0"/>
              <a:t>EU</a:t>
            </a:r>
          </a:p>
        </p:txBody>
      </p:sp>
      <p:grpSp>
        <p:nvGrpSpPr>
          <p:cNvPr id="30" name="Group 29">
            <a:extLst>
              <a:ext uri="{FF2B5EF4-FFF2-40B4-BE49-F238E27FC236}">
                <a16:creationId xmlns:a16="http://schemas.microsoft.com/office/drawing/2014/main" id="{3DA45769-3CD0-4143-9470-27EFB98C484B}"/>
              </a:ext>
            </a:extLst>
          </p:cNvPr>
          <p:cNvGrpSpPr/>
          <p:nvPr/>
        </p:nvGrpSpPr>
        <p:grpSpPr>
          <a:xfrm>
            <a:off x="2743201" y="1574311"/>
            <a:ext cx="2802016" cy="3104193"/>
            <a:chOff x="5600274" y="2273558"/>
            <a:chExt cx="1056566" cy="1170509"/>
          </a:xfrm>
          <a:solidFill>
            <a:schemeClr val="bg1">
              <a:lumMod val="75000"/>
            </a:schemeClr>
          </a:solidFill>
        </p:grpSpPr>
        <p:sp>
          <p:nvSpPr>
            <p:cNvPr id="3" name="Poland">
              <a:extLst>
                <a:ext uri="{FF2B5EF4-FFF2-40B4-BE49-F238E27FC236}">
                  <a16:creationId xmlns:a16="http://schemas.microsoft.com/office/drawing/2014/main" id="{0D24A3B5-A8FD-2341-AF58-35FF2C6CEDF5}"/>
                </a:ext>
              </a:extLst>
            </p:cNvPr>
            <p:cNvSpPr>
              <a:spLocks/>
            </p:cNvSpPr>
            <p:nvPr/>
          </p:nvSpPr>
          <p:spPr bwMode="auto">
            <a:xfrm>
              <a:off x="6184788"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4" name="Croatia">
              <a:extLst>
                <a:ext uri="{FF2B5EF4-FFF2-40B4-BE49-F238E27FC236}">
                  <a16:creationId xmlns:a16="http://schemas.microsoft.com/office/drawing/2014/main" id="{2567DE5E-390F-5A44-B846-C1C74E6B0827}"/>
                </a:ext>
              </a:extLst>
            </p:cNvPr>
            <p:cNvSpPr>
              <a:spLocks/>
            </p:cNvSpPr>
            <p:nvPr/>
          </p:nvSpPr>
          <p:spPr bwMode="auto">
            <a:xfrm>
              <a:off x="6174430"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5" name="Austria">
              <a:extLst>
                <a:ext uri="{FF2B5EF4-FFF2-40B4-BE49-F238E27FC236}">
                  <a16:creationId xmlns:a16="http://schemas.microsoft.com/office/drawing/2014/main" id="{415E406A-5885-3744-94E9-D3D668B2FD8F}"/>
                </a:ext>
              </a:extLst>
            </p:cNvPr>
            <p:cNvSpPr>
              <a:spLocks/>
            </p:cNvSpPr>
            <p:nvPr/>
          </p:nvSpPr>
          <p:spPr bwMode="auto">
            <a:xfrm>
              <a:off x="6078244"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6" name="Hungary">
              <a:extLst>
                <a:ext uri="{FF2B5EF4-FFF2-40B4-BE49-F238E27FC236}">
                  <a16:creationId xmlns:a16="http://schemas.microsoft.com/office/drawing/2014/main" id="{2DA2F320-8333-6648-9E60-6FC4A0A43296}"/>
                </a:ext>
              </a:extLst>
            </p:cNvPr>
            <p:cNvSpPr>
              <a:spLocks/>
            </p:cNvSpPr>
            <p:nvPr/>
          </p:nvSpPr>
          <p:spPr bwMode="auto">
            <a:xfrm>
              <a:off x="6229182"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7" name="Czech Republic">
              <a:extLst>
                <a:ext uri="{FF2B5EF4-FFF2-40B4-BE49-F238E27FC236}">
                  <a16:creationId xmlns:a16="http://schemas.microsoft.com/office/drawing/2014/main" id="{BF67EB72-8779-9442-80B7-31A48173FCC0}"/>
                </a:ext>
              </a:extLst>
            </p:cNvPr>
            <p:cNvSpPr>
              <a:spLocks/>
            </p:cNvSpPr>
            <p:nvPr/>
          </p:nvSpPr>
          <p:spPr bwMode="auto">
            <a:xfrm>
              <a:off x="6141875"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8" name="Slovakia">
              <a:extLst>
                <a:ext uri="{FF2B5EF4-FFF2-40B4-BE49-F238E27FC236}">
                  <a16:creationId xmlns:a16="http://schemas.microsoft.com/office/drawing/2014/main" id="{A72A430B-2EFC-604C-B0DC-4AF427D5914A}"/>
                </a:ext>
              </a:extLst>
            </p:cNvPr>
            <p:cNvSpPr>
              <a:spLocks/>
            </p:cNvSpPr>
            <p:nvPr/>
          </p:nvSpPr>
          <p:spPr bwMode="auto">
            <a:xfrm>
              <a:off x="6243979"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9" name="Netherlands">
              <a:extLst>
                <a:ext uri="{FF2B5EF4-FFF2-40B4-BE49-F238E27FC236}">
                  <a16:creationId xmlns:a16="http://schemas.microsoft.com/office/drawing/2014/main" id="{DD56988E-C391-F34E-B981-5A929F3DDF8C}"/>
                </a:ext>
              </a:extLst>
            </p:cNvPr>
            <p:cNvSpPr>
              <a:spLocks/>
            </p:cNvSpPr>
            <p:nvPr/>
          </p:nvSpPr>
          <p:spPr bwMode="auto">
            <a:xfrm>
              <a:off x="5924346"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10" name="Luxembourg">
              <a:extLst>
                <a:ext uri="{FF2B5EF4-FFF2-40B4-BE49-F238E27FC236}">
                  <a16:creationId xmlns:a16="http://schemas.microsoft.com/office/drawing/2014/main" id="{A08AEC98-CECD-BE47-8609-01F2FFB3E3BC}"/>
                </a:ext>
              </a:extLst>
            </p:cNvPr>
            <p:cNvSpPr>
              <a:spLocks/>
            </p:cNvSpPr>
            <p:nvPr/>
          </p:nvSpPr>
          <p:spPr bwMode="auto">
            <a:xfrm>
              <a:off x="5987978"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11" name="Belgium">
              <a:extLst>
                <a:ext uri="{FF2B5EF4-FFF2-40B4-BE49-F238E27FC236}">
                  <a16:creationId xmlns:a16="http://schemas.microsoft.com/office/drawing/2014/main" id="{1B5E81F9-3CD0-E74A-B105-9D7B28E0D4DC}"/>
                </a:ext>
              </a:extLst>
            </p:cNvPr>
            <p:cNvSpPr>
              <a:spLocks/>
            </p:cNvSpPr>
            <p:nvPr/>
          </p:nvSpPr>
          <p:spPr bwMode="auto">
            <a:xfrm>
              <a:off x="5908069"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12" name="Romania">
              <a:extLst>
                <a:ext uri="{FF2B5EF4-FFF2-40B4-BE49-F238E27FC236}">
                  <a16:creationId xmlns:a16="http://schemas.microsoft.com/office/drawing/2014/main" id="{63FDAB0D-9A4D-944F-B600-2241E972CA41}"/>
                </a:ext>
              </a:extLst>
            </p:cNvPr>
            <p:cNvSpPr>
              <a:spLocks/>
            </p:cNvSpPr>
            <p:nvPr/>
          </p:nvSpPr>
          <p:spPr bwMode="auto">
            <a:xfrm>
              <a:off x="6326847"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13" name="Bulgaria">
              <a:extLst>
                <a:ext uri="{FF2B5EF4-FFF2-40B4-BE49-F238E27FC236}">
                  <a16:creationId xmlns:a16="http://schemas.microsoft.com/office/drawing/2014/main" id="{D7AC8DED-EA60-BF47-B27D-38F7B744F6B9}"/>
                </a:ext>
              </a:extLst>
            </p:cNvPr>
            <p:cNvSpPr>
              <a:spLocks/>
            </p:cNvSpPr>
            <p:nvPr/>
          </p:nvSpPr>
          <p:spPr bwMode="auto">
            <a:xfrm>
              <a:off x="6368281"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14" name="Latvia">
              <a:extLst>
                <a:ext uri="{FF2B5EF4-FFF2-40B4-BE49-F238E27FC236}">
                  <a16:creationId xmlns:a16="http://schemas.microsoft.com/office/drawing/2014/main" id="{5C0E9818-7561-2643-B91D-A024046CCF69}"/>
                </a:ext>
              </a:extLst>
            </p:cNvPr>
            <p:cNvSpPr>
              <a:spLocks/>
            </p:cNvSpPr>
            <p:nvPr/>
          </p:nvSpPr>
          <p:spPr bwMode="auto">
            <a:xfrm>
              <a:off x="6337206"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15" name="Lithuania">
              <a:extLst>
                <a:ext uri="{FF2B5EF4-FFF2-40B4-BE49-F238E27FC236}">
                  <a16:creationId xmlns:a16="http://schemas.microsoft.com/office/drawing/2014/main" id="{97C6CF22-3CCB-3C48-A6DE-A7B2413178F6}"/>
                </a:ext>
              </a:extLst>
            </p:cNvPr>
            <p:cNvSpPr>
              <a:spLocks/>
            </p:cNvSpPr>
            <p:nvPr/>
          </p:nvSpPr>
          <p:spPr bwMode="auto">
            <a:xfrm>
              <a:off x="6337206"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16" name="Switzerland">
              <a:extLst>
                <a:ext uri="{FF2B5EF4-FFF2-40B4-BE49-F238E27FC236}">
                  <a16:creationId xmlns:a16="http://schemas.microsoft.com/office/drawing/2014/main" id="{768515A4-8F97-0D42-8D11-EAA7D7F3E495}"/>
                </a:ext>
              </a:extLst>
            </p:cNvPr>
            <p:cNvSpPr>
              <a:spLocks/>
            </p:cNvSpPr>
            <p:nvPr/>
          </p:nvSpPr>
          <p:spPr bwMode="auto">
            <a:xfrm>
              <a:off x="5995375"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17" name="Germany">
              <a:extLst>
                <a:ext uri="{FF2B5EF4-FFF2-40B4-BE49-F238E27FC236}">
                  <a16:creationId xmlns:a16="http://schemas.microsoft.com/office/drawing/2014/main" id="{84A4BD85-8ED5-9A41-89A3-1C6C32942FF6}"/>
                </a:ext>
              </a:extLst>
            </p:cNvPr>
            <p:cNvSpPr>
              <a:spLocks/>
            </p:cNvSpPr>
            <p:nvPr/>
          </p:nvSpPr>
          <p:spPr bwMode="auto">
            <a:xfrm>
              <a:off x="5993896"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kern="0" dirty="0">
                <a:solidFill>
                  <a:srgbClr val="3F3F3F"/>
                </a:solidFill>
                <a:latin typeface="Tw Cen MT Regular"/>
              </a:endParaRPr>
            </a:p>
          </p:txBody>
        </p:sp>
        <p:sp>
          <p:nvSpPr>
            <p:cNvPr id="18" name="Finland">
              <a:extLst>
                <a:ext uri="{FF2B5EF4-FFF2-40B4-BE49-F238E27FC236}">
                  <a16:creationId xmlns:a16="http://schemas.microsoft.com/office/drawing/2014/main" id="{7FAFA18A-2FBA-5E49-9910-7C2E922573F7}"/>
                </a:ext>
              </a:extLst>
            </p:cNvPr>
            <p:cNvSpPr>
              <a:spLocks/>
            </p:cNvSpPr>
            <p:nvPr/>
          </p:nvSpPr>
          <p:spPr bwMode="auto">
            <a:xfrm>
              <a:off x="6338685"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19" name="Slovenia">
              <a:extLst>
                <a:ext uri="{FF2B5EF4-FFF2-40B4-BE49-F238E27FC236}">
                  <a16:creationId xmlns:a16="http://schemas.microsoft.com/office/drawing/2014/main" id="{C2D8A6AD-C4D6-674A-A59E-BB7DF74EB189}"/>
                </a:ext>
              </a:extLst>
            </p:cNvPr>
            <p:cNvSpPr>
              <a:spLocks/>
            </p:cNvSpPr>
            <p:nvPr/>
          </p:nvSpPr>
          <p:spPr bwMode="auto">
            <a:xfrm>
              <a:off x="6153713"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0" name="Greece">
              <a:extLst>
                <a:ext uri="{FF2B5EF4-FFF2-40B4-BE49-F238E27FC236}">
                  <a16:creationId xmlns:a16="http://schemas.microsoft.com/office/drawing/2014/main" id="{4B532660-9B7A-074A-A21B-0FE1004378B6}"/>
                </a:ext>
              </a:extLst>
            </p:cNvPr>
            <p:cNvSpPr>
              <a:spLocks noEditPoints="1"/>
            </p:cNvSpPr>
            <p:nvPr/>
          </p:nvSpPr>
          <p:spPr bwMode="auto">
            <a:xfrm>
              <a:off x="6317968"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1" name="Cyprus">
              <a:extLst>
                <a:ext uri="{FF2B5EF4-FFF2-40B4-BE49-F238E27FC236}">
                  <a16:creationId xmlns:a16="http://schemas.microsoft.com/office/drawing/2014/main" id="{6542BF22-9197-854F-ACE1-65007CD1F512}"/>
                </a:ext>
              </a:extLst>
            </p:cNvPr>
            <p:cNvSpPr>
              <a:spLocks/>
            </p:cNvSpPr>
            <p:nvPr/>
          </p:nvSpPr>
          <p:spPr bwMode="auto">
            <a:xfrm>
              <a:off x="6602087"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2" name="Ireland">
              <a:extLst>
                <a:ext uri="{FF2B5EF4-FFF2-40B4-BE49-F238E27FC236}">
                  <a16:creationId xmlns:a16="http://schemas.microsoft.com/office/drawing/2014/main" id="{D165FD95-0C53-1449-BE15-47DA49EC7B9A}"/>
                </a:ext>
              </a:extLst>
            </p:cNvPr>
            <p:cNvSpPr>
              <a:spLocks/>
            </p:cNvSpPr>
            <p:nvPr/>
          </p:nvSpPr>
          <p:spPr bwMode="auto">
            <a:xfrm>
              <a:off x="5600274"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3" name="Denmark">
              <a:extLst>
                <a:ext uri="{FF2B5EF4-FFF2-40B4-BE49-F238E27FC236}">
                  <a16:creationId xmlns:a16="http://schemas.microsoft.com/office/drawing/2014/main" id="{5F4FB055-84ED-414E-8F62-1A438519CFA8}"/>
                </a:ext>
              </a:extLst>
            </p:cNvPr>
            <p:cNvSpPr>
              <a:spLocks noEditPoints="1"/>
            </p:cNvSpPr>
            <p:nvPr/>
          </p:nvSpPr>
          <p:spPr bwMode="auto">
            <a:xfrm>
              <a:off x="6039769"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4" name="Sweden">
              <a:extLst>
                <a:ext uri="{FF2B5EF4-FFF2-40B4-BE49-F238E27FC236}">
                  <a16:creationId xmlns:a16="http://schemas.microsoft.com/office/drawing/2014/main" id="{2EB1350D-9407-7C43-BD2E-646C977A2513}"/>
                </a:ext>
              </a:extLst>
            </p:cNvPr>
            <p:cNvSpPr>
              <a:spLocks noEditPoints="1"/>
            </p:cNvSpPr>
            <p:nvPr/>
          </p:nvSpPr>
          <p:spPr bwMode="auto">
            <a:xfrm>
              <a:off x="6116718"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5" name="Estonia">
              <a:extLst>
                <a:ext uri="{FF2B5EF4-FFF2-40B4-BE49-F238E27FC236}">
                  <a16:creationId xmlns:a16="http://schemas.microsoft.com/office/drawing/2014/main" id="{354A2AFD-CAF7-774A-B548-F76F97372B6D}"/>
                </a:ext>
              </a:extLst>
            </p:cNvPr>
            <p:cNvSpPr>
              <a:spLocks noEditPoints="1"/>
            </p:cNvSpPr>
            <p:nvPr/>
          </p:nvSpPr>
          <p:spPr bwMode="auto">
            <a:xfrm>
              <a:off x="6362362"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6" name="Italy">
              <a:extLst>
                <a:ext uri="{FF2B5EF4-FFF2-40B4-BE49-F238E27FC236}">
                  <a16:creationId xmlns:a16="http://schemas.microsoft.com/office/drawing/2014/main" id="{8E98BCED-48DE-4142-A1D9-41C789579850}"/>
                </a:ext>
              </a:extLst>
            </p:cNvPr>
            <p:cNvSpPr>
              <a:spLocks noEditPoints="1"/>
            </p:cNvSpPr>
            <p:nvPr/>
          </p:nvSpPr>
          <p:spPr bwMode="auto">
            <a:xfrm>
              <a:off x="6008694"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7" name="Spain">
              <a:extLst>
                <a:ext uri="{FF2B5EF4-FFF2-40B4-BE49-F238E27FC236}">
                  <a16:creationId xmlns:a16="http://schemas.microsoft.com/office/drawing/2014/main" id="{B62310CC-5543-AA44-92AE-23D18A1F9558}"/>
                </a:ext>
              </a:extLst>
            </p:cNvPr>
            <p:cNvSpPr>
              <a:spLocks/>
            </p:cNvSpPr>
            <p:nvPr/>
          </p:nvSpPr>
          <p:spPr bwMode="auto">
            <a:xfrm>
              <a:off x="5626910"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8" name="Portugal">
              <a:extLst>
                <a:ext uri="{FF2B5EF4-FFF2-40B4-BE49-F238E27FC236}">
                  <a16:creationId xmlns:a16="http://schemas.microsoft.com/office/drawing/2014/main" id="{AE21DBA2-B828-284D-A4DB-4551D76D480F}"/>
                </a:ext>
              </a:extLst>
            </p:cNvPr>
            <p:cNvSpPr>
              <a:spLocks/>
            </p:cNvSpPr>
            <p:nvPr/>
          </p:nvSpPr>
          <p:spPr bwMode="auto">
            <a:xfrm>
              <a:off x="5620991"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sp>
          <p:nvSpPr>
            <p:cNvPr id="29" name="France">
              <a:extLst>
                <a:ext uri="{FF2B5EF4-FFF2-40B4-BE49-F238E27FC236}">
                  <a16:creationId xmlns:a16="http://schemas.microsoft.com/office/drawing/2014/main" id="{9567EC4F-8251-AB4A-BF6F-36632414D754}"/>
                </a:ext>
              </a:extLst>
            </p:cNvPr>
            <p:cNvSpPr>
              <a:spLocks noEditPoints="1"/>
            </p:cNvSpPr>
            <p:nvPr/>
          </p:nvSpPr>
          <p:spPr bwMode="auto">
            <a:xfrm>
              <a:off x="5734934"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Tw Cen MT Regular"/>
              </a:endParaRPr>
            </a:p>
          </p:txBody>
        </p:sp>
      </p:grpSp>
      <p:grpSp>
        <p:nvGrpSpPr>
          <p:cNvPr id="71" name="Group 70">
            <a:extLst>
              <a:ext uri="{FF2B5EF4-FFF2-40B4-BE49-F238E27FC236}">
                <a16:creationId xmlns:a16="http://schemas.microsoft.com/office/drawing/2014/main" id="{C11A4A99-3BF7-EE45-9D4E-B0E56FD8A6A8}"/>
              </a:ext>
            </a:extLst>
          </p:cNvPr>
          <p:cNvGrpSpPr/>
          <p:nvPr/>
        </p:nvGrpSpPr>
        <p:grpSpPr>
          <a:xfrm>
            <a:off x="6663867" y="1863529"/>
            <a:ext cx="3394536" cy="2929966"/>
            <a:chOff x="723900" y="1041399"/>
            <a:chExt cx="6290871" cy="5429914"/>
          </a:xfrm>
          <a:solidFill>
            <a:schemeClr val="bg1">
              <a:lumMod val="75000"/>
            </a:schemeClr>
          </a:solidFill>
        </p:grpSpPr>
        <p:sp>
          <p:nvSpPr>
            <p:cNvPr id="60" name="Shape">
              <a:extLst>
                <a:ext uri="{FF2B5EF4-FFF2-40B4-BE49-F238E27FC236}">
                  <a16:creationId xmlns:a16="http://schemas.microsoft.com/office/drawing/2014/main" id="{CAED00B3-C9E4-4A4D-B014-FFAC42B88E82}"/>
                </a:ext>
              </a:extLst>
            </p:cNvPr>
            <p:cNvSpPr/>
            <p:nvPr/>
          </p:nvSpPr>
          <p:spPr>
            <a:xfrm>
              <a:off x="1485900" y="1041399"/>
              <a:ext cx="638855" cy="542649"/>
            </a:xfrm>
            <a:custGeom>
              <a:avLst/>
              <a:gdLst/>
              <a:ahLst/>
              <a:cxnLst>
                <a:cxn ang="0">
                  <a:pos x="wd2" y="hd2"/>
                </a:cxn>
                <a:cxn ang="5400000">
                  <a:pos x="wd2" y="hd2"/>
                </a:cxn>
                <a:cxn ang="10800000">
                  <a:pos x="wd2" y="hd2"/>
                </a:cxn>
                <a:cxn ang="16200000">
                  <a:pos x="wd2" y="hd2"/>
                </a:cxn>
              </a:cxnLst>
              <a:rect l="0" t="0" r="r" b="b"/>
              <a:pathLst>
                <a:path w="21116" h="21259" extrusionOk="0">
                  <a:moveTo>
                    <a:pt x="447" y="12600"/>
                  </a:moveTo>
                  <a:cubicBezTo>
                    <a:pt x="635" y="12494"/>
                    <a:pt x="465" y="11550"/>
                    <a:pt x="884" y="11725"/>
                  </a:cubicBezTo>
                  <a:cubicBezTo>
                    <a:pt x="1247" y="11874"/>
                    <a:pt x="740" y="12320"/>
                    <a:pt x="836" y="12573"/>
                  </a:cubicBezTo>
                  <a:cubicBezTo>
                    <a:pt x="855" y="12626"/>
                    <a:pt x="2336" y="12904"/>
                    <a:pt x="2325" y="12701"/>
                  </a:cubicBezTo>
                  <a:cubicBezTo>
                    <a:pt x="2256" y="12604"/>
                    <a:pt x="2223" y="12494"/>
                    <a:pt x="2226" y="12372"/>
                  </a:cubicBezTo>
                  <a:cubicBezTo>
                    <a:pt x="2838" y="12080"/>
                    <a:pt x="2023" y="13414"/>
                    <a:pt x="2788" y="12866"/>
                  </a:cubicBezTo>
                  <a:cubicBezTo>
                    <a:pt x="3065" y="12975"/>
                    <a:pt x="2977" y="12378"/>
                    <a:pt x="2968" y="12506"/>
                  </a:cubicBezTo>
                  <a:cubicBezTo>
                    <a:pt x="2977" y="12372"/>
                    <a:pt x="2219" y="11772"/>
                    <a:pt x="3138" y="11858"/>
                  </a:cubicBezTo>
                  <a:cubicBezTo>
                    <a:pt x="3235" y="11867"/>
                    <a:pt x="4031" y="12239"/>
                    <a:pt x="4066" y="12198"/>
                  </a:cubicBezTo>
                  <a:cubicBezTo>
                    <a:pt x="4291" y="11919"/>
                    <a:pt x="2549" y="11783"/>
                    <a:pt x="2614" y="11477"/>
                  </a:cubicBezTo>
                  <a:cubicBezTo>
                    <a:pt x="2659" y="11263"/>
                    <a:pt x="3153" y="11670"/>
                    <a:pt x="3212" y="11490"/>
                  </a:cubicBezTo>
                  <a:cubicBezTo>
                    <a:pt x="3306" y="11207"/>
                    <a:pt x="2717" y="10693"/>
                    <a:pt x="3623" y="10853"/>
                  </a:cubicBezTo>
                  <a:cubicBezTo>
                    <a:pt x="4213" y="10958"/>
                    <a:pt x="3899" y="10722"/>
                    <a:pt x="4384" y="11126"/>
                  </a:cubicBezTo>
                  <a:cubicBezTo>
                    <a:pt x="4340" y="11024"/>
                    <a:pt x="4306" y="10916"/>
                    <a:pt x="4286" y="10802"/>
                  </a:cubicBezTo>
                  <a:cubicBezTo>
                    <a:pt x="4401" y="10769"/>
                    <a:pt x="4516" y="10742"/>
                    <a:pt x="4634" y="10724"/>
                  </a:cubicBezTo>
                  <a:cubicBezTo>
                    <a:pt x="4736" y="10599"/>
                    <a:pt x="3686" y="10635"/>
                    <a:pt x="3565" y="10671"/>
                  </a:cubicBezTo>
                  <a:cubicBezTo>
                    <a:pt x="3621" y="10596"/>
                    <a:pt x="3471" y="10471"/>
                    <a:pt x="3482" y="10374"/>
                  </a:cubicBezTo>
                  <a:cubicBezTo>
                    <a:pt x="3593" y="10466"/>
                    <a:pt x="2929" y="10627"/>
                    <a:pt x="2917" y="10633"/>
                  </a:cubicBezTo>
                  <a:cubicBezTo>
                    <a:pt x="2972" y="10198"/>
                    <a:pt x="3021" y="9751"/>
                    <a:pt x="3114" y="9325"/>
                  </a:cubicBezTo>
                  <a:cubicBezTo>
                    <a:pt x="3002" y="9833"/>
                    <a:pt x="3527" y="9342"/>
                    <a:pt x="3735" y="9362"/>
                  </a:cubicBezTo>
                  <a:cubicBezTo>
                    <a:pt x="3539" y="9372"/>
                    <a:pt x="3168" y="9128"/>
                    <a:pt x="2972" y="9113"/>
                  </a:cubicBezTo>
                  <a:cubicBezTo>
                    <a:pt x="2997" y="9124"/>
                    <a:pt x="3560" y="9175"/>
                    <a:pt x="3563" y="9093"/>
                  </a:cubicBezTo>
                  <a:cubicBezTo>
                    <a:pt x="3576" y="8755"/>
                    <a:pt x="3375" y="8986"/>
                    <a:pt x="3600" y="8633"/>
                  </a:cubicBezTo>
                  <a:cubicBezTo>
                    <a:pt x="3331" y="9051"/>
                    <a:pt x="2977" y="8164"/>
                    <a:pt x="2942" y="8190"/>
                  </a:cubicBezTo>
                  <a:cubicBezTo>
                    <a:pt x="2940" y="8276"/>
                    <a:pt x="2943" y="8359"/>
                    <a:pt x="2949" y="8445"/>
                  </a:cubicBezTo>
                  <a:cubicBezTo>
                    <a:pt x="2622" y="8160"/>
                    <a:pt x="2487" y="7659"/>
                    <a:pt x="2219" y="7313"/>
                  </a:cubicBezTo>
                  <a:cubicBezTo>
                    <a:pt x="2023" y="7060"/>
                    <a:pt x="1931" y="7433"/>
                    <a:pt x="1790" y="7308"/>
                  </a:cubicBezTo>
                  <a:cubicBezTo>
                    <a:pt x="1547" y="7093"/>
                    <a:pt x="1054" y="7334"/>
                    <a:pt x="926" y="6786"/>
                  </a:cubicBezTo>
                  <a:cubicBezTo>
                    <a:pt x="624" y="5496"/>
                    <a:pt x="1407" y="6218"/>
                    <a:pt x="1747" y="6522"/>
                  </a:cubicBezTo>
                  <a:cubicBezTo>
                    <a:pt x="2036" y="6778"/>
                    <a:pt x="2269" y="6153"/>
                    <a:pt x="2526" y="6586"/>
                  </a:cubicBezTo>
                  <a:cubicBezTo>
                    <a:pt x="2527" y="6714"/>
                    <a:pt x="2529" y="6840"/>
                    <a:pt x="2533" y="6967"/>
                  </a:cubicBezTo>
                  <a:cubicBezTo>
                    <a:pt x="2542" y="6982"/>
                    <a:pt x="3115" y="6476"/>
                    <a:pt x="3070" y="6659"/>
                  </a:cubicBezTo>
                  <a:cubicBezTo>
                    <a:pt x="3065" y="6676"/>
                    <a:pt x="3025" y="6740"/>
                    <a:pt x="2977" y="6814"/>
                  </a:cubicBezTo>
                  <a:cubicBezTo>
                    <a:pt x="2942" y="6837"/>
                    <a:pt x="2919" y="6879"/>
                    <a:pt x="2900" y="6927"/>
                  </a:cubicBezTo>
                  <a:cubicBezTo>
                    <a:pt x="2820" y="7045"/>
                    <a:pt x="2743" y="7160"/>
                    <a:pt x="2752" y="7159"/>
                  </a:cubicBezTo>
                  <a:cubicBezTo>
                    <a:pt x="2841" y="7154"/>
                    <a:pt x="2862" y="7029"/>
                    <a:pt x="2900" y="6927"/>
                  </a:cubicBezTo>
                  <a:cubicBezTo>
                    <a:pt x="2926" y="6888"/>
                    <a:pt x="2951" y="6850"/>
                    <a:pt x="2977" y="6814"/>
                  </a:cubicBezTo>
                  <a:cubicBezTo>
                    <a:pt x="3010" y="6791"/>
                    <a:pt x="3056" y="6787"/>
                    <a:pt x="3125" y="6817"/>
                  </a:cubicBezTo>
                  <a:cubicBezTo>
                    <a:pt x="3412" y="6946"/>
                    <a:pt x="3555" y="6863"/>
                    <a:pt x="3922" y="6939"/>
                  </a:cubicBezTo>
                  <a:cubicBezTo>
                    <a:pt x="3854" y="7052"/>
                    <a:pt x="3767" y="7141"/>
                    <a:pt x="3662" y="7208"/>
                  </a:cubicBezTo>
                  <a:cubicBezTo>
                    <a:pt x="3691" y="7138"/>
                    <a:pt x="3757" y="7464"/>
                    <a:pt x="3779" y="7612"/>
                  </a:cubicBezTo>
                  <a:cubicBezTo>
                    <a:pt x="3768" y="7641"/>
                    <a:pt x="3765" y="7667"/>
                    <a:pt x="3783" y="7682"/>
                  </a:cubicBezTo>
                  <a:cubicBezTo>
                    <a:pt x="3788" y="7685"/>
                    <a:pt x="3785" y="7656"/>
                    <a:pt x="3779" y="7612"/>
                  </a:cubicBezTo>
                  <a:cubicBezTo>
                    <a:pt x="3820" y="7493"/>
                    <a:pt x="4040" y="7293"/>
                    <a:pt x="4127" y="7311"/>
                  </a:cubicBezTo>
                  <a:cubicBezTo>
                    <a:pt x="4429" y="7376"/>
                    <a:pt x="4652" y="7849"/>
                    <a:pt x="4829" y="8095"/>
                  </a:cubicBezTo>
                  <a:cubicBezTo>
                    <a:pt x="5115" y="8495"/>
                    <a:pt x="5843" y="8382"/>
                    <a:pt x="5867" y="7734"/>
                  </a:cubicBezTo>
                  <a:cubicBezTo>
                    <a:pt x="5845" y="8316"/>
                    <a:pt x="4494" y="7096"/>
                    <a:pt x="4425" y="6755"/>
                  </a:cubicBezTo>
                  <a:cubicBezTo>
                    <a:pt x="4506" y="6775"/>
                    <a:pt x="4588" y="6805"/>
                    <a:pt x="4665" y="6840"/>
                  </a:cubicBezTo>
                  <a:cubicBezTo>
                    <a:pt x="4611" y="6793"/>
                    <a:pt x="4556" y="6746"/>
                    <a:pt x="4502" y="6698"/>
                  </a:cubicBezTo>
                  <a:cubicBezTo>
                    <a:pt x="4576" y="6381"/>
                    <a:pt x="6429" y="6373"/>
                    <a:pt x="6704" y="6605"/>
                  </a:cubicBezTo>
                  <a:cubicBezTo>
                    <a:pt x="6314" y="6277"/>
                    <a:pt x="6471" y="6454"/>
                    <a:pt x="6367" y="5955"/>
                  </a:cubicBezTo>
                  <a:cubicBezTo>
                    <a:pt x="6309" y="5679"/>
                    <a:pt x="5996" y="6034"/>
                    <a:pt x="5838" y="5997"/>
                  </a:cubicBezTo>
                  <a:cubicBezTo>
                    <a:pt x="5740" y="5974"/>
                    <a:pt x="5557" y="5302"/>
                    <a:pt x="5885" y="5420"/>
                  </a:cubicBezTo>
                  <a:cubicBezTo>
                    <a:pt x="6034" y="5492"/>
                    <a:pt x="6184" y="5561"/>
                    <a:pt x="6337" y="5625"/>
                  </a:cubicBezTo>
                  <a:cubicBezTo>
                    <a:pt x="6555" y="5687"/>
                    <a:pt x="6585" y="5320"/>
                    <a:pt x="6161" y="5320"/>
                  </a:cubicBezTo>
                  <a:cubicBezTo>
                    <a:pt x="5684" y="5320"/>
                    <a:pt x="6064" y="5228"/>
                    <a:pt x="5610" y="5309"/>
                  </a:cubicBezTo>
                  <a:cubicBezTo>
                    <a:pt x="5655" y="5301"/>
                    <a:pt x="5907" y="4580"/>
                    <a:pt x="5885" y="4561"/>
                  </a:cubicBezTo>
                  <a:cubicBezTo>
                    <a:pt x="5754" y="4449"/>
                    <a:pt x="4732" y="5509"/>
                    <a:pt x="5381" y="4372"/>
                  </a:cubicBezTo>
                  <a:cubicBezTo>
                    <a:pt x="5216" y="4663"/>
                    <a:pt x="4699" y="3916"/>
                    <a:pt x="4715" y="3915"/>
                  </a:cubicBezTo>
                  <a:cubicBezTo>
                    <a:pt x="4599" y="4069"/>
                    <a:pt x="4469" y="4203"/>
                    <a:pt x="4324" y="4316"/>
                  </a:cubicBezTo>
                  <a:cubicBezTo>
                    <a:pt x="3976" y="4127"/>
                    <a:pt x="4314" y="3899"/>
                    <a:pt x="3770" y="3911"/>
                  </a:cubicBezTo>
                  <a:cubicBezTo>
                    <a:pt x="3591" y="3915"/>
                    <a:pt x="2869" y="3987"/>
                    <a:pt x="2917" y="3561"/>
                  </a:cubicBezTo>
                  <a:cubicBezTo>
                    <a:pt x="2958" y="3203"/>
                    <a:pt x="3268" y="3354"/>
                    <a:pt x="2832" y="2927"/>
                  </a:cubicBezTo>
                  <a:cubicBezTo>
                    <a:pt x="2819" y="2915"/>
                    <a:pt x="2262" y="2453"/>
                    <a:pt x="2312" y="2380"/>
                  </a:cubicBezTo>
                  <a:cubicBezTo>
                    <a:pt x="2852" y="1592"/>
                    <a:pt x="3203" y="2440"/>
                    <a:pt x="3310" y="2978"/>
                  </a:cubicBezTo>
                  <a:cubicBezTo>
                    <a:pt x="3537" y="4142"/>
                    <a:pt x="3937" y="1590"/>
                    <a:pt x="3950" y="1604"/>
                  </a:cubicBezTo>
                  <a:cubicBezTo>
                    <a:pt x="4505" y="2271"/>
                    <a:pt x="4224" y="2713"/>
                    <a:pt x="4157" y="3296"/>
                  </a:cubicBezTo>
                  <a:cubicBezTo>
                    <a:pt x="4178" y="3113"/>
                    <a:pt x="4826" y="3436"/>
                    <a:pt x="4816" y="3382"/>
                  </a:cubicBezTo>
                  <a:cubicBezTo>
                    <a:pt x="4745" y="2987"/>
                    <a:pt x="4283" y="3336"/>
                    <a:pt x="4576" y="2795"/>
                  </a:cubicBezTo>
                  <a:cubicBezTo>
                    <a:pt x="4588" y="2776"/>
                    <a:pt x="5418" y="3324"/>
                    <a:pt x="5313" y="2950"/>
                  </a:cubicBezTo>
                  <a:cubicBezTo>
                    <a:pt x="5149" y="2368"/>
                    <a:pt x="3944" y="2702"/>
                    <a:pt x="4572" y="1596"/>
                  </a:cubicBezTo>
                  <a:cubicBezTo>
                    <a:pt x="4709" y="1353"/>
                    <a:pt x="5000" y="1888"/>
                    <a:pt x="5213" y="2296"/>
                  </a:cubicBezTo>
                  <a:cubicBezTo>
                    <a:pt x="5271" y="2446"/>
                    <a:pt x="5338" y="2570"/>
                    <a:pt x="5411" y="2651"/>
                  </a:cubicBezTo>
                  <a:cubicBezTo>
                    <a:pt x="5423" y="2668"/>
                    <a:pt x="5434" y="2683"/>
                    <a:pt x="5442" y="2690"/>
                  </a:cubicBezTo>
                  <a:cubicBezTo>
                    <a:pt x="5431" y="2680"/>
                    <a:pt x="5421" y="2662"/>
                    <a:pt x="5411" y="2651"/>
                  </a:cubicBezTo>
                  <a:cubicBezTo>
                    <a:pt x="5363" y="2582"/>
                    <a:pt x="5294" y="2448"/>
                    <a:pt x="5213" y="2296"/>
                  </a:cubicBezTo>
                  <a:cubicBezTo>
                    <a:pt x="5053" y="1874"/>
                    <a:pt x="4967" y="1272"/>
                    <a:pt x="5078" y="992"/>
                  </a:cubicBezTo>
                  <a:cubicBezTo>
                    <a:pt x="5280" y="484"/>
                    <a:pt x="5716" y="1336"/>
                    <a:pt x="5692" y="1600"/>
                  </a:cubicBezTo>
                  <a:cubicBezTo>
                    <a:pt x="5688" y="1618"/>
                    <a:pt x="5685" y="1639"/>
                    <a:pt x="5677" y="1652"/>
                  </a:cubicBezTo>
                  <a:cubicBezTo>
                    <a:pt x="5684" y="1640"/>
                    <a:pt x="5689" y="1621"/>
                    <a:pt x="5692" y="1600"/>
                  </a:cubicBezTo>
                  <a:cubicBezTo>
                    <a:pt x="5736" y="1380"/>
                    <a:pt x="5482" y="806"/>
                    <a:pt x="5692" y="704"/>
                  </a:cubicBezTo>
                  <a:cubicBezTo>
                    <a:pt x="5791" y="657"/>
                    <a:pt x="6057" y="1174"/>
                    <a:pt x="6062" y="1204"/>
                  </a:cubicBezTo>
                  <a:cubicBezTo>
                    <a:pt x="6021" y="977"/>
                    <a:pt x="5872" y="692"/>
                    <a:pt x="6201" y="621"/>
                  </a:cubicBezTo>
                  <a:cubicBezTo>
                    <a:pt x="6385" y="580"/>
                    <a:pt x="6572" y="1808"/>
                    <a:pt x="6564" y="1689"/>
                  </a:cubicBezTo>
                  <a:cubicBezTo>
                    <a:pt x="6579" y="1899"/>
                    <a:pt x="6454" y="2024"/>
                    <a:pt x="6309" y="2113"/>
                  </a:cubicBezTo>
                  <a:cubicBezTo>
                    <a:pt x="6176" y="2173"/>
                    <a:pt x="6038" y="2250"/>
                    <a:pt x="6015" y="2261"/>
                  </a:cubicBezTo>
                  <a:cubicBezTo>
                    <a:pt x="6098" y="2220"/>
                    <a:pt x="6208" y="2175"/>
                    <a:pt x="6309" y="2113"/>
                  </a:cubicBezTo>
                  <a:cubicBezTo>
                    <a:pt x="6425" y="2062"/>
                    <a:pt x="6538" y="2025"/>
                    <a:pt x="6565" y="2062"/>
                  </a:cubicBezTo>
                  <a:cubicBezTo>
                    <a:pt x="6527" y="2009"/>
                    <a:pt x="6462" y="2596"/>
                    <a:pt x="6593" y="2333"/>
                  </a:cubicBezTo>
                  <a:cubicBezTo>
                    <a:pt x="6569" y="2381"/>
                    <a:pt x="6547" y="2422"/>
                    <a:pt x="6527" y="2461"/>
                  </a:cubicBezTo>
                  <a:cubicBezTo>
                    <a:pt x="6234" y="2706"/>
                    <a:pt x="6244" y="2985"/>
                    <a:pt x="6527" y="2461"/>
                  </a:cubicBezTo>
                  <a:cubicBezTo>
                    <a:pt x="6600" y="2399"/>
                    <a:pt x="6691" y="2341"/>
                    <a:pt x="6803" y="2297"/>
                  </a:cubicBezTo>
                  <a:cubicBezTo>
                    <a:pt x="7299" y="2102"/>
                    <a:pt x="6555" y="3659"/>
                    <a:pt x="6341" y="3475"/>
                  </a:cubicBezTo>
                  <a:cubicBezTo>
                    <a:pt x="6581" y="3681"/>
                    <a:pt x="6727" y="2821"/>
                    <a:pt x="6965" y="3027"/>
                  </a:cubicBezTo>
                  <a:cubicBezTo>
                    <a:pt x="7151" y="3187"/>
                    <a:pt x="6502" y="3614"/>
                    <a:pt x="6687" y="3772"/>
                  </a:cubicBezTo>
                  <a:cubicBezTo>
                    <a:pt x="6783" y="3855"/>
                    <a:pt x="7539" y="2614"/>
                    <a:pt x="7536" y="2655"/>
                  </a:cubicBezTo>
                  <a:cubicBezTo>
                    <a:pt x="7563" y="2245"/>
                    <a:pt x="6629" y="1649"/>
                    <a:pt x="7059" y="1130"/>
                  </a:cubicBezTo>
                  <a:cubicBezTo>
                    <a:pt x="7245" y="902"/>
                    <a:pt x="7851" y="1832"/>
                    <a:pt x="8127" y="1809"/>
                  </a:cubicBezTo>
                  <a:cubicBezTo>
                    <a:pt x="8235" y="1799"/>
                    <a:pt x="7804" y="1546"/>
                    <a:pt x="7814" y="1538"/>
                  </a:cubicBezTo>
                  <a:cubicBezTo>
                    <a:pt x="7937" y="1497"/>
                    <a:pt x="8040" y="1422"/>
                    <a:pt x="8124" y="1313"/>
                  </a:cubicBezTo>
                  <a:cubicBezTo>
                    <a:pt x="8022" y="1356"/>
                    <a:pt x="7918" y="1390"/>
                    <a:pt x="7813" y="1414"/>
                  </a:cubicBezTo>
                  <a:cubicBezTo>
                    <a:pt x="7375" y="1296"/>
                    <a:pt x="8062" y="932"/>
                    <a:pt x="8044" y="998"/>
                  </a:cubicBezTo>
                  <a:cubicBezTo>
                    <a:pt x="8070" y="895"/>
                    <a:pt x="7631" y="1011"/>
                    <a:pt x="7577" y="964"/>
                  </a:cubicBezTo>
                  <a:cubicBezTo>
                    <a:pt x="7622" y="902"/>
                    <a:pt x="7671" y="848"/>
                    <a:pt x="7721" y="794"/>
                  </a:cubicBezTo>
                  <a:cubicBezTo>
                    <a:pt x="7748" y="786"/>
                    <a:pt x="7763" y="772"/>
                    <a:pt x="7758" y="750"/>
                  </a:cubicBezTo>
                  <a:cubicBezTo>
                    <a:pt x="7745" y="764"/>
                    <a:pt x="7735" y="780"/>
                    <a:pt x="7721" y="794"/>
                  </a:cubicBezTo>
                  <a:cubicBezTo>
                    <a:pt x="7541" y="849"/>
                    <a:pt x="6781" y="609"/>
                    <a:pt x="7112" y="307"/>
                  </a:cubicBezTo>
                  <a:cubicBezTo>
                    <a:pt x="7207" y="347"/>
                    <a:pt x="7302" y="389"/>
                    <a:pt x="7397" y="434"/>
                  </a:cubicBezTo>
                  <a:cubicBezTo>
                    <a:pt x="7431" y="293"/>
                    <a:pt x="7458" y="151"/>
                    <a:pt x="7477" y="6"/>
                  </a:cubicBezTo>
                  <a:cubicBezTo>
                    <a:pt x="7525" y="-50"/>
                    <a:pt x="7779" y="329"/>
                    <a:pt x="7815" y="411"/>
                  </a:cubicBezTo>
                  <a:cubicBezTo>
                    <a:pt x="7814" y="415"/>
                    <a:pt x="7813" y="420"/>
                    <a:pt x="7811" y="424"/>
                  </a:cubicBezTo>
                  <a:cubicBezTo>
                    <a:pt x="7823" y="434"/>
                    <a:pt x="7821" y="426"/>
                    <a:pt x="7815" y="411"/>
                  </a:cubicBezTo>
                  <a:cubicBezTo>
                    <a:pt x="7840" y="315"/>
                    <a:pt x="7867" y="218"/>
                    <a:pt x="7889" y="121"/>
                  </a:cubicBezTo>
                  <a:cubicBezTo>
                    <a:pt x="7995" y="101"/>
                    <a:pt x="8032" y="666"/>
                    <a:pt x="8095" y="672"/>
                  </a:cubicBezTo>
                  <a:cubicBezTo>
                    <a:pt x="8960" y="733"/>
                    <a:pt x="8330" y="1449"/>
                    <a:pt x="8337" y="1988"/>
                  </a:cubicBezTo>
                  <a:cubicBezTo>
                    <a:pt x="8338" y="2180"/>
                    <a:pt x="9156" y="2175"/>
                    <a:pt x="8526" y="2641"/>
                  </a:cubicBezTo>
                  <a:cubicBezTo>
                    <a:pt x="9111" y="2208"/>
                    <a:pt x="8426" y="3986"/>
                    <a:pt x="8472" y="3939"/>
                  </a:cubicBezTo>
                  <a:cubicBezTo>
                    <a:pt x="8915" y="3494"/>
                    <a:pt x="9473" y="4313"/>
                    <a:pt x="8966" y="4133"/>
                  </a:cubicBezTo>
                  <a:cubicBezTo>
                    <a:pt x="8918" y="4116"/>
                    <a:pt x="8747" y="3847"/>
                    <a:pt x="8694" y="3919"/>
                  </a:cubicBezTo>
                  <a:cubicBezTo>
                    <a:pt x="8535" y="4133"/>
                    <a:pt x="9243" y="4502"/>
                    <a:pt x="8934" y="4567"/>
                  </a:cubicBezTo>
                  <a:cubicBezTo>
                    <a:pt x="8785" y="4509"/>
                    <a:pt x="8639" y="4450"/>
                    <a:pt x="8491" y="4391"/>
                  </a:cubicBezTo>
                  <a:cubicBezTo>
                    <a:pt x="9784" y="5020"/>
                    <a:pt x="7649" y="5589"/>
                    <a:pt x="7484" y="5180"/>
                  </a:cubicBezTo>
                  <a:cubicBezTo>
                    <a:pt x="7493" y="5088"/>
                    <a:pt x="7505" y="5012"/>
                    <a:pt x="7527" y="4977"/>
                  </a:cubicBezTo>
                  <a:cubicBezTo>
                    <a:pt x="7474" y="5061"/>
                    <a:pt x="7464" y="5128"/>
                    <a:pt x="7484" y="5180"/>
                  </a:cubicBezTo>
                  <a:cubicBezTo>
                    <a:pt x="7458" y="5516"/>
                    <a:pt x="7525" y="6111"/>
                    <a:pt x="7683" y="6118"/>
                  </a:cubicBezTo>
                  <a:cubicBezTo>
                    <a:pt x="8268" y="6149"/>
                    <a:pt x="7211" y="6884"/>
                    <a:pt x="7035" y="6973"/>
                  </a:cubicBezTo>
                  <a:cubicBezTo>
                    <a:pt x="7021" y="6975"/>
                    <a:pt x="7011" y="6978"/>
                    <a:pt x="7009" y="6981"/>
                  </a:cubicBezTo>
                  <a:cubicBezTo>
                    <a:pt x="7005" y="6987"/>
                    <a:pt x="7016" y="6983"/>
                    <a:pt x="7035" y="6973"/>
                  </a:cubicBezTo>
                  <a:cubicBezTo>
                    <a:pt x="7137" y="6957"/>
                    <a:pt x="7500" y="6956"/>
                    <a:pt x="7519" y="7062"/>
                  </a:cubicBezTo>
                  <a:cubicBezTo>
                    <a:pt x="7624" y="7658"/>
                    <a:pt x="6657" y="7972"/>
                    <a:pt x="6874" y="8809"/>
                  </a:cubicBezTo>
                  <a:cubicBezTo>
                    <a:pt x="7046" y="8389"/>
                    <a:pt x="7451" y="7667"/>
                    <a:pt x="7690" y="7421"/>
                  </a:cubicBezTo>
                  <a:cubicBezTo>
                    <a:pt x="7693" y="7417"/>
                    <a:pt x="7653" y="8223"/>
                    <a:pt x="7646" y="8231"/>
                  </a:cubicBezTo>
                  <a:cubicBezTo>
                    <a:pt x="7662" y="8212"/>
                    <a:pt x="8960" y="5906"/>
                    <a:pt x="9123" y="6987"/>
                  </a:cubicBezTo>
                  <a:cubicBezTo>
                    <a:pt x="9158" y="7217"/>
                    <a:pt x="8789" y="7358"/>
                    <a:pt x="8729" y="7542"/>
                  </a:cubicBezTo>
                  <a:cubicBezTo>
                    <a:pt x="8774" y="7491"/>
                    <a:pt x="8825" y="7452"/>
                    <a:pt x="8882" y="7425"/>
                  </a:cubicBezTo>
                  <a:cubicBezTo>
                    <a:pt x="8980" y="7695"/>
                    <a:pt x="8710" y="8289"/>
                    <a:pt x="9023" y="8019"/>
                  </a:cubicBezTo>
                  <a:cubicBezTo>
                    <a:pt x="9035" y="8029"/>
                    <a:pt x="9060" y="8049"/>
                    <a:pt x="9045" y="8036"/>
                  </a:cubicBezTo>
                  <a:cubicBezTo>
                    <a:pt x="9047" y="8037"/>
                    <a:pt x="9008" y="8007"/>
                    <a:pt x="9045" y="8036"/>
                  </a:cubicBezTo>
                  <a:cubicBezTo>
                    <a:pt x="9030" y="8025"/>
                    <a:pt x="9027" y="8022"/>
                    <a:pt x="9024" y="8019"/>
                  </a:cubicBezTo>
                  <a:cubicBezTo>
                    <a:pt x="9082" y="7968"/>
                    <a:pt x="9159" y="7890"/>
                    <a:pt x="9265" y="7770"/>
                  </a:cubicBezTo>
                  <a:cubicBezTo>
                    <a:pt x="9764" y="7205"/>
                    <a:pt x="10208" y="5910"/>
                    <a:pt x="10787" y="5645"/>
                  </a:cubicBezTo>
                  <a:cubicBezTo>
                    <a:pt x="11800" y="5400"/>
                    <a:pt x="10952" y="6328"/>
                    <a:pt x="11046" y="6873"/>
                  </a:cubicBezTo>
                  <a:cubicBezTo>
                    <a:pt x="11068" y="7004"/>
                    <a:pt x="11126" y="8379"/>
                    <a:pt x="11307" y="8266"/>
                  </a:cubicBezTo>
                  <a:cubicBezTo>
                    <a:pt x="12044" y="7808"/>
                    <a:pt x="11811" y="6051"/>
                    <a:pt x="12829" y="6834"/>
                  </a:cubicBezTo>
                  <a:cubicBezTo>
                    <a:pt x="12834" y="6863"/>
                    <a:pt x="12838" y="6892"/>
                    <a:pt x="12843" y="6921"/>
                  </a:cubicBezTo>
                  <a:cubicBezTo>
                    <a:pt x="12798" y="6982"/>
                    <a:pt x="12795" y="7045"/>
                    <a:pt x="12871" y="7103"/>
                  </a:cubicBezTo>
                  <a:cubicBezTo>
                    <a:pt x="12862" y="7042"/>
                    <a:pt x="12852" y="6982"/>
                    <a:pt x="12843" y="6921"/>
                  </a:cubicBezTo>
                  <a:cubicBezTo>
                    <a:pt x="13021" y="6681"/>
                    <a:pt x="13914" y="6483"/>
                    <a:pt x="13654" y="6852"/>
                  </a:cubicBezTo>
                  <a:cubicBezTo>
                    <a:pt x="13550" y="6888"/>
                    <a:pt x="13490" y="6967"/>
                    <a:pt x="13473" y="7090"/>
                  </a:cubicBezTo>
                  <a:cubicBezTo>
                    <a:pt x="13565" y="7279"/>
                    <a:pt x="13885" y="6699"/>
                    <a:pt x="13819" y="7312"/>
                  </a:cubicBezTo>
                  <a:cubicBezTo>
                    <a:pt x="13781" y="7658"/>
                    <a:pt x="13463" y="7917"/>
                    <a:pt x="13443" y="8243"/>
                  </a:cubicBezTo>
                  <a:cubicBezTo>
                    <a:pt x="13443" y="8416"/>
                    <a:pt x="13489" y="8469"/>
                    <a:pt x="13545" y="8500"/>
                  </a:cubicBezTo>
                  <a:cubicBezTo>
                    <a:pt x="13654" y="8558"/>
                    <a:pt x="13799" y="8537"/>
                    <a:pt x="13723" y="9108"/>
                  </a:cubicBezTo>
                  <a:cubicBezTo>
                    <a:pt x="13675" y="9339"/>
                    <a:pt x="13682" y="9403"/>
                    <a:pt x="13718" y="9153"/>
                  </a:cubicBezTo>
                  <a:cubicBezTo>
                    <a:pt x="13720" y="9135"/>
                    <a:pt x="13721" y="9124"/>
                    <a:pt x="13723" y="9108"/>
                  </a:cubicBezTo>
                  <a:cubicBezTo>
                    <a:pt x="13761" y="8925"/>
                    <a:pt x="13830" y="8641"/>
                    <a:pt x="13952" y="8312"/>
                  </a:cubicBezTo>
                  <a:cubicBezTo>
                    <a:pt x="14077" y="7973"/>
                    <a:pt x="14189" y="7703"/>
                    <a:pt x="14254" y="7615"/>
                  </a:cubicBezTo>
                  <a:cubicBezTo>
                    <a:pt x="14873" y="6779"/>
                    <a:pt x="15066" y="9378"/>
                    <a:pt x="14976" y="9678"/>
                  </a:cubicBezTo>
                  <a:cubicBezTo>
                    <a:pt x="14947" y="9686"/>
                    <a:pt x="14933" y="9696"/>
                    <a:pt x="14950" y="9708"/>
                  </a:cubicBezTo>
                  <a:cubicBezTo>
                    <a:pt x="14961" y="9716"/>
                    <a:pt x="14968" y="9702"/>
                    <a:pt x="14976" y="9678"/>
                  </a:cubicBezTo>
                  <a:cubicBezTo>
                    <a:pt x="15045" y="9662"/>
                    <a:pt x="15210" y="9665"/>
                    <a:pt x="15266" y="9705"/>
                  </a:cubicBezTo>
                  <a:cubicBezTo>
                    <a:pt x="15320" y="9744"/>
                    <a:pt x="16119" y="8623"/>
                    <a:pt x="16446" y="8701"/>
                  </a:cubicBezTo>
                  <a:cubicBezTo>
                    <a:pt x="16790" y="8783"/>
                    <a:pt x="16574" y="9244"/>
                    <a:pt x="16537" y="9458"/>
                  </a:cubicBezTo>
                  <a:cubicBezTo>
                    <a:pt x="16678" y="9551"/>
                    <a:pt x="16830" y="9581"/>
                    <a:pt x="16991" y="9552"/>
                  </a:cubicBezTo>
                  <a:cubicBezTo>
                    <a:pt x="16940" y="9552"/>
                    <a:pt x="16887" y="9553"/>
                    <a:pt x="16834" y="9556"/>
                  </a:cubicBezTo>
                  <a:cubicBezTo>
                    <a:pt x="16594" y="9764"/>
                    <a:pt x="17132" y="10132"/>
                    <a:pt x="17138" y="10006"/>
                  </a:cubicBezTo>
                  <a:cubicBezTo>
                    <a:pt x="17155" y="9472"/>
                    <a:pt x="17397" y="9902"/>
                    <a:pt x="17426" y="9971"/>
                  </a:cubicBezTo>
                  <a:cubicBezTo>
                    <a:pt x="17349" y="9787"/>
                    <a:pt x="18216" y="7747"/>
                    <a:pt x="18457" y="8052"/>
                  </a:cubicBezTo>
                  <a:cubicBezTo>
                    <a:pt x="18435" y="8113"/>
                    <a:pt x="18415" y="8174"/>
                    <a:pt x="18395" y="8237"/>
                  </a:cubicBezTo>
                  <a:cubicBezTo>
                    <a:pt x="18444" y="8195"/>
                    <a:pt x="18493" y="8152"/>
                    <a:pt x="18541" y="8110"/>
                  </a:cubicBezTo>
                  <a:cubicBezTo>
                    <a:pt x="18606" y="8154"/>
                    <a:pt x="19139" y="8347"/>
                    <a:pt x="19198" y="8451"/>
                  </a:cubicBezTo>
                  <a:cubicBezTo>
                    <a:pt x="19414" y="8838"/>
                    <a:pt x="18838" y="9129"/>
                    <a:pt x="19174" y="9300"/>
                  </a:cubicBezTo>
                  <a:cubicBezTo>
                    <a:pt x="19476" y="9453"/>
                    <a:pt x="18662" y="10690"/>
                    <a:pt x="19255" y="11113"/>
                  </a:cubicBezTo>
                  <a:cubicBezTo>
                    <a:pt x="19118" y="11020"/>
                    <a:pt x="20601" y="10742"/>
                    <a:pt x="21115" y="10809"/>
                  </a:cubicBezTo>
                  <a:cubicBezTo>
                    <a:pt x="20687" y="10812"/>
                    <a:pt x="19633" y="11397"/>
                    <a:pt x="19510" y="11511"/>
                  </a:cubicBezTo>
                  <a:cubicBezTo>
                    <a:pt x="19262" y="11736"/>
                    <a:pt x="20228" y="12620"/>
                    <a:pt x="20227" y="12437"/>
                  </a:cubicBezTo>
                  <a:cubicBezTo>
                    <a:pt x="20230" y="13199"/>
                    <a:pt x="19045" y="13442"/>
                    <a:pt x="19079" y="13715"/>
                  </a:cubicBezTo>
                  <a:cubicBezTo>
                    <a:pt x="19168" y="13717"/>
                    <a:pt x="19255" y="13699"/>
                    <a:pt x="19339" y="13660"/>
                  </a:cubicBezTo>
                  <a:cubicBezTo>
                    <a:pt x="19400" y="13701"/>
                    <a:pt x="19053" y="13884"/>
                    <a:pt x="19111" y="13962"/>
                  </a:cubicBezTo>
                  <a:cubicBezTo>
                    <a:pt x="19342" y="14279"/>
                    <a:pt x="19863" y="13841"/>
                    <a:pt x="20096" y="14155"/>
                  </a:cubicBezTo>
                  <a:cubicBezTo>
                    <a:pt x="20021" y="14053"/>
                    <a:pt x="19828" y="14808"/>
                    <a:pt x="19935" y="14950"/>
                  </a:cubicBezTo>
                  <a:cubicBezTo>
                    <a:pt x="20146" y="15222"/>
                    <a:pt x="20351" y="15353"/>
                    <a:pt x="20527" y="15553"/>
                  </a:cubicBezTo>
                  <a:cubicBezTo>
                    <a:pt x="20666" y="15711"/>
                    <a:pt x="20267" y="15939"/>
                    <a:pt x="20365" y="16123"/>
                  </a:cubicBezTo>
                  <a:cubicBezTo>
                    <a:pt x="20344" y="16083"/>
                    <a:pt x="20331" y="16058"/>
                    <a:pt x="20365" y="16123"/>
                  </a:cubicBezTo>
                  <a:cubicBezTo>
                    <a:pt x="20453" y="16286"/>
                    <a:pt x="20399" y="16186"/>
                    <a:pt x="20365" y="16123"/>
                  </a:cubicBezTo>
                  <a:cubicBezTo>
                    <a:pt x="20482" y="16195"/>
                    <a:pt x="20590" y="16179"/>
                    <a:pt x="20686" y="16073"/>
                  </a:cubicBezTo>
                  <a:cubicBezTo>
                    <a:pt x="21209" y="16088"/>
                    <a:pt x="19900" y="16914"/>
                    <a:pt x="19961" y="16873"/>
                  </a:cubicBezTo>
                  <a:cubicBezTo>
                    <a:pt x="19979" y="16997"/>
                    <a:pt x="19999" y="17120"/>
                    <a:pt x="20016" y="17244"/>
                  </a:cubicBezTo>
                  <a:cubicBezTo>
                    <a:pt x="19758" y="17195"/>
                    <a:pt x="19239" y="16951"/>
                    <a:pt x="19186" y="17500"/>
                  </a:cubicBezTo>
                  <a:cubicBezTo>
                    <a:pt x="19163" y="17750"/>
                    <a:pt x="19912" y="17722"/>
                    <a:pt x="19936" y="17976"/>
                  </a:cubicBezTo>
                  <a:cubicBezTo>
                    <a:pt x="19979" y="18428"/>
                    <a:pt x="19727" y="18119"/>
                    <a:pt x="19576" y="18147"/>
                  </a:cubicBezTo>
                  <a:cubicBezTo>
                    <a:pt x="19562" y="18146"/>
                    <a:pt x="19547" y="18151"/>
                    <a:pt x="19530" y="18167"/>
                  </a:cubicBezTo>
                  <a:cubicBezTo>
                    <a:pt x="19543" y="18154"/>
                    <a:pt x="19560" y="18150"/>
                    <a:pt x="19576" y="18147"/>
                  </a:cubicBezTo>
                  <a:cubicBezTo>
                    <a:pt x="19788" y="18166"/>
                    <a:pt x="19818" y="19767"/>
                    <a:pt x="19185" y="19000"/>
                  </a:cubicBezTo>
                  <a:cubicBezTo>
                    <a:pt x="19128" y="18931"/>
                    <a:pt x="18979" y="18066"/>
                    <a:pt x="18894" y="18099"/>
                  </a:cubicBezTo>
                  <a:cubicBezTo>
                    <a:pt x="18867" y="18196"/>
                    <a:pt x="18846" y="18294"/>
                    <a:pt x="18829" y="18393"/>
                  </a:cubicBezTo>
                  <a:cubicBezTo>
                    <a:pt x="18731" y="18332"/>
                    <a:pt x="18633" y="18268"/>
                    <a:pt x="18536" y="18207"/>
                  </a:cubicBezTo>
                  <a:cubicBezTo>
                    <a:pt x="18490" y="18158"/>
                    <a:pt x="18445" y="18125"/>
                    <a:pt x="18408" y="18124"/>
                  </a:cubicBezTo>
                  <a:cubicBezTo>
                    <a:pt x="18450" y="18151"/>
                    <a:pt x="18493" y="18178"/>
                    <a:pt x="18536" y="18207"/>
                  </a:cubicBezTo>
                  <a:cubicBezTo>
                    <a:pt x="18795" y="18476"/>
                    <a:pt x="19139" y="19326"/>
                    <a:pt x="19082" y="19338"/>
                  </a:cubicBezTo>
                  <a:cubicBezTo>
                    <a:pt x="19030" y="19354"/>
                    <a:pt x="18481" y="18912"/>
                    <a:pt x="18450" y="18871"/>
                  </a:cubicBezTo>
                  <a:cubicBezTo>
                    <a:pt x="19114" y="19765"/>
                    <a:pt x="18435" y="19364"/>
                    <a:pt x="18389" y="19458"/>
                  </a:cubicBezTo>
                  <a:cubicBezTo>
                    <a:pt x="18433" y="19573"/>
                    <a:pt x="18486" y="19682"/>
                    <a:pt x="18550" y="19784"/>
                  </a:cubicBezTo>
                  <a:cubicBezTo>
                    <a:pt x="18538" y="19850"/>
                    <a:pt x="16906" y="19870"/>
                    <a:pt x="17029" y="19708"/>
                  </a:cubicBezTo>
                  <a:cubicBezTo>
                    <a:pt x="17002" y="19743"/>
                    <a:pt x="16882" y="20213"/>
                    <a:pt x="16680" y="20202"/>
                  </a:cubicBezTo>
                  <a:cubicBezTo>
                    <a:pt x="16652" y="20192"/>
                    <a:pt x="16627" y="20183"/>
                    <a:pt x="16606" y="20172"/>
                  </a:cubicBezTo>
                  <a:cubicBezTo>
                    <a:pt x="16587" y="20162"/>
                    <a:pt x="16572" y="20157"/>
                    <a:pt x="16553" y="20139"/>
                  </a:cubicBezTo>
                  <a:cubicBezTo>
                    <a:pt x="16565" y="20150"/>
                    <a:pt x="16584" y="20162"/>
                    <a:pt x="16606" y="20172"/>
                  </a:cubicBezTo>
                  <a:cubicBezTo>
                    <a:pt x="16631" y="20189"/>
                    <a:pt x="16656" y="20201"/>
                    <a:pt x="16680" y="20202"/>
                  </a:cubicBezTo>
                  <a:cubicBezTo>
                    <a:pt x="16833" y="20250"/>
                    <a:pt x="17065" y="20272"/>
                    <a:pt x="17135" y="20226"/>
                  </a:cubicBezTo>
                  <a:cubicBezTo>
                    <a:pt x="16809" y="20434"/>
                    <a:pt x="16579" y="20828"/>
                    <a:pt x="16232" y="20994"/>
                  </a:cubicBezTo>
                  <a:cubicBezTo>
                    <a:pt x="16095" y="20942"/>
                    <a:pt x="15043" y="21243"/>
                    <a:pt x="15084" y="21259"/>
                  </a:cubicBezTo>
                  <a:cubicBezTo>
                    <a:pt x="15087" y="21259"/>
                    <a:pt x="14732" y="20913"/>
                    <a:pt x="14667" y="20870"/>
                  </a:cubicBezTo>
                  <a:cubicBezTo>
                    <a:pt x="14790" y="20952"/>
                    <a:pt x="14756" y="20339"/>
                    <a:pt x="14787" y="20401"/>
                  </a:cubicBezTo>
                  <a:cubicBezTo>
                    <a:pt x="14757" y="20345"/>
                    <a:pt x="14567" y="20680"/>
                    <a:pt x="14569" y="20577"/>
                  </a:cubicBezTo>
                  <a:cubicBezTo>
                    <a:pt x="14681" y="20342"/>
                    <a:pt x="14675" y="20112"/>
                    <a:pt x="14552" y="19885"/>
                  </a:cubicBezTo>
                  <a:cubicBezTo>
                    <a:pt x="14285" y="20327"/>
                    <a:pt x="14143" y="20525"/>
                    <a:pt x="14145" y="20522"/>
                  </a:cubicBezTo>
                  <a:cubicBezTo>
                    <a:pt x="14169" y="20580"/>
                    <a:pt x="14197" y="20636"/>
                    <a:pt x="14225" y="20689"/>
                  </a:cubicBezTo>
                  <a:cubicBezTo>
                    <a:pt x="14288" y="20566"/>
                    <a:pt x="10409" y="21159"/>
                    <a:pt x="10532" y="21246"/>
                  </a:cubicBezTo>
                  <a:cubicBezTo>
                    <a:pt x="10508" y="21228"/>
                    <a:pt x="10688" y="20063"/>
                    <a:pt x="10321" y="20351"/>
                  </a:cubicBezTo>
                  <a:cubicBezTo>
                    <a:pt x="10361" y="20320"/>
                    <a:pt x="10194" y="21550"/>
                    <a:pt x="9912" y="21059"/>
                  </a:cubicBezTo>
                  <a:cubicBezTo>
                    <a:pt x="9722" y="20726"/>
                    <a:pt x="9270" y="20466"/>
                    <a:pt x="9112" y="20352"/>
                  </a:cubicBezTo>
                  <a:cubicBezTo>
                    <a:pt x="8935" y="20418"/>
                    <a:pt x="8757" y="20483"/>
                    <a:pt x="8581" y="20549"/>
                  </a:cubicBezTo>
                  <a:cubicBezTo>
                    <a:pt x="8542" y="20430"/>
                    <a:pt x="8529" y="20307"/>
                    <a:pt x="8540" y="20180"/>
                  </a:cubicBezTo>
                  <a:cubicBezTo>
                    <a:pt x="8514" y="20102"/>
                    <a:pt x="8182" y="20254"/>
                    <a:pt x="8337" y="20605"/>
                  </a:cubicBezTo>
                  <a:cubicBezTo>
                    <a:pt x="8217" y="20332"/>
                    <a:pt x="7379" y="21306"/>
                    <a:pt x="7057" y="21069"/>
                  </a:cubicBezTo>
                  <a:cubicBezTo>
                    <a:pt x="7020" y="21042"/>
                    <a:pt x="6820" y="20746"/>
                    <a:pt x="6873" y="20996"/>
                  </a:cubicBezTo>
                  <a:cubicBezTo>
                    <a:pt x="5885" y="20688"/>
                    <a:pt x="5619" y="20644"/>
                    <a:pt x="5021" y="19630"/>
                  </a:cubicBezTo>
                  <a:cubicBezTo>
                    <a:pt x="4939" y="19491"/>
                    <a:pt x="4427" y="18350"/>
                    <a:pt x="4264" y="18365"/>
                  </a:cubicBezTo>
                  <a:cubicBezTo>
                    <a:pt x="4310" y="18437"/>
                    <a:pt x="4353" y="18512"/>
                    <a:pt x="4396" y="18586"/>
                  </a:cubicBezTo>
                  <a:cubicBezTo>
                    <a:pt x="3573" y="18743"/>
                    <a:pt x="3342" y="16734"/>
                    <a:pt x="3646" y="16379"/>
                  </a:cubicBezTo>
                  <a:cubicBezTo>
                    <a:pt x="3574" y="16404"/>
                    <a:pt x="3508" y="16661"/>
                    <a:pt x="3447" y="16645"/>
                  </a:cubicBezTo>
                  <a:cubicBezTo>
                    <a:pt x="3389" y="16628"/>
                    <a:pt x="3275" y="16040"/>
                    <a:pt x="3289" y="16036"/>
                  </a:cubicBezTo>
                  <a:cubicBezTo>
                    <a:pt x="3402" y="16087"/>
                    <a:pt x="3594" y="15787"/>
                    <a:pt x="3676" y="15894"/>
                  </a:cubicBezTo>
                  <a:cubicBezTo>
                    <a:pt x="3621" y="15652"/>
                    <a:pt x="2767" y="15098"/>
                    <a:pt x="2963" y="14517"/>
                  </a:cubicBezTo>
                  <a:cubicBezTo>
                    <a:pt x="2788" y="14507"/>
                    <a:pt x="1829" y="15077"/>
                    <a:pt x="1894" y="14368"/>
                  </a:cubicBezTo>
                  <a:cubicBezTo>
                    <a:pt x="1931" y="13965"/>
                    <a:pt x="1553" y="14073"/>
                    <a:pt x="1331" y="13943"/>
                  </a:cubicBezTo>
                  <a:cubicBezTo>
                    <a:pt x="802" y="13637"/>
                    <a:pt x="981" y="13242"/>
                    <a:pt x="329" y="13249"/>
                  </a:cubicBezTo>
                  <a:cubicBezTo>
                    <a:pt x="-391" y="13257"/>
                    <a:pt x="267" y="12702"/>
                    <a:pt x="447" y="12600"/>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1" name="Shape">
              <a:extLst>
                <a:ext uri="{FF2B5EF4-FFF2-40B4-BE49-F238E27FC236}">
                  <a16:creationId xmlns:a16="http://schemas.microsoft.com/office/drawing/2014/main" id="{D4670297-9A5D-AF46-9095-5CAFC4AF83EE}"/>
                </a:ext>
              </a:extLst>
            </p:cNvPr>
            <p:cNvSpPr/>
            <p:nvPr/>
          </p:nvSpPr>
          <p:spPr>
            <a:xfrm>
              <a:off x="1600144" y="1435100"/>
              <a:ext cx="56" cy="275"/>
            </a:xfrm>
            <a:custGeom>
              <a:avLst/>
              <a:gdLst/>
              <a:ahLst/>
              <a:cxnLst>
                <a:cxn ang="0">
                  <a:pos x="wd2" y="hd2"/>
                </a:cxn>
                <a:cxn ang="5400000">
                  <a:pos x="wd2" y="hd2"/>
                </a:cxn>
                <a:cxn ang="10800000">
                  <a:pos x="wd2" y="hd2"/>
                </a:cxn>
                <a:cxn ang="16200000">
                  <a:pos x="wd2" y="hd2"/>
                </a:cxn>
              </a:cxnLst>
              <a:rect l="0" t="0" r="r" b="b"/>
              <a:pathLst>
                <a:path w="21600" h="19567" extrusionOk="0">
                  <a:moveTo>
                    <a:pt x="0" y="19567"/>
                  </a:moveTo>
                  <a:lnTo>
                    <a:pt x="0" y="19567"/>
                  </a:lnTo>
                  <a:cubicBezTo>
                    <a:pt x="21600" y="1036"/>
                    <a:pt x="21600" y="-2033"/>
                    <a:pt x="21600" y="1036"/>
                  </a:cubicBezTo>
                  <a:cubicBezTo>
                    <a:pt x="21600" y="-316"/>
                    <a:pt x="9321" y="5829"/>
                    <a:pt x="0" y="19567"/>
                  </a:cubicBezTo>
                  <a:cubicBezTo>
                    <a:pt x="0" y="19567"/>
                    <a:pt x="0" y="19567"/>
                    <a:pt x="0" y="19567"/>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2" name="Shape">
              <a:extLst>
                <a:ext uri="{FF2B5EF4-FFF2-40B4-BE49-F238E27FC236}">
                  <a16:creationId xmlns:a16="http://schemas.microsoft.com/office/drawing/2014/main" id="{F1838B61-EE9F-0A42-BC8F-AB4C3EBE56D9}"/>
                </a:ext>
              </a:extLst>
            </p:cNvPr>
            <p:cNvSpPr/>
            <p:nvPr/>
          </p:nvSpPr>
          <p:spPr>
            <a:xfrm>
              <a:off x="2984499" y="1104900"/>
              <a:ext cx="1906411" cy="2330188"/>
            </a:xfrm>
            <a:custGeom>
              <a:avLst/>
              <a:gdLst/>
              <a:ahLst/>
              <a:cxnLst>
                <a:cxn ang="0">
                  <a:pos x="wd2" y="hd2"/>
                </a:cxn>
                <a:cxn ang="5400000">
                  <a:pos x="wd2" y="hd2"/>
                </a:cxn>
                <a:cxn ang="10800000">
                  <a:pos x="wd2" y="hd2"/>
                </a:cxn>
                <a:cxn ang="16200000">
                  <a:pos x="wd2" y="hd2"/>
                </a:cxn>
              </a:cxnLst>
              <a:rect l="0" t="0" r="r" b="b"/>
              <a:pathLst>
                <a:path w="21536" h="21533" extrusionOk="0">
                  <a:moveTo>
                    <a:pt x="19136" y="14373"/>
                  </a:moveTo>
                  <a:cubicBezTo>
                    <a:pt x="19116" y="14400"/>
                    <a:pt x="19096" y="14397"/>
                    <a:pt x="19078" y="14423"/>
                  </a:cubicBezTo>
                  <a:cubicBezTo>
                    <a:pt x="19047" y="14434"/>
                    <a:pt x="19002" y="14445"/>
                    <a:pt x="18931" y="14455"/>
                  </a:cubicBezTo>
                  <a:cubicBezTo>
                    <a:pt x="18845" y="14470"/>
                    <a:pt x="18762" y="14465"/>
                    <a:pt x="18680" y="14442"/>
                  </a:cubicBezTo>
                  <a:cubicBezTo>
                    <a:pt x="18759" y="14449"/>
                    <a:pt x="18665" y="14239"/>
                    <a:pt x="18627" y="14323"/>
                  </a:cubicBezTo>
                  <a:cubicBezTo>
                    <a:pt x="18609" y="14363"/>
                    <a:pt x="18406" y="14524"/>
                    <a:pt x="18444" y="14521"/>
                  </a:cubicBezTo>
                  <a:cubicBezTo>
                    <a:pt x="18379" y="14526"/>
                    <a:pt x="18218" y="14570"/>
                    <a:pt x="18124" y="14568"/>
                  </a:cubicBezTo>
                  <a:cubicBezTo>
                    <a:pt x="17946" y="14564"/>
                    <a:pt x="18138" y="14338"/>
                    <a:pt x="18087" y="14342"/>
                  </a:cubicBezTo>
                  <a:cubicBezTo>
                    <a:pt x="17964" y="14351"/>
                    <a:pt x="18103" y="14646"/>
                    <a:pt x="17931" y="14675"/>
                  </a:cubicBezTo>
                  <a:cubicBezTo>
                    <a:pt x="17889" y="14682"/>
                    <a:pt x="17878" y="14547"/>
                    <a:pt x="17849" y="14566"/>
                  </a:cubicBezTo>
                  <a:cubicBezTo>
                    <a:pt x="17815" y="14589"/>
                    <a:pt x="17882" y="14654"/>
                    <a:pt x="17876" y="14654"/>
                  </a:cubicBezTo>
                  <a:cubicBezTo>
                    <a:pt x="17807" y="14661"/>
                    <a:pt x="17605" y="14590"/>
                    <a:pt x="17567" y="14540"/>
                  </a:cubicBezTo>
                  <a:cubicBezTo>
                    <a:pt x="17588" y="14568"/>
                    <a:pt x="17805" y="14767"/>
                    <a:pt x="17761" y="14792"/>
                  </a:cubicBezTo>
                  <a:cubicBezTo>
                    <a:pt x="17694" y="14832"/>
                    <a:pt x="17673" y="14708"/>
                    <a:pt x="17654" y="14695"/>
                  </a:cubicBezTo>
                  <a:cubicBezTo>
                    <a:pt x="17647" y="14690"/>
                    <a:pt x="17554" y="14718"/>
                    <a:pt x="17510" y="14659"/>
                  </a:cubicBezTo>
                  <a:cubicBezTo>
                    <a:pt x="17573" y="14724"/>
                    <a:pt x="17604" y="14799"/>
                    <a:pt x="17604" y="14882"/>
                  </a:cubicBezTo>
                  <a:cubicBezTo>
                    <a:pt x="17620" y="14826"/>
                    <a:pt x="17427" y="14720"/>
                    <a:pt x="17376" y="14713"/>
                  </a:cubicBezTo>
                  <a:cubicBezTo>
                    <a:pt x="17266" y="14698"/>
                    <a:pt x="17309" y="14876"/>
                    <a:pt x="17256" y="14904"/>
                  </a:cubicBezTo>
                  <a:cubicBezTo>
                    <a:pt x="17055" y="15012"/>
                    <a:pt x="17191" y="14863"/>
                    <a:pt x="17098" y="14868"/>
                  </a:cubicBezTo>
                  <a:cubicBezTo>
                    <a:pt x="17020" y="14873"/>
                    <a:pt x="16976" y="15014"/>
                    <a:pt x="16903" y="15041"/>
                  </a:cubicBezTo>
                  <a:cubicBezTo>
                    <a:pt x="16879" y="15018"/>
                    <a:pt x="16853" y="14997"/>
                    <a:pt x="16827" y="14976"/>
                  </a:cubicBezTo>
                  <a:cubicBezTo>
                    <a:pt x="16831" y="14972"/>
                    <a:pt x="16825" y="15155"/>
                    <a:pt x="16757" y="15096"/>
                  </a:cubicBezTo>
                  <a:cubicBezTo>
                    <a:pt x="16750" y="15058"/>
                    <a:pt x="16729" y="15028"/>
                    <a:pt x="16689" y="15007"/>
                  </a:cubicBezTo>
                  <a:cubicBezTo>
                    <a:pt x="16691" y="15007"/>
                    <a:pt x="16473" y="15063"/>
                    <a:pt x="16469" y="15064"/>
                  </a:cubicBezTo>
                  <a:cubicBezTo>
                    <a:pt x="16547" y="15034"/>
                    <a:pt x="16452" y="15272"/>
                    <a:pt x="16418" y="15296"/>
                  </a:cubicBezTo>
                  <a:cubicBezTo>
                    <a:pt x="16447" y="15276"/>
                    <a:pt x="16349" y="15185"/>
                    <a:pt x="16296" y="15188"/>
                  </a:cubicBezTo>
                  <a:cubicBezTo>
                    <a:pt x="15757" y="15214"/>
                    <a:pt x="16285" y="15211"/>
                    <a:pt x="16175" y="15262"/>
                  </a:cubicBezTo>
                  <a:cubicBezTo>
                    <a:pt x="16188" y="15256"/>
                    <a:pt x="16014" y="15293"/>
                    <a:pt x="16022" y="15292"/>
                  </a:cubicBezTo>
                  <a:cubicBezTo>
                    <a:pt x="16021" y="15277"/>
                    <a:pt x="16020" y="15262"/>
                    <a:pt x="16019" y="15247"/>
                  </a:cubicBezTo>
                  <a:cubicBezTo>
                    <a:pt x="16028" y="15246"/>
                    <a:pt x="15548" y="15465"/>
                    <a:pt x="15548" y="15381"/>
                  </a:cubicBezTo>
                  <a:cubicBezTo>
                    <a:pt x="15545" y="15372"/>
                    <a:pt x="15545" y="15364"/>
                    <a:pt x="15546" y="15356"/>
                  </a:cubicBezTo>
                  <a:cubicBezTo>
                    <a:pt x="15426" y="15481"/>
                    <a:pt x="15201" y="15638"/>
                    <a:pt x="15093" y="15604"/>
                  </a:cubicBezTo>
                  <a:cubicBezTo>
                    <a:pt x="15192" y="15635"/>
                    <a:pt x="15333" y="15469"/>
                    <a:pt x="15269" y="15437"/>
                  </a:cubicBezTo>
                  <a:cubicBezTo>
                    <a:pt x="15175" y="15392"/>
                    <a:pt x="15420" y="15313"/>
                    <a:pt x="15400" y="15272"/>
                  </a:cubicBezTo>
                  <a:cubicBezTo>
                    <a:pt x="15371" y="15211"/>
                    <a:pt x="15153" y="15323"/>
                    <a:pt x="15154" y="15249"/>
                  </a:cubicBezTo>
                  <a:cubicBezTo>
                    <a:pt x="15174" y="15221"/>
                    <a:pt x="15193" y="15193"/>
                    <a:pt x="15211" y="15164"/>
                  </a:cubicBezTo>
                  <a:cubicBezTo>
                    <a:pt x="15216" y="15176"/>
                    <a:pt x="14997" y="15183"/>
                    <a:pt x="15081" y="15047"/>
                  </a:cubicBezTo>
                  <a:cubicBezTo>
                    <a:pt x="15108" y="15006"/>
                    <a:pt x="15261" y="14901"/>
                    <a:pt x="15221" y="14843"/>
                  </a:cubicBezTo>
                  <a:cubicBezTo>
                    <a:pt x="15258" y="14897"/>
                    <a:pt x="14825" y="15073"/>
                    <a:pt x="14771" y="15064"/>
                  </a:cubicBezTo>
                  <a:cubicBezTo>
                    <a:pt x="14751" y="15060"/>
                    <a:pt x="14840" y="14950"/>
                    <a:pt x="14849" y="14947"/>
                  </a:cubicBezTo>
                  <a:cubicBezTo>
                    <a:pt x="14808" y="14985"/>
                    <a:pt x="14757" y="15002"/>
                    <a:pt x="14698" y="14997"/>
                  </a:cubicBezTo>
                  <a:cubicBezTo>
                    <a:pt x="14658" y="14937"/>
                    <a:pt x="14882" y="14847"/>
                    <a:pt x="14842" y="14787"/>
                  </a:cubicBezTo>
                  <a:cubicBezTo>
                    <a:pt x="14850" y="14799"/>
                    <a:pt x="14588" y="14847"/>
                    <a:pt x="14551" y="14841"/>
                  </a:cubicBezTo>
                  <a:cubicBezTo>
                    <a:pt x="14432" y="14821"/>
                    <a:pt x="14366" y="14686"/>
                    <a:pt x="14266" y="14642"/>
                  </a:cubicBezTo>
                  <a:cubicBezTo>
                    <a:pt x="14109" y="14573"/>
                    <a:pt x="14184" y="14708"/>
                    <a:pt x="14128" y="14690"/>
                  </a:cubicBezTo>
                  <a:cubicBezTo>
                    <a:pt x="14106" y="14683"/>
                    <a:pt x="14165" y="14507"/>
                    <a:pt x="14164" y="14507"/>
                  </a:cubicBezTo>
                  <a:cubicBezTo>
                    <a:pt x="14038" y="14509"/>
                    <a:pt x="14052" y="14662"/>
                    <a:pt x="13961" y="14693"/>
                  </a:cubicBezTo>
                  <a:cubicBezTo>
                    <a:pt x="13994" y="14682"/>
                    <a:pt x="13841" y="14496"/>
                    <a:pt x="13860" y="14535"/>
                  </a:cubicBezTo>
                  <a:cubicBezTo>
                    <a:pt x="13809" y="14508"/>
                    <a:pt x="13775" y="14470"/>
                    <a:pt x="13760" y="14422"/>
                  </a:cubicBezTo>
                  <a:cubicBezTo>
                    <a:pt x="13806" y="14412"/>
                    <a:pt x="13838" y="14389"/>
                    <a:pt x="13855" y="14352"/>
                  </a:cubicBezTo>
                  <a:cubicBezTo>
                    <a:pt x="13821" y="14298"/>
                    <a:pt x="13679" y="14261"/>
                    <a:pt x="13703" y="14179"/>
                  </a:cubicBezTo>
                  <a:cubicBezTo>
                    <a:pt x="13711" y="14151"/>
                    <a:pt x="13802" y="14205"/>
                    <a:pt x="13822" y="14170"/>
                  </a:cubicBezTo>
                  <a:cubicBezTo>
                    <a:pt x="13809" y="14154"/>
                    <a:pt x="13790" y="14143"/>
                    <a:pt x="13770" y="14133"/>
                  </a:cubicBezTo>
                  <a:cubicBezTo>
                    <a:pt x="13781" y="14100"/>
                    <a:pt x="13738" y="13904"/>
                    <a:pt x="13707" y="13920"/>
                  </a:cubicBezTo>
                  <a:cubicBezTo>
                    <a:pt x="13737" y="13905"/>
                    <a:pt x="13796" y="13928"/>
                    <a:pt x="13835" y="13923"/>
                  </a:cubicBezTo>
                  <a:cubicBezTo>
                    <a:pt x="13814" y="13901"/>
                    <a:pt x="13910" y="13706"/>
                    <a:pt x="13918" y="13706"/>
                  </a:cubicBezTo>
                  <a:cubicBezTo>
                    <a:pt x="13922" y="13657"/>
                    <a:pt x="13810" y="13457"/>
                    <a:pt x="13817" y="13438"/>
                  </a:cubicBezTo>
                  <a:cubicBezTo>
                    <a:pt x="13847" y="13428"/>
                    <a:pt x="13878" y="13420"/>
                    <a:pt x="13911" y="13413"/>
                  </a:cubicBezTo>
                  <a:cubicBezTo>
                    <a:pt x="13936" y="13380"/>
                    <a:pt x="13796" y="13354"/>
                    <a:pt x="13787" y="13324"/>
                  </a:cubicBezTo>
                  <a:cubicBezTo>
                    <a:pt x="13785" y="13318"/>
                    <a:pt x="14116" y="13359"/>
                    <a:pt x="13996" y="13226"/>
                  </a:cubicBezTo>
                  <a:cubicBezTo>
                    <a:pt x="13943" y="13166"/>
                    <a:pt x="13892" y="12990"/>
                    <a:pt x="13913" y="13025"/>
                  </a:cubicBezTo>
                  <a:cubicBezTo>
                    <a:pt x="13856" y="12933"/>
                    <a:pt x="13770" y="12752"/>
                    <a:pt x="13691" y="12709"/>
                  </a:cubicBezTo>
                  <a:cubicBezTo>
                    <a:pt x="13481" y="12593"/>
                    <a:pt x="13793" y="12309"/>
                    <a:pt x="13690" y="12137"/>
                  </a:cubicBezTo>
                  <a:cubicBezTo>
                    <a:pt x="13677" y="12145"/>
                    <a:pt x="13664" y="12153"/>
                    <a:pt x="13651" y="12161"/>
                  </a:cubicBezTo>
                  <a:cubicBezTo>
                    <a:pt x="13657" y="12129"/>
                    <a:pt x="13652" y="12099"/>
                    <a:pt x="13636" y="12070"/>
                  </a:cubicBezTo>
                  <a:cubicBezTo>
                    <a:pt x="13624" y="12100"/>
                    <a:pt x="13612" y="12131"/>
                    <a:pt x="13599" y="12162"/>
                  </a:cubicBezTo>
                  <a:cubicBezTo>
                    <a:pt x="13561" y="12162"/>
                    <a:pt x="13555" y="12048"/>
                    <a:pt x="13583" y="12048"/>
                  </a:cubicBezTo>
                  <a:cubicBezTo>
                    <a:pt x="13458" y="12049"/>
                    <a:pt x="13508" y="11946"/>
                    <a:pt x="13570" y="11851"/>
                  </a:cubicBezTo>
                  <a:cubicBezTo>
                    <a:pt x="13641" y="11743"/>
                    <a:pt x="13455" y="11773"/>
                    <a:pt x="13452" y="11789"/>
                  </a:cubicBezTo>
                  <a:cubicBezTo>
                    <a:pt x="13467" y="11712"/>
                    <a:pt x="13773" y="11151"/>
                    <a:pt x="13793" y="11154"/>
                  </a:cubicBezTo>
                  <a:cubicBezTo>
                    <a:pt x="13811" y="11157"/>
                    <a:pt x="13925" y="11251"/>
                    <a:pt x="13937" y="11220"/>
                  </a:cubicBezTo>
                  <a:cubicBezTo>
                    <a:pt x="13937" y="11132"/>
                    <a:pt x="13742" y="11068"/>
                    <a:pt x="13788" y="10949"/>
                  </a:cubicBezTo>
                  <a:cubicBezTo>
                    <a:pt x="13808" y="10898"/>
                    <a:pt x="13931" y="10991"/>
                    <a:pt x="13980" y="10968"/>
                  </a:cubicBezTo>
                  <a:cubicBezTo>
                    <a:pt x="13996" y="10960"/>
                    <a:pt x="13926" y="10871"/>
                    <a:pt x="13986" y="10866"/>
                  </a:cubicBezTo>
                  <a:cubicBezTo>
                    <a:pt x="14143" y="10851"/>
                    <a:pt x="14051" y="11093"/>
                    <a:pt x="14149" y="11056"/>
                  </a:cubicBezTo>
                  <a:cubicBezTo>
                    <a:pt x="14145" y="11057"/>
                    <a:pt x="14169" y="10952"/>
                    <a:pt x="14175" y="10923"/>
                  </a:cubicBezTo>
                  <a:cubicBezTo>
                    <a:pt x="14189" y="10944"/>
                    <a:pt x="14429" y="10883"/>
                    <a:pt x="14389" y="10855"/>
                  </a:cubicBezTo>
                  <a:cubicBezTo>
                    <a:pt x="14500" y="10933"/>
                    <a:pt x="14399" y="10566"/>
                    <a:pt x="14373" y="10528"/>
                  </a:cubicBezTo>
                  <a:cubicBezTo>
                    <a:pt x="14411" y="10550"/>
                    <a:pt x="14441" y="10579"/>
                    <a:pt x="14461" y="10614"/>
                  </a:cubicBezTo>
                  <a:cubicBezTo>
                    <a:pt x="14596" y="10654"/>
                    <a:pt x="14394" y="10075"/>
                    <a:pt x="14723" y="10362"/>
                  </a:cubicBezTo>
                  <a:cubicBezTo>
                    <a:pt x="14803" y="10432"/>
                    <a:pt x="14801" y="10124"/>
                    <a:pt x="14814" y="10124"/>
                  </a:cubicBezTo>
                  <a:cubicBezTo>
                    <a:pt x="14837" y="10148"/>
                    <a:pt x="14863" y="10170"/>
                    <a:pt x="14893" y="10189"/>
                  </a:cubicBezTo>
                  <a:cubicBezTo>
                    <a:pt x="14942" y="10169"/>
                    <a:pt x="14863" y="10015"/>
                    <a:pt x="15058" y="9995"/>
                  </a:cubicBezTo>
                  <a:cubicBezTo>
                    <a:pt x="15279" y="9972"/>
                    <a:pt x="15087" y="9772"/>
                    <a:pt x="15178" y="9768"/>
                  </a:cubicBezTo>
                  <a:cubicBezTo>
                    <a:pt x="15221" y="9797"/>
                    <a:pt x="15272" y="9810"/>
                    <a:pt x="15330" y="9808"/>
                  </a:cubicBezTo>
                  <a:cubicBezTo>
                    <a:pt x="15287" y="9818"/>
                    <a:pt x="15334" y="9548"/>
                    <a:pt x="15475" y="9506"/>
                  </a:cubicBezTo>
                  <a:cubicBezTo>
                    <a:pt x="15624" y="9460"/>
                    <a:pt x="15508" y="9391"/>
                    <a:pt x="15577" y="9294"/>
                  </a:cubicBezTo>
                  <a:cubicBezTo>
                    <a:pt x="15692" y="9129"/>
                    <a:pt x="15829" y="9143"/>
                    <a:pt x="15829" y="8940"/>
                  </a:cubicBezTo>
                  <a:cubicBezTo>
                    <a:pt x="15826" y="8952"/>
                    <a:pt x="16000" y="8680"/>
                    <a:pt x="15930" y="8706"/>
                  </a:cubicBezTo>
                  <a:cubicBezTo>
                    <a:pt x="16023" y="8671"/>
                    <a:pt x="16011" y="8651"/>
                    <a:pt x="16116" y="8604"/>
                  </a:cubicBezTo>
                  <a:cubicBezTo>
                    <a:pt x="16405" y="8474"/>
                    <a:pt x="16232" y="8619"/>
                    <a:pt x="16472" y="8664"/>
                  </a:cubicBezTo>
                  <a:cubicBezTo>
                    <a:pt x="16639" y="8696"/>
                    <a:pt x="16359" y="8435"/>
                    <a:pt x="16365" y="8453"/>
                  </a:cubicBezTo>
                  <a:cubicBezTo>
                    <a:pt x="16355" y="8425"/>
                    <a:pt x="16426" y="8421"/>
                    <a:pt x="16489" y="8424"/>
                  </a:cubicBezTo>
                  <a:cubicBezTo>
                    <a:pt x="16349" y="8328"/>
                    <a:pt x="16417" y="7795"/>
                    <a:pt x="16421" y="7768"/>
                  </a:cubicBezTo>
                  <a:cubicBezTo>
                    <a:pt x="16433" y="7663"/>
                    <a:pt x="16038" y="7500"/>
                    <a:pt x="15952" y="7556"/>
                  </a:cubicBezTo>
                  <a:cubicBezTo>
                    <a:pt x="15843" y="7625"/>
                    <a:pt x="15769" y="7178"/>
                    <a:pt x="15902" y="7178"/>
                  </a:cubicBezTo>
                  <a:cubicBezTo>
                    <a:pt x="15752" y="7186"/>
                    <a:pt x="15858" y="7456"/>
                    <a:pt x="15656" y="7362"/>
                  </a:cubicBezTo>
                  <a:cubicBezTo>
                    <a:pt x="15489" y="7285"/>
                    <a:pt x="15516" y="7400"/>
                    <a:pt x="15388" y="7432"/>
                  </a:cubicBezTo>
                  <a:cubicBezTo>
                    <a:pt x="15371" y="7436"/>
                    <a:pt x="15044" y="7355"/>
                    <a:pt x="15066" y="7332"/>
                  </a:cubicBezTo>
                  <a:cubicBezTo>
                    <a:pt x="15065" y="7364"/>
                    <a:pt x="15055" y="7395"/>
                    <a:pt x="15038" y="7424"/>
                  </a:cubicBezTo>
                  <a:cubicBezTo>
                    <a:pt x="14983" y="7442"/>
                    <a:pt x="14993" y="7314"/>
                    <a:pt x="14950" y="7303"/>
                  </a:cubicBezTo>
                  <a:cubicBezTo>
                    <a:pt x="14781" y="7263"/>
                    <a:pt x="14951" y="7519"/>
                    <a:pt x="14799" y="7524"/>
                  </a:cubicBezTo>
                  <a:cubicBezTo>
                    <a:pt x="14833" y="7523"/>
                    <a:pt x="14470" y="7246"/>
                    <a:pt x="14470" y="7262"/>
                  </a:cubicBezTo>
                  <a:cubicBezTo>
                    <a:pt x="14512" y="7327"/>
                    <a:pt x="14520" y="7395"/>
                    <a:pt x="14492" y="7466"/>
                  </a:cubicBezTo>
                  <a:cubicBezTo>
                    <a:pt x="14481" y="7443"/>
                    <a:pt x="14468" y="7421"/>
                    <a:pt x="14454" y="7399"/>
                  </a:cubicBezTo>
                  <a:cubicBezTo>
                    <a:pt x="14435" y="7418"/>
                    <a:pt x="14412" y="7434"/>
                    <a:pt x="14387" y="7446"/>
                  </a:cubicBezTo>
                  <a:cubicBezTo>
                    <a:pt x="14389" y="7448"/>
                    <a:pt x="14366" y="7241"/>
                    <a:pt x="14287" y="7313"/>
                  </a:cubicBezTo>
                  <a:cubicBezTo>
                    <a:pt x="14202" y="7390"/>
                    <a:pt x="14288" y="7423"/>
                    <a:pt x="14190" y="7475"/>
                  </a:cubicBezTo>
                  <a:cubicBezTo>
                    <a:pt x="14141" y="7501"/>
                    <a:pt x="14426" y="7537"/>
                    <a:pt x="14312" y="7585"/>
                  </a:cubicBezTo>
                  <a:cubicBezTo>
                    <a:pt x="14283" y="7576"/>
                    <a:pt x="14259" y="7562"/>
                    <a:pt x="14239" y="7542"/>
                  </a:cubicBezTo>
                  <a:cubicBezTo>
                    <a:pt x="14240" y="7542"/>
                    <a:pt x="14333" y="7772"/>
                    <a:pt x="14332" y="7767"/>
                  </a:cubicBezTo>
                  <a:cubicBezTo>
                    <a:pt x="14313" y="7705"/>
                    <a:pt x="13848" y="7590"/>
                    <a:pt x="13877" y="7527"/>
                  </a:cubicBezTo>
                  <a:cubicBezTo>
                    <a:pt x="13812" y="7665"/>
                    <a:pt x="14218" y="7664"/>
                    <a:pt x="14190" y="7748"/>
                  </a:cubicBezTo>
                  <a:cubicBezTo>
                    <a:pt x="14157" y="7844"/>
                    <a:pt x="14014" y="7775"/>
                    <a:pt x="13945" y="7776"/>
                  </a:cubicBezTo>
                  <a:cubicBezTo>
                    <a:pt x="14006" y="7775"/>
                    <a:pt x="14153" y="7893"/>
                    <a:pt x="14056" y="7934"/>
                  </a:cubicBezTo>
                  <a:cubicBezTo>
                    <a:pt x="14044" y="7919"/>
                    <a:pt x="14032" y="7904"/>
                    <a:pt x="14019" y="7889"/>
                  </a:cubicBezTo>
                  <a:cubicBezTo>
                    <a:pt x="13927" y="7937"/>
                    <a:pt x="13939" y="7933"/>
                    <a:pt x="13754" y="7959"/>
                  </a:cubicBezTo>
                  <a:cubicBezTo>
                    <a:pt x="13498" y="7995"/>
                    <a:pt x="13846" y="8086"/>
                    <a:pt x="13858" y="8115"/>
                  </a:cubicBezTo>
                  <a:cubicBezTo>
                    <a:pt x="13948" y="8309"/>
                    <a:pt x="13537" y="8003"/>
                    <a:pt x="13575" y="8011"/>
                  </a:cubicBezTo>
                  <a:cubicBezTo>
                    <a:pt x="13545" y="8017"/>
                    <a:pt x="13534" y="8033"/>
                    <a:pt x="13540" y="8057"/>
                  </a:cubicBezTo>
                  <a:cubicBezTo>
                    <a:pt x="13616" y="8141"/>
                    <a:pt x="13945" y="8310"/>
                    <a:pt x="13721" y="8463"/>
                  </a:cubicBezTo>
                  <a:cubicBezTo>
                    <a:pt x="13623" y="8531"/>
                    <a:pt x="13539" y="8551"/>
                    <a:pt x="13519" y="8662"/>
                  </a:cubicBezTo>
                  <a:cubicBezTo>
                    <a:pt x="13485" y="8854"/>
                    <a:pt x="13460" y="8657"/>
                    <a:pt x="13388" y="8742"/>
                  </a:cubicBezTo>
                  <a:cubicBezTo>
                    <a:pt x="13314" y="8831"/>
                    <a:pt x="13573" y="8794"/>
                    <a:pt x="13583" y="8831"/>
                  </a:cubicBezTo>
                  <a:cubicBezTo>
                    <a:pt x="13583" y="8832"/>
                    <a:pt x="13583" y="8900"/>
                    <a:pt x="13598" y="8945"/>
                  </a:cubicBezTo>
                  <a:cubicBezTo>
                    <a:pt x="13605" y="8964"/>
                    <a:pt x="13471" y="8929"/>
                    <a:pt x="13453" y="8947"/>
                  </a:cubicBezTo>
                  <a:cubicBezTo>
                    <a:pt x="13485" y="8915"/>
                    <a:pt x="13632" y="9108"/>
                    <a:pt x="13638" y="9103"/>
                  </a:cubicBezTo>
                  <a:cubicBezTo>
                    <a:pt x="13637" y="9088"/>
                    <a:pt x="13637" y="9073"/>
                    <a:pt x="13637" y="9058"/>
                  </a:cubicBezTo>
                  <a:cubicBezTo>
                    <a:pt x="13661" y="9066"/>
                    <a:pt x="13822" y="9274"/>
                    <a:pt x="13814" y="9260"/>
                  </a:cubicBezTo>
                  <a:cubicBezTo>
                    <a:pt x="13843" y="9310"/>
                    <a:pt x="13377" y="9585"/>
                    <a:pt x="13345" y="9700"/>
                  </a:cubicBezTo>
                  <a:cubicBezTo>
                    <a:pt x="13318" y="9800"/>
                    <a:pt x="13228" y="10203"/>
                    <a:pt x="13054" y="10204"/>
                  </a:cubicBezTo>
                  <a:cubicBezTo>
                    <a:pt x="13042" y="10181"/>
                    <a:pt x="13029" y="10159"/>
                    <a:pt x="13016" y="10136"/>
                  </a:cubicBezTo>
                  <a:cubicBezTo>
                    <a:pt x="12886" y="10137"/>
                    <a:pt x="12895" y="10239"/>
                    <a:pt x="12879" y="10228"/>
                  </a:cubicBezTo>
                  <a:cubicBezTo>
                    <a:pt x="12866" y="10252"/>
                    <a:pt x="12858" y="10262"/>
                    <a:pt x="12856" y="10259"/>
                  </a:cubicBezTo>
                  <a:cubicBezTo>
                    <a:pt x="12855" y="10256"/>
                    <a:pt x="12855" y="10254"/>
                    <a:pt x="12855" y="10251"/>
                  </a:cubicBezTo>
                  <a:cubicBezTo>
                    <a:pt x="12854" y="10256"/>
                    <a:pt x="12855" y="10258"/>
                    <a:pt x="12856" y="10259"/>
                  </a:cubicBezTo>
                  <a:cubicBezTo>
                    <a:pt x="12880" y="10415"/>
                    <a:pt x="12722" y="10331"/>
                    <a:pt x="12679" y="10342"/>
                  </a:cubicBezTo>
                  <a:cubicBezTo>
                    <a:pt x="12637" y="10353"/>
                    <a:pt x="12440" y="10544"/>
                    <a:pt x="12461" y="10594"/>
                  </a:cubicBezTo>
                  <a:cubicBezTo>
                    <a:pt x="12528" y="10759"/>
                    <a:pt x="12250" y="10540"/>
                    <a:pt x="12227" y="10487"/>
                  </a:cubicBezTo>
                  <a:cubicBezTo>
                    <a:pt x="12237" y="10537"/>
                    <a:pt x="12314" y="10780"/>
                    <a:pt x="12215" y="10721"/>
                  </a:cubicBezTo>
                  <a:cubicBezTo>
                    <a:pt x="12174" y="10696"/>
                    <a:pt x="12231" y="10604"/>
                    <a:pt x="12179" y="10589"/>
                  </a:cubicBezTo>
                  <a:cubicBezTo>
                    <a:pt x="12119" y="10571"/>
                    <a:pt x="11969" y="10952"/>
                    <a:pt x="11928" y="11000"/>
                  </a:cubicBezTo>
                  <a:cubicBezTo>
                    <a:pt x="11968" y="10953"/>
                    <a:pt x="11655" y="10897"/>
                    <a:pt x="11675" y="10906"/>
                  </a:cubicBezTo>
                  <a:cubicBezTo>
                    <a:pt x="11696" y="10916"/>
                    <a:pt x="11834" y="10999"/>
                    <a:pt x="11801" y="11024"/>
                  </a:cubicBezTo>
                  <a:cubicBezTo>
                    <a:pt x="11657" y="11136"/>
                    <a:pt x="11730" y="10948"/>
                    <a:pt x="11737" y="10952"/>
                  </a:cubicBezTo>
                  <a:cubicBezTo>
                    <a:pt x="11707" y="10933"/>
                    <a:pt x="11677" y="10933"/>
                    <a:pt x="11648" y="10951"/>
                  </a:cubicBezTo>
                  <a:cubicBezTo>
                    <a:pt x="11658" y="10982"/>
                    <a:pt x="11671" y="11012"/>
                    <a:pt x="11684" y="11043"/>
                  </a:cubicBezTo>
                  <a:cubicBezTo>
                    <a:pt x="11671" y="11073"/>
                    <a:pt x="11548" y="10989"/>
                    <a:pt x="11545" y="11018"/>
                  </a:cubicBezTo>
                  <a:cubicBezTo>
                    <a:pt x="11562" y="11038"/>
                    <a:pt x="11580" y="11058"/>
                    <a:pt x="11598" y="11078"/>
                  </a:cubicBezTo>
                  <a:cubicBezTo>
                    <a:pt x="11566" y="11082"/>
                    <a:pt x="11451" y="11226"/>
                    <a:pt x="11475" y="11222"/>
                  </a:cubicBezTo>
                  <a:cubicBezTo>
                    <a:pt x="11448" y="11208"/>
                    <a:pt x="11422" y="11192"/>
                    <a:pt x="11399" y="11175"/>
                  </a:cubicBezTo>
                  <a:cubicBezTo>
                    <a:pt x="11413" y="11190"/>
                    <a:pt x="11425" y="11205"/>
                    <a:pt x="11436" y="11221"/>
                  </a:cubicBezTo>
                  <a:cubicBezTo>
                    <a:pt x="11420" y="11236"/>
                    <a:pt x="11271" y="11220"/>
                    <a:pt x="11281" y="11241"/>
                  </a:cubicBezTo>
                  <a:cubicBezTo>
                    <a:pt x="11314" y="11281"/>
                    <a:pt x="11540" y="11226"/>
                    <a:pt x="11558" y="11289"/>
                  </a:cubicBezTo>
                  <a:cubicBezTo>
                    <a:pt x="11475" y="11289"/>
                    <a:pt x="10950" y="11251"/>
                    <a:pt x="10880" y="11235"/>
                  </a:cubicBezTo>
                  <a:cubicBezTo>
                    <a:pt x="10942" y="11288"/>
                    <a:pt x="11266" y="11905"/>
                    <a:pt x="11053" y="11853"/>
                  </a:cubicBezTo>
                  <a:cubicBezTo>
                    <a:pt x="11050" y="11835"/>
                    <a:pt x="11045" y="11818"/>
                    <a:pt x="11040" y="11800"/>
                  </a:cubicBezTo>
                  <a:cubicBezTo>
                    <a:pt x="11001" y="11863"/>
                    <a:pt x="10854" y="11977"/>
                    <a:pt x="10807" y="11963"/>
                  </a:cubicBezTo>
                  <a:cubicBezTo>
                    <a:pt x="10817" y="11978"/>
                    <a:pt x="10828" y="11993"/>
                    <a:pt x="10838" y="12008"/>
                  </a:cubicBezTo>
                  <a:cubicBezTo>
                    <a:pt x="10780" y="12101"/>
                    <a:pt x="10652" y="11811"/>
                    <a:pt x="10584" y="11869"/>
                  </a:cubicBezTo>
                  <a:cubicBezTo>
                    <a:pt x="10391" y="12030"/>
                    <a:pt x="10818" y="12318"/>
                    <a:pt x="10764" y="12344"/>
                  </a:cubicBezTo>
                  <a:cubicBezTo>
                    <a:pt x="10744" y="12353"/>
                    <a:pt x="10691" y="12260"/>
                    <a:pt x="10682" y="12278"/>
                  </a:cubicBezTo>
                  <a:cubicBezTo>
                    <a:pt x="10601" y="12420"/>
                    <a:pt x="10627" y="12532"/>
                    <a:pt x="10531" y="12662"/>
                  </a:cubicBezTo>
                  <a:cubicBezTo>
                    <a:pt x="10424" y="12806"/>
                    <a:pt x="10717" y="12991"/>
                    <a:pt x="10631" y="13099"/>
                  </a:cubicBezTo>
                  <a:cubicBezTo>
                    <a:pt x="10567" y="13178"/>
                    <a:pt x="10478" y="12848"/>
                    <a:pt x="10355" y="12976"/>
                  </a:cubicBezTo>
                  <a:cubicBezTo>
                    <a:pt x="10339" y="12993"/>
                    <a:pt x="10368" y="13094"/>
                    <a:pt x="10376" y="13092"/>
                  </a:cubicBezTo>
                  <a:cubicBezTo>
                    <a:pt x="10339" y="13088"/>
                    <a:pt x="10302" y="13090"/>
                    <a:pt x="10266" y="13097"/>
                  </a:cubicBezTo>
                  <a:cubicBezTo>
                    <a:pt x="10178" y="13151"/>
                    <a:pt x="10361" y="13188"/>
                    <a:pt x="10370" y="13206"/>
                  </a:cubicBezTo>
                  <a:cubicBezTo>
                    <a:pt x="10343" y="13204"/>
                    <a:pt x="10316" y="13203"/>
                    <a:pt x="10289" y="13203"/>
                  </a:cubicBezTo>
                  <a:cubicBezTo>
                    <a:pt x="10247" y="13324"/>
                    <a:pt x="10374" y="13283"/>
                    <a:pt x="10292" y="13409"/>
                  </a:cubicBezTo>
                  <a:cubicBezTo>
                    <a:pt x="10224" y="13513"/>
                    <a:pt x="10480" y="13474"/>
                    <a:pt x="10469" y="13495"/>
                  </a:cubicBezTo>
                  <a:cubicBezTo>
                    <a:pt x="10447" y="13541"/>
                    <a:pt x="10286" y="13531"/>
                    <a:pt x="10286" y="13523"/>
                  </a:cubicBezTo>
                  <a:cubicBezTo>
                    <a:pt x="10292" y="13620"/>
                    <a:pt x="10415" y="13941"/>
                    <a:pt x="10374" y="13996"/>
                  </a:cubicBezTo>
                  <a:cubicBezTo>
                    <a:pt x="10351" y="14028"/>
                    <a:pt x="10295" y="13916"/>
                    <a:pt x="10282" y="13914"/>
                  </a:cubicBezTo>
                  <a:cubicBezTo>
                    <a:pt x="10229" y="13905"/>
                    <a:pt x="10395" y="14185"/>
                    <a:pt x="10371" y="14150"/>
                  </a:cubicBezTo>
                  <a:cubicBezTo>
                    <a:pt x="10523" y="14373"/>
                    <a:pt x="10392" y="14247"/>
                    <a:pt x="10309" y="14371"/>
                  </a:cubicBezTo>
                  <a:cubicBezTo>
                    <a:pt x="10338" y="14328"/>
                    <a:pt x="10446" y="14421"/>
                    <a:pt x="10429" y="14475"/>
                  </a:cubicBezTo>
                  <a:cubicBezTo>
                    <a:pt x="10484" y="14301"/>
                    <a:pt x="10716" y="14581"/>
                    <a:pt x="10751" y="14661"/>
                  </a:cubicBezTo>
                  <a:cubicBezTo>
                    <a:pt x="10819" y="14593"/>
                    <a:pt x="11130" y="14397"/>
                    <a:pt x="10962" y="14615"/>
                  </a:cubicBezTo>
                  <a:cubicBezTo>
                    <a:pt x="10866" y="14741"/>
                    <a:pt x="11166" y="14794"/>
                    <a:pt x="11192" y="14828"/>
                  </a:cubicBezTo>
                  <a:cubicBezTo>
                    <a:pt x="11192" y="14835"/>
                    <a:pt x="11189" y="14840"/>
                    <a:pt x="11188" y="14846"/>
                  </a:cubicBezTo>
                  <a:cubicBezTo>
                    <a:pt x="11228" y="14839"/>
                    <a:pt x="11306" y="14933"/>
                    <a:pt x="11335" y="14973"/>
                  </a:cubicBezTo>
                  <a:cubicBezTo>
                    <a:pt x="11365" y="14989"/>
                    <a:pt x="11488" y="15022"/>
                    <a:pt x="11466" y="15039"/>
                  </a:cubicBezTo>
                  <a:cubicBezTo>
                    <a:pt x="11442" y="15058"/>
                    <a:pt x="11420" y="15062"/>
                    <a:pt x="11398" y="15058"/>
                  </a:cubicBezTo>
                  <a:cubicBezTo>
                    <a:pt x="11391" y="15052"/>
                    <a:pt x="11374" y="15037"/>
                    <a:pt x="11364" y="15036"/>
                  </a:cubicBezTo>
                  <a:cubicBezTo>
                    <a:pt x="11379" y="15047"/>
                    <a:pt x="11391" y="15054"/>
                    <a:pt x="11397" y="15058"/>
                  </a:cubicBezTo>
                  <a:cubicBezTo>
                    <a:pt x="11318" y="15043"/>
                    <a:pt x="11255" y="14919"/>
                    <a:pt x="11231" y="14944"/>
                  </a:cubicBezTo>
                  <a:cubicBezTo>
                    <a:pt x="11171" y="15007"/>
                    <a:pt x="11389" y="15135"/>
                    <a:pt x="11439" y="15132"/>
                  </a:cubicBezTo>
                  <a:cubicBezTo>
                    <a:pt x="11430" y="15162"/>
                    <a:pt x="11430" y="15192"/>
                    <a:pt x="11435" y="15222"/>
                  </a:cubicBezTo>
                  <a:cubicBezTo>
                    <a:pt x="11446" y="15184"/>
                    <a:pt x="11497" y="15149"/>
                    <a:pt x="11574" y="15201"/>
                  </a:cubicBezTo>
                  <a:cubicBezTo>
                    <a:pt x="11601" y="15220"/>
                    <a:pt x="11559" y="15361"/>
                    <a:pt x="11627" y="15362"/>
                  </a:cubicBezTo>
                  <a:cubicBezTo>
                    <a:pt x="11636" y="15362"/>
                    <a:pt x="11583" y="15187"/>
                    <a:pt x="11613" y="15211"/>
                  </a:cubicBezTo>
                  <a:cubicBezTo>
                    <a:pt x="11605" y="15205"/>
                    <a:pt x="11861" y="15661"/>
                    <a:pt x="11907" y="15592"/>
                  </a:cubicBezTo>
                  <a:cubicBezTo>
                    <a:pt x="11852" y="15674"/>
                    <a:pt x="11767" y="15548"/>
                    <a:pt x="11720" y="15485"/>
                  </a:cubicBezTo>
                  <a:cubicBezTo>
                    <a:pt x="11727" y="15499"/>
                    <a:pt x="11729" y="15517"/>
                    <a:pt x="11729" y="15535"/>
                  </a:cubicBezTo>
                  <a:cubicBezTo>
                    <a:pt x="11726" y="15531"/>
                    <a:pt x="11722" y="15529"/>
                    <a:pt x="11718" y="15529"/>
                  </a:cubicBezTo>
                  <a:cubicBezTo>
                    <a:pt x="11702" y="15542"/>
                    <a:pt x="11690" y="15558"/>
                    <a:pt x="11678" y="15574"/>
                  </a:cubicBezTo>
                  <a:cubicBezTo>
                    <a:pt x="11675" y="15549"/>
                    <a:pt x="11670" y="15529"/>
                    <a:pt x="11657" y="15529"/>
                  </a:cubicBezTo>
                  <a:cubicBezTo>
                    <a:pt x="11607" y="15570"/>
                    <a:pt x="11575" y="15621"/>
                    <a:pt x="11563" y="15682"/>
                  </a:cubicBezTo>
                  <a:cubicBezTo>
                    <a:pt x="11560" y="15687"/>
                    <a:pt x="11594" y="15683"/>
                    <a:pt x="11625" y="15678"/>
                  </a:cubicBezTo>
                  <a:cubicBezTo>
                    <a:pt x="11625" y="15679"/>
                    <a:pt x="11624" y="15680"/>
                    <a:pt x="11624" y="15682"/>
                  </a:cubicBezTo>
                  <a:cubicBezTo>
                    <a:pt x="11619" y="15692"/>
                    <a:pt x="11731" y="15671"/>
                    <a:pt x="11739" y="15669"/>
                  </a:cubicBezTo>
                  <a:cubicBezTo>
                    <a:pt x="11739" y="15669"/>
                    <a:pt x="11739" y="15667"/>
                    <a:pt x="11739" y="15667"/>
                  </a:cubicBezTo>
                  <a:cubicBezTo>
                    <a:pt x="11798" y="15672"/>
                    <a:pt x="11901" y="15693"/>
                    <a:pt x="11860" y="15731"/>
                  </a:cubicBezTo>
                  <a:cubicBezTo>
                    <a:pt x="11795" y="15793"/>
                    <a:pt x="11662" y="15723"/>
                    <a:pt x="11508" y="15876"/>
                  </a:cubicBezTo>
                  <a:cubicBezTo>
                    <a:pt x="11373" y="16009"/>
                    <a:pt x="11327" y="16044"/>
                    <a:pt x="11153" y="16087"/>
                  </a:cubicBezTo>
                  <a:cubicBezTo>
                    <a:pt x="11168" y="16125"/>
                    <a:pt x="11181" y="16163"/>
                    <a:pt x="11192" y="16202"/>
                  </a:cubicBezTo>
                  <a:cubicBezTo>
                    <a:pt x="11191" y="16213"/>
                    <a:pt x="11108" y="16185"/>
                    <a:pt x="11077" y="16177"/>
                  </a:cubicBezTo>
                  <a:cubicBezTo>
                    <a:pt x="11093" y="16154"/>
                    <a:pt x="11095" y="16037"/>
                    <a:pt x="11028" y="16101"/>
                  </a:cubicBezTo>
                  <a:cubicBezTo>
                    <a:pt x="11035" y="16094"/>
                    <a:pt x="10966" y="16169"/>
                    <a:pt x="10942" y="16180"/>
                  </a:cubicBezTo>
                  <a:cubicBezTo>
                    <a:pt x="10974" y="16209"/>
                    <a:pt x="11004" y="16237"/>
                    <a:pt x="11032" y="16268"/>
                  </a:cubicBezTo>
                  <a:cubicBezTo>
                    <a:pt x="10940" y="16343"/>
                    <a:pt x="10666" y="16217"/>
                    <a:pt x="10760" y="16063"/>
                  </a:cubicBezTo>
                  <a:cubicBezTo>
                    <a:pt x="10786" y="16020"/>
                    <a:pt x="10769" y="15758"/>
                    <a:pt x="10694" y="15756"/>
                  </a:cubicBezTo>
                  <a:cubicBezTo>
                    <a:pt x="10688" y="15756"/>
                    <a:pt x="10692" y="15873"/>
                    <a:pt x="10687" y="15884"/>
                  </a:cubicBezTo>
                  <a:cubicBezTo>
                    <a:pt x="10661" y="15944"/>
                    <a:pt x="10592" y="15616"/>
                    <a:pt x="10600" y="15616"/>
                  </a:cubicBezTo>
                  <a:cubicBezTo>
                    <a:pt x="10568" y="15615"/>
                    <a:pt x="10527" y="15680"/>
                    <a:pt x="10469" y="15692"/>
                  </a:cubicBezTo>
                  <a:cubicBezTo>
                    <a:pt x="10483" y="15695"/>
                    <a:pt x="10497" y="15700"/>
                    <a:pt x="10511" y="15705"/>
                  </a:cubicBezTo>
                  <a:cubicBezTo>
                    <a:pt x="10516" y="15712"/>
                    <a:pt x="10515" y="15741"/>
                    <a:pt x="10513" y="15777"/>
                  </a:cubicBezTo>
                  <a:cubicBezTo>
                    <a:pt x="10526" y="15737"/>
                    <a:pt x="10871" y="16104"/>
                    <a:pt x="10679" y="16099"/>
                  </a:cubicBezTo>
                  <a:cubicBezTo>
                    <a:pt x="10570" y="16096"/>
                    <a:pt x="10573" y="16011"/>
                    <a:pt x="10543" y="15958"/>
                  </a:cubicBezTo>
                  <a:cubicBezTo>
                    <a:pt x="10523" y="15924"/>
                    <a:pt x="10432" y="15873"/>
                    <a:pt x="10424" y="16046"/>
                  </a:cubicBezTo>
                  <a:cubicBezTo>
                    <a:pt x="10424" y="16049"/>
                    <a:pt x="10394" y="15816"/>
                    <a:pt x="10406" y="15817"/>
                  </a:cubicBezTo>
                  <a:cubicBezTo>
                    <a:pt x="10324" y="15814"/>
                    <a:pt x="10379" y="16070"/>
                    <a:pt x="10366" y="16068"/>
                  </a:cubicBezTo>
                  <a:cubicBezTo>
                    <a:pt x="10261" y="16043"/>
                    <a:pt x="10216" y="15925"/>
                    <a:pt x="10133" y="15877"/>
                  </a:cubicBezTo>
                  <a:cubicBezTo>
                    <a:pt x="10128" y="15907"/>
                    <a:pt x="10127" y="15938"/>
                    <a:pt x="10128" y="15968"/>
                  </a:cubicBezTo>
                  <a:cubicBezTo>
                    <a:pt x="10051" y="16025"/>
                    <a:pt x="10030" y="15913"/>
                    <a:pt x="9989" y="15895"/>
                  </a:cubicBezTo>
                  <a:cubicBezTo>
                    <a:pt x="9874" y="15843"/>
                    <a:pt x="9916" y="15962"/>
                    <a:pt x="9841" y="15981"/>
                  </a:cubicBezTo>
                  <a:cubicBezTo>
                    <a:pt x="9776" y="15997"/>
                    <a:pt x="9745" y="15852"/>
                    <a:pt x="9693" y="15838"/>
                  </a:cubicBezTo>
                  <a:cubicBezTo>
                    <a:pt x="9735" y="15849"/>
                    <a:pt x="9600" y="15976"/>
                    <a:pt x="9523" y="16031"/>
                  </a:cubicBezTo>
                  <a:cubicBezTo>
                    <a:pt x="9515" y="16017"/>
                    <a:pt x="9442" y="15992"/>
                    <a:pt x="9440" y="15988"/>
                  </a:cubicBezTo>
                  <a:cubicBezTo>
                    <a:pt x="9446" y="15989"/>
                    <a:pt x="9282" y="16000"/>
                    <a:pt x="9283" y="16009"/>
                  </a:cubicBezTo>
                  <a:cubicBezTo>
                    <a:pt x="9256" y="16008"/>
                    <a:pt x="9235" y="16004"/>
                    <a:pt x="9228" y="15994"/>
                  </a:cubicBezTo>
                  <a:cubicBezTo>
                    <a:pt x="9224" y="15990"/>
                    <a:pt x="9223" y="15985"/>
                    <a:pt x="9226" y="15979"/>
                  </a:cubicBezTo>
                  <a:cubicBezTo>
                    <a:pt x="9223" y="15984"/>
                    <a:pt x="9227" y="15989"/>
                    <a:pt x="9228" y="15994"/>
                  </a:cubicBezTo>
                  <a:cubicBezTo>
                    <a:pt x="9239" y="16061"/>
                    <a:pt x="9512" y="16061"/>
                    <a:pt x="9537" y="16057"/>
                  </a:cubicBezTo>
                  <a:cubicBezTo>
                    <a:pt x="9535" y="16055"/>
                    <a:pt x="9534" y="16052"/>
                    <a:pt x="9533" y="16049"/>
                  </a:cubicBezTo>
                  <a:cubicBezTo>
                    <a:pt x="9639" y="16031"/>
                    <a:pt x="9767" y="16008"/>
                    <a:pt x="9830" y="16093"/>
                  </a:cubicBezTo>
                  <a:cubicBezTo>
                    <a:pt x="9846" y="16143"/>
                    <a:pt x="9884" y="16168"/>
                    <a:pt x="9945" y="16168"/>
                  </a:cubicBezTo>
                  <a:cubicBezTo>
                    <a:pt x="10020" y="16142"/>
                    <a:pt x="9798" y="16066"/>
                    <a:pt x="9808" y="16049"/>
                  </a:cubicBezTo>
                  <a:cubicBezTo>
                    <a:pt x="9882" y="15923"/>
                    <a:pt x="10020" y="16118"/>
                    <a:pt x="10056" y="16163"/>
                  </a:cubicBezTo>
                  <a:cubicBezTo>
                    <a:pt x="10118" y="16239"/>
                    <a:pt x="10282" y="16167"/>
                    <a:pt x="10330" y="16227"/>
                  </a:cubicBezTo>
                  <a:cubicBezTo>
                    <a:pt x="10365" y="16271"/>
                    <a:pt x="10190" y="16266"/>
                    <a:pt x="10236" y="16361"/>
                  </a:cubicBezTo>
                  <a:cubicBezTo>
                    <a:pt x="10290" y="16363"/>
                    <a:pt x="10342" y="16365"/>
                    <a:pt x="10395" y="16366"/>
                  </a:cubicBezTo>
                  <a:cubicBezTo>
                    <a:pt x="10384" y="16336"/>
                    <a:pt x="10376" y="16305"/>
                    <a:pt x="10371" y="16274"/>
                  </a:cubicBezTo>
                  <a:cubicBezTo>
                    <a:pt x="10402" y="16240"/>
                    <a:pt x="10557" y="16413"/>
                    <a:pt x="10643" y="16413"/>
                  </a:cubicBezTo>
                  <a:cubicBezTo>
                    <a:pt x="10754" y="16413"/>
                    <a:pt x="10843" y="16413"/>
                    <a:pt x="10955" y="16413"/>
                  </a:cubicBezTo>
                  <a:cubicBezTo>
                    <a:pt x="11334" y="16413"/>
                    <a:pt x="11306" y="16639"/>
                    <a:pt x="11078" y="16635"/>
                  </a:cubicBezTo>
                  <a:cubicBezTo>
                    <a:pt x="11083" y="16612"/>
                    <a:pt x="11088" y="16589"/>
                    <a:pt x="11094" y="16566"/>
                  </a:cubicBezTo>
                  <a:cubicBezTo>
                    <a:pt x="10976" y="16591"/>
                    <a:pt x="10841" y="16905"/>
                    <a:pt x="10807" y="16904"/>
                  </a:cubicBezTo>
                  <a:cubicBezTo>
                    <a:pt x="10763" y="16903"/>
                    <a:pt x="10806" y="16730"/>
                    <a:pt x="10711" y="16764"/>
                  </a:cubicBezTo>
                  <a:cubicBezTo>
                    <a:pt x="10692" y="16771"/>
                    <a:pt x="10724" y="16889"/>
                    <a:pt x="10706" y="16879"/>
                  </a:cubicBezTo>
                  <a:cubicBezTo>
                    <a:pt x="10587" y="16812"/>
                    <a:pt x="10834" y="16493"/>
                    <a:pt x="10621" y="16487"/>
                  </a:cubicBezTo>
                  <a:cubicBezTo>
                    <a:pt x="10554" y="16485"/>
                    <a:pt x="10577" y="16786"/>
                    <a:pt x="10578" y="16821"/>
                  </a:cubicBezTo>
                  <a:cubicBezTo>
                    <a:pt x="10579" y="16967"/>
                    <a:pt x="10469" y="16836"/>
                    <a:pt x="10416" y="16848"/>
                  </a:cubicBezTo>
                  <a:cubicBezTo>
                    <a:pt x="10429" y="16845"/>
                    <a:pt x="10414" y="17028"/>
                    <a:pt x="10439" y="16986"/>
                  </a:cubicBezTo>
                  <a:cubicBezTo>
                    <a:pt x="10395" y="17059"/>
                    <a:pt x="10150" y="17046"/>
                    <a:pt x="10042" y="17043"/>
                  </a:cubicBezTo>
                  <a:cubicBezTo>
                    <a:pt x="10028" y="17042"/>
                    <a:pt x="10146" y="17150"/>
                    <a:pt x="10140" y="17114"/>
                  </a:cubicBezTo>
                  <a:cubicBezTo>
                    <a:pt x="10157" y="17218"/>
                    <a:pt x="9933" y="17169"/>
                    <a:pt x="9944" y="17179"/>
                  </a:cubicBezTo>
                  <a:cubicBezTo>
                    <a:pt x="9971" y="17191"/>
                    <a:pt x="9269" y="17125"/>
                    <a:pt x="9287" y="17174"/>
                  </a:cubicBezTo>
                  <a:cubicBezTo>
                    <a:pt x="9278" y="17149"/>
                    <a:pt x="9509" y="17252"/>
                    <a:pt x="9472" y="17251"/>
                  </a:cubicBezTo>
                  <a:cubicBezTo>
                    <a:pt x="9544" y="17254"/>
                    <a:pt x="9424" y="17157"/>
                    <a:pt x="9595" y="17187"/>
                  </a:cubicBezTo>
                  <a:cubicBezTo>
                    <a:pt x="9668" y="17201"/>
                    <a:pt x="9740" y="17219"/>
                    <a:pt x="9811" y="17241"/>
                  </a:cubicBezTo>
                  <a:cubicBezTo>
                    <a:pt x="9784" y="17233"/>
                    <a:pt x="9937" y="17416"/>
                    <a:pt x="9934" y="17406"/>
                  </a:cubicBezTo>
                  <a:cubicBezTo>
                    <a:pt x="9968" y="17531"/>
                    <a:pt x="9477" y="17410"/>
                    <a:pt x="9477" y="17412"/>
                  </a:cubicBezTo>
                  <a:cubicBezTo>
                    <a:pt x="9476" y="17416"/>
                    <a:pt x="9741" y="17540"/>
                    <a:pt x="9758" y="17554"/>
                  </a:cubicBezTo>
                  <a:cubicBezTo>
                    <a:pt x="9910" y="17684"/>
                    <a:pt x="9716" y="17612"/>
                    <a:pt x="9711" y="17696"/>
                  </a:cubicBezTo>
                  <a:cubicBezTo>
                    <a:pt x="9708" y="17769"/>
                    <a:pt x="9983" y="17822"/>
                    <a:pt x="9758" y="17904"/>
                  </a:cubicBezTo>
                  <a:cubicBezTo>
                    <a:pt x="9753" y="17905"/>
                    <a:pt x="9640" y="17800"/>
                    <a:pt x="9631" y="17785"/>
                  </a:cubicBezTo>
                  <a:cubicBezTo>
                    <a:pt x="9704" y="17912"/>
                    <a:pt x="9684" y="17907"/>
                    <a:pt x="9678" y="17993"/>
                  </a:cubicBezTo>
                  <a:cubicBezTo>
                    <a:pt x="9697" y="18009"/>
                    <a:pt x="9717" y="18025"/>
                    <a:pt x="9735" y="18041"/>
                  </a:cubicBezTo>
                  <a:cubicBezTo>
                    <a:pt x="9733" y="18079"/>
                    <a:pt x="9688" y="18067"/>
                    <a:pt x="9663" y="18043"/>
                  </a:cubicBezTo>
                  <a:cubicBezTo>
                    <a:pt x="9690" y="18121"/>
                    <a:pt x="9744" y="18259"/>
                    <a:pt x="9718" y="18241"/>
                  </a:cubicBezTo>
                  <a:cubicBezTo>
                    <a:pt x="9686" y="18218"/>
                    <a:pt x="9624" y="18179"/>
                    <a:pt x="9575" y="18143"/>
                  </a:cubicBezTo>
                  <a:cubicBezTo>
                    <a:pt x="9582" y="18159"/>
                    <a:pt x="9587" y="18176"/>
                    <a:pt x="9586" y="18194"/>
                  </a:cubicBezTo>
                  <a:cubicBezTo>
                    <a:pt x="9551" y="18191"/>
                    <a:pt x="9518" y="18184"/>
                    <a:pt x="9486" y="18173"/>
                  </a:cubicBezTo>
                  <a:cubicBezTo>
                    <a:pt x="9485" y="18173"/>
                    <a:pt x="9642" y="18422"/>
                    <a:pt x="9668" y="18429"/>
                  </a:cubicBezTo>
                  <a:cubicBezTo>
                    <a:pt x="9603" y="18410"/>
                    <a:pt x="9490" y="18171"/>
                    <a:pt x="9427" y="18190"/>
                  </a:cubicBezTo>
                  <a:cubicBezTo>
                    <a:pt x="9387" y="18202"/>
                    <a:pt x="9687" y="18449"/>
                    <a:pt x="9680" y="18475"/>
                  </a:cubicBezTo>
                  <a:cubicBezTo>
                    <a:pt x="9660" y="18547"/>
                    <a:pt x="9568" y="18454"/>
                    <a:pt x="9545" y="18470"/>
                  </a:cubicBezTo>
                  <a:cubicBezTo>
                    <a:pt x="9485" y="18511"/>
                    <a:pt x="9603" y="18549"/>
                    <a:pt x="9600" y="18564"/>
                  </a:cubicBezTo>
                  <a:cubicBezTo>
                    <a:pt x="9594" y="18588"/>
                    <a:pt x="9462" y="18629"/>
                    <a:pt x="9488" y="18651"/>
                  </a:cubicBezTo>
                  <a:cubicBezTo>
                    <a:pt x="9682" y="18813"/>
                    <a:pt x="9472" y="18868"/>
                    <a:pt x="9507" y="18950"/>
                  </a:cubicBezTo>
                  <a:cubicBezTo>
                    <a:pt x="9493" y="18915"/>
                    <a:pt x="9443" y="19421"/>
                    <a:pt x="9506" y="19364"/>
                  </a:cubicBezTo>
                  <a:cubicBezTo>
                    <a:pt x="9397" y="19462"/>
                    <a:pt x="9403" y="19311"/>
                    <a:pt x="9391" y="19497"/>
                  </a:cubicBezTo>
                  <a:cubicBezTo>
                    <a:pt x="9391" y="19490"/>
                    <a:pt x="9358" y="19716"/>
                    <a:pt x="9375" y="19752"/>
                  </a:cubicBezTo>
                  <a:cubicBezTo>
                    <a:pt x="9339" y="19760"/>
                    <a:pt x="9303" y="19766"/>
                    <a:pt x="9266" y="19767"/>
                  </a:cubicBezTo>
                  <a:cubicBezTo>
                    <a:pt x="9217" y="19807"/>
                    <a:pt x="9375" y="19895"/>
                    <a:pt x="9236" y="19894"/>
                  </a:cubicBezTo>
                  <a:cubicBezTo>
                    <a:pt x="9134" y="19893"/>
                    <a:pt x="9109" y="19997"/>
                    <a:pt x="9082" y="20060"/>
                  </a:cubicBezTo>
                  <a:cubicBezTo>
                    <a:pt x="9009" y="20232"/>
                    <a:pt x="8848" y="20672"/>
                    <a:pt x="8737" y="20663"/>
                  </a:cubicBezTo>
                  <a:cubicBezTo>
                    <a:pt x="8626" y="20655"/>
                    <a:pt x="8304" y="20498"/>
                    <a:pt x="8228" y="20543"/>
                  </a:cubicBezTo>
                  <a:cubicBezTo>
                    <a:pt x="8230" y="20529"/>
                    <a:pt x="8233" y="20515"/>
                    <a:pt x="8232" y="20500"/>
                  </a:cubicBezTo>
                  <a:cubicBezTo>
                    <a:pt x="8179" y="20513"/>
                    <a:pt x="7789" y="20545"/>
                    <a:pt x="7788" y="20545"/>
                  </a:cubicBezTo>
                  <a:cubicBezTo>
                    <a:pt x="7749" y="20542"/>
                    <a:pt x="7554" y="20433"/>
                    <a:pt x="7679" y="20617"/>
                  </a:cubicBezTo>
                  <a:cubicBezTo>
                    <a:pt x="7797" y="20790"/>
                    <a:pt x="7589" y="20679"/>
                    <a:pt x="7543" y="20657"/>
                  </a:cubicBezTo>
                  <a:cubicBezTo>
                    <a:pt x="7150" y="20462"/>
                    <a:pt x="7218" y="21241"/>
                    <a:pt x="7229" y="21313"/>
                  </a:cubicBezTo>
                  <a:cubicBezTo>
                    <a:pt x="7262" y="21538"/>
                    <a:pt x="7050" y="21573"/>
                    <a:pt x="6843" y="21486"/>
                  </a:cubicBezTo>
                  <a:cubicBezTo>
                    <a:pt x="6656" y="21407"/>
                    <a:pt x="6636" y="21483"/>
                    <a:pt x="6500" y="21521"/>
                  </a:cubicBezTo>
                  <a:cubicBezTo>
                    <a:pt x="6382" y="21553"/>
                    <a:pt x="6014" y="21523"/>
                    <a:pt x="5890" y="21429"/>
                  </a:cubicBezTo>
                  <a:cubicBezTo>
                    <a:pt x="5766" y="21335"/>
                    <a:pt x="5885" y="21177"/>
                    <a:pt x="5938" y="21159"/>
                  </a:cubicBezTo>
                  <a:cubicBezTo>
                    <a:pt x="6182" y="21074"/>
                    <a:pt x="5966" y="21033"/>
                    <a:pt x="5929" y="20947"/>
                  </a:cubicBezTo>
                  <a:cubicBezTo>
                    <a:pt x="5904" y="20890"/>
                    <a:pt x="5583" y="20159"/>
                    <a:pt x="5588" y="20157"/>
                  </a:cubicBezTo>
                  <a:cubicBezTo>
                    <a:pt x="5736" y="20101"/>
                    <a:pt x="5756" y="20359"/>
                    <a:pt x="5918" y="20277"/>
                  </a:cubicBezTo>
                  <a:cubicBezTo>
                    <a:pt x="6038" y="20216"/>
                    <a:pt x="5737" y="20065"/>
                    <a:pt x="5764" y="20011"/>
                  </a:cubicBezTo>
                  <a:cubicBezTo>
                    <a:pt x="5805" y="19924"/>
                    <a:pt x="6066" y="20026"/>
                    <a:pt x="6110" y="19903"/>
                  </a:cubicBezTo>
                  <a:cubicBezTo>
                    <a:pt x="6169" y="19739"/>
                    <a:pt x="5854" y="19684"/>
                    <a:pt x="5816" y="19522"/>
                  </a:cubicBezTo>
                  <a:cubicBezTo>
                    <a:pt x="5772" y="19331"/>
                    <a:pt x="5450" y="19107"/>
                    <a:pt x="5476" y="18924"/>
                  </a:cubicBezTo>
                  <a:cubicBezTo>
                    <a:pt x="5496" y="18912"/>
                    <a:pt x="5472" y="18857"/>
                    <a:pt x="5440" y="18852"/>
                  </a:cubicBezTo>
                  <a:cubicBezTo>
                    <a:pt x="5455" y="18856"/>
                    <a:pt x="5470" y="18857"/>
                    <a:pt x="5486" y="18856"/>
                  </a:cubicBezTo>
                  <a:cubicBezTo>
                    <a:pt x="5502" y="18736"/>
                    <a:pt x="5274" y="18680"/>
                    <a:pt x="5295" y="18581"/>
                  </a:cubicBezTo>
                  <a:cubicBezTo>
                    <a:pt x="5352" y="18317"/>
                    <a:pt x="5344" y="18314"/>
                    <a:pt x="5171" y="18180"/>
                  </a:cubicBezTo>
                  <a:cubicBezTo>
                    <a:pt x="5138" y="18155"/>
                    <a:pt x="5284" y="18099"/>
                    <a:pt x="5293" y="18076"/>
                  </a:cubicBezTo>
                  <a:cubicBezTo>
                    <a:pt x="5275" y="18124"/>
                    <a:pt x="5168" y="17989"/>
                    <a:pt x="5169" y="17995"/>
                  </a:cubicBezTo>
                  <a:cubicBezTo>
                    <a:pt x="5156" y="17922"/>
                    <a:pt x="5297" y="17790"/>
                    <a:pt x="5329" y="17725"/>
                  </a:cubicBezTo>
                  <a:cubicBezTo>
                    <a:pt x="5393" y="17597"/>
                    <a:pt x="5449" y="17411"/>
                    <a:pt x="5461" y="17330"/>
                  </a:cubicBezTo>
                  <a:cubicBezTo>
                    <a:pt x="5467" y="17286"/>
                    <a:pt x="5096" y="17424"/>
                    <a:pt x="5103" y="17435"/>
                  </a:cubicBezTo>
                  <a:cubicBezTo>
                    <a:pt x="5035" y="17330"/>
                    <a:pt x="5293" y="17279"/>
                    <a:pt x="5287" y="17209"/>
                  </a:cubicBezTo>
                  <a:cubicBezTo>
                    <a:pt x="5272" y="17206"/>
                    <a:pt x="5193" y="17117"/>
                    <a:pt x="5196" y="17120"/>
                  </a:cubicBezTo>
                  <a:cubicBezTo>
                    <a:pt x="5278" y="17202"/>
                    <a:pt x="5040" y="17420"/>
                    <a:pt x="5022" y="17381"/>
                  </a:cubicBezTo>
                  <a:cubicBezTo>
                    <a:pt x="5035" y="17357"/>
                    <a:pt x="5053" y="17335"/>
                    <a:pt x="5076" y="17317"/>
                  </a:cubicBezTo>
                  <a:cubicBezTo>
                    <a:pt x="5061" y="17323"/>
                    <a:pt x="5045" y="17329"/>
                    <a:pt x="5029" y="17335"/>
                  </a:cubicBezTo>
                  <a:cubicBezTo>
                    <a:pt x="5006" y="17323"/>
                    <a:pt x="5133" y="17176"/>
                    <a:pt x="5086" y="17156"/>
                  </a:cubicBezTo>
                  <a:cubicBezTo>
                    <a:pt x="5035" y="17134"/>
                    <a:pt x="4966" y="17352"/>
                    <a:pt x="4875" y="17274"/>
                  </a:cubicBezTo>
                  <a:cubicBezTo>
                    <a:pt x="4830" y="17235"/>
                    <a:pt x="4975" y="16668"/>
                    <a:pt x="5002" y="16586"/>
                  </a:cubicBezTo>
                  <a:cubicBezTo>
                    <a:pt x="5057" y="16414"/>
                    <a:pt x="4814" y="16481"/>
                    <a:pt x="4953" y="16323"/>
                  </a:cubicBezTo>
                  <a:cubicBezTo>
                    <a:pt x="4950" y="16326"/>
                    <a:pt x="5077" y="16075"/>
                    <a:pt x="5019" y="16086"/>
                  </a:cubicBezTo>
                  <a:cubicBezTo>
                    <a:pt x="4856" y="16120"/>
                    <a:pt x="5017" y="16108"/>
                    <a:pt x="4915" y="16191"/>
                  </a:cubicBezTo>
                  <a:cubicBezTo>
                    <a:pt x="4894" y="16209"/>
                    <a:pt x="4860" y="16093"/>
                    <a:pt x="4829" y="16090"/>
                  </a:cubicBezTo>
                  <a:cubicBezTo>
                    <a:pt x="4813" y="16112"/>
                    <a:pt x="4795" y="16133"/>
                    <a:pt x="4775" y="16154"/>
                  </a:cubicBezTo>
                  <a:cubicBezTo>
                    <a:pt x="4781" y="16124"/>
                    <a:pt x="4787" y="16094"/>
                    <a:pt x="4790" y="16063"/>
                  </a:cubicBezTo>
                  <a:cubicBezTo>
                    <a:pt x="4771" y="16075"/>
                    <a:pt x="4757" y="16091"/>
                    <a:pt x="4742" y="16107"/>
                  </a:cubicBezTo>
                  <a:cubicBezTo>
                    <a:pt x="4757" y="16049"/>
                    <a:pt x="4614" y="15870"/>
                    <a:pt x="4632" y="15885"/>
                  </a:cubicBezTo>
                  <a:cubicBezTo>
                    <a:pt x="4577" y="15839"/>
                    <a:pt x="4607" y="15737"/>
                    <a:pt x="4633" y="15686"/>
                  </a:cubicBezTo>
                  <a:cubicBezTo>
                    <a:pt x="4619" y="15548"/>
                    <a:pt x="4716" y="15107"/>
                    <a:pt x="4664" y="15102"/>
                  </a:cubicBezTo>
                  <a:cubicBezTo>
                    <a:pt x="4429" y="15076"/>
                    <a:pt x="4793" y="15563"/>
                    <a:pt x="4479" y="15591"/>
                  </a:cubicBezTo>
                  <a:cubicBezTo>
                    <a:pt x="4479" y="15538"/>
                    <a:pt x="4448" y="15981"/>
                    <a:pt x="4413" y="15977"/>
                  </a:cubicBezTo>
                  <a:cubicBezTo>
                    <a:pt x="4394" y="15957"/>
                    <a:pt x="4373" y="15939"/>
                    <a:pt x="4349" y="15923"/>
                  </a:cubicBezTo>
                  <a:cubicBezTo>
                    <a:pt x="4331" y="15927"/>
                    <a:pt x="4207" y="16231"/>
                    <a:pt x="4208" y="16232"/>
                  </a:cubicBezTo>
                  <a:cubicBezTo>
                    <a:pt x="4208" y="16232"/>
                    <a:pt x="4209" y="16114"/>
                    <a:pt x="4199" y="16115"/>
                  </a:cubicBezTo>
                  <a:cubicBezTo>
                    <a:pt x="4147" y="16123"/>
                    <a:pt x="4181" y="16332"/>
                    <a:pt x="4085" y="16265"/>
                  </a:cubicBezTo>
                  <a:cubicBezTo>
                    <a:pt x="4091" y="16242"/>
                    <a:pt x="4094" y="16219"/>
                    <a:pt x="4097" y="16196"/>
                  </a:cubicBezTo>
                  <a:cubicBezTo>
                    <a:pt x="4036" y="16205"/>
                    <a:pt x="3879" y="16381"/>
                    <a:pt x="3814" y="16303"/>
                  </a:cubicBezTo>
                  <a:cubicBezTo>
                    <a:pt x="3831" y="16323"/>
                    <a:pt x="3644" y="15959"/>
                    <a:pt x="3599" y="16046"/>
                  </a:cubicBezTo>
                  <a:cubicBezTo>
                    <a:pt x="3578" y="16087"/>
                    <a:pt x="3784" y="16210"/>
                    <a:pt x="3722" y="16246"/>
                  </a:cubicBezTo>
                  <a:cubicBezTo>
                    <a:pt x="3677" y="16272"/>
                    <a:pt x="3263" y="16332"/>
                    <a:pt x="3292" y="16403"/>
                  </a:cubicBezTo>
                  <a:cubicBezTo>
                    <a:pt x="3304" y="16431"/>
                    <a:pt x="3427" y="16385"/>
                    <a:pt x="3453" y="16413"/>
                  </a:cubicBezTo>
                  <a:cubicBezTo>
                    <a:pt x="3536" y="16501"/>
                    <a:pt x="3293" y="16515"/>
                    <a:pt x="3167" y="16517"/>
                  </a:cubicBezTo>
                  <a:cubicBezTo>
                    <a:pt x="3360" y="16536"/>
                    <a:pt x="2869" y="16799"/>
                    <a:pt x="2930" y="16683"/>
                  </a:cubicBezTo>
                  <a:cubicBezTo>
                    <a:pt x="2880" y="16777"/>
                    <a:pt x="2467" y="16990"/>
                    <a:pt x="2478" y="17094"/>
                  </a:cubicBezTo>
                  <a:cubicBezTo>
                    <a:pt x="2476" y="17071"/>
                    <a:pt x="2238" y="17142"/>
                    <a:pt x="2206" y="17191"/>
                  </a:cubicBezTo>
                  <a:cubicBezTo>
                    <a:pt x="2142" y="17290"/>
                    <a:pt x="1974" y="17267"/>
                    <a:pt x="2009" y="17225"/>
                  </a:cubicBezTo>
                  <a:cubicBezTo>
                    <a:pt x="2020" y="17213"/>
                    <a:pt x="2172" y="17119"/>
                    <a:pt x="2037" y="17101"/>
                  </a:cubicBezTo>
                  <a:cubicBezTo>
                    <a:pt x="2039" y="17101"/>
                    <a:pt x="1957" y="17329"/>
                    <a:pt x="1780" y="17274"/>
                  </a:cubicBezTo>
                  <a:cubicBezTo>
                    <a:pt x="1657" y="17236"/>
                    <a:pt x="1582" y="17346"/>
                    <a:pt x="1469" y="17306"/>
                  </a:cubicBezTo>
                  <a:cubicBezTo>
                    <a:pt x="1413" y="17286"/>
                    <a:pt x="1245" y="17360"/>
                    <a:pt x="1160" y="17291"/>
                  </a:cubicBezTo>
                  <a:cubicBezTo>
                    <a:pt x="1150" y="17266"/>
                    <a:pt x="1327" y="17200"/>
                    <a:pt x="1243" y="17151"/>
                  </a:cubicBezTo>
                  <a:cubicBezTo>
                    <a:pt x="1125" y="17082"/>
                    <a:pt x="1165" y="17285"/>
                    <a:pt x="1047" y="17216"/>
                  </a:cubicBezTo>
                  <a:cubicBezTo>
                    <a:pt x="946" y="17156"/>
                    <a:pt x="927" y="17061"/>
                    <a:pt x="1097" y="17084"/>
                  </a:cubicBezTo>
                  <a:cubicBezTo>
                    <a:pt x="972" y="17064"/>
                    <a:pt x="1007" y="17028"/>
                    <a:pt x="937" y="16977"/>
                  </a:cubicBezTo>
                  <a:cubicBezTo>
                    <a:pt x="858" y="16918"/>
                    <a:pt x="901" y="17196"/>
                    <a:pt x="838" y="17181"/>
                  </a:cubicBezTo>
                  <a:cubicBezTo>
                    <a:pt x="470" y="17096"/>
                    <a:pt x="901" y="16953"/>
                    <a:pt x="873" y="16932"/>
                  </a:cubicBezTo>
                  <a:cubicBezTo>
                    <a:pt x="686" y="16797"/>
                    <a:pt x="803" y="16905"/>
                    <a:pt x="765" y="16896"/>
                  </a:cubicBezTo>
                  <a:cubicBezTo>
                    <a:pt x="688" y="16880"/>
                    <a:pt x="570" y="16796"/>
                    <a:pt x="558" y="16789"/>
                  </a:cubicBezTo>
                  <a:cubicBezTo>
                    <a:pt x="468" y="16730"/>
                    <a:pt x="307" y="16474"/>
                    <a:pt x="240" y="16467"/>
                  </a:cubicBezTo>
                  <a:cubicBezTo>
                    <a:pt x="-63" y="16433"/>
                    <a:pt x="-52" y="15898"/>
                    <a:pt x="126" y="15806"/>
                  </a:cubicBezTo>
                  <a:cubicBezTo>
                    <a:pt x="151" y="15820"/>
                    <a:pt x="178" y="15832"/>
                    <a:pt x="205" y="15843"/>
                  </a:cubicBezTo>
                  <a:cubicBezTo>
                    <a:pt x="239" y="15786"/>
                    <a:pt x="33" y="15731"/>
                    <a:pt x="175" y="15674"/>
                  </a:cubicBezTo>
                  <a:cubicBezTo>
                    <a:pt x="252" y="15643"/>
                    <a:pt x="311" y="15894"/>
                    <a:pt x="259" y="15922"/>
                  </a:cubicBezTo>
                  <a:cubicBezTo>
                    <a:pt x="453" y="15820"/>
                    <a:pt x="319" y="15776"/>
                    <a:pt x="517" y="15952"/>
                  </a:cubicBezTo>
                  <a:cubicBezTo>
                    <a:pt x="548" y="15980"/>
                    <a:pt x="660" y="16019"/>
                    <a:pt x="674" y="16036"/>
                  </a:cubicBezTo>
                  <a:cubicBezTo>
                    <a:pt x="639" y="15994"/>
                    <a:pt x="501" y="15761"/>
                    <a:pt x="519" y="15707"/>
                  </a:cubicBezTo>
                  <a:cubicBezTo>
                    <a:pt x="498" y="15732"/>
                    <a:pt x="485" y="15791"/>
                    <a:pt x="468" y="15786"/>
                  </a:cubicBezTo>
                  <a:cubicBezTo>
                    <a:pt x="277" y="15724"/>
                    <a:pt x="605" y="15590"/>
                    <a:pt x="681" y="15588"/>
                  </a:cubicBezTo>
                  <a:cubicBezTo>
                    <a:pt x="655" y="15577"/>
                    <a:pt x="630" y="15566"/>
                    <a:pt x="603" y="15556"/>
                  </a:cubicBezTo>
                  <a:cubicBezTo>
                    <a:pt x="600" y="15520"/>
                    <a:pt x="899" y="15407"/>
                    <a:pt x="936" y="15399"/>
                  </a:cubicBezTo>
                  <a:cubicBezTo>
                    <a:pt x="909" y="15391"/>
                    <a:pt x="843" y="15313"/>
                    <a:pt x="841" y="15313"/>
                  </a:cubicBezTo>
                  <a:cubicBezTo>
                    <a:pt x="868" y="15318"/>
                    <a:pt x="511" y="15042"/>
                    <a:pt x="563" y="15034"/>
                  </a:cubicBezTo>
                  <a:cubicBezTo>
                    <a:pt x="516" y="15041"/>
                    <a:pt x="573" y="15119"/>
                    <a:pt x="504" y="15132"/>
                  </a:cubicBezTo>
                  <a:cubicBezTo>
                    <a:pt x="438" y="15127"/>
                    <a:pt x="401" y="15147"/>
                    <a:pt x="390" y="15193"/>
                  </a:cubicBezTo>
                  <a:cubicBezTo>
                    <a:pt x="453" y="15245"/>
                    <a:pt x="540" y="15161"/>
                    <a:pt x="541" y="15161"/>
                  </a:cubicBezTo>
                  <a:cubicBezTo>
                    <a:pt x="612" y="15284"/>
                    <a:pt x="454" y="15322"/>
                    <a:pt x="331" y="15343"/>
                  </a:cubicBezTo>
                  <a:cubicBezTo>
                    <a:pt x="71" y="15389"/>
                    <a:pt x="261" y="15229"/>
                    <a:pt x="202" y="15159"/>
                  </a:cubicBezTo>
                  <a:cubicBezTo>
                    <a:pt x="202" y="15159"/>
                    <a:pt x="138" y="15289"/>
                    <a:pt x="130" y="15290"/>
                  </a:cubicBezTo>
                  <a:cubicBezTo>
                    <a:pt x="105" y="15294"/>
                    <a:pt x="142" y="15128"/>
                    <a:pt x="143" y="15132"/>
                  </a:cubicBezTo>
                  <a:cubicBezTo>
                    <a:pt x="144" y="15081"/>
                    <a:pt x="112" y="15075"/>
                    <a:pt x="37" y="15132"/>
                  </a:cubicBezTo>
                  <a:cubicBezTo>
                    <a:pt x="31" y="15096"/>
                    <a:pt x="119" y="14759"/>
                    <a:pt x="242" y="14817"/>
                  </a:cubicBezTo>
                  <a:cubicBezTo>
                    <a:pt x="246" y="14842"/>
                    <a:pt x="254" y="14867"/>
                    <a:pt x="266" y="14891"/>
                  </a:cubicBezTo>
                  <a:cubicBezTo>
                    <a:pt x="313" y="14867"/>
                    <a:pt x="298" y="14709"/>
                    <a:pt x="369" y="14721"/>
                  </a:cubicBezTo>
                  <a:cubicBezTo>
                    <a:pt x="421" y="14729"/>
                    <a:pt x="288" y="14846"/>
                    <a:pt x="415" y="14822"/>
                  </a:cubicBezTo>
                  <a:cubicBezTo>
                    <a:pt x="529" y="14801"/>
                    <a:pt x="498" y="14930"/>
                    <a:pt x="558" y="14940"/>
                  </a:cubicBezTo>
                  <a:cubicBezTo>
                    <a:pt x="551" y="14939"/>
                    <a:pt x="578" y="14866"/>
                    <a:pt x="633" y="14859"/>
                  </a:cubicBezTo>
                  <a:cubicBezTo>
                    <a:pt x="605" y="14852"/>
                    <a:pt x="579" y="14842"/>
                    <a:pt x="560" y="14823"/>
                  </a:cubicBezTo>
                  <a:cubicBezTo>
                    <a:pt x="556" y="14828"/>
                    <a:pt x="651" y="14786"/>
                    <a:pt x="729" y="14740"/>
                  </a:cubicBezTo>
                  <a:cubicBezTo>
                    <a:pt x="625" y="14756"/>
                    <a:pt x="614" y="14552"/>
                    <a:pt x="549" y="14587"/>
                  </a:cubicBezTo>
                  <a:cubicBezTo>
                    <a:pt x="638" y="14539"/>
                    <a:pt x="857" y="14496"/>
                    <a:pt x="876" y="14421"/>
                  </a:cubicBezTo>
                  <a:cubicBezTo>
                    <a:pt x="894" y="14349"/>
                    <a:pt x="1058" y="14337"/>
                    <a:pt x="1022" y="14312"/>
                  </a:cubicBezTo>
                  <a:cubicBezTo>
                    <a:pt x="906" y="14233"/>
                    <a:pt x="1203" y="13986"/>
                    <a:pt x="1223" y="13970"/>
                  </a:cubicBezTo>
                  <a:cubicBezTo>
                    <a:pt x="1224" y="13969"/>
                    <a:pt x="1225" y="13969"/>
                    <a:pt x="1224" y="13970"/>
                  </a:cubicBezTo>
                  <a:cubicBezTo>
                    <a:pt x="1225" y="13969"/>
                    <a:pt x="1224" y="13969"/>
                    <a:pt x="1223" y="13970"/>
                  </a:cubicBezTo>
                  <a:cubicBezTo>
                    <a:pt x="1194" y="13970"/>
                    <a:pt x="1167" y="13965"/>
                    <a:pt x="1139" y="13959"/>
                  </a:cubicBezTo>
                  <a:cubicBezTo>
                    <a:pt x="1144" y="14000"/>
                    <a:pt x="892" y="14208"/>
                    <a:pt x="851" y="14190"/>
                  </a:cubicBezTo>
                  <a:cubicBezTo>
                    <a:pt x="851" y="14190"/>
                    <a:pt x="823" y="14378"/>
                    <a:pt x="722" y="14397"/>
                  </a:cubicBezTo>
                  <a:cubicBezTo>
                    <a:pt x="533" y="14434"/>
                    <a:pt x="676" y="14227"/>
                    <a:pt x="756" y="14293"/>
                  </a:cubicBezTo>
                  <a:cubicBezTo>
                    <a:pt x="643" y="14199"/>
                    <a:pt x="785" y="14136"/>
                    <a:pt x="783" y="14133"/>
                  </a:cubicBezTo>
                  <a:cubicBezTo>
                    <a:pt x="747" y="14087"/>
                    <a:pt x="611" y="14186"/>
                    <a:pt x="574" y="14169"/>
                  </a:cubicBezTo>
                  <a:cubicBezTo>
                    <a:pt x="555" y="14160"/>
                    <a:pt x="777" y="14044"/>
                    <a:pt x="735" y="14038"/>
                  </a:cubicBezTo>
                  <a:cubicBezTo>
                    <a:pt x="697" y="14048"/>
                    <a:pt x="660" y="14047"/>
                    <a:pt x="623" y="14036"/>
                  </a:cubicBezTo>
                  <a:cubicBezTo>
                    <a:pt x="622" y="14010"/>
                    <a:pt x="453" y="14170"/>
                    <a:pt x="458" y="14173"/>
                  </a:cubicBezTo>
                  <a:cubicBezTo>
                    <a:pt x="173" y="14060"/>
                    <a:pt x="434" y="14077"/>
                    <a:pt x="428" y="14074"/>
                  </a:cubicBezTo>
                  <a:cubicBezTo>
                    <a:pt x="390" y="14071"/>
                    <a:pt x="353" y="14065"/>
                    <a:pt x="318" y="14055"/>
                  </a:cubicBezTo>
                  <a:cubicBezTo>
                    <a:pt x="353" y="14030"/>
                    <a:pt x="389" y="14005"/>
                    <a:pt x="425" y="13979"/>
                  </a:cubicBezTo>
                  <a:cubicBezTo>
                    <a:pt x="301" y="13821"/>
                    <a:pt x="267" y="13945"/>
                    <a:pt x="453" y="13820"/>
                  </a:cubicBezTo>
                  <a:cubicBezTo>
                    <a:pt x="495" y="13792"/>
                    <a:pt x="341" y="13613"/>
                    <a:pt x="502" y="13640"/>
                  </a:cubicBezTo>
                  <a:cubicBezTo>
                    <a:pt x="602" y="13658"/>
                    <a:pt x="606" y="13859"/>
                    <a:pt x="730" y="13831"/>
                  </a:cubicBezTo>
                  <a:cubicBezTo>
                    <a:pt x="848" y="13804"/>
                    <a:pt x="978" y="13392"/>
                    <a:pt x="897" y="13379"/>
                  </a:cubicBezTo>
                  <a:cubicBezTo>
                    <a:pt x="905" y="13380"/>
                    <a:pt x="266" y="13790"/>
                    <a:pt x="376" y="13431"/>
                  </a:cubicBezTo>
                  <a:cubicBezTo>
                    <a:pt x="403" y="13436"/>
                    <a:pt x="430" y="13440"/>
                    <a:pt x="457" y="13445"/>
                  </a:cubicBezTo>
                  <a:cubicBezTo>
                    <a:pt x="480" y="13362"/>
                    <a:pt x="313" y="13290"/>
                    <a:pt x="311" y="13209"/>
                  </a:cubicBezTo>
                  <a:cubicBezTo>
                    <a:pt x="311" y="13202"/>
                    <a:pt x="564" y="13407"/>
                    <a:pt x="634" y="13478"/>
                  </a:cubicBezTo>
                  <a:cubicBezTo>
                    <a:pt x="626" y="13468"/>
                    <a:pt x="620" y="13457"/>
                    <a:pt x="611" y="13448"/>
                  </a:cubicBezTo>
                  <a:cubicBezTo>
                    <a:pt x="626" y="13459"/>
                    <a:pt x="643" y="13470"/>
                    <a:pt x="659" y="13479"/>
                  </a:cubicBezTo>
                  <a:cubicBezTo>
                    <a:pt x="745" y="13410"/>
                    <a:pt x="534" y="13334"/>
                    <a:pt x="540" y="13295"/>
                  </a:cubicBezTo>
                  <a:cubicBezTo>
                    <a:pt x="546" y="13248"/>
                    <a:pt x="799" y="13177"/>
                    <a:pt x="818" y="13201"/>
                  </a:cubicBezTo>
                  <a:cubicBezTo>
                    <a:pt x="728" y="13084"/>
                    <a:pt x="326" y="13357"/>
                    <a:pt x="407" y="13014"/>
                  </a:cubicBezTo>
                  <a:cubicBezTo>
                    <a:pt x="444" y="13029"/>
                    <a:pt x="474" y="12886"/>
                    <a:pt x="482" y="12885"/>
                  </a:cubicBezTo>
                  <a:cubicBezTo>
                    <a:pt x="538" y="12880"/>
                    <a:pt x="849" y="12994"/>
                    <a:pt x="799" y="13011"/>
                  </a:cubicBezTo>
                  <a:cubicBezTo>
                    <a:pt x="809" y="13008"/>
                    <a:pt x="984" y="12957"/>
                    <a:pt x="964" y="12968"/>
                  </a:cubicBezTo>
                  <a:cubicBezTo>
                    <a:pt x="998" y="12949"/>
                    <a:pt x="952" y="12863"/>
                    <a:pt x="1000" y="12863"/>
                  </a:cubicBezTo>
                  <a:cubicBezTo>
                    <a:pt x="1219" y="12864"/>
                    <a:pt x="1025" y="12955"/>
                    <a:pt x="1090" y="12966"/>
                  </a:cubicBezTo>
                  <a:cubicBezTo>
                    <a:pt x="1168" y="12978"/>
                    <a:pt x="1337" y="12855"/>
                    <a:pt x="1488" y="12983"/>
                  </a:cubicBezTo>
                  <a:cubicBezTo>
                    <a:pt x="1503" y="12995"/>
                    <a:pt x="1396" y="13158"/>
                    <a:pt x="1534" y="13131"/>
                  </a:cubicBezTo>
                  <a:cubicBezTo>
                    <a:pt x="1602" y="13118"/>
                    <a:pt x="1680" y="13022"/>
                    <a:pt x="1787" y="13074"/>
                  </a:cubicBezTo>
                  <a:cubicBezTo>
                    <a:pt x="1871" y="13116"/>
                    <a:pt x="2009" y="13074"/>
                    <a:pt x="2041" y="13150"/>
                  </a:cubicBezTo>
                  <a:cubicBezTo>
                    <a:pt x="2082" y="13252"/>
                    <a:pt x="1897" y="13228"/>
                    <a:pt x="1914" y="13283"/>
                  </a:cubicBezTo>
                  <a:cubicBezTo>
                    <a:pt x="1919" y="13299"/>
                    <a:pt x="2030" y="13243"/>
                    <a:pt x="2091" y="13270"/>
                  </a:cubicBezTo>
                  <a:cubicBezTo>
                    <a:pt x="2086" y="13177"/>
                    <a:pt x="2078" y="13071"/>
                    <a:pt x="2076" y="13074"/>
                  </a:cubicBezTo>
                  <a:cubicBezTo>
                    <a:pt x="2108" y="13033"/>
                    <a:pt x="2370" y="13150"/>
                    <a:pt x="2423" y="13183"/>
                  </a:cubicBezTo>
                  <a:cubicBezTo>
                    <a:pt x="2410" y="13161"/>
                    <a:pt x="2458" y="13110"/>
                    <a:pt x="2442" y="13090"/>
                  </a:cubicBezTo>
                  <a:cubicBezTo>
                    <a:pt x="2465" y="12990"/>
                    <a:pt x="2686" y="13083"/>
                    <a:pt x="2679" y="12976"/>
                  </a:cubicBezTo>
                  <a:cubicBezTo>
                    <a:pt x="2681" y="13005"/>
                    <a:pt x="2455" y="13035"/>
                    <a:pt x="2388" y="12955"/>
                  </a:cubicBezTo>
                  <a:cubicBezTo>
                    <a:pt x="2391" y="12979"/>
                    <a:pt x="2394" y="12998"/>
                    <a:pt x="2395" y="13003"/>
                  </a:cubicBezTo>
                  <a:cubicBezTo>
                    <a:pt x="2386" y="12973"/>
                    <a:pt x="1965" y="13073"/>
                    <a:pt x="2017" y="13004"/>
                  </a:cubicBezTo>
                  <a:cubicBezTo>
                    <a:pt x="2037" y="12991"/>
                    <a:pt x="2059" y="12982"/>
                    <a:pt x="2082" y="12972"/>
                  </a:cubicBezTo>
                  <a:cubicBezTo>
                    <a:pt x="1998" y="12983"/>
                    <a:pt x="1717" y="12908"/>
                    <a:pt x="1704" y="12936"/>
                  </a:cubicBezTo>
                  <a:cubicBezTo>
                    <a:pt x="1681" y="12984"/>
                    <a:pt x="1351" y="12902"/>
                    <a:pt x="1293" y="12882"/>
                  </a:cubicBezTo>
                  <a:cubicBezTo>
                    <a:pt x="1307" y="12861"/>
                    <a:pt x="1321" y="12839"/>
                    <a:pt x="1337" y="12819"/>
                  </a:cubicBezTo>
                  <a:cubicBezTo>
                    <a:pt x="1309" y="12814"/>
                    <a:pt x="1156" y="12786"/>
                    <a:pt x="1138" y="12786"/>
                  </a:cubicBezTo>
                  <a:cubicBezTo>
                    <a:pt x="971" y="12787"/>
                    <a:pt x="686" y="13051"/>
                    <a:pt x="542" y="12732"/>
                  </a:cubicBezTo>
                  <a:cubicBezTo>
                    <a:pt x="537" y="12721"/>
                    <a:pt x="705" y="12760"/>
                    <a:pt x="694" y="12735"/>
                  </a:cubicBezTo>
                  <a:cubicBezTo>
                    <a:pt x="672" y="12687"/>
                    <a:pt x="460" y="12668"/>
                    <a:pt x="494" y="12606"/>
                  </a:cubicBezTo>
                  <a:cubicBezTo>
                    <a:pt x="520" y="12559"/>
                    <a:pt x="660" y="12523"/>
                    <a:pt x="798" y="12511"/>
                  </a:cubicBezTo>
                  <a:cubicBezTo>
                    <a:pt x="603" y="12491"/>
                    <a:pt x="414" y="12456"/>
                    <a:pt x="631" y="12365"/>
                  </a:cubicBezTo>
                  <a:cubicBezTo>
                    <a:pt x="797" y="12296"/>
                    <a:pt x="962" y="12504"/>
                    <a:pt x="1085" y="12415"/>
                  </a:cubicBezTo>
                  <a:cubicBezTo>
                    <a:pt x="1093" y="12409"/>
                    <a:pt x="1099" y="12407"/>
                    <a:pt x="1106" y="12403"/>
                  </a:cubicBezTo>
                  <a:cubicBezTo>
                    <a:pt x="946" y="12346"/>
                    <a:pt x="708" y="12257"/>
                    <a:pt x="761" y="12246"/>
                  </a:cubicBezTo>
                  <a:cubicBezTo>
                    <a:pt x="812" y="12237"/>
                    <a:pt x="959" y="12279"/>
                    <a:pt x="986" y="12222"/>
                  </a:cubicBezTo>
                  <a:cubicBezTo>
                    <a:pt x="1017" y="12158"/>
                    <a:pt x="588" y="12170"/>
                    <a:pt x="645" y="12022"/>
                  </a:cubicBezTo>
                  <a:cubicBezTo>
                    <a:pt x="710" y="11852"/>
                    <a:pt x="727" y="12013"/>
                    <a:pt x="807" y="12027"/>
                  </a:cubicBezTo>
                  <a:cubicBezTo>
                    <a:pt x="747" y="12017"/>
                    <a:pt x="876" y="11957"/>
                    <a:pt x="905" y="11950"/>
                  </a:cubicBezTo>
                  <a:cubicBezTo>
                    <a:pt x="863" y="11943"/>
                    <a:pt x="821" y="11936"/>
                    <a:pt x="780" y="11929"/>
                  </a:cubicBezTo>
                  <a:cubicBezTo>
                    <a:pt x="809" y="11888"/>
                    <a:pt x="1145" y="11783"/>
                    <a:pt x="1181" y="11794"/>
                  </a:cubicBezTo>
                  <a:cubicBezTo>
                    <a:pt x="988" y="11779"/>
                    <a:pt x="771" y="11720"/>
                    <a:pt x="881" y="11661"/>
                  </a:cubicBezTo>
                  <a:cubicBezTo>
                    <a:pt x="843" y="11686"/>
                    <a:pt x="1067" y="11656"/>
                    <a:pt x="1119" y="11642"/>
                  </a:cubicBezTo>
                  <a:cubicBezTo>
                    <a:pt x="1057" y="11623"/>
                    <a:pt x="806" y="11265"/>
                    <a:pt x="1027" y="11338"/>
                  </a:cubicBezTo>
                  <a:cubicBezTo>
                    <a:pt x="1072" y="11353"/>
                    <a:pt x="1225" y="11661"/>
                    <a:pt x="1178" y="11669"/>
                  </a:cubicBezTo>
                  <a:cubicBezTo>
                    <a:pt x="1456" y="11623"/>
                    <a:pt x="1057" y="11528"/>
                    <a:pt x="1207" y="11416"/>
                  </a:cubicBezTo>
                  <a:cubicBezTo>
                    <a:pt x="1306" y="11341"/>
                    <a:pt x="1417" y="11604"/>
                    <a:pt x="1428" y="11593"/>
                  </a:cubicBezTo>
                  <a:cubicBezTo>
                    <a:pt x="1413" y="11553"/>
                    <a:pt x="1402" y="11512"/>
                    <a:pt x="1393" y="11471"/>
                  </a:cubicBezTo>
                  <a:cubicBezTo>
                    <a:pt x="1474" y="11415"/>
                    <a:pt x="1665" y="11455"/>
                    <a:pt x="1576" y="11566"/>
                  </a:cubicBezTo>
                  <a:cubicBezTo>
                    <a:pt x="1595" y="11558"/>
                    <a:pt x="1615" y="11552"/>
                    <a:pt x="1636" y="11550"/>
                  </a:cubicBezTo>
                  <a:cubicBezTo>
                    <a:pt x="1515" y="11415"/>
                    <a:pt x="1827" y="11215"/>
                    <a:pt x="1972" y="11289"/>
                  </a:cubicBezTo>
                  <a:cubicBezTo>
                    <a:pt x="1987" y="11302"/>
                    <a:pt x="1999" y="11343"/>
                    <a:pt x="2008" y="11393"/>
                  </a:cubicBezTo>
                  <a:cubicBezTo>
                    <a:pt x="2014" y="11348"/>
                    <a:pt x="2050" y="11320"/>
                    <a:pt x="2152" y="11336"/>
                  </a:cubicBezTo>
                  <a:cubicBezTo>
                    <a:pt x="2116" y="11331"/>
                    <a:pt x="2324" y="11232"/>
                    <a:pt x="2388" y="11289"/>
                  </a:cubicBezTo>
                  <a:cubicBezTo>
                    <a:pt x="2461" y="11395"/>
                    <a:pt x="2441" y="11182"/>
                    <a:pt x="2247" y="11117"/>
                  </a:cubicBezTo>
                  <a:cubicBezTo>
                    <a:pt x="2227" y="11111"/>
                    <a:pt x="1741" y="10990"/>
                    <a:pt x="2057" y="10961"/>
                  </a:cubicBezTo>
                  <a:cubicBezTo>
                    <a:pt x="2228" y="10945"/>
                    <a:pt x="2189" y="11038"/>
                    <a:pt x="2264" y="11050"/>
                  </a:cubicBezTo>
                  <a:cubicBezTo>
                    <a:pt x="2373" y="11067"/>
                    <a:pt x="2376" y="10857"/>
                    <a:pt x="2425" y="11090"/>
                  </a:cubicBezTo>
                  <a:cubicBezTo>
                    <a:pt x="2442" y="11165"/>
                    <a:pt x="2500" y="11001"/>
                    <a:pt x="2508" y="10971"/>
                  </a:cubicBezTo>
                  <a:cubicBezTo>
                    <a:pt x="2522" y="10921"/>
                    <a:pt x="2642" y="10978"/>
                    <a:pt x="2648" y="10992"/>
                  </a:cubicBezTo>
                  <a:cubicBezTo>
                    <a:pt x="2634" y="11006"/>
                    <a:pt x="2619" y="11018"/>
                    <a:pt x="2602" y="11029"/>
                  </a:cubicBezTo>
                  <a:cubicBezTo>
                    <a:pt x="2613" y="11044"/>
                    <a:pt x="2651" y="11160"/>
                    <a:pt x="2648" y="11156"/>
                  </a:cubicBezTo>
                  <a:cubicBezTo>
                    <a:pt x="2669" y="11169"/>
                    <a:pt x="2687" y="11035"/>
                    <a:pt x="2706" y="11024"/>
                  </a:cubicBezTo>
                  <a:cubicBezTo>
                    <a:pt x="2782" y="10982"/>
                    <a:pt x="2913" y="11189"/>
                    <a:pt x="2940" y="11236"/>
                  </a:cubicBezTo>
                  <a:cubicBezTo>
                    <a:pt x="2956" y="11224"/>
                    <a:pt x="3020" y="11205"/>
                    <a:pt x="3075" y="11192"/>
                  </a:cubicBezTo>
                  <a:cubicBezTo>
                    <a:pt x="2950" y="11178"/>
                    <a:pt x="2982" y="11089"/>
                    <a:pt x="2875" y="10980"/>
                  </a:cubicBezTo>
                  <a:cubicBezTo>
                    <a:pt x="2897" y="11001"/>
                    <a:pt x="2919" y="10916"/>
                    <a:pt x="2902" y="10909"/>
                  </a:cubicBezTo>
                  <a:cubicBezTo>
                    <a:pt x="2949" y="10895"/>
                    <a:pt x="2996" y="10883"/>
                    <a:pt x="3044" y="10871"/>
                  </a:cubicBezTo>
                  <a:cubicBezTo>
                    <a:pt x="2902" y="10896"/>
                    <a:pt x="2612" y="10914"/>
                    <a:pt x="2581" y="10889"/>
                  </a:cubicBezTo>
                  <a:cubicBezTo>
                    <a:pt x="2446" y="10783"/>
                    <a:pt x="2800" y="10784"/>
                    <a:pt x="2804" y="10783"/>
                  </a:cubicBezTo>
                  <a:cubicBezTo>
                    <a:pt x="2723" y="10798"/>
                    <a:pt x="2553" y="10635"/>
                    <a:pt x="2584" y="10610"/>
                  </a:cubicBezTo>
                  <a:cubicBezTo>
                    <a:pt x="2633" y="10571"/>
                    <a:pt x="2886" y="10489"/>
                    <a:pt x="2930" y="10562"/>
                  </a:cubicBezTo>
                  <a:cubicBezTo>
                    <a:pt x="3057" y="10766"/>
                    <a:pt x="3095" y="10575"/>
                    <a:pt x="3269" y="10641"/>
                  </a:cubicBezTo>
                  <a:cubicBezTo>
                    <a:pt x="3273" y="10649"/>
                    <a:pt x="3273" y="10655"/>
                    <a:pt x="3274" y="10661"/>
                  </a:cubicBezTo>
                  <a:cubicBezTo>
                    <a:pt x="3486" y="10628"/>
                    <a:pt x="3805" y="11179"/>
                    <a:pt x="3823" y="11140"/>
                  </a:cubicBezTo>
                  <a:cubicBezTo>
                    <a:pt x="3872" y="11029"/>
                    <a:pt x="3375" y="10660"/>
                    <a:pt x="3368" y="10609"/>
                  </a:cubicBezTo>
                  <a:cubicBezTo>
                    <a:pt x="3344" y="10441"/>
                    <a:pt x="3564" y="10546"/>
                    <a:pt x="3615" y="10597"/>
                  </a:cubicBezTo>
                  <a:cubicBezTo>
                    <a:pt x="3554" y="10383"/>
                    <a:pt x="3652" y="10510"/>
                    <a:pt x="3720" y="10541"/>
                  </a:cubicBezTo>
                  <a:cubicBezTo>
                    <a:pt x="3707" y="10515"/>
                    <a:pt x="3691" y="10490"/>
                    <a:pt x="3673" y="10465"/>
                  </a:cubicBezTo>
                  <a:cubicBezTo>
                    <a:pt x="3669" y="10402"/>
                    <a:pt x="3928" y="10494"/>
                    <a:pt x="3962" y="10538"/>
                  </a:cubicBezTo>
                  <a:cubicBezTo>
                    <a:pt x="3963" y="10542"/>
                    <a:pt x="3964" y="10546"/>
                    <a:pt x="3965" y="10551"/>
                  </a:cubicBezTo>
                  <a:cubicBezTo>
                    <a:pt x="3967" y="10547"/>
                    <a:pt x="3966" y="10543"/>
                    <a:pt x="3962" y="10538"/>
                  </a:cubicBezTo>
                  <a:cubicBezTo>
                    <a:pt x="3957" y="10509"/>
                    <a:pt x="3948" y="10481"/>
                    <a:pt x="3934" y="10454"/>
                  </a:cubicBezTo>
                  <a:cubicBezTo>
                    <a:pt x="3940" y="10425"/>
                    <a:pt x="4215" y="10439"/>
                    <a:pt x="4220" y="10445"/>
                  </a:cubicBezTo>
                  <a:cubicBezTo>
                    <a:pt x="4170" y="10382"/>
                    <a:pt x="3972" y="10427"/>
                    <a:pt x="3909" y="10337"/>
                  </a:cubicBezTo>
                  <a:cubicBezTo>
                    <a:pt x="3814" y="10201"/>
                    <a:pt x="4111" y="10291"/>
                    <a:pt x="4132" y="10249"/>
                  </a:cubicBezTo>
                  <a:cubicBezTo>
                    <a:pt x="4126" y="10262"/>
                    <a:pt x="4003" y="10007"/>
                    <a:pt x="4188" y="10133"/>
                  </a:cubicBezTo>
                  <a:cubicBezTo>
                    <a:pt x="4316" y="10219"/>
                    <a:pt x="4328" y="10088"/>
                    <a:pt x="4357" y="10092"/>
                  </a:cubicBezTo>
                  <a:cubicBezTo>
                    <a:pt x="4527" y="10114"/>
                    <a:pt x="4364" y="10285"/>
                    <a:pt x="4360" y="10324"/>
                  </a:cubicBezTo>
                  <a:cubicBezTo>
                    <a:pt x="4363" y="10300"/>
                    <a:pt x="4446" y="10288"/>
                    <a:pt x="4529" y="10274"/>
                  </a:cubicBezTo>
                  <a:cubicBezTo>
                    <a:pt x="4479" y="10220"/>
                    <a:pt x="4483" y="10092"/>
                    <a:pt x="4577" y="10074"/>
                  </a:cubicBezTo>
                  <a:cubicBezTo>
                    <a:pt x="4560" y="10072"/>
                    <a:pt x="4548" y="9988"/>
                    <a:pt x="4553" y="9984"/>
                  </a:cubicBezTo>
                  <a:cubicBezTo>
                    <a:pt x="4666" y="9884"/>
                    <a:pt x="4645" y="10059"/>
                    <a:pt x="4670" y="10062"/>
                  </a:cubicBezTo>
                  <a:cubicBezTo>
                    <a:pt x="4694" y="10045"/>
                    <a:pt x="4710" y="10024"/>
                    <a:pt x="4721" y="9999"/>
                  </a:cubicBezTo>
                  <a:cubicBezTo>
                    <a:pt x="4742" y="10017"/>
                    <a:pt x="4764" y="10035"/>
                    <a:pt x="4786" y="10053"/>
                  </a:cubicBezTo>
                  <a:cubicBezTo>
                    <a:pt x="4909" y="9900"/>
                    <a:pt x="4866" y="9885"/>
                    <a:pt x="4969" y="10098"/>
                  </a:cubicBezTo>
                  <a:cubicBezTo>
                    <a:pt x="4998" y="10161"/>
                    <a:pt x="5118" y="10210"/>
                    <a:pt x="5018" y="10278"/>
                  </a:cubicBezTo>
                  <a:cubicBezTo>
                    <a:pt x="4962" y="10294"/>
                    <a:pt x="4933" y="10325"/>
                    <a:pt x="4929" y="10371"/>
                  </a:cubicBezTo>
                  <a:cubicBezTo>
                    <a:pt x="4914" y="10358"/>
                    <a:pt x="5172" y="10354"/>
                    <a:pt x="5171" y="10353"/>
                  </a:cubicBezTo>
                  <a:cubicBezTo>
                    <a:pt x="4965" y="10130"/>
                    <a:pt x="5532" y="10277"/>
                    <a:pt x="5726" y="10302"/>
                  </a:cubicBezTo>
                  <a:cubicBezTo>
                    <a:pt x="5695" y="10256"/>
                    <a:pt x="5784" y="10083"/>
                    <a:pt x="5806" y="10074"/>
                  </a:cubicBezTo>
                  <a:cubicBezTo>
                    <a:pt x="5782" y="10062"/>
                    <a:pt x="5624" y="10136"/>
                    <a:pt x="5612" y="10124"/>
                  </a:cubicBezTo>
                  <a:cubicBezTo>
                    <a:pt x="5551" y="10062"/>
                    <a:pt x="6156" y="9870"/>
                    <a:pt x="6217" y="9876"/>
                  </a:cubicBezTo>
                  <a:cubicBezTo>
                    <a:pt x="6283" y="9883"/>
                    <a:pt x="6295" y="9789"/>
                    <a:pt x="6242" y="9767"/>
                  </a:cubicBezTo>
                  <a:cubicBezTo>
                    <a:pt x="6115" y="9747"/>
                    <a:pt x="6028" y="9749"/>
                    <a:pt x="6004" y="9750"/>
                  </a:cubicBezTo>
                  <a:cubicBezTo>
                    <a:pt x="5905" y="9698"/>
                    <a:pt x="6159" y="9623"/>
                    <a:pt x="6248" y="9596"/>
                  </a:cubicBezTo>
                  <a:cubicBezTo>
                    <a:pt x="6249" y="9677"/>
                    <a:pt x="6428" y="9619"/>
                    <a:pt x="6428" y="9619"/>
                  </a:cubicBezTo>
                  <a:cubicBezTo>
                    <a:pt x="6440" y="9615"/>
                    <a:pt x="6351" y="9548"/>
                    <a:pt x="6343" y="9549"/>
                  </a:cubicBezTo>
                  <a:cubicBezTo>
                    <a:pt x="6342" y="9550"/>
                    <a:pt x="6169" y="9502"/>
                    <a:pt x="6158" y="9447"/>
                  </a:cubicBezTo>
                  <a:cubicBezTo>
                    <a:pt x="6039" y="9528"/>
                    <a:pt x="5763" y="9697"/>
                    <a:pt x="5717" y="9718"/>
                  </a:cubicBezTo>
                  <a:cubicBezTo>
                    <a:pt x="5564" y="9789"/>
                    <a:pt x="5315" y="9689"/>
                    <a:pt x="5395" y="9532"/>
                  </a:cubicBezTo>
                  <a:cubicBezTo>
                    <a:pt x="5389" y="9544"/>
                    <a:pt x="5202" y="9565"/>
                    <a:pt x="5178" y="9556"/>
                  </a:cubicBezTo>
                  <a:cubicBezTo>
                    <a:pt x="5173" y="9554"/>
                    <a:pt x="5251" y="9348"/>
                    <a:pt x="5256" y="9323"/>
                  </a:cubicBezTo>
                  <a:cubicBezTo>
                    <a:pt x="5307" y="9308"/>
                    <a:pt x="5356" y="9313"/>
                    <a:pt x="5402" y="9340"/>
                  </a:cubicBezTo>
                  <a:cubicBezTo>
                    <a:pt x="5378" y="9337"/>
                    <a:pt x="5613" y="9044"/>
                    <a:pt x="5659" y="9023"/>
                  </a:cubicBezTo>
                  <a:cubicBezTo>
                    <a:pt x="5688" y="9010"/>
                    <a:pt x="5766" y="9123"/>
                    <a:pt x="5792" y="9038"/>
                  </a:cubicBezTo>
                  <a:cubicBezTo>
                    <a:pt x="5799" y="9017"/>
                    <a:pt x="5699" y="8913"/>
                    <a:pt x="5704" y="8913"/>
                  </a:cubicBezTo>
                  <a:cubicBezTo>
                    <a:pt x="5734" y="8932"/>
                    <a:pt x="5763" y="8950"/>
                    <a:pt x="5792" y="8969"/>
                  </a:cubicBezTo>
                  <a:cubicBezTo>
                    <a:pt x="5794" y="8946"/>
                    <a:pt x="5794" y="8923"/>
                    <a:pt x="5792" y="8900"/>
                  </a:cubicBezTo>
                  <a:cubicBezTo>
                    <a:pt x="5814" y="8909"/>
                    <a:pt x="5912" y="9059"/>
                    <a:pt x="5942" y="9031"/>
                  </a:cubicBezTo>
                  <a:cubicBezTo>
                    <a:pt x="6039" y="8940"/>
                    <a:pt x="5853" y="8938"/>
                    <a:pt x="5817" y="8903"/>
                  </a:cubicBezTo>
                  <a:cubicBezTo>
                    <a:pt x="5863" y="8948"/>
                    <a:pt x="5978" y="8844"/>
                    <a:pt x="5949" y="8848"/>
                  </a:cubicBezTo>
                  <a:cubicBezTo>
                    <a:pt x="5986" y="8855"/>
                    <a:pt x="6021" y="8867"/>
                    <a:pt x="6054" y="8882"/>
                  </a:cubicBezTo>
                  <a:cubicBezTo>
                    <a:pt x="6099" y="8879"/>
                    <a:pt x="6042" y="8711"/>
                    <a:pt x="6081" y="8723"/>
                  </a:cubicBezTo>
                  <a:cubicBezTo>
                    <a:pt x="6074" y="8721"/>
                    <a:pt x="6309" y="8977"/>
                    <a:pt x="6309" y="8977"/>
                  </a:cubicBezTo>
                  <a:cubicBezTo>
                    <a:pt x="6315" y="8987"/>
                    <a:pt x="6306" y="9002"/>
                    <a:pt x="6292" y="9020"/>
                  </a:cubicBezTo>
                  <a:cubicBezTo>
                    <a:pt x="6363" y="8941"/>
                    <a:pt x="6456" y="8847"/>
                    <a:pt x="6467" y="8832"/>
                  </a:cubicBezTo>
                  <a:cubicBezTo>
                    <a:pt x="6485" y="8808"/>
                    <a:pt x="6603" y="8905"/>
                    <a:pt x="6664" y="8845"/>
                  </a:cubicBezTo>
                  <a:cubicBezTo>
                    <a:pt x="6651" y="8858"/>
                    <a:pt x="6422" y="8780"/>
                    <a:pt x="6412" y="8676"/>
                  </a:cubicBezTo>
                  <a:cubicBezTo>
                    <a:pt x="6396" y="8512"/>
                    <a:pt x="6680" y="8611"/>
                    <a:pt x="6750" y="8514"/>
                  </a:cubicBezTo>
                  <a:cubicBezTo>
                    <a:pt x="6760" y="8499"/>
                    <a:pt x="6612" y="8488"/>
                    <a:pt x="6622" y="8479"/>
                  </a:cubicBezTo>
                  <a:cubicBezTo>
                    <a:pt x="6657" y="8469"/>
                    <a:pt x="6691" y="8457"/>
                    <a:pt x="6724" y="8443"/>
                  </a:cubicBezTo>
                  <a:cubicBezTo>
                    <a:pt x="6693" y="8457"/>
                    <a:pt x="6660" y="8461"/>
                    <a:pt x="6625" y="8457"/>
                  </a:cubicBezTo>
                  <a:cubicBezTo>
                    <a:pt x="6616" y="8441"/>
                    <a:pt x="6619" y="8428"/>
                    <a:pt x="6629" y="8417"/>
                  </a:cubicBezTo>
                  <a:cubicBezTo>
                    <a:pt x="6472" y="8499"/>
                    <a:pt x="6332" y="8583"/>
                    <a:pt x="6316" y="8564"/>
                  </a:cubicBezTo>
                  <a:cubicBezTo>
                    <a:pt x="6291" y="8533"/>
                    <a:pt x="6460" y="8523"/>
                    <a:pt x="6463" y="8487"/>
                  </a:cubicBezTo>
                  <a:cubicBezTo>
                    <a:pt x="6424" y="8465"/>
                    <a:pt x="6382" y="8453"/>
                    <a:pt x="6335" y="8450"/>
                  </a:cubicBezTo>
                  <a:cubicBezTo>
                    <a:pt x="6345" y="8459"/>
                    <a:pt x="6660" y="8391"/>
                    <a:pt x="6676" y="8369"/>
                  </a:cubicBezTo>
                  <a:cubicBezTo>
                    <a:pt x="6663" y="8387"/>
                    <a:pt x="6361" y="8413"/>
                    <a:pt x="6343" y="8405"/>
                  </a:cubicBezTo>
                  <a:cubicBezTo>
                    <a:pt x="6316" y="8395"/>
                    <a:pt x="6458" y="8366"/>
                    <a:pt x="6545" y="8350"/>
                  </a:cubicBezTo>
                  <a:cubicBezTo>
                    <a:pt x="6521" y="8343"/>
                    <a:pt x="6503" y="8331"/>
                    <a:pt x="6521" y="8319"/>
                  </a:cubicBezTo>
                  <a:cubicBezTo>
                    <a:pt x="6609" y="8262"/>
                    <a:pt x="6841" y="8274"/>
                    <a:pt x="6962" y="8284"/>
                  </a:cubicBezTo>
                  <a:cubicBezTo>
                    <a:pt x="6887" y="8296"/>
                    <a:pt x="6790" y="8337"/>
                    <a:pt x="6694" y="8384"/>
                  </a:cubicBezTo>
                  <a:cubicBezTo>
                    <a:pt x="6724" y="8375"/>
                    <a:pt x="6762" y="8368"/>
                    <a:pt x="6801" y="8362"/>
                  </a:cubicBezTo>
                  <a:cubicBezTo>
                    <a:pt x="6786" y="8369"/>
                    <a:pt x="6770" y="8376"/>
                    <a:pt x="6755" y="8384"/>
                  </a:cubicBezTo>
                  <a:cubicBezTo>
                    <a:pt x="6889" y="8344"/>
                    <a:pt x="7160" y="8341"/>
                    <a:pt x="7143" y="8314"/>
                  </a:cubicBezTo>
                  <a:cubicBezTo>
                    <a:pt x="7135" y="8299"/>
                    <a:pt x="7120" y="8291"/>
                    <a:pt x="7103" y="8286"/>
                  </a:cubicBezTo>
                  <a:cubicBezTo>
                    <a:pt x="7087" y="8281"/>
                    <a:pt x="7068" y="8280"/>
                    <a:pt x="7047" y="8282"/>
                  </a:cubicBezTo>
                  <a:cubicBezTo>
                    <a:pt x="7116" y="8237"/>
                    <a:pt x="6981" y="8198"/>
                    <a:pt x="7154" y="8164"/>
                  </a:cubicBezTo>
                  <a:cubicBezTo>
                    <a:pt x="7231" y="8154"/>
                    <a:pt x="7308" y="8144"/>
                    <a:pt x="7385" y="8136"/>
                  </a:cubicBezTo>
                  <a:cubicBezTo>
                    <a:pt x="7496" y="8111"/>
                    <a:pt x="7565" y="7890"/>
                    <a:pt x="7641" y="7875"/>
                  </a:cubicBezTo>
                  <a:cubicBezTo>
                    <a:pt x="7616" y="7880"/>
                    <a:pt x="7419" y="8001"/>
                    <a:pt x="7424" y="8024"/>
                  </a:cubicBezTo>
                  <a:cubicBezTo>
                    <a:pt x="7436" y="7998"/>
                    <a:pt x="7446" y="7971"/>
                    <a:pt x="7455" y="7943"/>
                  </a:cubicBezTo>
                  <a:cubicBezTo>
                    <a:pt x="7447" y="7925"/>
                    <a:pt x="7130" y="7898"/>
                    <a:pt x="7136" y="7953"/>
                  </a:cubicBezTo>
                  <a:cubicBezTo>
                    <a:pt x="7115" y="7758"/>
                    <a:pt x="7396" y="7849"/>
                    <a:pt x="7461" y="7844"/>
                  </a:cubicBezTo>
                  <a:cubicBezTo>
                    <a:pt x="7363" y="7852"/>
                    <a:pt x="7551" y="7694"/>
                    <a:pt x="7554" y="7692"/>
                  </a:cubicBezTo>
                  <a:cubicBezTo>
                    <a:pt x="7421" y="7780"/>
                    <a:pt x="7432" y="7500"/>
                    <a:pt x="7440" y="7499"/>
                  </a:cubicBezTo>
                  <a:cubicBezTo>
                    <a:pt x="7420" y="7502"/>
                    <a:pt x="7353" y="7574"/>
                    <a:pt x="7318" y="7585"/>
                  </a:cubicBezTo>
                  <a:cubicBezTo>
                    <a:pt x="7287" y="7543"/>
                    <a:pt x="7257" y="7509"/>
                    <a:pt x="7264" y="7501"/>
                  </a:cubicBezTo>
                  <a:cubicBezTo>
                    <a:pt x="7262" y="7503"/>
                    <a:pt x="7262" y="7504"/>
                    <a:pt x="7261" y="7506"/>
                  </a:cubicBezTo>
                  <a:cubicBezTo>
                    <a:pt x="7220" y="7373"/>
                    <a:pt x="7323" y="7255"/>
                    <a:pt x="7495" y="7378"/>
                  </a:cubicBezTo>
                  <a:cubicBezTo>
                    <a:pt x="7467" y="7272"/>
                    <a:pt x="7500" y="7077"/>
                    <a:pt x="7611" y="7004"/>
                  </a:cubicBezTo>
                  <a:cubicBezTo>
                    <a:pt x="7749" y="6913"/>
                    <a:pt x="7845" y="7189"/>
                    <a:pt x="7906" y="7171"/>
                  </a:cubicBezTo>
                  <a:cubicBezTo>
                    <a:pt x="7945" y="7159"/>
                    <a:pt x="7664" y="6928"/>
                    <a:pt x="7783" y="6860"/>
                  </a:cubicBezTo>
                  <a:cubicBezTo>
                    <a:pt x="7703" y="6889"/>
                    <a:pt x="7561" y="6936"/>
                    <a:pt x="7591" y="6847"/>
                  </a:cubicBezTo>
                  <a:cubicBezTo>
                    <a:pt x="7628" y="6736"/>
                    <a:pt x="7914" y="6738"/>
                    <a:pt x="8039" y="6752"/>
                  </a:cubicBezTo>
                  <a:cubicBezTo>
                    <a:pt x="8039" y="6753"/>
                    <a:pt x="8179" y="6849"/>
                    <a:pt x="8202" y="6851"/>
                  </a:cubicBezTo>
                  <a:cubicBezTo>
                    <a:pt x="8205" y="6851"/>
                    <a:pt x="8348" y="6793"/>
                    <a:pt x="8396" y="6789"/>
                  </a:cubicBezTo>
                  <a:cubicBezTo>
                    <a:pt x="8390" y="6761"/>
                    <a:pt x="8372" y="6739"/>
                    <a:pt x="8342" y="6723"/>
                  </a:cubicBezTo>
                  <a:cubicBezTo>
                    <a:pt x="8448" y="6721"/>
                    <a:pt x="8593" y="6672"/>
                    <a:pt x="8648" y="6585"/>
                  </a:cubicBezTo>
                  <a:cubicBezTo>
                    <a:pt x="8648" y="6584"/>
                    <a:pt x="8304" y="6675"/>
                    <a:pt x="8271" y="6673"/>
                  </a:cubicBezTo>
                  <a:cubicBezTo>
                    <a:pt x="8265" y="6650"/>
                    <a:pt x="8260" y="6627"/>
                    <a:pt x="8256" y="6603"/>
                  </a:cubicBezTo>
                  <a:cubicBezTo>
                    <a:pt x="8140" y="6570"/>
                    <a:pt x="7987" y="6720"/>
                    <a:pt x="7875" y="6711"/>
                  </a:cubicBezTo>
                  <a:cubicBezTo>
                    <a:pt x="7904" y="6713"/>
                    <a:pt x="8080" y="6529"/>
                    <a:pt x="8183" y="6552"/>
                  </a:cubicBezTo>
                  <a:cubicBezTo>
                    <a:pt x="8138" y="6526"/>
                    <a:pt x="8075" y="6488"/>
                    <a:pt x="8089" y="6476"/>
                  </a:cubicBezTo>
                  <a:cubicBezTo>
                    <a:pt x="8008" y="6543"/>
                    <a:pt x="8036" y="6627"/>
                    <a:pt x="7877" y="6528"/>
                  </a:cubicBezTo>
                  <a:cubicBezTo>
                    <a:pt x="8015" y="6613"/>
                    <a:pt x="7950" y="6138"/>
                    <a:pt x="7880" y="6254"/>
                  </a:cubicBezTo>
                  <a:cubicBezTo>
                    <a:pt x="7950" y="6126"/>
                    <a:pt x="8069" y="6432"/>
                    <a:pt x="8149" y="6367"/>
                  </a:cubicBezTo>
                  <a:cubicBezTo>
                    <a:pt x="8123" y="6388"/>
                    <a:pt x="8012" y="6296"/>
                    <a:pt x="8112" y="6251"/>
                  </a:cubicBezTo>
                  <a:cubicBezTo>
                    <a:pt x="8015" y="6241"/>
                    <a:pt x="8004" y="5946"/>
                    <a:pt x="8171" y="6001"/>
                  </a:cubicBezTo>
                  <a:cubicBezTo>
                    <a:pt x="8286" y="6038"/>
                    <a:pt x="8548" y="6106"/>
                    <a:pt x="8608" y="5943"/>
                  </a:cubicBezTo>
                  <a:cubicBezTo>
                    <a:pt x="8511" y="5907"/>
                    <a:pt x="8362" y="5830"/>
                    <a:pt x="8330" y="5741"/>
                  </a:cubicBezTo>
                  <a:cubicBezTo>
                    <a:pt x="8367" y="5846"/>
                    <a:pt x="8557" y="5606"/>
                    <a:pt x="8542" y="5616"/>
                  </a:cubicBezTo>
                  <a:cubicBezTo>
                    <a:pt x="8616" y="5565"/>
                    <a:pt x="8596" y="5751"/>
                    <a:pt x="8607" y="5761"/>
                  </a:cubicBezTo>
                  <a:cubicBezTo>
                    <a:pt x="8648" y="5794"/>
                    <a:pt x="8659" y="5557"/>
                    <a:pt x="8717" y="5586"/>
                  </a:cubicBezTo>
                  <a:cubicBezTo>
                    <a:pt x="8736" y="5631"/>
                    <a:pt x="8741" y="5677"/>
                    <a:pt x="8734" y="5724"/>
                  </a:cubicBezTo>
                  <a:cubicBezTo>
                    <a:pt x="8725" y="5708"/>
                    <a:pt x="8839" y="5569"/>
                    <a:pt x="8899" y="5569"/>
                  </a:cubicBezTo>
                  <a:cubicBezTo>
                    <a:pt x="8746" y="5541"/>
                    <a:pt x="9147" y="5360"/>
                    <a:pt x="9313" y="5392"/>
                  </a:cubicBezTo>
                  <a:cubicBezTo>
                    <a:pt x="9230" y="5384"/>
                    <a:pt x="9317" y="5578"/>
                    <a:pt x="9317" y="5579"/>
                  </a:cubicBezTo>
                  <a:cubicBezTo>
                    <a:pt x="9361" y="5152"/>
                    <a:pt x="9627" y="5647"/>
                    <a:pt x="9657" y="5620"/>
                  </a:cubicBezTo>
                  <a:cubicBezTo>
                    <a:pt x="9653" y="5562"/>
                    <a:pt x="9631" y="5507"/>
                    <a:pt x="9594" y="5457"/>
                  </a:cubicBezTo>
                  <a:cubicBezTo>
                    <a:pt x="9600" y="5383"/>
                    <a:pt x="9803" y="5505"/>
                    <a:pt x="9823" y="5492"/>
                  </a:cubicBezTo>
                  <a:cubicBezTo>
                    <a:pt x="9880" y="5454"/>
                    <a:pt x="9473" y="5355"/>
                    <a:pt x="9534" y="5366"/>
                  </a:cubicBezTo>
                  <a:cubicBezTo>
                    <a:pt x="9467" y="5354"/>
                    <a:pt x="9441" y="5355"/>
                    <a:pt x="9434" y="5356"/>
                  </a:cubicBezTo>
                  <a:cubicBezTo>
                    <a:pt x="9445" y="5353"/>
                    <a:pt x="9472" y="5337"/>
                    <a:pt x="9457" y="5268"/>
                  </a:cubicBezTo>
                  <a:cubicBezTo>
                    <a:pt x="9453" y="5251"/>
                    <a:pt x="9103" y="5399"/>
                    <a:pt x="9093" y="5383"/>
                  </a:cubicBezTo>
                  <a:cubicBezTo>
                    <a:pt x="9116" y="5354"/>
                    <a:pt x="9138" y="5325"/>
                    <a:pt x="9158" y="5296"/>
                  </a:cubicBezTo>
                  <a:cubicBezTo>
                    <a:pt x="9122" y="5251"/>
                    <a:pt x="8906" y="5385"/>
                    <a:pt x="8910" y="5348"/>
                  </a:cubicBezTo>
                  <a:cubicBezTo>
                    <a:pt x="8924" y="5222"/>
                    <a:pt x="9262" y="4971"/>
                    <a:pt x="9395" y="5029"/>
                  </a:cubicBezTo>
                  <a:cubicBezTo>
                    <a:pt x="9501" y="5076"/>
                    <a:pt x="9780" y="5219"/>
                    <a:pt x="9816" y="5310"/>
                  </a:cubicBezTo>
                  <a:cubicBezTo>
                    <a:pt x="9717" y="5055"/>
                    <a:pt x="9698" y="5089"/>
                    <a:pt x="9985" y="4964"/>
                  </a:cubicBezTo>
                  <a:cubicBezTo>
                    <a:pt x="9447" y="5198"/>
                    <a:pt x="9570" y="4687"/>
                    <a:pt x="9685" y="4750"/>
                  </a:cubicBezTo>
                  <a:cubicBezTo>
                    <a:pt x="9819" y="4823"/>
                    <a:pt x="10109" y="4785"/>
                    <a:pt x="9922" y="4700"/>
                  </a:cubicBezTo>
                  <a:cubicBezTo>
                    <a:pt x="9758" y="4625"/>
                    <a:pt x="9769" y="4635"/>
                    <a:pt x="9665" y="4551"/>
                  </a:cubicBezTo>
                  <a:cubicBezTo>
                    <a:pt x="9794" y="4656"/>
                    <a:pt x="9230" y="4872"/>
                    <a:pt x="9231" y="4799"/>
                  </a:cubicBezTo>
                  <a:cubicBezTo>
                    <a:pt x="9232" y="4683"/>
                    <a:pt x="9400" y="4730"/>
                    <a:pt x="9472" y="4707"/>
                  </a:cubicBezTo>
                  <a:cubicBezTo>
                    <a:pt x="9438" y="4708"/>
                    <a:pt x="9439" y="4620"/>
                    <a:pt x="9443" y="4629"/>
                  </a:cubicBezTo>
                  <a:cubicBezTo>
                    <a:pt x="9434" y="4607"/>
                    <a:pt x="9280" y="4722"/>
                    <a:pt x="9262" y="4596"/>
                  </a:cubicBezTo>
                  <a:cubicBezTo>
                    <a:pt x="9256" y="4549"/>
                    <a:pt x="9511" y="4587"/>
                    <a:pt x="9494" y="4541"/>
                  </a:cubicBezTo>
                  <a:cubicBezTo>
                    <a:pt x="9439" y="4542"/>
                    <a:pt x="9385" y="4547"/>
                    <a:pt x="9331" y="4554"/>
                  </a:cubicBezTo>
                  <a:cubicBezTo>
                    <a:pt x="9219" y="4462"/>
                    <a:pt x="9516" y="4524"/>
                    <a:pt x="9582" y="4554"/>
                  </a:cubicBezTo>
                  <a:cubicBezTo>
                    <a:pt x="9646" y="4510"/>
                    <a:pt x="9802" y="4380"/>
                    <a:pt x="9783" y="4509"/>
                  </a:cubicBezTo>
                  <a:cubicBezTo>
                    <a:pt x="9850" y="4329"/>
                    <a:pt x="9912" y="4470"/>
                    <a:pt x="9991" y="4499"/>
                  </a:cubicBezTo>
                  <a:cubicBezTo>
                    <a:pt x="9982" y="4496"/>
                    <a:pt x="10058" y="4319"/>
                    <a:pt x="10121" y="4346"/>
                  </a:cubicBezTo>
                  <a:cubicBezTo>
                    <a:pt x="10028" y="4308"/>
                    <a:pt x="10057" y="4301"/>
                    <a:pt x="10010" y="4273"/>
                  </a:cubicBezTo>
                  <a:cubicBezTo>
                    <a:pt x="10013" y="4274"/>
                    <a:pt x="9837" y="4394"/>
                    <a:pt x="9818" y="4274"/>
                  </a:cubicBezTo>
                  <a:cubicBezTo>
                    <a:pt x="9816" y="4259"/>
                    <a:pt x="9829" y="4116"/>
                    <a:pt x="9883" y="4130"/>
                  </a:cubicBezTo>
                  <a:cubicBezTo>
                    <a:pt x="9931" y="4142"/>
                    <a:pt x="9897" y="4284"/>
                    <a:pt x="10001" y="4250"/>
                  </a:cubicBezTo>
                  <a:cubicBezTo>
                    <a:pt x="10123" y="4209"/>
                    <a:pt x="9970" y="4090"/>
                    <a:pt x="10093" y="4027"/>
                  </a:cubicBezTo>
                  <a:cubicBezTo>
                    <a:pt x="10061" y="4043"/>
                    <a:pt x="10165" y="4693"/>
                    <a:pt x="10398" y="4654"/>
                  </a:cubicBezTo>
                  <a:cubicBezTo>
                    <a:pt x="10349" y="4662"/>
                    <a:pt x="10222" y="4415"/>
                    <a:pt x="10215" y="4373"/>
                  </a:cubicBezTo>
                  <a:cubicBezTo>
                    <a:pt x="10215" y="4375"/>
                    <a:pt x="10350" y="4544"/>
                    <a:pt x="10365" y="4516"/>
                  </a:cubicBezTo>
                  <a:cubicBezTo>
                    <a:pt x="10431" y="4396"/>
                    <a:pt x="10337" y="4362"/>
                    <a:pt x="10348" y="4259"/>
                  </a:cubicBezTo>
                  <a:cubicBezTo>
                    <a:pt x="10352" y="4222"/>
                    <a:pt x="10501" y="4343"/>
                    <a:pt x="10550" y="4296"/>
                  </a:cubicBezTo>
                  <a:cubicBezTo>
                    <a:pt x="10515" y="4330"/>
                    <a:pt x="10452" y="4117"/>
                    <a:pt x="10329" y="4071"/>
                  </a:cubicBezTo>
                  <a:cubicBezTo>
                    <a:pt x="10306" y="4085"/>
                    <a:pt x="10283" y="4083"/>
                    <a:pt x="10263" y="4072"/>
                  </a:cubicBezTo>
                  <a:cubicBezTo>
                    <a:pt x="10278" y="4069"/>
                    <a:pt x="10273" y="4060"/>
                    <a:pt x="10253" y="4065"/>
                  </a:cubicBezTo>
                  <a:cubicBezTo>
                    <a:pt x="10180" y="4014"/>
                    <a:pt x="10146" y="3862"/>
                    <a:pt x="10302" y="3957"/>
                  </a:cubicBezTo>
                  <a:cubicBezTo>
                    <a:pt x="10333" y="3976"/>
                    <a:pt x="10606" y="4190"/>
                    <a:pt x="10609" y="4207"/>
                  </a:cubicBezTo>
                  <a:cubicBezTo>
                    <a:pt x="10599" y="4151"/>
                    <a:pt x="10267" y="3903"/>
                    <a:pt x="10271" y="3898"/>
                  </a:cubicBezTo>
                  <a:cubicBezTo>
                    <a:pt x="10337" y="3835"/>
                    <a:pt x="10518" y="3836"/>
                    <a:pt x="10605" y="3854"/>
                  </a:cubicBezTo>
                  <a:cubicBezTo>
                    <a:pt x="10810" y="3896"/>
                    <a:pt x="10598" y="3902"/>
                    <a:pt x="10646" y="3959"/>
                  </a:cubicBezTo>
                  <a:cubicBezTo>
                    <a:pt x="10655" y="3970"/>
                    <a:pt x="10793" y="3855"/>
                    <a:pt x="10838" y="3898"/>
                  </a:cubicBezTo>
                  <a:cubicBezTo>
                    <a:pt x="10892" y="3978"/>
                    <a:pt x="10926" y="4065"/>
                    <a:pt x="10944" y="4155"/>
                  </a:cubicBezTo>
                  <a:cubicBezTo>
                    <a:pt x="10940" y="4111"/>
                    <a:pt x="10977" y="4049"/>
                    <a:pt x="10891" y="3956"/>
                  </a:cubicBezTo>
                  <a:cubicBezTo>
                    <a:pt x="10744" y="3797"/>
                    <a:pt x="11105" y="3928"/>
                    <a:pt x="11110" y="3929"/>
                  </a:cubicBezTo>
                  <a:cubicBezTo>
                    <a:pt x="11092" y="3926"/>
                    <a:pt x="10983" y="3864"/>
                    <a:pt x="10988" y="3834"/>
                  </a:cubicBezTo>
                  <a:cubicBezTo>
                    <a:pt x="10995" y="3805"/>
                    <a:pt x="11301" y="3882"/>
                    <a:pt x="11301" y="3888"/>
                  </a:cubicBezTo>
                  <a:cubicBezTo>
                    <a:pt x="11300" y="3899"/>
                    <a:pt x="11075" y="3678"/>
                    <a:pt x="11101" y="3679"/>
                  </a:cubicBezTo>
                  <a:cubicBezTo>
                    <a:pt x="10966" y="3675"/>
                    <a:pt x="10904" y="3848"/>
                    <a:pt x="10776" y="3837"/>
                  </a:cubicBezTo>
                  <a:cubicBezTo>
                    <a:pt x="10774" y="3837"/>
                    <a:pt x="10836" y="3759"/>
                    <a:pt x="10838" y="3750"/>
                  </a:cubicBezTo>
                  <a:cubicBezTo>
                    <a:pt x="10841" y="3739"/>
                    <a:pt x="10553" y="3800"/>
                    <a:pt x="10504" y="3796"/>
                  </a:cubicBezTo>
                  <a:cubicBezTo>
                    <a:pt x="10280" y="3776"/>
                    <a:pt x="10528" y="3680"/>
                    <a:pt x="10540" y="3660"/>
                  </a:cubicBezTo>
                  <a:cubicBezTo>
                    <a:pt x="10579" y="3586"/>
                    <a:pt x="10492" y="3485"/>
                    <a:pt x="10631" y="3446"/>
                  </a:cubicBezTo>
                  <a:cubicBezTo>
                    <a:pt x="10678" y="3433"/>
                    <a:pt x="10808" y="3446"/>
                    <a:pt x="10858" y="3492"/>
                  </a:cubicBezTo>
                  <a:cubicBezTo>
                    <a:pt x="10852" y="3480"/>
                    <a:pt x="10848" y="3466"/>
                    <a:pt x="10840" y="3454"/>
                  </a:cubicBezTo>
                  <a:cubicBezTo>
                    <a:pt x="10958" y="3354"/>
                    <a:pt x="11149" y="3576"/>
                    <a:pt x="11202" y="3523"/>
                  </a:cubicBezTo>
                  <a:cubicBezTo>
                    <a:pt x="11218" y="3506"/>
                    <a:pt x="10943" y="3401"/>
                    <a:pt x="10930" y="3379"/>
                  </a:cubicBezTo>
                  <a:cubicBezTo>
                    <a:pt x="10864" y="3272"/>
                    <a:pt x="11205" y="3365"/>
                    <a:pt x="11262" y="3385"/>
                  </a:cubicBezTo>
                  <a:cubicBezTo>
                    <a:pt x="11227" y="3367"/>
                    <a:pt x="11080" y="3279"/>
                    <a:pt x="11080" y="3270"/>
                  </a:cubicBezTo>
                  <a:cubicBezTo>
                    <a:pt x="11078" y="3192"/>
                    <a:pt x="11264" y="3226"/>
                    <a:pt x="11309" y="3208"/>
                  </a:cubicBezTo>
                  <a:cubicBezTo>
                    <a:pt x="11272" y="3223"/>
                    <a:pt x="11091" y="3098"/>
                    <a:pt x="11100" y="3066"/>
                  </a:cubicBezTo>
                  <a:cubicBezTo>
                    <a:pt x="11155" y="2869"/>
                    <a:pt x="11353" y="2936"/>
                    <a:pt x="11517" y="2850"/>
                  </a:cubicBezTo>
                  <a:cubicBezTo>
                    <a:pt x="11569" y="2823"/>
                    <a:pt x="11308" y="2703"/>
                    <a:pt x="11739" y="2602"/>
                  </a:cubicBezTo>
                  <a:cubicBezTo>
                    <a:pt x="11736" y="2614"/>
                    <a:pt x="11738" y="2638"/>
                    <a:pt x="11738" y="2656"/>
                  </a:cubicBezTo>
                  <a:cubicBezTo>
                    <a:pt x="11770" y="2616"/>
                    <a:pt x="11812" y="2569"/>
                    <a:pt x="11797" y="2602"/>
                  </a:cubicBezTo>
                  <a:cubicBezTo>
                    <a:pt x="11798" y="2604"/>
                    <a:pt x="11840" y="2730"/>
                    <a:pt x="11845" y="2720"/>
                  </a:cubicBezTo>
                  <a:cubicBezTo>
                    <a:pt x="11921" y="2560"/>
                    <a:pt x="11893" y="2676"/>
                    <a:pt x="12037" y="2678"/>
                  </a:cubicBezTo>
                  <a:cubicBezTo>
                    <a:pt x="12021" y="2637"/>
                    <a:pt x="11984" y="2611"/>
                    <a:pt x="11925" y="2602"/>
                  </a:cubicBezTo>
                  <a:cubicBezTo>
                    <a:pt x="12392" y="2602"/>
                    <a:pt x="12093" y="2690"/>
                    <a:pt x="12137" y="2724"/>
                  </a:cubicBezTo>
                  <a:cubicBezTo>
                    <a:pt x="12138" y="2725"/>
                    <a:pt x="12302" y="2798"/>
                    <a:pt x="12339" y="2771"/>
                  </a:cubicBezTo>
                  <a:cubicBezTo>
                    <a:pt x="12339" y="2771"/>
                    <a:pt x="12525" y="2602"/>
                    <a:pt x="12658" y="2602"/>
                  </a:cubicBezTo>
                  <a:cubicBezTo>
                    <a:pt x="12647" y="2615"/>
                    <a:pt x="12595" y="2727"/>
                    <a:pt x="12611" y="2727"/>
                  </a:cubicBezTo>
                  <a:cubicBezTo>
                    <a:pt x="12747" y="2727"/>
                    <a:pt x="12853" y="2274"/>
                    <a:pt x="12930" y="2273"/>
                  </a:cubicBezTo>
                  <a:cubicBezTo>
                    <a:pt x="12954" y="2273"/>
                    <a:pt x="13147" y="2394"/>
                    <a:pt x="13151" y="2407"/>
                  </a:cubicBezTo>
                  <a:cubicBezTo>
                    <a:pt x="13140" y="2371"/>
                    <a:pt x="12698" y="2039"/>
                    <a:pt x="13010" y="2020"/>
                  </a:cubicBezTo>
                  <a:cubicBezTo>
                    <a:pt x="13121" y="2013"/>
                    <a:pt x="13158" y="1811"/>
                    <a:pt x="13180" y="1818"/>
                  </a:cubicBezTo>
                  <a:cubicBezTo>
                    <a:pt x="13194" y="1823"/>
                    <a:pt x="13228" y="2121"/>
                    <a:pt x="13331" y="1974"/>
                  </a:cubicBezTo>
                  <a:cubicBezTo>
                    <a:pt x="13315" y="1997"/>
                    <a:pt x="13405" y="1755"/>
                    <a:pt x="13425" y="1838"/>
                  </a:cubicBezTo>
                  <a:cubicBezTo>
                    <a:pt x="13378" y="1640"/>
                    <a:pt x="13465" y="1638"/>
                    <a:pt x="13571" y="1812"/>
                  </a:cubicBezTo>
                  <a:cubicBezTo>
                    <a:pt x="13615" y="1883"/>
                    <a:pt x="13881" y="1973"/>
                    <a:pt x="13885" y="2055"/>
                  </a:cubicBezTo>
                  <a:cubicBezTo>
                    <a:pt x="13881" y="1932"/>
                    <a:pt x="13731" y="1911"/>
                    <a:pt x="13757" y="1786"/>
                  </a:cubicBezTo>
                  <a:cubicBezTo>
                    <a:pt x="13764" y="1751"/>
                    <a:pt x="13921" y="1685"/>
                    <a:pt x="13878" y="1647"/>
                  </a:cubicBezTo>
                  <a:cubicBezTo>
                    <a:pt x="13832" y="1607"/>
                    <a:pt x="13757" y="1721"/>
                    <a:pt x="13693" y="1652"/>
                  </a:cubicBezTo>
                  <a:cubicBezTo>
                    <a:pt x="13693" y="1652"/>
                    <a:pt x="13869" y="1601"/>
                    <a:pt x="13864" y="1545"/>
                  </a:cubicBezTo>
                  <a:cubicBezTo>
                    <a:pt x="13865" y="1541"/>
                    <a:pt x="13865" y="1538"/>
                    <a:pt x="13864" y="1535"/>
                  </a:cubicBezTo>
                  <a:cubicBezTo>
                    <a:pt x="13865" y="1538"/>
                    <a:pt x="13864" y="1541"/>
                    <a:pt x="13864" y="1545"/>
                  </a:cubicBezTo>
                  <a:cubicBezTo>
                    <a:pt x="13847" y="1591"/>
                    <a:pt x="13545" y="1620"/>
                    <a:pt x="13496" y="1565"/>
                  </a:cubicBezTo>
                  <a:cubicBezTo>
                    <a:pt x="13514" y="1584"/>
                    <a:pt x="13295" y="1476"/>
                    <a:pt x="13331" y="1432"/>
                  </a:cubicBezTo>
                  <a:cubicBezTo>
                    <a:pt x="13524" y="1192"/>
                    <a:pt x="13748" y="1492"/>
                    <a:pt x="13726" y="1492"/>
                  </a:cubicBezTo>
                  <a:cubicBezTo>
                    <a:pt x="13866" y="1490"/>
                    <a:pt x="13623" y="1189"/>
                    <a:pt x="13876" y="1376"/>
                  </a:cubicBezTo>
                  <a:cubicBezTo>
                    <a:pt x="13807" y="1325"/>
                    <a:pt x="13934" y="1294"/>
                    <a:pt x="13975" y="1302"/>
                  </a:cubicBezTo>
                  <a:cubicBezTo>
                    <a:pt x="14011" y="1326"/>
                    <a:pt x="13921" y="1380"/>
                    <a:pt x="13965" y="1419"/>
                  </a:cubicBezTo>
                  <a:cubicBezTo>
                    <a:pt x="13942" y="1399"/>
                    <a:pt x="14386" y="1287"/>
                    <a:pt x="14390" y="1476"/>
                  </a:cubicBezTo>
                  <a:cubicBezTo>
                    <a:pt x="14391" y="1507"/>
                    <a:pt x="14463" y="1775"/>
                    <a:pt x="14486" y="1782"/>
                  </a:cubicBezTo>
                  <a:cubicBezTo>
                    <a:pt x="14522" y="1792"/>
                    <a:pt x="14743" y="1726"/>
                    <a:pt x="14703" y="1672"/>
                  </a:cubicBezTo>
                  <a:cubicBezTo>
                    <a:pt x="14669" y="1627"/>
                    <a:pt x="14486" y="1629"/>
                    <a:pt x="14496" y="1560"/>
                  </a:cubicBezTo>
                  <a:cubicBezTo>
                    <a:pt x="14502" y="1521"/>
                    <a:pt x="14659" y="1569"/>
                    <a:pt x="14618" y="1488"/>
                  </a:cubicBezTo>
                  <a:cubicBezTo>
                    <a:pt x="14594" y="1476"/>
                    <a:pt x="14574" y="1462"/>
                    <a:pt x="14557" y="1445"/>
                  </a:cubicBezTo>
                  <a:cubicBezTo>
                    <a:pt x="14579" y="1438"/>
                    <a:pt x="14602" y="1429"/>
                    <a:pt x="14623" y="1420"/>
                  </a:cubicBezTo>
                  <a:cubicBezTo>
                    <a:pt x="14589" y="1407"/>
                    <a:pt x="14556" y="1393"/>
                    <a:pt x="14524" y="1378"/>
                  </a:cubicBezTo>
                  <a:cubicBezTo>
                    <a:pt x="14513" y="1346"/>
                    <a:pt x="14668" y="1378"/>
                    <a:pt x="14686" y="1349"/>
                  </a:cubicBezTo>
                  <a:cubicBezTo>
                    <a:pt x="14696" y="1332"/>
                    <a:pt x="14551" y="1359"/>
                    <a:pt x="14550" y="1332"/>
                  </a:cubicBezTo>
                  <a:cubicBezTo>
                    <a:pt x="14545" y="1255"/>
                    <a:pt x="14711" y="1304"/>
                    <a:pt x="14727" y="1257"/>
                  </a:cubicBezTo>
                  <a:cubicBezTo>
                    <a:pt x="14769" y="1138"/>
                    <a:pt x="14657" y="1127"/>
                    <a:pt x="14858" y="986"/>
                  </a:cubicBezTo>
                  <a:cubicBezTo>
                    <a:pt x="14910" y="949"/>
                    <a:pt x="15128" y="992"/>
                    <a:pt x="15132" y="1034"/>
                  </a:cubicBezTo>
                  <a:cubicBezTo>
                    <a:pt x="15151" y="983"/>
                    <a:pt x="15138" y="946"/>
                    <a:pt x="15093" y="926"/>
                  </a:cubicBezTo>
                  <a:cubicBezTo>
                    <a:pt x="15075" y="944"/>
                    <a:pt x="15053" y="957"/>
                    <a:pt x="15026" y="964"/>
                  </a:cubicBezTo>
                  <a:cubicBezTo>
                    <a:pt x="14937" y="958"/>
                    <a:pt x="15092" y="752"/>
                    <a:pt x="15113" y="718"/>
                  </a:cubicBezTo>
                  <a:cubicBezTo>
                    <a:pt x="15071" y="786"/>
                    <a:pt x="15582" y="813"/>
                    <a:pt x="15252" y="684"/>
                  </a:cubicBezTo>
                  <a:cubicBezTo>
                    <a:pt x="15210" y="667"/>
                    <a:pt x="14873" y="521"/>
                    <a:pt x="15088" y="460"/>
                  </a:cubicBezTo>
                  <a:cubicBezTo>
                    <a:pt x="15154" y="441"/>
                    <a:pt x="15152" y="643"/>
                    <a:pt x="15252" y="574"/>
                  </a:cubicBezTo>
                  <a:cubicBezTo>
                    <a:pt x="15212" y="601"/>
                    <a:pt x="15270" y="474"/>
                    <a:pt x="15290" y="455"/>
                  </a:cubicBezTo>
                  <a:cubicBezTo>
                    <a:pt x="15252" y="434"/>
                    <a:pt x="15065" y="300"/>
                    <a:pt x="15256" y="317"/>
                  </a:cubicBezTo>
                  <a:cubicBezTo>
                    <a:pt x="15487" y="337"/>
                    <a:pt x="15528" y="373"/>
                    <a:pt x="15598" y="554"/>
                  </a:cubicBezTo>
                  <a:cubicBezTo>
                    <a:pt x="15600" y="558"/>
                    <a:pt x="15632" y="312"/>
                    <a:pt x="15637" y="302"/>
                  </a:cubicBezTo>
                  <a:cubicBezTo>
                    <a:pt x="15670" y="233"/>
                    <a:pt x="15738" y="434"/>
                    <a:pt x="15724" y="473"/>
                  </a:cubicBezTo>
                  <a:cubicBezTo>
                    <a:pt x="15767" y="453"/>
                    <a:pt x="15926" y="388"/>
                    <a:pt x="15968" y="416"/>
                  </a:cubicBezTo>
                  <a:cubicBezTo>
                    <a:pt x="15987" y="428"/>
                    <a:pt x="15538" y="963"/>
                    <a:pt x="15527" y="966"/>
                  </a:cubicBezTo>
                  <a:cubicBezTo>
                    <a:pt x="15807" y="893"/>
                    <a:pt x="15467" y="1699"/>
                    <a:pt x="15675" y="1493"/>
                  </a:cubicBezTo>
                  <a:cubicBezTo>
                    <a:pt x="15729" y="1438"/>
                    <a:pt x="15862" y="1233"/>
                    <a:pt x="15775" y="1186"/>
                  </a:cubicBezTo>
                  <a:cubicBezTo>
                    <a:pt x="15841" y="1222"/>
                    <a:pt x="16203" y="211"/>
                    <a:pt x="16382" y="272"/>
                  </a:cubicBezTo>
                  <a:cubicBezTo>
                    <a:pt x="16539" y="326"/>
                    <a:pt x="16327" y="762"/>
                    <a:pt x="16242" y="714"/>
                  </a:cubicBezTo>
                  <a:cubicBezTo>
                    <a:pt x="16329" y="763"/>
                    <a:pt x="16476" y="562"/>
                    <a:pt x="16422" y="816"/>
                  </a:cubicBezTo>
                  <a:cubicBezTo>
                    <a:pt x="16424" y="805"/>
                    <a:pt x="16315" y="1120"/>
                    <a:pt x="16405" y="1088"/>
                  </a:cubicBezTo>
                  <a:cubicBezTo>
                    <a:pt x="16503" y="1054"/>
                    <a:pt x="16446" y="933"/>
                    <a:pt x="16552" y="894"/>
                  </a:cubicBezTo>
                  <a:cubicBezTo>
                    <a:pt x="16600" y="902"/>
                    <a:pt x="16649" y="905"/>
                    <a:pt x="16697" y="905"/>
                  </a:cubicBezTo>
                  <a:cubicBezTo>
                    <a:pt x="16691" y="909"/>
                    <a:pt x="16596" y="793"/>
                    <a:pt x="16607" y="755"/>
                  </a:cubicBezTo>
                  <a:cubicBezTo>
                    <a:pt x="16644" y="625"/>
                    <a:pt x="16740" y="785"/>
                    <a:pt x="16769" y="740"/>
                  </a:cubicBezTo>
                  <a:cubicBezTo>
                    <a:pt x="16758" y="757"/>
                    <a:pt x="16615" y="451"/>
                    <a:pt x="16760" y="422"/>
                  </a:cubicBezTo>
                  <a:cubicBezTo>
                    <a:pt x="16758" y="423"/>
                    <a:pt x="16933" y="439"/>
                    <a:pt x="16931" y="430"/>
                  </a:cubicBezTo>
                  <a:cubicBezTo>
                    <a:pt x="16928" y="407"/>
                    <a:pt x="16614" y="257"/>
                    <a:pt x="16623" y="252"/>
                  </a:cubicBezTo>
                  <a:cubicBezTo>
                    <a:pt x="16742" y="185"/>
                    <a:pt x="16754" y="351"/>
                    <a:pt x="16863" y="231"/>
                  </a:cubicBezTo>
                  <a:cubicBezTo>
                    <a:pt x="16887" y="204"/>
                    <a:pt x="16754" y="-27"/>
                    <a:pt x="16875" y="3"/>
                  </a:cubicBezTo>
                  <a:cubicBezTo>
                    <a:pt x="17060" y="48"/>
                    <a:pt x="16951" y="96"/>
                    <a:pt x="17185" y="19"/>
                  </a:cubicBezTo>
                  <a:cubicBezTo>
                    <a:pt x="17248" y="-2"/>
                    <a:pt x="17177" y="168"/>
                    <a:pt x="17220" y="175"/>
                  </a:cubicBezTo>
                  <a:cubicBezTo>
                    <a:pt x="17230" y="176"/>
                    <a:pt x="17518" y="55"/>
                    <a:pt x="17387" y="214"/>
                  </a:cubicBezTo>
                  <a:cubicBezTo>
                    <a:pt x="17361" y="246"/>
                    <a:pt x="17355" y="333"/>
                    <a:pt x="17367" y="320"/>
                  </a:cubicBezTo>
                  <a:cubicBezTo>
                    <a:pt x="17327" y="330"/>
                    <a:pt x="17288" y="342"/>
                    <a:pt x="17249" y="354"/>
                  </a:cubicBezTo>
                  <a:cubicBezTo>
                    <a:pt x="17238" y="370"/>
                    <a:pt x="17189" y="553"/>
                    <a:pt x="17102" y="646"/>
                  </a:cubicBezTo>
                  <a:cubicBezTo>
                    <a:pt x="17228" y="577"/>
                    <a:pt x="17397" y="474"/>
                    <a:pt x="17360" y="564"/>
                  </a:cubicBezTo>
                  <a:cubicBezTo>
                    <a:pt x="17340" y="610"/>
                    <a:pt x="17040" y="876"/>
                    <a:pt x="17097" y="906"/>
                  </a:cubicBezTo>
                  <a:cubicBezTo>
                    <a:pt x="17164" y="942"/>
                    <a:pt x="17315" y="660"/>
                    <a:pt x="17390" y="796"/>
                  </a:cubicBezTo>
                  <a:cubicBezTo>
                    <a:pt x="17385" y="787"/>
                    <a:pt x="17439" y="811"/>
                    <a:pt x="17476" y="831"/>
                  </a:cubicBezTo>
                  <a:cubicBezTo>
                    <a:pt x="17441" y="732"/>
                    <a:pt x="17488" y="351"/>
                    <a:pt x="17557" y="283"/>
                  </a:cubicBezTo>
                  <a:cubicBezTo>
                    <a:pt x="17720" y="122"/>
                    <a:pt x="17863" y="380"/>
                    <a:pt x="17878" y="426"/>
                  </a:cubicBezTo>
                  <a:cubicBezTo>
                    <a:pt x="17900" y="425"/>
                    <a:pt x="17922" y="423"/>
                    <a:pt x="17944" y="419"/>
                  </a:cubicBezTo>
                  <a:cubicBezTo>
                    <a:pt x="17937" y="453"/>
                    <a:pt x="17923" y="485"/>
                    <a:pt x="17904" y="516"/>
                  </a:cubicBezTo>
                  <a:cubicBezTo>
                    <a:pt x="17945" y="470"/>
                    <a:pt x="18075" y="381"/>
                    <a:pt x="18098" y="378"/>
                  </a:cubicBezTo>
                  <a:cubicBezTo>
                    <a:pt x="18240" y="362"/>
                    <a:pt x="18104" y="537"/>
                    <a:pt x="18133" y="557"/>
                  </a:cubicBezTo>
                  <a:cubicBezTo>
                    <a:pt x="18207" y="609"/>
                    <a:pt x="18257" y="285"/>
                    <a:pt x="18415" y="424"/>
                  </a:cubicBezTo>
                  <a:cubicBezTo>
                    <a:pt x="18445" y="451"/>
                    <a:pt x="18339" y="477"/>
                    <a:pt x="18353" y="508"/>
                  </a:cubicBezTo>
                  <a:cubicBezTo>
                    <a:pt x="18359" y="522"/>
                    <a:pt x="18486" y="479"/>
                    <a:pt x="18503" y="536"/>
                  </a:cubicBezTo>
                  <a:cubicBezTo>
                    <a:pt x="18520" y="595"/>
                    <a:pt x="18327" y="653"/>
                    <a:pt x="18324" y="649"/>
                  </a:cubicBezTo>
                  <a:cubicBezTo>
                    <a:pt x="18383" y="739"/>
                    <a:pt x="18550" y="544"/>
                    <a:pt x="18656" y="633"/>
                  </a:cubicBezTo>
                  <a:cubicBezTo>
                    <a:pt x="18821" y="773"/>
                    <a:pt x="18741" y="699"/>
                    <a:pt x="18883" y="694"/>
                  </a:cubicBezTo>
                  <a:cubicBezTo>
                    <a:pt x="18926" y="693"/>
                    <a:pt x="19010" y="880"/>
                    <a:pt x="18999" y="909"/>
                  </a:cubicBezTo>
                  <a:cubicBezTo>
                    <a:pt x="18969" y="986"/>
                    <a:pt x="18700" y="999"/>
                    <a:pt x="18630" y="1118"/>
                  </a:cubicBezTo>
                  <a:cubicBezTo>
                    <a:pt x="18471" y="1386"/>
                    <a:pt x="17631" y="1180"/>
                    <a:pt x="17620" y="1230"/>
                  </a:cubicBezTo>
                  <a:cubicBezTo>
                    <a:pt x="17602" y="1302"/>
                    <a:pt x="17976" y="1423"/>
                    <a:pt x="17967" y="1422"/>
                  </a:cubicBezTo>
                  <a:cubicBezTo>
                    <a:pt x="18048" y="1433"/>
                    <a:pt x="18238" y="1336"/>
                    <a:pt x="18294" y="1431"/>
                  </a:cubicBezTo>
                  <a:cubicBezTo>
                    <a:pt x="18303" y="1446"/>
                    <a:pt x="18255" y="1480"/>
                    <a:pt x="18210" y="1517"/>
                  </a:cubicBezTo>
                  <a:cubicBezTo>
                    <a:pt x="18273" y="1482"/>
                    <a:pt x="18361" y="1474"/>
                    <a:pt x="18376" y="1547"/>
                  </a:cubicBezTo>
                  <a:cubicBezTo>
                    <a:pt x="18402" y="1666"/>
                    <a:pt x="18255" y="1759"/>
                    <a:pt x="18260" y="1870"/>
                  </a:cubicBezTo>
                  <a:cubicBezTo>
                    <a:pt x="18256" y="1782"/>
                    <a:pt x="18474" y="1685"/>
                    <a:pt x="18561" y="1675"/>
                  </a:cubicBezTo>
                  <a:cubicBezTo>
                    <a:pt x="18586" y="1672"/>
                    <a:pt x="18518" y="1794"/>
                    <a:pt x="18515" y="1795"/>
                  </a:cubicBezTo>
                  <a:cubicBezTo>
                    <a:pt x="18537" y="1769"/>
                    <a:pt x="18558" y="1744"/>
                    <a:pt x="18580" y="1719"/>
                  </a:cubicBezTo>
                  <a:cubicBezTo>
                    <a:pt x="18604" y="1741"/>
                    <a:pt x="18632" y="1761"/>
                    <a:pt x="18661" y="1778"/>
                  </a:cubicBezTo>
                  <a:cubicBezTo>
                    <a:pt x="18697" y="1740"/>
                    <a:pt x="18545" y="1542"/>
                    <a:pt x="18597" y="1488"/>
                  </a:cubicBezTo>
                  <a:cubicBezTo>
                    <a:pt x="18674" y="1409"/>
                    <a:pt x="18818" y="1776"/>
                    <a:pt x="18803" y="1783"/>
                  </a:cubicBezTo>
                  <a:cubicBezTo>
                    <a:pt x="18991" y="1692"/>
                    <a:pt x="18579" y="1545"/>
                    <a:pt x="19006" y="1584"/>
                  </a:cubicBezTo>
                  <a:cubicBezTo>
                    <a:pt x="19014" y="1585"/>
                    <a:pt x="19020" y="1585"/>
                    <a:pt x="19028" y="1586"/>
                  </a:cubicBezTo>
                  <a:cubicBezTo>
                    <a:pt x="19078" y="1674"/>
                    <a:pt x="19136" y="1789"/>
                    <a:pt x="19134" y="1855"/>
                  </a:cubicBezTo>
                  <a:cubicBezTo>
                    <a:pt x="19127" y="1896"/>
                    <a:pt x="19132" y="1895"/>
                    <a:pt x="19095" y="1899"/>
                  </a:cubicBezTo>
                  <a:cubicBezTo>
                    <a:pt x="19090" y="1899"/>
                    <a:pt x="19084" y="1898"/>
                    <a:pt x="19078" y="1898"/>
                  </a:cubicBezTo>
                  <a:cubicBezTo>
                    <a:pt x="19065" y="1897"/>
                    <a:pt x="18968" y="1874"/>
                    <a:pt x="18884" y="1850"/>
                  </a:cubicBezTo>
                  <a:cubicBezTo>
                    <a:pt x="18841" y="1838"/>
                    <a:pt x="18799" y="1826"/>
                    <a:pt x="18769" y="1815"/>
                  </a:cubicBezTo>
                  <a:cubicBezTo>
                    <a:pt x="18754" y="1810"/>
                    <a:pt x="18742" y="1805"/>
                    <a:pt x="18735" y="1801"/>
                  </a:cubicBezTo>
                  <a:cubicBezTo>
                    <a:pt x="18733" y="1801"/>
                    <a:pt x="18733" y="1801"/>
                    <a:pt x="18732" y="1800"/>
                  </a:cubicBezTo>
                  <a:cubicBezTo>
                    <a:pt x="18731" y="1799"/>
                    <a:pt x="18729" y="1798"/>
                    <a:pt x="18728" y="1796"/>
                  </a:cubicBezTo>
                  <a:cubicBezTo>
                    <a:pt x="18725" y="1794"/>
                    <a:pt x="18722" y="1792"/>
                    <a:pt x="18718" y="1790"/>
                  </a:cubicBezTo>
                  <a:cubicBezTo>
                    <a:pt x="18708" y="1785"/>
                    <a:pt x="18695" y="1784"/>
                    <a:pt x="18684" y="1786"/>
                  </a:cubicBezTo>
                  <a:cubicBezTo>
                    <a:pt x="18676" y="1788"/>
                    <a:pt x="18668" y="1792"/>
                    <a:pt x="18663" y="1796"/>
                  </a:cubicBezTo>
                  <a:cubicBezTo>
                    <a:pt x="18661" y="1798"/>
                    <a:pt x="18659" y="1800"/>
                    <a:pt x="18658" y="1802"/>
                  </a:cubicBezTo>
                  <a:cubicBezTo>
                    <a:pt x="18657" y="1802"/>
                    <a:pt x="18657" y="1802"/>
                    <a:pt x="18657" y="1802"/>
                  </a:cubicBezTo>
                  <a:cubicBezTo>
                    <a:pt x="18657" y="1802"/>
                    <a:pt x="18656" y="1803"/>
                    <a:pt x="18656" y="1803"/>
                  </a:cubicBezTo>
                  <a:cubicBezTo>
                    <a:pt x="18656" y="1803"/>
                    <a:pt x="18656" y="1803"/>
                    <a:pt x="18656" y="1804"/>
                  </a:cubicBezTo>
                  <a:lnTo>
                    <a:pt x="18656" y="1804"/>
                  </a:lnTo>
                  <a:cubicBezTo>
                    <a:pt x="18651" y="1810"/>
                    <a:pt x="18649" y="1818"/>
                    <a:pt x="18650" y="1825"/>
                  </a:cubicBezTo>
                  <a:cubicBezTo>
                    <a:pt x="18650" y="1828"/>
                    <a:pt x="18651" y="1830"/>
                    <a:pt x="18651" y="1832"/>
                  </a:cubicBezTo>
                  <a:cubicBezTo>
                    <a:pt x="18663" y="1870"/>
                    <a:pt x="18669" y="1902"/>
                    <a:pt x="18669" y="1928"/>
                  </a:cubicBezTo>
                  <a:cubicBezTo>
                    <a:pt x="18667" y="2012"/>
                    <a:pt x="18621" y="2045"/>
                    <a:pt x="18538" y="2095"/>
                  </a:cubicBezTo>
                  <a:cubicBezTo>
                    <a:pt x="18458" y="2144"/>
                    <a:pt x="18346" y="2198"/>
                    <a:pt x="18266" y="2311"/>
                  </a:cubicBezTo>
                  <a:cubicBezTo>
                    <a:pt x="18167" y="2453"/>
                    <a:pt x="18160" y="2587"/>
                    <a:pt x="18106" y="2702"/>
                  </a:cubicBezTo>
                  <a:cubicBezTo>
                    <a:pt x="18061" y="2733"/>
                    <a:pt x="18007" y="2768"/>
                    <a:pt x="17961" y="2801"/>
                  </a:cubicBezTo>
                  <a:cubicBezTo>
                    <a:pt x="17907" y="2843"/>
                    <a:pt x="17857" y="2868"/>
                    <a:pt x="17849" y="2924"/>
                  </a:cubicBezTo>
                  <a:cubicBezTo>
                    <a:pt x="17847" y="2948"/>
                    <a:pt x="17873" y="2972"/>
                    <a:pt x="17897" y="2978"/>
                  </a:cubicBezTo>
                  <a:cubicBezTo>
                    <a:pt x="17921" y="2986"/>
                    <a:pt x="17946" y="2988"/>
                    <a:pt x="17980" y="2989"/>
                  </a:cubicBezTo>
                  <a:cubicBezTo>
                    <a:pt x="17999" y="2989"/>
                    <a:pt x="18021" y="2988"/>
                    <a:pt x="18047" y="2986"/>
                  </a:cubicBezTo>
                  <a:cubicBezTo>
                    <a:pt x="18050" y="2986"/>
                    <a:pt x="18052" y="2986"/>
                    <a:pt x="18053" y="2986"/>
                  </a:cubicBezTo>
                  <a:cubicBezTo>
                    <a:pt x="18076" y="2988"/>
                    <a:pt x="18073" y="2984"/>
                    <a:pt x="18079" y="3024"/>
                  </a:cubicBezTo>
                  <a:cubicBezTo>
                    <a:pt x="18080" y="3120"/>
                    <a:pt x="17969" y="3316"/>
                    <a:pt x="17954" y="3348"/>
                  </a:cubicBezTo>
                  <a:cubicBezTo>
                    <a:pt x="17941" y="3378"/>
                    <a:pt x="17935" y="3409"/>
                    <a:pt x="17935" y="3439"/>
                  </a:cubicBezTo>
                  <a:cubicBezTo>
                    <a:pt x="17936" y="3556"/>
                    <a:pt x="18012" y="3666"/>
                    <a:pt x="18060" y="3753"/>
                  </a:cubicBezTo>
                  <a:cubicBezTo>
                    <a:pt x="18130" y="3890"/>
                    <a:pt x="18222" y="3948"/>
                    <a:pt x="18409" y="3969"/>
                  </a:cubicBezTo>
                  <a:cubicBezTo>
                    <a:pt x="18650" y="4002"/>
                    <a:pt x="18689" y="4108"/>
                    <a:pt x="18828" y="4281"/>
                  </a:cubicBezTo>
                  <a:cubicBezTo>
                    <a:pt x="18950" y="4417"/>
                    <a:pt x="19156" y="4426"/>
                    <a:pt x="19144" y="4546"/>
                  </a:cubicBezTo>
                  <a:cubicBezTo>
                    <a:pt x="19145" y="4546"/>
                    <a:pt x="19144" y="4547"/>
                    <a:pt x="19144" y="4550"/>
                  </a:cubicBezTo>
                  <a:cubicBezTo>
                    <a:pt x="19143" y="4667"/>
                    <a:pt x="19062" y="4791"/>
                    <a:pt x="18992" y="4904"/>
                  </a:cubicBezTo>
                  <a:cubicBezTo>
                    <a:pt x="18897" y="5060"/>
                    <a:pt x="18681" y="5300"/>
                    <a:pt x="18679" y="5525"/>
                  </a:cubicBezTo>
                  <a:cubicBezTo>
                    <a:pt x="18679" y="5565"/>
                    <a:pt x="18685" y="5604"/>
                    <a:pt x="18702" y="5642"/>
                  </a:cubicBezTo>
                  <a:cubicBezTo>
                    <a:pt x="18782" y="5820"/>
                    <a:pt x="18997" y="5953"/>
                    <a:pt x="19083" y="6106"/>
                  </a:cubicBezTo>
                  <a:cubicBezTo>
                    <a:pt x="19209" y="6323"/>
                    <a:pt x="19357" y="6510"/>
                    <a:pt x="19499" y="6714"/>
                  </a:cubicBezTo>
                  <a:cubicBezTo>
                    <a:pt x="19577" y="6825"/>
                    <a:pt x="19648" y="6955"/>
                    <a:pt x="19700" y="7076"/>
                  </a:cubicBezTo>
                  <a:cubicBezTo>
                    <a:pt x="19716" y="7112"/>
                    <a:pt x="19722" y="7135"/>
                    <a:pt x="19722" y="7147"/>
                  </a:cubicBezTo>
                  <a:cubicBezTo>
                    <a:pt x="19721" y="7154"/>
                    <a:pt x="19720" y="7154"/>
                    <a:pt x="19721" y="7154"/>
                  </a:cubicBezTo>
                  <a:cubicBezTo>
                    <a:pt x="19723" y="7161"/>
                    <a:pt x="19644" y="7162"/>
                    <a:pt x="19547" y="7183"/>
                  </a:cubicBezTo>
                  <a:cubicBezTo>
                    <a:pt x="19503" y="7192"/>
                    <a:pt x="19482" y="7232"/>
                    <a:pt x="19485" y="7258"/>
                  </a:cubicBezTo>
                  <a:cubicBezTo>
                    <a:pt x="19487" y="7321"/>
                    <a:pt x="19534" y="7398"/>
                    <a:pt x="19532" y="7447"/>
                  </a:cubicBezTo>
                  <a:cubicBezTo>
                    <a:pt x="19532" y="7452"/>
                    <a:pt x="19532" y="7456"/>
                    <a:pt x="19532" y="7457"/>
                  </a:cubicBezTo>
                  <a:cubicBezTo>
                    <a:pt x="19531" y="7463"/>
                    <a:pt x="19530" y="7471"/>
                    <a:pt x="19530" y="7479"/>
                  </a:cubicBezTo>
                  <a:cubicBezTo>
                    <a:pt x="19531" y="7533"/>
                    <a:pt x="19549" y="7574"/>
                    <a:pt x="19549" y="7612"/>
                  </a:cubicBezTo>
                  <a:cubicBezTo>
                    <a:pt x="19549" y="7623"/>
                    <a:pt x="19548" y="7633"/>
                    <a:pt x="19544" y="7644"/>
                  </a:cubicBezTo>
                  <a:cubicBezTo>
                    <a:pt x="19549" y="7659"/>
                    <a:pt x="19459" y="7717"/>
                    <a:pt x="19452" y="7792"/>
                  </a:cubicBezTo>
                  <a:cubicBezTo>
                    <a:pt x="19452" y="7806"/>
                    <a:pt x="19457" y="7822"/>
                    <a:pt x="19468" y="7837"/>
                  </a:cubicBezTo>
                  <a:cubicBezTo>
                    <a:pt x="19480" y="7852"/>
                    <a:pt x="19502" y="7857"/>
                    <a:pt x="19522" y="7851"/>
                  </a:cubicBezTo>
                  <a:cubicBezTo>
                    <a:pt x="19545" y="7860"/>
                    <a:pt x="19583" y="7878"/>
                    <a:pt x="19614" y="7895"/>
                  </a:cubicBezTo>
                  <a:cubicBezTo>
                    <a:pt x="19631" y="7904"/>
                    <a:pt x="19648" y="7914"/>
                    <a:pt x="19662" y="7922"/>
                  </a:cubicBezTo>
                  <a:cubicBezTo>
                    <a:pt x="19633" y="7958"/>
                    <a:pt x="19531" y="8067"/>
                    <a:pt x="19527" y="8145"/>
                  </a:cubicBezTo>
                  <a:cubicBezTo>
                    <a:pt x="19527" y="8152"/>
                    <a:pt x="19528" y="8162"/>
                    <a:pt x="19531" y="8171"/>
                  </a:cubicBezTo>
                  <a:cubicBezTo>
                    <a:pt x="19633" y="8417"/>
                    <a:pt x="19878" y="8363"/>
                    <a:pt x="20000" y="8480"/>
                  </a:cubicBezTo>
                  <a:cubicBezTo>
                    <a:pt x="20019" y="8497"/>
                    <a:pt x="20023" y="8509"/>
                    <a:pt x="20023" y="8525"/>
                  </a:cubicBezTo>
                  <a:cubicBezTo>
                    <a:pt x="20025" y="8551"/>
                    <a:pt x="20001" y="8589"/>
                    <a:pt x="19971" y="8624"/>
                  </a:cubicBezTo>
                  <a:cubicBezTo>
                    <a:pt x="19943" y="8662"/>
                    <a:pt x="19909" y="8688"/>
                    <a:pt x="19904" y="8735"/>
                  </a:cubicBezTo>
                  <a:cubicBezTo>
                    <a:pt x="19902" y="8759"/>
                    <a:pt x="19928" y="8785"/>
                    <a:pt x="19953" y="8791"/>
                  </a:cubicBezTo>
                  <a:cubicBezTo>
                    <a:pt x="20009" y="8811"/>
                    <a:pt x="20004" y="8831"/>
                    <a:pt x="20017" y="8884"/>
                  </a:cubicBezTo>
                  <a:cubicBezTo>
                    <a:pt x="20023" y="8934"/>
                    <a:pt x="20068" y="9007"/>
                    <a:pt x="20195" y="9023"/>
                  </a:cubicBezTo>
                  <a:cubicBezTo>
                    <a:pt x="20390" y="9059"/>
                    <a:pt x="20481" y="9102"/>
                    <a:pt x="20485" y="9255"/>
                  </a:cubicBezTo>
                  <a:cubicBezTo>
                    <a:pt x="20485" y="9264"/>
                    <a:pt x="20485" y="9274"/>
                    <a:pt x="20484" y="9285"/>
                  </a:cubicBezTo>
                  <a:cubicBezTo>
                    <a:pt x="20474" y="9415"/>
                    <a:pt x="20384" y="9540"/>
                    <a:pt x="20288" y="9654"/>
                  </a:cubicBezTo>
                  <a:cubicBezTo>
                    <a:pt x="20229" y="9727"/>
                    <a:pt x="20189" y="9771"/>
                    <a:pt x="20187" y="9828"/>
                  </a:cubicBezTo>
                  <a:cubicBezTo>
                    <a:pt x="20191" y="9904"/>
                    <a:pt x="20262" y="9943"/>
                    <a:pt x="20384" y="10021"/>
                  </a:cubicBezTo>
                  <a:cubicBezTo>
                    <a:pt x="20605" y="10157"/>
                    <a:pt x="20856" y="10244"/>
                    <a:pt x="21079" y="10358"/>
                  </a:cubicBezTo>
                  <a:cubicBezTo>
                    <a:pt x="21243" y="10438"/>
                    <a:pt x="21296" y="10588"/>
                    <a:pt x="21465" y="10711"/>
                  </a:cubicBezTo>
                  <a:cubicBezTo>
                    <a:pt x="21525" y="10755"/>
                    <a:pt x="21535" y="10780"/>
                    <a:pt x="21536" y="10810"/>
                  </a:cubicBezTo>
                  <a:cubicBezTo>
                    <a:pt x="21537" y="10850"/>
                    <a:pt x="21505" y="10910"/>
                    <a:pt x="21491" y="10997"/>
                  </a:cubicBezTo>
                  <a:cubicBezTo>
                    <a:pt x="21446" y="11279"/>
                    <a:pt x="21374" y="11467"/>
                    <a:pt x="21185" y="11707"/>
                  </a:cubicBezTo>
                  <a:cubicBezTo>
                    <a:pt x="20836" y="12147"/>
                    <a:pt x="20570" y="12625"/>
                    <a:pt x="20244" y="13069"/>
                  </a:cubicBezTo>
                  <a:cubicBezTo>
                    <a:pt x="19980" y="13430"/>
                    <a:pt x="19474" y="13893"/>
                    <a:pt x="19166" y="14301"/>
                  </a:cubicBezTo>
                  <a:cubicBezTo>
                    <a:pt x="19161" y="14300"/>
                    <a:pt x="19168" y="14326"/>
                    <a:pt x="19164" y="14326"/>
                  </a:cubicBezTo>
                  <a:cubicBezTo>
                    <a:pt x="19159" y="14340"/>
                    <a:pt x="19142" y="14359"/>
                    <a:pt x="19136" y="14373"/>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3" name="Shape">
              <a:extLst>
                <a:ext uri="{FF2B5EF4-FFF2-40B4-BE49-F238E27FC236}">
                  <a16:creationId xmlns:a16="http://schemas.microsoft.com/office/drawing/2014/main" id="{F4F072A1-6B00-A948-BDAF-14981CFF6A58}"/>
                </a:ext>
              </a:extLst>
            </p:cNvPr>
            <p:cNvSpPr/>
            <p:nvPr/>
          </p:nvSpPr>
          <p:spPr>
            <a:xfrm>
              <a:off x="3251199" y="2273300"/>
              <a:ext cx="987" cy="35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7211" y="12898"/>
                    <a:pt x="14278" y="6757"/>
                    <a:pt x="21600" y="0"/>
                  </a:cubicBezTo>
                  <a:cubicBezTo>
                    <a:pt x="14278" y="6757"/>
                    <a:pt x="7211" y="12898"/>
                    <a:pt x="0" y="21600"/>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4" name="Shape">
              <a:extLst>
                <a:ext uri="{FF2B5EF4-FFF2-40B4-BE49-F238E27FC236}">
                  <a16:creationId xmlns:a16="http://schemas.microsoft.com/office/drawing/2014/main" id="{74C013A3-1801-6245-8270-708DB4925E2F}"/>
                </a:ext>
              </a:extLst>
            </p:cNvPr>
            <p:cNvSpPr/>
            <p:nvPr/>
          </p:nvSpPr>
          <p:spPr>
            <a:xfrm>
              <a:off x="3416299" y="2844799"/>
              <a:ext cx="1738" cy="199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5202" y="7672"/>
                    <a:pt x="5863" y="12990"/>
                    <a:pt x="0" y="21600"/>
                  </a:cubicBezTo>
                  <a:cubicBezTo>
                    <a:pt x="13114" y="19576"/>
                    <a:pt x="19291" y="11241"/>
                    <a:pt x="21600" y="0"/>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5" name="Shape">
              <a:extLst>
                <a:ext uri="{FF2B5EF4-FFF2-40B4-BE49-F238E27FC236}">
                  <a16:creationId xmlns:a16="http://schemas.microsoft.com/office/drawing/2014/main" id="{EEAD2ABA-4ABE-F94E-830B-34A1D1DD281A}"/>
                </a:ext>
              </a:extLst>
            </p:cNvPr>
            <p:cNvSpPr/>
            <p:nvPr/>
          </p:nvSpPr>
          <p:spPr>
            <a:xfrm>
              <a:off x="4648199" y="2666999"/>
              <a:ext cx="2111" cy="683"/>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14489" y="14120"/>
                    <a:pt x="6865" y="8812"/>
                    <a:pt x="0" y="0"/>
                  </a:cubicBezTo>
                  <a:cubicBezTo>
                    <a:pt x="6865" y="8812"/>
                    <a:pt x="14489" y="14120"/>
                    <a:pt x="21600" y="21600"/>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6" name="Shape">
              <a:extLst>
                <a:ext uri="{FF2B5EF4-FFF2-40B4-BE49-F238E27FC236}">
                  <a16:creationId xmlns:a16="http://schemas.microsoft.com/office/drawing/2014/main" id="{2EFF9D0B-4777-4C48-A76B-6C8FB9E91D26}"/>
                </a:ext>
              </a:extLst>
            </p:cNvPr>
            <p:cNvSpPr/>
            <p:nvPr/>
          </p:nvSpPr>
          <p:spPr>
            <a:xfrm>
              <a:off x="1016000" y="1041399"/>
              <a:ext cx="5472934" cy="5429914"/>
            </a:xfrm>
            <a:custGeom>
              <a:avLst/>
              <a:gdLst/>
              <a:ahLst/>
              <a:cxnLst>
                <a:cxn ang="0">
                  <a:pos x="wd2" y="hd2"/>
                </a:cxn>
                <a:cxn ang="5400000">
                  <a:pos x="wd2" y="hd2"/>
                </a:cxn>
                <a:cxn ang="10800000">
                  <a:pos x="wd2" y="hd2"/>
                </a:cxn>
                <a:cxn ang="16200000">
                  <a:pos x="wd2" y="hd2"/>
                </a:cxn>
              </a:cxnLst>
              <a:rect l="0" t="0" r="r" b="b"/>
              <a:pathLst>
                <a:path w="21600" h="21575" extrusionOk="0">
                  <a:moveTo>
                    <a:pt x="3356" y="12846"/>
                  </a:moveTo>
                  <a:cubicBezTo>
                    <a:pt x="3352" y="12846"/>
                    <a:pt x="3348" y="12847"/>
                    <a:pt x="3346" y="12850"/>
                  </a:cubicBezTo>
                  <a:cubicBezTo>
                    <a:pt x="3350" y="12849"/>
                    <a:pt x="3353" y="12847"/>
                    <a:pt x="3356" y="12846"/>
                  </a:cubicBezTo>
                  <a:close/>
                  <a:moveTo>
                    <a:pt x="16507" y="20426"/>
                  </a:moveTo>
                  <a:cubicBezTo>
                    <a:pt x="16503" y="20428"/>
                    <a:pt x="16498" y="20431"/>
                    <a:pt x="16492" y="20435"/>
                  </a:cubicBezTo>
                  <a:cubicBezTo>
                    <a:pt x="16500" y="20435"/>
                    <a:pt x="16504" y="20432"/>
                    <a:pt x="16507" y="20426"/>
                  </a:cubicBezTo>
                  <a:close/>
                  <a:moveTo>
                    <a:pt x="3368" y="12850"/>
                  </a:moveTo>
                  <a:cubicBezTo>
                    <a:pt x="3368" y="12850"/>
                    <a:pt x="3368" y="12850"/>
                    <a:pt x="3368" y="12849"/>
                  </a:cubicBezTo>
                  <a:cubicBezTo>
                    <a:pt x="3368" y="12849"/>
                    <a:pt x="3368" y="12849"/>
                    <a:pt x="3368" y="12849"/>
                  </a:cubicBezTo>
                  <a:cubicBezTo>
                    <a:pt x="3368" y="12850"/>
                    <a:pt x="3368" y="12850"/>
                    <a:pt x="3368" y="12850"/>
                  </a:cubicBezTo>
                  <a:close/>
                  <a:moveTo>
                    <a:pt x="11755" y="6679"/>
                  </a:moveTo>
                  <a:cubicBezTo>
                    <a:pt x="11756" y="6680"/>
                    <a:pt x="11755" y="6679"/>
                    <a:pt x="11754" y="6678"/>
                  </a:cubicBezTo>
                  <a:cubicBezTo>
                    <a:pt x="11754" y="6678"/>
                    <a:pt x="11754" y="6678"/>
                    <a:pt x="11754" y="6678"/>
                  </a:cubicBezTo>
                  <a:cubicBezTo>
                    <a:pt x="11754" y="6678"/>
                    <a:pt x="11755" y="6678"/>
                    <a:pt x="11755" y="6679"/>
                  </a:cubicBezTo>
                  <a:close/>
                  <a:moveTo>
                    <a:pt x="12724" y="4900"/>
                  </a:moveTo>
                  <a:cubicBezTo>
                    <a:pt x="12725" y="4898"/>
                    <a:pt x="12725" y="4896"/>
                    <a:pt x="12725" y="4896"/>
                  </a:cubicBezTo>
                  <a:cubicBezTo>
                    <a:pt x="12724" y="4898"/>
                    <a:pt x="12724" y="4899"/>
                    <a:pt x="12724" y="4900"/>
                  </a:cubicBezTo>
                  <a:close/>
                  <a:moveTo>
                    <a:pt x="13178" y="7383"/>
                  </a:moveTo>
                  <a:cubicBezTo>
                    <a:pt x="13177" y="7377"/>
                    <a:pt x="13176" y="7370"/>
                    <a:pt x="13176" y="7361"/>
                  </a:cubicBezTo>
                  <a:cubicBezTo>
                    <a:pt x="13172" y="7412"/>
                    <a:pt x="13177" y="7399"/>
                    <a:pt x="13178" y="7383"/>
                  </a:cubicBezTo>
                  <a:close/>
                  <a:moveTo>
                    <a:pt x="19018" y="21000"/>
                  </a:moveTo>
                  <a:cubicBezTo>
                    <a:pt x="19025" y="21007"/>
                    <a:pt x="19030" y="21010"/>
                    <a:pt x="19031" y="21009"/>
                  </a:cubicBezTo>
                  <a:cubicBezTo>
                    <a:pt x="19035" y="21001"/>
                    <a:pt x="19029" y="20999"/>
                    <a:pt x="19018" y="21000"/>
                  </a:cubicBezTo>
                  <a:close/>
                  <a:moveTo>
                    <a:pt x="15863" y="20354"/>
                  </a:moveTo>
                  <a:cubicBezTo>
                    <a:pt x="15852" y="20358"/>
                    <a:pt x="15706" y="20441"/>
                    <a:pt x="15705" y="20439"/>
                  </a:cubicBezTo>
                  <a:cubicBezTo>
                    <a:pt x="15724" y="20459"/>
                    <a:pt x="15869" y="20438"/>
                    <a:pt x="15862" y="20418"/>
                  </a:cubicBezTo>
                  <a:cubicBezTo>
                    <a:pt x="15855" y="20398"/>
                    <a:pt x="15922" y="20371"/>
                    <a:pt x="15979" y="20354"/>
                  </a:cubicBezTo>
                  <a:cubicBezTo>
                    <a:pt x="15943" y="20352"/>
                    <a:pt x="15900" y="20339"/>
                    <a:pt x="15863" y="20354"/>
                  </a:cubicBezTo>
                  <a:close/>
                  <a:moveTo>
                    <a:pt x="16124" y="20328"/>
                  </a:moveTo>
                  <a:cubicBezTo>
                    <a:pt x="16124" y="20328"/>
                    <a:pt x="16137" y="20326"/>
                    <a:pt x="16143" y="20322"/>
                  </a:cubicBezTo>
                  <a:cubicBezTo>
                    <a:pt x="16141" y="20321"/>
                    <a:pt x="16139" y="20320"/>
                    <a:pt x="16136" y="20320"/>
                  </a:cubicBezTo>
                  <a:cubicBezTo>
                    <a:pt x="16130" y="20323"/>
                    <a:pt x="16124" y="20328"/>
                    <a:pt x="16124" y="20328"/>
                  </a:cubicBezTo>
                  <a:close/>
                  <a:moveTo>
                    <a:pt x="7658" y="15783"/>
                  </a:moveTo>
                  <a:cubicBezTo>
                    <a:pt x="7658" y="15783"/>
                    <a:pt x="7658" y="15783"/>
                    <a:pt x="7657" y="15784"/>
                  </a:cubicBezTo>
                  <a:cubicBezTo>
                    <a:pt x="7658" y="15784"/>
                    <a:pt x="7658" y="15783"/>
                    <a:pt x="7658" y="15783"/>
                  </a:cubicBezTo>
                  <a:close/>
                  <a:moveTo>
                    <a:pt x="1" y="14748"/>
                  </a:moveTo>
                  <a:cubicBezTo>
                    <a:pt x="0" y="14749"/>
                    <a:pt x="0" y="14749"/>
                    <a:pt x="0" y="14749"/>
                  </a:cubicBezTo>
                  <a:cubicBezTo>
                    <a:pt x="1" y="14749"/>
                    <a:pt x="1" y="14748"/>
                    <a:pt x="1" y="14748"/>
                  </a:cubicBezTo>
                  <a:close/>
                  <a:moveTo>
                    <a:pt x="18879" y="20752"/>
                  </a:moveTo>
                  <a:cubicBezTo>
                    <a:pt x="18789" y="20798"/>
                    <a:pt x="18726" y="20843"/>
                    <a:pt x="18622" y="20854"/>
                  </a:cubicBezTo>
                  <a:cubicBezTo>
                    <a:pt x="18584" y="20857"/>
                    <a:pt x="18454" y="20832"/>
                    <a:pt x="18426" y="20846"/>
                  </a:cubicBezTo>
                  <a:cubicBezTo>
                    <a:pt x="18428" y="20845"/>
                    <a:pt x="18448" y="20951"/>
                    <a:pt x="18446" y="20960"/>
                  </a:cubicBezTo>
                  <a:cubicBezTo>
                    <a:pt x="18433" y="21031"/>
                    <a:pt x="18359" y="20983"/>
                    <a:pt x="18317" y="20993"/>
                  </a:cubicBezTo>
                  <a:cubicBezTo>
                    <a:pt x="18273" y="21004"/>
                    <a:pt x="18261" y="21058"/>
                    <a:pt x="18233" y="21087"/>
                  </a:cubicBezTo>
                  <a:cubicBezTo>
                    <a:pt x="18190" y="21131"/>
                    <a:pt x="18186" y="21064"/>
                    <a:pt x="18148" y="21070"/>
                  </a:cubicBezTo>
                  <a:cubicBezTo>
                    <a:pt x="18123" y="21074"/>
                    <a:pt x="18261" y="21312"/>
                    <a:pt x="18367" y="21301"/>
                  </a:cubicBezTo>
                  <a:cubicBezTo>
                    <a:pt x="18387" y="21300"/>
                    <a:pt x="18555" y="21285"/>
                    <a:pt x="18553" y="21322"/>
                  </a:cubicBezTo>
                  <a:cubicBezTo>
                    <a:pt x="18556" y="21256"/>
                    <a:pt x="18545" y="21267"/>
                    <a:pt x="18633" y="21222"/>
                  </a:cubicBezTo>
                  <a:cubicBezTo>
                    <a:pt x="18686" y="21196"/>
                    <a:pt x="18761" y="21173"/>
                    <a:pt x="18803" y="21130"/>
                  </a:cubicBezTo>
                  <a:cubicBezTo>
                    <a:pt x="18832" y="21101"/>
                    <a:pt x="18791" y="21053"/>
                    <a:pt x="18838" y="21034"/>
                  </a:cubicBezTo>
                  <a:cubicBezTo>
                    <a:pt x="18866" y="21031"/>
                    <a:pt x="18893" y="21032"/>
                    <a:pt x="18921" y="21039"/>
                  </a:cubicBezTo>
                  <a:cubicBezTo>
                    <a:pt x="18909" y="21041"/>
                    <a:pt x="18986" y="21005"/>
                    <a:pt x="19018" y="21000"/>
                  </a:cubicBezTo>
                  <a:cubicBezTo>
                    <a:pt x="18975" y="20962"/>
                    <a:pt x="18834" y="20812"/>
                    <a:pt x="18947" y="20812"/>
                  </a:cubicBezTo>
                  <a:cubicBezTo>
                    <a:pt x="18975" y="20812"/>
                    <a:pt x="19181" y="20602"/>
                    <a:pt x="19193" y="20550"/>
                  </a:cubicBezTo>
                  <a:cubicBezTo>
                    <a:pt x="19143" y="20530"/>
                    <a:pt x="18927" y="20727"/>
                    <a:pt x="18879" y="20752"/>
                  </a:cubicBezTo>
                  <a:close/>
                  <a:moveTo>
                    <a:pt x="21600" y="16351"/>
                  </a:moveTo>
                  <a:cubicBezTo>
                    <a:pt x="21600" y="16350"/>
                    <a:pt x="21600" y="16350"/>
                    <a:pt x="21600" y="16351"/>
                  </a:cubicBezTo>
                  <a:cubicBezTo>
                    <a:pt x="21600" y="16351"/>
                    <a:pt x="21600" y="16351"/>
                    <a:pt x="21600" y="16351"/>
                  </a:cubicBezTo>
                  <a:close/>
                  <a:moveTo>
                    <a:pt x="10239" y="3626"/>
                  </a:moveTo>
                  <a:cubicBezTo>
                    <a:pt x="10239" y="3626"/>
                    <a:pt x="10239" y="3627"/>
                    <a:pt x="10240" y="3628"/>
                  </a:cubicBezTo>
                  <a:cubicBezTo>
                    <a:pt x="10239" y="3627"/>
                    <a:pt x="10239" y="3626"/>
                    <a:pt x="10239" y="3626"/>
                  </a:cubicBezTo>
                  <a:close/>
                  <a:moveTo>
                    <a:pt x="9870" y="4396"/>
                  </a:moveTo>
                  <a:cubicBezTo>
                    <a:pt x="9870" y="4396"/>
                    <a:pt x="9870" y="4396"/>
                    <a:pt x="9869" y="4395"/>
                  </a:cubicBezTo>
                  <a:cubicBezTo>
                    <a:pt x="9866" y="4396"/>
                    <a:pt x="9866" y="4396"/>
                    <a:pt x="9870" y="4396"/>
                  </a:cubicBezTo>
                  <a:close/>
                  <a:moveTo>
                    <a:pt x="8080" y="5217"/>
                  </a:moveTo>
                  <a:cubicBezTo>
                    <a:pt x="8081" y="5216"/>
                    <a:pt x="8082" y="5215"/>
                    <a:pt x="8084" y="5214"/>
                  </a:cubicBezTo>
                  <a:cubicBezTo>
                    <a:pt x="8082" y="5215"/>
                    <a:pt x="8081" y="5216"/>
                    <a:pt x="8080" y="5217"/>
                  </a:cubicBezTo>
                  <a:close/>
                  <a:moveTo>
                    <a:pt x="11873" y="6939"/>
                  </a:moveTo>
                  <a:cubicBezTo>
                    <a:pt x="11873" y="6940"/>
                    <a:pt x="11873" y="6941"/>
                    <a:pt x="11873" y="6941"/>
                  </a:cubicBezTo>
                  <a:cubicBezTo>
                    <a:pt x="11873" y="6940"/>
                    <a:pt x="11873" y="6940"/>
                    <a:pt x="11873" y="6940"/>
                  </a:cubicBezTo>
                  <a:cubicBezTo>
                    <a:pt x="11873" y="6939"/>
                    <a:pt x="11873" y="6939"/>
                    <a:pt x="11873" y="6939"/>
                  </a:cubicBezTo>
                  <a:close/>
                  <a:moveTo>
                    <a:pt x="18831" y="16796"/>
                  </a:moveTo>
                  <a:cubicBezTo>
                    <a:pt x="18824" y="16797"/>
                    <a:pt x="18818" y="16799"/>
                    <a:pt x="18814" y="16801"/>
                  </a:cubicBezTo>
                  <a:cubicBezTo>
                    <a:pt x="18829" y="16797"/>
                    <a:pt x="18841" y="16794"/>
                    <a:pt x="18831" y="16796"/>
                  </a:cubicBezTo>
                  <a:close/>
                  <a:moveTo>
                    <a:pt x="11026" y="2522"/>
                  </a:moveTo>
                  <a:cubicBezTo>
                    <a:pt x="11028" y="2522"/>
                    <a:pt x="11031" y="2523"/>
                    <a:pt x="11033" y="2524"/>
                  </a:cubicBezTo>
                  <a:cubicBezTo>
                    <a:pt x="11030" y="2523"/>
                    <a:pt x="11028" y="2522"/>
                    <a:pt x="11026" y="2522"/>
                  </a:cubicBezTo>
                  <a:close/>
                  <a:moveTo>
                    <a:pt x="11873" y="6940"/>
                  </a:moveTo>
                  <a:cubicBezTo>
                    <a:pt x="11873" y="6940"/>
                    <a:pt x="11873" y="6940"/>
                    <a:pt x="11873" y="6941"/>
                  </a:cubicBezTo>
                  <a:cubicBezTo>
                    <a:pt x="11873" y="6940"/>
                    <a:pt x="11873" y="6940"/>
                    <a:pt x="11873" y="6940"/>
                  </a:cubicBezTo>
                  <a:cubicBezTo>
                    <a:pt x="11873" y="6940"/>
                    <a:pt x="11873" y="6940"/>
                    <a:pt x="11873" y="6940"/>
                  </a:cubicBezTo>
                  <a:close/>
                  <a:moveTo>
                    <a:pt x="7600" y="17796"/>
                  </a:moveTo>
                  <a:cubicBezTo>
                    <a:pt x="7591" y="17786"/>
                    <a:pt x="7539" y="17803"/>
                    <a:pt x="7541" y="17788"/>
                  </a:cubicBezTo>
                  <a:cubicBezTo>
                    <a:pt x="7543" y="17770"/>
                    <a:pt x="7606" y="17759"/>
                    <a:pt x="7621" y="17749"/>
                  </a:cubicBezTo>
                  <a:cubicBezTo>
                    <a:pt x="7601" y="17762"/>
                    <a:pt x="7554" y="17718"/>
                    <a:pt x="7556" y="17730"/>
                  </a:cubicBezTo>
                  <a:cubicBezTo>
                    <a:pt x="7553" y="17707"/>
                    <a:pt x="7594" y="17690"/>
                    <a:pt x="7585" y="17675"/>
                  </a:cubicBezTo>
                  <a:cubicBezTo>
                    <a:pt x="7555" y="17622"/>
                    <a:pt x="7550" y="17683"/>
                    <a:pt x="7534" y="17687"/>
                  </a:cubicBezTo>
                  <a:cubicBezTo>
                    <a:pt x="7533" y="17687"/>
                    <a:pt x="7533" y="17687"/>
                    <a:pt x="7531" y="17687"/>
                  </a:cubicBezTo>
                  <a:cubicBezTo>
                    <a:pt x="7532" y="17687"/>
                    <a:pt x="7533" y="17687"/>
                    <a:pt x="7534" y="17687"/>
                  </a:cubicBezTo>
                  <a:cubicBezTo>
                    <a:pt x="7537" y="17683"/>
                    <a:pt x="7460" y="17642"/>
                    <a:pt x="7456" y="17577"/>
                  </a:cubicBezTo>
                  <a:cubicBezTo>
                    <a:pt x="7382" y="17586"/>
                    <a:pt x="7309" y="17719"/>
                    <a:pt x="7225" y="17743"/>
                  </a:cubicBezTo>
                  <a:cubicBezTo>
                    <a:pt x="7205" y="17748"/>
                    <a:pt x="7045" y="17788"/>
                    <a:pt x="6999" y="17749"/>
                  </a:cubicBezTo>
                  <a:cubicBezTo>
                    <a:pt x="6956" y="17712"/>
                    <a:pt x="7008" y="17717"/>
                    <a:pt x="6972" y="17675"/>
                  </a:cubicBezTo>
                  <a:cubicBezTo>
                    <a:pt x="6995" y="17702"/>
                    <a:pt x="6915" y="17868"/>
                    <a:pt x="6924" y="17907"/>
                  </a:cubicBezTo>
                  <a:cubicBezTo>
                    <a:pt x="6926" y="17896"/>
                    <a:pt x="7026" y="18096"/>
                    <a:pt x="7017" y="18160"/>
                  </a:cubicBezTo>
                  <a:cubicBezTo>
                    <a:pt x="7011" y="18205"/>
                    <a:pt x="6952" y="18275"/>
                    <a:pt x="6973" y="18313"/>
                  </a:cubicBezTo>
                  <a:cubicBezTo>
                    <a:pt x="7011" y="18381"/>
                    <a:pt x="7005" y="18419"/>
                    <a:pt x="7004" y="18426"/>
                  </a:cubicBezTo>
                  <a:cubicBezTo>
                    <a:pt x="7005" y="18428"/>
                    <a:pt x="7005" y="18429"/>
                    <a:pt x="7004" y="18427"/>
                  </a:cubicBezTo>
                  <a:cubicBezTo>
                    <a:pt x="7003" y="18427"/>
                    <a:pt x="7004" y="18426"/>
                    <a:pt x="7004" y="18426"/>
                  </a:cubicBezTo>
                  <a:cubicBezTo>
                    <a:pt x="7000" y="18419"/>
                    <a:pt x="6986" y="18398"/>
                    <a:pt x="6984" y="18404"/>
                  </a:cubicBezTo>
                  <a:cubicBezTo>
                    <a:pt x="6970" y="18443"/>
                    <a:pt x="6904" y="18625"/>
                    <a:pt x="6919" y="18657"/>
                  </a:cubicBezTo>
                  <a:cubicBezTo>
                    <a:pt x="6924" y="18667"/>
                    <a:pt x="6893" y="18766"/>
                    <a:pt x="6887" y="18779"/>
                  </a:cubicBezTo>
                  <a:cubicBezTo>
                    <a:pt x="6886" y="18806"/>
                    <a:pt x="6890" y="18833"/>
                    <a:pt x="6899" y="18860"/>
                  </a:cubicBezTo>
                  <a:cubicBezTo>
                    <a:pt x="6908" y="18876"/>
                    <a:pt x="6958" y="18749"/>
                    <a:pt x="6981" y="18821"/>
                  </a:cubicBezTo>
                  <a:cubicBezTo>
                    <a:pt x="6989" y="18847"/>
                    <a:pt x="6976" y="18918"/>
                    <a:pt x="7004" y="18935"/>
                  </a:cubicBezTo>
                  <a:cubicBezTo>
                    <a:pt x="7013" y="18940"/>
                    <a:pt x="7037" y="18900"/>
                    <a:pt x="7075" y="18926"/>
                  </a:cubicBezTo>
                  <a:cubicBezTo>
                    <a:pt x="7108" y="18948"/>
                    <a:pt x="7128" y="18929"/>
                    <a:pt x="7157" y="18906"/>
                  </a:cubicBezTo>
                  <a:cubicBezTo>
                    <a:pt x="7185" y="18882"/>
                    <a:pt x="7223" y="18795"/>
                    <a:pt x="7228" y="18759"/>
                  </a:cubicBezTo>
                  <a:cubicBezTo>
                    <a:pt x="7227" y="18764"/>
                    <a:pt x="7173" y="18743"/>
                    <a:pt x="7201" y="18725"/>
                  </a:cubicBezTo>
                  <a:cubicBezTo>
                    <a:pt x="7226" y="18709"/>
                    <a:pt x="7378" y="18861"/>
                    <a:pt x="7416" y="18855"/>
                  </a:cubicBezTo>
                  <a:cubicBezTo>
                    <a:pt x="7494" y="18841"/>
                    <a:pt x="7531" y="18457"/>
                    <a:pt x="7548" y="18399"/>
                  </a:cubicBezTo>
                  <a:cubicBezTo>
                    <a:pt x="7559" y="18365"/>
                    <a:pt x="7599" y="18304"/>
                    <a:pt x="7574" y="18268"/>
                  </a:cubicBezTo>
                  <a:cubicBezTo>
                    <a:pt x="7541" y="18223"/>
                    <a:pt x="7527" y="18193"/>
                    <a:pt x="7573" y="18148"/>
                  </a:cubicBezTo>
                  <a:cubicBezTo>
                    <a:pt x="7648" y="18075"/>
                    <a:pt x="7653" y="18074"/>
                    <a:pt x="7629" y="17989"/>
                  </a:cubicBezTo>
                  <a:cubicBezTo>
                    <a:pt x="7606" y="17911"/>
                    <a:pt x="7634" y="17836"/>
                    <a:pt x="7600" y="17796"/>
                  </a:cubicBezTo>
                  <a:close/>
                  <a:moveTo>
                    <a:pt x="7243" y="16873"/>
                  </a:moveTo>
                  <a:cubicBezTo>
                    <a:pt x="7242" y="16871"/>
                    <a:pt x="7241" y="16869"/>
                    <a:pt x="7241" y="16868"/>
                  </a:cubicBezTo>
                  <a:cubicBezTo>
                    <a:pt x="7241" y="16871"/>
                    <a:pt x="7242" y="16872"/>
                    <a:pt x="7243" y="16873"/>
                  </a:cubicBezTo>
                  <a:close/>
                  <a:moveTo>
                    <a:pt x="7004" y="18426"/>
                  </a:moveTo>
                  <a:cubicBezTo>
                    <a:pt x="7004" y="18426"/>
                    <a:pt x="7003" y="18427"/>
                    <a:pt x="7004" y="18427"/>
                  </a:cubicBezTo>
                  <a:cubicBezTo>
                    <a:pt x="7005" y="18429"/>
                    <a:pt x="7005" y="18428"/>
                    <a:pt x="7004" y="18426"/>
                  </a:cubicBezTo>
                  <a:close/>
                  <a:moveTo>
                    <a:pt x="7669" y="16561"/>
                  </a:moveTo>
                  <a:cubicBezTo>
                    <a:pt x="7655" y="16555"/>
                    <a:pt x="7641" y="16553"/>
                    <a:pt x="7626" y="16555"/>
                  </a:cubicBezTo>
                  <a:cubicBezTo>
                    <a:pt x="7647" y="16614"/>
                    <a:pt x="7589" y="16628"/>
                    <a:pt x="7607" y="16680"/>
                  </a:cubicBezTo>
                  <a:cubicBezTo>
                    <a:pt x="7637" y="16761"/>
                    <a:pt x="7574" y="16726"/>
                    <a:pt x="7542" y="16706"/>
                  </a:cubicBezTo>
                  <a:cubicBezTo>
                    <a:pt x="7504" y="16682"/>
                    <a:pt x="7396" y="16791"/>
                    <a:pt x="7348" y="16784"/>
                  </a:cubicBezTo>
                  <a:cubicBezTo>
                    <a:pt x="7343" y="16775"/>
                    <a:pt x="7337" y="16768"/>
                    <a:pt x="7329" y="16761"/>
                  </a:cubicBezTo>
                  <a:cubicBezTo>
                    <a:pt x="7333" y="16758"/>
                    <a:pt x="7294" y="16814"/>
                    <a:pt x="7293" y="16815"/>
                  </a:cubicBezTo>
                  <a:cubicBezTo>
                    <a:pt x="7305" y="16798"/>
                    <a:pt x="7252" y="16875"/>
                    <a:pt x="7243" y="16873"/>
                  </a:cubicBezTo>
                  <a:cubicBezTo>
                    <a:pt x="7250" y="16892"/>
                    <a:pt x="7301" y="16932"/>
                    <a:pt x="7289" y="16945"/>
                  </a:cubicBezTo>
                  <a:cubicBezTo>
                    <a:pt x="7247" y="16988"/>
                    <a:pt x="7194" y="16952"/>
                    <a:pt x="7274" y="17038"/>
                  </a:cubicBezTo>
                  <a:cubicBezTo>
                    <a:pt x="7317" y="17085"/>
                    <a:pt x="7288" y="17082"/>
                    <a:pt x="7242" y="17108"/>
                  </a:cubicBezTo>
                  <a:cubicBezTo>
                    <a:pt x="7161" y="17154"/>
                    <a:pt x="7309" y="17151"/>
                    <a:pt x="7310" y="17167"/>
                  </a:cubicBezTo>
                  <a:cubicBezTo>
                    <a:pt x="7316" y="17220"/>
                    <a:pt x="7237" y="17219"/>
                    <a:pt x="7233" y="17245"/>
                  </a:cubicBezTo>
                  <a:cubicBezTo>
                    <a:pt x="7227" y="17287"/>
                    <a:pt x="7335" y="17262"/>
                    <a:pt x="7344" y="17302"/>
                  </a:cubicBezTo>
                  <a:cubicBezTo>
                    <a:pt x="7349" y="17326"/>
                    <a:pt x="7208" y="17344"/>
                    <a:pt x="7301" y="17398"/>
                  </a:cubicBezTo>
                  <a:cubicBezTo>
                    <a:pt x="7328" y="17414"/>
                    <a:pt x="7401" y="17412"/>
                    <a:pt x="7402" y="17446"/>
                  </a:cubicBezTo>
                  <a:cubicBezTo>
                    <a:pt x="7407" y="17575"/>
                    <a:pt x="7488" y="17419"/>
                    <a:pt x="7524" y="17397"/>
                  </a:cubicBezTo>
                  <a:cubicBezTo>
                    <a:pt x="7516" y="17389"/>
                    <a:pt x="7507" y="17381"/>
                    <a:pt x="7497" y="17374"/>
                  </a:cubicBezTo>
                  <a:cubicBezTo>
                    <a:pt x="7498" y="17370"/>
                    <a:pt x="7563" y="17315"/>
                    <a:pt x="7568" y="17277"/>
                  </a:cubicBezTo>
                  <a:cubicBezTo>
                    <a:pt x="7578" y="17198"/>
                    <a:pt x="7573" y="17168"/>
                    <a:pt x="7622" y="17104"/>
                  </a:cubicBezTo>
                  <a:cubicBezTo>
                    <a:pt x="7654" y="17061"/>
                    <a:pt x="7673" y="16809"/>
                    <a:pt x="7672" y="16820"/>
                  </a:cubicBezTo>
                  <a:cubicBezTo>
                    <a:pt x="7673" y="16809"/>
                    <a:pt x="7634" y="16775"/>
                    <a:pt x="7646" y="16736"/>
                  </a:cubicBezTo>
                  <a:cubicBezTo>
                    <a:pt x="7659" y="16690"/>
                    <a:pt x="7723" y="16610"/>
                    <a:pt x="7669" y="16561"/>
                  </a:cubicBezTo>
                  <a:close/>
                  <a:moveTo>
                    <a:pt x="3000" y="7882"/>
                  </a:moveTo>
                  <a:cubicBezTo>
                    <a:pt x="2998" y="7882"/>
                    <a:pt x="2996" y="7882"/>
                    <a:pt x="2995" y="7882"/>
                  </a:cubicBezTo>
                  <a:cubicBezTo>
                    <a:pt x="2996" y="7883"/>
                    <a:pt x="2998" y="7883"/>
                    <a:pt x="3000" y="7882"/>
                  </a:cubicBezTo>
                  <a:close/>
                  <a:moveTo>
                    <a:pt x="7899" y="16751"/>
                  </a:moveTo>
                  <a:cubicBezTo>
                    <a:pt x="7898" y="16750"/>
                    <a:pt x="8073" y="16742"/>
                    <a:pt x="8079" y="16775"/>
                  </a:cubicBezTo>
                  <a:cubicBezTo>
                    <a:pt x="8085" y="16752"/>
                    <a:pt x="8083" y="16729"/>
                    <a:pt x="8085" y="16706"/>
                  </a:cubicBezTo>
                  <a:cubicBezTo>
                    <a:pt x="8084" y="16706"/>
                    <a:pt x="7872" y="16726"/>
                    <a:pt x="7899" y="16751"/>
                  </a:cubicBezTo>
                  <a:close/>
                  <a:moveTo>
                    <a:pt x="8079" y="16775"/>
                  </a:moveTo>
                  <a:cubicBezTo>
                    <a:pt x="8078" y="16778"/>
                    <a:pt x="8077" y="16781"/>
                    <a:pt x="8076" y="16784"/>
                  </a:cubicBezTo>
                  <a:cubicBezTo>
                    <a:pt x="8079" y="16781"/>
                    <a:pt x="8079" y="16777"/>
                    <a:pt x="8079" y="16775"/>
                  </a:cubicBezTo>
                  <a:close/>
                  <a:moveTo>
                    <a:pt x="1525" y="9425"/>
                  </a:moveTo>
                  <a:cubicBezTo>
                    <a:pt x="1540" y="9439"/>
                    <a:pt x="1567" y="9392"/>
                    <a:pt x="1584" y="9408"/>
                  </a:cubicBezTo>
                  <a:cubicBezTo>
                    <a:pt x="1604" y="9426"/>
                    <a:pt x="1550" y="9457"/>
                    <a:pt x="1566" y="9475"/>
                  </a:cubicBezTo>
                  <a:cubicBezTo>
                    <a:pt x="1578" y="9488"/>
                    <a:pt x="1791" y="9487"/>
                    <a:pt x="1791" y="9488"/>
                  </a:cubicBezTo>
                  <a:cubicBezTo>
                    <a:pt x="1776" y="9524"/>
                    <a:pt x="1539" y="9499"/>
                    <a:pt x="1545" y="9544"/>
                  </a:cubicBezTo>
                  <a:cubicBezTo>
                    <a:pt x="1549" y="9568"/>
                    <a:pt x="1738" y="9600"/>
                    <a:pt x="1759" y="9572"/>
                  </a:cubicBezTo>
                  <a:cubicBezTo>
                    <a:pt x="1787" y="9534"/>
                    <a:pt x="1812" y="9592"/>
                    <a:pt x="1791" y="9601"/>
                  </a:cubicBezTo>
                  <a:cubicBezTo>
                    <a:pt x="1743" y="9621"/>
                    <a:pt x="1671" y="9594"/>
                    <a:pt x="1629" y="9624"/>
                  </a:cubicBezTo>
                  <a:cubicBezTo>
                    <a:pt x="1640" y="9616"/>
                    <a:pt x="1729" y="9648"/>
                    <a:pt x="1744" y="9631"/>
                  </a:cubicBezTo>
                  <a:cubicBezTo>
                    <a:pt x="1730" y="9647"/>
                    <a:pt x="1599" y="9650"/>
                    <a:pt x="1616" y="9684"/>
                  </a:cubicBezTo>
                  <a:cubicBezTo>
                    <a:pt x="1611" y="9675"/>
                    <a:pt x="1695" y="9696"/>
                    <a:pt x="1697" y="9697"/>
                  </a:cubicBezTo>
                  <a:cubicBezTo>
                    <a:pt x="1714" y="9699"/>
                    <a:pt x="1759" y="9673"/>
                    <a:pt x="1765" y="9673"/>
                  </a:cubicBezTo>
                  <a:cubicBezTo>
                    <a:pt x="1759" y="9673"/>
                    <a:pt x="1776" y="9747"/>
                    <a:pt x="1792" y="9754"/>
                  </a:cubicBezTo>
                  <a:cubicBezTo>
                    <a:pt x="1841" y="9775"/>
                    <a:pt x="1849" y="9698"/>
                    <a:pt x="1913" y="9752"/>
                  </a:cubicBezTo>
                  <a:cubicBezTo>
                    <a:pt x="1938" y="9773"/>
                    <a:pt x="1962" y="9749"/>
                    <a:pt x="1998" y="9772"/>
                  </a:cubicBezTo>
                  <a:cubicBezTo>
                    <a:pt x="1976" y="9758"/>
                    <a:pt x="2088" y="9763"/>
                    <a:pt x="2094" y="9771"/>
                  </a:cubicBezTo>
                  <a:cubicBezTo>
                    <a:pt x="2098" y="9761"/>
                    <a:pt x="2084" y="9721"/>
                    <a:pt x="2101" y="9728"/>
                  </a:cubicBezTo>
                  <a:cubicBezTo>
                    <a:pt x="2119" y="9735"/>
                    <a:pt x="2160" y="9741"/>
                    <a:pt x="2188" y="9731"/>
                  </a:cubicBezTo>
                  <a:cubicBezTo>
                    <a:pt x="2202" y="9726"/>
                    <a:pt x="2239" y="9726"/>
                    <a:pt x="2260" y="9728"/>
                  </a:cubicBezTo>
                  <a:cubicBezTo>
                    <a:pt x="2296" y="9732"/>
                    <a:pt x="2343" y="9721"/>
                    <a:pt x="2358" y="9715"/>
                  </a:cubicBezTo>
                  <a:cubicBezTo>
                    <a:pt x="2380" y="9706"/>
                    <a:pt x="2302" y="9672"/>
                    <a:pt x="2382" y="9671"/>
                  </a:cubicBezTo>
                  <a:cubicBezTo>
                    <a:pt x="2391" y="9671"/>
                    <a:pt x="2543" y="9717"/>
                    <a:pt x="2504" y="9655"/>
                  </a:cubicBezTo>
                  <a:cubicBezTo>
                    <a:pt x="2465" y="9594"/>
                    <a:pt x="2627" y="9671"/>
                    <a:pt x="2692" y="9665"/>
                  </a:cubicBezTo>
                  <a:cubicBezTo>
                    <a:pt x="2684" y="9669"/>
                    <a:pt x="2678" y="9673"/>
                    <a:pt x="2673" y="9680"/>
                  </a:cubicBezTo>
                  <a:cubicBezTo>
                    <a:pt x="2712" y="9750"/>
                    <a:pt x="2735" y="9618"/>
                    <a:pt x="2739" y="9609"/>
                  </a:cubicBezTo>
                  <a:cubicBezTo>
                    <a:pt x="2715" y="9671"/>
                    <a:pt x="2909" y="9758"/>
                    <a:pt x="2928" y="9746"/>
                  </a:cubicBezTo>
                  <a:cubicBezTo>
                    <a:pt x="2978" y="9714"/>
                    <a:pt x="2918" y="9670"/>
                    <a:pt x="2941" y="9644"/>
                  </a:cubicBezTo>
                  <a:cubicBezTo>
                    <a:pt x="2936" y="9650"/>
                    <a:pt x="3019" y="9592"/>
                    <a:pt x="3023" y="9590"/>
                  </a:cubicBezTo>
                  <a:cubicBezTo>
                    <a:pt x="3099" y="9551"/>
                    <a:pt x="3109" y="9442"/>
                    <a:pt x="3184" y="9390"/>
                  </a:cubicBezTo>
                  <a:cubicBezTo>
                    <a:pt x="3234" y="9355"/>
                    <a:pt x="3235" y="9252"/>
                    <a:pt x="3242" y="9199"/>
                  </a:cubicBezTo>
                  <a:cubicBezTo>
                    <a:pt x="3244" y="9175"/>
                    <a:pt x="3211" y="9129"/>
                    <a:pt x="3223" y="9111"/>
                  </a:cubicBezTo>
                  <a:cubicBezTo>
                    <a:pt x="3259" y="9057"/>
                    <a:pt x="3263" y="9137"/>
                    <a:pt x="3280" y="9123"/>
                  </a:cubicBezTo>
                  <a:cubicBezTo>
                    <a:pt x="3288" y="9117"/>
                    <a:pt x="3275" y="9060"/>
                    <a:pt x="3303" y="9033"/>
                  </a:cubicBezTo>
                  <a:cubicBezTo>
                    <a:pt x="3317" y="9019"/>
                    <a:pt x="3295" y="8902"/>
                    <a:pt x="3315" y="8861"/>
                  </a:cubicBezTo>
                  <a:cubicBezTo>
                    <a:pt x="3354" y="8778"/>
                    <a:pt x="3272" y="8834"/>
                    <a:pt x="3286" y="8782"/>
                  </a:cubicBezTo>
                  <a:cubicBezTo>
                    <a:pt x="3313" y="8678"/>
                    <a:pt x="3383" y="8783"/>
                    <a:pt x="3392" y="8760"/>
                  </a:cubicBezTo>
                  <a:cubicBezTo>
                    <a:pt x="3386" y="8738"/>
                    <a:pt x="3378" y="8717"/>
                    <a:pt x="3367" y="8697"/>
                  </a:cubicBezTo>
                  <a:cubicBezTo>
                    <a:pt x="3435" y="8723"/>
                    <a:pt x="3439" y="8785"/>
                    <a:pt x="3497" y="8691"/>
                  </a:cubicBezTo>
                  <a:cubicBezTo>
                    <a:pt x="3521" y="8651"/>
                    <a:pt x="3555" y="8664"/>
                    <a:pt x="3591" y="8675"/>
                  </a:cubicBezTo>
                  <a:cubicBezTo>
                    <a:pt x="3638" y="8689"/>
                    <a:pt x="3658" y="8609"/>
                    <a:pt x="3641" y="8607"/>
                  </a:cubicBezTo>
                  <a:cubicBezTo>
                    <a:pt x="3626" y="8613"/>
                    <a:pt x="3612" y="8614"/>
                    <a:pt x="3597" y="8612"/>
                  </a:cubicBezTo>
                  <a:cubicBezTo>
                    <a:pt x="3595" y="8613"/>
                    <a:pt x="3594" y="8613"/>
                    <a:pt x="3593" y="8612"/>
                  </a:cubicBezTo>
                  <a:cubicBezTo>
                    <a:pt x="3595" y="8612"/>
                    <a:pt x="3596" y="8612"/>
                    <a:pt x="3597" y="8612"/>
                  </a:cubicBezTo>
                  <a:cubicBezTo>
                    <a:pt x="3612" y="8602"/>
                    <a:pt x="3666" y="8499"/>
                    <a:pt x="3654" y="8496"/>
                  </a:cubicBezTo>
                  <a:cubicBezTo>
                    <a:pt x="3716" y="8509"/>
                    <a:pt x="3628" y="8635"/>
                    <a:pt x="3654" y="8645"/>
                  </a:cubicBezTo>
                  <a:cubicBezTo>
                    <a:pt x="3701" y="8662"/>
                    <a:pt x="3726" y="8471"/>
                    <a:pt x="3711" y="8443"/>
                  </a:cubicBezTo>
                  <a:cubicBezTo>
                    <a:pt x="3678" y="8383"/>
                    <a:pt x="3628" y="8465"/>
                    <a:pt x="3588" y="8450"/>
                  </a:cubicBezTo>
                  <a:cubicBezTo>
                    <a:pt x="3545" y="8434"/>
                    <a:pt x="3742" y="8370"/>
                    <a:pt x="3700" y="8343"/>
                  </a:cubicBezTo>
                  <a:cubicBezTo>
                    <a:pt x="3607" y="8282"/>
                    <a:pt x="3701" y="8126"/>
                    <a:pt x="3611" y="8075"/>
                  </a:cubicBezTo>
                  <a:cubicBezTo>
                    <a:pt x="3539" y="8034"/>
                    <a:pt x="3465" y="8003"/>
                    <a:pt x="3380" y="7995"/>
                  </a:cubicBezTo>
                  <a:cubicBezTo>
                    <a:pt x="3388" y="7996"/>
                    <a:pt x="3260" y="8119"/>
                    <a:pt x="3262" y="8035"/>
                  </a:cubicBezTo>
                  <a:cubicBezTo>
                    <a:pt x="3263" y="8006"/>
                    <a:pt x="3399" y="7968"/>
                    <a:pt x="3401" y="7972"/>
                  </a:cubicBezTo>
                  <a:cubicBezTo>
                    <a:pt x="3388" y="7946"/>
                    <a:pt x="3329" y="7844"/>
                    <a:pt x="3290" y="7863"/>
                  </a:cubicBezTo>
                  <a:cubicBezTo>
                    <a:pt x="3281" y="7867"/>
                    <a:pt x="3300" y="7910"/>
                    <a:pt x="3306" y="7912"/>
                  </a:cubicBezTo>
                  <a:cubicBezTo>
                    <a:pt x="3277" y="7901"/>
                    <a:pt x="3210" y="7831"/>
                    <a:pt x="3202" y="7916"/>
                  </a:cubicBezTo>
                  <a:cubicBezTo>
                    <a:pt x="3202" y="7921"/>
                    <a:pt x="3199" y="7936"/>
                    <a:pt x="3194" y="7952"/>
                  </a:cubicBezTo>
                  <a:cubicBezTo>
                    <a:pt x="3199" y="7961"/>
                    <a:pt x="3194" y="7969"/>
                    <a:pt x="3185" y="7977"/>
                  </a:cubicBezTo>
                  <a:cubicBezTo>
                    <a:pt x="3170" y="8018"/>
                    <a:pt x="3146" y="8058"/>
                    <a:pt x="3120" y="8031"/>
                  </a:cubicBezTo>
                  <a:cubicBezTo>
                    <a:pt x="3107" y="8017"/>
                    <a:pt x="3161" y="7998"/>
                    <a:pt x="3185" y="7977"/>
                  </a:cubicBezTo>
                  <a:cubicBezTo>
                    <a:pt x="3188" y="7969"/>
                    <a:pt x="3191" y="7960"/>
                    <a:pt x="3194" y="7952"/>
                  </a:cubicBezTo>
                  <a:cubicBezTo>
                    <a:pt x="3191" y="7947"/>
                    <a:pt x="3184" y="7941"/>
                    <a:pt x="3172" y="7936"/>
                  </a:cubicBezTo>
                  <a:cubicBezTo>
                    <a:pt x="3162" y="7931"/>
                    <a:pt x="3071" y="7861"/>
                    <a:pt x="3072" y="7851"/>
                  </a:cubicBezTo>
                  <a:cubicBezTo>
                    <a:pt x="3051" y="7869"/>
                    <a:pt x="3027" y="7879"/>
                    <a:pt x="3000" y="7882"/>
                  </a:cubicBezTo>
                  <a:cubicBezTo>
                    <a:pt x="2998" y="7883"/>
                    <a:pt x="2996" y="7883"/>
                    <a:pt x="2995" y="7882"/>
                  </a:cubicBezTo>
                  <a:cubicBezTo>
                    <a:pt x="2996" y="7882"/>
                    <a:pt x="2998" y="7882"/>
                    <a:pt x="3000" y="7882"/>
                  </a:cubicBezTo>
                  <a:cubicBezTo>
                    <a:pt x="3010" y="7874"/>
                    <a:pt x="3013" y="7832"/>
                    <a:pt x="2966" y="7849"/>
                  </a:cubicBezTo>
                  <a:cubicBezTo>
                    <a:pt x="2973" y="7847"/>
                    <a:pt x="2892" y="7935"/>
                    <a:pt x="2895" y="7949"/>
                  </a:cubicBezTo>
                  <a:cubicBezTo>
                    <a:pt x="2894" y="7950"/>
                    <a:pt x="2837" y="7942"/>
                    <a:pt x="2857" y="7966"/>
                  </a:cubicBezTo>
                  <a:cubicBezTo>
                    <a:pt x="2859" y="7968"/>
                    <a:pt x="2908" y="7990"/>
                    <a:pt x="2900" y="7994"/>
                  </a:cubicBezTo>
                  <a:cubicBezTo>
                    <a:pt x="2890" y="7992"/>
                    <a:pt x="2880" y="7992"/>
                    <a:pt x="2870" y="7993"/>
                  </a:cubicBezTo>
                  <a:cubicBezTo>
                    <a:pt x="2875" y="8002"/>
                    <a:pt x="2879" y="8011"/>
                    <a:pt x="2883" y="8020"/>
                  </a:cubicBezTo>
                  <a:cubicBezTo>
                    <a:pt x="2877" y="8027"/>
                    <a:pt x="2814" y="7977"/>
                    <a:pt x="2807" y="7999"/>
                  </a:cubicBezTo>
                  <a:cubicBezTo>
                    <a:pt x="2803" y="8014"/>
                    <a:pt x="2726" y="8020"/>
                    <a:pt x="2704" y="8038"/>
                  </a:cubicBezTo>
                  <a:cubicBezTo>
                    <a:pt x="2666" y="8069"/>
                    <a:pt x="2726" y="8098"/>
                    <a:pt x="2749" y="8106"/>
                  </a:cubicBezTo>
                  <a:cubicBezTo>
                    <a:pt x="2830" y="8136"/>
                    <a:pt x="2742" y="8122"/>
                    <a:pt x="2776" y="8159"/>
                  </a:cubicBezTo>
                  <a:cubicBezTo>
                    <a:pt x="2755" y="8136"/>
                    <a:pt x="2913" y="8158"/>
                    <a:pt x="2901" y="8168"/>
                  </a:cubicBezTo>
                  <a:cubicBezTo>
                    <a:pt x="2873" y="8190"/>
                    <a:pt x="2817" y="8245"/>
                    <a:pt x="2781" y="8216"/>
                  </a:cubicBezTo>
                  <a:cubicBezTo>
                    <a:pt x="2767" y="8204"/>
                    <a:pt x="2669" y="8227"/>
                    <a:pt x="2663" y="8241"/>
                  </a:cubicBezTo>
                  <a:cubicBezTo>
                    <a:pt x="2659" y="8250"/>
                    <a:pt x="2702" y="8313"/>
                    <a:pt x="2706" y="8314"/>
                  </a:cubicBezTo>
                  <a:cubicBezTo>
                    <a:pt x="2695" y="8306"/>
                    <a:pt x="2684" y="8298"/>
                    <a:pt x="2673" y="8289"/>
                  </a:cubicBezTo>
                  <a:cubicBezTo>
                    <a:pt x="2639" y="8282"/>
                    <a:pt x="2601" y="8284"/>
                    <a:pt x="2587" y="8275"/>
                  </a:cubicBezTo>
                  <a:cubicBezTo>
                    <a:pt x="2563" y="8259"/>
                    <a:pt x="2566" y="8220"/>
                    <a:pt x="2527" y="8227"/>
                  </a:cubicBezTo>
                  <a:cubicBezTo>
                    <a:pt x="2514" y="8232"/>
                    <a:pt x="2485" y="8284"/>
                    <a:pt x="2474" y="8280"/>
                  </a:cubicBezTo>
                  <a:cubicBezTo>
                    <a:pt x="2429" y="8267"/>
                    <a:pt x="2505" y="8180"/>
                    <a:pt x="2447" y="8171"/>
                  </a:cubicBezTo>
                  <a:cubicBezTo>
                    <a:pt x="2408" y="8164"/>
                    <a:pt x="2412" y="8175"/>
                    <a:pt x="2368" y="8135"/>
                  </a:cubicBezTo>
                  <a:cubicBezTo>
                    <a:pt x="2299" y="8072"/>
                    <a:pt x="2216" y="8148"/>
                    <a:pt x="2190" y="8216"/>
                  </a:cubicBezTo>
                  <a:cubicBezTo>
                    <a:pt x="2182" y="8236"/>
                    <a:pt x="2243" y="8213"/>
                    <a:pt x="2243" y="8213"/>
                  </a:cubicBezTo>
                  <a:cubicBezTo>
                    <a:pt x="2243" y="8216"/>
                    <a:pt x="2167" y="8323"/>
                    <a:pt x="2211" y="8329"/>
                  </a:cubicBezTo>
                  <a:cubicBezTo>
                    <a:pt x="2184" y="8326"/>
                    <a:pt x="2167" y="8292"/>
                    <a:pt x="2142" y="8283"/>
                  </a:cubicBezTo>
                  <a:cubicBezTo>
                    <a:pt x="2127" y="8278"/>
                    <a:pt x="2142" y="8337"/>
                    <a:pt x="2166" y="8342"/>
                  </a:cubicBezTo>
                  <a:cubicBezTo>
                    <a:pt x="2189" y="8346"/>
                    <a:pt x="2261" y="8341"/>
                    <a:pt x="2273" y="8368"/>
                  </a:cubicBezTo>
                  <a:cubicBezTo>
                    <a:pt x="2268" y="8357"/>
                    <a:pt x="2254" y="8437"/>
                    <a:pt x="2257" y="8426"/>
                  </a:cubicBezTo>
                  <a:cubicBezTo>
                    <a:pt x="2250" y="8455"/>
                    <a:pt x="2133" y="8366"/>
                    <a:pt x="2110" y="8425"/>
                  </a:cubicBezTo>
                  <a:cubicBezTo>
                    <a:pt x="2079" y="8503"/>
                    <a:pt x="2099" y="8461"/>
                    <a:pt x="1992" y="8473"/>
                  </a:cubicBezTo>
                  <a:cubicBezTo>
                    <a:pt x="2005" y="8471"/>
                    <a:pt x="2027" y="8536"/>
                    <a:pt x="2015" y="8549"/>
                  </a:cubicBezTo>
                  <a:cubicBezTo>
                    <a:pt x="2020" y="8544"/>
                    <a:pt x="1941" y="8524"/>
                    <a:pt x="1961" y="8557"/>
                  </a:cubicBezTo>
                  <a:cubicBezTo>
                    <a:pt x="1973" y="8578"/>
                    <a:pt x="2078" y="8622"/>
                    <a:pt x="2088" y="8615"/>
                  </a:cubicBezTo>
                  <a:cubicBezTo>
                    <a:pt x="2079" y="8621"/>
                    <a:pt x="2023" y="8620"/>
                    <a:pt x="2031" y="8643"/>
                  </a:cubicBezTo>
                  <a:cubicBezTo>
                    <a:pt x="2048" y="8697"/>
                    <a:pt x="2121" y="8631"/>
                    <a:pt x="2133" y="8655"/>
                  </a:cubicBezTo>
                  <a:cubicBezTo>
                    <a:pt x="2160" y="8713"/>
                    <a:pt x="2035" y="8701"/>
                    <a:pt x="2142" y="8756"/>
                  </a:cubicBezTo>
                  <a:cubicBezTo>
                    <a:pt x="2154" y="8762"/>
                    <a:pt x="2327" y="8801"/>
                    <a:pt x="2327" y="8805"/>
                  </a:cubicBezTo>
                  <a:cubicBezTo>
                    <a:pt x="2316" y="8811"/>
                    <a:pt x="2305" y="8817"/>
                    <a:pt x="2294" y="8823"/>
                  </a:cubicBezTo>
                  <a:cubicBezTo>
                    <a:pt x="2305" y="8828"/>
                    <a:pt x="2316" y="8833"/>
                    <a:pt x="2327" y="8837"/>
                  </a:cubicBezTo>
                  <a:cubicBezTo>
                    <a:pt x="2331" y="8874"/>
                    <a:pt x="2237" y="8845"/>
                    <a:pt x="2242" y="8844"/>
                  </a:cubicBezTo>
                  <a:cubicBezTo>
                    <a:pt x="2244" y="8849"/>
                    <a:pt x="2246" y="8853"/>
                    <a:pt x="2248" y="8858"/>
                  </a:cubicBezTo>
                  <a:cubicBezTo>
                    <a:pt x="2209" y="8887"/>
                    <a:pt x="2217" y="8799"/>
                    <a:pt x="2170" y="8837"/>
                  </a:cubicBezTo>
                  <a:cubicBezTo>
                    <a:pt x="2163" y="8843"/>
                    <a:pt x="2076" y="8910"/>
                    <a:pt x="2078" y="8915"/>
                  </a:cubicBezTo>
                  <a:cubicBezTo>
                    <a:pt x="2091" y="8920"/>
                    <a:pt x="2104" y="8925"/>
                    <a:pt x="2116" y="8931"/>
                  </a:cubicBezTo>
                  <a:cubicBezTo>
                    <a:pt x="2084" y="8949"/>
                    <a:pt x="2049" y="9024"/>
                    <a:pt x="2007" y="9010"/>
                  </a:cubicBezTo>
                  <a:cubicBezTo>
                    <a:pt x="1997" y="9007"/>
                    <a:pt x="1846" y="9044"/>
                    <a:pt x="1841" y="9051"/>
                  </a:cubicBezTo>
                  <a:cubicBezTo>
                    <a:pt x="1821" y="9084"/>
                    <a:pt x="1923" y="9072"/>
                    <a:pt x="1969" y="9060"/>
                  </a:cubicBezTo>
                  <a:cubicBezTo>
                    <a:pt x="1984" y="9056"/>
                    <a:pt x="1990" y="9059"/>
                    <a:pt x="2000" y="9072"/>
                  </a:cubicBezTo>
                  <a:cubicBezTo>
                    <a:pt x="2012" y="9088"/>
                    <a:pt x="2055" y="9118"/>
                    <a:pt x="2044" y="9113"/>
                  </a:cubicBezTo>
                  <a:cubicBezTo>
                    <a:pt x="2056" y="9119"/>
                    <a:pt x="2089" y="9130"/>
                    <a:pt x="2092" y="9123"/>
                  </a:cubicBezTo>
                  <a:cubicBezTo>
                    <a:pt x="2137" y="9109"/>
                    <a:pt x="2192" y="9065"/>
                    <a:pt x="2201" y="9077"/>
                  </a:cubicBezTo>
                  <a:cubicBezTo>
                    <a:pt x="2202" y="9078"/>
                    <a:pt x="2202" y="9119"/>
                    <a:pt x="2214" y="9144"/>
                  </a:cubicBezTo>
                  <a:cubicBezTo>
                    <a:pt x="2222" y="9160"/>
                    <a:pt x="2225" y="9169"/>
                    <a:pt x="2208" y="9167"/>
                  </a:cubicBezTo>
                  <a:cubicBezTo>
                    <a:pt x="2168" y="9163"/>
                    <a:pt x="2122" y="9145"/>
                    <a:pt x="2080" y="9131"/>
                  </a:cubicBezTo>
                  <a:cubicBezTo>
                    <a:pt x="2065" y="9136"/>
                    <a:pt x="2039" y="9127"/>
                    <a:pt x="2039" y="9124"/>
                  </a:cubicBezTo>
                  <a:cubicBezTo>
                    <a:pt x="2026" y="9121"/>
                    <a:pt x="2018" y="9113"/>
                    <a:pt x="2007" y="9113"/>
                  </a:cubicBezTo>
                  <a:cubicBezTo>
                    <a:pt x="1978" y="9112"/>
                    <a:pt x="2007" y="9156"/>
                    <a:pt x="1964" y="9109"/>
                  </a:cubicBezTo>
                  <a:cubicBezTo>
                    <a:pt x="1906" y="9047"/>
                    <a:pt x="1924" y="9138"/>
                    <a:pt x="1915" y="9149"/>
                  </a:cubicBezTo>
                  <a:cubicBezTo>
                    <a:pt x="1924" y="9138"/>
                    <a:pt x="1879" y="9135"/>
                    <a:pt x="1844" y="9134"/>
                  </a:cubicBezTo>
                  <a:cubicBezTo>
                    <a:pt x="1825" y="9133"/>
                    <a:pt x="1833" y="9145"/>
                    <a:pt x="1829" y="9161"/>
                  </a:cubicBezTo>
                  <a:cubicBezTo>
                    <a:pt x="1823" y="9191"/>
                    <a:pt x="1791" y="9234"/>
                    <a:pt x="1787" y="9224"/>
                  </a:cubicBezTo>
                  <a:cubicBezTo>
                    <a:pt x="1790" y="9230"/>
                    <a:pt x="1829" y="9255"/>
                    <a:pt x="1832" y="9255"/>
                  </a:cubicBezTo>
                  <a:cubicBezTo>
                    <a:pt x="1749" y="9253"/>
                    <a:pt x="1777" y="9181"/>
                    <a:pt x="1707" y="9173"/>
                  </a:cubicBezTo>
                  <a:cubicBezTo>
                    <a:pt x="1641" y="9165"/>
                    <a:pt x="1647" y="9183"/>
                    <a:pt x="1609" y="9200"/>
                  </a:cubicBezTo>
                  <a:cubicBezTo>
                    <a:pt x="1596" y="9206"/>
                    <a:pt x="1583" y="9168"/>
                    <a:pt x="1572" y="9184"/>
                  </a:cubicBezTo>
                  <a:cubicBezTo>
                    <a:pt x="1555" y="9209"/>
                    <a:pt x="1558" y="9247"/>
                    <a:pt x="1595" y="9248"/>
                  </a:cubicBezTo>
                  <a:cubicBezTo>
                    <a:pt x="1617" y="9249"/>
                    <a:pt x="1738" y="9303"/>
                    <a:pt x="1725" y="9306"/>
                  </a:cubicBezTo>
                  <a:cubicBezTo>
                    <a:pt x="1740" y="9302"/>
                    <a:pt x="1743" y="9276"/>
                    <a:pt x="1730" y="9271"/>
                  </a:cubicBezTo>
                  <a:cubicBezTo>
                    <a:pt x="1734" y="9273"/>
                    <a:pt x="1754" y="9282"/>
                    <a:pt x="1771" y="9292"/>
                  </a:cubicBezTo>
                  <a:cubicBezTo>
                    <a:pt x="1783" y="9299"/>
                    <a:pt x="1780" y="9294"/>
                    <a:pt x="1762" y="9304"/>
                  </a:cubicBezTo>
                  <a:cubicBezTo>
                    <a:pt x="1742" y="9316"/>
                    <a:pt x="1719" y="9336"/>
                    <a:pt x="1719" y="9336"/>
                  </a:cubicBezTo>
                  <a:cubicBezTo>
                    <a:pt x="1681" y="9331"/>
                    <a:pt x="1598" y="9290"/>
                    <a:pt x="1580" y="9373"/>
                  </a:cubicBezTo>
                  <a:cubicBezTo>
                    <a:pt x="1577" y="9386"/>
                    <a:pt x="1537" y="9353"/>
                    <a:pt x="1527" y="9360"/>
                  </a:cubicBezTo>
                  <a:cubicBezTo>
                    <a:pt x="1539" y="9351"/>
                    <a:pt x="1532" y="9432"/>
                    <a:pt x="1525" y="9425"/>
                  </a:cubicBezTo>
                  <a:close/>
                  <a:moveTo>
                    <a:pt x="9422" y="20880"/>
                  </a:moveTo>
                  <a:cubicBezTo>
                    <a:pt x="9416" y="20907"/>
                    <a:pt x="9477" y="20889"/>
                    <a:pt x="9487" y="20888"/>
                  </a:cubicBezTo>
                  <a:cubicBezTo>
                    <a:pt x="9464" y="20866"/>
                    <a:pt x="9442" y="20863"/>
                    <a:pt x="9422" y="20880"/>
                  </a:cubicBezTo>
                  <a:close/>
                  <a:moveTo>
                    <a:pt x="4949" y="17862"/>
                  </a:moveTo>
                  <a:cubicBezTo>
                    <a:pt x="4951" y="17856"/>
                    <a:pt x="4954" y="17907"/>
                    <a:pt x="4953" y="17920"/>
                  </a:cubicBezTo>
                  <a:cubicBezTo>
                    <a:pt x="4966" y="17913"/>
                    <a:pt x="5114" y="18027"/>
                    <a:pt x="5113" y="18027"/>
                  </a:cubicBezTo>
                  <a:cubicBezTo>
                    <a:pt x="5183" y="18079"/>
                    <a:pt x="5145" y="17928"/>
                    <a:pt x="5126" y="17900"/>
                  </a:cubicBezTo>
                  <a:cubicBezTo>
                    <a:pt x="5103" y="17895"/>
                    <a:pt x="4961" y="17804"/>
                    <a:pt x="4949" y="17862"/>
                  </a:cubicBezTo>
                  <a:close/>
                  <a:moveTo>
                    <a:pt x="3837" y="18164"/>
                  </a:moveTo>
                  <a:cubicBezTo>
                    <a:pt x="3812" y="18111"/>
                    <a:pt x="3685" y="18190"/>
                    <a:pt x="3667" y="18211"/>
                  </a:cubicBezTo>
                  <a:cubicBezTo>
                    <a:pt x="3633" y="18253"/>
                    <a:pt x="3706" y="18281"/>
                    <a:pt x="3726" y="18309"/>
                  </a:cubicBezTo>
                  <a:cubicBezTo>
                    <a:pt x="3700" y="18274"/>
                    <a:pt x="3920" y="18215"/>
                    <a:pt x="3837" y="18164"/>
                  </a:cubicBezTo>
                  <a:close/>
                  <a:moveTo>
                    <a:pt x="4953" y="17924"/>
                  </a:moveTo>
                  <a:cubicBezTo>
                    <a:pt x="4953" y="17925"/>
                    <a:pt x="4953" y="17923"/>
                    <a:pt x="4953" y="17920"/>
                  </a:cubicBezTo>
                  <a:cubicBezTo>
                    <a:pt x="4952" y="17921"/>
                    <a:pt x="4952" y="17922"/>
                    <a:pt x="4953" y="17924"/>
                  </a:cubicBezTo>
                  <a:close/>
                  <a:moveTo>
                    <a:pt x="4727" y="17971"/>
                  </a:moveTo>
                  <a:cubicBezTo>
                    <a:pt x="4720" y="17970"/>
                    <a:pt x="4571" y="17967"/>
                    <a:pt x="4618" y="17917"/>
                  </a:cubicBezTo>
                  <a:cubicBezTo>
                    <a:pt x="4632" y="17902"/>
                    <a:pt x="4675" y="17917"/>
                    <a:pt x="4669" y="17882"/>
                  </a:cubicBezTo>
                  <a:cubicBezTo>
                    <a:pt x="4653" y="17883"/>
                    <a:pt x="4637" y="17886"/>
                    <a:pt x="4621" y="17892"/>
                  </a:cubicBezTo>
                  <a:cubicBezTo>
                    <a:pt x="4594" y="17875"/>
                    <a:pt x="4673" y="17862"/>
                    <a:pt x="4662" y="17840"/>
                  </a:cubicBezTo>
                  <a:cubicBezTo>
                    <a:pt x="4531" y="17859"/>
                    <a:pt x="4433" y="17888"/>
                    <a:pt x="4310" y="17937"/>
                  </a:cubicBezTo>
                  <a:cubicBezTo>
                    <a:pt x="4178" y="17991"/>
                    <a:pt x="4323" y="18054"/>
                    <a:pt x="4308" y="18063"/>
                  </a:cubicBezTo>
                  <a:cubicBezTo>
                    <a:pt x="4329" y="18050"/>
                    <a:pt x="4421" y="17959"/>
                    <a:pt x="4411" y="18065"/>
                  </a:cubicBezTo>
                  <a:cubicBezTo>
                    <a:pt x="4401" y="18172"/>
                    <a:pt x="4437" y="18120"/>
                    <a:pt x="4496" y="18167"/>
                  </a:cubicBezTo>
                  <a:cubicBezTo>
                    <a:pt x="4563" y="18215"/>
                    <a:pt x="4521" y="18269"/>
                    <a:pt x="4619" y="18178"/>
                  </a:cubicBezTo>
                  <a:cubicBezTo>
                    <a:pt x="4646" y="18153"/>
                    <a:pt x="4830" y="17993"/>
                    <a:pt x="4727" y="17971"/>
                  </a:cubicBezTo>
                  <a:close/>
                  <a:moveTo>
                    <a:pt x="15265" y="21285"/>
                  </a:moveTo>
                  <a:cubicBezTo>
                    <a:pt x="15213" y="21359"/>
                    <a:pt x="15183" y="21402"/>
                    <a:pt x="15265" y="21285"/>
                  </a:cubicBezTo>
                  <a:cubicBezTo>
                    <a:pt x="15265" y="21285"/>
                    <a:pt x="15265" y="21285"/>
                    <a:pt x="15265" y="21285"/>
                  </a:cubicBezTo>
                  <a:close/>
                  <a:moveTo>
                    <a:pt x="14080" y="19557"/>
                  </a:moveTo>
                  <a:cubicBezTo>
                    <a:pt x="14143" y="19610"/>
                    <a:pt x="14120" y="19600"/>
                    <a:pt x="14123" y="19651"/>
                  </a:cubicBezTo>
                  <a:cubicBezTo>
                    <a:pt x="14122" y="19627"/>
                    <a:pt x="14229" y="19786"/>
                    <a:pt x="14254" y="19791"/>
                  </a:cubicBezTo>
                  <a:cubicBezTo>
                    <a:pt x="14278" y="19796"/>
                    <a:pt x="14332" y="19802"/>
                    <a:pt x="14343" y="19739"/>
                  </a:cubicBezTo>
                  <a:cubicBezTo>
                    <a:pt x="14360" y="19640"/>
                    <a:pt x="14289" y="19691"/>
                    <a:pt x="14223" y="19672"/>
                  </a:cubicBezTo>
                  <a:cubicBezTo>
                    <a:pt x="14164" y="19655"/>
                    <a:pt x="14132" y="19540"/>
                    <a:pt x="14158" y="19491"/>
                  </a:cubicBezTo>
                  <a:cubicBezTo>
                    <a:pt x="14178" y="19453"/>
                    <a:pt x="14116" y="19443"/>
                    <a:pt x="14126" y="19394"/>
                  </a:cubicBezTo>
                  <a:cubicBezTo>
                    <a:pt x="14116" y="19443"/>
                    <a:pt x="13934" y="19339"/>
                    <a:pt x="13923" y="19336"/>
                  </a:cubicBezTo>
                  <a:cubicBezTo>
                    <a:pt x="13823" y="19305"/>
                    <a:pt x="13784" y="19231"/>
                    <a:pt x="13725" y="19187"/>
                  </a:cubicBezTo>
                  <a:cubicBezTo>
                    <a:pt x="13704" y="19196"/>
                    <a:pt x="13493" y="19297"/>
                    <a:pt x="13515" y="19324"/>
                  </a:cubicBezTo>
                  <a:cubicBezTo>
                    <a:pt x="13542" y="19324"/>
                    <a:pt x="13602" y="19279"/>
                    <a:pt x="13583" y="19282"/>
                  </a:cubicBezTo>
                  <a:cubicBezTo>
                    <a:pt x="13673" y="19271"/>
                    <a:pt x="13758" y="19353"/>
                    <a:pt x="13804" y="19417"/>
                  </a:cubicBezTo>
                  <a:cubicBezTo>
                    <a:pt x="13819" y="19438"/>
                    <a:pt x="13890" y="19458"/>
                    <a:pt x="13891" y="19485"/>
                  </a:cubicBezTo>
                  <a:cubicBezTo>
                    <a:pt x="13885" y="19498"/>
                    <a:pt x="13880" y="19511"/>
                    <a:pt x="13877" y="19525"/>
                  </a:cubicBezTo>
                  <a:cubicBezTo>
                    <a:pt x="13900" y="19594"/>
                    <a:pt x="14035" y="19520"/>
                    <a:pt x="14080" y="19557"/>
                  </a:cubicBezTo>
                  <a:close/>
                  <a:moveTo>
                    <a:pt x="15265" y="21285"/>
                  </a:moveTo>
                  <a:cubicBezTo>
                    <a:pt x="15248" y="21310"/>
                    <a:pt x="15043" y="21434"/>
                    <a:pt x="15024" y="21432"/>
                  </a:cubicBezTo>
                  <a:cubicBezTo>
                    <a:pt x="14940" y="21421"/>
                    <a:pt x="15010" y="21311"/>
                    <a:pt x="14999" y="21296"/>
                  </a:cubicBezTo>
                  <a:cubicBezTo>
                    <a:pt x="14977" y="21265"/>
                    <a:pt x="14893" y="21323"/>
                    <a:pt x="14871" y="21332"/>
                  </a:cubicBezTo>
                  <a:cubicBezTo>
                    <a:pt x="14836" y="21346"/>
                    <a:pt x="14841" y="21319"/>
                    <a:pt x="14814" y="21309"/>
                  </a:cubicBezTo>
                  <a:cubicBezTo>
                    <a:pt x="14777" y="21296"/>
                    <a:pt x="14730" y="21317"/>
                    <a:pt x="14692" y="21317"/>
                  </a:cubicBezTo>
                  <a:cubicBezTo>
                    <a:pt x="14648" y="21317"/>
                    <a:pt x="14664" y="21270"/>
                    <a:pt x="14634" y="21272"/>
                  </a:cubicBezTo>
                  <a:cubicBezTo>
                    <a:pt x="14524" y="21279"/>
                    <a:pt x="14458" y="21291"/>
                    <a:pt x="14351" y="21323"/>
                  </a:cubicBezTo>
                  <a:cubicBezTo>
                    <a:pt x="14300" y="21339"/>
                    <a:pt x="14272" y="21335"/>
                    <a:pt x="14272" y="21281"/>
                  </a:cubicBezTo>
                  <a:cubicBezTo>
                    <a:pt x="14272" y="21256"/>
                    <a:pt x="14212" y="21267"/>
                    <a:pt x="14183" y="21255"/>
                  </a:cubicBezTo>
                  <a:cubicBezTo>
                    <a:pt x="14180" y="21254"/>
                    <a:pt x="14177" y="21253"/>
                    <a:pt x="14173" y="21250"/>
                  </a:cubicBezTo>
                  <a:cubicBezTo>
                    <a:pt x="14176" y="21252"/>
                    <a:pt x="14179" y="21254"/>
                    <a:pt x="14183" y="21255"/>
                  </a:cubicBezTo>
                  <a:cubicBezTo>
                    <a:pt x="14215" y="21265"/>
                    <a:pt x="14249" y="21197"/>
                    <a:pt x="14227" y="21198"/>
                  </a:cubicBezTo>
                  <a:cubicBezTo>
                    <a:pt x="14167" y="21201"/>
                    <a:pt x="14137" y="21265"/>
                    <a:pt x="14068" y="21245"/>
                  </a:cubicBezTo>
                  <a:cubicBezTo>
                    <a:pt x="14038" y="21236"/>
                    <a:pt x="14030" y="21143"/>
                    <a:pt x="14008" y="21150"/>
                  </a:cubicBezTo>
                  <a:cubicBezTo>
                    <a:pt x="13950" y="21167"/>
                    <a:pt x="14066" y="21244"/>
                    <a:pt x="13986" y="21259"/>
                  </a:cubicBezTo>
                  <a:cubicBezTo>
                    <a:pt x="13939" y="21267"/>
                    <a:pt x="13953" y="21189"/>
                    <a:pt x="13945" y="21192"/>
                  </a:cubicBezTo>
                  <a:cubicBezTo>
                    <a:pt x="13907" y="21210"/>
                    <a:pt x="13902" y="21400"/>
                    <a:pt x="13954" y="21417"/>
                  </a:cubicBezTo>
                  <a:cubicBezTo>
                    <a:pt x="14011" y="21436"/>
                    <a:pt x="14093" y="21394"/>
                    <a:pt x="14148" y="21408"/>
                  </a:cubicBezTo>
                  <a:cubicBezTo>
                    <a:pt x="14250" y="21433"/>
                    <a:pt x="14383" y="21461"/>
                    <a:pt x="14486" y="21477"/>
                  </a:cubicBezTo>
                  <a:cubicBezTo>
                    <a:pt x="14536" y="21484"/>
                    <a:pt x="14508" y="21534"/>
                    <a:pt x="14516" y="21561"/>
                  </a:cubicBezTo>
                  <a:cubicBezTo>
                    <a:pt x="14527" y="21600"/>
                    <a:pt x="14673" y="21545"/>
                    <a:pt x="14689" y="21540"/>
                  </a:cubicBezTo>
                  <a:cubicBezTo>
                    <a:pt x="14815" y="21501"/>
                    <a:pt x="14947" y="21515"/>
                    <a:pt x="15072" y="21477"/>
                  </a:cubicBezTo>
                  <a:cubicBezTo>
                    <a:pt x="15201" y="21439"/>
                    <a:pt x="15192" y="21503"/>
                    <a:pt x="15255" y="21375"/>
                  </a:cubicBezTo>
                  <a:cubicBezTo>
                    <a:pt x="15274" y="21336"/>
                    <a:pt x="15220" y="21349"/>
                    <a:pt x="15265" y="21285"/>
                  </a:cubicBezTo>
                  <a:cubicBezTo>
                    <a:pt x="15213" y="21359"/>
                    <a:pt x="15183" y="21402"/>
                    <a:pt x="15265" y="21285"/>
                  </a:cubicBezTo>
                  <a:close/>
                  <a:moveTo>
                    <a:pt x="9566" y="21031"/>
                  </a:moveTo>
                  <a:cubicBezTo>
                    <a:pt x="9612" y="21035"/>
                    <a:pt x="9603" y="20975"/>
                    <a:pt x="9579" y="20954"/>
                  </a:cubicBezTo>
                  <a:cubicBezTo>
                    <a:pt x="9484" y="20868"/>
                    <a:pt x="9458" y="20965"/>
                    <a:pt x="9566" y="21031"/>
                  </a:cubicBezTo>
                  <a:close/>
                  <a:moveTo>
                    <a:pt x="15512" y="19816"/>
                  </a:moveTo>
                  <a:cubicBezTo>
                    <a:pt x="15455" y="19807"/>
                    <a:pt x="15477" y="19835"/>
                    <a:pt x="15415" y="19819"/>
                  </a:cubicBezTo>
                  <a:cubicBezTo>
                    <a:pt x="15392" y="19813"/>
                    <a:pt x="15218" y="19845"/>
                    <a:pt x="15283" y="19882"/>
                  </a:cubicBezTo>
                  <a:cubicBezTo>
                    <a:pt x="15275" y="19877"/>
                    <a:pt x="15435" y="19892"/>
                    <a:pt x="15423" y="19898"/>
                  </a:cubicBezTo>
                  <a:cubicBezTo>
                    <a:pt x="15489" y="19868"/>
                    <a:pt x="15507" y="19820"/>
                    <a:pt x="15512" y="19816"/>
                  </a:cubicBezTo>
                  <a:close/>
                  <a:moveTo>
                    <a:pt x="15189" y="19894"/>
                  </a:moveTo>
                  <a:cubicBezTo>
                    <a:pt x="15132" y="19910"/>
                    <a:pt x="15064" y="19915"/>
                    <a:pt x="15030" y="19965"/>
                  </a:cubicBezTo>
                  <a:cubicBezTo>
                    <a:pt x="14935" y="20105"/>
                    <a:pt x="15166" y="19920"/>
                    <a:pt x="15189" y="19894"/>
                  </a:cubicBezTo>
                  <a:close/>
                  <a:moveTo>
                    <a:pt x="15015" y="18943"/>
                  </a:moveTo>
                  <a:cubicBezTo>
                    <a:pt x="14978" y="18976"/>
                    <a:pt x="14926" y="18950"/>
                    <a:pt x="14892" y="18981"/>
                  </a:cubicBezTo>
                  <a:cubicBezTo>
                    <a:pt x="14852" y="19019"/>
                    <a:pt x="14957" y="19107"/>
                    <a:pt x="14999" y="19080"/>
                  </a:cubicBezTo>
                  <a:cubicBezTo>
                    <a:pt x="15032" y="19059"/>
                    <a:pt x="15029" y="18983"/>
                    <a:pt x="15086" y="19014"/>
                  </a:cubicBezTo>
                  <a:cubicBezTo>
                    <a:pt x="15094" y="19019"/>
                    <a:pt x="15000" y="19091"/>
                    <a:pt x="14999" y="19090"/>
                  </a:cubicBezTo>
                  <a:cubicBezTo>
                    <a:pt x="15015" y="19116"/>
                    <a:pt x="15205" y="19154"/>
                    <a:pt x="15217" y="19122"/>
                  </a:cubicBezTo>
                  <a:cubicBezTo>
                    <a:pt x="15221" y="19111"/>
                    <a:pt x="15176" y="19063"/>
                    <a:pt x="15166" y="19057"/>
                  </a:cubicBezTo>
                  <a:cubicBezTo>
                    <a:pt x="15408" y="19186"/>
                    <a:pt x="15117" y="18998"/>
                    <a:pt x="15140" y="18921"/>
                  </a:cubicBezTo>
                  <a:cubicBezTo>
                    <a:pt x="15088" y="18863"/>
                    <a:pt x="15058" y="18905"/>
                    <a:pt x="15015" y="18943"/>
                  </a:cubicBezTo>
                  <a:close/>
                  <a:moveTo>
                    <a:pt x="14535" y="19941"/>
                  </a:moveTo>
                  <a:cubicBezTo>
                    <a:pt x="14610" y="19907"/>
                    <a:pt x="14480" y="19807"/>
                    <a:pt x="14447" y="19770"/>
                  </a:cubicBezTo>
                  <a:cubicBezTo>
                    <a:pt x="14310" y="19779"/>
                    <a:pt x="14535" y="19903"/>
                    <a:pt x="14535" y="19941"/>
                  </a:cubicBezTo>
                  <a:close/>
                  <a:moveTo>
                    <a:pt x="14183" y="21255"/>
                  </a:moveTo>
                  <a:cubicBezTo>
                    <a:pt x="14179" y="21254"/>
                    <a:pt x="14176" y="21252"/>
                    <a:pt x="14173" y="21250"/>
                  </a:cubicBezTo>
                  <a:cubicBezTo>
                    <a:pt x="14177" y="21253"/>
                    <a:pt x="14180" y="21254"/>
                    <a:pt x="14183" y="21255"/>
                  </a:cubicBezTo>
                  <a:close/>
                  <a:moveTo>
                    <a:pt x="10104" y="19624"/>
                  </a:moveTo>
                  <a:cubicBezTo>
                    <a:pt x="10105" y="19624"/>
                    <a:pt x="10105" y="19623"/>
                    <a:pt x="10106" y="19623"/>
                  </a:cubicBezTo>
                  <a:cubicBezTo>
                    <a:pt x="10105" y="19623"/>
                    <a:pt x="10102" y="19625"/>
                    <a:pt x="10104" y="19624"/>
                  </a:cubicBezTo>
                  <a:close/>
                  <a:moveTo>
                    <a:pt x="10054" y="19614"/>
                  </a:moveTo>
                  <a:cubicBezTo>
                    <a:pt x="10042" y="19616"/>
                    <a:pt x="10032" y="19618"/>
                    <a:pt x="10029" y="19620"/>
                  </a:cubicBezTo>
                  <a:cubicBezTo>
                    <a:pt x="9963" y="19648"/>
                    <a:pt x="9964" y="19619"/>
                    <a:pt x="9921" y="19617"/>
                  </a:cubicBezTo>
                  <a:cubicBezTo>
                    <a:pt x="9889" y="19615"/>
                    <a:pt x="9903" y="19715"/>
                    <a:pt x="9810" y="19673"/>
                  </a:cubicBezTo>
                  <a:cubicBezTo>
                    <a:pt x="9693" y="19621"/>
                    <a:pt x="9705" y="19683"/>
                    <a:pt x="9615" y="19707"/>
                  </a:cubicBezTo>
                  <a:cubicBezTo>
                    <a:pt x="9550" y="19725"/>
                    <a:pt x="9441" y="19738"/>
                    <a:pt x="9376" y="19714"/>
                  </a:cubicBezTo>
                  <a:cubicBezTo>
                    <a:pt x="9316" y="19691"/>
                    <a:pt x="9299" y="19734"/>
                    <a:pt x="9235" y="19732"/>
                  </a:cubicBezTo>
                  <a:cubicBezTo>
                    <a:pt x="9175" y="19730"/>
                    <a:pt x="9169" y="19676"/>
                    <a:pt x="9132" y="19645"/>
                  </a:cubicBezTo>
                  <a:cubicBezTo>
                    <a:pt x="9109" y="19644"/>
                    <a:pt x="9086" y="19642"/>
                    <a:pt x="9063" y="19639"/>
                  </a:cubicBezTo>
                  <a:cubicBezTo>
                    <a:pt x="9001" y="19565"/>
                    <a:pt x="9078" y="19600"/>
                    <a:pt x="8973" y="19592"/>
                  </a:cubicBezTo>
                  <a:cubicBezTo>
                    <a:pt x="8911" y="19586"/>
                    <a:pt x="8934" y="19590"/>
                    <a:pt x="8895" y="19645"/>
                  </a:cubicBezTo>
                  <a:cubicBezTo>
                    <a:pt x="8828" y="19739"/>
                    <a:pt x="8801" y="19595"/>
                    <a:pt x="8781" y="19564"/>
                  </a:cubicBezTo>
                  <a:cubicBezTo>
                    <a:pt x="8787" y="19574"/>
                    <a:pt x="8647" y="19658"/>
                    <a:pt x="8640" y="19667"/>
                  </a:cubicBezTo>
                  <a:cubicBezTo>
                    <a:pt x="8602" y="19715"/>
                    <a:pt x="8653" y="19726"/>
                    <a:pt x="8616" y="19766"/>
                  </a:cubicBezTo>
                  <a:cubicBezTo>
                    <a:pt x="8588" y="19795"/>
                    <a:pt x="8672" y="19941"/>
                    <a:pt x="8728" y="19938"/>
                  </a:cubicBezTo>
                  <a:cubicBezTo>
                    <a:pt x="8946" y="19926"/>
                    <a:pt x="9081" y="20147"/>
                    <a:pt x="9253" y="20246"/>
                  </a:cubicBezTo>
                  <a:cubicBezTo>
                    <a:pt x="9296" y="20270"/>
                    <a:pt x="9353" y="20232"/>
                    <a:pt x="9403" y="20265"/>
                  </a:cubicBezTo>
                  <a:cubicBezTo>
                    <a:pt x="9451" y="20296"/>
                    <a:pt x="9466" y="20350"/>
                    <a:pt x="9489" y="20399"/>
                  </a:cubicBezTo>
                  <a:cubicBezTo>
                    <a:pt x="9529" y="20486"/>
                    <a:pt x="9634" y="20490"/>
                    <a:pt x="9704" y="20495"/>
                  </a:cubicBezTo>
                  <a:cubicBezTo>
                    <a:pt x="9723" y="20496"/>
                    <a:pt x="9816" y="20574"/>
                    <a:pt x="9828" y="20542"/>
                  </a:cubicBezTo>
                  <a:cubicBezTo>
                    <a:pt x="9851" y="20482"/>
                    <a:pt x="9795" y="20417"/>
                    <a:pt x="9872" y="20379"/>
                  </a:cubicBezTo>
                  <a:cubicBezTo>
                    <a:pt x="9922" y="20354"/>
                    <a:pt x="9918" y="20258"/>
                    <a:pt x="9859" y="20169"/>
                  </a:cubicBezTo>
                  <a:cubicBezTo>
                    <a:pt x="9799" y="20080"/>
                    <a:pt x="9893" y="19921"/>
                    <a:pt x="9910" y="19893"/>
                  </a:cubicBezTo>
                  <a:cubicBezTo>
                    <a:pt x="9933" y="19854"/>
                    <a:pt x="9980" y="19764"/>
                    <a:pt x="10028" y="19697"/>
                  </a:cubicBezTo>
                  <a:cubicBezTo>
                    <a:pt x="10055" y="19661"/>
                    <a:pt x="10081" y="19632"/>
                    <a:pt x="10104" y="19624"/>
                  </a:cubicBezTo>
                  <a:cubicBezTo>
                    <a:pt x="10102" y="19625"/>
                    <a:pt x="10105" y="19623"/>
                    <a:pt x="10106" y="19623"/>
                  </a:cubicBezTo>
                  <a:cubicBezTo>
                    <a:pt x="10138" y="19605"/>
                    <a:pt x="10088" y="19609"/>
                    <a:pt x="10054" y="19614"/>
                  </a:cubicBezTo>
                  <a:close/>
                  <a:moveTo>
                    <a:pt x="10106" y="19623"/>
                  </a:moveTo>
                  <a:cubicBezTo>
                    <a:pt x="10105" y="19623"/>
                    <a:pt x="10105" y="19624"/>
                    <a:pt x="10104" y="19624"/>
                  </a:cubicBezTo>
                  <a:cubicBezTo>
                    <a:pt x="10106" y="19623"/>
                    <a:pt x="10106" y="19623"/>
                    <a:pt x="10106" y="19623"/>
                  </a:cubicBezTo>
                  <a:close/>
                  <a:moveTo>
                    <a:pt x="12142" y="18757"/>
                  </a:moveTo>
                  <a:cubicBezTo>
                    <a:pt x="12066" y="18710"/>
                    <a:pt x="12027" y="18784"/>
                    <a:pt x="12082" y="18859"/>
                  </a:cubicBezTo>
                  <a:cubicBezTo>
                    <a:pt x="12115" y="18904"/>
                    <a:pt x="12184" y="19019"/>
                    <a:pt x="12248" y="19023"/>
                  </a:cubicBezTo>
                  <a:cubicBezTo>
                    <a:pt x="12275" y="19025"/>
                    <a:pt x="12171" y="18935"/>
                    <a:pt x="12165" y="18905"/>
                  </a:cubicBezTo>
                  <a:cubicBezTo>
                    <a:pt x="12152" y="18844"/>
                    <a:pt x="12195" y="18791"/>
                    <a:pt x="12142" y="18757"/>
                  </a:cubicBezTo>
                  <a:close/>
                  <a:moveTo>
                    <a:pt x="12537" y="19877"/>
                  </a:moveTo>
                  <a:cubicBezTo>
                    <a:pt x="12430" y="19923"/>
                    <a:pt x="12608" y="20048"/>
                    <a:pt x="12616" y="20033"/>
                  </a:cubicBezTo>
                  <a:cubicBezTo>
                    <a:pt x="12673" y="19937"/>
                    <a:pt x="12559" y="19914"/>
                    <a:pt x="12537" y="19877"/>
                  </a:cubicBezTo>
                  <a:close/>
                  <a:moveTo>
                    <a:pt x="13646" y="20901"/>
                  </a:moveTo>
                  <a:cubicBezTo>
                    <a:pt x="13729" y="20879"/>
                    <a:pt x="13657" y="20795"/>
                    <a:pt x="13617" y="20754"/>
                  </a:cubicBezTo>
                  <a:cubicBezTo>
                    <a:pt x="13584" y="20777"/>
                    <a:pt x="13610" y="20910"/>
                    <a:pt x="13646" y="20901"/>
                  </a:cubicBezTo>
                  <a:close/>
                  <a:moveTo>
                    <a:pt x="12583" y="19788"/>
                  </a:moveTo>
                  <a:cubicBezTo>
                    <a:pt x="12640" y="19750"/>
                    <a:pt x="12514" y="19683"/>
                    <a:pt x="12504" y="19680"/>
                  </a:cubicBezTo>
                  <a:cubicBezTo>
                    <a:pt x="12508" y="19682"/>
                    <a:pt x="12483" y="19579"/>
                    <a:pt x="12472" y="19553"/>
                  </a:cubicBezTo>
                  <a:cubicBezTo>
                    <a:pt x="12459" y="19658"/>
                    <a:pt x="12426" y="19591"/>
                    <a:pt x="12386" y="19644"/>
                  </a:cubicBezTo>
                  <a:cubicBezTo>
                    <a:pt x="12375" y="19659"/>
                    <a:pt x="12363" y="19771"/>
                    <a:pt x="12411" y="19730"/>
                  </a:cubicBezTo>
                  <a:cubicBezTo>
                    <a:pt x="12413" y="19710"/>
                    <a:pt x="12546" y="19811"/>
                    <a:pt x="12583" y="19788"/>
                  </a:cubicBezTo>
                  <a:close/>
                  <a:moveTo>
                    <a:pt x="12509" y="19346"/>
                  </a:moveTo>
                  <a:cubicBezTo>
                    <a:pt x="12472" y="19299"/>
                    <a:pt x="12415" y="19484"/>
                    <a:pt x="12441" y="19504"/>
                  </a:cubicBezTo>
                  <a:cubicBezTo>
                    <a:pt x="12477" y="19532"/>
                    <a:pt x="12526" y="19408"/>
                    <a:pt x="12509" y="19346"/>
                  </a:cubicBezTo>
                  <a:close/>
                  <a:moveTo>
                    <a:pt x="7534" y="17687"/>
                  </a:moveTo>
                  <a:cubicBezTo>
                    <a:pt x="7533" y="17687"/>
                    <a:pt x="7532" y="17687"/>
                    <a:pt x="7531" y="17687"/>
                  </a:cubicBezTo>
                  <a:cubicBezTo>
                    <a:pt x="7533" y="17687"/>
                    <a:pt x="7533" y="17687"/>
                    <a:pt x="7534" y="17687"/>
                  </a:cubicBezTo>
                  <a:close/>
                  <a:moveTo>
                    <a:pt x="9241" y="9937"/>
                  </a:moveTo>
                  <a:cubicBezTo>
                    <a:pt x="9246" y="9933"/>
                    <a:pt x="9199" y="9812"/>
                    <a:pt x="9138" y="9894"/>
                  </a:cubicBezTo>
                  <a:cubicBezTo>
                    <a:pt x="9159" y="9904"/>
                    <a:pt x="9207" y="9963"/>
                    <a:pt x="9241" y="9937"/>
                  </a:cubicBezTo>
                  <a:close/>
                  <a:moveTo>
                    <a:pt x="9051" y="9725"/>
                  </a:moveTo>
                  <a:cubicBezTo>
                    <a:pt x="9091" y="9707"/>
                    <a:pt x="9149" y="9541"/>
                    <a:pt x="9165" y="9499"/>
                  </a:cubicBezTo>
                  <a:cubicBezTo>
                    <a:pt x="9153" y="9529"/>
                    <a:pt x="9164" y="9499"/>
                    <a:pt x="9165" y="9499"/>
                  </a:cubicBezTo>
                  <a:cubicBezTo>
                    <a:pt x="9147" y="9497"/>
                    <a:pt x="9050" y="9608"/>
                    <a:pt x="9064" y="9626"/>
                  </a:cubicBezTo>
                  <a:cubicBezTo>
                    <a:pt x="9051" y="9610"/>
                    <a:pt x="9006" y="9745"/>
                    <a:pt x="9051" y="9725"/>
                  </a:cubicBezTo>
                  <a:close/>
                  <a:moveTo>
                    <a:pt x="9165" y="9499"/>
                  </a:moveTo>
                  <a:cubicBezTo>
                    <a:pt x="9164" y="9499"/>
                    <a:pt x="9153" y="9529"/>
                    <a:pt x="9165" y="9499"/>
                  </a:cubicBezTo>
                  <a:cubicBezTo>
                    <a:pt x="9165" y="9499"/>
                    <a:pt x="9165" y="9499"/>
                    <a:pt x="9165" y="9499"/>
                  </a:cubicBezTo>
                  <a:close/>
                  <a:moveTo>
                    <a:pt x="9398" y="9819"/>
                  </a:moveTo>
                  <a:cubicBezTo>
                    <a:pt x="9454" y="9863"/>
                    <a:pt x="9441" y="9654"/>
                    <a:pt x="9388" y="9665"/>
                  </a:cubicBezTo>
                  <a:cubicBezTo>
                    <a:pt x="9307" y="9684"/>
                    <a:pt x="9398" y="9701"/>
                    <a:pt x="9404" y="9723"/>
                  </a:cubicBezTo>
                  <a:cubicBezTo>
                    <a:pt x="9412" y="9754"/>
                    <a:pt x="9297" y="9625"/>
                    <a:pt x="9252" y="9620"/>
                  </a:cubicBezTo>
                  <a:cubicBezTo>
                    <a:pt x="9143" y="9606"/>
                    <a:pt x="9214" y="9682"/>
                    <a:pt x="9197" y="9693"/>
                  </a:cubicBezTo>
                  <a:cubicBezTo>
                    <a:pt x="9188" y="9698"/>
                    <a:pt x="9152" y="9685"/>
                    <a:pt x="9149" y="9705"/>
                  </a:cubicBezTo>
                  <a:cubicBezTo>
                    <a:pt x="9148" y="9715"/>
                    <a:pt x="9263" y="9803"/>
                    <a:pt x="9275" y="9816"/>
                  </a:cubicBezTo>
                  <a:cubicBezTo>
                    <a:pt x="9314" y="9859"/>
                    <a:pt x="9343" y="9776"/>
                    <a:pt x="9398" y="9819"/>
                  </a:cubicBezTo>
                  <a:close/>
                  <a:moveTo>
                    <a:pt x="9587" y="9680"/>
                  </a:moveTo>
                  <a:cubicBezTo>
                    <a:pt x="9601" y="9664"/>
                    <a:pt x="9682" y="9661"/>
                    <a:pt x="9683" y="9668"/>
                  </a:cubicBezTo>
                  <a:cubicBezTo>
                    <a:pt x="9675" y="9623"/>
                    <a:pt x="9632" y="9629"/>
                    <a:pt x="9605" y="9600"/>
                  </a:cubicBezTo>
                  <a:cubicBezTo>
                    <a:pt x="9594" y="9628"/>
                    <a:pt x="9522" y="9645"/>
                    <a:pt x="9534" y="9682"/>
                  </a:cubicBezTo>
                  <a:cubicBezTo>
                    <a:pt x="9551" y="9709"/>
                    <a:pt x="9569" y="9708"/>
                    <a:pt x="9587" y="9680"/>
                  </a:cubicBezTo>
                  <a:close/>
                  <a:moveTo>
                    <a:pt x="9541" y="9715"/>
                  </a:moveTo>
                  <a:cubicBezTo>
                    <a:pt x="9541" y="9675"/>
                    <a:pt x="9469" y="9667"/>
                    <a:pt x="9453" y="9643"/>
                  </a:cubicBezTo>
                  <a:cubicBezTo>
                    <a:pt x="9348" y="9631"/>
                    <a:pt x="9530" y="9736"/>
                    <a:pt x="9541" y="9715"/>
                  </a:cubicBezTo>
                  <a:close/>
                  <a:moveTo>
                    <a:pt x="9103" y="8993"/>
                  </a:moveTo>
                  <a:cubicBezTo>
                    <a:pt x="9115" y="9049"/>
                    <a:pt x="9075" y="9046"/>
                    <a:pt x="9078" y="9090"/>
                  </a:cubicBezTo>
                  <a:cubicBezTo>
                    <a:pt x="9087" y="9190"/>
                    <a:pt x="9147" y="9041"/>
                    <a:pt x="9103" y="8993"/>
                  </a:cubicBezTo>
                  <a:close/>
                  <a:moveTo>
                    <a:pt x="9290" y="9445"/>
                  </a:moveTo>
                  <a:cubicBezTo>
                    <a:pt x="9289" y="9446"/>
                    <a:pt x="9287" y="9447"/>
                    <a:pt x="9286" y="9448"/>
                  </a:cubicBezTo>
                  <a:cubicBezTo>
                    <a:pt x="9288" y="9450"/>
                    <a:pt x="9290" y="9450"/>
                    <a:pt x="9290" y="9445"/>
                  </a:cubicBezTo>
                  <a:close/>
                  <a:moveTo>
                    <a:pt x="9240" y="9379"/>
                  </a:moveTo>
                  <a:cubicBezTo>
                    <a:pt x="9237" y="9379"/>
                    <a:pt x="9234" y="9379"/>
                    <a:pt x="9231" y="9378"/>
                  </a:cubicBezTo>
                  <a:cubicBezTo>
                    <a:pt x="9234" y="9382"/>
                    <a:pt x="9237" y="9382"/>
                    <a:pt x="9240" y="9379"/>
                  </a:cubicBezTo>
                  <a:close/>
                  <a:moveTo>
                    <a:pt x="9454" y="9534"/>
                  </a:moveTo>
                  <a:cubicBezTo>
                    <a:pt x="9452" y="9535"/>
                    <a:pt x="9449" y="9535"/>
                    <a:pt x="9446" y="9535"/>
                  </a:cubicBezTo>
                  <a:cubicBezTo>
                    <a:pt x="9451" y="9539"/>
                    <a:pt x="9454" y="9540"/>
                    <a:pt x="9454" y="9534"/>
                  </a:cubicBezTo>
                  <a:close/>
                  <a:moveTo>
                    <a:pt x="9262" y="9382"/>
                  </a:moveTo>
                  <a:cubicBezTo>
                    <a:pt x="9262" y="9382"/>
                    <a:pt x="9263" y="9382"/>
                    <a:pt x="9264" y="9382"/>
                  </a:cubicBezTo>
                  <a:cubicBezTo>
                    <a:pt x="9263" y="9380"/>
                    <a:pt x="9262" y="9380"/>
                    <a:pt x="9262" y="9382"/>
                  </a:cubicBezTo>
                  <a:close/>
                  <a:moveTo>
                    <a:pt x="9978" y="9938"/>
                  </a:moveTo>
                  <a:cubicBezTo>
                    <a:pt x="9977" y="9939"/>
                    <a:pt x="9976" y="9939"/>
                    <a:pt x="9976" y="9940"/>
                  </a:cubicBezTo>
                  <a:cubicBezTo>
                    <a:pt x="9979" y="9941"/>
                    <a:pt x="9978" y="9940"/>
                    <a:pt x="9978" y="9938"/>
                  </a:cubicBezTo>
                  <a:close/>
                  <a:moveTo>
                    <a:pt x="8872" y="9491"/>
                  </a:moveTo>
                  <a:cubicBezTo>
                    <a:pt x="8874" y="9476"/>
                    <a:pt x="9063" y="9548"/>
                    <a:pt x="9093" y="9530"/>
                  </a:cubicBezTo>
                  <a:cubicBezTo>
                    <a:pt x="9173" y="9483"/>
                    <a:pt x="9128" y="9295"/>
                    <a:pt x="9105" y="9223"/>
                  </a:cubicBezTo>
                  <a:cubicBezTo>
                    <a:pt x="9095" y="9247"/>
                    <a:pt x="9023" y="9222"/>
                    <a:pt x="9021" y="9233"/>
                  </a:cubicBezTo>
                  <a:cubicBezTo>
                    <a:pt x="9022" y="9224"/>
                    <a:pt x="8989" y="9214"/>
                    <a:pt x="8945" y="9196"/>
                  </a:cubicBezTo>
                  <a:cubicBezTo>
                    <a:pt x="8943" y="9196"/>
                    <a:pt x="8858" y="9240"/>
                    <a:pt x="8856" y="9239"/>
                  </a:cubicBezTo>
                  <a:cubicBezTo>
                    <a:pt x="8843" y="9234"/>
                    <a:pt x="8722" y="9198"/>
                    <a:pt x="8789" y="9261"/>
                  </a:cubicBezTo>
                  <a:cubicBezTo>
                    <a:pt x="8854" y="9322"/>
                    <a:pt x="8778" y="9275"/>
                    <a:pt x="8801" y="9311"/>
                  </a:cubicBezTo>
                  <a:cubicBezTo>
                    <a:pt x="8810" y="9326"/>
                    <a:pt x="8881" y="9434"/>
                    <a:pt x="8869" y="9459"/>
                  </a:cubicBezTo>
                  <a:cubicBezTo>
                    <a:pt x="8867" y="9462"/>
                    <a:pt x="8906" y="9441"/>
                    <a:pt x="8897" y="9434"/>
                  </a:cubicBezTo>
                  <a:cubicBezTo>
                    <a:pt x="8940" y="9465"/>
                    <a:pt x="8875" y="9471"/>
                    <a:pt x="8872" y="9491"/>
                  </a:cubicBezTo>
                  <a:close/>
                  <a:moveTo>
                    <a:pt x="9651" y="7679"/>
                  </a:moveTo>
                  <a:cubicBezTo>
                    <a:pt x="9628" y="7700"/>
                    <a:pt x="9546" y="7719"/>
                    <a:pt x="9538" y="7755"/>
                  </a:cubicBezTo>
                  <a:cubicBezTo>
                    <a:pt x="9516" y="7845"/>
                    <a:pt x="9672" y="7747"/>
                    <a:pt x="9651" y="7679"/>
                  </a:cubicBezTo>
                  <a:close/>
                  <a:moveTo>
                    <a:pt x="9188" y="9144"/>
                  </a:moveTo>
                  <a:cubicBezTo>
                    <a:pt x="9176" y="9172"/>
                    <a:pt x="9266" y="9163"/>
                    <a:pt x="9254" y="9192"/>
                  </a:cubicBezTo>
                  <a:cubicBezTo>
                    <a:pt x="9249" y="9205"/>
                    <a:pt x="9265" y="9313"/>
                    <a:pt x="9243" y="9280"/>
                  </a:cubicBezTo>
                  <a:cubicBezTo>
                    <a:pt x="9263" y="9311"/>
                    <a:pt x="9253" y="9369"/>
                    <a:pt x="9240" y="9379"/>
                  </a:cubicBezTo>
                  <a:cubicBezTo>
                    <a:pt x="9247" y="9380"/>
                    <a:pt x="9254" y="9381"/>
                    <a:pt x="9262" y="9382"/>
                  </a:cubicBezTo>
                  <a:cubicBezTo>
                    <a:pt x="9262" y="9380"/>
                    <a:pt x="9263" y="9380"/>
                    <a:pt x="9264" y="9382"/>
                  </a:cubicBezTo>
                  <a:cubicBezTo>
                    <a:pt x="9263" y="9382"/>
                    <a:pt x="9262" y="9382"/>
                    <a:pt x="9262" y="9382"/>
                  </a:cubicBezTo>
                  <a:cubicBezTo>
                    <a:pt x="9260" y="9390"/>
                    <a:pt x="9277" y="9439"/>
                    <a:pt x="9286" y="9448"/>
                  </a:cubicBezTo>
                  <a:cubicBezTo>
                    <a:pt x="9287" y="9447"/>
                    <a:pt x="9289" y="9446"/>
                    <a:pt x="9290" y="9445"/>
                  </a:cubicBezTo>
                  <a:cubicBezTo>
                    <a:pt x="9290" y="9450"/>
                    <a:pt x="9288" y="9450"/>
                    <a:pt x="9286" y="9448"/>
                  </a:cubicBezTo>
                  <a:cubicBezTo>
                    <a:pt x="9280" y="9452"/>
                    <a:pt x="9274" y="9455"/>
                    <a:pt x="9267" y="9455"/>
                  </a:cubicBezTo>
                  <a:cubicBezTo>
                    <a:pt x="9254" y="9472"/>
                    <a:pt x="9427" y="9492"/>
                    <a:pt x="9426" y="9491"/>
                  </a:cubicBezTo>
                  <a:cubicBezTo>
                    <a:pt x="9414" y="9484"/>
                    <a:pt x="9434" y="9524"/>
                    <a:pt x="9446" y="9535"/>
                  </a:cubicBezTo>
                  <a:cubicBezTo>
                    <a:pt x="9449" y="9535"/>
                    <a:pt x="9452" y="9535"/>
                    <a:pt x="9454" y="9534"/>
                  </a:cubicBezTo>
                  <a:cubicBezTo>
                    <a:pt x="9454" y="9540"/>
                    <a:pt x="9451" y="9539"/>
                    <a:pt x="9446" y="9535"/>
                  </a:cubicBezTo>
                  <a:cubicBezTo>
                    <a:pt x="9438" y="9537"/>
                    <a:pt x="9429" y="9539"/>
                    <a:pt x="9420" y="9540"/>
                  </a:cubicBezTo>
                  <a:cubicBezTo>
                    <a:pt x="9409" y="9559"/>
                    <a:pt x="9468" y="9578"/>
                    <a:pt x="9453" y="9593"/>
                  </a:cubicBezTo>
                  <a:cubicBezTo>
                    <a:pt x="9450" y="9597"/>
                    <a:pt x="9479" y="9642"/>
                    <a:pt x="9537" y="9641"/>
                  </a:cubicBezTo>
                  <a:cubicBezTo>
                    <a:pt x="9565" y="9641"/>
                    <a:pt x="9561" y="9548"/>
                    <a:pt x="9570" y="9557"/>
                  </a:cubicBezTo>
                  <a:cubicBezTo>
                    <a:pt x="9575" y="9561"/>
                    <a:pt x="9559" y="9493"/>
                    <a:pt x="9600" y="9490"/>
                  </a:cubicBezTo>
                  <a:cubicBezTo>
                    <a:pt x="9621" y="9494"/>
                    <a:pt x="9642" y="9494"/>
                    <a:pt x="9663" y="9492"/>
                  </a:cubicBezTo>
                  <a:cubicBezTo>
                    <a:pt x="9738" y="9469"/>
                    <a:pt x="9592" y="9380"/>
                    <a:pt x="9599" y="9351"/>
                  </a:cubicBezTo>
                  <a:cubicBezTo>
                    <a:pt x="9619" y="9263"/>
                    <a:pt x="9764" y="9308"/>
                    <a:pt x="9758" y="9204"/>
                  </a:cubicBezTo>
                  <a:cubicBezTo>
                    <a:pt x="9755" y="9160"/>
                    <a:pt x="9713" y="9113"/>
                    <a:pt x="9753" y="9071"/>
                  </a:cubicBezTo>
                  <a:cubicBezTo>
                    <a:pt x="9775" y="9055"/>
                    <a:pt x="9794" y="9071"/>
                    <a:pt x="9758" y="9011"/>
                  </a:cubicBezTo>
                  <a:cubicBezTo>
                    <a:pt x="9708" y="8991"/>
                    <a:pt x="9549" y="8970"/>
                    <a:pt x="9525" y="9050"/>
                  </a:cubicBezTo>
                  <a:cubicBezTo>
                    <a:pt x="9541" y="8996"/>
                    <a:pt x="9684" y="9279"/>
                    <a:pt x="9533" y="9247"/>
                  </a:cubicBezTo>
                  <a:cubicBezTo>
                    <a:pt x="9551" y="9251"/>
                    <a:pt x="9590" y="9108"/>
                    <a:pt x="9513" y="9099"/>
                  </a:cubicBezTo>
                  <a:cubicBezTo>
                    <a:pt x="9519" y="9100"/>
                    <a:pt x="9515" y="9223"/>
                    <a:pt x="9485" y="9219"/>
                  </a:cubicBezTo>
                  <a:cubicBezTo>
                    <a:pt x="9485" y="9219"/>
                    <a:pt x="9460" y="9142"/>
                    <a:pt x="9472" y="9138"/>
                  </a:cubicBezTo>
                  <a:cubicBezTo>
                    <a:pt x="9446" y="9081"/>
                    <a:pt x="9509" y="9056"/>
                    <a:pt x="9500" y="9042"/>
                  </a:cubicBezTo>
                  <a:cubicBezTo>
                    <a:pt x="9512" y="9060"/>
                    <a:pt x="9338" y="8970"/>
                    <a:pt x="9353" y="9123"/>
                  </a:cubicBezTo>
                  <a:cubicBezTo>
                    <a:pt x="9349" y="9160"/>
                    <a:pt x="9197" y="9124"/>
                    <a:pt x="9188" y="9144"/>
                  </a:cubicBezTo>
                  <a:close/>
                  <a:moveTo>
                    <a:pt x="8770" y="9472"/>
                  </a:moveTo>
                  <a:cubicBezTo>
                    <a:pt x="8754" y="9471"/>
                    <a:pt x="8741" y="9475"/>
                    <a:pt x="8729" y="9486"/>
                  </a:cubicBezTo>
                  <a:cubicBezTo>
                    <a:pt x="8726" y="9491"/>
                    <a:pt x="8762" y="9552"/>
                    <a:pt x="8765" y="9551"/>
                  </a:cubicBezTo>
                  <a:cubicBezTo>
                    <a:pt x="8765" y="9550"/>
                    <a:pt x="8766" y="9550"/>
                    <a:pt x="8767" y="9550"/>
                  </a:cubicBezTo>
                  <a:cubicBezTo>
                    <a:pt x="8801" y="9536"/>
                    <a:pt x="8894" y="9678"/>
                    <a:pt x="8861" y="9579"/>
                  </a:cubicBezTo>
                  <a:cubicBezTo>
                    <a:pt x="8846" y="9534"/>
                    <a:pt x="8790" y="9493"/>
                    <a:pt x="8770" y="9472"/>
                  </a:cubicBezTo>
                  <a:close/>
                  <a:moveTo>
                    <a:pt x="12856" y="7733"/>
                  </a:moveTo>
                  <a:cubicBezTo>
                    <a:pt x="12855" y="7735"/>
                    <a:pt x="12854" y="7737"/>
                    <a:pt x="12854" y="7738"/>
                  </a:cubicBezTo>
                  <a:cubicBezTo>
                    <a:pt x="12855" y="7736"/>
                    <a:pt x="12856" y="7734"/>
                    <a:pt x="12856" y="7733"/>
                  </a:cubicBezTo>
                  <a:close/>
                  <a:moveTo>
                    <a:pt x="12775" y="7690"/>
                  </a:moveTo>
                  <a:cubicBezTo>
                    <a:pt x="12777" y="7764"/>
                    <a:pt x="12873" y="7762"/>
                    <a:pt x="12783" y="7808"/>
                  </a:cubicBezTo>
                  <a:cubicBezTo>
                    <a:pt x="12789" y="7805"/>
                    <a:pt x="12858" y="7888"/>
                    <a:pt x="12877" y="7888"/>
                  </a:cubicBezTo>
                  <a:cubicBezTo>
                    <a:pt x="12925" y="7890"/>
                    <a:pt x="12806" y="7990"/>
                    <a:pt x="12836" y="8034"/>
                  </a:cubicBezTo>
                  <a:cubicBezTo>
                    <a:pt x="12860" y="8067"/>
                    <a:pt x="12946" y="7864"/>
                    <a:pt x="12940" y="7856"/>
                  </a:cubicBezTo>
                  <a:cubicBezTo>
                    <a:pt x="12955" y="7877"/>
                    <a:pt x="13014" y="7831"/>
                    <a:pt x="13027" y="7830"/>
                  </a:cubicBezTo>
                  <a:cubicBezTo>
                    <a:pt x="13054" y="7829"/>
                    <a:pt x="13039" y="7830"/>
                    <a:pt x="13065" y="7817"/>
                  </a:cubicBezTo>
                  <a:cubicBezTo>
                    <a:pt x="13076" y="7812"/>
                    <a:pt x="13140" y="7747"/>
                    <a:pt x="13122" y="7748"/>
                  </a:cubicBezTo>
                  <a:cubicBezTo>
                    <a:pt x="13131" y="7755"/>
                    <a:pt x="13140" y="7761"/>
                    <a:pt x="13149" y="7766"/>
                  </a:cubicBezTo>
                  <a:cubicBezTo>
                    <a:pt x="13173" y="7759"/>
                    <a:pt x="13155" y="7687"/>
                    <a:pt x="13181" y="7686"/>
                  </a:cubicBezTo>
                  <a:cubicBezTo>
                    <a:pt x="13188" y="7686"/>
                    <a:pt x="13239" y="7713"/>
                    <a:pt x="13239" y="7713"/>
                  </a:cubicBezTo>
                  <a:cubicBezTo>
                    <a:pt x="13238" y="7685"/>
                    <a:pt x="13149" y="7632"/>
                    <a:pt x="13127" y="7619"/>
                  </a:cubicBezTo>
                  <a:cubicBezTo>
                    <a:pt x="13131" y="7622"/>
                    <a:pt x="13126" y="7620"/>
                    <a:pt x="13121" y="7618"/>
                  </a:cubicBezTo>
                  <a:cubicBezTo>
                    <a:pt x="13045" y="7589"/>
                    <a:pt x="12944" y="7623"/>
                    <a:pt x="12914" y="7686"/>
                  </a:cubicBezTo>
                  <a:cubicBezTo>
                    <a:pt x="12900" y="7681"/>
                    <a:pt x="12889" y="7671"/>
                    <a:pt x="12882" y="7658"/>
                  </a:cubicBezTo>
                  <a:cubicBezTo>
                    <a:pt x="12875" y="7655"/>
                    <a:pt x="12864" y="7714"/>
                    <a:pt x="12856" y="7733"/>
                  </a:cubicBezTo>
                  <a:cubicBezTo>
                    <a:pt x="12856" y="7734"/>
                    <a:pt x="12855" y="7736"/>
                    <a:pt x="12854" y="7738"/>
                  </a:cubicBezTo>
                  <a:cubicBezTo>
                    <a:pt x="12854" y="7737"/>
                    <a:pt x="12855" y="7735"/>
                    <a:pt x="12856" y="7733"/>
                  </a:cubicBezTo>
                  <a:cubicBezTo>
                    <a:pt x="12861" y="7707"/>
                    <a:pt x="12774" y="7648"/>
                    <a:pt x="12775" y="7690"/>
                  </a:cubicBezTo>
                  <a:close/>
                  <a:moveTo>
                    <a:pt x="12834" y="7433"/>
                  </a:moveTo>
                  <a:cubicBezTo>
                    <a:pt x="12877" y="7498"/>
                    <a:pt x="12956" y="7414"/>
                    <a:pt x="12965" y="7528"/>
                  </a:cubicBezTo>
                  <a:cubicBezTo>
                    <a:pt x="12974" y="7650"/>
                    <a:pt x="13041" y="7506"/>
                    <a:pt x="13060" y="7494"/>
                  </a:cubicBezTo>
                  <a:cubicBezTo>
                    <a:pt x="13069" y="7495"/>
                    <a:pt x="13075" y="7498"/>
                    <a:pt x="13076" y="7504"/>
                  </a:cubicBezTo>
                  <a:cubicBezTo>
                    <a:pt x="13087" y="7481"/>
                    <a:pt x="13115" y="7492"/>
                    <a:pt x="13132" y="7491"/>
                  </a:cubicBezTo>
                  <a:cubicBezTo>
                    <a:pt x="13140" y="7491"/>
                    <a:pt x="13113" y="7390"/>
                    <a:pt x="13066" y="7388"/>
                  </a:cubicBezTo>
                  <a:cubicBezTo>
                    <a:pt x="13008" y="7386"/>
                    <a:pt x="13059" y="7356"/>
                    <a:pt x="13009" y="7338"/>
                  </a:cubicBezTo>
                  <a:cubicBezTo>
                    <a:pt x="13011" y="7339"/>
                    <a:pt x="13009" y="7340"/>
                    <a:pt x="13007" y="7340"/>
                  </a:cubicBezTo>
                  <a:cubicBezTo>
                    <a:pt x="12992" y="7354"/>
                    <a:pt x="12873" y="7492"/>
                    <a:pt x="12834" y="7433"/>
                  </a:cubicBezTo>
                  <a:close/>
                  <a:moveTo>
                    <a:pt x="13127" y="7619"/>
                  </a:moveTo>
                  <a:cubicBezTo>
                    <a:pt x="13125" y="7619"/>
                    <a:pt x="13123" y="7618"/>
                    <a:pt x="13121" y="7618"/>
                  </a:cubicBezTo>
                  <a:cubicBezTo>
                    <a:pt x="13126" y="7620"/>
                    <a:pt x="13131" y="7622"/>
                    <a:pt x="13127" y="7619"/>
                  </a:cubicBezTo>
                  <a:close/>
                  <a:moveTo>
                    <a:pt x="13252" y="7653"/>
                  </a:moveTo>
                  <a:cubicBezTo>
                    <a:pt x="13275" y="7623"/>
                    <a:pt x="13213" y="7582"/>
                    <a:pt x="13202" y="7577"/>
                  </a:cubicBezTo>
                  <a:cubicBezTo>
                    <a:pt x="13060" y="7583"/>
                    <a:pt x="13233" y="7677"/>
                    <a:pt x="13252" y="7653"/>
                  </a:cubicBezTo>
                  <a:close/>
                  <a:moveTo>
                    <a:pt x="11848" y="4970"/>
                  </a:moveTo>
                  <a:cubicBezTo>
                    <a:pt x="11848" y="4967"/>
                    <a:pt x="11847" y="4966"/>
                    <a:pt x="11845" y="4966"/>
                  </a:cubicBezTo>
                  <a:cubicBezTo>
                    <a:pt x="11846" y="4968"/>
                    <a:pt x="11847" y="4969"/>
                    <a:pt x="11848" y="4970"/>
                  </a:cubicBezTo>
                  <a:close/>
                  <a:moveTo>
                    <a:pt x="13076" y="7504"/>
                  </a:moveTo>
                  <a:cubicBezTo>
                    <a:pt x="13073" y="7509"/>
                    <a:pt x="13071" y="7515"/>
                    <a:pt x="13071" y="7524"/>
                  </a:cubicBezTo>
                  <a:cubicBezTo>
                    <a:pt x="13076" y="7515"/>
                    <a:pt x="13077" y="7509"/>
                    <a:pt x="13076" y="7504"/>
                  </a:cubicBezTo>
                  <a:close/>
                  <a:moveTo>
                    <a:pt x="10449" y="9657"/>
                  </a:moveTo>
                  <a:cubicBezTo>
                    <a:pt x="10474" y="9687"/>
                    <a:pt x="10535" y="9738"/>
                    <a:pt x="10577" y="9711"/>
                  </a:cubicBezTo>
                  <a:cubicBezTo>
                    <a:pt x="10636" y="9675"/>
                    <a:pt x="10513" y="9575"/>
                    <a:pt x="10474" y="9544"/>
                  </a:cubicBezTo>
                  <a:cubicBezTo>
                    <a:pt x="10473" y="9543"/>
                    <a:pt x="10471" y="9542"/>
                    <a:pt x="10466" y="9538"/>
                  </a:cubicBezTo>
                  <a:cubicBezTo>
                    <a:pt x="10452" y="9524"/>
                    <a:pt x="10423" y="9626"/>
                    <a:pt x="10449" y="9657"/>
                  </a:cubicBezTo>
                  <a:close/>
                  <a:moveTo>
                    <a:pt x="11292" y="8369"/>
                  </a:moveTo>
                  <a:cubicBezTo>
                    <a:pt x="11216" y="8384"/>
                    <a:pt x="11185" y="8571"/>
                    <a:pt x="11136" y="8641"/>
                  </a:cubicBezTo>
                  <a:cubicBezTo>
                    <a:pt x="11111" y="8676"/>
                    <a:pt x="10962" y="9015"/>
                    <a:pt x="11041" y="9019"/>
                  </a:cubicBezTo>
                  <a:cubicBezTo>
                    <a:pt x="11110" y="9023"/>
                    <a:pt x="11267" y="8412"/>
                    <a:pt x="11292" y="8369"/>
                  </a:cubicBezTo>
                  <a:close/>
                  <a:moveTo>
                    <a:pt x="10466" y="9538"/>
                  </a:moveTo>
                  <a:cubicBezTo>
                    <a:pt x="10468" y="9540"/>
                    <a:pt x="10471" y="9542"/>
                    <a:pt x="10474" y="9544"/>
                  </a:cubicBezTo>
                  <a:cubicBezTo>
                    <a:pt x="10477" y="9547"/>
                    <a:pt x="10464" y="9535"/>
                    <a:pt x="10466" y="9538"/>
                  </a:cubicBezTo>
                  <a:close/>
                  <a:moveTo>
                    <a:pt x="13007" y="7340"/>
                  </a:moveTo>
                  <a:cubicBezTo>
                    <a:pt x="13008" y="7339"/>
                    <a:pt x="13008" y="7338"/>
                    <a:pt x="13009" y="7338"/>
                  </a:cubicBezTo>
                  <a:cubicBezTo>
                    <a:pt x="12992" y="7339"/>
                    <a:pt x="13001" y="7340"/>
                    <a:pt x="13007" y="7340"/>
                  </a:cubicBezTo>
                  <a:close/>
                  <a:moveTo>
                    <a:pt x="9850" y="10052"/>
                  </a:moveTo>
                  <a:cubicBezTo>
                    <a:pt x="9900" y="10094"/>
                    <a:pt x="9875" y="10084"/>
                    <a:pt x="9921" y="10088"/>
                  </a:cubicBezTo>
                  <a:cubicBezTo>
                    <a:pt x="9900" y="10086"/>
                    <a:pt x="9911" y="10142"/>
                    <a:pt x="9940" y="10129"/>
                  </a:cubicBezTo>
                  <a:cubicBezTo>
                    <a:pt x="9941" y="10129"/>
                    <a:pt x="10015" y="9997"/>
                    <a:pt x="10044" y="10059"/>
                  </a:cubicBezTo>
                  <a:cubicBezTo>
                    <a:pt x="10036" y="10065"/>
                    <a:pt x="10028" y="10071"/>
                    <a:pt x="10020" y="10077"/>
                  </a:cubicBezTo>
                  <a:cubicBezTo>
                    <a:pt x="10031" y="10079"/>
                    <a:pt x="10042" y="10080"/>
                    <a:pt x="10054" y="10080"/>
                  </a:cubicBezTo>
                  <a:cubicBezTo>
                    <a:pt x="10046" y="10083"/>
                    <a:pt x="10038" y="10085"/>
                    <a:pt x="10030" y="10088"/>
                  </a:cubicBezTo>
                  <a:cubicBezTo>
                    <a:pt x="10030" y="10087"/>
                    <a:pt x="10072" y="10089"/>
                    <a:pt x="10051" y="10110"/>
                  </a:cubicBezTo>
                  <a:cubicBezTo>
                    <a:pt x="10109" y="10054"/>
                    <a:pt x="10022" y="10045"/>
                    <a:pt x="10015" y="9997"/>
                  </a:cubicBezTo>
                  <a:cubicBezTo>
                    <a:pt x="10010" y="9961"/>
                    <a:pt x="10066" y="9968"/>
                    <a:pt x="10056" y="9931"/>
                  </a:cubicBezTo>
                  <a:cubicBezTo>
                    <a:pt x="10045" y="9895"/>
                    <a:pt x="9985" y="9946"/>
                    <a:pt x="9966" y="9914"/>
                  </a:cubicBezTo>
                  <a:cubicBezTo>
                    <a:pt x="9941" y="9871"/>
                    <a:pt x="9981" y="9882"/>
                    <a:pt x="9971" y="9855"/>
                  </a:cubicBezTo>
                  <a:cubicBezTo>
                    <a:pt x="9970" y="9851"/>
                    <a:pt x="9906" y="9860"/>
                    <a:pt x="9907" y="9869"/>
                  </a:cubicBezTo>
                  <a:cubicBezTo>
                    <a:pt x="9912" y="9894"/>
                    <a:pt x="9948" y="9893"/>
                    <a:pt x="9951" y="9892"/>
                  </a:cubicBezTo>
                  <a:cubicBezTo>
                    <a:pt x="9940" y="9895"/>
                    <a:pt x="9973" y="9930"/>
                    <a:pt x="9978" y="9938"/>
                  </a:cubicBezTo>
                  <a:cubicBezTo>
                    <a:pt x="9983" y="9932"/>
                    <a:pt x="9990" y="9928"/>
                    <a:pt x="9999" y="9926"/>
                  </a:cubicBezTo>
                  <a:cubicBezTo>
                    <a:pt x="9986" y="9925"/>
                    <a:pt x="9997" y="9968"/>
                    <a:pt x="9989" y="9975"/>
                  </a:cubicBezTo>
                  <a:cubicBezTo>
                    <a:pt x="9967" y="9994"/>
                    <a:pt x="9953" y="9934"/>
                    <a:pt x="9952" y="9932"/>
                  </a:cubicBezTo>
                  <a:cubicBezTo>
                    <a:pt x="9954" y="9940"/>
                    <a:pt x="9942" y="9961"/>
                    <a:pt x="9939" y="9951"/>
                  </a:cubicBezTo>
                  <a:cubicBezTo>
                    <a:pt x="9944" y="9938"/>
                    <a:pt x="9947" y="9925"/>
                    <a:pt x="9949" y="9912"/>
                  </a:cubicBezTo>
                  <a:cubicBezTo>
                    <a:pt x="9945" y="9907"/>
                    <a:pt x="9932" y="9950"/>
                    <a:pt x="9922" y="9949"/>
                  </a:cubicBezTo>
                  <a:cubicBezTo>
                    <a:pt x="9891" y="9946"/>
                    <a:pt x="9960" y="9885"/>
                    <a:pt x="9873" y="9925"/>
                  </a:cubicBezTo>
                  <a:cubicBezTo>
                    <a:pt x="9864" y="9929"/>
                    <a:pt x="9909" y="9959"/>
                    <a:pt x="9909" y="9968"/>
                  </a:cubicBezTo>
                  <a:cubicBezTo>
                    <a:pt x="9910" y="9982"/>
                    <a:pt x="9856" y="9994"/>
                    <a:pt x="9866" y="10004"/>
                  </a:cubicBezTo>
                  <a:cubicBezTo>
                    <a:pt x="9874" y="10012"/>
                    <a:pt x="9899" y="9981"/>
                    <a:pt x="9906" y="9997"/>
                  </a:cubicBezTo>
                  <a:cubicBezTo>
                    <a:pt x="9929" y="10046"/>
                    <a:pt x="9859" y="10028"/>
                    <a:pt x="9850" y="10052"/>
                  </a:cubicBezTo>
                  <a:close/>
                  <a:moveTo>
                    <a:pt x="13009" y="7338"/>
                  </a:moveTo>
                  <a:cubicBezTo>
                    <a:pt x="13008" y="7338"/>
                    <a:pt x="13008" y="7339"/>
                    <a:pt x="13007" y="7340"/>
                  </a:cubicBezTo>
                  <a:cubicBezTo>
                    <a:pt x="13009" y="7340"/>
                    <a:pt x="13011" y="7339"/>
                    <a:pt x="13009" y="7338"/>
                  </a:cubicBezTo>
                  <a:close/>
                  <a:moveTo>
                    <a:pt x="11713" y="8510"/>
                  </a:moveTo>
                  <a:cubicBezTo>
                    <a:pt x="11708" y="8507"/>
                    <a:pt x="11703" y="8503"/>
                    <a:pt x="11698" y="8500"/>
                  </a:cubicBezTo>
                  <a:cubicBezTo>
                    <a:pt x="11707" y="8472"/>
                    <a:pt x="11795" y="8465"/>
                    <a:pt x="11800" y="8443"/>
                  </a:cubicBezTo>
                  <a:cubicBezTo>
                    <a:pt x="11800" y="8441"/>
                    <a:pt x="11839" y="8314"/>
                    <a:pt x="11865" y="8345"/>
                  </a:cubicBezTo>
                  <a:cubicBezTo>
                    <a:pt x="11817" y="8289"/>
                    <a:pt x="11812" y="8286"/>
                    <a:pt x="11823" y="8202"/>
                  </a:cubicBezTo>
                  <a:cubicBezTo>
                    <a:pt x="11835" y="8116"/>
                    <a:pt x="11838" y="8183"/>
                    <a:pt x="11874" y="8158"/>
                  </a:cubicBezTo>
                  <a:cubicBezTo>
                    <a:pt x="11911" y="8133"/>
                    <a:pt x="11905" y="8067"/>
                    <a:pt x="11896" y="8050"/>
                  </a:cubicBezTo>
                  <a:cubicBezTo>
                    <a:pt x="11884" y="8047"/>
                    <a:pt x="11871" y="8043"/>
                    <a:pt x="11858" y="8040"/>
                  </a:cubicBezTo>
                  <a:cubicBezTo>
                    <a:pt x="11847" y="8043"/>
                    <a:pt x="11860" y="8087"/>
                    <a:pt x="11833" y="8098"/>
                  </a:cubicBezTo>
                  <a:cubicBezTo>
                    <a:pt x="11816" y="8105"/>
                    <a:pt x="11841" y="8016"/>
                    <a:pt x="11775" y="8087"/>
                  </a:cubicBezTo>
                  <a:cubicBezTo>
                    <a:pt x="11742" y="8124"/>
                    <a:pt x="11696" y="8139"/>
                    <a:pt x="11658" y="8195"/>
                  </a:cubicBezTo>
                  <a:cubicBezTo>
                    <a:pt x="11634" y="8229"/>
                    <a:pt x="11587" y="8547"/>
                    <a:pt x="11643" y="8548"/>
                  </a:cubicBezTo>
                  <a:cubicBezTo>
                    <a:pt x="11648" y="8541"/>
                    <a:pt x="11653" y="8534"/>
                    <a:pt x="11660" y="8529"/>
                  </a:cubicBezTo>
                  <a:cubicBezTo>
                    <a:pt x="11674" y="8543"/>
                    <a:pt x="11607" y="8606"/>
                    <a:pt x="11609" y="8626"/>
                  </a:cubicBezTo>
                  <a:cubicBezTo>
                    <a:pt x="11611" y="8646"/>
                    <a:pt x="11711" y="8515"/>
                    <a:pt x="11713" y="8510"/>
                  </a:cubicBezTo>
                  <a:close/>
                  <a:moveTo>
                    <a:pt x="9965" y="15494"/>
                  </a:moveTo>
                  <a:cubicBezTo>
                    <a:pt x="9960" y="15497"/>
                    <a:pt x="9969" y="15505"/>
                    <a:pt x="9965" y="15494"/>
                  </a:cubicBezTo>
                  <a:cubicBezTo>
                    <a:pt x="9965" y="15494"/>
                    <a:pt x="9965" y="15494"/>
                    <a:pt x="9965" y="15494"/>
                  </a:cubicBezTo>
                  <a:close/>
                  <a:moveTo>
                    <a:pt x="13219" y="7365"/>
                  </a:moveTo>
                  <a:cubicBezTo>
                    <a:pt x="13210" y="7362"/>
                    <a:pt x="13197" y="7360"/>
                    <a:pt x="13176" y="7361"/>
                  </a:cubicBezTo>
                  <a:cubicBezTo>
                    <a:pt x="13180" y="7361"/>
                    <a:pt x="13179" y="7373"/>
                    <a:pt x="13178" y="7383"/>
                  </a:cubicBezTo>
                  <a:cubicBezTo>
                    <a:pt x="13187" y="7413"/>
                    <a:pt x="13225" y="7400"/>
                    <a:pt x="13232" y="7384"/>
                  </a:cubicBezTo>
                  <a:cubicBezTo>
                    <a:pt x="13224" y="7378"/>
                    <a:pt x="13219" y="7371"/>
                    <a:pt x="13219" y="7365"/>
                  </a:cubicBezTo>
                  <a:close/>
                  <a:moveTo>
                    <a:pt x="3368" y="12849"/>
                  </a:moveTo>
                  <a:cubicBezTo>
                    <a:pt x="3368" y="12849"/>
                    <a:pt x="3368" y="12849"/>
                    <a:pt x="3368" y="12849"/>
                  </a:cubicBezTo>
                  <a:cubicBezTo>
                    <a:pt x="3371" y="12849"/>
                    <a:pt x="3374" y="12847"/>
                    <a:pt x="3377" y="12846"/>
                  </a:cubicBezTo>
                  <a:cubicBezTo>
                    <a:pt x="3373" y="12846"/>
                    <a:pt x="3370" y="12847"/>
                    <a:pt x="3368" y="12849"/>
                  </a:cubicBezTo>
                  <a:close/>
                  <a:moveTo>
                    <a:pt x="8736" y="9104"/>
                  </a:moveTo>
                  <a:cubicBezTo>
                    <a:pt x="8734" y="9104"/>
                    <a:pt x="8733" y="9104"/>
                    <a:pt x="8732" y="9105"/>
                  </a:cubicBezTo>
                  <a:cubicBezTo>
                    <a:pt x="8733" y="9104"/>
                    <a:pt x="8734" y="9104"/>
                    <a:pt x="8736" y="9104"/>
                  </a:cubicBezTo>
                  <a:close/>
                  <a:moveTo>
                    <a:pt x="9050" y="15219"/>
                  </a:moveTo>
                  <a:cubicBezTo>
                    <a:pt x="9051" y="15219"/>
                    <a:pt x="9051" y="15219"/>
                    <a:pt x="9052" y="15218"/>
                  </a:cubicBezTo>
                  <a:cubicBezTo>
                    <a:pt x="9051" y="15219"/>
                    <a:pt x="9050" y="15219"/>
                    <a:pt x="9050" y="15219"/>
                  </a:cubicBezTo>
                  <a:close/>
                  <a:moveTo>
                    <a:pt x="3356" y="12846"/>
                  </a:moveTo>
                  <a:cubicBezTo>
                    <a:pt x="3352" y="12846"/>
                    <a:pt x="3348" y="12847"/>
                    <a:pt x="3346" y="12850"/>
                  </a:cubicBezTo>
                  <a:cubicBezTo>
                    <a:pt x="3350" y="12849"/>
                    <a:pt x="3353" y="12847"/>
                    <a:pt x="3356" y="12846"/>
                  </a:cubicBezTo>
                  <a:close/>
                  <a:moveTo>
                    <a:pt x="10323" y="3464"/>
                  </a:moveTo>
                  <a:cubicBezTo>
                    <a:pt x="10316" y="3453"/>
                    <a:pt x="10311" y="3442"/>
                    <a:pt x="10309" y="3430"/>
                  </a:cubicBezTo>
                  <a:cubicBezTo>
                    <a:pt x="10278" y="3478"/>
                    <a:pt x="10318" y="3464"/>
                    <a:pt x="10320" y="3479"/>
                  </a:cubicBezTo>
                  <a:cubicBezTo>
                    <a:pt x="10325" y="3514"/>
                    <a:pt x="10208" y="3586"/>
                    <a:pt x="10239" y="3626"/>
                  </a:cubicBezTo>
                  <a:cubicBezTo>
                    <a:pt x="10233" y="3615"/>
                    <a:pt x="10239" y="3574"/>
                    <a:pt x="10345" y="3551"/>
                  </a:cubicBezTo>
                  <a:cubicBezTo>
                    <a:pt x="10363" y="3527"/>
                    <a:pt x="10345" y="3492"/>
                    <a:pt x="10329" y="3465"/>
                  </a:cubicBezTo>
                  <a:cubicBezTo>
                    <a:pt x="10326" y="3466"/>
                    <a:pt x="10324" y="3466"/>
                    <a:pt x="10323" y="3464"/>
                  </a:cubicBezTo>
                  <a:close/>
                  <a:moveTo>
                    <a:pt x="9156" y="4734"/>
                  </a:moveTo>
                  <a:cubicBezTo>
                    <a:pt x="9156" y="4736"/>
                    <a:pt x="9157" y="4738"/>
                    <a:pt x="9157" y="4740"/>
                  </a:cubicBezTo>
                  <a:cubicBezTo>
                    <a:pt x="9158" y="4738"/>
                    <a:pt x="9157" y="4736"/>
                    <a:pt x="9156" y="4734"/>
                  </a:cubicBezTo>
                  <a:close/>
                  <a:moveTo>
                    <a:pt x="10976" y="16784"/>
                  </a:moveTo>
                  <a:cubicBezTo>
                    <a:pt x="10890" y="16730"/>
                    <a:pt x="10736" y="16718"/>
                    <a:pt x="10656" y="16721"/>
                  </a:cubicBezTo>
                  <a:cubicBezTo>
                    <a:pt x="10748" y="16765"/>
                    <a:pt x="10901" y="16738"/>
                    <a:pt x="10976" y="16784"/>
                  </a:cubicBezTo>
                  <a:close/>
                  <a:moveTo>
                    <a:pt x="10995" y="7074"/>
                  </a:moveTo>
                  <a:cubicBezTo>
                    <a:pt x="10994" y="7076"/>
                    <a:pt x="10995" y="7078"/>
                    <a:pt x="10996" y="7080"/>
                  </a:cubicBezTo>
                  <a:cubicBezTo>
                    <a:pt x="10995" y="7078"/>
                    <a:pt x="10994" y="7076"/>
                    <a:pt x="10995" y="7074"/>
                  </a:cubicBezTo>
                  <a:close/>
                  <a:moveTo>
                    <a:pt x="9450" y="7129"/>
                  </a:moveTo>
                  <a:cubicBezTo>
                    <a:pt x="9448" y="7132"/>
                    <a:pt x="9445" y="7133"/>
                    <a:pt x="9443" y="7137"/>
                  </a:cubicBezTo>
                  <a:cubicBezTo>
                    <a:pt x="9447" y="7136"/>
                    <a:pt x="9449" y="7133"/>
                    <a:pt x="9450" y="7129"/>
                  </a:cubicBezTo>
                  <a:close/>
                  <a:moveTo>
                    <a:pt x="12263" y="4614"/>
                  </a:moveTo>
                  <a:cubicBezTo>
                    <a:pt x="12263" y="4613"/>
                    <a:pt x="12263" y="4612"/>
                    <a:pt x="12263" y="4611"/>
                  </a:cubicBezTo>
                  <a:cubicBezTo>
                    <a:pt x="12263" y="4613"/>
                    <a:pt x="12263" y="4614"/>
                    <a:pt x="12263" y="4614"/>
                  </a:cubicBezTo>
                  <a:close/>
                  <a:moveTo>
                    <a:pt x="8606" y="8463"/>
                  </a:moveTo>
                  <a:cubicBezTo>
                    <a:pt x="8635" y="8425"/>
                    <a:pt x="8659" y="8359"/>
                    <a:pt x="8668" y="8333"/>
                  </a:cubicBezTo>
                  <a:cubicBezTo>
                    <a:pt x="8591" y="8360"/>
                    <a:pt x="8576" y="8383"/>
                    <a:pt x="8527" y="8421"/>
                  </a:cubicBezTo>
                  <a:cubicBezTo>
                    <a:pt x="8510" y="8435"/>
                    <a:pt x="8547" y="8537"/>
                    <a:pt x="8606" y="8463"/>
                  </a:cubicBezTo>
                  <a:close/>
                  <a:moveTo>
                    <a:pt x="13176" y="7361"/>
                  </a:moveTo>
                  <a:cubicBezTo>
                    <a:pt x="13176" y="7370"/>
                    <a:pt x="13177" y="7377"/>
                    <a:pt x="13178" y="7383"/>
                  </a:cubicBezTo>
                  <a:cubicBezTo>
                    <a:pt x="13179" y="7373"/>
                    <a:pt x="13180" y="7361"/>
                    <a:pt x="13176" y="7361"/>
                  </a:cubicBezTo>
                  <a:close/>
                  <a:moveTo>
                    <a:pt x="3118" y="12853"/>
                  </a:moveTo>
                  <a:cubicBezTo>
                    <a:pt x="3071" y="12870"/>
                    <a:pt x="3127" y="12932"/>
                    <a:pt x="3157" y="12929"/>
                  </a:cubicBezTo>
                  <a:cubicBezTo>
                    <a:pt x="3198" y="12924"/>
                    <a:pt x="3122" y="12858"/>
                    <a:pt x="3118" y="12853"/>
                  </a:cubicBezTo>
                  <a:close/>
                  <a:moveTo>
                    <a:pt x="3412" y="13165"/>
                  </a:moveTo>
                  <a:cubicBezTo>
                    <a:pt x="3400" y="13175"/>
                    <a:pt x="3441" y="13235"/>
                    <a:pt x="3443" y="13248"/>
                  </a:cubicBezTo>
                  <a:cubicBezTo>
                    <a:pt x="3443" y="13246"/>
                    <a:pt x="3456" y="13128"/>
                    <a:pt x="3412" y="13165"/>
                  </a:cubicBezTo>
                  <a:close/>
                  <a:moveTo>
                    <a:pt x="7921" y="10145"/>
                  </a:moveTo>
                  <a:cubicBezTo>
                    <a:pt x="7899" y="10134"/>
                    <a:pt x="7880" y="10137"/>
                    <a:pt x="7866" y="10155"/>
                  </a:cubicBezTo>
                  <a:cubicBezTo>
                    <a:pt x="7869" y="10161"/>
                    <a:pt x="7921" y="10145"/>
                    <a:pt x="7921" y="10145"/>
                  </a:cubicBezTo>
                  <a:cubicBezTo>
                    <a:pt x="7912" y="10146"/>
                    <a:pt x="7904" y="10137"/>
                    <a:pt x="7921" y="10145"/>
                  </a:cubicBezTo>
                  <a:close/>
                  <a:moveTo>
                    <a:pt x="7921" y="10145"/>
                  </a:moveTo>
                  <a:cubicBezTo>
                    <a:pt x="7904" y="10137"/>
                    <a:pt x="7912" y="10146"/>
                    <a:pt x="7921" y="10145"/>
                  </a:cubicBezTo>
                  <a:cubicBezTo>
                    <a:pt x="7921" y="10145"/>
                    <a:pt x="7921" y="10145"/>
                    <a:pt x="7921" y="10145"/>
                  </a:cubicBezTo>
                  <a:close/>
                  <a:moveTo>
                    <a:pt x="8300" y="9318"/>
                  </a:moveTo>
                  <a:cubicBezTo>
                    <a:pt x="8279" y="9326"/>
                    <a:pt x="8282" y="9368"/>
                    <a:pt x="8287" y="9391"/>
                  </a:cubicBezTo>
                  <a:cubicBezTo>
                    <a:pt x="8288" y="9394"/>
                    <a:pt x="8298" y="9393"/>
                    <a:pt x="8310" y="9392"/>
                  </a:cubicBezTo>
                  <a:cubicBezTo>
                    <a:pt x="8326" y="9390"/>
                    <a:pt x="8345" y="9386"/>
                    <a:pt x="8348" y="9386"/>
                  </a:cubicBezTo>
                  <a:cubicBezTo>
                    <a:pt x="8343" y="9375"/>
                    <a:pt x="8336" y="9366"/>
                    <a:pt x="8328" y="9358"/>
                  </a:cubicBezTo>
                  <a:cubicBezTo>
                    <a:pt x="8323" y="9353"/>
                    <a:pt x="8318" y="9349"/>
                    <a:pt x="8312" y="9345"/>
                  </a:cubicBezTo>
                  <a:cubicBezTo>
                    <a:pt x="8295" y="9342"/>
                    <a:pt x="8316" y="9321"/>
                    <a:pt x="8300" y="9318"/>
                  </a:cubicBezTo>
                  <a:close/>
                  <a:moveTo>
                    <a:pt x="10858" y="16690"/>
                  </a:moveTo>
                  <a:cubicBezTo>
                    <a:pt x="10934" y="16656"/>
                    <a:pt x="10705" y="16618"/>
                    <a:pt x="10689" y="16614"/>
                  </a:cubicBezTo>
                  <a:cubicBezTo>
                    <a:pt x="10669" y="16683"/>
                    <a:pt x="10806" y="16714"/>
                    <a:pt x="10858" y="16690"/>
                  </a:cubicBezTo>
                  <a:close/>
                  <a:moveTo>
                    <a:pt x="8307" y="9531"/>
                  </a:moveTo>
                  <a:cubicBezTo>
                    <a:pt x="8308" y="9531"/>
                    <a:pt x="8308" y="9531"/>
                    <a:pt x="8307" y="9531"/>
                  </a:cubicBezTo>
                  <a:cubicBezTo>
                    <a:pt x="8307" y="9531"/>
                    <a:pt x="8307" y="9531"/>
                    <a:pt x="8307" y="9531"/>
                  </a:cubicBezTo>
                  <a:close/>
                  <a:moveTo>
                    <a:pt x="8294" y="9533"/>
                  </a:moveTo>
                  <a:cubicBezTo>
                    <a:pt x="8301" y="9530"/>
                    <a:pt x="8305" y="9530"/>
                    <a:pt x="8307" y="9531"/>
                  </a:cubicBezTo>
                  <a:cubicBezTo>
                    <a:pt x="8305" y="9530"/>
                    <a:pt x="8301" y="9526"/>
                    <a:pt x="8293" y="9514"/>
                  </a:cubicBezTo>
                  <a:cubicBezTo>
                    <a:pt x="8292" y="9511"/>
                    <a:pt x="8291" y="9508"/>
                    <a:pt x="8290" y="9504"/>
                  </a:cubicBezTo>
                  <a:cubicBezTo>
                    <a:pt x="8287" y="9494"/>
                    <a:pt x="8320" y="9429"/>
                    <a:pt x="8314" y="9428"/>
                  </a:cubicBezTo>
                  <a:cubicBezTo>
                    <a:pt x="8271" y="9421"/>
                    <a:pt x="8250" y="9574"/>
                    <a:pt x="8246" y="9597"/>
                  </a:cubicBezTo>
                  <a:cubicBezTo>
                    <a:pt x="8257" y="9564"/>
                    <a:pt x="8272" y="9543"/>
                    <a:pt x="8294" y="9533"/>
                  </a:cubicBezTo>
                  <a:close/>
                  <a:moveTo>
                    <a:pt x="10516" y="16793"/>
                  </a:moveTo>
                  <a:cubicBezTo>
                    <a:pt x="10512" y="16872"/>
                    <a:pt x="10603" y="16807"/>
                    <a:pt x="10595" y="16797"/>
                  </a:cubicBezTo>
                  <a:cubicBezTo>
                    <a:pt x="10588" y="16788"/>
                    <a:pt x="10529" y="16794"/>
                    <a:pt x="10516" y="16793"/>
                  </a:cubicBezTo>
                  <a:close/>
                  <a:moveTo>
                    <a:pt x="10991" y="16888"/>
                  </a:moveTo>
                  <a:cubicBezTo>
                    <a:pt x="11001" y="16878"/>
                    <a:pt x="10811" y="16859"/>
                    <a:pt x="10794" y="16856"/>
                  </a:cubicBezTo>
                  <a:cubicBezTo>
                    <a:pt x="10806" y="16858"/>
                    <a:pt x="10791" y="16869"/>
                    <a:pt x="10794" y="16856"/>
                  </a:cubicBezTo>
                  <a:cubicBezTo>
                    <a:pt x="10787" y="16868"/>
                    <a:pt x="10784" y="16881"/>
                    <a:pt x="10785" y="16895"/>
                  </a:cubicBezTo>
                  <a:cubicBezTo>
                    <a:pt x="10793" y="16912"/>
                    <a:pt x="10975" y="16905"/>
                    <a:pt x="10991" y="16888"/>
                  </a:cubicBezTo>
                  <a:close/>
                  <a:moveTo>
                    <a:pt x="9983" y="15614"/>
                  </a:moveTo>
                  <a:cubicBezTo>
                    <a:pt x="9983" y="15615"/>
                    <a:pt x="9985" y="15701"/>
                    <a:pt x="10014" y="15648"/>
                  </a:cubicBezTo>
                  <a:cubicBezTo>
                    <a:pt x="10028" y="15621"/>
                    <a:pt x="9975" y="15520"/>
                    <a:pt x="9965" y="15494"/>
                  </a:cubicBezTo>
                  <a:cubicBezTo>
                    <a:pt x="9969" y="15505"/>
                    <a:pt x="9960" y="15497"/>
                    <a:pt x="9965" y="15494"/>
                  </a:cubicBezTo>
                  <a:cubicBezTo>
                    <a:pt x="9946" y="15505"/>
                    <a:pt x="9904" y="15565"/>
                    <a:pt x="9908" y="15600"/>
                  </a:cubicBezTo>
                  <a:cubicBezTo>
                    <a:pt x="9922" y="15711"/>
                    <a:pt x="9959" y="15554"/>
                    <a:pt x="9983" y="15614"/>
                  </a:cubicBezTo>
                  <a:close/>
                  <a:moveTo>
                    <a:pt x="10794" y="16856"/>
                  </a:moveTo>
                  <a:cubicBezTo>
                    <a:pt x="10791" y="16869"/>
                    <a:pt x="10806" y="16858"/>
                    <a:pt x="10794" y="16856"/>
                  </a:cubicBezTo>
                  <a:cubicBezTo>
                    <a:pt x="10794" y="16856"/>
                    <a:pt x="10794" y="16856"/>
                    <a:pt x="10794" y="16856"/>
                  </a:cubicBezTo>
                  <a:close/>
                  <a:moveTo>
                    <a:pt x="12616" y="863"/>
                  </a:moveTo>
                  <a:cubicBezTo>
                    <a:pt x="12616" y="864"/>
                    <a:pt x="12616" y="866"/>
                    <a:pt x="12616" y="867"/>
                  </a:cubicBezTo>
                  <a:cubicBezTo>
                    <a:pt x="12616" y="866"/>
                    <a:pt x="12616" y="865"/>
                    <a:pt x="12616" y="863"/>
                  </a:cubicBezTo>
                  <a:close/>
                  <a:moveTo>
                    <a:pt x="10178" y="16285"/>
                  </a:moveTo>
                  <a:cubicBezTo>
                    <a:pt x="10187" y="16265"/>
                    <a:pt x="10066" y="16143"/>
                    <a:pt x="10041" y="16113"/>
                  </a:cubicBezTo>
                  <a:cubicBezTo>
                    <a:pt x="10039" y="16156"/>
                    <a:pt x="10175" y="16291"/>
                    <a:pt x="10178" y="16285"/>
                  </a:cubicBezTo>
                  <a:close/>
                  <a:moveTo>
                    <a:pt x="9834" y="15652"/>
                  </a:moveTo>
                  <a:cubicBezTo>
                    <a:pt x="9810" y="15678"/>
                    <a:pt x="9911" y="15827"/>
                    <a:pt x="9905" y="15836"/>
                  </a:cubicBezTo>
                  <a:cubicBezTo>
                    <a:pt x="9954" y="15762"/>
                    <a:pt x="9871" y="15553"/>
                    <a:pt x="9865" y="15506"/>
                  </a:cubicBezTo>
                  <a:cubicBezTo>
                    <a:pt x="9801" y="15501"/>
                    <a:pt x="9853" y="15581"/>
                    <a:pt x="9866" y="15605"/>
                  </a:cubicBezTo>
                  <a:cubicBezTo>
                    <a:pt x="9910" y="15691"/>
                    <a:pt x="9854" y="15631"/>
                    <a:pt x="9834" y="15652"/>
                  </a:cubicBezTo>
                  <a:close/>
                  <a:moveTo>
                    <a:pt x="13121" y="7618"/>
                  </a:moveTo>
                  <a:cubicBezTo>
                    <a:pt x="13123" y="7618"/>
                    <a:pt x="13125" y="7619"/>
                    <a:pt x="13127" y="7619"/>
                  </a:cubicBezTo>
                  <a:cubicBezTo>
                    <a:pt x="13102" y="7609"/>
                    <a:pt x="13112" y="7614"/>
                    <a:pt x="13121" y="7618"/>
                  </a:cubicBezTo>
                  <a:close/>
                  <a:moveTo>
                    <a:pt x="5017" y="4136"/>
                  </a:moveTo>
                  <a:cubicBezTo>
                    <a:pt x="5018" y="4134"/>
                    <a:pt x="5032" y="4230"/>
                    <a:pt x="5017" y="4229"/>
                  </a:cubicBezTo>
                  <a:cubicBezTo>
                    <a:pt x="5089" y="4232"/>
                    <a:pt x="5015" y="4197"/>
                    <a:pt x="5040" y="4174"/>
                  </a:cubicBezTo>
                  <a:cubicBezTo>
                    <a:pt x="5048" y="4180"/>
                    <a:pt x="5055" y="4186"/>
                    <a:pt x="5062" y="4193"/>
                  </a:cubicBezTo>
                  <a:cubicBezTo>
                    <a:pt x="5070" y="4191"/>
                    <a:pt x="5027" y="4159"/>
                    <a:pt x="5035" y="4151"/>
                  </a:cubicBezTo>
                  <a:cubicBezTo>
                    <a:pt x="5047" y="4152"/>
                    <a:pt x="5058" y="4153"/>
                    <a:pt x="5069" y="4153"/>
                  </a:cubicBezTo>
                  <a:cubicBezTo>
                    <a:pt x="5077" y="4147"/>
                    <a:pt x="5036" y="4119"/>
                    <a:pt x="4997" y="4103"/>
                  </a:cubicBezTo>
                  <a:cubicBezTo>
                    <a:pt x="4995" y="4083"/>
                    <a:pt x="5010" y="4070"/>
                    <a:pt x="5024" y="4060"/>
                  </a:cubicBezTo>
                  <a:cubicBezTo>
                    <a:pt x="4955" y="3974"/>
                    <a:pt x="4969" y="4161"/>
                    <a:pt x="5008" y="4193"/>
                  </a:cubicBezTo>
                  <a:cubicBezTo>
                    <a:pt x="5012" y="4197"/>
                    <a:pt x="5015" y="4140"/>
                    <a:pt x="5017" y="4136"/>
                  </a:cubicBezTo>
                  <a:close/>
                  <a:moveTo>
                    <a:pt x="4250" y="7118"/>
                  </a:moveTo>
                  <a:cubicBezTo>
                    <a:pt x="4252" y="7119"/>
                    <a:pt x="4254" y="7119"/>
                    <a:pt x="4256" y="7119"/>
                  </a:cubicBezTo>
                  <a:cubicBezTo>
                    <a:pt x="4254" y="7119"/>
                    <a:pt x="4252" y="7119"/>
                    <a:pt x="4250" y="7118"/>
                  </a:cubicBezTo>
                  <a:close/>
                  <a:moveTo>
                    <a:pt x="11673" y="1395"/>
                  </a:moveTo>
                  <a:cubicBezTo>
                    <a:pt x="11672" y="1395"/>
                    <a:pt x="11672" y="1395"/>
                    <a:pt x="11673" y="1395"/>
                  </a:cubicBezTo>
                  <a:cubicBezTo>
                    <a:pt x="11673" y="1395"/>
                    <a:pt x="11673" y="1395"/>
                    <a:pt x="11673" y="1395"/>
                  </a:cubicBezTo>
                  <a:cubicBezTo>
                    <a:pt x="11677" y="1398"/>
                    <a:pt x="11750" y="1440"/>
                    <a:pt x="11746" y="1368"/>
                  </a:cubicBezTo>
                  <a:cubicBezTo>
                    <a:pt x="11743" y="1316"/>
                    <a:pt x="11783" y="1365"/>
                    <a:pt x="11810" y="1312"/>
                  </a:cubicBezTo>
                  <a:cubicBezTo>
                    <a:pt x="11829" y="1271"/>
                    <a:pt x="11803" y="1220"/>
                    <a:pt x="11779" y="1228"/>
                  </a:cubicBezTo>
                  <a:cubicBezTo>
                    <a:pt x="11774" y="1235"/>
                    <a:pt x="11768" y="1243"/>
                    <a:pt x="11759" y="1252"/>
                  </a:cubicBezTo>
                  <a:cubicBezTo>
                    <a:pt x="11765" y="1237"/>
                    <a:pt x="11772" y="1230"/>
                    <a:pt x="11779" y="1228"/>
                  </a:cubicBezTo>
                  <a:cubicBezTo>
                    <a:pt x="11828" y="1154"/>
                    <a:pt x="11696" y="1153"/>
                    <a:pt x="11682" y="1162"/>
                  </a:cubicBezTo>
                  <a:cubicBezTo>
                    <a:pt x="11667" y="1171"/>
                    <a:pt x="11720" y="1251"/>
                    <a:pt x="11703" y="1250"/>
                  </a:cubicBezTo>
                  <a:cubicBezTo>
                    <a:pt x="11685" y="1249"/>
                    <a:pt x="11635" y="1231"/>
                    <a:pt x="11622" y="1219"/>
                  </a:cubicBezTo>
                  <a:cubicBezTo>
                    <a:pt x="11638" y="1234"/>
                    <a:pt x="11716" y="1315"/>
                    <a:pt x="11640" y="1291"/>
                  </a:cubicBezTo>
                  <a:cubicBezTo>
                    <a:pt x="11642" y="1292"/>
                    <a:pt x="11516" y="1276"/>
                    <a:pt x="11549" y="1296"/>
                  </a:cubicBezTo>
                  <a:cubicBezTo>
                    <a:pt x="11553" y="1299"/>
                    <a:pt x="11604" y="1310"/>
                    <a:pt x="11602" y="1314"/>
                  </a:cubicBezTo>
                  <a:cubicBezTo>
                    <a:pt x="11587" y="1320"/>
                    <a:pt x="11571" y="1326"/>
                    <a:pt x="11556" y="1332"/>
                  </a:cubicBezTo>
                  <a:cubicBezTo>
                    <a:pt x="11550" y="1345"/>
                    <a:pt x="11602" y="1348"/>
                    <a:pt x="11600" y="1363"/>
                  </a:cubicBezTo>
                  <a:cubicBezTo>
                    <a:pt x="11600" y="1363"/>
                    <a:pt x="11536" y="1384"/>
                    <a:pt x="11553" y="1390"/>
                  </a:cubicBezTo>
                  <a:cubicBezTo>
                    <a:pt x="11560" y="1393"/>
                    <a:pt x="11603" y="1384"/>
                    <a:pt x="11609" y="1393"/>
                  </a:cubicBezTo>
                  <a:cubicBezTo>
                    <a:pt x="11631" y="1421"/>
                    <a:pt x="11510" y="1446"/>
                    <a:pt x="11521" y="1457"/>
                  </a:cubicBezTo>
                  <a:cubicBezTo>
                    <a:pt x="11528" y="1464"/>
                    <a:pt x="11666" y="1392"/>
                    <a:pt x="11673" y="1395"/>
                  </a:cubicBezTo>
                  <a:close/>
                  <a:moveTo>
                    <a:pt x="11759" y="1252"/>
                  </a:moveTo>
                  <a:cubicBezTo>
                    <a:pt x="11768" y="1243"/>
                    <a:pt x="11774" y="1235"/>
                    <a:pt x="11779" y="1228"/>
                  </a:cubicBezTo>
                  <a:cubicBezTo>
                    <a:pt x="11772" y="1230"/>
                    <a:pt x="11765" y="1237"/>
                    <a:pt x="11759" y="1252"/>
                  </a:cubicBezTo>
                  <a:close/>
                  <a:moveTo>
                    <a:pt x="4759" y="6980"/>
                  </a:moveTo>
                  <a:cubicBezTo>
                    <a:pt x="4761" y="6979"/>
                    <a:pt x="4763" y="6979"/>
                    <a:pt x="4765" y="6979"/>
                  </a:cubicBezTo>
                  <a:cubicBezTo>
                    <a:pt x="4764" y="6978"/>
                    <a:pt x="4762" y="6978"/>
                    <a:pt x="4759" y="6980"/>
                  </a:cubicBezTo>
                  <a:close/>
                  <a:moveTo>
                    <a:pt x="3984" y="7810"/>
                  </a:moveTo>
                  <a:cubicBezTo>
                    <a:pt x="3983" y="7810"/>
                    <a:pt x="3982" y="7810"/>
                    <a:pt x="3981" y="7811"/>
                  </a:cubicBezTo>
                  <a:cubicBezTo>
                    <a:pt x="3982" y="7810"/>
                    <a:pt x="3983" y="7810"/>
                    <a:pt x="3984" y="7810"/>
                  </a:cubicBezTo>
                  <a:close/>
                  <a:moveTo>
                    <a:pt x="4977" y="4288"/>
                  </a:moveTo>
                  <a:cubicBezTo>
                    <a:pt x="5022" y="4264"/>
                    <a:pt x="4988" y="4242"/>
                    <a:pt x="4974" y="4218"/>
                  </a:cubicBezTo>
                  <a:cubicBezTo>
                    <a:pt x="4974" y="4217"/>
                    <a:pt x="4972" y="4215"/>
                    <a:pt x="4971" y="4210"/>
                  </a:cubicBezTo>
                  <a:cubicBezTo>
                    <a:pt x="4971" y="4213"/>
                    <a:pt x="4973" y="4215"/>
                    <a:pt x="4974" y="4218"/>
                  </a:cubicBezTo>
                  <a:cubicBezTo>
                    <a:pt x="4978" y="4219"/>
                    <a:pt x="4969" y="4166"/>
                    <a:pt x="4969" y="4178"/>
                  </a:cubicBezTo>
                  <a:cubicBezTo>
                    <a:pt x="4969" y="4159"/>
                    <a:pt x="4984" y="4074"/>
                    <a:pt x="4950" y="4041"/>
                  </a:cubicBezTo>
                  <a:cubicBezTo>
                    <a:pt x="4950" y="4041"/>
                    <a:pt x="4950" y="4041"/>
                    <a:pt x="4949" y="4041"/>
                  </a:cubicBezTo>
                  <a:cubicBezTo>
                    <a:pt x="4902" y="4123"/>
                    <a:pt x="4926" y="4102"/>
                    <a:pt x="4943" y="4180"/>
                  </a:cubicBezTo>
                  <a:cubicBezTo>
                    <a:pt x="4945" y="4189"/>
                    <a:pt x="4970" y="4292"/>
                    <a:pt x="4977" y="4288"/>
                  </a:cubicBezTo>
                  <a:close/>
                  <a:moveTo>
                    <a:pt x="4974" y="4218"/>
                  </a:moveTo>
                  <a:cubicBezTo>
                    <a:pt x="4973" y="4215"/>
                    <a:pt x="4971" y="4213"/>
                    <a:pt x="4971" y="4210"/>
                  </a:cubicBezTo>
                  <a:cubicBezTo>
                    <a:pt x="4972" y="4215"/>
                    <a:pt x="4974" y="4217"/>
                    <a:pt x="4974" y="4218"/>
                  </a:cubicBezTo>
                  <a:close/>
                  <a:moveTo>
                    <a:pt x="4906" y="6862"/>
                  </a:moveTo>
                  <a:cubicBezTo>
                    <a:pt x="4907" y="6863"/>
                    <a:pt x="4906" y="6864"/>
                    <a:pt x="4905" y="6864"/>
                  </a:cubicBezTo>
                  <a:cubicBezTo>
                    <a:pt x="4907" y="6864"/>
                    <a:pt x="4907" y="6863"/>
                    <a:pt x="4906" y="6862"/>
                  </a:cubicBezTo>
                  <a:close/>
                  <a:moveTo>
                    <a:pt x="4950" y="4041"/>
                  </a:moveTo>
                  <a:lnTo>
                    <a:pt x="4950" y="4041"/>
                  </a:lnTo>
                  <a:cubicBezTo>
                    <a:pt x="4985" y="4073"/>
                    <a:pt x="4950" y="4041"/>
                    <a:pt x="4950" y="4041"/>
                  </a:cubicBezTo>
                  <a:close/>
                  <a:moveTo>
                    <a:pt x="4515" y="6475"/>
                  </a:moveTo>
                  <a:cubicBezTo>
                    <a:pt x="4516" y="6472"/>
                    <a:pt x="4517" y="6470"/>
                    <a:pt x="4519" y="6469"/>
                  </a:cubicBezTo>
                  <a:cubicBezTo>
                    <a:pt x="4515" y="6471"/>
                    <a:pt x="4514" y="6473"/>
                    <a:pt x="4515" y="6475"/>
                  </a:cubicBezTo>
                  <a:close/>
                  <a:moveTo>
                    <a:pt x="4122" y="7782"/>
                  </a:moveTo>
                  <a:cubicBezTo>
                    <a:pt x="4122" y="7780"/>
                    <a:pt x="4122" y="7779"/>
                    <a:pt x="4122" y="7777"/>
                  </a:cubicBezTo>
                  <a:cubicBezTo>
                    <a:pt x="4122" y="7777"/>
                    <a:pt x="4122" y="7779"/>
                    <a:pt x="4122" y="7782"/>
                  </a:cubicBezTo>
                  <a:close/>
                  <a:moveTo>
                    <a:pt x="11217" y="1743"/>
                  </a:moveTo>
                  <a:cubicBezTo>
                    <a:pt x="11217" y="1746"/>
                    <a:pt x="11217" y="1749"/>
                    <a:pt x="11218" y="1752"/>
                  </a:cubicBezTo>
                  <a:cubicBezTo>
                    <a:pt x="11220" y="1748"/>
                    <a:pt x="11219" y="1745"/>
                    <a:pt x="11217" y="1743"/>
                  </a:cubicBezTo>
                  <a:close/>
                  <a:moveTo>
                    <a:pt x="4489" y="11153"/>
                  </a:moveTo>
                  <a:cubicBezTo>
                    <a:pt x="4488" y="11153"/>
                    <a:pt x="4487" y="11154"/>
                    <a:pt x="4486" y="11154"/>
                  </a:cubicBezTo>
                  <a:cubicBezTo>
                    <a:pt x="4487" y="11155"/>
                    <a:pt x="4488" y="11154"/>
                    <a:pt x="4489" y="11153"/>
                  </a:cubicBezTo>
                  <a:close/>
                  <a:moveTo>
                    <a:pt x="3802" y="11944"/>
                  </a:moveTo>
                  <a:cubicBezTo>
                    <a:pt x="3827" y="11987"/>
                    <a:pt x="3939" y="11979"/>
                    <a:pt x="3868" y="11923"/>
                  </a:cubicBezTo>
                  <a:cubicBezTo>
                    <a:pt x="3856" y="11919"/>
                    <a:pt x="3763" y="11876"/>
                    <a:pt x="3802" y="11944"/>
                  </a:cubicBezTo>
                  <a:close/>
                  <a:moveTo>
                    <a:pt x="4292" y="11179"/>
                  </a:moveTo>
                  <a:cubicBezTo>
                    <a:pt x="4268" y="11278"/>
                    <a:pt x="4410" y="11227"/>
                    <a:pt x="4428" y="11222"/>
                  </a:cubicBezTo>
                  <a:cubicBezTo>
                    <a:pt x="4462" y="11234"/>
                    <a:pt x="4475" y="11204"/>
                    <a:pt x="4475" y="11214"/>
                  </a:cubicBezTo>
                  <a:cubicBezTo>
                    <a:pt x="4471" y="11161"/>
                    <a:pt x="4315" y="11087"/>
                    <a:pt x="4292" y="11179"/>
                  </a:cubicBezTo>
                  <a:close/>
                  <a:moveTo>
                    <a:pt x="3760" y="11733"/>
                  </a:moveTo>
                  <a:cubicBezTo>
                    <a:pt x="3752" y="11744"/>
                    <a:pt x="3749" y="11734"/>
                    <a:pt x="3760" y="11733"/>
                  </a:cubicBezTo>
                  <a:cubicBezTo>
                    <a:pt x="3738" y="11735"/>
                    <a:pt x="3718" y="11741"/>
                    <a:pt x="3697" y="11748"/>
                  </a:cubicBezTo>
                  <a:cubicBezTo>
                    <a:pt x="3709" y="11750"/>
                    <a:pt x="3727" y="11781"/>
                    <a:pt x="3760" y="11733"/>
                  </a:cubicBezTo>
                  <a:close/>
                  <a:moveTo>
                    <a:pt x="5254" y="11009"/>
                  </a:moveTo>
                  <a:cubicBezTo>
                    <a:pt x="5251" y="11008"/>
                    <a:pt x="5248" y="11008"/>
                    <a:pt x="5245" y="11007"/>
                  </a:cubicBezTo>
                  <a:cubicBezTo>
                    <a:pt x="5247" y="11008"/>
                    <a:pt x="5250" y="11008"/>
                    <a:pt x="5254" y="11009"/>
                  </a:cubicBezTo>
                  <a:close/>
                  <a:moveTo>
                    <a:pt x="11900" y="1073"/>
                  </a:moveTo>
                  <a:cubicBezTo>
                    <a:pt x="11898" y="1077"/>
                    <a:pt x="11897" y="1080"/>
                    <a:pt x="11896" y="1080"/>
                  </a:cubicBezTo>
                  <a:cubicBezTo>
                    <a:pt x="11900" y="1078"/>
                    <a:pt x="11900" y="1075"/>
                    <a:pt x="11900" y="1073"/>
                  </a:cubicBezTo>
                  <a:close/>
                  <a:moveTo>
                    <a:pt x="3760" y="11733"/>
                  </a:moveTo>
                  <a:cubicBezTo>
                    <a:pt x="3749" y="11734"/>
                    <a:pt x="3752" y="11744"/>
                    <a:pt x="3760" y="11733"/>
                  </a:cubicBezTo>
                  <a:cubicBezTo>
                    <a:pt x="3760" y="11733"/>
                    <a:pt x="3760" y="11733"/>
                    <a:pt x="3760" y="11733"/>
                  </a:cubicBezTo>
                  <a:close/>
                  <a:moveTo>
                    <a:pt x="12146" y="964"/>
                  </a:moveTo>
                  <a:cubicBezTo>
                    <a:pt x="12167" y="950"/>
                    <a:pt x="12122" y="888"/>
                    <a:pt x="12104" y="908"/>
                  </a:cubicBezTo>
                  <a:cubicBezTo>
                    <a:pt x="12102" y="923"/>
                    <a:pt x="12096" y="935"/>
                    <a:pt x="12087" y="947"/>
                  </a:cubicBezTo>
                  <a:cubicBezTo>
                    <a:pt x="12036" y="959"/>
                    <a:pt x="12079" y="899"/>
                    <a:pt x="12071" y="888"/>
                  </a:cubicBezTo>
                  <a:cubicBezTo>
                    <a:pt x="12068" y="885"/>
                    <a:pt x="12022" y="893"/>
                    <a:pt x="12020" y="897"/>
                  </a:cubicBezTo>
                  <a:cubicBezTo>
                    <a:pt x="12021" y="908"/>
                    <a:pt x="11925" y="1110"/>
                    <a:pt x="12146" y="964"/>
                  </a:cubicBezTo>
                  <a:close/>
                  <a:moveTo>
                    <a:pt x="5499" y="10684"/>
                  </a:moveTo>
                  <a:cubicBezTo>
                    <a:pt x="5500" y="10684"/>
                    <a:pt x="5500" y="10684"/>
                    <a:pt x="5501" y="10685"/>
                  </a:cubicBezTo>
                  <a:cubicBezTo>
                    <a:pt x="5501" y="10684"/>
                    <a:pt x="5500" y="10684"/>
                    <a:pt x="5499" y="10684"/>
                  </a:cubicBezTo>
                  <a:close/>
                  <a:moveTo>
                    <a:pt x="11673" y="1395"/>
                  </a:moveTo>
                  <a:cubicBezTo>
                    <a:pt x="11673" y="1395"/>
                    <a:pt x="11673" y="1395"/>
                    <a:pt x="11673" y="1395"/>
                  </a:cubicBezTo>
                  <a:cubicBezTo>
                    <a:pt x="11672" y="1395"/>
                    <a:pt x="11672" y="1395"/>
                    <a:pt x="11673" y="1395"/>
                  </a:cubicBezTo>
                  <a:close/>
                  <a:moveTo>
                    <a:pt x="4677" y="6946"/>
                  </a:moveTo>
                  <a:cubicBezTo>
                    <a:pt x="4663" y="6950"/>
                    <a:pt x="4653" y="6952"/>
                    <a:pt x="4653" y="6952"/>
                  </a:cubicBezTo>
                  <a:cubicBezTo>
                    <a:pt x="4661" y="6952"/>
                    <a:pt x="4670" y="6949"/>
                    <a:pt x="4677" y="6946"/>
                  </a:cubicBezTo>
                  <a:close/>
                  <a:moveTo>
                    <a:pt x="11979" y="1107"/>
                  </a:moveTo>
                  <a:cubicBezTo>
                    <a:pt x="12027" y="1051"/>
                    <a:pt x="12027" y="1016"/>
                    <a:pt x="11943" y="1003"/>
                  </a:cubicBezTo>
                  <a:cubicBezTo>
                    <a:pt x="11948" y="1004"/>
                    <a:pt x="11960" y="1124"/>
                    <a:pt x="11944" y="1120"/>
                  </a:cubicBezTo>
                  <a:cubicBezTo>
                    <a:pt x="11921" y="1114"/>
                    <a:pt x="11937" y="1063"/>
                    <a:pt x="11928" y="1049"/>
                  </a:cubicBezTo>
                  <a:cubicBezTo>
                    <a:pt x="11918" y="1034"/>
                    <a:pt x="11906" y="1059"/>
                    <a:pt x="11900" y="1073"/>
                  </a:cubicBezTo>
                  <a:cubicBezTo>
                    <a:pt x="11900" y="1075"/>
                    <a:pt x="11900" y="1078"/>
                    <a:pt x="11896" y="1080"/>
                  </a:cubicBezTo>
                  <a:cubicBezTo>
                    <a:pt x="11897" y="1080"/>
                    <a:pt x="11898" y="1077"/>
                    <a:pt x="11900" y="1073"/>
                  </a:cubicBezTo>
                  <a:cubicBezTo>
                    <a:pt x="11898" y="1057"/>
                    <a:pt x="11842" y="1041"/>
                    <a:pt x="11859" y="1090"/>
                  </a:cubicBezTo>
                  <a:cubicBezTo>
                    <a:pt x="11868" y="1116"/>
                    <a:pt x="11839" y="1100"/>
                    <a:pt x="11833" y="1108"/>
                  </a:cubicBezTo>
                  <a:cubicBezTo>
                    <a:pt x="11823" y="1122"/>
                    <a:pt x="11873" y="1137"/>
                    <a:pt x="11877" y="1148"/>
                  </a:cubicBezTo>
                  <a:cubicBezTo>
                    <a:pt x="11883" y="1166"/>
                    <a:pt x="11781" y="1139"/>
                    <a:pt x="11777" y="1148"/>
                  </a:cubicBezTo>
                  <a:cubicBezTo>
                    <a:pt x="11788" y="1173"/>
                    <a:pt x="11916" y="1181"/>
                    <a:pt x="11979" y="1107"/>
                  </a:cubicBezTo>
                  <a:close/>
                  <a:moveTo>
                    <a:pt x="4330" y="6631"/>
                  </a:moveTo>
                  <a:cubicBezTo>
                    <a:pt x="4265" y="6619"/>
                    <a:pt x="4293" y="6743"/>
                    <a:pt x="4314" y="6743"/>
                  </a:cubicBezTo>
                  <a:cubicBezTo>
                    <a:pt x="4218" y="6743"/>
                    <a:pt x="4280" y="6858"/>
                    <a:pt x="4327" y="6854"/>
                  </a:cubicBezTo>
                  <a:cubicBezTo>
                    <a:pt x="4253" y="6860"/>
                    <a:pt x="4301" y="6802"/>
                    <a:pt x="4241" y="6801"/>
                  </a:cubicBezTo>
                  <a:cubicBezTo>
                    <a:pt x="4230" y="6800"/>
                    <a:pt x="4195" y="6915"/>
                    <a:pt x="4199" y="6923"/>
                  </a:cubicBezTo>
                  <a:cubicBezTo>
                    <a:pt x="4206" y="6938"/>
                    <a:pt x="4305" y="6920"/>
                    <a:pt x="4321" y="6927"/>
                  </a:cubicBezTo>
                  <a:cubicBezTo>
                    <a:pt x="4321" y="6926"/>
                    <a:pt x="4216" y="6962"/>
                    <a:pt x="4209" y="6970"/>
                  </a:cubicBezTo>
                  <a:cubicBezTo>
                    <a:pt x="4208" y="6971"/>
                    <a:pt x="4275" y="7013"/>
                    <a:pt x="4284" y="7021"/>
                  </a:cubicBezTo>
                  <a:cubicBezTo>
                    <a:pt x="4167" y="6954"/>
                    <a:pt x="4217" y="7107"/>
                    <a:pt x="4250" y="7118"/>
                  </a:cubicBezTo>
                  <a:cubicBezTo>
                    <a:pt x="4252" y="7119"/>
                    <a:pt x="4254" y="7119"/>
                    <a:pt x="4256" y="7119"/>
                  </a:cubicBezTo>
                  <a:cubicBezTo>
                    <a:pt x="4254" y="7119"/>
                    <a:pt x="4252" y="7119"/>
                    <a:pt x="4250" y="7118"/>
                  </a:cubicBezTo>
                  <a:cubicBezTo>
                    <a:pt x="4222" y="7116"/>
                    <a:pt x="4195" y="7045"/>
                    <a:pt x="4161" y="7058"/>
                  </a:cubicBezTo>
                  <a:cubicBezTo>
                    <a:pt x="4104" y="7082"/>
                    <a:pt x="4195" y="7145"/>
                    <a:pt x="4213" y="7152"/>
                  </a:cubicBezTo>
                  <a:cubicBezTo>
                    <a:pt x="4158" y="7131"/>
                    <a:pt x="4101" y="7103"/>
                    <a:pt x="4064" y="7170"/>
                  </a:cubicBezTo>
                  <a:cubicBezTo>
                    <a:pt x="4050" y="7197"/>
                    <a:pt x="4103" y="7217"/>
                    <a:pt x="4087" y="7243"/>
                  </a:cubicBezTo>
                  <a:cubicBezTo>
                    <a:pt x="4076" y="7262"/>
                    <a:pt x="3953" y="7191"/>
                    <a:pt x="3935" y="7232"/>
                  </a:cubicBezTo>
                  <a:cubicBezTo>
                    <a:pt x="3913" y="7283"/>
                    <a:pt x="4110" y="7296"/>
                    <a:pt x="4131" y="7323"/>
                  </a:cubicBezTo>
                  <a:cubicBezTo>
                    <a:pt x="4124" y="7315"/>
                    <a:pt x="4003" y="7288"/>
                    <a:pt x="3985" y="7300"/>
                  </a:cubicBezTo>
                  <a:cubicBezTo>
                    <a:pt x="3960" y="7318"/>
                    <a:pt x="4046" y="7436"/>
                    <a:pt x="4099" y="7407"/>
                  </a:cubicBezTo>
                  <a:cubicBezTo>
                    <a:pt x="4116" y="7398"/>
                    <a:pt x="4290" y="7290"/>
                    <a:pt x="4294" y="7299"/>
                  </a:cubicBezTo>
                  <a:cubicBezTo>
                    <a:pt x="4306" y="7322"/>
                    <a:pt x="4226" y="7327"/>
                    <a:pt x="4242" y="7343"/>
                  </a:cubicBezTo>
                  <a:cubicBezTo>
                    <a:pt x="4261" y="7347"/>
                    <a:pt x="4275" y="7355"/>
                    <a:pt x="4285" y="7370"/>
                  </a:cubicBezTo>
                  <a:cubicBezTo>
                    <a:pt x="4228" y="7349"/>
                    <a:pt x="4113" y="7399"/>
                    <a:pt x="4107" y="7466"/>
                  </a:cubicBezTo>
                  <a:cubicBezTo>
                    <a:pt x="4105" y="7485"/>
                    <a:pt x="4198" y="7435"/>
                    <a:pt x="4174" y="7499"/>
                  </a:cubicBezTo>
                  <a:cubicBezTo>
                    <a:pt x="4181" y="7479"/>
                    <a:pt x="4056" y="7515"/>
                    <a:pt x="4033" y="7551"/>
                  </a:cubicBezTo>
                  <a:cubicBezTo>
                    <a:pt x="4026" y="7563"/>
                    <a:pt x="4035" y="7630"/>
                    <a:pt x="3999" y="7625"/>
                  </a:cubicBezTo>
                  <a:cubicBezTo>
                    <a:pt x="3993" y="7638"/>
                    <a:pt x="4006" y="7642"/>
                    <a:pt x="4040" y="7608"/>
                  </a:cubicBezTo>
                  <a:cubicBezTo>
                    <a:pt x="4071" y="7648"/>
                    <a:pt x="3885" y="7690"/>
                    <a:pt x="3926" y="7757"/>
                  </a:cubicBezTo>
                  <a:cubicBezTo>
                    <a:pt x="3932" y="7767"/>
                    <a:pt x="3973" y="7738"/>
                    <a:pt x="3972" y="7743"/>
                  </a:cubicBezTo>
                  <a:cubicBezTo>
                    <a:pt x="3968" y="7768"/>
                    <a:pt x="3915" y="7778"/>
                    <a:pt x="3910" y="7810"/>
                  </a:cubicBezTo>
                  <a:cubicBezTo>
                    <a:pt x="3902" y="7857"/>
                    <a:pt x="3962" y="7814"/>
                    <a:pt x="3981" y="7811"/>
                  </a:cubicBezTo>
                  <a:cubicBezTo>
                    <a:pt x="3982" y="7810"/>
                    <a:pt x="3983" y="7810"/>
                    <a:pt x="3984" y="7810"/>
                  </a:cubicBezTo>
                  <a:cubicBezTo>
                    <a:pt x="3985" y="7810"/>
                    <a:pt x="3987" y="7811"/>
                    <a:pt x="3987" y="7812"/>
                  </a:cubicBezTo>
                  <a:cubicBezTo>
                    <a:pt x="3986" y="7811"/>
                    <a:pt x="3985" y="7811"/>
                    <a:pt x="3984" y="7810"/>
                  </a:cubicBezTo>
                  <a:cubicBezTo>
                    <a:pt x="3983" y="7810"/>
                    <a:pt x="3982" y="7810"/>
                    <a:pt x="3981" y="7811"/>
                  </a:cubicBezTo>
                  <a:cubicBezTo>
                    <a:pt x="3947" y="7819"/>
                    <a:pt x="3780" y="8025"/>
                    <a:pt x="3769" y="8038"/>
                  </a:cubicBezTo>
                  <a:cubicBezTo>
                    <a:pt x="3723" y="8090"/>
                    <a:pt x="3826" y="8093"/>
                    <a:pt x="3849" y="8083"/>
                  </a:cubicBezTo>
                  <a:cubicBezTo>
                    <a:pt x="3869" y="8074"/>
                    <a:pt x="3882" y="8004"/>
                    <a:pt x="3913" y="7977"/>
                  </a:cubicBezTo>
                  <a:cubicBezTo>
                    <a:pt x="3949" y="7944"/>
                    <a:pt x="3926" y="7909"/>
                    <a:pt x="3963" y="7877"/>
                  </a:cubicBezTo>
                  <a:cubicBezTo>
                    <a:pt x="4017" y="7831"/>
                    <a:pt x="4020" y="7876"/>
                    <a:pt x="4009" y="7779"/>
                  </a:cubicBezTo>
                  <a:cubicBezTo>
                    <a:pt x="4003" y="7729"/>
                    <a:pt x="4166" y="7602"/>
                    <a:pt x="4235" y="7627"/>
                  </a:cubicBezTo>
                  <a:cubicBezTo>
                    <a:pt x="4213" y="7619"/>
                    <a:pt x="3941" y="7797"/>
                    <a:pt x="4049" y="7842"/>
                  </a:cubicBezTo>
                  <a:cubicBezTo>
                    <a:pt x="4069" y="7851"/>
                    <a:pt x="4076" y="7772"/>
                    <a:pt x="4092" y="7766"/>
                  </a:cubicBezTo>
                  <a:cubicBezTo>
                    <a:pt x="4092" y="7766"/>
                    <a:pt x="4097" y="7823"/>
                    <a:pt x="4114" y="7816"/>
                  </a:cubicBezTo>
                  <a:cubicBezTo>
                    <a:pt x="4119" y="7805"/>
                    <a:pt x="4121" y="7794"/>
                    <a:pt x="4122" y="7782"/>
                  </a:cubicBezTo>
                  <a:cubicBezTo>
                    <a:pt x="4122" y="7779"/>
                    <a:pt x="4122" y="7777"/>
                    <a:pt x="4122" y="7777"/>
                  </a:cubicBezTo>
                  <a:cubicBezTo>
                    <a:pt x="4122" y="7779"/>
                    <a:pt x="4122" y="7780"/>
                    <a:pt x="4122" y="7782"/>
                  </a:cubicBezTo>
                  <a:cubicBezTo>
                    <a:pt x="4121" y="7799"/>
                    <a:pt x="4127" y="7850"/>
                    <a:pt x="4138" y="7846"/>
                  </a:cubicBezTo>
                  <a:cubicBezTo>
                    <a:pt x="4177" y="7830"/>
                    <a:pt x="4198" y="7695"/>
                    <a:pt x="4221" y="7696"/>
                  </a:cubicBezTo>
                  <a:cubicBezTo>
                    <a:pt x="4255" y="7698"/>
                    <a:pt x="4187" y="7786"/>
                    <a:pt x="4211" y="7810"/>
                  </a:cubicBezTo>
                  <a:cubicBezTo>
                    <a:pt x="4089" y="7784"/>
                    <a:pt x="4173" y="8075"/>
                    <a:pt x="4173" y="8102"/>
                  </a:cubicBezTo>
                  <a:cubicBezTo>
                    <a:pt x="4172" y="8145"/>
                    <a:pt x="3935" y="8250"/>
                    <a:pt x="3934" y="8387"/>
                  </a:cubicBezTo>
                  <a:cubicBezTo>
                    <a:pt x="3926" y="8365"/>
                    <a:pt x="3922" y="8342"/>
                    <a:pt x="3923" y="8318"/>
                  </a:cubicBezTo>
                  <a:cubicBezTo>
                    <a:pt x="3902" y="8304"/>
                    <a:pt x="3887" y="8312"/>
                    <a:pt x="3878" y="8341"/>
                  </a:cubicBezTo>
                  <a:cubicBezTo>
                    <a:pt x="3867" y="8381"/>
                    <a:pt x="3895" y="8427"/>
                    <a:pt x="3907" y="8463"/>
                  </a:cubicBezTo>
                  <a:cubicBezTo>
                    <a:pt x="3911" y="8476"/>
                    <a:pt x="3888" y="8562"/>
                    <a:pt x="3922" y="8552"/>
                  </a:cubicBezTo>
                  <a:cubicBezTo>
                    <a:pt x="3938" y="8547"/>
                    <a:pt x="3936" y="8294"/>
                    <a:pt x="4022" y="8480"/>
                  </a:cubicBezTo>
                  <a:cubicBezTo>
                    <a:pt x="4104" y="8661"/>
                    <a:pt x="4157" y="8482"/>
                    <a:pt x="4127" y="8445"/>
                  </a:cubicBezTo>
                  <a:cubicBezTo>
                    <a:pt x="4165" y="8490"/>
                    <a:pt x="4131" y="8478"/>
                    <a:pt x="4181" y="8496"/>
                  </a:cubicBezTo>
                  <a:cubicBezTo>
                    <a:pt x="4163" y="8490"/>
                    <a:pt x="4170" y="8585"/>
                    <a:pt x="4198" y="8565"/>
                  </a:cubicBezTo>
                  <a:cubicBezTo>
                    <a:pt x="4202" y="8551"/>
                    <a:pt x="4210" y="8540"/>
                    <a:pt x="4222" y="8531"/>
                  </a:cubicBezTo>
                  <a:cubicBezTo>
                    <a:pt x="4220" y="8545"/>
                    <a:pt x="4216" y="8557"/>
                    <a:pt x="4209" y="8569"/>
                  </a:cubicBezTo>
                  <a:cubicBezTo>
                    <a:pt x="4222" y="8616"/>
                    <a:pt x="4284" y="8557"/>
                    <a:pt x="4288" y="8544"/>
                  </a:cubicBezTo>
                  <a:cubicBezTo>
                    <a:pt x="4293" y="8531"/>
                    <a:pt x="4370" y="8561"/>
                    <a:pt x="4371" y="8562"/>
                  </a:cubicBezTo>
                  <a:cubicBezTo>
                    <a:pt x="4402" y="8566"/>
                    <a:pt x="4390" y="8512"/>
                    <a:pt x="4404" y="8499"/>
                  </a:cubicBezTo>
                  <a:cubicBezTo>
                    <a:pt x="4411" y="8494"/>
                    <a:pt x="4593" y="8563"/>
                    <a:pt x="4594" y="8582"/>
                  </a:cubicBezTo>
                  <a:cubicBezTo>
                    <a:pt x="4579" y="8561"/>
                    <a:pt x="4480" y="8579"/>
                    <a:pt x="4477" y="8597"/>
                  </a:cubicBezTo>
                  <a:cubicBezTo>
                    <a:pt x="4474" y="8589"/>
                    <a:pt x="4471" y="8581"/>
                    <a:pt x="4468" y="8573"/>
                  </a:cubicBezTo>
                  <a:cubicBezTo>
                    <a:pt x="4436" y="8563"/>
                    <a:pt x="4303" y="8725"/>
                    <a:pt x="4293" y="8756"/>
                  </a:cubicBezTo>
                  <a:cubicBezTo>
                    <a:pt x="4291" y="8763"/>
                    <a:pt x="4318" y="8861"/>
                    <a:pt x="4318" y="8867"/>
                  </a:cubicBezTo>
                  <a:cubicBezTo>
                    <a:pt x="4317" y="8977"/>
                    <a:pt x="4324" y="8962"/>
                    <a:pt x="4385" y="8944"/>
                  </a:cubicBezTo>
                  <a:cubicBezTo>
                    <a:pt x="4356" y="8953"/>
                    <a:pt x="4345" y="9043"/>
                    <a:pt x="4369" y="9065"/>
                  </a:cubicBezTo>
                  <a:cubicBezTo>
                    <a:pt x="4390" y="9084"/>
                    <a:pt x="4400" y="8986"/>
                    <a:pt x="4427" y="9000"/>
                  </a:cubicBezTo>
                  <a:cubicBezTo>
                    <a:pt x="4430" y="9012"/>
                    <a:pt x="4434" y="9024"/>
                    <a:pt x="4439" y="9035"/>
                  </a:cubicBezTo>
                  <a:cubicBezTo>
                    <a:pt x="4454" y="9040"/>
                    <a:pt x="4479" y="8993"/>
                    <a:pt x="4497" y="9023"/>
                  </a:cubicBezTo>
                  <a:cubicBezTo>
                    <a:pt x="4515" y="9013"/>
                    <a:pt x="4490" y="9058"/>
                    <a:pt x="4487" y="9072"/>
                  </a:cubicBezTo>
                  <a:cubicBezTo>
                    <a:pt x="4471" y="9086"/>
                    <a:pt x="4453" y="9098"/>
                    <a:pt x="4434" y="9107"/>
                  </a:cubicBezTo>
                  <a:cubicBezTo>
                    <a:pt x="4432" y="9124"/>
                    <a:pt x="4437" y="9140"/>
                    <a:pt x="4448" y="9154"/>
                  </a:cubicBezTo>
                  <a:cubicBezTo>
                    <a:pt x="4442" y="9189"/>
                    <a:pt x="4357" y="9145"/>
                    <a:pt x="4341" y="9223"/>
                  </a:cubicBezTo>
                  <a:cubicBezTo>
                    <a:pt x="4321" y="9321"/>
                    <a:pt x="4393" y="9227"/>
                    <a:pt x="4405" y="9286"/>
                  </a:cubicBezTo>
                  <a:cubicBezTo>
                    <a:pt x="4404" y="9281"/>
                    <a:pt x="4276" y="9333"/>
                    <a:pt x="4281" y="9392"/>
                  </a:cubicBezTo>
                  <a:cubicBezTo>
                    <a:pt x="4288" y="9482"/>
                    <a:pt x="4311" y="9479"/>
                    <a:pt x="4363" y="9524"/>
                  </a:cubicBezTo>
                  <a:cubicBezTo>
                    <a:pt x="4367" y="9528"/>
                    <a:pt x="4316" y="9568"/>
                    <a:pt x="4300" y="9523"/>
                  </a:cubicBezTo>
                  <a:cubicBezTo>
                    <a:pt x="4292" y="9501"/>
                    <a:pt x="4300" y="9448"/>
                    <a:pt x="4278" y="9433"/>
                  </a:cubicBezTo>
                  <a:cubicBezTo>
                    <a:pt x="4199" y="9376"/>
                    <a:pt x="4237" y="9543"/>
                    <a:pt x="4230" y="9543"/>
                  </a:cubicBezTo>
                  <a:cubicBezTo>
                    <a:pt x="4189" y="9538"/>
                    <a:pt x="4205" y="9448"/>
                    <a:pt x="4143" y="9446"/>
                  </a:cubicBezTo>
                  <a:cubicBezTo>
                    <a:pt x="4137" y="9445"/>
                    <a:pt x="4024" y="9412"/>
                    <a:pt x="3989" y="9399"/>
                  </a:cubicBezTo>
                  <a:cubicBezTo>
                    <a:pt x="3988" y="9410"/>
                    <a:pt x="3988" y="9420"/>
                    <a:pt x="3991" y="9431"/>
                  </a:cubicBezTo>
                  <a:cubicBezTo>
                    <a:pt x="3982" y="9446"/>
                    <a:pt x="3901" y="9428"/>
                    <a:pt x="3889" y="9427"/>
                  </a:cubicBezTo>
                  <a:cubicBezTo>
                    <a:pt x="3843" y="9424"/>
                    <a:pt x="3810" y="9466"/>
                    <a:pt x="3780" y="9495"/>
                  </a:cubicBezTo>
                  <a:cubicBezTo>
                    <a:pt x="3759" y="9514"/>
                    <a:pt x="3575" y="9578"/>
                    <a:pt x="3590" y="9607"/>
                  </a:cubicBezTo>
                  <a:cubicBezTo>
                    <a:pt x="3593" y="9621"/>
                    <a:pt x="3678" y="9649"/>
                    <a:pt x="3664" y="9644"/>
                  </a:cubicBezTo>
                  <a:cubicBezTo>
                    <a:pt x="3689" y="9597"/>
                    <a:pt x="3760" y="9566"/>
                    <a:pt x="3806" y="9610"/>
                  </a:cubicBezTo>
                  <a:cubicBezTo>
                    <a:pt x="3846" y="9647"/>
                    <a:pt x="3748" y="9703"/>
                    <a:pt x="3841" y="9721"/>
                  </a:cubicBezTo>
                  <a:cubicBezTo>
                    <a:pt x="3702" y="9695"/>
                    <a:pt x="3817" y="9822"/>
                    <a:pt x="3811" y="9833"/>
                  </a:cubicBezTo>
                  <a:cubicBezTo>
                    <a:pt x="3805" y="9844"/>
                    <a:pt x="3695" y="9940"/>
                    <a:pt x="3686" y="9945"/>
                  </a:cubicBezTo>
                  <a:cubicBezTo>
                    <a:pt x="3651" y="9964"/>
                    <a:pt x="3547" y="10013"/>
                    <a:pt x="3512" y="9991"/>
                  </a:cubicBezTo>
                  <a:cubicBezTo>
                    <a:pt x="3473" y="9967"/>
                    <a:pt x="3459" y="9994"/>
                    <a:pt x="3429" y="10017"/>
                  </a:cubicBezTo>
                  <a:cubicBezTo>
                    <a:pt x="3390" y="10048"/>
                    <a:pt x="3368" y="9998"/>
                    <a:pt x="3326" y="10000"/>
                  </a:cubicBezTo>
                  <a:cubicBezTo>
                    <a:pt x="3322" y="10000"/>
                    <a:pt x="3215" y="10048"/>
                    <a:pt x="3217" y="10056"/>
                  </a:cubicBezTo>
                  <a:cubicBezTo>
                    <a:pt x="3221" y="10077"/>
                    <a:pt x="3272" y="10064"/>
                    <a:pt x="3281" y="10090"/>
                  </a:cubicBezTo>
                  <a:cubicBezTo>
                    <a:pt x="3290" y="10117"/>
                    <a:pt x="3238" y="10169"/>
                    <a:pt x="3215" y="10150"/>
                  </a:cubicBezTo>
                  <a:cubicBezTo>
                    <a:pt x="3223" y="10162"/>
                    <a:pt x="3335" y="10196"/>
                    <a:pt x="3334" y="10193"/>
                  </a:cubicBezTo>
                  <a:cubicBezTo>
                    <a:pt x="3342" y="10232"/>
                    <a:pt x="3257" y="10188"/>
                    <a:pt x="3243" y="10190"/>
                  </a:cubicBezTo>
                  <a:cubicBezTo>
                    <a:pt x="3210" y="10197"/>
                    <a:pt x="3344" y="10255"/>
                    <a:pt x="3359" y="10256"/>
                  </a:cubicBezTo>
                  <a:cubicBezTo>
                    <a:pt x="3378" y="10260"/>
                    <a:pt x="3390" y="10253"/>
                    <a:pt x="3395" y="10235"/>
                  </a:cubicBezTo>
                  <a:cubicBezTo>
                    <a:pt x="3414" y="10192"/>
                    <a:pt x="3461" y="10246"/>
                    <a:pt x="3491" y="10238"/>
                  </a:cubicBezTo>
                  <a:cubicBezTo>
                    <a:pt x="3491" y="10231"/>
                    <a:pt x="3491" y="10224"/>
                    <a:pt x="3491" y="10217"/>
                  </a:cubicBezTo>
                  <a:cubicBezTo>
                    <a:pt x="3491" y="10217"/>
                    <a:pt x="3505" y="10238"/>
                    <a:pt x="3523" y="10218"/>
                  </a:cubicBezTo>
                  <a:cubicBezTo>
                    <a:pt x="3522" y="10243"/>
                    <a:pt x="3477" y="10260"/>
                    <a:pt x="3517" y="10288"/>
                  </a:cubicBezTo>
                  <a:cubicBezTo>
                    <a:pt x="3539" y="10304"/>
                    <a:pt x="3622" y="10283"/>
                    <a:pt x="3607" y="10341"/>
                  </a:cubicBezTo>
                  <a:cubicBezTo>
                    <a:pt x="3615" y="10311"/>
                    <a:pt x="3421" y="10325"/>
                    <a:pt x="3517" y="10369"/>
                  </a:cubicBezTo>
                  <a:cubicBezTo>
                    <a:pt x="3548" y="10382"/>
                    <a:pt x="3599" y="10411"/>
                    <a:pt x="3624" y="10380"/>
                  </a:cubicBezTo>
                  <a:cubicBezTo>
                    <a:pt x="3686" y="10302"/>
                    <a:pt x="3678" y="10462"/>
                    <a:pt x="3686" y="10473"/>
                  </a:cubicBezTo>
                  <a:cubicBezTo>
                    <a:pt x="3779" y="10608"/>
                    <a:pt x="3810" y="10552"/>
                    <a:pt x="3928" y="10511"/>
                  </a:cubicBezTo>
                  <a:cubicBezTo>
                    <a:pt x="3975" y="10495"/>
                    <a:pt x="4013" y="10541"/>
                    <a:pt x="4066" y="10515"/>
                  </a:cubicBezTo>
                  <a:cubicBezTo>
                    <a:pt x="4088" y="10504"/>
                    <a:pt x="4181" y="10441"/>
                    <a:pt x="4204" y="10453"/>
                  </a:cubicBezTo>
                  <a:cubicBezTo>
                    <a:pt x="4223" y="10463"/>
                    <a:pt x="3939" y="10600"/>
                    <a:pt x="3930" y="10607"/>
                  </a:cubicBezTo>
                  <a:cubicBezTo>
                    <a:pt x="3907" y="10623"/>
                    <a:pt x="3910" y="10689"/>
                    <a:pt x="3888" y="10698"/>
                  </a:cubicBezTo>
                  <a:cubicBezTo>
                    <a:pt x="3830" y="10720"/>
                    <a:pt x="3762" y="10679"/>
                    <a:pt x="3713" y="10653"/>
                  </a:cubicBezTo>
                  <a:cubicBezTo>
                    <a:pt x="3668" y="10628"/>
                    <a:pt x="3440" y="10498"/>
                    <a:pt x="3439" y="10622"/>
                  </a:cubicBezTo>
                  <a:cubicBezTo>
                    <a:pt x="3438" y="10699"/>
                    <a:pt x="3374" y="10669"/>
                    <a:pt x="3344" y="10640"/>
                  </a:cubicBezTo>
                  <a:cubicBezTo>
                    <a:pt x="3304" y="10601"/>
                    <a:pt x="3280" y="10745"/>
                    <a:pt x="3267" y="10761"/>
                  </a:cubicBezTo>
                  <a:cubicBezTo>
                    <a:pt x="3232" y="10804"/>
                    <a:pt x="3053" y="10831"/>
                    <a:pt x="3048" y="10863"/>
                  </a:cubicBezTo>
                  <a:cubicBezTo>
                    <a:pt x="3043" y="10893"/>
                    <a:pt x="2971" y="10941"/>
                    <a:pt x="2938" y="10953"/>
                  </a:cubicBezTo>
                  <a:cubicBezTo>
                    <a:pt x="2933" y="10955"/>
                    <a:pt x="2635" y="10989"/>
                    <a:pt x="2729" y="11045"/>
                  </a:cubicBezTo>
                  <a:cubicBezTo>
                    <a:pt x="2779" y="11074"/>
                    <a:pt x="2800" y="10974"/>
                    <a:pt x="2843" y="11027"/>
                  </a:cubicBezTo>
                  <a:cubicBezTo>
                    <a:pt x="2860" y="11049"/>
                    <a:pt x="2855" y="11143"/>
                    <a:pt x="2877" y="11151"/>
                  </a:cubicBezTo>
                  <a:cubicBezTo>
                    <a:pt x="2925" y="11169"/>
                    <a:pt x="2957" y="11058"/>
                    <a:pt x="2973" y="11027"/>
                  </a:cubicBezTo>
                  <a:cubicBezTo>
                    <a:pt x="2962" y="11048"/>
                    <a:pt x="3129" y="11010"/>
                    <a:pt x="3143" y="11003"/>
                  </a:cubicBezTo>
                  <a:cubicBezTo>
                    <a:pt x="3159" y="11013"/>
                    <a:pt x="3309" y="11065"/>
                    <a:pt x="3315" y="11060"/>
                  </a:cubicBezTo>
                  <a:cubicBezTo>
                    <a:pt x="3355" y="11106"/>
                    <a:pt x="3386" y="11111"/>
                    <a:pt x="3421" y="11169"/>
                  </a:cubicBezTo>
                  <a:cubicBezTo>
                    <a:pt x="3443" y="11205"/>
                    <a:pt x="3563" y="11147"/>
                    <a:pt x="3566" y="11116"/>
                  </a:cubicBezTo>
                  <a:cubicBezTo>
                    <a:pt x="3569" y="11091"/>
                    <a:pt x="3592" y="10984"/>
                    <a:pt x="3624" y="10957"/>
                  </a:cubicBezTo>
                  <a:cubicBezTo>
                    <a:pt x="3617" y="10997"/>
                    <a:pt x="3787" y="10984"/>
                    <a:pt x="3799" y="10987"/>
                  </a:cubicBezTo>
                  <a:cubicBezTo>
                    <a:pt x="3842" y="10998"/>
                    <a:pt x="4014" y="11147"/>
                    <a:pt x="3966" y="11180"/>
                  </a:cubicBezTo>
                  <a:cubicBezTo>
                    <a:pt x="4011" y="11159"/>
                    <a:pt x="3954" y="11033"/>
                    <a:pt x="4069" y="11138"/>
                  </a:cubicBezTo>
                  <a:cubicBezTo>
                    <a:pt x="4090" y="11157"/>
                    <a:pt x="4144" y="11201"/>
                    <a:pt x="4173" y="11163"/>
                  </a:cubicBezTo>
                  <a:cubicBezTo>
                    <a:pt x="4190" y="11140"/>
                    <a:pt x="4126" y="11114"/>
                    <a:pt x="4122" y="11096"/>
                  </a:cubicBezTo>
                  <a:cubicBezTo>
                    <a:pt x="4113" y="11058"/>
                    <a:pt x="4182" y="11125"/>
                    <a:pt x="4168" y="11121"/>
                  </a:cubicBezTo>
                  <a:cubicBezTo>
                    <a:pt x="4205" y="11149"/>
                    <a:pt x="4470" y="11150"/>
                    <a:pt x="4373" y="11037"/>
                  </a:cubicBezTo>
                  <a:cubicBezTo>
                    <a:pt x="4411" y="11062"/>
                    <a:pt x="4412" y="11139"/>
                    <a:pt x="4462" y="11147"/>
                  </a:cubicBezTo>
                  <a:cubicBezTo>
                    <a:pt x="4471" y="11135"/>
                    <a:pt x="4477" y="11121"/>
                    <a:pt x="4480" y="11106"/>
                  </a:cubicBezTo>
                  <a:cubicBezTo>
                    <a:pt x="4496" y="11086"/>
                    <a:pt x="4494" y="11142"/>
                    <a:pt x="4489" y="11153"/>
                  </a:cubicBezTo>
                  <a:cubicBezTo>
                    <a:pt x="4498" y="11148"/>
                    <a:pt x="4506" y="11141"/>
                    <a:pt x="4512" y="11131"/>
                  </a:cubicBezTo>
                  <a:cubicBezTo>
                    <a:pt x="4506" y="11133"/>
                    <a:pt x="4512" y="11195"/>
                    <a:pt x="4531" y="11178"/>
                  </a:cubicBezTo>
                  <a:cubicBezTo>
                    <a:pt x="4537" y="11166"/>
                    <a:pt x="4541" y="11154"/>
                    <a:pt x="4545" y="11141"/>
                  </a:cubicBezTo>
                  <a:cubicBezTo>
                    <a:pt x="4559" y="11141"/>
                    <a:pt x="4568" y="11149"/>
                    <a:pt x="4571" y="11166"/>
                  </a:cubicBezTo>
                  <a:cubicBezTo>
                    <a:pt x="4558" y="11164"/>
                    <a:pt x="4548" y="11170"/>
                    <a:pt x="4542" y="11181"/>
                  </a:cubicBezTo>
                  <a:cubicBezTo>
                    <a:pt x="4549" y="11224"/>
                    <a:pt x="4803" y="11204"/>
                    <a:pt x="4852" y="11250"/>
                  </a:cubicBezTo>
                  <a:cubicBezTo>
                    <a:pt x="4931" y="11322"/>
                    <a:pt x="4925" y="11305"/>
                    <a:pt x="5007" y="11282"/>
                  </a:cubicBezTo>
                  <a:cubicBezTo>
                    <a:pt x="5038" y="11274"/>
                    <a:pt x="5233" y="11291"/>
                    <a:pt x="5242" y="11284"/>
                  </a:cubicBezTo>
                  <a:cubicBezTo>
                    <a:pt x="5270" y="11263"/>
                    <a:pt x="5245" y="11222"/>
                    <a:pt x="5310" y="11212"/>
                  </a:cubicBezTo>
                  <a:cubicBezTo>
                    <a:pt x="5377" y="11202"/>
                    <a:pt x="5437" y="11208"/>
                    <a:pt x="5437" y="11123"/>
                  </a:cubicBezTo>
                  <a:cubicBezTo>
                    <a:pt x="5436" y="11086"/>
                    <a:pt x="5522" y="11048"/>
                    <a:pt x="5449" y="11036"/>
                  </a:cubicBezTo>
                  <a:cubicBezTo>
                    <a:pt x="5377" y="11025"/>
                    <a:pt x="5320" y="11026"/>
                    <a:pt x="5254" y="11009"/>
                  </a:cubicBezTo>
                  <a:cubicBezTo>
                    <a:pt x="5250" y="11008"/>
                    <a:pt x="5247" y="11008"/>
                    <a:pt x="5245" y="11007"/>
                  </a:cubicBezTo>
                  <a:cubicBezTo>
                    <a:pt x="5248" y="11008"/>
                    <a:pt x="5251" y="11008"/>
                    <a:pt x="5254" y="11009"/>
                  </a:cubicBezTo>
                  <a:cubicBezTo>
                    <a:pt x="5270" y="11012"/>
                    <a:pt x="5298" y="11015"/>
                    <a:pt x="5300" y="11002"/>
                  </a:cubicBezTo>
                  <a:cubicBezTo>
                    <a:pt x="5314" y="10927"/>
                    <a:pt x="5145" y="10981"/>
                    <a:pt x="5165" y="10955"/>
                  </a:cubicBezTo>
                  <a:cubicBezTo>
                    <a:pt x="5172" y="10945"/>
                    <a:pt x="5240" y="10966"/>
                    <a:pt x="5239" y="10949"/>
                  </a:cubicBezTo>
                  <a:cubicBezTo>
                    <a:pt x="5238" y="10911"/>
                    <a:pt x="5112" y="10917"/>
                    <a:pt x="5111" y="10920"/>
                  </a:cubicBezTo>
                  <a:cubicBezTo>
                    <a:pt x="5139" y="10865"/>
                    <a:pt x="5328" y="10943"/>
                    <a:pt x="5334" y="10887"/>
                  </a:cubicBezTo>
                  <a:cubicBezTo>
                    <a:pt x="5335" y="10877"/>
                    <a:pt x="5288" y="10857"/>
                    <a:pt x="5292" y="10855"/>
                  </a:cubicBezTo>
                  <a:cubicBezTo>
                    <a:pt x="5440" y="10788"/>
                    <a:pt x="5262" y="10826"/>
                    <a:pt x="5272" y="10788"/>
                  </a:cubicBezTo>
                  <a:cubicBezTo>
                    <a:pt x="5297" y="10692"/>
                    <a:pt x="5456" y="10900"/>
                    <a:pt x="5461" y="10757"/>
                  </a:cubicBezTo>
                  <a:cubicBezTo>
                    <a:pt x="5471" y="10770"/>
                    <a:pt x="5505" y="10692"/>
                    <a:pt x="5501" y="10685"/>
                  </a:cubicBezTo>
                  <a:cubicBezTo>
                    <a:pt x="5500" y="10684"/>
                    <a:pt x="5500" y="10684"/>
                    <a:pt x="5499" y="10684"/>
                  </a:cubicBezTo>
                  <a:cubicBezTo>
                    <a:pt x="5500" y="10684"/>
                    <a:pt x="5501" y="10684"/>
                    <a:pt x="5501" y="10685"/>
                  </a:cubicBezTo>
                  <a:cubicBezTo>
                    <a:pt x="5507" y="10688"/>
                    <a:pt x="5506" y="10732"/>
                    <a:pt x="5518" y="10730"/>
                  </a:cubicBezTo>
                  <a:cubicBezTo>
                    <a:pt x="5598" y="10730"/>
                    <a:pt x="5650" y="10590"/>
                    <a:pt x="5685" y="10550"/>
                  </a:cubicBezTo>
                  <a:cubicBezTo>
                    <a:pt x="5791" y="10431"/>
                    <a:pt x="5780" y="10249"/>
                    <a:pt x="5651" y="10149"/>
                  </a:cubicBezTo>
                  <a:cubicBezTo>
                    <a:pt x="5612" y="10120"/>
                    <a:pt x="5629" y="10132"/>
                    <a:pt x="5585" y="10108"/>
                  </a:cubicBezTo>
                  <a:cubicBezTo>
                    <a:pt x="5522" y="10073"/>
                    <a:pt x="5507" y="10083"/>
                    <a:pt x="5439" y="10068"/>
                  </a:cubicBezTo>
                  <a:cubicBezTo>
                    <a:pt x="5401" y="10060"/>
                    <a:pt x="5298" y="10143"/>
                    <a:pt x="5318" y="10162"/>
                  </a:cubicBezTo>
                  <a:cubicBezTo>
                    <a:pt x="5297" y="10142"/>
                    <a:pt x="5218" y="10084"/>
                    <a:pt x="5205" y="10059"/>
                  </a:cubicBezTo>
                  <a:cubicBezTo>
                    <a:pt x="5198" y="10044"/>
                    <a:pt x="5337" y="9987"/>
                    <a:pt x="5351" y="9976"/>
                  </a:cubicBezTo>
                  <a:cubicBezTo>
                    <a:pt x="5396" y="9940"/>
                    <a:pt x="5380" y="9832"/>
                    <a:pt x="5367" y="9785"/>
                  </a:cubicBezTo>
                  <a:cubicBezTo>
                    <a:pt x="5347" y="9708"/>
                    <a:pt x="5276" y="9661"/>
                    <a:pt x="5254" y="9584"/>
                  </a:cubicBezTo>
                  <a:cubicBezTo>
                    <a:pt x="5238" y="9528"/>
                    <a:pt x="5112" y="9573"/>
                    <a:pt x="5102" y="9533"/>
                  </a:cubicBezTo>
                  <a:cubicBezTo>
                    <a:pt x="5090" y="9485"/>
                    <a:pt x="5391" y="9612"/>
                    <a:pt x="5377" y="9659"/>
                  </a:cubicBezTo>
                  <a:cubicBezTo>
                    <a:pt x="5416" y="9604"/>
                    <a:pt x="5339" y="9526"/>
                    <a:pt x="5330" y="9494"/>
                  </a:cubicBezTo>
                  <a:cubicBezTo>
                    <a:pt x="5296" y="9380"/>
                    <a:pt x="5355" y="9423"/>
                    <a:pt x="5378" y="9344"/>
                  </a:cubicBezTo>
                  <a:cubicBezTo>
                    <a:pt x="5375" y="9354"/>
                    <a:pt x="5270" y="9078"/>
                    <a:pt x="5268" y="9076"/>
                  </a:cubicBezTo>
                  <a:cubicBezTo>
                    <a:pt x="5255" y="9064"/>
                    <a:pt x="5097" y="8924"/>
                    <a:pt x="5099" y="8962"/>
                  </a:cubicBezTo>
                  <a:cubicBezTo>
                    <a:pt x="5096" y="8914"/>
                    <a:pt x="5123" y="8931"/>
                    <a:pt x="5098" y="8889"/>
                  </a:cubicBezTo>
                  <a:cubicBezTo>
                    <a:pt x="5085" y="8862"/>
                    <a:pt x="5084" y="8834"/>
                    <a:pt x="5094" y="8806"/>
                  </a:cubicBezTo>
                  <a:cubicBezTo>
                    <a:pt x="5114" y="8733"/>
                    <a:pt x="5072" y="8683"/>
                    <a:pt x="5088" y="8616"/>
                  </a:cubicBezTo>
                  <a:cubicBezTo>
                    <a:pt x="5105" y="8545"/>
                    <a:pt x="5121" y="8473"/>
                    <a:pt x="5127" y="8401"/>
                  </a:cubicBezTo>
                  <a:cubicBezTo>
                    <a:pt x="5133" y="8330"/>
                    <a:pt x="5059" y="8296"/>
                    <a:pt x="5051" y="8217"/>
                  </a:cubicBezTo>
                  <a:cubicBezTo>
                    <a:pt x="5045" y="8164"/>
                    <a:pt x="4905" y="7950"/>
                    <a:pt x="4852" y="7967"/>
                  </a:cubicBezTo>
                  <a:cubicBezTo>
                    <a:pt x="4791" y="7986"/>
                    <a:pt x="4798" y="8030"/>
                    <a:pt x="4729" y="7989"/>
                  </a:cubicBezTo>
                  <a:cubicBezTo>
                    <a:pt x="4718" y="7983"/>
                    <a:pt x="4573" y="7900"/>
                    <a:pt x="4569" y="7903"/>
                  </a:cubicBezTo>
                  <a:cubicBezTo>
                    <a:pt x="4616" y="7870"/>
                    <a:pt x="4649" y="7950"/>
                    <a:pt x="4705" y="7937"/>
                  </a:cubicBezTo>
                  <a:cubicBezTo>
                    <a:pt x="4766" y="7923"/>
                    <a:pt x="4797" y="7853"/>
                    <a:pt x="4866" y="7885"/>
                  </a:cubicBezTo>
                  <a:cubicBezTo>
                    <a:pt x="4916" y="7909"/>
                    <a:pt x="5004" y="7869"/>
                    <a:pt x="4932" y="7830"/>
                  </a:cubicBezTo>
                  <a:cubicBezTo>
                    <a:pt x="4878" y="7801"/>
                    <a:pt x="4928" y="7798"/>
                    <a:pt x="4921" y="7759"/>
                  </a:cubicBezTo>
                  <a:cubicBezTo>
                    <a:pt x="4917" y="7735"/>
                    <a:pt x="4801" y="7748"/>
                    <a:pt x="4789" y="7748"/>
                  </a:cubicBezTo>
                  <a:cubicBezTo>
                    <a:pt x="4898" y="7705"/>
                    <a:pt x="5006" y="7772"/>
                    <a:pt x="5079" y="7647"/>
                  </a:cubicBezTo>
                  <a:cubicBezTo>
                    <a:pt x="5116" y="7584"/>
                    <a:pt x="5190" y="7578"/>
                    <a:pt x="5232" y="7505"/>
                  </a:cubicBezTo>
                  <a:cubicBezTo>
                    <a:pt x="5281" y="7417"/>
                    <a:pt x="5313" y="7365"/>
                    <a:pt x="5397" y="7309"/>
                  </a:cubicBezTo>
                  <a:cubicBezTo>
                    <a:pt x="5591" y="7179"/>
                    <a:pt x="5214" y="7061"/>
                    <a:pt x="5148" y="7039"/>
                  </a:cubicBezTo>
                  <a:cubicBezTo>
                    <a:pt x="5108" y="7025"/>
                    <a:pt x="4997" y="6969"/>
                    <a:pt x="4960" y="6975"/>
                  </a:cubicBezTo>
                  <a:cubicBezTo>
                    <a:pt x="4930" y="6983"/>
                    <a:pt x="4901" y="6990"/>
                    <a:pt x="4871" y="6998"/>
                  </a:cubicBezTo>
                  <a:cubicBezTo>
                    <a:pt x="4839" y="7005"/>
                    <a:pt x="4791" y="6974"/>
                    <a:pt x="4765" y="6979"/>
                  </a:cubicBezTo>
                  <a:cubicBezTo>
                    <a:pt x="4774" y="6982"/>
                    <a:pt x="4683" y="7068"/>
                    <a:pt x="4693" y="7009"/>
                  </a:cubicBezTo>
                  <a:cubicBezTo>
                    <a:pt x="4698" y="6982"/>
                    <a:pt x="4778" y="6965"/>
                    <a:pt x="4794" y="6940"/>
                  </a:cubicBezTo>
                  <a:cubicBezTo>
                    <a:pt x="4810" y="6915"/>
                    <a:pt x="4722" y="6935"/>
                    <a:pt x="4677" y="6946"/>
                  </a:cubicBezTo>
                  <a:cubicBezTo>
                    <a:pt x="4670" y="6949"/>
                    <a:pt x="4661" y="6952"/>
                    <a:pt x="4653" y="6952"/>
                  </a:cubicBezTo>
                  <a:cubicBezTo>
                    <a:pt x="4653" y="6952"/>
                    <a:pt x="4663" y="6950"/>
                    <a:pt x="4677" y="6946"/>
                  </a:cubicBezTo>
                  <a:cubicBezTo>
                    <a:pt x="4715" y="6930"/>
                    <a:pt x="4745" y="6886"/>
                    <a:pt x="4805" y="6898"/>
                  </a:cubicBezTo>
                  <a:cubicBezTo>
                    <a:pt x="4793" y="6895"/>
                    <a:pt x="4798" y="6928"/>
                    <a:pt x="4809" y="6934"/>
                  </a:cubicBezTo>
                  <a:cubicBezTo>
                    <a:pt x="4820" y="6928"/>
                    <a:pt x="4902" y="6875"/>
                    <a:pt x="4905" y="6864"/>
                  </a:cubicBezTo>
                  <a:cubicBezTo>
                    <a:pt x="4891" y="6867"/>
                    <a:pt x="4749" y="6825"/>
                    <a:pt x="4779" y="6818"/>
                  </a:cubicBezTo>
                  <a:cubicBezTo>
                    <a:pt x="4861" y="6799"/>
                    <a:pt x="4932" y="6742"/>
                    <a:pt x="5030" y="6700"/>
                  </a:cubicBezTo>
                  <a:cubicBezTo>
                    <a:pt x="5071" y="6681"/>
                    <a:pt x="5247" y="6660"/>
                    <a:pt x="5247" y="6590"/>
                  </a:cubicBezTo>
                  <a:cubicBezTo>
                    <a:pt x="5247" y="6551"/>
                    <a:pt x="5237" y="6560"/>
                    <a:pt x="5279" y="6496"/>
                  </a:cubicBezTo>
                  <a:cubicBezTo>
                    <a:pt x="5284" y="6489"/>
                    <a:pt x="5171" y="6437"/>
                    <a:pt x="5167" y="6447"/>
                  </a:cubicBezTo>
                  <a:cubicBezTo>
                    <a:pt x="5171" y="6458"/>
                    <a:pt x="5173" y="6469"/>
                    <a:pt x="5172" y="6480"/>
                  </a:cubicBezTo>
                  <a:cubicBezTo>
                    <a:pt x="5162" y="6487"/>
                    <a:pt x="4962" y="6421"/>
                    <a:pt x="4985" y="6416"/>
                  </a:cubicBezTo>
                  <a:cubicBezTo>
                    <a:pt x="4958" y="6422"/>
                    <a:pt x="4828" y="6410"/>
                    <a:pt x="4820" y="6452"/>
                  </a:cubicBezTo>
                  <a:cubicBezTo>
                    <a:pt x="4830" y="6397"/>
                    <a:pt x="4868" y="6426"/>
                    <a:pt x="4825" y="6371"/>
                  </a:cubicBezTo>
                  <a:cubicBezTo>
                    <a:pt x="4802" y="6342"/>
                    <a:pt x="4764" y="6450"/>
                    <a:pt x="4738" y="6423"/>
                  </a:cubicBezTo>
                  <a:cubicBezTo>
                    <a:pt x="4755" y="6440"/>
                    <a:pt x="4783" y="6356"/>
                    <a:pt x="4737" y="6319"/>
                  </a:cubicBezTo>
                  <a:cubicBezTo>
                    <a:pt x="4650" y="6250"/>
                    <a:pt x="4658" y="6395"/>
                    <a:pt x="4670" y="6408"/>
                  </a:cubicBezTo>
                  <a:cubicBezTo>
                    <a:pt x="4671" y="6409"/>
                    <a:pt x="4672" y="6409"/>
                    <a:pt x="4673" y="6409"/>
                  </a:cubicBezTo>
                  <a:cubicBezTo>
                    <a:pt x="4672" y="6410"/>
                    <a:pt x="4671" y="6409"/>
                    <a:pt x="4670" y="6408"/>
                  </a:cubicBezTo>
                  <a:cubicBezTo>
                    <a:pt x="4662" y="6404"/>
                    <a:pt x="4653" y="6401"/>
                    <a:pt x="4644" y="6399"/>
                  </a:cubicBezTo>
                  <a:cubicBezTo>
                    <a:pt x="4646" y="6410"/>
                    <a:pt x="4647" y="6421"/>
                    <a:pt x="4648" y="6432"/>
                  </a:cubicBezTo>
                  <a:cubicBezTo>
                    <a:pt x="4620" y="6449"/>
                    <a:pt x="4624" y="6412"/>
                    <a:pt x="4621" y="6399"/>
                  </a:cubicBezTo>
                  <a:cubicBezTo>
                    <a:pt x="4629" y="6437"/>
                    <a:pt x="4572" y="6441"/>
                    <a:pt x="4608" y="6492"/>
                  </a:cubicBezTo>
                  <a:cubicBezTo>
                    <a:pt x="4616" y="6496"/>
                    <a:pt x="4521" y="6488"/>
                    <a:pt x="4515" y="6475"/>
                  </a:cubicBezTo>
                  <a:cubicBezTo>
                    <a:pt x="4508" y="6497"/>
                    <a:pt x="4541" y="6568"/>
                    <a:pt x="4522" y="6576"/>
                  </a:cubicBezTo>
                  <a:cubicBezTo>
                    <a:pt x="4510" y="6581"/>
                    <a:pt x="4455" y="6542"/>
                    <a:pt x="4455" y="6562"/>
                  </a:cubicBezTo>
                  <a:cubicBezTo>
                    <a:pt x="4455" y="6563"/>
                    <a:pt x="4530" y="6720"/>
                    <a:pt x="4521" y="6725"/>
                  </a:cubicBezTo>
                  <a:cubicBezTo>
                    <a:pt x="4522" y="6724"/>
                    <a:pt x="4404" y="6656"/>
                    <a:pt x="4390" y="6669"/>
                  </a:cubicBezTo>
                  <a:cubicBezTo>
                    <a:pt x="4389" y="6671"/>
                    <a:pt x="4389" y="6673"/>
                    <a:pt x="4388" y="6675"/>
                  </a:cubicBezTo>
                  <a:cubicBezTo>
                    <a:pt x="4388" y="6672"/>
                    <a:pt x="4388" y="6671"/>
                    <a:pt x="4390" y="6669"/>
                  </a:cubicBezTo>
                  <a:cubicBezTo>
                    <a:pt x="4392" y="6657"/>
                    <a:pt x="4395" y="6646"/>
                    <a:pt x="4399" y="6634"/>
                  </a:cubicBezTo>
                  <a:cubicBezTo>
                    <a:pt x="4393" y="6602"/>
                    <a:pt x="4346" y="6713"/>
                    <a:pt x="4347" y="6713"/>
                  </a:cubicBezTo>
                  <a:cubicBezTo>
                    <a:pt x="4327" y="6705"/>
                    <a:pt x="4362" y="6638"/>
                    <a:pt x="4330" y="6631"/>
                  </a:cubicBezTo>
                  <a:close/>
                  <a:moveTo>
                    <a:pt x="4673" y="6409"/>
                  </a:moveTo>
                  <a:cubicBezTo>
                    <a:pt x="4672" y="6409"/>
                    <a:pt x="4671" y="6409"/>
                    <a:pt x="4670" y="6408"/>
                  </a:cubicBezTo>
                  <a:cubicBezTo>
                    <a:pt x="4671" y="6409"/>
                    <a:pt x="4672" y="6410"/>
                    <a:pt x="4673" y="6409"/>
                  </a:cubicBezTo>
                  <a:close/>
                  <a:moveTo>
                    <a:pt x="4388" y="6675"/>
                  </a:moveTo>
                  <a:cubicBezTo>
                    <a:pt x="4389" y="6673"/>
                    <a:pt x="4389" y="6671"/>
                    <a:pt x="4390" y="6669"/>
                  </a:cubicBezTo>
                  <a:cubicBezTo>
                    <a:pt x="4388" y="6671"/>
                    <a:pt x="4388" y="6672"/>
                    <a:pt x="4388" y="6675"/>
                  </a:cubicBezTo>
                  <a:close/>
                  <a:moveTo>
                    <a:pt x="7828" y="10144"/>
                  </a:moveTo>
                  <a:cubicBezTo>
                    <a:pt x="7827" y="10143"/>
                    <a:pt x="7824" y="10143"/>
                    <a:pt x="7819" y="10142"/>
                  </a:cubicBezTo>
                  <a:cubicBezTo>
                    <a:pt x="7823" y="10144"/>
                    <a:pt x="7828" y="10145"/>
                    <a:pt x="7828" y="10144"/>
                  </a:cubicBezTo>
                  <a:close/>
                  <a:moveTo>
                    <a:pt x="7696" y="10144"/>
                  </a:moveTo>
                  <a:cubicBezTo>
                    <a:pt x="7696" y="10145"/>
                    <a:pt x="7692" y="10144"/>
                    <a:pt x="7689" y="10144"/>
                  </a:cubicBezTo>
                  <a:cubicBezTo>
                    <a:pt x="7666" y="10144"/>
                    <a:pt x="7596" y="10147"/>
                    <a:pt x="7607" y="10158"/>
                  </a:cubicBezTo>
                  <a:cubicBezTo>
                    <a:pt x="7615" y="10166"/>
                    <a:pt x="7699" y="10155"/>
                    <a:pt x="7696" y="10144"/>
                  </a:cubicBezTo>
                  <a:close/>
                  <a:moveTo>
                    <a:pt x="7696" y="10144"/>
                  </a:moveTo>
                  <a:cubicBezTo>
                    <a:pt x="7695" y="10144"/>
                    <a:pt x="7693" y="10144"/>
                    <a:pt x="7689" y="10144"/>
                  </a:cubicBezTo>
                  <a:cubicBezTo>
                    <a:pt x="7692" y="10144"/>
                    <a:pt x="7696" y="10145"/>
                    <a:pt x="7696" y="10144"/>
                  </a:cubicBezTo>
                  <a:close/>
                  <a:moveTo>
                    <a:pt x="11301" y="1719"/>
                  </a:moveTo>
                  <a:cubicBezTo>
                    <a:pt x="11296" y="1730"/>
                    <a:pt x="11303" y="1749"/>
                    <a:pt x="11297" y="1759"/>
                  </a:cubicBezTo>
                  <a:cubicBezTo>
                    <a:pt x="11309" y="1748"/>
                    <a:pt x="11316" y="1725"/>
                    <a:pt x="11321" y="1697"/>
                  </a:cubicBezTo>
                  <a:cubicBezTo>
                    <a:pt x="11315" y="1696"/>
                    <a:pt x="11308" y="1701"/>
                    <a:pt x="11301" y="1719"/>
                  </a:cubicBezTo>
                  <a:close/>
                  <a:moveTo>
                    <a:pt x="7560" y="10154"/>
                  </a:moveTo>
                  <a:cubicBezTo>
                    <a:pt x="7561" y="10154"/>
                    <a:pt x="7562" y="10154"/>
                    <a:pt x="7564" y="10154"/>
                  </a:cubicBezTo>
                  <a:cubicBezTo>
                    <a:pt x="7564" y="10154"/>
                    <a:pt x="7562" y="10154"/>
                    <a:pt x="7560" y="10154"/>
                  </a:cubicBezTo>
                  <a:close/>
                  <a:moveTo>
                    <a:pt x="7696" y="10144"/>
                  </a:moveTo>
                  <a:cubicBezTo>
                    <a:pt x="7678" y="10141"/>
                    <a:pt x="7683" y="10142"/>
                    <a:pt x="7689" y="10144"/>
                  </a:cubicBezTo>
                  <a:cubicBezTo>
                    <a:pt x="7693" y="10144"/>
                    <a:pt x="7695" y="10144"/>
                    <a:pt x="7696" y="10144"/>
                  </a:cubicBezTo>
                  <a:close/>
                  <a:moveTo>
                    <a:pt x="7553" y="10155"/>
                  </a:moveTo>
                  <a:cubicBezTo>
                    <a:pt x="7559" y="10155"/>
                    <a:pt x="7564" y="10155"/>
                    <a:pt x="7564" y="10154"/>
                  </a:cubicBezTo>
                  <a:cubicBezTo>
                    <a:pt x="7562" y="10154"/>
                    <a:pt x="7560" y="10154"/>
                    <a:pt x="7558" y="10154"/>
                  </a:cubicBezTo>
                  <a:cubicBezTo>
                    <a:pt x="7557" y="10154"/>
                    <a:pt x="7555" y="10155"/>
                    <a:pt x="7553" y="10155"/>
                  </a:cubicBezTo>
                  <a:close/>
                  <a:moveTo>
                    <a:pt x="7828" y="10144"/>
                  </a:moveTo>
                  <a:cubicBezTo>
                    <a:pt x="7828" y="10145"/>
                    <a:pt x="7823" y="10144"/>
                    <a:pt x="7819" y="10142"/>
                  </a:cubicBezTo>
                  <a:cubicBezTo>
                    <a:pt x="7795" y="10137"/>
                    <a:pt x="7725" y="10128"/>
                    <a:pt x="7738" y="10154"/>
                  </a:cubicBezTo>
                  <a:cubicBezTo>
                    <a:pt x="7744" y="10165"/>
                    <a:pt x="7830" y="10163"/>
                    <a:pt x="7828" y="10144"/>
                  </a:cubicBezTo>
                  <a:close/>
                  <a:moveTo>
                    <a:pt x="9596" y="4403"/>
                  </a:moveTo>
                  <a:cubicBezTo>
                    <a:pt x="9575" y="4403"/>
                    <a:pt x="9554" y="4401"/>
                    <a:pt x="9534" y="4403"/>
                  </a:cubicBezTo>
                  <a:cubicBezTo>
                    <a:pt x="9528" y="4404"/>
                    <a:pt x="9526" y="4405"/>
                    <a:pt x="9524" y="4406"/>
                  </a:cubicBezTo>
                  <a:cubicBezTo>
                    <a:pt x="9522" y="4407"/>
                    <a:pt x="9521" y="4407"/>
                    <a:pt x="9524" y="4406"/>
                  </a:cubicBezTo>
                  <a:cubicBezTo>
                    <a:pt x="9527" y="4405"/>
                    <a:pt x="9534" y="4403"/>
                    <a:pt x="9534" y="4403"/>
                  </a:cubicBezTo>
                  <a:cubicBezTo>
                    <a:pt x="9510" y="4407"/>
                    <a:pt x="9487" y="4415"/>
                    <a:pt x="9465" y="4426"/>
                  </a:cubicBezTo>
                  <a:cubicBezTo>
                    <a:pt x="9440" y="4453"/>
                    <a:pt x="9589" y="4405"/>
                    <a:pt x="9596" y="4403"/>
                  </a:cubicBezTo>
                  <a:close/>
                  <a:moveTo>
                    <a:pt x="7558" y="10154"/>
                  </a:moveTo>
                  <a:cubicBezTo>
                    <a:pt x="7559" y="10154"/>
                    <a:pt x="7560" y="10154"/>
                    <a:pt x="7560" y="10154"/>
                  </a:cubicBezTo>
                  <a:cubicBezTo>
                    <a:pt x="7529" y="10152"/>
                    <a:pt x="7538" y="10154"/>
                    <a:pt x="7550" y="10155"/>
                  </a:cubicBezTo>
                  <a:cubicBezTo>
                    <a:pt x="7553" y="10154"/>
                    <a:pt x="7556" y="10154"/>
                    <a:pt x="7558" y="10154"/>
                  </a:cubicBezTo>
                  <a:close/>
                  <a:moveTo>
                    <a:pt x="11218" y="1713"/>
                  </a:moveTo>
                  <a:cubicBezTo>
                    <a:pt x="11215" y="1723"/>
                    <a:pt x="11215" y="1733"/>
                    <a:pt x="11217" y="1743"/>
                  </a:cubicBezTo>
                  <a:cubicBezTo>
                    <a:pt x="11219" y="1745"/>
                    <a:pt x="11220" y="1748"/>
                    <a:pt x="11218" y="1752"/>
                  </a:cubicBezTo>
                  <a:cubicBezTo>
                    <a:pt x="11217" y="1749"/>
                    <a:pt x="11217" y="1746"/>
                    <a:pt x="11217" y="1743"/>
                  </a:cubicBezTo>
                  <a:cubicBezTo>
                    <a:pt x="11207" y="1736"/>
                    <a:pt x="11166" y="1748"/>
                    <a:pt x="11160" y="1751"/>
                  </a:cubicBezTo>
                  <a:cubicBezTo>
                    <a:pt x="11138" y="1764"/>
                    <a:pt x="11188" y="1785"/>
                    <a:pt x="11190" y="1790"/>
                  </a:cubicBezTo>
                  <a:cubicBezTo>
                    <a:pt x="11184" y="1793"/>
                    <a:pt x="11177" y="1795"/>
                    <a:pt x="11171" y="1798"/>
                  </a:cubicBezTo>
                  <a:cubicBezTo>
                    <a:pt x="11180" y="1801"/>
                    <a:pt x="11188" y="1805"/>
                    <a:pt x="11196" y="1810"/>
                  </a:cubicBezTo>
                  <a:cubicBezTo>
                    <a:pt x="11188" y="1826"/>
                    <a:pt x="11109" y="1889"/>
                    <a:pt x="11103" y="1911"/>
                  </a:cubicBezTo>
                  <a:cubicBezTo>
                    <a:pt x="11134" y="1942"/>
                    <a:pt x="11213" y="1781"/>
                    <a:pt x="11238" y="1783"/>
                  </a:cubicBezTo>
                  <a:cubicBezTo>
                    <a:pt x="11283" y="1786"/>
                    <a:pt x="11179" y="1877"/>
                    <a:pt x="11180" y="1877"/>
                  </a:cubicBezTo>
                  <a:cubicBezTo>
                    <a:pt x="11176" y="1874"/>
                    <a:pt x="11256" y="1895"/>
                    <a:pt x="11244" y="1901"/>
                  </a:cubicBezTo>
                  <a:cubicBezTo>
                    <a:pt x="11266" y="1890"/>
                    <a:pt x="11248" y="1854"/>
                    <a:pt x="11279" y="1841"/>
                  </a:cubicBezTo>
                  <a:cubicBezTo>
                    <a:pt x="11289" y="1836"/>
                    <a:pt x="11285" y="1870"/>
                    <a:pt x="11283" y="1871"/>
                  </a:cubicBezTo>
                  <a:cubicBezTo>
                    <a:pt x="11306" y="1864"/>
                    <a:pt x="11279" y="1834"/>
                    <a:pt x="11282" y="1825"/>
                  </a:cubicBezTo>
                  <a:cubicBezTo>
                    <a:pt x="11282" y="1826"/>
                    <a:pt x="11303" y="1842"/>
                    <a:pt x="11302" y="1865"/>
                  </a:cubicBezTo>
                  <a:cubicBezTo>
                    <a:pt x="11299" y="1856"/>
                    <a:pt x="11361" y="1762"/>
                    <a:pt x="11389" y="1764"/>
                  </a:cubicBezTo>
                  <a:cubicBezTo>
                    <a:pt x="11467" y="1770"/>
                    <a:pt x="11454" y="1741"/>
                    <a:pt x="11462" y="1665"/>
                  </a:cubicBezTo>
                  <a:cubicBezTo>
                    <a:pt x="11468" y="1605"/>
                    <a:pt x="11456" y="1614"/>
                    <a:pt x="11421" y="1570"/>
                  </a:cubicBezTo>
                  <a:cubicBezTo>
                    <a:pt x="11371" y="1506"/>
                    <a:pt x="11385" y="1661"/>
                    <a:pt x="11392" y="1655"/>
                  </a:cubicBezTo>
                  <a:cubicBezTo>
                    <a:pt x="11385" y="1661"/>
                    <a:pt x="11352" y="1715"/>
                    <a:pt x="11359" y="1712"/>
                  </a:cubicBezTo>
                  <a:cubicBezTo>
                    <a:pt x="11345" y="1718"/>
                    <a:pt x="11333" y="1699"/>
                    <a:pt x="11321" y="1697"/>
                  </a:cubicBezTo>
                  <a:cubicBezTo>
                    <a:pt x="11316" y="1725"/>
                    <a:pt x="11309" y="1748"/>
                    <a:pt x="11297" y="1759"/>
                  </a:cubicBezTo>
                  <a:cubicBezTo>
                    <a:pt x="11294" y="1764"/>
                    <a:pt x="11289" y="1767"/>
                    <a:pt x="11279" y="1766"/>
                  </a:cubicBezTo>
                  <a:cubicBezTo>
                    <a:pt x="11286" y="1766"/>
                    <a:pt x="11292" y="1764"/>
                    <a:pt x="11297" y="1759"/>
                  </a:cubicBezTo>
                  <a:cubicBezTo>
                    <a:pt x="11303" y="1749"/>
                    <a:pt x="11296" y="1730"/>
                    <a:pt x="11301" y="1719"/>
                  </a:cubicBezTo>
                  <a:cubicBezTo>
                    <a:pt x="11308" y="1701"/>
                    <a:pt x="11315" y="1696"/>
                    <a:pt x="11321" y="1697"/>
                  </a:cubicBezTo>
                  <a:cubicBezTo>
                    <a:pt x="11332" y="1637"/>
                    <a:pt x="11331" y="1558"/>
                    <a:pt x="11330" y="1545"/>
                  </a:cubicBezTo>
                  <a:cubicBezTo>
                    <a:pt x="11326" y="1422"/>
                    <a:pt x="11254" y="1621"/>
                    <a:pt x="11269" y="1599"/>
                  </a:cubicBezTo>
                  <a:cubicBezTo>
                    <a:pt x="11254" y="1620"/>
                    <a:pt x="11275" y="1722"/>
                    <a:pt x="11260" y="1726"/>
                  </a:cubicBezTo>
                  <a:cubicBezTo>
                    <a:pt x="11246" y="1724"/>
                    <a:pt x="11231" y="1719"/>
                    <a:pt x="11218" y="1713"/>
                  </a:cubicBezTo>
                  <a:close/>
                  <a:moveTo>
                    <a:pt x="9524" y="4406"/>
                  </a:moveTo>
                  <a:cubicBezTo>
                    <a:pt x="9522" y="4407"/>
                    <a:pt x="9521" y="4407"/>
                    <a:pt x="9524" y="4406"/>
                  </a:cubicBezTo>
                  <a:cubicBezTo>
                    <a:pt x="9524" y="4406"/>
                    <a:pt x="9524" y="4406"/>
                    <a:pt x="9524" y="4406"/>
                  </a:cubicBezTo>
                  <a:close/>
                  <a:moveTo>
                    <a:pt x="9591" y="4569"/>
                  </a:moveTo>
                  <a:cubicBezTo>
                    <a:pt x="9661" y="4554"/>
                    <a:pt x="9808" y="4486"/>
                    <a:pt x="9832" y="4409"/>
                  </a:cubicBezTo>
                  <a:cubicBezTo>
                    <a:pt x="9724" y="4409"/>
                    <a:pt x="9626" y="4406"/>
                    <a:pt x="9625" y="4410"/>
                  </a:cubicBezTo>
                  <a:cubicBezTo>
                    <a:pt x="9619" y="4452"/>
                    <a:pt x="9536" y="4424"/>
                    <a:pt x="9534" y="4456"/>
                  </a:cubicBezTo>
                  <a:cubicBezTo>
                    <a:pt x="9532" y="4489"/>
                    <a:pt x="9549" y="4578"/>
                    <a:pt x="9591" y="4569"/>
                  </a:cubicBezTo>
                  <a:close/>
                  <a:moveTo>
                    <a:pt x="3693" y="11750"/>
                  </a:moveTo>
                  <a:cubicBezTo>
                    <a:pt x="3694" y="11749"/>
                    <a:pt x="3696" y="11749"/>
                    <a:pt x="3697" y="11748"/>
                  </a:cubicBezTo>
                  <a:cubicBezTo>
                    <a:pt x="3696" y="11748"/>
                    <a:pt x="3694" y="11748"/>
                    <a:pt x="3693" y="11750"/>
                  </a:cubicBezTo>
                  <a:close/>
                  <a:moveTo>
                    <a:pt x="7819" y="10142"/>
                  </a:moveTo>
                  <a:cubicBezTo>
                    <a:pt x="7824" y="10143"/>
                    <a:pt x="7827" y="10143"/>
                    <a:pt x="7828" y="10144"/>
                  </a:cubicBezTo>
                  <a:cubicBezTo>
                    <a:pt x="7812" y="10137"/>
                    <a:pt x="7815" y="10139"/>
                    <a:pt x="7819" y="10142"/>
                  </a:cubicBezTo>
                  <a:close/>
                  <a:moveTo>
                    <a:pt x="6284" y="5527"/>
                  </a:moveTo>
                  <a:cubicBezTo>
                    <a:pt x="6291" y="5509"/>
                    <a:pt x="6319" y="5453"/>
                    <a:pt x="6316" y="5452"/>
                  </a:cubicBezTo>
                  <a:cubicBezTo>
                    <a:pt x="6239" y="5435"/>
                    <a:pt x="6263" y="5578"/>
                    <a:pt x="6284" y="5527"/>
                  </a:cubicBezTo>
                  <a:close/>
                  <a:moveTo>
                    <a:pt x="6161" y="5622"/>
                  </a:moveTo>
                  <a:cubicBezTo>
                    <a:pt x="6202" y="5663"/>
                    <a:pt x="6215" y="5547"/>
                    <a:pt x="6213" y="5526"/>
                  </a:cubicBezTo>
                  <a:cubicBezTo>
                    <a:pt x="6210" y="5527"/>
                    <a:pt x="6190" y="5510"/>
                    <a:pt x="6193" y="5517"/>
                  </a:cubicBezTo>
                  <a:cubicBezTo>
                    <a:pt x="6199" y="5517"/>
                    <a:pt x="6129" y="5591"/>
                    <a:pt x="6161" y="5622"/>
                  </a:cubicBezTo>
                  <a:close/>
                  <a:moveTo>
                    <a:pt x="6213" y="5524"/>
                  </a:moveTo>
                  <a:cubicBezTo>
                    <a:pt x="6213" y="5525"/>
                    <a:pt x="6213" y="5525"/>
                    <a:pt x="6213" y="5526"/>
                  </a:cubicBezTo>
                  <a:cubicBezTo>
                    <a:pt x="6213" y="5526"/>
                    <a:pt x="6213" y="5525"/>
                    <a:pt x="6213" y="5524"/>
                  </a:cubicBezTo>
                  <a:close/>
                  <a:moveTo>
                    <a:pt x="5968" y="5740"/>
                  </a:moveTo>
                  <a:cubicBezTo>
                    <a:pt x="5984" y="5743"/>
                    <a:pt x="6004" y="5719"/>
                    <a:pt x="6017" y="5723"/>
                  </a:cubicBezTo>
                  <a:cubicBezTo>
                    <a:pt x="6042" y="5731"/>
                    <a:pt x="5990" y="5763"/>
                    <a:pt x="5989" y="5772"/>
                  </a:cubicBezTo>
                  <a:cubicBezTo>
                    <a:pt x="5987" y="5818"/>
                    <a:pt x="6049" y="5745"/>
                    <a:pt x="6053" y="5732"/>
                  </a:cubicBezTo>
                  <a:cubicBezTo>
                    <a:pt x="6055" y="5726"/>
                    <a:pt x="6054" y="5766"/>
                    <a:pt x="6054" y="5766"/>
                  </a:cubicBezTo>
                  <a:cubicBezTo>
                    <a:pt x="6062" y="5761"/>
                    <a:pt x="6070" y="5757"/>
                    <a:pt x="6078" y="5752"/>
                  </a:cubicBezTo>
                  <a:cubicBezTo>
                    <a:pt x="6098" y="5811"/>
                    <a:pt x="5969" y="5900"/>
                    <a:pt x="5986" y="5942"/>
                  </a:cubicBezTo>
                  <a:cubicBezTo>
                    <a:pt x="5995" y="5964"/>
                    <a:pt x="6118" y="5807"/>
                    <a:pt x="6105" y="5781"/>
                  </a:cubicBezTo>
                  <a:cubicBezTo>
                    <a:pt x="6099" y="5783"/>
                    <a:pt x="6093" y="5785"/>
                    <a:pt x="6088" y="5787"/>
                  </a:cubicBezTo>
                  <a:cubicBezTo>
                    <a:pt x="6080" y="5732"/>
                    <a:pt x="6146" y="5763"/>
                    <a:pt x="6149" y="5722"/>
                  </a:cubicBezTo>
                  <a:cubicBezTo>
                    <a:pt x="6141" y="5714"/>
                    <a:pt x="6134" y="5705"/>
                    <a:pt x="6127" y="5695"/>
                  </a:cubicBezTo>
                  <a:cubicBezTo>
                    <a:pt x="6138" y="5698"/>
                    <a:pt x="6148" y="5701"/>
                    <a:pt x="6159" y="5703"/>
                  </a:cubicBezTo>
                  <a:cubicBezTo>
                    <a:pt x="6189" y="5697"/>
                    <a:pt x="6148" y="5677"/>
                    <a:pt x="6147" y="5680"/>
                  </a:cubicBezTo>
                  <a:cubicBezTo>
                    <a:pt x="6149" y="5675"/>
                    <a:pt x="6186" y="5651"/>
                    <a:pt x="6183" y="5650"/>
                  </a:cubicBezTo>
                  <a:cubicBezTo>
                    <a:pt x="6187" y="5651"/>
                    <a:pt x="6112" y="5679"/>
                    <a:pt x="6118" y="5661"/>
                  </a:cubicBezTo>
                  <a:cubicBezTo>
                    <a:pt x="6129" y="5626"/>
                    <a:pt x="6144" y="5638"/>
                    <a:pt x="6144" y="5628"/>
                  </a:cubicBezTo>
                  <a:cubicBezTo>
                    <a:pt x="6100" y="5598"/>
                    <a:pt x="6147" y="5525"/>
                    <a:pt x="6143" y="5523"/>
                  </a:cubicBezTo>
                  <a:cubicBezTo>
                    <a:pt x="6087" y="5496"/>
                    <a:pt x="6077" y="5531"/>
                    <a:pt x="6074" y="5552"/>
                  </a:cubicBezTo>
                  <a:cubicBezTo>
                    <a:pt x="6074" y="5556"/>
                    <a:pt x="6074" y="5560"/>
                    <a:pt x="6073" y="5565"/>
                  </a:cubicBezTo>
                  <a:cubicBezTo>
                    <a:pt x="6073" y="5563"/>
                    <a:pt x="6074" y="5558"/>
                    <a:pt x="6074" y="5552"/>
                  </a:cubicBezTo>
                  <a:cubicBezTo>
                    <a:pt x="6075" y="5508"/>
                    <a:pt x="6016" y="5575"/>
                    <a:pt x="6025" y="5590"/>
                  </a:cubicBezTo>
                  <a:cubicBezTo>
                    <a:pt x="6030" y="5599"/>
                    <a:pt x="6082" y="5620"/>
                    <a:pt x="6074" y="5595"/>
                  </a:cubicBezTo>
                  <a:cubicBezTo>
                    <a:pt x="6079" y="5611"/>
                    <a:pt x="6098" y="5673"/>
                    <a:pt x="6100" y="5686"/>
                  </a:cubicBezTo>
                  <a:cubicBezTo>
                    <a:pt x="6096" y="5658"/>
                    <a:pt x="5903" y="5726"/>
                    <a:pt x="5968" y="5740"/>
                  </a:cubicBezTo>
                  <a:close/>
                  <a:moveTo>
                    <a:pt x="6074" y="5552"/>
                  </a:moveTo>
                  <a:cubicBezTo>
                    <a:pt x="6074" y="5558"/>
                    <a:pt x="6073" y="5563"/>
                    <a:pt x="6073" y="5565"/>
                  </a:cubicBezTo>
                  <a:cubicBezTo>
                    <a:pt x="6074" y="5560"/>
                    <a:pt x="6074" y="5556"/>
                    <a:pt x="6074" y="5552"/>
                  </a:cubicBezTo>
                  <a:close/>
                  <a:moveTo>
                    <a:pt x="5278" y="6282"/>
                  </a:moveTo>
                  <a:cubicBezTo>
                    <a:pt x="5284" y="6279"/>
                    <a:pt x="5300" y="6230"/>
                    <a:pt x="5301" y="6231"/>
                  </a:cubicBezTo>
                  <a:cubicBezTo>
                    <a:pt x="5325" y="6251"/>
                    <a:pt x="5261" y="6290"/>
                    <a:pt x="5287" y="6313"/>
                  </a:cubicBezTo>
                  <a:cubicBezTo>
                    <a:pt x="5309" y="6334"/>
                    <a:pt x="5341" y="6297"/>
                    <a:pt x="5363" y="6308"/>
                  </a:cubicBezTo>
                  <a:cubicBezTo>
                    <a:pt x="5369" y="6311"/>
                    <a:pt x="5397" y="6426"/>
                    <a:pt x="5447" y="6349"/>
                  </a:cubicBezTo>
                  <a:cubicBezTo>
                    <a:pt x="5440" y="6297"/>
                    <a:pt x="5340" y="6256"/>
                    <a:pt x="5322" y="6273"/>
                  </a:cubicBezTo>
                  <a:cubicBezTo>
                    <a:pt x="5368" y="6228"/>
                    <a:pt x="5454" y="6244"/>
                    <a:pt x="5328" y="6181"/>
                  </a:cubicBezTo>
                  <a:cubicBezTo>
                    <a:pt x="5248" y="6140"/>
                    <a:pt x="5262" y="6289"/>
                    <a:pt x="5278" y="6282"/>
                  </a:cubicBezTo>
                  <a:close/>
                  <a:moveTo>
                    <a:pt x="5120" y="4078"/>
                  </a:moveTo>
                  <a:cubicBezTo>
                    <a:pt x="5121" y="4077"/>
                    <a:pt x="5070" y="4165"/>
                    <a:pt x="5089" y="4180"/>
                  </a:cubicBezTo>
                  <a:cubicBezTo>
                    <a:pt x="5136" y="4217"/>
                    <a:pt x="5144" y="4063"/>
                    <a:pt x="5120" y="4078"/>
                  </a:cubicBezTo>
                  <a:close/>
                  <a:moveTo>
                    <a:pt x="7553" y="10155"/>
                  </a:moveTo>
                  <a:cubicBezTo>
                    <a:pt x="7552" y="10155"/>
                    <a:pt x="7551" y="10155"/>
                    <a:pt x="7550" y="10155"/>
                  </a:cubicBezTo>
                  <a:cubicBezTo>
                    <a:pt x="7502" y="10158"/>
                    <a:pt x="7394" y="10179"/>
                    <a:pt x="7382" y="10173"/>
                  </a:cubicBezTo>
                  <a:cubicBezTo>
                    <a:pt x="7402" y="10183"/>
                    <a:pt x="7518" y="10159"/>
                    <a:pt x="7553" y="10155"/>
                  </a:cubicBezTo>
                  <a:close/>
                  <a:moveTo>
                    <a:pt x="7246" y="10188"/>
                  </a:moveTo>
                  <a:cubicBezTo>
                    <a:pt x="7247" y="10188"/>
                    <a:pt x="7249" y="10188"/>
                    <a:pt x="7250" y="10188"/>
                  </a:cubicBezTo>
                  <a:cubicBezTo>
                    <a:pt x="7244" y="10188"/>
                    <a:pt x="7232" y="10188"/>
                    <a:pt x="7246" y="10188"/>
                  </a:cubicBezTo>
                  <a:close/>
                  <a:moveTo>
                    <a:pt x="6843" y="10402"/>
                  </a:moveTo>
                  <a:cubicBezTo>
                    <a:pt x="6889" y="10429"/>
                    <a:pt x="6920" y="10322"/>
                    <a:pt x="6919" y="10296"/>
                  </a:cubicBezTo>
                  <a:cubicBezTo>
                    <a:pt x="6908" y="10306"/>
                    <a:pt x="6803" y="10378"/>
                    <a:pt x="6843" y="10402"/>
                  </a:cubicBezTo>
                  <a:close/>
                  <a:moveTo>
                    <a:pt x="7558" y="10154"/>
                  </a:moveTo>
                  <a:cubicBezTo>
                    <a:pt x="7556" y="10154"/>
                    <a:pt x="7553" y="10154"/>
                    <a:pt x="7550" y="10155"/>
                  </a:cubicBezTo>
                  <a:cubicBezTo>
                    <a:pt x="7551" y="10155"/>
                    <a:pt x="7552" y="10155"/>
                    <a:pt x="7553" y="10155"/>
                  </a:cubicBezTo>
                  <a:cubicBezTo>
                    <a:pt x="7555" y="10155"/>
                    <a:pt x="7557" y="10154"/>
                    <a:pt x="7558" y="10154"/>
                  </a:cubicBezTo>
                  <a:close/>
                  <a:moveTo>
                    <a:pt x="7250" y="10188"/>
                  </a:moveTo>
                  <a:cubicBezTo>
                    <a:pt x="7249" y="10188"/>
                    <a:pt x="7247" y="10188"/>
                    <a:pt x="7246" y="10188"/>
                  </a:cubicBezTo>
                  <a:cubicBezTo>
                    <a:pt x="7254" y="10188"/>
                    <a:pt x="7253" y="10188"/>
                    <a:pt x="7250" y="10188"/>
                  </a:cubicBezTo>
                  <a:close/>
                  <a:moveTo>
                    <a:pt x="7192" y="10190"/>
                  </a:moveTo>
                  <a:cubicBezTo>
                    <a:pt x="7147" y="10201"/>
                    <a:pt x="7159" y="10191"/>
                    <a:pt x="7192" y="10190"/>
                  </a:cubicBezTo>
                  <a:cubicBezTo>
                    <a:pt x="7166" y="10191"/>
                    <a:pt x="7045" y="10175"/>
                    <a:pt x="7036" y="10215"/>
                  </a:cubicBezTo>
                  <a:cubicBezTo>
                    <a:pt x="7030" y="10240"/>
                    <a:pt x="7187" y="10191"/>
                    <a:pt x="7192" y="10190"/>
                  </a:cubicBezTo>
                  <a:close/>
                  <a:moveTo>
                    <a:pt x="7332" y="10181"/>
                  </a:moveTo>
                  <a:cubicBezTo>
                    <a:pt x="7306" y="10173"/>
                    <a:pt x="7270" y="10187"/>
                    <a:pt x="7250" y="10188"/>
                  </a:cubicBezTo>
                  <a:cubicBezTo>
                    <a:pt x="7253" y="10188"/>
                    <a:pt x="7254" y="10188"/>
                    <a:pt x="7246" y="10188"/>
                  </a:cubicBezTo>
                  <a:cubicBezTo>
                    <a:pt x="7168" y="10190"/>
                    <a:pt x="7357" y="10188"/>
                    <a:pt x="7332" y="10181"/>
                  </a:cubicBezTo>
                  <a:close/>
                  <a:moveTo>
                    <a:pt x="7192" y="10190"/>
                  </a:moveTo>
                  <a:cubicBezTo>
                    <a:pt x="7159" y="10191"/>
                    <a:pt x="7147" y="10201"/>
                    <a:pt x="7192" y="10190"/>
                  </a:cubicBezTo>
                  <a:cubicBezTo>
                    <a:pt x="7192" y="10190"/>
                    <a:pt x="7192" y="10190"/>
                    <a:pt x="7192" y="10190"/>
                  </a:cubicBezTo>
                  <a:close/>
                  <a:moveTo>
                    <a:pt x="12812" y="779"/>
                  </a:moveTo>
                  <a:cubicBezTo>
                    <a:pt x="12815" y="757"/>
                    <a:pt x="12784" y="702"/>
                    <a:pt x="12758" y="703"/>
                  </a:cubicBezTo>
                  <a:cubicBezTo>
                    <a:pt x="12753" y="712"/>
                    <a:pt x="12786" y="775"/>
                    <a:pt x="12812" y="779"/>
                  </a:cubicBezTo>
                  <a:close/>
                  <a:moveTo>
                    <a:pt x="2615" y="208"/>
                  </a:moveTo>
                  <a:cubicBezTo>
                    <a:pt x="2580" y="233"/>
                    <a:pt x="2581" y="261"/>
                    <a:pt x="2615" y="208"/>
                  </a:cubicBezTo>
                  <a:cubicBezTo>
                    <a:pt x="2615" y="208"/>
                    <a:pt x="2615" y="208"/>
                    <a:pt x="2615" y="208"/>
                  </a:cubicBezTo>
                  <a:close/>
                  <a:moveTo>
                    <a:pt x="2287" y="737"/>
                  </a:moveTo>
                  <a:cubicBezTo>
                    <a:pt x="2288" y="738"/>
                    <a:pt x="2287" y="735"/>
                    <a:pt x="2287" y="730"/>
                  </a:cubicBezTo>
                  <a:cubicBezTo>
                    <a:pt x="2285" y="733"/>
                    <a:pt x="2285" y="736"/>
                    <a:pt x="2287" y="737"/>
                  </a:cubicBezTo>
                  <a:close/>
                  <a:moveTo>
                    <a:pt x="11040" y="1701"/>
                  </a:moveTo>
                  <a:cubicBezTo>
                    <a:pt x="11080" y="1675"/>
                    <a:pt x="11022" y="1647"/>
                    <a:pt x="11093" y="1656"/>
                  </a:cubicBezTo>
                  <a:cubicBezTo>
                    <a:pt x="11161" y="1664"/>
                    <a:pt x="11111" y="1642"/>
                    <a:pt x="11141" y="1613"/>
                  </a:cubicBezTo>
                  <a:cubicBezTo>
                    <a:pt x="11140" y="1614"/>
                    <a:pt x="11183" y="1646"/>
                    <a:pt x="11137" y="1675"/>
                  </a:cubicBezTo>
                  <a:cubicBezTo>
                    <a:pt x="11119" y="1684"/>
                    <a:pt x="11100" y="1691"/>
                    <a:pt x="11084" y="1704"/>
                  </a:cubicBezTo>
                  <a:cubicBezTo>
                    <a:pt x="11144" y="1743"/>
                    <a:pt x="11218" y="1716"/>
                    <a:pt x="11222" y="1639"/>
                  </a:cubicBezTo>
                  <a:cubicBezTo>
                    <a:pt x="11223" y="1630"/>
                    <a:pt x="11198" y="1654"/>
                    <a:pt x="11193" y="1652"/>
                  </a:cubicBezTo>
                  <a:cubicBezTo>
                    <a:pt x="11164" y="1641"/>
                    <a:pt x="11212" y="1614"/>
                    <a:pt x="11207" y="1605"/>
                  </a:cubicBezTo>
                  <a:cubicBezTo>
                    <a:pt x="11191" y="1575"/>
                    <a:pt x="11137" y="1579"/>
                    <a:pt x="11127" y="1606"/>
                  </a:cubicBezTo>
                  <a:cubicBezTo>
                    <a:pt x="11104" y="1671"/>
                    <a:pt x="11051" y="1579"/>
                    <a:pt x="11028" y="1592"/>
                  </a:cubicBezTo>
                  <a:cubicBezTo>
                    <a:pt x="11014" y="1600"/>
                    <a:pt x="10962" y="1752"/>
                    <a:pt x="11040" y="1701"/>
                  </a:cubicBezTo>
                  <a:close/>
                  <a:moveTo>
                    <a:pt x="2515" y="121"/>
                  </a:moveTo>
                  <a:cubicBezTo>
                    <a:pt x="2514" y="122"/>
                    <a:pt x="2514" y="125"/>
                    <a:pt x="2513" y="126"/>
                  </a:cubicBezTo>
                  <a:cubicBezTo>
                    <a:pt x="2514" y="125"/>
                    <a:pt x="2515" y="123"/>
                    <a:pt x="2515" y="121"/>
                  </a:cubicBezTo>
                  <a:close/>
                  <a:moveTo>
                    <a:pt x="2762" y="34"/>
                  </a:moveTo>
                  <a:cubicBezTo>
                    <a:pt x="2760" y="36"/>
                    <a:pt x="2759" y="38"/>
                    <a:pt x="2757" y="39"/>
                  </a:cubicBezTo>
                  <a:cubicBezTo>
                    <a:pt x="2761" y="38"/>
                    <a:pt x="2762" y="37"/>
                    <a:pt x="2762" y="34"/>
                  </a:cubicBezTo>
                  <a:close/>
                  <a:moveTo>
                    <a:pt x="2458" y="191"/>
                  </a:moveTo>
                  <a:cubicBezTo>
                    <a:pt x="2465" y="206"/>
                    <a:pt x="2473" y="219"/>
                    <a:pt x="2481" y="227"/>
                  </a:cubicBezTo>
                  <a:cubicBezTo>
                    <a:pt x="2476" y="220"/>
                    <a:pt x="2467" y="207"/>
                    <a:pt x="2458" y="191"/>
                  </a:cubicBezTo>
                  <a:close/>
                  <a:moveTo>
                    <a:pt x="2589" y="173"/>
                  </a:moveTo>
                  <a:cubicBezTo>
                    <a:pt x="2573" y="179"/>
                    <a:pt x="2556" y="187"/>
                    <a:pt x="2554" y="188"/>
                  </a:cubicBezTo>
                  <a:cubicBezTo>
                    <a:pt x="2563" y="183"/>
                    <a:pt x="2577" y="179"/>
                    <a:pt x="2589" y="173"/>
                  </a:cubicBezTo>
                  <a:close/>
                  <a:moveTo>
                    <a:pt x="2915" y="773"/>
                  </a:moveTo>
                  <a:cubicBezTo>
                    <a:pt x="2916" y="774"/>
                    <a:pt x="2911" y="770"/>
                    <a:pt x="2915" y="773"/>
                  </a:cubicBezTo>
                  <a:cubicBezTo>
                    <a:pt x="2915" y="773"/>
                    <a:pt x="2915" y="773"/>
                    <a:pt x="2915" y="773"/>
                  </a:cubicBezTo>
                  <a:close/>
                  <a:moveTo>
                    <a:pt x="3372" y="679"/>
                  </a:moveTo>
                  <a:cubicBezTo>
                    <a:pt x="3371" y="673"/>
                    <a:pt x="3370" y="666"/>
                    <a:pt x="3369" y="660"/>
                  </a:cubicBezTo>
                  <a:cubicBezTo>
                    <a:pt x="3363" y="666"/>
                    <a:pt x="3363" y="673"/>
                    <a:pt x="3372" y="679"/>
                  </a:cubicBezTo>
                  <a:close/>
                  <a:moveTo>
                    <a:pt x="2675" y="666"/>
                  </a:moveTo>
                  <a:cubicBezTo>
                    <a:pt x="2674" y="666"/>
                    <a:pt x="2672" y="666"/>
                    <a:pt x="2672" y="666"/>
                  </a:cubicBezTo>
                  <a:cubicBezTo>
                    <a:pt x="2672" y="667"/>
                    <a:pt x="2673" y="667"/>
                    <a:pt x="2675" y="666"/>
                  </a:cubicBezTo>
                  <a:close/>
                  <a:moveTo>
                    <a:pt x="3473" y="887"/>
                  </a:moveTo>
                  <a:cubicBezTo>
                    <a:pt x="3474" y="885"/>
                    <a:pt x="3474" y="884"/>
                    <a:pt x="3474" y="882"/>
                  </a:cubicBezTo>
                  <a:cubicBezTo>
                    <a:pt x="3468" y="906"/>
                    <a:pt x="3469" y="912"/>
                    <a:pt x="3473" y="887"/>
                  </a:cubicBezTo>
                  <a:close/>
                  <a:moveTo>
                    <a:pt x="12361" y="801"/>
                  </a:moveTo>
                  <a:cubicBezTo>
                    <a:pt x="12312" y="791"/>
                    <a:pt x="12257" y="865"/>
                    <a:pt x="12305" y="898"/>
                  </a:cubicBezTo>
                  <a:cubicBezTo>
                    <a:pt x="12401" y="932"/>
                    <a:pt x="12383" y="805"/>
                    <a:pt x="12361" y="801"/>
                  </a:cubicBezTo>
                  <a:close/>
                  <a:moveTo>
                    <a:pt x="2768" y="0"/>
                  </a:moveTo>
                  <a:cubicBezTo>
                    <a:pt x="2768" y="0"/>
                    <a:pt x="2768" y="1"/>
                    <a:pt x="2768" y="1"/>
                  </a:cubicBezTo>
                  <a:cubicBezTo>
                    <a:pt x="2769" y="2"/>
                    <a:pt x="2769" y="2"/>
                    <a:pt x="2768" y="0"/>
                  </a:cubicBezTo>
                  <a:close/>
                  <a:moveTo>
                    <a:pt x="2729" y="484"/>
                  </a:moveTo>
                  <a:cubicBezTo>
                    <a:pt x="2730" y="474"/>
                    <a:pt x="2732" y="467"/>
                    <a:pt x="2734" y="463"/>
                  </a:cubicBezTo>
                  <a:cubicBezTo>
                    <a:pt x="2728" y="472"/>
                    <a:pt x="2727" y="478"/>
                    <a:pt x="2729" y="484"/>
                  </a:cubicBezTo>
                  <a:close/>
                  <a:moveTo>
                    <a:pt x="2094" y="9771"/>
                  </a:moveTo>
                  <a:cubicBezTo>
                    <a:pt x="2094" y="9772"/>
                    <a:pt x="2094" y="9773"/>
                    <a:pt x="2093" y="9773"/>
                  </a:cubicBezTo>
                  <a:cubicBezTo>
                    <a:pt x="2095" y="9772"/>
                    <a:pt x="2095" y="9771"/>
                    <a:pt x="2094" y="9771"/>
                  </a:cubicBezTo>
                  <a:close/>
                  <a:moveTo>
                    <a:pt x="3072" y="7851"/>
                  </a:moveTo>
                  <a:cubicBezTo>
                    <a:pt x="3073" y="7851"/>
                    <a:pt x="3073" y="7851"/>
                    <a:pt x="3074" y="7850"/>
                  </a:cubicBezTo>
                  <a:cubicBezTo>
                    <a:pt x="3073" y="7850"/>
                    <a:pt x="3072" y="7851"/>
                    <a:pt x="3072" y="7851"/>
                  </a:cubicBezTo>
                  <a:close/>
                  <a:moveTo>
                    <a:pt x="2204" y="8091"/>
                  </a:moveTo>
                  <a:cubicBezTo>
                    <a:pt x="2203" y="8091"/>
                    <a:pt x="2160" y="8186"/>
                    <a:pt x="2151" y="8182"/>
                  </a:cubicBezTo>
                  <a:cubicBezTo>
                    <a:pt x="2159" y="8186"/>
                    <a:pt x="2225" y="8128"/>
                    <a:pt x="2225" y="8128"/>
                  </a:cubicBezTo>
                  <a:cubicBezTo>
                    <a:pt x="2224" y="8127"/>
                    <a:pt x="2223" y="8127"/>
                    <a:pt x="2225" y="8128"/>
                  </a:cubicBezTo>
                  <a:cubicBezTo>
                    <a:pt x="2279" y="8152"/>
                    <a:pt x="2249" y="8077"/>
                    <a:pt x="2204" y="8091"/>
                  </a:cubicBezTo>
                  <a:close/>
                  <a:moveTo>
                    <a:pt x="1697" y="9697"/>
                  </a:moveTo>
                  <a:cubicBezTo>
                    <a:pt x="1697" y="9697"/>
                    <a:pt x="1696" y="9697"/>
                    <a:pt x="1696" y="9697"/>
                  </a:cubicBezTo>
                  <a:cubicBezTo>
                    <a:pt x="1697" y="9697"/>
                    <a:pt x="1697" y="9697"/>
                    <a:pt x="1697" y="9697"/>
                  </a:cubicBezTo>
                  <a:close/>
                  <a:moveTo>
                    <a:pt x="3194" y="7952"/>
                  </a:moveTo>
                  <a:cubicBezTo>
                    <a:pt x="3191" y="7960"/>
                    <a:pt x="3188" y="7969"/>
                    <a:pt x="3185" y="7977"/>
                  </a:cubicBezTo>
                  <a:cubicBezTo>
                    <a:pt x="3194" y="7969"/>
                    <a:pt x="3199" y="7961"/>
                    <a:pt x="3194" y="7952"/>
                  </a:cubicBezTo>
                  <a:close/>
                  <a:moveTo>
                    <a:pt x="3597" y="8612"/>
                  </a:moveTo>
                  <a:cubicBezTo>
                    <a:pt x="3596" y="8612"/>
                    <a:pt x="3595" y="8612"/>
                    <a:pt x="3593" y="8612"/>
                  </a:cubicBezTo>
                  <a:cubicBezTo>
                    <a:pt x="3594" y="8613"/>
                    <a:pt x="3595" y="8613"/>
                    <a:pt x="3597" y="8612"/>
                  </a:cubicBezTo>
                  <a:close/>
                  <a:moveTo>
                    <a:pt x="13307" y="304"/>
                  </a:moveTo>
                  <a:cubicBezTo>
                    <a:pt x="13297" y="309"/>
                    <a:pt x="13288" y="313"/>
                    <a:pt x="13278" y="316"/>
                  </a:cubicBezTo>
                  <a:cubicBezTo>
                    <a:pt x="13276" y="321"/>
                    <a:pt x="13303" y="347"/>
                    <a:pt x="13308" y="353"/>
                  </a:cubicBezTo>
                  <a:cubicBezTo>
                    <a:pt x="13329" y="339"/>
                    <a:pt x="13415" y="288"/>
                    <a:pt x="13434" y="284"/>
                  </a:cubicBezTo>
                  <a:cubicBezTo>
                    <a:pt x="13338" y="303"/>
                    <a:pt x="13399" y="234"/>
                    <a:pt x="13387" y="229"/>
                  </a:cubicBezTo>
                  <a:cubicBezTo>
                    <a:pt x="13372" y="234"/>
                    <a:pt x="13358" y="238"/>
                    <a:pt x="13343" y="243"/>
                  </a:cubicBezTo>
                  <a:cubicBezTo>
                    <a:pt x="13340" y="233"/>
                    <a:pt x="13340" y="223"/>
                    <a:pt x="13344" y="213"/>
                  </a:cubicBezTo>
                  <a:cubicBezTo>
                    <a:pt x="13343" y="211"/>
                    <a:pt x="13294" y="214"/>
                    <a:pt x="13296" y="227"/>
                  </a:cubicBezTo>
                  <a:cubicBezTo>
                    <a:pt x="13296" y="228"/>
                    <a:pt x="13336" y="273"/>
                    <a:pt x="13333" y="273"/>
                  </a:cubicBezTo>
                  <a:cubicBezTo>
                    <a:pt x="13331" y="272"/>
                    <a:pt x="13226" y="218"/>
                    <a:pt x="13252" y="279"/>
                  </a:cubicBezTo>
                  <a:cubicBezTo>
                    <a:pt x="13255" y="287"/>
                    <a:pt x="13312" y="280"/>
                    <a:pt x="13307" y="304"/>
                  </a:cubicBezTo>
                  <a:close/>
                  <a:moveTo>
                    <a:pt x="2277" y="1544"/>
                  </a:moveTo>
                  <a:cubicBezTo>
                    <a:pt x="2277" y="1544"/>
                    <a:pt x="2277" y="1544"/>
                    <a:pt x="2277" y="1545"/>
                  </a:cubicBezTo>
                  <a:cubicBezTo>
                    <a:pt x="2277" y="1544"/>
                    <a:pt x="2277" y="1544"/>
                    <a:pt x="2277" y="1544"/>
                  </a:cubicBezTo>
                  <a:close/>
                  <a:moveTo>
                    <a:pt x="2182" y="661"/>
                  </a:moveTo>
                  <a:cubicBezTo>
                    <a:pt x="2185" y="657"/>
                    <a:pt x="2188" y="653"/>
                    <a:pt x="2191" y="649"/>
                  </a:cubicBezTo>
                  <a:cubicBezTo>
                    <a:pt x="2187" y="652"/>
                    <a:pt x="2184" y="656"/>
                    <a:pt x="2182" y="661"/>
                  </a:cubicBezTo>
                  <a:close/>
                  <a:moveTo>
                    <a:pt x="2277" y="1545"/>
                  </a:moveTo>
                  <a:lnTo>
                    <a:pt x="2277" y="1545"/>
                  </a:lnTo>
                  <a:cubicBezTo>
                    <a:pt x="2277" y="1544"/>
                    <a:pt x="2277" y="1544"/>
                    <a:pt x="2277" y="1544"/>
                  </a:cubicBezTo>
                  <a:cubicBezTo>
                    <a:pt x="2277" y="1544"/>
                    <a:pt x="2277" y="1544"/>
                    <a:pt x="2277" y="1545"/>
                  </a:cubicBezTo>
                  <a:close/>
                  <a:moveTo>
                    <a:pt x="12659" y="612"/>
                  </a:moveTo>
                  <a:cubicBezTo>
                    <a:pt x="12652" y="597"/>
                    <a:pt x="12816" y="640"/>
                    <a:pt x="12836" y="567"/>
                  </a:cubicBezTo>
                  <a:cubicBezTo>
                    <a:pt x="12843" y="543"/>
                    <a:pt x="12847" y="522"/>
                    <a:pt x="12853" y="519"/>
                  </a:cubicBezTo>
                  <a:cubicBezTo>
                    <a:pt x="12836" y="505"/>
                    <a:pt x="12804" y="537"/>
                    <a:pt x="12802" y="536"/>
                  </a:cubicBezTo>
                  <a:cubicBezTo>
                    <a:pt x="12785" y="533"/>
                    <a:pt x="12782" y="484"/>
                    <a:pt x="12766" y="480"/>
                  </a:cubicBezTo>
                  <a:cubicBezTo>
                    <a:pt x="12730" y="471"/>
                    <a:pt x="12799" y="576"/>
                    <a:pt x="12747" y="570"/>
                  </a:cubicBezTo>
                  <a:cubicBezTo>
                    <a:pt x="12724" y="568"/>
                    <a:pt x="12749" y="498"/>
                    <a:pt x="12711" y="511"/>
                  </a:cubicBezTo>
                  <a:cubicBezTo>
                    <a:pt x="12710" y="521"/>
                    <a:pt x="12708" y="531"/>
                    <a:pt x="12706" y="540"/>
                  </a:cubicBezTo>
                  <a:cubicBezTo>
                    <a:pt x="12699" y="531"/>
                    <a:pt x="12693" y="522"/>
                    <a:pt x="12688" y="512"/>
                  </a:cubicBezTo>
                  <a:cubicBezTo>
                    <a:pt x="12675" y="507"/>
                    <a:pt x="12694" y="568"/>
                    <a:pt x="12694" y="570"/>
                  </a:cubicBezTo>
                  <a:cubicBezTo>
                    <a:pt x="12700" y="548"/>
                    <a:pt x="12606" y="553"/>
                    <a:pt x="12604" y="553"/>
                  </a:cubicBezTo>
                  <a:cubicBezTo>
                    <a:pt x="12611" y="551"/>
                    <a:pt x="12655" y="604"/>
                    <a:pt x="12659" y="612"/>
                  </a:cubicBezTo>
                  <a:close/>
                  <a:moveTo>
                    <a:pt x="2225" y="8128"/>
                  </a:moveTo>
                  <a:lnTo>
                    <a:pt x="2225" y="8128"/>
                  </a:lnTo>
                  <a:cubicBezTo>
                    <a:pt x="2227" y="8129"/>
                    <a:pt x="2229" y="8130"/>
                    <a:pt x="2225" y="8128"/>
                  </a:cubicBezTo>
                  <a:close/>
                  <a:moveTo>
                    <a:pt x="2277" y="1544"/>
                  </a:moveTo>
                  <a:cubicBezTo>
                    <a:pt x="2277" y="1544"/>
                    <a:pt x="2277" y="1544"/>
                    <a:pt x="2277" y="1545"/>
                  </a:cubicBezTo>
                  <a:lnTo>
                    <a:pt x="2277" y="1545"/>
                  </a:lnTo>
                  <a:cubicBezTo>
                    <a:pt x="2277" y="1544"/>
                    <a:pt x="2277" y="1544"/>
                    <a:pt x="2277" y="1544"/>
                  </a:cubicBezTo>
                  <a:close/>
                  <a:moveTo>
                    <a:pt x="4019" y="7898"/>
                  </a:moveTo>
                  <a:cubicBezTo>
                    <a:pt x="3960" y="7917"/>
                    <a:pt x="3903" y="8051"/>
                    <a:pt x="3997" y="8070"/>
                  </a:cubicBezTo>
                  <a:cubicBezTo>
                    <a:pt x="4062" y="8084"/>
                    <a:pt x="4037" y="7920"/>
                    <a:pt x="4019" y="7898"/>
                  </a:cubicBezTo>
                  <a:close/>
                  <a:moveTo>
                    <a:pt x="3820" y="6700"/>
                  </a:moveTo>
                  <a:cubicBezTo>
                    <a:pt x="3819" y="6684"/>
                    <a:pt x="3794" y="6682"/>
                    <a:pt x="3780" y="6673"/>
                  </a:cubicBezTo>
                  <a:cubicBezTo>
                    <a:pt x="3714" y="6762"/>
                    <a:pt x="3822" y="6716"/>
                    <a:pt x="3820" y="6700"/>
                  </a:cubicBezTo>
                  <a:close/>
                  <a:moveTo>
                    <a:pt x="3874" y="7439"/>
                  </a:moveTo>
                  <a:cubicBezTo>
                    <a:pt x="3893" y="7437"/>
                    <a:pt x="3911" y="7441"/>
                    <a:pt x="3928" y="7449"/>
                  </a:cubicBezTo>
                  <a:cubicBezTo>
                    <a:pt x="3926" y="7468"/>
                    <a:pt x="3827" y="7427"/>
                    <a:pt x="3812" y="7433"/>
                  </a:cubicBezTo>
                  <a:cubicBezTo>
                    <a:pt x="3759" y="7453"/>
                    <a:pt x="3924" y="7470"/>
                    <a:pt x="3929" y="7470"/>
                  </a:cubicBezTo>
                  <a:cubicBezTo>
                    <a:pt x="3998" y="7463"/>
                    <a:pt x="3946" y="7513"/>
                    <a:pt x="4000" y="7489"/>
                  </a:cubicBezTo>
                  <a:cubicBezTo>
                    <a:pt x="4065" y="7459"/>
                    <a:pt x="4068" y="7425"/>
                    <a:pt x="4003" y="7394"/>
                  </a:cubicBezTo>
                  <a:cubicBezTo>
                    <a:pt x="3954" y="7370"/>
                    <a:pt x="3969" y="7305"/>
                    <a:pt x="3959" y="7279"/>
                  </a:cubicBezTo>
                  <a:cubicBezTo>
                    <a:pt x="3815" y="7283"/>
                    <a:pt x="3937" y="7404"/>
                    <a:pt x="3949" y="7393"/>
                  </a:cubicBezTo>
                  <a:cubicBezTo>
                    <a:pt x="3944" y="7398"/>
                    <a:pt x="3847" y="7418"/>
                    <a:pt x="3874" y="7439"/>
                  </a:cubicBezTo>
                  <a:close/>
                  <a:moveTo>
                    <a:pt x="3913" y="6501"/>
                  </a:moveTo>
                  <a:cubicBezTo>
                    <a:pt x="3909" y="6506"/>
                    <a:pt x="3940" y="6589"/>
                    <a:pt x="3944" y="6589"/>
                  </a:cubicBezTo>
                  <a:cubicBezTo>
                    <a:pt x="3999" y="6592"/>
                    <a:pt x="3952" y="6553"/>
                    <a:pt x="3996" y="6545"/>
                  </a:cubicBezTo>
                  <a:cubicBezTo>
                    <a:pt x="4003" y="6551"/>
                    <a:pt x="4010" y="6558"/>
                    <a:pt x="4017" y="6565"/>
                  </a:cubicBezTo>
                  <a:cubicBezTo>
                    <a:pt x="4042" y="6569"/>
                    <a:pt x="4017" y="6518"/>
                    <a:pt x="4025" y="6514"/>
                  </a:cubicBezTo>
                  <a:cubicBezTo>
                    <a:pt x="4038" y="6518"/>
                    <a:pt x="4051" y="6523"/>
                    <a:pt x="4064" y="6529"/>
                  </a:cubicBezTo>
                  <a:cubicBezTo>
                    <a:pt x="4058" y="6531"/>
                    <a:pt x="4091" y="6427"/>
                    <a:pt x="4092" y="6444"/>
                  </a:cubicBezTo>
                  <a:cubicBezTo>
                    <a:pt x="4092" y="6440"/>
                    <a:pt x="4049" y="6536"/>
                    <a:pt x="4088" y="6524"/>
                  </a:cubicBezTo>
                  <a:cubicBezTo>
                    <a:pt x="4090" y="6516"/>
                    <a:pt x="4092" y="6507"/>
                    <a:pt x="4093" y="6498"/>
                  </a:cubicBezTo>
                  <a:cubicBezTo>
                    <a:pt x="4104" y="6502"/>
                    <a:pt x="4124" y="6541"/>
                    <a:pt x="4141" y="6529"/>
                  </a:cubicBezTo>
                  <a:cubicBezTo>
                    <a:pt x="4178" y="6500"/>
                    <a:pt x="4127" y="6491"/>
                    <a:pt x="4132" y="6470"/>
                  </a:cubicBezTo>
                  <a:cubicBezTo>
                    <a:pt x="4133" y="6464"/>
                    <a:pt x="4163" y="6500"/>
                    <a:pt x="4171" y="6496"/>
                  </a:cubicBezTo>
                  <a:cubicBezTo>
                    <a:pt x="4212" y="6477"/>
                    <a:pt x="4207" y="6421"/>
                    <a:pt x="4221" y="6387"/>
                  </a:cubicBezTo>
                  <a:cubicBezTo>
                    <a:pt x="4228" y="6367"/>
                    <a:pt x="4320" y="6308"/>
                    <a:pt x="4327" y="6300"/>
                  </a:cubicBezTo>
                  <a:cubicBezTo>
                    <a:pt x="4373" y="6183"/>
                    <a:pt x="4253" y="6286"/>
                    <a:pt x="4211" y="6287"/>
                  </a:cubicBezTo>
                  <a:cubicBezTo>
                    <a:pt x="4191" y="6288"/>
                    <a:pt x="4140" y="6263"/>
                    <a:pt x="4124" y="6285"/>
                  </a:cubicBezTo>
                  <a:cubicBezTo>
                    <a:pt x="4118" y="6293"/>
                    <a:pt x="4112" y="6366"/>
                    <a:pt x="4118" y="6368"/>
                  </a:cubicBezTo>
                  <a:cubicBezTo>
                    <a:pt x="4091" y="6357"/>
                    <a:pt x="4068" y="6297"/>
                    <a:pt x="4042" y="6295"/>
                  </a:cubicBezTo>
                  <a:cubicBezTo>
                    <a:pt x="4008" y="6293"/>
                    <a:pt x="3985" y="6384"/>
                    <a:pt x="4002" y="6408"/>
                  </a:cubicBezTo>
                  <a:cubicBezTo>
                    <a:pt x="3984" y="6402"/>
                    <a:pt x="3969" y="6407"/>
                    <a:pt x="3957" y="6422"/>
                  </a:cubicBezTo>
                  <a:cubicBezTo>
                    <a:pt x="3957" y="6431"/>
                    <a:pt x="4032" y="6499"/>
                    <a:pt x="4024" y="6502"/>
                  </a:cubicBezTo>
                  <a:cubicBezTo>
                    <a:pt x="4022" y="6504"/>
                    <a:pt x="3931" y="6529"/>
                    <a:pt x="3930" y="6529"/>
                  </a:cubicBezTo>
                  <a:cubicBezTo>
                    <a:pt x="3926" y="6519"/>
                    <a:pt x="3920" y="6509"/>
                    <a:pt x="3913" y="6501"/>
                  </a:cubicBezTo>
                  <a:close/>
                  <a:moveTo>
                    <a:pt x="3788" y="6643"/>
                  </a:moveTo>
                  <a:cubicBezTo>
                    <a:pt x="3835" y="6690"/>
                    <a:pt x="3901" y="6711"/>
                    <a:pt x="3859" y="6619"/>
                  </a:cubicBezTo>
                  <a:cubicBezTo>
                    <a:pt x="3865" y="6626"/>
                    <a:pt x="3872" y="6632"/>
                    <a:pt x="3880" y="6638"/>
                  </a:cubicBezTo>
                  <a:cubicBezTo>
                    <a:pt x="3892" y="6619"/>
                    <a:pt x="3885" y="6597"/>
                    <a:pt x="3874" y="6582"/>
                  </a:cubicBezTo>
                  <a:cubicBezTo>
                    <a:pt x="3818" y="6586"/>
                    <a:pt x="3685" y="6540"/>
                    <a:pt x="3788" y="6643"/>
                  </a:cubicBezTo>
                  <a:close/>
                  <a:moveTo>
                    <a:pt x="4044" y="8733"/>
                  </a:moveTo>
                  <a:cubicBezTo>
                    <a:pt x="4033" y="8729"/>
                    <a:pt x="4027" y="8729"/>
                    <a:pt x="4023" y="8731"/>
                  </a:cubicBezTo>
                  <a:cubicBezTo>
                    <a:pt x="4031" y="8731"/>
                    <a:pt x="4038" y="8731"/>
                    <a:pt x="4044" y="8733"/>
                  </a:cubicBezTo>
                  <a:close/>
                  <a:moveTo>
                    <a:pt x="3774" y="9451"/>
                  </a:moveTo>
                  <a:cubicBezTo>
                    <a:pt x="3770" y="9446"/>
                    <a:pt x="3922" y="9392"/>
                    <a:pt x="3922" y="9397"/>
                  </a:cubicBezTo>
                  <a:cubicBezTo>
                    <a:pt x="3923" y="9402"/>
                    <a:pt x="3886" y="9278"/>
                    <a:pt x="3855" y="9266"/>
                  </a:cubicBezTo>
                  <a:cubicBezTo>
                    <a:pt x="3816" y="9252"/>
                    <a:pt x="3840" y="9263"/>
                    <a:pt x="3788" y="9282"/>
                  </a:cubicBezTo>
                  <a:cubicBezTo>
                    <a:pt x="3669" y="9327"/>
                    <a:pt x="3768" y="9379"/>
                    <a:pt x="3790" y="9425"/>
                  </a:cubicBezTo>
                  <a:cubicBezTo>
                    <a:pt x="3784" y="9433"/>
                    <a:pt x="3779" y="9442"/>
                    <a:pt x="3774" y="9451"/>
                  </a:cubicBezTo>
                  <a:close/>
                  <a:moveTo>
                    <a:pt x="12071" y="1322"/>
                  </a:moveTo>
                  <a:cubicBezTo>
                    <a:pt x="12070" y="1321"/>
                    <a:pt x="12070" y="1321"/>
                    <a:pt x="12070" y="1320"/>
                  </a:cubicBezTo>
                  <a:cubicBezTo>
                    <a:pt x="12070" y="1321"/>
                    <a:pt x="12071" y="1322"/>
                    <a:pt x="12071" y="1322"/>
                  </a:cubicBezTo>
                  <a:close/>
                  <a:moveTo>
                    <a:pt x="3666" y="12253"/>
                  </a:moveTo>
                  <a:cubicBezTo>
                    <a:pt x="3663" y="12246"/>
                    <a:pt x="3665" y="12250"/>
                    <a:pt x="3666" y="12253"/>
                  </a:cubicBezTo>
                  <a:cubicBezTo>
                    <a:pt x="3666" y="12253"/>
                    <a:pt x="3666" y="12253"/>
                    <a:pt x="3666" y="12253"/>
                  </a:cubicBezTo>
                  <a:close/>
                  <a:moveTo>
                    <a:pt x="11984" y="1234"/>
                  </a:moveTo>
                  <a:cubicBezTo>
                    <a:pt x="11972" y="1188"/>
                    <a:pt x="11943" y="1187"/>
                    <a:pt x="11903" y="1208"/>
                  </a:cubicBezTo>
                  <a:cubicBezTo>
                    <a:pt x="11777" y="1274"/>
                    <a:pt x="12044" y="1322"/>
                    <a:pt x="12071" y="1322"/>
                  </a:cubicBezTo>
                  <a:cubicBezTo>
                    <a:pt x="12046" y="1284"/>
                    <a:pt x="12003" y="1313"/>
                    <a:pt x="11984" y="1234"/>
                  </a:cubicBezTo>
                  <a:close/>
                  <a:moveTo>
                    <a:pt x="4044" y="8733"/>
                  </a:moveTo>
                  <a:cubicBezTo>
                    <a:pt x="4038" y="8731"/>
                    <a:pt x="4031" y="8731"/>
                    <a:pt x="4023" y="8731"/>
                  </a:cubicBezTo>
                  <a:cubicBezTo>
                    <a:pt x="4010" y="8738"/>
                    <a:pt x="4028" y="8765"/>
                    <a:pt x="4044" y="8733"/>
                  </a:cubicBezTo>
                  <a:close/>
                  <a:moveTo>
                    <a:pt x="12070" y="1320"/>
                  </a:moveTo>
                  <a:cubicBezTo>
                    <a:pt x="12069" y="1320"/>
                    <a:pt x="12069" y="1319"/>
                    <a:pt x="12068" y="1318"/>
                  </a:cubicBezTo>
                  <a:cubicBezTo>
                    <a:pt x="12069" y="1319"/>
                    <a:pt x="12069" y="1320"/>
                    <a:pt x="12070" y="1320"/>
                  </a:cubicBezTo>
                  <a:close/>
                  <a:moveTo>
                    <a:pt x="3776" y="7828"/>
                  </a:moveTo>
                  <a:cubicBezTo>
                    <a:pt x="3803" y="7796"/>
                    <a:pt x="3789" y="7730"/>
                    <a:pt x="3800" y="7690"/>
                  </a:cubicBezTo>
                  <a:lnTo>
                    <a:pt x="3801" y="7688"/>
                  </a:lnTo>
                  <a:cubicBezTo>
                    <a:pt x="3788" y="7689"/>
                    <a:pt x="3721" y="7711"/>
                    <a:pt x="3722" y="7711"/>
                  </a:cubicBezTo>
                  <a:cubicBezTo>
                    <a:pt x="3724" y="7702"/>
                    <a:pt x="3727" y="7692"/>
                    <a:pt x="3732" y="7684"/>
                  </a:cubicBezTo>
                  <a:cubicBezTo>
                    <a:pt x="3715" y="7649"/>
                    <a:pt x="3631" y="7764"/>
                    <a:pt x="3629" y="7783"/>
                  </a:cubicBezTo>
                  <a:cubicBezTo>
                    <a:pt x="3628" y="7794"/>
                    <a:pt x="3734" y="7716"/>
                    <a:pt x="3736" y="7723"/>
                  </a:cubicBezTo>
                  <a:cubicBezTo>
                    <a:pt x="3744" y="7759"/>
                    <a:pt x="3676" y="7818"/>
                    <a:pt x="3664" y="7841"/>
                  </a:cubicBezTo>
                  <a:cubicBezTo>
                    <a:pt x="3643" y="7882"/>
                    <a:pt x="3766" y="7840"/>
                    <a:pt x="3776" y="7828"/>
                  </a:cubicBezTo>
                  <a:close/>
                  <a:moveTo>
                    <a:pt x="3667" y="12255"/>
                  </a:moveTo>
                  <a:cubicBezTo>
                    <a:pt x="3667" y="12255"/>
                    <a:pt x="3667" y="12254"/>
                    <a:pt x="3666" y="12253"/>
                  </a:cubicBezTo>
                  <a:cubicBezTo>
                    <a:pt x="3666" y="12253"/>
                    <a:pt x="3666" y="12253"/>
                    <a:pt x="3666" y="12253"/>
                  </a:cubicBezTo>
                  <a:cubicBezTo>
                    <a:pt x="3665" y="12250"/>
                    <a:pt x="3663" y="12246"/>
                    <a:pt x="3666" y="12253"/>
                  </a:cubicBezTo>
                  <a:cubicBezTo>
                    <a:pt x="3666" y="12253"/>
                    <a:pt x="3666" y="12253"/>
                    <a:pt x="3666" y="12253"/>
                  </a:cubicBezTo>
                  <a:cubicBezTo>
                    <a:pt x="3667" y="12254"/>
                    <a:pt x="3667" y="12254"/>
                    <a:pt x="3667" y="12255"/>
                  </a:cubicBezTo>
                  <a:cubicBezTo>
                    <a:pt x="3664" y="12247"/>
                    <a:pt x="3695" y="12211"/>
                    <a:pt x="3688" y="12211"/>
                  </a:cubicBezTo>
                  <a:cubicBezTo>
                    <a:pt x="3684" y="12210"/>
                    <a:pt x="3623" y="12219"/>
                    <a:pt x="3618" y="12220"/>
                  </a:cubicBezTo>
                  <a:cubicBezTo>
                    <a:pt x="3627" y="12218"/>
                    <a:pt x="3560" y="12251"/>
                    <a:pt x="3551" y="12255"/>
                  </a:cubicBezTo>
                  <a:cubicBezTo>
                    <a:pt x="3590" y="12255"/>
                    <a:pt x="3629" y="12255"/>
                    <a:pt x="3667" y="12255"/>
                  </a:cubicBezTo>
                  <a:close/>
                  <a:moveTo>
                    <a:pt x="12068" y="1318"/>
                  </a:moveTo>
                  <a:cubicBezTo>
                    <a:pt x="12068" y="1318"/>
                    <a:pt x="12068" y="1318"/>
                    <a:pt x="12068" y="1318"/>
                  </a:cubicBezTo>
                  <a:cubicBezTo>
                    <a:pt x="12068" y="1318"/>
                    <a:pt x="12068" y="1318"/>
                    <a:pt x="12068" y="1318"/>
                  </a:cubicBezTo>
                  <a:close/>
                  <a:moveTo>
                    <a:pt x="12067" y="1316"/>
                  </a:moveTo>
                  <a:cubicBezTo>
                    <a:pt x="12066" y="1315"/>
                    <a:pt x="12066" y="1315"/>
                    <a:pt x="12067" y="1316"/>
                  </a:cubicBezTo>
                  <a:cubicBezTo>
                    <a:pt x="12067" y="1316"/>
                    <a:pt x="12067" y="1316"/>
                    <a:pt x="12067" y="1316"/>
                  </a:cubicBezTo>
                  <a:close/>
                  <a:moveTo>
                    <a:pt x="12067" y="1316"/>
                  </a:moveTo>
                  <a:cubicBezTo>
                    <a:pt x="12067" y="1317"/>
                    <a:pt x="12067" y="1317"/>
                    <a:pt x="12068" y="1318"/>
                  </a:cubicBezTo>
                  <a:cubicBezTo>
                    <a:pt x="12067" y="1317"/>
                    <a:pt x="12067" y="1317"/>
                    <a:pt x="12067" y="1316"/>
                  </a:cubicBezTo>
                  <a:close/>
                  <a:moveTo>
                    <a:pt x="3924" y="8886"/>
                  </a:moveTo>
                  <a:cubicBezTo>
                    <a:pt x="4027" y="8844"/>
                    <a:pt x="4007" y="8809"/>
                    <a:pt x="4044" y="8733"/>
                  </a:cubicBezTo>
                  <a:cubicBezTo>
                    <a:pt x="4028" y="8765"/>
                    <a:pt x="4010" y="8738"/>
                    <a:pt x="4023" y="8731"/>
                  </a:cubicBezTo>
                  <a:cubicBezTo>
                    <a:pt x="3960" y="8739"/>
                    <a:pt x="3833" y="8832"/>
                    <a:pt x="3834" y="8880"/>
                  </a:cubicBezTo>
                  <a:cubicBezTo>
                    <a:pt x="3835" y="8905"/>
                    <a:pt x="3911" y="8890"/>
                    <a:pt x="3924" y="8886"/>
                  </a:cubicBezTo>
                  <a:close/>
                  <a:moveTo>
                    <a:pt x="4049" y="1805"/>
                  </a:moveTo>
                  <a:cubicBezTo>
                    <a:pt x="4043" y="1800"/>
                    <a:pt x="4038" y="1797"/>
                    <a:pt x="4033" y="1796"/>
                  </a:cubicBezTo>
                  <a:cubicBezTo>
                    <a:pt x="4038" y="1799"/>
                    <a:pt x="4044" y="1802"/>
                    <a:pt x="4049" y="1805"/>
                  </a:cubicBezTo>
                  <a:close/>
                  <a:moveTo>
                    <a:pt x="3620" y="943"/>
                  </a:moveTo>
                  <a:cubicBezTo>
                    <a:pt x="3622" y="944"/>
                    <a:pt x="3623" y="942"/>
                    <a:pt x="3624" y="940"/>
                  </a:cubicBezTo>
                  <a:cubicBezTo>
                    <a:pt x="3620" y="941"/>
                    <a:pt x="3618" y="942"/>
                    <a:pt x="3620" y="943"/>
                  </a:cubicBezTo>
                  <a:close/>
                  <a:moveTo>
                    <a:pt x="12110" y="1055"/>
                  </a:moveTo>
                  <a:cubicBezTo>
                    <a:pt x="12043" y="1070"/>
                    <a:pt x="12015" y="1092"/>
                    <a:pt x="11995" y="1158"/>
                  </a:cubicBezTo>
                  <a:cubicBezTo>
                    <a:pt x="11970" y="1240"/>
                    <a:pt x="12067" y="1170"/>
                    <a:pt x="12071" y="1200"/>
                  </a:cubicBezTo>
                  <a:cubicBezTo>
                    <a:pt x="12071" y="1203"/>
                    <a:pt x="12109" y="1282"/>
                    <a:pt x="12183" y="1282"/>
                  </a:cubicBezTo>
                  <a:cubicBezTo>
                    <a:pt x="12191" y="1270"/>
                    <a:pt x="12188" y="1239"/>
                    <a:pt x="12188" y="1239"/>
                  </a:cubicBezTo>
                  <a:cubicBezTo>
                    <a:pt x="12205" y="1217"/>
                    <a:pt x="12341" y="945"/>
                    <a:pt x="12268" y="957"/>
                  </a:cubicBezTo>
                  <a:cubicBezTo>
                    <a:pt x="12244" y="961"/>
                    <a:pt x="12278" y="1025"/>
                    <a:pt x="12254" y="1025"/>
                  </a:cubicBezTo>
                  <a:cubicBezTo>
                    <a:pt x="12250" y="1012"/>
                    <a:pt x="12245" y="999"/>
                    <a:pt x="12241" y="986"/>
                  </a:cubicBezTo>
                  <a:cubicBezTo>
                    <a:pt x="12214" y="986"/>
                    <a:pt x="12211" y="1045"/>
                    <a:pt x="12213" y="1035"/>
                  </a:cubicBezTo>
                  <a:cubicBezTo>
                    <a:pt x="12216" y="1053"/>
                    <a:pt x="12236" y="1026"/>
                    <a:pt x="12110" y="1055"/>
                  </a:cubicBezTo>
                  <a:close/>
                  <a:moveTo>
                    <a:pt x="4267" y="1594"/>
                  </a:moveTo>
                  <a:lnTo>
                    <a:pt x="4267" y="1594"/>
                  </a:lnTo>
                  <a:lnTo>
                    <a:pt x="4267" y="1594"/>
                  </a:lnTo>
                  <a:cubicBezTo>
                    <a:pt x="4267" y="1594"/>
                    <a:pt x="4267" y="1594"/>
                    <a:pt x="4267" y="1594"/>
                  </a:cubicBezTo>
                  <a:close/>
                  <a:moveTo>
                    <a:pt x="4167" y="1801"/>
                  </a:moveTo>
                  <a:cubicBezTo>
                    <a:pt x="4169" y="1800"/>
                    <a:pt x="4171" y="1799"/>
                    <a:pt x="4173" y="1799"/>
                  </a:cubicBezTo>
                  <a:cubicBezTo>
                    <a:pt x="4171" y="1799"/>
                    <a:pt x="4169" y="1799"/>
                    <a:pt x="4167" y="1801"/>
                  </a:cubicBezTo>
                  <a:close/>
                  <a:moveTo>
                    <a:pt x="2933" y="749"/>
                  </a:moveTo>
                  <a:cubicBezTo>
                    <a:pt x="2930" y="753"/>
                    <a:pt x="2936" y="743"/>
                    <a:pt x="2933" y="749"/>
                  </a:cubicBezTo>
                  <a:cubicBezTo>
                    <a:pt x="2933" y="749"/>
                    <a:pt x="2933" y="749"/>
                    <a:pt x="2933" y="749"/>
                  </a:cubicBezTo>
                  <a:close/>
                  <a:moveTo>
                    <a:pt x="3667" y="12255"/>
                  </a:moveTo>
                  <a:cubicBezTo>
                    <a:pt x="3667" y="12254"/>
                    <a:pt x="3667" y="12254"/>
                    <a:pt x="3666" y="12253"/>
                  </a:cubicBezTo>
                  <a:cubicBezTo>
                    <a:pt x="3667" y="12254"/>
                    <a:pt x="3667" y="12255"/>
                    <a:pt x="3667" y="12255"/>
                  </a:cubicBezTo>
                  <a:close/>
                  <a:moveTo>
                    <a:pt x="2933" y="749"/>
                  </a:moveTo>
                  <a:cubicBezTo>
                    <a:pt x="2933" y="748"/>
                    <a:pt x="2962" y="693"/>
                    <a:pt x="2917" y="720"/>
                  </a:cubicBezTo>
                  <a:cubicBezTo>
                    <a:pt x="2914" y="722"/>
                    <a:pt x="2907" y="791"/>
                    <a:pt x="2933" y="749"/>
                  </a:cubicBezTo>
                  <a:close/>
                  <a:moveTo>
                    <a:pt x="2913" y="772"/>
                  </a:moveTo>
                  <a:cubicBezTo>
                    <a:pt x="2913" y="772"/>
                    <a:pt x="2913" y="772"/>
                    <a:pt x="2913" y="772"/>
                  </a:cubicBezTo>
                  <a:cubicBezTo>
                    <a:pt x="2912" y="771"/>
                    <a:pt x="2912" y="771"/>
                    <a:pt x="2913" y="772"/>
                  </a:cubicBezTo>
                  <a:close/>
                  <a:moveTo>
                    <a:pt x="3827" y="2007"/>
                  </a:moveTo>
                  <a:cubicBezTo>
                    <a:pt x="3824" y="2006"/>
                    <a:pt x="3821" y="2005"/>
                    <a:pt x="3818" y="2004"/>
                  </a:cubicBezTo>
                  <a:cubicBezTo>
                    <a:pt x="3821" y="2006"/>
                    <a:pt x="3824" y="2007"/>
                    <a:pt x="3827" y="2007"/>
                  </a:cubicBezTo>
                  <a:close/>
                  <a:moveTo>
                    <a:pt x="4357" y="1055"/>
                  </a:moveTo>
                  <a:cubicBezTo>
                    <a:pt x="4367" y="1056"/>
                    <a:pt x="4374" y="1058"/>
                    <a:pt x="4377" y="1061"/>
                  </a:cubicBezTo>
                  <a:cubicBezTo>
                    <a:pt x="4373" y="1056"/>
                    <a:pt x="4366" y="1055"/>
                    <a:pt x="4357" y="1055"/>
                  </a:cubicBezTo>
                  <a:close/>
                  <a:moveTo>
                    <a:pt x="11297" y="1759"/>
                  </a:moveTo>
                  <a:cubicBezTo>
                    <a:pt x="11292" y="1764"/>
                    <a:pt x="11286" y="1766"/>
                    <a:pt x="11279" y="1766"/>
                  </a:cubicBezTo>
                  <a:cubicBezTo>
                    <a:pt x="11289" y="1767"/>
                    <a:pt x="11294" y="1764"/>
                    <a:pt x="11297" y="1759"/>
                  </a:cubicBezTo>
                  <a:close/>
                  <a:moveTo>
                    <a:pt x="10466" y="9538"/>
                  </a:moveTo>
                  <a:cubicBezTo>
                    <a:pt x="10471" y="9542"/>
                    <a:pt x="10473" y="9543"/>
                    <a:pt x="10474" y="9544"/>
                  </a:cubicBezTo>
                  <a:cubicBezTo>
                    <a:pt x="10471" y="9542"/>
                    <a:pt x="10468" y="9540"/>
                    <a:pt x="10466" y="9538"/>
                  </a:cubicBezTo>
                  <a:close/>
                  <a:moveTo>
                    <a:pt x="4267" y="1594"/>
                  </a:moveTo>
                  <a:lnTo>
                    <a:pt x="4267" y="1594"/>
                  </a:lnTo>
                  <a:cubicBezTo>
                    <a:pt x="4263" y="1587"/>
                    <a:pt x="4265" y="1589"/>
                    <a:pt x="4267" y="1594"/>
                  </a:cubicBezTo>
                  <a:close/>
                  <a:moveTo>
                    <a:pt x="3812" y="2001"/>
                  </a:moveTo>
                  <a:cubicBezTo>
                    <a:pt x="3814" y="2003"/>
                    <a:pt x="3816" y="2003"/>
                    <a:pt x="3818" y="2004"/>
                  </a:cubicBezTo>
                  <a:cubicBezTo>
                    <a:pt x="3816" y="2003"/>
                    <a:pt x="3813" y="2002"/>
                    <a:pt x="3812" y="2001"/>
                  </a:cubicBezTo>
                  <a:close/>
                  <a:moveTo>
                    <a:pt x="9524" y="4406"/>
                  </a:moveTo>
                  <a:cubicBezTo>
                    <a:pt x="9527" y="4405"/>
                    <a:pt x="9534" y="4403"/>
                    <a:pt x="9534" y="4403"/>
                  </a:cubicBezTo>
                  <a:cubicBezTo>
                    <a:pt x="9528" y="4404"/>
                    <a:pt x="9526" y="4405"/>
                    <a:pt x="9524" y="4406"/>
                  </a:cubicBezTo>
                  <a:close/>
                  <a:moveTo>
                    <a:pt x="14457" y="6370"/>
                  </a:moveTo>
                  <a:cubicBezTo>
                    <a:pt x="14461" y="6364"/>
                    <a:pt x="14464" y="6358"/>
                    <a:pt x="14468" y="6352"/>
                  </a:cubicBezTo>
                  <a:cubicBezTo>
                    <a:pt x="14466" y="6352"/>
                    <a:pt x="14465" y="6352"/>
                    <a:pt x="14464" y="6352"/>
                  </a:cubicBezTo>
                  <a:cubicBezTo>
                    <a:pt x="14461" y="6358"/>
                    <a:pt x="14459" y="6364"/>
                    <a:pt x="14457" y="6370"/>
                  </a:cubicBezTo>
                  <a:close/>
                  <a:moveTo>
                    <a:pt x="2481" y="227"/>
                  </a:moveTo>
                  <a:cubicBezTo>
                    <a:pt x="2483" y="229"/>
                    <a:pt x="2484" y="230"/>
                    <a:pt x="2485" y="231"/>
                  </a:cubicBezTo>
                  <a:cubicBezTo>
                    <a:pt x="2484" y="230"/>
                    <a:pt x="2483" y="228"/>
                    <a:pt x="2481" y="227"/>
                  </a:cubicBezTo>
                  <a:close/>
                  <a:moveTo>
                    <a:pt x="2915" y="773"/>
                  </a:moveTo>
                  <a:cubicBezTo>
                    <a:pt x="2914" y="772"/>
                    <a:pt x="2913" y="772"/>
                    <a:pt x="2913" y="772"/>
                  </a:cubicBezTo>
                  <a:cubicBezTo>
                    <a:pt x="2913" y="772"/>
                    <a:pt x="2913" y="772"/>
                    <a:pt x="2913" y="772"/>
                  </a:cubicBezTo>
                  <a:cubicBezTo>
                    <a:pt x="2914" y="773"/>
                    <a:pt x="2917" y="775"/>
                    <a:pt x="2915" y="773"/>
                  </a:cubicBezTo>
                  <a:close/>
                  <a:moveTo>
                    <a:pt x="2225" y="8128"/>
                  </a:moveTo>
                  <a:lnTo>
                    <a:pt x="2225" y="8128"/>
                  </a:lnTo>
                  <a:cubicBezTo>
                    <a:pt x="2224" y="8127"/>
                    <a:pt x="2223" y="8127"/>
                    <a:pt x="2225" y="8128"/>
                  </a:cubicBezTo>
                  <a:close/>
                  <a:moveTo>
                    <a:pt x="2182" y="661"/>
                  </a:moveTo>
                  <a:cubicBezTo>
                    <a:pt x="2172" y="673"/>
                    <a:pt x="2163" y="685"/>
                    <a:pt x="2164" y="684"/>
                  </a:cubicBezTo>
                  <a:cubicBezTo>
                    <a:pt x="2175" y="684"/>
                    <a:pt x="2177" y="671"/>
                    <a:pt x="2182" y="661"/>
                  </a:cubicBezTo>
                  <a:close/>
                  <a:moveTo>
                    <a:pt x="4267" y="1594"/>
                  </a:moveTo>
                  <a:lnTo>
                    <a:pt x="4267" y="1594"/>
                  </a:lnTo>
                  <a:cubicBezTo>
                    <a:pt x="4278" y="1610"/>
                    <a:pt x="4271" y="1600"/>
                    <a:pt x="4267" y="1594"/>
                  </a:cubicBezTo>
                  <a:close/>
                  <a:moveTo>
                    <a:pt x="3984" y="7810"/>
                  </a:moveTo>
                  <a:cubicBezTo>
                    <a:pt x="3985" y="7811"/>
                    <a:pt x="3986" y="7811"/>
                    <a:pt x="3987" y="7812"/>
                  </a:cubicBezTo>
                  <a:cubicBezTo>
                    <a:pt x="3987" y="7811"/>
                    <a:pt x="3985" y="7810"/>
                    <a:pt x="3984" y="7810"/>
                  </a:cubicBezTo>
                  <a:close/>
                  <a:moveTo>
                    <a:pt x="11742" y="6668"/>
                  </a:moveTo>
                  <a:cubicBezTo>
                    <a:pt x="11748" y="6673"/>
                    <a:pt x="11752" y="6676"/>
                    <a:pt x="11754" y="6678"/>
                  </a:cubicBezTo>
                  <a:cubicBezTo>
                    <a:pt x="11754" y="6678"/>
                    <a:pt x="11754" y="6678"/>
                    <a:pt x="11754" y="6678"/>
                  </a:cubicBezTo>
                  <a:cubicBezTo>
                    <a:pt x="11752" y="6675"/>
                    <a:pt x="11746" y="6669"/>
                    <a:pt x="11742" y="6668"/>
                  </a:cubicBezTo>
                  <a:close/>
                  <a:moveTo>
                    <a:pt x="13219" y="7365"/>
                  </a:moveTo>
                  <a:cubicBezTo>
                    <a:pt x="13219" y="7371"/>
                    <a:pt x="13224" y="7378"/>
                    <a:pt x="13232" y="7384"/>
                  </a:cubicBezTo>
                  <a:cubicBezTo>
                    <a:pt x="13235" y="7376"/>
                    <a:pt x="13232" y="7369"/>
                    <a:pt x="13219" y="7365"/>
                  </a:cubicBezTo>
                  <a:close/>
                  <a:moveTo>
                    <a:pt x="16147" y="20316"/>
                  </a:moveTo>
                  <a:cubicBezTo>
                    <a:pt x="16144" y="20316"/>
                    <a:pt x="16140" y="20317"/>
                    <a:pt x="16136" y="20320"/>
                  </a:cubicBezTo>
                  <a:cubicBezTo>
                    <a:pt x="16139" y="20320"/>
                    <a:pt x="16141" y="20321"/>
                    <a:pt x="16143" y="20322"/>
                  </a:cubicBezTo>
                  <a:cubicBezTo>
                    <a:pt x="16146" y="20320"/>
                    <a:pt x="16148" y="20318"/>
                    <a:pt x="16147" y="20316"/>
                  </a:cubicBezTo>
                  <a:close/>
                  <a:moveTo>
                    <a:pt x="7564" y="10154"/>
                  </a:moveTo>
                  <a:cubicBezTo>
                    <a:pt x="7562" y="10154"/>
                    <a:pt x="7561" y="10154"/>
                    <a:pt x="7560" y="10154"/>
                  </a:cubicBezTo>
                  <a:cubicBezTo>
                    <a:pt x="7560" y="10154"/>
                    <a:pt x="7559" y="10154"/>
                    <a:pt x="7558" y="10154"/>
                  </a:cubicBezTo>
                  <a:cubicBezTo>
                    <a:pt x="7560" y="10154"/>
                    <a:pt x="7562" y="10154"/>
                    <a:pt x="7564" y="10154"/>
                  </a:cubicBezTo>
                  <a:close/>
                  <a:moveTo>
                    <a:pt x="3666" y="12253"/>
                  </a:moveTo>
                  <a:cubicBezTo>
                    <a:pt x="3666" y="12253"/>
                    <a:pt x="3666" y="12253"/>
                    <a:pt x="3666" y="12253"/>
                  </a:cubicBezTo>
                  <a:cubicBezTo>
                    <a:pt x="3666" y="12253"/>
                    <a:pt x="3666" y="12253"/>
                    <a:pt x="3666" y="12253"/>
                  </a:cubicBezTo>
                  <a:close/>
                  <a:moveTo>
                    <a:pt x="10309" y="3430"/>
                  </a:moveTo>
                  <a:cubicBezTo>
                    <a:pt x="10311" y="3442"/>
                    <a:pt x="10316" y="3453"/>
                    <a:pt x="10323" y="3464"/>
                  </a:cubicBezTo>
                  <a:cubicBezTo>
                    <a:pt x="10324" y="3466"/>
                    <a:pt x="10326" y="3466"/>
                    <a:pt x="10329" y="3465"/>
                  </a:cubicBezTo>
                  <a:cubicBezTo>
                    <a:pt x="10318" y="3446"/>
                    <a:pt x="10307" y="3432"/>
                    <a:pt x="10310" y="3428"/>
                  </a:cubicBezTo>
                  <a:cubicBezTo>
                    <a:pt x="10309" y="3429"/>
                    <a:pt x="10309" y="3430"/>
                    <a:pt x="10309" y="3430"/>
                  </a:cubicBezTo>
                  <a:close/>
                  <a:moveTo>
                    <a:pt x="3185" y="7977"/>
                  </a:moveTo>
                  <a:cubicBezTo>
                    <a:pt x="3170" y="8018"/>
                    <a:pt x="3146" y="8058"/>
                    <a:pt x="3120" y="8031"/>
                  </a:cubicBezTo>
                  <a:cubicBezTo>
                    <a:pt x="3107" y="8017"/>
                    <a:pt x="3161" y="7998"/>
                    <a:pt x="3185" y="7977"/>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7" name="Shape">
              <a:extLst>
                <a:ext uri="{FF2B5EF4-FFF2-40B4-BE49-F238E27FC236}">
                  <a16:creationId xmlns:a16="http://schemas.microsoft.com/office/drawing/2014/main" id="{76939977-CE1D-E846-B7F0-572B0261463A}"/>
                </a:ext>
              </a:extLst>
            </p:cNvPr>
            <p:cNvSpPr/>
            <p:nvPr/>
          </p:nvSpPr>
          <p:spPr>
            <a:xfrm>
              <a:off x="723900" y="2793999"/>
              <a:ext cx="6290871" cy="3472438"/>
            </a:xfrm>
            <a:custGeom>
              <a:avLst/>
              <a:gdLst/>
              <a:ahLst/>
              <a:cxnLst>
                <a:cxn ang="0">
                  <a:pos x="wd2" y="hd2"/>
                </a:cxn>
                <a:cxn ang="5400000">
                  <a:pos x="wd2" y="hd2"/>
                </a:cxn>
                <a:cxn ang="10800000">
                  <a:pos x="wd2" y="hd2"/>
                </a:cxn>
                <a:cxn ang="16200000">
                  <a:pos x="wd2" y="hd2"/>
                </a:cxn>
              </a:cxnLst>
              <a:rect l="0" t="0" r="r" b="b"/>
              <a:pathLst>
                <a:path w="21589" h="21516" extrusionOk="0">
                  <a:moveTo>
                    <a:pt x="21214" y="15729"/>
                  </a:moveTo>
                  <a:cubicBezTo>
                    <a:pt x="21216" y="15736"/>
                    <a:pt x="21217" y="15743"/>
                    <a:pt x="21218" y="15750"/>
                  </a:cubicBezTo>
                  <a:cubicBezTo>
                    <a:pt x="21155" y="15680"/>
                    <a:pt x="21097" y="15648"/>
                    <a:pt x="21108" y="15787"/>
                  </a:cubicBezTo>
                  <a:cubicBezTo>
                    <a:pt x="21114" y="15859"/>
                    <a:pt x="21152" y="16012"/>
                    <a:pt x="21110" y="16068"/>
                  </a:cubicBezTo>
                  <a:cubicBezTo>
                    <a:pt x="21093" y="16090"/>
                    <a:pt x="20983" y="16111"/>
                    <a:pt x="20988" y="16159"/>
                  </a:cubicBezTo>
                  <a:cubicBezTo>
                    <a:pt x="21003" y="16294"/>
                    <a:pt x="21093" y="16270"/>
                    <a:pt x="21093" y="16437"/>
                  </a:cubicBezTo>
                  <a:cubicBezTo>
                    <a:pt x="21093" y="16541"/>
                    <a:pt x="21167" y="16573"/>
                    <a:pt x="21181" y="16686"/>
                  </a:cubicBezTo>
                  <a:cubicBezTo>
                    <a:pt x="21192" y="16773"/>
                    <a:pt x="21200" y="16867"/>
                    <a:pt x="21225" y="16945"/>
                  </a:cubicBezTo>
                  <a:cubicBezTo>
                    <a:pt x="21244" y="17005"/>
                    <a:pt x="21271" y="16940"/>
                    <a:pt x="21296" y="16959"/>
                  </a:cubicBezTo>
                  <a:cubicBezTo>
                    <a:pt x="21356" y="17006"/>
                    <a:pt x="21271" y="17299"/>
                    <a:pt x="21267" y="17370"/>
                  </a:cubicBezTo>
                  <a:cubicBezTo>
                    <a:pt x="21262" y="17459"/>
                    <a:pt x="21319" y="17445"/>
                    <a:pt x="21358" y="17467"/>
                  </a:cubicBezTo>
                  <a:cubicBezTo>
                    <a:pt x="21383" y="17481"/>
                    <a:pt x="21436" y="17451"/>
                    <a:pt x="21449" y="17510"/>
                  </a:cubicBezTo>
                  <a:cubicBezTo>
                    <a:pt x="21444" y="17535"/>
                    <a:pt x="21439" y="17560"/>
                    <a:pt x="21433" y="17585"/>
                  </a:cubicBezTo>
                  <a:cubicBezTo>
                    <a:pt x="21443" y="17776"/>
                    <a:pt x="21513" y="17745"/>
                    <a:pt x="21577" y="17822"/>
                  </a:cubicBezTo>
                  <a:cubicBezTo>
                    <a:pt x="21587" y="17833"/>
                    <a:pt x="21600" y="17957"/>
                    <a:pt x="21573" y="18010"/>
                  </a:cubicBezTo>
                  <a:cubicBezTo>
                    <a:pt x="21520" y="18116"/>
                    <a:pt x="21417" y="18301"/>
                    <a:pt x="21390" y="18204"/>
                  </a:cubicBezTo>
                  <a:cubicBezTo>
                    <a:pt x="21373" y="18143"/>
                    <a:pt x="21404" y="18003"/>
                    <a:pt x="21355" y="17981"/>
                  </a:cubicBezTo>
                  <a:cubicBezTo>
                    <a:pt x="21311" y="17961"/>
                    <a:pt x="21278" y="17995"/>
                    <a:pt x="21255" y="18057"/>
                  </a:cubicBezTo>
                  <a:cubicBezTo>
                    <a:pt x="21162" y="18304"/>
                    <a:pt x="20982" y="18016"/>
                    <a:pt x="20883" y="18209"/>
                  </a:cubicBezTo>
                  <a:cubicBezTo>
                    <a:pt x="20835" y="18304"/>
                    <a:pt x="20779" y="18128"/>
                    <a:pt x="20758" y="18313"/>
                  </a:cubicBezTo>
                  <a:cubicBezTo>
                    <a:pt x="20743" y="18446"/>
                    <a:pt x="20712" y="18472"/>
                    <a:pt x="20654" y="18558"/>
                  </a:cubicBezTo>
                  <a:cubicBezTo>
                    <a:pt x="20658" y="18431"/>
                    <a:pt x="20620" y="18451"/>
                    <a:pt x="20579" y="18398"/>
                  </a:cubicBezTo>
                  <a:cubicBezTo>
                    <a:pt x="20563" y="18378"/>
                    <a:pt x="20505" y="18555"/>
                    <a:pt x="20488" y="18582"/>
                  </a:cubicBezTo>
                  <a:cubicBezTo>
                    <a:pt x="20366" y="18777"/>
                    <a:pt x="20180" y="18756"/>
                    <a:pt x="20037" y="18860"/>
                  </a:cubicBezTo>
                  <a:cubicBezTo>
                    <a:pt x="19882" y="18972"/>
                    <a:pt x="19808" y="19292"/>
                    <a:pt x="19656" y="19413"/>
                  </a:cubicBezTo>
                  <a:cubicBezTo>
                    <a:pt x="19521" y="19519"/>
                    <a:pt x="19331" y="19709"/>
                    <a:pt x="19190" y="19559"/>
                  </a:cubicBezTo>
                  <a:cubicBezTo>
                    <a:pt x="19026" y="19385"/>
                    <a:pt x="18918" y="19701"/>
                    <a:pt x="18797" y="19858"/>
                  </a:cubicBezTo>
                  <a:cubicBezTo>
                    <a:pt x="18753" y="19916"/>
                    <a:pt x="18578" y="19997"/>
                    <a:pt x="18591" y="19908"/>
                  </a:cubicBezTo>
                  <a:cubicBezTo>
                    <a:pt x="18595" y="19881"/>
                    <a:pt x="18419" y="19726"/>
                    <a:pt x="18419" y="19968"/>
                  </a:cubicBezTo>
                  <a:cubicBezTo>
                    <a:pt x="18419" y="20043"/>
                    <a:pt x="18413" y="20180"/>
                    <a:pt x="18436" y="20246"/>
                  </a:cubicBezTo>
                  <a:cubicBezTo>
                    <a:pt x="18446" y="20272"/>
                    <a:pt x="18510" y="20342"/>
                    <a:pt x="18500" y="20379"/>
                  </a:cubicBezTo>
                  <a:cubicBezTo>
                    <a:pt x="18482" y="20439"/>
                    <a:pt x="18396" y="20396"/>
                    <a:pt x="18373" y="20444"/>
                  </a:cubicBezTo>
                  <a:cubicBezTo>
                    <a:pt x="18345" y="20502"/>
                    <a:pt x="18415" y="20591"/>
                    <a:pt x="18370" y="20645"/>
                  </a:cubicBezTo>
                  <a:cubicBezTo>
                    <a:pt x="18348" y="20672"/>
                    <a:pt x="18312" y="20844"/>
                    <a:pt x="18322" y="20839"/>
                  </a:cubicBezTo>
                  <a:cubicBezTo>
                    <a:pt x="18274" y="20862"/>
                    <a:pt x="18255" y="20754"/>
                    <a:pt x="18209" y="20772"/>
                  </a:cubicBezTo>
                  <a:cubicBezTo>
                    <a:pt x="18268" y="20662"/>
                    <a:pt x="18165" y="20552"/>
                    <a:pt x="18127" y="20469"/>
                  </a:cubicBezTo>
                  <a:cubicBezTo>
                    <a:pt x="18112" y="20437"/>
                    <a:pt x="18173" y="20281"/>
                    <a:pt x="18188" y="20250"/>
                  </a:cubicBezTo>
                  <a:cubicBezTo>
                    <a:pt x="18259" y="20104"/>
                    <a:pt x="18296" y="19972"/>
                    <a:pt x="18180" y="19859"/>
                  </a:cubicBezTo>
                  <a:cubicBezTo>
                    <a:pt x="18177" y="19856"/>
                    <a:pt x="18056" y="20022"/>
                    <a:pt x="18016" y="20088"/>
                  </a:cubicBezTo>
                  <a:cubicBezTo>
                    <a:pt x="18023" y="20085"/>
                    <a:pt x="18027" y="20108"/>
                    <a:pt x="18016" y="20170"/>
                  </a:cubicBezTo>
                  <a:cubicBezTo>
                    <a:pt x="18017" y="20160"/>
                    <a:pt x="18048" y="20123"/>
                    <a:pt x="18052" y="20110"/>
                  </a:cubicBezTo>
                  <a:cubicBezTo>
                    <a:pt x="17972" y="20377"/>
                    <a:pt x="17825" y="20292"/>
                    <a:pt x="17688" y="20152"/>
                  </a:cubicBezTo>
                  <a:cubicBezTo>
                    <a:pt x="17525" y="19985"/>
                    <a:pt x="17435" y="20778"/>
                    <a:pt x="17389" y="20792"/>
                  </a:cubicBezTo>
                  <a:cubicBezTo>
                    <a:pt x="17361" y="20801"/>
                    <a:pt x="17353" y="20611"/>
                    <a:pt x="17332" y="20780"/>
                  </a:cubicBezTo>
                  <a:cubicBezTo>
                    <a:pt x="17333" y="20772"/>
                    <a:pt x="17267" y="20909"/>
                    <a:pt x="17280" y="20905"/>
                  </a:cubicBezTo>
                  <a:cubicBezTo>
                    <a:pt x="17258" y="20912"/>
                    <a:pt x="17254" y="20800"/>
                    <a:pt x="17234" y="20913"/>
                  </a:cubicBezTo>
                  <a:cubicBezTo>
                    <a:pt x="17225" y="20963"/>
                    <a:pt x="17155" y="20943"/>
                    <a:pt x="17136" y="20946"/>
                  </a:cubicBezTo>
                  <a:cubicBezTo>
                    <a:pt x="17112" y="20950"/>
                    <a:pt x="17051" y="20945"/>
                    <a:pt x="17047" y="21008"/>
                  </a:cubicBezTo>
                  <a:cubicBezTo>
                    <a:pt x="17042" y="21085"/>
                    <a:pt x="17000" y="21012"/>
                    <a:pt x="16975" y="21030"/>
                  </a:cubicBezTo>
                  <a:cubicBezTo>
                    <a:pt x="16887" y="21098"/>
                    <a:pt x="16840" y="21178"/>
                    <a:pt x="16738" y="21038"/>
                  </a:cubicBezTo>
                  <a:cubicBezTo>
                    <a:pt x="16679" y="20958"/>
                    <a:pt x="16649" y="20752"/>
                    <a:pt x="16568" y="20730"/>
                  </a:cubicBezTo>
                  <a:cubicBezTo>
                    <a:pt x="16429" y="20692"/>
                    <a:pt x="16296" y="20527"/>
                    <a:pt x="16154" y="20573"/>
                  </a:cubicBezTo>
                  <a:cubicBezTo>
                    <a:pt x="16108" y="20587"/>
                    <a:pt x="15974" y="20532"/>
                    <a:pt x="15963" y="20643"/>
                  </a:cubicBezTo>
                  <a:cubicBezTo>
                    <a:pt x="15957" y="20701"/>
                    <a:pt x="15972" y="21243"/>
                    <a:pt x="15927" y="21221"/>
                  </a:cubicBezTo>
                  <a:cubicBezTo>
                    <a:pt x="15901" y="21208"/>
                    <a:pt x="15913" y="21126"/>
                    <a:pt x="15839" y="21153"/>
                  </a:cubicBezTo>
                  <a:cubicBezTo>
                    <a:pt x="15816" y="21162"/>
                    <a:pt x="15820" y="21248"/>
                    <a:pt x="15793" y="21210"/>
                  </a:cubicBezTo>
                  <a:cubicBezTo>
                    <a:pt x="15782" y="21194"/>
                    <a:pt x="15744" y="21242"/>
                    <a:pt x="15727" y="21252"/>
                  </a:cubicBezTo>
                  <a:cubicBezTo>
                    <a:pt x="15713" y="21288"/>
                    <a:pt x="15697" y="21317"/>
                    <a:pt x="15677" y="21341"/>
                  </a:cubicBezTo>
                  <a:cubicBezTo>
                    <a:pt x="15667" y="21330"/>
                    <a:pt x="15658" y="21322"/>
                    <a:pt x="15647" y="21317"/>
                  </a:cubicBezTo>
                  <a:cubicBezTo>
                    <a:pt x="15644" y="21333"/>
                    <a:pt x="15640" y="21350"/>
                    <a:pt x="15636" y="21366"/>
                  </a:cubicBezTo>
                  <a:cubicBezTo>
                    <a:pt x="15603" y="21373"/>
                    <a:pt x="15622" y="21316"/>
                    <a:pt x="15604" y="21296"/>
                  </a:cubicBezTo>
                  <a:cubicBezTo>
                    <a:pt x="15588" y="21294"/>
                    <a:pt x="15572" y="21298"/>
                    <a:pt x="15556" y="21306"/>
                  </a:cubicBezTo>
                  <a:cubicBezTo>
                    <a:pt x="15540" y="21302"/>
                    <a:pt x="15485" y="21285"/>
                    <a:pt x="15478" y="21279"/>
                  </a:cubicBezTo>
                  <a:cubicBezTo>
                    <a:pt x="15454" y="21258"/>
                    <a:pt x="15378" y="21208"/>
                    <a:pt x="15382" y="21152"/>
                  </a:cubicBezTo>
                  <a:cubicBezTo>
                    <a:pt x="15387" y="21096"/>
                    <a:pt x="15395" y="20969"/>
                    <a:pt x="15351" y="21014"/>
                  </a:cubicBezTo>
                  <a:cubicBezTo>
                    <a:pt x="15365" y="20960"/>
                    <a:pt x="15319" y="20781"/>
                    <a:pt x="15283" y="20877"/>
                  </a:cubicBezTo>
                  <a:cubicBezTo>
                    <a:pt x="15275" y="20900"/>
                    <a:pt x="15278" y="21011"/>
                    <a:pt x="15261" y="21014"/>
                  </a:cubicBezTo>
                  <a:cubicBezTo>
                    <a:pt x="15276" y="21011"/>
                    <a:pt x="15158" y="20890"/>
                    <a:pt x="15158" y="20891"/>
                  </a:cubicBezTo>
                  <a:cubicBezTo>
                    <a:pt x="15174" y="20747"/>
                    <a:pt x="15131" y="20855"/>
                    <a:pt x="15121" y="20857"/>
                  </a:cubicBezTo>
                  <a:cubicBezTo>
                    <a:pt x="15089" y="20864"/>
                    <a:pt x="15108" y="20708"/>
                    <a:pt x="15067" y="20768"/>
                  </a:cubicBezTo>
                  <a:cubicBezTo>
                    <a:pt x="15052" y="20791"/>
                    <a:pt x="15079" y="20859"/>
                    <a:pt x="15073" y="20867"/>
                  </a:cubicBezTo>
                  <a:cubicBezTo>
                    <a:pt x="15073" y="20866"/>
                    <a:pt x="15065" y="20859"/>
                    <a:pt x="15053" y="20852"/>
                  </a:cubicBezTo>
                  <a:cubicBezTo>
                    <a:pt x="15055" y="20849"/>
                    <a:pt x="15057" y="20846"/>
                    <a:pt x="15056" y="20843"/>
                  </a:cubicBezTo>
                  <a:cubicBezTo>
                    <a:pt x="15053" y="20842"/>
                    <a:pt x="15050" y="20845"/>
                    <a:pt x="15047" y="20848"/>
                  </a:cubicBezTo>
                  <a:cubicBezTo>
                    <a:pt x="15023" y="20834"/>
                    <a:pt x="14992" y="20821"/>
                    <a:pt x="15000" y="20857"/>
                  </a:cubicBezTo>
                  <a:cubicBezTo>
                    <a:pt x="15026" y="20973"/>
                    <a:pt x="15028" y="20868"/>
                    <a:pt x="14982" y="21000"/>
                  </a:cubicBezTo>
                  <a:cubicBezTo>
                    <a:pt x="14960" y="21063"/>
                    <a:pt x="14903" y="21079"/>
                    <a:pt x="14902" y="21079"/>
                  </a:cubicBezTo>
                  <a:cubicBezTo>
                    <a:pt x="14912" y="21059"/>
                    <a:pt x="14953" y="21073"/>
                    <a:pt x="14950" y="21029"/>
                  </a:cubicBezTo>
                  <a:cubicBezTo>
                    <a:pt x="14949" y="20995"/>
                    <a:pt x="14898" y="21008"/>
                    <a:pt x="14900" y="20992"/>
                  </a:cubicBezTo>
                  <a:cubicBezTo>
                    <a:pt x="14919" y="20974"/>
                    <a:pt x="14939" y="20960"/>
                    <a:pt x="14960" y="20950"/>
                  </a:cubicBezTo>
                  <a:cubicBezTo>
                    <a:pt x="14958" y="20956"/>
                    <a:pt x="14939" y="20879"/>
                    <a:pt x="14926" y="20885"/>
                  </a:cubicBezTo>
                  <a:cubicBezTo>
                    <a:pt x="14925" y="20855"/>
                    <a:pt x="14894" y="20777"/>
                    <a:pt x="14971" y="20763"/>
                  </a:cubicBezTo>
                  <a:cubicBezTo>
                    <a:pt x="14936" y="20769"/>
                    <a:pt x="15035" y="20639"/>
                    <a:pt x="15034" y="20643"/>
                  </a:cubicBezTo>
                  <a:cubicBezTo>
                    <a:pt x="15032" y="20648"/>
                    <a:pt x="14741" y="20739"/>
                    <a:pt x="14736" y="20735"/>
                  </a:cubicBezTo>
                  <a:cubicBezTo>
                    <a:pt x="14698" y="20705"/>
                    <a:pt x="14765" y="20807"/>
                    <a:pt x="14687" y="20756"/>
                  </a:cubicBezTo>
                  <a:cubicBezTo>
                    <a:pt x="14614" y="20708"/>
                    <a:pt x="14651" y="20740"/>
                    <a:pt x="14613" y="20799"/>
                  </a:cubicBezTo>
                  <a:cubicBezTo>
                    <a:pt x="14600" y="20820"/>
                    <a:pt x="14550" y="20556"/>
                    <a:pt x="14662" y="20634"/>
                  </a:cubicBezTo>
                  <a:cubicBezTo>
                    <a:pt x="14720" y="20675"/>
                    <a:pt x="14696" y="20637"/>
                    <a:pt x="14700" y="20566"/>
                  </a:cubicBezTo>
                  <a:cubicBezTo>
                    <a:pt x="14703" y="20524"/>
                    <a:pt x="14783" y="20581"/>
                    <a:pt x="14730" y="20484"/>
                  </a:cubicBezTo>
                  <a:cubicBezTo>
                    <a:pt x="14699" y="20425"/>
                    <a:pt x="14705" y="20534"/>
                    <a:pt x="14692" y="20536"/>
                  </a:cubicBezTo>
                  <a:cubicBezTo>
                    <a:pt x="14667" y="20541"/>
                    <a:pt x="14681" y="20426"/>
                    <a:pt x="14673" y="20437"/>
                  </a:cubicBezTo>
                  <a:cubicBezTo>
                    <a:pt x="14665" y="20459"/>
                    <a:pt x="14655" y="20469"/>
                    <a:pt x="14641" y="20468"/>
                  </a:cubicBezTo>
                  <a:cubicBezTo>
                    <a:pt x="14612" y="20428"/>
                    <a:pt x="14651" y="20405"/>
                    <a:pt x="14642" y="20360"/>
                  </a:cubicBezTo>
                  <a:cubicBezTo>
                    <a:pt x="14644" y="20368"/>
                    <a:pt x="14546" y="20561"/>
                    <a:pt x="14552" y="20330"/>
                  </a:cubicBezTo>
                  <a:cubicBezTo>
                    <a:pt x="14557" y="20129"/>
                    <a:pt x="14519" y="20264"/>
                    <a:pt x="14463" y="20175"/>
                  </a:cubicBezTo>
                  <a:cubicBezTo>
                    <a:pt x="14531" y="20281"/>
                    <a:pt x="14617" y="19838"/>
                    <a:pt x="14534" y="19854"/>
                  </a:cubicBezTo>
                  <a:cubicBezTo>
                    <a:pt x="14486" y="19864"/>
                    <a:pt x="14483" y="19809"/>
                    <a:pt x="14439" y="19794"/>
                  </a:cubicBezTo>
                  <a:cubicBezTo>
                    <a:pt x="14424" y="19808"/>
                    <a:pt x="14409" y="19821"/>
                    <a:pt x="14394" y="19832"/>
                  </a:cubicBezTo>
                  <a:cubicBezTo>
                    <a:pt x="14366" y="19816"/>
                    <a:pt x="14364" y="19706"/>
                    <a:pt x="14346" y="19670"/>
                  </a:cubicBezTo>
                  <a:cubicBezTo>
                    <a:pt x="14322" y="19624"/>
                    <a:pt x="14286" y="19785"/>
                    <a:pt x="14283" y="19788"/>
                  </a:cubicBezTo>
                  <a:cubicBezTo>
                    <a:pt x="14262" y="19808"/>
                    <a:pt x="14200" y="19652"/>
                    <a:pt x="14190" y="19648"/>
                  </a:cubicBezTo>
                  <a:cubicBezTo>
                    <a:pt x="14189" y="19648"/>
                    <a:pt x="14144" y="19772"/>
                    <a:pt x="14129" y="19657"/>
                  </a:cubicBezTo>
                  <a:cubicBezTo>
                    <a:pt x="14132" y="19675"/>
                    <a:pt x="14143" y="19601"/>
                    <a:pt x="14146" y="19572"/>
                  </a:cubicBezTo>
                  <a:cubicBezTo>
                    <a:pt x="14157" y="19602"/>
                    <a:pt x="14249" y="19629"/>
                    <a:pt x="14238" y="19503"/>
                  </a:cubicBezTo>
                  <a:cubicBezTo>
                    <a:pt x="14233" y="19456"/>
                    <a:pt x="14186" y="19507"/>
                    <a:pt x="14176" y="19444"/>
                  </a:cubicBezTo>
                  <a:cubicBezTo>
                    <a:pt x="14170" y="19404"/>
                    <a:pt x="14175" y="19279"/>
                    <a:pt x="14225" y="19317"/>
                  </a:cubicBezTo>
                  <a:cubicBezTo>
                    <a:pt x="14307" y="19378"/>
                    <a:pt x="14243" y="19560"/>
                    <a:pt x="14309" y="19599"/>
                  </a:cubicBezTo>
                  <a:cubicBezTo>
                    <a:pt x="14268" y="19576"/>
                    <a:pt x="14309" y="19494"/>
                    <a:pt x="14310" y="19476"/>
                  </a:cubicBezTo>
                  <a:cubicBezTo>
                    <a:pt x="14308" y="19508"/>
                    <a:pt x="14529" y="19549"/>
                    <a:pt x="14497" y="19430"/>
                  </a:cubicBezTo>
                  <a:cubicBezTo>
                    <a:pt x="14483" y="19380"/>
                    <a:pt x="14414" y="19464"/>
                    <a:pt x="14397" y="19432"/>
                  </a:cubicBezTo>
                  <a:cubicBezTo>
                    <a:pt x="14388" y="19415"/>
                    <a:pt x="14307" y="19253"/>
                    <a:pt x="14309" y="19276"/>
                  </a:cubicBezTo>
                  <a:cubicBezTo>
                    <a:pt x="14308" y="19263"/>
                    <a:pt x="14313" y="19184"/>
                    <a:pt x="14330" y="19182"/>
                  </a:cubicBezTo>
                  <a:cubicBezTo>
                    <a:pt x="14403" y="19170"/>
                    <a:pt x="14366" y="19200"/>
                    <a:pt x="14375" y="19112"/>
                  </a:cubicBezTo>
                  <a:cubicBezTo>
                    <a:pt x="14373" y="19128"/>
                    <a:pt x="14438" y="19063"/>
                    <a:pt x="14439" y="19055"/>
                  </a:cubicBezTo>
                  <a:cubicBezTo>
                    <a:pt x="14456" y="18953"/>
                    <a:pt x="14335" y="19040"/>
                    <a:pt x="14330" y="18996"/>
                  </a:cubicBezTo>
                  <a:cubicBezTo>
                    <a:pt x="14318" y="18892"/>
                    <a:pt x="14382" y="18923"/>
                    <a:pt x="14331" y="18816"/>
                  </a:cubicBezTo>
                  <a:cubicBezTo>
                    <a:pt x="14305" y="18761"/>
                    <a:pt x="14244" y="18723"/>
                    <a:pt x="14254" y="18675"/>
                  </a:cubicBezTo>
                  <a:cubicBezTo>
                    <a:pt x="14259" y="18684"/>
                    <a:pt x="14368" y="18514"/>
                    <a:pt x="14364" y="18436"/>
                  </a:cubicBezTo>
                  <a:cubicBezTo>
                    <a:pt x="14361" y="18372"/>
                    <a:pt x="14136" y="18526"/>
                    <a:pt x="14112" y="18543"/>
                  </a:cubicBezTo>
                  <a:cubicBezTo>
                    <a:pt x="13964" y="18647"/>
                    <a:pt x="14062" y="18428"/>
                    <a:pt x="14041" y="18291"/>
                  </a:cubicBezTo>
                  <a:cubicBezTo>
                    <a:pt x="14030" y="18214"/>
                    <a:pt x="14011" y="18076"/>
                    <a:pt x="14074" y="18074"/>
                  </a:cubicBezTo>
                  <a:cubicBezTo>
                    <a:pt x="14132" y="18073"/>
                    <a:pt x="14107" y="17923"/>
                    <a:pt x="14129" y="17871"/>
                  </a:cubicBezTo>
                  <a:cubicBezTo>
                    <a:pt x="14145" y="17833"/>
                    <a:pt x="14236" y="17666"/>
                    <a:pt x="14265" y="17661"/>
                  </a:cubicBezTo>
                  <a:cubicBezTo>
                    <a:pt x="14337" y="17650"/>
                    <a:pt x="14435" y="17530"/>
                    <a:pt x="14474" y="17634"/>
                  </a:cubicBezTo>
                  <a:cubicBezTo>
                    <a:pt x="14509" y="17730"/>
                    <a:pt x="14634" y="17722"/>
                    <a:pt x="14680" y="17652"/>
                  </a:cubicBezTo>
                  <a:cubicBezTo>
                    <a:pt x="14713" y="17602"/>
                    <a:pt x="14618" y="17554"/>
                    <a:pt x="14605" y="17530"/>
                  </a:cubicBezTo>
                  <a:cubicBezTo>
                    <a:pt x="14584" y="17490"/>
                    <a:pt x="14728" y="17471"/>
                    <a:pt x="14746" y="17505"/>
                  </a:cubicBezTo>
                  <a:cubicBezTo>
                    <a:pt x="14765" y="17541"/>
                    <a:pt x="14698" y="17570"/>
                    <a:pt x="14698" y="17591"/>
                  </a:cubicBezTo>
                  <a:cubicBezTo>
                    <a:pt x="14698" y="17611"/>
                    <a:pt x="15188" y="17526"/>
                    <a:pt x="15166" y="17473"/>
                  </a:cubicBezTo>
                  <a:cubicBezTo>
                    <a:pt x="15152" y="17439"/>
                    <a:pt x="15007" y="17453"/>
                    <a:pt x="15040" y="17385"/>
                  </a:cubicBezTo>
                  <a:cubicBezTo>
                    <a:pt x="15077" y="17309"/>
                    <a:pt x="15132" y="17273"/>
                    <a:pt x="15185" y="17249"/>
                  </a:cubicBezTo>
                  <a:cubicBezTo>
                    <a:pt x="15193" y="17244"/>
                    <a:pt x="15310" y="17159"/>
                    <a:pt x="15307" y="17157"/>
                  </a:cubicBezTo>
                  <a:cubicBezTo>
                    <a:pt x="15315" y="17162"/>
                    <a:pt x="15460" y="17177"/>
                    <a:pt x="15468" y="17136"/>
                  </a:cubicBezTo>
                  <a:cubicBezTo>
                    <a:pt x="15483" y="17062"/>
                    <a:pt x="15345" y="17112"/>
                    <a:pt x="15332" y="17116"/>
                  </a:cubicBezTo>
                  <a:cubicBezTo>
                    <a:pt x="15269" y="17136"/>
                    <a:pt x="15266" y="17115"/>
                    <a:pt x="15231" y="17097"/>
                  </a:cubicBezTo>
                  <a:cubicBezTo>
                    <a:pt x="15221" y="17106"/>
                    <a:pt x="15211" y="17114"/>
                    <a:pt x="15200" y="17119"/>
                  </a:cubicBezTo>
                  <a:cubicBezTo>
                    <a:pt x="15181" y="17095"/>
                    <a:pt x="15243" y="17079"/>
                    <a:pt x="15189" y="17044"/>
                  </a:cubicBezTo>
                  <a:cubicBezTo>
                    <a:pt x="15173" y="17034"/>
                    <a:pt x="15079" y="16999"/>
                    <a:pt x="15096" y="16934"/>
                  </a:cubicBezTo>
                  <a:cubicBezTo>
                    <a:pt x="15065" y="17029"/>
                    <a:pt x="14957" y="17050"/>
                    <a:pt x="14921" y="16969"/>
                  </a:cubicBezTo>
                  <a:cubicBezTo>
                    <a:pt x="14922" y="16981"/>
                    <a:pt x="14922" y="16994"/>
                    <a:pt x="14920" y="17007"/>
                  </a:cubicBezTo>
                  <a:cubicBezTo>
                    <a:pt x="14877" y="17043"/>
                    <a:pt x="14813" y="16900"/>
                    <a:pt x="14756" y="16954"/>
                  </a:cubicBezTo>
                  <a:cubicBezTo>
                    <a:pt x="14719" y="16989"/>
                    <a:pt x="14712" y="17083"/>
                    <a:pt x="14661" y="17073"/>
                  </a:cubicBezTo>
                  <a:cubicBezTo>
                    <a:pt x="14502" y="17040"/>
                    <a:pt x="14525" y="17124"/>
                    <a:pt x="14451" y="17357"/>
                  </a:cubicBezTo>
                  <a:cubicBezTo>
                    <a:pt x="14413" y="17479"/>
                    <a:pt x="14322" y="17481"/>
                    <a:pt x="14265" y="17557"/>
                  </a:cubicBezTo>
                  <a:cubicBezTo>
                    <a:pt x="14218" y="17620"/>
                    <a:pt x="14193" y="17718"/>
                    <a:pt x="14151" y="17791"/>
                  </a:cubicBezTo>
                  <a:cubicBezTo>
                    <a:pt x="14130" y="17829"/>
                    <a:pt x="14078" y="18044"/>
                    <a:pt x="14043" y="18022"/>
                  </a:cubicBezTo>
                  <a:cubicBezTo>
                    <a:pt x="14031" y="18015"/>
                    <a:pt x="14068" y="17730"/>
                    <a:pt x="14087" y="17706"/>
                  </a:cubicBezTo>
                  <a:cubicBezTo>
                    <a:pt x="14121" y="17665"/>
                    <a:pt x="14278" y="17554"/>
                    <a:pt x="14266" y="17457"/>
                  </a:cubicBezTo>
                  <a:cubicBezTo>
                    <a:pt x="14262" y="17415"/>
                    <a:pt x="14126" y="17488"/>
                    <a:pt x="14105" y="17494"/>
                  </a:cubicBezTo>
                  <a:cubicBezTo>
                    <a:pt x="13993" y="17523"/>
                    <a:pt x="13969" y="17491"/>
                    <a:pt x="13962" y="17310"/>
                  </a:cubicBezTo>
                  <a:cubicBezTo>
                    <a:pt x="13962" y="17310"/>
                    <a:pt x="13750" y="17301"/>
                    <a:pt x="13726" y="17282"/>
                  </a:cubicBezTo>
                  <a:cubicBezTo>
                    <a:pt x="13655" y="17226"/>
                    <a:pt x="13639" y="17280"/>
                    <a:pt x="13601" y="17188"/>
                  </a:cubicBezTo>
                  <a:cubicBezTo>
                    <a:pt x="13580" y="17137"/>
                    <a:pt x="13473" y="17490"/>
                    <a:pt x="13406" y="17308"/>
                  </a:cubicBezTo>
                  <a:cubicBezTo>
                    <a:pt x="13351" y="17157"/>
                    <a:pt x="13293" y="17402"/>
                    <a:pt x="13297" y="17391"/>
                  </a:cubicBezTo>
                  <a:cubicBezTo>
                    <a:pt x="13251" y="17534"/>
                    <a:pt x="13169" y="17467"/>
                    <a:pt x="13102" y="17463"/>
                  </a:cubicBezTo>
                  <a:cubicBezTo>
                    <a:pt x="12969" y="17454"/>
                    <a:pt x="13131" y="17658"/>
                    <a:pt x="13142" y="17683"/>
                  </a:cubicBezTo>
                  <a:cubicBezTo>
                    <a:pt x="13138" y="17674"/>
                    <a:pt x="13074" y="17745"/>
                    <a:pt x="13126" y="17807"/>
                  </a:cubicBezTo>
                  <a:cubicBezTo>
                    <a:pt x="13173" y="17863"/>
                    <a:pt x="13174" y="17756"/>
                    <a:pt x="13177" y="17756"/>
                  </a:cubicBezTo>
                  <a:cubicBezTo>
                    <a:pt x="13200" y="17754"/>
                    <a:pt x="13307" y="17934"/>
                    <a:pt x="13326" y="17977"/>
                  </a:cubicBezTo>
                  <a:cubicBezTo>
                    <a:pt x="13388" y="18123"/>
                    <a:pt x="13252" y="17944"/>
                    <a:pt x="13237" y="17920"/>
                  </a:cubicBezTo>
                  <a:cubicBezTo>
                    <a:pt x="13210" y="17874"/>
                    <a:pt x="13103" y="17815"/>
                    <a:pt x="13075" y="17858"/>
                  </a:cubicBezTo>
                  <a:cubicBezTo>
                    <a:pt x="13016" y="17950"/>
                    <a:pt x="13134" y="18013"/>
                    <a:pt x="13164" y="18044"/>
                  </a:cubicBezTo>
                  <a:cubicBezTo>
                    <a:pt x="13181" y="18060"/>
                    <a:pt x="13207" y="18234"/>
                    <a:pt x="13170" y="18225"/>
                  </a:cubicBezTo>
                  <a:cubicBezTo>
                    <a:pt x="13127" y="18213"/>
                    <a:pt x="13082" y="18054"/>
                    <a:pt x="13053" y="18002"/>
                  </a:cubicBezTo>
                  <a:cubicBezTo>
                    <a:pt x="13028" y="17957"/>
                    <a:pt x="12890" y="17857"/>
                    <a:pt x="12926" y="18019"/>
                  </a:cubicBezTo>
                  <a:cubicBezTo>
                    <a:pt x="12960" y="18173"/>
                    <a:pt x="13043" y="18137"/>
                    <a:pt x="13091" y="18240"/>
                  </a:cubicBezTo>
                  <a:cubicBezTo>
                    <a:pt x="13078" y="18213"/>
                    <a:pt x="12967" y="18253"/>
                    <a:pt x="12935" y="18188"/>
                  </a:cubicBezTo>
                  <a:cubicBezTo>
                    <a:pt x="12878" y="18074"/>
                    <a:pt x="12952" y="17984"/>
                    <a:pt x="12852" y="17916"/>
                  </a:cubicBezTo>
                  <a:cubicBezTo>
                    <a:pt x="12790" y="17875"/>
                    <a:pt x="12764" y="17877"/>
                    <a:pt x="12731" y="17792"/>
                  </a:cubicBezTo>
                  <a:cubicBezTo>
                    <a:pt x="12693" y="17692"/>
                    <a:pt x="12775" y="17755"/>
                    <a:pt x="12784" y="17710"/>
                  </a:cubicBezTo>
                  <a:cubicBezTo>
                    <a:pt x="12783" y="17718"/>
                    <a:pt x="12755" y="17619"/>
                    <a:pt x="12757" y="17621"/>
                  </a:cubicBezTo>
                  <a:cubicBezTo>
                    <a:pt x="12735" y="17592"/>
                    <a:pt x="12615" y="17807"/>
                    <a:pt x="12623" y="17836"/>
                  </a:cubicBezTo>
                  <a:cubicBezTo>
                    <a:pt x="12640" y="17910"/>
                    <a:pt x="12670" y="17869"/>
                    <a:pt x="12629" y="18010"/>
                  </a:cubicBezTo>
                  <a:cubicBezTo>
                    <a:pt x="12597" y="18117"/>
                    <a:pt x="12638" y="18204"/>
                    <a:pt x="12679" y="18278"/>
                  </a:cubicBezTo>
                  <a:cubicBezTo>
                    <a:pt x="12737" y="18384"/>
                    <a:pt x="12734" y="18475"/>
                    <a:pt x="12776" y="18587"/>
                  </a:cubicBezTo>
                  <a:cubicBezTo>
                    <a:pt x="12802" y="18660"/>
                    <a:pt x="12852" y="18706"/>
                    <a:pt x="12887" y="18764"/>
                  </a:cubicBezTo>
                  <a:cubicBezTo>
                    <a:pt x="13020" y="18985"/>
                    <a:pt x="12886" y="18992"/>
                    <a:pt x="12896" y="18978"/>
                  </a:cubicBezTo>
                  <a:cubicBezTo>
                    <a:pt x="12926" y="18941"/>
                    <a:pt x="12810" y="18773"/>
                    <a:pt x="12786" y="18786"/>
                  </a:cubicBezTo>
                  <a:cubicBezTo>
                    <a:pt x="12760" y="18800"/>
                    <a:pt x="12744" y="18911"/>
                    <a:pt x="12750" y="18958"/>
                  </a:cubicBezTo>
                  <a:cubicBezTo>
                    <a:pt x="12758" y="19031"/>
                    <a:pt x="12898" y="19091"/>
                    <a:pt x="12805" y="19154"/>
                  </a:cubicBezTo>
                  <a:cubicBezTo>
                    <a:pt x="12753" y="19188"/>
                    <a:pt x="12759" y="19249"/>
                    <a:pt x="12715" y="19251"/>
                  </a:cubicBezTo>
                  <a:cubicBezTo>
                    <a:pt x="12678" y="19254"/>
                    <a:pt x="12675" y="19183"/>
                    <a:pt x="12637" y="19228"/>
                  </a:cubicBezTo>
                  <a:cubicBezTo>
                    <a:pt x="12590" y="19285"/>
                    <a:pt x="12651" y="19300"/>
                    <a:pt x="12673" y="19282"/>
                  </a:cubicBezTo>
                  <a:cubicBezTo>
                    <a:pt x="12682" y="19274"/>
                    <a:pt x="12814" y="19337"/>
                    <a:pt x="12831" y="19351"/>
                  </a:cubicBezTo>
                  <a:cubicBezTo>
                    <a:pt x="12857" y="19373"/>
                    <a:pt x="12833" y="19471"/>
                    <a:pt x="12866" y="19456"/>
                  </a:cubicBezTo>
                  <a:cubicBezTo>
                    <a:pt x="12873" y="19453"/>
                    <a:pt x="12894" y="19404"/>
                    <a:pt x="12899" y="19407"/>
                  </a:cubicBezTo>
                  <a:cubicBezTo>
                    <a:pt x="12961" y="19459"/>
                    <a:pt x="12936" y="19430"/>
                    <a:pt x="12938" y="19530"/>
                  </a:cubicBezTo>
                  <a:cubicBezTo>
                    <a:pt x="12939" y="19622"/>
                    <a:pt x="13080" y="19538"/>
                    <a:pt x="13068" y="19589"/>
                  </a:cubicBezTo>
                  <a:cubicBezTo>
                    <a:pt x="13061" y="19592"/>
                    <a:pt x="13055" y="19599"/>
                    <a:pt x="13051" y="19610"/>
                  </a:cubicBezTo>
                  <a:cubicBezTo>
                    <a:pt x="13053" y="19719"/>
                    <a:pt x="13311" y="19752"/>
                    <a:pt x="13265" y="19876"/>
                  </a:cubicBezTo>
                  <a:cubicBezTo>
                    <a:pt x="13241" y="19940"/>
                    <a:pt x="13220" y="19884"/>
                    <a:pt x="13236" y="19982"/>
                  </a:cubicBezTo>
                  <a:cubicBezTo>
                    <a:pt x="13251" y="20070"/>
                    <a:pt x="13267" y="20160"/>
                    <a:pt x="13271" y="20251"/>
                  </a:cubicBezTo>
                  <a:cubicBezTo>
                    <a:pt x="13279" y="20431"/>
                    <a:pt x="13186" y="20197"/>
                    <a:pt x="13152" y="20200"/>
                  </a:cubicBezTo>
                  <a:cubicBezTo>
                    <a:pt x="13122" y="20202"/>
                    <a:pt x="13074" y="20022"/>
                    <a:pt x="13073" y="20007"/>
                  </a:cubicBezTo>
                  <a:cubicBezTo>
                    <a:pt x="13073" y="20006"/>
                    <a:pt x="12826" y="20128"/>
                    <a:pt x="12828" y="20141"/>
                  </a:cubicBezTo>
                  <a:cubicBezTo>
                    <a:pt x="12829" y="20155"/>
                    <a:pt x="12928" y="20233"/>
                    <a:pt x="12911" y="20249"/>
                  </a:cubicBezTo>
                  <a:cubicBezTo>
                    <a:pt x="12902" y="20249"/>
                    <a:pt x="12892" y="20250"/>
                    <a:pt x="12882" y="20252"/>
                  </a:cubicBezTo>
                  <a:cubicBezTo>
                    <a:pt x="12870" y="20352"/>
                    <a:pt x="13056" y="20536"/>
                    <a:pt x="13052" y="20546"/>
                  </a:cubicBezTo>
                  <a:cubicBezTo>
                    <a:pt x="13040" y="20570"/>
                    <a:pt x="12933" y="20573"/>
                    <a:pt x="12935" y="20599"/>
                  </a:cubicBezTo>
                  <a:cubicBezTo>
                    <a:pt x="12937" y="20644"/>
                    <a:pt x="12943" y="20634"/>
                    <a:pt x="12918" y="20694"/>
                  </a:cubicBezTo>
                  <a:cubicBezTo>
                    <a:pt x="12875" y="20798"/>
                    <a:pt x="12882" y="20594"/>
                    <a:pt x="12890" y="20548"/>
                  </a:cubicBezTo>
                  <a:cubicBezTo>
                    <a:pt x="12880" y="20546"/>
                    <a:pt x="12859" y="20528"/>
                    <a:pt x="12857" y="20519"/>
                  </a:cubicBezTo>
                  <a:cubicBezTo>
                    <a:pt x="12852" y="20529"/>
                    <a:pt x="12847" y="20539"/>
                    <a:pt x="12840" y="20546"/>
                  </a:cubicBezTo>
                  <a:cubicBezTo>
                    <a:pt x="12818" y="20524"/>
                    <a:pt x="12856" y="20449"/>
                    <a:pt x="12804" y="20474"/>
                  </a:cubicBezTo>
                  <a:cubicBezTo>
                    <a:pt x="12756" y="20498"/>
                    <a:pt x="12780" y="20461"/>
                    <a:pt x="12743" y="20423"/>
                  </a:cubicBezTo>
                  <a:cubicBezTo>
                    <a:pt x="12696" y="20372"/>
                    <a:pt x="12792" y="20720"/>
                    <a:pt x="12797" y="20735"/>
                  </a:cubicBezTo>
                  <a:cubicBezTo>
                    <a:pt x="12811" y="20773"/>
                    <a:pt x="12910" y="21198"/>
                    <a:pt x="12897" y="21214"/>
                  </a:cubicBezTo>
                  <a:cubicBezTo>
                    <a:pt x="12889" y="21206"/>
                    <a:pt x="12882" y="21196"/>
                    <a:pt x="12876" y="21184"/>
                  </a:cubicBezTo>
                  <a:cubicBezTo>
                    <a:pt x="12879" y="21185"/>
                    <a:pt x="12867" y="21283"/>
                    <a:pt x="12868" y="21295"/>
                  </a:cubicBezTo>
                  <a:cubicBezTo>
                    <a:pt x="12876" y="21373"/>
                    <a:pt x="12928" y="21386"/>
                    <a:pt x="12945" y="21449"/>
                  </a:cubicBezTo>
                  <a:cubicBezTo>
                    <a:pt x="12977" y="21570"/>
                    <a:pt x="12862" y="21389"/>
                    <a:pt x="12877" y="21401"/>
                  </a:cubicBezTo>
                  <a:cubicBezTo>
                    <a:pt x="12838" y="21368"/>
                    <a:pt x="12860" y="21415"/>
                    <a:pt x="12835" y="21343"/>
                  </a:cubicBezTo>
                  <a:cubicBezTo>
                    <a:pt x="12806" y="21260"/>
                    <a:pt x="12704" y="21008"/>
                    <a:pt x="12670" y="21242"/>
                  </a:cubicBezTo>
                  <a:cubicBezTo>
                    <a:pt x="12666" y="21270"/>
                    <a:pt x="12643" y="21452"/>
                    <a:pt x="12642" y="21516"/>
                  </a:cubicBezTo>
                  <a:cubicBezTo>
                    <a:pt x="12628" y="21479"/>
                    <a:pt x="12587" y="21409"/>
                    <a:pt x="12587" y="21419"/>
                  </a:cubicBezTo>
                  <a:cubicBezTo>
                    <a:pt x="12586" y="21348"/>
                    <a:pt x="12609" y="21093"/>
                    <a:pt x="12519" y="21063"/>
                  </a:cubicBezTo>
                  <a:cubicBezTo>
                    <a:pt x="12520" y="21064"/>
                    <a:pt x="12535" y="21107"/>
                    <a:pt x="12524" y="21096"/>
                  </a:cubicBezTo>
                  <a:cubicBezTo>
                    <a:pt x="12479" y="21054"/>
                    <a:pt x="12517" y="20883"/>
                    <a:pt x="12432" y="20967"/>
                  </a:cubicBezTo>
                  <a:cubicBezTo>
                    <a:pt x="12396" y="21003"/>
                    <a:pt x="12411" y="21112"/>
                    <a:pt x="12413" y="21170"/>
                  </a:cubicBezTo>
                  <a:cubicBezTo>
                    <a:pt x="12416" y="21308"/>
                    <a:pt x="12301" y="21159"/>
                    <a:pt x="12305" y="21109"/>
                  </a:cubicBezTo>
                  <a:cubicBezTo>
                    <a:pt x="12313" y="21007"/>
                    <a:pt x="12308" y="21066"/>
                    <a:pt x="12293" y="21035"/>
                  </a:cubicBezTo>
                  <a:cubicBezTo>
                    <a:pt x="12271" y="20987"/>
                    <a:pt x="12243" y="20852"/>
                    <a:pt x="12270" y="20798"/>
                  </a:cubicBezTo>
                  <a:cubicBezTo>
                    <a:pt x="12363" y="20614"/>
                    <a:pt x="12245" y="20444"/>
                    <a:pt x="12151" y="20412"/>
                  </a:cubicBezTo>
                  <a:cubicBezTo>
                    <a:pt x="12143" y="20409"/>
                    <a:pt x="12148" y="20275"/>
                    <a:pt x="12106" y="20249"/>
                  </a:cubicBezTo>
                  <a:cubicBezTo>
                    <a:pt x="12079" y="20231"/>
                    <a:pt x="12028" y="20192"/>
                    <a:pt x="12074" y="20139"/>
                  </a:cubicBezTo>
                  <a:cubicBezTo>
                    <a:pt x="12108" y="20099"/>
                    <a:pt x="12126" y="20116"/>
                    <a:pt x="12153" y="20025"/>
                  </a:cubicBezTo>
                  <a:cubicBezTo>
                    <a:pt x="12158" y="20009"/>
                    <a:pt x="12163" y="19879"/>
                    <a:pt x="12167" y="19875"/>
                  </a:cubicBezTo>
                  <a:cubicBezTo>
                    <a:pt x="12172" y="19885"/>
                    <a:pt x="12176" y="19895"/>
                    <a:pt x="12180" y="19906"/>
                  </a:cubicBezTo>
                  <a:cubicBezTo>
                    <a:pt x="12181" y="19895"/>
                    <a:pt x="12181" y="19885"/>
                    <a:pt x="12180" y="19875"/>
                  </a:cubicBezTo>
                  <a:cubicBezTo>
                    <a:pt x="12199" y="19830"/>
                    <a:pt x="12278" y="20013"/>
                    <a:pt x="12311" y="19859"/>
                  </a:cubicBezTo>
                  <a:cubicBezTo>
                    <a:pt x="12347" y="19687"/>
                    <a:pt x="12436" y="19784"/>
                    <a:pt x="12498" y="19852"/>
                  </a:cubicBezTo>
                  <a:cubicBezTo>
                    <a:pt x="12564" y="19924"/>
                    <a:pt x="12672" y="19919"/>
                    <a:pt x="12721" y="20022"/>
                  </a:cubicBezTo>
                  <a:cubicBezTo>
                    <a:pt x="12727" y="20034"/>
                    <a:pt x="12841" y="20171"/>
                    <a:pt x="12824" y="20057"/>
                  </a:cubicBezTo>
                  <a:cubicBezTo>
                    <a:pt x="12820" y="20032"/>
                    <a:pt x="12764" y="20035"/>
                    <a:pt x="12769" y="20015"/>
                  </a:cubicBezTo>
                  <a:cubicBezTo>
                    <a:pt x="12787" y="19949"/>
                    <a:pt x="12882" y="19993"/>
                    <a:pt x="12914" y="19960"/>
                  </a:cubicBezTo>
                  <a:cubicBezTo>
                    <a:pt x="12955" y="19917"/>
                    <a:pt x="12871" y="19839"/>
                    <a:pt x="12874" y="19839"/>
                  </a:cubicBezTo>
                  <a:cubicBezTo>
                    <a:pt x="12867" y="19851"/>
                    <a:pt x="12861" y="19865"/>
                    <a:pt x="12857" y="19881"/>
                  </a:cubicBezTo>
                  <a:cubicBezTo>
                    <a:pt x="12856" y="19863"/>
                    <a:pt x="12778" y="19842"/>
                    <a:pt x="12793" y="19875"/>
                  </a:cubicBezTo>
                  <a:cubicBezTo>
                    <a:pt x="12784" y="19855"/>
                    <a:pt x="12739" y="19833"/>
                    <a:pt x="12739" y="19833"/>
                  </a:cubicBezTo>
                  <a:cubicBezTo>
                    <a:pt x="12738" y="19831"/>
                    <a:pt x="12695" y="19683"/>
                    <a:pt x="12683" y="19698"/>
                  </a:cubicBezTo>
                  <a:cubicBezTo>
                    <a:pt x="12669" y="19715"/>
                    <a:pt x="12665" y="19791"/>
                    <a:pt x="12644" y="19792"/>
                  </a:cubicBezTo>
                  <a:cubicBezTo>
                    <a:pt x="12626" y="19794"/>
                    <a:pt x="12625" y="19600"/>
                    <a:pt x="12581" y="19643"/>
                  </a:cubicBezTo>
                  <a:cubicBezTo>
                    <a:pt x="12560" y="19663"/>
                    <a:pt x="12596" y="19730"/>
                    <a:pt x="12576" y="19750"/>
                  </a:cubicBezTo>
                  <a:cubicBezTo>
                    <a:pt x="12544" y="19782"/>
                    <a:pt x="12550" y="19713"/>
                    <a:pt x="12522" y="19723"/>
                  </a:cubicBezTo>
                  <a:cubicBezTo>
                    <a:pt x="12486" y="19735"/>
                    <a:pt x="12405" y="19658"/>
                    <a:pt x="12387" y="19708"/>
                  </a:cubicBezTo>
                  <a:cubicBezTo>
                    <a:pt x="12386" y="19712"/>
                    <a:pt x="12234" y="19815"/>
                    <a:pt x="12207" y="19779"/>
                  </a:cubicBezTo>
                  <a:cubicBezTo>
                    <a:pt x="12253" y="19797"/>
                    <a:pt x="12138" y="19685"/>
                    <a:pt x="12158" y="19661"/>
                  </a:cubicBezTo>
                  <a:cubicBezTo>
                    <a:pt x="12127" y="19698"/>
                    <a:pt x="12095" y="19867"/>
                    <a:pt x="12051" y="19771"/>
                  </a:cubicBezTo>
                  <a:cubicBezTo>
                    <a:pt x="12054" y="19777"/>
                    <a:pt x="12066" y="19594"/>
                    <a:pt x="12057" y="19587"/>
                  </a:cubicBezTo>
                  <a:cubicBezTo>
                    <a:pt x="12048" y="19595"/>
                    <a:pt x="12041" y="19604"/>
                    <a:pt x="12033" y="19615"/>
                  </a:cubicBezTo>
                  <a:cubicBezTo>
                    <a:pt x="12041" y="19584"/>
                    <a:pt x="11961" y="19363"/>
                    <a:pt x="11961" y="19344"/>
                  </a:cubicBezTo>
                  <a:cubicBezTo>
                    <a:pt x="11956" y="19326"/>
                    <a:pt x="11937" y="19397"/>
                    <a:pt x="11926" y="19392"/>
                  </a:cubicBezTo>
                  <a:cubicBezTo>
                    <a:pt x="11914" y="19368"/>
                    <a:pt x="11906" y="19341"/>
                    <a:pt x="11903" y="19310"/>
                  </a:cubicBezTo>
                  <a:cubicBezTo>
                    <a:pt x="11910" y="19310"/>
                    <a:pt x="11935" y="19262"/>
                    <a:pt x="11937" y="19231"/>
                  </a:cubicBezTo>
                  <a:cubicBezTo>
                    <a:pt x="11938" y="19233"/>
                    <a:pt x="11939" y="19235"/>
                    <a:pt x="11941" y="19237"/>
                  </a:cubicBezTo>
                  <a:cubicBezTo>
                    <a:pt x="11936" y="19239"/>
                    <a:pt x="11975" y="19155"/>
                    <a:pt x="11974" y="19202"/>
                  </a:cubicBezTo>
                  <a:cubicBezTo>
                    <a:pt x="11973" y="19203"/>
                    <a:pt x="11973" y="19204"/>
                    <a:pt x="11973" y="19205"/>
                  </a:cubicBezTo>
                  <a:cubicBezTo>
                    <a:pt x="11996" y="19207"/>
                    <a:pt x="12045" y="19290"/>
                    <a:pt x="12043" y="19289"/>
                  </a:cubicBezTo>
                  <a:cubicBezTo>
                    <a:pt x="12047" y="19293"/>
                    <a:pt x="12049" y="19241"/>
                    <a:pt x="12054" y="19235"/>
                  </a:cubicBezTo>
                  <a:cubicBezTo>
                    <a:pt x="12069" y="19240"/>
                    <a:pt x="12080" y="19254"/>
                    <a:pt x="12087" y="19278"/>
                  </a:cubicBezTo>
                  <a:cubicBezTo>
                    <a:pt x="12072" y="19238"/>
                    <a:pt x="12089" y="19111"/>
                    <a:pt x="12047" y="19112"/>
                  </a:cubicBezTo>
                  <a:cubicBezTo>
                    <a:pt x="11991" y="19114"/>
                    <a:pt x="12038" y="19160"/>
                    <a:pt x="12040" y="19159"/>
                  </a:cubicBezTo>
                  <a:cubicBezTo>
                    <a:pt x="11993" y="19196"/>
                    <a:pt x="12001" y="19116"/>
                    <a:pt x="11993" y="19098"/>
                  </a:cubicBezTo>
                  <a:cubicBezTo>
                    <a:pt x="11980" y="19068"/>
                    <a:pt x="11956" y="19131"/>
                    <a:pt x="11963" y="19133"/>
                  </a:cubicBezTo>
                  <a:cubicBezTo>
                    <a:pt x="11928" y="19148"/>
                    <a:pt x="11987" y="19080"/>
                    <a:pt x="11940" y="19053"/>
                  </a:cubicBezTo>
                  <a:cubicBezTo>
                    <a:pt x="11937" y="19052"/>
                    <a:pt x="11909" y="19151"/>
                    <a:pt x="11907" y="19146"/>
                  </a:cubicBezTo>
                  <a:cubicBezTo>
                    <a:pt x="11915" y="19159"/>
                    <a:pt x="11938" y="19200"/>
                    <a:pt x="11947" y="19206"/>
                  </a:cubicBezTo>
                  <a:cubicBezTo>
                    <a:pt x="11916" y="19183"/>
                    <a:pt x="11797" y="19014"/>
                    <a:pt x="11807" y="18932"/>
                  </a:cubicBezTo>
                  <a:cubicBezTo>
                    <a:pt x="11810" y="18903"/>
                    <a:pt x="11679" y="18838"/>
                    <a:pt x="11700" y="18765"/>
                  </a:cubicBezTo>
                  <a:cubicBezTo>
                    <a:pt x="11707" y="18761"/>
                    <a:pt x="11713" y="18757"/>
                    <a:pt x="11719" y="18750"/>
                  </a:cubicBezTo>
                  <a:cubicBezTo>
                    <a:pt x="11715" y="18741"/>
                    <a:pt x="11706" y="18685"/>
                    <a:pt x="11710" y="18683"/>
                  </a:cubicBezTo>
                  <a:cubicBezTo>
                    <a:pt x="11699" y="18672"/>
                    <a:pt x="11680" y="18703"/>
                    <a:pt x="11667" y="18673"/>
                  </a:cubicBezTo>
                  <a:cubicBezTo>
                    <a:pt x="11648" y="18629"/>
                    <a:pt x="11726" y="18603"/>
                    <a:pt x="11664" y="18567"/>
                  </a:cubicBezTo>
                  <a:cubicBezTo>
                    <a:pt x="11641" y="18565"/>
                    <a:pt x="11622" y="18549"/>
                    <a:pt x="11608" y="18520"/>
                  </a:cubicBezTo>
                  <a:cubicBezTo>
                    <a:pt x="11602" y="18473"/>
                    <a:pt x="11652" y="18362"/>
                    <a:pt x="11601" y="18351"/>
                  </a:cubicBezTo>
                  <a:cubicBezTo>
                    <a:pt x="11580" y="18346"/>
                    <a:pt x="11571" y="18322"/>
                    <a:pt x="11575" y="18279"/>
                  </a:cubicBezTo>
                  <a:cubicBezTo>
                    <a:pt x="11567" y="18187"/>
                    <a:pt x="11499" y="18150"/>
                    <a:pt x="11459" y="18102"/>
                  </a:cubicBezTo>
                  <a:cubicBezTo>
                    <a:pt x="11436" y="18074"/>
                    <a:pt x="11334" y="17839"/>
                    <a:pt x="11335" y="17840"/>
                  </a:cubicBezTo>
                  <a:cubicBezTo>
                    <a:pt x="11349" y="17846"/>
                    <a:pt x="11397" y="17950"/>
                    <a:pt x="11412" y="17920"/>
                  </a:cubicBezTo>
                  <a:cubicBezTo>
                    <a:pt x="11444" y="17854"/>
                    <a:pt x="11373" y="17807"/>
                    <a:pt x="11373" y="17751"/>
                  </a:cubicBezTo>
                  <a:cubicBezTo>
                    <a:pt x="11380" y="17760"/>
                    <a:pt x="11387" y="17771"/>
                    <a:pt x="11393" y="17782"/>
                  </a:cubicBezTo>
                  <a:cubicBezTo>
                    <a:pt x="11424" y="17782"/>
                    <a:pt x="11323" y="17663"/>
                    <a:pt x="11350" y="17619"/>
                  </a:cubicBezTo>
                  <a:cubicBezTo>
                    <a:pt x="11369" y="17589"/>
                    <a:pt x="11392" y="17487"/>
                    <a:pt x="11388" y="17444"/>
                  </a:cubicBezTo>
                  <a:cubicBezTo>
                    <a:pt x="11383" y="17387"/>
                    <a:pt x="11383" y="17221"/>
                    <a:pt x="11412" y="17150"/>
                  </a:cubicBezTo>
                  <a:cubicBezTo>
                    <a:pt x="11464" y="17024"/>
                    <a:pt x="11356" y="17049"/>
                    <a:pt x="11377" y="16952"/>
                  </a:cubicBezTo>
                  <a:cubicBezTo>
                    <a:pt x="11390" y="16889"/>
                    <a:pt x="11430" y="16913"/>
                    <a:pt x="11403" y="16783"/>
                  </a:cubicBezTo>
                  <a:cubicBezTo>
                    <a:pt x="11409" y="16812"/>
                    <a:pt x="11467" y="16807"/>
                    <a:pt x="11467" y="16769"/>
                  </a:cubicBezTo>
                  <a:cubicBezTo>
                    <a:pt x="11467" y="16669"/>
                    <a:pt x="11474" y="16557"/>
                    <a:pt x="11404" y="16529"/>
                  </a:cubicBezTo>
                  <a:cubicBezTo>
                    <a:pt x="11281" y="16479"/>
                    <a:pt x="11309" y="16368"/>
                    <a:pt x="11224" y="16252"/>
                  </a:cubicBezTo>
                  <a:cubicBezTo>
                    <a:pt x="11205" y="16226"/>
                    <a:pt x="11196" y="16118"/>
                    <a:pt x="11172" y="16137"/>
                  </a:cubicBezTo>
                  <a:cubicBezTo>
                    <a:pt x="11145" y="16158"/>
                    <a:pt x="11142" y="16133"/>
                    <a:pt x="11132" y="16084"/>
                  </a:cubicBezTo>
                  <a:cubicBezTo>
                    <a:pt x="11130" y="16076"/>
                    <a:pt x="11046" y="15987"/>
                    <a:pt x="11078" y="15988"/>
                  </a:cubicBezTo>
                  <a:cubicBezTo>
                    <a:pt x="11012" y="15934"/>
                    <a:pt x="11074" y="16023"/>
                    <a:pt x="11052" y="16022"/>
                  </a:cubicBezTo>
                  <a:cubicBezTo>
                    <a:pt x="11002" y="16020"/>
                    <a:pt x="10798" y="15527"/>
                    <a:pt x="10755" y="15625"/>
                  </a:cubicBezTo>
                  <a:cubicBezTo>
                    <a:pt x="10759" y="15635"/>
                    <a:pt x="10763" y="15645"/>
                    <a:pt x="10767" y="15656"/>
                  </a:cubicBezTo>
                  <a:cubicBezTo>
                    <a:pt x="10741" y="15674"/>
                    <a:pt x="10504" y="15372"/>
                    <a:pt x="10489" y="15415"/>
                  </a:cubicBezTo>
                  <a:cubicBezTo>
                    <a:pt x="10529" y="15299"/>
                    <a:pt x="10729" y="15628"/>
                    <a:pt x="10762" y="15610"/>
                  </a:cubicBezTo>
                  <a:cubicBezTo>
                    <a:pt x="10772" y="15604"/>
                    <a:pt x="10736" y="15554"/>
                    <a:pt x="10713" y="15529"/>
                  </a:cubicBezTo>
                  <a:cubicBezTo>
                    <a:pt x="10672" y="15519"/>
                    <a:pt x="10682" y="15447"/>
                    <a:pt x="10677" y="15420"/>
                  </a:cubicBezTo>
                  <a:cubicBezTo>
                    <a:pt x="10681" y="15438"/>
                    <a:pt x="10651" y="15406"/>
                    <a:pt x="10645" y="15393"/>
                  </a:cubicBezTo>
                  <a:cubicBezTo>
                    <a:pt x="10644" y="15402"/>
                    <a:pt x="10642" y="15410"/>
                    <a:pt x="10640" y="15418"/>
                  </a:cubicBezTo>
                  <a:cubicBezTo>
                    <a:pt x="10618" y="15312"/>
                    <a:pt x="10563" y="15324"/>
                    <a:pt x="10528" y="15240"/>
                  </a:cubicBezTo>
                  <a:cubicBezTo>
                    <a:pt x="10491" y="15150"/>
                    <a:pt x="10474" y="15059"/>
                    <a:pt x="10406" y="15041"/>
                  </a:cubicBezTo>
                  <a:cubicBezTo>
                    <a:pt x="10351" y="15026"/>
                    <a:pt x="10296" y="14900"/>
                    <a:pt x="10246" y="14912"/>
                  </a:cubicBezTo>
                  <a:cubicBezTo>
                    <a:pt x="10221" y="14918"/>
                    <a:pt x="10126" y="15014"/>
                    <a:pt x="10109" y="14945"/>
                  </a:cubicBezTo>
                  <a:cubicBezTo>
                    <a:pt x="10113" y="14930"/>
                    <a:pt x="10117" y="14915"/>
                    <a:pt x="10122" y="14901"/>
                  </a:cubicBezTo>
                  <a:cubicBezTo>
                    <a:pt x="10117" y="14851"/>
                    <a:pt x="10079" y="14686"/>
                    <a:pt x="10015" y="14650"/>
                  </a:cubicBezTo>
                  <a:cubicBezTo>
                    <a:pt x="9996" y="14608"/>
                    <a:pt x="9898" y="14449"/>
                    <a:pt x="9890" y="14433"/>
                  </a:cubicBezTo>
                  <a:cubicBezTo>
                    <a:pt x="9873" y="14399"/>
                    <a:pt x="9806" y="14231"/>
                    <a:pt x="9824" y="14191"/>
                  </a:cubicBezTo>
                  <a:cubicBezTo>
                    <a:pt x="9834" y="14195"/>
                    <a:pt x="9842" y="14206"/>
                    <a:pt x="9847" y="14225"/>
                  </a:cubicBezTo>
                  <a:cubicBezTo>
                    <a:pt x="9841" y="14218"/>
                    <a:pt x="9866" y="14150"/>
                    <a:pt x="9880" y="14151"/>
                  </a:cubicBezTo>
                  <a:cubicBezTo>
                    <a:pt x="9923" y="14156"/>
                    <a:pt x="9834" y="14024"/>
                    <a:pt x="9810" y="13970"/>
                  </a:cubicBezTo>
                  <a:cubicBezTo>
                    <a:pt x="9729" y="13789"/>
                    <a:pt x="9814" y="13640"/>
                    <a:pt x="9766" y="13470"/>
                  </a:cubicBezTo>
                  <a:cubicBezTo>
                    <a:pt x="9721" y="13311"/>
                    <a:pt x="9594" y="13067"/>
                    <a:pt x="9530" y="13313"/>
                  </a:cubicBezTo>
                  <a:cubicBezTo>
                    <a:pt x="9481" y="13499"/>
                    <a:pt x="9343" y="13783"/>
                    <a:pt x="9313" y="13397"/>
                  </a:cubicBezTo>
                  <a:cubicBezTo>
                    <a:pt x="9310" y="13351"/>
                    <a:pt x="9271" y="13027"/>
                    <a:pt x="9283" y="13006"/>
                  </a:cubicBezTo>
                  <a:cubicBezTo>
                    <a:pt x="9295" y="13008"/>
                    <a:pt x="9307" y="13010"/>
                    <a:pt x="9319" y="13012"/>
                  </a:cubicBezTo>
                  <a:cubicBezTo>
                    <a:pt x="9316" y="12996"/>
                    <a:pt x="9312" y="12980"/>
                    <a:pt x="9309" y="12964"/>
                  </a:cubicBezTo>
                  <a:cubicBezTo>
                    <a:pt x="9323" y="12933"/>
                    <a:pt x="9361" y="12990"/>
                    <a:pt x="9375" y="12958"/>
                  </a:cubicBezTo>
                  <a:cubicBezTo>
                    <a:pt x="9383" y="12942"/>
                    <a:pt x="9382" y="12851"/>
                    <a:pt x="9375" y="12820"/>
                  </a:cubicBezTo>
                  <a:cubicBezTo>
                    <a:pt x="9334" y="12618"/>
                    <a:pt x="9310" y="12841"/>
                    <a:pt x="9255" y="12832"/>
                  </a:cubicBezTo>
                  <a:cubicBezTo>
                    <a:pt x="9273" y="12835"/>
                    <a:pt x="9208" y="12725"/>
                    <a:pt x="9177" y="12718"/>
                  </a:cubicBezTo>
                  <a:cubicBezTo>
                    <a:pt x="9129" y="12708"/>
                    <a:pt x="9170" y="12871"/>
                    <a:pt x="9124" y="12847"/>
                  </a:cubicBezTo>
                  <a:cubicBezTo>
                    <a:pt x="9108" y="12838"/>
                    <a:pt x="8882" y="12976"/>
                    <a:pt x="8886" y="12965"/>
                  </a:cubicBezTo>
                  <a:cubicBezTo>
                    <a:pt x="8890" y="12951"/>
                    <a:pt x="9010" y="12894"/>
                    <a:pt x="8939" y="12851"/>
                  </a:cubicBezTo>
                  <a:cubicBezTo>
                    <a:pt x="8954" y="12860"/>
                    <a:pt x="8886" y="12899"/>
                    <a:pt x="8885" y="12895"/>
                  </a:cubicBezTo>
                  <a:cubicBezTo>
                    <a:pt x="8885" y="12895"/>
                    <a:pt x="8886" y="12894"/>
                    <a:pt x="8886" y="12894"/>
                  </a:cubicBezTo>
                  <a:cubicBezTo>
                    <a:pt x="8886" y="12894"/>
                    <a:pt x="8885" y="12895"/>
                    <a:pt x="8885" y="12895"/>
                  </a:cubicBezTo>
                  <a:cubicBezTo>
                    <a:pt x="8867" y="12920"/>
                    <a:pt x="8814" y="13180"/>
                    <a:pt x="8822" y="13191"/>
                  </a:cubicBezTo>
                  <a:cubicBezTo>
                    <a:pt x="8829" y="13184"/>
                    <a:pt x="8836" y="13174"/>
                    <a:pt x="8842" y="13164"/>
                  </a:cubicBezTo>
                  <a:cubicBezTo>
                    <a:pt x="8854" y="13166"/>
                    <a:pt x="8841" y="13322"/>
                    <a:pt x="8834" y="13302"/>
                  </a:cubicBezTo>
                  <a:cubicBezTo>
                    <a:pt x="8853" y="13362"/>
                    <a:pt x="8935" y="13370"/>
                    <a:pt x="8894" y="13498"/>
                  </a:cubicBezTo>
                  <a:cubicBezTo>
                    <a:pt x="8852" y="13629"/>
                    <a:pt x="8806" y="13456"/>
                    <a:pt x="8800" y="13631"/>
                  </a:cubicBezTo>
                  <a:cubicBezTo>
                    <a:pt x="8795" y="13773"/>
                    <a:pt x="8791" y="13971"/>
                    <a:pt x="8822" y="14104"/>
                  </a:cubicBezTo>
                  <a:cubicBezTo>
                    <a:pt x="8867" y="14300"/>
                    <a:pt x="8991" y="14377"/>
                    <a:pt x="9063" y="14533"/>
                  </a:cubicBezTo>
                  <a:cubicBezTo>
                    <a:pt x="9153" y="14728"/>
                    <a:pt x="9254" y="14741"/>
                    <a:pt x="9290" y="15011"/>
                  </a:cubicBezTo>
                  <a:cubicBezTo>
                    <a:pt x="9317" y="15209"/>
                    <a:pt x="9323" y="15420"/>
                    <a:pt x="9361" y="15612"/>
                  </a:cubicBezTo>
                  <a:cubicBezTo>
                    <a:pt x="9391" y="15765"/>
                    <a:pt x="9474" y="15929"/>
                    <a:pt x="9536" y="16044"/>
                  </a:cubicBezTo>
                  <a:cubicBezTo>
                    <a:pt x="9587" y="16138"/>
                    <a:pt x="9630" y="16240"/>
                    <a:pt x="9701" y="16306"/>
                  </a:cubicBezTo>
                  <a:cubicBezTo>
                    <a:pt x="9833" y="16430"/>
                    <a:pt x="9938" y="16366"/>
                    <a:pt x="10078" y="16380"/>
                  </a:cubicBezTo>
                  <a:cubicBezTo>
                    <a:pt x="10188" y="16391"/>
                    <a:pt x="10172" y="16505"/>
                    <a:pt x="10103" y="16599"/>
                  </a:cubicBezTo>
                  <a:cubicBezTo>
                    <a:pt x="9877" y="16905"/>
                    <a:pt x="10468" y="17161"/>
                    <a:pt x="10557" y="17323"/>
                  </a:cubicBezTo>
                  <a:cubicBezTo>
                    <a:pt x="10591" y="17383"/>
                    <a:pt x="10864" y="17612"/>
                    <a:pt x="10858" y="17667"/>
                  </a:cubicBezTo>
                  <a:cubicBezTo>
                    <a:pt x="10847" y="17771"/>
                    <a:pt x="10918" y="17812"/>
                    <a:pt x="10963" y="17899"/>
                  </a:cubicBezTo>
                  <a:cubicBezTo>
                    <a:pt x="10992" y="17953"/>
                    <a:pt x="11061" y="18098"/>
                    <a:pt x="11019" y="18179"/>
                  </a:cubicBezTo>
                  <a:cubicBezTo>
                    <a:pt x="10996" y="18223"/>
                    <a:pt x="10989" y="18401"/>
                    <a:pt x="10969" y="18415"/>
                  </a:cubicBezTo>
                  <a:cubicBezTo>
                    <a:pt x="10915" y="18456"/>
                    <a:pt x="10814" y="18239"/>
                    <a:pt x="10815" y="18179"/>
                  </a:cubicBezTo>
                  <a:cubicBezTo>
                    <a:pt x="10816" y="18093"/>
                    <a:pt x="10813" y="17947"/>
                    <a:pt x="10725" y="17944"/>
                  </a:cubicBezTo>
                  <a:cubicBezTo>
                    <a:pt x="10695" y="17944"/>
                    <a:pt x="10518" y="17920"/>
                    <a:pt x="10519" y="17824"/>
                  </a:cubicBezTo>
                  <a:cubicBezTo>
                    <a:pt x="10533" y="17795"/>
                    <a:pt x="10549" y="17771"/>
                    <a:pt x="10566" y="17750"/>
                  </a:cubicBezTo>
                  <a:cubicBezTo>
                    <a:pt x="10564" y="17759"/>
                    <a:pt x="10526" y="17763"/>
                    <a:pt x="10521" y="17763"/>
                  </a:cubicBezTo>
                  <a:cubicBezTo>
                    <a:pt x="10417" y="17756"/>
                    <a:pt x="10399" y="17786"/>
                    <a:pt x="10349" y="17967"/>
                  </a:cubicBezTo>
                  <a:cubicBezTo>
                    <a:pt x="10327" y="18046"/>
                    <a:pt x="10266" y="18090"/>
                    <a:pt x="10287" y="18182"/>
                  </a:cubicBezTo>
                  <a:cubicBezTo>
                    <a:pt x="10308" y="18275"/>
                    <a:pt x="10235" y="18296"/>
                    <a:pt x="10236" y="18370"/>
                  </a:cubicBezTo>
                  <a:cubicBezTo>
                    <a:pt x="10239" y="18541"/>
                    <a:pt x="10261" y="18485"/>
                    <a:pt x="10334" y="18548"/>
                  </a:cubicBezTo>
                  <a:cubicBezTo>
                    <a:pt x="10357" y="18567"/>
                    <a:pt x="10482" y="18725"/>
                    <a:pt x="10489" y="18759"/>
                  </a:cubicBezTo>
                  <a:cubicBezTo>
                    <a:pt x="10489" y="18760"/>
                    <a:pt x="10453" y="19116"/>
                    <a:pt x="10471" y="19107"/>
                  </a:cubicBezTo>
                  <a:cubicBezTo>
                    <a:pt x="10477" y="19104"/>
                    <a:pt x="10476" y="19075"/>
                    <a:pt x="10480" y="19062"/>
                  </a:cubicBezTo>
                  <a:cubicBezTo>
                    <a:pt x="10476" y="19090"/>
                    <a:pt x="10500" y="19197"/>
                    <a:pt x="10426" y="19205"/>
                  </a:cubicBezTo>
                  <a:cubicBezTo>
                    <a:pt x="10335" y="19215"/>
                    <a:pt x="10214" y="19220"/>
                    <a:pt x="10231" y="19455"/>
                  </a:cubicBezTo>
                  <a:cubicBezTo>
                    <a:pt x="10249" y="19702"/>
                    <a:pt x="10180" y="19646"/>
                    <a:pt x="10107" y="19786"/>
                  </a:cubicBezTo>
                  <a:cubicBezTo>
                    <a:pt x="10070" y="19855"/>
                    <a:pt x="10062" y="19946"/>
                    <a:pt x="10036" y="20025"/>
                  </a:cubicBezTo>
                  <a:cubicBezTo>
                    <a:pt x="9958" y="20262"/>
                    <a:pt x="9764" y="19932"/>
                    <a:pt x="9850" y="19780"/>
                  </a:cubicBezTo>
                  <a:cubicBezTo>
                    <a:pt x="9901" y="19690"/>
                    <a:pt x="9927" y="19723"/>
                    <a:pt x="9960" y="19580"/>
                  </a:cubicBezTo>
                  <a:cubicBezTo>
                    <a:pt x="9982" y="19486"/>
                    <a:pt x="9901" y="19394"/>
                    <a:pt x="9984" y="19360"/>
                  </a:cubicBezTo>
                  <a:cubicBezTo>
                    <a:pt x="10038" y="19338"/>
                    <a:pt x="10165" y="19288"/>
                    <a:pt x="10077" y="19139"/>
                  </a:cubicBezTo>
                  <a:cubicBezTo>
                    <a:pt x="10009" y="19022"/>
                    <a:pt x="10062" y="18780"/>
                    <a:pt x="10002" y="18636"/>
                  </a:cubicBezTo>
                  <a:cubicBezTo>
                    <a:pt x="9980" y="18583"/>
                    <a:pt x="9922" y="17931"/>
                    <a:pt x="9837" y="18108"/>
                  </a:cubicBezTo>
                  <a:cubicBezTo>
                    <a:pt x="9789" y="18209"/>
                    <a:pt x="9595" y="17894"/>
                    <a:pt x="9643" y="17809"/>
                  </a:cubicBezTo>
                  <a:cubicBezTo>
                    <a:pt x="9689" y="17727"/>
                    <a:pt x="9589" y="17459"/>
                    <a:pt x="9562" y="17507"/>
                  </a:cubicBezTo>
                  <a:cubicBezTo>
                    <a:pt x="9525" y="17573"/>
                    <a:pt x="9458" y="17511"/>
                    <a:pt x="9412" y="17577"/>
                  </a:cubicBezTo>
                  <a:cubicBezTo>
                    <a:pt x="9387" y="17550"/>
                    <a:pt x="9530" y="17441"/>
                    <a:pt x="9420" y="17355"/>
                  </a:cubicBezTo>
                  <a:cubicBezTo>
                    <a:pt x="9403" y="17342"/>
                    <a:pt x="9304" y="17347"/>
                    <a:pt x="9304" y="17346"/>
                  </a:cubicBezTo>
                  <a:cubicBezTo>
                    <a:pt x="9287" y="17316"/>
                    <a:pt x="9265" y="17110"/>
                    <a:pt x="9248" y="17054"/>
                  </a:cubicBezTo>
                  <a:cubicBezTo>
                    <a:pt x="9202" y="16908"/>
                    <a:pt x="9201" y="16925"/>
                    <a:pt x="9132" y="16952"/>
                  </a:cubicBezTo>
                  <a:cubicBezTo>
                    <a:pt x="9095" y="16966"/>
                    <a:pt x="9070" y="16849"/>
                    <a:pt x="9034" y="16844"/>
                  </a:cubicBezTo>
                  <a:cubicBezTo>
                    <a:pt x="9010" y="16840"/>
                    <a:pt x="8954" y="16937"/>
                    <a:pt x="8934" y="16905"/>
                  </a:cubicBezTo>
                  <a:cubicBezTo>
                    <a:pt x="8900" y="16851"/>
                    <a:pt x="8910" y="16738"/>
                    <a:pt x="8862" y="16697"/>
                  </a:cubicBezTo>
                  <a:cubicBezTo>
                    <a:pt x="8851" y="16688"/>
                    <a:pt x="8777" y="16682"/>
                    <a:pt x="8760" y="16620"/>
                  </a:cubicBezTo>
                  <a:cubicBezTo>
                    <a:pt x="8723" y="16487"/>
                    <a:pt x="8651" y="16427"/>
                    <a:pt x="8636" y="16283"/>
                  </a:cubicBezTo>
                  <a:cubicBezTo>
                    <a:pt x="8619" y="16111"/>
                    <a:pt x="8501" y="16119"/>
                    <a:pt x="8473" y="15949"/>
                  </a:cubicBezTo>
                  <a:cubicBezTo>
                    <a:pt x="8432" y="15704"/>
                    <a:pt x="8351" y="15775"/>
                    <a:pt x="8251" y="15680"/>
                  </a:cubicBezTo>
                  <a:cubicBezTo>
                    <a:pt x="8293" y="15720"/>
                    <a:pt x="8273" y="15498"/>
                    <a:pt x="8258" y="15465"/>
                  </a:cubicBezTo>
                  <a:cubicBezTo>
                    <a:pt x="8244" y="15435"/>
                    <a:pt x="8209" y="15367"/>
                    <a:pt x="8190" y="15340"/>
                  </a:cubicBezTo>
                  <a:cubicBezTo>
                    <a:pt x="8106" y="15224"/>
                    <a:pt x="8193" y="15289"/>
                    <a:pt x="8156" y="15183"/>
                  </a:cubicBezTo>
                  <a:cubicBezTo>
                    <a:pt x="8124" y="15093"/>
                    <a:pt x="8088" y="15176"/>
                    <a:pt x="8058" y="15142"/>
                  </a:cubicBezTo>
                  <a:cubicBezTo>
                    <a:pt x="8051" y="15135"/>
                    <a:pt x="8092" y="14906"/>
                    <a:pt x="8088" y="14870"/>
                  </a:cubicBezTo>
                  <a:cubicBezTo>
                    <a:pt x="8075" y="14751"/>
                    <a:pt x="8021" y="14682"/>
                    <a:pt x="8021" y="14559"/>
                  </a:cubicBezTo>
                  <a:cubicBezTo>
                    <a:pt x="8021" y="14501"/>
                    <a:pt x="7999" y="13909"/>
                    <a:pt x="7885" y="14015"/>
                  </a:cubicBezTo>
                  <a:cubicBezTo>
                    <a:pt x="7880" y="14034"/>
                    <a:pt x="7879" y="14055"/>
                    <a:pt x="7881" y="14076"/>
                  </a:cubicBezTo>
                  <a:cubicBezTo>
                    <a:pt x="7878" y="14089"/>
                    <a:pt x="7692" y="13726"/>
                    <a:pt x="7684" y="13731"/>
                  </a:cubicBezTo>
                  <a:cubicBezTo>
                    <a:pt x="7681" y="13745"/>
                    <a:pt x="7678" y="13759"/>
                    <a:pt x="7675" y="13773"/>
                  </a:cubicBezTo>
                  <a:cubicBezTo>
                    <a:pt x="7671" y="13758"/>
                    <a:pt x="7589" y="13681"/>
                    <a:pt x="7583" y="13674"/>
                  </a:cubicBezTo>
                  <a:cubicBezTo>
                    <a:pt x="7537" y="13618"/>
                    <a:pt x="7523" y="13601"/>
                    <a:pt x="7469" y="13639"/>
                  </a:cubicBezTo>
                  <a:cubicBezTo>
                    <a:pt x="7393" y="13692"/>
                    <a:pt x="7383" y="13768"/>
                    <a:pt x="7318" y="13835"/>
                  </a:cubicBezTo>
                  <a:cubicBezTo>
                    <a:pt x="7286" y="13866"/>
                    <a:pt x="7280" y="13949"/>
                    <a:pt x="7256" y="13994"/>
                  </a:cubicBezTo>
                  <a:cubicBezTo>
                    <a:pt x="7217" y="14066"/>
                    <a:pt x="7160" y="14069"/>
                    <a:pt x="7108" y="14071"/>
                  </a:cubicBezTo>
                  <a:cubicBezTo>
                    <a:pt x="7081" y="14072"/>
                    <a:pt x="6940" y="14147"/>
                    <a:pt x="6943" y="14148"/>
                  </a:cubicBezTo>
                  <a:cubicBezTo>
                    <a:pt x="6889" y="14131"/>
                    <a:pt x="6900" y="14132"/>
                    <a:pt x="6861" y="14232"/>
                  </a:cubicBezTo>
                  <a:cubicBezTo>
                    <a:pt x="6874" y="14198"/>
                    <a:pt x="6718" y="14277"/>
                    <a:pt x="6745" y="14338"/>
                  </a:cubicBezTo>
                  <a:cubicBezTo>
                    <a:pt x="6723" y="14288"/>
                    <a:pt x="6665" y="14361"/>
                    <a:pt x="6636" y="14427"/>
                  </a:cubicBezTo>
                  <a:cubicBezTo>
                    <a:pt x="6652" y="14391"/>
                    <a:pt x="6720" y="14488"/>
                    <a:pt x="6649" y="14513"/>
                  </a:cubicBezTo>
                  <a:cubicBezTo>
                    <a:pt x="6619" y="14524"/>
                    <a:pt x="6588" y="14503"/>
                    <a:pt x="6559" y="14512"/>
                  </a:cubicBezTo>
                  <a:cubicBezTo>
                    <a:pt x="6547" y="14529"/>
                    <a:pt x="6537" y="14549"/>
                    <a:pt x="6530" y="14573"/>
                  </a:cubicBezTo>
                  <a:cubicBezTo>
                    <a:pt x="6525" y="14574"/>
                    <a:pt x="6474" y="14446"/>
                    <a:pt x="6466" y="14541"/>
                  </a:cubicBezTo>
                  <a:cubicBezTo>
                    <a:pt x="6461" y="14588"/>
                    <a:pt x="6469" y="14626"/>
                    <a:pt x="6432" y="14580"/>
                  </a:cubicBezTo>
                  <a:cubicBezTo>
                    <a:pt x="6438" y="14566"/>
                    <a:pt x="6443" y="14552"/>
                    <a:pt x="6449" y="14538"/>
                  </a:cubicBezTo>
                  <a:cubicBezTo>
                    <a:pt x="6445" y="14533"/>
                    <a:pt x="6373" y="14476"/>
                    <a:pt x="6366" y="14484"/>
                  </a:cubicBezTo>
                  <a:cubicBezTo>
                    <a:pt x="6362" y="14489"/>
                    <a:pt x="6385" y="14525"/>
                    <a:pt x="6385" y="14533"/>
                  </a:cubicBezTo>
                  <a:cubicBezTo>
                    <a:pt x="6392" y="14600"/>
                    <a:pt x="6327" y="14477"/>
                    <a:pt x="6324" y="14463"/>
                  </a:cubicBezTo>
                  <a:cubicBezTo>
                    <a:pt x="6303" y="14371"/>
                    <a:pt x="6227" y="14369"/>
                    <a:pt x="6184" y="14338"/>
                  </a:cubicBezTo>
                  <a:cubicBezTo>
                    <a:pt x="6160" y="14321"/>
                    <a:pt x="6235" y="14169"/>
                    <a:pt x="6148" y="14194"/>
                  </a:cubicBezTo>
                  <a:cubicBezTo>
                    <a:pt x="6142" y="14196"/>
                    <a:pt x="6048" y="14207"/>
                    <a:pt x="6069" y="14143"/>
                  </a:cubicBezTo>
                  <a:cubicBezTo>
                    <a:pt x="6085" y="14096"/>
                    <a:pt x="6144" y="14145"/>
                    <a:pt x="6159" y="14094"/>
                  </a:cubicBezTo>
                  <a:cubicBezTo>
                    <a:pt x="6152" y="14117"/>
                    <a:pt x="6122" y="13990"/>
                    <a:pt x="6124" y="13993"/>
                  </a:cubicBezTo>
                  <a:cubicBezTo>
                    <a:pt x="6075" y="13904"/>
                    <a:pt x="6085" y="14063"/>
                    <a:pt x="6092" y="14097"/>
                  </a:cubicBezTo>
                  <a:cubicBezTo>
                    <a:pt x="6076" y="14095"/>
                    <a:pt x="6008" y="14140"/>
                    <a:pt x="6016" y="14137"/>
                  </a:cubicBezTo>
                  <a:cubicBezTo>
                    <a:pt x="5962" y="14157"/>
                    <a:pt x="6006" y="13960"/>
                    <a:pt x="5973" y="13948"/>
                  </a:cubicBezTo>
                  <a:cubicBezTo>
                    <a:pt x="5991" y="13954"/>
                    <a:pt x="5962" y="14148"/>
                    <a:pt x="5990" y="14143"/>
                  </a:cubicBezTo>
                  <a:cubicBezTo>
                    <a:pt x="5878" y="14161"/>
                    <a:pt x="5960" y="14051"/>
                    <a:pt x="5884" y="14008"/>
                  </a:cubicBezTo>
                  <a:cubicBezTo>
                    <a:pt x="5874" y="14002"/>
                    <a:pt x="5761" y="13949"/>
                    <a:pt x="5769" y="13917"/>
                  </a:cubicBezTo>
                  <a:cubicBezTo>
                    <a:pt x="5779" y="13875"/>
                    <a:pt x="5760" y="13826"/>
                    <a:pt x="5732" y="13818"/>
                  </a:cubicBezTo>
                  <a:cubicBezTo>
                    <a:pt x="5701" y="13809"/>
                    <a:pt x="5574" y="13932"/>
                    <a:pt x="5551" y="13969"/>
                  </a:cubicBezTo>
                  <a:cubicBezTo>
                    <a:pt x="5506" y="14044"/>
                    <a:pt x="5468" y="13995"/>
                    <a:pt x="5419" y="14050"/>
                  </a:cubicBezTo>
                  <a:cubicBezTo>
                    <a:pt x="5405" y="14065"/>
                    <a:pt x="5380" y="14161"/>
                    <a:pt x="5362" y="14153"/>
                  </a:cubicBezTo>
                  <a:cubicBezTo>
                    <a:pt x="5358" y="14140"/>
                    <a:pt x="5353" y="14127"/>
                    <a:pt x="5348" y="14116"/>
                  </a:cubicBezTo>
                  <a:cubicBezTo>
                    <a:pt x="5335" y="14151"/>
                    <a:pt x="5341" y="14294"/>
                    <a:pt x="5325" y="14312"/>
                  </a:cubicBezTo>
                  <a:cubicBezTo>
                    <a:pt x="5298" y="14340"/>
                    <a:pt x="5279" y="14230"/>
                    <a:pt x="5281" y="14358"/>
                  </a:cubicBezTo>
                  <a:cubicBezTo>
                    <a:pt x="5282" y="14405"/>
                    <a:pt x="5338" y="14377"/>
                    <a:pt x="5301" y="14453"/>
                  </a:cubicBezTo>
                  <a:cubicBezTo>
                    <a:pt x="5258" y="14543"/>
                    <a:pt x="5289" y="14797"/>
                    <a:pt x="5344" y="14856"/>
                  </a:cubicBezTo>
                  <a:cubicBezTo>
                    <a:pt x="5376" y="14890"/>
                    <a:pt x="5262" y="14911"/>
                    <a:pt x="5270" y="14999"/>
                  </a:cubicBezTo>
                  <a:cubicBezTo>
                    <a:pt x="5289" y="15214"/>
                    <a:pt x="5280" y="15262"/>
                    <a:pt x="5152" y="15337"/>
                  </a:cubicBezTo>
                  <a:cubicBezTo>
                    <a:pt x="5053" y="15395"/>
                    <a:pt x="4912" y="15408"/>
                    <a:pt x="4835" y="15545"/>
                  </a:cubicBezTo>
                  <a:cubicBezTo>
                    <a:pt x="4751" y="15694"/>
                    <a:pt x="4656" y="15603"/>
                    <a:pt x="4551" y="15616"/>
                  </a:cubicBezTo>
                  <a:cubicBezTo>
                    <a:pt x="4492" y="15622"/>
                    <a:pt x="4206" y="15647"/>
                    <a:pt x="4208" y="15826"/>
                  </a:cubicBezTo>
                  <a:cubicBezTo>
                    <a:pt x="4208" y="15830"/>
                    <a:pt x="4313" y="15918"/>
                    <a:pt x="4254" y="15951"/>
                  </a:cubicBezTo>
                  <a:cubicBezTo>
                    <a:pt x="4223" y="15968"/>
                    <a:pt x="4158" y="15941"/>
                    <a:pt x="4134" y="15982"/>
                  </a:cubicBezTo>
                  <a:cubicBezTo>
                    <a:pt x="4033" y="16156"/>
                    <a:pt x="3924" y="16319"/>
                    <a:pt x="3826" y="16490"/>
                  </a:cubicBezTo>
                  <a:cubicBezTo>
                    <a:pt x="3695" y="16718"/>
                    <a:pt x="3603" y="16877"/>
                    <a:pt x="3642" y="17239"/>
                  </a:cubicBezTo>
                  <a:cubicBezTo>
                    <a:pt x="3648" y="17302"/>
                    <a:pt x="3804" y="17555"/>
                    <a:pt x="3775" y="17597"/>
                  </a:cubicBezTo>
                  <a:cubicBezTo>
                    <a:pt x="3696" y="17708"/>
                    <a:pt x="3584" y="17657"/>
                    <a:pt x="3509" y="17740"/>
                  </a:cubicBezTo>
                  <a:cubicBezTo>
                    <a:pt x="3464" y="17790"/>
                    <a:pt x="3462" y="17884"/>
                    <a:pt x="3420" y="17936"/>
                  </a:cubicBezTo>
                  <a:cubicBezTo>
                    <a:pt x="3385" y="17981"/>
                    <a:pt x="3353" y="17881"/>
                    <a:pt x="3354" y="18032"/>
                  </a:cubicBezTo>
                  <a:cubicBezTo>
                    <a:pt x="3354" y="18150"/>
                    <a:pt x="3295" y="18114"/>
                    <a:pt x="3295" y="18211"/>
                  </a:cubicBezTo>
                  <a:cubicBezTo>
                    <a:pt x="3295" y="18281"/>
                    <a:pt x="3208" y="18258"/>
                    <a:pt x="3235" y="18335"/>
                  </a:cubicBezTo>
                  <a:cubicBezTo>
                    <a:pt x="3237" y="18343"/>
                    <a:pt x="3289" y="18410"/>
                    <a:pt x="3278" y="18424"/>
                  </a:cubicBezTo>
                  <a:cubicBezTo>
                    <a:pt x="3246" y="18469"/>
                    <a:pt x="3134" y="18416"/>
                    <a:pt x="3112" y="18421"/>
                  </a:cubicBezTo>
                  <a:cubicBezTo>
                    <a:pt x="3080" y="18428"/>
                    <a:pt x="3057" y="18352"/>
                    <a:pt x="3022" y="18360"/>
                  </a:cubicBezTo>
                  <a:cubicBezTo>
                    <a:pt x="2979" y="18370"/>
                    <a:pt x="2961" y="18436"/>
                    <a:pt x="2917" y="18442"/>
                  </a:cubicBezTo>
                  <a:cubicBezTo>
                    <a:pt x="2833" y="18454"/>
                    <a:pt x="2784" y="18603"/>
                    <a:pt x="2751" y="18726"/>
                  </a:cubicBezTo>
                  <a:cubicBezTo>
                    <a:pt x="2733" y="18793"/>
                    <a:pt x="2674" y="18848"/>
                    <a:pt x="2641" y="18902"/>
                  </a:cubicBezTo>
                  <a:cubicBezTo>
                    <a:pt x="2589" y="18987"/>
                    <a:pt x="2534" y="18794"/>
                    <a:pt x="2484" y="18767"/>
                  </a:cubicBezTo>
                  <a:cubicBezTo>
                    <a:pt x="2407" y="18725"/>
                    <a:pt x="2391" y="18898"/>
                    <a:pt x="2308" y="18780"/>
                  </a:cubicBezTo>
                  <a:cubicBezTo>
                    <a:pt x="2231" y="18672"/>
                    <a:pt x="2117" y="18743"/>
                    <a:pt x="2057" y="18638"/>
                  </a:cubicBezTo>
                  <a:cubicBezTo>
                    <a:pt x="2018" y="18569"/>
                    <a:pt x="1958" y="18553"/>
                    <a:pt x="1907" y="18526"/>
                  </a:cubicBezTo>
                  <a:cubicBezTo>
                    <a:pt x="1852" y="18498"/>
                    <a:pt x="1772" y="18432"/>
                    <a:pt x="1714" y="18445"/>
                  </a:cubicBezTo>
                  <a:cubicBezTo>
                    <a:pt x="1663" y="18457"/>
                    <a:pt x="1617" y="18629"/>
                    <a:pt x="1561" y="18580"/>
                  </a:cubicBezTo>
                  <a:cubicBezTo>
                    <a:pt x="1496" y="18523"/>
                    <a:pt x="1450" y="18487"/>
                    <a:pt x="1372" y="18532"/>
                  </a:cubicBezTo>
                  <a:cubicBezTo>
                    <a:pt x="1310" y="18569"/>
                    <a:pt x="1296" y="18754"/>
                    <a:pt x="1238" y="18694"/>
                  </a:cubicBezTo>
                  <a:cubicBezTo>
                    <a:pt x="1254" y="18711"/>
                    <a:pt x="1171" y="18795"/>
                    <a:pt x="1158" y="18800"/>
                  </a:cubicBezTo>
                  <a:cubicBezTo>
                    <a:pt x="1108" y="18818"/>
                    <a:pt x="1072" y="18609"/>
                    <a:pt x="1045" y="18558"/>
                  </a:cubicBezTo>
                  <a:cubicBezTo>
                    <a:pt x="1010" y="18472"/>
                    <a:pt x="998" y="18517"/>
                    <a:pt x="978" y="18374"/>
                  </a:cubicBezTo>
                  <a:cubicBezTo>
                    <a:pt x="970" y="18316"/>
                    <a:pt x="944" y="18214"/>
                    <a:pt x="949" y="18154"/>
                  </a:cubicBezTo>
                  <a:cubicBezTo>
                    <a:pt x="948" y="18167"/>
                    <a:pt x="1000" y="18256"/>
                    <a:pt x="998" y="18201"/>
                  </a:cubicBezTo>
                  <a:cubicBezTo>
                    <a:pt x="989" y="18195"/>
                    <a:pt x="981" y="18189"/>
                    <a:pt x="972" y="18185"/>
                  </a:cubicBezTo>
                  <a:cubicBezTo>
                    <a:pt x="964" y="18148"/>
                    <a:pt x="957" y="18082"/>
                    <a:pt x="941" y="18022"/>
                  </a:cubicBezTo>
                  <a:cubicBezTo>
                    <a:pt x="903" y="17872"/>
                    <a:pt x="917" y="17652"/>
                    <a:pt x="898" y="17611"/>
                  </a:cubicBezTo>
                  <a:cubicBezTo>
                    <a:pt x="897" y="17607"/>
                    <a:pt x="835" y="17453"/>
                    <a:pt x="830" y="17385"/>
                  </a:cubicBezTo>
                  <a:cubicBezTo>
                    <a:pt x="822" y="17409"/>
                    <a:pt x="816" y="17440"/>
                    <a:pt x="808" y="17440"/>
                  </a:cubicBezTo>
                  <a:cubicBezTo>
                    <a:pt x="819" y="17431"/>
                    <a:pt x="729" y="17342"/>
                    <a:pt x="719" y="17338"/>
                  </a:cubicBezTo>
                  <a:cubicBezTo>
                    <a:pt x="665" y="17311"/>
                    <a:pt x="601" y="17264"/>
                    <a:pt x="546" y="17306"/>
                  </a:cubicBezTo>
                  <a:cubicBezTo>
                    <a:pt x="412" y="17409"/>
                    <a:pt x="369" y="17294"/>
                    <a:pt x="255" y="17151"/>
                  </a:cubicBezTo>
                  <a:cubicBezTo>
                    <a:pt x="219" y="17106"/>
                    <a:pt x="3" y="16993"/>
                    <a:pt x="0" y="17017"/>
                  </a:cubicBezTo>
                  <a:cubicBezTo>
                    <a:pt x="17" y="16902"/>
                    <a:pt x="121" y="16785"/>
                    <a:pt x="147" y="16646"/>
                  </a:cubicBezTo>
                  <a:cubicBezTo>
                    <a:pt x="147" y="16645"/>
                    <a:pt x="186" y="16494"/>
                    <a:pt x="207" y="16468"/>
                  </a:cubicBezTo>
                  <a:cubicBezTo>
                    <a:pt x="196" y="16471"/>
                    <a:pt x="183" y="16482"/>
                    <a:pt x="186" y="16452"/>
                  </a:cubicBezTo>
                  <a:cubicBezTo>
                    <a:pt x="203" y="16401"/>
                    <a:pt x="211" y="16346"/>
                    <a:pt x="211" y="16287"/>
                  </a:cubicBezTo>
                  <a:cubicBezTo>
                    <a:pt x="196" y="16225"/>
                    <a:pt x="186" y="16252"/>
                    <a:pt x="215" y="16187"/>
                  </a:cubicBezTo>
                  <a:cubicBezTo>
                    <a:pt x="248" y="16112"/>
                    <a:pt x="284" y="16025"/>
                    <a:pt x="293" y="15928"/>
                  </a:cubicBezTo>
                  <a:cubicBezTo>
                    <a:pt x="299" y="15866"/>
                    <a:pt x="266" y="15819"/>
                    <a:pt x="264" y="15772"/>
                  </a:cubicBezTo>
                  <a:cubicBezTo>
                    <a:pt x="213" y="15754"/>
                    <a:pt x="145" y="15735"/>
                    <a:pt x="147" y="15741"/>
                  </a:cubicBezTo>
                  <a:cubicBezTo>
                    <a:pt x="148" y="15745"/>
                    <a:pt x="146" y="15610"/>
                    <a:pt x="132" y="15563"/>
                  </a:cubicBezTo>
                  <a:cubicBezTo>
                    <a:pt x="102" y="15459"/>
                    <a:pt x="92" y="15400"/>
                    <a:pt x="126" y="15299"/>
                  </a:cubicBezTo>
                  <a:cubicBezTo>
                    <a:pt x="156" y="15210"/>
                    <a:pt x="194" y="15129"/>
                    <a:pt x="227" y="15044"/>
                  </a:cubicBezTo>
                  <a:cubicBezTo>
                    <a:pt x="254" y="14979"/>
                    <a:pt x="235" y="14892"/>
                    <a:pt x="245" y="14861"/>
                  </a:cubicBezTo>
                  <a:cubicBezTo>
                    <a:pt x="252" y="14840"/>
                    <a:pt x="335" y="14872"/>
                    <a:pt x="332" y="14875"/>
                  </a:cubicBezTo>
                  <a:cubicBezTo>
                    <a:pt x="360" y="14845"/>
                    <a:pt x="438" y="14660"/>
                    <a:pt x="471" y="14583"/>
                  </a:cubicBezTo>
                  <a:cubicBezTo>
                    <a:pt x="500" y="14513"/>
                    <a:pt x="529" y="14441"/>
                    <a:pt x="559" y="14372"/>
                  </a:cubicBezTo>
                  <a:cubicBezTo>
                    <a:pt x="589" y="14303"/>
                    <a:pt x="780" y="13718"/>
                    <a:pt x="809" y="13632"/>
                  </a:cubicBezTo>
                  <a:cubicBezTo>
                    <a:pt x="848" y="13520"/>
                    <a:pt x="821" y="13410"/>
                    <a:pt x="828" y="13286"/>
                  </a:cubicBezTo>
                  <a:cubicBezTo>
                    <a:pt x="832" y="13203"/>
                    <a:pt x="799" y="12962"/>
                    <a:pt x="870" y="12857"/>
                  </a:cubicBezTo>
                  <a:cubicBezTo>
                    <a:pt x="874" y="12851"/>
                    <a:pt x="955" y="12780"/>
                    <a:pt x="941" y="12760"/>
                  </a:cubicBezTo>
                  <a:cubicBezTo>
                    <a:pt x="922" y="12735"/>
                    <a:pt x="905" y="12818"/>
                    <a:pt x="885" y="12803"/>
                  </a:cubicBezTo>
                  <a:cubicBezTo>
                    <a:pt x="892" y="12738"/>
                    <a:pt x="897" y="12662"/>
                    <a:pt x="913" y="12602"/>
                  </a:cubicBezTo>
                  <a:cubicBezTo>
                    <a:pt x="915" y="12595"/>
                    <a:pt x="932" y="12626"/>
                    <a:pt x="944" y="12612"/>
                  </a:cubicBezTo>
                  <a:cubicBezTo>
                    <a:pt x="967" y="12585"/>
                    <a:pt x="927" y="12552"/>
                    <a:pt x="984" y="12528"/>
                  </a:cubicBezTo>
                  <a:cubicBezTo>
                    <a:pt x="1000" y="12521"/>
                    <a:pt x="932" y="12500"/>
                    <a:pt x="956" y="12452"/>
                  </a:cubicBezTo>
                  <a:cubicBezTo>
                    <a:pt x="967" y="12429"/>
                    <a:pt x="974" y="12466"/>
                    <a:pt x="974" y="12466"/>
                  </a:cubicBezTo>
                  <a:cubicBezTo>
                    <a:pt x="990" y="12431"/>
                    <a:pt x="940" y="12334"/>
                    <a:pt x="971" y="12272"/>
                  </a:cubicBezTo>
                  <a:cubicBezTo>
                    <a:pt x="971" y="12279"/>
                    <a:pt x="1043" y="12206"/>
                    <a:pt x="1032" y="12206"/>
                  </a:cubicBezTo>
                  <a:cubicBezTo>
                    <a:pt x="1050" y="12206"/>
                    <a:pt x="1069" y="12136"/>
                    <a:pt x="1074" y="12137"/>
                  </a:cubicBezTo>
                  <a:cubicBezTo>
                    <a:pt x="1063" y="12148"/>
                    <a:pt x="1053" y="12157"/>
                    <a:pt x="1042" y="12165"/>
                  </a:cubicBezTo>
                  <a:cubicBezTo>
                    <a:pt x="1040" y="12145"/>
                    <a:pt x="1037" y="12127"/>
                    <a:pt x="1033" y="12108"/>
                  </a:cubicBezTo>
                  <a:cubicBezTo>
                    <a:pt x="1025" y="12123"/>
                    <a:pt x="1020" y="12140"/>
                    <a:pt x="1016" y="12160"/>
                  </a:cubicBezTo>
                  <a:cubicBezTo>
                    <a:pt x="1012" y="12154"/>
                    <a:pt x="941" y="12178"/>
                    <a:pt x="943" y="12193"/>
                  </a:cubicBezTo>
                  <a:cubicBezTo>
                    <a:pt x="934" y="12131"/>
                    <a:pt x="988" y="11974"/>
                    <a:pt x="1033" y="11965"/>
                  </a:cubicBezTo>
                  <a:cubicBezTo>
                    <a:pt x="1009" y="11962"/>
                    <a:pt x="986" y="11970"/>
                    <a:pt x="965" y="11991"/>
                  </a:cubicBezTo>
                  <a:cubicBezTo>
                    <a:pt x="967" y="11989"/>
                    <a:pt x="975" y="11798"/>
                    <a:pt x="966" y="11791"/>
                  </a:cubicBezTo>
                  <a:cubicBezTo>
                    <a:pt x="962" y="11787"/>
                    <a:pt x="926" y="11818"/>
                    <a:pt x="927" y="11796"/>
                  </a:cubicBezTo>
                  <a:cubicBezTo>
                    <a:pt x="929" y="11755"/>
                    <a:pt x="967" y="11642"/>
                    <a:pt x="1000" y="11620"/>
                  </a:cubicBezTo>
                  <a:cubicBezTo>
                    <a:pt x="994" y="11616"/>
                    <a:pt x="990" y="11612"/>
                    <a:pt x="991" y="11607"/>
                  </a:cubicBezTo>
                  <a:cubicBezTo>
                    <a:pt x="998" y="11590"/>
                    <a:pt x="1086" y="11576"/>
                    <a:pt x="1091" y="11588"/>
                  </a:cubicBezTo>
                  <a:cubicBezTo>
                    <a:pt x="1124" y="11660"/>
                    <a:pt x="1232" y="11554"/>
                    <a:pt x="1267" y="11529"/>
                  </a:cubicBezTo>
                  <a:cubicBezTo>
                    <a:pt x="1316" y="11497"/>
                    <a:pt x="1577" y="11318"/>
                    <a:pt x="1562" y="11456"/>
                  </a:cubicBezTo>
                  <a:cubicBezTo>
                    <a:pt x="1585" y="11439"/>
                    <a:pt x="1608" y="11427"/>
                    <a:pt x="1632" y="11417"/>
                  </a:cubicBezTo>
                  <a:cubicBezTo>
                    <a:pt x="1626" y="11434"/>
                    <a:pt x="1620" y="11453"/>
                    <a:pt x="1614" y="11471"/>
                  </a:cubicBezTo>
                  <a:cubicBezTo>
                    <a:pt x="1623" y="11467"/>
                    <a:pt x="1630" y="11462"/>
                    <a:pt x="1637" y="11454"/>
                  </a:cubicBezTo>
                  <a:cubicBezTo>
                    <a:pt x="1659" y="11469"/>
                    <a:pt x="1631" y="11516"/>
                    <a:pt x="1637" y="11520"/>
                  </a:cubicBezTo>
                  <a:cubicBezTo>
                    <a:pt x="1684" y="11553"/>
                    <a:pt x="1702" y="11512"/>
                    <a:pt x="1720" y="11654"/>
                  </a:cubicBezTo>
                  <a:cubicBezTo>
                    <a:pt x="1737" y="11782"/>
                    <a:pt x="1774" y="11701"/>
                    <a:pt x="1818" y="11760"/>
                  </a:cubicBezTo>
                  <a:cubicBezTo>
                    <a:pt x="1822" y="11767"/>
                    <a:pt x="1788" y="11823"/>
                    <a:pt x="1798" y="11830"/>
                  </a:cubicBezTo>
                  <a:cubicBezTo>
                    <a:pt x="1825" y="11848"/>
                    <a:pt x="1843" y="11771"/>
                    <a:pt x="1893" y="11807"/>
                  </a:cubicBezTo>
                  <a:cubicBezTo>
                    <a:pt x="1939" y="11840"/>
                    <a:pt x="1981" y="11887"/>
                    <a:pt x="2028" y="11917"/>
                  </a:cubicBezTo>
                  <a:cubicBezTo>
                    <a:pt x="2079" y="11952"/>
                    <a:pt x="2107" y="11942"/>
                    <a:pt x="2163" y="11989"/>
                  </a:cubicBezTo>
                  <a:cubicBezTo>
                    <a:pt x="2207" y="12025"/>
                    <a:pt x="2242" y="11889"/>
                    <a:pt x="2262" y="11982"/>
                  </a:cubicBezTo>
                  <a:cubicBezTo>
                    <a:pt x="2283" y="12082"/>
                    <a:pt x="2371" y="12093"/>
                    <a:pt x="2380" y="12146"/>
                  </a:cubicBezTo>
                  <a:cubicBezTo>
                    <a:pt x="2375" y="12158"/>
                    <a:pt x="2370" y="12172"/>
                    <a:pt x="2366" y="12186"/>
                  </a:cubicBezTo>
                  <a:cubicBezTo>
                    <a:pt x="2381" y="12222"/>
                    <a:pt x="2407" y="12151"/>
                    <a:pt x="2426" y="12215"/>
                  </a:cubicBezTo>
                  <a:cubicBezTo>
                    <a:pt x="2445" y="12280"/>
                    <a:pt x="2502" y="12322"/>
                    <a:pt x="2535" y="12354"/>
                  </a:cubicBezTo>
                  <a:cubicBezTo>
                    <a:pt x="2603" y="12422"/>
                    <a:pt x="2684" y="12525"/>
                    <a:pt x="2764" y="12530"/>
                  </a:cubicBezTo>
                  <a:cubicBezTo>
                    <a:pt x="2786" y="12532"/>
                    <a:pt x="2942" y="12548"/>
                    <a:pt x="2940" y="12553"/>
                  </a:cubicBezTo>
                  <a:cubicBezTo>
                    <a:pt x="2927" y="12564"/>
                    <a:pt x="2918" y="12580"/>
                    <a:pt x="2913" y="12602"/>
                  </a:cubicBezTo>
                  <a:cubicBezTo>
                    <a:pt x="2917" y="12607"/>
                    <a:pt x="3080" y="12488"/>
                    <a:pt x="3055" y="12636"/>
                  </a:cubicBezTo>
                  <a:cubicBezTo>
                    <a:pt x="3055" y="12636"/>
                    <a:pt x="2999" y="12669"/>
                    <a:pt x="3034" y="12689"/>
                  </a:cubicBezTo>
                  <a:cubicBezTo>
                    <a:pt x="3021" y="12682"/>
                    <a:pt x="3211" y="12812"/>
                    <a:pt x="3180" y="12854"/>
                  </a:cubicBezTo>
                  <a:cubicBezTo>
                    <a:pt x="3215" y="12806"/>
                    <a:pt x="3193" y="12753"/>
                    <a:pt x="3271" y="12777"/>
                  </a:cubicBezTo>
                  <a:cubicBezTo>
                    <a:pt x="3324" y="12794"/>
                    <a:pt x="3290" y="12826"/>
                    <a:pt x="3303" y="12869"/>
                  </a:cubicBezTo>
                  <a:cubicBezTo>
                    <a:pt x="3303" y="12854"/>
                    <a:pt x="3411" y="12998"/>
                    <a:pt x="3414" y="13001"/>
                  </a:cubicBezTo>
                  <a:cubicBezTo>
                    <a:pt x="3448" y="13046"/>
                    <a:pt x="3561" y="13103"/>
                    <a:pt x="3592" y="13046"/>
                  </a:cubicBezTo>
                  <a:cubicBezTo>
                    <a:pt x="3599" y="13033"/>
                    <a:pt x="3606" y="13032"/>
                    <a:pt x="3612" y="13028"/>
                  </a:cubicBezTo>
                  <a:cubicBezTo>
                    <a:pt x="3621" y="13024"/>
                    <a:pt x="3630" y="13020"/>
                    <a:pt x="3638" y="13025"/>
                  </a:cubicBezTo>
                  <a:cubicBezTo>
                    <a:pt x="3655" y="13034"/>
                    <a:pt x="3673" y="13054"/>
                    <a:pt x="3696" y="13040"/>
                  </a:cubicBezTo>
                  <a:cubicBezTo>
                    <a:pt x="3878" y="12928"/>
                    <a:pt x="3889" y="12270"/>
                    <a:pt x="3986" y="12025"/>
                  </a:cubicBezTo>
                  <a:cubicBezTo>
                    <a:pt x="4018" y="11966"/>
                    <a:pt x="4064" y="11334"/>
                    <a:pt x="4144" y="11334"/>
                  </a:cubicBezTo>
                  <a:cubicBezTo>
                    <a:pt x="4232" y="11334"/>
                    <a:pt x="4233" y="11469"/>
                    <a:pt x="4233" y="11615"/>
                  </a:cubicBezTo>
                  <a:cubicBezTo>
                    <a:pt x="4233" y="11632"/>
                    <a:pt x="4265" y="11918"/>
                    <a:pt x="4261" y="11916"/>
                  </a:cubicBezTo>
                  <a:cubicBezTo>
                    <a:pt x="4321" y="11946"/>
                    <a:pt x="4247" y="11655"/>
                    <a:pt x="4248" y="11644"/>
                  </a:cubicBezTo>
                  <a:cubicBezTo>
                    <a:pt x="4256" y="11491"/>
                    <a:pt x="4273" y="11388"/>
                    <a:pt x="4223" y="11253"/>
                  </a:cubicBezTo>
                  <a:cubicBezTo>
                    <a:pt x="4204" y="11203"/>
                    <a:pt x="4087" y="11050"/>
                    <a:pt x="4149" y="10992"/>
                  </a:cubicBezTo>
                  <a:cubicBezTo>
                    <a:pt x="4161" y="10980"/>
                    <a:pt x="4222" y="11105"/>
                    <a:pt x="4221" y="11107"/>
                  </a:cubicBezTo>
                  <a:cubicBezTo>
                    <a:pt x="4239" y="10990"/>
                    <a:pt x="4160" y="11034"/>
                    <a:pt x="4218" y="10928"/>
                  </a:cubicBezTo>
                  <a:cubicBezTo>
                    <a:pt x="4240" y="10887"/>
                    <a:pt x="4215" y="10851"/>
                    <a:pt x="4241" y="10812"/>
                  </a:cubicBezTo>
                  <a:cubicBezTo>
                    <a:pt x="4270" y="10769"/>
                    <a:pt x="4174" y="10677"/>
                    <a:pt x="4215" y="10631"/>
                  </a:cubicBezTo>
                  <a:cubicBezTo>
                    <a:pt x="4231" y="10613"/>
                    <a:pt x="4282" y="10478"/>
                    <a:pt x="4235" y="10517"/>
                  </a:cubicBezTo>
                  <a:cubicBezTo>
                    <a:pt x="4230" y="10537"/>
                    <a:pt x="4224" y="10556"/>
                    <a:pt x="4217" y="10573"/>
                  </a:cubicBezTo>
                  <a:cubicBezTo>
                    <a:pt x="4203" y="10453"/>
                    <a:pt x="4043" y="10356"/>
                    <a:pt x="4054" y="10247"/>
                  </a:cubicBezTo>
                  <a:cubicBezTo>
                    <a:pt x="4066" y="10127"/>
                    <a:pt x="3963" y="9932"/>
                    <a:pt x="3998" y="9852"/>
                  </a:cubicBezTo>
                  <a:cubicBezTo>
                    <a:pt x="4013" y="9818"/>
                    <a:pt x="4093" y="9769"/>
                    <a:pt x="4067" y="9702"/>
                  </a:cubicBezTo>
                  <a:cubicBezTo>
                    <a:pt x="4056" y="9676"/>
                    <a:pt x="4001" y="9647"/>
                    <a:pt x="4000" y="9615"/>
                  </a:cubicBezTo>
                  <a:cubicBezTo>
                    <a:pt x="4000" y="9607"/>
                    <a:pt x="4060" y="9485"/>
                    <a:pt x="4078" y="9493"/>
                  </a:cubicBezTo>
                  <a:cubicBezTo>
                    <a:pt x="4087" y="9497"/>
                    <a:pt x="4175" y="9647"/>
                    <a:pt x="4178" y="9631"/>
                  </a:cubicBezTo>
                  <a:cubicBezTo>
                    <a:pt x="4185" y="9587"/>
                    <a:pt x="4073" y="9455"/>
                    <a:pt x="4049" y="9464"/>
                  </a:cubicBezTo>
                  <a:cubicBezTo>
                    <a:pt x="4035" y="9469"/>
                    <a:pt x="4018" y="9539"/>
                    <a:pt x="3999" y="9517"/>
                  </a:cubicBezTo>
                  <a:cubicBezTo>
                    <a:pt x="3988" y="9504"/>
                    <a:pt x="3982" y="9434"/>
                    <a:pt x="3964" y="9439"/>
                  </a:cubicBezTo>
                  <a:cubicBezTo>
                    <a:pt x="3940" y="9446"/>
                    <a:pt x="3976" y="9535"/>
                    <a:pt x="3926" y="9411"/>
                  </a:cubicBezTo>
                  <a:cubicBezTo>
                    <a:pt x="3928" y="9416"/>
                    <a:pt x="3958" y="9462"/>
                    <a:pt x="3959" y="9430"/>
                  </a:cubicBezTo>
                  <a:cubicBezTo>
                    <a:pt x="3962" y="9350"/>
                    <a:pt x="3899" y="9442"/>
                    <a:pt x="3933" y="9334"/>
                  </a:cubicBezTo>
                  <a:cubicBezTo>
                    <a:pt x="3939" y="9313"/>
                    <a:pt x="3995" y="9351"/>
                    <a:pt x="3993" y="9335"/>
                  </a:cubicBezTo>
                  <a:cubicBezTo>
                    <a:pt x="3991" y="9328"/>
                    <a:pt x="3930" y="9224"/>
                    <a:pt x="3983" y="9240"/>
                  </a:cubicBezTo>
                  <a:cubicBezTo>
                    <a:pt x="3979" y="9232"/>
                    <a:pt x="3960" y="9209"/>
                    <a:pt x="3945" y="9199"/>
                  </a:cubicBezTo>
                  <a:cubicBezTo>
                    <a:pt x="3947" y="9198"/>
                    <a:pt x="3950" y="9196"/>
                    <a:pt x="3952" y="9194"/>
                  </a:cubicBezTo>
                  <a:cubicBezTo>
                    <a:pt x="3949" y="9194"/>
                    <a:pt x="3946" y="9195"/>
                    <a:pt x="3944" y="9199"/>
                  </a:cubicBezTo>
                  <a:cubicBezTo>
                    <a:pt x="3943" y="9198"/>
                    <a:pt x="3943" y="9197"/>
                    <a:pt x="3942" y="9197"/>
                  </a:cubicBezTo>
                  <a:cubicBezTo>
                    <a:pt x="3913" y="9216"/>
                    <a:pt x="3835" y="9195"/>
                    <a:pt x="3840" y="9116"/>
                  </a:cubicBezTo>
                  <a:cubicBezTo>
                    <a:pt x="3845" y="9168"/>
                    <a:pt x="3960" y="9089"/>
                    <a:pt x="3896" y="9053"/>
                  </a:cubicBezTo>
                  <a:cubicBezTo>
                    <a:pt x="3883" y="9068"/>
                    <a:pt x="3869" y="9082"/>
                    <a:pt x="3854" y="9093"/>
                  </a:cubicBezTo>
                  <a:cubicBezTo>
                    <a:pt x="3830" y="9065"/>
                    <a:pt x="3859" y="9032"/>
                    <a:pt x="3831" y="9015"/>
                  </a:cubicBezTo>
                  <a:cubicBezTo>
                    <a:pt x="3838" y="9019"/>
                    <a:pt x="3841" y="9089"/>
                    <a:pt x="3835" y="9099"/>
                  </a:cubicBezTo>
                  <a:cubicBezTo>
                    <a:pt x="3828" y="9087"/>
                    <a:pt x="3822" y="9073"/>
                    <a:pt x="3818" y="9057"/>
                  </a:cubicBezTo>
                  <a:cubicBezTo>
                    <a:pt x="3816" y="9067"/>
                    <a:pt x="3815" y="9077"/>
                    <a:pt x="3813" y="9086"/>
                  </a:cubicBezTo>
                  <a:cubicBezTo>
                    <a:pt x="3797" y="9077"/>
                    <a:pt x="3829" y="9022"/>
                    <a:pt x="3816" y="9019"/>
                  </a:cubicBezTo>
                  <a:cubicBezTo>
                    <a:pt x="3791" y="9012"/>
                    <a:pt x="3744" y="9124"/>
                    <a:pt x="3754" y="9150"/>
                  </a:cubicBezTo>
                  <a:cubicBezTo>
                    <a:pt x="3730" y="9089"/>
                    <a:pt x="3790" y="8943"/>
                    <a:pt x="3797" y="8898"/>
                  </a:cubicBezTo>
                  <a:cubicBezTo>
                    <a:pt x="3804" y="8859"/>
                    <a:pt x="3720" y="8845"/>
                    <a:pt x="3708" y="8862"/>
                  </a:cubicBezTo>
                  <a:cubicBezTo>
                    <a:pt x="3711" y="8869"/>
                    <a:pt x="3714" y="8877"/>
                    <a:pt x="3716" y="8883"/>
                  </a:cubicBezTo>
                  <a:cubicBezTo>
                    <a:pt x="3675" y="8922"/>
                    <a:pt x="3520" y="8568"/>
                    <a:pt x="3500" y="8558"/>
                  </a:cubicBezTo>
                  <a:cubicBezTo>
                    <a:pt x="3522" y="8572"/>
                    <a:pt x="3410" y="8728"/>
                    <a:pt x="3406" y="8615"/>
                  </a:cubicBezTo>
                  <a:cubicBezTo>
                    <a:pt x="3402" y="8532"/>
                    <a:pt x="3437" y="8495"/>
                    <a:pt x="3389" y="8404"/>
                  </a:cubicBezTo>
                  <a:cubicBezTo>
                    <a:pt x="3382" y="8390"/>
                    <a:pt x="3332" y="8352"/>
                    <a:pt x="3325" y="8335"/>
                  </a:cubicBezTo>
                  <a:cubicBezTo>
                    <a:pt x="3316" y="8311"/>
                    <a:pt x="3487" y="8374"/>
                    <a:pt x="3489" y="8322"/>
                  </a:cubicBezTo>
                  <a:cubicBezTo>
                    <a:pt x="3493" y="8184"/>
                    <a:pt x="3437" y="8226"/>
                    <a:pt x="3406" y="8254"/>
                  </a:cubicBezTo>
                  <a:cubicBezTo>
                    <a:pt x="3402" y="8258"/>
                    <a:pt x="3424" y="8046"/>
                    <a:pt x="3438" y="8110"/>
                  </a:cubicBezTo>
                  <a:cubicBezTo>
                    <a:pt x="3448" y="8152"/>
                    <a:pt x="3508" y="8262"/>
                    <a:pt x="3545" y="8208"/>
                  </a:cubicBezTo>
                  <a:cubicBezTo>
                    <a:pt x="3540" y="8215"/>
                    <a:pt x="3506" y="8182"/>
                    <a:pt x="3505" y="8168"/>
                  </a:cubicBezTo>
                  <a:cubicBezTo>
                    <a:pt x="3512" y="8159"/>
                    <a:pt x="3519" y="8153"/>
                    <a:pt x="3526" y="8148"/>
                  </a:cubicBezTo>
                  <a:cubicBezTo>
                    <a:pt x="3527" y="8144"/>
                    <a:pt x="3469" y="8141"/>
                    <a:pt x="3465" y="8127"/>
                  </a:cubicBezTo>
                  <a:cubicBezTo>
                    <a:pt x="3453" y="8082"/>
                    <a:pt x="3530" y="8088"/>
                    <a:pt x="3529" y="8068"/>
                  </a:cubicBezTo>
                  <a:cubicBezTo>
                    <a:pt x="3528" y="8042"/>
                    <a:pt x="3278" y="8168"/>
                    <a:pt x="3389" y="7898"/>
                  </a:cubicBezTo>
                  <a:cubicBezTo>
                    <a:pt x="3400" y="7872"/>
                    <a:pt x="3570" y="7855"/>
                    <a:pt x="3570" y="7853"/>
                  </a:cubicBezTo>
                  <a:cubicBezTo>
                    <a:pt x="3566" y="7869"/>
                    <a:pt x="3561" y="7884"/>
                    <a:pt x="3555" y="7897"/>
                  </a:cubicBezTo>
                  <a:cubicBezTo>
                    <a:pt x="3552" y="7910"/>
                    <a:pt x="3671" y="7861"/>
                    <a:pt x="3678" y="7863"/>
                  </a:cubicBezTo>
                  <a:cubicBezTo>
                    <a:pt x="3699" y="7870"/>
                    <a:pt x="3639" y="8005"/>
                    <a:pt x="3705" y="7978"/>
                  </a:cubicBezTo>
                  <a:cubicBezTo>
                    <a:pt x="3717" y="7972"/>
                    <a:pt x="3708" y="7838"/>
                    <a:pt x="3752" y="7919"/>
                  </a:cubicBezTo>
                  <a:cubicBezTo>
                    <a:pt x="3759" y="7930"/>
                    <a:pt x="3846" y="8012"/>
                    <a:pt x="3818" y="7946"/>
                  </a:cubicBezTo>
                  <a:cubicBezTo>
                    <a:pt x="3791" y="7882"/>
                    <a:pt x="3852" y="7839"/>
                    <a:pt x="3857" y="7856"/>
                  </a:cubicBezTo>
                  <a:cubicBezTo>
                    <a:pt x="3880" y="7934"/>
                    <a:pt x="3933" y="7866"/>
                    <a:pt x="3943" y="7890"/>
                  </a:cubicBezTo>
                  <a:cubicBezTo>
                    <a:pt x="3940" y="7906"/>
                    <a:pt x="3937" y="7922"/>
                    <a:pt x="3934" y="7938"/>
                  </a:cubicBezTo>
                  <a:cubicBezTo>
                    <a:pt x="3942" y="7919"/>
                    <a:pt x="3969" y="7886"/>
                    <a:pt x="3985" y="7915"/>
                  </a:cubicBezTo>
                  <a:cubicBezTo>
                    <a:pt x="3994" y="7932"/>
                    <a:pt x="3957" y="8012"/>
                    <a:pt x="3956" y="8012"/>
                  </a:cubicBezTo>
                  <a:cubicBezTo>
                    <a:pt x="3964" y="8016"/>
                    <a:pt x="3999" y="7964"/>
                    <a:pt x="3999" y="7972"/>
                  </a:cubicBezTo>
                  <a:cubicBezTo>
                    <a:pt x="3999" y="7998"/>
                    <a:pt x="4030" y="8267"/>
                    <a:pt x="4057" y="8314"/>
                  </a:cubicBezTo>
                  <a:cubicBezTo>
                    <a:pt x="4073" y="8344"/>
                    <a:pt x="4189" y="8219"/>
                    <a:pt x="4219" y="8325"/>
                  </a:cubicBezTo>
                  <a:cubicBezTo>
                    <a:pt x="4223" y="8338"/>
                    <a:pt x="4274" y="8245"/>
                    <a:pt x="4287" y="8311"/>
                  </a:cubicBezTo>
                  <a:cubicBezTo>
                    <a:pt x="4296" y="8220"/>
                    <a:pt x="4393" y="8295"/>
                    <a:pt x="4345" y="8345"/>
                  </a:cubicBezTo>
                  <a:cubicBezTo>
                    <a:pt x="4332" y="8358"/>
                    <a:pt x="4502" y="8437"/>
                    <a:pt x="4505" y="8432"/>
                  </a:cubicBezTo>
                  <a:cubicBezTo>
                    <a:pt x="4500" y="8441"/>
                    <a:pt x="4399" y="8143"/>
                    <a:pt x="4512" y="8064"/>
                  </a:cubicBezTo>
                  <a:cubicBezTo>
                    <a:pt x="4480" y="8086"/>
                    <a:pt x="4494" y="7868"/>
                    <a:pt x="4498" y="7811"/>
                  </a:cubicBezTo>
                  <a:cubicBezTo>
                    <a:pt x="4506" y="7682"/>
                    <a:pt x="4453" y="7677"/>
                    <a:pt x="4483" y="7518"/>
                  </a:cubicBezTo>
                  <a:cubicBezTo>
                    <a:pt x="4490" y="7482"/>
                    <a:pt x="4463" y="7352"/>
                    <a:pt x="4480" y="7349"/>
                  </a:cubicBezTo>
                  <a:cubicBezTo>
                    <a:pt x="4503" y="7347"/>
                    <a:pt x="4545" y="7467"/>
                    <a:pt x="4572" y="7481"/>
                  </a:cubicBezTo>
                  <a:cubicBezTo>
                    <a:pt x="4614" y="7504"/>
                    <a:pt x="4653" y="7427"/>
                    <a:pt x="4690" y="7496"/>
                  </a:cubicBezTo>
                  <a:cubicBezTo>
                    <a:pt x="4708" y="7528"/>
                    <a:pt x="4651" y="7617"/>
                    <a:pt x="4655" y="7670"/>
                  </a:cubicBezTo>
                  <a:cubicBezTo>
                    <a:pt x="4658" y="7725"/>
                    <a:pt x="4662" y="7792"/>
                    <a:pt x="4675" y="7843"/>
                  </a:cubicBezTo>
                  <a:cubicBezTo>
                    <a:pt x="4663" y="7798"/>
                    <a:pt x="4738" y="7801"/>
                    <a:pt x="4753" y="7820"/>
                  </a:cubicBezTo>
                  <a:cubicBezTo>
                    <a:pt x="4810" y="7892"/>
                    <a:pt x="4886" y="7912"/>
                    <a:pt x="4932" y="8011"/>
                  </a:cubicBezTo>
                  <a:cubicBezTo>
                    <a:pt x="4945" y="8041"/>
                    <a:pt x="5114" y="8020"/>
                    <a:pt x="5184" y="7993"/>
                  </a:cubicBezTo>
                  <a:cubicBezTo>
                    <a:pt x="5140" y="7989"/>
                    <a:pt x="5071" y="7909"/>
                    <a:pt x="5109" y="7800"/>
                  </a:cubicBezTo>
                  <a:cubicBezTo>
                    <a:pt x="5154" y="7674"/>
                    <a:pt x="5241" y="7672"/>
                    <a:pt x="5316" y="7666"/>
                  </a:cubicBezTo>
                  <a:cubicBezTo>
                    <a:pt x="5395" y="7659"/>
                    <a:pt x="5486" y="7675"/>
                    <a:pt x="5557" y="7599"/>
                  </a:cubicBezTo>
                  <a:cubicBezTo>
                    <a:pt x="5635" y="7515"/>
                    <a:pt x="5605" y="7486"/>
                    <a:pt x="5676" y="7518"/>
                  </a:cubicBezTo>
                  <a:cubicBezTo>
                    <a:pt x="5631" y="7497"/>
                    <a:pt x="5686" y="7323"/>
                    <a:pt x="5683" y="7345"/>
                  </a:cubicBezTo>
                  <a:cubicBezTo>
                    <a:pt x="5694" y="7266"/>
                    <a:pt x="5706" y="7103"/>
                    <a:pt x="5718" y="6990"/>
                  </a:cubicBezTo>
                  <a:cubicBezTo>
                    <a:pt x="5741" y="6777"/>
                    <a:pt x="5880" y="6815"/>
                    <a:pt x="5974" y="6833"/>
                  </a:cubicBezTo>
                  <a:cubicBezTo>
                    <a:pt x="6100" y="6858"/>
                    <a:pt x="6191" y="6734"/>
                    <a:pt x="6308" y="6674"/>
                  </a:cubicBezTo>
                  <a:cubicBezTo>
                    <a:pt x="6423" y="6616"/>
                    <a:pt x="6446" y="6798"/>
                    <a:pt x="6543" y="6771"/>
                  </a:cubicBezTo>
                  <a:cubicBezTo>
                    <a:pt x="6541" y="6772"/>
                    <a:pt x="6526" y="6746"/>
                    <a:pt x="6546" y="6728"/>
                  </a:cubicBezTo>
                  <a:cubicBezTo>
                    <a:pt x="6565" y="6711"/>
                    <a:pt x="6637" y="6852"/>
                    <a:pt x="6642" y="6877"/>
                  </a:cubicBezTo>
                  <a:cubicBezTo>
                    <a:pt x="6613" y="6729"/>
                    <a:pt x="6633" y="6803"/>
                    <a:pt x="6578" y="6725"/>
                  </a:cubicBezTo>
                  <a:cubicBezTo>
                    <a:pt x="6526" y="6650"/>
                    <a:pt x="6554" y="6721"/>
                    <a:pt x="6517" y="6724"/>
                  </a:cubicBezTo>
                  <a:cubicBezTo>
                    <a:pt x="6493" y="6725"/>
                    <a:pt x="6384" y="6568"/>
                    <a:pt x="6390" y="6539"/>
                  </a:cubicBezTo>
                  <a:cubicBezTo>
                    <a:pt x="6428" y="6358"/>
                    <a:pt x="6568" y="6644"/>
                    <a:pt x="6590" y="6687"/>
                  </a:cubicBezTo>
                  <a:cubicBezTo>
                    <a:pt x="6697" y="6889"/>
                    <a:pt x="6577" y="6515"/>
                    <a:pt x="6571" y="6564"/>
                  </a:cubicBezTo>
                  <a:cubicBezTo>
                    <a:pt x="6579" y="6495"/>
                    <a:pt x="6625" y="6586"/>
                    <a:pt x="6640" y="6580"/>
                  </a:cubicBezTo>
                  <a:cubicBezTo>
                    <a:pt x="6659" y="6573"/>
                    <a:pt x="6546" y="6495"/>
                    <a:pt x="6548" y="6503"/>
                  </a:cubicBezTo>
                  <a:cubicBezTo>
                    <a:pt x="6529" y="6398"/>
                    <a:pt x="6521" y="6487"/>
                    <a:pt x="6489" y="6452"/>
                  </a:cubicBezTo>
                  <a:cubicBezTo>
                    <a:pt x="6460" y="6422"/>
                    <a:pt x="6625" y="6277"/>
                    <a:pt x="6624" y="6348"/>
                  </a:cubicBezTo>
                  <a:cubicBezTo>
                    <a:pt x="6626" y="6151"/>
                    <a:pt x="6655" y="6232"/>
                    <a:pt x="6741" y="6090"/>
                  </a:cubicBezTo>
                  <a:cubicBezTo>
                    <a:pt x="6798" y="5996"/>
                    <a:pt x="6847" y="5879"/>
                    <a:pt x="6869" y="5745"/>
                  </a:cubicBezTo>
                  <a:cubicBezTo>
                    <a:pt x="6874" y="5718"/>
                    <a:pt x="6938" y="5315"/>
                    <a:pt x="6971" y="5406"/>
                  </a:cubicBezTo>
                  <a:cubicBezTo>
                    <a:pt x="7002" y="5495"/>
                    <a:pt x="7009" y="5477"/>
                    <a:pt x="7063" y="5434"/>
                  </a:cubicBezTo>
                  <a:cubicBezTo>
                    <a:pt x="7064" y="5469"/>
                    <a:pt x="7059" y="5503"/>
                    <a:pt x="7063" y="5534"/>
                  </a:cubicBezTo>
                  <a:cubicBezTo>
                    <a:pt x="7068" y="5584"/>
                    <a:pt x="7103" y="5547"/>
                    <a:pt x="7112" y="5581"/>
                  </a:cubicBezTo>
                  <a:cubicBezTo>
                    <a:pt x="7141" y="5685"/>
                    <a:pt x="7021" y="5642"/>
                    <a:pt x="7018" y="5680"/>
                  </a:cubicBezTo>
                  <a:cubicBezTo>
                    <a:pt x="7014" y="5737"/>
                    <a:pt x="7029" y="5854"/>
                    <a:pt x="7012" y="5902"/>
                  </a:cubicBezTo>
                  <a:cubicBezTo>
                    <a:pt x="6997" y="5909"/>
                    <a:pt x="6983" y="5922"/>
                    <a:pt x="6971" y="5939"/>
                  </a:cubicBezTo>
                  <a:cubicBezTo>
                    <a:pt x="6969" y="5964"/>
                    <a:pt x="7102" y="6126"/>
                    <a:pt x="7112" y="6130"/>
                  </a:cubicBezTo>
                  <a:cubicBezTo>
                    <a:pt x="7152" y="6145"/>
                    <a:pt x="7227" y="5987"/>
                    <a:pt x="7250" y="5932"/>
                  </a:cubicBezTo>
                  <a:cubicBezTo>
                    <a:pt x="7318" y="5769"/>
                    <a:pt x="7206" y="5840"/>
                    <a:pt x="7197" y="5733"/>
                  </a:cubicBezTo>
                  <a:cubicBezTo>
                    <a:pt x="7193" y="5692"/>
                    <a:pt x="7240" y="5508"/>
                    <a:pt x="7247" y="5538"/>
                  </a:cubicBezTo>
                  <a:cubicBezTo>
                    <a:pt x="7221" y="5383"/>
                    <a:pt x="7119" y="5588"/>
                    <a:pt x="7156" y="5325"/>
                  </a:cubicBezTo>
                  <a:cubicBezTo>
                    <a:pt x="7184" y="5266"/>
                    <a:pt x="7207" y="5201"/>
                    <a:pt x="7259" y="5173"/>
                  </a:cubicBezTo>
                  <a:cubicBezTo>
                    <a:pt x="7356" y="5120"/>
                    <a:pt x="7457" y="5186"/>
                    <a:pt x="7556" y="5158"/>
                  </a:cubicBezTo>
                  <a:cubicBezTo>
                    <a:pt x="7616" y="5142"/>
                    <a:pt x="7626" y="5173"/>
                    <a:pt x="7634" y="5266"/>
                  </a:cubicBezTo>
                  <a:cubicBezTo>
                    <a:pt x="7640" y="5348"/>
                    <a:pt x="7675" y="5291"/>
                    <a:pt x="7685" y="5341"/>
                  </a:cubicBezTo>
                  <a:cubicBezTo>
                    <a:pt x="7704" y="5432"/>
                    <a:pt x="7707" y="5391"/>
                    <a:pt x="7734" y="5373"/>
                  </a:cubicBezTo>
                  <a:cubicBezTo>
                    <a:pt x="7743" y="5367"/>
                    <a:pt x="7747" y="5360"/>
                    <a:pt x="7733" y="5351"/>
                  </a:cubicBezTo>
                  <a:cubicBezTo>
                    <a:pt x="7702" y="5333"/>
                    <a:pt x="7668" y="5301"/>
                    <a:pt x="7669" y="5253"/>
                  </a:cubicBezTo>
                  <a:cubicBezTo>
                    <a:pt x="7670" y="5181"/>
                    <a:pt x="7737" y="5169"/>
                    <a:pt x="7727" y="5102"/>
                  </a:cubicBezTo>
                  <a:cubicBezTo>
                    <a:pt x="7707" y="4965"/>
                    <a:pt x="7917" y="5038"/>
                    <a:pt x="7943" y="5043"/>
                  </a:cubicBezTo>
                  <a:cubicBezTo>
                    <a:pt x="8016" y="5059"/>
                    <a:pt x="8048" y="5177"/>
                    <a:pt x="7998" y="5250"/>
                  </a:cubicBezTo>
                  <a:cubicBezTo>
                    <a:pt x="7974" y="5284"/>
                    <a:pt x="8048" y="5399"/>
                    <a:pt x="8062" y="5342"/>
                  </a:cubicBezTo>
                  <a:cubicBezTo>
                    <a:pt x="8068" y="5320"/>
                    <a:pt x="8049" y="5143"/>
                    <a:pt x="8072" y="5145"/>
                  </a:cubicBezTo>
                  <a:cubicBezTo>
                    <a:pt x="8093" y="5146"/>
                    <a:pt x="8146" y="5240"/>
                    <a:pt x="8147" y="5272"/>
                  </a:cubicBezTo>
                  <a:cubicBezTo>
                    <a:pt x="8176" y="5208"/>
                    <a:pt x="8128" y="5053"/>
                    <a:pt x="8191" y="4951"/>
                  </a:cubicBezTo>
                  <a:cubicBezTo>
                    <a:pt x="8182" y="4965"/>
                    <a:pt x="8374" y="5003"/>
                    <a:pt x="8388" y="5014"/>
                  </a:cubicBezTo>
                  <a:cubicBezTo>
                    <a:pt x="8357" y="4984"/>
                    <a:pt x="8320" y="4980"/>
                    <a:pt x="8292" y="4942"/>
                  </a:cubicBezTo>
                  <a:cubicBezTo>
                    <a:pt x="8282" y="4929"/>
                    <a:pt x="8254" y="4799"/>
                    <a:pt x="8277" y="4814"/>
                  </a:cubicBezTo>
                  <a:cubicBezTo>
                    <a:pt x="8346" y="4858"/>
                    <a:pt x="8321" y="4743"/>
                    <a:pt x="8313" y="4745"/>
                  </a:cubicBezTo>
                  <a:cubicBezTo>
                    <a:pt x="8216" y="4763"/>
                    <a:pt x="8336" y="4599"/>
                    <a:pt x="8332" y="4580"/>
                  </a:cubicBezTo>
                  <a:cubicBezTo>
                    <a:pt x="8331" y="4574"/>
                    <a:pt x="8187" y="4619"/>
                    <a:pt x="8226" y="4534"/>
                  </a:cubicBezTo>
                  <a:cubicBezTo>
                    <a:pt x="8236" y="4532"/>
                    <a:pt x="8246" y="4530"/>
                    <a:pt x="8256" y="4527"/>
                  </a:cubicBezTo>
                  <a:cubicBezTo>
                    <a:pt x="8251" y="4510"/>
                    <a:pt x="8246" y="4493"/>
                    <a:pt x="8241" y="4476"/>
                  </a:cubicBezTo>
                  <a:cubicBezTo>
                    <a:pt x="8305" y="4440"/>
                    <a:pt x="8428" y="4478"/>
                    <a:pt x="8311" y="4308"/>
                  </a:cubicBezTo>
                  <a:cubicBezTo>
                    <a:pt x="8321" y="4324"/>
                    <a:pt x="8321" y="4226"/>
                    <a:pt x="8300" y="4204"/>
                  </a:cubicBezTo>
                  <a:cubicBezTo>
                    <a:pt x="8261" y="4161"/>
                    <a:pt x="8283" y="4039"/>
                    <a:pt x="8287" y="3973"/>
                  </a:cubicBezTo>
                  <a:cubicBezTo>
                    <a:pt x="8296" y="3856"/>
                    <a:pt x="8315" y="3755"/>
                    <a:pt x="8323" y="3636"/>
                  </a:cubicBezTo>
                  <a:cubicBezTo>
                    <a:pt x="8337" y="3436"/>
                    <a:pt x="8216" y="3527"/>
                    <a:pt x="8178" y="3380"/>
                  </a:cubicBezTo>
                  <a:cubicBezTo>
                    <a:pt x="8181" y="3393"/>
                    <a:pt x="8210" y="3193"/>
                    <a:pt x="8224" y="3080"/>
                  </a:cubicBezTo>
                  <a:cubicBezTo>
                    <a:pt x="8240" y="3146"/>
                    <a:pt x="8302" y="3189"/>
                    <a:pt x="8295" y="3031"/>
                  </a:cubicBezTo>
                  <a:cubicBezTo>
                    <a:pt x="8290" y="2921"/>
                    <a:pt x="8233" y="2877"/>
                    <a:pt x="8222" y="2928"/>
                  </a:cubicBezTo>
                  <a:cubicBezTo>
                    <a:pt x="8224" y="2838"/>
                    <a:pt x="8242" y="2693"/>
                    <a:pt x="8256" y="2653"/>
                  </a:cubicBezTo>
                  <a:cubicBezTo>
                    <a:pt x="8272" y="2674"/>
                    <a:pt x="8290" y="2690"/>
                    <a:pt x="8309" y="2700"/>
                  </a:cubicBezTo>
                  <a:cubicBezTo>
                    <a:pt x="8313" y="2701"/>
                    <a:pt x="8268" y="2618"/>
                    <a:pt x="8279" y="2613"/>
                  </a:cubicBezTo>
                  <a:cubicBezTo>
                    <a:pt x="8285" y="2621"/>
                    <a:pt x="8290" y="2628"/>
                    <a:pt x="8296" y="2634"/>
                  </a:cubicBezTo>
                  <a:cubicBezTo>
                    <a:pt x="8293" y="2603"/>
                    <a:pt x="8283" y="2590"/>
                    <a:pt x="8267" y="2594"/>
                  </a:cubicBezTo>
                  <a:cubicBezTo>
                    <a:pt x="8266" y="2610"/>
                    <a:pt x="8263" y="2625"/>
                    <a:pt x="8258" y="2638"/>
                  </a:cubicBezTo>
                  <a:cubicBezTo>
                    <a:pt x="8219" y="2579"/>
                    <a:pt x="8318" y="2394"/>
                    <a:pt x="8317" y="2359"/>
                  </a:cubicBezTo>
                  <a:cubicBezTo>
                    <a:pt x="8318" y="2510"/>
                    <a:pt x="8453" y="2573"/>
                    <a:pt x="8502" y="2412"/>
                  </a:cubicBezTo>
                  <a:cubicBezTo>
                    <a:pt x="8504" y="2406"/>
                    <a:pt x="8547" y="2195"/>
                    <a:pt x="8574" y="2343"/>
                  </a:cubicBezTo>
                  <a:cubicBezTo>
                    <a:pt x="8587" y="2417"/>
                    <a:pt x="8523" y="2469"/>
                    <a:pt x="8538" y="2546"/>
                  </a:cubicBezTo>
                  <a:cubicBezTo>
                    <a:pt x="8553" y="2623"/>
                    <a:pt x="8589" y="2463"/>
                    <a:pt x="8611" y="2504"/>
                  </a:cubicBezTo>
                  <a:cubicBezTo>
                    <a:pt x="8633" y="2407"/>
                    <a:pt x="8597" y="2474"/>
                    <a:pt x="8575" y="2447"/>
                  </a:cubicBezTo>
                  <a:cubicBezTo>
                    <a:pt x="8591" y="2468"/>
                    <a:pt x="8604" y="2220"/>
                    <a:pt x="8614" y="2207"/>
                  </a:cubicBezTo>
                  <a:cubicBezTo>
                    <a:pt x="8626" y="2190"/>
                    <a:pt x="8741" y="2117"/>
                    <a:pt x="8712" y="2211"/>
                  </a:cubicBezTo>
                  <a:cubicBezTo>
                    <a:pt x="8763" y="2112"/>
                    <a:pt x="8824" y="2139"/>
                    <a:pt x="8875" y="2209"/>
                  </a:cubicBezTo>
                  <a:cubicBezTo>
                    <a:pt x="8864" y="2180"/>
                    <a:pt x="8800" y="2102"/>
                    <a:pt x="8779" y="2096"/>
                  </a:cubicBezTo>
                  <a:cubicBezTo>
                    <a:pt x="8796" y="2100"/>
                    <a:pt x="8481" y="2160"/>
                    <a:pt x="8501" y="2115"/>
                  </a:cubicBezTo>
                  <a:cubicBezTo>
                    <a:pt x="8479" y="2165"/>
                    <a:pt x="8447" y="2207"/>
                    <a:pt x="8411" y="2259"/>
                  </a:cubicBezTo>
                  <a:cubicBezTo>
                    <a:pt x="8373" y="2315"/>
                    <a:pt x="8418" y="2336"/>
                    <a:pt x="8372" y="2390"/>
                  </a:cubicBezTo>
                  <a:cubicBezTo>
                    <a:pt x="8409" y="2346"/>
                    <a:pt x="8433" y="2472"/>
                    <a:pt x="8396" y="2491"/>
                  </a:cubicBezTo>
                  <a:cubicBezTo>
                    <a:pt x="8390" y="2494"/>
                    <a:pt x="8343" y="2319"/>
                    <a:pt x="8342" y="2303"/>
                  </a:cubicBezTo>
                  <a:cubicBezTo>
                    <a:pt x="8333" y="2209"/>
                    <a:pt x="8348" y="2185"/>
                    <a:pt x="8384" y="2112"/>
                  </a:cubicBezTo>
                  <a:cubicBezTo>
                    <a:pt x="8425" y="2028"/>
                    <a:pt x="8534" y="1952"/>
                    <a:pt x="8595" y="2007"/>
                  </a:cubicBezTo>
                  <a:cubicBezTo>
                    <a:pt x="8723" y="2122"/>
                    <a:pt x="8754" y="1803"/>
                    <a:pt x="8836" y="1719"/>
                  </a:cubicBezTo>
                  <a:cubicBezTo>
                    <a:pt x="8844" y="1711"/>
                    <a:pt x="9056" y="1563"/>
                    <a:pt x="9052" y="1559"/>
                  </a:cubicBezTo>
                  <a:cubicBezTo>
                    <a:pt x="9077" y="1587"/>
                    <a:pt x="8992" y="1671"/>
                    <a:pt x="8988" y="1697"/>
                  </a:cubicBezTo>
                  <a:cubicBezTo>
                    <a:pt x="8977" y="1767"/>
                    <a:pt x="9020" y="1801"/>
                    <a:pt x="9011" y="1871"/>
                  </a:cubicBezTo>
                  <a:cubicBezTo>
                    <a:pt x="9000" y="1947"/>
                    <a:pt x="8963" y="2265"/>
                    <a:pt x="8901" y="2243"/>
                  </a:cubicBezTo>
                  <a:cubicBezTo>
                    <a:pt x="8905" y="2249"/>
                    <a:pt x="8892" y="2406"/>
                    <a:pt x="8890" y="2478"/>
                  </a:cubicBezTo>
                  <a:cubicBezTo>
                    <a:pt x="8888" y="2479"/>
                    <a:pt x="8886" y="2490"/>
                    <a:pt x="8890" y="2493"/>
                  </a:cubicBezTo>
                  <a:cubicBezTo>
                    <a:pt x="8890" y="2505"/>
                    <a:pt x="8890" y="2513"/>
                    <a:pt x="8892" y="2513"/>
                  </a:cubicBezTo>
                  <a:cubicBezTo>
                    <a:pt x="8889" y="2512"/>
                    <a:pt x="8904" y="2581"/>
                    <a:pt x="8885" y="2607"/>
                  </a:cubicBezTo>
                  <a:cubicBezTo>
                    <a:pt x="8913" y="2596"/>
                    <a:pt x="8909" y="2712"/>
                    <a:pt x="8960" y="2693"/>
                  </a:cubicBezTo>
                  <a:cubicBezTo>
                    <a:pt x="9000" y="2677"/>
                    <a:pt x="9041" y="2673"/>
                    <a:pt x="9051" y="2769"/>
                  </a:cubicBezTo>
                  <a:cubicBezTo>
                    <a:pt x="9055" y="2803"/>
                    <a:pt x="8964" y="3043"/>
                    <a:pt x="8966" y="3043"/>
                  </a:cubicBezTo>
                  <a:cubicBezTo>
                    <a:pt x="8951" y="3039"/>
                    <a:pt x="8963" y="2954"/>
                    <a:pt x="8948" y="2961"/>
                  </a:cubicBezTo>
                  <a:cubicBezTo>
                    <a:pt x="8925" y="2972"/>
                    <a:pt x="8925" y="3048"/>
                    <a:pt x="8906" y="3056"/>
                  </a:cubicBezTo>
                  <a:cubicBezTo>
                    <a:pt x="8889" y="3063"/>
                    <a:pt x="8908" y="2996"/>
                    <a:pt x="8912" y="2999"/>
                  </a:cubicBezTo>
                  <a:cubicBezTo>
                    <a:pt x="8904" y="2992"/>
                    <a:pt x="8867" y="3029"/>
                    <a:pt x="8870" y="2987"/>
                  </a:cubicBezTo>
                  <a:cubicBezTo>
                    <a:pt x="8872" y="2943"/>
                    <a:pt x="8911" y="2932"/>
                    <a:pt x="8922" y="2898"/>
                  </a:cubicBezTo>
                  <a:cubicBezTo>
                    <a:pt x="8926" y="2884"/>
                    <a:pt x="8859" y="2910"/>
                    <a:pt x="8846" y="2956"/>
                  </a:cubicBezTo>
                  <a:cubicBezTo>
                    <a:pt x="8833" y="3001"/>
                    <a:pt x="8822" y="3067"/>
                    <a:pt x="8826" y="3119"/>
                  </a:cubicBezTo>
                  <a:cubicBezTo>
                    <a:pt x="8825" y="3103"/>
                    <a:pt x="8812" y="3286"/>
                    <a:pt x="8799" y="3283"/>
                  </a:cubicBezTo>
                  <a:cubicBezTo>
                    <a:pt x="8767" y="3275"/>
                    <a:pt x="8766" y="3218"/>
                    <a:pt x="8710" y="3248"/>
                  </a:cubicBezTo>
                  <a:cubicBezTo>
                    <a:pt x="8766" y="3218"/>
                    <a:pt x="8744" y="3331"/>
                    <a:pt x="8745" y="3372"/>
                  </a:cubicBezTo>
                  <a:cubicBezTo>
                    <a:pt x="8747" y="3456"/>
                    <a:pt x="8637" y="3357"/>
                    <a:pt x="8612" y="3358"/>
                  </a:cubicBezTo>
                  <a:cubicBezTo>
                    <a:pt x="8610" y="3358"/>
                    <a:pt x="8609" y="3358"/>
                    <a:pt x="8608" y="3359"/>
                  </a:cubicBezTo>
                  <a:cubicBezTo>
                    <a:pt x="8609" y="3358"/>
                    <a:pt x="8610" y="3358"/>
                    <a:pt x="8612" y="3358"/>
                  </a:cubicBezTo>
                  <a:cubicBezTo>
                    <a:pt x="8632" y="3360"/>
                    <a:pt x="8686" y="3485"/>
                    <a:pt x="8688" y="3458"/>
                  </a:cubicBezTo>
                  <a:cubicBezTo>
                    <a:pt x="8680" y="3550"/>
                    <a:pt x="8606" y="3496"/>
                    <a:pt x="8579" y="3539"/>
                  </a:cubicBezTo>
                  <a:cubicBezTo>
                    <a:pt x="8571" y="3551"/>
                    <a:pt x="8628" y="3566"/>
                    <a:pt x="8624" y="3582"/>
                  </a:cubicBezTo>
                  <a:cubicBezTo>
                    <a:pt x="8613" y="3628"/>
                    <a:pt x="8606" y="3832"/>
                    <a:pt x="8603" y="3834"/>
                  </a:cubicBezTo>
                  <a:cubicBezTo>
                    <a:pt x="8574" y="3856"/>
                    <a:pt x="8520" y="3905"/>
                    <a:pt x="8524" y="3961"/>
                  </a:cubicBezTo>
                  <a:cubicBezTo>
                    <a:pt x="8526" y="3980"/>
                    <a:pt x="8653" y="4005"/>
                    <a:pt x="8610" y="4123"/>
                  </a:cubicBezTo>
                  <a:cubicBezTo>
                    <a:pt x="8600" y="4148"/>
                    <a:pt x="8579" y="4042"/>
                    <a:pt x="8557" y="4078"/>
                  </a:cubicBezTo>
                  <a:cubicBezTo>
                    <a:pt x="8550" y="4090"/>
                    <a:pt x="8536" y="4129"/>
                    <a:pt x="8524" y="4154"/>
                  </a:cubicBezTo>
                  <a:cubicBezTo>
                    <a:pt x="8534" y="4141"/>
                    <a:pt x="8543" y="4130"/>
                    <a:pt x="8555" y="4124"/>
                  </a:cubicBezTo>
                  <a:cubicBezTo>
                    <a:pt x="8562" y="4132"/>
                    <a:pt x="8589" y="4211"/>
                    <a:pt x="8617" y="4240"/>
                  </a:cubicBezTo>
                  <a:cubicBezTo>
                    <a:pt x="8647" y="4270"/>
                    <a:pt x="8670" y="4198"/>
                    <a:pt x="8670" y="4309"/>
                  </a:cubicBezTo>
                  <a:cubicBezTo>
                    <a:pt x="8670" y="4299"/>
                    <a:pt x="8636" y="4316"/>
                    <a:pt x="8643" y="4333"/>
                  </a:cubicBezTo>
                  <a:cubicBezTo>
                    <a:pt x="8663" y="4391"/>
                    <a:pt x="8694" y="4334"/>
                    <a:pt x="8664" y="4448"/>
                  </a:cubicBezTo>
                  <a:cubicBezTo>
                    <a:pt x="8661" y="4456"/>
                    <a:pt x="8589" y="4502"/>
                    <a:pt x="8606" y="4515"/>
                  </a:cubicBezTo>
                  <a:cubicBezTo>
                    <a:pt x="8626" y="4530"/>
                    <a:pt x="8696" y="4490"/>
                    <a:pt x="8707" y="4536"/>
                  </a:cubicBezTo>
                  <a:cubicBezTo>
                    <a:pt x="8724" y="4610"/>
                    <a:pt x="8658" y="4605"/>
                    <a:pt x="8682" y="4670"/>
                  </a:cubicBezTo>
                  <a:cubicBezTo>
                    <a:pt x="8675" y="4652"/>
                    <a:pt x="8727" y="4572"/>
                    <a:pt x="8744" y="4576"/>
                  </a:cubicBezTo>
                  <a:cubicBezTo>
                    <a:pt x="8774" y="4583"/>
                    <a:pt x="8805" y="4644"/>
                    <a:pt x="8826" y="4678"/>
                  </a:cubicBezTo>
                  <a:cubicBezTo>
                    <a:pt x="8864" y="4738"/>
                    <a:pt x="8969" y="4643"/>
                    <a:pt x="8977" y="4676"/>
                  </a:cubicBezTo>
                  <a:cubicBezTo>
                    <a:pt x="8974" y="4663"/>
                    <a:pt x="8949" y="4861"/>
                    <a:pt x="8939" y="4871"/>
                  </a:cubicBezTo>
                  <a:cubicBezTo>
                    <a:pt x="8916" y="4896"/>
                    <a:pt x="8810" y="4918"/>
                    <a:pt x="8848" y="5004"/>
                  </a:cubicBezTo>
                  <a:cubicBezTo>
                    <a:pt x="8891" y="5101"/>
                    <a:pt x="8953" y="4948"/>
                    <a:pt x="8971" y="5047"/>
                  </a:cubicBezTo>
                  <a:cubicBezTo>
                    <a:pt x="8975" y="5068"/>
                    <a:pt x="9025" y="5140"/>
                    <a:pt x="9041" y="5140"/>
                  </a:cubicBezTo>
                  <a:cubicBezTo>
                    <a:pt x="9050" y="5139"/>
                    <a:pt x="9092" y="4985"/>
                    <a:pt x="9096" y="4976"/>
                  </a:cubicBezTo>
                  <a:cubicBezTo>
                    <a:pt x="9131" y="4897"/>
                    <a:pt x="9152" y="4936"/>
                    <a:pt x="9206" y="4925"/>
                  </a:cubicBezTo>
                  <a:cubicBezTo>
                    <a:pt x="9233" y="4921"/>
                    <a:pt x="9271" y="4914"/>
                    <a:pt x="9252" y="4996"/>
                  </a:cubicBezTo>
                  <a:cubicBezTo>
                    <a:pt x="9267" y="4931"/>
                    <a:pt x="9348" y="4688"/>
                    <a:pt x="9397" y="4668"/>
                  </a:cubicBezTo>
                  <a:cubicBezTo>
                    <a:pt x="9382" y="4674"/>
                    <a:pt x="9527" y="4733"/>
                    <a:pt x="9507" y="4749"/>
                  </a:cubicBezTo>
                  <a:cubicBezTo>
                    <a:pt x="9506" y="4750"/>
                    <a:pt x="9468" y="4801"/>
                    <a:pt x="9474" y="4805"/>
                  </a:cubicBezTo>
                  <a:cubicBezTo>
                    <a:pt x="9493" y="4819"/>
                    <a:pt x="9549" y="4657"/>
                    <a:pt x="9554" y="4783"/>
                  </a:cubicBezTo>
                  <a:cubicBezTo>
                    <a:pt x="9557" y="4876"/>
                    <a:pt x="9584" y="4878"/>
                    <a:pt x="9600" y="4957"/>
                  </a:cubicBezTo>
                  <a:cubicBezTo>
                    <a:pt x="9602" y="4966"/>
                    <a:pt x="9672" y="5076"/>
                    <a:pt x="9664" y="5085"/>
                  </a:cubicBezTo>
                  <a:cubicBezTo>
                    <a:pt x="9763" y="4959"/>
                    <a:pt x="9712" y="5120"/>
                    <a:pt x="9769" y="5211"/>
                  </a:cubicBezTo>
                  <a:cubicBezTo>
                    <a:pt x="9819" y="5293"/>
                    <a:pt x="9711" y="5256"/>
                    <a:pt x="9766" y="5360"/>
                  </a:cubicBezTo>
                  <a:cubicBezTo>
                    <a:pt x="9784" y="5395"/>
                    <a:pt x="9878" y="5425"/>
                    <a:pt x="9884" y="5454"/>
                  </a:cubicBezTo>
                  <a:cubicBezTo>
                    <a:pt x="9879" y="5463"/>
                    <a:pt x="9966" y="5551"/>
                    <a:pt x="9975" y="5578"/>
                  </a:cubicBezTo>
                  <a:cubicBezTo>
                    <a:pt x="9982" y="5573"/>
                    <a:pt x="9963" y="5451"/>
                    <a:pt x="9975" y="5387"/>
                  </a:cubicBezTo>
                  <a:cubicBezTo>
                    <a:pt x="9967" y="5366"/>
                    <a:pt x="9938" y="5295"/>
                    <a:pt x="9936" y="5290"/>
                  </a:cubicBezTo>
                  <a:cubicBezTo>
                    <a:pt x="9930" y="5276"/>
                    <a:pt x="9910" y="5387"/>
                    <a:pt x="9907" y="5384"/>
                  </a:cubicBezTo>
                  <a:cubicBezTo>
                    <a:pt x="9825" y="5284"/>
                    <a:pt x="9890" y="5288"/>
                    <a:pt x="9932" y="5279"/>
                  </a:cubicBezTo>
                  <a:cubicBezTo>
                    <a:pt x="9982" y="5268"/>
                    <a:pt x="10045" y="5184"/>
                    <a:pt x="10097" y="5158"/>
                  </a:cubicBezTo>
                  <a:cubicBezTo>
                    <a:pt x="10233" y="5092"/>
                    <a:pt x="10468" y="5094"/>
                    <a:pt x="10542" y="4868"/>
                  </a:cubicBezTo>
                  <a:cubicBezTo>
                    <a:pt x="10588" y="4729"/>
                    <a:pt x="10627" y="4784"/>
                    <a:pt x="10700" y="4729"/>
                  </a:cubicBezTo>
                  <a:cubicBezTo>
                    <a:pt x="10748" y="4691"/>
                    <a:pt x="10783" y="4623"/>
                    <a:pt x="10836" y="4596"/>
                  </a:cubicBezTo>
                  <a:cubicBezTo>
                    <a:pt x="10936" y="4545"/>
                    <a:pt x="11179" y="4897"/>
                    <a:pt x="11200" y="4930"/>
                  </a:cubicBezTo>
                  <a:cubicBezTo>
                    <a:pt x="11257" y="5021"/>
                    <a:pt x="11383" y="4997"/>
                    <a:pt x="11449" y="4963"/>
                  </a:cubicBezTo>
                  <a:cubicBezTo>
                    <a:pt x="11515" y="4927"/>
                    <a:pt x="11601" y="4735"/>
                    <a:pt x="11604" y="4609"/>
                  </a:cubicBezTo>
                  <a:cubicBezTo>
                    <a:pt x="11612" y="4306"/>
                    <a:pt x="11668" y="4551"/>
                    <a:pt x="11776" y="4399"/>
                  </a:cubicBezTo>
                  <a:cubicBezTo>
                    <a:pt x="11752" y="4490"/>
                    <a:pt x="11982" y="4522"/>
                    <a:pt x="11982" y="4434"/>
                  </a:cubicBezTo>
                  <a:cubicBezTo>
                    <a:pt x="11986" y="4419"/>
                    <a:pt x="11940" y="3715"/>
                    <a:pt x="11938" y="3700"/>
                  </a:cubicBezTo>
                  <a:cubicBezTo>
                    <a:pt x="11917" y="3548"/>
                    <a:pt x="11901" y="3393"/>
                    <a:pt x="11896" y="3236"/>
                  </a:cubicBezTo>
                  <a:cubicBezTo>
                    <a:pt x="11890" y="3063"/>
                    <a:pt x="11892" y="2895"/>
                    <a:pt x="11906" y="2723"/>
                  </a:cubicBezTo>
                  <a:cubicBezTo>
                    <a:pt x="11914" y="2623"/>
                    <a:pt x="11994" y="2608"/>
                    <a:pt x="12007" y="2496"/>
                  </a:cubicBezTo>
                  <a:cubicBezTo>
                    <a:pt x="12020" y="2388"/>
                    <a:pt x="12013" y="2276"/>
                    <a:pt x="12032" y="2170"/>
                  </a:cubicBezTo>
                  <a:cubicBezTo>
                    <a:pt x="12048" y="2085"/>
                    <a:pt x="12274" y="1765"/>
                    <a:pt x="12326" y="1833"/>
                  </a:cubicBezTo>
                  <a:cubicBezTo>
                    <a:pt x="12340" y="1854"/>
                    <a:pt x="12322" y="1953"/>
                    <a:pt x="12338" y="1986"/>
                  </a:cubicBezTo>
                  <a:cubicBezTo>
                    <a:pt x="12357" y="2027"/>
                    <a:pt x="12388" y="2057"/>
                    <a:pt x="12412" y="2087"/>
                  </a:cubicBezTo>
                  <a:cubicBezTo>
                    <a:pt x="12475" y="2164"/>
                    <a:pt x="12492" y="2199"/>
                    <a:pt x="12508" y="2340"/>
                  </a:cubicBezTo>
                  <a:cubicBezTo>
                    <a:pt x="12548" y="2680"/>
                    <a:pt x="12774" y="2471"/>
                    <a:pt x="12824" y="2260"/>
                  </a:cubicBezTo>
                  <a:cubicBezTo>
                    <a:pt x="12854" y="2136"/>
                    <a:pt x="12829" y="1939"/>
                    <a:pt x="12798" y="1825"/>
                  </a:cubicBezTo>
                  <a:cubicBezTo>
                    <a:pt x="12761" y="1691"/>
                    <a:pt x="12822" y="1587"/>
                    <a:pt x="12821" y="1455"/>
                  </a:cubicBezTo>
                  <a:cubicBezTo>
                    <a:pt x="12820" y="1411"/>
                    <a:pt x="12861" y="1178"/>
                    <a:pt x="12807" y="1198"/>
                  </a:cubicBezTo>
                  <a:cubicBezTo>
                    <a:pt x="12776" y="1210"/>
                    <a:pt x="12746" y="1357"/>
                    <a:pt x="12726" y="1354"/>
                  </a:cubicBezTo>
                  <a:cubicBezTo>
                    <a:pt x="12704" y="1354"/>
                    <a:pt x="12684" y="1278"/>
                    <a:pt x="12649" y="1277"/>
                  </a:cubicBezTo>
                  <a:cubicBezTo>
                    <a:pt x="12576" y="1273"/>
                    <a:pt x="12630" y="1160"/>
                    <a:pt x="12601" y="1089"/>
                  </a:cubicBezTo>
                  <a:cubicBezTo>
                    <a:pt x="12605" y="1100"/>
                    <a:pt x="12547" y="1057"/>
                    <a:pt x="12551" y="1063"/>
                  </a:cubicBezTo>
                  <a:cubicBezTo>
                    <a:pt x="12541" y="1047"/>
                    <a:pt x="12527" y="850"/>
                    <a:pt x="12543" y="851"/>
                  </a:cubicBezTo>
                  <a:cubicBezTo>
                    <a:pt x="12508" y="849"/>
                    <a:pt x="12536" y="749"/>
                    <a:pt x="12555" y="692"/>
                  </a:cubicBezTo>
                  <a:cubicBezTo>
                    <a:pt x="12545" y="698"/>
                    <a:pt x="12531" y="689"/>
                    <a:pt x="12522" y="676"/>
                  </a:cubicBezTo>
                  <a:cubicBezTo>
                    <a:pt x="12524" y="664"/>
                    <a:pt x="12521" y="653"/>
                    <a:pt x="12510" y="646"/>
                  </a:cubicBezTo>
                  <a:cubicBezTo>
                    <a:pt x="12510" y="644"/>
                    <a:pt x="12510" y="643"/>
                    <a:pt x="12510" y="641"/>
                  </a:cubicBezTo>
                  <a:cubicBezTo>
                    <a:pt x="12520" y="585"/>
                    <a:pt x="12557" y="640"/>
                    <a:pt x="12540" y="555"/>
                  </a:cubicBezTo>
                  <a:cubicBezTo>
                    <a:pt x="12526" y="487"/>
                    <a:pt x="12506" y="458"/>
                    <a:pt x="12562" y="451"/>
                  </a:cubicBezTo>
                  <a:cubicBezTo>
                    <a:pt x="12576" y="449"/>
                    <a:pt x="12668" y="421"/>
                    <a:pt x="12685" y="404"/>
                  </a:cubicBezTo>
                  <a:cubicBezTo>
                    <a:pt x="12697" y="392"/>
                    <a:pt x="12665" y="314"/>
                    <a:pt x="12665" y="296"/>
                  </a:cubicBezTo>
                  <a:cubicBezTo>
                    <a:pt x="12668" y="241"/>
                    <a:pt x="12715" y="338"/>
                    <a:pt x="12717" y="324"/>
                  </a:cubicBezTo>
                  <a:cubicBezTo>
                    <a:pt x="12712" y="309"/>
                    <a:pt x="12708" y="294"/>
                    <a:pt x="12703" y="279"/>
                  </a:cubicBezTo>
                  <a:cubicBezTo>
                    <a:pt x="12712" y="215"/>
                    <a:pt x="12796" y="230"/>
                    <a:pt x="12823" y="232"/>
                  </a:cubicBezTo>
                  <a:cubicBezTo>
                    <a:pt x="12909" y="241"/>
                    <a:pt x="12834" y="147"/>
                    <a:pt x="12858" y="108"/>
                  </a:cubicBezTo>
                  <a:cubicBezTo>
                    <a:pt x="12866" y="94"/>
                    <a:pt x="13004" y="194"/>
                    <a:pt x="13021" y="164"/>
                  </a:cubicBezTo>
                  <a:cubicBezTo>
                    <a:pt x="13023" y="161"/>
                    <a:pt x="13105" y="50"/>
                    <a:pt x="13102" y="3"/>
                  </a:cubicBezTo>
                  <a:cubicBezTo>
                    <a:pt x="13109" y="30"/>
                    <a:pt x="13109" y="75"/>
                    <a:pt x="13126" y="72"/>
                  </a:cubicBezTo>
                  <a:cubicBezTo>
                    <a:pt x="13131" y="52"/>
                    <a:pt x="13136" y="30"/>
                    <a:pt x="13140" y="9"/>
                  </a:cubicBezTo>
                  <a:cubicBezTo>
                    <a:pt x="13148" y="22"/>
                    <a:pt x="13156" y="36"/>
                    <a:pt x="13164" y="51"/>
                  </a:cubicBezTo>
                  <a:cubicBezTo>
                    <a:pt x="13166" y="36"/>
                    <a:pt x="13166" y="20"/>
                    <a:pt x="13166" y="5"/>
                  </a:cubicBezTo>
                  <a:cubicBezTo>
                    <a:pt x="13186" y="-30"/>
                    <a:pt x="13399" y="128"/>
                    <a:pt x="13430" y="132"/>
                  </a:cubicBezTo>
                  <a:cubicBezTo>
                    <a:pt x="13489" y="139"/>
                    <a:pt x="13689" y="188"/>
                    <a:pt x="13706" y="47"/>
                  </a:cubicBezTo>
                  <a:cubicBezTo>
                    <a:pt x="13724" y="81"/>
                    <a:pt x="13735" y="106"/>
                    <a:pt x="13735" y="110"/>
                  </a:cubicBezTo>
                  <a:cubicBezTo>
                    <a:pt x="13737" y="136"/>
                    <a:pt x="13707" y="180"/>
                    <a:pt x="13676" y="278"/>
                  </a:cubicBezTo>
                  <a:cubicBezTo>
                    <a:pt x="13665" y="312"/>
                    <a:pt x="13664" y="349"/>
                    <a:pt x="13664" y="383"/>
                  </a:cubicBezTo>
                  <a:cubicBezTo>
                    <a:pt x="13664" y="404"/>
                    <a:pt x="13664" y="424"/>
                    <a:pt x="13664" y="443"/>
                  </a:cubicBezTo>
                  <a:cubicBezTo>
                    <a:pt x="13664" y="487"/>
                    <a:pt x="13661" y="521"/>
                    <a:pt x="13646" y="547"/>
                  </a:cubicBezTo>
                  <a:cubicBezTo>
                    <a:pt x="13611" y="609"/>
                    <a:pt x="13593" y="669"/>
                    <a:pt x="13593" y="736"/>
                  </a:cubicBezTo>
                  <a:cubicBezTo>
                    <a:pt x="13594" y="787"/>
                    <a:pt x="13603" y="840"/>
                    <a:pt x="13617" y="903"/>
                  </a:cubicBezTo>
                  <a:cubicBezTo>
                    <a:pt x="13632" y="973"/>
                    <a:pt x="13639" y="1017"/>
                    <a:pt x="13639" y="1065"/>
                  </a:cubicBezTo>
                  <a:cubicBezTo>
                    <a:pt x="13639" y="1098"/>
                    <a:pt x="13636" y="1133"/>
                    <a:pt x="13630" y="1180"/>
                  </a:cubicBezTo>
                  <a:cubicBezTo>
                    <a:pt x="13628" y="1189"/>
                    <a:pt x="13628" y="1197"/>
                    <a:pt x="13628" y="1206"/>
                  </a:cubicBezTo>
                  <a:cubicBezTo>
                    <a:pt x="13628" y="1262"/>
                    <a:pt x="13651" y="1294"/>
                    <a:pt x="13668" y="1321"/>
                  </a:cubicBezTo>
                  <a:cubicBezTo>
                    <a:pt x="13687" y="1350"/>
                    <a:pt x="13700" y="1374"/>
                    <a:pt x="13700" y="1407"/>
                  </a:cubicBezTo>
                  <a:cubicBezTo>
                    <a:pt x="13700" y="1407"/>
                    <a:pt x="13699" y="1408"/>
                    <a:pt x="13700" y="1411"/>
                  </a:cubicBezTo>
                  <a:cubicBezTo>
                    <a:pt x="13700" y="1411"/>
                    <a:pt x="13700" y="1412"/>
                    <a:pt x="13700" y="1412"/>
                  </a:cubicBezTo>
                  <a:cubicBezTo>
                    <a:pt x="13700" y="1450"/>
                    <a:pt x="13712" y="1479"/>
                    <a:pt x="13722" y="1504"/>
                  </a:cubicBezTo>
                  <a:cubicBezTo>
                    <a:pt x="13730" y="1524"/>
                    <a:pt x="13737" y="1543"/>
                    <a:pt x="13738" y="1549"/>
                  </a:cubicBezTo>
                  <a:cubicBezTo>
                    <a:pt x="13738" y="1550"/>
                    <a:pt x="13736" y="1551"/>
                    <a:pt x="13735" y="1552"/>
                  </a:cubicBezTo>
                  <a:cubicBezTo>
                    <a:pt x="13724" y="1558"/>
                    <a:pt x="13711" y="1558"/>
                    <a:pt x="13697" y="1567"/>
                  </a:cubicBezTo>
                  <a:cubicBezTo>
                    <a:pt x="13682" y="1576"/>
                    <a:pt x="13670" y="1606"/>
                    <a:pt x="13671" y="1646"/>
                  </a:cubicBezTo>
                  <a:cubicBezTo>
                    <a:pt x="13671" y="1646"/>
                    <a:pt x="13671" y="1649"/>
                    <a:pt x="13671" y="1653"/>
                  </a:cubicBezTo>
                  <a:cubicBezTo>
                    <a:pt x="13671" y="1664"/>
                    <a:pt x="13674" y="1674"/>
                    <a:pt x="13676" y="1682"/>
                  </a:cubicBezTo>
                  <a:cubicBezTo>
                    <a:pt x="13676" y="1682"/>
                    <a:pt x="13676" y="1682"/>
                    <a:pt x="13676" y="1682"/>
                  </a:cubicBezTo>
                  <a:cubicBezTo>
                    <a:pt x="13651" y="1686"/>
                    <a:pt x="13639" y="1728"/>
                    <a:pt x="13641" y="1759"/>
                  </a:cubicBezTo>
                  <a:cubicBezTo>
                    <a:pt x="13641" y="1790"/>
                    <a:pt x="13646" y="1822"/>
                    <a:pt x="13645" y="1844"/>
                  </a:cubicBezTo>
                  <a:cubicBezTo>
                    <a:pt x="13645" y="1852"/>
                    <a:pt x="13645" y="1858"/>
                    <a:pt x="13644" y="1862"/>
                  </a:cubicBezTo>
                  <a:lnTo>
                    <a:pt x="13657" y="1871"/>
                  </a:lnTo>
                  <a:lnTo>
                    <a:pt x="13659" y="1896"/>
                  </a:lnTo>
                  <a:cubicBezTo>
                    <a:pt x="13662" y="1895"/>
                    <a:pt x="13664" y="1895"/>
                    <a:pt x="13667" y="1895"/>
                  </a:cubicBezTo>
                  <a:cubicBezTo>
                    <a:pt x="13688" y="1897"/>
                    <a:pt x="13685" y="1903"/>
                    <a:pt x="13694" y="1932"/>
                  </a:cubicBezTo>
                  <a:cubicBezTo>
                    <a:pt x="13701" y="1959"/>
                    <a:pt x="13713" y="2004"/>
                    <a:pt x="13748" y="2026"/>
                  </a:cubicBezTo>
                  <a:cubicBezTo>
                    <a:pt x="13782" y="2049"/>
                    <a:pt x="13799" y="2077"/>
                    <a:pt x="13799" y="2122"/>
                  </a:cubicBezTo>
                  <a:cubicBezTo>
                    <a:pt x="13799" y="2136"/>
                    <a:pt x="13798" y="2152"/>
                    <a:pt x="13793" y="2172"/>
                  </a:cubicBezTo>
                  <a:cubicBezTo>
                    <a:pt x="13792" y="2174"/>
                    <a:pt x="13785" y="2180"/>
                    <a:pt x="13778" y="2186"/>
                  </a:cubicBezTo>
                  <a:cubicBezTo>
                    <a:pt x="13771" y="2193"/>
                    <a:pt x="13759" y="2202"/>
                    <a:pt x="13758" y="2232"/>
                  </a:cubicBezTo>
                  <a:cubicBezTo>
                    <a:pt x="13758" y="2237"/>
                    <a:pt x="13758" y="2240"/>
                    <a:pt x="13758" y="2242"/>
                  </a:cubicBezTo>
                  <a:cubicBezTo>
                    <a:pt x="13762" y="2269"/>
                    <a:pt x="13775" y="2279"/>
                    <a:pt x="13780" y="2284"/>
                  </a:cubicBezTo>
                  <a:cubicBezTo>
                    <a:pt x="13783" y="2286"/>
                    <a:pt x="13784" y="2289"/>
                    <a:pt x="13784" y="2289"/>
                  </a:cubicBezTo>
                  <a:lnTo>
                    <a:pt x="13784" y="2290"/>
                  </a:lnTo>
                  <a:cubicBezTo>
                    <a:pt x="13784" y="2291"/>
                    <a:pt x="13784" y="2292"/>
                    <a:pt x="13784" y="2292"/>
                  </a:cubicBezTo>
                  <a:cubicBezTo>
                    <a:pt x="13784" y="2304"/>
                    <a:pt x="13760" y="2454"/>
                    <a:pt x="13759" y="2482"/>
                  </a:cubicBezTo>
                  <a:cubicBezTo>
                    <a:pt x="13760" y="2486"/>
                    <a:pt x="13756" y="2494"/>
                    <a:pt x="13768" y="2507"/>
                  </a:cubicBezTo>
                  <a:cubicBezTo>
                    <a:pt x="13771" y="2508"/>
                    <a:pt x="13772" y="2509"/>
                    <a:pt x="13774" y="2509"/>
                  </a:cubicBezTo>
                  <a:cubicBezTo>
                    <a:pt x="13790" y="2507"/>
                    <a:pt x="13820" y="2485"/>
                    <a:pt x="13838" y="2486"/>
                  </a:cubicBezTo>
                  <a:cubicBezTo>
                    <a:pt x="13839" y="2485"/>
                    <a:pt x="13840" y="2486"/>
                    <a:pt x="13841" y="2486"/>
                  </a:cubicBezTo>
                  <a:cubicBezTo>
                    <a:pt x="13841" y="2489"/>
                    <a:pt x="13840" y="2494"/>
                    <a:pt x="13838" y="2500"/>
                  </a:cubicBezTo>
                  <a:cubicBezTo>
                    <a:pt x="13835" y="2514"/>
                    <a:pt x="13834" y="2528"/>
                    <a:pt x="13834" y="2542"/>
                  </a:cubicBezTo>
                  <a:cubicBezTo>
                    <a:pt x="13835" y="2612"/>
                    <a:pt x="13864" y="2687"/>
                    <a:pt x="13886" y="2726"/>
                  </a:cubicBezTo>
                  <a:cubicBezTo>
                    <a:pt x="13897" y="2743"/>
                    <a:pt x="13902" y="2753"/>
                    <a:pt x="13905" y="2758"/>
                  </a:cubicBezTo>
                  <a:cubicBezTo>
                    <a:pt x="13906" y="2760"/>
                    <a:pt x="13906" y="2761"/>
                    <a:pt x="13907" y="2761"/>
                  </a:cubicBezTo>
                  <a:cubicBezTo>
                    <a:pt x="13907" y="2767"/>
                    <a:pt x="13907" y="2792"/>
                    <a:pt x="13919" y="2838"/>
                  </a:cubicBezTo>
                  <a:cubicBezTo>
                    <a:pt x="13935" y="2903"/>
                    <a:pt x="13960" y="2961"/>
                    <a:pt x="13960" y="3016"/>
                  </a:cubicBezTo>
                  <a:cubicBezTo>
                    <a:pt x="13960" y="3022"/>
                    <a:pt x="13959" y="3029"/>
                    <a:pt x="13959" y="3036"/>
                  </a:cubicBezTo>
                  <a:cubicBezTo>
                    <a:pt x="13957" y="3053"/>
                    <a:pt x="13953" y="3066"/>
                    <a:pt x="13948" y="3077"/>
                  </a:cubicBezTo>
                  <a:lnTo>
                    <a:pt x="13960" y="3096"/>
                  </a:lnTo>
                  <a:lnTo>
                    <a:pt x="13948" y="3114"/>
                  </a:lnTo>
                  <a:lnTo>
                    <a:pt x="13948" y="3114"/>
                  </a:lnTo>
                  <a:cubicBezTo>
                    <a:pt x="13968" y="3155"/>
                    <a:pt x="13987" y="3174"/>
                    <a:pt x="14005" y="3174"/>
                  </a:cubicBezTo>
                  <a:cubicBezTo>
                    <a:pt x="14036" y="3170"/>
                    <a:pt x="14052" y="3132"/>
                    <a:pt x="14068" y="3135"/>
                  </a:cubicBezTo>
                  <a:cubicBezTo>
                    <a:pt x="14074" y="3135"/>
                    <a:pt x="14081" y="3138"/>
                    <a:pt x="14092" y="3151"/>
                  </a:cubicBezTo>
                  <a:cubicBezTo>
                    <a:pt x="14093" y="3150"/>
                    <a:pt x="14100" y="3175"/>
                    <a:pt x="14104" y="3203"/>
                  </a:cubicBezTo>
                  <a:cubicBezTo>
                    <a:pt x="14109" y="3228"/>
                    <a:pt x="14117" y="3268"/>
                    <a:pt x="14142" y="3270"/>
                  </a:cubicBezTo>
                  <a:cubicBezTo>
                    <a:pt x="14144" y="3270"/>
                    <a:pt x="14146" y="3269"/>
                    <a:pt x="14148" y="3269"/>
                  </a:cubicBezTo>
                  <a:cubicBezTo>
                    <a:pt x="14183" y="3256"/>
                    <a:pt x="14203" y="3210"/>
                    <a:pt x="14224" y="3192"/>
                  </a:cubicBezTo>
                  <a:cubicBezTo>
                    <a:pt x="14235" y="3183"/>
                    <a:pt x="14245" y="3179"/>
                    <a:pt x="14255" y="3179"/>
                  </a:cubicBezTo>
                  <a:cubicBezTo>
                    <a:pt x="14277" y="3179"/>
                    <a:pt x="14301" y="3197"/>
                    <a:pt x="14322" y="3222"/>
                  </a:cubicBezTo>
                  <a:cubicBezTo>
                    <a:pt x="14323" y="3225"/>
                    <a:pt x="14324" y="3233"/>
                    <a:pt x="14323" y="3243"/>
                  </a:cubicBezTo>
                  <a:cubicBezTo>
                    <a:pt x="14323" y="3271"/>
                    <a:pt x="14319" y="3313"/>
                    <a:pt x="14319" y="3345"/>
                  </a:cubicBezTo>
                  <a:cubicBezTo>
                    <a:pt x="14319" y="3356"/>
                    <a:pt x="14320" y="3367"/>
                    <a:pt x="14322" y="3378"/>
                  </a:cubicBezTo>
                  <a:cubicBezTo>
                    <a:pt x="14332" y="3426"/>
                    <a:pt x="14348" y="3457"/>
                    <a:pt x="14369" y="3457"/>
                  </a:cubicBezTo>
                  <a:cubicBezTo>
                    <a:pt x="14415" y="3450"/>
                    <a:pt x="14446" y="3335"/>
                    <a:pt x="14468" y="3299"/>
                  </a:cubicBezTo>
                  <a:cubicBezTo>
                    <a:pt x="14477" y="3279"/>
                    <a:pt x="14524" y="3257"/>
                    <a:pt x="14562" y="3258"/>
                  </a:cubicBezTo>
                  <a:cubicBezTo>
                    <a:pt x="14588" y="3257"/>
                    <a:pt x="14612" y="3267"/>
                    <a:pt x="14619" y="3279"/>
                  </a:cubicBezTo>
                  <a:cubicBezTo>
                    <a:pt x="14665" y="3345"/>
                    <a:pt x="14682" y="3430"/>
                    <a:pt x="14744" y="3432"/>
                  </a:cubicBezTo>
                  <a:cubicBezTo>
                    <a:pt x="14753" y="3432"/>
                    <a:pt x="14761" y="3431"/>
                    <a:pt x="14771" y="3428"/>
                  </a:cubicBezTo>
                  <a:cubicBezTo>
                    <a:pt x="14772" y="3427"/>
                    <a:pt x="14774" y="3427"/>
                    <a:pt x="14775" y="3427"/>
                  </a:cubicBezTo>
                  <a:cubicBezTo>
                    <a:pt x="14781" y="3427"/>
                    <a:pt x="14784" y="3433"/>
                    <a:pt x="14785" y="3472"/>
                  </a:cubicBezTo>
                  <a:cubicBezTo>
                    <a:pt x="14785" y="3539"/>
                    <a:pt x="14765" y="3649"/>
                    <a:pt x="14761" y="3664"/>
                  </a:cubicBezTo>
                  <a:cubicBezTo>
                    <a:pt x="14759" y="3671"/>
                    <a:pt x="14758" y="3679"/>
                    <a:pt x="14758" y="3688"/>
                  </a:cubicBezTo>
                  <a:cubicBezTo>
                    <a:pt x="14761" y="3765"/>
                    <a:pt x="14821" y="3836"/>
                    <a:pt x="14830" y="3867"/>
                  </a:cubicBezTo>
                  <a:cubicBezTo>
                    <a:pt x="14833" y="3877"/>
                    <a:pt x="14836" y="3886"/>
                    <a:pt x="14838" y="3892"/>
                  </a:cubicBezTo>
                  <a:cubicBezTo>
                    <a:pt x="14831" y="3894"/>
                    <a:pt x="14822" y="3900"/>
                    <a:pt x="14815" y="3914"/>
                  </a:cubicBezTo>
                  <a:cubicBezTo>
                    <a:pt x="14815" y="3914"/>
                    <a:pt x="14815" y="3914"/>
                    <a:pt x="14815" y="3915"/>
                  </a:cubicBezTo>
                  <a:cubicBezTo>
                    <a:pt x="14814" y="3916"/>
                    <a:pt x="14814" y="3916"/>
                    <a:pt x="14813" y="3918"/>
                  </a:cubicBezTo>
                  <a:cubicBezTo>
                    <a:pt x="14813" y="3918"/>
                    <a:pt x="14813" y="3918"/>
                    <a:pt x="14813" y="3918"/>
                  </a:cubicBezTo>
                  <a:cubicBezTo>
                    <a:pt x="14810" y="3926"/>
                    <a:pt x="14809" y="3936"/>
                    <a:pt x="14812" y="3944"/>
                  </a:cubicBezTo>
                  <a:cubicBezTo>
                    <a:pt x="14809" y="3972"/>
                    <a:pt x="14798" y="4058"/>
                    <a:pt x="14797" y="4060"/>
                  </a:cubicBezTo>
                  <a:cubicBezTo>
                    <a:pt x="14791" y="4082"/>
                    <a:pt x="14788" y="4104"/>
                    <a:pt x="14787" y="4125"/>
                  </a:cubicBezTo>
                  <a:cubicBezTo>
                    <a:pt x="14787" y="4173"/>
                    <a:pt x="14809" y="4204"/>
                    <a:pt x="14836" y="4218"/>
                  </a:cubicBezTo>
                  <a:cubicBezTo>
                    <a:pt x="14847" y="4224"/>
                    <a:pt x="14854" y="4239"/>
                    <a:pt x="14862" y="4257"/>
                  </a:cubicBezTo>
                  <a:cubicBezTo>
                    <a:pt x="14870" y="4273"/>
                    <a:pt x="14876" y="4299"/>
                    <a:pt x="14896" y="4302"/>
                  </a:cubicBezTo>
                  <a:cubicBezTo>
                    <a:pt x="14897" y="4302"/>
                    <a:pt x="14898" y="4302"/>
                    <a:pt x="14899" y="4302"/>
                  </a:cubicBezTo>
                  <a:cubicBezTo>
                    <a:pt x="14906" y="4302"/>
                    <a:pt x="14912" y="4301"/>
                    <a:pt x="14916" y="4301"/>
                  </a:cubicBezTo>
                  <a:cubicBezTo>
                    <a:pt x="14918" y="4301"/>
                    <a:pt x="14919" y="4301"/>
                    <a:pt x="14920" y="4301"/>
                  </a:cubicBezTo>
                  <a:cubicBezTo>
                    <a:pt x="14919" y="4304"/>
                    <a:pt x="14918" y="4308"/>
                    <a:pt x="14917" y="4312"/>
                  </a:cubicBezTo>
                  <a:cubicBezTo>
                    <a:pt x="14908" y="4343"/>
                    <a:pt x="14904" y="4364"/>
                    <a:pt x="14903" y="4385"/>
                  </a:cubicBezTo>
                  <a:cubicBezTo>
                    <a:pt x="14903" y="4415"/>
                    <a:pt x="14916" y="4432"/>
                    <a:pt x="14924" y="4442"/>
                  </a:cubicBezTo>
                  <a:cubicBezTo>
                    <a:pt x="14933" y="4453"/>
                    <a:pt x="14943" y="4465"/>
                    <a:pt x="14954" y="4491"/>
                  </a:cubicBezTo>
                  <a:cubicBezTo>
                    <a:pt x="14966" y="4516"/>
                    <a:pt x="14964" y="4562"/>
                    <a:pt x="14981" y="4610"/>
                  </a:cubicBezTo>
                  <a:cubicBezTo>
                    <a:pt x="15008" y="4684"/>
                    <a:pt x="15053" y="4697"/>
                    <a:pt x="15092" y="4709"/>
                  </a:cubicBezTo>
                  <a:cubicBezTo>
                    <a:pt x="15124" y="4718"/>
                    <a:pt x="15125" y="4751"/>
                    <a:pt x="15157" y="4782"/>
                  </a:cubicBezTo>
                  <a:cubicBezTo>
                    <a:pt x="15162" y="4786"/>
                    <a:pt x="15168" y="4784"/>
                    <a:pt x="15172" y="4778"/>
                  </a:cubicBezTo>
                  <a:cubicBezTo>
                    <a:pt x="15172" y="4777"/>
                    <a:pt x="15173" y="4776"/>
                    <a:pt x="15173" y="4775"/>
                  </a:cubicBezTo>
                  <a:cubicBezTo>
                    <a:pt x="15175" y="4783"/>
                    <a:pt x="15176" y="4792"/>
                    <a:pt x="15176" y="4803"/>
                  </a:cubicBezTo>
                  <a:cubicBezTo>
                    <a:pt x="15176" y="4847"/>
                    <a:pt x="15161" y="4906"/>
                    <a:pt x="15161" y="4954"/>
                  </a:cubicBezTo>
                  <a:cubicBezTo>
                    <a:pt x="15161" y="4970"/>
                    <a:pt x="15163" y="4988"/>
                    <a:pt x="15170" y="5002"/>
                  </a:cubicBezTo>
                  <a:cubicBezTo>
                    <a:pt x="15178" y="5015"/>
                    <a:pt x="15188" y="5020"/>
                    <a:pt x="15200" y="5020"/>
                  </a:cubicBezTo>
                  <a:cubicBezTo>
                    <a:pt x="15206" y="5020"/>
                    <a:pt x="15212" y="5019"/>
                    <a:pt x="15219" y="5017"/>
                  </a:cubicBezTo>
                  <a:cubicBezTo>
                    <a:pt x="15245" y="5008"/>
                    <a:pt x="15268" y="5006"/>
                    <a:pt x="15289" y="5006"/>
                  </a:cubicBezTo>
                  <a:cubicBezTo>
                    <a:pt x="15321" y="5006"/>
                    <a:pt x="15349" y="5013"/>
                    <a:pt x="15383" y="5015"/>
                  </a:cubicBezTo>
                  <a:cubicBezTo>
                    <a:pt x="15385" y="5015"/>
                    <a:pt x="15386" y="5016"/>
                    <a:pt x="15386" y="5016"/>
                  </a:cubicBezTo>
                  <a:cubicBezTo>
                    <a:pt x="15386" y="5016"/>
                    <a:pt x="15386" y="5017"/>
                    <a:pt x="15386" y="5017"/>
                  </a:cubicBezTo>
                  <a:cubicBezTo>
                    <a:pt x="15387" y="5031"/>
                    <a:pt x="15377" y="5067"/>
                    <a:pt x="15377" y="5102"/>
                  </a:cubicBezTo>
                  <a:cubicBezTo>
                    <a:pt x="15377" y="5110"/>
                    <a:pt x="15377" y="5118"/>
                    <a:pt x="15379" y="5127"/>
                  </a:cubicBezTo>
                  <a:cubicBezTo>
                    <a:pt x="15390" y="5177"/>
                    <a:pt x="15416" y="5191"/>
                    <a:pt x="15436" y="5197"/>
                  </a:cubicBezTo>
                  <a:cubicBezTo>
                    <a:pt x="15456" y="5203"/>
                    <a:pt x="15473" y="5207"/>
                    <a:pt x="15482" y="5224"/>
                  </a:cubicBezTo>
                  <a:cubicBezTo>
                    <a:pt x="15493" y="5246"/>
                    <a:pt x="15496" y="5261"/>
                    <a:pt x="15496" y="5267"/>
                  </a:cubicBezTo>
                  <a:cubicBezTo>
                    <a:pt x="15497" y="5277"/>
                    <a:pt x="15486" y="5295"/>
                    <a:pt x="15466" y="5311"/>
                  </a:cubicBezTo>
                  <a:cubicBezTo>
                    <a:pt x="15448" y="5328"/>
                    <a:pt x="15427" y="5336"/>
                    <a:pt x="15416" y="5368"/>
                  </a:cubicBezTo>
                  <a:cubicBezTo>
                    <a:pt x="15414" y="5372"/>
                    <a:pt x="15412" y="5378"/>
                    <a:pt x="15412" y="5384"/>
                  </a:cubicBezTo>
                  <a:lnTo>
                    <a:pt x="15412" y="5384"/>
                  </a:lnTo>
                  <a:cubicBezTo>
                    <a:pt x="15412" y="5388"/>
                    <a:pt x="15413" y="5391"/>
                    <a:pt x="15414" y="5394"/>
                  </a:cubicBezTo>
                  <a:cubicBezTo>
                    <a:pt x="15414" y="5399"/>
                    <a:pt x="15416" y="5415"/>
                    <a:pt x="15416" y="5430"/>
                  </a:cubicBezTo>
                  <a:cubicBezTo>
                    <a:pt x="15416" y="5444"/>
                    <a:pt x="15414" y="5458"/>
                    <a:pt x="15413" y="5463"/>
                  </a:cubicBezTo>
                  <a:cubicBezTo>
                    <a:pt x="15399" y="5504"/>
                    <a:pt x="15380" y="5543"/>
                    <a:pt x="15359" y="5572"/>
                  </a:cubicBezTo>
                  <a:cubicBezTo>
                    <a:pt x="15343" y="5592"/>
                    <a:pt x="15330" y="5599"/>
                    <a:pt x="15317" y="5600"/>
                  </a:cubicBezTo>
                  <a:cubicBezTo>
                    <a:pt x="15287" y="5600"/>
                    <a:pt x="15254" y="5557"/>
                    <a:pt x="15214" y="5528"/>
                  </a:cubicBezTo>
                  <a:cubicBezTo>
                    <a:pt x="15193" y="5514"/>
                    <a:pt x="15176" y="5507"/>
                    <a:pt x="15162" y="5506"/>
                  </a:cubicBezTo>
                  <a:cubicBezTo>
                    <a:pt x="15132" y="5505"/>
                    <a:pt x="15116" y="5545"/>
                    <a:pt x="15110" y="5580"/>
                  </a:cubicBezTo>
                  <a:cubicBezTo>
                    <a:pt x="15103" y="5616"/>
                    <a:pt x="15099" y="5654"/>
                    <a:pt x="15086" y="5684"/>
                  </a:cubicBezTo>
                  <a:cubicBezTo>
                    <a:pt x="15078" y="5700"/>
                    <a:pt x="15074" y="5720"/>
                    <a:pt x="15074" y="5739"/>
                  </a:cubicBezTo>
                  <a:cubicBezTo>
                    <a:pt x="15076" y="5797"/>
                    <a:pt x="15103" y="5834"/>
                    <a:pt x="15129" y="5868"/>
                  </a:cubicBezTo>
                  <a:cubicBezTo>
                    <a:pt x="15156" y="5901"/>
                    <a:pt x="15184" y="5933"/>
                    <a:pt x="15191" y="5950"/>
                  </a:cubicBezTo>
                  <a:cubicBezTo>
                    <a:pt x="15195" y="5960"/>
                    <a:pt x="15195" y="5964"/>
                    <a:pt x="15195" y="5966"/>
                  </a:cubicBezTo>
                  <a:cubicBezTo>
                    <a:pt x="15198" y="5971"/>
                    <a:pt x="15183" y="5987"/>
                    <a:pt x="15180" y="6032"/>
                  </a:cubicBezTo>
                  <a:cubicBezTo>
                    <a:pt x="15180" y="6061"/>
                    <a:pt x="15190" y="6086"/>
                    <a:pt x="15211" y="6118"/>
                  </a:cubicBezTo>
                  <a:cubicBezTo>
                    <a:pt x="15215" y="6124"/>
                    <a:pt x="15218" y="6130"/>
                    <a:pt x="15221" y="6133"/>
                  </a:cubicBezTo>
                  <a:cubicBezTo>
                    <a:pt x="15216" y="6141"/>
                    <a:pt x="15210" y="6154"/>
                    <a:pt x="15206" y="6172"/>
                  </a:cubicBezTo>
                  <a:cubicBezTo>
                    <a:pt x="15205" y="6177"/>
                    <a:pt x="15204" y="6184"/>
                    <a:pt x="15204" y="6191"/>
                  </a:cubicBezTo>
                  <a:cubicBezTo>
                    <a:pt x="15206" y="6239"/>
                    <a:pt x="15230" y="6277"/>
                    <a:pt x="15234" y="6294"/>
                  </a:cubicBezTo>
                  <a:cubicBezTo>
                    <a:pt x="15236" y="6299"/>
                    <a:pt x="15236" y="6302"/>
                    <a:pt x="15236" y="6306"/>
                  </a:cubicBezTo>
                  <a:cubicBezTo>
                    <a:pt x="15237" y="6315"/>
                    <a:pt x="15229" y="6329"/>
                    <a:pt x="15228" y="6360"/>
                  </a:cubicBezTo>
                  <a:cubicBezTo>
                    <a:pt x="15228" y="6379"/>
                    <a:pt x="15233" y="6397"/>
                    <a:pt x="15243" y="6412"/>
                  </a:cubicBezTo>
                  <a:cubicBezTo>
                    <a:pt x="15265" y="6445"/>
                    <a:pt x="15296" y="6465"/>
                    <a:pt x="15302" y="6492"/>
                  </a:cubicBezTo>
                  <a:cubicBezTo>
                    <a:pt x="15306" y="6507"/>
                    <a:pt x="15316" y="6532"/>
                    <a:pt x="15329" y="6559"/>
                  </a:cubicBezTo>
                  <a:cubicBezTo>
                    <a:pt x="15343" y="6585"/>
                    <a:pt x="15353" y="6611"/>
                    <a:pt x="15374" y="6615"/>
                  </a:cubicBezTo>
                  <a:cubicBezTo>
                    <a:pt x="15377" y="6615"/>
                    <a:pt x="15380" y="6614"/>
                    <a:pt x="15383" y="6611"/>
                  </a:cubicBezTo>
                  <a:cubicBezTo>
                    <a:pt x="15432" y="6560"/>
                    <a:pt x="15483" y="6532"/>
                    <a:pt x="15495" y="6400"/>
                  </a:cubicBezTo>
                  <a:cubicBezTo>
                    <a:pt x="15499" y="6357"/>
                    <a:pt x="15499" y="6324"/>
                    <a:pt x="15501" y="6308"/>
                  </a:cubicBezTo>
                  <a:cubicBezTo>
                    <a:pt x="15505" y="6293"/>
                    <a:pt x="15500" y="6297"/>
                    <a:pt x="15514" y="6294"/>
                  </a:cubicBezTo>
                  <a:cubicBezTo>
                    <a:pt x="15520" y="6294"/>
                    <a:pt x="15530" y="6296"/>
                    <a:pt x="15543" y="6301"/>
                  </a:cubicBezTo>
                  <a:cubicBezTo>
                    <a:pt x="15575" y="6313"/>
                    <a:pt x="15599" y="6324"/>
                    <a:pt x="15623" y="6324"/>
                  </a:cubicBezTo>
                  <a:cubicBezTo>
                    <a:pt x="15655" y="6325"/>
                    <a:pt x="15684" y="6301"/>
                    <a:pt x="15714" y="6240"/>
                  </a:cubicBezTo>
                  <a:cubicBezTo>
                    <a:pt x="15727" y="6212"/>
                    <a:pt x="15779" y="6132"/>
                    <a:pt x="15802" y="6136"/>
                  </a:cubicBezTo>
                  <a:cubicBezTo>
                    <a:pt x="15810" y="6137"/>
                    <a:pt x="15814" y="6138"/>
                    <a:pt x="15820" y="6170"/>
                  </a:cubicBezTo>
                  <a:cubicBezTo>
                    <a:pt x="15822" y="6193"/>
                    <a:pt x="15833" y="6217"/>
                    <a:pt x="15847" y="6216"/>
                  </a:cubicBezTo>
                  <a:cubicBezTo>
                    <a:pt x="15867" y="6213"/>
                    <a:pt x="15880" y="6186"/>
                    <a:pt x="15895" y="6165"/>
                  </a:cubicBezTo>
                  <a:cubicBezTo>
                    <a:pt x="15907" y="6144"/>
                    <a:pt x="15920" y="6128"/>
                    <a:pt x="15924" y="6126"/>
                  </a:cubicBezTo>
                  <a:cubicBezTo>
                    <a:pt x="15956" y="6174"/>
                    <a:pt x="16001" y="6227"/>
                    <a:pt x="16018" y="6281"/>
                  </a:cubicBezTo>
                  <a:cubicBezTo>
                    <a:pt x="16033" y="6325"/>
                    <a:pt x="16031" y="6352"/>
                    <a:pt x="16035" y="6387"/>
                  </a:cubicBezTo>
                  <a:cubicBezTo>
                    <a:pt x="16039" y="6424"/>
                    <a:pt x="16053" y="6461"/>
                    <a:pt x="16089" y="6488"/>
                  </a:cubicBezTo>
                  <a:cubicBezTo>
                    <a:pt x="16106" y="6496"/>
                    <a:pt x="16171" y="6570"/>
                    <a:pt x="16166" y="6590"/>
                  </a:cubicBezTo>
                  <a:cubicBezTo>
                    <a:pt x="16166" y="6591"/>
                    <a:pt x="16166" y="6597"/>
                    <a:pt x="16154" y="6608"/>
                  </a:cubicBezTo>
                  <a:cubicBezTo>
                    <a:pt x="16139" y="6621"/>
                    <a:pt x="16120" y="6632"/>
                    <a:pt x="16104" y="6644"/>
                  </a:cubicBezTo>
                  <a:cubicBezTo>
                    <a:pt x="16088" y="6658"/>
                    <a:pt x="16071" y="6672"/>
                    <a:pt x="16069" y="6711"/>
                  </a:cubicBezTo>
                  <a:cubicBezTo>
                    <a:pt x="16070" y="6746"/>
                    <a:pt x="16084" y="6769"/>
                    <a:pt x="16109" y="6799"/>
                  </a:cubicBezTo>
                  <a:cubicBezTo>
                    <a:pt x="16119" y="6812"/>
                    <a:pt x="16121" y="6824"/>
                    <a:pt x="16122" y="6849"/>
                  </a:cubicBezTo>
                  <a:cubicBezTo>
                    <a:pt x="16122" y="6862"/>
                    <a:pt x="16121" y="6877"/>
                    <a:pt x="16120" y="6893"/>
                  </a:cubicBezTo>
                  <a:cubicBezTo>
                    <a:pt x="16120" y="6896"/>
                    <a:pt x="16120" y="6899"/>
                    <a:pt x="16120" y="6903"/>
                  </a:cubicBezTo>
                  <a:cubicBezTo>
                    <a:pt x="16117" y="6938"/>
                    <a:pt x="16137" y="6960"/>
                    <a:pt x="16145" y="6960"/>
                  </a:cubicBezTo>
                  <a:cubicBezTo>
                    <a:pt x="16154" y="6963"/>
                    <a:pt x="16154" y="6961"/>
                    <a:pt x="16156" y="6967"/>
                  </a:cubicBezTo>
                  <a:lnTo>
                    <a:pt x="16156" y="6967"/>
                  </a:lnTo>
                  <a:cubicBezTo>
                    <a:pt x="16157" y="6982"/>
                    <a:pt x="16150" y="7032"/>
                    <a:pt x="16150" y="7067"/>
                  </a:cubicBezTo>
                  <a:cubicBezTo>
                    <a:pt x="16150" y="7077"/>
                    <a:pt x="16150" y="7085"/>
                    <a:pt x="16152" y="7096"/>
                  </a:cubicBezTo>
                  <a:cubicBezTo>
                    <a:pt x="16154" y="7105"/>
                    <a:pt x="16162" y="7119"/>
                    <a:pt x="16170" y="7118"/>
                  </a:cubicBezTo>
                  <a:cubicBezTo>
                    <a:pt x="16185" y="7115"/>
                    <a:pt x="16192" y="7100"/>
                    <a:pt x="16207" y="7074"/>
                  </a:cubicBezTo>
                  <a:cubicBezTo>
                    <a:pt x="16216" y="7058"/>
                    <a:pt x="16221" y="7055"/>
                    <a:pt x="16228" y="7054"/>
                  </a:cubicBezTo>
                  <a:cubicBezTo>
                    <a:pt x="16247" y="7051"/>
                    <a:pt x="16276" y="7107"/>
                    <a:pt x="16315" y="7110"/>
                  </a:cubicBezTo>
                  <a:cubicBezTo>
                    <a:pt x="16319" y="7110"/>
                    <a:pt x="16324" y="7109"/>
                    <a:pt x="16328" y="7108"/>
                  </a:cubicBezTo>
                  <a:cubicBezTo>
                    <a:pt x="16367" y="7088"/>
                    <a:pt x="16403" y="7038"/>
                    <a:pt x="16419" y="7040"/>
                  </a:cubicBezTo>
                  <a:cubicBezTo>
                    <a:pt x="16427" y="7041"/>
                    <a:pt x="16433" y="7044"/>
                    <a:pt x="16443" y="7095"/>
                  </a:cubicBezTo>
                  <a:cubicBezTo>
                    <a:pt x="16451" y="7143"/>
                    <a:pt x="16478" y="7155"/>
                    <a:pt x="16498" y="7164"/>
                  </a:cubicBezTo>
                  <a:cubicBezTo>
                    <a:pt x="16506" y="7168"/>
                    <a:pt x="16514" y="7170"/>
                    <a:pt x="16520" y="7172"/>
                  </a:cubicBezTo>
                  <a:cubicBezTo>
                    <a:pt x="16518" y="7182"/>
                    <a:pt x="16517" y="7192"/>
                    <a:pt x="16517" y="7202"/>
                  </a:cubicBezTo>
                  <a:cubicBezTo>
                    <a:pt x="16518" y="7259"/>
                    <a:pt x="16541" y="7299"/>
                    <a:pt x="16560" y="7337"/>
                  </a:cubicBezTo>
                  <a:cubicBezTo>
                    <a:pt x="16579" y="7375"/>
                    <a:pt x="16595" y="7411"/>
                    <a:pt x="16595" y="7440"/>
                  </a:cubicBezTo>
                  <a:cubicBezTo>
                    <a:pt x="16595" y="7450"/>
                    <a:pt x="16593" y="7460"/>
                    <a:pt x="16590" y="7472"/>
                  </a:cubicBezTo>
                  <a:cubicBezTo>
                    <a:pt x="16585" y="7487"/>
                    <a:pt x="16583" y="7504"/>
                    <a:pt x="16583" y="7522"/>
                  </a:cubicBezTo>
                  <a:cubicBezTo>
                    <a:pt x="16586" y="7624"/>
                    <a:pt x="16646" y="7730"/>
                    <a:pt x="16696" y="7739"/>
                  </a:cubicBezTo>
                  <a:cubicBezTo>
                    <a:pt x="16698" y="7739"/>
                    <a:pt x="16699" y="7739"/>
                    <a:pt x="16700" y="7739"/>
                  </a:cubicBezTo>
                  <a:cubicBezTo>
                    <a:pt x="16754" y="7735"/>
                    <a:pt x="16784" y="7643"/>
                    <a:pt x="16818" y="7630"/>
                  </a:cubicBezTo>
                  <a:cubicBezTo>
                    <a:pt x="16821" y="7629"/>
                    <a:pt x="16823" y="7629"/>
                    <a:pt x="16825" y="7629"/>
                  </a:cubicBezTo>
                  <a:cubicBezTo>
                    <a:pt x="16837" y="7628"/>
                    <a:pt x="16853" y="7645"/>
                    <a:pt x="16867" y="7667"/>
                  </a:cubicBezTo>
                  <a:cubicBezTo>
                    <a:pt x="16883" y="7688"/>
                    <a:pt x="16894" y="7714"/>
                    <a:pt x="16916" y="7717"/>
                  </a:cubicBezTo>
                  <a:cubicBezTo>
                    <a:pt x="16925" y="7717"/>
                    <a:pt x="16934" y="7707"/>
                    <a:pt x="16940" y="7693"/>
                  </a:cubicBezTo>
                  <a:cubicBezTo>
                    <a:pt x="16944" y="7681"/>
                    <a:pt x="16946" y="7682"/>
                    <a:pt x="16946" y="7682"/>
                  </a:cubicBezTo>
                  <a:cubicBezTo>
                    <a:pt x="16948" y="7680"/>
                    <a:pt x="16959" y="7693"/>
                    <a:pt x="16970" y="7712"/>
                  </a:cubicBezTo>
                  <a:cubicBezTo>
                    <a:pt x="16981" y="7729"/>
                    <a:pt x="16994" y="7752"/>
                    <a:pt x="17014" y="7753"/>
                  </a:cubicBezTo>
                  <a:cubicBezTo>
                    <a:pt x="17021" y="7753"/>
                    <a:pt x="17028" y="7750"/>
                    <a:pt x="17035" y="7743"/>
                  </a:cubicBezTo>
                  <a:cubicBezTo>
                    <a:pt x="17073" y="7696"/>
                    <a:pt x="17079" y="7622"/>
                    <a:pt x="17109" y="7593"/>
                  </a:cubicBezTo>
                  <a:cubicBezTo>
                    <a:pt x="17137" y="7562"/>
                    <a:pt x="17170" y="7540"/>
                    <a:pt x="17202" y="7508"/>
                  </a:cubicBezTo>
                  <a:cubicBezTo>
                    <a:pt x="17224" y="7485"/>
                    <a:pt x="17240" y="7454"/>
                    <a:pt x="17257" y="7441"/>
                  </a:cubicBezTo>
                  <a:cubicBezTo>
                    <a:pt x="17259" y="7439"/>
                    <a:pt x="17260" y="7439"/>
                    <a:pt x="17261" y="7438"/>
                  </a:cubicBezTo>
                  <a:cubicBezTo>
                    <a:pt x="17263" y="7446"/>
                    <a:pt x="17264" y="7478"/>
                    <a:pt x="17278" y="7503"/>
                  </a:cubicBezTo>
                  <a:cubicBezTo>
                    <a:pt x="17290" y="7523"/>
                    <a:pt x="17304" y="7522"/>
                    <a:pt x="17311" y="7525"/>
                  </a:cubicBezTo>
                  <a:cubicBezTo>
                    <a:pt x="17318" y="7531"/>
                    <a:pt x="17315" y="7523"/>
                    <a:pt x="17317" y="7536"/>
                  </a:cubicBezTo>
                  <a:cubicBezTo>
                    <a:pt x="17319" y="7576"/>
                    <a:pt x="17318" y="7616"/>
                    <a:pt x="17345" y="7654"/>
                  </a:cubicBezTo>
                  <a:cubicBezTo>
                    <a:pt x="17390" y="7717"/>
                    <a:pt x="17438" y="7705"/>
                    <a:pt x="17463" y="7766"/>
                  </a:cubicBezTo>
                  <a:cubicBezTo>
                    <a:pt x="17487" y="7816"/>
                    <a:pt x="17500" y="7841"/>
                    <a:pt x="17520" y="7844"/>
                  </a:cubicBezTo>
                  <a:cubicBezTo>
                    <a:pt x="17538" y="7843"/>
                    <a:pt x="17545" y="7814"/>
                    <a:pt x="17547" y="7795"/>
                  </a:cubicBezTo>
                  <a:cubicBezTo>
                    <a:pt x="17552" y="7763"/>
                    <a:pt x="17553" y="7723"/>
                    <a:pt x="17557" y="7692"/>
                  </a:cubicBezTo>
                  <a:cubicBezTo>
                    <a:pt x="17563" y="7659"/>
                    <a:pt x="17567" y="7649"/>
                    <a:pt x="17575" y="7649"/>
                  </a:cubicBezTo>
                  <a:cubicBezTo>
                    <a:pt x="17575" y="7649"/>
                    <a:pt x="17576" y="7649"/>
                    <a:pt x="17577" y="7650"/>
                  </a:cubicBezTo>
                  <a:cubicBezTo>
                    <a:pt x="17593" y="7647"/>
                    <a:pt x="17609" y="7722"/>
                    <a:pt x="17650" y="7729"/>
                  </a:cubicBezTo>
                  <a:cubicBezTo>
                    <a:pt x="17651" y="7729"/>
                    <a:pt x="17653" y="7729"/>
                    <a:pt x="17653" y="7729"/>
                  </a:cubicBezTo>
                  <a:cubicBezTo>
                    <a:pt x="17687" y="7715"/>
                    <a:pt x="17695" y="7667"/>
                    <a:pt x="17704" y="7671"/>
                  </a:cubicBezTo>
                  <a:lnTo>
                    <a:pt x="17704" y="7671"/>
                  </a:lnTo>
                  <a:lnTo>
                    <a:pt x="17705" y="7672"/>
                  </a:lnTo>
                  <a:lnTo>
                    <a:pt x="17705" y="7671"/>
                  </a:lnTo>
                  <a:cubicBezTo>
                    <a:pt x="17716" y="7672"/>
                    <a:pt x="17731" y="7696"/>
                    <a:pt x="17747" y="7728"/>
                  </a:cubicBezTo>
                  <a:cubicBezTo>
                    <a:pt x="17764" y="7758"/>
                    <a:pt x="17783" y="7796"/>
                    <a:pt x="17813" y="7797"/>
                  </a:cubicBezTo>
                  <a:cubicBezTo>
                    <a:pt x="17814" y="7797"/>
                    <a:pt x="17814" y="7797"/>
                    <a:pt x="17814" y="7797"/>
                  </a:cubicBezTo>
                  <a:lnTo>
                    <a:pt x="17814" y="7797"/>
                  </a:lnTo>
                  <a:lnTo>
                    <a:pt x="17815" y="7797"/>
                  </a:lnTo>
                  <a:cubicBezTo>
                    <a:pt x="17841" y="7796"/>
                    <a:pt x="17855" y="7762"/>
                    <a:pt x="17864" y="7738"/>
                  </a:cubicBezTo>
                  <a:cubicBezTo>
                    <a:pt x="17868" y="7725"/>
                    <a:pt x="17872" y="7714"/>
                    <a:pt x="17874" y="7708"/>
                  </a:cubicBezTo>
                  <a:cubicBezTo>
                    <a:pt x="17876" y="7705"/>
                    <a:pt x="17876" y="7704"/>
                    <a:pt x="17877" y="7703"/>
                  </a:cubicBezTo>
                  <a:cubicBezTo>
                    <a:pt x="17877" y="7703"/>
                    <a:pt x="17878" y="7704"/>
                    <a:pt x="17879" y="7706"/>
                  </a:cubicBezTo>
                  <a:cubicBezTo>
                    <a:pt x="17882" y="7710"/>
                    <a:pt x="17886" y="7717"/>
                    <a:pt x="17892" y="7730"/>
                  </a:cubicBezTo>
                  <a:cubicBezTo>
                    <a:pt x="17907" y="7766"/>
                    <a:pt x="17924" y="7783"/>
                    <a:pt x="17941" y="7783"/>
                  </a:cubicBezTo>
                  <a:cubicBezTo>
                    <a:pt x="17967" y="7781"/>
                    <a:pt x="17984" y="7756"/>
                    <a:pt x="18001" y="7758"/>
                  </a:cubicBezTo>
                  <a:cubicBezTo>
                    <a:pt x="18006" y="7758"/>
                    <a:pt x="18010" y="7759"/>
                    <a:pt x="18015" y="7762"/>
                  </a:cubicBezTo>
                  <a:cubicBezTo>
                    <a:pt x="18031" y="7771"/>
                    <a:pt x="18040" y="7795"/>
                    <a:pt x="18052" y="7826"/>
                  </a:cubicBezTo>
                  <a:cubicBezTo>
                    <a:pt x="18064" y="7855"/>
                    <a:pt x="18082" y="7890"/>
                    <a:pt x="18113" y="7890"/>
                  </a:cubicBezTo>
                  <a:cubicBezTo>
                    <a:pt x="18117" y="7890"/>
                    <a:pt x="18121" y="7889"/>
                    <a:pt x="18124" y="7888"/>
                  </a:cubicBezTo>
                  <a:cubicBezTo>
                    <a:pt x="18135" y="7882"/>
                    <a:pt x="18132" y="7882"/>
                    <a:pt x="18135" y="7879"/>
                  </a:cubicBezTo>
                  <a:cubicBezTo>
                    <a:pt x="18148" y="7859"/>
                    <a:pt x="18198" y="7790"/>
                    <a:pt x="18213" y="7785"/>
                  </a:cubicBezTo>
                  <a:lnTo>
                    <a:pt x="18213" y="7785"/>
                  </a:lnTo>
                  <a:cubicBezTo>
                    <a:pt x="18213" y="7786"/>
                    <a:pt x="18213" y="7789"/>
                    <a:pt x="18213" y="7793"/>
                  </a:cubicBezTo>
                  <a:cubicBezTo>
                    <a:pt x="18213" y="7822"/>
                    <a:pt x="18197" y="7840"/>
                    <a:pt x="18195" y="7886"/>
                  </a:cubicBezTo>
                  <a:cubicBezTo>
                    <a:pt x="18195" y="7909"/>
                    <a:pt x="18201" y="7932"/>
                    <a:pt x="18214" y="7954"/>
                  </a:cubicBezTo>
                  <a:cubicBezTo>
                    <a:pt x="18233" y="7986"/>
                    <a:pt x="18252" y="8007"/>
                    <a:pt x="18259" y="8037"/>
                  </a:cubicBezTo>
                  <a:cubicBezTo>
                    <a:pt x="18261" y="8046"/>
                    <a:pt x="18261" y="8055"/>
                    <a:pt x="18261" y="8063"/>
                  </a:cubicBezTo>
                  <a:cubicBezTo>
                    <a:pt x="18263" y="8117"/>
                    <a:pt x="18222" y="8182"/>
                    <a:pt x="18215" y="8270"/>
                  </a:cubicBezTo>
                  <a:cubicBezTo>
                    <a:pt x="18215" y="8282"/>
                    <a:pt x="18207" y="8289"/>
                    <a:pt x="18187" y="8296"/>
                  </a:cubicBezTo>
                  <a:cubicBezTo>
                    <a:pt x="18178" y="8300"/>
                    <a:pt x="18168" y="8302"/>
                    <a:pt x="18159" y="8310"/>
                  </a:cubicBezTo>
                  <a:cubicBezTo>
                    <a:pt x="18150" y="8316"/>
                    <a:pt x="18139" y="8335"/>
                    <a:pt x="18140" y="8360"/>
                  </a:cubicBezTo>
                  <a:cubicBezTo>
                    <a:pt x="18140" y="8360"/>
                    <a:pt x="18139" y="8365"/>
                    <a:pt x="18140" y="8370"/>
                  </a:cubicBezTo>
                  <a:cubicBezTo>
                    <a:pt x="18142" y="8443"/>
                    <a:pt x="18177" y="8472"/>
                    <a:pt x="18207" y="8468"/>
                  </a:cubicBezTo>
                  <a:cubicBezTo>
                    <a:pt x="18232" y="8468"/>
                    <a:pt x="18259" y="8457"/>
                    <a:pt x="18277" y="8451"/>
                  </a:cubicBezTo>
                  <a:cubicBezTo>
                    <a:pt x="18261" y="8475"/>
                    <a:pt x="18234" y="8510"/>
                    <a:pt x="18233" y="8509"/>
                  </a:cubicBezTo>
                  <a:cubicBezTo>
                    <a:pt x="18190" y="8538"/>
                    <a:pt x="18177" y="8611"/>
                    <a:pt x="18178" y="8677"/>
                  </a:cubicBezTo>
                  <a:cubicBezTo>
                    <a:pt x="18178" y="8695"/>
                    <a:pt x="18178" y="8713"/>
                    <a:pt x="18180" y="8732"/>
                  </a:cubicBezTo>
                  <a:cubicBezTo>
                    <a:pt x="18181" y="8765"/>
                    <a:pt x="18201" y="8780"/>
                    <a:pt x="18212" y="8777"/>
                  </a:cubicBezTo>
                  <a:cubicBezTo>
                    <a:pt x="18226" y="8777"/>
                    <a:pt x="18241" y="8769"/>
                    <a:pt x="18246" y="8768"/>
                  </a:cubicBezTo>
                  <a:cubicBezTo>
                    <a:pt x="18246" y="8768"/>
                    <a:pt x="18247" y="8768"/>
                    <a:pt x="18247" y="8768"/>
                  </a:cubicBezTo>
                  <a:cubicBezTo>
                    <a:pt x="18263" y="8763"/>
                    <a:pt x="18288" y="8828"/>
                    <a:pt x="18296" y="8869"/>
                  </a:cubicBezTo>
                  <a:cubicBezTo>
                    <a:pt x="18296" y="8869"/>
                    <a:pt x="18296" y="8870"/>
                    <a:pt x="18296" y="8874"/>
                  </a:cubicBezTo>
                  <a:cubicBezTo>
                    <a:pt x="18296" y="8900"/>
                    <a:pt x="18287" y="8954"/>
                    <a:pt x="18286" y="8978"/>
                  </a:cubicBezTo>
                  <a:cubicBezTo>
                    <a:pt x="18286" y="8980"/>
                    <a:pt x="18286" y="8991"/>
                    <a:pt x="18291" y="8999"/>
                  </a:cubicBezTo>
                  <a:cubicBezTo>
                    <a:pt x="18295" y="9006"/>
                    <a:pt x="18301" y="9009"/>
                    <a:pt x="18306" y="9009"/>
                  </a:cubicBezTo>
                  <a:cubicBezTo>
                    <a:pt x="18325" y="9005"/>
                    <a:pt x="18340" y="8982"/>
                    <a:pt x="18344" y="8980"/>
                  </a:cubicBezTo>
                  <a:cubicBezTo>
                    <a:pt x="18345" y="8996"/>
                    <a:pt x="18321" y="9057"/>
                    <a:pt x="18320" y="9103"/>
                  </a:cubicBezTo>
                  <a:cubicBezTo>
                    <a:pt x="18320" y="9104"/>
                    <a:pt x="18320" y="9106"/>
                    <a:pt x="18320" y="9110"/>
                  </a:cubicBezTo>
                  <a:cubicBezTo>
                    <a:pt x="18320" y="9116"/>
                    <a:pt x="18321" y="9123"/>
                    <a:pt x="18321" y="9128"/>
                  </a:cubicBezTo>
                  <a:cubicBezTo>
                    <a:pt x="18321" y="9179"/>
                    <a:pt x="18310" y="9209"/>
                    <a:pt x="18310" y="9257"/>
                  </a:cubicBezTo>
                  <a:cubicBezTo>
                    <a:pt x="18310" y="9278"/>
                    <a:pt x="18312" y="9300"/>
                    <a:pt x="18319" y="9323"/>
                  </a:cubicBezTo>
                  <a:cubicBezTo>
                    <a:pt x="18323" y="9338"/>
                    <a:pt x="18324" y="9349"/>
                    <a:pt x="18324" y="9358"/>
                  </a:cubicBezTo>
                  <a:cubicBezTo>
                    <a:pt x="18326" y="9386"/>
                    <a:pt x="18302" y="9411"/>
                    <a:pt x="18264" y="9424"/>
                  </a:cubicBezTo>
                  <a:cubicBezTo>
                    <a:pt x="18227" y="9437"/>
                    <a:pt x="18184" y="9439"/>
                    <a:pt x="18161" y="9445"/>
                  </a:cubicBezTo>
                  <a:cubicBezTo>
                    <a:pt x="18121" y="9456"/>
                    <a:pt x="18072" y="9461"/>
                    <a:pt x="18031" y="9495"/>
                  </a:cubicBezTo>
                  <a:cubicBezTo>
                    <a:pt x="18010" y="9511"/>
                    <a:pt x="18001" y="9548"/>
                    <a:pt x="18002" y="9578"/>
                  </a:cubicBezTo>
                  <a:cubicBezTo>
                    <a:pt x="18002" y="9617"/>
                    <a:pt x="18010" y="9654"/>
                    <a:pt x="18009" y="9681"/>
                  </a:cubicBezTo>
                  <a:cubicBezTo>
                    <a:pt x="18009" y="9697"/>
                    <a:pt x="18008" y="9707"/>
                    <a:pt x="18002" y="9716"/>
                  </a:cubicBezTo>
                  <a:cubicBezTo>
                    <a:pt x="17977" y="9764"/>
                    <a:pt x="17910" y="9761"/>
                    <a:pt x="17879" y="9849"/>
                  </a:cubicBezTo>
                  <a:cubicBezTo>
                    <a:pt x="17873" y="9869"/>
                    <a:pt x="17870" y="9889"/>
                    <a:pt x="17870" y="9908"/>
                  </a:cubicBezTo>
                  <a:cubicBezTo>
                    <a:pt x="17871" y="9957"/>
                    <a:pt x="17883" y="9997"/>
                    <a:pt x="17882" y="10028"/>
                  </a:cubicBezTo>
                  <a:cubicBezTo>
                    <a:pt x="17882" y="10029"/>
                    <a:pt x="17882" y="10030"/>
                    <a:pt x="17882" y="10030"/>
                  </a:cubicBezTo>
                  <a:cubicBezTo>
                    <a:pt x="17877" y="10058"/>
                    <a:pt x="17871" y="10086"/>
                    <a:pt x="17866" y="10113"/>
                  </a:cubicBezTo>
                  <a:cubicBezTo>
                    <a:pt x="17865" y="10116"/>
                    <a:pt x="17864" y="10120"/>
                    <a:pt x="17865" y="10123"/>
                  </a:cubicBezTo>
                  <a:cubicBezTo>
                    <a:pt x="17864" y="10134"/>
                    <a:pt x="17869" y="10148"/>
                    <a:pt x="17874" y="10151"/>
                  </a:cubicBezTo>
                  <a:cubicBezTo>
                    <a:pt x="17879" y="10156"/>
                    <a:pt x="17882" y="10156"/>
                    <a:pt x="17886" y="10156"/>
                  </a:cubicBezTo>
                  <a:cubicBezTo>
                    <a:pt x="17891" y="10156"/>
                    <a:pt x="17897" y="10154"/>
                    <a:pt x="17902" y="10152"/>
                  </a:cubicBezTo>
                  <a:cubicBezTo>
                    <a:pt x="17901" y="10177"/>
                    <a:pt x="17901" y="10210"/>
                    <a:pt x="17901" y="10245"/>
                  </a:cubicBezTo>
                  <a:cubicBezTo>
                    <a:pt x="17901" y="10287"/>
                    <a:pt x="17901" y="10322"/>
                    <a:pt x="17904" y="10349"/>
                  </a:cubicBezTo>
                  <a:cubicBezTo>
                    <a:pt x="17890" y="10372"/>
                    <a:pt x="17881" y="10392"/>
                    <a:pt x="17882" y="10401"/>
                  </a:cubicBezTo>
                  <a:cubicBezTo>
                    <a:pt x="17876" y="10384"/>
                    <a:pt x="17881" y="10329"/>
                    <a:pt x="17860" y="10339"/>
                  </a:cubicBezTo>
                  <a:cubicBezTo>
                    <a:pt x="17832" y="10350"/>
                    <a:pt x="17804" y="10363"/>
                    <a:pt x="17776" y="10378"/>
                  </a:cubicBezTo>
                  <a:cubicBezTo>
                    <a:pt x="17674" y="10436"/>
                    <a:pt x="17684" y="10510"/>
                    <a:pt x="17639" y="10657"/>
                  </a:cubicBezTo>
                  <a:cubicBezTo>
                    <a:pt x="17657" y="10597"/>
                    <a:pt x="17547" y="10672"/>
                    <a:pt x="17538" y="10686"/>
                  </a:cubicBezTo>
                  <a:cubicBezTo>
                    <a:pt x="17479" y="10780"/>
                    <a:pt x="17235" y="10978"/>
                    <a:pt x="17293" y="11052"/>
                  </a:cubicBezTo>
                  <a:cubicBezTo>
                    <a:pt x="17203" y="10936"/>
                    <a:pt x="17161" y="11107"/>
                    <a:pt x="17099" y="11238"/>
                  </a:cubicBezTo>
                  <a:cubicBezTo>
                    <a:pt x="17034" y="11371"/>
                    <a:pt x="17007" y="11299"/>
                    <a:pt x="16943" y="11281"/>
                  </a:cubicBezTo>
                  <a:cubicBezTo>
                    <a:pt x="16994" y="11295"/>
                    <a:pt x="16939" y="11537"/>
                    <a:pt x="16892" y="11551"/>
                  </a:cubicBezTo>
                  <a:cubicBezTo>
                    <a:pt x="16793" y="11580"/>
                    <a:pt x="16881" y="11823"/>
                    <a:pt x="16910" y="11900"/>
                  </a:cubicBezTo>
                  <a:cubicBezTo>
                    <a:pt x="16962" y="12038"/>
                    <a:pt x="17027" y="12177"/>
                    <a:pt x="17101" y="12279"/>
                  </a:cubicBezTo>
                  <a:cubicBezTo>
                    <a:pt x="17230" y="12454"/>
                    <a:pt x="17240" y="12123"/>
                    <a:pt x="17279" y="12133"/>
                  </a:cubicBezTo>
                  <a:cubicBezTo>
                    <a:pt x="17300" y="12138"/>
                    <a:pt x="17292" y="12238"/>
                    <a:pt x="17343" y="12218"/>
                  </a:cubicBezTo>
                  <a:cubicBezTo>
                    <a:pt x="17377" y="12206"/>
                    <a:pt x="17368" y="12093"/>
                    <a:pt x="17402" y="12070"/>
                  </a:cubicBezTo>
                  <a:cubicBezTo>
                    <a:pt x="17421" y="12057"/>
                    <a:pt x="17559" y="12080"/>
                    <a:pt x="17565" y="12131"/>
                  </a:cubicBezTo>
                  <a:cubicBezTo>
                    <a:pt x="17569" y="12166"/>
                    <a:pt x="17486" y="12187"/>
                    <a:pt x="17502" y="12289"/>
                  </a:cubicBezTo>
                  <a:cubicBezTo>
                    <a:pt x="17508" y="12328"/>
                    <a:pt x="17549" y="12399"/>
                    <a:pt x="17518" y="12436"/>
                  </a:cubicBezTo>
                  <a:cubicBezTo>
                    <a:pt x="17470" y="12494"/>
                    <a:pt x="17408" y="12470"/>
                    <a:pt x="17363" y="12537"/>
                  </a:cubicBezTo>
                  <a:cubicBezTo>
                    <a:pt x="17298" y="12638"/>
                    <a:pt x="17239" y="12365"/>
                    <a:pt x="17172" y="12542"/>
                  </a:cubicBezTo>
                  <a:cubicBezTo>
                    <a:pt x="17116" y="12691"/>
                    <a:pt x="17188" y="12575"/>
                    <a:pt x="17179" y="12612"/>
                  </a:cubicBezTo>
                  <a:cubicBezTo>
                    <a:pt x="17166" y="12668"/>
                    <a:pt x="17140" y="12646"/>
                    <a:pt x="17119" y="12682"/>
                  </a:cubicBezTo>
                  <a:cubicBezTo>
                    <a:pt x="17089" y="12735"/>
                    <a:pt x="17100" y="12907"/>
                    <a:pt x="17048" y="12833"/>
                  </a:cubicBezTo>
                  <a:cubicBezTo>
                    <a:pt x="17026" y="12800"/>
                    <a:pt x="16957" y="12877"/>
                    <a:pt x="16938" y="12892"/>
                  </a:cubicBezTo>
                  <a:cubicBezTo>
                    <a:pt x="16900" y="12923"/>
                    <a:pt x="16821" y="13167"/>
                    <a:pt x="16819" y="13166"/>
                  </a:cubicBezTo>
                  <a:cubicBezTo>
                    <a:pt x="16749" y="13158"/>
                    <a:pt x="16724" y="13482"/>
                    <a:pt x="16615" y="13380"/>
                  </a:cubicBezTo>
                  <a:cubicBezTo>
                    <a:pt x="16585" y="13352"/>
                    <a:pt x="16499" y="13301"/>
                    <a:pt x="16482" y="13247"/>
                  </a:cubicBezTo>
                  <a:cubicBezTo>
                    <a:pt x="16480" y="13242"/>
                    <a:pt x="16549" y="13206"/>
                    <a:pt x="16551" y="13194"/>
                  </a:cubicBezTo>
                  <a:cubicBezTo>
                    <a:pt x="16549" y="13204"/>
                    <a:pt x="16520" y="13074"/>
                    <a:pt x="16518" y="13047"/>
                  </a:cubicBezTo>
                  <a:cubicBezTo>
                    <a:pt x="16516" y="12957"/>
                    <a:pt x="16552" y="13028"/>
                    <a:pt x="16543" y="12927"/>
                  </a:cubicBezTo>
                  <a:cubicBezTo>
                    <a:pt x="16518" y="12642"/>
                    <a:pt x="16391" y="12791"/>
                    <a:pt x="16297" y="12645"/>
                  </a:cubicBezTo>
                  <a:cubicBezTo>
                    <a:pt x="16243" y="12560"/>
                    <a:pt x="16196" y="12670"/>
                    <a:pt x="16139" y="12670"/>
                  </a:cubicBezTo>
                  <a:cubicBezTo>
                    <a:pt x="16056" y="12670"/>
                    <a:pt x="16122" y="12502"/>
                    <a:pt x="16159" y="12472"/>
                  </a:cubicBezTo>
                  <a:cubicBezTo>
                    <a:pt x="16222" y="12420"/>
                    <a:pt x="16181" y="12387"/>
                    <a:pt x="16222" y="12326"/>
                  </a:cubicBezTo>
                  <a:cubicBezTo>
                    <a:pt x="16236" y="12306"/>
                    <a:pt x="16312" y="12251"/>
                    <a:pt x="16318" y="12218"/>
                  </a:cubicBezTo>
                  <a:cubicBezTo>
                    <a:pt x="16314" y="12205"/>
                    <a:pt x="16310" y="12190"/>
                    <a:pt x="16308" y="12175"/>
                  </a:cubicBezTo>
                  <a:cubicBezTo>
                    <a:pt x="16355" y="12126"/>
                    <a:pt x="16453" y="12087"/>
                    <a:pt x="16484" y="12055"/>
                  </a:cubicBezTo>
                  <a:cubicBezTo>
                    <a:pt x="16472" y="12067"/>
                    <a:pt x="16500" y="11946"/>
                    <a:pt x="16505" y="11969"/>
                  </a:cubicBezTo>
                  <a:cubicBezTo>
                    <a:pt x="16495" y="11926"/>
                    <a:pt x="16455" y="11991"/>
                    <a:pt x="16453" y="11987"/>
                  </a:cubicBezTo>
                  <a:cubicBezTo>
                    <a:pt x="16457" y="11994"/>
                    <a:pt x="16436" y="11655"/>
                    <a:pt x="16410" y="11843"/>
                  </a:cubicBezTo>
                  <a:cubicBezTo>
                    <a:pt x="16400" y="11917"/>
                    <a:pt x="16370" y="11904"/>
                    <a:pt x="16337" y="11881"/>
                  </a:cubicBezTo>
                  <a:cubicBezTo>
                    <a:pt x="16275" y="11835"/>
                    <a:pt x="16319" y="11793"/>
                    <a:pt x="16294" y="11772"/>
                  </a:cubicBezTo>
                  <a:cubicBezTo>
                    <a:pt x="16303" y="11779"/>
                    <a:pt x="16263" y="11874"/>
                    <a:pt x="16266" y="11870"/>
                  </a:cubicBezTo>
                  <a:cubicBezTo>
                    <a:pt x="16263" y="11874"/>
                    <a:pt x="16176" y="11881"/>
                    <a:pt x="16139" y="11899"/>
                  </a:cubicBezTo>
                  <a:cubicBezTo>
                    <a:pt x="16049" y="11943"/>
                    <a:pt x="16018" y="12049"/>
                    <a:pt x="15959" y="11890"/>
                  </a:cubicBezTo>
                  <a:cubicBezTo>
                    <a:pt x="15952" y="11872"/>
                    <a:pt x="15802" y="11869"/>
                    <a:pt x="15776" y="11857"/>
                  </a:cubicBezTo>
                  <a:cubicBezTo>
                    <a:pt x="15761" y="11850"/>
                    <a:pt x="15892" y="11764"/>
                    <a:pt x="15866" y="11715"/>
                  </a:cubicBezTo>
                  <a:cubicBezTo>
                    <a:pt x="15816" y="11618"/>
                    <a:pt x="15877" y="11643"/>
                    <a:pt x="15967" y="11638"/>
                  </a:cubicBezTo>
                  <a:cubicBezTo>
                    <a:pt x="15969" y="11638"/>
                    <a:pt x="15996" y="11563"/>
                    <a:pt x="16020" y="11509"/>
                  </a:cubicBezTo>
                  <a:cubicBezTo>
                    <a:pt x="15972" y="11532"/>
                    <a:pt x="15895" y="11542"/>
                    <a:pt x="15900" y="11537"/>
                  </a:cubicBezTo>
                  <a:cubicBezTo>
                    <a:pt x="15855" y="11581"/>
                    <a:pt x="15796" y="11482"/>
                    <a:pt x="15801" y="11399"/>
                  </a:cubicBezTo>
                  <a:cubicBezTo>
                    <a:pt x="15807" y="11354"/>
                    <a:pt x="15808" y="11270"/>
                    <a:pt x="15808" y="11266"/>
                  </a:cubicBezTo>
                  <a:cubicBezTo>
                    <a:pt x="15808" y="11271"/>
                    <a:pt x="15773" y="11345"/>
                    <a:pt x="15772" y="11382"/>
                  </a:cubicBezTo>
                  <a:cubicBezTo>
                    <a:pt x="15771" y="11462"/>
                    <a:pt x="15831" y="11582"/>
                    <a:pt x="15735" y="11544"/>
                  </a:cubicBezTo>
                  <a:cubicBezTo>
                    <a:pt x="15687" y="11525"/>
                    <a:pt x="15626" y="11684"/>
                    <a:pt x="15672" y="11455"/>
                  </a:cubicBezTo>
                  <a:cubicBezTo>
                    <a:pt x="15659" y="11479"/>
                    <a:pt x="15622" y="11473"/>
                    <a:pt x="15620" y="11429"/>
                  </a:cubicBezTo>
                  <a:cubicBezTo>
                    <a:pt x="15624" y="11531"/>
                    <a:pt x="15682" y="11551"/>
                    <a:pt x="15576" y="11609"/>
                  </a:cubicBezTo>
                  <a:cubicBezTo>
                    <a:pt x="15557" y="11620"/>
                    <a:pt x="15361" y="11700"/>
                    <a:pt x="15416" y="11775"/>
                  </a:cubicBezTo>
                  <a:cubicBezTo>
                    <a:pt x="15451" y="11823"/>
                    <a:pt x="15268" y="12468"/>
                    <a:pt x="15237" y="12443"/>
                  </a:cubicBezTo>
                  <a:cubicBezTo>
                    <a:pt x="15231" y="12438"/>
                    <a:pt x="15229" y="12364"/>
                    <a:pt x="15226" y="12368"/>
                  </a:cubicBezTo>
                  <a:cubicBezTo>
                    <a:pt x="15210" y="12396"/>
                    <a:pt x="15239" y="12441"/>
                    <a:pt x="15215" y="12464"/>
                  </a:cubicBezTo>
                  <a:cubicBezTo>
                    <a:pt x="15197" y="12481"/>
                    <a:pt x="15204" y="12416"/>
                    <a:pt x="15195" y="12410"/>
                  </a:cubicBezTo>
                  <a:cubicBezTo>
                    <a:pt x="15163" y="12389"/>
                    <a:pt x="15181" y="12512"/>
                    <a:pt x="15178" y="12510"/>
                  </a:cubicBezTo>
                  <a:cubicBezTo>
                    <a:pt x="15176" y="12494"/>
                    <a:pt x="15171" y="12483"/>
                    <a:pt x="15162" y="12477"/>
                  </a:cubicBezTo>
                  <a:cubicBezTo>
                    <a:pt x="15154" y="12487"/>
                    <a:pt x="15179" y="12554"/>
                    <a:pt x="15173" y="12552"/>
                  </a:cubicBezTo>
                  <a:cubicBezTo>
                    <a:pt x="15157" y="12548"/>
                    <a:pt x="15157" y="12472"/>
                    <a:pt x="15131" y="12518"/>
                  </a:cubicBezTo>
                  <a:cubicBezTo>
                    <a:pt x="15105" y="12565"/>
                    <a:pt x="15186" y="12642"/>
                    <a:pt x="15109" y="12661"/>
                  </a:cubicBezTo>
                  <a:cubicBezTo>
                    <a:pt x="15105" y="12662"/>
                    <a:pt x="15092" y="12478"/>
                    <a:pt x="15061" y="12485"/>
                  </a:cubicBezTo>
                  <a:cubicBezTo>
                    <a:pt x="15062" y="12485"/>
                    <a:pt x="15065" y="12842"/>
                    <a:pt x="15091" y="12836"/>
                  </a:cubicBezTo>
                  <a:cubicBezTo>
                    <a:pt x="15090" y="12836"/>
                    <a:pt x="15115" y="12830"/>
                    <a:pt x="15115" y="12830"/>
                  </a:cubicBezTo>
                  <a:cubicBezTo>
                    <a:pt x="15116" y="12819"/>
                    <a:pt x="15117" y="12809"/>
                    <a:pt x="15118" y="12798"/>
                  </a:cubicBezTo>
                  <a:cubicBezTo>
                    <a:pt x="15200" y="12878"/>
                    <a:pt x="15075" y="13038"/>
                    <a:pt x="15092" y="13096"/>
                  </a:cubicBezTo>
                  <a:cubicBezTo>
                    <a:pt x="15097" y="13111"/>
                    <a:pt x="15118" y="13041"/>
                    <a:pt x="15125" y="13076"/>
                  </a:cubicBezTo>
                  <a:cubicBezTo>
                    <a:pt x="15133" y="13114"/>
                    <a:pt x="15125" y="13331"/>
                    <a:pt x="15115" y="13375"/>
                  </a:cubicBezTo>
                  <a:cubicBezTo>
                    <a:pt x="15114" y="13379"/>
                    <a:pt x="14882" y="13557"/>
                    <a:pt x="14903" y="13576"/>
                  </a:cubicBezTo>
                  <a:cubicBezTo>
                    <a:pt x="14857" y="13563"/>
                    <a:pt x="14938" y="13441"/>
                    <a:pt x="14950" y="13457"/>
                  </a:cubicBezTo>
                  <a:cubicBezTo>
                    <a:pt x="14934" y="13435"/>
                    <a:pt x="14885" y="13452"/>
                    <a:pt x="14904" y="13375"/>
                  </a:cubicBezTo>
                  <a:cubicBezTo>
                    <a:pt x="14917" y="13319"/>
                    <a:pt x="14919" y="13231"/>
                    <a:pt x="14859" y="13284"/>
                  </a:cubicBezTo>
                  <a:cubicBezTo>
                    <a:pt x="14809" y="13328"/>
                    <a:pt x="14892" y="13475"/>
                    <a:pt x="14880" y="13503"/>
                  </a:cubicBezTo>
                  <a:cubicBezTo>
                    <a:pt x="14864" y="13544"/>
                    <a:pt x="14795" y="13542"/>
                    <a:pt x="14826" y="13623"/>
                  </a:cubicBezTo>
                  <a:cubicBezTo>
                    <a:pt x="14837" y="13652"/>
                    <a:pt x="14869" y="13466"/>
                    <a:pt x="14895" y="13623"/>
                  </a:cubicBezTo>
                  <a:cubicBezTo>
                    <a:pt x="14867" y="13455"/>
                    <a:pt x="14806" y="13808"/>
                    <a:pt x="14824" y="13794"/>
                  </a:cubicBezTo>
                  <a:cubicBezTo>
                    <a:pt x="14842" y="13782"/>
                    <a:pt x="14818" y="13837"/>
                    <a:pt x="14790" y="13941"/>
                  </a:cubicBezTo>
                  <a:cubicBezTo>
                    <a:pt x="14779" y="13985"/>
                    <a:pt x="14812" y="14083"/>
                    <a:pt x="14812" y="14139"/>
                  </a:cubicBezTo>
                  <a:cubicBezTo>
                    <a:pt x="14814" y="14292"/>
                    <a:pt x="14813" y="14445"/>
                    <a:pt x="14811" y="14598"/>
                  </a:cubicBezTo>
                  <a:cubicBezTo>
                    <a:pt x="14810" y="14694"/>
                    <a:pt x="14815" y="14831"/>
                    <a:pt x="14737" y="14805"/>
                  </a:cubicBezTo>
                  <a:cubicBezTo>
                    <a:pt x="14682" y="14787"/>
                    <a:pt x="14638" y="14817"/>
                    <a:pt x="14631" y="14922"/>
                  </a:cubicBezTo>
                  <a:cubicBezTo>
                    <a:pt x="14627" y="14982"/>
                    <a:pt x="14580" y="14993"/>
                    <a:pt x="14579" y="15020"/>
                  </a:cubicBezTo>
                  <a:cubicBezTo>
                    <a:pt x="14579" y="15051"/>
                    <a:pt x="14621" y="15453"/>
                    <a:pt x="14604" y="15479"/>
                  </a:cubicBezTo>
                  <a:cubicBezTo>
                    <a:pt x="14571" y="15529"/>
                    <a:pt x="14558" y="15440"/>
                    <a:pt x="14543" y="15521"/>
                  </a:cubicBezTo>
                  <a:cubicBezTo>
                    <a:pt x="14533" y="15578"/>
                    <a:pt x="14523" y="15570"/>
                    <a:pt x="14518" y="15634"/>
                  </a:cubicBezTo>
                  <a:cubicBezTo>
                    <a:pt x="14521" y="15593"/>
                    <a:pt x="14405" y="15705"/>
                    <a:pt x="14454" y="15754"/>
                  </a:cubicBezTo>
                  <a:cubicBezTo>
                    <a:pt x="14456" y="15743"/>
                    <a:pt x="14458" y="15733"/>
                    <a:pt x="14459" y="15722"/>
                  </a:cubicBezTo>
                  <a:cubicBezTo>
                    <a:pt x="14529" y="15709"/>
                    <a:pt x="14564" y="15791"/>
                    <a:pt x="14570" y="15903"/>
                  </a:cubicBezTo>
                  <a:cubicBezTo>
                    <a:pt x="14574" y="15977"/>
                    <a:pt x="14687" y="16061"/>
                    <a:pt x="14695" y="16183"/>
                  </a:cubicBezTo>
                  <a:cubicBezTo>
                    <a:pt x="14699" y="16248"/>
                    <a:pt x="14655" y="16239"/>
                    <a:pt x="14685" y="16331"/>
                  </a:cubicBezTo>
                  <a:cubicBezTo>
                    <a:pt x="14761" y="16566"/>
                    <a:pt x="14886" y="16625"/>
                    <a:pt x="15026" y="16687"/>
                  </a:cubicBezTo>
                  <a:cubicBezTo>
                    <a:pt x="15115" y="16727"/>
                    <a:pt x="15141" y="16708"/>
                    <a:pt x="15289" y="16738"/>
                  </a:cubicBezTo>
                  <a:cubicBezTo>
                    <a:pt x="15349" y="16750"/>
                    <a:pt x="15408" y="16764"/>
                    <a:pt x="15469" y="16758"/>
                  </a:cubicBezTo>
                  <a:cubicBezTo>
                    <a:pt x="15540" y="16752"/>
                    <a:pt x="15541" y="16672"/>
                    <a:pt x="15590" y="16646"/>
                  </a:cubicBezTo>
                  <a:cubicBezTo>
                    <a:pt x="15633" y="16624"/>
                    <a:pt x="15713" y="16694"/>
                    <a:pt x="15755" y="16714"/>
                  </a:cubicBezTo>
                  <a:cubicBezTo>
                    <a:pt x="15818" y="16744"/>
                    <a:pt x="15863" y="16696"/>
                    <a:pt x="15923" y="16671"/>
                  </a:cubicBezTo>
                  <a:cubicBezTo>
                    <a:pt x="16032" y="16605"/>
                    <a:pt x="15973" y="16475"/>
                    <a:pt x="16067" y="16379"/>
                  </a:cubicBezTo>
                  <a:cubicBezTo>
                    <a:pt x="16201" y="16243"/>
                    <a:pt x="16295" y="15934"/>
                    <a:pt x="16435" y="15831"/>
                  </a:cubicBezTo>
                  <a:cubicBezTo>
                    <a:pt x="16570" y="15732"/>
                    <a:pt x="16668" y="15595"/>
                    <a:pt x="16815" y="15575"/>
                  </a:cubicBezTo>
                  <a:cubicBezTo>
                    <a:pt x="16943" y="15556"/>
                    <a:pt x="17087" y="15561"/>
                    <a:pt x="17209" y="15480"/>
                  </a:cubicBezTo>
                  <a:cubicBezTo>
                    <a:pt x="17265" y="15443"/>
                    <a:pt x="17250" y="15352"/>
                    <a:pt x="17283" y="15313"/>
                  </a:cubicBezTo>
                  <a:cubicBezTo>
                    <a:pt x="17301" y="15291"/>
                    <a:pt x="17341" y="15375"/>
                    <a:pt x="17375" y="15361"/>
                  </a:cubicBezTo>
                  <a:cubicBezTo>
                    <a:pt x="17278" y="15437"/>
                    <a:pt x="17470" y="15640"/>
                    <a:pt x="17506" y="15647"/>
                  </a:cubicBezTo>
                  <a:cubicBezTo>
                    <a:pt x="17538" y="15653"/>
                    <a:pt x="17693" y="15567"/>
                    <a:pt x="17692" y="15520"/>
                  </a:cubicBezTo>
                  <a:cubicBezTo>
                    <a:pt x="17693" y="15503"/>
                    <a:pt x="17877" y="15939"/>
                    <a:pt x="17939" y="15870"/>
                  </a:cubicBezTo>
                  <a:cubicBezTo>
                    <a:pt x="18000" y="15800"/>
                    <a:pt x="18017" y="15627"/>
                    <a:pt x="18120" y="15749"/>
                  </a:cubicBezTo>
                  <a:cubicBezTo>
                    <a:pt x="18144" y="15778"/>
                    <a:pt x="18134" y="15835"/>
                    <a:pt x="18160" y="15860"/>
                  </a:cubicBezTo>
                  <a:cubicBezTo>
                    <a:pt x="18193" y="15890"/>
                    <a:pt x="18223" y="15822"/>
                    <a:pt x="18256" y="15836"/>
                  </a:cubicBezTo>
                  <a:cubicBezTo>
                    <a:pt x="18338" y="15871"/>
                    <a:pt x="18348" y="15952"/>
                    <a:pt x="18398" y="15804"/>
                  </a:cubicBezTo>
                  <a:cubicBezTo>
                    <a:pt x="18422" y="15734"/>
                    <a:pt x="18495" y="15896"/>
                    <a:pt x="18542" y="15892"/>
                  </a:cubicBezTo>
                  <a:cubicBezTo>
                    <a:pt x="18628" y="15886"/>
                    <a:pt x="18722" y="15892"/>
                    <a:pt x="18790" y="15785"/>
                  </a:cubicBezTo>
                  <a:cubicBezTo>
                    <a:pt x="18826" y="15727"/>
                    <a:pt x="18939" y="15585"/>
                    <a:pt x="18986" y="15595"/>
                  </a:cubicBezTo>
                  <a:cubicBezTo>
                    <a:pt x="19031" y="15605"/>
                    <a:pt x="19016" y="15544"/>
                    <a:pt x="19051" y="15517"/>
                  </a:cubicBezTo>
                  <a:cubicBezTo>
                    <a:pt x="19090" y="15488"/>
                    <a:pt x="19097" y="15558"/>
                    <a:pt x="19125" y="15578"/>
                  </a:cubicBezTo>
                  <a:cubicBezTo>
                    <a:pt x="19143" y="15591"/>
                    <a:pt x="19257" y="15573"/>
                    <a:pt x="19265" y="15556"/>
                  </a:cubicBezTo>
                  <a:cubicBezTo>
                    <a:pt x="19296" y="15490"/>
                    <a:pt x="19344" y="15621"/>
                    <a:pt x="19398" y="15482"/>
                  </a:cubicBezTo>
                  <a:cubicBezTo>
                    <a:pt x="19439" y="15374"/>
                    <a:pt x="19497" y="15380"/>
                    <a:pt x="19538" y="15249"/>
                  </a:cubicBezTo>
                  <a:cubicBezTo>
                    <a:pt x="19568" y="15154"/>
                    <a:pt x="19679" y="15062"/>
                    <a:pt x="19728" y="14971"/>
                  </a:cubicBezTo>
                  <a:cubicBezTo>
                    <a:pt x="19753" y="14924"/>
                    <a:pt x="19767" y="14860"/>
                    <a:pt x="19778" y="14795"/>
                  </a:cubicBezTo>
                  <a:cubicBezTo>
                    <a:pt x="19802" y="14804"/>
                    <a:pt x="19830" y="14812"/>
                    <a:pt x="19855" y="14812"/>
                  </a:cubicBezTo>
                  <a:cubicBezTo>
                    <a:pt x="19885" y="14812"/>
                    <a:pt x="19916" y="14799"/>
                    <a:pt x="19933" y="14750"/>
                  </a:cubicBezTo>
                  <a:cubicBezTo>
                    <a:pt x="19955" y="14680"/>
                    <a:pt x="19991" y="14691"/>
                    <a:pt x="20046" y="14688"/>
                  </a:cubicBezTo>
                  <a:cubicBezTo>
                    <a:pt x="20049" y="14688"/>
                    <a:pt x="20051" y="14688"/>
                    <a:pt x="20054" y="14688"/>
                  </a:cubicBezTo>
                  <a:cubicBezTo>
                    <a:pt x="20061" y="14688"/>
                    <a:pt x="20068" y="14688"/>
                    <a:pt x="20076" y="14688"/>
                  </a:cubicBezTo>
                  <a:cubicBezTo>
                    <a:pt x="20095" y="14688"/>
                    <a:pt x="20118" y="14686"/>
                    <a:pt x="20138" y="14673"/>
                  </a:cubicBezTo>
                  <a:cubicBezTo>
                    <a:pt x="20157" y="14662"/>
                    <a:pt x="20176" y="14629"/>
                    <a:pt x="20175" y="14580"/>
                  </a:cubicBezTo>
                  <a:cubicBezTo>
                    <a:pt x="20175" y="14576"/>
                    <a:pt x="20175" y="14573"/>
                    <a:pt x="20175" y="14571"/>
                  </a:cubicBezTo>
                  <a:cubicBezTo>
                    <a:pt x="20175" y="14567"/>
                    <a:pt x="20175" y="14566"/>
                    <a:pt x="20175" y="14565"/>
                  </a:cubicBezTo>
                  <a:cubicBezTo>
                    <a:pt x="20175" y="14546"/>
                    <a:pt x="20181" y="14522"/>
                    <a:pt x="20193" y="14504"/>
                  </a:cubicBezTo>
                  <a:cubicBezTo>
                    <a:pt x="20205" y="14486"/>
                    <a:pt x="20221" y="14474"/>
                    <a:pt x="20235" y="14474"/>
                  </a:cubicBezTo>
                  <a:cubicBezTo>
                    <a:pt x="20234" y="14478"/>
                    <a:pt x="20233" y="14482"/>
                    <a:pt x="20232" y="14487"/>
                  </a:cubicBezTo>
                  <a:cubicBezTo>
                    <a:pt x="20228" y="14503"/>
                    <a:pt x="20224" y="14513"/>
                    <a:pt x="20223" y="14533"/>
                  </a:cubicBezTo>
                  <a:cubicBezTo>
                    <a:pt x="20223" y="14534"/>
                    <a:pt x="20223" y="14536"/>
                    <a:pt x="20223" y="14539"/>
                  </a:cubicBezTo>
                  <a:cubicBezTo>
                    <a:pt x="20224" y="14562"/>
                    <a:pt x="20237" y="14585"/>
                    <a:pt x="20249" y="14583"/>
                  </a:cubicBezTo>
                  <a:cubicBezTo>
                    <a:pt x="20263" y="14582"/>
                    <a:pt x="20272" y="14570"/>
                    <a:pt x="20281" y="14561"/>
                  </a:cubicBezTo>
                  <a:cubicBezTo>
                    <a:pt x="20286" y="14556"/>
                    <a:pt x="20290" y="14552"/>
                    <a:pt x="20293" y="14549"/>
                  </a:cubicBezTo>
                  <a:cubicBezTo>
                    <a:pt x="20293" y="14548"/>
                    <a:pt x="20294" y="14547"/>
                    <a:pt x="20295" y="14547"/>
                  </a:cubicBezTo>
                  <a:cubicBezTo>
                    <a:pt x="20325" y="14568"/>
                    <a:pt x="20353" y="14617"/>
                    <a:pt x="20394" y="14628"/>
                  </a:cubicBezTo>
                  <a:cubicBezTo>
                    <a:pt x="20401" y="14630"/>
                    <a:pt x="20405" y="14633"/>
                    <a:pt x="20407" y="14635"/>
                  </a:cubicBezTo>
                  <a:cubicBezTo>
                    <a:pt x="20406" y="14638"/>
                    <a:pt x="20403" y="14645"/>
                    <a:pt x="20400" y="14652"/>
                  </a:cubicBezTo>
                  <a:cubicBezTo>
                    <a:pt x="20398" y="14657"/>
                    <a:pt x="20395" y="14661"/>
                    <a:pt x="20393" y="14666"/>
                  </a:cubicBezTo>
                  <a:cubicBezTo>
                    <a:pt x="20391" y="14672"/>
                    <a:pt x="20388" y="14669"/>
                    <a:pt x="20386" y="14691"/>
                  </a:cubicBezTo>
                  <a:cubicBezTo>
                    <a:pt x="20385" y="14701"/>
                    <a:pt x="20392" y="14713"/>
                    <a:pt x="20393" y="14713"/>
                  </a:cubicBezTo>
                  <a:cubicBezTo>
                    <a:pt x="20396" y="14717"/>
                    <a:pt x="20401" y="14718"/>
                    <a:pt x="20405" y="14716"/>
                  </a:cubicBezTo>
                  <a:cubicBezTo>
                    <a:pt x="20413" y="14711"/>
                    <a:pt x="20421" y="14707"/>
                    <a:pt x="20429" y="14702"/>
                  </a:cubicBezTo>
                  <a:cubicBezTo>
                    <a:pt x="20430" y="14705"/>
                    <a:pt x="20431" y="14709"/>
                    <a:pt x="20433" y="14716"/>
                  </a:cubicBezTo>
                  <a:cubicBezTo>
                    <a:pt x="20434" y="14725"/>
                    <a:pt x="20440" y="14754"/>
                    <a:pt x="20458" y="14754"/>
                  </a:cubicBezTo>
                  <a:cubicBezTo>
                    <a:pt x="20465" y="14754"/>
                    <a:pt x="20472" y="14750"/>
                    <a:pt x="20479" y="14743"/>
                  </a:cubicBezTo>
                  <a:cubicBezTo>
                    <a:pt x="20498" y="14725"/>
                    <a:pt x="20510" y="14720"/>
                    <a:pt x="20515" y="14720"/>
                  </a:cubicBezTo>
                  <a:cubicBezTo>
                    <a:pt x="20521" y="14720"/>
                    <a:pt x="20521" y="14723"/>
                    <a:pt x="20527" y="14755"/>
                  </a:cubicBezTo>
                  <a:cubicBezTo>
                    <a:pt x="20531" y="14782"/>
                    <a:pt x="20542" y="14826"/>
                    <a:pt x="20571" y="14838"/>
                  </a:cubicBezTo>
                  <a:cubicBezTo>
                    <a:pt x="20669" y="14881"/>
                    <a:pt x="20691" y="14994"/>
                    <a:pt x="20692" y="15147"/>
                  </a:cubicBezTo>
                  <a:cubicBezTo>
                    <a:pt x="20692" y="15185"/>
                    <a:pt x="20691" y="15226"/>
                    <a:pt x="20688" y="15268"/>
                  </a:cubicBezTo>
                  <a:cubicBezTo>
                    <a:pt x="20687" y="15284"/>
                    <a:pt x="20686" y="15300"/>
                    <a:pt x="20686" y="15314"/>
                  </a:cubicBezTo>
                  <a:cubicBezTo>
                    <a:pt x="20686" y="15401"/>
                    <a:pt x="20710" y="15449"/>
                    <a:pt x="20746" y="15502"/>
                  </a:cubicBezTo>
                  <a:cubicBezTo>
                    <a:pt x="20756" y="15517"/>
                    <a:pt x="20757" y="15525"/>
                    <a:pt x="20757" y="15529"/>
                  </a:cubicBezTo>
                  <a:cubicBezTo>
                    <a:pt x="20758" y="15538"/>
                    <a:pt x="20749" y="15545"/>
                    <a:pt x="20746" y="15579"/>
                  </a:cubicBezTo>
                  <a:cubicBezTo>
                    <a:pt x="20746" y="15598"/>
                    <a:pt x="20756" y="15612"/>
                    <a:pt x="20762" y="15615"/>
                  </a:cubicBezTo>
                  <a:cubicBezTo>
                    <a:pt x="20770" y="15620"/>
                    <a:pt x="20780" y="15623"/>
                    <a:pt x="20794" y="15626"/>
                  </a:cubicBezTo>
                  <a:cubicBezTo>
                    <a:pt x="20809" y="15629"/>
                    <a:pt x="20823" y="15630"/>
                    <a:pt x="20837" y="15630"/>
                  </a:cubicBezTo>
                  <a:cubicBezTo>
                    <a:pt x="20916" y="15629"/>
                    <a:pt x="20980" y="15592"/>
                    <a:pt x="21058" y="15593"/>
                  </a:cubicBezTo>
                  <a:cubicBezTo>
                    <a:pt x="21076" y="15593"/>
                    <a:pt x="21094" y="15594"/>
                    <a:pt x="21114" y="15599"/>
                  </a:cubicBezTo>
                  <a:cubicBezTo>
                    <a:pt x="21182" y="15616"/>
                    <a:pt x="21201" y="15668"/>
                    <a:pt x="21214" y="15729"/>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8" name="Shape">
              <a:extLst>
                <a:ext uri="{FF2B5EF4-FFF2-40B4-BE49-F238E27FC236}">
                  <a16:creationId xmlns:a16="http://schemas.microsoft.com/office/drawing/2014/main" id="{DDDDEBA8-9C4D-5A47-A6FB-7796A7E6B3DD}"/>
                </a:ext>
              </a:extLst>
            </p:cNvPr>
            <p:cNvSpPr/>
            <p:nvPr/>
          </p:nvSpPr>
          <p:spPr>
            <a:xfrm>
              <a:off x="1866899" y="4279900"/>
              <a:ext cx="2464" cy="908"/>
            </a:xfrm>
            <a:custGeom>
              <a:avLst/>
              <a:gdLst/>
              <a:ahLst/>
              <a:cxnLst>
                <a:cxn ang="0">
                  <a:pos x="wd2" y="hd2"/>
                </a:cxn>
                <a:cxn ang="5400000">
                  <a:pos x="wd2" y="hd2"/>
                </a:cxn>
                <a:cxn ang="10800000">
                  <a:pos x="wd2" y="hd2"/>
                </a:cxn>
                <a:cxn ang="16200000">
                  <a:pos x="wd2" y="hd2"/>
                </a:cxn>
              </a:cxnLst>
              <a:rect l="0" t="0" r="r" b="b"/>
              <a:pathLst>
                <a:path w="21600" h="21094" extrusionOk="0">
                  <a:moveTo>
                    <a:pt x="21600" y="52"/>
                  </a:moveTo>
                  <a:cubicBezTo>
                    <a:pt x="11920" y="-506"/>
                    <a:pt x="3921" y="3240"/>
                    <a:pt x="0" y="21094"/>
                  </a:cubicBezTo>
                  <a:cubicBezTo>
                    <a:pt x="7620" y="15043"/>
                    <a:pt x="14148" y="6400"/>
                    <a:pt x="21600" y="52"/>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9" name="Shape">
              <a:extLst>
                <a:ext uri="{FF2B5EF4-FFF2-40B4-BE49-F238E27FC236}">
                  <a16:creationId xmlns:a16="http://schemas.microsoft.com/office/drawing/2014/main" id="{21C48656-933E-BB41-B876-C385B5A35681}"/>
                </a:ext>
              </a:extLst>
            </p:cNvPr>
            <p:cNvSpPr/>
            <p:nvPr/>
          </p:nvSpPr>
          <p:spPr>
            <a:xfrm>
              <a:off x="3848099" y="5295900"/>
              <a:ext cx="1452" cy="350"/>
            </a:xfrm>
            <a:custGeom>
              <a:avLst/>
              <a:gdLst/>
              <a:ahLst/>
              <a:cxnLst>
                <a:cxn ang="0">
                  <a:pos x="wd2" y="hd2"/>
                </a:cxn>
                <a:cxn ang="5400000">
                  <a:pos x="wd2" y="hd2"/>
                </a:cxn>
                <a:cxn ang="10800000">
                  <a:pos x="wd2" y="hd2"/>
                </a:cxn>
                <a:cxn ang="16200000">
                  <a:pos x="wd2" y="hd2"/>
                </a:cxn>
              </a:cxnLst>
              <a:rect l="0" t="0" r="r" b="b"/>
              <a:pathLst>
                <a:path w="21600" h="16892" extrusionOk="0">
                  <a:moveTo>
                    <a:pt x="21600" y="16892"/>
                  </a:moveTo>
                  <a:cubicBezTo>
                    <a:pt x="9969" y="1862"/>
                    <a:pt x="1478" y="-4708"/>
                    <a:pt x="0" y="3696"/>
                  </a:cubicBezTo>
                  <a:cubicBezTo>
                    <a:pt x="1478" y="-4708"/>
                    <a:pt x="9969" y="1862"/>
                    <a:pt x="21600" y="16892"/>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0" name="Shape">
              <a:extLst>
                <a:ext uri="{FF2B5EF4-FFF2-40B4-BE49-F238E27FC236}">
                  <a16:creationId xmlns:a16="http://schemas.microsoft.com/office/drawing/2014/main" id="{757F931F-F3AD-4F43-9F57-DEEC387600E9}"/>
                </a:ext>
              </a:extLst>
            </p:cNvPr>
            <p:cNvSpPr/>
            <p:nvPr/>
          </p:nvSpPr>
          <p:spPr>
            <a:xfrm>
              <a:off x="3848100" y="5295900"/>
              <a:ext cx="1464" cy="350"/>
            </a:xfrm>
            <a:custGeom>
              <a:avLst/>
              <a:gdLst/>
              <a:ahLst/>
              <a:cxnLst>
                <a:cxn ang="0">
                  <a:pos x="wd2" y="hd2"/>
                </a:cxn>
                <a:cxn ang="5400000">
                  <a:pos x="wd2" y="hd2"/>
                </a:cxn>
                <a:cxn ang="10800000">
                  <a:pos x="wd2" y="hd2"/>
                </a:cxn>
                <a:cxn ang="16200000">
                  <a:pos x="wd2" y="hd2"/>
                </a:cxn>
              </a:cxnLst>
              <a:rect l="0" t="0" r="r" b="b"/>
              <a:pathLst>
                <a:path w="21600" h="16892" extrusionOk="0">
                  <a:moveTo>
                    <a:pt x="21600" y="16892"/>
                  </a:moveTo>
                  <a:cubicBezTo>
                    <a:pt x="10070" y="1862"/>
                    <a:pt x="2380" y="-4708"/>
                    <a:pt x="0" y="3696"/>
                  </a:cubicBezTo>
                  <a:cubicBezTo>
                    <a:pt x="2380" y="-4708"/>
                    <a:pt x="10070" y="1862"/>
                    <a:pt x="21600" y="16892"/>
                  </a:cubicBezTo>
                  <a:close/>
                </a:path>
              </a:pathLst>
            </a:custGeom>
            <a:grpFill/>
            <a:ln w="12700">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grpSp>
    </p:spTree>
    <p:extLst>
      <p:ext uri="{BB962C8B-B14F-4D97-AF65-F5344CB8AC3E}">
        <p14:creationId xmlns:p14="http://schemas.microsoft.com/office/powerpoint/2010/main" val="39860157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1F189-5A76-954F-B27F-870B66E5475C}"/>
              </a:ext>
            </a:extLst>
          </p:cNvPr>
          <p:cNvSpPr>
            <a:spLocks noGrp="1"/>
          </p:cNvSpPr>
          <p:nvPr>
            <p:ph type="title"/>
          </p:nvPr>
        </p:nvSpPr>
        <p:spPr/>
        <p:txBody>
          <a:bodyPr/>
          <a:lstStyle/>
          <a:p>
            <a:r>
              <a:rPr lang="en-US" dirty="0"/>
              <a:t>EMEA</a:t>
            </a:r>
          </a:p>
        </p:txBody>
      </p:sp>
      <p:grpSp>
        <p:nvGrpSpPr>
          <p:cNvPr id="3" name="Group 2">
            <a:extLst>
              <a:ext uri="{FF2B5EF4-FFF2-40B4-BE49-F238E27FC236}">
                <a16:creationId xmlns:a16="http://schemas.microsoft.com/office/drawing/2014/main" id="{241CC1A5-D4E8-8342-AD5B-3626A918F824}"/>
              </a:ext>
            </a:extLst>
          </p:cNvPr>
          <p:cNvGrpSpPr/>
          <p:nvPr/>
        </p:nvGrpSpPr>
        <p:grpSpPr>
          <a:xfrm>
            <a:off x="4781495" y="1179649"/>
            <a:ext cx="3606557" cy="5125780"/>
            <a:chOff x="3747761" y="2227685"/>
            <a:chExt cx="2076137" cy="2950687"/>
          </a:xfrm>
          <a:solidFill>
            <a:schemeClr val="bg1">
              <a:lumMod val="75000"/>
            </a:schemeClr>
          </a:solidFill>
        </p:grpSpPr>
        <p:sp>
          <p:nvSpPr>
            <p:cNvPr id="4" name="Freeform 190">
              <a:extLst>
                <a:ext uri="{FF2B5EF4-FFF2-40B4-BE49-F238E27FC236}">
                  <a16:creationId xmlns:a16="http://schemas.microsoft.com/office/drawing/2014/main" id="{F6F09154-15F1-6A45-A3D6-BD43F1283BCB}"/>
                </a:ext>
              </a:extLst>
            </p:cNvPr>
            <p:cNvSpPr>
              <a:spLocks/>
            </p:cNvSpPr>
            <p:nvPr/>
          </p:nvSpPr>
          <p:spPr bwMode="auto">
            <a:xfrm>
              <a:off x="4603076" y="4722600"/>
              <a:ext cx="300396" cy="298916"/>
            </a:xfrm>
            <a:custGeom>
              <a:avLst/>
              <a:gdLst/>
              <a:ahLst/>
              <a:cxnLst>
                <a:cxn ang="0">
                  <a:pos x="75" y="195"/>
                </a:cxn>
                <a:cxn ang="0">
                  <a:pos x="78" y="189"/>
                </a:cxn>
                <a:cxn ang="0">
                  <a:pos x="82" y="189"/>
                </a:cxn>
                <a:cxn ang="0">
                  <a:pos x="84" y="190"/>
                </a:cxn>
                <a:cxn ang="0">
                  <a:pos x="86" y="198"/>
                </a:cxn>
                <a:cxn ang="0">
                  <a:pos x="92" y="202"/>
                </a:cxn>
                <a:cxn ang="0">
                  <a:pos x="105" y="202"/>
                </a:cxn>
                <a:cxn ang="0">
                  <a:pos x="113" y="200"/>
                </a:cxn>
                <a:cxn ang="0">
                  <a:pos x="115" y="199"/>
                </a:cxn>
                <a:cxn ang="0">
                  <a:pos x="122" y="193"/>
                </a:cxn>
                <a:cxn ang="0">
                  <a:pos x="123" y="190"/>
                </a:cxn>
                <a:cxn ang="0">
                  <a:pos x="123" y="85"/>
                </a:cxn>
                <a:cxn ang="0">
                  <a:pos x="126" y="82"/>
                </a:cxn>
                <a:cxn ang="0">
                  <a:pos x="136" y="81"/>
                </a:cxn>
                <a:cxn ang="0">
                  <a:pos x="139" y="78"/>
                </a:cxn>
                <a:cxn ang="0">
                  <a:pos x="139" y="24"/>
                </a:cxn>
                <a:cxn ang="0">
                  <a:pos x="155" y="21"/>
                </a:cxn>
                <a:cxn ang="0">
                  <a:pos x="163" y="18"/>
                </a:cxn>
                <a:cxn ang="0">
                  <a:pos x="173" y="17"/>
                </a:cxn>
                <a:cxn ang="0">
                  <a:pos x="177" y="21"/>
                </a:cxn>
                <a:cxn ang="0">
                  <a:pos x="182" y="23"/>
                </a:cxn>
                <a:cxn ang="0">
                  <a:pos x="186" y="18"/>
                </a:cxn>
                <a:cxn ang="0">
                  <a:pos x="193" y="15"/>
                </a:cxn>
                <a:cxn ang="0">
                  <a:pos x="203" y="13"/>
                </a:cxn>
                <a:cxn ang="0">
                  <a:pos x="202" y="10"/>
                </a:cxn>
                <a:cxn ang="0">
                  <a:pos x="200" y="8"/>
                </a:cxn>
                <a:cxn ang="0">
                  <a:pos x="187" y="8"/>
                </a:cxn>
                <a:cxn ang="0">
                  <a:pos x="169" y="13"/>
                </a:cxn>
                <a:cxn ang="0">
                  <a:pos x="149" y="14"/>
                </a:cxn>
                <a:cxn ang="0">
                  <a:pos x="143" y="14"/>
                </a:cxn>
                <a:cxn ang="0">
                  <a:pos x="123" y="13"/>
                </a:cxn>
                <a:cxn ang="0">
                  <a:pos x="102" y="8"/>
                </a:cxn>
                <a:cxn ang="0">
                  <a:pos x="47" y="8"/>
                </a:cxn>
                <a:cxn ang="0">
                  <a:pos x="39" y="7"/>
                </a:cxn>
                <a:cxn ang="0">
                  <a:pos x="32" y="4"/>
                </a:cxn>
                <a:cxn ang="0">
                  <a:pos x="25" y="1"/>
                </a:cxn>
                <a:cxn ang="0">
                  <a:pos x="18" y="3"/>
                </a:cxn>
                <a:cxn ang="0">
                  <a:pos x="14" y="4"/>
                </a:cxn>
                <a:cxn ang="0">
                  <a:pos x="12" y="1"/>
                </a:cxn>
                <a:cxn ang="0">
                  <a:pos x="10" y="0"/>
                </a:cxn>
                <a:cxn ang="0">
                  <a:pos x="5" y="3"/>
                </a:cxn>
                <a:cxn ang="0">
                  <a:pos x="0" y="5"/>
                </a:cxn>
                <a:cxn ang="0">
                  <a:pos x="0" y="10"/>
                </a:cxn>
                <a:cxn ang="0">
                  <a:pos x="8" y="27"/>
                </a:cxn>
                <a:cxn ang="0">
                  <a:pos x="17" y="41"/>
                </a:cxn>
                <a:cxn ang="0">
                  <a:pos x="24" y="60"/>
                </a:cxn>
                <a:cxn ang="0">
                  <a:pos x="32" y="77"/>
                </a:cxn>
                <a:cxn ang="0">
                  <a:pos x="41" y="92"/>
                </a:cxn>
                <a:cxn ang="0">
                  <a:pos x="41" y="99"/>
                </a:cxn>
                <a:cxn ang="0">
                  <a:pos x="41" y="114"/>
                </a:cxn>
                <a:cxn ang="0">
                  <a:pos x="41" y="119"/>
                </a:cxn>
                <a:cxn ang="0">
                  <a:pos x="47" y="145"/>
                </a:cxn>
                <a:cxn ang="0">
                  <a:pos x="49" y="165"/>
                </a:cxn>
                <a:cxn ang="0">
                  <a:pos x="55" y="179"/>
                </a:cxn>
                <a:cxn ang="0">
                  <a:pos x="58" y="183"/>
                </a:cxn>
                <a:cxn ang="0">
                  <a:pos x="68" y="196"/>
                </a:cxn>
                <a:cxn ang="0">
                  <a:pos x="72" y="196"/>
                </a:cxn>
                <a:cxn ang="0">
                  <a:pos x="75" y="195"/>
                </a:cxn>
              </a:cxnLst>
              <a:rect l="0" t="0" r="r" b="b"/>
              <a:pathLst>
                <a:path w="203" h="202">
                  <a:moveTo>
                    <a:pt x="75" y="195"/>
                  </a:moveTo>
                  <a:lnTo>
                    <a:pt x="75" y="195"/>
                  </a:lnTo>
                  <a:lnTo>
                    <a:pt x="76" y="192"/>
                  </a:lnTo>
                  <a:lnTo>
                    <a:pt x="78" y="189"/>
                  </a:lnTo>
                  <a:lnTo>
                    <a:pt x="81" y="188"/>
                  </a:lnTo>
                  <a:lnTo>
                    <a:pt x="82" y="189"/>
                  </a:lnTo>
                  <a:lnTo>
                    <a:pt x="84" y="190"/>
                  </a:lnTo>
                  <a:lnTo>
                    <a:pt x="84" y="190"/>
                  </a:lnTo>
                  <a:lnTo>
                    <a:pt x="85" y="193"/>
                  </a:lnTo>
                  <a:lnTo>
                    <a:pt x="86" y="198"/>
                  </a:lnTo>
                  <a:lnTo>
                    <a:pt x="89" y="200"/>
                  </a:lnTo>
                  <a:lnTo>
                    <a:pt x="92" y="202"/>
                  </a:lnTo>
                  <a:lnTo>
                    <a:pt x="92" y="202"/>
                  </a:lnTo>
                  <a:lnTo>
                    <a:pt x="105" y="202"/>
                  </a:lnTo>
                  <a:lnTo>
                    <a:pt x="109" y="202"/>
                  </a:lnTo>
                  <a:lnTo>
                    <a:pt x="113" y="200"/>
                  </a:lnTo>
                  <a:lnTo>
                    <a:pt x="113" y="200"/>
                  </a:lnTo>
                  <a:lnTo>
                    <a:pt x="115" y="199"/>
                  </a:lnTo>
                  <a:lnTo>
                    <a:pt x="119" y="196"/>
                  </a:lnTo>
                  <a:lnTo>
                    <a:pt x="122" y="193"/>
                  </a:lnTo>
                  <a:lnTo>
                    <a:pt x="123" y="190"/>
                  </a:lnTo>
                  <a:lnTo>
                    <a:pt x="123" y="190"/>
                  </a:lnTo>
                  <a:lnTo>
                    <a:pt x="123" y="85"/>
                  </a:lnTo>
                  <a:lnTo>
                    <a:pt x="123" y="85"/>
                  </a:lnTo>
                  <a:lnTo>
                    <a:pt x="123" y="84"/>
                  </a:lnTo>
                  <a:lnTo>
                    <a:pt x="126" y="82"/>
                  </a:lnTo>
                  <a:lnTo>
                    <a:pt x="132" y="82"/>
                  </a:lnTo>
                  <a:lnTo>
                    <a:pt x="136" y="81"/>
                  </a:lnTo>
                  <a:lnTo>
                    <a:pt x="139" y="81"/>
                  </a:lnTo>
                  <a:lnTo>
                    <a:pt x="139" y="78"/>
                  </a:lnTo>
                  <a:lnTo>
                    <a:pt x="139" y="78"/>
                  </a:lnTo>
                  <a:lnTo>
                    <a:pt x="139" y="24"/>
                  </a:lnTo>
                  <a:lnTo>
                    <a:pt x="139" y="24"/>
                  </a:lnTo>
                  <a:lnTo>
                    <a:pt x="155" y="21"/>
                  </a:lnTo>
                  <a:lnTo>
                    <a:pt x="155" y="21"/>
                  </a:lnTo>
                  <a:lnTo>
                    <a:pt x="163" y="18"/>
                  </a:lnTo>
                  <a:lnTo>
                    <a:pt x="169" y="17"/>
                  </a:lnTo>
                  <a:lnTo>
                    <a:pt x="173" y="17"/>
                  </a:lnTo>
                  <a:lnTo>
                    <a:pt x="173" y="17"/>
                  </a:lnTo>
                  <a:lnTo>
                    <a:pt x="177" y="21"/>
                  </a:lnTo>
                  <a:lnTo>
                    <a:pt x="179" y="23"/>
                  </a:lnTo>
                  <a:lnTo>
                    <a:pt x="182" y="23"/>
                  </a:lnTo>
                  <a:lnTo>
                    <a:pt x="182" y="23"/>
                  </a:lnTo>
                  <a:lnTo>
                    <a:pt x="186" y="18"/>
                  </a:lnTo>
                  <a:lnTo>
                    <a:pt x="189" y="15"/>
                  </a:lnTo>
                  <a:lnTo>
                    <a:pt x="193" y="15"/>
                  </a:lnTo>
                  <a:lnTo>
                    <a:pt x="193" y="15"/>
                  </a:lnTo>
                  <a:lnTo>
                    <a:pt x="203" y="13"/>
                  </a:lnTo>
                  <a:lnTo>
                    <a:pt x="203" y="13"/>
                  </a:lnTo>
                  <a:lnTo>
                    <a:pt x="202" y="10"/>
                  </a:lnTo>
                  <a:lnTo>
                    <a:pt x="202" y="10"/>
                  </a:lnTo>
                  <a:lnTo>
                    <a:pt x="200" y="8"/>
                  </a:lnTo>
                  <a:lnTo>
                    <a:pt x="197" y="8"/>
                  </a:lnTo>
                  <a:lnTo>
                    <a:pt x="187" y="8"/>
                  </a:lnTo>
                  <a:lnTo>
                    <a:pt x="169" y="13"/>
                  </a:lnTo>
                  <a:lnTo>
                    <a:pt x="169" y="13"/>
                  </a:lnTo>
                  <a:lnTo>
                    <a:pt x="156" y="14"/>
                  </a:lnTo>
                  <a:lnTo>
                    <a:pt x="149" y="14"/>
                  </a:lnTo>
                  <a:lnTo>
                    <a:pt x="143" y="14"/>
                  </a:lnTo>
                  <a:lnTo>
                    <a:pt x="143" y="14"/>
                  </a:lnTo>
                  <a:lnTo>
                    <a:pt x="136" y="13"/>
                  </a:lnTo>
                  <a:lnTo>
                    <a:pt x="123" y="13"/>
                  </a:lnTo>
                  <a:lnTo>
                    <a:pt x="108" y="14"/>
                  </a:lnTo>
                  <a:lnTo>
                    <a:pt x="102" y="8"/>
                  </a:lnTo>
                  <a:lnTo>
                    <a:pt x="102" y="8"/>
                  </a:lnTo>
                  <a:lnTo>
                    <a:pt x="47" y="8"/>
                  </a:lnTo>
                  <a:lnTo>
                    <a:pt x="47" y="8"/>
                  </a:lnTo>
                  <a:lnTo>
                    <a:pt x="39" y="7"/>
                  </a:lnTo>
                  <a:lnTo>
                    <a:pt x="32" y="4"/>
                  </a:lnTo>
                  <a:lnTo>
                    <a:pt x="32" y="4"/>
                  </a:lnTo>
                  <a:lnTo>
                    <a:pt x="30" y="3"/>
                  </a:lnTo>
                  <a:lnTo>
                    <a:pt x="25" y="1"/>
                  </a:lnTo>
                  <a:lnTo>
                    <a:pt x="21" y="1"/>
                  </a:lnTo>
                  <a:lnTo>
                    <a:pt x="18" y="3"/>
                  </a:lnTo>
                  <a:lnTo>
                    <a:pt x="18" y="3"/>
                  </a:lnTo>
                  <a:lnTo>
                    <a:pt x="14" y="4"/>
                  </a:lnTo>
                  <a:lnTo>
                    <a:pt x="14" y="3"/>
                  </a:lnTo>
                  <a:lnTo>
                    <a:pt x="12" y="1"/>
                  </a:lnTo>
                  <a:lnTo>
                    <a:pt x="10" y="0"/>
                  </a:lnTo>
                  <a:lnTo>
                    <a:pt x="10" y="0"/>
                  </a:lnTo>
                  <a:lnTo>
                    <a:pt x="8" y="1"/>
                  </a:lnTo>
                  <a:lnTo>
                    <a:pt x="5" y="3"/>
                  </a:lnTo>
                  <a:lnTo>
                    <a:pt x="5" y="4"/>
                  </a:lnTo>
                  <a:lnTo>
                    <a:pt x="0" y="5"/>
                  </a:lnTo>
                  <a:lnTo>
                    <a:pt x="0" y="5"/>
                  </a:lnTo>
                  <a:lnTo>
                    <a:pt x="0" y="10"/>
                  </a:lnTo>
                  <a:lnTo>
                    <a:pt x="2" y="15"/>
                  </a:lnTo>
                  <a:lnTo>
                    <a:pt x="8" y="27"/>
                  </a:lnTo>
                  <a:lnTo>
                    <a:pt x="8" y="27"/>
                  </a:lnTo>
                  <a:lnTo>
                    <a:pt x="17" y="41"/>
                  </a:lnTo>
                  <a:lnTo>
                    <a:pt x="24" y="60"/>
                  </a:lnTo>
                  <a:lnTo>
                    <a:pt x="24" y="60"/>
                  </a:lnTo>
                  <a:lnTo>
                    <a:pt x="28" y="68"/>
                  </a:lnTo>
                  <a:lnTo>
                    <a:pt x="32" y="77"/>
                  </a:lnTo>
                  <a:lnTo>
                    <a:pt x="38" y="85"/>
                  </a:lnTo>
                  <a:lnTo>
                    <a:pt x="41" y="92"/>
                  </a:lnTo>
                  <a:lnTo>
                    <a:pt x="41" y="92"/>
                  </a:lnTo>
                  <a:lnTo>
                    <a:pt x="41" y="99"/>
                  </a:lnTo>
                  <a:lnTo>
                    <a:pt x="41" y="106"/>
                  </a:lnTo>
                  <a:lnTo>
                    <a:pt x="41" y="114"/>
                  </a:lnTo>
                  <a:lnTo>
                    <a:pt x="41" y="119"/>
                  </a:lnTo>
                  <a:lnTo>
                    <a:pt x="41" y="119"/>
                  </a:lnTo>
                  <a:lnTo>
                    <a:pt x="45" y="131"/>
                  </a:lnTo>
                  <a:lnTo>
                    <a:pt x="47" y="145"/>
                  </a:lnTo>
                  <a:lnTo>
                    <a:pt x="47" y="145"/>
                  </a:lnTo>
                  <a:lnTo>
                    <a:pt x="49" y="165"/>
                  </a:lnTo>
                  <a:lnTo>
                    <a:pt x="52" y="175"/>
                  </a:lnTo>
                  <a:lnTo>
                    <a:pt x="55" y="179"/>
                  </a:lnTo>
                  <a:lnTo>
                    <a:pt x="58" y="183"/>
                  </a:lnTo>
                  <a:lnTo>
                    <a:pt x="58" y="183"/>
                  </a:lnTo>
                  <a:lnTo>
                    <a:pt x="64" y="189"/>
                  </a:lnTo>
                  <a:lnTo>
                    <a:pt x="68" y="196"/>
                  </a:lnTo>
                  <a:lnTo>
                    <a:pt x="68" y="196"/>
                  </a:lnTo>
                  <a:lnTo>
                    <a:pt x="72" y="196"/>
                  </a:lnTo>
                  <a:lnTo>
                    <a:pt x="74" y="196"/>
                  </a:lnTo>
                  <a:lnTo>
                    <a:pt x="75" y="195"/>
                  </a:lnTo>
                  <a:lnTo>
                    <a:pt x="75" y="19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 name="Freeform 191">
              <a:extLst>
                <a:ext uri="{FF2B5EF4-FFF2-40B4-BE49-F238E27FC236}">
                  <a16:creationId xmlns:a16="http://schemas.microsoft.com/office/drawing/2014/main" id="{3C69DA2B-7907-A14F-8971-5DF6140F143C}"/>
                </a:ext>
              </a:extLst>
            </p:cNvPr>
            <p:cNvSpPr>
              <a:spLocks/>
            </p:cNvSpPr>
            <p:nvPr/>
          </p:nvSpPr>
          <p:spPr bwMode="auto">
            <a:xfrm>
              <a:off x="4903472" y="4688564"/>
              <a:ext cx="187933" cy="165735"/>
            </a:xfrm>
            <a:custGeom>
              <a:avLst/>
              <a:gdLst/>
              <a:ahLst/>
              <a:cxnLst>
                <a:cxn ang="0">
                  <a:pos x="83" y="0"/>
                </a:cxn>
                <a:cxn ang="0">
                  <a:pos x="70" y="1"/>
                </a:cxn>
                <a:cxn ang="0">
                  <a:pos x="61" y="4"/>
                </a:cxn>
                <a:cxn ang="0">
                  <a:pos x="60" y="9"/>
                </a:cxn>
                <a:cxn ang="0">
                  <a:pos x="58" y="11"/>
                </a:cxn>
                <a:cxn ang="0">
                  <a:pos x="50" y="19"/>
                </a:cxn>
                <a:cxn ang="0">
                  <a:pos x="46" y="20"/>
                </a:cxn>
                <a:cxn ang="0">
                  <a:pos x="36" y="30"/>
                </a:cxn>
                <a:cxn ang="0">
                  <a:pos x="29" y="38"/>
                </a:cxn>
                <a:cxn ang="0">
                  <a:pos x="24" y="38"/>
                </a:cxn>
                <a:cxn ang="0">
                  <a:pos x="9" y="36"/>
                </a:cxn>
                <a:cxn ang="0">
                  <a:pos x="0" y="36"/>
                </a:cxn>
                <a:cxn ang="0">
                  <a:pos x="4" y="43"/>
                </a:cxn>
                <a:cxn ang="0">
                  <a:pos x="10" y="46"/>
                </a:cxn>
                <a:cxn ang="0">
                  <a:pos x="13" y="54"/>
                </a:cxn>
                <a:cxn ang="0">
                  <a:pos x="16" y="63"/>
                </a:cxn>
                <a:cxn ang="0">
                  <a:pos x="19" y="64"/>
                </a:cxn>
                <a:cxn ang="0">
                  <a:pos x="33" y="73"/>
                </a:cxn>
                <a:cxn ang="0">
                  <a:pos x="34" y="75"/>
                </a:cxn>
                <a:cxn ang="0">
                  <a:pos x="37" y="81"/>
                </a:cxn>
                <a:cxn ang="0">
                  <a:pos x="41" y="88"/>
                </a:cxn>
                <a:cxn ang="0">
                  <a:pos x="41" y="91"/>
                </a:cxn>
                <a:cxn ang="0">
                  <a:pos x="48" y="98"/>
                </a:cxn>
                <a:cxn ang="0">
                  <a:pos x="51" y="100"/>
                </a:cxn>
                <a:cxn ang="0">
                  <a:pos x="61" y="101"/>
                </a:cxn>
                <a:cxn ang="0">
                  <a:pos x="63" y="105"/>
                </a:cxn>
                <a:cxn ang="0">
                  <a:pos x="64" y="107"/>
                </a:cxn>
                <a:cxn ang="0">
                  <a:pos x="70" y="107"/>
                </a:cxn>
                <a:cxn ang="0">
                  <a:pos x="78" y="108"/>
                </a:cxn>
                <a:cxn ang="0">
                  <a:pos x="81" y="110"/>
                </a:cxn>
                <a:cxn ang="0">
                  <a:pos x="93" y="111"/>
                </a:cxn>
                <a:cxn ang="0">
                  <a:pos x="97" y="112"/>
                </a:cxn>
                <a:cxn ang="0">
                  <a:pos x="112" y="95"/>
                </a:cxn>
                <a:cxn ang="0">
                  <a:pos x="115" y="91"/>
                </a:cxn>
                <a:cxn ang="0">
                  <a:pos x="115" y="83"/>
                </a:cxn>
                <a:cxn ang="0">
                  <a:pos x="117" y="80"/>
                </a:cxn>
                <a:cxn ang="0">
                  <a:pos x="127" y="70"/>
                </a:cxn>
                <a:cxn ang="0">
                  <a:pos x="125" y="68"/>
                </a:cxn>
                <a:cxn ang="0">
                  <a:pos x="124" y="67"/>
                </a:cxn>
                <a:cxn ang="0">
                  <a:pos x="122" y="60"/>
                </a:cxn>
                <a:cxn ang="0">
                  <a:pos x="121" y="56"/>
                </a:cxn>
                <a:cxn ang="0">
                  <a:pos x="120" y="53"/>
                </a:cxn>
                <a:cxn ang="0">
                  <a:pos x="124" y="47"/>
                </a:cxn>
                <a:cxn ang="0">
                  <a:pos x="125" y="41"/>
                </a:cxn>
                <a:cxn ang="0">
                  <a:pos x="125" y="20"/>
                </a:cxn>
                <a:cxn ang="0">
                  <a:pos x="124" y="17"/>
                </a:cxn>
                <a:cxn ang="0">
                  <a:pos x="111" y="13"/>
                </a:cxn>
                <a:cxn ang="0">
                  <a:pos x="105" y="10"/>
                </a:cxn>
                <a:cxn ang="0">
                  <a:pos x="93" y="7"/>
                </a:cxn>
                <a:cxn ang="0">
                  <a:pos x="85" y="6"/>
                </a:cxn>
              </a:cxnLst>
              <a:rect l="0" t="0" r="r" b="b"/>
              <a:pathLst>
                <a:path w="127" h="112">
                  <a:moveTo>
                    <a:pt x="85" y="6"/>
                  </a:moveTo>
                  <a:lnTo>
                    <a:pt x="83" y="0"/>
                  </a:lnTo>
                  <a:lnTo>
                    <a:pt x="70" y="1"/>
                  </a:lnTo>
                  <a:lnTo>
                    <a:pt x="70" y="1"/>
                  </a:lnTo>
                  <a:lnTo>
                    <a:pt x="64" y="3"/>
                  </a:lnTo>
                  <a:lnTo>
                    <a:pt x="61" y="4"/>
                  </a:lnTo>
                  <a:lnTo>
                    <a:pt x="60" y="7"/>
                  </a:lnTo>
                  <a:lnTo>
                    <a:pt x="60" y="9"/>
                  </a:lnTo>
                  <a:lnTo>
                    <a:pt x="60" y="9"/>
                  </a:lnTo>
                  <a:lnTo>
                    <a:pt x="58" y="11"/>
                  </a:lnTo>
                  <a:lnTo>
                    <a:pt x="56" y="14"/>
                  </a:lnTo>
                  <a:lnTo>
                    <a:pt x="50" y="19"/>
                  </a:lnTo>
                  <a:lnTo>
                    <a:pt x="46" y="20"/>
                  </a:lnTo>
                  <a:lnTo>
                    <a:pt x="46" y="20"/>
                  </a:lnTo>
                  <a:lnTo>
                    <a:pt x="41" y="24"/>
                  </a:lnTo>
                  <a:lnTo>
                    <a:pt x="36" y="30"/>
                  </a:lnTo>
                  <a:lnTo>
                    <a:pt x="33" y="36"/>
                  </a:lnTo>
                  <a:lnTo>
                    <a:pt x="29" y="38"/>
                  </a:lnTo>
                  <a:lnTo>
                    <a:pt x="29" y="38"/>
                  </a:lnTo>
                  <a:lnTo>
                    <a:pt x="24" y="38"/>
                  </a:lnTo>
                  <a:lnTo>
                    <a:pt x="19" y="37"/>
                  </a:lnTo>
                  <a:lnTo>
                    <a:pt x="9" y="36"/>
                  </a:lnTo>
                  <a:lnTo>
                    <a:pt x="9" y="36"/>
                  </a:lnTo>
                  <a:lnTo>
                    <a:pt x="0" y="36"/>
                  </a:lnTo>
                  <a:lnTo>
                    <a:pt x="0" y="36"/>
                  </a:lnTo>
                  <a:lnTo>
                    <a:pt x="4" y="43"/>
                  </a:lnTo>
                  <a:lnTo>
                    <a:pt x="10" y="46"/>
                  </a:lnTo>
                  <a:lnTo>
                    <a:pt x="10" y="46"/>
                  </a:lnTo>
                  <a:lnTo>
                    <a:pt x="11" y="48"/>
                  </a:lnTo>
                  <a:lnTo>
                    <a:pt x="13" y="54"/>
                  </a:lnTo>
                  <a:lnTo>
                    <a:pt x="14" y="61"/>
                  </a:lnTo>
                  <a:lnTo>
                    <a:pt x="16" y="63"/>
                  </a:lnTo>
                  <a:lnTo>
                    <a:pt x="19" y="64"/>
                  </a:lnTo>
                  <a:lnTo>
                    <a:pt x="19" y="64"/>
                  </a:lnTo>
                  <a:lnTo>
                    <a:pt x="29" y="70"/>
                  </a:lnTo>
                  <a:lnTo>
                    <a:pt x="33" y="73"/>
                  </a:lnTo>
                  <a:lnTo>
                    <a:pt x="34" y="75"/>
                  </a:lnTo>
                  <a:lnTo>
                    <a:pt x="34" y="75"/>
                  </a:lnTo>
                  <a:lnTo>
                    <a:pt x="36" y="78"/>
                  </a:lnTo>
                  <a:lnTo>
                    <a:pt x="37" y="81"/>
                  </a:lnTo>
                  <a:lnTo>
                    <a:pt x="40" y="84"/>
                  </a:lnTo>
                  <a:lnTo>
                    <a:pt x="41" y="88"/>
                  </a:lnTo>
                  <a:lnTo>
                    <a:pt x="41" y="88"/>
                  </a:lnTo>
                  <a:lnTo>
                    <a:pt x="41" y="91"/>
                  </a:lnTo>
                  <a:lnTo>
                    <a:pt x="44" y="95"/>
                  </a:lnTo>
                  <a:lnTo>
                    <a:pt x="48" y="98"/>
                  </a:lnTo>
                  <a:lnTo>
                    <a:pt x="51" y="100"/>
                  </a:lnTo>
                  <a:lnTo>
                    <a:pt x="51" y="100"/>
                  </a:lnTo>
                  <a:lnTo>
                    <a:pt x="58" y="100"/>
                  </a:lnTo>
                  <a:lnTo>
                    <a:pt x="61" y="101"/>
                  </a:lnTo>
                  <a:lnTo>
                    <a:pt x="63" y="104"/>
                  </a:lnTo>
                  <a:lnTo>
                    <a:pt x="63" y="105"/>
                  </a:lnTo>
                  <a:lnTo>
                    <a:pt x="63" y="105"/>
                  </a:lnTo>
                  <a:lnTo>
                    <a:pt x="64" y="107"/>
                  </a:lnTo>
                  <a:lnTo>
                    <a:pt x="65" y="107"/>
                  </a:lnTo>
                  <a:lnTo>
                    <a:pt x="70" y="107"/>
                  </a:lnTo>
                  <a:lnTo>
                    <a:pt x="75" y="108"/>
                  </a:lnTo>
                  <a:lnTo>
                    <a:pt x="78" y="108"/>
                  </a:lnTo>
                  <a:lnTo>
                    <a:pt x="78" y="108"/>
                  </a:lnTo>
                  <a:lnTo>
                    <a:pt x="81" y="110"/>
                  </a:lnTo>
                  <a:lnTo>
                    <a:pt x="87" y="111"/>
                  </a:lnTo>
                  <a:lnTo>
                    <a:pt x="93" y="111"/>
                  </a:lnTo>
                  <a:lnTo>
                    <a:pt x="97" y="112"/>
                  </a:lnTo>
                  <a:lnTo>
                    <a:pt x="97" y="112"/>
                  </a:lnTo>
                  <a:lnTo>
                    <a:pt x="105" y="104"/>
                  </a:lnTo>
                  <a:lnTo>
                    <a:pt x="112" y="95"/>
                  </a:lnTo>
                  <a:lnTo>
                    <a:pt x="112" y="95"/>
                  </a:lnTo>
                  <a:lnTo>
                    <a:pt x="115" y="91"/>
                  </a:lnTo>
                  <a:lnTo>
                    <a:pt x="115" y="87"/>
                  </a:lnTo>
                  <a:lnTo>
                    <a:pt x="115" y="83"/>
                  </a:lnTo>
                  <a:lnTo>
                    <a:pt x="117" y="80"/>
                  </a:lnTo>
                  <a:lnTo>
                    <a:pt x="117" y="80"/>
                  </a:lnTo>
                  <a:lnTo>
                    <a:pt x="124" y="74"/>
                  </a:lnTo>
                  <a:lnTo>
                    <a:pt x="127" y="70"/>
                  </a:lnTo>
                  <a:lnTo>
                    <a:pt x="127" y="68"/>
                  </a:lnTo>
                  <a:lnTo>
                    <a:pt x="125" y="68"/>
                  </a:lnTo>
                  <a:lnTo>
                    <a:pt x="125" y="68"/>
                  </a:lnTo>
                  <a:lnTo>
                    <a:pt x="124" y="67"/>
                  </a:lnTo>
                  <a:lnTo>
                    <a:pt x="124" y="64"/>
                  </a:lnTo>
                  <a:lnTo>
                    <a:pt x="122" y="60"/>
                  </a:lnTo>
                  <a:lnTo>
                    <a:pt x="121" y="56"/>
                  </a:lnTo>
                  <a:lnTo>
                    <a:pt x="121" y="56"/>
                  </a:lnTo>
                  <a:lnTo>
                    <a:pt x="120" y="54"/>
                  </a:lnTo>
                  <a:lnTo>
                    <a:pt x="120" y="53"/>
                  </a:lnTo>
                  <a:lnTo>
                    <a:pt x="121" y="50"/>
                  </a:lnTo>
                  <a:lnTo>
                    <a:pt x="124" y="47"/>
                  </a:lnTo>
                  <a:lnTo>
                    <a:pt x="125" y="41"/>
                  </a:lnTo>
                  <a:lnTo>
                    <a:pt x="125" y="41"/>
                  </a:lnTo>
                  <a:lnTo>
                    <a:pt x="125" y="27"/>
                  </a:lnTo>
                  <a:lnTo>
                    <a:pt x="125" y="20"/>
                  </a:lnTo>
                  <a:lnTo>
                    <a:pt x="124" y="17"/>
                  </a:lnTo>
                  <a:lnTo>
                    <a:pt x="124" y="17"/>
                  </a:lnTo>
                  <a:lnTo>
                    <a:pt x="117" y="14"/>
                  </a:lnTo>
                  <a:lnTo>
                    <a:pt x="111" y="13"/>
                  </a:lnTo>
                  <a:lnTo>
                    <a:pt x="105" y="10"/>
                  </a:lnTo>
                  <a:lnTo>
                    <a:pt x="105" y="10"/>
                  </a:lnTo>
                  <a:lnTo>
                    <a:pt x="100" y="9"/>
                  </a:lnTo>
                  <a:lnTo>
                    <a:pt x="93" y="7"/>
                  </a:lnTo>
                  <a:lnTo>
                    <a:pt x="85" y="6"/>
                  </a:lnTo>
                  <a:lnTo>
                    <a:pt x="85" y="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 name="Freeform 192">
              <a:extLst>
                <a:ext uri="{FF2B5EF4-FFF2-40B4-BE49-F238E27FC236}">
                  <a16:creationId xmlns:a16="http://schemas.microsoft.com/office/drawing/2014/main" id="{E8D01C89-70D3-F247-912D-B35B67F03CFE}"/>
                </a:ext>
              </a:extLst>
            </p:cNvPr>
            <p:cNvSpPr>
              <a:spLocks/>
            </p:cNvSpPr>
            <p:nvPr/>
          </p:nvSpPr>
          <p:spPr bwMode="auto">
            <a:xfrm>
              <a:off x="4785089" y="4741837"/>
              <a:ext cx="211609" cy="226408"/>
            </a:xfrm>
            <a:custGeom>
              <a:avLst/>
              <a:gdLst/>
              <a:ahLst/>
              <a:cxnLst>
                <a:cxn ang="0">
                  <a:pos x="131" y="64"/>
                </a:cxn>
                <a:cxn ang="0">
                  <a:pos x="124" y="59"/>
                </a:cxn>
                <a:cxn ang="0">
                  <a:pos x="121" y="52"/>
                </a:cxn>
                <a:cxn ang="0">
                  <a:pos x="120" y="48"/>
                </a:cxn>
                <a:cxn ang="0">
                  <a:pos x="116" y="42"/>
                </a:cxn>
                <a:cxn ang="0">
                  <a:pos x="114" y="39"/>
                </a:cxn>
                <a:cxn ang="0">
                  <a:pos x="109" y="34"/>
                </a:cxn>
                <a:cxn ang="0">
                  <a:pos x="99" y="28"/>
                </a:cxn>
                <a:cxn ang="0">
                  <a:pos x="94" y="25"/>
                </a:cxn>
                <a:cxn ang="0">
                  <a:pos x="91" y="12"/>
                </a:cxn>
                <a:cxn ang="0">
                  <a:pos x="90" y="10"/>
                </a:cxn>
                <a:cxn ang="0">
                  <a:pos x="80" y="0"/>
                </a:cxn>
                <a:cxn ang="0">
                  <a:pos x="70" y="2"/>
                </a:cxn>
                <a:cxn ang="0">
                  <a:pos x="66" y="2"/>
                </a:cxn>
                <a:cxn ang="0">
                  <a:pos x="59" y="10"/>
                </a:cxn>
                <a:cxn ang="0">
                  <a:pos x="56" y="10"/>
                </a:cxn>
                <a:cxn ang="0">
                  <a:pos x="50" y="4"/>
                </a:cxn>
                <a:cxn ang="0">
                  <a:pos x="46" y="4"/>
                </a:cxn>
                <a:cxn ang="0">
                  <a:pos x="32" y="8"/>
                </a:cxn>
                <a:cxn ang="0">
                  <a:pos x="16" y="11"/>
                </a:cxn>
                <a:cxn ang="0">
                  <a:pos x="16" y="65"/>
                </a:cxn>
                <a:cxn ang="0">
                  <a:pos x="16" y="68"/>
                </a:cxn>
                <a:cxn ang="0">
                  <a:pos x="9" y="69"/>
                </a:cxn>
                <a:cxn ang="0">
                  <a:pos x="0" y="71"/>
                </a:cxn>
                <a:cxn ang="0">
                  <a:pos x="0" y="72"/>
                </a:cxn>
                <a:cxn ang="0">
                  <a:pos x="0" y="119"/>
                </a:cxn>
                <a:cxn ang="0">
                  <a:pos x="8" y="123"/>
                </a:cxn>
                <a:cxn ang="0">
                  <a:pos x="12" y="133"/>
                </a:cxn>
                <a:cxn ang="0">
                  <a:pos x="13" y="142"/>
                </a:cxn>
                <a:cxn ang="0">
                  <a:pos x="12" y="143"/>
                </a:cxn>
                <a:cxn ang="0">
                  <a:pos x="10" y="145"/>
                </a:cxn>
                <a:cxn ang="0">
                  <a:pos x="10" y="146"/>
                </a:cxn>
                <a:cxn ang="0">
                  <a:pos x="10" y="152"/>
                </a:cxn>
                <a:cxn ang="0">
                  <a:pos x="13" y="153"/>
                </a:cxn>
                <a:cxn ang="0">
                  <a:pos x="26" y="153"/>
                </a:cxn>
                <a:cxn ang="0">
                  <a:pos x="29" y="152"/>
                </a:cxn>
                <a:cxn ang="0">
                  <a:pos x="42" y="139"/>
                </a:cxn>
                <a:cxn ang="0">
                  <a:pos x="43" y="135"/>
                </a:cxn>
                <a:cxn ang="0">
                  <a:pos x="46" y="128"/>
                </a:cxn>
                <a:cxn ang="0">
                  <a:pos x="49" y="125"/>
                </a:cxn>
                <a:cxn ang="0">
                  <a:pos x="54" y="126"/>
                </a:cxn>
                <a:cxn ang="0">
                  <a:pos x="63" y="132"/>
                </a:cxn>
                <a:cxn ang="0">
                  <a:pos x="73" y="133"/>
                </a:cxn>
                <a:cxn ang="0">
                  <a:pos x="80" y="132"/>
                </a:cxn>
                <a:cxn ang="0">
                  <a:pos x="87" y="129"/>
                </a:cxn>
                <a:cxn ang="0">
                  <a:pos x="89" y="126"/>
                </a:cxn>
                <a:cxn ang="0">
                  <a:pos x="91" y="115"/>
                </a:cxn>
                <a:cxn ang="0">
                  <a:pos x="94" y="113"/>
                </a:cxn>
                <a:cxn ang="0">
                  <a:pos x="104" y="111"/>
                </a:cxn>
                <a:cxn ang="0">
                  <a:pos x="109" y="103"/>
                </a:cxn>
                <a:cxn ang="0">
                  <a:pos x="109" y="101"/>
                </a:cxn>
                <a:cxn ang="0">
                  <a:pos x="113" y="93"/>
                </a:cxn>
                <a:cxn ang="0">
                  <a:pos x="116" y="93"/>
                </a:cxn>
                <a:cxn ang="0">
                  <a:pos x="123" y="91"/>
                </a:cxn>
                <a:cxn ang="0">
                  <a:pos x="128" y="84"/>
                </a:cxn>
                <a:cxn ang="0">
                  <a:pos x="130" y="81"/>
                </a:cxn>
                <a:cxn ang="0">
                  <a:pos x="136" y="79"/>
                </a:cxn>
                <a:cxn ang="0">
                  <a:pos x="138" y="78"/>
                </a:cxn>
                <a:cxn ang="0">
                  <a:pos x="143" y="69"/>
                </a:cxn>
                <a:cxn ang="0">
                  <a:pos x="143" y="69"/>
                </a:cxn>
                <a:cxn ang="0">
                  <a:pos x="141" y="65"/>
                </a:cxn>
                <a:cxn ang="0">
                  <a:pos x="131" y="64"/>
                </a:cxn>
              </a:cxnLst>
              <a:rect l="0" t="0" r="r" b="b"/>
              <a:pathLst>
                <a:path w="143" h="153">
                  <a:moveTo>
                    <a:pt x="131" y="64"/>
                  </a:moveTo>
                  <a:lnTo>
                    <a:pt x="131" y="64"/>
                  </a:lnTo>
                  <a:lnTo>
                    <a:pt x="128" y="62"/>
                  </a:lnTo>
                  <a:lnTo>
                    <a:pt x="124" y="59"/>
                  </a:lnTo>
                  <a:lnTo>
                    <a:pt x="121" y="55"/>
                  </a:lnTo>
                  <a:lnTo>
                    <a:pt x="121" y="52"/>
                  </a:lnTo>
                  <a:lnTo>
                    <a:pt x="121" y="52"/>
                  </a:lnTo>
                  <a:lnTo>
                    <a:pt x="120" y="48"/>
                  </a:lnTo>
                  <a:lnTo>
                    <a:pt x="117" y="45"/>
                  </a:lnTo>
                  <a:lnTo>
                    <a:pt x="116" y="42"/>
                  </a:lnTo>
                  <a:lnTo>
                    <a:pt x="114" y="39"/>
                  </a:lnTo>
                  <a:lnTo>
                    <a:pt x="114" y="39"/>
                  </a:lnTo>
                  <a:lnTo>
                    <a:pt x="113" y="37"/>
                  </a:lnTo>
                  <a:lnTo>
                    <a:pt x="109" y="34"/>
                  </a:lnTo>
                  <a:lnTo>
                    <a:pt x="99" y="28"/>
                  </a:lnTo>
                  <a:lnTo>
                    <a:pt x="99" y="28"/>
                  </a:lnTo>
                  <a:lnTo>
                    <a:pt x="96" y="27"/>
                  </a:lnTo>
                  <a:lnTo>
                    <a:pt x="94" y="25"/>
                  </a:lnTo>
                  <a:lnTo>
                    <a:pt x="93" y="18"/>
                  </a:lnTo>
                  <a:lnTo>
                    <a:pt x="91" y="12"/>
                  </a:lnTo>
                  <a:lnTo>
                    <a:pt x="90" y="10"/>
                  </a:lnTo>
                  <a:lnTo>
                    <a:pt x="90" y="10"/>
                  </a:lnTo>
                  <a:lnTo>
                    <a:pt x="84" y="7"/>
                  </a:lnTo>
                  <a:lnTo>
                    <a:pt x="80" y="0"/>
                  </a:lnTo>
                  <a:lnTo>
                    <a:pt x="80" y="0"/>
                  </a:lnTo>
                  <a:lnTo>
                    <a:pt x="70" y="2"/>
                  </a:lnTo>
                  <a:lnTo>
                    <a:pt x="70" y="2"/>
                  </a:lnTo>
                  <a:lnTo>
                    <a:pt x="66" y="2"/>
                  </a:lnTo>
                  <a:lnTo>
                    <a:pt x="63" y="5"/>
                  </a:lnTo>
                  <a:lnTo>
                    <a:pt x="59" y="10"/>
                  </a:lnTo>
                  <a:lnTo>
                    <a:pt x="59" y="10"/>
                  </a:lnTo>
                  <a:lnTo>
                    <a:pt x="56" y="10"/>
                  </a:lnTo>
                  <a:lnTo>
                    <a:pt x="54" y="8"/>
                  </a:lnTo>
                  <a:lnTo>
                    <a:pt x="50" y="4"/>
                  </a:lnTo>
                  <a:lnTo>
                    <a:pt x="50" y="4"/>
                  </a:lnTo>
                  <a:lnTo>
                    <a:pt x="46" y="4"/>
                  </a:lnTo>
                  <a:lnTo>
                    <a:pt x="40" y="5"/>
                  </a:lnTo>
                  <a:lnTo>
                    <a:pt x="32" y="8"/>
                  </a:lnTo>
                  <a:lnTo>
                    <a:pt x="32" y="8"/>
                  </a:lnTo>
                  <a:lnTo>
                    <a:pt x="16" y="11"/>
                  </a:lnTo>
                  <a:lnTo>
                    <a:pt x="16" y="11"/>
                  </a:lnTo>
                  <a:lnTo>
                    <a:pt x="16" y="65"/>
                  </a:lnTo>
                  <a:lnTo>
                    <a:pt x="16" y="65"/>
                  </a:lnTo>
                  <a:lnTo>
                    <a:pt x="16" y="68"/>
                  </a:lnTo>
                  <a:lnTo>
                    <a:pt x="13" y="68"/>
                  </a:lnTo>
                  <a:lnTo>
                    <a:pt x="9" y="69"/>
                  </a:lnTo>
                  <a:lnTo>
                    <a:pt x="3" y="69"/>
                  </a:lnTo>
                  <a:lnTo>
                    <a:pt x="0" y="71"/>
                  </a:lnTo>
                  <a:lnTo>
                    <a:pt x="0" y="72"/>
                  </a:lnTo>
                  <a:lnTo>
                    <a:pt x="0" y="72"/>
                  </a:lnTo>
                  <a:lnTo>
                    <a:pt x="0" y="119"/>
                  </a:lnTo>
                  <a:lnTo>
                    <a:pt x="0" y="119"/>
                  </a:lnTo>
                  <a:lnTo>
                    <a:pt x="5" y="121"/>
                  </a:lnTo>
                  <a:lnTo>
                    <a:pt x="8" y="123"/>
                  </a:lnTo>
                  <a:lnTo>
                    <a:pt x="8" y="123"/>
                  </a:lnTo>
                  <a:lnTo>
                    <a:pt x="12" y="133"/>
                  </a:lnTo>
                  <a:lnTo>
                    <a:pt x="13" y="139"/>
                  </a:lnTo>
                  <a:lnTo>
                    <a:pt x="13" y="142"/>
                  </a:lnTo>
                  <a:lnTo>
                    <a:pt x="13" y="142"/>
                  </a:lnTo>
                  <a:lnTo>
                    <a:pt x="12" y="143"/>
                  </a:lnTo>
                  <a:lnTo>
                    <a:pt x="10" y="143"/>
                  </a:lnTo>
                  <a:lnTo>
                    <a:pt x="10" y="145"/>
                  </a:lnTo>
                  <a:lnTo>
                    <a:pt x="10" y="146"/>
                  </a:lnTo>
                  <a:lnTo>
                    <a:pt x="10" y="146"/>
                  </a:lnTo>
                  <a:lnTo>
                    <a:pt x="9" y="150"/>
                  </a:lnTo>
                  <a:lnTo>
                    <a:pt x="10" y="152"/>
                  </a:lnTo>
                  <a:lnTo>
                    <a:pt x="13" y="153"/>
                  </a:lnTo>
                  <a:lnTo>
                    <a:pt x="13" y="153"/>
                  </a:lnTo>
                  <a:lnTo>
                    <a:pt x="22" y="153"/>
                  </a:lnTo>
                  <a:lnTo>
                    <a:pt x="26" y="153"/>
                  </a:lnTo>
                  <a:lnTo>
                    <a:pt x="29" y="152"/>
                  </a:lnTo>
                  <a:lnTo>
                    <a:pt x="29" y="152"/>
                  </a:lnTo>
                  <a:lnTo>
                    <a:pt x="37" y="143"/>
                  </a:lnTo>
                  <a:lnTo>
                    <a:pt x="42" y="139"/>
                  </a:lnTo>
                  <a:lnTo>
                    <a:pt x="43" y="135"/>
                  </a:lnTo>
                  <a:lnTo>
                    <a:pt x="43" y="135"/>
                  </a:lnTo>
                  <a:lnTo>
                    <a:pt x="44" y="132"/>
                  </a:lnTo>
                  <a:lnTo>
                    <a:pt x="46" y="128"/>
                  </a:lnTo>
                  <a:lnTo>
                    <a:pt x="47" y="126"/>
                  </a:lnTo>
                  <a:lnTo>
                    <a:pt x="49" y="125"/>
                  </a:lnTo>
                  <a:lnTo>
                    <a:pt x="52" y="125"/>
                  </a:lnTo>
                  <a:lnTo>
                    <a:pt x="54" y="126"/>
                  </a:lnTo>
                  <a:lnTo>
                    <a:pt x="54" y="126"/>
                  </a:lnTo>
                  <a:lnTo>
                    <a:pt x="63" y="132"/>
                  </a:lnTo>
                  <a:lnTo>
                    <a:pt x="67" y="132"/>
                  </a:lnTo>
                  <a:lnTo>
                    <a:pt x="73" y="133"/>
                  </a:lnTo>
                  <a:lnTo>
                    <a:pt x="73" y="133"/>
                  </a:lnTo>
                  <a:lnTo>
                    <a:pt x="80" y="132"/>
                  </a:lnTo>
                  <a:lnTo>
                    <a:pt x="84" y="132"/>
                  </a:lnTo>
                  <a:lnTo>
                    <a:pt x="87" y="129"/>
                  </a:lnTo>
                  <a:lnTo>
                    <a:pt x="89" y="126"/>
                  </a:lnTo>
                  <a:lnTo>
                    <a:pt x="89" y="126"/>
                  </a:lnTo>
                  <a:lnTo>
                    <a:pt x="90" y="118"/>
                  </a:lnTo>
                  <a:lnTo>
                    <a:pt x="91" y="115"/>
                  </a:lnTo>
                  <a:lnTo>
                    <a:pt x="94" y="113"/>
                  </a:lnTo>
                  <a:lnTo>
                    <a:pt x="94" y="113"/>
                  </a:lnTo>
                  <a:lnTo>
                    <a:pt x="100" y="113"/>
                  </a:lnTo>
                  <a:lnTo>
                    <a:pt x="104" y="111"/>
                  </a:lnTo>
                  <a:lnTo>
                    <a:pt x="107" y="108"/>
                  </a:lnTo>
                  <a:lnTo>
                    <a:pt x="109" y="103"/>
                  </a:lnTo>
                  <a:lnTo>
                    <a:pt x="109" y="103"/>
                  </a:lnTo>
                  <a:lnTo>
                    <a:pt x="109" y="101"/>
                  </a:lnTo>
                  <a:lnTo>
                    <a:pt x="110" y="96"/>
                  </a:lnTo>
                  <a:lnTo>
                    <a:pt x="113" y="93"/>
                  </a:lnTo>
                  <a:lnTo>
                    <a:pt x="116" y="93"/>
                  </a:lnTo>
                  <a:lnTo>
                    <a:pt x="116" y="93"/>
                  </a:lnTo>
                  <a:lnTo>
                    <a:pt x="118" y="92"/>
                  </a:lnTo>
                  <a:lnTo>
                    <a:pt x="123" y="91"/>
                  </a:lnTo>
                  <a:lnTo>
                    <a:pt x="126" y="86"/>
                  </a:lnTo>
                  <a:lnTo>
                    <a:pt x="128" y="84"/>
                  </a:lnTo>
                  <a:lnTo>
                    <a:pt x="128" y="84"/>
                  </a:lnTo>
                  <a:lnTo>
                    <a:pt x="130" y="81"/>
                  </a:lnTo>
                  <a:lnTo>
                    <a:pt x="133" y="79"/>
                  </a:lnTo>
                  <a:lnTo>
                    <a:pt x="136" y="79"/>
                  </a:lnTo>
                  <a:lnTo>
                    <a:pt x="138" y="78"/>
                  </a:lnTo>
                  <a:lnTo>
                    <a:pt x="138" y="78"/>
                  </a:lnTo>
                  <a:lnTo>
                    <a:pt x="143" y="69"/>
                  </a:lnTo>
                  <a:lnTo>
                    <a:pt x="143" y="69"/>
                  </a:lnTo>
                  <a:lnTo>
                    <a:pt x="143" y="69"/>
                  </a:lnTo>
                  <a:lnTo>
                    <a:pt x="143" y="69"/>
                  </a:lnTo>
                  <a:lnTo>
                    <a:pt x="143" y="68"/>
                  </a:lnTo>
                  <a:lnTo>
                    <a:pt x="141" y="65"/>
                  </a:lnTo>
                  <a:lnTo>
                    <a:pt x="138" y="64"/>
                  </a:lnTo>
                  <a:lnTo>
                    <a:pt x="131" y="64"/>
                  </a:lnTo>
                  <a:lnTo>
                    <a:pt x="131" y="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 name="Freeform 193">
              <a:extLst>
                <a:ext uri="{FF2B5EF4-FFF2-40B4-BE49-F238E27FC236}">
                  <a16:creationId xmlns:a16="http://schemas.microsoft.com/office/drawing/2014/main" id="{A285B258-F0F8-8F42-838D-B0603D3724E5}"/>
                </a:ext>
              </a:extLst>
            </p:cNvPr>
            <p:cNvSpPr>
              <a:spLocks/>
            </p:cNvSpPr>
            <p:nvPr/>
          </p:nvSpPr>
          <p:spPr bwMode="auto">
            <a:xfrm>
              <a:off x="5033692" y="4938648"/>
              <a:ext cx="32555" cy="39954"/>
            </a:xfrm>
            <a:custGeom>
              <a:avLst/>
              <a:gdLst/>
              <a:ahLst/>
              <a:cxnLst>
                <a:cxn ang="0">
                  <a:pos x="12" y="0"/>
                </a:cxn>
                <a:cxn ang="0">
                  <a:pos x="12" y="0"/>
                </a:cxn>
                <a:cxn ang="0">
                  <a:pos x="9" y="3"/>
                </a:cxn>
                <a:cxn ang="0">
                  <a:pos x="5" y="6"/>
                </a:cxn>
                <a:cxn ang="0">
                  <a:pos x="0" y="13"/>
                </a:cxn>
                <a:cxn ang="0">
                  <a:pos x="0" y="13"/>
                </a:cxn>
                <a:cxn ang="0">
                  <a:pos x="3" y="20"/>
                </a:cxn>
                <a:cxn ang="0">
                  <a:pos x="7" y="26"/>
                </a:cxn>
                <a:cxn ang="0">
                  <a:pos x="10" y="27"/>
                </a:cxn>
                <a:cxn ang="0">
                  <a:pos x="10" y="27"/>
                </a:cxn>
                <a:cxn ang="0">
                  <a:pos x="17" y="27"/>
                </a:cxn>
                <a:cxn ang="0">
                  <a:pos x="19" y="26"/>
                </a:cxn>
                <a:cxn ang="0">
                  <a:pos x="20" y="23"/>
                </a:cxn>
                <a:cxn ang="0">
                  <a:pos x="20" y="23"/>
                </a:cxn>
                <a:cxn ang="0">
                  <a:pos x="20" y="22"/>
                </a:cxn>
                <a:cxn ang="0">
                  <a:pos x="22" y="19"/>
                </a:cxn>
                <a:cxn ang="0">
                  <a:pos x="22" y="19"/>
                </a:cxn>
                <a:cxn ang="0">
                  <a:pos x="20" y="6"/>
                </a:cxn>
                <a:cxn ang="0">
                  <a:pos x="20" y="6"/>
                </a:cxn>
                <a:cxn ang="0">
                  <a:pos x="16" y="3"/>
                </a:cxn>
                <a:cxn ang="0">
                  <a:pos x="12" y="0"/>
                </a:cxn>
                <a:cxn ang="0">
                  <a:pos x="12" y="0"/>
                </a:cxn>
              </a:cxnLst>
              <a:rect l="0" t="0" r="r" b="b"/>
              <a:pathLst>
                <a:path w="22" h="27">
                  <a:moveTo>
                    <a:pt x="12" y="0"/>
                  </a:moveTo>
                  <a:lnTo>
                    <a:pt x="12" y="0"/>
                  </a:lnTo>
                  <a:lnTo>
                    <a:pt x="9" y="3"/>
                  </a:lnTo>
                  <a:lnTo>
                    <a:pt x="5" y="6"/>
                  </a:lnTo>
                  <a:lnTo>
                    <a:pt x="0" y="13"/>
                  </a:lnTo>
                  <a:lnTo>
                    <a:pt x="0" y="13"/>
                  </a:lnTo>
                  <a:lnTo>
                    <a:pt x="3" y="20"/>
                  </a:lnTo>
                  <a:lnTo>
                    <a:pt x="7" y="26"/>
                  </a:lnTo>
                  <a:lnTo>
                    <a:pt x="10" y="27"/>
                  </a:lnTo>
                  <a:lnTo>
                    <a:pt x="10" y="27"/>
                  </a:lnTo>
                  <a:lnTo>
                    <a:pt x="17" y="27"/>
                  </a:lnTo>
                  <a:lnTo>
                    <a:pt x="19" y="26"/>
                  </a:lnTo>
                  <a:lnTo>
                    <a:pt x="20" y="23"/>
                  </a:lnTo>
                  <a:lnTo>
                    <a:pt x="20" y="23"/>
                  </a:lnTo>
                  <a:lnTo>
                    <a:pt x="20" y="22"/>
                  </a:lnTo>
                  <a:lnTo>
                    <a:pt x="22" y="19"/>
                  </a:lnTo>
                  <a:lnTo>
                    <a:pt x="22" y="19"/>
                  </a:lnTo>
                  <a:lnTo>
                    <a:pt x="20" y="6"/>
                  </a:lnTo>
                  <a:lnTo>
                    <a:pt x="20" y="6"/>
                  </a:lnTo>
                  <a:lnTo>
                    <a:pt x="16" y="3"/>
                  </a:lnTo>
                  <a:lnTo>
                    <a:pt x="12" y="0"/>
                  </a:lnTo>
                  <a:lnTo>
                    <a:pt x="1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 name="Freeform 194">
              <a:extLst>
                <a:ext uri="{FF2B5EF4-FFF2-40B4-BE49-F238E27FC236}">
                  <a16:creationId xmlns:a16="http://schemas.microsoft.com/office/drawing/2014/main" id="{F2C3A04F-E954-5645-A775-0F432DCEE101}"/>
                </a:ext>
              </a:extLst>
            </p:cNvPr>
            <p:cNvSpPr>
              <a:spLocks/>
            </p:cNvSpPr>
            <p:nvPr/>
          </p:nvSpPr>
          <p:spPr bwMode="auto">
            <a:xfrm>
              <a:off x="4949345" y="5011157"/>
              <a:ext cx="53273" cy="54753"/>
            </a:xfrm>
            <a:custGeom>
              <a:avLst/>
              <a:gdLst/>
              <a:ahLst/>
              <a:cxnLst>
                <a:cxn ang="0">
                  <a:pos x="26" y="1"/>
                </a:cxn>
                <a:cxn ang="0">
                  <a:pos x="26" y="1"/>
                </a:cxn>
                <a:cxn ang="0">
                  <a:pos x="25" y="1"/>
                </a:cxn>
                <a:cxn ang="0">
                  <a:pos x="22" y="0"/>
                </a:cxn>
                <a:cxn ang="0">
                  <a:pos x="17" y="3"/>
                </a:cxn>
                <a:cxn ang="0">
                  <a:pos x="12" y="5"/>
                </a:cxn>
                <a:cxn ang="0">
                  <a:pos x="9" y="8"/>
                </a:cxn>
                <a:cxn ang="0">
                  <a:pos x="9" y="8"/>
                </a:cxn>
                <a:cxn ang="0">
                  <a:pos x="0" y="22"/>
                </a:cxn>
                <a:cxn ang="0">
                  <a:pos x="9" y="35"/>
                </a:cxn>
                <a:cxn ang="0">
                  <a:pos x="16" y="37"/>
                </a:cxn>
                <a:cxn ang="0">
                  <a:pos x="16" y="37"/>
                </a:cxn>
                <a:cxn ang="0">
                  <a:pos x="20" y="28"/>
                </a:cxn>
                <a:cxn ang="0">
                  <a:pos x="20" y="28"/>
                </a:cxn>
                <a:cxn ang="0">
                  <a:pos x="22" y="27"/>
                </a:cxn>
                <a:cxn ang="0">
                  <a:pos x="26" y="27"/>
                </a:cxn>
                <a:cxn ang="0">
                  <a:pos x="29" y="27"/>
                </a:cxn>
                <a:cxn ang="0">
                  <a:pos x="30" y="27"/>
                </a:cxn>
                <a:cxn ang="0">
                  <a:pos x="30" y="25"/>
                </a:cxn>
                <a:cxn ang="0">
                  <a:pos x="30" y="25"/>
                </a:cxn>
                <a:cxn ang="0">
                  <a:pos x="30" y="22"/>
                </a:cxn>
                <a:cxn ang="0">
                  <a:pos x="33" y="20"/>
                </a:cxn>
                <a:cxn ang="0">
                  <a:pos x="34" y="17"/>
                </a:cxn>
                <a:cxn ang="0">
                  <a:pos x="36" y="14"/>
                </a:cxn>
                <a:cxn ang="0">
                  <a:pos x="36" y="14"/>
                </a:cxn>
                <a:cxn ang="0">
                  <a:pos x="34" y="11"/>
                </a:cxn>
                <a:cxn ang="0">
                  <a:pos x="32" y="8"/>
                </a:cxn>
                <a:cxn ang="0">
                  <a:pos x="27" y="4"/>
                </a:cxn>
                <a:cxn ang="0">
                  <a:pos x="26" y="1"/>
                </a:cxn>
                <a:cxn ang="0">
                  <a:pos x="26" y="1"/>
                </a:cxn>
              </a:cxnLst>
              <a:rect l="0" t="0" r="r" b="b"/>
              <a:pathLst>
                <a:path w="36" h="37">
                  <a:moveTo>
                    <a:pt x="26" y="1"/>
                  </a:moveTo>
                  <a:lnTo>
                    <a:pt x="26" y="1"/>
                  </a:lnTo>
                  <a:lnTo>
                    <a:pt x="25" y="1"/>
                  </a:lnTo>
                  <a:lnTo>
                    <a:pt x="22" y="0"/>
                  </a:lnTo>
                  <a:lnTo>
                    <a:pt x="17" y="3"/>
                  </a:lnTo>
                  <a:lnTo>
                    <a:pt x="12" y="5"/>
                  </a:lnTo>
                  <a:lnTo>
                    <a:pt x="9" y="8"/>
                  </a:lnTo>
                  <a:lnTo>
                    <a:pt x="9" y="8"/>
                  </a:lnTo>
                  <a:lnTo>
                    <a:pt x="0" y="22"/>
                  </a:lnTo>
                  <a:lnTo>
                    <a:pt x="9" y="35"/>
                  </a:lnTo>
                  <a:lnTo>
                    <a:pt x="16" y="37"/>
                  </a:lnTo>
                  <a:lnTo>
                    <a:pt x="16" y="37"/>
                  </a:lnTo>
                  <a:lnTo>
                    <a:pt x="20" y="28"/>
                  </a:lnTo>
                  <a:lnTo>
                    <a:pt x="20" y="28"/>
                  </a:lnTo>
                  <a:lnTo>
                    <a:pt x="22" y="27"/>
                  </a:lnTo>
                  <a:lnTo>
                    <a:pt x="26" y="27"/>
                  </a:lnTo>
                  <a:lnTo>
                    <a:pt x="29" y="27"/>
                  </a:lnTo>
                  <a:lnTo>
                    <a:pt x="30" y="27"/>
                  </a:lnTo>
                  <a:lnTo>
                    <a:pt x="30" y="25"/>
                  </a:lnTo>
                  <a:lnTo>
                    <a:pt x="30" y="25"/>
                  </a:lnTo>
                  <a:lnTo>
                    <a:pt x="30" y="22"/>
                  </a:lnTo>
                  <a:lnTo>
                    <a:pt x="33" y="20"/>
                  </a:lnTo>
                  <a:lnTo>
                    <a:pt x="34" y="17"/>
                  </a:lnTo>
                  <a:lnTo>
                    <a:pt x="36" y="14"/>
                  </a:lnTo>
                  <a:lnTo>
                    <a:pt x="36" y="14"/>
                  </a:lnTo>
                  <a:lnTo>
                    <a:pt x="34" y="11"/>
                  </a:lnTo>
                  <a:lnTo>
                    <a:pt x="32" y="8"/>
                  </a:lnTo>
                  <a:lnTo>
                    <a:pt x="27" y="4"/>
                  </a:lnTo>
                  <a:lnTo>
                    <a:pt x="26" y="1"/>
                  </a:lnTo>
                  <a:lnTo>
                    <a:pt x="26" y="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 name="Freeform 195">
              <a:extLst>
                <a:ext uri="{FF2B5EF4-FFF2-40B4-BE49-F238E27FC236}">
                  <a16:creationId xmlns:a16="http://schemas.microsoft.com/office/drawing/2014/main" id="{037E27F6-3175-2547-9887-0DD9C68E6BD6}"/>
                </a:ext>
              </a:extLst>
            </p:cNvPr>
            <p:cNvSpPr>
              <a:spLocks noEditPoints="1"/>
            </p:cNvSpPr>
            <p:nvPr/>
          </p:nvSpPr>
          <p:spPr bwMode="auto">
            <a:xfrm>
              <a:off x="4703701" y="4843941"/>
              <a:ext cx="380305" cy="334431"/>
            </a:xfrm>
            <a:custGeom>
              <a:avLst/>
              <a:gdLst/>
              <a:ahLst/>
              <a:cxnLst>
                <a:cxn ang="0">
                  <a:pos x="245" y="83"/>
                </a:cxn>
                <a:cxn ang="0">
                  <a:pos x="242" y="90"/>
                </a:cxn>
                <a:cxn ang="0">
                  <a:pos x="230" y="90"/>
                </a:cxn>
                <a:cxn ang="0">
                  <a:pos x="228" y="70"/>
                </a:cxn>
                <a:cxn ang="0">
                  <a:pos x="239" y="67"/>
                </a:cxn>
                <a:cxn ang="0">
                  <a:pos x="243" y="67"/>
                </a:cxn>
                <a:cxn ang="0">
                  <a:pos x="242" y="37"/>
                </a:cxn>
                <a:cxn ang="0">
                  <a:pos x="236" y="23"/>
                </a:cxn>
                <a:cxn ang="0">
                  <a:pos x="223" y="6"/>
                </a:cxn>
                <a:cxn ang="0">
                  <a:pos x="210" y="3"/>
                </a:cxn>
                <a:cxn ang="0">
                  <a:pos x="198" y="0"/>
                </a:cxn>
                <a:cxn ang="0">
                  <a:pos x="188" y="10"/>
                </a:cxn>
                <a:cxn ang="0">
                  <a:pos x="181" y="17"/>
                </a:cxn>
                <a:cxn ang="0">
                  <a:pos x="171" y="24"/>
                </a:cxn>
                <a:cxn ang="0">
                  <a:pos x="164" y="34"/>
                </a:cxn>
                <a:cxn ang="0">
                  <a:pos x="155" y="44"/>
                </a:cxn>
                <a:cxn ang="0">
                  <a:pos x="145" y="49"/>
                </a:cxn>
                <a:cxn ang="0">
                  <a:pos x="139" y="63"/>
                </a:cxn>
                <a:cxn ang="0">
                  <a:pos x="122" y="63"/>
                </a:cxn>
                <a:cxn ang="0">
                  <a:pos x="107" y="56"/>
                </a:cxn>
                <a:cxn ang="0">
                  <a:pos x="99" y="63"/>
                </a:cxn>
                <a:cxn ang="0">
                  <a:pos x="92" y="74"/>
                </a:cxn>
                <a:cxn ang="0">
                  <a:pos x="77" y="84"/>
                </a:cxn>
                <a:cxn ang="0">
                  <a:pos x="64" y="81"/>
                </a:cxn>
                <a:cxn ang="0">
                  <a:pos x="65" y="74"/>
                </a:cxn>
                <a:cxn ang="0">
                  <a:pos x="68" y="70"/>
                </a:cxn>
                <a:cxn ang="0">
                  <a:pos x="60" y="52"/>
                </a:cxn>
                <a:cxn ang="0">
                  <a:pos x="55" y="108"/>
                </a:cxn>
                <a:cxn ang="0">
                  <a:pos x="45" y="118"/>
                </a:cxn>
                <a:cxn ang="0">
                  <a:pos x="24" y="120"/>
                </a:cxn>
                <a:cxn ang="0">
                  <a:pos x="17" y="111"/>
                </a:cxn>
                <a:cxn ang="0">
                  <a:pos x="13" y="106"/>
                </a:cxn>
                <a:cxn ang="0">
                  <a:pos x="7" y="113"/>
                </a:cxn>
                <a:cxn ang="0">
                  <a:pos x="0" y="114"/>
                </a:cxn>
                <a:cxn ang="0">
                  <a:pos x="16" y="150"/>
                </a:cxn>
                <a:cxn ang="0">
                  <a:pos x="27" y="171"/>
                </a:cxn>
                <a:cxn ang="0">
                  <a:pos x="27" y="187"/>
                </a:cxn>
                <a:cxn ang="0">
                  <a:pos x="28" y="199"/>
                </a:cxn>
                <a:cxn ang="0">
                  <a:pos x="31" y="212"/>
                </a:cxn>
                <a:cxn ang="0">
                  <a:pos x="37" y="215"/>
                </a:cxn>
                <a:cxn ang="0">
                  <a:pos x="43" y="218"/>
                </a:cxn>
                <a:cxn ang="0">
                  <a:pos x="50" y="226"/>
                </a:cxn>
                <a:cxn ang="0">
                  <a:pos x="58" y="224"/>
                </a:cxn>
                <a:cxn ang="0">
                  <a:pos x="78" y="218"/>
                </a:cxn>
                <a:cxn ang="0">
                  <a:pos x="92" y="212"/>
                </a:cxn>
                <a:cxn ang="0">
                  <a:pos x="111" y="211"/>
                </a:cxn>
                <a:cxn ang="0">
                  <a:pos x="127" y="214"/>
                </a:cxn>
                <a:cxn ang="0">
                  <a:pos x="138" y="211"/>
                </a:cxn>
                <a:cxn ang="0">
                  <a:pos x="142" y="208"/>
                </a:cxn>
                <a:cxn ang="0">
                  <a:pos x="156" y="204"/>
                </a:cxn>
                <a:cxn ang="0">
                  <a:pos x="189" y="182"/>
                </a:cxn>
                <a:cxn ang="0">
                  <a:pos x="220" y="147"/>
                </a:cxn>
                <a:cxn ang="0">
                  <a:pos x="239" y="121"/>
                </a:cxn>
                <a:cxn ang="0">
                  <a:pos x="255" y="100"/>
                </a:cxn>
                <a:cxn ang="0">
                  <a:pos x="246" y="86"/>
                </a:cxn>
                <a:cxn ang="0">
                  <a:pos x="195" y="140"/>
                </a:cxn>
                <a:cxn ang="0">
                  <a:pos x="186" y="141"/>
                </a:cxn>
                <a:cxn ang="0">
                  <a:pos x="166" y="135"/>
                </a:cxn>
                <a:cxn ang="0">
                  <a:pos x="183" y="116"/>
                </a:cxn>
                <a:cxn ang="0">
                  <a:pos x="192" y="114"/>
                </a:cxn>
                <a:cxn ang="0">
                  <a:pos x="202" y="127"/>
                </a:cxn>
                <a:cxn ang="0">
                  <a:pos x="196" y="135"/>
                </a:cxn>
              </a:cxnLst>
              <a:rect l="0" t="0" r="r" b="b"/>
              <a:pathLst>
                <a:path w="257" h="226">
                  <a:moveTo>
                    <a:pt x="246" y="86"/>
                  </a:moveTo>
                  <a:lnTo>
                    <a:pt x="246" y="86"/>
                  </a:lnTo>
                  <a:lnTo>
                    <a:pt x="245" y="83"/>
                  </a:lnTo>
                  <a:lnTo>
                    <a:pt x="245" y="83"/>
                  </a:lnTo>
                  <a:lnTo>
                    <a:pt x="243" y="86"/>
                  </a:lnTo>
                  <a:lnTo>
                    <a:pt x="243" y="87"/>
                  </a:lnTo>
                  <a:lnTo>
                    <a:pt x="243" y="87"/>
                  </a:lnTo>
                  <a:lnTo>
                    <a:pt x="242" y="90"/>
                  </a:lnTo>
                  <a:lnTo>
                    <a:pt x="240" y="91"/>
                  </a:lnTo>
                  <a:lnTo>
                    <a:pt x="233" y="91"/>
                  </a:lnTo>
                  <a:lnTo>
                    <a:pt x="233" y="91"/>
                  </a:lnTo>
                  <a:lnTo>
                    <a:pt x="230" y="90"/>
                  </a:lnTo>
                  <a:lnTo>
                    <a:pt x="226" y="84"/>
                  </a:lnTo>
                  <a:lnTo>
                    <a:pt x="223" y="77"/>
                  </a:lnTo>
                  <a:lnTo>
                    <a:pt x="223" y="77"/>
                  </a:lnTo>
                  <a:lnTo>
                    <a:pt x="228" y="70"/>
                  </a:lnTo>
                  <a:lnTo>
                    <a:pt x="232" y="67"/>
                  </a:lnTo>
                  <a:lnTo>
                    <a:pt x="235" y="64"/>
                  </a:lnTo>
                  <a:lnTo>
                    <a:pt x="235" y="64"/>
                  </a:lnTo>
                  <a:lnTo>
                    <a:pt x="239" y="67"/>
                  </a:lnTo>
                  <a:lnTo>
                    <a:pt x="243" y="70"/>
                  </a:lnTo>
                  <a:lnTo>
                    <a:pt x="243" y="70"/>
                  </a:lnTo>
                  <a:lnTo>
                    <a:pt x="243" y="67"/>
                  </a:lnTo>
                  <a:lnTo>
                    <a:pt x="243" y="67"/>
                  </a:lnTo>
                  <a:lnTo>
                    <a:pt x="245" y="53"/>
                  </a:lnTo>
                  <a:lnTo>
                    <a:pt x="245" y="43"/>
                  </a:lnTo>
                  <a:lnTo>
                    <a:pt x="243" y="39"/>
                  </a:lnTo>
                  <a:lnTo>
                    <a:pt x="242" y="37"/>
                  </a:lnTo>
                  <a:lnTo>
                    <a:pt x="242" y="37"/>
                  </a:lnTo>
                  <a:lnTo>
                    <a:pt x="240" y="36"/>
                  </a:lnTo>
                  <a:lnTo>
                    <a:pt x="239" y="32"/>
                  </a:lnTo>
                  <a:lnTo>
                    <a:pt x="236" y="23"/>
                  </a:lnTo>
                  <a:lnTo>
                    <a:pt x="232" y="7"/>
                  </a:lnTo>
                  <a:lnTo>
                    <a:pt x="232" y="7"/>
                  </a:lnTo>
                  <a:lnTo>
                    <a:pt x="229" y="6"/>
                  </a:lnTo>
                  <a:lnTo>
                    <a:pt x="223" y="6"/>
                  </a:lnTo>
                  <a:lnTo>
                    <a:pt x="218" y="5"/>
                  </a:lnTo>
                  <a:lnTo>
                    <a:pt x="213" y="3"/>
                  </a:lnTo>
                  <a:lnTo>
                    <a:pt x="213" y="3"/>
                  </a:lnTo>
                  <a:lnTo>
                    <a:pt x="210" y="3"/>
                  </a:lnTo>
                  <a:lnTo>
                    <a:pt x="205" y="2"/>
                  </a:lnTo>
                  <a:lnTo>
                    <a:pt x="200" y="2"/>
                  </a:lnTo>
                  <a:lnTo>
                    <a:pt x="198" y="0"/>
                  </a:lnTo>
                  <a:lnTo>
                    <a:pt x="198" y="0"/>
                  </a:lnTo>
                  <a:lnTo>
                    <a:pt x="193" y="9"/>
                  </a:lnTo>
                  <a:lnTo>
                    <a:pt x="193" y="9"/>
                  </a:lnTo>
                  <a:lnTo>
                    <a:pt x="191" y="10"/>
                  </a:lnTo>
                  <a:lnTo>
                    <a:pt x="188" y="10"/>
                  </a:lnTo>
                  <a:lnTo>
                    <a:pt x="185" y="12"/>
                  </a:lnTo>
                  <a:lnTo>
                    <a:pt x="183" y="15"/>
                  </a:lnTo>
                  <a:lnTo>
                    <a:pt x="183" y="15"/>
                  </a:lnTo>
                  <a:lnTo>
                    <a:pt x="181" y="17"/>
                  </a:lnTo>
                  <a:lnTo>
                    <a:pt x="178" y="22"/>
                  </a:lnTo>
                  <a:lnTo>
                    <a:pt x="173" y="23"/>
                  </a:lnTo>
                  <a:lnTo>
                    <a:pt x="171" y="24"/>
                  </a:lnTo>
                  <a:lnTo>
                    <a:pt x="171" y="24"/>
                  </a:lnTo>
                  <a:lnTo>
                    <a:pt x="168" y="24"/>
                  </a:lnTo>
                  <a:lnTo>
                    <a:pt x="165" y="27"/>
                  </a:lnTo>
                  <a:lnTo>
                    <a:pt x="164" y="32"/>
                  </a:lnTo>
                  <a:lnTo>
                    <a:pt x="164" y="34"/>
                  </a:lnTo>
                  <a:lnTo>
                    <a:pt x="164" y="34"/>
                  </a:lnTo>
                  <a:lnTo>
                    <a:pt x="162" y="39"/>
                  </a:lnTo>
                  <a:lnTo>
                    <a:pt x="159" y="42"/>
                  </a:lnTo>
                  <a:lnTo>
                    <a:pt x="155" y="44"/>
                  </a:lnTo>
                  <a:lnTo>
                    <a:pt x="149" y="44"/>
                  </a:lnTo>
                  <a:lnTo>
                    <a:pt x="149" y="44"/>
                  </a:lnTo>
                  <a:lnTo>
                    <a:pt x="146" y="46"/>
                  </a:lnTo>
                  <a:lnTo>
                    <a:pt x="145" y="49"/>
                  </a:lnTo>
                  <a:lnTo>
                    <a:pt x="144" y="57"/>
                  </a:lnTo>
                  <a:lnTo>
                    <a:pt x="144" y="57"/>
                  </a:lnTo>
                  <a:lnTo>
                    <a:pt x="142" y="60"/>
                  </a:lnTo>
                  <a:lnTo>
                    <a:pt x="139" y="63"/>
                  </a:lnTo>
                  <a:lnTo>
                    <a:pt x="135" y="63"/>
                  </a:lnTo>
                  <a:lnTo>
                    <a:pt x="128" y="64"/>
                  </a:lnTo>
                  <a:lnTo>
                    <a:pt x="128" y="64"/>
                  </a:lnTo>
                  <a:lnTo>
                    <a:pt x="122" y="63"/>
                  </a:lnTo>
                  <a:lnTo>
                    <a:pt x="118" y="63"/>
                  </a:lnTo>
                  <a:lnTo>
                    <a:pt x="109" y="57"/>
                  </a:lnTo>
                  <a:lnTo>
                    <a:pt x="109" y="57"/>
                  </a:lnTo>
                  <a:lnTo>
                    <a:pt x="107" y="56"/>
                  </a:lnTo>
                  <a:lnTo>
                    <a:pt x="104" y="56"/>
                  </a:lnTo>
                  <a:lnTo>
                    <a:pt x="102" y="57"/>
                  </a:lnTo>
                  <a:lnTo>
                    <a:pt x="101" y="59"/>
                  </a:lnTo>
                  <a:lnTo>
                    <a:pt x="99" y="63"/>
                  </a:lnTo>
                  <a:lnTo>
                    <a:pt x="98" y="66"/>
                  </a:lnTo>
                  <a:lnTo>
                    <a:pt x="98" y="66"/>
                  </a:lnTo>
                  <a:lnTo>
                    <a:pt x="97" y="70"/>
                  </a:lnTo>
                  <a:lnTo>
                    <a:pt x="92" y="74"/>
                  </a:lnTo>
                  <a:lnTo>
                    <a:pt x="84" y="83"/>
                  </a:lnTo>
                  <a:lnTo>
                    <a:pt x="84" y="83"/>
                  </a:lnTo>
                  <a:lnTo>
                    <a:pt x="81" y="84"/>
                  </a:lnTo>
                  <a:lnTo>
                    <a:pt x="77" y="84"/>
                  </a:lnTo>
                  <a:lnTo>
                    <a:pt x="68" y="84"/>
                  </a:lnTo>
                  <a:lnTo>
                    <a:pt x="68" y="84"/>
                  </a:lnTo>
                  <a:lnTo>
                    <a:pt x="65" y="83"/>
                  </a:lnTo>
                  <a:lnTo>
                    <a:pt x="64" y="81"/>
                  </a:lnTo>
                  <a:lnTo>
                    <a:pt x="65" y="77"/>
                  </a:lnTo>
                  <a:lnTo>
                    <a:pt x="65" y="77"/>
                  </a:lnTo>
                  <a:lnTo>
                    <a:pt x="65" y="76"/>
                  </a:lnTo>
                  <a:lnTo>
                    <a:pt x="65" y="74"/>
                  </a:lnTo>
                  <a:lnTo>
                    <a:pt x="67" y="74"/>
                  </a:lnTo>
                  <a:lnTo>
                    <a:pt x="68" y="73"/>
                  </a:lnTo>
                  <a:lnTo>
                    <a:pt x="68" y="73"/>
                  </a:lnTo>
                  <a:lnTo>
                    <a:pt x="68" y="70"/>
                  </a:lnTo>
                  <a:lnTo>
                    <a:pt x="67" y="64"/>
                  </a:lnTo>
                  <a:lnTo>
                    <a:pt x="63" y="54"/>
                  </a:lnTo>
                  <a:lnTo>
                    <a:pt x="63" y="54"/>
                  </a:lnTo>
                  <a:lnTo>
                    <a:pt x="60" y="52"/>
                  </a:lnTo>
                  <a:lnTo>
                    <a:pt x="55" y="50"/>
                  </a:lnTo>
                  <a:lnTo>
                    <a:pt x="55" y="50"/>
                  </a:lnTo>
                  <a:lnTo>
                    <a:pt x="55" y="108"/>
                  </a:lnTo>
                  <a:lnTo>
                    <a:pt x="55" y="108"/>
                  </a:lnTo>
                  <a:lnTo>
                    <a:pt x="54" y="111"/>
                  </a:lnTo>
                  <a:lnTo>
                    <a:pt x="51" y="114"/>
                  </a:lnTo>
                  <a:lnTo>
                    <a:pt x="47" y="117"/>
                  </a:lnTo>
                  <a:lnTo>
                    <a:pt x="45" y="118"/>
                  </a:lnTo>
                  <a:lnTo>
                    <a:pt x="45" y="118"/>
                  </a:lnTo>
                  <a:lnTo>
                    <a:pt x="41" y="120"/>
                  </a:lnTo>
                  <a:lnTo>
                    <a:pt x="37" y="120"/>
                  </a:lnTo>
                  <a:lnTo>
                    <a:pt x="24" y="120"/>
                  </a:lnTo>
                  <a:lnTo>
                    <a:pt x="24" y="120"/>
                  </a:lnTo>
                  <a:lnTo>
                    <a:pt x="21" y="118"/>
                  </a:lnTo>
                  <a:lnTo>
                    <a:pt x="18" y="116"/>
                  </a:lnTo>
                  <a:lnTo>
                    <a:pt x="17" y="111"/>
                  </a:lnTo>
                  <a:lnTo>
                    <a:pt x="16" y="108"/>
                  </a:lnTo>
                  <a:lnTo>
                    <a:pt x="16" y="108"/>
                  </a:lnTo>
                  <a:lnTo>
                    <a:pt x="14" y="107"/>
                  </a:lnTo>
                  <a:lnTo>
                    <a:pt x="13" y="106"/>
                  </a:lnTo>
                  <a:lnTo>
                    <a:pt x="10" y="107"/>
                  </a:lnTo>
                  <a:lnTo>
                    <a:pt x="8" y="110"/>
                  </a:lnTo>
                  <a:lnTo>
                    <a:pt x="7" y="113"/>
                  </a:lnTo>
                  <a:lnTo>
                    <a:pt x="7" y="113"/>
                  </a:lnTo>
                  <a:lnTo>
                    <a:pt x="6" y="114"/>
                  </a:lnTo>
                  <a:lnTo>
                    <a:pt x="4" y="114"/>
                  </a:lnTo>
                  <a:lnTo>
                    <a:pt x="0" y="114"/>
                  </a:lnTo>
                  <a:lnTo>
                    <a:pt x="0" y="114"/>
                  </a:lnTo>
                  <a:lnTo>
                    <a:pt x="7" y="127"/>
                  </a:lnTo>
                  <a:lnTo>
                    <a:pt x="13" y="140"/>
                  </a:lnTo>
                  <a:lnTo>
                    <a:pt x="13" y="140"/>
                  </a:lnTo>
                  <a:lnTo>
                    <a:pt x="16" y="150"/>
                  </a:lnTo>
                  <a:lnTo>
                    <a:pt x="20" y="158"/>
                  </a:lnTo>
                  <a:lnTo>
                    <a:pt x="24" y="165"/>
                  </a:lnTo>
                  <a:lnTo>
                    <a:pt x="27" y="171"/>
                  </a:lnTo>
                  <a:lnTo>
                    <a:pt x="27" y="171"/>
                  </a:lnTo>
                  <a:lnTo>
                    <a:pt x="30" y="181"/>
                  </a:lnTo>
                  <a:lnTo>
                    <a:pt x="30" y="185"/>
                  </a:lnTo>
                  <a:lnTo>
                    <a:pt x="27" y="187"/>
                  </a:lnTo>
                  <a:lnTo>
                    <a:pt x="27" y="187"/>
                  </a:lnTo>
                  <a:lnTo>
                    <a:pt x="24" y="188"/>
                  </a:lnTo>
                  <a:lnTo>
                    <a:pt x="24" y="191"/>
                  </a:lnTo>
                  <a:lnTo>
                    <a:pt x="24" y="194"/>
                  </a:lnTo>
                  <a:lnTo>
                    <a:pt x="28" y="199"/>
                  </a:lnTo>
                  <a:lnTo>
                    <a:pt x="28" y="199"/>
                  </a:lnTo>
                  <a:lnTo>
                    <a:pt x="30" y="205"/>
                  </a:lnTo>
                  <a:lnTo>
                    <a:pt x="31" y="209"/>
                  </a:lnTo>
                  <a:lnTo>
                    <a:pt x="31" y="212"/>
                  </a:lnTo>
                  <a:lnTo>
                    <a:pt x="33" y="214"/>
                  </a:lnTo>
                  <a:lnTo>
                    <a:pt x="33" y="214"/>
                  </a:lnTo>
                  <a:lnTo>
                    <a:pt x="35" y="214"/>
                  </a:lnTo>
                  <a:lnTo>
                    <a:pt x="37" y="215"/>
                  </a:lnTo>
                  <a:lnTo>
                    <a:pt x="38" y="217"/>
                  </a:lnTo>
                  <a:lnTo>
                    <a:pt x="40" y="218"/>
                  </a:lnTo>
                  <a:lnTo>
                    <a:pt x="40" y="218"/>
                  </a:lnTo>
                  <a:lnTo>
                    <a:pt x="43" y="218"/>
                  </a:lnTo>
                  <a:lnTo>
                    <a:pt x="44" y="219"/>
                  </a:lnTo>
                  <a:lnTo>
                    <a:pt x="48" y="224"/>
                  </a:lnTo>
                  <a:lnTo>
                    <a:pt x="48" y="224"/>
                  </a:lnTo>
                  <a:lnTo>
                    <a:pt x="50" y="226"/>
                  </a:lnTo>
                  <a:lnTo>
                    <a:pt x="53" y="226"/>
                  </a:lnTo>
                  <a:lnTo>
                    <a:pt x="55" y="225"/>
                  </a:lnTo>
                  <a:lnTo>
                    <a:pt x="58" y="224"/>
                  </a:lnTo>
                  <a:lnTo>
                    <a:pt x="58" y="224"/>
                  </a:lnTo>
                  <a:lnTo>
                    <a:pt x="61" y="221"/>
                  </a:lnTo>
                  <a:lnTo>
                    <a:pt x="65" y="219"/>
                  </a:lnTo>
                  <a:lnTo>
                    <a:pt x="78" y="218"/>
                  </a:lnTo>
                  <a:lnTo>
                    <a:pt x="78" y="218"/>
                  </a:lnTo>
                  <a:lnTo>
                    <a:pt x="82" y="218"/>
                  </a:lnTo>
                  <a:lnTo>
                    <a:pt x="85" y="217"/>
                  </a:lnTo>
                  <a:lnTo>
                    <a:pt x="88" y="215"/>
                  </a:lnTo>
                  <a:lnTo>
                    <a:pt x="92" y="212"/>
                  </a:lnTo>
                  <a:lnTo>
                    <a:pt x="92" y="212"/>
                  </a:lnTo>
                  <a:lnTo>
                    <a:pt x="98" y="211"/>
                  </a:lnTo>
                  <a:lnTo>
                    <a:pt x="105" y="211"/>
                  </a:lnTo>
                  <a:lnTo>
                    <a:pt x="111" y="211"/>
                  </a:lnTo>
                  <a:lnTo>
                    <a:pt x="117" y="212"/>
                  </a:lnTo>
                  <a:lnTo>
                    <a:pt x="117" y="212"/>
                  </a:lnTo>
                  <a:lnTo>
                    <a:pt x="122" y="214"/>
                  </a:lnTo>
                  <a:lnTo>
                    <a:pt x="127" y="214"/>
                  </a:lnTo>
                  <a:lnTo>
                    <a:pt x="132" y="211"/>
                  </a:lnTo>
                  <a:lnTo>
                    <a:pt x="132" y="211"/>
                  </a:lnTo>
                  <a:lnTo>
                    <a:pt x="135" y="209"/>
                  </a:lnTo>
                  <a:lnTo>
                    <a:pt x="138" y="211"/>
                  </a:lnTo>
                  <a:lnTo>
                    <a:pt x="141" y="211"/>
                  </a:lnTo>
                  <a:lnTo>
                    <a:pt x="142" y="209"/>
                  </a:lnTo>
                  <a:lnTo>
                    <a:pt x="142" y="208"/>
                  </a:lnTo>
                  <a:lnTo>
                    <a:pt x="142" y="208"/>
                  </a:lnTo>
                  <a:lnTo>
                    <a:pt x="144" y="205"/>
                  </a:lnTo>
                  <a:lnTo>
                    <a:pt x="146" y="204"/>
                  </a:lnTo>
                  <a:lnTo>
                    <a:pt x="156" y="204"/>
                  </a:lnTo>
                  <a:lnTo>
                    <a:pt x="156" y="204"/>
                  </a:lnTo>
                  <a:lnTo>
                    <a:pt x="162" y="202"/>
                  </a:lnTo>
                  <a:lnTo>
                    <a:pt x="171" y="198"/>
                  </a:lnTo>
                  <a:lnTo>
                    <a:pt x="179" y="191"/>
                  </a:lnTo>
                  <a:lnTo>
                    <a:pt x="189" y="182"/>
                  </a:lnTo>
                  <a:lnTo>
                    <a:pt x="189" y="182"/>
                  </a:lnTo>
                  <a:lnTo>
                    <a:pt x="199" y="172"/>
                  </a:lnTo>
                  <a:lnTo>
                    <a:pt x="209" y="160"/>
                  </a:lnTo>
                  <a:lnTo>
                    <a:pt x="220" y="147"/>
                  </a:lnTo>
                  <a:lnTo>
                    <a:pt x="228" y="137"/>
                  </a:lnTo>
                  <a:lnTo>
                    <a:pt x="228" y="137"/>
                  </a:lnTo>
                  <a:lnTo>
                    <a:pt x="232" y="128"/>
                  </a:lnTo>
                  <a:lnTo>
                    <a:pt x="239" y="121"/>
                  </a:lnTo>
                  <a:lnTo>
                    <a:pt x="250" y="111"/>
                  </a:lnTo>
                  <a:lnTo>
                    <a:pt x="250" y="111"/>
                  </a:lnTo>
                  <a:lnTo>
                    <a:pt x="253" y="107"/>
                  </a:lnTo>
                  <a:lnTo>
                    <a:pt x="255" y="100"/>
                  </a:lnTo>
                  <a:lnTo>
                    <a:pt x="257" y="84"/>
                  </a:lnTo>
                  <a:lnTo>
                    <a:pt x="257" y="84"/>
                  </a:lnTo>
                  <a:lnTo>
                    <a:pt x="246" y="86"/>
                  </a:lnTo>
                  <a:lnTo>
                    <a:pt x="246" y="86"/>
                  </a:lnTo>
                  <a:close/>
                  <a:moveTo>
                    <a:pt x="196" y="138"/>
                  </a:moveTo>
                  <a:lnTo>
                    <a:pt x="196" y="138"/>
                  </a:lnTo>
                  <a:lnTo>
                    <a:pt x="196" y="140"/>
                  </a:lnTo>
                  <a:lnTo>
                    <a:pt x="195" y="140"/>
                  </a:lnTo>
                  <a:lnTo>
                    <a:pt x="192" y="140"/>
                  </a:lnTo>
                  <a:lnTo>
                    <a:pt x="188" y="140"/>
                  </a:lnTo>
                  <a:lnTo>
                    <a:pt x="186" y="141"/>
                  </a:lnTo>
                  <a:lnTo>
                    <a:pt x="186" y="141"/>
                  </a:lnTo>
                  <a:lnTo>
                    <a:pt x="182" y="150"/>
                  </a:lnTo>
                  <a:lnTo>
                    <a:pt x="175" y="148"/>
                  </a:lnTo>
                  <a:lnTo>
                    <a:pt x="166" y="135"/>
                  </a:lnTo>
                  <a:lnTo>
                    <a:pt x="166" y="135"/>
                  </a:lnTo>
                  <a:lnTo>
                    <a:pt x="175" y="121"/>
                  </a:lnTo>
                  <a:lnTo>
                    <a:pt x="175" y="121"/>
                  </a:lnTo>
                  <a:lnTo>
                    <a:pt x="178" y="118"/>
                  </a:lnTo>
                  <a:lnTo>
                    <a:pt x="183" y="116"/>
                  </a:lnTo>
                  <a:lnTo>
                    <a:pt x="188" y="113"/>
                  </a:lnTo>
                  <a:lnTo>
                    <a:pt x="191" y="114"/>
                  </a:lnTo>
                  <a:lnTo>
                    <a:pt x="192" y="114"/>
                  </a:lnTo>
                  <a:lnTo>
                    <a:pt x="192" y="114"/>
                  </a:lnTo>
                  <a:lnTo>
                    <a:pt x="193" y="117"/>
                  </a:lnTo>
                  <a:lnTo>
                    <a:pt x="198" y="121"/>
                  </a:lnTo>
                  <a:lnTo>
                    <a:pt x="200" y="124"/>
                  </a:lnTo>
                  <a:lnTo>
                    <a:pt x="202" y="127"/>
                  </a:lnTo>
                  <a:lnTo>
                    <a:pt x="202" y="127"/>
                  </a:lnTo>
                  <a:lnTo>
                    <a:pt x="200" y="130"/>
                  </a:lnTo>
                  <a:lnTo>
                    <a:pt x="199" y="133"/>
                  </a:lnTo>
                  <a:lnTo>
                    <a:pt x="196" y="135"/>
                  </a:lnTo>
                  <a:lnTo>
                    <a:pt x="196" y="138"/>
                  </a:lnTo>
                  <a:lnTo>
                    <a:pt x="196" y="1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 name="Freeform 196">
              <a:extLst>
                <a:ext uri="{FF2B5EF4-FFF2-40B4-BE49-F238E27FC236}">
                  <a16:creationId xmlns:a16="http://schemas.microsoft.com/office/drawing/2014/main" id="{56CBFE6C-C56A-674E-B337-665886F4AD24}"/>
                </a:ext>
              </a:extLst>
            </p:cNvPr>
            <p:cNvSpPr>
              <a:spLocks/>
            </p:cNvSpPr>
            <p:nvPr/>
          </p:nvSpPr>
          <p:spPr bwMode="auto">
            <a:xfrm>
              <a:off x="4603076" y="4453279"/>
              <a:ext cx="276720" cy="290037"/>
            </a:xfrm>
            <a:custGeom>
              <a:avLst/>
              <a:gdLst/>
              <a:ahLst/>
              <a:cxnLst>
                <a:cxn ang="0">
                  <a:pos x="12" y="183"/>
                </a:cxn>
                <a:cxn ang="0">
                  <a:pos x="18" y="185"/>
                </a:cxn>
                <a:cxn ang="0">
                  <a:pos x="25" y="183"/>
                </a:cxn>
                <a:cxn ang="0">
                  <a:pos x="32" y="186"/>
                </a:cxn>
                <a:cxn ang="0">
                  <a:pos x="47" y="190"/>
                </a:cxn>
                <a:cxn ang="0">
                  <a:pos x="108" y="196"/>
                </a:cxn>
                <a:cxn ang="0">
                  <a:pos x="143" y="196"/>
                </a:cxn>
                <a:cxn ang="0">
                  <a:pos x="156" y="196"/>
                </a:cxn>
                <a:cxn ang="0">
                  <a:pos x="173" y="193"/>
                </a:cxn>
                <a:cxn ang="0">
                  <a:pos x="180" y="115"/>
                </a:cxn>
                <a:cxn ang="0">
                  <a:pos x="187" y="79"/>
                </a:cxn>
                <a:cxn ang="0">
                  <a:pos x="183" y="79"/>
                </a:cxn>
                <a:cxn ang="0">
                  <a:pos x="169" y="81"/>
                </a:cxn>
                <a:cxn ang="0">
                  <a:pos x="162" y="85"/>
                </a:cxn>
                <a:cxn ang="0">
                  <a:pos x="159" y="84"/>
                </a:cxn>
                <a:cxn ang="0">
                  <a:pos x="160" y="72"/>
                </a:cxn>
                <a:cxn ang="0">
                  <a:pos x="152" y="59"/>
                </a:cxn>
                <a:cxn ang="0">
                  <a:pos x="152" y="55"/>
                </a:cxn>
                <a:cxn ang="0">
                  <a:pos x="155" y="37"/>
                </a:cxn>
                <a:cxn ang="0">
                  <a:pos x="152" y="31"/>
                </a:cxn>
                <a:cxn ang="0">
                  <a:pos x="150" y="21"/>
                </a:cxn>
                <a:cxn ang="0">
                  <a:pos x="140" y="21"/>
                </a:cxn>
                <a:cxn ang="0">
                  <a:pos x="133" y="18"/>
                </a:cxn>
                <a:cxn ang="0">
                  <a:pos x="125" y="17"/>
                </a:cxn>
                <a:cxn ang="0">
                  <a:pos x="118" y="21"/>
                </a:cxn>
                <a:cxn ang="0">
                  <a:pos x="115" y="32"/>
                </a:cxn>
                <a:cxn ang="0">
                  <a:pos x="106" y="32"/>
                </a:cxn>
                <a:cxn ang="0">
                  <a:pos x="91" y="35"/>
                </a:cxn>
                <a:cxn ang="0">
                  <a:pos x="82" y="25"/>
                </a:cxn>
                <a:cxn ang="0">
                  <a:pos x="76" y="18"/>
                </a:cxn>
                <a:cxn ang="0">
                  <a:pos x="75" y="13"/>
                </a:cxn>
                <a:cxn ang="0">
                  <a:pos x="72" y="0"/>
                </a:cxn>
                <a:cxn ang="0">
                  <a:pos x="21" y="0"/>
                </a:cxn>
                <a:cxn ang="0">
                  <a:pos x="11" y="4"/>
                </a:cxn>
                <a:cxn ang="0">
                  <a:pos x="20" y="24"/>
                </a:cxn>
                <a:cxn ang="0">
                  <a:pos x="27" y="41"/>
                </a:cxn>
                <a:cxn ang="0">
                  <a:pos x="24" y="55"/>
                </a:cxn>
                <a:cxn ang="0">
                  <a:pos x="28" y="71"/>
                </a:cxn>
                <a:cxn ang="0">
                  <a:pos x="34" y="88"/>
                </a:cxn>
                <a:cxn ang="0">
                  <a:pos x="22" y="112"/>
                </a:cxn>
                <a:cxn ang="0">
                  <a:pos x="14" y="126"/>
                </a:cxn>
                <a:cxn ang="0">
                  <a:pos x="10" y="142"/>
                </a:cxn>
                <a:cxn ang="0">
                  <a:pos x="2" y="160"/>
                </a:cxn>
                <a:cxn ang="0">
                  <a:pos x="1" y="176"/>
                </a:cxn>
                <a:cxn ang="0">
                  <a:pos x="0" y="187"/>
                </a:cxn>
                <a:cxn ang="0">
                  <a:pos x="5" y="185"/>
                </a:cxn>
                <a:cxn ang="0">
                  <a:pos x="10" y="182"/>
                </a:cxn>
              </a:cxnLst>
              <a:rect l="0" t="0" r="r" b="b"/>
              <a:pathLst>
                <a:path w="187" h="196">
                  <a:moveTo>
                    <a:pt x="10" y="182"/>
                  </a:moveTo>
                  <a:lnTo>
                    <a:pt x="10" y="182"/>
                  </a:lnTo>
                  <a:lnTo>
                    <a:pt x="12" y="183"/>
                  </a:lnTo>
                  <a:lnTo>
                    <a:pt x="14" y="185"/>
                  </a:lnTo>
                  <a:lnTo>
                    <a:pt x="14" y="186"/>
                  </a:lnTo>
                  <a:lnTo>
                    <a:pt x="18" y="185"/>
                  </a:lnTo>
                  <a:lnTo>
                    <a:pt x="18" y="185"/>
                  </a:lnTo>
                  <a:lnTo>
                    <a:pt x="21" y="183"/>
                  </a:lnTo>
                  <a:lnTo>
                    <a:pt x="25" y="183"/>
                  </a:lnTo>
                  <a:lnTo>
                    <a:pt x="30" y="185"/>
                  </a:lnTo>
                  <a:lnTo>
                    <a:pt x="32" y="186"/>
                  </a:lnTo>
                  <a:lnTo>
                    <a:pt x="32" y="186"/>
                  </a:lnTo>
                  <a:lnTo>
                    <a:pt x="39" y="189"/>
                  </a:lnTo>
                  <a:lnTo>
                    <a:pt x="47" y="190"/>
                  </a:lnTo>
                  <a:lnTo>
                    <a:pt x="47" y="190"/>
                  </a:lnTo>
                  <a:lnTo>
                    <a:pt x="102" y="190"/>
                  </a:lnTo>
                  <a:lnTo>
                    <a:pt x="108" y="196"/>
                  </a:lnTo>
                  <a:lnTo>
                    <a:pt x="108" y="196"/>
                  </a:lnTo>
                  <a:lnTo>
                    <a:pt x="123" y="195"/>
                  </a:lnTo>
                  <a:lnTo>
                    <a:pt x="136" y="195"/>
                  </a:lnTo>
                  <a:lnTo>
                    <a:pt x="143" y="196"/>
                  </a:lnTo>
                  <a:lnTo>
                    <a:pt x="143" y="196"/>
                  </a:lnTo>
                  <a:lnTo>
                    <a:pt x="149" y="196"/>
                  </a:lnTo>
                  <a:lnTo>
                    <a:pt x="156" y="196"/>
                  </a:lnTo>
                  <a:lnTo>
                    <a:pt x="169" y="195"/>
                  </a:lnTo>
                  <a:lnTo>
                    <a:pt x="169" y="195"/>
                  </a:lnTo>
                  <a:lnTo>
                    <a:pt x="173" y="193"/>
                  </a:lnTo>
                  <a:lnTo>
                    <a:pt x="155" y="168"/>
                  </a:lnTo>
                  <a:lnTo>
                    <a:pt x="156" y="115"/>
                  </a:lnTo>
                  <a:lnTo>
                    <a:pt x="180" y="115"/>
                  </a:lnTo>
                  <a:lnTo>
                    <a:pt x="185" y="111"/>
                  </a:lnTo>
                  <a:lnTo>
                    <a:pt x="187" y="79"/>
                  </a:lnTo>
                  <a:lnTo>
                    <a:pt x="187" y="79"/>
                  </a:lnTo>
                  <a:lnTo>
                    <a:pt x="185" y="79"/>
                  </a:lnTo>
                  <a:lnTo>
                    <a:pt x="183" y="79"/>
                  </a:lnTo>
                  <a:lnTo>
                    <a:pt x="183" y="79"/>
                  </a:lnTo>
                  <a:lnTo>
                    <a:pt x="176" y="81"/>
                  </a:lnTo>
                  <a:lnTo>
                    <a:pt x="169" y="81"/>
                  </a:lnTo>
                  <a:lnTo>
                    <a:pt x="169" y="81"/>
                  </a:lnTo>
                  <a:lnTo>
                    <a:pt x="166" y="81"/>
                  </a:lnTo>
                  <a:lnTo>
                    <a:pt x="163" y="84"/>
                  </a:lnTo>
                  <a:lnTo>
                    <a:pt x="162" y="85"/>
                  </a:lnTo>
                  <a:lnTo>
                    <a:pt x="160" y="85"/>
                  </a:lnTo>
                  <a:lnTo>
                    <a:pt x="160" y="85"/>
                  </a:lnTo>
                  <a:lnTo>
                    <a:pt x="159" y="84"/>
                  </a:lnTo>
                  <a:lnTo>
                    <a:pt x="159" y="79"/>
                  </a:lnTo>
                  <a:lnTo>
                    <a:pt x="160" y="72"/>
                  </a:lnTo>
                  <a:lnTo>
                    <a:pt x="160" y="72"/>
                  </a:lnTo>
                  <a:lnTo>
                    <a:pt x="160" y="69"/>
                  </a:lnTo>
                  <a:lnTo>
                    <a:pt x="158" y="65"/>
                  </a:lnTo>
                  <a:lnTo>
                    <a:pt x="152" y="59"/>
                  </a:lnTo>
                  <a:lnTo>
                    <a:pt x="152" y="59"/>
                  </a:lnTo>
                  <a:lnTo>
                    <a:pt x="152" y="58"/>
                  </a:lnTo>
                  <a:lnTo>
                    <a:pt x="152" y="55"/>
                  </a:lnTo>
                  <a:lnTo>
                    <a:pt x="153" y="48"/>
                  </a:lnTo>
                  <a:lnTo>
                    <a:pt x="155" y="41"/>
                  </a:lnTo>
                  <a:lnTo>
                    <a:pt x="155" y="37"/>
                  </a:lnTo>
                  <a:lnTo>
                    <a:pt x="155" y="37"/>
                  </a:lnTo>
                  <a:lnTo>
                    <a:pt x="153" y="34"/>
                  </a:lnTo>
                  <a:lnTo>
                    <a:pt x="152" y="31"/>
                  </a:lnTo>
                  <a:lnTo>
                    <a:pt x="152" y="24"/>
                  </a:lnTo>
                  <a:lnTo>
                    <a:pt x="152" y="24"/>
                  </a:lnTo>
                  <a:lnTo>
                    <a:pt x="150" y="21"/>
                  </a:lnTo>
                  <a:lnTo>
                    <a:pt x="149" y="21"/>
                  </a:lnTo>
                  <a:lnTo>
                    <a:pt x="140" y="21"/>
                  </a:lnTo>
                  <a:lnTo>
                    <a:pt x="140" y="21"/>
                  </a:lnTo>
                  <a:lnTo>
                    <a:pt x="136" y="21"/>
                  </a:lnTo>
                  <a:lnTo>
                    <a:pt x="135" y="20"/>
                  </a:lnTo>
                  <a:lnTo>
                    <a:pt x="133" y="18"/>
                  </a:lnTo>
                  <a:lnTo>
                    <a:pt x="133" y="18"/>
                  </a:lnTo>
                  <a:lnTo>
                    <a:pt x="128" y="17"/>
                  </a:lnTo>
                  <a:lnTo>
                    <a:pt x="125" y="17"/>
                  </a:lnTo>
                  <a:lnTo>
                    <a:pt x="121" y="18"/>
                  </a:lnTo>
                  <a:lnTo>
                    <a:pt x="121" y="18"/>
                  </a:lnTo>
                  <a:lnTo>
                    <a:pt x="118" y="21"/>
                  </a:lnTo>
                  <a:lnTo>
                    <a:pt x="116" y="27"/>
                  </a:lnTo>
                  <a:lnTo>
                    <a:pt x="115" y="31"/>
                  </a:lnTo>
                  <a:lnTo>
                    <a:pt x="115" y="32"/>
                  </a:lnTo>
                  <a:lnTo>
                    <a:pt x="113" y="32"/>
                  </a:lnTo>
                  <a:lnTo>
                    <a:pt x="113" y="32"/>
                  </a:lnTo>
                  <a:lnTo>
                    <a:pt x="106" y="32"/>
                  </a:lnTo>
                  <a:lnTo>
                    <a:pt x="95" y="35"/>
                  </a:lnTo>
                  <a:lnTo>
                    <a:pt x="95" y="35"/>
                  </a:lnTo>
                  <a:lnTo>
                    <a:pt x="91" y="35"/>
                  </a:lnTo>
                  <a:lnTo>
                    <a:pt x="88" y="34"/>
                  </a:lnTo>
                  <a:lnTo>
                    <a:pt x="85" y="31"/>
                  </a:lnTo>
                  <a:lnTo>
                    <a:pt x="82" y="25"/>
                  </a:lnTo>
                  <a:lnTo>
                    <a:pt x="82" y="25"/>
                  </a:lnTo>
                  <a:lnTo>
                    <a:pt x="79" y="21"/>
                  </a:lnTo>
                  <a:lnTo>
                    <a:pt x="76" y="18"/>
                  </a:lnTo>
                  <a:lnTo>
                    <a:pt x="75" y="17"/>
                  </a:lnTo>
                  <a:lnTo>
                    <a:pt x="75" y="13"/>
                  </a:lnTo>
                  <a:lnTo>
                    <a:pt x="75" y="13"/>
                  </a:lnTo>
                  <a:lnTo>
                    <a:pt x="75" y="8"/>
                  </a:lnTo>
                  <a:lnTo>
                    <a:pt x="75" y="4"/>
                  </a:lnTo>
                  <a:lnTo>
                    <a:pt x="72" y="0"/>
                  </a:lnTo>
                  <a:lnTo>
                    <a:pt x="72" y="0"/>
                  </a:lnTo>
                  <a:lnTo>
                    <a:pt x="48" y="0"/>
                  </a:lnTo>
                  <a:lnTo>
                    <a:pt x="21" y="0"/>
                  </a:lnTo>
                  <a:lnTo>
                    <a:pt x="21" y="0"/>
                  </a:lnTo>
                  <a:lnTo>
                    <a:pt x="17" y="1"/>
                  </a:lnTo>
                  <a:lnTo>
                    <a:pt x="11" y="4"/>
                  </a:lnTo>
                  <a:lnTo>
                    <a:pt x="11" y="4"/>
                  </a:lnTo>
                  <a:lnTo>
                    <a:pt x="15" y="14"/>
                  </a:lnTo>
                  <a:lnTo>
                    <a:pt x="20" y="24"/>
                  </a:lnTo>
                  <a:lnTo>
                    <a:pt x="25" y="38"/>
                  </a:lnTo>
                  <a:lnTo>
                    <a:pt x="25" y="38"/>
                  </a:lnTo>
                  <a:lnTo>
                    <a:pt x="27" y="41"/>
                  </a:lnTo>
                  <a:lnTo>
                    <a:pt x="25" y="45"/>
                  </a:lnTo>
                  <a:lnTo>
                    <a:pt x="24" y="49"/>
                  </a:lnTo>
                  <a:lnTo>
                    <a:pt x="24" y="55"/>
                  </a:lnTo>
                  <a:lnTo>
                    <a:pt x="24" y="55"/>
                  </a:lnTo>
                  <a:lnTo>
                    <a:pt x="25" y="62"/>
                  </a:lnTo>
                  <a:lnTo>
                    <a:pt x="28" y="71"/>
                  </a:lnTo>
                  <a:lnTo>
                    <a:pt x="31" y="81"/>
                  </a:lnTo>
                  <a:lnTo>
                    <a:pt x="34" y="88"/>
                  </a:lnTo>
                  <a:lnTo>
                    <a:pt x="34" y="88"/>
                  </a:lnTo>
                  <a:lnTo>
                    <a:pt x="32" y="95"/>
                  </a:lnTo>
                  <a:lnTo>
                    <a:pt x="30" y="102"/>
                  </a:lnTo>
                  <a:lnTo>
                    <a:pt x="22" y="112"/>
                  </a:lnTo>
                  <a:lnTo>
                    <a:pt x="22" y="112"/>
                  </a:lnTo>
                  <a:lnTo>
                    <a:pt x="18" y="118"/>
                  </a:lnTo>
                  <a:lnTo>
                    <a:pt x="14" y="126"/>
                  </a:lnTo>
                  <a:lnTo>
                    <a:pt x="11" y="135"/>
                  </a:lnTo>
                  <a:lnTo>
                    <a:pt x="10" y="142"/>
                  </a:lnTo>
                  <a:lnTo>
                    <a:pt x="10" y="142"/>
                  </a:lnTo>
                  <a:lnTo>
                    <a:pt x="8" y="149"/>
                  </a:lnTo>
                  <a:lnTo>
                    <a:pt x="5" y="156"/>
                  </a:lnTo>
                  <a:lnTo>
                    <a:pt x="2" y="160"/>
                  </a:lnTo>
                  <a:lnTo>
                    <a:pt x="2" y="165"/>
                  </a:lnTo>
                  <a:lnTo>
                    <a:pt x="2" y="165"/>
                  </a:lnTo>
                  <a:lnTo>
                    <a:pt x="1" y="176"/>
                  </a:lnTo>
                  <a:lnTo>
                    <a:pt x="0" y="186"/>
                  </a:lnTo>
                  <a:lnTo>
                    <a:pt x="0" y="186"/>
                  </a:lnTo>
                  <a:lnTo>
                    <a:pt x="0" y="187"/>
                  </a:lnTo>
                  <a:lnTo>
                    <a:pt x="5" y="186"/>
                  </a:lnTo>
                  <a:lnTo>
                    <a:pt x="5" y="186"/>
                  </a:lnTo>
                  <a:lnTo>
                    <a:pt x="5" y="185"/>
                  </a:lnTo>
                  <a:lnTo>
                    <a:pt x="8" y="183"/>
                  </a:lnTo>
                  <a:lnTo>
                    <a:pt x="10" y="182"/>
                  </a:lnTo>
                  <a:lnTo>
                    <a:pt x="10" y="18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1" name="Freeform 197">
              <a:extLst>
                <a:ext uri="{FF2B5EF4-FFF2-40B4-BE49-F238E27FC236}">
                  <a16:creationId xmlns:a16="http://schemas.microsoft.com/office/drawing/2014/main" id="{541DC142-469E-5E4A-913D-54BBCD3D5D11}"/>
                </a:ext>
              </a:extLst>
            </p:cNvPr>
            <p:cNvSpPr>
              <a:spLocks/>
            </p:cNvSpPr>
            <p:nvPr/>
          </p:nvSpPr>
          <p:spPr bwMode="auto">
            <a:xfrm>
              <a:off x="4832442" y="4508030"/>
              <a:ext cx="273761" cy="236766"/>
            </a:xfrm>
            <a:custGeom>
              <a:avLst/>
              <a:gdLst/>
              <a:ahLst/>
              <a:cxnLst>
                <a:cxn ang="0">
                  <a:pos x="136" y="4"/>
                </a:cxn>
                <a:cxn ang="0">
                  <a:pos x="126" y="1"/>
                </a:cxn>
                <a:cxn ang="0">
                  <a:pos x="111" y="3"/>
                </a:cxn>
                <a:cxn ang="0">
                  <a:pos x="108" y="7"/>
                </a:cxn>
                <a:cxn ang="0">
                  <a:pos x="106" y="12"/>
                </a:cxn>
                <a:cxn ang="0">
                  <a:pos x="102" y="20"/>
                </a:cxn>
                <a:cxn ang="0">
                  <a:pos x="105" y="24"/>
                </a:cxn>
                <a:cxn ang="0">
                  <a:pos x="104" y="40"/>
                </a:cxn>
                <a:cxn ang="0">
                  <a:pos x="99" y="52"/>
                </a:cxn>
                <a:cxn ang="0">
                  <a:pos x="104" y="61"/>
                </a:cxn>
                <a:cxn ang="0">
                  <a:pos x="111" y="67"/>
                </a:cxn>
                <a:cxn ang="0">
                  <a:pos x="121" y="64"/>
                </a:cxn>
                <a:cxn ang="0">
                  <a:pos x="123" y="68"/>
                </a:cxn>
                <a:cxn ang="0">
                  <a:pos x="123" y="78"/>
                </a:cxn>
                <a:cxn ang="0">
                  <a:pos x="121" y="82"/>
                </a:cxn>
                <a:cxn ang="0">
                  <a:pos x="109" y="82"/>
                </a:cxn>
                <a:cxn ang="0">
                  <a:pos x="105" y="75"/>
                </a:cxn>
                <a:cxn ang="0">
                  <a:pos x="101" y="67"/>
                </a:cxn>
                <a:cxn ang="0">
                  <a:pos x="91" y="65"/>
                </a:cxn>
                <a:cxn ang="0">
                  <a:pos x="82" y="57"/>
                </a:cxn>
                <a:cxn ang="0">
                  <a:pos x="78" y="57"/>
                </a:cxn>
                <a:cxn ang="0">
                  <a:pos x="77" y="59"/>
                </a:cxn>
                <a:cxn ang="0">
                  <a:pos x="69" y="61"/>
                </a:cxn>
                <a:cxn ang="0">
                  <a:pos x="62" y="59"/>
                </a:cxn>
                <a:cxn ang="0">
                  <a:pos x="55" y="57"/>
                </a:cxn>
                <a:cxn ang="0">
                  <a:pos x="51" y="52"/>
                </a:cxn>
                <a:cxn ang="0">
                  <a:pos x="49" y="48"/>
                </a:cxn>
                <a:cxn ang="0">
                  <a:pos x="41" y="49"/>
                </a:cxn>
                <a:cxn ang="0">
                  <a:pos x="37" y="47"/>
                </a:cxn>
                <a:cxn ang="0">
                  <a:pos x="32" y="42"/>
                </a:cxn>
                <a:cxn ang="0">
                  <a:pos x="1" y="78"/>
                </a:cxn>
                <a:cxn ang="0">
                  <a:pos x="18" y="156"/>
                </a:cxn>
                <a:cxn ang="0">
                  <a:pos x="47" y="153"/>
                </a:cxn>
                <a:cxn ang="0">
                  <a:pos x="48" y="158"/>
                </a:cxn>
                <a:cxn ang="0">
                  <a:pos x="57" y="158"/>
                </a:cxn>
                <a:cxn ang="0">
                  <a:pos x="77" y="160"/>
                </a:cxn>
                <a:cxn ang="0">
                  <a:pos x="84" y="152"/>
                </a:cxn>
                <a:cxn ang="0">
                  <a:pos x="94" y="142"/>
                </a:cxn>
                <a:cxn ang="0">
                  <a:pos x="106" y="133"/>
                </a:cxn>
                <a:cxn ang="0">
                  <a:pos x="108" y="129"/>
                </a:cxn>
                <a:cxn ang="0">
                  <a:pos x="118" y="123"/>
                </a:cxn>
                <a:cxn ang="0">
                  <a:pos x="129" y="111"/>
                </a:cxn>
                <a:cxn ang="0">
                  <a:pos x="173" y="95"/>
                </a:cxn>
                <a:cxn ang="0">
                  <a:pos x="170" y="88"/>
                </a:cxn>
                <a:cxn ang="0">
                  <a:pos x="172" y="72"/>
                </a:cxn>
                <a:cxn ang="0">
                  <a:pos x="178" y="69"/>
                </a:cxn>
                <a:cxn ang="0">
                  <a:pos x="179" y="68"/>
                </a:cxn>
                <a:cxn ang="0">
                  <a:pos x="178" y="55"/>
                </a:cxn>
                <a:cxn ang="0">
                  <a:pos x="179" y="41"/>
                </a:cxn>
                <a:cxn ang="0">
                  <a:pos x="183" y="40"/>
                </a:cxn>
                <a:cxn ang="0">
                  <a:pos x="182" y="30"/>
                </a:cxn>
                <a:cxn ang="0">
                  <a:pos x="173" y="18"/>
                </a:cxn>
                <a:cxn ang="0">
                  <a:pos x="156" y="12"/>
                </a:cxn>
                <a:cxn ang="0">
                  <a:pos x="142" y="7"/>
                </a:cxn>
              </a:cxnLst>
              <a:rect l="0" t="0" r="r" b="b"/>
              <a:pathLst>
                <a:path w="185" h="160">
                  <a:moveTo>
                    <a:pt x="142" y="7"/>
                  </a:moveTo>
                  <a:lnTo>
                    <a:pt x="142" y="7"/>
                  </a:lnTo>
                  <a:lnTo>
                    <a:pt x="136" y="4"/>
                  </a:lnTo>
                  <a:lnTo>
                    <a:pt x="129" y="0"/>
                  </a:lnTo>
                  <a:lnTo>
                    <a:pt x="129" y="0"/>
                  </a:lnTo>
                  <a:lnTo>
                    <a:pt x="126" y="1"/>
                  </a:lnTo>
                  <a:lnTo>
                    <a:pt x="121" y="3"/>
                  </a:lnTo>
                  <a:lnTo>
                    <a:pt x="111" y="3"/>
                  </a:lnTo>
                  <a:lnTo>
                    <a:pt x="111" y="3"/>
                  </a:lnTo>
                  <a:lnTo>
                    <a:pt x="109" y="3"/>
                  </a:lnTo>
                  <a:lnTo>
                    <a:pt x="108" y="4"/>
                  </a:lnTo>
                  <a:lnTo>
                    <a:pt x="108" y="7"/>
                  </a:lnTo>
                  <a:lnTo>
                    <a:pt x="108" y="10"/>
                  </a:lnTo>
                  <a:lnTo>
                    <a:pt x="106" y="12"/>
                  </a:lnTo>
                  <a:lnTo>
                    <a:pt x="106" y="12"/>
                  </a:lnTo>
                  <a:lnTo>
                    <a:pt x="104" y="15"/>
                  </a:lnTo>
                  <a:lnTo>
                    <a:pt x="102" y="18"/>
                  </a:lnTo>
                  <a:lnTo>
                    <a:pt x="102" y="20"/>
                  </a:lnTo>
                  <a:lnTo>
                    <a:pt x="104" y="21"/>
                  </a:lnTo>
                  <a:lnTo>
                    <a:pt x="104" y="21"/>
                  </a:lnTo>
                  <a:lnTo>
                    <a:pt x="105" y="24"/>
                  </a:lnTo>
                  <a:lnTo>
                    <a:pt x="105" y="30"/>
                  </a:lnTo>
                  <a:lnTo>
                    <a:pt x="104" y="40"/>
                  </a:lnTo>
                  <a:lnTo>
                    <a:pt x="104" y="40"/>
                  </a:lnTo>
                  <a:lnTo>
                    <a:pt x="102" y="44"/>
                  </a:lnTo>
                  <a:lnTo>
                    <a:pt x="101" y="48"/>
                  </a:lnTo>
                  <a:lnTo>
                    <a:pt x="99" y="52"/>
                  </a:lnTo>
                  <a:lnTo>
                    <a:pt x="99" y="54"/>
                  </a:lnTo>
                  <a:lnTo>
                    <a:pt x="99" y="54"/>
                  </a:lnTo>
                  <a:lnTo>
                    <a:pt x="104" y="61"/>
                  </a:lnTo>
                  <a:lnTo>
                    <a:pt x="106" y="65"/>
                  </a:lnTo>
                  <a:lnTo>
                    <a:pt x="111" y="67"/>
                  </a:lnTo>
                  <a:lnTo>
                    <a:pt x="111" y="67"/>
                  </a:lnTo>
                  <a:lnTo>
                    <a:pt x="113" y="67"/>
                  </a:lnTo>
                  <a:lnTo>
                    <a:pt x="116" y="67"/>
                  </a:lnTo>
                  <a:lnTo>
                    <a:pt x="121" y="64"/>
                  </a:lnTo>
                  <a:lnTo>
                    <a:pt x="121" y="64"/>
                  </a:lnTo>
                  <a:lnTo>
                    <a:pt x="122" y="65"/>
                  </a:lnTo>
                  <a:lnTo>
                    <a:pt x="123" y="68"/>
                  </a:lnTo>
                  <a:lnTo>
                    <a:pt x="123" y="75"/>
                  </a:lnTo>
                  <a:lnTo>
                    <a:pt x="123" y="75"/>
                  </a:lnTo>
                  <a:lnTo>
                    <a:pt x="123" y="78"/>
                  </a:lnTo>
                  <a:lnTo>
                    <a:pt x="122" y="81"/>
                  </a:lnTo>
                  <a:lnTo>
                    <a:pt x="121" y="82"/>
                  </a:lnTo>
                  <a:lnTo>
                    <a:pt x="121" y="82"/>
                  </a:lnTo>
                  <a:lnTo>
                    <a:pt x="116" y="84"/>
                  </a:lnTo>
                  <a:lnTo>
                    <a:pt x="112" y="84"/>
                  </a:lnTo>
                  <a:lnTo>
                    <a:pt x="109" y="82"/>
                  </a:lnTo>
                  <a:lnTo>
                    <a:pt x="109" y="82"/>
                  </a:lnTo>
                  <a:lnTo>
                    <a:pt x="106" y="79"/>
                  </a:lnTo>
                  <a:lnTo>
                    <a:pt x="105" y="75"/>
                  </a:lnTo>
                  <a:lnTo>
                    <a:pt x="102" y="68"/>
                  </a:lnTo>
                  <a:lnTo>
                    <a:pt x="102" y="68"/>
                  </a:lnTo>
                  <a:lnTo>
                    <a:pt x="101" y="67"/>
                  </a:lnTo>
                  <a:lnTo>
                    <a:pt x="98" y="67"/>
                  </a:lnTo>
                  <a:lnTo>
                    <a:pt x="91" y="65"/>
                  </a:lnTo>
                  <a:lnTo>
                    <a:pt x="91" y="65"/>
                  </a:lnTo>
                  <a:lnTo>
                    <a:pt x="88" y="65"/>
                  </a:lnTo>
                  <a:lnTo>
                    <a:pt x="85" y="62"/>
                  </a:lnTo>
                  <a:lnTo>
                    <a:pt x="82" y="57"/>
                  </a:lnTo>
                  <a:lnTo>
                    <a:pt x="82" y="57"/>
                  </a:lnTo>
                  <a:lnTo>
                    <a:pt x="81" y="55"/>
                  </a:lnTo>
                  <a:lnTo>
                    <a:pt x="78" y="57"/>
                  </a:lnTo>
                  <a:lnTo>
                    <a:pt x="77" y="58"/>
                  </a:lnTo>
                  <a:lnTo>
                    <a:pt x="77" y="59"/>
                  </a:lnTo>
                  <a:lnTo>
                    <a:pt x="77" y="59"/>
                  </a:lnTo>
                  <a:lnTo>
                    <a:pt x="75" y="61"/>
                  </a:lnTo>
                  <a:lnTo>
                    <a:pt x="74" y="61"/>
                  </a:lnTo>
                  <a:lnTo>
                    <a:pt x="69" y="61"/>
                  </a:lnTo>
                  <a:lnTo>
                    <a:pt x="69" y="61"/>
                  </a:lnTo>
                  <a:lnTo>
                    <a:pt x="67" y="61"/>
                  </a:lnTo>
                  <a:lnTo>
                    <a:pt x="62" y="59"/>
                  </a:lnTo>
                  <a:lnTo>
                    <a:pt x="58" y="57"/>
                  </a:lnTo>
                  <a:lnTo>
                    <a:pt x="55" y="57"/>
                  </a:lnTo>
                  <a:lnTo>
                    <a:pt x="55" y="57"/>
                  </a:lnTo>
                  <a:lnTo>
                    <a:pt x="54" y="57"/>
                  </a:lnTo>
                  <a:lnTo>
                    <a:pt x="52" y="55"/>
                  </a:lnTo>
                  <a:lnTo>
                    <a:pt x="51" y="52"/>
                  </a:lnTo>
                  <a:lnTo>
                    <a:pt x="51" y="49"/>
                  </a:lnTo>
                  <a:lnTo>
                    <a:pt x="51" y="49"/>
                  </a:lnTo>
                  <a:lnTo>
                    <a:pt x="49" y="48"/>
                  </a:lnTo>
                  <a:lnTo>
                    <a:pt x="47" y="48"/>
                  </a:lnTo>
                  <a:lnTo>
                    <a:pt x="41" y="49"/>
                  </a:lnTo>
                  <a:lnTo>
                    <a:pt x="41" y="49"/>
                  </a:lnTo>
                  <a:lnTo>
                    <a:pt x="40" y="49"/>
                  </a:lnTo>
                  <a:lnTo>
                    <a:pt x="38" y="49"/>
                  </a:lnTo>
                  <a:lnTo>
                    <a:pt x="37" y="47"/>
                  </a:lnTo>
                  <a:lnTo>
                    <a:pt x="37" y="47"/>
                  </a:lnTo>
                  <a:lnTo>
                    <a:pt x="35" y="45"/>
                  </a:lnTo>
                  <a:lnTo>
                    <a:pt x="32" y="42"/>
                  </a:lnTo>
                  <a:lnTo>
                    <a:pt x="30" y="74"/>
                  </a:lnTo>
                  <a:lnTo>
                    <a:pt x="25" y="78"/>
                  </a:lnTo>
                  <a:lnTo>
                    <a:pt x="1" y="78"/>
                  </a:lnTo>
                  <a:lnTo>
                    <a:pt x="0" y="131"/>
                  </a:lnTo>
                  <a:lnTo>
                    <a:pt x="18" y="156"/>
                  </a:lnTo>
                  <a:lnTo>
                    <a:pt x="18" y="156"/>
                  </a:lnTo>
                  <a:lnTo>
                    <a:pt x="35" y="153"/>
                  </a:lnTo>
                  <a:lnTo>
                    <a:pt x="44" y="153"/>
                  </a:lnTo>
                  <a:lnTo>
                    <a:pt x="47" y="153"/>
                  </a:lnTo>
                  <a:lnTo>
                    <a:pt x="47" y="155"/>
                  </a:lnTo>
                  <a:lnTo>
                    <a:pt x="47" y="155"/>
                  </a:lnTo>
                  <a:lnTo>
                    <a:pt x="48" y="158"/>
                  </a:lnTo>
                  <a:lnTo>
                    <a:pt x="48" y="158"/>
                  </a:lnTo>
                  <a:lnTo>
                    <a:pt x="57" y="158"/>
                  </a:lnTo>
                  <a:lnTo>
                    <a:pt x="57" y="158"/>
                  </a:lnTo>
                  <a:lnTo>
                    <a:pt x="67" y="159"/>
                  </a:lnTo>
                  <a:lnTo>
                    <a:pt x="72" y="160"/>
                  </a:lnTo>
                  <a:lnTo>
                    <a:pt x="77" y="160"/>
                  </a:lnTo>
                  <a:lnTo>
                    <a:pt x="77" y="160"/>
                  </a:lnTo>
                  <a:lnTo>
                    <a:pt x="81" y="158"/>
                  </a:lnTo>
                  <a:lnTo>
                    <a:pt x="84" y="152"/>
                  </a:lnTo>
                  <a:lnTo>
                    <a:pt x="89" y="146"/>
                  </a:lnTo>
                  <a:lnTo>
                    <a:pt x="94" y="142"/>
                  </a:lnTo>
                  <a:lnTo>
                    <a:pt x="94" y="142"/>
                  </a:lnTo>
                  <a:lnTo>
                    <a:pt x="98" y="141"/>
                  </a:lnTo>
                  <a:lnTo>
                    <a:pt x="104" y="136"/>
                  </a:lnTo>
                  <a:lnTo>
                    <a:pt x="106" y="133"/>
                  </a:lnTo>
                  <a:lnTo>
                    <a:pt x="108" y="131"/>
                  </a:lnTo>
                  <a:lnTo>
                    <a:pt x="108" y="131"/>
                  </a:lnTo>
                  <a:lnTo>
                    <a:pt x="108" y="129"/>
                  </a:lnTo>
                  <a:lnTo>
                    <a:pt x="109" y="126"/>
                  </a:lnTo>
                  <a:lnTo>
                    <a:pt x="112" y="125"/>
                  </a:lnTo>
                  <a:lnTo>
                    <a:pt x="118" y="123"/>
                  </a:lnTo>
                  <a:lnTo>
                    <a:pt x="131" y="122"/>
                  </a:lnTo>
                  <a:lnTo>
                    <a:pt x="132" y="122"/>
                  </a:lnTo>
                  <a:lnTo>
                    <a:pt x="129" y="111"/>
                  </a:lnTo>
                  <a:lnTo>
                    <a:pt x="129" y="111"/>
                  </a:lnTo>
                  <a:lnTo>
                    <a:pt x="173" y="95"/>
                  </a:lnTo>
                  <a:lnTo>
                    <a:pt x="173" y="95"/>
                  </a:lnTo>
                  <a:lnTo>
                    <a:pt x="170" y="89"/>
                  </a:lnTo>
                  <a:lnTo>
                    <a:pt x="170" y="88"/>
                  </a:lnTo>
                  <a:lnTo>
                    <a:pt x="170" y="88"/>
                  </a:lnTo>
                  <a:lnTo>
                    <a:pt x="172" y="85"/>
                  </a:lnTo>
                  <a:lnTo>
                    <a:pt x="172" y="81"/>
                  </a:lnTo>
                  <a:lnTo>
                    <a:pt x="172" y="72"/>
                  </a:lnTo>
                  <a:lnTo>
                    <a:pt x="172" y="72"/>
                  </a:lnTo>
                  <a:lnTo>
                    <a:pt x="175" y="71"/>
                  </a:lnTo>
                  <a:lnTo>
                    <a:pt x="178" y="69"/>
                  </a:lnTo>
                  <a:lnTo>
                    <a:pt x="179" y="69"/>
                  </a:lnTo>
                  <a:lnTo>
                    <a:pt x="180" y="68"/>
                  </a:lnTo>
                  <a:lnTo>
                    <a:pt x="179" y="68"/>
                  </a:lnTo>
                  <a:lnTo>
                    <a:pt x="179" y="68"/>
                  </a:lnTo>
                  <a:lnTo>
                    <a:pt x="178" y="62"/>
                  </a:lnTo>
                  <a:lnTo>
                    <a:pt x="178" y="55"/>
                  </a:lnTo>
                  <a:lnTo>
                    <a:pt x="178" y="47"/>
                  </a:lnTo>
                  <a:lnTo>
                    <a:pt x="179" y="41"/>
                  </a:lnTo>
                  <a:lnTo>
                    <a:pt x="179" y="41"/>
                  </a:lnTo>
                  <a:lnTo>
                    <a:pt x="180" y="40"/>
                  </a:lnTo>
                  <a:lnTo>
                    <a:pt x="182" y="40"/>
                  </a:lnTo>
                  <a:lnTo>
                    <a:pt x="183" y="40"/>
                  </a:lnTo>
                  <a:lnTo>
                    <a:pt x="185" y="38"/>
                  </a:lnTo>
                  <a:lnTo>
                    <a:pt x="185" y="38"/>
                  </a:lnTo>
                  <a:lnTo>
                    <a:pt x="182" y="30"/>
                  </a:lnTo>
                  <a:lnTo>
                    <a:pt x="176" y="21"/>
                  </a:lnTo>
                  <a:lnTo>
                    <a:pt x="176" y="21"/>
                  </a:lnTo>
                  <a:lnTo>
                    <a:pt x="173" y="18"/>
                  </a:lnTo>
                  <a:lnTo>
                    <a:pt x="168" y="15"/>
                  </a:lnTo>
                  <a:lnTo>
                    <a:pt x="156" y="12"/>
                  </a:lnTo>
                  <a:lnTo>
                    <a:pt x="156" y="12"/>
                  </a:lnTo>
                  <a:lnTo>
                    <a:pt x="149" y="8"/>
                  </a:lnTo>
                  <a:lnTo>
                    <a:pt x="145" y="7"/>
                  </a:lnTo>
                  <a:lnTo>
                    <a:pt x="142" y="7"/>
                  </a:lnTo>
                  <a:lnTo>
                    <a:pt x="142"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2" name="Freeform 198">
              <a:extLst>
                <a:ext uri="{FF2B5EF4-FFF2-40B4-BE49-F238E27FC236}">
                  <a16:creationId xmlns:a16="http://schemas.microsoft.com/office/drawing/2014/main" id="{0E9EC114-69D4-8D44-BE81-BA62FC27F3A8}"/>
                </a:ext>
              </a:extLst>
            </p:cNvPr>
            <p:cNvSpPr>
              <a:spLocks/>
            </p:cNvSpPr>
            <p:nvPr/>
          </p:nvSpPr>
          <p:spPr bwMode="auto">
            <a:xfrm>
              <a:off x="4993739" y="4336375"/>
              <a:ext cx="44394" cy="38474"/>
            </a:xfrm>
            <a:custGeom>
              <a:avLst/>
              <a:gdLst/>
              <a:ahLst/>
              <a:cxnLst>
                <a:cxn ang="0">
                  <a:pos x="26" y="0"/>
                </a:cxn>
                <a:cxn ang="0">
                  <a:pos x="26" y="0"/>
                </a:cxn>
                <a:cxn ang="0">
                  <a:pos x="17" y="3"/>
                </a:cxn>
                <a:cxn ang="0">
                  <a:pos x="17" y="3"/>
                </a:cxn>
                <a:cxn ang="0">
                  <a:pos x="13" y="5"/>
                </a:cxn>
                <a:cxn ang="0">
                  <a:pos x="9" y="5"/>
                </a:cxn>
                <a:cxn ang="0">
                  <a:pos x="9" y="5"/>
                </a:cxn>
                <a:cxn ang="0">
                  <a:pos x="7" y="6"/>
                </a:cxn>
                <a:cxn ang="0">
                  <a:pos x="7" y="6"/>
                </a:cxn>
                <a:cxn ang="0">
                  <a:pos x="4" y="8"/>
                </a:cxn>
                <a:cxn ang="0">
                  <a:pos x="3" y="12"/>
                </a:cxn>
                <a:cxn ang="0">
                  <a:pos x="3" y="16"/>
                </a:cxn>
                <a:cxn ang="0">
                  <a:pos x="3" y="16"/>
                </a:cxn>
                <a:cxn ang="0">
                  <a:pos x="2" y="18"/>
                </a:cxn>
                <a:cxn ang="0">
                  <a:pos x="0" y="19"/>
                </a:cxn>
                <a:cxn ang="0">
                  <a:pos x="0" y="20"/>
                </a:cxn>
                <a:cxn ang="0">
                  <a:pos x="0" y="20"/>
                </a:cxn>
                <a:cxn ang="0">
                  <a:pos x="2" y="25"/>
                </a:cxn>
                <a:cxn ang="0">
                  <a:pos x="3" y="26"/>
                </a:cxn>
                <a:cxn ang="0">
                  <a:pos x="3" y="26"/>
                </a:cxn>
                <a:cxn ang="0">
                  <a:pos x="9" y="26"/>
                </a:cxn>
                <a:cxn ang="0">
                  <a:pos x="9" y="26"/>
                </a:cxn>
                <a:cxn ang="0">
                  <a:pos x="13" y="26"/>
                </a:cxn>
                <a:cxn ang="0">
                  <a:pos x="16" y="25"/>
                </a:cxn>
                <a:cxn ang="0">
                  <a:pos x="17" y="22"/>
                </a:cxn>
                <a:cxn ang="0">
                  <a:pos x="17" y="22"/>
                </a:cxn>
                <a:cxn ang="0">
                  <a:pos x="17" y="22"/>
                </a:cxn>
                <a:cxn ang="0">
                  <a:pos x="23" y="20"/>
                </a:cxn>
                <a:cxn ang="0">
                  <a:pos x="29" y="20"/>
                </a:cxn>
                <a:cxn ang="0">
                  <a:pos x="30" y="19"/>
                </a:cxn>
                <a:cxn ang="0">
                  <a:pos x="30" y="18"/>
                </a:cxn>
                <a:cxn ang="0">
                  <a:pos x="30" y="18"/>
                </a:cxn>
                <a:cxn ang="0">
                  <a:pos x="30" y="15"/>
                </a:cxn>
                <a:cxn ang="0">
                  <a:pos x="30" y="10"/>
                </a:cxn>
                <a:cxn ang="0">
                  <a:pos x="29" y="8"/>
                </a:cxn>
                <a:cxn ang="0">
                  <a:pos x="26" y="0"/>
                </a:cxn>
              </a:cxnLst>
              <a:rect l="0" t="0" r="r" b="b"/>
              <a:pathLst>
                <a:path w="30" h="26">
                  <a:moveTo>
                    <a:pt x="26" y="0"/>
                  </a:moveTo>
                  <a:lnTo>
                    <a:pt x="26" y="0"/>
                  </a:lnTo>
                  <a:lnTo>
                    <a:pt x="17" y="3"/>
                  </a:lnTo>
                  <a:lnTo>
                    <a:pt x="17" y="3"/>
                  </a:lnTo>
                  <a:lnTo>
                    <a:pt x="13" y="5"/>
                  </a:lnTo>
                  <a:lnTo>
                    <a:pt x="9" y="5"/>
                  </a:lnTo>
                  <a:lnTo>
                    <a:pt x="9" y="5"/>
                  </a:lnTo>
                  <a:lnTo>
                    <a:pt x="7" y="6"/>
                  </a:lnTo>
                  <a:lnTo>
                    <a:pt x="7" y="6"/>
                  </a:lnTo>
                  <a:lnTo>
                    <a:pt x="4" y="8"/>
                  </a:lnTo>
                  <a:lnTo>
                    <a:pt x="3" y="12"/>
                  </a:lnTo>
                  <a:lnTo>
                    <a:pt x="3" y="16"/>
                  </a:lnTo>
                  <a:lnTo>
                    <a:pt x="3" y="16"/>
                  </a:lnTo>
                  <a:lnTo>
                    <a:pt x="2" y="18"/>
                  </a:lnTo>
                  <a:lnTo>
                    <a:pt x="0" y="19"/>
                  </a:lnTo>
                  <a:lnTo>
                    <a:pt x="0" y="20"/>
                  </a:lnTo>
                  <a:lnTo>
                    <a:pt x="0" y="20"/>
                  </a:lnTo>
                  <a:lnTo>
                    <a:pt x="2" y="25"/>
                  </a:lnTo>
                  <a:lnTo>
                    <a:pt x="3" y="26"/>
                  </a:lnTo>
                  <a:lnTo>
                    <a:pt x="3" y="26"/>
                  </a:lnTo>
                  <a:lnTo>
                    <a:pt x="9" y="26"/>
                  </a:lnTo>
                  <a:lnTo>
                    <a:pt x="9" y="26"/>
                  </a:lnTo>
                  <a:lnTo>
                    <a:pt x="13" y="26"/>
                  </a:lnTo>
                  <a:lnTo>
                    <a:pt x="16" y="25"/>
                  </a:lnTo>
                  <a:lnTo>
                    <a:pt x="17" y="22"/>
                  </a:lnTo>
                  <a:lnTo>
                    <a:pt x="17" y="22"/>
                  </a:lnTo>
                  <a:lnTo>
                    <a:pt x="17" y="22"/>
                  </a:lnTo>
                  <a:lnTo>
                    <a:pt x="23" y="20"/>
                  </a:lnTo>
                  <a:lnTo>
                    <a:pt x="29" y="20"/>
                  </a:lnTo>
                  <a:lnTo>
                    <a:pt x="30" y="19"/>
                  </a:lnTo>
                  <a:lnTo>
                    <a:pt x="30" y="18"/>
                  </a:lnTo>
                  <a:lnTo>
                    <a:pt x="30" y="18"/>
                  </a:lnTo>
                  <a:lnTo>
                    <a:pt x="30" y="15"/>
                  </a:lnTo>
                  <a:lnTo>
                    <a:pt x="30" y="10"/>
                  </a:lnTo>
                  <a:lnTo>
                    <a:pt x="29" y="8"/>
                  </a:lnTo>
                  <a:lnTo>
                    <a:pt x="26"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3" name="Freeform 199">
              <a:extLst>
                <a:ext uri="{FF2B5EF4-FFF2-40B4-BE49-F238E27FC236}">
                  <a16:creationId xmlns:a16="http://schemas.microsoft.com/office/drawing/2014/main" id="{067F7479-3DFC-9A48-9706-5A97AAE0591C}"/>
                </a:ext>
              </a:extLst>
            </p:cNvPr>
            <p:cNvSpPr>
              <a:spLocks/>
            </p:cNvSpPr>
            <p:nvPr/>
          </p:nvSpPr>
          <p:spPr bwMode="auto">
            <a:xfrm>
              <a:off x="5280817" y="4021182"/>
              <a:ext cx="244165" cy="328512"/>
            </a:xfrm>
            <a:custGeom>
              <a:avLst/>
              <a:gdLst/>
              <a:ahLst/>
              <a:cxnLst>
                <a:cxn ang="0">
                  <a:pos x="38" y="40"/>
                </a:cxn>
                <a:cxn ang="0">
                  <a:pos x="47" y="48"/>
                </a:cxn>
                <a:cxn ang="0">
                  <a:pos x="48" y="50"/>
                </a:cxn>
                <a:cxn ang="0">
                  <a:pos x="81" y="61"/>
                </a:cxn>
                <a:cxn ang="0">
                  <a:pos x="95" y="66"/>
                </a:cxn>
                <a:cxn ang="0">
                  <a:pos x="104" y="66"/>
                </a:cxn>
                <a:cxn ang="0">
                  <a:pos x="109" y="68"/>
                </a:cxn>
                <a:cxn ang="0">
                  <a:pos x="109" y="70"/>
                </a:cxn>
                <a:cxn ang="0">
                  <a:pos x="67" y="112"/>
                </a:cxn>
                <a:cxn ang="0">
                  <a:pos x="59" y="115"/>
                </a:cxn>
                <a:cxn ang="0">
                  <a:pos x="48" y="115"/>
                </a:cxn>
                <a:cxn ang="0">
                  <a:pos x="41" y="117"/>
                </a:cxn>
                <a:cxn ang="0">
                  <a:pos x="30" y="125"/>
                </a:cxn>
                <a:cxn ang="0">
                  <a:pos x="27" y="127"/>
                </a:cxn>
                <a:cxn ang="0">
                  <a:pos x="7" y="139"/>
                </a:cxn>
                <a:cxn ang="0">
                  <a:pos x="0" y="209"/>
                </a:cxn>
                <a:cxn ang="0">
                  <a:pos x="8" y="222"/>
                </a:cxn>
                <a:cxn ang="0">
                  <a:pos x="44" y="184"/>
                </a:cxn>
                <a:cxn ang="0">
                  <a:pos x="52" y="175"/>
                </a:cxn>
                <a:cxn ang="0">
                  <a:pos x="72" y="162"/>
                </a:cxn>
                <a:cxn ang="0">
                  <a:pos x="79" y="157"/>
                </a:cxn>
                <a:cxn ang="0">
                  <a:pos x="101" y="135"/>
                </a:cxn>
                <a:cxn ang="0">
                  <a:pos x="112" y="124"/>
                </a:cxn>
                <a:cxn ang="0">
                  <a:pos x="128" y="100"/>
                </a:cxn>
                <a:cxn ang="0">
                  <a:pos x="131" y="94"/>
                </a:cxn>
                <a:cxn ang="0">
                  <a:pos x="135" y="81"/>
                </a:cxn>
                <a:cxn ang="0">
                  <a:pos x="145" y="68"/>
                </a:cxn>
                <a:cxn ang="0">
                  <a:pos x="153" y="53"/>
                </a:cxn>
                <a:cxn ang="0">
                  <a:pos x="159" y="37"/>
                </a:cxn>
                <a:cxn ang="0">
                  <a:pos x="160" y="31"/>
                </a:cxn>
                <a:cxn ang="0">
                  <a:pos x="163" y="17"/>
                </a:cxn>
                <a:cxn ang="0">
                  <a:pos x="165" y="9"/>
                </a:cxn>
                <a:cxn ang="0">
                  <a:pos x="163" y="3"/>
                </a:cxn>
                <a:cxn ang="0">
                  <a:pos x="158" y="0"/>
                </a:cxn>
                <a:cxn ang="0">
                  <a:pos x="155" y="3"/>
                </a:cxn>
                <a:cxn ang="0">
                  <a:pos x="149" y="7"/>
                </a:cxn>
                <a:cxn ang="0">
                  <a:pos x="129" y="13"/>
                </a:cxn>
                <a:cxn ang="0">
                  <a:pos x="118" y="13"/>
                </a:cxn>
                <a:cxn ang="0">
                  <a:pos x="96" y="16"/>
                </a:cxn>
                <a:cxn ang="0">
                  <a:pos x="92" y="19"/>
                </a:cxn>
                <a:cxn ang="0">
                  <a:pos x="88" y="21"/>
                </a:cxn>
                <a:cxn ang="0">
                  <a:pos x="77" y="21"/>
                </a:cxn>
                <a:cxn ang="0">
                  <a:pos x="72" y="23"/>
                </a:cxn>
                <a:cxn ang="0">
                  <a:pos x="67" y="26"/>
                </a:cxn>
                <a:cxn ang="0">
                  <a:pos x="55" y="27"/>
                </a:cxn>
                <a:cxn ang="0">
                  <a:pos x="48" y="24"/>
                </a:cxn>
                <a:cxn ang="0">
                  <a:pos x="45" y="21"/>
                </a:cxn>
                <a:cxn ang="0">
                  <a:pos x="37" y="11"/>
                </a:cxn>
                <a:cxn ang="0">
                  <a:pos x="31" y="20"/>
                </a:cxn>
                <a:cxn ang="0">
                  <a:pos x="28" y="26"/>
                </a:cxn>
                <a:cxn ang="0">
                  <a:pos x="32" y="34"/>
                </a:cxn>
                <a:cxn ang="0">
                  <a:pos x="38" y="40"/>
                </a:cxn>
              </a:cxnLst>
              <a:rect l="0" t="0" r="r" b="b"/>
              <a:pathLst>
                <a:path w="165" h="222">
                  <a:moveTo>
                    <a:pt x="38" y="40"/>
                  </a:moveTo>
                  <a:lnTo>
                    <a:pt x="38" y="40"/>
                  </a:lnTo>
                  <a:lnTo>
                    <a:pt x="44" y="46"/>
                  </a:lnTo>
                  <a:lnTo>
                    <a:pt x="47" y="48"/>
                  </a:lnTo>
                  <a:lnTo>
                    <a:pt x="48" y="50"/>
                  </a:lnTo>
                  <a:lnTo>
                    <a:pt x="48" y="50"/>
                  </a:lnTo>
                  <a:lnTo>
                    <a:pt x="62" y="54"/>
                  </a:lnTo>
                  <a:lnTo>
                    <a:pt x="81" y="61"/>
                  </a:lnTo>
                  <a:lnTo>
                    <a:pt x="81" y="61"/>
                  </a:lnTo>
                  <a:lnTo>
                    <a:pt x="95" y="66"/>
                  </a:lnTo>
                  <a:lnTo>
                    <a:pt x="104" y="66"/>
                  </a:lnTo>
                  <a:lnTo>
                    <a:pt x="104" y="66"/>
                  </a:lnTo>
                  <a:lnTo>
                    <a:pt x="108" y="67"/>
                  </a:lnTo>
                  <a:lnTo>
                    <a:pt x="109" y="68"/>
                  </a:lnTo>
                  <a:lnTo>
                    <a:pt x="109" y="70"/>
                  </a:lnTo>
                  <a:lnTo>
                    <a:pt x="109" y="70"/>
                  </a:lnTo>
                  <a:lnTo>
                    <a:pt x="67" y="112"/>
                  </a:lnTo>
                  <a:lnTo>
                    <a:pt x="67" y="112"/>
                  </a:lnTo>
                  <a:lnTo>
                    <a:pt x="62" y="115"/>
                  </a:lnTo>
                  <a:lnTo>
                    <a:pt x="59" y="115"/>
                  </a:lnTo>
                  <a:lnTo>
                    <a:pt x="48" y="115"/>
                  </a:lnTo>
                  <a:lnTo>
                    <a:pt x="48" y="115"/>
                  </a:lnTo>
                  <a:lnTo>
                    <a:pt x="44" y="117"/>
                  </a:lnTo>
                  <a:lnTo>
                    <a:pt x="41" y="117"/>
                  </a:lnTo>
                  <a:lnTo>
                    <a:pt x="35" y="121"/>
                  </a:lnTo>
                  <a:lnTo>
                    <a:pt x="30" y="125"/>
                  </a:lnTo>
                  <a:lnTo>
                    <a:pt x="27" y="127"/>
                  </a:lnTo>
                  <a:lnTo>
                    <a:pt x="27" y="127"/>
                  </a:lnTo>
                  <a:lnTo>
                    <a:pt x="14" y="128"/>
                  </a:lnTo>
                  <a:lnTo>
                    <a:pt x="7" y="139"/>
                  </a:lnTo>
                  <a:lnTo>
                    <a:pt x="0" y="151"/>
                  </a:lnTo>
                  <a:lnTo>
                    <a:pt x="0" y="209"/>
                  </a:lnTo>
                  <a:lnTo>
                    <a:pt x="8" y="222"/>
                  </a:lnTo>
                  <a:lnTo>
                    <a:pt x="8" y="222"/>
                  </a:lnTo>
                  <a:lnTo>
                    <a:pt x="24" y="205"/>
                  </a:lnTo>
                  <a:lnTo>
                    <a:pt x="44" y="184"/>
                  </a:lnTo>
                  <a:lnTo>
                    <a:pt x="44" y="184"/>
                  </a:lnTo>
                  <a:lnTo>
                    <a:pt x="52" y="175"/>
                  </a:lnTo>
                  <a:lnTo>
                    <a:pt x="59" y="169"/>
                  </a:lnTo>
                  <a:lnTo>
                    <a:pt x="72" y="162"/>
                  </a:lnTo>
                  <a:lnTo>
                    <a:pt x="72" y="162"/>
                  </a:lnTo>
                  <a:lnTo>
                    <a:pt x="79" y="157"/>
                  </a:lnTo>
                  <a:lnTo>
                    <a:pt x="89" y="148"/>
                  </a:lnTo>
                  <a:lnTo>
                    <a:pt x="101" y="135"/>
                  </a:lnTo>
                  <a:lnTo>
                    <a:pt x="112" y="124"/>
                  </a:lnTo>
                  <a:lnTo>
                    <a:pt x="112" y="124"/>
                  </a:lnTo>
                  <a:lnTo>
                    <a:pt x="123" y="107"/>
                  </a:lnTo>
                  <a:lnTo>
                    <a:pt x="128" y="100"/>
                  </a:lnTo>
                  <a:lnTo>
                    <a:pt x="131" y="94"/>
                  </a:lnTo>
                  <a:lnTo>
                    <a:pt x="131" y="94"/>
                  </a:lnTo>
                  <a:lnTo>
                    <a:pt x="132" y="87"/>
                  </a:lnTo>
                  <a:lnTo>
                    <a:pt x="135" y="81"/>
                  </a:lnTo>
                  <a:lnTo>
                    <a:pt x="145" y="68"/>
                  </a:lnTo>
                  <a:lnTo>
                    <a:pt x="145" y="68"/>
                  </a:lnTo>
                  <a:lnTo>
                    <a:pt x="149" y="61"/>
                  </a:lnTo>
                  <a:lnTo>
                    <a:pt x="153" y="53"/>
                  </a:lnTo>
                  <a:lnTo>
                    <a:pt x="158" y="43"/>
                  </a:lnTo>
                  <a:lnTo>
                    <a:pt x="159" y="37"/>
                  </a:lnTo>
                  <a:lnTo>
                    <a:pt x="159" y="37"/>
                  </a:lnTo>
                  <a:lnTo>
                    <a:pt x="160" y="31"/>
                  </a:lnTo>
                  <a:lnTo>
                    <a:pt x="162" y="24"/>
                  </a:lnTo>
                  <a:lnTo>
                    <a:pt x="163" y="17"/>
                  </a:lnTo>
                  <a:lnTo>
                    <a:pt x="165" y="9"/>
                  </a:lnTo>
                  <a:lnTo>
                    <a:pt x="165" y="9"/>
                  </a:lnTo>
                  <a:lnTo>
                    <a:pt x="165" y="6"/>
                  </a:lnTo>
                  <a:lnTo>
                    <a:pt x="163" y="3"/>
                  </a:lnTo>
                  <a:lnTo>
                    <a:pt x="160" y="0"/>
                  </a:lnTo>
                  <a:lnTo>
                    <a:pt x="158" y="0"/>
                  </a:lnTo>
                  <a:lnTo>
                    <a:pt x="155" y="3"/>
                  </a:lnTo>
                  <a:lnTo>
                    <a:pt x="155" y="3"/>
                  </a:lnTo>
                  <a:lnTo>
                    <a:pt x="152" y="6"/>
                  </a:lnTo>
                  <a:lnTo>
                    <a:pt x="149" y="7"/>
                  </a:lnTo>
                  <a:lnTo>
                    <a:pt x="141" y="10"/>
                  </a:lnTo>
                  <a:lnTo>
                    <a:pt x="129" y="13"/>
                  </a:lnTo>
                  <a:lnTo>
                    <a:pt x="118" y="13"/>
                  </a:lnTo>
                  <a:lnTo>
                    <a:pt x="118" y="13"/>
                  </a:lnTo>
                  <a:lnTo>
                    <a:pt x="102" y="14"/>
                  </a:lnTo>
                  <a:lnTo>
                    <a:pt x="96" y="16"/>
                  </a:lnTo>
                  <a:lnTo>
                    <a:pt x="92" y="19"/>
                  </a:lnTo>
                  <a:lnTo>
                    <a:pt x="92" y="19"/>
                  </a:lnTo>
                  <a:lnTo>
                    <a:pt x="91" y="20"/>
                  </a:lnTo>
                  <a:lnTo>
                    <a:pt x="88" y="21"/>
                  </a:lnTo>
                  <a:lnTo>
                    <a:pt x="82" y="21"/>
                  </a:lnTo>
                  <a:lnTo>
                    <a:pt x="77" y="21"/>
                  </a:lnTo>
                  <a:lnTo>
                    <a:pt x="74" y="21"/>
                  </a:lnTo>
                  <a:lnTo>
                    <a:pt x="72" y="23"/>
                  </a:lnTo>
                  <a:lnTo>
                    <a:pt x="72" y="23"/>
                  </a:lnTo>
                  <a:lnTo>
                    <a:pt x="67" y="26"/>
                  </a:lnTo>
                  <a:lnTo>
                    <a:pt x="59" y="29"/>
                  </a:lnTo>
                  <a:lnTo>
                    <a:pt x="55" y="27"/>
                  </a:lnTo>
                  <a:lnTo>
                    <a:pt x="51" y="27"/>
                  </a:lnTo>
                  <a:lnTo>
                    <a:pt x="48" y="24"/>
                  </a:lnTo>
                  <a:lnTo>
                    <a:pt x="45" y="21"/>
                  </a:lnTo>
                  <a:lnTo>
                    <a:pt x="45" y="21"/>
                  </a:lnTo>
                  <a:lnTo>
                    <a:pt x="41" y="16"/>
                  </a:lnTo>
                  <a:lnTo>
                    <a:pt x="37" y="11"/>
                  </a:lnTo>
                  <a:lnTo>
                    <a:pt x="37" y="11"/>
                  </a:lnTo>
                  <a:lnTo>
                    <a:pt x="31" y="20"/>
                  </a:lnTo>
                  <a:lnTo>
                    <a:pt x="28" y="23"/>
                  </a:lnTo>
                  <a:lnTo>
                    <a:pt x="28" y="26"/>
                  </a:lnTo>
                  <a:lnTo>
                    <a:pt x="28" y="26"/>
                  </a:lnTo>
                  <a:lnTo>
                    <a:pt x="32" y="34"/>
                  </a:lnTo>
                  <a:lnTo>
                    <a:pt x="35" y="37"/>
                  </a:lnTo>
                  <a:lnTo>
                    <a:pt x="38" y="40"/>
                  </a:lnTo>
                  <a:lnTo>
                    <a:pt x="38"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4" name="Freeform 200">
              <a:extLst>
                <a:ext uri="{FF2B5EF4-FFF2-40B4-BE49-F238E27FC236}">
                  <a16:creationId xmlns:a16="http://schemas.microsoft.com/office/drawing/2014/main" id="{CC4A2664-75EA-D149-B4B1-94525ACB1B50}"/>
                </a:ext>
              </a:extLst>
            </p:cNvPr>
            <p:cNvSpPr>
              <a:spLocks/>
            </p:cNvSpPr>
            <p:nvPr/>
          </p:nvSpPr>
          <p:spPr bwMode="auto">
            <a:xfrm>
              <a:off x="4011162" y="3414471"/>
              <a:ext cx="285599" cy="227887"/>
            </a:xfrm>
            <a:custGeom>
              <a:avLst/>
              <a:gdLst/>
              <a:ahLst/>
              <a:cxnLst>
                <a:cxn ang="0">
                  <a:pos x="71" y="131"/>
                </a:cxn>
                <a:cxn ang="0">
                  <a:pos x="82" y="123"/>
                </a:cxn>
                <a:cxn ang="0">
                  <a:pos x="99" y="114"/>
                </a:cxn>
                <a:cxn ang="0">
                  <a:pos x="107" y="111"/>
                </a:cxn>
                <a:cxn ang="0">
                  <a:pos x="108" y="110"/>
                </a:cxn>
                <a:cxn ang="0">
                  <a:pos x="121" y="108"/>
                </a:cxn>
                <a:cxn ang="0">
                  <a:pos x="129" y="103"/>
                </a:cxn>
                <a:cxn ang="0">
                  <a:pos x="131" y="97"/>
                </a:cxn>
                <a:cxn ang="0">
                  <a:pos x="142" y="94"/>
                </a:cxn>
                <a:cxn ang="0">
                  <a:pos x="148" y="91"/>
                </a:cxn>
                <a:cxn ang="0">
                  <a:pos x="151" y="90"/>
                </a:cxn>
                <a:cxn ang="0">
                  <a:pos x="151" y="80"/>
                </a:cxn>
                <a:cxn ang="0">
                  <a:pos x="156" y="76"/>
                </a:cxn>
                <a:cxn ang="0">
                  <a:pos x="165" y="73"/>
                </a:cxn>
                <a:cxn ang="0">
                  <a:pos x="166" y="70"/>
                </a:cxn>
                <a:cxn ang="0">
                  <a:pos x="189" y="69"/>
                </a:cxn>
                <a:cxn ang="0">
                  <a:pos x="192" y="67"/>
                </a:cxn>
                <a:cxn ang="0">
                  <a:pos x="191" y="57"/>
                </a:cxn>
                <a:cxn ang="0">
                  <a:pos x="186" y="52"/>
                </a:cxn>
                <a:cxn ang="0">
                  <a:pos x="186" y="37"/>
                </a:cxn>
                <a:cxn ang="0">
                  <a:pos x="183" y="25"/>
                </a:cxn>
                <a:cxn ang="0">
                  <a:pos x="178" y="16"/>
                </a:cxn>
                <a:cxn ang="0">
                  <a:pos x="169" y="13"/>
                </a:cxn>
                <a:cxn ang="0">
                  <a:pos x="159" y="12"/>
                </a:cxn>
                <a:cxn ang="0">
                  <a:pos x="135" y="10"/>
                </a:cxn>
                <a:cxn ang="0">
                  <a:pos x="128" y="5"/>
                </a:cxn>
                <a:cxn ang="0">
                  <a:pos x="118" y="2"/>
                </a:cxn>
                <a:cxn ang="0">
                  <a:pos x="109" y="16"/>
                </a:cxn>
                <a:cxn ang="0">
                  <a:pos x="99" y="35"/>
                </a:cxn>
                <a:cxn ang="0">
                  <a:pos x="81" y="44"/>
                </a:cxn>
                <a:cxn ang="0">
                  <a:pos x="74" y="46"/>
                </a:cxn>
                <a:cxn ang="0">
                  <a:pos x="67" y="56"/>
                </a:cxn>
                <a:cxn ang="0">
                  <a:pos x="61" y="63"/>
                </a:cxn>
                <a:cxn ang="0">
                  <a:pos x="54" y="74"/>
                </a:cxn>
                <a:cxn ang="0">
                  <a:pos x="51" y="80"/>
                </a:cxn>
                <a:cxn ang="0">
                  <a:pos x="54" y="100"/>
                </a:cxn>
                <a:cxn ang="0">
                  <a:pos x="54" y="106"/>
                </a:cxn>
                <a:cxn ang="0">
                  <a:pos x="35" y="126"/>
                </a:cxn>
                <a:cxn ang="0">
                  <a:pos x="25" y="134"/>
                </a:cxn>
                <a:cxn ang="0">
                  <a:pos x="13" y="141"/>
                </a:cxn>
                <a:cxn ang="0">
                  <a:pos x="0" y="147"/>
                </a:cxn>
                <a:cxn ang="0">
                  <a:pos x="67" y="148"/>
                </a:cxn>
                <a:cxn ang="0">
                  <a:pos x="71" y="154"/>
                </a:cxn>
              </a:cxnLst>
              <a:rect l="0" t="0" r="r" b="b"/>
              <a:pathLst>
                <a:path w="193" h="154">
                  <a:moveTo>
                    <a:pt x="71" y="154"/>
                  </a:moveTo>
                  <a:lnTo>
                    <a:pt x="71" y="154"/>
                  </a:lnTo>
                  <a:lnTo>
                    <a:pt x="71" y="131"/>
                  </a:lnTo>
                  <a:lnTo>
                    <a:pt x="71" y="131"/>
                  </a:lnTo>
                  <a:lnTo>
                    <a:pt x="75" y="128"/>
                  </a:lnTo>
                  <a:lnTo>
                    <a:pt x="82" y="123"/>
                  </a:lnTo>
                  <a:lnTo>
                    <a:pt x="97" y="114"/>
                  </a:lnTo>
                  <a:lnTo>
                    <a:pt x="97" y="114"/>
                  </a:lnTo>
                  <a:lnTo>
                    <a:pt x="99" y="114"/>
                  </a:lnTo>
                  <a:lnTo>
                    <a:pt x="104" y="114"/>
                  </a:lnTo>
                  <a:lnTo>
                    <a:pt x="107" y="114"/>
                  </a:lnTo>
                  <a:lnTo>
                    <a:pt x="107" y="111"/>
                  </a:lnTo>
                  <a:lnTo>
                    <a:pt x="107" y="111"/>
                  </a:lnTo>
                  <a:lnTo>
                    <a:pt x="108" y="110"/>
                  </a:lnTo>
                  <a:lnTo>
                    <a:pt x="108" y="110"/>
                  </a:lnTo>
                  <a:lnTo>
                    <a:pt x="112" y="108"/>
                  </a:lnTo>
                  <a:lnTo>
                    <a:pt x="121" y="108"/>
                  </a:lnTo>
                  <a:lnTo>
                    <a:pt x="121" y="108"/>
                  </a:lnTo>
                  <a:lnTo>
                    <a:pt x="125" y="107"/>
                  </a:lnTo>
                  <a:lnTo>
                    <a:pt x="128" y="106"/>
                  </a:lnTo>
                  <a:lnTo>
                    <a:pt x="129" y="103"/>
                  </a:lnTo>
                  <a:lnTo>
                    <a:pt x="129" y="99"/>
                  </a:lnTo>
                  <a:lnTo>
                    <a:pt x="129" y="99"/>
                  </a:lnTo>
                  <a:lnTo>
                    <a:pt x="131" y="97"/>
                  </a:lnTo>
                  <a:lnTo>
                    <a:pt x="134" y="96"/>
                  </a:lnTo>
                  <a:lnTo>
                    <a:pt x="142" y="94"/>
                  </a:lnTo>
                  <a:lnTo>
                    <a:pt x="142" y="94"/>
                  </a:lnTo>
                  <a:lnTo>
                    <a:pt x="145" y="94"/>
                  </a:lnTo>
                  <a:lnTo>
                    <a:pt x="146" y="93"/>
                  </a:lnTo>
                  <a:lnTo>
                    <a:pt x="148" y="91"/>
                  </a:lnTo>
                  <a:lnTo>
                    <a:pt x="149" y="90"/>
                  </a:lnTo>
                  <a:lnTo>
                    <a:pt x="149" y="90"/>
                  </a:lnTo>
                  <a:lnTo>
                    <a:pt x="151" y="90"/>
                  </a:lnTo>
                  <a:lnTo>
                    <a:pt x="151" y="87"/>
                  </a:lnTo>
                  <a:lnTo>
                    <a:pt x="151" y="80"/>
                  </a:lnTo>
                  <a:lnTo>
                    <a:pt x="151" y="80"/>
                  </a:lnTo>
                  <a:lnTo>
                    <a:pt x="152" y="76"/>
                  </a:lnTo>
                  <a:lnTo>
                    <a:pt x="156" y="76"/>
                  </a:lnTo>
                  <a:lnTo>
                    <a:pt x="156" y="76"/>
                  </a:lnTo>
                  <a:lnTo>
                    <a:pt x="159" y="76"/>
                  </a:lnTo>
                  <a:lnTo>
                    <a:pt x="163" y="74"/>
                  </a:lnTo>
                  <a:lnTo>
                    <a:pt x="165" y="73"/>
                  </a:lnTo>
                  <a:lnTo>
                    <a:pt x="166" y="70"/>
                  </a:lnTo>
                  <a:lnTo>
                    <a:pt x="166" y="70"/>
                  </a:lnTo>
                  <a:lnTo>
                    <a:pt x="166" y="70"/>
                  </a:lnTo>
                  <a:lnTo>
                    <a:pt x="169" y="69"/>
                  </a:lnTo>
                  <a:lnTo>
                    <a:pt x="176" y="69"/>
                  </a:lnTo>
                  <a:lnTo>
                    <a:pt x="189" y="69"/>
                  </a:lnTo>
                  <a:lnTo>
                    <a:pt x="189" y="69"/>
                  </a:lnTo>
                  <a:lnTo>
                    <a:pt x="192" y="69"/>
                  </a:lnTo>
                  <a:lnTo>
                    <a:pt x="192" y="67"/>
                  </a:lnTo>
                  <a:lnTo>
                    <a:pt x="193" y="63"/>
                  </a:lnTo>
                  <a:lnTo>
                    <a:pt x="193" y="63"/>
                  </a:lnTo>
                  <a:lnTo>
                    <a:pt x="191" y="57"/>
                  </a:lnTo>
                  <a:lnTo>
                    <a:pt x="189" y="53"/>
                  </a:lnTo>
                  <a:lnTo>
                    <a:pt x="186" y="52"/>
                  </a:lnTo>
                  <a:lnTo>
                    <a:pt x="186" y="52"/>
                  </a:lnTo>
                  <a:lnTo>
                    <a:pt x="185" y="50"/>
                  </a:lnTo>
                  <a:lnTo>
                    <a:pt x="185" y="47"/>
                  </a:lnTo>
                  <a:lnTo>
                    <a:pt x="186" y="37"/>
                  </a:lnTo>
                  <a:lnTo>
                    <a:pt x="186" y="37"/>
                  </a:lnTo>
                  <a:lnTo>
                    <a:pt x="185" y="29"/>
                  </a:lnTo>
                  <a:lnTo>
                    <a:pt x="183" y="25"/>
                  </a:lnTo>
                  <a:lnTo>
                    <a:pt x="181" y="20"/>
                  </a:lnTo>
                  <a:lnTo>
                    <a:pt x="181" y="20"/>
                  </a:lnTo>
                  <a:lnTo>
                    <a:pt x="178" y="16"/>
                  </a:lnTo>
                  <a:lnTo>
                    <a:pt x="178" y="16"/>
                  </a:lnTo>
                  <a:lnTo>
                    <a:pt x="173" y="15"/>
                  </a:lnTo>
                  <a:lnTo>
                    <a:pt x="169" y="13"/>
                  </a:lnTo>
                  <a:lnTo>
                    <a:pt x="165" y="12"/>
                  </a:lnTo>
                  <a:lnTo>
                    <a:pt x="159" y="12"/>
                  </a:lnTo>
                  <a:lnTo>
                    <a:pt x="159" y="12"/>
                  </a:lnTo>
                  <a:lnTo>
                    <a:pt x="145" y="13"/>
                  </a:lnTo>
                  <a:lnTo>
                    <a:pt x="138" y="12"/>
                  </a:lnTo>
                  <a:lnTo>
                    <a:pt x="135" y="10"/>
                  </a:lnTo>
                  <a:lnTo>
                    <a:pt x="132" y="9"/>
                  </a:lnTo>
                  <a:lnTo>
                    <a:pt x="132" y="9"/>
                  </a:lnTo>
                  <a:lnTo>
                    <a:pt x="128" y="5"/>
                  </a:lnTo>
                  <a:lnTo>
                    <a:pt x="124" y="2"/>
                  </a:lnTo>
                  <a:lnTo>
                    <a:pt x="121" y="0"/>
                  </a:lnTo>
                  <a:lnTo>
                    <a:pt x="118" y="2"/>
                  </a:lnTo>
                  <a:lnTo>
                    <a:pt x="118" y="2"/>
                  </a:lnTo>
                  <a:lnTo>
                    <a:pt x="114" y="6"/>
                  </a:lnTo>
                  <a:lnTo>
                    <a:pt x="109" y="16"/>
                  </a:lnTo>
                  <a:lnTo>
                    <a:pt x="104" y="26"/>
                  </a:lnTo>
                  <a:lnTo>
                    <a:pt x="99" y="35"/>
                  </a:lnTo>
                  <a:lnTo>
                    <a:pt x="99" y="35"/>
                  </a:lnTo>
                  <a:lnTo>
                    <a:pt x="95" y="39"/>
                  </a:lnTo>
                  <a:lnTo>
                    <a:pt x="88" y="43"/>
                  </a:lnTo>
                  <a:lnTo>
                    <a:pt x="81" y="44"/>
                  </a:lnTo>
                  <a:lnTo>
                    <a:pt x="75" y="46"/>
                  </a:lnTo>
                  <a:lnTo>
                    <a:pt x="75" y="46"/>
                  </a:lnTo>
                  <a:lnTo>
                    <a:pt x="74" y="46"/>
                  </a:lnTo>
                  <a:lnTo>
                    <a:pt x="71" y="47"/>
                  </a:lnTo>
                  <a:lnTo>
                    <a:pt x="70" y="52"/>
                  </a:lnTo>
                  <a:lnTo>
                    <a:pt x="67" y="56"/>
                  </a:lnTo>
                  <a:lnTo>
                    <a:pt x="64" y="60"/>
                  </a:lnTo>
                  <a:lnTo>
                    <a:pt x="64" y="60"/>
                  </a:lnTo>
                  <a:lnTo>
                    <a:pt x="61" y="63"/>
                  </a:lnTo>
                  <a:lnTo>
                    <a:pt x="60" y="67"/>
                  </a:lnTo>
                  <a:lnTo>
                    <a:pt x="58" y="72"/>
                  </a:lnTo>
                  <a:lnTo>
                    <a:pt x="54" y="74"/>
                  </a:lnTo>
                  <a:lnTo>
                    <a:pt x="54" y="74"/>
                  </a:lnTo>
                  <a:lnTo>
                    <a:pt x="53" y="77"/>
                  </a:lnTo>
                  <a:lnTo>
                    <a:pt x="51" y="80"/>
                  </a:lnTo>
                  <a:lnTo>
                    <a:pt x="51" y="87"/>
                  </a:lnTo>
                  <a:lnTo>
                    <a:pt x="53" y="94"/>
                  </a:lnTo>
                  <a:lnTo>
                    <a:pt x="54" y="100"/>
                  </a:lnTo>
                  <a:lnTo>
                    <a:pt x="54" y="100"/>
                  </a:lnTo>
                  <a:lnTo>
                    <a:pt x="55" y="101"/>
                  </a:lnTo>
                  <a:lnTo>
                    <a:pt x="54" y="106"/>
                  </a:lnTo>
                  <a:lnTo>
                    <a:pt x="50" y="113"/>
                  </a:lnTo>
                  <a:lnTo>
                    <a:pt x="43" y="120"/>
                  </a:lnTo>
                  <a:lnTo>
                    <a:pt x="35" y="126"/>
                  </a:lnTo>
                  <a:lnTo>
                    <a:pt x="35" y="126"/>
                  </a:lnTo>
                  <a:lnTo>
                    <a:pt x="30" y="130"/>
                  </a:lnTo>
                  <a:lnTo>
                    <a:pt x="25" y="134"/>
                  </a:lnTo>
                  <a:lnTo>
                    <a:pt x="20" y="138"/>
                  </a:lnTo>
                  <a:lnTo>
                    <a:pt x="13" y="141"/>
                  </a:lnTo>
                  <a:lnTo>
                    <a:pt x="13" y="141"/>
                  </a:lnTo>
                  <a:lnTo>
                    <a:pt x="6" y="144"/>
                  </a:lnTo>
                  <a:lnTo>
                    <a:pt x="0" y="147"/>
                  </a:lnTo>
                  <a:lnTo>
                    <a:pt x="0" y="147"/>
                  </a:lnTo>
                  <a:lnTo>
                    <a:pt x="60" y="147"/>
                  </a:lnTo>
                  <a:lnTo>
                    <a:pt x="60" y="147"/>
                  </a:lnTo>
                  <a:lnTo>
                    <a:pt x="67" y="148"/>
                  </a:lnTo>
                  <a:lnTo>
                    <a:pt x="70" y="150"/>
                  </a:lnTo>
                  <a:lnTo>
                    <a:pt x="71" y="154"/>
                  </a:lnTo>
                  <a:lnTo>
                    <a:pt x="71" y="1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5" name="Freeform 201">
              <a:extLst>
                <a:ext uri="{FF2B5EF4-FFF2-40B4-BE49-F238E27FC236}">
                  <a16:creationId xmlns:a16="http://schemas.microsoft.com/office/drawing/2014/main" id="{F003264F-AE28-C24C-8BED-61B7E30103A6}"/>
                </a:ext>
              </a:extLst>
            </p:cNvPr>
            <p:cNvSpPr>
              <a:spLocks/>
            </p:cNvSpPr>
            <p:nvPr/>
          </p:nvSpPr>
          <p:spPr bwMode="auto">
            <a:xfrm>
              <a:off x="4500971" y="3374516"/>
              <a:ext cx="99146" cy="192372"/>
            </a:xfrm>
            <a:custGeom>
              <a:avLst/>
              <a:gdLst/>
              <a:ahLst/>
              <a:cxnLst>
                <a:cxn ang="0">
                  <a:pos x="17" y="32"/>
                </a:cxn>
                <a:cxn ang="0">
                  <a:pos x="17" y="42"/>
                </a:cxn>
                <a:cxn ang="0">
                  <a:pos x="13" y="49"/>
                </a:cxn>
                <a:cxn ang="0">
                  <a:pos x="10" y="52"/>
                </a:cxn>
                <a:cxn ang="0">
                  <a:pos x="5" y="59"/>
                </a:cxn>
                <a:cxn ang="0">
                  <a:pos x="2" y="60"/>
                </a:cxn>
                <a:cxn ang="0">
                  <a:pos x="0" y="62"/>
                </a:cxn>
                <a:cxn ang="0">
                  <a:pos x="5" y="73"/>
                </a:cxn>
                <a:cxn ang="0">
                  <a:pos x="9" y="77"/>
                </a:cxn>
                <a:cxn ang="0">
                  <a:pos x="15" y="81"/>
                </a:cxn>
                <a:cxn ang="0">
                  <a:pos x="16" y="87"/>
                </a:cxn>
                <a:cxn ang="0">
                  <a:pos x="20" y="91"/>
                </a:cxn>
                <a:cxn ang="0">
                  <a:pos x="27" y="97"/>
                </a:cxn>
                <a:cxn ang="0">
                  <a:pos x="30" y="101"/>
                </a:cxn>
                <a:cxn ang="0">
                  <a:pos x="34" y="118"/>
                </a:cxn>
                <a:cxn ang="0">
                  <a:pos x="36" y="126"/>
                </a:cxn>
                <a:cxn ang="0">
                  <a:pos x="37" y="130"/>
                </a:cxn>
                <a:cxn ang="0">
                  <a:pos x="43" y="123"/>
                </a:cxn>
                <a:cxn ang="0">
                  <a:pos x="46" y="116"/>
                </a:cxn>
                <a:cxn ang="0">
                  <a:pos x="46" y="110"/>
                </a:cxn>
                <a:cxn ang="0">
                  <a:pos x="47" y="103"/>
                </a:cxn>
                <a:cxn ang="0">
                  <a:pos x="54" y="97"/>
                </a:cxn>
                <a:cxn ang="0">
                  <a:pos x="60" y="91"/>
                </a:cxn>
                <a:cxn ang="0">
                  <a:pos x="66" y="90"/>
                </a:cxn>
                <a:cxn ang="0">
                  <a:pos x="67" y="87"/>
                </a:cxn>
                <a:cxn ang="0">
                  <a:pos x="67" y="79"/>
                </a:cxn>
                <a:cxn ang="0">
                  <a:pos x="62" y="71"/>
                </a:cxn>
                <a:cxn ang="0">
                  <a:pos x="60" y="69"/>
                </a:cxn>
                <a:cxn ang="0">
                  <a:pos x="56" y="66"/>
                </a:cxn>
                <a:cxn ang="0">
                  <a:pos x="54" y="66"/>
                </a:cxn>
                <a:cxn ang="0">
                  <a:pos x="47" y="67"/>
                </a:cxn>
                <a:cxn ang="0">
                  <a:pos x="42" y="60"/>
                </a:cxn>
                <a:cxn ang="0">
                  <a:pos x="43" y="57"/>
                </a:cxn>
                <a:cxn ang="0">
                  <a:pos x="50" y="53"/>
                </a:cxn>
                <a:cxn ang="0">
                  <a:pos x="54" y="50"/>
                </a:cxn>
                <a:cxn ang="0">
                  <a:pos x="60" y="39"/>
                </a:cxn>
                <a:cxn ang="0">
                  <a:pos x="54" y="27"/>
                </a:cxn>
                <a:cxn ang="0">
                  <a:pos x="52" y="25"/>
                </a:cxn>
                <a:cxn ang="0">
                  <a:pos x="54" y="17"/>
                </a:cxn>
                <a:cxn ang="0">
                  <a:pos x="57" y="15"/>
                </a:cxn>
                <a:cxn ang="0">
                  <a:pos x="60" y="9"/>
                </a:cxn>
                <a:cxn ang="0">
                  <a:pos x="56" y="9"/>
                </a:cxn>
                <a:cxn ang="0">
                  <a:pos x="53" y="10"/>
                </a:cxn>
                <a:cxn ang="0">
                  <a:pos x="49" y="9"/>
                </a:cxn>
                <a:cxn ang="0">
                  <a:pos x="49" y="6"/>
                </a:cxn>
                <a:cxn ang="0">
                  <a:pos x="44" y="2"/>
                </a:cxn>
                <a:cxn ang="0">
                  <a:pos x="32" y="2"/>
                </a:cxn>
                <a:cxn ang="0">
                  <a:pos x="26" y="5"/>
                </a:cxn>
                <a:cxn ang="0">
                  <a:pos x="17" y="7"/>
                </a:cxn>
                <a:cxn ang="0">
                  <a:pos x="16" y="22"/>
                </a:cxn>
                <a:cxn ang="0">
                  <a:pos x="17" y="32"/>
                </a:cxn>
              </a:cxnLst>
              <a:rect l="0" t="0" r="r" b="b"/>
              <a:pathLst>
                <a:path w="67" h="130">
                  <a:moveTo>
                    <a:pt x="17" y="32"/>
                  </a:moveTo>
                  <a:lnTo>
                    <a:pt x="17" y="32"/>
                  </a:lnTo>
                  <a:lnTo>
                    <a:pt x="19" y="37"/>
                  </a:lnTo>
                  <a:lnTo>
                    <a:pt x="17" y="42"/>
                  </a:lnTo>
                  <a:lnTo>
                    <a:pt x="16" y="46"/>
                  </a:lnTo>
                  <a:lnTo>
                    <a:pt x="13" y="49"/>
                  </a:lnTo>
                  <a:lnTo>
                    <a:pt x="13" y="49"/>
                  </a:lnTo>
                  <a:lnTo>
                    <a:pt x="10" y="52"/>
                  </a:lnTo>
                  <a:lnTo>
                    <a:pt x="7" y="54"/>
                  </a:lnTo>
                  <a:lnTo>
                    <a:pt x="5" y="59"/>
                  </a:lnTo>
                  <a:lnTo>
                    <a:pt x="2" y="60"/>
                  </a:lnTo>
                  <a:lnTo>
                    <a:pt x="2" y="60"/>
                  </a:lnTo>
                  <a:lnTo>
                    <a:pt x="0" y="60"/>
                  </a:lnTo>
                  <a:lnTo>
                    <a:pt x="0" y="62"/>
                  </a:lnTo>
                  <a:lnTo>
                    <a:pt x="2" y="67"/>
                  </a:lnTo>
                  <a:lnTo>
                    <a:pt x="5" y="73"/>
                  </a:lnTo>
                  <a:lnTo>
                    <a:pt x="9" y="77"/>
                  </a:lnTo>
                  <a:lnTo>
                    <a:pt x="9" y="77"/>
                  </a:lnTo>
                  <a:lnTo>
                    <a:pt x="13" y="79"/>
                  </a:lnTo>
                  <a:lnTo>
                    <a:pt x="15" y="81"/>
                  </a:lnTo>
                  <a:lnTo>
                    <a:pt x="16" y="87"/>
                  </a:lnTo>
                  <a:lnTo>
                    <a:pt x="16" y="87"/>
                  </a:lnTo>
                  <a:lnTo>
                    <a:pt x="17" y="89"/>
                  </a:lnTo>
                  <a:lnTo>
                    <a:pt x="20" y="91"/>
                  </a:lnTo>
                  <a:lnTo>
                    <a:pt x="25" y="94"/>
                  </a:lnTo>
                  <a:lnTo>
                    <a:pt x="27" y="97"/>
                  </a:lnTo>
                  <a:lnTo>
                    <a:pt x="27" y="97"/>
                  </a:lnTo>
                  <a:lnTo>
                    <a:pt x="30" y="101"/>
                  </a:lnTo>
                  <a:lnTo>
                    <a:pt x="33" y="110"/>
                  </a:lnTo>
                  <a:lnTo>
                    <a:pt x="34" y="118"/>
                  </a:lnTo>
                  <a:lnTo>
                    <a:pt x="36" y="126"/>
                  </a:lnTo>
                  <a:lnTo>
                    <a:pt x="36" y="126"/>
                  </a:lnTo>
                  <a:lnTo>
                    <a:pt x="37" y="130"/>
                  </a:lnTo>
                  <a:lnTo>
                    <a:pt x="37" y="130"/>
                  </a:lnTo>
                  <a:lnTo>
                    <a:pt x="40" y="127"/>
                  </a:lnTo>
                  <a:lnTo>
                    <a:pt x="43" y="123"/>
                  </a:lnTo>
                  <a:lnTo>
                    <a:pt x="43" y="123"/>
                  </a:lnTo>
                  <a:lnTo>
                    <a:pt x="46" y="116"/>
                  </a:lnTo>
                  <a:lnTo>
                    <a:pt x="46" y="110"/>
                  </a:lnTo>
                  <a:lnTo>
                    <a:pt x="46" y="110"/>
                  </a:lnTo>
                  <a:lnTo>
                    <a:pt x="46" y="107"/>
                  </a:lnTo>
                  <a:lnTo>
                    <a:pt x="47" y="103"/>
                  </a:lnTo>
                  <a:lnTo>
                    <a:pt x="47" y="103"/>
                  </a:lnTo>
                  <a:lnTo>
                    <a:pt x="54" y="97"/>
                  </a:lnTo>
                  <a:lnTo>
                    <a:pt x="60" y="91"/>
                  </a:lnTo>
                  <a:lnTo>
                    <a:pt x="60" y="91"/>
                  </a:lnTo>
                  <a:lnTo>
                    <a:pt x="64" y="91"/>
                  </a:lnTo>
                  <a:lnTo>
                    <a:pt x="66" y="90"/>
                  </a:lnTo>
                  <a:lnTo>
                    <a:pt x="67" y="87"/>
                  </a:lnTo>
                  <a:lnTo>
                    <a:pt x="67" y="87"/>
                  </a:lnTo>
                  <a:lnTo>
                    <a:pt x="67" y="79"/>
                  </a:lnTo>
                  <a:lnTo>
                    <a:pt x="67" y="79"/>
                  </a:lnTo>
                  <a:lnTo>
                    <a:pt x="63" y="74"/>
                  </a:lnTo>
                  <a:lnTo>
                    <a:pt x="62" y="71"/>
                  </a:lnTo>
                  <a:lnTo>
                    <a:pt x="62" y="71"/>
                  </a:lnTo>
                  <a:lnTo>
                    <a:pt x="60" y="69"/>
                  </a:lnTo>
                  <a:lnTo>
                    <a:pt x="59" y="67"/>
                  </a:lnTo>
                  <a:lnTo>
                    <a:pt x="56" y="66"/>
                  </a:lnTo>
                  <a:lnTo>
                    <a:pt x="54" y="66"/>
                  </a:lnTo>
                  <a:lnTo>
                    <a:pt x="54" y="66"/>
                  </a:lnTo>
                  <a:lnTo>
                    <a:pt x="52" y="67"/>
                  </a:lnTo>
                  <a:lnTo>
                    <a:pt x="47" y="67"/>
                  </a:lnTo>
                  <a:lnTo>
                    <a:pt x="44" y="64"/>
                  </a:lnTo>
                  <a:lnTo>
                    <a:pt x="42" y="60"/>
                  </a:lnTo>
                  <a:lnTo>
                    <a:pt x="42" y="60"/>
                  </a:lnTo>
                  <a:lnTo>
                    <a:pt x="43" y="57"/>
                  </a:lnTo>
                  <a:lnTo>
                    <a:pt x="46" y="54"/>
                  </a:lnTo>
                  <a:lnTo>
                    <a:pt x="50" y="53"/>
                  </a:lnTo>
                  <a:lnTo>
                    <a:pt x="54" y="50"/>
                  </a:lnTo>
                  <a:lnTo>
                    <a:pt x="54" y="50"/>
                  </a:lnTo>
                  <a:lnTo>
                    <a:pt x="59" y="44"/>
                  </a:lnTo>
                  <a:lnTo>
                    <a:pt x="60" y="39"/>
                  </a:lnTo>
                  <a:lnTo>
                    <a:pt x="59" y="33"/>
                  </a:lnTo>
                  <a:lnTo>
                    <a:pt x="54" y="27"/>
                  </a:lnTo>
                  <a:lnTo>
                    <a:pt x="54" y="27"/>
                  </a:lnTo>
                  <a:lnTo>
                    <a:pt x="52" y="25"/>
                  </a:lnTo>
                  <a:lnTo>
                    <a:pt x="52" y="20"/>
                  </a:lnTo>
                  <a:lnTo>
                    <a:pt x="54" y="17"/>
                  </a:lnTo>
                  <a:lnTo>
                    <a:pt x="57" y="15"/>
                  </a:lnTo>
                  <a:lnTo>
                    <a:pt x="57" y="15"/>
                  </a:lnTo>
                  <a:lnTo>
                    <a:pt x="60" y="10"/>
                  </a:lnTo>
                  <a:lnTo>
                    <a:pt x="60" y="9"/>
                  </a:lnTo>
                  <a:lnTo>
                    <a:pt x="57" y="7"/>
                  </a:lnTo>
                  <a:lnTo>
                    <a:pt x="56" y="9"/>
                  </a:lnTo>
                  <a:lnTo>
                    <a:pt x="56" y="9"/>
                  </a:lnTo>
                  <a:lnTo>
                    <a:pt x="53" y="10"/>
                  </a:lnTo>
                  <a:lnTo>
                    <a:pt x="52" y="10"/>
                  </a:lnTo>
                  <a:lnTo>
                    <a:pt x="49" y="9"/>
                  </a:lnTo>
                  <a:lnTo>
                    <a:pt x="49" y="6"/>
                  </a:lnTo>
                  <a:lnTo>
                    <a:pt x="49" y="6"/>
                  </a:lnTo>
                  <a:lnTo>
                    <a:pt x="47" y="3"/>
                  </a:lnTo>
                  <a:lnTo>
                    <a:pt x="44" y="2"/>
                  </a:lnTo>
                  <a:lnTo>
                    <a:pt x="39" y="0"/>
                  </a:lnTo>
                  <a:lnTo>
                    <a:pt x="32" y="2"/>
                  </a:lnTo>
                  <a:lnTo>
                    <a:pt x="26" y="5"/>
                  </a:lnTo>
                  <a:lnTo>
                    <a:pt x="26" y="5"/>
                  </a:lnTo>
                  <a:lnTo>
                    <a:pt x="22" y="6"/>
                  </a:lnTo>
                  <a:lnTo>
                    <a:pt x="17" y="7"/>
                  </a:lnTo>
                  <a:lnTo>
                    <a:pt x="17" y="7"/>
                  </a:lnTo>
                  <a:lnTo>
                    <a:pt x="16" y="22"/>
                  </a:lnTo>
                  <a:lnTo>
                    <a:pt x="16" y="27"/>
                  </a:lnTo>
                  <a:lnTo>
                    <a:pt x="17" y="32"/>
                  </a:lnTo>
                  <a:lnTo>
                    <a:pt x="17" y="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6" name="Freeform 202">
              <a:extLst>
                <a:ext uri="{FF2B5EF4-FFF2-40B4-BE49-F238E27FC236}">
                  <a16:creationId xmlns:a16="http://schemas.microsoft.com/office/drawing/2014/main" id="{4CA86F6E-37B5-9444-B5F0-8B2C2BF7AC8A}"/>
                </a:ext>
              </a:extLst>
            </p:cNvPr>
            <p:cNvSpPr>
              <a:spLocks/>
            </p:cNvSpPr>
            <p:nvPr/>
          </p:nvSpPr>
          <p:spPr bwMode="auto">
            <a:xfrm>
              <a:off x="4116226" y="3381916"/>
              <a:ext cx="494248" cy="473531"/>
            </a:xfrm>
            <a:custGeom>
              <a:avLst/>
              <a:gdLst/>
              <a:ahLst/>
              <a:cxnLst>
                <a:cxn ang="0">
                  <a:pos x="114" y="72"/>
                </a:cxn>
                <a:cxn ang="0">
                  <a:pos x="120" y="79"/>
                </a:cxn>
                <a:cxn ang="0">
                  <a:pos x="121" y="91"/>
                </a:cxn>
                <a:cxn ang="0">
                  <a:pos x="98" y="91"/>
                </a:cxn>
                <a:cxn ang="0">
                  <a:pos x="94" y="95"/>
                </a:cxn>
                <a:cxn ang="0">
                  <a:pos x="85" y="98"/>
                </a:cxn>
                <a:cxn ang="0">
                  <a:pos x="80" y="109"/>
                </a:cxn>
                <a:cxn ang="0">
                  <a:pos x="77" y="113"/>
                </a:cxn>
                <a:cxn ang="0">
                  <a:pos x="71" y="116"/>
                </a:cxn>
                <a:cxn ang="0">
                  <a:pos x="58" y="121"/>
                </a:cxn>
                <a:cxn ang="0">
                  <a:pos x="50" y="130"/>
                </a:cxn>
                <a:cxn ang="0">
                  <a:pos x="37" y="132"/>
                </a:cxn>
                <a:cxn ang="0">
                  <a:pos x="33" y="136"/>
                </a:cxn>
                <a:cxn ang="0">
                  <a:pos x="11" y="145"/>
                </a:cxn>
                <a:cxn ang="0">
                  <a:pos x="0" y="176"/>
                </a:cxn>
                <a:cxn ang="0">
                  <a:pos x="83" y="230"/>
                </a:cxn>
                <a:cxn ang="0">
                  <a:pos x="166" y="291"/>
                </a:cxn>
                <a:cxn ang="0">
                  <a:pos x="181" y="300"/>
                </a:cxn>
                <a:cxn ang="0">
                  <a:pos x="192" y="307"/>
                </a:cxn>
                <a:cxn ang="0">
                  <a:pos x="211" y="315"/>
                </a:cxn>
                <a:cxn ang="0">
                  <a:pos x="265" y="284"/>
                </a:cxn>
                <a:cxn ang="0">
                  <a:pos x="334" y="241"/>
                </a:cxn>
                <a:cxn ang="0">
                  <a:pos x="326" y="227"/>
                </a:cxn>
                <a:cxn ang="0">
                  <a:pos x="314" y="224"/>
                </a:cxn>
                <a:cxn ang="0">
                  <a:pos x="304" y="220"/>
                </a:cxn>
                <a:cxn ang="0">
                  <a:pos x="303" y="209"/>
                </a:cxn>
                <a:cxn ang="0">
                  <a:pos x="294" y="197"/>
                </a:cxn>
                <a:cxn ang="0">
                  <a:pos x="297" y="190"/>
                </a:cxn>
                <a:cxn ang="0">
                  <a:pos x="300" y="185"/>
                </a:cxn>
                <a:cxn ang="0">
                  <a:pos x="297" y="172"/>
                </a:cxn>
                <a:cxn ang="0">
                  <a:pos x="302" y="163"/>
                </a:cxn>
                <a:cxn ang="0">
                  <a:pos x="300" y="152"/>
                </a:cxn>
                <a:cxn ang="0">
                  <a:pos x="296" y="133"/>
                </a:cxn>
                <a:cxn ang="0">
                  <a:pos x="294" y="126"/>
                </a:cxn>
                <a:cxn ang="0">
                  <a:pos x="296" y="121"/>
                </a:cxn>
                <a:cxn ang="0">
                  <a:pos x="287" y="92"/>
                </a:cxn>
                <a:cxn ang="0">
                  <a:pos x="277" y="84"/>
                </a:cxn>
                <a:cxn ang="0">
                  <a:pos x="273" y="74"/>
                </a:cxn>
                <a:cxn ang="0">
                  <a:pos x="262" y="62"/>
                </a:cxn>
                <a:cxn ang="0">
                  <a:pos x="262" y="55"/>
                </a:cxn>
                <a:cxn ang="0">
                  <a:pos x="273" y="44"/>
                </a:cxn>
                <a:cxn ang="0">
                  <a:pos x="279" y="32"/>
                </a:cxn>
                <a:cxn ang="0">
                  <a:pos x="276" y="17"/>
                </a:cxn>
                <a:cxn ang="0">
                  <a:pos x="262" y="0"/>
                </a:cxn>
                <a:cxn ang="0">
                  <a:pos x="246" y="1"/>
                </a:cxn>
                <a:cxn ang="0">
                  <a:pos x="226" y="7"/>
                </a:cxn>
                <a:cxn ang="0">
                  <a:pos x="215" y="4"/>
                </a:cxn>
                <a:cxn ang="0">
                  <a:pos x="159" y="10"/>
                </a:cxn>
                <a:cxn ang="0">
                  <a:pos x="141" y="21"/>
                </a:cxn>
                <a:cxn ang="0">
                  <a:pos x="125" y="27"/>
                </a:cxn>
                <a:cxn ang="0">
                  <a:pos x="111" y="37"/>
                </a:cxn>
                <a:cxn ang="0">
                  <a:pos x="110" y="42"/>
                </a:cxn>
                <a:cxn ang="0">
                  <a:pos x="115" y="59"/>
                </a:cxn>
              </a:cxnLst>
              <a:rect l="0" t="0" r="r" b="b"/>
              <a:pathLst>
                <a:path w="334" h="320">
                  <a:moveTo>
                    <a:pt x="115" y="59"/>
                  </a:moveTo>
                  <a:lnTo>
                    <a:pt x="115" y="59"/>
                  </a:lnTo>
                  <a:lnTo>
                    <a:pt x="114" y="69"/>
                  </a:lnTo>
                  <a:lnTo>
                    <a:pt x="114" y="72"/>
                  </a:lnTo>
                  <a:lnTo>
                    <a:pt x="115" y="74"/>
                  </a:lnTo>
                  <a:lnTo>
                    <a:pt x="115" y="74"/>
                  </a:lnTo>
                  <a:lnTo>
                    <a:pt x="118" y="75"/>
                  </a:lnTo>
                  <a:lnTo>
                    <a:pt x="120" y="79"/>
                  </a:lnTo>
                  <a:lnTo>
                    <a:pt x="122" y="85"/>
                  </a:lnTo>
                  <a:lnTo>
                    <a:pt x="122" y="85"/>
                  </a:lnTo>
                  <a:lnTo>
                    <a:pt x="121" y="89"/>
                  </a:lnTo>
                  <a:lnTo>
                    <a:pt x="121" y="91"/>
                  </a:lnTo>
                  <a:lnTo>
                    <a:pt x="118" y="91"/>
                  </a:lnTo>
                  <a:lnTo>
                    <a:pt x="118" y="91"/>
                  </a:lnTo>
                  <a:lnTo>
                    <a:pt x="105" y="91"/>
                  </a:lnTo>
                  <a:lnTo>
                    <a:pt x="98" y="91"/>
                  </a:lnTo>
                  <a:lnTo>
                    <a:pt x="95" y="92"/>
                  </a:lnTo>
                  <a:lnTo>
                    <a:pt x="95" y="92"/>
                  </a:lnTo>
                  <a:lnTo>
                    <a:pt x="95" y="92"/>
                  </a:lnTo>
                  <a:lnTo>
                    <a:pt x="94" y="95"/>
                  </a:lnTo>
                  <a:lnTo>
                    <a:pt x="92" y="96"/>
                  </a:lnTo>
                  <a:lnTo>
                    <a:pt x="88" y="98"/>
                  </a:lnTo>
                  <a:lnTo>
                    <a:pt x="85" y="98"/>
                  </a:lnTo>
                  <a:lnTo>
                    <a:pt x="85" y="98"/>
                  </a:lnTo>
                  <a:lnTo>
                    <a:pt x="81" y="98"/>
                  </a:lnTo>
                  <a:lnTo>
                    <a:pt x="80" y="102"/>
                  </a:lnTo>
                  <a:lnTo>
                    <a:pt x="80" y="102"/>
                  </a:lnTo>
                  <a:lnTo>
                    <a:pt x="80" y="109"/>
                  </a:lnTo>
                  <a:lnTo>
                    <a:pt x="80" y="112"/>
                  </a:lnTo>
                  <a:lnTo>
                    <a:pt x="78" y="112"/>
                  </a:lnTo>
                  <a:lnTo>
                    <a:pt x="78" y="112"/>
                  </a:lnTo>
                  <a:lnTo>
                    <a:pt x="77" y="113"/>
                  </a:lnTo>
                  <a:lnTo>
                    <a:pt x="75" y="115"/>
                  </a:lnTo>
                  <a:lnTo>
                    <a:pt x="74" y="116"/>
                  </a:lnTo>
                  <a:lnTo>
                    <a:pt x="71" y="116"/>
                  </a:lnTo>
                  <a:lnTo>
                    <a:pt x="71" y="116"/>
                  </a:lnTo>
                  <a:lnTo>
                    <a:pt x="63" y="118"/>
                  </a:lnTo>
                  <a:lnTo>
                    <a:pt x="60" y="119"/>
                  </a:lnTo>
                  <a:lnTo>
                    <a:pt x="58" y="121"/>
                  </a:lnTo>
                  <a:lnTo>
                    <a:pt x="58" y="121"/>
                  </a:lnTo>
                  <a:lnTo>
                    <a:pt x="58" y="125"/>
                  </a:lnTo>
                  <a:lnTo>
                    <a:pt x="57" y="128"/>
                  </a:lnTo>
                  <a:lnTo>
                    <a:pt x="54" y="129"/>
                  </a:lnTo>
                  <a:lnTo>
                    <a:pt x="50" y="130"/>
                  </a:lnTo>
                  <a:lnTo>
                    <a:pt x="50" y="130"/>
                  </a:lnTo>
                  <a:lnTo>
                    <a:pt x="41" y="130"/>
                  </a:lnTo>
                  <a:lnTo>
                    <a:pt x="37" y="132"/>
                  </a:lnTo>
                  <a:lnTo>
                    <a:pt x="37" y="132"/>
                  </a:lnTo>
                  <a:lnTo>
                    <a:pt x="36" y="133"/>
                  </a:lnTo>
                  <a:lnTo>
                    <a:pt x="36" y="133"/>
                  </a:lnTo>
                  <a:lnTo>
                    <a:pt x="36" y="136"/>
                  </a:lnTo>
                  <a:lnTo>
                    <a:pt x="33" y="136"/>
                  </a:lnTo>
                  <a:lnTo>
                    <a:pt x="28" y="136"/>
                  </a:lnTo>
                  <a:lnTo>
                    <a:pt x="26" y="136"/>
                  </a:lnTo>
                  <a:lnTo>
                    <a:pt x="26" y="136"/>
                  </a:lnTo>
                  <a:lnTo>
                    <a:pt x="11" y="145"/>
                  </a:lnTo>
                  <a:lnTo>
                    <a:pt x="4" y="150"/>
                  </a:lnTo>
                  <a:lnTo>
                    <a:pt x="0" y="153"/>
                  </a:lnTo>
                  <a:lnTo>
                    <a:pt x="0" y="153"/>
                  </a:lnTo>
                  <a:lnTo>
                    <a:pt x="0" y="176"/>
                  </a:lnTo>
                  <a:lnTo>
                    <a:pt x="0" y="176"/>
                  </a:lnTo>
                  <a:lnTo>
                    <a:pt x="4" y="179"/>
                  </a:lnTo>
                  <a:lnTo>
                    <a:pt x="4" y="179"/>
                  </a:lnTo>
                  <a:lnTo>
                    <a:pt x="83" y="230"/>
                  </a:lnTo>
                  <a:lnTo>
                    <a:pt x="134" y="264"/>
                  </a:lnTo>
                  <a:lnTo>
                    <a:pt x="159" y="283"/>
                  </a:lnTo>
                  <a:lnTo>
                    <a:pt x="159" y="283"/>
                  </a:lnTo>
                  <a:lnTo>
                    <a:pt x="166" y="291"/>
                  </a:lnTo>
                  <a:lnTo>
                    <a:pt x="169" y="297"/>
                  </a:lnTo>
                  <a:lnTo>
                    <a:pt x="169" y="297"/>
                  </a:lnTo>
                  <a:lnTo>
                    <a:pt x="175" y="298"/>
                  </a:lnTo>
                  <a:lnTo>
                    <a:pt x="181" y="300"/>
                  </a:lnTo>
                  <a:lnTo>
                    <a:pt x="188" y="303"/>
                  </a:lnTo>
                  <a:lnTo>
                    <a:pt x="188" y="303"/>
                  </a:lnTo>
                  <a:lnTo>
                    <a:pt x="191" y="304"/>
                  </a:lnTo>
                  <a:lnTo>
                    <a:pt x="192" y="307"/>
                  </a:lnTo>
                  <a:lnTo>
                    <a:pt x="195" y="313"/>
                  </a:lnTo>
                  <a:lnTo>
                    <a:pt x="195" y="320"/>
                  </a:lnTo>
                  <a:lnTo>
                    <a:pt x="195" y="320"/>
                  </a:lnTo>
                  <a:lnTo>
                    <a:pt x="211" y="315"/>
                  </a:lnTo>
                  <a:lnTo>
                    <a:pt x="211" y="315"/>
                  </a:lnTo>
                  <a:lnTo>
                    <a:pt x="226" y="311"/>
                  </a:lnTo>
                  <a:lnTo>
                    <a:pt x="236" y="308"/>
                  </a:lnTo>
                  <a:lnTo>
                    <a:pt x="265" y="284"/>
                  </a:lnTo>
                  <a:lnTo>
                    <a:pt x="334" y="241"/>
                  </a:lnTo>
                  <a:lnTo>
                    <a:pt x="334" y="241"/>
                  </a:lnTo>
                  <a:lnTo>
                    <a:pt x="334" y="241"/>
                  </a:lnTo>
                  <a:lnTo>
                    <a:pt x="334" y="241"/>
                  </a:lnTo>
                  <a:lnTo>
                    <a:pt x="330" y="231"/>
                  </a:lnTo>
                  <a:lnTo>
                    <a:pt x="329" y="229"/>
                  </a:lnTo>
                  <a:lnTo>
                    <a:pt x="326" y="227"/>
                  </a:lnTo>
                  <a:lnTo>
                    <a:pt x="326" y="227"/>
                  </a:lnTo>
                  <a:lnTo>
                    <a:pt x="323" y="227"/>
                  </a:lnTo>
                  <a:lnTo>
                    <a:pt x="320" y="226"/>
                  </a:lnTo>
                  <a:lnTo>
                    <a:pt x="317" y="224"/>
                  </a:lnTo>
                  <a:lnTo>
                    <a:pt x="314" y="224"/>
                  </a:lnTo>
                  <a:lnTo>
                    <a:pt x="314" y="224"/>
                  </a:lnTo>
                  <a:lnTo>
                    <a:pt x="310" y="224"/>
                  </a:lnTo>
                  <a:lnTo>
                    <a:pt x="307" y="223"/>
                  </a:lnTo>
                  <a:lnTo>
                    <a:pt x="304" y="220"/>
                  </a:lnTo>
                  <a:lnTo>
                    <a:pt x="303" y="217"/>
                  </a:lnTo>
                  <a:lnTo>
                    <a:pt x="303" y="217"/>
                  </a:lnTo>
                  <a:lnTo>
                    <a:pt x="303" y="212"/>
                  </a:lnTo>
                  <a:lnTo>
                    <a:pt x="303" y="209"/>
                  </a:lnTo>
                  <a:lnTo>
                    <a:pt x="302" y="206"/>
                  </a:lnTo>
                  <a:lnTo>
                    <a:pt x="302" y="206"/>
                  </a:lnTo>
                  <a:lnTo>
                    <a:pt x="296" y="199"/>
                  </a:lnTo>
                  <a:lnTo>
                    <a:pt x="294" y="197"/>
                  </a:lnTo>
                  <a:lnTo>
                    <a:pt x="294" y="195"/>
                  </a:lnTo>
                  <a:lnTo>
                    <a:pt x="294" y="195"/>
                  </a:lnTo>
                  <a:lnTo>
                    <a:pt x="294" y="193"/>
                  </a:lnTo>
                  <a:lnTo>
                    <a:pt x="297" y="190"/>
                  </a:lnTo>
                  <a:lnTo>
                    <a:pt x="302" y="187"/>
                  </a:lnTo>
                  <a:lnTo>
                    <a:pt x="302" y="187"/>
                  </a:lnTo>
                  <a:lnTo>
                    <a:pt x="302" y="186"/>
                  </a:lnTo>
                  <a:lnTo>
                    <a:pt x="300" y="185"/>
                  </a:lnTo>
                  <a:lnTo>
                    <a:pt x="299" y="180"/>
                  </a:lnTo>
                  <a:lnTo>
                    <a:pt x="299" y="180"/>
                  </a:lnTo>
                  <a:lnTo>
                    <a:pt x="297" y="175"/>
                  </a:lnTo>
                  <a:lnTo>
                    <a:pt x="297" y="172"/>
                  </a:lnTo>
                  <a:lnTo>
                    <a:pt x="299" y="170"/>
                  </a:lnTo>
                  <a:lnTo>
                    <a:pt x="299" y="170"/>
                  </a:lnTo>
                  <a:lnTo>
                    <a:pt x="302" y="166"/>
                  </a:lnTo>
                  <a:lnTo>
                    <a:pt x="302" y="163"/>
                  </a:lnTo>
                  <a:lnTo>
                    <a:pt x="300" y="159"/>
                  </a:lnTo>
                  <a:lnTo>
                    <a:pt x="300" y="159"/>
                  </a:lnTo>
                  <a:lnTo>
                    <a:pt x="299" y="155"/>
                  </a:lnTo>
                  <a:lnTo>
                    <a:pt x="300" y="152"/>
                  </a:lnTo>
                  <a:lnTo>
                    <a:pt x="302" y="148"/>
                  </a:lnTo>
                  <a:lnTo>
                    <a:pt x="300" y="142"/>
                  </a:lnTo>
                  <a:lnTo>
                    <a:pt x="300" y="142"/>
                  </a:lnTo>
                  <a:lnTo>
                    <a:pt x="296" y="133"/>
                  </a:lnTo>
                  <a:lnTo>
                    <a:pt x="293" y="130"/>
                  </a:lnTo>
                  <a:lnTo>
                    <a:pt x="293" y="128"/>
                  </a:lnTo>
                  <a:lnTo>
                    <a:pt x="293" y="128"/>
                  </a:lnTo>
                  <a:lnTo>
                    <a:pt x="294" y="126"/>
                  </a:lnTo>
                  <a:lnTo>
                    <a:pt x="297" y="125"/>
                  </a:lnTo>
                  <a:lnTo>
                    <a:pt x="297" y="125"/>
                  </a:lnTo>
                  <a:lnTo>
                    <a:pt x="296" y="121"/>
                  </a:lnTo>
                  <a:lnTo>
                    <a:pt x="296" y="121"/>
                  </a:lnTo>
                  <a:lnTo>
                    <a:pt x="294" y="113"/>
                  </a:lnTo>
                  <a:lnTo>
                    <a:pt x="293" y="105"/>
                  </a:lnTo>
                  <a:lnTo>
                    <a:pt x="290" y="96"/>
                  </a:lnTo>
                  <a:lnTo>
                    <a:pt x="287" y="92"/>
                  </a:lnTo>
                  <a:lnTo>
                    <a:pt x="287" y="92"/>
                  </a:lnTo>
                  <a:lnTo>
                    <a:pt x="285" y="89"/>
                  </a:lnTo>
                  <a:lnTo>
                    <a:pt x="280" y="86"/>
                  </a:lnTo>
                  <a:lnTo>
                    <a:pt x="277" y="84"/>
                  </a:lnTo>
                  <a:lnTo>
                    <a:pt x="276" y="82"/>
                  </a:lnTo>
                  <a:lnTo>
                    <a:pt x="276" y="82"/>
                  </a:lnTo>
                  <a:lnTo>
                    <a:pt x="275" y="76"/>
                  </a:lnTo>
                  <a:lnTo>
                    <a:pt x="273" y="74"/>
                  </a:lnTo>
                  <a:lnTo>
                    <a:pt x="269" y="72"/>
                  </a:lnTo>
                  <a:lnTo>
                    <a:pt x="269" y="72"/>
                  </a:lnTo>
                  <a:lnTo>
                    <a:pt x="265" y="68"/>
                  </a:lnTo>
                  <a:lnTo>
                    <a:pt x="262" y="62"/>
                  </a:lnTo>
                  <a:lnTo>
                    <a:pt x="260" y="57"/>
                  </a:lnTo>
                  <a:lnTo>
                    <a:pt x="260" y="55"/>
                  </a:lnTo>
                  <a:lnTo>
                    <a:pt x="262" y="55"/>
                  </a:lnTo>
                  <a:lnTo>
                    <a:pt x="262" y="55"/>
                  </a:lnTo>
                  <a:lnTo>
                    <a:pt x="265" y="54"/>
                  </a:lnTo>
                  <a:lnTo>
                    <a:pt x="267" y="49"/>
                  </a:lnTo>
                  <a:lnTo>
                    <a:pt x="270" y="47"/>
                  </a:lnTo>
                  <a:lnTo>
                    <a:pt x="273" y="44"/>
                  </a:lnTo>
                  <a:lnTo>
                    <a:pt x="273" y="44"/>
                  </a:lnTo>
                  <a:lnTo>
                    <a:pt x="276" y="41"/>
                  </a:lnTo>
                  <a:lnTo>
                    <a:pt x="277" y="37"/>
                  </a:lnTo>
                  <a:lnTo>
                    <a:pt x="279" y="32"/>
                  </a:lnTo>
                  <a:lnTo>
                    <a:pt x="277" y="27"/>
                  </a:lnTo>
                  <a:lnTo>
                    <a:pt x="277" y="27"/>
                  </a:lnTo>
                  <a:lnTo>
                    <a:pt x="276" y="22"/>
                  </a:lnTo>
                  <a:lnTo>
                    <a:pt x="276" y="17"/>
                  </a:lnTo>
                  <a:lnTo>
                    <a:pt x="277" y="2"/>
                  </a:lnTo>
                  <a:lnTo>
                    <a:pt x="277" y="2"/>
                  </a:lnTo>
                  <a:lnTo>
                    <a:pt x="267" y="1"/>
                  </a:lnTo>
                  <a:lnTo>
                    <a:pt x="262" y="0"/>
                  </a:lnTo>
                  <a:lnTo>
                    <a:pt x="262" y="0"/>
                  </a:lnTo>
                  <a:lnTo>
                    <a:pt x="255" y="0"/>
                  </a:lnTo>
                  <a:lnTo>
                    <a:pt x="246" y="1"/>
                  </a:lnTo>
                  <a:lnTo>
                    <a:pt x="246" y="1"/>
                  </a:lnTo>
                  <a:lnTo>
                    <a:pt x="240" y="2"/>
                  </a:lnTo>
                  <a:lnTo>
                    <a:pt x="235" y="4"/>
                  </a:lnTo>
                  <a:lnTo>
                    <a:pt x="228" y="7"/>
                  </a:lnTo>
                  <a:lnTo>
                    <a:pt x="226" y="7"/>
                  </a:lnTo>
                  <a:lnTo>
                    <a:pt x="223" y="5"/>
                  </a:lnTo>
                  <a:lnTo>
                    <a:pt x="223" y="5"/>
                  </a:lnTo>
                  <a:lnTo>
                    <a:pt x="221" y="4"/>
                  </a:lnTo>
                  <a:lnTo>
                    <a:pt x="215" y="4"/>
                  </a:lnTo>
                  <a:lnTo>
                    <a:pt x="196" y="5"/>
                  </a:lnTo>
                  <a:lnTo>
                    <a:pt x="164" y="8"/>
                  </a:lnTo>
                  <a:lnTo>
                    <a:pt x="164" y="8"/>
                  </a:lnTo>
                  <a:lnTo>
                    <a:pt x="159" y="10"/>
                  </a:lnTo>
                  <a:lnTo>
                    <a:pt x="155" y="11"/>
                  </a:lnTo>
                  <a:lnTo>
                    <a:pt x="149" y="15"/>
                  </a:lnTo>
                  <a:lnTo>
                    <a:pt x="144" y="20"/>
                  </a:lnTo>
                  <a:lnTo>
                    <a:pt x="141" y="21"/>
                  </a:lnTo>
                  <a:lnTo>
                    <a:pt x="138" y="22"/>
                  </a:lnTo>
                  <a:lnTo>
                    <a:pt x="138" y="22"/>
                  </a:lnTo>
                  <a:lnTo>
                    <a:pt x="132" y="24"/>
                  </a:lnTo>
                  <a:lnTo>
                    <a:pt x="125" y="27"/>
                  </a:lnTo>
                  <a:lnTo>
                    <a:pt x="120" y="29"/>
                  </a:lnTo>
                  <a:lnTo>
                    <a:pt x="114" y="35"/>
                  </a:lnTo>
                  <a:lnTo>
                    <a:pt x="114" y="35"/>
                  </a:lnTo>
                  <a:lnTo>
                    <a:pt x="111" y="37"/>
                  </a:lnTo>
                  <a:lnTo>
                    <a:pt x="107" y="38"/>
                  </a:lnTo>
                  <a:lnTo>
                    <a:pt x="107" y="38"/>
                  </a:lnTo>
                  <a:lnTo>
                    <a:pt x="110" y="42"/>
                  </a:lnTo>
                  <a:lnTo>
                    <a:pt x="110" y="42"/>
                  </a:lnTo>
                  <a:lnTo>
                    <a:pt x="112" y="47"/>
                  </a:lnTo>
                  <a:lnTo>
                    <a:pt x="114" y="51"/>
                  </a:lnTo>
                  <a:lnTo>
                    <a:pt x="115" y="59"/>
                  </a:lnTo>
                  <a:lnTo>
                    <a:pt x="115" y="5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7" name="Freeform 203">
              <a:extLst>
                <a:ext uri="{FF2B5EF4-FFF2-40B4-BE49-F238E27FC236}">
                  <a16:creationId xmlns:a16="http://schemas.microsoft.com/office/drawing/2014/main" id="{2A580CCE-1046-6441-9CD5-AF888B5DDD84}"/>
                </a:ext>
              </a:extLst>
            </p:cNvPr>
            <p:cNvSpPr>
              <a:spLocks/>
            </p:cNvSpPr>
            <p:nvPr/>
          </p:nvSpPr>
          <p:spPr bwMode="auto">
            <a:xfrm>
              <a:off x="4549804" y="3491420"/>
              <a:ext cx="359588" cy="344790"/>
            </a:xfrm>
            <a:custGeom>
              <a:avLst/>
              <a:gdLst/>
              <a:ahLst/>
              <a:cxnLst>
                <a:cxn ang="0">
                  <a:pos x="21" y="18"/>
                </a:cxn>
                <a:cxn ang="0">
                  <a:pos x="13" y="28"/>
                </a:cxn>
                <a:cxn ang="0">
                  <a:pos x="13" y="37"/>
                </a:cxn>
                <a:cxn ang="0">
                  <a:pos x="7" y="47"/>
                </a:cxn>
                <a:cxn ang="0">
                  <a:pos x="0" y="54"/>
                </a:cxn>
                <a:cxn ang="0">
                  <a:pos x="3" y="59"/>
                </a:cxn>
                <a:cxn ang="0">
                  <a:pos x="9" y="74"/>
                </a:cxn>
                <a:cxn ang="0">
                  <a:pos x="7" y="85"/>
                </a:cxn>
                <a:cxn ang="0">
                  <a:pos x="9" y="92"/>
                </a:cxn>
                <a:cxn ang="0">
                  <a:pos x="4" y="98"/>
                </a:cxn>
                <a:cxn ang="0">
                  <a:pos x="6" y="106"/>
                </a:cxn>
                <a:cxn ang="0">
                  <a:pos x="9" y="113"/>
                </a:cxn>
                <a:cxn ang="0">
                  <a:pos x="1" y="119"/>
                </a:cxn>
                <a:cxn ang="0">
                  <a:pos x="1" y="123"/>
                </a:cxn>
                <a:cxn ang="0">
                  <a:pos x="9" y="132"/>
                </a:cxn>
                <a:cxn ang="0">
                  <a:pos x="10" y="143"/>
                </a:cxn>
                <a:cxn ang="0">
                  <a:pos x="14" y="149"/>
                </a:cxn>
                <a:cxn ang="0">
                  <a:pos x="21" y="150"/>
                </a:cxn>
                <a:cxn ang="0">
                  <a:pos x="30" y="153"/>
                </a:cxn>
                <a:cxn ang="0">
                  <a:pos x="36" y="155"/>
                </a:cxn>
                <a:cxn ang="0">
                  <a:pos x="41" y="167"/>
                </a:cxn>
                <a:cxn ang="0">
                  <a:pos x="64" y="172"/>
                </a:cxn>
                <a:cxn ang="0">
                  <a:pos x="75" y="182"/>
                </a:cxn>
                <a:cxn ang="0">
                  <a:pos x="225" y="224"/>
                </a:cxn>
                <a:cxn ang="0">
                  <a:pos x="239" y="68"/>
                </a:cxn>
                <a:cxn ang="0">
                  <a:pos x="238" y="54"/>
                </a:cxn>
                <a:cxn ang="0">
                  <a:pos x="239" y="44"/>
                </a:cxn>
                <a:cxn ang="0">
                  <a:pos x="240" y="31"/>
                </a:cxn>
                <a:cxn ang="0">
                  <a:pos x="243" y="20"/>
                </a:cxn>
                <a:cxn ang="0">
                  <a:pos x="242" y="20"/>
                </a:cxn>
                <a:cxn ang="0">
                  <a:pos x="221" y="14"/>
                </a:cxn>
                <a:cxn ang="0">
                  <a:pos x="213" y="11"/>
                </a:cxn>
                <a:cxn ang="0">
                  <a:pos x="201" y="2"/>
                </a:cxn>
                <a:cxn ang="0">
                  <a:pos x="191" y="1"/>
                </a:cxn>
                <a:cxn ang="0">
                  <a:pos x="164" y="14"/>
                </a:cxn>
                <a:cxn ang="0">
                  <a:pos x="161" y="20"/>
                </a:cxn>
                <a:cxn ang="0">
                  <a:pos x="164" y="35"/>
                </a:cxn>
                <a:cxn ang="0">
                  <a:pos x="162" y="41"/>
                </a:cxn>
                <a:cxn ang="0">
                  <a:pos x="144" y="45"/>
                </a:cxn>
                <a:cxn ang="0">
                  <a:pos x="131" y="35"/>
                </a:cxn>
                <a:cxn ang="0">
                  <a:pos x="108" y="29"/>
                </a:cxn>
                <a:cxn ang="0">
                  <a:pos x="97" y="27"/>
                </a:cxn>
                <a:cxn ang="0">
                  <a:pos x="93" y="18"/>
                </a:cxn>
                <a:cxn ang="0">
                  <a:pos x="87" y="11"/>
                </a:cxn>
                <a:cxn ang="0">
                  <a:pos x="75" y="7"/>
                </a:cxn>
                <a:cxn ang="0">
                  <a:pos x="53" y="4"/>
                </a:cxn>
                <a:cxn ang="0">
                  <a:pos x="43" y="2"/>
                </a:cxn>
                <a:cxn ang="0">
                  <a:pos x="34" y="8"/>
                </a:cxn>
                <a:cxn ang="0">
                  <a:pos x="31" y="12"/>
                </a:cxn>
              </a:cxnLst>
              <a:rect l="0" t="0" r="r" b="b"/>
              <a:pathLst>
                <a:path w="243" h="233">
                  <a:moveTo>
                    <a:pt x="27" y="12"/>
                  </a:moveTo>
                  <a:lnTo>
                    <a:pt x="27" y="12"/>
                  </a:lnTo>
                  <a:lnTo>
                    <a:pt x="21" y="18"/>
                  </a:lnTo>
                  <a:lnTo>
                    <a:pt x="14" y="24"/>
                  </a:lnTo>
                  <a:lnTo>
                    <a:pt x="14" y="24"/>
                  </a:lnTo>
                  <a:lnTo>
                    <a:pt x="13" y="28"/>
                  </a:lnTo>
                  <a:lnTo>
                    <a:pt x="13" y="31"/>
                  </a:lnTo>
                  <a:lnTo>
                    <a:pt x="13" y="31"/>
                  </a:lnTo>
                  <a:lnTo>
                    <a:pt x="13" y="37"/>
                  </a:lnTo>
                  <a:lnTo>
                    <a:pt x="10" y="44"/>
                  </a:lnTo>
                  <a:lnTo>
                    <a:pt x="10" y="44"/>
                  </a:lnTo>
                  <a:lnTo>
                    <a:pt x="7" y="47"/>
                  </a:lnTo>
                  <a:lnTo>
                    <a:pt x="4" y="49"/>
                  </a:lnTo>
                  <a:lnTo>
                    <a:pt x="1" y="52"/>
                  </a:lnTo>
                  <a:lnTo>
                    <a:pt x="0" y="54"/>
                  </a:lnTo>
                  <a:lnTo>
                    <a:pt x="0" y="54"/>
                  </a:lnTo>
                  <a:lnTo>
                    <a:pt x="0" y="56"/>
                  </a:lnTo>
                  <a:lnTo>
                    <a:pt x="3" y="59"/>
                  </a:lnTo>
                  <a:lnTo>
                    <a:pt x="7" y="68"/>
                  </a:lnTo>
                  <a:lnTo>
                    <a:pt x="7" y="68"/>
                  </a:lnTo>
                  <a:lnTo>
                    <a:pt x="9" y="74"/>
                  </a:lnTo>
                  <a:lnTo>
                    <a:pt x="7" y="78"/>
                  </a:lnTo>
                  <a:lnTo>
                    <a:pt x="6" y="81"/>
                  </a:lnTo>
                  <a:lnTo>
                    <a:pt x="7" y="85"/>
                  </a:lnTo>
                  <a:lnTo>
                    <a:pt x="7" y="85"/>
                  </a:lnTo>
                  <a:lnTo>
                    <a:pt x="9" y="89"/>
                  </a:lnTo>
                  <a:lnTo>
                    <a:pt x="9" y="92"/>
                  </a:lnTo>
                  <a:lnTo>
                    <a:pt x="6" y="96"/>
                  </a:lnTo>
                  <a:lnTo>
                    <a:pt x="6" y="96"/>
                  </a:lnTo>
                  <a:lnTo>
                    <a:pt x="4" y="98"/>
                  </a:lnTo>
                  <a:lnTo>
                    <a:pt x="4" y="101"/>
                  </a:lnTo>
                  <a:lnTo>
                    <a:pt x="6" y="106"/>
                  </a:lnTo>
                  <a:lnTo>
                    <a:pt x="6" y="106"/>
                  </a:lnTo>
                  <a:lnTo>
                    <a:pt x="7" y="111"/>
                  </a:lnTo>
                  <a:lnTo>
                    <a:pt x="9" y="112"/>
                  </a:lnTo>
                  <a:lnTo>
                    <a:pt x="9" y="113"/>
                  </a:lnTo>
                  <a:lnTo>
                    <a:pt x="9" y="113"/>
                  </a:lnTo>
                  <a:lnTo>
                    <a:pt x="4" y="116"/>
                  </a:lnTo>
                  <a:lnTo>
                    <a:pt x="1" y="119"/>
                  </a:lnTo>
                  <a:lnTo>
                    <a:pt x="1" y="121"/>
                  </a:lnTo>
                  <a:lnTo>
                    <a:pt x="1" y="121"/>
                  </a:lnTo>
                  <a:lnTo>
                    <a:pt x="1" y="123"/>
                  </a:lnTo>
                  <a:lnTo>
                    <a:pt x="3" y="125"/>
                  </a:lnTo>
                  <a:lnTo>
                    <a:pt x="9" y="132"/>
                  </a:lnTo>
                  <a:lnTo>
                    <a:pt x="9" y="132"/>
                  </a:lnTo>
                  <a:lnTo>
                    <a:pt x="10" y="135"/>
                  </a:lnTo>
                  <a:lnTo>
                    <a:pt x="10" y="138"/>
                  </a:lnTo>
                  <a:lnTo>
                    <a:pt x="10" y="143"/>
                  </a:lnTo>
                  <a:lnTo>
                    <a:pt x="10" y="143"/>
                  </a:lnTo>
                  <a:lnTo>
                    <a:pt x="11" y="146"/>
                  </a:lnTo>
                  <a:lnTo>
                    <a:pt x="14" y="149"/>
                  </a:lnTo>
                  <a:lnTo>
                    <a:pt x="17" y="150"/>
                  </a:lnTo>
                  <a:lnTo>
                    <a:pt x="21" y="150"/>
                  </a:lnTo>
                  <a:lnTo>
                    <a:pt x="21" y="150"/>
                  </a:lnTo>
                  <a:lnTo>
                    <a:pt x="24" y="150"/>
                  </a:lnTo>
                  <a:lnTo>
                    <a:pt x="27" y="152"/>
                  </a:lnTo>
                  <a:lnTo>
                    <a:pt x="30" y="153"/>
                  </a:lnTo>
                  <a:lnTo>
                    <a:pt x="33" y="153"/>
                  </a:lnTo>
                  <a:lnTo>
                    <a:pt x="33" y="153"/>
                  </a:lnTo>
                  <a:lnTo>
                    <a:pt x="36" y="155"/>
                  </a:lnTo>
                  <a:lnTo>
                    <a:pt x="37" y="157"/>
                  </a:lnTo>
                  <a:lnTo>
                    <a:pt x="41" y="167"/>
                  </a:lnTo>
                  <a:lnTo>
                    <a:pt x="41" y="167"/>
                  </a:lnTo>
                  <a:lnTo>
                    <a:pt x="51" y="167"/>
                  </a:lnTo>
                  <a:lnTo>
                    <a:pt x="58" y="169"/>
                  </a:lnTo>
                  <a:lnTo>
                    <a:pt x="64" y="172"/>
                  </a:lnTo>
                  <a:lnTo>
                    <a:pt x="64" y="172"/>
                  </a:lnTo>
                  <a:lnTo>
                    <a:pt x="73" y="179"/>
                  </a:lnTo>
                  <a:lnTo>
                    <a:pt x="75" y="182"/>
                  </a:lnTo>
                  <a:lnTo>
                    <a:pt x="102" y="167"/>
                  </a:lnTo>
                  <a:lnTo>
                    <a:pt x="225" y="233"/>
                  </a:lnTo>
                  <a:lnTo>
                    <a:pt x="225" y="224"/>
                  </a:lnTo>
                  <a:lnTo>
                    <a:pt x="239" y="224"/>
                  </a:lnTo>
                  <a:lnTo>
                    <a:pt x="239" y="224"/>
                  </a:lnTo>
                  <a:lnTo>
                    <a:pt x="239" y="68"/>
                  </a:lnTo>
                  <a:lnTo>
                    <a:pt x="239" y="68"/>
                  </a:lnTo>
                  <a:lnTo>
                    <a:pt x="239" y="59"/>
                  </a:lnTo>
                  <a:lnTo>
                    <a:pt x="238" y="54"/>
                  </a:lnTo>
                  <a:lnTo>
                    <a:pt x="238" y="48"/>
                  </a:lnTo>
                  <a:lnTo>
                    <a:pt x="239" y="44"/>
                  </a:lnTo>
                  <a:lnTo>
                    <a:pt x="239" y="44"/>
                  </a:lnTo>
                  <a:lnTo>
                    <a:pt x="240" y="39"/>
                  </a:lnTo>
                  <a:lnTo>
                    <a:pt x="240" y="35"/>
                  </a:lnTo>
                  <a:lnTo>
                    <a:pt x="240" y="31"/>
                  </a:lnTo>
                  <a:lnTo>
                    <a:pt x="240" y="24"/>
                  </a:lnTo>
                  <a:lnTo>
                    <a:pt x="240" y="24"/>
                  </a:lnTo>
                  <a:lnTo>
                    <a:pt x="243" y="20"/>
                  </a:lnTo>
                  <a:lnTo>
                    <a:pt x="243" y="20"/>
                  </a:lnTo>
                  <a:lnTo>
                    <a:pt x="242" y="20"/>
                  </a:lnTo>
                  <a:lnTo>
                    <a:pt x="242" y="20"/>
                  </a:lnTo>
                  <a:lnTo>
                    <a:pt x="240" y="18"/>
                  </a:lnTo>
                  <a:lnTo>
                    <a:pt x="236" y="17"/>
                  </a:lnTo>
                  <a:lnTo>
                    <a:pt x="221" y="14"/>
                  </a:lnTo>
                  <a:lnTo>
                    <a:pt x="221" y="14"/>
                  </a:lnTo>
                  <a:lnTo>
                    <a:pt x="216" y="12"/>
                  </a:lnTo>
                  <a:lnTo>
                    <a:pt x="213" y="11"/>
                  </a:lnTo>
                  <a:lnTo>
                    <a:pt x="209" y="7"/>
                  </a:lnTo>
                  <a:lnTo>
                    <a:pt x="205" y="4"/>
                  </a:lnTo>
                  <a:lnTo>
                    <a:pt x="201" y="2"/>
                  </a:lnTo>
                  <a:lnTo>
                    <a:pt x="196" y="1"/>
                  </a:lnTo>
                  <a:lnTo>
                    <a:pt x="196" y="1"/>
                  </a:lnTo>
                  <a:lnTo>
                    <a:pt x="191" y="1"/>
                  </a:lnTo>
                  <a:lnTo>
                    <a:pt x="184" y="2"/>
                  </a:lnTo>
                  <a:lnTo>
                    <a:pt x="172" y="7"/>
                  </a:lnTo>
                  <a:lnTo>
                    <a:pt x="164" y="14"/>
                  </a:lnTo>
                  <a:lnTo>
                    <a:pt x="161" y="17"/>
                  </a:lnTo>
                  <a:lnTo>
                    <a:pt x="161" y="20"/>
                  </a:lnTo>
                  <a:lnTo>
                    <a:pt x="161" y="20"/>
                  </a:lnTo>
                  <a:lnTo>
                    <a:pt x="161" y="24"/>
                  </a:lnTo>
                  <a:lnTo>
                    <a:pt x="164" y="29"/>
                  </a:lnTo>
                  <a:lnTo>
                    <a:pt x="164" y="35"/>
                  </a:lnTo>
                  <a:lnTo>
                    <a:pt x="164" y="38"/>
                  </a:lnTo>
                  <a:lnTo>
                    <a:pt x="162" y="41"/>
                  </a:lnTo>
                  <a:lnTo>
                    <a:pt x="162" y="41"/>
                  </a:lnTo>
                  <a:lnTo>
                    <a:pt x="158" y="44"/>
                  </a:lnTo>
                  <a:lnTo>
                    <a:pt x="151" y="45"/>
                  </a:lnTo>
                  <a:lnTo>
                    <a:pt x="144" y="45"/>
                  </a:lnTo>
                  <a:lnTo>
                    <a:pt x="138" y="41"/>
                  </a:lnTo>
                  <a:lnTo>
                    <a:pt x="138" y="41"/>
                  </a:lnTo>
                  <a:lnTo>
                    <a:pt x="131" y="35"/>
                  </a:lnTo>
                  <a:lnTo>
                    <a:pt x="124" y="32"/>
                  </a:lnTo>
                  <a:lnTo>
                    <a:pt x="115" y="31"/>
                  </a:lnTo>
                  <a:lnTo>
                    <a:pt x="108" y="29"/>
                  </a:lnTo>
                  <a:lnTo>
                    <a:pt x="108" y="29"/>
                  </a:lnTo>
                  <a:lnTo>
                    <a:pt x="101" y="29"/>
                  </a:lnTo>
                  <a:lnTo>
                    <a:pt x="97" y="27"/>
                  </a:lnTo>
                  <a:lnTo>
                    <a:pt x="93" y="22"/>
                  </a:lnTo>
                  <a:lnTo>
                    <a:pt x="93" y="18"/>
                  </a:lnTo>
                  <a:lnTo>
                    <a:pt x="93" y="18"/>
                  </a:lnTo>
                  <a:lnTo>
                    <a:pt x="93" y="15"/>
                  </a:lnTo>
                  <a:lnTo>
                    <a:pt x="90" y="12"/>
                  </a:lnTo>
                  <a:lnTo>
                    <a:pt x="87" y="11"/>
                  </a:lnTo>
                  <a:lnTo>
                    <a:pt x="83" y="10"/>
                  </a:lnTo>
                  <a:lnTo>
                    <a:pt x="83" y="10"/>
                  </a:lnTo>
                  <a:lnTo>
                    <a:pt x="75" y="7"/>
                  </a:lnTo>
                  <a:lnTo>
                    <a:pt x="70" y="5"/>
                  </a:lnTo>
                  <a:lnTo>
                    <a:pt x="63" y="2"/>
                  </a:lnTo>
                  <a:lnTo>
                    <a:pt x="53" y="4"/>
                  </a:lnTo>
                  <a:lnTo>
                    <a:pt x="53" y="4"/>
                  </a:lnTo>
                  <a:lnTo>
                    <a:pt x="47" y="4"/>
                  </a:lnTo>
                  <a:lnTo>
                    <a:pt x="43" y="2"/>
                  </a:lnTo>
                  <a:lnTo>
                    <a:pt x="34" y="0"/>
                  </a:lnTo>
                  <a:lnTo>
                    <a:pt x="34" y="0"/>
                  </a:lnTo>
                  <a:lnTo>
                    <a:pt x="34" y="8"/>
                  </a:lnTo>
                  <a:lnTo>
                    <a:pt x="34" y="8"/>
                  </a:lnTo>
                  <a:lnTo>
                    <a:pt x="33" y="11"/>
                  </a:lnTo>
                  <a:lnTo>
                    <a:pt x="31" y="12"/>
                  </a:lnTo>
                  <a:lnTo>
                    <a:pt x="27" y="12"/>
                  </a:lnTo>
                  <a:lnTo>
                    <a:pt x="27" y="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8" name="Freeform 204">
              <a:extLst>
                <a:ext uri="{FF2B5EF4-FFF2-40B4-BE49-F238E27FC236}">
                  <a16:creationId xmlns:a16="http://schemas.microsoft.com/office/drawing/2014/main" id="{F5C34411-15AE-5242-BF68-2A1977FE9CE0}"/>
                </a:ext>
              </a:extLst>
            </p:cNvPr>
            <p:cNvSpPr>
              <a:spLocks/>
            </p:cNvSpPr>
            <p:nvPr/>
          </p:nvSpPr>
          <p:spPr bwMode="auto">
            <a:xfrm>
              <a:off x="3926814" y="3976789"/>
              <a:ext cx="69550" cy="20717"/>
            </a:xfrm>
            <a:custGeom>
              <a:avLst/>
              <a:gdLst/>
              <a:ahLst/>
              <a:cxnLst>
                <a:cxn ang="0">
                  <a:pos x="23" y="9"/>
                </a:cxn>
                <a:cxn ang="0">
                  <a:pos x="23" y="9"/>
                </a:cxn>
                <a:cxn ang="0">
                  <a:pos x="26" y="7"/>
                </a:cxn>
                <a:cxn ang="0">
                  <a:pos x="30" y="9"/>
                </a:cxn>
                <a:cxn ang="0">
                  <a:pos x="33" y="10"/>
                </a:cxn>
                <a:cxn ang="0">
                  <a:pos x="37" y="12"/>
                </a:cxn>
                <a:cxn ang="0">
                  <a:pos x="37" y="12"/>
                </a:cxn>
                <a:cxn ang="0">
                  <a:pos x="40" y="12"/>
                </a:cxn>
                <a:cxn ang="0">
                  <a:pos x="43" y="10"/>
                </a:cxn>
                <a:cxn ang="0">
                  <a:pos x="47" y="9"/>
                </a:cxn>
                <a:cxn ang="0">
                  <a:pos x="47" y="9"/>
                </a:cxn>
                <a:cxn ang="0">
                  <a:pos x="38" y="7"/>
                </a:cxn>
                <a:cxn ang="0">
                  <a:pos x="38" y="7"/>
                </a:cxn>
                <a:cxn ang="0">
                  <a:pos x="33" y="6"/>
                </a:cxn>
                <a:cxn ang="0">
                  <a:pos x="30" y="3"/>
                </a:cxn>
                <a:cxn ang="0">
                  <a:pos x="27" y="0"/>
                </a:cxn>
                <a:cxn ang="0">
                  <a:pos x="24" y="0"/>
                </a:cxn>
                <a:cxn ang="0">
                  <a:pos x="23" y="2"/>
                </a:cxn>
                <a:cxn ang="0">
                  <a:pos x="23" y="2"/>
                </a:cxn>
                <a:cxn ang="0">
                  <a:pos x="13" y="4"/>
                </a:cxn>
                <a:cxn ang="0">
                  <a:pos x="3" y="4"/>
                </a:cxn>
                <a:cxn ang="0">
                  <a:pos x="3" y="4"/>
                </a:cxn>
                <a:cxn ang="0">
                  <a:pos x="0" y="14"/>
                </a:cxn>
                <a:cxn ang="0">
                  <a:pos x="0" y="14"/>
                </a:cxn>
                <a:cxn ang="0">
                  <a:pos x="4" y="13"/>
                </a:cxn>
                <a:cxn ang="0">
                  <a:pos x="4" y="13"/>
                </a:cxn>
                <a:cxn ang="0">
                  <a:pos x="14" y="12"/>
                </a:cxn>
                <a:cxn ang="0">
                  <a:pos x="20" y="10"/>
                </a:cxn>
                <a:cxn ang="0">
                  <a:pos x="23" y="9"/>
                </a:cxn>
                <a:cxn ang="0">
                  <a:pos x="23" y="9"/>
                </a:cxn>
              </a:cxnLst>
              <a:rect l="0" t="0" r="r" b="b"/>
              <a:pathLst>
                <a:path w="47" h="14">
                  <a:moveTo>
                    <a:pt x="23" y="9"/>
                  </a:moveTo>
                  <a:lnTo>
                    <a:pt x="23" y="9"/>
                  </a:lnTo>
                  <a:lnTo>
                    <a:pt x="26" y="7"/>
                  </a:lnTo>
                  <a:lnTo>
                    <a:pt x="30" y="9"/>
                  </a:lnTo>
                  <a:lnTo>
                    <a:pt x="33" y="10"/>
                  </a:lnTo>
                  <a:lnTo>
                    <a:pt x="37" y="12"/>
                  </a:lnTo>
                  <a:lnTo>
                    <a:pt x="37" y="12"/>
                  </a:lnTo>
                  <a:lnTo>
                    <a:pt x="40" y="12"/>
                  </a:lnTo>
                  <a:lnTo>
                    <a:pt x="43" y="10"/>
                  </a:lnTo>
                  <a:lnTo>
                    <a:pt x="47" y="9"/>
                  </a:lnTo>
                  <a:lnTo>
                    <a:pt x="47" y="9"/>
                  </a:lnTo>
                  <a:lnTo>
                    <a:pt x="38" y="7"/>
                  </a:lnTo>
                  <a:lnTo>
                    <a:pt x="38" y="7"/>
                  </a:lnTo>
                  <a:lnTo>
                    <a:pt x="33" y="6"/>
                  </a:lnTo>
                  <a:lnTo>
                    <a:pt x="30" y="3"/>
                  </a:lnTo>
                  <a:lnTo>
                    <a:pt x="27" y="0"/>
                  </a:lnTo>
                  <a:lnTo>
                    <a:pt x="24" y="0"/>
                  </a:lnTo>
                  <a:lnTo>
                    <a:pt x="23" y="2"/>
                  </a:lnTo>
                  <a:lnTo>
                    <a:pt x="23" y="2"/>
                  </a:lnTo>
                  <a:lnTo>
                    <a:pt x="13" y="4"/>
                  </a:lnTo>
                  <a:lnTo>
                    <a:pt x="3" y="4"/>
                  </a:lnTo>
                  <a:lnTo>
                    <a:pt x="3" y="4"/>
                  </a:lnTo>
                  <a:lnTo>
                    <a:pt x="0" y="14"/>
                  </a:lnTo>
                  <a:lnTo>
                    <a:pt x="0" y="14"/>
                  </a:lnTo>
                  <a:lnTo>
                    <a:pt x="4" y="13"/>
                  </a:lnTo>
                  <a:lnTo>
                    <a:pt x="4" y="13"/>
                  </a:lnTo>
                  <a:lnTo>
                    <a:pt x="14" y="12"/>
                  </a:lnTo>
                  <a:lnTo>
                    <a:pt x="20" y="10"/>
                  </a:lnTo>
                  <a:lnTo>
                    <a:pt x="23" y="9"/>
                  </a:lnTo>
                  <a:lnTo>
                    <a:pt x="23" y="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9" name="Freeform 205">
              <a:extLst>
                <a:ext uri="{FF2B5EF4-FFF2-40B4-BE49-F238E27FC236}">
                  <a16:creationId xmlns:a16="http://schemas.microsoft.com/office/drawing/2014/main" id="{9A97DA61-6B23-854F-B60A-9CF7BF784217}"/>
                </a:ext>
              </a:extLst>
            </p:cNvPr>
            <p:cNvSpPr>
              <a:spLocks/>
            </p:cNvSpPr>
            <p:nvPr/>
          </p:nvSpPr>
          <p:spPr bwMode="auto">
            <a:xfrm>
              <a:off x="3916456" y="3911678"/>
              <a:ext cx="136140" cy="105065"/>
            </a:xfrm>
            <a:custGeom>
              <a:avLst/>
              <a:gdLst/>
              <a:ahLst/>
              <a:cxnLst>
                <a:cxn ang="0">
                  <a:pos x="18" y="70"/>
                </a:cxn>
                <a:cxn ang="0">
                  <a:pos x="24" y="68"/>
                </a:cxn>
                <a:cxn ang="0">
                  <a:pos x="28" y="66"/>
                </a:cxn>
                <a:cxn ang="0">
                  <a:pos x="51" y="64"/>
                </a:cxn>
                <a:cxn ang="0">
                  <a:pos x="55" y="66"/>
                </a:cxn>
                <a:cxn ang="0">
                  <a:pos x="55" y="64"/>
                </a:cxn>
                <a:cxn ang="0">
                  <a:pos x="64" y="67"/>
                </a:cxn>
                <a:cxn ang="0">
                  <a:pos x="67" y="68"/>
                </a:cxn>
                <a:cxn ang="0">
                  <a:pos x="75" y="71"/>
                </a:cxn>
                <a:cxn ang="0">
                  <a:pos x="89" y="70"/>
                </a:cxn>
                <a:cxn ang="0">
                  <a:pos x="92" y="70"/>
                </a:cxn>
                <a:cxn ang="0">
                  <a:pos x="92" y="60"/>
                </a:cxn>
                <a:cxn ang="0">
                  <a:pos x="88" y="54"/>
                </a:cxn>
                <a:cxn ang="0">
                  <a:pos x="84" y="48"/>
                </a:cxn>
                <a:cxn ang="0">
                  <a:pos x="81" y="43"/>
                </a:cxn>
                <a:cxn ang="0">
                  <a:pos x="78" y="34"/>
                </a:cxn>
                <a:cxn ang="0">
                  <a:pos x="75" y="30"/>
                </a:cxn>
                <a:cxn ang="0">
                  <a:pos x="68" y="23"/>
                </a:cxn>
                <a:cxn ang="0">
                  <a:pos x="64" y="20"/>
                </a:cxn>
                <a:cxn ang="0">
                  <a:pos x="58" y="9"/>
                </a:cxn>
                <a:cxn ang="0">
                  <a:pos x="53" y="9"/>
                </a:cxn>
                <a:cxn ang="0">
                  <a:pos x="43" y="0"/>
                </a:cxn>
                <a:cxn ang="0">
                  <a:pos x="40" y="0"/>
                </a:cxn>
                <a:cxn ang="0">
                  <a:pos x="30" y="2"/>
                </a:cxn>
                <a:cxn ang="0">
                  <a:pos x="25" y="2"/>
                </a:cxn>
                <a:cxn ang="0">
                  <a:pos x="16" y="2"/>
                </a:cxn>
                <a:cxn ang="0">
                  <a:pos x="11" y="4"/>
                </a:cxn>
                <a:cxn ang="0">
                  <a:pos x="7" y="10"/>
                </a:cxn>
                <a:cxn ang="0">
                  <a:pos x="6" y="10"/>
                </a:cxn>
                <a:cxn ang="0">
                  <a:pos x="4" y="17"/>
                </a:cxn>
                <a:cxn ang="0">
                  <a:pos x="3" y="23"/>
                </a:cxn>
                <a:cxn ang="0">
                  <a:pos x="0" y="29"/>
                </a:cxn>
                <a:cxn ang="0">
                  <a:pos x="6" y="41"/>
                </a:cxn>
                <a:cxn ang="0">
                  <a:pos x="8" y="46"/>
                </a:cxn>
                <a:cxn ang="0">
                  <a:pos x="10" y="48"/>
                </a:cxn>
                <a:cxn ang="0">
                  <a:pos x="30" y="46"/>
                </a:cxn>
                <a:cxn ang="0">
                  <a:pos x="31" y="44"/>
                </a:cxn>
                <a:cxn ang="0">
                  <a:pos x="37" y="47"/>
                </a:cxn>
                <a:cxn ang="0">
                  <a:pos x="45" y="51"/>
                </a:cxn>
                <a:cxn ang="0">
                  <a:pos x="54" y="53"/>
                </a:cxn>
                <a:cxn ang="0">
                  <a:pos x="50" y="54"/>
                </a:cxn>
                <a:cxn ang="0">
                  <a:pos x="44" y="56"/>
                </a:cxn>
                <a:cxn ang="0">
                  <a:pos x="40" y="54"/>
                </a:cxn>
                <a:cxn ang="0">
                  <a:pos x="33" y="51"/>
                </a:cxn>
                <a:cxn ang="0">
                  <a:pos x="30" y="53"/>
                </a:cxn>
                <a:cxn ang="0">
                  <a:pos x="21" y="56"/>
                </a:cxn>
                <a:cxn ang="0">
                  <a:pos x="11" y="57"/>
                </a:cxn>
                <a:cxn ang="0">
                  <a:pos x="7" y="58"/>
                </a:cxn>
                <a:cxn ang="0">
                  <a:pos x="8" y="66"/>
                </a:cxn>
                <a:cxn ang="0">
                  <a:pos x="10" y="67"/>
                </a:cxn>
                <a:cxn ang="0">
                  <a:pos x="16" y="67"/>
                </a:cxn>
                <a:cxn ang="0">
                  <a:pos x="17" y="68"/>
                </a:cxn>
                <a:cxn ang="0">
                  <a:pos x="18" y="70"/>
                </a:cxn>
              </a:cxnLst>
              <a:rect l="0" t="0" r="r" b="b"/>
              <a:pathLst>
                <a:path w="92" h="71">
                  <a:moveTo>
                    <a:pt x="18" y="70"/>
                  </a:moveTo>
                  <a:lnTo>
                    <a:pt x="18" y="70"/>
                  </a:lnTo>
                  <a:lnTo>
                    <a:pt x="21" y="70"/>
                  </a:lnTo>
                  <a:lnTo>
                    <a:pt x="24" y="68"/>
                  </a:lnTo>
                  <a:lnTo>
                    <a:pt x="28" y="66"/>
                  </a:lnTo>
                  <a:lnTo>
                    <a:pt x="28" y="66"/>
                  </a:lnTo>
                  <a:lnTo>
                    <a:pt x="51" y="64"/>
                  </a:lnTo>
                  <a:lnTo>
                    <a:pt x="51" y="64"/>
                  </a:lnTo>
                  <a:lnTo>
                    <a:pt x="55" y="66"/>
                  </a:lnTo>
                  <a:lnTo>
                    <a:pt x="55" y="66"/>
                  </a:lnTo>
                  <a:lnTo>
                    <a:pt x="55" y="64"/>
                  </a:lnTo>
                  <a:lnTo>
                    <a:pt x="55" y="64"/>
                  </a:lnTo>
                  <a:lnTo>
                    <a:pt x="61" y="66"/>
                  </a:lnTo>
                  <a:lnTo>
                    <a:pt x="64" y="67"/>
                  </a:lnTo>
                  <a:lnTo>
                    <a:pt x="67" y="68"/>
                  </a:lnTo>
                  <a:lnTo>
                    <a:pt x="67" y="68"/>
                  </a:lnTo>
                  <a:lnTo>
                    <a:pt x="70" y="70"/>
                  </a:lnTo>
                  <a:lnTo>
                    <a:pt x="75" y="71"/>
                  </a:lnTo>
                  <a:lnTo>
                    <a:pt x="82" y="71"/>
                  </a:lnTo>
                  <a:lnTo>
                    <a:pt x="89" y="70"/>
                  </a:lnTo>
                  <a:lnTo>
                    <a:pt x="89" y="70"/>
                  </a:lnTo>
                  <a:lnTo>
                    <a:pt x="92" y="70"/>
                  </a:lnTo>
                  <a:lnTo>
                    <a:pt x="92" y="70"/>
                  </a:lnTo>
                  <a:lnTo>
                    <a:pt x="92" y="60"/>
                  </a:lnTo>
                  <a:lnTo>
                    <a:pt x="92" y="60"/>
                  </a:lnTo>
                  <a:lnTo>
                    <a:pt x="88" y="54"/>
                  </a:lnTo>
                  <a:lnTo>
                    <a:pt x="84" y="48"/>
                  </a:lnTo>
                  <a:lnTo>
                    <a:pt x="84" y="48"/>
                  </a:lnTo>
                  <a:lnTo>
                    <a:pt x="81" y="46"/>
                  </a:lnTo>
                  <a:lnTo>
                    <a:pt x="81" y="43"/>
                  </a:lnTo>
                  <a:lnTo>
                    <a:pt x="81" y="39"/>
                  </a:lnTo>
                  <a:lnTo>
                    <a:pt x="78" y="34"/>
                  </a:lnTo>
                  <a:lnTo>
                    <a:pt x="78" y="34"/>
                  </a:lnTo>
                  <a:lnTo>
                    <a:pt x="75" y="30"/>
                  </a:lnTo>
                  <a:lnTo>
                    <a:pt x="72" y="26"/>
                  </a:lnTo>
                  <a:lnTo>
                    <a:pt x="68" y="23"/>
                  </a:lnTo>
                  <a:lnTo>
                    <a:pt x="68" y="23"/>
                  </a:lnTo>
                  <a:lnTo>
                    <a:pt x="64" y="20"/>
                  </a:lnTo>
                  <a:lnTo>
                    <a:pt x="61" y="16"/>
                  </a:lnTo>
                  <a:lnTo>
                    <a:pt x="58" y="9"/>
                  </a:lnTo>
                  <a:lnTo>
                    <a:pt x="53" y="9"/>
                  </a:lnTo>
                  <a:lnTo>
                    <a:pt x="53" y="9"/>
                  </a:lnTo>
                  <a:lnTo>
                    <a:pt x="50" y="6"/>
                  </a:lnTo>
                  <a:lnTo>
                    <a:pt x="43" y="0"/>
                  </a:lnTo>
                  <a:lnTo>
                    <a:pt x="43" y="0"/>
                  </a:lnTo>
                  <a:lnTo>
                    <a:pt x="40" y="0"/>
                  </a:lnTo>
                  <a:lnTo>
                    <a:pt x="35" y="0"/>
                  </a:lnTo>
                  <a:lnTo>
                    <a:pt x="30" y="2"/>
                  </a:lnTo>
                  <a:lnTo>
                    <a:pt x="30" y="2"/>
                  </a:lnTo>
                  <a:lnTo>
                    <a:pt x="25" y="2"/>
                  </a:lnTo>
                  <a:lnTo>
                    <a:pt x="16" y="2"/>
                  </a:lnTo>
                  <a:lnTo>
                    <a:pt x="16" y="2"/>
                  </a:lnTo>
                  <a:lnTo>
                    <a:pt x="13" y="3"/>
                  </a:lnTo>
                  <a:lnTo>
                    <a:pt x="11" y="4"/>
                  </a:lnTo>
                  <a:lnTo>
                    <a:pt x="10" y="7"/>
                  </a:lnTo>
                  <a:lnTo>
                    <a:pt x="7" y="10"/>
                  </a:lnTo>
                  <a:lnTo>
                    <a:pt x="7" y="10"/>
                  </a:lnTo>
                  <a:lnTo>
                    <a:pt x="6" y="10"/>
                  </a:lnTo>
                  <a:lnTo>
                    <a:pt x="6" y="10"/>
                  </a:lnTo>
                  <a:lnTo>
                    <a:pt x="4" y="17"/>
                  </a:lnTo>
                  <a:lnTo>
                    <a:pt x="3" y="23"/>
                  </a:lnTo>
                  <a:lnTo>
                    <a:pt x="3" y="23"/>
                  </a:lnTo>
                  <a:lnTo>
                    <a:pt x="1" y="26"/>
                  </a:lnTo>
                  <a:lnTo>
                    <a:pt x="0" y="29"/>
                  </a:lnTo>
                  <a:lnTo>
                    <a:pt x="1" y="36"/>
                  </a:lnTo>
                  <a:lnTo>
                    <a:pt x="6" y="41"/>
                  </a:lnTo>
                  <a:lnTo>
                    <a:pt x="8" y="46"/>
                  </a:lnTo>
                  <a:lnTo>
                    <a:pt x="8" y="46"/>
                  </a:lnTo>
                  <a:lnTo>
                    <a:pt x="10" y="48"/>
                  </a:lnTo>
                  <a:lnTo>
                    <a:pt x="10" y="48"/>
                  </a:lnTo>
                  <a:lnTo>
                    <a:pt x="20" y="48"/>
                  </a:lnTo>
                  <a:lnTo>
                    <a:pt x="30" y="46"/>
                  </a:lnTo>
                  <a:lnTo>
                    <a:pt x="30" y="46"/>
                  </a:lnTo>
                  <a:lnTo>
                    <a:pt x="31" y="44"/>
                  </a:lnTo>
                  <a:lnTo>
                    <a:pt x="34" y="44"/>
                  </a:lnTo>
                  <a:lnTo>
                    <a:pt x="37" y="47"/>
                  </a:lnTo>
                  <a:lnTo>
                    <a:pt x="40" y="50"/>
                  </a:lnTo>
                  <a:lnTo>
                    <a:pt x="45" y="51"/>
                  </a:lnTo>
                  <a:lnTo>
                    <a:pt x="45" y="51"/>
                  </a:lnTo>
                  <a:lnTo>
                    <a:pt x="54" y="53"/>
                  </a:lnTo>
                  <a:lnTo>
                    <a:pt x="54" y="53"/>
                  </a:lnTo>
                  <a:lnTo>
                    <a:pt x="50" y="54"/>
                  </a:lnTo>
                  <a:lnTo>
                    <a:pt x="47" y="56"/>
                  </a:lnTo>
                  <a:lnTo>
                    <a:pt x="44" y="56"/>
                  </a:lnTo>
                  <a:lnTo>
                    <a:pt x="44" y="56"/>
                  </a:lnTo>
                  <a:lnTo>
                    <a:pt x="40" y="54"/>
                  </a:lnTo>
                  <a:lnTo>
                    <a:pt x="37" y="53"/>
                  </a:lnTo>
                  <a:lnTo>
                    <a:pt x="33" y="51"/>
                  </a:lnTo>
                  <a:lnTo>
                    <a:pt x="30" y="53"/>
                  </a:lnTo>
                  <a:lnTo>
                    <a:pt x="30" y="53"/>
                  </a:lnTo>
                  <a:lnTo>
                    <a:pt x="27" y="54"/>
                  </a:lnTo>
                  <a:lnTo>
                    <a:pt x="21" y="56"/>
                  </a:lnTo>
                  <a:lnTo>
                    <a:pt x="11" y="57"/>
                  </a:lnTo>
                  <a:lnTo>
                    <a:pt x="11" y="57"/>
                  </a:lnTo>
                  <a:lnTo>
                    <a:pt x="7" y="58"/>
                  </a:lnTo>
                  <a:lnTo>
                    <a:pt x="7" y="58"/>
                  </a:lnTo>
                  <a:lnTo>
                    <a:pt x="7" y="63"/>
                  </a:lnTo>
                  <a:lnTo>
                    <a:pt x="8" y="66"/>
                  </a:lnTo>
                  <a:lnTo>
                    <a:pt x="8" y="66"/>
                  </a:lnTo>
                  <a:lnTo>
                    <a:pt x="10" y="67"/>
                  </a:lnTo>
                  <a:lnTo>
                    <a:pt x="10" y="67"/>
                  </a:lnTo>
                  <a:lnTo>
                    <a:pt x="16" y="67"/>
                  </a:lnTo>
                  <a:lnTo>
                    <a:pt x="17" y="68"/>
                  </a:lnTo>
                  <a:lnTo>
                    <a:pt x="17" y="68"/>
                  </a:lnTo>
                  <a:lnTo>
                    <a:pt x="18" y="70"/>
                  </a:lnTo>
                  <a:lnTo>
                    <a:pt x="18" y="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0" name="Freeform 206">
              <a:extLst>
                <a:ext uri="{FF2B5EF4-FFF2-40B4-BE49-F238E27FC236}">
                  <a16:creationId xmlns:a16="http://schemas.microsoft.com/office/drawing/2014/main" id="{2D788B3B-2ECE-9444-9531-872F5989EB3B}"/>
                </a:ext>
              </a:extLst>
            </p:cNvPr>
            <p:cNvSpPr>
              <a:spLocks/>
            </p:cNvSpPr>
            <p:nvPr/>
          </p:nvSpPr>
          <p:spPr bwMode="auto">
            <a:xfrm>
              <a:off x="3931254" y="4006384"/>
              <a:ext cx="66591" cy="39954"/>
            </a:xfrm>
            <a:custGeom>
              <a:avLst/>
              <a:gdLst/>
              <a:ahLst/>
              <a:cxnLst>
                <a:cxn ang="0">
                  <a:pos x="24" y="26"/>
                </a:cxn>
                <a:cxn ang="0">
                  <a:pos x="24" y="26"/>
                </a:cxn>
                <a:cxn ang="0">
                  <a:pos x="31" y="20"/>
                </a:cxn>
                <a:cxn ang="0">
                  <a:pos x="34" y="17"/>
                </a:cxn>
                <a:cxn ang="0">
                  <a:pos x="37" y="17"/>
                </a:cxn>
                <a:cxn ang="0">
                  <a:pos x="37" y="17"/>
                </a:cxn>
                <a:cxn ang="0">
                  <a:pos x="38" y="17"/>
                </a:cxn>
                <a:cxn ang="0">
                  <a:pos x="41" y="17"/>
                </a:cxn>
                <a:cxn ang="0">
                  <a:pos x="43" y="14"/>
                </a:cxn>
                <a:cxn ang="0">
                  <a:pos x="43" y="14"/>
                </a:cxn>
                <a:cxn ang="0">
                  <a:pos x="41" y="11"/>
                </a:cxn>
                <a:cxn ang="0">
                  <a:pos x="40" y="9"/>
                </a:cxn>
                <a:cxn ang="0">
                  <a:pos x="41" y="7"/>
                </a:cxn>
                <a:cxn ang="0">
                  <a:pos x="41" y="7"/>
                </a:cxn>
                <a:cxn ang="0">
                  <a:pos x="44" y="6"/>
                </a:cxn>
                <a:cxn ang="0">
                  <a:pos x="44" y="4"/>
                </a:cxn>
                <a:cxn ang="0">
                  <a:pos x="45" y="2"/>
                </a:cxn>
                <a:cxn ang="0">
                  <a:pos x="45" y="2"/>
                </a:cxn>
                <a:cxn ang="0">
                  <a:pos x="41" y="0"/>
                </a:cxn>
                <a:cxn ang="0">
                  <a:pos x="41" y="0"/>
                </a:cxn>
                <a:cxn ang="0">
                  <a:pos x="18" y="2"/>
                </a:cxn>
                <a:cxn ang="0">
                  <a:pos x="18" y="2"/>
                </a:cxn>
                <a:cxn ang="0">
                  <a:pos x="14" y="4"/>
                </a:cxn>
                <a:cxn ang="0">
                  <a:pos x="11" y="6"/>
                </a:cxn>
                <a:cxn ang="0">
                  <a:pos x="8" y="6"/>
                </a:cxn>
                <a:cxn ang="0">
                  <a:pos x="8" y="6"/>
                </a:cxn>
                <a:cxn ang="0">
                  <a:pos x="7" y="4"/>
                </a:cxn>
                <a:cxn ang="0">
                  <a:pos x="7" y="4"/>
                </a:cxn>
                <a:cxn ang="0">
                  <a:pos x="6" y="3"/>
                </a:cxn>
                <a:cxn ang="0">
                  <a:pos x="0" y="3"/>
                </a:cxn>
                <a:cxn ang="0">
                  <a:pos x="0" y="3"/>
                </a:cxn>
                <a:cxn ang="0">
                  <a:pos x="6" y="10"/>
                </a:cxn>
                <a:cxn ang="0">
                  <a:pos x="8" y="11"/>
                </a:cxn>
                <a:cxn ang="0">
                  <a:pos x="14" y="13"/>
                </a:cxn>
                <a:cxn ang="0">
                  <a:pos x="14" y="13"/>
                </a:cxn>
                <a:cxn ang="0">
                  <a:pos x="15" y="14"/>
                </a:cxn>
                <a:cxn ang="0">
                  <a:pos x="17" y="16"/>
                </a:cxn>
                <a:cxn ang="0">
                  <a:pos x="17" y="19"/>
                </a:cxn>
                <a:cxn ang="0">
                  <a:pos x="17" y="21"/>
                </a:cxn>
                <a:cxn ang="0">
                  <a:pos x="18" y="24"/>
                </a:cxn>
                <a:cxn ang="0">
                  <a:pos x="20" y="26"/>
                </a:cxn>
                <a:cxn ang="0">
                  <a:pos x="20" y="26"/>
                </a:cxn>
                <a:cxn ang="0">
                  <a:pos x="23" y="27"/>
                </a:cxn>
                <a:cxn ang="0">
                  <a:pos x="23" y="27"/>
                </a:cxn>
                <a:cxn ang="0">
                  <a:pos x="24" y="26"/>
                </a:cxn>
                <a:cxn ang="0">
                  <a:pos x="24" y="26"/>
                </a:cxn>
              </a:cxnLst>
              <a:rect l="0" t="0" r="r" b="b"/>
              <a:pathLst>
                <a:path w="45" h="27">
                  <a:moveTo>
                    <a:pt x="24" y="26"/>
                  </a:moveTo>
                  <a:lnTo>
                    <a:pt x="24" y="26"/>
                  </a:lnTo>
                  <a:lnTo>
                    <a:pt x="31" y="20"/>
                  </a:lnTo>
                  <a:lnTo>
                    <a:pt x="34" y="17"/>
                  </a:lnTo>
                  <a:lnTo>
                    <a:pt x="37" y="17"/>
                  </a:lnTo>
                  <a:lnTo>
                    <a:pt x="37" y="17"/>
                  </a:lnTo>
                  <a:lnTo>
                    <a:pt x="38" y="17"/>
                  </a:lnTo>
                  <a:lnTo>
                    <a:pt x="41" y="17"/>
                  </a:lnTo>
                  <a:lnTo>
                    <a:pt x="43" y="14"/>
                  </a:lnTo>
                  <a:lnTo>
                    <a:pt x="43" y="14"/>
                  </a:lnTo>
                  <a:lnTo>
                    <a:pt x="41" y="11"/>
                  </a:lnTo>
                  <a:lnTo>
                    <a:pt x="40" y="9"/>
                  </a:lnTo>
                  <a:lnTo>
                    <a:pt x="41" y="7"/>
                  </a:lnTo>
                  <a:lnTo>
                    <a:pt x="41" y="7"/>
                  </a:lnTo>
                  <a:lnTo>
                    <a:pt x="44" y="6"/>
                  </a:lnTo>
                  <a:lnTo>
                    <a:pt x="44" y="4"/>
                  </a:lnTo>
                  <a:lnTo>
                    <a:pt x="45" y="2"/>
                  </a:lnTo>
                  <a:lnTo>
                    <a:pt x="45" y="2"/>
                  </a:lnTo>
                  <a:lnTo>
                    <a:pt x="41" y="0"/>
                  </a:lnTo>
                  <a:lnTo>
                    <a:pt x="41" y="0"/>
                  </a:lnTo>
                  <a:lnTo>
                    <a:pt x="18" y="2"/>
                  </a:lnTo>
                  <a:lnTo>
                    <a:pt x="18" y="2"/>
                  </a:lnTo>
                  <a:lnTo>
                    <a:pt x="14" y="4"/>
                  </a:lnTo>
                  <a:lnTo>
                    <a:pt x="11" y="6"/>
                  </a:lnTo>
                  <a:lnTo>
                    <a:pt x="8" y="6"/>
                  </a:lnTo>
                  <a:lnTo>
                    <a:pt x="8" y="6"/>
                  </a:lnTo>
                  <a:lnTo>
                    <a:pt x="7" y="4"/>
                  </a:lnTo>
                  <a:lnTo>
                    <a:pt x="7" y="4"/>
                  </a:lnTo>
                  <a:lnTo>
                    <a:pt x="6" y="3"/>
                  </a:lnTo>
                  <a:lnTo>
                    <a:pt x="0" y="3"/>
                  </a:lnTo>
                  <a:lnTo>
                    <a:pt x="0" y="3"/>
                  </a:lnTo>
                  <a:lnTo>
                    <a:pt x="6" y="10"/>
                  </a:lnTo>
                  <a:lnTo>
                    <a:pt x="8" y="11"/>
                  </a:lnTo>
                  <a:lnTo>
                    <a:pt x="14" y="13"/>
                  </a:lnTo>
                  <a:lnTo>
                    <a:pt x="14" y="13"/>
                  </a:lnTo>
                  <a:lnTo>
                    <a:pt x="15" y="14"/>
                  </a:lnTo>
                  <a:lnTo>
                    <a:pt x="17" y="16"/>
                  </a:lnTo>
                  <a:lnTo>
                    <a:pt x="17" y="19"/>
                  </a:lnTo>
                  <a:lnTo>
                    <a:pt x="17" y="21"/>
                  </a:lnTo>
                  <a:lnTo>
                    <a:pt x="18" y="24"/>
                  </a:lnTo>
                  <a:lnTo>
                    <a:pt x="20" y="26"/>
                  </a:lnTo>
                  <a:lnTo>
                    <a:pt x="20" y="26"/>
                  </a:lnTo>
                  <a:lnTo>
                    <a:pt x="23" y="27"/>
                  </a:lnTo>
                  <a:lnTo>
                    <a:pt x="23" y="27"/>
                  </a:lnTo>
                  <a:lnTo>
                    <a:pt x="24" y="26"/>
                  </a:lnTo>
                  <a:lnTo>
                    <a:pt x="24" y="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1" name="Freeform 207">
              <a:extLst>
                <a:ext uri="{FF2B5EF4-FFF2-40B4-BE49-F238E27FC236}">
                  <a16:creationId xmlns:a16="http://schemas.microsoft.com/office/drawing/2014/main" id="{A7E7B5E3-4890-B647-A4C6-9C7A9CE629B6}"/>
                </a:ext>
              </a:extLst>
            </p:cNvPr>
            <p:cNvSpPr>
              <a:spLocks/>
            </p:cNvSpPr>
            <p:nvPr/>
          </p:nvSpPr>
          <p:spPr bwMode="auto">
            <a:xfrm>
              <a:off x="4665227" y="4044859"/>
              <a:ext cx="292998" cy="204210"/>
            </a:xfrm>
            <a:custGeom>
              <a:avLst/>
              <a:gdLst/>
              <a:ahLst/>
              <a:cxnLst>
                <a:cxn ang="0">
                  <a:pos x="182" y="72"/>
                </a:cxn>
                <a:cxn ang="0">
                  <a:pos x="177" y="67"/>
                </a:cxn>
                <a:cxn ang="0">
                  <a:pos x="167" y="58"/>
                </a:cxn>
                <a:cxn ang="0">
                  <a:pos x="165" y="54"/>
                </a:cxn>
                <a:cxn ang="0">
                  <a:pos x="157" y="44"/>
                </a:cxn>
                <a:cxn ang="0">
                  <a:pos x="145" y="37"/>
                </a:cxn>
                <a:cxn ang="0">
                  <a:pos x="137" y="34"/>
                </a:cxn>
                <a:cxn ang="0">
                  <a:pos x="140" y="30"/>
                </a:cxn>
                <a:cxn ang="0">
                  <a:pos x="143" y="22"/>
                </a:cxn>
                <a:cxn ang="0">
                  <a:pos x="134" y="8"/>
                </a:cxn>
                <a:cxn ang="0">
                  <a:pos x="125" y="0"/>
                </a:cxn>
                <a:cxn ang="0">
                  <a:pos x="118" y="1"/>
                </a:cxn>
                <a:cxn ang="0">
                  <a:pos x="110" y="7"/>
                </a:cxn>
                <a:cxn ang="0">
                  <a:pos x="108" y="13"/>
                </a:cxn>
                <a:cxn ang="0">
                  <a:pos x="93" y="30"/>
                </a:cxn>
                <a:cxn ang="0">
                  <a:pos x="89" y="32"/>
                </a:cxn>
                <a:cxn ang="0">
                  <a:pos x="70" y="34"/>
                </a:cxn>
                <a:cxn ang="0">
                  <a:pos x="69" y="38"/>
                </a:cxn>
                <a:cxn ang="0">
                  <a:pos x="70" y="42"/>
                </a:cxn>
                <a:cxn ang="0">
                  <a:pos x="56" y="50"/>
                </a:cxn>
                <a:cxn ang="0">
                  <a:pos x="37" y="55"/>
                </a:cxn>
                <a:cxn ang="0">
                  <a:pos x="34" y="57"/>
                </a:cxn>
                <a:cxn ang="0">
                  <a:pos x="29" y="54"/>
                </a:cxn>
                <a:cxn ang="0">
                  <a:pos x="24" y="58"/>
                </a:cxn>
                <a:cxn ang="0">
                  <a:pos x="19" y="59"/>
                </a:cxn>
                <a:cxn ang="0">
                  <a:pos x="17" y="57"/>
                </a:cxn>
                <a:cxn ang="0">
                  <a:pos x="9" y="67"/>
                </a:cxn>
                <a:cxn ang="0">
                  <a:pos x="2" y="81"/>
                </a:cxn>
                <a:cxn ang="0">
                  <a:pos x="2" y="89"/>
                </a:cxn>
                <a:cxn ang="0">
                  <a:pos x="5" y="104"/>
                </a:cxn>
                <a:cxn ang="0">
                  <a:pos x="9" y="112"/>
                </a:cxn>
                <a:cxn ang="0">
                  <a:pos x="10" y="119"/>
                </a:cxn>
                <a:cxn ang="0">
                  <a:pos x="19" y="129"/>
                </a:cxn>
                <a:cxn ang="0">
                  <a:pos x="24" y="135"/>
                </a:cxn>
                <a:cxn ang="0">
                  <a:pos x="27" y="138"/>
                </a:cxn>
                <a:cxn ang="0">
                  <a:pos x="30" y="132"/>
                </a:cxn>
                <a:cxn ang="0">
                  <a:pos x="40" y="122"/>
                </a:cxn>
                <a:cxn ang="0">
                  <a:pos x="60" y="111"/>
                </a:cxn>
                <a:cxn ang="0">
                  <a:pos x="71" y="99"/>
                </a:cxn>
                <a:cxn ang="0">
                  <a:pos x="77" y="98"/>
                </a:cxn>
                <a:cxn ang="0">
                  <a:pos x="90" y="106"/>
                </a:cxn>
                <a:cxn ang="0">
                  <a:pos x="123" y="108"/>
                </a:cxn>
                <a:cxn ang="0">
                  <a:pos x="125" y="102"/>
                </a:cxn>
                <a:cxn ang="0">
                  <a:pos x="135" y="102"/>
                </a:cxn>
                <a:cxn ang="0">
                  <a:pos x="145" y="99"/>
                </a:cxn>
                <a:cxn ang="0">
                  <a:pos x="155" y="96"/>
                </a:cxn>
                <a:cxn ang="0">
                  <a:pos x="168" y="95"/>
                </a:cxn>
                <a:cxn ang="0">
                  <a:pos x="172" y="92"/>
                </a:cxn>
                <a:cxn ang="0">
                  <a:pos x="198" y="95"/>
                </a:cxn>
                <a:cxn ang="0">
                  <a:pos x="188" y="82"/>
                </a:cxn>
                <a:cxn ang="0">
                  <a:pos x="182" y="77"/>
                </a:cxn>
              </a:cxnLst>
              <a:rect l="0" t="0" r="r" b="b"/>
              <a:pathLst>
                <a:path w="198" h="138">
                  <a:moveTo>
                    <a:pt x="182" y="77"/>
                  </a:moveTo>
                  <a:lnTo>
                    <a:pt x="182" y="77"/>
                  </a:lnTo>
                  <a:lnTo>
                    <a:pt x="182" y="72"/>
                  </a:lnTo>
                  <a:lnTo>
                    <a:pt x="181" y="69"/>
                  </a:lnTo>
                  <a:lnTo>
                    <a:pt x="177" y="67"/>
                  </a:lnTo>
                  <a:lnTo>
                    <a:pt x="177" y="67"/>
                  </a:lnTo>
                  <a:lnTo>
                    <a:pt x="170" y="61"/>
                  </a:lnTo>
                  <a:lnTo>
                    <a:pt x="168" y="59"/>
                  </a:lnTo>
                  <a:lnTo>
                    <a:pt x="167" y="58"/>
                  </a:lnTo>
                  <a:lnTo>
                    <a:pt x="167" y="58"/>
                  </a:lnTo>
                  <a:lnTo>
                    <a:pt x="167" y="55"/>
                  </a:lnTo>
                  <a:lnTo>
                    <a:pt x="165" y="54"/>
                  </a:lnTo>
                  <a:lnTo>
                    <a:pt x="160" y="48"/>
                  </a:lnTo>
                  <a:lnTo>
                    <a:pt x="160" y="48"/>
                  </a:lnTo>
                  <a:lnTo>
                    <a:pt x="157" y="44"/>
                  </a:lnTo>
                  <a:lnTo>
                    <a:pt x="153" y="42"/>
                  </a:lnTo>
                  <a:lnTo>
                    <a:pt x="147" y="41"/>
                  </a:lnTo>
                  <a:lnTo>
                    <a:pt x="145" y="37"/>
                  </a:lnTo>
                  <a:lnTo>
                    <a:pt x="138" y="35"/>
                  </a:lnTo>
                  <a:lnTo>
                    <a:pt x="138" y="35"/>
                  </a:lnTo>
                  <a:lnTo>
                    <a:pt x="137" y="34"/>
                  </a:lnTo>
                  <a:lnTo>
                    <a:pt x="138" y="32"/>
                  </a:lnTo>
                  <a:lnTo>
                    <a:pt x="140" y="30"/>
                  </a:lnTo>
                  <a:lnTo>
                    <a:pt x="140" y="30"/>
                  </a:lnTo>
                  <a:lnTo>
                    <a:pt x="143" y="28"/>
                  </a:lnTo>
                  <a:lnTo>
                    <a:pt x="143" y="27"/>
                  </a:lnTo>
                  <a:lnTo>
                    <a:pt x="143" y="22"/>
                  </a:lnTo>
                  <a:lnTo>
                    <a:pt x="140" y="15"/>
                  </a:lnTo>
                  <a:lnTo>
                    <a:pt x="140" y="15"/>
                  </a:lnTo>
                  <a:lnTo>
                    <a:pt x="134" y="8"/>
                  </a:lnTo>
                  <a:lnTo>
                    <a:pt x="128" y="1"/>
                  </a:lnTo>
                  <a:lnTo>
                    <a:pt x="128" y="1"/>
                  </a:lnTo>
                  <a:lnTo>
                    <a:pt x="125" y="0"/>
                  </a:lnTo>
                  <a:lnTo>
                    <a:pt x="125" y="0"/>
                  </a:lnTo>
                  <a:lnTo>
                    <a:pt x="123" y="0"/>
                  </a:lnTo>
                  <a:lnTo>
                    <a:pt x="118" y="1"/>
                  </a:lnTo>
                  <a:lnTo>
                    <a:pt x="113" y="5"/>
                  </a:lnTo>
                  <a:lnTo>
                    <a:pt x="113" y="5"/>
                  </a:lnTo>
                  <a:lnTo>
                    <a:pt x="110" y="7"/>
                  </a:lnTo>
                  <a:lnTo>
                    <a:pt x="110" y="10"/>
                  </a:lnTo>
                  <a:lnTo>
                    <a:pt x="110" y="11"/>
                  </a:lnTo>
                  <a:lnTo>
                    <a:pt x="108" y="13"/>
                  </a:lnTo>
                  <a:lnTo>
                    <a:pt x="108" y="13"/>
                  </a:lnTo>
                  <a:lnTo>
                    <a:pt x="101" y="20"/>
                  </a:lnTo>
                  <a:lnTo>
                    <a:pt x="93" y="30"/>
                  </a:lnTo>
                  <a:lnTo>
                    <a:pt x="93" y="30"/>
                  </a:lnTo>
                  <a:lnTo>
                    <a:pt x="91" y="31"/>
                  </a:lnTo>
                  <a:lnTo>
                    <a:pt x="89" y="32"/>
                  </a:lnTo>
                  <a:lnTo>
                    <a:pt x="81" y="32"/>
                  </a:lnTo>
                  <a:lnTo>
                    <a:pt x="74" y="32"/>
                  </a:lnTo>
                  <a:lnTo>
                    <a:pt x="70" y="34"/>
                  </a:lnTo>
                  <a:lnTo>
                    <a:pt x="70" y="34"/>
                  </a:lnTo>
                  <a:lnTo>
                    <a:pt x="69" y="35"/>
                  </a:lnTo>
                  <a:lnTo>
                    <a:pt x="69" y="38"/>
                  </a:lnTo>
                  <a:lnTo>
                    <a:pt x="70" y="41"/>
                  </a:lnTo>
                  <a:lnTo>
                    <a:pt x="70" y="42"/>
                  </a:lnTo>
                  <a:lnTo>
                    <a:pt x="70" y="42"/>
                  </a:lnTo>
                  <a:lnTo>
                    <a:pt x="63" y="47"/>
                  </a:lnTo>
                  <a:lnTo>
                    <a:pt x="56" y="50"/>
                  </a:lnTo>
                  <a:lnTo>
                    <a:pt x="56" y="50"/>
                  </a:lnTo>
                  <a:lnTo>
                    <a:pt x="46" y="51"/>
                  </a:lnTo>
                  <a:lnTo>
                    <a:pt x="42" y="52"/>
                  </a:lnTo>
                  <a:lnTo>
                    <a:pt x="37" y="55"/>
                  </a:lnTo>
                  <a:lnTo>
                    <a:pt x="37" y="55"/>
                  </a:lnTo>
                  <a:lnTo>
                    <a:pt x="36" y="57"/>
                  </a:lnTo>
                  <a:lnTo>
                    <a:pt x="34" y="57"/>
                  </a:lnTo>
                  <a:lnTo>
                    <a:pt x="33" y="55"/>
                  </a:lnTo>
                  <a:lnTo>
                    <a:pt x="30" y="54"/>
                  </a:lnTo>
                  <a:lnTo>
                    <a:pt x="29" y="54"/>
                  </a:lnTo>
                  <a:lnTo>
                    <a:pt x="27" y="55"/>
                  </a:lnTo>
                  <a:lnTo>
                    <a:pt x="27" y="55"/>
                  </a:lnTo>
                  <a:lnTo>
                    <a:pt x="24" y="58"/>
                  </a:lnTo>
                  <a:lnTo>
                    <a:pt x="22" y="59"/>
                  </a:lnTo>
                  <a:lnTo>
                    <a:pt x="20" y="59"/>
                  </a:lnTo>
                  <a:lnTo>
                    <a:pt x="19" y="59"/>
                  </a:lnTo>
                  <a:lnTo>
                    <a:pt x="19" y="59"/>
                  </a:lnTo>
                  <a:lnTo>
                    <a:pt x="17" y="57"/>
                  </a:lnTo>
                  <a:lnTo>
                    <a:pt x="17" y="57"/>
                  </a:lnTo>
                  <a:lnTo>
                    <a:pt x="12" y="62"/>
                  </a:lnTo>
                  <a:lnTo>
                    <a:pt x="9" y="67"/>
                  </a:lnTo>
                  <a:lnTo>
                    <a:pt x="9" y="67"/>
                  </a:lnTo>
                  <a:lnTo>
                    <a:pt x="6" y="72"/>
                  </a:lnTo>
                  <a:lnTo>
                    <a:pt x="5" y="77"/>
                  </a:lnTo>
                  <a:lnTo>
                    <a:pt x="2" y="81"/>
                  </a:lnTo>
                  <a:lnTo>
                    <a:pt x="0" y="84"/>
                  </a:lnTo>
                  <a:lnTo>
                    <a:pt x="0" y="84"/>
                  </a:lnTo>
                  <a:lnTo>
                    <a:pt x="2" y="89"/>
                  </a:lnTo>
                  <a:lnTo>
                    <a:pt x="3" y="96"/>
                  </a:lnTo>
                  <a:lnTo>
                    <a:pt x="3" y="96"/>
                  </a:lnTo>
                  <a:lnTo>
                    <a:pt x="5" y="104"/>
                  </a:lnTo>
                  <a:lnTo>
                    <a:pt x="7" y="109"/>
                  </a:lnTo>
                  <a:lnTo>
                    <a:pt x="7" y="109"/>
                  </a:lnTo>
                  <a:lnTo>
                    <a:pt x="9" y="112"/>
                  </a:lnTo>
                  <a:lnTo>
                    <a:pt x="10" y="115"/>
                  </a:lnTo>
                  <a:lnTo>
                    <a:pt x="10" y="119"/>
                  </a:lnTo>
                  <a:lnTo>
                    <a:pt x="10" y="119"/>
                  </a:lnTo>
                  <a:lnTo>
                    <a:pt x="13" y="123"/>
                  </a:lnTo>
                  <a:lnTo>
                    <a:pt x="13" y="123"/>
                  </a:lnTo>
                  <a:lnTo>
                    <a:pt x="19" y="129"/>
                  </a:lnTo>
                  <a:lnTo>
                    <a:pt x="22" y="132"/>
                  </a:lnTo>
                  <a:lnTo>
                    <a:pt x="24" y="135"/>
                  </a:lnTo>
                  <a:lnTo>
                    <a:pt x="24" y="135"/>
                  </a:lnTo>
                  <a:lnTo>
                    <a:pt x="24" y="136"/>
                  </a:lnTo>
                  <a:lnTo>
                    <a:pt x="27" y="138"/>
                  </a:lnTo>
                  <a:lnTo>
                    <a:pt x="27" y="138"/>
                  </a:lnTo>
                  <a:lnTo>
                    <a:pt x="27" y="135"/>
                  </a:lnTo>
                  <a:lnTo>
                    <a:pt x="27" y="135"/>
                  </a:lnTo>
                  <a:lnTo>
                    <a:pt x="30" y="132"/>
                  </a:lnTo>
                  <a:lnTo>
                    <a:pt x="30" y="128"/>
                  </a:lnTo>
                  <a:lnTo>
                    <a:pt x="30" y="123"/>
                  </a:lnTo>
                  <a:lnTo>
                    <a:pt x="40" y="122"/>
                  </a:lnTo>
                  <a:lnTo>
                    <a:pt x="46" y="119"/>
                  </a:lnTo>
                  <a:lnTo>
                    <a:pt x="60" y="122"/>
                  </a:lnTo>
                  <a:lnTo>
                    <a:pt x="60" y="111"/>
                  </a:lnTo>
                  <a:lnTo>
                    <a:pt x="60" y="111"/>
                  </a:lnTo>
                  <a:lnTo>
                    <a:pt x="66" y="105"/>
                  </a:lnTo>
                  <a:lnTo>
                    <a:pt x="71" y="99"/>
                  </a:lnTo>
                  <a:lnTo>
                    <a:pt x="74" y="98"/>
                  </a:lnTo>
                  <a:lnTo>
                    <a:pt x="77" y="98"/>
                  </a:lnTo>
                  <a:lnTo>
                    <a:pt x="77" y="98"/>
                  </a:lnTo>
                  <a:lnTo>
                    <a:pt x="81" y="99"/>
                  </a:lnTo>
                  <a:lnTo>
                    <a:pt x="86" y="102"/>
                  </a:lnTo>
                  <a:lnTo>
                    <a:pt x="90" y="106"/>
                  </a:lnTo>
                  <a:lnTo>
                    <a:pt x="121" y="114"/>
                  </a:lnTo>
                  <a:lnTo>
                    <a:pt x="121" y="114"/>
                  </a:lnTo>
                  <a:lnTo>
                    <a:pt x="123" y="108"/>
                  </a:lnTo>
                  <a:lnTo>
                    <a:pt x="124" y="105"/>
                  </a:lnTo>
                  <a:lnTo>
                    <a:pt x="125" y="102"/>
                  </a:lnTo>
                  <a:lnTo>
                    <a:pt x="125" y="102"/>
                  </a:lnTo>
                  <a:lnTo>
                    <a:pt x="128" y="101"/>
                  </a:lnTo>
                  <a:lnTo>
                    <a:pt x="131" y="102"/>
                  </a:lnTo>
                  <a:lnTo>
                    <a:pt x="135" y="102"/>
                  </a:lnTo>
                  <a:lnTo>
                    <a:pt x="138" y="102"/>
                  </a:lnTo>
                  <a:lnTo>
                    <a:pt x="138" y="102"/>
                  </a:lnTo>
                  <a:lnTo>
                    <a:pt x="145" y="99"/>
                  </a:lnTo>
                  <a:lnTo>
                    <a:pt x="150" y="98"/>
                  </a:lnTo>
                  <a:lnTo>
                    <a:pt x="155" y="96"/>
                  </a:lnTo>
                  <a:lnTo>
                    <a:pt x="155" y="96"/>
                  </a:lnTo>
                  <a:lnTo>
                    <a:pt x="162" y="98"/>
                  </a:lnTo>
                  <a:lnTo>
                    <a:pt x="165" y="98"/>
                  </a:lnTo>
                  <a:lnTo>
                    <a:pt x="168" y="95"/>
                  </a:lnTo>
                  <a:lnTo>
                    <a:pt x="168" y="95"/>
                  </a:lnTo>
                  <a:lnTo>
                    <a:pt x="170" y="94"/>
                  </a:lnTo>
                  <a:lnTo>
                    <a:pt x="172" y="92"/>
                  </a:lnTo>
                  <a:lnTo>
                    <a:pt x="178" y="94"/>
                  </a:lnTo>
                  <a:lnTo>
                    <a:pt x="185" y="96"/>
                  </a:lnTo>
                  <a:lnTo>
                    <a:pt x="198" y="95"/>
                  </a:lnTo>
                  <a:lnTo>
                    <a:pt x="194" y="85"/>
                  </a:lnTo>
                  <a:lnTo>
                    <a:pt x="194" y="85"/>
                  </a:lnTo>
                  <a:lnTo>
                    <a:pt x="188" y="82"/>
                  </a:lnTo>
                  <a:lnTo>
                    <a:pt x="185" y="79"/>
                  </a:lnTo>
                  <a:lnTo>
                    <a:pt x="182" y="77"/>
                  </a:lnTo>
                  <a:lnTo>
                    <a:pt x="182" y="7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2" name="Freeform 208">
              <a:extLst>
                <a:ext uri="{FF2B5EF4-FFF2-40B4-BE49-F238E27FC236}">
                  <a16:creationId xmlns:a16="http://schemas.microsoft.com/office/drawing/2014/main" id="{2E963D9F-42E1-DA46-A6A5-1C692399DB5F}"/>
                </a:ext>
              </a:extLst>
            </p:cNvPr>
            <p:cNvSpPr>
              <a:spLocks/>
            </p:cNvSpPr>
            <p:nvPr/>
          </p:nvSpPr>
          <p:spPr bwMode="auto">
            <a:xfrm>
              <a:off x="4389987" y="3979748"/>
              <a:ext cx="279679" cy="226408"/>
            </a:xfrm>
            <a:custGeom>
              <a:avLst/>
              <a:gdLst/>
              <a:ahLst/>
              <a:cxnLst>
                <a:cxn ang="0">
                  <a:pos x="121" y="112"/>
                </a:cxn>
                <a:cxn ang="0">
                  <a:pos x="127" y="111"/>
                </a:cxn>
                <a:cxn ang="0">
                  <a:pos x="137" y="115"/>
                </a:cxn>
                <a:cxn ang="0">
                  <a:pos x="139" y="121"/>
                </a:cxn>
                <a:cxn ang="0">
                  <a:pos x="145" y="112"/>
                </a:cxn>
                <a:cxn ang="0">
                  <a:pos x="156" y="88"/>
                </a:cxn>
                <a:cxn ang="0">
                  <a:pos x="161" y="82"/>
                </a:cxn>
                <a:cxn ang="0">
                  <a:pos x="164" y="78"/>
                </a:cxn>
                <a:cxn ang="0">
                  <a:pos x="166" y="69"/>
                </a:cxn>
                <a:cxn ang="0">
                  <a:pos x="169" y="65"/>
                </a:cxn>
                <a:cxn ang="0">
                  <a:pos x="171" y="55"/>
                </a:cxn>
                <a:cxn ang="0">
                  <a:pos x="179" y="41"/>
                </a:cxn>
                <a:cxn ang="0">
                  <a:pos x="186" y="38"/>
                </a:cxn>
                <a:cxn ang="0">
                  <a:pos x="189" y="29"/>
                </a:cxn>
                <a:cxn ang="0">
                  <a:pos x="188" y="27"/>
                </a:cxn>
                <a:cxn ang="0">
                  <a:pos x="181" y="20"/>
                </a:cxn>
                <a:cxn ang="0">
                  <a:pos x="182" y="11"/>
                </a:cxn>
                <a:cxn ang="0">
                  <a:pos x="176" y="4"/>
                </a:cxn>
                <a:cxn ang="0">
                  <a:pos x="172" y="1"/>
                </a:cxn>
                <a:cxn ang="0">
                  <a:pos x="168" y="2"/>
                </a:cxn>
                <a:cxn ang="0">
                  <a:pos x="159" y="11"/>
                </a:cxn>
                <a:cxn ang="0">
                  <a:pos x="151" y="11"/>
                </a:cxn>
                <a:cxn ang="0">
                  <a:pos x="142" y="7"/>
                </a:cxn>
                <a:cxn ang="0">
                  <a:pos x="125" y="8"/>
                </a:cxn>
                <a:cxn ang="0">
                  <a:pos x="114" y="15"/>
                </a:cxn>
                <a:cxn ang="0">
                  <a:pos x="105" y="17"/>
                </a:cxn>
                <a:cxn ang="0">
                  <a:pos x="91" y="11"/>
                </a:cxn>
                <a:cxn ang="0">
                  <a:pos x="85" y="8"/>
                </a:cxn>
                <a:cxn ang="0">
                  <a:pos x="72" y="12"/>
                </a:cxn>
                <a:cxn ang="0">
                  <a:pos x="67" y="11"/>
                </a:cxn>
                <a:cxn ang="0">
                  <a:pos x="60" y="2"/>
                </a:cxn>
                <a:cxn ang="0">
                  <a:pos x="50" y="0"/>
                </a:cxn>
                <a:cxn ang="0">
                  <a:pos x="45" y="1"/>
                </a:cxn>
                <a:cxn ang="0">
                  <a:pos x="41" y="4"/>
                </a:cxn>
                <a:cxn ang="0">
                  <a:pos x="26" y="4"/>
                </a:cxn>
                <a:cxn ang="0">
                  <a:pos x="23" y="10"/>
                </a:cxn>
                <a:cxn ang="0">
                  <a:pos x="18" y="21"/>
                </a:cxn>
                <a:cxn ang="0">
                  <a:pos x="16" y="28"/>
                </a:cxn>
                <a:cxn ang="0">
                  <a:pos x="13" y="31"/>
                </a:cxn>
                <a:cxn ang="0">
                  <a:pos x="16" y="52"/>
                </a:cxn>
                <a:cxn ang="0">
                  <a:pos x="13" y="64"/>
                </a:cxn>
                <a:cxn ang="0">
                  <a:pos x="7" y="74"/>
                </a:cxn>
                <a:cxn ang="0">
                  <a:pos x="0" y="85"/>
                </a:cxn>
                <a:cxn ang="0">
                  <a:pos x="1" y="103"/>
                </a:cxn>
                <a:cxn ang="0">
                  <a:pos x="3" y="111"/>
                </a:cxn>
                <a:cxn ang="0">
                  <a:pos x="6" y="116"/>
                </a:cxn>
                <a:cxn ang="0">
                  <a:pos x="16" y="121"/>
                </a:cxn>
                <a:cxn ang="0">
                  <a:pos x="36" y="126"/>
                </a:cxn>
                <a:cxn ang="0">
                  <a:pos x="45" y="139"/>
                </a:cxn>
                <a:cxn ang="0">
                  <a:pos x="48" y="148"/>
                </a:cxn>
                <a:cxn ang="0">
                  <a:pos x="54" y="153"/>
                </a:cxn>
                <a:cxn ang="0">
                  <a:pos x="67" y="150"/>
                </a:cxn>
                <a:cxn ang="0">
                  <a:pos x="81" y="149"/>
                </a:cxn>
                <a:cxn ang="0">
                  <a:pos x="91" y="148"/>
                </a:cxn>
                <a:cxn ang="0">
                  <a:pos x="94" y="148"/>
                </a:cxn>
                <a:cxn ang="0">
                  <a:pos x="98" y="131"/>
                </a:cxn>
                <a:cxn ang="0">
                  <a:pos x="117" y="112"/>
                </a:cxn>
              </a:cxnLst>
              <a:rect l="0" t="0" r="r" b="b"/>
              <a:pathLst>
                <a:path w="189" h="153">
                  <a:moveTo>
                    <a:pt x="117" y="112"/>
                  </a:moveTo>
                  <a:lnTo>
                    <a:pt x="117" y="112"/>
                  </a:lnTo>
                  <a:lnTo>
                    <a:pt x="121" y="112"/>
                  </a:lnTo>
                  <a:lnTo>
                    <a:pt x="124" y="112"/>
                  </a:lnTo>
                  <a:lnTo>
                    <a:pt x="127" y="111"/>
                  </a:lnTo>
                  <a:lnTo>
                    <a:pt x="127" y="111"/>
                  </a:lnTo>
                  <a:lnTo>
                    <a:pt x="129" y="111"/>
                  </a:lnTo>
                  <a:lnTo>
                    <a:pt x="132" y="112"/>
                  </a:lnTo>
                  <a:lnTo>
                    <a:pt x="137" y="115"/>
                  </a:lnTo>
                  <a:lnTo>
                    <a:pt x="138" y="119"/>
                  </a:lnTo>
                  <a:lnTo>
                    <a:pt x="138" y="119"/>
                  </a:lnTo>
                  <a:lnTo>
                    <a:pt x="139" y="121"/>
                  </a:lnTo>
                  <a:lnTo>
                    <a:pt x="141" y="119"/>
                  </a:lnTo>
                  <a:lnTo>
                    <a:pt x="145" y="112"/>
                  </a:lnTo>
                  <a:lnTo>
                    <a:pt x="145" y="112"/>
                  </a:lnTo>
                  <a:lnTo>
                    <a:pt x="151" y="99"/>
                  </a:lnTo>
                  <a:lnTo>
                    <a:pt x="155" y="92"/>
                  </a:lnTo>
                  <a:lnTo>
                    <a:pt x="156" y="88"/>
                  </a:lnTo>
                  <a:lnTo>
                    <a:pt x="156" y="88"/>
                  </a:lnTo>
                  <a:lnTo>
                    <a:pt x="158" y="85"/>
                  </a:lnTo>
                  <a:lnTo>
                    <a:pt x="161" y="82"/>
                  </a:lnTo>
                  <a:lnTo>
                    <a:pt x="162" y="79"/>
                  </a:lnTo>
                  <a:lnTo>
                    <a:pt x="164" y="78"/>
                  </a:lnTo>
                  <a:lnTo>
                    <a:pt x="164" y="78"/>
                  </a:lnTo>
                  <a:lnTo>
                    <a:pt x="164" y="74"/>
                  </a:lnTo>
                  <a:lnTo>
                    <a:pt x="165" y="71"/>
                  </a:lnTo>
                  <a:lnTo>
                    <a:pt x="166" y="69"/>
                  </a:lnTo>
                  <a:lnTo>
                    <a:pt x="166" y="69"/>
                  </a:lnTo>
                  <a:lnTo>
                    <a:pt x="168" y="68"/>
                  </a:lnTo>
                  <a:lnTo>
                    <a:pt x="169" y="65"/>
                  </a:lnTo>
                  <a:lnTo>
                    <a:pt x="169" y="59"/>
                  </a:lnTo>
                  <a:lnTo>
                    <a:pt x="169" y="59"/>
                  </a:lnTo>
                  <a:lnTo>
                    <a:pt x="171" y="55"/>
                  </a:lnTo>
                  <a:lnTo>
                    <a:pt x="174" y="49"/>
                  </a:lnTo>
                  <a:lnTo>
                    <a:pt x="179" y="41"/>
                  </a:lnTo>
                  <a:lnTo>
                    <a:pt x="179" y="41"/>
                  </a:lnTo>
                  <a:lnTo>
                    <a:pt x="181" y="41"/>
                  </a:lnTo>
                  <a:lnTo>
                    <a:pt x="183" y="39"/>
                  </a:lnTo>
                  <a:lnTo>
                    <a:pt x="186" y="38"/>
                  </a:lnTo>
                  <a:lnTo>
                    <a:pt x="189" y="37"/>
                  </a:lnTo>
                  <a:lnTo>
                    <a:pt x="189" y="37"/>
                  </a:lnTo>
                  <a:lnTo>
                    <a:pt x="189" y="29"/>
                  </a:lnTo>
                  <a:lnTo>
                    <a:pt x="189" y="28"/>
                  </a:lnTo>
                  <a:lnTo>
                    <a:pt x="188" y="27"/>
                  </a:lnTo>
                  <a:lnTo>
                    <a:pt x="188" y="27"/>
                  </a:lnTo>
                  <a:lnTo>
                    <a:pt x="183" y="24"/>
                  </a:lnTo>
                  <a:lnTo>
                    <a:pt x="182" y="21"/>
                  </a:lnTo>
                  <a:lnTo>
                    <a:pt x="181" y="20"/>
                  </a:lnTo>
                  <a:lnTo>
                    <a:pt x="181" y="20"/>
                  </a:lnTo>
                  <a:lnTo>
                    <a:pt x="182" y="11"/>
                  </a:lnTo>
                  <a:lnTo>
                    <a:pt x="182" y="11"/>
                  </a:lnTo>
                  <a:lnTo>
                    <a:pt x="179" y="10"/>
                  </a:lnTo>
                  <a:lnTo>
                    <a:pt x="178" y="8"/>
                  </a:lnTo>
                  <a:lnTo>
                    <a:pt x="176" y="4"/>
                  </a:lnTo>
                  <a:lnTo>
                    <a:pt x="176" y="4"/>
                  </a:lnTo>
                  <a:lnTo>
                    <a:pt x="174" y="1"/>
                  </a:lnTo>
                  <a:lnTo>
                    <a:pt x="172" y="1"/>
                  </a:lnTo>
                  <a:lnTo>
                    <a:pt x="171" y="1"/>
                  </a:lnTo>
                  <a:lnTo>
                    <a:pt x="171" y="1"/>
                  </a:lnTo>
                  <a:lnTo>
                    <a:pt x="168" y="2"/>
                  </a:lnTo>
                  <a:lnTo>
                    <a:pt x="165" y="5"/>
                  </a:lnTo>
                  <a:lnTo>
                    <a:pt x="162" y="10"/>
                  </a:lnTo>
                  <a:lnTo>
                    <a:pt x="159" y="11"/>
                  </a:lnTo>
                  <a:lnTo>
                    <a:pt x="159" y="11"/>
                  </a:lnTo>
                  <a:lnTo>
                    <a:pt x="155" y="11"/>
                  </a:lnTo>
                  <a:lnTo>
                    <a:pt x="151" y="11"/>
                  </a:lnTo>
                  <a:lnTo>
                    <a:pt x="145" y="8"/>
                  </a:lnTo>
                  <a:lnTo>
                    <a:pt x="145" y="8"/>
                  </a:lnTo>
                  <a:lnTo>
                    <a:pt x="142" y="7"/>
                  </a:lnTo>
                  <a:lnTo>
                    <a:pt x="135" y="7"/>
                  </a:lnTo>
                  <a:lnTo>
                    <a:pt x="125" y="8"/>
                  </a:lnTo>
                  <a:lnTo>
                    <a:pt x="125" y="8"/>
                  </a:lnTo>
                  <a:lnTo>
                    <a:pt x="122" y="8"/>
                  </a:lnTo>
                  <a:lnTo>
                    <a:pt x="118" y="11"/>
                  </a:lnTo>
                  <a:lnTo>
                    <a:pt x="114" y="15"/>
                  </a:lnTo>
                  <a:lnTo>
                    <a:pt x="114" y="15"/>
                  </a:lnTo>
                  <a:lnTo>
                    <a:pt x="109" y="17"/>
                  </a:lnTo>
                  <a:lnTo>
                    <a:pt x="105" y="17"/>
                  </a:lnTo>
                  <a:lnTo>
                    <a:pt x="98" y="15"/>
                  </a:lnTo>
                  <a:lnTo>
                    <a:pt x="98" y="15"/>
                  </a:lnTo>
                  <a:lnTo>
                    <a:pt x="91" y="11"/>
                  </a:lnTo>
                  <a:lnTo>
                    <a:pt x="88" y="10"/>
                  </a:lnTo>
                  <a:lnTo>
                    <a:pt x="85" y="8"/>
                  </a:lnTo>
                  <a:lnTo>
                    <a:pt x="85" y="8"/>
                  </a:lnTo>
                  <a:lnTo>
                    <a:pt x="80" y="10"/>
                  </a:lnTo>
                  <a:lnTo>
                    <a:pt x="72" y="12"/>
                  </a:lnTo>
                  <a:lnTo>
                    <a:pt x="72" y="12"/>
                  </a:lnTo>
                  <a:lnTo>
                    <a:pt x="70" y="12"/>
                  </a:lnTo>
                  <a:lnTo>
                    <a:pt x="68" y="12"/>
                  </a:lnTo>
                  <a:lnTo>
                    <a:pt x="67" y="11"/>
                  </a:lnTo>
                  <a:lnTo>
                    <a:pt x="63" y="4"/>
                  </a:lnTo>
                  <a:lnTo>
                    <a:pt x="63" y="4"/>
                  </a:lnTo>
                  <a:lnTo>
                    <a:pt x="60" y="2"/>
                  </a:lnTo>
                  <a:lnTo>
                    <a:pt x="57" y="2"/>
                  </a:lnTo>
                  <a:lnTo>
                    <a:pt x="53" y="1"/>
                  </a:lnTo>
                  <a:lnTo>
                    <a:pt x="50" y="0"/>
                  </a:lnTo>
                  <a:lnTo>
                    <a:pt x="50" y="0"/>
                  </a:lnTo>
                  <a:lnTo>
                    <a:pt x="47" y="0"/>
                  </a:lnTo>
                  <a:lnTo>
                    <a:pt x="45" y="1"/>
                  </a:lnTo>
                  <a:lnTo>
                    <a:pt x="43" y="2"/>
                  </a:lnTo>
                  <a:lnTo>
                    <a:pt x="41" y="4"/>
                  </a:lnTo>
                  <a:lnTo>
                    <a:pt x="41" y="4"/>
                  </a:lnTo>
                  <a:lnTo>
                    <a:pt x="33" y="2"/>
                  </a:lnTo>
                  <a:lnTo>
                    <a:pt x="28" y="2"/>
                  </a:lnTo>
                  <a:lnTo>
                    <a:pt x="26" y="4"/>
                  </a:lnTo>
                  <a:lnTo>
                    <a:pt x="26" y="4"/>
                  </a:lnTo>
                  <a:lnTo>
                    <a:pt x="24" y="7"/>
                  </a:lnTo>
                  <a:lnTo>
                    <a:pt x="23" y="10"/>
                  </a:lnTo>
                  <a:lnTo>
                    <a:pt x="23" y="17"/>
                  </a:lnTo>
                  <a:lnTo>
                    <a:pt x="23" y="17"/>
                  </a:lnTo>
                  <a:lnTo>
                    <a:pt x="18" y="21"/>
                  </a:lnTo>
                  <a:lnTo>
                    <a:pt x="16" y="24"/>
                  </a:lnTo>
                  <a:lnTo>
                    <a:pt x="16" y="28"/>
                  </a:lnTo>
                  <a:lnTo>
                    <a:pt x="16" y="28"/>
                  </a:lnTo>
                  <a:lnTo>
                    <a:pt x="14" y="29"/>
                  </a:lnTo>
                  <a:lnTo>
                    <a:pt x="13" y="31"/>
                  </a:lnTo>
                  <a:lnTo>
                    <a:pt x="13" y="31"/>
                  </a:lnTo>
                  <a:lnTo>
                    <a:pt x="16" y="41"/>
                  </a:lnTo>
                  <a:lnTo>
                    <a:pt x="16" y="41"/>
                  </a:lnTo>
                  <a:lnTo>
                    <a:pt x="16" y="52"/>
                  </a:lnTo>
                  <a:lnTo>
                    <a:pt x="16" y="59"/>
                  </a:lnTo>
                  <a:lnTo>
                    <a:pt x="13" y="64"/>
                  </a:lnTo>
                  <a:lnTo>
                    <a:pt x="13" y="64"/>
                  </a:lnTo>
                  <a:lnTo>
                    <a:pt x="8" y="71"/>
                  </a:lnTo>
                  <a:lnTo>
                    <a:pt x="7" y="74"/>
                  </a:lnTo>
                  <a:lnTo>
                    <a:pt x="7" y="74"/>
                  </a:lnTo>
                  <a:lnTo>
                    <a:pt x="4" y="76"/>
                  </a:lnTo>
                  <a:lnTo>
                    <a:pt x="1" y="81"/>
                  </a:lnTo>
                  <a:lnTo>
                    <a:pt x="0" y="85"/>
                  </a:lnTo>
                  <a:lnTo>
                    <a:pt x="0" y="85"/>
                  </a:lnTo>
                  <a:lnTo>
                    <a:pt x="0" y="95"/>
                  </a:lnTo>
                  <a:lnTo>
                    <a:pt x="1" y="103"/>
                  </a:lnTo>
                  <a:lnTo>
                    <a:pt x="1" y="103"/>
                  </a:lnTo>
                  <a:lnTo>
                    <a:pt x="1" y="108"/>
                  </a:lnTo>
                  <a:lnTo>
                    <a:pt x="3" y="111"/>
                  </a:lnTo>
                  <a:lnTo>
                    <a:pt x="6" y="116"/>
                  </a:lnTo>
                  <a:lnTo>
                    <a:pt x="6" y="116"/>
                  </a:lnTo>
                  <a:lnTo>
                    <a:pt x="6" y="116"/>
                  </a:lnTo>
                  <a:lnTo>
                    <a:pt x="6" y="116"/>
                  </a:lnTo>
                  <a:lnTo>
                    <a:pt x="10" y="119"/>
                  </a:lnTo>
                  <a:lnTo>
                    <a:pt x="16" y="121"/>
                  </a:lnTo>
                  <a:lnTo>
                    <a:pt x="30" y="123"/>
                  </a:lnTo>
                  <a:lnTo>
                    <a:pt x="30" y="123"/>
                  </a:lnTo>
                  <a:lnTo>
                    <a:pt x="36" y="126"/>
                  </a:lnTo>
                  <a:lnTo>
                    <a:pt x="40" y="131"/>
                  </a:lnTo>
                  <a:lnTo>
                    <a:pt x="44" y="135"/>
                  </a:lnTo>
                  <a:lnTo>
                    <a:pt x="45" y="139"/>
                  </a:lnTo>
                  <a:lnTo>
                    <a:pt x="45" y="139"/>
                  </a:lnTo>
                  <a:lnTo>
                    <a:pt x="45" y="143"/>
                  </a:lnTo>
                  <a:lnTo>
                    <a:pt x="48" y="148"/>
                  </a:lnTo>
                  <a:lnTo>
                    <a:pt x="51" y="150"/>
                  </a:lnTo>
                  <a:lnTo>
                    <a:pt x="54" y="153"/>
                  </a:lnTo>
                  <a:lnTo>
                    <a:pt x="54" y="153"/>
                  </a:lnTo>
                  <a:lnTo>
                    <a:pt x="57" y="153"/>
                  </a:lnTo>
                  <a:lnTo>
                    <a:pt x="61" y="152"/>
                  </a:lnTo>
                  <a:lnTo>
                    <a:pt x="67" y="150"/>
                  </a:lnTo>
                  <a:lnTo>
                    <a:pt x="70" y="149"/>
                  </a:lnTo>
                  <a:lnTo>
                    <a:pt x="70" y="149"/>
                  </a:lnTo>
                  <a:lnTo>
                    <a:pt x="81" y="149"/>
                  </a:lnTo>
                  <a:lnTo>
                    <a:pt x="87" y="149"/>
                  </a:lnTo>
                  <a:lnTo>
                    <a:pt x="91" y="148"/>
                  </a:lnTo>
                  <a:lnTo>
                    <a:pt x="91" y="148"/>
                  </a:lnTo>
                  <a:lnTo>
                    <a:pt x="92" y="146"/>
                  </a:lnTo>
                  <a:lnTo>
                    <a:pt x="94" y="148"/>
                  </a:lnTo>
                  <a:lnTo>
                    <a:pt x="94" y="148"/>
                  </a:lnTo>
                  <a:lnTo>
                    <a:pt x="98" y="135"/>
                  </a:lnTo>
                  <a:lnTo>
                    <a:pt x="98" y="131"/>
                  </a:lnTo>
                  <a:lnTo>
                    <a:pt x="98" y="131"/>
                  </a:lnTo>
                  <a:lnTo>
                    <a:pt x="107" y="122"/>
                  </a:lnTo>
                  <a:lnTo>
                    <a:pt x="117" y="112"/>
                  </a:lnTo>
                  <a:lnTo>
                    <a:pt x="117" y="1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3" name="Freeform 209">
              <a:extLst>
                <a:ext uri="{FF2B5EF4-FFF2-40B4-BE49-F238E27FC236}">
                  <a16:creationId xmlns:a16="http://schemas.microsoft.com/office/drawing/2014/main" id="{8F55B5F2-A13F-784B-BC91-AA9C5F55D67C}"/>
                </a:ext>
              </a:extLst>
            </p:cNvPr>
            <p:cNvSpPr>
              <a:spLocks/>
            </p:cNvSpPr>
            <p:nvPr/>
          </p:nvSpPr>
          <p:spPr bwMode="auto">
            <a:xfrm>
              <a:off x="4344113" y="4012303"/>
              <a:ext cx="69550" cy="146499"/>
            </a:xfrm>
            <a:custGeom>
              <a:avLst/>
              <a:gdLst/>
              <a:ahLst/>
              <a:cxnLst>
                <a:cxn ang="0">
                  <a:pos x="31" y="63"/>
                </a:cxn>
                <a:cxn ang="0">
                  <a:pos x="35" y="54"/>
                </a:cxn>
                <a:cxn ang="0">
                  <a:pos x="38" y="52"/>
                </a:cxn>
                <a:cxn ang="0">
                  <a:pos x="44" y="42"/>
                </a:cxn>
                <a:cxn ang="0">
                  <a:pos x="47" y="37"/>
                </a:cxn>
                <a:cxn ang="0">
                  <a:pos x="47" y="19"/>
                </a:cxn>
                <a:cxn ang="0">
                  <a:pos x="44" y="9"/>
                </a:cxn>
                <a:cxn ang="0">
                  <a:pos x="42" y="9"/>
                </a:cxn>
                <a:cxn ang="0">
                  <a:pos x="39" y="9"/>
                </a:cxn>
                <a:cxn ang="0">
                  <a:pos x="37" y="5"/>
                </a:cxn>
                <a:cxn ang="0">
                  <a:pos x="34" y="0"/>
                </a:cxn>
                <a:cxn ang="0">
                  <a:pos x="31" y="0"/>
                </a:cxn>
                <a:cxn ang="0">
                  <a:pos x="28" y="5"/>
                </a:cxn>
                <a:cxn ang="0">
                  <a:pos x="28" y="9"/>
                </a:cxn>
                <a:cxn ang="0">
                  <a:pos x="27" y="12"/>
                </a:cxn>
                <a:cxn ang="0">
                  <a:pos x="24" y="15"/>
                </a:cxn>
                <a:cxn ang="0">
                  <a:pos x="18" y="17"/>
                </a:cxn>
                <a:cxn ang="0">
                  <a:pos x="11" y="17"/>
                </a:cxn>
                <a:cxn ang="0">
                  <a:pos x="7" y="20"/>
                </a:cxn>
                <a:cxn ang="0">
                  <a:pos x="2" y="23"/>
                </a:cxn>
                <a:cxn ang="0">
                  <a:pos x="0" y="23"/>
                </a:cxn>
                <a:cxn ang="0">
                  <a:pos x="1" y="35"/>
                </a:cxn>
                <a:cxn ang="0">
                  <a:pos x="8" y="39"/>
                </a:cxn>
                <a:cxn ang="0">
                  <a:pos x="11" y="42"/>
                </a:cxn>
                <a:cxn ang="0">
                  <a:pos x="11" y="49"/>
                </a:cxn>
                <a:cxn ang="0">
                  <a:pos x="11" y="50"/>
                </a:cxn>
                <a:cxn ang="0">
                  <a:pos x="14" y="57"/>
                </a:cxn>
                <a:cxn ang="0">
                  <a:pos x="14" y="70"/>
                </a:cxn>
                <a:cxn ang="0">
                  <a:pos x="15" y="99"/>
                </a:cxn>
                <a:cxn ang="0">
                  <a:pos x="25" y="99"/>
                </a:cxn>
                <a:cxn ang="0">
                  <a:pos x="32" y="96"/>
                </a:cxn>
                <a:cxn ang="0">
                  <a:pos x="37" y="94"/>
                </a:cxn>
                <a:cxn ang="0">
                  <a:pos x="34" y="89"/>
                </a:cxn>
                <a:cxn ang="0">
                  <a:pos x="32" y="81"/>
                </a:cxn>
                <a:cxn ang="0">
                  <a:pos x="31" y="73"/>
                </a:cxn>
                <a:cxn ang="0">
                  <a:pos x="31" y="63"/>
                </a:cxn>
              </a:cxnLst>
              <a:rect l="0" t="0" r="r" b="b"/>
              <a:pathLst>
                <a:path w="47" h="99">
                  <a:moveTo>
                    <a:pt x="31" y="63"/>
                  </a:moveTo>
                  <a:lnTo>
                    <a:pt x="31" y="63"/>
                  </a:lnTo>
                  <a:lnTo>
                    <a:pt x="32" y="59"/>
                  </a:lnTo>
                  <a:lnTo>
                    <a:pt x="35" y="54"/>
                  </a:lnTo>
                  <a:lnTo>
                    <a:pt x="38" y="52"/>
                  </a:lnTo>
                  <a:lnTo>
                    <a:pt x="38" y="52"/>
                  </a:lnTo>
                  <a:lnTo>
                    <a:pt x="39" y="49"/>
                  </a:lnTo>
                  <a:lnTo>
                    <a:pt x="44" y="42"/>
                  </a:lnTo>
                  <a:lnTo>
                    <a:pt x="44" y="42"/>
                  </a:lnTo>
                  <a:lnTo>
                    <a:pt x="47" y="37"/>
                  </a:lnTo>
                  <a:lnTo>
                    <a:pt x="47" y="30"/>
                  </a:lnTo>
                  <a:lnTo>
                    <a:pt x="47" y="19"/>
                  </a:lnTo>
                  <a:lnTo>
                    <a:pt x="47" y="19"/>
                  </a:lnTo>
                  <a:lnTo>
                    <a:pt x="44" y="9"/>
                  </a:lnTo>
                  <a:lnTo>
                    <a:pt x="44" y="9"/>
                  </a:lnTo>
                  <a:lnTo>
                    <a:pt x="42" y="9"/>
                  </a:lnTo>
                  <a:lnTo>
                    <a:pt x="39" y="9"/>
                  </a:lnTo>
                  <a:lnTo>
                    <a:pt x="39" y="9"/>
                  </a:lnTo>
                  <a:lnTo>
                    <a:pt x="37" y="6"/>
                  </a:lnTo>
                  <a:lnTo>
                    <a:pt x="37" y="5"/>
                  </a:lnTo>
                  <a:lnTo>
                    <a:pt x="37" y="2"/>
                  </a:lnTo>
                  <a:lnTo>
                    <a:pt x="34" y="0"/>
                  </a:lnTo>
                  <a:lnTo>
                    <a:pt x="34" y="0"/>
                  </a:lnTo>
                  <a:lnTo>
                    <a:pt x="31" y="0"/>
                  </a:lnTo>
                  <a:lnTo>
                    <a:pt x="30" y="3"/>
                  </a:lnTo>
                  <a:lnTo>
                    <a:pt x="28" y="5"/>
                  </a:lnTo>
                  <a:lnTo>
                    <a:pt x="28" y="9"/>
                  </a:lnTo>
                  <a:lnTo>
                    <a:pt x="28" y="9"/>
                  </a:lnTo>
                  <a:lnTo>
                    <a:pt x="28" y="10"/>
                  </a:lnTo>
                  <a:lnTo>
                    <a:pt x="27" y="12"/>
                  </a:lnTo>
                  <a:lnTo>
                    <a:pt x="24" y="15"/>
                  </a:lnTo>
                  <a:lnTo>
                    <a:pt x="24" y="15"/>
                  </a:lnTo>
                  <a:lnTo>
                    <a:pt x="21" y="16"/>
                  </a:lnTo>
                  <a:lnTo>
                    <a:pt x="18" y="17"/>
                  </a:lnTo>
                  <a:lnTo>
                    <a:pt x="11" y="17"/>
                  </a:lnTo>
                  <a:lnTo>
                    <a:pt x="11" y="17"/>
                  </a:lnTo>
                  <a:lnTo>
                    <a:pt x="8" y="17"/>
                  </a:lnTo>
                  <a:lnTo>
                    <a:pt x="7" y="20"/>
                  </a:lnTo>
                  <a:lnTo>
                    <a:pt x="2" y="23"/>
                  </a:lnTo>
                  <a:lnTo>
                    <a:pt x="2" y="23"/>
                  </a:lnTo>
                  <a:lnTo>
                    <a:pt x="0" y="23"/>
                  </a:lnTo>
                  <a:lnTo>
                    <a:pt x="0" y="23"/>
                  </a:lnTo>
                  <a:lnTo>
                    <a:pt x="0" y="30"/>
                  </a:lnTo>
                  <a:lnTo>
                    <a:pt x="1" y="35"/>
                  </a:lnTo>
                  <a:lnTo>
                    <a:pt x="4" y="36"/>
                  </a:lnTo>
                  <a:lnTo>
                    <a:pt x="8" y="39"/>
                  </a:lnTo>
                  <a:lnTo>
                    <a:pt x="8" y="39"/>
                  </a:lnTo>
                  <a:lnTo>
                    <a:pt x="11" y="42"/>
                  </a:lnTo>
                  <a:lnTo>
                    <a:pt x="11" y="44"/>
                  </a:lnTo>
                  <a:lnTo>
                    <a:pt x="11" y="49"/>
                  </a:lnTo>
                  <a:lnTo>
                    <a:pt x="11" y="50"/>
                  </a:lnTo>
                  <a:lnTo>
                    <a:pt x="11" y="50"/>
                  </a:lnTo>
                  <a:lnTo>
                    <a:pt x="12" y="53"/>
                  </a:lnTo>
                  <a:lnTo>
                    <a:pt x="14" y="57"/>
                  </a:lnTo>
                  <a:lnTo>
                    <a:pt x="14" y="70"/>
                  </a:lnTo>
                  <a:lnTo>
                    <a:pt x="14" y="70"/>
                  </a:lnTo>
                  <a:lnTo>
                    <a:pt x="15" y="99"/>
                  </a:lnTo>
                  <a:lnTo>
                    <a:pt x="15" y="99"/>
                  </a:lnTo>
                  <a:lnTo>
                    <a:pt x="25" y="99"/>
                  </a:lnTo>
                  <a:lnTo>
                    <a:pt x="25" y="99"/>
                  </a:lnTo>
                  <a:lnTo>
                    <a:pt x="30" y="97"/>
                  </a:lnTo>
                  <a:lnTo>
                    <a:pt x="32" y="96"/>
                  </a:lnTo>
                  <a:lnTo>
                    <a:pt x="35" y="94"/>
                  </a:lnTo>
                  <a:lnTo>
                    <a:pt x="37" y="94"/>
                  </a:lnTo>
                  <a:lnTo>
                    <a:pt x="37" y="94"/>
                  </a:lnTo>
                  <a:lnTo>
                    <a:pt x="34" y="89"/>
                  </a:lnTo>
                  <a:lnTo>
                    <a:pt x="32" y="86"/>
                  </a:lnTo>
                  <a:lnTo>
                    <a:pt x="32" y="81"/>
                  </a:lnTo>
                  <a:lnTo>
                    <a:pt x="32" y="81"/>
                  </a:lnTo>
                  <a:lnTo>
                    <a:pt x="31" y="73"/>
                  </a:lnTo>
                  <a:lnTo>
                    <a:pt x="31" y="63"/>
                  </a:lnTo>
                  <a:lnTo>
                    <a:pt x="31" y="6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4" name="Freeform 210">
              <a:extLst>
                <a:ext uri="{FF2B5EF4-FFF2-40B4-BE49-F238E27FC236}">
                  <a16:creationId xmlns:a16="http://schemas.microsoft.com/office/drawing/2014/main" id="{9DECD89A-E1FE-E546-B96A-C4BBB7B3A0BF}"/>
                </a:ext>
              </a:extLst>
            </p:cNvPr>
            <p:cNvSpPr>
              <a:spLocks/>
            </p:cNvSpPr>
            <p:nvPr/>
          </p:nvSpPr>
          <p:spPr bwMode="auto">
            <a:xfrm>
              <a:off x="4321917" y="4044859"/>
              <a:ext cx="44394" cy="121343"/>
            </a:xfrm>
            <a:custGeom>
              <a:avLst/>
              <a:gdLst/>
              <a:ahLst/>
              <a:cxnLst>
                <a:cxn ang="0">
                  <a:pos x="26" y="28"/>
                </a:cxn>
                <a:cxn ang="0">
                  <a:pos x="26" y="28"/>
                </a:cxn>
                <a:cxn ang="0">
                  <a:pos x="26" y="27"/>
                </a:cxn>
                <a:cxn ang="0">
                  <a:pos x="26" y="22"/>
                </a:cxn>
                <a:cxn ang="0">
                  <a:pos x="26" y="20"/>
                </a:cxn>
                <a:cxn ang="0">
                  <a:pos x="23" y="17"/>
                </a:cxn>
                <a:cxn ang="0">
                  <a:pos x="23" y="17"/>
                </a:cxn>
                <a:cxn ang="0">
                  <a:pos x="19" y="14"/>
                </a:cxn>
                <a:cxn ang="0">
                  <a:pos x="16" y="13"/>
                </a:cxn>
                <a:cxn ang="0">
                  <a:pos x="15" y="8"/>
                </a:cxn>
                <a:cxn ang="0">
                  <a:pos x="15" y="1"/>
                </a:cxn>
                <a:cxn ang="0">
                  <a:pos x="15" y="1"/>
                </a:cxn>
                <a:cxn ang="0">
                  <a:pos x="2" y="0"/>
                </a:cxn>
                <a:cxn ang="0">
                  <a:pos x="2" y="0"/>
                </a:cxn>
                <a:cxn ang="0">
                  <a:pos x="0" y="0"/>
                </a:cxn>
                <a:cxn ang="0">
                  <a:pos x="0" y="0"/>
                </a:cxn>
                <a:cxn ang="0">
                  <a:pos x="2" y="7"/>
                </a:cxn>
                <a:cxn ang="0">
                  <a:pos x="3" y="10"/>
                </a:cxn>
                <a:cxn ang="0">
                  <a:pos x="3" y="10"/>
                </a:cxn>
                <a:cxn ang="0">
                  <a:pos x="6" y="14"/>
                </a:cxn>
                <a:cxn ang="0">
                  <a:pos x="8" y="20"/>
                </a:cxn>
                <a:cxn ang="0">
                  <a:pos x="8" y="20"/>
                </a:cxn>
                <a:cxn ang="0">
                  <a:pos x="6" y="31"/>
                </a:cxn>
                <a:cxn ang="0">
                  <a:pos x="6" y="37"/>
                </a:cxn>
                <a:cxn ang="0">
                  <a:pos x="8" y="42"/>
                </a:cxn>
                <a:cxn ang="0">
                  <a:pos x="8" y="42"/>
                </a:cxn>
                <a:cxn ang="0">
                  <a:pos x="10" y="52"/>
                </a:cxn>
                <a:cxn ang="0">
                  <a:pos x="12" y="64"/>
                </a:cxn>
                <a:cxn ang="0">
                  <a:pos x="12" y="64"/>
                </a:cxn>
                <a:cxn ang="0">
                  <a:pos x="13" y="74"/>
                </a:cxn>
                <a:cxn ang="0">
                  <a:pos x="17" y="82"/>
                </a:cxn>
                <a:cxn ang="0">
                  <a:pos x="17" y="82"/>
                </a:cxn>
                <a:cxn ang="0">
                  <a:pos x="22" y="81"/>
                </a:cxn>
                <a:cxn ang="0">
                  <a:pos x="22" y="81"/>
                </a:cxn>
                <a:cxn ang="0">
                  <a:pos x="25" y="78"/>
                </a:cxn>
                <a:cxn ang="0">
                  <a:pos x="30" y="77"/>
                </a:cxn>
                <a:cxn ang="0">
                  <a:pos x="30" y="77"/>
                </a:cxn>
                <a:cxn ang="0">
                  <a:pos x="29" y="48"/>
                </a:cxn>
                <a:cxn ang="0">
                  <a:pos x="29" y="48"/>
                </a:cxn>
                <a:cxn ang="0">
                  <a:pos x="29" y="35"/>
                </a:cxn>
                <a:cxn ang="0">
                  <a:pos x="27" y="31"/>
                </a:cxn>
                <a:cxn ang="0">
                  <a:pos x="26" y="28"/>
                </a:cxn>
                <a:cxn ang="0">
                  <a:pos x="26" y="28"/>
                </a:cxn>
              </a:cxnLst>
              <a:rect l="0" t="0" r="r" b="b"/>
              <a:pathLst>
                <a:path w="30" h="82">
                  <a:moveTo>
                    <a:pt x="26" y="28"/>
                  </a:moveTo>
                  <a:lnTo>
                    <a:pt x="26" y="28"/>
                  </a:lnTo>
                  <a:lnTo>
                    <a:pt x="26" y="27"/>
                  </a:lnTo>
                  <a:lnTo>
                    <a:pt x="26" y="22"/>
                  </a:lnTo>
                  <a:lnTo>
                    <a:pt x="26" y="20"/>
                  </a:lnTo>
                  <a:lnTo>
                    <a:pt x="23" y="17"/>
                  </a:lnTo>
                  <a:lnTo>
                    <a:pt x="23" y="17"/>
                  </a:lnTo>
                  <a:lnTo>
                    <a:pt x="19" y="14"/>
                  </a:lnTo>
                  <a:lnTo>
                    <a:pt x="16" y="13"/>
                  </a:lnTo>
                  <a:lnTo>
                    <a:pt x="15" y="8"/>
                  </a:lnTo>
                  <a:lnTo>
                    <a:pt x="15" y="1"/>
                  </a:lnTo>
                  <a:lnTo>
                    <a:pt x="15" y="1"/>
                  </a:lnTo>
                  <a:lnTo>
                    <a:pt x="2" y="0"/>
                  </a:lnTo>
                  <a:lnTo>
                    <a:pt x="2" y="0"/>
                  </a:lnTo>
                  <a:lnTo>
                    <a:pt x="0" y="0"/>
                  </a:lnTo>
                  <a:lnTo>
                    <a:pt x="0" y="0"/>
                  </a:lnTo>
                  <a:lnTo>
                    <a:pt x="2" y="7"/>
                  </a:lnTo>
                  <a:lnTo>
                    <a:pt x="3" y="10"/>
                  </a:lnTo>
                  <a:lnTo>
                    <a:pt x="3" y="10"/>
                  </a:lnTo>
                  <a:lnTo>
                    <a:pt x="6" y="14"/>
                  </a:lnTo>
                  <a:lnTo>
                    <a:pt x="8" y="20"/>
                  </a:lnTo>
                  <a:lnTo>
                    <a:pt x="8" y="20"/>
                  </a:lnTo>
                  <a:lnTo>
                    <a:pt x="6" y="31"/>
                  </a:lnTo>
                  <a:lnTo>
                    <a:pt x="6" y="37"/>
                  </a:lnTo>
                  <a:lnTo>
                    <a:pt x="8" y="42"/>
                  </a:lnTo>
                  <a:lnTo>
                    <a:pt x="8" y="42"/>
                  </a:lnTo>
                  <a:lnTo>
                    <a:pt x="10" y="52"/>
                  </a:lnTo>
                  <a:lnTo>
                    <a:pt x="12" y="64"/>
                  </a:lnTo>
                  <a:lnTo>
                    <a:pt x="12" y="64"/>
                  </a:lnTo>
                  <a:lnTo>
                    <a:pt x="13" y="74"/>
                  </a:lnTo>
                  <a:lnTo>
                    <a:pt x="17" y="82"/>
                  </a:lnTo>
                  <a:lnTo>
                    <a:pt x="17" y="82"/>
                  </a:lnTo>
                  <a:lnTo>
                    <a:pt x="22" y="81"/>
                  </a:lnTo>
                  <a:lnTo>
                    <a:pt x="22" y="81"/>
                  </a:lnTo>
                  <a:lnTo>
                    <a:pt x="25" y="78"/>
                  </a:lnTo>
                  <a:lnTo>
                    <a:pt x="30" y="77"/>
                  </a:lnTo>
                  <a:lnTo>
                    <a:pt x="30" y="77"/>
                  </a:lnTo>
                  <a:lnTo>
                    <a:pt x="29" y="48"/>
                  </a:lnTo>
                  <a:lnTo>
                    <a:pt x="29" y="48"/>
                  </a:lnTo>
                  <a:lnTo>
                    <a:pt x="29" y="35"/>
                  </a:lnTo>
                  <a:lnTo>
                    <a:pt x="27" y="31"/>
                  </a:lnTo>
                  <a:lnTo>
                    <a:pt x="26" y="28"/>
                  </a:lnTo>
                  <a:lnTo>
                    <a:pt x="26" y="2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5" name="Freeform 211">
              <a:extLst>
                <a:ext uri="{FF2B5EF4-FFF2-40B4-BE49-F238E27FC236}">
                  <a16:creationId xmlns:a16="http://schemas.microsoft.com/office/drawing/2014/main" id="{7C0AE420-F5E1-3F49-905B-100FE282985F}"/>
                </a:ext>
              </a:extLst>
            </p:cNvPr>
            <p:cNvSpPr>
              <a:spLocks/>
            </p:cNvSpPr>
            <p:nvPr/>
          </p:nvSpPr>
          <p:spPr bwMode="auto">
            <a:xfrm>
              <a:off x="4529086" y="3996026"/>
              <a:ext cx="176094" cy="273761"/>
            </a:xfrm>
            <a:custGeom>
              <a:avLst/>
              <a:gdLst/>
              <a:ahLst/>
              <a:cxnLst>
                <a:cxn ang="0">
                  <a:pos x="70" y="176"/>
                </a:cxn>
                <a:cxn ang="0">
                  <a:pos x="98" y="178"/>
                </a:cxn>
                <a:cxn ang="0">
                  <a:pos x="115" y="185"/>
                </a:cxn>
                <a:cxn ang="0">
                  <a:pos x="119" y="171"/>
                </a:cxn>
                <a:cxn ang="0">
                  <a:pos x="116" y="168"/>
                </a:cxn>
                <a:cxn ang="0">
                  <a:pos x="111" y="162"/>
                </a:cxn>
                <a:cxn ang="0">
                  <a:pos x="102" y="152"/>
                </a:cxn>
                <a:cxn ang="0">
                  <a:pos x="101" y="145"/>
                </a:cxn>
                <a:cxn ang="0">
                  <a:pos x="97" y="137"/>
                </a:cxn>
                <a:cxn ang="0">
                  <a:pos x="94" y="122"/>
                </a:cxn>
                <a:cxn ang="0">
                  <a:pos x="94" y="114"/>
                </a:cxn>
                <a:cxn ang="0">
                  <a:pos x="101" y="100"/>
                </a:cxn>
                <a:cxn ang="0">
                  <a:pos x="109" y="90"/>
                </a:cxn>
                <a:cxn ang="0">
                  <a:pos x="104" y="78"/>
                </a:cxn>
                <a:cxn ang="0">
                  <a:pos x="91" y="65"/>
                </a:cxn>
                <a:cxn ang="0">
                  <a:pos x="87" y="58"/>
                </a:cxn>
                <a:cxn ang="0">
                  <a:pos x="88" y="53"/>
                </a:cxn>
                <a:cxn ang="0">
                  <a:pos x="101" y="51"/>
                </a:cxn>
                <a:cxn ang="0">
                  <a:pos x="108" y="50"/>
                </a:cxn>
                <a:cxn ang="0">
                  <a:pos x="102" y="41"/>
                </a:cxn>
                <a:cxn ang="0">
                  <a:pos x="101" y="30"/>
                </a:cxn>
                <a:cxn ang="0">
                  <a:pos x="99" y="18"/>
                </a:cxn>
                <a:cxn ang="0">
                  <a:pos x="98" y="11"/>
                </a:cxn>
                <a:cxn ang="0">
                  <a:pos x="89" y="0"/>
                </a:cxn>
                <a:cxn ang="0">
                  <a:pos x="88" y="0"/>
                </a:cxn>
                <a:cxn ang="0">
                  <a:pos x="88" y="10"/>
                </a:cxn>
                <a:cxn ang="0">
                  <a:pos x="94" y="16"/>
                </a:cxn>
                <a:cxn ang="0">
                  <a:pos x="95" y="26"/>
                </a:cxn>
                <a:cxn ang="0">
                  <a:pos x="89" y="28"/>
                </a:cxn>
                <a:cxn ang="0">
                  <a:pos x="85" y="30"/>
                </a:cxn>
                <a:cxn ang="0">
                  <a:pos x="75" y="48"/>
                </a:cxn>
                <a:cxn ang="0">
                  <a:pos x="74" y="57"/>
                </a:cxn>
                <a:cxn ang="0">
                  <a:pos x="71" y="60"/>
                </a:cxn>
                <a:cxn ang="0">
                  <a:pos x="70" y="67"/>
                </a:cxn>
                <a:cxn ang="0">
                  <a:pos x="64" y="74"/>
                </a:cxn>
                <a:cxn ang="0">
                  <a:pos x="61" y="81"/>
                </a:cxn>
                <a:cxn ang="0">
                  <a:pos x="51" y="101"/>
                </a:cxn>
                <a:cxn ang="0">
                  <a:pos x="44" y="108"/>
                </a:cxn>
                <a:cxn ang="0">
                  <a:pos x="38" y="101"/>
                </a:cxn>
                <a:cxn ang="0">
                  <a:pos x="33" y="100"/>
                </a:cxn>
                <a:cxn ang="0">
                  <a:pos x="23" y="101"/>
                </a:cxn>
                <a:cxn ang="0">
                  <a:pos x="4" y="120"/>
                </a:cxn>
                <a:cxn ang="0">
                  <a:pos x="0" y="137"/>
                </a:cxn>
                <a:cxn ang="0">
                  <a:pos x="7" y="145"/>
                </a:cxn>
                <a:cxn ang="0">
                  <a:pos x="13" y="148"/>
                </a:cxn>
                <a:cxn ang="0">
                  <a:pos x="18" y="148"/>
                </a:cxn>
                <a:cxn ang="0">
                  <a:pos x="24" y="159"/>
                </a:cxn>
                <a:cxn ang="0">
                  <a:pos x="21" y="171"/>
                </a:cxn>
                <a:cxn ang="0">
                  <a:pos x="43" y="178"/>
                </a:cxn>
              </a:cxnLst>
              <a:rect l="0" t="0" r="r" b="b"/>
              <a:pathLst>
                <a:path w="119" h="185">
                  <a:moveTo>
                    <a:pt x="50" y="175"/>
                  </a:moveTo>
                  <a:lnTo>
                    <a:pt x="50" y="175"/>
                  </a:lnTo>
                  <a:lnTo>
                    <a:pt x="70" y="176"/>
                  </a:lnTo>
                  <a:lnTo>
                    <a:pt x="92" y="176"/>
                  </a:lnTo>
                  <a:lnTo>
                    <a:pt x="92" y="176"/>
                  </a:lnTo>
                  <a:lnTo>
                    <a:pt x="98" y="178"/>
                  </a:lnTo>
                  <a:lnTo>
                    <a:pt x="105" y="181"/>
                  </a:lnTo>
                  <a:lnTo>
                    <a:pt x="115" y="185"/>
                  </a:lnTo>
                  <a:lnTo>
                    <a:pt x="115" y="185"/>
                  </a:lnTo>
                  <a:lnTo>
                    <a:pt x="115" y="179"/>
                  </a:lnTo>
                  <a:lnTo>
                    <a:pt x="116" y="175"/>
                  </a:lnTo>
                  <a:lnTo>
                    <a:pt x="119" y="171"/>
                  </a:lnTo>
                  <a:lnTo>
                    <a:pt x="119" y="171"/>
                  </a:lnTo>
                  <a:lnTo>
                    <a:pt x="116" y="169"/>
                  </a:lnTo>
                  <a:lnTo>
                    <a:pt x="116" y="168"/>
                  </a:lnTo>
                  <a:lnTo>
                    <a:pt x="116" y="168"/>
                  </a:lnTo>
                  <a:lnTo>
                    <a:pt x="114" y="165"/>
                  </a:lnTo>
                  <a:lnTo>
                    <a:pt x="111" y="162"/>
                  </a:lnTo>
                  <a:lnTo>
                    <a:pt x="105" y="156"/>
                  </a:lnTo>
                  <a:lnTo>
                    <a:pt x="105" y="156"/>
                  </a:lnTo>
                  <a:lnTo>
                    <a:pt x="102" y="152"/>
                  </a:lnTo>
                  <a:lnTo>
                    <a:pt x="102" y="152"/>
                  </a:lnTo>
                  <a:lnTo>
                    <a:pt x="102" y="148"/>
                  </a:lnTo>
                  <a:lnTo>
                    <a:pt x="101" y="145"/>
                  </a:lnTo>
                  <a:lnTo>
                    <a:pt x="99" y="142"/>
                  </a:lnTo>
                  <a:lnTo>
                    <a:pt x="99" y="142"/>
                  </a:lnTo>
                  <a:lnTo>
                    <a:pt x="97" y="137"/>
                  </a:lnTo>
                  <a:lnTo>
                    <a:pt x="95" y="129"/>
                  </a:lnTo>
                  <a:lnTo>
                    <a:pt x="95" y="129"/>
                  </a:lnTo>
                  <a:lnTo>
                    <a:pt x="94" y="122"/>
                  </a:lnTo>
                  <a:lnTo>
                    <a:pt x="92" y="117"/>
                  </a:lnTo>
                  <a:lnTo>
                    <a:pt x="92" y="117"/>
                  </a:lnTo>
                  <a:lnTo>
                    <a:pt x="94" y="114"/>
                  </a:lnTo>
                  <a:lnTo>
                    <a:pt x="97" y="110"/>
                  </a:lnTo>
                  <a:lnTo>
                    <a:pt x="98" y="105"/>
                  </a:lnTo>
                  <a:lnTo>
                    <a:pt x="101" y="100"/>
                  </a:lnTo>
                  <a:lnTo>
                    <a:pt x="101" y="100"/>
                  </a:lnTo>
                  <a:lnTo>
                    <a:pt x="104" y="95"/>
                  </a:lnTo>
                  <a:lnTo>
                    <a:pt x="109" y="90"/>
                  </a:lnTo>
                  <a:lnTo>
                    <a:pt x="109" y="90"/>
                  </a:lnTo>
                  <a:lnTo>
                    <a:pt x="104" y="78"/>
                  </a:lnTo>
                  <a:lnTo>
                    <a:pt x="104" y="78"/>
                  </a:lnTo>
                  <a:lnTo>
                    <a:pt x="102" y="74"/>
                  </a:lnTo>
                  <a:lnTo>
                    <a:pt x="99" y="71"/>
                  </a:lnTo>
                  <a:lnTo>
                    <a:pt x="91" y="65"/>
                  </a:lnTo>
                  <a:lnTo>
                    <a:pt x="91" y="65"/>
                  </a:lnTo>
                  <a:lnTo>
                    <a:pt x="88" y="61"/>
                  </a:lnTo>
                  <a:lnTo>
                    <a:pt x="87" y="58"/>
                  </a:lnTo>
                  <a:lnTo>
                    <a:pt x="87" y="54"/>
                  </a:lnTo>
                  <a:lnTo>
                    <a:pt x="87" y="54"/>
                  </a:lnTo>
                  <a:lnTo>
                    <a:pt x="88" y="53"/>
                  </a:lnTo>
                  <a:lnTo>
                    <a:pt x="92" y="51"/>
                  </a:lnTo>
                  <a:lnTo>
                    <a:pt x="101" y="51"/>
                  </a:lnTo>
                  <a:lnTo>
                    <a:pt x="101" y="51"/>
                  </a:lnTo>
                  <a:lnTo>
                    <a:pt x="107" y="51"/>
                  </a:lnTo>
                  <a:lnTo>
                    <a:pt x="108" y="50"/>
                  </a:lnTo>
                  <a:lnTo>
                    <a:pt x="108" y="50"/>
                  </a:lnTo>
                  <a:lnTo>
                    <a:pt x="108" y="50"/>
                  </a:lnTo>
                  <a:lnTo>
                    <a:pt x="105" y="47"/>
                  </a:lnTo>
                  <a:lnTo>
                    <a:pt x="102" y="41"/>
                  </a:lnTo>
                  <a:lnTo>
                    <a:pt x="101" y="36"/>
                  </a:lnTo>
                  <a:lnTo>
                    <a:pt x="101" y="30"/>
                  </a:lnTo>
                  <a:lnTo>
                    <a:pt x="101" y="30"/>
                  </a:lnTo>
                  <a:lnTo>
                    <a:pt x="101" y="24"/>
                  </a:lnTo>
                  <a:lnTo>
                    <a:pt x="99" y="21"/>
                  </a:lnTo>
                  <a:lnTo>
                    <a:pt x="99" y="18"/>
                  </a:lnTo>
                  <a:lnTo>
                    <a:pt x="99" y="16"/>
                  </a:lnTo>
                  <a:lnTo>
                    <a:pt x="99" y="16"/>
                  </a:lnTo>
                  <a:lnTo>
                    <a:pt x="98" y="11"/>
                  </a:lnTo>
                  <a:lnTo>
                    <a:pt x="95" y="6"/>
                  </a:lnTo>
                  <a:lnTo>
                    <a:pt x="92" y="1"/>
                  </a:lnTo>
                  <a:lnTo>
                    <a:pt x="89" y="0"/>
                  </a:lnTo>
                  <a:lnTo>
                    <a:pt x="89" y="0"/>
                  </a:lnTo>
                  <a:lnTo>
                    <a:pt x="88" y="0"/>
                  </a:lnTo>
                  <a:lnTo>
                    <a:pt x="88" y="0"/>
                  </a:lnTo>
                  <a:lnTo>
                    <a:pt x="87" y="9"/>
                  </a:lnTo>
                  <a:lnTo>
                    <a:pt x="87" y="9"/>
                  </a:lnTo>
                  <a:lnTo>
                    <a:pt x="88" y="10"/>
                  </a:lnTo>
                  <a:lnTo>
                    <a:pt x="89" y="13"/>
                  </a:lnTo>
                  <a:lnTo>
                    <a:pt x="94" y="16"/>
                  </a:lnTo>
                  <a:lnTo>
                    <a:pt x="94" y="16"/>
                  </a:lnTo>
                  <a:lnTo>
                    <a:pt x="95" y="17"/>
                  </a:lnTo>
                  <a:lnTo>
                    <a:pt x="95" y="18"/>
                  </a:lnTo>
                  <a:lnTo>
                    <a:pt x="95" y="26"/>
                  </a:lnTo>
                  <a:lnTo>
                    <a:pt x="95" y="26"/>
                  </a:lnTo>
                  <a:lnTo>
                    <a:pt x="92" y="27"/>
                  </a:lnTo>
                  <a:lnTo>
                    <a:pt x="89" y="28"/>
                  </a:lnTo>
                  <a:lnTo>
                    <a:pt x="87" y="30"/>
                  </a:lnTo>
                  <a:lnTo>
                    <a:pt x="85" y="30"/>
                  </a:lnTo>
                  <a:lnTo>
                    <a:pt x="85" y="30"/>
                  </a:lnTo>
                  <a:lnTo>
                    <a:pt x="80" y="38"/>
                  </a:lnTo>
                  <a:lnTo>
                    <a:pt x="77" y="44"/>
                  </a:lnTo>
                  <a:lnTo>
                    <a:pt x="75" y="48"/>
                  </a:lnTo>
                  <a:lnTo>
                    <a:pt x="75" y="48"/>
                  </a:lnTo>
                  <a:lnTo>
                    <a:pt x="75" y="54"/>
                  </a:lnTo>
                  <a:lnTo>
                    <a:pt x="74" y="57"/>
                  </a:lnTo>
                  <a:lnTo>
                    <a:pt x="72" y="58"/>
                  </a:lnTo>
                  <a:lnTo>
                    <a:pt x="72" y="58"/>
                  </a:lnTo>
                  <a:lnTo>
                    <a:pt x="71" y="60"/>
                  </a:lnTo>
                  <a:lnTo>
                    <a:pt x="70" y="63"/>
                  </a:lnTo>
                  <a:lnTo>
                    <a:pt x="70" y="67"/>
                  </a:lnTo>
                  <a:lnTo>
                    <a:pt x="70" y="67"/>
                  </a:lnTo>
                  <a:lnTo>
                    <a:pt x="68" y="68"/>
                  </a:lnTo>
                  <a:lnTo>
                    <a:pt x="67" y="71"/>
                  </a:lnTo>
                  <a:lnTo>
                    <a:pt x="64" y="74"/>
                  </a:lnTo>
                  <a:lnTo>
                    <a:pt x="62" y="77"/>
                  </a:lnTo>
                  <a:lnTo>
                    <a:pt x="62" y="77"/>
                  </a:lnTo>
                  <a:lnTo>
                    <a:pt x="61" y="81"/>
                  </a:lnTo>
                  <a:lnTo>
                    <a:pt x="57" y="88"/>
                  </a:lnTo>
                  <a:lnTo>
                    <a:pt x="51" y="101"/>
                  </a:lnTo>
                  <a:lnTo>
                    <a:pt x="51" y="101"/>
                  </a:lnTo>
                  <a:lnTo>
                    <a:pt x="47" y="108"/>
                  </a:lnTo>
                  <a:lnTo>
                    <a:pt x="45" y="110"/>
                  </a:lnTo>
                  <a:lnTo>
                    <a:pt x="44" y="108"/>
                  </a:lnTo>
                  <a:lnTo>
                    <a:pt x="44" y="108"/>
                  </a:lnTo>
                  <a:lnTo>
                    <a:pt x="43" y="104"/>
                  </a:lnTo>
                  <a:lnTo>
                    <a:pt x="38" y="101"/>
                  </a:lnTo>
                  <a:lnTo>
                    <a:pt x="35" y="100"/>
                  </a:lnTo>
                  <a:lnTo>
                    <a:pt x="33" y="100"/>
                  </a:lnTo>
                  <a:lnTo>
                    <a:pt x="33" y="100"/>
                  </a:lnTo>
                  <a:lnTo>
                    <a:pt x="30" y="101"/>
                  </a:lnTo>
                  <a:lnTo>
                    <a:pt x="27" y="101"/>
                  </a:lnTo>
                  <a:lnTo>
                    <a:pt x="23" y="101"/>
                  </a:lnTo>
                  <a:lnTo>
                    <a:pt x="23" y="101"/>
                  </a:lnTo>
                  <a:lnTo>
                    <a:pt x="13" y="111"/>
                  </a:lnTo>
                  <a:lnTo>
                    <a:pt x="4" y="120"/>
                  </a:lnTo>
                  <a:lnTo>
                    <a:pt x="4" y="120"/>
                  </a:lnTo>
                  <a:lnTo>
                    <a:pt x="4" y="124"/>
                  </a:lnTo>
                  <a:lnTo>
                    <a:pt x="0" y="137"/>
                  </a:lnTo>
                  <a:lnTo>
                    <a:pt x="0" y="137"/>
                  </a:lnTo>
                  <a:lnTo>
                    <a:pt x="3" y="139"/>
                  </a:lnTo>
                  <a:lnTo>
                    <a:pt x="7" y="145"/>
                  </a:lnTo>
                  <a:lnTo>
                    <a:pt x="7" y="145"/>
                  </a:lnTo>
                  <a:lnTo>
                    <a:pt x="10" y="147"/>
                  </a:lnTo>
                  <a:lnTo>
                    <a:pt x="13" y="148"/>
                  </a:lnTo>
                  <a:lnTo>
                    <a:pt x="17" y="148"/>
                  </a:lnTo>
                  <a:lnTo>
                    <a:pt x="18" y="148"/>
                  </a:lnTo>
                  <a:lnTo>
                    <a:pt x="18" y="148"/>
                  </a:lnTo>
                  <a:lnTo>
                    <a:pt x="21" y="151"/>
                  </a:lnTo>
                  <a:lnTo>
                    <a:pt x="23" y="155"/>
                  </a:lnTo>
                  <a:lnTo>
                    <a:pt x="24" y="159"/>
                  </a:lnTo>
                  <a:lnTo>
                    <a:pt x="24" y="164"/>
                  </a:lnTo>
                  <a:lnTo>
                    <a:pt x="24" y="164"/>
                  </a:lnTo>
                  <a:lnTo>
                    <a:pt x="21" y="171"/>
                  </a:lnTo>
                  <a:lnTo>
                    <a:pt x="20" y="174"/>
                  </a:lnTo>
                  <a:lnTo>
                    <a:pt x="20" y="178"/>
                  </a:lnTo>
                  <a:lnTo>
                    <a:pt x="43" y="178"/>
                  </a:lnTo>
                  <a:lnTo>
                    <a:pt x="50" y="17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6" name="Freeform 212">
              <a:extLst>
                <a:ext uri="{FF2B5EF4-FFF2-40B4-BE49-F238E27FC236}">
                  <a16:creationId xmlns:a16="http://schemas.microsoft.com/office/drawing/2014/main" id="{E84F73F8-B12D-504F-9209-17CE835528D9}"/>
                </a:ext>
              </a:extLst>
            </p:cNvPr>
            <p:cNvSpPr>
              <a:spLocks/>
            </p:cNvSpPr>
            <p:nvPr/>
          </p:nvSpPr>
          <p:spPr bwMode="auto">
            <a:xfrm>
              <a:off x="4120667" y="4055217"/>
              <a:ext cx="145019" cy="149459"/>
            </a:xfrm>
            <a:custGeom>
              <a:avLst/>
              <a:gdLst/>
              <a:ahLst/>
              <a:cxnLst>
                <a:cxn ang="0">
                  <a:pos x="92" y="84"/>
                </a:cxn>
                <a:cxn ang="0">
                  <a:pos x="85" y="67"/>
                </a:cxn>
                <a:cxn ang="0">
                  <a:pos x="89" y="60"/>
                </a:cxn>
                <a:cxn ang="0">
                  <a:pos x="92" y="51"/>
                </a:cxn>
                <a:cxn ang="0">
                  <a:pos x="92" y="48"/>
                </a:cxn>
                <a:cxn ang="0">
                  <a:pos x="97" y="43"/>
                </a:cxn>
                <a:cxn ang="0">
                  <a:pos x="98" y="40"/>
                </a:cxn>
                <a:cxn ang="0">
                  <a:pos x="95" y="23"/>
                </a:cxn>
                <a:cxn ang="0">
                  <a:pos x="92" y="15"/>
                </a:cxn>
                <a:cxn ang="0">
                  <a:pos x="89" y="14"/>
                </a:cxn>
                <a:cxn ang="0">
                  <a:pos x="81" y="11"/>
                </a:cxn>
                <a:cxn ang="0">
                  <a:pos x="71" y="15"/>
                </a:cxn>
                <a:cxn ang="0">
                  <a:pos x="68" y="17"/>
                </a:cxn>
                <a:cxn ang="0">
                  <a:pos x="62" y="15"/>
                </a:cxn>
                <a:cxn ang="0">
                  <a:pos x="57" y="10"/>
                </a:cxn>
                <a:cxn ang="0">
                  <a:pos x="54" y="7"/>
                </a:cxn>
                <a:cxn ang="0">
                  <a:pos x="47" y="4"/>
                </a:cxn>
                <a:cxn ang="0">
                  <a:pos x="44" y="6"/>
                </a:cxn>
                <a:cxn ang="0">
                  <a:pos x="38" y="7"/>
                </a:cxn>
                <a:cxn ang="0">
                  <a:pos x="38" y="3"/>
                </a:cxn>
                <a:cxn ang="0">
                  <a:pos x="37" y="1"/>
                </a:cxn>
                <a:cxn ang="0">
                  <a:pos x="31" y="1"/>
                </a:cxn>
                <a:cxn ang="0">
                  <a:pos x="30" y="4"/>
                </a:cxn>
                <a:cxn ang="0">
                  <a:pos x="25" y="8"/>
                </a:cxn>
                <a:cxn ang="0">
                  <a:pos x="21" y="8"/>
                </a:cxn>
                <a:cxn ang="0">
                  <a:pos x="17" y="4"/>
                </a:cxn>
                <a:cxn ang="0">
                  <a:pos x="13" y="6"/>
                </a:cxn>
                <a:cxn ang="0">
                  <a:pos x="11" y="7"/>
                </a:cxn>
                <a:cxn ang="0">
                  <a:pos x="7" y="7"/>
                </a:cxn>
                <a:cxn ang="0">
                  <a:pos x="6" y="15"/>
                </a:cxn>
                <a:cxn ang="0">
                  <a:pos x="7" y="20"/>
                </a:cxn>
                <a:cxn ang="0">
                  <a:pos x="10" y="21"/>
                </a:cxn>
                <a:cxn ang="0">
                  <a:pos x="10" y="27"/>
                </a:cxn>
                <a:cxn ang="0">
                  <a:pos x="11" y="30"/>
                </a:cxn>
                <a:cxn ang="0">
                  <a:pos x="14" y="35"/>
                </a:cxn>
                <a:cxn ang="0">
                  <a:pos x="13" y="37"/>
                </a:cxn>
                <a:cxn ang="0">
                  <a:pos x="10" y="38"/>
                </a:cxn>
                <a:cxn ang="0">
                  <a:pos x="6" y="38"/>
                </a:cxn>
                <a:cxn ang="0">
                  <a:pos x="6" y="41"/>
                </a:cxn>
                <a:cxn ang="0">
                  <a:pos x="7" y="45"/>
                </a:cxn>
                <a:cxn ang="0">
                  <a:pos x="7" y="48"/>
                </a:cxn>
                <a:cxn ang="0">
                  <a:pos x="3" y="54"/>
                </a:cxn>
                <a:cxn ang="0">
                  <a:pos x="3" y="57"/>
                </a:cxn>
                <a:cxn ang="0">
                  <a:pos x="1" y="67"/>
                </a:cxn>
                <a:cxn ang="0">
                  <a:pos x="1" y="68"/>
                </a:cxn>
                <a:cxn ang="0">
                  <a:pos x="1" y="71"/>
                </a:cxn>
                <a:cxn ang="0">
                  <a:pos x="6" y="74"/>
                </a:cxn>
                <a:cxn ang="0">
                  <a:pos x="17" y="82"/>
                </a:cxn>
                <a:cxn ang="0">
                  <a:pos x="18" y="85"/>
                </a:cxn>
                <a:cxn ang="0">
                  <a:pos x="14" y="101"/>
                </a:cxn>
                <a:cxn ang="0">
                  <a:pos x="23" y="99"/>
                </a:cxn>
                <a:cxn ang="0">
                  <a:pos x="47" y="94"/>
                </a:cxn>
                <a:cxn ang="0">
                  <a:pos x="61" y="89"/>
                </a:cxn>
                <a:cxn ang="0">
                  <a:pos x="78" y="89"/>
                </a:cxn>
                <a:cxn ang="0">
                  <a:pos x="92" y="92"/>
                </a:cxn>
                <a:cxn ang="0">
                  <a:pos x="92" y="84"/>
                </a:cxn>
              </a:cxnLst>
              <a:rect l="0" t="0" r="r" b="b"/>
              <a:pathLst>
                <a:path w="98" h="101">
                  <a:moveTo>
                    <a:pt x="92" y="84"/>
                  </a:moveTo>
                  <a:lnTo>
                    <a:pt x="92" y="84"/>
                  </a:lnTo>
                  <a:lnTo>
                    <a:pt x="88" y="75"/>
                  </a:lnTo>
                  <a:lnTo>
                    <a:pt x="85" y="67"/>
                  </a:lnTo>
                  <a:lnTo>
                    <a:pt x="85" y="67"/>
                  </a:lnTo>
                  <a:lnTo>
                    <a:pt x="89" y="60"/>
                  </a:lnTo>
                  <a:lnTo>
                    <a:pt x="91" y="54"/>
                  </a:lnTo>
                  <a:lnTo>
                    <a:pt x="92" y="51"/>
                  </a:lnTo>
                  <a:lnTo>
                    <a:pt x="92" y="51"/>
                  </a:lnTo>
                  <a:lnTo>
                    <a:pt x="92" y="48"/>
                  </a:lnTo>
                  <a:lnTo>
                    <a:pt x="95" y="45"/>
                  </a:lnTo>
                  <a:lnTo>
                    <a:pt x="97" y="43"/>
                  </a:lnTo>
                  <a:lnTo>
                    <a:pt x="98" y="40"/>
                  </a:lnTo>
                  <a:lnTo>
                    <a:pt x="98" y="40"/>
                  </a:lnTo>
                  <a:lnTo>
                    <a:pt x="97" y="30"/>
                  </a:lnTo>
                  <a:lnTo>
                    <a:pt x="95" y="23"/>
                  </a:lnTo>
                  <a:lnTo>
                    <a:pt x="92" y="15"/>
                  </a:lnTo>
                  <a:lnTo>
                    <a:pt x="92" y="15"/>
                  </a:lnTo>
                  <a:lnTo>
                    <a:pt x="89" y="14"/>
                  </a:lnTo>
                  <a:lnTo>
                    <a:pt x="89" y="14"/>
                  </a:lnTo>
                  <a:lnTo>
                    <a:pt x="85" y="13"/>
                  </a:lnTo>
                  <a:lnTo>
                    <a:pt x="81" y="11"/>
                  </a:lnTo>
                  <a:lnTo>
                    <a:pt x="75" y="13"/>
                  </a:lnTo>
                  <a:lnTo>
                    <a:pt x="71" y="15"/>
                  </a:lnTo>
                  <a:lnTo>
                    <a:pt x="71" y="15"/>
                  </a:lnTo>
                  <a:lnTo>
                    <a:pt x="68" y="17"/>
                  </a:lnTo>
                  <a:lnTo>
                    <a:pt x="67" y="17"/>
                  </a:lnTo>
                  <a:lnTo>
                    <a:pt x="62" y="15"/>
                  </a:lnTo>
                  <a:lnTo>
                    <a:pt x="58" y="11"/>
                  </a:lnTo>
                  <a:lnTo>
                    <a:pt x="57" y="10"/>
                  </a:lnTo>
                  <a:lnTo>
                    <a:pt x="57" y="10"/>
                  </a:lnTo>
                  <a:lnTo>
                    <a:pt x="54" y="7"/>
                  </a:lnTo>
                  <a:lnTo>
                    <a:pt x="51" y="6"/>
                  </a:lnTo>
                  <a:lnTo>
                    <a:pt x="47" y="4"/>
                  </a:lnTo>
                  <a:lnTo>
                    <a:pt x="44" y="6"/>
                  </a:lnTo>
                  <a:lnTo>
                    <a:pt x="44" y="6"/>
                  </a:lnTo>
                  <a:lnTo>
                    <a:pt x="41" y="7"/>
                  </a:lnTo>
                  <a:lnTo>
                    <a:pt x="38" y="7"/>
                  </a:lnTo>
                  <a:lnTo>
                    <a:pt x="38" y="6"/>
                  </a:lnTo>
                  <a:lnTo>
                    <a:pt x="38" y="3"/>
                  </a:lnTo>
                  <a:lnTo>
                    <a:pt x="38" y="3"/>
                  </a:lnTo>
                  <a:lnTo>
                    <a:pt x="37" y="1"/>
                  </a:lnTo>
                  <a:lnTo>
                    <a:pt x="34" y="0"/>
                  </a:lnTo>
                  <a:lnTo>
                    <a:pt x="31" y="1"/>
                  </a:lnTo>
                  <a:lnTo>
                    <a:pt x="30" y="4"/>
                  </a:lnTo>
                  <a:lnTo>
                    <a:pt x="30" y="4"/>
                  </a:lnTo>
                  <a:lnTo>
                    <a:pt x="28" y="7"/>
                  </a:lnTo>
                  <a:lnTo>
                    <a:pt x="25" y="8"/>
                  </a:lnTo>
                  <a:lnTo>
                    <a:pt x="23" y="10"/>
                  </a:lnTo>
                  <a:lnTo>
                    <a:pt x="21" y="8"/>
                  </a:lnTo>
                  <a:lnTo>
                    <a:pt x="21" y="8"/>
                  </a:lnTo>
                  <a:lnTo>
                    <a:pt x="17" y="4"/>
                  </a:lnTo>
                  <a:lnTo>
                    <a:pt x="14" y="4"/>
                  </a:lnTo>
                  <a:lnTo>
                    <a:pt x="13" y="6"/>
                  </a:lnTo>
                  <a:lnTo>
                    <a:pt x="13" y="6"/>
                  </a:lnTo>
                  <a:lnTo>
                    <a:pt x="11" y="7"/>
                  </a:lnTo>
                  <a:lnTo>
                    <a:pt x="10" y="8"/>
                  </a:lnTo>
                  <a:lnTo>
                    <a:pt x="7" y="7"/>
                  </a:lnTo>
                  <a:lnTo>
                    <a:pt x="7" y="7"/>
                  </a:lnTo>
                  <a:lnTo>
                    <a:pt x="6" y="15"/>
                  </a:lnTo>
                  <a:lnTo>
                    <a:pt x="6" y="18"/>
                  </a:lnTo>
                  <a:lnTo>
                    <a:pt x="7" y="20"/>
                  </a:lnTo>
                  <a:lnTo>
                    <a:pt x="7" y="20"/>
                  </a:lnTo>
                  <a:lnTo>
                    <a:pt x="10" y="21"/>
                  </a:lnTo>
                  <a:lnTo>
                    <a:pt x="10" y="24"/>
                  </a:lnTo>
                  <a:lnTo>
                    <a:pt x="10" y="27"/>
                  </a:lnTo>
                  <a:lnTo>
                    <a:pt x="10" y="27"/>
                  </a:lnTo>
                  <a:lnTo>
                    <a:pt x="11" y="30"/>
                  </a:lnTo>
                  <a:lnTo>
                    <a:pt x="13" y="33"/>
                  </a:lnTo>
                  <a:lnTo>
                    <a:pt x="14" y="35"/>
                  </a:lnTo>
                  <a:lnTo>
                    <a:pt x="13" y="37"/>
                  </a:lnTo>
                  <a:lnTo>
                    <a:pt x="13" y="37"/>
                  </a:lnTo>
                  <a:lnTo>
                    <a:pt x="11" y="38"/>
                  </a:lnTo>
                  <a:lnTo>
                    <a:pt x="10" y="38"/>
                  </a:lnTo>
                  <a:lnTo>
                    <a:pt x="7" y="37"/>
                  </a:lnTo>
                  <a:lnTo>
                    <a:pt x="6" y="38"/>
                  </a:lnTo>
                  <a:lnTo>
                    <a:pt x="6" y="38"/>
                  </a:lnTo>
                  <a:lnTo>
                    <a:pt x="6" y="41"/>
                  </a:lnTo>
                  <a:lnTo>
                    <a:pt x="7" y="44"/>
                  </a:lnTo>
                  <a:lnTo>
                    <a:pt x="7" y="45"/>
                  </a:lnTo>
                  <a:lnTo>
                    <a:pt x="7" y="48"/>
                  </a:lnTo>
                  <a:lnTo>
                    <a:pt x="7" y="48"/>
                  </a:lnTo>
                  <a:lnTo>
                    <a:pt x="4" y="51"/>
                  </a:lnTo>
                  <a:lnTo>
                    <a:pt x="3" y="54"/>
                  </a:lnTo>
                  <a:lnTo>
                    <a:pt x="3" y="57"/>
                  </a:lnTo>
                  <a:lnTo>
                    <a:pt x="3" y="57"/>
                  </a:lnTo>
                  <a:lnTo>
                    <a:pt x="3" y="64"/>
                  </a:lnTo>
                  <a:lnTo>
                    <a:pt x="1" y="67"/>
                  </a:lnTo>
                  <a:lnTo>
                    <a:pt x="1" y="68"/>
                  </a:lnTo>
                  <a:lnTo>
                    <a:pt x="1" y="68"/>
                  </a:lnTo>
                  <a:lnTo>
                    <a:pt x="0" y="70"/>
                  </a:lnTo>
                  <a:lnTo>
                    <a:pt x="1" y="71"/>
                  </a:lnTo>
                  <a:lnTo>
                    <a:pt x="6" y="74"/>
                  </a:lnTo>
                  <a:lnTo>
                    <a:pt x="6" y="74"/>
                  </a:lnTo>
                  <a:lnTo>
                    <a:pt x="14" y="78"/>
                  </a:lnTo>
                  <a:lnTo>
                    <a:pt x="17" y="82"/>
                  </a:lnTo>
                  <a:lnTo>
                    <a:pt x="18" y="85"/>
                  </a:lnTo>
                  <a:lnTo>
                    <a:pt x="18" y="85"/>
                  </a:lnTo>
                  <a:lnTo>
                    <a:pt x="17" y="91"/>
                  </a:lnTo>
                  <a:lnTo>
                    <a:pt x="14" y="101"/>
                  </a:lnTo>
                  <a:lnTo>
                    <a:pt x="14" y="101"/>
                  </a:lnTo>
                  <a:lnTo>
                    <a:pt x="23" y="99"/>
                  </a:lnTo>
                  <a:lnTo>
                    <a:pt x="34" y="97"/>
                  </a:lnTo>
                  <a:lnTo>
                    <a:pt x="47" y="94"/>
                  </a:lnTo>
                  <a:lnTo>
                    <a:pt x="61" y="89"/>
                  </a:lnTo>
                  <a:lnTo>
                    <a:pt x="61" y="89"/>
                  </a:lnTo>
                  <a:lnTo>
                    <a:pt x="70" y="89"/>
                  </a:lnTo>
                  <a:lnTo>
                    <a:pt x="78" y="89"/>
                  </a:lnTo>
                  <a:lnTo>
                    <a:pt x="92" y="92"/>
                  </a:lnTo>
                  <a:lnTo>
                    <a:pt x="92" y="92"/>
                  </a:lnTo>
                  <a:lnTo>
                    <a:pt x="92" y="88"/>
                  </a:lnTo>
                  <a:lnTo>
                    <a:pt x="92" y="84"/>
                  </a:lnTo>
                  <a:lnTo>
                    <a:pt x="92" y="8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7" name="Freeform 213">
              <a:extLst>
                <a:ext uri="{FF2B5EF4-FFF2-40B4-BE49-F238E27FC236}">
                  <a16:creationId xmlns:a16="http://schemas.microsoft.com/office/drawing/2014/main" id="{7E1D4DAE-970B-1B4B-B3F8-635825034A0B}"/>
                </a:ext>
              </a:extLst>
            </p:cNvPr>
            <p:cNvSpPr>
              <a:spLocks/>
            </p:cNvSpPr>
            <p:nvPr/>
          </p:nvSpPr>
          <p:spPr bwMode="auto">
            <a:xfrm>
              <a:off x="4246448" y="4044859"/>
              <a:ext cx="100626" cy="153897"/>
            </a:xfrm>
            <a:custGeom>
              <a:avLst/>
              <a:gdLst/>
              <a:ahLst/>
              <a:cxnLst>
                <a:cxn ang="0">
                  <a:pos x="59" y="42"/>
                </a:cxn>
                <a:cxn ang="0">
                  <a:pos x="59" y="42"/>
                </a:cxn>
                <a:cxn ang="0">
                  <a:pos x="57" y="37"/>
                </a:cxn>
                <a:cxn ang="0">
                  <a:pos x="57" y="31"/>
                </a:cxn>
                <a:cxn ang="0">
                  <a:pos x="59" y="20"/>
                </a:cxn>
                <a:cxn ang="0">
                  <a:pos x="59" y="20"/>
                </a:cxn>
                <a:cxn ang="0">
                  <a:pos x="57" y="14"/>
                </a:cxn>
                <a:cxn ang="0">
                  <a:pos x="54" y="10"/>
                </a:cxn>
                <a:cxn ang="0">
                  <a:pos x="54" y="10"/>
                </a:cxn>
                <a:cxn ang="0">
                  <a:pos x="53" y="7"/>
                </a:cxn>
                <a:cxn ang="0">
                  <a:pos x="51" y="0"/>
                </a:cxn>
                <a:cxn ang="0">
                  <a:pos x="51" y="0"/>
                </a:cxn>
                <a:cxn ang="0">
                  <a:pos x="50" y="1"/>
                </a:cxn>
                <a:cxn ang="0">
                  <a:pos x="49" y="3"/>
                </a:cxn>
                <a:cxn ang="0">
                  <a:pos x="47" y="4"/>
                </a:cxn>
                <a:cxn ang="0">
                  <a:pos x="47" y="4"/>
                </a:cxn>
                <a:cxn ang="0">
                  <a:pos x="47" y="4"/>
                </a:cxn>
                <a:cxn ang="0">
                  <a:pos x="40" y="3"/>
                </a:cxn>
                <a:cxn ang="0">
                  <a:pos x="27" y="1"/>
                </a:cxn>
                <a:cxn ang="0">
                  <a:pos x="13" y="1"/>
                </a:cxn>
                <a:cxn ang="0">
                  <a:pos x="9" y="3"/>
                </a:cxn>
                <a:cxn ang="0">
                  <a:pos x="7" y="3"/>
                </a:cxn>
                <a:cxn ang="0">
                  <a:pos x="7" y="3"/>
                </a:cxn>
                <a:cxn ang="0">
                  <a:pos x="6" y="7"/>
                </a:cxn>
                <a:cxn ang="0">
                  <a:pos x="7" y="11"/>
                </a:cxn>
                <a:cxn ang="0">
                  <a:pos x="10" y="20"/>
                </a:cxn>
                <a:cxn ang="0">
                  <a:pos x="10" y="20"/>
                </a:cxn>
                <a:cxn ang="0">
                  <a:pos x="9" y="21"/>
                </a:cxn>
                <a:cxn ang="0">
                  <a:pos x="7" y="22"/>
                </a:cxn>
                <a:cxn ang="0">
                  <a:pos x="7" y="22"/>
                </a:cxn>
                <a:cxn ang="0">
                  <a:pos x="10" y="30"/>
                </a:cxn>
                <a:cxn ang="0">
                  <a:pos x="12" y="37"/>
                </a:cxn>
                <a:cxn ang="0">
                  <a:pos x="13" y="47"/>
                </a:cxn>
                <a:cxn ang="0">
                  <a:pos x="13" y="47"/>
                </a:cxn>
                <a:cxn ang="0">
                  <a:pos x="12" y="50"/>
                </a:cxn>
                <a:cxn ang="0">
                  <a:pos x="10" y="52"/>
                </a:cxn>
                <a:cxn ang="0">
                  <a:pos x="7" y="55"/>
                </a:cxn>
                <a:cxn ang="0">
                  <a:pos x="7" y="58"/>
                </a:cxn>
                <a:cxn ang="0">
                  <a:pos x="7" y="58"/>
                </a:cxn>
                <a:cxn ang="0">
                  <a:pos x="6" y="61"/>
                </a:cxn>
                <a:cxn ang="0">
                  <a:pos x="4" y="67"/>
                </a:cxn>
                <a:cxn ang="0">
                  <a:pos x="0" y="74"/>
                </a:cxn>
                <a:cxn ang="0">
                  <a:pos x="0" y="74"/>
                </a:cxn>
                <a:cxn ang="0">
                  <a:pos x="3" y="82"/>
                </a:cxn>
                <a:cxn ang="0">
                  <a:pos x="7" y="91"/>
                </a:cxn>
                <a:cxn ang="0">
                  <a:pos x="7" y="91"/>
                </a:cxn>
                <a:cxn ang="0">
                  <a:pos x="7" y="95"/>
                </a:cxn>
                <a:cxn ang="0">
                  <a:pos x="7" y="99"/>
                </a:cxn>
                <a:cxn ang="0">
                  <a:pos x="7" y="99"/>
                </a:cxn>
                <a:cxn ang="0">
                  <a:pos x="19" y="104"/>
                </a:cxn>
                <a:cxn ang="0">
                  <a:pos x="19" y="104"/>
                </a:cxn>
                <a:cxn ang="0">
                  <a:pos x="24" y="102"/>
                </a:cxn>
                <a:cxn ang="0">
                  <a:pos x="33" y="99"/>
                </a:cxn>
                <a:cxn ang="0">
                  <a:pos x="50" y="91"/>
                </a:cxn>
                <a:cxn ang="0">
                  <a:pos x="50" y="91"/>
                </a:cxn>
                <a:cxn ang="0">
                  <a:pos x="68" y="82"/>
                </a:cxn>
                <a:cxn ang="0">
                  <a:pos x="68" y="82"/>
                </a:cxn>
                <a:cxn ang="0">
                  <a:pos x="64" y="74"/>
                </a:cxn>
                <a:cxn ang="0">
                  <a:pos x="63" y="64"/>
                </a:cxn>
                <a:cxn ang="0">
                  <a:pos x="63" y="64"/>
                </a:cxn>
                <a:cxn ang="0">
                  <a:pos x="61" y="52"/>
                </a:cxn>
                <a:cxn ang="0">
                  <a:pos x="59" y="42"/>
                </a:cxn>
                <a:cxn ang="0">
                  <a:pos x="59" y="42"/>
                </a:cxn>
              </a:cxnLst>
              <a:rect l="0" t="0" r="r" b="b"/>
              <a:pathLst>
                <a:path w="68" h="104">
                  <a:moveTo>
                    <a:pt x="59" y="42"/>
                  </a:moveTo>
                  <a:lnTo>
                    <a:pt x="59" y="42"/>
                  </a:lnTo>
                  <a:lnTo>
                    <a:pt x="57" y="37"/>
                  </a:lnTo>
                  <a:lnTo>
                    <a:pt x="57" y="31"/>
                  </a:lnTo>
                  <a:lnTo>
                    <a:pt x="59" y="20"/>
                  </a:lnTo>
                  <a:lnTo>
                    <a:pt x="59" y="20"/>
                  </a:lnTo>
                  <a:lnTo>
                    <a:pt x="57" y="14"/>
                  </a:lnTo>
                  <a:lnTo>
                    <a:pt x="54" y="10"/>
                  </a:lnTo>
                  <a:lnTo>
                    <a:pt x="54" y="10"/>
                  </a:lnTo>
                  <a:lnTo>
                    <a:pt x="53" y="7"/>
                  </a:lnTo>
                  <a:lnTo>
                    <a:pt x="51" y="0"/>
                  </a:lnTo>
                  <a:lnTo>
                    <a:pt x="51" y="0"/>
                  </a:lnTo>
                  <a:lnTo>
                    <a:pt x="50" y="1"/>
                  </a:lnTo>
                  <a:lnTo>
                    <a:pt x="49" y="3"/>
                  </a:lnTo>
                  <a:lnTo>
                    <a:pt x="47" y="4"/>
                  </a:lnTo>
                  <a:lnTo>
                    <a:pt x="47" y="4"/>
                  </a:lnTo>
                  <a:lnTo>
                    <a:pt x="47" y="4"/>
                  </a:lnTo>
                  <a:lnTo>
                    <a:pt x="40" y="3"/>
                  </a:lnTo>
                  <a:lnTo>
                    <a:pt x="27" y="1"/>
                  </a:lnTo>
                  <a:lnTo>
                    <a:pt x="13" y="1"/>
                  </a:lnTo>
                  <a:lnTo>
                    <a:pt x="9" y="3"/>
                  </a:lnTo>
                  <a:lnTo>
                    <a:pt x="7" y="3"/>
                  </a:lnTo>
                  <a:lnTo>
                    <a:pt x="7" y="3"/>
                  </a:lnTo>
                  <a:lnTo>
                    <a:pt x="6" y="7"/>
                  </a:lnTo>
                  <a:lnTo>
                    <a:pt x="7" y="11"/>
                  </a:lnTo>
                  <a:lnTo>
                    <a:pt x="10" y="20"/>
                  </a:lnTo>
                  <a:lnTo>
                    <a:pt x="10" y="20"/>
                  </a:lnTo>
                  <a:lnTo>
                    <a:pt x="9" y="21"/>
                  </a:lnTo>
                  <a:lnTo>
                    <a:pt x="7" y="22"/>
                  </a:lnTo>
                  <a:lnTo>
                    <a:pt x="7" y="22"/>
                  </a:lnTo>
                  <a:lnTo>
                    <a:pt x="10" y="30"/>
                  </a:lnTo>
                  <a:lnTo>
                    <a:pt x="12" y="37"/>
                  </a:lnTo>
                  <a:lnTo>
                    <a:pt x="13" y="47"/>
                  </a:lnTo>
                  <a:lnTo>
                    <a:pt x="13" y="47"/>
                  </a:lnTo>
                  <a:lnTo>
                    <a:pt x="12" y="50"/>
                  </a:lnTo>
                  <a:lnTo>
                    <a:pt x="10" y="52"/>
                  </a:lnTo>
                  <a:lnTo>
                    <a:pt x="7" y="55"/>
                  </a:lnTo>
                  <a:lnTo>
                    <a:pt x="7" y="58"/>
                  </a:lnTo>
                  <a:lnTo>
                    <a:pt x="7" y="58"/>
                  </a:lnTo>
                  <a:lnTo>
                    <a:pt x="6" y="61"/>
                  </a:lnTo>
                  <a:lnTo>
                    <a:pt x="4" y="67"/>
                  </a:lnTo>
                  <a:lnTo>
                    <a:pt x="0" y="74"/>
                  </a:lnTo>
                  <a:lnTo>
                    <a:pt x="0" y="74"/>
                  </a:lnTo>
                  <a:lnTo>
                    <a:pt x="3" y="82"/>
                  </a:lnTo>
                  <a:lnTo>
                    <a:pt x="7" y="91"/>
                  </a:lnTo>
                  <a:lnTo>
                    <a:pt x="7" y="91"/>
                  </a:lnTo>
                  <a:lnTo>
                    <a:pt x="7" y="95"/>
                  </a:lnTo>
                  <a:lnTo>
                    <a:pt x="7" y="99"/>
                  </a:lnTo>
                  <a:lnTo>
                    <a:pt x="7" y="99"/>
                  </a:lnTo>
                  <a:lnTo>
                    <a:pt x="19" y="104"/>
                  </a:lnTo>
                  <a:lnTo>
                    <a:pt x="19" y="104"/>
                  </a:lnTo>
                  <a:lnTo>
                    <a:pt x="24" y="102"/>
                  </a:lnTo>
                  <a:lnTo>
                    <a:pt x="33" y="99"/>
                  </a:lnTo>
                  <a:lnTo>
                    <a:pt x="50" y="91"/>
                  </a:lnTo>
                  <a:lnTo>
                    <a:pt x="50" y="91"/>
                  </a:lnTo>
                  <a:lnTo>
                    <a:pt x="68" y="82"/>
                  </a:lnTo>
                  <a:lnTo>
                    <a:pt x="68" y="82"/>
                  </a:lnTo>
                  <a:lnTo>
                    <a:pt x="64" y="74"/>
                  </a:lnTo>
                  <a:lnTo>
                    <a:pt x="63" y="64"/>
                  </a:lnTo>
                  <a:lnTo>
                    <a:pt x="63" y="64"/>
                  </a:lnTo>
                  <a:lnTo>
                    <a:pt x="61" y="52"/>
                  </a:lnTo>
                  <a:lnTo>
                    <a:pt x="59" y="42"/>
                  </a:lnTo>
                  <a:lnTo>
                    <a:pt x="59"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8" name="Freeform 214">
              <a:extLst>
                <a:ext uri="{FF2B5EF4-FFF2-40B4-BE49-F238E27FC236}">
                  <a16:creationId xmlns:a16="http://schemas.microsoft.com/office/drawing/2014/main" id="{32580E71-4A62-E346-8214-230E91B68574}"/>
                </a:ext>
              </a:extLst>
            </p:cNvPr>
            <p:cNvSpPr>
              <a:spLocks/>
            </p:cNvSpPr>
            <p:nvPr/>
          </p:nvSpPr>
          <p:spPr bwMode="auto">
            <a:xfrm>
              <a:off x="3965288" y="4006384"/>
              <a:ext cx="176094" cy="133181"/>
            </a:xfrm>
            <a:custGeom>
              <a:avLst/>
              <a:gdLst/>
              <a:ahLst/>
              <a:cxnLst>
                <a:cxn ang="0">
                  <a:pos x="41" y="47"/>
                </a:cxn>
                <a:cxn ang="0">
                  <a:pos x="47" y="47"/>
                </a:cxn>
                <a:cxn ang="0">
                  <a:pos x="59" y="44"/>
                </a:cxn>
                <a:cxn ang="0">
                  <a:pos x="66" y="51"/>
                </a:cxn>
                <a:cxn ang="0">
                  <a:pos x="72" y="60"/>
                </a:cxn>
                <a:cxn ang="0">
                  <a:pos x="74" y="70"/>
                </a:cxn>
                <a:cxn ang="0">
                  <a:pos x="86" y="70"/>
                </a:cxn>
                <a:cxn ang="0">
                  <a:pos x="89" y="74"/>
                </a:cxn>
                <a:cxn ang="0">
                  <a:pos x="91" y="83"/>
                </a:cxn>
                <a:cxn ang="0">
                  <a:pos x="96" y="90"/>
                </a:cxn>
                <a:cxn ang="0">
                  <a:pos x="102" y="84"/>
                </a:cxn>
                <a:cxn ang="0">
                  <a:pos x="105" y="84"/>
                </a:cxn>
                <a:cxn ang="0">
                  <a:pos x="108" y="85"/>
                </a:cxn>
                <a:cxn ang="0">
                  <a:pos x="112" y="81"/>
                </a:cxn>
                <a:cxn ang="0">
                  <a:pos x="111" y="74"/>
                </a:cxn>
                <a:cxn ang="0">
                  <a:pos x="112" y="70"/>
                </a:cxn>
                <a:cxn ang="0">
                  <a:pos x="118" y="70"/>
                </a:cxn>
                <a:cxn ang="0">
                  <a:pos x="118" y="66"/>
                </a:cxn>
                <a:cxn ang="0">
                  <a:pos x="115" y="60"/>
                </a:cxn>
                <a:cxn ang="0">
                  <a:pos x="112" y="53"/>
                </a:cxn>
                <a:cxn ang="0">
                  <a:pos x="111" y="48"/>
                </a:cxn>
                <a:cxn ang="0">
                  <a:pos x="111" y="39"/>
                </a:cxn>
                <a:cxn ang="0">
                  <a:pos x="109" y="33"/>
                </a:cxn>
                <a:cxn ang="0">
                  <a:pos x="106" y="29"/>
                </a:cxn>
                <a:cxn ang="0">
                  <a:pos x="105" y="24"/>
                </a:cxn>
                <a:cxn ang="0">
                  <a:pos x="108" y="23"/>
                </a:cxn>
                <a:cxn ang="0">
                  <a:pos x="102" y="19"/>
                </a:cxn>
                <a:cxn ang="0">
                  <a:pos x="99" y="9"/>
                </a:cxn>
                <a:cxn ang="0">
                  <a:pos x="95" y="4"/>
                </a:cxn>
                <a:cxn ang="0">
                  <a:pos x="86" y="10"/>
                </a:cxn>
                <a:cxn ang="0">
                  <a:pos x="78" y="10"/>
                </a:cxn>
                <a:cxn ang="0">
                  <a:pos x="72" y="11"/>
                </a:cxn>
                <a:cxn ang="0">
                  <a:pos x="68" y="11"/>
                </a:cxn>
                <a:cxn ang="0">
                  <a:pos x="64" y="13"/>
                </a:cxn>
                <a:cxn ang="0">
                  <a:pos x="59" y="9"/>
                </a:cxn>
                <a:cxn ang="0">
                  <a:pos x="59" y="6"/>
                </a:cxn>
                <a:cxn ang="0">
                  <a:pos x="49" y="7"/>
                </a:cxn>
                <a:cxn ang="0">
                  <a:pos x="34" y="4"/>
                </a:cxn>
                <a:cxn ang="0">
                  <a:pos x="28" y="2"/>
                </a:cxn>
                <a:cxn ang="0">
                  <a:pos x="22" y="3"/>
                </a:cxn>
                <a:cxn ang="0">
                  <a:pos x="18" y="7"/>
                </a:cxn>
                <a:cxn ang="0">
                  <a:pos x="20" y="14"/>
                </a:cxn>
                <a:cxn ang="0">
                  <a:pos x="15" y="17"/>
                </a:cxn>
                <a:cxn ang="0">
                  <a:pos x="11" y="17"/>
                </a:cxn>
                <a:cxn ang="0">
                  <a:pos x="1" y="26"/>
                </a:cxn>
                <a:cxn ang="0">
                  <a:pos x="2" y="30"/>
                </a:cxn>
                <a:cxn ang="0">
                  <a:pos x="11" y="41"/>
                </a:cxn>
                <a:cxn ang="0">
                  <a:pos x="25" y="54"/>
                </a:cxn>
                <a:cxn ang="0">
                  <a:pos x="35" y="54"/>
                </a:cxn>
                <a:cxn ang="0">
                  <a:pos x="39" y="48"/>
                </a:cxn>
              </a:cxnLst>
              <a:rect l="0" t="0" r="r" b="b"/>
              <a:pathLst>
                <a:path w="119" h="90">
                  <a:moveTo>
                    <a:pt x="39" y="48"/>
                  </a:moveTo>
                  <a:lnTo>
                    <a:pt x="39" y="48"/>
                  </a:lnTo>
                  <a:lnTo>
                    <a:pt x="41" y="47"/>
                  </a:lnTo>
                  <a:lnTo>
                    <a:pt x="42" y="46"/>
                  </a:lnTo>
                  <a:lnTo>
                    <a:pt x="47" y="47"/>
                  </a:lnTo>
                  <a:lnTo>
                    <a:pt x="47" y="47"/>
                  </a:lnTo>
                  <a:lnTo>
                    <a:pt x="49" y="47"/>
                  </a:lnTo>
                  <a:lnTo>
                    <a:pt x="54" y="46"/>
                  </a:lnTo>
                  <a:lnTo>
                    <a:pt x="59" y="44"/>
                  </a:lnTo>
                  <a:lnTo>
                    <a:pt x="59" y="44"/>
                  </a:lnTo>
                  <a:lnTo>
                    <a:pt x="62" y="47"/>
                  </a:lnTo>
                  <a:lnTo>
                    <a:pt x="66" y="51"/>
                  </a:lnTo>
                  <a:lnTo>
                    <a:pt x="71" y="57"/>
                  </a:lnTo>
                  <a:lnTo>
                    <a:pt x="72" y="60"/>
                  </a:lnTo>
                  <a:lnTo>
                    <a:pt x="72" y="60"/>
                  </a:lnTo>
                  <a:lnTo>
                    <a:pt x="72" y="66"/>
                  </a:lnTo>
                  <a:lnTo>
                    <a:pt x="74" y="70"/>
                  </a:lnTo>
                  <a:lnTo>
                    <a:pt x="74" y="70"/>
                  </a:lnTo>
                  <a:lnTo>
                    <a:pt x="75" y="71"/>
                  </a:lnTo>
                  <a:lnTo>
                    <a:pt x="75" y="71"/>
                  </a:lnTo>
                  <a:lnTo>
                    <a:pt x="86" y="70"/>
                  </a:lnTo>
                  <a:lnTo>
                    <a:pt x="86" y="70"/>
                  </a:lnTo>
                  <a:lnTo>
                    <a:pt x="88" y="71"/>
                  </a:lnTo>
                  <a:lnTo>
                    <a:pt x="89" y="74"/>
                  </a:lnTo>
                  <a:lnTo>
                    <a:pt x="91" y="78"/>
                  </a:lnTo>
                  <a:lnTo>
                    <a:pt x="91" y="83"/>
                  </a:lnTo>
                  <a:lnTo>
                    <a:pt x="91" y="83"/>
                  </a:lnTo>
                  <a:lnTo>
                    <a:pt x="91" y="87"/>
                  </a:lnTo>
                  <a:lnTo>
                    <a:pt x="93" y="88"/>
                  </a:lnTo>
                  <a:lnTo>
                    <a:pt x="96" y="90"/>
                  </a:lnTo>
                  <a:lnTo>
                    <a:pt x="98" y="88"/>
                  </a:lnTo>
                  <a:lnTo>
                    <a:pt x="98" y="88"/>
                  </a:lnTo>
                  <a:lnTo>
                    <a:pt x="102" y="84"/>
                  </a:lnTo>
                  <a:lnTo>
                    <a:pt x="103" y="83"/>
                  </a:lnTo>
                  <a:lnTo>
                    <a:pt x="105" y="84"/>
                  </a:lnTo>
                  <a:lnTo>
                    <a:pt x="105" y="84"/>
                  </a:lnTo>
                  <a:lnTo>
                    <a:pt x="106" y="85"/>
                  </a:lnTo>
                  <a:lnTo>
                    <a:pt x="108" y="85"/>
                  </a:lnTo>
                  <a:lnTo>
                    <a:pt x="108" y="85"/>
                  </a:lnTo>
                  <a:lnTo>
                    <a:pt x="109" y="84"/>
                  </a:lnTo>
                  <a:lnTo>
                    <a:pt x="112" y="81"/>
                  </a:lnTo>
                  <a:lnTo>
                    <a:pt x="112" y="81"/>
                  </a:lnTo>
                  <a:lnTo>
                    <a:pt x="112" y="78"/>
                  </a:lnTo>
                  <a:lnTo>
                    <a:pt x="112" y="77"/>
                  </a:lnTo>
                  <a:lnTo>
                    <a:pt x="111" y="74"/>
                  </a:lnTo>
                  <a:lnTo>
                    <a:pt x="111" y="71"/>
                  </a:lnTo>
                  <a:lnTo>
                    <a:pt x="111" y="71"/>
                  </a:lnTo>
                  <a:lnTo>
                    <a:pt x="112" y="70"/>
                  </a:lnTo>
                  <a:lnTo>
                    <a:pt x="115" y="71"/>
                  </a:lnTo>
                  <a:lnTo>
                    <a:pt x="116" y="71"/>
                  </a:lnTo>
                  <a:lnTo>
                    <a:pt x="118" y="70"/>
                  </a:lnTo>
                  <a:lnTo>
                    <a:pt x="118" y="70"/>
                  </a:lnTo>
                  <a:lnTo>
                    <a:pt x="119" y="68"/>
                  </a:lnTo>
                  <a:lnTo>
                    <a:pt x="118" y="66"/>
                  </a:lnTo>
                  <a:lnTo>
                    <a:pt x="116" y="63"/>
                  </a:lnTo>
                  <a:lnTo>
                    <a:pt x="115" y="60"/>
                  </a:lnTo>
                  <a:lnTo>
                    <a:pt x="115" y="60"/>
                  </a:lnTo>
                  <a:lnTo>
                    <a:pt x="115" y="57"/>
                  </a:lnTo>
                  <a:lnTo>
                    <a:pt x="115" y="54"/>
                  </a:lnTo>
                  <a:lnTo>
                    <a:pt x="112" y="53"/>
                  </a:lnTo>
                  <a:lnTo>
                    <a:pt x="112" y="53"/>
                  </a:lnTo>
                  <a:lnTo>
                    <a:pt x="111" y="51"/>
                  </a:lnTo>
                  <a:lnTo>
                    <a:pt x="111" y="48"/>
                  </a:lnTo>
                  <a:lnTo>
                    <a:pt x="112" y="40"/>
                  </a:lnTo>
                  <a:lnTo>
                    <a:pt x="112" y="40"/>
                  </a:lnTo>
                  <a:lnTo>
                    <a:pt x="111" y="39"/>
                  </a:lnTo>
                  <a:lnTo>
                    <a:pt x="111" y="39"/>
                  </a:lnTo>
                  <a:lnTo>
                    <a:pt x="109" y="36"/>
                  </a:lnTo>
                  <a:lnTo>
                    <a:pt x="109" y="33"/>
                  </a:lnTo>
                  <a:lnTo>
                    <a:pt x="108" y="30"/>
                  </a:lnTo>
                  <a:lnTo>
                    <a:pt x="106" y="29"/>
                  </a:lnTo>
                  <a:lnTo>
                    <a:pt x="106" y="29"/>
                  </a:lnTo>
                  <a:lnTo>
                    <a:pt x="105" y="29"/>
                  </a:lnTo>
                  <a:lnTo>
                    <a:pt x="105" y="26"/>
                  </a:lnTo>
                  <a:lnTo>
                    <a:pt x="105" y="24"/>
                  </a:lnTo>
                  <a:lnTo>
                    <a:pt x="106" y="23"/>
                  </a:lnTo>
                  <a:lnTo>
                    <a:pt x="106" y="23"/>
                  </a:lnTo>
                  <a:lnTo>
                    <a:pt x="108" y="23"/>
                  </a:lnTo>
                  <a:lnTo>
                    <a:pt x="106" y="21"/>
                  </a:lnTo>
                  <a:lnTo>
                    <a:pt x="105" y="20"/>
                  </a:lnTo>
                  <a:lnTo>
                    <a:pt x="102" y="19"/>
                  </a:lnTo>
                  <a:lnTo>
                    <a:pt x="101" y="16"/>
                  </a:lnTo>
                  <a:lnTo>
                    <a:pt x="101" y="16"/>
                  </a:lnTo>
                  <a:lnTo>
                    <a:pt x="99" y="9"/>
                  </a:lnTo>
                  <a:lnTo>
                    <a:pt x="96" y="6"/>
                  </a:lnTo>
                  <a:lnTo>
                    <a:pt x="95" y="4"/>
                  </a:lnTo>
                  <a:lnTo>
                    <a:pt x="95" y="4"/>
                  </a:lnTo>
                  <a:lnTo>
                    <a:pt x="92" y="4"/>
                  </a:lnTo>
                  <a:lnTo>
                    <a:pt x="89" y="7"/>
                  </a:lnTo>
                  <a:lnTo>
                    <a:pt x="86" y="10"/>
                  </a:lnTo>
                  <a:lnTo>
                    <a:pt x="84" y="11"/>
                  </a:lnTo>
                  <a:lnTo>
                    <a:pt x="84" y="11"/>
                  </a:lnTo>
                  <a:lnTo>
                    <a:pt x="78" y="10"/>
                  </a:lnTo>
                  <a:lnTo>
                    <a:pt x="75" y="9"/>
                  </a:lnTo>
                  <a:lnTo>
                    <a:pt x="74" y="10"/>
                  </a:lnTo>
                  <a:lnTo>
                    <a:pt x="72" y="11"/>
                  </a:lnTo>
                  <a:lnTo>
                    <a:pt x="72" y="11"/>
                  </a:lnTo>
                  <a:lnTo>
                    <a:pt x="71" y="13"/>
                  </a:lnTo>
                  <a:lnTo>
                    <a:pt x="68" y="11"/>
                  </a:lnTo>
                  <a:lnTo>
                    <a:pt x="65" y="11"/>
                  </a:lnTo>
                  <a:lnTo>
                    <a:pt x="64" y="13"/>
                  </a:lnTo>
                  <a:lnTo>
                    <a:pt x="64" y="13"/>
                  </a:lnTo>
                  <a:lnTo>
                    <a:pt x="61" y="13"/>
                  </a:lnTo>
                  <a:lnTo>
                    <a:pt x="59" y="11"/>
                  </a:lnTo>
                  <a:lnTo>
                    <a:pt x="59" y="9"/>
                  </a:lnTo>
                  <a:lnTo>
                    <a:pt x="59" y="9"/>
                  </a:lnTo>
                  <a:lnTo>
                    <a:pt x="59" y="6"/>
                  </a:lnTo>
                  <a:lnTo>
                    <a:pt x="59" y="6"/>
                  </a:lnTo>
                  <a:lnTo>
                    <a:pt x="56" y="6"/>
                  </a:lnTo>
                  <a:lnTo>
                    <a:pt x="56" y="6"/>
                  </a:lnTo>
                  <a:lnTo>
                    <a:pt x="49" y="7"/>
                  </a:lnTo>
                  <a:lnTo>
                    <a:pt x="42" y="7"/>
                  </a:lnTo>
                  <a:lnTo>
                    <a:pt x="37" y="6"/>
                  </a:lnTo>
                  <a:lnTo>
                    <a:pt x="34" y="4"/>
                  </a:lnTo>
                  <a:lnTo>
                    <a:pt x="34" y="4"/>
                  </a:lnTo>
                  <a:lnTo>
                    <a:pt x="31" y="3"/>
                  </a:lnTo>
                  <a:lnTo>
                    <a:pt x="28" y="2"/>
                  </a:lnTo>
                  <a:lnTo>
                    <a:pt x="22" y="0"/>
                  </a:lnTo>
                  <a:lnTo>
                    <a:pt x="22" y="0"/>
                  </a:lnTo>
                  <a:lnTo>
                    <a:pt x="22" y="3"/>
                  </a:lnTo>
                  <a:lnTo>
                    <a:pt x="21" y="6"/>
                  </a:lnTo>
                  <a:lnTo>
                    <a:pt x="18" y="7"/>
                  </a:lnTo>
                  <a:lnTo>
                    <a:pt x="18" y="7"/>
                  </a:lnTo>
                  <a:lnTo>
                    <a:pt x="17" y="9"/>
                  </a:lnTo>
                  <a:lnTo>
                    <a:pt x="18" y="11"/>
                  </a:lnTo>
                  <a:lnTo>
                    <a:pt x="20" y="14"/>
                  </a:lnTo>
                  <a:lnTo>
                    <a:pt x="20" y="14"/>
                  </a:lnTo>
                  <a:lnTo>
                    <a:pt x="18" y="17"/>
                  </a:lnTo>
                  <a:lnTo>
                    <a:pt x="15" y="17"/>
                  </a:lnTo>
                  <a:lnTo>
                    <a:pt x="14" y="17"/>
                  </a:lnTo>
                  <a:lnTo>
                    <a:pt x="14" y="17"/>
                  </a:lnTo>
                  <a:lnTo>
                    <a:pt x="11" y="17"/>
                  </a:lnTo>
                  <a:lnTo>
                    <a:pt x="8" y="20"/>
                  </a:lnTo>
                  <a:lnTo>
                    <a:pt x="1" y="26"/>
                  </a:lnTo>
                  <a:lnTo>
                    <a:pt x="1" y="26"/>
                  </a:lnTo>
                  <a:lnTo>
                    <a:pt x="0" y="27"/>
                  </a:lnTo>
                  <a:lnTo>
                    <a:pt x="0" y="27"/>
                  </a:lnTo>
                  <a:lnTo>
                    <a:pt x="2" y="30"/>
                  </a:lnTo>
                  <a:lnTo>
                    <a:pt x="4" y="34"/>
                  </a:lnTo>
                  <a:lnTo>
                    <a:pt x="7" y="37"/>
                  </a:lnTo>
                  <a:lnTo>
                    <a:pt x="11" y="41"/>
                  </a:lnTo>
                  <a:lnTo>
                    <a:pt x="11" y="41"/>
                  </a:lnTo>
                  <a:lnTo>
                    <a:pt x="20" y="48"/>
                  </a:lnTo>
                  <a:lnTo>
                    <a:pt x="25" y="54"/>
                  </a:lnTo>
                  <a:lnTo>
                    <a:pt x="28" y="61"/>
                  </a:lnTo>
                  <a:lnTo>
                    <a:pt x="28" y="61"/>
                  </a:lnTo>
                  <a:lnTo>
                    <a:pt x="35" y="54"/>
                  </a:lnTo>
                  <a:lnTo>
                    <a:pt x="38" y="51"/>
                  </a:lnTo>
                  <a:lnTo>
                    <a:pt x="39" y="48"/>
                  </a:lnTo>
                  <a:lnTo>
                    <a:pt x="39"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9" name="Freeform 215">
              <a:extLst>
                <a:ext uri="{FF2B5EF4-FFF2-40B4-BE49-F238E27FC236}">
                  <a16:creationId xmlns:a16="http://schemas.microsoft.com/office/drawing/2014/main" id="{E30E6826-AA45-464D-B1ED-FEC02D01DCFB}"/>
                </a:ext>
              </a:extLst>
            </p:cNvPr>
            <p:cNvSpPr>
              <a:spLocks/>
            </p:cNvSpPr>
            <p:nvPr/>
          </p:nvSpPr>
          <p:spPr bwMode="auto">
            <a:xfrm>
              <a:off x="4048156" y="4109969"/>
              <a:ext cx="99146" cy="94706"/>
            </a:xfrm>
            <a:custGeom>
              <a:avLst/>
              <a:gdLst/>
              <a:ahLst/>
              <a:cxnLst>
                <a:cxn ang="0">
                  <a:pos x="55" y="37"/>
                </a:cxn>
                <a:cxn ang="0">
                  <a:pos x="55" y="37"/>
                </a:cxn>
                <a:cxn ang="0">
                  <a:pos x="50" y="34"/>
                </a:cxn>
                <a:cxn ang="0">
                  <a:pos x="49" y="33"/>
                </a:cxn>
                <a:cxn ang="0">
                  <a:pos x="50" y="31"/>
                </a:cxn>
                <a:cxn ang="0">
                  <a:pos x="50" y="31"/>
                </a:cxn>
                <a:cxn ang="0">
                  <a:pos x="50" y="30"/>
                </a:cxn>
                <a:cxn ang="0">
                  <a:pos x="52" y="27"/>
                </a:cxn>
                <a:cxn ang="0">
                  <a:pos x="52" y="20"/>
                </a:cxn>
                <a:cxn ang="0">
                  <a:pos x="52" y="20"/>
                </a:cxn>
                <a:cxn ang="0">
                  <a:pos x="52" y="15"/>
                </a:cxn>
                <a:cxn ang="0">
                  <a:pos x="52" y="15"/>
                </a:cxn>
                <a:cxn ang="0">
                  <a:pos x="50" y="15"/>
                </a:cxn>
                <a:cxn ang="0">
                  <a:pos x="49" y="14"/>
                </a:cxn>
                <a:cxn ang="0">
                  <a:pos x="49" y="14"/>
                </a:cxn>
                <a:cxn ang="0">
                  <a:pos x="47" y="13"/>
                </a:cxn>
                <a:cxn ang="0">
                  <a:pos x="46" y="14"/>
                </a:cxn>
                <a:cxn ang="0">
                  <a:pos x="42" y="18"/>
                </a:cxn>
                <a:cxn ang="0">
                  <a:pos x="42" y="18"/>
                </a:cxn>
                <a:cxn ang="0">
                  <a:pos x="40" y="20"/>
                </a:cxn>
                <a:cxn ang="0">
                  <a:pos x="37" y="18"/>
                </a:cxn>
                <a:cxn ang="0">
                  <a:pos x="35" y="17"/>
                </a:cxn>
                <a:cxn ang="0">
                  <a:pos x="35" y="13"/>
                </a:cxn>
                <a:cxn ang="0">
                  <a:pos x="35" y="13"/>
                </a:cxn>
                <a:cxn ang="0">
                  <a:pos x="35" y="8"/>
                </a:cxn>
                <a:cxn ang="0">
                  <a:pos x="33" y="4"/>
                </a:cxn>
                <a:cxn ang="0">
                  <a:pos x="32" y="1"/>
                </a:cxn>
                <a:cxn ang="0">
                  <a:pos x="30" y="0"/>
                </a:cxn>
                <a:cxn ang="0">
                  <a:pos x="30" y="0"/>
                </a:cxn>
                <a:cxn ang="0">
                  <a:pos x="19" y="1"/>
                </a:cxn>
                <a:cxn ang="0">
                  <a:pos x="19" y="1"/>
                </a:cxn>
                <a:cxn ang="0">
                  <a:pos x="19" y="6"/>
                </a:cxn>
                <a:cxn ang="0">
                  <a:pos x="18" y="10"/>
                </a:cxn>
                <a:cxn ang="0">
                  <a:pos x="18" y="10"/>
                </a:cxn>
                <a:cxn ang="0">
                  <a:pos x="15" y="13"/>
                </a:cxn>
                <a:cxn ang="0">
                  <a:pos x="12" y="15"/>
                </a:cxn>
                <a:cxn ang="0">
                  <a:pos x="5" y="20"/>
                </a:cxn>
                <a:cxn ang="0">
                  <a:pos x="5" y="20"/>
                </a:cxn>
                <a:cxn ang="0">
                  <a:pos x="0" y="25"/>
                </a:cxn>
                <a:cxn ang="0">
                  <a:pos x="0" y="25"/>
                </a:cxn>
                <a:cxn ang="0">
                  <a:pos x="22" y="40"/>
                </a:cxn>
                <a:cxn ang="0">
                  <a:pos x="22" y="40"/>
                </a:cxn>
                <a:cxn ang="0">
                  <a:pos x="42" y="54"/>
                </a:cxn>
                <a:cxn ang="0">
                  <a:pos x="52" y="60"/>
                </a:cxn>
                <a:cxn ang="0">
                  <a:pos x="59" y="62"/>
                </a:cxn>
                <a:cxn ang="0">
                  <a:pos x="59" y="62"/>
                </a:cxn>
                <a:cxn ang="0">
                  <a:pos x="63" y="64"/>
                </a:cxn>
                <a:cxn ang="0">
                  <a:pos x="63" y="64"/>
                </a:cxn>
                <a:cxn ang="0">
                  <a:pos x="66" y="54"/>
                </a:cxn>
                <a:cxn ang="0">
                  <a:pos x="67" y="48"/>
                </a:cxn>
                <a:cxn ang="0">
                  <a:pos x="67" y="48"/>
                </a:cxn>
                <a:cxn ang="0">
                  <a:pos x="66" y="45"/>
                </a:cxn>
                <a:cxn ang="0">
                  <a:pos x="63" y="41"/>
                </a:cxn>
                <a:cxn ang="0">
                  <a:pos x="55" y="37"/>
                </a:cxn>
                <a:cxn ang="0">
                  <a:pos x="55" y="37"/>
                </a:cxn>
              </a:cxnLst>
              <a:rect l="0" t="0" r="r" b="b"/>
              <a:pathLst>
                <a:path w="67" h="64">
                  <a:moveTo>
                    <a:pt x="55" y="37"/>
                  </a:moveTo>
                  <a:lnTo>
                    <a:pt x="55" y="37"/>
                  </a:lnTo>
                  <a:lnTo>
                    <a:pt x="50" y="34"/>
                  </a:lnTo>
                  <a:lnTo>
                    <a:pt x="49" y="33"/>
                  </a:lnTo>
                  <a:lnTo>
                    <a:pt x="50" y="31"/>
                  </a:lnTo>
                  <a:lnTo>
                    <a:pt x="50" y="31"/>
                  </a:lnTo>
                  <a:lnTo>
                    <a:pt x="50" y="30"/>
                  </a:lnTo>
                  <a:lnTo>
                    <a:pt x="52" y="27"/>
                  </a:lnTo>
                  <a:lnTo>
                    <a:pt x="52" y="20"/>
                  </a:lnTo>
                  <a:lnTo>
                    <a:pt x="52" y="20"/>
                  </a:lnTo>
                  <a:lnTo>
                    <a:pt x="52" y="15"/>
                  </a:lnTo>
                  <a:lnTo>
                    <a:pt x="52" y="15"/>
                  </a:lnTo>
                  <a:lnTo>
                    <a:pt x="50" y="15"/>
                  </a:lnTo>
                  <a:lnTo>
                    <a:pt x="49" y="14"/>
                  </a:lnTo>
                  <a:lnTo>
                    <a:pt x="49" y="14"/>
                  </a:lnTo>
                  <a:lnTo>
                    <a:pt x="47" y="13"/>
                  </a:lnTo>
                  <a:lnTo>
                    <a:pt x="46" y="14"/>
                  </a:lnTo>
                  <a:lnTo>
                    <a:pt x="42" y="18"/>
                  </a:lnTo>
                  <a:lnTo>
                    <a:pt x="42" y="18"/>
                  </a:lnTo>
                  <a:lnTo>
                    <a:pt x="40" y="20"/>
                  </a:lnTo>
                  <a:lnTo>
                    <a:pt x="37" y="18"/>
                  </a:lnTo>
                  <a:lnTo>
                    <a:pt x="35" y="17"/>
                  </a:lnTo>
                  <a:lnTo>
                    <a:pt x="35" y="13"/>
                  </a:lnTo>
                  <a:lnTo>
                    <a:pt x="35" y="13"/>
                  </a:lnTo>
                  <a:lnTo>
                    <a:pt x="35" y="8"/>
                  </a:lnTo>
                  <a:lnTo>
                    <a:pt x="33" y="4"/>
                  </a:lnTo>
                  <a:lnTo>
                    <a:pt x="32" y="1"/>
                  </a:lnTo>
                  <a:lnTo>
                    <a:pt x="30" y="0"/>
                  </a:lnTo>
                  <a:lnTo>
                    <a:pt x="30" y="0"/>
                  </a:lnTo>
                  <a:lnTo>
                    <a:pt x="19" y="1"/>
                  </a:lnTo>
                  <a:lnTo>
                    <a:pt x="19" y="1"/>
                  </a:lnTo>
                  <a:lnTo>
                    <a:pt x="19" y="6"/>
                  </a:lnTo>
                  <a:lnTo>
                    <a:pt x="18" y="10"/>
                  </a:lnTo>
                  <a:lnTo>
                    <a:pt x="18" y="10"/>
                  </a:lnTo>
                  <a:lnTo>
                    <a:pt x="15" y="13"/>
                  </a:lnTo>
                  <a:lnTo>
                    <a:pt x="12" y="15"/>
                  </a:lnTo>
                  <a:lnTo>
                    <a:pt x="5" y="20"/>
                  </a:lnTo>
                  <a:lnTo>
                    <a:pt x="5" y="20"/>
                  </a:lnTo>
                  <a:lnTo>
                    <a:pt x="0" y="25"/>
                  </a:lnTo>
                  <a:lnTo>
                    <a:pt x="0" y="25"/>
                  </a:lnTo>
                  <a:lnTo>
                    <a:pt x="22" y="40"/>
                  </a:lnTo>
                  <a:lnTo>
                    <a:pt x="22" y="40"/>
                  </a:lnTo>
                  <a:lnTo>
                    <a:pt x="42" y="54"/>
                  </a:lnTo>
                  <a:lnTo>
                    <a:pt x="52" y="60"/>
                  </a:lnTo>
                  <a:lnTo>
                    <a:pt x="59" y="62"/>
                  </a:lnTo>
                  <a:lnTo>
                    <a:pt x="59" y="62"/>
                  </a:lnTo>
                  <a:lnTo>
                    <a:pt x="63" y="64"/>
                  </a:lnTo>
                  <a:lnTo>
                    <a:pt x="63" y="64"/>
                  </a:lnTo>
                  <a:lnTo>
                    <a:pt x="66" y="54"/>
                  </a:lnTo>
                  <a:lnTo>
                    <a:pt x="67" y="48"/>
                  </a:lnTo>
                  <a:lnTo>
                    <a:pt x="67" y="48"/>
                  </a:lnTo>
                  <a:lnTo>
                    <a:pt x="66" y="45"/>
                  </a:lnTo>
                  <a:lnTo>
                    <a:pt x="63" y="41"/>
                  </a:lnTo>
                  <a:lnTo>
                    <a:pt x="55" y="37"/>
                  </a:lnTo>
                  <a:lnTo>
                    <a:pt x="55" y="3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0" name="Freeform 216">
              <a:extLst>
                <a:ext uri="{FF2B5EF4-FFF2-40B4-BE49-F238E27FC236}">
                  <a16:creationId xmlns:a16="http://schemas.microsoft.com/office/drawing/2014/main" id="{E93EC4AB-F8D3-8946-9053-AC7CA04952B4}"/>
                </a:ext>
              </a:extLst>
            </p:cNvPr>
            <p:cNvSpPr>
              <a:spLocks/>
            </p:cNvSpPr>
            <p:nvPr/>
          </p:nvSpPr>
          <p:spPr bwMode="auto">
            <a:xfrm>
              <a:off x="4006723" y="4071495"/>
              <a:ext cx="69550" cy="75470"/>
            </a:xfrm>
            <a:custGeom>
              <a:avLst/>
              <a:gdLst/>
              <a:ahLst/>
              <a:cxnLst>
                <a:cxn ang="0">
                  <a:pos x="46" y="36"/>
                </a:cxn>
                <a:cxn ang="0">
                  <a:pos x="46" y="36"/>
                </a:cxn>
                <a:cxn ang="0">
                  <a:pos x="47" y="30"/>
                </a:cxn>
                <a:cxn ang="0">
                  <a:pos x="47" y="29"/>
                </a:cxn>
                <a:cxn ang="0">
                  <a:pos x="46" y="26"/>
                </a:cxn>
                <a:cxn ang="0">
                  <a:pos x="46" y="26"/>
                </a:cxn>
                <a:cxn ang="0">
                  <a:pos x="44" y="22"/>
                </a:cxn>
                <a:cxn ang="0">
                  <a:pos x="44" y="16"/>
                </a:cxn>
                <a:cxn ang="0">
                  <a:pos x="44" y="16"/>
                </a:cxn>
                <a:cxn ang="0">
                  <a:pos x="43" y="13"/>
                </a:cxn>
                <a:cxn ang="0">
                  <a:pos x="38" y="7"/>
                </a:cxn>
                <a:cxn ang="0">
                  <a:pos x="34" y="3"/>
                </a:cxn>
                <a:cxn ang="0">
                  <a:pos x="31" y="0"/>
                </a:cxn>
                <a:cxn ang="0">
                  <a:pos x="31" y="0"/>
                </a:cxn>
                <a:cxn ang="0">
                  <a:pos x="26" y="2"/>
                </a:cxn>
                <a:cxn ang="0">
                  <a:pos x="21" y="3"/>
                </a:cxn>
                <a:cxn ang="0">
                  <a:pos x="19" y="3"/>
                </a:cxn>
                <a:cxn ang="0">
                  <a:pos x="19" y="3"/>
                </a:cxn>
                <a:cxn ang="0">
                  <a:pos x="14" y="2"/>
                </a:cxn>
                <a:cxn ang="0">
                  <a:pos x="13" y="3"/>
                </a:cxn>
                <a:cxn ang="0">
                  <a:pos x="11" y="4"/>
                </a:cxn>
                <a:cxn ang="0">
                  <a:pos x="11" y="4"/>
                </a:cxn>
                <a:cxn ang="0">
                  <a:pos x="10" y="7"/>
                </a:cxn>
                <a:cxn ang="0">
                  <a:pos x="7" y="10"/>
                </a:cxn>
                <a:cxn ang="0">
                  <a:pos x="0" y="17"/>
                </a:cxn>
                <a:cxn ang="0">
                  <a:pos x="0" y="17"/>
                </a:cxn>
                <a:cxn ang="0">
                  <a:pos x="3" y="23"/>
                </a:cxn>
                <a:cxn ang="0">
                  <a:pos x="3" y="23"/>
                </a:cxn>
                <a:cxn ang="0">
                  <a:pos x="6" y="30"/>
                </a:cxn>
                <a:cxn ang="0">
                  <a:pos x="9" y="36"/>
                </a:cxn>
                <a:cxn ang="0">
                  <a:pos x="11" y="40"/>
                </a:cxn>
                <a:cxn ang="0">
                  <a:pos x="16" y="43"/>
                </a:cxn>
                <a:cxn ang="0">
                  <a:pos x="16" y="43"/>
                </a:cxn>
                <a:cxn ang="0">
                  <a:pos x="28" y="51"/>
                </a:cxn>
                <a:cxn ang="0">
                  <a:pos x="28" y="51"/>
                </a:cxn>
                <a:cxn ang="0">
                  <a:pos x="33" y="46"/>
                </a:cxn>
                <a:cxn ang="0">
                  <a:pos x="33" y="46"/>
                </a:cxn>
                <a:cxn ang="0">
                  <a:pos x="40" y="41"/>
                </a:cxn>
                <a:cxn ang="0">
                  <a:pos x="43" y="39"/>
                </a:cxn>
                <a:cxn ang="0">
                  <a:pos x="46" y="36"/>
                </a:cxn>
                <a:cxn ang="0">
                  <a:pos x="46" y="36"/>
                </a:cxn>
              </a:cxnLst>
              <a:rect l="0" t="0" r="r" b="b"/>
              <a:pathLst>
                <a:path w="47" h="51">
                  <a:moveTo>
                    <a:pt x="46" y="36"/>
                  </a:moveTo>
                  <a:lnTo>
                    <a:pt x="46" y="36"/>
                  </a:lnTo>
                  <a:lnTo>
                    <a:pt x="47" y="30"/>
                  </a:lnTo>
                  <a:lnTo>
                    <a:pt x="47" y="29"/>
                  </a:lnTo>
                  <a:lnTo>
                    <a:pt x="46" y="26"/>
                  </a:lnTo>
                  <a:lnTo>
                    <a:pt x="46" y="26"/>
                  </a:lnTo>
                  <a:lnTo>
                    <a:pt x="44" y="22"/>
                  </a:lnTo>
                  <a:lnTo>
                    <a:pt x="44" y="16"/>
                  </a:lnTo>
                  <a:lnTo>
                    <a:pt x="44" y="16"/>
                  </a:lnTo>
                  <a:lnTo>
                    <a:pt x="43" y="13"/>
                  </a:lnTo>
                  <a:lnTo>
                    <a:pt x="38" y="7"/>
                  </a:lnTo>
                  <a:lnTo>
                    <a:pt x="34" y="3"/>
                  </a:lnTo>
                  <a:lnTo>
                    <a:pt x="31" y="0"/>
                  </a:lnTo>
                  <a:lnTo>
                    <a:pt x="31" y="0"/>
                  </a:lnTo>
                  <a:lnTo>
                    <a:pt x="26" y="2"/>
                  </a:lnTo>
                  <a:lnTo>
                    <a:pt x="21" y="3"/>
                  </a:lnTo>
                  <a:lnTo>
                    <a:pt x="19" y="3"/>
                  </a:lnTo>
                  <a:lnTo>
                    <a:pt x="19" y="3"/>
                  </a:lnTo>
                  <a:lnTo>
                    <a:pt x="14" y="2"/>
                  </a:lnTo>
                  <a:lnTo>
                    <a:pt x="13" y="3"/>
                  </a:lnTo>
                  <a:lnTo>
                    <a:pt x="11" y="4"/>
                  </a:lnTo>
                  <a:lnTo>
                    <a:pt x="11" y="4"/>
                  </a:lnTo>
                  <a:lnTo>
                    <a:pt x="10" y="7"/>
                  </a:lnTo>
                  <a:lnTo>
                    <a:pt x="7" y="10"/>
                  </a:lnTo>
                  <a:lnTo>
                    <a:pt x="0" y="17"/>
                  </a:lnTo>
                  <a:lnTo>
                    <a:pt x="0" y="17"/>
                  </a:lnTo>
                  <a:lnTo>
                    <a:pt x="3" y="23"/>
                  </a:lnTo>
                  <a:lnTo>
                    <a:pt x="3" y="23"/>
                  </a:lnTo>
                  <a:lnTo>
                    <a:pt x="6" y="30"/>
                  </a:lnTo>
                  <a:lnTo>
                    <a:pt x="9" y="36"/>
                  </a:lnTo>
                  <a:lnTo>
                    <a:pt x="11" y="40"/>
                  </a:lnTo>
                  <a:lnTo>
                    <a:pt x="16" y="43"/>
                  </a:lnTo>
                  <a:lnTo>
                    <a:pt x="16" y="43"/>
                  </a:lnTo>
                  <a:lnTo>
                    <a:pt x="28" y="51"/>
                  </a:lnTo>
                  <a:lnTo>
                    <a:pt x="28" y="51"/>
                  </a:lnTo>
                  <a:lnTo>
                    <a:pt x="33" y="46"/>
                  </a:lnTo>
                  <a:lnTo>
                    <a:pt x="33" y="46"/>
                  </a:lnTo>
                  <a:lnTo>
                    <a:pt x="40" y="41"/>
                  </a:lnTo>
                  <a:lnTo>
                    <a:pt x="43" y="39"/>
                  </a:lnTo>
                  <a:lnTo>
                    <a:pt x="46" y="36"/>
                  </a:lnTo>
                  <a:lnTo>
                    <a:pt x="46"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1" name="Freeform 217">
              <a:extLst>
                <a:ext uri="{FF2B5EF4-FFF2-40B4-BE49-F238E27FC236}">
                  <a16:creationId xmlns:a16="http://schemas.microsoft.com/office/drawing/2014/main" id="{7DBF5363-02A5-1C4D-B23D-4B61EED1C2EC}"/>
                </a:ext>
              </a:extLst>
            </p:cNvPr>
            <p:cNvSpPr>
              <a:spLocks/>
            </p:cNvSpPr>
            <p:nvPr/>
          </p:nvSpPr>
          <p:spPr bwMode="auto">
            <a:xfrm>
              <a:off x="3917936" y="3631999"/>
              <a:ext cx="199771" cy="161297"/>
            </a:xfrm>
            <a:custGeom>
              <a:avLst/>
              <a:gdLst/>
              <a:ahLst/>
              <a:cxnLst>
                <a:cxn ang="0">
                  <a:pos x="63" y="84"/>
                </a:cxn>
                <a:cxn ang="0">
                  <a:pos x="63" y="84"/>
                </a:cxn>
                <a:cxn ang="0">
                  <a:pos x="64" y="82"/>
                </a:cxn>
                <a:cxn ang="0">
                  <a:pos x="66" y="81"/>
                </a:cxn>
                <a:cxn ang="0">
                  <a:pos x="71" y="78"/>
                </a:cxn>
                <a:cxn ang="0">
                  <a:pos x="77" y="75"/>
                </a:cxn>
                <a:cxn ang="0">
                  <a:pos x="80" y="74"/>
                </a:cxn>
                <a:cxn ang="0">
                  <a:pos x="80" y="72"/>
                </a:cxn>
                <a:cxn ang="0">
                  <a:pos x="80" y="72"/>
                </a:cxn>
                <a:cxn ang="0">
                  <a:pos x="80" y="30"/>
                </a:cxn>
                <a:cxn ang="0">
                  <a:pos x="80" y="30"/>
                </a:cxn>
                <a:cxn ang="0">
                  <a:pos x="107" y="30"/>
                </a:cxn>
                <a:cxn ang="0">
                  <a:pos x="134" y="30"/>
                </a:cxn>
                <a:cxn ang="0">
                  <a:pos x="134" y="30"/>
                </a:cxn>
                <a:cxn ang="0">
                  <a:pos x="135" y="21"/>
                </a:cxn>
                <a:cxn ang="0">
                  <a:pos x="134" y="7"/>
                </a:cxn>
                <a:cxn ang="0">
                  <a:pos x="134" y="7"/>
                </a:cxn>
                <a:cxn ang="0">
                  <a:pos x="133" y="3"/>
                </a:cxn>
                <a:cxn ang="0">
                  <a:pos x="130" y="1"/>
                </a:cxn>
                <a:cxn ang="0">
                  <a:pos x="123" y="0"/>
                </a:cxn>
                <a:cxn ang="0">
                  <a:pos x="123" y="0"/>
                </a:cxn>
                <a:cxn ang="0">
                  <a:pos x="63" y="0"/>
                </a:cxn>
                <a:cxn ang="0">
                  <a:pos x="63" y="0"/>
                </a:cxn>
                <a:cxn ang="0">
                  <a:pos x="59" y="7"/>
                </a:cxn>
                <a:cxn ang="0">
                  <a:pos x="54" y="16"/>
                </a:cxn>
                <a:cxn ang="0">
                  <a:pos x="54" y="16"/>
                </a:cxn>
                <a:cxn ang="0">
                  <a:pos x="50" y="21"/>
                </a:cxn>
                <a:cxn ang="0">
                  <a:pos x="43" y="28"/>
                </a:cxn>
                <a:cxn ang="0">
                  <a:pos x="36" y="37"/>
                </a:cxn>
                <a:cxn ang="0">
                  <a:pos x="34" y="40"/>
                </a:cxn>
                <a:cxn ang="0">
                  <a:pos x="33" y="44"/>
                </a:cxn>
                <a:cxn ang="0">
                  <a:pos x="33" y="44"/>
                </a:cxn>
                <a:cxn ang="0">
                  <a:pos x="33" y="48"/>
                </a:cxn>
                <a:cxn ang="0">
                  <a:pos x="30" y="54"/>
                </a:cxn>
                <a:cxn ang="0">
                  <a:pos x="23" y="65"/>
                </a:cxn>
                <a:cxn ang="0">
                  <a:pos x="15" y="78"/>
                </a:cxn>
                <a:cxn ang="0">
                  <a:pos x="5" y="94"/>
                </a:cxn>
                <a:cxn ang="0">
                  <a:pos x="5" y="94"/>
                </a:cxn>
                <a:cxn ang="0">
                  <a:pos x="2" y="102"/>
                </a:cxn>
                <a:cxn ang="0">
                  <a:pos x="0" y="109"/>
                </a:cxn>
                <a:cxn ang="0">
                  <a:pos x="63" y="109"/>
                </a:cxn>
                <a:cxn ang="0">
                  <a:pos x="63" y="109"/>
                </a:cxn>
                <a:cxn ang="0">
                  <a:pos x="63" y="84"/>
                </a:cxn>
                <a:cxn ang="0">
                  <a:pos x="63" y="84"/>
                </a:cxn>
              </a:cxnLst>
              <a:rect l="0" t="0" r="r" b="b"/>
              <a:pathLst>
                <a:path w="135" h="109">
                  <a:moveTo>
                    <a:pt x="63" y="84"/>
                  </a:moveTo>
                  <a:lnTo>
                    <a:pt x="63" y="84"/>
                  </a:lnTo>
                  <a:lnTo>
                    <a:pt x="64" y="82"/>
                  </a:lnTo>
                  <a:lnTo>
                    <a:pt x="66" y="81"/>
                  </a:lnTo>
                  <a:lnTo>
                    <a:pt x="71" y="78"/>
                  </a:lnTo>
                  <a:lnTo>
                    <a:pt x="77" y="75"/>
                  </a:lnTo>
                  <a:lnTo>
                    <a:pt x="80" y="74"/>
                  </a:lnTo>
                  <a:lnTo>
                    <a:pt x="80" y="72"/>
                  </a:lnTo>
                  <a:lnTo>
                    <a:pt x="80" y="72"/>
                  </a:lnTo>
                  <a:lnTo>
                    <a:pt x="80" y="30"/>
                  </a:lnTo>
                  <a:lnTo>
                    <a:pt x="80" y="30"/>
                  </a:lnTo>
                  <a:lnTo>
                    <a:pt x="107" y="30"/>
                  </a:lnTo>
                  <a:lnTo>
                    <a:pt x="134" y="30"/>
                  </a:lnTo>
                  <a:lnTo>
                    <a:pt x="134" y="30"/>
                  </a:lnTo>
                  <a:lnTo>
                    <a:pt x="135" y="21"/>
                  </a:lnTo>
                  <a:lnTo>
                    <a:pt x="134" y="7"/>
                  </a:lnTo>
                  <a:lnTo>
                    <a:pt x="134" y="7"/>
                  </a:lnTo>
                  <a:lnTo>
                    <a:pt x="133" y="3"/>
                  </a:lnTo>
                  <a:lnTo>
                    <a:pt x="130" y="1"/>
                  </a:lnTo>
                  <a:lnTo>
                    <a:pt x="123" y="0"/>
                  </a:lnTo>
                  <a:lnTo>
                    <a:pt x="123" y="0"/>
                  </a:lnTo>
                  <a:lnTo>
                    <a:pt x="63" y="0"/>
                  </a:lnTo>
                  <a:lnTo>
                    <a:pt x="63" y="0"/>
                  </a:lnTo>
                  <a:lnTo>
                    <a:pt x="59" y="7"/>
                  </a:lnTo>
                  <a:lnTo>
                    <a:pt x="54" y="16"/>
                  </a:lnTo>
                  <a:lnTo>
                    <a:pt x="54" y="16"/>
                  </a:lnTo>
                  <a:lnTo>
                    <a:pt x="50" y="21"/>
                  </a:lnTo>
                  <a:lnTo>
                    <a:pt x="43" y="28"/>
                  </a:lnTo>
                  <a:lnTo>
                    <a:pt x="36" y="37"/>
                  </a:lnTo>
                  <a:lnTo>
                    <a:pt x="34" y="40"/>
                  </a:lnTo>
                  <a:lnTo>
                    <a:pt x="33" y="44"/>
                  </a:lnTo>
                  <a:lnTo>
                    <a:pt x="33" y="44"/>
                  </a:lnTo>
                  <a:lnTo>
                    <a:pt x="33" y="48"/>
                  </a:lnTo>
                  <a:lnTo>
                    <a:pt x="30" y="54"/>
                  </a:lnTo>
                  <a:lnTo>
                    <a:pt x="23" y="65"/>
                  </a:lnTo>
                  <a:lnTo>
                    <a:pt x="15" y="78"/>
                  </a:lnTo>
                  <a:lnTo>
                    <a:pt x="5" y="94"/>
                  </a:lnTo>
                  <a:lnTo>
                    <a:pt x="5" y="94"/>
                  </a:lnTo>
                  <a:lnTo>
                    <a:pt x="2" y="102"/>
                  </a:lnTo>
                  <a:lnTo>
                    <a:pt x="0" y="109"/>
                  </a:lnTo>
                  <a:lnTo>
                    <a:pt x="63" y="109"/>
                  </a:lnTo>
                  <a:lnTo>
                    <a:pt x="63" y="109"/>
                  </a:lnTo>
                  <a:lnTo>
                    <a:pt x="63" y="84"/>
                  </a:lnTo>
                  <a:lnTo>
                    <a:pt x="63" y="8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2" name="Freeform 218">
              <a:extLst>
                <a:ext uri="{FF2B5EF4-FFF2-40B4-BE49-F238E27FC236}">
                  <a16:creationId xmlns:a16="http://schemas.microsoft.com/office/drawing/2014/main" id="{99E2EC2E-2525-9A48-AE72-621E18E9511F}"/>
                </a:ext>
              </a:extLst>
            </p:cNvPr>
            <p:cNvSpPr>
              <a:spLocks/>
            </p:cNvSpPr>
            <p:nvPr/>
          </p:nvSpPr>
          <p:spPr bwMode="auto">
            <a:xfrm>
              <a:off x="3917936" y="3642358"/>
              <a:ext cx="287078" cy="315194"/>
            </a:xfrm>
            <a:custGeom>
              <a:avLst/>
              <a:gdLst/>
              <a:ahLst/>
              <a:cxnLst>
                <a:cxn ang="0">
                  <a:pos x="15" y="184"/>
                </a:cxn>
                <a:cxn ang="0">
                  <a:pos x="29" y="184"/>
                </a:cxn>
                <a:cxn ang="0">
                  <a:pos x="34" y="182"/>
                </a:cxn>
                <a:cxn ang="0">
                  <a:pos x="42" y="182"/>
                </a:cxn>
                <a:cxn ang="0">
                  <a:pos x="49" y="188"/>
                </a:cxn>
                <a:cxn ang="0">
                  <a:pos x="57" y="191"/>
                </a:cxn>
                <a:cxn ang="0">
                  <a:pos x="60" y="198"/>
                </a:cxn>
                <a:cxn ang="0">
                  <a:pos x="67" y="205"/>
                </a:cxn>
                <a:cxn ang="0">
                  <a:pos x="73" y="209"/>
                </a:cxn>
                <a:cxn ang="0">
                  <a:pos x="76" y="213"/>
                </a:cxn>
                <a:cxn ang="0">
                  <a:pos x="83" y="211"/>
                </a:cxn>
                <a:cxn ang="0">
                  <a:pos x="84" y="208"/>
                </a:cxn>
                <a:cxn ang="0">
                  <a:pos x="86" y="202"/>
                </a:cxn>
                <a:cxn ang="0">
                  <a:pos x="93" y="203"/>
                </a:cxn>
                <a:cxn ang="0">
                  <a:pos x="97" y="206"/>
                </a:cxn>
                <a:cxn ang="0">
                  <a:pos x="101" y="202"/>
                </a:cxn>
                <a:cxn ang="0">
                  <a:pos x="104" y="202"/>
                </a:cxn>
                <a:cxn ang="0">
                  <a:pos x="113" y="203"/>
                </a:cxn>
                <a:cxn ang="0">
                  <a:pos x="120" y="202"/>
                </a:cxn>
                <a:cxn ang="0">
                  <a:pos x="123" y="201"/>
                </a:cxn>
                <a:cxn ang="0">
                  <a:pos x="174" y="201"/>
                </a:cxn>
                <a:cxn ang="0">
                  <a:pos x="185" y="199"/>
                </a:cxn>
                <a:cxn ang="0">
                  <a:pos x="188" y="192"/>
                </a:cxn>
                <a:cxn ang="0">
                  <a:pos x="182" y="181"/>
                </a:cxn>
                <a:cxn ang="0">
                  <a:pos x="194" y="40"/>
                </a:cxn>
                <a:cxn ang="0">
                  <a:pos x="138" y="3"/>
                </a:cxn>
                <a:cxn ang="0">
                  <a:pos x="134" y="0"/>
                </a:cxn>
                <a:cxn ang="0">
                  <a:pos x="135" y="14"/>
                </a:cxn>
                <a:cxn ang="0">
                  <a:pos x="134" y="23"/>
                </a:cxn>
                <a:cxn ang="0">
                  <a:pos x="80" y="23"/>
                </a:cxn>
                <a:cxn ang="0">
                  <a:pos x="80" y="65"/>
                </a:cxn>
                <a:cxn ang="0">
                  <a:pos x="80" y="67"/>
                </a:cxn>
                <a:cxn ang="0">
                  <a:pos x="71" y="71"/>
                </a:cxn>
                <a:cxn ang="0">
                  <a:pos x="64" y="75"/>
                </a:cxn>
                <a:cxn ang="0">
                  <a:pos x="63" y="77"/>
                </a:cxn>
                <a:cxn ang="0">
                  <a:pos x="0" y="102"/>
                </a:cxn>
                <a:cxn ang="0">
                  <a:pos x="0" y="110"/>
                </a:cxn>
                <a:cxn ang="0">
                  <a:pos x="9" y="121"/>
                </a:cxn>
                <a:cxn ang="0">
                  <a:pos x="10" y="122"/>
                </a:cxn>
                <a:cxn ang="0">
                  <a:pos x="10" y="132"/>
                </a:cxn>
                <a:cxn ang="0">
                  <a:pos x="10" y="142"/>
                </a:cxn>
                <a:cxn ang="0">
                  <a:pos x="13" y="147"/>
                </a:cxn>
                <a:cxn ang="0">
                  <a:pos x="16" y="155"/>
                </a:cxn>
                <a:cxn ang="0">
                  <a:pos x="12" y="172"/>
                </a:cxn>
                <a:cxn ang="0">
                  <a:pos x="7" y="178"/>
                </a:cxn>
                <a:cxn ang="0">
                  <a:pos x="5" y="192"/>
                </a:cxn>
                <a:cxn ang="0">
                  <a:pos x="6" y="192"/>
                </a:cxn>
                <a:cxn ang="0">
                  <a:pos x="9" y="189"/>
                </a:cxn>
                <a:cxn ang="0">
                  <a:pos x="12" y="185"/>
                </a:cxn>
                <a:cxn ang="0">
                  <a:pos x="15" y="184"/>
                </a:cxn>
              </a:cxnLst>
              <a:rect l="0" t="0" r="r" b="b"/>
              <a:pathLst>
                <a:path w="194" h="213">
                  <a:moveTo>
                    <a:pt x="15" y="184"/>
                  </a:moveTo>
                  <a:lnTo>
                    <a:pt x="15" y="184"/>
                  </a:lnTo>
                  <a:lnTo>
                    <a:pt x="24" y="184"/>
                  </a:lnTo>
                  <a:lnTo>
                    <a:pt x="29" y="184"/>
                  </a:lnTo>
                  <a:lnTo>
                    <a:pt x="29" y="184"/>
                  </a:lnTo>
                  <a:lnTo>
                    <a:pt x="34" y="182"/>
                  </a:lnTo>
                  <a:lnTo>
                    <a:pt x="39" y="182"/>
                  </a:lnTo>
                  <a:lnTo>
                    <a:pt x="42" y="182"/>
                  </a:lnTo>
                  <a:lnTo>
                    <a:pt x="42" y="182"/>
                  </a:lnTo>
                  <a:lnTo>
                    <a:pt x="49" y="188"/>
                  </a:lnTo>
                  <a:lnTo>
                    <a:pt x="52" y="191"/>
                  </a:lnTo>
                  <a:lnTo>
                    <a:pt x="57" y="191"/>
                  </a:lnTo>
                  <a:lnTo>
                    <a:pt x="57" y="191"/>
                  </a:lnTo>
                  <a:lnTo>
                    <a:pt x="60" y="198"/>
                  </a:lnTo>
                  <a:lnTo>
                    <a:pt x="63" y="202"/>
                  </a:lnTo>
                  <a:lnTo>
                    <a:pt x="67" y="205"/>
                  </a:lnTo>
                  <a:lnTo>
                    <a:pt x="67" y="205"/>
                  </a:lnTo>
                  <a:lnTo>
                    <a:pt x="73" y="209"/>
                  </a:lnTo>
                  <a:lnTo>
                    <a:pt x="76" y="213"/>
                  </a:lnTo>
                  <a:lnTo>
                    <a:pt x="76" y="213"/>
                  </a:lnTo>
                  <a:lnTo>
                    <a:pt x="81" y="212"/>
                  </a:lnTo>
                  <a:lnTo>
                    <a:pt x="83" y="211"/>
                  </a:lnTo>
                  <a:lnTo>
                    <a:pt x="84" y="208"/>
                  </a:lnTo>
                  <a:lnTo>
                    <a:pt x="84" y="208"/>
                  </a:lnTo>
                  <a:lnTo>
                    <a:pt x="84" y="205"/>
                  </a:lnTo>
                  <a:lnTo>
                    <a:pt x="86" y="202"/>
                  </a:lnTo>
                  <a:lnTo>
                    <a:pt x="88" y="201"/>
                  </a:lnTo>
                  <a:lnTo>
                    <a:pt x="93" y="203"/>
                  </a:lnTo>
                  <a:lnTo>
                    <a:pt x="93" y="203"/>
                  </a:lnTo>
                  <a:lnTo>
                    <a:pt x="97" y="206"/>
                  </a:lnTo>
                  <a:lnTo>
                    <a:pt x="100" y="206"/>
                  </a:lnTo>
                  <a:lnTo>
                    <a:pt x="101" y="202"/>
                  </a:lnTo>
                  <a:lnTo>
                    <a:pt x="101" y="202"/>
                  </a:lnTo>
                  <a:lnTo>
                    <a:pt x="104" y="202"/>
                  </a:lnTo>
                  <a:lnTo>
                    <a:pt x="106" y="202"/>
                  </a:lnTo>
                  <a:lnTo>
                    <a:pt x="113" y="203"/>
                  </a:lnTo>
                  <a:lnTo>
                    <a:pt x="113" y="203"/>
                  </a:lnTo>
                  <a:lnTo>
                    <a:pt x="120" y="202"/>
                  </a:lnTo>
                  <a:lnTo>
                    <a:pt x="123" y="201"/>
                  </a:lnTo>
                  <a:lnTo>
                    <a:pt x="123" y="201"/>
                  </a:lnTo>
                  <a:lnTo>
                    <a:pt x="153" y="201"/>
                  </a:lnTo>
                  <a:lnTo>
                    <a:pt x="174" y="201"/>
                  </a:lnTo>
                  <a:lnTo>
                    <a:pt x="185" y="199"/>
                  </a:lnTo>
                  <a:lnTo>
                    <a:pt x="185" y="199"/>
                  </a:lnTo>
                  <a:lnTo>
                    <a:pt x="187" y="196"/>
                  </a:lnTo>
                  <a:lnTo>
                    <a:pt x="188" y="192"/>
                  </a:lnTo>
                  <a:lnTo>
                    <a:pt x="188" y="186"/>
                  </a:lnTo>
                  <a:lnTo>
                    <a:pt x="182" y="181"/>
                  </a:lnTo>
                  <a:lnTo>
                    <a:pt x="167" y="40"/>
                  </a:lnTo>
                  <a:lnTo>
                    <a:pt x="194" y="40"/>
                  </a:lnTo>
                  <a:lnTo>
                    <a:pt x="194" y="40"/>
                  </a:lnTo>
                  <a:lnTo>
                    <a:pt x="138" y="3"/>
                  </a:lnTo>
                  <a:lnTo>
                    <a:pt x="138" y="3"/>
                  </a:lnTo>
                  <a:lnTo>
                    <a:pt x="134" y="0"/>
                  </a:lnTo>
                  <a:lnTo>
                    <a:pt x="134" y="0"/>
                  </a:lnTo>
                  <a:lnTo>
                    <a:pt x="135" y="14"/>
                  </a:lnTo>
                  <a:lnTo>
                    <a:pt x="134" y="23"/>
                  </a:lnTo>
                  <a:lnTo>
                    <a:pt x="134" y="23"/>
                  </a:lnTo>
                  <a:lnTo>
                    <a:pt x="107" y="23"/>
                  </a:lnTo>
                  <a:lnTo>
                    <a:pt x="80" y="23"/>
                  </a:lnTo>
                  <a:lnTo>
                    <a:pt x="80" y="23"/>
                  </a:lnTo>
                  <a:lnTo>
                    <a:pt x="80" y="65"/>
                  </a:lnTo>
                  <a:lnTo>
                    <a:pt x="80" y="65"/>
                  </a:lnTo>
                  <a:lnTo>
                    <a:pt x="80" y="67"/>
                  </a:lnTo>
                  <a:lnTo>
                    <a:pt x="77" y="68"/>
                  </a:lnTo>
                  <a:lnTo>
                    <a:pt x="71" y="71"/>
                  </a:lnTo>
                  <a:lnTo>
                    <a:pt x="66" y="74"/>
                  </a:lnTo>
                  <a:lnTo>
                    <a:pt x="64" y="75"/>
                  </a:lnTo>
                  <a:lnTo>
                    <a:pt x="63" y="77"/>
                  </a:lnTo>
                  <a:lnTo>
                    <a:pt x="63" y="77"/>
                  </a:lnTo>
                  <a:lnTo>
                    <a:pt x="63" y="102"/>
                  </a:lnTo>
                  <a:lnTo>
                    <a:pt x="0" y="102"/>
                  </a:lnTo>
                  <a:lnTo>
                    <a:pt x="0" y="102"/>
                  </a:lnTo>
                  <a:lnTo>
                    <a:pt x="0" y="110"/>
                  </a:lnTo>
                  <a:lnTo>
                    <a:pt x="3" y="114"/>
                  </a:lnTo>
                  <a:lnTo>
                    <a:pt x="9" y="121"/>
                  </a:lnTo>
                  <a:lnTo>
                    <a:pt x="9" y="121"/>
                  </a:lnTo>
                  <a:lnTo>
                    <a:pt x="10" y="122"/>
                  </a:lnTo>
                  <a:lnTo>
                    <a:pt x="10" y="125"/>
                  </a:lnTo>
                  <a:lnTo>
                    <a:pt x="10" y="132"/>
                  </a:lnTo>
                  <a:lnTo>
                    <a:pt x="10" y="139"/>
                  </a:lnTo>
                  <a:lnTo>
                    <a:pt x="10" y="142"/>
                  </a:lnTo>
                  <a:lnTo>
                    <a:pt x="13" y="147"/>
                  </a:lnTo>
                  <a:lnTo>
                    <a:pt x="13" y="147"/>
                  </a:lnTo>
                  <a:lnTo>
                    <a:pt x="15" y="151"/>
                  </a:lnTo>
                  <a:lnTo>
                    <a:pt x="16" y="155"/>
                  </a:lnTo>
                  <a:lnTo>
                    <a:pt x="15" y="164"/>
                  </a:lnTo>
                  <a:lnTo>
                    <a:pt x="12" y="172"/>
                  </a:lnTo>
                  <a:lnTo>
                    <a:pt x="7" y="178"/>
                  </a:lnTo>
                  <a:lnTo>
                    <a:pt x="7" y="178"/>
                  </a:lnTo>
                  <a:lnTo>
                    <a:pt x="6" y="184"/>
                  </a:lnTo>
                  <a:lnTo>
                    <a:pt x="5" y="192"/>
                  </a:lnTo>
                  <a:lnTo>
                    <a:pt x="5" y="192"/>
                  </a:lnTo>
                  <a:lnTo>
                    <a:pt x="6" y="192"/>
                  </a:lnTo>
                  <a:lnTo>
                    <a:pt x="6" y="192"/>
                  </a:lnTo>
                  <a:lnTo>
                    <a:pt x="9" y="189"/>
                  </a:lnTo>
                  <a:lnTo>
                    <a:pt x="10" y="186"/>
                  </a:lnTo>
                  <a:lnTo>
                    <a:pt x="12" y="185"/>
                  </a:lnTo>
                  <a:lnTo>
                    <a:pt x="15" y="184"/>
                  </a:lnTo>
                  <a:lnTo>
                    <a:pt x="15" y="18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3" name="Freeform 219">
              <a:extLst>
                <a:ext uri="{FF2B5EF4-FFF2-40B4-BE49-F238E27FC236}">
                  <a16:creationId xmlns:a16="http://schemas.microsoft.com/office/drawing/2014/main" id="{BF77A28C-EC6D-A24E-AF69-122B14C12E5D}"/>
                </a:ext>
              </a:extLst>
            </p:cNvPr>
            <p:cNvSpPr>
              <a:spLocks/>
            </p:cNvSpPr>
            <p:nvPr/>
          </p:nvSpPr>
          <p:spPr bwMode="auto">
            <a:xfrm>
              <a:off x="4030399" y="3701549"/>
              <a:ext cx="395102" cy="368467"/>
            </a:xfrm>
            <a:custGeom>
              <a:avLst/>
              <a:gdLst/>
              <a:ahLst/>
              <a:cxnLst>
                <a:cxn ang="0">
                  <a:pos x="250" y="91"/>
                </a:cxn>
                <a:cxn ang="0">
                  <a:pos x="239" y="84"/>
                </a:cxn>
                <a:cxn ang="0">
                  <a:pos x="224" y="75"/>
                </a:cxn>
                <a:cxn ang="0">
                  <a:pos x="118" y="0"/>
                </a:cxn>
                <a:cxn ang="0">
                  <a:pos x="112" y="146"/>
                </a:cxn>
                <a:cxn ang="0">
                  <a:pos x="109" y="159"/>
                </a:cxn>
                <a:cxn ang="0">
                  <a:pos x="47" y="161"/>
                </a:cxn>
                <a:cxn ang="0">
                  <a:pos x="30" y="162"/>
                </a:cxn>
                <a:cxn ang="0">
                  <a:pos x="24" y="166"/>
                </a:cxn>
                <a:cxn ang="0">
                  <a:pos x="12" y="161"/>
                </a:cxn>
                <a:cxn ang="0">
                  <a:pos x="8" y="168"/>
                </a:cxn>
                <a:cxn ang="0">
                  <a:pos x="0" y="173"/>
                </a:cxn>
                <a:cxn ang="0">
                  <a:pos x="4" y="185"/>
                </a:cxn>
                <a:cxn ang="0">
                  <a:pos x="11" y="196"/>
                </a:cxn>
                <a:cxn ang="0">
                  <a:pos x="15" y="215"/>
                </a:cxn>
                <a:cxn ang="0">
                  <a:pos x="20" y="219"/>
                </a:cxn>
                <a:cxn ang="0">
                  <a:pos x="28" y="217"/>
                </a:cxn>
                <a:cxn ang="0">
                  <a:pos x="34" y="216"/>
                </a:cxn>
                <a:cxn ang="0">
                  <a:pos x="45" y="213"/>
                </a:cxn>
                <a:cxn ang="0">
                  <a:pos x="52" y="212"/>
                </a:cxn>
                <a:cxn ang="0">
                  <a:pos x="58" y="225"/>
                </a:cxn>
                <a:cxn ang="0">
                  <a:pos x="62" y="229"/>
                </a:cxn>
                <a:cxn ang="0">
                  <a:pos x="61" y="235"/>
                </a:cxn>
                <a:cxn ang="0">
                  <a:pos x="65" y="239"/>
                </a:cxn>
                <a:cxn ang="0">
                  <a:pos x="68" y="246"/>
                </a:cxn>
                <a:cxn ang="0">
                  <a:pos x="74" y="245"/>
                </a:cxn>
                <a:cxn ang="0">
                  <a:pos x="82" y="247"/>
                </a:cxn>
                <a:cxn ang="0">
                  <a:pos x="91" y="243"/>
                </a:cxn>
                <a:cxn ang="0">
                  <a:pos x="98" y="240"/>
                </a:cxn>
                <a:cxn ang="0">
                  <a:pos x="99" y="246"/>
                </a:cxn>
                <a:cxn ang="0">
                  <a:pos x="106" y="243"/>
                </a:cxn>
                <a:cxn ang="0">
                  <a:pos x="113" y="230"/>
                </a:cxn>
                <a:cxn ang="0">
                  <a:pos x="113" y="220"/>
                </a:cxn>
                <a:cxn ang="0">
                  <a:pos x="126" y="215"/>
                </a:cxn>
                <a:cxn ang="0">
                  <a:pos x="131" y="205"/>
                </a:cxn>
                <a:cxn ang="0">
                  <a:pos x="136" y="193"/>
                </a:cxn>
                <a:cxn ang="0">
                  <a:pos x="146" y="193"/>
                </a:cxn>
                <a:cxn ang="0">
                  <a:pos x="152" y="188"/>
                </a:cxn>
                <a:cxn ang="0">
                  <a:pos x="156" y="182"/>
                </a:cxn>
                <a:cxn ang="0">
                  <a:pos x="166" y="181"/>
                </a:cxn>
                <a:cxn ang="0">
                  <a:pos x="172" y="176"/>
                </a:cxn>
                <a:cxn ang="0">
                  <a:pos x="187" y="168"/>
                </a:cxn>
                <a:cxn ang="0">
                  <a:pos x="196" y="169"/>
                </a:cxn>
                <a:cxn ang="0">
                  <a:pos x="217" y="166"/>
                </a:cxn>
                <a:cxn ang="0">
                  <a:pos x="232" y="165"/>
                </a:cxn>
                <a:cxn ang="0">
                  <a:pos x="254" y="161"/>
                </a:cxn>
                <a:cxn ang="0">
                  <a:pos x="263" y="149"/>
                </a:cxn>
                <a:cxn ang="0">
                  <a:pos x="267" y="125"/>
                </a:cxn>
                <a:cxn ang="0">
                  <a:pos x="253" y="104"/>
                </a:cxn>
              </a:cxnLst>
              <a:rect l="0" t="0" r="r" b="b"/>
              <a:pathLst>
                <a:path w="267" h="249">
                  <a:moveTo>
                    <a:pt x="253" y="104"/>
                  </a:moveTo>
                  <a:lnTo>
                    <a:pt x="253" y="104"/>
                  </a:lnTo>
                  <a:lnTo>
                    <a:pt x="253" y="97"/>
                  </a:lnTo>
                  <a:lnTo>
                    <a:pt x="250" y="91"/>
                  </a:lnTo>
                  <a:lnTo>
                    <a:pt x="249" y="88"/>
                  </a:lnTo>
                  <a:lnTo>
                    <a:pt x="246" y="87"/>
                  </a:lnTo>
                  <a:lnTo>
                    <a:pt x="246" y="87"/>
                  </a:lnTo>
                  <a:lnTo>
                    <a:pt x="239" y="84"/>
                  </a:lnTo>
                  <a:lnTo>
                    <a:pt x="233" y="82"/>
                  </a:lnTo>
                  <a:lnTo>
                    <a:pt x="227" y="81"/>
                  </a:lnTo>
                  <a:lnTo>
                    <a:pt x="227" y="81"/>
                  </a:lnTo>
                  <a:lnTo>
                    <a:pt x="224" y="75"/>
                  </a:lnTo>
                  <a:lnTo>
                    <a:pt x="217" y="67"/>
                  </a:lnTo>
                  <a:lnTo>
                    <a:pt x="217" y="67"/>
                  </a:lnTo>
                  <a:lnTo>
                    <a:pt x="183" y="43"/>
                  </a:lnTo>
                  <a:lnTo>
                    <a:pt x="118" y="0"/>
                  </a:lnTo>
                  <a:lnTo>
                    <a:pt x="91" y="0"/>
                  </a:lnTo>
                  <a:lnTo>
                    <a:pt x="106" y="141"/>
                  </a:lnTo>
                  <a:lnTo>
                    <a:pt x="112" y="146"/>
                  </a:lnTo>
                  <a:lnTo>
                    <a:pt x="112" y="146"/>
                  </a:lnTo>
                  <a:lnTo>
                    <a:pt x="112" y="152"/>
                  </a:lnTo>
                  <a:lnTo>
                    <a:pt x="111" y="156"/>
                  </a:lnTo>
                  <a:lnTo>
                    <a:pt x="109" y="159"/>
                  </a:lnTo>
                  <a:lnTo>
                    <a:pt x="109" y="159"/>
                  </a:lnTo>
                  <a:lnTo>
                    <a:pt x="98" y="161"/>
                  </a:lnTo>
                  <a:lnTo>
                    <a:pt x="77" y="161"/>
                  </a:lnTo>
                  <a:lnTo>
                    <a:pt x="47" y="161"/>
                  </a:lnTo>
                  <a:lnTo>
                    <a:pt x="47" y="161"/>
                  </a:lnTo>
                  <a:lnTo>
                    <a:pt x="44" y="162"/>
                  </a:lnTo>
                  <a:lnTo>
                    <a:pt x="37" y="163"/>
                  </a:lnTo>
                  <a:lnTo>
                    <a:pt x="37" y="163"/>
                  </a:lnTo>
                  <a:lnTo>
                    <a:pt x="30" y="162"/>
                  </a:lnTo>
                  <a:lnTo>
                    <a:pt x="28" y="162"/>
                  </a:lnTo>
                  <a:lnTo>
                    <a:pt x="25" y="162"/>
                  </a:lnTo>
                  <a:lnTo>
                    <a:pt x="25" y="162"/>
                  </a:lnTo>
                  <a:lnTo>
                    <a:pt x="24" y="166"/>
                  </a:lnTo>
                  <a:lnTo>
                    <a:pt x="21" y="166"/>
                  </a:lnTo>
                  <a:lnTo>
                    <a:pt x="17" y="163"/>
                  </a:lnTo>
                  <a:lnTo>
                    <a:pt x="17" y="163"/>
                  </a:lnTo>
                  <a:lnTo>
                    <a:pt x="12" y="161"/>
                  </a:lnTo>
                  <a:lnTo>
                    <a:pt x="10" y="162"/>
                  </a:lnTo>
                  <a:lnTo>
                    <a:pt x="8" y="165"/>
                  </a:lnTo>
                  <a:lnTo>
                    <a:pt x="8" y="168"/>
                  </a:lnTo>
                  <a:lnTo>
                    <a:pt x="8" y="168"/>
                  </a:lnTo>
                  <a:lnTo>
                    <a:pt x="7" y="171"/>
                  </a:lnTo>
                  <a:lnTo>
                    <a:pt x="5" y="172"/>
                  </a:lnTo>
                  <a:lnTo>
                    <a:pt x="0" y="173"/>
                  </a:lnTo>
                  <a:lnTo>
                    <a:pt x="0" y="173"/>
                  </a:lnTo>
                  <a:lnTo>
                    <a:pt x="1" y="176"/>
                  </a:lnTo>
                  <a:lnTo>
                    <a:pt x="4" y="181"/>
                  </a:lnTo>
                  <a:lnTo>
                    <a:pt x="4" y="181"/>
                  </a:lnTo>
                  <a:lnTo>
                    <a:pt x="4" y="185"/>
                  </a:lnTo>
                  <a:lnTo>
                    <a:pt x="4" y="188"/>
                  </a:lnTo>
                  <a:lnTo>
                    <a:pt x="7" y="190"/>
                  </a:lnTo>
                  <a:lnTo>
                    <a:pt x="7" y="190"/>
                  </a:lnTo>
                  <a:lnTo>
                    <a:pt x="11" y="196"/>
                  </a:lnTo>
                  <a:lnTo>
                    <a:pt x="15" y="202"/>
                  </a:lnTo>
                  <a:lnTo>
                    <a:pt x="15" y="202"/>
                  </a:lnTo>
                  <a:lnTo>
                    <a:pt x="15" y="215"/>
                  </a:lnTo>
                  <a:lnTo>
                    <a:pt x="15" y="215"/>
                  </a:lnTo>
                  <a:lnTo>
                    <a:pt x="15" y="217"/>
                  </a:lnTo>
                  <a:lnTo>
                    <a:pt x="17" y="219"/>
                  </a:lnTo>
                  <a:lnTo>
                    <a:pt x="20" y="219"/>
                  </a:lnTo>
                  <a:lnTo>
                    <a:pt x="20" y="219"/>
                  </a:lnTo>
                  <a:lnTo>
                    <a:pt x="21" y="217"/>
                  </a:lnTo>
                  <a:lnTo>
                    <a:pt x="24" y="217"/>
                  </a:lnTo>
                  <a:lnTo>
                    <a:pt x="27" y="219"/>
                  </a:lnTo>
                  <a:lnTo>
                    <a:pt x="28" y="217"/>
                  </a:lnTo>
                  <a:lnTo>
                    <a:pt x="28" y="217"/>
                  </a:lnTo>
                  <a:lnTo>
                    <a:pt x="30" y="216"/>
                  </a:lnTo>
                  <a:lnTo>
                    <a:pt x="31" y="215"/>
                  </a:lnTo>
                  <a:lnTo>
                    <a:pt x="34" y="216"/>
                  </a:lnTo>
                  <a:lnTo>
                    <a:pt x="40" y="217"/>
                  </a:lnTo>
                  <a:lnTo>
                    <a:pt x="40" y="217"/>
                  </a:lnTo>
                  <a:lnTo>
                    <a:pt x="42" y="216"/>
                  </a:lnTo>
                  <a:lnTo>
                    <a:pt x="45" y="213"/>
                  </a:lnTo>
                  <a:lnTo>
                    <a:pt x="48" y="210"/>
                  </a:lnTo>
                  <a:lnTo>
                    <a:pt x="51" y="210"/>
                  </a:lnTo>
                  <a:lnTo>
                    <a:pt x="51" y="210"/>
                  </a:lnTo>
                  <a:lnTo>
                    <a:pt x="52" y="212"/>
                  </a:lnTo>
                  <a:lnTo>
                    <a:pt x="55" y="215"/>
                  </a:lnTo>
                  <a:lnTo>
                    <a:pt x="57" y="222"/>
                  </a:lnTo>
                  <a:lnTo>
                    <a:pt x="57" y="222"/>
                  </a:lnTo>
                  <a:lnTo>
                    <a:pt x="58" y="225"/>
                  </a:lnTo>
                  <a:lnTo>
                    <a:pt x="61" y="226"/>
                  </a:lnTo>
                  <a:lnTo>
                    <a:pt x="62" y="227"/>
                  </a:lnTo>
                  <a:lnTo>
                    <a:pt x="64" y="229"/>
                  </a:lnTo>
                  <a:lnTo>
                    <a:pt x="62" y="229"/>
                  </a:lnTo>
                  <a:lnTo>
                    <a:pt x="62" y="229"/>
                  </a:lnTo>
                  <a:lnTo>
                    <a:pt x="61" y="230"/>
                  </a:lnTo>
                  <a:lnTo>
                    <a:pt x="61" y="232"/>
                  </a:lnTo>
                  <a:lnTo>
                    <a:pt x="61" y="235"/>
                  </a:lnTo>
                  <a:lnTo>
                    <a:pt x="62" y="235"/>
                  </a:lnTo>
                  <a:lnTo>
                    <a:pt x="62" y="235"/>
                  </a:lnTo>
                  <a:lnTo>
                    <a:pt x="64" y="236"/>
                  </a:lnTo>
                  <a:lnTo>
                    <a:pt x="65" y="239"/>
                  </a:lnTo>
                  <a:lnTo>
                    <a:pt x="65" y="242"/>
                  </a:lnTo>
                  <a:lnTo>
                    <a:pt x="67" y="245"/>
                  </a:lnTo>
                  <a:lnTo>
                    <a:pt x="67" y="245"/>
                  </a:lnTo>
                  <a:lnTo>
                    <a:pt x="68" y="246"/>
                  </a:lnTo>
                  <a:lnTo>
                    <a:pt x="71" y="247"/>
                  </a:lnTo>
                  <a:lnTo>
                    <a:pt x="72" y="247"/>
                  </a:lnTo>
                  <a:lnTo>
                    <a:pt x="74" y="245"/>
                  </a:lnTo>
                  <a:lnTo>
                    <a:pt x="74" y="245"/>
                  </a:lnTo>
                  <a:lnTo>
                    <a:pt x="75" y="243"/>
                  </a:lnTo>
                  <a:lnTo>
                    <a:pt x="78" y="243"/>
                  </a:lnTo>
                  <a:lnTo>
                    <a:pt x="82" y="247"/>
                  </a:lnTo>
                  <a:lnTo>
                    <a:pt x="82" y="247"/>
                  </a:lnTo>
                  <a:lnTo>
                    <a:pt x="84" y="249"/>
                  </a:lnTo>
                  <a:lnTo>
                    <a:pt x="86" y="247"/>
                  </a:lnTo>
                  <a:lnTo>
                    <a:pt x="89" y="246"/>
                  </a:lnTo>
                  <a:lnTo>
                    <a:pt x="91" y="243"/>
                  </a:lnTo>
                  <a:lnTo>
                    <a:pt x="91" y="243"/>
                  </a:lnTo>
                  <a:lnTo>
                    <a:pt x="92" y="240"/>
                  </a:lnTo>
                  <a:lnTo>
                    <a:pt x="95" y="239"/>
                  </a:lnTo>
                  <a:lnTo>
                    <a:pt x="98" y="240"/>
                  </a:lnTo>
                  <a:lnTo>
                    <a:pt x="99" y="242"/>
                  </a:lnTo>
                  <a:lnTo>
                    <a:pt x="99" y="242"/>
                  </a:lnTo>
                  <a:lnTo>
                    <a:pt x="99" y="245"/>
                  </a:lnTo>
                  <a:lnTo>
                    <a:pt x="99" y="246"/>
                  </a:lnTo>
                  <a:lnTo>
                    <a:pt x="102" y="246"/>
                  </a:lnTo>
                  <a:lnTo>
                    <a:pt x="105" y="245"/>
                  </a:lnTo>
                  <a:lnTo>
                    <a:pt x="105" y="245"/>
                  </a:lnTo>
                  <a:lnTo>
                    <a:pt x="106" y="243"/>
                  </a:lnTo>
                  <a:lnTo>
                    <a:pt x="109" y="243"/>
                  </a:lnTo>
                  <a:lnTo>
                    <a:pt x="109" y="243"/>
                  </a:lnTo>
                  <a:lnTo>
                    <a:pt x="113" y="230"/>
                  </a:lnTo>
                  <a:lnTo>
                    <a:pt x="113" y="230"/>
                  </a:lnTo>
                  <a:lnTo>
                    <a:pt x="113" y="227"/>
                  </a:lnTo>
                  <a:lnTo>
                    <a:pt x="113" y="225"/>
                  </a:lnTo>
                  <a:lnTo>
                    <a:pt x="112" y="222"/>
                  </a:lnTo>
                  <a:lnTo>
                    <a:pt x="113" y="220"/>
                  </a:lnTo>
                  <a:lnTo>
                    <a:pt x="113" y="220"/>
                  </a:lnTo>
                  <a:lnTo>
                    <a:pt x="119" y="219"/>
                  </a:lnTo>
                  <a:lnTo>
                    <a:pt x="123" y="217"/>
                  </a:lnTo>
                  <a:lnTo>
                    <a:pt x="126" y="215"/>
                  </a:lnTo>
                  <a:lnTo>
                    <a:pt x="126" y="215"/>
                  </a:lnTo>
                  <a:lnTo>
                    <a:pt x="129" y="208"/>
                  </a:lnTo>
                  <a:lnTo>
                    <a:pt x="131" y="205"/>
                  </a:lnTo>
                  <a:lnTo>
                    <a:pt x="131" y="205"/>
                  </a:lnTo>
                  <a:lnTo>
                    <a:pt x="132" y="198"/>
                  </a:lnTo>
                  <a:lnTo>
                    <a:pt x="133" y="193"/>
                  </a:lnTo>
                  <a:lnTo>
                    <a:pt x="135" y="192"/>
                  </a:lnTo>
                  <a:lnTo>
                    <a:pt x="136" y="193"/>
                  </a:lnTo>
                  <a:lnTo>
                    <a:pt x="136" y="193"/>
                  </a:lnTo>
                  <a:lnTo>
                    <a:pt x="142" y="196"/>
                  </a:lnTo>
                  <a:lnTo>
                    <a:pt x="145" y="196"/>
                  </a:lnTo>
                  <a:lnTo>
                    <a:pt x="146" y="193"/>
                  </a:lnTo>
                  <a:lnTo>
                    <a:pt x="146" y="193"/>
                  </a:lnTo>
                  <a:lnTo>
                    <a:pt x="148" y="190"/>
                  </a:lnTo>
                  <a:lnTo>
                    <a:pt x="149" y="189"/>
                  </a:lnTo>
                  <a:lnTo>
                    <a:pt x="152" y="188"/>
                  </a:lnTo>
                  <a:lnTo>
                    <a:pt x="153" y="186"/>
                  </a:lnTo>
                  <a:lnTo>
                    <a:pt x="153" y="186"/>
                  </a:lnTo>
                  <a:lnTo>
                    <a:pt x="155" y="183"/>
                  </a:lnTo>
                  <a:lnTo>
                    <a:pt x="156" y="182"/>
                  </a:lnTo>
                  <a:lnTo>
                    <a:pt x="160" y="182"/>
                  </a:lnTo>
                  <a:lnTo>
                    <a:pt x="160" y="182"/>
                  </a:lnTo>
                  <a:lnTo>
                    <a:pt x="165" y="182"/>
                  </a:lnTo>
                  <a:lnTo>
                    <a:pt x="166" y="181"/>
                  </a:lnTo>
                  <a:lnTo>
                    <a:pt x="168" y="179"/>
                  </a:lnTo>
                  <a:lnTo>
                    <a:pt x="168" y="179"/>
                  </a:lnTo>
                  <a:lnTo>
                    <a:pt x="168" y="178"/>
                  </a:lnTo>
                  <a:lnTo>
                    <a:pt x="172" y="176"/>
                  </a:lnTo>
                  <a:lnTo>
                    <a:pt x="176" y="175"/>
                  </a:lnTo>
                  <a:lnTo>
                    <a:pt x="180" y="173"/>
                  </a:lnTo>
                  <a:lnTo>
                    <a:pt x="180" y="173"/>
                  </a:lnTo>
                  <a:lnTo>
                    <a:pt x="187" y="168"/>
                  </a:lnTo>
                  <a:lnTo>
                    <a:pt x="190" y="166"/>
                  </a:lnTo>
                  <a:lnTo>
                    <a:pt x="193" y="168"/>
                  </a:lnTo>
                  <a:lnTo>
                    <a:pt x="193" y="168"/>
                  </a:lnTo>
                  <a:lnTo>
                    <a:pt x="196" y="169"/>
                  </a:lnTo>
                  <a:lnTo>
                    <a:pt x="203" y="169"/>
                  </a:lnTo>
                  <a:lnTo>
                    <a:pt x="213" y="169"/>
                  </a:lnTo>
                  <a:lnTo>
                    <a:pt x="213" y="169"/>
                  </a:lnTo>
                  <a:lnTo>
                    <a:pt x="217" y="166"/>
                  </a:lnTo>
                  <a:lnTo>
                    <a:pt x="222" y="165"/>
                  </a:lnTo>
                  <a:lnTo>
                    <a:pt x="226" y="165"/>
                  </a:lnTo>
                  <a:lnTo>
                    <a:pt x="226" y="165"/>
                  </a:lnTo>
                  <a:lnTo>
                    <a:pt x="232" y="165"/>
                  </a:lnTo>
                  <a:lnTo>
                    <a:pt x="239" y="163"/>
                  </a:lnTo>
                  <a:lnTo>
                    <a:pt x="251" y="162"/>
                  </a:lnTo>
                  <a:lnTo>
                    <a:pt x="251" y="162"/>
                  </a:lnTo>
                  <a:lnTo>
                    <a:pt x="254" y="161"/>
                  </a:lnTo>
                  <a:lnTo>
                    <a:pt x="257" y="159"/>
                  </a:lnTo>
                  <a:lnTo>
                    <a:pt x="261" y="155"/>
                  </a:lnTo>
                  <a:lnTo>
                    <a:pt x="261" y="155"/>
                  </a:lnTo>
                  <a:lnTo>
                    <a:pt x="263" y="149"/>
                  </a:lnTo>
                  <a:lnTo>
                    <a:pt x="266" y="144"/>
                  </a:lnTo>
                  <a:lnTo>
                    <a:pt x="266" y="144"/>
                  </a:lnTo>
                  <a:lnTo>
                    <a:pt x="267" y="138"/>
                  </a:lnTo>
                  <a:lnTo>
                    <a:pt x="267" y="125"/>
                  </a:lnTo>
                  <a:lnTo>
                    <a:pt x="267" y="101"/>
                  </a:lnTo>
                  <a:lnTo>
                    <a:pt x="267" y="101"/>
                  </a:lnTo>
                  <a:lnTo>
                    <a:pt x="253" y="104"/>
                  </a:lnTo>
                  <a:lnTo>
                    <a:pt x="253" y="10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4" name="Freeform 220">
              <a:extLst>
                <a:ext uri="{FF2B5EF4-FFF2-40B4-BE49-F238E27FC236}">
                  <a16:creationId xmlns:a16="http://schemas.microsoft.com/office/drawing/2014/main" id="{988653A5-55C2-334E-91C6-C069CD871CB4}"/>
                </a:ext>
              </a:extLst>
            </p:cNvPr>
            <p:cNvSpPr>
              <a:spLocks/>
            </p:cNvSpPr>
            <p:nvPr/>
          </p:nvSpPr>
          <p:spPr bwMode="auto">
            <a:xfrm>
              <a:off x="4191696" y="3947193"/>
              <a:ext cx="193852" cy="133181"/>
            </a:xfrm>
            <a:custGeom>
              <a:avLst/>
              <a:gdLst/>
              <a:ahLst/>
              <a:cxnLst>
                <a:cxn ang="0">
                  <a:pos x="127" y="50"/>
                </a:cxn>
                <a:cxn ang="0">
                  <a:pos x="124" y="49"/>
                </a:cxn>
                <a:cxn ang="0">
                  <a:pos x="124" y="40"/>
                </a:cxn>
                <a:cxn ang="0">
                  <a:pos x="118" y="42"/>
                </a:cxn>
                <a:cxn ang="0">
                  <a:pos x="114" y="40"/>
                </a:cxn>
                <a:cxn ang="0">
                  <a:pos x="110" y="36"/>
                </a:cxn>
                <a:cxn ang="0">
                  <a:pos x="107" y="34"/>
                </a:cxn>
                <a:cxn ang="0">
                  <a:pos x="105" y="27"/>
                </a:cxn>
                <a:cxn ang="0">
                  <a:pos x="98" y="22"/>
                </a:cxn>
                <a:cxn ang="0">
                  <a:pos x="94" y="12"/>
                </a:cxn>
                <a:cxn ang="0">
                  <a:pos x="94" y="3"/>
                </a:cxn>
                <a:cxn ang="0">
                  <a:pos x="84" y="2"/>
                </a:cxn>
                <a:cxn ang="0">
                  <a:pos x="78" y="2"/>
                </a:cxn>
                <a:cxn ang="0">
                  <a:pos x="67" y="9"/>
                </a:cxn>
                <a:cxn ang="0">
                  <a:pos x="59" y="13"/>
                </a:cxn>
                <a:cxn ang="0">
                  <a:pos x="56" y="16"/>
                </a:cxn>
                <a:cxn ang="0">
                  <a:pos x="47" y="16"/>
                </a:cxn>
                <a:cxn ang="0">
                  <a:pos x="44" y="20"/>
                </a:cxn>
                <a:cxn ang="0">
                  <a:pos x="39" y="24"/>
                </a:cxn>
                <a:cxn ang="0">
                  <a:pos x="36" y="30"/>
                </a:cxn>
                <a:cxn ang="0">
                  <a:pos x="27" y="27"/>
                </a:cxn>
                <a:cxn ang="0">
                  <a:pos x="23" y="32"/>
                </a:cxn>
                <a:cxn ang="0">
                  <a:pos x="20" y="42"/>
                </a:cxn>
                <a:cxn ang="0">
                  <a:pos x="14" y="51"/>
                </a:cxn>
                <a:cxn ang="0">
                  <a:pos x="4" y="54"/>
                </a:cxn>
                <a:cxn ang="0">
                  <a:pos x="4" y="61"/>
                </a:cxn>
                <a:cxn ang="0">
                  <a:pos x="0" y="77"/>
                </a:cxn>
                <a:cxn ang="0">
                  <a:pos x="9" y="83"/>
                </a:cxn>
                <a:cxn ang="0">
                  <a:pos x="14" y="88"/>
                </a:cxn>
                <a:cxn ang="0">
                  <a:pos x="23" y="88"/>
                </a:cxn>
                <a:cxn ang="0">
                  <a:pos x="33" y="84"/>
                </a:cxn>
                <a:cxn ang="0">
                  <a:pos x="41" y="87"/>
                </a:cxn>
                <a:cxn ang="0">
                  <a:pos x="46" y="87"/>
                </a:cxn>
                <a:cxn ang="0">
                  <a:pos x="44" y="77"/>
                </a:cxn>
                <a:cxn ang="0">
                  <a:pos x="44" y="69"/>
                </a:cxn>
                <a:cxn ang="0">
                  <a:pos x="64" y="67"/>
                </a:cxn>
                <a:cxn ang="0">
                  <a:pos x="84" y="70"/>
                </a:cxn>
                <a:cxn ang="0">
                  <a:pos x="87" y="66"/>
                </a:cxn>
                <a:cxn ang="0">
                  <a:pos x="98" y="67"/>
                </a:cxn>
                <a:cxn ang="0">
                  <a:pos x="110" y="64"/>
                </a:cxn>
                <a:cxn ang="0">
                  <a:pos x="114" y="61"/>
                </a:cxn>
                <a:cxn ang="0">
                  <a:pos x="127" y="59"/>
                </a:cxn>
                <a:cxn ang="0">
                  <a:pos x="131" y="54"/>
                </a:cxn>
                <a:cxn ang="0">
                  <a:pos x="131" y="51"/>
                </a:cxn>
              </a:cxnLst>
              <a:rect l="0" t="0" r="r" b="b"/>
              <a:pathLst>
                <a:path w="131" h="90">
                  <a:moveTo>
                    <a:pt x="131" y="51"/>
                  </a:moveTo>
                  <a:lnTo>
                    <a:pt x="131" y="51"/>
                  </a:lnTo>
                  <a:lnTo>
                    <a:pt x="127" y="50"/>
                  </a:lnTo>
                  <a:lnTo>
                    <a:pt x="125" y="49"/>
                  </a:lnTo>
                  <a:lnTo>
                    <a:pt x="125" y="49"/>
                  </a:lnTo>
                  <a:lnTo>
                    <a:pt x="124" y="49"/>
                  </a:lnTo>
                  <a:lnTo>
                    <a:pt x="124" y="46"/>
                  </a:lnTo>
                  <a:lnTo>
                    <a:pt x="124" y="40"/>
                  </a:lnTo>
                  <a:lnTo>
                    <a:pt x="124" y="40"/>
                  </a:lnTo>
                  <a:lnTo>
                    <a:pt x="123" y="40"/>
                  </a:lnTo>
                  <a:lnTo>
                    <a:pt x="121" y="42"/>
                  </a:lnTo>
                  <a:lnTo>
                    <a:pt x="118" y="42"/>
                  </a:lnTo>
                  <a:lnTo>
                    <a:pt x="115" y="42"/>
                  </a:lnTo>
                  <a:lnTo>
                    <a:pt x="115" y="42"/>
                  </a:lnTo>
                  <a:lnTo>
                    <a:pt x="114" y="40"/>
                  </a:lnTo>
                  <a:lnTo>
                    <a:pt x="113" y="39"/>
                  </a:lnTo>
                  <a:lnTo>
                    <a:pt x="111" y="36"/>
                  </a:lnTo>
                  <a:lnTo>
                    <a:pt x="110" y="36"/>
                  </a:lnTo>
                  <a:lnTo>
                    <a:pt x="110" y="36"/>
                  </a:lnTo>
                  <a:lnTo>
                    <a:pt x="108" y="36"/>
                  </a:lnTo>
                  <a:lnTo>
                    <a:pt x="107" y="34"/>
                  </a:lnTo>
                  <a:lnTo>
                    <a:pt x="107" y="30"/>
                  </a:lnTo>
                  <a:lnTo>
                    <a:pt x="107" y="30"/>
                  </a:lnTo>
                  <a:lnTo>
                    <a:pt x="105" y="27"/>
                  </a:lnTo>
                  <a:lnTo>
                    <a:pt x="104" y="24"/>
                  </a:lnTo>
                  <a:lnTo>
                    <a:pt x="98" y="22"/>
                  </a:lnTo>
                  <a:lnTo>
                    <a:pt x="98" y="22"/>
                  </a:lnTo>
                  <a:lnTo>
                    <a:pt x="97" y="19"/>
                  </a:lnTo>
                  <a:lnTo>
                    <a:pt x="96" y="16"/>
                  </a:lnTo>
                  <a:lnTo>
                    <a:pt x="94" y="12"/>
                  </a:lnTo>
                  <a:lnTo>
                    <a:pt x="94" y="12"/>
                  </a:lnTo>
                  <a:lnTo>
                    <a:pt x="93" y="9"/>
                  </a:lnTo>
                  <a:lnTo>
                    <a:pt x="94" y="3"/>
                  </a:lnTo>
                  <a:lnTo>
                    <a:pt x="94" y="3"/>
                  </a:lnTo>
                  <a:lnTo>
                    <a:pt x="87" y="3"/>
                  </a:lnTo>
                  <a:lnTo>
                    <a:pt x="84" y="2"/>
                  </a:lnTo>
                  <a:lnTo>
                    <a:pt x="84" y="2"/>
                  </a:lnTo>
                  <a:lnTo>
                    <a:pt x="81" y="0"/>
                  </a:lnTo>
                  <a:lnTo>
                    <a:pt x="78" y="2"/>
                  </a:lnTo>
                  <a:lnTo>
                    <a:pt x="71" y="7"/>
                  </a:lnTo>
                  <a:lnTo>
                    <a:pt x="71" y="7"/>
                  </a:lnTo>
                  <a:lnTo>
                    <a:pt x="67" y="9"/>
                  </a:lnTo>
                  <a:lnTo>
                    <a:pt x="63" y="10"/>
                  </a:lnTo>
                  <a:lnTo>
                    <a:pt x="59" y="12"/>
                  </a:lnTo>
                  <a:lnTo>
                    <a:pt x="59" y="13"/>
                  </a:lnTo>
                  <a:lnTo>
                    <a:pt x="59" y="13"/>
                  </a:lnTo>
                  <a:lnTo>
                    <a:pt x="57" y="15"/>
                  </a:lnTo>
                  <a:lnTo>
                    <a:pt x="56" y="16"/>
                  </a:lnTo>
                  <a:lnTo>
                    <a:pt x="51" y="16"/>
                  </a:lnTo>
                  <a:lnTo>
                    <a:pt x="51" y="16"/>
                  </a:lnTo>
                  <a:lnTo>
                    <a:pt x="47" y="16"/>
                  </a:lnTo>
                  <a:lnTo>
                    <a:pt x="46" y="17"/>
                  </a:lnTo>
                  <a:lnTo>
                    <a:pt x="44" y="20"/>
                  </a:lnTo>
                  <a:lnTo>
                    <a:pt x="44" y="20"/>
                  </a:lnTo>
                  <a:lnTo>
                    <a:pt x="43" y="22"/>
                  </a:lnTo>
                  <a:lnTo>
                    <a:pt x="40" y="23"/>
                  </a:lnTo>
                  <a:lnTo>
                    <a:pt x="39" y="24"/>
                  </a:lnTo>
                  <a:lnTo>
                    <a:pt x="37" y="27"/>
                  </a:lnTo>
                  <a:lnTo>
                    <a:pt x="37" y="27"/>
                  </a:lnTo>
                  <a:lnTo>
                    <a:pt x="36" y="30"/>
                  </a:lnTo>
                  <a:lnTo>
                    <a:pt x="33" y="30"/>
                  </a:lnTo>
                  <a:lnTo>
                    <a:pt x="27" y="27"/>
                  </a:lnTo>
                  <a:lnTo>
                    <a:pt x="27" y="27"/>
                  </a:lnTo>
                  <a:lnTo>
                    <a:pt x="26" y="26"/>
                  </a:lnTo>
                  <a:lnTo>
                    <a:pt x="24" y="27"/>
                  </a:lnTo>
                  <a:lnTo>
                    <a:pt x="23" y="32"/>
                  </a:lnTo>
                  <a:lnTo>
                    <a:pt x="22" y="39"/>
                  </a:lnTo>
                  <a:lnTo>
                    <a:pt x="22" y="39"/>
                  </a:lnTo>
                  <a:lnTo>
                    <a:pt x="20" y="42"/>
                  </a:lnTo>
                  <a:lnTo>
                    <a:pt x="17" y="49"/>
                  </a:lnTo>
                  <a:lnTo>
                    <a:pt x="17" y="49"/>
                  </a:lnTo>
                  <a:lnTo>
                    <a:pt x="14" y="51"/>
                  </a:lnTo>
                  <a:lnTo>
                    <a:pt x="10" y="53"/>
                  </a:lnTo>
                  <a:lnTo>
                    <a:pt x="4" y="54"/>
                  </a:lnTo>
                  <a:lnTo>
                    <a:pt x="4" y="54"/>
                  </a:lnTo>
                  <a:lnTo>
                    <a:pt x="3" y="56"/>
                  </a:lnTo>
                  <a:lnTo>
                    <a:pt x="4" y="59"/>
                  </a:lnTo>
                  <a:lnTo>
                    <a:pt x="4" y="61"/>
                  </a:lnTo>
                  <a:lnTo>
                    <a:pt x="4" y="64"/>
                  </a:lnTo>
                  <a:lnTo>
                    <a:pt x="4" y="64"/>
                  </a:lnTo>
                  <a:lnTo>
                    <a:pt x="0" y="77"/>
                  </a:lnTo>
                  <a:lnTo>
                    <a:pt x="0" y="77"/>
                  </a:lnTo>
                  <a:lnTo>
                    <a:pt x="4" y="79"/>
                  </a:lnTo>
                  <a:lnTo>
                    <a:pt x="9" y="83"/>
                  </a:lnTo>
                  <a:lnTo>
                    <a:pt x="9" y="83"/>
                  </a:lnTo>
                  <a:lnTo>
                    <a:pt x="10" y="84"/>
                  </a:lnTo>
                  <a:lnTo>
                    <a:pt x="14" y="88"/>
                  </a:lnTo>
                  <a:lnTo>
                    <a:pt x="19" y="90"/>
                  </a:lnTo>
                  <a:lnTo>
                    <a:pt x="20" y="90"/>
                  </a:lnTo>
                  <a:lnTo>
                    <a:pt x="23" y="88"/>
                  </a:lnTo>
                  <a:lnTo>
                    <a:pt x="23" y="88"/>
                  </a:lnTo>
                  <a:lnTo>
                    <a:pt x="27" y="86"/>
                  </a:lnTo>
                  <a:lnTo>
                    <a:pt x="33" y="84"/>
                  </a:lnTo>
                  <a:lnTo>
                    <a:pt x="37" y="86"/>
                  </a:lnTo>
                  <a:lnTo>
                    <a:pt x="41" y="87"/>
                  </a:lnTo>
                  <a:lnTo>
                    <a:pt x="41" y="87"/>
                  </a:lnTo>
                  <a:lnTo>
                    <a:pt x="43" y="88"/>
                  </a:lnTo>
                  <a:lnTo>
                    <a:pt x="44" y="88"/>
                  </a:lnTo>
                  <a:lnTo>
                    <a:pt x="46" y="87"/>
                  </a:lnTo>
                  <a:lnTo>
                    <a:pt x="47" y="86"/>
                  </a:lnTo>
                  <a:lnTo>
                    <a:pt x="47" y="86"/>
                  </a:lnTo>
                  <a:lnTo>
                    <a:pt x="44" y="77"/>
                  </a:lnTo>
                  <a:lnTo>
                    <a:pt x="43" y="73"/>
                  </a:lnTo>
                  <a:lnTo>
                    <a:pt x="44" y="69"/>
                  </a:lnTo>
                  <a:lnTo>
                    <a:pt x="44" y="69"/>
                  </a:lnTo>
                  <a:lnTo>
                    <a:pt x="46" y="69"/>
                  </a:lnTo>
                  <a:lnTo>
                    <a:pt x="50" y="67"/>
                  </a:lnTo>
                  <a:lnTo>
                    <a:pt x="64" y="67"/>
                  </a:lnTo>
                  <a:lnTo>
                    <a:pt x="77" y="69"/>
                  </a:lnTo>
                  <a:lnTo>
                    <a:pt x="84" y="70"/>
                  </a:lnTo>
                  <a:lnTo>
                    <a:pt x="84" y="70"/>
                  </a:lnTo>
                  <a:lnTo>
                    <a:pt x="84" y="70"/>
                  </a:lnTo>
                  <a:lnTo>
                    <a:pt x="86" y="69"/>
                  </a:lnTo>
                  <a:lnTo>
                    <a:pt x="87" y="66"/>
                  </a:lnTo>
                  <a:lnTo>
                    <a:pt x="90" y="66"/>
                  </a:lnTo>
                  <a:lnTo>
                    <a:pt x="90" y="66"/>
                  </a:lnTo>
                  <a:lnTo>
                    <a:pt x="98" y="67"/>
                  </a:lnTo>
                  <a:lnTo>
                    <a:pt x="105" y="67"/>
                  </a:lnTo>
                  <a:lnTo>
                    <a:pt x="105" y="67"/>
                  </a:lnTo>
                  <a:lnTo>
                    <a:pt x="110" y="64"/>
                  </a:lnTo>
                  <a:lnTo>
                    <a:pt x="111" y="61"/>
                  </a:lnTo>
                  <a:lnTo>
                    <a:pt x="114" y="61"/>
                  </a:lnTo>
                  <a:lnTo>
                    <a:pt x="114" y="61"/>
                  </a:lnTo>
                  <a:lnTo>
                    <a:pt x="121" y="61"/>
                  </a:lnTo>
                  <a:lnTo>
                    <a:pt x="124" y="60"/>
                  </a:lnTo>
                  <a:lnTo>
                    <a:pt x="127" y="59"/>
                  </a:lnTo>
                  <a:lnTo>
                    <a:pt x="127" y="59"/>
                  </a:lnTo>
                  <a:lnTo>
                    <a:pt x="130" y="56"/>
                  </a:lnTo>
                  <a:lnTo>
                    <a:pt x="131" y="54"/>
                  </a:lnTo>
                  <a:lnTo>
                    <a:pt x="131" y="53"/>
                  </a:lnTo>
                  <a:lnTo>
                    <a:pt x="131" y="53"/>
                  </a:lnTo>
                  <a:lnTo>
                    <a:pt x="131" y="51"/>
                  </a:lnTo>
                  <a:lnTo>
                    <a:pt x="131" y="5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5" name="Freeform 221">
              <a:extLst>
                <a:ext uri="{FF2B5EF4-FFF2-40B4-BE49-F238E27FC236}">
                  <a16:creationId xmlns:a16="http://schemas.microsoft.com/office/drawing/2014/main" id="{1C762418-A2C0-B743-865B-B4DD70A0067D}"/>
                </a:ext>
              </a:extLst>
            </p:cNvPr>
            <p:cNvSpPr>
              <a:spLocks/>
            </p:cNvSpPr>
            <p:nvPr/>
          </p:nvSpPr>
          <p:spPr bwMode="auto">
            <a:xfrm>
              <a:off x="4329316" y="3738543"/>
              <a:ext cx="365507" cy="287078"/>
            </a:xfrm>
            <a:custGeom>
              <a:avLst/>
              <a:gdLst/>
              <a:ahLst/>
              <a:cxnLst>
                <a:cxn ang="0">
                  <a:pos x="237" y="8"/>
                </a:cxn>
                <a:cxn ang="0">
                  <a:pos x="222" y="12"/>
                </a:cxn>
                <a:cxn ang="0">
                  <a:pos x="207" y="2"/>
                </a:cxn>
                <a:cxn ang="0">
                  <a:pos x="121" y="43"/>
                </a:cxn>
                <a:cxn ang="0">
                  <a:pos x="82" y="70"/>
                </a:cxn>
                <a:cxn ang="0">
                  <a:pos x="65" y="76"/>
                </a:cxn>
                <a:cxn ang="0">
                  <a:pos x="65" y="113"/>
                </a:cxn>
                <a:cxn ang="0">
                  <a:pos x="61" y="124"/>
                </a:cxn>
                <a:cxn ang="0">
                  <a:pos x="55" y="134"/>
                </a:cxn>
                <a:cxn ang="0">
                  <a:pos x="49" y="137"/>
                </a:cxn>
                <a:cxn ang="0">
                  <a:pos x="24" y="140"/>
                </a:cxn>
                <a:cxn ang="0">
                  <a:pos x="15" y="141"/>
                </a:cxn>
                <a:cxn ang="0">
                  <a:pos x="1" y="144"/>
                </a:cxn>
                <a:cxn ang="0">
                  <a:pos x="1" y="153"/>
                </a:cxn>
                <a:cxn ang="0">
                  <a:pos x="4" y="160"/>
                </a:cxn>
                <a:cxn ang="0">
                  <a:pos x="11" y="165"/>
                </a:cxn>
                <a:cxn ang="0">
                  <a:pos x="14" y="171"/>
                </a:cxn>
                <a:cxn ang="0">
                  <a:pos x="17" y="177"/>
                </a:cxn>
                <a:cxn ang="0">
                  <a:pos x="20" y="180"/>
                </a:cxn>
                <a:cxn ang="0">
                  <a:pos x="22" y="183"/>
                </a:cxn>
                <a:cxn ang="0">
                  <a:pos x="30" y="181"/>
                </a:cxn>
                <a:cxn ang="0">
                  <a:pos x="31" y="187"/>
                </a:cxn>
                <a:cxn ang="0">
                  <a:pos x="32" y="190"/>
                </a:cxn>
                <a:cxn ang="0">
                  <a:pos x="38" y="192"/>
                </a:cxn>
                <a:cxn ang="0">
                  <a:pos x="41" y="185"/>
                </a:cxn>
                <a:cxn ang="0">
                  <a:pos x="47" y="187"/>
                </a:cxn>
                <a:cxn ang="0">
                  <a:pos x="49" y="194"/>
                </a:cxn>
                <a:cxn ang="0">
                  <a:pos x="54" y="194"/>
                </a:cxn>
                <a:cxn ang="0">
                  <a:pos x="57" y="191"/>
                </a:cxn>
                <a:cxn ang="0">
                  <a:pos x="64" y="180"/>
                </a:cxn>
                <a:cxn ang="0">
                  <a:pos x="65" y="170"/>
                </a:cxn>
                <a:cxn ang="0">
                  <a:pos x="69" y="165"/>
                </a:cxn>
                <a:cxn ang="0">
                  <a:pos x="82" y="167"/>
                </a:cxn>
                <a:cxn ang="0">
                  <a:pos x="88" y="163"/>
                </a:cxn>
                <a:cxn ang="0">
                  <a:pos x="94" y="164"/>
                </a:cxn>
                <a:cxn ang="0">
                  <a:pos x="104" y="167"/>
                </a:cxn>
                <a:cxn ang="0">
                  <a:pos x="109" y="175"/>
                </a:cxn>
                <a:cxn ang="0">
                  <a:pos x="113" y="175"/>
                </a:cxn>
                <a:cxn ang="0">
                  <a:pos x="126" y="171"/>
                </a:cxn>
                <a:cxn ang="0">
                  <a:pos x="139" y="178"/>
                </a:cxn>
                <a:cxn ang="0">
                  <a:pos x="150" y="180"/>
                </a:cxn>
                <a:cxn ang="0">
                  <a:pos x="159" y="174"/>
                </a:cxn>
                <a:cxn ang="0">
                  <a:pos x="166" y="171"/>
                </a:cxn>
                <a:cxn ang="0">
                  <a:pos x="186" y="171"/>
                </a:cxn>
                <a:cxn ang="0">
                  <a:pos x="196" y="174"/>
                </a:cxn>
                <a:cxn ang="0">
                  <a:pos x="203" y="173"/>
                </a:cxn>
                <a:cxn ang="0">
                  <a:pos x="212" y="164"/>
                </a:cxn>
                <a:cxn ang="0">
                  <a:pos x="213" y="164"/>
                </a:cxn>
                <a:cxn ang="0">
                  <a:pos x="213" y="154"/>
                </a:cxn>
                <a:cxn ang="0">
                  <a:pos x="217" y="146"/>
                </a:cxn>
                <a:cxn ang="0">
                  <a:pos x="222" y="137"/>
                </a:cxn>
                <a:cxn ang="0">
                  <a:pos x="243" y="113"/>
                </a:cxn>
                <a:cxn ang="0">
                  <a:pos x="244" y="73"/>
                </a:cxn>
                <a:cxn ang="0">
                  <a:pos x="247" y="56"/>
                </a:cxn>
                <a:cxn ang="0">
                  <a:pos x="246" y="49"/>
                </a:cxn>
                <a:cxn ang="0">
                  <a:pos x="244" y="43"/>
                </a:cxn>
                <a:cxn ang="0">
                  <a:pos x="239" y="32"/>
                </a:cxn>
              </a:cxnLst>
              <a:rect l="0" t="0" r="r" b="b"/>
              <a:pathLst>
                <a:path w="247" h="194">
                  <a:moveTo>
                    <a:pt x="237" y="29"/>
                  </a:moveTo>
                  <a:lnTo>
                    <a:pt x="237" y="29"/>
                  </a:lnTo>
                  <a:lnTo>
                    <a:pt x="237" y="8"/>
                  </a:lnTo>
                  <a:lnTo>
                    <a:pt x="224" y="15"/>
                  </a:lnTo>
                  <a:lnTo>
                    <a:pt x="224" y="15"/>
                  </a:lnTo>
                  <a:lnTo>
                    <a:pt x="222" y="12"/>
                  </a:lnTo>
                  <a:lnTo>
                    <a:pt x="213" y="5"/>
                  </a:lnTo>
                  <a:lnTo>
                    <a:pt x="213" y="5"/>
                  </a:lnTo>
                  <a:lnTo>
                    <a:pt x="207" y="2"/>
                  </a:lnTo>
                  <a:lnTo>
                    <a:pt x="199" y="0"/>
                  </a:lnTo>
                  <a:lnTo>
                    <a:pt x="190" y="0"/>
                  </a:lnTo>
                  <a:lnTo>
                    <a:pt x="121" y="43"/>
                  </a:lnTo>
                  <a:lnTo>
                    <a:pt x="92" y="67"/>
                  </a:lnTo>
                  <a:lnTo>
                    <a:pt x="92" y="67"/>
                  </a:lnTo>
                  <a:lnTo>
                    <a:pt x="82" y="70"/>
                  </a:lnTo>
                  <a:lnTo>
                    <a:pt x="67" y="74"/>
                  </a:lnTo>
                  <a:lnTo>
                    <a:pt x="67" y="74"/>
                  </a:lnTo>
                  <a:lnTo>
                    <a:pt x="65" y="76"/>
                  </a:lnTo>
                  <a:lnTo>
                    <a:pt x="65" y="76"/>
                  </a:lnTo>
                  <a:lnTo>
                    <a:pt x="65" y="100"/>
                  </a:lnTo>
                  <a:lnTo>
                    <a:pt x="65" y="113"/>
                  </a:lnTo>
                  <a:lnTo>
                    <a:pt x="64" y="119"/>
                  </a:lnTo>
                  <a:lnTo>
                    <a:pt x="64" y="119"/>
                  </a:lnTo>
                  <a:lnTo>
                    <a:pt x="61" y="124"/>
                  </a:lnTo>
                  <a:lnTo>
                    <a:pt x="59" y="130"/>
                  </a:lnTo>
                  <a:lnTo>
                    <a:pt x="59" y="130"/>
                  </a:lnTo>
                  <a:lnTo>
                    <a:pt x="55" y="134"/>
                  </a:lnTo>
                  <a:lnTo>
                    <a:pt x="52" y="136"/>
                  </a:lnTo>
                  <a:lnTo>
                    <a:pt x="49" y="137"/>
                  </a:lnTo>
                  <a:lnTo>
                    <a:pt x="49" y="137"/>
                  </a:lnTo>
                  <a:lnTo>
                    <a:pt x="37" y="138"/>
                  </a:lnTo>
                  <a:lnTo>
                    <a:pt x="30" y="140"/>
                  </a:lnTo>
                  <a:lnTo>
                    <a:pt x="24" y="140"/>
                  </a:lnTo>
                  <a:lnTo>
                    <a:pt x="24" y="140"/>
                  </a:lnTo>
                  <a:lnTo>
                    <a:pt x="20" y="140"/>
                  </a:lnTo>
                  <a:lnTo>
                    <a:pt x="15" y="141"/>
                  </a:lnTo>
                  <a:lnTo>
                    <a:pt x="11" y="144"/>
                  </a:lnTo>
                  <a:lnTo>
                    <a:pt x="11" y="144"/>
                  </a:lnTo>
                  <a:lnTo>
                    <a:pt x="1" y="144"/>
                  </a:lnTo>
                  <a:lnTo>
                    <a:pt x="1" y="144"/>
                  </a:lnTo>
                  <a:lnTo>
                    <a:pt x="0" y="150"/>
                  </a:lnTo>
                  <a:lnTo>
                    <a:pt x="1" y="153"/>
                  </a:lnTo>
                  <a:lnTo>
                    <a:pt x="1" y="153"/>
                  </a:lnTo>
                  <a:lnTo>
                    <a:pt x="3" y="157"/>
                  </a:lnTo>
                  <a:lnTo>
                    <a:pt x="4" y="160"/>
                  </a:lnTo>
                  <a:lnTo>
                    <a:pt x="5" y="163"/>
                  </a:lnTo>
                  <a:lnTo>
                    <a:pt x="5" y="163"/>
                  </a:lnTo>
                  <a:lnTo>
                    <a:pt x="11" y="165"/>
                  </a:lnTo>
                  <a:lnTo>
                    <a:pt x="12" y="168"/>
                  </a:lnTo>
                  <a:lnTo>
                    <a:pt x="14" y="171"/>
                  </a:lnTo>
                  <a:lnTo>
                    <a:pt x="14" y="171"/>
                  </a:lnTo>
                  <a:lnTo>
                    <a:pt x="14" y="175"/>
                  </a:lnTo>
                  <a:lnTo>
                    <a:pt x="15" y="177"/>
                  </a:lnTo>
                  <a:lnTo>
                    <a:pt x="17" y="177"/>
                  </a:lnTo>
                  <a:lnTo>
                    <a:pt x="17" y="177"/>
                  </a:lnTo>
                  <a:lnTo>
                    <a:pt x="18" y="177"/>
                  </a:lnTo>
                  <a:lnTo>
                    <a:pt x="20" y="180"/>
                  </a:lnTo>
                  <a:lnTo>
                    <a:pt x="21" y="181"/>
                  </a:lnTo>
                  <a:lnTo>
                    <a:pt x="22" y="183"/>
                  </a:lnTo>
                  <a:lnTo>
                    <a:pt x="22" y="183"/>
                  </a:lnTo>
                  <a:lnTo>
                    <a:pt x="25" y="183"/>
                  </a:lnTo>
                  <a:lnTo>
                    <a:pt x="28" y="183"/>
                  </a:lnTo>
                  <a:lnTo>
                    <a:pt x="30" y="181"/>
                  </a:lnTo>
                  <a:lnTo>
                    <a:pt x="31" y="181"/>
                  </a:lnTo>
                  <a:lnTo>
                    <a:pt x="31" y="181"/>
                  </a:lnTo>
                  <a:lnTo>
                    <a:pt x="31" y="187"/>
                  </a:lnTo>
                  <a:lnTo>
                    <a:pt x="31" y="190"/>
                  </a:lnTo>
                  <a:lnTo>
                    <a:pt x="32" y="190"/>
                  </a:lnTo>
                  <a:lnTo>
                    <a:pt x="32" y="190"/>
                  </a:lnTo>
                  <a:lnTo>
                    <a:pt x="34" y="191"/>
                  </a:lnTo>
                  <a:lnTo>
                    <a:pt x="38" y="192"/>
                  </a:lnTo>
                  <a:lnTo>
                    <a:pt x="38" y="192"/>
                  </a:lnTo>
                  <a:lnTo>
                    <a:pt x="38" y="190"/>
                  </a:lnTo>
                  <a:lnTo>
                    <a:pt x="40" y="187"/>
                  </a:lnTo>
                  <a:lnTo>
                    <a:pt x="41" y="185"/>
                  </a:lnTo>
                  <a:lnTo>
                    <a:pt x="44" y="185"/>
                  </a:lnTo>
                  <a:lnTo>
                    <a:pt x="44" y="185"/>
                  </a:lnTo>
                  <a:lnTo>
                    <a:pt x="47" y="187"/>
                  </a:lnTo>
                  <a:lnTo>
                    <a:pt x="47" y="190"/>
                  </a:lnTo>
                  <a:lnTo>
                    <a:pt x="47" y="191"/>
                  </a:lnTo>
                  <a:lnTo>
                    <a:pt x="49" y="194"/>
                  </a:lnTo>
                  <a:lnTo>
                    <a:pt x="49" y="194"/>
                  </a:lnTo>
                  <a:lnTo>
                    <a:pt x="52" y="194"/>
                  </a:lnTo>
                  <a:lnTo>
                    <a:pt x="54" y="194"/>
                  </a:lnTo>
                  <a:lnTo>
                    <a:pt x="55" y="192"/>
                  </a:lnTo>
                  <a:lnTo>
                    <a:pt x="57" y="191"/>
                  </a:lnTo>
                  <a:lnTo>
                    <a:pt x="57" y="191"/>
                  </a:lnTo>
                  <a:lnTo>
                    <a:pt x="57" y="187"/>
                  </a:lnTo>
                  <a:lnTo>
                    <a:pt x="59" y="184"/>
                  </a:lnTo>
                  <a:lnTo>
                    <a:pt x="64" y="180"/>
                  </a:lnTo>
                  <a:lnTo>
                    <a:pt x="64" y="180"/>
                  </a:lnTo>
                  <a:lnTo>
                    <a:pt x="64" y="173"/>
                  </a:lnTo>
                  <a:lnTo>
                    <a:pt x="65" y="170"/>
                  </a:lnTo>
                  <a:lnTo>
                    <a:pt x="67" y="167"/>
                  </a:lnTo>
                  <a:lnTo>
                    <a:pt x="67" y="167"/>
                  </a:lnTo>
                  <a:lnTo>
                    <a:pt x="69" y="165"/>
                  </a:lnTo>
                  <a:lnTo>
                    <a:pt x="74" y="165"/>
                  </a:lnTo>
                  <a:lnTo>
                    <a:pt x="82" y="167"/>
                  </a:lnTo>
                  <a:lnTo>
                    <a:pt x="82" y="167"/>
                  </a:lnTo>
                  <a:lnTo>
                    <a:pt x="84" y="165"/>
                  </a:lnTo>
                  <a:lnTo>
                    <a:pt x="86" y="164"/>
                  </a:lnTo>
                  <a:lnTo>
                    <a:pt x="88" y="163"/>
                  </a:lnTo>
                  <a:lnTo>
                    <a:pt x="91" y="163"/>
                  </a:lnTo>
                  <a:lnTo>
                    <a:pt x="91" y="163"/>
                  </a:lnTo>
                  <a:lnTo>
                    <a:pt x="94" y="164"/>
                  </a:lnTo>
                  <a:lnTo>
                    <a:pt x="98" y="165"/>
                  </a:lnTo>
                  <a:lnTo>
                    <a:pt x="101" y="165"/>
                  </a:lnTo>
                  <a:lnTo>
                    <a:pt x="104" y="167"/>
                  </a:lnTo>
                  <a:lnTo>
                    <a:pt x="104" y="167"/>
                  </a:lnTo>
                  <a:lnTo>
                    <a:pt x="108" y="174"/>
                  </a:lnTo>
                  <a:lnTo>
                    <a:pt x="109" y="175"/>
                  </a:lnTo>
                  <a:lnTo>
                    <a:pt x="111" y="175"/>
                  </a:lnTo>
                  <a:lnTo>
                    <a:pt x="113" y="175"/>
                  </a:lnTo>
                  <a:lnTo>
                    <a:pt x="113" y="175"/>
                  </a:lnTo>
                  <a:lnTo>
                    <a:pt x="121" y="173"/>
                  </a:lnTo>
                  <a:lnTo>
                    <a:pt x="126" y="171"/>
                  </a:lnTo>
                  <a:lnTo>
                    <a:pt x="126" y="171"/>
                  </a:lnTo>
                  <a:lnTo>
                    <a:pt x="129" y="173"/>
                  </a:lnTo>
                  <a:lnTo>
                    <a:pt x="132" y="174"/>
                  </a:lnTo>
                  <a:lnTo>
                    <a:pt x="139" y="178"/>
                  </a:lnTo>
                  <a:lnTo>
                    <a:pt x="139" y="178"/>
                  </a:lnTo>
                  <a:lnTo>
                    <a:pt x="146" y="180"/>
                  </a:lnTo>
                  <a:lnTo>
                    <a:pt x="150" y="180"/>
                  </a:lnTo>
                  <a:lnTo>
                    <a:pt x="155" y="178"/>
                  </a:lnTo>
                  <a:lnTo>
                    <a:pt x="155" y="178"/>
                  </a:lnTo>
                  <a:lnTo>
                    <a:pt x="159" y="174"/>
                  </a:lnTo>
                  <a:lnTo>
                    <a:pt x="163" y="171"/>
                  </a:lnTo>
                  <a:lnTo>
                    <a:pt x="166" y="171"/>
                  </a:lnTo>
                  <a:lnTo>
                    <a:pt x="166" y="171"/>
                  </a:lnTo>
                  <a:lnTo>
                    <a:pt x="176" y="170"/>
                  </a:lnTo>
                  <a:lnTo>
                    <a:pt x="183" y="170"/>
                  </a:lnTo>
                  <a:lnTo>
                    <a:pt x="186" y="171"/>
                  </a:lnTo>
                  <a:lnTo>
                    <a:pt x="186" y="171"/>
                  </a:lnTo>
                  <a:lnTo>
                    <a:pt x="192" y="174"/>
                  </a:lnTo>
                  <a:lnTo>
                    <a:pt x="196" y="174"/>
                  </a:lnTo>
                  <a:lnTo>
                    <a:pt x="200" y="174"/>
                  </a:lnTo>
                  <a:lnTo>
                    <a:pt x="200" y="174"/>
                  </a:lnTo>
                  <a:lnTo>
                    <a:pt x="203" y="173"/>
                  </a:lnTo>
                  <a:lnTo>
                    <a:pt x="206" y="168"/>
                  </a:lnTo>
                  <a:lnTo>
                    <a:pt x="209" y="165"/>
                  </a:lnTo>
                  <a:lnTo>
                    <a:pt x="212" y="164"/>
                  </a:lnTo>
                  <a:lnTo>
                    <a:pt x="212" y="164"/>
                  </a:lnTo>
                  <a:lnTo>
                    <a:pt x="213" y="164"/>
                  </a:lnTo>
                  <a:lnTo>
                    <a:pt x="213" y="164"/>
                  </a:lnTo>
                  <a:lnTo>
                    <a:pt x="213" y="158"/>
                  </a:lnTo>
                  <a:lnTo>
                    <a:pt x="213" y="158"/>
                  </a:lnTo>
                  <a:lnTo>
                    <a:pt x="213" y="154"/>
                  </a:lnTo>
                  <a:lnTo>
                    <a:pt x="215" y="151"/>
                  </a:lnTo>
                  <a:lnTo>
                    <a:pt x="216" y="150"/>
                  </a:lnTo>
                  <a:lnTo>
                    <a:pt x="217" y="146"/>
                  </a:lnTo>
                  <a:lnTo>
                    <a:pt x="217" y="146"/>
                  </a:lnTo>
                  <a:lnTo>
                    <a:pt x="219" y="141"/>
                  </a:lnTo>
                  <a:lnTo>
                    <a:pt x="222" y="137"/>
                  </a:lnTo>
                  <a:lnTo>
                    <a:pt x="229" y="126"/>
                  </a:lnTo>
                  <a:lnTo>
                    <a:pt x="243" y="113"/>
                  </a:lnTo>
                  <a:lnTo>
                    <a:pt x="243" y="113"/>
                  </a:lnTo>
                  <a:lnTo>
                    <a:pt x="243" y="107"/>
                  </a:lnTo>
                  <a:lnTo>
                    <a:pt x="244" y="94"/>
                  </a:lnTo>
                  <a:lnTo>
                    <a:pt x="244" y="73"/>
                  </a:lnTo>
                  <a:lnTo>
                    <a:pt x="244" y="73"/>
                  </a:lnTo>
                  <a:lnTo>
                    <a:pt x="244" y="64"/>
                  </a:lnTo>
                  <a:lnTo>
                    <a:pt x="247" y="56"/>
                  </a:lnTo>
                  <a:lnTo>
                    <a:pt x="247" y="56"/>
                  </a:lnTo>
                  <a:lnTo>
                    <a:pt x="247" y="52"/>
                  </a:lnTo>
                  <a:lnTo>
                    <a:pt x="246" y="49"/>
                  </a:lnTo>
                  <a:lnTo>
                    <a:pt x="244" y="47"/>
                  </a:lnTo>
                  <a:lnTo>
                    <a:pt x="244" y="43"/>
                  </a:lnTo>
                  <a:lnTo>
                    <a:pt x="244" y="43"/>
                  </a:lnTo>
                  <a:lnTo>
                    <a:pt x="243" y="39"/>
                  </a:lnTo>
                  <a:lnTo>
                    <a:pt x="242" y="35"/>
                  </a:lnTo>
                  <a:lnTo>
                    <a:pt x="239" y="32"/>
                  </a:lnTo>
                  <a:lnTo>
                    <a:pt x="237" y="29"/>
                  </a:lnTo>
                  <a:lnTo>
                    <a:pt x="237" y="2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6" name="Freeform 222">
              <a:extLst>
                <a:ext uri="{FF2B5EF4-FFF2-40B4-BE49-F238E27FC236}">
                  <a16:creationId xmlns:a16="http://schemas.microsoft.com/office/drawing/2014/main" id="{5FED2CA5-2479-E44C-B932-D511B02DE783}"/>
                </a:ext>
              </a:extLst>
            </p:cNvPr>
            <p:cNvSpPr>
              <a:spLocks/>
            </p:cNvSpPr>
            <p:nvPr/>
          </p:nvSpPr>
          <p:spPr bwMode="auto">
            <a:xfrm>
              <a:off x="4644510" y="3738543"/>
              <a:ext cx="238246" cy="393622"/>
            </a:xfrm>
            <a:custGeom>
              <a:avLst/>
              <a:gdLst/>
              <a:ahLst/>
              <a:cxnLst>
                <a:cxn ang="0">
                  <a:pos x="24" y="8"/>
                </a:cxn>
                <a:cxn ang="0">
                  <a:pos x="24" y="29"/>
                </a:cxn>
                <a:cxn ang="0">
                  <a:pos x="30" y="39"/>
                </a:cxn>
                <a:cxn ang="0">
                  <a:pos x="31" y="47"/>
                </a:cxn>
                <a:cxn ang="0">
                  <a:pos x="34" y="56"/>
                </a:cxn>
                <a:cxn ang="0">
                  <a:pos x="31" y="73"/>
                </a:cxn>
                <a:cxn ang="0">
                  <a:pos x="30" y="107"/>
                </a:cxn>
                <a:cxn ang="0">
                  <a:pos x="16" y="126"/>
                </a:cxn>
                <a:cxn ang="0">
                  <a:pos x="4" y="146"/>
                </a:cxn>
                <a:cxn ang="0">
                  <a:pos x="2" y="151"/>
                </a:cxn>
                <a:cxn ang="0">
                  <a:pos x="0" y="158"/>
                </a:cxn>
                <a:cxn ang="0">
                  <a:pos x="4" y="167"/>
                </a:cxn>
                <a:cxn ang="0">
                  <a:pos x="9" y="173"/>
                </a:cxn>
                <a:cxn ang="0">
                  <a:pos x="14" y="175"/>
                </a:cxn>
                <a:cxn ang="0">
                  <a:pos x="21" y="190"/>
                </a:cxn>
                <a:cxn ang="0">
                  <a:pos x="21" y="195"/>
                </a:cxn>
                <a:cxn ang="0">
                  <a:pos x="23" y="204"/>
                </a:cxn>
                <a:cxn ang="0">
                  <a:pos x="27" y="221"/>
                </a:cxn>
                <a:cxn ang="0">
                  <a:pos x="30" y="224"/>
                </a:cxn>
                <a:cxn ang="0">
                  <a:pos x="23" y="225"/>
                </a:cxn>
                <a:cxn ang="0">
                  <a:pos x="9" y="228"/>
                </a:cxn>
                <a:cxn ang="0">
                  <a:pos x="10" y="235"/>
                </a:cxn>
                <a:cxn ang="0">
                  <a:pos x="21" y="245"/>
                </a:cxn>
                <a:cxn ang="0">
                  <a:pos x="26" y="252"/>
                </a:cxn>
                <a:cxn ang="0">
                  <a:pos x="33" y="266"/>
                </a:cxn>
                <a:cxn ang="0">
                  <a:pos x="38" y="265"/>
                </a:cxn>
                <a:cxn ang="0">
                  <a:pos x="43" y="261"/>
                </a:cxn>
                <a:cxn ang="0">
                  <a:pos x="48" y="264"/>
                </a:cxn>
                <a:cxn ang="0">
                  <a:pos x="51" y="262"/>
                </a:cxn>
                <a:cxn ang="0">
                  <a:pos x="70" y="257"/>
                </a:cxn>
                <a:cxn ang="0">
                  <a:pos x="84" y="249"/>
                </a:cxn>
                <a:cxn ang="0">
                  <a:pos x="83" y="245"/>
                </a:cxn>
                <a:cxn ang="0">
                  <a:pos x="84" y="241"/>
                </a:cxn>
                <a:cxn ang="0">
                  <a:pos x="103" y="239"/>
                </a:cxn>
                <a:cxn ang="0">
                  <a:pos x="107" y="237"/>
                </a:cxn>
                <a:cxn ang="0">
                  <a:pos x="122" y="220"/>
                </a:cxn>
                <a:cxn ang="0">
                  <a:pos x="124" y="214"/>
                </a:cxn>
                <a:cxn ang="0">
                  <a:pos x="132" y="208"/>
                </a:cxn>
                <a:cxn ang="0">
                  <a:pos x="139" y="207"/>
                </a:cxn>
                <a:cxn ang="0">
                  <a:pos x="141" y="207"/>
                </a:cxn>
                <a:cxn ang="0">
                  <a:pos x="139" y="197"/>
                </a:cxn>
                <a:cxn ang="0">
                  <a:pos x="135" y="190"/>
                </a:cxn>
                <a:cxn ang="0">
                  <a:pos x="132" y="178"/>
                </a:cxn>
                <a:cxn ang="0">
                  <a:pos x="128" y="175"/>
                </a:cxn>
                <a:cxn ang="0">
                  <a:pos x="131" y="170"/>
                </a:cxn>
                <a:cxn ang="0">
                  <a:pos x="130" y="163"/>
                </a:cxn>
                <a:cxn ang="0">
                  <a:pos x="131" y="157"/>
                </a:cxn>
                <a:cxn ang="0">
                  <a:pos x="135" y="156"/>
                </a:cxn>
                <a:cxn ang="0">
                  <a:pos x="137" y="147"/>
                </a:cxn>
                <a:cxn ang="0">
                  <a:pos x="141" y="144"/>
                </a:cxn>
                <a:cxn ang="0">
                  <a:pos x="145" y="136"/>
                </a:cxn>
                <a:cxn ang="0">
                  <a:pos x="151" y="130"/>
                </a:cxn>
                <a:cxn ang="0">
                  <a:pos x="159" y="124"/>
                </a:cxn>
                <a:cxn ang="0">
                  <a:pos x="161" y="66"/>
                </a:cxn>
              </a:cxnLst>
              <a:rect l="0" t="0" r="r" b="b"/>
              <a:pathLst>
                <a:path w="161" h="266">
                  <a:moveTo>
                    <a:pt x="161" y="66"/>
                  </a:moveTo>
                  <a:lnTo>
                    <a:pt x="38" y="0"/>
                  </a:lnTo>
                  <a:lnTo>
                    <a:pt x="24" y="8"/>
                  </a:lnTo>
                  <a:lnTo>
                    <a:pt x="24" y="8"/>
                  </a:lnTo>
                  <a:lnTo>
                    <a:pt x="24" y="29"/>
                  </a:lnTo>
                  <a:lnTo>
                    <a:pt x="24" y="29"/>
                  </a:lnTo>
                  <a:lnTo>
                    <a:pt x="26" y="32"/>
                  </a:lnTo>
                  <a:lnTo>
                    <a:pt x="29" y="35"/>
                  </a:lnTo>
                  <a:lnTo>
                    <a:pt x="30" y="39"/>
                  </a:lnTo>
                  <a:lnTo>
                    <a:pt x="31" y="43"/>
                  </a:lnTo>
                  <a:lnTo>
                    <a:pt x="31" y="43"/>
                  </a:lnTo>
                  <a:lnTo>
                    <a:pt x="31" y="47"/>
                  </a:lnTo>
                  <a:lnTo>
                    <a:pt x="33" y="49"/>
                  </a:lnTo>
                  <a:lnTo>
                    <a:pt x="34" y="52"/>
                  </a:lnTo>
                  <a:lnTo>
                    <a:pt x="34" y="56"/>
                  </a:lnTo>
                  <a:lnTo>
                    <a:pt x="34" y="56"/>
                  </a:lnTo>
                  <a:lnTo>
                    <a:pt x="31" y="64"/>
                  </a:lnTo>
                  <a:lnTo>
                    <a:pt x="31" y="73"/>
                  </a:lnTo>
                  <a:lnTo>
                    <a:pt x="31" y="73"/>
                  </a:lnTo>
                  <a:lnTo>
                    <a:pt x="31" y="94"/>
                  </a:lnTo>
                  <a:lnTo>
                    <a:pt x="30" y="107"/>
                  </a:lnTo>
                  <a:lnTo>
                    <a:pt x="30" y="113"/>
                  </a:lnTo>
                  <a:lnTo>
                    <a:pt x="30" y="113"/>
                  </a:lnTo>
                  <a:lnTo>
                    <a:pt x="16" y="126"/>
                  </a:lnTo>
                  <a:lnTo>
                    <a:pt x="9" y="137"/>
                  </a:lnTo>
                  <a:lnTo>
                    <a:pt x="6" y="141"/>
                  </a:lnTo>
                  <a:lnTo>
                    <a:pt x="4" y="146"/>
                  </a:lnTo>
                  <a:lnTo>
                    <a:pt x="4" y="146"/>
                  </a:lnTo>
                  <a:lnTo>
                    <a:pt x="3" y="150"/>
                  </a:lnTo>
                  <a:lnTo>
                    <a:pt x="2" y="151"/>
                  </a:lnTo>
                  <a:lnTo>
                    <a:pt x="0" y="154"/>
                  </a:lnTo>
                  <a:lnTo>
                    <a:pt x="0" y="158"/>
                  </a:lnTo>
                  <a:lnTo>
                    <a:pt x="0" y="158"/>
                  </a:lnTo>
                  <a:lnTo>
                    <a:pt x="0" y="164"/>
                  </a:lnTo>
                  <a:lnTo>
                    <a:pt x="0" y="164"/>
                  </a:lnTo>
                  <a:lnTo>
                    <a:pt x="4" y="167"/>
                  </a:lnTo>
                  <a:lnTo>
                    <a:pt x="4" y="167"/>
                  </a:lnTo>
                  <a:lnTo>
                    <a:pt x="6" y="171"/>
                  </a:lnTo>
                  <a:lnTo>
                    <a:pt x="9" y="173"/>
                  </a:lnTo>
                  <a:lnTo>
                    <a:pt x="11" y="174"/>
                  </a:lnTo>
                  <a:lnTo>
                    <a:pt x="11" y="174"/>
                  </a:lnTo>
                  <a:lnTo>
                    <a:pt x="14" y="175"/>
                  </a:lnTo>
                  <a:lnTo>
                    <a:pt x="17" y="180"/>
                  </a:lnTo>
                  <a:lnTo>
                    <a:pt x="20" y="185"/>
                  </a:lnTo>
                  <a:lnTo>
                    <a:pt x="21" y="190"/>
                  </a:lnTo>
                  <a:lnTo>
                    <a:pt x="21" y="190"/>
                  </a:lnTo>
                  <a:lnTo>
                    <a:pt x="21" y="192"/>
                  </a:lnTo>
                  <a:lnTo>
                    <a:pt x="21" y="195"/>
                  </a:lnTo>
                  <a:lnTo>
                    <a:pt x="23" y="198"/>
                  </a:lnTo>
                  <a:lnTo>
                    <a:pt x="23" y="204"/>
                  </a:lnTo>
                  <a:lnTo>
                    <a:pt x="23" y="204"/>
                  </a:lnTo>
                  <a:lnTo>
                    <a:pt x="23" y="210"/>
                  </a:lnTo>
                  <a:lnTo>
                    <a:pt x="24" y="215"/>
                  </a:lnTo>
                  <a:lnTo>
                    <a:pt x="27" y="221"/>
                  </a:lnTo>
                  <a:lnTo>
                    <a:pt x="30" y="224"/>
                  </a:lnTo>
                  <a:lnTo>
                    <a:pt x="30" y="224"/>
                  </a:lnTo>
                  <a:lnTo>
                    <a:pt x="30" y="224"/>
                  </a:lnTo>
                  <a:lnTo>
                    <a:pt x="29" y="225"/>
                  </a:lnTo>
                  <a:lnTo>
                    <a:pt x="23" y="225"/>
                  </a:lnTo>
                  <a:lnTo>
                    <a:pt x="23" y="225"/>
                  </a:lnTo>
                  <a:lnTo>
                    <a:pt x="14" y="225"/>
                  </a:lnTo>
                  <a:lnTo>
                    <a:pt x="10" y="227"/>
                  </a:lnTo>
                  <a:lnTo>
                    <a:pt x="9" y="228"/>
                  </a:lnTo>
                  <a:lnTo>
                    <a:pt x="9" y="228"/>
                  </a:lnTo>
                  <a:lnTo>
                    <a:pt x="9" y="232"/>
                  </a:lnTo>
                  <a:lnTo>
                    <a:pt x="10" y="235"/>
                  </a:lnTo>
                  <a:lnTo>
                    <a:pt x="13" y="239"/>
                  </a:lnTo>
                  <a:lnTo>
                    <a:pt x="13" y="239"/>
                  </a:lnTo>
                  <a:lnTo>
                    <a:pt x="21" y="245"/>
                  </a:lnTo>
                  <a:lnTo>
                    <a:pt x="24" y="248"/>
                  </a:lnTo>
                  <a:lnTo>
                    <a:pt x="26" y="252"/>
                  </a:lnTo>
                  <a:lnTo>
                    <a:pt x="26" y="252"/>
                  </a:lnTo>
                  <a:lnTo>
                    <a:pt x="29" y="261"/>
                  </a:lnTo>
                  <a:lnTo>
                    <a:pt x="33" y="266"/>
                  </a:lnTo>
                  <a:lnTo>
                    <a:pt x="33" y="266"/>
                  </a:lnTo>
                  <a:lnTo>
                    <a:pt x="34" y="266"/>
                  </a:lnTo>
                  <a:lnTo>
                    <a:pt x="36" y="266"/>
                  </a:lnTo>
                  <a:lnTo>
                    <a:pt x="38" y="265"/>
                  </a:lnTo>
                  <a:lnTo>
                    <a:pt x="41" y="262"/>
                  </a:lnTo>
                  <a:lnTo>
                    <a:pt x="41" y="262"/>
                  </a:lnTo>
                  <a:lnTo>
                    <a:pt x="43" y="261"/>
                  </a:lnTo>
                  <a:lnTo>
                    <a:pt x="44" y="261"/>
                  </a:lnTo>
                  <a:lnTo>
                    <a:pt x="47" y="262"/>
                  </a:lnTo>
                  <a:lnTo>
                    <a:pt x="48" y="264"/>
                  </a:lnTo>
                  <a:lnTo>
                    <a:pt x="50" y="264"/>
                  </a:lnTo>
                  <a:lnTo>
                    <a:pt x="51" y="262"/>
                  </a:lnTo>
                  <a:lnTo>
                    <a:pt x="51" y="262"/>
                  </a:lnTo>
                  <a:lnTo>
                    <a:pt x="56" y="259"/>
                  </a:lnTo>
                  <a:lnTo>
                    <a:pt x="60" y="258"/>
                  </a:lnTo>
                  <a:lnTo>
                    <a:pt x="70" y="257"/>
                  </a:lnTo>
                  <a:lnTo>
                    <a:pt x="70" y="257"/>
                  </a:lnTo>
                  <a:lnTo>
                    <a:pt x="77" y="254"/>
                  </a:lnTo>
                  <a:lnTo>
                    <a:pt x="84" y="249"/>
                  </a:lnTo>
                  <a:lnTo>
                    <a:pt x="84" y="249"/>
                  </a:lnTo>
                  <a:lnTo>
                    <a:pt x="84" y="248"/>
                  </a:lnTo>
                  <a:lnTo>
                    <a:pt x="83" y="245"/>
                  </a:lnTo>
                  <a:lnTo>
                    <a:pt x="83" y="242"/>
                  </a:lnTo>
                  <a:lnTo>
                    <a:pt x="84" y="241"/>
                  </a:lnTo>
                  <a:lnTo>
                    <a:pt x="84" y="241"/>
                  </a:lnTo>
                  <a:lnTo>
                    <a:pt x="88" y="239"/>
                  </a:lnTo>
                  <a:lnTo>
                    <a:pt x="95" y="239"/>
                  </a:lnTo>
                  <a:lnTo>
                    <a:pt x="103" y="239"/>
                  </a:lnTo>
                  <a:lnTo>
                    <a:pt x="105" y="238"/>
                  </a:lnTo>
                  <a:lnTo>
                    <a:pt x="107" y="237"/>
                  </a:lnTo>
                  <a:lnTo>
                    <a:pt x="107" y="237"/>
                  </a:lnTo>
                  <a:lnTo>
                    <a:pt x="115" y="227"/>
                  </a:lnTo>
                  <a:lnTo>
                    <a:pt x="122" y="220"/>
                  </a:lnTo>
                  <a:lnTo>
                    <a:pt x="122" y="220"/>
                  </a:lnTo>
                  <a:lnTo>
                    <a:pt x="124" y="218"/>
                  </a:lnTo>
                  <a:lnTo>
                    <a:pt x="124" y="217"/>
                  </a:lnTo>
                  <a:lnTo>
                    <a:pt x="124" y="214"/>
                  </a:lnTo>
                  <a:lnTo>
                    <a:pt x="127" y="212"/>
                  </a:lnTo>
                  <a:lnTo>
                    <a:pt x="127" y="212"/>
                  </a:lnTo>
                  <a:lnTo>
                    <a:pt x="132" y="208"/>
                  </a:lnTo>
                  <a:lnTo>
                    <a:pt x="137" y="207"/>
                  </a:lnTo>
                  <a:lnTo>
                    <a:pt x="139" y="207"/>
                  </a:lnTo>
                  <a:lnTo>
                    <a:pt x="139" y="207"/>
                  </a:lnTo>
                  <a:lnTo>
                    <a:pt x="142" y="208"/>
                  </a:lnTo>
                  <a:lnTo>
                    <a:pt x="142" y="208"/>
                  </a:lnTo>
                  <a:lnTo>
                    <a:pt x="141" y="207"/>
                  </a:lnTo>
                  <a:lnTo>
                    <a:pt x="144" y="200"/>
                  </a:lnTo>
                  <a:lnTo>
                    <a:pt x="144" y="200"/>
                  </a:lnTo>
                  <a:lnTo>
                    <a:pt x="139" y="197"/>
                  </a:lnTo>
                  <a:lnTo>
                    <a:pt x="137" y="194"/>
                  </a:lnTo>
                  <a:lnTo>
                    <a:pt x="135" y="190"/>
                  </a:lnTo>
                  <a:lnTo>
                    <a:pt x="135" y="190"/>
                  </a:lnTo>
                  <a:lnTo>
                    <a:pt x="137" y="183"/>
                  </a:lnTo>
                  <a:lnTo>
                    <a:pt x="135" y="180"/>
                  </a:lnTo>
                  <a:lnTo>
                    <a:pt x="132" y="178"/>
                  </a:lnTo>
                  <a:lnTo>
                    <a:pt x="132" y="178"/>
                  </a:lnTo>
                  <a:lnTo>
                    <a:pt x="130" y="178"/>
                  </a:lnTo>
                  <a:lnTo>
                    <a:pt x="128" y="175"/>
                  </a:lnTo>
                  <a:lnTo>
                    <a:pt x="128" y="173"/>
                  </a:lnTo>
                  <a:lnTo>
                    <a:pt x="131" y="170"/>
                  </a:lnTo>
                  <a:lnTo>
                    <a:pt x="131" y="170"/>
                  </a:lnTo>
                  <a:lnTo>
                    <a:pt x="131" y="168"/>
                  </a:lnTo>
                  <a:lnTo>
                    <a:pt x="131" y="165"/>
                  </a:lnTo>
                  <a:lnTo>
                    <a:pt x="130" y="163"/>
                  </a:lnTo>
                  <a:lnTo>
                    <a:pt x="130" y="158"/>
                  </a:lnTo>
                  <a:lnTo>
                    <a:pt x="130" y="158"/>
                  </a:lnTo>
                  <a:lnTo>
                    <a:pt x="131" y="157"/>
                  </a:lnTo>
                  <a:lnTo>
                    <a:pt x="131" y="157"/>
                  </a:lnTo>
                  <a:lnTo>
                    <a:pt x="134" y="157"/>
                  </a:lnTo>
                  <a:lnTo>
                    <a:pt x="135" y="156"/>
                  </a:lnTo>
                  <a:lnTo>
                    <a:pt x="135" y="153"/>
                  </a:lnTo>
                  <a:lnTo>
                    <a:pt x="137" y="148"/>
                  </a:lnTo>
                  <a:lnTo>
                    <a:pt x="137" y="147"/>
                  </a:lnTo>
                  <a:lnTo>
                    <a:pt x="138" y="146"/>
                  </a:lnTo>
                  <a:lnTo>
                    <a:pt x="138" y="146"/>
                  </a:lnTo>
                  <a:lnTo>
                    <a:pt x="141" y="144"/>
                  </a:lnTo>
                  <a:lnTo>
                    <a:pt x="144" y="143"/>
                  </a:lnTo>
                  <a:lnTo>
                    <a:pt x="145" y="136"/>
                  </a:lnTo>
                  <a:lnTo>
                    <a:pt x="145" y="136"/>
                  </a:lnTo>
                  <a:lnTo>
                    <a:pt x="145" y="134"/>
                  </a:lnTo>
                  <a:lnTo>
                    <a:pt x="147" y="133"/>
                  </a:lnTo>
                  <a:lnTo>
                    <a:pt x="151" y="130"/>
                  </a:lnTo>
                  <a:lnTo>
                    <a:pt x="158" y="127"/>
                  </a:lnTo>
                  <a:lnTo>
                    <a:pt x="158" y="127"/>
                  </a:lnTo>
                  <a:lnTo>
                    <a:pt x="159" y="124"/>
                  </a:lnTo>
                  <a:lnTo>
                    <a:pt x="161" y="119"/>
                  </a:lnTo>
                  <a:lnTo>
                    <a:pt x="161" y="110"/>
                  </a:lnTo>
                  <a:lnTo>
                    <a:pt x="161" y="6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7" name="Freeform 223">
              <a:extLst>
                <a:ext uri="{FF2B5EF4-FFF2-40B4-BE49-F238E27FC236}">
                  <a16:creationId xmlns:a16="http://schemas.microsoft.com/office/drawing/2014/main" id="{A99CE967-4236-2641-9F14-17A3F7B7EF70}"/>
                </a:ext>
              </a:extLst>
            </p:cNvPr>
            <p:cNvSpPr>
              <a:spLocks/>
            </p:cNvSpPr>
            <p:nvPr/>
          </p:nvSpPr>
          <p:spPr bwMode="auto">
            <a:xfrm>
              <a:off x="4901993" y="3521015"/>
              <a:ext cx="251563" cy="257482"/>
            </a:xfrm>
            <a:custGeom>
              <a:avLst/>
              <a:gdLst/>
              <a:ahLst/>
              <a:cxnLst>
                <a:cxn ang="0">
                  <a:pos x="149" y="9"/>
                </a:cxn>
                <a:cxn ang="0">
                  <a:pos x="148" y="12"/>
                </a:cxn>
                <a:cxn ang="0">
                  <a:pos x="145" y="12"/>
                </a:cxn>
                <a:cxn ang="0">
                  <a:pos x="135" y="11"/>
                </a:cxn>
                <a:cxn ang="0">
                  <a:pos x="131" y="11"/>
                </a:cxn>
                <a:cxn ang="0">
                  <a:pos x="119" y="11"/>
                </a:cxn>
                <a:cxn ang="0">
                  <a:pos x="109" y="7"/>
                </a:cxn>
                <a:cxn ang="0">
                  <a:pos x="102" y="5"/>
                </a:cxn>
                <a:cxn ang="0">
                  <a:pos x="82" y="9"/>
                </a:cxn>
                <a:cxn ang="0">
                  <a:pos x="76" y="12"/>
                </a:cxn>
                <a:cxn ang="0">
                  <a:pos x="74" y="15"/>
                </a:cxn>
                <a:cxn ang="0">
                  <a:pos x="64" y="15"/>
                </a:cxn>
                <a:cxn ang="0">
                  <a:pos x="58" y="14"/>
                </a:cxn>
                <a:cxn ang="0">
                  <a:pos x="38" y="7"/>
                </a:cxn>
                <a:cxn ang="0">
                  <a:pos x="30" y="5"/>
                </a:cxn>
                <a:cxn ang="0">
                  <a:pos x="8" y="2"/>
                </a:cxn>
                <a:cxn ang="0">
                  <a:pos x="5" y="0"/>
                </a:cxn>
                <a:cxn ang="0">
                  <a:pos x="2" y="4"/>
                </a:cxn>
                <a:cxn ang="0">
                  <a:pos x="2" y="15"/>
                </a:cxn>
                <a:cxn ang="0">
                  <a:pos x="1" y="24"/>
                </a:cxn>
                <a:cxn ang="0">
                  <a:pos x="0" y="28"/>
                </a:cxn>
                <a:cxn ang="0">
                  <a:pos x="1" y="39"/>
                </a:cxn>
                <a:cxn ang="0">
                  <a:pos x="1" y="48"/>
                </a:cxn>
                <a:cxn ang="0">
                  <a:pos x="99" y="172"/>
                </a:cxn>
                <a:cxn ang="0">
                  <a:pos x="105" y="167"/>
                </a:cxn>
                <a:cxn ang="0">
                  <a:pos x="108" y="167"/>
                </a:cxn>
                <a:cxn ang="0">
                  <a:pos x="112" y="170"/>
                </a:cxn>
                <a:cxn ang="0">
                  <a:pos x="133" y="170"/>
                </a:cxn>
                <a:cxn ang="0">
                  <a:pos x="139" y="174"/>
                </a:cxn>
                <a:cxn ang="0">
                  <a:pos x="142" y="174"/>
                </a:cxn>
                <a:cxn ang="0">
                  <a:pos x="145" y="172"/>
                </a:cxn>
                <a:cxn ang="0">
                  <a:pos x="152" y="167"/>
                </a:cxn>
                <a:cxn ang="0">
                  <a:pos x="153" y="167"/>
                </a:cxn>
                <a:cxn ang="0">
                  <a:pos x="158" y="162"/>
                </a:cxn>
                <a:cxn ang="0">
                  <a:pos x="160" y="156"/>
                </a:cxn>
                <a:cxn ang="0">
                  <a:pos x="162" y="156"/>
                </a:cxn>
                <a:cxn ang="0">
                  <a:pos x="170" y="150"/>
                </a:cxn>
                <a:cxn ang="0">
                  <a:pos x="170" y="149"/>
                </a:cxn>
                <a:cxn ang="0">
                  <a:pos x="170" y="143"/>
                </a:cxn>
                <a:cxn ang="0">
                  <a:pos x="170" y="139"/>
                </a:cxn>
                <a:cxn ang="0">
                  <a:pos x="166" y="132"/>
                </a:cxn>
                <a:cxn ang="0">
                  <a:pos x="163" y="125"/>
                </a:cxn>
                <a:cxn ang="0">
                  <a:pos x="153" y="108"/>
                </a:cxn>
                <a:cxn ang="0">
                  <a:pos x="146" y="92"/>
                </a:cxn>
                <a:cxn ang="0">
                  <a:pos x="145" y="88"/>
                </a:cxn>
                <a:cxn ang="0">
                  <a:pos x="139" y="81"/>
                </a:cxn>
                <a:cxn ang="0">
                  <a:pos x="139" y="76"/>
                </a:cxn>
                <a:cxn ang="0">
                  <a:pos x="136" y="69"/>
                </a:cxn>
                <a:cxn ang="0">
                  <a:pos x="128" y="58"/>
                </a:cxn>
                <a:cxn ang="0">
                  <a:pos x="121" y="41"/>
                </a:cxn>
                <a:cxn ang="0">
                  <a:pos x="121" y="29"/>
                </a:cxn>
                <a:cxn ang="0">
                  <a:pos x="122" y="31"/>
                </a:cxn>
                <a:cxn ang="0">
                  <a:pos x="131" y="49"/>
                </a:cxn>
                <a:cxn ang="0">
                  <a:pos x="138" y="62"/>
                </a:cxn>
                <a:cxn ang="0">
                  <a:pos x="145" y="71"/>
                </a:cxn>
                <a:cxn ang="0">
                  <a:pos x="148" y="71"/>
                </a:cxn>
                <a:cxn ang="0">
                  <a:pos x="150" y="66"/>
                </a:cxn>
                <a:cxn ang="0">
                  <a:pos x="155" y="51"/>
                </a:cxn>
                <a:cxn ang="0">
                  <a:pos x="158" y="48"/>
                </a:cxn>
                <a:cxn ang="0">
                  <a:pos x="158" y="45"/>
                </a:cxn>
              </a:cxnLst>
              <a:rect l="0" t="0" r="r" b="b"/>
              <a:pathLst>
                <a:path w="170" h="174">
                  <a:moveTo>
                    <a:pt x="160" y="38"/>
                  </a:moveTo>
                  <a:lnTo>
                    <a:pt x="149" y="9"/>
                  </a:lnTo>
                  <a:lnTo>
                    <a:pt x="149" y="9"/>
                  </a:lnTo>
                  <a:lnTo>
                    <a:pt x="148" y="12"/>
                  </a:lnTo>
                  <a:lnTo>
                    <a:pt x="148" y="12"/>
                  </a:lnTo>
                  <a:lnTo>
                    <a:pt x="145" y="12"/>
                  </a:lnTo>
                  <a:lnTo>
                    <a:pt x="140" y="12"/>
                  </a:lnTo>
                  <a:lnTo>
                    <a:pt x="135" y="11"/>
                  </a:lnTo>
                  <a:lnTo>
                    <a:pt x="131" y="11"/>
                  </a:lnTo>
                  <a:lnTo>
                    <a:pt x="131" y="11"/>
                  </a:lnTo>
                  <a:lnTo>
                    <a:pt x="125" y="12"/>
                  </a:lnTo>
                  <a:lnTo>
                    <a:pt x="119" y="11"/>
                  </a:lnTo>
                  <a:lnTo>
                    <a:pt x="109" y="7"/>
                  </a:lnTo>
                  <a:lnTo>
                    <a:pt x="109" y="7"/>
                  </a:lnTo>
                  <a:lnTo>
                    <a:pt x="106" y="7"/>
                  </a:lnTo>
                  <a:lnTo>
                    <a:pt x="102" y="5"/>
                  </a:lnTo>
                  <a:lnTo>
                    <a:pt x="92" y="7"/>
                  </a:lnTo>
                  <a:lnTo>
                    <a:pt x="82" y="9"/>
                  </a:lnTo>
                  <a:lnTo>
                    <a:pt x="78" y="11"/>
                  </a:lnTo>
                  <a:lnTo>
                    <a:pt x="76" y="12"/>
                  </a:lnTo>
                  <a:lnTo>
                    <a:pt x="76" y="12"/>
                  </a:lnTo>
                  <a:lnTo>
                    <a:pt x="74" y="15"/>
                  </a:lnTo>
                  <a:lnTo>
                    <a:pt x="69" y="17"/>
                  </a:lnTo>
                  <a:lnTo>
                    <a:pt x="64" y="15"/>
                  </a:lnTo>
                  <a:lnTo>
                    <a:pt x="58" y="14"/>
                  </a:lnTo>
                  <a:lnTo>
                    <a:pt x="58" y="14"/>
                  </a:lnTo>
                  <a:lnTo>
                    <a:pt x="45" y="9"/>
                  </a:lnTo>
                  <a:lnTo>
                    <a:pt x="38" y="7"/>
                  </a:lnTo>
                  <a:lnTo>
                    <a:pt x="30" y="5"/>
                  </a:lnTo>
                  <a:lnTo>
                    <a:pt x="30" y="5"/>
                  </a:lnTo>
                  <a:lnTo>
                    <a:pt x="12" y="4"/>
                  </a:lnTo>
                  <a:lnTo>
                    <a:pt x="8" y="2"/>
                  </a:lnTo>
                  <a:lnTo>
                    <a:pt x="5" y="0"/>
                  </a:lnTo>
                  <a:lnTo>
                    <a:pt x="5" y="0"/>
                  </a:lnTo>
                  <a:lnTo>
                    <a:pt x="2" y="4"/>
                  </a:lnTo>
                  <a:lnTo>
                    <a:pt x="2" y="4"/>
                  </a:lnTo>
                  <a:lnTo>
                    <a:pt x="2" y="11"/>
                  </a:lnTo>
                  <a:lnTo>
                    <a:pt x="2" y="15"/>
                  </a:lnTo>
                  <a:lnTo>
                    <a:pt x="2" y="19"/>
                  </a:lnTo>
                  <a:lnTo>
                    <a:pt x="1" y="24"/>
                  </a:lnTo>
                  <a:lnTo>
                    <a:pt x="1" y="24"/>
                  </a:lnTo>
                  <a:lnTo>
                    <a:pt x="0" y="28"/>
                  </a:lnTo>
                  <a:lnTo>
                    <a:pt x="0" y="34"/>
                  </a:lnTo>
                  <a:lnTo>
                    <a:pt x="1" y="39"/>
                  </a:lnTo>
                  <a:lnTo>
                    <a:pt x="1" y="48"/>
                  </a:lnTo>
                  <a:lnTo>
                    <a:pt x="1" y="48"/>
                  </a:lnTo>
                  <a:lnTo>
                    <a:pt x="1" y="172"/>
                  </a:lnTo>
                  <a:lnTo>
                    <a:pt x="99" y="172"/>
                  </a:lnTo>
                  <a:lnTo>
                    <a:pt x="99" y="172"/>
                  </a:lnTo>
                  <a:lnTo>
                    <a:pt x="105" y="167"/>
                  </a:lnTo>
                  <a:lnTo>
                    <a:pt x="105" y="167"/>
                  </a:lnTo>
                  <a:lnTo>
                    <a:pt x="108" y="167"/>
                  </a:lnTo>
                  <a:lnTo>
                    <a:pt x="109" y="167"/>
                  </a:lnTo>
                  <a:lnTo>
                    <a:pt x="112" y="170"/>
                  </a:lnTo>
                  <a:lnTo>
                    <a:pt x="133" y="170"/>
                  </a:lnTo>
                  <a:lnTo>
                    <a:pt x="133" y="170"/>
                  </a:lnTo>
                  <a:lnTo>
                    <a:pt x="136" y="173"/>
                  </a:lnTo>
                  <a:lnTo>
                    <a:pt x="139" y="174"/>
                  </a:lnTo>
                  <a:lnTo>
                    <a:pt x="142" y="174"/>
                  </a:lnTo>
                  <a:lnTo>
                    <a:pt x="142" y="174"/>
                  </a:lnTo>
                  <a:lnTo>
                    <a:pt x="145" y="173"/>
                  </a:lnTo>
                  <a:lnTo>
                    <a:pt x="145" y="172"/>
                  </a:lnTo>
                  <a:lnTo>
                    <a:pt x="148" y="169"/>
                  </a:lnTo>
                  <a:lnTo>
                    <a:pt x="152" y="167"/>
                  </a:lnTo>
                  <a:lnTo>
                    <a:pt x="152" y="167"/>
                  </a:lnTo>
                  <a:lnTo>
                    <a:pt x="153" y="167"/>
                  </a:lnTo>
                  <a:lnTo>
                    <a:pt x="155" y="166"/>
                  </a:lnTo>
                  <a:lnTo>
                    <a:pt x="158" y="162"/>
                  </a:lnTo>
                  <a:lnTo>
                    <a:pt x="159" y="157"/>
                  </a:lnTo>
                  <a:lnTo>
                    <a:pt x="160" y="156"/>
                  </a:lnTo>
                  <a:lnTo>
                    <a:pt x="162" y="156"/>
                  </a:lnTo>
                  <a:lnTo>
                    <a:pt x="162" y="156"/>
                  </a:lnTo>
                  <a:lnTo>
                    <a:pt x="166" y="156"/>
                  </a:lnTo>
                  <a:lnTo>
                    <a:pt x="170" y="150"/>
                  </a:lnTo>
                  <a:lnTo>
                    <a:pt x="170" y="150"/>
                  </a:lnTo>
                  <a:lnTo>
                    <a:pt x="170" y="149"/>
                  </a:lnTo>
                  <a:lnTo>
                    <a:pt x="170" y="149"/>
                  </a:lnTo>
                  <a:lnTo>
                    <a:pt x="170" y="143"/>
                  </a:lnTo>
                  <a:lnTo>
                    <a:pt x="170" y="143"/>
                  </a:lnTo>
                  <a:lnTo>
                    <a:pt x="170" y="139"/>
                  </a:lnTo>
                  <a:lnTo>
                    <a:pt x="169" y="135"/>
                  </a:lnTo>
                  <a:lnTo>
                    <a:pt x="166" y="132"/>
                  </a:lnTo>
                  <a:lnTo>
                    <a:pt x="163" y="125"/>
                  </a:lnTo>
                  <a:lnTo>
                    <a:pt x="163" y="125"/>
                  </a:lnTo>
                  <a:lnTo>
                    <a:pt x="159" y="116"/>
                  </a:lnTo>
                  <a:lnTo>
                    <a:pt x="153" y="108"/>
                  </a:lnTo>
                  <a:lnTo>
                    <a:pt x="149" y="99"/>
                  </a:lnTo>
                  <a:lnTo>
                    <a:pt x="146" y="92"/>
                  </a:lnTo>
                  <a:lnTo>
                    <a:pt x="146" y="92"/>
                  </a:lnTo>
                  <a:lnTo>
                    <a:pt x="145" y="88"/>
                  </a:lnTo>
                  <a:lnTo>
                    <a:pt x="142" y="85"/>
                  </a:lnTo>
                  <a:lnTo>
                    <a:pt x="139" y="81"/>
                  </a:lnTo>
                  <a:lnTo>
                    <a:pt x="139" y="76"/>
                  </a:lnTo>
                  <a:lnTo>
                    <a:pt x="139" y="76"/>
                  </a:lnTo>
                  <a:lnTo>
                    <a:pt x="138" y="72"/>
                  </a:lnTo>
                  <a:lnTo>
                    <a:pt x="136" y="69"/>
                  </a:lnTo>
                  <a:lnTo>
                    <a:pt x="128" y="58"/>
                  </a:lnTo>
                  <a:lnTo>
                    <a:pt x="128" y="58"/>
                  </a:lnTo>
                  <a:lnTo>
                    <a:pt x="123" y="49"/>
                  </a:lnTo>
                  <a:lnTo>
                    <a:pt x="121" y="41"/>
                  </a:lnTo>
                  <a:lnTo>
                    <a:pt x="119" y="32"/>
                  </a:lnTo>
                  <a:lnTo>
                    <a:pt x="121" y="29"/>
                  </a:lnTo>
                  <a:lnTo>
                    <a:pt x="121" y="29"/>
                  </a:lnTo>
                  <a:lnTo>
                    <a:pt x="122" y="31"/>
                  </a:lnTo>
                  <a:lnTo>
                    <a:pt x="126" y="36"/>
                  </a:lnTo>
                  <a:lnTo>
                    <a:pt x="131" y="49"/>
                  </a:lnTo>
                  <a:lnTo>
                    <a:pt x="131" y="49"/>
                  </a:lnTo>
                  <a:lnTo>
                    <a:pt x="138" y="62"/>
                  </a:lnTo>
                  <a:lnTo>
                    <a:pt x="142" y="68"/>
                  </a:lnTo>
                  <a:lnTo>
                    <a:pt x="145" y="71"/>
                  </a:lnTo>
                  <a:lnTo>
                    <a:pt x="148" y="71"/>
                  </a:lnTo>
                  <a:lnTo>
                    <a:pt x="148" y="71"/>
                  </a:lnTo>
                  <a:lnTo>
                    <a:pt x="149" y="69"/>
                  </a:lnTo>
                  <a:lnTo>
                    <a:pt x="150" y="66"/>
                  </a:lnTo>
                  <a:lnTo>
                    <a:pt x="153" y="59"/>
                  </a:lnTo>
                  <a:lnTo>
                    <a:pt x="155" y="51"/>
                  </a:lnTo>
                  <a:lnTo>
                    <a:pt x="158" y="48"/>
                  </a:lnTo>
                  <a:lnTo>
                    <a:pt x="158" y="48"/>
                  </a:lnTo>
                  <a:lnTo>
                    <a:pt x="158" y="49"/>
                  </a:lnTo>
                  <a:lnTo>
                    <a:pt x="158" y="45"/>
                  </a:lnTo>
                  <a:lnTo>
                    <a:pt x="160" y="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8" name="Freeform 224">
              <a:extLst>
                <a:ext uri="{FF2B5EF4-FFF2-40B4-BE49-F238E27FC236}">
                  <a16:creationId xmlns:a16="http://schemas.microsoft.com/office/drawing/2014/main" id="{C8C43374-D049-844C-8184-9BF4A96262AE}"/>
                </a:ext>
              </a:extLst>
            </p:cNvPr>
            <p:cNvSpPr>
              <a:spLocks/>
            </p:cNvSpPr>
            <p:nvPr/>
          </p:nvSpPr>
          <p:spPr bwMode="auto">
            <a:xfrm>
              <a:off x="4535006" y="4254988"/>
              <a:ext cx="130221" cy="149459"/>
            </a:xfrm>
            <a:custGeom>
              <a:avLst/>
              <a:gdLst/>
              <a:ahLst/>
              <a:cxnLst>
                <a:cxn ang="0">
                  <a:pos x="44" y="97"/>
                </a:cxn>
                <a:cxn ang="0">
                  <a:pos x="48" y="92"/>
                </a:cxn>
                <a:cxn ang="0">
                  <a:pos x="46" y="84"/>
                </a:cxn>
                <a:cxn ang="0">
                  <a:pos x="46" y="80"/>
                </a:cxn>
                <a:cxn ang="0">
                  <a:pos x="51" y="77"/>
                </a:cxn>
                <a:cxn ang="0">
                  <a:pos x="56" y="77"/>
                </a:cxn>
                <a:cxn ang="0">
                  <a:pos x="58" y="75"/>
                </a:cxn>
                <a:cxn ang="0">
                  <a:pos x="60" y="70"/>
                </a:cxn>
                <a:cxn ang="0">
                  <a:pos x="63" y="68"/>
                </a:cxn>
                <a:cxn ang="0">
                  <a:pos x="67" y="73"/>
                </a:cxn>
                <a:cxn ang="0">
                  <a:pos x="70" y="77"/>
                </a:cxn>
                <a:cxn ang="0">
                  <a:pos x="71" y="78"/>
                </a:cxn>
                <a:cxn ang="0">
                  <a:pos x="77" y="78"/>
                </a:cxn>
                <a:cxn ang="0">
                  <a:pos x="84" y="80"/>
                </a:cxn>
                <a:cxn ang="0">
                  <a:pos x="85" y="78"/>
                </a:cxn>
                <a:cxn ang="0">
                  <a:pos x="88" y="73"/>
                </a:cxn>
                <a:cxn ang="0">
                  <a:pos x="88" y="61"/>
                </a:cxn>
                <a:cxn ang="0">
                  <a:pos x="87" y="47"/>
                </a:cxn>
                <a:cxn ang="0">
                  <a:pos x="84" y="44"/>
                </a:cxn>
                <a:cxn ang="0">
                  <a:pos x="78" y="37"/>
                </a:cxn>
                <a:cxn ang="0">
                  <a:pos x="81" y="31"/>
                </a:cxn>
                <a:cxn ang="0">
                  <a:pos x="85" y="28"/>
                </a:cxn>
                <a:cxn ang="0">
                  <a:pos x="85" y="21"/>
                </a:cxn>
                <a:cxn ang="0">
                  <a:pos x="84" y="18"/>
                </a:cxn>
                <a:cxn ang="0">
                  <a:pos x="78" y="17"/>
                </a:cxn>
                <a:cxn ang="0">
                  <a:pos x="70" y="18"/>
                </a:cxn>
                <a:cxn ang="0">
                  <a:pos x="67" y="18"/>
                </a:cxn>
                <a:cxn ang="0">
                  <a:pos x="70" y="1"/>
                </a:cxn>
                <a:cxn ang="0">
                  <a:pos x="46" y="0"/>
                </a:cxn>
                <a:cxn ang="0">
                  <a:pos x="43" y="1"/>
                </a:cxn>
                <a:cxn ang="0">
                  <a:pos x="41" y="21"/>
                </a:cxn>
                <a:cxn ang="0">
                  <a:pos x="20" y="23"/>
                </a:cxn>
                <a:cxn ang="0">
                  <a:pos x="13" y="24"/>
                </a:cxn>
                <a:cxn ang="0">
                  <a:pos x="10" y="27"/>
                </a:cxn>
                <a:cxn ang="0">
                  <a:pos x="10" y="28"/>
                </a:cxn>
                <a:cxn ang="0">
                  <a:pos x="14" y="33"/>
                </a:cxn>
                <a:cxn ang="0">
                  <a:pos x="16" y="36"/>
                </a:cxn>
                <a:cxn ang="0">
                  <a:pos x="16" y="37"/>
                </a:cxn>
                <a:cxn ang="0">
                  <a:pos x="9" y="40"/>
                </a:cxn>
                <a:cxn ang="0">
                  <a:pos x="7" y="43"/>
                </a:cxn>
                <a:cxn ang="0">
                  <a:pos x="7" y="46"/>
                </a:cxn>
                <a:cxn ang="0">
                  <a:pos x="2" y="53"/>
                </a:cxn>
                <a:cxn ang="0">
                  <a:pos x="0" y="54"/>
                </a:cxn>
                <a:cxn ang="0">
                  <a:pos x="3" y="60"/>
                </a:cxn>
                <a:cxn ang="0">
                  <a:pos x="9" y="67"/>
                </a:cxn>
                <a:cxn ang="0">
                  <a:pos x="9" y="68"/>
                </a:cxn>
                <a:cxn ang="0">
                  <a:pos x="20" y="81"/>
                </a:cxn>
                <a:cxn ang="0">
                  <a:pos x="24" y="87"/>
                </a:cxn>
                <a:cxn ang="0">
                  <a:pos x="30" y="95"/>
                </a:cxn>
                <a:cxn ang="0">
                  <a:pos x="36" y="101"/>
                </a:cxn>
                <a:cxn ang="0">
                  <a:pos x="44" y="97"/>
                </a:cxn>
              </a:cxnLst>
              <a:rect l="0" t="0" r="r" b="b"/>
              <a:pathLst>
                <a:path w="88" h="101">
                  <a:moveTo>
                    <a:pt x="44" y="97"/>
                  </a:moveTo>
                  <a:lnTo>
                    <a:pt x="44" y="97"/>
                  </a:lnTo>
                  <a:lnTo>
                    <a:pt x="48" y="95"/>
                  </a:lnTo>
                  <a:lnTo>
                    <a:pt x="48" y="92"/>
                  </a:lnTo>
                  <a:lnTo>
                    <a:pt x="48" y="88"/>
                  </a:lnTo>
                  <a:lnTo>
                    <a:pt x="46" y="84"/>
                  </a:lnTo>
                  <a:lnTo>
                    <a:pt x="46" y="84"/>
                  </a:lnTo>
                  <a:lnTo>
                    <a:pt x="46" y="80"/>
                  </a:lnTo>
                  <a:lnTo>
                    <a:pt x="47" y="77"/>
                  </a:lnTo>
                  <a:lnTo>
                    <a:pt x="51" y="77"/>
                  </a:lnTo>
                  <a:lnTo>
                    <a:pt x="56" y="77"/>
                  </a:lnTo>
                  <a:lnTo>
                    <a:pt x="56" y="77"/>
                  </a:lnTo>
                  <a:lnTo>
                    <a:pt x="57" y="77"/>
                  </a:lnTo>
                  <a:lnTo>
                    <a:pt x="58" y="75"/>
                  </a:lnTo>
                  <a:lnTo>
                    <a:pt x="60" y="73"/>
                  </a:lnTo>
                  <a:lnTo>
                    <a:pt x="60" y="70"/>
                  </a:lnTo>
                  <a:lnTo>
                    <a:pt x="63" y="68"/>
                  </a:lnTo>
                  <a:lnTo>
                    <a:pt x="63" y="68"/>
                  </a:lnTo>
                  <a:lnTo>
                    <a:pt x="66" y="70"/>
                  </a:lnTo>
                  <a:lnTo>
                    <a:pt x="67" y="73"/>
                  </a:lnTo>
                  <a:lnTo>
                    <a:pt x="68" y="77"/>
                  </a:lnTo>
                  <a:lnTo>
                    <a:pt x="70" y="77"/>
                  </a:lnTo>
                  <a:lnTo>
                    <a:pt x="71" y="78"/>
                  </a:lnTo>
                  <a:lnTo>
                    <a:pt x="71" y="78"/>
                  </a:lnTo>
                  <a:lnTo>
                    <a:pt x="74" y="78"/>
                  </a:lnTo>
                  <a:lnTo>
                    <a:pt x="77" y="78"/>
                  </a:lnTo>
                  <a:lnTo>
                    <a:pt x="80" y="80"/>
                  </a:lnTo>
                  <a:lnTo>
                    <a:pt x="84" y="80"/>
                  </a:lnTo>
                  <a:lnTo>
                    <a:pt x="84" y="80"/>
                  </a:lnTo>
                  <a:lnTo>
                    <a:pt x="85" y="78"/>
                  </a:lnTo>
                  <a:lnTo>
                    <a:pt x="87" y="77"/>
                  </a:lnTo>
                  <a:lnTo>
                    <a:pt x="88" y="73"/>
                  </a:lnTo>
                  <a:lnTo>
                    <a:pt x="88" y="61"/>
                  </a:lnTo>
                  <a:lnTo>
                    <a:pt x="88" y="61"/>
                  </a:lnTo>
                  <a:lnTo>
                    <a:pt x="88" y="50"/>
                  </a:lnTo>
                  <a:lnTo>
                    <a:pt x="87" y="47"/>
                  </a:lnTo>
                  <a:lnTo>
                    <a:pt x="84" y="44"/>
                  </a:lnTo>
                  <a:lnTo>
                    <a:pt x="84" y="44"/>
                  </a:lnTo>
                  <a:lnTo>
                    <a:pt x="81" y="41"/>
                  </a:lnTo>
                  <a:lnTo>
                    <a:pt x="78" y="37"/>
                  </a:lnTo>
                  <a:lnTo>
                    <a:pt x="78" y="34"/>
                  </a:lnTo>
                  <a:lnTo>
                    <a:pt x="81" y="31"/>
                  </a:lnTo>
                  <a:lnTo>
                    <a:pt x="81" y="31"/>
                  </a:lnTo>
                  <a:lnTo>
                    <a:pt x="85" y="28"/>
                  </a:lnTo>
                  <a:lnTo>
                    <a:pt x="87" y="24"/>
                  </a:lnTo>
                  <a:lnTo>
                    <a:pt x="85" y="21"/>
                  </a:lnTo>
                  <a:lnTo>
                    <a:pt x="84" y="18"/>
                  </a:lnTo>
                  <a:lnTo>
                    <a:pt x="84" y="18"/>
                  </a:lnTo>
                  <a:lnTo>
                    <a:pt x="81" y="17"/>
                  </a:lnTo>
                  <a:lnTo>
                    <a:pt x="78" y="17"/>
                  </a:lnTo>
                  <a:lnTo>
                    <a:pt x="74" y="18"/>
                  </a:lnTo>
                  <a:lnTo>
                    <a:pt x="70" y="18"/>
                  </a:lnTo>
                  <a:lnTo>
                    <a:pt x="68" y="18"/>
                  </a:lnTo>
                  <a:lnTo>
                    <a:pt x="67" y="18"/>
                  </a:lnTo>
                  <a:lnTo>
                    <a:pt x="67" y="18"/>
                  </a:lnTo>
                  <a:lnTo>
                    <a:pt x="70" y="1"/>
                  </a:lnTo>
                  <a:lnTo>
                    <a:pt x="70" y="1"/>
                  </a:lnTo>
                  <a:lnTo>
                    <a:pt x="46" y="0"/>
                  </a:lnTo>
                  <a:lnTo>
                    <a:pt x="43" y="1"/>
                  </a:lnTo>
                  <a:lnTo>
                    <a:pt x="43" y="1"/>
                  </a:lnTo>
                  <a:lnTo>
                    <a:pt x="43" y="16"/>
                  </a:lnTo>
                  <a:lnTo>
                    <a:pt x="41" y="21"/>
                  </a:lnTo>
                  <a:lnTo>
                    <a:pt x="41" y="21"/>
                  </a:lnTo>
                  <a:lnTo>
                    <a:pt x="20" y="23"/>
                  </a:lnTo>
                  <a:lnTo>
                    <a:pt x="20" y="23"/>
                  </a:lnTo>
                  <a:lnTo>
                    <a:pt x="13" y="24"/>
                  </a:lnTo>
                  <a:lnTo>
                    <a:pt x="13" y="24"/>
                  </a:lnTo>
                  <a:lnTo>
                    <a:pt x="10" y="27"/>
                  </a:lnTo>
                  <a:lnTo>
                    <a:pt x="10" y="27"/>
                  </a:lnTo>
                  <a:lnTo>
                    <a:pt x="10" y="28"/>
                  </a:lnTo>
                  <a:lnTo>
                    <a:pt x="11" y="31"/>
                  </a:lnTo>
                  <a:lnTo>
                    <a:pt x="14" y="33"/>
                  </a:lnTo>
                  <a:lnTo>
                    <a:pt x="16" y="36"/>
                  </a:lnTo>
                  <a:lnTo>
                    <a:pt x="16" y="36"/>
                  </a:lnTo>
                  <a:lnTo>
                    <a:pt x="16" y="37"/>
                  </a:lnTo>
                  <a:lnTo>
                    <a:pt x="16" y="37"/>
                  </a:lnTo>
                  <a:lnTo>
                    <a:pt x="11" y="38"/>
                  </a:lnTo>
                  <a:lnTo>
                    <a:pt x="9" y="40"/>
                  </a:lnTo>
                  <a:lnTo>
                    <a:pt x="7" y="41"/>
                  </a:lnTo>
                  <a:lnTo>
                    <a:pt x="7" y="43"/>
                  </a:lnTo>
                  <a:lnTo>
                    <a:pt x="7" y="43"/>
                  </a:lnTo>
                  <a:lnTo>
                    <a:pt x="7" y="46"/>
                  </a:lnTo>
                  <a:lnTo>
                    <a:pt x="6" y="48"/>
                  </a:lnTo>
                  <a:lnTo>
                    <a:pt x="2" y="53"/>
                  </a:lnTo>
                  <a:lnTo>
                    <a:pt x="2" y="53"/>
                  </a:lnTo>
                  <a:lnTo>
                    <a:pt x="0" y="54"/>
                  </a:lnTo>
                  <a:lnTo>
                    <a:pt x="2" y="55"/>
                  </a:lnTo>
                  <a:lnTo>
                    <a:pt x="3" y="60"/>
                  </a:lnTo>
                  <a:lnTo>
                    <a:pt x="7" y="63"/>
                  </a:lnTo>
                  <a:lnTo>
                    <a:pt x="9" y="67"/>
                  </a:lnTo>
                  <a:lnTo>
                    <a:pt x="9" y="67"/>
                  </a:lnTo>
                  <a:lnTo>
                    <a:pt x="9" y="68"/>
                  </a:lnTo>
                  <a:lnTo>
                    <a:pt x="11" y="71"/>
                  </a:lnTo>
                  <a:lnTo>
                    <a:pt x="20" y="81"/>
                  </a:lnTo>
                  <a:lnTo>
                    <a:pt x="20" y="81"/>
                  </a:lnTo>
                  <a:lnTo>
                    <a:pt x="24" y="87"/>
                  </a:lnTo>
                  <a:lnTo>
                    <a:pt x="27" y="91"/>
                  </a:lnTo>
                  <a:lnTo>
                    <a:pt x="30" y="95"/>
                  </a:lnTo>
                  <a:lnTo>
                    <a:pt x="36" y="101"/>
                  </a:lnTo>
                  <a:lnTo>
                    <a:pt x="36" y="101"/>
                  </a:lnTo>
                  <a:lnTo>
                    <a:pt x="39" y="98"/>
                  </a:lnTo>
                  <a:lnTo>
                    <a:pt x="44" y="97"/>
                  </a:lnTo>
                  <a:lnTo>
                    <a:pt x="44" y="9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39" name="Freeform 225">
              <a:extLst>
                <a:ext uri="{FF2B5EF4-FFF2-40B4-BE49-F238E27FC236}">
                  <a16:creationId xmlns:a16="http://schemas.microsoft.com/office/drawing/2014/main" id="{B7751957-03F2-AF4E-8350-23594378081B}"/>
                </a:ext>
              </a:extLst>
            </p:cNvPr>
            <p:cNvSpPr>
              <a:spLocks/>
            </p:cNvSpPr>
            <p:nvPr/>
          </p:nvSpPr>
          <p:spPr bwMode="auto">
            <a:xfrm>
              <a:off x="4548324" y="4256467"/>
              <a:ext cx="50312" cy="34036"/>
            </a:xfrm>
            <a:custGeom>
              <a:avLst/>
              <a:gdLst/>
              <a:ahLst/>
              <a:cxnLst>
                <a:cxn ang="0">
                  <a:pos x="32" y="20"/>
                </a:cxn>
                <a:cxn ang="0">
                  <a:pos x="32" y="20"/>
                </a:cxn>
                <a:cxn ang="0">
                  <a:pos x="34" y="15"/>
                </a:cxn>
                <a:cxn ang="0">
                  <a:pos x="34" y="0"/>
                </a:cxn>
                <a:cxn ang="0">
                  <a:pos x="30" y="2"/>
                </a:cxn>
                <a:cxn ang="0">
                  <a:pos x="7" y="2"/>
                </a:cxn>
                <a:cxn ang="0">
                  <a:pos x="7" y="2"/>
                </a:cxn>
                <a:cxn ang="0">
                  <a:pos x="8" y="2"/>
                </a:cxn>
                <a:cxn ang="0">
                  <a:pos x="8" y="2"/>
                </a:cxn>
                <a:cxn ang="0">
                  <a:pos x="8" y="5"/>
                </a:cxn>
                <a:cxn ang="0">
                  <a:pos x="8" y="8"/>
                </a:cxn>
                <a:cxn ang="0">
                  <a:pos x="7" y="10"/>
                </a:cxn>
                <a:cxn ang="0">
                  <a:pos x="4" y="12"/>
                </a:cxn>
                <a:cxn ang="0">
                  <a:pos x="4" y="12"/>
                </a:cxn>
                <a:cxn ang="0">
                  <a:pos x="1" y="15"/>
                </a:cxn>
                <a:cxn ang="0">
                  <a:pos x="0" y="16"/>
                </a:cxn>
                <a:cxn ang="0">
                  <a:pos x="1" y="17"/>
                </a:cxn>
                <a:cxn ang="0">
                  <a:pos x="2" y="19"/>
                </a:cxn>
                <a:cxn ang="0">
                  <a:pos x="2" y="19"/>
                </a:cxn>
                <a:cxn ang="0">
                  <a:pos x="4" y="19"/>
                </a:cxn>
                <a:cxn ang="0">
                  <a:pos x="5" y="20"/>
                </a:cxn>
                <a:cxn ang="0">
                  <a:pos x="4" y="23"/>
                </a:cxn>
                <a:cxn ang="0">
                  <a:pos x="4" y="23"/>
                </a:cxn>
                <a:cxn ang="0">
                  <a:pos x="11" y="22"/>
                </a:cxn>
                <a:cxn ang="0">
                  <a:pos x="11" y="22"/>
                </a:cxn>
                <a:cxn ang="0">
                  <a:pos x="32" y="20"/>
                </a:cxn>
                <a:cxn ang="0">
                  <a:pos x="32" y="20"/>
                </a:cxn>
              </a:cxnLst>
              <a:rect l="0" t="0" r="r" b="b"/>
              <a:pathLst>
                <a:path w="34" h="23">
                  <a:moveTo>
                    <a:pt x="32" y="20"/>
                  </a:moveTo>
                  <a:lnTo>
                    <a:pt x="32" y="20"/>
                  </a:lnTo>
                  <a:lnTo>
                    <a:pt x="34" y="15"/>
                  </a:lnTo>
                  <a:lnTo>
                    <a:pt x="34" y="0"/>
                  </a:lnTo>
                  <a:lnTo>
                    <a:pt x="30" y="2"/>
                  </a:lnTo>
                  <a:lnTo>
                    <a:pt x="7" y="2"/>
                  </a:lnTo>
                  <a:lnTo>
                    <a:pt x="7" y="2"/>
                  </a:lnTo>
                  <a:lnTo>
                    <a:pt x="8" y="2"/>
                  </a:lnTo>
                  <a:lnTo>
                    <a:pt x="8" y="2"/>
                  </a:lnTo>
                  <a:lnTo>
                    <a:pt x="8" y="5"/>
                  </a:lnTo>
                  <a:lnTo>
                    <a:pt x="8" y="8"/>
                  </a:lnTo>
                  <a:lnTo>
                    <a:pt x="7" y="10"/>
                  </a:lnTo>
                  <a:lnTo>
                    <a:pt x="4" y="12"/>
                  </a:lnTo>
                  <a:lnTo>
                    <a:pt x="4" y="12"/>
                  </a:lnTo>
                  <a:lnTo>
                    <a:pt x="1" y="15"/>
                  </a:lnTo>
                  <a:lnTo>
                    <a:pt x="0" y="16"/>
                  </a:lnTo>
                  <a:lnTo>
                    <a:pt x="1" y="17"/>
                  </a:lnTo>
                  <a:lnTo>
                    <a:pt x="2" y="19"/>
                  </a:lnTo>
                  <a:lnTo>
                    <a:pt x="2" y="19"/>
                  </a:lnTo>
                  <a:lnTo>
                    <a:pt x="4" y="19"/>
                  </a:lnTo>
                  <a:lnTo>
                    <a:pt x="5" y="20"/>
                  </a:lnTo>
                  <a:lnTo>
                    <a:pt x="4" y="23"/>
                  </a:lnTo>
                  <a:lnTo>
                    <a:pt x="4" y="23"/>
                  </a:lnTo>
                  <a:lnTo>
                    <a:pt x="11" y="22"/>
                  </a:lnTo>
                  <a:lnTo>
                    <a:pt x="11" y="22"/>
                  </a:lnTo>
                  <a:lnTo>
                    <a:pt x="32" y="20"/>
                  </a:lnTo>
                  <a:lnTo>
                    <a:pt x="32" y="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0" name="Freeform 226">
              <a:extLst>
                <a:ext uri="{FF2B5EF4-FFF2-40B4-BE49-F238E27FC236}">
                  <a16:creationId xmlns:a16="http://schemas.microsoft.com/office/drawing/2014/main" id="{26E37E20-A186-E64E-85CC-BBCC70C49F02}"/>
                </a:ext>
              </a:extLst>
            </p:cNvPr>
            <p:cNvSpPr>
              <a:spLocks/>
            </p:cNvSpPr>
            <p:nvPr/>
          </p:nvSpPr>
          <p:spPr bwMode="auto">
            <a:xfrm>
              <a:off x="4588278" y="4220952"/>
              <a:ext cx="165735" cy="210129"/>
            </a:xfrm>
            <a:custGeom>
              <a:avLst/>
              <a:gdLst/>
              <a:ahLst/>
              <a:cxnLst>
                <a:cxn ang="0">
                  <a:pos x="35" y="137"/>
                </a:cxn>
                <a:cxn ang="0">
                  <a:pos x="41" y="135"/>
                </a:cxn>
                <a:cxn ang="0">
                  <a:pos x="54" y="134"/>
                </a:cxn>
                <a:cxn ang="0">
                  <a:pos x="55" y="138"/>
                </a:cxn>
                <a:cxn ang="0">
                  <a:pos x="61" y="135"/>
                </a:cxn>
                <a:cxn ang="0">
                  <a:pos x="71" y="131"/>
                </a:cxn>
                <a:cxn ang="0">
                  <a:pos x="72" y="121"/>
                </a:cxn>
                <a:cxn ang="0">
                  <a:pos x="76" y="114"/>
                </a:cxn>
                <a:cxn ang="0">
                  <a:pos x="78" y="87"/>
                </a:cxn>
                <a:cxn ang="0">
                  <a:pos x="85" y="80"/>
                </a:cxn>
                <a:cxn ang="0">
                  <a:pos x="92" y="70"/>
                </a:cxn>
                <a:cxn ang="0">
                  <a:pos x="98" y="54"/>
                </a:cxn>
                <a:cxn ang="0">
                  <a:pos x="104" y="36"/>
                </a:cxn>
                <a:cxn ang="0">
                  <a:pos x="109" y="19"/>
                </a:cxn>
                <a:cxn ang="0">
                  <a:pos x="112" y="7"/>
                </a:cxn>
                <a:cxn ang="0">
                  <a:pos x="98" y="0"/>
                </a:cxn>
                <a:cxn ang="0">
                  <a:pos x="82" y="4"/>
                </a:cxn>
                <a:cxn ang="0">
                  <a:pos x="79" y="16"/>
                </a:cxn>
                <a:cxn ang="0">
                  <a:pos x="75" y="26"/>
                </a:cxn>
                <a:cxn ang="0">
                  <a:pos x="65" y="29"/>
                </a:cxn>
                <a:cxn ang="0">
                  <a:pos x="52" y="24"/>
                </a:cxn>
                <a:cxn ang="0">
                  <a:pos x="31" y="41"/>
                </a:cxn>
                <a:cxn ang="0">
                  <a:pos x="34" y="41"/>
                </a:cxn>
                <a:cxn ang="0">
                  <a:pos x="45" y="40"/>
                </a:cxn>
                <a:cxn ang="0">
                  <a:pos x="49" y="44"/>
                </a:cxn>
                <a:cxn ang="0">
                  <a:pos x="45" y="54"/>
                </a:cxn>
                <a:cxn ang="0">
                  <a:pos x="42" y="60"/>
                </a:cxn>
                <a:cxn ang="0">
                  <a:pos x="48" y="67"/>
                </a:cxn>
                <a:cxn ang="0">
                  <a:pos x="52" y="84"/>
                </a:cxn>
                <a:cxn ang="0">
                  <a:pos x="51" y="100"/>
                </a:cxn>
                <a:cxn ang="0">
                  <a:pos x="48" y="103"/>
                </a:cxn>
                <a:cxn ang="0">
                  <a:pos x="38" y="101"/>
                </a:cxn>
                <a:cxn ang="0">
                  <a:pos x="34" y="100"/>
                </a:cxn>
                <a:cxn ang="0">
                  <a:pos x="30" y="93"/>
                </a:cxn>
                <a:cxn ang="0">
                  <a:pos x="24" y="93"/>
                </a:cxn>
                <a:cxn ang="0">
                  <a:pos x="21" y="100"/>
                </a:cxn>
                <a:cxn ang="0">
                  <a:pos x="15" y="100"/>
                </a:cxn>
                <a:cxn ang="0">
                  <a:pos x="10" y="107"/>
                </a:cxn>
                <a:cxn ang="0">
                  <a:pos x="12" y="115"/>
                </a:cxn>
                <a:cxn ang="0">
                  <a:pos x="8" y="120"/>
                </a:cxn>
                <a:cxn ang="0">
                  <a:pos x="0" y="124"/>
                </a:cxn>
                <a:cxn ang="0">
                  <a:pos x="10" y="134"/>
                </a:cxn>
                <a:cxn ang="0">
                  <a:pos x="25" y="137"/>
                </a:cxn>
              </a:cxnLst>
              <a:rect l="0" t="0" r="r" b="b"/>
              <a:pathLst>
                <a:path w="112" h="142">
                  <a:moveTo>
                    <a:pt x="31" y="134"/>
                  </a:moveTo>
                  <a:lnTo>
                    <a:pt x="31" y="134"/>
                  </a:lnTo>
                  <a:lnTo>
                    <a:pt x="35" y="137"/>
                  </a:lnTo>
                  <a:lnTo>
                    <a:pt x="38" y="137"/>
                  </a:lnTo>
                  <a:lnTo>
                    <a:pt x="41" y="135"/>
                  </a:lnTo>
                  <a:lnTo>
                    <a:pt x="41" y="135"/>
                  </a:lnTo>
                  <a:lnTo>
                    <a:pt x="47" y="133"/>
                  </a:lnTo>
                  <a:lnTo>
                    <a:pt x="51" y="133"/>
                  </a:lnTo>
                  <a:lnTo>
                    <a:pt x="54" y="134"/>
                  </a:lnTo>
                  <a:lnTo>
                    <a:pt x="54" y="137"/>
                  </a:lnTo>
                  <a:lnTo>
                    <a:pt x="54" y="137"/>
                  </a:lnTo>
                  <a:lnTo>
                    <a:pt x="55" y="138"/>
                  </a:lnTo>
                  <a:lnTo>
                    <a:pt x="57" y="140"/>
                  </a:lnTo>
                  <a:lnTo>
                    <a:pt x="61" y="135"/>
                  </a:lnTo>
                  <a:lnTo>
                    <a:pt x="61" y="135"/>
                  </a:lnTo>
                  <a:lnTo>
                    <a:pt x="65" y="133"/>
                  </a:lnTo>
                  <a:lnTo>
                    <a:pt x="68" y="133"/>
                  </a:lnTo>
                  <a:lnTo>
                    <a:pt x="71" y="131"/>
                  </a:lnTo>
                  <a:lnTo>
                    <a:pt x="71" y="127"/>
                  </a:lnTo>
                  <a:lnTo>
                    <a:pt x="71" y="127"/>
                  </a:lnTo>
                  <a:lnTo>
                    <a:pt x="72" y="121"/>
                  </a:lnTo>
                  <a:lnTo>
                    <a:pt x="74" y="121"/>
                  </a:lnTo>
                  <a:lnTo>
                    <a:pt x="76" y="120"/>
                  </a:lnTo>
                  <a:lnTo>
                    <a:pt x="76" y="114"/>
                  </a:lnTo>
                  <a:lnTo>
                    <a:pt x="76" y="114"/>
                  </a:lnTo>
                  <a:lnTo>
                    <a:pt x="78" y="87"/>
                  </a:lnTo>
                  <a:lnTo>
                    <a:pt x="78" y="87"/>
                  </a:lnTo>
                  <a:lnTo>
                    <a:pt x="79" y="86"/>
                  </a:lnTo>
                  <a:lnTo>
                    <a:pt x="81" y="84"/>
                  </a:lnTo>
                  <a:lnTo>
                    <a:pt x="85" y="80"/>
                  </a:lnTo>
                  <a:lnTo>
                    <a:pt x="89" y="76"/>
                  </a:lnTo>
                  <a:lnTo>
                    <a:pt x="92" y="73"/>
                  </a:lnTo>
                  <a:lnTo>
                    <a:pt x="92" y="70"/>
                  </a:lnTo>
                  <a:lnTo>
                    <a:pt x="92" y="70"/>
                  </a:lnTo>
                  <a:lnTo>
                    <a:pt x="94" y="63"/>
                  </a:lnTo>
                  <a:lnTo>
                    <a:pt x="98" y="54"/>
                  </a:lnTo>
                  <a:lnTo>
                    <a:pt x="102" y="44"/>
                  </a:lnTo>
                  <a:lnTo>
                    <a:pt x="104" y="36"/>
                  </a:lnTo>
                  <a:lnTo>
                    <a:pt x="104" y="36"/>
                  </a:lnTo>
                  <a:lnTo>
                    <a:pt x="105" y="30"/>
                  </a:lnTo>
                  <a:lnTo>
                    <a:pt x="106" y="26"/>
                  </a:lnTo>
                  <a:lnTo>
                    <a:pt x="109" y="19"/>
                  </a:lnTo>
                  <a:lnTo>
                    <a:pt x="109" y="19"/>
                  </a:lnTo>
                  <a:lnTo>
                    <a:pt x="112" y="12"/>
                  </a:lnTo>
                  <a:lnTo>
                    <a:pt x="112" y="7"/>
                  </a:lnTo>
                  <a:lnTo>
                    <a:pt x="112" y="3"/>
                  </a:lnTo>
                  <a:lnTo>
                    <a:pt x="112" y="3"/>
                  </a:lnTo>
                  <a:lnTo>
                    <a:pt x="98" y="0"/>
                  </a:lnTo>
                  <a:lnTo>
                    <a:pt x="92" y="3"/>
                  </a:lnTo>
                  <a:lnTo>
                    <a:pt x="82" y="4"/>
                  </a:lnTo>
                  <a:lnTo>
                    <a:pt x="82" y="4"/>
                  </a:lnTo>
                  <a:lnTo>
                    <a:pt x="82" y="9"/>
                  </a:lnTo>
                  <a:lnTo>
                    <a:pt x="82" y="13"/>
                  </a:lnTo>
                  <a:lnTo>
                    <a:pt x="79" y="16"/>
                  </a:lnTo>
                  <a:lnTo>
                    <a:pt x="79" y="16"/>
                  </a:lnTo>
                  <a:lnTo>
                    <a:pt x="78" y="22"/>
                  </a:lnTo>
                  <a:lnTo>
                    <a:pt x="75" y="26"/>
                  </a:lnTo>
                  <a:lnTo>
                    <a:pt x="75" y="33"/>
                  </a:lnTo>
                  <a:lnTo>
                    <a:pt x="75" y="33"/>
                  </a:lnTo>
                  <a:lnTo>
                    <a:pt x="65" y="29"/>
                  </a:lnTo>
                  <a:lnTo>
                    <a:pt x="58" y="26"/>
                  </a:lnTo>
                  <a:lnTo>
                    <a:pt x="52" y="24"/>
                  </a:lnTo>
                  <a:lnTo>
                    <a:pt x="52" y="24"/>
                  </a:lnTo>
                  <a:lnTo>
                    <a:pt x="34" y="24"/>
                  </a:lnTo>
                  <a:lnTo>
                    <a:pt x="34" y="24"/>
                  </a:lnTo>
                  <a:lnTo>
                    <a:pt x="31" y="41"/>
                  </a:lnTo>
                  <a:lnTo>
                    <a:pt x="31" y="41"/>
                  </a:lnTo>
                  <a:lnTo>
                    <a:pt x="32" y="41"/>
                  </a:lnTo>
                  <a:lnTo>
                    <a:pt x="34" y="41"/>
                  </a:lnTo>
                  <a:lnTo>
                    <a:pt x="38" y="41"/>
                  </a:lnTo>
                  <a:lnTo>
                    <a:pt x="42" y="40"/>
                  </a:lnTo>
                  <a:lnTo>
                    <a:pt x="45" y="40"/>
                  </a:lnTo>
                  <a:lnTo>
                    <a:pt x="48" y="41"/>
                  </a:lnTo>
                  <a:lnTo>
                    <a:pt x="48" y="41"/>
                  </a:lnTo>
                  <a:lnTo>
                    <a:pt x="49" y="44"/>
                  </a:lnTo>
                  <a:lnTo>
                    <a:pt x="51" y="47"/>
                  </a:lnTo>
                  <a:lnTo>
                    <a:pt x="49" y="51"/>
                  </a:lnTo>
                  <a:lnTo>
                    <a:pt x="45" y="54"/>
                  </a:lnTo>
                  <a:lnTo>
                    <a:pt x="45" y="54"/>
                  </a:lnTo>
                  <a:lnTo>
                    <a:pt x="42" y="57"/>
                  </a:lnTo>
                  <a:lnTo>
                    <a:pt x="42" y="60"/>
                  </a:lnTo>
                  <a:lnTo>
                    <a:pt x="45" y="64"/>
                  </a:lnTo>
                  <a:lnTo>
                    <a:pt x="48" y="67"/>
                  </a:lnTo>
                  <a:lnTo>
                    <a:pt x="48" y="67"/>
                  </a:lnTo>
                  <a:lnTo>
                    <a:pt x="51" y="70"/>
                  </a:lnTo>
                  <a:lnTo>
                    <a:pt x="52" y="73"/>
                  </a:lnTo>
                  <a:lnTo>
                    <a:pt x="52" y="84"/>
                  </a:lnTo>
                  <a:lnTo>
                    <a:pt x="52" y="84"/>
                  </a:lnTo>
                  <a:lnTo>
                    <a:pt x="52" y="96"/>
                  </a:lnTo>
                  <a:lnTo>
                    <a:pt x="51" y="100"/>
                  </a:lnTo>
                  <a:lnTo>
                    <a:pt x="49" y="101"/>
                  </a:lnTo>
                  <a:lnTo>
                    <a:pt x="48" y="103"/>
                  </a:lnTo>
                  <a:lnTo>
                    <a:pt x="48" y="103"/>
                  </a:lnTo>
                  <a:lnTo>
                    <a:pt x="44" y="103"/>
                  </a:lnTo>
                  <a:lnTo>
                    <a:pt x="41" y="101"/>
                  </a:lnTo>
                  <a:lnTo>
                    <a:pt x="38" y="101"/>
                  </a:lnTo>
                  <a:lnTo>
                    <a:pt x="35" y="101"/>
                  </a:lnTo>
                  <a:lnTo>
                    <a:pt x="35" y="101"/>
                  </a:lnTo>
                  <a:lnTo>
                    <a:pt x="34" y="100"/>
                  </a:lnTo>
                  <a:lnTo>
                    <a:pt x="32" y="100"/>
                  </a:lnTo>
                  <a:lnTo>
                    <a:pt x="31" y="96"/>
                  </a:lnTo>
                  <a:lnTo>
                    <a:pt x="30" y="93"/>
                  </a:lnTo>
                  <a:lnTo>
                    <a:pt x="27" y="91"/>
                  </a:lnTo>
                  <a:lnTo>
                    <a:pt x="27" y="91"/>
                  </a:lnTo>
                  <a:lnTo>
                    <a:pt x="24" y="93"/>
                  </a:lnTo>
                  <a:lnTo>
                    <a:pt x="24" y="96"/>
                  </a:lnTo>
                  <a:lnTo>
                    <a:pt x="22" y="98"/>
                  </a:lnTo>
                  <a:lnTo>
                    <a:pt x="21" y="100"/>
                  </a:lnTo>
                  <a:lnTo>
                    <a:pt x="20" y="100"/>
                  </a:lnTo>
                  <a:lnTo>
                    <a:pt x="20" y="100"/>
                  </a:lnTo>
                  <a:lnTo>
                    <a:pt x="15" y="100"/>
                  </a:lnTo>
                  <a:lnTo>
                    <a:pt x="11" y="100"/>
                  </a:lnTo>
                  <a:lnTo>
                    <a:pt x="10" y="103"/>
                  </a:lnTo>
                  <a:lnTo>
                    <a:pt x="10" y="107"/>
                  </a:lnTo>
                  <a:lnTo>
                    <a:pt x="10" y="107"/>
                  </a:lnTo>
                  <a:lnTo>
                    <a:pt x="12" y="111"/>
                  </a:lnTo>
                  <a:lnTo>
                    <a:pt x="12" y="115"/>
                  </a:lnTo>
                  <a:lnTo>
                    <a:pt x="12" y="118"/>
                  </a:lnTo>
                  <a:lnTo>
                    <a:pt x="8" y="120"/>
                  </a:lnTo>
                  <a:lnTo>
                    <a:pt x="8" y="120"/>
                  </a:lnTo>
                  <a:lnTo>
                    <a:pt x="3" y="121"/>
                  </a:lnTo>
                  <a:lnTo>
                    <a:pt x="0" y="124"/>
                  </a:lnTo>
                  <a:lnTo>
                    <a:pt x="0" y="124"/>
                  </a:lnTo>
                  <a:lnTo>
                    <a:pt x="3" y="125"/>
                  </a:lnTo>
                  <a:lnTo>
                    <a:pt x="3" y="125"/>
                  </a:lnTo>
                  <a:lnTo>
                    <a:pt x="10" y="134"/>
                  </a:lnTo>
                  <a:lnTo>
                    <a:pt x="15" y="142"/>
                  </a:lnTo>
                  <a:lnTo>
                    <a:pt x="15" y="142"/>
                  </a:lnTo>
                  <a:lnTo>
                    <a:pt x="25" y="137"/>
                  </a:lnTo>
                  <a:lnTo>
                    <a:pt x="31" y="134"/>
                  </a:lnTo>
                  <a:lnTo>
                    <a:pt x="31" y="1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1" name="Freeform 227">
              <a:extLst>
                <a:ext uri="{FF2B5EF4-FFF2-40B4-BE49-F238E27FC236}">
                  <a16:creationId xmlns:a16="http://schemas.microsoft.com/office/drawing/2014/main" id="{48A5EA38-9F58-9D49-BE89-FB524EAE98A3}"/>
                </a:ext>
              </a:extLst>
            </p:cNvPr>
            <p:cNvSpPr>
              <a:spLocks/>
            </p:cNvSpPr>
            <p:nvPr/>
          </p:nvSpPr>
          <p:spPr bwMode="auto">
            <a:xfrm>
              <a:off x="4833922" y="3741502"/>
              <a:ext cx="389184" cy="483890"/>
            </a:xfrm>
            <a:custGeom>
              <a:avLst/>
              <a:gdLst/>
              <a:ahLst/>
              <a:cxnLst>
                <a:cxn ang="0">
                  <a:pos x="204" y="13"/>
                </a:cxn>
                <a:cxn ang="0">
                  <a:pos x="194" y="20"/>
                </a:cxn>
                <a:cxn ang="0">
                  <a:pos x="185" y="25"/>
                </a:cxn>
                <a:cxn ang="0">
                  <a:pos x="155" y="18"/>
                </a:cxn>
                <a:cxn ang="0">
                  <a:pos x="47" y="23"/>
                </a:cxn>
                <a:cxn ang="0">
                  <a:pos x="33" y="108"/>
                </a:cxn>
                <a:cxn ang="0">
                  <a:pos x="23" y="128"/>
                </a:cxn>
                <a:cxn ang="0">
                  <a:pos x="16" y="141"/>
                </a:cxn>
                <a:cxn ang="0">
                  <a:pos x="9" y="146"/>
                </a:cxn>
                <a:cxn ang="0">
                  <a:pos x="3" y="155"/>
                </a:cxn>
                <a:cxn ang="0">
                  <a:pos x="3" y="166"/>
                </a:cxn>
                <a:cxn ang="0">
                  <a:pos x="2" y="176"/>
                </a:cxn>
                <a:cxn ang="0">
                  <a:pos x="7" y="188"/>
                </a:cxn>
                <a:cxn ang="0">
                  <a:pos x="13" y="205"/>
                </a:cxn>
                <a:cxn ang="0">
                  <a:pos x="29" y="227"/>
                </a:cxn>
                <a:cxn ang="0">
                  <a:pos x="24" y="237"/>
                </a:cxn>
                <a:cxn ang="0">
                  <a:pos x="33" y="246"/>
                </a:cxn>
                <a:cxn ang="0">
                  <a:pos x="51" y="259"/>
                </a:cxn>
                <a:cxn ang="0">
                  <a:pos x="56" y="266"/>
                </a:cxn>
                <a:cxn ang="0">
                  <a:pos x="68" y="282"/>
                </a:cxn>
                <a:cxn ang="0">
                  <a:pos x="84" y="300"/>
                </a:cxn>
                <a:cxn ang="0">
                  <a:pos x="90" y="307"/>
                </a:cxn>
                <a:cxn ang="0">
                  <a:pos x="101" y="313"/>
                </a:cxn>
                <a:cxn ang="0">
                  <a:pos x="114" y="313"/>
                </a:cxn>
                <a:cxn ang="0">
                  <a:pos x="121" y="310"/>
                </a:cxn>
                <a:cxn ang="0">
                  <a:pos x="152" y="323"/>
                </a:cxn>
                <a:cxn ang="0">
                  <a:pos x="162" y="326"/>
                </a:cxn>
                <a:cxn ang="0">
                  <a:pos x="179" y="323"/>
                </a:cxn>
                <a:cxn ang="0">
                  <a:pos x="189" y="317"/>
                </a:cxn>
                <a:cxn ang="0">
                  <a:pos x="196" y="309"/>
                </a:cxn>
                <a:cxn ang="0">
                  <a:pos x="213" y="306"/>
                </a:cxn>
                <a:cxn ang="0">
                  <a:pos x="219" y="296"/>
                </a:cxn>
                <a:cxn ang="0">
                  <a:pos x="206" y="289"/>
                </a:cxn>
                <a:cxn ang="0">
                  <a:pos x="191" y="269"/>
                </a:cxn>
                <a:cxn ang="0">
                  <a:pos x="177" y="259"/>
                </a:cxn>
                <a:cxn ang="0">
                  <a:pos x="177" y="252"/>
                </a:cxn>
                <a:cxn ang="0">
                  <a:pos x="184" y="245"/>
                </a:cxn>
                <a:cxn ang="0">
                  <a:pos x="192" y="227"/>
                </a:cxn>
                <a:cxn ang="0">
                  <a:pos x="196" y="212"/>
                </a:cxn>
                <a:cxn ang="0">
                  <a:pos x="204" y="205"/>
                </a:cxn>
                <a:cxn ang="0">
                  <a:pos x="209" y="189"/>
                </a:cxn>
                <a:cxn ang="0">
                  <a:pos x="221" y="178"/>
                </a:cxn>
                <a:cxn ang="0">
                  <a:pos x="226" y="166"/>
                </a:cxn>
                <a:cxn ang="0">
                  <a:pos x="229" y="139"/>
                </a:cxn>
                <a:cxn ang="0">
                  <a:pos x="239" y="117"/>
                </a:cxn>
                <a:cxn ang="0">
                  <a:pos x="248" y="104"/>
                </a:cxn>
                <a:cxn ang="0">
                  <a:pos x="263" y="89"/>
                </a:cxn>
                <a:cxn ang="0">
                  <a:pos x="246" y="72"/>
                </a:cxn>
                <a:cxn ang="0">
                  <a:pos x="242" y="40"/>
                </a:cxn>
                <a:cxn ang="0">
                  <a:pos x="231" y="17"/>
                </a:cxn>
                <a:cxn ang="0">
                  <a:pos x="218" y="4"/>
                </a:cxn>
                <a:cxn ang="0">
                  <a:pos x="212" y="7"/>
                </a:cxn>
              </a:cxnLst>
              <a:rect l="0" t="0" r="r" b="b"/>
              <a:pathLst>
                <a:path w="263" h="327">
                  <a:moveTo>
                    <a:pt x="208" y="7"/>
                  </a:moveTo>
                  <a:lnTo>
                    <a:pt x="208" y="7"/>
                  </a:lnTo>
                  <a:lnTo>
                    <a:pt x="206" y="7"/>
                  </a:lnTo>
                  <a:lnTo>
                    <a:pt x="205" y="8"/>
                  </a:lnTo>
                  <a:lnTo>
                    <a:pt x="204" y="13"/>
                  </a:lnTo>
                  <a:lnTo>
                    <a:pt x="201" y="17"/>
                  </a:lnTo>
                  <a:lnTo>
                    <a:pt x="199" y="18"/>
                  </a:lnTo>
                  <a:lnTo>
                    <a:pt x="198" y="18"/>
                  </a:lnTo>
                  <a:lnTo>
                    <a:pt x="198" y="18"/>
                  </a:lnTo>
                  <a:lnTo>
                    <a:pt x="194" y="20"/>
                  </a:lnTo>
                  <a:lnTo>
                    <a:pt x="191" y="23"/>
                  </a:lnTo>
                  <a:lnTo>
                    <a:pt x="191" y="24"/>
                  </a:lnTo>
                  <a:lnTo>
                    <a:pt x="188" y="25"/>
                  </a:lnTo>
                  <a:lnTo>
                    <a:pt x="188" y="25"/>
                  </a:lnTo>
                  <a:lnTo>
                    <a:pt x="185" y="25"/>
                  </a:lnTo>
                  <a:lnTo>
                    <a:pt x="182" y="24"/>
                  </a:lnTo>
                  <a:lnTo>
                    <a:pt x="179" y="21"/>
                  </a:lnTo>
                  <a:lnTo>
                    <a:pt x="158" y="21"/>
                  </a:lnTo>
                  <a:lnTo>
                    <a:pt x="158" y="21"/>
                  </a:lnTo>
                  <a:lnTo>
                    <a:pt x="155" y="18"/>
                  </a:lnTo>
                  <a:lnTo>
                    <a:pt x="154" y="18"/>
                  </a:lnTo>
                  <a:lnTo>
                    <a:pt x="151" y="18"/>
                  </a:lnTo>
                  <a:lnTo>
                    <a:pt x="151" y="18"/>
                  </a:lnTo>
                  <a:lnTo>
                    <a:pt x="145" y="23"/>
                  </a:lnTo>
                  <a:lnTo>
                    <a:pt x="47" y="23"/>
                  </a:lnTo>
                  <a:lnTo>
                    <a:pt x="47" y="23"/>
                  </a:lnTo>
                  <a:lnTo>
                    <a:pt x="47" y="55"/>
                  </a:lnTo>
                  <a:lnTo>
                    <a:pt x="33" y="55"/>
                  </a:lnTo>
                  <a:lnTo>
                    <a:pt x="33" y="108"/>
                  </a:lnTo>
                  <a:lnTo>
                    <a:pt x="33" y="108"/>
                  </a:lnTo>
                  <a:lnTo>
                    <a:pt x="33" y="117"/>
                  </a:lnTo>
                  <a:lnTo>
                    <a:pt x="31" y="122"/>
                  </a:lnTo>
                  <a:lnTo>
                    <a:pt x="30" y="125"/>
                  </a:lnTo>
                  <a:lnTo>
                    <a:pt x="30" y="125"/>
                  </a:lnTo>
                  <a:lnTo>
                    <a:pt x="23" y="128"/>
                  </a:lnTo>
                  <a:lnTo>
                    <a:pt x="19" y="131"/>
                  </a:lnTo>
                  <a:lnTo>
                    <a:pt x="17" y="132"/>
                  </a:lnTo>
                  <a:lnTo>
                    <a:pt x="17" y="134"/>
                  </a:lnTo>
                  <a:lnTo>
                    <a:pt x="17" y="134"/>
                  </a:lnTo>
                  <a:lnTo>
                    <a:pt x="16" y="141"/>
                  </a:lnTo>
                  <a:lnTo>
                    <a:pt x="13" y="142"/>
                  </a:lnTo>
                  <a:lnTo>
                    <a:pt x="10" y="144"/>
                  </a:lnTo>
                  <a:lnTo>
                    <a:pt x="10" y="144"/>
                  </a:lnTo>
                  <a:lnTo>
                    <a:pt x="9" y="145"/>
                  </a:lnTo>
                  <a:lnTo>
                    <a:pt x="9" y="146"/>
                  </a:lnTo>
                  <a:lnTo>
                    <a:pt x="7" y="151"/>
                  </a:lnTo>
                  <a:lnTo>
                    <a:pt x="7" y="154"/>
                  </a:lnTo>
                  <a:lnTo>
                    <a:pt x="6" y="155"/>
                  </a:lnTo>
                  <a:lnTo>
                    <a:pt x="3" y="155"/>
                  </a:lnTo>
                  <a:lnTo>
                    <a:pt x="3" y="155"/>
                  </a:lnTo>
                  <a:lnTo>
                    <a:pt x="2" y="156"/>
                  </a:lnTo>
                  <a:lnTo>
                    <a:pt x="2" y="156"/>
                  </a:lnTo>
                  <a:lnTo>
                    <a:pt x="2" y="161"/>
                  </a:lnTo>
                  <a:lnTo>
                    <a:pt x="3" y="163"/>
                  </a:lnTo>
                  <a:lnTo>
                    <a:pt x="3" y="166"/>
                  </a:lnTo>
                  <a:lnTo>
                    <a:pt x="3" y="168"/>
                  </a:lnTo>
                  <a:lnTo>
                    <a:pt x="3" y="168"/>
                  </a:lnTo>
                  <a:lnTo>
                    <a:pt x="0" y="171"/>
                  </a:lnTo>
                  <a:lnTo>
                    <a:pt x="0" y="173"/>
                  </a:lnTo>
                  <a:lnTo>
                    <a:pt x="2" y="176"/>
                  </a:lnTo>
                  <a:lnTo>
                    <a:pt x="4" y="176"/>
                  </a:lnTo>
                  <a:lnTo>
                    <a:pt x="4" y="176"/>
                  </a:lnTo>
                  <a:lnTo>
                    <a:pt x="7" y="178"/>
                  </a:lnTo>
                  <a:lnTo>
                    <a:pt x="9" y="181"/>
                  </a:lnTo>
                  <a:lnTo>
                    <a:pt x="7" y="188"/>
                  </a:lnTo>
                  <a:lnTo>
                    <a:pt x="7" y="188"/>
                  </a:lnTo>
                  <a:lnTo>
                    <a:pt x="9" y="192"/>
                  </a:lnTo>
                  <a:lnTo>
                    <a:pt x="11" y="195"/>
                  </a:lnTo>
                  <a:lnTo>
                    <a:pt x="16" y="198"/>
                  </a:lnTo>
                  <a:lnTo>
                    <a:pt x="13" y="205"/>
                  </a:lnTo>
                  <a:lnTo>
                    <a:pt x="13" y="205"/>
                  </a:lnTo>
                  <a:lnTo>
                    <a:pt x="19" y="212"/>
                  </a:lnTo>
                  <a:lnTo>
                    <a:pt x="26" y="220"/>
                  </a:lnTo>
                  <a:lnTo>
                    <a:pt x="26" y="220"/>
                  </a:lnTo>
                  <a:lnTo>
                    <a:pt x="29" y="227"/>
                  </a:lnTo>
                  <a:lnTo>
                    <a:pt x="29" y="232"/>
                  </a:lnTo>
                  <a:lnTo>
                    <a:pt x="29" y="233"/>
                  </a:lnTo>
                  <a:lnTo>
                    <a:pt x="26" y="235"/>
                  </a:lnTo>
                  <a:lnTo>
                    <a:pt x="26" y="235"/>
                  </a:lnTo>
                  <a:lnTo>
                    <a:pt x="24" y="237"/>
                  </a:lnTo>
                  <a:lnTo>
                    <a:pt x="23" y="239"/>
                  </a:lnTo>
                  <a:lnTo>
                    <a:pt x="24" y="240"/>
                  </a:lnTo>
                  <a:lnTo>
                    <a:pt x="31" y="242"/>
                  </a:lnTo>
                  <a:lnTo>
                    <a:pt x="33" y="246"/>
                  </a:lnTo>
                  <a:lnTo>
                    <a:pt x="33" y="246"/>
                  </a:lnTo>
                  <a:lnTo>
                    <a:pt x="39" y="247"/>
                  </a:lnTo>
                  <a:lnTo>
                    <a:pt x="43" y="249"/>
                  </a:lnTo>
                  <a:lnTo>
                    <a:pt x="46" y="253"/>
                  </a:lnTo>
                  <a:lnTo>
                    <a:pt x="46" y="253"/>
                  </a:lnTo>
                  <a:lnTo>
                    <a:pt x="51" y="259"/>
                  </a:lnTo>
                  <a:lnTo>
                    <a:pt x="53" y="260"/>
                  </a:lnTo>
                  <a:lnTo>
                    <a:pt x="53" y="263"/>
                  </a:lnTo>
                  <a:lnTo>
                    <a:pt x="53" y="263"/>
                  </a:lnTo>
                  <a:lnTo>
                    <a:pt x="54" y="264"/>
                  </a:lnTo>
                  <a:lnTo>
                    <a:pt x="56" y="266"/>
                  </a:lnTo>
                  <a:lnTo>
                    <a:pt x="63" y="272"/>
                  </a:lnTo>
                  <a:lnTo>
                    <a:pt x="63" y="272"/>
                  </a:lnTo>
                  <a:lnTo>
                    <a:pt x="67" y="274"/>
                  </a:lnTo>
                  <a:lnTo>
                    <a:pt x="68" y="277"/>
                  </a:lnTo>
                  <a:lnTo>
                    <a:pt x="68" y="282"/>
                  </a:lnTo>
                  <a:lnTo>
                    <a:pt x="68" y="282"/>
                  </a:lnTo>
                  <a:lnTo>
                    <a:pt x="71" y="284"/>
                  </a:lnTo>
                  <a:lnTo>
                    <a:pt x="74" y="287"/>
                  </a:lnTo>
                  <a:lnTo>
                    <a:pt x="80" y="290"/>
                  </a:lnTo>
                  <a:lnTo>
                    <a:pt x="84" y="300"/>
                  </a:lnTo>
                  <a:lnTo>
                    <a:pt x="84" y="300"/>
                  </a:lnTo>
                  <a:lnTo>
                    <a:pt x="85" y="301"/>
                  </a:lnTo>
                  <a:lnTo>
                    <a:pt x="88" y="303"/>
                  </a:lnTo>
                  <a:lnTo>
                    <a:pt x="88" y="303"/>
                  </a:lnTo>
                  <a:lnTo>
                    <a:pt x="90" y="307"/>
                  </a:lnTo>
                  <a:lnTo>
                    <a:pt x="93" y="310"/>
                  </a:lnTo>
                  <a:lnTo>
                    <a:pt x="94" y="311"/>
                  </a:lnTo>
                  <a:lnTo>
                    <a:pt x="94" y="311"/>
                  </a:lnTo>
                  <a:lnTo>
                    <a:pt x="98" y="313"/>
                  </a:lnTo>
                  <a:lnTo>
                    <a:pt x="101" y="313"/>
                  </a:lnTo>
                  <a:lnTo>
                    <a:pt x="104" y="311"/>
                  </a:lnTo>
                  <a:lnTo>
                    <a:pt x="104" y="311"/>
                  </a:lnTo>
                  <a:lnTo>
                    <a:pt x="108" y="310"/>
                  </a:lnTo>
                  <a:lnTo>
                    <a:pt x="111" y="310"/>
                  </a:lnTo>
                  <a:lnTo>
                    <a:pt x="114" y="313"/>
                  </a:lnTo>
                  <a:lnTo>
                    <a:pt x="114" y="313"/>
                  </a:lnTo>
                  <a:lnTo>
                    <a:pt x="117" y="311"/>
                  </a:lnTo>
                  <a:lnTo>
                    <a:pt x="118" y="310"/>
                  </a:lnTo>
                  <a:lnTo>
                    <a:pt x="121" y="310"/>
                  </a:lnTo>
                  <a:lnTo>
                    <a:pt x="121" y="310"/>
                  </a:lnTo>
                  <a:lnTo>
                    <a:pt x="140" y="326"/>
                  </a:lnTo>
                  <a:lnTo>
                    <a:pt x="140" y="326"/>
                  </a:lnTo>
                  <a:lnTo>
                    <a:pt x="145" y="324"/>
                  </a:lnTo>
                  <a:lnTo>
                    <a:pt x="152" y="323"/>
                  </a:lnTo>
                  <a:lnTo>
                    <a:pt x="152" y="323"/>
                  </a:lnTo>
                  <a:lnTo>
                    <a:pt x="155" y="323"/>
                  </a:lnTo>
                  <a:lnTo>
                    <a:pt x="158" y="326"/>
                  </a:lnTo>
                  <a:lnTo>
                    <a:pt x="159" y="327"/>
                  </a:lnTo>
                  <a:lnTo>
                    <a:pt x="162" y="326"/>
                  </a:lnTo>
                  <a:lnTo>
                    <a:pt x="162" y="326"/>
                  </a:lnTo>
                  <a:lnTo>
                    <a:pt x="167" y="323"/>
                  </a:lnTo>
                  <a:lnTo>
                    <a:pt x="171" y="321"/>
                  </a:lnTo>
                  <a:lnTo>
                    <a:pt x="174" y="323"/>
                  </a:lnTo>
                  <a:lnTo>
                    <a:pt x="174" y="323"/>
                  </a:lnTo>
                  <a:lnTo>
                    <a:pt x="179" y="323"/>
                  </a:lnTo>
                  <a:lnTo>
                    <a:pt x="182" y="323"/>
                  </a:lnTo>
                  <a:lnTo>
                    <a:pt x="184" y="321"/>
                  </a:lnTo>
                  <a:lnTo>
                    <a:pt x="184" y="321"/>
                  </a:lnTo>
                  <a:lnTo>
                    <a:pt x="185" y="319"/>
                  </a:lnTo>
                  <a:lnTo>
                    <a:pt x="189" y="317"/>
                  </a:lnTo>
                  <a:lnTo>
                    <a:pt x="189" y="317"/>
                  </a:lnTo>
                  <a:lnTo>
                    <a:pt x="191" y="314"/>
                  </a:lnTo>
                  <a:lnTo>
                    <a:pt x="191" y="314"/>
                  </a:lnTo>
                  <a:lnTo>
                    <a:pt x="192" y="311"/>
                  </a:lnTo>
                  <a:lnTo>
                    <a:pt x="196" y="309"/>
                  </a:lnTo>
                  <a:lnTo>
                    <a:pt x="204" y="306"/>
                  </a:lnTo>
                  <a:lnTo>
                    <a:pt x="204" y="306"/>
                  </a:lnTo>
                  <a:lnTo>
                    <a:pt x="209" y="304"/>
                  </a:lnTo>
                  <a:lnTo>
                    <a:pt x="212" y="306"/>
                  </a:lnTo>
                  <a:lnTo>
                    <a:pt x="213" y="306"/>
                  </a:lnTo>
                  <a:lnTo>
                    <a:pt x="213" y="306"/>
                  </a:lnTo>
                  <a:lnTo>
                    <a:pt x="218" y="309"/>
                  </a:lnTo>
                  <a:lnTo>
                    <a:pt x="218" y="309"/>
                  </a:lnTo>
                  <a:lnTo>
                    <a:pt x="219" y="299"/>
                  </a:lnTo>
                  <a:lnTo>
                    <a:pt x="219" y="296"/>
                  </a:lnTo>
                  <a:lnTo>
                    <a:pt x="218" y="294"/>
                  </a:lnTo>
                  <a:lnTo>
                    <a:pt x="218" y="294"/>
                  </a:lnTo>
                  <a:lnTo>
                    <a:pt x="213" y="294"/>
                  </a:lnTo>
                  <a:lnTo>
                    <a:pt x="209" y="292"/>
                  </a:lnTo>
                  <a:lnTo>
                    <a:pt x="206" y="289"/>
                  </a:lnTo>
                  <a:lnTo>
                    <a:pt x="202" y="283"/>
                  </a:lnTo>
                  <a:lnTo>
                    <a:pt x="202" y="283"/>
                  </a:lnTo>
                  <a:lnTo>
                    <a:pt x="199" y="277"/>
                  </a:lnTo>
                  <a:lnTo>
                    <a:pt x="195" y="273"/>
                  </a:lnTo>
                  <a:lnTo>
                    <a:pt x="191" y="269"/>
                  </a:lnTo>
                  <a:lnTo>
                    <a:pt x="189" y="264"/>
                  </a:lnTo>
                  <a:lnTo>
                    <a:pt x="189" y="264"/>
                  </a:lnTo>
                  <a:lnTo>
                    <a:pt x="186" y="262"/>
                  </a:lnTo>
                  <a:lnTo>
                    <a:pt x="181" y="260"/>
                  </a:lnTo>
                  <a:lnTo>
                    <a:pt x="177" y="259"/>
                  </a:lnTo>
                  <a:lnTo>
                    <a:pt x="174" y="257"/>
                  </a:lnTo>
                  <a:lnTo>
                    <a:pt x="174" y="257"/>
                  </a:lnTo>
                  <a:lnTo>
                    <a:pt x="174" y="255"/>
                  </a:lnTo>
                  <a:lnTo>
                    <a:pt x="175" y="253"/>
                  </a:lnTo>
                  <a:lnTo>
                    <a:pt x="177" y="252"/>
                  </a:lnTo>
                  <a:lnTo>
                    <a:pt x="177" y="247"/>
                  </a:lnTo>
                  <a:lnTo>
                    <a:pt x="177" y="247"/>
                  </a:lnTo>
                  <a:lnTo>
                    <a:pt x="178" y="246"/>
                  </a:lnTo>
                  <a:lnTo>
                    <a:pt x="179" y="246"/>
                  </a:lnTo>
                  <a:lnTo>
                    <a:pt x="184" y="245"/>
                  </a:lnTo>
                  <a:lnTo>
                    <a:pt x="189" y="245"/>
                  </a:lnTo>
                  <a:lnTo>
                    <a:pt x="189" y="245"/>
                  </a:lnTo>
                  <a:lnTo>
                    <a:pt x="191" y="237"/>
                  </a:lnTo>
                  <a:lnTo>
                    <a:pt x="192" y="227"/>
                  </a:lnTo>
                  <a:lnTo>
                    <a:pt x="192" y="227"/>
                  </a:lnTo>
                  <a:lnTo>
                    <a:pt x="194" y="223"/>
                  </a:lnTo>
                  <a:lnTo>
                    <a:pt x="195" y="219"/>
                  </a:lnTo>
                  <a:lnTo>
                    <a:pt x="198" y="215"/>
                  </a:lnTo>
                  <a:lnTo>
                    <a:pt x="198" y="213"/>
                  </a:lnTo>
                  <a:lnTo>
                    <a:pt x="196" y="212"/>
                  </a:lnTo>
                  <a:lnTo>
                    <a:pt x="196" y="212"/>
                  </a:lnTo>
                  <a:lnTo>
                    <a:pt x="196" y="210"/>
                  </a:lnTo>
                  <a:lnTo>
                    <a:pt x="198" y="209"/>
                  </a:lnTo>
                  <a:lnTo>
                    <a:pt x="204" y="205"/>
                  </a:lnTo>
                  <a:lnTo>
                    <a:pt x="204" y="205"/>
                  </a:lnTo>
                  <a:lnTo>
                    <a:pt x="205" y="202"/>
                  </a:lnTo>
                  <a:lnTo>
                    <a:pt x="206" y="198"/>
                  </a:lnTo>
                  <a:lnTo>
                    <a:pt x="206" y="193"/>
                  </a:lnTo>
                  <a:lnTo>
                    <a:pt x="209" y="189"/>
                  </a:lnTo>
                  <a:lnTo>
                    <a:pt x="209" y="189"/>
                  </a:lnTo>
                  <a:lnTo>
                    <a:pt x="213" y="182"/>
                  </a:lnTo>
                  <a:lnTo>
                    <a:pt x="216" y="179"/>
                  </a:lnTo>
                  <a:lnTo>
                    <a:pt x="219" y="178"/>
                  </a:lnTo>
                  <a:lnTo>
                    <a:pt x="219" y="178"/>
                  </a:lnTo>
                  <a:lnTo>
                    <a:pt x="221" y="178"/>
                  </a:lnTo>
                  <a:lnTo>
                    <a:pt x="223" y="175"/>
                  </a:lnTo>
                  <a:lnTo>
                    <a:pt x="225" y="172"/>
                  </a:lnTo>
                  <a:lnTo>
                    <a:pt x="225" y="169"/>
                  </a:lnTo>
                  <a:lnTo>
                    <a:pt x="225" y="169"/>
                  </a:lnTo>
                  <a:lnTo>
                    <a:pt x="226" y="166"/>
                  </a:lnTo>
                  <a:lnTo>
                    <a:pt x="229" y="162"/>
                  </a:lnTo>
                  <a:lnTo>
                    <a:pt x="231" y="156"/>
                  </a:lnTo>
                  <a:lnTo>
                    <a:pt x="232" y="151"/>
                  </a:lnTo>
                  <a:lnTo>
                    <a:pt x="232" y="151"/>
                  </a:lnTo>
                  <a:lnTo>
                    <a:pt x="229" y="139"/>
                  </a:lnTo>
                  <a:lnTo>
                    <a:pt x="231" y="134"/>
                  </a:lnTo>
                  <a:lnTo>
                    <a:pt x="232" y="129"/>
                  </a:lnTo>
                  <a:lnTo>
                    <a:pt x="232" y="129"/>
                  </a:lnTo>
                  <a:lnTo>
                    <a:pt x="238" y="121"/>
                  </a:lnTo>
                  <a:lnTo>
                    <a:pt x="239" y="117"/>
                  </a:lnTo>
                  <a:lnTo>
                    <a:pt x="238" y="114"/>
                  </a:lnTo>
                  <a:lnTo>
                    <a:pt x="238" y="114"/>
                  </a:lnTo>
                  <a:lnTo>
                    <a:pt x="239" y="111"/>
                  </a:lnTo>
                  <a:lnTo>
                    <a:pt x="242" y="108"/>
                  </a:lnTo>
                  <a:lnTo>
                    <a:pt x="248" y="104"/>
                  </a:lnTo>
                  <a:lnTo>
                    <a:pt x="248" y="104"/>
                  </a:lnTo>
                  <a:lnTo>
                    <a:pt x="253" y="99"/>
                  </a:lnTo>
                  <a:lnTo>
                    <a:pt x="258" y="95"/>
                  </a:lnTo>
                  <a:lnTo>
                    <a:pt x="263" y="89"/>
                  </a:lnTo>
                  <a:lnTo>
                    <a:pt x="263" y="89"/>
                  </a:lnTo>
                  <a:lnTo>
                    <a:pt x="258" y="84"/>
                  </a:lnTo>
                  <a:lnTo>
                    <a:pt x="253" y="81"/>
                  </a:lnTo>
                  <a:lnTo>
                    <a:pt x="253" y="81"/>
                  </a:lnTo>
                  <a:lnTo>
                    <a:pt x="249" y="78"/>
                  </a:lnTo>
                  <a:lnTo>
                    <a:pt x="246" y="72"/>
                  </a:lnTo>
                  <a:lnTo>
                    <a:pt x="243" y="64"/>
                  </a:lnTo>
                  <a:lnTo>
                    <a:pt x="243" y="55"/>
                  </a:lnTo>
                  <a:lnTo>
                    <a:pt x="243" y="55"/>
                  </a:lnTo>
                  <a:lnTo>
                    <a:pt x="243" y="47"/>
                  </a:lnTo>
                  <a:lnTo>
                    <a:pt x="242" y="40"/>
                  </a:lnTo>
                  <a:lnTo>
                    <a:pt x="239" y="30"/>
                  </a:lnTo>
                  <a:lnTo>
                    <a:pt x="239" y="30"/>
                  </a:lnTo>
                  <a:lnTo>
                    <a:pt x="238" y="25"/>
                  </a:lnTo>
                  <a:lnTo>
                    <a:pt x="235" y="21"/>
                  </a:lnTo>
                  <a:lnTo>
                    <a:pt x="231" y="17"/>
                  </a:lnTo>
                  <a:lnTo>
                    <a:pt x="226" y="13"/>
                  </a:lnTo>
                  <a:lnTo>
                    <a:pt x="226" y="13"/>
                  </a:lnTo>
                  <a:lnTo>
                    <a:pt x="222" y="10"/>
                  </a:lnTo>
                  <a:lnTo>
                    <a:pt x="219" y="7"/>
                  </a:lnTo>
                  <a:lnTo>
                    <a:pt x="218" y="4"/>
                  </a:lnTo>
                  <a:lnTo>
                    <a:pt x="216" y="0"/>
                  </a:lnTo>
                  <a:lnTo>
                    <a:pt x="216" y="0"/>
                  </a:lnTo>
                  <a:lnTo>
                    <a:pt x="216" y="1"/>
                  </a:lnTo>
                  <a:lnTo>
                    <a:pt x="216" y="1"/>
                  </a:lnTo>
                  <a:lnTo>
                    <a:pt x="212" y="7"/>
                  </a:lnTo>
                  <a:lnTo>
                    <a:pt x="208" y="7"/>
                  </a:lnTo>
                  <a:lnTo>
                    <a:pt x="208" y="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2" name="Freeform 228">
              <a:extLst>
                <a:ext uri="{FF2B5EF4-FFF2-40B4-BE49-F238E27FC236}">
                  <a16:creationId xmlns:a16="http://schemas.microsoft.com/office/drawing/2014/main" id="{7EC8048E-C571-CF44-8377-018F1393FB6A}"/>
                </a:ext>
              </a:extLst>
            </p:cNvPr>
            <p:cNvSpPr>
              <a:spLocks/>
            </p:cNvSpPr>
            <p:nvPr/>
          </p:nvSpPr>
          <p:spPr bwMode="auto">
            <a:xfrm>
              <a:off x="5298574" y="4004904"/>
              <a:ext cx="41434" cy="45874"/>
            </a:xfrm>
            <a:custGeom>
              <a:avLst/>
              <a:gdLst/>
              <a:ahLst/>
              <a:cxnLst>
                <a:cxn ang="0">
                  <a:pos x="10" y="4"/>
                </a:cxn>
                <a:cxn ang="0">
                  <a:pos x="10" y="4"/>
                </a:cxn>
                <a:cxn ang="0">
                  <a:pos x="2" y="15"/>
                </a:cxn>
                <a:cxn ang="0">
                  <a:pos x="2" y="15"/>
                </a:cxn>
                <a:cxn ang="0">
                  <a:pos x="0" y="18"/>
                </a:cxn>
                <a:cxn ang="0">
                  <a:pos x="0" y="22"/>
                </a:cxn>
                <a:cxn ang="0">
                  <a:pos x="2" y="28"/>
                </a:cxn>
                <a:cxn ang="0">
                  <a:pos x="2" y="28"/>
                </a:cxn>
                <a:cxn ang="0">
                  <a:pos x="3" y="30"/>
                </a:cxn>
                <a:cxn ang="0">
                  <a:pos x="6" y="30"/>
                </a:cxn>
                <a:cxn ang="0">
                  <a:pos x="10" y="28"/>
                </a:cxn>
                <a:cxn ang="0">
                  <a:pos x="10" y="28"/>
                </a:cxn>
                <a:cxn ang="0">
                  <a:pos x="12" y="27"/>
                </a:cxn>
                <a:cxn ang="0">
                  <a:pos x="15" y="28"/>
                </a:cxn>
                <a:cxn ang="0">
                  <a:pos x="19" y="31"/>
                </a:cxn>
                <a:cxn ang="0">
                  <a:pos x="19" y="31"/>
                </a:cxn>
                <a:cxn ang="0">
                  <a:pos x="25" y="22"/>
                </a:cxn>
                <a:cxn ang="0">
                  <a:pos x="25" y="22"/>
                </a:cxn>
                <a:cxn ang="0">
                  <a:pos x="16" y="20"/>
                </a:cxn>
                <a:cxn ang="0">
                  <a:pos x="16" y="20"/>
                </a:cxn>
                <a:cxn ang="0">
                  <a:pos x="16" y="17"/>
                </a:cxn>
                <a:cxn ang="0">
                  <a:pos x="19" y="15"/>
                </a:cxn>
                <a:cxn ang="0">
                  <a:pos x="26" y="11"/>
                </a:cxn>
                <a:cxn ang="0">
                  <a:pos x="26" y="11"/>
                </a:cxn>
                <a:cxn ang="0">
                  <a:pos x="28" y="10"/>
                </a:cxn>
                <a:cxn ang="0">
                  <a:pos x="28" y="8"/>
                </a:cxn>
                <a:cxn ang="0">
                  <a:pos x="26" y="5"/>
                </a:cxn>
                <a:cxn ang="0">
                  <a:pos x="25" y="3"/>
                </a:cxn>
                <a:cxn ang="0">
                  <a:pos x="25" y="3"/>
                </a:cxn>
                <a:cxn ang="0">
                  <a:pos x="22" y="0"/>
                </a:cxn>
                <a:cxn ang="0">
                  <a:pos x="22" y="0"/>
                </a:cxn>
                <a:cxn ang="0">
                  <a:pos x="18" y="4"/>
                </a:cxn>
                <a:cxn ang="0">
                  <a:pos x="18" y="4"/>
                </a:cxn>
                <a:cxn ang="0">
                  <a:pos x="15" y="4"/>
                </a:cxn>
                <a:cxn ang="0">
                  <a:pos x="10" y="4"/>
                </a:cxn>
                <a:cxn ang="0">
                  <a:pos x="10" y="4"/>
                </a:cxn>
              </a:cxnLst>
              <a:rect l="0" t="0" r="r" b="b"/>
              <a:pathLst>
                <a:path w="28" h="31">
                  <a:moveTo>
                    <a:pt x="10" y="4"/>
                  </a:moveTo>
                  <a:lnTo>
                    <a:pt x="10" y="4"/>
                  </a:lnTo>
                  <a:lnTo>
                    <a:pt x="2" y="15"/>
                  </a:lnTo>
                  <a:lnTo>
                    <a:pt x="2" y="15"/>
                  </a:lnTo>
                  <a:lnTo>
                    <a:pt x="0" y="18"/>
                  </a:lnTo>
                  <a:lnTo>
                    <a:pt x="0" y="22"/>
                  </a:lnTo>
                  <a:lnTo>
                    <a:pt x="2" y="28"/>
                  </a:lnTo>
                  <a:lnTo>
                    <a:pt x="2" y="28"/>
                  </a:lnTo>
                  <a:lnTo>
                    <a:pt x="3" y="30"/>
                  </a:lnTo>
                  <a:lnTo>
                    <a:pt x="6" y="30"/>
                  </a:lnTo>
                  <a:lnTo>
                    <a:pt x="10" y="28"/>
                  </a:lnTo>
                  <a:lnTo>
                    <a:pt x="10" y="28"/>
                  </a:lnTo>
                  <a:lnTo>
                    <a:pt x="12" y="27"/>
                  </a:lnTo>
                  <a:lnTo>
                    <a:pt x="15" y="28"/>
                  </a:lnTo>
                  <a:lnTo>
                    <a:pt x="19" y="31"/>
                  </a:lnTo>
                  <a:lnTo>
                    <a:pt x="19" y="31"/>
                  </a:lnTo>
                  <a:lnTo>
                    <a:pt x="25" y="22"/>
                  </a:lnTo>
                  <a:lnTo>
                    <a:pt x="25" y="22"/>
                  </a:lnTo>
                  <a:lnTo>
                    <a:pt x="16" y="20"/>
                  </a:lnTo>
                  <a:lnTo>
                    <a:pt x="16" y="20"/>
                  </a:lnTo>
                  <a:lnTo>
                    <a:pt x="16" y="17"/>
                  </a:lnTo>
                  <a:lnTo>
                    <a:pt x="19" y="15"/>
                  </a:lnTo>
                  <a:lnTo>
                    <a:pt x="26" y="11"/>
                  </a:lnTo>
                  <a:lnTo>
                    <a:pt x="26" y="11"/>
                  </a:lnTo>
                  <a:lnTo>
                    <a:pt x="28" y="10"/>
                  </a:lnTo>
                  <a:lnTo>
                    <a:pt x="28" y="8"/>
                  </a:lnTo>
                  <a:lnTo>
                    <a:pt x="26" y="5"/>
                  </a:lnTo>
                  <a:lnTo>
                    <a:pt x="25" y="3"/>
                  </a:lnTo>
                  <a:lnTo>
                    <a:pt x="25" y="3"/>
                  </a:lnTo>
                  <a:lnTo>
                    <a:pt x="22" y="0"/>
                  </a:lnTo>
                  <a:lnTo>
                    <a:pt x="22" y="0"/>
                  </a:lnTo>
                  <a:lnTo>
                    <a:pt x="18" y="4"/>
                  </a:lnTo>
                  <a:lnTo>
                    <a:pt x="18" y="4"/>
                  </a:lnTo>
                  <a:lnTo>
                    <a:pt x="15" y="4"/>
                  </a:lnTo>
                  <a:lnTo>
                    <a:pt x="10" y="4"/>
                  </a:lnTo>
                  <a:lnTo>
                    <a:pt x="10"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3" name="Freeform 229">
              <a:extLst>
                <a:ext uri="{FF2B5EF4-FFF2-40B4-BE49-F238E27FC236}">
                  <a16:creationId xmlns:a16="http://schemas.microsoft.com/office/drawing/2014/main" id="{30B4DEB3-1C5A-2549-A4D4-2BE65F155BE3}"/>
                </a:ext>
              </a:extLst>
            </p:cNvPr>
            <p:cNvSpPr>
              <a:spLocks/>
            </p:cNvSpPr>
            <p:nvPr/>
          </p:nvSpPr>
          <p:spPr bwMode="auto">
            <a:xfrm>
              <a:off x="5172792" y="3873204"/>
              <a:ext cx="158338" cy="137620"/>
            </a:xfrm>
            <a:custGeom>
              <a:avLst/>
              <a:gdLst/>
              <a:ahLst/>
              <a:cxnLst>
                <a:cxn ang="0">
                  <a:pos x="19" y="15"/>
                </a:cxn>
                <a:cxn ang="0">
                  <a:pos x="10" y="22"/>
                </a:cxn>
                <a:cxn ang="0">
                  <a:pos x="9" y="25"/>
                </a:cxn>
                <a:cxn ang="0">
                  <a:pos x="9" y="32"/>
                </a:cxn>
                <a:cxn ang="0">
                  <a:pos x="3" y="40"/>
                </a:cxn>
                <a:cxn ang="0">
                  <a:pos x="0" y="50"/>
                </a:cxn>
                <a:cxn ang="0">
                  <a:pos x="3" y="62"/>
                </a:cxn>
                <a:cxn ang="0">
                  <a:pos x="16" y="63"/>
                </a:cxn>
                <a:cxn ang="0">
                  <a:pos x="17" y="63"/>
                </a:cxn>
                <a:cxn ang="0">
                  <a:pos x="21" y="57"/>
                </a:cxn>
                <a:cxn ang="0">
                  <a:pos x="23" y="55"/>
                </a:cxn>
                <a:cxn ang="0">
                  <a:pos x="26" y="55"/>
                </a:cxn>
                <a:cxn ang="0">
                  <a:pos x="29" y="56"/>
                </a:cxn>
                <a:cxn ang="0">
                  <a:pos x="36" y="60"/>
                </a:cxn>
                <a:cxn ang="0">
                  <a:pos x="39" y="59"/>
                </a:cxn>
                <a:cxn ang="0">
                  <a:pos x="46" y="59"/>
                </a:cxn>
                <a:cxn ang="0">
                  <a:pos x="53" y="60"/>
                </a:cxn>
                <a:cxn ang="0">
                  <a:pos x="61" y="59"/>
                </a:cxn>
                <a:cxn ang="0">
                  <a:pos x="80" y="76"/>
                </a:cxn>
                <a:cxn ang="0">
                  <a:pos x="95" y="93"/>
                </a:cxn>
                <a:cxn ang="0">
                  <a:pos x="95" y="93"/>
                </a:cxn>
                <a:cxn ang="0">
                  <a:pos x="103" y="93"/>
                </a:cxn>
                <a:cxn ang="0">
                  <a:pos x="107" y="89"/>
                </a:cxn>
                <a:cxn ang="0">
                  <a:pos x="100" y="82"/>
                </a:cxn>
                <a:cxn ang="0">
                  <a:pos x="90" y="70"/>
                </a:cxn>
                <a:cxn ang="0">
                  <a:pos x="76" y="57"/>
                </a:cxn>
                <a:cxn ang="0">
                  <a:pos x="64" y="53"/>
                </a:cxn>
                <a:cxn ang="0">
                  <a:pos x="63" y="52"/>
                </a:cxn>
                <a:cxn ang="0">
                  <a:pos x="58" y="47"/>
                </a:cxn>
                <a:cxn ang="0">
                  <a:pos x="54" y="42"/>
                </a:cxn>
                <a:cxn ang="0">
                  <a:pos x="51" y="40"/>
                </a:cxn>
                <a:cxn ang="0">
                  <a:pos x="44" y="26"/>
                </a:cxn>
                <a:cxn ang="0">
                  <a:pos x="43" y="19"/>
                </a:cxn>
                <a:cxn ang="0">
                  <a:pos x="40" y="10"/>
                </a:cxn>
                <a:cxn ang="0">
                  <a:pos x="34" y="0"/>
                </a:cxn>
                <a:cxn ang="0">
                  <a:pos x="24" y="10"/>
                </a:cxn>
                <a:cxn ang="0">
                  <a:pos x="19" y="15"/>
                </a:cxn>
              </a:cxnLst>
              <a:rect l="0" t="0" r="r" b="b"/>
              <a:pathLst>
                <a:path w="107" h="93">
                  <a:moveTo>
                    <a:pt x="19" y="15"/>
                  </a:moveTo>
                  <a:lnTo>
                    <a:pt x="19" y="15"/>
                  </a:lnTo>
                  <a:lnTo>
                    <a:pt x="13" y="19"/>
                  </a:lnTo>
                  <a:lnTo>
                    <a:pt x="10" y="22"/>
                  </a:lnTo>
                  <a:lnTo>
                    <a:pt x="9" y="25"/>
                  </a:lnTo>
                  <a:lnTo>
                    <a:pt x="9" y="25"/>
                  </a:lnTo>
                  <a:lnTo>
                    <a:pt x="10" y="28"/>
                  </a:lnTo>
                  <a:lnTo>
                    <a:pt x="9" y="32"/>
                  </a:lnTo>
                  <a:lnTo>
                    <a:pt x="3" y="40"/>
                  </a:lnTo>
                  <a:lnTo>
                    <a:pt x="3" y="40"/>
                  </a:lnTo>
                  <a:lnTo>
                    <a:pt x="2" y="45"/>
                  </a:lnTo>
                  <a:lnTo>
                    <a:pt x="0" y="50"/>
                  </a:lnTo>
                  <a:lnTo>
                    <a:pt x="3" y="62"/>
                  </a:lnTo>
                  <a:lnTo>
                    <a:pt x="3" y="62"/>
                  </a:lnTo>
                  <a:lnTo>
                    <a:pt x="12" y="62"/>
                  </a:lnTo>
                  <a:lnTo>
                    <a:pt x="16" y="63"/>
                  </a:lnTo>
                  <a:lnTo>
                    <a:pt x="16" y="63"/>
                  </a:lnTo>
                  <a:lnTo>
                    <a:pt x="17" y="63"/>
                  </a:lnTo>
                  <a:lnTo>
                    <a:pt x="19" y="63"/>
                  </a:lnTo>
                  <a:lnTo>
                    <a:pt x="21" y="57"/>
                  </a:lnTo>
                  <a:lnTo>
                    <a:pt x="21" y="57"/>
                  </a:lnTo>
                  <a:lnTo>
                    <a:pt x="23" y="55"/>
                  </a:lnTo>
                  <a:lnTo>
                    <a:pt x="24" y="53"/>
                  </a:lnTo>
                  <a:lnTo>
                    <a:pt x="26" y="55"/>
                  </a:lnTo>
                  <a:lnTo>
                    <a:pt x="29" y="56"/>
                  </a:lnTo>
                  <a:lnTo>
                    <a:pt x="29" y="56"/>
                  </a:lnTo>
                  <a:lnTo>
                    <a:pt x="33" y="59"/>
                  </a:lnTo>
                  <a:lnTo>
                    <a:pt x="36" y="60"/>
                  </a:lnTo>
                  <a:lnTo>
                    <a:pt x="39" y="59"/>
                  </a:lnTo>
                  <a:lnTo>
                    <a:pt x="39" y="59"/>
                  </a:lnTo>
                  <a:lnTo>
                    <a:pt x="43" y="59"/>
                  </a:lnTo>
                  <a:lnTo>
                    <a:pt x="46" y="59"/>
                  </a:lnTo>
                  <a:lnTo>
                    <a:pt x="46" y="59"/>
                  </a:lnTo>
                  <a:lnTo>
                    <a:pt x="53" y="60"/>
                  </a:lnTo>
                  <a:lnTo>
                    <a:pt x="61" y="59"/>
                  </a:lnTo>
                  <a:lnTo>
                    <a:pt x="61" y="59"/>
                  </a:lnTo>
                  <a:lnTo>
                    <a:pt x="68" y="65"/>
                  </a:lnTo>
                  <a:lnTo>
                    <a:pt x="80" y="76"/>
                  </a:lnTo>
                  <a:lnTo>
                    <a:pt x="95" y="93"/>
                  </a:lnTo>
                  <a:lnTo>
                    <a:pt x="95" y="93"/>
                  </a:lnTo>
                  <a:lnTo>
                    <a:pt x="95" y="93"/>
                  </a:lnTo>
                  <a:lnTo>
                    <a:pt x="95" y="93"/>
                  </a:lnTo>
                  <a:lnTo>
                    <a:pt x="100" y="93"/>
                  </a:lnTo>
                  <a:lnTo>
                    <a:pt x="103" y="93"/>
                  </a:lnTo>
                  <a:lnTo>
                    <a:pt x="103" y="93"/>
                  </a:lnTo>
                  <a:lnTo>
                    <a:pt x="107" y="89"/>
                  </a:lnTo>
                  <a:lnTo>
                    <a:pt x="107" y="89"/>
                  </a:lnTo>
                  <a:lnTo>
                    <a:pt x="100" y="82"/>
                  </a:lnTo>
                  <a:lnTo>
                    <a:pt x="90" y="70"/>
                  </a:lnTo>
                  <a:lnTo>
                    <a:pt x="90" y="70"/>
                  </a:lnTo>
                  <a:lnTo>
                    <a:pt x="83" y="63"/>
                  </a:lnTo>
                  <a:lnTo>
                    <a:pt x="76" y="57"/>
                  </a:lnTo>
                  <a:lnTo>
                    <a:pt x="70" y="53"/>
                  </a:lnTo>
                  <a:lnTo>
                    <a:pt x="64" y="53"/>
                  </a:lnTo>
                  <a:lnTo>
                    <a:pt x="64" y="53"/>
                  </a:lnTo>
                  <a:lnTo>
                    <a:pt x="63" y="52"/>
                  </a:lnTo>
                  <a:lnTo>
                    <a:pt x="61" y="52"/>
                  </a:lnTo>
                  <a:lnTo>
                    <a:pt x="58" y="47"/>
                  </a:lnTo>
                  <a:lnTo>
                    <a:pt x="57" y="45"/>
                  </a:lnTo>
                  <a:lnTo>
                    <a:pt x="54" y="42"/>
                  </a:lnTo>
                  <a:lnTo>
                    <a:pt x="54" y="42"/>
                  </a:lnTo>
                  <a:lnTo>
                    <a:pt x="51" y="40"/>
                  </a:lnTo>
                  <a:lnTo>
                    <a:pt x="47" y="33"/>
                  </a:lnTo>
                  <a:lnTo>
                    <a:pt x="44" y="26"/>
                  </a:lnTo>
                  <a:lnTo>
                    <a:pt x="43" y="19"/>
                  </a:lnTo>
                  <a:lnTo>
                    <a:pt x="43" y="19"/>
                  </a:lnTo>
                  <a:lnTo>
                    <a:pt x="41" y="15"/>
                  </a:lnTo>
                  <a:lnTo>
                    <a:pt x="40" y="10"/>
                  </a:lnTo>
                  <a:lnTo>
                    <a:pt x="34" y="0"/>
                  </a:lnTo>
                  <a:lnTo>
                    <a:pt x="34" y="0"/>
                  </a:lnTo>
                  <a:lnTo>
                    <a:pt x="29" y="6"/>
                  </a:lnTo>
                  <a:lnTo>
                    <a:pt x="24" y="10"/>
                  </a:lnTo>
                  <a:lnTo>
                    <a:pt x="19" y="15"/>
                  </a:lnTo>
                  <a:lnTo>
                    <a:pt x="19" y="1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4" name="Freeform 230">
              <a:extLst>
                <a:ext uri="{FF2B5EF4-FFF2-40B4-BE49-F238E27FC236}">
                  <a16:creationId xmlns:a16="http://schemas.microsoft.com/office/drawing/2014/main" id="{57745B57-F2D0-4E49-A8AD-FFCE2E3A3489}"/>
                </a:ext>
              </a:extLst>
            </p:cNvPr>
            <p:cNvSpPr>
              <a:spLocks/>
            </p:cNvSpPr>
            <p:nvPr/>
          </p:nvSpPr>
          <p:spPr bwMode="auto">
            <a:xfrm>
              <a:off x="5091404" y="3951632"/>
              <a:ext cx="350709" cy="275240"/>
            </a:xfrm>
            <a:custGeom>
              <a:avLst/>
              <a:gdLst/>
              <a:ahLst/>
              <a:cxnLst>
                <a:cxn ang="0">
                  <a:pos x="17" y="127"/>
                </a:cxn>
                <a:cxn ang="0">
                  <a:pos x="28" y="141"/>
                </a:cxn>
                <a:cxn ang="0">
                  <a:pos x="35" y="150"/>
                </a:cxn>
                <a:cxn ang="0">
                  <a:pos x="44" y="152"/>
                </a:cxn>
                <a:cxn ang="0">
                  <a:pos x="44" y="167"/>
                </a:cxn>
                <a:cxn ang="0">
                  <a:pos x="48" y="169"/>
                </a:cxn>
                <a:cxn ang="0">
                  <a:pos x="65" y="172"/>
                </a:cxn>
                <a:cxn ang="0">
                  <a:pos x="79" y="182"/>
                </a:cxn>
                <a:cxn ang="0">
                  <a:pos x="94" y="184"/>
                </a:cxn>
                <a:cxn ang="0">
                  <a:pos x="104" y="185"/>
                </a:cxn>
                <a:cxn ang="0">
                  <a:pos x="112" y="178"/>
                </a:cxn>
                <a:cxn ang="0">
                  <a:pos x="125" y="174"/>
                </a:cxn>
                <a:cxn ang="0">
                  <a:pos x="129" y="178"/>
                </a:cxn>
                <a:cxn ang="0">
                  <a:pos x="135" y="178"/>
                </a:cxn>
                <a:cxn ang="0">
                  <a:pos x="155" y="174"/>
                </a:cxn>
                <a:cxn ang="0">
                  <a:pos x="163" y="168"/>
                </a:cxn>
                <a:cxn ang="0">
                  <a:pos x="176" y="162"/>
                </a:cxn>
                <a:cxn ang="0">
                  <a:pos x="190" y="162"/>
                </a:cxn>
                <a:cxn ang="0">
                  <a:pos x="237" y="117"/>
                </a:cxn>
                <a:cxn ang="0">
                  <a:pos x="236" y="114"/>
                </a:cxn>
                <a:cxn ang="0">
                  <a:pos x="223" y="113"/>
                </a:cxn>
                <a:cxn ang="0">
                  <a:pos x="190" y="101"/>
                </a:cxn>
                <a:cxn ang="0">
                  <a:pos x="175" y="95"/>
                </a:cxn>
                <a:cxn ang="0">
                  <a:pos x="166" y="87"/>
                </a:cxn>
                <a:cxn ang="0">
                  <a:pos x="156" y="73"/>
                </a:cxn>
                <a:cxn ang="0">
                  <a:pos x="159" y="67"/>
                </a:cxn>
                <a:cxn ang="0">
                  <a:pos x="152" y="63"/>
                </a:cxn>
                <a:cxn ang="0">
                  <a:pos x="146" y="66"/>
                </a:cxn>
                <a:cxn ang="0">
                  <a:pos x="142" y="64"/>
                </a:cxn>
                <a:cxn ang="0">
                  <a:pos x="142" y="51"/>
                </a:cxn>
                <a:cxn ang="0">
                  <a:pos x="150" y="40"/>
                </a:cxn>
                <a:cxn ang="0">
                  <a:pos x="123" y="12"/>
                </a:cxn>
                <a:cxn ang="0">
                  <a:pos x="108" y="7"/>
                </a:cxn>
                <a:cxn ang="0">
                  <a:pos x="98" y="6"/>
                </a:cxn>
                <a:cxn ang="0">
                  <a:pos x="91" y="7"/>
                </a:cxn>
                <a:cxn ang="0">
                  <a:pos x="84" y="3"/>
                </a:cxn>
                <a:cxn ang="0">
                  <a:pos x="78" y="2"/>
                </a:cxn>
                <a:cxn ang="0">
                  <a:pos x="74" y="10"/>
                </a:cxn>
                <a:cxn ang="0">
                  <a:pos x="71" y="10"/>
                </a:cxn>
                <a:cxn ang="0">
                  <a:pos x="58" y="9"/>
                </a:cxn>
                <a:cxn ang="0">
                  <a:pos x="57" y="14"/>
                </a:cxn>
                <a:cxn ang="0">
                  <a:pos x="51" y="27"/>
                </a:cxn>
                <a:cxn ang="0">
                  <a:pos x="49" y="33"/>
                </a:cxn>
                <a:cxn ang="0">
                  <a:pos x="45" y="36"/>
                </a:cxn>
                <a:cxn ang="0">
                  <a:pos x="35" y="47"/>
                </a:cxn>
                <a:cxn ang="0">
                  <a:pos x="32" y="56"/>
                </a:cxn>
                <a:cxn ang="0">
                  <a:pos x="30" y="63"/>
                </a:cxn>
                <a:cxn ang="0">
                  <a:pos x="22" y="70"/>
                </a:cxn>
                <a:cxn ang="0">
                  <a:pos x="24" y="73"/>
                </a:cxn>
                <a:cxn ang="0">
                  <a:pos x="18" y="85"/>
                </a:cxn>
                <a:cxn ang="0">
                  <a:pos x="15" y="103"/>
                </a:cxn>
                <a:cxn ang="0">
                  <a:pos x="5" y="104"/>
                </a:cxn>
                <a:cxn ang="0">
                  <a:pos x="3" y="105"/>
                </a:cxn>
                <a:cxn ang="0">
                  <a:pos x="0" y="113"/>
                </a:cxn>
                <a:cxn ang="0">
                  <a:pos x="3" y="117"/>
                </a:cxn>
                <a:cxn ang="0">
                  <a:pos x="15" y="122"/>
                </a:cxn>
              </a:cxnLst>
              <a:rect l="0" t="0" r="r" b="b"/>
              <a:pathLst>
                <a:path w="237" h="186">
                  <a:moveTo>
                    <a:pt x="15" y="122"/>
                  </a:moveTo>
                  <a:lnTo>
                    <a:pt x="15" y="122"/>
                  </a:lnTo>
                  <a:lnTo>
                    <a:pt x="17" y="127"/>
                  </a:lnTo>
                  <a:lnTo>
                    <a:pt x="21" y="131"/>
                  </a:lnTo>
                  <a:lnTo>
                    <a:pt x="25" y="135"/>
                  </a:lnTo>
                  <a:lnTo>
                    <a:pt x="28" y="141"/>
                  </a:lnTo>
                  <a:lnTo>
                    <a:pt x="28" y="141"/>
                  </a:lnTo>
                  <a:lnTo>
                    <a:pt x="32" y="147"/>
                  </a:lnTo>
                  <a:lnTo>
                    <a:pt x="35" y="150"/>
                  </a:lnTo>
                  <a:lnTo>
                    <a:pt x="39" y="152"/>
                  </a:lnTo>
                  <a:lnTo>
                    <a:pt x="44" y="152"/>
                  </a:lnTo>
                  <a:lnTo>
                    <a:pt x="44" y="152"/>
                  </a:lnTo>
                  <a:lnTo>
                    <a:pt x="45" y="154"/>
                  </a:lnTo>
                  <a:lnTo>
                    <a:pt x="45" y="157"/>
                  </a:lnTo>
                  <a:lnTo>
                    <a:pt x="44" y="167"/>
                  </a:lnTo>
                  <a:lnTo>
                    <a:pt x="44" y="167"/>
                  </a:lnTo>
                  <a:lnTo>
                    <a:pt x="48" y="169"/>
                  </a:lnTo>
                  <a:lnTo>
                    <a:pt x="48" y="169"/>
                  </a:lnTo>
                  <a:lnTo>
                    <a:pt x="57" y="169"/>
                  </a:lnTo>
                  <a:lnTo>
                    <a:pt x="61" y="171"/>
                  </a:lnTo>
                  <a:lnTo>
                    <a:pt x="65" y="172"/>
                  </a:lnTo>
                  <a:lnTo>
                    <a:pt x="65" y="172"/>
                  </a:lnTo>
                  <a:lnTo>
                    <a:pt x="74" y="179"/>
                  </a:lnTo>
                  <a:lnTo>
                    <a:pt x="79" y="182"/>
                  </a:lnTo>
                  <a:lnTo>
                    <a:pt x="84" y="182"/>
                  </a:lnTo>
                  <a:lnTo>
                    <a:pt x="84" y="182"/>
                  </a:lnTo>
                  <a:lnTo>
                    <a:pt x="94" y="184"/>
                  </a:lnTo>
                  <a:lnTo>
                    <a:pt x="102" y="186"/>
                  </a:lnTo>
                  <a:lnTo>
                    <a:pt x="102" y="186"/>
                  </a:lnTo>
                  <a:lnTo>
                    <a:pt x="104" y="185"/>
                  </a:lnTo>
                  <a:lnTo>
                    <a:pt x="106" y="184"/>
                  </a:lnTo>
                  <a:lnTo>
                    <a:pt x="109" y="181"/>
                  </a:lnTo>
                  <a:lnTo>
                    <a:pt x="112" y="178"/>
                  </a:lnTo>
                  <a:lnTo>
                    <a:pt x="112" y="178"/>
                  </a:lnTo>
                  <a:lnTo>
                    <a:pt x="121" y="174"/>
                  </a:lnTo>
                  <a:lnTo>
                    <a:pt x="125" y="174"/>
                  </a:lnTo>
                  <a:lnTo>
                    <a:pt x="126" y="175"/>
                  </a:lnTo>
                  <a:lnTo>
                    <a:pt x="126" y="175"/>
                  </a:lnTo>
                  <a:lnTo>
                    <a:pt x="129" y="178"/>
                  </a:lnTo>
                  <a:lnTo>
                    <a:pt x="132" y="178"/>
                  </a:lnTo>
                  <a:lnTo>
                    <a:pt x="135" y="178"/>
                  </a:lnTo>
                  <a:lnTo>
                    <a:pt x="135" y="178"/>
                  </a:lnTo>
                  <a:lnTo>
                    <a:pt x="142" y="175"/>
                  </a:lnTo>
                  <a:lnTo>
                    <a:pt x="142" y="175"/>
                  </a:lnTo>
                  <a:lnTo>
                    <a:pt x="155" y="174"/>
                  </a:lnTo>
                  <a:lnTo>
                    <a:pt x="155" y="174"/>
                  </a:lnTo>
                  <a:lnTo>
                    <a:pt x="158" y="172"/>
                  </a:lnTo>
                  <a:lnTo>
                    <a:pt x="163" y="168"/>
                  </a:lnTo>
                  <a:lnTo>
                    <a:pt x="169" y="164"/>
                  </a:lnTo>
                  <a:lnTo>
                    <a:pt x="172" y="164"/>
                  </a:lnTo>
                  <a:lnTo>
                    <a:pt x="176" y="162"/>
                  </a:lnTo>
                  <a:lnTo>
                    <a:pt x="176" y="162"/>
                  </a:lnTo>
                  <a:lnTo>
                    <a:pt x="187" y="162"/>
                  </a:lnTo>
                  <a:lnTo>
                    <a:pt x="190" y="162"/>
                  </a:lnTo>
                  <a:lnTo>
                    <a:pt x="195" y="159"/>
                  </a:lnTo>
                  <a:lnTo>
                    <a:pt x="195" y="159"/>
                  </a:lnTo>
                  <a:lnTo>
                    <a:pt x="237" y="117"/>
                  </a:lnTo>
                  <a:lnTo>
                    <a:pt x="237" y="117"/>
                  </a:lnTo>
                  <a:lnTo>
                    <a:pt x="237" y="115"/>
                  </a:lnTo>
                  <a:lnTo>
                    <a:pt x="236" y="114"/>
                  </a:lnTo>
                  <a:lnTo>
                    <a:pt x="232" y="113"/>
                  </a:lnTo>
                  <a:lnTo>
                    <a:pt x="232" y="113"/>
                  </a:lnTo>
                  <a:lnTo>
                    <a:pt x="223" y="113"/>
                  </a:lnTo>
                  <a:lnTo>
                    <a:pt x="209" y="108"/>
                  </a:lnTo>
                  <a:lnTo>
                    <a:pt x="209" y="108"/>
                  </a:lnTo>
                  <a:lnTo>
                    <a:pt x="190" y="101"/>
                  </a:lnTo>
                  <a:lnTo>
                    <a:pt x="176" y="97"/>
                  </a:lnTo>
                  <a:lnTo>
                    <a:pt x="176" y="97"/>
                  </a:lnTo>
                  <a:lnTo>
                    <a:pt x="175" y="95"/>
                  </a:lnTo>
                  <a:lnTo>
                    <a:pt x="172" y="93"/>
                  </a:lnTo>
                  <a:lnTo>
                    <a:pt x="166" y="87"/>
                  </a:lnTo>
                  <a:lnTo>
                    <a:pt x="166" y="87"/>
                  </a:lnTo>
                  <a:lnTo>
                    <a:pt x="163" y="84"/>
                  </a:lnTo>
                  <a:lnTo>
                    <a:pt x="160" y="81"/>
                  </a:lnTo>
                  <a:lnTo>
                    <a:pt x="156" y="73"/>
                  </a:lnTo>
                  <a:lnTo>
                    <a:pt x="156" y="73"/>
                  </a:lnTo>
                  <a:lnTo>
                    <a:pt x="156" y="70"/>
                  </a:lnTo>
                  <a:lnTo>
                    <a:pt x="159" y="67"/>
                  </a:lnTo>
                  <a:lnTo>
                    <a:pt x="159" y="67"/>
                  </a:lnTo>
                  <a:lnTo>
                    <a:pt x="155" y="64"/>
                  </a:lnTo>
                  <a:lnTo>
                    <a:pt x="152" y="63"/>
                  </a:lnTo>
                  <a:lnTo>
                    <a:pt x="150" y="64"/>
                  </a:lnTo>
                  <a:lnTo>
                    <a:pt x="150" y="64"/>
                  </a:lnTo>
                  <a:lnTo>
                    <a:pt x="146" y="66"/>
                  </a:lnTo>
                  <a:lnTo>
                    <a:pt x="143" y="66"/>
                  </a:lnTo>
                  <a:lnTo>
                    <a:pt x="142" y="64"/>
                  </a:lnTo>
                  <a:lnTo>
                    <a:pt x="142" y="64"/>
                  </a:lnTo>
                  <a:lnTo>
                    <a:pt x="140" y="58"/>
                  </a:lnTo>
                  <a:lnTo>
                    <a:pt x="140" y="54"/>
                  </a:lnTo>
                  <a:lnTo>
                    <a:pt x="142" y="51"/>
                  </a:lnTo>
                  <a:lnTo>
                    <a:pt x="142" y="51"/>
                  </a:lnTo>
                  <a:lnTo>
                    <a:pt x="148" y="44"/>
                  </a:lnTo>
                  <a:lnTo>
                    <a:pt x="150" y="40"/>
                  </a:lnTo>
                  <a:lnTo>
                    <a:pt x="150" y="40"/>
                  </a:lnTo>
                  <a:lnTo>
                    <a:pt x="135" y="23"/>
                  </a:lnTo>
                  <a:lnTo>
                    <a:pt x="123" y="12"/>
                  </a:lnTo>
                  <a:lnTo>
                    <a:pt x="116" y="6"/>
                  </a:lnTo>
                  <a:lnTo>
                    <a:pt x="116" y="6"/>
                  </a:lnTo>
                  <a:lnTo>
                    <a:pt x="108" y="7"/>
                  </a:lnTo>
                  <a:lnTo>
                    <a:pt x="101" y="6"/>
                  </a:lnTo>
                  <a:lnTo>
                    <a:pt x="101" y="6"/>
                  </a:lnTo>
                  <a:lnTo>
                    <a:pt x="98" y="6"/>
                  </a:lnTo>
                  <a:lnTo>
                    <a:pt x="94" y="6"/>
                  </a:lnTo>
                  <a:lnTo>
                    <a:pt x="94" y="6"/>
                  </a:lnTo>
                  <a:lnTo>
                    <a:pt x="91" y="7"/>
                  </a:lnTo>
                  <a:lnTo>
                    <a:pt x="88" y="6"/>
                  </a:lnTo>
                  <a:lnTo>
                    <a:pt x="84" y="3"/>
                  </a:lnTo>
                  <a:lnTo>
                    <a:pt x="84" y="3"/>
                  </a:lnTo>
                  <a:lnTo>
                    <a:pt x="81" y="2"/>
                  </a:lnTo>
                  <a:lnTo>
                    <a:pt x="79" y="0"/>
                  </a:lnTo>
                  <a:lnTo>
                    <a:pt x="78" y="2"/>
                  </a:lnTo>
                  <a:lnTo>
                    <a:pt x="76" y="4"/>
                  </a:lnTo>
                  <a:lnTo>
                    <a:pt x="76" y="4"/>
                  </a:lnTo>
                  <a:lnTo>
                    <a:pt x="74" y="10"/>
                  </a:lnTo>
                  <a:lnTo>
                    <a:pt x="72" y="10"/>
                  </a:lnTo>
                  <a:lnTo>
                    <a:pt x="71" y="10"/>
                  </a:lnTo>
                  <a:lnTo>
                    <a:pt x="71" y="10"/>
                  </a:lnTo>
                  <a:lnTo>
                    <a:pt x="67" y="9"/>
                  </a:lnTo>
                  <a:lnTo>
                    <a:pt x="58" y="9"/>
                  </a:lnTo>
                  <a:lnTo>
                    <a:pt x="58" y="9"/>
                  </a:lnTo>
                  <a:lnTo>
                    <a:pt x="58" y="9"/>
                  </a:lnTo>
                  <a:lnTo>
                    <a:pt x="58" y="9"/>
                  </a:lnTo>
                  <a:lnTo>
                    <a:pt x="57" y="14"/>
                  </a:lnTo>
                  <a:lnTo>
                    <a:pt x="55" y="20"/>
                  </a:lnTo>
                  <a:lnTo>
                    <a:pt x="52" y="24"/>
                  </a:lnTo>
                  <a:lnTo>
                    <a:pt x="51" y="27"/>
                  </a:lnTo>
                  <a:lnTo>
                    <a:pt x="51" y="27"/>
                  </a:lnTo>
                  <a:lnTo>
                    <a:pt x="51" y="30"/>
                  </a:lnTo>
                  <a:lnTo>
                    <a:pt x="49" y="33"/>
                  </a:lnTo>
                  <a:lnTo>
                    <a:pt x="47" y="36"/>
                  </a:lnTo>
                  <a:lnTo>
                    <a:pt x="45" y="36"/>
                  </a:lnTo>
                  <a:lnTo>
                    <a:pt x="45" y="36"/>
                  </a:lnTo>
                  <a:lnTo>
                    <a:pt x="42" y="37"/>
                  </a:lnTo>
                  <a:lnTo>
                    <a:pt x="39" y="40"/>
                  </a:lnTo>
                  <a:lnTo>
                    <a:pt x="35" y="47"/>
                  </a:lnTo>
                  <a:lnTo>
                    <a:pt x="35" y="47"/>
                  </a:lnTo>
                  <a:lnTo>
                    <a:pt x="32" y="51"/>
                  </a:lnTo>
                  <a:lnTo>
                    <a:pt x="32" y="56"/>
                  </a:lnTo>
                  <a:lnTo>
                    <a:pt x="31" y="60"/>
                  </a:lnTo>
                  <a:lnTo>
                    <a:pt x="30" y="63"/>
                  </a:lnTo>
                  <a:lnTo>
                    <a:pt x="30" y="63"/>
                  </a:lnTo>
                  <a:lnTo>
                    <a:pt x="24" y="67"/>
                  </a:lnTo>
                  <a:lnTo>
                    <a:pt x="22" y="68"/>
                  </a:lnTo>
                  <a:lnTo>
                    <a:pt x="22" y="70"/>
                  </a:lnTo>
                  <a:lnTo>
                    <a:pt x="22" y="70"/>
                  </a:lnTo>
                  <a:lnTo>
                    <a:pt x="24" y="71"/>
                  </a:lnTo>
                  <a:lnTo>
                    <a:pt x="24" y="73"/>
                  </a:lnTo>
                  <a:lnTo>
                    <a:pt x="21" y="77"/>
                  </a:lnTo>
                  <a:lnTo>
                    <a:pt x="20" y="81"/>
                  </a:lnTo>
                  <a:lnTo>
                    <a:pt x="18" y="85"/>
                  </a:lnTo>
                  <a:lnTo>
                    <a:pt x="18" y="85"/>
                  </a:lnTo>
                  <a:lnTo>
                    <a:pt x="17" y="95"/>
                  </a:lnTo>
                  <a:lnTo>
                    <a:pt x="15" y="103"/>
                  </a:lnTo>
                  <a:lnTo>
                    <a:pt x="15" y="103"/>
                  </a:lnTo>
                  <a:lnTo>
                    <a:pt x="10" y="103"/>
                  </a:lnTo>
                  <a:lnTo>
                    <a:pt x="5" y="104"/>
                  </a:lnTo>
                  <a:lnTo>
                    <a:pt x="4" y="104"/>
                  </a:lnTo>
                  <a:lnTo>
                    <a:pt x="3" y="105"/>
                  </a:lnTo>
                  <a:lnTo>
                    <a:pt x="3" y="105"/>
                  </a:lnTo>
                  <a:lnTo>
                    <a:pt x="3" y="110"/>
                  </a:lnTo>
                  <a:lnTo>
                    <a:pt x="1" y="111"/>
                  </a:lnTo>
                  <a:lnTo>
                    <a:pt x="0" y="113"/>
                  </a:lnTo>
                  <a:lnTo>
                    <a:pt x="0" y="115"/>
                  </a:lnTo>
                  <a:lnTo>
                    <a:pt x="0" y="115"/>
                  </a:lnTo>
                  <a:lnTo>
                    <a:pt x="3" y="117"/>
                  </a:lnTo>
                  <a:lnTo>
                    <a:pt x="7" y="118"/>
                  </a:lnTo>
                  <a:lnTo>
                    <a:pt x="12" y="120"/>
                  </a:lnTo>
                  <a:lnTo>
                    <a:pt x="15" y="122"/>
                  </a:lnTo>
                  <a:lnTo>
                    <a:pt x="15" y="12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5" name="Freeform 231">
              <a:extLst>
                <a:ext uri="{FF2B5EF4-FFF2-40B4-BE49-F238E27FC236}">
                  <a16:creationId xmlns:a16="http://schemas.microsoft.com/office/drawing/2014/main" id="{3460644E-C6BA-3E40-B477-1FA907118609}"/>
                </a:ext>
              </a:extLst>
            </p:cNvPr>
            <p:cNvSpPr>
              <a:spLocks/>
            </p:cNvSpPr>
            <p:nvPr/>
          </p:nvSpPr>
          <p:spPr bwMode="auto">
            <a:xfrm>
              <a:off x="5143197" y="3442586"/>
              <a:ext cx="34036" cy="44394"/>
            </a:xfrm>
            <a:custGeom>
              <a:avLst/>
              <a:gdLst/>
              <a:ahLst/>
              <a:cxnLst>
                <a:cxn ang="0">
                  <a:pos x="20" y="13"/>
                </a:cxn>
                <a:cxn ang="0">
                  <a:pos x="20" y="13"/>
                </a:cxn>
                <a:cxn ang="0">
                  <a:pos x="23" y="10"/>
                </a:cxn>
                <a:cxn ang="0">
                  <a:pos x="23" y="6"/>
                </a:cxn>
                <a:cxn ang="0">
                  <a:pos x="22" y="4"/>
                </a:cxn>
                <a:cxn ang="0">
                  <a:pos x="20" y="1"/>
                </a:cxn>
                <a:cxn ang="0">
                  <a:pos x="17" y="1"/>
                </a:cxn>
                <a:cxn ang="0">
                  <a:pos x="13" y="0"/>
                </a:cxn>
                <a:cxn ang="0">
                  <a:pos x="13" y="0"/>
                </a:cxn>
                <a:cxn ang="0">
                  <a:pos x="13" y="3"/>
                </a:cxn>
                <a:cxn ang="0">
                  <a:pos x="13" y="3"/>
                </a:cxn>
                <a:cxn ang="0">
                  <a:pos x="12" y="7"/>
                </a:cxn>
                <a:cxn ang="0">
                  <a:pos x="9" y="13"/>
                </a:cxn>
                <a:cxn ang="0">
                  <a:pos x="0" y="27"/>
                </a:cxn>
                <a:cxn ang="0">
                  <a:pos x="9" y="30"/>
                </a:cxn>
                <a:cxn ang="0">
                  <a:pos x="9" y="30"/>
                </a:cxn>
                <a:cxn ang="0">
                  <a:pos x="16" y="20"/>
                </a:cxn>
                <a:cxn ang="0">
                  <a:pos x="20" y="13"/>
                </a:cxn>
                <a:cxn ang="0">
                  <a:pos x="20" y="13"/>
                </a:cxn>
              </a:cxnLst>
              <a:rect l="0" t="0" r="r" b="b"/>
              <a:pathLst>
                <a:path w="23" h="30">
                  <a:moveTo>
                    <a:pt x="20" y="13"/>
                  </a:moveTo>
                  <a:lnTo>
                    <a:pt x="20" y="13"/>
                  </a:lnTo>
                  <a:lnTo>
                    <a:pt x="23" y="10"/>
                  </a:lnTo>
                  <a:lnTo>
                    <a:pt x="23" y="6"/>
                  </a:lnTo>
                  <a:lnTo>
                    <a:pt x="22" y="4"/>
                  </a:lnTo>
                  <a:lnTo>
                    <a:pt x="20" y="1"/>
                  </a:lnTo>
                  <a:lnTo>
                    <a:pt x="17" y="1"/>
                  </a:lnTo>
                  <a:lnTo>
                    <a:pt x="13" y="0"/>
                  </a:lnTo>
                  <a:lnTo>
                    <a:pt x="13" y="0"/>
                  </a:lnTo>
                  <a:lnTo>
                    <a:pt x="13" y="3"/>
                  </a:lnTo>
                  <a:lnTo>
                    <a:pt x="13" y="3"/>
                  </a:lnTo>
                  <a:lnTo>
                    <a:pt x="12" y="7"/>
                  </a:lnTo>
                  <a:lnTo>
                    <a:pt x="9" y="13"/>
                  </a:lnTo>
                  <a:lnTo>
                    <a:pt x="0" y="27"/>
                  </a:lnTo>
                  <a:lnTo>
                    <a:pt x="9" y="30"/>
                  </a:lnTo>
                  <a:lnTo>
                    <a:pt x="9" y="30"/>
                  </a:lnTo>
                  <a:lnTo>
                    <a:pt x="16" y="20"/>
                  </a:lnTo>
                  <a:lnTo>
                    <a:pt x="20" y="13"/>
                  </a:lnTo>
                  <a:lnTo>
                    <a:pt x="20" y="1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6" name="Freeform 232">
              <a:extLst>
                <a:ext uri="{FF2B5EF4-FFF2-40B4-BE49-F238E27FC236}">
                  <a16:creationId xmlns:a16="http://schemas.microsoft.com/office/drawing/2014/main" id="{D41A4471-70A4-784D-8939-CF828F6EA844}"/>
                </a:ext>
              </a:extLst>
            </p:cNvPr>
            <p:cNvSpPr>
              <a:spLocks/>
            </p:cNvSpPr>
            <p:nvPr/>
          </p:nvSpPr>
          <p:spPr bwMode="auto">
            <a:xfrm>
              <a:off x="5156515" y="3377476"/>
              <a:ext cx="161297" cy="130221"/>
            </a:xfrm>
            <a:custGeom>
              <a:avLst/>
              <a:gdLst/>
              <a:ahLst/>
              <a:cxnLst>
                <a:cxn ang="0">
                  <a:pos x="11" y="57"/>
                </a:cxn>
                <a:cxn ang="0">
                  <a:pos x="0" y="74"/>
                </a:cxn>
                <a:cxn ang="0">
                  <a:pos x="1" y="79"/>
                </a:cxn>
                <a:cxn ang="0">
                  <a:pos x="17" y="88"/>
                </a:cxn>
                <a:cxn ang="0">
                  <a:pos x="27" y="81"/>
                </a:cxn>
                <a:cxn ang="0">
                  <a:pos x="31" y="79"/>
                </a:cxn>
                <a:cxn ang="0">
                  <a:pos x="61" y="65"/>
                </a:cxn>
                <a:cxn ang="0">
                  <a:pos x="87" y="51"/>
                </a:cxn>
                <a:cxn ang="0">
                  <a:pos x="89" y="44"/>
                </a:cxn>
                <a:cxn ang="0">
                  <a:pos x="91" y="42"/>
                </a:cxn>
                <a:cxn ang="0">
                  <a:pos x="91" y="32"/>
                </a:cxn>
                <a:cxn ang="0">
                  <a:pos x="91" y="30"/>
                </a:cxn>
                <a:cxn ang="0">
                  <a:pos x="91" y="24"/>
                </a:cxn>
                <a:cxn ang="0">
                  <a:pos x="91" y="15"/>
                </a:cxn>
                <a:cxn ang="0">
                  <a:pos x="92" y="13"/>
                </a:cxn>
                <a:cxn ang="0">
                  <a:pos x="101" y="8"/>
                </a:cxn>
                <a:cxn ang="0">
                  <a:pos x="104" y="0"/>
                </a:cxn>
                <a:cxn ang="0">
                  <a:pos x="98" y="1"/>
                </a:cxn>
                <a:cxn ang="0">
                  <a:pos x="85" y="3"/>
                </a:cxn>
                <a:cxn ang="0">
                  <a:pos x="79" y="3"/>
                </a:cxn>
                <a:cxn ang="0">
                  <a:pos x="71" y="7"/>
                </a:cxn>
                <a:cxn ang="0">
                  <a:pos x="64" y="8"/>
                </a:cxn>
                <a:cxn ang="0">
                  <a:pos x="48" y="10"/>
                </a:cxn>
                <a:cxn ang="0">
                  <a:pos x="45" y="8"/>
                </a:cxn>
                <a:cxn ang="0">
                  <a:pos x="42" y="7"/>
                </a:cxn>
                <a:cxn ang="0">
                  <a:pos x="35" y="10"/>
                </a:cxn>
                <a:cxn ang="0">
                  <a:pos x="27" y="11"/>
                </a:cxn>
                <a:cxn ang="0">
                  <a:pos x="21" y="10"/>
                </a:cxn>
                <a:cxn ang="0">
                  <a:pos x="18" y="8"/>
                </a:cxn>
                <a:cxn ang="0">
                  <a:pos x="15" y="14"/>
                </a:cxn>
                <a:cxn ang="0">
                  <a:pos x="14" y="17"/>
                </a:cxn>
                <a:cxn ang="0">
                  <a:pos x="11" y="23"/>
                </a:cxn>
                <a:cxn ang="0">
                  <a:pos x="5" y="24"/>
                </a:cxn>
                <a:cxn ang="0">
                  <a:pos x="4" y="31"/>
                </a:cxn>
                <a:cxn ang="0">
                  <a:pos x="5" y="32"/>
                </a:cxn>
                <a:cxn ang="0">
                  <a:pos x="5" y="38"/>
                </a:cxn>
                <a:cxn ang="0">
                  <a:pos x="4" y="44"/>
                </a:cxn>
                <a:cxn ang="0">
                  <a:pos x="11" y="45"/>
                </a:cxn>
                <a:cxn ang="0">
                  <a:pos x="14" y="50"/>
                </a:cxn>
                <a:cxn ang="0">
                  <a:pos x="11" y="57"/>
                </a:cxn>
              </a:cxnLst>
              <a:rect l="0" t="0" r="r" b="b"/>
              <a:pathLst>
                <a:path w="109" h="88">
                  <a:moveTo>
                    <a:pt x="11" y="57"/>
                  </a:moveTo>
                  <a:lnTo>
                    <a:pt x="11" y="57"/>
                  </a:lnTo>
                  <a:lnTo>
                    <a:pt x="7" y="64"/>
                  </a:lnTo>
                  <a:lnTo>
                    <a:pt x="0" y="74"/>
                  </a:lnTo>
                  <a:lnTo>
                    <a:pt x="0" y="74"/>
                  </a:lnTo>
                  <a:lnTo>
                    <a:pt x="1" y="79"/>
                  </a:lnTo>
                  <a:lnTo>
                    <a:pt x="17" y="88"/>
                  </a:lnTo>
                  <a:lnTo>
                    <a:pt x="17" y="88"/>
                  </a:lnTo>
                  <a:lnTo>
                    <a:pt x="23" y="84"/>
                  </a:lnTo>
                  <a:lnTo>
                    <a:pt x="27" y="81"/>
                  </a:lnTo>
                  <a:lnTo>
                    <a:pt x="31" y="79"/>
                  </a:lnTo>
                  <a:lnTo>
                    <a:pt x="31" y="79"/>
                  </a:lnTo>
                  <a:lnTo>
                    <a:pt x="42" y="75"/>
                  </a:lnTo>
                  <a:lnTo>
                    <a:pt x="61" y="65"/>
                  </a:lnTo>
                  <a:lnTo>
                    <a:pt x="87" y="51"/>
                  </a:lnTo>
                  <a:lnTo>
                    <a:pt x="87" y="51"/>
                  </a:lnTo>
                  <a:lnTo>
                    <a:pt x="88" y="48"/>
                  </a:lnTo>
                  <a:lnTo>
                    <a:pt x="89" y="44"/>
                  </a:lnTo>
                  <a:lnTo>
                    <a:pt x="91" y="42"/>
                  </a:lnTo>
                  <a:lnTo>
                    <a:pt x="91" y="42"/>
                  </a:lnTo>
                  <a:lnTo>
                    <a:pt x="89" y="35"/>
                  </a:lnTo>
                  <a:lnTo>
                    <a:pt x="91" y="32"/>
                  </a:lnTo>
                  <a:lnTo>
                    <a:pt x="91" y="30"/>
                  </a:lnTo>
                  <a:lnTo>
                    <a:pt x="91" y="30"/>
                  </a:lnTo>
                  <a:lnTo>
                    <a:pt x="92" y="27"/>
                  </a:lnTo>
                  <a:lnTo>
                    <a:pt x="91" y="24"/>
                  </a:lnTo>
                  <a:lnTo>
                    <a:pt x="89" y="20"/>
                  </a:lnTo>
                  <a:lnTo>
                    <a:pt x="91" y="15"/>
                  </a:lnTo>
                  <a:lnTo>
                    <a:pt x="91" y="15"/>
                  </a:lnTo>
                  <a:lnTo>
                    <a:pt x="92" y="13"/>
                  </a:lnTo>
                  <a:lnTo>
                    <a:pt x="96" y="10"/>
                  </a:lnTo>
                  <a:lnTo>
                    <a:pt x="101" y="8"/>
                  </a:lnTo>
                  <a:lnTo>
                    <a:pt x="109" y="1"/>
                  </a:lnTo>
                  <a:lnTo>
                    <a:pt x="104" y="0"/>
                  </a:lnTo>
                  <a:lnTo>
                    <a:pt x="104" y="0"/>
                  </a:lnTo>
                  <a:lnTo>
                    <a:pt x="98" y="1"/>
                  </a:lnTo>
                  <a:lnTo>
                    <a:pt x="92" y="1"/>
                  </a:lnTo>
                  <a:lnTo>
                    <a:pt x="85" y="3"/>
                  </a:lnTo>
                  <a:lnTo>
                    <a:pt x="85" y="3"/>
                  </a:lnTo>
                  <a:lnTo>
                    <a:pt x="79" y="3"/>
                  </a:lnTo>
                  <a:lnTo>
                    <a:pt x="75" y="5"/>
                  </a:lnTo>
                  <a:lnTo>
                    <a:pt x="71" y="7"/>
                  </a:lnTo>
                  <a:lnTo>
                    <a:pt x="64" y="8"/>
                  </a:lnTo>
                  <a:lnTo>
                    <a:pt x="64" y="8"/>
                  </a:lnTo>
                  <a:lnTo>
                    <a:pt x="52" y="10"/>
                  </a:lnTo>
                  <a:lnTo>
                    <a:pt x="48" y="10"/>
                  </a:lnTo>
                  <a:lnTo>
                    <a:pt x="45" y="8"/>
                  </a:lnTo>
                  <a:lnTo>
                    <a:pt x="45" y="8"/>
                  </a:lnTo>
                  <a:lnTo>
                    <a:pt x="44" y="7"/>
                  </a:lnTo>
                  <a:lnTo>
                    <a:pt x="42" y="7"/>
                  </a:lnTo>
                  <a:lnTo>
                    <a:pt x="35" y="10"/>
                  </a:lnTo>
                  <a:lnTo>
                    <a:pt x="35" y="10"/>
                  </a:lnTo>
                  <a:lnTo>
                    <a:pt x="31" y="11"/>
                  </a:lnTo>
                  <a:lnTo>
                    <a:pt x="27" y="11"/>
                  </a:lnTo>
                  <a:lnTo>
                    <a:pt x="24" y="11"/>
                  </a:lnTo>
                  <a:lnTo>
                    <a:pt x="21" y="10"/>
                  </a:lnTo>
                  <a:lnTo>
                    <a:pt x="21" y="10"/>
                  </a:lnTo>
                  <a:lnTo>
                    <a:pt x="18" y="8"/>
                  </a:lnTo>
                  <a:lnTo>
                    <a:pt x="17" y="10"/>
                  </a:lnTo>
                  <a:lnTo>
                    <a:pt x="15" y="14"/>
                  </a:lnTo>
                  <a:lnTo>
                    <a:pt x="15" y="14"/>
                  </a:lnTo>
                  <a:lnTo>
                    <a:pt x="14" y="17"/>
                  </a:lnTo>
                  <a:lnTo>
                    <a:pt x="14" y="20"/>
                  </a:lnTo>
                  <a:lnTo>
                    <a:pt x="11" y="23"/>
                  </a:lnTo>
                  <a:lnTo>
                    <a:pt x="5" y="24"/>
                  </a:lnTo>
                  <a:lnTo>
                    <a:pt x="5" y="24"/>
                  </a:lnTo>
                  <a:lnTo>
                    <a:pt x="4" y="28"/>
                  </a:lnTo>
                  <a:lnTo>
                    <a:pt x="4" y="31"/>
                  </a:lnTo>
                  <a:lnTo>
                    <a:pt x="5" y="32"/>
                  </a:lnTo>
                  <a:lnTo>
                    <a:pt x="5" y="32"/>
                  </a:lnTo>
                  <a:lnTo>
                    <a:pt x="7" y="35"/>
                  </a:lnTo>
                  <a:lnTo>
                    <a:pt x="5" y="38"/>
                  </a:lnTo>
                  <a:lnTo>
                    <a:pt x="4" y="44"/>
                  </a:lnTo>
                  <a:lnTo>
                    <a:pt x="4" y="44"/>
                  </a:lnTo>
                  <a:lnTo>
                    <a:pt x="8" y="45"/>
                  </a:lnTo>
                  <a:lnTo>
                    <a:pt x="11" y="45"/>
                  </a:lnTo>
                  <a:lnTo>
                    <a:pt x="13" y="48"/>
                  </a:lnTo>
                  <a:lnTo>
                    <a:pt x="14" y="50"/>
                  </a:lnTo>
                  <a:lnTo>
                    <a:pt x="14" y="54"/>
                  </a:lnTo>
                  <a:lnTo>
                    <a:pt x="11" y="57"/>
                  </a:lnTo>
                  <a:lnTo>
                    <a:pt x="11" y="5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7" name="Freeform 237">
              <a:extLst>
                <a:ext uri="{FF2B5EF4-FFF2-40B4-BE49-F238E27FC236}">
                  <a16:creationId xmlns:a16="http://schemas.microsoft.com/office/drawing/2014/main" id="{18B24348-B914-7A44-A782-2F2481073B9D}"/>
                </a:ext>
              </a:extLst>
            </p:cNvPr>
            <p:cNvSpPr>
              <a:spLocks/>
            </p:cNvSpPr>
            <p:nvPr/>
          </p:nvSpPr>
          <p:spPr bwMode="auto">
            <a:xfrm>
              <a:off x="5141718" y="3503258"/>
              <a:ext cx="11838" cy="31076"/>
            </a:xfrm>
            <a:custGeom>
              <a:avLst/>
              <a:gdLst/>
              <a:ahLst/>
              <a:cxnLst>
                <a:cxn ang="0">
                  <a:pos x="4" y="0"/>
                </a:cxn>
                <a:cxn ang="0">
                  <a:pos x="4" y="0"/>
                </a:cxn>
                <a:cxn ang="0">
                  <a:pos x="3" y="2"/>
                </a:cxn>
                <a:cxn ang="0">
                  <a:pos x="1" y="6"/>
                </a:cxn>
                <a:cxn ang="0">
                  <a:pos x="0" y="12"/>
                </a:cxn>
                <a:cxn ang="0">
                  <a:pos x="0" y="12"/>
                </a:cxn>
                <a:cxn ang="0">
                  <a:pos x="1" y="16"/>
                </a:cxn>
                <a:cxn ang="0">
                  <a:pos x="7" y="21"/>
                </a:cxn>
                <a:cxn ang="0">
                  <a:pos x="7" y="21"/>
                </a:cxn>
                <a:cxn ang="0">
                  <a:pos x="8" y="3"/>
                </a:cxn>
                <a:cxn ang="0">
                  <a:pos x="8" y="3"/>
                </a:cxn>
                <a:cxn ang="0">
                  <a:pos x="8" y="0"/>
                </a:cxn>
                <a:cxn ang="0">
                  <a:pos x="8" y="0"/>
                </a:cxn>
                <a:cxn ang="0">
                  <a:pos x="4" y="0"/>
                </a:cxn>
                <a:cxn ang="0">
                  <a:pos x="4" y="0"/>
                </a:cxn>
              </a:cxnLst>
              <a:rect l="0" t="0" r="r" b="b"/>
              <a:pathLst>
                <a:path w="8" h="21">
                  <a:moveTo>
                    <a:pt x="4" y="0"/>
                  </a:moveTo>
                  <a:lnTo>
                    <a:pt x="4" y="0"/>
                  </a:lnTo>
                  <a:lnTo>
                    <a:pt x="3" y="2"/>
                  </a:lnTo>
                  <a:lnTo>
                    <a:pt x="1" y="6"/>
                  </a:lnTo>
                  <a:lnTo>
                    <a:pt x="0" y="12"/>
                  </a:lnTo>
                  <a:lnTo>
                    <a:pt x="0" y="12"/>
                  </a:lnTo>
                  <a:lnTo>
                    <a:pt x="1" y="16"/>
                  </a:lnTo>
                  <a:lnTo>
                    <a:pt x="7" y="21"/>
                  </a:lnTo>
                  <a:lnTo>
                    <a:pt x="7" y="21"/>
                  </a:lnTo>
                  <a:lnTo>
                    <a:pt x="8" y="3"/>
                  </a:lnTo>
                  <a:lnTo>
                    <a:pt x="8" y="3"/>
                  </a:lnTo>
                  <a:lnTo>
                    <a:pt x="8" y="0"/>
                  </a:lnTo>
                  <a:lnTo>
                    <a:pt x="8" y="0"/>
                  </a:lnTo>
                  <a:lnTo>
                    <a:pt x="4" y="0"/>
                  </a:lnTo>
                  <a:lnTo>
                    <a:pt x="4"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8" name="Freeform 238">
              <a:extLst>
                <a:ext uri="{FF2B5EF4-FFF2-40B4-BE49-F238E27FC236}">
                  <a16:creationId xmlns:a16="http://schemas.microsoft.com/office/drawing/2014/main" id="{2E5AD06E-0332-0F43-BE9C-FF29619A25E4}"/>
                </a:ext>
              </a:extLst>
            </p:cNvPr>
            <p:cNvSpPr>
              <a:spLocks/>
            </p:cNvSpPr>
            <p:nvPr/>
          </p:nvSpPr>
          <p:spPr bwMode="auto">
            <a:xfrm>
              <a:off x="5122480" y="3482541"/>
              <a:ext cx="34036" cy="99146"/>
            </a:xfrm>
            <a:custGeom>
              <a:avLst/>
              <a:gdLst/>
              <a:ahLst/>
              <a:cxnLst>
                <a:cxn ang="0">
                  <a:pos x="10" y="65"/>
                </a:cxn>
                <a:cxn ang="0">
                  <a:pos x="10" y="65"/>
                </a:cxn>
                <a:cxn ang="0">
                  <a:pos x="13" y="67"/>
                </a:cxn>
                <a:cxn ang="0">
                  <a:pos x="13" y="67"/>
                </a:cxn>
                <a:cxn ang="0">
                  <a:pos x="14" y="53"/>
                </a:cxn>
                <a:cxn ang="0">
                  <a:pos x="17" y="44"/>
                </a:cxn>
                <a:cxn ang="0">
                  <a:pos x="17" y="44"/>
                </a:cxn>
                <a:cxn ang="0">
                  <a:pos x="18" y="40"/>
                </a:cxn>
                <a:cxn ang="0">
                  <a:pos x="20" y="35"/>
                </a:cxn>
                <a:cxn ang="0">
                  <a:pos x="20" y="35"/>
                </a:cxn>
                <a:cxn ang="0">
                  <a:pos x="14" y="30"/>
                </a:cxn>
                <a:cxn ang="0">
                  <a:pos x="13" y="26"/>
                </a:cxn>
                <a:cxn ang="0">
                  <a:pos x="13" y="26"/>
                </a:cxn>
                <a:cxn ang="0">
                  <a:pos x="14" y="20"/>
                </a:cxn>
                <a:cxn ang="0">
                  <a:pos x="16" y="16"/>
                </a:cxn>
                <a:cxn ang="0">
                  <a:pos x="17" y="14"/>
                </a:cxn>
                <a:cxn ang="0">
                  <a:pos x="17" y="14"/>
                </a:cxn>
                <a:cxn ang="0">
                  <a:pos x="21" y="14"/>
                </a:cxn>
                <a:cxn ang="0">
                  <a:pos x="21" y="14"/>
                </a:cxn>
                <a:cxn ang="0">
                  <a:pos x="23" y="3"/>
                </a:cxn>
                <a:cxn ang="0">
                  <a:pos x="14" y="0"/>
                </a:cxn>
                <a:cxn ang="0">
                  <a:pos x="14" y="0"/>
                </a:cxn>
                <a:cxn ang="0">
                  <a:pos x="13" y="7"/>
                </a:cxn>
                <a:cxn ang="0">
                  <a:pos x="13" y="7"/>
                </a:cxn>
                <a:cxn ang="0">
                  <a:pos x="10" y="14"/>
                </a:cxn>
                <a:cxn ang="0">
                  <a:pos x="7" y="23"/>
                </a:cxn>
                <a:cxn ang="0">
                  <a:pos x="0" y="35"/>
                </a:cxn>
                <a:cxn ang="0">
                  <a:pos x="11" y="64"/>
                </a:cxn>
                <a:cxn ang="0">
                  <a:pos x="10" y="65"/>
                </a:cxn>
              </a:cxnLst>
              <a:rect l="0" t="0" r="r" b="b"/>
              <a:pathLst>
                <a:path w="23" h="67">
                  <a:moveTo>
                    <a:pt x="10" y="65"/>
                  </a:moveTo>
                  <a:lnTo>
                    <a:pt x="10" y="65"/>
                  </a:lnTo>
                  <a:lnTo>
                    <a:pt x="13" y="67"/>
                  </a:lnTo>
                  <a:lnTo>
                    <a:pt x="13" y="67"/>
                  </a:lnTo>
                  <a:lnTo>
                    <a:pt x="14" y="53"/>
                  </a:lnTo>
                  <a:lnTo>
                    <a:pt x="17" y="44"/>
                  </a:lnTo>
                  <a:lnTo>
                    <a:pt x="17" y="44"/>
                  </a:lnTo>
                  <a:lnTo>
                    <a:pt x="18" y="40"/>
                  </a:lnTo>
                  <a:lnTo>
                    <a:pt x="20" y="35"/>
                  </a:lnTo>
                  <a:lnTo>
                    <a:pt x="20" y="35"/>
                  </a:lnTo>
                  <a:lnTo>
                    <a:pt x="14" y="30"/>
                  </a:lnTo>
                  <a:lnTo>
                    <a:pt x="13" y="26"/>
                  </a:lnTo>
                  <a:lnTo>
                    <a:pt x="13" y="26"/>
                  </a:lnTo>
                  <a:lnTo>
                    <a:pt x="14" y="20"/>
                  </a:lnTo>
                  <a:lnTo>
                    <a:pt x="16" y="16"/>
                  </a:lnTo>
                  <a:lnTo>
                    <a:pt x="17" y="14"/>
                  </a:lnTo>
                  <a:lnTo>
                    <a:pt x="17" y="14"/>
                  </a:lnTo>
                  <a:lnTo>
                    <a:pt x="21" y="14"/>
                  </a:lnTo>
                  <a:lnTo>
                    <a:pt x="21" y="14"/>
                  </a:lnTo>
                  <a:lnTo>
                    <a:pt x="23" y="3"/>
                  </a:lnTo>
                  <a:lnTo>
                    <a:pt x="14" y="0"/>
                  </a:lnTo>
                  <a:lnTo>
                    <a:pt x="14" y="0"/>
                  </a:lnTo>
                  <a:lnTo>
                    <a:pt x="13" y="7"/>
                  </a:lnTo>
                  <a:lnTo>
                    <a:pt x="13" y="7"/>
                  </a:lnTo>
                  <a:lnTo>
                    <a:pt x="10" y="14"/>
                  </a:lnTo>
                  <a:lnTo>
                    <a:pt x="7" y="23"/>
                  </a:lnTo>
                  <a:lnTo>
                    <a:pt x="0" y="35"/>
                  </a:lnTo>
                  <a:lnTo>
                    <a:pt x="11" y="64"/>
                  </a:lnTo>
                  <a:lnTo>
                    <a:pt x="10" y="6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49" name="Freeform 239">
              <a:extLst>
                <a:ext uri="{FF2B5EF4-FFF2-40B4-BE49-F238E27FC236}">
                  <a16:creationId xmlns:a16="http://schemas.microsoft.com/office/drawing/2014/main" id="{8F930EDA-6C12-4545-AF41-BB8781967A90}"/>
                </a:ext>
              </a:extLst>
            </p:cNvPr>
            <p:cNvSpPr>
              <a:spLocks/>
            </p:cNvSpPr>
            <p:nvPr/>
          </p:nvSpPr>
          <p:spPr bwMode="auto">
            <a:xfrm>
              <a:off x="5141718" y="3479582"/>
              <a:ext cx="99146" cy="109504"/>
            </a:xfrm>
            <a:custGeom>
              <a:avLst/>
              <a:gdLst/>
              <a:ahLst/>
              <a:cxnLst>
                <a:cxn ang="0">
                  <a:pos x="62" y="0"/>
                </a:cxn>
                <a:cxn ang="0">
                  <a:pos x="62" y="0"/>
                </a:cxn>
                <a:cxn ang="0">
                  <a:pos x="41" y="10"/>
                </a:cxn>
                <a:cxn ang="0">
                  <a:pos x="41" y="10"/>
                </a:cxn>
                <a:cxn ang="0">
                  <a:pos x="37" y="12"/>
                </a:cxn>
                <a:cxn ang="0">
                  <a:pos x="33" y="15"/>
                </a:cxn>
                <a:cxn ang="0">
                  <a:pos x="27" y="19"/>
                </a:cxn>
                <a:cxn ang="0">
                  <a:pos x="11" y="10"/>
                </a:cxn>
                <a:cxn ang="0">
                  <a:pos x="10" y="5"/>
                </a:cxn>
                <a:cxn ang="0">
                  <a:pos x="10" y="5"/>
                </a:cxn>
                <a:cxn ang="0">
                  <a:pos x="10" y="5"/>
                </a:cxn>
                <a:cxn ang="0">
                  <a:pos x="8" y="19"/>
                </a:cxn>
                <a:cxn ang="0">
                  <a:pos x="8" y="19"/>
                </a:cxn>
                <a:cxn ang="0">
                  <a:pos x="7" y="32"/>
                </a:cxn>
                <a:cxn ang="0">
                  <a:pos x="5" y="40"/>
                </a:cxn>
                <a:cxn ang="0">
                  <a:pos x="4" y="46"/>
                </a:cxn>
                <a:cxn ang="0">
                  <a:pos x="4" y="46"/>
                </a:cxn>
                <a:cxn ang="0">
                  <a:pos x="1" y="55"/>
                </a:cxn>
                <a:cxn ang="0">
                  <a:pos x="0" y="69"/>
                </a:cxn>
                <a:cxn ang="0">
                  <a:pos x="0" y="69"/>
                </a:cxn>
                <a:cxn ang="0">
                  <a:pos x="7" y="73"/>
                </a:cxn>
                <a:cxn ang="0">
                  <a:pos x="14" y="74"/>
                </a:cxn>
                <a:cxn ang="0">
                  <a:pos x="14" y="74"/>
                </a:cxn>
                <a:cxn ang="0">
                  <a:pos x="18" y="74"/>
                </a:cxn>
                <a:cxn ang="0">
                  <a:pos x="23" y="72"/>
                </a:cxn>
                <a:cxn ang="0">
                  <a:pos x="25" y="69"/>
                </a:cxn>
                <a:cxn ang="0">
                  <a:pos x="27" y="66"/>
                </a:cxn>
                <a:cxn ang="0">
                  <a:pos x="27" y="66"/>
                </a:cxn>
                <a:cxn ang="0">
                  <a:pos x="27" y="63"/>
                </a:cxn>
                <a:cxn ang="0">
                  <a:pos x="30" y="62"/>
                </a:cxn>
                <a:cxn ang="0">
                  <a:pos x="37" y="60"/>
                </a:cxn>
                <a:cxn ang="0">
                  <a:pos x="37" y="60"/>
                </a:cxn>
                <a:cxn ang="0">
                  <a:pos x="40" y="60"/>
                </a:cxn>
                <a:cxn ang="0">
                  <a:pos x="41" y="57"/>
                </a:cxn>
                <a:cxn ang="0">
                  <a:pos x="44" y="56"/>
                </a:cxn>
                <a:cxn ang="0">
                  <a:pos x="45" y="53"/>
                </a:cxn>
                <a:cxn ang="0">
                  <a:pos x="45" y="53"/>
                </a:cxn>
                <a:cxn ang="0">
                  <a:pos x="47" y="52"/>
                </a:cxn>
                <a:cxn ang="0">
                  <a:pos x="45" y="50"/>
                </a:cxn>
                <a:cxn ang="0">
                  <a:pos x="42" y="46"/>
                </a:cxn>
                <a:cxn ang="0">
                  <a:pos x="38" y="42"/>
                </a:cxn>
                <a:cxn ang="0">
                  <a:pos x="34" y="39"/>
                </a:cxn>
                <a:cxn ang="0">
                  <a:pos x="34" y="39"/>
                </a:cxn>
                <a:cxn ang="0">
                  <a:pos x="33" y="39"/>
                </a:cxn>
                <a:cxn ang="0">
                  <a:pos x="33" y="37"/>
                </a:cxn>
                <a:cxn ang="0">
                  <a:pos x="35" y="35"/>
                </a:cxn>
                <a:cxn ang="0">
                  <a:pos x="41" y="30"/>
                </a:cxn>
                <a:cxn ang="0">
                  <a:pos x="50" y="29"/>
                </a:cxn>
                <a:cxn ang="0">
                  <a:pos x="50" y="29"/>
                </a:cxn>
                <a:cxn ang="0">
                  <a:pos x="57" y="28"/>
                </a:cxn>
                <a:cxn ang="0">
                  <a:pos x="60" y="26"/>
                </a:cxn>
                <a:cxn ang="0">
                  <a:pos x="62" y="25"/>
                </a:cxn>
                <a:cxn ang="0">
                  <a:pos x="67" y="25"/>
                </a:cxn>
                <a:cxn ang="0">
                  <a:pos x="67" y="25"/>
                </a:cxn>
                <a:cxn ang="0">
                  <a:pos x="67" y="25"/>
                </a:cxn>
                <a:cxn ang="0">
                  <a:pos x="67" y="25"/>
                </a:cxn>
                <a:cxn ang="0">
                  <a:pos x="64" y="9"/>
                </a:cxn>
                <a:cxn ang="0">
                  <a:pos x="64" y="9"/>
                </a:cxn>
                <a:cxn ang="0">
                  <a:pos x="62" y="0"/>
                </a:cxn>
                <a:cxn ang="0">
                  <a:pos x="62" y="0"/>
                </a:cxn>
              </a:cxnLst>
              <a:rect l="0" t="0" r="r" b="b"/>
              <a:pathLst>
                <a:path w="67" h="74">
                  <a:moveTo>
                    <a:pt x="62" y="0"/>
                  </a:moveTo>
                  <a:lnTo>
                    <a:pt x="62" y="0"/>
                  </a:lnTo>
                  <a:lnTo>
                    <a:pt x="41" y="10"/>
                  </a:lnTo>
                  <a:lnTo>
                    <a:pt x="41" y="10"/>
                  </a:lnTo>
                  <a:lnTo>
                    <a:pt x="37" y="12"/>
                  </a:lnTo>
                  <a:lnTo>
                    <a:pt x="33" y="15"/>
                  </a:lnTo>
                  <a:lnTo>
                    <a:pt x="27" y="19"/>
                  </a:lnTo>
                  <a:lnTo>
                    <a:pt x="11" y="10"/>
                  </a:lnTo>
                  <a:lnTo>
                    <a:pt x="10" y="5"/>
                  </a:lnTo>
                  <a:lnTo>
                    <a:pt x="10" y="5"/>
                  </a:lnTo>
                  <a:lnTo>
                    <a:pt x="10" y="5"/>
                  </a:lnTo>
                  <a:lnTo>
                    <a:pt x="8" y="19"/>
                  </a:lnTo>
                  <a:lnTo>
                    <a:pt x="8" y="19"/>
                  </a:lnTo>
                  <a:lnTo>
                    <a:pt x="7" y="32"/>
                  </a:lnTo>
                  <a:lnTo>
                    <a:pt x="5" y="40"/>
                  </a:lnTo>
                  <a:lnTo>
                    <a:pt x="4" y="46"/>
                  </a:lnTo>
                  <a:lnTo>
                    <a:pt x="4" y="46"/>
                  </a:lnTo>
                  <a:lnTo>
                    <a:pt x="1" y="55"/>
                  </a:lnTo>
                  <a:lnTo>
                    <a:pt x="0" y="69"/>
                  </a:lnTo>
                  <a:lnTo>
                    <a:pt x="0" y="69"/>
                  </a:lnTo>
                  <a:lnTo>
                    <a:pt x="7" y="73"/>
                  </a:lnTo>
                  <a:lnTo>
                    <a:pt x="14" y="74"/>
                  </a:lnTo>
                  <a:lnTo>
                    <a:pt x="14" y="74"/>
                  </a:lnTo>
                  <a:lnTo>
                    <a:pt x="18" y="74"/>
                  </a:lnTo>
                  <a:lnTo>
                    <a:pt x="23" y="72"/>
                  </a:lnTo>
                  <a:lnTo>
                    <a:pt x="25" y="69"/>
                  </a:lnTo>
                  <a:lnTo>
                    <a:pt x="27" y="66"/>
                  </a:lnTo>
                  <a:lnTo>
                    <a:pt x="27" y="66"/>
                  </a:lnTo>
                  <a:lnTo>
                    <a:pt x="27" y="63"/>
                  </a:lnTo>
                  <a:lnTo>
                    <a:pt x="30" y="62"/>
                  </a:lnTo>
                  <a:lnTo>
                    <a:pt x="37" y="60"/>
                  </a:lnTo>
                  <a:lnTo>
                    <a:pt x="37" y="60"/>
                  </a:lnTo>
                  <a:lnTo>
                    <a:pt x="40" y="60"/>
                  </a:lnTo>
                  <a:lnTo>
                    <a:pt x="41" y="57"/>
                  </a:lnTo>
                  <a:lnTo>
                    <a:pt x="44" y="56"/>
                  </a:lnTo>
                  <a:lnTo>
                    <a:pt x="45" y="53"/>
                  </a:lnTo>
                  <a:lnTo>
                    <a:pt x="45" y="53"/>
                  </a:lnTo>
                  <a:lnTo>
                    <a:pt x="47" y="52"/>
                  </a:lnTo>
                  <a:lnTo>
                    <a:pt x="45" y="50"/>
                  </a:lnTo>
                  <a:lnTo>
                    <a:pt x="42" y="46"/>
                  </a:lnTo>
                  <a:lnTo>
                    <a:pt x="38" y="42"/>
                  </a:lnTo>
                  <a:lnTo>
                    <a:pt x="34" y="39"/>
                  </a:lnTo>
                  <a:lnTo>
                    <a:pt x="34" y="39"/>
                  </a:lnTo>
                  <a:lnTo>
                    <a:pt x="33" y="39"/>
                  </a:lnTo>
                  <a:lnTo>
                    <a:pt x="33" y="37"/>
                  </a:lnTo>
                  <a:lnTo>
                    <a:pt x="35" y="35"/>
                  </a:lnTo>
                  <a:lnTo>
                    <a:pt x="41" y="30"/>
                  </a:lnTo>
                  <a:lnTo>
                    <a:pt x="50" y="29"/>
                  </a:lnTo>
                  <a:lnTo>
                    <a:pt x="50" y="29"/>
                  </a:lnTo>
                  <a:lnTo>
                    <a:pt x="57" y="28"/>
                  </a:lnTo>
                  <a:lnTo>
                    <a:pt x="60" y="26"/>
                  </a:lnTo>
                  <a:lnTo>
                    <a:pt x="62" y="25"/>
                  </a:lnTo>
                  <a:lnTo>
                    <a:pt x="67" y="25"/>
                  </a:lnTo>
                  <a:lnTo>
                    <a:pt x="67" y="25"/>
                  </a:lnTo>
                  <a:lnTo>
                    <a:pt x="67" y="25"/>
                  </a:lnTo>
                  <a:lnTo>
                    <a:pt x="67" y="25"/>
                  </a:lnTo>
                  <a:lnTo>
                    <a:pt x="64" y="9"/>
                  </a:lnTo>
                  <a:lnTo>
                    <a:pt x="64" y="9"/>
                  </a:lnTo>
                  <a:lnTo>
                    <a:pt x="62" y="0"/>
                  </a:lnTo>
                  <a:lnTo>
                    <a:pt x="6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0" name="Freeform 241">
              <a:extLst>
                <a:ext uri="{FF2B5EF4-FFF2-40B4-BE49-F238E27FC236}">
                  <a16:creationId xmlns:a16="http://schemas.microsoft.com/office/drawing/2014/main" id="{972BF733-0F8A-6B4C-9279-C6CC07379AEA}"/>
                </a:ext>
              </a:extLst>
            </p:cNvPr>
            <p:cNvSpPr>
              <a:spLocks/>
            </p:cNvSpPr>
            <p:nvPr/>
          </p:nvSpPr>
          <p:spPr bwMode="auto">
            <a:xfrm>
              <a:off x="5258620" y="3195463"/>
              <a:ext cx="161297" cy="73989"/>
            </a:xfrm>
            <a:custGeom>
              <a:avLst/>
              <a:gdLst/>
              <a:ahLst/>
              <a:cxnLst>
                <a:cxn ang="0">
                  <a:pos x="45" y="39"/>
                </a:cxn>
                <a:cxn ang="0">
                  <a:pos x="50" y="40"/>
                </a:cxn>
                <a:cxn ang="0">
                  <a:pos x="56" y="49"/>
                </a:cxn>
                <a:cxn ang="0">
                  <a:pos x="56" y="49"/>
                </a:cxn>
                <a:cxn ang="0">
                  <a:pos x="72" y="46"/>
                </a:cxn>
                <a:cxn ang="0">
                  <a:pos x="86" y="47"/>
                </a:cxn>
                <a:cxn ang="0">
                  <a:pos x="86" y="46"/>
                </a:cxn>
                <a:cxn ang="0">
                  <a:pos x="86" y="45"/>
                </a:cxn>
                <a:cxn ang="0">
                  <a:pos x="90" y="43"/>
                </a:cxn>
                <a:cxn ang="0">
                  <a:pos x="97" y="47"/>
                </a:cxn>
                <a:cxn ang="0">
                  <a:pos x="103" y="50"/>
                </a:cxn>
                <a:cxn ang="0">
                  <a:pos x="109" y="49"/>
                </a:cxn>
                <a:cxn ang="0">
                  <a:pos x="109" y="46"/>
                </a:cxn>
                <a:cxn ang="0">
                  <a:pos x="104" y="42"/>
                </a:cxn>
                <a:cxn ang="0">
                  <a:pos x="104" y="39"/>
                </a:cxn>
                <a:cxn ang="0">
                  <a:pos x="107" y="35"/>
                </a:cxn>
                <a:cxn ang="0">
                  <a:pos x="97" y="30"/>
                </a:cxn>
                <a:cxn ang="0">
                  <a:pos x="96" y="29"/>
                </a:cxn>
                <a:cxn ang="0">
                  <a:pos x="94" y="22"/>
                </a:cxn>
                <a:cxn ang="0">
                  <a:pos x="92" y="20"/>
                </a:cxn>
                <a:cxn ang="0">
                  <a:pos x="86" y="17"/>
                </a:cxn>
                <a:cxn ang="0">
                  <a:pos x="79" y="19"/>
                </a:cxn>
                <a:cxn ang="0">
                  <a:pos x="70" y="20"/>
                </a:cxn>
                <a:cxn ang="0">
                  <a:pos x="67" y="20"/>
                </a:cxn>
                <a:cxn ang="0">
                  <a:pos x="63" y="16"/>
                </a:cxn>
                <a:cxn ang="0">
                  <a:pos x="60" y="15"/>
                </a:cxn>
                <a:cxn ang="0">
                  <a:pos x="55" y="13"/>
                </a:cxn>
                <a:cxn ang="0">
                  <a:pos x="50" y="9"/>
                </a:cxn>
                <a:cxn ang="0">
                  <a:pos x="39" y="8"/>
                </a:cxn>
                <a:cxn ang="0">
                  <a:pos x="25" y="6"/>
                </a:cxn>
                <a:cxn ang="0">
                  <a:pos x="16" y="2"/>
                </a:cxn>
                <a:cxn ang="0">
                  <a:pos x="6" y="0"/>
                </a:cxn>
                <a:cxn ang="0">
                  <a:pos x="0" y="3"/>
                </a:cxn>
                <a:cxn ang="0">
                  <a:pos x="8" y="8"/>
                </a:cxn>
                <a:cxn ang="0">
                  <a:pos x="22" y="12"/>
                </a:cxn>
                <a:cxn ang="0">
                  <a:pos x="25" y="17"/>
                </a:cxn>
                <a:cxn ang="0">
                  <a:pos x="27" y="23"/>
                </a:cxn>
                <a:cxn ang="0">
                  <a:pos x="32" y="29"/>
                </a:cxn>
                <a:cxn ang="0">
                  <a:pos x="30" y="35"/>
                </a:cxn>
                <a:cxn ang="0">
                  <a:pos x="27" y="40"/>
                </a:cxn>
                <a:cxn ang="0">
                  <a:pos x="37" y="40"/>
                </a:cxn>
                <a:cxn ang="0">
                  <a:pos x="45" y="39"/>
                </a:cxn>
              </a:cxnLst>
              <a:rect l="0" t="0" r="r" b="b"/>
              <a:pathLst>
                <a:path w="109" h="50">
                  <a:moveTo>
                    <a:pt x="45" y="39"/>
                  </a:moveTo>
                  <a:lnTo>
                    <a:pt x="45" y="39"/>
                  </a:lnTo>
                  <a:lnTo>
                    <a:pt x="47" y="39"/>
                  </a:lnTo>
                  <a:lnTo>
                    <a:pt x="50" y="40"/>
                  </a:lnTo>
                  <a:lnTo>
                    <a:pt x="56" y="49"/>
                  </a:lnTo>
                  <a:lnTo>
                    <a:pt x="56" y="49"/>
                  </a:lnTo>
                  <a:lnTo>
                    <a:pt x="56" y="49"/>
                  </a:lnTo>
                  <a:lnTo>
                    <a:pt x="56" y="49"/>
                  </a:lnTo>
                  <a:lnTo>
                    <a:pt x="72" y="46"/>
                  </a:lnTo>
                  <a:lnTo>
                    <a:pt x="72" y="46"/>
                  </a:lnTo>
                  <a:lnTo>
                    <a:pt x="79" y="46"/>
                  </a:lnTo>
                  <a:lnTo>
                    <a:pt x="86" y="47"/>
                  </a:lnTo>
                  <a:lnTo>
                    <a:pt x="86" y="47"/>
                  </a:lnTo>
                  <a:lnTo>
                    <a:pt x="86" y="46"/>
                  </a:lnTo>
                  <a:lnTo>
                    <a:pt x="86" y="45"/>
                  </a:lnTo>
                  <a:lnTo>
                    <a:pt x="86" y="45"/>
                  </a:lnTo>
                  <a:lnTo>
                    <a:pt x="87" y="43"/>
                  </a:lnTo>
                  <a:lnTo>
                    <a:pt x="90" y="43"/>
                  </a:lnTo>
                  <a:lnTo>
                    <a:pt x="97" y="47"/>
                  </a:lnTo>
                  <a:lnTo>
                    <a:pt x="97" y="47"/>
                  </a:lnTo>
                  <a:lnTo>
                    <a:pt x="99" y="49"/>
                  </a:lnTo>
                  <a:lnTo>
                    <a:pt x="103" y="50"/>
                  </a:lnTo>
                  <a:lnTo>
                    <a:pt x="106" y="49"/>
                  </a:lnTo>
                  <a:lnTo>
                    <a:pt x="109" y="49"/>
                  </a:lnTo>
                  <a:lnTo>
                    <a:pt x="109" y="49"/>
                  </a:lnTo>
                  <a:lnTo>
                    <a:pt x="109" y="46"/>
                  </a:lnTo>
                  <a:lnTo>
                    <a:pt x="107" y="45"/>
                  </a:lnTo>
                  <a:lnTo>
                    <a:pt x="104" y="42"/>
                  </a:lnTo>
                  <a:lnTo>
                    <a:pt x="104" y="42"/>
                  </a:lnTo>
                  <a:lnTo>
                    <a:pt x="104" y="39"/>
                  </a:lnTo>
                  <a:lnTo>
                    <a:pt x="107" y="35"/>
                  </a:lnTo>
                  <a:lnTo>
                    <a:pt x="107" y="35"/>
                  </a:lnTo>
                  <a:lnTo>
                    <a:pt x="101" y="32"/>
                  </a:lnTo>
                  <a:lnTo>
                    <a:pt x="97" y="30"/>
                  </a:lnTo>
                  <a:lnTo>
                    <a:pt x="97" y="30"/>
                  </a:lnTo>
                  <a:lnTo>
                    <a:pt x="96" y="29"/>
                  </a:lnTo>
                  <a:lnTo>
                    <a:pt x="94" y="26"/>
                  </a:lnTo>
                  <a:lnTo>
                    <a:pt x="94" y="22"/>
                  </a:lnTo>
                  <a:lnTo>
                    <a:pt x="92" y="20"/>
                  </a:lnTo>
                  <a:lnTo>
                    <a:pt x="92" y="20"/>
                  </a:lnTo>
                  <a:lnTo>
                    <a:pt x="89" y="19"/>
                  </a:lnTo>
                  <a:lnTo>
                    <a:pt x="86" y="17"/>
                  </a:lnTo>
                  <a:lnTo>
                    <a:pt x="86" y="17"/>
                  </a:lnTo>
                  <a:lnTo>
                    <a:pt x="79" y="19"/>
                  </a:lnTo>
                  <a:lnTo>
                    <a:pt x="73" y="19"/>
                  </a:lnTo>
                  <a:lnTo>
                    <a:pt x="70" y="20"/>
                  </a:lnTo>
                  <a:lnTo>
                    <a:pt x="70" y="20"/>
                  </a:lnTo>
                  <a:lnTo>
                    <a:pt x="67" y="20"/>
                  </a:lnTo>
                  <a:lnTo>
                    <a:pt x="66" y="19"/>
                  </a:lnTo>
                  <a:lnTo>
                    <a:pt x="63" y="16"/>
                  </a:lnTo>
                  <a:lnTo>
                    <a:pt x="60" y="15"/>
                  </a:lnTo>
                  <a:lnTo>
                    <a:pt x="60" y="15"/>
                  </a:lnTo>
                  <a:lnTo>
                    <a:pt x="57" y="15"/>
                  </a:lnTo>
                  <a:lnTo>
                    <a:pt x="55" y="13"/>
                  </a:lnTo>
                  <a:lnTo>
                    <a:pt x="50" y="9"/>
                  </a:lnTo>
                  <a:lnTo>
                    <a:pt x="50" y="9"/>
                  </a:lnTo>
                  <a:lnTo>
                    <a:pt x="46" y="8"/>
                  </a:lnTo>
                  <a:lnTo>
                    <a:pt x="39" y="8"/>
                  </a:lnTo>
                  <a:lnTo>
                    <a:pt x="30" y="8"/>
                  </a:lnTo>
                  <a:lnTo>
                    <a:pt x="25" y="6"/>
                  </a:lnTo>
                  <a:lnTo>
                    <a:pt x="25" y="6"/>
                  </a:lnTo>
                  <a:lnTo>
                    <a:pt x="16" y="2"/>
                  </a:lnTo>
                  <a:lnTo>
                    <a:pt x="10" y="0"/>
                  </a:lnTo>
                  <a:lnTo>
                    <a:pt x="6" y="0"/>
                  </a:lnTo>
                  <a:lnTo>
                    <a:pt x="6" y="0"/>
                  </a:lnTo>
                  <a:lnTo>
                    <a:pt x="0" y="3"/>
                  </a:lnTo>
                  <a:lnTo>
                    <a:pt x="0" y="3"/>
                  </a:lnTo>
                  <a:lnTo>
                    <a:pt x="8" y="8"/>
                  </a:lnTo>
                  <a:lnTo>
                    <a:pt x="15" y="9"/>
                  </a:lnTo>
                  <a:lnTo>
                    <a:pt x="22" y="12"/>
                  </a:lnTo>
                  <a:lnTo>
                    <a:pt x="23" y="15"/>
                  </a:lnTo>
                  <a:lnTo>
                    <a:pt x="25" y="17"/>
                  </a:lnTo>
                  <a:lnTo>
                    <a:pt x="25" y="17"/>
                  </a:lnTo>
                  <a:lnTo>
                    <a:pt x="27" y="23"/>
                  </a:lnTo>
                  <a:lnTo>
                    <a:pt x="29" y="26"/>
                  </a:lnTo>
                  <a:lnTo>
                    <a:pt x="32" y="29"/>
                  </a:lnTo>
                  <a:lnTo>
                    <a:pt x="30" y="35"/>
                  </a:lnTo>
                  <a:lnTo>
                    <a:pt x="30" y="35"/>
                  </a:lnTo>
                  <a:lnTo>
                    <a:pt x="29" y="37"/>
                  </a:lnTo>
                  <a:lnTo>
                    <a:pt x="27" y="40"/>
                  </a:lnTo>
                  <a:lnTo>
                    <a:pt x="27" y="40"/>
                  </a:lnTo>
                  <a:lnTo>
                    <a:pt x="37" y="40"/>
                  </a:lnTo>
                  <a:lnTo>
                    <a:pt x="45" y="39"/>
                  </a:lnTo>
                  <a:lnTo>
                    <a:pt x="45" y="3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1" name="Freeform 242">
              <a:extLst>
                <a:ext uri="{FF2B5EF4-FFF2-40B4-BE49-F238E27FC236}">
                  <a16:creationId xmlns:a16="http://schemas.microsoft.com/office/drawing/2014/main" id="{5C247AC1-AD07-8544-A993-610D29A97EFB}"/>
                </a:ext>
              </a:extLst>
            </p:cNvPr>
            <p:cNvSpPr>
              <a:spLocks noEditPoints="1"/>
            </p:cNvSpPr>
            <p:nvPr/>
          </p:nvSpPr>
          <p:spPr bwMode="auto">
            <a:xfrm>
              <a:off x="4933067" y="3239857"/>
              <a:ext cx="442455" cy="173135"/>
            </a:xfrm>
            <a:custGeom>
              <a:avLst/>
              <a:gdLst/>
              <a:ahLst/>
              <a:cxnLst>
                <a:cxn ang="0">
                  <a:pos x="292" y="69"/>
                </a:cxn>
                <a:cxn ang="0">
                  <a:pos x="290" y="52"/>
                </a:cxn>
                <a:cxn ang="0">
                  <a:pos x="293" y="44"/>
                </a:cxn>
                <a:cxn ang="0">
                  <a:pos x="289" y="36"/>
                </a:cxn>
                <a:cxn ang="0">
                  <a:pos x="279" y="27"/>
                </a:cxn>
                <a:cxn ang="0">
                  <a:pos x="270" y="10"/>
                </a:cxn>
                <a:cxn ang="0">
                  <a:pos x="247" y="10"/>
                </a:cxn>
                <a:cxn ang="0">
                  <a:pos x="218" y="20"/>
                </a:cxn>
                <a:cxn ang="0">
                  <a:pos x="189" y="20"/>
                </a:cxn>
                <a:cxn ang="0">
                  <a:pos x="171" y="15"/>
                </a:cxn>
                <a:cxn ang="0">
                  <a:pos x="156" y="7"/>
                </a:cxn>
                <a:cxn ang="0">
                  <a:pos x="132" y="2"/>
                </a:cxn>
                <a:cxn ang="0">
                  <a:pos x="91" y="10"/>
                </a:cxn>
                <a:cxn ang="0">
                  <a:pos x="64" y="19"/>
                </a:cxn>
                <a:cxn ang="0">
                  <a:pos x="47" y="23"/>
                </a:cxn>
                <a:cxn ang="0">
                  <a:pos x="23" y="32"/>
                </a:cxn>
                <a:cxn ang="0">
                  <a:pos x="1" y="40"/>
                </a:cxn>
                <a:cxn ang="0">
                  <a:pos x="7" y="46"/>
                </a:cxn>
                <a:cxn ang="0">
                  <a:pos x="10" y="52"/>
                </a:cxn>
                <a:cxn ang="0">
                  <a:pos x="10" y="64"/>
                </a:cxn>
                <a:cxn ang="0">
                  <a:pos x="14" y="76"/>
                </a:cxn>
                <a:cxn ang="0">
                  <a:pos x="11" y="81"/>
                </a:cxn>
                <a:cxn ang="0">
                  <a:pos x="20" y="90"/>
                </a:cxn>
                <a:cxn ang="0">
                  <a:pos x="31" y="96"/>
                </a:cxn>
                <a:cxn ang="0">
                  <a:pos x="41" y="98"/>
                </a:cxn>
                <a:cxn ang="0">
                  <a:pos x="53" y="111"/>
                </a:cxn>
                <a:cxn ang="0">
                  <a:pos x="70" y="106"/>
                </a:cxn>
                <a:cxn ang="0">
                  <a:pos x="82" y="98"/>
                </a:cxn>
                <a:cxn ang="0">
                  <a:pos x="108" y="113"/>
                </a:cxn>
                <a:cxn ang="0">
                  <a:pos x="129" y="106"/>
                </a:cxn>
                <a:cxn ang="0">
                  <a:pos x="145" y="103"/>
                </a:cxn>
                <a:cxn ang="0">
                  <a:pos x="161" y="100"/>
                </a:cxn>
                <a:cxn ang="0">
                  <a:pos x="156" y="108"/>
                </a:cxn>
                <a:cxn ang="0">
                  <a:pos x="156" y="117"/>
                </a:cxn>
                <a:cxn ang="0">
                  <a:pos x="166" y="107"/>
                </a:cxn>
                <a:cxn ang="0">
                  <a:pos x="172" y="103"/>
                </a:cxn>
                <a:cxn ang="0">
                  <a:pos x="186" y="103"/>
                </a:cxn>
                <a:cxn ang="0">
                  <a:pos x="199" y="103"/>
                </a:cxn>
                <a:cxn ang="0">
                  <a:pos x="226" y="98"/>
                </a:cxn>
                <a:cxn ang="0">
                  <a:pos x="249" y="94"/>
                </a:cxn>
                <a:cxn ang="0">
                  <a:pos x="265" y="90"/>
                </a:cxn>
                <a:cxn ang="0">
                  <a:pos x="279" y="91"/>
                </a:cxn>
                <a:cxn ang="0">
                  <a:pos x="292" y="96"/>
                </a:cxn>
                <a:cxn ang="0">
                  <a:pos x="299" y="91"/>
                </a:cxn>
                <a:cxn ang="0">
                  <a:pos x="24" y="20"/>
                </a:cxn>
                <a:cxn ang="0">
                  <a:pos x="45" y="19"/>
                </a:cxn>
                <a:cxn ang="0">
                  <a:pos x="34" y="9"/>
                </a:cxn>
                <a:cxn ang="0">
                  <a:pos x="27" y="2"/>
                </a:cxn>
                <a:cxn ang="0">
                  <a:pos x="7" y="2"/>
                </a:cxn>
                <a:cxn ang="0">
                  <a:pos x="9" y="12"/>
                </a:cxn>
                <a:cxn ang="0">
                  <a:pos x="4" y="20"/>
                </a:cxn>
                <a:cxn ang="0">
                  <a:pos x="10" y="30"/>
                </a:cxn>
                <a:cxn ang="0">
                  <a:pos x="24" y="20"/>
                </a:cxn>
              </a:cxnLst>
              <a:rect l="0" t="0" r="r" b="b"/>
              <a:pathLst>
                <a:path w="299" h="117">
                  <a:moveTo>
                    <a:pt x="292" y="81"/>
                  </a:moveTo>
                  <a:lnTo>
                    <a:pt x="292" y="81"/>
                  </a:lnTo>
                  <a:lnTo>
                    <a:pt x="290" y="79"/>
                  </a:lnTo>
                  <a:lnTo>
                    <a:pt x="290" y="74"/>
                  </a:lnTo>
                  <a:lnTo>
                    <a:pt x="292" y="69"/>
                  </a:lnTo>
                  <a:lnTo>
                    <a:pt x="292" y="64"/>
                  </a:lnTo>
                  <a:lnTo>
                    <a:pt x="292" y="64"/>
                  </a:lnTo>
                  <a:lnTo>
                    <a:pt x="289" y="57"/>
                  </a:lnTo>
                  <a:lnTo>
                    <a:pt x="289" y="53"/>
                  </a:lnTo>
                  <a:lnTo>
                    <a:pt x="290" y="52"/>
                  </a:lnTo>
                  <a:lnTo>
                    <a:pt x="290" y="52"/>
                  </a:lnTo>
                  <a:lnTo>
                    <a:pt x="290" y="52"/>
                  </a:lnTo>
                  <a:lnTo>
                    <a:pt x="292" y="50"/>
                  </a:lnTo>
                  <a:lnTo>
                    <a:pt x="292" y="47"/>
                  </a:lnTo>
                  <a:lnTo>
                    <a:pt x="293" y="44"/>
                  </a:lnTo>
                  <a:lnTo>
                    <a:pt x="294" y="43"/>
                  </a:lnTo>
                  <a:lnTo>
                    <a:pt x="294" y="43"/>
                  </a:lnTo>
                  <a:lnTo>
                    <a:pt x="292" y="37"/>
                  </a:lnTo>
                  <a:lnTo>
                    <a:pt x="292" y="37"/>
                  </a:lnTo>
                  <a:lnTo>
                    <a:pt x="289" y="36"/>
                  </a:lnTo>
                  <a:lnTo>
                    <a:pt x="286" y="36"/>
                  </a:lnTo>
                  <a:lnTo>
                    <a:pt x="282" y="36"/>
                  </a:lnTo>
                  <a:lnTo>
                    <a:pt x="280" y="32"/>
                  </a:lnTo>
                  <a:lnTo>
                    <a:pt x="280" y="32"/>
                  </a:lnTo>
                  <a:lnTo>
                    <a:pt x="279" y="27"/>
                  </a:lnTo>
                  <a:lnTo>
                    <a:pt x="277" y="24"/>
                  </a:lnTo>
                  <a:lnTo>
                    <a:pt x="277" y="22"/>
                  </a:lnTo>
                  <a:lnTo>
                    <a:pt x="276" y="19"/>
                  </a:lnTo>
                  <a:lnTo>
                    <a:pt x="276" y="19"/>
                  </a:lnTo>
                  <a:lnTo>
                    <a:pt x="270" y="10"/>
                  </a:lnTo>
                  <a:lnTo>
                    <a:pt x="267" y="9"/>
                  </a:lnTo>
                  <a:lnTo>
                    <a:pt x="265" y="9"/>
                  </a:lnTo>
                  <a:lnTo>
                    <a:pt x="265" y="9"/>
                  </a:lnTo>
                  <a:lnTo>
                    <a:pt x="257" y="10"/>
                  </a:lnTo>
                  <a:lnTo>
                    <a:pt x="247" y="10"/>
                  </a:lnTo>
                  <a:lnTo>
                    <a:pt x="247" y="10"/>
                  </a:lnTo>
                  <a:lnTo>
                    <a:pt x="240" y="15"/>
                  </a:lnTo>
                  <a:lnTo>
                    <a:pt x="232" y="17"/>
                  </a:lnTo>
                  <a:lnTo>
                    <a:pt x="223" y="20"/>
                  </a:lnTo>
                  <a:lnTo>
                    <a:pt x="218" y="20"/>
                  </a:lnTo>
                  <a:lnTo>
                    <a:pt x="218" y="20"/>
                  </a:lnTo>
                  <a:lnTo>
                    <a:pt x="212" y="19"/>
                  </a:lnTo>
                  <a:lnTo>
                    <a:pt x="205" y="19"/>
                  </a:lnTo>
                  <a:lnTo>
                    <a:pt x="189" y="20"/>
                  </a:lnTo>
                  <a:lnTo>
                    <a:pt x="189" y="20"/>
                  </a:lnTo>
                  <a:lnTo>
                    <a:pt x="183" y="19"/>
                  </a:lnTo>
                  <a:lnTo>
                    <a:pt x="179" y="17"/>
                  </a:lnTo>
                  <a:lnTo>
                    <a:pt x="175" y="15"/>
                  </a:lnTo>
                  <a:lnTo>
                    <a:pt x="171" y="15"/>
                  </a:lnTo>
                  <a:lnTo>
                    <a:pt x="171" y="15"/>
                  </a:lnTo>
                  <a:lnTo>
                    <a:pt x="166" y="13"/>
                  </a:lnTo>
                  <a:lnTo>
                    <a:pt x="164" y="12"/>
                  </a:lnTo>
                  <a:lnTo>
                    <a:pt x="161" y="9"/>
                  </a:lnTo>
                  <a:lnTo>
                    <a:pt x="156" y="7"/>
                  </a:lnTo>
                  <a:lnTo>
                    <a:pt x="156" y="7"/>
                  </a:lnTo>
                  <a:lnTo>
                    <a:pt x="152" y="7"/>
                  </a:lnTo>
                  <a:lnTo>
                    <a:pt x="149" y="6"/>
                  </a:lnTo>
                  <a:lnTo>
                    <a:pt x="145" y="3"/>
                  </a:lnTo>
                  <a:lnTo>
                    <a:pt x="132" y="2"/>
                  </a:lnTo>
                  <a:lnTo>
                    <a:pt x="132" y="2"/>
                  </a:lnTo>
                  <a:lnTo>
                    <a:pt x="124" y="0"/>
                  </a:lnTo>
                  <a:lnTo>
                    <a:pt x="117" y="2"/>
                  </a:lnTo>
                  <a:lnTo>
                    <a:pt x="110" y="3"/>
                  </a:lnTo>
                  <a:lnTo>
                    <a:pt x="102" y="6"/>
                  </a:lnTo>
                  <a:lnTo>
                    <a:pt x="91" y="10"/>
                  </a:lnTo>
                  <a:lnTo>
                    <a:pt x="84" y="16"/>
                  </a:lnTo>
                  <a:lnTo>
                    <a:pt x="84" y="16"/>
                  </a:lnTo>
                  <a:lnTo>
                    <a:pt x="80" y="19"/>
                  </a:lnTo>
                  <a:lnTo>
                    <a:pt x="75" y="19"/>
                  </a:lnTo>
                  <a:lnTo>
                    <a:pt x="64" y="19"/>
                  </a:lnTo>
                  <a:lnTo>
                    <a:pt x="54" y="17"/>
                  </a:lnTo>
                  <a:lnTo>
                    <a:pt x="48" y="19"/>
                  </a:lnTo>
                  <a:lnTo>
                    <a:pt x="48" y="19"/>
                  </a:lnTo>
                  <a:lnTo>
                    <a:pt x="47" y="20"/>
                  </a:lnTo>
                  <a:lnTo>
                    <a:pt x="47" y="23"/>
                  </a:lnTo>
                  <a:lnTo>
                    <a:pt x="45" y="27"/>
                  </a:lnTo>
                  <a:lnTo>
                    <a:pt x="41" y="30"/>
                  </a:lnTo>
                  <a:lnTo>
                    <a:pt x="41" y="30"/>
                  </a:lnTo>
                  <a:lnTo>
                    <a:pt x="33" y="32"/>
                  </a:lnTo>
                  <a:lnTo>
                    <a:pt x="23" y="32"/>
                  </a:lnTo>
                  <a:lnTo>
                    <a:pt x="14" y="32"/>
                  </a:lnTo>
                  <a:lnTo>
                    <a:pt x="7" y="33"/>
                  </a:lnTo>
                  <a:lnTo>
                    <a:pt x="7" y="33"/>
                  </a:lnTo>
                  <a:lnTo>
                    <a:pt x="3" y="36"/>
                  </a:lnTo>
                  <a:lnTo>
                    <a:pt x="1" y="40"/>
                  </a:lnTo>
                  <a:lnTo>
                    <a:pt x="1" y="44"/>
                  </a:lnTo>
                  <a:lnTo>
                    <a:pt x="1" y="44"/>
                  </a:lnTo>
                  <a:lnTo>
                    <a:pt x="4" y="46"/>
                  </a:lnTo>
                  <a:lnTo>
                    <a:pt x="4" y="46"/>
                  </a:lnTo>
                  <a:lnTo>
                    <a:pt x="7" y="46"/>
                  </a:lnTo>
                  <a:lnTo>
                    <a:pt x="10" y="46"/>
                  </a:lnTo>
                  <a:lnTo>
                    <a:pt x="10" y="49"/>
                  </a:lnTo>
                  <a:lnTo>
                    <a:pt x="10" y="50"/>
                  </a:lnTo>
                  <a:lnTo>
                    <a:pt x="10" y="50"/>
                  </a:lnTo>
                  <a:lnTo>
                    <a:pt x="10" y="52"/>
                  </a:lnTo>
                  <a:lnTo>
                    <a:pt x="11" y="56"/>
                  </a:lnTo>
                  <a:lnTo>
                    <a:pt x="13" y="59"/>
                  </a:lnTo>
                  <a:lnTo>
                    <a:pt x="11" y="61"/>
                  </a:lnTo>
                  <a:lnTo>
                    <a:pt x="11" y="61"/>
                  </a:lnTo>
                  <a:lnTo>
                    <a:pt x="10" y="64"/>
                  </a:lnTo>
                  <a:lnTo>
                    <a:pt x="10" y="67"/>
                  </a:lnTo>
                  <a:lnTo>
                    <a:pt x="10" y="70"/>
                  </a:lnTo>
                  <a:lnTo>
                    <a:pt x="13" y="73"/>
                  </a:lnTo>
                  <a:lnTo>
                    <a:pt x="13" y="73"/>
                  </a:lnTo>
                  <a:lnTo>
                    <a:pt x="14" y="76"/>
                  </a:lnTo>
                  <a:lnTo>
                    <a:pt x="16" y="79"/>
                  </a:lnTo>
                  <a:lnTo>
                    <a:pt x="14" y="80"/>
                  </a:lnTo>
                  <a:lnTo>
                    <a:pt x="13" y="81"/>
                  </a:lnTo>
                  <a:lnTo>
                    <a:pt x="13" y="81"/>
                  </a:lnTo>
                  <a:lnTo>
                    <a:pt x="11" y="81"/>
                  </a:lnTo>
                  <a:lnTo>
                    <a:pt x="11" y="83"/>
                  </a:lnTo>
                  <a:lnTo>
                    <a:pt x="14" y="86"/>
                  </a:lnTo>
                  <a:lnTo>
                    <a:pt x="18" y="87"/>
                  </a:lnTo>
                  <a:lnTo>
                    <a:pt x="20" y="90"/>
                  </a:lnTo>
                  <a:lnTo>
                    <a:pt x="20" y="90"/>
                  </a:lnTo>
                  <a:lnTo>
                    <a:pt x="21" y="91"/>
                  </a:lnTo>
                  <a:lnTo>
                    <a:pt x="26" y="93"/>
                  </a:lnTo>
                  <a:lnTo>
                    <a:pt x="28" y="94"/>
                  </a:lnTo>
                  <a:lnTo>
                    <a:pt x="31" y="96"/>
                  </a:lnTo>
                  <a:lnTo>
                    <a:pt x="31" y="96"/>
                  </a:lnTo>
                  <a:lnTo>
                    <a:pt x="31" y="98"/>
                  </a:lnTo>
                  <a:lnTo>
                    <a:pt x="33" y="98"/>
                  </a:lnTo>
                  <a:lnTo>
                    <a:pt x="38" y="98"/>
                  </a:lnTo>
                  <a:lnTo>
                    <a:pt x="38" y="98"/>
                  </a:lnTo>
                  <a:lnTo>
                    <a:pt x="41" y="98"/>
                  </a:lnTo>
                  <a:lnTo>
                    <a:pt x="44" y="101"/>
                  </a:lnTo>
                  <a:lnTo>
                    <a:pt x="48" y="108"/>
                  </a:lnTo>
                  <a:lnTo>
                    <a:pt x="48" y="108"/>
                  </a:lnTo>
                  <a:lnTo>
                    <a:pt x="50" y="110"/>
                  </a:lnTo>
                  <a:lnTo>
                    <a:pt x="53" y="111"/>
                  </a:lnTo>
                  <a:lnTo>
                    <a:pt x="60" y="111"/>
                  </a:lnTo>
                  <a:lnTo>
                    <a:pt x="67" y="108"/>
                  </a:lnTo>
                  <a:lnTo>
                    <a:pt x="68" y="107"/>
                  </a:lnTo>
                  <a:lnTo>
                    <a:pt x="70" y="106"/>
                  </a:lnTo>
                  <a:lnTo>
                    <a:pt x="70" y="106"/>
                  </a:lnTo>
                  <a:lnTo>
                    <a:pt x="70" y="101"/>
                  </a:lnTo>
                  <a:lnTo>
                    <a:pt x="73" y="100"/>
                  </a:lnTo>
                  <a:lnTo>
                    <a:pt x="77" y="98"/>
                  </a:lnTo>
                  <a:lnTo>
                    <a:pt x="82" y="98"/>
                  </a:lnTo>
                  <a:lnTo>
                    <a:pt x="82" y="98"/>
                  </a:lnTo>
                  <a:lnTo>
                    <a:pt x="88" y="101"/>
                  </a:lnTo>
                  <a:lnTo>
                    <a:pt x="95" y="106"/>
                  </a:lnTo>
                  <a:lnTo>
                    <a:pt x="104" y="111"/>
                  </a:lnTo>
                  <a:lnTo>
                    <a:pt x="104" y="111"/>
                  </a:lnTo>
                  <a:lnTo>
                    <a:pt x="108" y="113"/>
                  </a:lnTo>
                  <a:lnTo>
                    <a:pt x="112" y="111"/>
                  </a:lnTo>
                  <a:lnTo>
                    <a:pt x="121" y="108"/>
                  </a:lnTo>
                  <a:lnTo>
                    <a:pt x="121" y="108"/>
                  </a:lnTo>
                  <a:lnTo>
                    <a:pt x="125" y="108"/>
                  </a:lnTo>
                  <a:lnTo>
                    <a:pt x="129" y="106"/>
                  </a:lnTo>
                  <a:lnTo>
                    <a:pt x="135" y="100"/>
                  </a:lnTo>
                  <a:lnTo>
                    <a:pt x="135" y="100"/>
                  </a:lnTo>
                  <a:lnTo>
                    <a:pt x="138" y="100"/>
                  </a:lnTo>
                  <a:lnTo>
                    <a:pt x="141" y="101"/>
                  </a:lnTo>
                  <a:lnTo>
                    <a:pt x="145" y="103"/>
                  </a:lnTo>
                  <a:lnTo>
                    <a:pt x="148" y="103"/>
                  </a:lnTo>
                  <a:lnTo>
                    <a:pt x="148" y="103"/>
                  </a:lnTo>
                  <a:lnTo>
                    <a:pt x="155" y="100"/>
                  </a:lnTo>
                  <a:lnTo>
                    <a:pt x="158" y="98"/>
                  </a:lnTo>
                  <a:lnTo>
                    <a:pt x="161" y="100"/>
                  </a:lnTo>
                  <a:lnTo>
                    <a:pt x="161" y="100"/>
                  </a:lnTo>
                  <a:lnTo>
                    <a:pt x="161" y="100"/>
                  </a:lnTo>
                  <a:lnTo>
                    <a:pt x="161" y="101"/>
                  </a:lnTo>
                  <a:lnTo>
                    <a:pt x="158" y="106"/>
                  </a:lnTo>
                  <a:lnTo>
                    <a:pt x="156" y="108"/>
                  </a:lnTo>
                  <a:lnTo>
                    <a:pt x="155" y="110"/>
                  </a:lnTo>
                  <a:lnTo>
                    <a:pt x="156" y="113"/>
                  </a:lnTo>
                  <a:lnTo>
                    <a:pt x="156" y="113"/>
                  </a:lnTo>
                  <a:lnTo>
                    <a:pt x="156" y="114"/>
                  </a:lnTo>
                  <a:lnTo>
                    <a:pt x="156" y="117"/>
                  </a:lnTo>
                  <a:lnTo>
                    <a:pt x="156" y="117"/>
                  </a:lnTo>
                  <a:lnTo>
                    <a:pt x="162" y="116"/>
                  </a:lnTo>
                  <a:lnTo>
                    <a:pt x="165" y="113"/>
                  </a:lnTo>
                  <a:lnTo>
                    <a:pt x="165" y="110"/>
                  </a:lnTo>
                  <a:lnTo>
                    <a:pt x="166" y="107"/>
                  </a:lnTo>
                  <a:lnTo>
                    <a:pt x="166" y="107"/>
                  </a:lnTo>
                  <a:lnTo>
                    <a:pt x="168" y="103"/>
                  </a:lnTo>
                  <a:lnTo>
                    <a:pt x="169" y="101"/>
                  </a:lnTo>
                  <a:lnTo>
                    <a:pt x="172" y="103"/>
                  </a:lnTo>
                  <a:lnTo>
                    <a:pt x="172" y="103"/>
                  </a:lnTo>
                  <a:lnTo>
                    <a:pt x="175" y="104"/>
                  </a:lnTo>
                  <a:lnTo>
                    <a:pt x="178" y="104"/>
                  </a:lnTo>
                  <a:lnTo>
                    <a:pt x="182" y="104"/>
                  </a:lnTo>
                  <a:lnTo>
                    <a:pt x="186" y="103"/>
                  </a:lnTo>
                  <a:lnTo>
                    <a:pt x="186" y="103"/>
                  </a:lnTo>
                  <a:lnTo>
                    <a:pt x="193" y="100"/>
                  </a:lnTo>
                  <a:lnTo>
                    <a:pt x="195" y="100"/>
                  </a:lnTo>
                  <a:lnTo>
                    <a:pt x="196" y="101"/>
                  </a:lnTo>
                  <a:lnTo>
                    <a:pt x="196" y="101"/>
                  </a:lnTo>
                  <a:lnTo>
                    <a:pt x="199" y="103"/>
                  </a:lnTo>
                  <a:lnTo>
                    <a:pt x="203" y="103"/>
                  </a:lnTo>
                  <a:lnTo>
                    <a:pt x="215" y="101"/>
                  </a:lnTo>
                  <a:lnTo>
                    <a:pt x="215" y="101"/>
                  </a:lnTo>
                  <a:lnTo>
                    <a:pt x="222" y="100"/>
                  </a:lnTo>
                  <a:lnTo>
                    <a:pt x="226" y="98"/>
                  </a:lnTo>
                  <a:lnTo>
                    <a:pt x="230" y="96"/>
                  </a:lnTo>
                  <a:lnTo>
                    <a:pt x="236" y="96"/>
                  </a:lnTo>
                  <a:lnTo>
                    <a:pt x="236" y="96"/>
                  </a:lnTo>
                  <a:lnTo>
                    <a:pt x="243" y="94"/>
                  </a:lnTo>
                  <a:lnTo>
                    <a:pt x="249" y="94"/>
                  </a:lnTo>
                  <a:lnTo>
                    <a:pt x="255" y="93"/>
                  </a:lnTo>
                  <a:lnTo>
                    <a:pt x="260" y="94"/>
                  </a:lnTo>
                  <a:lnTo>
                    <a:pt x="260" y="94"/>
                  </a:lnTo>
                  <a:lnTo>
                    <a:pt x="263" y="91"/>
                  </a:lnTo>
                  <a:lnTo>
                    <a:pt x="265" y="90"/>
                  </a:lnTo>
                  <a:lnTo>
                    <a:pt x="267" y="89"/>
                  </a:lnTo>
                  <a:lnTo>
                    <a:pt x="267" y="89"/>
                  </a:lnTo>
                  <a:lnTo>
                    <a:pt x="273" y="89"/>
                  </a:lnTo>
                  <a:lnTo>
                    <a:pt x="276" y="91"/>
                  </a:lnTo>
                  <a:lnTo>
                    <a:pt x="279" y="91"/>
                  </a:lnTo>
                  <a:lnTo>
                    <a:pt x="282" y="91"/>
                  </a:lnTo>
                  <a:lnTo>
                    <a:pt x="282" y="91"/>
                  </a:lnTo>
                  <a:lnTo>
                    <a:pt x="283" y="91"/>
                  </a:lnTo>
                  <a:lnTo>
                    <a:pt x="286" y="93"/>
                  </a:lnTo>
                  <a:lnTo>
                    <a:pt x="292" y="96"/>
                  </a:lnTo>
                  <a:lnTo>
                    <a:pt x="296" y="97"/>
                  </a:lnTo>
                  <a:lnTo>
                    <a:pt x="297" y="97"/>
                  </a:lnTo>
                  <a:lnTo>
                    <a:pt x="299" y="94"/>
                  </a:lnTo>
                  <a:lnTo>
                    <a:pt x="299" y="94"/>
                  </a:lnTo>
                  <a:lnTo>
                    <a:pt x="299" y="91"/>
                  </a:lnTo>
                  <a:lnTo>
                    <a:pt x="296" y="87"/>
                  </a:lnTo>
                  <a:lnTo>
                    <a:pt x="293" y="84"/>
                  </a:lnTo>
                  <a:lnTo>
                    <a:pt x="292" y="81"/>
                  </a:lnTo>
                  <a:lnTo>
                    <a:pt x="292" y="81"/>
                  </a:lnTo>
                  <a:close/>
                  <a:moveTo>
                    <a:pt x="24" y="20"/>
                  </a:moveTo>
                  <a:lnTo>
                    <a:pt x="24" y="20"/>
                  </a:lnTo>
                  <a:lnTo>
                    <a:pt x="30" y="20"/>
                  </a:lnTo>
                  <a:lnTo>
                    <a:pt x="36" y="20"/>
                  </a:lnTo>
                  <a:lnTo>
                    <a:pt x="41" y="20"/>
                  </a:lnTo>
                  <a:lnTo>
                    <a:pt x="45" y="19"/>
                  </a:lnTo>
                  <a:lnTo>
                    <a:pt x="45" y="19"/>
                  </a:lnTo>
                  <a:lnTo>
                    <a:pt x="47" y="17"/>
                  </a:lnTo>
                  <a:lnTo>
                    <a:pt x="45" y="16"/>
                  </a:lnTo>
                  <a:lnTo>
                    <a:pt x="43" y="13"/>
                  </a:lnTo>
                  <a:lnTo>
                    <a:pt x="34" y="9"/>
                  </a:lnTo>
                  <a:lnTo>
                    <a:pt x="34" y="9"/>
                  </a:lnTo>
                  <a:lnTo>
                    <a:pt x="31" y="5"/>
                  </a:lnTo>
                  <a:lnTo>
                    <a:pt x="30" y="0"/>
                  </a:lnTo>
                  <a:lnTo>
                    <a:pt x="30" y="0"/>
                  </a:lnTo>
                  <a:lnTo>
                    <a:pt x="27" y="2"/>
                  </a:lnTo>
                  <a:lnTo>
                    <a:pt x="23" y="2"/>
                  </a:lnTo>
                  <a:lnTo>
                    <a:pt x="23" y="2"/>
                  </a:lnTo>
                  <a:lnTo>
                    <a:pt x="18" y="0"/>
                  </a:lnTo>
                  <a:lnTo>
                    <a:pt x="14" y="0"/>
                  </a:lnTo>
                  <a:lnTo>
                    <a:pt x="7" y="2"/>
                  </a:lnTo>
                  <a:lnTo>
                    <a:pt x="7" y="2"/>
                  </a:lnTo>
                  <a:lnTo>
                    <a:pt x="6" y="3"/>
                  </a:lnTo>
                  <a:lnTo>
                    <a:pt x="7" y="6"/>
                  </a:lnTo>
                  <a:lnTo>
                    <a:pt x="9" y="12"/>
                  </a:lnTo>
                  <a:lnTo>
                    <a:pt x="9" y="12"/>
                  </a:lnTo>
                  <a:lnTo>
                    <a:pt x="7" y="15"/>
                  </a:lnTo>
                  <a:lnTo>
                    <a:pt x="6" y="16"/>
                  </a:lnTo>
                  <a:lnTo>
                    <a:pt x="4" y="17"/>
                  </a:lnTo>
                  <a:lnTo>
                    <a:pt x="4" y="20"/>
                  </a:lnTo>
                  <a:lnTo>
                    <a:pt x="4" y="20"/>
                  </a:lnTo>
                  <a:lnTo>
                    <a:pt x="3" y="23"/>
                  </a:lnTo>
                  <a:lnTo>
                    <a:pt x="0" y="26"/>
                  </a:lnTo>
                  <a:lnTo>
                    <a:pt x="0" y="26"/>
                  </a:lnTo>
                  <a:lnTo>
                    <a:pt x="4" y="29"/>
                  </a:lnTo>
                  <a:lnTo>
                    <a:pt x="10" y="30"/>
                  </a:lnTo>
                  <a:lnTo>
                    <a:pt x="10" y="30"/>
                  </a:lnTo>
                  <a:lnTo>
                    <a:pt x="14" y="29"/>
                  </a:lnTo>
                  <a:lnTo>
                    <a:pt x="17" y="26"/>
                  </a:lnTo>
                  <a:lnTo>
                    <a:pt x="20" y="23"/>
                  </a:lnTo>
                  <a:lnTo>
                    <a:pt x="24" y="20"/>
                  </a:lnTo>
                  <a:lnTo>
                    <a:pt x="24" y="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2" name="Freeform 252">
              <a:extLst>
                <a:ext uri="{FF2B5EF4-FFF2-40B4-BE49-F238E27FC236}">
                  <a16:creationId xmlns:a16="http://schemas.microsoft.com/office/drawing/2014/main" id="{89B8A16E-1AE2-4840-ABFC-4D1620E2648A}"/>
                </a:ext>
              </a:extLst>
            </p:cNvPr>
            <p:cNvSpPr>
              <a:spLocks/>
            </p:cNvSpPr>
            <p:nvPr/>
          </p:nvSpPr>
          <p:spPr bwMode="auto">
            <a:xfrm>
              <a:off x="4660787" y="2844753"/>
              <a:ext cx="226408" cy="184973"/>
            </a:xfrm>
            <a:custGeom>
              <a:avLst/>
              <a:gdLst/>
              <a:ahLst/>
              <a:cxnLst>
                <a:cxn ang="0">
                  <a:pos x="3" y="33"/>
                </a:cxn>
                <a:cxn ang="0">
                  <a:pos x="2" y="41"/>
                </a:cxn>
                <a:cxn ang="0">
                  <a:pos x="2" y="48"/>
                </a:cxn>
                <a:cxn ang="0">
                  <a:pos x="6" y="55"/>
                </a:cxn>
                <a:cxn ang="0">
                  <a:pos x="8" y="64"/>
                </a:cxn>
                <a:cxn ang="0">
                  <a:pos x="12" y="77"/>
                </a:cxn>
                <a:cxn ang="0">
                  <a:pos x="12" y="84"/>
                </a:cxn>
                <a:cxn ang="0">
                  <a:pos x="22" y="89"/>
                </a:cxn>
                <a:cxn ang="0">
                  <a:pos x="32" y="97"/>
                </a:cxn>
                <a:cxn ang="0">
                  <a:pos x="36" y="101"/>
                </a:cxn>
                <a:cxn ang="0">
                  <a:pos x="40" y="101"/>
                </a:cxn>
                <a:cxn ang="0">
                  <a:pos x="50" y="99"/>
                </a:cxn>
                <a:cxn ang="0">
                  <a:pos x="53" y="101"/>
                </a:cxn>
                <a:cxn ang="0">
                  <a:pos x="56" y="107"/>
                </a:cxn>
                <a:cxn ang="0">
                  <a:pos x="64" y="108"/>
                </a:cxn>
                <a:cxn ang="0">
                  <a:pos x="70" y="115"/>
                </a:cxn>
                <a:cxn ang="0">
                  <a:pos x="74" y="118"/>
                </a:cxn>
                <a:cxn ang="0">
                  <a:pos x="82" y="117"/>
                </a:cxn>
                <a:cxn ang="0">
                  <a:pos x="92" y="118"/>
                </a:cxn>
                <a:cxn ang="0">
                  <a:pos x="99" y="118"/>
                </a:cxn>
                <a:cxn ang="0">
                  <a:pos x="107" y="119"/>
                </a:cxn>
                <a:cxn ang="0">
                  <a:pos x="121" y="122"/>
                </a:cxn>
                <a:cxn ang="0">
                  <a:pos x="131" y="125"/>
                </a:cxn>
                <a:cxn ang="0">
                  <a:pos x="130" y="114"/>
                </a:cxn>
                <a:cxn ang="0">
                  <a:pos x="146" y="98"/>
                </a:cxn>
                <a:cxn ang="0">
                  <a:pos x="150" y="95"/>
                </a:cxn>
                <a:cxn ang="0">
                  <a:pos x="153" y="89"/>
                </a:cxn>
                <a:cxn ang="0">
                  <a:pos x="146" y="77"/>
                </a:cxn>
                <a:cxn ang="0">
                  <a:pos x="144" y="62"/>
                </a:cxn>
                <a:cxn ang="0">
                  <a:pos x="140" y="57"/>
                </a:cxn>
                <a:cxn ang="0">
                  <a:pos x="140" y="52"/>
                </a:cxn>
                <a:cxn ang="0">
                  <a:pos x="148" y="47"/>
                </a:cxn>
                <a:cxn ang="0">
                  <a:pos x="150" y="35"/>
                </a:cxn>
                <a:cxn ang="0">
                  <a:pos x="146" y="31"/>
                </a:cxn>
                <a:cxn ang="0">
                  <a:pos x="146" y="21"/>
                </a:cxn>
                <a:cxn ang="0">
                  <a:pos x="144" y="17"/>
                </a:cxn>
                <a:cxn ang="0">
                  <a:pos x="133" y="11"/>
                </a:cxn>
                <a:cxn ang="0">
                  <a:pos x="121" y="11"/>
                </a:cxn>
                <a:cxn ang="0">
                  <a:pos x="90" y="10"/>
                </a:cxn>
                <a:cxn ang="0">
                  <a:pos x="79" y="10"/>
                </a:cxn>
                <a:cxn ang="0">
                  <a:pos x="70" y="10"/>
                </a:cxn>
                <a:cxn ang="0">
                  <a:pos x="66" y="1"/>
                </a:cxn>
                <a:cxn ang="0">
                  <a:pos x="52" y="3"/>
                </a:cxn>
                <a:cxn ang="0">
                  <a:pos x="32" y="11"/>
                </a:cxn>
                <a:cxn ang="0">
                  <a:pos x="25" y="14"/>
                </a:cxn>
                <a:cxn ang="0">
                  <a:pos x="8" y="18"/>
                </a:cxn>
                <a:cxn ang="0">
                  <a:pos x="5" y="23"/>
                </a:cxn>
                <a:cxn ang="0">
                  <a:pos x="2" y="25"/>
                </a:cxn>
              </a:cxnLst>
              <a:rect l="0" t="0" r="r" b="b"/>
              <a:pathLst>
                <a:path w="153" h="125">
                  <a:moveTo>
                    <a:pt x="2" y="25"/>
                  </a:moveTo>
                  <a:lnTo>
                    <a:pt x="2" y="25"/>
                  </a:lnTo>
                  <a:lnTo>
                    <a:pt x="3" y="33"/>
                  </a:lnTo>
                  <a:lnTo>
                    <a:pt x="2" y="38"/>
                  </a:lnTo>
                  <a:lnTo>
                    <a:pt x="2" y="41"/>
                  </a:lnTo>
                  <a:lnTo>
                    <a:pt x="2" y="41"/>
                  </a:lnTo>
                  <a:lnTo>
                    <a:pt x="0" y="44"/>
                  </a:lnTo>
                  <a:lnTo>
                    <a:pt x="0" y="45"/>
                  </a:lnTo>
                  <a:lnTo>
                    <a:pt x="2" y="48"/>
                  </a:lnTo>
                  <a:lnTo>
                    <a:pt x="2" y="48"/>
                  </a:lnTo>
                  <a:lnTo>
                    <a:pt x="5" y="51"/>
                  </a:lnTo>
                  <a:lnTo>
                    <a:pt x="6" y="55"/>
                  </a:lnTo>
                  <a:lnTo>
                    <a:pt x="6" y="55"/>
                  </a:lnTo>
                  <a:lnTo>
                    <a:pt x="8" y="60"/>
                  </a:lnTo>
                  <a:lnTo>
                    <a:pt x="8" y="64"/>
                  </a:lnTo>
                  <a:lnTo>
                    <a:pt x="8" y="64"/>
                  </a:lnTo>
                  <a:lnTo>
                    <a:pt x="9" y="72"/>
                  </a:lnTo>
                  <a:lnTo>
                    <a:pt x="12" y="77"/>
                  </a:lnTo>
                  <a:lnTo>
                    <a:pt x="12" y="77"/>
                  </a:lnTo>
                  <a:lnTo>
                    <a:pt x="13" y="81"/>
                  </a:lnTo>
                  <a:lnTo>
                    <a:pt x="12" y="84"/>
                  </a:lnTo>
                  <a:lnTo>
                    <a:pt x="12" y="84"/>
                  </a:lnTo>
                  <a:lnTo>
                    <a:pt x="22" y="89"/>
                  </a:lnTo>
                  <a:lnTo>
                    <a:pt x="22" y="89"/>
                  </a:lnTo>
                  <a:lnTo>
                    <a:pt x="30" y="94"/>
                  </a:lnTo>
                  <a:lnTo>
                    <a:pt x="32" y="95"/>
                  </a:lnTo>
                  <a:lnTo>
                    <a:pt x="32" y="97"/>
                  </a:lnTo>
                  <a:lnTo>
                    <a:pt x="32" y="97"/>
                  </a:lnTo>
                  <a:lnTo>
                    <a:pt x="33" y="99"/>
                  </a:lnTo>
                  <a:lnTo>
                    <a:pt x="36" y="101"/>
                  </a:lnTo>
                  <a:lnTo>
                    <a:pt x="39" y="102"/>
                  </a:lnTo>
                  <a:lnTo>
                    <a:pt x="40" y="101"/>
                  </a:lnTo>
                  <a:lnTo>
                    <a:pt x="40" y="101"/>
                  </a:lnTo>
                  <a:lnTo>
                    <a:pt x="43" y="99"/>
                  </a:lnTo>
                  <a:lnTo>
                    <a:pt x="45" y="99"/>
                  </a:lnTo>
                  <a:lnTo>
                    <a:pt x="50" y="99"/>
                  </a:lnTo>
                  <a:lnTo>
                    <a:pt x="50" y="99"/>
                  </a:lnTo>
                  <a:lnTo>
                    <a:pt x="52" y="99"/>
                  </a:lnTo>
                  <a:lnTo>
                    <a:pt x="53" y="101"/>
                  </a:lnTo>
                  <a:lnTo>
                    <a:pt x="55" y="105"/>
                  </a:lnTo>
                  <a:lnTo>
                    <a:pt x="55" y="105"/>
                  </a:lnTo>
                  <a:lnTo>
                    <a:pt x="56" y="107"/>
                  </a:lnTo>
                  <a:lnTo>
                    <a:pt x="59" y="107"/>
                  </a:lnTo>
                  <a:lnTo>
                    <a:pt x="64" y="108"/>
                  </a:lnTo>
                  <a:lnTo>
                    <a:pt x="64" y="108"/>
                  </a:lnTo>
                  <a:lnTo>
                    <a:pt x="66" y="109"/>
                  </a:lnTo>
                  <a:lnTo>
                    <a:pt x="67" y="112"/>
                  </a:lnTo>
                  <a:lnTo>
                    <a:pt x="70" y="115"/>
                  </a:lnTo>
                  <a:lnTo>
                    <a:pt x="72" y="118"/>
                  </a:lnTo>
                  <a:lnTo>
                    <a:pt x="72" y="118"/>
                  </a:lnTo>
                  <a:lnTo>
                    <a:pt x="74" y="118"/>
                  </a:lnTo>
                  <a:lnTo>
                    <a:pt x="77" y="117"/>
                  </a:lnTo>
                  <a:lnTo>
                    <a:pt x="80" y="117"/>
                  </a:lnTo>
                  <a:lnTo>
                    <a:pt x="82" y="117"/>
                  </a:lnTo>
                  <a:lnTo>
                    <a:pt x="82" y="117"/>
                  </a:lnTo>
                  <a:lnTo>
                    <a:pt x="87" y="118"/>
                  </a:lnTo>
                  <a:lnTo>
                    <a:pt x="92" y="118"/>
                  </a:lnTo>
                  <a:lnTo>
                    <a:pt x="96" y="118"/>
                  </a:lnTo>
                  <a:lnTo>
                    <a:pt x="96" y="118"/>
                  </a:lnTo>
                  <a:lnTo>
                    <a:pt x="99" y="118"/>
                  </a:lnTo>
                  <a:lnTo>
                    <a:pt x="101" y="118"/>
                  </a:lnTo>
                  <a:lnTo>
                    <a:pt x="104" y="119"/>
                  </a:lnTo>
                  <a:lnTo>
                    <a:pt x="107" y="119"/>
                  </a:lnTo>
                  <a:lnTo>
                    <a:pt x="107" y="119"/>
                  </a:lnTo>
                  <a:lnTo>
                    <a:pt x="116" y="119"/>
                  </a:lnTo>
                  <a:lnTo>
                    <a:pt x="121" y="122"/>
                  </a:lnTo>
                  <a:lnTo>
                    <a:pt x="121" y="122"/>
                  </a:lnTo>
                  <a:lnTo>
                    <a:pt x="124" y="124"/>
                  </a:lnTo>
                  <a:lnTo>
                    <a:pt x="131" y="125"/>
                  </a:lnTo>
                  <a:lnTo>
                    <a:pt x="131" y="125"/>
                  </a:lnTo>
                  <a:lnTo>
                    <a:pt x="131" y="119"/>
                  </a:lnTo>
                  <a:lnTo>
                    <a:pt x="130" y="114"/>
                  </a:lnTo>
                  <a:lnTo>
                    <a:pt x="130" y="114"/>
                  </a:lnTo>
                  <a:lnTo>
                    <a:pt x="137" y="107"/>
                  </a:lnTo>
                  <a:lnTo>
                    <a:pt x="146" y="98"/>
                  </a:lnTo>
                  <a:lnTo>
                    <a:pt x="146" y="98"/>
                  </a:lnTo>
                  <a:lnTo>
                    <a:pt x="148" y="97"/>
                  </a:lnTo>
                  <a:lnTo>
                    <a:pt x="150" y="95"/>
                  </a:lnTo>
                  <a:lnTo>
                    <a:pt x="153" y="92"/>
                  </a:lnTo>
                  <a:lnTo>
                    <a:pt x="153" y="92"/>
                  </a:lnTo>
                  <a:lnTo>
                    <a:pt x="153" y="89"/>
                  </a:lnTo>
                  <a:lnTo>
                    <a:pt x="150" y="85"/>
                  </a:lnTo>
                  <a:lnTo>
                    <a:pt x="146" y="77"/>
                  </a:lnTo>
                  <a:lnTo>
                    <a:pt x="146" y="77"/>
                  </a:lnTo>
                  <a:lnTo>
                    <a:pt x="144" y="71"/>
                  </a:lnTo>
                  <a:lnTo>
                    <a:pt x="144" y="62"/>
                  </a:lnTo>
                  <a:lnTo>
                    <a:pt x="144" y="62"/>
                  </a:lnTo>
                  <a:lnTo>
                    <a:pt x="144" y="61"/>
                  </a:lnTo>
                  <a:lnTo>
                    <a:pt x="143" y="58"/>
                  </a:lnTo>
                  <a:lnTo>
                    <a:pt x="140" y="57"/>
                  </a:lnTo>
                  <a:lnTo>
                    <a:pt x="140" y="55"/>
                  </a:lnTo>
                  <a:lnTo>
                    <a:pt x="140" y="55"/>
                  </a:lnTo>
                  <a:lnTo>
                    <a:pt x="140" y="52"/>
                  </a:lnTo>
                  <a:lnTo>
                    <a:pt x="143" y="51"/>
                  </a:lnTo>
                  <a:lnTo>
                    <a:pt x="148" y="47"/>
                  </a:lnTo>
                  <a:lnTo>
                    <a:pt x="148" y="47"/>
                  </a:lnTo>
                  <a:lnTo>
                    <a:pt x="150" y="44"/>
                  </a:lnTo>
                  <a:lnTo>
                    <a:pt x="150" y="40"/>
                  </a:lnTo>
                  <a:lnTo>
                    <a:pt x="150" y="35"/>
                  </a:lnTo>
                  <a:lnTo>
                    <a:pt x="148" y="33"/>
                  </a:lnTo>
                  <a:lnTo>
                    <a:pt x="148" y="33"/>
                  </a:lnTo>
                  <a:lnTo>
                    <a:pt x="146" y="31"/>
                  </a:lnTo>
                  <a:lnTo>
                    <a:pt x="146" y="28"/>
                  </a:lnTo>
                  <a:lnTo>
                    <a:pt x="144" y="24"/>
                  </a:lnTo>
                  <a:lnTo>
                    <a:pt x="146" y="21"/>
                  </a:lnTo>
                  <a:lnTo>
                    <a:pt x="146" y="21"/>
                  </a:lnTo>
                  <a:lnTo>
                    <a:pt x="146" y="18"/>
                  </a:lnTo>
                  <a:lnTo>
                    <a:pt x="144" y="17"/>
                  </a:lnTo>
                  <a:lnTo>
                    <a:pt x="140" y="14"/>
                  </a:lnTo>
                  <a:lnTo>
                    <a:pt x="133" y="11"/>
                  </a:lnTo>
                  <a:lnTo>
                    <a:pt x="133" y="11"/>
                  </a:lnTo>
                  <a:lnTo>
                    <a:pt x="133" y="11"/>
                  </a:lnTo>
                  <a:lnTo>
                    <a:pt x="133" y="11"/>
                  </a:lnTo>
                  <a:lnTo>
                    <a:pt x="121" y="11"/>
                  </a:lnTo>
                  <a:lnTo>
                    <a:pt x="109" y="11"/>
                  </a:lnTo>
                  <a:lnTo>
                    <a:pt x="90" y="10"/>
                  </a:lnTo>
                  <a:lnTo>
                    <a:pt x="90" y="10"/>
                  </a:lnTo>
                  <a:lnTo>
                    <a:pt x="83" y="7"/>
                  </a:lnTo>
                  <a:lnTo>
                    <a:pt x="83" y="7"/>
                  </a:lnTo>
                  <a:lnTo>
                    <a:pt x="79" y="10"/>
                  </a:lnTo>
                  <a:lnTo>
                    <a:pt x="74" y="11"/>
                  </a:lnTo>
                  <a:lnTo>
                    <a:pt x="74" y="11"/>
                  </a:lnTo>
                  <a:lnTo>
                    <a:pt x="70" y="10"/>
                  </a:lnTo>
                  <a:lnTo>
                    <a:pt x="67" y="7"/>
                  </a:lnTo>
                  <a:lnTo>
                    <a:pt x="66" y="1"/>
                  </a:lnTo>
                  <a:lnTo>
                    <a:pt x="66" y="1"/>
                  </a:lnTo>
                  <a:lnTo>
                    <a:pt x="64" y="0"/>
                  </a:lnTo>
                  <a:lnTo>
                    <a:pt x="62" y="0"/>
                  </a:lnTo>
                  <a:lnTo>
                    <a:pt x="52" y="3"/>
                  </a:lnTo>
                  <a:lnTo>
                    <a:pt x="40" y="6"/>
                  </a:lnTo>
                  <a:lnTo>
                    <a:pt x="35" y="8"/>
                  </a:lnTo>
                  <a:lnTo>
                    <a:pt x="32" y="11"/>
                  </a:lnTo>
                  <a:lnTo>
                    <a:pt x="32" y="11"/>
                  </a:lnTo>
                  <a:lnTo>
                    <a:pt x="27" y="13"/>
                  </a:lnTo>
                  <a:lnTo>
                    <a:pt x="25" y="14"/>
                  </a:lnTo>
                  <a:lnTo>
                    <a:pt x="16" y="17"/>
                  </a:lnTo>
                  <a:lnTo>
                    <a:pt x="9" y="17"/>
                  </a:lnTo>
                  <a:lnTo>
                    <a:pt x="8" y="18"/>
                  </a:lnTo>
                  <a:lnTo>
                    <a:pt x="6" y="20"/>
                  </a:lnTo>
                  <a:lnTo>
                    <a:pt x="6" y="20"/>
                  </a:lnTo>
                  <a:lnTo>
                    <a:pt x="5" y="23"/>
                  </a:lnTo>
                  <a:lnTo>
                    <a:pt x="2" y="23"/>
                  </a:lnTo>
                  <a:lnTo>
                    <a:pt x="2" y="23"/>
                  </a:lnTo>
                  <a:lnTo>
                    <a:pt x="2" y="25"/>
                  </a:lnTo>
                  <a:lnTo>
                    <a:pt x="2" y="2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3" name="Freeform 253">
              <a:extLst>
                <a:ext uri="{FF2B5EF4-FFF2-40B4-BE49-F238E27FC236}">
                  <a16:creationId xmlns:a16="http://schemas.microsoft.com/office/drawing/2014/main" id="{5995D363-3702-6144-86CB-9D1D52B4ABD1}"/>
                </a:ext>
              </a:extLst>
            </p:cNvPr>
            <p:cNvSpPr>
              <a:spLocks/>
            </p:cNvSpPr>
            <p:nvPr/>
          </p:nvSpPr>
          <p:spPr bwMode="auto">
            <a:xfrm>
              <a:off x="4693343" y="3148110"/>
              <a:ext cx="84348" cy="79908"/>
            </a:xfrm>
            <a:custGeom>
              <a:avLst/>
              <a:gdLst/>
              <a:ahLst/>
              <a:cxnLst>
                <a:cxn ang="0">
                  <a:pos x="42" y="49"/>
                </a:cxn>
                <a:cxn ang="0">
                  <a:pos x="42" y="49"/>
                </a:cxn>
                <a:cxn ang="0">
                  <a:pos x="44" y="45"/>
                </a:cxn>
                <a:cxn ang="0">
                  <a:pos x="47" y="38"/>
                </a:cxn>
                <a:cxn ang="0">
                  <a:pos x="51" y="34"/>
                </a:cxn>
                <a:cxn ang="0">
                  <a:pos x="55" y="31"/>
                </a:cxn>
                <a:cxn ang="0">
                  <a:pos x="55" y="31"/>
                </a:cxn>
                <a:cxn ang="0">
                  <a:pos x="55" y="28"/>
                </a:cxn>
                <a:cxn ang="0">
                  <a:pos x="57" y="22"/>
                </a:cxn>
                <a:cxn ang="0">
                  <a:pos x="57" y="10"/>
                </a:cxn>
                <a:cxn ang="0">
                  <a:pos x="57" y="10"/>
                </a:cxn>
                <a:cxn ang="0">
                  <a:pos x="47" y="4"/>
                </a:cxn>
                <a:cxn ang="0">
                  <a:pos x="42" y="3"/>
                </a:cxn>
                <a:cxn ang="0">
                  <a:pos x="42" y="3"/>
                </a:cxn>
                <a:cxn ang="0">
                  <a:pos x="31" y="1"/>
                </a:cxn>
                <a:cxn ang="0">
                  <a:pos x="17" y="0"/>
                </a:cxn>
                <a:cxn ang="0">
                  <a:pos x="17" y="0"/>
                </a:cxn>
                <a:cxn ang="0">
                  <a:pos x="14" y="0"/>
                </a:cxn>
                <a:cxn ang="0">
                  <a:pos x="13" y="1"/>
                </a:cxn>
                <a:cxn ang="0">
                  <a:pos x="10" y="3"/>
                </a:cxn>
                <a:cxn ang="0">
                  <a:pos x="7" y="3"/>
                </a:cxn>
                <a:cxn ang="0">
                  <a:pos x="7" y="3"/>
                </a:cxn>
                <a:cxn ang="0">
                  <a:pos x="4" y="1"/>
                </a:cxn>
                <a:cxn ang="0">
                  <a:pos x="3" y="1"/>
                </a:cxn>
                <a:cxn ang="0">
                  <a:pos x="0" y="4"/>
                </a:cxn>
                <a:cxn ang="0">
                  <a:pos x="0" y="7"/>
                </a:cxn>
                <a:cxn ang="0">
                  <a:pos x="0" y="7"/>
                </a:cxn>
                <a:cxn ang="0">
                  <a:pos x="1" y="8"/>
                </a:cxn>
                <a:cxn ang="0">
                  <a:pos x="4" y="11"/>
                </a:cxn>
                <a:cxn ang="0">
                  <a:pos x="7" y="14"/>
                </a:cxn>
                <a:cxn ang="0">
                  <a:pos x="7" y="17"/>
                </a:cxn>
                <a:cxn ang="0">
                  <a:pos x="7" y="17"/>
                </a:cxn>
                <a:cxn ang="0">
                  <a:pos x="8" y="20"/>
                </a:cxn>
                <a:cxn ang="0">
                  <a:pos x="10" y="21"/>
                </a:cxn>
                <a:cxn ang="0">
                  <a:pos x="14" y="25"/>
                </a:cxn>
                <a:cxn ang="0">
                  <a:pos x="18" y="30"/>
                </a:cxn>
                <a:cxn ang="0">
                  <a:pos x="21" y="32"/>
                </a:cxn>
                <a:cxn ang="0">
                  <a:pos x="21" y="32"/>
                </a:cxn>
                <a:cxn ang="0">
                  <a:pos x="21" y="35"/>
                </a:cxn>
                <a:cxn ang="0">
                  <a:pos x="25" y="38"/>
                </a:cxn>
                <a:cxn ang="0">
                  <a:pos x="30" y="42"/>
                </a:cxn>
                <a:cxn ang="0">
                  <a:pos x="34" y="48"/>
                </a:cxn>
                <a:cxn ang="0">
                  <a:pos x="34" y="48"/>
                </a:cxn>
                <a:cxn ang="0">
                  <a:pos x="42" y="54"/>
                </a:cxn>
                <a:cxn ang="0">
                  <a:pos x="42" y="54"/>
                </a:cxn>
                <a:cxn ang="0">
                  <a:pos x="42" y="49"/>
                </a:cxn>
                <a:cxn ang="0">
                  <a:pos x="42" y="49"/>
                </a:cxn>
              </a:cxnLst>
              <a:rect l="0" t="0" r="r" b="b"/>
              <a:pathLst>
                <a:path w="57" h="54">
                  <a:moveTo>
                    <a:pt x="42" y="49"/>
                  </a:moveTo>
                  <a:lnTo>
                    <a:pt x="42" y="49"/>
                  </a:lnTo>
                  <a:lnTo>
                    <a:pt x="44" y="45"/>
                  </a:lnTo>
                  <a:lnTo>
                    <a:pt x="47" y="38"/>
                  </a:lnTo>
                  <a:lnTo>
                    <a:pt x="51" y="34"/>
                  </a:lnTo>
                  <a:lnTo>
                    <a:pt x="55" y="31"/>
                  </a:lnTo>
                  <a:lnTo>
                    <a:pt x="55" y="31"/>
                  </a:lnTo>
                  <a:lnTo>
                    <a:pt x="55" y="28"/>
                  </a:lnTo>
                  <a:lnTo>
                    <a:pt x="57" y="22"/>
                  </a:lnTo>
                  <a:lnTo>
                    <a:pt x="57" y="10"/>
                  </a:lnTo>
                  <a:lnTo>
                    <a:pt x="57" y="10"/>
                  </a:lnTo>
                  <a:lnTo>
                    <a:pt x="47" y="4"/>
                  </a:lnTo>
                  <a:lnTo>
                    <a:pt x="42" y="3"/>
                  </a:lnTo>
                  <a:lnTo>
                    <a:pt x="42" y="3"/>
                  </a:lnTo>
                  <a:lnTo>
                    <a:pt x="31" y="1"/>
                  </a:lnTo>
                  <a:lnTo>
                    <a:pt x="17" y="0"/>
                  </a:lnTo>
                  <a:lnTo>
                    <a:pt x="17" y="0"/>
                  </a:lnTo>
                  <a:lnTo>
                    <a:pt x="14" y="0"/>
                  </a:lnTo>
                  <a:lnTo>
                    <a:pt x="13" y="1"/>
                  </a:lnTo>
                  <a:lnTo>
                    <a:pt x="10" y="3"/>
                  </a:lnTo>
                  <a:lnTo>
                    <a:pt x="7" y="3"/>
                  </a:lnTo>
                  <a:lnTo>
                    <a:pt x="7" y="3"/>
                  </a:lnTo>
                  <a:lnTo>
                    <a:pt x="4" y="1"/>
                  </a:lnTo>
                  <a:lnTo>
                    <a:pt x="3" y="1"/>
                  </a:lnTo>
                  <a:lnTo>
                    <a:pt x="0" y="4"/>
                  </a:lnTo>
                  <a:lnTo>
                    <a:pt x="0" y="7"/>
                  </a:lnTo>
                  <a:lnTo>
                    <a:pt x="0" y="7"/>
                  </a:lnTo>
                  <a:lnTo>
                    <a:pt x="1" y="8"/>
                  </a:lnTo>
                  <a:lnTo>
                    <a:pt x="4" y="11"/>
                  </a:lnTo>
                  <a:lnTo>
                    <a:pt x="7" y="14"/>
                  </a:lnTo>
                  <a:lnTo>
                    <a:pt x="7" y="17"/>
                  </a:lnTo>
                  <a:lnTo>
                    <a:pt x="7" y="17"/>
                  </a:lnTo>
                  <a:lnTo>
                    <a:pt x="8" y="20"/>
                  </a:lnTo>
                  <a:lnTo>
                    <a:pt x="10" y="21"/>
                  </a:lnTo>
                  <a:lnTo>
                    <a:pt x="14" y="25"/>
                  </a:lnTo>
                  <a:lnTo>
                    <a:pt x="18" y="30"/>
                  </a:lnTo>
                  <a:lnTo>
                    <a:pt x="21" y="32"/>
                  </a:lnTo>
                  <a:lnTo>
                    <a:pt x="21" y="32"/>
                  </a:lnTo>
                  <a:lnTo>
                    <a:pt x="21" y="35"/>
                  </a:lnTo>
                  <a:lnTo>
                    <a:pt x="25" y="38"/>
                  </a:lnTo>
                  <a:lnTo>
                    <a:pt x="30" y="42"/>
                  </a:lnTo>
                  <a:lnTo>
                    <a:pt x="34" y="48"/>
                  </a:lnTo>
                  <a:lnTo>
                    <a:pt x="34" y="48"/>
                  </a:lnTo>
                  <a:lnTo>
                    <a:pt x="42" y="54"/>
                  </a:lnTo>
                  <a:lnTo>
                    <a:pt x="42" y="54"/>
                  </a:lnTo>
                  <a:lnTo>
                    <a:pt x="42" y="49"/>
                  </a:lnTo>
                  <a:lnTo>
                    <a:pt x="42" y="4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4" name="Freeform 254">
              <a:extLst>
                <a:ext uri="{FF2B5EF4-FFF2-40B4-BE49-F238E27FC236}">
                  <a16:creationId xmlns:a16="http://schemas.microsoft.com/office/drawing/2014/main" id="{02B61D7A-F749-934F-83C3-66B49D3E944F}"/>
                </a:ext>
              </a:extLst>
            </p:cNvPr>
            <p:cNvSpPr>
              <a:spLocks/>
            </p:cNvSpPr>
            <p:nvPr/>
          </p:nvSpPr>
          <p:spPr bwMode="auto">
            <a:xfrm>
              <a:off x="4650429" y="3108155"/>
              <a:ext cx="127261" cy="110985"/>
            </a:xfrm>
            <a:custGeom>
              <a:avLst/>
              <a:gdLst/>
              <a:ahLst/>
              <a:cxnLst>
                <a:cxn ang="0">
                  <a:pos x="50" y="59"/>
                </a:cxn>
                <a:cxn ang="0">
                  <a:pos x="43" y="52"/>
                </a:cxn>
                <a:cxn ang="0">
                  <a:pos x="37" y="47"/>
                </a:cxn>
                <a:cxn ang="0">
                  <a:pos x="36" y="44"/>
                </a:cxn>
                <a:cxn ang="0">
                  <a:pos x="33" y="38"/>
                </a:cxn>
                <a:cxn ang="0">
                  <a:pos x="29" y="34"/>
                </a:cxn>
                <a:cxn ang="0">
                  <a:pos x="29" y="31"/>
                </a:cxn>
                <a:cxn ang="0">
                  <a:pos x="33" y="28"/>
                </a:cxn>
                <a:cxn ang="0">
                  <a:pos x="36" y="30"/>
                </a:cxn>
                <a:cxn ang="0">
                  <a:pos x="42" y="28"/>
                </a:cxn>
                <a:cxn ang="0">
                  <a:pos x="46" y="27"/>
                </a:cxn>
                <a:cxn ang="0">
                  <a:pos x="60" y="28"/>
                </a:cxn>
                <a:cxn ang="0">
                  <a:pos x="71" y="30"/>
                </a:cxn>
                <a:cxn ang="0">
                  <a:pos x="86" y="37"/>
                </a:cxn>
                <a:cxn ang="0">
                  <a:pos x="84" y="32"/>
                </a:cxn>
                <a:cxn ang="0">
                  <a:pos x="83" y="27"/>
                </a:cxn>
                <a:cxn ang="0">
                  <a:pos x="80" y="21"/>
                </a:cxn>
                <a:cxn ang="0">
                  <a:pos x="79" y="20"/>
                </a:cxn>
                <a:cxn ang="0">
                  <a:pos x="76" y="12"/>
                </a:cxn>
                <a:cxn ang="0">
                  <a:pos x="70" y="14"/>
                </a:cxn>
                <a:cxn ang="0">
                  <a:pos x="66" y="14"/>
                </a:cxn>
                <a:cxn ang="0">
                  <a:pos x="57" y="12"/>
                </a:cxn>
                <a:cxn ang="0">
                  <a:pos x="53" y="10"/>
                </a:cxn>
                <a:cxn ang="0">
                  <a:pos x="40" y="0"/>
                </a:cxn>
                <a:cxn ang="0">
                  <a:pos x="36" y="4"/>
                </a:cxn>
                <a:cxn ang="0">
                  <a:pos x="30" y="7"/>
                </a:cxn>
                <a:cxn ang="0">
                  <a:pos x="29" y="11"/>
                </a:cxn>
                <a:cxn ang="0">
                  <a:pos x="27" y="14"/>
                </a:cxn>
                <a:cxn ang="0">
                  <a:pos x="25" y="15"/>
                </a:cxn>
                <a:cxn ang="0">
                  <a:pos x="22" y="21"/>
                </a:cxn>
                <a:cxn ang="0">
                  <a:pos x="20" y="22"/>
                </a:cxn>
                <a:cxn ang="0">
                  <a:pos x="13" y="21"/>
                </a:cxn>
                <a:cxn ang="0">
                  <a:pos x="12" y="21"/>
                </a:cxn>
                <a:cxn ang="0">
                  <a:pos x="0" y="22"/>
                </a:cxn>
                <a:cxn ang="0">
                  <a:pos x="2" y="30"/>
                </a:cxn>
                <a:cxn ang="0">
                  <a:pos x="3" y="30"/>
                </a:cxn>
                <a:cxn ang="0">
                  <a:pos x="13" y="32"/>
                </a:cxn>
                <a:cxn ang="0">
                  <a:pos x="15" y="35"/>
                </a:cxn>
                <a:cxn ang="0">
                  <a:pos x="20" y="47"/>
                </a:cxn>
                <a:cxn ang="0">
                  <a:pos x="29" y="58"/>
                </a:cxn>
                <a:cxn ang="0">
                  <a:pos x="37" y="61"/>
                </a:cxn>
                <a:cxn ang="0">
                  <a:pos x="42" y="65"/>
                </a:cxn>
                <a:cxn ang="0">
                  <a:pos x="43" y="67"/>
                </a:cxn>
                <a:cxn ang="0">
                  <a:pos x="50" y="71"/>
                </a:cxn>
                <a:cxn ang="0">
                  <a:pos x="56" y="72"/>
                </a:cxn>
                <a:cxn ang="0">
                  <a:pos x="63" y="75"/>
                </a:cxn>
                <a:cxn ang="0">
                  <a:pos x="59" y="69"/>
                </a:cxn>
                <a:cxn ang="0">
                  <a:pos x="50" y="62"/>
                </a:cxn>
                <a:cxn ang="0">
                  <a:pos x="50" y="59"/>
                </a:cxn>
              </a:cxnLst>
              <a:rect l="0" t="0" r="r" b="b"/>
              <a:pathLst>
                <a:path w="86" h="75">
                  <a:moveTo>
                    <a:pt x="50" y="59"/>
                  </a:moveTo>
                  <a:lnTo>
                    <a:pt x="50" y="59"/>
                  </a:lnTo>
                  <a:lnTo>
                    <a:pt x="47" y="57"/>
                  </a:lnTo>
                  <a:lnTo>
                    <a:pt x="43" y="52"/>
                  </a:lnTo>
                  <a:lnTo>
                    <a:pt x="39" y="48"/>
                  </a:lnTo>
                  <a:lnTo>
                    <a:pt x="37" y="47"/>
                  </a:lnTo>
                  <a:lnTo>
                    <a:pt x="36" y="44"/>
                  </a:lnTo>
                  <a:lnTo>
                    <a:pt x="36" y="44"/>
                  </a:lnTo>
                  <a:lnTo>
                    <a:pt x="36" y="41"/>
                  </a:lnTo>
                  <a:lnTo>
                    <a:pt x="33" y="38"/>
                  </a:lnTo>
                  <a:lnTo>
                    <a:pt x="30" y="35"/>
                  </a:lnTo>
                  <a:lnTo>
                    <a:pt x="29" y="34"/>
                  </a:lnTo>
                  <a:lnTo>
                    <a:pt x="29" y="34"/>
                  </a:lnTo>
                  <a:lnTo>
                    <a:pt x="29" y="31"/>
                  </a:lnTo>
                  <a:lnTo>
                    <a:pt x="32" y="28"/>
                  </a:lnTo>
                  <a:lnTo>
                    <a:pt x="33" y="28"/>
                  </a:lnTo>
                  <a:lnTo>
                    <a:pt x="36" y="30"/>
                  </a:lnTo>
                  <a:lnTo>
                    <a:pt x="36" y="30"/>
                  </a:lnTo>
                  <a:lnTo>
                    <a:pt x="39" y="30"/>
                  </a:lnTo>
                  <a:lnTo>
                    <a:pt x="42" y="28"/>
                  </a:lnTo>
                  <a:lnTo>
                    <a:pt x="43" y="27"/>
                  </a:lnTo>
                  <a:lnTo>
                    <a:pt x="46" y="27"/>
                  </a:lnTo>
                  <a:lnTo>
                    <a:pt x="46" y="27"/>
                  </a:lnTo>
                  <a:lnTo>
                    <a:pt x="60" y="28"/>
                  </a:lnTo>
                  <a:lnTo>
                    <a:pt x="71" y="30"/>
                  </a:lnTo>
                  <a:lnTo>
                    <a:pt x="71" y="30"/>
                  </a:lnTo>
                  <a:lnTo>
                    <a:pt x="76" y="31"/>
                  </a:lnTo>
                  <a:lnTo>
                    <a:pt x="86" y="37"/>
                  </a:lnTo>
                  <a:lnTo>
                    <a:pt x="86" y="37"/>
                  </a:lnTo>
                  <a:lnTo>
                    <a:pt x="84" y="32"/>
                  </a:lnTo>
                  <a:lnTo>
                    <a:pt x="84" y="32"/>
                  </a:lnTo>
                  <a:lnTo>
                    <a:pt x="83" y="27"/>
                  </a:lnTo>
                  <a:lnTo>
                    <a:pt x="83" y="24"/>
                  </a:lnTo>
                  <a:lnTo>
                    <a:pt x="80" y="21"/>
                  </a:lnTo>
                  <a:lnTo>
                    <a:pt x="80" y="21"/>
                  </a:lnTo>
                  <a:lnTo>
                    <a:pt x="79" y="20"/>
                  </a:lnTo>
                  <a:lnTo>
                    <a:pt x="77" y="18"/>
                  </a:lnTo>
                  <a:lnTo>
                    <a:pt x="76" y="12"/>
                  </a:lnTo>
                  <a:lnTo>
                    <a:pt x="76" y="12"/>
                  </a:lnTo>
                  <a:lnTo>
                    <a:pt x="70" y="14"/>
                  </a:lnTo>
                  <a:lnTo>
                    <a:pt x="70" y="14"/>
                  </a:lnTo>
                  <a:lnTo>
                    <a:pt x="66" y="14"/>
                  </a:lnTo>
                  <a:lnTo>
                    <a:pt x="62" y="14"/>
                  </a:lnTo>
                  <a:lnTo>
                    <a:pt x="57" y="12"/>
                  </a:lnTo>
                  <a:lnTo>
                    <a:pt x="53" y="10"/>
                  </a:lnTo>
                  <a:lnTo>
                    <a:pt x="53" y="10"/>
                  </a:lnTo>
                  <a:lnTo>
                    <a:pt x="47" y="4"/>
                  </a:lnTo>
                  <a:lnTo>
                    <a:pt x="40" y="0"/>
                  </a:lnTo>
                  <a:lnTo>
                    <a:pt x="40" y="0"/>
                  </a:lnTo>
                  <a:lnTo>
                    <a:pt x="36" y="4"/>
                  </a:lnTo>
                  <a:lnTo>
                    <a:pt x="30" y="7"/>
                  </a:lnTo>
                  <a:lnTo>
                    <a:pt x="30" y="7"/>
                  </a:lnTo>
                  <a:lnTo>
                    <a:pt x="29" y="8"/>
                  </a:lnTo>
                  <a:lnTo>
                    <a:pt x="29" y="11"/>
                  </a:lnTo>
                  <a:lnTo>
                    <a:pt x="29" y="12"/>
                  </a:lnTo>
                  <a:lnTo>
                    <a:pt x="27" y="14"/>
                  </a:lnTo>
                  <a:lnTo>
                    <a:pt x="27" y="14"/>
                  </a:lnTo>
                  <a:lnTo>
                    <a:pt x="25" y="15"/>
                  </a:lnTo>
                  <a:lnTo>
                    <a:pt x="23" y="17"/>
                  </a:lnTo>
                  <a:lnTo>
                    <a:pt x="22" y="21"/>
                  </a:lnTo>
                  <a:lnTo>
                    <a:pt x="22" y="21"/>
                  </a:lnTo>
                  <a:lnTo>
                    <a:pt x="20" y="22"/>
                  </a:lnTo>
                  <a:lnTo>
                    <a:pt x="17" y="21"/>
                  </a:lnTo>
                  <a:lnTo>
                    <a:pt x="13" y="21"/>
                  </a:lnTo>
                  <a:lnTo>
                    <a:pt x="12" y="21"/>
                  </a:lnTo>
                  <a:lnTo>
                    <a:pt x="12" y="21"/>
                  </a:lnTo>
                  <a:lnTo>
                    <a:pt x="0" y="22"/>
                  </a:lnTo>
                  <a:lnTo>
                    <a:pt x="0" y="22"/>
                  </a:lnTo>
                  <a:lnTo>
                    <a:pt x="0" y="28"/>
                  </a:lnTo>
                  <a:lnTo>
                    <a:pt x="2" y="30"/>
                  </a:lnTo>
                  <a:lnTo>
                    <a:pt x="3" y="30"/>
                  </a:lnTo>
                  <a:lnTo>
                    <a:pt x="3" y="30"/>
                  </a:lnTo>
                  <a:lnTo>
                    <a:pt x="10" y="31"/>
                  </a:lnTo>
                  <a:lnTo>
                    <a:pt x="13" y="32"/>
                  </a:lnTo>
                  <a:lnTo>
                    <a:pt x="15" y="35"/>
                  </a:lnTo>
                  <a:lnTo>
                    <a:pt x="15" y="35"/>
                  </a:lnTo>
                  <a:lnTo>
                    <a:pt x="17" y="41"/>
                  </a:lnTo>
                  <a:lnTo>
                    <a:pt x="20" y="47"/>
                  </a:lnTo>
                  <a:lnTo>
                    <a:pt x="29" y="58"/>
                  </a:lnTo>
                  <a:lnTo>
                    <a:pt x="29" y="58"/>
                  </a:lnTo>
                  <a:lnTo>
                    <a:pt x="33" y="59"/>
                  </a:lnTo>
                  <a:lnTo>
                    <a:pt x="37" y="61"/>
                  </a:lnTo>
                  <a:lnTo>
                    <a:pt x="40" y="62"/>
                  </a:lnTo>
                  <a:lnTo>
                    <a:pt x="42" y="65"/>
                  </a:lnTo>
                  <a:lnTo>
                    <a:pt x="42" y="65"/>
                  </a:lnTo>
                  <a:lnTo>
                    <a:pt x="43" y="67"/>
                  </a:lnTo>
                  <a:lnTo>
                    <a:pt x="46" y="69"/>
                  </a:lnTo>
                  <a:lnTo>
                    <a:pt x="50" y="71"/>
                  </a:lnTo>
                  <a:lnTo>
                    <a:pt x="56" y="72"/>
                  </a:lnTo>
                  <a:lnTo>
                    <a:pt x="56" y="72"/>
                  </a:lnTo>
                  <a:lnTo>
                    <a:pt x="59" y="72"/>
                  </a:lnTo>
                  <a:lnTo>
                    <a:pt x="63" y="75"/>
                  </a:lnTo>
                  <a:lnTo>
                    <a:pt x="63" y="75"/>
                  </a:lnTo>
                  <a:lnTo>
                    <a:pt x="59" y="69"/>
                  </a:lnTo>
                  <a:lnTo>
                    <a:pt x="54" y="65"/>
                  </a:lnTo>
                  <a:lnTo>
                    <a:pt x="50" y="62"/>
                  </a:lnTo>
                  <a:lnTo>
                    <a:pt x="50" y="59"/>
                  </a:lnTo>
                  <a:lnTo>
                    <a:pt x="50" y="5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5" name="Freeform 255">
              <a:extLst>
                <a:ext uri="{FF2B5EF4-FFF2-40B4-BE49-F238E27FC236}">
                  <a16:creationId xmlns:a16="http://schemas.microsoft.com/office/drawing/2014/main" id="{7406E064-A382-BB40-8B70-23CA16F13E73}"/>
                </a:ext>
              </a:extLst>
            </p:cNvPr>
            <p:cNvSpPr>
              <a:spLocks/>
            </p:cNvSpPr>
            <p:nvPr/>
          </p:nvSpPr>
          <p:spPr bwMode="auto">
            <a:xfrm>
              <a:off x="4773251" y="3223578"/>
              <a:ext cx="44394" cy="85827"/>
            </a:xfrm>
            <a:custGeom>
              <a:avLst/>
              <a:gdLst/>
              <a:ahLst/>
              <a:cxnLst>
                <a:cxn ang="0">
                  <a:pos x="20" y="50"/>
                </a:cxn>
                <a:cxn ang="0">
                  <a:pos x="20" y="50"/>
                </a:cxn>
                <a:cxn ang="0">
                  <a:pos x="21" y="50"/>
                </a:cxn>
                <a:cxn ang="0">
                  <a:pos x="21" y="48"/>
                </a:cxn>
                <a:cxn ang="0">
                  <a:pos x="23" y="45"/>
                </a:cxn>
                <a:cxn ang="0">
                  <a:pos x="23" y="44"/>
                </a:cxn>
                <a:cxn ang="0">
                  <a:pos x="23" y="44"/>
                </a:cxn>
                <a:cxn ang="0">
                  <a:pos x="27" y="40"/>
                </a:cxn>
                <a:cxn ang="0">
                  <a:pos x="28" y="35"/>
                </a:cxn>
                <a:cxn ang="0">
                  <a:pos x="28" y="35"/>
                </a:cxn>
                <a:cxn ang="0">
                  <a:pos x="30" y="34"/>
                </a:cxn>
                <a:cxn ang="0">
                  <a:pos x="30" y="34"/>
                </a:cxn>
                <a:cxn ang="0">
                  <a:pos x="23" y="30"/>
                </a:cxn>
                <a:cxn ang="0">
                  <a:pos x="20" y="24"/>
                </a:cxn>
                <a:cxn ang="0">
                  <a:pos x="20" y="24"/>
                </a:cxn>
                <a:cxn ang="0">
                  <a:pos x="20" y="17"/>
                </a:cxn>
                <a:cxn ang="0">
                  <a:pos x="21" y="8"/>
                </a:cxn>
                <a:cxn ang="0">
                  <a:pos x="21" y="8"/>
                </a:cxn>
                <a:cxn ang="0">
                  <a:pos x="14" y="3"/>
                </a:cxn>
                <a:cxn ang="0">
                  <a:pos x="8" y="0"/>
                </a:cxn>
                <a:cxn ang="0">
                  <a:pos x="8" y="0"/>
                </a:cxn>
                <a:cxn ang="0">
                  <a:pos x="6" y="1"/>
                </a:cxn>
                <a:cxn ang="0">
                  <a:pos x="3" y="4"/>
                </a:cxn>
                <a:cxn ang="0">
                  <a:pos x="1" y="7"/>
                </a:cxn>
                <a:cxn ang="0">
                  <a:pos x="0" y="11"/>
                </a:cxn>
                <a:cxn ang="0">
                  <a:pos x="0" y="11"/>
                </a:cxn>
                <a:cxn ang="0">
                  <a:pos x="4" y="14"/>
                </a:cxn>
                <a:cxn ang="0">
                  <a:pos x="6" y="16"/>
                </a:cxn>
                <a:cxn ang="0">
                  <a:pos x="7" y="18"/>
                </a:cxn>
                <a:cxn ang="0">
                  <a:pos x="4" y="21"/>
                </a:cxn>
                <a:cxn ang="0">
                  <a:pos x="4" y="21"/>
                </a:cxn>
                <a:cxn ang="0">
                  <a:pos x="1" y="27"/>
                </a:cxn>
                <a:cxn ang="0">
                  <a:pos x="1" y="34"/>
                </a:cxn>
                <a:cxn ang="0">
                  <a:pos x="1" y="41"/>
                </a:cxn>
                <a:cxn ang="0">
                  <a:pos x="3" y="44"/>
                </a:cxn>
                <a:cxn ang="0">
                  <a:pos x="4" y="45"/>
                </a:cxn>
                <a:cxn ang="0">
                  <a:pos x="4" y="45"/>
                </a:cxn>
                <a:cxn ang="0">
                  <a:pos x="7" y="48"/>
                </a:cxn>
                <a:cxn ang="0">
                  <a:pos x="10" y="53"/>
                </a:cxn>
                <a:cxn ang="0">
                  <a:pos x="11" y="57"/>
                </a:cxn>
                <a:cxn ang="0">
                  <a:pos x="14" y="58"/>
                </a:cxn>
                <a:cxn ang="0">
                  <a:pos x="14" y="58"/>
                </a:cxn>
                <a:cxn ang="0">
                  <a:pos x="17" y="54"/>
                </a:cxn>
                <a:cxn ang="0">
                  <a:pos x="18" y="51"/>
                </a:cxn>
                <a:cxn ang="0">
                  <a:pos x="20" y="50"/>
                </a:cxn>
                <a:cxn ang="0">
                  <a:pos x="20" y="50"/>
                </a:cxn>
              </a:cxnLst>
              <a:rect l="0" t="0" r="r" b="b"/>
              <a:pathLst>
                <a:path w="30" h="58">
                  <a:moveTo>
                    <a:pt x="20" y="50"/>
                  </a:moveTo>
                  <a:lnTo>
                    <a:pt x="20" y="50"/>
                  </a:lnTo>
                  <a:lnTo>
                    <a:pt x="21" y="50"/>
                  </a:lnTo>
                  <a:lnTo>
                    <a:pt x="21" y="48"/>
                  </a:lnTo>
                  <a:lnTo>
                    <a:pt x="23" y="45"/>
                  </a:lnTo>
                  <a:lnTo>
                    <a:pt x="23" y="44"/>
                  </a:lnTo>
                  <a:lnTo>
                    <a:pt x="23" y="44"/>
                  </a:lnTo>
                  <a:lnTo>
                    <a:pt x="27" y="40"/>
                  </a:lnTo>
                  <a:lnTo>
                    <a:pt x="28" y="35"/>
                  </a:lnTo>
                  <a:lnTo>
                    <a:pt x="28" y="35"/>
                  </a:lnTo>
                  <a:lnTo>
                    <a:pt x="30" y="34"/>
                  </a:lnTo>
                  <a:lnTo>
                    <a:pt x="30" y="34"/>
                  </a:lnTo>
                  <a:lnTo>
                    <a:pt x="23" y="30"/>
                  </a:lnTo>
                  <a:lnTo>
                    <a:pt x="20" y="24"/>
                  </a:lnTo>
                  <a:lnTo>
                    <a:pt x="20" y="24"/>
                  </a:lnTo>
                  <a:lnTo>
                    <a:pt x="20" y="17"/>
                  </a:lnTo>
                  <a:lnTo>
                    <a:pt x="21" y="8"/>
                  </a:lnTo>
                  <a:lnTo>
                    <a:pt x="21" y="8"/>
                  </a:lnTo>
                  <a:lnTo>
                    <a:pt x="14" y="3"/>
                  </a:lnTo>
                  <a:lnTo>
                    <a:pt x="8" y="0"/>
                  </a:lnTo>
                  <a:lnTo>
                    <a:pt x="8" y="0"/>
                  </a:lnTo>
                  <a:lnTo>
                    <a:pt x="6" y="1"/>
                  </a:lnTo>
                  <a:lnTo>
                    <a:pt x="3" y="4"/>
                  </a:lnTo>
                  <a:lnTo>
                    <a:pt x="1" y="7"/>
                  </a:lnTo>
                  <a:lnTo>
                    <a:pt x="0" y="11"/>
                  </a:lnTo>
                  <a:lnTo>
                    <a:pt x="0" y="11"/>
                  </a:lnTo>
                  <a:lnTo>
                    <a:pt x="4" y="14"/>
                  </a:lnTo>
                  <a:lnTo>
                    <a:pt x="6" y="16"/>
                  </a:lnTo>
                  <a:lnTo>
                    <a:pt x="7" y="18"/>
                  </a:lnTo>
                  <a:lnTo>
                    <a:pt x="4" y="21"/>
                  </a:lnTo>
                  <a:lnTo>
                    <a:pt x="4" y="21"/>
                  </a:lnTo>
                  <a:lnTo>
                    <a:pt x="1" y="27"/>
                  </a:lnTo>
                  <a:lnTo>
                    <a:pt x="1" y="34"/>
                  </a:lnTo>
                  <a:lnTo>
                    <a:pt x="1" y="41"/>
                  </a:lnTo>
                  <a:lnTo>
                    <a:pt x="3" y="44"/>
                  </a:lnTo>
                  <a:lnTo>
                    <a:pt x="4" y="45"/>
                  </a:lnTo>
                  <a:lnTo>
                    <a:pt x="4" y="45"/>
                  </a:lnTo>
                  <a:lnTo>
                    <a:pt x="7" y="48"/>
                  </a:lnTo>
                  <a:lnTo>
                    <a:pt x="10" y="53"/>
                  </a:lnTo>
                  <a:lnTo>
                    <a:pt x="11" y="57"/>
                  </a:lnTo>
                  <a:lnTo>
                    <a:pt x="14" y="58"/>
                  </a:lnTo>
                  <a:lnTo>
                    <a:pt x="14" y="58"/>
                  </a:lnTo>
                  <a:lnTo>
                    <a:pt x="17" y="54"/>
                  </a:lnTo>
                  <a:lnTo>
                    <a:pt x="18" y="51"/>
                  </a:lnTo>
                  <a:lnTo>
                    <a:pt x="20" y="50"/>
                  </a:lnTo>
                  <a:lnTo>
                    <a:pt x="20" y="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6" name="Freeform 256">
              <a:extLst>
                <a:ext uri="{FF2B5EF4-FFF2-40B4-BE49-F238E27FC236}">
                  <a16:creationId xmlns:a16="http://schemas.microsoft.com/office/drawing/2014/main" id="{22B182EB-A521-BD40-83D6-F0F85A5861DE}"/>
                </a:ext>
              </a:extLst>
            </p:cNvPr>
            <p:cNvSpPr>
              <a:spLocks/>
            </p:cNvSpPr>
            <p:nvPr/>
          </p:nvSpPr>
          <p:spPr bwMode="auto">
            <a:xfrm>
              <a:off x="4554243" y="3031207"/>
              <a:ext cx="174614" cy="81389"/>
            </a:xfrm>
            <a:custGeom>
              <a:avLst/>
              <a:gdLst/>
              <a:ahLst/>
              <a:cxnLst>
                <a:cxn ang="0">
                  <a:pos x="99" y="5"/>
                </a:cxn>
                <a:cxn ang="0">
                  <a:pos x="91" y="0"/>
                </a:cxn>
                <a:cxn ang="0">
                  <a:pos x="85" y="0"/>
                </a:cxn>
                <a:cxn ang="0">
                  <a:pos x="82" y="8"/>
                </a:cxn>
                <a:cxn ang="0">
                  <a:pos x="80" y="9"/>
                </a:cxn>
                <a:cxn ang="0">
                  <a:pos x="68" y="9"/>
                </a:cxn>
                <a:cxn ang="0">
                  <a:pos x="64" y="12"/>
                </a:cxn>
                <a:cxn ang="0">
                  <a:pos x="60" y="15"/>
                </a:cxn>
                <a:cxn ang="0">
                  <a:pos x="58" y="16"/>
                </a:cxn>
                <a:cxn ang="0">
                  <a:pos x="53" y="20"/>
                </a:cxn>
                <a:cxn ang="0">
                  <a:pos x="53" y="25"/>
                </a:cxn>
                <a:cxn ang="0">
                  <a:pos x="51" y="30"/>
                </a:cxn>
                <a:cxn ang="0">
                  <a:pos x="47" y="29"/>
                </a:cxn>
                <a:cxn ang="0">
                  <a:pos x="38" y="29"/>
                </a:cxn>
                <a:cxn ang="0">
                  <a:pos x="30" y="32"/>
                </a:cxn>
                <a:cxn ang="0">
                  <a:pos x="28" y="33"/>
                </a:cxn>
                <a:cxn ang="0">
                  <a:pos x="21" y="33"/>
                </a:cxn>
                <a:cxn ang="0">
                  <a:pos x="16" y="32"/>
                </a:cxn>
                <a:cxn ang="0">
                  <a:pos x="11" y="35"/>
                </a:cxn>
                <a:cxn ang="0">
                  <a:pos x="10" y="36"/>
                </a:cxn>
                <a:cxn ang="0">
                  <a:pos x="4" y="33"/>
                </a:cxn>
                <a:cxn ang="0">
                  <a:pos x="3" y="32"/>
                </a:cxn>
                <a:cxn ang="0">
                  <a:pos x="0" y="36"/>
                </a:cxn>
                <a:cxn ang="0">
                  <a:pos x="0" y="40"/>
                </a:cxn>
                <a:cxn ang="0">
                  <a:pos x="6" y="45"/>
                </a:cxn>
                <a:cxn ang="0">
                  <a:pos x="8" y="45"/>
                </a:cxn>
                <a:cxn ang="0">
                  <a:pos x="14" y="45"/>
                </a:cxn>
                <a:cxn ang="0">
                  <a:pos x="18" y="47"/>
                </a:cxn>
                <a:cxn ang="0">
                  <a:pos x="24" y="46"/>
                </a:cxn>
                <a:cxn ang="0">
                  <a:pos x="28" y="43"/>
                </a:cxn>
                <a:cxn ang="0">
                  <a:pos x="35" y="42"/>
                </a:cxn>
                <a:cxn ang="0">
                  <a:pos x="41" y="42"/>
                </a:cxn>
                <a:cxn ang="0">
                  <a:pos x="44" y="49"/>
                </a:cxn>
                <a:cxn ang="0">
                  <a:pos x="50" y="50"/>
                </a:cxn>
                <a:cxn ang="0">
                  <a:pos x="60" y="50"/>
                </a:cxn>
                <a:cxn ang="0">
                  <a:pos x="77" y="55"/>
                </a:cxn>
                <a:cxn ang="0">
                  <a:pos x="80" y="53"/>
                </a:cxn>
                <a:cxn ang="0">
                  <a:pos x="87" y="50"/>
                </a:cxn>
                <a:cxn ang="0">
                  <a:pos x="91" y="49"/>
                </a:cxn>
                <a:cxn ang="0">
                  <a:pos x="98" y="47"/>
                </a:cxn>
                <a:cxn ang="0">
                  <a:pos x="102" y="46"/>
                </a:cxn>
                <a:cxn ang="0">
                  <a:pos x="102" y="46"/>
                </a:cxn>
                <a:cxn ang="0">
                  <a:pos x="104" y="42"/>
                </a:cxn>
                <a:cxn ang="0">
                  <a:pos x="105" y="40"/>
                </a:cxn>
                <a:cxn ang="0">
                  <a:pos x="107" y="36"/>
                </a:cxn>
                <a:cxn ang="0">
                  <a:pos x="107" y="35"/>
                </a:cxn>
                <a:cxn ang="0">
                  <a:pos x="108" y="30"/>
                </a:cxn>
                <a:cxn ang="0">
                  <a:pos x="109" y="29"/>
                </a:cxn>
                <a:cxn ang="0">
                  <a:pos x="114" y="29"/>
                </a:cxn>
                <a:cxn ang="0">
                  <a:pos x="117" y="25"/>
                </a:cxn>
                <a:cxn ang="0">
                  <a:pos x="117" y="22"/>
                </a:cxn>
                <a:cxn ang="0">
                  <a:pos x="118" y="20"/>
                </a:cxn>
                <a:cxn ang="0">
                  <a:pos x="112" y="6"/>
                </a:cxn>
                <a:cxn ang="0">
                  <a:pos x="107" y="8"/>
                </a:cxn>
                <a:cxn ang="0">
                  <a:pos x="99" y="5"/>
                </a:cxn>
              </a:cxnLst>
              <a:rect l="0" t="0" r="r" b="b"/>
              <a:pathLst>
                <a:path w="118" h="55">
                  <a:moveTo>
                    <a:pt x="99" y="5"/>
                  </a:moveTo>
                  <a:lnTo>
                    <a:pt x="99" y="5"/>
                  </a:lnTo>
                  <a:lnTo>
                    <a:pt x="95" y="2"/>
                  </a:lnTo>
                  <a:lnTo>
                    <a:pt x="91" y="0"/>
                  </a:lnTo>
                  <a:lnTo>
                    <a:pt x="85" y="0"/>
                  </a:lnTo>
                  <a:lnTo>
                    <a:pt x="85" y="0"/>
                  </a:lnTo>
                  <a:lnTo>
                    <a:pt x="84" y="3"/>
                  </a:lnTo>
                  <a:lnTo>
                    <a:pt x="82" y="8"/>
                  </a:lnTo>
                  <a:lnTo>
                    <a:pt x="82" y="8"/>
                  </a:lnTo>
                  <a:lnTo>
                    <a:pt x="80" y="9"/>
                  </a:lnTo>
                  <a:lnTo>
                    <a:pt x="77" y="9"/>
                  </a:lnTo>
                  <a:lnTo>
                    <a:pt x="68" y="9"/>
                  </a:lnTo>
                  <a:lnTo>
                    <a:pt x="68" y="9"/>
                  </a:lnTo>
                  <a:lnTo>
                    <a:pt x="64" y="12"/>
                  </a:lnTo>
                  <a:lnTo>
                    <a:pt x="61" y="13"/>
                  </a:lnTo>
                  <a:lnTo>
                    <a:pt x="60" y="15"/>
                  </a:lnTo>
                  <a:lnTo>
                    <a:pt x="60" y="15"/>
                  </a:lnTo>
                  <a:lnTo>
                    <a:pt x="58" y="16"/>
                  </a:lnTo>
                  <a:lnTo>
                    <a:pt x="55" y="18"/>
                  </a:lnTo>
                  <a:lnTo>
                    <a:pt x="53" y="20"/>
                  </a:lnTo>
                  <a:lnTo>
                    <a:pt x="53" y="25"/>
                  </a:lnTo>
                  <a:lnTo>
                    <a:pt x="53" y="25"/>
                  </a:lnTo>
                  <a:lnTo>
                    <a:pt x="54" y="29"/>
                  </a:lnTo>
                  <a:lnTo>
                    <a:pt x="51" y="30"/>
                  </a:lnTo>
                  <a:lnTo>
                    <a:pt x="50" y="30"/>
                  </a:lnTo>
                  <a:lnTo>
                    <a:pt x="47" y="29"/>
                  </a:lnTo>
                  <a:lnTo>
                    <a:pt x="47" y="29"/>
                  </a:lnTo>
                  <a:lnTo>
                    <a:pt x="38" y="29"/>
                  </a:lnTo>
                  <a:lnTo>
                    <a:pt x="34" y="30"/>
                  </a:lnTo>
                  <a:lnTo>
                    <a:pt x="30" y="32"/>
                  </a:lnTo>
                  <a:lnTo>
                    <a:pt x="30" y="32"/>
                  </a:lnTo>
                  <a:lnTo>
                    <a:pt x="28" y="33"/>
                  </a:lnTo>
                  <a:lnTo>
                    <a:pt x="26" y="35"/>
                  </a:lnTo>
                  <a:lnTo>
                    <a:pt x="21" y="33"/>
                  </a:lnTo>
                  <a:lnTo>
                    <a:pt x="21" y="33"/>
                  </a:lnTo>
                  <a:lnTo>
                    <a:pt x="16" y="32"/>
                  </a:lnTo>
                  <a:lnTo>
                    <a:pt x="14" y="33"/>
                  </a:lnTo>
                  <a:lnTo>
                    <a:pt x="11" y="35"/>
                  </a:lnTo>
                  <a:lnTo>
                    <a:pt x="11" y="35"/>
                  </a:lnTo>
                  <a:lnTo>
                    <a:pt x="10" y="36"/>
                  </a:lnTo>
                  <a:lnTo>
                    <a:pt x="7" y="35"/>
                  </a:lnTo>
                  <a:lnTo>
                    <a:pt x="4" y="33"/>
                  </a:lnTo>
                  <a:lnTo>
                    <a:pt x="3" y="32"/>
                  </a:lnTo>
                  <a:lnTo>
                    <a:pt x="3" y="32"/>
                  </a:lnTo>
                  <a:lnTo>
                    <a:pt x="0" y="33"/>
                  </a:lnTo>
                  <a:lnTo>
                    <a:pt x="0" y="36"/>
                  </a:lnTo>
                  <a:lnTo>
                    <a:pt x="0" y="40"/>
                  </a:lnTo>
                  <a:lnTo>
                    <a:pt x="0" y="40"/>
                  </a:lnTo>
                  <a:lnTo>
                    <a:pt x="3" y="43"/>
                  </a:lnTo>
                  <a:lnTo>
                    <a:pt x="6" y="45"/>
                  </a:lnTo>
                  <a:lnTo>
                    <a:pt x="8" y="45"/>
                  </a:lnTo>
                  <a:lnTo>
                    <a:pt x="8" y="45"/>
                  </a:lnTo>
                  <a:lnTo>
                    <a:pt x="11" y="45"/>
                  </a:lnTo>
                  <a:lnTo>
                    <a:pt x="14" y="45"/>
                  </a:lnTo>
                  <a:lnTo>
                    <a:pt x="18" y="47"/>
                  </a:lnTo>
                  <a:lnTo>
                    <a:pt x="18" y="47"/>
                  </a:lnTo>
                  <a:lnTo>
                    <a:pt x="21" y="47"/>
                  </a:lnTo>
                  <a:lnTo>
                    <a:pt x="24" y="46"/>
                  </a:lnTo>
                  <a:lnTo>
                    <a:pt x="28" y="43"/>
                  </a:lnTo>
                  <a:lnTo>
                    <a:pt x="28" y="43"/>
                  </a:lnTo>
                  <a:lnTo>
                    <a:pt x="31" y="43"/>
                  </a:lnTo>
                  <a:lnTo>
                    <a:pt x="35" y="42"/>
                  </a:lnTo>
                  <a:lnTo>
                    <a:pt x="41" y="42"/>
                  </a:lnTo>
                  <a:lnTo>
                    <a:pt x="41" y="42"/>
                  </a:lnTo>
                  <a:lnTo>
                    <a:pt x="43" y="45"/>
                  </a:lnTo>
                  <a:lnTo>
                    <a:pt x="44" y="49"/>
                  </a:lnTo>
                  <a:lnTo>
                    <a:pt x="44" y="49"/>
                  </a:lnTo>
                  <a:lnTo>
                    <a:pt x="50" y="50"/>
                  </a:lnTo>
                  <a:lnTo>
                    <a:pt x="60" y="50"/>
                  </a:lnTo>
                  <a:lnTo>
                    <a:pt x="60" y="50"/>
                  </a:lnTo>
                  <a:lnTo>
                    <a:pt x="70" y="53"/>
                  </a:lnTo>
                  <a:lnTo>
                    <a:pt x="77" y="55"/>
                  </a:lnTo>
                  <a:lnTo>
                    <a:pt x="77" y="55"/>
                  </a:lnTo>
                  <a:lnTo>
                    <a:pt x="80" y="53"/>
                  </a:lnTo>
                  <a:lnTo>
                    <a:pt x="82" y="52"/>
                  </a:lnTo>
                  <a:lnTo>
                    <a:pt x="87" y="50"/>
                  </a:lnTo>
                  <a:lnTo>
                    <a:pt x="91" y="49"/>
                  </a:lnTo>
                  <a:lnTo>
                    <a:pt x="91" y="49"/>
                  </a:lnTo>
                  <a:lnTo>
                    <a:pt x="95" y="49"/>
                  </a:lnTo>
                  <a:lnTo>
                    <a:pt x="98" y="47"/>
                  </a:lnTo>
                  <a:lnTo>
                    <a:pt x="102" y="46"/>
                  </a:lnTo>
                  <a:lnTo>
                    <a:pt x="102" y="46"/>
                  </a:lnTo>
                  <a:lnTo>
                    <a:pt x="102" y="46"/>
                  </a:lnTo>
                  <a:lnTo>
                    <a:pt x="102" y="46"/>
                  </a:lnTo>
                  <a:lnTo>
                    <a:pt x="102" y="43"/>
                  </a:lnTo>
                  <a:lnTo>
                    <a:pt x="104" y="42"/>
                  </a:lnTo>
                  <a:lnTo>
                    <a:pt x="104" y="42"/>
                  </a:lnTo>
                  <a:lnTo>
                    <a:pt x="105" y="40"/>
                  </a:lnTo>
                  <a:lnTo>
                    <a:pt x="107" y="39"/>
                  </a:lnTo>
                  <a:lnTo>
                    <a:pt x="107" y="36"/>
                  </a:lnTo>
                  <a:lnTo>
                    <a:pt x="107" y="35"/>
                  </a:lnTo>
                  <a:lnTo>
                    <a:pt x="107" y="35"/>
                  </a:lnTo>
                  <a:lnTo>
                    <a:pt x="108" y="33"/>
                  </a:lnTo>
                  <a:lnTo>
                    <a:pt x="108" y="30"/>
                  </a:lnTo>
                  <a:lnTo>
                    <a:pt x="108" y="29"/>
                  </a:lnTo>
                  <a:lnTo>
                    <a:pt x="109" y="29"/>
                  </a:lnTo>
                  <a:lnTo>
                    <a:pt x="109" y="29"/>
                  </a:lnTo>
                  <a:lnTo>
                    <a:pt x="114" y="29"/>
                  </a:lnTo>
                  <a:lnTo>
                    <a:pt x="115" y="27"/>
                  </a:lnTo>
                  <a:lnTo>
                    <a:pt x="117" y="25"/>
                  </a:lnTo>
                  <a:lnTo>
                    <a:pt x="117" y="25"/>
                  </a:lnTo>
                  <a:lnTo>
                    <a:pt x="117" y="22"/>
                  </a:lnTo>
                  <a:lnTo>
                    <a:pt x="118" y="20"/>
                  </a:lnTo>
                  <a:lnTo>
                    <a:pt x="118" y="20"/>
                  </a:lnTo>
                  <a:lnTo>
                    <a:pt x="114" y="12"/>
                  </a:lnTo>
                  <a:lnTo>
                    <a:pt x="112" y="6"/>
                  </a:lnTo>
                  <a:lnTo>
                    <a:pt x="112" y="6"/>
                  </a:lnTo>
                  <a:lnTo>
                    <a:pt x="107" y="8"/>
                  </a:lnTo>
                  <a:lnTo>
                    <a:pt x="104" y="8"/>
                  </a:lnTo>
                  <a:lnTo>
                    <a:pt x="99" y="5"/>
                  </a:lnTo>
                  <a:lnTo>
                    <a:pt x="99" y="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7" name="Freeform 257">
              <a:extLst>
                <a:ext uri="{FF2B5EF4-FFF2-40B4-BE49-F238E27FC236}">
                  <a16:creationId xmlns:a16="http://schemas.microsoft.com/office/drawing/2014/main" id="{DAB30F89-4E58-2947-96AE-BBDD47653484}"/>
                </a:ext>
              </a:extLst>
            </p:cNvPr>
            <p:cNvSpPr>
              <a:spLocks/>
            </p:cNvSpPr>
            <p:nvPr/>
          </p:nvSpPr>
          <p:spPr bwMode="auto">
            <a:xfrm>
              <a:off x="4705181" y="3043045"/>
              <a:ext cx="152418" cy="85827"/>
            </a:xfrm>
            <a:custGeom>
              <a:avLst/>
              <a:gdLst/>
              <a:ahLst/>
              <a:cxnLst>
                <a:cxn ang="0">
                  <a:pos x="100" y="11"/>
                </a:cxn>
                <a:cxn ang="0">
                  <a:pos x="97" y="8"/>
                </a:cxn>
                <a:cxn ang="0">
                  <a:pos x="87" y="5"/>
                </a:cxn>
                <a:cxn ang="0">
                  <a:pos x="83" y="2"/>
                </a:cxn>
                <a:cxn ang="0">
                  <a:pos x="71" y="0"/>
                </a:cxn>
                <a:cxn ang="0">
                  <a:pos x="69" y="1"/>
                </a:cxn>
                <a:cxn ang="0">
                  <a:pos x="60" y="8"/>
                </a:cxn>
                <a:cxn ang="0">
                  <a:pos x="57" y="10"/>
                </a:cxn>
                <a:cxn ang="0">
                  <a:pos x="42" y="12"/>
                </a:cxn>
                <a:cxn ang="0">
                  <a:pos x="40" y="15"/>
                </a:cxn>
                <a:cxn ang="0">
                  <a:pos x="39" y="15"/>
                </a:cxn>
                <a:cxn ang="0">
                  <a:pos x="30" y="18"/>
                </a:cxn>
                <a:cxn ang="0">
                  <a:pos x="19" y="15"/>
                </a:cxn>
                <a:cxn ang="0">
                  <a:pos x="16" y="12"/>
                </a:cxn>
                <a:cxn ang="0">
                  <a:pos x="15" y="14"/>
                </a:cxn>
                <a:cxn ang="0">
                  <a:pos x="15" y="17"/>
                </a:cxn>
                <a:cxn ang="0">
                  <a:pos x="12" y="21"/>
                </a:cxn>
                <a:cxn ang="0">
                  <a:pos x="7" y="21"/>
                </a:cxn>
                <a:cxn ang="0">
                  <a:pos x="6" y="22"/>
                </a:cxn>
                <a:cxn ang="0">
                  <a:pos x="5" y="27"/>
                </a:cxn>
                <a:cxn ang="0">
                  <a:pos x="5" y="28"/>
                </a:cxn>
                <a:cxn ang="0">
                  <a:pos x="3" y="32"/>
                </a:cxn>
                <a:cxn ang="0">
                  <a:pos x="2" y="34"/>
                </a:cxn>
                <a:cxn ang="0">
                  <a:pos x="0" y="38"/>
                </a:cxn>
                <a:cxn ang="0">
                  <a:pos x="2" y="41"/>
                </a:cxn>
                <a:cxn ang="0">
                  <a:pos x="3" y="44"/>
                </a:cxn>
                <a:cxn ang="0">
                  <a:pos x="3" y="44"/>
                </a:cxn>
                <a:cxn ang="0">
                  <a:pos x="16" y="54"/>
                </a:cxn>
                <a:cxn ang="0">
                  <a:pos x="20" y="56"/>
                </a:cxn>
                <a:cxn ang="0">
                  <a:pos x="29" y="58"/>
                </a:cxn>
                <a:cxn ang="0">
                  <a:pos x="33" y="58"/>
                </a:cxn>
                <a:cxn ang="0">
                  <a:pos x="56" y="51"/>
                </a:cxn>
                <a:cxn ang="0">
                  <a:pos x="62" y="52"/>
                </a:cxn>
                <a:cxn ang="0">
                  <a:pos x="67" y="54"/>
                </a:cxn>
                <a:cxn ang="0">
                  <a:pos x="76" y="47"/>
                </a:cxn>
                <a:cxn ang="0">
                  <a:pos x="80" y="41"/>
                </a:cxn>
                <a:cxn ang="0">
                  <a:pos x="91" y="22"/>
                </a:cxn>
                <a:cxn ang="0">
                  <a:pos x="101" y="15"/>
                </a:cxn>
                <a:cxn ang="0">
                  <a:pos x="103" y="14"/>
                </a:cxn>
                <a:cxn ang="0">
                  <a:pos x="103" y="11"/>
                </a:cxn>
                <a:cxn ang="0">
                  <a:pos x="100" y="11"/>
                </a:cxn>
              </a:cxnLst>
              <a:rect l="0" t="0" r="r" b="b"/>
              <a:pathLst>
                <a:path w="103" h="58">
                  <a:moveTo>
                    <a:pt x="100" y="11"/>
                  </a:moveTo>
                  <a:lnTo>
                    <a:pt x="100" y="11"/>
                  </a:lnTo>
                  <a:lnTo>
                    <a:pt x="97" y="8"/>
                  </a:lnTo>
                  <a:lnTo>
                    <a:pt x="97" y="8"/>
                  </a:lnTo>
                  <a:lnTo>
                    <a:pt x="90" y="7"/>
                  </a:lnTo>
                  <a:lnTo>
                    <a:pt x="87" y="5"/>
                  </a:lnTo>
                  <a:lnTo>
                    <a:pt x="87" y="5"/>
                  </a:lnTo>
                  <a:lnTo>
                    <a:pt x="83" y="2"/>
                  </a:lnTo>
                  <a:lnTo>
                    <a:pt x="79" y="1"/>
                  </a:lnTo>
                  <a:lnTo>
                    <a:pt x="71" y="0"/>
                  </a:lnTo>
                  <a:lnTo>
                    <a:pt x="71" y="0"/>
                  </a:lnTo>
                  <a:lnTo>
                    <a:pt x="69" y="1"/>
                  </a:lnTo>
                  <a:lnTo>
                    <a:pt x="64" y="4"/>
                  </a:lnTo>
                  <a:lnTo>
                    <a:pt x="60" y="8"/>
                  </a:lnTo>
                  <a:lnTo>
                    <a:pt x="57" y="10"/>
                  </a:lnTo>
                  <a:lnTo>
                    <a:pt x="57" y="10"/>
                  </a:lnTo>
                  <a:lnTo>
                    <a:pt x="47" y="11"/>
                  </a:lnTo>
                  <a:lnTo>
                    <a:pt x="42" y="12"/>
                  </a:lnTo>
                  <a:lnTo>
                    <a:pt x="40" y="14"/>
                  </a:lnTo>
                  <a:lnTo>
                    <a:pt x="40" y="15"/>
                  </a:lnTo>
                  <a:lnTo>
                    <a:pt x="40" y="15"/>
                  </a:lnTo>
                  <a:lnTo>
                    <a:pt x="39" y="15"/>
                  </a:lnTo>
                  <a:lnTo>
                    <a:pt x="37" y="17"/>
                  </a:lnTo>
                  <a:lnTo>
                    <a:pt x="30" y="18"/>
                  </a:lnTo>
                  <a:lnTo>
                    <a:pt x="23" y="17"/>
                  </a:lnTo>
                  <a:lnTo>
                    <a:pt x="19" y="15"/>
                  </a:lnTo>
                  <a:lnTo>
                    <a:pt x="19" y="15"/>
                  </a:lnTo>
                  <a:lnTo>
                    <a:pt x="16" y="12"/>
                  </a:lnTo>
                  <a:lnTo>
                    <a:pt x="16" y="12"/>
                  </a:lnTo>
                  <a:lnTo>
                    <a:pt x="15" y="14"/>
                  </a:lnTo>
                  <a:lnTo>
                    <a:pt x="15" y="17"/>
                  </a:lnTo>
                  <a:lnTo>
                    <a:pt x="15" y="17"/>
                  </a:lnTo>
                  <a:lnTo>
                    <a:pt x="13" y="19"/>
                  </a:lnTo>
                  <a:lnTo>
                    <a:pt x="12" y="21"/>
                  </a:lnTo>
                  <a:lnTo>
                    <a:pt x="7" y="21"/>
                  </a:lnTo>
                  <a:lnTo>
                    <a:pt x="7" y="21"/>
                  </a:lnTo>
                  <a:lnTo>
                    <a:pt x="6" y="21"/>
                  </a:lnTo>
                  <a:lnTo>
                    <a:pt x="6" y="22"/>
                  </a:lnTo>
                  <a:lnTo>
                    <a:pt x="6" y="25"/>
                  </a:lnTo>
                  <a:lnTo>
                    <a:pt x="5" y="27"/>
                  </a:lnTo>
                  <a:lnTo>
                    <a:pt x="5" y="27"/>
                  </a:lnTo>
                  <a:lnTo>
                    <a:pt x="5" y="28"/>
                  </a:lnTo>
                  <a:lnTo>
                    <a:pt x="5" y="31"/>
                  </a:lnTo>
                  <a:lnTo>
                    <a:pt x="3" y="32"/>
                  </a:lnTo>
                  <a:lnTo>
                    <a:pt x="2" y="34"/>
                  </a:lnTo>
                  <a:lnTo>
                    <a:pt x="2" y="34"/>
                  </a:lnTo>
                  <a:lnTo>
                    <a:pt x="0" y="35"/>
                  </a:lnTo>
                  <a:lnTo>
                    <a:pt x="0" y="38"/>
                  </a:lnTo>
                  <a:lnTo>
                    <a:pt x="0" y="38"/>
                  </a:lnTo>
                  <a:lnTo>
                    <a:pt x="2" y="41"/>
                  </a:lnTo>
                  <a:lnTo>
                    <a:pt x="3" y="44"/>
                  </a:lnTo>
                  <a:lnTo>
                    <a:pt x="3" y="44"/>
                  </a:lnTo>
                  <a:lnTo>
                    <a:pt x="3" y="44"/>
                  </a:lnTo>
                  <a:lnTo>
                    <a:pt x="3" y="44"/>
                  </a:lnTo>
                  <a:lnTo>
                    <a:pt x="10" y="48"/>
                  </a:lnTo>
                  <a:lnTo>
                    <a:pt x="16" y="54"/>
                  </a:lnTo>
                  <a:lnTo>
                    <a:pt x="16" y="54"/>
                  </a:lnTo>
                  <a:lnTo>
                    <a:pt x="20" y="56"/>
                  </a:lnTo>
                  <a:lnTo>
                    <a:pt x="25" y="58"/>
                  </a:lnTo>
                  <a:lnTo>
                    <a:pt x="29" y="58"/>
                  </a:lnTo>
                  <a:lnTo>
                    <a:pt x="33" y="58"/>
                  </a:lnTo>
                  <a:lnTo>
                    <a:pt x="33" y="58"/>
                  </a:lnTo>
                  <a:lnTo>
                    <a:pt x="56" y="51"/>
                  </a:lnTo>
                  <a:lnTo>
                    <a:pt x="56" y="51"/>
                  </a:lnTo>
                  <a:lnTo>
                    <a:pt x="62" y="52"/>
                  </a:lnTo>
                  <a:lnTo>
                    <a:pt x="62" y="52"/>
                  </a:lnTo>
                  <a:lnTo>
                    <a:pt x="67" y="54"/>
                  </a:lnTo>
                  <a:lnTo>
                    <a:pt x="67" y="54"/>
                  </a:lnTo>
                  <a:lnTo>
                    <a:pt x="70" y="51"/>
                  </a:lnTo>
                  <a:lnTo>
                    <a:pt x="76" y="47"/>
                  </a:lnTo>
                  <a:lnTo>
                    <a:pt x="76" y="47"/>
                  </a:lnTo>
                  <a:lnTo>
                    <a:pt x="80" y="41"/>
                  </a:lnTo>
                  <a:lnTo>
                    <a:pt x="84" y="34"/>
                  </a:lnTo>
                  <a:lnTo>
                    <a:pt x="91" y="22"/>
                  </a:lnTo>
                  <a:lnTo>
                    <a:pt x="91" y="22"/>
                  </a:lnTo>
                  <a:lnTo>
                    <a:pt x="101" y="15"/>
                  </a:lnTo>
                  <a:lnTo>
                    <a:pt x="101" y="15"/>
                  </a:lnTo>
                  <a:lnTo>
                    <a:pt x="103" y="14"/>
                  </a:lnTo>
                  <a:lnTo>
                    <a:pt x="103" y="12"/>
                  </a:lnTo>
                  <a:lnTo>
                    <a:pt x="103" y="11"/>
                  </a:lnTo>
                  <a:lnTo>
                    <a:pt x="100" y="11"/>
                  </a:lnTo>
                  <a:lnTo>
                    <a:pt x="100"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8" name="Freeform 258">
              <a:extLst>
                <a:ext uri="{FF2B5EF4-FFF2-40B4-BE49-F238E27FC236}">
                  <a16:creationId xmlns:a16="http://schemas.microsoft.com/office/drawing/2014/main" id="{FC6188EC-BDCB-9944-8FA9-E9B2CD3019DA}"/>
                </a:ext>
              </a:extLst>
            </p:cNvPr>
            <p:cNvSpPr>
              <a:spLocks/>
            </p:cNvSpPr>
            <p:nvPr/>
          </p:nvSpPr>
          <p:spPr bwMode="auto">
            <a:xfrm>
              <a:off x="4617874" y="2969055"/>
              <a:ext cx="146499" cy="76949"/>
            </a:xfrm>
            <a:custGeom>
              <a:avLst/>
              <a:gdLst/>
              <a:ahLst/>
              <a:cxnLst>
                <a:cxn ang="0">
                  <a:pos x="93" y="24"/>
                </a:cxn>
                <a:cxn ang="0">
                  <a:pos x="85" y="23"/>
                </a:cxn>
                <a:cxn ang="0">
                  <a:pos x="84" y="21"/>
                </a:cxn>
                <a:cxn ang="0">
                  <a:pos x="81" y="15"/>
                </a:cxn>
                <a:cxn ang="0">
                  <a:pos x="79" y="15"/>
                </a:cxn>
                <a:cxn ang="0">
                  <a:pos x="72" y="15"/>
                </a:cxn>
                <a:cxn ang="0">
                  <a:pos x="69" y="17"/>
                </a:cxn>
                <a:cxn ang="0">
                  <a:pos x="65" y="17"/>
                </a:cxn>
                <a:cxn ang="0">
                  <a:pos x="61" y="13"/>
                </a:cxn>
                <a:cxn ang="0">
                  <a:pos x="61" y="11"/>
                </a:cxn>
                <a:cxn ang="0">
                  <a:pos x="51" y="5"/>
                </a:cxn>
                <a:cxn ang="0">
                  <a:pos x="41" y="0"/>
                </a:cxn>
                <a:cxn ang="0">
                  <a:pos x="41" y="3"/>
                </a:cxn>
                <a:cxn ang="0">
                  <a:pos x="39" y="3"/>
                </a:cxn>
                <a:cxn ang="0">
                  <a:pos x="34" y="1"/>
                </a:cxn>
                <a:cxn ang="0">
                  <a:pos x="32" y="3"/>
                </a:cxn>
                <a:cxn ang="0">
                  <a:pos x="27" y="5"/>
                </a:cxn>
                <a:cxn ang="0">
                  <a:pos x="20" y="8"/>
                </a:cxn>
                <a:cxn ang="0">
                  <a:pos x="15" y="11"/>
                </a:cxn>
                <a:cxn ang="0">
                  <a:pos x="2" y="15"/>
                </a:cxn>
                <a:cxn ang="0">
                  <a:pos x="0" y="17"/>
                </a:cxn>
                <a:cxn ang="0">
                  <a:pos x="4" y="24"/>
                </a:cxn>
                <a:cxn ang="0">
                  <a:pos x="5" y="31"/>
                </a:cxn>
                <a:cxn ang="0">
                  <a:pos x="8" y="37"/>
                </a:cxn>
                <a:cxn ang="0">
                  <a:pos x="18" y="44"/>
                </a:cxn>
                <a:cxn ang="0">
                  <a:pos x="25" y="50"/>
                </a:cxn>
                <a:cxn ang="0">
                  <a:pos x="25" y="51"/>
                </a:cxn>
                <a:cxn ang="0">
                  <a:pos x="37" y="51"/>
                </a:cxn>
                <a:cxn ang="0">
                  <a:pos x="39" y="50"/>
                </a:cxn>
                <a:cxn ang="0">
                  <a:pos x="42" y="42"/>
                </a:cxn>
                <a:cxn ang="0">
                  <a:pos x="48" y="42"/>
                </a:cxn>
                <a:cxn ang="0">
                  <a:pos x="56" y="47"/>
                </a:cxn>
                <a:cxn ang="0">
                  <a:pos x="61" y="50"/>
                </a:cxn>
                <a:cxn ang="0">
                  <a:pos x="69" y="48"/>
                </a:cxn>
                <a:cxn ang="0">
                  <a:pos x="69" y="52"/>
                </a:cxn>
                <a:cxn ang="0">
                  <a:pos x="72" y="48"/>
                </a:cxn>
                <a:cxn ang="0">
                  <a:pos x="75" y="47"/>
                </a:cxn>
                <a:cxn ang="0">
                  <a:pos x="86" y="42"/>
                </a:cxn>
                <a:cxn ang="0">
                  <a:pos x="89" y="40"/>
                </a:cxn>
                <a:cxn ang="0">
                  <a:pos x="99" y="31"/>
                </a:cxn>
                <a:cxn ang="0">
                  <a:pos x="96" y="27"/>
                </a:cxn>
                <a:cxn ang="0">
                  <a:pos x="93" y="24"/>
                </a:cxn>
              </a:cxnLst>
              <a:rect l="0" t="0" r="r" b="b"/>
              <a:pathLst>
                <a:path w="99" h="52">
                  <a:moveTo>
                    <a:pt x="93" y="24"/>
                  </a:moveTo>
                  <a:lnTo>
                    <a:pt x="93" y="24"/>
                  </a:lnTo>
                  <a:lnTo>
                    <a:pt x="88" y="23"/>
                  </a:lnTo>
                  <a:lnTo>
                    <a:pt x="85" y="23"/>
                  </a:lnTo>
                  <a:lnTo>
                    <a:pt x="84" y="21"/>
                  </a:lnTo>
                  <a:lnTo>
                    <a:pt x="84" y="21"/>
                  </a:lnTo>
                  <a:lnTo>
                    <a:pt x="82" y="17"/>
                  </a:lnTo>
                  <a:lnTo>
                    <a:pt x="81" y="15"/>
                  </a:lnTo>
                  <a:lnTo>
                    <a:pt x="79" y="15"/>
                  </a:lnTo>
                  <a:lnTo>
                    <a:pt x="79" y="15"/>
                  </a:lnTo>
                  <a:lnTo>
                    <a:pt x="74" y="15"/>
                  </a:lnTo>
                  <a:lnTo>
                    <a:pt x="72" y="15"/>
                  </a:lnTo>
                  <a:lnTo>
                    <a:pt x="69" y="17"/>
                  </a:lnTo>
                  <a:lnTo>
                    <a:pt x="69" y="17"/>
                  </a:lnTo>
                  <a:lnTo>
                    <a:pt x="68" y="18"/>
                  </a:lnTo>
                  <a:lnTo>
                    <a:pt x="65" y="17"/>
                  </a:lnTo>
                  <a:lnTo>
                    <a:pt x="62" y="15"/>
                  </a:lnTo>
                  <a:lnTo>
                    <a:pt x="61" y="13"/>
                  </a:lnTo>
                  <a:lnTo>
                    <a:pt x="61" y="13"/>
                  </a:lnTo>
                  <a:lnTo>
                    <a:pt x="61" y="11"/>
                  </a:lnTo>
                  <a:lnTo>
                    <a:pt x="59" y="10"/>
                  </a:lnTo>
                  <a:lnTo>
                    <a:pt x="51" y="5"/>
                  </a:lnTo>
                  <a:lnTo>
                    <a:pt x="51" y="5"/>
                  </a:lnTo>
                  <a:lnTo>
                    <a:pt x="41" y="0"/>
                  </a:lnTo>
                  <a:lnTo>
                    <a:pt x="41" y="0"/>
                  </a:lnTo>
                  <a:lnTo>
                    <a:pt x="41" y="3"/>
                  </a:lnTo>
                  <a:lnTo>
                    <a:pt x="41" y="3"/>
                  </a:lnTo>
                  <a:lnTo>
                    <a:pt x="39" y="3"/>
                  </a:lnTo>
                  <a:lnTo>
                    <a:pt x="37" y="3"/>
                  </a:lnTo>
                  <a:lnTo>
                    <a:pt x="34" y="1"/>
                  </a:lnTo>
                  <a:lnTo>
                    <a:pt x="32" y="3"/>
                  </a:lnTo>
                  <a:lnTo>
                    <a:pt x="32" y="3"/>
                  </a:lnTo>
                  <a:lnTo>
                    <a:pt x="29" y="4"/>
                  </a:lnTo>
                  <a:lnTo>
                    <a:pt x="27" y="5"/>
                  </a:lnTo>
                  <a:lnTo>
                    <a:pt x="22" y="7"/>
                  </a:lnTo>
                  <a:lnTo>
                    <a:pt x="20" y="8"/>
                  </a:lnTo>
                  <a:lnTo>
                    <a:pt x="20" y="8"/>
                  </a:lnTo>
                  <a:lnTo>
                    <a:pt x="15" y="11"/>
                  </a:lnTo>
                  <a:lnTo>
                    <a:pt x="11" y="13"/>
                  </a:lnTo>
                  <a:lnTo>
                    <a:pt x="2" y="15"/>
                  </a:lnTo>
                  <a:lnTo>
                    <a:pt x="2" y="15"/>
                  </a:lnTo>
                  <a:lnTo>
                    <a:pt x="0" y="17"/>
                  </a:lnTo>
                  <a:lnTo>
                    <a:pt x="1" y="18"/>
                  </a:lnTo>
                  <a:lnTo>
                    <a:pt x="4" y="24"/>
                  </a:lnTo>
                  <a:lnTo>
                    <a:pt x="4" y="24"/>
                  </a:lnTo>
                  <a:lnTo>
                    <a:pt x="5" y="31"/>
                  </a:lnTo>
                  <a:lnTo>
                    <a:pt x="7" y="34"/>
                  </a:lnTo>
                  <a:lnTo>
                    <a:pt x="8" y="37"/>
                  </a:lnTo>
                  <a:lnTo>
                    <a:pt x="8" y="37"/>
                  </a:lnTo>
                  <a:lnTo>
                    <a:pt x="18" y="44"/>
                  </a:lnTo>
                  <a:lnTo>
                    <a:pt x="25" y="50"/>
                  </a:lnTo>
                  <a:lnTo>
                    <a:pt x="25" y="50"/>
                  </a:lnTo>
                  <a:lnTo>
                    <a:pt x="25" y="51"/>
                  </a:lnTo>
                  <a:lnTo>
                    <a:pt x="25" y="51"/>
                  </a:lnTo>
                  <a:lnTo>
                    <a:pt x="34" y="51"/>
                  </a:lnTo>
                  <a:lnTo>
                    <a:pt x="37" y="51"/>
                  </a:lnTo>
                  <a:lnTo>
                    <a:pt x="39" y="50"/>
                  </a:lnTo>
                  <a:lnTo>
                    <a:pt x="39" y="50"/>
                  </a:lnTo>
                  <a:lnTo>
                    <a:pt x="41" y="45"/>
                  </a:lnTo>
                  <a:lnTo>
                    <a:pt x="42" y="42"/>
                  </a:lnTo>
                  <a:lnTo>
                    <a:pt x="42" y="42"/>
                  </a:lnTo>
                  <a:lnTo>
                    <a:pt x="48" y="42"/>
                  </a:lnTo>
                  <a:lnTo>
                    <a:pt x="52" y="44"/>
                  </a:lnTo>
                  <a:lnTo>
                    <a:pt x="56" y="47"/>
                  </a:lnTo>
                  <a:lnTo>
                    <a:pt x="56" y="47"/>
                  </a:lnTo>
                  <a:lnTo>
                    <a:pt x="61" y="50"/>
                  </a:lnTo>
                  <a:lnTo>
                    <a:pt x="64" y="50"/>
                  </a:lnTo>
                  <a:lnTo>
                    <a:pt x="69" y="48"/>
                  </a:lnTo>
                  <a:lnTo>
                    <a:pt x="69" y="48"/>
                  </a:lnTo>
                  <a:lnTo>
                    <a:pt x="69" y="52"/>
                  </a:lnTo>
                  <a:lnTo>
                    <a:pt x="69" y="52"/>
                  </a:lnTo>
                  <a:lnTo>
                    <a:pt x="72" y="48"/>
                  </a:lnTo>
                  <a:lnTo>
                    <a:pt x="75" y="47"/>
                  </a:lnTo>
                  <a:lnTo>
                    <a:pt x="75" y="47"/>
                  </a:lnTo>
                  <a:lnTo>
                    <a:pt x="82" y="45"/>
                  </a:lnTo>
                  <a:lnTo>
                    <a:pt x="86" y="42"/>
                  </a:lnTo>
                  <a:lnTo>
                    <a:pt x="89" y="40"/>
                  </a:lnTo>
                  <a:lnTo>
                    <a:pt x="89" y="40"/>
                  </a:lnTo>
                  <a:lnTo>
                    <a:pt x="93" y="35"/>
                  </a:lnTo>
                  <a:lnTo>
                    <a:pt x="99" y="31"/>
                  </a:lnTo>
                  <a:lnTo>
                    <a:pt x="99" y="31"/>
                  </a:lnTo>
                  <a:lnTo>
                    <a:pt x="96" y="27"/>
                  </a:lnTo>
                  <a:lnTo>
                    <a:pt x="93" y="24"/>
                  </a:lnTo>
                  <a:lnTo>
                    <a:pt x="93"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9" name="Freeform 259">
              <a:extLst>
                <a:ext uri="{FF2B5EF4-FFF2-40B4-BE49-F238E27FC236}">
                  <a16:creationId xmlns:a16="http://schemas.microsoft.com/office/drawing/2014/main" id="{7787B1F8-F49E-C748-B182-86BC728200F7}"/>
                </a:ext>
              </a:extLst>
            </p:cNvPr>
            <p:cNvSpPr>
              <a:spLocks/>
            </p:cNvSpPr>
            <p:nvPr/>
          </p:nvSpPr>
          <p:spPr bwMode="auto">
            <a:xfrm>
              <a:off x="4719978" y="3014929"/>
              <a:ext cx="134661" cy="54753"/>
            </a:xfrm>
            <a:custGeom>
              <a:avLst/>
              <a:gdLst/>
              <a:ahLst/>
              <a:cxnLst>
                <a:cxn ang="0">
                  <a:pos x="67" y="4"/>
                </a:cxn>
                <a:cxn ang="0">
                  <a:pos x="61" y="3"/>
                </a:cxn>
                <a:cxn ang="0">
                  <a:pos x="56" y="3"/>
                </a:cxn>
                <a:cxn ang="0">
                  <a:pos x="52" y="3"/>
                </a:cxn>
                <a:cxn ang="0">
                  <a:pos x="42" y="2"/>
                </a:cxn>
                <a:cxn ang="0">
                  <a:pos x="40" y="2"/>
                </a:cxn>
                <a:cxn ang="0">
                  <a:pos x="34" y="3"/>
                </a:cxn>
                <a:cxn ang="0">
                  <a:pos x="32" y="3"/>
                </a:cxn>
                <a:cxn ang="0">
                  <a:pos x="30" y="0"/>
                </a:cxn>
                <a:cxn ang="0">
                  <a:pos x="20" y="9"/>
                </a:cxn>
                <a:cxn ang="0">
                  <a:pos x="17" y="11"/>
                </a:cxn>
                <a:cxn ang="0">
                  <a:pos x="6" y="16"/>
                </a:cxn>
                <a:cxn ang="0">
                  <a:pos x="3" y="17"/>
                </a:cxn>
                <a:cxn ang="0">
                  <a:pos x="0" y="21"/>
                </a:cxn>
                <a:cxn ang="0">
                  <a:pos x="9" y="34"/>
                </a:cxn>
                <a:cxn ang="0">
                  <a:pos x="13" y="36"/>
                </a:cxn>
                <a:cxn ang="0">
                  <a:pos x="27" y="36"/>
                </a:cxn>
                <a:cxn ang="0">
                  <a:pos x="30" y="34"/>
                </a:cxn>
                <a:cxn ang="0">
                  <a:pos x="30" y="33"/>
                </a:cxn>
                <a:cxn ang="0">
                  <a:pos x="37" y="30"/>
                </a:cxn>
                <a:cxn ang="0">
                  <a:pos x="47" y="29"/>
                </a:cxn>
                <a:cxn ang="0">
                  <a:pos x="54" y="23"/>
                </a:cxn>
                <a:cxn ang="0">
                  <a:pos x="61" y="19"/>
                </a:cxn>
                <a:cxn ang="0">
                  <a:pos x="69" y="20"/>
                </a:cxn>
                <a:cxn ang="0">
                  <a:pos x="77" y="24"/>
                </a:cxn>
                <a:cxn ang="0">
                  <a:pos x="80" y="26"/>
                </a:cxn>
                <a:cxn ang="0">
                  <a:pos x="87" y="27"/>
                </a:cxn>
                <a:cxn ang="0">
                  <a:pos x="83" y="21"/>
                </a:cxn>
                <a:cxn ang="0">
                  <a:pos x="84" y="19"/>
                </a:cxn>
                <a:cxn ang="0">
                  <a:pos x="90" y="10"/>
                </a:cxn>
                <a:cxn ang="0">
                  <a:pos x="91" y="10"/>
                </a:cxn>
                <a:cxn ang="0">
                  <a:pos x="84" y="9"/>
                </a:cxn>
                <a:cxn ang="0">
                  <a:pos x="81" y="7"/>
                </a:cxn>
                <a:cxn ang="0">
                  <a:pos x="67" y="4"/>
                </a:cxn>
              </a:cxnLst>
              <a:rect l="0" t="0" r="r" b="b"/>
              <a:pathLst>
                <a:path w="91" h="37">
                  <a:moveTo>
                    <a:pt x="67" y="4"/>
                  </a:moveTo>
                  <a:lnTo>
                    <a:pt x="67" y="4"/>
                  </a:lnTo>
                  <a:lnTo>
                    <a:pt x="64" y="4"/>
                  </a:lnTo>
                  <a:lnTo>
                    <a:pt x="61" y="3"/>
                  </a:lnTo>
                  <a:lnTo>
                    <a:pt x="59" y="3"/>
                  </a:lnTo>
                  <a:lnTo>
                    <a:pt x="56" y="3"/>
                  </a:lnTo>
                  <a:lnTo>
                    <a:pt x="56" y="3"/>
                  </a:lnTo>
                  <a:lnTo>
                    <a:pt x="52" y="3"/>
                  </a:lnTo>
                  <a:lnTo>
                    <a:pt x="47" y="3"/>
                  </a:lnTo>
                  <a:lnTo>
                    <a:pt x="42" y="2"/>
                  </a:lnTo>
                  <a:lnTo>
                    <a:pt x="42" y="2"/>
                  </a:lnTo>
                  <a:lnTo>
                    <a:pt x="40" y="2"/>
                  </a:lnTo>
                  <a:lnTo>
                    <a:pt x="37" y="2"/>
                  </a:lnTo>
                  <a:lnTo>
                    <a:pt x="34" y="3"/>
                  </a:lnTo>
                  <a:lnTo>
                    <a:pt x="32" y="3"/>
                  </a:lnTo>
                  <a:lnTo>
                    <a:pt x="32" y="3"/>
                  </a:lnTo>
                  <a:lnTo>
                    <a:pt x="30" y="0"/>
                  </a:lnTo>
                  <a:lnTo>
                    <a:pt x="30" y="0"/>
                  </a:lnTo>
                  <a:lnTo>
                    <a:pt x="24" y="4"/>
                  </a:lnTo>
                  <a:lnTo>
                    <a:pt x="20" y="9"/>
                  </a:lnTo>
                  <a:lnTo>
                    <a:pt x="20" y="9"/>
                  </a:lnTo>
                  <a:lnTo>
                    <a:pt x="17" y="11"/>
                  </a:lnTo>
                  <a:lnTo>
                    <a:pt x="13" y="14"/>
                  </a:lnTo>
                  <a:lnTo>
                    <a:pt x="6" y="16"/>
                  </a:lnTo>
                  <a:lnTo>
                    <a:pt x="6" y="16"/>
                  </a:lnTo>
                  <a:lnTo>
                    <a:pt x="3" y="17"/>
                  </a:lnTo>
                  <a:lnTo>
                    <a:pt x="0" y="21"/>
                  </a:lnTo>
                  <a:lnTo>
                    <a:pt x="0" y="21"/>
                  </a:lnTo>
                  <a:lnTo>
                    <a:pt x="5" y="27"/>
                  </a:lnTo>
                  <a:lnTo>
                    <a:pt x="9" y="34"/>
                  </a:lnTo>
                  <a:lnTo>
                    <a:pt x="9" y="34"/>
                  </a:lnTo>
                  <a:lnTo>
                    <a:pt x="13" y="36"/>
                  </a:lnTo>
                  <a:lnTo>
                    <a:pt x="20" y="37"/>
                  </a:lnTo>
                  <a:lnTo>
                    <a:pt x="27" y="36"/>
                  </a:lnTo>
                  <a:lnTo>
                    <a:pt x="29" y="34"/>
                  </a:lnTo>
                  <a:lnTo>
                    <a:pt x="30" y="34"/>
                  </a:lnTo>
                  <a:lnTo>
                    <a:pt x="30" y="34"/>
                  </a:lnTo>
                  <a:lnTo>
                    <a:pt x="30" y="33"/>
                  </a:lnTo>
                  <a:lnTo>
                    <a:pt x="32" y="31"/>
                  </a:lnTo>
                  <a:lnTo>
                    <a:pt x="37" y="30"/>
                  </a:lnTo>
                  <a:lnTo>
                    <a:pt x="47" y="29"/>
                  </a:lnTo>
                  <a:lnTo>
                    <a:pt x="47" y="29"/>
                  </a:lnTo>
                  <a:lnTo>
                    <a:pt x="50" y="27"/>
                  </a:lnTo>
                  <a:lnTo>
                    <a:pt x="54" y="23"/>
                  </a:lnTo>
                  <a:lnTo>
                    <a:pt x="59" y="20"/>
                  </a:lnTo>
                  <a:lnTo>
                    <a:pt x="61" y="19"/>
                  </a:lnTo>
                  <a:lnTo>
                    <a:pt x="61" y="19"/>
                  </a:lnTo>
                  <a:lnTo>
                    <a:pt x="69" y="20"/>
                  </a:lnTo>
                  <a:lnTo>
                    <a:pt x="73" y="21"/>
                  </a:lnTo>
                  <a:lnTo>
                    <a:pt x="77" y="24"/>
                  </a:lnTo>
                  <a:lnTo>
                    <a:pt x="77" y="24"/>
                  </a:lnTo>
                  <a:lnTo>
                    <a:pt x="80" y="26"/>
                  </a:lnTo>
                  <a:lnTo>
                    <a:pt x="87" y="27"/>
                  </a:lnTo>
                  <a:lnTo>
                    <a:pt x="87" y="27"/>
                  </a:lnTo>
                  <a:lnTo>
                    <a:pt x="84" y="24"/>
                  </a:lnTo>
                  <a:lnTo>
                    <a:pt x="83" y="21"/>
                  </a:lnTo>
                  <a:lnTo>
                    <a:pt x="83" y="21"/>
                  </a:lnTo>
                  <a:lnTo>
                    <a:pt x="84" y="19"/>
                  </a:lnTo>
                  <a:lnTo>
                    <a:pt x="86" y="16"/>
                  </a:lnTo>
                  <a:lnTo>
                    <a:pt x="90" y="10"/>
                  </a:lnTo>
                  <a:lnTo>
                    <a:pt x="90" y="10"/>
                  </a:lnTo>
                  <a:lnTo>
                    <a:pt x="91" y="10"/>
                  </a:lnTo>
                  <a:lnTo>
                    <a:pt x="91" y="10"/>
                  </a:lnTo>
                  <a:lnTo>
                    <a:pt x="84" y="9"/>
                  </a:lnTo>
                  <a:lnTo>
                    <a:pt x="81" y="7"/>
                  </a:lnTo>
                  <a:lnTo>
                    <a:pt x="81" y="7"/>
                  </a:lnTo>
                  <a:lnTo>
                    <a:pt x="76" y="4"/>
                  </a:lnTo>
                  <a:lnTo>
                    <a:pt x="67" y="4"/>
                  </a:lnTo>
                  <a:lnTo>
                    <a:pt x="67"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0" name="Freeform 260">
              <a:extLst>
                <a:ext uri="{FF2B5EF4-FFF2-40B4-BE49-F238E27FC236}">
                  <a16:creationId xmlns:a16="http://schemas.microsoft.com/office/drawing/2014/main" id="{BF7CF0A6-9BD0-494A-A9EF-906A78597630}"/>
                </a:ext>
              </a:extLst>
            </p:cNvPr>
            <p:cNvSpPr>
              <a:spLocks/>
            </p:cNvSpPr>
            <p:nvPr/>
          </p:nvSpPr>
          <p:spPr bwMode="auto">
            <a:xfrm>
              <a:off x="4096990" y="3238377"/>
              <a:ext cx="78429" cy="145019"/>
            </a:xfrm>
            <a:custGeom>
              <a:avLst/>
              <a:gdLst/>
              <a:ahLst/>
              <a:cxnLst>
                <a:cxn ang="0">
                  <a:pos x="40" y="81"/>
                </a:cxn>
                <a:cxn ang="0">
                  <a:pos x="41" y="80"/>
                </a:cxn>
                <a:cxn ang="0">
                  <a:pos x="36" y="72"/>
                </a:cxn>
                <a:cxn ang="0">
                  <a:pos x="36" y="70"/>
                </a:cxn>
                <a:cxn ang="0">
                  <a:pos x="37" y="65"/>
                </a:cxn>
                <a:cxn ang="0">
                  <a:pos x="40" y="64"/>
                </a:cxn>
                <a:cxn ang="0">
                  <a:pos x="41" y="61"/>
                </a:cxn>
                <a:cxn ang="0">
                  <a:pos x="36" y="55"/>
                </a:cxn>
                <a:cxn ang="0">
                  <a:pos x="34" y="50"/>
                </a:cxn>
                <a:cxn ang="0">
                  <a:pos x="40" y="48"/>
                </a:cxn>
                <a:cxn ang="0">
                  <a:pos x="40" y="48"/>
                </a:cxn>
                <a:cxn ang="0">
                  <a:pos x="41" y="44"/>
                </a:cxn>
                <a:cxn ang="0">
                  <a:pos x="43" y="38"/>
                </a:cxn>
                <a:cxn ang="0">
                  <a:pos x="44" y="34"/>
                </a:cxn>
                <a:cxn ang="0">
                  <a:pos x="41" y="23"/>
                </a:cxn>
                <a:cxn ang="0">
                  <a:pos x="43" y="20"/>
                </a:cxn>
                <a:cxn ang="0">
                  <a:pos x="51" y="14"/>
                </a:cxn>
                <a:cxn ang="0">
                  <a:pos x="53" y="11"/>
                </a:cxn>
                <a:cxn ang="0">
                  <a:pos x="49" y="8"/>
                </a:cxn>
                <a:cxn ang="0">
                  <a:pos x="47" y="7"/>
                </a:cxn>
                <a:cxn ang="0">
                  <a:pos x="44" y="4"/>
                </a:cxn>
                <a:cxn ang="0">
                  <a:pos x="37" y="6"/>
                </a:cxn>
                <a:cxn ang="0">
                  <a:pos x="36" y="7"/>
                </a:cxn>
                <a:cxn ang="0">
                  <a:pos x="33" y="6"/>
                </a:cxn>
                <a:cxn ang="0">
                  <a:pos x="32" y="6"/>
                </a:cxn>
                <a:cxn ang="0">
                  <a:pos x="23" y="6"/>
                </a:cxn>
                <a:cxn ang="0">
                  <a:pos x="22" y="3"/>
                </a:cxn>
                <a:cxn ang="0">
                  <a:pos x="20" y="0"/>
                </a:cxn>
                <a:cxn ang="0">
                  <a:pos x="16" y="3"/>
                </a:cxn>
                <a:cxn ang="0">
                  <a:pos x="14" y="4"/>
                </a:cxn>
                <a:cxn ang="0">
                  <a:pos x="12" y="4"/>
                </a:cxn>
                <a:cxn ang="0">
                  <a:pos x="12" y="16"/>
                </a:cxn>
                <a:cxn ang="0">
                  <a:pos x="13" y="18"/>
                </a:cxn>
                <a:cxn ang="0">
                  <a:pos x="10" y="34"/>
                </a:cxn>
                <a:cxn ang="0">
                  <a:pos x="2" y="54"/>
                </a:cxn>
                <a:cxn ang="0">
                  <a:pos x="0" y="58"/>
                </a:cxn>
                <a:cxn ang="0">
                  <a:pos x="3" y="64"/>
                </a:cxn>
                <a:cxn ang="0">
                  <a:pos x="9" y="68"/>
                </a:cxn>
                <a:cxn ang="0">
                  <a:pos x="12" y="74"/>
                </a:cxn>
                <a:cxn ang="0">
                  <a:pos x="10" y="95"/>
                </a:cxn>
                <a:cxn ang="0">
                  <a:pos x="12" y="97"/>
                </a:cxn>
                <a:cxn ang="0">
                  <a:pos x="23" y="98"/>
                </a:cxn>
                <a:cxn ang="0">
                  <a:pos x="29" y="97"/>
                </a:cxn>
                <a:cxn ang="0">
                  <a:pos x="36" y="95"/>
                </a:cxn>
                <a:cxn ang="0">
                  <a:pos x="33" y="90"/>
                </a:cxn>
                <a:cxn ang="0">
                  <a:pos x="36" y="82"/>
                </a:cxn>
                <a:cxn ang="0">
                  <a:pos x="40" y="81"/>
                </a:cxn>
              </a:cxnLst>
              <a:rect l="0" t="0" r="r" b="b"/>
              <a:pathLst>
                <a:path w="53" h="98">
                  <a:moveTo>
                    <a:pt x="40" y="81"/>
                  </a:moveTo>
                  <a:lnTo>
                    <a:pt x="40" y="81"/>
                  </a:lnTo>
                  <a:lnTo>
                    <a:pt x="41" y="80"/>
                  </a:lnTo>
                  <a:lnTo>
                    <a:pt x="41" y="80"/>
                  </a:lnTo>
                  <a:lnTo>
                    <a:pt x="41" y="77"/>
                  </a:lnTo>
                  <a:lnTo>
                    <a:pt x="36" y="72"/>
                  </a:lnTo>
                  <a:lnTo>
                    <a:pt x="36" y="72"/>
                  </a:lnTo>
                  <a:lnTo>
                    <a:pt x="36" y="70"/>
                  </a:lnTo>
                  <a:lnTo>
                    <a:pt x="36" y="67"/>
                  </a:lnTo>
                  <a:lnTo>
                    <a:pt x="37" y="65"/>
                  </a:lnTo>
                  <a:lnTo>
                    <a:pt x="40" y="64"/>
                  </a:lnTo>
                  <a:lnTo>
                    <a:pt x="40" y="64"/>
                  </a:lnTo>
                  <a:lnTo>
                    <a:pt x="41" y="62"/>
                  </a:lnTo>
                  <a:lnTo>
                    <a:pt x="41" y="61"/>
                  </a:lnTo>
                  <a:lnTo>
                    <a:pt x="36" y="55"/>
                  </a:lnTo>
                  <a:lnTo>
                    <a:pt x="36" y="55"/>
                  </a:lnTo>
                  <a:lnTo>
                    <a:pt x="34" y="53"/>
                  </a:lnTo>
                  <a:lnTo>
                    <a:pt x="34" y="50"/>
                  </a:lnTo>
                  <a:lnTo>
                    <a:pt x="37" y="50"/>
                  </a:lnTo>
                  <a:lnTo>
                    <a:pt x="40" y="48"/>
                  </a:lnTo>
                  <a:lnTo>
                    <a:pt x="40" y="48"/>
                  </a:lnTo>
                  <a:lnTo>
                    <a:pt x="40" y="48"/>
                  </a:lnTo>
                  <a:lnTo>
                    <a:pt x="41" y="47"/>
                  </a:lnTo>
                  <a:lnTo>
                    <a:pt x="41" y="44"/>
                  </a:lnTo>
                  <a:lnTo>
                    <a:pt x="41" y="41"/>
                  </a:lnTo>
                  <a:lnTo>
                    <a:pt x="43" y="38"/>
                  </a:lnTo>
                  <a:lnTo>
                    <a:pt x="43" y="38"/>
                  </a:lnTo>
                  <a:lnTo>
                    <a:pt x="44" y="34"/>
                  </a:lnTo>
                  <a:lnTo>
                    <a:pt x="43" y="30"/>
                  </a:lnTo>
                  <a:lnTo>
                    <a:pt x="41" y="23"/>
                  </a:lnTo>
                  <a:lnTo>
                    <a:pt x="41" y="23"/>
                  </a:lnTo>
                  <a:lnTo>
                    <a:pt x="43" y="20"/>
                  </a:lnTo>
                  <a:lnTo>
                    <a:pt x="44" y="18"/>
                  </a:lnTo>
                  <a:lnTo>
                    <a:pt x="51" y="14"/>
                  </a:lnTo>
                  <a:lnTo>
                    <a:pt x="51" y="14"/>
                  </a:lnTo>
                  <a:lnTo>
                    <a:pt x="53" y="11"/>
                  </a:lnTo>
                  <a:lnTo>
                    <a:pt x="51" y="10"/>
                  </a:lnTo>
                  <a:lnTo>
                    <a:pt x="49" y="8"/>
                  </a:lnTo>
                  <a:lnTo>
                    <a:pt x="47" y="7"/>
                  </a:lnTo>
                  <a:lnTo>
                    <a:pt x="47" y="7"/>
                  </a:lnTo>
                  <a:lnTo>
                    <a:pt x="47" y="6"/>
                  </a:lnTo>
                  <a:lnTo>
                    <a:pt x="44" y="4"/>
                  </a:lnTo>
                  <a:lnTo>
                    <a:pt x="41" y="4"/>
                  </a:lnTo>
                  <a:lnTo>
                    <a:pt x="37" y="6"/>
                  </a:lnTo>
                  <a:lnTo>
                    <a:pt x="37" y="6"/>
                  </a:lnTo>
                  <a:lnTo>
                    <a:pt x="36" y="7"/>
                  </a:lnTo>
                  <a:lnTo>
                    <a:pt x="34" y="7"/>
                  </a:lnTo>
                  <a:lnTo>
                    <a:pt x="33" y="6"/>
                  </a:lnTo>
                  <a:lnTo>
                    <a:pt x="32" y="6"/>
                  </a:lnTo>
                  <a:lnTo>
                    <a:pt x="32" y="6"/>
                  </a:lnTo>
                  <a:lnTo>
                    <a:pt x="26" y="6"/>
                  </a:lnTo>
                  <a:lnTo>
                    <a:pt x="23" y="6"/>
                  </a:lnTo>
                  <a:lnTo>
                    <a:pt x="22" y="3"/>
                  </a:lnTo>
                  <a:lnTo>
                    <a:pt x="22" y="3"/>
                  </a:lnTo>
                  <a:lnTo>
                    <a:pt x="22" y="1"/>
                  </a:lnTo>
                  <a:lnTo>
                    <a:pt x="20" y="0"/>
                  </a:lnTo>
                  <a:lnTo>
                    <a:pt x="19" y="1"/>
                  </a:lnTo>
                  <a:lnTo>
                    <a:pt x="16" y="3"/>
                  </a:lnTo>
                  <a:lnTo>
                    <a:pt x="16" y="3"/>
                  </a:lnTo>
                  <a:lnTo>
                    <a:pt x="14" y="4"/>
                  </a:lnTo>
                  <a:lnTo>
                    <a:pt x="12" y="4"/>
                  </a:lnTo>
                  <a:lnTo>
                    <a:pt x="12" y="4"/>
                  </a:lnTo>
                  <a:lnTo>
                    <a:pt x="12" y="11"/>
                  </a:lnTo>
                  <a:lnTo>
                    <a:pt x="12" y="16"/>
                  </a:lnTo>
                  <a:lnTo>
                    <a:pt x="12" y="16"/>
                  </a:lnTo>
                  <a:lnTo>
                    <a:pt x="13" y="18"/>
                  </a:lnTo>
                  <a:lnTo>
                    <a:pt x="13" y="23"/>
                  </a:lnTo>
                  <a:lnTo>
                    <a:pt x="10" y="34"/>
                  </a:lnTo>
                  <a:lnTo>
                    <a:pt x="7" y="45"/>
                  </a:lnTo>
                  <a:lnTo>
                    <a:pt x="2" y="54"/>
                  </a:lnTo>
                  <a:lnTo>
                    <a:pt x="2" y="54"/>
                  </a:lnTo>
                  <a:lnTo>
                    <a:pt x="0" y="58"/>
                  </a:lnTo>
                  <a:lnTo>
                    <a:pt x="0" y="61"/>
                  </a:lnTo>
                  <a:lnTo>
                    <a:pt x="3" y="64"/>
                  </a:lnTo>
                  <a:lnTo>
                    <a:pt x="9" y="68"/>
                  </a:lnTo>
                  <a:lnTo>
                    <a:pt x="9" y="68"/>
                  </a:lnTo>
                  <a:lnTo>
                    <a:pt x="10" y="70"/>
                  </a:lnTo>
                  <a:lnTo>
                    <a:pt x="12" y="74"/>
                  </a:lnTo>
                  <a:lnTo>
                    <a:pt x="12" y="81"/>
                  </a:lnTo>
                  <a:lnTo>
                    <a:pt x="10" y="95"/>
                  </a:lnTo>
                  <a:lnTo>
                    <a:pt x="10" y="95"/>
                  </a:lnTo>
                  <a:lnTo>
                    <a:pt x="12" y="97"/>
                  </a:lnTo>
                  <a:lnTo>
                    <a:pt x="14" y="98"/>
                  </a:lnTo>
                  <a:lnTo>
                    <a:pt x="23" y="98"/>
                  </a:lnTo>
                  <a:lnTo>
                    <a:pt x="23" y="98"/>
                  </a:lnTo>
                  <a:lnTo>
                    <a:pt x="29" y="97"/>
                  </a:lnTo>
                  <a:lnTo>
                    <a:pt x="36" y="95"/>
                  </a:lnTo>
                  <a:lnTo>
                    <a:pt x="36" y="95"/>
                  </a:lnTo>
                  <a:lnTo>
                    <a:pt x="33" y="90"/>
                  </a:lnTo>
                  <a:lnTo>
                    <a:pt x="33" y="90"/>
                  </a:lnTo>
                  <a:lnTo>
                    <a:pt x="34" y="84"/>
                  </a:lnTo>
                  <a:lnTo>
                    <a:pt x="36" y="82"/>
                  </a:lnTo>
                  <a:lnTo>
                    <a:pt x="40" y="81"/>
                  </a:lnTo>
                  <a:lnTo>
                    <a:pt x="40" y="8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1" name="Freeform 261">
              <a:extLst>
                <a:ext uri="{FF2B5EF4-FFF2-40B4-BE49-F238E27FC236}">
                  <a16:creationId xmlns:a16="http://schemas.microsoft.com/office/drawing/2014/main" id="{F9526920-9749-DC4C-A21C-BDA3EDCF068D}"/>
                </a:ext>
              </a:extLst>
            </p:cNvPr>
            <p:cNvSpPr>
              <a:spLocks/>
            </p:cNvSpPr>
            <p:nvPr/>
          </p:nvSpPr>
          <p:spPr bwMode="auto">
            <a:xfrm>
              <a:off x="4400345" y="2893587"/>
              <a:ext cx="96186" cy="82868"/>
            </a:xfrm>
            <a:custGeom>
              <a:avLst/>
              <a:gdLst/>
              <a:ahLst/>
              <a:cxnLst>
                <a:cxn ang="0">
                  <a:pos x="21" y="44"/>
                </a:cxn>
                <a:cxn ang="0">
                  <a:pos x="26" y="42"/>
                </a:cxn>
                <a:cxn ang="0">
                  <a:pos x="31" y="45"/>
                </a:cxn>
                <a:cxn ang="0">
                  <a:pos x="37" y="48"/>
                </a:cxn>
                <a:cxn ang="0">
                  <a:pos x="43" y="52"/>
                </a:cxn>
                <a:cxn ang="0">
                  <a:pos x="47" y="56"/>
                </a:cxn>
                <a:cxn ang="0">
                  <a:pos x="48" y="44"/>
                </a:cxn>
                <a:cxn ang="0">
                  <a:pos x="48" y="41"/>
                </a:cxn>
                <a:cxn ang="0">
                  <a:pos x="48" y="37"/>
                </a:cxn>
                <a:cxn ang="0">
                  <a:pos x="50" y="37"/>
                </a:cxn>
                <a:cxn ang="0">
                  <a:pos x="57" y="34"/>
                </a:cxn>
                <a:cxn ang="0">
                  <a:pos x="58" y="32"/>
                </a:cxn>
                <a:cxn ang="0">
                  <a:pos x="60" y="28"/>
                </a:cxn>
                <a:cxn ang="0">
                  <a:pos x="63" y="27"/>
                </a:cxn>
                <a:cxn ang="0">
                  <a:pos x="60" y="22"/>
                </a:cxn>
                <a:cxn ang="0">
                  <a:pos x="57" y="18"/>
                </a:cxn>
                <a:cxn ang="0">
                  <a:pos x="58" y="15"/>
                </a:cxn>
                <a:cxn ang="0">
                  <a:pos x="65" y="11"/>
                </a:cxn>
                <a:cxn ang="0">
                  <a:pos x="65" y="5"/>
                </a:cxn>
                <a:cxn ang="0">
                  <a:pos x="64" y="0"/>
                </a:cxn>
                <a:cxn ang="0">
                  <a:pos x="60" y="1"/>
                </a:cxn>
                <a:cxn ang="0">
                  <a:pos x="57" y="0"/>
                </a:cxn>
                <a:cxn ang="0">
                  <a:pos x="44" y="1"/>
                </a:cxn>
                <a:cxn ang="0">
                  <a:pos x="40" y="4"/>
                </a:cxn>
                <a:cxn ang="0">
                  <a:pos x="37" y="10"/>
                </a:cxn>
                <a:cxn ang="0">
                  <a:pos x="37" y="12"/>
                </a:cxn>
                <a:cxn ang="0">
                  <a:pos x="37" y="15"/>
                </a:cxn>
                <a:cxn ang="0">
                  <a:pos x="31" y="15"/>
                </a:cxn>
                <a:cxn ang="0">
                  <a:pos x="30" y="14"/>
                </a:cxn>
                <a:cxn ang="0">
                  <a:pos x="26" y="12"/>
                </a:cxn>
                <a:cxn ang="0">
                  <a:pos x="23" y="17"/>
                </a:cxn>
                <a:cxn ang="0">
                  <a:pos x="21" y="21"/>
                </a:cxn>
                <a:cxn ang="0">
                  <a:pos x="16" y="27"/>
                </a:cxn>
                <a:cxn ang="0">
                  <a:pos x="16" y="29"/>
                </a:cxn>
                <a:cxn ang="0">
                  <a:pos x="11" y="38"/>
                </a:cxn>
                <a:cxn ang="0">
                  <a:pos x="3" y="45"/>
                </a:cxn>
                <a:cxn ang="0">
                  <a:pos x="0" y="47"/>
                </a:cxn>
                <a:cxn ang="0">
                  <a:pos x="6" y="48"/>
                </a:cxn>
                <a:cxn ang="0">
                  <a:pos x="19" y="45"/>
                </a:cxn>
                <a:cxn ang="0">
                  <a:pos x="21" y="44"/>
                </a:cxn>
              </a:cxnLst>
              <a:rect l="0" t="0" r="r" b="b"/>
              <a:pathLst>
                <a:path w="65" h="56">
                  <a:moveTo>
                    <a:pt x="21" y="44"/>
                  </a:moveTo>
                  <a:lnTo>
                    <a:pt x="21" y="44"/>
                  </a:lnTo>
                  <a:lnTo>
                    <a:pt x="23" y="42"/>
                  </a:lnTo>
                  <a:lnTo>
                    <a:pt x="26" y="42"/>
                  </a:lnTo>
                  <a:lnTo>
                    <a:pt x="30" y="44"/>
                  </a:lnTo>
                  <a:lnTo>
                    <a:pt x="31" y="45"/>
                  </a:lnTo>
                  <a:lnTo>
                    <a:pt x="31" y="45"/>
                  </a:lnTo>
                  <a:lnTo>
                    <a:pt x="37" y="48"/>
                  </a:lnTo>
                  <a:lnTo>
                    <a:pt x="43" y="52"/>
                  </a:lnTo>
                  <a:lnTo>
                    <a:pt x="43" y="52"/>
                  </a:lnTo>
                  <a:lnTo>
                    <a:pt x="47" y="56"/>
                  </a:lnTo>
                  <a:lnTo>
                    <a:pt x="47" y="56"/>
                  </a:lnTo>
                  <a:lnTo>
                    <a:pt x="47" y="49"/>
                  </a:lnTo>
                  <a:lnTo>
                    <a:pt x="48" y="44"/>
                  </a:lnTo>
                  <a:lnTo>
                    <a:pt x="48" y="44"/>
                  </a:lnTo>
                  <a:lnTo>
                    <a:pt x="48" y="41"/>
                  </a:lnTo>
                  <a:lnTo>
                    <a:pt x="48" y="38"/>
                  </a:lnTo>
                  <a:lnTo>
                    <a:pt x="48" y="37"/>
                  </a:lnTo>
                  <a:lnTo>
                    <a:pt x="50" y="37"/>
                  </a:lnTo>
                  <a:lnTo>
                    <a:pt x="50" y="37"/>
                  </a:lnTo>
                  <a:lnTo>
                    <a:pt x="56" y="35"/>
                  </a:lnTo>
                  <a:lnTo>
                    <a:pt x="57" y="34"/>
                  </a:lnTo>
                  <a:lnTo>
                    <a:pt x="58" y="32"/>
                  </a:lnTo>
                  <a:lnTo>
                    <a:pt x="58" y="32"/>
                  </a:lnTo>
                  <a:lnTo>
                    <a:pt x="58" y="29"/>
                  </a:lnTo>
                  <a:lnTo>
                    <a:pt x="60" y="28"/>
                  </a:lnTo>
                  <a:lnTo>
                    <a:pt x="63" y="27"/>
                  </a:lnTo>
                  <a:lnTo>
                    <a:pt x="63" y="27"/>
                  </a:lnTo>
                  <a:lnTo>
                    <a:pt x="61" y="24"/>
                  </a:lnTo>
                  <a:lnTo>
                    <a:pt x="60" y="22"/>
                  </a:lnTo>
                  <a:lnTo>
                    <a:pt x="57" y="18"/>
                  </a:lnTo>
                  <a:lnTo>
                    <a:pt x="57" y="18"/>
                  </a:lnTo>
                  <a:lnTo>
                    <a:pt x="57" y="17"/>
                  </a:lnTo>
                  <a:lnTo>
                    <a:pt x="58" y="15"/>
                  </a:lnTo>
                  <a:lnTo>
                    <a:pt x="61" y="14"/>
                  </a:lnTo>
                  <a:lnTo>
                    <a:pt x="65" y="11"/>
                  </a:lnTo>
                  <a:lnTo>
                    <a:pt x="65" y="11"/>
                  </a:lnTo>
                  <a:lnTo>
                    <a:pt x="65" y="5"/>
                  </a:lnTo>
                  <a:lnTo>
                    <a:pt x="64" y="0"/>
                  </a:lnTo>
                  <a:lnTo>
                    <a:pt x="64" y="0"/>
                  </a:lnTo>
                  <a:lnTo>
                    <a:pt x="63" y="1"/>
                  </a:lnTo>
                  <a:lnTo>
                    <a:pt x="60" y="1"/>
                  </a:lnTo>
                  <a:lnTo>
                    <a:pt x="60" y="1"/>
                  </a:lnTo>
                  <a:lnTo>
                    <a:pt x="57" y="0"/>
                  </a:lnTo>
                  <a:lnTo>
                    <a:pt x="54" y="0"/>
                  </a:lnTo>
                  <a:lnTo>
                    <a:pt x="44" y="1"/>
                  </a:lnTo>
                  <a:lnTo>
                    <a:pt x="44" y="1"/>
                  </a:lnTo>
                  <a:lnTo>
                    <a:pt x="40" y="4"/>
                  </a:lnTo>
                  <a:lnTo>
                    <a:pt x="37" y="7"/>
                  </a:lnTo>
                  <a:lnTo>
                    <a:pt x="37" y="10"/>
                  </a:lnTo>
                  <a:lnTo>
                    <a:pt x="37" y="12"/>
                  </a:lnTo>
                  <a:lnTo>
                    <a:pt x="37" y="12"/>
                  </a:lnTo>
                  <a:lnTo>
                    <a:pt x="38" y="14"/>
                  </a:lnTo>
                  <a:lnTo>
                    <a:pt x="37" y="15"/>
                  </a:lnTo>
                  <a:lnTo>
                    <a:pt x="36" y="15"/>
                  </a:lnTo>
                  <a:lnTo>
                    <a:pt x="31" y="15"/>
                  </a:lnTo>
                  <a:lnTo>
                    <a:pt x="30" y="14"/>
                  </a:lnTo>
                  <a:lnTo>
                    <a:pt x="30" y="14"/>
                  </a:lnTo>
                  <a:lnTo>
                    <a:pt x="29" y="11"/>
                  </a:lnTo>
                  <a:lnTo>
                    <a:pt x="26" y="12"/>
                  </a:lnTo>
                  <a:lnTo>
                    <a:pt x="23" y="14"/>
                  </a:lnTo>
                  <a:lnTo>
                    <a:pt x="23" y="17"/>
                  </a:lnTo>
                  <a:lnTo>
                    <a:pt x="23" y="17"/>
                  </a:lnTo>
                  <a:lnTo>
                    <a:pt x="21" y="21"/>
                  </a:lnTo>
                  <a:lnTo>
                    <a:pt x="19" y="24"/>
                  </a:lnTo>
                  <a:lnTo>
                    <a:pt x="16" y="27"/>
                  </a:lnTo>
                  <a:lnTo>
                    <a:pt x="16" y="29"/>
                  </a:lnTo>
                  <a:lnTo>
                    <a:pt x="16" y="29"/>
                  </a:lnTo>
                  <a:lnTo>
                    <a:pt x="14" y="35"/>
                  </a:lnTo>
                  <a:lnTo>
                    <a:pt x="11" y="38"/>
                  </a:lnTo>
                  <a:lnTo>
                    <a:pt x="3" y="45"/>
                  </a:lnTo>
                  <a:lnTo>
                    <a:pt x="3" y="45"/>
                  </a:lnTo>
                  <a:lnTo>
                    <a:pt x="0" y="47"/>
                  </a:lnTo>
                  <a:lnTo>
                    <a:pt x="0" y="47"/>
                  </a:lnTo>
                  <a:lnTo>
                    <a:pt x="6" y="48"/>
                  </a:lnTo>
                  <a:lnTo>
                    <a:pt x="6" y="48"/>
                  </a:lnTo>
                  <a:lnTo>
                    <a:pt x="14" y="47"/>
                  </a:lnTo>
                  <a:lnTo>
                    <a:pt x="19" y="45"/>
                  </a:lnTo>
                  <a:lnTo>
                    <a:pt x="21" y="44"/>
                  </a:lnTo>
                  <a:lnTo>
                    <a:pt x="21" y="4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2" name="Freeform 262">
              <a:extLst>
                <a:ext uri="{FF2B5EF4-FFF2-40B4-BE49-F238E27FC236}">
                  <a16:creationId xmlns:a16="http://schemas.microsoft.com/office/drawing/2014/main" id="{5472EC20-6D5E-264B-8826-804191608D73}"/>
                </a:ext>
              </a:extLst>
            </p:cNvPr>
            <p:cNvSpPr>
              <a:spLocks/>
            </p:cNvSpPr>
            <p:nvPr/>
          </p:nvSpPr>
          <p:spPr bwMode="auto">
            <a:xfrm>
              <a:off x="4463977" y="2998651"/>
              <a:ext cx="14798" cy="22197"/>
            </a:xfrm>
            <a:custGeom>
              <a:avLst/>
              <a:gdLst/>
              <a:ahLst/>
              <a:cxnLst>
                <a:cxn ang="0">
                  <a:pos x="5" y="0"/>
                </a:cxn>
                <a:cxn ang="0">
                  <a:pos x="5" y="0"/>
                </a:cxn>
                <a:cxn ang="0">
                  <a:pos x="3" y="1"/>
                </a:cxn>
                <a:cxn ang="0">
                  <a:pos x="1" y="4"/>
                </a:cxn>
                <a:cxn ang="0">
                  <a:pos x="0" y="8"/>
                </a:cxn>
                <a:cxn ang="0">
                  <a:pos x="0" y="14"/>
                </a:cxn>
                <a:cxn ang="0">
                  <a:pos x="0" y="14"/>
                </a:cxn>
                <a:cxn ang="0">
                  <a:pos x="10" y="15"/>
                </a:cxn>
                <a:cxn ang="0">
                  <a:pos x="10" y="15"/>
                </a:cxn>
                <a:cxn ang="0">
                  <a:pos x="8" y="10"/>
                </a:cxn>
                <a:cxn ang="0">
                  <a:pos x="7" y="5"/>
                </a:cxn>
                <a:cxn ang="0">
                  <a:pos x="5" y="1"/>
                </a:cxn>
                <a:cxn ang="0">
                  <a:pos x="5" y="1"/>
                </a:cxn>
                <a:cxn ang="0">
                  <a:pos x="5" y="0"/>
                </a:cxn>
                <a:cxn ang="0">
                  <a:pos x="5" y="0"/>
                </a:cxn>
              </a:cxnLst>
              <a:rect l="0" t="0" r="r" b="b"/>
              <a:pathLst>
                <a:path w="10" h="15">
                  <a:moveTo>
                    <a:pt x="5" y="0"/>
                  </a:moveTo>
                  <a:lnTo>
                    <a:pt x="5" y="0"/>
                  </a:lnTo>
                  <a:lnTo>
                    <a:pt x="3" y="1"/>
                  </a:lnTo>
                  <a:lnTo>
                    <a:pt x="1" y="4"/>
                  </a:lnTo>
                  <a:lnTo>
                    <a:pt x="0" y="8"/>
                  </a:lnTo>
                  <a:lnTo>
                    <a:pt x="0" y="14"/>
                  </a:lnTo>
                  <a:lnTo>
                    <a:pt x="0" y="14"/>
                  </a:lnTo>
                  <a:lnTo>
                    <a:pt x="10" y="15"/>
                  </a:lnTo>
                  <a:lnTo>
                    <a:pt x="10" y="15"/>
                  </a:lnTo>
                  <a:lnTo>
                    <a:pt x="8" y="10"/>
                  </a:lnTo>
                  <a:lnTo>
                    <a:pt x="7" y="5"/>
                  </a:lnTo>
                  <a:lnTo>
                    <a:pt x="5" y="1"/>
                  </a:lnTo>
                  <a:lnTo>
                    <a:pt x="5" y="1"/>
                  </a:lnTo>
                  <a:lnTo>
                    <a:pt x="5" y="0"/>
                  </a:lnTo>
                  <a:lnTo>
                    <a:pt x="5"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3" name="Freeform 263">
              <a:extLst>
                <a:ext uri="{FF2B5EF4-FFF2-40B4-BE49-F238E27FC236}">
                  <a16:creationId xmlns:a16="http://schemas.microsoft.com/office/drawing/2014/main" id="{189915EE-2445-4146-9206-C5F162B34FFC}"/>
                </a:ext>
              </a:extLst>
            </p:cNvPr>
            <p:cNvSpPr>
              <a:spLocks/>
            </p:cNvSpPr>
            <p:nvPr/>
          </p:nvSpPr>
          <p:spPr bwMode="auto">
            <a:xfrm>
              <a:off x="4384068" y="2955738"/>
              <a:ext cx="91747" cy="63631"/>
            </a:xfrm>
            <a:custGeom>
              <a:avLst/>
              <a:gdLst/>
              <a:ahLst/>
              <a:cxnLst>
                <a:cxn ang="0">
                  <a:pos x="3" y="12"/>
                </a:cxn>
                <a:cxn ang="0">
                  <a:pos x="7" y="17"/>
                </a:cxn>
                <a:cxn ang="0">
                  <a:pos x="8" y="17"/>
                </a:cxn>
                <a:cxn ang="0">
                  <a:pos x="11" y="19"/>
                </a:cxn>
                <a:cxn ang="0">
                  <a:pos x="17" y="22"/>
                </a:cxn>
                <a:cxn ang="0">
                  <a:pos x="25" y="27"/>
                </a:cxn>
                <a:cxn ang="0">
                  <a:pos x="27" y="29"/>
                </a:cxn>
                <a:cxn ang="0">
                  <a:pos x="28" y="33"/>
                </a:cxn>
                <a:cxn ang="0">
                  <a:pos x="31" y="33"/>
                </a:cxn>
                <a:cxn ang="0">
                  <a:pos x="37" y="29"/>
                </a:cxn>
                <a:cxn ang="0">
                  <a:pos x="38" y="30"/>
                </a:cxn>
                <a:cxn ang="0">
                  <a:pos x="41" y="37"/>
                </a:cxn>
                <a:cxn ang="0">
                  <a:pos x="42" y="37"/>
                </a:cxn>
                <a:cxn ang="0">
                  <a:pos x="47" y="40"/>
                </a:cxn>
                <a:cxn ang="0">
                  <a:pos x="51" y="43"/>
                </a:cxn>
                <a:cxn ang="0">
                  <a:pos x="54" y="43"/>
                </a:cxn>
                <a:cxn ang="0">
                  <a:pos x="54" y="37"/>
                </a:cxn>
                <a:cxn ang="0">
                  <a:pos x="57" y="30"/>
                </a:cxn>
                <a:cxn ang="0">
                  <a:pos x="59" y="29"/>
                </a:cxn>
                <a:cxn ang="0">
                  <a:pos x="62" y="24"/>
                </a:cxn>
                <a:cxn ang="0">
                  <a:pos x="61" y="22"/>
                </a:cxn>
                <a:cxn ang="0">
                  <a:pos x="58" y="17"/>
                </a:cxn>
                <a:cxn ang="0">
                  <a:pos x="58" y="14"/>
                </a:cxn>
                <a:cxn ang="0">
                  <a:pos x="58" y="14"/>
                </a:cxn>
                <a:cxn ang="0">
                  <a:pos x="54" y="10"/>
                </a:cxn>
                <a:cxn ang="0">
                  <a:pos x="42" y="3"/>
                </a:cxn>
                <a:cxn ang="0">
                  <a:pos x="41" y="2"/>
                </a:cxn>
                <a:cxn ang="0">
                  <a:pos x="34" y="0"/>
                </a:cxn>
                <a:cxn ang="0">
                  <a:pos x="32" y="2"/>
                </a:cxn>
                <a:cxn ang="0">
                  <a:pos x="25" y="5"/>
                </a:cxn>
                <a:cxn ang="0">
                  <a:pos x="17" y="6"/>
                </a:cxn>
                <a:cxn ang="0">
                  <a:pos x="11" y="5"/>
                </a:cxn>
                <a:cxn ang="0">
                  <a:pos x="0" y="9"/>
                </a:cxn>
                <a:cxn ang="0">
                  <a:pos x="1" y="10"/>
                </a:cxn>
                <a:cxn ang="0">
                  <a:pos x="3" y="12"/>
                </a:cxn>
              </a:cxnLst>
              <a:rect l="0" t="0" r="r" b="b"/>
              <a:pathLst>
                <a:path w="62" h="43">
                  <a:moveTo>
                    <a:pt x="3" y="12"/>
                  </a:moveTo>
                  <a:lnTo>
                    <a:pt x="3" y="12"/>
                  </a:lnTo>
                  <a:lnTo>
                    <a:pt x="5" y="16"/>
                  </a:lnTo>
                  <a:lnTo>
                    <a:pt x="7" y="17"/>
                  </a:lnTo>
                  <a:lnTo>
                    <a:pt x="8" y="17"/>
                  </a:lnTo>
                  <a:lnTo>
                    <a:pt x="8" y="17"/>
                  </a:lnTo>
                  <a:lnTo>
                    <a:pt x="10" y="17"/>
                  </a:lnTo>
                  <a:lnTo>
                    <a:pt x="11" y="19"/>
                  </a:lnTo>
                  <a:lnTo>
                    <a:pt x="17" y="22"/>
                  </a:lnTo>
                  <a:lnTo>
                    <a:pt x="17" y="22"/>
                  </a:lnTo>
                  <a:lnTo>
                    <a:pt x="22" y="24"/>
                  </a:lnTo>
                  <a:lnTo>
                    <a:pt x="25" y="27"/>
                  </a:lnTo>
                  <a:lnTo>
                    <a:pt x="27" y="29"/>
                  </a:lnTo>
                  <a:lnTo>
                    <a:pt x="27" y="29"/>
                  </a:lnTo>
                  <a:lnTo>
                    <a:pt x="27" y="32"/>
                  </a:lnTo>
                  <a:lnTo>
                    <a:pt x="28" y="33"/>
                  </a:lnTo>
                  <a:lnTo>
                    <a:pt x="31" y="33"/>
                  </a:lnTo>
                  <a:lnTo>
                    <a:pt x="31" y="33"/>
                  </a:lnTo>
                  <a:lnTo>
                    <a:pt x="35" y="30"/>
                  </a:lnTo>
                  <a:lnTo>
                    <a:pt x="37" y="29"/>
                  </a:lnTo>
                  <a:lnTo>
                    <a:pt x="38" y="30"/>
                  </a:lnTo>
                  <a:lnTo>
                    <a:pt x="38" y="30"/>
                  </a:lnTo>
                  <a:lnTo>
                    <a:pt x="40" y="34"/>
                  </a:lnTo>
                  <a:lnTo>
                    <a:pt x="41" y="37"/>
                  </a:lnTo>
                  <a:lnTo>
                    <a:pt x="42" y="37"/>
                  </a:lnTo>
                  <a:lnTo>
                    <a:pt x="42" y="37"/>
                  </a:lnTo>
                  <a:lnTo>
                    <a:pt x="45" y="39"/>
                  </a:lnTo>
                  <a:lnTo>
                    <a:pt x="47" y="40"/>
                  </a:lnTo>
                  <a:lnTo>
                    <a:pt x="48" y="42"/>
                  </a:lnTo>
                  <a:lnTo>
                    <a:pt x="51" y="43"/>
                  </a:lnTo>
                  <a:lnTo>
                    <a:pt x="51" y="43"/>
                  </a:lnTo>
                  <a:lnTo>
                    <a:pt x="54" y="43"/>
                  </a:lnTo>
                  <a:lnTo>
                    <a:pt x="54" y="43"/>
                  </a:lnTo>
                  <a:lnTo>
                    <a:pt x="54" y="37"/>
                  </a:lnTo>
                  <a:lnTo>
                    <a:pt x="55" y="33"/>
                  </a:lnTo>
                  <a:lnTo>
                    <a:pt x="57" y="30"/>
                  </a:lnTo>
                  <a:lnTo>
                    <a:pt x="59" y="29"/>
                  </a:lnTo>
                  <a:lnTo>
                    <a:pt x="59" y="29"/>
                  </a:lnTo>
                  <a:lnTo>
                    <a:pt x="61" y="27"/>
                  </a:lnTo>
                  <a:lnTo>
                    <a:pt x="62" y="24"/>
                  </a:lnTo>
                  <a:lnTo>
                    <a:pt x="62" y="24"/>
                  </a:lnTo>
                  <a:lnTo>
                    <a:pt x="61" y="22"/>
                  </a:lnTo>
                  <a:lnTo>
                    <a:pt x="59" y="20"/>
                  </a:lnTo>
                  <a:lnTo>
                    <a:pt x="58" y="17"/>
                  </a:lnTo>
                  <a:lnTo>
                    <a:pt x="58" y="14"/>
                  </a:lnTo>
                  <a:lnTo>
                    <a:pt x="58" y="14"/>
                  </a:lnTo>
                  <a:lnTo>
                    <a:pt x="58" y="14"/>
                  </a:lnTo>
                  <a:lnTo>
                    <a:pt x="58" y="14"/>
                  </a:lnTo>
                  <a:lnTo>
                    <a:pt x="54" y="10"/>
                  </a:lnTo>
                  <a:lnTo>
                    <a:pt x="54" y="10"/>
                  </a:lnTo>
                  <a:lnTo>
                    <a:pt x="48" y="6"/>
                  </a:lnTo>
                  <a:lnTo>
                    <a:pt x="42" y="3"/>
                  </a:lnTo>
                  <a:lnTo>
                    <a:pt x="42" y="3"/>
                  </a:lnTo>
                  <a:lnTo>
                    <a:pt x="41" y="2"/>
                  </a:lnTo>
                  <a:lnTo>
                    <a:pt x="37" y="0"/>
                  </a:lnTo>
                  <a:lnTo>
                    <a:pt x="34" y="0"/>
                  </a:lnTo>
                  <a:lnTo>
                    <a:pt x="32" y="2"/>
                  </a:lnTo>
                  <a:lnTo>
                    <a:pt x="32" y="2"/>
                  </a:lnTo>
                  <a:lnTo>
                    <a:pt x="30" y="3"/>
                  </a:lnTo>
                  <a:lnTo>
                    <a:pt x="25" y="5"/>
                  </a:lnTo>
                  <a:lnTo>
                    <a:pt x="17" y="6"/>
                  </a:lnTo>
                  <a:lnTo>
                    <a:pt x="17" y="6"/>
                  </a:lnTo>
                  <a:lnTo>
                    <a:pt x="11" y="5"/>
                  </a:lnTo>
                  <a:lnTo>
                    <a:pt x="11" y="5"/>
                  </a:lnTo>
                  <a:lnTo>
                    <a:pt x="5" y="7"/>
                  </a:lnTo>
                  <a:lnTo>
                    <a:pt x="0" y="9"/>
                  </a:lnTo>
                  <a:lnTo>
                    <a:pt x="0" y="9"/>
                  </a:lnTo>
                  <a:lnTo>
                    <a:pt x="1" y="10"/>
                  </a:lnTo>
                  <a:lnTo>
                    <a:pt x="3" y="12"/>
                  </a:lnTo>
                  <a:lnTo>
                    <a:pt x="3" y="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4" name="Freeform 264">
              <a:extLst>
                <a:ext uri="{FF2B5EF4-FFF2-40B4-BE49-F238E27FC236}">
                  <a16:creationId xmlns:a16="http://schemas.microsoft.com/office/drawing/2014/main" id="{8D9C957D-F06A-EC40-B1D2-11306FF95B64}"/>
                </a:ext>
              </a:extLst>
            </p:cNvPr>
            <p:cNvSpPr>
              <a:spLocks/>
            </p:cNvSpPr>
            <p:nvPr/>
          </p:nvSpPr>
          <p:spPr bwMode="auto">
            <a:xfrm>
              <a:off x="4802846" y="3053403"/>
              <a:ext cx="214569" cy="139100"/>
            </a:xfrm>
            <a:custGeom>
              <a:avLst/>
              <a:gdLst/>
              <a:ahLst/>
              <a:cxnLst>
                <a:cxn ang="0">
                  <a:pos x="131" y="62"/>
                </a:cxn>
                <a:cxn ang="0">
                  <a:pos x="124" y="59"/>
                </a:cxn>
                <a:cxn ang="0">
                  <a:pos x="124" y="58"/>
                </a:cxn>
                <a:cxn ang="0">
                  <a:pos x="124" y="58"/>
                </a:cxn>
                <a:cxn ang="0">
                  <a:pos x="121" y="48"/>
                </a:cxn>
                <a:cxn ang="0">
                  <a:pos x="122" y="40"/>
                </a:cxn>
                <a:cxn ang="0">
                  <a:pos x="122" y="38"/>
                </a:cxn>
                <a:cxn ang="0">
                  <a:pos x="119" y="30"/>
                </a:cxn>
                <a:cxn ang="0">
                  <a:pos x="111" y="17"/>
                </a:cxn>
                <a:cxn ang="0">
                  <a:pos x="101" y="0"/>
                </a:cxn>
                <a:cxn ang="0">
                  <a:pos x="94" y="3"/>
                </a:cxn>
                <a:cxn ang="0">
                  <a:pos x="89" y="7"/>
                </a:cxn>
                <a:cxn ang="0">
                  <a:pos x="84" y="8"/>
                </a:cxn>
                <a:cxn ang="0">
                  <a:pos x="78" y="7"/>
                </a:cxn>
                <a:cxn ang="0">
                  <a:pos x="77" y="8"/>
                </a:cxn>
                <a:cxn ang="0">
                  <a:pos x="69" y="11"/>
                </a:cxn>
                <a:cxn ang="0">
                  <a:pos x="69" y="11"/>
                </a:cxn>
                <a:cxn ang="0">
                  <a:pos x="60" y="8"/>
                </a:cxn>
                <a:cxn ang="0">
                  <a:pos x="51" y="7"/>
                </a:cxn>
                <a:cxn ang="0">
                  <a:pos x="44" y="5"/>
                </a:cxn>
                <a:cxn ang="0">
                  <a:pos x="37" y="5"/>
                </a:cxn>
                <a:cxn ang="0">
                  <a:pos x="35" y="8"/>
                </a:cxn>
                <a:cxn ang="0">
                  <a:pos x="25" y="15"/>
                </a:cxn>
                <a:cxn ang="0">
                  <a:pos x="18" y="27"/>
                </a:cxn>
                <a:cxn ang="0">
                  <a:pos x="10" y="40"/>
                </a:cxn>
                <a:cxn ang="0">
                  <a:pos x="4" y="45"/>
                </a:cxn>
                <a:cxn ang="0">
                  <a:pos x="0" y="47"/>
                </a:cxn>
                <a:cxn ang="0">
                  <a:pos x="1" y="49"/>
                </a:cxn>
                <a:cxn ang="0">
                  <a:pos x="5" y="54"/>
                </a:cxn>
                <a:cxn ang="0">
                  <a:pos x="5" y="57"/>
                </a:cxn>
                <a:cxn ang="0">
                  <a:pos x="8" y="62"/>
                </a:cxn>
                <a:cxn ang="0">
                  <a:pos x="11" y="62"/>
                </a:cxn>
                <a:cxn ang="0">
                  <a:pos x="13" y="64"/>
                </a:cxn>
                <a:cxn ang="0">
                  <a:pos x="13" y="71"/>
                </a:cxn>
                <a:cxn ang="0">
                  <a:pos x="14" y="72"/>
                </a:cxn>
                <a:cxn ang="0">
                  <a:pos x="28" y="75"/>
                </a:cxn>
                <a:cxn ang="0">
                  <a:pos x="31" y="78"/>
                </a:cxn>
                <a:cxn ang="0">
                  <a:pos x="32" y="81"/>
                </a:cxn>
                <a:cxn ang="0">
                  <a:pos x="32" y="85"/>
                </a:cxn>
                <a:cxn ang="0">
                  <a:pos x="38" y="88"/>
                </a:cxn>
                <a:cxn ang="0">
                  <a:pos x="41" y="91"/>
                </a:cxn>
                <a:cxn ang="0">
                  <a:pos x="50" y="92"/>
                </a:cxn>
                <a:cxn ang="0">
                  <a:pos x="58" y="92"/>
                </a:cxn>
                <a:cxn ang="0">
                  <a:pos x="75" y="94"/>
                </a:cxn>
                <a:cxn ang="0">
                  <a:pos x="87" y="88"/>
                </a:cxn>
                <a:cxn ang="0">
                  <a:pos x="91" y="86"/>
                </a:cxn>
                <a:cxn ang="0">
                  <a:pos x="106" y="85"/>
                </a:cxn>
                <a:cxn ang="0">
                  <a:pos x="114" y="86"/>
                </a:cxn>
                <a:cxn ang="0">
                  <a:pos x="119" y="89"/>
                </a:cxn>
                <a:cxn ang="0">
                  <a:pos x="122" y="91"/>
                </a:cxn>
                <a:cxn ang="0">
                  <a:pos x="128" y="94"/>
                </a:cxn>
                <a:cxn ang="0">
                  <a:pos x="128" y="85"/>
                </a:cxn>
                <a:cxn ang="0">
                  <a:pos x="131" y="77"/>
                </a:cxn>
                <a:cxn ang="0">
                  <a:pos x="136" y="72"/>
                </a:cxn>
                <a:cxn ang="0">
                  <a:pos x="139" y="71"/>
                </a:cxn>
                <a:cxn ang="0">
                  <a:pos x="145" y="68"/>
                </a:cxn>
                <a:cxn ang="0">
                  <a:pos x="145" y="64"/>
                </a:cxn>
                <a:cxn ang="0">
                  <a:pos x="145" y="62"/>
                </a:cxn>
                <a:cxn ang="0">
                  <a:pos x="139" y="58"/>
                </a:cxn>
                <a:cxn ang="0">
                  <a:pos x="131" y="62"/>
                </a:cxn>
              </a:cxnLst>
              <a:rect l="0" t="0" r="r" b="b"/>
              <a:pathLst>
                <a:path w="145" h="94">
                  <a:moveTo>
                    <a:pt x="131" y="62"/>
                  </a:moveTo>
                  <a:lnTo>
                    <a:pt x="131" y="62"/>
                  </a:lnTo>
                  <a:lnTo>
                    <a:pt x="125" y="61"/>
                  </a:lnTo>
                  <a:lnTo>
                    <a:pt x="124" y="59"/>
                  </a:lnTo>
                  <a:lnTo>
                    <a:pt x="124" y="58"/>
                  </a:lnTo>
                  <a:lnTo>
                    <a:pt x="124" y="58"/>
                  </a:lnTo>
                  <a:lnTo>
                    <a:pt x="124" y="58"/>
                  </a:lnTo>
                  <a:lnTo>
                    <a:pt x="124" y="58"/>
                  </a:lnTo>
                  <a:lnTo>
                    <a:pt x="122" y="54"/>
                  </a:lnTo>
                  <a:lnTo>
                    <a:pt x="121" y="48"/>
                  </a:lnTo>
                  <a:lnTo>
                    <a:pt x="121" y="44"/>
                  </a:lnTo>
                  <a:lnTo>
                    <a:pt x="122" y="40"/>
                  </a:lnTo>
                  <a:lnTo>
                    <a:pt x="122" y="40"/>
                  </a:lnTo>
                  <a:lnTo>
                    <a:pt x="122" y="38"/>
                  </a:lnTo>
                  <a:lnTo>
                    <a:pt x="122" y="35"/>
                  </a:lnTo>
                  <a:lnTo>
                    <a:pt x="119" y="30"/>
                  </a:lnTo>
                  <a:lnTo>
                    <a:pt x="111" y="17"/>
                  </a:lnTo>
                  <a:lnTo>
                    <a:pt x="111" y="17"/>
                  </a:lnTo>
                  <a:lnTo>
                    <a:pt x="101" y="0"/>
                  </a:lnTo>
                  <a:lnTo>
                    <a:pt x="101" y="0"/>
                  </a:lnTo>
                  <a:lnTo>
                    <a:pt x="95" y="1"/>
                  </a:lnTo>
                  <a:lnTo>
                    <a:pt x="94" y="3"/>
                  </a:lnTo>
                  <a:lnTo>
                    <a:pt x="94" y="3"/>
                  </a:lnTo>
                  <a:lnTo>
                    <a:pt x="89" y="7"/>
                  </a:lnTo>
                  <a:lnTo>
                    <a:pt x="84" y="8"/>
                  </a:lnTo>
                  <a:lnTo>
                    <a:pt x="84" y="8"/>
                  </a:lnTo>
                  <a:lnTo>
                    <a:pt x="79" y="7"/>
                  </a:lnTo>
                  <a:lnTo>
                    <a:pt x="78" y="7"/>
                  </a:lnTo>
                  <a:lnTo>
                    <a:pt x="77" y="8"/>
                  </a:lnTo>
                  <a:lnTo>
                    <a:pt x="77" y="8"/>
                  </a:lnTo>
                  <a:lnTo>
                    <a:pt x="72" y="11"/>
                  </a:lnTo>
                  <a:lnTo>
                    <a:pt x="69" y="11"/>
                  </a:lnTo>
                  <a:lnTo>
                    <a:pt x="69" y="11"/>
                  </a:lnTo>
                  <a:lnTo>
                    <a:pt x="69" y="11"/>
                  </a:lnTo>
                  <a:lnTo>
                    <a:pt x="65" y="8"/>
                  </a:lnTo>
                  <a:lnTo>
                    <a:pt x="60" y="8"/>
                  </a:lnTo>
                  <a:lnTo>
                    <a:pt x="60" y="8"/>
                  </a:lnTo>
                  <a:lnTo>
                    <a:pt x="51" y="7"/>
                  </a:lnTo>
                  <a:lnTo>
                    <a:pt x="44" y="5"/>
                  </a:lnTo>
                  <a:lnTo>
                    <a:pt x="44" y="5"/>
                  </a:lnTo>
                  <a:lnTo>
                    <a:pt x="37" y="5"/>
                  </a:lnTo>
                  <a:lnTo>
                    <a:pt x="37" y="5"/>
                  </a:lnTo>
                  <a:lnTo>
                    <a:pt x="37" y="7"/>
                  </a:lnTo>
                  <a:lnTo>
                    <a:pt x="35" y="8"/>
                  </a:lnTo>
                  <a:lnTo>
                    <a:pt x="35" y="8"/>
                  </a:lnTo>
                  <a:lnTo>
                    <a:pt x="25" y="15"/>
                  </a:lnTo>
                  <a:lnTo>
                    <a:pt x="25" y="15"/>
                  </a:lnTo>
                  <a:lnTo>
                    <a:pt x="18" y="27"/>
                  </a:lnTo>
                  <a:lnTo>
                    <a:pt x="14" y="34"/>
                  </a:lnTo>
                  <a:lnTo>
                    <a:pt x="10" y="40"/>
                  </a:lnTo>
                  <a:lnTo>
                    <a:pt x="10" y="40"/>
                  </a:lnTo>
                  <a:lnTo>
                    <a:pt x="4" y="45"/>
                  </a:lnTo>
                  <a:lnTo>
                    <a:pt x="1" y="47"/>
                  </a:lnTo>
                  <a:lnTo>
                    <a:pt x="0" y="47"/>
                  </a:lnTo>
                  <a:lnTo>
                    <a:pt x="0" y="47"/>
                  </a:lnTo>
                  <a:lnTo>
                    <a:pt x="1" y="49"/>
                  </a:lnTo>
                  <a:lnTo>
                    <a:pt x="3" y="51"/>
                  </a:lnTo>
                  <a:lnTo>
                    <a:pt x="5" y="54"/>
                  </a:lnTo>
                  <a:lnTo>
                    <a:pt x="5" y="57"/>
                  </a:lnTo>
                  <a:lnTo>
                    <a:pt x="5" y="57"/>
                  </a:lnTo>
                  <a:lnTo>
                    <a:pt x="7" y="61"/>
                  </a:lnTo>
                  <a:lnTo>
                    <a:pt x="8" y="62"/>
                  </a:lnTo>
                  <a:lnTo>
                    <a:pt x="11" y="62"/>
                  </a:lnTo>
                  <a:lnTo>
                    <a:pt x="11" y="62"/>
                  </a:lnTo>
                  <a:lnTo>
                    <a:pt x="13" y="62"/>
                  </a:lnTo>
                  <a:lnTo>
                    <a:pt x="13" y="64"/>
                  </a:lnTo>
                  <a:lnTo>
                    <a:pt x="13" y="67"/>
                  </a:lnTo>
                  <a:lnTo>
                    <a:pt x="13" y="71"/>
                  </a:lnTo>
                  <a:lnTo>
                    <a:pt x="14" y="72"/>
                  </a:lnTo>
                  <a:lnTo>
                    <a:pt x="14" y="72"/>
                  </a:lnTo>
                  <a:lnTo>
                    <a:pt x="24" y="74"/>
                  </a:lnTo>
                  <a:lnTo>
                    <a:pt x="28" y="75"/>
                  </a:lnTo>
                  <a:lnTo>
                    <a:pt x="31" y="77"/>
                  </a:lnTo>
                  <a:lnTo>
                    <a:pt x="31" y="78"/>
                  </a:lnTo>
                  <a:lnTo>
                    <a:pt x="31" y="78"/>
                  </a:lnTo>
                  <a:lnTo>
                    <a:pt x="32" y="81"/>
                  </a:lnTo>
                  <a:lnTo>
                    <a:pt x="32" y="85"/>
                  </a:lnTo>
                  <a:lnTo>
                    <a:pt x="32" y="85"/>
                  </a:lnTo>
                  <a:lnTo>
                    <a:pt x="35" y="86"/>
                  </a:lnTo>
                  <a:lnTo>
                    <a:pt x="38" y="88"/>
                  </a:lnTo>
                  <a:lnTo>
                    <a:pt x="40" y="89"/>
                  </a:lnTo>
                  <a:lnTo>
                    <a:pt x="41" y="91"/>
                  </a:lnTo>
                  <a:lnTo>
                    <a:pt x="41" y="91"/>
                  </a:lnTo>
                  <a:lnTo>
                    <a:pt x="50" y="92"/>
                  </a:lnTo>
                  <a:lnTo>
                    <a:pt x="58" y="92"/>
                  </a:lnTo>
                  <a:lnTo>
                    <a:pt x="58" y="92"/>
                  </a:lnTo>
                  <a:lnTo>
                    <a:pt x="75" y="94"/>
                  </a:lnTo>
                  <a:lnTo>
                    <a:pt x="75" y="94"/>
                  </a:lnTo>
                  <a:lnTo>
                    <a:pt x="81" y="92"/>
                  </a:lnTo>
                  <a:lnTo>
                    <a:pt x="87" y="88"/>
                  </a:lnTo>
                  <a:lnTo>
                    <a:pt x="87" y="88"/>
                  </a:lnTo>
                  <a:lnTo>
                    <a:pt x="91" y="86"/>
                  </a:lnTo>
                  <a:lnTo>
                    <a:pt x="97" y="85"/>
                  </a:lnTo>
                  <a:lnTo>
                    <a:pt x="106" y="85"/>
                  </a:lnTo>
                  <a:lnTo>
                    <a:pt x="106" y="85"/>
                  </a:lnTo>
                  <a:lnTo>
                    <a:pt x="114" y="86"/>
                  </a:lnTo>
                  <a:lnTo>
                    <a:pt x="116" y="88"/>
                  </a:lnTo>
                  <a:lnTo>
                    <a:pt x="119" y="89"/>
                  </a:lnTo>
                  <a:lnTo>
                    <a:pt x="119" y="89"/>
                  </a:lnTo>
                  <a:lnTo>
                    <a:pt x="122" y="91"/>
                  </a:lnTo>
                  <a:lnTo>
                    <a:pt x="128" y="94"/>
                  </a:lnTo>
                  <a:lnTo>
                    <a:pt x="128" y="94"/>
                  </a:lnTo>
                  <a:lnTo>
                    <a:pt x="128" y="85"/>
                  </a:lnTo>
                  <a:lnTo>
                    <a:pt x="128" y="85"/>
                  </a:lnTo>
                  <a:lnTo>
                    <a:pt x="129" y="81"/>
                  </a:lnTo>
                  <a:lnTo>
                    <a:pt x="131" y="77"/>
                  </a:lnTo>
                  <a:lnTo>
                    <a:pt x="133" y="74"/>
                  </a:lnTo>
                  <a:lnTo>
                    <a:pt x="136" y="72"/>
                  </a:lnTo>
                  <a:lnTo>
                    <a:pt x="136" y="72"/>
                  </a:lnTo>
                  <a:lnTo>
                    <a:pt x="139" y="71"/>
                  </a:lnTo>
                  <a:lnTo>
                    <a:pt x="142" y="71"/>
                  </a:lnTo>
                  <a:lnTo>
                    <a:pt x="145" y="68"/>
                  </a:lnTo>
                  <a:lnTo>
                    <a:pt x="145" y="64"/>
                  </a:lnTo>
                  <a:lnTo>
                    <a:pt x="145" y="64"/>
                  </a:lnTo>
                  <a:lnTo>
                    <a:pt x="145" y="62"/>
                  </a:lnTo>
                  <a:lnTo>
                    <a:pt x="145" y="62"/>
                  </a:lnTo>
                  <a:lnTo>
                    <a:pt x="139" y="58"/>
                  </a:lnTo>
                  <a:lnTo>
                    <a:pt x="139" y="58"/>
                  </a:lnTo>
                  <a:lnTo>
                    <a:pt x="135" y="61"/>
                  </a:lnTo>
                  <a:lnTo>
                    <a:pt x="131" y="62"/>
                  </a:lnTo>
                  <a:lnTo>
                    <a:pt x="131" y="6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5" name="Freeform 265">
              <a:extLst>
                <a:ext uri="{FF2B5EF4-FFF2-40B4-BE49-F238E27FC236}">
                  <a16:creationId xmlns:a16="http://schemas.microsoft.com/office/drawing/2014/main" id="{45DC8AF9-CFF5-E047-BA33-CC60FC77B300}"/>
                </a:ext>
              </a:extLst>
            </p:cNvPr>
            <p:cNvSpPr>
              <a:spLocks/>
            </p:cNvSpPr>
            <p:nvPr/>
          </p:nvSpPr>
          <p:spPr bwMode="auto">
            <a:xfrm>
              <a:off x="4952305" y="3048964"/>
              <a:ext cx="73989" cy="90267"/>
            </a:xfrm>
            <a:custGeom>
              <a:avLst/>
              <a:gdLst/>
              <a:ahLst/>
              <a:cxnLst>
                <a:cxn ang="0">
                  <a:pos x="35" y="15"/>
                </a:cxn>
                <a:cxn ang="0">
                  <a:pos x="35" y="15"/>
                </a:cxn>
                <a:cxn ang="0">
                  <a:pos x="34" y="11"/>
                </a:cxn>
                <a:cxn ang="0">
                  <a:pos x="31" y="8"/>
                </a:cxn>
                <a:cxn ang="0">
                  <a:pos x="27" y="7"/>
                </a:cxn>
                <a:cxn ang="0">
                  <a:pos x="24" y="7"/>
                </a:cxn>
                <a:cxn ang="0">
                  <a:pos x="24" y="7"/>
                </a:cxn>
                <a:cxn ang="0">
                  <a:pos x="21" y="6"/>
                </a:cxn>
                <a:cxn ang="0">
                  <a:pos x="18" y="3"/>
                </a:cxn>
                <a:cxn ang="0">
                  <a:pos x="14" y="0"/>
                </a:cxn>
                <a:cxn ang="0">
                  <a:pos x="11" y="0"/>
                </a:cxn>
                <a:cxn ang="0">
                  <a:pos x="11" y="0"/>
                </a:cxn>
                <a:cxn ang="0">
                  <a:pos x="0" y="3"/>
                </a:cxn>
                <a:cxn ang="0">
                  <a:pos x="0" y="3"/>
                </a:cxn>
                <a:cxn ang="0">
                  <a:pos x="10" y="20"/>
                </a:cxn>
                <a:cxn ang="0">
                  <a:pos x="10" y="20"/>
                </a:cxn>
                <a:cxn ang="0">
                  <a:pos x="18" y="33"/>
                </a:cxn>
                <a:cxn ang="0">
                  <a:pos x="21" y="38"/>
                </a:cxn>
                <a:cxn ang="0">
                  <a:pos x="21" y="41"/>
                </a:cxn>
                <a:cxn ang="0">
                  <a:pos x="21" y="43"/>
                </a:cxn>
                <a:cxn ang="0">
                  <a:pos x="21" y="43"/>
                </a:cxn>
                <a:cxn ang="0">
                  <a:pos x="20" y="47"/>
                </a:cxn>
                <a:cxn ang="0">
                  <a:pos x="20" y="51"/>
                </a:cxn>
                <a:cxn ang="0">
                  <a:pos x="21" y="57"/>
                </a:cxn>
                <a:cxn ang="0">
                  <a:pos x="23" y="61"/>
                </a:cxn>
                <a:cxn ang="0">
                  <a:pos x="23" y="61"/>
                </a:cxn>
                <a:cxn ang="0">
                  <a:pos x="28" y="54"/>
                </a:cxn>
                <a:cxn ang="0">
                  <a:pos x="31" y="50"/>
                </a:cxn>
                <a:cxn ang="0">
                  <a:pos x="32" y="47"/>
                </a:cxn>
                <a:cxn ang="0">
                  <a:pos x="32" y="47"/>
                </a:cxn>
                <a:cxn ang="0">
                  <a:pos x="34" y="41"/>
                </a:cxn>
                <a:cxn ang="0">
                  <a:pos x="35" y="40"/>
                </a:cxn>
                <a:cxn ang="0">
                  <a:pos x="38" y="40"/>
                </a:cxn>
                <a:cxn ang="0">
                  <a:pos x="38" y="40"/>
                </a:cxn>
                <a:cxn ang="0">
                  <a:pos x="47" y="41"/>
                </a:cxn>
                <a:cxn ang="0">
                  <a:pos x="48" y="43"/>
                </a:cxn>
                <a:cxn ang="0">
                  <a:pos x="50" y="41"/>
                </a:cxn>
                <a:cxn ang="0">
                  <a:pos x="50" y="41"/>
                </a:cxn>
                <a:cxn ang="0">
                  <a:pos x="48" y="37"/>
                </a:cxn>
                <a:cxn ang="0">
                  <a:pos x="45" y="31"/>
                </a:cxn>
                <a:cxn ang="0">
                  <a:pos x="45" y="31"/>
                </a:cxn>
                <a:cxn ang="0">
                  <a:pos x="41" y="24"/>
                </a:cxn>
                <a:cxn ang="0">
                  <a:pos x="35" y="15"/>
                </a:cxn>
                <a:cxn ang="0">
                  <a:pos x="35" y="15"/>
                </a:cxn>
              </a:cxnLst>
              <a:rect l="0" t="0" r="r" b="b"/>
              <a:pathLst>
                <a:path w="50" h="61">
                  <a:moveTo>
                    <a:pt x="35" y="15"/>
                  </a:moveTo>
                  <a:lnTo>
                    <a:pt x="35" y="15"/>
                  </a:lnTo>
                  <a:lnTo>
                    <a:pt x="34" y="11"/>
                  </a:lnTo>
                  <a:lnTo>
                    <a:pt x="31" y="8"/>
                  </a:lnTo>
                  <a:lnTo>
                    <a:pt x="27" y="7"/>
                  </a:lnTo>
                  <a:lnTo>
                    <a:pt x="24" y="7"/>
                  </a:lnTo>
                  <a:lnTo>
                    <a:pt x="24" y="7"/>
                  </a:lnTo>
                  <a:lnTo>
                    <a:pt x="21" y="6"/>
                  </a:lnTo>
                  <a:lnTo>
                    <a:pt x="18" y="3"/>
                  </a:lnTo>
                  <a:lnTo>
                    <a:pt x="14" y="0"/>
                  </a:lnTo>
                  <a:lnTo>
                    <a:pt x="11" y="0"/>
                  </a:lnTo>
                  <a:lnTo>
                    <a:pt x="11" y="0"/>
                  </a:lnTo>
                  <a:lnTo>
                    <a:pt x="0" y="3"/>
                  </a:lnTo>
                  <a:lnTo>
                    <a:pt x="0" y="3"/>
                  </a:lnTo>
                  <a:lnTo>
                    <a:pt x="10" y="20"/>
                  </a:lnTo>
                  <a:lnTo>
                    <a:pt x="10" y="20"/>
                  </a:lnTo>
                  <a:lnTo>
                    <a:pt x="18" y="33"/>
                  </a:lnTo>
                  <a:lnTo>
                    <a:pt x="21" y="38"/>
                  </a:lnTo>
                  <a:lnTo>
                    <a:pt x="21" y="41"/>
                  </a:lnTo>
                  <a:lnTo>
                    <a:pt x="21" y="43"/>
                  </a:lnTo>
                  <a:lnTo>
                    <a:pt x="21" y="43"/>
                  </a:lnTo>
                  <a:lnTo>
                    <a:pt x="20" y="47"/>
                  </a:lnTo>
                  <a:lnTo>
                    <a:pt x="20" y="51"/>
                  </a:lnTo>
                  <a:lnTo>
                    <a:pt x="21" y="57"/>
                  </a:lnTo>
                  <a:lnTo>
                    <a:pt x="23" y="61"/>
                  </a:lnTo>
                  <a:lnTo>
                    <a:pt x="23" y="61"/>
                  </a:lnTo>
                  <a:lnTo>
                    <a:pt x="28" y="54"/>
                  </a:lnTo>
                  <a:lnTo>
                    <a:pt x="31" y="50"/>
                  </a:lnTo>
                  <a:lnTo>
                    <a:pt x="32" y="47"/>
                  </a:lnTo>
                  <a:lnTo>
                    <a:pt x="32" y="47"/>
                  </a:lnTo>
                  <a:lnTo>
                    <a:pt x="34" y="41"/>
                  </a:lnTo>
                  <a:lnTo>
                    <a:pt x="35" y="40"/>
                  </a:lnTo>
                  <a:lnTo>
                    <a:pt x="38" y="40"/>
                  </a:lnTo>
                  <a:lnTo>
                    <a:pt x="38" y="40"/>
                  </a:lnTo>
                  <a:lnTo>
                    <a:pt x="47" y="41"/>
                  </a:lnTo>
                  <a:lnTo>
                    <a:pt x="48" y="43"/>
                  </a:lnTo>
                  <a:lnTo>
                    <a:pt x="50" y="41"/>
                  </a:lnTo>
                  <a:lnTo>
                    <a:pt x="50" y="41"/>
                  </a:lnTo>
                  <a:lnTo>
                    <a:pt x="48" y="37"/>
                  </a:lnTo>
                  <a:lnTo>
                    <a:pt x="45" y="31"/>
                  </a:lnTo>
                  <a:lnTo>
                    <a:pt x="45" y="31"/>
                  </a:lnTo>
                  <a:lnTo>
                    <a:pt x="41" y="24"/>
                  </a:lnTo>
                  <a:lnTo>
                    <a:pt x="35" y="15"/>
                  </a:lnTo>
                  <a:lnTo>
                    <a:pt x="35" y="1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6" name="Freeform 266">
              <a:extLst>
                <a:ext uri="{FF2B5EF4-FFF2-40B4-BE49-F238E27FC236}">
                  <a16:creationId xmlns:a16="http://schemas.microsoft.com/office/drawing/2014/main" id="{F12C2AE3-CC4D-6644-8E34-1CE9286271AC}"/>
                </a:ext>
              </a:extLst>
            </p:cNvPr>
            <p:cNvSpPr>
              <a:spLocks/>
            </p:cNvSpPr>
            <p:nvPr/>
          </p:nvSpPr>
          <p:spPr bwMode="auto">
            <a:xfrm>
              <a:off x="4844280" y="3179184"/>
              <a:ext cx="147978" cy="79908"/>
            </a:xfrm>
            <a:custGeom>
              <a:avLst/>
              <a:gdLst/>
              <a:ahLst/>
              <a:cxnLst>
                <a:cxn ang="0">
                  <a:pos x="78" y="0"/>
                </a:cxn>
                <a:cxn ang="0">
                  <a:pos x="63" y="1"/>
                </a:cxn>
                <a:cxn ang="0">
                  <a:pos x="59" y="3"/>
                </a:cxn>
                <a:cxn ang="0">
                  <a:pos x="47" y="9"/>
                </a:cxn>
                <a:cxn ang="0">
                  <a:pos x="30" y="7"/>
                </a:cxn>
                <a:cxn ang="0">
                  <a:pos x="22" y="7"/>
                </a:cxn>
                <a:cxn ang="0">
                  <a:pos x="13" y="6"/>
                </a:cxn>
                <a:cxn ang="0">
                  <a:pos x="10" y="3"/>
                </a:cxn>
                <a:cxn ang="0">
                  <a:pos x="4" y="0"/>
                </a:cxn>
                <a:cxn ang="0">
                  <a:pos x="3" y="1"/>
                </a:cxn>
                <a:cxn ang="0">
                  <a:pos x="2" y="3"/>
                </a:cxn>
                <a:cxn ang="0">
                  <a:pos x="0" y="9"/>
                </a:cxn>
                <a:cxn ang="0">
                  <a:pos x="3" y="11"/>
                </a:cxn>
                <a:cxn ang="0">
                  <a:pos x="9" y="21"/>
                </a:cxn>
                <a:cxn ang="0">
                  <a:pos x="7" y="23"/>
                </a:cxn>
                <a:cxn ang="0">
                  <a:pos x="6" y="23"/>
                </a:cxn>
                <a:cxn ang="0">
                  <a:pos x="3" y="28"/>
                </a:cxn>
                <a:cxn ang="0">
                  <a:pos x="2" y="33"/>
                </a:cxn>
                <a:cxn ang="0">
                  <a:pos x="3" y="37"/>
                </a:cxn>
                <a:cxn ang="0">
                  <a:pos x="12" y="47"/>
                </a:cxn>
                <a:cxn ang="0">
                  <a:pos x="13" y="50"/>
                </a:cxn>
                <a:cxn ang="0">
                  <a:pos x="14" y="51"/>
                </a:cxn>
                <a:cxn ang="0">
                  <a:pos x="33" y="51"/>
                </a:cxn>
                <a:cxn ang="0">
                  <a:pos x="36" y="51"/>
                </a:cxn>
                <a:cxn ang="0">
                  <a:pos x="53" y="54"/>
                </a:cxn>
                <a:cxn ang="0">
                  <a:pos x="59" y="54"/>
                </a:cxn>
                <a:cxn ang="0">
                  <a:pos x="60" y="51"/>
                </a:cxn>
                <a:cxn ang="0">
                  <a:pos x="60" y="50"/>
                </a:cxn>
                <a:cxn ang="0">
                  <a:pos x="67" y="47"/>
                </a:cxn>
                <a:cxn ang="0">
                  <a:pos x="66" y="44"/>
                </a:cxn>
                <a:cxn ang="0">
                  <a:pos x="67" y="43"/>
                </a:cxn>
                <a:cxn ang="0">
                  <a:pos x="78" y="41"/>
                </a:cxn>
                <a:cxn ang="0">
                  <a:pos x="83" y="43"/>
                </a:cxn>
                <a:cxn ang="0">
                  <a:pos x="90" y="41"/>
                </a:cxn>
                <a:cxn ang="0">
                  <a:pos x="88" y="38"/>
                </a:cxn>
                <a:cxn ang="0">
                  <a:pos x="87" y="37"/>
                </a:cxn>
                <a:cxn ang="0">
                  <a:pos x="84" y="31"/>
                </a:cxn>
                <a:cxn ang="0">
                  <a:pos x="83" y="26"/>
                </a:cxn>
                <a:cxn ang="0">
                  <a:pos x="84" y="26"/>
                </a:cxn>
                <a:cxn ang="0">
                  <a:pos x="90" y="19"/>
                </a:cxn>
                <a:cxn ang="0">
                  <a:pos x="97" y="11"/>
                </a:cxn>
                <a:cxn ang="0">
                  <a:pos x="100" y="10"/>
                </a:cxn>
                <a:cxn ang="0">
                  <a:pos x="100" y="9"/>
                </a:cxn>
                <a:cxn ang="0">
                  <a:pos x="91" y="4"/>
                </a:cxn>
                <a:cxn ang="0">
                  <a:pos x="88" y="3"/>
                </a:cxn>
                <a:cxn ang="0">
                  <a:pos x="78" y="0"/>
                </a:cxn>
              </a:cxnLst>
              <a:rect l="0" t="0" r="r" b="b"/>
              <a:pathLst>
                <a:path w="100" h="54">
                  <a:moveTo>
                    <a:pt x="78" y="0"/>
                  </a:moveTo>
                  <a:lnTo>
                    <a:pt x="78" y="0"/>
                  </a:lnTo>
                  <a:lnTo>
                    <a:pt x="69" y="0"/>
                  </a:lnTo>
                  <a:lnTo>
                    <a:pt x="63" y="1"/>
                  </a:lnTo>
                  <a:lnTo>
                    <a:pt x="59" y="3"/>
                  </a:lnTo>
                  <a:lnTo>
                    <a:pt x="59" y="3"/>
                  </a:lnTo>
                  <a:lnTo>
                    <a:pt x="53" y="7"/>
                  </a:lnTo>
                  <a:lnTo>
                    <a:pt x="47" y="9"/>
                  </a:lnTo>
                  <a:lnTo>
                    <a:pt x="47" y="9"/>
                  </a:lnTo>
                  <a:lnTo>
                    <a:pt x="30" y="7"/>
                  </a:lnTo>
                  <a:lnTo>
                    <a:pt x="30" y="7"/>
                  </a:lnTo>
                  <a:lnTo>
                    <a:pt x="22" y="7"/>
                  </a:lnTo>
                  <a:lnTo>
                    <a:pt x="13" y="6"/>
                  </a:lnTo>
                  <a:lnTo>
                    <a:pt x="13" y="6"/>
                  </a:lnTo>
                  <a:lnTo>
                    <a:pt x="12" y="4"/>
                  </a:lnTo>
                  <a:lnTo>
                    <a:pt x="10" y="3"/>
                  </a:lnTo>
                  <a:lnTo>
                    <a:pt x="7" y="1"/>
                  </a:lnTo>
                  <a:lnTo>
                    <a:pt x="4" y="0"/>
                  </a:lnTo>
                  <a:lnTo>
                    <a:pt x="4" y="0"/>
                  </a:lnTo>
                  <a:lnTo>
                    <a:pt x="3" y="1"/>
                  </a:lnTo>
                  <a:lnTo>
                    <a:pt x="3" y="1"/>
                  </a:lnTo>
                  <a:lnTo>
                    <a:pt x="2" y="3"/>
                  </a:lnTo>
                  <a:lnTo>
                    <a:pt x="0" y="6"/>
                  </a:lnTo>
                  <a:lnTo>
                    <a:pt x="0" y="9"/>
                  </a:lnTo>
                  <a:lnTo>
                    <a:pt x="3" y="11"/>
                  </a:lnTo>
                  <a:lnTo>
                    <a:pt x="3" y="11"/>
                  </a:lnTo>
                  <a:lnTo>
                    <a:pt x="7" y="19"/>
                  </a:lnTo>
                  <a:lnTo>
                    <a:pt x="9" y="21"/>
                  </a:lnTo>
                  <a:lnTo>
                    <a:pt x="9" y="21"/>
                  </a:lnTo>
                  <a:lnTo>
                    <a:pt x="7" y="23"/>
                  </a:lnTo>
                  <a:lnTo>
                    <a:pt x="7" y="23"/>
                  </a:lnTo>
                  <a:lnTo>
                    <a:pt x="6" y="23"/>
                  </a:lnTo>
                  <a:lnTo>
                    <a:pt x="4" y="24"/>
                  </a:lnTo>
                  <a:lnTo>
                    <a:pt x="3" y="28"/>
                  </a:lnTo>
                  <a:lnTo>
                    <a:pt x="3" y="28"/>
                  </a:lnTo>
                  <a:lnTo>
                    <a:pt x="2" y="33"/>
                  </a:lnTo>
                  <a:lnTo>
                    <a:pt x="3" y="37"/>
                  </a:lnTo>
                  <a:lnTo>
                    <a:pt x="3" y="37"/>
                  </a:lnTo>
                  <a:lnTo>
                    <a:pt x="7" y="41"/>
                  </a:lnTo>
                  <a:lnTo>
                    <a:pt x="12" y="47"/>
                  </a:lnTo>
                  <a:lnTo>
                    <a:pt x="12" y="47"/>
                  </a:lnTo>
                  <a:lnTo>
                    <a:pt x="13" y="50"/>
                  </a:lnTo>
                  <a:lnTo>
                    <a:pt x="14" y="51"/>
                  </a:lnTo>
                  <a:lnTo>
                    <a:pt x="14" y="51"/>
                  </a:lnTo>
                  <a:lnTo>
                    <a:pt x="26" y="51"/>
                  </a:lnTo>
                  <a:lnTo>
                    <a:pt x="33" y="51"/>
                  </a:lnTo>
                  <a:lnTo>
                    <a:pt x="36" y="51"/>
                  </a:lnTo>
                  <a:lnTo>
                    <a:pt x="36" y="51"/>
                  </a:lnTo>
                  <a:lnTo>
                    <a:pt x="46" y="54"/>
                  </a:lnTo>
                  <a:lnTo>
                    <a:pt x="53" y="54"/>
                  </a:lnTo>
                  <a:lnTo>
                    <a:pt x="53" y="54"/>
                  </a:lnTo>
                  <a:lnTo>
                    <a:pt x="59" y="54"/>
                  </a:lnTo>
                  <a:lnTo>
                    <a:pt x="59" y="53"/>
                  </a:lnTo>
                  <a:lnTo>
                    <a:pt x="60" y="51"/>
                  </a:lnTo>
                  <a:lnTo>
                    <a:pt x="60" y="51"/>
                  </a:lnTo>
                  <a:lnTo>
                    <a:pt x="60" y="50"/>
                  </a:lnTo>
                  <a:lnTo>
                    <a:pt x="61" y="48"/>
                  </a:lnTo>
                  <a:lnTo>
                    <a:pt x="67" y="47"/>
                  </a:lnTo>
                  <a:lnTo>
                    <a:pt x="67" y="47"/>
                  </a:lnTo>
                  <a:lnTo>
                    <a:pt x="66" y="44"/>
                  </a:lnTo>
                  <a:lnTo>
                    <a:pt x="67" y="43"/>
                  </a:lnTo>
                  <a:lnTo>
                    <a:pt x="67" y="43"/>
                  </a:lnTo>
                  <a:lnTo>
                    <a:pt x="74" y="41"/>
                  </a:lnTo>
                  <a:lnTo>
                    <a:pt x="78" y="41"/>
                  </a:lnTo>
                  <a:lnTo>
                    <a:pt x="83" y="43"/>
                  </a:lnTo>
                  <a:lnTo>
                    <a:pt x="83" y="43"/>
                  </a:lnTo>
                  <a:lnTo>
                    <a:pt x="87" y="43"/>
                  </a:lnTo>
                  <a:lnTo>
                    <a:pt x="90" y="41"/>
                  </a:lnTo>
                  <a:lnTo>
                    <a:pt x="90" y="41"/>
                  </a:lnTo>
                  <a:lnTo>
                    <a:pt x="88" y="38"/>
                  </a:lnTo>
                  <a:lnTo>
                    <a:pt x="87" y="37"/>
                  </a:lnTo>
                  <a:lnTo>
                    <a:pt x="87" y="37"/>
                  </a:lnTo>
                  <a:lnTo>
                    <a:pt x="86" y="36"/>
                  </a:lnTo>
                  <a:lnTo>
                    <a:pt x="84" y="31"/>
                  </a:lnTo>
                  <a:lnTo>
                    <a:pt x="83" y="27"/>
                  </a:lnTo>
                  <a:lnTo>
                    <a:pt x="83" y="26"/>
                  </a:lnTo>
                  <a:lnTo>
                    <a:pt x="84" y="26"/>
                  </a:lnTo>
                  <a:lnTo>
                    <a:pt x="84" y="26"/>
                  </a:lnTo>
                  <a:lnTo>
                    <a:pt x="87" y="23"/>
                  </a:lnTo>
                  <a:lnTo>
                    <a:pt x="90" y="19"/>
                  </a:lnTo>
                  <a:lnTo>
                    <a:pt x="93" y="14"/>
                  </a:lnTo>
                  <a:lnTo>
                    <a:pt x="97" y="11"/>
                  </a:lnTo>
                  <a:lnTo>
                    <a:pt x="97" y="11"/>
                  </a:lnTo>
                  <a:lnTo>
                    <a:pt x="100" y="10"/>
                  </a:lnTo>
                  <a:lnTo>
                    <a:pt x="100" y="9"/>
                  </a:lnTo>
                  <a:lnTo>
                    <a:pt x="100" y="9"/>
                  </a:lnTo>
                  <a:lnTo>
                    <a:pt x="94" y="6"/>
                  </a:lnTo>
                  <a:lnTo>
                    <a:pt x="91" y="4"/>
                  </a:lnTo>
                  <a:lnTo>
                    <a:pt x="91" y="4"/>
                  </a:lnTo>
                  <a:lnTo>
                    <a:pt x="88" y="3"/>
                  </a:lnTo>
                  <a:lnTo>
                    <a:pt x="86" y="1"/>
                  </a:lnTo>
                  <a:lnTo>
                    <a:pt x="78" y="0"/>
                  </a:lnTo>
                  <a:lnTo>
                    <a:pt x="78"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7" name="Freeform 267">
              <a:extLst>
                <a:ext uri="{FF2B5EF4-FFF2-40B4-BE49-F238E27FC236}">
                  <a16:creationId xmlns:a16="http://schemas.microsoft.com/office/drawing/2014/main" id="{1C3C0E53-68A9-1E40-902F-AD4A1DBC98F8}"/>
                </a:ext>
              </a:extLst>
            </p:cNvPr>
            <p:cNvSpPr>
              <a:spLocks/>
            </p:cNvSpPr>
            <p:nvPr/>
          </p:nvSpPr>
          <p:spPr bwMode="auto">
            <a:xfrm>
              <a:off x="4802846" y="3229498"/>
              <a:ext cx="62150" cy="44394"/>
            </a:xfrm>
            <a:custGeom>
              <a:avLst/>
              <a:gdLst/>
              <a:ahLst/>
              <a:cxnLst>
                <a:cxn ang="0">
                  <a:pos x="10" y="30"/>
                </a:cxn>
                <a:cxn ang="0">
                  <a:pos x="10" y="30"/>
                </a:cxn>
                <a:cxn ang="0">
                  <a:pos x="10" y="30"/>
                </a:cxn>
                <a:cxn ang="0">
                  <a:pos x="10" y="30"/>
                </a:cxn>
                <a:cxn ang="0">
                  <a:pos x="10" y="30"/>
                </a:cxn>
                <a:cxn ang="0">
                  <a:pos x="10" y="30"/>
                </a:cxn>
                <a:cxn ang="0">
                  <a:pos x="10" y="30"/>
                </a:cxn>
                <a:cxn ang="0">
                  <a:pos x="11" y="30"/>
                </a:cxn>
                <a:cxn ang="0">
                  <a:pos x="11" y="30"/>
                </a:cxn>
                <a:cxn ang="0">
                  <a:pos x="11" y="30"/>
                </a:cxn>
                <a:cxn ang="0">
                  <a:pos x="11" y="30"/>
                </a:cxn>
                <a:cxn ang="0">
                  <a:pos x="15" y="30"/>
                </a:cxn>
                <a:cxn ang="0">
                  <a:pos x="15" y="30"/>
                </a:cxn>
                <a:cxn ang="0">
                  <a:pos x="17" y="30"/>
                </a:cxn>
                <a:cxn ang="0">
                  <a:pos x="17" y="30"/>
                </a:cxn>
                <a:cxn ang="0">
                  <a:pos x="18" y="30"/>
                </a:cxn>
                <a:cxn ang="0">
                  <a:pos x="18" y="30"/>
                </a:cxn>
                <a:cxn ang="0">
                  <a:pos x="18" y="30"/>
                </a:cxn>
                <a:cxn ang="0">
                  <a:pos x="18" y="30"/>
                </a:cxn>
                <a:cxn ang="0">
                  <a:pos x="20" y="30"/>
                </a:cxn>
                <a:cxn ang="0">
                  <a:pos x="20" y="30"/>
                </a:cxn>
                <a:cxn ang="0">
                  <a:pos x="23" y="29"/>
                </a:cxn>
                <a:cxn ang="0">
                  <a:pos x="24" y="26"/>
                </a:cxn>
                <a:cxn ang="0">
                  <a:pos x="25" y="24"/>
                </a:cxn>
                <a:cxn ang="0">
                  <a:pos x="27" y="24"/>
                </a:cxn>
                <a:cxn ang="0">
                  <a:pos x="27" y="24"/>
                </a:cxn>
                <a:cxn ang="0">
                  <a:pos x="30" y="24"/>
                </a:cxn>
                <a:cxn ang="0">
                  <a:pos x="35" y="23"/>
                </a:cxn>
                <a:cxn ang="0">
                  <a:pos x="42" y="19"/>
                </a:cxn>
                <a:cxn ang="0">
                  <a:pos x="42" y="19"/>
                </a:cxn>
                <a:cxn ang="0">
                  <a:pos x="42" y="17"/>
                </a:cxn>
                <a:cxn ang="0">
                  <a:pos x="42" y="17"/>
                </a:cxn>
                <a:cxn ang="0">
                  <a:pos x="41" y="16"/>
                </a:cxn>
                <a:cxn ang="0">
                  <a:pos x="40" y="13"/>
                </a:cxn>
                <a:cxn ang="0">
                  <a:pos x="40" y="13"/>
                </a:cxn>
                <a:cxn ang="0">
                  <a:pos x="35" y="7"/>
                </a:cxn>
                <a:cxn ang="0">
                  <a:pos x="31" y="3"/>
                </a:cxn>
                <a:cxn ang="0">
                  <a:pos x="31" y="3"/>
                </a:cxn>
                <a:cxn ang="0">
                  <a:pos x="30" y="2"/>
                </a:cxn>
                <a:cxn ang="0">
                  <a:pos x="30" y="2"/>
                </a:cxn>
                <a:cxn ang="0">
                  <a:pos x="30" y="2"/>
                </a:cxn>
                <a:cxn ang="0">
                  <a:pos x="30" y="2"/>
                </a:cxn>
                <a:cxn ang="0">
                  <a:pos x="30" y="0"/>
                </a:cxn>
                <a:cxn ang="0">
                  <a:pos x="30" y="0"/>
                </a:cxn>
                <a:cxn ang="0">
                  <a:pos x="3" y="4"/>
                </a:cxn>
                <a:cxn ang="0">
                  <a:pos x="3" y="4"/>
                </a:cxn>
                <a:cxn ang="0">
                  <a:pos x="1" y="4"/>
                </a:cxn>
                <a:cxn ang="0">
                  <a:pos x="1" y="4"/>
                </a:cxn>
                <a:cxn ang="0">
                  <a:pos x="0" y="13"/>
                </a:cxn>
                <a:cxn ang="0">
                  <a:pos x="0" y="20"/>
                </a:cxn>
                <a:cxn ang="0">
                  <a:pos x="0" y="20"/>
                </a:cxn>
                <a:cxn ang="0">
                  <a:pos x="3" y="26"/>
                </a:cxn>
                <a:cxn ang="0">
                  <a:pos x="10" y="30"/>
                </a:cxn>
                <a:cxn ang="0">
                  <a:pos x="10" y="30"/>
                </a:cxn>
              </a:cxnLst>
              <a:rect l="0" t="0" r="r" b="b"/>
              <a:pathLst>
                <a:path w="42" h="30">
                  <a:moveTo>
                    <a:pt x="10" y="30"/>
                  </a:moveTo>
                  <a:lnTo>
                    <a:pt x="10" y="30"/>
                  </a:lnTo>
                  <a:lnTo>
                    <a:pt x="10" y="30"/>
                  </a:lnTo>
                  <a:lnTo>
                    <a:pt x="10" y="30"/>
                  </a:lnTo>
                  <a:lnTo>
                    <a:pt x="10" y="30"/>
                  </a:lnTo>
                  <a:lnTo>
                    <a:pt x="10" y="30"/>
                  </a:lnTo>
                  <a:lnTo>
                    <a:pt x="10" y="30"/>
                  </a:lnTo>
                  <a:lnTo>
                    <a:pt x="11" y="30"/>
                  </a:lnTo>
                  <a:lnTo>
                    <a:pt x="11" y="30"/>
                  </a:lnTo>
                  <a:lnTo>
                    <a:pt x="11" y="30"/>
                  </a:lnTo>
                  <a:lnTo>
                    <a:pt x="11" y="30"/>
                  </a:lnTo>
                  <a:lnTo>
                    <a:pt x="15" y="30"/>
                  </a:lnTo>
                  <a:lnTo>
                    <a:pt x="15" y="30"/>
                  </a:lnTo>
                  <a:lnTo>
                    <a:pt x="17" y="30"/>
                  </a:lnTo>
                  <a:lnTo>
                    <a:pt x="17" y="30"/>
                  </a:lnTo>
                  <a:lnTo>
                    <a:pt x="18" y="30"/>
                  </a:lnTo>
                  <a:lnTo>
                    <a:pt x="18" y="30"/>
                  </a:lnTo>
                  <a:lnTo>
                    <a:pt x="18" y="30"/>
                  </a:lnTo>
                  <a:lnTo>
                    <a:pt x="18" y="30"/>
                  </a:lnTo>
                  <a:lnTo>
                    <a:pt x="20" y="30"/>
                  </a:lnTo>
                  <a:lnTo>
                    <a:pt x="20" y="30"/>
                  </a:lnTo>
                  <a:lnTo>
                    <a:pt x="23" y="29"/>
                  </a:lnTo>
                  <a:lnTo>
                    <a:pt x="24" y="26"/>
                  </a:lnTo>
                  <a:lnTo>
                    <a:pt x="25" y="24"/>
                  </a:lnTo>
                  <a:lnTo>
                    <a:pt x="27" y="24"/>
                  </a:lnTo>
                  <a:lnTo>
                    <a:pt x="27" y="24"/>
                  </a:lnTo>
                  <a:lnTo>
                    <a:pt x="30" y="24"/>
                  </a:lnTo>
                  <a:lnTo>
                    <a:pt x="35" y="23"/>
                  </a:lnTo>
                  <a:lnTo>
                    <a:pt x="42" y="19"/>
                  </a:lnTo>
                  <a:lnTo>
                    <a:pt x="42" y="19"/>
                  </a:lnTo>
                  <a:lnTo>
                    <a:pt x="42" y="17"/>
                  </a:lnTo>
                  <a:lnTo>
                    <a:pt x="42" y="17"/>
                  </a:lnTo>
                  <a:lnTo>
                    <a:pt x="41" y="16"/>
                  </a:lnTo>
                  <a:lnTo>
                    <a:pt x="40" y="13"/>
                  </a:lnTo>
                  <a:lnTo>
                    <a:pt x="40" y="13"/>
                  </a:lnTo>
                  <a:lnTo>
                    <a:pt x="35" y="7"/>
                  </a:lnTo>
                  <a:lnTo>
                    <a:pt x="31" y="3"/>
                  </a:lnTo>
                  <a:lnTo>
                    <a:pt x="31" y="3"/>
                  </a:lnTo>
                  <a:lnTo>
                    <a:pt x="30" y="2"/>
                  </a:lnTo>
                  <a:lnTo>
                    <a:pt x="30" y="2"/>
                  </a:lnTo>
                  <a:lnTo>
                    <a:pt x="30" y="2"/>
                  </a:lnTo>
                  <a:lnTo>
                    <a:pt x="30" y="2"/>
                  </a:lnTo>
                  <a:lnTo>
                    <a:pt x="30" y="0"/>
                  </a:lnTo>
                  <a:lnTo>
                    <a:pt x="30" y="0"/>
                  </a:lnTo>
                  <a:lnTo>
                    <a:pt x="3" y="4"/>
                  </a:lnTo>
                  <a:lnTo>
                    <a:pt x="3" y="4"/>
                  </a:lnTo>
                  <a:lnTo>
                    <a:pt x="1" y="4"/>
                  </a:lnTo>
                  <a:lnTo>
                    <a:pt x="1" y="4"/>
                  </a:lnTo>
                  <a:lnTo>
                    <a:pt x="0" y="13"/>
                  </a:lnTo>
                  <a:lnTo>
                    <a:pt x="0" y="20"/>
                  </a:lnTo>
                  <a:lnTo>
                    <a:pt x="0" y="20"/>
                  </a:lnTo>
                  <a:lnTo>
                    <a:pt x="3" y="26"/>
                  </a:lnTo>
                  <a:lnTo>
                    <a:pt x="10" y="30"/>
                  </a:lnTo>
                  <a:lnTo>
                    <a:pt x="10"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8" name="Freeform 268">
              <a:extLst>
                <a:ext uri="{FF2B5EF4-FFF2-40B4-BE49-F238E27FC236}">
                  <a16:creationId xmlns:a16="http://schemas.microsoft.com/office/drawing/2014/main" id="{3A6CEF17-E7CA-8643-AA0D-142ADA94B4B1}"/>
                </a:ext>
              </a:extLst>
            </p:cNvPr>
            <p:cNvSpPr>
              <a:spLocks/>
            </p:cNvSpPr>
            <p:nvPr/>
          </p:nvSpPr>
          <p:spPr bwMode="auto">
            <a:xfrm>
              <a:off x="4842801" y="2926142"/>
              <a:ext cx="423218" cy="242684"/>
            </a:xfrm>
            <a:custGeom>
              <a:avLst/>
              <a:gdLst/>
              <a:ahLst/>
              <a:cxnLst>
                <a:cxn ang="0">
                  <a:pos x="264" y="96"/>
                </a:cxn>
                <a:cxn ang="0">
                  <a:pos x="280" y="94"/>
                </a:cxn>
                <a:cxn ang="0">
                  <a:pos x="280" y="83"/>
                </a:cxn>
                <a:cxn ang="0">
                  <a:pos x="283" y="77"/>
                </a:cxn>
                <a:cxn ang="0">
                  <a:pos x="283" y="73"/>
                </a:cxn>
                <a:cxn ang="0">
                  <a:pos x="286" y="64"/>
                </a:cxn>
                <a:cxn ang="0">
                  <a:pos x="277" y="59"/>
                </a:cxn>
                <a:cxn ang="0">
                  <a:pos x="259" y="53"/>
                </a:cxn>
                <a:cxn ang="0">
                  <a:pos x="247" y="49"/>
                </a:cxn>
                <a:cxn ang="0">
                  <a:pos x="235" y="44"/>
                </a:cxn>
                <a:cxn ang="0">
                  <a:pos x="222" y="43"/>
                </a:cxn>
                <a:cxn ang="0">
                  <a:pos x="212" y="40"/>
                </a:cxn>
                <a:cxn ang="0">
                  <a:pos x="205" y="26"/>
                </a:cxn>
                <a:cxn ang="0">
                  <a:pos x="193" y="23"/>
                </a:cxn>
                <a:cxn ang="0">
                  <a:pos x="190" y="12"/>
                </a:cxn>
                <a:cxn ang="0">
                  <a:pos x="180" y="0"/>
                </a:cxn>
                <a:cxn ang="0">
                  <a:pos x="163" y="2"/>
                </a:cxn>
                <a:cxn ang="0">
                  <a:pos x="156" y="5"/>
                </a:cxn>
                <a:cxn ang="0">
                  <a:pos x="142" y="6"/>
                </a:cxn>
                <a:cxn ang="0">
                  <a:pos x="132" y="16"/>
                </a:cxn>
                <a:cxn ang="0">
                  <a:pos x="126" y="20"/>
                </a:cxn>
                <a:cxn ang="0">
                  <a:pos x="109" y="17"/>
                </a:cxn>
                <a:cxn ang="0">
                  <a:pos x="98" y="16"/>
                </a:cxn>
                <a:cxn ang="0">
                  <a:pos x="89" y="17"/>
                </a:cxn>
                <a:cxn ang="0">
                  <a:pos x="71" y="13"/>
                </a:cxn>
                <a:cxn ang="0">
                  <a:pos x="41" y="9"/>
                </a:cxn>
                <a:cxn ang="0">
                  <a:pos x="30" y="15"/>
                </a:cxn>
                <a:cxn ang="0">
                  <a:pos x="23" y="22"/>
                </a:cxn>
                <a:cxn ang="0">
                  <a:pos x="30" y="37"/>
                </a:cxn>
                <a:cxn ang="0">
                  <a:pos x="14" y="52"/>
                </a:cxn>
                <a:cxn ang="0">
                  <a:pos x="7" y="70"/>
                </a:cxn>
                <a:cxn ang="0">
                  <a:pos x="0" y="81"/>
                </a:cxn>
                <a:cxn ang="0">
                  <a:pos x="10" y="91"/>
                </a:cxn>
                <a:cxn ang="0">
                  <a:pos x="33" y="94"/>
                </a:cxn>
                <a:cxn ang="0">
                  <a:pos x="42" y="97"/>
                </a:cxn>
                <a:cxn ang="0">
                  <a:pos x="52" y="93"/>
                </a:cxn>
                <a:cxn ang="0">
                  <a:pos x="67" y="89"/>
                </a:cxn>
                <a:cxn ang="0">
                  <a:pos x="88" y="83"/>
                </a:cxn>
                <a:cxn ang="0">
                  <a:pos x="101" y="90"/>
                </a:cxn>
                <a:cxn ang="0">
                  <a:pos x="115" y="107"/>
                </a:cxn>
                <a:cxn ang="0">
                  <a:pos x="124" y="124"/>
                </a:cxn>
                <a:cxn ang="0">
                  <a:pos x="109" y="123"/>
                </a:cxn>
                <a:cxn ang="0">
                  <a:pos x="102" y="137"/>
                </a:cxn>
                <a:cxn ang="0">
                  <a:pos x="104" y="148"/>
                </a:cxn>
                <a:cxn ang="0">
                  <a:pos x="118" y="148"/>
                </a:cxn>
                <a:cxn ang="0">
                  <a:pos x="125" y="137"/>
                </a:cxn>
                <a:cxn ang="0">
                  <a:pos x="139" y="120"/>
                </a:cxn>
                <a:cxn ang="0">
                  <a:pos x="159" y="118"/>
                </a:cxn>
                <a:cxn ang="0">
                  <a:pos x="159" y="128"/>
                </a:cxn>
                <a:cxn ang="0">
                  <a:pos x="183" y="130"/>
                </a:cxn>
                <a:cxn ang="0">
                  <a:pos x="173" y="138"/>
                </a:cxn>
                <a:cxn ang="0">
                  <a:pos x="171" y="147"/>
                </a:cxn>
                <a:cxn ang="0">
                  <a:pos x="179" y="161"/>
                </a:cxn>
                <a:cxn ang="0">
                  <a:pos x="193" y="160"/>
                </a:cxn>
                <a:cxn ang="0">
                  <a:pos x="209" y="154"/>
                </a:cxn>
                <a:cxn ang="0">
                  <a:pos x="230" y="151"/>
                </a:cxn>
                <a:cxn ang="0">
                  <a:pos x="213" y="147"/>
                </a:cxn>
                <a:cxn ang="0">
                  <a:pos x="203" y="141"/>
                </a:cxn>
                <a:cxn ang="0">
                  <a:pos x="207" y="126"/>
                </a:cxn>
                <a:cxn ang="0">
                  <a:pos x="242" y="114"/>
                </a:cxn>
                <a:cxn ang="0">
                  <a:pos x="253" y="104"/>
                </a:cxn>
              </a:cxnLst>
              <a:rect l="0" t="0" r="r" b="b"/>
              <a:pathLst>
                <a:path w="286" h="164">
                  <a:moveTo>
                    <a:pt x="254" y="103"/>
                  </a:moveTo>
                  <a:lnTo>
                    <a:pt x="254" y="103"/>
                  </a:lnTo>
                  <a:lnTo>
                    <a:pt x="257" y="101"/>
                  </a:lnTo>
                  <a:lnTo>
                    <a:pt x="260" y="98"/>
                  </a:lnTo>
                  <a:lnTo>
                    <a:pt x="264" y="96"/>
                  </a:lnTo>
                  <a:lnTo>
                    <a:pt x="267" y="94"/>
                  </a:lnTo>
                  <a:lnTo>
                    <a:pt x="267" y="94"/>
                  </a:lnTo>
                  <a:lnTo>
                    <a:pt x="274" y="96"/>
                  </a:lnTo>
                  <a:lnTo>
                    <a:pt x="279" y="96"/>
                  </a:lnTo>
                  <a:lnTo>
                    <a:pt x="280" y="94"/>
                  </a:lnTo>
                  <a:lnTo>
                    <a:pt x="280" y="94"/>
                  </a:lnTo>
                  <a:lnTo>
                    <a:pt x="281" y="90"/>
                  </a:lnTo>
                  <a:lnTo>
                    <a:pt x="283" y="86"/>
                  </a:lnTo>
                  <a:lnTo>
                    <a:pt x="283" y="86"/>
                  </a:lnTo>
                  <a:lnTo>
                    <a:pt x="280" y="83"/>
                  </a:lnTo>
                  <a:lnTo>
                    <a:pt x="280" y="80"/>
                  </a:lnTo>
                  <a:lnTo>
                    <a:pt x="280" y="79"/>
                  </a:lnTo>
                  <a:lnTo>
                    <a:pt x="280" y="79"/>
                  </a:lnTo>
                  <a:lnTo>
                    <a:pt x="280" y="79"/>
                  </a:lnTo>
                  <a:lnTo>
                    <a:pt x="283" y="77"/>
                  </a:lnTo>
                  <a:lnTo>
                    <a:pt x="284" y="77"/>
                  </a:lnTo>
                  <a:lnTo>
                    <a:pt x="286" y="76"/>
                  </a:lnTo>
                  <a:lnTo>
                    <a:pt x="286" y="76"/>
                  </a:lnTo>
                  <a:lnTo>
                    <a:pt x="284" y="74"/>
                  </a:lnTo>
                  <a:lnTo>
                    <a:pt x="283" y="73"/>
                  </a:lnTo>
                  <a:lnTo>
                    <a:pt x="281" y="70"/>
                  </a:lnTo>
                  <a:lnTo>
                    <a:pt x="281" y="70"/>
                  </a:lnTo>
                  <a:lnTo>
                    <a:pt x="284" y="67"/>
                  </a:lnTo>
                  <a:lnTo>
                    <a:pt x="286" y="66"/>
                  </a:lnTo>
                  <a:lnTo>
                    <a:pt x="286" y="64"/>
                  </a:lnTo>
                  <a:lnTo>
                    <a:pt x="286" y="64"/>
                  </a:lnTo>
                  <a:lnTo>
                    <a:pt x="284" y="62"/>
                  </a:lnTo>
                  <a:lnTo>
                    <a:pt x="283" y="62"/>
                  </a:lnTo>
                  <a:lnTo>
                    <a:pt x="277" y="59"/>
                  </a:lnTo>
                  <a:lnTo>
                    <a:pt x="277" y="59"/>
                  </a:lnTo>
                  <a:lnTo>
                    <a:pt x="273" y="57"/>
                  </a:lnTo>
                  <a:lnTo>
                    <a:pt x="270" y="56"/>
                  </a:lnTo>
                  <a:lnTo>
                    <a:pt x="263" y="54"/>
                  </a:lnTo>
                  <a:lnTo>
                    <a:pt x="263" y="54"/>
                  </a:lnTo>
                  <a:lnTo>
                    <a:pt x="259" y="53"/>
                  </a:lnTo>
                  <a:lnTo>
                    <a:pt x="254" y="53"/>
                  </a:lnTo>
                  <a:lnTo>
                    <a:pt x="252" y="53"/>
                  </a:lnTo>
                  <a:lnTo>
                    <a:pt x="250" y="53"/>
                  </a:lnTo>
                  <a:lnTo>
                    <a:pt x="250" y="53"/>
                  </a:lnTo>
                  <a:lnTo>
                    <a:pt x="247" y="49"/>
                  </a:lnTo>
                  <a:lnTo>
                    <a:pt x="243" y="44"/>
                  </a:lnTo>
                  <a:lnTo>
                    <a:pt x="243" y="44"/>
                  </a:lnTo>
                  <a:lnTo>
                    <a:pt x="242" y="43"/>
                  </a:lnTo>
                  <a:lnTo>
                    <a:pt x="239" y="43"/>
                  </a:lnTo>
                  <a:lnTo>
                    <a:pt x="235" y="44"/>
                  </a:lnTo>
                  <a:lnTo>
                    <a:pt x="235" y="44"/>
                  </a:lnTo>
                  <a:lnTo>
                    <a:pt x="230" y="46"/>
                  </a:lnTo>
                  <a:lnTo>
                    <a:pt x="226" y="46"/>
                  </a:lnTo>
                  <a:lnTo>
                    <a:pt x="226" y="46"/>
                  </a:lnTo>
                  <a:lnTo>
                    <a:pt x="222" y="43"/>
                  </a:lnTo>
                  <a:lnTo>
                    <a:pt x="220" y="42"/>
                  </a:lnTo>
                  <a:lnTo>
                    <a:pt x="217" y="42"/>
                  </a:lnTo>
                  <a:lnTo>
                    <a:pt x="217" y="42"/>
                  </a:lnTo>
                  <a:lnTo>
                    <a:pt x="213" y="42"/>
                  </a:lnTo>
                  <a:lnTo>
                    <a:pt x="212" y="40"/>
                  </a:lnTo>
                  <a:lnTo>
                    <a:pt x="212" y="39"/>
                  </a:lnTo>
                  <a:lnTo>
                    <a:pt x="212" y="39"/>
                  </a:lnTo>
                  <a:lnTo>
                    <a:pt x="212" y="36"/>
                  </a:lnTo>
                  <a:lnTo>
                    <a:pt x="210" y="32"/>
                  </a:lnTo>
                  <a:lnTo>
                    <a:pt x="205" y="26"/>
                  </a:lnTo>
                  <a:lnTo>
                    <a:pt x="205" y="26"/>
                  </a:lnTo>
                  <a:lnTo>
                    <a:pt x="199" y="26"/>
                  </a:lnTo>
                  <a:lnTo>
                    <a:pt x="195" y="25"/>
                  </a:lnTo>
                  <a:lnTo>
                    <a:pt x="193" y="23"/>
                  </a:lnTo>
                  <a:lnTo>
                    <a:pt x="193" y="23"/>
                  </a:lnTo>
                  <a:lnTo>
                    <a:pt x="190" y="19"/>
                  </a:lnTo>
                  <a:lnTo>
                    <a:pt x="189" y="16"/>
                  </a:lnTo>
                  <a:lnTo>
                    <a:pt x="189" y="15"/>
                  </a:lnTo>
                  <a:lnTo>
                    <a:pt x="189" y="15"/>
                  </a:lnTo>
                  <a:lnTo>
                    <a:pt x="190" y="12"/>
                  </a:lnTo>
                  <a:lnTo>
                    <a:pt x="189" y="9"/>
                  </a:lnTo>
                  <a:lnTo>
                    <a:pt x="188" y="2"/>
                  </a:lnTo>
                  <a:lnTo>
                    <a:pt x="188" y="2"/>
                  </a:lnTo>
                  <a:lnTo>
                    <a:pt x="185" y="0"/>
                  </a:lnTo>
                  <a:lnTo>
                    <a:pt x="180" y="0"/>
                  </a:lnTo>
                  <a:lnTo>
                    <a:pt x="175" y="0"/>
                  </a:lnTo>
                  <a:lnTo>
                    <a:pt x="175" y="0"/>
                  </a:lnTo>
                  <a:lnTo>
                    <a:pt x="169" y="0"/>
                  </a:lnTo>
                  <a:lnTo>
                    <a:pt x="166" y="0"/>
                  </a:lnTo>
                  <a:lnTo>
                    <a:pt x="163" y="2"/>
                  </a:lnTo>
                  <a:lnTo>
                    <a:pt x="163" y="2"/>
                  </a:lnTo>
                  <a:lnTo>
                    <a:pt x="161" y="3"/>
                  </a:lnTo>
                  <a:lnTo>
                    <a:pt x="158" y="5"/>
                  </a:lnTo>
                  <a:lnTo>
                    <a:pt x="156" y="5"/>
                  </a:lnTo>
                  <a:lnTo>
                    <a:pt x="156" y="5"/>
                  </a:lnTo>
                  <a:lnTo>
                    <a:pt x="153" y="5"/>
                  </a:lnTo>
                  <a:lnTo>
                    <a:pt x="152" y="3"/>
                  </a:lnTo>
                  <a:lnTo>
                    <a:pt x="152" y="3"/>
                  </a:lnTo>
                  <a:lnTo>
                    <a:pt x="145" y="5"/>
                  </a:lnTo>
                  <a:lnTo>
                    <a:pt x="142" y="6"/>
                  </a:lnTo>
                  <a:lnTo>
                    <a:pt x="142" y="6"/>
                  </a:lnTo>
                  <a:lnTo>
                    <a:pt x="136" y="9"/>
                  </a:lnTo>
                  <a:lnTo>
                    <a:pt x="134" y="13"/>
                  </a:lnTo>
                  <a:lnTo>
                    <a:pt x="132" y="16"/>
                  </a:lnTo>
                  <a:lnTo>
                    <a:pt x="132" y="16"/>
                  </a:lnTo>
                  <a:lnTo>
                    <a:pt x="131" y="20"/>
                  </a:lnTo>
                  <a:lnTo>
                    <a:pt x="131" y="22"/>
                  </a:lnTo>
                  <a:lnTo>
                    <a:pt x="129" y="22"/>
                  </a:lnTo>
                  <a:lnTo>
                    <a:pt x="129" y="22"/>
                  </a:lnTo>
                  <a:lnTo>
                    <a:pt x="126" y="20"/>
                  </a:lnTo>
                  <a:lnTo>
                    <a:pt x="122" y="19"/>
                  </a:lnTo>
                  <a:lnTo>
                    <a:pt x="115" y="20"/>
                  </a:lnTo>
                  <a:lnTo>
                    <a:pt x="115" y="20"/>
                  </a:lnTo>
                  <a:lnTo>
                    <a:pt x="112" y="20"/>
                  </a:lnTo>
                  <a:lnTo>
                    <a:pt x="109" y="17"/>
                  </a:lnTo>
                  <a:lnTo>
                    <a:pt x="106" y="16"/>
                  </a:lnTo>
                  <a:lnTo>
                    <a:pt x="104" y="17"/>
                  </a:lnTo>
                  <a:lnTo>
                    <a:pt x="104" y="17"/>
                  </a:lnTo>
                  <a:lnTo>
                    <a:pt x="101" y="17"/>
                  </a:lnTo>
                  <a:lnTo>
                    <a:pt x="98" y="16"/>
                  </a:lnTo>
                  <a:lnTo>
                    <a:pt x="95" y="16"/>
                  </a:lnTo>
                  <a:lnTo>
                    <a:pt x="94" y="16"/>
                  </a:lnTo>
                  <a:lnTo>
                    <a:pt x="94" y="16"/>
                  </a:lnTo>
                  <a:lnTo>
                    <a:pt x="92" y="17"/>
                  </a:lnTo>
                  <a:lnTo>
                    <a:pt x="89" y="17"/>
                  </a:lnTo>
                  <a:lnTo>
                    <a:pt x="82" y="15"/>
                  </a:lnTo>
                  <a:lnTo>
                    <a:pt x="82" y="15"/>
                  </a:lnTo>
                  <a:lnTo>
                    <a:pt x="79" y="13"/>
                  </a:lnTo>
                  <a:lnTo>
                    <a:pt x="75" y="13"/>
                  </a:lnTo>
                  <a:lnTo>
                    <a:pt x="71" y="13"/>
                  </a:lnTo>
                  <a:lnTo>
                    <a:pt x="68" y="12"/>
                  </a:lnTo>
                  <a:lnTo>
                    <a:pt x="68" y="12"/>
                  </a:lnTo>
                  <a:lnTo>
                    <a:pt x="64" y="10"/>
                  </a:lnTo>
                  <a:lnTo>
                    <a:pt x="55" y="9"/>
                  </a:lnTo>
                  <a:lnTo>
                    <a:pt x="41" y="9"/>
                  </a:lnTo>
                  <a:lnTo>
                    <a:pt x="41" y="9"/>
                  </a:lnTo>
                  <a:lnTo>
                    <a:pt x="37" y="9"/>
                  </a:lnTo>
                  <a:lnTo>
                    <a:pt x="34" y="10"/>
                  </a:lnTo>
                  <a:lnTo>
                    <a:pt x="30" y="15"/>
                  </a:lnTo>
                  <a:lnTo>
                    <a:pt x="30" y="15"/>
                  </a:lnTo>
                  <a:lnTo>
                    <a:pt x="28" y="16"/>
                  </a:lnTo>
                  <a:lnTo>
                    <a:pt x="25" y="17"/>
                  </a:lnTo>
                  <a:lnTo>
                    <a:pt x="21" y="17"/>
                  </a:lnTo>
                  <a:lnTo>
                    <a:pt x="21" y="17"/>
                  </a:lnTo>
                  <a:lnTo>
                    <a:pt x="23" y="22"/>
                  </a:lnTo>
                  <a:lnTo>
                    <a:pt x="23" y="22"/>
                  </a:lnTo>
                  <a:lnTo>
                    <a:pt x="27" y="30"/>
                  </a:lnTo>
                  <a:lnTo>
                    <a:pt x="30" y="34"/>
                  </a:lnTo>
                  <a:lnTo>
                    <a:pt x="30" y="37"/>
                  </a:lnTo>
                  <a:lnTo>
                    <a:pt x="30" y="37"/>
                  </a:lnTo>
                  <a:lnTo>
                    <a:pt x="27" y="40"/>
                  </a:lnTo>
                  <a:lnTo>
                    <a:pt x="25" y="42"/>
                  </a:lnTo>
                  <a:lnTo>
                    <a:pt x="23" y="43"/>
                  </a:lnTo>
                  <a:lnTo>
                    <a:pt x="23" y="43"/>
                  </a:lnTo>
                  <a:lnTo>
                    <a:pt x="14" y="52"/>
                  </a:lnTo>
                  <a:lnTo>
                    <a:pt x="7" y="59"/>
                  </a:lnTo>
                  <a:lnTo>
                    <a:pt x="7" y="59"/>
                  </a:lnTo>
                  <a:lnTo>
                    <a:pt x="8" y="64"/>
                  </a:lnTo>
                  <a:lnTo>
                    <a:pt x="8" y="67"/>
                  </a:lnTo>
                  <a:lnTo>
                    <a:pt x="7" y="70"/>
                  </a:lnTo>
                  <a:lnTo>
                    <a:pt x="7" y="70"/>
                  </a:lnTo>
                  <a:lnTo>
                    <a:pt x="3" y="76"/>
                  </a:lnTo>
                  <a:lnTo>
                    <a:pt x="1" y="79"/>
                  </a:lnTo>
                  <a:lnTo>
                    <a:pt x="0" y="81"/>
                  </a:lnTo>
                  <a:lnTo>
                    <a:pt x="0" y="81"/>
                  </a:lnTo>
                  <a:lnTo>
                    <a:pt x="1" y="84"/>
                  </a:lnTo>
                  <a:lnTo>
                    <a:pt x="3" y="86"/>
                  </a:lnTo>
                  <a:lnTo>
                    <a:pt x="7" y="90"/>
                  </a:lnTo>
                  <a:lnTo>
                    <a:pt x="7" y="90"/>
                  </a:lnTo>
                  <a:lnTo>
                    <a:pt x="10" y="91"/>
                  </a:lnTo>
                  <a:lnTo>
                    <a:pt x="10" y="91"/>
                  </a:lnTo>
                  <a:lnTo>
                    <a:pt x="17" y="91"/>
                  </a:lnTo>
                  <a:lnTo>
                    <a:pt x="17" y="91"/>
                  </a:lnTo>
                  <a:lnTo>
                    <a:pt x="24" y="93"/>
                  </a:lnTo>
                  <a:lnTo>
                    <a:pt x="33" y="94"/>
                  </a:lnTo>
                  <a:lnTo>
                    <a:pt x="33" y="94"/>
                  </a:lnTo>
                  <a:lnTo>
                    <a:pt x="38" y="94"/>
                  </a:lnTo>
                  <a:lnTo>
                    <a:pt x="42" y="97"/>
                  </a:lnTo>
                  <a:lnTo>
                    <a:pt x="42" y="97"/>
                  </a:lnTo>
                  <a:lnTo>
                    <a:pt x="42" y="97"/>
                  </a:lnTo>
                  <a:lnTo>
                    <a:pt x="45" y="97"/>
                  </a:lnTo>
                  <a:lnTo>
                    <a:pt x="50" y="94"/>
                  </a:lnTo>
                  <a:lnTo>
                    <a:pt x="50" y="94"/>
                  </a:lnTo>
                  <a:lnTo>
                    <a:pt x="51" y="93"/>
                  </a:lnTo>
                  <a:lnTo>
                    <a:pt x="52" y="93"/>
                  </a:lnTo>
                  <a:lnTo>
                    <a:pt x="57" y="94"/>
                  </a:lnTo>
                  <a:lnTo>
                    <a:pt x="57" y="94"/>
                  </a:lnTo>
                  <a:lnTo>
                    <a:pt x="62" y="93"/>
                  </a:lnTo>
                  <a:lnTo>
                    <a:pt x="67" y="89"/>
                  </a:lnTo>
                  <a:lnTo>
                    <a:pt x="67" y="89"/>
                  </a:lnTo>
                  <a:lnTo>
                    <a:pt x="70" y="87"/>
                  </a:lnTo>
                  <a:lnTo>
                    <a:pt x="75" y="84"/>
                  </a:lnTo>
                  <a:lnTo>
                    <a:pt x="85" y="83"/>
                  </a:lnTo>
                  <a:lnTo>
                    <a:pt x="85" y="83"/>
                  </a:lnTo>
                  <a:lnTo>
                    <a:pt x="88" y="83"/>
                  </a:lnTo>
                  <a:lnTo>
                    <a:pt x="92" y="86"/>
                  </a:lnTo>
                  <a:lnTo>
                    <a:pt x="95" y="89"/>
                  </a:lnTo>
                  <a:lnTo>
                    <a:pt x="98" y="90"/>
                  </a:lnTo>
                  <a:lnTo>
                    <a:pt x="98" y="90"/>
                  </a:lnTo>
                  <a:lnTo>
                    <a:pt x="101" y="90"/>
                  </a:lnTo>
                  <a:lnTo>
                    <a:pt x="105" y="91"/>
                  </a:lnTo>
                  <a:lnTo>
                    <a:pt x="108" y="94"/>
                  </a:lnTo>
                  <a:lnTo>
                    <a:pt x="109" y="98"/>
                  </a:lnTo>
                  <a:lnTo>
                    <a:pt x="109" y="98"/>
                  </a:lnTo>
                  <a:lnTo>
                    <a:pt x="115" y="107"/>
                  </a:lnTo>
                  <a:lnTo>
                    <a:pt x="119" y="114"/>
                  </a:lnTo>
                  <a:lnTo>
                    <a:pt x="119" y="114"/>
                  </a:lnTo>
                  <a:lnTo>
                    <a:pt x="122" y="120"/>
                  </a:lnTo>
                  <a:lnTo>
                    <a:pt x="124" y="124"/>
                  </a:lnTo>
                  <a:lnTo>
                    <a:pt x="124" y="124"/>
                  </a:lnTo>
                  <a:lnTo>
                    <a:pt x="122" y="126"/>
                  </a:lnTo>
                  <a:lnTo>
                    <a:pt x="121" y="124"/>
                  </a:lnTo>
                  <a:lnTo>
                    <a:pt x="112" y="123"/>
                  </a:lnTo>
                  <a:lnTo>
                    <a:pt x="112" y="123"/>
                  </a:lnTo>
                  <a:lnTo>
                    <a:pt x="109" y="123"/>
                  </a:lnTo>
                  <a:lnTo>
                    <a:pt x="108" y="124"/>
                  </a:lnTo>
                  <a:lnTo>
                    <a:pt x="106" y="130"/>
                  </a:lnTo>
                  <a:lnTo>
                    <a:pt x="106" y="130"/>
                  </a:lnTo>
                  <a:lnTo>
                    <a:pt x="105" y="133"/>
                  </a:lnTo>
                  <a:lnTo>
                    <a:pt x="102" y="137"/>
                  </a:lnTo>
                  <a:lnTo>
                    <a:pt x="97" y="144"/>
                  </a:lnTo>
                  <a:lnTo>
                    <a:pt x="97" y="144"/>
                  </a:lnTo>
                  <a:lnTo>
                    <a:pt x="97" y="145"/>
                  </a:lnTo>
                  <a:lnTo>
                    <a:pt x="98" y="147"/>
                  </a:lnTo>
                  <a:lnTo>
                    <a:pt x="104" y="148"/>
                  </a:lnTo>
                  <a:lnTo>
                    <a:pt x="104" y="148"/>
                  </a:lnTo>
                  <a:lnTo>
                    <a:pt x="108" y="147"/>
                  </a:lnTo>
                  <a:lnTo>
                    <a:pt x="112" y="144"/>
                  </a:lnTo>
                  <a:lnTo>
                    <a:pt x="112" y="144"/>
                  </a:lnTo>
                  <a:lnTo>
                    <a:pt x="118" y="148"/>
                  </a:lnTo>
                  <a:lnTo>
                    <a:pt x="118" y="148"/>
                  </a:lnTo>
                  <a:lnTo>
                    <a:pt x="118" y="144"/>
                  </a:lnTo>
                  <a:lnTo>
                    <a:pt x="119" y="141"/>
                  </a:lnTo>
                  <a:lnTo>
                    <a:pt x="125" y="137"/>
                  </a:lnTo>
                  <a:lnTo>
                    <a:pt x="125" y="137"/>
                  </a:lnTo>
                  <a:lnTo>
                    <a:pt x="129" y="131"/>
                  </a:lnTo>
                  <a:lnTo>
                    <a:pt x="132" y="127"/>
                  </a:lnTo>
                  <a:lnTo>
                    <a:pt x="135" y="123"/>
                  </a:lnTo>
                  <a:lnTo>
                    <a:pt x="139" y="120"/>
                  </a:lnTo>
                  <a:lnTo>
                    <a:pt x="139" y="120"/>
                  </a:lnTo>
                  <a:lnTo>
                    <a:pt x="146" y="118"/>
                  </a:lnTo>
                  <a:lnTo>
                    <a:pt x="151" y="117"/>
                  </a:lnTo>
                  <a:lnTo>
                    <a:pt x="156" y="117"/>
                  </a:lnTo>
                  <a:lnTo>
                    <a:pt x="156" y="117"/>
                  </a:lnTo>
                  <a:lnTo>
                    <a:pt x="159" y="118"/>
                  </a:lnTo>
                  <a:lnTo>
                    <a:pt x="161" y="120"/>
                  </a:lnTo>
                  <a:lnTo>
                    <a:pt x="159" y="123"/>
                  </a:lnTo>
                  <a:lnTo>
                    <a:pt x="156" y="126"/>
                  </a:lnTo>
                  <a:lnTo>
                    <a:pt x="156" y="127"/>
                  </a:lnTo>
                  <a:lnTo>
                    <a:pt x="159" y="128"/>
                  </a:lnTo>
                  <a:lnTo>
                    <a:pt x="159" y="128"/>
                  </a:lnTo>
                  <a:lnTo>
                    <a:pt x="165" y="130"/>
                  </a:lnTo>
                  <a:lnTo>
                    <a:pt x="173" y="130"/>
                  </a:lnTo>
                  <a:lnTo>
                    <a:pt x="180" y="130"/>
                  </a:lnTo>
                  <a:lnTo>
                    <a:pt x="183" y="130"/>
                  </a:lnTo>
                  <a:lnTo>
                    <a:pt x="185" y="131"/>
                  </a:lnTo>
                  <a:lnTo>
                    <a:pt x="185" y="131"/>
                  </a:lnTo>
                  <a:lnTo>
                    <a:pt x="183" y="134"/>
                  </a:lnTo>
                  <a:lnTo>
                    <a:pt x="182" y="135"/>
                  </a:lnTo>
                  <a:lnTo>
                    <a:pt x="173" y="138"/>
                  </a:lnTo>
                  <a:lnTo>
                    <a:pt x="166" y="141"/>
                  </a:lnTo>
                  <a:lnTo>
                    <a:pt x="163" y="144"/>
                  </a:lnTo>
                  <a:lnTo>
                    <a:pt x="163" y="144"/>
                  </a:lnTo>
                  <a:lnTo>
                    <a:pt x="165" y="145"/>
                  </a:lnTo>
                  <a:lnTo>
                    <a:pt x="171" y="147"/>
                  </a:lnTo>
                  <a:lnTo>
                    <a:pt x="179" y="151"/>
                  </a:lnTo>
                  <a:lnTo>
                    <a:pt x="179" y="151"/>
                  </a:lnTo>
                  <a:lnTo>
                    <a:pt x="180" y="154"/>
                  </a:lnTo>
                  <a:lnTo>
                    <a:pt x="180" y="157"/>
                  </a:lnTo>
                  <a:lnTo>
                    <a:pt x="179" y="161"/>
                  </a:lnTo>
                  <a:lnTo>
                    <a:pt x="180" y="164"/>
                  </a:lnTo>
                  <a:lnTo>
                    <a:pt x="180" y="164"/>
                  </a:lnTo>
                  <a:lnTo>
                    <a:pt x="182" y="164"/>
                  </a:lnTo>
                  <a:lnTo>
                    <a:pt x="185" y="164"/>
                  </a:lnTo>
                  <a:lnTo>
                    <a:pt x="193" y="160"/>
                  </a:lnTo>
                  <a:lnTo>
                    <a:pt x="193" y="160"/>
                  </a:lnTo>
                  <a:lnTo>
                    <a:pt x="196" y="158"/>
                  </a:lnTo>
                  <a:lnTo>
                    <a:pt x="200" y="157"/>
                  </a:lnTo>
                  <a:lnTo>
                    <a:pt x="205" y="155"/>
                  </a:lnTo>
                  <a:lnTo>
                    <a:pt x="209" y="154"/>
                  </a:lnTo>
                  <a:lnTo>
                    <a:pt x="209" y="154"/>
                  </a:lnTo>
                  <a:lnTo>
                    <a:pt x="215" y="151"/>
                  </a:lnTo>
                  <a:lnTo>
                    <a:pt x="220" y="151"/>
                  </a:lnTo>
                  <a:lnTo>
                    <a:pt x="226" y="151"/>
                  </a:lnTo>
                  <a:lnTo>
                    <a:pt x="230" y="151"/>
                  </a:lnTo>
                  <a:lnTo>
                    <a:pt x="230" y="151"/>
                  </a:lnTo>
                  <a:lnTo>
                    <a:pt x="230" y="148"/>
                  </a:lnTo>
                  <a:lnTo>
                    <a:pt x="227" y="147"/>
                  </a:lnTo>
                  <a:lnTo>
                    <a:pt x="222" y="147"/>
                  </a:lnTo>
                  <a:lnTo>
                    <a:pt x="213" y="147"/>
                  </a:lnTo>
                  <a:lnTo>
                    <a:pt x="213" y="147"/>
                  </a:lnTo>
                  <a:lnTo>
                    <a:pt x="209" y="145"/>
                  </a:lnTo>
                  <a:lnTo>
                    <a:pt x="206" y="145"/>
                  </a:lnTo>
                  <a:lnTo>
                    <a:pt x="205" y="143"/>
                  </a:lnTo>
                  <a:lnTo>
                    <a:pt x="203" y="141"/>
                  </a:lnTo>
                  <a:lnTo>
                    <a:pt x="200" y="137"/>
                  </a:lnTo>
                  <a:lnTo>
                    <a:pt x="200" y="133"/>
                  </a:lnTo>
                  <a:lnTo>
                    <a:pt x="200" y="133"/>
                  </a:lnTo>
                  <a:lnTo>
                    <a:pt x="203" y="130"/>
                  </a:lnTo>
                  <a:lnTo>
                    <a:pt x="207" y="126"/>
                  </a:lnTo>
                  <a:lnTo>
                    <a:pt x="215" y="123"/>
                  </a:lnTo>
                  <a:lnTo>
                    <a:pt x="220" y="120"/>
                  </a:lnTo>
                  <a:lnTo>
                    <a:pt x="220" y="120"/>
                  </a:lnTo>
                  <a:lnTo>
                    <a:pt x="232" y="118"/>
                  </a:lnTo>
                  <a:lnTo>
                    <a:pt x="242" y="114"/>
                  </a:lnTo>
                  <a:lnTo>
                    <a:pt x="242" y="114"/>
                  </a:lnTo>
                  <a:lnTo>
                    <a:pt x="254" y="111"/>
                  </a:lnTo>
                  <a:lnTo>
                    <a:pt x="254" y="111"/>
                  </a:lnTo>
                  <a:lnTo>
                    <a:pt x="253" y="106"/>
                  </a:lnTo>
                  <a:lnTo>
                    <a:pt x="253" y="104"/>
                  </a:lnTo>
                  <a:lnTo>
                    <a:pt x="254" y="103"/>
                  </a:lnTo>
                  <a:lnTo>
                    <a:pt x="254" y="10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9" name="Freeform 269">
              <a:extLst>
                <a:ext uri="{FF2B5EF4-FFF2-40B4-BE49-F238E27FC236}">
                  <a16:creationId xmlns:a16="http://schemas.microsoft.com/office/drawing/2014/main" id="{C4968A68-5AAC-8042-A9B6-92B638011C0B}"/>
                </a:ext>
              </a:extLst>
            </p:cNvPr>
            <p:cNvSpPr>
              <a:spLocks/>
            </p:cNvSpPr>
            <p:nvPr/>
          </p:nvSpPr>
          <p:spPr bwMode="auto">
            <a:xfrm>
              <a:off x="4867957" y="2800360"/>
              <a:ext cx="220488" cy="158338"/>
            </a:xfrm>
            <a:custGeom>
              <a:avLst/>
              <a:gdLst/>
              <a:ahLst/>
              <a:cxnLst>
                <a:cxn ang="0">
                  <a:pos x="138" y="51"/>
                </a:cxn>
                <a:cxn ang="0">
                  <a:pos x="131" y="44"/>
                </a:cxn>
                <a:cxn ang="0">
                  <a:pos x="128" y="40"/>
                </a:cxn>
                <a:cxn ang="0">
                  <a:pos x="124" y="34"/>
                </a:cxn>
                <a:cxn ang="0">
                  <a:pos x="122" y="23"/>
                </a:cxn>
                <a:cxn ang="0">
                  <a:pos x="122" y="13"/>
                </a:cxn>
                <a:cxn ang="0">
                  <a:pos x="114" y="9"/>
                </a:cxn>
                <a:cxn ang="0">
                  <a:pos x="105" y="7"/>
                </a:cxn>
                <a:cxn ang="0">
                  <a:pos x="97" y="7"/>
                </a:cxn>
                <a:cxn ang="0">
                  <a:pos x="91" y="3"/>
                </a:cxn>
                <a:cxn ang="0">
                  <a:pos x="87" y="4"/>
                </a:cxn>
                <a:cxn ang="0">
                  <a:pos x="81" y="1"/>
                </a:cxn>
                <a:cxn ang="0">
                  <a:pos x="75" y="1"/>
                </a:cxn>
                <a:cxn ang="0">
                  <a:pos x="71" y="7"/>
                </a:cxn>
                <a:cxn ang="0">
                  <a:pos x="62" y="7"/>
                </a:cxn>
                <a:cxn ang="0">
                  <a:pos x="58" y="9"/>
                </a:cxn>
                <a:cxn ang="0">
                  <a:pos x="54" y="17"/>
                </a:cxn>
                <a:cxn ang="0">
                  <a:pos x="51" y="24"/>
                </a:cxn>
                <a:cxn ang="0">
                  <a:pos x="48" y="26"/>
                </a:cxn>
                <a:cxn ang="0">
                  <a:pos x="47" y="28"/>
                </a:cxn>
                <a:cxn ang="0">
                  <a:pos x="38" y="36"/>
                </a:cxn>
                <a:cxn ang="0">
                  <a:pos x="35" y="43"/>
                </a:cxn>
                <a:cxn ang="0">
                  <a:pos x="27" y="46"/>
                </a:cxn>
                <a:cxn ang="0">
                  <a:pos x="23" y="50"/>
                </a:cxn>
                <a:cxn ang="0">
                  <a:pos x="17" y="50"/>
                </a:cxn>
                <a:cxn ang="0">
                  <a:pos x="6" y="51"/>
                </a:cxn>
                <a:cxn ang="0">
                  <a:pos x="6" y="58"/>
                </a:cxn>
                <a:cxn ang="0">
                  <a:pos x="8" y="63"/>
                </a:cxn>
                <a:cxn ang="0">
                  <a:pos x="10" y="74"/>
                </a:cxn>
                <a:cxn ang="0">
                  <a:pos x="3" y="81"/>
                </a:cxn>
                <a:cxn ang="0">
                  <a:pos x="0" y="85"/>
                </a:cxn>
                <a:cxn ang="0">
                  <a:pos x="4" y="91"/>
                </a:cxn>
                <a:cxn ang="0">
                  <a:pos x="4" y="102"/>
                </a:cxn>
                <a:cxn ang="0">
                  <a:pos x="11" y="101"/>
                </a:cxn>
                <a:cxn ang="0">
                  <a:pos x="17" y="95"/>
                </a:cxn>
                <a:cxn ang="0">
                  <a:pos x="24" y="94"/>
                </a:cxn>
                <a:cxn ang="0">
                  <a:pos x="51" y="97"/>
                </a:cxn>
                <a:cxn ang="0">
                  <a:pos x="58" y="98"/>
                </a:cxn>
                <a:cxn ang="0">
                  <a:pos x="65" y="100"/>
                </a:cxn>
                <a:cxn ang="0">
                  <a:pos x="77" y="101"/>
                </a:cxn>
                <a:cxn ang="0">
                  <a:pos x="81" y="101"/>
                </a:cxn>
                <a:cxn ang="0">
                  <a:pos x="87" y="102"/>
                </a:cxn>
                <a:cxn ang="0">
                  <a:pos x="95" y="105"/>
                </a:cxn>
                <a:cxn ang="0">
                  <a:pos x="105" y="104"/>
                </a:cxn>
                <a:cxn ang="0">
                  <a:pos x="112" y="107"/>
                </a:cxn>
                <a:cxn ang="0">
                  <a:pos x="115" y="101"/>
                </a:cxn>
                <a:cxn ang="0">
                  <a:pos x="119" y="94"/>
                </a:cxn>
                <a:cxn ang="0">
                  <a:pos x="128" y="90"/>
                </a:cxn>
                <a:cxn ang="0">
                  <a:pos x="132" y="81"/>
                </a:cxn>
                <a:cxn ang="0">
                  <a:pos x="129" y="70"/>
                </a:cxn>
                <a:cxn ang="0">
                  <a:pos x="132" y="67"/>
                </a:cxn>
                <a:cxn ang="0">
                  <a:pos x="141" y="68"/>
                </a:cxn>
                <a:cxn ang="0">
                  <a:pos x="149" y="64"/>
                </a:cxn>
                <a:cxn ang="0">
                  <a:pos x="148" y="58"/>
                </a:cxn>
                <a:cxn ang="0">
                  <a:pos x="141" y="53"/>
                </a:cxn>
              </a:cxnLst>
              <a:rect l="0" t="0" r="r" b="b"/>
              <a:pathLst>
                <a:path w="149" h="107">
                  <a:moveTo>
                    <a:pt x="141" y="53"/>
                  </a:moveTo>
                  <a:lnTo>
                    <a:pt x="141" y="53"/>
                  </a:lnTo>
                  <a:lnTo>
                    <a:pt x="138" y="51"/>
                  </a:lnTo>
                  <a:lnTo>
                    <a:pt x="136" y="48"/>
                  </a:lnTo>
                  <a:lnTo>
                    <a:pt x="134" y="46"/>
                  </a:lnTo>
                  <a:lnTo>
                    <a:pt x="131" y="44"/>
                  </a:lnTo>
                  <a:lnTo>
                    <a:pt x="131" y="44"/>
                  </a:lnTo>
                  <a:lnTo>
                    <a:pt x="129" y="43"/>
                  </a:lnTo>
                  <a:lnTo>
                    <a:pt x="128" y="40"/>
                  </a:lnTo>
                  <a:lnTo>
                    <a:pt x="126" y="37"/>
                  </a:lnTo>
                  <a:lnTo>
                    <a:pt x="124" y="34"/>
                  </a:lnTo>
                  <a:lnTo>
                    <a:pt x="124" y="34"/>
                  </a:lnTo>
                  <a:lnTo>
                    <a:pt x="122" y="31"/>
                  </a:lnTo>
                  <a:lnTo>
                    <a:pt x="122" y="28"/>
                  </a:lnTo>
                  <a:lnTo>
                    <a:pt x="122" y="23"/>
                  </a:lnTo>
                  <a:lnTo>
                    <a:pt x="122" y="23"/>
                  </a:lnTo>
                  <a:lnTo>
                    <a:pt x="122" y="16"/>
                  </a:lnTo>
                  <a:lnTo>
                    <a:pt x="122" y="13"/>
                  </a:lnTo>
                  <a:lnTo>
                    <a:pt x="121" y="11"/>
                  </a:lnTo>
                  <a:lnTo>
                    <a:pt x="121" y="11"/>
                  </a:lnTo>
                  <a:lnTo>
                    <a:pt x="114" y="9"/>
                  </a:lnTo>
                  <a:lnTo>
                    <a:pt x="109" y="7"/>
                  </a:lnTo>
                  <a:lnTo>
                    <a:pt x="105" y="7"/>
                  </a:lnTo>
                  <a:lnTo>
                    <a:pt x="105" y="7"/>
                  </a:lnTo>
                  <a:lnTo>
                    <a:pt x="101" y="9"/>
                  </a:lnTo>
                  <a:lnTo>
                    <a:pt x="98" y="9"/>
                  </a:lnTo>
                  <a:lnTo>
                    <a:pt x="97" y="7"/>
                  </a:lnTo>
                  <a:lnTo>
                    <a:pt x="97" y="7"/>
                  </a:lnTo>
                  <a:lnTo>
                    <a:pt x="94" y="4"/>
                  </a:lnTo>
                  <a:lnTo>
                    <a:pt x="91" y="3"/>
                  </a:lnTo>
                  <a:lnTo>
                    <a:pt x="89" y="3"/>
                  </a:lnTo>
                  <a:lnTo>
                    <a:pt x="89" y="3"/>
                  </a:lnTo>
                  <a:lnTo>
                    <a:pt x="87" y="4"/>
                  </a:lnTo>
                  <a:lnTo>
                    <a:pt x="84" y="3"/>
                  </a:lnTo>
                  <a:lnTo>
                    <a:pt x="81" y="1"/>
                  </a:lnTo>
                  <a:lnTo>
                    <a:pt x="81" y="1"/>
                  </a:lnTo>
                  <a:lnTo>
                    <a:pt x="80" y="0"/>
                  </a:lnTo>
                  <a:lnTo>
                    <a:pt x="80" y="0"/>
                  </a:lnTo>
                  <a:lnTo>
                    <a:pt x="75" y="1"/>
                  </a:lnTo>
                  <a:lnTo>
                    <a:pt x="75" y="1"/>
                  </a:lnTo>
                  <a:lnTo>
                    <a:pt x="72" y="6"/>
                  </a:lnTo>
                  <a:lnTo>
                    <a:pt x="71" y="7"/>
                  </a:lnTo>
                  <a:lnTo>
                    <a:pt x="68" y="7"/>
                  </a:lnTo>
                  <a:lnTo>
                    <a:pt x="68" y="7"/>
                  </a:lnTo>
                  <a:lnTo>
                    <a:pt x="62" y="7"/>
                  </a:lnTo>
                  <a:lnTo>
                    <a:pt x="61" y="7"/>
                  </a:lnTo>
                  <a:lnTo>
                    <a:pt x="58" y="9"/>
                  </a:lnTo>
                  <a:lnTo>
                    <a:pt x="58" y="9"/>
                  </a:lnTo>
                  <a:lnTo>
                    <a:pt x="54" y="13"/>
                  </a:lnTo>
                  <a:lnTo>
                    <a:pt x="54" y="17"/>
                  </a:lnTo>
                  <a:lnTo>
                    <a:pt x="54" y="17"/>
                  </a:lnTo>
                  <a:lnTo>
                    <a:pt x="54" y="21"/>
                  </a:lnTo>
                  <a:lnTo>
                    <a:pt x="53" y="23"/>
                  </a:lnTo>
                  <a:lnTo>
                    <a:pt x="51" y="24"/>
                  </a:lnTo>
                  <a:lnTo>
                    <a:pt x="51" y="24"/>
                  </a:lnTo>
                  <a:lnTo>
                    <a:pt x="50" y="24"/>
                  </a:lnTo>
                  <a:lnTo>
                    <a:pt x="48" y="26"/>
                  </a:lnTo>
                  <a:lnTo>
                    <a:pt x="48" y="27"/>
                  </a:lnTo>
                  <a:lnTo>
                    <a:pt x="47" y="28"/>
                  </a:lnTo>
                  <a:lnTo>
                    <a:pt x="47" y="28"/>
                  </a:lnTo>
                  <a:lnTo>
                    <a:pt x="41" y="31"/>
                  </a:lnTo>
                  <a:lnTo>
                    <a:pt x="38" y="36"/>
                  </a:lnTo>
                  <a:lnTo>
                    <a:pt x="38" y="36"/>
                  </a:lnTo>
                  <a:lnTo>
                    <a:pt x="37" y="40"/>
                  </a:lnTo>
                  <a:lnTo>
                    <a:pt x="37" y="43"/>
                  </a:lnTo>
                  <a:lnTo>
                    <a:pt x="35" y="43"/>
                  </a:lnTo>
                  <a:lnTo>
                    <a:pt x="35" y="43"/>
                  </a:lnTo>
                  <a:lnTo>
                    <a:pt x="31" y="44"/>
                  </a:lnTo>
                  <a:lnTo>
                    <a:pt x="27" y="46"/>
                  </a:lnTo>
                  <a:lnTo>
                    <a:pt x="25" y="47"/>
                  </a:lnTo>
                  <a:lnTo>
                    <a:pt x="25" y="47"/>
                  </a:lnTo>
                  <a:lnTo>
                    <a:pt x="23" y="50"/>
                  </a:lnTo>
                  <a:lnTo>
                    <a:pt x="20" y="50"/>
                  </a:lnTo>
                  <a:lnTo>
                    <a:pt x="17" y="50"/>
                  </a:lnTo>
                  <a:lnTo>
                    <a:pt x="17" y="50"/>
                  </a:lnTo>
                  <a:lnTo>
                    <a:pt x="6" y="50"/>
                  </a:lnTo>
                  <a:lnTo>
                    <a:pt x="6" y="50"/>
                  </a:lnTo>
                  <a:lnTo>
                    <a:pt x="6" y="51"/>
                  </a:lnTo>
                  <a:lnTo>
                    <a:pt x="6" y="51"/>
                  </a:lnTo>
                  <a:lnTo>
                    <a:pt x="4" y="54"/>
                  </a:lnTo>
                  <a:lnTo>
                    <a:pt x="6" y="58"/>
                  </a:lnTo>
                  <a:lnTo>
                    <a:pt x="6" y="61"/>
                  </a:lnTo>
                  <a:lnTo>
                    <a:pt x="8" y="63"/>
                  </a:lnTo>
                  <a:lnTo>
                    <a:pt x="8" y="63"/>
                  </a:lnTo>
                  <a:lnTo>
                    <a:pt x="10" y="65"/>
                  </a:lnTo>
                  <a:lnTo>
                    <a:pt x="10" y="70"/>
                  </a:lnTo>
                  <a:lnTo>
                    <a:pt x="10" y="74"/>
                  </a:lnTo>
                  <a:lnTo>
                    <a:pt x="8" y="77"/>
                  </a:lnTo>
                  <a:lnTo>
                    <a:pt x="8" y="77"/>
                  </a:lnTo>
                  <a:lnTo>
                    <a:pt x="3" y="81"/>
                  </a:lnTo>
                  <a:lnTo>
                    <a:pt x="0" y="82"/>
                  </a:lnTo>
                  <a:lnTo>
                    <a:pt x="0" y="85"/>
                  </a:lnTo>
                  <a:lnTo>
                    <a:pt x="0" y="85"/>
                  </a:lnTo>
                  <a:lnTo>
                    <a:pt x="0" y="87"/>
                  </a:lnTo>
                  <a:lnTo>
                    <a:pt x="3" y="88"/>
                  </a:lnTo>
                  <a:lnTo>
                    <a:pt x="4" y="91"/>
                  </a:lnTo>
                  <a:lnTo>
                    <a:pt x="4" y="92"/>
                  </a:lnTo>
                  <a:lnTo>
                    <a:pt x="4" y="92"/>
                  </a:lnTo>
                  <a:lnTo>
                    <a:pt x="4" y="102"/>
                  </a:lnTo>
                  <a:lnTo>
                    <a:pt x="4" y="102"/>
                  </a:lnTo>
                  <a:lnTo>
                    <a:pt x="8" y="102"/>
                  </a:lnTo>
                  <a:lnTo>
                    <a:pt x="11" y="101"/>
                  </a:lnTo>
                  <a:lnTo>
                    <a:pt x="13" y="100"/>
                  </a:lnTo>
                  <a:lnTo>
                    <a:pt x="13" y="100"/>
                  </a:lnTo>
                  <a:lnTo>
                    <a:pt x="17" y="95"/>
                  </a:lnTo>
                  <a:lnTo>
                    <a:pt x="20" y="94"/>
                  </a:lnTo>
                  <a:lnTo>
                    <a:pt x="24" y="94"/>
                  </a:lnTo>
                  <a:lnTo>
                    <a:pt x="24" y="94"/>
                  </a:lnTo>
                  <a:lnTo>
                    <a:pt x="38" y="94"/>
                  </a:lnTo>
                  <a:lnTo>
                    <a:pt x="47" y="95"/>
                  </a:lnTo>
                  <a:lnTo>
                    <a:pt x="51" y="97"/>
                  </a:lnTo>
                  <a:lnTo>
                    <a:pt x="51" y="97"/>
                  </a:lnTo>
                  <a:lnTo>
                    <a:pt x="54" y="98"/>
                  </a:lnTo>
                  <a:lnTo>
                    <a:pt x="58" y="98"/>
                  </a:lnTo>
                  <a:lnTo>
                    <a:pt x="62" y="98"/>
                  </a:lnTo>
                  <a:lnTo>
                    <a:pt x="65" y="100"/>
                  </a:lnTo>
                  <a:lnTo>
                    <a:pt x="65" y="100"/>
                  </a:lnTo>
                  <a:lnTo>
                    <a:pt x="72" y="102"/>
                  </a:lnTo>
                  <a:lnTo>
                    <a:pt x="75" y="102"/>
                  </a:lnTo>
                  <a:lnTo>
                    <a:pt x="77" y="101"/>
                  </a:lnTo>
                  <a:lnTo>
                    <a:pt x="77" y="101"/>
                  </a:lnTo>
                  <a:lnTo>
                    <a:pt x="78" y="101"/>
                  </a:lnTo>
                  <a:lnTo>
                    <a:pt x="81" y="101"/>
                  </a:lnTo>
                  <a:lnTo>
                    <a:pt x="84" y="102"/>
                  </a:lnTo>
                  <a:lnTo>
                    <a:pt x="87" y="102"/>
                  </a:lnTo>
                  <a:lnTo>
                    <a:pt x="87" y="102"/>
                  </a:lnTo>
                  <a:lnTo>
                    <a:pt x="89" y="101"/>
                  </a:lnTo>
                  <a:lnTo>
                    <a:pt x="92" y="102"/>
                  </a:lnTo>
                  <a:lnTo>
                    <a:pt x="95" y="105"/>
                  </a:lnTo>
                  <a:lnTo>
                    <a:pt x="98" y="105"/>
                  </a:lnTo>
                  <a:lnTo>
                    <a:pt x="98" y="105"/>
                  </a:lnTo>
                  <a:lnTo>
                    <a:pt x="105" y="104"/>
                  </a:lnTo>
                  <a:lnTo>
                    <a:pt x="109" y="105"/>
                  </a:lnTo>
                  <a:lnTo>
                    <a:pt x="112" y="107"/>
                  </a:lnTo>
                  <a:lnTo>
                    <a:pt x="112" y="107"/>
                  </a:lnTo>
                  <a:lnTo>
                    <a:pt x="114" y="107"/>
                  </a:lnTo>
                  <a:lnTo>
                    <a:pt x="114" y="105"/>
                  </a:lnTo>
                  <a:lnTo>
                    <a:pt x="115" y="101"/>
                  </a:lnTo>
                  <a:lnTo>
                    <a:pt x="115" y="101"/>
                  </a:lnTo>
                  <a:lnTo>
                    <a:pt x="117" y="98"/>
                  </a:lnTo>
                  <a:lnTo>
                    <a:pt x="119" y="94"/>
                  </a:lnTo>
                  <a:lnTo>
                    <a:pt x="125" y="91"/>
                  </a:lnTo>
                  <a:lnTo>
                    <a:pt x="125" y="91"/>
                  </a:lnTo>
                  <a:lnTo>
                    <a:pt x="128" y="90"/>
                  </a:lnTo>
                  <a:lnTo>
                    <a:pt x="135" y="88"/>
                  </a:lnTo>
                  <a:lnTo>
                    <a:pt x="135" y="88"/>
                  </a:lnTo>
                  <a:lnTo>
                    <a:pt x="132" y="81"/>
                  </a:lnTo>
                  <a:lnTo>
                    <a:pt x="132" y="81"/>
                  </a:lnTo>
                  <a:lnTo>
                    <a:pt x="129" y="73"/>
                  </a:lnTo>
                  <a:lnTo>
                    <a:pt x="129" y="70"/>
                  </a:lnTo>
                  <a:lnTo>
                    <a:pt x="129" y="67"/>
                  </a:lnTo>
                  <a:lnTo>
                    <a:pt x="129" y="67"/>
                  </a:lnTo>
                  <a:lnTo>
                    <a:pt x="132" y="67"/>
                  </a:lnTo>
                  <a:lnTo>
                    <a:pt x="135" y="67"/>
                  </a:lnTo>
                  <a:lnTo>
                    <a:pt x="138" y="68"/>
                  </a:lnTo>
                  <a:lnTo>
                    <a:pt x="141" y="68"/>
                  </a:lnTo>
                  <a:lnTo>
                    <a:pt x="141" y="68"/>
                  </a:lnTo>
                  <a:lnTo>
                    <a:pt x="146" y="65"/>
                  </a:lnTo>
                  <a:lnTo>
                    <a:pt x="149" y="64"/>
                  </a:lnTo>
                  <a:lnTo>
                    <a:pt x="149" y="61"/>
                  </a:lnTo>
                  <a:lnTo>
                    <a:pt x="149" y="61"/>
                  </a:lnTo>
                  <a:lnTo>
                    <a:pt x="148" y="58"/>
                  </a:lnTo>
                  <a:lnTo>
                    <a:pt x="146" y="55"/>
                  </a:lnTo>
                  <a:lnTo>
                    <a:pt x="141" y="53"/>
                  </a:lnTo>
                  <a:lnTo>
                    <a:pt x="141" y="5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0" name="Freeform 270">
              <a:extLst>
                <a:ext uri="{FF2B5EF4-FFF2-40B4-BE49-F238E27FC236}">
                  <a16:creationId xmlns:a16="http://schemas.microsoft.com/office/drawing/2014/main" id="{886C674B-DE52-384F-9650-12C5D5C741E0}"/>
                </a:ext>
              </a:extLst>
            </p:cNvPr>
            <p:cNvSpPr>
              <a:spLocks/>
            </p:cNvSpPr>
            <p:nvPr/>
          </p:nvSpPr>
          <p:spPr bwMode="auto">
            <a:xfrm>
              <a:off x="4813205" y="2736730"/>
              <a:ext cx="173135" cy="82868"/>
            </a:xfrm>
            <a:custGeom>
              <a:avLst/>
              <a:gdLst/>
              <a:ahLst/>
              <a:cxnLst>
                <a:cxn ang="0">
                  <a:pos x="38" y="39"/>
                </a:cxn>
                <a:cxn ang="0">
                  <a:pos x="54" y="39"/>
                </a:cxn>
                <a:cxn ang="0">
                  <a:pos x="58" y="39"/>
                </a:cxn>
                <a:cxn ang="0">
                  <a:pos x="64" y="40"/>
                </a:cxn>
                <a:cxn ang="0">
                  <a:pos x="68" y="42"/>
                </a:cxn>
                <a:cxn ang="0">
                  <a:pos x="71" y="43"/>
                </a:cxn>
                <a:cxn ang="0">
                  <a:pos x="84" y="50"/>
                </a:cxn>
                <a:cxn ang="0">
                  <a:pos x="91" y="56"/>
                </a:cxn>
                <a:cxn ang="0">
                  <a:pos x="95" y="52"/>
                </a:cxn>
                <a:cxn ang="0">
                  <a:pos x="98" y="50"/>
                </a:cxn>
                <a:cxn ang="0">
                  <a:pos x="105" y="50"/>
                </a:cxn>
                <a:cxn ang="0">
                  <a:pos x="108" y="50"/>
                </a:cxn>
                <a:cxn ang="0">
                  <a:pos x="112" y="44"/>
                </a:cxn>
                <a:cxn ang="0">
                  <a:pos x="117" y="43"/>
                </a:cxn>
                <a:cxn ang="0">
                  <a:pos x="115" y="37"/>
                </a:cxn>
                <a:cxn ang="0">
                  <a:pos x="114" y="33"/>
                </a:cxn>
                <a:cxn ang="0">
                  <a:pos x="108" y="26"/>
                </a:cxn>
                <a:cxn ang="0">
                  <a:pos x="108" y="23"/>
                </a:cxn>
                <a:cxn ang="0">
                  <a:pos x="108" y="17"/>
                </a:cxn>
                <a:cxn ang="0">
                  <a:pos x="107" y="15"/>
                </a:cxn>
                <a:cxn ang="0">
                  <a:pos x="104" y="10"/>
                </a:cxn>
                <a:cxn ang="0">
                  <a:pos x="88" y="10"/>
                </a:cxn>
                <a:cxn ang="0">
                  <a:pos x="85" y="9"/>
                </a:cxn>
                <a:cxn ang="0">
                  <a:pos x="72" y="0"/>
                </a:cxn>
                <a:cxn ang="0">
                  <a:pos x="65" y="0"/>
                </a:cxn>
                <a:cxn ang="0">
                  <a:pos x="55" y="0"/>
                </a:cxn>
                <a:cxn ang="0">
                  <a:pos x="53" y="7"/>
                </a:cxn>
                <a:cxn ang="0">
                  <a:pos x="54" y="16"/>
                </a:cxn>
                <a:cxn ang="0">
                  <a:pos x="53" y="20"/>
                </a:cxn>
                <a:cxn ang="0">
                  <a:pos x="41" y="23"/>
                </a:cxn>
                <a:cxn ang="0">
                  <a:pos x="37" y="20"/>
                </a:cxn>
                <a:cxn ang="0">
                  <a:pos x="27" y="6"/>
                </a:cxn>
                <a:cxn ang="0">
                  <a:pos x="25" y="5"/>
                </a:cxn>
                <a:cxn ang="0">
                  <a:pos x="20" y="7"/>
                </a:cxn>
                <a:cxn ang="0">
                  <a:pos x="11" y="13"/>
                </a:cxn>
                <a:cxn ang="0">
                  <a:pos x="7" y="19"/>
                </a:cxn>
                <a:cxn ang="0">
                  <a:pos x="4" y="26"/>
                </a:cxn>
                <a:cxn ang="0">
                  <a:pos x="1" y="29"/>
                </a:cxn>
                <a:cxn ang="0">
                  <a:pos x="0" y="36"/>
                </a:cxn>
                <a:cxn ang="0">
                  <a:pos x="3" y="42"/>
                </a:cxn>
                <a:cxn ang="0">
                  <a:pos x="3" y="42"/>
                </a:cxn>
                <a:cxn ang="0">
                  <a:pos x="16" y="39"/>
                </a:cxn>
                <a:cxn ang="0">
                  <a:pos x="20" y="37"/>
                </a:cxn>
                <a:cxn ang="0">
                  <a:pos x="38" y="39"/>
                </a:cxn>
              </a:cxnLst>
              <a:rect l="0" t="0" r="r" b="b"/>
              <a:pathLst>
                <a:path w="117" h="56">
                  <a:moveTo>
                    <a:pt x="38" y="39"/>
                  </a:moveTo>
                  <a:lnTo>
                    <a:pt x="38" y="39"/>
                  </a:lnTo>
                  <a:lnTo>
                    <a:pt x="48" y="39"/>
                  </a:lnTo>
                  <a:lnTo>
                    <a:pt x="54" y="39"/>
                  </a:lnTo>
                  <a:lnTo>
                    <a:pt x="58" y="39"/>
                  </a:lnTo>
                  <a:lnTo>
                    <a:pt x="58" y="39"/>
                  </a:lnTo>
                  <a:lnTo>
                    <a:pt x="62" y="39"/>
                  </a:lnTo>
                  <a:lnTo>
                    <a:pt x="64" y="40"/>
                  </a:lnTo>
                  <a:lnTo>
                    <a:pt x="65" y="42"/>
                  </a:lnTo>
                  <a:lnTo>
                    <a:pt x="68" y="42"/>
                  </a:lnTo>
                  <a:lnTo>
                    <a:pt x="68" y="42"/>
                  </a:lnTo>
                  <a:lnTo>
                    <a:pt x="71" y="43"/>
                  </a:lnTo>
                  <a:lnTo>
                    <a:pt x="75" y="44"/>
                  </a:lnTo>
                  <a:lnTo>
                    <a:pt x="84" y="50"/>
                  </a:lnTo>
                  <a:lnTo>
                    <a:pt x="84" y="50"/>
                  </a:lnTo>
                  <a:lnTo>
                    <a:pt x="91" y="56"/>
                  </a:lnTo>
                  <a:lnTo>
                    <a:pt x="91" y="56"/>
                  </a:lnTo>
                  <a:lnTo>
                    <a:pt x="95" y="52"/>
                  </a:lnTo>
                  <a:lnTo>
                    <a:pt x="95" y="52"/>
                  </a:lnTo>
                  <a:lnTo>
                    <a:pt x="98" y="50"/>
                  </a:lnTo>
                  <a:lnTo>
                    <a:pt x="99" y="50"/>
                  </a:lnTo>
                  <a:lnTo>
                    <a:pt x="105" y="50"/>
                  </a:lnTo>
                  <a:lnTo>
                    <a:pt x="105" y="50"/>
                  </a:lnTo>
                  <a:lnTo>
                    <a:pt x="108" y="50"/>
                  </a:lnTo>
                  <a:lnTo>
                    <a:pt x="109" y="49"/>
                  </a:lnTo>
                  <a:lnTo>
                    <a:pt x="112" y="44"/>
                  </a:lnTo>
                  <a:lnTo>
                    <a:pt x="112" y="44"/>
                  </a:lnTo>
                  <a:lnTo>
                    <a:pt x="117" y="43"/>
                  </a:lnTo>
                  <a:lnTo>
                    <a:pt x="117" y="43"/>
                  </a:lnTo>
                  <a:lnTo>
                    <a:pt x="115" y="37"/>
                  </a:lnTo>
                  <a:lnTo>
                    <a:pt x="114" y="33"/>
                  </a:lnTo>
                  <a:lnTo>
                    <a:pt x="114" y="33"/>
                  </a:lnTo>
                  <a:lnTo>
                    <a:pt x="109" y="29"/>
                  </a:lnTo>
                  <a:lnTo>
                    <a:pt x="108" y="26"/>
                  </a:lnTo>
                  <a:lnTo>
                    <a:pt x="108" y="23"/>
                  </a:lnTo>
                  <a:lnTo>
                    <a:pt x="108" y="23"/>
                  </a:lnTo>
                  <a:lnTo>
                    <a:pt x="109" y="19"/>
                  </a:lnTo>
                  <a:lnTo>
                    <a:pt x="108" y="17"/>
                  </a:lnTo>
                  <a:lnTo>
                    <a:pt x="107" y="15"/>
                  </a:lnTo>
                  <a:lnTo>
                    <a:pt x="107" y="15"/>
                  </a:lnTo>
                  <a:lnTo>
                    <a:pt x="104" y="10"/>
                  </a:lnTo>
                  <a:lnTo>
                    <a:pt x="104" y="10"/>
                  </a:lnTo>
                  <a:lnTo>
                    <a:pt x="94" y="10"/>
                  </a:lnTo>
                  <a:lnTo>
                    <a:pt x="88" y="10"/>
                  </a:lnTo>
                  <a:lnTo>
                    <a:pt x="88" y="10"/>
                  </a:lnTo>
                  <a:lnTo>
                    <a:pt x="85" y="9"/>
                  </a:lnTo>
                  <a:lnTo>
                    <a:pt x="80" y="6"/>
                  </a:lnTo>
                  <a:lnTo>
                    <a:pt x="72" y="0"/>
                  </a:lnTo>
                  <a:lnTo>
                    <a:pt x="72" y="0"/>
                  </a:lnTo>
                  <a:lnTo>
                    <a:pt x="65" y="0"/>
                  </a:lnTo>
                  <a:lnTo>
                    <a:pt x="55" y="0"/>
                  </a:lnTo>
                  <a:lnTo>
                    <a:pt x="55" y="0"/>
                  </a:lnTo>
                  <a:lnTo>
                    <a:pt x="53" y="5"/>
                  </a:lnTo>
                  <a:lnTo>
                    <a:pt x="53" y="7"/>
                  </a:lnTo>
                  <a:lnTo>
                    <a:pt x="54" y="16"/>
                  </a:lnTo>
                  <a:lnTo>
                    <a:pt x="54" y="16"/>
                  </a:lnTo>
                  <a:lnTo>
                    <a:pt x="53" y="19"/>
                  </a:lnTo>
                  <a:lnTo>
                    <a:pt x="53" y="20"/>
                  </a:lnTo>
                  <a:lnTo>
                    <a:pt x="48" y="22"/>
                  </a:lnTo>
                  <a:lnTo>
                    <a:pt x="41" y="23"/>
                  </a:lnTo>
                  <a:lnTo>
                    <a:pt x="41" y="23"/>
                  </a:lnTo>
                  <a:lnTo>
                    <a:pt x="37" y="20"/>
                  </a:lnTo>
                  <a:lnTo>
                    <a:pt x="33" y="16"/>
                  </a:lnTo>
                  <a:lnTo>
                    <a:pt x="27" y="6"/>
                  </a:lnTo>
                  <a:lnTo>
                    <a:pt x="27" y="6"/>
                  </a:lnTo>
                  <a:lnTo>
                    <a:pt x="25" y="5"/>
                  </a:lnTo>
                  <a:lnTo>
                    <a:pt x="24" y="5"/>
                  </a:lnTo>
                  <a:lnTo>
                    <a:pt x="20" y="7"/>
                  </a:lnTo>
                  <a:lnTo>
                    <a:pt x="11" y="13"/>
                  </a:lnTo>
                  <a:lnTo>
                    <a:pt x="11" y="13"/>
                  </a:lnTo>
                  <a:lnTo>
                    <a:pt x="8" y="16"/>
                  </a:lnTo>
                  <a:lnTo>
                    <a:pt x="7" y="19"/>
                  </a:lnTo>
                  <a:lnTo>
                    <a:pt x="6" y="23"/>
                  </a:lnTo>
                  <a:lnTo>
                    <a:pt x="4" y="26"/>
                  </a:lnTo>
                  <a:lnTo>
                    <a:pt x="4" y="26"/>
                  </a:lnTo>
                  <a:lnTo>
                    <a:pt x="1" y="29"/>
                  </a:lnTo>
                  <a:lnTo>
                    <a:pt x="0" y="32"/>
                  </a:lnTo>
                  <a:lnTo>
                    <a:pt x="0" y="36"/>
                  </a:lnTo>
                  <a:lnTo>
                    <a:pt x="3" y="42"/>
                  </a:lnTo>
                  <a:lnTo>
                    <a:pt x="3" y="42"/>
                  </a:lnTo>
                  <a:lnTo>
                    <a:pt x="3" y="42"/>
                  </a:lnTo>
                  <a:lnTo>
                    <a:pt x="3" y="42"/>
                  </a:lnTo>
                  <a:lnTo>
                    <a:pt x="10" y="40"/>
                  </a:lnTo>
                  <a:lnTo>
                    <a:pt x="16" y="39"/>
                  </a:lnTo>
                  <a:lnTo>
                    <a:pt x="16" y="39"/>
                  </a:lnTo>
                  <a:lnTo>
                    <a:pt x="20" y="37"/>
                  </a:lnTo>
                  <a:lnTo>
                    <a:pt x="27" y="37"/>
                  </a:lnTo>
                  <a:lnTo>
                    <a:pt x="38" y="39"/>
                  </a:lnTo>
                  <a:lnTo>
                    <a:pt x="38" y="3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1" name="Freeform 271">
              <a:extLst>
                <a:ext uri="{FF2B5EF4-FFF2-40B4-BE49-F238E27FC236}">
                  <a16:creationId xmlns:a16="http://schemas.microsoft.com/office/drawing/2014/main" id="{9803F1AC-75E0-A545-8550-6F2135E3F11B}"/>
                </a:ext>
              </a:extLst>
            </p:cNvPr>
            <p:cNvSpPr>
              <a:spLocks/>
            </p:cNvSpPr>
            <p:nvPr/>
          </p:nvSpPr>
          <p:spPr bwMode="auto">
            <a:xfrm>
              <a:off x="4813205" y="2791482"/>
              <a:ext cx="134661" cy="82868"/>
            </a:xfrm>
            <a:custGeom>
              <a:avLst/>
              <a:gdLst/>
              <a:ahLst/>
              <a:cxnLst>
                <a:cxn ang="0">
                  <a:pos x="11" y="27"/>
                </a:cxn>
                <a:cxn ang="0">
                  <a:pos x="18" y="32"/>
                </a:cxn>
                <a:cxn ang="0">
                  <a:pos x="21" y="32"/>
                </a:cxn>
                <a:cxn ang="0">
                  <a:pos x="27" y="33"/>
                </a:cxn>
                <a:cxn ang="0">
                  <a:pos x="30" y="36"/>
                </a:cxn>
                <a:cxn ang="0">
                  <a:pos x="30" y="43"/>
                </a:cxn>
                <a:cxn ang="0">
                  <a:pos x="30" y="47"/>
                </a:cxn>
                <a:cxn ang="0">
                  <a:pos x="37" y="50"/>
                </a:cxn>
                <a:cxn ang="0">
                  <a:pos x="43" y="56"/>
                </a:cxn>
                <a:cxn ang="0">
                  <a:pos x="54" y="56"/>
                </a:cxn>
                <a:cxn ang="0">
                  <a:pos x="57" y="56"/>
                </a:cxn>
                <a:cxn ang="0">
                  <a:pos x="62" y="53"/>
                </a:cxn>
                <a:cxn ang="0">
                  <a:pos x="64" y="52"/>
                </a:cxn>
                <a:cxn ang="0">
                  <a:pos x="72" y="49"/>
                </a:cxn>
                <a:cxn ang="0">
                  <a:pos x="74" y="49"/>
                </a:cxn>
                <a:cxn ang="0">
                  <a:pos x="75" y="42"/>
                </a:cxn>
                <a:cxn ang="0">
                  <a:pos x="78" y="37"/>
                </a:cxn>
                <a:cxn ang="0">
                  <a:pos x="84" y="34"/>
                </a:cxn>
                <a:cxn ang="0">
                  <a:pos x="85" y="32"/>
                </a:cxn>
                <a:cxn ang="0">
                  <a:pos x="88" y="30"/>
                </a:cxn>
                <a:cxn ang="0">
                  <a:pos x="90" y="29"/>
                </a:cxn>
                <a:cxn ang="0">
                  <a:pos x="91" y="23"/>
                </a:cxn>
                <a:cxn ang="0">
                  <a:pos x="91" y="22"/>
                </a:cxn>
                <a:cxn ang="0">
                  <a:pos x="91" y="19"/>
                </a:cxn>
                <a:cxn ang="0">
                  <a:pos x="84" y="13"/>
                </a:cxn>
                <a:cxn ang="0">
                  <a:pos x="71" y="6"/>
                </a:cxn>
                <a:cxn ang="0">
                  <a:pos x="68" y="5"/>
                </a:cxn>
                <a:cxn ang="0">
                  <a:pos x="64" y="3"/>
                </a:cxn>
                <a:cxn ang="0">
                  <a:pos x="58" y="2"/>
                </a:cxn>
                <a:cxn ang="0">
                  <a:pos x="54" y="2"/>
                </a:cxn>
                <a:cxn ang="0">
                  <a:pos x="38" y="2"/>
                </a:cxn>
                <a:cxn ang="0">
                  <a:pos x="27" y="0"/>
                </a:cxn>
                <a:cxn ang="0">
                  <a:pos x="16" y="2"/>
                </a:cxn>
                <a:cxn ang="0">
                  <a:pos x="10" y="3"/>
                </a:cxn>
                <a:cxn ang="0">
                  <a:pos x="3" y="5"/>
                </a:cxn>
                <a:cxn ang="0">
                  <a:pos x="4" y="15"/>
                </a:cxn>
                <a:cxn ang="0">
                  <a:pos x="1" y="22"/>
                </a:cxn>
                <a:cxn ang="0">
                  <a:pos x="0" y="24"/>
                </a:cxn>
                <a:cxn ang="0">
                  <a:pos x="1" y="27"/>
                </a:cxn>
                <a:cxn ang="0">
                  <a:pos x="7" y="26"/>
                </a:cxn>
                <a:cxn ang="0">
                  <a:pos x="11" y="27"/>
                </a:cxn>
              </a:cxnLst>
              <a:rect l="0" t="0" r="r" b="b"/>
              <a:pathLst>
                <a:path w="91" h="56">
                  <a:moveTo>
                    <a:pt x="11" y="27"/>
                  </a:moveTo>
                  <a:lnTo>
                    <a:pt x="11" y="27"/>
                  </a:lnTo>
                  <a:lnTo>
                    <a:pt x="16" y="30"/>
                  </a:lnTo>
                  <a:lnTo>
                    <a:pt x="18" y="32"/>
                  </a:lnTo>
                  <a:lnTo>
                    <a:pt x="21" y="32"/>
                  </a:lnTo>
                  <a:lnTo>
                    <a:pt x="21" y="32"/>
                  </a:lnTo>
                  <a:lnTo>
                    <a:pt x="23" y="32"/>
                  </a:lnTo>
                  <a:lnTo>
                    <a:pt x="27" y="33"/>
                  </a:lnTo>
                  <a:lnTo>
                    <a:pt x="28" y="34"/>
                  </a:lnTo>
                  <a:lnTo>
                    <a:pt x="30" y="36"/>
                  </a:lnTo>
                  <a:lnTo>
                    <a:pt x="30" y="36"/>
                  </a:lnTo>
                  <a:lnTo>
                    <a:pt x="30" y="43"/>
                  </a:lnTo>
                  <a:lnTo>
                    <a:pt x="30" y="46"/>
                  </a:lnTo>
                  <a:lnTo>
                    <a:pt x="30" y="47"/>
                  </a:lnTo>
                  <a:lnTo>
                    <a:pt x="30" y="47"/>
                  </a:lnTo>
                  <a:lnTo>
                    <a:pt x="37" y="50"/>
                  </a:lnTo>
                  <a:lnTo>
                    <a:pt x="40" y="53"/>
                  </a:lnTo>
                  <a:lnTo>
                    <a:pt x="43" y="56"/>
                  </a:lnTo>
                  <a:lnTo>
                    <a:pt x="43" y="56"/>
                  </a:lnTo>
                  <a:lnTo>
                    <a:pt x="54" y="56"/>
                  </a:lnTo>
                  <a:lnTo>
                    <a:pt x="54" y="56"/>
                  </a:lnTo>
                  <a:lnTo>
                    <a:pt x="57" y="56"/>
                  </a:lnTo>
                  <a:lnTo>
                    <a:pt x="60" y="56"/>
                  </a:lnTo>
                  <a:lnTo>
                    <a:pt x="62" y="53"/>
                  </a:lnTo>
                  <a:lnTo>
                    <a:pt x="62" y="53"/>
                  </a:lnTo>
                  <a:lnTo>
                    <a:pt x="64" y="52"/>
                  </a:lnTo>
                  <a:lnTo>
                    <a:pt x="68" y="50"/>
                  </a:lnTo>
                  <a:lnTo>
                    <a:pt x="72" y="49"/>
                  </a:lnTo>
                  <a:lnTo>
                    <a:pt x="72" y="49"/>
                  </a:lnTo>
                  <a:lnTo>
                    <a:pt x="74" y="49"/>
                  </a:lnTo>
                  <a:lnTo>
                    <a:pt x="74" y="46"/>
                  </a:lnTo>
                  <a:lnTo>
                    <a:pt x="75" y="42"/>
                  </a:lnTo>
                  <a:lnTo>
                    <a:pt x="75" y="42"/>
                  </a:lnTo>
                  <a:lnTo>
                    <a:pt x="78" y="37"/>
                  </a:lnTo>
                  <a:lnTo>
                    <a:pt x="84" y="34"/>
                  </a:lnTo>
                  <a:lnTo>
                    <a:pt x="84" y="34"/>
                  </a:lnTo>
                  <a:lnTo>
                    <a:pt x="85" y="33"/>
                  </a:lnTo>
                  <a:lnTo>
                    <a:pt x="85" y="32"/>
                  </a:lnTo>
                  <a:lnTo>
                    <a:pt x="87" y="30"/>
                  </a:lnTo>
                  <a:lnTo>
                    <a:pt x="88" y="30"/>
                  </a:lnTo>
                  <a:lnTo>
                    <a:pt x="88" y="30"/>
                  </a:lnTo>
                  <a:lnTo>
                    <a:pt x="90" y="29"/>
                  </a:lnTo>
                  <a:lnTo>
                    <a:pt x="91" y="27"/>
                  </a:lnTo>
                  <a:lnTo>
                    <a:pt x="91" y="23"/>
                  </a:lnTo>
                  <a:lnTo>
                    <a:pt x="91" y="23"/>
                  </a:lnTo>
                  <a:lnTo>
                    <a:pt x="91" y="22"/>
                  </a:lnTo>
                  <a:lnTo>
                    <a:pt x="91" y="19"/>
                  </a:lnTo>
                  <a:lnTo>
                    <a:pt x="91" y="19"/>
                  </a:lnTo>
                  <a:lnTo>
                    <a:pt x="84" y="13"/>
                  </a:lnTo>
                  <a:lnTo>
                    <a:pt x="84" y="13"/>
                  </a:lnTo>
                  <a:lnTo>
                    <a:pt x="75" y="7"/>
                  </a:lnTo>
                  <a:lnTo>
                    <a:pt x="71" y="6"/>
                  </a:lnTo>
                  <a:lnTo>
                    <a:pt x="68" y="5"/>
                  </a:lnTo>
                  <a:lnTo>
                    <a:pt x="68" y="5"/>
                  </a:lnTo>
                  <a:lnTo>
                    <a:pt x="65" y="5"/>
                  </a:lnTo>
                  <a:lnTo>
                    <a:pt x="64" y="3"/>
                  </a:lnTo>
                  <a:lnTo>
                    <a:pt x="62" y="2"/>
                  </a:lnTo>
                  <a:lnTo>
                    <a:pt x="58" y="2"/>
                  </a:lnTo>
                  <a:lnTo>
                    <a:pt x="58" y="2"/>
                  </a:lnTo>
                  <a:lnTo>
                    <a:pt x="54" y="2"/>
                  </a:lnTo>
                  <a:lnTo>
                    <a:pt x="48" y="2"/>
                  </a:lnTo>
                  <a:lnTo>
                    <a:pt x="38" y="2"/>
                  </a:lnTo>
                  <a:lnTo>
                    <a:pt x="38" y="2"/>
                  </a:lnTo>
                  <a:lnTo>
                    <a:pt x="27" y="0"/>
                  </a:lnTo>
                  <a:lnTo>
                    <a:pt x="20" y="0"/>
                  </a:lnTo>
                  <a:lnTo>
                    <a:pt x="16" y="2"/>
                  </a:lnTo>
                  <a:lnTo>
                    <a:pt x="16" y="2"/>
                  </a:lnTo>
                  <a:lnTo>
                    <a:pt x="10" y="3"/>
                  </a:lnTo>
                  <a:lnTo>
                    <a:pt x="3" y="5"/>
                  </a:lnTo>
                  <a:lnTo>
                    <a:pt x="3" y="5"/>
                  </a:lnTo>
                  <a:lnTo>
                    <a:pt x="4" y="10"/>
                  </a:lnTo>
                  <a:lnTo>
                    <a:pt x="4" y="15"/>
                  </a:lnTo>
                  <a:lnTo>
                    <a:pt x="3" y="19"/>
                  </a:lnTo>
                  <a:lnTo>
                    <a:pt x="1" y="22"/>
                  </a:lnTo>
                  <a:lnTo>
                    <a:pt x="1" y="22"/>
                  </a:lnTo>
                  <a:lnTo>
                    <a:pt x="0" y="24"/>
                  </a:lnTo>
                  <a:lnTo>
                    <a:pt x="0" y="24"/>
                  </a:lnTo>
                  <a:lnTo>
                    <a:pt x="1" y="27"/>
                  </a:lnTo>
                  <a:lnTo>
                    <a:pt x="1" y="27"/>
                  </a:lnTo>
                  <a:lnTo>
                    <a:pt x="7" y="26"/>
                  </a:lnTo>
                  <a:lnTo>
                    <a:pt x="10" y="26"/>
                  </a:lnTo>
                  <a:lnTo>
                    <a:pt x="11" y="27"/>
                  </a:lnTo>
                  <a:lnTo>
                    <a:pt x="11" y="2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2" name="Freeform 272">
              <a:extLst>
                <a:ext uri="{FF2B5EF4-FFF2-40B4-BE49-F238E27FC236}">
                  <a16:creationId xmlns:a16="http://schemas.microsoft.com/office/drawing/2014/main" id="{4A21A435-1594-3840-80E0-DB4CBA7D5859}"/>
                </a:ext>
              </a:extLst>
            </p:cNvPr>
            <p:cNvSpPr>
              <a:spLocks/>
            </p:cNvSpPr>
            <p:nvPr/>
          </p:nvSpPr>
          <p:spPr bwMode="auto">
            <a:xfrm>
              <a:off x="4471374" y="3074120"/>
              <a:ext cx="108024" cy="56232"/>
            </a:xfrm>
            <a:custGeom>
              <a:avLst/>
              <a:gdLst/>
              <a:ahLst/>
              <a:cxnLst>
                <a:cxn ang="0">
                  <a:pos x="64" y="16"/>
                </a:cxn>
                <a:cxn ang="0">
                  <a:pos x="59" y="14"/>
                </a:cxn>
                <a:cxn ang="0">
                  <a:pos x="56" y="11"/>
                </a:cxn>
                <a:cxn ang="0">
                  <a:pos x="56" y="4"/>
                </a:cxn>
                <a:cxn ang="0">
                  <a:pos x="47" y="1"/>
                </a:cxn>
                <a:cxn ang="0">
                  <a:pos x="42" y="0"/>
                </a:cxn>
                <a:cxn ang="0">
                  <a:pos x="36" y="1"/>
                </a:cxn>
                <a:cxn ang="0">
                  <a:pos x="23" y="1"/>
                </a:cxn>
                <a:cxn ang="0">
                  <a:pos x="22" y="3"/>
                </a:cxn>
                <a:cxn ang="0">
                  <a:pos x="20" y="4"/>
                </a:cxn>
                <a:cxn ang="0">
                  <a:pos x="16" y="6"/>
                </a:cxn>
                <a:cxn ang="0">
                  <a:pos x="12" y="11"/>
                </a:cxn>
                <a:cxn ang="0">
                  <a:pos x="10" y="13"/>
                </a:cxn>
                <a:cxn ang="0">
                  <a:pos x="5" y="20"/>
                </a:cxn>
                <a:cxn ang="0">
                  <a:pos x="2" y="24"/>
                </a:cxn>
                <a:cxn ang="0">
                  <a:pos x="0" y="30"/>
                </a:cxn>
                <a:cxn ang="0">
                  <a:pos x="5" y="28"/>
                </a:cxn>
                <a:cxn ang="0">
                  <a:pos x="6" y="27"/>
                </a:cxn>
                <a:cxn ang="0">
                  <a:pos x="10" y="27"/>
                </a:cxn>
                <a:cxn ang="0">
                  <a:pos x="12" y="30"/>
                </a:cxn>
                <a:cxn ang="0">
                  <a:pos x="13" y="33"/>
                </a:cxn>
                <a:cxn ang="0">
                  <a:pos x="15" y="37"/>
                </a:cxn>
                <a:cxn ang="0">
                  <a:pos x="15" y="38"/>
                </a:cxn>
                <a:cxn ang="0">
                  <a:pos x="27" y="37"/>
                </a:cxn>
                <a:cxn ang="0">
                  <a:pos x="30" y="35"/>
                </a:cxn>
                <a:cxn ang="0">
                  <a:pos x="36" y="26"/>
                </a:cxn>
                <a:cxn ang="0">
                  <a:pos x="37" y="27"/>
                </a:cxn>
                <a:cxn ang="0">
                  <a:pos x="45" y="37"/>
                </a:cxn>
                <a:cxn ang="0">
                  <a:pos x="47" y="37"/>
                </a:cxn>
                <a:cxn ang="0">
                  <a:pos x="49" y="31"/>
                </a:cxn>
                <a:cxn ang="0">
                  <a:pos x="50" y="28"/>
                </a:cxn>
                <a:cxn ang="0">
                  <a:pos x="54" y="27"/>
                </a:cxn>
                <a:cxn ang="0">
                  <a:pos x="59" y="28"/>
                </a:cxn>
                <a:cxn ang="0">
                  <a:pos x="63" y="26"/>
                </a:cxn>
                <a:cxn ang="0">
                  <a:pos x="63" y="24"/>
                </a:cxn>
                <a:cxn ang="0">
                  <a:pos x="67" y="24"/>
                </a:cxn>
                <a:cxn ang="0">
                  <a:pos x="69" y="23"/>
                </a:cxn>
                <a:cxn ang="0">
                  <a:pos x="70" y="20"/>
                </a:cxn>
                <a:cxn ang="0">
                  <a:pos x="73" y="17"/>
                </a:cxn>
                <a:cxn ang="0">
                  <a:pos x="64" y="16"/>
                </a:cxn>
              </a:cxnLst>
              <a:rect l="0" t="0" r="r" b="b"/>
              <a:pathLst>
                <a:path w="73" h="38">
                  <a:moveTo>
                    <a:pt x="64" y="16"/>
                  </a:moveTo>
                  <a:lnTo>
                    <a:pt x="64" y="16"/>
                  </a:lnTo>
                  <a:lnTo>
                    <a:pt x="62" y="16"/>
                  </a:lnTo>
                  <a:lnTo>
                    <a:pt x="59" y="14"/>
                  </a:lnTo>
                  <a:lnTo>
                    <a:pt x="56" y="11"/>
                  </a:lnTo>
                  <a:lnTo>
                    <a:pt x="56" y="11"/>
                  </a:lnTo>
                  <a:lnTo>
                    <a:pt x="56" y="8"/>
                  </a:lnTo>
                  <a:lnTo>
                    <a:pt x="56" y="4"/>
                  </a:lnTo>
                  <a:lnTo>
                    <a:pt x="56" y="4"/>
                  </a:lnTo>
                  <a:lnTo>
                    <a:pt x="47" y="1"/>
                  </a:lnTo>
                  <a:lnTo>
                    <a:pt x="47" y="1"/>
                  </a:lnTo>
                  <a:lnTo>
                    <a:pt x="42" y="0"/>
                  </a:lnTo>
                  <a:lnTo>
                    <a:pt x="36" y="1"/>
                  </a:lnTo>
                  <a:lnTo>
                    <a:pt x="36" y="1"/>
                  </a:lnTo>
                  <a:lnTo>
                    <a:pt x="30" y="3"/>
                  </a:lnTo>
                  <a:lnTo>
                    <a:pt x="23" y="1"/>
                  </a:lnTo>
                  <a:lnTo>
                    <a:pt x="23" y="1"/>
                  </a:lnTo>
                  <a:lnTo>
                    <a:pt x="22" y="3"/>
                  </a:lnTo>
                  <a:lnTo>
                    <a:pt x="20" y="4"/>
                  </a:lnTo>
                  <a:lnTo>
                    <a:pt x="20" y="4"/>
                  </a:lnTo>
                  <a:lnTo>
                    <a:pt x="17" y="4"/>
                  </a:lnTo>
                  <a:lnTo>
                    <a:pt x="16" y="6"/>
                  </a:lnTo>
                  <a:lnTo>
                    <a:pt x="13" y="8"/>
                  </a:lnTo>
                  <a:lnTo>
                    <a:pt x="12" y="11"/>
                  </a:lnTo>
                  <a:lnTo>
                    <a:pt x="12" y="11"/>
                  </a:lnTo>
                  <a:lnTo>
                    <a:pt x="10" y="13"/>
                  </a:lnTo>
                  <a:lnTo>
                    <a:pt x="8" y="16"/>
                  </a:lnTo>
                  <a:lnTo>
                    <a:pt x="5" y="20"/>
                  </a:lnTo>
                  <a:lnTo>
                    <a:pt x="2" y="24"/>
                  </a:lnTo>
                  <a:lnTo>
                    <a:pt x="2" y="24"/>
                  </a:lnTo>
                  <a:lnTo>
                    <a:pt x="0" y="28"/>
                  </a:lnTo>
                  <a:lnTo>
                    <a:pt x="0" y="30"/>
                  </a:lnTo>
                  <a:lnTo>
                    <a:pt x="2" y="31"/>
                  </a:lnTo>
                  <a:lnTo>
                    <a:pt x="5" y="28"/>
                  </a:lnTo>
                  <a:lnTo>
                    <a:pt x="5" y="28"/>
                  </a:lnTo>
                  <a:lnTo>
                    <a:pt x="6" y="27"/>
                  </a:lnTo>
                  <a:lnTo>
                    <a:pt x="9" y="27"/>
                  </a:lnTo>
                  <a:lnTo>
                    <a:pt x="10" y="27"/>
                  </a:lnTo>
                  <a:lnTo>
                    <a:pt x="12" y="30"/>
                  </a:lnTo>
                  <a:lnTo>
                    <a:pt x="12" y="30"/>
                  </a:lnTo>
                  <a:lnTo>
                    <a:pt x="12" y="31"/>
                  </a:lnTo>
                  <a:lnTo>
                    <a:pt x="13" y="33"/>
                  </a:lnTo>
                  <a:lnTo>
                    <a:pt x="15" y="35"/>
                  </a:lnTo>
                  <a:lnTo>
                    <a:pt x="15" y="37"/>
                  </a:lnTo>
                  <a:lnTo>
                    <a:pt x="15" y="37"/>
                  </a:lnTo>
                  <a:lnTo>
                    <a:pt x="15" y="38"/>
                  </a:lnTo>
                  <a:lnTo>
                    <a:pt x="15" y="38"/>
                  </a:lnTo>
                  <a:lnTo>
                    <a:pt x="27" y="37"/>
                  </a:lnTo>
                  <a:lnTo>
                    <a:pt x="27" y="37"/>
                  </a:lnTo>
                  <a:lnTo>
                    <a:pt x="30" y="35"/>
                  </a:lnTo>
                  <a:lnTo>
                    <a:pt x="33" y="31"/>
                  </a:lnTo>
                  <a:lnTo>
                    <a:pt x="36" y="26"/>
                  </a:lnTo>
                  <a:lnTo>
                    <a:pt x="36" y="26"/>
                  </a:lnTo>
                  <a:lnTo>
                    <a:pt x="37" y="27"/>
                  </a:lnTo>
                  <a:lnTo>
                    <a:pt x="39" y="30"/>
                  </a:lnTo>
                  <a:lnTo>
                    <a:pt x="45" y="37"/>
                  </a:lnTo>
                  <a:lnTo>
                    <a:pt x="45" y="37"/>
                  </a:lnTo>
                  <a:lnTo>
                    <a:pt x="47" y="37"/>
                  </a:lnTo>
                  <a:lnTo>
                    <a:pt x="49" y="35"/>
                  </a:lnTo>
                  <a:lnTo>
                    <a:pt x="49" y="31"/>
                  </a:lnTo>
                  <a:lnTo>
                    <a:pt x="49" y="31"/>
                  </a:lnTo>
                  <a:lnTo>
                    <a:pt x="50" y="28"/>
                  </a:lnTo>
                  <a:lnTo>
                    <a:pt x="52" y="28"/>
                  </a:lnTo>
                  <a:lnTo>
                    <a:pt x="54" y="27"/>
                  </a:lnTo>
                  <a:lnTo>
                    <a:pt x="54" y="27"/>
                  </a:lnTo>
                  <a:lnTo>
                    <a:pt x="59" y="28"/>
                  </a:lnTo>
                  <a:lnTo>
                    <a:pt x="62" y="27"/>
                  </a:lnTo>
                  <a:lnTo>
                    <a:pt x="63" y="26"/>
                  </a:lnTo>
                  <a:lnTo>
                    <a:pt x="63" y="26"/>
                  </a:lnTo>
                  <a:lnTo>
                    <a:pt x="63" y="24"/>
                  </a:lnTo>
                  <a:lnTo>
                    <a:pt x="64" y="23"/>
                  </a:lnTo>
                  <a:lnTo>
                    <a:pt x="67" y="24"/>
                  </a:lnTo>
                  <a:lnTo>
                    <a:pt x="67" y="24"/>
                  </a:lnTo>
                  <a:lnTo>
                    <a:pt x="69" y="23"/>
                  </a:lnTo>
                  <a:lnTo>
                    <a:pt x="69" y="21"/>
                  </a:lnTo>
                  <a:lnTo>
                    <a:pt x="70" y="20"/>
                  </a:lnTo>
                  <a:lnTo>
                    <a:pt x="73" y="17"/>
                  </a:lnTo>
                  <a:lnTo>
                    <a:pt x="73" y="17"/>
                  </a:lnTo>
                  <a:lnTo>
                    <a:pt x="69" y="16"/>
                  </a:lnTo>
                  <a:lnTo>
                    <a:pt x="64" y="16"/>
                  </a:lnTo>
                  <a:lnTo>
                    <a:pt x="64" y="1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3" name="Freeform 273">
              <a:extLst>
                <a:ext uri="{FF2B5EF4-FFF2-40B4-BE49-F238E27FC236}">
                  <a16:creationId xmlns:a16="http://schemas.microsoft.com/office/drawing/2014/main" id="{15D96A15-A7A9-9043-952D-6E3272EDFBFF}"/>
                </a:ext>
              </a:extLst>
            </p:cNvPr>
            <p:cNvSpPr>
              <a:spLocks/>
            </p:cNvSpPr>
            <p:nvPr/>
          </p:nvSpPr>
          <p:spPr bwMode="auto">
            <a:xfrm>
              <a:off x="4469895" y="2846233"/>
              <a:ext cx="210129" cy="238246"/>
            </a:xfrm>
            <a:custGeom>
              <a:avLst/>
              <a:gdLst/>
              <a:ahLst/>
              <a:cxnLst>
                <a:cxn ang="0">
                  <a:pos x="11" y="47"/>
                </a:cxn>
                <a:cxn ang="0">
                  <a:pos x="13" y="54"/>
                </a:cxn>
                <a:cxn ang="0">
                  <a:pos x="13" y="60"/>
                </a:cxn>
                <a:cxn ang="0">
                  <a:pos x="10" y="66"/>
                </a:cxn>
                <a:cxn ang="0">
                  <a:pos x="1" y="69"/>
                </a:cxn>
                <a:cxn ang="0">
                  <a:pos x="1" y="76"/>
                </a:cxn>
                <a:cxn ang="0">
                  <a:pos x="0" y="91"/>
                </a:cxn>
                <a:cxn ang="0">
                  <a:pos x="4" y="98"/>
                </a:cxn>
                <a:cxn ang="0">
                  <a:pos x="1" y="104"/>
                </a:cxn>
                <a:cxn ang="0">
                  <a:pos x="6" y="118"/>
                </a:cxn>
                <a:cxn ang="0">
                  <a:pos x="20" y="124"/>
                </a:cxn>
                <a:cxn ang="0">
                  <a:pos x="28" y="127"/>
                </a:cxn>
                <a:cxn ang="0">
                  <a:pos x="33" y="130"/>
                </a:cxn>
                <a:cxn ang="0">
                  <a:pos x="27" y="140"/>
                </a:cxn>
                <a:cxn ang="0">
                  <a:pos x="24" y="155"/>
                </a:cxn>
                <a:cxn ang="0">
                  <a:pos x="43" y="154"/>
                </a:cxn>
                <a:cxn ang="0">
                  <a:pos x="57" y="158"/>
                </a:cxn>
                <a:cxn ang="0">
                  <a:pos x="61" y="158"/>
                </a:cxn>
                <a:cxn ang="0">
                  <a:pos x="68" y="160"/>
                </a:cxn>
                <a:cxn ang="0">
                  <a:pos x="78" y="158"/>
                </a:cxn>
                <a:cxn ang="0">
                  <a:pos x="87" y="157"/>
                </a:cxn>
                <a:cxn ang="0">
                  <a:pos x="104" y="154"/>
                </a:cxn>
                <a:cxn ang="0">
                  <a:pos x="110" y="150"/>
                </a:cxn>
                <a:cxn ang="0">
                  <a:pos x="115" y="141"/>
                </a:cxn>
                <a:cxn ang="0">
                  <a:pos x="122" y="135"/>
                </a:cxn>
                <a:cxn ang="0">
                  <a:pos x="118" y="127"/>
                </a:cxn>
                <a:cxn ang="0">
                  <a:pos x="105" y="114"/>
                </a:cxn>
                <a:cxn ang="0">
                  <a:pos x="100" y="100"/>
                </a:cxn>
                <a:cxn ang="0">
                  <a:pos x="115" y="94"/>
                </a:cxn>
                <a:cxn ang="0">
                  <a:pos x="127" y="88"/>
                </a:cxn>
                <a:cxn ang="0">
                  <a:pos x="134" y="84"/>
                </a:cxn>
                <a:cxn ang="0">
                  <a:pos x="141" y="86"/>
                </a:cxn>
                <a:cxn ang="0">
                  <a:pos x="141" y="76"/>
                </a:cxn>
                <a:cxn ang="0">
                  <a:pos x="137" y="59"/>
                </a:cxn>
                <a:cxn ang="0">
                  <a:pos x="131" y="47"/>
                </a:cxn>
                <a:cxn ang="0">
                  <a:pos x="131" y="40"/>
                </a:cxn>
                <a:cxn ang="0">
                  <a:pos x="131" y="24"/>
                </a:cxn>
                <a:cxn ang="0">
                  <a:pos x="129" y="20"/>
                </a:cxn>
                <a:cxn ang="0">
                  <a:pos x="120" y="15"/>
                </a:cxn>
                <a:cxn ang="0">
                  <a:pos x="120" y="12"/>
                </a:cxn>
                <a:cxn ang="0">
                  <a:pos x="121" y="6"/>
                </a:cxn>
                <a:cxn ang="0">
                  <a:pos x="111" y="9"/>
                </a:cxn>
                <a:cxn ang="0">
                  <a:pos x="98" y="13"/>
                </a:cxn>
                <a:cxn ang="0">
                  <a:pos x="81" y="20"/>
                </a:cxn>
                <a:cxn ang="0">
                  <a:pos x="83" y="10"/>
                </a:cxn>
                <a:cxn ang="0">
                  <a:pos x="71" y="12"/>
                </a:cxn>
                <a:cxn ang="0">
                  <a:pos x="63" y="5"/>
                </a:cxn>
                <a:cxn ang="0">
                  <a:pos x="57" y="2"/>
                </a:cxn>
                <a:cxn ang="0">
                  <a:pos x="44" y="5"/>
                </a:cxn>
                <a:cxn ang="0">
                  <a:pos x="44" y="10"/>
                </a:cxn>
                <a:cxn ang="0">
                  <a:pos x="50" y="23"/>
                </a:cxn>
                <a:cxn ang="0">
                  <a:pos x="43" y="27"/>
                </a:cxn>
                <a:cxn ang="0">
                  <a:pos x="40" y="29"/>
                </a:cxn>
                <a:cxn ang="0">
                  <a:pos x="27" y="26"/>
                </a:cxn>
                <a:cxn ang="0">
                  <a:pos x="18" y="29"/>
                </a:cxn>
                <a:cxn ang="0">
                  <a:pos x="18" y="43"/>
                </a:cxn>
              </a:cxnLst>
              <a:rect l="0" t="0" r="r" b="b"/>
              <a:pathLst>
                <a:path w="142" h="161">
                  <a:moveTo>
                    <a:pt x="18" y="43"/>
                  </a:moveTo>
                  <a:lnTo>
                    <a:pt x="18" y="43"/>
                  </a:lnTo>
                  <a:lnTo>
                    <a:pt x="14" y="46"/>
                  </a:lnTo>
                  <a:lnTo>
                    <a:pt x="11" y="47"/>
                  </a:lnTo>
                  <a:lnTo>
                    <a:pt x="10" y="49"/>
                  </a:lnTo>
                  <a:lnTo>
                    <a:pt x="10" y="50"/>
                  </a:lnTo>
                  <a:lnTo>
                    <a:pt x="10" y="50"/>
                  </a:lnTo>
                  <a:lnTo>
                    <a:pt x="13" y="54"/>
                  </a:lnTo>
                  <a:lnTo>
                    <a:pt x="14" y="56"/>
                  </a:lnTo>
                  <a:lnTo>
                    <a:pt x="16" y="59"/>
                  </a:lnTo>
                  <a:lnTo>
                    <a:pt x="16" y="59"/>
                  </a:lnTo>
                  <a:lnTo>
                    <a:pt x="13" y="60"/>
                  </a:lnTo>
                  <a:lnTo>
                    <a:pt x="11" y="61"/>
                  </a:lnTo>
                  <a:lnTo>
                    <a:pt x="11" y="64"/>
                  </a:lnTo>
                  <a:lnTo>
                    <a:pt x="11" y="64"/>
                  </a:lnTo>
                  <a:lnTo>
                    <a:pt x="10" y="66"/>
                  </a:lnTo>
                  <a:lnTo>
                    <a:pt x="9" y="67"/>
                  </a:lnTo>
                  <a:lnTo>
                    <a:pt x="3" y="69"/>
                  </a:lnTo>
                  <a:lnTo>
                    <a:pt x="3" y="69"/>
                  </a:lnTo>
                  <a:lnTo>
                    <a:pt x="1" y="69"/>
                  </a:lnTo>
                  <a:lnTo>
                    <a:pt x="1" y="70"/>
                  </a:lnTo>
                  <a:lnTo>
                    <a:pt x="1" y="73"/>
                  </a:lnTo>
                  <a:lnTo>
                    <a:pt x="1" y="76"/>
                  </a:lnTo>
                  <a:lnTo>
                    <a:pt x="1" y="76"/>
                  </a:lnTo>
                  <a:lnTo>
                    <a:pt x="0" y="83"/>
                  </a:lnTo>
                  <a:lnTo>
                    <a:pt x="0" y="88"/>
                  </a:lnTo>
                  <a:lnTo>
                    <a:pt x="0" y="88"/>
                  </a:lnTo>
                  <a:lnTo>
                    <a:pt x="0" y="91"/>
                  </a:lnTo>
                  <a:lnTo>
                    <a:pt x="1" y="94"/>
                  </a:lnTo>
                  <a:lnTo>
                    <a:pt x="3" y="96"/>
                  </a:lnTo>
                  <a:lnTo>
                    <a:pt x="4" y="98"/>
                  </a:lnTo>
                  <a:lnTo>
                    <a:pt x="4" y="98"/>
                  </a:lnTo>
                  <a:lnTo>
                    <a:pt x="1" y="101"/>
                  </a:lnTo>
                  <a:lnTo>
                    <a:pt x="1" y="103"/>
                  </a:lnTo>
                  <a:lnTo>
                    <a:pt x="1" y="104"/>
                  </a:lnTo>
                  <a:lnTo>
                    <a:pt x="1" y="104"/>
                  </a:lnTo>
                  <a:lnTo>
                    <a:pt x="3" y="108"/>
                  </a:lnTo>
                  <a:lnTo>
                    <a:pt x="4" y="113"/>
                  </a:lnTo>
                  <a:lnTo>
                    <a:pt x="6" y="118"/>
                  </a:lnTo>
                  <a:lnTo>
                    <a:pt x="6" y="118"/>
                  </a:lnTo>
                  <a:lnTo>
                    <a:pt x="10" y="120"/>
                  </a:lnTo>
                  <a:lnTo>
                    <a:pt x="10" y="120"/>
                  </a:lnTo>
                  <a:lnTo>
                    <a:pt x="14" y="123"/>
                  </a:lnTo>
                  <a:lnTo>
                    <a:pt x="20" y="124"/>
                  </a:lnTo>
                  <a:lnTo>
                    <a:pt x="20" y="124"/>
                  </a:lnTo>
                  <a:lnTo>
                    <a:pt x="23" y="125"/>
                  </a:lnTo>
                  <a:lnTo>
                    <a:pt x="26" y="127"/>
                  </a:lnTo>
                  <a:lnTo>
                    <a:pt x="28" y="127"/>
                  </a:lnTo>
                  <a:lnTo>
                    <a:pt x="28" y="127"/>
                  </a:lnTo>
                  <a:lnTo>
                    <a:pt x="30" y="128"/>
                  </a:lnTo>
                  <a:lnTo>
                    <a:pt x="33" y="128"/>
                  </a:lnTo>
                  <a:lnTo>
                    <a:pt x="33" y="130"/>
                  </a:lnTo>
                  <a:lnTo>
                    <a:pt x="31" y="133"/>
                  </a:lnTo>
                  <a:lnTo>
                    <a:pt x="31" y="133"/>
                  </a:lnTo>
                  <a:lnTo>
                    <a:pt x="28" y="135"/>
                  </a:lnTo>
                  <a:lnTo>
                    <a:pt x="27" y="140"/>
                  </a:lnTo>
                  <a:lnTo>
                    <a:pt x="26" y="145"/>
                  </a:lnTo>
                  <a:lnTo>
                    <a:pt x="26" y="145"/>
                  </a:lnTo>
                  <a:lnTo>
                    <a:pt x="24" y="155"/>
                  </a:lnTo>
                  <a:lnTo>
                    <a:pt x="24" y="155"/>
                  </a:lnTo>
                  <a:lnTo>
                    <a:pt x="31" y="157"/>
                  </a:lnTo>
                  <a:lnTo>
                    <a:pt x="37" y="155"/>
                  </a:lnTo>
                  <a:lnTo>
                    <a:pt x="37" y="155"/>
                  </a:lnTo>
                  <a:lnTo>
                    <a:pt x="43" y="154"/>
                  </a:lnTo>
                  <a:lnTo>
                    <a:pt x="48" y="155"/>
                  </a:lnTo>
                  <a:lnTo>
                    <a:pt x="48" y="155"/>
                  </a:lnTo>
                  <a:lnTo>
                    <a:pt x="57" y="158"/>
                  </a:lnTo>
                  <a:lnTo>
                    <a:pt x="57" y="158"/>
                  </a:lnTo>
                  <a:lnTo>
                    <a:pt x="58" y="158"/>
                  </a:lnTo>
                  <a:lnTo>
                    <a:pt x="60" y="157"/>
                  </a:lnTo>
                  <a:lnTo>
                    <a:pt x="60" y="157"/>
                  </a:lnTo>
                  <a:lnTo>
                    <a:pt x="61" y="158"/>
                  </a:lnTo>
                  <a:lnTo>
                    <a:pt x="64" y="160"/>
                  </a:lnTo>
                  <a:lnTo>
                    <a:pt x="67" y="161"/>
                  </a:lnTo>
                  <a:lnTo>
                    <a:pt x="68" y="160"/>
                  </a:lnTo>
                  <a:lnTo>
                    <a:pt x="68" y="160"/>
                  </a:lnTo>
                  <a:lnTo>
                    <a:pt x="71" y="158"/>
                  </a:lnTo>
                  <a:lnTo>
                    <a:pt x="73" y="157"/>
                  </a:lnTo>
                  <a:lnTo>
                    <a:pt x="78" y="158"/>
                  </a:lnTo>
                  <a:lnTo>
                    <a:pt x="78" y="158"/>
                  </a:lnTo>
                  <a:lnTo>
                    <a:pt x="83" y="160"/>
                  </a:lnTo>
                  <a:lnTo>
                    <a:pt x="85" y="158"/>
                  </a:lnTo>
                  <a:lnTo>
                    <a:pt x="87" y="157"/>
                  </a:lnTo>
                  <a:lnTo>
                    <a:pt x="87" y="157"/>
                  </a:lnTo>
                  <a:lnTo>
                    <a:pt x="91" y="155"/>
                  </a:lnTo>
                  <a:lnTo>
                    <a:pt x="95" y="154"/>
                  </a:lnTo>
                  <a:lnTo>
                    <a:pt x="104" y="154"/>
                  </a:lnTo>
                  <a:lnTo>
                    <a:pt x="104" y="154"/>
                  </a:lnTo>
                  <a:lnTo>
                    <a:pt x="107" y="155"/>
                  </a:lnTo>
                  <a:lnTo>
                    <a:pt x="108" y="155"/>
                  </a:lnTo>
                  <a:lnTo>
                    <a:pt x="111" y="154"/>
                  </a:lnTo>
                  <a:lnTo>
                    <a:pt x="110" y="150"/>
                  </a:lnTo>
                  <a:lnTo>
                    <a:pt x="110" y="150"/>
                  </a:lnTo>
                  <a:lnTo>
                    <a:pt x="110" y="145"/>
                  </a:lnTo>
                  <a:lnTo>
                    <a:pt x="112" y="143"/>
                  </a:lnTo>
                  <a:lnTo>
                    <a:pt x="115" y="141"/>
                  </a:lnTo>
                  <a:lnTo>
                    <a:pt x="117" y="140"/>
                  </a:lnTo>
                  <a:lnTo>
                    <a:pt x="117" y="140"/>
                  </a:lnTo>
                  <a:lnTo>
                    <a:pt x="118" y="137"/>
                  </a:lnTo>
                  <a:lnTo>
                    <a:pt x="122" y="135"/>
                  </a:lnTo>
                  <a:lnTo>
                    <a:pt x="125" y="134"/>
                  </a:lnTo>
                  <a:lnTo>
                    <a:pt x="125" y="133"/>
                  </a:lnTo>
                  <a:lnTo>
                    <a:pt x="125" y="133"/>
                  </a:lnTo>
                  <a:lnTo>
                    <a:pt x="118" y="127"/>
                  </a:lnTo>
                  <a:lnTo>
                    <a:pt x="108" y="120"/>
                  </a:lnTo>
                  <a:lnTo>
                    <a:pt x="108" y="120"/>
                  </a:lnTo>
                  <a:lnTo>
                    <a:pt x="107" y="117"/>
                  </a:lnTo>
                  <a:lnTo>
                    <a:pt x="105" y="114"/>
                  </a:lnTo>
                  <a:lnTo>
                    <a:pt x="104" y="107"/>
                  </a:lnTo>
                  <a:lnTo>
                    <a:pt x="104" y="107"/>
                  </a:lnTo>
                  <a:lnTo>
                    <a:pt x="101" y="101"/>
                  </a:lnTo>
                  <a:lnTo>
                    <a:pt x="100" y="100"/>
                  </a:lnTo>
                  <a:lnTo>
                    <a:pt x="102" y="98"/>
                  </a:lnTo>
                  <a:lnTo>
                    <a:pt x="102" y="98"/>
                  </a:lnTo>
                  <a:lnTo>
                    <a:pt x="111" y="96"/>
                  </a:lnTo>
                  <a:lnTo>
                    <a:pt x="115" y="94"/>
                  </a:lnTo>
                  <a:lnTo>
                    <a:pt x="120" y="91"/>
                  </a:lnTo>
                  <a:lnTo>
                    <a:pt x="120" y="91"/>
                  </a:lnTo>
                  <a:lnTo>
                    <a:pt x="122" y="90"/>
                  </a:lnTo>
                  <a:lnTo>
                    <a:pt x="127" y="88"/>
                  </a:lnTo>
                  <a:lnTo>
                    <a:pt x="129" y="87"/>
                  </a:lnTo>
                  <a:lnTo>
                    <a:pt x="132" y="86"/>
                  </a:lnTo>
                  <a:lnTo>
                    <a:pt x="132" y="86"/>
                  </a:lnTo>
                  <a:lnTo>
                    <a:pt x="134" y="84"/>
                  </a:lnTo>
                  <a:lnTo>
                    <a:pt x="137" y="86"/>
                  </a:lnTo>
                  <a:lnTo>
                    <a:pt x="139" y="86"/>
                  </a:lnTo>
                  <a:lnTo>
                    <a:pt x="141" y="86"/>
                  </a:lnTo>
                  <a:lnTo>
                    <a:pt x="141" y="86"/>
                  </a:lnTo>
                  <a:lnTo>
                    <a:pt x="142" y="81"/>
                  </a:lnTo>
                  <a:lnTo>
                    <a:pt x="142" y="79"/>
                  </a:lnTo>
                  <a:lnTo>
                    <a:pt x="141" y="76"/>
                  </a:lnTo>
                  <a:lnTo>
                    <a:pt x="141" y="76"/>
                  </a:lnTo>
                  <a:lnTo>
                    <a:pt x="138" y="71"/>
                  </a:lnTo>
                  <a:lnTo>
                    <a:pt x="137" y="63"/>
                  </a:lnTo>
                  <a:lnTo>
                    <a:pt x="137" y="63"/>
                  </a:lnTo>
                  <a:lnTo>
                    <a:pt x="137" y="59"/>
                  </a:lnTo>
                  <a:lnTo>
                    <a:pt x="135" y="54"/>
                  </a:lnTo>
                  <a:lnTo>
                    <a:pt x="135" y="54"/>
                  </a:lnTo>
                  <a:lnTo>
                    <a:pt x="134" y="50"/>
                  </a:lnTo>
                  <a:lnTo>
                    <a:pt x="131" y="47"/>
                  </a:lnTo>
                  <a:lnTo>
                    <a:pt x="131" y="47"/>
                  </a:lnTo>
                  <a:lnTo>
                    <a:pt x="129" y="44"/>
                  </a:lnTo>
                  <a:lnTo>
                    <a:pt x="129" y="43"/>
                  </a:lnTo>
                  <a:lnTo>
                    <a:pt x="131" y="40"/>
                  </a:lnTo>
                  <a:lnTo>
                    <a:pt x="131" y="40"/>
                  </a:lnTo>
                  <a:lnTo>
                    <a:pt x="131" y="37"/>
                  </a:lnTo>
                  <a:lnTo>
                    <a:pt x="132" y="32"/>
                  </a:lnTo>
                  <a:lnTo>
                    <a:pt x="131" y="24"/>
                  </a:lnTo>
                  <a:lnTo>
                    <a:pt x="131" y="24"/>
                  </a:lnTo>
                  <a:lnTo>
                    <a:pt x="131" y="22"/>
                  </a:lnTo>
                  <a:lnTo>
                    <a:pt x="131" y="22"/>
                  </a:lnTo>
                  <a:lnTo>
                    <a:pt x="129" y="20"/>
                  </a:lnTo>
                  <a:lnTo>
                    <a:pt x="129" y="20"/>
                  </a:lnTo>
                  <a:lnTo>
                    <a:pt x="128" y="17"/>
                  </a:lnTo>
                  <a:lnTo>
                    <a:pt x="127" y="16"/>
                  </a:lnTo>
                  <a:lnTo>
                    <a:pt x="120" y="15"/>
                  </a:lnTo>
                  <a:lnTo>
                    <a:pt x="120" y="15"/>
                  </a:lnTo>
                  <a:lnTo>
                    <a:pt x="118" y="15"/>
                  </a:lnTo>
                  <a:lnTo>
                    <a:pt x="118" y="15"/>
                  </a:lnTo>
                  <a:lnTo>
                    <a:pt x="120" y="12"/>
                  </a:lnTo>
                  <a:lnTo>
                    <a:pt x="121" y="9"/>
                  </a:lnTo>
                  <a:lnTo>
                    <a:pt x="121" y="7"/>
                  </a:lnTo>
                  <a:lnTo>
                    <a:pt x="121" y="6"/>
                  </a:lnTo>
                  <a:lnTo>
                    <a:pt x="121" y="6"/>
                  </a:lnTo>
                  <a:lnTo>
                    <a:pt x="120" y="5"/>
                  </a:lnTo>
                  <a:lnTo>
                    <a:pt x="118" y="5"/>
                  </a:lnTo>
                  <a:lnTo>
                    <a:pt x="115" y="7"/>
                  </a:lnTo>
                  <a:lnTo>
                    <a:pt x="111" y="9"/>
                  </a:lnTo>
                  <a:lnTo>
                    <a:pt x="107" y="9"/>
                  </a:lnTo>
                  <a:lnTo>
                    <a:pt x="107" y="9"/>
                  </a:lnTo>
                  <a:lnTo>
                    <a:pt x="102" y="10"/>
                  </a:lnTo>
                  <a:lnTo>
                    <a:pt x="98" y="13"/>
                  </a:lnTo>
                  <a:lnTo>
                    <a:pt x="90" y="20"/>
                  </a:lnTo>
                  <a:lnTo>
                    <a:pt x="90" y="20"/>
                  </a:lnTo>
                  <a:lnTo>
                    <a:pt x="85" y="22"/>
                  </a:lnTo>
                  <a:lnTo>
                    <a:pt x="81" y="20"/>
                  </a:lnTo>
                  <a:lnTo>
                    <a:pt x="80" y="17"/>
                  </a:lnTo>
                  <a:lnTo>
                    <a:pt x="81" y="13"/>
                  </a:lnTo>
                  <a:lnTo>
                    <a:pt x="81" y="13"/>
                  </a:lnTo>
                  <a:lnTo>
                    <a:pt x="83" y="10"/>
                  </a:lnTo>
                  <a:lnTo>
                    <a:pt x="81" y="9"/>
                  </a:lnTo>
                  <a:lnTo>
                    <a:pt x="75" y="10"/>
                  </a:lnTo>
                  <a:lnTo>
                    <a:pt x="75" y="10"/>
                  </a:lnTo>
                  <a:lnTo>
                    <a:pt x="71" y="12"/>
                  </a:lnTo>
                  <a:lnTo>
                    <a:pt x="67" y="10"/>
                  </a:lnTo>
                  <a:lnTo>
                    <a:pt x="64" y="9"/>
                  </a:lnTo>
                  <a:lnTo>
                    <a:pt x="63" y="5"/>
                  </a:lnTo>
                  <a:lnTo>
                    <a:pt x="63" y="5"/>
                  </a:lnTo>
                  <a:lnTo>
                    <a:pt x="63" y="2"/>
                  </a:lnTo>
                  <a:lnTo>
                    <a:pt x="63" y="2"/>
                  </a:lnTo>
                  <a:lnTo>
                    <a:pt x="57" y="2"/>
                  </a:lnTo>
                  <a:lnTo>
                    <a:pt x="57" y="2"/>
                  </a:lnTo>
                  <a:lnTo>
                    <a:pt x="50" y="0"/>
                  </a:lnTo>
                  <a:lnTo>
                    <a:pt x="41" y="0"/>
                  </a:lnTo>
                  <a:lnTo>
                    <a:pt x="41" y="0"/>
                  </a:lnTo>
                  <a:lnTo>
                    <a:pt x="44" y="5"/>
                  </a:lnTo>
                  <a:lnTo>
                    <a:pt x="44" y="6"/>
                  </a:lnTo>
                  <a:lnTo>
                    <a:pt x="44" y="7"/>
                  </a:lnTo>
                  <a:lnTo>
                    <a:pt x="44" y="7"/>
                  </a:lnTo>
                  <a:lnTo>
                    <a:pt x="44" y="10"/>
                  </a:lnTo>
                  <a:lnTo>
                    <a:pt x="44" y="15"/>
                  </a:lnTo>
                  <a:lnTo>
                    <a:pt x="48" y="22"/>
                  </a:lnTo>
                  <a:lnTo>
                    <a:pt x="48" y="22"/>
                  </a:lnTo>
                  <a:lnTo>
                    <a:pt x="50" y="23"/>
                  </a:lnTo>
                  <a:lnTo>
                    <a:pt x="48" y="24"/>
                  </a:lnTo>
                  <a:lnTo>
                    <a:pt x="47" y="26"/>
                  </a:lnTo>
                  <a:lnTo>
                    <a:pt x="43" y="26"/>
                  </a:lnTo>
                  <a:lnTo>
                    <a:pt x="43" y="27"/>
                  </a:lnTo>
                  <a:lnTo>
                    <a:pt x="41" y="27"/>
                  </a:lnTo>
                  <a:lnTo>
                    <a:pt x="41" y="27"/>
                  </a:lnTo>
                  <a:lnTo>
                    <a:pt x="41" y="29"/>
                  </a:lnTo>
                  <a:lnTo>
                    <a:pt x="40" y="29"/>
                  </a:lnTo>
                  <a:lnTo>
                    <a:pt x="37" y="29"/>
                  </a:lnTo>
                  <a:lnTo>
                    <a:pt x="30" y="26"/>
                  </a:lnTo>
                  <a:lnTo>
                    <a:pt x="30" y="26"/>
                  </a:lnTo>
                  <a:lnTo>
                    <a:pt x="27" y="26"/>
                  </a:lnTo>
                  <a:lnTo>
                    <a:pt x="23" y="26"/>
                  </a:lnTo>
                  <a:lnTo>
                    <a:pt x="18" y="27"/>
                  </a:lnTo>
                  <a:lnTo>
                    <a:pt x="18" y="29"/>
                  </a:lnTo>
                  <a:lnTo>
                    <a:pt x="18" y="29"/>
                  </a:lnTo>
                  <a:lnTo>
                    <a:pt x="17" y="32"/>
                  </a:lnTo>
                  <a:lnTo>
                    <a:pt x="17" y="32"/>
                  </a:lnTo>
                  <a:lnTo>
                    <a:pt x="18" y="37"/>
                  </a:lnTo>
                  <a:lnTo>
                    <a:pt x="18" y="43"/>
                  </a:lnTo>
                  <a:lnTo>
                    <a:pt x="18" y="4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4" name="Freeform 274">
              <a:extLst>
                <a:ext uri="{FF2B5EF4-FFF2-40B4-BE49-F238E27FC236}">
                  <a16:creationId xmlns:a16="http://schemas.microsoft.com/office/drawing/2014/main" id="{2FE5CB7C-F97D-4E44-8F20-CE5B6FD6AEEC}"/>
                </a:ext>
              </a:extLst>
            </p:cNvPr>
            <p:cNvSpPr>
              <a:spLocks/>
            </p:cNvSpPr>
            <p:nvPr/>
          </p:nvSpPr>
          <p:spPr bwMode="auto">
            <a:xfrm>
              <a:off x="4814684" y="2273558"/>
              <a:ext cx="248604" cy="393622"/>
            </a:xfrm>
            <a:custGeom>
              <a:avLst/>
              <a:gdLst/>
              <a:ahLst/>
              <a:cxnLst>
                <a:cxn ang="0">
                  <a:pos x="155" y="211"/>
                </a:cxn>
                <a:cxn ang="0">
                  <a:pos x="168" y="198"/>
                </a:cxn>
                <a:cxn ang="0">
                  <a:pos x="157" y="182"/>
                </a:cxn>
                <a:cxn ang="0">
                  <a:pos x="143" y="171"/>
                </a:cxn>
                <a:cxn ang="0">
                  <a:pos x="153" y="163"/>
                </a:cxn>
                <a:cxn ang="0">
                  <a:pos x="144" y="154"/>
                </a:cxn>
                <a:cxn ang="0">
                  <a:pos x="147" y="147"/>
                </a:cxn>
                <a:cxn ang="0">
                  <a:pos x="138" y="141"/>
                </a:cxn>
                <a:cxn ang="0">
                  <a:pos x="143" y="137"/>
                </a:cxn>
                <a:cxn ang="0">
                  <a:pos x="140" y="124"/>
                </a:cxn>
                <a:cxn ang="0">
                  <a:pos x="145" y="114"/>
                </a:cxn>
                <a:cxn ang="0">
                  <a:pos x="130" y="89"/>
                </a:cxn>
                <a:cxn ang="0">
                  <a:pos x="144" y="71"/>
                </a:cxn>
                <a:cxn ang="0">
                  <a:pos x="134" y="57"/>
                </a:cxn>
                <a:cxn ang="0">
                  <a:pos x="124" y="52"/>
                </a:cxn>
                <a:cxn ang="0">
                  <a:pos x="123" y="39"/>
                </a:cxn>
                <a:cxn ang="0">
                  <a:pos x="128" y="32"/>
                </a:cxn>
                <a:cxn ang="0">
                  <a:pos x="133" y="23"/>
                </a:cxn>
                <a:cxn ang="0">
                  <a:pos x="125" y="9"/>
                </a:cxn>
                <a:cxn ang="0">
                  <a:pos x="110" y="0"/>
                </a:cxn>
                <a:cxn ang="0">
                  <a:pos x="94" y="5"/>
                </a:cxn>
                <a:cxn ang="0">
                  <a:pos x="86" y="10"/>
                </a:cxn>
                <a:cxn ang="0">
                  <a:pos x="77" y="17"/>
                </a:cxn>
                <a:cxn ang="0">
                  <a:pos x="74" y="32"/>
                </a:cxn>
                <a:cxn ang="0">
                  <a:pos x="67" y="40"/>
                </a:cxn>
                <a:cxn ang="0">
                  <a:pos x="59" y="37"/>
                </a:cxn>
                <a:cxn ang="0">
                  <a:pos x="46" y="37"/>
                </a:cxn>
                <a:cxn ang="0">
                  <a:pos x="29" y="36"/>
                </a:cxn>
                <a:cxn ang="0">
                  <a:pos x="12" y="23"/>
                </a:cxn>
                <a:cxn ang="0">
                  <a:pos x="0" y="32"/>
                </a:cxn>
                <a:cxn ang="0">
                  <a:pos x="33" y="50"/>
                </a:cxn>
                <a:cxn ang="0">
                  <a:pos x="40" y="67"/>
                </a:cxn>
                <a:cxn ang="0">
                  <a:pos x="43" y="76"/>
                </a:cxn>
                <a:cxn ang="0">
                  <a:pos x="46" y="87"/>
                </a:cxn>
                <a:cxn ang="0">
                  <a:pos x="44" y="101"/>
                </a:cxn>
                <a:cxn ang="0">
                  <a:pos x="47" y="110"/>
                </a:cxn>
                <a:cxn ang="0">
                  <a:pos x="63" y="123"/>
                </a:cxn>
                <a:cxn ang="0">
                  <a:pos x="69" y="135"/>
                </a:cxn>
                <a:cxn ang="0">
                  <a:pos x="63" y="140"/>
                </a:cxn>
                <a:cxn ang="0">
                  <a:pos x="54" y="154"/>
                </a:cxn>
                <a:cxn ang="0">
                  <a:pos x="37" y="165"/>
                </a:cxn>
                <a:cxn ang="0">
                  <a:pos x="27" y="172"/>
                </a:cxn>
                <a:cxn ang="0">
                  <a:pos x="22" y="182"/>
                </a:cxn>
                <a:cxn ang="0">
                  <a:pos x="7" y="190"/>
                </a:cxn>
                <a:cxn ang="0">
                  <a:pos x="2" y="199"/>
                </a:cxn>
                <a:cxn ang="0">
                  <a:pos x="6" y="214"/>
                </a:cxn>
                <a:cxn ang="0">
                  <a:pos x="9" y="234"/>
                </a:cxn>
                <a:cxn ang="0">
                  <a:pos x="5" y="251"/>
                </a:cxn>
                <a:cxn ang="0">
                  <a:pos x="20" y="256"/>
                </a:cxn>
                <a:cxn ang="0">
                  <a:pos x="30" y="262"/>
                </a:cxn>
                <a:cxn ang="0">
                  <a:pos x="47" y="266"/>
                </a:cxn>
                <a:cxn ang="0">
                  <a:pos x="97" y="255"/>
                </a:cxn>
                <a:cxn ang="0">
                  <a:pos x="120" y="244"/>
                </a:cxn>
                <a:cxn ang="0">
                  <a:pos x="144" y="224"/>
                </a:cxn>
              </a:cxnLst>
              <a:rect l="0" t="0" r="r" b="b"/>
              <a:pathLst>
                <a:path w="168" h="266">
                  <a:moveTo>
                    <a:pt x="144" y="224"/>
                  </a:moveTo>
                  <a:lnTo>
                    <a:pt x="144" y="224"/>
                  </a:lnTo>
                  <a:lnTo>
                    <a:pt x="145" y="219"/>
                  </a:lnTo>
                  <a:lnTo>
                    <a:pt x="148" y="217"/>
                  </a:lnTo>
                  <a:lnTo>
                    <a:pt x="155" y="211"/>
                  </a:lnTo>
                  <a:lnTo>
                    <a:pt x="162" y="207"/>
                  </a:lnTo>
                  <a:lnTo>
                    <a:pt x="165" y="204"/>
                  </a:lnTo>
                  <a:lnTo>
                    <a:pt x="168" y="201"/>
                  </a:lnTo>
                  <a:lnTo>
                    <a:pt x="168" y="201"/>
                  </a:lnTo>
                  <a:lnTo>
                    <a:pt x="168" y="198"/>
                  </a:lnTo>
                  <a:lnTo>
                    <a:pt x="168" y="195"/>
                  </a:lnTo>
                  <a:lnTo>
                    <a:pt x="167" y="192"/>
                  </a:lnTo>
                  <a:lnTo>
                    <a:pt x="164" y="188"/>
                  </a:lnTo>
                  <a:lnTo>
                    <a:pt x="164" y="188"/>
                  </a:lnTo>
                  <a:lnTo>
                    <a:pt x="157" y="182"/>
                  </a:lnTo>
                  <a:lnTo>
                    <a:pt x="151" y="178"/>
                  </a:lnTo>
                  <a:lnTo>
                    <a:pt x="145" y="175"/>
                  </a:lnTo>
                  <a:lnTo>
                    <a:pt x="143" y="172"/>
                  </a:lnTo>
                  <a:lnTo>
                    <a:pt x="143" y="172"/>
                  </a:lnTo>
                  <a:lnTo>
                    <a:pt x="143" y="171"/>
                  </a:lnTo>
                  <a:lnTo>
                    <a:pt x="144" y="170"/>
                  </a:lnTo>
                  <a:lnTo>
                    <a:pt x="148" y="168"/>
                  </a:lnTo>
                  <a:lnTo>
                    <a:pt x="151" y="165"/>
                  </a:lnTo>
                  <a:lnTo>
                    <a:pt x="153" y="164"/>
                  </a:lnTo>
                  <a:lnTo>
                    <a:pt x="153" y="163"/>
                  </a:lnTo>
                  <a:lnTo>
                    <a:pt x="153" y="163"/>
                  </a:lnTo>
                  <a:lnTo>
                    <a:pt x="151" y="160"/>
                  </a:lnTo>
                  <a:lnTo>
                    <a:pt x="150" y="158"/>
                  </a:lnTo>
                  <a:lnTo>
                    <a:pt x="147" y="157"/>
                  </a:lnTo>
                  <a:lnTo>
                    <a:pt x="144" y="154"/>
                  </a:lnTo>
                  <a:lnTo>
                    <a:pt x="144" y="154"/>
                  </a:lnTo>
                  <a:lnTo>
                    <a:pt x="144" y="151"/>
                  </a:lnTo>
                  <a:lnTo>
                    <a:pt x="145" y="150"/>
                  </a:lnTo>
                  <a:lnTo>
                    <a:pt x="145" y="148"/>
                  </a:lnTo>
                  <a:lnTo>
                    <a:pt x="147" y="147"/>
                  </a:lnTo>
                  <a:lnTo>
                    <a:pt x="147" y="147"/>
                  </a:lnTo>
                  <a:lnTo>
                    <a:pt x="145" y="145"/>
                  </a:lnTo>
                  <a:lnTo>
                    <a:pt x="143" y="144"/>
                  </a:lnTo>
                  <a:lnTo>
                    <a:pt x="140" y="143"/>
                  </a:lnTo>
                  <a:lnTo>
                    <a:pt x="138" y="141"/>
                  </a:lnTo>
                  <a:lnTo>
                    <a:pt x="138" y="141"/>
                  </a:lnTo>
                  <a:lnTo>
                    <a:pt x="140" y="140"/>
                  </a:lnTo>
                  <a:lnTo>
                    <a:pt x="141" y="138"/>
                  </a:lnTo>
                  <a:lnTo>
                    <a:pt x="143" y="138"/>
                  </a:lnTo>
                  <a:lnTo>
                    <a:pt x="143" y="137"/>
                  </a:lnTo>
                  <a:lnTo>
                    <a:pt x="143" y="137"/>
                  </a:lnTo>
                  <a:lnTo>
                    <a:pt x="140" y="131"/>
                  </a:lnTo>
                  <a:lnTo>
                    <a:pt x="138" y="127"/>
                  </a:lnTo>
                  <a:lnTo>
                    <a:pt x="140" y="124"/>
                  </a:lnTo>
                  <a:lnTo>
                    <a:pt x="140" y="124"/>
                  </a:lnTo>
                  <a:lnTo>
                    <a:pt x="143" y="123"/>
                  </a:lnTo>
                  <a:lnTo>
                    <a:pt x="145" y="121"/>
                  </a:lnTo>
                  <a:lnTo>
                    <a:pt x="147" y="120"/>
                  </a:lnTo>
                  <a:lnTo>
                    <a:pt x="147" y="120"/>
                  </a:lnTo>
                  <a:lnTo>
                    <a:pt x="145" y="114"/>
                  </a:lnTo>
                  <a:lnTo>
                    <a:pt x="145" y="114"/>
                  </a:lnTo>
                  <a:lnTo>
                    <a:pt x="137" y="100"/>
                  </a:lnTo>
                  <a:lnTo>
                    <a:pt x="130" y="90"/>
                  </a:lnTo>
                  <a:lnTo>
                    <a:pt x="130" y="90"/>
                  </a:lnTo>
                  <a:lnTo>
                    <a:pt x="130" y="89"/>
                  </a:lnTo>
                  <a:lnTo>
                    <a:pt x="131" y="86"/>
                  </a:lnTo>
                  <a:lnTo>
                    <a:pt x="135" y="81"/>
                  </a:lnTo>
                  <a:lnTo>
                    <a:pt x="135" y="81"/>
                  </a:lnTo>
                  <a:lnTo>
                    <a:pt x="141" y="76"/>
                  </a:lnTo>
                  <a:lnTo>
                    <a:pt x="144" y="71"/>
                  </a:lnTo>
                  <a:lnTo>
                    <a:pt x="145" y="69"/>
                  </a:lnTo>
                  <a:lnTo>
                    <a:pt x="145" y="69"/>
                  </a:lnTo>
                  <a:lnTo>
                    <a:pt x="143" y="66"/>
                  </a:lnTo>
                  <a:lnTo>
                    <a:pt x="140" y="63"/>
                  </a:lnTo>
                  <a:lnTo>
                    <a:pt x="134" y="57"/>
                  </a:lnTo>
                  <a:lnTo>
                    <a:pt x="134" y="57"/>
                  </a:lnTo>
                  <a:lnTo>
                    <a:pt x="128" y="56"/>
                  </a:lnTo>
                  <a:lnTo>
                    <a:pt x="125" y="54"/>
                  </a:lnTo>
                  <a:lnTo>
                    <a:pt x="124" y="52"/>
                  </a:lnTo>
                  <a:lnTo>
                    <a:pt x="124" y="52"/>
                  </a:lnTo>
                  <a:lnTo>
                    <a:pt x="120" y="46"/>
                  </a:lnTo>
                  <a:lnTo>
                    <a:pt x="120" y="44"/>
                  </a:lnTo>
                  <a:lnTo>
                    <a:pt x="121" y="43"/>
                  </a:lnTo>
                  <a:lnTo>
                    <a:pt x="121" y="43"/>
                  </a:lnTo>
                  <a:lnTo>
                    <a:pt x="123" y="39"/>
                  </a:lnTo>
                  <a:lnTo>
                    <a:pt x="124" y="34"/>
                  </a:lnTo>
                  <a:lnTo>
                    <a:pt x="124" y="34"/>
                  </a:lnTo>
                  <a:lnTo>
                    <a:pt x="124" y="33"/>
                  </a:lnTo>
                  <a:lnTo>
                    <a:pt x="125" y="32"/>
                  </a:lnTo>
                  <a:lnTo>
                    <a:pt x="128" y="32"/>
                  </a:lnTo>
                  <a:lnTo>
                    <a:pt x="130" y="29"/>
                  </a:lnTo>
                  <a:lnTo>
                    <a:pt x="130" y="29"/>
                  </a:lnTo>
                  <a:lnTo>
                    <a:pt x="131" y="26"/>
                  </a:lnTo>
                  <a:lnTo>
                    <a:pt x="133" y="23"/>
                  </a:lnTo>
                  <a:lnTo>
                    <a:pt x="133" y="23"/>
                  </a:lnTo>
                  <a:lnTo>
                    <a:pt x="133" y="15"/>
                  </a:lnTo>
                  <a:lnTo>
                    <a:pt x="133" y="15"/>
                  </a:lnTo>
                  <a:lnTo>
                    <a:pt x="133" y="13"/>
                  </a:lnTo>
                  <a:lnTo>
                    <a:pt x="131" y="12"/>
                  </a:lnTo>
                  <a:lnTo>
                    <a:pt x="125" y="9"/>
                  </a:lnTo>
                  <a:lnTo>
                    <a:pt x="120" y="6"/>
                  </a:lnTo>
                  <a:lnTo>
                    <a:pt x="117" y="3"/>
                  </a:lnTo>
                  <a:lnTo>
                    <a:pt x="117" y="3"/>
                  </a:lnTo>
                  <a:lnTo>
                    <a:pt x="113" y="0"/>
                  </a:lnTo>
                  <a:lnTo>
                    <a:pt x="110" y="0"/>
                  </a:lnTo>
                  <a:lnTo>
                    <a:pt x="106" y="0"/>
                  </a:lnTo>
                  <a:lnTo>
                    <a:pt x="103" y="3"/>
                  </a:lnTo>
                  <a:lnTo>
                    <a:pt x="103" y="3"/>
                  </a:lnTo>
                  <a:lnTo>
                    <a:pt x="100" y="5"/>
                  </a:lnTo>
                  <a:lnTo>
                    <a:pt x="94" y="5"/>
                  </a:lnTo>
                  <a:lnTo>
                    <a:pt x="90" y="5"/>
                  </a:lnTo>
                  <a:lnTo>
                    <a:pt x="89" y="6"/>
                  </a:lnTo>
                  <a:lnTo>
                    <a:pt x="87" y="7"/>
                  </a:lnTo>
                  <a:lnTo>
                    <a:pt x="87" y="7"/>
                  </a:lnTo>
                  <a:lnTo>
                    <a:pt x="86" y="10"/>
                  </a:lnTo>
                  <a:lnTo>
                    <a:pt x="83" y="12"/>
                  </a:lnTo>
                  <a:lnTo>
                    <a:pt x="79" y="15"/>
                  </a:lnTo>
                  <a:lnTo>
                    <a:pt x="79" y="16"/>
                  </a:lnTo>
                  <a:lnTo>
                    <a:pt x="77" y="17"/>
                  </a:lnTo>
                  <a:lnTo>
                    <a:pt x="77" y="17"/>
                  </a:lnTo>
                  <a:lnTo>
                    <a:pt x="79" y="26"/>
                  </a:lnTo>
                  <a:lnTo>
                    <a:pt x="79" y="30"/>
                  </a:lnTo>
                  <a:lnTo>
                    <a:pt x="77" y="32"/>
                  </a:lnTo>
                  <a:lnTo>
                    <a:pt x="74" y="32"/>
                  </a:lnTo>
                  <a:lnTo>
                    <a:pt x="74" y="32"/>
                  </a:lnTo>
                  <a:lnTo>
                    <a:pt x="71" y="32"/>
                  </a:lnTo>
                  <a:lnTo>
                    <a:pt x="70" y="33"/>
                  </a:lnTo>
                  <a:lnTo>
                    <a:pt x="70" y="36"/>
                  </a:lnTo>
                  <a:lnTo>
                    <a:pt x="67" y="40"/>
                  </a:lnTo>
                  <a:lnTo>
                    <a:pt x="67" y="40"/>
                  </a:lnTo>
                  <a:lnTo>
                    <a:pt x="64" y="42"/>
                  </a:lnTo>
                  <a:lnTo>
                    <a:pt x="63" y="40"/>
                  </a:lnTo>
                  <a:lnTo>
                    <a:pt x="61" y="39"/>
                  </a:lnTo>
                  <a:lnTo>
                    <a:pt x="60" y="37"/>
                  </a:lnTo>
                  <a:lnTo>
                    <a:pt x="59" y="37"/>
                  </a:lnTo>
                  <a:lnTo>
                    <a:pt x="59" y="37"/>
                  </a:lnTo>
                  <a:lnTo>
                    <a:pt x="54" y="37"/>
                  </a:lnTo>
                  <a:lnTo>
                    <a:pt x="52" y="37"/>
                  </a:lnTo>
                  <a:lnTo>
                    <a:pt x="49" y="36"/>
                  </a:lnTo>
                  <a:lnTo>
                    <a:pt x="46" y="37"/>
                  </a:lnTo>
                  <a:lnTo>
                    <a:pt x="46" y="37"/>
                  </a:lnTo>
                  <a:lnTo>
                    <a:pt x="43" y="39"/>
                  </a:lnTo>
                  <a:lnTo>
                    <a:pt x="40" y="39"/>
                  </a:lnTo>
                  <a:lnTo>
                    <a:pt x="29" y="36"/>
                  </a:lnTo>
                  <a:lnTo>
                    <a:pt x="29" y="36"/>
                  </a:lnTo>
                  <a:lnTo>
                    <a:pt x="23" y="34"/>
                  </a:lnTo>
                  <a:lnTo>
                    <a:pt x="19" y="30"/>
                  </a:lnTo>
                  <a:lnTo>
                    <a:pt x="16" y="26"/>
                  </a:lnTo>
                  <a:lnTo>
                    <a:pt x="12" y="23"/>
                  </a:lnTo>
                  <a:lnTo>
                    <a:pt x="12" y="23"/>
                  </a:lnTo>
                  <a:lnTo>
                    <a:pt x="9" y="23"/>
                  </a:lnTo>
                  <a:lnTo>
                    <a:pt x="5" y="26"/>
                  </a:lnTo>
                  <a:lnTo>
                    <a:pt x="3" y="27"/>
                  </a:lnTo>
                  <a:lnTo>
                    <a:pt x="0" y="32"/>
                  </a:lnTo>
                  <a:lnTo>
                    <a:pt x="0" y="32"/>
                  </a:lnTo>
                  <a:lnTo>
                    <a:pt x="9" y="37"/>
                  </a:lnTo>
                  <a:lnTo>
                    <a:pt x="13" y="42"/>
                  </a:lnTo>
                  <a:lnTo>
                    <a:pt x="17" y="44"/>
                  </a:lnTo>
                  <a:lnTo>
                    <a:pt x="17" y="44"/>
                  </a:lnTo>
                  <a:lnTo>
                    <a:pt x="33" y="50"/>
                  </a:lnTo>
                  <a:lnTo>
                    <a:pt x="39" y="54"/>
                  </a:lnTo>
                  <a:lnTo>
                    <a:pt x="40" y="56"/>
                  </a:lnTo>
                  <a:lnTo>
                    <a:pt x="42" y="57"/>
                  </a:lnTo>
                  <a:lnTo>
                    <a:pt x="42" y="57"/>
                  </a:lnTo>
                  <a:lnTo>
                    <a:pt x="40" y="67"/>
                  </a:lnTo>
                  <a:lnTo>
                    <a:pt x="40" y="70"/>
                  </a:lnTo>
                  <a:lnTo>
                    <a:pt x="42" y="73"/>
                  </a:lnTo>
                  <a:lnTo>
                    <a:pt x="42" y="73"/>
                  </a:lnTo>
                  <a:lnTo>
                    <a:pt x="43" y="74"/>
                  </a:lnTo>
                  <a:lnTo>
                    <a:pt x="43" y="76"/>
                  </a:lnTo>
                  <a:lnTo>
                    <a:pt x="43" y="80"/>
                  </a:lnTo>
                  <a:lnTo>
                    <a:pt x="43" y="84"/>
                  </a:lnTo>
                  <a:lnTo>
                    <a:pt x="44" y="86"/>
                  </a:lnTo>
                  <a:lnTo>
                    <a:pt x="46" y="87"/>
                  </a:lnTo>
                  <a:lnTo>
                    <a:pt x="46" y="87"/>
                  </a:lnTo>
                  <a:lnTo>
                    <a:pt x="47" y="90"/>
                  </a:lnTo>
                  <a:lnTo>
                    <a:pt x="49" y="96"/>
                  </a:lnTo>
                  <a:lnTo>
                    <a:pt x="47" y="100"/>
                  </a:lnTo>
                  <a:lnTo>
                    <a:pt x="46" y="101"/>
                  </a:lnTo>
                  <a:lnTo>
                    <a:pt x="44" y="101"/>
                  </a:lnTo>
                  <a:lnTo>
                    <a:pt x="44" y="101"/>
                  </a:lnTo>
                  <a:lnTo>
                    <a:pt x="43" y="103"/>
                  </a:lnTo>
                  <a:lnTo>
                    <a:pt x="44" y="104"/>
                  </a:lnTo>
                  <a:lnTo>
                    <a:pt x="47" y="110"/>
                  </a:lnTo>
                  <a:lnTo>
                    <a:pt x="47" y="110"/>
                  </a:lnTo>
                  <a:lnTo>
                    <a:pt x="49" y="113"/>
                  </a:lnTo>
                  <a:lnTo>
                    <a:pt x="50" y="117"/>
                  </a:lnTo>
                  <a:lnTo>
                    <a:pt x="50" y="117"/>
                  </a:lnTo>
                  <a:lnTo>
                    <a:pt x="57" y="120"/>
                  </a:lnTo>
                  <a:lnTo>
                    <a:pt x="63" y="123"/>
                  </a:lnTo>
                  <a:lnTo>
                    <a:pt x="63" y="123"/>
                  </a:lnTo>
                  <a:lnTo>
                    <a:pt x="67" y="126"/>
                  </a:lnTo>
                  <a:lnTo>
                    <a:pt x="69" y="128"/>
                  </a:lnTo>
                  <a:lnTo>
                    <a:pt x="69" y="135"/>
                  </a:lnTo>
                  <a:lnTo>
                    <a:pt x="69" y="135"/>
                  </a:lnTo>
                  <a:lnTo>
                    <a:pt x="69" y="141"/>
                  </a:lnTo>
                  <a:lnTo>
                    <a:pt x="67" y="141"/>
                  </a:lnTo>
                  <a:lnTo>
                    <a:pt x="66" y="141"/>
                  </a:lnTo>
                  <a:lnTo>
                    <a:pt x="66" y="141"/>
                  </a:lnTo>
                  <a:lnTo>
                    <a:pt x="63" y="140"/>
                  </a:lnTo>
                  <a:lnTo>
                    <a:pt x="61" y="141"/>
                  </a:lnTo>
                  <a:lnTo>
                    <a:pt x="59" y="144"/>
                  </a:lnTo>
                  <a:lnTo>
                    <a:pt x="57" y="148"/>
                  </a:lnTo>
                  <a:lnTo>
                    <a:pt x="57" y="148"/>
                  </a:lnTo>
                  <a:lnTo>
                    <a:pt x="54" y="154"/>
                  </a:lnTo>
                  <a:lnTo>
                    <a:pt x="50" y="158"/>
                  </a:lnTo>
                  <a:lnTo>
                    <a:pt x="46" y="163"/>
                  </a:lnTo>
                  <a:lnTo>
                    <a:pt x="40" y="164"/>
                  </a:lnTo>
                  <a:lnTo>
                    <a:pt x="40" y="164"/>
                  </a:lnTo>
                  <a:lnTo>
                    <a:pt x="37" y="165"/>
                  </a:lnTo>
                  <a:lnTo>
                    <a:pt x="36" y="167"/>
                  </a:lnTo>
                  <a:lnTo>
                    <a:pt x="34" y="170"/>
                  </a:lnTo>
                  <a:lnTo>
                    <a:pt x="32" y="171"/>
                  </a:lnTo>
                  <a:lnTo>
                    <a:pt x="32" y="171"/>
                  </a:lnTo>
                  <a:lnTo>
                    <a:pt x="27" y="172"/>
                  </a:lnTo>
                  <a:lnTo>
                    <a:pt x="24" y="174"/>
                  </a:lnTo>
                  <a:lnTo>
                    <a:pt x="23" y="177"/>
                  </a:lnTo>
                  <a:lnTo>
                    <a:pt x="23" y="180"/>
                  </a:lnTo>
                  <a:lnTo>
                    <a:pt x="23" y="180"/>
                  </a:lnTo>
                  <a:lnTo>
                    <a:pt x="22" y="182"/>
                  </a:lnTo>
                  <a:lnTo>
                    <a:pt x="19" y="185"/>
                  </a:lnTo>
                  <a:lnTo>
                    <a:pt x="12" y="185"/>
                  </a:lnTo>
                  <a:lnTo>
                    <a:pt x="12" y="185"/>
                  </a:lnTo>
                  <a:lnTo>
                    <a:pt x="9" y="187"/>
                  </a:lnTo>
                  <a:lnTo>
                    <a:pt x="7" y="190"/>
                  </a:lnTo>
                  <a:lnTo>
                    <a:pt x="6" y="194"/>
                  </a:lnTo>
                  <a:lnTo>
                    <a:pt x="5" y="195"/>
                  </a:lnTo>
                  <a:lnTo>
                    <a:pt x="5" y="195"/>
                  </a:lnTo>
                  <a:lnTo>
                    <a:pt x="3" y="198"/>
                  </a:lnTo>
                  <a:lnTo>
                    <a:pt x="2" y="199"/>
                  </a:lnTo>
                  <a:lnTo>
                    <a:pt x="5" y="205"/>
                  </a:lnTo>
                  <a:lnTo>
                    <a:pt x="5" y="205"/>
                  </a:lnTo>
                  <a:lnTo>
                    <a:pt x="6" y="208"/>
                  </a:lnTo>
                  <a:lnTo>
                    <a:pt x="6" y="211"/>
                  </a:lnTo>
                  <a:lnTo>
                    <a:pt x="6" y="214"/>
                  </a:lnTo>
                  <a:lnTo>
                    <a:pt x="6" y="217"/>
                  </a:lnTo>
                  <a:lnTo>
                    <a:pt x="6" y="217"/>
                  </a:lnTo>
                  <a:lnTo>
                    <a:pt x="10" y="224"/>
                  </a:lnTo>
                  <a:lnTo>
                    <a:pt x="10" y="228"/>
                  </a:lnTo>
                  <a:lnTo>
                    <a:pt x="9" y="234"/>
                  </a:lnTo>
                  <a:lnTo>
                    <a:pt x="9" y="234"/>
                  </a:lnTo>
                  <a:lnTo>
                    <a:pt x="5" y="246"/>
                  </a:lnTo>
                  <a:lnTo>
                    <a:pt x="5" y="249"/>
                  </a:lnTo>
                  <a:lnTo>
                    <a:pt x="5" y="251"/>
                  </a:lnTo>
                  <a:lnTo>
                    <a:pt x="5" y="251"/>
                  </a:lnTo>
                  <a:lnTo>
                    <a:pt x="5" y="251"/>
                  </a:lnTo>
                  <a:lnTo>
                    <a:pt x="7" y="252"/>
                  </a:lnTo>
                  <a:lnTo>
                    <a:pt x="12" y="254"/>
                  </a:lnTo>
                  <a:lnTo>
                    <a:pt x="16" y="256"/>
                  </a:lnTo>
                  <a:lnTo>
                    <a:pt x="20" y="256"/>
                  </a:lnTo>
                  <a:lnTo>
                    <a:pt x="20" y="256"/>
                  </a:lnTo>
                  <a:lnTo>
                    <a:pt x="23" y="258"/>
                  </a:lnTo>
                  <a:lnTo>
                    <a:pt x="24" y="259"/>
                  </a:lnTo>
                  <a:lnTo>
                    <a:pt x="27" y="262"/>
                  </a:lnTo>
                  <a:lnTo>
                    <a:pt x="30" y="262"/>
                  </a:lnTo>
                  <a:lnTo>
                    <a:pt x="30" y="262"/>
                  </a:lnTo>
                  <a:lnTo>
                    <a:pt x="33" y="262"/>
                  </a:lnTo>
                  <a:lnTo>
                    <a:pt x="36" y="264"/>
                  </a:lnTo>
                  <a:lnTo>
                    <a:pt x="40" y="265"/>
                  </a:lnTo>
                  <a:lnTo>
                    <a:pt x="47" y="266"/>
                  </a:lnTo>
                  <a:lnTo>
                    <a:pt x="47" y="266"/>
                  </a:lnTo>
                  <a:lnTo>
                    <a:pt x="59" y="264"/>
                  </a:lnTo>
                  <a:lnTo>
                    <a:pt x="73" y="259"/>
                  </a:lnTo>
                  <a:lnTo>
                    <a:pt x="87" y="256"/>
                  </a:lnTo>
                  <a:lnTo>
                    <a:pt x="97" y="255"/>
                  </a:lnTo>
                  <a:lnTo>
                    <a:pt x="97" y="255"/>
                  </a:lnTo>
                  <a:lnTo>
                    <a:pt x="106" y="254"/>
                  </a:lnTo>
                  <a:lnTo>
                    <a:pt x="111" y="252"/>
                  </a:lnTo>
                  <a:lnTo>
                    <a:pt x="111" y="252"/>
                  </a:lnTo>
                  <a:lnTo>
                    <a:pt x="120" y="244"/>
                  </a:lnTo>
                  <a:lnTo>
                    <a:pt x="120" y="244"/>
                  </a:lnTo>
                  <a:lnTo>
                    <a:pt x="125" y="238"/>
                  </a:lnTo>
                  <a:lnTo>
                    <a:pt x="133" y="234"/>
                  </a:lnTo>
                  <a:lnTo>
                    <a:pt x="140" y="229"/>
                  </a:lnTo>
                  <a:lnTo>
                    <a:pt x="144" y="224"/>
                  </a:lnTo>
                  <a:lnTo>
                    <a:pt x="144" y="2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5" name="Freeform 275">
              <a:extLst>
                <a:ext uri="{FF2B5EF4-FFF2-40B4-BE49-F238E27FC236}">
                  <a16:creationId xmlns:a16="http://schemas.microsoft.com/office/drawing/2014/main" id="{F5ABFADA-7630-7D42-AEBB-99CDF7156A19}"/>
                </a:ext>
              </a:extLst>
            </p:cNvPr>
            <p:cNvSpPr>
              <a:spLocks/>
            </p:cNvSpPr>
            <p:nvPr/>
          </p:nvSpPr>
          <p:spPr bwMode="auto">
            <a:xfrm>
              <a:off x="5135798" y="3513616"/>
              <a:ext cx="498687" cy="402501"/>
            </a:xfrm>
            <a:custGeom>
              <a:avLst/>
              <a:gdLst/>
              <a:ahLst/>
              <a:cxnLst>
                <a:cxn ang="0">
                  <a:pos x="173" y="54"/>
                </a:cxn>
                <a:cxn ang="0">
                  <a:pos x="159" y="51"/>
                </a:cxn>
                <a:cxn ang="0">
                  <a:pos x="135" y="33"/>
                </a:cxn>
                <a:cxn ang="0">
                  <a:pos x="99" y="10"/>
                </a:cxn>
                <a:cxn ang="0">
                  <a:pos x="83" y="2"/>
                </a:cxn>
                <a:cxn ang="0">
                  <a:pos x="71" y="2"/>
                </a:cxn>
                <a:cxn ang="0">
                  <a:pos x="61" y="5"/>
                </a:cxn>
                <a:cxn ang="0">
                  <a:pos x="45" y="7"/>
                </a:cxn>
                <a:cxn ang="0">
                  <a:pos x="37" y="16"/>
                </a:cxn>
                <a:cxn ang="0">
                  <a:pos x="42" y="19"/>
                </a:cxn>
                <a:cxn ang="0">
                  <a:pos x="51" y="29"/>
                </a:cxn>
                <a:cxn ang="0">
                  <a:pos x="48" y="33"/>
                </a:cxn>
                <a:cxn ang="0">
                  <a:pos x="41" y="37"/>
                </a:cxn>
                <a:cxn ang="0">
                  <a:pos x="31" y="40"/>
                </a:cxn>
                <a:cxn ang="0">
                  <a:pos x="29" y="46"/>
                </a:cxn>
                <a:cxn ang="0">
                  <a:pos x="18" y="51"/>
                </a:cxn>
                <a:cxn ang="0">
                  <a:pos x="1" y="44"/>
                </a:cxn>
                <a:cxn ang="0">
                  <a:pos x="0" y="54"/>
                </a:cxn>
                <a:cxn ang="0">
                  <a:pos x="2" y="71"/>
                </a:cxn>
                <a:cxn ang="0">
                  <a:pos x="7" y="77"/>
                </a:cxn>
                <a:cxn ang="0">
                  <a:pos x="29" y="107"/>
                </a:cxn>
                <a:cxn ang="0">
                  <a:pos x="38" y="124"/>
                </a:cxn>
                <a:cxn ang="0">
                  <a:pos x="45" y="137"/>
                </a:cxn>
                <a:cxn ang="0">
                  <a:pos x="56" y="147"/>
                </a:cxn>
                <a:cxn ang="0">
                  <a:pos x="65" y="160"/>
                </a:cxn>
                <a:cxn ang="0">
                  <a:pos x="69" y="167"/>
                </a:cxn>
                <a:cxn ang="0">
                  <a:pos x="71" y="185"/>
                </a:cxn>
                <a:cxn ang="0">
                  <a:pos x="82" y="205"/>
                </a:cxn>
                <a:cxn ang="0">
                  <a:pos x="93" y="214"/>
                </a:cxn>
                <a:cxn ang="0">
                  <a:pos x="101" y="225"/>
                </a:cxn>
                <a:cxn ang="0">
                  <a:pos x="115" y="251"/>
                </a:cxn>
                <a:cxn ang="0">
                  <a:pos x="119" y="259"/>
                </a:cxn>
                <a:cxn ang="0">
                  <a:pos x="126" y="272"/>
                </a:cxn>
                <a:cxn ang="0">
                  <a:pos x="133" y="268"/>
                </a:cxn>
                <a:cxn ang="0">
                  <a:pos x="133" y="259"/>
                </a:cxn>
                <a:cxn ang="0">
                  <a:pos x="140" y="253"/>
                </a:cxn>
                <a:cxn ang="0">
                  <a:pos x="145" y="253"/>
                </a:cxn>
                <a:cxn ang="0">
                  <a:pos x="152" y="255"/>
                </a:cxn>
                <a:cxn ang="0">
                  <a:pos x="172" y="256"/>
                </a:cxn>
                <a:cxn ang="0">
                  <a:pos x="189" y="259"/>
                </a:cxn>
                <a:cxn ang="0">
                  <a:pos x="197" y="262"/>
                </a:cxn>
                <a:cxn ang="0">
                  <a:pos x="204" y="256"/>
                </a:cxn>
                <a:cxn ang="0">
                  <a:pos x="217" y="243"/>
                </a:cxn>
                <a:cxn ang="0">
                  <a:pos x="234" y="234"/>
                </a:cxn>
                <a:cxn ang="0">
                  <a:pos x="261" y="232"/>
                </a:cxn>
                <a:cxn ang="0">
                  <a:pos x="325" y="212"/>
                </a:cxn>
                <a:cxn ang="0">
                  <a:pos x="332" y="195"/>
                </a:cxn>
                <a:cxn ang="0">
                  <a:pos x="337" y="175"/>
                </a:cxn>
                <a:cxn ang="0">
                  <a:pos x="328" y="167"/>
                </a:cxn>
                <a:cxn ang="0">
                  <a:pos x="288" y="162"/>
                </a:cxn>
                <a:cxn ang="0">
                  <a:pos x="278" y="151"/>
                </a:cxn>
                <a:cxn ang="0">
                  <a:pos x="273" y="141"/>
                </a:cxn>
                <a:cxn ang="0">
                  <a:pos x="266" y="135"/>
                </a:cxn>
                <a:cxn ang="0">
                  <a:pos x="256" y="125"/>
                </a:cxn>
                <a:cxn ang="0">
                  <a:pos x="250" y="117"/>
                </a:cxn>
                <a:cxn ang="0">
                  <a:pos x="247" y="108"/>
                </a:cxn>
                <a:cxn ang="0">
                  <a:pos x="247" y="100"/>
                </a:cxn>
                <a:cxn ang="0">
                  <a:pos x="240" y="91"/>
                </a:cxn>
                <a:cxn ang="0">
                  <a:pos x="224" y="71"/>
                </a:cxn>
                <a:cxn ang="0">
                  <a:pos x="209" y="64"/>
                </a:cxn>
              </a:cxnLst>
              <a:rect l="0" t="0" r="r" b="b"/>
              <a:pathLst>
                <a:path w="337" h="272">
                  <a:moveTo>
                    <a:pt x="202" y="57"/>
                  </a:moveTo>
                  <a:lnTo>
                    <a:pt x="202" y="57"/>
                  </a:lnTo>
                  <a:lnTo>
                    <a:pt x="173" y="54"/>
                  </a:lnTo>
                  <a:lnTo>
                    <a:pt x="173" y="54"/>
                  </a:lnTo>
                  <a:lnTo>
                    <a:pt x="163" y="53"/>
                  </a:lnTo>
                  <a:lnTo>
                    <a:pt x="159" y="51"/>
                  </a:lnTo>
                  <a:lnTo>
                    <a:pt x="153" y="49"/>
                  </a:lnTo>
                  <a:lnTo>
                    <a:pt x="153" y="49"/>
                  </a:lnTo>
                  <a:lnTo>
                    <a:pt x="135" y="33"/>
                  </a:lnTo>
                  <a:lnTo>
                    <a:pt x="115" y="20"/>
                  </a:lnTo>
                  <a:lnTo>
                    <a:pt x="115" y="20"/>
                  </a:lnTo>
                  <a:lnTo>
                    <a:pt x="99" y="10"/>
                  </a:lnTo>
                  <a:lnTo>
                    <a:pt x="91" y="5"/>
                  </a:lnTo>
                  <a:lnTo>
                    <a:pt x="83" y="2"/>
                  </a:lnTo>
                  <a:lnTo>
                    <a:pt x="83" y="2"/>
                  </a:lnTo>
                  <a:lnTo>
                    <a:pt x="78" y="0"/>
                  </a:lnTo>
                  <a:lnTo>
                    <a:pt x="71" y="2"/>
                  </a:lnTo>
                  <a:lnTo>
                    <a:pt x="71" y="2"/>
                  </a:lnTo>
                  <a:lnTo>
                    <a:pt x="66" y="2"/>
                  </a:lnTo>
                  <a:lnTo>
                    <a:pt x="64" y="3"/>
                  </a:lnTo>
                  <a:lnTo>
                    <a:pt x="61" y="5"/>
                  </a:lnTo>
                  <a:lnTo>
                    <a:pt x="54" y="6"/>
                  </a:lnTo>
                  <a:lnTo>
                    <a:pt x="54" y="6"/>
                  </a:lnTo>
                  <a:lnTo>
                    <a:pt x="45" y="7"/>
                  </a:lnTo>
                  <a:lnTo>
                    <a:pt x="39" y="12"/>
                  </a:lnTo>
                  <a:lnTo>
                    <a:pt x="37" y="14"/>
                  </a:lnTo>
                  <a:lnTo>
                    <a:pt x="37" y="16"/>
                  </a:lnTo>
                  <a:lnTo>
                    <a:pt x="38" y="16"/>
                  </a:lnTo>
                  <a:lnTo>
                    <a:pt x="38" y="16"/>
                  </a:lnTo>
                  <a:lnTo>
                    <a:pt x="42" y="19"/>
                  </a:lnTo>
                  <a:lnTo>
                    <a:pt x="46" y="23"/>
                  </a:lnTo>
                  <a:lnTo>
                    <a:pt x="49" y="27"/>
                  </a:lnTo>
                  <a:lnTo>
                    <a:pt x="51" y="29"/>
                  </a:lnTo>
                  <a:lnTo>
                    <a:pt x="49" y="30"/>
                  </a:lnTo>
                  <a:lnTo>
                    <a:pt x="49" y="30"/>
                  </a:lnTo>
                  <a:lnTo>
                    <a:pt x="48" y="33"/>
                  </a:lnTo>
                  <a:lnTo>
                    <a:pt x="45" y="34"/>
                  </a:lnTo>
                  <a:lnTo>
                    <a:pt x="44" y="37"/>
                  </a:lnTo>
                  <a:lnTo>
                    <a:pt x="41" y="37"/>
                  </a:lnTo>
                  <a:lnTo>
                    <a:pt x="41" y="37"/>
                  </a:lnTo>
                  <a:lnTo>
                    <a:pt x="34" y="39"/>
                  </a:lnTo>
                  <a:lnTo>
                    <a:pt x="31" y="40"/>
                  </a:lnTo>
                  <a:lnTo>
                    <a:pt x="31" y="43"/>
                  </a:lnTo>
                  <a:lnTo>
                    <a:pt x="31" y="43"/>
                  </a:lnTo>
                  <a:lnTo>
                    <a:pt x="29" y="46"/>
                  </a:lnTo>
                  <a:lnTo>
                    <a:pt x="27" y="49"/>
                  </a:lnTo>
                  <a:lnTo>
                    <a:pt x="22" y="51"/>
                  </a:lnTo>
                  <a:lnTo>
                    <a:pt x="18" y="51"/>
                  </a:lnTo>
                  <a:lnTo>
                    <a:pt x="18" y="51"/>
                  </a:lnTo>
                  <a:lnTo>
                    <a:pt x="11" y="49"/>
                  </a:lnTo>
                  <a:lnTo>
                    <a:pt x="1" y="44"/>
                  </a:lnTo>
                  <a:lnTo>
                    <a:pt x="0" y="50"/>
                  </a:lnTo>
                  <a:lnTo>
                    <a:pt x="0" y="54"/>
                  </a:lnTo>
                  <a:lnTo>
                    <a:pt x="0" y="54"/>
                  </a:lnTo>
                  <a:lnTo>
                    <a:pt x="0" y="64"/>
                  </a:lnTo>
                  <a:lnTo>
                    <a:pt x="1" y="69"/>
                  </a:lnTo>
                  <a:lnTo>
                    <a:pt x="2" y="71"/>
                  </a:lnTo>
                  <a:lnTo>
                    <a:pt x="2" y="71"/>
                  </a:lnTo>
                  <a:lnTo>
                    <a:pt x="4" y="74"/>
                  </a:lnTo>
                  <a:lnTo>
                    <a:pt x="7" y="77"/>
                  </a:lnTo>
                  <a:lnTo>
                    <a:pt x="15" y="88"/>
                  </a:lnTo>
                  <a:lnTo>
                    <a:pt x="15" y="88"/>
                  </a:lnTo>
                  <a:lnTo>
                    <a:pt x="29" y="107"/>
                  </a:lnTo>
                  <a:lnTo>
                    <a:pt x="35" y="117"/>
                  </a:lnTo>
                  <a:lnTo>
                    <a:pt x="38" y="124"/>
                  </a:lnTo>
                  <a:lnTo>
                    <a:pt x="38" y="124"/>
                  </a:lnTo>
                  <a:lnTo>
                    <a:pt x="39" y="128"/>
                  </a:lnTo>
                  <a:lnTo>
                    <a:pt x="41" y="133"/>
                  </a:lnTo>
                  <a:lnTo>
                    <a:pt x="45" y="137"/>
                  </a:lnTo>
                  <a:lnTo>
                    <a:pt x="51" y="141"/>
                  </a:lnTo>
                  <a:lnTo>
                    <a:pt x="51" y="141"/>
                  </a:lnTo>
                  <a:lnTo>
                    <a:pt x="56" y="147"/>
                  </a:lnTo>
                  <a:lnTo>
                    <a:pt x="59" y="151"/>
                  </a:lnTo>
                  <a:lnTo>
                    <a:pt x="62" y="157"/>
                  </a:lnTo>
                  <a:lnTo>
                    <a:pt x="65" y="160"/>
                  </a:lnTo>
                  <a:lnTo>
                    <a:pt x="65" y="160"/>
                  </a:lnTo>
                  <a:lnTo>
                    <a:pt x="68" y="162"/>
                  </a:lnTo>
                  <a:lnTo>
                    <a:pt x="69" y="167"/>
                  </a:lnTo>
                  <a:lnTo>
                    <a:pt x="69" y="178"/>
                  </a:lnTo>
                  <a:lnTo>
                    <a:pt x="69" y="178"/>
                  </a:lnTo>
                  <a:lnTo>
                    <a:pt x="71" y="185"/>
                  </a:lnTo>
                  <a:lnTo>
                    <a:pt x="72" y="192"/>
                  </a:lnTo>
                  <a:lnTo>
                    <a:pt x="76" y="199"/>
                  </a:lnTo>
                  <a:lnTo>
                    <a:pt x="82" y="205"/>
                  </a:lnTo>
                  <a:lnTo>
                    <a:pt x="82" y="205"/>
                  </a:lnTo>
                  <a:lnTo>
                    <a:pt x="88" y="208"/>
                  </a:lnTo>
                  <a:lnTo>
                    <a:pt x="93" y="214"/>
                  </a:lnTo>
                  <a:lnTo>
                    <a:pt x="98" y="219"/>
                  </a:lnTo>
                  <a:lnTo>
                    <a:pt x="101" y="225"/>
                  </a:lnTo>
                  <a:lnTo>
                    <a:pt x="101" y="225"/>
                  </a:lnTo>
                  <a:lnTo>
                    <a:pt x="108" y="239"/>
                  </a:lnTo>
                  <a:lnTo>
                    <a:pt x="115" y="251"/>
                  </a:lnTo>
                  <a:lnTo>
                    <a:pt x="115" y="251"/>
                  </a:lnTo>
                  <a:lnTo>
                    <a:pt x="118" y="253"/>
                  </a:lnTo>
                  <a:lnTo>
                    <a:pt x="119" y="256"/>
                  </a:lnTo>
                  <a:lnTo>
                    <a:pt x="119" y="259"/>
                  </a:lnTo>
                  <a:lnTo>
                    <a:pt x="120" y="262"/>
                  </a:lnTo>
                  <a:lnTo>
                    <a:pt x="120" y="262"/>
                  </a:lnTo>
                  <a:lnTo>
                    <a:pt x="126" y="272"/>
                  </a:lnTo>
                  <a:lnTo>
                    <a:pt x="126" y="272"/>
                  </a:lnTo>
                  <a:lnTo>
                    <a:pt x="133" y="268"/>
                  </a:lnTo>
                  <a:lnTo>
                    <a:pt x="133" y="268"/>
                  </a:lnTo>
                  <a:lnTo>
                    <a:pt x="133" y="263"/>
                  </a:lnTo>
                  <a:lnTo>
                    <a:pt x="133" y="261"/>
                  </a:lnTo>
                  <a:lnTo>
                    <a:pt x="133" y="259"/>
                  </a:lnTo>
                  <a:lnTo>
                    <a:pt x="133" y="259"/>
                  </a:lnTo>
                  <a:lnTo>
                    <a:pt x="136" y="255"/>
                  </a:lnTo>
                  <a:lnTo>
                    <a:pt x="140" y="253"/>
                  </a:lnTo>
                  <a:lnTo>
                    <a:pt x="140" y="253"/>
                  </a:lnTo>
                  <a:lnTo>
                    <a:pt x="142" y="253"/>
                  </a:lnTo>
                  <a:lnTo>
                    <a:pt x="145" y="253"/>
                  </a:lnTo>
                  <a:lnTo>
                    <a:pt x="147" y="255"/>
                  </a:lnTo>
                  <a:lnTo>
                    <a:pt x="152" y="255"/>
                  </a:lnTo>
                  <a:lnTo>
                    <a:pt x="152" y="255"/>
                  </a:lnTo>
                  <a:lnTo>
                    <a:pt x="163" y="255"/>
                  </a:lnTo>
                  <a:lnTo>
                    <a:pt x="172" y="256"/>
                  </a:lnTo>
                  <a:lnTo>
                    <a:pt x="172" y="256"/>
                  </a:lnTo>
                  <a:lnTo>
                    <a:pt x="175" y="258"/>
                  </a:lnTo>
                  <a:lnTo>
                    <a:pt x="182" y="258"/>
                  </a:lnTo>
                  <a:lnTo>
                    <a:pt x="189" y="259"/>
                  </a:lnTo>
                  <a:lnTo>
                    <a:pt x="194" y="261"/>
                  </a:lnTo>
                  <a:lnTo>
                    <a:pt x="194" y="261"/>
                  </a:lnTo>
                  <a:lnTo>
                    <a:pt x="197" y="262"/>
                  </a:lnTo>
                  <a:lnTo>
                    <a:pt x="200" y="262"/>
                  </a:lnTo>
                  <a:lnTo>
                    <a:pt x="203" y="261"/>
                  </a:lnTo>
                  <a:lnTo>
                    <a:pt x="204" y="256"/>
                  </a:lnTo>
                  <a:lnTo>
                    <a:pt x="204" y="256"/>
                  </a:lnTo>
                  <a:lnTo>
                    <a:pt x="210" y="251"/>
                  </a:lnTo>
                  <a:lnTo>
                    <a:pt x="217" y="243"/>
                  </a:lnTo>
                  <a:lnTo>
                    <a:pt x="230" y="235"/>
                  </a:lnTo>
                  <a:lnTo>
                    <a:pt x="230" y="235"/>
                  </a:lnTo>
                  <a:lnTo>
                    <a:pt x="234" y="234"/>
                  </a:lnTo>
                  <a:lnTo>
                    <a:pt x="243" y="234"/>
                  </a:lnTo>
                  <a:lnTo>
                    <a:pt x="253" y="234"/>
                  </a:lnTo>
                  <a:lnTo>
                    <a:pt x="261" y="232"/>
                  </a:lnTo>
                  <a:lnTo>
                    <a:pt x="261" y="232"/>
                  </a:lnTo>
                  <a:lnTo>
                    <a:pt x="295" y="222"/>
                  </a:lnTo>
                  <a:lnTo>
                    <a:pt x="325" y="212"/>
                  </a:lnTo>
                  <a:lnTo>
                    <a:pt x="325" y="212"/>
                  </a:lnTo>
                  <a:lnTo>
                    <a:pt x="328" y="207"/>
                  </a:lnTo>
                  <a:lnTo>
                    <a:pt x="332" y="195"/>
                  </a:lnTo>
                  <a:lnTo>
                    <a:pt x="337" y="178"/>
                  </a:lnTo>
                  <a:lnTo>
                    <a:pt x="337" y="178"/>
                  </a:lnTo>
                  <a:lnTo>
                    <a:pt x="337" y="175"/>
                  </a:lnTo>
                  <a:lnTo>
                    <a:pt x="334" y="171"/>
                  </a:lnTo>
                  <a:lnTo>
                    <a:pt x="331" y="168"/>
                  </a:lnTo>
                  <a:lnTo>
                    <a:pt x="328" y="167"/>
                  </a:lnTo>
                  <a:lnTo>
                    <a:pt x="328" y="167"/>
                  </a:lnTo>
                  <a:lnTo>
                    <a:pt x="308" y="165"/>
                  </a:lnTo>
                  <a:lnTo>
                    <a:pt x="288" y="162"/>
                  </a:lnTo>
                  <a:lnTo>
                    <a:pt x="288" y="162"/>
                  </a:lnTo>
                  <a:lnTo>
                    <a:pt x="283" y="157"/>
                  </a:lnTo>
                  <a:lnTo>
                    <a:pt x="278" y="151"/>
                  </a:lnTo>
                  <a:lnTo>
                    <a:pt x="276" y="145"/>
                  </a:lnTo>
                  <a:lnTo>
                    <a:pt x="276" y="145"/>
                  </a:lnTo>
                  <a:lnTo>
                    <a:pt x="273" y="141"/>
                  </a:lnTo>
                  <a:lnTo>
                    <a:pt x="270" y="135"/>
                  </a:lnTo>
                  <a:lnTo>
                    <a:pt x="270" y="135"/>
                  </a:lnTo>
                  <a:lnTo>
                    <a:pt x="266" y="135"/>
                  </a:lnTo>
                  <a:lnTo>
                    <a:pt x="263" y="134"/>
                  </a:lnTo>
                  <a:lnTo>
                    <a:pt x="258" y="131"/>
                  </a:lnTo>
                  <a:lnTo>
                    <a:pt x="256" y="125"/>
                  </a:lnTo>
                  <a:lnTo>
                    <a:pt x="256" y="125"/>
                  </a:lnTo>
                  <a:lnTo>
                    <a:pt x="253" y="123"/>
                  </a:lnTo>
                  <a:lnTo>
                    <a:pt x="250" y="117"/>
                  </a:lnTo>
                  <a:lnTo>
                    <a:pt x="247" y="113"/>
                  </a:lnTo>
                  <a:lnTo>
                    <a:pt x="247" y="110"/>
                  </a:lnTo>
                  <a:lnTo>
                    <a:pt x="247" y="108"/>
                  </a:lnTo>
                  <a:lnTo>
                    <a:pt x="247" y="108"/>
                  </a:lnTo>
                  <a:lnTo>
                    <a:pt x="248" y="104"/>
                  </a:lnTo>
                  <a:lnTo>
                    <a:pt x="247" y="100"/>
                  </a:lnTo>
                  <a:lnTo>
                    <a:pt x="244" y="96"/>
                  </a:lnTo>
                  <a:lnTo>
                    <a:pt x="240" y="91"/>
                  </a:lnTo>
                  <a:lnTo>
                    <a:pt x="240" y="91"/>
                  </a:lnTo>
                  <a:lnTo>
                    <a:pt x="230" y="81"/>
                  </a:lnTo>
                  <a:lnTo>
                    <a:pt x="226" y="77"/>
                  </a:lnTo>
                  <a:lnTo>
                    <a:pt x="224" y="71"/>
                  </a:lnTo>
                  <a:lnTo>
                    <a:pt x="224" y="71"/>
                  </a:lnTo>
                  <a:lnTo>
                    <a:pt x="221" y="66"/>
                  </a:lnTo>
                  <a:lnTo>
                    <a:pt x="209" y="64"/>
                  </a:lnTo>
                  <a:lnTo>
                    <a:pt x="202" y="5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6" name="Freeform 276">
              <a:extLst>
                <a:ext uri="{FF2B5EF4-FFF2-40B4-BE49-F238E27FC236}">
                  <a16:creationId xmlns:a16="http://schemas.microsoft.com/office/drawing/2014/main" id="{ED422170-0D22-DB4E-8995-CC4E51C17969}"/>
                </a:ext>
              </a:extLst>
            </p:cNvPr>
            <p:cNvSpPr>
              <a:spLocks/>
            </p:cNvSpPr>
            <p:nvPr/>
          </p:nvSpPr>
          <p:spPr bwMode="auto">
            <a:xfrm>
              <a:off x="5545698" y="3698590"/>
              <a:ext cx="189412" cy="213089"/>
            </a:xfrm>
            <a:custGeom>
              <a:avLst/>
              <a:gdLst/>
              <a:ahLst/>
              <a:cxnLst>
                <a:cxn ang="0">
                  <a:pos x="64" y="16"/>
                </a:cxn>
                <a:cxn ang="0">
                  <a:pos x="48" y="42"/>
                </a:cxn>
                <a:cxn ang="0">
                  <a:pos x="51" y="42"/>
                </a:cxn>
                <a:cxn ang="0">
                  <a:pos x="54" y="43"/>
                </a:cxn>
                <a:cxn ang="0">
                  <a:pos x="60" y="50"/>
                </a:cxn>
                <a:cxn ang="0">
                  <a:pos x="60" y="53"/>
                </a:cxn>
                <a:cxn ang="0">
                  <a:pos x="51" y="82"/>
                </a:cxn>
                <a:cxn ang="0">
                  <a:pos x="48" y="87"/>
                </a:cxn>
                <a:cxn ang="0">
                  <a:pos x="0" y="103"/>
                </a:cxn>
                <a:cxn ang="0">
                  <a:pos x="20" y="144"/>
                </a:cxn>
                <a:cxn ang="0">
                  <a:pos x="24" y="141"/>
                </a:cxn>
                <a:cxn ang="0">
                  <a:pos x="30" y="140"/>
                </a:cxn>
                <a:cxn ang="0">
                  <a:pos x="44" y="138"/>
                </a:cxn>
                <a:cxn ang="0">
                  <a:pos x="50" y="137"/>
                </a:cxn>
                <a:cxn ang="0">
                  <a:pos x="53" y="136"/>
                </a:cxn>
                <a:cxn ang="0">
                  <a:pos x="53" y="128"/>
                </a:cxn>
                <a:cxn ang="0">
                  <a:pos x="55" y="124"/>
                </a:cxn>
                <a:cxn ang="0">
                  <a:pos x="65" y="123"/>
                </a:cxn>
                <a:cxn ang="0">
                  <a:pos x="74" y="121"/>
                </a:cxn>
                <a:cxn ang="0">
                  <a:pos x="75" y="120"/>
                </a:cxn>
                <a:cxn ang="0">
                  <a:pos x="80" y="110"/>
                </a:cxn>
                <a:cxn ang="0">
                  <a:pos x="84" y="107"/>
                </a:cxn>
                <a:cxn ang="0">
                  <a:pos x="94" y="104"/>
                </a:cxn>
                <a:cxn ang="0">
                  <a:pos x="94" y="101"/>
                </a:cxn>
                <a:cxn ang="0">
                  <a:pos x="94" y="90"/>
                </a:cxn>
                <a:cxn ang="0">
                  <a:pos x="98" y="82"/>
                </a:cxn>
                <a:cxn ang="0">
                  <a:pos x="100" y="80"/>
                </a:cxn>
                <a:cxn ang="0">
                  <a:pos x="108" y="77"/>
                </a:cxn>
                <a:cxn ang="0">
                  <a:pos x="112" y="72"/>
                </a:cxn>
                <a:cxn ang="0">
                  <a:pos x="114" y="69"/>
                </a:cxn>
                <a:cxn ang="0">
                  <a:pos x="125" y="53"/>
                </a:cxn>
                <a:cxn ang="0">
                  <a:pos x="128" y="49"/>
                </a:cxn>
                <a:cxn ang="0">
                  <a:pos x="127" y="45"/>
                </a:cxn>
                <a:cxn ang="0">
                  <a:pos x="125" y="45"/>
                </a:cxn>
                <a:cxn ang="0">
                  <a:pos x="117" y="36"/>
                </a:cxn>
                <a:cxn ang="0">
                  <a:pos x="111" y="27"/>
                </a:cxn>
                <a:cxn ang="0">
                  <a:pos x="101" y="25"/>
                </a:cxn>
                <a:cxn ang="0">
                  <a:pos x="88" y="20"/>
                </a:cxn>
                <a:cxn ang="0">
                  <a:pos x="84" y="17"/>
                </a:cxn>
                <a:cxn ang="0">
                  <a:pos x="78" y="10"/>
                </a:cxn>
                <a:cxn ang="0">
                  <a:pos x="70" y="3"/>
                </a:cxn>
              </a:cxnLst>
              <a:rect l="0" t="0" r="r" b="b"/>
              <a:pathLst>
                <a:path w="128" h="144">
                  <a:moveTo>
                    <a:pt x="64" y="3"/>
                  </a:moveTo>
                  <a:lnTo>
                    <a:pt x="64" y="16"/>
                  </a:lnTo>
                  <a:lnTo>
                    <a:pt x="54" y="29"/>
                  </a:lnTo>
                  <a:lnTo>
                    <a:pt x="48" y="42"/>
                  </a:lnTo>
                  <a:lnTo>
                    <a:pt x="48" y="42"/>
                  </a:lnTo>
                  <a:lnTo>
                    <a:pt x="51" y="42"/>
                  </a:lnTo>
                  <a:lnTo>
                    <a:pt x="51" y="42"/>
                  </a:lnTo>
                  <a:lnTo>
                    <a:pt x="54" y="43"/>
                  </a:lnTo>
                  <a:lnTo>
                    <a:pt x="57" y="46"/>
                  </a:lnTo>
                  <a:lnTo>
                    <a:pt x="60" y="50"/>
                  </a:lnTo>
                  <a:lnTo>
                    <a:pt x="60" y="53"/>
                  </a:lnTo>
                  <a:lnTo>
                    <a:pt x="60" y="53"/>
                  </a:lnTo>
                  <a:lnTo>
                    <a:pt x="55" y="70"/>
                  </a:lnTo>
                  <a:lnTo>
                    <a:pt x="51" y="82"/>
                  </a:lnTo>
                  <a:lnTo>
                    <a:pt x="48" y="87"/>
                  </a:lnTo>
                  <a:lnTo>
                    <a:pt x="48" y="87"/>
                  </a:lnTo>
                  <a:lnTo>
                    <a:pt x="31" y="93"/>
                  </a:lnTo>
                  <a:lnTo>
                    <a:pt x="0" y="103"/>
                  </a:lnTo>
                  <a:lnTo>
                    <a:pt x="0" y="103"/>
                  </a:lnTo>
                  <a:lnTo>
                    <a:pt x="20" y="144"/>
                  </a:lnTo>
                  <a:lnTo>
                    <a:pt x="20" y="144"/>
                  </a:lnTo>
                  <a:lnTo>
                    <a:pt x="24" y="141"/>
                  </a:lnTo>
                  <a:lnTo>
                    <a:pt x="24" y="141"/>
                  </a:lnTo>
                  <a:lnTo>
                    <a:pt x="30" y="140"/>
                  </a:lnTo>
                  <a:lnTo>
                    <a:pt x="37" y="138"/>
                  </a:lnTo>
                  <a:lnTo>
                    <a:pt x="44" y="138"/>
                  </a:lnTo>
                  <a:lnTo>
                    <a:pt x="50" y="137"/>
                  </a:lnTo>
                  <a:lnTo>
                    <a:pt x="50" y="137"/>
                  </a:lnTo>
                  <a:lnTo>
                    <a:pt x="51" y="137"/>
                  </a:lnTo>
                  <a:lnTo>
                    <a:pt x="53" y="136"/>
                  </a:lnTo>
                  <a:lnTo>
                    <a:pt x="53" y="133"/>
                  </a:lnTo>
                  <a:lnTo>
                    <a:pt x="53" y="128"/>
                  </a:lnTo>
                  <a:lnTo>
                    <a:pt x="55" y="124"/>
                  </a:lnTo>
                  <a:lnTo>
                    <a:pt x="55" y="124"/>
                  </a:lnTo>
                  <a:lnTo>
                    <a:pt x="61" y="123"/>
                  </a:lnTo>
                  <a:lnTo>
                    <a:pt x="65" y="123"/>
                  </a:lnTo>
                  <a:lnTo>
                    <a:pt x="70" y="123"/>
                  </a:lnTo>
                  <a:lnTo>
                    <a:pt x="74" y="121"/>
                  </a:lnTo>
                  <a:lnTo>
                    <a:pt x="74" y="121"/>
                  </a:lnTo>
                  <a:lnTo>
                    <a:pt x="75" y="120"/>
                  </a:lnTo>
                  <a:lnTo>
                    <a:pt x="78" y="114"/>
                  </a:lnTo>
                  <a:lnTo>
                    <a:pt x="80" y="110"/>
                  </a:lnTo>
                  <a:lnTo>
                    <a:pt x="84" y="107"/>
                  </a:lnTo>
                  <a:lnTo>
                    <a:pt x="84" y="107"/>
                  </a:lnTo>
                  <a:lnTo>
                    <a:pt x="91" y="106"/>
                  </a:lnTo>
                  <a:lnTo>
                    <a:pt x="94" y="104"/>
                  </a:lnTo>
                  <a:lnTo>
                    <a:pt x="94" y="101"/>
                  </a:lnTo>
                  <a:lnTo>
                    <a:pt x="94" y="101"/>
                  </a:lnTo>
                  <a:lnTo>
                    <a:pt x="94" y="97"/>
                  </a:lnTo>
                  <a:lnTo>
                    <a:pt x="94" y="90"/>
                  </a:lnTo>
                  <a:lnTo>
                    <a:pt x="97" y="83"/>
                  </a:lnTo>
                  <a:lnTo>
                    <a:pt x="98" y="82"/>
                  </a:lnTo>
                  <a:lnTo>
                    <a:pt x="100" y="80"/>
                  </a:lnTo>
                  <a:lnTo>
                    <a:pt x="100" y="80"/>
                  </a:lnTo>
                  <a:lnTo>
                    <a:pt x="104" y="79"/>
                  </a:lnTo>
                  <a:lnTo>
                    <a:pt x="108" y="77"/>
                  </a:lnTo>
                  <a:lnTo>
                    <a:pt x="111" y="74"/>
                  </a:lnTo>
                  <a:lnTo>
                    <a:pt x="112" y="72"/>
                  </a:lnTo>
                  <a:lnTo>
                    <a:pt x="112" y="72"/>
                  </a:lnTo>
                  <a:lnTo>
                    <a:pt x="114" y="69"/>
                  </a:lnTo>
                  <a:lnTo>
                    <a:pt x="118" y="63"/>
                  </a:lnTo>
                  <a:lnTo>
                    <a:pt x="125" y="53"/>
                  </a:lnTo>
                  <a:lnTo>
                    <a:pt x="125" y="53"/>
                  </a:lnTo>
                  <a:lnTo>
                    <a:pt x="128" y="49"/>
                  </a:lnTo>
                  <a:lnTo>
                    <a:pt x="128" y="46"/>
                  </a:lnTo>
                  <a:lnTo>
                    <a:pt x="127" y="45"/>
                  </a:lnTo>
                  <a:lnTo>
                    <a:pt x="125" y="45"/>
                  </a:lnTo>
                  <a:lnTo>
                    <a:pt x="125" y="45"/>
                  </a:lnTo>
                  <a:lnTo>
                    <a:pt x="121" y="42"/>
                  </a:lnTo>
                  <a:lnTo>
                    <a:pt x="117" y="36"/>
                  </a:lnTo>
                  <a:lnTo>
                    <a:pt x="111" y="27"/>
                  </a:lnTo>
                  <a:lnTo>
                    <a:pt x="111" y="27"/>
                  </a:lnTo>
                  <a:lnTo>
                    <a:pt x="108" y="25"/>
                  </a:lnTo>
                  <a:lnTo>
                    <a:pt x="101" y="25"/>
                  </a:lnTo>
                  <a:lnTo>
                    <a:pt x="92" y="22"/>
                  </a:lnTo>
                  <a:lnTo>
                    <a:pt x="88" y="20"/>
                  </a:lnTo>
                  <a:lnTo>
                    <a:pt x="84" y="17"/>
                  </a:lnTo>
                  <a:lnTo>
                    <a:pt x="84" y="17"/>
                  </a:lnTo>
                  <a:lnTo>
                    <a:pt x="81" y="13"/>
                  </a:lnTo>
                  <a:lnTo>
                    <a:pt x="78" y="10"/>
                  </a:lnTo>
                  <a:lnTo>
                    <a:pt x="75" y="0"/>
                  </a:lnTo>
                  <a:lnTo>
                    <a:pt x="70" y="3"/>
                  </a:lnTo>
                  <a:lnTo>
                    <a:pt x="64"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7" name="Freeform 277">
              <a:extLst>
                <a:ext uri="{FF2B5EF4-FFF2-40B4-BE49-F238E27FC236}">
                  <a16:creationId xmlns:a16="http://schemas.microsoft.com/office/drawing/2014/main" id="{B345FCE1-648B-024E-B11A-CC5113478EF7}"/>
                </a:ext>
              </a:extLst>
            </p:cNvPr>
            <p:cNvSpPr>
              <a:spLocks/>
            </p:cNvSpPr>
            <p:nvPr/>
          </p:nvSpPr>
          <p:spPr bwMode="auto">
            <a:xfrm>
              <a:off x="5514623" y="3676392"/>
              <a:ext cx="25157" cy="36995"/>
            </a:xfrm>
            <a:custGeom>
              <a:avLst/>
              <a:gdLst/>
              <a:ahLst/>
              <a:cxnLst>
                <a:cxn ang="0">
                  <a:pos x="14" y="25"/>
                </a:cxn>
                <a:cxn ang="0">
                  <a:pos x="14" y="25"/>
                </a:cxn>
                <a:cxn ang="0">
                  <a:pos x="14" y="23"/>
                </a:cxn>
                <a:cxn ang="0">
                  <a:pos x="14" y="20"/>
                </a:cxn>
                <a:cxn ang="0">
                  <a:pos x="14" y="20"/>
                </a:cxn>
                <a:cxn ang="0">
                  <a:pos x="15" y="15"/>
                </a:cxn>
                <a:cxn ang="0">
                  <a:pos x="17" y="8"/>
                </a:cxn>
                <a:cxn ang="0">
                  <a:pos x="15" y="3"/>
                </a:cxn>
                <a:cxn ang="0">
                  <a:pos x="14" y="1"/>
                </a:cxn>
                <a:cxn ang="0">
                  <a:pos x="12" y="0"/>
                </a:cxn>
                <a:cxn ang="0">
                  <a:pos x="12" y="0"/>
                </a:cxn>
                <a:cxn ang="0">
                  <a:pos x="10" y="0"/>
                </a:cxn>
                <a:cxn ang="0">
                  <a:pos x="7" y="1"/>
                </a:cxn>
                <a:cxn ang="0">
                  <a:pos x="4" y="5"/>
                </a:cxn>
                <a:cxn ang="0">
                  <a:pos x="2" y="11"/>
                </a:cxn>
                <a:cxn ang="0">
                  <a:pos x="1" y="15"/>
                </a:cxn>
                <a:cxn ang="0">
                  <a:pos x="1" y="15"/>
                </a:cxn>
                <a:cxn ang="0">
                  <a:pos x="1" y="15"/>
                </a:cxn>
                <a:cxn ang="0">
                  <a:pos x="0" y="15"/>
                </a:cxn>
                <a:cxn ang="0">
                  <a:pos x="0" y="15"/>
                </a:cxn>
                <a:cxn ang="0">
                  <a:pos x="2" y="21"/>
                </a:cxn>
                <a:cxn ang="0">
                  <a:pos x="7" y="24"/>
                </a:cxn>
                <a:cxn ang="0">
                  <a:pos x="10" y="25"/>
                </a:cxn>
                <a:cxn ang="0">
                  <a:pos x="14" y="25"/>
                </a:cxn>
                <a:cxn ang="0">
                  <a:pos x="14" y="25"/>
                </a:cxn>
              </a:cxnLst>
              <a:rect l="0" t="0" r="r" b="b"/>
              <a:pathLst>
                <a:path w="17" h="25">
                  <a:moveTo>
                    <a:pt x="14" y="25"/>
                  </a:moveTo>
                  <a:lnTo>
                    <a:pt x="14" y="25"/>
                  </a:lnTo>
                  <a:lnTo>
                    <a:pt x="14" y="23"/>
                  </a:lnTo>
                  <a:lnTo>
                    <a:pt x="14" y="20"/>
                  </a:lnTo>
                  <a:lnTo>
                    <a:pt x="14" y="20"/>
                  </a:lnTo>
                  <a:lnTo>
                    <a:pt x="15" y="15"/>
                  </a:lnTo>
                  <a:lnTo>
                    <a:pt x="17" y="8"/>
                  </a:lnTo>
                  <a:lnTo>
                    <a:pt x="15" y="3"/>
                  </a:lnTo>
                  <a:lnTo>
                    <a:pt x="14" y="1"/>
                  </a:lnTo>
                  <a:lnTo>
                    <a:pt x="12" y="0"/>
                  </a:lnTo>
                  <a:lnTo>
                    <a:pt x="12" y="0"/>
                  </a:lnTo>
                  <a:lnTo>
                    <a:pt x="10" y="0"/>
                  </a:lnTo>
                  <a:lnTo>
                    <a:pt x="7" y="1"/>
                  </a:lnTo>
                  <a:lnTo>
                    <a:pt x="4" y="5"/>
                  </a:lnTo>
                  <a:lnTo>
                    <a:pt x="2" y="11"/>
                  </a:lnTo>
                  <a:lnTo>
                    <a:pt x="1" y="15"/>
                  </a:lnTo>
                  <a:lnTo>
                    <a:pt x="1" y="15"/>
                  </a:lnTo>
                  <a:lnTo>
                    <a:pt x="1" y="15"/>
                  </a:lnTo>
                  <a:lnTo>
                    <a:pt x="0" y="15"/>
                  </a:lnTo>
                  <a:lnTo>
                    <a:pt x="0" y="15"/>
                  </a:lnTo>
                  <a:lnTo>
                    <a:pt x="2" y="21"/>
                  </a:lnTo>
                  <a:lnTo>
                    <a:pt x="7" y="24"/>
                  </a:lnTo>
                  <a:lnTo>
                    <a:pt x="10" y="25"/>
                  </a:lnTo>
                  <a:lnTo>
                    <a:pt x="14" y="25"/>
                  </a:lnTo>
                  <a:lnTo>
                    <a:pt x="14" y="2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8" name="Freeform 278">
              <a:extLst>
                <a:ext uri="{FF2B5EF4-FFF2-40B4-BE49-F238E27FC236}">
                  <a16:creationId xmlns:a16="http://schemas.microsoft.com/office/drawing/2014/main" id="{AEAFACC4-EED8-654B-9F1E-E93B06360413}"/>
                </a:ext>
              </a:extLst>
            </p:cNvPr>
            <p:cNvSpPr>
              <a:spLocks/>
            </p:cNvSpPr>
            <p:nvPr/>
          </p:nvSpPr>
          <p:spPr bwMode="auto">
            <a:xfrm>
              <a:off x="5544219" y="3670473"/>
              <a:ext cx="112464" cy="90267"/>
            </a:xfrm>
            <a:custGeom>
              <a:avLst/>
              <a:gdLst/>
              <a:ahLst/>
              <a:cxnLst>
                <a:cxn ang="0">
                  <a:pos x="12" y="56"/>
                </a:cxn>
                <a:cxn ang="0">
                  <a:pos x="12" y="56"/>
                </a:cxn>
                <a:cxn ang="0">
                  <a:pos x="28" y="59"/>
                </a:cxn>
                <a:cxn ang="0">
                  <a:pos x="49" y="61"/>
                </a:cxn>
                <a:cxn ang="0">
                  <a:pos x="55" y="48"/>
                </a:cxn>
                <a:cxn ang="0">
                  <a:pos x="65" y="35"/>
                </a:cxn>
                <a:cxn ang="0">
                  <a:pos x="65" y="22"/>
                </a:cxn>
                <a:cxn ang="0">
                  <a:pos x="71" y="22"/>
                </a:cxn>
                <a:cxn ang="0">
                  <a:pos x="76" y="19"/>
                </a:cxn>
                <a:cxn ang="0">
                  <a:pos x="76" y="19"/>
                </a:cxn>
                <a:cxn ang="0">
                  <a:pos x="73" y="5"/>
                </a:cxn>
                <a:cxn ang="0">
                  <a:pos x="73" y="1"/>
                </a:cxn>
                <a:cxn ang="0">
                  <a:pos x="72" y="0"/>
                </a:cxn>
                <a:cxn ang="0">
                  <a:pos x="72" y="0"/>
                </a:cxn>
                <a:cxn ang="0">
                  <a:pos x="69" y="1"/>
                </a:cxn>
                <a:cxn ang="0">
                  <a:pos x="64" y="7"/>
                </a:cxn>
                <a:cxn ang="0">
                  <a:pos x="58" y="14"/>
                </a:cxn>
                <a:cxn ang="0">
                  <a:pos x="54" y="21"/>
                </a:cxn>
                <a:cxn ang="0">
                  <a:pos x="54" y="21"/>
                </a:cxn>
                <a:cxn ang="0">
                  <a:pos x="48" y="27"/>
                </a:cxn>
                <a:cxn ang="0">
                  <a:pos x="41" y="32"/>
                </a:cxn>
                <a:cxn ang="0">
                  <a:pos x="32" y="35"/>
                </a:cxn>
                <a:cxn ang="0">
                  <a:pos x="22" y="35"/>
                </a:cxn>
                <a:cxn ang="0">
                  <a:pos x="22" y="35"/>
                </a:cxn>
                <a:cxn ang="0">
                  <a:pos x="15" y="35"/>
                </a:cxn>
                <a:cxn ang="0">
                  <a:pos x="9" y="36"/>
                </a:cxn>
                <a:cxn ang="0">
                  <a:pos x="4" y="39"/>
                </a:cxn>
                <a:cxn ang="0">
                  <a:pos x="4" y="39"/>
                </a:cxn>
                <a:cxn ang="0">
                  <a:pos x="2" y="41"/>
                </a:cxn>
                <a:cxn ang="0">
                  <a:pos x="0" y="39"/>
                </a:cxn>
                <a:cxn ang="0">
                  <a:pos x="0" y="39"/>
                </a:cxn>
                <a:cxn ang="0">
                  <a:pos x="2" y="45"/>
                </a:cxn>
                <a:cxn ang="0">
                  <a:pos x="7" y="51"/>
                </a:cxn>
                <a:cxn ang="0">
                  <a:pos x="12" y="56"/>
                </a:cxn>
                <a:cxn ang="0">
                  <a:pos x="12" y="56"/>
                </a:cxn>
              </a:cxnLst>
              <a:rect l="0" t="0" r="r" b="b"/>
              <a:pathLst>
                <a:path w="76" h="61">
                  <a:moveTo>
                    <a:pt x="12" y="56"/>
                  </a:moveTo>
                  <a:lnTo>
                    <a:pt x="12" y="56"/>
                  </a:lnTo>
                  <a:lnTo>
                    <a:pt x="28" y="59"/>
                  </a:lnTo>
                  <a:lnTo>
                    <a:pt x="49" y="61"/>
                  </a:lnTo>
                  <a:lnTo>
                    <a:pt x="55" y="48"/>
                  </a:lnTo>
                  <a:lnTo>
                    <a:pt x="65" y="35"/>
                  </a:lnTo>
                  <a:lnTo>
                    <a:pt x="65" y="22"/>
                  </a:lnTo>
                  <a:lnTo>
                    <a:pt x="71" y="22"/>
                  </a:lnTo>
                  <a:lnTo>
                    <a:pt x="76" y="19"/>
                  </a:lnTo>
                  <a:lnTo>
                    <a:pt x="76" y="19"/>
                  </a:lnTo>
                  <a:lnTo>
                    <a:pt x="73" y="5"/>
                  </a:lnTo>
                  <a:lnTo>
                    <a:pt x="73" y="1"/>
                  </a:lnTo>
                  <a:lnTo>
                    <a:pt x="72" y="0"/>
                  </a:lnTo>
                  <a:lnTo>
                    <a:pt x="72" y="0"/>
                  </a:lnTo>
                  <a:lnTo>
                    <a:pt x="69" y="1"/>
                  </a:lnTo>
                  <a:lnTo>
                    <a:pt x="64" y="7"/>
                  </a:lnTo>
                  <a:lnTo>
                    <a:pt x="58" y="14"/>
                  </a:lnTo>
                  <a:lnTo>
                    <a:pt x="54" y="21"/>
                  </a:lnTo>
                  <a:lnTo>
                    <a:pt x="54" y="21"/>
                  </a:lnTo>
                  <a:lnTo>
                    <a:pt x="48" y="27"/>
                  </a:lnTo>
                  <a:lnTo>
                    <a:pt x="41" y="32"/>
                  </a:lnTo>
                  <a:lnTo>
                    <a:pt x="32" y="35"/>
                  </a:lnTo>
                  <a:lnTo>
                    <a:pt x="22" y="35"/>
                  </a:lnTo>
                  <a:lnTo>
                    <a:pt x="22" y="35"/>
                  </a:lnTo>
                  <a:lnTo>
                    <a:pt x="15" y="35"/>
                  </a:lnTo>
                  <a:lnTo>
                    <a:pt x="9" y="36"/>
                  </a:lnTo>
                  <a:lnTo>
                    <a:pt x="4" y="39"/>
                  </a:lnTo>
                  <a:lnTo>
                    <a:pt x="4" y="39"/>
                  </a:lnTo>
                  <a:lnTo>
                    <a:pt x="2" y="41"/>
                  </a:lnTo>
                  <a:lnTo>
                    <a:pt x="0" y="39"/>
                  </a:lnTo>
                  <a:lnTo>
                    <a:pt x="0" y="39"/>
                  </a:lnTo>
                  <a:lnTo>
                    <a:pt x="2" y="45"/>
                  </a:lnTo>
                  <a:lnTo>
                    <a:pt x="7" y="51"/>
                  </a:lnTo>
                  <a:lnTo>
                    <a:pt x="12" y="56"/>
                  </a:lnTo>
                  <a:lnTo>
                    <a:pt x="12" y="5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9" name="Freeform 281">
              <a:extLst>
                <a:ext uri="{FF2B5EF4-FFF2-40B4-BE49-F238E27FC236}">
                  <a16:creationId xmlns:a16="http://schemas.microsoft.com/office/drawing/2014/main" id="{44E9C52C-3C25-9041-9CF9-396F03CD67E3}"/>
                </a:ext>
              </a:extLst>
            </p:cNvPr>
            <p:cNvSpPr>
              <a:spLocks/>
            </p:cNvSpPr>
            <p:nvPr/>
          </p:nvSpPr>
          <p:spPr bwMode="auto">
            <a:xfrm>
              <a:off x="5233464" y="3371556"/>
              <a:ext cx="232326" cy="224928"/>
            </a:xfrm>
            <a:custGeom>
              <a:avLst/>
              <a:gdLst/>
              <a:ahLst/>
              <a:cxnLst>
                <a:cxn ang="0">
                  <a:pos x="134" y="135"/>
                </a:cxn>
                <a:cxn ang="0">
                  <a:pos x="140" y="132"/>
                </a:cxn>
                <a:cxn ang="0">
                  <a:pos x="150" y="139"/>
                </a:cxn>
                <a:cxn ang="0">
                  <a:pos x="157" y="135"/>
                </a:cxn>
                <a:cxn ang="0">
                  <a:pos x="148" y="125"/>
                </a:cxn>
                <a:cxn ang="0">
                  <a:pos x="147" y="119"/>
                </a:cxn>
                <a:cxn ang="0">
                  <a:pos x="143" y="110"/>
                </a:cxn>
                <a:cxn ang="0">
                  <a:pos x="144" y="106"/>
                </a:cxn>
                <a:cxn ang="0">
                  <a:pos x="143" y="101"/>
                </a:cxn>
                <a:cxn ang="0">
                  <a:pos x="136" y="91"/>
                </a:cxn>
                <a:cxn ang="0">
                  <a:pos x="126" y="86"/>
                </a:cxn>
                <a:cxn ang="0">
                  <a:pos x="118" y="79"/>
                </a:cxn>
                <a:cxn ang="0">
                  <a:pos x="116" y="73"/>
                </a:cxn>
                <a:cxn ang="0">
                  <a:pos x="109" y="68"/>
                </a:cxn>
                <a:cxn ang="0">
                  <a:pos x="109" y="55"/>
                </a:cxn>
                <a:cxn ang="0">
                  <a:pos x="111" y="48"/>
                </a:cxn>
                <a:cxn ang="0">
                  <a:pos x="114" y="42"/>
                </a:cxn>
                <a:cxn ang="0">
                  <a:pos x="117" y="39"/>
                </a:cxn>
                <a:cxn ang="0">
                  <a:pos x="117" y="34"/>
                </a:cxn>
                <a:cxn ang="0">
                  <a:pos x="110" y="28"/>
                </a:cxn>
                <a:cxn ang="0">
                  <a:pos x="104" y="25"/>
                </a:cxn>
                <a:cxn ang="0">
                  <a:pos x="101" y="18"/>
                </a:cxn>
                <a:cxn ang="0">
                  <a:pos x="97" y="8"/>
                </a:cxn>
                <a:cxn ang="0">
                  <a:pos x="94" y="8"/>
                </a:cxn>
                <a:cxn ang="0">
                  <a:pos x="83" y="4"/>
                </a:cxn>
                <a:cxn ang="0">
                  <a:pos x="79" y="2"/>
                </a:cxn>
                <a:cxn ang="0">
                  <a:pos x="70" y="0"/>
                </a:cxn>
                <a:cxn ang="0">
                  <a:pos x="62" y="1"/>
                </a:cxn>
                <a:cxn ang="0">
                  <a:pos x="57" y="5"/>
                </a:cxn>
                <a:cxn ang="0">
                  <a:pos x="44" y="14"/>
                </a:cxn>
                <a:cxn ang="0">
                  <a:pos x="39" y="19"/>
                </a:cxn>
                <a:cxn ang="0">
                  <a:pos x="40" y="31"/>
                </a:cxn>
                <a:cxn ang="0">
                  <a:pos x="39" y="36"/>
                </a:cxn>
                <a:cxn ang="0">
                  <a:pos x="39" y="46"/>
                </a:cxn>
                <a:cxn ang="0">
                  <a:pos x="35" y="55"/>
                </a:cxn>
                <a:cxn ang="0">
                  <a:pos x="0" y="73"/>
                </a:cxn>
                <a:cxn ang="0">
                  <a:pos x="5" y="98"/>
                </a:cxn>
                <a:cxn ang="0">
                  <a:pos x="17" y="98"/>
                </a:cxn>
                <a:cxn ang="0">
                  <a:pos x="33" y="106"/>
                </a:cxn>
                <a:cxn ang="0">
                  <a:pos x="69" y="129"/>
                </a:cxn>
                <a:cxn ang="0">
                  <a:pos x="93" y="147"/>
                </a:cxn>
                <a:cxn ang="0">
                  <a:pos x="107" y="150"/>
                </a:cxn>
                <a:cxn ang="0">
                  <a:pos x="128" y="143"/>
                </a:cxn>
              </a:cxnLst>
              <a:rect l="0" t="0" r="r" b="b"/>
              <a:pathLst>
                <a:path w="157" h="152">
                  <a:moveTo>
                    <a:pt x="131" y="137"/>
                  </a:moveTo>
                  <a:lnTo>
                    <a:pt x="131" y="137"/>
                  </a:lnTo>
                  <a:lnTo>
                    <a:pt x="134" y="135"/>
                  </a:lnTo>
                  <a:lnTo>
                    <a:pt x="136" y="133"/>
                  </a:lnTo>
                  <a:lnTo>
                    <a:pt x="140" y="132"/>
                  </a:lnTo>
                  <a:lnTo>
                    <a:pt x="140" y="132"/>
                  </a:lnTo>
                  <a:lnTo>
                    <a:pt x="141" y="132"/>
                  </a:lnTo>
                  <a:lnTo>
                    <a:pt x="144" y="133"/>
                  </a:lnTo>
                  <a:lnTo>
                    <a:pt x="150" y="139"/>
                  </a:lnTo>
                  <a:lnTo>
                    <a:pt x="150" y="139"/>
                  </a:lnTo>
                  <a:lnTo>
                    <a:pt x="153" y="136"/>
                  </a:lnTo>
                  <a:lnTo>
                    <a:pt x="157" y="135"/>
                  </a:lnTo>
                  <a:lnTo>
                    <a:pt x="157" y="135"/>
                  </a:lnTo>
                  <a:lnTo>
                    <a:pt x="151" y="128"/>
                  </a:lnTo>
                  <a:lnTo>
                    <a:pt x="148" y="125"/>
                  </a:lnTo>
                  <a:lnTo>
                    <a:pt x="148" y="122"/>
                  </a:lnTo>
                  <a:lnTo>
                    <a:pt x="148" y="122"/>
                  </a:lnTo>
                  <a:lnTo>
                    <a:pt x="147" y="119"/>
                  </a:lnTo>
                  <a:lnTo>
                    <a:pt x="146" y="116"/>
                  </a:lnTo>
                  <a:lnTo>
                    <a:pt x="143" y="113"/>
                  </a:lnTo>
                  <a:lnTo>
                    <a:pt x="143" y="110"/>
                  </a:lnTo>
                  <a:lnTo>
                    <a:pt x="143" y="110"/>
                  </a:lnTo>
                  <a:lnTo>
                    <a:pt x="143" y="109"/>
                  </a:lnTo>
                  <a:lnTo>
                    <a:pt x="144" y="106"/>
                  </a:lnTo>
                  <a:lnTo>
                    <a:pt x="144" y="103"/>
                  </a:lnTo>
                  <a:lnTo>
                    <a:pt x="143" y="101"/>
                  </a:lnTo>
                  <a:lnTo>
                    <a:pt x="143" y="101"/>
                  </a:lnTo>
                  <a:lnTo>
                    <a:pt x="140" y="95"/>
                  </a:lnTo>
                  <a:lnTo>
                    <a:pt x="138" y="92"/>
                  </a:lnTo>
                  <a:lnTo>
                    <a:pt x="136" y="91"/>
                  </a:lnTo>
                  <a:lnTo>
                    <a:pt x="136" y="91"/>
                  </a:lnTo>
                  <a:lnTo>
                    <a:pt x="131" y="89"/>
                  </a:lnTo>
                  <a:lnTo>
                    <a:pt x="126" y="86"/>
                  </a:lnTo>
                  <a:lnTo>
                    <a:pt x="120" y="82"/>
                  </a:lnTo>
                  <a:lnTo>
                    <a:pt x="118" y="81"/>
                  </a:lnTo>
                  <a:lnTo>
                    <a:pt x="118" y="79"/>
                  </a:lnTo>
                  <a:lnTo>
                    <a:pt x="118" y="79"/>
                  </a:lnTo>
                  <a:lnTo>
                    <a:pt x="117" y="76"/>
                  </a:lnTo>
                  <a:lnTo>
                    <a:pt x="116" y="73"/>
                  </a:lnTo>
                  <a:lnTo>
                    <a:pt x="110" y="71"/>
                  </a:lnTo>
                  <a:lnTo>
                    <a:pt x="110" y="71"/>
                  </a:lnTo>
                  <a:lnTo>
                    <a:pt x="109" y="68"/>
                  </a:lnTo>
                  <a:lnTo>
                    <a:pt x="107" y="64"/>
                  </a:lnTo>
                  <a:lnTo>
                    <a:pt x="107" y="58"/>
                  </a:lnTo>
                  <a:lnTo>
                    <a:pt x="109" y="55"/>
                  </a:lnTo>
                  <a:lnTo>
                    <a:pt x="109" y="55"/>
                  </a:lnTo>
                  <a:lnTo>
                    <a:pt x="110" y="52"/>
                  </a:lnTo>
                  <a:lnTo>
                    <a:pt x="111" y="48"/>
                  </a:lnTo>
                  <a:lnTo>
                    <a:pt x="113" y="45"/>
                  </a:lnTo>
                  <a:lnTo>
                    <a:pt x="114" y="44"/>
                  </a:lnTo>
                  <a:lnTo>
                    <a:pt x="114" y="42"/>
                  </a:lnTo>
                  <a:lnTo>
                    <a:pt x="114" y="42"/>
                  </a:lnTo>
                  <a:lnTo>
                    <a:pt x="117" y="42"/>
                  </a:lnTo>
                  <a:lnTo>
                    <a:pt x="117" y="39"/>
                  </a:lnTo>
                  <a:lnTo>
                    <a:pt x="117" y="36"/>
                  </a:lnTo>
                  <a:lnTo>
                    <a:pt x="117" y="34"/>
                  </a:lnTo>
                  <a:lnTo>
                    <a:pt x="117" y="34"/>
                  </a:lnTo>
                  <a:lnTo>
                    <a:pt x="117" y="31"/>
                  </a:lnTo>
                  <a:lnTo>
                    <a:pt x="116" y="29"/>
                  </a:lnTo>
                  <a:lnTo>
                    <a:pt x="110" y="28"/>
                  </a:lnTo>
                  <a:lnTo>
                    <a:pt x="110" y="28"/>
                  </a:lnTo>
                  <a:lnTo>
                    <a:pt x="107" y="27"/>
                  </a:lnTo>
                  <a:lnTo>
                    <a:pt x="104" y="25"/>
                  </a:lnTo>
                  <a:lnTo>
                    <a:pt x="103" y="21"/>
                  </a:lnTo>
                  <a:lnTo>
                    <a:pt x="101" y="18"/>
                  </a:lnTo>
                  <a:lnTo>
                    <a:pt x="101" y="18"/>
                  </a:lnTo>
                  <a:lnTo>
                    <a:pt x="100" y="15"/>
                  </a:lnTo>
                  <a:lnTo>
                    <a:pt x="99" y="11"/>
                  </a:lnTo>
                  <a:lnTo>
                    <a:pt x="97" y="8"/>
                  </a:lnTo>
                  <a:lnTo>
                    <a:pt x="96" y="5"/>
                  </a:lnTo>
                  <a:lnTo>
                    <a:pt x="96" y="5"/>
                  </a:lnTo>
                  <a:lnTo>
                    <a:pt x="94" y="8"/>
                  </a:lnTo>
                  <a:lnTo>
                    <a:pt x="93" y="8"/>
                  </a:lnTo>
                  <a:lnTo>
                    <a:pt x="89" y="7"/>
                  </a:lnTo>
                  <a:lnTo>
                    <a:pt x="83" y="4"/>
                  </a:lnTo>
                  <a:lnTo>
                    <a:pt x="80" y="2"/>
                  </a:lnTo>
                  <a:lnTo>
                    <a:pt x="79" y="2"/>
                  </a:lnTo>
                  <a:lnTo>
                    <a:pt x="79" y="2"/>
                  </a:lnTo>
                  <a:lnTo>
                    <a:pt x="76" y="2"/>
                  </a:lnTo>
                  <a:lnTo>
                    <a:pt x="73" y="2"/>
                  </a:lnTo>
                  <a:lnTo>
                    <a:pt x="70" y="0"/>
                  </a:lnTo>
                  <a:lnTo>
                    <a:pt x="64" y="0"/>
                  </a:lnTo>
                  <a:lnTo>
                    <a:pt x="64" y="0"/>
                  </a:lnTo>
                  <a:lnTo>
                    <a:pt x="62" y="1"/>
                  </a:lnTo>
                  <a:lnTo>
                    <a:pt x="60" y="2"/>
                  </a:lnTo>
                  <a:lnTo>
                    <a:pt x="57" y="5"/>
                  </a:lnTo>
                  <a:lnTo>
                    <a:pt x="57" y="5"/>
                  </a:lnTo>
                  <a:lnTo>
                    <a:pt x="49" y="12"/>
                  </a:lnTo>
                  <a:lnTo>
                    <a:pt x="49" y="12"/>
                  </a:lnTo>
                  <a:lnTo>
                    <a:pt x="44" y="14"/>
                  </a:lnTo>
                  <a:lnTo>
                    <a:pt x="40" y="17"/>
                  </a:lnTo>
                  <a:lnTo>
                    <a:pt x="39" y="19"/>
                  </a:lnTo>
                  <a:lnTo>
                    <a:pt x="39" y="19"/>
                  </a:lnTo>
                  <a:lnTo>
                    <a:pt x="37" y="24"/>
                  </a:lnTo>
                  <a:lnTo>
                    <a:pt x="39" y="28"/>
                  </a:lnTo>
                  <a:lnTo>
                    <a:pt x="40" y="31"/>
                  </a:lnTo>
                  <a:lnTo>
                    <a:pt x="39" y="34"/>
                  </a:lnTo>
                  <a:lnTo>
                    <a:pt x="39" y="34"/>
                  </a:lnTo>
                  <a:lnTo>
                    <a:pt x="39" y="36"/>
                  </a:lnTo>
                  <a:lnTo>
                    <a:pt x="37" y="39"/>
                  </a:lnTo>
                  <a:lnTo>
                    <a:pt x="39" y="46"/>
                  </a:lnTo>
                  <a:lnTo>
                    <a:pt x="39" y="46"/>
                  </a:lnTo>
                  <a:lnTo>
                    <a:pt x="37" y="48"/>
                  </a:lnTo>
                  <a:lnTo>
                    <a:pt x="36" y="52"/>
                  </a:lnTo>
                  <a:lnTo>
                    <a:pt x="35" y="55"/>
                  </a:lnTo>
                  <a:lnTo>
                    <a:pt x="35" y="55"/>
                  </a:lnTo>
                  <a:lnTo>
                    <a:pt x="0" y="73"/>
                  </a:lnTo>
                  <a:lnTo>
                    <a:pt x="0" y="73"/>
                  </a:lnTo>
                  <a:lnTo>
                    <a:pt x="2" y="82"/>
                  </a:lnTo>
                  <a:lnTo>
                    <a:pt x="2" y="82"/>
                  </a:lnTo>
                  <a:lnTo>
                    <a:pt x="5" y="98"/>
                  </a:lnTo>
                  <a:lnTo>
                    <a:pt x="5" y="98"/>
                  </a:lnTo>
                  <a:lnTo>
                    <a:pt x="12" y="96"/>
                  </a:lnTo>
                  <a:lnTo>
                    <a:pt x="17" y="98"/>
                  </a:lnTo>
                  <a:lnTo>
                    <a:pt x="17" y="98"/>
                  </a:lnTo>
                  <a:lnTo>
                    <a:pt x="25" y="101"/>
                  </a:lnTo>
                  <a:lnTo>
                    <a:pt x="33" y="106"/>
                  </a:lnTo>
                  <a:lnTo>
                    <a:pt x="49" y="116"/>
                  </a:lnTo>
                  <a:lnTo>
                    <a:pt x="49" y="116"/>
                  </a:lnTo>
                  <a:lnTo>
                    <a:pt x="69" y="129"/>
                  </a:lnTo>
                  <a:lnTo>
                    <a:pt x="87" y="145"/>
                  </a:lnTo>
                  <a:lnTo>
                    <a:pt x="87" y="145"/>
                  </a:lnTo>
                  <a:lnTo>
                    <a:pt x="93" y="147"/>
                  </a:lnTo>
                  <a:lnTo>
                    <a:pt x="97" y="149"/>
                  </a:lnTo>
                  <a:lnTo>
                    <a:pt x="107" y="150"/>
                  </a:lnTo>
                  <a:lnTo>
                    <a:pt x="107" y="150"/>
                  </a:lnTo>
                  <a:lnTo>
                    <a:pt x="126" y="152"/>
                  </a:lnTo>
                  <a:lnTo>
                    <a:pt x="126" y="152"/>
                  </a:lnTo>
                  <a:lnTo>
                    <a:pt x="128" y="143"/>
                  </a:lnTo>
                  <a:lnTo>
                    <a:pt x="131" y="137"/>
                  </a:lnTo>
                  <a:lnTo>
                    <a:pt x="131" y="13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0" name="Freeform 282">
              <a:extLst>
                <a:ext uri="{FF2B5EF4-FFF2-40B4-BE49-F238E27FC236}">
                  <a16:creationId xmlns:a16="http://schemas.microsoft.com/office/drawing/2014/main" id="{6C551096-ADA9-3B46-B2C3-3B1A05BD2225}"/>
                </a:ext>
              </a:extLst>
            </p:cNvPr>
            <p:cNvSpPr>
              <a:spLocks/>
            </p:cNvSpPr>
            <p:nvPr/>
          </p:nvSpPr>
          <p:spPr bwMode="auto">
            <a:xfrm>
              <a:off x="5419917" y="3566888"/>
              <a:ext cx="42915" cy="44394"/>
            </a:xfrm>
            <a:custGeom>
              <a:avLst/>
              <a:gdLst/>
              <a:ahLst/>
              <a:cxnLst>
                <a:cxn ang="0">
                  <a:pos x="10" y="21"/>
                </a:cxn>
                <a:cxn ang="0">
                  <a:pos x="17" y="28"/>
                </a:cxn>
                <a:cxn ang="0">
                  <a:pos x="29" y="30"/>
                </a:cxn>
                <a:cxn ang="0">
                  <a:pos x="29" y="30"/>
                </a:cxn>
                <a:cxn ang="0">
                  <a:pos x="25" y="17"/>
                </a:cxn>
                <a:cxn ang="0">
                  <a:pos x="22" y="8"/>
                </a:cxn>
                <a:cxn ang="0">
                  <a:pos x="22" y="8"/>
                </a:cxn>
                <a:cxn ang="0">
                  <a:pos x="24" y="7"/>
                </a:cxn>
                <a:cxn ang="0">
                  <a:pos x="24" y="7"/>
                </a:cxn>
                <a:cxn ang="0">
                  <a:pos x="18" y="1"/>
                </a:cxn>
                <a:cxn ang="0">
                  <a:pos x="15" y="0"/>
                </a:cxn>
                <a:cxn ang="0">
                  <a:pos x="14" y="0"/>
                </a:cxn>
                <a:cxn ang="0">
                  <a:pos x="14" y="0"/>
                </a:cxn>
                <a:cxn ang="0">
                  <a:pos x="10" y="1"/>
                </a:cxn>
                <a:cxn ang="0">
                  <a:pos x="8" y="3"/>
                </a:cxn>
                <a:cxn ang="0">
                  <a:pos x="5" y="5"/>
                </a:cxn>
                <a:cxn ang="0">
                  <a:pos x="5" y="5"/>
                </a:cxn>
                <a:cxn ang="0">
                  <a:pos x="2" y="11"/>
                </a:cxn>
                <a:cxn ang="0">
                  <a:pos x="0" y="20"/>
                </a:cxn>
                <a:cxn ang="0">
                  <a:pos x="0" y="20"/>
                </a:cxn>
                <a:cxn ang="0">
                  <a:pos x="10" y="21"/>
                </a:cxn>
                <a:cxn ang="0">
                  <a:pos x="10" y="21"/>
                </a:cxn>
              </a:cxnLst>
              <a:rect l="0" t="0" r="r" b="b"/>
              <a:pathLst>
                <a:path w="29" h="30">
                  <a:moveTo>
                    <a:pt x="10" y="21"/>
                  </a:moveTo>
                  <a:lnTo>
                    <a:pt x="17" y="28"/>
                  </a:lnTo>
                  <a:lnTo>
                    <a:pt x="29" y="30"/>
                  </a:lnTo>
                  <a:lnTo>
                    <a:pt x="29" y="30"/>
                  </a:lnTo>
                  <a:lnTo>
                    <a:pt x="25" y="17"/>
                  </a:lnTo>
                  <a:lnTo>
                    <a:pt x="22" y="8"/>
                  </a:lnTo>
                  <a:lnTo>
                    <a:pt x="22" y="8"/>
                  </a:lnTo>
                  <a:lnTo>
                    <a:pt x="24" y="7"/>
                  </a:lnTo>
                  <a:lnTo>
                    <a:pt x="24" y="7"/>
                  </a:lnTo>
                  <a:lnTo>
                    <a:pt x="18" y="1"/>
                  </a:lnTo>
                  <a:lnTo>
                    <a:pt x="15" y="0"/>
                  </a:lnTo>
                  <a:lnTo>
                    <a:pt x="14" y="0"/>
                  </a:lnTo>
                  <a:lnTo>
                    <a:pt x="14" y="0"/>
                  </a:lnTo>
                  <a:lnTo>
                    <a:pt x="10" y="1"/>
                  </a:lnTo>
                  <a:lnTo>
                    <a:pt x="8" y="3"/>
                  </a:lnTo>
                  <a:lnTo>
                    <a:pt x="5" y="5"/>
                  </a:lnTo>
                  <a:lnTo>
                    <a:pt x="5" y="5"/>
                  </a:lnTo>
                  <a:lnTo>
                    <a:pt x="2" y="11"/>
                  </a:lnTo>
                  <a:lnTo>
                    <a:pt x="0" y="20"/>
                  </a:lnTo>
                  <a:lnTo>
                    <a:pt x="0" y="20"/>
                  </a:lnTo>
                  <a:lnTo>
                    <a:pt x="10" y="21"/>
                  </a:lnTo>
                  <a:lnTo>
                    <a:pt x="10" y="2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1" name="Freeform 283">
              <a:extLst>
                <a:ext uri="{FF2B5EF4-FFF2-40B4-BE49-F238E27FC236}">
                  <a16:creationId xmlns:a16="http://schemas.microsoft.com/office/drawing/2014/main" id="{2251C633-9ED7-C94B-9618-5AE5875F59C4}"/>
                </a:ext>
              </a:extLst>
            </p:cNvPr>
            <p:cNvSpPr>
              <a:spLocks noEditPoints="1"/>
            </p:cNvSpPr>
            <p:nvPr/>
          </p:nvSpPr>
          <p:spPr bwMode="auto">
            <a:xfrm>
              <a:off x="4210933" y="2969055"/>
              <a:ext cx="340351" cy="288558"/>
            </a:xfrm>
            <a:custGeom>
              <a:avLst/>
              <a:gdLst/>
              <a:ahLst/>
              <a:cxnLst>
                <a:cxn ang="0">
                  <a:pos x="195" y="41"/>
                </a:cxn>
                <a:cxn ang="0">
                  <a:pos x="181" y="35"/>
                </a:cxn>
                <a:cxn ang="0">
                  <a:pos x="164" y="31"/>
                </a:cxn>
                <a:cxn ang="0">
                  <a:pos x="157" y="25"/>
                </a:cxn>
                <a:cxn ang="0">
                  <a:pos x="148" y="24"/>
                </a:cxn>
                <a:cxn ang="0">
                  <a:pos x="144" y="20"/>
                </a:cxn>
                <a:cxn ang="0">
                  <a:pos x="128" y="10"/>
                </a:cxn>
                <a:cxn ang="0">
                  <a:pos x="122" y="7"/>
                </a:cxn>
                <a:cxn ang="0">
                  <a:pos x="117" y="0"/>
                </a:cxn>
                <a:cxn ang="0">
                  <a:pos x="104" y="8"/>
                </a:cxn>
                <a:cxn ang="0">
                  <a:pos x="100" y="23"/>
                </a:cxn>
                <a:cxn ang="0">
                  <a:pos x="80" y="30"/>
                </a:cxn>
                <a:cxn ang="0">
                  <a:pos x="65" y="37"/>
                </a:cxn>
                <a:cxn ang="0">
                  <a:pos x="54" y="28"/>
                </a:cxn>
                <a:cxn ang="0">
                  <a:pos x="47" y="35"/>
                </a:cxn>
                <a:cxn ang="0">
                  <a:pos x="50" y="52"/>
                </a:cxn>
                <a:cxn ang="0">
                  <a:pos x="36" y="52"/>
                </a:cxn>
                <a:cxn ang="0">
                  <a:pos x="26" y="48"/>
                </a:cxn>
                <a:cxn ang="0">
                  <a:pos x="10" y="50"/>
                </a:cxn>
                <a:cxn ang="0">
                  <a:pos x="0" y="57"/>
                </a:cxn>
                <a:cxn ang="0">
                  <a:pos x="3" y="67"/>
                </a:cxn>
                <a:cxn ang="0">
                  <a:pos x="24" y="74"/>
                </a:cxn>
                <a:cxn ang="0">
                  <a:pos x="37" y="78"/>
                </a:cxn>
                <a:cxn ang="0">
                  <a:pos x="44" y="89"/>
                </a:cxn>
                <a:cxn ang="0">
                  <a:pos x="58" y="101"/>
                </a:cxn>
                <a:cxn ang="0">
                  <a:pos x="60" y="115"/>
                </a:cxn>
                <a:cxn ang="0">
                  <a:pos x="57" y="136"/>
                </a:cxn>
                <a:cxn ang="0">
                  <a:pos x="48" y="159"/>
                </a:cxn>
                <a:cxn ang="0">
                  <a:pos x="74" y="170"/>
                </a:cxn>
                <a:cxn ang="0">
                  <a:pos x="85" y="170"/>
                </a:cxn>
                <a:cxn ang="0">
                  <a:pos x="94" y="172"/>
                </a:cxn>
                <a:cxn ang="0">
                  <a:pos x="121" y="178"/>
                </a:cxn>
                <a:cxn ang="0">
                  <a:pos x="128" y="169"/>
                </a:cxn>
                <a:cxn ang="0">
                  <a:pos x="141" y="156"/>
                </a:cxn>
                <a:cxn ang="0">
                  <a:pos x="171" y="163"/>
                </a:cxn>
                <a:cxn ang="0">
                  <a:pos x="189" y="158"/>
                </a:cxn>
                <a:cxn ang="0">
                  <a:pos x="201" y="145"/>
                </a:cxn>
                <a:cxn ang="0">
                  <a:pos x="191" y="142"/>
                </a:cxn>
                <a:cxn ang="0">
                  <a:pos x="191" y="132"/>
                </a:cxn>
                <a:cxn ang="0">
                  <a:pos x="185" y="124"/>
                </a:cxn>
                <a:cxn ang="0">
                  <a:pos x="192" y="116"/>
                </a:cxn>
                <a:cxn ang="0">
                  <a:pos x="191" y="108"/>
                </a:cxn>
                <a:cxn ang="0">
                  <a:pos x="188" y="101"/>
                </a:cxn>
                <a:cxn ang="0">
                  <a:pos x="181" y="99"/>
                </a:cxn>
                <a:cxn ang="0">
                  <a:pos x="178" y="95"/>
                </a:cxn>
                <a:cxn ang="0">
                  <a:pos x="188" y="82"/>
                </a:cxn>
                <a:cxn ang="0">
                  <a:pos x="196" y="75"/>
                </a:cxn>
                <a:cxn ang="0">
                  <a:pos x="202" y="57"/>
                </a:cxn>
                <a:cxn ang="0">
                  <a:pos x="208" y="45"/>
                </a:cxn>
                <a:cxn ang="0">
                  <a:pos x="229" y="165"/>
                </a:cxn>
                <a:cxn ang="0">
                  <a:pos x="219" y="173"/>
                </a:cxn>
                <a:cxn ang="0">
                  <a:pos x="223" y="195"/>
                </a:cxn>
                <a:cxn ang="0">
                  <a:pos x="230" y="180"/>
                </a:cxn>
              </a:cxnLst>
              <a:rect l="0" t="0" r="r" b="b"/>
              <a:pathLst>
                <a:path w="230" h="195">
                  <a:moveTo>
                    <a:pt x="203" y="44"/>
                  </a:moveTo>
                  <a:lnTo>
                    <a:pt x="203" y="44"/>
                  </a:lnTo>
                  <a:lnTo>
                    <a:pt x="201" y="44"/>
                  </a:lnTo>
                  <a:lnTo>
                    <a:pt x="198" y="42"/>
                  </a:lnTo>
                  <a:lnTo>
                    <a:pt x="195" y="41"/>
                  </a:lnTo>
                  <a:lnTo>
                    <a:pt x="195" y="41"/>
                  </a:lnTo>
                  <a:lnTo>
                    <a:pt x="189" y="40"/>
                  </a:lnTo>
                  <a:lnTo>
                    <a:pt x="185" y="37"/>
                  </a:lnTo>
                  <a:lnTo>
                    <a:pt x="185" y="37"/>
                  </a:lnTo>
                  <a:lnTo>
                    <a:pt x="181" y="35"/>
                  </a:lnTo>
                  <a:lnTo>
                    <a:pt x="176" y="34"/>
                  </a:lnTo>
                  <a:lnTo>
                    <a:pt x="168" y="34"/>
                  </a:lnTo>
                  <a:lnTo>
                    <a:pt x="168" y="34"/>
                  </a:lnTo>
                  <a:lnTo>
                    <a:pt x="165" y="33"/>
                  </a:lnTo>
                  <a:lnTo>
                    <a:pt x="164" y="31"/>
                  </a:lnTo>
                  <a:lnTo>
                    <a:pt x="162" y="30"/>
                  </a:lnTo>
                  <a:lnTo>
                    <a:pt x="159" y="28"/>
                  </a:lnTo>
                  <a:lnTo>
                    <a:pt x="159" y="28"/>
                  </a:lnTo>
                  <a:lnTo>
                    <a:pt x="158" y="28"/>
                  </a:lnTo>
                  <a:lnTo>
                    <a:pt x="157" y="25"/>
                  </a:lnTo>
                  <a:lnTo>
                    <a:pt x="155" y="21"/>
                  </a:lnTo>
                  <a:lnTo>
                    <a:pt x="155" y="21"/>
                  </a:lnTo>
                  <a:lnTo>
                    <a:pt x="154" y="20"/>
                  </a:lnTo>
                  <a:lnTo>
                    <a:pt x="152" y="21"/>
                  </a:lnTo>
                  <a:lnTo>
                    <a:pt x="148" y="24"/>
                  </a:lnTo>
                  <a:lnTo>
                    <a:pt x="148" y="24"/>
                  </a:lnTo>
                  <a:lnTo>
                    <a:pt x="145" y="24"/>
                  </a:lnTo>
                  <a:lnTo>
                    <a:pt x="144" y="23"/>
                  </a:lnTo>
                  <a:lnTo>
                    <a:pt x="144" y="20"/>
                  </a:lnTo>
                  <a:lnTo>
                    <a:pt x="144" y="20"/>
                  </a:lnTo>
                  <a:lnTo>
                    <a:pt x="142" y="18"/>
                  </a:lnTo>
                  <a:lnTo>
                    <a:pt x="139" y="15"/>
                  </a:lnTo>
                  <a:lnTo>
                    <a:pt x="134" y="13"/>
                  </a:lnTo>
                  <a:lnTo>
                    <a:pt x="134" y="13"/>
                  </a:lnTo>
                  <a:lnTo>
                    <a:pt x="128" y="10"/>
                  </a:lnTo>
                  <a:lnTo>
                    <a:pt x="127" y="8"/>
                  </a:lnTo>
                  <a:lnTo>
                    <a:pt x="125" y="8"/>
                  </a:lnTo>
                  <a:lnTo>
                    <a:pt x="125" y="8"/>
                  </a:lnTo>
                  <a:lnTo>
                    <a:pt x="124" y="8"/>
                  </a:lnTo>
                  <a:lnTo>
                    <a:pt x="122" y="7"/>
                  </a:lnTo>
                  <a:lnTo>
                    <a:pt x="120" y="3"/>
                  </a:lnTo>
                  <a:lnTo>
                    <a:pt x="120" y="3"/>
                  </a:lnTo>
                  <a:lnTo>
                    <a:pt x="118" y="1"/>
                  </a:lnTo>
                  <a:lnTo>
                    <a:pt x="117" y="0"/>
                  </a:lnTo>
                  <a:lnTo>
                    <a:pt x="117" y="0"/>
                  </a:lnTo>
                  <a:lnTo>
                    <a:pt x="114" y="0"/>
                  </a:lnTo>
                  <a:lnTo>
                    <a:pt x="114" y="0"/>
                  </a:lnTo>
                  <a:lnTo>
                    <a:pt x="110" y="1"/>
                  </a:lnTo>
                  <a:lnTo>
                    <a:pt x="107" y="4"/>
                  </a:lnTo>
                  <a:lnTo>
                    <a:pt x="104" y="8"/>
                  </a:lnTo>
                  <a:lnTo>
                    <a:pt x="104" y="14"/>
                  </a:lnTo>
                  <a:lnTo>
                    <a:pt x="104" y="14"/>
                  </a:lnTo>
                  <a:lnTo>
                    <a:pt x="104" y="17"/>
                  </a:lnTo>
                  <a:lnTo>
                    <a:pt x="102" y="20"/>
                  </a:lnTo>
                  <a:lnTo>
                    <a:pt x="100" y="23"/>
                  </a:lnTo>
                  <a:lnTo>
                    <a:pt x="94" y="24"/>
                  </a:lnTo>
                  <a:lnTo>
                    <a:pt x="87" y="25"/>
                  </a:lnTo>
                  <a:lnTo>
                    <a:pt x="87" y="25"/>
                  </a:lnTo>
                  <a:lnTo>
                    <a:pt x="83" y="27"/>
                  </a:lnTo>
                  <a:lnTo>
                    <a:pt x="80" y="30"/>
                  </a:lnTo>
                  <a:lnTo>
                    <a:pt x="78" y="34"/>
                  </a:lnTo>
                  <a:lnTo>
                    <a:pt x="77" y="37"/>
                  </a:lnTo>
                  <a:lnTo>
                    <a:pt x="77" y="37"/>
                  </a:lnTo>
                  <a:lnTo>
                    <a:pt x="73" y="38"/>
                  </a:lnTo>
                  <a:lnTo>
                    <a:pt x="65" y="37"/>
                  </a:lnTo>
                  <a:lnTo>
                    <a:pt x="60" y="34"/>
                  </a:lnTo>
                  <a:lnTo>
                    <a:pt x="57" y="30"/>
                  </a:lnTo>
                  <a:lnTo>
                    <a:pt x="57" y="30"/>
                  </a:lnTo>
                  <a:lnTo>
                    <a:pt x="56" y="28"/>
                  </a:lnTo>
                  <a:lnTo>
                    <a:pt x="54" y="28"/>
                  </a:lnTo>
                  <a:lnTo>
                    <a:pt x="50" y="28"/>
                  </a:lnTo>
                  <a:lnTo>
                    <a:pt x="47" y="31"/>
                  </a:lnTo>
                  <a:lnTo>
                    <a:pt x="46" y="34"/>
                  </a:lnTo>
                  <a:lnTo>
                    <a:pt x="47" y="35"/>
                  </a:lnTo>
                  <a:lnTo>
                    <a:pt x="47" y="35"/>
                  </a:lnTo>
                  <a:lnTo>
                    <a:pt x="51" y="41"/>
                  </a:lnTo>
                  <a:lnTo>
                    <a:pt x="51" y="45"/>
                  </a:lnTo>
                  <a:lnTo>
                    <a:pt x="51" y="50"/>
                  </a:lnTo>
                  <a:lnTo>
                    <a:pt x="50" y="52"/>
                  </a:lnTo>
                  <a:lnTo>
                    <a:pt x="50" y="52"/>
                  </a:lnTo>
                  <a:lnTo>
                    <a:pt x="47" y="54"/>
                  </a:lnTo>
                  <a:lnTo>
                    <a:pt x="43" y="52"/>
                  </a:lnTo>
                  <a:lnTo>
                    <a:pt x="40" y="51"/>
                  </a:lnTo>
                  <a:lnTo>
                    <a:pt x="36" y="52"/>
                  </a:lnTo>
                  <a:lnTo>
                    <a:pt x="36" y="52"/>
                  </a:lnTo>
                  <a:lnTo>
                    <a:pt x="33" y="52"/>
                  </a:lnTo>
                  <a:lnTo>
                    <a:pt x="31" y="52"/>
                  </a:lnTo>
                  <a:lnTo>
                    <a:pt x="28" y="50"/>
                  </a:lnTo>
                  <a:lnTo>
                    <a:pt x="26" y="48"/>
                  </a:lnTo>
                  <a:lnTo>
                    <a:pt x="26" y="48"/>
                  </a:lnTo>
                  <a:lnTo>
                    <a:pt x="23" y="47"/>
                  </a:lnTo>
                  <a:lnTo>
                    <a:pt x="19" y="48"/>
                  </a:lnTo>
                  <a:lnTo>
                    <a:pt x="16" y="50"/>
                  </a:lnTo>
                  <a:lnTo>
                    <a:pt x="10" y="50"/>
                  </a:lnTo>
                  <a:lnTo>
                    <a:pt x="10" y="50"/>
                  </a:lnTo>
                  <a:lnTo>
                    <a:pt x="4" y="50"/>
                  </a:lnTo>
                  <a:lnTo>
                    <a:pt x="1" y="51"/>
                  </a:lnTo>
                  <a:lnTo>
                    <a:pt x="0" y="54"/>
                  </a:lnTo>
                  <a:lnTo>
                    <a:pt x="0" y="57"/>
                  </a:lnTo>
                  <a:lnTo>
                    <a:pt x="0" y="57"/>
                  </a:lnTo>
                  <a:lnTo>
                    <a:pt x="1" y="60"/>
                  </a:lnTo>
                  <a:lnTo>
                    <a:pt x="1" y="62"/>
                  </a:lnTo>
                  <a:lnTo>
                    <a:pt x="1" y="64"/>
                  </a:lnTo>
                  <a:lnTo>
                    <a:pt x="3" y="67"/>
                  </a:lnTo>
                  <a:lnTo>
                    <a:pt x="3" y="67"/>
                  </a:lnTo>
                  <a:lnTo>
                    <a:pt x="6" y="68"/>
                  </a:lnTo>
                  <a:lnTo>
                    <a:pt x="11" y="69"/>
                  </a:lnTo>
                  <a:lnTo>
                    <a:pt x="17" y="71"/>
                  </a:lnTo>
                  <a:lnTo>
                    <a:pt x="24" y="74"/>
                  </a:lnTo>
                  <a:lnTo>
                    <a:pt x="24" y="74"/>
                  </a:lnTo>
                  <a:lnTo>
                    <a:pt x="28" y="75"/>
                  </a:lnTo>
                  <a:lnTo>
                    <a:pt x="31" y="77"/>
                  </a:lnTo>
                  <a:lnTo>
                    <a:pt x="34" y="77"/>
                  </a:lnTo>
                  <a:lnTo>
                    <a:pt x="37" y="78"/>
                  </a:lnTo>
                  <a:lnTo>
                    <a:pt x="37" y="78"/>
                  </a:lnTo>
                  <a:lnTo>
                    <a:pt x="41" y="79"/>
                  </a:lnTo>
                  <a:lnTo>
                    <a:pt x="43" y="81"/>
                  </a:lnTo>
                  <a:lnTo>
                    <a:pt x="43" y="85"/>
                  </a:lnTo>
                  <a:lnTo>
                    <a:pt x="43" y="85"/>
                  </a:lnTo>
                  <a:lnTo>
                    <a:pt x="44" y="89"/>
                  </a:lnTo>
                  <a:lnTo>
                    <a:pt x="46" y="92"/>
                  </a:lnTo>
                  <a:lnTo>
                    <a:pt x="50" y="97"/>
                  </a:lnTo>
                  <a:lnTo>
                    <a:pt x="56" y="98"/>
                  </a:lnTo>
                  <a:lnTo>
                    <a:pt x="56" y="98"/>
                  </a:lnTo>
                  <a:lnTo>
                    <a:pt x="58" y="101"/>
                  </a:lnTo>
                  <a:lnTo>
                    <a:pt x="60" y="104"/>
                  </a:lnTo>
                  <a:lnTo>
                    <a:pt x="58" y="106"/>
                  </a:lnTo>
                  <a:lnTo>
                    <a:pt x="60" y="111"/>
                  </a:lnTo>
                  <a:lnTo>
                    <a:pt x="60" y="111"/>
                  </a:lnTo>
                  <a:lnTo>
                    <a:pt x="60" y="115"/>
                  </a:lnTo>
                  <a:lnTo>
                    <a:pt x="58" y="121"/>
                  </a:lnTo>
                  <a:lnTo>
                    <a:pt x="57" y="125"/>
                  </a:lnTo>
                  <a:lnTo>
                    <a:pt x="57" y="131"/>
                  </a:lnTo>
                  <a:lnTo>
                    <a:pt x="57" y="131"/>
                  </a:lnTo>
                  <a:lnTo>
                    <a:pt x="57" y="136"/>
                  </a:lnTo>
                  <a:lnTo>
                    <a:pt x="56" y="146"/>
                  </a:lnTo>
                  <a:lnTo>
                    <a:pt x="53" y="155"/>
                  </a:lnTo>
                  <a:lnTo>
                    <a:pt x="50" y="159"/>
                  </a:lnTo>
                  <a:lnTo>
                    <a:pt x="50" y="159"/>
                  </a:lnTo>
                  <a:lnTo>
                    <a:pt x="48" y="159"/>
                  </a:lnTo>
                  <a:lnTo>
                    <a:pt x="48" y="159"/>
                  </a:lnTo>
                  <a:lnTo>
                    <a:pt x="58" y="163"/>
                  </a:lnTo>
                  <a:lnTo>
                    <a:pt x="58" y="163"/>
                  </a:lnTo>
                  <a:lnTo>
                    <a:pt x="65" y="168"/>
                  </a:lnTo>
                  <a:lnTo>
                    <a:pt x="74" y="170"/>
                  </a:lnTo>
                  <a:lnTo>
                    <a:pt x="74" y="170"/>
                  </a:lnTo>
                  <a:lnTo>
                    <a:pt x="77" y="173"/>
                  </a:lnTo>
                  <a:lnTo>
                    <a:pt x="81" y="173"/>
                  </a:lnTo>
                  <a:lnTo>
                    <a:pt x="85" y="172"/>
                  </a:lnTo>
                  <a:lnTo>
                    <a:pt x="85" y="170"/>
                  </a:lnTo>
                  <a:lnTo>
                    <a:pt x="85" y="170"/>
                  </a:lnTo>
                  <a:lnTo>
                    <a:pt x="87" y="169"/>
                  </a:lnTo>
                  <a:lnTo>
                    <a:pt x="88" y="169"/>
                  </a:lnTo>
                  <a:lnTo>
                    <a:pt x="94" y="172"/>
                  </a:lnTo>
                  <a:lnTo>
                    <a:pt x="94" y="172"/>
                  </a:lnTo>
                  <a:lnTo>
                    <a:pt x="97" y="173"/>
                  </a:lnTo>
                  <a:lnTo>
                    <a:pt x="102" y="175"/>
                  </a:lnTo>
                  <a:lnTo>
                    <a:pt x="112" y="176"/>
                  </a:lnTo>
                  <a:lnTo>
                    <a:pt x="112" y="176"/>
                  </a:lnTo>
                  <a:lnTo>
                    <a:pt x="121" y="178"/>
                  </a:lnTo>
                  <a:lnTo>
                    <a:pt x="129" y="176"/>
                  </a:lnTo>
                  <a:lnTo>
                    <a:pt x="129" y="176"/>
                  </a:lnTo>
                  <a:lnTo>
                    <a:pt x="128" y="173"/>
                  </a:lnTo>
                  <a:lnTo>
                    <a:pt x="128" y="173"/>
                  </a:lnTo>
                  <a:lnTo>
                    <a:pt x="128" y="169"/>
                  </a:lnTo>
                  <a:lnTo>
                    <a:pt x="128" y="166"/>
                  </a:lnTo>
                  <a:lnTo>
                    <a:pt x="131" y="162"/>
                  </a:lnTo>
                  <a:lnTo>
                    <a:pt x="135" y="159"/>
                  </a:lnTo>
                  <a:lnTo>
                    <a:pt x="141" y="156"/>
                  </a:lnTo>
                  <a:lnTo>
                    <a:pt x="141" y="156"/>
                  </a:lnTo>
                  <a:lnTo>
                    <a:pt x="148" y="156"/>
                  </a:lnTo>
                  <a:lnTo>
                    <a:pt x="158" y="159"/>
                  </a:lnTo>
                  <a:lnTo>
                    <a:pt x="165" y="161"/>
                  </a:lnTo>
                  <a:lnTo>
                    <a:pt x="171" y="163"/>
                  </a:lnTo>
                  <a:lnTo>
                    <a:pt x="171" y="163"/>
                  </a:lnTo>
                  <a:lnTo>
                    <a:pt x="175" y="165"/>
                  </a:lnTo>
                  <a:lnTo>
                    <a:pt x="179" y="165"/>
                  </a:lnTo>
                  <a:lnTo>
                    <a:pt x="184" y="162"/>
                  </a:lnTo>
                  <a:lnTo>
                    <a:pt x="189" y="158"/>
                  </a:lnTo>
                  <a:lnTo>
                    <a:pt x="189" y="158"/>
                  </a:lnTo>
                  <a:lnTo>
                    <a:pt x="195" y="152"/>
                  </a:lnTo>
                  <a:lnTo>
                    <a:pt x="199" y="151"/>
                  </a:lnTo>
                  <a:lnTo>
                    <a:pt x="199" y="151"/>
                  </a:lnTo>
                  <a:lnTo>
                    <a:pt x="201" y="145"/>
                  </a:lnTo>
                  <a:lnTo>
                    <a:pt x="201" y="145"/>
                  </a:lnTo>
                  <a:lnTo>
                    <a:pt x="201" y="143"/>
                  </a:lnTo>
                  <a:lnTo>
                    <a:pt x="199" y="143"/>
                  </a:lnTo>
                  <a:lnTo>
                    <a:pt x="193" y="142"/>
                  </a:lnTo>
                  <a:lnTo>
                    <a:pt x="193" y="142"/>
                  </a:lnTo>
                  <a:lnTo>
                    <a:pt x="191" y="142"/>
                  </a:lnTo>
                  <a:lnTo>
                    <a:pt x="189" y="141"/>
                  </a:lnTo>
                  <a:lnTo>
                    <a:pt x="189" y="138"/>
                  </a:lnTo>
                  <a:lnTo>
                    <a:pt x="191" y="135"/>
                  </a:lnTo>
                  <a:lnTo>
                    <a:pt x="191" y="135"/>
                  </a:lnTo>
                  <a:lnTo>
                    <a:pt x="191" y="132"/>
                  </a:lnTo>
                  <a:lnTo>
                    <a:pt x="189" y="131"/>
                  </a:lnTo>
                  <a:lnTo>
                    <a:pt x="185" y="126"/>
                  </a:lnTo>
                  <a:lnTo>
                    <a:pt x="185" y="126"/>
                  </a:lnTo>
                  <a:lnTo>
                    <a:pt x="185" y="125"/>
                  </a:lnTo>
                  <a:lnTo>
                    <a:pt x="185" y="124"/>
                  </a:lnTo>
                  <a:lnTo>
                    <a:pt x="189" y="122"/>
                  </a:lnTo>
                  <a:lnTo>
                    <a:pt x="189" y="122"/>
                  </a:lnTo>
                  <a:lnTo>
                    <a:pt x="192" y="119"/>
                  </a:lnTo>
                  <a:lnTo>
                    <a:pt x="192" y="118"/>
                  </a:lnTo>
                  <a:lnTo>
                    <a:pt x="192" y="116"/>
                  </a:lnTo>
                  <a:lnTo>
                    <a:pt x="192" y="116"/>
                  </a:lnTo>
                  <a:lnTo>
                    <a:pt x="189" y="114"/>
                  </a:lnTo>
                  <a:lnTo>
                    <a:pt x="189" y="111"/>
                  </a:lnTo>
                  <a:lnTo>
                    <a:pt x="191" y="108"/>
                  </a:lnTo>
                  <a:lnTo>
                    <a:pt x="191" y="108"/>
                  </a:lnTo>
                  <a:lnTo>
                    <a:pt x="191" y="106"/>
                  </a:lnTo>
                  <a:lnTo>
                    <a:pt x="189" y="104"/>
                  </a:lnTo>
                  <a:lnTo>
                    <a:pt x="188" y="102"/>
                  </a:lnTo>
                  <a:lnTo>
                    <a:pt x="188" y="101"/>
                  </a:lnTo>
                  <a:lnTo>
                    <a:pt x="188" y="101"/>
                  </a:lnTo>
                  <a:lnTo>
                    <a:pt x="186" y="98"/>
                  </a:lnTo>
                  <a:lnTo>
                    <a:pt x="185" y="98"/>
                  </a:lnTo>
                  <a:lnTo>
                    <a:pt x="182" y="98"/>
                  </a:lnTo>
                  <a:lnTo>
                    <a:pt x="181" y="99"/>
                  </a:lnTo>
                  <a:lnTo>
                    <a:pt x="181" y="99"/>
                  </a:lnTo>
                  <a:lnTo>
                    <a:pt x="178" y="102"/>
                  </a:lnTo>
                  <a:lnTo>
                    <a:pt x="176" y="101"/>
                  </a:lnTo>
                  <a:lnTo>
                    <a:pt x="176" y="99"/>
                  </a:lnTo>
                  <a:lnTo>
                    <a:pt x="178" y="95"/>
                  </a:lnTo>
                  <a:lnTo>
                    <a:pt x="178" y="95"/>
                  </a:lnTo>
                  <a:lnTo>
                    <a:pt x="181" y="91"/>
                  </a:lnTo>
                  <a:lnTo>
                    <a:pt x="184" y="87"/>
                  </a:lnTo>
                  <a:lnTo>
                    <a:pt x="186" y="84"/>
                  </a:lnTo>
                  <a:lnTo>
                    <a:pt x="188" y="82"/>
                  </a:lnTo>
                  <a:lnTo>
                    <a:pt x="188" y="82"/>
                  </a:lnTo>
                  <a:lnTo>
                    <a:pt x="189" y="79"/>
                  </a:lnTo>
                  <a:lnTo>
                    <a:pt x="192" y="77"/>
                  </a:lnTo>
                  <a:lnTo>
                    <a:pt x="193" y="75"/>
                  </a:lnTo>
                  <a:lnTo>
                    <a:pt x="196" y="75"/>
                  </a:lnTo>
                  <a:lnTo>
                    <a:pt x="196" y="75"/>
                  </a:lnTo>
                  <a:lnTo>
                    <a:pt x="198" y="74"/>
                  </a:lnTo>
                  <a:lnTo>
                    <a:pt x="199" y="71"/>
                  </a:lnTo>
                  <a:lnTo>
                    <a:pt x="201" y="62"/>
                  </a:lnTo>
                  <a:lnTo>
                    <a:pt x="201" y="62"/>
                  </a:lnTo>
                  <a:lnTo>
                    <a:pt x="202" y="57"/>
                  </a:lnTo>
                  <a:lnTo>
                    <a:pt x="203" y="52"/>
                  </a:lnTo>
                  <a:lnTo>
                    <a:pt x="206" y="50"/>
                  </a:lnTo>
                  <a:lnTo>
                    <a:pt x="206" y="50"/>
                  </a:lnTo>
                  <a:lnTo>
                    <a:pt x="208" y="47"/>
                  </a:lnTo>
                  <a:lnTo>
                    <a:pt x="208" y="45"/>
                  </a:lnTo>
                  <a:lnTo>
                    <a:pt x="205" y="45"/>
                  </a:lnTo>
                  <a:lnTo>
                    <a:pt x="203" y="44"/>
                  </a:lnTo>
                  <a:lnTo>
                    <a:pt x="203" y="44"/>
                  </a:lnTo>
                  <a:close/>
                  <a:moveTo>
                    <a:pt x="229" y="165"/>
                  </a:moveTo>
                  <a:lnTo>
                    <a:pt x="229" y="165"/>
                  </a:lnTo>
                  <a:lnTo>
                    <a:pt x="226" y="166"/>
                  </a:lnTo>
                  <a:lnTo>
                    <a:pt x="225" y="168"/>
                  </a:lnTo>
                  <a:lnTo>
                    <a:pt x="222" y="170"/>
                  </a:lnTo>
                  <a:lnTo>
                    <a:pt x="219" y="173"/>
                  </a:lnTo>
                  <a:lnTo>
                    <a:pt x="219" y="173"/>
                  </a:lnTo>
                  <a:lnTo>
                    <a:pt x="216" y="176"/>
                  </a:lnTo>
                  <a:lnTo>
                    <a:pt x="216" y="179"/>
                  </a:lnTo>
                  <a:lnTo>
                    <a:pt x="218" y="186"/>
                  </a:lnTo>
                  <a:lnTo>
                    <a:pt x="221" y="193"/>
                  </a:lnTo>
                  <a:lnTo>
                    <a:pt x="223" y="195"/>
                  </a:lnTo>
                  <a:lnTo>
                    <a:pt x="225" y="195"/>
                  </a:lnTo>
                  <a:lnTo>
                    <a:pt x="225" y="195"/>
                  </a:lnTo>
                  <a:lnTo>
                    <a:pt x="228" y="193"/>
                  </a:lnTo>
                  <a:lnTo>
                    <a:pt x="229" y="190"/>
                  </a:lnTo>
                  <a:lnTo>
                    <a:pt x="230" y="180"/>
                  </a:lnTo>
                  <a:lnTo>
                    <a:pt x="230" y="170"/>
                  </a:lnTo>
                  <a:lnTo>
                    <a:pt x="229" y="166"/>
                  </a:lnTo>
                  <a:lnTo>
                    <a:pt x="229" y="165"/>
                  </a:lnTo>
                  <a:lnTo>
                    <a:pt x="229" y="16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2" name="Freeform 313">
              <a:extLst>
                <a:ext uri="{FF2B5EF4-FFF2-40B4-BE49-F238E27FC236}">
                  <a16:creationId xmlns:a16="http://schemas.microsoft.com/office/drawing/2014/main" id="{9F0BCD7F-FAEC-6645-91B3-75DDE128F436}"/>
                </a:ext>
              </a:extLst>
            </p:cNvPr>
            <p:cNvSpPr>
              <a:spLocks/>
            </p:cNvSpPr>
            <p:nvPr/>
          </p:nvSpPr>
          <p:spPr bwMode="auto">
            <a:xfrm>
              <a:off x="4102909" y="3192504"/>
              <a:ext cx="298916" cy="216049"/>
            </a:xfrm>
            <a:custGeom>
              <a:avLst/>
              <a:gdLst/>
              <a:ahLst/>
              <a:cxnLst>
                <a:cxn ang="0">
                  <a:pos x="194" y="27"/>
                </a:cxn>
                <a:cxn ang="0">
                  <a:pos x="175" y="24"/>
                </a:cxn>
                <a:cxn ang="0">
                  <a:pos x="167" y="21"/>
                </a:cxn>
                <a:cxn ang="0">
                  <a:pos x="158" y="19"/>
                </a:cxn>
                <a:cxn ang="0">
                  <a:pos x="154" y="22"/>
                </a:cxn>
                <a:cxn ang="0">
                  <a:pos x="147" y="19"/>
                </a:cxn>
                <a:cxn ang="0">
                  <a:pos x="131" y="12"/>
                </a:cxn>
                <a:cxn ang="0">
                  <a:pos x="117" y="8"/>
                </a:cxn>
                <a:cxn ang="0">
                  <a:pos x="94" y="5"/>
                </a:cxn>
                <a:cxn ang="0">
                  <a:pos x="69" y="5"/>
                </a:cxn>
                <a:cxn ang="0">
                  <a:pos x="33" y="4"/>
                </a:cxn>
                <a:cxn ang="0">
                  <a:pos x="22" y="0"/>
                </a:cxn>
                <a:cxn ang="0">
                  <a:pos x="16" y="4"/>
                </a:cxn>
                <a:cxn ang="0">
                  <a:pos x="9" y="8"/>
                </a:cxn>
                <a:cxn ang="0">
                  <a:pos x="0" y="15"/>
                </a:cxn>
                <a:cxn ang="0">
                  <a:pos x="8" y="22"/>
                </a:cxn>
                <a:cxn ang="0">
                  <a:pos x="8" y="35"/>
                </a:cxn>
                <a:cxn ang="0">
                  <a:pos x="12" y="34"/>
                </a:cxn>
                <a:cxn ang="0">
                  <a:pos x="18" y="32"/>
                </a:cxn>
                <a:cxn ang="0">
                  <a:pos x="19" y="37"/>
                </a:cxn>
                <a:cxn ang="0">
                  <a:pos x="28" y="37"/>
                </a:cxn>
                <a:cxn ang="0">
                  <a:pos x="32" y="38"/>
                </a:cxn>
                <a:cxn ang="0">
                  <a:pos x="37" y="35"/>
                </a:cxn>
                <a:cxn ang="0">
                  <a:pos x="43" y="38"/>
                </a:cxn>
                <a:cxn ang="0">
                  <a:pos x="47" y="41"/>
                </a:cxn>
                <a:cxn ang="0">
                  <a:pos x="47" y="45"/>
                </a:cxn>
                <a:cxn ang="0">
                  <a:pos x="37" y="54"/>
                </a:cxn>
                <a:cxn ang="0">
                  <a:pos x="40" y="65"/>
                </a:cxn>
                <a:cxn ang="0">
                  <a:pos x="37" y="72"/>
                </a:cxn>
                <a:cxn ang="0">
                  <a:pos x="36" y="79"/>
                </a:cxn>
                <a:cxn ang="0">
                  <a:pos x="33" y="81"/>
                </a:cxn>
                <a:cxn ang="0">
                  <a:pos x="32" y="86"/>
                </a:cxn>
                <a:cxn ang="0">
                  <a:pos x="37" y="93"/>
                </a:cxn>
                <a:cxn ang="0">
                  <a:pos x="33" y="96"/>
                </a:cxn>
                <a:cxn ang="0">
                  <a:pos x="32" y="103"/>
                </a:cxn>
                <a:cxn ang="0">
                  <a:pos x="37" y="111"/>
                </a:cxn>
                <a:cxn ang="0">
                  <a:pos x="36" y="112"/>
                </a:cxn>
                <a:cxn ang="0">
                  <a:pos x="29" y="121"/>
                </a:cxn>
                <a:cxn ang="0">
                  <a:pos x="32" y="126"/>
                </a:cxn>
                <a:cxn ang="0">
                  <a:pos x="40" y="128"/>
                </a:cxn>
                <a:cxn ang="0">
                  <a:pos x="49" y="138"/>
                </a:cxn>
                <a:cxn ang="0">
                  <a:pos x="60" y="146"/>
                </a:cxn>
                <a:cxn ang="0">
                  <a:pos x="62" y="143"/>
                </a:cxn>
                <a:cxn ang="0">
                  <a:pos x="64" y="139"/>
                </a:cxn>
                <a:cxn ang="0">
                  <a:pos x="73" y="140"/>
                </a:cxn>
                <a:cxn ang="0">
                  <a:pos x="82" y="135"/>
                </a:cxn>
                <a:cxn ang="0">
                  <a:pos x="107" y="133"/>
                </a:cxn>
                <a:cxn ang="0">
                  <a:pos x="116" y="132"/>
                </a:cxn>
                <a:cxn ang="0">
                  <a:pos x="120" y="128"/>
                </a:cxn>
                <a:cxn ang="0">
                  <a:pos x="127" y="121"/>
                </a:cxn>
                <a:cxn ang="0">
                  <a:pos x="136" y="118"/>
                </a:cxn>
                <a:cxn ang="0">
                  <a:pos x="138" y="108"/>
                </a:cxn>
                <a:cxn ang="0">
                  <a:pos x="147" y="98"/>
                </a:cxn>
                <a:cxn ang="0">
                  <a:pos x="148" y="92"/>
                </a:cxn>
                <a:cxn ang="0">
                  <a:pos x="148" y="76"/>
                </a:cxn>
                <a:cxn ang="0">
                  <a:pos x="154" y="66"/>
                </a:cxn>
                <a:cxn ang="0">
                  <a:pos x="163" y="56"/>
                </a:cxn>
                <a:cxn ang="0">
                  <a:pos x="167" y="51"/>
                </a:cxn>
                <a:cxn ang="0">
                  <a:pos x="178" y="48"/>
                </a:cxn>
                <a:cxn ang="0">
                  <a:pos x="191" y="42"/>
                </a:cxn>
                <a:cxn ang="0">
                  <a:pos x="200" y="37"/>
                </a:cxn>
                <a:cxn ang="0">
                  <a:pos x="202" y="25"/>
                </a:cxn>
              </a:cxnLst>
              <a:rect l="0" t="0" r="r" b="b"/>
              <a:pathLst>
                <a:path w="202" h="146">
                  <a:moveTo>
                    <a:pt x="202" y="25"/>
                  </a:moveTo>
                  <a:lnTo>
                    <a:pt x="202" y="25"/>
                  </a:lnTo>
                  <a:lnTo>
                    <a:pt x="194" y="27"/>
                  </a:lnTo>
                  <a:lnTo>
                    <a:pt x="185" y="25"/>
                  </a:lnTo>
                  <a:lnTo>
                    <a:pt x="185" y="25"/>
                  </a:lnTo>
                  <a:lnTo>
                    <a:pt x="175" y="24"/>
                  </a:lnTo>
                  <a:lnTo>
                    <a:pt x="170" y="22"/>
                  </a:lnTo>
                  <a:lnTo>
                    <a:pt x="167" y="21"/>
                  </a:lnTo>
                  <a:lnTo>
                    <a:pt x="167" y="21"/>
                  </a:lnTo>
                  <a:lnTo>
                    <a:pt x="161" y="18"/>
                  </a:lnTo>
                  <a:lnTo>
                    <a:pt x="160" y="18"/>
                  </a:lnTo>
                  <a:lnTo>
                    <a:pt x="158" y="19"/>
                  </a:lnTo>
                  <a:lnTo>
                    <a:pt x="158" y="19"/>
                  </a:lnTo>
                  <a:lnTo>
                    <a:pt x="158" y="21"/>
                  </a:lnTo>
                  <a:lnTo>
                    <a:pt x="154" y="22"/>
                  </a:lnTo>
                  <a:lnTo>
                    <a:pt x="150" y="22"/>
                  </a:lnTo>
                  <a:lnTo>
                    <a:pt x="147" y="19"/>
                  </a:lnTo>
                  <a:lnTo>
                    <a:pt x="147" y="19"/>
                  </a:lnTo>
                  <a:lnTo>
                    <a:pt x="138" y="17"/>
                  </a:lnTo>
                  <a:lnTo>
                    <a:pt x="131" y="12"/>
                  </a:lnTo>
                  <a:lnTo>
                    <a:pt x="131" y="12"/>
                  </a:lnTo>
                  <a:lnTo>
                    <a:pt x="121" y="8"/>
                  </a:lnTo>
                  <a:lnTo>
                    <a:pt x="121" y="8"/>
                  </a:lnTo>
                  <a:lnTo>
                    <a:pt x="117" y="8"/>
                  </a:lnTo>
                  <a:lnTo>
                    <a:pt x="110" y="7"/>
                  </a:lnTo>
                  <a:lnTo>
                    <a:pt x="101" y="5"/>
                  </a:lnTo>
                  <a:lnTo>
                    <a:pt x="94" y="5"/>
                  </a:lnTo>
                  <a:lnTo>
                    <a:pt x="94" y="5"/>
                  </a:lnTo>
                  <a:lnTo>
                    <a:pt x="83" y="5"/>
                  </a:lnTo>
                  <a:lnTo>
                    <a:pt x="69" y="5"/>
                  </a:lnTo>
                  <a:lnTo>
                    <a:pt x="42" y="5"/>
                  </a:lnTo>
                  <a:lnTo>
                    <a:pt x="42" y="5"/>
                  </a:lnTo>
                  <a:lnTo>
                    <a:pt x="33" y="4"/>
                  </a:lnTo>
                  <a:lnTo>
                    <a:pt x="29" y="2"/>
                  </a:lnTo>
                  <a:lnTo>
                    <a:pt x="26" y="1"/>
                  </a:lnTo>
                  <a:lnTo>
                    <a:pt x="22" y="0"/>
                  </a:lnTo>
                  <a:lnTo>
                    <a:pt x="22" y="0"/>
                  </a:lnTo>
                  <a:lnTo>
                    <a:pt x="18" y="1"/>
                  </a:lnTo>
                  <a:lnTo>
                    <a:pt x="16" y="4"/>
                  </a:lnTo>
                  <a:lnTo>
                    <a:pt x="13" y="7"/>
                  </a:lnTo>
                  <a:lnTo>
                    <a:pt x="9" y="8"/>
                  </a:lnTo>
                  <a:lnTo>
                    <a:pt x="9" y="8"/>
                  </a:lnTo>
                  <a:lnTo>
                    <a:pt x="3" y="10"/>
                  </a:lnTo>
                  <a:lnTo>
                    <a:pt x="0" y="12"/>
                  </a:lnTo>
                  <a:lnTo>
                    <a:pt x="0" y="15"/>
                  </a:lnTo>
                  <a:lnTo>
                    <a:pt x="5" y="19"/>
                  </a:lnTo>
                  <a:lnTo>
                    <a:pt x="5" y="19"/>
                  </a:lnTo>
                  <a:lnTo>
                    <a:pt x="8" y="22"/>
                  </a:lnTo>
                  <a:lnTo>
                    <a:pt x="8" y="27"/>
                  </a:lnTo>
                  <a:lnTo>
                    <a:pt x="8" y="35"/>
                  </a:lnTo>
                  <a:lnTo>
                    <a:pt x="8" y="35"/>
                  </a:lnTo>
                  <a:lnTo>
                    <a:pt x="10" y="35"/>
                  </a:lnTo>
                  <a:lnTo>
                    <a:pt x="12" y="34"/>
                  </a:lnTo>
                  <a:lnTo>
                    <a:pt x="12" y="34"/>
                  </a:lnTo>
                  <a:lnTo>
                    <a:pt x="15" y="32"/>
                  </a:lnTo>
                  <a:lnTo>
                    <a:pt x="16" y="31"/>
                  </a:lnTo>
                  <a:lnTo>
                    <a:pt x="18" y="32"/>
                  </a:lnTo>
                  <a:lnTo>
                    <a:pt x="18" y="34"/>
                  </a:lnTo>
                  <a:lnTo>
                    <a:pt x="18" y="34"/>
                  </a:lnTo>
                  <a:lnTo>
                    <a:pt x="19" y="37"/>
                  </a:lnTo>
                  <a:lnTo>
                    <a:pt x="22" y="37"/>
                  </a:lnTo>
                  <a:lnTo>
                    <a:pt x="28" y="37"/>
                  </a:lnTo>
                  <a:lnTo>
                    <a:pt x="28" y="37"/>
                  </a:lnTo>
                  <a:lnTo>
                    <a:pt x="29" y="37"/>
                  </a:lnTo>
                  <a:lnTo>
                    <a:pt x="30" y="38"/>
                  </a:lnTo>
                  <a:lnTo>
                    <a:pt x="32" y="38"/>
                  </a:lnTo>
                  <a:lnTo>
                    <a:pt x="33" y="37"/>
                  </a:lnTo>
                  <a:lnTo>
                    <a:pt x="33" y="37"/>
                  </a:lnTo>
                  <a:lnTo>
                    <a:pt x="37" y="35"/>
                  </a:lnTo>
                  <a:lnTo>
                    <a:pt x="40" y="35"/>
                  </a:lnTo>
                  <a:lnTo>
                    <a:pt x="43" y="37"/>
                  </a:lnTo>
                  <a:lnTo>
                    <a:pt x="43" y="38"/>
                  </a:lnTo>
                  <a:lnTo>
                    <a:pt x="43" y="38"/>
                  </a:lnTo>
                  <a:lnTo>
                    <a:pt x="45" y="39"/>
                  </a:lnTo>
                  <a:lnTo>
                    <a:pt x="47" y="41"/>
                  </a:lnTo>
                  <a:lnTo>
                    <a:pt x="49" y="42"/>
                  </a:lnTo>
                  <a:lnTo>
                    <a:pt x="47" y="45"/>
                  </a:lnTo>
                  <a:lnTo>
                    <a:pt x="47" y="45"/>
                  </a:lnTo>
                  <a:lnTo>
                    <a:pt x="40" y="49"/>
                  </a:lnTo>
                  <a:lnTo>
                    <a:pt x="39" y="51"/>
                  </a:lnTo>
                  <a:lnTo>
                    <a:pt x="37" y="54"/>
                  </a:lnTo>
                  <a:lnTo>
                    <a:pt x="37" y="54"/>
                  </a:lnTo>
                  <a:lnTo>
                    <a:pt x="39" y="61"/>
                  </a:lnTo>
                  <a:lnTo>
                    <a:pt x="40" y="65"/>
                  </a:lnTo>
                  <a:lnTo>
                    <a:pt x="39" y="69"/>
                  </a:lnTo>
                  <a:lnTo>
                    <a:pt x="39" y="69"/>
                  </a:lnTo>
                  <a:lnTo>
                    <a:pt x="37" y="72"/>
                  </a:lnTo>
                  <a:lnTo>
                    <a:pt x="37" y="75"/>
                  </a:lnTo>
                  <a:lnTo>
                    <a:pt x="37" y="78"/>
                  </a:lnTo>
                  <a:lnTo>
                    <a:pt x="36" y="79"/>
                  </a:lnTo>
                  <a:lnTo>
                    <a:pt x="36" y="79"/>
                  </a:lnTo>
                  <a:lnTo>
                    <a:pt x="36" y="79"/>
                  </a:lnTo>
                  <a:lnTo>
                    <a:pt x="33" y="81"/>
                  </a:lnTo>
                  <a:lnTo>
                    <a:pt x="30" y="81"/>
                  </a:lnTo>
                  <a:lnTo>
                    <a:pt x="30" y="84"/>
                  </a:lnTo>
                  <a:lnTo>
                    <a:pt x="32" y="86"/>
                  </a:lnTo>
                  <a:lnTo>
                    <a:pt x="32" y="86"/>
                  </a:lnTo>
                  <a:lnTo>
                    <a:pt x="37" y="92"/>
                  </a:lnTo>
                  <a:lnTo>
                    <a:pt x="37" y="93"/>
                  </a:lnTo>
                  <a:lnTo>
                    <a:pt x="36" y="95"/>
                  </a:lnTo>
                  <a:lnTo>
                    <a:pt x="36" y="95"/>
                  </a:lnTo>
                  <a:lnTo>
                    <a:pt x="33" y="96"/>
                  </a:lnTo>
                  <a:lnTo>
                    <a:pt x="32" y="98"/>
                  </a:lnTo>
                  <a:lnTo>
                    <a:pt x="32" y="101"/>
                  </a:lnTo>
                  <a:lnTo>
                    <a:pt x="32" y="103"/>
                  </a:lnTo>
                  <a:lnTo>
                    <a:pt x="32" y="103"/>
                  </a:lnTo>
                  <a:lnTo>
                    <a:pt x="37" y="108"/>
                  </a:lnTo>
                  <a:lnTo>
                    <a:pt x="37" y="111"/>
                  </a:lnTo>
                  <a:lnTo>
                    <a:pt x="37" y="111"/>
                  </a:lnTo>
                  <a:lnTo>
                    <a:pt x="36" y="112"/>
                  </a:lnTo>
                  <a:lnTo>
                    <a:pt x="36" y="112"/>
                  </a:lnTo>
                  <a:lnTo>
                    <a:pt x="32" y="113"/>
                  </a:lnTo>
                  <a:lnTo>
                    <a:pt x="30" y="115"/>
                  </a:lnTo>
                  <a:lnTo>
                    <a:pt x="29" y="121"/>
                  </a:lnTo>
                  <a:lnTo>
                    <a:pt x="29" y="121"/>
                  </a:lnTo>
                  <a:lnTo>
                    <a:pt x="32" y="126"/>
                  </a:lnTo>
                  <a:lnTo>
                    <a:pt x="32" y="126"/>
                  </a:lnTo>
                  <a:lnTo>
                    <a:pt x="36" y="126"/>
                  </a:lnTo>
                  <a:lnTo>
                    <a:pt x="40" y="128"/>
                  </a:lnTo>
                  <a:lnTo>
                    <a:pt x="40" y="128"/>
                  </a:lnTo>
                  <a:lnTo>
                    <a:pt x="43" y="129"/>
                  </a:lnTo>
                  <a:lnTo>
                    <a:pt x="45" y="132"/>
                  </a:lnTo>
                  <a:lnTo>
                    <a:pt x="49" y="138"/>
                  </a:lnTo>
                  <a:lnTo>
                    <a:pt x="53" y="143"/>
                  </a:lnTo>
                  <a:lnTo>
                    <a:pt x="56" y="145"/>
                  </a:lnTo>
                  <a:lnTo>
                    <a:pt x="60" y="146"/>
                  </a:lnTo>
                  <a:lnTo>
                    <a:pt x="60" y="146"/>
                  </a:lnTo>
                  <a:lnTo>
                    <a:pt x="62" y="145"/>
                  </a:lnTo>
                  <a:lnTo>
                    <a:pt x="62" y="143"/>
                  </a:lnTo>
                  <a:lnTo>
                    <a:pt x="63" y="140"/>
                  </a:lnTo>
                  <a:lnTo>
                    <a:pt x="63" y="140"/>
                  </a:lnTo>
                  <a:lnTo>
                    <a:pt x="64" y="139"/>
                  </a:lnTo>
                  <a:lnTo>
                    <a:pt x="67" y="139"/>
                  </a:lnTo>
                  <a:lnTo>
                    <a:pt x="73" y="140"/>
                  </a:lnTo>
                  <a:lnTo>
                    <a:pt x="73" y="140"/>
                  </a:lnTo>
                  <a:lnTo>
                    <a:pt x="76" y="139"/>
                  </a:lnTo>
                  <a:lnTo>
                    <a:pt x="77" y="138"/>
                  </a:lnTo>
                  <a:lnTo>
                    <a:pt x="82" y="135"/>
                  </a:lnTo>
                  <a:lnTo>
                    <a:pt x="87" y="135"/>
                  </a:lnTo>
                  <a:lnTo>
                    <a:pt x="87" y="135"/>
                  </a:lnTo>
                  <a:lnTo>
                    <a:pt x="107" y="133"/>
                  </a:lnTo>
                  <a:lnTo>
                    <a:pt x="107" y="133"/>
                  </a:lnTo>
                  <a:lnTo>
                    <a:pt x="111" y="133"/>
                  </a:lnTo>
                  <a:lnTo>
                    <a:pt x="116" y="132"/>
                  </a:lnTo>
                  <a:lnTo>
                    <a:pt x="117" y="130"/>
                  </a:lnTo>
                  <a:lnTo>
                    <a:pt x="120" y="128"/>
                  </a:lnTo>
                  <a:lnTo>
                    <a:pt x="120" y="128"/>
                  </a:lnTo>
                  <a:lnTo>
                    <a:pt x="121" y="125"/>
                  </a:lnTo>
                  <a:lnTo>
                    <a:pt x="124" y="122"/>
                  </a:lnTo>
                  <a:lnTo>
                    <a:pt x="127" y="121"/>
                  </a:lnTo>
                  <a:lnTo>
                    <a:pt x="131" y="119"/>
                  </a:lnTo>
                  <a:lnTo>
                    <a:pt x="131" y="119"/>
                  </a:lnTo>
                  <a:lnTo>
                    <a:pt x="136" y="118"/>
                  </a:lnTo>
                  <a:lnTo>
                    <a:pt x="137" y="115"/>
                  </a:lnTo>
                  <a:lnTo>
                    <a:pt x="138" y="108"/>
                  </a:lnTo>
                  <a:lnTo>
                    <a:pt x="138" y="108"/>
                  </a:lnTo>
                  <a:lnTo>
                    <a:pt x="140" y="105"/>
                  </a:lnTo>
                  <a:lnTo>
                    <a:pt x="144" y="102"/>
                  </a:lnTo>
                  <a:lnTo>
                    <a:pt x="147" y="98"/>
                  </a:lnTo>
                  <a:lnTo>
                    <a:pt x="150" y="95"/>
                  </a:lnTo>
                  <a:lnTo>
                    <a:pt x="150" y="95"/>
                  </a:lnTo>
                  <a:lnTo>
                    <a:pt x="148" y="92"/>
                  </a:lnTo>
                  <a:lnTo>
                    <a:pt x="147" y="86"/>
                  </a:lnTo>
                  <a:lnTo>
                    <a:pt x="147" y="79"/>
                  </a:lnTo>
                  <a:lnTo>
                    <a:pt x="148" y="76"/>
                  </a:lnTo>
                  <a:lnTo>
                    <a:pt x="150" y="72"/>
                  </a:lnTo>
                  <a:lnTo>
                    <a:pt x="150" y="72"/>
                  </a:lnTo>
                  <a:lnTo>
                    <a:pt x="154" y="66"/>
                  </a:lnTo>
                  <a:lnTo>
                    <a:pt x="158" y="62"/>
                  </a:lnTo>
                  <a:lnTo>
                    <a:pt x="163" y="59"/>
                  </a:lnTo>
                  <a:lnTo>
                    <a:pt x="163" y="56"/>
                  </a:lnTo>
                  <a:lnTo>
                    <a:pt x="163" y="56"/>
                  </a:lnTo>
                  <a:lnTo>
                    <a:pt x="164" y="54"/>
                  </a:lnTo>
                  <a:lnTo>
                    <a:pt x="167" y="51"/>
                  </a:lnTo>
                  <a:lnTo>
                    <a:pt x="173" y="49"/>
                  </a:lnTo>
                  <a:lnTo>
                    <a:pt x="178" y="48"/>
                  </a:lnTo>
                  <a:lnTo>
                    <a:pt x="178" y="48"/>
                  </a:lnTo>
                  <a:lnTo>
                    <a:pt x="183" y="47"/>
                  </a:lnTo>
                  <a:lnTo>
                    <a:pt x="187" y="45"/>
                  </a:lnTo>
                  <a:lnTo>
                    <a:pt x="191" y="42"/>
                  </a:lnTo>
                  <a:lnTo>
                    <a:pt x="195" y="39"/>
                  </a:lnTo>
                  <a:lnTo>
                    <a:pt x="195" y="39"/>
                  </a:lnTo>
                  <a:lnTo>
                    <a:pt x="200" y="37"/>
                  </a:lnTo>
                  <a:lnTo>
                    <a:pt x="201" y="34"/>
                  </a:lnTo>
                  <a:lnTo>
                    <a:pt x="202" y="31"/>
                  </a:lnTo>
                  <a:lnTo>
                    <a:pt x="202" y="25"/>
                  </a:lnTo>
                  <a:lnTo>
                    <a:pt x="202" y="2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3" name="Freeform 314">
              <a:extLst>
                <a:ext uri="{FF2B5EF4-FFF2-40B4-BE49-F238E27FC236}">
                  <a16:creationId xmlns:a16="http://schemas.microsoft.com/office/drawing/2014/main" id="{D690A17F-74C9-F44C-9E9C-99DF6E6E9A83}"/>
                </a:ext>
              </a:extLst>
            </p:cNvPr>
            <p:cNvSpPr>
              <a:spLocks/>
            </p:cNvSpPr>
            <p:nvPr/>
          </p:nvSpPr>
          <p:spPr bwMode="auto">
            <a:xfrm>
              <a:off x="4629712" y="3099276"/>
              <a:ext cx="79908" cy="41434"/>
            </a:xfrm>
            <a:custGeom>
              <a:avLst/>
              <a:gdLst/>
              <a:ahLst/>
              <a:cxnLst>
                <a:cxn ang="0">
                  <a:pos x="0" y="26"/>
                </a:cxn>
                <a:cxn ang="0">
                  <a:pos x="0" y="26"/>
                </a:cxn>
                <a:cxn ang="0">
                  <a:pos x="7" y="24"/>
                </a:cxn>
                <a:cxn ang="0">
                  <a:pos x="12" y="24"/>
                </a:cxn>
                <a:cxn ang="0">
                  <a:pos x="12" y="24"/>
                </a:cxn>
                <a:cxn ang="0">
                  <a:pos x="13" y="26"/>
                </a:cxn>
                <a:cxn ang="0">
                  <a:pos x="14" y="28"/>
                </a:cxn>
                <a:cxn ang="0">
                  <a:pos x="14" y="28"/>
                </a:cxn>
                <a:cxn ang="0">
                  <a:pos x="26" y="27"/>
                </a:cxn>
                <a:cxn ang="0">
                  <a:pos x="26" y="27"/>
                </a:cxn>
                <a:cxn ang="0">
                  <a:pos x="27" y="27"/>
                </a:cxn>
                <a:cxn ang="0">
                  <a:pos x="31" y="27"/>
                </a:cxn>
                <a:cxn ang="0">
                  <a:pos x="34" y="28"/>
                </a:cxn>
                <a:cxn ang="0">
                  <a:pos x="36" y="27"/>
                </a:cxn>
                <a:cxn ang="0">
                  <a:pos x="36" y="27"/>
                </a:cxn>
                <a:cxn ang="0">
                  <a:pos x="37" y="23"/>
                </a:cxn>
                <a:cxn ang="0">
                  <a:pos x="39" y="21"/>
                </a:cxn>
                <a:cxn ang="0">
                  <a:pos x="41" y="20"/>
                </a:cxn>
                <a:cxn ang="0">
                  <a:pos x="41" y="20"/>
                </a:cxn>
                <a:cxn ang="0">
                  <a:pos x="43" y="18"/>
                </a:cxn>
                <a:cxn ang="0">
                  <a:pos x="43" y="17"/>
                </a:cxn>
                <a:cxn ang="0">
                  <a:pos x="43" y="14"/>
                </a:cxn>
                <a:cxn ang="0">
                  <a:pos x="44" y="13"/>
                </a:cxn>
                <a:cxn ang="0">
                  <a:pos x="44" y="13"/>
                </a:cxn>
                <a:cxn ang="0">
                  <a:pos x="51" y="9"/>
                </a:cxn>
                <a:cxn ang="0">
                  <a:pos x="54" y="6"/>
                </a:cxn>
                <a:cxn ang="0">
                  <a:pos x="54" y="6"/>
                </a:cxn>
                <a:cxn ang="0">
                  <a:pos x="53" y="3"/>
                </a:cxn>
                <a:cxn ang="0">
                  <a:pos x="51" y="0"/>
                </a:cxn>
                <a:cxn ang="0">
                  <a:pos x="51" y="0"/>
                </a:cxn>
                <a:cxn ang="0">
                  <a:pos x="47" y="1"/>
                </a:cxn>
                <a:cxn ang="0">
                  <a:pos x="44" y="3"/>
                </a:cxn>
                <a:cxn ang="0">
                  <a:pos x="40" y="3"/>
                </a:cxn>
                <a:cxn ang="0">
                  <a:pos x="40" y="3"/>
                </a:cxn>
                <a:cxn ang="0">
                  <a:pos x="36" y="4"/>
                </a:cxn>
                <a:cxn ang="0">
                  <a:pos x="31" y="6"/>
                </a:cxn>
                <a:cxn ang="0">
                  <a:pos x="29" y="7"/>
                </a:cxn>
                <a:cxn ang="0">
                  <a:pos x="26" y="9"/>
                </a:cxn>
                <a:cxn ang="0">
                  <a:pos x="26" y="9"/>
                </a:cxn>
                <a:cxn ang="0">
                  <a:pos x="19" y="7"/>
                </a:cxn>
                <a:cxn ang="0">
                  <a:pos x="9" y="4"/>
                </a:cxn>
                <a:cxn ang="0">
                  <a:pos x="9" y="4"/>
                </a:cxn>
                <a:cxn ang="0">
                  <a:pos x="2" y="4"/>
                </a:cxn>
                <a:cxn ang="0">
                  <a:pos x="2" y="4"/>
                </a:cxn>
                <a:cxn ang="0">
                  <a:pos x="2" y="14"/>
                </a:cxn>
                <a:cxn ang="0">
                  <a:pos x="0" y="26"/>
                </a:cxn>
                <a:cxn ang="0">
                  <a:pos x="0" y="26"/>
                </a:cxn>
              </a:cxnLst>
              <a:rect l="0" t="0" r="r" b="b"/>
              <a:pathLst>
                <a:path w="54" h="28">
                  <a:moveTo>
                    <a:pt x="0" y="26"/>
                  </a:moveTo>
                  <a:lnTo>
                    <a:pt x="0" y="26"/>
                  </a:lnTo>
                  <a:lnTo>
                    <a:pt x="7" y="24"/>
                  </a:lnTo>
                  <a:lnTo>
                    <a:pt x="12" y="24"/>
                  </a:lnTo>
                  <a:lnTo>
                    <a:pt x="12" y="24"/>
                  </a:lnTo>
                  <a:lnTo>
                    <a:pt x="13" y="26"/>
                  </a:lnTo>
                  <a:lnTo>
                    <a:pt x="14" y="28"/>
                  </a:lnTo>
                  <a:lnTo>
                    <a:pt x="14" y="28"/>
                  </a:lnTo>
                  <a:lnTo>
                    <a:pt x="26" y="27"/>
                  </a:lnTo>
                  <a:lnTo>
                    <a:pt x="26" y="27"/>
                  </a:lnTo>
                  <a:lnTo>
                    <a:pt x="27" y="27"/>
                  </a:lnTo>
                  <a:lnTo>
                    <a:pt x="31" y="27"/>
                  </a:lnTo>
                  <a:lnTo>
                    <a:pt x="34" y="28"/>
                  </a:lnTo>
                  <a:lnTo>
                    <a:pt x="36" y="27"/>
                  </a:lnTo>
                  <a:lnTo>
                    <a:pt x="36" y="27"/>
                  </a:lnTo>
                  <a:lnTo>
                    <a:pt x="37" y="23"/>
                  </a:lnTo>
                  <a:lnTo>
                    <a:pt x="39" y="21"/>
                  </a:lnTo>
                  <a:lnTo>
                    <a:pt x="41" y="20"/>
                  </a:lnTo>
                  <a:lnTo>
                    <a:pt x="41" y="20"/>
                  </a:lnTo>
                  <a:lnTo>
                    <a:pt x="43" y="18"/>
                  </a:lnTo>
                  <a:lnTo>
                    <a:pt x="43" y="17"/>
                  </a:lnTo>
                  <a:lnTo>
                    <a:pt x="43" y="14"/>
                  </a:lnTo>
                  <a:lnTo>
                    <a:pt x="44" y="13"/>
                  </a:lnTo>
                  <a:lnTo>
                    <a:pt x="44" y="13"/>
                  </a:lnTo>
                  <a:lnTo>
                    <a:pt x="51" y="9"/>
                  </a:lnTo>
                  <a:lnTo>
                    <a:pt x="54" y="6"/>
                  </a:lnTo>
                  <a:lnTo>
                    <a:pt x="54" y="6"/>
                  </a:lnTo>
                  <a:lnTo>
                    <a:pt x="53" y="3"/>
                  </a:lnTo>
                  <a:lnTo>
                    <a:pt x="51" y="0"/>
                  </a:lnTo>
                  <a:lnTo>
                    <a:pt x="51" y="0"/>
                  </a:lnTo>
                  <a:lnTo>
                    <a:pt x="47" y="1"/>
                  </a:lnTo>
                  <a:lnTo>
                    <a:pt x="44" y="3"/>
                  </a:lnTo>
                  <a:lnTo>
                    <a:pt x="40" y="3"/>
                  </a:lnTo>
                  <a:lnTo>
                    <a:pt x="40" y="3"/>
                  </a:lnTo>
                  <a:lnTo>
                    <a:pt x="36" y="4"/>
                  </a:lnTo>
                  <a:lnTo>
                    <a:pt x="31" y="6"/>
                  </a:lnTo>
                  <a:lnTo>
                    <a:pt x="29" y="7"/>
                  </a:lnTo>
                  <a:lnTo>
                    <a:pt x="26" y="9"/>
                  </a:lnTo>
                  <a:lnTo>
                    <a:pt x="26" y="9"/>
                  </a:lnTo>
                  <a:lnTo>
                    <a:pt x="19" y="7"/>
                  </a:lnTo>
                  <a:lnTo>
                    <a:pt x="9" y="4"/>
                  </a:lnTo>
                  <a:lnTo>
                    <a:pt x="9" y="4"/>
                  </a:lnTo>
                  <a:lnTo>
                    <a:pt x="2" y="4"/>
                  </a:lnTo>
                  <a:lnTo>
                    <a:pt x="2" y="4"/>
                  </a:lnTo>
                  <a:lnTo>
                    <a:pt x="2" y="14"/>
                  </a:lnTo>
                  <a:lnTo>
                    <a:pt x="0" y="26"/>
                  </a:lnTo>
                  <a:lnTo>
                    <a:pt x="0" y="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4" name="Freeform 315">
              <a:extLst>
                <a:ext uri="{FF2B5EF4-FFF2-40B4-BE49-F238E27FC236}">
                  <a16:creationId xmlns:a16="http://schemas.microsoft.com/office/drawing/2014/main" id="{8949859E-E255-434E-9BFA-4AE58E442C2D}"/>
                </a:ext>
              </a:extLst>
            </p:cNvPr>
            <p:cNvSpPr>
              <a:spLocks noEditPoints="1"/>
            </p:cNvSpPr>
            <p:nvPr/>
          </p:nvSpPr>
          <p:spPr bwMode="auto">
            <a:xfrm>
              <a:off x="4793967" y="3248735"/>
              <a:ext cx="152418" cy="187933"/>
            </a:xfrm>
            <a:custGeom>
              <a:avLst/>
              <a:gdLst/>
              <a:ahLst/>
              <a:cxnLst>
                <a:cxn ang="0">
                  <a:pos x="94" y="3"/>
                </a:cxn>
                <a:cxn ang="0">
                  <a:pos x="93" y="7"/>
                </a:cxn>
                <a:cxn ang="0">
                  <a:pos x="70" y="4"/>
                </a:cxn>
                <a:cxn ang="0">
                  <a:pos x="48" y="4"/>
                </a:cxn>
                <a:cxn ang="0">
                  <a:pos x="41" y="10"/>
                </a:cxn>
                <a:cxn ang="0">
                  <a:pos x="31" y="11"/>
                </a:cxn>
                <a:cxn ang="0">
                  <a:pos x="26" y="17"/>
                </a:cxn>
                <a:cxn ang="0">
                  <a:pos x="14" y="18"/>
                </a:cxn>
                <a:cxn ang="0">
                  <a:pos x="9" y="28"/>
                </a:cxn>
                <a:cxn ang="0">
                  <a:pos x="6" y="33"/>
                </a:cxn>
                <a:cxn ang="0">
                  <a:pos x="0" y="41"/>
                </a:cxn>
                <a:cxn ang="0">
                  <a:pos x="7" y="47"/>
                </a:cxn>
                <a:cxn ang="0">
                  <a:pos x="11" y="60"/>
                </a:cxn>
                <a:cxn ang="0">
                  <a:pos x="21" y="60"/>
                </a:cxn>
                <a:cxn ang="0">
                  <a:pos x="34" y="63"/>
                </a:cxn>
                <a:cxn ang="0">
                  <a:pos x="34" y="65"/>
                </a:cxn>
                <a:cxn ang="0">
                  <a:pos x="19" y="67"/>
                </a:cxn>
                <a:cxn ang="0">
                  <a:pos x="19" y="73"/>
                </a:cxn>
                <a:cxn ang="0">
                  <a:pos x="21" y="80"/>
                </a:cxn>
                <a:cxn ang="0">
                  <a:pos x="30" y="91"/>
                </a:cxn>
                <a:cxn ang="0">
                  <a:pos x="43" y="98"/>
                </a:cxn>
                <a:cxn ang="0">
                  <a:pos x="46" y="95"/>
                </a:cxn>
                <a:cxn ang="0">
                  <a:pos x="43" y="83"/>
                </a:cxn>
                <a:cxn ang="0">
                  <a:pos x="54" y="81"/>
                </a:cxn>
                <a:cxn ang="0">
                  <a:pos x="50" y="75"/>
                </a:cxn>
                <a:cxn ang="0">
                  <a:pos x="44" y="73"/>
                </a:cxn>
                <a:cxn ang="0">
                  <a:pos x="56" y="74"/>
                </a:cxn>
                <a:cxn ang="0">
                  <a:pos x="66" y="68"/>
                </a:cxn>
                <a:cxn ang="0">
                  <a:pos x="58" y="58"/>
                </a:cxn>
                <a:cxn ang="0">
                  <a:pos x="48" y="60"/>
                </a:cxn>
                <a:cxn ang="0">
                  <a:pos x="43" y="55"/>
                </a:cxn>
                <a:cxn ang="0">
                  <a:pos x="50" y="50"/>
                </a:cxn>
                <a:cxn ang="0">
                  <a:pos x="37" y="31"/>
                </a:cxn>
                <a:cxn ang="0">
                  <a:pos x="38" y="26"/>
                </a:cxn>
                <a:cxn ang="0">
                  <a:pos x="48" y="30"/>
                </a:cxn>
                <a:cxn ang="0">
                  <a:pos x="58" y="28"/>
                </a:cxn>
                <a:cxn ang="0">
                  <a:pos x="58" y="20"/>
                </a:cxn>
                <a:cxn ang="0">
                  <a:pos x="66" y="16"/>
                </a:cxn>
                <a:cxn ang="0">
                  <a:pos x="73" y="20"/>
                </a:cxn>
                <a:cxn ang="0">
                  <a:pos x="83" y="14"/>
                </a:cxn>
                <a:cxn ang="0">
                  <a:pos x="97" y="17"/>
                </a:cxn>
                <a:cxn ang="0">
                  <a:pos x="100" y="10"/>
                </a:cxn>
                <a:cxn ang="0">
                  <a:pos x="101" y="0"/>
                </a:cxn>
                <a:cxn ang="0">
                  <a:pos x="83" y="119"/>
                </a:cxn>
                <a:cxn ang="0">
                  <a:pos x="63" y="117"/>
                </a:cxn>
                <a:cxn ang="0">
                  <a:pos x="54" y="117"/>
                </a:cxn>
                <a:cxn ang="0">
                  <a:pos x="53" y="121"/>
                </a:cxn>
                <a:cxn ang="0">
                  <a:pos x="75" y="127"/>
                </a:cxn>
                <a:cxn ang="0">
                  <a:pos x="98" y="121"/>
                </a:cxn>
                <a:cxn ang="0">
                  <a:pos x="91" y="121"/>
                </a:cxn>
              </a:cxnLst>
              <a:rect l="0" t="0" r="r" b="b"/>
              <a:pathLst>
                <a:path w="103" h="127">
                  <a:moveTo>
                    <a:pt x="101" y="0"/>
                  </a:moveTo>
                  <a:lnTo>
                    <a:pt x="101" y="0"/>
                  </a:lnTo>
                  <a:lnTo>
                    <a:pt x="95" y="1"/>
                  </a:lnTo>
                  <a:lnTo>
                    <a:pt x="94" y="3"/>
                  </a:lnTo>
                  <a:lnTo>
                    <a:pt x="94" y="4"/>
                  </a:lnTo>
                  <a:lnTo>
                    <a:pt x="94" y="4"/>
                  </a:lnTo>
                  <a:lnTo>
                    <a:pt x="93" y="6"/>
                  </a:lnTo>
                  <a:lnTo>
                    <a:pt x="93" y="7"/>
                  </a:lnTo>
                  <a:lnTo>
                    <a:pt x="87" y="7"/>
                  </a:lnTo>
                  <a:lnTo>
                    <a:pt x="87" y="7"/>
                  </a:lnTo>
                  <a:lnTo>
                    <a:pt x="80" y="7"/>
                  </a:lnTo>
                  <a:lnTo>
                    <a:pt x="70" y="4"/>
                  </a:lnTo>
                  <a:lnTo>
                    <a:pt x="70" y="4"/>
                  </a:lnTo>
                  <a:lnTo>
                    <a:pt x="67" y="4"/>
                  </a:lnTo>
                  <a:lnTo>
                    <a:pt x="60" y="4"/>
                  </a:lnTo>
                  <a:lnTo>
                    <a:pt x="48" y="4"/>
                  </a:lnTo>
                  <a:lnTo>
                    <a:pt x="48" y="4"/>
                  </a:lnTo>
                  <a:lnTo>
                    <a:pt x="48" y="6"/>
                  </a:lnTo>
                  <a:lnTo>
                    <a:pt x="48" y="6"/>
                  </a:lnTo>
                  <a:lnTo>
                    <a:pt x="41" y="10"/>
                  </a:lnTo>
                  <a:lnTo>
                    <a:pt x="36" y="11"/>
                  </a:lnTo>
                  <a:lnTo>
                    <a:pt x="33" y="11"/>
                  </a:lnTo>
                  <a:lnTo>
                    <a:pt x="33" y="11"/>
                  </a:lnTo>
                  <a:lnTo>
                    <a:pt x="31" y="11"/>
                  </a:lnTo>
                  <a:lnTo>
                    <a:pt x="30" y="13"/>
                  </a:lnTo>
                  <a:lnTo>
                    <a:pt x="29" y="16"/>
                  </a:lnTo>
                  <a:lnTo>
                    <a:pt x="26" y="17"/>
                  </a:lnTo>
                  <a:lnTo>
                    <a:pt x="26" y="17"/>
                  </a:lnTo>
                  <a:lnTo>
                    <a:pt x="19" y="17"/>
                  </a:lnTo>
                  <a:lnTo>
                    <a:pt x="16" y="17"/>
                  </a:lnTo>
                  <a:lnTo>
                    <a:pt x="14" y="18"/>
                  </a:lnTo>
                  <a:lnTo>
                    <a:pt x="14" y="18"/>
                  </a:lnTo>
                  <a:lnTo>
                    <a:pt x="13" y="23"/>
                  </a:lnTo>
                  <a:lnTo>
                    <a:pt x="9" y="27"/>
                  </a:lnTo>
                  <a:lnTo>
                    <a:pt x="9" y="27"/>
                  </a:lnTo>
                  <a:lnTo>
                    <a:pt x="9" y="28"/>
                  </a:lnTo>
                  <a:lnTo>
                    <a:pt x="7" y="31"/>
                  </a:lnTo>
                  <a:lnTo>
                    <a:pt x="7" y="33"/>
                  </a:lnTo>
                  <a:lnTo>
                    <a:pt x="6" y="33"/>
                  </a:lnTo>
                  <a:lnTo>
                    <a:pt x="6" y="33"/>
                  </a:lnTo>
                  <a:lnTo>
                    <a:pt x="4" y="34"/>
                  </a:lnTo>
                  <a:lnTo>
                    <a:pt x="3" y="37"/>
                  </a:lnTo>
                  <a:lnTo>
                    <a:pt x="0" y="41"/>
                  </a:lnTo>
                  <a:lnTo>
                    <a:pt x="0" y="41"/>
                  </a:lnTo>
                  <a:lnTo>
                    <a:pt x="2" y="43"/>
                  </a:lnTo>
                  <a:lnTo>
                    <a:pt x="2" y="43"/>
                  </a:lnTo>
                  <a:lnTo>
                    <a:pt x="4" y="44"/>
                  </a:lnTo>
                  <a:lnTo>
                    <a:pt x="7" y="47"/>
                  </a:lnTo>
                  <a:lnTo>
                    <a:pt x="10" y="51"/>
                  </a:lnTo>
                  <a:lnTo>
                    <a:pt x="10" y="55"/>
                  </a:lnTo>
                  <a:lnTo>
                    <a:pt x="10" y="55"/>
                  </a:lnTo>
                  <a:lnTo>
                    <a:pt x="11" y="60"/>
                  </a:lnTo>
                  <a:lnTo>
                    <a:pt x="14" y="61"/>
                  </a:lnTo>
                  <a:lnTo>
                    <a:pt x="17" y="63"/>
                  </a:lnTo>
                  <a:lnTo>
                    <a:pt x="21" y="60"/>
                  </a:lnTo>
                  <a:lnTo>
                    <a:pt x="21" y="60"/>
                  </a:lnTo>
                  <a:lnTo>
                    <a:pt x="23" y="58"/>
                  </a:lnTo>
                  <a:lnTo>
                    <a:pt x="26" y="58"/>
                  </a:lnTo>
                  <a:lnTo>
                    <a:pt x="30" y="60"/>
                  </a:lnTo>
                  <a:lnTo>
                    <a:pt x="34" y="63"/>
                  </a:lnTo>
                  <a:lnTo>
                    <a:pt x="36" y="65"/>
                  </a:lnTo>
                  <a:lnTo>
                    <a:pt x="36" y="65"/>
                  </a:lnTo>
                  <a:lnTo>
                    <a:pt x="36" y="65"/>
                  </a:lnTo>
                  <a:lnTo>
                    <a:pt x="34" y="65"/>
                  </a:lnTo>
                  <a:lnTo>
                    <a:pt x="30" y="65"/>
                  </a:lnTo>
                  <a:lnTo>
                    <a:pt x="24" y="65"/>
                  </a:lnTo>
                  <a:lnTo>
                    <a:pt x="21" y="65"/>
                  </a:lnTo>
                  <a:lnTo>
                    <a:pt x="19" y="67"/>
                  </a:lnTo>
                  <a:lnTo>
                    <a:pt x="19" y="67"/>
                  </a:lnTo>
                  <a:lnTo>
                    <a:pt x="17" y="68"/>
                  </a:lnTo>
                  <a:lnTo>
                    <a:pt x="17" y="70"/>
                  </a:lnTo>
                  <a:lnTo>
                    <a:pt x="19" y="73"/>
                  </a:lnTo>
                  <a:lnTo>
                    <a:pt x="21" y="77"/>
                  </a:lnTo>
                  <a:lnTo>
                    <a:pt x="21" y="78"/>
                  </a:lnTo>
                  <a:lnTo>
                    <a:pt x="21" y="80"/>
                  </a:lnTo>
                  <a:lnTo>
                    <a:pt x="21" y="80"/>
                  </a:lnTo>
                  <a:lnTo>
                    <a:pt x="21" y="84"/>
                  </a:lnTo>
                  <a:lnTo>
                    <a:pt x="23" y="87"/>
                  </a:lnTo>
                  <a:lnTo>
                    <a:pt x="27" y="90"/>
                  </a:lnTo>
                  <a:lnTo>
                    <a:pt x="30" y="91"/>
                  </a:lnTo>
                  <a:lnTo>
                    <a:pt x="30" y="91"/>
                  </a:lnTo>
                  <a:lnTo>
                    <a:pt x="34" y="92"/>
                  </a:lnTo>
                  <a:lnTo>
                    <a:pt x="38" y="95"/>
                  </a:lnTo>
                  <a:lnTo>
                    <a:pt x="43" y="98"/>
                  </a:lnTo>
                  <a:lnTo>
                    <a:pt x="46" y="98"/>
                  </a:lnTo>
                  <a:lnTo>
                    <a:pt x="46" y="98"/>
                  </a:lnTo>
                  <a:lnTo>
                    <a:pt x="46" y="97"/>
                  </a:lnTo>
                  <a:lnTo>
                    <a:pt x="46" y="95"/>
                  </a:lnTo>
                  <a:lnTo>
                    <a:pt x="44" y="90"/>
                  </a:lnTo>
                  <a:lnTo>
                    <a:pt x="43" y="85"/>
                  </a:lnTo>
                  <a:lnTo>
                    <a:pt x="43" y="83"/>
                  </a:lnTo>
                  <a:lnTo>
                    <a:pt x="43" y="83"/>
                  </a:lnTo>
                  <a:lnTo>
                    <a:pt x="44" y="83"/>
                  </a:lnTo>
                  <a:lnTo>
                    <a:pt x="47" y="83"/>
                  </a:lnTo>
                  <a:lnTo>
                    <a:pt x="50" y="83"/>
                  </a:lnTo>
                  <a:lnTo>
                    <a:pt x="54" y="81"/>
                  </a:lnTo>
                  <a:lnTo>
                    <a:pt x="54" y="81"/>
                  </a:lnTo>
                  <a:lnTo>
                    <a:pt x="54" y="80"/>
                  </a:lnTo>
                  <a:lnTo>
                    <a:pt x="53" y="77"/>
                  </a:lnTo>
                  <a:lnTo>
                    <a:pt x="50" y="75"/>
                  </a:lnTo>
                  <a:lnTo>
                    <a:pt x="46" y="75"/>
                  </a:lnTo>
                  <a:lnTo>
                    <a:pt x="46" y="75"/>
                  </a:lnTo>
                  <a:lnTo>
                    <a:pt x="44" y="74"/>
                  </a:lnTo>
                  <a:lnTo>
                    <a:pt x="44" y="73"/>
                  </a:lnTo>
                  <a:lnTo>
                    <a:pt x="47" y="71"/>
                  </a:lnTo>
                  <a:lnTo>
                    <a:pt x="51" y="73"/>
                  </a:lnTo>
                  <a:lnTo>
                    <a:pt x="51" y="73"/>
                  </a:lnTo>
                  <a:lnTo>
                    <a:pt x="56" y="74"/>
                  </a:lnTo>
                  <a:lnTo>
                    <a:pt x="58" y="73"/>
                  </a:lnTo>
                  <a:lnTo>
                    <a:pt x="64" y="71"/>
                  </a:lnTo>
                  <a:lnTo>
                    <a:pt x="64" y="71"/>
                  </a:lnTo>
                  <a:lnTo>
                    <a:pt x="66" y="68"/>
                  </a:lnTo>
                  <a:lnTo>
                    <a:pt x="66" y="65"/>
                  </a:lnTo>
                  <a:lnTo>
                    <a:pt x="63" y="61"/>
                  </a:lnTo>
                  <a:lnTo>
                    <a:pt x="61" y="58"/>
                  </a:lnTo>
                  <a:lnTo>
                    <a:pt x="58" y="58"/>
                  </a:lnTo>
                  <a:lnTo>
                    <a:pt x="58" y="58"/>
                  </a:lnTo>
                  <a:lnTo>
                    <a:pt x="53" y="58"/>
                  </a:lnTo>
                  <a:lnTo>
                    <a:pt x="50" y="60"/>
                  </a:lnTo>
                  <a:lnTo>
                    <a:pt x="48" y="60"/>
                  </a:lnTo>
                  <a:lnTo>
                    <a:pt x="46" y="58"/>
                  </a:lnTo>
                  <a:lnTo>
                    <a:pt x="46" y="58"/>
                  </a:lnTo>
                  <a:lnTo>
                    <a:pt x="44" y="57"/>
                  </a:lnTo>
                  <a:lnTo>
                    <a:pt x="43" y="55"/>
                  </a:lnTo>
                  <a:lnTo>
                    <a:pt x="46" y="54"/>
                  </a:lnTo>
                  <a:lnTo>
                    <a:pt x="48" y="53"/>
                  </a:lnTo>
                  <a:lnTo>
                    <a:pt x="50" y="51"/>
                  </a:lnTo>
                  <a:lnTo>
                    <a:pt x="50" y="50"/>
                  </a:lnTo>
                  <a:lnTo>
                    <a:pt x="50" y="50"/>
                  </a:lnTo>
                  <a:lnTo>
                    <a:pt x="48" y="46"/>
                  </a:lnTo>
                  <a:lnTo>
                    <a:pt x="46" y="41"/>
                  </a:lnTo>
                  <a:lnTo>
                    <a:pt x="37" y="31"/>
                  </a:lnTo>
                  <a:lnTo>
                    <a:pt x="37" y="31"/>
                  </a:lnTo>
                  <a:lnTo>
                    <a:pt x="36" y="30"/>
                  </a:lnTo>
                  <a:lnTo>
                    <a:pt x="36" y="28"/>
                  </a:lnTo>
                  <a:lnTo>
                    <a:pt x="38" y="26"/>
                  </a:lnTo>
                  <a:lnTo>
                    <a:pt x="43" y="26"/>
                  </a:lnTo>
                  <a:lnTo>
                    <a:pt x="46" y="27"/>
                  </a:lnTo>
                  <a:lnTo>
                    <a:pt x="46" y="27"/>
                  </a:lnTo>
                  <a:lnTo>
                    <a:pt x="48" y="30"/>
                  </a:lnTo>
                  <a:lnTo>
                    <a:pt x="51" y="30"/>
                  </a:lnTo>
                  <a:lnTo>
                    <a:pt x="54" y="30"/>
                  </a:lnTo>
                  <a:lnTo>
                    <a:pt x="58" y="28"/>
                  </a:lnTo>
                  <a:lnTo>
                    <a:pt x="58" y="28"/>
                  </a:lnTo>
                  <a:lnTo>
                    <a:pt x="60" y="28"/>
                  </a:lnTo>
                  <a:lnTo>
                    <a:pt x="60" y="27"/>
                  </a:lnTo>
                  <a:lnTo>
                    <a:pt x="58" y="23"/>
                  </a:lnTo>
                  <a:lnTo>
                    <a:pt x="58" y="20"/>
                  </a:lnTo>
                  <a:lnTo>
                    <a:pt x="60" y="18"/>
                  </a:lnTo>
                  <a:lnTo>
                    <a:pt x="61" y="17"/>
                  </a:lnTo>
                  <a:lnTo>
                    <a:pt x="61" y="17"/>
                  </a:lnTo>
                  <a:lnTo>
                    <a:pt x="66" y="16"/>
                  </a:lnTo>
                  <a:lnTo>
                    <a:pt x="68" y="17"/>
                  </a:lnTo>
                  <a:lnTo>
                    <a:pt x="71" y="20"/>
                  </a:lnTo>
                  <a:lnTo>
                    <a:pt x="71" y="20"/>
                  </a:lnTo>
                  <a:lnTo>
                    <a:pt x="73" y="20"/>
                  </a:lnTo>
                  <a:lnTo>
                    <a:pt x="75" y="17"/>
                  </a:lnTo>
                  <a:lnTo>
                    <a:pt x="78" y="16"/>
                  </a:lnTo>
                  <a:lnTo>
                    <a:pt x="83" y="14"/>
                  </a:lnTo>
                  <a:lnTo>
                    <a:pt x="83" y="14"/>
                  </a:lnTo>
                  <a:lnTo>
                    <a:pt x="88" y="16"/>
                  </a:lnTo>
                  <a:lnTo>
                    <a:pt x="94" y="20"/>
                  </a:lnTo>
                  <a:lnTo>
                    <a:pt x="94" y="20"/>
                  </a:lnTo>
                  <a:lnTo>
                    <a:pt x="97" y="17"/>
                  </a:lnTo>
                  <a:lnTo>
                    <a:pt x="98" y="14"/>
                  </a:lnTo>
                  <a:lnTo>
                    <a:pt x="98" y="14"/>
                  </a:lnTo>
                  <a:lnTo>
                    <a:pt x="98" y="11"/>
                  </a:lnTo>
                  <a:lnTo>
                    <a:pt x="100" y="10"/>
                  </a:lnTo>
                  <a:lnTo>
                    <a:pt x="101" y="9"/>
                  </a:lnTo>
                  <a:lnTo>
                    <a:pt x="103" y="6"/>
                  </a:lnTo>
                  <a:lnTo>
                    <a:pt x="103" y="6"/>
                  </a:lnTo>
                  <a:lnTo>
                    <a:pt x="101" y="0"/>
                  </a:lnTo>
                  <a:lnTo>
                    <a:pt x="101" y="0"/>
                  </a:lnTo>
                  <a:close/>
                  <a:moveTo>
                    <a:pt x="88" y="119"/>
                  </a:moveTo>
                  <a:lnTo>
                    <a:pt x="88" y="119"/>
                  </a:lnTo>
                  <a:lnTo>
                    <a:pt x="83" y="119"/>
                  </a:lnTo>
                  <a:lnTo>
                    <a:pt x="75" y="119"/>
                  </a:lnTo>
                  <a:lnTo>
                    <a:pt x="67" y="118"/>
                  </a:lnTo>
                  <a:lnTo>
                    <a:pt x="64" y="118"/>
                  </a:lnTo>
                  <a:lnTo>
                    <a:pt x="63" y="117"/>
                  </a:lnTo>
                  <a:lnTo>
                    <a:pt x="63" y="117"/>
                  </a:lnTo>
                  <a:lnTo>
                    <a:pt x="60" y="115"/>
                  </a:lnTo>
                  <a:lnTo>
                    <a:pt x="58" y="115"/>
                  </a:lnTo>
                  <a:lnTo>
                    <a:pt x="54" y="117"/>
                  </a:lnTo>
                  <a:lnTo>
                    <a:pt x="51" y="119"/>
                  </a:lnTo>
                  <a:lnTo>
                    <a:pt x="51" y="121"/>
                  </a:lnTo>
                  <a:lnTo>
                    <a:pt x="53" y="121"/>
                  </a:lnTo>
                  <a:lnTo>
                    <a:pt x="53" y="121"/>
                  </a:lnTo>
                  <a:lnTo>
                    <a:pt x="63" y="124"/>
                  </a:lnTo>
                  <a:lnTo>
                    <a:pt x="70" y="127"/>
                  </a:lnTo>
                  <a:lnTo>
                    <a:pt x="75" y="127"/>
                  </a:lnTo>
                  <a:lnTo>
                    <a:pt x="75" y="127"/>
                  </a:lnTo>
                  <a:lnTo>
                    <a:pt x="83" y="127"/>
                  </a:lnTo>
                  <a:lnTo>
                    <a:pt x="90" y="125"/>
                  </a:lnTo>
                  <a:lnTo>
                    <a:pt x="95" y="122"/>
                  </a:lnTo>
                  <a:lnTo>
                    <a:pt x="98" y="121"/>
                  </a:lnTo>
                  <a:lnTo>
                    <a:pt x="98" y="121"/>
                  </a:lnTo>
                  <a:lnTo>
                    <a:pt x="97" y="119"/>
                  </a:lnTo>
                  <a:lnTo>
                    <a:pt x="94" y="119"/>
                  </a:lnTo>
                  <a:lnTo>
                    <a:pt x="91" y="121"/>
                  </a:lnTo>
                  <a:lnTo>
                    <a:pt x="88" y="119"/>
                  </a:lnTo>
                  <a:lnTo>
                    <a:pt x="88" y="11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5" name="Freeform 316">
              <a:extLst>
                <a:ext uri="{FF2B5EF4-FFF2-40B4-BE49-F238E27FC236}">
                  <a16:creationId xmlns:a16="http://schemas.microsoft.com/office/drawing/2014/main" id="{29FA9C35-02DC-4740-B80F-3E95524442AA}"/>
                </a:ext>
              </a:extLst>
            </p:cNvPr>
            <p:cNvSpPr>
              <a:spLocks/>
            </p:cNvSpPr>
            <p:nvPr/>
          </p:nvSpPr>
          <p:spPr bwMode="auto">
            <a:xfrm>
              <a:off x="5078086" y="3414471"/>
              <a:ext cx="54753" cy="29596"/>
            </a:xfrm>
            <a:custGeom>
              <a:avLst/>
              <a:gdLst/>
              <a:ahLst/>
              <a:cxnLst>
                <a:cxn ang="0">
                  <a:pos x="26" y="15"/>
                </a:cxn>
                <a:cxn ang="0">
                  <a:pos x="26" y="15"/>
                </a:cxn>
                <a:cxn ang="0">
                  <a:pos x="26" y="12"/>
                </a:cxn>
                <a:cxn ang="0">
                  <a:pos x="27" y="9"/>
                </a:cxn>
                <a:cxn ang="0">
                  <a:pos x="30" y="6"/>
                </a:cxn>
                <a:cxn ang="0">
                  <a:pos x="34" y="5"/>
                </a:cxn>
                <a:cxn ang="0">
                  <a:pos x="34" y="5"/>
                </a:cxn>
                <a:cxn ang="0">
                  <a:pos x="37" y="2"/>
                </a:cxn>
                <a:cxn ang="0">
                  <a:pos x="37" y="0"/>
                </a:cxn>
                <a:cxn ang="0">
                  <a:pos x="36" y="0"/>
                </a:cxn>
                <a:cxn ang="0">
                  <a:pos x="34" y="0"/>
                </a:cxn>
                <a:cxn ang="0">
                  <a:pos x="34" y="0"/>
                </a:cxn>
                <a:cxn ang="0">
                  <a:pos x="30" y="3"/>
                </a:cxn>
                <a:cxn ang="0">
                  <a:pos x="26" y="6"/>
                </a:cxn>
                <a:cxn ang="0">
                  <a:pos x="19" y="7"/>
                </a:cxn>
                <a:cxn ang="0">
                  <a:pos x="12" y="7"/>
                </a:cxn>
                <a:cxn ang="0">
                  <a:pos x="12" y="7"/>
                </a:cxn>
                <a:cxn ang="0">
                  <a:pos x="4" y="9"/>
                </a:cxn>
                <a:cxn ang="0">
                  <a:pos x="2" y="12"/>
                </a:cxn>
                <a:cxn ang="0">
                  <a:pos x="0" y="16"/>
                </a:cxn>
                <a:cxn ang="0">
                  <a:pos x="4" y="19"/>
                </a:cxn>
                <a:cxn ang="0">
                  <a:pos x="4" y="19"/>
                </a:cxn>
                <a:cxn ang="0">
                  <a:pos x="7" y="20"/>
                </a:cxn>
                <a:cxn ang="0">
                  <a:pos x="12" y="20"/>
                </a:cxn>
                <a:cxn ang="0">
                  <a:pos x="19" y="20"/>
                </a:cxn>
                <a:cxn ang="0">
                  <a:pos x="24" y="17"/>
                </a:cxn>
                <a:cxn ang="0">
                  <a:pos x="26" y="15"/>
                </a:cxn>
                <a:cxn ang="0">
                  <a:pos x="26" y="15"/>
                </a:cxn>
              </a:cxnLst>
              <a:rect l="0" t="0" r="r" b="b"/>
              <a:pathLst>
                <a:path w="37" h="20">
                  <a:moveTo>
                    <a:pt x="26" y="15"/>
                  </a:moveTo>
                  <a:lnTo>
                    <a:pt x="26" y="15"/>
                  </a:lnTo>
                  <a:lnTo>
                    <a:pt x="26" y="12"/>
                  </a:lnTo>
                  <a:lnTo>
                    <a:pt x="27" y="9"/>
                  </a:lnTo>
                  <a:lnTo>
                    <a:pt x="30" y="6"/>
                  </a:lnTo>
                  <a:lnTo>
                    <a:pt x="34" y="5"/>
                  </a:lnTo>
                  <a:lnTo>
                    <a:pt x="34" y="5"/>
                  </a:lnTo>
                  <a:lnTo>
                    <a:pt x="37" y="2"/>
                  </a:lnTo>
                  <a:lnTo>
                    <a:pt x="37" y="0"/>
                  </a:lnTo>
                  <a:lnTo>
                    <a:pt x="36" y="0"/>
                  </a:lnTo>
                  <a:lnTo>
                    <a:pt x="34" y="0"/>
                  </a:lnTo>
                  <a:lnTo>
                    <a:pt x="34" y="0"/>
                  </a:lnTo>
                  <a:lnTo>
                    <a:pt x="30" y="3"/>
                  </a:lnTo>
                  <a:lnTo>
                    <a:pt x="26" y="6"/>
                  </a:lnTo>
                  <a:lnTo>
                    <a:pt x="19" y="7"/>
                  </a:lnTo>
                  <a:lnTo>
                    <a:pt x="12" y="7"/>
                  </a:lnTo>
                  <a:lnTo>
                    <a:pt x="12" y="7"/>
                  </a:lnTo>
                  <a:lnTo>
                    <a:pt x="4" y="9"/>
                  </a:lnTo>
                  <a:lnTo>
                    <a:pt x="2" y="12"/>
                  </a:lnTo>
                  <a:lnTo>
                    <a:pt x="0" y="16"/>
                  </a:lnTo>
                  <a:lnTo>
                    <a:pt x="4" y="19"/>
                  </a:lnTo>
                  <a:lnTo>
                    <a:pt x="4" y="19"/>
                  </a:lnTo>
                  <a:lnTo>
                    <a:pt x="7" y="20"/>
                  </a:lnTo>
                  <a:lnTo>
                    <a:pt x="12" y="20"/>
                  </a:lnTo>
                  <a:lnTo>
                    <a:pt x="19" y="20"/>
                  </a:lnTo>
                  <a:lnTo>
                    <a:pt x="24" y="17"/>
                  </a:lnTo>
                  <a:lnTo>
                    <a:pt x="26" y="15"/>
                  </a:lnTo>
                  <a:lnTo>
                    <a:pt x="26" y="1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6" name="Freeform 317">
              <a:extLst>
                <a:ext uri="{FF2B5EF4-FFF2-40B4-BE49-F238E27FC236}">
                  <a16:creationId xmlns:a16="http://schemas.microsoft.com/office/drawing/2014/main" id="{2425546E-64C6-8F46-9F56-AF6FD90AB088}"/>
                </a:ext>
              </a:extLst>
            </p:cNvPr>
            <p:cNvSpPr>
              <a:spLocks/>
            </p:cNvSpPr>
            <p:nvPr/>
          </p:nvSpPr>
          <p:spPr bwMode="auto">
            <a:xfrm>
              <a:off x="3747761" y="2423016"/>
              <a:ext cx="253044" cy="122823"/>
            </a:xfrm>
            <a:custGeom>
              <a:avLst/>
              <a:gdLst/>
              <a:ahLst/>
              <a:cxnLst>
                <a:cxn ang="0">
                  <a:pos x="149" y="59"/>
                </a:cxn>
                <a:cxn ang="0">
                  <a:pos x="158" y="50"/>
                </a:cxn>
                <a:cxn ang="0">
                  <a:pos x="169" y="37"/>
                </a:cxn>
                <a:cxn ang="0">
                  <a:pos x="165" y="26"/>
                </a:cxn>
                <a:cxn ang="0">
                  <a:pos x="154" y="22"/>
                </a:cxn>
                <a:cxn ang="0">
                  <a:pos x="152" y="15"/>
                </a:cxn>
                <a:cxn ang="0">
                  <a:pos x="148" y="6"/>
                </a:cxn>
                <a:cxn ang="0">
                  <a:pos x="135" y="6"/>
                </a:cxn>
                <a:cxn ang="0">
                  <a:pos x="124" y="0"/>
                </a:cxn>
                <a:cxn ang="0">
                  <a:pos x="121" y="10"/>
                </a:cxn>
                <a:cxn ang="0">
                  <a:pos x="114" y="9"/>
                </a:cxn>
                <a:cxn ang="0">
                  <a:pos x="111" y="13"/>
                </a:cxn>
                <a:cxn ang="0">
                  <a:pos x="105" y="10"/>
                </a:cxn>
                <a:cxn ang="0">
                  <a:pos x="97" y="12"/>
                </a:cxn>
                <a:cxn ang="0">
                  <a:pos x="88" y="9"/>
                </a:cxn>
                <a:cxn ang="0">
                  <a:pos x="78" y="13"/>
                </a:cxn>
                <a:cxn ang="0">
                  <a:pos x="75" y="19"/>
                </a:cxn>
                <a:cxn ang="0">
                  <a:pos x="70" y="12"/>
                </a:cxn>
                <a:cxn ang="0">
                  <a:pos x="63" y="15"/>
                </a:cxn>
                <a:cxn ang="0">
                  <a:pos x="64" y="25"/>
                </a:cxn>
                <a:cxn ang="0">
                  <a:pos x="58" y="25"/>
                </a:cxn>
                <a:cxn ang="0">
                  <a:pos x="50" y="32"/>
                </a:cxn>
                <a:cxn ang="0">
                  <a:pos x="46" y="19"/>
                </a:cxn>
                <a:cxn ang="0">
                  <a:pos x="46" y="15"/>
                </a:cxn>
                <a:cxn ang="0">
                  <a:pos x="23" y="2"/>
                </a:cxn>
                <a:cxn ang="0">
                  <a:pos x="24" y="10"/>
                </a:cxn>
                <a:cxn ang="0">
                  <a:pos x="21" y="12"/>
                </a:cxn>
                <a:cxn ang="0">
                  <a:pos x="14" y="9"/>
                </a:cxn>
                <a:cxn ang="0">
                  <a:pos x="3" y="20"/>
                </a:cxn>
                <a:cxn ang="0">
                  <a:pos x="1" y="27"/>
                </a:cxn>
                <a:cxn ang="0">
                  <a:pos x="16" y="29"/>
                </a:cxn>
                <a:cxn ang="0">
                  <a:pos x="36" y="29"/>
                </a:cxn>
                <a:cxn ang="0">
                  <a:pos x="34" y="33"/>
                </a:cxn>
                <a:cxn ang="0">
                  <a:pos x="33" y="36"/>
                </a:cxn>
                <a:cxn ang="0">
                  <a:pos x="24" y="42"/>
                </a:cxn>
                <a:cxn ang="0">
                  <a:pos x="6" y="44"/>
                </a:cxn>
                <a:cxn ang="0">
                  <a:pos x="7" y="47"/>
                </a:cxn>
                <a:cxn ang="0">
                  <a:pos x="27" y="46"/>
                </a:cxn>
                <a:cxn ang="0">
                  <a:pos x="31" y="53"/>
                </a:cxn>
                <a:cxn ang="0">
                  <a:pos x="38" y="54"/>
                </a:cxn>
                <a:cxn ang="0">
                  <a:pos x="41" y="60"/>
                </a:cxn>
                <a:cxn ang="0">
                  <a:pos x="34" y="66"/>
                </a:cxn>
                <a:cxn ang="0">
                  <a:pos x="26" y="70"/>
                </a:cxn>
                <a:cxn ang="0">
                  <a:pos x="46" y="70"/>
                </a:cxn>
                <a:cxn ang="0">
                  <a:pos x="75" y="81"/>
                </a:cxn>
                <a:cxn ang="0">
                  <a:pos x="100" y="79"/>
                </a:cxn>
                <a:cxn ang="0">
                  <a:pos x="104" y="73"/>
                </a:cxn>
                <a:cxn ang="0">
                  <a:pos x="122" y="69"/>
                </a:cxn>
                <a:cxn ang="0">
                  <a:pos x="145" y="60"/>
                </a:cxn>
              </a:cxnLst>
              <a:rect l="0" t="0" r="r" b="b"/>
              <a:pathLst>
                <a:path w="171" h="83">
                  <a:moveTo>
                    <a:pt x="145" y="60"/>
                  </a:moveTo>
                  <a:lnTo>
                    <a:pt x="145" y="60"/>
                  </a:lnTo>
                  <a:lnTo>
                    <a:pt x="148" y="59"/>
                  </a:lnTo>
                  <a:lnTo>
                    <a:pt x="149" y="59"/>
                  </a:lnTo>
                  <a:lnTo>
                    <a:pt x="152" y="54"/>
                  </a:lnTo>
                  <a:lnTo>
                    <a:pt x="155" y="52"/>
                  </a:lnTo>
                  <a:lnTo>
                    <a:pt x="157" y="50"/>
                  </a:lnTo>
                  <a:lnTo>
                    <a:pt x="158" y="50"/>
                  </a:lnTo>
                  <a:lnTo>
                    <a:pt x="158" y="50"/>
                  </a:lnTo>
                  <a:lnTo>
                    <a:pt x="161" y="49"/>
                  </a:lnTo>
                  <a:lnTo>
                    <a:pt x="164" y="46"/>
                  </a:lnTo>
                  <a:lnTo>
                    <a:pt x="169" y="37"/>
                  </a:lnTo>
                  <a:lnTo>
                    <a:pt x="169" y="37"/>
                  </a:lnTo>
                  <a:lnTo>
                    <a:pt x="171" y="34"/>
                  </a:lnTo>
                  <a:lnTo>
                    <a:pt x="168" y="30"/>
                  </a:lnTo>
                  <a:lnTo>
                    <a:pt x="165" y="26"/>
                  </a:lnTo>
                  <a:lnTo>
                    <a:pt x="161" y="25"/>
                  </a:lnTo>
                  <a:lnTo>
                    <a:pt x="161" y="25"/>
                  </a:lnTo>
                  <a:lnTo>
                    <a:pt x="158" y="25"/>
                  </a:lnTo>
                  <a:lnTo>
                    <a:pt x="154" y="22"/>
                  </a:lnTo>
                  <a:lnTo>
                    <a:pt x="152" y="19"/>
                  </a:lnTo>
                  <a:lnTo>
                    <a:pt x="152" y="17"/>
                  </a:lnTo>
                  <a:lnTo>
                    <a:pt x="152" y="17"/>
                  </a:lnTo>
                  <a:lnTo>
                    <a:pt x="152" y="15"/>
                  </a:lnTo>
                  <a:lnTo>
                    <a:pt x="151" y="12"/>
                  </a:lnTo>
                  <a:lnTo>
                    <a:pt x="149" y="7"/>
                  </a:lnTo>
                  <a:lnTo>
                    <a:pt x="149" y="7"/>
                  </a:lnTo>
                  <a:lnTo>
                    <a:pt x="148" y="6"/>
                  </a:lnTo>
                  <a:lnTo>
                    <a:pt x="145" y="6"/>
                  </a:lnTo>
                  <a:lnTo>
                    <a:pt x="139" y="7"/>
                  </a:lnTo>
                  <a:lnTo>
                    <a:pt x="139" y="7"/>
                  </a:lnTo>
                  <a:lnTo>
                    <a:pt x="135" y="6"/>
                  </a:lnTo>
                  <a:lnTo>
                    <a:pt x="131" y="3"/>
                  </a:lnTo>
                  <a:lnTo>
                    <a:pt x="127" y="0"/>
                  </a:lnTo>
                  <a:lnTo>
                    <a:pt x="125" y="0"/>
                  </a:lnTo>
                  <a:lnTo>
                    <a:pt x="124" y="0"/>
                  </a:lnTo>
                  <a:lnTo>
                    <a:pt x="124" y="0"/>
                  </a:lnTo>
                  <a:lnTo>
                    <a:pt x="122" y="2"/>
                  </a:lnTo>
                  <a:lnTo>
                    <a:pt x="121" y="5"/>
                  </a:lnTo>
                  <a:lnTo>
                    <a:pt x="121" y="10"/>
                  </a:lnTo>
                  <a:lnTo>
                    <a:pt x="121" y="10"/>
                  </a:lnTo>
                  <a:lnTo>
                    <a:pt x="120" y="10"/>
                  </a:lnTo>
                  <a:lnTo>
                    <a:pt x="117" y="10"/>
                  </a:lnTo>
                  <a:lnTo>
                    <a:pt x="114" y="9"/>
                  </a:lnTo>
                  <a:lnTo>
                    <a:pt x="112" y="10"/>
                  </a:lnTo>
                  <a:lnTo>
                    <a:pt x="112" y="10"/>
                  </a:lnTo>
                  <a:lnTo>
                    <a:pt x="112" y="10"/>
                  </a:lnTo>
                  <a:lnTo>
                    <a:pt x="111" y="13"/>
                  </a:lnTo>
                  <a:lnTo>
                    <a:pt x="110" y="13"/>
                  </a:lnTo>
                  <a:lnTo>
                    <a:pt x="108" y="13"/>
                  </a:lnTo>
                  <a:lnTo>
                    <a:pt x="105" y="10"/>
                  </a:lnTo>
                  <a:lnTo>
                    <a:pt x="105" y="10"/>
                  </a:lnTo>
                  <a:lnTo>
                    <a:pt x="102" y="9"/>
                  </a:lnTo>
                  <a:lnTo>
                    <a:pt x="100" y="9"/>
                  </a:lnTo>
                  <a:lnTo>
                    <a:pt x="97" y="10"/>
                  </a:lnTo>
                  <a:lnTo>
                    <a:pt x="97" y="12"/>
                  </a:lnTo>
                  <a:lnTo>
                    <a:pt x="97" y="12"/>
                  </a:lnTo>
                  <a:lnTo>
                    <a:pt x="95" y="13"/>
                  </a:lnTo>
                  <a:lnTo>
                    <a:pt x="94" y="13"/>
                  </a:lnTo>
                  <a:lnTo>
                    <a:pt x="88" y="9"/>
                  </a:lnTo>
                  <a:lnTo>
                    <a:pt x="88" y="9"/>
                  </a:lnTo>
                  <a:lnTo>
                    <a:pt x="84" y="9"/>
                  </a:lnTo>
                  <a:lnTo>
                    <a:pt x="81" y="10"/>
                  </a:lnTo>
                  <a:lnTo>
                    <a:pt x="78" y="13"/>
                  </a:lnTo>
                  <a:lnTo>
                    <a:pt x="77" y="17"/>
                  </a:lnTo>
                  <a:lnTo>
                    <a:pt x="77" y="17"/>
                  </a:lnTo>
                  <a:lnTo>
                    <a:pt x="77" y="19"/>
                  </a:lnTo>
                  <a:lnTo>
                    <a:pt x="75" y="19"/>
                  </a:lnTo>
                  <a:lnTo>
                    <a:pt x="74" y="17"/>
                  </a:lnTo>
                  <a:lnTo>
                    <a:pt x="71" y="13"/>
                  </a:lnTo>
                  <a:lnTo>
                    <a:pt x="71" y="13"/>
                  </a:lnTo>
                  <a:lnTo>
                    <a:pt x="70" y="12"/>
                  </a:lnTo>
                  <a:lnTo>
                    <a:pt x="67" y="10"/>
                  </a:lnTo>
                  <a:lnTo>
                    <a:pt x="66" y="10"/>
                  </a:lnTo>
                  <a:lnTo>
                    <a:pt x="64" y="12"/>
                  </a:lnTo>
                  <a:lnTo>
                    <a:pt x="63" y="15"/>
                  </a:lnTo>
                  <a:lnTo>
                    <a:pt x="64" y="19"/>
                  </a:lnTo>
                  <a:lnTo>
                    <a:pt x="64" y="19"/>
                  </a:lnTo>
                  <a:lnTo>
                    <a:pt x="66" y="22"/>
                  </a:lnTo>
                  <a:lnTo>
                    <a:pt x="64" y="25"/>
                  </a:lnTo>
                  <a:lnTo>
                    <a:pt x="64" y="26"/>
                  </a:lnTo>
                  <a:lnTo>
                    <a:pt x="61" y="26"/>
                  </a:lnTo>
                  <a:lnTo>
                    <a:pt x="61" y="26"/>
                  </a:lnTo>
                  <a:lnTo>
                    <a:pt x="58" y="25"/>
                  </a:lnTo>
                  <a:lnTo>
                    <a:pt x="56" y="26"/>
                  </a:lnTo>
                  <a:lnTo>
                    <a:pt x="51" y="30"/>
                  </a:lnTo>
                  <a:lnTo>
                    <a:pt x="51" y="30"/>
                  </a:lnTo>
                  <a:lnTo>
                    <a:pt x="50" y="32"/>
                  </a:lnTo>
                  <a:lnTo>
                    <a:pt x="48" y="30"/>
                  </a:lnTo>
                  <a:lnTo>
                    <a:pt x="46" y="26"/>
                  </a:lnTo>
                  <a:lnTo>
                    <a:pt x="44" y="22"/>
                  </a:lnTo>
                  <a:lnTo>
                    <a:pt x="46" y="19"/>
                  </a:lnTo>
                  <a:lnTo>
                    <a:pt x="47" y="17"/>
                  </a:lnTo>
                  <a:lnTo>
                    <a:pt x="47" y="17"/>
                  </a:lnTo>
                  <a:lnTo>
                    <a:pt x="47" y="16"/>
                  </a:lnTo>
                  <a:lnTo>
                    <a:pt x="46" y="15"/>
                  </a:lnTo>
                  <a:lnTo>
                    <a:pt x="40" y="9"/>
                  </a:lnTo>
                  <a:lnTo>
                    <a:pt x="30" y="3"/>
                  </a:lnTo>
                  <a:lnTo>
                    <a:pt x="23" y="2"/>
                  </a:lnTo>
                  <a:lnTo>
                    <a:pt x="23" y="2"/>
                  </a:lnTo>
                  <a:lnTo>
                    <a:pt x="19" y="3"/>
                  </a:lnTo>
                  <a:lnTo>
                    <a:pt x="19" y="5"/>
                  </a:lnTo>
                  <a:lnTo>
                    <a:pt x="21" y="7"/>
                  </a:lnTo>
                  <a:lnTo>
                    <a:pt x="24" y="10"/>
                  </a:lnTo>
                  <a:lnTo>
                    <a:pt x="24" y="10"/>
                  </a:lnTo>
                  <a:lnTo>
                    <a:pt x="26" y="13"/>
                  </a:lnTo>
                  <a:lnTo>
                    <a:pt x="24" y="13"/>
                  </a:lnTo>
                  <a:lnTo>
                    <a:pt x="21" y="12"/>
                  </a:lnTo>
                  <a:lnTo>
                    <a:pt x="19" y="10"/>
                  </a:lnTo>
                  <a:lnTo>
                    <a:pt x="19" y="10"/>
                  </a:lnTo>
                  <a:lnTo>
                    <a:pt x="17" y="9"/>
                  </a:lnTo>
                  <a:lnTo>
                    <a:pt x="14" y="9"/>
                  </a:lnTo>
                  <a:lnTo>
                    <a:pt x="11" y="12"/>
                  </a:lnTo>
                  <a:lnTo>
                    <a:pt x="9" y="15"/>
                  </a:lnTo>
                  <a:lnTo>
                    <a:pt x="9" y="15"/>
                  </a:lnTo>
                  <a:lnTo>
                    <a:pt x="3" y="20"/>
                  </a:lnTo>
                  <a:lnTo>
                    <a:pt x="1" y="23"/>
                  </a:lnTo>
                  <a:lnTo>
                    <a:pt x="0" y="25"/>
                  </a:lnTo>
                  <a:lnTo>
                    <a:pt x="0" y="25"/>
                  </a:lnTo>
                  <a:lnTo>
                    <a:pt x="1" y="27"/>
                  </a:lnTo>
                  <a:lnTo>
                    <a:pt x="6" y="29"/>
                  </a:lnTo>
                  <a:lnTo>
                    <a:pt x="10" y="30"/>
                  </a:lnTo>
                  <a:lnTo>
                    <a:pt x="16" y="29"/>
                  </a:lnTo>
                  <a:lnTo>
                    <a:pt x="16" y="29"/>
                  </a:lnTo>
                  <a:lnTo>
                    <a:pt x="21" y="27"/>
                  </a:lnTo>
                  <a:lnTo>
                    <a:pt x="27" y="26"/>
                  </a:lnTo>
                  <a:lnTo>
                    <a:pt x="31" y="27"/>
                  </a:lnTo>
                  <a:lnTo>
                    <a:pt x="36" y="29"/>
                  </a:lnTo>
                  <a:lnTo>
                    <a:pt x="36" y="29"/>
                  </a:lnTo>
                  <a:lnTo>
                    <a:pt x="36" y="30"/>
                  </a:lnTo>
                  <a:lnTo>
                    <a:pt x="36" y="32"/>
                  </a:lnTo>
                  <a:lnTo>
                    <a:pt x="34" y="33"/>
                  </a:lnTo>
                  <a:lnTo>
                    <a:pt x="31" y="34"/>
                  </a:lnTo>
                  <a:lnTo>
                    <a:pt x="31" y="36"/>
                  </a:lnTo>
                  <a:lnTo>
                    <a:pt x="33" y="36"/>
                  </a:lnTo>
                  <a:lnTo>
                    <a:pt x="33" y="36"/>
                  </a:lnTo>
                  <a:lnTo>
                    <a:pt x="34" y="39"/>
                  </a:lnTo>
                  <a:lnTo>
                    <a:pt x="33" y="40"/>
                  </a:lnTo>
                  <a:lnTo>
                    <a:pt x="30" y="42"/>
                  </a:lnTo>
                  <a:lnTo>
                    <a:pt x="24" y="42"/>
                  </a:lnTo>
                  <a:lnTo>
                    <a:pt x="24" y="42"/>
                  </a:lnTo>
                  <a:lnTo>
                    <a:pt x="17" y="42"/>
                  </a:lnTo>
                  <a:lnTo>
                    <a:pt x="10" y="42"/>
                  </a:lnTo>
                  <a:lnTo>
                    <a:pt x="6" y="44"/>
                  </a:lnTo>
                  <a:lnTo>
                    <a:pt x="6" y="44"/>
                  </a:lnTo>
                  <a:lnTo>
                    <a:pt x="6" y="46"/>
                  </a:lnTo>
                  <a:lnTo>
                    <a:pt x="6" y="46"/>
                  </a:lnTo>
                  <a:lnTo>
                    <a:pt x="7" y="47"/>
                  </a:lnTo>
                  <a:lnTo>
                    <a:pt x="10" y="47"/>
                  </a:lnTo>
                  <a:lnTo>
                    <a:pt x="17" y="46"/>
                  </a:lnTo>
                  <a:lnTo>
                    <a:pt x="26" y="46"/>
                  </a:lnTo>
                  <a:lnTo>
                    <a:pt x="27" y="46"/>
                  </a:lnTo>
                  <a:lnTo>
                    <a:pt x="29" y="46"/>
                  </a:lnTo>
                  <a:lnTo>
                    <a:pt x="29" y="46"/>
                  </a:lnTo>
                  <a:lnTo>
                    <a:pt x="30" y="52"/>
                  </a:lnTo>
                  <a:lnTo>
                    <a:pt x="31" y="53"/>
                  </a:lnTo>
                  <a:lnTo>
                    <a:pt x="34" y="53"/>
                  </a:lnTo>
                  <a:lnTo>
                    <a:pt x="34" y="53"/>
                  </a:lnTo>
                  <a:lnTo>
                    <a:pt x="37" y="52"/>
                  </a:lnTo>
                  <a:lnTo>
                    <a:pt x="38" y="54"/>
                  </a:lnTo>
                  <a:lnTo>
                    <a:pt x="38" y="56"/>
                  </a:lnTo>
                  <a:lnTo>
                    <a:pt x="40" y="57"/>
                  </a:lnTo>
                  <a:lnTo>
                    <a:pt x="40" y="57"/>
                  </a:lnTo>
                  <a:lnTo>
                    <a:pt x="41" y="60"/>
                  </a:lnTo>
                  <a:lnTo>
                    <a:pt x="40" y="62"/>
                  </a:lnTo>
                  <a:lnTo>
                    <a:pt x="38" y="64"/>
                  </a:lnTo>
                  <a:lnTo>
                    <a:pt x="34" y="66"/>
                  </a:lnTo>
                  <a:lnTo>
                    <a:pt x="34" y="66"/>
                  </a:lnTo>
                  <a:lnTo>
                    <a:pt x="26" y="67"/>
                  </a:lnTo>
                  <a:lnTo>
                    <a:pt x="24" y="69"/>
                  </a:lnTo>
                  <a:lnTo>
                    <a:pt x="26" y="70"/>
                  </a:lnTo>
                  <a:lnTo>
                    <a:pt x="26" y="70"/>
                  </a:lnTo>
                  <a:lnTo>
                    <a:pt x="30" y="73"/>
                  </a:lnTo>
                  <a:lnTo>
                    <a:pt x="34" y="73"/>
                  </a:lnTo>
                  <a:lnTo>
                    <a:pt x="46" y="70"/>
                  </a:lnTo>
                  <a:lnTo>
                    <a:pt x="46" y="70"/>
                  </a:lnTo>
                  <a:lnTo>
                    <a:pt x="50" y="70"/>
                  </a:lnTo>
                  <a:lnTo>
                    <a:pt x="53" y="70"/>
                  </a:lnTo>
                  <a:lnTo>
                    <a:pt x="60" y="73"/>
                  </a:lnTo>
                  <a:lnTo>
                    <a:pt x="75" y="81"/>
                  </a:lnTo>
                  <a:lnTo>
                    <a:pt x="75" y="81"/>
                  </a:lnTo>
                  <a:lnTo>
                    <a:pt x="84" y="83"/>
                  </a:lnTo>
                  <a:lnTo>
                    <a:pt x="93" y="81"/>
                  </a:lnTo>
                  <a:lnTo>
                    <a:pt x="100" y="79"/>
                  </a:lnTo>
                  <a:lnTo>
                    <a:pt x="101" y="77"/>
                  </a:lnTo>
                  <a:lnTo>
                    <a:pt x="102" y="74"/>
                  </a:lnTo>
                  <a:lnTo>
                    <a:pt x="102" y="74"/>
                  </a:lnTo>
                  <a:lnTo>
                    <a:pt x="104" y="73"/>
                  </a:lnTo>
                  <a:lnTo>
                    <a:pt x="107" y="73"/>
                  </a:lnTo>
                  <a:lnTo>
                    <a:pt x="111" y="71"/>
                  </a:lnTo>
                  <a:lnTo>
                    <a:pt x="118" y="70"/>
                  </a:lnTo>
                  <a:lnTo>
                    <a:pt x="122" y="69"/>
                  </a:lnTo>
                  <a:lnTo>
                    <a:pt x="122" y="69"/>
                  </a:lnTo>
                  <a:lnTo>
                    <a:pt x="132" y="63"/>
                  </a:lnTo>
                  <a:lnTo>
                    <a:pt x="138" y="62"/>
                  </a:lnTo>
                  <a:lnTo>
                    <a:pt x="145" y="60"/>
                  </a:lnTo>
                  <a:lnTo>
                    <a:pt x="145"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7" name="Freeform 318">
              <a:extLst>
                <a:ext uri="{FF2B5EF4-FFF2-40B4-BE49-F238E27FC236}">
                  <a16:creationId xmlns:a16="http://schemas.microsoft.com/office/drawing/2014/main" id="{C2AA1073-C8BA-8A48-B65C-A8713FC2B600}"/>
                </a:ext>
              </a:extLst>
            </p:cNvPr>
            <p:cNvSpPr>
              <a:spLocks/>
            </p:cNvSpPr>
            <p:nvPr/>
          </p:nvSpPr>
          <p:spPr bwMode="auto">
            <a:xfrm>
              <a:off x="4076273" y="2838835"/>
              <a:ext cx="100626" cy="116903"/>
            </a:xfrm>
            <a:custGeom>
              <a:avLst/>
              <a:gdLst/>
              <a:ahLst/>
              <a:cxnLst>
                <a:cxn ang="0">
                  <a:pos x="64" y="24"/>
                </a:cxn>
                <a:cxn ang="0">
                  <a:pos x="58" y="18"/>
                </a:cxn>
                <a:cxn ang="0">
                  <a:pos x="51" y="15"/>
                </a:cxn>
                <a:cxn ang="0">
                  <a:pos x="50" y="21"/>
                </a:cxn>
                <a:cxn ang="0">
                  <a:pos x="48" y="24"/>
                </a:cxn>
                <a:cxn ang="0">
                  <a:pos x="38" y="20"/>
                </a:cxn>
                <a:cxn ang="0">
                  <a:pos x="38" y="18"/>
                </a:cxn>
                <a:cxn ang="0">
                  <a:pos x="43" y="10"/>
                </a:cxn>
                <a:cxn ang="0">
                  <a:pos x="46" y="7"/>
                </a:cxn>
                <a:cxn ang="0">
                  <a:pos x="47" y="1"/>
                </a:cxn>
                <a:cxn ang="0">
                  <a:pos x="46" y="1"/>
                </a:cxn>
                <a:cxn ang="0">
                  <a:pos x="34" y="0"/>
                </a:cxn>
                <a:cxn ang="0">
                  <a:pos x="30" y="2"/>
                </a:cxn>
                <a:cxn ang="0">
                  <a:pos x="28" y="4"/>
                </a:cxn>
                <a:cxn ang="0">
                  <a:pos x="33" y="8"/>
                </a:cxn>
                <a:cxn ang="0">
                  <a:pos x="37" y="11"/>
                </a:cxn>
                <a:cxn ang="0">
                  <a:pos x="36" y="14"/>
                </a:cxn>
                <a:cxn ang="0">
                  <a:pos x="28" y="17"/>
                </a:cxn>
                <a:cxn ang="0">
                  <a:pos x="24" y="18"/>
                </a:cxn>
                <a:cxn ang="0">
                  <a:pos x="16" y="18"/>
                </a:cxn>
                <a:cxn ang="0">
                  <a:pos x="7" y="18"/>
                </a:cxn>
                <a:cxn ang="0">
                  <a:pos x="6" y="20"/>
                </a:cxn>
                <a:cxn ang="0">
                  <a:pos x="7" y="24"/>
                </a:cxn>
                <a:cxn ang="0">
                  <a:pos x="9" y="28"/>
                </a:cxn>
                <a:cxn ang="0">
                  <a:pos x="9" y="31"/>
                </a:cxn>
                <a:cxn ang="0">
                  <a:pos x="7" y="37"/>
                </a:cxn>
                <a:cxn ang="0">
                  <a:pos x="16" y="42"/>
                </a:cxn>
                <a:cxn ang="0">
                  <a:pos x="18" y="45"/>
                </a:cxn>
                <a:cxn ang="0">
                  <a:pos x="13" y="51"/>
                </a:cxn>
                <a:cxn ang="0">
                  <a:pos x="11" y="55"/>
                </a:cxn>
                <a:cxn ang="0">
                  <a:pos x="10" y="59"/>
                </a:cxn>
                <a:cxn ang="0">
                  <a:pos x="3" y="64"/>
                </a:cxn>
                <a:cxn ang="0">
                  <a:pos x="1" y="66"/>
                </a:cxn>
                <a:cxn ang="0">
                  <a:pos x="1" y="69"/>
                </a:cxn>
                <a:cxn ang="0">
                  <a:pos x="10" y="78"/>
                </a:cxn>
                <a:cxn ang="0">
                  <a:pos x="17" y="79"/>
                </a:cxn>
                <a:cxn ang="0">
                  <a:pos x="30" y="76"/>
                </a:cxn>
                <a:cxn ang="0">
                  <a:pos x="44" y="68"/>
                </a:cxn>
                <a:cxn ang="0">
                  <a:pos x="47" y="65"/>
                </a:cxn>
                <a:cxn ang="0">
                  <a:pos x="54" y="64"/>
                </a:cxn>
                <a:cxn ang="0">
                  <a:pos x="64" y="64"/>
                </a:cxn>
                <a:cxn ang="0">
                  <a:pos x="67" y="61"/>
                </a:cxn>
                <a:cxn ang="0">
                  <a:pos x="68" y="45"/>
                </a:cxn>
                <a:cxn ang="0">
                  <a:pos x="64" y="27"/>
                </a:cxn>
                <a:cxn ang="0">
                  <a:pos x="64" y="24"/>
                </a:cxn>
              </a:cxnLst>
              <a:rect l="0" t="0" r="r" b="b"/>
              <a:pathLst>
                <a:path w="68" h="79">
                  <a:moveTo>
                    <a:pt x="64" y="24"/>
                  </a:moveTo>
                  <a:lnTo>
                    <a:pt x="64" y="24"/>
                  </a:lnTo>
                  <a:lnTo>
                    <a:pt x="58" y="18"/>
                  </a:lnTo>
                  <a:lnTo>
                    <a:pt x="58" y="18"/>
                  </a:lnTo>
                  <a:lnTo>
                    <a:pt x="54" y="15"/>
                  </a:lnTo>
                  <a:lnTo>
                    <a:pt x="51" y="15"/>
                  </a:lnTo>
                  <a:lnTo>
                    <a:pt x="50" y="18"/>
                  </a:lnTo>
                  <a:lnTo>
                    <a:pt x="50" y="21"/>
                  </a:lnTo>
                  <a:lnTo>
                    <a:pt x="50" y="21"/>
                  </a:lnTo>
                  <a:lnTo>
                    <a:pt x="48" y="24"/>
                  </a:lnTo>
                  <a:lnTo>
                    <a:pt x="46" y="22"/>
                  </a:lnTo>
                  <a:lnTo>
                    <a:pt x="38" y="20"/>
                  </a:lnTo>
                  <a:lnTo>
                    <a:pt x="38" y="20"/>
                  </a:lnTo>
                  <a:lnTo>
                    <a:pt x="38" y="18"/>
                  </a:lnTo>
                  <a:lnTo>
                    <a:pt x="38" y="15"/>
                  </a:lnTo>
                  <a:lnTo>
                    <a:pt x="43" y="10"/>
                  </a:lnTo>
                  <a:lnTo>
                    <a:pt x="43" y="10"/>
                  </a:lnTo>
                  <a:lnTo>
                    <a:pt x="46" y="7"/>
                  </a:lnTo>
                  <a:lnTo>
                    <a:pt x="47" y="1"/>
                  </a:lnTo>
                  <a:lnTo>
                    <a:pt x="47" y="1"/>
                  </a:lnTo>
                  <a:lnTo>
                    <a:pt x="46" y="1"/>
                  </a:lnTo>
                  <a:lnTo>
                    <a:pt x="46" y="1"/>
                  </a:lnTo>
                  <a:lnTo>
                    <a:pt x="40" y="0"/>
                  </a:lnTo>
                  <a:lnTo>
                    <a:pt x="34" y="0"/>
                  </a:lnTo>
                  <a:lnTo>
                    <a:pt x="31" y="1"/>
                  </a:lnTo>
                  <a:lnTo>
                    <a:pt x="30" y="2"/>
                  </a:lnTo>
                  <a:lnTo>
                    <a:pt x="28" y="4"/>
                  </a:lnTo>
                  <a:lnTo>
                    <a:pt x="28" y="4"/>
                  </a:lnTo>
                  <a:lnTo>
                    <a:pt x="30" y="7"/>
                  </a:lnTo>
                  <a:lnTo>
                    <a:pt x="33" y="8"/>
                  </a:lnTo>
                  <a:lnTo>
                    <a:pt x="36" y="10"/>
                  </a:lnTo>
                  <a:lnTo>
                    <a:pt x="37" y="11"/>
                  </a:lnTo>
                  <a:lnTo>
                    <a:pt x="37" y="11"/>
                  </a:lnTo>
                  <a:lnTo>
                    <a:pt x="36" y="14"/>
                  </a:lnTo>
                  <a:lnTo>
                    <a:pt x="33" y="15"/>
                  </a:lnTo>
                  <a:lnTo>
                    <a:pt x="28" y="17"/>
                  </a:lnTo>
                  <a:lnTo>
                    <a:pt x="24" y="18"/>
                  </a:lnTo>
                  <a:lnTo>
                    <a:pt x="24" y="18"/>
                  </a:lnTo>
                  <a:lnTo>
                    <a:pt x="20" y="20"/>
                  </a:lnTo>
                  <a:lnTo>
                    <a:pt x="16" y="18"/>
                  </a:lnTo>
                  <a:lnTo>
                    <a:pt x="11" y="18"/>
                  </a:lnTo>
                  <a:lnTo>
                    <a:pt x="7" y="18"/>
                  </a:lnTo>
                  <a:lnTo>
                    <a:pt x="7" y="18"/>
                  </a:lnTo>
                  <a:lnTo>
                    <a:pt x="6" y="20"/>
                  </a:lnTo>
                  <a:lnTo>
                    <a:pt x="4" y="21"/>
                  </a:lnTo>
                  <a:lnTo>
                    <a:pt x="7" y="24"/>
                  </a:lnTo>
                  <a:lnTo>
                    <a:pt x="9" y="27"/>
                  </a:lnTo>
                  <a:lnTo>
                    <a:pt x="9" y="28"/>
                  </a:lnTo>
                  <a:lnTo>
                    <a:pt x="9" y="31"/>
                  </a:lnTo>
                  <a:lnTo>
                    <a:pt x="9" y="31"/>
                  </a:lnTo>
                  <a:lnTo>
                    <a:pt x="7" y="34"/>
                  </a:lnTo>
                  <a:lnTo>
                    <a:pt x="7" y="37"/>
                  </a:lnTo>
                  <a:lnTo>
                    <a:pt x="16" y="42"/>
                  </a:lnTo>
                  <a:lnTo>
                    <a:pt x="16" y="42"/>
                  </a:lnTo>
                  <a:lnTo>
                    <a:pt x="17" y="44"/>
                  </a:lnTo>
                  <a:lnTo>
                    <a:pt x="18" y="45"/>
                  </a:lnTo>
                  <a:lnTo>
                    <a:pt x="16" y="48"/>
                  </a:lnTo>
                  <a:lnTo>
                    <a:pt x="13" y="51"/>
                  </a:lnTo>
                  <a:lnTo>
                    <a:pt x="11" y="54"/>
                  </a:lnTo>
                  <a:lnTo>
                    <a:pt x="11" y="55"/>
                  </a:lnTo>
                  <a:lnTo>
                    <a:pt x="11" y="55"/>
                  </a:lnTo>
                  <a:lnTo>
                    <a:pt x="10" y="59"/>
                  </a:lnTo>
                  <a:lnTo>
                    <a:pt x="7" y="61"/>
                  </a:lnTo>
                  <a:lnTo>
                    <a:pt x="3" y="64"/>
                  </a:lnTo>
                  <a:lnTo>
                    <a:pt x="1" y="66"/>
                  </a:lnTo>
                  <a:lnTo>
                    <a:pt x="1" y="66"/>
                  </a:lnTo>
                  <a:lnTo>
                    <a:pt x="0" y="68"/>
                  </a:lnTo>
                  <a:lnTo>
                    <a:pt x="1" y="69"/>
                  </a:lnTo>
                  <a:lnTo>
                    <a:pt x="4" y="74"/>
                  </a:lnTo>
                  <a:lnTo>
                    <a:pt x="10" y="78"/>
                  </a:lnTo>
                  <a:lnTo>
                    <a:pt x="17" y="79"/>
                  </a:lnTo>
                  <a:lnTo>
                    <a:pt x="17" y="79"/>
                  </a:lnTo>
                  <a:lnTo>
                    <a:pt x="23" y="78"/>
                  </a:lnTo>
                  <a:lnTo>
                    <a:pt x="30" y="76"/>
                  </a:lnTo>
                  <a:lnTo>
                    <a:pt x="37" y="72"/>
                  </a:lnTo>
                  <a:lnTo>
                    <a:pt x="44" y="68"/>
                  </a:lnTo>
                  <a:lnTo>
                    <a:pt x="44" y="68"/>
                  </a:lnTo>
                  <a:lnTo>
                    <a:pt x="47" y="65"/>
                  </a:lnTo>
                  <a:lnTo>
                    <a:pt x="50" y="64"/>
                  </a:lnTo>
                  <a:lnTo>
                    <a:pt x="54" y="64"/>
                  </a:lnTo>
                  <a:lnTo>
                    <a:pt x="58" y="65"/>
                  </a:lnTo>
                  <a:lnTo>
                    <a:pt x="64" y="64"/>
                  </a:lnTo>
                  <a:lnTo>
                    <a:pt x="64" y="64"/>
                  </a:lnTo>
                  <a:lnTo>
                    <a:pt x="67" y="61"/>
                  </a:lnTo>
                  <a:lnTo>
                    <a:pt x="67" y="56"/>
                  </a:lnTo>
                  <a:lnTo>
                    <a:pt x="68" y="45"/>
                  </a:lnTo>
                  <a:lnTo>
                    <a:pt x="67" y="34"/>
                  </a:lnTo>
                  <a:lnTo>
                    <a:pt x="64" y="27"/>
                  </a:lnTo>
                  <a:lnTo>
                    <a:pt x="64" y="27"/>
                  </a:lnTo>
                  <a:lnTo>
                    <a:pt x="64" y="24"/>
                  </a:lnTo>
                  <a:lnTo>
                    <a:pt x="64"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8" name="Freeform 319">
              <a:extLst>
                <a:ext uri="{FF2B5EF4-FFF2-40B4-BE49-F238E27FC236}">
                  <a16:creationId xmlns:a16="http://schemas.microsoft.com/office/drawing/2014/main" id="{B73103D3-77CB-C94C-B511-4F4FCAD1ECB0}"/>
                </a:ext>
              </a:extLst>
            </p:cNvPr>
            <p:cNvSpPr>
              <a:spLocks noEditPoints="1"/>
            </p:cNvSpPr>
            <p:nvPr/>
          </p:nvSpPr>
          <p:spPr bwMode="auto">
            <a:xfrm>
              <a:off x="4132505" y="2707134"/>
              <a:ext cx="233805" cy="297437"/>
            </a:xfrm>
            <a:custGeom>
              <a:avLst/>
              <a:gdLst/>
              <a:ahLst/>
              <a:cxnLst>
                <a:cxn ang="0">
                  <a:pos x="15" y="89"/>
                </a:cxn>
                <a:cxn ang="0">
                  <a:pos x="0" y="104"/>
                </a:cxn>
                <a:cxn ang="0">
                  <a:pos x="12" y="110"/>
                </a:cxn>
                <a:cxn ang="0">
                  <a:pos x="20" y="107"/>
                </a:cxn>
                <a:cxn ang="0">
                  <a:pos x="39" y="104"/>
                </a:cxn>
                <a:cxn ang="0">
                  <a:pos x="29" y="87"/>
                </a:cxn>
                <a:cxn ang="0">
                  <a:pos x="151" y="137"/>
                </a:cxn>
                <a:cxn ang="0">
                  <a:pos x="138" y="140"/>
                </a:cxn>
                <a:cxn ang="0">
                  <a:pos x="134" y="128"/>
                </a:cxn>
                <a:cxn ang="0">
                  <a:pos x="128" y="118"/>
                </a:cxn>
                <a:cxn ang="0">
                  <a:pos x="117" y="100"/>
                </a:cxn>
                <a:cxn ang="0">
                  <a:pos x="106" y="80"/>
                </a:cxn>
                <a:cxn ang="0">
                  <a:pos x="91" y="69"/>
                </a:cxn>
                <a:cxn ang="0">
                  <a:pos x="83" y="63"/>
                </a:cxn>
                <a:cxn ang="0">
                  <a:pos x="99" y="32"/>
                </a:cxn>
                <a:cxn ang="0">
                  <a:pos x="69" y="30"/>
                </a:cxn>
                <a:cxn ang="0">
                  <a:pos x="64" y="25"/>
                </a:cxn>
                <a:cxn ang="0">
                  <a:pos x="76" y="9"/>
                </a:cxn>
                <a:cxn ang="0">
                  <a:pos x="74" y="3"/>
                </a:cxn>
                <a:cxn ang="0">
                  <a:pos x="54" y="9"/>
                </a:cxn>
                <a:cxn ang="0">
                  <a:pos x="44" y="22"/>
                </a:cxn>
                <a:cxn ang="0">
                  <a:pos x="37" y="33"/>
                </a:cxn>
                <a:cxn ang="0">
                  <a:pos x="29" y="33"/>
                </a:cxn>
                <a:cxn ang="0">
                  <a:pos x="25" y="40"/>
                </a:cxn>
                <a:cxn ang="0">
                  <a:pos x="35" y="47"/>
                </a:cxn>
                <a:cxn ang="0">
                  <a:pos x="32" y="60"/>
                </a:cxn>
                <a:cxn ang="0">
                  <a:pos x="36" y="66"/>
                </a:cxn>
                <a:cxn ang="0">
                  <a:pos x="25" y="74"/>
                </a:cxn>
                <a:cxn ang="0">
                  <a:pos x="36" y="70"/>
                </a:cxn>
                <a:cxn ang="0">
                  <a:pos x="44" y="79"/>
                </a:cxn>
                <a:cxn ang="0">
                  <a:pos x="52" y="67"/>
                </a:cxn>
                <a:cxn ang="0">
                  <a:pos x="53" y="80"/>
                </a:cxn>
                <a:cxn ang="0">
                  <a:pos x="47" y="96"/>
                </a:cxn>
                <a:cxn ang="0">
                  <a:pos x="70" y="91"/>
                </a:cxn>
                <a:cxn ang="0">
                  <a:pos x="72" y="100"/>
                </a:cxn>
                <a:cxn ang="0">
                  <a:pos x="81" y="110"/>
                </a:cxn>
                <a:cxn ang="0">
                  <a:pos x="80" y="127"/>
                </a:cxn>
                <a:cxn ang="0">
                  <a:pos x="63" y="127"/>
                </a:cxn>
                <a:cxn ang="0">
                  <a:pos x="57" y="133"/>
                </a:cxn>
                <a:cxn ang="0">
                  <a:pos x="59" y="143"/>
                </a:cxn>
                <a:cxn ang="0">
                  <a:pos x="53" y="155"/>
                </a:cxn>
                <a:cxn ang="0">
                  <a:pos x="46" y="163"/>
                </a:cxn>
                <a:cxn ang="0">
                  <a:pos x="57" y="164"/>
                </a:cxn>
                <a:cxn ang="0">
                  <a:pos x="76" y="170"/>
                </a:cxn>
                <a:cxn ang="0">
                  <a:pos x="81" y="173"/>
                </a:cxn>
                <a:cxn ang="0">
                  <a:pos x="63" y="175"/>
                </a:cxn>
                <a:cxn ang="0">
                  <a:pos x="43" y="200"/>
                </a:cxn>
                <a:cxn ang="0">
                  <a:pos x="59" y="192"/>
                </a:cxn>
                <a:cxn ang="0">
                  <a:pos x="70" y="192"/>
                </a:cxn>
                <a:cxn ang="0">
                  <a:pos x="81" y="187"/>
                </a:cxn>
                <a:cxn ang="0">
                  <a:pos x="99" y="184"/>
                </a:cxn>
                <a:cxn ang="0">
                  <a:pos x="118" y="184"/>
                </a:cxn>
                <a:cxn ang="0">
                  <a:pos x="151" y="174"/>
                </a:cxn>
                <a:cxn ang="0">
                  <a:pos x="141" y="168"/>
                </a:cxn>
                <a:cxn ang="0">
                  <a:pos x="158" y="145"/>
                </a:cxn>
              </a:cxnLst>
              <a:rect l="0" t="0" r="r" b="b"/>
              <a:pathLst>
                <a:path w="158" h="201">
                  <a:moveTo>
                    <a:pt x="29" y="87"/>
                  </a:moveTo>
                  <a:lnTo>
                    <a:pt x="29" y="87"/>
                  </a:lnTo>
                  <a:lnTo>
                    <a:pt x="27" y="86"/>
                  </a:lnTo>
                  <a:lnTo>
                    <a:pt x="25" y="84"/>
                  </a:lnTo>
                  <a:lnTo>
                    <a:pt x="19" y="86"/>
                  </a:lnTo>
                  <a:lnTo>
                    <a:pt x="15" y="89"/>
                  </a:lnTo>
                  <a:lnTo>
                    <a:pt x="9" y="90"/>
                  </a:lnTo>
                  <a:lnTo>
                    <a:pt x="9" y="90"/>
                  </a:lnTo>
                  <a:lnTo>
                    <a:pt x="8" y="96"/>
                  </a:lnTo>
                  <a:lnTo>
                    <a:pt x="5" y="99"/>
                  </a:lnTo>
                  <a:lnTo>
                    <a:pt x="5" y="99"/>
                  </a:lnTo>
                  <a:lnTo>
                    <a:pt x="0" y="104"/>
                  </a:lnTo>
                  <a:lnTo>
                    <a:pt x="0" y="107"/>
                  </a:lnTo>
                  <a:lnTo>
                    <a:pt x="0" y="109"/>
                  </a:lnTo>
                  <a:lnTo>
                    <a:pt x="0" y="109"/>
                  </a:lnTo>
                  <a:lnTo>
                    <a:pt x="8" y="111"/>
                  </a:lnTo>
                  <a:lnTo>
                    <a:pt x="10" y="113"/>
                  </a:lnTo>
                  <a:lnTo>
                    <a:pt x="12" y="110"/>
                  </a:lnTo>
                  <a:lnTo>
                    <a:pt x="12" y="110"/>
                  </a:lnTo>
                  <a:lnTo>
                    <a:pt x="12" y="107"/>
                  </a:lnTo>
                  <a:lnTo>
                    <a:pt x="13" y="104"/>
                  </a:lnTo>
                  <a:lnTo>
                    <a:pt x="16" y="104"/>
                  </a:lnTo>
                  <a:lnTo>
                    <a:pt x="20" y="107"/>
                  </a:lnTo>
                  <a:lnTo>
                    <a:pt x="20" y="107"/>
                  </a:lnTo>
                  <a:lnTo>
                    <a:pt x="26" y="113"/>
                  </a:lnTo>
                  <a:lnTo>
                    <a:pt x="26" y="113"/>
                  </a:lnTo>
                  <a:lnTo>
                    <a:pt x="27" y="110"/>
                  </a:lnTo>
                  <a:lnTo>
                    <a:pt x="30" y="109"/>
                  </a:lnTo>
                  <a:lnTo>
                    <a:pt x="35" y="107"/>
                  </a:lnTo>
                  <a:lnTo>
                    <a:pt x="39" y="104"/>
                  </a:lnTo>
                  <a:lnTo>
                    <a:pt x="39" y="104"/>
                  </a:lnTo>
                  <a:lnTo>
                    <a:pt x="39" y="103"/>
                  </a:lnTo>
                  <a:lnTo>
                    <a:pt x="40" y="101"/>
                  </a:lnTo>
                  <a:lnTo>
                    <a:pt x="37" y="97"/>
                  </a:lnTo>
                  <a:lnTo>
                    <a:pt x="35" y="91"/>
                  </a:lnTo>
                  <a:lnTo>
                    <a:pt x="29" y="87"/>
                  </a:lnTo>
                  <a:lnTo>
                    <a:pt x="29" y="87"/>
                  </a:lnTo>
                  <a:close/>
                  <a:moveTo>
                    <a:pt x="158" y="145"/>
                  </a:moveTo>
                  <a:lnTo>
                    <a:pt x="158" y="145"/>
                  </a:lnTo>
                  <a:lnTo>
                    <a:pt x="158" y="143"/>
                  </a:lnTo>
                  <a:lnTo>
                    <a:pt x="157" y="141"/>
                  </a:lnTo>
                  <a:lnTo>
                    <a:pt x="151" y="137"/>
                  </a:lnTo>
                  <a:lnTo>
                    <a:pt x="145" y="136"/>
                  </a:lnTo>
                  <a:lnTo>
                    <a:pt x="143" y="137"/>
                  </a:lnTo>
                  <a:lnTo>
                    <a:pt x="143" y="137"/>
                  </a:lnTo>
                  <a:lnTo>
                    <a:pt x="143" y="137"/>
                  </a:lnTo>
                  <a:lnTo>
                    <a:pt x="140" y="140"/>
                  </a:lnTo>
                  <a:lnTo>
                    <a:pt x="138" y="140"/>
                  </a:lnTo>
                  <a:lnTo>
                    <a:pt x="136" y="138"/>
                  </a:lnTo>
                  <a:lnTo>
                    <a:pt x="134" y="137"/>
                  </a:lnTo>
                  <a:lnTo>
                    <a:pt x="134" y="137"/>
                  </a:lnTo>
                  <a:lnTo>
                    <a:pt x="133" y="133"/>
                  </a:lnTo>
                  <a:lnTo>
                    <a:pt x="134" y="131"/>
                  </a:lnTo>
                  <a:lnTo>
                    <a:pt x="134" y="128"/>
                  </a:lnTo>
                  <a:lnTo>
                    <a:pt x="134" y="127"/>
                  </a:lnTo>
                  <a:lnTo>
                    <a:pt x="134" y="127"/>
                  </a:lnTo>
                  <a:lnTo>
                    <a:pt x="131" y="127"/>
                  </a:lnTo>
                  <a:lnTo>
                    <a:pt x="130" y="124"/>
                  </a:lnTo>
                  <a:lnTo>
                    <a:pt x="128" y="121"/>
                  </a:lnTo>
                  <a:lnTo>
                    <a:pt x="128" y="118"/>
                  </a:lnTo>
                  <a:lnTo>
                    <a:pt x="128" y="118"/>
                  </a:lnTo>
                  <a:lnTo>
                    <a:pt x="128" y="116"/>
                  </a:lnTo>
                  <a:lnTo>
                    <a:pt x="126" y="109"/>
                  </a:lnTo>
                  <a:lnTo>
                    <a:pt x="121" y="103"/>
                  </a:lnTo>
                  <a:lnTo>
                    <a:pt x="120" y="100"/>
                  </a:lnTo>
                  <a:lnTo>
                    <a:pt x="117" y="100"/>
                  </a:lnTo>
                  <a:lnTo>
                    <a:pt x="117" y="100"/>
                  </a:lnTo>
                  <a:lnTo>
                    <a:pt x="114" y="99"/>
                  </a:lnTo>
                  <a:lnTo>
                    <a:pt x="111" y="96"/>
                  </a:lnTo>
                  <a:lnTo>
                    <a:pt x="109" y="91"/>
                  </a:lnTo>
                  <a:lnTo>
                    <a:pt x="106" y="80"/>
                  </a:lnTo>
                  <a:lnTo>
                    <a:pt x="106" y="80"/>
                  </a:lnTo>
                  <a:lnTo>
                    <a:pt x="104" y="77"/>
                  </a:lnTo>
                  <a:lnTo>
                    <a:pt x="101" y="76"/>
                  </a:lnTo>
                  <a:lnTo>
                    <a:pt x="99" y="74"/>
                  </a:lnTo>
                  <a:lnTo>
                    <a:pt x="96" y="72"/>
                  </a:lnTo>
                  <a:lnTo>
                    <a:pt x="96" y="72"/>
                  </a:lnTo>
                  <a:lnTo>
                    <a:pt x="91" y="69"/>
                  </a:lnTo>
                  <a:lnTo>
                    <a:pt x="87" y="69"/>
                  </a:lnTo>
                  <a:lnTo>
                    <a:pt x="81" y="70"/>
                  </a:lnTo>
                  <a:lnTo>
                    <a:pt x="81" y="70"/>
                  </a:lnTo>
                  <a:lnTo>
                    <a:pt x="80" y="69"/>
                  </a:lnTo>
                  <a:lnTo>
                    <a:pt x="80" y="66"/>
                  </a:lnTo>
                  <a:lnTo>
                    <a:pt x="83" y="63"/>
                  </a:lnTo>
                  <a:lnTo>
                    <a:pt x="87" y="59"/>
                  </a:lnTo>
                  <a:lnTo>
                    <a:pt x="87" y="59"/>
                  </a:lnTo>
                  <a:lnTo>
                    <a:pt x="91" y="53"/>
                  </a:lnTo>
                  <a:lnTo>
                    <a:pt x="94" y="44"/>
                  </a:lnTo>
                  <a:lnTo>
                    <a:pt x="97" y="36"/>
                  </a:lnTo>
                  <a:lnTo>
                    <a:pt x="99" y="32"/>
                  </a:lnTo>
                  <a:lnTo>
                    <a:pt x="99" y="32"/>
                  </a:lnTo>
                  <a:lnTo>
                    <a:pt x="97" y="30"/>
                  </a:lnTo>
                  <a:lnTo>
                    <a:pt x="94" y="29"/>
                  </a:lnTo>
                  <a:lnTo>
                    <a:pt x="86" y="27"/>
                  </a:lnTo>
                  <a:lnTo>
                    <a:pt x="76" y="29"/>
                  </a:lnTo>
                  <a:lnTo>
                    <a:pt x="69" y="30"/>
                  </a:lnTo>
                  <a:lnTo>
                    <a:pt x="69" y="30"/>
                  </a:lnTo>
                  <a:lnTo>
                    <a:pt x="66" y="30"/>
                  </a:lnTo>
                  <a:lnTo>
                    <a:pt x="63" y="29"/>
                  </a:lnTo>
                  <a:lnTo>
                    <a:pt x="62" y="26"/>
                  </a:lnTo>
                  <a:lnTo>
                    <a:pt x="64" y="25"/>
                  </a:lnTo>
                  <a:lnTo>
                    <a:pt x="64" y="25"/>
                  </a:lnTo>
                  <a:lnTo>
                    <a:pt x="67" y="22"/>
                  </a:lnTo>
                  <a:lnTo>
                    <a:pt x="72" y="19"/>
                  </a:lnTo>
                  <a:lnTo>
                    <a:pt x="74" y="15"/>
                  </a:lnTo>
                  <a:lnTo>
                    <a:pt x="76" y="12"/>
                  </a:lnTo>
                  <a:lnTo>
                    <a:pt x="76" y="12"/>
                  </a:lnTo>
                  <a:lnTo>
                    <a:pt x="76" y="9"/>
                  </a:lnTo>
                  <a:lnTo>
                    <a:pt x="79" y="6"/>
                  </a:lnTo>
                  <a:lnTo>
                    <a:pt x="79" y="5"/>
                  </a:lnTo>
                  <a:lnTo>
                    <a:pt x="79" y="2"/>
                  </a:lnTo>
                  <a:lnTo>
                    <a:pt x="79" y="2"/>
                  </a:lnTo>
                  <a:lnTo>
                    <a:pt x="76" y="0"/>
                  </a:lnTo>
                  <a:lnTo>
                    <a:pt x="74" y="3"/>
                  </a:lnTo>
                  <a:lnTo>
                    <a:pt x="73" y="6"/>
                  </a:lnTo>
                  <a:lnTo>
                    <a:pt x="72" y="8"/>
                  </a:lnTo>
                  <a:lnTo>
                    <a:pt x="72" y="8"/>
                  </a:lnTo>
                  <a:lnTo>
                    <a:pt x="69" y="9"/>
                  </a:lnTo>
                  <a:lnTo>
                    <a:pt x="64" y="10"/>
                  </a:lnTo>
                  <a:lnTo>
                    <a:pt x="54" y="9"/>
                  </a:lnTo>
                  <a:lnTo>
                    <a:pt x="54" y="9"/>
                  </a:lnTo>
                  <a:lnTo>
                    <a:pt x="52" y="9"/>
                  </a:lnTo>
                  <a:lnTo>
                    <a:pt x="49" y="9"/>
                  </a:lnTo>
                  <a:lnTo>
                    <a:pt x="46" y="13"/>
                  </a:lnTo>
                  <a:lnTo>
                    <a:pt x="44" y="17"/>
                  </a:lnTo>
                  <a:lnTo>
                    <a:pt x="44" y="22"/>
                  </a:lnTo>
                  <a:lnTo>
                    <a:pt x="44" y="22"/>
                  </a:lnTo>
                  <a:lnTo>
                    <a:pt x="43" y="25"/>
                  </a:lnTo>
                  <a:lnTo>
                    <a:pt x="40" y="27"/>
                  </a:lnTo>
                  <a:lnTo>
                    <a:pt x="37" y="30"/>
                  </a:lnTo>
                  <a:lnTo>
                    <a:pt x="37" y="33"/>
                  </a:lnTo>
                  <a:lnTo>
                    <a:pt x="37" y="33"/>
                  </a:lnTo>
                  <a:lnTo>
                    <a:pt x="37" y="36"/>
                  </a:lnTo>
                  <a:lnTo>
                    <a:pt x="36" y="37"/>
                  </a:lnTo>
                  <a:lnTo>
                    <a:pt x="35" y="37"/>
                  </a:lnTo>
                  <a:lnTo>
                    <a:pt x="33" y="37"/>
                  </a:lnTo>
                  <a:lnTo>
                    <a:pt x="33" y="37"/>
                  </a:lnTo>
                  <a:lnTo>
                    <a:pt x="29" y="33"/>
                  </a:lnTo>
                  <a:lnTo>
                    <a:pt x="26" y="32"/>
                  </a:lnTo>
                  <a:lnTo>
                    <a:pt x="23" y="33"/>
                  </a:lnTo>
                  <a:lnTo>
                    <a:pt x="23" y="33"/>
                  </a:lnTo>
                  <a:lnTo>
                    <a:pt x="22" y="35"/>
                  </a:lnTo>
                  <a:lnTo>
                    <a:pt x="22" y="37"/>
                  </a:lnTo>
                  <a:lnTo>
                    <a:pt x="25" y="40"/>
                  </a:lnTo>
                  <a:lnTo>
                    <a:pt x="29" y="42"/>
                  </a:lnTo>
                  <a:lnTo>
                    <a:pt x="35" y="43"/>
                  </a:lnTo>
                  <a:lnTo>
                    <a:pt x="35" y="43"/>
                  </a:lnTo>
                  <a:lnTo>
                    <a:pt x="36" y="43"/>
                  </a:lnTo>
                  <a:lnTo>
                    <a:pt x="36" y="44"/>
                  </a:lnTo>
                  <a:lnTo>
                    <a:pt x="35" y="47"/>
                  </a:lnTo>
                  <a:lnTo>
                    <a:pt x="30" y="50"/>
                  </a:lnTo>
                  <a:lnTo>
                    <a:pt x="29" y="54"/>
                  </a:lnTo>
                  <a:lnTo>
                    <a:pt x="29" y="54"/>
                  </a:lnTo>
                  <a:lnTo>
                    <a:pt x="29" y="57"/>
                  </a:lnTo>
                  <a:lnTo>
                    <a:pt x="29" y="59"/>
                  </a:lnTo>
                  <a:lnTo>
                    <a:pt x="32" y="60"/>
                  </a:lnTo>
                  <a:lnTo>
                    <a:pt x="36" y="62"/>
                  </a:lnTo>
                  <a:lnTo>
                    <a:pt x="36" y="62"/>
                  </a:lnTo>
                  <a:lnTo>
                    <a:pt x="37" y="63"/>
                  </a:lnTo>
                  <a:lnTo>
                    <a:pt x="37" y="63"/>
                  </a:lnTo>
                  <a:lnTo>
                    <a:pt x="37" y="66"/>
                  </a:lnTo>
                  <a:lnTo>
                    <a:pt x="36" y="66"/>
                  </a:lnTo>
                  <a:lnTo>
                    <a:pt x="30" y="69"/>
                  </a:lnTo>
                  <a:lnTo>
                    <a:pt x="26" y="70"/>
                  </a:lnTo>
                  <a:lnTo>
                    <a:pt x="25" y="72"/>
                  </a:lnTo>
                  <a:lnTo>
                    <a:pt x="25" y="73"/>
                  </a:lnTo>
                  <a:lnTo>
                    <a:pt x="25" y="73"/>
                  </a:lnTo>
                  <a:lnTo>
                    <a:pt x="25" y="74"/>
                  </a:lnTo>
                  <a:lnTo>
                    <a:pt x="25" y="74"/>
                  </a:lnTo>
                  <a:lnTo>
                    <a:pt x="29" y="74"/>
                  </a:lnTo>
                  <a:lnTo>
                    <a:pt x="36" y="70"/>
                  </a:lnTo>
                  <a:lnTo>
                    <a:pt x="36" y="70"/>
                  </a:lnTo>
                  <a:lnTo>
                    <a:pt x="36" y="70"/>
                  </a:lnTo>
                  <a:lnTo>
                    <a:pt x="36" y="70"/>
                  </a:lnTo>
                  <a:lnTo>
                    <a:pt x="37" y="74"/>
                  </a:lnTo>
                  <a:lnTo>
                    <a:pt x="37" y="79"/>
                  </a:lnTo>
                  <a:lnTo>
                    <a:pt x="39" y="79"/>
                  </a:lnTo>
                  <a:lnTo>
                    <a:pt x="42" y="79"/>
                  </a:lnTo>
                  <a:lnTo>
                    <a:pt x="42" y="79"/>
                  </a:lnTo>
                  <a:lnTo>
                    <a:pt x="44" y="79"/>
                  </a:lnTo>
                  <a:lnTo>
                    <a:pt x="46" y="77"/>
                  </a:lnTo>
                  <a:lnTo>
                    <a:pt x="49" y="72"/>
                  </a:lnTo>
                  <a:lnTo>
                    <a:pt x="50" y="69"/>
                  </a:lnTo>
                  <a:lnTo>
                    <a:pt x="50" y="67"/>
                  </a:lnTo>
                  <a:lnTo>
                    <a:pt x="52" y="67"/>
                  </a:lnTo>
                  <a:lnTo>
                    <a:pt x="52" y="67"/>
                  </a:lnTo>
                  <a:lnTo>
                    <a:pt x="52" y="67"/>
                  </a:lnTo>
                  <a:lnTo>
                    <a:pt x="52" y="70"/>
                  </a:lnTo>
                  <a:lnTo>
                    <a:pt x="52" y="74"/>
                  </a:lnTo>
                  <a:lnTo>
                    <a:pt x="53" y="77"/>
                  </a:lnTo>
                  <a:lnTo>
                    <a:pt x="53" y="77"/>
                  </a:lnTo>
                  <a:lnTo>
                    <a:pt x="53" y="80"/>
                  </a:lnTo>
                  <a:lnTo>
                    <a:pt x="53" y="81"/>
                  </a:lnTo>
                  <a:lnTo>
                    <a:pt x="50" y="86"/>
                  </a:lnTo>
                  <a:lnTo>
                    <a:pt x="47" y="90"/>
                  </a:lnTo>
                  <a:lnTo>
                    <a:pt x="47" y="94"/>
                  </a:lnTo>
                  <a:lnTo>
                    <a:pt x="47" y="94"/>
                  </a:lnTo>
                  <a:lnTo>
                    <a:pt x="47" y="96"/>
                  </a:lnTo>
                  <a:lnTo>
                    <a:pt x="50" y="96"/>
                  </a:lnTo>
                  <a:lnTo>
                    <a:pt x="56" y="96"/>
                  </a:lnTo>
                  <a:lnTo>
                    <a:pt x="64" y="96"/>
                  </a:lnTo>
                  <a:lnTo>
                    <a:pt x="67" y="94"/>
                  </a:lnTo>
                  <a:lnTo>
                    <a:pt x="70" y="91"/>
                  </a:lnTo>
                  <a:lnTo>
                    <a:pt x="70" y="91"/>
                  </a:lnTo>
                  <a:lnTo>
                    <a:pt x="73" y="90"/>
                  </a:lnTo>
                  <a:lnTo>
                    <a:pt x="76" y="90"/>
                  </a:lnTo>
                  <a:lnTo>
                    <a:pt x="76" y="93"/>
                  </a:lnTo>
                  <a:lnTo>
                    <a:pt x="74" y="97"/>
                  </a:lnTo>
                  <a:lnTo>
                    <a:pt x="74" y="97"/>
                  </a:lnTo>
                  <a:lnTo>
                    <a:pt x="72" y="100"/>
                  </a:lnTo>
                  <a:lnTo>
                    <a:pt x="72" y="103"/>
                  </a:lnTo>
                  <a:lnTo>
                    <a:pt x="73" y="104"/>
                  </a:lnTo>
                  <a:lnTo>
                    <a:pt x="77" y="107"/>
                  </a:lnTo>
                  <a:lnTo>
                    <a:pt x="77" y="107"/>
                  </a:lnTo>
                  <a:lnTo>
                    <a:pt x="81" y="109"/>
                  </a:lnTo>
                  <a:lnTo>
                    <a:pt x="81" y="110"/>
                  </a:lnTo>
                  <a:lnTo>
                    <a:pt x="81" y="113"/>
                  </a:lnTo>
                  <a:lnTo>
                    <a:pt x="81" y="113"/>
                  </a:lnTo>
                  <a:lnTo>
                    <a:pt x="80" y="116"/>
                  </a:lnTo>
                  <a:lnTo>
                    <a:pt x="80" y="120"/>
                  </a:lnTo>
                  <a:lnTo>
                    <a:pt x="80" y="127"/>
                  </a:lnTo>
                  <a:lnTo>
                    <a:pt x="80" y="127"/>
                  </a:lnTo>
                  <a:lnTo>
                    <a:pt x="79" y="128"/>
                  </a:lnTo>
                  <a:lnTo>
                    <a:pt x="76" y="128"/>
                  </a:lnTo>
                  <a:lnTo>
                    <a:pt x="72" y="130"/>
                  </a:lnTo>
                  <a:lnTo>
                    <a:pt x="66" y="128"/>
                  </a:lnTo>
                  <a:lnTo>
                    <a:pt x="63" y="127"/>
                  </a:lnTo>
                  <a:lnTo>
                    <a:pt x="63" y="127"/>
                  </a:lnTo>
                  <a:lnTo>
                    <a:pt x="62" y="127"/>
                  </a:lnTo>
                  <a:lnTo>
                    <a:pt x="60" y="127"/>
                  </a:lnTo>
                  <a:lnTo>
                    <a:pt x="59" y="128"/>
                  </a:lnTo>
                  <a:lnTo>
                    <a:pt x="59" y="130"/>
                  </a:lnTo>
                  <a:lnTo>
                    <a:pt x="59" y="130"/>
                  </a:lnTo>
                  <a:lnTo>
                    <a:pt x="57" y="133"/>
                  </a:lnTo>
                  <a:lnTo>
                    <a:pt x="56" y="136"/>
                  </a:lnTo>
                  <a:lnTo>
                    <a:pt x="54" y="138"/>
                  </a:lnTo>
                  <a:lnTo>
                    <a:pt x="53" y="140"/>
                  </a:lnTo>
                  <a:lnTo>
                    <a:pt x="53" y="140"/>
                  </a:lnTo>
                  <a:lnTo>
                    <a:pt x="54" y="141"/>
                  </a:lnTo>
                  <a:lnTo>
                    <a:pt x="59" y="143"/>
                  </a:lnTo>
                  <a:lnTo>
                    <a:pt x="62" y="144"/>
                  </a:lnTo>
                  <a:lnTo>
                    <a:pt x="63" y="147"/>
                  </a:lnTo>
                  <a:lnTo>
                    <a:pt x="63" y="147"/>
                  </a:lnTo>
                  <a:lnTo>
                    <a:pt x="62" y="150"/>
                  </a:lnTo>
                  <a:lnTo>
                    <a:pt x="59" y="153"/>
                  </a:lnTo>
                  <a:lnTo>
                    <a:pt x="53" y="155"/>
                  </a:lnTo>
                  <a:lnTo>
                    <a:pt x="47" y="157"/>
                  </a:lnTo>
                  <a:lnTo>
                    <a:pt x="47" y="157"/>
                  </a:lnTo>
                  <a:lnTo>
                    <a:pt x="44" y="158"/>
                  </a:lnTo>
                  <a:lnTo>
                    <a:pt x="44" y="160"/>
                  </a:lnTo>
                  <a:lnTo>
                    <a:pt x="44" y="161"/>
                  </a:lnTo>
                  <a:lnTo>
                    <a:pt x="46" y="163"/>
                  </a:lnTo>
                  <a:lnTo>
                    <a:pt x="50" y="164"/>
                  </a:lnTo>
                  <a:lnTo>
                    <a:pt x="52" y="164"/>
                  </a:lnTo>
                  <a:lnTo>
                    <a:pt x="53" y="164"/>
                  </a:lnTo>
                  <a:lnTo>
                    <a:pt x="53" y="164"/>
                  </a:lnTo>
                  <a:lnTo>
                    <a:pt x="56" y="163"/>
                  </a:lnTo>
                  <a:lnTo>
                    <a:pt x="57" y="164"/>
                  </a:lnTo>
                  <a:lnTo>
                    <a:pt x="60" y="165"/>
                  </a:lnTo>
                  <a:lnTo>
                    <a:pt x="63" y="165"/>
                  </a:lnTo>
                  <a:lnTo>
                    <a:pt x="63" y="165"/>
                  </a:lnTo>
                  <a:lnTo>
                    <a:pt x="67" y="167"/>
                  </a:lnTo>
                  <a:lnTo>
                    <a:pt x="72" y="168"/>
                  </a:lnTo>
                  <a:lnTo>
                    <a:pt x="76" y="170"/>
                  </a:lnTo>
                  <a:lnTo>
                    <a:pt x="80" y="168"/>
                  </a:lnTo>
                  <a:lnTo>
                    <a:pt x="80" y="168"/>
                  </a:lnTo>
                  <a:lnTo>
                    <a:pt x="84" y="167"/>
                  </a:lnTo>
                  <a:lnTo>
                    <a:pt x="86" y="168"/>
                  </a:lnTo>
                  <a:lnTo>
                    <a:pt x="84" y="170"/>
                  </a:lnTo>
                  <a:lnTo>
                    <a:pt x="81" y="173"/>
                  </a:lnTo>
                  <a:lnTo>
                    <a:pt x="81" y="173"/>
                  </a:lnTo>
                  <a:lnTo>
                    <a:pt x="77" y="174"/>
                  </a:lnTo>
                  <a:lnTo>
                    <a:pt x="72" y="174"/>
                  </a:lnTo>
                  <a:lnTo>
                    <a:pt x="67" y="174"/>
                  </a:lnTo>
                  <a:lnTo>
                    <a:pt x="63" y="175"/>
                  </a:lnTo>
                  <a:lnTo>
                    <a:pt x="63" y="175"/>
                  </a:lnTo>
                  <a:lnTo>
                    <a:pt x="57" y="180"/>
                  </a:lnTo>
                  <a:lnTo>
                    <a:pt x="50" y="187"/>
                  </a:lnTo>
                  <a:lnTo>
                    <a:pt x="44" y="194"/>
                  </a:lnTo>
                  <a:lnTo>
                    <a:pt x="43" y="198"/>
                  </a:lnTo>
                  <a:lnTo>
                    <a:pt x="43" y="200"/>
                  </a:lnTo>
                  <a:lnTo>
                    <a:pt x="43" y="200"/>
                  </a:lnTo>
                  <a:lnTo>
                    <a:pt x="44" y="201"/>
                  </a:lnTo>
                  <a:lnTo>
                    <a:pt x="47" y="198"/>
                  </a:lnTo>
                  <a:lnTo>
                    <a:pt x="50" y="195"/>
                  </a:lnTo>
                  <a:lnTo>
                    <a:pt x="54" y="194"/>
                  </a:lnTo>
                  <a:lnTo>
                    <a:pt x="54" y="194"/>
                  </a:lnTo>
                  <a:lnTo>
                    <a:pt x="59" y="192"/>
                  </a:lnTo>
                  <a:lnTo>
                    <a:pt x="62" y="194"/>
                  </a:lnTo>
                  <a:lnTo>
                    <a:pt x="64" y="195"/>
                  </a:lnTo>
                  <a:lnTo>
                    <a:pt x="67" y="195"/>
                  </a:lnTo>
                  <a:lnTo>
                    <a:pt x="67" y="195"/>
                  </a:lnTo>
                  <a:lnTo>
                    <a:pt x="69" y="195"/>
                  </a:lnTo>
                  <a:lnTo>
                    <a:pt x="70" y="192"/>
                  </a:lnTo>
                  <a:lnTo>
                    <a:pt x="72" y="190"/>
                  </a:lnTo>
                  <a:lnTo>
                    <a:pt x="74" y="188"/>
                  </a:lnTo>
                  <a:lnTo>
                    <a:pt x="74" y="188"/>
                  </a:lnTo>
                  <a:lnTo>
                    <a:pt x="76" y="188"/>
                  </a:lnTo>
                  <a:lnTo>
                    <a:pt x="79" y="188"/>
                  </a:lnTo>
                  <a:lnTo>
                    <a:pt x="81" y="187"/>
                  </a:lnTo>
                  <a:lnTo>
                    <a:pt x="86" y="187"/>
                  </a:lnTo>
                  <a:lnTo>
                    <a:pt x="86" y="187"/>
                  </a:lnTo>
                  <a:lnTo>
                    <a:pt x="90" y="187"/>
                  </a:lnTo>
                  <a:lnTo>
                    <a:pt x="93" y="187"/>
                  </a:lnTo>
                  <a:lnTo>
                    <a:pt x="99" y="184"/>
                  </a:lnTo>
                  <a:lnTo>
                    <a:pt x="99" y="184"/>
                  </a:lnTo>
                  <a:lnTo>
                    <a:pt x="101" y="182"/>
                  </a:lnTo>
                  <a:lnTo>
                    <a:pt x="104" y="184"/>
                  </a:lnTo>
                  <a:lnTo>
                    <a:pt x="109" y="187"/>
                  </a:lnTo>
                  <a:lnTo>
                    <a:pt x="111" y="187"/>
                  </a:lnTo>
                  <a:lnTo>
                    <a:pt x="111" y="187"/>
                  </a:lnTo>
                  <a:lnTo>
                    <a:pt x="118" y="184"/>
                  </a:lnTo>
                  <a:lnTo>
                    <a:pt x="128" y="182"/>
                  </a:lnTo>
                  <a:lnTo>
                    <a:pt x="128" y="182"/>
                  </a:lnTo>
                  <a:lnTo>
                    <a:pt x="134" y="182"/>
                  </a:lnTo>
                  <a:lnTo>
                    <a:pt x="141" y="180"/>
                  </a:lnTo>
                  <a:lnTo>
                    <a:pt x="151" y="174"/>
                  </a:lnTo>
                  <a:lnTo>
                    <a:pt x="151" y="174"/>
                  </a:lnTo>
                  <a:lnTo>
                    <a:pt x="153" y="171"/>
                  </a:lnTo>
                  <a:lnTo>
                    <a:pt x="151" y="171"/>
                  </a:lnTo>
                  <a:lnTo>
                    <a:pt x="144" y="171"/>
                  </a:lnTo>
                  <a:lnTo>
                    <a:pt x="144" y="171"/>
                  </a:lnTo>
                  <a:lnTo>
                    <a:pt x="141" y="170"/>
                  </a:lnTo>
                  <a:lnTo>
                    <a:pt x="141" y="168"/>
                  </a:lnTo>
                  <a:lnTo>
                    <a:pt x="143" y="164"/>
                  </a:lnTo>
                  <a:lnTo>
                    <a:pt x="145" y="161"/>
                  </a:lnTo>
                  <a:lnTo>
                    <a:pt x="145" y="161"/>
                  </a:lnTo>
                  <a:lnTo>
                    <a:pt x="154" y="154"/>
                  </a:lnTo>
                  <a:lnTo>
                    <a:pt x="157" y="150"/>
                  </a:lnTo>
                  <a:lnTo>
                    <a:pt x="158" y="145"/>
                  </a:lnTo>
                  <a:lnTo>
                    <a:pt x="158" y="14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9" name="Freeform 321">
              <a:extLst>
                <a:ext uri="{FF2B5EF4-FFF2-40B4-BE49-F238E27FC236}">
                  <a16:creationId xmlns:a16="http://schemas.microsoft.com/office/drawing/2014/main" id="{DF129809-D859-A04D-8071-8F2D47149A24}"/>
                </a:ext>
              </a:extLst>
            </p:cNvPr>
            <p:cNvSpPr>
              <a:spLocks noEditPoints="1"/>
            </p:cNvSpPr>
            <p:nvPr/>
          </p:nvSpPr>
          <p:spPr bwMode="auto">
            <a:xfrm>
              <a:off x="4515768" y="2750047"/>
              <a:ext cx="109504" cy="105065"/>
            </a:xfrm>
            <a:custGeom>
              <a:avLst/>
              <a:gdLst/>
              <a:ahLst/>
              <a:cxnLst>
                <a:cxn ang="0">
                  <a:pos x="37" y="24"/>
                </a:cxn>
                <a:cxn ang="0">
                  <a:pos x="39" y="14"/>
                </a:cxn>
                <a:cxn ang="0">
                  <a:pos x="40" y="7"/>
                </a:cxn>
                <a:cxn ang="0">
                  <a:pos x="40" y="0"/>
                </a:cxn>
                <a:cxn ang="0">
                  <a:pos x="30" y="3"/>
                </a:cxn>
                <a:cxn ang="0">
                  <a:pos x="26" y="10"/>
                </a:cxn>
                <a:cxn ang="0">
                  <a:pos x="19" y="11"/>
                </a:cxn>
                <a:cxn ang="0">
                  <a:pos x="19" y="15"/>
                </a:cxn>
                <a:cxn ang="0">
                  <a:pos x="19" y="18"/>
                </a:cxn>
                <a:cxn ang="0">
                  <a:pos x="13" y="15"/>
                </a:cxn>
                <a:cxn ang="0">
                  <a:pos x="7" y="15"/>
                </a:cxn>
                <a:cxn ang="0">
                  <a:pos x="2" y="25"/>
                </a:cxn>
                <a:cxn ang="0">
                  <a:pos x="2" y="44"/>
                </a:cxn>
                <a:cxn ang="0">
                  <a:pos x="6" y="51"/>
                </a:cxn>
                <a:cxn ang="0">
                  <a:pos x="9" y="58"/>
                </a:cxn>
                <a:cxn ang="0">
                  <a:pos x="10" y="65"/>
                </a:cxn>
                <a:cxn ang="0">
                  <a:pos x="26" y="67"/>
                </a:cxn>
                <a:cxn ang="0">
                  <a:pos x="27" y="62"/>
                </a:cxn>
                <a:cxn ang="0">
                  <a:pos x="24" y="58"/>
                </a:cxn>
                <a:cxn ang="0">
                  <a:pos x="33" y="60"/>
                </a:cxn>
                <a:cxn ang="0">
                  <a:pos x="40" y="62"/>
                </a:cxn>
                <a:cxn ang="0">
                  <a:pos x="44" y="60"/>
                </a:cxn>
                <a:cxn ang="0">
                  <a:pos x="40" y="50"/>
                </a:cxn>
                <a:cxn ang="0">
                  <a:pos x="34" y="51"/>
                </a:cxn>
                <a:cxn ang="0">
                  <a:pos x="32" y="47"/>
                </a:cxn>
                <a:cxn ang="0">
                  <a:pos x="36" y="38"/>
                </a:cxn>
                <a:cxn ang="0">
                  <a:pos x="44" y="34"/>
                </a:cxn>
                <a:cxn ang="0">
                  <a:pos x="46" y="31"/>
                </a:cxn>
                <a:cxn ang="0">
                  <a:pos x="39" y="25"/>
                </a:cxn>
                <a:cxn ang="0">
                  <a:pos x="73" y="40"/>
                </a:cxn>
                <a:cxn ang="0">
                  <a:pos x="69" y="44"/>
                </a:cxn>
                <a:cxn ang="0">
                  <a:pos x="64" y="38"/>
                </a:cxn>
                <a:cxn ang="0">
                  <a:pos x="61" y="41"/>
                </a:cxn>
                <a:cxn ang="0">
                  <a:pos x="53" y="44"/>
                </a:cxn>
                <a:cxn ang="0">
                  <a:pos x="52" y="50"/>
                </a:cxn>
                <a:cxn ang="0">
                  <a:pos x="59" y="60"/>
                </a:cxn>
                <a:cxn ang="0">
                  <a:pos x="60" y="62"/>
                </a:cxn>
                <a:cxn ang="0">
                  <a:pos x="54" y="64"/>
                </a:cxn>
                <a:cxn ang="0">
                  <a:pos x="56" y="68"/>
                </a:cxn>
                <a:cxn ang="0">
                  <a:pos x="61" y="70"/>
                </a:cxn>
                <a:cxn ang="0">
                  <a:pos x="70" y="61"/>
                </a:cxn>
                <a:cxn ang="0">
                  <a:pos x="71" y="54"/>
                </a:cxn>
                <a:cxn ang="0">
                  <a:pos x="74" y="40"/>
                </a:cxn>
              </a:cxnLst>
              <a:rect l="0" t="0" r="r" b="b"/>
              <a:pathLst>
                <a:path w="74" h="71">
                  <a:moveTo>
                    <a:pt x="39" y="25"/>
                  </a:moveTo>
                  <a:lnTo>
                    <a:pt x="39" y="25"/>
                  </a:lnTo>
                  <a:lnTo>
                    <a:pt x="37" y="24"/>
                  </a:lnTo>
                  <a:lnTo>
                    <a:pt x="36" y="20"/>
                  </a:lnTo>
                  <a:lnTo>
                    <a:pt x="36" y="17"/>
                  </a:lnTo>
                  <a:lnTo>
                    <a:pt x="39" y="14"/>
                  </a:lnTo>
                  <a:lnTo>
                    <a:pt x="39" y="14"/>
                  </a:lnTo>
                  <a:lnTo>
                    <a:pt x="40" y="11"/>
                  </a:lnTo>
                  <a:lnTo>
                    <a:pt x="40" y="7"/>
                  </a:lnTo>
                  <a:lnTo>
                    <a:pt x="40" y="3"/>
                  </a:lnTo>
                  <a:lnTo>
                    <a:pt x="40" y="0"/>
                  </a:lnTo>
                  <a:lnTo>
                    <a:pt x="40" y="0"/>
                  </a:lnTo>
                  <a:lnTo>
                    <a:pt x="37" y="0"/>
                  </a:lnTo>
                  <a:lnTo>
                    <a:pt x="33" y="0"/>
                  </a:lnTo>
                  <a:lnTo>
                    <a:pt x="30" y="3"/>
                  </a:lnTo>
                  <a:lnTo>
                    <a:pt x="29" y="7"/>
                  </a:lnTo>
                  <a:lnTo>
                    <a:pt x="29" y="7"/>
                  </a:lnTo>
                  <a:lnTo>
                    <a:pt x="26" y="10"/>
                  </a:lnTo>
                  <a:lnTo>
                    <a:pt x="23" y="11"/>
                  </a:lnTo>
                  <a:lnTo>
                    <a:pt x="20" y="11"/>
                  </a:lnTo>
                  <a:lnTo>
                    <a:pt x="19" y="11"/>
                  </a:lnTo>
                  <a:lnTo>
                    <a:pt x="19" y="11"/>
                  </a:lnTo>
                  <a:lnTo>
                    <a:pt x="19" y="13"/>
                  </a:lnTo>
                  <a:lnTo>
                    <a:pt x="19" y="15"/>
                  </a:lnTo>
                  <a:lnTo>
                    <a:pt x="20" y="17"/>
                  </a:lnTo>
                  <a:lnTo>
                    <a:pt x="19" y="18"/>
                  </a:lnTo>
                  <a:lnTo>
                    <a:pt x="19" y="18"/>
                  </a:lnTo>
                  <a:lnTo>
                    <a:pt x="17" y="20"/>
                  </a:lnTo>
                  <a:lnTo>
                    <a:pt x="16" y="18"/>
                  </a:lnTo>
                  <a:lnTo>
                    <a:pt x="13" y="15"/>
                  </a:lnTo>
                  <a:lnTo>
                    <a:pt x="10" y="14"/>
                  </a:lnTo>
                  <a:lnTo>
                    <a:pt x="10" y="14"/>
                  </a:lnTo>
                  <a:lnTo>
                    <a:pt x="7" y="15"/>
                  </a:lnTo>
                  <a:lnTo>
                    <a:pt x="5" y="18"/>
                  </a:lnTo>
                  <a:lnTo>
                    <a:pt x="2" y="25"/>
                  </a:lnTo>
                  <a:lnTo>
                    <a:pt x="2" y="25"/>
                  </a:lnTo>
                  <a:lnTo>
                    <a:pt x="0" y="30"/>
                  </a:lnTo>
                  <a:lnTo>
                    <a:pt x="0" y="34"/>
                  </a:lnTo>
                  <a:lnTo>
                    <a:pt x="2" y="44"/>
                  </a:lnTo>
                  <a:lnTo>
                    <a:pt x="2" y="44"/>
                  </a:lnTo>
                  <a:lnTo>
                    <a:pt x="3" y="48"/>
                  </a:lnTo>
                  <a:lnTo>
                    <a:pt x="6" y="51"/>
                  </a:lnTo>
                  <a:lnTo>
                    <a:pt x="7" y="55"/>
                  </a:lnTo>
                  <a:lnTo>
                    <a:pt x="9" y="58"/>
                  </a:lnTo>
                  <a:lnTo>
                    <a:pt x="9" y="58"/>
                  </a:lnTo>
                  <a:lnTo>
                    <a:pt x="9" y="61"/>
                  </a:lnTo>
                  <a:lnTo>
                    <a:pt x="10" y="65"/>
                  </a:lnTo>
                  <a:lnTo>
                    <a:pt x="10" y="65"/>
                  </a:lnTo>
                  <a:lnTo>
                    <a:pt x="19" y="65"/>
                  </a:lnTo>
                  <a:lnTo>
                    <a:pt x="26" y="67"/>
                  </a:lnTo>
                  <a:lnTo>
                    <a:pt x="26" y="67"/>
                  </a:lnTo>
                  <a:lnTo>
                    <a:pt x="32" y="67"/>
                  </a:lnTo>
                  <a:lnTo>
                    <a:pt x="32" y="67"/>
                  </a:lnTo>
                  <a:lnTo>
                    <a:pt x="27" y="62"/>
                  </a:lnTo>
                  <a:lnTo>
                    <a:pt x="26" y="60"/>
                  </a:lnTo>
                  <a:lnTo>
                    <a:pt x="24" y="58"/>
                  </a:lnTo>
                  <a:lnTo>
                    <a:pt x="24" y="58"/>
                  </a:lnTo>
                  <a:lnTo>
                    <a:pt x="26" y="57"/>
                  </a:lnTo>
                  <a:lnTo>
                    <a:pt x="27" y="57"/>
                  </a:lnTo>
                  <a:lnTo>
                    <a:pt x="33" y="60"/>
                  </a:lnTo>
                  <a:lnTo>
                    <a:pt x="33" y="60"/>
                  </a:lnTo>
                  <a:lnTo>
                    <a:pt x="36" y="61"/>
                  </a:lnTo>
                  <a:lnTo>
                    <a:pt x="40" y="62"/>
                  </a:lnTo>
                  <a:lnTo>
                    <a:pt x="43" y="61"/>
                  </a:lnTo>
                  <a:lnTo>
                    <a:pt x="44" y="60"/>
                  </a:lnTo>
                  <a:lnTo>
                    <a:pt x="44" y="60"/>
                  </a:lnTo>
                  <a:lnTo>
                    <a:pt x="43" y="52"/>
                  </a:lnTo>
                  <a:lnTo>
                    <a:pt x="42" y="50"/>
                  </a:lnTo>
                  <a:lnTo>
                    <a:pt x="40" y="50"/>
                  </a:lnTo>
                  <a:lnTo>
                    <a:pt x="39" y="50"/>
                  </a:lnTo>
                  <a:lnTo>
                    <a:pt x="39" y="50"/>
                  </a:lnTo>
                  <a:lnTo>
                    <a:pt x="34" y="51"/>
                  </a:lnTo>
                  <a:lnTo>
                    <a:pt x="32" y="48"/>
                  </a:lnTo>
                  <a:lnTo>
                    <a:pt x="32" y="48"/>
                  </a:lnTo>
                  <a:lnTo>
                    <a:pt x="32" y="47"/>
                  </a:lnTo>
                  <a:lnTo>
                    <a:pt x="33" y="44"/>
                  </a:lnTo>
                  <a:lnTo>
                    <a:pt x="36" y="38"/>
                  </a:lnTo>
                  <a:lnTo>
                    <a:pt x="36" y="38"/>
                  </a:lnTo>
                  <a:lnTo>
                    <a:pt x="37" y="37"/>
                  </a:lnTo>
                  <a:lnTo>
                    <a:pt x="42" y="35"/>
                  </a:lnTo>
                  <a:lnTo>
                    <a:pt x="44" y="34"/>
                  </a:lnTo>
                  <a:lnTo>
                    <a:pt x="46" y="33"/>
                  </a:lnTo>
                  <a:lnTo>
                    <a:pt x="46" y="33"/>
                  </a:lnTo>
                  <a:lnTo>
                    <a:pt x="46" y="31"/>
                  </a:lnTo>
                  <a:lnTo>
                    <a:pt x="43" y="28"/>
                  </a:lnTo>
                  <a:lnTo>
                    <a:pt x="39" y="25"/>
                  </a:lnTo>
                  <a:lnTo>
                    <a:pt x="39" y="25"/>
                  </a:lnTo>
                  <a:close/>
                  <a:moveTo>
                    <a:pt x="74" y="40"/>
                  </a:moveTo>
                  <a:lnTo>
                    <a:pt x="74" y="40"/>
                  </a:lnTo>
                  <a:lnTo>
                    <a:pt x="73" y="40"/>
                  </a:lnTo>
                  <a:lnTo>
                    <a:pt x="71" y="41"/>
                  </a:lnTo>
                  <a:lnTo>
                    <a:pt x="69" y="44"/>
                  </a:lnTo>
                  <a:lnTo>
                    <a:pt x="69" y="44"/>
                  </a:lnTo>
                  <a:lnTo>
                    <a:pt x="67" y="43"/>
                  </a:lnTo>
                  <a:lnTo>
                    <a:pt x="66" y="40"/>
                  </a:lnTo>
                  <a:lnTo>
                    <a:pt x="64" y="38"/>
                  </a:lnTo>
                  <a:lnTo>
                    <a:pt x="63" y="40"/>
                  </a:lnTo>
                  <a:lnTo>
                    <a:pt x="63" y="40"/>
                  </a:lnTo>
                  <a:lnTo>
                    <a:pt x="61" y="41"/>
                  </a:lnTo>
                  <a:lnTo>
                    <a:pt x="60" y="41"/>
                  </a:lnTo>
                  <a:lnTo>
                    <a:pt x="56" y="41"/>
                  </a:lnTo>
                  <a:lnTo>
                    <a:pt x="53" y="44"/>
                  </a:lnTo>
                  <a:lnTo>
                    <a:pt x="53" y="44"/>
                  </a:lnTo>
                  <a:lnTo>
                    <a:pt x="52" y="47"/>
                  </a:lnTo>
                  <a:lnTo>
                    <a:pt x="52" y="50"/>
                  </a:lnTo>
                  <a:lnTo>
                    <a:pt x="53" y="54"/>
                  </a:lnTo>
                  <a:lnTo>
                    <a:pt x="56" y="57"/>
                  </a:lnTo>
                  <a:lnTo>
                    <a:pt x="59" y="60"/>
                  </a:lnTo>
                  <a:lnTo>
                    <a:pt x="59" y="60"/>
                  </a:lnTo>
                  <a:lnTo>
                    <a:pt x="60" y="61"/>
                  </a:lnTo>
                  <a:lnTo>
                    <a:pt x="60" y="62"/>
                  </a:lnTo>
                  <a:lnTo>
                    <a:pt x="57" y="64"/>
                  </a:lnTo>
                  <a:lnTo>
                    <a:pt x="54" y="64"/>
                  </a:lnTo>
                  <a:lnTo>
                    <a:pt x="54" y="64"/>
                  </a:lnTo>
                  <a:lnTo>
                    <a:pt x="53" y="64"/>
                  </a:lnTo>
                  <a:lnTo>
                    <a:pt x="53" y="67"/>
                  </a:lnTo>
                  <a:lnTo>
                    <a:pt x="56" y="68"/>
                  </a:lnTo>
                  <a:lnTo>
                    <a:pt x="59" y="71"/>
                  </a:lnTo>
                  <a:lnTo>
                    <a:pt x="59" y="71"/>
                  </a:lnTo>
                  <a:lnTo>
                    <a:pt x="61" y="70"/>
                  </a:lnTo>
                  <a:lnTo>
                    <a:pt x="63" y="70"/>
                  </a:lnTo>
                  <a:lnTo>
                    <a:pt x="67" y="65"/>
                  </a:lnTo>
                  <a:lnTo>
                    <a:pt x="70" y="61"/>
                  </a:lnTo>
                  <a:lnTo>
                    <a:pt x="70" y="57"/>
                  </a:lnTo>
                  <a:lnTo>
                    <a:pt x="70" y="57"/>
                  </a:lnTo>
                  <a:lnTo>
                    <a:pt x="71" y="54"/>
                  </a:lnTo>
                  <a:lnTo>
                    <a:pt x="73" y="48"/>
                  </a:lnTo>
                  <a:lnTo>
                    <a:pt x="74" y="43"/>
                  </a:lnTo>
                  <a:lnTo>
                    <a:pt x="74" y="40"/>
                  </a:lnTo>
                  <a:lnTo>
                    <a:pt x="74"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0" name="Freeform 322">
              <a:extLst>
                <a:ext uri="{FF2B5EF4-FFF2-40B4-BE49-F238E27FC236}">
                  <a16:creationId xmlns:a16="http://schemas.microsoft.com/office/drawing/2014/main" id="{3D65F60D-E99A-0D4F-A3FC-123335E87887}"/>
                </a:ext>
              </a:extLst>
            </p:cNvPr>
            <p:cNvSpPr>
              <a:spLocks noEditPoints="1"/>
            </p:cNvSpPr>
            <p:nvPr/>
          </p:nvSpPr>
          <p:spPr bwMode="auto">
            <a:xfrm>
              <a:off x="4592717" y="2317950"/>
              <a:ext cx="295957" cy="512006"/>
            </a:xfrm>
            <a:custGeom>
              <a:avLst/>
              <a:gdLst/>
              <a:ahLst/>
              <a:cxnLst>
                <a:cxn ang="0">
                  <a:pos x="194" y="71"/>
                </a:cxn>
                <a:cxn ang="0">
                  <a:pos x="196" y="57"/>
                </a:cxn>
                <a:cxn ang="0">
                  <a:pos x="192" y="43"/>
                </a:cxn>
                <a:cxn ang="0">
                  <a:pos x="190" y="26"/>
                </a:cxn>
                <a:cxn ang="0">
                  <a:pos x="157" y="7"/>
                </a:cxn>
                <a:cxn ang="0">
                  <a:pos x="142" y="3"/>
                </a:cxn>
                <a:cxn ang="0">
                  <a:pos x="133" y="17"/>
                </a:cxn>
                <a:cxn ang="0">
                  <a:pos x="112" y="13"/>
                </a:cxn>
                <a:cxn ang="0">
                  <a:pos x="109" y="24"/>
                </a:cxn>
                <a:cxn ang="0">
                  <a:pos x="89" y="32"/>
                </a:cxn>
                <a:cxn ang="0">
                  <a:pos x="79" y="47"/>
                </a:cxn>
                <a:cxn ang="0">
                  <a:pos x="76" y="57"/>
                </a:cxn>
                <a:cxn ang="0">
                  <a:pos x="66" y="77"/>
                </a:cxn>
                <a:cxn ang="0">
                  <a:pos x="52" y="81"/>
                </a:cxn>
                <a:cxn ang="0">
                  <a:pos x="51" y="101"/>
                </a:cxn>
                <a:cxn ang="0">
                  <a:pos x="42" y="124"/>
                </a:cxn>
                <a:cxn ang="0">
                  <a:pos x="45" y="134"/>
                </a:cxn>
                <a:cxn ang="0">
                  <a:pos x="27" y="137"/>
                </a:cxn>
                <a:cxn ang="0">
                  <a:pos x="15" y="160"/>
                </a:cxn>
                <a:cxn ang="0">
                  <a:pos x="17" y="178"/>
                </a:cxn>
                <a:cxn ang="0">
                  <a:pos x="15" y="194"/>
                </a:cxn>
                <a:cxn ang="0">
                  <a:pos x="27" y="208"/>
                </a:cxn>
                <a:cxn ang="0">
                  <a:pos x="18" y="216"/>
                </a:cxn>
                <a:cxn ang="0">
                  <a:pos x="22" y="236"/>
                </a:cxn>
                <a:cxn ang="0">
                  <a:pos x="11" y="239"/>
                </a:cxn>
                <a:cxn ang="0">
                  <a:pos x="8" y="261"/>
                </a:cxn>
                <a:cxn ang="0">
                  <a:pos x="0" y="262"/>
                </a:cxn>
                <a:cxn ang="0">
                  <a:pos x="4" y="276"/>
                </a:cxn>
                <a:cxn ang="0">
                  <a:pos x="12" y="296"/>
                </a:cxn>
                <a:cxn ang="0">
                  <a:pos x="21" y="312"/>
                </a:cxn>
                <a:cxn ang="0">
                  <a:pos x="24" y="326"/>
                </a:cxn>
                <a:cxn ang="0">
                  <a:pos x="28" y="342"/>
                </a:cxn>
                <a:cxn ang="0">
                  <a:pos x="42" y="344"/>
                </a:cxn>
                <a:cxn ang="0">
                  <a:pos x="49" y="332"/>
                </a:cxn>
                <a:cxn ang="0">
                  <a:pos x="62" y="327"/>
                </a:cxn>
                <a:cxn ang="0">
                  <a:pos x="75" y="320"/>
                </a:cxn>
                <a:cxn ang="0">
                  <a:pos x="82" y="322"/>
                </a:cxn>
                <a:cxn ang="0">
                  <a:pos x="83" y="309"/>
                </a:cxn>
                <a:cxn ang="0">
                  <a:pos x="83" y="298"/>
                </a:cxn>
                <a:cxn ang="0">
                  <a:pos x="91" y="266"/>
                </a:cxn>
                <a:cxn ang="0">
                  <a:pos x="110" y="252"/>
                </a:cxn>
                <a:cxn ang="0">
                  <a:pos x="119" y="239"/>
                </a:cxn>
                <a:cxn ang="0">
                  <a:pos x="101" y="221"/>
                </a:cxn>
                <a:cxn ang="0">
                  <a:pos x="91" y="201"/>
                </a:cxn>
                <a:cxn ang="0">
                  <a:pos x="96" y="185"/>
                </a:cxn>
                <a:cxn ang="0">
                  <a:pos x="105" y="169"/>
                </a:cxn>
                <a:cxn ang="0">
                  <a:pos x="116" y="155"/>
                </a:cxn>
                <a:cxn ang="0">
                  <a:pos x="149" y="135"/>
                </a:cxn>
                <a:cxn ang="0">
                  <a:pos x="157" y="118"/>
                </a:cxn>
                <a:cxn ang="0">
                  <a:pos x="162" y="103"/>
                </a:cxn>
                <a:cxn ang="0">
                  <a:pos x="174" y="88"/>
                </a:cxn>
                <a:cxn ang="0">
                  <a:pos x="196" y="87"/>
                </a:cxn>
                <a:cxn ang="0">
                  <a:pos x="118" y="288"/>
                </a:cxn>
                <a:cxn ang="0">
                  <a:pos x="106" y="309"/>
                </a:cxn>
                <a:cxn ang="0">
                  <a:pos x="120" y="289"/>
                </a:cxn>
              </a:cxnLst>
              <a:rect l="0" t="0" r="r" b="b"/>
              <a:pathLst>
                <a:path w="200" h="346">
                  <a:moveTo>
                    <a:pt x="197" y="80"/>
                  </a:moveTo>
                  <a:lnTo>
                    <a:pt x="197" y="80"/>
                  </a:lnTo>
                  <a:lnTo>
                    <a:pt x="194" y="74"/>
                  </a:lnTo>
                  <a:lnTo>
                    <a:pt x="193" y="73"/>
                  </a:lnTo>
                  <a:lnTo>
                    <a:pt x="194" y="71"/>
                  </a:lnTo>
                  <a:lnTo>
                    <a:pt x="194" y="71"/>
                  </a:lnTo>
                  <a:lnTo>
                    <a:pt x="196" y="71"/>
                  </a:lnTo>
                  <a:lnTo>
                    <a:pt x="197" y="70"/>
                  </a:lnTo>
                  <a:lnTo>
                    <a:pt x="199" y="66"/>
                  </a:lnTo>
                  <a:lnTo>
                    <a:pt x="197" y="60"/>
                  </a:lnTo>
                  <a:lnTo>
                    <a:pt x="196" y="57"/>
                  </a:lnTo>
                  <a:lnTo>
                    <a:pt x="196" y="57"/>
                  </a:lnTo>
                  <a:lnTo>
                    <a:pt x="194" y="56"/>
                  </a:lnTo>
                  <a:lnTo>
                    <a:pt x="193" y="54"/>
                  </a:lnTo>
                  <a:lnTo>
                    <a:pt x="193" y="50"/>
                  </a:lnTo>
                  <a:lnTo>
                    <a:pt x="193" y="46"/>
                  </a:lnTo>
                  <a:lnTo>
                    <a:pt x="193" y="44"/>
                  </a:lnTo>
                  <a:lnTo>
                    <a:pt x="192" y="43"/>
                  </a:lnTo>
                  <a:lnTo>
                    <a:pt x="192" y="43"/>
                  </a:lnTo>
                  <a:lnTo>
                    <a:pt x="190" y="40"/>
                  </a:lnTo>
                  <a:lnTo>
                    <a:pt x="190" y="37"/>
                  </a:lnTo>
                  <a:lnTo>
                    <a:pt x="192" y="27"/>
                  </a:lnTo>
                  <a:lnTo>
                    <a:pt x="192" y="27"/>
                  </a:lnTo>
                  <a:lnTo>
                    <a:pt x="190" y="26"/>
                  </a:lnTo>
                  <a:lnTo>
                    <a:pt x="189" y="24"/>
                  </a:lnTo>
                  <a:lnTo>
                    <a:pt x="183" y="20"/>
                  </a:lnTo>
                  <a:lnTo>
                    <a:pt x="167" y="14"/>
                  </a:lnTo>
                  <a:lnTo>
                    <a:pt x="167" y="14"/>
                  </a:lnTo>
                  <a:lnTo>
                    <a:pt x="163" y="10"/>
                  </a:lnTo>
                  <a:lnTo>
                    <a:pt x="157" y="7"/>
                  </a:lnTo>
                  <a:lnTo>
                    <a:pt x="153" y="3"/>
                  </a:lnTo>
                  <a:lnTo>
                    <a:pt x="149" y="0"/>
                  </a:lnTo>
                  <a:lnTo>
                    <a:pt x="149" y="0"/>
                  </a:lnTo>
                  <a:lnTo>
                    <a:pt x="146" y="0"/>
                  </a:lnTo>
                  <a:lnTo>
                    <a:pt x="145" y="0"/>
                  </a:lnTo>
                  <a:lnTo>
                    <a:pt x="142" y="3"/>
                  </a:lnTo>
                  <a:lnTo>
                    <a:pt x="140" y="7"/>
                  </a:lnTo>
                  <a:lnTo>
                    <a:pt x="140" y="13"/>
                  </a:lnTo>
                  <a:lnTo>
                    <a:pt x="140" y="13"/>
                  </a:lnTo>
                  <a:lnTo>
                    <a:pt x="139" y="16"/>
                  </a:lnTo>
                  <a:lnTo>
                    <a:pt x="136" y="17"/>
                  </a:lnTo>
                  <a:lnTo>
                    <a:pt x="133" y="17"/>
                  </a:lnTo>
                  <a:lnTo>
                    <a:pt x="129" y="16"/>
                  </a:lnTo>
                  <a:lnTo>
                    <a:pt x="129" y="16"/>
                  </a:lnTo>
                  <a:lnTo>
                    <a:pt x="126" y="14"/>
                  </a:lnTo>
                  <a:lnTo>
                    <a:pt x="122" y="14"/>
                  </a:lnTo>
                  <a:lnTo>
                    <a:pt x="118" y="14"/>
                  </a:lnTo>
                  <a:lnTo>
                    <a:pt x="112" y="13"/>
                  </a:lnTo>
                  <a:lnTo>
                    <a:pt x="112" y="13"/>
                  </a:lnTo>
                  <a:lnTo>
                    <a:pt x="110" y="12"/>
                  </a:lnTo>
                  <a:lnTo>
                    <a:pt x="109" y="13"/>
                  </a:lnTo>
                  <a:lnTo>
                    <a:pt x="108" y="16"/>
                  </a:lnTo>
                  <a:lnTo>
                    <a:pt x="109" y="24"/>
                  </a:lnTo>
                  <a:lnTo>
                    <a:pt x="109" y="24"/>
                  </a:lnTo>
                  <a:lnTo>
                    <a:pt x="108" y="27"/>
                  </a:lnTo>
                  <a:lnTo>
                    <a:pt x="105" y="29"/>
                  </a:lnTo>
                  <a:lnTo>
                    <a:pt x="96" y="29"/>
                  </a:lnTo>
                  <a:lnTo>
                    <a:pt x="96" y="29"/>
                  </a:lnTo>
                  <a:lnTo>
                    <a:pt x="92" y="29"/>
                  </a:lnTo>
                  <a:lnTo>
                    <a:pt x="89" y="32"/>
                  </a:lnTo>
                  <a:lnTo>
                    <a:pt x="85" y="34"/>
                  </a:lnTo>
                  <a:lnTo>
                    <a:pt x="85" y="37"/>
                  </a:lnTo>
                  <a:lnTo>
                    <a:pt x="85" y="37"/>
                  </a:lnTo>
                  <a:lnTo>
                    <a:pt x="83" y="41"/>
                  </a:lnTo>
                  <a:lnTo>
                    <a:pt x="81" y="44"/>
                  </a:lnTo>
                  <a:lnTo>
                    <a:pt x="79" y="47"/>
                  </a:lnTo>
                  <a:lnTo>
                    <a:pt x="79" y="49"/>
                  </a:lnTo>
                  <a:lnTo>
                    <a:pt x="79" y="49"/>
                  </a:lnTo>
                  <a:lnTo>
                    <a:pt x="81" y="51"/>
                  </a:lnTo>
                  <a:lnTo>
                    <a:pt x="79" y="54"/>
                  </a:lnTo>
                  <a:lnTo>
                    <a:pt x="76" y="57"/>
                  </a:lnTo>
                  <a:lnTo>
                    <a:pt x="76" y="57"/>
                  </a:lnTo>
                  <a:lnTo>
                    <a:pt x="72" y="64"/>
                  </a:lnTo>
                  <a:lnTo>
                    <a:pt x="68" y="70"/>
                  </a:lnTo>
                  <a:lnTo>
                    <a:pt x="68" y="70"/>
                  </a:lnTo>
                  <a:lnTo>
                    <a:pt x="66" y="71"/>
                  </a:lnTo>
                  <a:lnTo>
                    <a:pt x="66" y="74"/>
                  </a:lnTo>
                  <a:lnTo>
                    <a:pt x="66" y="77"/>
                  </a:lnTo>
                  <a:lnTo>
                    <a:pt x="65" y="78"/>
                  </a:lnTo>
                  <a:lnTo>
                    <a:pt x="65" y="78"/>
                  </a:lnTo>
                  <a:lnTo>
                    <a:pt x="61" y="80"/>
                  </a:lnTo>
                  <a:lnTo>
                    <a:pt x="58" y="81"/>
                  </a:lnTo>
                  <a:lnTo>
                    <a:pt x="55" y="81"/>
                  </a:lnTo>
                  <a:lnTo>
                    <a:pt x="52" y="81"/>
                  </a:lnTo>
                  <a:lnTo>
                    <a:pt x="52" y="81"/>
                  </a:lnTo>
                  <a:lnTo>
                    <a:pt x="51" y="84"/>
                  </a:lnTo>
                  <a:lnTo>
                    <a:pt x="51" y="87"/>
                  </a:lnTo>
                  <a:lnTo>
                    <a:pt x="52" y="97"/>
                  </a:lnTo>
                  <a:lnTo>
                    <a:pt x="52" y="97"/>
                  </a:lnTo>
                  <a:lnTo>
                    <a:pt x="51" y="101"/>
                  </a:lnTo>
                  <a:lnTo>
                    <a:pt x="48" y="107"/>
                  </a:lnTo>
                  <a:lnTo>
                    <a:pt x="41" y="117"/>
                  </a:lnTo>
                  <a:lnTo>
                    <a:pt x="41" y="117"/>
                  </a:lnTo>
                  <a:lnTo>
                    <a:pt x="39" y="121"/>
                  </a:lnTo>
                  <a:lnTo>
                    <a:pt x="41" y="123"/>
                  </a:lnTo>
                  <a:lnTo>
                    <a:pt x="42" y="124"/>
                  </a:lnTo>
                  <a:lnTo>
                    <a:pt x="45" y="125"/>
                  </a:lnTo>
                  <a:lnTo>
                    <a:pt x="45" y="125"/>
                  </a:lnTo>
                  <a:lnTo>
                    <a:pt x="46" y="127"/>
                  </a:lnTo>
                  <a:lnTo>
                    <a:pt x="46" y="128"/>
                  </a:lnTo>
                  <a:lnTo>
                    <a:pt x="45" y="134"/>
                  </a:lnTo>
                  <a:lnTo>
                    <a:pt x="45" y="134"/>
                  </a:lnTo>
                  <a:lnTo>
                    <a:pt x="42" y="137"/>
                  </a:lnTo>
                  <a:lnTo>
                    <a:pt x="39" y="137"/>
                  </a:lnTo>
                  <a:lnTo>
                    <a:pt x="34" y="135"/>
                  </a:lnTo>
                  <a:lnTo>
                    <a:pt x="34" y="135"/>
                  </a:lnTo>
                  <a:lnTo>
                    <a:pt x="31" y="135"/>
                  </a:lnTo>
                  <a:lnTo>
                    <a:pt x="27" y="137"/>
                  </a:lnTo>
                  <a:lnTo>
                    <a:pt x="22" y="141"/>
                  </a:lnTo>
                  <a:lnTo>
                    <a:pt x="18" y="145"/>
                  </a:lnTo>
                  <a:lnTo>
                    <a:pt x="18" y="145"/>
                  </a:lnTo>
                  <a:lnTo>
                    <a:pt x="15" y="151"/>
                  </a:lnTo>
                  <a:lnTo>
                    <a:pt x="15" y="155"/>
                  </a:lnTo>
                  <a:lnTo>
                    <a:pt x="15" y="160"/>
                  </a:lnTo>
                  <a:lnTo>
                    <a:pt x="17" y="162"/>
                  </a:lnTo>
                  <a:lnTo>
                    <a:pt x="17" y="162"/>
                  </a:lnTo>
                  <a:lnTo>
                    <a:pt x="17" y="165"/>
                  </a:lnTo>
                  <a:lnTo>
                    <a:pt x="15" y="168"/>
                  </a:lnTo>
                  <a:lnTo>
                    <a:pt x="15" y="172"/>
                  </a:lnTo>
                  <a:lnTo>
                    <a:pt x="17" y="178"/>
                  </a:lnTo>
                  <a:lnTo>
                    <a:pt x="17" y="178"/>
                  </a:lnTo>
                  <a:lnTo>
                    <a:pt x="18" y="182"/>
                  </a:lnTo>
                  <a:lnTo>
                    <a:pt x="17" y="187"/>
                  </a:lnTo>
                  <a:lnTo>
                    <a:pt x="17" y="189"/>
                  </a:lnTo>
                  <a:lnTo>
                    <a:pt x="15" y="194"/>
                  </a:lnTo>
                  <a:lnTo>
                    <a:pt x="15" y="194"/>
                  </a:lnTo>
                  <a:lnTo>
                    <a:pt x="18" y="197"/>
                  </a:lnTo>
                  <a:lnTo>
                    <a:pt x="21" y="199"/>
                  </a:lnTo>
                  <a:lnTo>
                    <a:pt x="25" y="201"/>
                  </a:lnTo>
                  <a:lnTo>
                    <a:pt x="27" y="205"/>
                  </a:lnTo>
                  <a:lnTo>
                    <a:pt x="27" y="205"/>
                  </a:lnTo>
                  <a:lnTo>
                    <a:pt x="27" y="208"/>
                  </a:lnTo>
                  <a:lnTo>
                    <a:pt x="25" y="211"/>
                  </a:lnTo>
                  <a:lnTo>
                    <a:pt x="22" y="212"/>
                  </a:lnTo>
                  <a:lnTo>
                    <a:pt x="21" y="214"/>
                  </a:lnTo>
                  <a:lnTo>
                    <a:pt x="21" y="214"/>
                  </a:lnTo>
                  <a:lnTo>
                    <a:pt x="18" y="214"/>
                  </a:lnTo>
                  <a:lnTo>
                    <a:pt x="18" y="216"/>
                  </a:lnTo>
                  <a:lnTo>
                    <a:pt x="19" y="219"/>
                  </a:lnTo>
                  <a:lnTo>
                    <a:pt x="21" y="221"/>
                  </a:lnTo>
                  <a:lnTo>
                    <a:pt x="21" y="221"/>
                  </a:lnTo>
                  <a:lnTo>
                    <a:pt x="22" y="224"/>
                  </a:lnTo>
                  <a:lnTo>
                    <a:pt x="24" y="228"/>
                  </a:lnTo>
                  <a:lnTo>
                    <a:pt x="22" y="236"/>
                  </a:lnTo>
                  <a:lnTo>
                    <a:pt x="22" y="236"/>
                  </a:lnTo>
                  <a:lnTo>
                    <a:pt x="19" y="238"/>
                  </a:lnTo>
                  <a:lnTo>
                    <a:pt x="15" y="238"/>
                  </a:lnTo>
                  <a:lnTo>
                    <a:pt x="12" y="238"/>
                  </a:lnTo>
                  <a:lnTo>
                    <a:pt x="11" y="238"/>
                  </a:lnTo>
                  <a:lnTo>
                    <a:pt x="11" y="239"/>
                  </a:lnTo>
                  <a:lnTo>
                    <a:pt x="11" y="239"/>
                  </a:lnTo>
                  <a:lnTo>
                    <a:pt x="11" y="243"/>
                  </a:lnTo>
                  <a:lnTo>
                    <a:pt x="11" y="246"/>
                  </a:lnTo>
                  <a:lnTo>
                    <a:pt x="9" y="252"/>
                  </a:lnTo>
                  <a:lnTo>
                    <a:pt x="9" y="252"/>
                  </a:lnTo>
                  <a:lnTo>
                    <a:pt x="8" y="261"/>
                  </a:lnTo>
                  <a:lnTo>
                    <a:pt x="7" y="263"/>
                  </a:lnTo>
                  <a:lnTo>
                    <a:pt x="7" y="263"/>
                  </a:lnTo>
                  <a:lnTo>
                    <a:pt x="5" y="263"/>
                  </a:lnTo>
                  <a:lnTo>
                    <a:pt x="5" y="263"/>
                  </a:lnTo>
                  <a:lnTo>
                    <a:pt x="2" y="262"/>
                  </a:lnTo>
                  <a:lnTo>
                    <a:pt x="0" y="262"/>
                  </a:lnTo>
                  <a:lnTo>
                    <a:pt x="0" y="262"/>
                  </a:lnTo>
                  <a:lnTo>
                    <a:pt x="0" y="263"/>
                  </a:lnTo>
                  <a:lnTo>
                    <a:pt x="0" y="263"/>
                  </a:lnTo>
                  <a:lnTo>
                    <a:pt x="1" y="269"/>
                  </a:lnTo>
                  <a:lnTo>
                    <a:pt x="1" y="273"/>
                  </a:lnTo>
                  <a:lnTo>
                    <a:pt x="4" y="276"/>
                  </a:lnTo>
                  <a:lnTo>
                    <a:pt x="7" y="280"/>
                  </a:lnTo>
                  <a:lnTo>
                    <a:pt x="7" y="280"/>
                  </a:lnTo>
                  <a:lnTo>
                    <a:pt x="9" y="283"/>
                  </a:lnTo>
                  <a:lnTo>
                    <a:pt x="11" y="288"/>
                  </a:lnTo>
                  <a:lnTo>
                    <a:pt x="11" y="292"/>
                  </a:lnTo>
                  <a:lnTo>
                    <a:pt x="12" y="296"/>
                  </a:lnTo>
                  <a:lnTo>
                    <a:pt x="12" y="296"/>
                  </a:lnTo>
                  <a:lnTo>
                    <a:pt x="15" y="300"/>
                  </a:lnTo>
                  <a:lnTo>
                    <a:pt x="17" y="305"/>
                  </a:lnTo>
                  <a:lnTo>
                    <a:pt x="18" y="307"/>
                  </a:lnTo>
                  <a:lnTo>
                    <a:pt x="21" y="312"/>
                  </a:lnTo>
                  <a:lnTo>
                    <a:pt x="21" y="312"/>
                  </a:lnTo>
                  <a:lnTo>
                    <a:pt x="24" y="315"/>
                  </a:lnTo>
                  <a:lnTo>
                    <a:pt x="25" y="317"/>
                  </a:lnTo>
                  <a:lnTo>
                    <a:pt x="25" y="320"/>
                  </a:lnTo>
                  <a:lnTo>
                    <a:pt x="24" y="323"/>
                  </a:lnTo>
                  <a:lnTo>
                    <a:pt x="24" y="323"/>
                  </a:lnTo>
                  <a:lnTo>
                    <a:pt x="24" y="326"/>
                  </a:lnTo>
                  <a:lnTo>
                    <a:pt x="25" y="327"/>
                  </a:lnTo>
                  <a:lnTo>
                    <a:pt x="28" y="329"/>
                  </a:lnTo>
                  <a:lnTo>
                    <a:pt x="29" y="330"/>
                  </a:lnTo>
                  <a:lnTo>
                    <a:pt x="29" y="330"/>
                  </a:lnTo>
                  <a:lnTo>
                    <a:pt x="28" y="337"/>
                  </a:lnTo>
                  <a:lnTo>
                    <a:pt x="28" y="342"/>
                  </a:lnTo>
                  <a:lnTo>
                    <a:pt x="29" y="344"/>
                  </a:lnTo>
                  <a:lnTo>
                    <a:pt x="29" y="344"/>
                  </a:lnTo>
                  <a:lnTo>
                    <a:pt x="31" y="346"/>
                  </a:lnTo>
                  <a:lnTo>
                    <a:pt x="34" y="346"/>
                  </a:lnTo>
                  <a:lnTo>
                    <a:pt x="42" y="344"/>
                  </a:lnTo>
                  <a:lnTo>
                    <a:pt x="42" y="344"/>
                  </a:lnTo>
                  <a:lnTo>
                    <a:pt x="45" y="343"/>
                  </a:lnTo>
                  <a:lnTo>
                    <a:pt x="48" y="340"/>
                  </a:lnTo>
                  <a:lnTo>
                    <a:pt x="48" y="335"/>
                  </a:lnTo>
                  <a:lnTo>
                    <a:pt x="48" y="335"/>
                  </a:lnTo>
                  <a:lnTo>
                    <a:pt x="48" y="332"/>
                  </a:lnTo>
                  <a:lnTo>
                    <a:pt x="49" y="332"/>
                  </a:lnTo>
                  <a:lnTo>
                    <a:pt x="51" y="330"/>
                  </a:lnTo>
                  <a:lnTo>
                    <a:pt x="52" y="329"/>
                  </a:lnTo>
                  <a:lnTo>
                    <a:pt x="52" y="329"/>
                  </a:lnTo>
                  <a:lnTo>
                    <a:pt x="54" y="327"/>
                  </a:lnTo>
                  <a:lnTo>
                    <a:pt x="58" y="326"/>
                  </a:lnTo>
                  <a:lnTo>
                    <a:pt x="62" y="327"/>
                  </a:lnTo>
                  <a:lnTo>
                    <a:pt x="66" y="327"/>
                  </a:lnTo>
                  <a:lnTo>
                    <a:pt x="66" y="327"/>
                  </a:lnTo>
                  <a:lnTo>
                    <a:pt x="69" y="329"/>
                  </a:lnTo>
                  <a:lnTo>
                    <a:pt x="72" y="327"/>
                  </a:lnTo>
                  <a:lnTo>
                    <a:pt x="73" y="325"/>
                  </a:lnTo>
                  <a:lnTo>
                    <a:pt x="75" y="320"/>
                  </a:lnTo>
                  <a:lnTo>
                    <a:pt x="75" y="320"/>
                  </a:lnTo>
                  <a:lnTo>
                    <a:pt x="76" y="319"/>
                  </a:lnTo>
                  <a:lnTo>
                    <a:pt x="78" y="319"/>
                  </a:lnTo>
                  <a:lnTo>
                    <a:pt x="81" y="323"/>
                  </a:lnTo>
                  <a:lnTo>
                    <a:pt x="81" y="323"/>
                  </a:lnTo>
                  <a:lnTo>
                    <a:pt x="82" y="322"/>
                  </a:lnTo>
                  <a:lnTo>
                    <a:pt x="85" y="319"/>
                  </a:lnTo>
                  <a:lnTo>
                    <a:pt x="89" y="307"/>
                  </a:lnTo>
                  <a:lnTo>
                    <a:pt x="89" y="307"/>
                  </a:lnTo>
                  <a:lnTo>
                    <a:pt x="91" y="305"/>
                  </a:lnTo>
                  <a:lnTo>
                    <a:pt x="89" y="303"/>
                  </a:lnTo>
                  <a:lnTo>
                    <a:pt x="83" y="309"/>
                  </a:lnTo>
                  <a:lnTo>
                    <a:pt x="83" y="309"/>
                  </a:lnTo>
                  <a:lnTo>
                    <a:pt x="82" y="310"/>
                  </a:lnTo>
                  <a:lnTo>
                    <a:pt x="81" y="310"/>
                  </a:lnTo>
                  <a:lnTo>
                    <a:pt x="81" y="307"/>
                  </a:lnTo>
                  <a:lnTo>
                    <a:pt x="83" y="298"/>
                  </a:lnTo>
                  <a:lnTo>
                    <a:pt x="83" y="298"/>
                  </a:lnTo>
                  <a:lnTo>
                    <a:pt x="85" y="292"/>
                  </a:lnTo>
                  <a:lnTo>
                    <a:pt x="85" y="286"/>
                  </a:lnTo>
                  <a:lnTo>
                    <a:pt x="86" y="275"/>
                  </a:lnTo>
                  <a:lnTo>
                    <a:pt x="86" y="275"/>
                  </a:lnTo>
                  <a:lnTo>
                    <a:pt x="89" y="269"/>
                  </a:lnTo>
                  <a:lnTo>
                    <a:pt x="91" y="266"/>
                  </a:lnTo>
                  <a:lnTo>
                    <a:pt x="95" y="265"/>
                  </a:lnTo>
                  <a:lnTo>
                    <a:pt x="95" y="265"/>
                  </a:lnTo>
                  <a:lnTo>
                    <a:pt x="101" y="263"/>
                  </a:lnTo>
                  <a:lnTo>
                    <a:pt x="106" y="259"/>
                  </a:lnTo>
                  <a:lnTo>
                    <a:pt x="109" y="255"/>
                  </a:lnTo>
                  <a:lnTo>
                    <a:pt x="110" y="252"/>
                  </a:lnTo>
                  <a:lnTo>
                    <a:pt x="110" y="252"/>
                  </a:lnTo>
                  <a:lnTo>
                    <a:pt x="110" y="251"/>
                  </a:lnTo>
                  <a:lnTo>
                    <a:pt x="110" y="249"/>
                  </a:lnTo>
                  <a:lnTo>
                    <a:pt x="113" y="245"/>
                  </a:lnTo>
                  <a:lnTo>
                    <a:pt x="118" y="242"/>
                  </a:lnTo>
                  <a:lnTo>
                    <a:pt x="119" y="239"/>
                  </a:lnTo>
                  <a:lnTo>
                    <a:pt x="119" y="239"/>
                  </a:lnTo>
                  <a:lnTo>
                    <a:pt x="118" y="235"/>
                  </a:lnTo>
                  <a:lnTo>
                    <a:pt x="113" y="229"/>
                  </a:lnTo>
                  <a:lnTo>
                    <a:pt x="105" y="222"/>
                  </a:lnTo>
                  <a:lnTo>
                    <a:pt x="105" y="222"/>
                  </a:lnTo>
                  <a:lnTo>
                    <a:pt x="101" y="221"/>
                  </a:lnTo>
                  <a:lnTo>
                    <a:pt x="96" y="221"/>
                  </a:lnTo>
                  <a:lnTo>
                    <a:pt x="93" y="219"/>
                  </a:lnTo>
                  <a:lnTo>
                    <a:pt x="93" y="219"/>
                  </a:lnTo>
                  <a:lnTo>
                    <a:pt x="93" y="219"/>
                  </a:lnTo>
                  <a:lnTo>
                    <a:pt x="92" y="211"/>
                  </a:lnTo>
                  <a:lnTo>
                    <a:pt x="91" y="201"/>
                  </a:lnTo>
                  <a:lnTo>
                    <a:pt x="91" y="201"/>
                  </a:lnTo>
                  <a:lnTo>
                    <a:pt x="92" y="197"/>
                  </a:lnTo>
                  <a:lnTo>
                    <a:pt x="93" y="192"/>
                  </a:lnTo>
                  <a:lnTo>
                    <a:pt x="96" y="189"/>
                  </a:lnTo>
                  <a:lnTo>
                    <a:pt x="96" y="185"/>
                  </a:lnTo>
                  <a:lnTo>
                    <a:pt x="96" y="185"/>
                  </a:lnTo>
                  <a:lnTo>
                    <a:pt x="98" y="178"/>
                  </a:lnTo>
                  <a:lnTo>
                    <a:pt x="99" y="175"/>
                  </a:lnTo>
                  <a:lnTo>
                    <a:pt x="101" y="172"/>
                  </a:lnTo>
                  <a:lnTo>
                    <a:pt x="101" y="172"/>
                  </a:lnTo>
                  <a:lnTo>
                    <a:pt x="103" y="171"/>
                  </a:lnTo>
                  <a:lnTo>
                    <a:pt x="105" y="169"/>
                  </a:lnTo>
                  <a:lnTo>
                    <a:pt x="106" y="167"/>
                  </a:lnTo>
                  <a:lnTo>
                    <a:pt x="109" y="165"/>
                  </a:lnTo>
                  <a:lnTo>
                    <a:pt x="109" y="165"/>
                  </a:lnTo>
                  <a:lnTo>
                    <a:pt x="112" y="164"/>
                  </a:lnTo>
                  <a:lnTo>
                    <a:pt x="113" y="160"/>
                  </a:lnTo>
                  <a:lnTo>
                    <a:pt x="116" y="155"/>
                  </a:lnTo>
                  <a:lnTo>
                    <a:pt x="120" y="152"/>
                  </a:lnTo>
                  <a:lnTo>
                    <a:pt x="120" y="152"/>
                  </a:lnTo>
                  <a:lnTo>
                    <a:pt x="126" y="150"/>
                  </a:lnTo>
                  <a:lnTo>
                    <a:pt x="135" y="144"/>
                  </a:lnTo>
                  <a:lnTo>
                    <a:pt x="135" y="144"/>
                  </a:lnTo>
                  <a:lnTo>
                    <a:pt x="149" y="135"/>
                  </a:lnTo>
                  <a:lnTo>
                    <a:pt x="156" y="130"/>
                  </a:lnTo>
                  <a:lnTo>
                    <a:pt x="160" y="125"/>
                  </a:lnTo>
                  <a:lnTo>
                    <a:pt x="160" y="125"/>
                  </a:lnTo>
                  <a:lnTo>
                    <a:pt x="160" y="124"/>
                  </a:lnTo>
                  <a:lnTo>
                    <a:pt x="159" y="121"/>
                  </a:lnTo>
                  <a:lnTo>
                    <a:pt x="157" y="118"/>
                  </a:lnTo>
                  <a:lnTo>
                    <a:pt x="156" y="114"/>
                  </a:lnTo>
                  <a:lnTo>
                    <a:pt x="156" y="113"/>
                  </a:lnTo>
                  <a:lnTo>
                    <a:pt x="157" y="110"/>
                  </a:lnTo>
                  <a:lnTo>
                    <a:pt x="157" y="110"/>
                  </a:lnTo>
                  <a:lnTo>
                    <a:pt x="162" y="105"/>
                  </a:lnTo>
                  <a:lnTo>
                    <a:pt x="162" y="103"/>
                  </a:lnTo>
                  <a:lnTo>
                    <a:pt x="162" y="100"/>
                  </a:lnTo>
                  <a:lnTo>
                    <a:pt x="165" y="97"/>
                  </a:lnTo>
                  <a:lnTo>
                    <a:pt x="165" y="97"/>
                  </a:lnTo>
                  <a:lnTo>
                    <a:pt x="170" y="94"/>
                  </a:lnTo>
                  <a:lnTo>
                    <a:pt x="174" y="88"/>
                  </a:lnTo>
                  <a:lnTo>
                    <a:pt x="174" y="88"/>
                  </a:lnTo>
                  <a:lnTo>
                    <a:pt x="177" y="87"/>
                  </a:lnTo>
                  <a:lnTo>
                    <a:pt x="182" y="87"/>
                  </a:lnTo>
                  <a:lnTo>
                    <a:pt x="186" y="87"/>
                  </a:lnTo>
                  <a:lnTo>
                    <a:pt x="192" y="87"/>
                  </a:lnTo>
                  <a:lnTo>
                    <a:pt x="192" y="87"/>
                  </a:lnTo>
                  <a:lnTo>
                    <a:pt x="196" y="87"/>
                  </a:lnTo>
                  <a:lnTo>
                    <a:pt x="200" y="87"/>
                  </a:lnTo>
                  <a:lnTo>
                    <a:pt x="200" y="87"/>
                  </a:lnTo>
                  <a:lnTo>
                    <a:pt x="199" y="83"/>
                  </a:lnTo>
                  <a:lnTo>
                    <a:pt x="197" y="80"/>
                  </a:lnTo>
                  <a:lnTo>
                    <a:pt x="197" y="80"/>
                  </a:lnTo>
                  <a:close/>
                  <a:moveTo>
                    <a:pt x="118" y="288"/>
                  </a:moveTo>
                  <a:lnTo>
                    <a:pt x="118" y="288"/>
                  </a:lnTo>
                  <a:lnTo>
                    <a:pt x="115" y="289"/>
                  </a:lnTo>
                  <a:lnTo>
                    <a:pt x="112" y="290"/>
                  </a:lnTo>
                  <a:lnTo>
                    <a:pt x="108" y="298"/>
                  </a:lnTo>
                  <a:lnTo>
                    <a:pt x="106" y="305"/>
                  </a:lnTo>
                  <a:lnTo>
                    <a:pt x="106" y="309"/>
                  </a:lnTo>
                  <a:lnTo>
                    <a:pt x="106" y="309"/>
                  </a:lnTo>
                  <a:lnTo>
                    <a:pt x="108" y="309"/>
                  </a:lnTo>
                  <a:lnTo>
                    <a:pt x="110" y="306"/>
                  </a:lnTo>
                  <a:lnTo>
                    <a:pt x="116" y="299"/>
                  </a:lnTo>
                  <a:lnTo>
                    <a:pt x="120" y="292"/>
                  </a:lnTo>
                  <a:lnTo>
                    <a:pt x="120" y="289"/>
                  </a:lnTo>
                  <a:lnTo>
                    <a:pt x="118" y="288"/>
                  </a:lnTo>
                  <a:lnTo>
                    <a:pt x="118" y="28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1" name="Freeform 323">
              <a:extLst>
                <a:ext uri="{FF2B5EF4-FFF2-40B4-BE49-F238E27FC236}">
                  <a16:creationId xmlns:a16="http://schemas.microsoft.com/office/drawing/2014/main" id="{A1A6ACDD-2043-E541-ACC9-BB5B1D4DC235}"/>
                </a:ext>
              </a:extLst>
            </p:cNvPr>
            <p:cNvSpPr>
              <a:spLocks noEditPoints="1"/>
            </p:cNvSpPr>
            <p:nvPr/>
          </p:nvSpPr>
          <p:spPr bwMode="auto">
            <a:xfrm>
              <a:off x="4838361" y="2681977"/>
              <a:ext cx="143539" cy="69550"/>
            </a:xfrm>
            <a:custGeom>
              <a:avLst/>
              <a:gdLst/>
              <a:ahLst/>
              <a:cxnLst>
                <a:cxn ang="0">
                  <a:pos x="92" y="12"/>
                </a:cxn>
                <a:cxn ang="0">
                  <a:pos x="97" y="5"/>
                </a:cxn>
                <a:cxn ang="0">
                  <a:pos x="95" y="2"/>
                </a:cxn>
                <a:cxn ang="0">
                  <a:pos x="92" y="3"/>
                </a:cxn>
                <a:cxn ang="0">
                  <a:pos x="77" y="2"/>
                </a:cxn>
                <a:cxn ang="0">
                  <a:pos x="61" y="0"/>
                </a:cxn>
                <a:cxn ang="0">
                  <a:pos x="45" y="2"/>
                </a:cxn>
                <a:cxn ang="0">
                  <a:pos x="31" y="6"/>
                </a:cxn>
                <a:cxn ang="0">
                  <a:pos x="28" y="9"/>
                </a:cxn>
                <a:cxn ang="0">
                  <a:pos x="21" y="13"/>
                </a:cxn>
                <a:cxn ang="0">
                  <a:pos x="23" y="15"/>
                </a:cxn>
                <a:cxn ang="0">
                  <a:pos x="24" y="17"/>
                </a:cxn>
                <a:cxn ang="0">
                  <a:pos x="24" y="23"/>
                </a:cxn>
                <a:cxn ang="0">
                  <a:pos x="26" y="26"/>
                </a:cxn>
                <a:cxn ang="0">
                  <a:pos x="31" y="32"/>
                </a:cxn>
                <a:cxn ang="0">
                  <a:pos x="36" y="30"/>
                </a:cxn>
                <a:cxn ang="0">
                  <a:pos x="40" y="32"/>
                </a:cxn>
                <a:cxn ang="0">
                  <a:pos x="38" y="37"/>
                </a:cxn>
                <a:cxn ang="0">
                  <a:pos x="38" y="37"/>
                </a:cxn>
                <a:cxn ang="0">
                  <a:pos x="48" y="37"/>
                </a:cxn>
                <a:cxn ang="0">
                  <a:pos x="55" y="37"/>
                </a:cxn>
                <a:cxn ang="0">
                  <a:pos x="68" y="46"/>
                </a:cxn>
                <a:cxn ang="0">
                  <a:pos x="71" y="47"/>
                </a:cxn>
                <a:cxn ang="0">
                  <a:pos x="87" y="47"/>
                </a:cxn>
                <a:cxn ang="0">
                  <a:pos x="87" y="46"/>
                </a:cxn>
                <a:cxn ang="0">
                  <a:pos x="87" y="43"/>
                </a:cxn>
                <a:cxn ang="0">
                  <a:pos x="92" y="40"/>
                </a:cxn>
                <a:cxn ang="0">
                  <a:pos x="91" y="37"/>
                </a:cxn>
                <a:cxn ang="0">
                  <a:pos x="88" y="29"/>
                </a:cxn>
                <a:cxn ang="0">
                  <a:pos x="87" y="25"/>
                </a:cxn>
                <a:cxn ang="0">
                  <a:pos x="87" y="20"/>
                </a:cxn>
                <a:cxn ang="0">
                  <a:pos x="92" y="12"/>
                </a:cxn>
                <a:cxn ang="0">
                  <a:pos x="8" y="23"/>
                </a:cxn>
                <a:cxn ang="0">
                  <a:pos x="6" y="25"/>
                </a:cxn>
                <a:cxn ang="0">
                  <a:pos x="0" y="32"/>
                </a:cxn>
                <a:cxn ang="0">
                  <a:pos x="1" y="37"/>
                </a:cxn>
                <a:cxn ang="0">
                  <a:pos x="1" y="37"/>
                </a:cxn>
                <a:cxn ang="0">
                  <a:pos x="11" y="33"/>
                </a:cxn>
                <a:cxn ang="0">
                  <a:pos x="18" y="26"/>
                </a:cxn>
                <a:cxn ang="0">
                  <a:pos x="17" y="23"/>
                </a:cxn>
                <a:cxn ang="0">
                  <a:pos x="8" y="23"/>
                </a:cxn>
                <a:cxn ang="0">
                  <a:pos x="16" y="16"/>
                </a:cxn>
                <a:cxn ang="0">
                  <a:pos x="16" y="16"/>
                </a:cxn>
                <a:cxn ang="0">
                  <a:pos x="10" y="15"/>
                </a:cxn>
                <a:cxn ang="0">
                  <a:pos x="4" y="16"/>
                </a:cxn>
                <a:cxn ang="0">
                  <a:pos x="6" y="17"/>
                </a:cxn>
                <a:cxn ang="0">
                  <a:pos x="10" y="19"/>
                </a:cxn>
                <a:cxn ang="0">
                  <a:pos x="16" y="16"/>
                </a:cxn>
              </a:cxnLst>
              <a:rect l="0" t="0" r="r" b="b"/>
              <a:pathLst>
                <a:path w="97" h="47">
                  <a:moveTo>
                    <a:pt x="92" y="12"/>
                  </a:moveTo>
                  <a:lnTo>
                    <a:pt x="92" y="12"/>
                  </a:lnTo>
                  <a:lnTo>
                    <a:pt x="97" y="7"/>
                  </a:lnTo>
                  <a:lnTo>
                    <a:pt x="97" y="5"/>
                  </a:lnTo>
                  <a:lnTo>
                    <a:pt x="95" y="2"/>
                  </a:lnTo>
                  <a:lnTo>
                    <a:pt x="95" y="2"/>
                  </a:lnTo>
                  <a:lnTo>
                    <a:pt x="92" y="3"/>
                  </a:lnTo>
                  <a:lnTo>
                    <a:pt x="92" y="3"/>
                  </a:lnTo>
                  <a:lnTo>
                    <a:pt x="85" y="3"/>
                  </a:lnTo>
                  <a:lnTo>
                    <a:pt x="77" y="2"/>
                  </a:lnTo>
                  <a:lnTo>
                    <a:pt x="70" y="0"/>
                  </a:lnTo>
                  <a:lnTo>
                    <a:pt x="61" y="0"/>
                  </a:lnTo>
                  <a:lnTo>
                    <a:pt x="61" y="0"/>
                  </a:lnTo>
                  <a:lnTo>
                    <a:pt x="45" y="2"/>
                  </a:lnTo>
                  <a:lnTo>
                    <a:pt x="37" y="3"/>
                  </a:lnTo>
                  <a:lnTo>
                    <a:pt x="31" y="6"/>
                  </a:lnTo>
                  <a:lnTo>
                    <a:pt x="31" y="6"/>
                  </a:lnTo>
                  <a:lnTo>
                    <a:pt x="28" y="9"/>
                  </a:lnTo>
                  <a:lnTo>
                    <a:pt x="24" y="10"/>
                  </a:lnTo>
                  <a:lnTo>
                    <a:pt x="21" y="13"/>
                  </a:lnTo>
                  <a:lnTo>
                    <a:pt x="21" y="13"/>
                  </a:lnTo>
                  <a:lnTo>
                    <a:pt x="23" y="15"/>
                  </a:lnTo>
                  <a:lnTo>
                    <a:pt x="23" y="15"/>
                  </a:lnTo>
                  <a:lnTo>
                    <a:pt x="24" y="17"/>
                  </a:lnTo>
                  <a:lnTo>
                    <a:pt x="24" y="20"/>
                  </a:lnTo>
                  <a:lnTo>
                    <a:pt x="24" y="23"/>
                  </a:lnTo>
                  <a:lnTo>
                    <a:pt x="26" y="26"/>
                  </a:lnTo>
                  <a:lnTo>
                    <a:pt x="26" y="26"/>
                  </a:lnTo>
                  <a:lnTo>
                    <a:pt x="30" y="30"/>
                  </a:lnTo>
                  <a:lnTo>
                    <a:pt x="31" y="32"/>
                  </a:lnTo>
                  <a:lnTo>
                    <a:pt x="36" y="30"/>
                  </a:lnTo>
                  <a:lnTo>
                    <a:pt x="36" y="30"/>
                  </a:lnTo>
                  <a:lnTo>
                    <a:pt x="38" y="30"/>
                  </a:lnTo>
                  <a:lnTo>
                    <a:pt x="40" y="32"/>
                  </a:lnTo>
                  <a:lnTo>
                    <a:pt x="40" y="34"/>
                  </a:lnTo>
                  <a:lnTo>
                    <a:pt x="38" y="37"/>
                  </a:lnTo>
                  <a:lnTo>
                    <a:pt x="38" y="37"/>
                  </a:lnTo>
                  <a:lnTo>
                    <a:pt x="38" y="37"/>
                  </a:lnTo>
                  <a:lnTo>
                    <a:pt x="38" y="37"/>
                  </a:lnTo>
                  <a:lnTo>
                    <a:pt x="48" y="37"/>
                  </a:lnTo>
                  <a:lnTo>
                    <a:pt x="55" y="37"/>
                  </a:lnTo>
                  <a:lnTo>
                    <a:pt x="55" y="37"/>
                  </a:lnTo>
                  <a:lnTo>
                    <a:pt x="63" y="43"/>
                  </a:lnTo>
                  <a:lnTo>
                    <a:pt x="68" y="46"/>
                  </a:lnTo>
                  <a:lnTo>
                    <a:pt x="71" y="47"/>
                  </a:lnTo>
                  <a:lnTo>
                    <a:pt x="71" y="47"/>
                  </a:lnTo>
                  <a:lnTo>
                    <a:pt x="77" y="47"/>
                  </a:lnTo>
                  <a:lnTo>
                    <a:pt x="87" y="47"/>
                  </a:lnTo>
                  <a:lnTo>
                    <a:pt x="87" y="47"/>
                  </a:lnTo>
                  <a:lnTo>
                    <a:pt x="87" y="46"/>
                  </a:lnTo>
                  <a:lnTo>
                    <a:pt x="87" y="43"/>
                  </a:lnTo>
                  <a:lnTo>
                    <a:pt x="87" y="43"/>
                  </a:lnTo>
                  <a:lnTo>
                    <a:pt x="91" y="42"/>
                  </a:lnTo>
                  <a:lnTo>
                    <a:pt x="92" y="40"/>
                  </a:lnTo>
                  <a:lnTo>
                    <a:pt x="91" y="37"/>
                  </a:lnTo>
                  <a:lnTo>
                    <a:pt x="91" y="37"/>
                  </a:lnTo>
                  <a:lnTo>
                    <a:pt x="90" y="34"/>
                  </a:lnTo>
                  <a:lnTo>
                    <a:pt x="88" y="29"/>
                  </a:lnTo>
                  <a:lnTo>
                    <a:pt x="88" y="29"/>
                  </a:lnTo>
                  <a:lnTo>
                    <a:pt x="87" y="25"/>
                  </a:lnTo>
                  <a:lnTo>
                    <a:pt x="87" y="20"/>
                  </a:lnTo>
                  <a:lnTo>
                    <a:pt x="87" y="20"/>
                  </a:lnTo>
                  <a:lnTo>
                    <a:pt x="90" y="17"/>
                  </a:lnTo>
                  <a:lnTo>
                    <a:pt x="92" y="12"/>
                  </a:lnTo>
                  <a:lnTo>
                    <a:pt x="92" y="12"/>
                  </a:lnTo>
                  <a:close/>
                  <a:moveTo>
                    <a:pt x="8" y="23"/>
                  </a:moveTo>
                  <a:lnTo>
                    <a:pt x="8" y="23"/>
                  </a:lnTo>
                  <a:lnTo>
                    <a:pt x="6" y="25"/>
                  </a:lnTo>
                  <a:lnTo>
                    <a:pt x="3" y="27"/>
                  </a:lnTo>
                  <a:lnTo>
                    <a:pt x="0" y="32"/>
                  </a:lnTo>
                  <a:lnTo>
                    <a:pt x="0" y="36"/>
                  </a:lnTo>
                  <a:lnTo>
                    <a:pt x="1" y="37"/>
                  </a:lnTo>
                  <a:lnTo>
                    <a:pt x="1" y="37"/>
                  </a:lnTo>
                  <a:lnTo>
                    <a:pt x="1" y="37"/>
                  </a:lnTo>
                  <a:lnTo>
                    <a:pt x="6" y="36"/>
                  </a:lnTo>
                  <a:lnTo>
                    <a:pt x="11" y="33"/>
                  </a:lnTo>
                  <a:lnTo>
                    <a:pt x="18" y="26"/>
                  </a:lnTo>
                  <a:lnTo>
                    <a:pt x="18" y="26"/>
                  </a:lnTo>
                  <a:lnTo>
                    <a:pt x="20" y="25"/>
                  </a:lnTo>
                  <a:lnTo>
                    <a:pt x="17" y="23"/>
                  </a:lnTo>
                  <a:lnTo>
                    <a:pt x="14" y="23"/>
                  </a:lnTo>
                  <a:lnTo>
                    <a:pt x="8" y="23"/>
                  </a:lnTo>
                  <a:lnTo>
                    <a:pt x="8" y="23"/>
                  </a:lnTo>
                  <a:close/>
                  <a:moveTo>
                    <a:pt x="16" y="16"/>
                  </a:moveTo>
                  <a:lnTo>
                    <a:pt x="16" y="16"/>
                  </a:lnTo>
                  <a:lnTo>
                    <a:pt x="16" y="16"/>
                  </a:lnTo>
                  <a:lnTo>
                    <a:pt x="14" y="15"/>
                  </a:lnTo>
                  <a:lnTo>
                    <a:pt x="10" y="15"/>
                  </a:lnTo>
                  <a:lnTo>
                    <a:pt x="6" y="16"/>
                  </a:lnTo>
                  <a:lnTo>
                    <a:pt x="4" y="16"/>
                  </a:lnTo>
                  <a:lnTo>
                    <a:pt x="6" y="17"/>
                  </a:lnTo>
                  <a:lnTo>
                    <a:pt x="6" y="17"/>
                  </a:lnTo>
                  <a:lnTo>
                    <a:pt x="7" y="19"/>
                  </a:lnTo>
                  <a:lnTo>
                    <a:pt x="10" y="19"/>
                  </a:lnTo>
                  <a:lnTo>
                    <a:pt x="13" y="19"/>
                  </a:lnTo>
                  <a:lnTo>
                    <a:pt x="16" y="16"/>
                  </a:lnTo>
                  <a:lnTo>
                    <a:pt x="16" y="1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2" name="Freeform 324">
              <a:extLst>
                <a:ext uri="{FF2B5EF4-FFF2-40B4-BE49-F238E27FC236}">
                  <a16:creationId xmlns:a16="http://schemas.microsoft.com/office/drawing/2014/main" id="{1529A68A-BC36-8241-AF89-BA3959347E97}"/>
                </a:ext>
              </a:extLst>
            </p:cNvPr>
            <p:cNvSpPr>
              <a:spLocks/>
            </p:cNvSpPr>
            <p:nvPr/>
          </p:nvSpPr>
          <p:spPr bwMode="auto">
            <a:xfrm>
              <a:off x="5112122" y="4191357"/>
              <a:ext cx="189412" cy="232326"/>
            </a:xfrm>
            <a:custGeom>
              <a:avLst/>
              <a:gdLst/>
              <a:ahLst/>
              <a:cxnLst>
                <a:cxn ang="0">
                  <a:pos x="121" y="24"/>
                </a:cxn>
                <a:cxn ang="0">
                  <a:pos x="128" y="13"/>
                </a:cxn>
                <a:cxn ang="0">
                  <a:pos x="121" y="16"/>
                </a:cxn>
                <a:cxn ang="0">
                  <a:pos x="115" y="16"/>
                </a:cxn>
                <a:cxn ang="0">
                  <a:pos x="112" y="13"/>
                </a:cxn>
                <a:cxn ang="0">
                  <a:pos x="107" y="12"/>
                </a:cxn>
                <a:cxn ang="0">
                  <a:pos x="98" y="16"/>
                </a:cxn>
                <a:cxn ang="0">
                  <a:pos x="92" y="22"/>
                </a:cxn>
                <a:cxn ang="0">
                  <a:pos x="88" y="24"/>
                </a:cxn>
                <a:cxn ang="0">
                  <a:pos x="80" y="22"/>
                </a:cxn>
                <a:cxn ang="0">
                  <a:pos x="70" y="20"/>
                </a:cxn>
                <a:cxn ang="0">
                  <a:pos x="60" y="17"/>
                </a:cxn>
                <a:cxn ang="0">
                  <a:pos x="51" y="10"/>
                </a:cxn>
                <a:cxn ang="0">
                  <a:pos x="43" y="7"/>
                </a:cxn>
                <a:cxn ang="0">
                  <a:pos x="34" y="7"/>
                </a:cxn>
                <a:cxn ang="0">
                  <a:pos x="25" y="2"/>
                </a:cxn>
                <a:cxn ang="0">
                  <a:pos x="24" y="2"/>
                </a:cxn>
                <a:cxn ang="0">
                  <a:pos x="16" y="2"/>
                </a:cxn>
                <a:cxn ang="0">
                  <a:pos x="8" y="5"/>
                </a:cxn>
                <a:cxn ang="0">
                  <a:pos x="3" y="10"/>
                </a:cxn>
                <a:cxn ang="0">
                  <a:pos x="1" y="13"/>
                </a:cxn>
                <a:cxn ang="0">
                  <a:pos x="10" y="30"/>
                </a:cxn>
                <a:cxn ang="0">
                  <a:pos x="17" y="36"/>
                </a:cxn>
                <a:cxn ang="0">
                  <a:pos x="16" y="50"/>
                </a:cxn>
                <a:cxn ang="0">
                  <a:pos x="11" y="60"/>
                </a:cxn>
                <a:cxn ang="0">
                  <a:pos x="4" y="69"/>
                </a:cxn>
                <a:cxn ang="0">
                  <a:pos x="0" y="79"/>
                </a:cxn>
                <a:cxn ang="0">
                  <a:pos x="10" y="83"/>
                </a:cxn>
                <a:cxn ang="0">
                  <a:pos x="11" y="84"/>
                </a:cxn>
                <a:cxn ang="0">
                  <a:pos x="4" y="87"/>
                </a:cxn>
                <a:cxn ang="0">
                  <a:pos x="0" y="91"/>
                </a:cxn>
                <a:cxn ang="0">
                  <a:pos x="0" y="94"/>
                </a:cxn>
                <a:cxn ang="0">
                  <a:pos x="60" y="128"/>
                </a:cxn>
                <a:cxn ang="0">
                  <a:pos x="60" y="138"/>
                </a:cxn>
                <a:cxn ang="0">
                  <a:pos x="85" y="157"/>
                </a:cxn>
                <a:cxn ang="0">
                  <a:pos x="102" y="123"/>
                </a:cxn>
                <a:cxn ang="0">
                  <a:pos x="104" y="120"/>
                </a:cxn>
                <a:cxn ang="0">
                  <a:pos x="109" y="116"/>
                </a:cxn>
                <a:cxn ang="0">
                  <a:pos x="112" y="114"/>
                </a:cxn>
                <a:cxn ang="0">
                  <a:pos x="115" y="113"/>
                </a:cxn>
                <a:cxn ang="0">
                  <a:pos x="121" y="108"/>
                </a:cxn>
                <a:cxn ang="0">
                  <a:pos x="122" y="107"/>
                </a:cxn>
                <a:cxn ang="0">
                  <a:pos x="114" y="36"/>
                </a:cxn>
              </a:cxnLst>
              <a:rect l="0" t="0" r="r" b="b"/>
              <a:pathLst>
                <a:path w="128" h="157">
                  <a:moveTo>
                    <a:pt x="114" y="36"/>
                  </a:moveTo>
                  <a:lnTo>
                    <a:pt x="121" y="24"/>
                  </a:lnTo>
                  <a:lnTo>
                    <a:pt x="128" y="13"/>
                  </a:lnTo>
                  <a:lnTo>
                    <a:pt x="128" y="13"/>
                  </a:lnTo>
                  <a:lnTo>
                    <a:pt x="121" y="16"/>
                  </a:lnTo>
                  <a:lnTo>
                    <a:pt x="121" y="16"/>
                  </a:lnTo>
                  <a:lnTo>
                    <a:pt x="118" y="16"/>
                  </a:lnTo>
                  <a:lnTo>
                    <a:pt x="115" y="16"/>
                  </a:lnTo>
                  <a:lnTo>
                    <a:pt x="112" y="13"/>
                  </a:lnTo>
                  <a:lnTo>
                    <a:pt x="112" y="13"/>
                  </a:lnTo>
                  <a:lnTo>
                    <a:pt x="111" y="12"/>
                  </a:lnTo>
                  <a:lnTo>
                    <a:pt x="107" y="12"/>
                  </a:lnTo>
                  <a:lnTo>
                    <a:pt x="98" y="16"/>
                  </a:lnTo>
                  <a:lnTo>
                    <a:pt x="98" y="16"/>
                  </a:lnTo>
                  <a:lnTo>
                    <a:pt x="95" y="19"/>
                  </a:lnTo>
                  <a:lnTo>
                    <a:pt x="92" y="22"/>
                  </a:lnTo>
                  <a:lnTo>
                    <a:pt x="90" y="23"/>
                  </a:lnTo>
                  <a:lnTo>
                    <a:pt x="88" y="24"/>
                  </a:lnTo>
                  <a:lnTo>
                    <a:pt x="88" y="24"/>
                  </a:lnTo>
                  <a:lnTo>
                    <a:pt x="80" y="22"/>
                  </a:lnTo>
                  <a:lnTo>
                    <a:pt x="70" y="20"/>
                  </a:lnTo>
                  <a:lnTo>
                    <a:pt x="70" y="20"/>
                  </a:lnTo>
                  <a:lnTo>
                    <a:pt x="65" y="20"/>
                  </a:lnTo>
                  <a:lnTo>
                    <a:pt x="60" y="17"/>
                  </a:lnTo>
                  <a:lnTo>
                    <a:pt x="51" y="10"/>
                  </a:lnTo>
                  <a:lnTo>
                    <a:pt x="51" y="10"/>
                  </a:lnTo>
                  <a:lnTo>
                    <a:pt x="47" y="9"/>
                  </a:lnTo>
                  <a:lnTo>
                    <a:pt x="43" y="7"/>
                  </a:lnTo>
                  <a:lnTo>
                    <a:pt x="34" y="7"/>
                  </a:lnTo>
                  <a:lnTo>
                    <a:pt x="34" y="7"/>
                  </a:lnTo>
                  <a:lnTo>
                    <a:pt x="30" y="5"/>
                  </a:lnTo>
                  <a:lnTo>
                    <a:pt x="25" y="2"/>
                  </a:lnTo>
                  <a:lnTo>
                    <a:pt x="25" y="2"/>
                  </a:lnTo>
                  <a:lnTo>
                    <a:pt x="24" y="2"/>
                  </a:lnTo>
                  <a:lnTo>
                    <a:pt x="21" y="0"/>
                  </a:lnTo>
                  <a:lnTo>
                    <a:pt x="16" y="2"/>
                  </a:lnTo>
                  <a:lnTo>
                    <a:pt x="16" y="2"/>
                  </a:lnTo>
                  <a:lnTo>
                    <a:pt x="8" y="5"/>
                  </a:lnTo>
                  <a:lnTo>
                    <a:pt x="4" y="7"/>
                  </a:lnTo>
                  <a:lnTo>
                    <a:pt x="3" y="10"/>
                  </a:lnTo>
                  <a:lnTo>
                    <a:pt x="3" y="10"/>
                  </a:lnTo>
                  <a:lnTo>
                    <a:pt x="1" y="13"/>
                  </a:lnTo>
                  <a:lnTo>
                    <a:pt x="8" y="19"/>
                  </a:lnTo>
                  <a:lnTo>
                    <a:pt x="10" y="30"/>
                  </a:lnTo>
                  <a:lnTo>
                    <a:pt x="17" y="36"/>
                  </a:lnTo>
                  <a:lnTo>
                    <a:pt x="17" y="36"/>
                  </a:lnTo>
                  <a:lnTo>
                    <a:pt x="16" y="50"/>
                  </a:lnTo>
                  <a:lnTo>
                    <a:pt x="16" y="50"/>
                  </a:lnTo>
                  <a:lnTo>
                    <a:pt x="14" y="54"/>
                  </a:lnTo>
                  <a:lnTo>
                    <a:pt x="11" y="60"/>
                  </a:lnTo>
                  <a:lnTo>
                    <a:pt x="4" y="69"/>
                  </a:lnTo>
                  <a:lnTo>
                    <a:pt x="4" y="69"/>
                  </a:lnTo>
                  <a:lnTo>
                    <a:pt x="0" y="79"/>
                  </a:lnTo>
                  <a:lnTo>
                    <a:pt x="0" y="79"/>
                  </a:lnTo>
                  <a:lnTo>
                    <a:pt x="8" y="81"/>
                  </a:lnTo>
                  <a:lnTo>
                    <a:pt x="10" y="83"/>
                  </a:lnTo>
                  <a:lnTo>
                    <a:pt x="11" y="84"/>
                  </a:lnTo>
                  <a:lnTo>
                    <a:pt x="11" y="84"/>
                  </a:lnTo>
                  <a:lnTo>
                    <a:pt x="8" y="86"/>
                  </a:lnTo>
                  <a:lnTo>
                    <a:pt x="4" y="87"/>
                  </a:lnTo>
                  <a:lnTo>
                    <a:pt x="1" y="90"/>
                  </a:lnTo>
                  <a:lnTo>
                    <a:pt x="0" y="91"/>
                  </a:lnTo>
                  <a:lnTo>
                    <a:pt x="0" y="94"/>
                  </a:lnTo>
                  <a:lnTo>
                    <a:pt x="0" y="94"/>
                  </a:lnTo>
                  <a:lnTo>
                    <a:pt x="0" y="96"/>
                  </a:lnTo>
                  <a:lnTo>
                    <a:pt x="60" y="128"/>
                  </a:lnTo>
                  <a:lnTo>
                    <a:pt x="60" y="138"/>
                  </a:lnTo>
                  <a:lnTo>
                    <a:pt x="60" y="138"/>
                  </a:lnTo>
                  <a:lnTo>
                    <a:pt x="85" y="157"/>
                  </a:lnTo>
                  <a:lnTo>
                    <a:pt x="85" y="157"/>
                  </a:lnTo>
                  <a:lnTo>
                    <a:pt x="95" y="135"/>
                  </a:lnTo>
                  <a:lnTo>
                    <a:pt x="102" y="123"/>
                  </a:lnTo>
                  <a:lnTo>
                    <a:pt x="102" y="123"/>
                  </a:lnTo>
                  <a:lnTo>
                    <a:pt x="104" y="120"/>
                  </a:lnTo>
                  <a:lnTo>
                    <a:pt x="107" y="117"/>
                  </a:lnTo>
                  <a:lnTo>
                    <a:pt x="109" y="116"/>
                  </a:lnTo>
                  <a:lnTo>
                    <a:pt x="112" y="114"/>
                  </a:lnTo>
                  <a:lnTo>
                    <a:pt x="112" y="114"/>
                  </a:lnTo>
                  <a:lnTo>
                    <a:pt x="114" y="113"/>
                  </a:lnTo>
                  <a:lnTo>
                    <a:pt x="115" y="113"/>
                  </a:lnTo>
                  <a:lnTo>
                    <a:pt x="118" y="111"/>
                  </a:lnTo>
                  <a:lnTo>
                    <a:pt x="121" y="108"/>
                  </a:lnTo>
                  <a:lnTo>
                    <a:pt x="121" y="108"/>
                  </a:lnTo>
                  <a:lnTo>
                    <a:pt x="122" y="107"/>
                  </a:lnTo>
                  <a:lnTo>
                    <a:pt x="114" y="94"/>
                  </a:lnTo>
                  <a:lnTo>
                    <a:pt x="114"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3" name="Freeform 325">
              <a:extLst>
                <a:ext uri="{FF2B5EF4-FFF2-40B4-BE49-F238E27FC236}">
                  <a16:creationId xmlns:a16="http://schemas.microsoft.com/office/drawing/2014/main" id="{A204692B-C8D4-5841-9550-4C0FE400DC2B}"/>
                </a:ext>
              </a:extLst>
            </p:cNvPr>
            <p:cNvSpPr>
              <a:spLocks/>
            </p:cNvSpPr>
            <p:nvPr/>
          </p:nvSpPr>
          <p:spPr bwMode="auto">
            <a:xfrm>
              <a:off x="5007057" y="4210594"/>
              <a:ext cx="130221" cy="133181"/>
            </a:xfrm>
            <a:custGeom>
              <a:avLst/>
              <a:gdLst/>
              <a:ahLst/>
              <a:cxnLst>
                <a:cxn ang="0">
                  <a:pos x="79" y="6"/>
                </a:cxn>
                <a:cxn ang="0">
                  <a:pos x="72" y="0"/>
                </a:cxn>
                <a:cxn ang="0">
                  <a:pos x="67" y="4"/>
                </a:cxn>
                <a:cxn ang="0">
                  <a:pos x="65" y="6"/>
                </a:cxn>
                <a:cxn ang="0">
                  <a:pos x="57" y="6"/>
                </a:cxn>
                <a:cxn ang="0">
                  <a:pos x="54" y="4"/>
                </a:cxn>
                <a:cxn ang="0">
                  <a:pos x="45" y="9"/>
                </a:cxn>
                <a:cxn ang="0">
                  <a:pos x="42" y="10"/>
                </a:cxn>
                <a:cxn ang="0">
                  <a:pos x="38" y="6"/>
                </a:cxn>
                <a:cxn ang="0">
                  <a:pos x="35" y="6"/>
                </a:cxn>
                <a:cxn ang="0">
                  <a:pos x="23" y="9"/>
                </a:cxn>
                <a:cxn ang="0">
                  <a:pos x="21" y="23"/>
                </a:cxn>
                <a:cxn ang="0">
                  <a:pos x="23" y="26"/>
                </a:cxn>
                <a:cxn ang="0">
                  <a:pos x="25" y="29"/>
                </a:cxn>
                <a:cxn ang="0">
                  <a:pos x="27" y="31"/>
                </a:cxn>
                <a:cxn ang="0">
                  <a:pos x="24" y="36"/>
                </a:cxn>
                <a:cxn ang="0">
                  <a:pos x="23" y="39"/>
                </a:cxn>
                <a:cxn ang="0">
                  <a:pos x="15" y="44"/>
                </a:cxn>
                <a:cxn ang="0">
                  <a:pos x="13" y="46"/>
                </a:cxn>
                <a:cxn ang="0">
                  <a:pos x="11" y="50"/>
                </a:cxn>
                <a:cxn ang="0">
                  <a:pos x="10" y="53"/>
                </a:cxn>
                <a:cxn ang="0">
                  <a:pos x="7" y="57"/>
                </a:cxn>
                <a:cxn ang="0">
                  <a:pos x="5" y="64"/>
                </a:cxn>
                <a:cxn ang="0">
                  <a:pos x="3" y="78"/>
                </a:cxn>
                <a:cxn ang="0">
                  <a:pos x="1" y="84"/>
                </a:cxn>
                <a:cxn ang="0">
                  <a:pos x="0" y="90"/>
                </a:cxn>
                <a:cxn ang="0">
                  <a:pos x="8" y="88"/>
                </a:cxn>
                <a:cxn ang="0">
                  <a:pos x="17" y="85"/>
                </a:cxn>
                <a:cxn ang="0">
                  <a:pos x="38" y="83"/>
                </a:cxn>
                <a:cxn ang="0">
                  <a:pos x="42" y="71"/>
                </a:cxn>
                <a:cxn ang="0">
                  <a:pos x="50" y="64"/>
                </a:cxn>
                <a:cxn ang="0">
                  <a:pos x="55" y="64"/>
                </a:cxn>
                <a:cxn ang="0">
                  <a:pos x="71" y="66"/>
                </a:cxn>
                <a:cxn ang="0">
                  <a:pos x="75" y="56"/>
                </a:cxn>
                <a:cxn ang="0">
                  <a:pos x="82" y="47"/>
                </a:cxn>
                <a:cxn ang="0">
                  <a:pos x="87" y="37"/>
                </a:cxn>
                <a:cxn ang="0">
                  <a:pos x="88" y="23"/>
                </a:cxn>
              </a:cxnLst>
              <a:rect l="0" t="0" r="r" b="b"/>
              <a:pathLst>
                <a:path w="88" h="90">
                  <a:moveTo>
                    <a:pt x="81" y="17"/>
                  </a:moveTo>
                  <a:lnTo>
                    <a:pt x="79" y="6"/>
                  </a:lnTo>
                  <a:lnTo>
                    <a:pt x="72" y="0"/>
                  </a:lnTo>
                  <a:lnTo>
                    <a:pt x="72" y="0"/>
                  </a:lnTo>
                  <a:lnTo>
                    <a:pt x="68" y="2"/>
                  </a:lnTo>
                  <a:lnTo>
                    <a:pt x="67" y="4"/>
                  </a:lnTo>
                  <a:lnTo>
                    <a:pt x="67" y="4"/>
                  </a:lnTo>
                  <a:lnTo>
                    <a:pt x="65" y="6"/>
                  </a:lnTo>
                  <a:lnTo>
                    <a:pt x="62" y="6"/>
                  </a:lnTo>
                  <a:lnTo>
                    <a:pt x="57" y="6"/>
                  </a:lnTo>
                  <a:lnTo>
                    <a:pt x="57" y="6"/>
                  </a:lnTo>
                  <a:lnTo>
                    <a:pt x="54" y="4"/>
                  </a:lnTo>
                  <a:lnTo>
                    <a:pt x="50" y="6"/>
                  </a:lnTo>
                  <a:lnTo>
                    <a:pt x="45" y="9"/>
                  </a:lnTo>
                  <a:lnTo>
                    <a:pt x="45" y="9"/>
                  </a:lnTo>
                  <a:lnTo>
                    <a:pt x="42" y="10"/>
                  </a:lnTo>
                  <a:lnTo>
                    <a:pt x="41" y="9"/>
                  </a:lnTo>
                  <a:lnTo>
                    <a:pt x="38" y="6"/>
                  </a:lnTo>
                  <a:lnTo>
                    <a:pt x="35" y="6"/>
                  </a:lnTo>
                  <a:lnTo>
                    <a:pt x="35" y="6"/>
                  </a:lnTo>
                  <a:lnTo>
                    <a:pt x="27" y="7"/>
                  </a:lnTo>
                  <a:lnTo>
                    <a:pt x="23" y="9"/>
                  </a:lnTo>
                  <a:lnTo>
                    <a:pt x="23" y="9"/>
                  </a:lnTo>
                  <a:lnTo>
                    <a:pt x="21" y="23"/>
                  </a:lnTo>
                  <a:lnTo>
                    <a:pt x="21" y="23"/>
                  </a:lnTo>
                  <a:lnTo>
                    <a:pt x="23" y="26"/>
                  </a:lnTo>
                  <a:lnTo>
                    <a:pt x="24" y="27"/>
                  </a:lnTo>
                  <a:lnTo>
                    <a:pt x="25" y="29"/>
                  </a:lnTo>
                  <a:lnTo>
                    <a:pt x="27" y="31"/>
                  </a:lnTo>
                  <a:lnTo>
                    <a:pt x="27" y="31"/>
                  </a:lnTo>
                  <a:lnTo>
                    <a:pt x="25" y="33"/>
                  </a:lnTo>
                  <a:lnTo>
                    <a:pt x="24" y="36"/>
                  </a:lnTo>
                  <a:lnTo>
                    <a:pt x="23" y="39"/>
                  </a:lnTo>
                  <a:lnTo>
                    <a:pt x="23" y="39"/>
                  </a:lnTo>
                  <a:lnTo>
                    <a:pt x="20" y="41"/>
                  </a:lnTo>
                  <a:lnTo>
                    <a:pt x="15" y="44"/>
                  </a:lnTo>
                  <a:lnTo>
                    <a:pt x="15" y="44"/>
                  </a:lnTo>
                  <a:lnTo>
                    <a:pt x="13" y="46"/>
                  </a:lnTo>
                  <a:lnTo>
                    <a:pt x="13" y="48"/>
                  </a:lnTo>
                  <a:lnTo>
                    <a:pt x="11" y="50"/>
                  </a:lnTo>
                  <a:lnTo>
                    <a:pt x="10" y="53"/>
                  </a:lnTo>
                  <a:lnTo>
                    <a:pt x="10" y="53"/>
                  </a:lnTo>
                  <a:lnTo>
                    <a:pt x="7" y="54"/>
                  </a:lnTo>
                  <a:lnTo>
                    <a:pt x="7" y="57"/>
                  </a:lnTo>
                  <a:lnTo>
                    <a:pt x="5" y="64"/>
                  </a:lnTo>
                  <a:lnTo>
                    <a:pt x="5" y="64"/>
                  </a:lnTo>
                  <a:lnTo>
                    <a:pt x="3" y="71"/>
                  </a:lnTo>
                  <a:lnTo>
                    <a:pt x="3" y="78"/>
                  </a:lnTo>
                  <a:lnTo>
                    <a:pt x="3" y="78"/>
                  </a:lnTo>
                  <a:lnTo>
                    <a:pt x="1" y="84"/>
                  </a:lnTo>
                  <a:lnTo>
                    <a:pt x="0" y="90"/>
                  </a:lnTo>
                  <a:lnTo>
                    <a:pt x="0" y="90"/>
                  </a:lnTo>
                  <a:lnTo>
                    <a:pt x="4" y="90"/>
                  </a:lnTo>
                  <a:lnTo>
                    <a:pt x="8" y="88"/>
                  </a:lnTo>
                  <a:lnTo>
                    <a:pt x="8" y="88"/>
                  </a:lnTo>
                  <a:lnTo>
                    <a:pt x="17" y="85"/>
                  </a:lnTo>
                  <a:lnTo>
                    <a:pt x="24" y="83"/>
                  </a:lnTo>
                  <a:lnTo>
                    <a:pt x="38" y="83"/>
                  </a:lnTo>
                  <a:lnTo>
                    <a:pt x="38" y="83"/>
                  </a:lnTo>
                  <a:lnTo>
                    <a:pt x="42" y="71"/>
                  </a:lnTo>
                  <a:lnTo>
                    <a:pt x="47" y="67"/>
                  </a:lnTo>
                  <a:lnTo>
                    <a:pt x="50" y="64"/>
                  </a:lnTo>
                  <a:lnTo>
                    <a:pt x="50" y="64"/>
                  </a:lnTo>
                  <a:lnTo>
                    <a:pt x="55" y="64"/>
                  </a:lnTo>
                  <a:lnTo>
                    <a:pt x="60" y="64"/>
                  </a:lnTo>
                  <a:lnTo>
                    <a:pt x="71" y="66"/>
                  </a:lnTo>
                  <a:lnTo>
                    <a:pt x="71" y="66"/>
                  </a:lnTo>
                  <a:lnTo>
                    <a:pt x="75" y="56"/>
                  </a:lnTo>
                  <a:lnTo>
                    <a:pt x="75" y="56"/>
                  </a:lnTo>
                  <a:lnTo>
                    <a:pt x="82" y="47"/>
                  </a:lnTo>
                  <a:lnTo>
                    <a:pt x="85" y="41"/>
                  </a:lnTo>
                  <a:lnTo>
                    <a:pt x="87" y="37"/>
                  </a:lnTo>
                  <a:lnTo>
                    <a:pt x="87" y="37"/>
                  </a:lnTo>
                  <a:lnTo>
                    <a:pt x="88" y="23"/>
                  </a:lnTo>
                  <a:lnTo>
                    <a:pt x="81" y="1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4" name="Freeform 327">
              <a:extLst>
                <a:ext uri="{FF2B5EF4-FFF2-40B4-BE49-F238E27FC236}">
                  <a16:creationId xmlns:a16="http://schemas.microsoft.com/office/drawing/2014/main" id="{E98B7655-8C6E-A541-A6B7-38252010E95C}"/>
                </a:ext>
              </a:extLst>
            </p:cNvPr>
            <p:cNvSpPr>
              <a:spLocks/>
            </p:cNvSpPr>
            <p:nvPr/>
          </p:nvSpPr>
          <p:spPr bwMode="auto">
            <a:xfrm>
              <a:off x="4444739" y="2227685"/>
              <a:ext cx="609671" cy="507566"/>
            </a:xfrm>
            <a:custGeom>
              <a:avLst/>
              <a:gdLst/>
              <a:ahLst/>
              <a:cxnLst>
                <a:cxn ang="0">
                  <a:pos x="383" y="30"/>
                </a:cxn>
                <a:cxn ang="0">
                  <a:pos x="411" y="21"/>
                </a:cxn>
                <a:cxn ang="0">
                  <a:pos x="375" y="9"/>
                </a:cxn>
                <a:cxn ang="0">
                  <a:pos x="368" y="9"/>
                </a:cxn>
                <a:cxn ang="0">
                  <a:pos x="346" y="20"/>
                </a:cxn>
                <a:cxn ang="0">
                  <a:pos x="320" y="27"/>
                </a:cxn>
                <a:cxn ang="0">
                  <a:pos x="333" y="4"/>
                </a:cxn>
                <a:cxn ang="0">
                  <a:pos x="309" y="6"/>
                </a:cxn>
                <a:cxn ang="0">
                  <a:pos x="293" y="14"/>
                </a:cxn>
                <a:cxn ang="0">
                  <a:pos x="284" y="33"/>
                </a:cxn>
                <a:cxn ang="0">
                  <a:pos x="289" y="13"/>
                </a:cxn>
                <a:cxn ang="0">
                  <a:pos x="269" y="13"/>
                </a:cxn>
                <a:cxn ang="0">
                  <a:pos x="257" y="26"/>
                </a:cxn>
                <a:cxn ang="0">
                  <a:pos x="253" y="33"/>
                </a:cxn>
                <a:cxn ang="0">
                  <a:pos x="249" y="41"/>
                </a:cxn>
                <a:cxn ang="0">
                  <a:pos x="232" y="36"/>
                </a:cxn>
                <a:cxn ang="0">
                  <a:pos x="219" y="38"/>
                </a:cxn>
                <a:cxn ang="0">
                  <a:pos x="203" y="44"/>
                </a:cxn>
                <a:cxn ang="0">
                  <a:pos x="196" y="57"/>
                </a:cxn>
                <a:cxn ang="0">
                  <a:pos x="189" y="65"/>
                </a:cxn>
                <a:cxn ang="0">
                  <a:pos x="172" y="68"/>
                </a:cxn>
                <a:cxn ang="0">
                  <a:pos x="158" y="67"/>
                </a:cxn>
                <a:cxn ang="0">
                  <a:pos x="129" y="90"/>
                </a:cxn>
                <a:cxn ang="0">
                  <a:pos x="161" y="78"/>
                </a:cxn>
                <a:cxn ang="0">
                  <a:pos x="183" y="78"/>
                </a:cxn>
                <a:cxn ang="0">
                  <a:pos x="171" y="84"/>
                </a:cxn>
                <a:cxn ang="0">
                  <a:pos x="151" y="105"/>
                </a:cxn>
                <a:cxn ang="0">
                  <a:pos x="127" y="142"/>
                </a:cxn>
                <a:cxn ang="0">
                  <a:pos x="118" y="168"/>
                </a:cxn>
                <a:cxn ang="0">
                  <a:pos x="107" y="182"/>
                </a:cxn>
                <a:cxn ang="0">
                  <a:pos x="82" y="194"/>
                </a:cxn>
                <a:cxn ang="0">
                  <a:pos x="65" y="211"/>
                </a:cxn>
                <a:cxn ang="0">
                  <a:pos x="50" y="221"/>
                </a:cxn>
                <a:cxn ang="0">
                  <a:pos x="43" y="233"/>
                </a:cxn>
                <a:cxn ang="0">
                  <a:pos x="13" y="246"/>
                </a:cxn>
                <a:cxn ang="0">
                  <a:pos x="4" y="260"/>
                </a:cxn>
                <a:cxn ang="0">
                  <a:pos x="3" y="282"/>
                </a:cxn>
                <a:cxn ang="0">
                  <a:pos x="14" y="296"/>
                </a:cxn>
                <a:cxn ang="0">
                  <a:pos x="16" y="302"/>
                </a:cxn>
                <a:cxn ang="0">
                  <a:pos x="4" y="304"/>
                </a:cxn>
                <a:cxn ang="0">
                  <a:pos x="18" y="312"/>
                </a:cxn>
                <a:cxn ang="0">
                  <a:pos x="8" y="327"/>
                </a:cxn>
                <a:cxn ang="0">
                  <a:pos x="75" y="322"/>
                </a:cxn>
                <a:cxn ang="0">
                  <a:pos x="92" y="312"/>
                </a:cxn>
                <a:cxn ang="0">
                  <a:pos x="109" y="313"/>
                </a:cxn>
                <a:cxn ang="0">
                  <a:pos x="122" y="285"/>
                </a:cxn>
                <a:cxn ang="0">
                  <a:pos x="125" y="262"/>
                </a:cxn>
                <a:cxn ang="0">
                  <a:pos x="117" y="223"/>
                </a:cxn>
                <a:cxn ang="0">
                  <a:pos x="142" y="198"/>
                </a:cxn>
                <a:cxn ang="0">
                  <a:pos x="151" y="162"/>
                </a:cxn>
                <a:cxn ang="0">
                  <a:pos x="166" y="135"/>
                </a:cxn>
                <a:cxn ang="0">
                  <a:pos x="183" y="102"/>
                </a:cxn>
                <a:cxn ang="0">
                  <a:pos x="209" y="74"/>
                </a:cxn>
                <a:cxn ang="0">
                  <a:pos x="240" y="74"/>
                </a:cxn>
                <a:cxn ang="0">
                  <a:pos x="262" y="54"/>
                </a:cxn>
                <a:cxn ang="0">
                  <a:pos x="309" y="68"/>
                </a:cxn>
                <a:cxn ang="0">
                  <a:pos x="327" y="63"/>
                </a:cxn>
                <a:cxn ang="0">
                  <a:pos x="344" y="36"/>
                </a:cxn>
                <a:cxn ang="0">
                  <a:pos x="383" y="46"/>
                </a:cxn>
                <a:cxn ang="0">
                  <a:pos x="408" y="44"/>
                </a:cxn>
              </a:cxnLst>
              <a:rect l="0" t="0" r="r" b="b"/>
              <a:pathLst>
                <a:path w="412" h="343">
                  <a:moveTo>
                    <a:pt x="400" y="40"/>
                  </a:moveTo>
                  <a:lnTo>
                    <a:pt x="400" y="40"/>
                  </a:lnTo>
                  <a:lnTo>
                    <a:pt x="398" y="41"/>
                  </a:lnTo>
                  <a:lnTo>
                    <a:pt x="395" y="41"/>
                  </a:lnTo>
                  <a:lnTo>
                    <a:pt x="394" y="41"/>
                  </a:lnTo>
                  <a:lnTo>
                    <a:pt x="393" y="38"/>
                  </a:lnTo>
                  <a:lnTo>
                    <a:pt x="393" y="38"/>
                  </a:lnTo>
                  <a:lnTo>
                    <a:pt x="391" y="36"/>
                  </a:lnTo>
                  <a:lnTo>
                    <a:pt x="388" y="34"/>
                  </a:lnTo>
                  <a:lnTo>
                    <a:pt x="384" y="31"/>
                  </a:lnTo>
                  <a:lnTo>
                    <a:pt x="383" y="30"/>
                  </a:lnTo>
                  <a:lnTo>
                    <a:pt x="383" y="30"/>
                  </a:lnTo>
                  <a:lnTo>
                    <a:pt x="383" y="30"/>
                  </a:lnTo>
                  <a:lnTo>
                    <a:pt x="385" y="30"/>
                  </a:lnTo>
                  <a:lnTo>
                    <a:pt x="391" y="31"/>
                  </a:lnTo>
                  <a:lnTo>
                    <a:pt x="391" y="31"/>
                  </a:lnTo>
                  <a:lnTo>
                    <a:pt x="393" y="33"/>
                  </a:lnTo>
                  <a:lnTo>
                    <a:pt x="395" y="31"/>
                  </a:lnTo>
                  <a:lnTo>
                    <a:pt x="401" y="28"/>
                  </a:lnTo>
                  <a:lnTo>
                    <a:pt x="401" y="28"/>
                  </a:lnTo>
                  <a:lnTo>
                    <a:pt x="404" y="26"/>
                  </a:lnTo>
                  <a:lnTo>
                    <a:pt x="408" y="26"/>
                  </a:lnTo>
                  <a:lnTo>
                    <a:pt x="411" y="26"/>
                  </a:lnTo>
                  <a:lnTo>
                    <a:pt x="412" y="24"/>
                  </a:lnTo>
                  <a:lnTo>
                    <a:pt x="412" y="24"/>
                  </a:lnTo>
                  <a:lnTo>
                    <a:pt x="411" y="21"/>
                  </a:lnTo>
                  <a:lnTo>
                    <a:pt x="408" y="19"/>
                  </a:lnTo>
                  <a:lnTo>
                    <a:pt x="404" y="16"/>
                  </a:lnTo>
                  <a:lnTo>
                    <a:pt x="404" y="16"/>
                  </a:lnTo>
                  <a:lnTo>
                    <a:pt x="400" y="13"/>
                  </a:lnTo>
                  <a:lnTo>
                    <a:pt x="395" y="11"/>
                  </a:lnTo>
                  <a:lnTo>
                    <a:pt x="391" y="11"/>
                  </a:lnTo>
                  <a:lnTo>
                    <a:pt x="391" y="11"/>
                  </a:lnTo>
                  <a:lnTo>
                    <a:pt x="388" y="11"/>
                  </a:lnTo>
                  <a:lnTo>
                    <a:pt x="387" y="11"/>
                  </a:lnTo>
                  <a:lnTo>
                    <a:pt x="383" y="7"/>
                  </a:lnTo>
                  <a:lnTo>
                    <a:pt x="383" y="7"/>
                  </a:lnTo>
                  <a:lnTo>
                    <a:pt x="380" y="7"/>
                  </a:lnTo>
                  <a:lnTo>
                    <a:pt x="375" y="9"/>
                  </a:lnTo>
                  <a:lnTo>
                    <a:pt x="373" y="11"/>
                  </a:lnTo>
                  <a:lnTo>
                    <a:pt x="371" y="16"/>
                  </a:lnTo>
                  <a:lnTo>
                    <a:pt x="371" y="16"/>
                  </a:lnTo>
                  <a:lnTo>
                    <a:pt x="370" y="20"/>
                  </a:lnTo>
                  <a:lnTo>
                    <a:pt x="368" y="20"/>
                  </a:lnTo>
                  <a:lnTo>
                    <a:pt x="367" y="20"/>
                  </a:lnTo>
                  <a:lnTo>
                    <a:pt x="367" y="17"/>
                  </a:lnTo>
                  <a:lnTo>
                    <a:pt x="367" y="17"/>
                  </a:lnTo>
                  <a:lnTo>
                    <a:pt x="367" y="14"/>
                  </a:lnTo>
                  <a:lnTo>
                    <a:pt x="367" y="11"/>
                  </a:lnTo>
                  <a:lnTo>
                    <a:pt x="367" y="10"/>
                  </a:lnTo>
                  <a:lnTo>
                    <a:pt x="368" y="9"/>
                  </a:lnTo>
                  <a:lnTo>
                    <a:pt x="368" y="9"/>
                  </a:lnTo>
                  <a:lnTo>
                    <a:pt x="371" y="7"/>
                  </a:lnTo>
                  <a:lnTo>
                    <a:pt x="370" y="4"/>
                  </a:lnTo>
                  <a:lnTo>
                    <a:pt x="367" y="1"/>
                  </a:lnTo>
                  <a:lnTo>
                    <a:pt x="363" y="0"/>
                  </a:lnTo>
                  <a:lnTo>
                    <a:pt x="363" y="0"/>
                  </a:lnTo>
                  <a:lnTo>
                    <a:pt x="357" y="0"/>
                  </a:lnTo>
                  <a:lnTo>
                    <a:pt x="353" y="3"/>
                  </a:lnTo>
                  <a:lnTo>
                    <a:pt x="351" y="6"/>
                  </a:lnTo>
                  <a:lnTo>
                    <a:pt x="353" y="9"/>
                  </a:lnTo>
                  <a:lnTo>
                    <a:pt x="353" y="9"/>
                  </a:lnTo>
                  <a:lnTo>
                    <a:pt x="351" y="11"/>
                  </a:lnTo>
                  <a:lnTo>
                    <a:pt x="350" y="16"/>
                  </a:lnTo>
                  <a:lnTo>
                    <a:pt x="346" y="20"/>
                  </a:lnTo>
                  <a:lnTo>
                    <a:pt x="343" y="21"/>
                  </a:lnTo>
                  <a:lnTo>
                    <a:pt x="343" y="21"/>
                  </a:lnTo>
                  <a:lnTo>
                    <a:pt x="341" y="20"/>
                  </a:lnTo>
                  <a:lnTo>
                    <a:pt x="341" y="20"/>
                  </a:lnTo>
                  <a:lnTo>
                    <a:pt x="341" y="16"/>
                  </a:lnTo>
                  <a:lnTo>
                    <a:pt x="343" y="7"/>
                  </a:lnTo>
                  <a:lnTo>
                    <a:pt x="343" y="7"/>
                  </a:lnTo>
                  <a:lnTo>
                    <a:pt x="341" y="6"/>
                  </a:lnTo>
                  <a:lnTo>
                    <a:pt x="340" y="6"/>
                  </a:lnTo>
                  <a:lnTo>
                    <a:pt x="333" y="13"/>
                  </a:lnTo>
                  <a:lnTo>
                    <a:pt x="333" y="13"/>
                  </a:lnTo>
                  <a:lnTo>
                    <a:pt x="324" y="23"/>
                  </a:lnTo>
                  <a:lnTo>
                    <a:pt x="320" y="27"/>
                  </a:lnTo>
                  <a:lnTo>
                    <a:pt x="317" y="28"/>
                  </a:lnTo>
                  <a:lnTo>
                    <a:pt x="317" y="28"/>
                  </a:lnTo>
                  <a:lnTo>
                    <a:pt x="316" y="27"/>
                  </a:lnTo>
                  <a:lnTo>
                    <a:pt x="314" y="24"/>
                  </a:lnTo>
                  <a:lnTo>
                    <a:pt x="316" y="21"/>
                  </a:lnTo>
                  <a:lnTo>
                    <a:pt x="320" y="19"/>
                  </a:lnTo>
                  <a:lnTo>
                    <a:pt x="320" y="19"/>
                  </a:lnTo>
                  <a:lnTo>
                    <a:pt x="324" y="14"/>
                  </a:lnTo>
                  <a:lnTo>
                    <a:pt x="326" y="10"/>
                  </a:lnTo>
                  <a:lnTo>
                    <a:pt x="329" y="7"/>
                  </a:lnTo>
                  <a:lnTo>
                    <a:pt x="330" y="6"/>
                  </a:lnTo>
                  <a:lnTo>
                    <a:pt x="330" y="6"/>
                  </a:lnTo>
                  <a:lnTo>
                    <a:pt x="333" y="4"/>
                  </a:lnTo>
                  <a:lnTo>
                    <a:pt x="333" y="3"/>
                  </a:lnTo>
                  <a:lnTo>
                    <a:pt x="331" y="1"/>
                  </a:lnTo>
                  <a:lnTo>
                    <a:pt x="329" y="0"/>
                  </a:lnTo>
                  <a:lnTo>
                    <a:pt x="329" y="0"/>
                  </a:lnTo>
                  <a:lnTo>
                    <a:pt x="324" y="0"/>
                  </a:lnTo>
                  <a:lnTo>
                    <a:pt x="323" y="1"/>
                  </a:lnTo>
                  <a:lnTo>
                    <a:pt x="320" y="7"/>
                  </a:lnTo>
                  <a:lnTo>
                    <a:pt x="320" y="7"/>
                  </a:lnTo>
                  <a:lnTo>
                    <a:pt x="317" y="7"/>
                  </a:lnTo>
                  <a:lnTo>
                    <a:pt x="313" y="6"/>
                  </a:lnTo>
                  <a:lnTo>
                    <a:pt x="310" y="4"/>
                  </a:lnTo>
                  <a:lnTo>
                    <a:pt x="309" y="6"/>
                  </a:lnTo>
                  <a:lnTo>
                    <a:pt x="309" y="6"/>
                  </a:lnTo>
                  <a:lnTo>
                    <a:pt x="307" y="6"/>
                  </a:lnTo>
                  <a:lnTo>
                    <a:pt x="306" y="7"/>
                  </a:lnTo>
                  <a:lnTo>
                    <a:pt x="304" y="9"/>
                  </a:lnTo>
                  <a:lnTo>
                    <a:pt x="306" y="11"/>
                  </a:lnTo>
                  <a:lnTo>
                    <a:pt x="306" y="11"/>
                  </a:lnTo>
                  <a:lnTo>
                    <a:pt x="306" y="14"/>
                  </a:lnTo>
                  <a:lnTo>
                    <a:pt x="306" y="16"/>
                  </a:lnTo>
                  <a:lnTo>
                    <a:pt x="304" y="16"/>
                  </a:lnTo>
                  <a:lnTo>
                    <a:pt x="302" y="14"/>
                  </a:lnTo>
                  <a:lnTo>
                    <a:pt x="302" y="14"/>
                  </a:lnTo>
                  <a:lnTo>
                    <a:pt x="300" y="11"/>
                  </a:lnTo>
                  <a:lnTo>
                    <a:pt x="297" y="13"/>
                  </a:lnTo>
                  <a:lnTo>
                    <a:pt x="293" y="14"/>
                  </a:lnTo>
                  <a:lnTo>
                    <a:pt x="292" y="17"/>
                  </a:lnTo>
                  <a:lnTo>
                    <a:pt x="292" y="17"/>
                  </a:lnTo>
                  <a:lnTo>
                    <a:pt x="289" y="20"/>
                  </a:lnTo>
                  <a:lnTo>
                    <a:pt x="287" y="21"/>
                  </a:lnTo>
                  <a:lnTo>
                    <a:pt x="286" y="23"/>
                  </a:lnTo>
                  <a:lnTo>
                    <a:pt x="287" y="24"/>
                  </a:lnTo>
                  <a:lnTo>
                    <a:pt x="287" y="24"/>
                  </a:lnTo>
                  <a:lnTo>
                    <a:pt x="289" y="26"/>
                  </a:lnTo>
                  <a:lnTo>
                    <a:pt x="289" y="28"/>
                  </a:lnTo>
                  <a:lnTo>
                    <a:pt x="287" y="31"/>
                  </a:lnTo>
                  <a:lnTo>
                    <a:pt x="286" y="33"/>
                  </a:lnTo>
                  <a:lnTo>
                    <a:pt x="286" y="33"/>
                  </a:lnTo>
                  <a:lnTo>
                    <a:pt x="284" y="33"/>
                  </a:lnTo>
                  <a:lnTo>
                    <a:pt x="283" y="31"/>
                  </a:lnTo>
                  <a:lnTo>
                    <a:pt x="282" y="27"/>
                  </a:lnTo>
                  <a:lnTo>
                    <a:pt x="282" y="24"/>
                  </a:lnTo>
                  <a:lnTo>
                    <a:pt x="280" y="23"/>
                  </a:lnTo>
                  <a:lnTo>
                    <a:pt x="280" y="23"/>
                  </a:lnTo>
                  <a:lnTo>
                    <a:pt x="280" y="23"/>
                  </a:lnTo>
                  <a:lnTo>
                    <a:pt x="277" y="21"/>
                  </a:lnTo>
                  <a:lnTo>
                    <a:pt x="279" y="20"/>
                  </a:lnTo>
                  <a:lnTo>
                    <a:pt x="280" y="17"/>
                  </a:lnTo>
                  <a:lnTo>
                    <a:pt x="283" y="16"/>
                  </a:lnTo>
                  <a:lnTo>
                    <a:pt x="283" y="16"/>
                  </a:lnTo>
                  <a:lnTo>
                    <a:pt x="286" y="16"/>
                  </a:lnTo>
                  <a:lnTo>
                    <a:pt x="289" y="13"/>
                  </a:lnTo>
                  <a:lnTo>
                    <a:pt x="290" y="10"/>
                  </a:lnTo>
                  <a:lnTo>
                    <a:pt x="292" y="9"/>
                  </a:lnTo>
                  <a:lnTo>
                    <a:pt x="292" y="9"/>
                  </a:lnTo>
                  <a:lnTo>
                    <a:pt x="290" y="7"/>
                  </a:lnTo>
                  <a:lnTo>
                    <a:pt x="289" y="6"/>
                  </a:lnTo>
                  <a:lnTo>
                    <a:pt x="286" y="7"/>
                  </a:lnTo>
                  <a:lnTo>
                    <a:pt x="286" y="10"/>
                  </a:lnTo>
                  <a:lnTo>
                    <a:pt x="286" y="10"/>
                  </a:lnTo>
                  <a:lnTo>
                    <a:pt x="284" y="11"/>
                  </a:lnTo>
                  <a:lnTo>
                    <a:pt x="282" y="13"/>
                  </a:lnTo>
                  <a:lnTo>
                    <a:pt x="273" y="11"/>
                  </a:lnTo>
                  <a:lnTo>
                    <a:pt x="273" y="11"/>
                  </a:lnTo>
                  <a:lnTo>
                    <a:pt x="269" y="13"/>
                  </a:lnTo>
                  <a:lnTo>
                    <a:pt x="269" y="16"/>
                  </a:lnTo>
                  <a:lnTo>
                    <a:pt x="270" y="20"/>
                  </a:lnTo>
                  <a:lnTo>
                    <a:pt x="273" y="23"/>
                  </a:lnTo>
                  <a:lnTo>
                    <a:pt x="273" y="23"/>
                  </a:lnTo>
                  <a:lnTo>
                    <a:pt x="276" y="26"/>
                  </a:lnTo>
                  <a:lnTo>
                    <a:pt x="274" y="27"/>
                  </a:lnTo>
                  <a:lnTo>
                    <a:pt x="272" y="27"/>
                  </a:lnTo>
                  <a:lnTo>
                    <a:pt x="269" y="26"/>
                  </a:lnTo>
                  <a:lnTo>
                    <a:pt x="269" y="26"/>
                  </a:lnTo>
                  <a:lnTo>
                    <a:pt x="266" y="24"/>
                  </a:lnTo>
                  <a:lnTo>
                    <a:pt x="263" y="24"/>
                  </a:lnTo>
                  <a:lnTo>
                    <a:pt x="257" y="26"/>
                  </a:lnTo>
                  <a:lnTo>
                    <a:pt x="257" y="26"/>
                  </a:lnTo>
                  <a:lnTo>
                    <a:pt x="256" y="27"/>
                  </a:lnTo>
                  <a:lnTo>
                    <a:pt x="257" y="28"/>
                  </a:lnTo>
                  <a:lnTo>
                    <a:pt x="260" y="30"/>
                  </a:lnTo>
                  <a:lnTo>
                    <a:pt x="265" y="33"/>
                  </a:lnTo>
                  <a:lnTo>
                    <a:pt x="266" y="34"/>
                  </a:lnTo>
                  <a:lnTo>
                    <a:pt x="266" y="34"/>
                  </a:lnTo>
                  <a:lnTo>
                    <a:pt x="265" y="34"/>
                  </a:lnTo>
                  <a:lnTo>
                    <a:pt x="263" y="34"/>
                  </a:lnTo>
                  <a:lnTo>
                    <a:pt x="260" y="33"/>
                  </a:lnTo>
                  <a:lnTo>
                    <a:pt x="259" y="33"/>
                  </a:lnTo>
                  <a:lnTo>
                    <a:pt x="259" y="33"/>
                  </a:lnTo>
                  <a:lnTo>
                    <a:pt x="256" y="34"/>
                  </a:lnTo>
                  <a:lnTo>
                    <a:pt x="253" y="33"/>
                  </a:lnTo>
                  <a:lnTo>
                    <a:pt x="252" y="31"/>
                  </a:lnTo>
                  <a:lnTo>
                    <a:pt x="250" y="28"/>
                  </a:lnTo>
                  <a:lnTo>
                    <a:pt x="250" y="28"/>
                  </a:lnTo>
                  <a:lnTo>
                    <a:pt x="249" y="27"/>
                  </a:lnTo>
                  <a:lnTo>
                    <a:pt x="247" y="27"/>
                  </a:lnTo>
                  <a:lnTo>
                    <a:pt x="245" y="27"/>
                  </a:lnTo>
                  <a:lnTo>
                    <a:pt x="243" y="30"/>
                  </a:lnTo>
                  <a:lnTo>
                    <a:pt x="243" y="30"/>
                  </a:lnTo>
                  <a:lnTo>
                    <a:pt x="245" y="31"/>
                  </a:lnTo>
                  <a:lnTo>
                    <a:pt x="245" y="31"/>
                  </a:lnTo>
                  <a:lnTo>
                    <a:pt x="247" y="33"/>
                  </a:lnTo>
                  <a:lnTo>
                    <a:pt x="249" y="36"/>
                  </a:lnTo>
                  <a:lnTo>
                    <a:pt x="249" y="41"/>
                  </a:lnTo>
                  <a:lnTo>
                    <a:pt x="249" y="41"/>
                  </a:lnTo>
                  <a:lnTo>
                    <a:pt x="247" y="44"/>
                  </a:lnTo>
                  <a:lnTo>
                    <a:pt x="245" y="44"/>
                  </a:lnTo>
                  <a:lnTo>
                    <a:pt x="243" y="41"/>
                  </a:lnTo>
                  <a:lnTo>
                    <a:pt x="243" y="38"/>
                  </a:lnTo>
                  <a:lnTo>
                    <a:pt x="243" y="38"/>
                  </a:lnTo>
                  <a:lnTo>
                    <a:pt x="243" y="36"/>
                  </a:lnTo>
                  <a:lnTo>
                    <a:pt x="240" y="36"/>
                  </a:lnTo>
                  <a:lnTo>
                    <a:pt x="238" y="36"/>
                  </a:lnTo>
                  <a:lnTo>
                    <a:pt x="235" y="37"/>
                  </a:lnTo>
                  <a:lnTo>
                    <a:pt x="235" y="37"/>
                  </a:lnTo>
                  <a:lnTo>
                    <a:pt x="232" y="38"/>
                  </a:lnTo>
                  <a:lnTo>
                    <a:pt x="232" y="36"/>
                  </a:lnTo>
                  <a:lnTo>
                    <a:pt x="233" y="31"/>
                  </a:lnTo>
                  <a:lnTo>
                    <a:pt x="233" y="28"/>
                  </a:lnTo>
                  <a:lnTo>
                    <a:pt x="233" y="28"/>
                  </a:lnTo>
                  <a:lnTo>
                    <a:pt x="230" y="27"/>
                  </a:lnTo>
                  <a:lnTo>
                    <a:pt x="229" y="27"/>
                  </a:lnTo>
                  <a:lnTo>
                    <a:pt x="222" y="30"/>
                  </a:lnTo>
                  <a:lnTo>
                    <a:pt x="222" y="30"/>
                  </a:lnTo>
                  <a:lnTo>
                    <a:pt x="216" y="31"/>
                  </a:lnTo>
                  <a:lnTo>
                    <a:pt x="216" y="31"/>
                  </a:lnTo>
                  <a:lnTo>
                    <a:pt x="218" y="34"/>
                  </a:lnTo>
                  <a:lnTo>
                    <a:pt x="218" y="34"/>
                  </a:lnTo>
                  <a:lnTo>
                    <a:pt x="219" y="37"/>
                  </a:lnTo>
                  <a:lnTo>
                    <a:pt x="219" y="38"/>
                  </a:lnTo>
                  <a:lnTo>
                    <a:pt x="218" y="41"/>
                  </a:lnTo>
                  <a:lnTo>
                    <a:pt x="216" y="41"/>
                  </a:lnTo>
                  <a:lnTo>
                    <a:pt x="216" y="41"/>
                  </a:lnTo>
                  <a:lnTo>
                    <a:pt x="212" y="41"/>
                  </a:lnTo>
                  <a:lnTo>
                    <a:pt x="210" y="43"/>
                  </a:lnTo>
                  <a:lnTo>
                    <a:pt x="210" y="46"/>
                  </a:lnTo>
                  <a:lnTo>
                    <a:pt x="210" y="46"/>
                  </a:lnTo>
                  <a:lnTo>
                    <a:pt x="210" y="47"/>
                  </a:lnTo>
                  <a:lnTo>
                    <a:pt x="208" y="48"/>
                  </a:lnTo>
                  <a:lnTo>
                    <a:pt x="206" y="47"/>
                  </a:lnTo>
                  <a:lnTo>
                    <a:pt x="205" y="46"/>
                  </a:lnTo>
                  <a:lnTo>
                    <a:pt x="205" y="46"/>
                  </a:lnTo>
                  <a:lnTo>
                    <a:pt x="203" y="44"/>
                  </a:lnTo>
                  <a:lnTo>
                    <a:pt x="201" y="44"/>
                  </a:lnTo>
                  <a:lnTo>
                    <a:pt x="196" y="44"/>
                  </a:lnTo>
                  <a:lnTo>
                    <a:pt x="193" y="47"/>
                  </a:lnTo>
                  <a:lnTo>
                    <a:pt x="193" y="47"/>
                  </a:lnTo>
                  <a:lnTo>
                    <a:pt x="189" y="53"/>
                  </a:lnTo>
                  <a:lnTo>
                    <a:pt x="186" y="56"/>
                  </a:lnTo>
                  <a:lnTo>
                    <a:pt x="186" y="58"/>
                  </a:lnTo>
                  <a:lnTo>
                    <a:pt x="186" y="58"/>
                  </a:lnTo>
                  <a:lnTo>
                    <a:pt x="186" y="60"/>
                  </a:lnTo>
                  <a:lnTo>
                    <a:pt x="189" y="58"/>
                  </a:lnTo>
                  <a:lnTo>
                    <a:pt x="192" y="57"/>
                  </a:lnTo>
                  <a:lnTo>
                    <a:pt x="196" y="57"/>
                  </a:lnTo>
                  <a:lnTo>
                    <a:pt x="196" y="57"/>
                  </a:lnTo>
                  <a:lnTo>
                    <a:pt x="198" y="58"/>
                  </a:lnTo>
                  <a:lnTo>
                    <a:pt x="198" y="60"/>
                  </a:lnTo>
                  <a:lnTo>
                    <a:pt x="198" y="61"/>
                  </a:lnTo>
                  <a:lnTo>
                    <a:pt x="198" y="63"/>
                  </a:lnTo>
                  <a:lnTo>
                    <a:pt x="198" y="63"/>
                  </a:lnTo>
                  <a:lnTo>
                    <a:pt x="199" y="65"/>
                  </a:lnTo>
                  <a:lnTo>
                    <a:pt x="199" y="67"/>
                  </a:lnTo>
                  <a:lnTo>
                    <a:pt x="199" y="68"/>
                  </a:lnTo>
                  <a:lnTo>
                    <a:pt x="196" y="67"/>
                  </a:lnTo>
                  <a:lnTo>
                    <a:pt x="196" y="67"/>
                  </a:lnTo>
                  <a:lnTo>
                    <a:pt x="193" y="65"/>
                  </a:lnTo>
                  <a:lnTo>
                    <a:pt x="192" y="64"/>
                  </a:lnTo>
                  <a:lnTo>
                    <a:pt x="189" y="65"/>
                  </a:lnTo>
                  <a:lnTo>
                    <a:pt x="188" y="68"/>
                  </a:lnTo>
                  <a:lnTo>
                    <a:pt x="188" y="68"/>
                  </a:lnTo>
                  <a:lnTo>
                    <a:pt x="188" y="70"/>
                  </a:lnTo>
                  <a:lnTo>
                    <a:pt x="185" y="70"/>
                  </a:lnTo>
                  <a:lnTo>
                    <a:pt x="181" y="64"/>
                  </a:lnTo>
                  <a:lnTo>
                    <a:pt x="181" y="64"/>
                  </a:lnTo>
                  <a:lnTo>
                    <a:pt x="181" y="63"/>
                  </a:lnTo>
                  <a:lnTo>
                    <a:pt x="179" y="64"/>
                  </a:lnTo>
                  <a:lnTo>
                    <a:pt x="176" y="65"/>
                  </a:lnTo>
                  <a:lnTo>
                    <a:pt x="175" y="68"/>
                  </a:lnTo>
                  <a:lnTo>
                    <a:pt x="173" y="68"/>
                  </a:lnTo>
                  <a:lnTo>
                    <a:pt x="172" y="68"/>
                  </a:lnTo>
                  <a:lnTo>
                    <a:pt x="172" y="68"/>
                  </a:lnTo>
                  <a:lnTo>
                    <a:pt x="172" y="67"/>
                  </a:lnTo>
                  <a:lnTo>
                    <a:pt x="172" y="65"/>
                  </a:lnTo>
                  <a:lnTo>
                    <a:pt x="173" y="63"/>
                  </a:lnTo>
                  <a:lnTo>
                    <a:pt x="176" y="58"/>
                  </a:lnTo>
                  <a:lnTo>
                    <a:pt x="176" y="57"/>
                  </a:lnTo>
                  <a:lnTo>
                    <a:pt x="176" y="56"/>
                  </a:lnTo>
                  <a:lnTo>
                    <a:pt x="176" y="56"/>
                  </a:lnTo>
                  <a:lnTo>
                    <a:pt x="175" y="54"/>
                  </a:lnTo>
                  <a:lnTo>
                    <a:pt x="172" y="56"/>
                  </a:lnTo>
                  <a:lnTo>
                    <a:pt x="166" y="63"/>
                  </a:lnTo>
                  <a:lnTo>
                    <a:pt x="166" y="63"/>
                  </a:lnTo>
                  <a:lnTo>
                    <a:pt x="162" y="65"/>
                  </a:lnTo>
                  <a:lnTo>
                    <a:pt x="158" y="67"/>
                  </a:lnTo>
                  <a:lnTo>
                    <a:pt x="156" y="68"/>
                  </a:lnTo>
                  <a:lnTo>
                    <a:pt x="156" y="70"/>
                  </a:lnTo>
                  <a:lnTo>
                    <a:pt x="156" y="70"/>
                  </a:lnTo>
                  <a:lnTo>
                    <a:pt x="156" y="73"/>
                  </a:lnTo>
                  <a:lnTo>
                    <a:pt x="155" y="74"/>
                  </a:lnTo>
                  <a:lnTo>
                    <a:pt x="152" y="75"/>
                  </a:lnTo>
                  <a:lnTo>
                    <a:pt x="149" y="78"/>
                  </a:lnTo>
                  <a:lnTo>
                    <a:pt x="149" y="78"/>
                  </a:lnTo>
                  <a:lnTo>
                    <a:pt x="146" y="81"/>
                  </a:lnTo>
                  <a:lnTo>
                    <a:pt x="142" y="84"/>
                  </a:lnTo>
                  <a:lnTo>
                    <a:pt x="135" y="87"/>
                  </a:lnTo>
                  <a:lnTo>
                    <a:pt x="129" y="90"/>
                  </a:lnTo>
                  <a:lnTo>
                    <a:pt x="129" y="90"/>
                  </a:lnTo>
                  <a:lnTo>
                    <a:pt x="127" y="93"/>
                  </a:lnTo>
                  <a:lnTo>
                    <a:pt x="128" y="93"/>
                  </a:lnTo>
                  <a:lnTo>
                    <a:pt x="128" y="94"/>
                  </a:lnTo>
                  <a:lnTo>
                    <a:pt x="132" y="93"/>
                  </a:lnTo>
                  <a:lnTo>
                    <a:pt x="135" y="90"/>
                  </a:lnTo>
                  <a:lnTo>
                    <a:pt x="135" y="90"/>
                  </a:lnTo>
                  <a:lnTo>
                    <a:pt x="138" y="88"/>
                  </a:lnTo>
                  <a:lnTo>
                    <a:pt x="141" y="87"/>
                  </a:lnTo>
                  <a:lnTo>
                    <a:pt x="144" y="87"/>
                  </a:lnTo>
                  <a:lnTo>
                    <a:pt x="148" y="84"/>
                  </a:lnTo>
                  <a:lnTo>
                    <a:pt x="148" y="84"/>
                  </a:lnTo>
                  <a:lnTo>
                    <a:pt x="156" y="80"/>
                  </a:lnTo>
                  <a:lnTo>
                    <a:pt x="161" y="78"/>
                  </a:lnTo>
                  <a:lnTo>
                    <a:pt x="164" y="78"/>
                  </a:lnTo>
                  <a:lnTo>
                    <a:pt x="164" y="78"/>
                  </a:lnTo>
                  <a:lnTo>
                    <a:pt x="165" y="80"/>
                  </a:lnTo>
                  <a:lnTo>
                    <a:pt x="168" y="80"/>
                  </a:lnTo>
                  <a:lnTo>
                    <a:pt x="169" y="80"/>
                  </a:lnTo>
                  <a:lnTo>
                    <a:pt x="172" y="77"/>
                  </a:lnTo>
                  <a:lnTo>
                    <a:pt x="172" y="77"/>
                  </a:lnTo>
                  <a:lnTo>
                    <a:pt x="175" y="75"/>
                  </a:lnTo>
                  <a:lnTo>
                    <a:pt x="178" y="74"/>
                  </a:lnTo>
                  <a:lnTo>
                    <a:pt x="179" y="75"/>
                  </a:lnTo>
                  <a:lnTo>
                    <a:pt x="182" y="77"/>
                  </a:lnTo>
                  <a:lnTo>
                    <a:pt x="182" y="77"/>
                  </a:lnTo>
                  <a:lnTo>
                    <a:pt x="183" y="78"/>
                  </a:lnTo>
                  <a:lnTo>
                    <a:pt x="181" y="80"/>
                  </a:lnTo>
                  <a:lnTo>
                    <a:pt x="181" y="83"/>
                  </a:lnTo>
                  <a:lnTo>
                    <a:pt x="181" y="85"/>
                  </a:lnTo>
                  <a:lnTo>
                    <a:pt x="181" y="85"/>
                  </a:lnTo>
                  <a:lnTo>
                    <a:pt x="182" y="87"/>
                  </a:lnTo>
                  <a:lnTo>
                    <a:pt x="181" y="90"/>
                  </a:lnTo>
                  <a:lnTo>
                    <a:pt x="178" y="90"/>
                  </a:lnTo>
                  <a:lnTo>
                    <a:pt x="176" y="88"/>
                  </a:lnTo>
                  <a:lnTo>
                    <a:pt x="176" y="88"/>
                  </a:lnTo>
                  <a:lnTo>
                    <a:pt x="175" y="85"/>
                  </a:lnTo>
                  <a:lnTo>
                    <a:pt x="173" y="84"/>
                  </a:lnTo>
                  <a:lnTo>
                    <a:pt x="172" y="84"/>
                  </a:lnTo>
                  <a:lnTo>
                    <a:pt x="171" y="84"/>
                  </a:lnTo>
                  <a:lnTo>
                    <a:pt x="171" y="84"/>
                  </a:lnTo>
                  <a:lnTo>
                    <a:pt x="166" y="88"/>
                  </a:lnTo>
                  <a:lnTo>
                    <a:pt x="165" y="91"/>
                  </a:lnTo>
                  <a:lnTo>
                    <a:pt x="162" y="91"/>
                  </a:lnTo>
                  <a:lnTo>
                    <a:pt x="162" y="91"/>
                  </a:lnTo>
                  <a:lnTo>
                    <a:pt x="161" y="93"/>
                  </a:lnTo>
                  <a:lnTo>
                    <a:pt x="158" y="95"/>
                  </a:lnTo>
                  <a:lnTo>
                    <a:pt x="156" y="98"/>
                  </a:lnTo>
                  <a:lnTo>
                    <a:pt x="156" y="102"/>
                  </a:lnTo>
                  <a:lnTo>
                    <a:pt x="156" y="102"/>
                  </a:lnTo>
                  <a:lnTo>
                    <a:pt x="155" y="105"/>
                  </a:lnTo>
                  <a:lnTo>
                    <a:pt x="154" y="105"/>
                  </a:lnTo>
                  <a:lnTo>
                    <a:pt x="151" y="105"/>
                  </a:lnTo>
                  <a:lnTo>
                    <a:pt x="151" y="108"/>
                  </a:lnTo>
                  <a:lnTo>
                    <a:pt x="151" y="108"/>
                  </a:lnTo>
                  <a:lnTo>
                    <a:pt x="148" y="112"/>
                  </a:lnTo>
                  <a:lnTo>
                    <a:pt x="145" y="117"/>
                  </a:lnTo>
                  <a:lnTo>
                    <a:pt x="135" y="128"/>
                  </a:lnTo>
                  <a:lnTo>
                    <a:pt x="135" y="128"/>
                  </a:lnTo>
                  <a:lnTo>
                    <a:pt x="132" y="132"/>
                  </a:lnTo>
                  <a:lnTo>
                    <a:pt x="132" y="135"/>
                  </a:lnTo>
                  <a:lnTo>
                    <a:pt x="134" y="137"/>
                  </a:lnTo>
                  <a:lnTo>
                    <a:pt x="132" y="139"/>
                  </a:lnTo>
                  <a:lnTo>
                    <a:pt x="132" y="139"/>
                  </a:lnTo>
                  <a:lnTo>
                    <a:pt x="131" y="142"/>
                  </a:lnTo>
                  <a:lnTo>
                    <a:pt x="127" y="142"/>
                  </a:lnTo>
                  <a:lnTo>
                    <a:pt x="122" y="141"/>
                  </a:lnTo>
                  <a:lnTo>
                    <a:pt x="121" y="142"/>
                  </a:lnTo>
                  <a:lnTo>
                    <a:pt x="121" y="142"/>
                  </a:lnTo>
                  <a:lnTo>
                    <a:pt x="119" y="145"/>
                  </a:lnTo>
                  <a:lnTo>
                    <a:pt x="119" y="149"/>
                  </a:lnTo>
                  <a:lnTo>
                    <a:pt x="119" y="154"/>
                  </a:lnTo>
                  <a:lnTo>
                    <a:pt x="118" y="157"/>
                  </a:lnTo>
                  <a:lnTo>
                    <a:pt x="118" y="157"/>
                  </a:lnTo>
                  <a:lnTo>
                    <a:pt x="117" y="159"/>
                  </a:lnTo>
                  <a:lnTo>
                    <a:pt x="117" y="162"/>
                  </a:lnTo>
                  <a:lnTo>
                    <a:pt x="118" y="168"/>
                  </a:lnTo>
                  <a:lnTo>
                    <a:pt x="118" y="168"/>
                  </a:lnTo>
                  <a:lnTo>
                    <a:pt x="118" y="168"/>
                  </a:lnTo>
                  <a:lnTo>
                    <a:pt x="117" y="169"/>
                  </a:lnTo>
                  <a:lnTo>
                    <a:pt x="114" y="168"/>
                  </a:lnTo>
                  <a:lnTo>
                    <a:pt x="109" y="168"/>
                  </a:lnTo>
                  <a:lnTo>
                    <a:pt x="108" y="168"/>
                  </a:lnTo>
                  <a:lnTo>
                    <a:pt x="108" y="169"/>
                  </a:lnTo>
                  <a:lnTo>
                    <a:pt x="108" y="169"/>
                  </a:lnTo>
                  <a:lnTo>
                    <a:pt x="107" y="171"/>
                  </a:lnTo>
                  <a:lnTo>
                    <a:pt x="104" y="172"/>
                  </a:lnTo>
                  <a:lnTo>
                    <a:pt x="97" y="172"/>
                  </a:lnTo>
                  <a:lnTo>
                    <a:pt x="97" y="172"/>
                  </a:lnTo>
                  <a:lnTo>
                    <a:pt x="97" y="174"/>
                  </a:lnTo>
                  <a:lnTo>
                    <a:pt x="100" y="176"/>
                  </a:lnTo>
                  <a:lnTo>
                    <a:pt x="107" y="182"/>
                  </a:lnTo>
                  <a:lnTo>
                    <a:pt x="107" y="182"/>
                  </a:lnTo>
                  <a:lnTo>
                    <a:pt x="107" y="184"/>
                  </a:lnTo>
                  <a:lnTo>
                    <a:pt x="107" y="185"/>
                  </a:lnTo>
                  <a:lnTo>
                    <a:pt x="105" y="186"/>
                  </a:lnTo>
                  <a:lnTo>
                    <a:pt x="102" y="186"/>
                  </a:lnTo>
                  <a:lnTo>
                    <a:pt x="101" y="185"/>
                  </a:lnTo>
                  <a:lnTo>
                    <a:pt x="101" y="185"/>
                  </a:lnTo>
                  <a:lnTo>
                    <a:pt x="101" y="184"/>
                  </a:lnTo>
                  <a:lnTo>
                    <a:pt x="100" y="184"/>
                  </a:lnTo>
                  <a:lnTo>
                    <a:pt x="97" y="185"/>
                  </a:lnTo>
                  <a:lnTo>
                    <a:pt x="87" y="191"/>
                  </a:lnTo>
                  <a:lnTo>
                    <a:pt x="87" y="191"/>
                  </a:lnTo>
                  <a:lnTo>
                    <a:pt x="82" y="194"/>
                  </a:lnTo>
                  <a:lnTo>
                    <a:pt x="81" y="196"/>
                  </a:lnTo>
                  <a:lnTo>
                    <a:pt x="80" y="199"/>
                  </a:lnTo>
                  <a:lnTo>
                    <a:pt x="77" y="201"/>
                  </a:lnTo>
                  <a:lnTo>
                    <a:pt x="77" y="201"/>
                  </a:lnTo>
                  <a:lnTo>
                    <a:pt x="75" y="201"/>
                  </a:lnTo>
                  <a:lnTo>
                    <a:pt x="74" y="202"/>
                  </a:lnTo>
                  <a:lnTo>
                    <a:pt x="72" y="205"/>
                  </a:lnTo>
                  <a:lnTo>
                    <a:pt x="71" y="209"/>
                  </a:lnTo>
                  <a:lnTo>
                    <a:pt x="70" y="212"/>
                  </a:lnTo>
                  <a:lnTo>
                    <a:pt x="70" y="212"/>
                  </a:lnTo>
                  <a:lnTo>
                    <a:pt x="68" y="213"/>
                  </a:lnTo>
                  <a:lnTo>
                    <a:pt x="67" y="213"/>
                  </a:lnTo>
                  <a:lnTo>
                    <a:pt x="65" y="211"/>
                  </a:lnTo>
                  <a:lnTo>
                    <a:pt x="64" y="208"/>
                  </a:lnTo>
                  <a:lnTo>
                    <a:pt x="63" y="206"/>
                  </a:lnTo>
                  <a:lnTo>
                    <a:pt x="60" y="206"/>
                  </a:lnTo>
                  <a:lnTo>
                    <a:pt x="60" y="206"/>
                  </a:lnTo>
                  <a:lnTo>
                    <a:pt x="57" y="206"/>
                  </a:lnTo>
                  <a:lnTo>
                    <a:pt x="55" y="208"/>
                  </a:lnTo>
                  <a:lnTo>
                    <a:pt x="57" y="211"/>
                  </a:lnTo>
                  <a:lnTo>
                    <a:pt x="58" y="215"/>
                  </a:lnTo>
                  <a:lnTo>
                    <a:pt x="58" y="215"/>
                  </a:lnTo>
                  <a:lnTo>
                    <a:pt x="58" y="218"/>
                  </a:lnTo>
                  <a:lnTo>
                    <a:pt x="57" y="218"/>
                  </a:lnTo>
                  <a:lnTo>
                    <a:pt x="53" y="218"/>
                  </a:lnTo>
                  <a:lnTo>
                    <a:pt x="50" y="221"/>
                  </a:lnTo>
                  <a:lnTo>
                    <a:pt x="50" y="221"/>
                  </a:lnTo>
                  <a:lnTo>
                    <a:pt x="45" y="222"/>
                  </a:lnTo>
                  <a:lnTo>
                    <a:pt x="41" y="223"/>
                  </a:lnTo>
                  <a:lnTo>
                    <a:pt x="37" y="223"/>
                  </a:lnTo>
                  <a:lnTo>
                    <a:pt x="34" y="226"/>
                  </a:lnTo>
                  <a:lnTo>
                    <a:pt x="34" y="226"/>
                  </a:lnTo>
                  <a:lnTo>
                    <a:pt x="34" y="228"/>
                  </a:lnTo>
                  <a:lnTo>
                    <a:pt x="34" y="228"/>
                  </a:lnTo>
                  <a:lnTo>
                    <a:pt x="37" y="229"/>
                  </a:lnTo>
                  <a:lnTo>
                    <a:pt x="40" y="230"/>
                  </a:lnTo>
                  <a:lnTo>
                    <a:pt x="43" y="232"/>
                  </a:lnTo>
                  <a:lnTo>
                    <a:pt x="43" y="232"/>
                  </a:lnTo>
                  <a:lnTo>
                    <a:pt x="43" y="233"/>
                  </a:lnTo>
                  <a:lnTo>
                    <a:pt x="41" y="233"/>
                  </a:lnTo>
                  <a:lnTo>
                    <a:pt x="38" y="233"/>
                  </a:lnTo>
                  <a:lnTo>
                    <a:pt x="28" y="232"/>
                  </a:lnTo>
                  <a:lnTo>
                    <a:pt x="28" y="232"/>
                  </a:lnTo>
                  <a:lnTo>
                    <a:pt x="26" y="233"/>
                  </a:lnTo>
                  <a:lnTo>
                    <a:pt x="24" y="235"/>
                  </a:lnTo>
                  <a:lnTo>
                    <a:pt x="23" y="238"/>
                  </a:lnTo>
                  <a:lnTo>
                    <a:pt x="20" y="238"/>
                  </a:lnTo>
                  <a:lnTo>
                    <a:pt x="20" y="238"/>
                  </a:lnTo>
                  <a:lnTo>
                    <a:pt x="17" y="239"/>
                  </a:lnTo>
                  <a:lnTo>
                    <a:pt x="14" y="240"/>
                  </a:lnTo>
                  <a:lnTo>
                    <a:pt x="13" y="243"/>
                  </a:lnTo>
                  <a:lnTo>
                    <a:pt x="13" y="246"/>
                  </a:lnTo>
                  <a:lnTo>
                    <a:pt x="13" y="246"/>
                  </a:lnTo>
                  <a:lnTo>
                    <a:pt x="14" y="248"/>
                  </a:lnTo>
                  <a:lnTo>
                    <a:pt x="13" y="249"/>
                  </a:lnTo>
                  <a:lnTo>
                    <a:pt x="10" y="249"/>
                  </a:lnTo>
                  <a:lnTo>
                    <a:pt x="7" y="248"/>
                  </a:lnTo>
                  <a:lnTo>
                    <a:pt x="7" y="248"/>
                  </a:lnTo>
                  <a:lnTo>
                    <a:pt x="4" y="246"/>
                  </a:lnTo>
                  <a:lnTo>
                    <a:pt x="3" y="249"/>
                  </a:lnTo>
                  <a:lnTo>
                    <a:pt x="0" y="255"/>
                  </a:lnTo>
                  <a:lnTo>
                    <a:pt x="0" y="255"/>
                  </a:lnTo>
                  <a:lnTo>
                    <a:pt x="0" y="258"/>
                  </a:lnTo>
                  <a:lnTo>
                    <a:pt x="3" y="259"/>
                  </a:lnTo>
                  <a:lnTo>
                    <a:pt x="4" y="260"/>
                  </a:lnTo>
                  <a:lnTo>
                    <a:pt x="6" y="262"/>
                  </a:lnTo>
                  <a:lnTo>
                    <a:pt x="6" y="262"/>
                  </a:lnTo>
                  <a:lnTo>
                    <a:pt x="3" y="266"/>
                  </a:lnTo>
                  <a:lnTo>
                    <a:pt x="3" y="267"/>
                  </a:lnTo>
                  <a:lnTo>
                    <a:pt x="4" y="269"/>
                  </a:lnTo>
                  <a:lnTo>
                    <a:pt x="4" y="269"/>
                  </a:lnTo>
                  <a:lnTo>
                    <a:pt x="6" y="269"/>
                  </a:lnTo>
                  <a:lnTo>
                    <a:pt x="6" y="272"/>
                  </a:lnTo>
                  <a:lnTo>
                    <a:pt x="3" y="275"/>
                  </a:lnTo>
                  <a:lnTo>
                    <a:pt x="3" y="275"/>
                  </a:lnTo>
                  <a:lnTo>
                    <a:pt x="1" y="276"/>
                  </a:lnTo>
                  <a:lnTo>
                    <a:pt x="0" y="277"/>
                  </a:lnTo>
                  <a:lnTo>
                    <a:pt x="3" y="282"/>
                  </a:lnTo>
                  <a:lnTo>
                    <a:pt x="3" y="282"/>
                  </a:lnTo>
                  <a:lnTo>
                    <a:pt x="3" y="285"/>
                  </a:lnTo>
                  <a:lnTo>
                    <a:pt x="1" y="286"/>
                  </a:lnTo>
                  <a:lnTo>
                    <a:pt x="0" y="289"/>
                  </a:lnTo>
                  <a:lnTo>
                    <a:pt x="1" y="292"/>
                  </a:lnTo>
                  <a:lnTo>
                    <a:pt x="1" y="292"/>
                  </a:lnTo>
                  <a:lnTo>
                    <a:pt x="4" y="293"/>
                  </a:lnTo>
                  <a:lnTo>
                    <a:pt x="6" y="293"/>
                  </a:lnTo>
                  <a:lnTo>
                    <a:pt x="8" y="293"/>
                  </a:lnTo>
                  <a:lnTo>
                    <a:pt x="10" y="295"/>
                  </a:lnTo>
                  <a:lnTo>
                    <a:pt x="10" y="295"/>
                  </a:lnTo>
                  <a:lnTo>
                    <a:pt x="11" y="296"/>
                  </a:lnTo>
                  <a:lnTo>
                    <a:pt x="14" y="296"/>
                  </a:lnTo>
                  <a:lnTo>
                    <a:pt x="21" y="290"/>
                  </a:lnTo>
                  <a:lnTo>
                    <a:pt x="21" y="290"/>
                  </a:lnTo>
                  <a:lnTo>
                    <a:pt x="23" y="289"/>
                  </a:lnTo>
                  <a:lnTo>
                    <a:pt x="24" y="289"/>
                  </a:lnTo>
                  <a:lnTo>
                    <a:pt x="26" y="290"/>
                  </a:lnTo>
                  <a:lnTo>
                    <a:pt x="26" y="293"/>
                  </a:lnTo>
                  <a:lnTo>
                    <a:pt x="26" y="295"/>
                  </a:lnTo>
                  <a:lnTo>
                    <a:pt x="24" y="295"/>
                  </a:lnTo>
                  <a:lnTo>
                    <a:pt x="24" y="295"/>
                  </a:lnTo>
                  <a:lnTo>
                    <a:pt x="20" y="295"/>
                  </a:lnTo>
                  <a:lnTo>
                    <a:pt x="17" y="296"/>
                  </a:lnTo>
                  <a:lnTo>
                    <a:pt x="16" y="299"/>
                  </a:lnTo>
                  <a:lnTo>
                    <a:pt x="16" y="302"/>
                  </a:lnTo>
                  <a:lnTo>
                    <a:pt x="16" y="302"/>
                  </a:lnTo>
                  <a:lnTo>
                    <a:pt x="14" y="304"/>
                  </a:lnTo>
                  <a:lnTo>
                    <a:pt x="13" y="304"/>
                  </a:lnTo>
                  <a:lnTo>
                    <a:pt x="10" y="303"/>
                  </a:lnTo>
                  <a:lnTo>
                    <a:pt x="8" y="300"/>
                  </a:lnTo>
                  <a:lnTo>
                    <a:pt x="8" y="300"/>
                  </a:lnTo>
                  <a:lnTo>
                    <a:pt x="8" y="299"/>
                  </a:lnTo>
                  <a:lnTo>
                    <a:pt x="7" y="297"/>
                  </a:lnTo>
                  <a:lnTo>
                    <a:pt x="6" y="299"/>
                  </a:lnTo>
                  <a:lnTo>
                    <a:pt x="3" y="302"/>
                  </a:lnTo>
                  <a:lnTo>
                    <a:pt x="3" y="303"/>
                  </a:lnTo>
                  <a:lnTo>
                    <a:pt x="4" y="304"/>
                  </a:lnTo>
                  <a:lnTo>
                    <a:pt x="4" y="304"/>
                  </a:lnTo>
                  <a:lnTo>
                    <a:pt x="4" y="307"/>
                  </a:lnTo>
                  <a:lnTo>
                    <a:pt x="4" y="309"/>
                  </a:lnTo>
                  <a:lnTo>
                    <a:pt x="3" y="312"/>
                  </a:lnTo>
                  <a:lnTo>
                    <a:pt x="3" y="314"/>
                  </a:lnTo>
                  <a:lnTo>
                    <a:pt x="3" y="314"/>
                  </a:lnTo>
                  <a:lnTo>
                    <a:pt x="3" y="316"/>
                  </a:lnTo>
                  <a:lnTo>
                    <a:pt x="6" y="316"/>
                  </a:lnTo>
                  <a:lnTo>
                    <a:pt x="8" y="316"/>
                  </a:lnTo>
                  <a:lnTo>
                    <a:pt x="11" y="313"/>
                  </a:lnTo>
                  <a:lnTo>
                    <a:pt x="11" y="313"/>
                  </a:lnTo>
                  <a:lnTo>
                    <a:pt x="14" y="310"/>
                  </a:lnTo>
                  <a:lnTo>
                    <a:pt x="16" y="310"/>
                  </a:lnTo>
                  <a:lnTo>
                    <a:pt x="18" y="312"/>
                  </a:lnTo>
                  <a:lnTo>
                    <a:pt x="20" y="314"/>
                  </a:lnTo>
                  <a:lnTo>
                    <a:pt x="20" y="314"/>
                  </a:lnTo>
                  <a:lnTo>
                    <a:pt x="20" y="316"/>
                  </a:lnTo>
                  <a:lnTo>
                    <a:pt x="18" y="316"/>
                  </a:lnTo>
                  <a:lnTo>
                    <a:pt x="17" y="317"/>
                  </a:lnTo>
                  <a:lnTo>
                    <a:pt x="16" y="320"/>
                  </a:lnTo>
                  <a:lnTo>
                    <a:pt x="16" y="320"/>
                  </a:lnTo>
                  <a:lnTo>
                    <a:pt x="16" y="323"/>
                  </a:lnTo>
                  <a:lnTo>
                    <a:pt x="14" y="323"/>
                  </a:lnTo>
                  <a:lnTo>
                    <a:pt x="11" y="323"/>
                  </a:lnTo>
                  <a:lnTo>
                    <a:pt x="10" y="326"/>
                  </a:lnTo>
                  <a:lnTo>
                    <a:pt x="10" y="326"/>
                  </a:lnTo>
                  <a:lnTo>
                    <a:pt x="8" y="327"/>
                  </a:lnTo>
                  <a:lnTo>
                    <a:pt x="10" y="329"/>
                  </a:lnTo>
                  <a:lnTo>
                    <a:pt x="14" y="333"/>
                  </a:lnTo>
                  <a:lnTo>
                    <a:pt x="21" y="337"/>
                  </a:lnTo>
                  <a:lnTo>
                    <a:pt x="26" y="339"/>
                  </a:lnTo>
                  <a:lnTo>
                    <a:pt x="26" y="339"/>
                  </a:lnTo>
                  <a:lnTo>
                    <a:pt x="34" y="341"/>
                  </a:lnTo>
                  <a:lnTo>
                    <a:pt x="38" y="343"/>
                  </a:lnTo>
                  <a:lnTo>
                    <a:pt x="45" y="343"/>
                  </a:lnTo>
                  <a:lnTo>
                    <a:pt x="45" y="343"/>
                  </a:lnTo>
                  <a:lnTo>
                    <a:pt x="48" y="343"/>
                  </a:lnTo>
                  <a:lnTo>
                    <a:pt x="53" y="340"/>
                  </a:lnTo>
                  <a:lnTo>
                    <a:pt x="63" y="333"/>
                  </a:lnTo>
                  <a:lnTo>
                    <a:pt x="75" y="322"/>
                  </a:lnTo>
                  <a:lnTo>
                    <a:pt x="75" y="322"/>
                  </a:lnTo>
                  <a:lnTo>
                    <a:pt x="77" y="320"/>
                  </a:lnTo>
                  <a:lnTo>
                    <a:pt x="80" y="320"/>
                  </a:lnTo>
                  <a:lnTo>
                    <a:pt x="82" y="320"/>
                  </a:lnTo>
                  <a:lnTo>
                    <a:pt x="85" y="319"/>
                  </a:lnTo>
                  <a:lnTo>
                    <a:pt x="85" y="319"/>
                  </a:lnTo>
                  <a:lnTo>
                    <a:pt x="88" y="316"/>
                  </a:lnTo>
                  <a:lnTo>
                    <a:pt x="88" y="313"/>
                  </a:lnTo>
                  <a:lnTo>
                    <a:pt x="88" y="310"/>
                  </a:lnTo>
                  <a:lnTo>
                    <a:pt x="90" y="307"/>
                  </a:lnTo>
                  <a:lnTo>
                    <a:pt x="90" y="307"/>
                  </a:lnTo>
                  <a:lnTo>
                    <a:pt x="91" y="309"/>
                  </a:lnTo>
                  <a:lnTo>
                    <a:pt x="92" y="312"/>
                  </a:lnTo>
                  <a:lnTo>
                    <a:pt x="95" y="314"/>
                  </a:lnTo>
                  <a:lnTo>
                    <a:pt x="97" y="316"/>
                  </a:lnTo>
                  <a:lnTo>
                    <a:pt x="97" y="316"/>
                  </a:lnTo>
                  <a:lnTo>
                    <a:pt x="100" y="319"/>
                  </a:lnTo>
                  <a:lnTo>
                    <a:pt x="100" y="323"/>
                  </a:lnTo>
                  <a:lnTo>
                    <a:pt x="100" y="323"/>
                  </a:lnTo>
                  <a:lnTo>
                    <a:pt x="102" y="323"/>
                  </a:lnTo>
                  <a:lnTo>
                    <a:pt x="105" y="324"/>
                  </a:lnTo>
                  <a:lnTo>
                    <a:pt x="105" y="324"/>
                  </a:lnTo>
                  <a:lnTo>
                    <a:pt x="107" y="324"/>
                  </a:lnTo>
                  <a:lnTo>
                    <a:pt x="107" y="324"/>
                  </a:lnTo>
                  <a:lnTo>
                    <a:pt x="108" y="322"/>
                  </a:lnTo>
                  <a:lnTo>
                    <a:pt x="109" y="313"/>
                  </a:lnTo>
                  <a:lnTo>
                    <a:pt x="109" y="313"/>
                  </a:lnTo>
                  <a:lnTo>
                    <a:pt x="111" y="307"/>
                  </a:lnTo>
                  <a:lnTo>
                    <a:pt x="111" y="304"/>
                  </a:lnTo>
                  <a:lnTo>
                    <a:pt x="111" y="300"/>
                  </a:lnTo>
                  <a:lnTo>
                    <a:pt x="111" y="300"/>
                  </a:lnTo>
                  <a:lnTo>
                    <a:pt x="111" y="299"/>
                  </a:lnTo>
                  <a:lnTo>
                    <a:pt x="112" y="299"/>
                  </a:lnTo>
                  <a:lnTo>
                    <a:pt x="115" y="299"/>
                  </a:lnTo>
                  <a:lnTo>
                    <a:pt x="119" y="299"/>
                  </a:lnTo>
                  <a:lnTo>
                    <a:pt x="122" y="297"/>
                  </a:lnTo>
                  <a:lnTo>
                    <a:pt x="122" y="297"/>
                  </a:lnTo>
                  <a:lnTo>
                    <a:pt x="124" y="289"/>
                  </a:lnTo>
                  <a:lnTo>
                    <a:pt x="122" y="285"/>
                  </a:lnTo>
                  <a:lnTo>
                    <a:pt x="121" y="282"/>
                  </a:lnTo>
                  <a:lnTo>
                    <a:pt x="121" y="282"/>
                  </a:lnTo>
                  <a:lnTo>
                    <a:pt x="119" y="280"/>
                  </a:lnTo>
                  <a:lnTo>
                    <a:pt x="118" y="277"/>
                  </a:lnTo>
                  <a:lnTo>
                    <a:pt x="118" y="275"/>
                  </a:lnTo>
                  <a:lnTo>
                    <a:pt x="121" y="275"/>
                  </a:lnTo>
                  <a:lnTo>
                    <a:pt x="121" y="275"/>
                  </a:lnTo>
                  <a:lnTo>
                    <a:pt x="122" y="273"/>
                  </a:lnTo>
                  <a:lnTo>
                    <a:pt x="125" y="272"/>
                  </a:lnTo>
                  <a:lnTo>
                    <a:pt x="127" y="269"/>
                  </a:lnTo>
                  <a:lnTo>
                    <a:pt x="127" y="266"/>
                  </a:lnTo>
                  <a:lnTo>
                    <a:pt x="127" y="266"/>
                  </a:lnTo>
                  <a:lnTo>
                    <a:pt x="125" y="262"/>
                  </a:lnTo>
                  <a:lnTo>
                    <a:pt x="121" y="260"/>
                  </a:lnTo>
                  <a:lnTo>
                    <a:pt x="118" y="258"/>
                  </a:lnTo>
                  <a:lnTo>
                    <a:pt x="115" y="255"/>
                  </a:lnTo>
                  <a:lnTo>
                    <a:pt x="115" y="255"/>
                  </a:lnTo>
                  <a:lnTo>
                    <a:pt x="117" y="250"/>
                  </a:lnTo>
                  <a:lnTo>
                    <a:pt x="117" y="248"/>
                  </a:lnTo>
                  <a:lnTo>
                    <a:pt x="118" y="243"/>
                  </a:lnTo>
                  <a:lnTo>
                    <a:pt x="117" y="239"/>
                  </a:lnTo>
                  <a:lnTo>
                    <a:pt x="117" y="239"/>
                  </a:lnTo>
                  <a:lnTo>
                    <a:pt x="115" y="233"/>
                  </a:lnTo>
                  <a:lnTo>
                    <a:pt x="115" y="229"/>
                  </a:lnTo>
                  <a:lnTo>
                    <a:pt x="117" y="226"/>
                  </a:lnTo>
                  <a:lnTo>
                    <a:pt x="117" y="223"/>
                  </a:lnTo>
                  <a:lnTo>
                    <a:pt x="117" y="223"/>
                  </a:lnTo>
                  <a:lnTo>
                    <a:pt x="115" y="221"/>
                  </a:lnTo>
                  <a:lnTo>
                    <a:pt x="115" y="216"/>
                  </a:lnTo>
                  <a:lnTo>
                    <a:pt x="115" y="212"/>
                  </a:lnTo>
                  <a:lnTo>
                    <a:pt x="118" y="206"/>
                  </a:lnTo>
                  <a:lnTo>
                    <a:pt x="118" y="206"/>
                  </a:lnTo>
                  <a:lnTo>
                    <a:pt x="122" y="202"/>
                  </a:lnTo>
                  <a:lnTo>
                    <a:pt x="127" y="198"/>
                  </a:lnTo>
                  <a:lnTo>
                    <a:pt x="131" y="196"/>
                  </a:lnTo>
                  <a:lnTo>
                    <a:pt x="134" y="196"/>
                  </a:lnTo>
                  <a:lnTo>
                    <a:pt x="134" y="196"/>
                  </a:lnTo>
                  <a:lnTo>
                    <a:pt x="139" y="198"/>
                  </a:lnTo>
                  <a:lnTo>
                    <a:pt x="142" y="198"/>
                  </a:lnTo>
                  <a:lnTo>
                    <a:pt x="145" y="195"/>
                  </a:lnTo>
                  <a:lnTo>
                    <a:pt x="145" y="195"/>
                  </a:lnTo>
                  <a:lnTo>
                    <a:pt x="146" y="189"/>
                  </a:lnTo>
                  <a:lnTo>
                    <a:pt x="146" y="188"/>
                  </a:lnTo>
                  <a:lnTo>
                    <a:pt x="145" y="186"/>
                  </a:lnTo>
                  <a:lnTo>
                    <a:pt x="145" y="186"/>
                  </a:lnTo>
                  <a:lnTo>
                    <a:pt x="142" y="185"/>
                  </a:lnTo>
                  <a:lnTo>
                    <a:pt x="141" y="184"/>
                  </a:lnTo>
                  <a:lnTo>
                    <a:pt x="139" y="182"/>
                  </a:lnTo>
                  <a:lnTo>
                    <a:pt x="141" y="178"/>
                  </a:lnTo>
                  <a:lnTo>
                    <a:pt x="141" y="178"/>
                  </a:lnTo>
                  <a:lnTo>
                    <a:pt x="148" y="168"/>
                  </a:lnTo>
                  <a:lnTo>
                    <a:pt x="151" y="162"/>
                  </a:lnTo>
                  <a:lnTo>
                    <a:pt x="152" y="158"/>
                  </a:lnTo>
                  <a:lnTo>
                    <a:pt x="152" y="158"/>
                  </a:lnTo>
                  <a:lnTo>
                    <a:pt x="151" y="148"/>
                  </a:lnTo>
                  <a:lnTo>
                    <a:pt x="151" y="145"/>
                  </a:lnTo>
                  <a:lnTo>
                    <a:pt x="152" y="142"/>
                  </a:lnTo>
                  <a:lnTo>
                    <a:pt x="152" y="142"/>
                  </a:lnTo>
                  <a:lnTo>
                    <a:pt x="155" y="142"/>
                  </a:lnTo>
                  <a:lnTo>
                    <a:pt x="158" y="142"/>
                  </a:lnTo>
                  <a:lnTo>
                    <a:pt x="161" y="141"/>
                  </a:lnTo>
                  <a:lnTo>
                    <a:pt x="165" y="139"/>
                  </a:lnTo>
                  <a:lnTo>
                    <a:pt x="165" y="139"/>
                  </a:lnTo>
                  <a:lnTo>
                    <a:pt x="166" y="138"/>
                  </a:lnTo>
                  <a:lnTo>
                    <a:pt x="166" y="135"/>
                  </a:lnTo>
                  <a:lnTo>
                    <a:pt x="166" y="132"/>
                  </a:lnTo>
                  <a:lnTo>
                    <a:pt x="168" y="131"/>
                  </a:lnTo>
                  <a:lnTo>
                    <a:pt x="168" y="131"/>
                  </a:lnTo>
                  <a:lnTo>
                    <a:pt x="172" y="125"/>
                  </a:lnTo>
                  <a:lnTo>
                    <a:pt x="176" y="118"/>
                  </a:lnTo>
                  <a:lnTo>
                    <a:pt x="176" y="118"/>
                  </a:lnTo>
                  <a:lnTo>
                    <a:pt x="179" y="115"/>
                  </a:lnTo>
                  <a:lnTo>
                    <a:pt x="181" y="112"/>
                  </a:lnTo>
                  <a:lnTo>
                    <a:pt x="179" y="110"/>
                  </a:lnTo>
                  <a:lnTo>
                    <a:pt x="179" y="110"/>
                  </a:lnTo>
                  <a:lnTo>
                    <a:pt x="179" y="108"/>
                  </a:lnTo>
                  <a:lnTo>
                    <a:pt x="181" y="105"/>
                  </a:lnTo>
                  <a:lnTo>
                    <a:pt x="183" y="102"/>
                  </a:lnTo>
                  <a:lnTo>
                    <a:pt x="185" y="98"/>
                  </a:lnTo>
                  <a:lnTo>
                    <a:pt x="185" y="98"/>
                  </a:lnTo>
                  <a:lnTo>
                    <a:pt x="185" y="95"/>
                  </a:lnTo>
                  <a:lnTo>
                    <a:pt x="189" y="93"/>
                  </a:lnTo>
                  <a:lnTo>
                    <a:pt x="192" y="90"/>
                  </a:lnTo>
                  <a:lnTo>
                    <a:pt x="196" y="90"/>
                  </a:lnTo>
                  <a:lnTo>
                    <a:pt x="196" y="90"/>
                  </a:lnTo>
                  <a:lnTo>
                    <a:pt x="205" y="90"/>
                  </a:lnTo>
                  <a:lnTo>
                    <a:pt x="208" y="88"/>
                  </a:lnTo>
                  <a:lnTo>
                    <a:pt x="209" y="85"/>
                  </a:lnTo>
                  <a:lnTo>
                    <a:pt x="209" y="85"/>
                  </a:lnTo>
                  <a:lnTo>
                    <a:pt x="208" y="77"/>
                  </a:lnTo>
                  <a:lnTo>
                    <a:pt x="209" y="74"/>
                  </a:lnTo>
                  <a:lnTo>
                    <a:pt x="210" y="73"/>
                  </a:lnTo>
                  <a:lnTo>
                    <a:pt x="212" y="74"/>
                  </a:lnTo>
                  <a:lnTo>
                    <a:pt x="212" y="74"/>
                  </a:lnTo>
                  <a:lnTo>
                    <a:pt x="218" y="75"/>
                  </a:lnTo>
                  <a:lnTo>
                    <a:pt x="222" y="75"/>
                  </a:lnTo>
                  <a:lnTo>
                    <a:pt x="226" y="75"/>
                  </a:lnTo>
                  <a:lnTo>
                    <a:pt x="229" y="77"/>
                  </a:lnTo>
                  <a:lnTo>
                    <a:pt x="229" y="77"/>
                  </a:lnTo>
                  <a:lnTo>
                    <a:pt x="233" y="78"/>
                  </a:lnTo>
                  <a:lnTo>
                    <a:pt x="236" y="78"/>
                  </a:lnTo>
                  <a:lnTo>
                    <a:pt x="239" y="77"/>
                  </a:lnTo>
                  <a:lnTo>
                    <a:pt x="240" y="74"/>
                  </a:lnTo>
                  <a:lnTo>
                    <a:pt x="240" y="74"/>
                  </a:lnTo>
                  <a:lnTo>
                    <a:pt x="240" y="68"/>
                  </a:lnTo>
                  <a:lnTo>
                    <a:pt x="242" y="64"/>
                  </a:lnTo>
                  <a:lnTo>
                    <a:pt x="245" y="61"/>
                  </a:lnTo>
                  <a:lnTo>
                    <a:pt x="246" y="61"/>
                  </a:lnTo>
                  <a:lnTo>
                    <a:pt x="249" y="61"/>
                  </a:lnTo>
                  <a:lnTo>
                    <a:pt x="249" y="61"/>
                  </a:lnTo>
                  <a:lnTo>
                    <a:pt x="250" y="63"/>
                  </a:lnTo>
                  <a:lnTo>
                    <a:pt x="250" y="63"/>
                  </a:lnTo>
                  <a:lnTo>
                    <a:pt x="253" y="58"/>
                  </a:lnTo>
                  <a:lnTo>
                    <a:pt x="255" y="57"/>
                  </a:lnTo>
                  <a:lnTo>
                    <a:pt x="259" y="54"/>
                  </a:lnTo>
                  <a:lnTo>
                    <a:pt x="262" y="54"/>
                  </a:lnTo>
                  <a:lnTo>
                    <a:pt x="262" y="54"/>
                  </a:lnTo>
                  <a:lnTo>
                    <a:pt x="266" y="57"/>
                  </a:lnTo>
                  <a:lnTo>
                    <a:pt x="269" y="61"/>
                  </a:lnTo>
                  <a:lnTo>
                    <a:pt x="273" y="65"/>
                  </a:lnTo>
                  <a:lnTo>
                    <a:pt x="279" y="67"/>
                  </a:lnTo>
                  <a:lnTo>
                    <a:pt x="279" y="67"/>
                  </a:lnTo>
                  <a:lnTo>
                    <a:pt x="290" y="70"/>
                  </a:lnTo>
                  <a:lnTo>
                    <a:pt x="293" y="70"/>
                  </a:lnTo>
                  <a:lnTo>
                    <a:pt x="296" y="68"/>
                  </a:lnTo>
                  <a:lnTo>
                    <a:pt x="296" y="68"/>
                  </a:lnTo>
                  <a:lnTo>
                    <a:pt x="299" y="67"/>
                  </a:lnTo>
                  <a:lnTo>
                    <a:pt x="302" y="68"/>
                  </a:lnTo>
                  <a:lnTo>
                    <a:pt x="304" y="68"/>
                  </a:lnTo>
                  <a:lnTo>
                    <a:pt x="309" y="68"/>
                  </a:lnTo>
                  <a:lnTo>
                    <a:pt x="309" y="68"/>
                  </a:lnTo>
                  <a:lnTo>
                    <a:pt x="310" y="68"/>
                  </a:lnTo>
                  <a:lnTo>
                    <a:pt x="311" y="70"/>
                  </a:lnTo>
                  <a:lnTo>
                    <a:pt x="313" y="71"/>
                  </a:lnTo>
                  <a:lnTo>
                    <a:pt x="314" y="73"/>
                  </a:lnTo>
                  <a:lnTo>
                    <a:pt x="317" y="71"/>
                  </a:lnTo>
                  <a:lnTo>
                    <a:pt x="317" y="71"/>
                  </a:lnTo>
                  <a:lnTo>
                    <a:pt x="320" y="67"/>
                  </a:lnTo>
                  <a:lnTo>
                    <a:pt x="320" y="64"/>
                  </a:lnTo>
                  <a:lnTo>
                    <a:pt x="321" y="63"/>
                  </a:lnTo>
                  <a:lnTo>
                    <a:pt x="324" y="63"/>
                  </a:lnTo>
                  <a:lnTo>
                    <a:pt x="324" y="63"/>
                  </a:lnTo>
                  <a:lnTo>
                    <a:pt x="327" y="63"/>
                  </a:lnTo>
                  <a:lnTo>
                    <a:pt x="329" y="61"/>
                  </a:lnTo>
                  <a:lnTo>
                    <a:pt x="329" y="57"/>
                  </a:lnTo>
                  <a:lnTo>
                    <a:pt x="327" y="48"/>
                  </a:lnTo>
                  <a:lnTo>
                    <a:pt x="327" y="48"/>
                  </a:lnTo>
                  <a:lnTo>
                    <a:pt x="329" y="47"/>
                  </a:lnTo>
                  <a:lnTo>
                    <a:pt x="329" y="46"/>
                  </a:lnTo>
                  <a:lnTo>
                    <a:pt x="333" y="43"/>
                  </a:lnTo>
                  <a:lnTo>
                    <a:pt x="336" y="41"/>
                  </a:lnTo>
                  <a:lnTo>
                    <a:pt x="337" y="38"/>
                  </a:lnTo>
                  <a:lnTo>
                    <a:pt x="337" y="38"/>
                  </a:lnTo>
                  <a:lnTo>
                    <a:pt x="339" y="37"/>
                  </a:lnTo>
                  <a:lnTo>
                    <a:pt x="340" y="36"/>
                  </a:lnTo>
                  <a:lnTo>
                    <a:pt x="344" y="36"/>
                  </a:lnTo>
                  <a:lnTo>
                    <a:pt x="350" y="36"/>
                  </a:lnTo>
                  <a:lnTo>
                    <a:pt x="353" y="34"/>
                  </a:lnTo>
                  <a:lnTo>
                    <a:pt x="353" y="34"/>
                  </a:lnTo>
                  <a:lnTo>
                    <a:pt x="356" y="31"/>
                  </a:lnTo>
                  <a:lnTo>
                    <a:pt x="360" y="31"/>
                  </a:lnTo>
                  <a:lnTo>
                    <a:pt x="363" y="31"/>
                  </a:lnTo>
                  <a:lnTo>
                    <a:pt x="367" y="34"/>
                  </a:lnTo>
                  <a:lnTo>
                    <a:pt x="367" y="34"/>
                  </a:lnTo>
                  <a:lnTo>
                    <a:pt x="370" y="37"/>
                  </a:lnTo>
                  <a:lnTo>
                    <a:pt x="375" y="40"/>
                  </a:lnTo>
                  <a:lnTo>
                    <a:pt x="381" y="43"/>
                  </a:lnTo>
                  <a:lnTo>
                    <a:pt x="383" y="44"/>
                  </a:lnTo>
                  <a:lnTo>
                    <a:pt x="383" y="46"/>
                  </a:lnTo>
                  <a:lnTo>
                    <a:pt x="383" y="46"/>
                  </a:lnTo>
                  <a:lnTo>
                    <a:pt x="383" y="54"/>
                  </a:lnTo>
                  <a:lnTo>
                    <a:pt x="383" y="54"/>
                  </a:lnTo>
                  <a:lnTo>
                    <a:pt x="387" y="51"/>
                  </a:lnTo>
                  <a:lnTo>
                    <a:pt x="391" y="51"/>
                  </a:lnTo>
                  <a:lnTo>
                    <a:pt x="391" y="51"/>
                  </a:lnTo>
                  <a:lnTo>
                    <a:pt x="394" y="50"/>
                  </a:lnTo>
                  <a:lnTo>
                    <a:pt x="397" y="47"/>
                  </a:lnTo>
                  <a:lnTo>
                    <a:pt x="401" y="46"/>
                  </a:lnTo>
                  <a:lnTo>
                    <a:pt x="404" y="44"/>
                  </a:lnTo>
                  <a:lnTo>
                    <a:pt x="404" y="44"/>
                  </a:lnTo>
                  <a:lnTo>
                    <a:pt x="407" y="44"/>
                  </a:lnTo>
                  <a:lnTo>
                    <a:pt x="408" y="44"/>
                  </a:lnTo>
                  <a:lnTo>
                    <a:pt x="411" y="43"/>
                  </a:lnTo>
                  <a:lnTo>
                    <a:pt x="412" y="38"/>
                  </a:lnTo>
                  <a:lnTo>
                    <a:pt x="412" y="38"/>
                  </a:lnTo>
                  <a:lnTo>
                    <a:pt x="408" y="37"/>
                  </a:lnTo>
                  <a:lnTo>
                    <a:pt x="405" y="37"/>
                  </a:lnTo>
                  <a:lnTo>
                    <a:pt x="401" y="37"/>
                  </a:lnTo>
                  <a:lnTo>
                    <a:pt x="400" y="40"/>
                  </a:lnTo>
                  <a:lnTo>
                    <a:pt x="400" y="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5" name="Freeform 333">
              <a:extLst>
                <a:ext uri="{FF2B5EF4-FFF2-40B4-BE49-F238E27FC236}">
                  <a16:creationId xmlns:a16="http://schemas.microsoft.com/office/drawing/2014/main" id="{9B47464B-C2D8-8044-A160-20905C4798B7}"/>
                </a:ext>
              </a:extLst>
            </p:cNvPr>
            <p:cNvSpPr>
              <a:spLocks/>
            </p:cNvSpPr>
            <p:nvPr/>
          </p:nvSpPr>
          <p:spPr bwMode="auto">
            <a:xfrm>
              <a:off x="5332609" y="4598298"/>
              <a:ext cx="170176" cy="335911"/>
            </a:xfrm>
            <a:custGeom>
              <a:avLst/>
              <a:gdLst/>
              <a:ahLst/>
              <a:cxnLst>
                <a:cxn ang="0">
                  <a:pos x="98" y="3"/>
                </a:cxn>
                <a:cxn ang="0">
                  <a:pos x="94" y="1"/>
                </a:cxn>
                <a:cxn ang="0">
                  <a:pos x="93" y="7"/>
                </a:cxn>
                <a:cxn ang="0">
                  <a:pos x="90" y="18"/>
                </a:cxn>
                <a:cxn ang="0">
                  <a:pos x="88" y="21"/>
                </a:cxn>
                <a:cxn ang="0">
                  <a:pos x="83" y="25"/>
                </a:cxn>
                <a:cxn ang="0">
                  <a:pos x="80" y="25"/>
                </a:cxn>
                <a:cxn ang="0">
                  <a:pos x="74" y="27"/>
                </a:cxn>
                <a:cxn ang="0">
                  <a:pos x="73" y="33"/>
                </a:cxn>
                <a:cxn ang="0">
                  <a:pos x="73" y="35"/>
                </a:cxn>
                <a:cxn ang="0">
                  <a:pos x="71" y="38"/>
                </a:cxn>
                <a:cxn ang="0">
                  <a:pos x="71" y="41"/>
                </a:cxn>
                <a:cxn ang="0">
                  <a:pos x="69" y="47"/>
                </a:cxn>
                <a:cxn ang="0">
                  <a:pos x="60" y="51"/>
                </a:cxn>
                <a:cxn ang="0">
                  <a:pos x="54" y="52"/>
                </a:cxn>
                <a:cxn ang="0">
                  <a:pos x="43" y="61"/>
                </a:cxn>
                <a:cxn ang="0">
                  <a:pos x="37" y="62"/>
                </a:cxn>
                <a:cxn ang="0">
                  <a:pos x="32" y="62"/>
                </a:cxn>
                <a:cxn ang="0">
                  <a:pos x="22" y="65"/>
                </a:cxn>
                <a:cxn ang="0">
                  <a:pos x="17" y="67"/>
                </a:cxn>
                <a:cxn ang="0">
                  <a:pos x="14" y="68"/>
                </a:cxn>
                <a:cxn ang="0">
                  <a:pos x="13" y="81"/>
                </a:cxn>
                <a:cxn ang="0">
                  <a:pos x="10" y="88"/>
                </a:cxn>
                <a:cxn ang="0">
                  <a:pos x="7" y="101"/>
                </a:cxn>
                <a:cxn ang="0">
                  <a:pos x="13" y="117"/>
                </a:cxn>
                <a:cxn ang="0">
                  <a:pos x="14" y="124"/>
                </a:cxn>
                <a:cxn ang="0">
                  <a:pos x="16" y="135"/>
                </a:cxn>
                <a:cxn ang="0">
                  <a:pos x="9" y="149"/>
                </a:cxn>
                <a:cxn ang="0">
                  <a:pos x="5" y="155"/>
                </a:cxn>
                <a:cxn ang="0">
                  <a:pos x="0" y="171"/>
                </a:cxn>
                <a:cxn ang="0">
                  <a:pos x="3" y="188"/>
                </a:cxn>
                <a:cxn ang="0">
                  <a:pos x="5" y="195"/>
                </a:cxn>
                <a:cxn ang="0">
                  <a:pos x="9" y="212"/>
                </a:cxn>
                <a:cxn ang="0">
                  <a:pos x="13" y="218"/>
                </a:cxn>
                <a:cxn ang="0">
                  <a:pos x="27" y="226"/>
                </a:cxn>
                <a:cxn ang="0">
                  <a:pos x="39" y="226"/>
                </a:cxn>
                <a:cxn ang="0">
                  <a:pos x="42" y="225"/>
                </a:cxn>
                <a:cxn ang="0">
                  <a:pos x="49" y="223"/>
                </a:cxn>
                <a:cxn ang="0">
                  <a:pos x="59" y="219"/>
                </a:cxn>
                <a:cxn ang="0">
                  <a:pos x="63" y="209"/>
                </a:cxn>
                <a:cxn ang="0">
                  <a:pos x="81" y="152"/>
                </a:cxn>
                <a:cxn ang="0">
                  <a:pos x="93" y="114"/>
                </a:cxn>
                <a:cxn ang="0">
                  <a:pos x="98" y="89"/>
                </a:cxn>
                <a:cxn ang="0">
                  <a:pos x="98" y="84"/>
                </a:cxn>
                <a:cxn ang="0">
                  <a:pos x="103" y="75"/>
                </a:cxn>
                <a:cxn ang="0">
                  <a:pos x="101" y="71"/>
                </a:cxn>
                <a:cxn ang="0">
                  <a:pos x="101" y="61"/>
                </a:cxn>
                <a:cxn ang="0">
                  <a:pos x="104" y="60"/>
                </a:cxn>
                <a:cxn ang="0">
                  <a:pos x="106" y="61"/>
                </a:cxn>
                <a:cxn ang="0">
                  <a:pos x="111" y="65"/>
                </a:cxn>
                <a:cxn ang="0">
                  <a:pos x="115" y="60"/>
                </a:cxn>
                <a:cxn ang="0">
                  <a:pos x="115" y="52"/>
                </a:cxn>
                <a:cxn ang="0">
                  <a:pos x="110" y="37"/>
                </a:cxn>
                <a:cxn ang="0">
                  <a:pos x="110" y="28"/>
                </a:cxn>
                <a:cxn ang="0">
                  <a:pos x="104" y="13"/>
                </a:cxn>
                <a:cxn ang="0">
                  <a:pos x="98" y="3"/>
                </a:cxn>
              </a:cxnLst>
              <a:rect l="0" t="0" r="r" b="b"/>
              <a:pathLst>
                <a:path w="115" h="227">
                  <a:moveTo>
                    <a:pt x="98" y="3"/>
                  </a:moveTo>
                  <a:lnTo>
                    <a:pt x="98" y="3"/>
                  </a:lnTo>
                  <a:lnTo>
                    <a:pt x="96" y="0"/>
                  </a:lnTo>
                  <a:lnTo>
                    <a:pt x="94" y="1"/>
                  </a:lnTo>
                  <a:lnTo>
                    <a:pt x="93" y="7"/>
                  </a:lnTo>
                  <a:lnTo>
                    <a:pt x="93" y="7"/>
                  </a:lnTo>
                  <a:lnTo>
                    <a:pt x="90" y="11"/>
                  </a:lnTo>
                  <a:lnTo>
                    <a:pt x="90" y="18"/>
                  </a:lnTo>
                  <a:lnTo>
                    <a:pt x="90" y="18"/>
                  </a:lnTo>
                  <a:lnTo>
                    <a:pt x="88" y="21"/>
                  </a:lnTo>
                  <a:lnTo>
                    <a:pt x="87" y="24"/>
                  </a:lnTo>
                  <a:lnTo>
                    <a:pt x="83" y="25"/>
                  </a:lnTo>
                  <a:lnTo>
                    <a:pt x="80" y="25"/>
                  </a:lnTo>
                  <a:lnTo>
                    <a:pt x="80" y="25"/>
                  </a:lnTo>
                  <a:lnTo>
                    <a:pt x="77" y="25"/>
                  </a:lnTo>
                  <a:lnTo>
                    <a:pt x="74" y="27"/>
                  </a:lnTo>
                  <a:lnTo>
                    <a:pt x="71" y="30"/>
                  </a:lnTo>
                  <a:lnTo>
                    <a:pt x="73" y="33"/>
                  </a:lnTo>
                  <a:lnTo>
                    <a:pt x="73" y="33"/>
                  </a:lnTo>
                  <a:lnTo>
                    <a:pt x="73" y="35"/>
                  </a:lnTo>
                  <a:lnTo>
                    <a:pt x="71" y="37"/>
                  </a:lnTo>
                  <a:lnTo>
                    <a:pt x="71" y="38"/>
                  </a:lnTo>
                  <a:lnTo>
                    <a:pt x="71" y="41"/>
                  </a:lnTo>
                  <a:lnTo>
                    <a:pt x="71" y="41"/>
                  </a:lnTo>
                  <a:lnTo>
                    <a:pt x="71" y="44"/>
                  </a:lnTo>
                  <a:lnTo>
                    <a:pt x="69" y="47"/>
                  </a:lnTo>
                  <a:lnTo>
                    <a:pt x="64" y="50"/>
                  </a:lnTo>
                  <a:lnTo>
                    <a:pt x="60" y="51"/>
                  </a:lnTo>
                  <a:lnTo>
                    <a:pt x="60" y="51"/>
                  </a:lnTo>
                  <a:lnTo>
                    <a:pt x="54" y="52"/>
                  </a:lnTo>
                  <a:lnTo>
                    <a:pt x="49" y="57"/>
                  </a:lnTo>
                  <a:lnTo>
                    <a:pt x="43" y="61"/>
                  </a:lnTo>
                  <a:lnTo>
                    <a:pt x="40" y="62"/>
                  </a:lnTo>
                  <a:lnTo>
                    <a:pt x="37" y="62"/>
                  </a:lnTo>
                  <a:lnTo>
                    <a:pt x="37" y="62"/>
                  </a:lnTo>
                  <a:lnTo>
                    <a:pt x="32" y="62"/>
                  </a:lnTo>
                  <a:lnTo>
                    <a:pt x="27" y="64"/>
                  </a:lnTo>
                  <a:lnTo>
                    <a:pt x="22" y="65"/>
                  </a:lnTo>
                  <a:lnTo>
                    <a:pt x="17" y="67"/>
                  </a:lnTo>
                  <a:lnTo>
                    <a:pt x="17" y="67"/>
                  </a:lnTo>
                  <a:lnTo>
                    <a:pt x="16" y="67"/>
                  </a:lnTo>
                  <a:lnTo>
                    <a:pt x="14" y="68"/>
                  </a:lnTo>
                  <a:lnTo>
                    <a:pt x="13" y="74"/>
                  </a:lnTo>
                  <a:lnTo>
                    <a:pt x="13" y="81"/>
                  </a:lnTo>
                  <a:lnTo>
                    <a:pt x="10" y="88"/>
                  </a:lnTo>
                  <a:lnTo>
                    <a:pt x="10" y="88"/>
                  </a:lnTo>
                  <a:lnTo>
                    <a:pt x="9" y="94"/>
                  </a:lnTo>
                  <a:lnTo>
                    <a:pt x="7" y="101"/>
                  </a:lnTo>
                  <a:lnTo>
                    <a:pt x="10" y="108"/>
                  </a:lnTo>
                  <a:lnTo>
                    <a:pt x="13" y="117"/>
                  </a:lnTo>
                  <a:lnTo>
                    <a:pt x="13" y="117"/>
                  </a:lnTo>
                  <a:lnTo>
                    <a:pt x="14" y="124"/>
                  </a:lnTo>
                  <a:lnTo>
                    <a:pt x="16" y="132"/>
                  </a:lnTo>
                  <a:lnTo>
                    <a:pt x="16" y="135"/>
                  </a:lnTo>
                  <a:lnTo>
                    <a:pt x="14" y="139"/>
                  </a:lnTo>
                  <a:lnTo>
                    <a:pt x="9" y="149"/>
                  </a:lnTo>
                  <a:lnTo>
                    <a:pt x="9" y="149"/>
                  </a:lnTo>
                  <a:lnTo>
                    <a:pt x="5" y="155"/>
                  </a:lnTo>
                  <a:lnTo>
                    <a:pt x="2" y="159"/>
                  </a:lnTo>
                  <a:lnTo>
                    <a:pt x="0" y="171"/>
                  </a:lnTo>
                  <a:lnTo>
                    <a:pt x="0" y="179"/>
                  </a:lnTo>
                  <a:lnTo>
                    <a:pt x="3" y="188"/>
                  </a:lnTo>
                  <a:lnTo>
                    <a:pt x="3" y="188"/>
                  </a:lnTo>
                  <a:lnTo>
                    <a:pt x="5" y="195"/>
                  </a:lnTo>
                  <a:lnTo>
                    <a:pt x="7" y="203"/>
                  </a:lnTo>
                  <a:lnTo>
                    <a:pt x="9" y="212"/>
                  </a:lnTo>
                  <a:lnTo>
                    <a:pt x="13" y="218"/>
                  </a:lnTo>
                  <a:lnTo>
                    <a:pt x="13" y="218"/>
                  </a:lnTo>
                  <a:lnTo>
                    <a:pt x="19" y="223"/>
                  </a:lnTo>
                  <a:lnTo>
                    <a:pt x="27" y="226"/>
                  </a:lnTo>
                  <a:lnTo>
                    <a:pt x="36" y="227"/>
                  </a:lnTo>
                  <a:lnTo>
                    <a:pt x="39" y="226"/>
                  </a:lnTo>
                  <a:lnTo>
                    <a:pt x="42" y="225"/>
                  </a:lnTo>
                  <a:lnTo>
                    <a:pt x="42" y="225"/>
                  </a:lnTo>
                  <a:lnTo>
                    <a:pt x="46" y="223"/>
                  </a:lnTo>
                  <a:lnTo>
                    <a:pt x="49" y="223"/>
                  </a:lnTo>
                  <a:lnTo>
                    <a:pt x="53" y="222"/>
                  </a:lnTo>
                  <a:lnTo>
                    <a:pt x="59" y="219"/>
                  </a:lnTo>
                  <a:lnTo>
                    <a:pt x="59" y="219"/>
                  </a:lnTo>
                  <a:lnTo>
                    <a:pt x="63" y="209"/>
                  </a:lnTo>
                  <a:lnTo>
                    <a:pt x="69" y="192"/>
                  </a:lnTo>
                  <a:lnTo>
                    <a:pt x="81" y="152"/>
                  </a:lnTo>
                  <a:lnTo>
                    <a:pt x="81" y="152"/>
                  </a:lnTo>
                  <a:lnTo>
                    <a:pt x="93" y="114"/>
                  </a:lnTo>
                  <a:lnTo>
                    <a:pt x="97" y="98"/>
                  </a:lnTo>
                  <a:lnTo>
                    <a:pt x="98" y="89"/>
                  </a:lnTo>
                  <a:lnTo>
                    <a:pt x="98" y="89"/>
                  </a:lnTo>
                  <a:lnTo>
                    <a:pt x="98" y="84"/>
                  </a:lnTo>
                  <a:lnTo>
                    <a:pt x="101" y="80"/>
                  </a:lnTo>
                  <a:lnTo>
                    <a:pt x="103" y="75"/>
                  </a:lnTo>
                  <a:lnTo>
                    <a:pt x="101" y="71"/>
                  </a:lnTo>
                  <a:lnTo>
                    <a:pt x="101" y="71"/>
                  </a:lnTo>
                  <a:lnTo>
                    <a:pt x="100" y="65"/>
                  </a:lnTo>
                  <a:lnTo>
                    <a:pt x="101" y="61"/>
                  </a:lnTo>
                  <a:lnTo>
                    <a:pt x="103" y="60"/>
                  </a:lnTo>
                  <a:lnTo>
                    <a:pt x="104" y="60"/>
                  </a:lnTo>
                  <a:lnTo>
                    <a:pt x="106" y="61"/>
                  </a:lnTo>
                  <a:lnTo>
                    <a:pt x="106" y="61"/>
                  </a:lnTo>
                  <a:lnTo>
                    <a:pt x="108" y="64"/>
                  </a:lnTo>
                  <a:lnTo>
                    <a:pt x="111" y="65"/>
                  </a:lnTo>
                  <a:lnTo>
                    <a:pt x="114" y="64"/>
                  </a:lnTo>
                  <a:lnTo>
                    <a:pt x="115" y="60"/>
                  </a:lnTo>
                  <a:lnTo>
                    <a:pt x="115" y="60"/>
                  </a:lnTo>
                  <a:lnTo>
                    <a:pt x="115" y="52"/>
                  </a:lnTo>
                  <a:lnTo>
                    <a:pt x="113" y="45"/>
                  </a:lnTo>
                  <a:lnTo>
                    <a:pt x="110" y="37"/>
                  </a:lnTo>
                  <a:lnTo>
                    <a:pt x="110" y="28"/>
                  </a:lnTo>
                  <a:lnTo>
                    <a:pt x="110" y="28"/>
                  </a:lnTo>
                  <a:lnTo>
                    <a:pt x="107" y="21"/>
                  </a:lnTo>
                  <a:lnTo>
                    <a:pt x="104" y="13"/>
                  </a:lnTo>
                  <a:lnTo>
                    <a:pt x="100" y="7"/>
                  </a:lnTo>
                  <a:lnTo>
                    <a:pt x="98" y="3"/>
                  </a:lnTo>
                  <a:lnTo>
                    <a:pt x="98" y="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6" name="Freeform 334">
              <a:extLst>
                <a:ext uri="{FF2B5EF4-FFF2-40B4-BE49-F238E27FC236}">
                  <a16:creationId xmlns:a16="http://schemas.microsoft.com/office/drawing/2014/main" id="{FD7C1D29-9435-2C49-A46D-925D27E2BF64}"/>
                </a:ext>
              </a:extLst>
            </p:cNvPr>
            <p:cNvSpPr>
              <a:spLocks/>
            </p:cNvSpPr>
            <p:nvPr/>
          </p:nvSpPr>
          <p:spPr bwMode="auto">
            <a:xfrm>
              <a:off x="5322250" y="3851007"/>
              <a:ext cx="253044" cy="153897"/>
            </a:xfrm>
            <a:custGeom>
              <a:avLst/>
              <a:gdLst/>
              <a:ahLst/>
              <a:cxnLst>
                <a:cxn ang="0">
                  <a:pos x="135" y="4"/>
                </a:cxn>
                <a:cxn ang="0">
                  <a:pos x="117" y="6"/>
                </a:cxn>
                <a:cxn ang="0">
                  <a:pos x="104" y="7"/>
                </a:cxn>
                <a:cxn ang="0">
                  <a:pos x="91" y="15"/>
                </a:cxn>
                <a:cxn ang="0">
                  <a:pos x="78" y="28"/>
                </a:cxn>
                <a:cxn ang="0">
                  <a:pos x="77" y="33"/>
                </a:cxn>
                <a:cxn ang="0">
                  <a:pos x="71" y="34"/>
                </a:cxn>
                <a:cxn ang="0">
                  <a:pos x="68" y="33"/>
                </a:cxn>
                <a:cxn ang="0">
                  <a:pos x="56" y="30"/>
                </a:cxn>
                <a:cxn ang="0">
                  <a:pos x="46" y="28"/>
                </a:cxn>
                <a:cxn ang="0">
                  <a:pos x="37" y="27"/>
                </a:cxn>
                <a:cxn ang="0">
                  <a:pos x="26" y="27"/>
                </a:cxn>
                <a:cxn ang="0">
                  <a:pos x="19" y="25"/>
                </a:cxn>
                <a:cxn ang="0">
                  <a:pos x="14" y="25"/>
                </a:cxn>
                <a:cxn ang="0">
                  <a:pos x="10" y="27"/>
                </a:cxn>
                <a:cxn ang="0">
                  <a:pos x="7" y="31"/>
                </a:cxn>
                <a:cxn ang="0">
                  <a:pos x="7" y="35"/>
                </a:cxn>
                <a:cxn ang="0">
                  <a:pos x="7" y="40"/>
                </a:cxn>
                <a:cxn ang="0">
                  <a:pos x="0" y="44"/>
                </a:cxn>
                <a:cxn ang="0">
                  <a:pos x="2" y="54"/>
                </a:cxn>
                <a:cxn ang="0">
                  <a:pos x="0" y="58"/>
                </a:cxn>
                <a:cxn ang="0">
                  <a:pos x="3" y="72"/>
                </a:cxn>
                <a:cxn ang="0">
                  <a:pos x="6" y="80"/>
                </a:cxn>
                <a:cxn ang="0">
                  <a:pos x="10" y="92"/>
                </a:cxn>
                <a:cxn ang="0">
                  <a:pos x="12" y="102"/>
                </a:cxn>
                <a:cxn ang="0">
                  <a:pos x="16" y="104"/>
                </a:cxn>
                <a:cxn ang="0">
                  <a:pos x="33" y="102"/>
                </a:cxn>
                <a:cxn ang="0">
                  <a:pos x="41" y="99"/>
                </a:cxn>
                <a:cxn ang="0">
                  <a:pos x="51" y="94"/>
                </a:cxn>
                <a:cxn ang="0">
                  <a:pos x="61" y="92"/>
                </a:cxn>
                <a:cxn ang="0">
                  <a:pos x="71" y="89"/>
                </a:cxn>
                <a:cxn ang="0">
                  <a:pos x="78" y="84"/>
                </a:cxn>
                <a:cxn ang="0">
                  <a:pos x="86" y="82"/>
                </a:cxn>
                <a:cxn ang="0">
                  <a:pos x="95" y="82"/>
                </a:cxn>
                <a:cxn ang="0">
                  <a:pos x="101" y="80"/>
                </a:cxn>
                <a:cxn ang="0">
                  <a:pos x="107" y="74"/>
                </a:cxn>
                <a:cxn ang="0">
                  <a:pos x="120" y="68"/>
                </a:cxn>
                <a:cxn ang="0">
                  <a:pos x="141" y="62"/>
                </a:cxn>
                <a:cxn ang="0">
                  <a:pos x="154" y="54"/>
                </a:cxn>
                <a:cxn ang="0">
                  <a:pos x="157" y="45"/>
                </a:cxn>
                <a:cxn ang="0">
                  <a:pos x="159" y="44"/>
                </a:cxn>
                <a:cxn ang="0">
                  <a:pos x="171" y="41"/>
                </a:cxn>
                <a:cxn ang="0">
                  <a:pos x="151" y="0"/>
                </a:cxn>
                <a:cxn ang="0">
                  <a:pos x="135" y="4"/>
                </a:cxn>
              </a:cxnLst>
              <a:rect l="0" t="0" r="r" b="b"/>
              <a:pathLst>
                <a:path w="171" h="104">
                  <a:moveTo>
                    <a:pt x="135" y="4"/>
                  </a:moveTo>
                  <a:lnTo>
                    <a:pt x="135" y="4"/>
                  </a:lnTo>
                  <a:lnTo>
                    <a:pt x="127" y="6"/>
                  </a:lnTo>
                  <a:lnTo>
                    <a:pt x="117" y="6"/>
                  </a:lnTo>
                  <a:lnTo>
                    <a:pt x="108" y="6"/>
                  </a:lnTo>
                  <a:lnTo>
                    <a:pt x="104" y="7"/>
                  </a:lnTo>
                  <a:lnTo>
                    <a:pt x="104" y="7"/>
                  </a:lnTo>
                  <a:lnTo>
                    <a:pt x="91" y="15"/>
                  </a:lnTo>
                  <a:lnTo>
                    <a:pt x="84" y="23"/>
                  </a:lnTo>
                  <a:lnTo>
                    <a:pt x="78" y="28"/>
                  </a:lnTo>
                  <a:lnTo>
                    <a:pt x="78" y="28"/>
                  </a:lnTo>
                  <a:lnTo>
                    <a:pt x="77" y="33"/>
                  </a:lnTo>
                  <a:lnTo>
                    <a:pt x="74" y="34"/>
                  </a:lnTo>
                  <a:lnTo>
                    <a:pt x="71" y="34"/>
                  </a:lnTo>
                  <a:lnTo>
                    <a:pt x="68" y="33"/>
                  </a:lnTo>
                  <a:lnTo>
                    <a:pt x="68" y="33"/>
                  </a:lnTo>
                  <a:lnTo>
                    <a:pt x="63" y="31"/>
                  </a:lnTo>
                  <a:lnTo>
                    <a:pt x="56" y="30"/>
                  </a:lnTo>
                  <a:lnTo>
                    <a:pt x="49" y="30"/>
                  </a:lnTo>
                  <a:lnTo>
                    <a:pt x="46" y="28"/>
                  </a:lnTo>
                  <a:lnTo>
                    <a:pt x="46" y="28"/>
                  </a:lnTo>
                  <a:lnTo>
                    <a:pt x="37" y="27"/>
                  </a:lnTo>
                  <a:lnTo>
                    <a:pt x="26" y="27"/>
                  </a:lnTo>
                  <a:lnTo>
                    <a:pt x="26" y="27"/>
                  </a:lnTo>
                  <a:lnTo>
                    <a:pt x="21" y="27"/>
                  </a:lnTo>
                  <a:lnTo>
                    <a:pt x="19" y="25"/>
                  </a:lnTo>
                  <a:lnTo>
                    <a:pt x="16" y="25"/>
                  </a:lnTo>
                  <a:lnTo>
                    <a:pt x="14" y="25"/>
                  </a:lnTo>
                  <a:lnTo>
                    <a:pt x="14" y="25"/>
                  </a:lnTo>
                  <a:lnTo>
                    <a:pt x="10" y="27"/>
                  </a:lnTo>
                  <a:lnTo>
                    <a:pt x="7" y="31"/>
                  </a:lnTo>
                  <a:lnTo>
                    <a:pt x="7" y="31"/>
                  </a:lnTo>
                  <a:lnTo>
                    <a:pt x="7" y="33"/>
                  </a:lnTo>
                  <a:lnTo>
                    <a:pt x="7" y="35"/>
                  </a:lnTo>
                  <a:lnTo>
                    <a:pt x="7" y="40"/>
                  </a:lnTo>
                  <a:lnTo>
                    <a:pt x="7" y="40"/>
                  </a:lnTo>
                  <a:lnTo>
                    <a:pt x="0" y="44"/>
                  </a:lnTo>
                  <a:lnTo>
                    <a:pt x="0" y="44"/>
                  </a:lnTo>
                  <a:lnTo>
                    <a:pt x="2" y="50"/>
                  </a:lnTo>
                  <a:lnTo>
                    <a:pt x="2" y="54"/>
                  </a:lnTo>
                  <a:lnTo>
                    <a:pt x="2" y="54"/>
                  </a:lnTo>
                  <a:lnTo>
                    <a:pt x="0" y="58"/>
                  </a:lnTo>
                  <a:lnTo>
                    <a:pt x="2" y="65"/>
                  </a:lnTo>
                  <a:lnTo>
                    <a:pt x="3" y="72"/>
                  </a:lnTo>
                  <a:lnTo>
                    <a:pt x="6" y="80"/>
                  </a:lnTo>
                  <a:lnTo>
                    <a:pt x="6" y="80"/>
                  </a:lnTo>
                  <a:lnTo>
                    <a:pt x="9" y="85"/>
                  </a:lnTo>
                  <a:lnTo>
                    <a:pt x="10" y="92"/>
                  </a:lnTo>
                  <a:lnTo>
                    <a:pt x="10" y="99"/>
                  </a:lnTo>
                  <a:lnTo>
                    <a:pt x="12" y="102"/>
                  </a:lnTo>
                  <a:lnTo>
                    <a:pt x="12" y="102"/>
                  </a:lnTo>
                  <a:lnTo>
                    <a:pt x="16" y="104"/>
                  </a:lnTo>
                  <a:lnTo>
                    <a:pt x="24" y="104"/>
                  </a:lnTo>
                  <a:lnTo>
                    <a:pt x="33" y="102"/>
                  </a:lnTo>
                  <a:lnTo>
                    <a:pt x="41" y="99"/>
                  </a:lnTo>
                  <a:lnTo>
                    <a:pt x="41" y="99"/>
                  </a:lnTo>
                  <a:lnTo>
                    <a:pt x="47" y="97"/>
                  </a:lnTo>
                  <a:lnTo>
                    <a:pt x="51" y="94"/>
                  </a:lnTo>
                  <a:lnTo>
                    <a:pt x="61" y="92"/>
                  </a:lnTo>
                  <a:lnTo>
                    <a:pt x="61" y="92"/>
                  </a:lnTo>
                  <a:lnTo>
                    <a:pt x="67" y="92"/>
                  </a:lnTo>
                  <a:lnTo>
                    <a:pt x="71" y="89"/>
                  </a:lnTo>
                  <a:lnTo>
                    <a:pt x="78" y="84"/>
                  </a:lnTo>
                  <a:lnTo>
                    <a:pt x="78" y="84"/>
                  </a:lnTo>
                  <a:lnTo>
                    <a:pt x="81" y="82"/>
                  </a:lnTo>
                  <a:lnTo>
                    <a:pt x="86" y="82"/>
                  </a:lnTo>
                  <a:lnTo>
                    <a:pt x="95" y="82"/>
                  </a:lnTo>
                  <a:lnTo>
                    <a:pt x="95" y="82"/>
                  </a:lnTo>
                  <a:lnTo>
                    <a:pt x="98" y="81"/>
                  </a:lnTo>
                  <a:lnTo>
                    <a:pt x="101" y="80"/>
                  </a:lnTo>
                  <a:lnTo>
                    <a:pt x="107" y="74"/>
                  </a:lnTo>
                  <a:lnTo>
                    <a:pt x="107" y="74"/>
                  </a:lnTo>
                  <a:lnTo>
                    <a:pt x="113" y="70"/>
                  </a:lnTo>
                  <a:lnTo>
                    <a:pt x="120" y="68"/>
                  </a:lnTo>
                  <a:lnTo>
                    <a:pt x="141" y="62"/>
                  </a:lnTo>
                  <a:lnTo>
                    <a:pt x="141" y="62"/>
                  </a:lnTo>
                  <a:lnTo>
                    <a:pt x="150" y="58"/>
                  </a:lnTo>
                  <a:lnTo>
                    <a:pt x="154" y="54"/>
                  </a:lnTo>
                  <a:lnTo>
                    <a:pt x="155" y="50"/>
                  </a:lnTo>
                  <a:lnTo>
                    <a:pt x="157" y="45"/>
                  </a:lnTo>
                  <a:lnTo>
                    <a:pt x="157" y="45"/>
                  </a:lnTo>
                  <a:lnTo>
                    <a:pt x="159" y="44"/>
                  </a:lnTo>
                  <a:lnTo>
                    <a:pt x="162" y="43"/>
                  </a:lnTo>
                  <a:lnTo>
                    <a:pt x="171" y="41"/>
                  </a:lnTo>
                  <a:lnTo>
                    <a:pt x="171" y="41"/>
                  </a:lnTo>
                  <a:lnTo>
                    <a:pt x="151" y="0"/>
                  </a:lnTo>
                  <a:lnTo>
                    <a:pt x="151" y="0"/>
                  </a:lnTo>
                  <a:lnTo>
                    <a:pt x="135" y="4"/>
                  </a:lnTo>
                  <a:lnTo>
                    <a:pt x="135" y="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7" name="Freeform 340">
              <a:extLst>
                <a:ext uri="{FF2B5EF4-FFF2-40B4-BE49-F238E27FC236}">
                  <a16:creationId xmlns:a16="http://schemas.microsoft.com/office/drawing/2014/main" id="{B8083371-FE00-5745-BF91-18E2F6ECAB0B}"/>
                </a:ext>
              </a:extLst>
            </p:cNvPr>
            <p:cNvSpPr>
              <a:spLocks/>
            </p:cNvSpPr>
            <p:nvPr/>
          </p:nvSpPr>
          <p:spPr bwMode="auto">
            <a:xfrm>
              <a:off x="5360726" y="3303486"/>
              <a:ext cx="463172" cy="395102"/>
            </a:xfrm>
            <a:custGeom>
              <a:avLst/>
              <a:gdLst/>
              <a:ahLst/>
              <a:cxnLst>
                <a:cxn ang="0">
                  <a:pos x="304" y="222"/>
                </a:cxn>
                <a:cxn ang="0">
                  <a:pos x="293" y="209"/>
                </a:cxn>
                <a:cxn ang="0">
                  <a:pos x="280" y="195"/>
                </a:cxn>
                <a:cxn ang="0">
                  <a:pos x="274" y="181"/>
                </a:cxn>
                <a:cxn ang="0">
                  <a:pos x="287" y="162"/>
                </a:cxn>
                <a:cxn ang="0">
                  <a:pos x="271" y="154"/>
                </a:cxn>
                <a:cxn ang="0">
                  <a:pos x="270" y="135"/>
                </a:cxn>
                <a:cxn ang="0">
                  <a:pos x="270" y="118"/>
                </a:cxn>
                <a:cxn ang="0">
                  <a:pos x="274" y="100"/>
                </a:cxn>
                <a:cxn ang="0">
                  <a:pos x="281" y="84"/>
                </a:cxn>
                <a:cxn ang="0">
                  <a:pos x="277" y="63"/>
                </a:cxn>
                <a:cxn ang="0">
                  <a:pos x="262" y="58"/>
                </a:cxn>
                <a:cxn ang="0">
                  <a:pos x="252" y="51"/>
                </a:cxn>
                <a:cxn ang="0">
                  <a:pos x="244" y="44"/>
                </a:cxn>
                <a:cxn ang="0">
                  <a:pos x="229" y="40"/>
                </a:cxn>
                <a:cxn ang="0">
                  <a:pos x="216" y="34"/>
                </a:cxn>
                <a:cxn ang="0">
                  <a:pos x="197" y="34"/>
                </a:cxn>
                <a:cxn ang="0">
                  <a:pos x="186" y="36"/>
                </a:cxn>
                <a:cxn ang="0">
                  <a:pos x="169" y="47"/>
                </a:cxn>
                <a:cxn ang="0">
                  <a:pos x="158" y="57"/>
                </a:cxn>
                <a:cxn ang="0">
                  <a:pos x="124" y="64"/>
                </a:cxn>
                <a:cxn ang="0">
                  <a:pos x="102" y="50"/>
                </a:cxn>
                <a:cxn ang="0">
                  <a:pos x="87" y="44"/>
                </a:cxn>
                <a:cxn ang="0">
                  <a:pos x="67" y="23"/>
                </a:cxn>
                <a:cxn ang="0">
                  <a:pos x="65" y="10"/>
                </a:cxn>
                <a:cxn ang="0">
                  <a:pos x="47" y="14"/>
                </a:cxn>
                <a:cxn ang="0">
                  <a:pos x="21" y="17"/>
                </a:cxn>
                <a:cxn ang="0">
                  <a:pos x="14" y="9"/>
                </a:cxn>
                <a:cxn ang="0">
                  <a:pos x="7" y="0"/>
                </a:cxn>
                <a:cxn ang="0">
                  <a:pos x="3" y="9"/>
                </a:cxn>
                <a:cxn ang="0">
                  <a:pos x="0" y="14"/>
                </a:cxn>
                <a:cxn ang="0">
                  <a:pos x="1" y="36"/>
                </a:cxn>
                <a:cxn ang="0">
                  <a:pos x="10" y="48"/>
                </a:cxn>
                <a:cxn ang="0">
                  <a:pos x="14" y="61"/>
                </a:cxn>
                <a:cxn ang="0">
                  <a:pos x="21" y="73"/>
                </a:cxn>
                <a:cxn ang="0">
                  <a:pos x="31" y="80"/>
                </a:cxn>
                <a:cxn ang="0">
                  <a:pos x="28" y="88"/>
                </a:cxn>
                <a:cxn ang="0">
                  <a:pos x="24" y="98"/>
                </a:cxn>
                <a:cxn ang="0">
                  <a:pos x="23" y="114"/>
                </a:cxn>
                <a:cxn ang="0">
                  <a:pos x="32" y="125"/>
                </a:cxn>
                <a:cxn ang="0">
                  <a:pos x="45" y="135"/>
                </a:cxn>
                <a:cxn ang="0">
                  <a:pos x="57" y="147"/>
                </a:cxn>
                <a:cxn ang="0">
                  <a:pos x="57" y="156"/>
                </a:cxn>
                <a:cxn ang="0">
                  <a:pos x="62" y="168"/>
                </a:cxn>
                <a:cxn ang="0">
                  <a:pos x="71" y="181"/>
                </a:cxn>
                <a:cxn ang="0">
                  <a:pos x="79" y="176"/>
                </a:cxn>
                <a:cxn ang="0">
                  <a:pos x="94" y="178"/>
                </a:cxn>
                <a:cxn ang="0">
                  <a:pos x="109" y="202"/>
                </a:cxn>
                <a:cxn ang="0">
                  <a:pos x="124" y="219"/>
                </a:cxn>
                <a:cxn ang="0">
                  <a:pos x="146" y="232"/>
                </a:cxn>
                <a:cxn ang="0">
                  <a:pos x="180" y="240"/>
                </a:cxn>
                <a:cxn ang="0">
                  <a:pos x="200" y="233"/>
                </a:cxn>
                <a:cxn ang="0">
                  <a:pos x="213" y="255"/>
                </a:cxn>
                <a:cxn ang="0">
                  <a:pos x="269" y="266"/>
                </a:cxn>
                <a:cxn ang="0">
                  <a:pos x="286" y="263"/>
                </a:cxn>
                <a:cxn ang="0">
                  <a:pos x="296" y="246"/>
                </a:cxn>
                <a:cxn ang="0">
                  <a:pos x="313" y="240"/>
                </a:cxn>
              </a:cxnLst>
              <a:rect l="0" t="0" r="r" b="b"/>
              <a:pathLst>
                <a:path w="313" h="267">
                  <a:moveTo>
                    <a:pt x="306" y="230"/>
                  </a:moveTo>
                  <a:lnTo>
                    <a:pt x="306" y="230"/>
                  </a:lnTo>
                  <a:lnTo>
                    <a:pt x="306" y="229"/>
                  </a:lnTo>
                  <a:lnTo>
                    <a:pt x="304" y="228"/>
                  </a:lnTo>
                  <a:lnTo>
                    <a:pt x="304" y="222"/>
                  </a:lnTo>
                  <a:lnTo>
                    <a:pt x="303" y="216"/>
                  </a:lnTo>
                  <a:lnTo>
                    <a:pt x="301" y="213"/>
                  </a:lnTo>
                  <a:lnTo>
                    <a:pt x="298" y="212"/>
                  </a:lnTo>
                  <a:lnTo>
                    <a:pt x="298" y="212"/>
                  </a:lnTo>
                  <a:lnTo>
                    <a:pt x="293" y="209"/>
                  </a:lnTo>
                  <a:lnTo>
                    <a:pt x="289" y="206"/>
                  </a:lnTo>
                  <a:lnTo>
                    <a:pt x="284" y="202"/>
                  </a:lnTo>
                  <a:lnTo>
                    <a:pt x="281" y="198"/>
                  </a:lnTo>
                  <a:lnTo>
                    <a:pt x="281" y="198"/>
                  </a:lnTo>
                  <a:lnTo>
                    <a:pt x="280" y="195"/>
                  </a:lnTo>
                  <a:lnTo>
                    <a:pt x="276" y="191"/>
                  </a:lnTo>
                  <a:lnTo>
                    <a:pt x="273" y="188"/>
                  </a:lnTo>
                  <a:lnTo>
                    <a:pt x="271" y="185"/>
                  </a:lnTo>
                  <a:lnTo>
                    <a:pt x="271" y="185"/>
                  </a:lnTo>
                  <a:lnTo>
                    <a:pt x="274" y="181"/>
                  </a:lnTo>
                  <a:lnTo>
                    <a:pt x="281" y="174"/>
                  </a:lnTo>
                  <a:lnTo>
                    <a:pt x="286" y="168"/>
                  </a:lnTo>
                  <a:lnTo>
                    <a:pt x="289" y="165"/>
                  </a:lnTo>
                  <a:lnTo>
                    <a:pt x="287" y="162"/>
                  </a:lnTo>
                  <a:lnTo>
                    <a:pt x="287" y="162"/>
                  </a:lnTo>
                  <a:lnTo>
                    <a:pt x="287" y="159"/>
                  </a:lnTo>
                  <a:lnTo>
                    <a:pt x="284" y="158"/>
                  </a:lnTo>
                  <a:lnTo>
                    <a:pt x="280" y="156"/>
                  </a:lnTo>
                  <a:lnTo>
                    <a:pt x="274" y="155"/>
                  </a:lnTo>
                  <a:lnTo>
                    <a:pt x="271" y="154"/>
                  </a:lnTo>
                  <a:lnTo>
                    <a:pt x="271" y="154"/>
                  </a:lnTo>
                  <a:lnTo>
                    <a:pt x="271" y="147"/>
                  </a:lnTo>
                  <a:lnTo>
                    <a:pt x="271" y="141"/>
                  </a:lnTo>
                  <a:lnTo>
                    <a:pt x="270" y="135"/>
                  </a:lnTo>
                  <a:lnTo>
                    <a:pt x="270" y="135"/>
                  </a:lnTo>
                  <a:lnTo>
                    <a:pt x="269" y="129"/>
                  </a:lnTo>
                  <a:lnTo>
                    <a:pt x="269" y="125"/>
                  </a:lnTo>
                  <a:lnTo>
                    <a:pt x="270" y="121"/>
                  </a:lnTo>
                  <a:lnTo>
                    <a:pt x="270" y="118"/>
                  </a:lnTo>
                  <a:lnTo>
                    <a:pt x="270" y="118"/>
                  </a:lnTo>
                  <a:lnTo>
                    <a:pt x="269" y="114"/>
                  </a:lnTo>
                  <a:lnTo>
                    <a:pt x="269" y="111"/>
                  </a:lnTo>
                  <a:lnTo>
                    <a:pt x="271" y="104"/>
                  </a:lnTo>
                  <a:lnTo>
                    <a:pt x="271" y="104"/>
                  </a:lnTo>
                  <a:lnTo>
                    <a:pt x="274" y="100"/>
                  </a:lnTo>
                  <a:lnTo>
                    <a:pt x="277" y="95"/>
                  </a:lnTo>
                  <a:lnTo>
                    <a:pt x="277" y="91"/>
                  </a:lnTo>
                  <a:lnTo>
                    <a:pt x="277" y="91"/>
                  </a:lnTo>
                  <a:lnTo>
                    <a:pt x="279" y="87"/>
                  </a:lnTo>
                  <a:lnTo>
                    <a:pt x="281" y="84"/>
                  </a:lnTo>
                  <a:lnTo>
                    <a:pt x="281" y="84"/>
                  </a:lnTo>
                  <a:lnTo>
                    <a:pt x="279" y="73"/>
                  </a:lnTo>
                  <a:lnTo>
                    <a:pt x="279" y="64"/>
                  </a:lnTo>
                  <a:lnTo>
                    <a:pt x="279" y="64"/>
                  </a:lnTo>
                  <a:lnTo>
                    <a:pt x="277" y="63"/>
                  </a:lnTo>
                  <a:lnTo>
                    <a:pt x="274" y="63"/>
                  </a:lnTo>
                  <a:lnTo>
                    <a:pt x="267" y="63"/>
                  </a:lnTo>
                  <a:lnTo>
                    <a:pt x="267" y="63"/>
                  </a:lnTo>
                  <a:lnTo>
                    <a:pt x="264" y="61"/>
                  </a:lnTo>
                  <a:lnTo>
                    <a:pt x="262" y="58"/>
                  </a:lnTo>
                  <a:lnTo>
                    <a:pt x="259" y="55"/>
                  </a:lnTo>
                  <a:lnTo>
                    <a:pt x="256" y="54"/>
                  </a:lnTo>
                  <a:lnTo>
                    <a:pt x="256" y="54"/>
                  </a:lnTo>
                  <a:lnTo>
                    <a:pt x="253" y="53"/>
                  </a:lnTo>
                  <a:lnTo>
                    <a:pt x="252" y="51"/>
                  </a:lnTo>
                  <a:lnTo>
                    <a:pt x="250" y="50"/>
                  </a:lnTo>
                  <a:lnTo>
                    <a:pt x="249" y="48"/>
                  </a:lnTo>
                  <a:lnTo>
                    <a:pt x="249" y="48"/>
                  </a:lnTo>
                  <a:lnTo>
                    <a:pt x="247" y="46"/>
                  </a:lnTo>
                  <a:lnTo>
                    <a:pt x="244" y="44"/>
                  </a:lnTo>
                  <a:lnTo>
                    <a:pt x="236" y="44"/>
                  </a:lnTo>
                  <a:lnTo>
                    <a:pt x="236" y="44"/>
                  </a:lnTo>
                  <a:lnTo>
                    <a:pt x="232" y="43"/>
                  </a:lnTo>
                  <a:lnTo>
                    <a:pt x="230" y="41"/>
                  </a:lnTo>
                  <a:lnTo>
                    <a:pt x="229" y="40"/>
                  </a:lnTo>
                  <a:lnTo>
                    <a:pt x="227" y="40"/>
                  </a:lnTo>
                  <a:lnTo>
                    <a:pt x="227" y="40"/>
                  </a:lnTo>
                  <a:lnTo>
                    <a:pt x="222" y="38"/>
                  </a:lnTo>
                  <a:lnTo>
                    <a:pt x="219" y="37"/>
                  </a:lnTo>
                  <a:lnTo>
                    <a:pt x="216" y="34"/>
                  </a:lnTo>
                  <a:lnTo>
                    <a:pt x="216" y="34"/>
                  </a:lnTo>
                  <a:lnTo>
                    <a:pt x="212" y="33"/>
                  </a:lnTo>
                  <a:lnTo>
                    <a:pt x="206" y="31"/>
                  </a:lnTo>
                  <a:lnTo>
                    <a:pt x="200" y="33"/>
                  </a:lnTo>
                  <a:lnTo>
                    <a:pt x="197" y="34"/>
                  </a:lnTo>
                  <a:lnTo>
                    <a:pt x="197" y="34"/>
                  </a:lnTo>
                  <a:lnTo>
                    <a:pt x="195" y="36"/>
                  </a:lnTo>
                  <a:lnTo>
                    <a:pt x="192" y="36"/>
                  </a:lnTo>
                  <a:lnTo>
                    <a:pt x="186" y="36"/>
                  </a:lnTo>
                  <a:lnTo>
                    <a:pt x="186" y="36"/>
                  </a:lnTo>
                  <a:lnTo>
                    <a:pt x="182" y="37"/>
                  </a:lnTo>
                  <a:lnTo>
                    <a:pt x="178" y="40"/>
                  </a:lnTo>
                  <a:lnTo>
                    <a:pt x="172" y="46"/>
                  </a:lnTo>
                  <a:lnTo>
                    <a:pt x="172" y="46"/>
                  </a:lnTo>
                  <a:lnTo>
                    <a:pt x="169" y="47"/>
                  </a:lnTo>
                  <a:lnTo>
                    <a:pt x="166" y="47"/>
                  </a:lnTo>
                  <a:lnTo>
                    <a:pt x="159" y="48"/>
                  </a:lnTo>
                  <a:lnTo>
                    <a:pt x="159" y="48"/>
                  </a:lnTo>
                  <a:lnTo>
                    <a:pt x="159" y="53"/>
                  </a:lnTo>
                  <a:lnTo>
                    <a:pt x="158" y="57"/>
                  </a:lnTo>
                  <a:lnTo>
                    <a:pt x="158" y="57"/>
                  </a:lnTo>
                  <a:lnTo>
                    <a:pt x="153" y="58"/>
                  </a:lnTo>
                  <a:lnTo>
                    <a:pt x="145" y="61"/>
                  </a:lnTo>
                  <a:lnTo>
                    <a:pt x="133" y="63"/>
                  </a:lnTo>
                  <a:lnTo>
                    <a:pt x="124" y="64"/>
                  </a:lnTo>
                  <a:lnTo>
                    <a:pt x="124" y="64"/>
                  </a:lnTo>
                  <a:lnTo>
                    <a:pt x="119" y="63"/>
                  </a:lnTo>
                  <a:lnTo>
                    <a:pt x="115" y="61"/>
                  </a:lnTo>
                  <a:lnTo>
                    <a:pt x="109" y="55"/>
                  </a:lnTo>
                  <a:lnTo>
                    <a:pt x="102" y="50"/>
                  </a:lnTo>
                  <a:lnTo>
                    <a:pt x="99" y="47"/>
                  </a:lnTo>
                  <a:lnTo>
                    <a:pt x="94" y="47"/>
                  </a:lnTo>
                  <a:lnTo>
                    <a:pt x="94" y="47"/>
                  </a:lnTo>
                  <a:lnTo>
                    <a:pt x="89" y="46"/>
                  </a:lnTo>
                  <a:lnTo>
                    <a:pt x="87" y="44"/>
                  </a:lnTo>
                  <a:lnTo>
                    <a:pt x="81" y="40"/>
                  </a:lnTo>
                  <a:lnTo>
                    <a:pt x="77" y="34"/>
                  </a:lnTo>
                  <a:lnTo>
                    <a:pt x="75" y="27"/>
                  </a:lnTo>
                  <a:lnTo>
                    <a:pt x="75" y="27"/>
                  </a:lnTo>
                  <a:lnTo>
                    <a:pt x="67" y="23"/>
                  </a:lnTo>
                  <a:lnTo>
                    <a:pt x="64" y="21"/>
                  </a:lnTo>
                  <a:lnTo>
                    <a:pt x="62" y="18"/>
                  </a:lnTo>
                  <a:lnTo>
                    <a:pt x="62" y="18"/>
                  </a:lnTo>
                  <a:lnTo>
                    <a:pt x="64" y="16"/>
                  </a:lnTo>
                  <a:lnTo>
                    <a:pt x="65" y="10"/>
                  </a:lnTo>
                  <a:lnTo>
                    <a:pt x="64" y="4"/>
                  </a:lnTo>
                  <a:lnTo>
                    <a:pt x="62" y="4"/>
                  </a:lnTo>
                  <a:lnTo>
                    <a:pt x="60" y="4"/>
                  </a:lnTo>
                  <a:lnTo>
                    <a:pt x="60" y="4"/>
                  </a:lnTo>
                  <a:lnTo>
                    <a:pt x="47" y="14"/>
                  </a:lnTo>
                  <a:lnTo>
                    <a:pt x="37" y="17"/>
                  </a:lnTo>
                  <a:lnTo>
                    <a:pt x="32" y="18"/>
                  </a:lnTo>
                  <a:lnTo>
                    <a:pt x="28" y="18"/>
                  </a:lnTo>
                  <a:lnTo>
                    <a:pt x="28" y="18"/>
                  </a:lnTo>
                  <a:lnTo>
                    <a:pt x="21" y="17"/>
                  </a:lnTo>
                  <a:lnTo>
                    <a:pt x="20" y="16"/>
                  </a:lnTo>
                  <a:lnTo>
                    <a:pt x="20" y="14"/>
                  </a:lnTo>
                  <a:lnTo>
                    <a:pt x="17" y="13"/>
                  </a:lnTo>
                  <a:lnTo>
                    <a:pt x="17" y="13"/>
                  </a:lnTo>
                  <a:lnTo>
                    <a:pt x="14" y="9"/>
                  </a:lnTo>
                  <a:lnTo>
                    <a:pt x="13" y="6"/>
                  </a:lnTo>
                  <a:lnTo>
                    <a:pt x="11" y="1"/>
                  </a:lnTo>
                  <a:lnTo>
                    <a:pt x="10" y="1"/>
                  </a:lnTo>
                  <a:lnTo>
                    <a:pt x="7" y="0"/>
                  </a:lnTo>
                  <a:lnTo>
                    <a:pt x="7" y="0"/>
                  </a:lnTo>
                  <a:lnTo>
                    <a:pt x="5" y="0"/>
                  </a:lnTo>
                  <a:lnTo>
                    <a:pt x="4" y="1"/>
                  </a:lnTo>
                  <a:lnTo>
                    <a:pt x="3" y="4"/>
                  </a:lnTo>
                  <a:lnTo>
                    <a:pt x="3" y="7"/>
                  </a:lnTo>
                  <a:lnTo>
                    <a:pt x="3" y="9"/>
                  </a:lnTo>
                  <a:lnTo>
                    <a:pt x="1" y="9"/>
                  </a:lnTo>
                  <a:lnTo>
                    <a:pt x="1" y="9"/>
                  </a:lnTo>
                  <a:lnTo>
                    <a:pt x="1" y="9"/>
                  </a:lnTo>
                  <a:lnTo>
                    <a:pt x="0" y="10"/>
                  </a:lnTo>
                  <a:lnTo>
                    <a:pt x="0" y="14"/>
                  </a:lnTo>
                  <a:lnTo>
                    <a:pt x="3" y="21"/>
                  </a:lnTo>
                  <a:lnTo>
                    <a:pt x="3" y="21"/>
                  </a:lnTo>
                  <a:lnTo>
                    <a:pt x="3" y="26"/>
                  </a:lnTo>
                  <a:lnTo>
                    <a:pt x="1" y="31"/>
                  </a:lnTo>
                  <a:lnTo>
                    <a:pt x="1" y="36"/>
                  </a:lnTo>
                  <a:lnTo>
                    <a:pt x="3" y="38"/>
                  </a:lnTo>
                  <a:lnTo>
                    <a:pt x="3" y="38"/>
                  </a:lnTo>
                  <a:lnTo>
                    <a:pt x="4" y="41"/>
                  </a:lnTo>
                  <a:lnTo>
                    <a:pt x="7" y="44"/>
                  </a:lnTo>
                  <a:lnTo>
                    <a:pt x="10" y="48"/>
                  </a:lnTo>
                  <a:lnTo>
                    <a:pt x="10" y="51"/>
                  </a:lnTo>
                  <a:lnTo>
                    <a:pt x="10" y="51"/>
                  </a:lnTo>
                  <a:lnTo>
                    <a:pt x="11" y="54"/>
                  </a:lnTo>
                  <a:lnTo>
                    <a:pt x="13" y="57"/>
                  </a:lnTo>
                  <a:lnTo>
                    <a:pt x="14" y="61"/>
                  </a:lnTo>
                  <a:lnTo>
                    <a:pt x="15" y="64"/>
                  </a:lnTo>
                  <a:lnTo>
                    <a:pt x="15" y="64"/>
                  </a:lnTo>
                  <a:lnTo>
                    <a:pt x="17" y="67"/>
                  </a:lnTo>
                  <a:lnTo>
                    <a:pt x="18" y="71"/>
                  </a:lnTo>
                  <a:lnTo>
                    <a:pt x="21" y="73"/>
                  </a:lnTo>
                  <a:lnTo>
                    <a:pt x="24" y="74"/>
                  </a:lnTo>
                  <a:lnTo>
                    <a:pt x="24" y="74"/>
                  </a:lnTo>
                  <a:lnTo>
                    <a:pt x="30" y="75"/>
                  </a:lnTo>
                  <a:lnTo>
                    <a:pt x="31" y="77"/>
                  </a:lnTo>
                  <a:lnTo>
                    <a:pt x="31" y="80"/>
                  </a:lnTo>
                  <a:lnTo>
                    <a:pt x="31" y="80"/>
                  </a:lnTo>
                  <a:lnTo>
                    <a:pt x="31" y="82"/>
                  </a:lnTo>
                  <a:lnTo>
                    <a:pt x="31" y="85"/>
                  </a:lnTo>
                  <a:lnTo>
                    <a:pt x="31" y="88"/>
                  </a:lnTo>
                  <a:lnTo>
                    <a:pt x="28" y="88"/>
                  </a:lnTo>
                  <a:lnTo>
                    <a:pt x="28" y="88"/>
                  </a:lnTo>
                  <a:lnTo>
                    <a:pt x="28" y="90"/>
                  </a:lnTo>
                  <a:lnTo>
                    <a:pt x="27" y="91"/>
                  </a:lnTo>
                  <a:lnTo>
                    <a:pt x="25" y="94"/>
                  </a:lnTo>
                  <a:lnTo>
                    <a:pt x="24" y="98"/>
                  </a:lnTo>
                  <a:lnTo>
                    <a:pt x="23" y="101"/>
                  </a:lnTo>
                  <a:lnTo>
                    <a:pt x="23" y="101"/>
                  </a:lnTo>
                  <a:lnTo>
                    <a:pt x="21" y="104"/>
                  </a:lnTo>
                  <a:lnTo>
                    <a:pt x="21" y="110"/>
                  </a:lnTo>
                  <a:lnTo>
                    <a:pt x="23" y="114"/>
                  </a:lnTo>
                  <a:lnTo>
                    <a:pt x="24" y="117"/>
                  </a:lnTo>
                  <a:lnTo>
                    <a:pt x="24" y="117"/>
                  </a:lnTo>
                  <a:lnTo>
                    <a:pt x="30" y="119"/>
                  </a:lnTo>
                  <a:lnTo>
                    <a:pt x="31" y="122"/>
                  </a:lnTo>
                  <a:lnTo>
                    <a:pt x="32" y="125"/>
                  </a:lnTo>
                  <a:lnTo>
                    <a:pt x="32" y="125"/>
                  </a:lnTo>
                  <a:lnTo>
                    <a:pt x="32" y="127"/>
                  </a:lnTo>
                  <a:lnTo>
                    <a:pt x="34" y="128"/>
                  </a:lnTo>
                  <a:lnTo>
                    <a:pt x="40" y="132"/>
                  </a:lnTo>
                  <a:lnTo>
                    <a:pt x="45" y="135"/>
                  </a:lnTo>
                  <a:lnTo>
                    <a:pt x="50" y="137"/>
                  </a:lnTo>
                  <a:lnTo>
                    <a:pt x="50" y="137"/>
                  </a:lnTo>
                  <a:lnTo>
                    <a:pt x="52" y="138"/>
                  </a:lnTo>
                  <a:lnTo>
                    <a:pt x="54" y="141"/>
                  </a:lnTo>
                  <a:lnTo>
                    <a:pt x="57" y="147"/>
                  </a:lnTo>
                  <a:lnTo>
                    <a:pt x="57" y="147"/>
                  </a:lnTo>
                  <a:lnTo>
                    <a:pt x="58" y="149"/>
                  </a:lnTo>
                  <a:lnTo>
                    <a:pt x="58" y="152"/>
                  </a:lnTo>
                  <a:lnTo>
                    <a:pt x="57" y="155"/>
                  </a:lnTo>
                  <a:lnTo>
                    <a:pt x="57" y="156"/>
                  </a:lnTo>
                  <a:lnTo>
                    <a:pt x="57" y="156"/>
                  </a:lnTo>
                  <a:lnTo>
                    <a:pt x="57" y="159"/>
                  </a:lnTo>
                  <a:lnTo>
                    <a:pt x="60" y="162"/>
                  </a:lnTo>
                  <a:lnTo>
                    <a:pt x="61" y="165"/>
                  </a:lnTo>
                  <a:lnTo>
                    <a:pt x="62" y="168"/>
                  </a:lnTo>
                  <a:lnTo>
                    <a:pt x="62" y="168"/>
                  </a:lnTo>
                  <a:lnTo>
                    <a:pt x="62" y="171"/>
                  </a:lnTo>
                  <a:lnTo>
                    <a:pt x="65" y="174"/>
                  </a:lnTo>
                  <a:lnTo>
                    <a:pt x="71" y="181"/>
                  </a:lnTo>
                  <a:lnTo>
                    <a:pt x="71" y="181"/>
                  </a:lnTo>
                  <a:lnTo>
                    <a:pt x="75" y="179"/>
                  </a:lnTo>
                  <a:lnTo>
                    <a:pt x="75" y="179"/>
                  </a:lnTo>
                  <a:lnTo>
                    <a:pt x="77" y="179"/>
                  </a:lnTo>
                  <a:lnTo>
                    <a:pt x="79" y="178"/>
                  </a:lnTo>
                  <a:lnTo>
                    <a:pt x="79" y="176"/>
                  </a:lnTo>
                  <a:lnTo>
                    <a:pt x="82" y="178"/>
                  </a:lnTo>
                  <a:lnTo>
                    <a:pt x="82" y="178"/>
                  </a:lnTo>
                  <a:lnTo>
                    <a:pt x="85" y="179"/>
                  </a:lnTo>
                  <a:lnTo>
                    <a:pt x="88" y="179"/>
                  </a:lnTo>
                  <a:lnTo>
                    <a:pt x="94" y="178"/>
                  </a:lnTo>
                  <a:lnTo>
                    <a:pt x="94" y="178"/>
                  </a:lnTo>
                  <a:lnTo>
                    <a:pt x="96" y="181"/>
                  </a:lnTo>
                  <a:lnTo>
                    <a:pt x="101" y="186"/>
                  </a:lnTo>
                  <a:lnTo>
                    <a:pt x="109" y="202"/>
                  </a:lnTo>
                  <a:lnTo>
                    <a:pt x="109" y="202"/>
                  </a:lnTo>
                  <a:lnTo>
                    <a:pt x="114" y="212"/>
                  </a:lnTo>
                  <a:lnTo>
                    <a:pt x="115" y="215"/>
                  </a:lnTo>
                  <a:lnTo>
                    <a:pt x="119" y="218"/>
                  </a:lnTo>
                  <a:lnTo>
                    <a:pt x="119" y="218"/>
                  </a:lnTo>
                  <a:lnTo>
                    <a:pt x="124" y="219"/>
                  </a:lnTo>
                  <a:lnTo>
                    <a:pt x="128" y="220"/>
                  </a:lnTo>
                  <a:lnTo>
                    <a:pt x="132" y="222"/>
                  </a:lnTo>
                  <a:lnTo>
                    <a:pt x="138" y="228"/>
                  </a:lnTo>
                  <a:lnTo>
                    <a:pt x="138" y="228"/>
                  </a:lnTo>
                  <a:lnTo>
                    <a:pt x="146" y="232"/>
                  </a:lnTo>
                  <a:lnTo>
                    <a:pt x="156" y="238"/>
                  </a:lnTo>
                  <a:lnTo>
                    <a:pt x="166" y="240"/>
                  </a:lnTo>
                  <a:lnTo>
                    <a:pt x="175" y="240"/>
                  </a:lnTo>
                  <a:lnTo>
                    <a:pt x="175" y="240"/>
                  </a:lnTo>
                  <a:lnTo>
                    <a:pt x="180" y="240"/>
                  </a:lnTo>
                  <a:lnTo>
                    <a:pt x="186" y="236"/>
                  </a:lnTo>
                  <a:lnTo>
                    <a:pt x="193" y="235"/>
                  </a:lnTo>
                  <a:lnTo>
                    <a:pt x="196" y="233"/>
                  </a:lnTo>
                  <a:lnTo>
                    <a:pt x="200" y="233"/>
                  </a:lnTo>
                  <a:lnTo>
                    <a:pt x="200" y="233"/>
                  </a:lnTo>
                  <a:lnTo>
                    <a:pt x="205" y="235"/>
                  </a:lnTo>
                  <a:lnTo>
                    <a:pt x="206" y="238"/>
                  </a:lnTo>
                  <a:lnTo>
                    <a:pt x="209" y="243"/>
                  </a:lnTo>
                  <a:lnTo>
                    <a:pt x="210" y="250"/>
                  </a:lnTo>
                  <a:lnTo>
                    <a:pt x="213" y="255"/>
                  </a:lnTo>
                  <a:lnTo>
                    <a:pt x="213" y="255"/>
                  </a:lnTo>
                  <a:lnTo>
                    <a:pt x="216" y="257"/>
                  </a:lnTo>
                  <a:lnTo>
                    <a:pt x="222" y="259"/>
                  </a:lnTo>
                  <a:lnTo>
                    <a:pt x="240" y="262"/>
                  </a:lnTo>
                  <a:lnTo>
                    <a:pt x="269" y="266"/>
                  </a:lnTo>
                  <a:lnTo>
                    <a:pt x="269" y="266"/>
                  </a:lnTo>
                  <a:lnTo>
                    <a:pt x="286" y="267"/>
                  </a:lnTo>
                  <a:lnTo>
                    <a:pt x="286" y="267"/>
                  </a:lnTo>
                  <a:lnTo>
                    <a:pt x="286" y="263"/>
                  </a:lnTo>
                  <a:lnTo>
                    <a:pt x="286" y="263"/>
                  </a:lnTo>
                  <a:lnTo>
                    <a:pt x="286" y="257"/>
                  </a:lnTo>
                  <a:lnTo>
                    <a:pt x="289" y="253"/>
                  </a:lnTo>
                  <a:lnTo>
                    <a:pt x="291" y="249"/>
                  </a:lnTo>
                  <a:lnTo>
                    <a:pt x="296" y="246"/>
                  </a:lnTo>
                  <a:lnTo>
                    <a:pt x="296" y="246"/>
                  </a:lnTo>
                  <a:lnTo>
                    <a:pt x="303" y="243"/>
                  </a:lnTo>
                  <a:lnTo>
                    <a:pt x="310" y="242"/>
                  </a:lnTo>
                  <a:lnTo>
                    <a:pt x="310" y="242"/>
                  </a:lnTo>
                  <a:lnTo>
                    <a:pt x="311" y="242"/>
                  </a:lnTo>
                  <a:lnTo>
                    <a:pt x="313" y="240"/>
                  </a:lnTo>
                  <a:lnTo>
                    <a:pt x="311" y="236"/>
                  </a:lnTo>
                  <a:lnTo>
                    <a:pt x="308" y="232"/>
                  </a:lnTo>
                  <a:lnTo>
                    <a:pt x="306" y="230"/>
                  </a:lnTo>
                  <a:lnTo>
                    <a:pt x="306" y="2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8" name="Freeform 344">
              <a:extLst>
                <a:ext uri="{FF2B5EF4-FFF2-40B4-BE49-F238E27FC236}">
                  <a16:creationId xmlns:a16="http://schemas.microsoft.com/office/drawing/2014/main" id="{A3906DE1-497B-9D49-A461-ABE3D66CA3F5}"/>
                </a:ext>
              </a:extLst>
            </p:cNvPr>
            <p:cNvSpPr>
              <a:spLocks/>
            </p:cNvSpPr>
            <p:nvPr/>
          </p:nvSpPr>
          <p:spPr bwMode="auto">
            <a:xfrm>
              <a:off x="4610474" y="4180999"/>
              <a:ext cx="436537" cy="451334"/>
            </a:xfrm>
            <a:custGeom>
              <a:avLst/>
              <a:gdLst/>
              <a:ahLst/>
              <a:cxnLst>
                <a:cxn ang="0">
                  <a:pos x="261" y="151"/>
                </a:cxn>
                <a:cxn ang="0">
                  <a:pos x="263" y="131"/>
                </a:cxn>
                <a:cxn ang="0">
                  <a:pos x="259" y="124"/>
                </a:cxn>
                <a:cxn ang="0">
                  <a:pos x="266" y="111"/>
                </a:cxn>
                <a:cxn ang="0">
                  <a:pos x="271" y="98"/>
                </a:cxn>
                <a:cxn ang="0">
                  <a:pos x="278" y="73"/>
                </a:cxn>
                <a:cxn ang="0">
                  <a:pos x="283" y="64"/>
                </a:cxn>
                <a:cxn ang="0">
                  <a:pos x="295" y="51"/>
                </a:cxn>
                <a:cxn ang="0">
                  <a:pos x="289" y="43"/>
                </a:cxn>
                <a:cxn ang="0">
                  <a:pos x="272" y="13"/>
                </a:cxn>
                <a:cxn ang="0">
                  <a:pos x="259" y="13"/>
                </a:cxn>
                <a:cxn ang="0">
                  <a:pos x="245" y="14"/>
                </a:cxn>
                <a:cxn ang="0">
                  <a:pos x="235" y="3"/>
                </a:cxn>
                <a:cxn ang="0">
                  <a:pos x="207" y="2"/>
                </a:cxn>
                <a:cxn ang="0">
                  <a:pos x="192" y="4"/>
                </a:cxn>
                <a:cxn ang="0">
                  <a:pos x="168" y="10"/>
                </a:cxn>
                <a:cxn ang="0">
                  <a:pos x="158" y="22"/>
                </a:cxn>
                <a:cxn ang="0">
                  <a:pos x="114" y="6"/>
                </a:cxn>
                <a:cxn ang="0">
                  <a:pos x="97" y="30"/>
                </a:cxn>
                <a:cxn ang="0">
                  <a:pos x="90" y="57"/>
                </a:cxn>
                <a:cxn ang="0">
                  <a:pos x="77" y="97"/>
                </a:cxn>
                <a:cxn ang="0">
                  <a:pos x="64" y="113"/>
                </a:cxn>
                <a:cxn ang="0">
                  <a:pos x="59" y="148"/>
                </a:cxn>
                <a:cxn ang="0">
                  <a:pos x="50" y="160"/>
                </a:cxn>
                <a:cxn ang="0">
                  <a:pos x="39" y="164"/>
                </a:cxn>
                <a:cxn ang="0">
                  <a:pos x="23" y="164"/>
                </a:cxn>
                <a:cxn ang="0">
                  <a:pos x="0" y="169"/>
                </a:cxn>
                <a:cxn ang="0">
                  <a:pos x="12" y="185"/>
                </a:cxn>
                <a:cxn ang="0">
                  <a:pos x="70" y="188"/>
                </a:cxn>
                <a:cxn ang="0">
                  <a:pos x="74" y="205"/>
                </a:cxn>
                <a:cxn ang="0">
                  <a:pos x="90" y="219"/>
                </a:cxn>
                <a:cxn ang="0">
                  <a:pos x="110" y="215"/>
                </a:cxn>
                <a:cxn ang="0">
                  <a:pos x="123" y="201"/>
                </a:cxn>
                <a:cxn ang="0">
                  <a:pos x="135" y="205"/>
                </a:cxn>
                <a:cxn ang="0">
                  <a:pos x="148" y="218"/>
                </a:cxn>
                <a:cxn ang="0">
                  <a:pos x="147" y="242"/>
                </a:cxn>
                <a:cxn ang="0">
                  <a:pos x="155" y="256"/>
                </a:cxn>
                <a:cxn ang="0">
                  <a:pos x="158" y="268"/>
                </a:cxn>
                <a:cxn ang="0">
                  <a:pos x="178" y="263"/>
                </a:cxn>
                <a:cxn ang="0">
                  <a:pos x="187" y="268"/>
                </a:cxn>
                <a:cxn ang="0">
                  <a:pos x="199" y="269"/>
                </a:cxn>
                <a:cxn ang="0">
                  <a:pos x="205" y="278"/>
                </a:cxn>
                <a:cxn ang="0">
                  <a:pos x="219" y="282"/>
                </a:cxn>
                <a:cxn ang="0">
                  <a:pos x="228" y="278"/>
                </a:cxn>
                <a:cxn ang="0">
                  <a:pos x="241" y="286"/>
                </a:cxn>
                <a:cxn ang="0">
                  <a:pos x="255" y="296"/>
                </a:cxn>
                <a:cxn ang="0">
                  <a:pos x="271" y="303"/>
                </a:cxn>
                <a:cxn ang="0">
                  <a:pos x="273" y="289"/>
                </a:cxn>
                <a:cxn ang="0">
                  <a:pos x="261" y="288"/>
                </a:cxn>
                <a:cxn ang="0">
                  <a:pos x="249" y="273"/>
                </a:cxn>
                <a:cxn ang="0">
                  <a:pos x="255" y="245"/>
                </a:cxn>
                <a:cxn ang="0">
                  <a:pos x="256" y="233"/>
                </a:cxn>
                <a:cxn ang="0">
                  <a:pos x="261" y="224"/>
                </a:cxn>
                <a:cxn ang="0">
                  <a:pos x="281" y="219"/>
                </a:cxn>
                <a:cxn ang="0">
                  <a:pos x="269" y="201"/>
                </a:cxn>
              </a:cxnLst>
              <a:rect l="0" t="0" r="r" b="b"/>
              <a:pathLst>
                <a:path w="295" h="305">
                  <a:moveTo>
                    <a:pt x="269" y="201"/>
                  </a:moveTo>
                  <a:lnTo>
                    <a:pt x="269" y="201"/>
                  </a:lnTo>
                  <a:lnTo>
                    <a:pt x="266" y="198"/>
                  </a:lnTo>
                  <a:lnTo>
                    <a:pt x="265" y="191"/>
                  </a:lnTo>
                  <a:lnTo>
                    <a:pt x="262" y="171"/>
                  </a:lnTo>
                  <a:lnTo>
                    <a:pt x="261" y="151"/>
                  </a:lnTo>
                  <a:lnTo>
                    <a:pt x="262" y="144"/>
                  </a:lnTo>
                  <a:lnTo>
                    <a:pt x="262" y="141"/>
                  </a:lnTo>
                  <a:lnTo>
                    <a:pt x="262" y="141"/>
                  </a:lnTo>
                  <a:lnTo>
                    <a:pt x="263" y="142"/>
                  </a:lnTo>
                  <a:lnTo>
                    <a:pt x="263" y="131"/>
                  </a:lnTo>
                  <a:lnTo>
                    <a:pt x="263" y="131"/>
                  </a:lnTo>
                  <a:lnTo>
                    <a:pt x="262" y="131"/>
                  </a:lnTo>
                  <a:lnTo>
                    <a:pt x="262" y="131"/>
                  </a:lnTo>
                  <a:lnTo>
                    <a:pt x="261" y="130"/>
                  </a:lnTo>
                  <a:lnTo>
                    <a:pt x="259" y="125"/>
                  </a:lnTo>
                  <a:lnTo>
                    <a:pt x="259" y="125"/>
                  </a:lnTo>
                  <a:lnTo>
                    <a:pt x="259" y="124"/>
                  </a:lnTo>
                  <a:lnTo>
                    <a:pt x="261" y="123"/>
                  </a:lnTo>
                  <a:lnTo>
                    <a:pt x="262" y="121"/>
                  </a:lnTo>
                  <a:lnTo>
                    <a:pt x="262" y="121"/>
                  </a:lnTo>
                  <a:lnTo>
                    <a:pt x="262" y="117"/>
                  </a:lnTo>
                  <a:lnTo>
                    <a:pt x="263" y="113"/>
                  </a:lnTo>
                  <a:lnTo>
                    <a:pt x="266" y="111"/>
                  </a:lnTo>
                  <a:lnTo>
                    <a:pt x="266" y="111"/>
                  </a:lnTo>
                  <a:lnTo>
                    <a:pt x="268" y="110"/>
                  </a:lnTo>
                  <a:lnTo>
                    <a:pt x="268" y="110"/>
                  </a:lnTo>
                  <a:lnTo>
                    <a:pt x="269" y="104"/>
                  </a:lnTo>
                  <a:lnTo>
                    <a:pt x="271" y="98"/>
                  </a:lnTo>
                  <a:lnTo>
                    <a:pt x="271" y="98"/>
                  </a:lnTo>
                  <a:lnTo>
                    <a:pt x="271" y="91"/>
                  </a:lnTo>
                  <a:lnTo>
                    <a:pt x="273" y="84"/>
                  </a:lnTo>
                  <a:lnTo>
                    <a:pt x="273" y="84"/>
                  </a:lnTo>
                  <a:lnTo>
                    <a:pt x="275" y="77"/>
                  </a:lnTo>
                  <a:lnTo>
                    <a:pt x="275" y="74"/>
                  </a:lnTo>
                  <a:lnTo>
                    <a:pt x="278" y="73"/>
                  </a:lnTo>
                  <a:lnTo>
                    <a:pt x="278" y="73"/>
                  </a:lnTo>
                  <a:lnTo>
                    <a:pt x="279" y="70"/>
                  </a:lnTo>
                  <a:lnTo>
                    <a:pt x="281" y="68"/>
                  </a:lnTo>
                  <a:lnTo>
                    <a:pt x="281" y="66"/>
                  </a:lnTo>
                  <a:lnTo>
                    <a:pt x="283" y="64"/>
                  </a:lnTo>
                  <a:lnTo>
                    <a:pt x="283" y="64"/>
                  </a:lnTo>
                  <a:lnTo>
                    <a:pt x="288" y="61"/>
                  </a:lnTo>
                  <a:lnTo>
                    <a:pt x="291" y="59"/>
                  </a:lnTo>
                  <a:lnTo>
                    <a:pt x="291" y="59"/>
                  </a:lnTo>
                  <a:lnTo>
                    <a:pt x="292" y="56"/>
                  </a:lnTo>
                  <a:lnTo>
                    <a:pt x="293" y="53"/>
                  </a:lnTo>
                  <a:lnTo>
                    <a:pt x="295" y="51"/>
                  </a:lnTo>
                  <a:lnTo>
                    <a:pt x="295" y="51"/>
                  </a:lnTo>
                  <a:lnTo>
                    <a:pt x="293" y="49"/>
                  </a:lnTo>
                  <a:lnTo>
                    <a:pt x="292" y="47"/>
                  </a:lnTo>
                  <a:lnTo>
                    <a:pt x="291" y="46"/>
                  </a:lnTo>
                  <a:lnTo>
                    <a:pt x="289" y="43"/>
                  </a:lnTo>
                  <a:lnTo>
                    <a:pt x="289" y="43"/>
                  </a:lnTo>
                  <a:lnTo>
                    <a:pt x="291" y="29"/>
                  </a:lnTo>
                  <a:lnTo>
                    <a:pt x="291" y="29"/>
                  </a:lnTo>
                  <a:lnTo>
                    <a:pt x="291" y="29"/>
                  </a:lnTo>
                  <a:lnTo>
                    <a:pt x="291" y="29"/>
                  </a:lnTo>
                  <a:lnTo>
                    <a:pt x="272" y="13"/>
                  </a:lnTo>
                  <a:lnTo>
                    <a:pt x="272" y="13"/>
                  </a:lnTo>
                  <a:lnTo>
                    <a:pt x="269" y="13"/>
                  </a:lnTo>
                  <a:lnTo>
                    <a:pt x="268" y="14"/>
                  </a:lnTo>
                  <a:lnTo>
                    <a:pt x="265" y="16"/>
                  </a:lnTo>
                  <a:lnTo>
                    <a:pt x="265" y="16"/>
                  </a:lnTo>
                  <a:lnTo>
                    <a:pt x="262" y="13"/>
                  </a:lnTo>
                  <a:lnTo>
                    <a:pt x="259" y="13"/>
                  </a:lnTo>
                  <a:lnTo>
                    <a:pt x="255" y="14"/>
                  </a:lnTo>
                  <a:lnTo>
                    <a:pt x="255" y="14"/>
                  </a:lnTo>
                  <a:lnTo>
                    <a:pt x="252" y="16"/>
                  </a:lnTo>
                  <a:lnTo>
                    <a:pt x="249" y="16"/>
                  </a:lnTo>
                  <a:lnTo>
                    <a:pt x="245" y="14"/>
                  </a:lnTo>
                  <a:lnTo>
                    <a:pt x="245" y="14"/>
                  </a:lnTo>
                  <a:lnTo>
                    <a:pt x="244" y="13"/>
                  </a:lnTo>
                  <a:lnTo>
                    <a:pt x="241" y="10"/>
                  </a:lnTo>
                  <a:lnTo>
                    <a:pt x="239" y="6"/>
                  </a:lnTo>
                  <a:lnTo>
                    <a:pt x="239" y="6"/>
                  </a:lnTo>
                  <a:lnTo>
                    <a:pt x="236" y="4"/>
                  </a:lnTo>
                  <a:lnTo>
                    <a:pt x="235" y="3"/>
                  </a:lnTo>
                  <a:lnTo>
                    <a:pt x="235" y="3"/>
                  </a:lnTo>
                  <a:lnTo>
                    <a:pt x="222" y="4"/>
                  </a:lnTo>
                  <a:lnTo>
                    <a:pt x="222" y="4"/>
                  </a:lnTo>
                  <a:lnTo>
                    <a:pt x="215" y="2"/>
                  </a:lnTo>
                  <a:lnTo>
                    <a:pt x="209" y="0"/>
                  </a:lnTo>
                  <a:lnTo>
                    <a:pt x="207" y="2"/>
                  </a:lnTo>
                  <a:lnTo>
                    <a:pt x="205" y="3"/>
                  </a:lnTo>
                  <a:lnTo>
                    <a:pt x="205" y="3"/>
                  </a:lnTo>
                  <a:lnTo>
                    <a:pt x="202" y="6"/>
                  </a:lnTo>
                  <a:lnTo>
                    <a:pt x="199" y="6"/>
                  </a:lnTo>
                  <a:lnTo>
                    <a:pt x="192" y="4"/>
                  </a:lnTo>
                  <a:lnTo>
                    <a:pt x="192" y="4"/>
                  </a:lnTo>
                  <a:lnTo>
                    <a:pt x="187" y="6"/>
                  </a:lnTo>
                  <a:lnTo>
                    <a:pt x="182" y="7"/>
                  </a:lnTo>
                  <a:lnTo>
                    <a:pt x="175" y="10"/>
                  </a:lnTo>
                  <a:lnTo>
                    <a:pt x="175" y="10"/>
                  </a:lnTo>
                  <a:lnTo>
                    <a:pt x="172" y="10"/>
                  </a:lnTo>
                  <a:lnTo>
                    <a:pt x="168" y="10"/>
                  </a:lnTo>
                  <a:lnTo>
                    <a:pt x="165" y="9"/>
                  </a:lnTo>
                  <a:lnTo>
                    <a:pt x="162" y="10"/>
                  </a:lnTo>
                  <a:lnTo>
                    <a:pt x="162" y="10"/>
                  </a:lnTo>
                  <a:lnTo>
                    <a:pt x="161" y="13"/>
                  </a:lnTo>
                  <a:lnTo>
                    <a:pt x="160" y="16"/>
                  </a:lnTo>
                  <a:lnTo>
                    <a:pt x="158" y="22"/>
                  </a:lnTo>
                  <a:lnTo>
                    <a:pt x="127" y="14"/>
                  </a:lnTo>
                  <a:lnTo>
                    <a:pt x="127" y="14"/>
                  </a:lnTo>
                  <a:lnTo>
                    <a:pt x="123" y="10"/>
                  </a:lnTo>
                  <a:lnTo>
                    <a:pt x="118" y="7"/>
                  </a:lnTo>
                  <a:lnTo>
                    <a:pt x="114" y="6"/>
                  </a:lnTo>
                  <a:lnTo>
                    <a:pt x="114" y="6"/>
                  </a:lnTo>
                  <a:lnTo>
                    <a:pt x="111" y="6"/>
                  </a:lnTo>
                  <a:lnTo>
                    <a:pt x="108" y="7"/>
                  </a:lnTo>
                  <a:lnTo>
                    <a:pt x="103" y="13"/>
                  </a:lnTo>
                  <a:lnTo>
                    <a:pt x="97" y="19"/>
                  </a:lnTo>
                  <a:lnTo>
                    <a:pt x="97" y="30"/>
                  </a:lnTo>
                  <a:lnTo>
                    <a:pt x="97" y="30"/>
                  </a:lnTo>
                  <a:lnTo>
                    <a:pt x="97" y="34"/>
                  </a:lnTo>
                  <a:lnTo>
                    <a:pt x="97" y="39"/>
                  </a:lnTo>
                  <a:lnTo>
                    <a:pt x="94" y="46"/>
                  </a:lnTo>
                  <a:lnTo>
                    <a:pt x="94" y="46"/>
                  </a:lnTo>
                  <a:lnTo>
                    <a:pt x="91" y="53"/>
                  </a:lnTo>
                  <a:lnTo>
                    <a:pt x="90" y="57"/>
                  </a:lnTo>
                  <a:lnTo>
                    <a:pt x="89" y="63"/>
                  </a:lnTo>
                  <a:lnTo>
                    <a:pt x="89" y="63"/>
                  </a:lnTo>
                  <a:lnTo>
                    <a:pt x="87" y="71"/>
                  </a:lnTo>
                  <a:lnTo>
                    <a:pt x="83" y="81"/>
                  </a:lnTo>
                  <a:lnTo>
                    <a:pt x="79" y="90"/>
                  </a:lnTo>
                  <a:lnTo>
                    <a:pt x="77" y="97"/>
                  </a:lnTo>
                  <a:lnTo>
                    <a:pt x="77" y="97"/>
                  </a:lnTo>
                  <a:lnTo>
                    <a:pt x="77" y="100"/>
                  </a:lnTo>
                  <a:lnTo>
                    <a:pt x="74" y="103"/>
                  </a:lnTo>
                  <a:lnTo>
                    <a:pt x="70" y="107"/>
                  </a:lnTo>
                  <a:lnTo>
                    <a:pt x="66" y="111"/>
                  </a:lnTo>
                  <a:lnTo>
                    <a:pt x="64" y="113"/>
                  </a:lnTo>
                  <a:lnTo>
                    <a:pt x="63" y="114"/>
                  </a:lnTo>
                  <a:lnTo>
                    <a:pt x="63" y="114"/>
                  </a:lnTo>
                  <a:lnTo>
                    <a:pt x="61" y="141"/>
                  </a:lnTo>
                  <a:lnTo>
                    <a:pt x="61" y="141"/>
                  </a:lnTo>
                  <a:lnTo>
                    <a:pt x="61" y="147"/>
                  </a:lnTo>
                  <a:lnTo>
                    <a:pt x="59" y="148"/>
                  </a:lnTo>
                  <a:lnTo>
                    <a:pt x="57" y="148"/>
                  </a:lnTo>
                  <a:lnTo>
                    <a:pt x="56" y="154"/>
                  </a:lnTo>
                  <a:lnTo>
                    <a:pt x="56" y="154"/>
                  </a:lnTo>
                  <a:lnTo>
                    <a:pt x="56" y="158"/>
                  </a:lnTo>
                  <a:lnTo>
                    <a:pt x="53" y="160"/>
                  </a:lnTo>
                  <a:lnTo>
                    <a:pt x="50" y="160"/>
                  </a:lnTo>
                  <a:lnTo>
                    <a:pt x="46" y="162"/>
                  </a:lnTo>
                  <a:lnTo>
                    <a:pt x="46" y="162"/>
                  </a:lnTo>
                  <a:lnTo>
                    <a:pt x="42" y="167"/>
                  </a:lnTo>
                  <a:lnTo>
                    <a:pt x="40" y="165"/>
                  </a:lnTo>
                  <a:lnTo>
                    <a:pt x="39" y="164"/>
                  </a:lnTo>
                  <a:lnTo>
                    <a:pt x="39" y="164"/>
                  </a:lnTo>
                  <a:lnTo>
                    <a:pt x="39" y="161"/>
                  </a:lnTo>
                  <a:lnTo>
                    <a:pt x="36" y="160"/>
                  </a:lnTo>
                  <a:lnTo>
                    <a:pt x="32" y="160"/>
                  </a:lnTo>
                  <a:lnTo>
                    <a:pt x="26" y="162"/>
                  </a:lnTo>
                  <a:lnTo>
                    <a:pt x="26" y="162"/>
                  </a:lnTo>
                  <a:lnTo>
                    <a:pt x="23" y="164"/>
                  </a:lnTo>
                  <a:lnTo>
                    <a:pt x="20" y="164"/>
                  </a:lnTo>
                  <a:lnTo>
                    <a:pt x="16" y="161"/>
                  </a:lnTo>
                  <a:lnTo>
                    <a:pt x="16" y="161"/>
                  </a:lnTo>
                  <a:lnTo>
                    <a:pt x="10" y="164"/>
                  </a:lnTo>
                  <a:lnTo>
                    <a:pt x="0" y="169"/>
                  </a:lnTo>
                  <a:lnTo>
                    <a:pt x="0" y="169"/>
                  </a:lnTo>
                  <a:lnTo>
                    <a:pt x="5" y="178"/>
                  </a:lnTo>
                  <a:lnTo>
                    <a:pt x="6" y="187"/>
                  </a:lnTo>
                  <a:lnTo>
                    <a:pt x="6" y="187"/>
                  </a:lnTo>
                  <a:lnTo>
                    <a:pt x="6" y="188"/>
                  </a:lnTo>
                  <a:lnTo>
                    <a:pt x="6" y="188"/>
                  </a:lnTo>
                  <a:lnTo>
                    <a:pt x="12" y="185"/>
                  </a:lnTo>
                  <a:lnTo>
                    <a:pt x="16" y="184"/>
                  </a:lnTo>
                  <a:lnTo>
                    <a:pt x="16" y="184"/>
                  </a:lnTo>
                  <a:lnTo>
                    <a:pt x="43" y="184"/>
                  </a:lnTo>
                  <a:lnTo>
                    <a:pt x="67" y="184"/>
                  </a:lnTo>
                  <a:lnTo>
                    <a:pt x="67" y="184"/>
                  </a:lnTo>
                  <a:lnTo>
                    <a:pt x="70" y="188"/>
                  </a:lnTo>
                  <a:lnTo>
                    <a:pt x="70" y="192"/>
                  </a:lnTo>
                  <a:lnTo>
                    <a:pt x="70" y="197"/>
                  </a:lnTo>
                  <a:lnTo>
                    <a:pt x="70" y="197"/>
                  </a:lnTo>
                  <a:lnTo>
                    <a:pt x="70" y="201"/>
                  </a:lnTo>
                  <a:lnTo>
                    <a:pt x="71" y="202"/>
                  </a:lnTo>
                  <a:lnTo>
                    <a:pt x="74" y="205"/>
                  </a:lnTo>
                  <a:lnTo>
                    <a:pt x="77" y="209"/>
                  </a:lnTo>
                  <a:lnTo>
                    <a:pt x="77" y="209"/>
                  </a:lnTo>
                  <a:lnTo>
                    <a:pt x="80" y="215"/>
                  </a:lnTo>
                  <a:lnTo>
                    <a:pt x="83" y="218"/>
                  </a:lnTo>
                  <a:lnTo>
                    <a:pt x="86" y="219"/>
                  </a:lnTo>
                  <a:lnTo>
                    <a:pt x="90" y="219"/>
                  </a:lnTo>
                  <a:lnTo>
                    <a:pt x="90" y="219"/>
                  </a:lnTo>
                  <a:lnTo>
                    <a:pt x="101" y="216"/>
                  </a:lnTo>
                  <a:lnTo>
                    <a:pt x="108" y="216"/>
                  </a:lnTo>
                  <a:lnTo>
                    <a:pt x="108" y="216"/>
                  </a:lnTo>
                  <a:lnTo>
                    <a:pt x="110" y="216"/>
                  </a:lnTo>
                  <a:lnTo>
                    <a:pt x="110" y="215"/>
                  </a:lnTo>
                  <a:lnTo>
                    <a:pt x="111" y="211"/>
                  </a:lnTo>
                  <a:lnTo>
                    <a:pt x="113" y="205"/>
                  </a:lnTo>
                  <a:lnTo>
                    <a:pt x="116" y="202"/>
                  </a:lnTo>
                  <a:lnTo>
                    <a:pt x="116" y="202"/>
                  </a:lnTo>
                  <a:lnTo>
                    <a:pt x="120" y="201"/>
                  </a:lnTo>
                  <a:lnTo>
                    <a:pt x="123" y="201"/>
                  </a:lnTo>
                  <a:lnTo>
                    <a:pt x="128" y="202"/>
                  </a:lnTo>
                  <a:lnTo>
                    <a:pt x="128" y="202"/>
                  </a:lnTo>
                  <a:lnTo>
                    <a:pt x="130" y="204"/>
                  </a:lnTo>
                  <a:lnTo>
                    <a:pt x="131" y="205"/>
                  </a:lnTo>
                  <a:lnTo>
                    <a:pt x="135" y="205"/>
                  </a:lnTo>
                  <a:lnTo>
                    <a:pt x="135" y="205"/>
                  </a:lnTo>
                  <a:lnTo>
                    <a:pt x="144" y="205"/>
                  </a:lnTo>
                  <a:lnTo>
                    <a:pt x="145" y="205"/>
                  </a:lnTo>
                  <a:lnTo>
                    <a:pt x="147" y="208"/>
                  </a:lnTo>
                  <a:lnTo>
                    <a:pt x="147" y="208"/>
                  </a:lnTo>
                  <a:lnTo>
                    <a:pt x="147" y="215"/>
                  </a:lnTo>
                  <a:lnTo>
                    <a:pt x="148" y="218"/>
                  </a:lnTo>
                  <a:lnTo>
                    <a:pt x="150" y="221"/>
                  </a:lnTo>
                  <a:lnTo>
                    <a:pt x="150" y="221"/>
                  </a:lnTo>
                  <a:lnTo>
                    <a:pt x="150" y="225"/>
                  </a:lnTo>
                  <a:lnTo>
                    <a:pt x="148" y="232"/>
                  </a:lnTo>
                  <a:lnTo>
                    <a:pt x="147" y="239"/>
                  </a:lnTo>
                  <a:lnTo>
                    <a:pt x="147" y="242"/>
                  </a:lnTo>
                  <a:lnTo>
                    <a:pt x="147" y="243"/>
                  </a:lnTo>
                  <a:lnTo>
                    <a:pt x="147" y="243"/>
                  </a:lnTo>
                  <a:lnTo>
                    <a:pt x="153" y="249"/>
                  </a:lnTo>
                  <a:lnTo>
                    <a:pt x="155" y="253"/>
                  </a:lnTo>
                  <a:lnTo>
                    <a:pt x="155" y="256"/>
                  </a:lnTo>
                  <a:lnTo>
                    <a:pt x="155" y="256"/>
                  </a:lnTo>
                  <a:lnTo>
                    <a:pt x="154" y="263"/>
                  </a:lnTo>
                  <a:lnTo>
                    <a:pt x="154" y="268"/>
                  </a:lnTo>
                  <a:lnTo>
                    <a:pt x="155" y="269"/>
                  </a:lnTo>
                  <a:lnTo>
                    <a:pt x="155" y="269"/>
                  </a:lnTo>
                  <a:lnTo>
                    <a:pt x="157" y="269"/>
                  </a:lnTo>
                  <a:lnTo>
                    <a:pt x="158" y="268"/>
                  </a:lnTo>
                  <a:lnTo>
                    <a:pt x="161" y="265"/>
                  </a:lnTo>
                  <a:lnTo>
                    <a:pt x="164" y="265"/>
                  </a:lnTo>
                  <a:lnTo>
                    <a:pt x="164" y="265"/>
                  </a:lnTo>
                  <a:lnTo>
                    <a:pt x="171" y="265"/>
                  </a:lnTo>
                  <a:lnTo>
                    <a:pt x="178" y="263"/>
                  </a:lnTo>
                  <a:lnTo>
                    <a:pt x="178" y="263"/>
                  </a:lnTo>
                  <a:lnTo>
                    <a:pt x="180" y="263"/>
                  </a:lnTo>
                  <a:lnTo>
                    <a:pt x="182" y="263"/>
                  </a:lnTo>
                  <a:lnTo>
                    <a:pt x="182" y="263"/>
                  </a:lnTo>
                  <a:lnTo>
                    <a:pt x="185" y="266"/>
                  </a:lnTo>
                  <a:lnTo>
                    <a:pt x="187" y="268"/>
                  </a:lnTo>
                  <a:lnTo>
                    <a:pt x="187" y="268"/>
                  </a:lnTo>
                  <a:lnTo>
                    <a:pt x="188" y="270"/>
                  </a:lnTo>
                  <a:lnTo>
                    <a:pt x="190" y="270"/>
                  </a:lnTo>
                  <a:lnTo>
                    <a:pt x="191" y="270"/>
                  </a:lnTo>
                  <a:lnTo>
                    <a:pt x="191" y="270"/>
                  </a:lnTo>
                  <a:lnTo>
                    <a:pt x="197" y="269"/>
                  </a:lnTo>
                  <a:lnTo>
                    <a:pt x="199" y="269"/>
                  </a:lnTo>
                  <a:lnTo>
                    <a:pt x="201" y="270"/>
                  </a:lnTo>
                  <a:lnTo>
                    <a:pt x="201" y="270"/>
                  </a:lnTo>
                  <a:lnTo>
                    <a:pt x="201" y="273"/>
                  </a:lnTo>
                  <a:lnTo>
                    <a:pt x="202" y="276"/>
                  </a:lnTo>
                  <a:lnTo>
                    <a:pt x="204" y="278"/>
                  </a:lnTo>
                  <a:lnTo>
                    <a:pt x="205" y="278"/>
                  </a:lnTo>
                  <a:lnTo>
                    <a:pt x="205" y="278"/>
                  </a:lnTo>
                  <a:lnTo>
                    <a:pt x="208" y="278"/>
                  </a:lnTo>
                  <a:lnTo>
                    <a:pt x="212" y="280"/>
                  </a:lnTo>
                  <a:lnTo>
                    <a:pt x="217" y="282"/>
                  </a:lnTo>
                  <a:lnTo>
                    <a:pt x="219" y="282"/>
                  </a:lnTo>
                  <a:lnTo>
                    <a:pt x="219" y="282"/>
                  </a:lnTo>
                  <a:lnTo>
                    <a:pt x="224" y="282"/>
                  </a:lnTo>
                  <a:lnTo>
                    <a:pt x="225" y="282"/>
                  </a:lnTo>
                  <a:lnTo>
                    <a:pt x="227" y="280"/>
                  </a:lnTo>
                  <a:lnTo>
                    <a:pt x="227" y="280"/>
                  </a:lnTo>
                  <a:lnTo>
                    <a:pt x="227" y="279"/>
                  </a:lnTo>
                  <a:lnTo>
                    <a:pt x="228" y="278"/>
                  </a:lnTo>
                  <a:lnTo>
                    <a:pt x="231" y="276"/>
                  </a:lnTo>
                  <a:lnTo>
                    <a:pt x="232" y="278"/>
                  </a:lnTo>
                  <a:lnTo>
                    <a:pt x="232" y="278"/>
                  </a:lnTo>
                  <a:lnTo>
                    <a:pt x="235" y="283"/>
                  </a:lnTo>
                  <a:lnTo>
                    <a:pt x="238" y="286"/>
                  </a:lnTo>
                  <a:lnTo>
                    <a:pt x="241" y="286"/>
                  </a:lnTo>
                  <a:lnTo>
                    <a:pt x="241" y="286"/>
                  </a:lnTo>
                  <a:lnTo>
                    <a:pt x="248" y="288"/>
                  </a:lnTo>
                  <a:lnTo>
                    <a:pt x="251" y="288"/>
                  </a:lnTo>
                  <a:lnTo>
                    <a:pt x="252" y="289"/>
                  </a:lnTo>
                  <a:lnTo>
                    <a:pt x="252" y="289"/>
                  </a:lnTo>
                  <a:lnTo>
                    <a:pt x="255" y="296"/>
                  </a:lnTo>
                  <a:lnTo>
                    <a:pt x="256" y="300"/>
                  </a:lnTo>
                  <a:lnTo>
                    <a:pt x="259" y="303"/>
                  </a:lnTo>
                  <a:lnTo>
                    <a:pt x="259" y="303"/>
                  </a:lnTo>
                  <a:lnTo>
                    <a:pt x="262" y="305"/>
                  </a:lnTo>
                  <a:lnTo>
                    <a:pt x="266" y="305"/>
                  </a:lnTo>
                  <a:lnTo>
                    <a:pt x="271" y="303"/>
                  </a:lnTo>
                  <a:lnTo>
                    <a:pt x="271" y="303"/>
                  </a:lnTo>
                  <a:lnTo>
                    <a:pt x="272" y="302"/>
                  </a:lnTo>
                  <a:lnTo>
                    <a:pt x="273" y="299"/>
                  </a:lnTo>
                  <a:lnTo>
                    <a:pt x="273" y="296"/>
                  </a:lnTo>
                  <a:lnTo>
                    <a:pt x="273" y="296"/>
                  </a:lnTo>
                  <a:lnTo>
                    <a:pt x="273" y="289"/>
                  </a:lnTo>
                  <a:lnTo>
                    <a:pt x="272" y="286"/>
                  </a:lnTo>
                  <a:lnTo>
                    <a:pt x="271" y="285"/>
                  </a:lnTo>
                  <a:lnTo>
                    <a:pt x="271" y="285"/>
                  </a:lnTo>
                  <a:lnTo>
                    <a:pt x="266" y="288"/>
                  </a:lnTo>
                  <a:lnTo>
                    <a:pt x="263" y="288"/>
                  </a:lnTo>
                  <a:lnTo>
                    <a:pt x="261" y="288"/>
                  </a:lnTo>
                  <a:lnTo>
                    <a:pt x="261" y="288"/>
                  </a:lnTo>
                  <a:lnTo>
                    <a:pt x="256" y="286"/>
                  </a:lnTo>
                  <a:lnTo>
                    <a:pt x="254" y="282"/>
                  </a:lnTo>
                  <a:lnTo>
                    <a:pt x="249" y="275"/>
                  </a:lnTo>
                  <a:lnTo>
                    <a:pt x="249" y="275"/>
                  </a:lnTo>
                  <a:lnTo>
                    <a:pt x="249" y="273"/>
                  </a:lnTo>
                  <a:lnTo>
                    <a:pt x="251" y="269"/>
                  </a:lnTo>
                  <a:lnTo>
                    <a:pt x="252" y="265"/>
                  </a:lnTo>
                  <a:lnTo>
                    <a:pt x="254" y="261"/>
                  </a:lnTo>
                  <a:lnTo>
                    <a:pt x="254" y="261"/>
                  </a:lnTo>
                  <a:lnTo>
                    <a:pt x="255" y="251"/>
                  </a:lnTo>
                  <a:lnTo>
                    <a:pt x="255" y="245"/>
                  </a:lnTo>
                  <a:lnTo>
                    <a:pt x="254" y="242"/>
                  </a:lnTo>
                  <a:lnTo>
                    <a:pt x="254" y="242"/>
                  </a:lnTo>
                  <a:lnTo>
                    <a:pt x="252" y="241"/>
                  </a:lnTo>
                  <a:lnTo>
                    <a:pt x="252" y="239"/>
                  </a:lnTo>
                  <a:lnTo>
                    <a:pt x="254" y="236"/>
                  </a:lnTo>
                  <a:lnTo>
                    <a:pt x="256" y="233"/>
                  </a:lnTo>
                  <a:lnTo>
                    <a:pt x="256" y="233"/>
                  </a:lnTo>
                  <a:lnTo>
                    <a:pt x="258" y="231"/>
                  </a:lnTo>
                  <a:lnTo>
                    <a:pt x="258" y="228"/>
                  </a:lnTo>
                  <a:lnTo>
                    <a:pt x="258" y="225"/>
                  </a:lnTo>
                  <a:lnTo>
                    <a:pt x="259" y="224"/>
                  </a:lnTo>
                  <a:lnTo>
                    <a:pt x="261" y="224"/>
                  </a:lnTo>
                  <a:lnTo>
                    <a:pt x="261" y="224"/>
                  </a:lnTo>
                  <a:lnTo>
                    <a:pt x="271" y="224"/>
                  </a:lnTo>
                  <a:lnTo>
                    <a:pt x="276" y="222"/>
                  </a:lnTo>
                  <a:lnTo>
                    <a:pt x="279" y="221"/>
                  </a:lnTo>
                  <a:lnTo>
                    <a:pt x="279" y="221"/>
                  </a:lnTo>
                  <a:lnTo>
                    <a:pt x="281" y="219"/>
                  </a:lnTo>
                  <a:lnTo>
                    <a:pt x="281" y="219"/>
                  </a:lnTo>
                  <a:lnTo>
                    <a:pt x="282" y="218"/>
                  </a:lnTo>
                  <a:lnTo>
                    <a:pt x="282" y="218"/>
                  </a:lnTo>
                  <a:lnTo>
                    <a:pt x="276" y="208"/>
                  </a:lnTo>
                  <a:lnTo>
                    <a:pt x="273" y="204"/>
                  </a:lnTo>
                  <a:lnTo>
                    <a:pt x="269" y="201"/>
                  </a:lnTo>
                  <a:lnTo>
                    <a:pt x="269" y="20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9" name="Freeform 345">
              <a:extLst>
                <a:ext uri="{FF2B5EF4-FFF2-40B4-BE49-F238E27FC236}">
                  <a16:creationId xmlns:a16="http://schemas.microsoft.com/office/drawing/2014/main" id="{2B562B05-144E-7649-89FA-7F3BF4A351D7}"/>
                </a:ext>
              </a:extLst>
            </p:cNvPr>
            <p:cNvSpPr>
              <a:spLocks/>
            </p:cNvSpPr>
            <p:nvPr/>
          </p:nvSpPr>
          <p:spPr bwMode="auto">
            <a:xfrm>
              <a:off x="4998178" y="4365971"/>
              <a:ext cx="38474" cy="51792"/>
            </a:xfrm>
            <a:custGeom>
              <a:avLst/>
              <a:gdLst/>
              <a:ahLst/>
              <a:cxnLst>
                <a:cxn ang="0">
                  <a:pos x="1" y="17"/>
                </a:cxn>
                <a:cxn ang="0">
                  <a:pos x="1" y="17"/>
                </a:cxn>
                <a:cxn ang="0">
                  <a:pos x="6" y="35"/>
                </a:cxn>
                <a:cxn ang="0">
                  <a:pos x="6" y="35"/>
                </a:cxn>
                <a:cxn ang="0">
                  <a:pos x="13" y="30"/>
                </a:cxn>
                <a:cxn ang="0">
                  <a:pos x="13" y="30"/>
                </a:cxn>
                <a:cxn ang="0">
                  <a:pos x="17" y="27"/>
                </a:cxn>
                <a:cxn ang="0">
                  <a:pos x="21" y="20"/>
                </a:cxn>
                <a:cxn ang="0">
                  <a:pos x="26" y="12"/>
                </a:cxn>
                <a:cxn ang="0">
                  <a:pos x="21" y="9"/>
                </a:cxn>
                <a:cxn ang="0">
                  <a:pos x="21" y="9"/>
                </a:cxn>
                <a:cxn ang="0">
                  <a:pos x="21" y="7"/>
                </a:cxn>
                <a:cxn ang="0">
                  <a:pos x="21" y="0"/>
                </a:cxn>
                <a:cxn ang="0">
                  <a:pos x="21" y="0"/>
                </a:cxn>
                <a:cxn ang="0">
                  <a:pos x="14" y="2"/>
                </a:cxn>
                <a:cxn ang="0">
                  <a:pos x="14" y="2"/>
                </a:cxn>
                <a:cxn ang="0">
                  <a:pos x="14" y="2"/>
                </a:cxn>
                <a:cxn ang="0">
                  <a:pos x="13" y="5"/>
                </a:cxn>
                <a:cxn ang="0">
                  <a:pos x="10" y="6"/>
                </a:cxn>
                <a:cxn ang="0">
                  <a:pos x="6" y="6"/>
                </a:cxn>
                <a:cxn ang="0">
                  <a:pos x="6" y="6"/>
                </a:cxn>
                <a:cxn ang="0">
                  <a:pos x="0" y="6"/>
                </a:cxn>
                <a:cxn ang="0">
                  <a:pos x="0" y="6"/>
                </a:cxn>
                <a:cxn ang="0">
                  <a:pos x="1" y="6"/>
                </a:cxn>
                <a:cxn ang="0">
                  <a:pos x="1" y="17"/>
                </a:cxn>
              </a:cxnLst>
              <a:rect l="0" t="0" r="r" b="b"/>
              <a:pathLst>
                <a:path w="26" h="35">
                  <a:moveTo>
                    <a:pt x="1" y="17"/>
                  </a:moveTo>
                  <a:lnTo>
                    <a:pt x="1" y="17"/>
                  </a:lnTo>
                  <a:lnTo>
                    <a:pt x="6" y="35"/>
                  </a:lnTo>
                  <a:lnTo>
                    <a:pt x="6" y="35"/>
                  </a:lnTo>
                  <a:lnTo>
                    <a:pt x="13" y="30"/>
                  </a:lnTo>
                  <a:lnTo>
                    <a:pt x="13" y="30"/>
                  </a:lnTo>
                  <a:lnTo>
                    <a:pt x="17" y="27"/>
                  </a:lnTo>
                  <a:lnTo>
                    <a:pt x="21" y="20"/>
                  </a:lnTo>
                  <a:lnTo>
                    <a:pt x="26" y="12"/>
                  </a:lnTo>
                  <a:lnTo>
                    <a:pt x="21" y="9"/>
                  </a:lnTo>
                  <a:lnTo>
                    <a:pt x="21" y="9"/>
                  </a:lnTo>
                  <a:lnTo>
                    <a:pt x="21" y="7"/>
                  </a:lnTo>
                  <a:lnTo>
                    <a:pt x="21" y="0"/>
                  </a:lnTo>
                  <a:lnTo>
                    <a:pt x="21" y="0"/>
                  </a:lnTo>
                  <a:lnTo>
                    <a:pt x="14" y="2"/>
                  </a:lnTo>
                  <a:lnTo>
                    <a:pt x="14" y="2"/>
                  </a:lnTo>
                  <a:lnTo>
                    <a:pt x="14" y="2"/>
                  </a:lnTo>
                  <a:lnTo>
                    <a:pt x="13" y="5"/>
                  </a:lnTo>
                  <a:lnTo>
                    <a:pt x="10" y="6"/>
                  </a:lnTo>
                  <a:lnTo>
                    <a:pt x="6" y="6"/>
                  </a:lnTo>
                  <a:lnTo>
                    <a:pt x="6" y="6"/>
                  </a:lnTo>
                  <a:lnTo>
                    <a:pt x="0" y="6"/>
                  </a:lnTo>
                  <a:lnTo>
                    <a:pt x="0" y="6"/>
                  </a:lnTo>
                  <a:lnTo>
                    <a:pt x="1" y="6"/>
                  </a:lnTo>
                  <a:lnTo>
                    <a:pt x="1" y="1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0" name="Freeform 346">
              <a:extLst>
                <a:ext uri="{FF2B5EF4-FFF2-40B4-BE49-F238E27FC236}">
                  <a16:creationId xmlns:a16="http://schemas.microsoft.com/office/drawing/2014/main" id="{19C8F47D-94A8-F743-B364-0FA74F1FB0BB}"/>
                </a:ext>
              </a:extLst>
            </p:cNvPr>
            <p:cNvSpPr>
              <a:spLocks/>
            </p:cNvSpPr>
            <p:nvPr/>
          </p:nvSpPr>
          <p:spPr bwMode="auto">
            <a:xfrm>
              <a:off x="5023334" y="4562783"/>
              <a:ext cx="250084" cy="408421"/>
            </a:xfrm>
            <a:custGeom>
              <a:avLst/>
              <a:gdLst/>
              <a:ahLst/>
              <a:cxnLst>
                <a:cxn ang="0">
                  <a:pos x="165" y="47"/>
                </a:cxn>
                <a:cxn ang="0">
                  <a:pos x="164" y="1"/>
                </a:cxn>
                <a:cxn ang="0">
                  <a:pos x="152" y="5"/>
                </a:cxn>
                <a:cxn ang="0">
                  <a:pos x="141" y="11"/>
                </a:cxn>
                <a:cxn ang="0">
                  <a:pos x="132" y="14"/>
                </a:cxn>
                <a:cxn ang="0">
                  <a:pos x="124" y="12"/>
                </a:cxn>
                <a:cxn ang="0">
                  <a:pos x="120" y="20"/>
                </a:cxn>
                <a:cxn ang="0">
                  <a:pos x="104" y="20"/>
                </a:cxn>
                <a:cxn ang="0">
                  <a:pos x="94" y="20"/>
                </a:cxn>
                <a:cxn ang="0">
                  <a:pos x="88" y="15"/>
                </a:cxn>
                <a:cxn ang="0">
                  <a:pos x="73" y="17"/>
                </a:cxn>
                <a:cxn ang="0">
                  <a:pos x="71" y="27"/>
                </a:cxn>
                <a:cxn ang="0">
                  <a:pos x="80" y="57"/>
                </a:cxn>
                <a:cxn ang="0">
                  <a:pos x="91" y="69"/>
                </a:cxn>
                <a:cxn ang="0">
                  <a:pos x="90" y="82"/>
                </a:cxn>
                <a:cxn ang="0">
                  <a:pos x="81" y="92"/>
                </a:cxn>
                <a:cxn ang="0">
                  <a:pos x="80" y="108"/>
                </a:cxn>
                <a:cxn ang="0">
                  <a:pos x="71" y="99"/>
                </a:cxn>
                <a:cxn ang="0">
                  <a:pos x="66" y="79"/>
                </a:cxn>
                <a:cxn ang="0">
                  <a:pos x="67" y="65"/>
                </a:cxn>
                <a:cxn ang="0">
                  <a:pos x="56" y="65"/>
                </a:cxn>
                <a:cxn ang="0">
                  <a:pos x="44" y="58"/>
                </a:cxn>
                <a:cxn ang="0">
                  <a:pos x="4" y="91"/>
                </a:cxn>
                <a:cxn ang="0">
                  <a:pos x="24" y="95"/>
                </a:cxn>
                <a:cxn ang="0">
                  <a:pos x="43" y="102"/>
                </a:cxn>
                <a:cxn ang="0">
                  <a:pos x="44" y="126"/>
                </a:cxn>
                <a:cxn ang="0">
                  <a:pos x="39" y="138"/>
                </a:cxn>
                <a:cxn ang="0">
                  <a:pos x="41" y="145"/>
                </a:cxn>
                <a:cxn ang="0">
                  <a:pos x="44" y="153"/>
                </a:cxn>
                <a:cxn ang="0">
                  <a:pos x="36" y="165"/>
                </a:cxn>
                <a:cxn ang="0">
                  <a:pos x="34" y="176"/>
                </a:cxn>
                <a:cxn ang="0">
                  <a:pos x="16" y="197"/>
                </a:cxn>
                <a:cxn ang="0">
                  <a:pos x="20" y="213"/>
                </a:cxn>
                <a:cxn ang="0">
                  <a:pos x="26" y="227"/>
                </a:cxn>
                <a:cxn ang="0">
                  <a:pos x="27" y="257"/>
                </a:cxn>
                <a:cxn ang="0">
                  <a:pos x="41" y="274"/>
                </a:cxn>
                <a:cxn ang="0">
                  <a:pos x="41" y="263"/>
                </a:cxn>
                <a:cxn ang="0">
                  <a:pos x="36" y="260"/>
                </a:cxn>
                <a:cxn ang="0">
                  <a:pos x="51" y="246"/>
                </a:cxn>
                <a:cxn ang="0">
                  <a:pos x="80" y="233"/>
                </a:cxn>
                <a:cxn ang="0">
                  <a:pos x="81" y="217"/>
                </a:cxn>
                <a:cxn ang="0">
                  <a:pos x="83" y="202"/>
                </a:cxn>
                <a:cxn ang="0">
                  <a:pos x="78" y="179"/>
                </a:cxn>
                <a:cxn ang="0">
                  <a:pos x="73" y="165"/>
                </a:cxn>
                <a:cxn ang="0">
                  <a:pos x="74" y="153"/>
                </a:cxn>
                <a:cxn ang="0">
                  <a:pos x="83" y="145"/>
                </a:cxn>
                <a:cxn ang="0">
                  <a:pos x="91" y="139"/>
                </a:cxn>
                <a:cxn ang="0">
                  <a:pos x="103" y="128"/>
                </a:cxn>
                <a:cxn ang="0">
                  <a:pos x="120" y="113"/>
                </a:cxn>
                <a:cxn ang="0">
                  <a:pos x="144" y="104"/>
                </a:cxn>
                <a:cxn ang="0">
                  <a:pos x="169" y="74"/>
                </a:cxn>
              </a:cxnLst>
              <a:rect l="0" t="0" r="r" b="b"/>
              <a:pathLst>
                <a:path w="169" h="276">
                  <a:moveTo>
                    <a:pt x="169" y="71"/>
                  </a:moveTo>
                  <a:lnTo>
                    <a:pt x="169" y="71"/>
                  </a:lnTo>
                  <a:lnTo>
                    <a:pt x="167" y="57"/>
                  </a:lnTo>
                  <a:lnTo>
                    <a:pt x="165" y="47"/>
                  </a:lnTo>
                  <a:lnTo>
                    <a:pt x="165" y="40"/>
                  </a:lnTo>
                  <a:lnTo>
                    <a:pt x="165" y="40"/>
                  </a:lnTo>
                  <a:lnTo>
                    <a:pt x="165" y="21"/>
                  </a:lnTo>
                  <a:lnTo>
                    <a:pt x="164" y="1"/>
                  </a:lnTo>
                  <a:lnTo>
                    <a:pt x="164" y="1"/>
                  </a:lnTo>
                  <a:lnTo>
                    <a:pt x="164" y="0"/>
                  </a:lnTo>
                  <a:lnTo>
                    <a:pt x="164" y="0"/>
                  </a:lnTo>
                  <a:lnTo>
                    <a:pt x="152" y="5"/>
                  </a:lnTo>
                  <a:lnTo>
                    <a:pt x="147" y="10"/>
                  </a:lnTo>
                  <a:lnTo>
                    <a:pt x="147" y="10"/>
                  </a:lnTo>
                  <a:lnTo>
                    <a:pt x="145" y="11"/>
                  </a:lnTo>
                  <a:lnTo>
                    <a:pt x="141" y="11"/>
                  </a:lnTo>
                  <a:lnTo>
                    <a:pt x="138" y="11"/>
                  </a:lnTo>
                  <a:lnTo>
                    <a:pt x="135" y="12"/>
                  </a:lnTo>
                  <a:lnTo>
                    <a:pt x="135" y="12"/>
                  </a:lnTo>
                  <a:lnTo>
                    <a:pt x="132" y="14"/>
                  </a:lnTo>
                  <a:lnTo>
                    <a:pt x="130" y="14"/>
                  </a:lnTo>
                  <a:lnTo>
                    <a:pt x="125" y="12"/>
                  </a:lnTo>
                  <a:lnTo>
                    <a:pt x="125" y="12"/>
                  </a:lnTo>
                  <a:lnTo>
                    <a:pt x="124" y="12"/>
                  </a:lnTo>
                  <a:lnTo>
                    <a:pt x="122" y="14"/>
                  </a:lnTo>
                  <a:lnTo>
                    <a:pt x="121" y="18"/>
                  </a:lnTo>
                  <a:lnTo>
                    <a:pt x="121" y="18"/>
                  </a:lnTo>
                  <a:lnTo>
                    <a:pt x="120" y="20"/>
                  </a:lnTo>
                  <a:lnTo>
                    <a:pt x="117" y="20"/>
                  </a:lnTo>
                  <a:lnTo>
                    <a:pt x="111" y="20"/>
                  </a:lnTo>
                  <a:lnTo>
                    <a:pt x="111" y="20"/>
                  </a:lnTo>
                  <a:lnTo>
                    <a:pt x="104" y="20"/>
                  </a:lnTo>
                  <a:lnTo>
                    <a:pt x="97" y="21"/>
                  </a:lnTo>
                  <a:lnTo>
                    <a:pt x="97" y="21"/>
                  </a:lnTo>
                  <a:lnTo>
                    <a:pt x="95" y="21"/>
                  </a:lnTo>
                  <a:lnTo>
                    <a:pt x="94" y="20"/>
                  </a:lnTo>
                  <a:lnTo>
                    <a:pt x="94" y="18"/>
                  </a:lnTo>
                  <a:lnTo>
                    <a:pt x="93" y="17"/>
                  </a:lnTo>
                  <a:lnTo>
                    <a:pt x="93" y="17"/>
                  </a:lnTo>
                  <a:lnTo>
                    <a:pt x="88" y="15"/>
                  </a:lnTo>
                  <a:lnTo>
                    <a:pt x="87" y="17"/>
                  </a:lnTo>
                  <a:lnTo>
                    <a:pt x="83" y="18"/>
                  </a:lnTo>
                  <a:lnTo>
                    <a:pt x="83" y="18"/>
                  </a:lnTo>
                  <a:lnTo>
                    <a:pt x="73" y="17"/>
                  </a:lnTo>
                  <a:lnTo>
                    <a:pt x="73" y="17"/>
                  </a:lnTo>
                  <a:lnTo>
                    <a:pt x="73" y="22"/>
                  </a:lnTo>
                  <a:lnTo>
                    <a:pt x="73" y="22"/>
                  </a:lnTo>
                  <a:lnTo>
                    <a:pt x="71" y="27"/>
                  </a:lnTo>
                  <a:lnTo>
                    <a:pt x="73" y="31"/>
                  </a:lnTo>
                  <a:lnTo>
                    <a:pt x="74" y="40"/>
                  </a:lnTo>
                  <a:lnTo>
                    <a:pt x="77" y="49"/>
                  </a:lnTo>
                  <a:lnTo>
                    <a:pt x="80" y="57"/>
                  </a:lnTo>
                  <a:lnTo>
                    <a:pt x="80" y="57"/>
                  </a:lnTo>
                  <a:lnTo>
                    <a:pt x="90" y="67"/>
                  </a:lnTo>
                  <a:lnTo>
                    <a:pt x="90" y="67"/>
                  </a:lnTo>
                  <a:lnTo>
                    <a:pt x="91" y="69"/>
                  </a:lnTo>
                  <a:lnTo>
                    <a:pt x="91" y="72"/>
                  </a:lnTo>
                  <a:lnTo>
                    <a:pt x="90" y="75"/>
                  </a:lnTo>
                  <a:lnTo>
                    <a:pt x="90" y="82"/>
                  </a:lnTo>
                  <a:lnTo>
                    <a:pt x="90" y="82"/>
                  </a:lnTo>
                  <a:lnTo>
                    <a:pt x="88" y="88"/>
                  </a:lnTo>
                  <a:lnTo>
                    <a:pt x="87" y="91"/>
                  </a:lnTo>
                  <a:lnTo>
                    <a:pt x="84" y="91"/>
                  </a:lnTo>
                  <a:lnTo>
                    <a:pt x="81" y="92"/>
                  </a:lnTo>
                  <a:lnTo>
                    <a:pt x="81" y="92"/>
                  </a:lnTo>
                  <a:lnTo>
                    <a:pt x="78" y="96"/>
                  </a:lnTo>
                  <a:lnTo>
                    <a:pt x="78" y="101"/>
                  </a:lnTo>
                  <a:lnTo>
                    <a:pt x="80" y="108"/>
                  </a:lnTo>
                  <a:lnTo>
                    <a:pt x="80" y="108"/>
                  </a:lnTo>
                  <a:lnTo>
                    <a:pt x="78" y="108"/>
                  </a:lnTo>
                  <a:lnTo>
                    <a:pt x="77" y="105"/>
                  </a:lnTo>
                  <a:lnTo>
                    <a:pt x="71" y="99"/>
                  </a:lnTo>
                  <a:lnTo>
                    <a:pt x="64" y="88"/>
                  </a:lnTo>
                  <a:lnTo>
                    <a:pt x="64" y="88"/>
                  </a:lnTo>
                  <a:lnTo>
                    <a:pt x="64" y="84"/>
                  </a:lnTo>
                  <a:lnTo>
                    <a:pt x="66" y="79"/>
                  </a:lnTo>
                  <a:lnTo>
                    <a:pt x="67" y="72"/>
                  </a:lnTo>
                  <a:lnTo>
                    <a:pt x="68" y="67"/>
                  </a:lnTo>
                  <a:lnTo>
                    <a:pt x="68" y="67"/>
                  </a:lnTo>
                  <a:lnTo>
                    <a:pt x="67" y="65"/>
                  </a:lnTo>
                  <a:lnTo>
                    <a:pt x="66" y="64"/>
                  </a:lnTo>
                  <a:lnTo>
                    <a:pt x="61" y="64"/>
                  </a:lnTo>
                  <a:lnTo>
                    <a:pt x="56" y="65"/>
                  </a:lnTo>
                  <a:lnTo>
                    <a:pt x="56" y="65"/>
                  </a:lnTo>
                  <a:lnTo>
                    <a:pt x="53" y="64"/>
                  </a:lnTo>
                  <a:lnTo>
                    <a:pt x="49" y="61"/>
                  </a:lnTo>
                  <a:lnTo>
                    <a:pt x="44" y="58"/>
                  </a:lnTo>
                  <a:lnTo>
                    <a:pt x="44" y="58"/>
                  </a:lnTo>
                  <a:lnTo>
                    <a:pt x="0" y="74"/>
                  </a:lnTo>
                  <a:lnTo>
                    <a:pt x="3" y="85"/>
                  </a:lnTo>
                  <a:lnTo>
                    <a:pt x="2" y="85"/>
                  </a:lnTo>
                  <a:lnTo>
                    <a:pt x="4" y="91"/>
                  </a:lnTo>
                  <a:lnTo>
                    <a:pt x="4" y="91"/>
                  </a:lnTo>
                  <a:lnTo>
                    <a:pt x="12" y="92"/>
                  </a:lnTo>
                  <a:lnTo>
                    <a:pt x="19" y="94"/>
                  </a:lnTo>
                  <a:lnTo>
                    <a:pt x="24" y="95"/>
                  </a:lnTo>
                  <a:lnTo>
                    <a:pt x="24" y="95"/>
                  </a:lnTo>
                  <a:lnTo>
                    <a:pt x="30" y="98"/>
                  </a:lnTo>
                  <a:lnTo>
                    <a:pt x="36" y="99"/>
                  </a:lnTo>
                  <a:lnTo>
                    <a:pt x="43" y="102"/>
                  </a:lnTo>
                  <a:lnTo>
                    <a:pt x="43" y="102"/>
                  </a:lnTo>
                  <a:lnTo>
                    <a:pt x="44" y="105"/>
                  </a:lnTo>
                  <a:lnTo>
                    <a:pt x="44" y="112"/>
                  </a:lnTo>
                  <a:lnTo>
                    <a:pt x="44" y="126"/>
                  </a:lnTo>
                  <a:lnTo>
                    <a:pt x="44" y="126"/>
                  </a:lnTo>
                  <a:lnTo>
                    <a:pt x="43" y="132"/>
                  </a:lnTo>
                  <a:lnTo>
                    <a:pt x="40" y="135"/>
                  </a:lnTo>
                  <a:lnTo>
                    <a:pt x="39" y="138"/>
                  </a:lnTo>
                  <a:lnTo>
                    <a:pt x="39" y="139"/>
                  </a:lnTo>
                  <a:lnTo>
                    <a:pt x="40" y="141"/>
                  </a:lnTo>
                  <a:lnTo>
                    <a:pt x="40" y="141"/>
                  </a:lnTo>
                  <a:lnTo>
                    <a:pt x="41" y="145"/>
                  </a:lnTo>
                  <a:lnTo>
                    <a:pt x="43" y="149"/>
                  </a:lnTo>
                  <a:lnTo>
                    <a:pt x="43" y="152"/>
                  </a:lnTo>
                  <a:lnTo>
                    <a:pt x="44" y="153"/>
                  </a:lnTo>
                  <a:lnTo>
                    <a:pt x="44" y="153"/>
                  </a:lnTo>
                  <a:lnTo>
                    <a:pt x="46" y="153"/>
                  </a:lnTo>
                  <a:lnTo>
                    <a:pt x="46" y="155"/>
                  </a:lnTo>
                  <a:lnTo>
                    <a:pt x="43" y="159"/>
                  </a:lnTo>
                  <a:lnTo>
                    <a:pt x="36" y="165"/>
                  </a:lnTo>
                  <a:lnTo>
                    <a:pt x="36" y="165"/>
                  </a:lnTo>
                  <a:lnTo>
                    <a:pt x="34" y="168"/>
                  </a:lnTo>
                  <a:lnTo>
                    <a:pt x="34" y="172"/>
                  </a:lnTo>
                  <a:lnTo>
                    <a:pt x="34" y="176"/>
                  </a:lnTo>
                  <a:lnTo>
                    <a:pt x="31" y="180"/>
                  </a:lnTo>
                  <a:lnTo>
                    <a:pt x="31" y="180"/>
                  </a:lnTo>
                  <a:lnTo>
                    <a:pt x="24" y="189"/>
                  </a:lnTo>
                  <a:lnTo>
                    <a:pt x="16" y="197"/>
                  </a:lnTo>
                  <a:lnTo>
                    <a:pt x="16" y="197"/>
                  </a:lnTo>
                  <a:lnTo>
                    <a:pt x="16" y="197"/>
                  </a:lnTo>
                  <a:lnTo>
                    <a:pt x="16" y="197"/>
                  </a:lnTo>
                  <a:lnTo>
                    <a:pt x="20" y="213"/>
                  </a:lnTo>
                  <a:lnTo>
                    <a:pt x="23" y="222"/>
                  </a:lnTo>
                  <a:lnTo>
                    <a:pt x="24" y="226"/>
                  </a:lnTo>
                  <a:lnTo>
                    <a:pt x="26" y="227"/>
                  </a:lnTo>
                  <a:lnTo>
                    <a:pt x="26" y="227"/>
                  </a:lnTo>
                  <a:lnTo>
                    <a:pt x="27" y="229"/>
                  </a:lnTo>
                  <a:lnTo>
                    <a:pt x="29" y="233"/>
                  </a:lnTo>
                  <a:lnTo>
                    <a:pt x="29" y="243"/>
                  </a:lnTo>
                  <a:lnTo>
                    <a:pt x="27" y="257"/>
                  </a:lnTo>
                  <a:lnTo>
                    <a:pt x="27" y="257"/>
                  </a:lnTo>
                  <a:lnTo>
                    <a:pt x="30" y="276"/>
                  </a:lnTo>
                  <a:lnTo>
                    <a:pt x="30" y="276"/>
                  </a:lnTo>
                  <a:lnTo>
                    <a:pt x="41" y="274"/>
                  </a:lnTo>
                  <a:lnTo>
                    <a:pt x="41" y="274"/>
                  </a:lnTo>
                  <a:lnTo>
                    <a:pt x="43" y="266"/>
                  </a:lnTo>
                  <a:lnTo>
                    <a:pt x="43" y="266"/>
                  </a:lnTo>
                  <a:lnTo>
                    <a:pt x="41" y="263"/>
                  </a:lnTo>
                  <a:lnTo>
                    <a:pt x="40" y="261"/>
                  </a:lnTo>
                  <a:lnTo>
                    <a:pt x="37" y="261"/>
                  </a:lnTo>
                  <a:lnTo>
                    <a:pt x="36" y="260"/>
                  </a:lnTo>
                  <a:lnTo>
                    <a:pt x="36" y="260"/>
                  </a:lnTo>
                  <a:lnTo>
                    <a:pt x="36" y="259"/>
                  </a:lnTo>
                  <a:lnTo>
                    <a:pt x="37" y="256"/>
                  </a:lnTo>
                  <a:lnTo>
                    <a:pt x="43" y="251"/>
                  </a:lnTo>
                  <a:lnTo>
                    <a:pt x="51" y="246"/>
                  </a:lnTo>
                  <a:lnTo>
                    <a:pt x="61" y="242"/>
                  </a:lnTo>
                  <a:lnTo>
                    <a:pt x="61" y="242"/>
                  </a:lnTo>
                  <a:lnTo>
                    <a:pt x="76" y="236"/>
                  </a:lnTo>
                  <a:lnTo>
                    <a:pt x="80" y="233"/>
                  </a:lnTo>
                  <a:lnTo>
                    <a:pt x="81" y="229"/>
                  </a:lnTo>
                  <a:lnTo>
                    <a:pt x="81" y="229"/>
                  </a:lnTo>
                  <a:lnTo>
                    <a:pt x="81" y="224"/>
                  </a:lnTo>
                  <a:lnTo>
                    <a:pt x="81" y="217"/>
                  </a:lnTo>
                  <a:lnTo>
                    <a:pt x="81" y="212"/>
                  </a:lnTo>
                  <a:lnTo>
                    <a:pt x="83" y="206"/>
                  </a:lnTo>
                  <a:lnTo>
                    <a:pt x="83" y="206"/>
                  </a:lnTo>
                  <a:lnTo>
                    <a:pt x="83" y="202"/>
                  </a:lnTo>
                  <a:lnTo>
                    <a:pt x="83" y="199"/>
                  </a:lnTo>
                  <a:lnTo>
                    <a:pt x="80" y="186"/>
                  </a:lnTo>
                  <a:lnTo>
                    <a:pt x="80" y="186"/>
                  </a:lnTo>
                  <a:lnTo>
                    <a:pt x="78" y="179"/>
                  </a:lnTo>
                  <a:lnTo>
                    <a:pt x="76" y="173"/>
                  </a:lnTo>
                  <a:lnTo>
                    <a:pt x="74" y="169"/>
                  </a:lnTo>
                  <a:lnTo>
                    <a:pt x="73" y="165"/>
                  </a:lnTo>
                  <a:lnTo>
                    <a:pt x="73" y="165"/>
                  </a:lnTo>
                  <a:lnTo>
                    <a:pt x="71" y="160"/>
                  </a:lnTo>
                  <a:lnTo>
                    <a:pt x="71" y="156"/>
                  </a:lnTo>
                  <a:lnTo>
                    <a:pt x="73" y="155"/>
                  </a:lnTo>
                  <a:lnTo>
                    <a:pt x="74" y="153"/>
                  </a:lnTo>
                  <a:lnTo>
                    <a:pt x="74" y="153"/>
                  </a:lnTo>
                  <a:lnTo>
                    <a:pt x="77" y="153"/>
                  </a:lnTo>
                  <a:lnTo>
                    <a:pt x="78" y="152"/>
                  </a:lnTo>
                  <a:lnTo>
                    <a:pt x="83" y="145"/>
                  </a:lnTo>
                  <a:lnTo>
                    <a:pt x="83" y="145"/>
                  </a:lnTo>
                  <a:lnTo>
                    <a:pt x="84" y="142"/>
                  </a:lnTo>
                  <a:lnTo>
                    <a:pt x="87" y="139"/>
                  </a:lnTo>
                  <a:lnTo>
                    <a:pt x="91" y="139"/>
                  </a:lnTo>
                  <a:lnTo>
                    <a:pt x="95" y="136"/>
                  </a:lnTo>
                  <a:lnTo>
                    <a:pt x="95" y="136"/>
                  </a:lnTo>
                  <a:lnTo>
                    <a:pt x="100" y="132"/>
                  </a:lnTo>
                  <a:lnTo>
                    <a:pt x="103" y="128"/>
                  </a:lnTo>
                  <a:lnTo>
                    <a:pt x="107" y="123"/>
                  </a:lnTo>
                  <a:lnTo>
                    <a:pt x="113" y="118"/>
                  </a:lnTo>
                  <a:lnTo>
                    <a:pt x="113" y="118"/>
                  </a:lnTo>
                  <a:lnTo>
                    <a:pt x="120" y="113"/>
                  </a:lnTo>
                  <a:lnTo>
                    <a:pt x="128" y="111"/>
                  </a:lnTo>
                  <a:lnTo>
                    <a:pt x="135" y="108"/>
                  </a:lnTo>
                  <a:lnTo>
                    <a:pt x="144" y="104"/>
                  </a:lnTo>
                  <a:lnTo>
                    <a:pt x="144" y="104"/>
                  </a:lnTo>
                  <a:lnTo>
                    <a:pt x="152" y="96"/>
                  </a:lnTo>
                  <a:lnTo>
                    <a:pt x="161" y="86"/>
                  </a:lnTo>
                  <a:lnTo>
                    <a:pt x="167" y="76"/>
                  </a:lnTo>
                  <a:lnTo>
                    <a:pt x="169" y="74"/>
                  </a:lnTo>
                  <a:lnTo>
                    <a:pt x="169" y="71"/>
                  </a:lnTo>
                  <a:lnTo>
                    <a:pt x="169" y="7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1" name="Freeform 347">
              <a:extLst>
                <a:ext uri="{FF2B5EF4-FFF2-40B4-BE49-F238E27FC236}">
                  <a16:creationId xmlns:a16="http://schemas.microsoft.com/office/drawing/2014/main" id="{99D6DE23-929D-3944-BBA2-048CA0385E4D}"/>
                </a:ext>
              </a:extLst>
            </p:cNvPr>
            <p:cNvSpPr>
              <a:spLocks/>
            </p:cNvSpPr>
            <p:nvPr/>
          </p:nvSpPr>
          <p:spPr bwMode="auto">
            <a:xfrm>
              <a:off x="5007057" y="4333416"/>
              <a:ext cx="258962" cy="260442"/>
            </a:xfrm>
            <a:custGeom>
              <a:avLst/>
              <a:gdLst/>
              <a:ahLst/>
              <a:cxnLst>
                <a:cxn ang="0">
                  <a:pos x="162" y="135"/>
                </a:cxn>
                <a:cxn ang="0">
                  <a:pos x="158" y="125"/>
                </a:cxn>
                <a:cxn ang="0">
                  <a:pos x="156" y="112"/>
                </a:cxn>
                <a:cxn ang="0">
                  <a:pos x="155" y="109"/>
                </a:cxn>
                <a:cxn ang="0">
                  <a:pos x="159" y="99"/>
                </a:cxn>
                <a:cxn ang="0">
                  <a:pos x="156" y="94"/>
                </a:cxn>
                <a:cxn ang="0">
                  <a:pos x="151" y="85"/>
                </a:cxn>
                <a:cxn ang="0">
                  <a:pos x="156" y="61"/>
                </a:cxn>
                <a:cxn ang="0">
                  <a:pos x="131" y="32"/>
                </a:cxn>
                <a:cxn ang="0">
                  <a:pos x="69" y="5"/>
                </a:cxn>
                <a:cxn ang="0">
                  <a:pos x="62" y="15"/>
                </a:cxn>
                <a:cxn ang="0">
                  <a:pos x="61" y="18"/>
                </a:cxn>
                <a:cxn ang="0">
                  <a:pos x="65" y="24"/>
                </a:cxn>
                <a:cxn ang="0">
                  <a:pos x="58" y="25"/>
                </a:cxn>
                <a:cxn ang="0">
                  <a:pos x="38" y="24"/>
                </a:cxn>
                <a:cxn ang="0">
                  <a:pos x="34" y="22"/>
                </a:cxn>
                <a:cxn ang="0">
                  <a:pos x="38" y="0"/>
                </a:cxn>
                <a:cxn ang="0">
                  <a:pos x="17" y="2"/>
                </a:cxn>
                <a:cxn ang="0">
                  <a:pos x="21" y="12"/>
                </a:cxn>
                <a:cxn ang="0">
                  <a:pos x="21" y="20"/>
                </a:cxn>
                <a:cxn ang="0">
                  <a:pos x="15" y="22"/>
                </a:cxn>
                <a:cxn ang="0">
                  <a:pos x="20" y="34"/>
                </a:cxn>
                <a:cxn ang="0">
                  <a:pos x="11" y="49"/>
                </a:cxn>
                <a:cxn ang="0">
                  <a:pos x="0" y="57"/>
                </a:cxn>
                <a:cxn ang="0">
                  <a:pos x="7" y="82"/>
                </a:cxn>
                <a:cxn ang="0">
                  <a:pos x="14" y="94"/>
                </a:cxn>
                <a:cxn ang="0">
                  <a:pos x="18" y="108"/>
                </a:cxn>
                <a:cxn ang="0">
                  <a:pos x="24" y="121"/>
                </a:cxn>
                <a:cxn ang="0">
                  <a:pos x="20" y="122"/>
                </a:cxn>
                <a:cxn ang="0">
                  <a:pos x="14" y="115"/>
                </a:cxn>
                <a:cxn ang="0">
                  <a:pos x="11" y="118"/>
                </a:cxn>
                <a:cxn ang="0">
                  <a:pos x="24" y="125"/>
                </a:cxn>
                <a:cxn ang="0">
                  <a:pos x="31" y="126"/>
                </a:cxn>
                <a:cxn ang="0">
                  <a:pos x="50" y="133"/>
                </a:cxn>
                <a:cxn ang="0">
                  <a:pos x="58" y="139"/>
                </a:cxn>
                <a:cxn ang="0">
                  <a:pos x="71" y="140"/>
                </a:cxn>
                <a:cxn ang="0">
                  <a:pos x="72" y="139"/>
                </a:cxn>
                <a:cxn ang="0">
                  <a:pos x="81" y="152"/>
                </a:cxn>
                <a:cxn ang="0">
                  <a:pos x="84" y="172"/>
                </a:cxn>
                <a:cxn ang="0">
                  <a:pos x="98" y="172"/>
                </a:cxn>
                <a:cxn ang="0">
                  <a:pos x="104" y="172"/>
                </a:cxn>
                <a:cxn ang="0">
                  <a:pos x="106" y="176"/>
                </a:cxn>
                <a:cxn ang="0">
                  <a:pos x="115" y="175"/>
                </a:cxn>
                <a:cxn ang="0">
                  <a:pos x="128" y="175"/>
                </a:cxn>
                <a:cxn ang="0">
                  <a:pos x="132" y="173"/>
                </a:cxn>
                <a:cxn ang="0">
                  <a:pos x="136" y="167"/>
                </a:cxn>
                <a:cxn ang="0">
                  <a:pos x="143" y="169"/>
                </a:cxn>
                <a:cxn ang="0">
                  <a:pos x="149" y="166"/>
                </a:cxn>
                <a:cxn ang="0">
                  <a:pos x="158" y="165"/>
                </a:cxn>
                <a:cxn ang="0">
                  <a:pos x="175" y="155"/>
                </a:cxn>
                <a:cxn ang="0">
                  <a:pos x="172" y="150"/>
                </a:cxn>
                <a:cxn ang="0">
                  <a:pos x="163" y="143"/>
                </a:cxn>
              </a:cxnLst>
              <a:rect l="0" t="0" r="r" b="b"/>
              <a:pathLst>
                <a:path w="175" h="176">
                  <a:moveTo>
                    <a:pt x="163" y="140"/>
                  </a:moveTo>
                  <a:lnTo>
                    <a:pt x="163" y="140"/>
                  </a:lnTo>
                  <a:lnTo>
                    <a:pt x="162" y="135"/>
                  </a:lnTo>
                  <a:lnTo>
                    <a:pt x="161" y="132"/>
                  </a:lnTo>
                  <a:lnTo>
                    <a:pt x="158" y="129"/>
                  </a:lnTo>
                  <a:lnTo>
                    <a:pt x="158" y="125"/>
                  </a:lnTo>
                  <a:lnTo>
                    <a:pt x="158" y="125"/>
                  </a:lnTo>
                  <a:lnTo>
                    <a:pt x="158" y="116"/>
                  </a:lnTo>
                  <a:lnTo>
                    <a:pt x="156" y="112"/>
                  </a:lnTo>
                  <a:lnTo>
                    <a:pt x="156" y="111"/>
                  </a:lnTo>
                  <a:lnTo>
                    <a:pt x="156" y="111"/>
                  </a:lnTo>
                  <a:lnTo>
                    <a:pt x="155" y="109"/>
                  </a:lnTo>
                  <a:lnTo>
                    <a:pt x="155" y="106"/>
                  </a:lnTo>
                  <a:lnTo>
                    <a:pt x="159" y="99"/>
                  </a:lnTo>
                  <a:lnTo>
                    <a:pt x="159" y="99"/>
                  </a:lnTo>
                  <a:lnTo>
                    <a:pt x="159" y="98"/>
                  </a:lnTo>
                  <a:lnTo>
                    <a:pt x="159" y="95"/>
                  </a:lnTo>
                  <a:lnTo>
                    <a:pt x="156" y="94"/>
                  </a:lnTo>
                  <a:lnTo>
                    <a:pt x="152" y="89"/>
                  </a:lnTo>
                  <a:lnTo>
                    <a:pt x="151" y="85"/>
                  </a:lnTo>
                  <a:lnTo>
                    <a:pt x="151" y="85"/>
                  </a:lnTo>
                  <a:lnTo>
                    <a:pt x="151" y="82"/>
                  </a:lnTo>
                  <a:lnTo>
                    <a:pt x="152" y="76"/>
                  </a:lnTo>
                  <a:lnTo>
                    <a:pt x="156" y="61"/>
                  </a:lnTo>
                  <a:lnTo>
                    <a:pt x="156" y="61"/>
                  </a:lnTo>
                  <a:lnTo>
                    <a:pt x="131" y="42"/>
                  </a:lnTo>
                  <a:lnTo>
                    <a:pt x="131" y="32"/>
                  </a:lnTo>
                  <a:lnTo>
                    <a:pt x="71" y="0"/>
                  </a:lnTo>
                  <a:lnTo>
                    <a:pt x="71" y="0"/>
                  </a:lnTo>
                  <a:lnTo>
                    <a:pt x="69" y="5"/>
                  </a:lnTo>
                  <a:lnTo>
                    <a:pt x="68" y="10"/>
                  </a:lnTo>
                  <a:lnTo>
                    <a:pt x="65" y="12"/>
                  </a:lnTo>
                  <a:lnTo>
                    <a:pt x="62" y="15"/>
                  </a:lnTo>
                  <a:lnTo>
                    <a:pt x="62" y="15"/>
                  </a:lnTo>
                  <a:lnTo>
                    <a:pt x="61" y="17"/>
                  </a:lnTo>
                  <a:lnTo>
                    <a:pt x="61" y="18"/>
                  </a:lnTo>
                  <a:lnTo>
                    <a:pt x="64" y="21"/>
                  </a:lnTo>
                  <a:lnTo>
                    <a:pt x="65" y="24"/>
                  </a:lnTo>
                  <a:lnTo>
                    <a:pt x="65" y="24"/>
                  </a:lnTo>
                  <a:lnTo>
                    <a:pt x="64" y="25"/>
                  </a:lnTo>
                  <a:lnTo>
                    <a:pt x="64" y="25"/>
                  </a:lnTo>
                  <a:lnTo>
                    <a:pt x="58" y="25"/>
                  </a:lnTo>
                  <a:lnTo>
                    <a:pt x="52" y="24"/>
                  </a:lnTo>
                  <a:lnTo>
                    <a:pt x="44" y="22"/>
                  </a:lnTo>
                  <a:lnTo>
                    <a:pt x="38" y="24"/>
                  </a:lnTo>
                  <a:lnTo>
                    <a:pt x="38" y="24"/>
                  </a:lnTo>
                  <a:lnTo>
                    <a:pt x="35" y="24"/>
                  </a:lnTo>
                  <a:lnTo>
                    <a:pt x="34" y="22"/>
                  </a:lnTo>
                  <a:lnTo>
                    <a:pt x="34" y="17"/>
                  </a:lnTo>
                  <a:lnTo>
                    <a:pt x="35" y="8"/>
                  </a:lnTo>
                  <a:lnTo>
                    <a:pt x="38" y="0"/>
                  </a:lnTo>
                  <a:lnTo>
                    <a:pt x="24" y="0"/>
                  </a:lnTo>
                  <a:lnTo>
                    <a:pt x="24" y="0"/>
                  </a:lnTo>
                  <a:lnTo>
                    <a:pt x="17" y="2"/>
                  </a:lnTo>
                  <a:lnTo>
                    <a:pt x="20" y="10"/>
                  </a:lnTo>
                  <a:lnTo>
                    <a:pt x="20" y="10"/>
                  </a:lnTo>
                  <a:lnTo>
                    <a:pt x="21" y="12"/>
                  </a:lnTo>
                  <a:lnTo>
                    <a:pt x="21" y="17"/>
                  </a:lnTo>
                  <a:lnTo>
                    <a:pt x="21" y="20"/>
                  </a:lnTo>
                  <a:lnTo>
                    <a:pt x="21" y="20"/>
                  </a:lnTo>
                  <a:lnTo>
                    <a:pt x="20" y="22"/>
                  </a:lnTo>
                  <a:lnTo>
                    <a:pt x="15" y="22"/>
                  </a:lnTo>
                  <a:lnTo>
                    <a:pt x="15" y="22"/>
                  </a:lnTo>
                  <a:lnTo>
                    <a:pt x="15" y="29"/>
                  </a:lnTo>
                  <a:lnTo>
                    <a:pt x="15" y="31"/>
                  </a:lnTo>
                  <a:lnTo>
                    <a:pt x="20" y="34"/>
                  </a:lnTo>
                  <a:lnTo>
                    <a:pt x="20" y="34"/>
                  </a:lnTo>
                  <a:lnTo>
                    <a:pt x="15" y="42"/>
                  </a:lnTo>
                  <a:lnTo>
                    <a:pt x="11" y="49"/>
                  </a:lnTo>
                  <a:lnTo>
                    <a:pt x="7" y="52"/>
                  </a:lnTo>
                  <a:lnTo>
                    <a:pt x="7" y="52"/>
                  </a:lnTo>
                  <a:lnTo>
                    <a:pt x="0" y="57"/>
                  </a:lnTo>
                  <a:lnTo>
                    <a:pt x="0" y="57"/>
                  </a:lnTo>
                  <a:lnTo>
                    <a:pt x="4" y="75"/>
                  </a:lnTo>
                  <a:lnTo>
                    <a:pt x="7" y="82"/>
                  </a:lnTo>
                  <a:lnTo>
                    <a:pt x="10" y="88"/>
                  </a:lnTo>
                  <a:lnTo>
                    <a:pt x="10" y="88"/>
                  </a:lnTo>
                  <a:lnTo>
                    <a:pt x="14" y="94"/>
                  </a:lnTo>
                  <a:lnTo>
                    <a:pt x="17" y="99"/>
                  </a:lnTo>
                  <a:lnTo>
                    <a:pt x="18" y="108"/>
                  </a:lnTo>
                  <a:lnTo>
                    <a:pt x="18" y="108"/>
                  </a:lnTo>
                  <a:lnTo>
                    <a:pt x="23" y="116"/>
                  </a:lnTo>
                  <a:lnTo>
                    <a:pt x="24" y="119"/>
                  </a:lnTo>
                  <a:lnTo>
                    <a:pt x="24" y="121"/>
                  </a:lnTo>
                  <a:lnTo>
                    <a:pt x="23" y="121"/>
                  </a:lnTo>
                  <a:lnTo>
                    <a:pt x="23" y="121"/>
                  </a:lnTo>
                  <a:lnTo>
                    <a:pt x="20" y="122"/>
                  </a:lnTo>
                  <a:lnTo>
                    <a:pt x="18" y="121"/>
                  </a:lnTo>
                  <a:lnTo>
                    <a:pt x="14" y="115"/>
                  </a:lnTo>
                  <a:lnTo>
                    <a:pt x="14" y="115"/>
                  </a:lnTo>
                  <a:lnTo>
                    <a:pt x="13" y="116"/>
                  </a:lnTo>
                  <a:lnTo>
                    <a:pt x="13" y="116"/>
                  </a:lnTo>
                  <a:lnTo>
                    <a:pt x="11" y="118"/>
                  </a:lnTo>
                  <a:lnTo>
                    <a:pt x="11" y="118"/>
                  </a:lnTo>
                  <a:lnTo>
                    <a:pt x="18" y="122"/>
                  </a:lnTo>
                  <a:lnTo>
                    <a:pt x="24" y="125"/>
                  </a:lnTo>
                  <a:lnTo>
                    <a:pt x="24" y="125"/>
                  </a:lnTo>
                  <a:lnTo>
                    <a:pt x="27" y="125"/>
                  </a:lnTo>
                  <a:lnTo>
                    <a:pt x="31" y="126"/>
                  </a:lnTo>
                  <a:lnTo>
                    <a:pt x="38" y="130"/>
                  </a:lnTo>
                  <a:lnTo>
                    <a:pt x="38" y="130"/>
                  </a:lnTo>
                  <a:lnTo>
                    <a:pt x="50" y="133"/>
                  </a:lnTo>
                  <a:lnTo>
                    <a:pt x="55" y="136"/>
                  </a:lnTo>
                  <a:lnTo>
                    <a:pt x="58" y="139"/>
                  </a:lnTo>
                  <a:lnTo>
                    <a:pt x="58" y="139"/>
                  </a:lnTo>
                  <a:lnTo>
                    <a:pt x="60" y="140"/>
                  </a:lnTo>
                  <a:lnTo>
                    <a:pt x="60" y="140"/>
                  </a:lnTo>
                  <a:lnTo>
                    <a:pt x="71" y="140"/>
                  </a:lnTo>
                  <a:lnTo>
                    <a:pt x="71" y="140"/>
                  </a:lnTo>
                  <a:lnTo>
                    <a:pt x="72" y="139"/>
                  </a:lnTo>
                  <a:lnTo>
                    <a:pt x="72" y="139"/>
                  </a:lnTo>
                  <a:lnTo>
                    <a:pt x="75" y="140"/>
                  </a:lnTo>
                  <a:lnTo>
                    <a:pt x="77" y="143"/>
                  </a:lnTo>
                  <a:lnTo>
                    <a:pt x="81" y="152"/>
                  </a:lnTo>
                  <a:lnTo>
                    <a:pt x="84" y="162"/>
                  </a:lnTo>
                  <a:lnTo>
                    <a:pt x="84" y="172"/>
                  </a:lnTo>
                  <a:lnTo>
                    <a:pt x="84" y="172"/>
                  </a:lnTo>
                  <a:lnTo>
                    <a:pt x="94" y="173"/>
                  </a:lnTo>
                  <a:lnTo>
                    <a:pt x="94" y="173"/>
                  </a:lnTo>
                  <a:lnTo>
                    <a:pt x="98" y="172"/>
                  </a:lnTo>
                  <a:lnTo>
                    <a:pt x="99" y="170"/>
                  </a:lnTo>
                  <a:lnTo>
                    <a:pt x="104" y="172"/>
                  </a:lnTo>
                  <a:lnTo>
                    <a:pt x="104" y="172"/>
                  </a:lnTo>
                  <a:lnTo>
                    <a:pt x="105" y="173"/>
                  </a:lnTo>
                  <a:lnTo>
                    <a:pt x="105" y="175"/>
                  </a:lnTo>
                  <a:lnTo>
                    <a:pt x="106" y="176"/>
                  </a:lnTo>
                  <a:lnTo>
                    <a:pt x="108" y="176"/>
                  </a:lnTo>
                  <a:lnTo>
                    <a:pt x="108" y="176"/>
                  </a:lnTo>
                  <a:lnTo>
                    <a:pt x="115" y="175"/>
                  </a:lnTo>
                  <a:lnTo>
                    <a:pt x="122" y="175"/>
                  </a:lnTo>
                  <a:lnTo>
                    <a:pt x="122" y="175"/>
                  </a:lnTo>
                  <a:lnTo>
                    <a:pt x="128" y="175"/>
                  </a:lnTo>
                  <a:lnTo>
                    <a:pt x="131" y="175"/>
                  </a:lnTo>
                  <a:lnTo>
                    <a:pt x="132" y="173"/>
                  </a:lnTo>
                  <a:lnTo>
                    <a:pt x="132" y="173"/>
                  </a:lnTo>
                  <a:lnTo>
                    <a:pt x="133" y="169"/>
                  </a:lnTo>
                  <a:lnTo>
                    <a:pt x="135" y="167"/>
                  </a:lnTo>
                  <a:lnTo>
                    <a:pt x="136" y="167"/>
                  </a:lnTo>
                  <a:lnTo>
                    <a:pt x="136" y="167"/>
                  </a:lnTo>
                  <a:lnTo>
                    <a:pt x="141" y="169"/>
                  </a:lnTo>
                  <a:lnTo>
                    <a:pt x="143" y="169"/>
                  </a:lnTo>
                  <a:lnTo>
                    <a:pt x="146" y="167"/>
                  </a:lnTo>
                  <a:lnTo>
                    <a:pt x="146" y="167"/>
                  </a:lnTo>
                  <a:lnTo>
                    <a:pt x="149" y="166"/>
                  </a:lnTo>
                  <a:lnTo>
                    <a:pt x="152" y="166"/>
                  </a:lnTo>
                  <a:lnTo>
                    <a:pt x="156" y="166"/>
                  </a:lnTo>
                  <a:lnTo>
                    <a:pt x="158" y="165"/>
                  </a:lnTo>
                  <a:lnTo>
                    <a:pt x="158" y="165"/>
                  </a:lnTo>
                  <a:lnTo>
                    <a:pt x="163" y="160"/>
                  </a:lnTo>
                  <a:lnTo>
                    <a:pt x="175" y="155"/>
                  </a:lnTo>
                  <a:lnTo>
                    <a:pt x="175" y="155"/>
                  </a:lnTo>
                  <a:lnTo>
                    <a:pt x="173" y="152"/>
                  </a:lnTo>
                  <a:lnTo>
                    <a:pt x="172" y="150"/>
                  </a:lnTo>
                  <a:lnTo>
                    <a:pt x="169" y="148"/>
                  </a:lnTo>
                  <a:lnTo>
                    <a:pt x="165" y="146"/>
                  </a:lnTo>
                  <a:lnTo>
                    <a:pt x="163" y="143"/>
                  </a:lnTo>
                  <a:lnTo>
                    <a:pt x="163" y="140"/>
                  </a:lnTo>
                  <a:lnTo>
                    <a:pt x="163" y="1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2" name="Freeform 348">
              <a:extLst>
                <a:ext uri="{FF2B5EF4-FFF2-40B4-BE49-F238E27FC236}">
                  <a16:creationId xmlns:a16="http://schemas.microsoft.com/office/drawing/2014/main" id="{E49B1286-C68F-BE49-87C7-F48D853F4932}"/>
                </a:ext>
              </a:extLst>
            </p:cNvPr>
            <p:cNvSpPr>
              <a:spLocks/>
            </p:cNvSpPr>
            <p:nvPr/>
          </p:nvSpPr>
          <p:spPr bwMode="auto">
            <a:xfrm>
              <a:off x="5084006" y="4540586"/>
              <a:ext cx="73989" cy="182014"/>
            </a:xfrm>
            <a:custGeom>
              <a:avLst/>
              <a:gdLst/>
              <a:ahLst/>
              <a:cxnLst>
                <a:cxn ang="0">
                  <a:pos x="49" y="82"/>
                </a:cxn>
                <a:cxn ang="0">
                  <a:pos x="39" y="72"/>
                </a:cxn>
                <a:cxn ang="0">
                  <a:pos x="37" y="74"/>
                </a:cxn>
                <a:cxn ang="0">
                  <a:pos x="33" y="74"/>
                </a:cxn>
                <a:cxn ang="0">
                  <a:pos x="23" y="59"/>
                </a:cxn>
                <a:cxn ang="0">
                  <a:pos x="20" y="50"/>
                </a:cxn>
                <a:cxn ang="0">
                  <a:pos x="23" y="35"/>
                </a:cxn>
                <a:cxn ang="0">
                  <a:pos x="23" y="25"/>
                </a:cxn>
                <a:cxn ang="0">
                  <a:pos x="22" y="22"/>
                </a:cxn>
                <a:cxn ang="0">
                  <a:pos x="17" y="3"/>
                </a:cxn>
                <a:cxn ang="0">
                  <a:pos x="19" y="0"/>
                </a:cxn>
                <a:cxn ang="0">
                  <a:pos x="8" y="0"/>
                </a:cxn>
                <a:cxn ang="0">
                  <a:pos x="15" y="16"/>
                </a:cxn>
                <a:cxn ang="0">
                  <a:pos x="13" y="18"/>
                </a:cxn>
                <a:cxn ang="0">
                  <a:pos x="10" y="18"/>
                </a:cxn>
                <a:cxn ang="0">
                  <a:pos x="9" y="19"/>
                </a:cxn>
                <a:cxn ang="0">
                  <a:pos x="8" y="33"/>
                </a:cxn>
                <a:cxn ang="0">
                  <a:pos x="9" y="46"/>
                </a:cxn>
                <a:cxn ang="0">
                  <a:pos x="10" y="46"/>
                </a:cxn>
                <a:cxn ang="0">
                  <a:pos x="8" y="47"/>
                </a:cxn>
                <a:cxn ang="0">
                  <a:pos x="2" y="50"/>
                </a:cxn>
                <a:cxn ang="0">
                  <a:pos x="2" y="59"/>
                </a:cxn>
                <a:cxn ang="0">
                  <a:pos x="0" y="66"/>
                </a:cxn>
                <a:cxn ang="0">
                  <a:pos x="0" y="67"/>
                </a:cxn>
                <a:cxn ang="0">
                  <a:pos x="3" y="73"/>
                </a:cxn>
                <a:cxn ang="0">
                  <a:pos x="3" y="73"/>
                </a:cxn>
                <a:cxn ang="0">
                  <a:pos x="12" y="79"/>
                </a:cxn>
                <a:cxn ang="0">
                  <a:pos x="15" y="80"/>
                </a:cxn>
                <a:cxn ang="0">
                  <a:pos x="25" y="79"/>
                </a:cxn>
                <a:cxn ang="0">
                  <a:pos x="27" y="82"/>
                </a:cxn>
                <a:cxn ang="0">
                  <a:pos x="26" y="87"/>
                </a:cxn>
                <a:cxn ang="0">
                  <a:pos x="23" y="99"/>
                </a:cxn>
                <a:cxn ang="0">
                  <a:pos x="23" y="103"/>
                </a:cxn>
                <a:cxn ang="0">
                  <a:pos x="36" y="120"/>
                </a:cxn>
                <a:cxn ang="0">
                  <a:pos x="39" y="123"/>
                </a:cxn>
                <a:cxn ang="0">
                  <a:pos x="37" y="116"/>
                </a:cxn>
                <a:cxn ang="0">
                  <a:pos x="40" y="107"/>
                </a:cxn>
                <a:cxn ang="0">
                  <a:pos x="43" y="106"/>
                </a:cxn>
                <a:cxn ang="0">
                  <a:pos x="47" y="103"/>
                </a:cxn>
                <a:cxn ang="0">
                  <a:pos x="49" y="97"/>
                </a:cxn>
                <a:cxn ang="0">
                  <a:pos x="50" y="87"/>
                </a:cxn>
                <a:cxn ang="0">
                  <a:pos x="49" y="82"/>
                </a:cxn>
              </a:cxnLst>
              <a:rect l="0" t="0" r="r" b="b"/>
              <a:pathLst>
                <a:path w="50" h="123">
                  <a:moveTo>
                    <a:pt x="49" y="82"/>
                  </a:moveTo>
                  <a:lnTo>
                    <a:pt x="49" y="82"/>
                  </a:lnTo>
                  <a:lnTo>
                    <a:pt x="39" y="72"/>
                  </a:lnTo>
                  <a:lnTo>
                    <a:pt x="39" y="72"/>
                  </a:lnTo>
                  <a:lnTo>
                    <a:pt x="37" y="74"/>
                  </a:lnTo>
                  <a:lnTo>
                    <a:pt x="37" y="74"/>
                  </a:lnTo>
                  <a:lnTo>
                    <a:pt x="36" y="76"/>
                  </a:lnTo>
                  <a:lnTo>
                    <a:pt x="33" y="74"/>
                  </a:lnTo>
                  <a:lnTo>
                    <a:pt x="27" y="69"/>
                  </a:lnTo>
                  <a:lnTo>
                    <a:pt x="23" y="59"/>
                  </a:lnTo>
                  <a:lnTo>
                    <a:pt x="20" y="50"/>
                  </a:lnTo>
                  <a:lnTo>
                    <a:pt x="20" y="50"/>
                  </a:lnTo>
                  <a:lnTo>
                    <a:pt x="20" y="42"/>
                  </a:lnTo>
                  <a:lnTo>
                    <a:pt x="23" y="35"/>
                  </a:lnTo>
                  <a:lnTo>
                    <a:pt x="23" y="29"/>
                  </a:lnTo>
                  <a:lnTo>
                    <a:pt x="23" y="25"/>
                  </a:lnTo>
                  <a:lnTo>
                    <a:pt x="22" y="22"/>
                  </a:lnTo>
                  <a:lnTo>
                    <a:pt x="22" y="22"/>
                  </a:lnTo>
                  <a:lnTo>
                    <a:pt x="17" y="9"/>
                  </a:lnTo>
                  <a:lnTo>
                    <a:pt x="17" y="3"/>
                  </a:lnTo>
                  <a:lnTo>
                    <a:pt x="19" y="0"/>
                  </a:lnTo>
                  <a:lnTo>
                    <a:pt x="19" y="0"/>
                  </a:lnTo>
                  <a:lnTo>
                    <a:pt x="8" y="0"/>
                  </a:lnTo>
                  <a:lnTo>
                    <a:pt x="8" y="0"/>
                  </a:lnTo>
                  <a:lnTo>
                    <a:pt x="12" y="9"/>
                  </a:lnTo>
                  <a:lnTo>
                    <a:pt x="15" y="16"/>
                  </a:lnTo>
                  <a:lnTo>
                    <a:pt x="15" y="16"/>
                  </a:lnTo>
                  <a:lnTo>
                    <a:pt x="13" y="18"/>
                  </a:lnTo>
                  <a:lnTo>
                    <a:pt x="12" y="18"/>
                  </a:lnTo>
                  <a:lnTo>
                    <a:pt x="10" y="18"/>
                  </a:lnTo>
                  <a:lnTo>
                    <a:pt x="9" y="19"/>
                  </a:lnTo>
                  <a:lnTo>
                    <a:pt x="9" y="19"/>
                  </a:lnTo>
                  <a:lnTo>
                    <a:pt x="8" y="25"/>
                  </a:lnTo>
                  <a:lnTo>
                    <a:pt x="8" y="33"/>
                  </a:lnTo>
                  <a:lnTo>
                    <a:pt x="8" y="40"/>
                  </a:lnTo>
                  <a:lnTo>
                    <a:pt x="9" y="46"/>
                  </a:lnTo>
                  <a:lnTo>
                    <a:pt x="9" y="46"/>
                  </a:lnTo>
                  <a:lnTo>
                    <a:pt x="10" y="46"/>
                  </a:lnTo>
                  <a:lnTo>
                    <a:pt x="9" y="47"/>
                  </a:lnTo>
                  <a:lnTo>
                    <a:pt x="8" y="47"/>
                  </a:lnTo>
                  <a:lnTo>
                    <a:pt x="5" y="49"/>
                  </a:lnTo>
                  <a:lnTo>
                    <a:pt x="2" y="50"/>
                  </a:lnTo>
                  <a:lnTo>
                    <a:pt x="2" y="50"/>
                  </a:lnTo>
                  <a:lnTo>
                    <a:pt x="2" y="59"/>
                  </a:lnTo>
                  <a:lnTo>
                    <a:pt x="2" y="63"/>
                  </a:lnTo>
                  <a:lnTo>
                    <a:pt x="0" y="66"/>
                  </a:lnTo>
                  <a:lnTo>
                    <a:pt x="0" y="66"/>
                  </a:lnTo>
                  <a:lnTo>
                    <a:pt x="0" y="67"/>
                  </a:lnTo>
                  <a:lnTo>
                    <a:pt x="3" y="73"/>
                  </a:lnTo>
                  <a:lnTo>
                    <a:pt x="3" y="73"/>
                  </a:lnTo>
                  <a:lnTo>
                    <a:pt x="3" y="73"/>
                  </a:lnTo>
                  <a:lnTo>
                    <a:pt x="3" y="73"/>
                  </a:lnTo>
                  <a:lnTo>
                    <a:pt x="8" y="76"/>
                  </a:lnTo>
                  <a:lnTo>
                    <a:pt x="12" y="79"/>
                  </a:lnTo>
                  <a:lnTo>
                    <a:pt x="15" y="80"/>
                  </a:lnTo>
                  <a:lnTo>
                    <a:pt x="15" y="80"/>
                  </a:lnTo>
                  <a:lnTo>
                    <a:pt x="20" y="79"/>
                  </a:lnTo>
                  <a:lnTo>
                    <a:pt x="25" y="79"/>
                  </a:lnTo>
                  <a:lnTo>
                    <a:pt x="26" y="80"/>
                  </a:lnTo>
                  <a:lnTo>
                    <a:pt x="27" y="82"/>
                  </a:lnTo>
                  <a:lnTo>
                    <a:pt x="27" y="82"/>
                  </a:lnTo>
                  <a:lnTo>
                    <a:pt x="26" y="87"/>
                  </a:lnTo>
                  <a:lnTo>
                    <a:pt x="25" y="94"/>
                  </a:lnTo>
                  <a:lnTo>
                    <a:pt x="23" y="99"/>
                  </a:lnTo>
                  <a:lnTo>
                    <a:pt x="23" y="103"/>
                  </a:lnTo>
                  <a:lnTo>
                    <a:pt x="23" y="103"/>
                  </a:lnTo>
                  <a:lnTo>
                    <a:pt x="30" y="114"/>
                  </a:lnTo>
                  <a:lnTo>
                    <a:pt x="36" y="120"/>
                  </a:lnTo>
                  <a:lnTo>
                    <a:pt x="37" y="123"/>
                  </a:lnTo>
                  <a:lnTo>
                    <a:pt x="39" y="123"/>
                  </a:lnTo>
                  <a:lnTo>
                    <a:pt x="39" y="123"/>
                  </a:lnTo>
                  <a:lnTo>
                    <a:pt x="37" y="116"/>
                  </a:lnTo>
                  <a:lnTo>
                    <a:pt x="37" y="111"/>
                  </a:lnTo>
                  <a:lnTo>
                    <a:pt x="40" y="107"/>
                  </a:lnTo>
                  <a:lnTo>
                    <a:pt x="40" y="107"/>
                  </a:lnTo>
                  <a:lnTo>
                    <a:pt x="43" y="106"/>
                  </a:lnTo>
                  <a:lnTo>
                    <a:pt x="46" y="106"/>
                  </a:lnTo>
                  <a:lnTo>
                    <a:pt x="47" y="103"/>
                  </a:lnTo>
                  <a:lnTo>
                    <a:pt x="49" y="97"/>
                  </a:lnTo>
                  <a:lnTo>
                    <a:pt x="49" y="97"/>
                  </a:lnTo>
                  <a:lnTo>
                    <a:pt x="49" y="90"/>
                  </a:lnTo>
                  <a:lnTo>
                    <a:pt x="50" y="87"/>
                  </a:lnTo>
                  <a:lnTo>
                    <a:pt x="50" y="84"/>
                  </a:lnTo>
                  <a:lnTo>
                    <a:pt x="49" y="82"/>
                  </a:lnTo>
                  <a:lnTo>
                    <a:pt x="49" y="8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3" name="Freeform 352">
              <a:extLst>
                <a:ext uri="{FF2B5EF4-FFF2-40B4-BE49-F238E27FC236}">
                  <a16:creationId xmlns:a16="http://schemas.microsoft.com/office/drawing/2014/main" id="{B7200239-CD1B-0B46-BBCC-ABCE0E97E727}"/>
                </a:ext>
              </a:extLst>
            </p:cNvPr>
            <p:cNvSpPr>
              <a:spLocks/>
            </p:cNvSpPr>
            <p:nvPr/>
          </p:nvSpPr>
          <p:spPr bwMode="auto">
            <a:xfrm>
              <a:off x="5341488" y="3263533"/>
              <a:ext cx="79908" cy="66591"/>
            </a:xfrm>
            <a:custGeom>
              <a:avLst/>
              <a:gdLst/>
              <a:ahLst/>
              <a:cxnLst>
                <a:cxn ang="0">
                  <a:pos x="51" y="36"/>
                </a:cxn>
                <a:cxn ang="0">
                  <a:pos x="51" y="36"/>
                </a:cxn>
                <a:cxn ang="0">
                  <a:pos x="48" y="33"/>
                </a:cxn>
                <a:cxn ang="0">
                  <a:pos x="45" y="30"/>
                </a:cxn>
                <a:cxn ang="0">
                  <a:pos x="43" y="27"/>
                </a:cxn>
                <a:cxn ang="0">
                  <a:pos x="41" y="24"/>
                </a:cxn>
                <a:cxn ang="0">
                  <a:pos x="41" y="24"/>
                </a:cxn>
                <a:cxn ang="0">
                  <a:pos x="40" y="20"/>
                </a:cxn>
                <a:cxn ang="0">
                  <a:pos x="37" y="17"/>
                </a:cxn>
                <a:cxn ang="0">
                  <a:pos x="36" y="14"/>
                </a:cxn>
                <a:cxn ang="0">
                  <a:pos x="36" y="11"/>
                </a:cxn>
                <a:cxn ang="0">
                  <a:pos x="36" y="11"/>
                </a:cxn>
                <a:cxn ang="0">
                  <a:pos x="34" y="8"/>
                </a:cxn>
                <a:cxn ang="0">
                  <a:pos x="34" y="6"/>
                </a:cxn>
                <a:cxn ang="0">
                  <a:pos x="30" y="1"/>
                </a:cxn>
                <a:cxn ang="0">
                  <a:pos x="30" y="1"/>
                </a:cxn>
                <a:cxn ang="0">
                  <a:pos x="23" y="0"/>
                </a:cxn>
                <a:cxn ang="0">
                  <a:pos x="16" y="0"/>
                </a:cxn>
                <a:cxn ang="0">
                  <a:pos x="16" y="0"/>
                </a:cxn>
                <a:cxn ang="0">
                  <a:pos x="0" y="3"/>
                </a:cxn>
                <a:cxn ang="0">
                  <a:pos x="0" y="3"/>
                </a:cxn>
                <a:cxn ang="0">
                  <a:pos x="1" y="6"/>
                </a:cxn>
                <a:cxn ang="0">
                  <a:pos x="1" y="8"/>
                </a:cxn>
                <a:cxn ang="0">
                  <a:pos x="4" y="16"/>
                </a:cxn>
                <a:cxn ang="0">
                  <a:pos x="4" y="16"/>
                </a:cxn>
                <a:cxn ang="0">
                  <a:pos x="6" y="20"/>
                </a:cxn>
                <a:cxn ang="0">
                  <a:pos x="10" y="20"/>
                </a:cxn>
                <a:cxn ang="0">
                  <a:pos x="13" y="20"/>
                </a:cxn>
                <a:cxn ang="0">
                  <a:pos x="16" y="21"/>
                </a:cxn>
                <a:cxn ang="0">
                  <a:pos x="16" y="21"/>
                </a:cxn>
                <a:cxn ang="0">
                  <a:pos x="18" y="27"/>
                </a:cxn>
                <a:cxn ang="0">
                  <a:pos x="18" y="27"/>
                </a:cxn>
                <a:cxn ang="0">
                  <a:pos x="20" y="27"/>
                </a:cxn>
                <a:cxn ang="0">
                  <a:pos x="20" y="27"/>
                </a:cxn>
                <a:cxn ang="0">
                  <a:pos x="23" y="28"/>
                </a:cxn>
                <a:cxn ang="0">
                  <a:pos x="24" y="31"/>
                </a:cxn>
                <a:cxn ang="0">
                  <a:pos x="24" y="31"/>
                </a:cxn>
                <a:cxn ang="0">
                  <a:pos x="28" y="33"/>
                </a:cxn>
                <a:cxn ang="0">
                  <a:pos x="33" y="34"/>
                </a:cxn>
                <a:cxn ang="0">
                  <a:pos x="33" y="34"/>
                </a:cxn>
                <a:cxn ang="0">
                  <a:pos x="36" y="34"/>
                </a:cxn>
                <a:cxn ang="0">
                  <a:pos x="37" y="36"/>
                </a:cxn>
                <a:cxn ang="0">
                  <a:pos x="40" y="37"/>
                </a:cxn>
                <a:cxn ang="0">
                  <a:pos x="40" y="37"/>
                </a:cxn>
                <a:cxn ang="0">
                  <a:pos x="43" y="41"/>
                </a:cxn>
                <a:cxn ang="0">
                  <a:pos x="43" y="45"/>
                </a:cxn>
                <a:cxn ang="0">
                  <a:pos x="43" y="45"/>
                </a:cxn>
                <a:cxn ang="0">
                  <a:pos x="48" y="45"/>
                </a:cxn>
                <a:cxn ang="0">
                  <a:pos x="54" y="44"/>
                </a:cxn>
                <a:cxn ang="0">
                  <a:pos x="54" y="44"/>
                </a:cxn>
                <a:cxn ang="0">
                  <a:pos x="51" y="38"/>
                </a:cxn>
                <a:cxn ang="0">
                  <a:pos x="51" y="36"/>
                </a:cxn>
                <a:cxn ang="0">
                  <a:pos x="51" y="36"/>
                </a:cxn>
              </a:cxnLst>
              <a:rect l="0" t="0" r="r" b="b"/>
              <a:pathLst>
                <a:path w="54" h="45">
                  <a:moveTo>
                    <a:pt x="51" y="36"/>
                  </a:moveTo>
                  <a:lnTo>
                    <a:pt x="51" y="36"/>
                  </a:lnTo>
                  <a:lnTo>
                    <a:pt x="48" y="33"/>
                  </a:lnTo>
                  <a:lnTo>
                    <a:pt x="45" y="30"/>
                  </a:lnTo>
                  <a:lnTo>
                    <a:pt x="43" y="27"/>
                  </a:lnTo>
                  <a:lnTo>
                    <a:pt x="41" y="24"/>
                  </a:lnTo>
                  <a:lnTo>
                    <a:pt x="41" y="24"/>
                  </a:lnTo>
                  <a:lnTo>
                    <a:pt x="40" y="20"/>
                  </a:lnTo>
                  <a:lnTo>
                    <a:pt x="37" y="17"/>
                  </a:lnTo>
                  <a:lnTo>
                    <a:pt x="36" y="14"/>
                  </a:lnTo>
                  <a:lnTo>
                    <a:pt x="36" y="11"/>
                  </a:lnTo>
                  <a:lnTo>
                    <a:pt x="36" y="11"/>
                  </a:lnTo>
                  <a:lnTo>
                    <a:pt x="34" y="8"/>
                  </a:lnTo>
                  <a:lnTo>
                    <a:pt x="34" y="6"/>
                  </a:lnTo>
                  <a:lnTo>
                    <a:pt x="30" y="1"/>
                  </a:lnTo>
                  <a:lnTo>
                    <a:pt x="30" y="1"/>
                  </a:lnTo>
                  <a:lnTo>
                    <a:pt x="23" y="0"/>
                  </a:lnTo>
                  <a:lnTo>
                    <a:pt x="16" y="0"/>
                  </a:lnTo>
                  <a:lnTo>
                    <a:pt x="16" y="0"/>
                  </a:lnTo>
                  <a:lnTo>
                    <a:pt x="0" y="3"/>
                  </a:lnTo>
                  <a:lnTo>
                    <a:pt x="0" y="3"/>
                  </a:lnTo>
                  <a:lnTo>
                    <a:pt x="1" y="6"/>
                  </a:lnTo>
                  <a:lnTo>
                    <a:pt x="1" y="8"/>
                  </a:lnTo>
                  <a:lnTo>
                    <a:pt x="4" y="16"/>
                  </a:lnTo>
                  <a:lnTo>
                    <a:pt x="4" y="16"/>
                  </a:lnTo>
                  <a:lnTo>
                    <a:pt x="6" y="20"/>
                  </a:lnTo>
                  <a:lnTo>
                    <a:pt x="10" y="20"/>
                  </a:lnTo>
                  <a:lnTo>
                    <a:pt x="13" y="20"/>
                  </a:lnTo>
                  <a:lnTo>
                    <a:pt x="16" y="21"/>
                  </a:lnTo>
                  <a:lnTo>
                    <a:pt x="16" y="21"/>
                  </a:lnTo>
                  <a:lnTo>
                    <a:pt x="18" y="27"/>
                  </a:lnTo>
                  <a:lnTo>
                    <a:pt x="18" y="27"/>
                  </a:lnTo>
                  <a:lnTo>
                    <a:pt x="20" y="27"/>
                  </a:lnTo>
                  <a:lnTo>
                    <a:pt x="20" y="27"/>
                  </a:lnTo>
                  <a:lnTo>
                    <a:pt x="23" y="28"/>
                  </a:lnTo>
                  <a:lnTo>
                    <a:pt x="24" y="31"/>
                  </a:lnTo>
                  <a:lnTo>
                    <a:pt x="24" y="31"/>
                  </a:lnTo>
                  <a:lnTo>
                    <a:pt x="28" y="33"/>
                  </a:lnTo>
                  <a:lnTo>
                    <a:pt x="33" y="34"/>
                  </a:lnTo>
                  <a:lnTo>
                    <a:pt x="33" y="34"/>
                  </a:lnTo>
                  <a:lnTo>
                    <a:pt x="36" y="34"/>
                  </a:lnTo>
                  <a:lnTo>
                    <a:pt x="37" y="36"/>
                  </a:lnTo>
                  <a:lnTo>
                    <a:pt x="40" y="37"/>
                  </a:lnTo>
                  <a:lnTo>
                    <a:pt x="40" y="37"/>
                  </a:lnTo>
                  <a:lnTo>
                    <a:pt x="43" y="41"/>
                  </a:lnTo>
                  <a:lnTo>
                    <a:pt x="43" y="45"/>
                  </a:lnTo>
                  <a:lnTo>
                    <a:pt x="43" y="45"/>
                  </a:lnTo>
                  <a:lnTo>
                    <a:pt x="48" y="45"/>
                  </a:lnTo>
                  <a:lnTo>
                    <a:pt x="54" y="44"/>
                  </a:lnTo>
                  <a:lnTo>
                    <a:pt x="54" y="44"/>
                  </a:lnTo>
                  <a:lnTo>
                    <a:pt x="51" y="38"/>
                  </a:lnTo>
                  <a:lnTo>
                    <a:pt x="51" y="36"/>
                  </a:lnTo>
                  <a:lnTo>
                    <a:pt x="51"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4" name="Freeform 353">
              <a:extLst>
                <a:ext uri="{FF2B5EF4-FFF2-40B4-BE49-F238E27FC236}">
                  <a16:creationId xmlns:a16="http://schemas.microsoft.com/office/drawing/2014/main" id="{62533E18-B6D6-3442-8097-8FCB658A33F8}"/>
                </a:ext>
              </a:extLst>
            </p:cNvPr>
            <p:cNvSpPr>
              <a:spLocks noEditPoints="1"/>
            </p:cNvSpPr>
            <p:nvPr/>
          </p:nvSpPr>
          <p:spPr bwMode="auto">
            <a:xfrm>
              <a:off x="5377002" y="3247254"/>
              <a:ext cx="113944" cy="96186"/>
            </a:xfrm>
            <a:custGeom>
              <a:avLst/>
              <a:gdLst/>
              <a:ahLst/>
              <a:cxnLst>
                <a:cxn ang="0">
                  <a:pos x="76" y="22"/>
                </a:cxn>
                <a:cxn ang="0">
                  <a:pos x="61" y="4"/>
                </a:cxn>
                <a:cxn ang="0">
                  <a:pos x="60" y="7"/>
                </a:cxn>
                <a:cxn ang="0">
                  <a:pos x="53" y="10"/>
                </a:cxn>
                <a:cxn ang="0">
                  <a:pos x="51" y="11"/>
                </a:cxn>
                <a:cxn ang="0">
                  <a:pos x="49" y="12"/>
                </a:cxn>
                <a:cxn ang="0">
                  <a:pos x="44" y="11"/>
                </a:cxn>
                <a:cxn ang="0">
                  <a:pos x="41" y="10"/>
                </a:cxn>
                <a:cxn ang="0">
                  <a:pos x="36" y="4"/>
                </a:cxn>
                <a:cxn ang="0">
                  <a:pos x="31" y="2"/>
                </a:cxn>
                <a:cxn ang="0">
                  <a:pos x="27" y="0"/>
                </a:cxn>
                <a:cxn ang="0">
                  <a:pos x="24" y="7"/>
                </a:cxn>
                <a:cxn ang="0">
                  <a:pos x="27" y="10"/>
                </a:cxn>
                <a:cxn ang="0">
                  <a:pos x="29" y="14"/>
                </a:cxn>
                <a:cxn ang="0">
                  <a:pos x="26" y="14"/>
                </a:cxn>
                <a:cxn ang="0">
                  <a:pos x="19" y="14"/>
                </a:cxn>
                <a:cxn ang="0">
                  <a:pos x="17" y="12"/>
                </a:cxn>
                <a:cxn ang="0">
                  <a:pos x="7" y="8"/>
                </a:cxn>
                <a:cxn ang="0">
                  <a:pos x="6" y="10"/>
                </a:cxn>
                <a:cxn ang="0">
                  <a:pos x="9" y="15"/>
                </a:cxn>
                <a:cxn ang="0">
                  <a:pos x="12" y="22"/>
                </a:cxn>
                <a:cxn ang="0">
                  <a:pos x="12" y="25"/>
                </a:cxn>
                <a:cxn ang="0">
                  <a:pos x="16" y="31"/>
                </a:cxn>
                <a:cxn ang="0">
                  <a:pos x="17" y="35"/>
                </a:cxn>
                <a:cxn ang="0">
                  <a:pos x="21" y="41"/>
                </a:cxn>
                <a:cxn ang="0">
                  <a:pos x="27" y="47"/>
                </a:cxn>
                <a:cxn ang="0">
                  <a:pos x="27" y="49"/>
                </a:cxn>
                <a:cxn ang="0">
                  <a:pos x="30" y="55"/>
                </a:cxn>
                <a:cxn ang="0">
                  <a:pos x="49" y="42"/>
                </a:cxn>
                <a:cxn ang="0">
                  <a:pos x="51" y="42"/>
                </a:cxn>
                <a:cxn ang="0">
                  <a:pos x="54" y="48"/>
                </a:cxn>
                <a:cxn ang="0">
                  <a:pos x="51" y="56"/>
                </a:cxn>
                <a:cxn ang="0">
                  <a:pos x="53" y="59"/>
                </a:cxn>
                <a:cxn ang="0">
                  <a:pos x="64" y="65"/>
                </a:cxn>
                <a:cxn ang="0">
                  <a:pos x="64" y="61"/>
                </a:cxn>
                <a:cxn ang="0">
                  <a:pos x="67" y="56"/>
                </a:cxn>
                <a:cxn ang="0">
                  <a:pos x="76" y="38"/>
                </a:cxn>
                <a:cxn ang="0">
                  <a:pos x="77" y="25"/>
                </a:cxn>
                <a:cxn ang="0">
                  <a:pos x="76" y="22"/>
                </a:cxn>
                <a:cxn ang="0">
                  <a:pos x="9" y="45"/>
                </a:cxn>
                <a:cxn ang="0">
                  <a:pos x="0" y="42"/>
                </a:cxn>
                <a:cxn ang="0">
                  <a:pos x="2" y="47"/>
                </a:cxn>
                <a:cxn ang="0">
                  <a:pos x="6" y="51"/>
                </a:cxn>
                <a:cxn ang="0">
                  <a:pos x="9" y="52"/>
                </a:cxn>
                <a:cxn ang="0">
                  <a:pos x="10" y="55"/>
                </a:cxn>
                <a:cxn ang="0">
                  <a:pos x="17" y="56"/>
                </a:cxn>
                <a:cxn ang="0">
                  <a:pos x="19" y="56"/>
                </a:cxn>
                <a:cxn ang="0">
                  <a:pos x="16" y="48"/>
                </a:cxn>
                <a:cxn ang="0">
                  <a:pos x="13" y="47"/>
                </a:cxn>
                <a:cxn ang="0">
                  <a:pos x="9" y="45"/>
                </a:cxn>
              </a:cxnLst>
              <a:rect l="0" t="0" r="r" b="b"/>
              <a:pathLst>
                <a:path w="77" h="65">
                  <a:moveTo>
                    <a:pt x="76" y="22"/>
                  </a:moveTo>
                  <a:lnTo>
                    <a:pt x="76" y="22"/>
                  </a:lnTo>
                  <a:lnTo>
                    <a:pt x="70" y="14"/>
                  </a:lnTo>
                  <a:lnTo>
                    <a:pt x="61" y="4"/>
                  </a:lnTo>
                  <a:lnTo>
                    <a:pt x="61" y="4"/>
                  </a:lnTo>
                  <a:lnTo>
                    <a:pt x="60" y="7"/>
                  </a:lnTo>
                  <a:lnTo>
                    <a:pt x="56" y="8"/>
                  </a:lnTo>
                  <a:lnTo>
                    <a:pt x="53" y="10"/>
                  </a:lnTo>
                  <a:lnTo>
                    <a:pt x="51" y="11"/>
                  </a:lnTo>
                  <a:lnTo>
                    <a:pt x="51" y="11"/>
                  </a:lnTo>
                  <a:lnTo>
                    <a:pt x="50" y="12"/>
                  </a:lnTo>
                  <a:lnTo>
                    <a:pt x="49" y="12"/>
                  </a:lnTo>
                  <a:lnTo>
                    <a:pt x="46" y="11"/>
                  </a:lnTo>
                  <a:lnTo>
                    <a:pt x="44" y="11"/>
                  </a:lnTo>
                  <a:lnTo>
                    <a:pt x="44" y="11"/>
                  </a:lnTo>
                  <a:lnTo>
                    <a:pt x="41" y="10"/>
                  </a:lnTo>
                  <a:lnTo>
                    <a:pt x="39" y="7"/>
                  </a:lnTo>
                  <a:lnTo>
                    <a:pt x="36" y="4"/>
                  </a:lnTo>
                  <a:lnTo>
                    <a:pt x="31" y="2"/>
                  </a:lnTo>
                  <a:lnTo>
                    <a:pt x="31" y="2"/>
                  </a:lnTo>
                  <a:lnTo>
                    <a:pt x="27" y="0"/>
                  </a:lnTo>
                  <a:lnTo>
                    <a:pt x="27" y="0"/>
                  </a:lnTo>
                  <a:lnTo>
                    <a:pt x="24" y="4"/>
                  </a:lnTo>
                  <a:lnTo>
                    <a:pt x="24" y="7"/>
                  </a:lnTo>
                  <a:lnTo>
                    <a:pt x="24" y="7"/>
                  </a:lnTo>
                  <a:lnTo>
                    <a:pt x="27" y="10"/>
                  </a:lnTo>
                  <a:lnTo>
                    <a:pt x="29" y="11"/>
                  </a:lnTo>
                  <a:lnTo>
                    <a:pt x="29" y="14"/>
                  </a:lnTo>
                  <a:lnTo>
                    <a:pt x="29" y="14"/>
                  </a:lnTo>
                  <a:lnTo>
                    <a:pt x="26" y="14"/>
                  </a:lnTo>
                  <a:lnTo>
                    <a:pt x="23" y="15"/>
                  </a:lnTo>
                  <a:lnTo>
                    <a:pt x="19" y="14"/>
                  </a:lnTo>
                  <a:lnTo>
                    <a:pt x="17" y="12"/>
                  </a:lnTo>
                  <a:lnTo>
                    <a:pt x="17" y="12"/>
                  </a:lnTo>
                  <a:lnTo>
                    <a:pt x="10" y="8"/>
                  </a:lnTo>
                  <a:lnTo>
                    <a:pt x="7" y="8"/>
                  </a:lnTo>
                  <a:lnTo>
                    <a:pt x="6" y="10"/>
                  </a:lnTo>
                  <a:lnTo>
                    <a:pt x="6" y="10"/>
                  </a:lnTo>
                  <a:lnTo>
                    <a:pt x="6" y="11"/>
                  </a:lnTo>
                  <a:lnTo>
                    <a:pt x="9" y="15"/>
                  </a:lnTo>
                  <a:lnTo>
                    <a:pt x="10" y="18"/>
                  </a:lnTo>
                  <a:lnTo>
                    <a:pt x="12" y="22"/>
                  </a:lnTo>
                  <a:lnTo>
                    <a:pt x="12" y="22"/>
                  </a:lnTo>
                  <a:lnTo>
                    <a:pt x="12" y="25"/>
                  </a:lnTo>
                  <a:lnTo>
                    <a:pt x="13" y="28"/>
                  </a:lnTo>
                  <a:lnTo>
                    <a:pt x="16" y="31"/>
                  </a:lnTo>
                  <a:lnTo>
                    <a:pt x="17" y="35"/>
                  </a:lnTo>
                  <a:lnTo>
                    <a:pt x="17" y="35"/>
                  </a:lnTo>
                  <a:lnTo>
                    <a:pt x="19" y="38"/>
                  </a:lnTo>
                  <a:lnTo>
                    <a:pt x="21" y="41"/>
                  </a:lnTo>
                  <a:lnTo>
                    <a:pt x="24" y="44"/>
                  </a:lnTo>
                  <a:lnTo>
                    <a:pt x="27" y="47"/>
                  </a:lnTo>
                  <a:lnTo>
                    <a:pt x="27" y="47"/>
                  </a:lnTo>
                  <a:lnTo>
                    <a:pt x="27" y="49"/>
                  </a:lnTo>
                  <a:lnTo>
                    <a:pt x="30" y="55"/>
                  </a:lnTo>
                  <a:lnTo>
                    <a:pt x="30" y="55"/>
                  </a:lnTo>
                  <a:lnTo>
                    <a:pt x="40" y="48"/>
                  </a:lnTo>
                  <a:lnTo>
                    <a:pt x="49" y="42"/>
                  </a:lnTo>
                  <a:lnTo>
                    <a:pt x="49" y="42"/>
                  </a:lnTo>
                  <a:lnTo>
                    <a:pt x="51" y="42"/>
                  </a:lnTo>
                  <a:lnTo>
                    <a:pt x="53" y="42"/>
                  </a:lnTo>
                  <a:lnTo>
                    <a:pt x="54" y="48"/>
                  </a:lnTo>
                  <a:lnTo>
                    <a:pt x="53" y="54"/>
                  </a:lnTo>
                  <a:lnTo>
                    <a:pt x="51" y="56"/>
                  </a:lnTo>
                  <a:lnTo>
                    <a:pt x="51" y="56"/>
                  </a:lnTo>
                  <a:lnTo>
                    <a:pt x="53" y="59"/>
                  </a:lnTo>
                  <a:lnTo>
                    <a:pt x="56" y="61"/>
                  </a:lnTo>
                  <a:lnTo>
                    <a:pt x="64" y="65"/>
                  </a:lnTo>
                  <a:lnTo>
                    <a:pt x="64" y="65"/>
                  </a:lnTo>
                  <a:lnTo>
                    <a:pt x="64" y="61"/>
                  </a:lnTo>
                  <a:lnTo>
                    <a:pt x="67" y="56"/>
                  </a:lnTo>
                  <a:lnTo>
                    <a:pt x="67" y="56"/>
                  </a:lnTo>
                  <a:lnTo>
                    <a:pt x="71" y="48"/>
                  </a:lnTo>
                  <a:lnTo>
                    <a:pt x="76" y="38"/>
                  </a:lnTo>
                  <a:lnTo>
                    <a:pt x="77" y="29"/>
                  </a:lnTo>
                  <a:lnTo>
                    <a:pt x="77" y="25"/>
                  </a:lnTo>
                  <a:lnTo>
                    <a:pt x="76" y="22"/>
                  </a:lnTo>
                  <a:lnTo>
                    <a:pt x="76" y="22"/>
                  </a:lnTo>
                  <a:close/>
                  <a:moveTo>
                    <a:pt x="9" y="45"/>
                  </a:moveTo>
                  <a:lnTo>
                    <a:pt x="9" y="45"/>
                  </a:lnTo>
                  <a:lnTo>
                    <a:pt x="4" y="44"/>
                  </a:lnTo>
                  <a:lnTo>
                    <a:pt x="0" y="42"/>
                  </a:lnTo>
                  <a:lnTo>
                    <a:pt x="0" y="42"/>
                  </a:lnTo>
                  <a:lnTo>
                    <a:pt x="2" y="47"/>
                  </a:lnTo>
                  <a:lnTo>
                    <a:pt x="3" y="48"/>
                  </a:lnTo>
                  <a:lnTo>
                    <a:pt x="6" y="51"/>
                  </a:lnTo>
                  <a:lnTo>
                    <a:pt x="6" y="51"/>
                  </a:lnTo>
                  <a:lnTo>
                    <a:pt x="9" y="52"/>
                  </a:lnTo>
                  <a:lnTo>
                    <a:pt x="9" y="54"/>
                  </a:lnTo>
                  <a:lnTo>
                    <a:pt x="10" y="55"/>
                  </a:lnTo>
                  <a:lnTo>
                    <a:pt x="17" y="56"/>
                  </a:lnTo>
                  <a:lnTo>
                    <a:pt x="17" y="56"/>
                  </a:lnTo>
                  <a:lnTo>
                    <a:pt x="19" y="56"/>
                  </a:lnTo>
                  <a:lnTo>
                    <a:pt x="19" y="56"/>
                  </a:lnTo>
                  <a:lnTo>
                    <a:pt x="19" y="52"/>
                  </a:lnTo>
                  <a:lnTo>
                    <a:pt x="16" y="48"/>
                  </a:lnTo>
                  <a:lnTo>
                    <a:pt x="16" y="48"/>
                  </a:lnTo>
                  <a:lnTo>
                    <a:pt x="13" y="47"/>
                  </a:lnTo>
                  <a:lnTo>
                    <a:pt x="12" y="45"/>
                  </a:lnTo>
                  <a:lnTo>
                    <a:pt x="9" y="45"/>
                  </a:lnTo>
                  <a:lnTo>
                    <a:pt x="9" y="4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5" name="Freeform 358">
              <a:extLst>
                <a:ext uri="{FF2B5EF4-FFF2-40B4-BE49-F238E27FC236}">
                  <a16:creationId xmlns:a16="http://schemas.microsoft.com/office/drawing/2014/main" id="{1A9F2BA0-C880-7E40-8E52-EE5D1ECFD25C}"/>
                </a:ext>
              </a:extLst>
            </p:cNvPr>
            <p:cNvSpPr>
              <a:spLocks noEditPoints="1"/>
            </p:cNvSpPr>
            <p:nvPr/>
          </p:nvSpPr>
          <p:spPr bwMode="auto">
            <a:xfrm>
              <a:off x="4484693" y="3093357"/>
              <a:ext cx="269320" cy="298916"/>
            </a:xfrm>
            <a:custGeom>
              <a:avLst/>
              <a:gdLst/>
              <a:ahLst/>
              <a:cxnLst>
                <a:cxn ang="0">
                  <a:pos x="107" y="175"/>
                </a:cxn>
                <a:cxn ang="0">
                  <a:pos x="94" y="180"/>
                </a:cxn>
                <a:cxn ang="0">
                  <a:pos x="110" y="190"/>
                </a:cxn>
                <a:cxn ang="0">
                  <a:pos x="128" y="202"/>
                </a:cxn>
                <a:cxn ang="0">
                  <a:pos x="132" y="190"/>
                </a:cxn>
                <a:cxn ang="0">
                  <a:pos x="139" y="175"/>
                </a:cxn>
                <a:cxn ang="0">
                  <a:pos x="127" y="175"/>
                </a:cxn>
                <a:cxn ang="0">
                  <a:pos x="26" y="122"/>
                </a:cxn>
                <a:cxn ang="0">
                  <a:pos x="26" y="132"/>
                </a:cxn>
                <a:cxn ang="0">
                  <a:pos x="28" y="151"/>
                </a:cxn>
                <a:cxn ang="0">
                  <a:pos x="36" y="159"/>
                </a:cxn>
                <a:cxn ang="0">
                  <a:pos x="47" y="152"/>
                </a:cxn>
                <a:cxn ang="0">
                  <a:pos x="50" y="126"/>
                </a:cxn>
                <a:cxn ang="0">
                  <a:pos x="34" y="121"/>
                </a:cxn>
                <a:cxn ang="0">
                  <a:pos x="146" y="106"/>
                </a:cxn>
                <a:cxn ang="0">
                  <a:pos x="131" y="102"/>
                </a:cxn>
                <a:cxn ang="0">
                  <a:pos x="112" y="74"/>
                </a:cxn>
                <a:cxn ang="0">
                  <a:pos x="91" y="55"/>
                </a:cxn>
                <a:cxn ang="0">
                  <a:pos x="92" y="38"/>
                </a:cxn>
                <a:cxn ang="0">
                  <a:pos x="98" y="30"/>
                </a:cxn>
                <a:cxn ang="0">
                  <a:pos x="91" y="7"/>
                </a:cxn>
                <a:cxn ang="0">
                  <a:pos x="78" y="1"/>
                </a:cxn>
                <a:cxn ang="0">
                  <a:pos x="65" y="5"/>
                </a:cxn>
                <a:cxn ang="0">
                  <a:pos x="60" y="8"/>
                </a:cxn>
                <a:cxn ang="0">
                  <a:pos x="54" y="11"/>
                </a:cxn>
                <a:cxn ang="0">
                  <a:pos x="45" y="14"/>
                </a:cxn>
                <a:cxn ang="0">
                  <a:pos x="40" y="18"/>
                </a:cxn>
                <a:cxn ang="0">
                  <a:pos x="30" y="17"/>
                </a:cxn>
                <a:cxn ang="0">
                  <a:pos x="21" y="22"/>
                </a:cxn>
                <a:cxn ang="0">
                  <a:pos x="4" y="30"/>
                </a:cxn>
                <a:cxn ang="0">
                  <a:pos x="4" y="38"/>
                </a:cxn>
                <a:cxn ang="0">
                  <a:pos x="0" y="42"/>
                </a:cxn>
                <a:cxn ang="0">
                  <a:pos x="4" y="54"/>
                </a:cxn>
                <a:cxn ang="0">
                  <a:pos x="14" y="59"/>
                </a:cxn>
                <a:cxn ang="0">
                  <a:pos x="14" y="67"/>
                </a:cxn>
                <a:cxn ang="0">
                  <a:pos x="28" y="57"/>
                </a:cxn>
                <a:cxn ang="0">
                  <a:pos x="53" y="61"/>
                </a:cxn>
                <a:cxn ang="0">
                  <a:pos x="61" y="74"/>
                </a:cxn>
                <a:cxn ang="0">
                  <a:pos x="75" y="94"/>
                </a:cxn>
                <a:cxn ang="0">
                  <a:pos x="98" y="112"/>
                </a:cxn>
                <a:cxn ang="0">
                  <a:pos x="119" y="123"/>
                </a:cxn>
                <a:cxn ang="0">
                  <a:pos x="135" y="136"/>
                </a:cxn>
                <a:cxn ang="0">
                  <a:pos x="142" y="143"/>
                </a:cxn>
                <a:cxn ang="0">
                  <a:pos x="146" y="160"/>
                </a:cxn>
                <a:cxn ang="0">
                  <a:pos x="144" y="176"/>
                </a:cxn>
                <a:cxn ang="0">
                  <a:pos x="154" y="163"/>
                </a:cxn>
                <a:cxn ang="0">
                  <a:pos x="162" y="155"/>
                </a:cxn>
                <a:cxn ang="0">
                  <a:pos x="158" y="146"/>
                </a:cxn>
                <a:cxn ang="0">
                  <a:pos x="159" y="133"/>
                </a:cxn>
                <a:cxn ang="0">
                  <a:pos x="179" y="141"/>
                </a:cxn>
                <a:cxn ang="0">
                  <a:pos x="179" y="129"/>
                </a:cxn>
              </a:cxnLst>
              <a:rect l="0" t="0" r="r" b="b"/>
              <a:pathLst>
                <a:path w="182" h="202">
                  <a:moveTo>
                    <a:pt x="127" y="175"/>
                  </a:moveTo>
                  <a:lnTo>
                    <a:pt x="127" y="175"/>
                  </a:lnTo>
                  <a:lnTo>
                    <a:pt x="115" y="176"/>
                  </a:lnTo>
                  <a:lnTo>
                    <a:pt x="111" y="176"/>
                  </a:lnTo>
                  <a:lnTo>
                    <a:pt x="107" y="175"/>
                  </a:lnTo>
                  <a:lnTo>
                    <a:pt x="107" y="175"/>
                  </a:lnTo>
                  <a:lnTo>
                    <a:pt x="102" y="173"/>
                  </a:lnTo>
                  <a:lnTo>
                    <a:pt x="98" y="175"/>
                  </a:lnTo>
                  <a:lnTo>
                    <a:pt x="94" y="178"/>
                  </a:lnTo>
                  <a:lnTo>
                    <a:pt x="94" y="180"/>
                  </a:lnTo>
                  <a:lnTo>
                    <a:pt x="94" y="180"/>
                  </a:lnTo>
                  <a:lnTo>
                    <a:pt x="95" y="183"/>
                  </a:lnTo>
                  <a:lnTo>
                    <a:pt x="98" y="185"/>
                  </a:lnTo>
                  <a:lnTo>
                    <a:pt x="102" y="188"/>
                  </a:lnTo>
                  <a:lnTo>
                    <a:pt x="110" y="190"/>
                  </a:lnTo>
                  <a:lnTo>
                    <a:pt x="110" y="190"/>
                  </a:lnTo>
                  <a:lnTo>
                    <a:pt x="117" y="193"/>
                  </a:lnTo>
                  <a:lnTo>
                    <a:pt x="122" y="196"/>
                  </a:lnTo>
                  <a:lnTo>
                    <a:pt x="125" y="200"/>
                  </a:lnTo>
                  <a:lnTo>
                    <a:pt x="128" y="202"/>
                  </a:lnTo>
                  <a:lnTo>
                    <a:pt x="128" y="202"/>
                  </a:lnTo>
                  <a:lnTo>
                    <a:pt x="131" y="200"/>
                  </a:lnTo>
                  <a:lnTo>
                    <a:pt x="132" y="197"/>
                  </a:lnTo>
                  <a:lnTo>
                    <a:pt x="134" y="195"/>
                  </a:lnTo>
                  <a:lnTo>
                    <a:pt x="132" y="190"/>
                  </a:lnTo>
                  <a:lnTo>
                    <a:pt x="132" y="190"/>
                  </a:lnTo>
                  <a:lnTo>
                    <a:pt x="132" y="185"/>
                  </a:lnTo>
                  <a:lnTo>
                    <a:pt x="135" y="180"/>
                  </a:lnTo>
                  <a:lnTo>
                    <a:pt x="139" y="175"/>
                  </a:lnTo>
                  <a:lnTo>
                    <a:pt x="139" y="175"/>
                  </a:lnTo>
                  <a:lnTo>
                    <a:pt x="139" y="175"/>
                  </a:lnTo>
                  <a:lnTo>
                    <a:pt x="137" y="173"/>
                  </a:lnTo>
                  <a:lnTo>
                    <a:pt x="132" y="173"/>
                  </a:lnTo>
                  <a:lnTo>
                    <a:pt x="127" y="175"/>
                  </a:lnTo>
                  <a:lnTo>
                    <a:pt x="127" y="175"/>
                  </a:lnTo>
                  <a:close/>
                  <a:moveTo>
                    <a:pt x="34" y="121"/>
                  </a:moveTo>
                  <a:lnTo>
                    <a:pt x="34" y="121"/>
                  </a:lnTo>
                  <a:lnTo>
                    <a:pt x="31" y="122"/>
                  </a:lnTo>
                  <a:lnTo>
                    <a:pt x="27" y="122"/>
                  </a:lnTo>
                  <a:lnTo>
                    <a:pt x="26" y="122"/>
                  </a:lnTo>
                  <a:lnTo>
                    <a:pt x="23" y="123"/>
                  </a:lnTo>
                  <a:lnTo>
                    <a:pt x="23" y="123"/>
                  </a:lnTo>
                  <a:lnTo>
                    <a:pt x="23" y="125"/>
                  </a:lnTo>
                  <a:lnTo>
                    <a:pt x="23" y="128"/>
                  </a:lnTo>
                  <a:lnTo>
                    <a:pt x="26" y="132"/>
                  </a:lnTo>
                  <a:lnTo>
                    <a:pt x="28" y="138"/>
                  </a:lnTo>
                  <a:lnTo>
                    <a:pt x="30" y="141"/>
                  </a:lnTo>
                  <a:lnTo>
                    <a:pt x="28" y="143"/>
                  </a:lnTo>
                  <a:lnTo>
                    <a:pt x="28" y="143"/>
                  </a:lnTo>
                  <a:lnTo>
                    <a:pt x="28" y="151"/>
                  </a:lnTo>
                  <a:lnTo>
                    <a:pt x="30" y="158"/>
                  </a:lnTo>
                  <a:lnTo>
                    <a:pt x="31" y="160"/>
                  </a:lnTo>
                  <a:lnTo>
                    <a:pt x="34" y="160"/>
                  </a:lnTo>
                  <a:lnTo>
                    <a:pt x="36" y="159"/>
                  </a:lnTo>
                  <a:lnTo>
                    <a:pt x="36" y="159"/>
                  </a:lnTo>
                  <a:lnTo>
                    <a:pt x="40" y="156"/>
                  </a:lnTo>
                  <a:lnTo>
                    <a:pt x="43" y="155"/>
                  </a:lnTo>
                  <a:lnTo>
                    <a:pt x="44" y="155"/>
                  </a:lnTo>
                  <a:lnTo>
                    <a:pt x="47" y="152"/>
                  </a:lnTo>
                  <a:lnTo>
                    <a:pt x="47" y="152"/>
                  </a:lnTo>
                  <a:lnTo>
                    <a:pt x="48" y="148"/>
                  </a:lnTo>
                  <a:lnTo>
                    <a:pt x="48" y="141"/>
                  </a:lnTo>
                  <a:lnTo>
                    <a:pt x="48" y="133"/>
                  </a:lnTo>
                  <a:lnTo>
                    <a:pt x="50" y="126"/>
                  </a:lnTo>
                  <a:lnTo>
                    <a:pt x="50" y="126"/>
                  </a:lnTo>
                  <a:lnTo>
                    <a:pt x="50" y="123"/>
                  </a:lnTo>
                  <a:lnTo>
                    <a:pt x="48" y="122"/>
                  </a:lnTo>
                  <a:lnTo>
                    <a:pt x="44" y="119"/>
                  </a:lnTo>
                  <a:lnTo>
                    <a:pt x="40" y="119"/>
                  </a:lnTo>
                  <a:lnTo>
                    <a:pt x="34" y="121"/>
                  </a:lnTo>
                  <a:lnTo>
                    <a:pt x="34" y="121"/>
                  </a:lnTo>
                  <a:close/>
                  <a:moveTo>
                    <a:pt x="151" y="114"/>
                  </a:moveTo>
                  <a:lnTo>
                    <a:pt x="151" y="114"/>
                  </a:lnTo>
                  <a:lnTo>
                    <a:pt x="148" y="109"/>
                  </a:lnTo>
                  <a:lnTo>
                    <a:pt x="146" y="106"/>
                  </a:lnTo>
                  <a:lnTo>
                    <a:pt x="144" y="104"/>
                  </a:lnTo>
                  <a:lnTo>
                    <a:pt x="139" y="104"/>
                  </a:lnTo>
                  <a:lnTo>
                    <a:pt x="139" y="104"/>
                  </a:lnTo>
                  <a:lnTo>
                    <a:pt x="135" y="104"/>
                  </a:lnTo>
                  <a:lnTo>
                    <a:pt x="131" y="102"/>
                  </a:lnTo>
                  <a:lnTo>
                    <a:pt x="124" y="96"/>
                  </a:lnTo>
                  <a:lnTo>
                    <a:pt x="118" y="88"/>
                  </a:lnTo>
                  <a:lnTo>
                    <a:pt x="114" y="78"/>
                  </a:lnTo>
                  <a:lnTo>
                    <a:pt x="114" y="78"/>
                  </a:lnTo>
                  <a:lnTo>
                    <a:pt x="112" y="74"/>
                  </a:lnTo>
                  <a:lnTo>
                    <a:pt x="110" y="69"/>
                  </a:lnTo>
                  <a:lnTo>
                    <a:pt x="102" y="64"/>
                  </a:lnTo>
                  <a:lnTo>
                    <a:pt x="97" y="59"/>
                  </a:lnTo>
                  <a:lnTo>
                    <a:pt x="94" y="58"/>
                  </a:lnTo>
                  <a:lnTo>
                    <a:pt x="91" y="55"/>
                  </a:lnTo>
                  <a:lnTo>
                    <a:pt x="91" y="55"/>
                  </a:lnTo>
                  <a:lnTo>
                    <a:pt x="91" y="50"/>
                  </a:lnTo>
                  <a:lnTo>
                    <a:pt x="91" y="47"/>
                  </a:lnTo>
                  <a:lnTo>
                    <a:pt x="92" y="42"/>
                  </a:lnTo>
                  <a:lnTo>
                    <a:pt x="92" y="38"/>
                  </a:lnTo>
                  <a:lnTo>
                    <a:pt x="92" y="38"/>
                  </a:lnTo>
                  <a:lnTo>
                    <a:pt x="91" y="35"/>
                  </a:lnTo>
                  <a:lnTo>
                    <a:pt x="92" y="34"/>
                  </a:lnTo>
                  <a:lnTo>
                    <a:pt x="98" y="30"/>
                  </a:lnTo>
                  <a:lnTo>
                    <a:pt x="98" y="30"/>
                  </a:lnTo>
                  <a:lnTo>
                    <a:pt x="100" y="18"/>
                  </a:lnTo>
                  <a:lnTo>
                    <a:pt x="100" y="8"/>
                  </a:lnTo>
                  <a:lnTo>
                    <a:pt x="100" y="8"/>
                  </a:lnTo>
                  <a:lnTo>
                    <a:pt x="91" y="7"/>
                  </a:lnTo>
                  <a:lnTo>
                    <a:pt x="91" y="7"/>
                  </a:lnTo>
                  <a:lnTo>
                    <a:pt x="90" y="3"/>
                  </a:lnTo>
                  <a:lnTo>
                    <a:pt x="88" y="0"/>
                  </a:lnTo>
                  <a:lnTo>
                    <a:pt x="88" y="0"/>
                  </a:lnTo>
                  <a:lnTo>
                    <a:pt x="82" y="0"/>
                  </a:lnTo>
                  <a:lnTo>
                    <a:pt x="78" y="1"/>
                  </a:lnTo>
                  <a:lnTo>
                    <a:pt x="75" y="1"/>
                  </a:lnTo>
                  <a:lnTo>
                    <a:pt x="75" y="1"/>
                  </a:lnTo>
                  <a:lnTo>
                    <a:pt x="71" y="4"/>
                  </a:lnTo>
                  <a:lnTo>
                    <a:pt x="68" y="5"/>
                  </a:lnTo>
                  <a:lnTo>
                    <a:pt x="65" y="5"/>
                  </a:lnTo>
                  <a:lnTo>
                    <a:pt x="65" y="5"/>
                  </a:lnTo>
                  <a:lnTo>
                    <a:pt x="64" y="4"/>
                  </a:lnTo>
                  <a:lnTo>
                    <a:pt x="61" y="7"/>
                  </a:lnTo>
                  <a:lnTo>
                    <a:pt x="61" y="7"/>
                  </a:lnTo>
                  <a:lnTo>
                    <a:pt x="60" y="8"/>
                  </a:lnTo>
                  <a:lnTo>
                    <a:pt x="60" y="10"/>
                  </a:lnTo>
                  <a:lnTo>
                    <a:pt x="58" y="11"/>
                  </a:lnTo>
                  <a:lnTo>
                    <a:pt x="58" y="11"/>
                  </a:lnTo>
                  <a:lnTo>
                    <a:pt x="55" y="10"/>
                  </a:lnTo>
                  <a:lnTo>
                    <a:pt x="54" y="11"/>
                  </a:lnTo>
                  <a:lnTo>
                    <a:pt x="54" y="13"/>
                  </a:lnTo>
                  <a:lnTo>
                    <a:pt x="54" y="13"/>
                  </a:lnTo>
                  <a:lnTo>
                    <a:pt x="53" y="14"/>
                  </a:lnTo>
                  <a:lnTo>
                    <a:pt x="50" y="15"/>
                  </a:lnTo>
                  <a:lnTo>
                    <a:pt x="45" y="14"/>
                  </a:lnTo>
                  <a:lnTo>
                    <a:pt x="45" y="14"/>
                  </a:lnTo>
                  <a:lnTo>
                    <a:pt x="43" y="15"/>
                  </a:lnTo>
                  <a:lnTo>
                    <a:pt x="41" y="15"/>
                  </a:lnTo>
                  <a:lnTo>
                    <a:pt x="40" y="18"/>
                  </a:lnTo>
                  <a:lnTo>
                    <a:pt x="40" y="18"/>
                  </a:lnTo>
                  <a:lnTo>
                    <a:pt x="40" y="22"/>
                  </a:lnTo>
                  <a:lnTo>
                    <a:pt x="38" y="24"/>
                  </a:lnTo>
                  <a:lnTo>
                    <a:pt x="36" y="24"/>
                  </a:lnTo>
                  <a:lnTo>
                    <a:pt x="36" y="24"/>
                  </a:lnTo>
                  <a:lnTo>
                    <a:pt x="30" y="17"/>
                  </a:lnTo>
                  <a:lnTo>
                    <a:pt x="28" y="14"/>
                  </a:lnTo>
                  <a:lnTo>
                    <a:pt x="27" y="13"/>
                  </a:lnTo>
                  <a:lnTo>
                    <a:pt x="27" y="13"/>
                  </a:lnTo>
                  <a:lnTo>
                    <a:pt x="24" y="18"/>
                  </a:lnTo>
                  <a:lnTo>
                    <a:pt x="21" y="22"/>
                  </a:lnTo>
                  <a:lnTo>
                    <a:pt x="18" y="24"/>
                  </a:lnTo>
                  <a:lnTo>
                    <a:pt x="18" y="24"/>
                  </a:lnTo>
                  <a:lnTo>
                    <a:pt x="6" y="25"/>
                  </a:lnTo>
                  <a:lnTo>
                    <a:pt x="6" y="25"/>
                  </a:lnTo>
                  <a:lnTo>
                    <a:pt x="4" y="30"/>
                  </a:lnTo>
                  <a:lnTo>
                    <a:pt x="7" y="32"/>
                  </a:lnTo>
                  <a:lnTo>
                    <a:pt x="7" y="32"/>
                  </a:lnTo>
                  <a:lnTo>
                    <a:pt x="7" y="34"/>
                  </a:lnTo>
                  <a:lnTo>
                    <a:pt x="7" y="35"/>
                  </a:lnTo>
                  <a:lnTo>
                    <a:pt x="4" y="38"/>
                  </a:lnTo>
                  <a:lnTo>
                    <a:pt x="4" y="38"/>
                  </a:lnTo>
                  <a:lnTo>
                    <a:pt x="0" y="40"/>
                  </a:lnTo>
                  <a:lnTo>
                    <a:pt x="0" y="41"/>
                  </a:lnTo>
                  <a:lnTo>
                    <a:pt x="0" y="42"/>
                  </a:lnTo>
                  <a:lnTo>
                    <a:pt x="0" y="42"/>
                  </a:lnTo>
                  <a:lnTo>
                    <a:pt x="4" y="47"/>
                  </a:lnTo>
                  <a:lnTo>
                    <a:pt x="6" y="48"/>
                  </a:lnTo>
                  <a:lnTo>
                    <a:pt x="6" y="51"/>
                  </a:lnTo>
                  <a:lnTo>
                    <a:pt x="6" y="51"/>
                  </a:lnTo>
                  <a:lnTo>
                    <a:pt x="4" y="54"/>
                  </a:lnTo>
                  <a:lnTo>
                    <a:pt x="4" y="57"/>
                  </a:lnTo>
                  <a:lnTo>
                    <a:pt x="6" y="58"/>
                  </a:lnTo>
                  <a:lnTo>
                    <a:pt x="8" y="58"/>
                  </a:lnTo>
                  <a:lnTo>
                    <a:pt x="8" y="58"/>
                  </a:lnTo>
                  <a:lnTo>
                    <a:pt x="14" y="59"/>
                  </a:lnTo>
                  <a:lnTo>
                    <a:pt x="16" y="59"/>
                  </a:lnTo>
                  <a:lnTo>
                    <a:pt x="16" y="61"/>
                  </a:lnTo>
                  <a:lnTo>
                    <a:pt x="16" y="61"/>
                  </a:lnTo>
                  <a:lnTo>
                    <a:pt x="14" y="67"/>
                  </a:lnTo>
                  <a:lnTo>
                    <a:pt x="14" y="67"/>
                  </a:lnTo>
                  <a:lnTo>
                    <a:pt x="23" y="64"/>
                  </a:lnTo>
                  <a:lnTo>
                    <a:pt x="23" y="64"/>
                  </a:lnTo>
                  <a:lnTo>
                    <a:pt x="24" y="62"/>
                  </a:lnTo>
                  <a:lnTo>
                    <a:pt x="27" y="59"/>
                  </a:lnTo>
                  <a:lnTo>
                    <a:pt x="28" y="57"/>
                  </a:lnTo>
                  <a:lnTo>
                    <a:pt x="33" y="55"/>
                  </a:lnTo>
                  <a:lnTo>
                    <a:pt x="33" y="55"/>
                  </a:lnTo>
                  <a:lnTo>
                    <a:pt x="40" y="55"/>
                  </a:lnTo>
                  <a:lnTo>
                    <a:pt x="47" y="57"/>
                  </a:lnTo>
                  <a:lnTo>
                    <a:pt x="53" y="61"/>
                  </a:lnTo>
                  <a:lnTo>
                    <a:pt x="55" y="64"/>
                  </a:lnTo>
                  <a:lnTo>
                    <a:pt x="55" y="64"/>
                  </a:lnTo>
                  <a:lnTo>
                    <a:pt x="60" y="69"/>
                  </a:lnTo>
                  <a:lnTo>
                    <a:pt x="61" y="74"/>
                  </a:lnTo>
                  <a:lnTo>
                    <a:pt x="61" y="74"/>
                  </a:lnTo>
                  <a:lnTo>
                    <a:pt x="61" y="78"/>
                  </a:lnTo>
                  <a:lnTo>
                    <a:pt x="64" y="82"/>
                  </a:lnTo>
                  <a:lnTo>
                    <a:pt x="68" y="88"/>
                  </a:lnTo>
                  <a:lnTo>
                    <a:pt x="75" y="94"/>
                  </a:lnTo>
                  <a:lnTo>
                    <a:pt x="75" y="94"/>
                  </a:lnTo>
                  <a:lnTo>
                    <a:pt x="84" y="99"/>
                  </a:lnTo>
                  <a:lnTo>
                    <a:pt x="88" y="104"/>
                  </a:lnTo>
                  <a:lnTo>
                    <a:pt x="94" y="109"/>
                  </a:lnTo>
                  <a:lnTo>
                    <a:pt x="98" y="112"/>
                  </a:lnTo>
                  <a:lnTo>
                    <a:pt x="98" y="112"/>
                  </a:lnTo>
                  <a:lnTo>
                    <a:pt x="107" y="115"/>
                  </a:lnTo>
                  <a:lnTo>
                    <a:pt x="110" y="116"/>
                  </a:lnTo>
                  <a:lnTo>
                    <a:pt x="114" y="119"/>
                  </a:lnTo>
                  <a:lnTo>
                    <a:pt x="114" y="119"/>
                  </a:lnTo>
                  <a:lnTo>
                    <a:pt x="119" y="123"/>
                  </a:lnTo>
                  <a:lnTo>
                    <a:pt x="127" y="128"/>
                  </a:lnTo>
                  <a:lnTo>
                    <a:pt x="127" y="128"/>
                  </a:lnTo>
                  <a:lnTo>
                    <a:pt x="131" y="131"/>
                  </a:lnTo>
                  <a:lnTo>
                    <a:pt x="132" y="133"/>
                  </a:lnTo>
                  <a:lnTo>
                    <a:pt x="135" y="136"/>
                  </a:lnTo>
                  <a:lnTo>
                    <a:pt x="138" y="138"/>
                  </a:lnTo>
                  <a:lnTo>
                    <a:pt x="138" y="138"/>
                  </a:lnTo>
                  <a:lnTo>
                    <a:pt x="141" y="139"/>
                  </a:lnTo>
                  <a:lnTo>
                    <a:pt x="142" y="141"/>
                  </a:lnTo>
                  <a:lnTo>
                    <a:pt x="142" y="143"/>
                  </a:lnTo>
                  <a:lnTo>
                    <a:pt x="144" y="146"/>
                  </a:lnTo>
                  <a:lnTo>
                    <a:pt x="144" y="146"/>
                  </a:lnTo>
                  <a:lnTo>
                    <a:pt x="145" y="151"/>
                  </a:lnTo>
                  <a:lnTo>
                    <a:pt x="146" y="155"/>
                  </a:lnTo>
                  <a:lnTo>
                    <a:pt x="146" y="160"/>
                  </a:lnTo>
                  <a:lnTo>
                    <a:pt x="145" y="165"/>
                  </a:lnTo>
                  <a:lnTo>
                    <a:pt x="145" y="165"/>
                  </a:lnTo>
                  <a:lnTo>
                    <a:pt x="142" y="168"/>
                  </a:lnTo>
                  <a:lnTo>
                    <a:pt x="142" y="172"/>
                  </a:lnTo>
                  <a:lnTo>
                    <a:pt x="144" y="176"/>
                  </a:lnTo>
                  <a:lnTo>
                    <a:pt x="145" y="178"/>
                  </a:lnTo>
                  <a:lnTo>
                    <a:pt x="145" y="178"/>
                  </a:lnTo>
                  <a:lnTo>
                    <a:pt x="148" y="176"/>
                  </a:lnTo>
                  <a:lnTo>
                    <a:pt x="149" y="172"/>
                  </a:lnTo>
                  <a:lnTo>
                    <a:pt x="154" y="163"/>
                  </a:lnTo>
                  <a:lnTo>
                    <a:pt x="154" y="163"/>
                  </a:lnTo>
                  <a:lnTo>
                    <a:pt x="155" y="160"/>
                  </a:lnTo>
                  <a:lnTo>
                    <a:pt x="156" y="159"/>
                  </a:lnTo>
                  <a:lnTo>
                    <a:pt x="159" y="158"/>
                  </a:lnTo>
                  <a:lnTo>
                    <a:pt x="162" y="155"/>
                  </a:lnTo>
                  <a:lnTo>
                    <a:pt x="162" y="155"/>
                  </a:lnTo>
                  <a:lnTo>
                    <a:pt x="164" y="152"/>
                  </a:lnTo>
                  <a:lnTo>
                    <a:pt x="164" y="151"/>
                  </a:lnTo>
                  <a:lnTo>
                    <a:pt x="161" y="149"/>
                  </a:lnTo>
                  <a:lnTo>
                    <a:pt x="158" y="146"/>
                  </a:lnTo>
                  <a:lnTo>
                    <a:pt x="155" y="142"/>
                  </a:lnTo>
                  <a:lnTo>
                    <a:pt x="155" y="142"/>
                  </a:lnTo>
                  <a:lnTo>
                    <a:pt x="155" y="139"/>
                  </a:lnTo>
                  <a:lnTo>
                    <a:pt x="155" y="138"/>
                  </a:lnTo>
                  <a:lnTo>
                    <a:pt x="159" y="133"/>
                  </a:lnTo>
                  <a:lnTo>
                    <a:pt x="165" y="132"/>
                  </a:lnTo>
                  <a:lnTo>
                    <a:pt x="168" y="133"/>
                  </a:lnTo>
                  <a:lnTo>
                    <a:pt x="171" y="135"/>
                  </a:lnTo>
                  <a:lnTo>
                    <a:pt x="171" y="135"/>
                  </a:lnTo>
                  <a:lnTo>
                    <a:pt x="179" y="141"/>
                  </a:lnTo>
                  <a:lnTo>
                    <a:pt x="182" y="139"/>
                  </a:lnTo>
                  <a:lnTo>
                    <a:pt x="182" y="135"/>
                  </a:lnTo>
                  <a:lnTo>
                    <a:pt x="182" y="135"/>
                  </a:lnTo>
                  <a:lnTo>
                    <a:pt x="182" y="132"/>
                  </a:lnTo>
                  <a:lnTo>
                    <a:pt x="179" y="129"/>
                  </a:lnTo>
                  <a:lnTo>
                    <a:pt x="169" y="122"/>
                  </a:lnTo>
                  <a:lnTo>
                    <a:pt x="151" y="114"/>
                  </a:lnTo>
                  <a:lnTo>
                    <a:pt x="151" y="1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6" name="Freeform 359">
              <a:extLst>
                <a:ext uri="{FF2B5EF4-FFF2-40B4-BE49-F238E27FC236}">
                  <a16:creationId xmlns:a16="http://schemas.microsoft.com/office/drawing/2014/main" id="{48EB7CB0-8BE4-4845-929B-E5A78B44D3BB}"/>
                </a:ext>
              </a:extLst>
            </p:cNvPr>
            <p:cNvSpPr>
              <a:spLocks/>
            </p:cNvSpPr>
            <p:nvPr/>
          </p:nvSpPr>
          <p:spPr bwMode="auto">
            <a:xfrm>
              <a:off x="4755493" y="3202862"/>
              <a:ext cx="28116" cy="36995"/>
            </a:xfrm>
            <a:custGeom>
              <a:avLst/>
              <a:gdLst/>
              <a:ahLst/>
              <a:cxnLst>
                <a:cxn ang="0">
                  <a:pos x="6" y="0"/>
                </a:cxn>
                <a:cxn ang="0">
                  <a:pos x="6" y="0"/>
                </a:cxn>
                <a:cxn ang="0">
                  <a:pos x="2" y="7"/>
                </a:cxn>
                <a:cxn ang="0">
                  <a:pos x="0" y="12"/>
                </a:cxn>
                <a:cxn ang="0">
                  <a:pos x="0" y="12"/>
                </a:cxn>
                <a:cxn ang="0">
                  <a:pos x="0" y="17"/>
                </a:cxn>
                <a:cxn ang="0">
                  <a:pos x="0" y="17"/>
                </a:cxn>
                <a:cxn ang="0">
                  <a:pos x="12" y="25"/>
                </a:cxn>
                <a:cxn ang="0">
                  <a:pos x="12" y="25"/>
                </a:cxn>
                <a:cxn ang="0">
                  <a:pos x="12" y="25"/>
                </a:cxn>
                <a:cxn ang="0">
                  <a:pos x="12" y="25"/>
                </a:cxn>
                <a:cxn ang="0">
                  <a:pos x="15" y="18"/>
                </a:cxn>
                <a:cxn ang="0">
                  <a:pos x="18" y="15"/>
                </a:cxn>
                <a:cxn ang="0">
                  <a:pos x="19" y="14"/>
                </a:cxn>
                <a:cxn ang="0">
                  <a:pos x="19" y="14"/>
                </a:cxn>
                <a:cxn ang="0">
                  <a:pos x="6" y="0"/>
                </a:cxn>
                <a:cxn ang="0">
                  <a:pos x="6" y="0"/>
                </a:cxn>
              </a:cxnLst>
              <a:rect l="0" t="0" r="r" b="b"/>
              <a:pathLst>
                <a:path w="19" h="25">
                  <a:moveTo>
                    <a:pt x="6" y="0"/>
                  </a:moveTo>
                  <a:lnTo>
                    <a:pt x="6" y="0"/>
                  </a:lnTo>
                  <a:lnTo>
                    <a:pt x="2" y="7"/>
                  </a:lnTo>
                  <a:lnTo>
                    <a:pt x="0" y="12"/>
                  </a:lnTo>
                  <a:lnTo>
                    <a:pt x="0" y="12"/>
                  </a:lnTo>
                  <a:lnTo>
                    <a:pt x="0" y="17"/>
                  </a:lnTo>
                  <a:lnTo>
                    <a:pt x="0" y="17"/>
                  </a:lnTo>
                  <a:lnTo>
                    <a:pt x="12" y="25"/>
                  </a:lnTo>
                  <a:lnTo>
                    <a:pt x="12" y="25"/>
                  </a:lnTo>
                  <a:lnTo>
                    <a:pt x="12" y="25"/>
                  </a:lnTo>
                  <a:lnTo>
                    <a:pt x="12" y="25"/>
                  </a:lnTo>
                  <a:lnTo>
                    <a:pt x="15" y="18"/>
                  </a:lnTo>
                  <a:lnTo>
                    <a:pt x="18" y="15"/>
                  </a:lnTo>
                  <a:lnTo>
                    <a:pt x="19" y="14"/>
                  </a:lnTo>
                  <a:lnTo>
                    <a:pt x="19" y="14"/>
                  </a:lnTo>
                  <a:lnTo>
                    <a:pt x="6" y="0"/>
                  </a:lnTo>
                  <a:lnTo>
                    <a:pt x="6"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7" name="Freeform 360">
              <a:extLst>
                <a:ext uri="{FF2B5EF4-FFF2-40B4-BE49-F238E27FC236}">
                  <a16:creationId xmlns:a16="http://schemas.microsoft.com/office/drawing/2014/main" id="{A6F3EA8A-5D0D-594B-9FBA-4BC326734AD4}"/>
                </a:ext>
              </a:extLst>
            </p:cNvPr>
            <p:cNvSpPr>
              <a:spLocks/>
            </p:cNvSpPr>
            <p:nvPr/>
          </p:nvSpPr>
          <p:spPr bwMode="auto">
            <a:xfrm>
              <a:off x="4762893" y="3118514"/>
              <a:ext cx="94706" cy="116903"/>
            </a:xfrm>
            <a:custGeom>
              <a:avLst/>
              <a:gdLst/>
              <a:ahLst/>
              <a:cxnLst>
                <a:cxn ang="0">
                  <a:pos x="58" y="52"/>
                </a:cxn>
                <a:cxn ang="0">
                  <a:pos x="55" y="47"/>
                </a:cxn>
                <a:cxn ang="0">
                  <a:pos x="58" y="42"/>
                </a:cxn>
                <a:cxn ang="0">
                  <a:pos x="59" y="40"/>
                </a:cxn>
                <a:cxn ang="0">
                  <a:pos x="58" y="34"/>
                </a:cxn>
                <a:cxn ang="0">
                  <a:pos x="58" y="33"/>
                </a:cxn>
                <a:cxn ang="0">
                  <a:pos x="51" y="30"/>
                </a:cxn>
                <a:cxn ang="0">
                  <a:pos x="41" y="28"/>
                </a:cxn>
                <a:cxn ang="0">
                  <a:pos x="40" y="23"/>
                </a:cxn>
                <a:cxn ang="0">
                  <a:pos x="40" y="18"/>
                </a:cxn>
                <a:cxn ang="0">
                  <a:pos x="38" y="18"/>
                </a:cxn>
                <a:cxn ang="0">
                  <a:pos x="34" y="17"/>
                </a:cxn>
                <a:cxn ang="0">
                  <a:pos x="32" y="13"/>
                </a:cxn>
                <a:cxn ang="0">
                  <a:pos x="30" y="7"/>
                </a:cxn>
                <a:cxn ang="0">
                  <a:pos x="27" y="3"/>
                </a:cxn>
                <a:cxn ang="0">
                  <a:pos x="28" y="3"/>
                </a:cxn>
                <a:cxn ang="0">
                  <a:pos x="23" y="1"/>
                </a:cxn>
                <a:cxn ang="0">
                  <a:pos x="17" y="0"/>
                </a:cxn>
                <a:cxn ang="0">
                  <a:pos x="0" y="5"/>
                </a:cxn>
                <a:cxn ang="0">
                  <a:pos x="1" y="11"/>
                </a:cxn>
                <a:cxn ang="0">
                  <a:pos x="4" y="14"/>
                </a:cxn>
                <a:cxn ang="0">
                  <a:pos x="7" y="17"/>
                </a:cxn>
                <a:cxn ang="0">
                  <a:pos x="8" y="25"/>
                </a:cxn>
                <a:cxn ang="0">
                  <a:pos x="10" y="33"/>
                </a:cxn>
                <a:cxn ang="0">
                  <a:pos x="10" y="48"/>
                </a:cxn>
                <a:cxn ang="0">
                  <a:pos x="8" y="51"/>
                </a:cxn>
                <a:cxn ang="0">
                  <a:pos x="5" y="52"/>
                </a:cxn>
                <a:cxn ang="0">
                  <a:pos x="1" y="57"/>
                </a:cxn>
                <a:cxn ang="0">
                  <a:pos x="14" y="71"/>
                </a:cxn>
                <a:cxn ang="0">
                  <a:pos x="15" y="71"/>
                </a:cxn>
                <a:cxn ang="0">
                  <a:pos x="24" y="75"/>
                </a:cxn>
                <a:cxn ang="0">
                  <a:pos x="30" y="79"/>
                </a:cxn>
                <a:cxn ang="0">
                  <a:pos x="57" y="75"/>
                </a:cxn>
                <a:cxn ang="0">
                  <a:pos x="58" y="69"/>
                </a:cxn>
                <a:cxn ang="0">
                  <a:pos x="61" y="64"/>
                </a:cxn>
                <a:cxn ang="0">
                  <a:pos x="62" y="64"/>
                </a:cxn>
                <a:cxn ang="0">
                  <a:pos x="64" y="62"/>
                </a:cxn>
                <a:cxn ang="0">
                  <a:pos x="58" y="52"/>
                </a:cxn>
              </a:cxnLst>
              <a:rect l="0" t="0" r="r" b="b"/>
              <a:pathLst>
                <a:path w="64" h="79">
                  <a:moveTo>
                    <a:pt x="58" y="52"/>
                  </a:moveTo>
                  <a:lnTo>
                    <a:pt x="58" y="52"/>
                  </a:lnTo>
                  <a:lnTo>
                    <a:pt x="55" y="50"/>
                  </a:lnTo>
                  <a:lnTo>
                    <a:pt x="55" y="47"/>
                  </a:lnTo>
                  <a:lnTo>
                    <a:pt x="57" y="44"/>
                  </a:lnTo>
                  <a:lnTo>
                    <a:pt x="58" y="42"/>
                  </a:lnTo>
                  <a:lnTo>
                    <a:pt x="58" y="42"/>
                  </a:lnTo>
                  <a:lnTo>
                    <a:pt x="59" y="40"/>
                  </a:lnTo>
                  <a:lnTo>
                    <a:pt x="59" y="38"/>
                  </a:lnTo>
                  <a:lnTo>
                    <a:pt x="58" y="34"/>
                  </a:lnTo>
                  <a:lnTo>
                    <a:pt x="58" y="34"/>
                  </a:lnTo>
                  <a:lnTo>
                    <a:pt x="58" y="33"/>
                  </a:lnTo>
                  <a:lnTo>
                    <a:pt x="55" y="31"/>
                  </a:lnTo>
                  <a:lnTo>
                    <a:pt x="51" y="30"/>
                  </a:lnTo>
                  <a:lnTo>
                    <a:pt x="41" y="28"/>
                  </a:lnTo>
                  <a:lnTo>
                    <a:pt x="41" y="28"/>
                  </a:lnTo>
                  <a:lnTo>
                    <a:pt x="40" y="27"/>
                  </a:lnTo>
                  <a:lnTo>
                    <a:pt x="40" y="23"/>
                  </a:lnTo>
                  <a:lnTo>
                    <a:pt x="40" y="20"/>
                  </a:lnTo>
                  <a:lnTo>
                    <a:pt x="40" y="18"/>
                  </a:lnTo>
                  <a:lnTo>
                    <a:pt x="38" y="18"/>
                  </a:lnTo>
                  <a:lnTo>
                    <a:pt x="38" y="18"/>
                  </a:lnTo>
                  <a:lnTo>
                    <a:pt x="35" y="18"/>
                  </a:lnTo>
                  <a:lnTo>
                    <a:pt x="34" y="17"/>
                  </a:lnTo>
                  <a:lnTo>
                    <a:pt x="32" y="13"/>
                  </a:lnTo>
                  <a:lnTo>
                    <a:pt x="32" y="13"/>
                  </a:lnTo>
                  <a:lnTo>
                    <a:pt x="32" y="10"/>
                  </a:lnTo>
                  <a:lnTo>
                    <a:pt x="30" y="7"/>
                  </a:lnTo>
                  <a:lnTo>
                    <a:pt x="28" y="5"/>
                  </a:lnTo>
                  <a:lnTo>
                    <a:pt x="27" y="3"/>
                  </a:lnTo>
                  <a:lnTo>
                    <a:pt x="27" y="3"/>
                  </a:lnTo>
                  <a:lnTo>
                    <a:pt x="28" y="3"/>
                  </a:lnTo>
                  <a:lnTo>
                    <a:pt x="28" y="3"/>
                  </a:lnTo>
                  <a:lnTo>
                    <a:pt x="23" y="1"/>
                  </a:lnTo>
                  <a:lnTo>
                    <a:pt x="23" y="1"/>
                  </a:lnTo>
                  <a:lnTo>
                    <a:pt x="17" y="0"/>
                  </a:lnTo>
                  <a:lnTo>
                    <a:pt x="17" y="0"/>
                  </a:lnTo>
                  <a:lnTo>
                    <a:pt x="0" y="5"/>
                  </a:lnTo>
                  <a:lnTo>
                    <a:pt x="0" y="5"/>
                  </a:lnTo>
                  <a:lnTo>
                    <a:pt x="1" y="11"/>
                  </a:lnTo>
                  <a:lnTo>
                    <a:pt x="3" y="13"/>
                  </a:lnTo>
                  <a:lnTo>
                    <a:pt x="4" y="14"/>
                  </a:lnTo>
                  <a:lnTo>
                    <a:pt x="4" y="14"/>
                  </a:lnTo>
                  <a:lnTo>
                    <a:pt x="7" y="17"/>
                  </a:lnTo>
                  <a:lnTo>
                    <a:pt x="7" y="20"/>
                  </a:lnTo>
                  <a:lnTo>
                    <a:pt x="8" y="25"/>
                  </a:lnTo>
                  <a:lnTo>
                    <a:pt x="8" y="25"/>
                  </a:lnTo>
                  <a:lnTo>
                    <a:pt x="10" y="33"/>
                  </a:lnTo>
                  <a:lnTo>
                    <a:pt x="10" y="40"/>
                  </a:lnTo>
                  <a:lnTo>
                    <a:pt x="10" y="48"/>
                  </a:lnTo>
                  <a:lnTo>
                    <a:pt x="8" y="50"/>
                  </a:lnTo>
                  <a:lnTo>
                    <a:pt x="8" y="51"/>
                  </a:lnTo>
                  <a:lnTo>
                    <a:pt x="8" y="51"/>
                  </a:lnTo>
                  <a:lnTo>
                    <a:pt x="5" y="52"/>
                  </a:lnTo>
                  <a:lnTo>
                    <a:pt x="1" y="57"/>
                  </a:lnTo>
                  <a:lnTo>
                    <a:pt x="1" y="57"/>
                  </a:lnTo>
                  <a:lnTo>
                    <a:pt x="14" y="71"/>
                  </a:lnTo>
                  <a:lnTo>
                    <a:pt x="14" y="71"/>
                  </a:lnTo>
                  <a:lnTo>
                    <a:pt x="15" y="71"/>
                  </a:lnTo>
                  <a:lnTo>
                    <a:pt x="15" y="71"/>
                  </a:lnTo>
                  <a:lnTo>
                    <a:pt x="18" y="72"/>
                  </a:lnTo>
                  <a:lnTo>
                    <a:pt x="24" y="75"/>
                  </a:lnTo>
                  <a:lnTo>
                    <a:pt x="30" y="79"/>
                  </a:lnTo>
                  <a:lnTo>
                    <a:pt x="30" y="79"/>
                  </a:lnTo>
                  <a:lnTo>
                    <a:pt x="57" y="75"/>
                  </a:lnTo>
                  <a:lnTo>
                    <a:pt x="57" y="75"/>
                  </a:lnTo>
                  <a:lnTo>
                    <a:pt x="58" y="69"/>
                  </a:lnTo>
                  <a:lnTo>
                    <a:pt x="58" y="69"/>
                  </a:lnTo>
                  <a:lnTo>
                    <a:pt x="59" y="65"/>
                  </a:lnTo>
                  <a:lnTo>
                    <a:pt x="61" y="64"/>
                  </a:lnTo>
                  <a:lnTo>
                    <a:pt x="62" y="64"/>
                  </a:lnTo>
                  <a:lnTo>
                    <a:pt x="62" y="64"/>
                  </a:lnTo>
                  <a:lnTo>
                    <a:pt x="64" y="62"/>
                  </a:lnTo>
                  <a:lnTo>
                    <a:pt x="64" y="62"/>
                  </a:lnTo>
                  <a:lnTo>
                    <a:pt x="62" y="60"/>
                  </a:lnTo>
                  <a:lnTo>
                    <a:pt x="58" y="52"/>
                  </a:lnTo>
                  <a:lnTo>
                    <a:pt x="58" y="5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grpSp>
    </p:spTree>
    <p:extLst>
      <p:ext uri="{BB962C8B-B14F-4D97-AF65-F5344CB8AC3E}">
        <p14:creationId xmlns:p14="http://schemas.microsoft.com/office/powerpoint/2010/main" val="34175421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4C4DD-4003-C548-B523-D463999880DC}"/>
              </a:ext>
            </a:extLst>
          </p:cNvPr>
          <p:cNvSpPr>
            <a:spLocks noGrp="1"/>
          </p:cNvSpPr>
          <p:nvPr>
            <p:ph type="title"/>
          </p:nvPr>
        </p:nvSpPr>
        <p:spPr/>
        <p:txBody>
          <a:bodyPr/>
          <a:lstStyle/>
          <a:p>
            <a:r>
              <a:rPr lang="en-US" dirty="0"/>
              <a:t>Africa</a:t>
            </a:r>
          </a:p>
        </p:txBody>
      </p:sp>
      <p:grpSp>
        <p:nvGrpSpPr>
          <p:cNvPr id="125" name="Group 124">
            <a:extLst>
              <a:ext uri="{FF2B5EF4-FFF2-40B4-BE49-F238E27FC236}">
                <a16:creationId xmlns:a16="http://schemas.microsoft.com/office/drawing/2014/main" id="{EFED66F3-0ACF-414C-937B-489915CFADE5}"/>
              </a:ext>
            </a:extLst>
          </p:cNvPr>
          <p:cNvGrpSpPr/>
          <p:nvPr/>
        </p:nvGrpSpPr>
        <p:grpSpPr>
          <a:xfrm>
            <a:off x="3926973" y="1120701"/>
            <a:ext cx="4591385" cy="5187467"/>
            <a:chOff x="1841499" y="1841500"/>
            <a:chExt cx="17663280" cy="19956434"/>
          </a:xfrm>
          <a:solidFill>
            <a:schemeClr val="bg1">
              <a:lumMod val="75000"/>
            </a:schemeClr>
          </a:solidFill>
        </p:grpSpPr>
        <p:sp>
          <p:nvSpPr>
            <p:cNvPr id="3" name="Shape">
              <a:extLst>
                <a:ext uri="{FF2B5EF4-FFF2-40B4-BE49-F238E27FC236}">
                  <a16:creationId xmlns:a16="http://schemas.microsoft.com/office/drawing/2014/main" id="{5C30D30C-72DF-104A-9A39-6D1672D458EE}"/>
                </a:ext>
              </a:extLst>
            </p:cNvPr>
            <p:cNvSpPr/>
            <p:nvPr/>
          </p:nvSpPr>
          <p:spPr>
            <a:xfrm>
              <a:off x="8293099" y="2895599"/>
              <a:ext cx="423507" cy="177875"/>
            </a:xfrm>
            <a:custGeom>
              <a:avLst/>
              <a:gdLst/>
              <a:ahLst/>
              <a:cxnLst>
                <a:cxn ang="0">
                  <a:pos x="wd2" y="hd2"/>
                </a:cxn>
                <a:cxn ang="5400000">
                  <a:pos x="wd2" y="hd2"/>
                </a:cxn>
                <a:cxn ang="10800000">
                  <a:pos x="wd2" y="hd2"/>
                </a:cxn>
                <a:cxn ang="16200000">
                  <a:pos x="wd2" y="hd2"/>
                </a:cxn>
              </a:cxnLst>
              <a:rect l="0" t="0" r="r" b="b"/>
              <a:pathLst>
                <a:path w="21466" h="20498" extrusionOk="0">
                  <a:moveTo>
                    <a:pt x="11515" y="30"/>
                  </a:moveTo>
                  <a:cubicBezTo>
                    <a:pt x="9823" y="-139"/>
                    <a:pt x="8118" y="411"/>
                    <a:pt x="6514" y="1643"/>
                  </a:cubicBezTo>
                  <a:cubicBezTo>
                    <a:pt x="4265" y="3371"/>
                    <a:pt x="2679" y="5600"/>
                    <a:pt x="510" y="7798"/>
                  </a:cubicBezTo>
                  <a:cubicBezTo>
                    <a:pt x="280" y="8031"/>
                    <a:pt x="15" y="8372"/>
                    <a:pt x="1" y="8944"/>
                  </a:cubicBezTo>
                  <a:cubicBezTo>
                    <a:pt x="-14" y="9524"/>
                    <a:pt x="237" y="9930"/>
                    <a:pt x="451" y="10250"/>
                  </a:cubicBezTo>
                  <a:cubicBezTo>
                    <a:pt x="1559" y="11914"/>
                    <a:pt x="2388" y="14372"/>
                    <a:pt x="3419" y="16276"/>
                  </a:cubicBezTo>
                  <a:cubicBezTo>
                    <a:pt x="5491" y="20102"/>
                    <a:pt x="8398" y="21461"/>
                    <a:pt x="10966" y="19803"/>
                  </a:cubicBezTo>
                  <a:cubicBezTo>
                    <a:pt x="12722" y="18669"/>
                    <a:pt x="14445" y="15652"/>
                    <a:pt x="14595" y="11515"/>
                  </a:cubicBezTo>
                  <a:cubicBezTo>
                    <a:pt x="14703" y="8536"/>
                    <a:pt x="13980" y="5493"/>
                    <a:pt x="14367" y="2636"/>
                  </a:cubicBezTo>
                  <a:cubicBezTo>
                    <a:pt x="14402" y="2379"/>
                    <a:pt x="14448" y="2118"/>
                    <a:pt x="14537" y="1939"/>
                  </a:cubicBezTo>
                  <a:cubicBezTo>
                    <a:pt x="14949" y="1109"/>
                    <a:pt x="15420" y="2746"/>
                    <a:pt x="15622" y="3911"/>
                  </a:cubicBezTo>
                  <a:cubicBezTo>
                    <a:pt x="16159" y="7002"/>
                    <a:pt x="17781" y="8883"/>
                    <a:pt x="19197" y="8057"/>
                  </a:cubicBezTo>
                  <a:cubicBezTo>
                    <a:pt x="20583" y="7249"/>
                    <a:pt x="21586" y="3949"/>
                    <a:pt x="21455" y="717"/>
                  </a:cubicBezTo>
                  <a:cubicBezTo>
                    <a:pt x="20712" y="1229"/>
                    <a:pt x="19950" y="1592"/>
                    <a:pt x="19176" y="1729"/>
                  </a:cubicBezTo>
                  <a:cubicBezTo>
                    <a:pt x="16613" y="2180"/>
                    <a:pt x="14083" y="288"/>
                    <a:pt x="11515" y="3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 name="Shape">
              <a:extLst>
                <a:ext uri="{FF2B5EF4-FFF2-40B4-BE49-F238E27FC236}">
                  <a16:creationId xmlns:a16="http://schemas.microsoft.com/office/drawing/2014/main" id="{A30AB06C-1B37-0944-B448-8F8A16037ECF}"/>
                </a:ext>
              </a:extLst>
            </p:cNvPr>
            <p:cNvSpPr/>
            <p:nvPr/>
          </p:nvSpPr>
          <p:spPr>
            <a:xfrm>
              <a:off x="8229599" y="1841500"/>
              <a:ext cx="1049688" cy="2192823"/>
            </a:xfrm>
            <a:custGeom>
              <a:avLst/>
              <a:gdLst/>
              <a:ahLst/>
              <a:cxnLst>
                <a:cxn ang="0">
                  <a:pos x="wd2" y="hd2"/>
                </a:cxn>
                <a:cxn ang="5400000">
                  <a:pos x="wd2" y="hd2"/>
                </a:cxn>
                <a:cxn ang="10800000">
                  <a:pos x="wd2" y="hd2"/>
                </a:cxn>
                <a:cxn ang="16200000">
                  <a:pos x="wd2" y="hd2"/>
                </a:cxn>
              </a:cxnLst>
              <a:rect l="0" t="0" r="r" b="b"/>
              <a:pathLst>
                <a:path w="21488" h="21567" extrusionOk="0">
                  <a:moveTo>
                    <a:pt x="3417" y="2583"/>
                  </a:moveTo>
                  <a:lnTo>
                    <a:pt x="4760" y="2917"/>
                  </a:lnTo>
                  <a:lnTo>
                    <a:pt x="3937" y="4873"/>
                  </a:lnTo>
                  <a:cubicBezTo>
                    <a:pt x="3937" y="4873"/>
                    <a:pt x="4977" y="5540"/>
                    <a:pt x="4760" y="5665"/>
                  </a:cubicBezTo>
                  <a:cubicBezTo>
                    <a:pt x="4544" y="5789"/>
                    <a:pt x="4197" y="6247"/>
                    <a:pt x="4197" y="6247"/>
                  </a:cubicBezTo>
                  <a:cubicBezTo>
                    <a:pt x="4197" y="6247"/>
                    <a:pt x="5259" y="6445"/>
                    <a:pt x="5172" y="6497"/>
                  </a:cubicBezTo>
                  <a:cubicBezTo>
                    <a:pt x="5085" y="6549"/>
                    <a:pt x="3720" y="7372"/>
                    <a:pt x="3742" y="7465"/>
                  </a:cubicBezTo>
                  <a:cubicBezTo>
                    <a:pt x="3764" y="7559"/>
                    <a:pt x="4089" y="8288"/>
                    <a:pt x="4045" y="8340"/>
                  </a:cubicBezTo>
                  <a:cubicBezTo>
                    <a:pt x="4002" y="8392"/>
                    <a:pt x="2356" y="8756"/>
                    <a:pt x="2182" y="8954"/>
                  </a:cubicBezTo>
                  <a:cubicBezTo>
                    <a:pt x="2009" y="9152"/>
                    <a:pt x="1771" y="9558"/>
                    <a:pt x="1381" y="9703"/>
                  </a:cubicBezTo>
                  <a:cubicBezTo>
                    <a:pt x="991" y="9849"/>
                    <a:pt x="297" y="10036"/>
                    <a:pt x="189" y="10047"/>
                  </a:cubicBezTo>
                  <a:cubicBezTo>
                    <a:pt x="81" y="10057"/>
                    <a:pt x="-71" y="10880"/>
                    <a:pt x="37" y="10973"/>
                  </a:cubicBezTo>
                  <a:cubicBezTo>
                    <a:pt x="146" y="11067"/>
                    <a:pt x="1294" y="12680"/>
                    <a:pt x="1467" y="12722"/>
                  </a:cubicBezTo>
                  <a:cubicBezTo>
                    <a:pt x="1641" y="12764"/>
                    <a:pt x="3157" y="12993"/>
                    <a:pt x="3330" y="13055"/>
                  </a:cubicBezTo>
                  <a:cubicBezTo>
                    <a:pt x="3504" y="13117"/>
                    <a:pt x="4284" y="13700"/>
                    <a:pt x="4327" y="13846"/>
                  </a:cubicBezTo>
                  <a:cubicBezTo>
                    <a:pt x="4370" y="13992"/>
                    <a:pt x="4327" y="14825"/>
                    <a:pt x="4327" y="14825"/>
                  </a:cubicBezTo>
                  <a:cubicBezTo>
                    <a:pt x="4327" y="14825"/>
                    <a:pt x="7923" y="15970"/>
                    <a:pt x="8097" y="16074"/>
                  </a:cubicBezTo>
                  <a:cubicBezTo>
                    <a:pt x="8264" y="16174"/>
                    <a:pt x="10718" y="21190"/>
                    <a:pt x="10902" y="21567"/>
                  </a:cubicBezTo>
                  <a:cubicBezTo>
                    <a:pt x="11549" y="21482"/>
                    <a:pt x="12379" y="21359"/>
                    <a:pt x="12516" y="21320"/>
                  </a:cubicBezTo>
                  <a:cubicBezTo>
                    <a:pt x="12733" y="21257"/>
                    <a:pt x="14380" y="20154"/>
                    <a:pt x="14423" y="20050"/>
                  </a:cubicBezTo>
                  <a:cubicBezTo>
                    <a:pt x="14466" y="19946"/>
                    <a:pt x="14596" y="19217"/>
                    <a:pt x="14596" y="19092"/>
                  </a:cubicBezTo>
                  <a:cubicBezTo>
                    <a:pt x="14596" y="18967"/>
                    <a:pt x="13816" y="17885"/>
                    <a:pt x="13816" y="17885"/>
                  </a:cubicBezTo>
                  <a:cubicBezTo>
                    <a:pt x="13816" y="17885"/>
                    <a:pt x="14640" y="17260"/>
                    <a:pt x="14900" y="17156"/>
                  </a:cubicBezTo>
                  <a:cubicBezTo>
                    <a:pt x="15159" y="17052"/>
                    <a:pt x="15723" y="17219"/>
                    <a:pt x="15853" y="17156"/>
                  </a:cubicBezTo>
                  <a:cubicBezTo>
                    <a:pt x="15983" y="17094"/>
                    <a:pt x="17196" y="16094"/>
                    <a:pt x="17499" y="15970"/>
                  </a:cubicBezTo>
                  <a:cubicBezTo>
                    <a:pt x="17803" y="15845"/>
                    <a:pt x="21442" y="15012"/>
                    <a:pt x="21486" y="14949"/>
                  </a:cubicBezTo>
                  <a:cubicBezTo>
                    <a:pt x="21529" y="14887"/>
                    <a:pt x="20966" y="14429"/>
                    <a:pt x="20966" y="14429"/>
                  </a:cubicBezTo>
                  <a:cubicBezTo>
                    <a:pt x="20966" y="14429"/>
                    <a:pt x="21269" y="13242"/>
                    <a:pt x="21313" y="12884"/>
                  </a:cubicBezTo>
                  <a:cubicBezTo>
                    <a:pt x="21313" y="12883"/>
                    <a:pt x="21313" y="12882"/>
                    <a:pt x="21313" y="12881"/>
                  </a:cubicBezTo>
                  <a:cubicBezTo>
                    <a:pt x="20957" y="12804"/>
                    <a:pt x="20587" y="12747"/>
                    <a:pt x="20201" y="12757"/>
                  </a:cubicBezTo>
                  <a:cubicBezTo>
                    <a:pt x="19934" y="12764"/>
                    <a:pt x="19659" y="12803"/>
                    <a:pt x="19402" y="12766"/>
                  </a:cubicBezTo>
                  <a:cubicBezTo>
                    <a:pt x="19146" y="12729"/>
                    <a:pt x="18952" y="12562"/>
                    <a:pt x="19141" y="12470"/>
                  </a:cubicBezTo>
                  <a:cubicBezTo>
                    <a:pt x="19211" y="12461"/>
                    <a:pt x="19281" y="12453"/>
                    <a:pt x="19351" y="12444"/>
                  </a:cubicBezTo>
                  <a:cubicBezTo>
                    <a:pt x="19167" y="12177"/>
                    <a:pt x="18983" y="11910"/>
                    <a:pt x="18799" y="11644"/>
                  </a:cubicBezTo>
                  <a:cubicBezTo>
                    <a:pt x="18706" y="11510"/>
                    <a:pt x="18388" y="11349"/>
                    <a:pt x="18197" y="11456"/>
                  </a:cubicBezTo>
                  <a:cubicBezTo>
                    <a:pt x="18145" y="11723"/>
                    <a:pt x="17453" y="11909"/>
                    <a:pt x="16951" y="11791"/>
                  </a:cubicBezTo>
                  <a:cubicBezTo>
                    <a:pt x="17098" y="11602"/>
                    <a:pt x="17245" y="11413"/>
                    <a:pt x="17391" y="11224"/>
                  </a:cubicBezTo>
                  <a:cubicBezTo>
                    <a:pt x="17579" y="11336"/>
                    <a:pt x="17950" y="11363"/>
                    <a:pt x="18199" y="11284"/>
                  </a:cubicBezTo>
                  <a:cubicBezTo>
                    <a:pt x="18447" y="11204"/>
                    <a:pt x="18539" y="11029"/>
                    <a:pt x="18397" y="10903"/>
                  </a:cubicBezTo>
                  <a:cubicBezTo>
                    <a:pt x="18116" y="10849"/>
                    <a:pt x="17836" y="10795"/>
                    <a:pt x="17555" y="10741"/>
                  </a:cubicBezTo>
                  <a:cubicBezTo>
                    <a:pt x="17455" y="10721"/>
                    <a:pt x="17349" y="10701"/>
                    <a:pt x="17242" y="10708"/>
                  </a:cubicBezTo>
                  <a:cubicBezTo>
                    <a:pt x="16889" y="10729"/>
                    <a:pt x="16870" y="10971"/>
                    <a:pt x="16950" y="11137"/>
                  </a:cubicBezTo>
                  <a:cubicBezTo>
                    <a:pt x="16258" y="11027"/>
                    <a:pt x="15498" y="11321"/>
                    <a:pt x="14801" y="11217"/>
                  </a:cubicBezTo>
                  <a:cubicBezTo>
                    <a:pt x="14015" y="11101"/>
                    <a:pt x="13874" y="10591"/>
                    <a:pt x="13289" y="10312"/>
                  </a:cubicBezTo>
                  <a:cubicBezTo>
                    <a:pt x="13194" y="10267"/>
                    <a:pt x="13079" y="10226"/>
                    <a:pt x="12946" y="10220"/>
                  </a:cubicBezTo>
                  <a:cubicBezTo>
                    <a:pt x="12746" y="10210"/>
                    <a:pt x="12572" y="10277"/>
                    <a:pt x="12404" y="10330"/>
                  </a:cubicBezTo>
                  <a:cubicBezTo>
                    <a:pt x="11711" y="10548"/>
                    <a:pt x="10757" y="10552"/>
                    <a:pt x="10050" y="10346"/>
                  </a:cubicBezTo>
                  <a:cubicBezTo>
                    <a:pt x="10036" y="10348"/>
                    <a:pt x="10022" y="10350"/>
                    <a:pt x="10008" y="10352"/>
                  </a:cubicBezTo>
                  <a:cubicBezTo>
                    <a:pt x="10061" y="10628"/>
                    <a:pt x="9656" y="10910"/>
                    <a:pt x="9096" y="10979"/>
                  </a:cubicBezTo>
                  <a:cubicBezTo>
                    <a:pt x="8525" y="11049"/>
                    <a:pt x="7870" y="10889"/>
                    <a:pt x="7653" y="10625"/>
                  </a:cubicBezTo>
                  <a:cubicBezTo>
                    <a:pt x="7571" y="10525"/>
                    <a:pt x="7381" y="10386"/>
                    <a:pt x="7214" y="10457"/>
                  </a:cubicBezTo>
                  <a:cubicBezTo>
                    <a:pt x="7179" y="10472"/>
                    <a:pt x="7160" y="10494"/>
                    <a:pt x="7146" y="10516"/>
                  </a:cubicBezTo>
                  <a:cubicBezTo>
                    <a:pt x="6990" y="10760"/>
                    <a:pt x="7281" y="11020"/>
                    <a:pt x="7238" y="11274"/>
                  </a:cubicBezTo>
                  <a:cubicBezTo>
                    <a:pt x="7177" y="11627"/>
                    <a:pt x="6481" y="11884"/>
                    <a:pt x="5772" y="11981"/>
                  </a:cubicBezTo>
                  <a:cubicBezTo>
                    <a:pt x="4735" y="12123"/>
                    <a:pt x="3561" y="12007"/>
                    <a:pt x="2724" y="11680"/>
                  </a:cubicBezTo>
                  <a:cubicBezTo>
                    <a:pt x="2308" y="11518"/>
                    <a:pt x="1338" y="11104"/>
                    <a:pt x="1344" y="11054"/>
                  </a:cubicBezTo>
                  <a:cubicBezTo>
                    <a:pt x="1349" y="11006"/>
                    <a:pt x="3066" y="10579"/>
                    <a:pt x="3974" y="10431"/>
                  </a:cubicBezTo>
                  <a:cubicBezTo>
                    <a:pt x="4622" y="10326"/>
                    <a:pt x="5311" y="10279"/>
                    <a:pt x="5994" y="10294"/>
                  </a:cubicBezTo>
                  <a:cubicBezTo>
                    <a:pt x="7031" y="10316"/>
                    <a:pt x="8053" y="10477"/>
                    <a:pt x="9088" y="10439"/>
                  </a:cubicBezTo>
                  <a:cubicBezTo>
                    <a:pt x="9401" y="10427"/>
                    <a:pt x="9708" y="10396"/>
                    <a:pt x="10008" y="10352"/>
                  </a:cubicBezTo>
                  <a:cubicBezTo>
                    <a:pt x="10007" y="10346"/>
                    <a:pt x="10009" y="10340"/>
                    <a:pt x="10007" y="10335"/>
                  </a:cubicBezTo>
                  <a:cubicBezTo>
                    <a:pt x="10021" y="10339"/>
                    <a:pt x="10036" y="10342"/>
                    <a:pt x="10050" y="10346"/>
                  </a:cubicBezTo>
                  <a:cubicBezTo>
                    <a:pt x="10291" y="10309"/>
                    <a:pt x="10529" y="10266"/>
                    <a:pt x="10758" y="10214"/>
                  </a:cubicBezTo>
                  <a:cubicBezTo>
                    <a:pt x="10978" y="10165"/>
                    <a:pt x="11199" y="10108"/>
                    <a:pt x="11441" y="10097"/>
                  </a:cubicBezTo>
                  <a:cubicBezTo>
                    <a:pt x="11866" y="10076"/>
                    <a:pt x="12319" y="10195"/>
                    <a:pt x="12708" y="10109"/>
                  </a:cubicBezTo>
                  <a:cubicBezTo>
                    <a:pt x="12977" y="10050"/>
                    <a:pt x="13122" y="9912"/>
                    <a:pt x="13273" y="9790"/>
                  </a:cubicBezTo>
                  <a:cubicBezTo>
                    <a:pt x="14303" y="8960"/>
                    <a:pt x="16383" y="8563"/>
                    <a:pt x="17619" y="7801"/>
                  </a:cubicBezTo>
                  <a:cubicBezTo>
                    <a:pt x="18092" y="7509"/>
                    <a:pt x="18427" y="7172"/>
                    <a:pt x="18759" y="6838"/>
                  </a:cubicBezTo>
                  <a:cubicBezTo>
                    <a:pt x="18863" y="6733"/>
                    <a:pt x="18970" y="6622"/>
                    <a:pt x="18956" y="6506"/>
                  </a:cubicBezTo>
                  <a:cubicBezTo>
                    <a:pt x="18938" y="6358"/>
                    <a:pt x="18732" y="6234"/>
                    <a:pt x="18622" y="6096"/>
                  </a:cubicBezTo>
                  <a:cubicBezTo>
                    <a:pt x="18512" y="5958"/>
                    <a:pt x="18500" y="5806"/>
                    <a:pt x="18429" y="5662"/>
                  </a:cubicBezTo>
                  <a:cubicBezTo>
                    <a:pt x="18270" y="5339"/>
                    <a:pt x="17798" y="5055"/>
                    <a:pt x="17178" y="4909"/>
                  </a:cubicBezTo>
                  <a:cubicBezTo>
                    <a:pt x="16789" y="4818"/>
                    <a:pt x="16341" y="4777"/>
                    <a:pt x="16007" y="4644"/>
                  </a:cubicBezTo>
                  <a:cubicBezTo>
                    <a:pt x="15639" y="4498"/>
                    <a:pt x="15471" y="4260"/>
                    <a:pt x="15456" y="4030"/>
                  </a:cubicBezTo>
                  <a:cubicBezTo>
                    <a:pt x="15442" y="3801"/>
                    <a:pt x="15563" y="3575"/>
                    <a:pt x="15683" y="3353"/>
                  </a:cubicBezTo>
                  <a:cubicBezTo>
                    <a:pt x="15752" y="3224"/>
                    <a:pt x="15828" y="3090"/>
                    <a:pt x="16019" y="2995"/>
                  </a:cubicBezTo>
                  <a:cubicBezTo>
                    <a:pt x="16157" y="2925"/>
                    <a:pt x="16343" y="2883"/>
                    <a:pt x="16509" y="2829"/>
                  </a:cubicBezTo>
                  <a:cubicBezTo>
                    <a:pt x="16854" y="2717"/>
                    <a:pt x="17107" y="2552"/>
                    <a:pt x="17354" y="2390"/>
                  </a:cubicBezTo>
                  <a:cubicBezTo>
                    <a:pt x="17825" y="2082"/>
                    <a:pt x="18297" y="1773"/>
                    <a:pt x="18655" y="1432"/>
                  </a:cubicBezTo>
                  <a:cubicBezTo>
                    <a:pt x="18777" y="1316"/>
                    <a:pt x="18887" y="1190"/>
                    <a:pt x="18861" y="1061"/>
                  </a:cubicBezTo>
                  <a:cubicBezTo>
                    <a:pt x="18834" y="932"/>
                    <a:pt x="18625" y="803"/>
                    <a:pt x="18355" y="802"/>
                  </a:cubicBezTo>
                  <a:cubicBezTo>
                    <a:pt x="17913" y="801"/>
                    <a:pt x="17748" y="1096"/>
                    <a:pt x="17355" y="1193"/>
                  </a:cubicBezTo>
                  <a:cubicBezTo>
                    <a:pt x="17121" y="1251"/>
                    <a:pt x="16839" y="1231"/>
                    <a:pt x="16581" y="1256"/>
                  </a:cubicBezTo>
                  <a:cubicBezTo>
                    <a:pt x="16324" y="1281"/>
                    <a:pt x="16054" y="1399"/>
                    <a:pt x="16156" y="1515"/>
                  </a:cubicBezTo>
                  <a:cubicBezTo>
                    <a:pt x="16233" y="1603"/>
                    <a:pt x="16499" y="1668"/>
                    <a:pt x="16419" y="1755"/>
                  </a:cubicBezTo>
                  <a:cubicBezTo>
                    <a:pt x="15839" y="1834"/>
                    <a:pt x="15217" y="1841"/>
                    <a:pt x="14631" y="1773"/>
                  </a:cubicBezTo>
                  <a:cubicBezTo>
                    <a:pt x="14677" y="1710"/>
                    <a:pt x="14705" y="1755"/>
                    <a:pt x="14768" y="1695"/>
                  </a:cubicBezTo>
                  <a:cubicBezTo>
                    <a:pt x="14963" y="1510"/>
                    <a:pt x="14779" y="1284"/>
                    <a:pt x="14524" y="1117"/>
                  </a:cubicBezTo>
                  <a:cubicBezTo>
                    <a:pt x="14269" y="950"/>
                    <a:pt x="13937" y="805"/>
                    <a:pt x="13787" y="611"/>
                  </a:cubicBezTo>
                  <a:cubicBezTo>
                    <a:pt x="13720" y="523"/>
                    <a:pt x="13691" y="428"/>
                    <a:pt x="13590" y="349"/>
                  </a:cubicBezTo>
                  <a:cubicBezTo>
                    <a:pt x="13500" y="279"/>
                    <a:pt x="13361" y="228"/>
                    <a:pt x="13215" y="185"/>
                  </a:cubicBezTo>
                  <a:cubicBezTo>
                    <a:pt x="12588" y="1"/>
                    <a:pt x="11809" y="-33"/>
                    <a:pt x="11085" y="27"/>
                  </a:cubicBezTo>
                  <a:cubicBezTo>
                    <a:pt x="10362" y="86"/>
                    <a:pt x="9682" y="233"/>
                    <a:pt x="9027" y="392"/>
                  </a:cubicBezTo>
                  <a:cubicBezTo>
                    <a:pt x="8568" y="503"/>
                    <a:pt x="8113" y="622"/>
                    <a:pt x="7714" y="778"/>
                  </a:cubicBezTo>
                  <a:cubicBezTo>
                    <a:pt x="7473" y="872"/>
                    <a:pt x="7253" y="978"/>
                    <a:pt x="6995" y="1060"/>
                  </a:cubicBezTo>
                  <a:cubicBezTo>
                    <a:pt x="6666" y="1164"/>
                    <a:pt x="6304" y="1220"/>
                    <a:pt x="5925" y="1251"/>
                  </a:cubicBezTo>
                  <a:lnTo>
                    <a:pt x="6104" y="1543"/>
                  </a:lnTo>
                  <a:cubicBezTo>
                    <a:pt x="6104" y="1543"/>
                    <a:pt x="3417" y="2583"/>
                    <a:pt x="3417" y="2583"/>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 name="Shape">
              <a:extLst>
                <a:ext uri="{FF2B5EF4-FFF2-40B4-BE49-F238E27FC236}">
                  <a16:creationId xmlns:a16="http://schemas.microsoft.com/office/drawing/2014/main" id="{D379701C-FD7F-FA42-A4E4-A4E34FCE6A4E}"/>
                </a:ext>
              </a:extLst>
            </p:cNvPr>
            <p:cNvSpPr/>
            <p:nvPr/>
          </p:nvSpPr>
          <p:spPr>
            <a:xfrm>
              <a:off x="8724900" y="2895599"/>
              <a:ext cx="2063" cy="1786"/>
            </a:xfrm>
            <a:custGeom>
              <a:avLst/>
              <a:gdLst/>
              <a:ahLst/>
              <a:cxnLst>
                <a:cxn ang="0">
                  <a:pos x="wd2" y="hd2"/>
                </a:cxn>
                <a:cxn ang="5400000">
                  <a:pos x="wd2" y="hd2"/>
                </a:cxn>
                <a:cxn ang="10800000">
                  <a:pos x="wd2" y="hd2"/>
                </a:cxn>
                <a:cxn ang="16200000">
                  <a:pos x="wd2" y="hd2"/>
                </a:cxn>
              </a:cxnLst>
              <a:rect l="0" t="0" r="r" b="b"/>
              <a:pathLst>
                <a:path w="21503" h="21600" extrusionOk="0">
                  <a:moveTo>
                    <a:pt x="477" y="21600"/>
                  </a:moveTo>
                  <a:cubicBezTo>
                    <a:pt x="7547" y="19109"/>
                    <a:pt x="14457" y="15975"/>
                    <a:pt x="21503" y="13423"/>
                  </a:cubicBezTo>
                  <a:cubicBezTo>
                    <a:pt x="14537" y="8501"/>
                    <a:pt x="6869" y="5121"/>
                    <a:pt x="0" y="0"/>
                  </a:cubicBezTo>
                  <a:cubicBezTo>
                    <a:pt x="776" y="7195"/>
                    <a:pt x="-97" y="14391"/>
                    <a:pt x="477" y="2160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 name="Shape">
              <a:extLst>
                <a:ext uri="{FF2B5EF4-FFF2-40B4-BE49-F238E27FC236}">
                  <a16:creationId xmlns:a16="http://schemas.microsoft.com/office/drawing/2014/main" id="{AC5984B6-8C7E-C849-8C9C-C02F561231FF}"/>
                </a:ext>
              </a:extLst>
            </p:cNvPr>
            <p:cNvSpPr/>
            <p:nvPr/>
          </p:nvSpPr>
          <p:spPr>
            <a:xfrm>
              <a:off x="12649200" y="3606800"/>
              <a:ext cx="2840756" cy="2862573"/>
            </a:xfrm>
            <a:custGeom>
              <a:avLst/>
              <a:gdLst/>
              <a:ahLst/>
              <a:cxnLst>
                <a:cxn ang="0">
                  <a:pos x="wd2" y="hd2"/>
                </a:cxn>
                <a:cxn ang="5400000">
                  <a:pos x="wd2" y="hd2"/>
                </a:cxn>
                <a:cxn ang="10800000">
                  <a:pos x="wd2" y="hd2"/>
                </a:cxn>
                <a:cxn ang="16200000">
                  <a:pos x="wd2" y="hd2"/>
                </a:cxn>
              </a:cxnLst>
              <a:rect l="0" t="0" r="r" b="b"/>
              <a:pathLst>
                <a:path w="21600" h="21556" extrusionOk="0">
                  <a:moveTo>
                    <a:pt x="724" y="2075"/>
                  </a:moveTo>
                  <a:cubicBezTo>
                    <a:pt x="628" y="2314"/>
                    <a:pt x="0" y="3462"/>
                    <a:pt x="0" y="3462"/>
                  </a:cubicBezTo>
                  <a:cubicBezTo>
                    <a:pt x="0" y="3462"/>
                    <a:pt x="531" y="4944"/>
                    <a:pt x="555" y="5470"/>
                  </a:cubicBezTo>
                  <a:cubicBezTo>
                    <a:pt x="572" y="5837"/>
                    <a:pt x="565" y="15338"/>
                    <a:pt x="560" y="21042"/>
                  </a:cubicBezTo>
                  <a:lnTo>
                    <a:pt x="16658" y="21042"/>
                  </a:lnTo>
                  <a:cubicBezTo>
                    <a:pt x="16658" y="21042"/>
                    <a:pt x="17012" y="21520"/>
                    <a:pt x="17124" y="21520"/>
                  </a:cubicBezTo>
                  <a:cubicBezTo>
                    <a:pt x="17237" y="21520"/>
                    <a:pt x="17929" y="21600"/>
                    <a:pt x="18170" y="21520"/>
                  </a:cubicBezTo>
                  <a:cubicBezTo>
                    <a:pt x="18412" y="21441"/>
                    <a:pt x="18444" y="20946"/>
                    <a:pt x="18589" y="20707"/>
                  </a:cubicBezTo>
                  <a:cubicBezTo>
                    <a:pt x="18734" y="20468"/>
                    <a:pt x="19152" y="20500"/>
                    <a:pt x="19458" y="20421"/>
                  </a:cubicBezTo>
                  <a:cubicBezTo>
                    <a:pt x="19764" y="20341"/>
                    <a:pt x="19603" y="20038"/>
                    <a:pt x="19780" y="19798"/>
                  </a:cubicBezTo>
                  <a:cubicBezTo>
                    <a:pt x="19957" y="19557"/>
                    <a:pt x="20247" y="19416"/>
                    <a:pt x="20665" y="19416"/>
                  </a:cubicBezTo>
                  <a:cubicBezTo>
                    <a:pt x="20929" y="19416"/>
                    <a:pt x="21200" y="19156"/>
                    <a:pt x="21388" y="18964"/>
                  </a:cubicBezTo>
                  <a:cubicBezTo>
                    <a:pt x="21243" y="18697"/>
                    <a:pt x="21159" y="18396"/>
                    <a:pt x="21149" y="18092"/>
                  </a:cubicBezTo>
                  <a:lnTo>
                    <a:pt x="21182" y="16976"/>
                  </a:lnTo>
                  <a:lnTo>
                    <a:pt x="21407" y="16976"/>
                  </a:lnTo>
                  <a:lnTo>
                    <a:pt x="21600" y="16976"/>
                  </a:lnTo>
                  <a:cubicBezTo>
                    <a:pt x="21600" y="16976"/>
                    <a:pt x="21471" y="16753"/>
                    <a:pt x="21407" y="16658"/>
                  </a:cubicBezTo>
                  <a:cubicBezTo>
                    <a:pt x="21342" y="16562"/>
                    <a:pt x="20667" y="16116"/>
                    <a:pt x="20538" y="15892"/>
                  </a:cubicBezTo>
                  <a:cubicBezTo>
                    <a:pt x="20409" y="15669"/>
                    <a:pt x="19991" y="14904"/>
                    <a:pt x="19894" y="14458"/>
                  </a:cubicBezTo>
                  <a:cubicBezTo>
                    <a:pt x="19797" y="14012"/>
                    <a:pt x="19379" y="13247"/>
                    <a:pt x="19379" y="13247"/>
                  </a:cubicBezTo>
                  <a:cubicBezTo>
                    <a:pt x="19379" y="13247"/>
                    <a:pt x="19154" y="13406"/>
                    <a:pt x="18606" y="12099"/>
                  </a:cubicBezTo>
                  <a:cubicBezTo>
                    <a:pt x="18059" y="10792"/>
                    <a:pt x="18091" y="10856"/>
                    <a:pt x="18091" y="10856"/>
                  </a:cubicBezTo>
                  <a:lnTo>
                    <a:pt x="18220" y="10441"/>
                  </a:lnTo>
                  <a:lnTo>
                    <a:pt x="18027" y="10441"/>
                  </a:lnTo>
                  <a:cubicBezTo>
                    <a:pt x="18027" y="10441"/>
                    <a:pt x="17995" y="10154"/>
                    <a:pt x="17898" y="9931"/>
                  </a:cubicBezTo>
                  <a:cubicBezTo>
                    <a:pt x="17802" y="9708"/>
                    <a:pt x="17641" y="9740"/>
                    <a:pt x="17641" y="9740"/>
                  </a:cubicBezTo>
                  <a:lnTo>
                    <a:pt x="17287" y="8975"/>
                  </a:lnTo>
                  <a:cubicBezTo>
                    <a:pt x="17287" y="8975"/>
                    <a:pt x="17319" y="8529"/>
                    <a:pt x="17255" y="8274"/>
                  </a:cubicBezTo>
                  <a:cubicBezTo>
                    <a:pt x="17190" y="8019"/>
                    <a:pt x="17029" y="8114"/>
                    <a:pt x="16804" y="7987"/>
                  </a:cubicBezTo>
                  <a:cubicBezTo>
                    <a:pt x="16579" y="7859"/>
                    <a:pt x="16353" y="7285"/>
                    <a:pt x="16289" y="7126"/>
                  </a:cubicBezTo>
                  <a:cubicBezTo>
                    <a:pt x="16224" y="6967"/>
                    <a:pt x="15935" y="6807"/>
                    <a:pt x="15870" y="6584"/>
                  </a:cubicBezTo>
                  <a:cubicBezTo>
                    <a:pt x="15806" y="6361"/>
                    <a:pt x="15709" y="6329"/>
                    <a:pt x="15613" y="6170"/>
                  </a:cubicBezTo>
                  <a:cubicBezTo>
                    <a:pt x="15516" y="6010"/>
                    <a:pt x="15549" y="5755"/>
                    <a:pt x="15484" y="5405"/>
                  </a:cubicBezTo>
                  <a:cubicBezTo>
                    <a:pt x="15420" y="5054"/>
                    <a:pt x="14873" y="4735"/>
                    <a:pt x="14873" y="4735"/>
                  </a:cubicBezTo>
                  <a:lnTo>
                    <a:pt x="15227" y="4389"/>
                  </a:lnTo>
                  <a:lnTo>
                    <a:pt x="15291" y="3938"/>
                  </a:lnTo>
                  <a:lnTo>
                    <a:pt x="15645" y="4225"/>
                  </a:lnTo>
                  <a:cubicBezTo>
                    <a:pt x="15645" y="4225"/>
                    <a:pt x="15645" y="4385"/>
                    <a:pt x="15774" y="4895"/>
                  </a:cubicBezTo>
                  <a:cubicBezTo>
                    <a:pt x="15903" y="5405"/>
                    <a:pt x="15999" y="5532"/>
                    <a:pt x="15999" y="5532"/>
                  </a:cubicBezTo>
                  <a:cubicBezTo>
                    <a:pt x="15999" y="5532"/>
                    <a:pt x="16257" y="5628"/>
                    <a:pt x="16546" y="5978"/>
                  </a:cubicBezTo>
                  <a:cubicBezTo>
                    <a:pt x="16836" y="6329"/>
                    <a:pt x="16707" y="6967"/>
                    <a:pt x="16707" y="6967"/>
                  </a:cubicBezTo>
                  <a:cubicBezTo>
                    <a:pt x="16707" y="6967"/>
                    <a:pt x="16836" y="7126"/>
                    <a:pt x="17094" y="7445"/>
                  </a:cubicBezTo>
                  <a:cubicBezTo>
                    <a:pt x="17351" y="7764"/>
                    <a:pt x="18252" y="8688"/>
                    <a:pt x="18510" y="8784"/>
                  </a:cubicBezTo>
                  <a:cubicBezTo>
                    <a:pt x="18767" y="8879"/>
                    <a:pt x="19025" y="8369"/>
                    <a:pt x="19121" y="8210"/>
                  </a:cubicBezTo>
                  <a:cubicBezTo>
                    <a:pt x="19218" y="8050"/>
                    <a:pt x="19025" y="7891"/>
                    <a:pt x="19025" y="7604"/>
                  </a:cubicBezTo>
                  <a:cubicBezTo>
                    <a:pt x="19025" y="7317"/>
                    <a:pt x="19186" y="7222"/>
                    <a:pt x="19476" y="6584"/>
                  </a:cubicBezTo>
                  <a:cubicBezTo>
                    <a:pt x="19765" y="5947"/>
                    <a:pt x="19894" y="4958"/>
                    <a:pt x="19894" y="4958"/>
                  </a:cubicBezTo>
                  <a:lnTo>
                    <a:pt x="18705" y="778"/>
                  </a:lnTo>
                  <a:cubicBezTo>
                    <a:pt x="18652" y="998"/>
                    <a:pt x="18449" y="1152"/>
                    <a:pt x="18239" y="1243"/>
                  </a:cubicBezTo>
                  <a:cubicBezTo>
                    <a:pt x="17809" y="1429"/>
                    <a:pt x="17297" y="1419"/>
                    <a:pt x="16874" y="1216"/>
                  </a:cubicBezTo>
                  <a:cubicBezTo>
                    <a:pt x="16916" y="1421"/>
                    <a:pt x="16642" y="1609"/>
                    <a:pt x="16463" y="1498"/>
                  </a:cubicBezTo>
                  <a:cubicBezTo>
                    <a:pt x="16428" y="1389"/>
                    <a:pt x="16393" y="1280"/>
                    <a:pt x="16357" y="1172"/>
                  </a:cubicBezTo>
                  <a:cubicBezTo>
                    <a:pt x="16208" y="1471"/>
                    <a:pt x="15759" y="1385"/>
                    <a:pt x="15451" y="1250"/>
                  </a:cubicBezTo>
                  <a:cubicBezTo>
                    <a:pt x="15033" y="1066"/>
                    <a:pt x="14579" y="869"/>
                    <a:pt x="14136" y="978"/>
                  </a:cubicBezTo>
                  <a:cubicBezTo>
                    <a:pt x="14135" y="768"/>
                    <a:pt x="14096" y="558"/>
                    <a:pt x="14020" y="362"/>
                  </a:cubicBezTo>
                  <a:cubicBezTo>
                    <a:pt x="13846" y="463"/>
                    <a:pt x="13667" y="566"/>
                    <a:pt x="13468" y="596"/>
                  </a:cubicBezTo>
                  <a:cubicBezTo>
                    <a:pt x="13268" y="627"/>
                    <a:pt x="13042" y="568"/>
                    <a:pt x="12929" y="403"/>
                  </a:cubicBezTo>
                  <a:cubicBezTo>
                    <a:pt x="12883" y="336"/>
                    <a:pt x="12857" y="255"/>
                    <a:pt x="12795" y="203"/>
                  </a:cubicBezTo>
                  <a:cubicBezTo>
                    <a:pt x="12655" y="84"/>
                    <a:pt x="12437" y="191"/>
                    <a:pt x="12311" y="324"/>
                  </a:cubicBezTo>
                  <a:cubicBezTo>
                    <a:pt x="12185" y="458"/>
                    <a:pt x="12069" y="630"/>
                    <a:pt x="11887" y="658"/>
                  </a:cubicBezTo>
                  <a:cubicBezTo>
                    <a:pt x="11913" y="539"/>
                    <a:pt x="11787" y="431"/>
                    <a:pt x="11664" y="426"/>
                  </a:cubicBezTo>
                  <a:cubicBezTo>
                    <a:pt x="11541" y="421"/>
                    <a:pt x="11428" y="486"/>
                    <a:pt x="11323" y="549"/>
                  </a:cubicBezTo>
                  <a:cubicBezTo>
                    <a:pt x="10661" y="946"/>
                    <a:pt x="9998" y="1342"/>
                    <a:pt x="9336" y="1738"/>
                  </a:cubicBezTo>
                  <a:cubicBezTo>
                    <a:pt x="9212" y="1812"/>
                    <a:pt x="9085" y="1888"/>
                    <a:pt x="8943" y="1918"/>
                  </a:cubicBezTo>
                  <a:cubicBezTo>
                    <a:pt x="8664" y="1977"/>
                    <a:pt x="8384" y="1853"/>
                    <a:pt x="8120" y="1745"/>
                  </a:cubicBezTo>
                  <a:cubicBezTo>
                    <a:pt x="7479" y="1480"/>
                    <a:pt x="6807" y="1289"/>
                    <a:pt x="6121" y="1177"/>
                  </a:cubicBezTo>
                  <a:cubicBezTo>
                    <a:pt x="5970" y="1152"/>
                    <a:pt x="5817" y="1131"/>
                    <a:pt x="5671" y="1086"/>
                  </a:cubicBezTo>
                  <a:cubicBezTo>
                    <a:pt x="5508" y="1036"/>
                    <a:pt x="5356" y="958"/>
                    <a:pt x="5200" y="888"/>
                  </a:cubicBezTo>
                  <a:cubicBezTo>
                    <a:pt x="4384" y="521"/>
                    <a:pt x="3482" y="389"/>
                    <a:pt x="2595" y="262"/>
                  </a:cubicBezTo>
                  <a:cubicBezTo>
                    <a:pt x="2318" y="222"/>
                    <a:pt x="2029" y="183"/>
                    <a:pt x="1764" y="273"/>
                  </a:cubicBezTo>
                  <a:cubicBezTo>
                    <a:pt x="1652" y="311"/>
                    <a:pt x="1547" y="372"/>
                    <a:pt x="1431" y="393"/>
                  </a:cubicBezTo>
                  <a:cubicBezTo>
                    <a:pt x="1186" y="439"/>
                    <a:pt x="997" y="331"/>
                    <a:pt x="903" y="106"/>
                  </a:cubicBezTo>
                  <a:cubicBezTo>
                    <a:pt x="889" y="72"/>
                    <a:pt x="877" y="36"/>
                    <a:pt x="867" y="0"/>
                  </a:cubicBezTo>
                  <a:lnTo>
                    <a:pt x="338" y="688"/>
                  </a:lnTo>
                  <a:cubicBezTo>
                    <a:pt x="338" y="688"/>
                    <a:pt x="821" y="1836"/>
                    <a:pt x="724" y="207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 name="Shape">
              <a:extLst>
                <a:ext uri="{FF2B5EF4-FFF2-40B4-BE49-F238E27FC236}">
                  <a16:creationId xmlns:a16="http://schemas.microsoft.com/office/drawing/2014/main" id="{FE4DC186-A636-CE40-8F62-F025153193E0}"/>
                </a:ext>
              </a:extLst>
            </p:cNvPr>
            <p:cNvSpPr/>
            <p:nvPr/>
          </p:nvSpPr>
          <p:spPr>
            <a:xfrm>
              <a:off x="17068799" y="8915400"/>
              <a:ext cx="426907" cy="453453"/>
            </a:xfrm>
            <a:custGeom>
              <a:avLst/>
              <a:gdLst/>
              <a:ahLst/>
              <a:cxnLst>
                <a:cxn ang="0">
                  <a:pos x="wd2" y="hd2"/>
                </a:cxn>
                <a:cxn ang="5400000">
                  <a:pos x="wd2" y="hd2"/>
                </a:cxn>
                <a:cxn ang="10800000">
                  <a:pos x="wd2" y="hd2"/>
                </a:cxn>
                <a:cxn ang="16200000">
                  <a:pos x="wd2" y="hd2"/>
                </a:cxn>
              </a:cxnLst>
              <a:rect l="0" t="0" r="r" b="b"/>
              <a:pathLst>
                <a:path w="21263" h="21514" extrusionOk="0">
                  <a:moveTo>
                    <a:pt x="10759" y="4327"/>
                  </a:moveTo>
                  <a:cubicBezTo>
                    <a:pt x="10574" y="4352"/>
                    <a:pt x="10021" y="3900"/>
                    <a:pt x="9494" y="3649"/>
                  </a:cubicBezTo>
                  <a:cubicBezTo>
                    <a:pt x="8975" y="3402"/>
                    <a:pt x="7697" y="3276"/>
                    <a:pt x="7354" y="3033"/>
                  </a:cubicBezTo>
                  <a:cubicBezTo>
                    <a:pt x="6756" y="3719"/>
                    <a:pt x="1572" y="9664"/>
                    <a:pt x="1324" y="9900"/>
                  </a:cubicBezTo>
                  <a:cubicBezTo>
                    <a:pt x="1060" y="10152"/>
                    <a:pt x="-47" y="12662"/>
                    <a:pt x="111" y="13265"/>
                  </a:cubicBezTo>
                  <a:cubicBezTo>
                    <a:pt x="269" y="13867"/>
                    <a:pt x="-205" y="21399"/>
                    <a:pt x="111" y="21500"/>
                  </a:cubicBezTo>
                  <a:cubicBezTo>
                    <a:pt x="428" y="21600"/>
                    <a:pt x="1745" y="21148"/>
                    <a:pt x="2694" y="20997"/>
                  </a:cubicBezTo>
                  <a:cubicBezTo>
                    <a:pt x="3643" y="20847"/>
                    <a:pt x="7965" y="20194"/>
                    <a:pt x="9599" y="20194"/>
                  </a:cubicBezTo>
                  <a:cubicBezTo>
                    <a:pt x="11162" y="20194"/>
                    <a:pt x="13924" y="21202"/>
                    <a:pt x="14393" y="21202"/>
                  </a:cubicBezTo>
                  <a:lnTo>
                    <a:pt x="14446" y="21136"/>
                  </a:lnTo>
                  <a:lnTo>
                    <a:pt x="14393" y="21202"/>
                  </a:lnTo>
                  <a:cubicBezTo>
                    <a:pt x="14414" y="21202"/>
                    <a:pt x="14437" y="21203"/>
                    <a:pt x="14449" y="21198"/>
                  </a:cubicBezTo>
                  <a:cubicBezTo>
                    <a:pt x="14651" y="21121"/>
                    <a:pt x="17335" y="17410"/>
                    <a:pt x="18573" y="15686"/>
                  </a:cubicBezTo>
                  <a:cubicBezTo>
                    <a:pt x="18403" y="15518"/>
                    <a:pt x="18238" y="15345"/>
                    <a:pt x="18084" y="15164"/>
                  </a:cubicBezTo>
                  <a:cubicBezTo>
                    <a:pt x="17750" y="14768"/>
                    <a:pt x="17432" y="14321"/>
                    <a:pt x="16939" y="14127"/>
                  </a:cubicBezTo>
                  <a:cubicBezTo>
                    <a:pt x="16542" y="13970"/>
                    <a:pt x="16094" y="14006"/>
                    <a:pt x="15666" y="14043"/>
                  </a:cubicBezTo>
                  <a:cubicBezTo>
                    <a:pt x="14059" y="14185"/>
                    <a:pt x="12451" y="14327"/>
                    <a:pt x="10844" y="14468"/>
                  </a:cubicBezTo>
                  <a:cubicBezTo>
                    <a:pt x="10645" y="14486"/>
                    <a:pt x="10441" y="14503"/>
                    <a:pt x="10250" y="14449"/>
                  </a:cubicBezTo>
                  <a:cubicBezTo>
                    <a:pt x="9561" y="14255"/>
                    <a:pt x="9509" y="13252"/>
                    <a:pt x="9997" y="12749"/>
                  </a:cubicBezTo>
                  <a:cubicBezTo>
                    <a:pt x="10484" y="12246"/>
                    <a:pt x="11246" y="12107"/>
                    <a:pt x="11947" y="11959"/>
                  </a:cubicBezTo>
                  <a:cubicBezTo>
                    <a:pt x="13430" y="11647"/>
                    <a:pt x="14872" y="11180"/>
                    <a:pt x="16310" y="10715"/>
                  </a:cubicBezTo>
                  <a:cubicBezTo>
                    <a:pt x="17386" y="10367"/>
                    <a:pt x="18479" y="10011"/>
                    <a:pt x="19411" y="9392"/>
                  </a:cubicBezTo>
                  <a:cubicBezTo>
                    <a:pt x="20343" y="8772"/>
                    <a:pt x="21111" y="7842"/>
                    <a:pt x="21242" y="6766"/>
                  </a:cubicBezTo>
                  <a:cubicBezTo>
                    <a:pt x="21395" y="5514"/>
                    <a:pt x="20675" y="4306"/>
                    <a:pt x="19782" y="3376"/>
                  </a:cubicBezTo>
                  <a:cubicBezTo>
                    <a:pt x="18889" y="2446"/>
                    <a:pt x="17804" y="1691"/>
                    <a:pt x="16965" y="717"/>
                  </a:cubicBezTo>
                  <a:cubicBezTo>
                    <a:pt x="16769" y="489"/>
                    <a:pt x="16575" y="243"/>
                    <a:pt x="16377" y="0"/>
                  </a:cubicBezTo>
                  <a:cubicBezTo>
                    <a:pt x="15336" y="559"/>
                    <a:pt x="13524" y="1538"/>
                    <a:pt x="13263" y="1716"/>
                  </a:cubicBezTo>
                  <a:cubicBezTo>
                    <a:pt x="12894" y="1967"/>
                    <a:pt x="10944" y="4302"/>
                    <a:pt x="10759" y="4327"/>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 name="Shape">
              <a:extLst>
                <a:ext uri="{FF2B5EF4-FFF2-40B4-BE49-F238E27FC236}">
                  <a16:creationId xmlns:a16="http://schemas.microsoft.com/office/drawing/2014/main" id="{E568F22D-DB0B-A44A-A7FA-3AF2CDE25701}"/>
                </a:ext>
              </a:extLst>
            </p:cNvPr>
            <p:cNvSpPr/>
            <p:nvPr/>
          </p:nvSpPr>
          <p:spPr>
            <a:xfrm>
              <a:off x="15684500" y="7505700"/>
              <a:ext cx="1719354" cy="1495980"/>
            </a:xfrm>
            <a:custGeom>
              <a:avLst/>
              <a:gdLst/>
              <a:ahLst/>
              <a:cxnLst>
                <a:cxn ang="0">
                  <a:pos x="wd2" y="hd2"/>
                </a:cxn>
                <a:cxn ang="5400000">
                  <a:pos x="wd2" y="hd2"/>
                </a:cxn>
                <a:cxn ang="10800000">
                  <a:pos x="wd2" y="hd2"/>
                </a:cxn>
                <a:cxn ang="16200000">
                  <a:pos x="wd2" y="hd2"/>
                </a:cxn>
              </a:cxnLst>
              <a:rect l="0" t="0" r="r" b="b"/>
              <a:pathLst>
                <a:path w="21600" h="21593" extrusionOk="0">
                  <a:moveTo>
                    <a:pt x="5923" y="1558"/>
                  </a:moveTo>
                  <a:cubicBezTo>
                    <a:pt x="5824" y="1581"/>
                    <a:pt x="3390" y="2429"/>
                    <a:pt x="3370" y="2543"/>
                  </a:cubicBezTo>
                  <a:cubicBezTo>
                    <a:pt x="3351" y="2658"/>
                    <a:pt x="3091" y="3552"/>
                    <a:pt x="3091" y="3552"/>
                  </a:cubicBezTo>
                  <a:cubicBezTo>
                    <a:pt x="3091" y="3552"/>
                    <a:pt x="1895" y="3414"/>
                    <a:pt x="1815" y="3437"/>
                  </a:cubicBezTo>
                  <a:cubicBezTo>
                    <a:pt x="1735" y="3460"/>
                    <a:pt x="1815" y="4904"/>
                    <a:pt x="1815" y="4904"/>
                  </a:cubicBezTo>
                  <a:cubicBezTo>
                    <a:pt x="1815" y="4904"/>
                    <a:pt x="1256" y="5568"/>
                    <a:pt x="1276" y="5660"/>
                  </a:cubicBezTo>
                  <a:cubicBezTo>
                    <a:pt x="1296" y="5751"/>
                    <a:pt x="1735" y="6255"/>
                    <a:pt x="1695" y="6462"/>
                  </a:cubicBezTo>
                  <a:cubicBezTo>
                    <a:pt x="1655" y="6668"/>
                    <a:pt x="0" y="10609"/>
                    <a:pt x="0" y="10747"/>
                  </a:cubicBezTo>
                  <a:cubicBezTo>
                    <a:pt x="0" y="10883"/>
                    <a:pt x="395" y="14198"/>
                    <a:pt x="399" y="14364"/>
                  </a:cubicBezTo>
                  <a:cubicBezTo>
                    <a:pt x="602" y="14364"/>
                    <a:pt x="2075" y="14368"/>
                    <a:pt x="2092" y="14364"/>
                  </a:cubicBezTo>
                  <a:cubicBezTo>
                    <a:pt x="2111" y="14359"/>
                    <a:pt x="2670" y="13657"/>
                    <a:pt x="2801" y="13657"/>
                  </a:cubicBezTo>
                  <a:cubicBezTo>
                    <a:pt x="2932" y="13657"/>
                    <a:pt x="3430" y="14619"/>
                    <a:pt x="3510" y="14642"/>
                  </a:cubicBezTo>
                  <a:cubicBezTo>
                    <a:pt x="3590" y="14665"/>
                    <a:pt x="4727" y="11869"/>
                    <a:pt x="4727" y="11869"/>
                  </a:cubicBezTo>
                  <a:cubicBezTo>
                    <a:pt x="4727" y="11869"/>
                    <a:pt x="6442" y="13748"/>
                    <a:pt x="6522" y="13748"/>
                  </a:cubicBezTo>
                  <a:cubicBezTo>
                    <a:pt x="6601" y="13748"/>
                    <a:pt x="8237" y="12900"/>
                    <a:pt x="8316" y="12900"/>
                  </a:cubicBezTo>
                  <a:cubicBezTo>
                    <a:pt x="8396" y="12900"/>
                    <a:pt x="8955" y="12946"/>
                    <a:pt x="8955" y="12946"/>
                  </a:cubicBezTo>
                  <a:cubicBezTo>
                    <a:pt x="8955" y="12946"/>
                    <a:pt x="8965" y="13748"/>
                    <a:pt x="9014" y="13771"/>
                  </a:cubicBezTo>
                  <a:cubicBezTo>
                    <a:pt x="9064" y="13794"/>
                    <a:pt x="9543" y="13256"/>
                    <a:pt x="9593" y="13256"/>
                  </a:cubicBezTo>
                  <a:cubicBezTo>
                    <a:pt x="9643" y="13256"/>
                    <a:pt x="9922" y="13588"/>
                    <a:pt x="9922" y="13588"/>
                  </a:cubicBezTo>
                  <a:cubicBezTo>
                    <a:pt x="9922" y="13588"/>
                    <a:pt x="10391" y="13072"/>
                    <a:pt x="10440" y="13049"/>
                  </a:cubicBezTo>
                  <a:cubicBezTo>
                    <a:pt x="10490" y="13026"/>
                    <a:pt x="11368" y="13771"/>
                    <a:pt x="11368" y="13771"/>
                  </a:cubicBezTo>
                  <a:cubicBezTo>
                    <a:pt x="11368" y="13771"/>
                    <a:pt x="11913" y="13214"/>
                    <a:pt x="11966" y="13256"/>
                  </a:cubicBezTo>
                  <a:cubicBezTo>
                    <a:pt x="12019" y="13298"/>
                    <a:pt x="12139" y="13832"/>
                    <a:pt x="12192" y="13863"/>
                  </a:cubicBezTo>
                  <a:cubicBezTo>
                    <a:pt x="12245" y="13893"/>
                    <a:pt x="14080" y="14566"/>
                    <a:pt x="14147" y="14642"/>
                  </a:cubicBezTo>
                  <a:cubicBezTo>
                    <a:pt x="14213" y="14718"/>
                    <a:pt x="15450" y="16811"/>
                    <a:pt x="15569" y="16903"/>
                  </a:cubicBezTo>
                  <a:cubicBezTo>
                    <a:pt x="15689" y="16994"/>
                    <a:pt x="16832" y="17896"/>
                    <a:pt x="17138" y="18247"/>
                  </a:cubicBezTo>
                  <a:cubicBezTo>
                    <a:pt x="17444" y="18598"/>
                    <a:pt x="19239" y="21119"/>
                    <a:pt x="19319" y="21195"/>
                  </a:cubicBezTo>
                  <a:cubicBezTo>
                    <a:pt x="19320" y="21196"/>
                    <a:pt x="19323" y="21198"/>
                    <a:pt x="19324" y="21199"/>
                  </a:cubicBezTo>
                  <a:cubicBezTo>
                    <a:pt x="19333" y="21186"/>
                    <a:pt x="19339" y="21178"/>
                    <a:pt x="19339" y="21178"/>
                  </a:cubicBezTo>
                  <a:cubicBezTo>
                    <a:pt x="19339" y="21178"/>
                    <a:pt x="19333" y="21186"/>
                    <a:pt x="19324" y="21199"/>
                  </a:cubicBezTo>
                  <a:cubicBezTo>
                    <a:pt x="19411" y="21273"/>
                    <a:pt x="19733" y="21311"/>
                    <a:pt x="19864" y="21386"/>
                  </a:cubicBezTo>
                  <a:cubicBezTo>
                    <a:pt x="19997" y="21463"/>
                    <a:pt x="20136" y="21600"/>
                    <a:pt x="20183" y="21592"/>
                  </a:cubicBezTo>
                  <a:cubicBezTo>
                    <a:pt x="20229" y="21585"/>
                    <a:pt x="20721" y="20874"/>
                    <a:pt x="20814" y="20798"/>
                  </a:cubicBezTo>
                  <a:cubicBezTo>
                    <a:pt x="20880" y="20744"/>
                    <a:pt x="21337" y="20446"/>
                    <a:pt x="21600" y="20276"/>
                  </a:cubicBezTo>
                  <a:cubicBezTo>
                    <a:pt x="21441" y="20041"/>
                    <a:pt x="21271" y="19814"/>
                    <a:pt x="21023" y="19792"/>
                  </a:cubicBezTo>
                  <a:cubicBezTo>
                    <a:pt x="20907" y="19782"/>
                    <a:pt x="20781" y="19820"/>
                    <a:pt x="20679" y="19756"/>
                  </a:cubicBezTo>
                  <a:cubicBezTo>
                    <a:pt x="20497" y="19641"/>
                    <a:pt x="20546" y="19328"/>
                    <a:pt x="20467" y="19107"/>
                  </a:cubicBezTo>
                  <a:cubicBezTo>
                    <a:pt x="20383" y="18872"/>
                    <a:pt x="20158" y="18757"/>
                    <a:pt x="19961" y="18643"/>
                  </a:cubicBezTo>
                  <a:cubicBezTo>
                    <a:pt x="19716" y="18500"/>
                    <a:pt x="19418" y="18318"/>
                    <a:pt x="19232" y="18082"/>
                  </a:cubicBezTo>
                  <a:cubicBezTo>
                    <a:pt x="19070" y="17876"/>
                    <a:pt x="19093" y="17725"/>
                    <a:pt x="19012" y="17463"/>
                  </a:cubicBezTo>
                  <a:cubicBezTo>
                    <a:pt x="18897" y="17089"/>
                    <a:pt x="18634" y="16805"/>
                    <a:pt x="18380" y="16537"/>
                  </a:cubicBezTo>
                  <a:cubicBezTo>
                    <a:pt x="18183" y="16329"/>
                    <a:pt x="17964" y="16109"/>
                    <a:pt x="17697" y="16090"/>
                  </a:cubicBezTo>
                  <a:cubicBezTo>
                    <a:pt x="17560" y="16080"/>
                    <a:pt x="17419" y="16125"/>
                    <a:pt x="17290" y="16071"/>
                  </a:cubicBezTo>
                  <a:cubicBezTo>
                    <a:pt x="17189" y="16029"/>
                    <a:pt x="17113" y="15932"/>
                    <a:pt x="17045" y="15835"/>
                  </a:cubicBezTo>
                  <a:cubicBezTo>
                    <a:pt x="16616" y="15225"/>
                    <a:pt x="16330" y="14499"/>
                    <a:pt x="15929" y="13865"/>
                  </a:cubicBezTo>
                  <a:cubicBezTo>
                    <a:pt x="15527" y="13230"/>
                    <a:pt x="14957" y="12663"/>
                    <a:pt x="14276" y="12606"/>
                  </a:cubicBezTo>
                  <a:cubicBezTo>
                    <a:pt x="14194" y="12599"/>
                    <a:pt x="14102" y="12594"/>
                    <a:pt x="14048" y="12523"/>
                  </a:cubicBezTo>
                  <a:cubicBezTo>
                    <a:pt x="14004" y="12466"/>
                    <a:pt x="14001" y="12383"/>
                    <a:pt x="13990" y="12308"/>
                  </a:cubicBezTo>
                  <a:cubicBezTo>
                    <a:pt x="13939" y="11952"/>
                    <a:pt x="13650" y="11660"/>
                    <a:pt x="13336" y="11646"/>
                  </a:cubicBezTo>
                  <a:cubicBezTo>
                    <a:pt x="13039" y="11633"/>
                    <a:pt x="12672" y="11905"/>
                    <a:pt x="12386" y="11756"/>
                  </a:cubicBezTo>
                  <a:cubicBezTo>
                    <a:pt x="12172" y="11645"/>
                    <a:pt x="11965" y="11239"/>
                    <a:pt x="11811" y="11041"/>
                  </a:cubicBezTo>
                  <a:cubicBezTo>
                    <a:pt x="11314" y="10400"/>
                    <a:pt x="10838" y="9737"/>
                    <a:pt x="10385" y="9055"/>
                  </a:cubicBezTo>
                  <a:cubicBezTo>
                    <a:pt x="9453" y="8408"/>
                    <a:pt x="9120" y="7067"/>
                    <a:pt x="8863" y="5852"/>
                  </a:cubicBezTo>
                  <a:cubicBezTo>
                    <a:pt x="8431" y="3809"/>
                    <a:pt x="7888" y="1599"/>
                    <a:pt x="6788" y="0"/>
                  </a:cubicBezTo>
                  <a:cubicBezTo>
                    <a:pt x="6434" y="687"/>
                    <a:pt x="5983" y="1544"/>
                    <a:pt x="5923" y="155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 name="Shape">
              <a:extLst>
                <a:ext uri="{FF2B5EF4-FFF2-40B4-BE49-F238E27FC236}">
                  <a16:creationId xmlns:a16="http://schemas.microsoft.com/office/drawing/2014/main" id="{5833C8EE-F518-5B49-9B72-15B71723F28C}"/>
                </a:ext>
              </a:extLst>
            </p:cNvPr>
            <p:cNvSpPr/>
            <p:nvPr/>
          </p:nvSpPr>
          <p:spPr>
            <a:xfrm>
              <a:off x="11912599" y="6121399"/>
              <a:ext cx="4304297" cy="3673214"/>
            </a:xfrm>
            <a:custGeom>
              <a:avLst/>
              <a:gdLst/>
              <a:ahLst/>
              <a:cxnLst>
                <a:cxn ang="0">
                  <a:pos x="wd2" y="hd2"/>
                </a:cxn>
                <a:cxn ang="5400000">
                  <a:pos x="wd2" y="hd2"/>
                </a:cxn>
                <a:cxn ang="10800000">
                  <a:pos x="wd2" y="hd2"/>
                </a:cxn>
                <a:cxn ang="16200000">
                  <a:pos x="wd2" y="hd2"/>
                </a:cxn>
              </a:cxnLst>
              <a:rect l="0" t="0" r="r" b="b"/>
              <a:pathLst>
                <a:path w="21600" h="21600" extrusionOk="0">
                  <a:moveTo>
                    <a:pt x="17343" y="353"/>
                  </a:moveTo>
                  <a:cubicBezTo>
                    <a:pt x="17067" y="353"/>
                    <a:pt x="16876" y="463"/>
                    <a:pt x="16759" y="651"/>
                  </a:cubicBezTo>
                  <a:cubicBezTo>
                    <a:pt x="16642" y="839"/>
                    <a:pt x="16748" y="1075"/>
                    <a:pt x="16546" y="1137"/>
                  </a:cubicBezTo>
                  <a:cubicBezTo>
                    <a:pt x="16345" y="1200"/>
                    <a:pt x="16068" y="1175"/>
                    <a:pt x="15973" y="1361"/>
                  </a:cubicBezTo>
                  <a:cubicBezTo>
                    <a:pt x="15877" y="1548"/>
                    <a:pt x="15856" y="1934"/>
                    <a:pt x="15697" y="1996"/>
                  </a:cubicBezTo>
                  <a:cubicBezTo>
                    <a:pt x="15537" y="2058"/>
                    <a:pt x="15081" y="1996"/>
                    <a:pt x="15006" y="1996"/>
                  </a:cubicBezTo>
                  <a:cubicBezTo>
                    <a:pt x="14932" y="1996"/>
                    <a:pt x="14698" y="1623"/>
                    <a:pt x="14698" y="1623"/>
                  </a:cubicBezTo>
                  <a:lnTo>
                    <a:pt x="4074" y="1623"/>
                  </a:lnTo>
                  <a:cubicBezTo>
                    <a:pt x="4072" y="3549"/>
                    <a:pt x="4071" y="4921"/>
                    <a:pt x="4071" y="4921"/>
                  </a:cubicBezTo>
                  <a:lnTo>
                    <a:pt x="2844" y="4921"/>
                  </a:lnTo>
                  <a:lnTo>
                    <a:pt x="2844" y="5724"/>
                  </a:lnTo>
                  <a:cubicBezTo>
                    <a:pt x="2853" y="5730"/>
                    <a:pt x="2859" y="5733"/>
                    <a:pt x="2859" y="5733"/>
                  </a:cubicBezTo>
                  <a:cubicBezTo>
                    <a:pt x="2859" y="5733"/>
                    <a:pt x="2853" y="5730"/>
                    <a:pt x="2844" y="5724"/>
                  </a:cubicBezTo>
                  <a:lnTo>
                    <a:pt x="2844" y="11680"/>
                  </a:lnTo>
                  <a:lnTo>
                    <a:pt x="1697" y="11680"/>
                  </a:lnTo>
                  <a:cubicBezTo>
                    <a:pt x="1697" y="11680"/>
                    <a:pt x="1474" y="11923"/>
                    <a:pt x="1474" y="11997"/>
                  </a:cubicBezTo>
                  <a:cubicBezTo>
                    <a:pt x="1474" y="12072"/>
                    <a:pt x="1553" y="12408"/>
                    <a:pt x="1553" y="12464"/>
                  </a:cubicBezTo>
                  <a:cubicBezTo>
                    <a:pt x="1553" y="12520"/>
                    <a:pt x="1123" y="12893"/>
                    <a:pt x="1123" y="13024"/>
                  </a:cubicBezTo>
                  <a:cubicBezTo>
                    <a:pt x="1123" y="13155"/>
                    <a:pt x="1203" y="13313"/>
                    <a:pt x="1203" y="13313"/>
                  </a:cubicBezTo>
                  <a:cubicBezTo>
                    <a:pt x="1203" y="13313"/>
                    <a:pt x="900" y="13360"/>
                    <a:pt x="860" y="13407"/>
                  </a:cubicBezTo>
                  <a:cubicBezTo>
                    <a:pt x="821" y="13454"/>
                    <a:pt x="733" y="13491"/>
                    <a:pt x="733" y="13566"/>
                  </a:cubicBezTo>
                  <a:cubicBezTo>
                    <a:pt x="733" y="13640"/>
                    <a:pt x="860" y="13920"/>
                    <a:pt x="868" y="13995"/>
                  </a:cubicBezTo>
                  <a:cubicBezTo>
                    <a:pt x="876" y="14070"/>
                    <a:pt x="908" y="14219"/>
                    <a:pt x="852" y="14256"/>
                  </a:cubicBezTo>
                  <a:cubicBezTo>
                    <a:pt x="797" y="14294"/>
                    <a:pt x="303" y="14714"/>
                    <a:pt x="327" y="14760"/>
                  </a:cubicBezTo>
                  <a:cubicBezTo>
                    <a:pt x="351" y="14807"/>
                    <a:pt x="550" y="15377"/>
                    <a:pt x="574" y="15414"/>
                  </a:cubicBezTo>
                  <a:cubicBezTo>
                    <a:pt x="597" y="15451"/>
                    <a:pt x="0" y="16198"/>
                    <a:pt x="0" y="16263"/>
                  </a:cubicBezTo>
                  <a:cubicBezTo>
                    <a:pt x="0" y="16329"/>
                    <a:pt x="104" y="16487"/>
                    <a:pt x="151" y="16515"/>
                  </a:cubicBezTo>
                  <a:cubicBezTo>
                    <a:pt x="199" y="16543"/>
                    <a:pt x="430" y="16338"/>
                    <a:pt x="462" y="16347"/>
                  </a:cubicBezTo>
                  <a:cubicBezTo>
                    <a:pt x="494" y="16357"/>
                    <a:pt x="836" y="16483"/>
                    <a:pt x="860" y="16518"/>
                  </a:cubicBezTo>
                  <a:cubicBezTo>
                    <a:pt x="884" y="16553"/>
                    <a:pt x="685" y="16805"/>
                    <a:pt x="693" y="16842"/>
                  </a:cubicBezTo>
                  <a:cubicBezTo>
                    <a:pt x="701" y="16880"/>
                    <a:pt x="844" y="17048"/>
                    <a:pt x="852" y="17206"/>
                  </a:cubicBezTo>
                  <a:cubicBezTo>
                    <a:pt x="860" y="17365"/>
                    <a:pt x="852" y="17421"/>
                    <a:pt x="892" y="17421"/>
                  </a:cubicBezTo>
                  <a:cubicBezTo>
                    <a:pt x="932" y="17421"/>
                    <a:pt x="1044" y="17346"/>
                    <a:pt x="1044" y="17346"/>
                  </a:cubicBezTo>
                  <a:lnTo>
                    <a:pt x="956" y="18056"/>
                  </a:lnTo>
                  <a:cubicBezTo>
                    <a:pt x="956" y="18056"/>
                    <a:pt x="1474" y="18523"/>
                    <a:pt x="1490" y="18569"/>
                  </a:cubicBezTo>
                  <a:cubicBezTo>
                    <a:pt x="1504" y="18611"/>
                    <a:pt x="1387" y="19047"/>
                    <a:pt x="1360" y="19146"/>
                  </a:cubicBezTo>
                  <a:lnTo>
                    <a:pt x="1360" y="19146"/>
                  </a:lnTo>
                  <a:cubicBezTo>
                    <a:pt x="1360" y="19146"/>
                    <a:pt x="1888" y="19777"/>
                    <a:pt x="1941" y="19857"/>
                  </a:cubicBezTo>
                  <a:cubicBezTo>
                    <a:pt x="1991" y="19933"/>
                    <a:pt x="2378" y="20963"/>
                    <a:pt x="2425" y="21089"/>
                  </a:cubicBezTo>
                  <a:cubicBezTo>
                    <a:pt x="2425" y="21082"/>
                    <a:pt x="2426" y="21076"/>
                    <a:pt x="2426" y="21076"/>
                  </a:cubicBezTo>
                  <a:cubicBezTo>
                    <a:pt x="2426" y="21076"/>
                    <a:pt x="2425" y="21082"/>
                    <a:pt x="2425" y="21089"/>
                  </a:cubicBezTo>
                  <a:cubicBezTo>
                    <a:pt x="2428" y="21098"/>
                    <a:pt x="2430" y="21102"/>
                    <a:pt x="2430" y="21102"/>
                  </a:cubicBezTo>
                  <a:lnTo>
                    <a:pt x="3874" y="20903"/>
                  </a:lnTo>
                  <a:lnTo>
                    <a:pt x="4214" y="20629"/>
                  </a:lnTo>
                  <a:lnTo>
                    <a:pt x="4214" y="20131"/>
                  </a:lnTo>
                  <a:lnTo>
                    <a:pt x="5000" y="19882"/>
                  </a:lnTo>
                  <a:cubicBezTo>
                    <a:pt x="5000" y="19882"/>
                    <a:pt x="5234" y="19907"/>
                    <a:pt x="5330" y="19957"/>
                  </a:cubicBezTo>
                  <a:cubicBezTo>
                    <a:pt x="5425" y="20007"/>
                    <a:pt x="5330" y="20243"/>
                    <a:pt x="5330" y="20293"/>
                  </a:cubicBezTo>
                  <a:cubicBezTo>
                    <a:pt x="5330" y="20343"/>
                    <a:pt x="5797" y="21164"/>
                    <a:pt x="5861" y="21251"/>
                  </a:cubicBezTo>
                  <a:cubicBezTo>
                    <a:pt x="5924" y="21339"/>
                    <a:pt x="6222" y="21426"/>
                    <a:pt x="6328" y="21451"/>
                  </a:cubicBezTo>
                  <a:cubicBezTo>
                    <a:pt x="6434" y="21476"/>
                    <a:pt x="7815" y="21152"/>
                    <a:pt x="7868" y="21177"/>
                  </a:cubicBezTo>
                  <a:cubicBezTo>
                    <a:pt x="7921" y="21202"/>
                    <a:pt x="8006" y="21600"/>
                    <a:pt x="8006" y="21600"/>
                  </a:cubicBezTo>
                  <a:lnTo>
                    <a:pt x="8920" y="21538"/>
                  </a:lnTo>
                  <a:cubicBezTo>
                    <a:pt x="8920" y="21538"/>
                    <a:pt x="9270" y="21102"/>
                    <a:pt x="9302" y="21077"/>
                  </a:cubicBezTo>
                  <a:cubicBezTo>
                    <a:pt x="9334" y="21052"/>
                    <a:pt x="10014" y="20990"/>
                    <a:pt x="10014" y="20990"/>
                  </a:cubicBezTo>
                  <a:cubicBezTo>
                    <a:pt x="10014" y="20990"/>
                    <a:pt x="9982" y="20517"/>
                    <a:pt x="10014" y="20480"/>
                  </a:cubicBezTo>
                  <a:cubicBezTo>
                    <a:pt x="10046" y="20442"/>
                    <a:pt x="10375" y="20144"/>
                    <a:pt x="10492" y="20169"/>
                  </a:cubicBezTo>
                  <a:cubicBezTo>
                    <a:pt x="10609" y="20194"/>
                    <a:pt x="11533" y="21003"/>
                    <a:pt x="11607" y="21003"/>
                  </a:cubicBezTo>
                  <a:cubicBezTo>
                    <a:pt x="11681" y="21003"/>
                    <a:pt x="12170" y="20953"/>
                    <a:pt x="12276" y="20940"/>
                  </a:cubicBezTo>
                  <a:cubicBezTo>
                    <a:pt x="12383" y="20928"/>
                    <a:pt x="13105" y="19609"/>
                    <a:pt x="13158" y="19521"/>
                  </a:cubicBezTo>
                  <a:cubicBezTo>
                    <a:pt x="13211" y="19434"/>
                    <a:pt x="13732" y="19036"/>
                    <a:pt x="13763" y="19011"/>
                  </a:cubicBezTo>
                  <a:cubicBezTo>
                    <a:pt x="13795" y="18986"/>
                    <a:pt x="13710" y="18040"/>
                    <a:pt x="13700" y="17978"/>
                  </a:cubicBezTo>
                  <a:cubicBezTo>
                    <a:pt x="13689" y="17916"/>
                    <a:pt x="13275" y="17592"/>
                    <a:pt x="13317" y="17551"/>
                  </a:cubicBezTo>
                  <a:cubicBezTo>
                    <a:pt x="13360" y="17510"/>
                    <a:pt x="14093" y="17592"/>
                    <a:pt x="14103" y="17551"/>
                  </a:cubicBezTo>
                  <a:cubicBezTo>
                    <a:pt x="14114" y="17510"/>
                    <a:pt x="14071" y="17119"/>
                    <a:pt x="14103" y="17119"/>
                  </a:cubicBezTo>
                  <a:cubicBezTo>
                    <a:pt x="14135" y="17119"/>
                    <a:pt x="14794" y="17107"/>
                    <a:pt x="14826" y="17156"/>
                  </a:cubicBezTo>
                  <a:cubicBezTo>
                    <a:pt x="14857" y="17206"/>
                    <a:pt x="14634" y="17903"/>
                    <a:pt x="14645" y="18050"/>
                  </a:cubicBezTo>
                  <a:cubicBezTo>
                    <a:pt x="14656" y="18196"/>
                    <a:pt x="14698" y="19297"/>
                    <a:pt x="14741" y="19384"/>
                  </a:cubicBezTo>
                  <a:cubicBezTo>
                    <a:pt x="14783" y="19472"/>
                    <a:pt x="15665" y="20306"/>
                    <a:pt x="15697" y="20368"/>
                  </a:cubicBezTo>
                  <a:cubicBezTo>
                    <a:pt x="15728" y="20430"/>
                    <a:pt x="15558" y="21351"/>
                    <a:pt x="15558" y="21351"/>
                  </a:cubicBezTo>
                  <a:cubicBezTo>
                    <a:pt x="15558" y="21351"/>
                    <a:pt x="15835" y="21351"/>
                    <a:pt x="15877" y="21351"/>
                  </a:cubicBezTo>
                  <a:cubicBezTo>
                    <a:pt x="15878" y="21351"/>
                    <a:pt x="15878" y="21350"/>
                    <a:pt x="15879" y="21350"/>
                  </a:cubicBezTo>
                  <a:cubicBezTo>
                    <a:pt x="15879" y="21343"/>
                    <a:pt x="15878" y="21339"/>
                    <a:pt x="15878" y="21339"/>
                  </a:cubicBezTo>
                  <a:cubicBezTo>
                    <a:pt x="15878" y="21339"/>
                    <a:pt x="15879" y="21343"/>
                    <a:pt x="15879" y="21350"/>
                  </a:cubicBezTo>
                  <a:cubicBezTo>
                    <a:pt x="15925" y="21333"/>
                    <a:pt x="16185" y="20516"/>
                    <a:pt x="16185" y="20442"/>
                  </a:cubicBezTo>
                  <a:cubicBezTo>
                    <a:pt x="16185" y="20368"/>
                    <a:pt x="16111" y="19808"/>
                    <a:pt x="16121" y="19745"/>
                  </a:cubicBezTo>
                  <a:cubicBezTo>
                    <a:pt x="16132" y="19683"/>
                    <a:pt x="16461" y="19223"/>
                    <a:pt x="16525" y="19248"/>
                  </a:cubicBezTo>
                  <a:cubicBezTo>
                    <a:pt x="16589" y="19272"/>
                    <a:pt x="16706" y="19521"/>
                    <a:pt x="16738" y="19521"/>
                  </a:cubicBezTo>
                  <a:cubicBezTo>
                    <a:pt x="16769" y="19521"/>
                    <a:pt x="17014" y="19223"/>
                    <a:pt x="17014" y="19223"/>
                  </a:cubicBezTo>
                  <a:cubicBezTo>
                    <a:pt x="17014" y="19223"/>
                    <a:pt x="17072" y="17990"/>
                    <a:pt x="17104" y="17916"/>
                  </a:cubicBezTo>
                  <a:cubicBezTo>
                    <a:pt x="17136" y="17841"/>
                    <a:pt x="17917" y="16478"/>
                    <a:pt x="17917" y="16478"/>
                  </a:cubicBezTo>
                  <a:cubicBezTo>
                    <a:pt x="17917" y="16478"/>
                    <a:pt x="18506" y="16413"/>
                    <a:pt x="18554" y="16422"/>
                  </a:cubicBezTo>
                  <a:cubicBezTo>
                    <a:pt x="18602" y="16431"/>
                    <a:pt x="19048" y="14051"/>
                    <a:pt x="19048" y="13995"/>
                  </a:cubicBezTo>
                  <a:cubicBezTo>
                    <a:pt x="19048" y="13995"/>
                    <a:pt x="19048" y="13994"/>
                    <a:pt x="19048" y="13994"/>
                  </a:cubicBezTo>
                  <a:cubicBezTo>
                    <a:pt x="19042" y="13994"/>
                    <a:pt x="19038" y="13994"/>
                    <a:pt x="19038" y="13994"/>
                  </a:cubicBezTo>
                  <a:cubicBezTo>
                    <a:pt x="19038" y="13994"/>
                    <a:pt x="19042" y="13994"/>
                    <a:pt x="19048" y="13994"/>
                  </a:cubicBezTo>
                  <a:cubicBezTo>
                    <a:pt x="19046" y="13926"/>
                    <a:pt x="18888" y="12576"/>
                    <a:pt x="18888" y="12520"/>
                  </a:cubicBezTo>
                  <a:cubicBezTo>
                    <a:pt x="18888" y="12464"/>
                    <a:pt x="19550" y="10858"/>
                    <a:pt x="19566" y="10774"/>
                  </a:cubicBezTo>
                  <a:cubicBezTo>
                    <a:pt x="19582" y="10690"/>
                    <a:pt x="19406" y="10485"/>
                    <a:pt x="19398" y="10448"/>
                  </a:cubicBezTo>
                  <a:cubicBezTo>
                    <a:pt x="19390" y="10410"/>
                    <a:pt x="19613" y="10140"/>
                    <a:pt x="19613" y="10140"/>
                  </a:cubicBezTo>
                  <a:cubicBezTo>
                    <a:pt x="19613" y="10140"/>
                    <a:pt x="19582" y="9551"/>
                    <a:pt x="19613" y="9542"/>
                  </a:cubicBezTo>
                  <a:cubicBezTo>
                    <a:pt x="19645" y="9533"/>
                    <a:pt x="20123" y="9589"/>
                    <a:pt x="20123" y="9589"/>
                  </a:cubicBezTo>
                  <a:cubicBezTo>
                    <a:pt x="20123" y="9589"/>
                    <a:pt x="20227" y="9225"/>
                    <a:pt x="20235" y="9178"/>
                  </a:cubicBezTo>
                  <a:cubicBezTo>
                    <a:pt x="20243" y="9131"/>
                    <a:pt x="21215" y="8786"/>
                    <a:pt x="21255" y="8777"/>
                  </a:cubicBezTo>
                  <a:cubicBezTo>
                    <a:pt x="21278" y="8771"/>
                    <a:pt x="21459" y="8422"/>
                    <a:pt x="21600" y="8142"/>
                  </a:cubicBezTo>
                  <a:cubicBezTo>
                    <a:pt x="21425" y="7883"/>
                    <a:pt x="21216" y="7663"/>
                    <a:pt x="20960" y="7503"/>
                  </a:cubicBezTo>
                  <a:cubicBezTo>
                    <a:pt x="20788" y="7395"/>
                    <a:pt x="20595" y="7314"/>
                    <a:pt x="20465" y="7143"/>
                  </a:cubicBezTo>
                  <a:cubicBezTo>
                    <a:pt x="20337" y="6974"/>
                    <a:pt x="20291" y="6742"/>
                    <a:pt x="20251" y="6521"/>
                  </a:cubicBezTo>
                  <a:cubicBezTo>
                    <a:pt x="20046" y="5375"/>
                    <a:pt x="19888" y="4216"/>
                    <a:pt x="19778" y="3052"/>
                  </a:cubicBezTo>
                  <a:cubicBezTo>
                    <a:pt x="19837" y="3108"/>
                    <a:pt x="19928" y="3110"/>
                    <a:pt x="19988" y="3057"/>
                  </a:cubicBezTo>
                  <a:cubicBezTo>
                    <a:pt x="19542" y="2598"/>
                    <a:pt x="19523" y="1768"/>
                    <a:pt x="19124" y="1252"/>
                  </a:cubicBezTo>
                  <a:cubicBezTo>
                    <a:pt x="18830" y="871"/>
                    <a:pt x="18372" y="719"/>
                    <a:pt x="18054" y="364"/>
                  </a:cubicBezTo>
                  <a:cubicBezTo>
                    <a:pt x="17960" y="259"/>
                    <a:pt x="17881" y="135"/>
                    <a:pt x="17820" y="0"/>
                  </a:cubicBezTo>
                  <a:cubicBezTo>
                    <a:pt x="17696" y="150"/>
                    <a:pt x="17517" y="353"/>
                    <a:pt x="17343" y="353"/>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 name="Shape">
              <a:extLst>
                <a:ext uri="{FF2B5EF4-FFF2-40B4-BE49-F238E27FC236}">
                  <a16:creationId xmlns:a16="http://schemas.microsoft.com/office/drawing/2014/main" id="{1F21E982-ECB6-7148-97D8-7EAB793700BD}"/>
                </a:ext>
              </a:extLst>
            </p:cNvPr>
            <p:cNvSpPr/>
            <p:nvPr/>
          </p:nvSpPr>
          <p:spPr>
            <a:xfrm>
              <a:off x="1968500" y="8623299"/>
              <a:ext cx="777971" cy="192740"/>
            </a:xfrm>
            <a:custGeom>
              <a:avLst/>
              <a:gdLst/>
              <a:ahLst/>
              <a:cxnLst>
                <a:cxn ang="0">
                  <a:pos x="wd2" y="hd2"/>
                </a:cxn>
                <a:cxn ang="5400000">
                  <a:pos x="wd2" y="hd2"/>
                </a:cxn>
                <a:cxn ang="10800000">
                  <a:pos x="wd2" y="hd2"/>
                </a:cxn>
                <a:cxn ang="16200000">
                  <a:pos x="wd2" y="hd2"/>
                </a:cxn>
              </a:cxnLst>
              <a:rect l="0" t="0" r="r" b="b"/>
              <a:pathLst>
                <a:path w="21570" h="21446" extrusionOk="0">
                  <a:moveTo>
                    <a:pt x="6340" y="17687"/>
                  </a:moveTo>
                  <a:cubicBezTo>
                    <a:pt x="7001" y="17510"/>
                    <a:pt x="7221" y="14331"/>
                    <a:pt x="7617" y="14154"/>
                  </a:cubicBezTo>
                  <a:cubicBezTo>
                    <a:pt x="8013" y="13978"/>
                    <a:pt x="10390" y="13448"/>
                    <a:pt x="10874" y="13448"/>
                  </a:cubicBezTo>
                  <a:cubicBezTo>
                    <a:pt x="11358" y="13448"/>
                    <a:pt x="11798" y="7618"/>
                    <a:pt x="12019" y="7088"/>
                  </a:cubicBezTo>
                  <a:cubicBezTo>
                    <a:pt x="12239" y="6558"/>
                    <a:pt x="12459" y="6558"/>
                    <a:pt x="13119" y="7442"/>
                  </a:cubicBezTo>
                  <a:cubicBezTo>
                    <a:pt x="13779" y="8325"/>
                    <a:pt x="17124" y="16627"/>
                    <a:pt x="17565" y="16804"/>
                  </a:cubicBezTo>
                  <a:cubicBezTo>
                    <a:pt x="18005" y="16980"/>
                    <a:pt x="21570" y="12388"/>
                    <a:pt x="21570" y="11681"/>
                  </a:cubicBezTo>
                  <a:cubicBezTo>
                    <a:pt x="21570" y="10975"/>
                    <a:pt x="20602" y="6735"/>
                    <a:pt x="20426" y="6735"/>
                  </a:cubicBezTo>
                  <a:cubicBezTo>
                    <a:pt x="20250" y="6735"/>
                    <a:pt x="18005" y="10621"/>
                    <a:pt x="17785" y="10621"/>
                  </a:cubicBezTo>
                  <a:cubicBezTo>
                    <a:pt x="17565" y="10621"/>
                    <a:pt x="12723" y="199"/>
                    <a:pt x="12503" y="23"/>
                  </a:cubicBezTo>
                  <a:cubicBezTo>
                    <a:pt x="12283" y="-154"/>
                    <a:pt x="10654" y="729"/>
                    <a:pt x="10478" y="1259"/>
                  </a:cubicBezTo>
                  <a:cubicBezTo>
                    <a:pt x="10302" y="1789"/>
                    <a:pt x="10038" y="6382"/>
                    <a:pt x="9730" y="6382"/>
                  </a:cubicBezTo>
                  <a:cubicBezTo>
                    <a:pt x="9454" y="6382"/>
                    <a:pt x="2896" y="6382"/>
                    <a:pt x="1530" y="6382"/>
                  </a:cubicBezTo>
                  <a:cubicBezTo>
                    <a:pt x="1586" y="7181"/>
                    <a:pt x="1653" y="7963"/>
                    <a:pt x="1748" y="8699"/>
                  </a:cubicBezTo>
                  <a:cubicBezTo>
                    <a:pt x="1941" y="10193"/>
                    <a:pt x="2270" y="11507"/>
                    <a:pt x="2683" y="11801"/>
                  </a:cubicBezTo>
                  <a:cubicBezTo>
                    <a:pt x="2674" y="12238"/>
                    <a:pt x="2665" y="12675"/>
                    <a:pt x="2656" y="13113"/>
                  </a:cubicBezTo>
                  <a:cubicBezTo>
                    <a:pt x="2368" y="14243"/>
                    <a:pt x="1781" y="12754"/>
                    <a:pt x="1912" y="11222"/>
                  </a:cubicBezTo>
                  <a:cubicBezTo>
                    <a:pt x="1440" y="9461"/>
                    <a:pt x="625" y="9469"/>
                    <a:pt x="155" y="11241"/>
                  </a:cubicBezTo>
                  <a:cubicBezTo>
                    <a:pt x="85" y="11505"/>
                    <a:pt x="20" y="11822"/>
                    <a:pt x="4" y="12203"/>
                  </a:cubicBezTo>
                  <a:cubicBezTo>
                    <a:pt x="-30" y="12995"/>
                    <a:pt x="150" y="13634"/>
                    <a:pt x="287" y="14219"/>
                  </a:cubicBezTo>
                  <a:cubicBezTo>
                    <a:pt x="729" y="16111"/>
                    <a:pt x="825" y="18788"/>
                    <a:pt x="777" y="21446"/>
                  </a:cubicBezTo>
                  <a:cubicBezTo>
                    <a:pt x="1181" y="20444"/>
                    <a:pt x="1634" y="19453"/>
                    <a:pt x="1851" y="19453"/>
                  </a:cubicBezTo>
                  <a:cubicBezTo>
                    <a:pt x="2291" y="19453"/>
                    <a:pt x="5680" y="17864"/>
                    <a:pt x="6340" y="17687"/>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 name="Shape">
              <a:extLst>
                <a:ext uri="{FF2B5EF4-FFF2-40B4-BE49-F238E27FC236}">
                  <a16:creationId xmlns:a16="http://schemas.microsoft.com/office/drawing/2014/main" id="{789FDAB4-AC01-7A4A-AA01-6A199355B392}"/>
                </a:ext>
              </a:extLst>
            </p:cNvPr>
            <p:cNvSpPr/>
            <p:nvPr/>
          </p:nvSpPr>
          <p:spPr>
            <a:xfrm>
              <a:off x="1841499" y="7848599"/>
              <a:ext cx="1536942" cy="1153911"/>
            </a:xfrm>
            <a:custGeom>
              <a:avLst/>
              <a:gdLst/>
              <a:ahLst/>
              <a:cxnLst>
                <a:cxn ang="0">
                  <a:pos x="wd2" y="hd2"/>
                </a:cxn>
                <a:cxn ang="5400000">
                  <a:pos x="wd2" y="hd2"/>
                </a:cxn>
                <a:cxn ang="10800000">
                  <a:pos x="wd2" y="hd2"/>
                </a:cxn>
                <a:cxn ang="16200000">
                  <a:pos x="wd2" y="hd2"/>
                </a:cxn>
              </a:cxnLst>
              <a:rect l="0" t="0" r="r" b="b"/>
              <a:pathLst>
                <a:path w="21599" h="21600" extrusionOk="0">
                  <a:moveTo>
                    <a:pt x="7678" y="20049"/>
                  </a:moveTo>
                  <a:cubicBezTo>
                    <a:pt x="7792" y="20049"/>
                    <a:pt x="10856" y="20109"/>
                    <a:pt x="13076" y="20158"/>
                  </a:cubicBezTo>
                  <a:cubicBezTo>
                    <a:pt x="13073" y="20131"/>
                    <a:pt x="13071" y="20112"/>
                    <a:pt x="13071" y="20112"/>
                  </a:cubicBezTo>
                  <a:cubicBezTo>
                    <a:pt x="13071" y="20112"/>
                    <a:pt x="13073" y="20131"/>
                    <a:pt x="13076" y="20158"/>
                  </a:cubicBezTo>
                  <a:cubicBezTo>
                    <a:pt x="14339" y="20186"/>
                    <a:pt x="15329" y="20210"/>
                    <a:pt x="15345" y="20217"/>
                  </a:cubicBezTo>
                  <a:cubicBezTo>
                    <a:pt x="15390" y="20237"/>
                    <a:pt x="15375" y="20901"/>
                    <a:pt x="15382" y="20960"/>
                  </a:cubicBezTo>
                  <a:cubicBezTo>
                    <a:pt x="15390" y="21019"/>
                    <a:pt x="15575" y="21089"/>
                    <a:pt x="15620" y="21000"/>
                  </a:cubicBezTo>
                  <a:cubicBezTo>
                    <a:pt x="15665" y="20910"/>
                    <a:pt x="16014" y="20633"/>
                    <a:pt x="16111" y="20643"/>
                  </a:cubicBezTo>
                  <a:cubicBezTo>
                    <a:pt x="16208" y="20653"/>
                    <a:pt x="17420" y="21584"/>
                    <a:pt x="17732" y="21584"/>
                  </a:cubicBezTo>
                  <a:cubicBezTo>
                    <a:pt x="18044" y="21584"/>
                    <a:pt x="21510" y="21426"/>
                    <a:pt x="21510" y="21426"/>
                  </a:cubicBezTo>
                  <a:cubicBezTo>
                    <a:pt x="21510" y="21426"/>
                    <a:pt x="21205" y="20078"/>
                    <a:pt x="21197" y="19979"/>
                  </a:cubicBezTo>
                  <a:cubicBezTo>
                    <a:pt x="21190" y="19880"/>
                    <a:pt x="21599" y="18850"/>
                    <a:pt x="21599" y="18781"/>
                  </a:cubicBezTo>
                  <a:cubicBezTo>
                    <a:pt x="21599" y="18711"/>
                    <a:pt x="20740" y="16587"/>
                    <a:pt x="20684" y="16587"/>
                  </a:cubicBezTo>
                  <a:cubicBezTo>
                    <a:pt x="20629" y="16587"/>
                    <a:pt x="19881" y="16750"/>
                    <a:pt x="19781" y="16750"/>
                  </a:cubicBezTo>
                  <a:cubicBezTo>
                    <a:pt x="19680" y="16750"/>
                    <a:pt x="19156" y="15487"/>
                    <a:pt x="19134" y="15353"/>
                  </a:cubicBezTo>
                  <a:cubicBezTo>
                    <a:pt x="19111" y="15220"/>
                    <a:pt x="19312" y="12560"/>
                    <a:pt x="19234" y="12412"/>
                  </a:cubicBezTo>
                  <a:cubicBezTo>
                    <a:pt x="19156" y="12263"/>
                    <a:pt x="18498" y="11505"/>
                    <a:pt x="18476" y="11342"/>
                  </a:cubicBezTo>
                  <a:cubicBezTo>
                    <a:pt x="18455" y="11191"/>
                    <a:pt x="18377" y="9864"/>
                    <a:pt x="18365" y="9664"/>
                  </a:cubicBezTo>
                  <a:lnTo>
                    <a:pt x="18357" y="9668"/>
                  </a:lnTo>
                  <a:cubicBezTo>
                    <a:pt x="18357" y="9668"/>
                    <a:pt x="16364" y="7726"/>
                    <a:pt x="16096" y="7449"/>
                  </a:cubicBezTo>
                  <a:cubicBezTo>
                    <a:pt x="15828" y="7172"/>
                    <a:pt x="14371" y="3368"/>
                    <a:pt x="14222" y="3209"/>
                  </a:cubicBezTo>
                  <a:cubicBezTo>
                    <a:pt x="14073" y="3051"/>
                    <a:pt x="12764" y="3051"/>
                    <a:pt x="12616" y="3011"/>
                  </a:cubicBezTo>
                  <a:cubicBezTo>
                    <a:pt x="12467" y="2972"/>
                    <a:pt x="11069" y="475"/>
                    <a:pt x="10801" y="277"/>
                  </a:cubicBezTo>
                  <a:cubicBezTo>
                    <a:pt x="10534" y="79"/>
                    <a:pt x="8749" y="0"/>
                    <a:pt x="8422" y="0"/>
                  </a:cubicBezTo>
                  <a:cubicBezTo>
                    <a:pt x="8094" y="0"/>
                    <a:pt x="6399" y="951"/>
                    <a:pt x="6191" y="1030"/>
                  </a:cubicBezTo>
                  <a:cubicBezTo>
                    <a:pt x="5982" y="1109"/>
                    <a:pt x="3989" y="753"/>
                    <a:pt x="3841" y="792"/>
                  </a:cubicBezTo>
                  <a:cubicBezTo>
                    <a:pt x="3695" y="831"/>
                    <a:pt x="2888" y="3045"/>
                    <a:pt x="2859" y="3123"/>
                  </a:cubicBezTo>
                  <a:cubicBezTo>
                    <a:pt x="2861" y="3533"/>
                    <a:pt x="2859" y="3950"/>
                    <a:pt x="2810" y="4396"/>
                  </a:cubicBezTo>
                  <a:cubicBezTo>
                    <a:pt x="2594" y="6343"/>
                    <a:pt x="1658" y="8126"/>
                    <a:pt x="358" y="9064"/>
                  </a:cubicBezTo>
                  <a:cubicBezTo>
                    <a:pt x="248" y="9144"/>
                    <a:pt x="129" y="9224"/>
                    <a:pt x="62" y="9366"/>
                  </a:cubicBezTo>
                  <a:cubicBezTo>
                    <a:pt x="15" y="9465"/>
                    <a:pt x="-1" y="9585"/>
                    <a:pt x="0" y="9702"/>
                  </a:cubicBezTo>
                  <a:cubicBezTo>
                    <a:pt x="6" y="10343"/>
                    <a:pt x="470" y="10772"/>
                    <a:pt x="837" y="11187"/>
                  </a:cubicBezTo>
                  <a:cubicBezTo>
                    <a:pt x="1691" y="12155"/>
                    <a:pt x="2211" y="13568"/>
                    <a:pt x="2465" y="15023"/>
                  </a:cubicBezTo>
                  <a:cubicBezTo>
                    <a:pt x="2489" y="15163"/>
                    <a:pt x="2512" y="15304"/>
                    <a:pt x="2540" y="15443"/>
                  </a:cubicBezTo>
                  <a:cubicBezTo>
                    <a:pt x="3233" y="15443"/>
                    <a:pt x="6556" y="15443"/>
                    <a:pt x="6696" y="15443"/>
                  </a:cubicBezTo>
                  <a:cubicBezTo>
                    <a:pt x="6852" y="15443"/>
                    <a:pt x="6986" y="14670"/>
                    <a:pt x="7076" y="14581"/>
                  </a:cubicBezTo>
                  <a:cubicBezTo>
                    <a:pt x="7165" y="14492"/>
                    <a:pt x="7990" y="14343"/>
                    <a:pt x="8102" y="14373"/>
                  </a:cubicBezTo>
                  <a:cubicBezTo>
                    <a:pt x="8213" y="14403"/>
                    <a:pt x="10667" y="16156"/>
                    <a:pt x="10779" y="16156"/>
                  </a:cubicBezTo>
                  <a:cubicBezTo>
                    <a:pt x="10890" y="16156"/>
                    <a:pt x="12028" y="15502"/>
                    <a:pt x="12117" y="15502"/>
                  </a:cubicBezTo>
                  <a:cubicBezTo>
                    <a:pt x="12207" y="15502"/>
                    <a:pt x="12698" y="16215"/>
                    <a:pt x="12698" y="16334"/>
                  </a:cubicBezTo>
                  <a:cubicBezTo>
                    <a:pt x="12698" y="16453"/>
                    <a:pt x="10890" y="17226"/>
                    <a:pt x="10667" y="17196"/>
                  </a:cubicBezTo>
                  <a:cubicBezTo>
                    <a:pt x="10444" y="17166"/>
                    <a:pt x="8749" y="15769"/>
                    <a:pt x="8414" y="15621"/>
                  </a:cubicBezTo>
                  <a:cubicBezTo>
                    <a:pt x="8079" y="15472"/>
                    <a:pt x="7968" y="15472"/>
                    <a:pt x="7856" y="15561"/>
                  </a:cubicBezTo>
                  <a:cubicBezTo>
                    <a:pt x="7745" y="15651"/>
                    <a:pt x="7522" y="16631"/>
                    <a:pt x="7276" y="16631"/>
                  </a:cubicBezTo>
                  <a:cubicBezTo>
                    <a:pt x="7031" y="16631"/>
                    <a:pt x="5826" y="16720"/>
                    <a:pt x="5625" y="16750"/>
                  </a:cubicBezTo>
                  <a:cubicBezTo>
                    <a:pt x="5425" y="16780"/>
                    <a:pt x="5313" y="17315"/>
                    <a:pt x="4978" y="17344"/>
                  </a:cubicBezTo>
                  <a:cubicBezTo>
                    <a:pt x="4644" y="17374"/>
                    <a:pt x="2926" y="17642"/>
                    <a:pt x="2703" y="17642"/>
                  </a:cubicBezTo>
                  <a:cubicBezTo>
                    <a:pt x="2593" y="17642"/>
                    <a:pt x="2363" y="17808"/>
                    <a:pt x="2159" y="17977"/>
                  </a:cubicBezTo>
                  <a:cubicBezTo>
                    <a:pt x="2150" y="18135"/>
                    <a:pt x="2133" y="18293"/>
                    <a:pt x="2111" y="18445"/>
                  </a:cubicBezTo>
                  <a:cubicBezTo>
                    <a:pt x="2025" y="19024"/>
                    <a:pt x="1872" y="19682"/>
                    <a:pt x="2005" y="20246"/>
                  </a:cubicBezTo>
                  <a:cubicBezTo>
                    <a:pt x="1976" y="20360"/>
                    <a:pt x="2011" y="20497"/>
                    <a:pt x="2085" y="20566"/>
                  </a:cubicBezTo>
                  <a:cubicBezTo>
                    <a:pt x="2230" y="20193"/>
                    <a:pt x="2632" y="20049"/>
                    <a:pt x="2898" y="20275"/>
                  </a:cubicBezTo>
                  <a:cubicBezTo>
                    <a:pt x="2759" y="20448"/>
                    <a:pt x="2585" y="20573"/>
                    <a:pt x="2400" y="20632"/>
                  </a:cubicBezTo>
                  <a:cubicBezTo>
                    <a:pt x="2298" y="20665"/>
                    <a:pt x="2180" y="20689"/>
                    <a:pt x="2124" y="20807"/>
                  </a:cubicBezTo>
                  <a:cubicBezTo>
                    <a:pt x="2059" y="20944"/>
                    <a:pt x="2115" y="21122"/>
                    <a:pt x="2172" y="21264"/>
                  </a:cubicBezTo>
                  <a:cubicBezTo>
                    <a:pt x="2216" y="21372"/>
                    <a:pt x="2259" y="21480"/>
                    <a:pt x="2302" y="21588"/>
                  </a:cubicBezTo>
                  <a:cubicBezTo>
                    <a:pt x="2303" y="21592"/>
                    <a:pt x="2305" y="21596"/>
                    <a:pt x="2307" y="21600"/>
                  </a:cubicBezTo>
                  <a:cubicBezTo>
                    <a:pt x="3295" y="21516"/>
                    <a:pt x="5792" y="21301"/>
                    <a:pt x="5982" y="21237"/>
                  </a:cubicBezTo>
                  <a:cubicBezTo>
                    <a:pt x="6220" y="21158"/>
                    <a:pt x="7499" y="20049"/>
                    <a:pt x="7678" y="20049"/>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2" name="Shape">
              <a:extLst>
                <a:ext uri="{FF2B5EF4-FFF2-40B4-BE49-F238E27FC236}">
                  <a16:creationId xmlns:a16="http://schemas.microsoft.com/office/drawing/2014/main" id="{93E9C41E-C96A-2D4F-A9D6-51C7945A0B2B}"/>
                </a:ext>
              </a:extLst>
            </p:cNvPr>
            <p:cNvSpPr/>
            <p:nvPr/>
          </p:nvSpPr>
          <p:spPr>
            <a:xfrm>
              <a:off x="1917700" y="4889499"/>
              <a:ext cx="3102552" cy="3473800"/>
            </a:xfrm>
            <a:custGeom>
              <a:avLst/>
              <a:gdLst/>
              <a:ahLst/>
              <a:cxnLst>
                <a:cxn ang="0">
                  <a:pos x="wd2" y="hd2"/>
                </a:cxn>
                <a:cxn ang="5400000">
                  <a:pos x="wd2" y="hd2"/>
                </a:cxn>
                <a:cxn ang="10800000">
                  <a:pos x="wd2" y="hd2"/>
                </a:cxn>
                <a:cxn ang="16200000">
                  <a:pos x="wd2" y="hd2"/>
                </a:cxn>
              </a:cxnLst>
              <a:rect l="0" t="0" r="r" b="b"/>
              <a:pathLst>
                <a:path w="21600" h="21600" extrusionOk="0">
                  <a:moveTo>
                    <a:pt x="1323" y="18652"/>
                  </a:moveTo>
                  <a:cubicBezTo>
                    <a:pt x="1397" y="18639"/>
                    <a:pt x="2384" y="18757"/>
                    <a:pt x="2487" y="18731"/>
                  </a:cubicBezTo>
                  <a:cubicBezTo>
                    <a:pt x="2590" y="18704"/>
                    <a:pt x="3430" y="18389"/>
                    <a:pt x="3592" y="18389"/>
                  </a:cubicBezTo>
                  <a:cubicBezTo>
                    <a:pt x="3755" y="18389"/>
                    <a:pt x="4639" y="18415"/>
                    <a:pt x="4771" y="18481"/>
                  </a:cubicBezTo>
                  <a:cubicBezTo>
                    <a:pt x="4904" y="18547"/>
                    <a:pt x="5597" y="19376"/>
                    <a:pt x="5670" y="19389"/>
                  </a:cubicBezTo>
                  <a:cubicBezTo>
                    <a:pt x="5744" y="19402"/>
                    <a:pt x="6392" y="19402"/>
                    <a:pt x="6466" y="19455"/>
                  </a:cubicBezTo>
                  <a:cubicBezTo>
                    <a:pt x="6540" y="19507"/>
                    <a:pt x="7262" y="20771"/>
                    <a:pt x="7394" y="20863"/>
                  </a:cubicBezTo>
                  <a:cubicBezTo>
                    <a:pt x="7527" y="20955"/>
                    <a:pt x="8514" y="21600"/>
                    <a:pt x="8514" y="21600"/>
                  </a:cubicBezTo>
                  <a:lnTo>
                    <a:pt x="8519" y="21599"/>
                  </a:lnTo>
                  <a:cubicBezTo>
                    <a:pt x="8518" y="21593"/>
                    <a:pt x="8518" y="21590"/>
                    <a:pt x="8518" y="21590"/>
                  </a:cubicBezTo>
                  <a:cubicBezTo>
                    <a:pt x="8518" y="21590"/>
                    <a:pt x="8518" y="21593"/>
                    <a:pt x="8519" y="21599"/>
                  </a:cubicBezTo>
                  <a:lnTo>
                    <a:pt x="9340" y="21363"/>
                  </a:lnTo>
                  <a:lnTo>
                    <a:pt x="9457" y="20310"/>
                  </a:lnTo>
                  <a:lnTo>
                    <a:pt x="9841" y="20139"/>
                  </a:lnTo>
                  <a:lnTo>
                    <a:pt x="10931" y="21047"/>
                  </a:lnTo>
                  <a:lnTo>
                    <a:pt x="11241" y="20481"/>
                  </a:lnTo>
                  <a:lnTo>
                    <a:pt x="13628" y="20494"/>
                  </a:lnTo>
                  <a:lnTo>
                    <a:pt x="13628" y="20100"/>
                  </a:lnTo>
                  <a:lnTo>
                    <a:pt x="13760" y="19994"/>
                  </a:lnTo>
                  <a:lnTo>
                    <a:pt x="13760" y="20376"/>
                  </a:lnTo>
                  <a:lnTo>
                    <a:pt x="20598" y="20376"/>
                  </a:lnTo>
                  <a:lnTo>
                    <a:pt x="20908" y="18981"/>
                  </a:lnTo>
                  <a:lnTo>
                    <a:pt x="20407" y="18678"/>
                  </a:lnTo>
                  <a:lnTo>
                    <a:pt x="18708" y="4122"/>
                  </a:lnTo>
                  <a:lnTo>
                    <a:pt x="21600" y="4133"/>
                  </a:lnTo>
                  <a:cubicBezTo>
                    <a:pt x="18125" y="1985"/>
                    <a:pt x="15113" y="124"/>
                    <a:pt x="14912" y="0"/>
                  </a:cubicBezTo>
                  <a:cubicBezTo>
                    <a:pt x="14917" y="1216"/>
                    <a:pt x="14928" y="2424"/>
                    <a:pt x="14928" y="2424"/>
                  </a:cubicBezTo>
                  <a:lnTo>
                    <a:pt x="8964" y="2378"/>
                  </a:lnTo>
                  <a:lnTo>
                    <a:pt x="8949" y="6872"/>
                  </a:lnTo>
                  <a:cubicBezTo>
                    <a:pt x="8949" y="6872"/>
                    <a:pt x="7866" y="7182"/>
                    <a:pt x="7785" y="7215"/>
                  </a:cubicBezTo>
                  <a:cubicBezTo>
                    <a:pt x="7704" y="7248"/>
                    <a:pt x="7011" y="7721"/>
                    <a:pt x="6960" y="7767"/>
                  </a:cubicBezTo>
                  <a:cubicBezTo>
                    <a:pt x="6908" y="7813"/>
                    <a:pt x="7125" y="10459"/>
                    <a:pt x="7114" y="10518"/>
                  </a:cubicBezTo>
                  <a:cubicBezTo>
                    <a:pt x="7103" y="10577"/>
                    <a:pt x="196" y="10489"/>
                    <a:pt x="129" y="10518"/>
                  </a:cubicBezTo>
                  <a:cubicBezTo>
                    <a:pt x="98" y="10532"/>
                    <a:pt x="46" y="10750"/>
                    <a:pt x="0" y="10974"/>
                  </a:cubicBezTo>
                  <a:cubicBezTo>
                    <a:pt x="34" y="10999"/>
                    <a:pt x="73" y="11018"/>
                    <a:pt x="118" y="11024"/>
                  </a:cubicBezTo>
                  <a:cubicBezTo>
                    <a:pt x="171" y="11033"/>
                    <a:pt x="226" y="11025"/>
                    <a:pt x="277" y="11039"/>
                  </a:cubicBezTo>
                  <a:cubicBezTo>
                    <a:pt x="409" y="11075"/>
                    <a:pt x="445" y="11290"/>
                    <a:pt x="323" y="11349"/>
                  </a:cubicBezTo>
                  <a:cubicBezTo>
                    <a:pt x="352" y="11494"/>
                    <a:pt x="485" y="11618"/>
                    <a:pt x="647" y="11651"/>
                  </a:cubicBezTo>
                  <a:cubicBezTo>
                    <a:pt x="683" y="11521"/>
                    <a:pt x="917" y="11542"/>
                    <a:pt x="1004" y="11650"/>
                  </a:cubicBezTo>
                  <a:cubicBezTo>
                    <a:pt x="1092" y="11759"/>
                    <a:pt x="1095" y="11903"/>
                    <a:pt x="1151" y="12027"/>
                  </a:cubicBezTo>
                  <a:cubicBezTo>
                    <a:pt x="1211" y="12161"/>
                    <a:pt x="1335" y="12272"/>
                    <a:pt x="1367" y="12415"/>
                  </a:cubicBezTo>
                  <a:cubicBezTo>
                    <a:pt x="1385" y="12496"/>
                    <a:pt x="1371" y="12579"/>
                    <a:pt x="1358" y="12661"/>
                  </a:cubicBezTo>
                  <a:cubicBezTo>
                    <a:pt x="1325" y="12858"/>
                    <a:pt x="1292" y="13056"/>
                    <a:pt x="1259" y="13254"/>
                  </a:cubicBezTo>
                  <a:cubicBezTo>
                    <a:pt x="1170" y="13192"/>
                    <a:pt x="1020" y="13139"/>
                    <a:pt x="965" y="13226"/>
                  </a:cubicBezTo>
                  <a:cubicBezTo>
                    <a:pt x="951" y="13249"/>
                    <a:pt x="949" y="13275"/>
                    <a:pt x="950" y="13301"/>
                  </a:cubicBezTo>
                  <a:cubicBezTo>
                    <a:pt x="956" y="13432"/>
                    <a:pt x="1044" y="13572"/>
                    <a:pt x="968" y="13684"/>
                  </a:cubicBezTo>
                  <a:cubicBezTo>
                    <a:pt x="939" y="13727"/>
                    <a:pt x="888" y="13758"/>
                    <a:pt x="871" y="13806"/>
                  </a:cubicBezTo>
                  <a:cubicBezTo>
                    <a:pt x="836" y="13904"/>
                    <a:pt x="957" y="13983"/>
                    <a:pt x="1048" y="14047"/>
                  </a:cubicBezTo>
                  <a:cubicBezTo>
                    <a:pt x="1349" y="14255"/>
                    <a:pt x="1460" y="14610"/>
                    <a:pt x="1553" y="14940"/>
                  </a:cubicBezTo>
                  <a:cubicBezTo>
                    <a:pt x="1657" y="15308"/>
                    <a:pt x="1762" y="15681"/>
                    <a:pt x="1748" y="16060"/>
                  </a:cubicBezTo>
                  <a:cubicBezTo>
                    <a:pt x="1742" y="16239"/>
                    <a:pt x="1709" y="16417"/>
                    <a:pt x="1675" y="16594"/>
                  </a:cubicBezTo>
                  <a:cubicBezTo>
                    <a:pt x="1588" y="17062"/>
                    <a:pt x="1499" y="17535"/>
                    <a:pt x="1293" y="17973"/>
                  </a:cubicBezTo>
                  <a:cubicBezTo>
                    <a:pt x="1166" y="18243"/>
                    <a:pt x="995" y="18498"/>
                    <a:pt x="903" y="18779"/>
                  </a:cubicBezTo>
                  <a:cubicBezTo>
                    <a:pt x="830" y="19005"/>
                    <a:pt x="836" y="19212"/>
                    <a:pt x="837" y="19426"/>
                  </a:cubicBezTo>
                  <a:cubicBezTo>
                    <a:pt x="851" y="19400"/>
                    <a:pt x="1251" y="18665"/>
                    <a:pt x="1323" y="18652"/>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3" name="Shape">
              <a:extLst>
                <a:ext uri="{FF2B5EF4-FFF2-40B4-BE49-F238E27FC236}">
                  <a16:creationId xmlns:a16="http://schemas.microsoft.com/office/drawing/2014/main" id="{A1D4FDE8-3CBF-F942-A6B9-C149828BFAE7}"/>
                </a:ext>
              </a:extLst>
            </p:cNvPr>
            <p:cNvSpPr/>
            <p:nvPr/>
          </p:nvSpPr>
          <p:spPr>
            <a:xfrm>
              <a:off x="2895600" y="2298699"/>
              <a:ext cx="3138603" cy="2494496"/>
            </a:xfrm>
            <a:custGeom>
              <a:avLst/>
              <a:gdLst/>
              <a:ahLst/>
              <a:cxnLst>
                <a:cxn ang="0">
                  <a:pos x="wd2" y="hd2"/>
                </a:cxn>
                <a:cxn ang="5400000">
                  <a:pos x="wd2" y="hd2"/>
                </a:cxn>
                <a:cxn ang="10800000">
                  <a:pos x="wd2" y="hd2"/>
                </a:cxn>
                <a:cxn ang="16200000">
                  <a:pos x="wd2" y="hd2"/>
                </a:cxn>
              </a:cxnLst>
              <a:rect l="0" t="0" r="r" b="b"/>
              <a:pathLst>
                <a:path w="21579" h="21600" extrusionOk="0">
                  <a:moveTo>
                    <a:pt x="8022" y="19016"/>
                  </a:moveTo>
                  <a:cubicBezTo>
                    <a:pt x="8066" y="18988"/>
                    <a:pt x="9299" y="17779"/>
                    <a:pt x="9627" y="17462"/>
                  </a:cubicBezTo>
                  <a:cubicBezTo>
                    <a:pt x="9954" y="17146"/>
                    <a:pt x="10042" y="17187"/>
                    <a:pt x="10380" y="17037"/>
                  </a:cubicBezTo>
                  <a:cubicBezTo>
                    <a:pt x="10718" y="16886"/>
                    <a:pt x="11209" y="16981"/>
                    <a:pt x="11439" y="16981"/>
                  </a:cubicBezTo>
                  <a:cubicBezTo>
                    <a:pt x="11668" y="16981"/>
                    <a:pt x="11799" y="16803"/>
                    <a:pt x="11908" y="16748"/>
                  </a:cubicBezTo>
                  <a:cubicBezTo>
                    <a:pt x="12017" y="16693"/>
                    <a:pt x="12203" y="16734"/>
                    <a:pt x="12432" y="16734"/>
                  </a:cubicBezTo>
                  <a:cubicBezTo>
                    <a:pt x="12661" y="16734"/>
                    <a:pt x="13065" y="16610"/>
                    <a:pt x="13130" y="16638"/>
                  </a:cubicBezTo>
                  <a:cubicBezTo>
                    <a:pt x="13196" y="16665"/>
                    <a:pt x="13327" y="17009"/>
                    <a:pt x="13403" y="17036"/>
                  </a:cubicBezTo>
                  <a:cubicBezTo>
                    <a:pt x="13480" y="17064"/>
                    <a:pt x="14462" y="15414"/>
                    <a:pt x="14538" y="15304"/>
                  </a:cubicBezTo>
                  <a:cubicBezTo>
                    <a:pt x="14615" y="15194"/>
                    <a:pt x="15564" y="14342"/>
                    <a:pt x="15706" y="14259"/>
                  </a:cubicBezTo>
                  <a:cubicBezTo>
                    <a:pt x="15848" y="14177"/>
                    <a:pt x="16885" y="13888"/>
                    <a:pt x="16961" y="13833"/>
                  </a:cubicBezTo>
                  <a:cubicBezTo>
                    <a:pt x="17038" y="13778"/>
                    <a:pt x="16940" y="13407"/>
                    <a:pt x="16940" y="13256"/>
                  </a:cubicBezTo>
                  <a:cubicBezTo>
                    <a:pt x="16940" y="13105"/>
                    <a:pt x="17060" y="13064"/>
                    <a:pt x="17060" y="12967"/>
                  </a:cubicBezTo>
                  <a:cubicBezTo>
                    <a:pt x="17060" y="12871"/>
                    <a:pt x="16759" y="12807"/>
                    <a:pt x="16734" y="12770"/>
                  </a:cubicBezTo>
                  <a:cubicBezTo>
                    <a:pt x="16709" y="12734"/>
                    <a:pt x="16729" y="12468"/>
                    <a:pt x="16743" y="12326"/>
                  </a:cubicBezTo>
                  <a:cubicBezTo>
                    <a:pt x="16758" y="12184"/>
                    <a:pt x="16787" y="11428"/>
                    <a:pt x="16852" y="11414"/>
                  </a:cubicBezTo>
                  <a:cubicBezTo>
                    <a:pt x="16918" y="11400"/>
                    <a:pt x="18337" y="11002"/>
                    <a:pt x="18337" y="11002"/>
                  </a:cubicBezTo>
                  <a:lnTo>
                    <a:pt x="18217" y="10191"/>
                  </a:lnTo>
                  <a:cubicBezTo>
                    <a:pt x="18217" y="10191"/>
                    <a:pt x="19461" y="10026"/>
                    <a:pt x="19843" y="10026"/>
                  </a:cubicBezTo>
                  <a:cubicBezTo>
                    <a:pt x="20225" y="10026"/>
                    <a:pt x="21076" y="10301"/>
                    <a:pt x="21142" y="10273"/>
                  </a:cubicBezTo>
                  <a:cubicBezTo>
                    <a:pt x="21207" y="10246"/>
                    <a:pt x="21109" y="9751"/>
                    <a:pt x="21120" y="9668"/>
                  </a:cubicBezTo>
                  <a:cubicBezTo>
                    <a:pt x="21131" y="9586"/>
                    <a:pt x="21556" y="9160"/>
                    <a:pt x="21578" y="9118"/>
                  </a:cubicBezTo>
                  <a:cubicBezTo>
                    <a:pt x="21600" y="9077"/>
                    <a:pt x="20847" y="8349"/>
                    <a:pt x="20760" y="8211"/>
                  </a:cubicBezTo>
                  <a:cubicBezTo>
                    <a:pt x="20672" y="8074"/>
                    <a:pt x="20312" y="5984"/>
                    <a:pt x="20312" y="5819"/>
                  </a:cubicBezTo>
                  <a:cubicBezTo>
                    <a:pt x="20312" y="5654"/>
                    <a:pt x="20432" y="5091"/>
                    <a:pt x="20476" y="4940"/>
                  </a:cubicBezTo>
                  <a:cubicBezTo>
                    <a:pt x="20519" y="4788"/>
                    <a:pt x="20225" y="4183"/>
                    <a:pt x="20192" y="4087"/>
                  </a:cubicBezTo>
                  <a:cubicBezTo>
                    <a:pt x="20159" y="3991"/>
                    <a:pt x="20367" y="3854"/>
                    <a:pt x="20356" y="3771"/>
                  </a:cubicBezTo>
                  <a:cubicBezTo>
                    <a:pt x="20345" y="3689"/>
                    <a:pt x="20072" y="3455"/>
                    <a:pt x="20072" y="3455"/>
                  </a:cubicBezTo>
                  <a:lnTo>
                    <a:pt x="20290" y="3111"/>
                  </a:lnTo>
                  <a:lnTo>
                    <a:pt x="19375" y="2130"/>
                  </a:lnTo>
                  <a:lnTo>
                    <a:pt x="19374" y="2129"/>
                  </a:lnTo>
                  <a:cubicBezTo>
                    <a:pt x="19125" y="2099"/>
                    <a:pt x="18871" y="2090"/>
                    <a:pt x="18625" y="2063"/>
                  </a:cubicBezTo>
                  <a:cubicBezTo>
                    <a:pt x="18492" y="2048"/>
                    <a:pt x="18347" y="2028"/>
                    <a:pt x="18250" y="1912"/>
                  </a:cubicBezTo>
                  <a:cubicBezTo>
                    <a:pt x="18146" y="1789"/>
                    <a:pt x="18125" y="1594"/>
                    <a:pt x="18057" y="1436"/>
                  </a:cubicBezTo>
                  <a:cubicBezTo>
                    <a:pt x="18053" y="1426"/>
                    <a:pt x="18048" y="1415"/>
                    <a:pt x="18039" y="1411"/>
                  </a:cubicBezTo>
                  <a:cubicBezTo>
                    <a:pt x="18030" y="1408"/>
                    <a:pt x="18021" y="1413"/>
                    <a:pt x="18013" y="1419"/>
                  </a:cubicBezTo>
                  <a:cubicBezTo>
                    <a:pt x="17848" y="1530"/>
                    <a:pt x="17732" y="1741"/>
                    <a:pt x="17560" y="1833"/>
                  </a:cubicBezTo>
                  <a:cubicBezTo>
                    <a:pt x="17422" y="1907"/>
                    <a:pt x="17266" y="1891"/>
                    <a:pt x="17120" y="1890"/>
                  </a:cubicBezTo>
                  <a:cubicBezTo>
                    <a:pt x="17056" y="1889"/>
                    <a:pt x="17008" y="1875"/>
                    <a:pt x="16947" y="1843"/>
                  </a:cubicBezTo>
                  <a:cubicBezTo>
                    <a:pt x="16921" y="1829"/>
                    <a:pt x="16785" y="1712"/>
                    <a:pt x="16767" y="1720"/>
                  </a:cubicBezTo>
                  <a:cubicBezTo>
                    <a:pt x="16409" y="1867"/>
                    <a:pt x="16036" y="1959"/>
                    <a:pt x="15660" y="1993"/>
                  </a:cubicBezTo>
                  <a:cubicBezTo>
                    <a:pt x="15409" y="2015"/>
                    <a:pt x="15147" y="2008"/>
                    <a:pt x="14921" y="1869"/>
                  </a:cubicBezTo>
                  <a:cubicBezTo>
                    <a:pt x="14795" y="1791"/>
                    <a:pt x="14687" y="1675"/>
                    <a:pt x="14587" y="1552"/>
                  </a:cubicBezTo>
                  <a:cubicBezTo>
                    <a:pt x="14239" y="1123"/>
                    <a:pt x="13977" y="585"/>
                    <a:pt x="13829" y="0"/>
                  </a:cubicBezTo>
                  <a:cubicBezTo>
                    <a:pt x="13681" y="377"/>
                    <a:pt x="13180" y="161"/>
                    <a:pt x="12926" y="435"/>
                  </a:cubicBezTo>
                  <a:cubicBezTo>
                    <a:pt x="12804" y="567"/>
                    <a:pt x="12768" y="781"/>
                    <a:pt x="12730" y="977"/>
                  </a:cubicBezTo>
                  <a:cubicBezTo>
                    <a:pt x="12596" y="1688"/>
                    <a:pt x="12412" y="2351"/>
                    <a:pt x="12094" y="2963"/>
                  </a:cubicBezTo>
                  <a:cubicBezTo>
                    <a:pt x="11822" y="3488"/>
                    <a:pt x="11546" y="4021"/>
                    <a:pt x="11400" y="4620"/>
                  </a:cubicBezTo>
                  <a:cubicBezTo>
                    <a:pt x="11364" y="4770"/>
                    <a:pt x="11335" y="4926"/>
                    <a:pt x="11267" y="5058"/>
                  </a:cubicBezTo>
                  <a:cubicBezTo>
                    <a:pt x="11214" y="5162"/>
                    <a:pt x="11139" y="5246"/>
                    <a:pt x="11062" y="5324"/>
                  </a:cubicBezTo>
                  <a:cubicBezTo>
                    <a:pt x="10215" y="6190"/>
                    <a:pt x="9100" y="6535"/>
                    <a:pt x="8211" y="7331"/>
                  </a:cubicBezTo>
                  <a:cubicBezTo>
                    <a:pt x="7665" y="7821"/>
                    <a:pt x="7221" y="8466"/>
                    <a:pt x="6783" y="9105"/>
                  </a:cubicBezTo>
                  <a:cubicBezTo>
                    <a:pt x="7050" y="9681"/>
                    <a:pt x="6765" y="10409"/>
                    <a:pt x="6437" y="10932"/>
                  </a:cubicBezTo>
                  <a:cubicBezTo>
                    <a:pt x="6109" y="11456"/>
                    <a:pt x="6067" y="11893"/>
                    <a:pt x="5910" y="12529"/>
                  </a:cubicBezTo>
                  <a:cubicBezTo>
                    <a:pt x="5713" y="13331"/>
                    <a:pt x="6310" y="14133"/>
                    <a:pt x="6255" y="14969"/>
                  </a:cubicBezTo>
                  <a:cubicBezTo>
                    <a:pt x="6229" y="15361"/>
                    <a:pt x="6062" y="15714"/>
                    <a:pt x="5884" y="16037"/>
                  </a:cubicBezTo>
                  <a:cubicBezTo>
                    <a:pt x="5337" y="17033"/>
                    <a:pt x="4652" y="17895"/>
                    <a:pt x="3972" y="18751"/>
                  </a:cubicBezTo>
                  <a:cubicBezTo>
                    <a:pt x="3842" y="18914"/>
                    <a:pt x="3712" y="19078"/>
                    <a:pt x="3582" y="19242"/>
                  </a:cubicBezTo>
                  <a:cubicBezTo>
                    <a:pt x="3157" y="19776"/>
                    <a:pt x="2712" y="20327"/>
                    <a:pt x="2145" y="20577"/>
                  </a:cubicBezTo>
                  <a:cubicBezTo>
                    <a:pt x="1458" y="20880"/>
                    <a:pt x="597" y="20749"/>
                    <a:pt x="106" y="21427"/>
                  </a:cubicBezTo>
                  <a:cubicBezTo>
                    <a:pt x="67" y="21481"/>
                    <a:pt x="32" y="21540"/>
                    <a:pt x="0" y="21600"/>
                  </a:cubicBezTo>
                  <a:lnTo>
                    <a:pt x="8004" y="21600"/>
                  </a:lnTo>
                  <a:cubicBezTo>
                    <a:pt x="8001" y="20217"/>
                    <a:pt x="8004" y="19027"/>
                    <a:pt x="8022" y="19016"/>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4" name="Shape">
              <a:extLst>
                <a:ext uri="{FF2B5EF4-FFF2-40B4-BE49-F238E27FC236}">
                  <a16:creationId xmlns:a16="http://schemas.microsoft.com/office/drawing/2014/main" id="{F678540A-24BF-C14D-A415-282CD9385302}"/>
                </a:ext>
              </a:extLst>
            </p:cNvPr>
            <p:cNvSpPr/>
            <p:nvPr/>
          </p:nvSpPr>
          <p:spPr>
            <a:xfrm>
              <a:off x="4064000" y="1917700"/>
              <a:ext cx="5320948" cy="5317649"/>
            </a:xfrm>
            <a:custGeom>
              <a:avLst/>
              <a:gdLst/>
              <a:ahLst/>
              <a:cxnLst>
                <a:cxn ang="0">
                  <a:pos x="wd2" y="hd2"/>
                </a:cxn>
                <a:cxn ang="5400000">
                  <a:pos x="wd2" y="hd2"/>
                </a:cxn>
                <a:cxn ang="10800000">
                  <a:pos x="wd2" y="hd2"/>
                </a:cxn>
                <a:cxn ang="16200000">
                  <a:pos x="wd2" y="hd2"/>
                </a:cxn>
              </a:cxnLst>
              <a:rect l="0" t="0" r="r" b="b"/>
              <a:pathLst>
                <a:path w="21599" h="21590" extrusionOk="0">
                  <a:moveTo>
                    <a:pt x="7255" y="3003"/>
                  </a:moveTo>
                  <a:lnTo>
                    <a:pt x="7126" y="3164"/>
                  </a:lnTo>
                  <a:cubicBezTo>
                    <a:pt x="7126" y="3164"/>
                    <a:pt x="7287" y="3274"/>
                    <a:pt x="7293" y="3312"/>
                  </a:cubicBezTo>
                  <a:cubicBezTo>
                    <a:pt x="7300" y="3351"/>
                    <a:pt x="7177" y="3415"/>
                    <a:pt x="7197" y="3460"/>
                  </a:cubicBezTo>
                  <a:cubicBezTo>
                    <a:pt x="7216" y="3506"/>
                    <a:pt x="7390" y="3789"/>
                    <a:pt x="7364" y="3860"/>
                  </a:cubicBezTo>
                  <a:cubicBezTo>
                    <a:pt x="7338" y="3931"/>
                    <a:pt x="7267" y="4195"/>
                    <a:pt x="7267" y="4273"/>
                  </a:cubicBezTo>
                  <a:cubicBezTo>
                    <a:pt x="7267" y="4350"/>
                    <a:pt x="7480" y="5330"/>
                    <a:pt x="7532" y="5394"/>
                  </a:cubicBezTo>
                  <a:cubicBezTo>
                    <a:pt x="7583" y="5459"/>
                    <a:pt x="8028" y="5800"/>
                    <a:pt x="8015" y="5819"/>
                  </a:cubicBezTo>
                  <a:cubicBezTo>
                    <a:pt x="8002" y="5839"/>
                    <a:pt x="7751" y="6039"/>
                    <a:pt x="7744" y="6077"/>
                  </a:cubicBezTo>
                  <a:cubicBezTo>
                    <a:pt x="7738" y="6116"/>
                    <a:pt x="7796" y="6348"/>
                    <a:pt x="7757" y="6361"/>
                  </a:cubicBezTo>
                  <a:cubicBezTo>
                    <a:pt x="7719" y="6374"/>
                    <a:pt x="7216" y="6245"/>
                    <a:pt x="6990" y="6245"/>
                  </a:cubicBezTo>
                  <a:cubicBezTo>
                    <a:pt x="6765" y="6245"/>
                    <a:pt x="6030" y="6322"/>
                    <a:pt x="6030" y="6322"/>
                  </a:cubicBezTo>
                  <a:lnTo>
                    <a:pt x="6101" y="6702"/>
                  </a:lnTo>
                  <a:cubicBezTo>
                    <a:pt x="6101" y="6702"/>
                    <a:pt x="5263" y="6889"/>
                    <a:pt x="5225" y="6896"/>
                  </a:cubicBezTo>
                  <a:cubicBezTo>
                    <a:pt x="5186" y="6902"/>
                    <a:pt x="5169" y="7257"/>
                    <a:pt x="5160" y="7323"/>
                  </a:cubicBezTo>
                  <a:cubicBezTo>
                    <a:pt x="5152" y="7390"/>
                    <a:pt x="5140" y="7515"/>
                    <a:pt x="5155" y="7532"/>
                  </a:cubicBezTo>
                  <a:cubicBezTo>
                    <a:pt x="5170" y="7549"/>
                    <a:pt x="5347" y="7579"/>
                    <a:pt x="5347" y="7624"/>
                  </a:cubicBezTo>
                  <a:cubicBezTo>
                    <a:pt x="5347" y="7669"/>
                    <a:pt x="5276" y="7689"/>
                    <a:pt x="5276" y="7760"/>
                  </a:cubicBezTo>
                  <a:cubicBezTo>
                    <a:pt x="5276" y="7830"/>
                    <a:pt x="5334" y="8004"/>
                    <a:pt x="5289" y="8030"/>
                  </a:cubicBezTo>
                  <a:cubicBezTo>
                    <a:pt x="5244" y="8056"/>
                    <a:pt x="4632" y="8191"/>
                    <a:pt x="4548" y="8230"/>
                  </a:cubicBezTo>
                  <a:cubicBezTo>
                    <a:pt x="4464" y="8269"/>
                    <a:pt x="3904" y="8668"/>
                    <a:pt x="3859" y="8720"/>
                  </a:cubicBezTo>
                  <a:cubicBezTo>
                    <a:pt x="3814" y="8771"/>
                    <a:pt x="3234" y="9545"/>
                    <a:pt x="3188" y="9532"/>
                  </a:cubicBezTo>
                  <a:cubicBezTo>
                    <a:pt x="3143" y="9519"/>
                    <a:pt x="3066" y="9358"/>
                    <a:pt x="3027" y="9345"/>
                  </a:cubicBezTo>
                  <a:cubicBezTo>
                    <a:pt x="2989" y="9332"/>
                    <a:pt x="2750" y="9390"/>
                    <a:pt x="2615" y="9390"/>
                  </a:cubicBezTo>
                  <a:cubicBezTo>
                    <a:pt x="2480" y="9390"/>
                    <a:pt x="2370" y="9371"/>
                    <a:pt x="2306" y="9397"/>
                  </a:cubicBezTo>
                  <a:cubicBezTo>
                    <a:pt x="2241" y="9422"/>
                    <a:pt x="2164" y="9506"/>
                    <a:pt x="2029" y="9506"/>
                  </a:cubicBezTo>
                  <a:cubicBezTo>
                    <a:pt x="1893" y="9506"/>
                    <a:pt x="1603" y="9461"/>
                    <a:pt x="1403" y="9532"/>
                  </a:cubicBezTo>
                  <a:cubicBezTo>
                    <a:pt x="1204" y="9603"/>
                    <a:pt x="1152" y="9584"/>
                    <a:pt x="959" y="9732"/>
                  </a:cubicBezTo>
                  <a:cubicBezTo>
                    <a:pt x="765" y="9880"/>
                    <a:pt x="37" y="10447"/>
                    <a:pt x="12" y="10460"/>
                  </a:cubicBezTo>
                  <a:cubicBezTo>
                    <a:pt x="1" y="10466"/>
                    <a:pt x="-1" y="11024"/>
                    <a:pt x="1" y="11672"/>
                  </a:cubicBezTo>
                  <a:lnTo>
                    <a:pt x="8" y="11672"/>
                  </a:lnTo>
                  <a:lnTo>
                    <a:pt x="1" y="11672"/>
                  </a:lnTo>
                  <a:cubicBezTo>
                    <a:pt x="1" y="11804"/>
                    <a:pt x="1" y="11939"/>
                    <a:pt x="2" y="12074"/>
                  </a:cubicBezTo>
                  <a:cubicBezTo>
                    <a:pt x="119" y="12156"/>
                    <a:pt x="1875" y="13370"/>
                    <a:pt x="3901" y="14773"/>
                  </a:cubicBezTo>
                  <a:lnTo>
                    <a:pt x="3913" y="14773"/>
                  </a:lnTo>
                  <a:lnTo>
                    <a:pt x="3901" y="14773"/>
                  </a:lnTo>
                  <a:cubicBezTo>
                    <a:pt x="6784" y="16769"/>
                    <a:pt x="10213" y="19144"/>
                    <a:pt x="10242" y="19174"/>
                  </a:cubicBezTo>
                  <a:cubicBezTo>
                    <a:pt x="10294" y="19226"/>
                    <a:pt x="10260" y="19638"/>
                    <a:pt x="10311" y="19638"/>
                  </a:cubicBezTo>
                  <a:cubicBezTo>
                    <a:pt x="10363" y="19638"/>
                    <a:pt x="10689" y="19759"/>
                    <a:pt x="10775" y="19793"/>
                  </a:cubicBezTo>
                  <a:cubicBezTo>
                    <a:pt x="10861" y="19827"/>
                    <a:pt x="11024" y="20197"/>
                    <a:pt x="11067" y="20206"/>
                  </a:cubicBezTo>
                  <a:cubicBezTo>
                    <a:pt x="11110" y="20214"/>
                    <a:pt x="11299" y="20094"/>
                    <a:pt x="11359" y="20077"/>
                  </a:cubicBezTo>
                  <a:cubicBezTo>
                    <a:pt x="11420" y="20059"/>
                    <a:pt x="11531" y="20412"/>
                    <a:pt x="11574" y="20403"/>
                  </a:cubicBezTo>
                  <a:cubicBezTo>
                    <a:pt x="11617" y="20395"/>
                    <a:pt x="11798" y="20343"/>
                    <a:pt x="11858" y="20334"/>
                  </a:cubicBezTo>
                  <a:cubicBezTo>
                    <a:pt x="11918" y="20326"/>
                    <a:pt x="12433" y="20635"/>
                    <a:pt x="12476" y="20704"/>
                  </a:cubicBezTo>
                  <a:cubicBezTo>
                    <a:pt x="12519" y="20773"/>
                    <a:pt x="12468" y="21099"/>
                    <a:pt x="12468" y="21099"/>
                  </a:cubicBezTo>
                  <a:cubicBezTo>
                    <a:pt x="12468" y="21099"/>
                    <a:pt x="12313" y="21357"/>
                    <a:pt x="12330" y="21400"/>
                  </a:cubicBezTo>
                  <a:cubicBezTo>
                    <a:pt x="12348" y="21443"/>
                    <a:pt x="12485" y="21563"/>
                    <a:pt x="12562" y="21589"/>
                  </a:cubicBezTo>
                  <a:cubicBezTo>
                    <a:pt x="12595" y="21600"/>
                    <a:pt x="13034" y="21517"/>
                    <a:pt x="13543" y="21415"/>
                  </a:cubicBezTo>
                  <a:cubicBezTo>
                    <a:pt x="13543" y="21408"/>
                    <a:pt x="13543" y="21404"/>
                    <a:pt x="13543" y="21404"/>
                  </a:cubicBezTo>
                  <a:cubicBezTo>
                    <a:pt x="13543" y="21404"/>
                    <a:pt x="13543" y="21408"/>
                    <a:pt x="13543" y="21415"/>
                  </a:cubicBezTo>
                  <a:cubicBezTo>
                    <a:pt x="14248" y="21274"/>
                    <a:pt x="15086" y="21097"/>
                    <a:pt x="15166" y="21082"/>
                  </a:cubicBezTo>
                  <a:cubicBezTo>
                    <a:pt x="15303" y="21056"/>
                    <a:pt x="16798" y="19561"/>
                    <a:pt x="16858" y="19509"/>
                  </a:cubicBezTo>
                  <a:cubicBezTo>
                    <a:pt x="16917" y="19459"/>
                    <a:pt x="21362" y="16643"/>
                    <a:pt x="21599" y="16493"/>
                  </a:cubicBezTo>
                  <a:lnTo>
                    <a:pt x="21599" y="16493"/>
                  </a:lnTo>
                  <a:cubicBezTo>
                    <a:pt x="21599" y="16493"/>
                    <a:pt x="21225" y="15655"/>
                    <a:pt x="21181" y="15636"/>
                  </a:cubicBezTo>
                  <a:cubicBezTo>
                    <a:pt x="21136" y="15616"/>
                    <a:pt x="21064" y="15700"/>
                    <a:pt x="21006" y="15681"/>
                  </a:cubicBezTo>
                  <a:cubicBezTo>
                    <a:pt x="20948" y="15662"/>
                    <a:pt x="20439" y="15326"/>
                    <a:pt x="20413" y="15301"/>
                  </a:cubicBezTo>
                  <a:cubicBezTo>
                    <a:pt x="20388" y="15275"/>
                    <a:pt x="20304" y="15275"/>
                    <a:pt x="20201" y="15281"/>
                  </a:cubicBezTo>
                  <a:cubicBezTo>
                    <a:pt x="20098" y="15288"/>
                    <a:pt x="19930" y="15359"/>
                    <a:pt x="19885" y="15333"/>
                  </a:cubicBezTo>
                  <a:cubicBezTo>
                    <a:pt x="19840" y="15307"/>
                    <a:pt x="19730" y="15165"/>
                    <a:pt x="19704" y="15127"/>
                  </a:cubicBezTo>
                  <a:cubicBezTo>
                    <a:pt x="19679" y="15088"/>
                    <a:pt x="19556" y="14495"/>
                    <a:pt x="19556" y="14411"/>
                  </a:cubicBezTo>
                  <a:cubicBezTo>
                    <a:pt x="19556" y="14327"/>
                    <a:pt x="18901" y="13412"/>
                    <a:pt x="18910" y="13388"/>
                  </a:cubicBezTo>
                  <a:cubicBezTo>
                    <a:pt x="18920" y="13364"/>
                    <a:pt x="19002" y="13219"/>
                    <a:pt x="19028" y="13180"/>
                  </a:cubicBezTo>
                  <a:cubicBezTo>
                    <a:pt x="19054" y="13141"/>
                    <a:pt x="19337" y="13090"/>
                    <a:pt x="19356" y="13032"/>
                  </a:cubicBezTo>
                  <a:cubicBezTo>
                    <a:pt x="19376" y="12974"/>
                    <a:pt x="19440" y="12695"/>
                    <a:pt x="19449" y="12630"/>
                  </a:cubicBezTo>
                  <a:cubicBezTo>
                    <a:pt x="19457" y="12566"/>
                    <a:pt x="19273" y="12205"/>
                    <a:pt x="19268" y="12149"/>
                  </a:cubicBezTo>
                  <a:cubicBezTo>
                    <a:pt x="19264" y="12093"/>
                    <a:pt x="19457" y="11534"/>
                    <a:pt x="19457" y="11479"/>
                  </a:cubicBezTo>
                  <a:cubicBezTo>
                    <a:pt x="19457" y="11423"/>
                    <a:pt x="19406" y="10241"/>
                    <a:pt x="19397" y="10121"/>
                  </a:cubicBezTo>
                  <a:cubicBezTo>
                    <a:pt x="19389" y="10000"/>
                    <a:pt x="19311" y="9682"/>
                    <a:pt x="19217" y="9433"/>
                  </a:cubicBezTo>
                  <a:cubicBezTo>
                    <a:pt x="19122" y="9184"/>
                    <a:pt x="18920" y="8870"/>
                    <a:pt x="18895" y="8853"/>
                  </a:cubicBezTo>
                  <a:cubicBezTo>
                    <a:pt x="18869" y="8836"/>
                    <a:pt x="18886" y="8638"/>
                    <a:pt x="18929" y="8638"/>
                  </a:cubicBezTo>
                  <a:cubicBezTo>
                    <a:pt x="18945" y="8638"/>
                    <a:pt x="19007" y="8623"/>
                    <a:pt x="19082" y="8603"/>
                  </a:cubicBezTo>
                  <a:cubicBezTo>
                    <a:pt x="19045" y="8447"/>
                    <a:pt x="18558" y="6376"/>
                    <a:pt x="18525" y="6335"/>
                  </a:cubicBezTo>
                  <a:cubicBezTo>
                    <a:pt x="18491" y="6292"/>
                    <a:pt x="17778" y="5819"/>
                    <a:pt x="17778" y="5819"/>
                  </a:cubicBezTo>
                  <a:cubicBezTo>
                    <a:pt x="17778" y="5819"/>
                    <a:pt x="17786" y="5476"/>
                    <a:pt x="17778" y="5416"/>
                  </a:cubicBezTo>
                  <a:cubicBezTo>
                    <a:pt x="17769" y="5355"/>
                    <a:pt x="17614" y="5115"/>
                    <a:pt x="17580" y="5089"/>
                  </a:cubicBezTo>
                  <a:cubicBezTo>
                    <a:pt x="17546" y="5063"/>
                    <a:pt x="17245" y="4969"/>
                    <a:pt x="17211" y="4951"/>
                  </a:cubicBezTo>
                  <a:cubicBezTo>
                    <a:pt x="17176" y="4934"/>
                    <a:pt x="16949" y="4268"/>
                    <a:pt x="16927" y="4230"/>
                  </a:cubicBezTo>
                  <a:cubicBezTo>
                    <a:pt x="16906" y="4191"/>
                    <a:pt x="16936" y="3851"/>
                    <a:pt x="16957" y="3847"/>
                  </a:cubicBezTo>
                  <a:cubicBezTo>
                    <a:pt x="16979" y="3843"/>
                    <a:pt x="17116" y="3766"/>
                    <a:pt x="17193" y="3705"/>
                  </a:cubicBezTo>
                  <a:cubicBezTo>
                    <a:pt x="17271" y="3645"/>
                    <a:pt x="17318" y="3478"/>
                    <a:pt x="17352" y="3396"/>
                  </a:cubicBezTo>
                  <a:cubicBezTo>
                    <a:pt x="17387" y="3314"/>
                    <a:pt x="17713" y="3164"/>
                    <a:pt x="17722" y="3142"/>
                  </a:cubicBezTo>
                  <a:cubicBezTo>
                    <a:pt x="17730" y="3121"/>
                    <a:pt x="17666" y="2820"/>
                    <a:pt x="17662" y="2782"/>
                  </a:cubicBezTo>
                  <a:cubicBezTo>
                    <a:pt x="17657" y="2743"/>
                    <a:pt x="17928" y="2403"/>
                    <a:pt x="17945" y="2382"/>
                  </a:cubicBezTo>
                  <a:cubicBezTo>
                    <a:pt x="17962" y="2360"/>
                    <a:pt x="17752" y="2279"/>
                    <a:pt x="17752" y="2279"/>
                  </a:cubicBezTo>
                  <a:cubicBezTo>
                    <a:pt x="17752" y="2279"/>
                    <a:pt x="17821" y="2090"/>
                    <a:pt x="17864" y="2038"/>
                  </a:cubicBezTo>
                  <a:cubicBezTo>
                    <a:pt x="17907" y="1987"/>
                    <a:pt x="17700" y="1712"/>
                    <a:pt x="17700" y="1712"/>
                  </a:cubicBezTo>
                  <a:lnTo>
                    <a:pt x="17864" y="904"/>
                  </a:lnTo>
                  <a:lnTo>
                    <a:pt x="17597" y="766"/>
                  </a:lnTo>
                  <a:lnTo>
                    <a:pt x="18130" y="337"/>
                  </a:lnTo>
                  <a:lnTo>
                    <a:pt x="18095" y="216"/>
                  </a:lnTo>
                  <a:cubicBezTo>
                    <a:pt x="17911" y="247"/>
                    <a:pt x="17706" y="214"/>
                    <a:pt x="17518" y="242"/>
                  </a:cubicBezTo>
                  <a:cubicBezTo>
                    <a:pt x="17395" y="261"/>
                    <a:pt x="17256" y="303"/>
                    <a:pt x="17157" y="227"/>
                  </a:cubicBezTo>
                  <a:cubicBezTo>
                    <a:pt x="17111" y="192"/>
                    <a:pt x="17084" y="135"/>
                    <a:pt x="17038" y="99"/>
                  </a:cubicBezTo>
                  <a:cubicBezTo>
                    <a:pt x="16973" y="47"/>
                    <a:pt x="16879" y="43"/>
                    <a:pt x="16800" y="68"/>
                  </a:cubicBezTo>
                  <a:cubicBezTo>
                    <a:pt x="16721" y="93"/>
                    <a:pt x="16652" y="143"/>
                    <a:pt x="16585" y="193"/>
                  </a:cubicBezTo>
                  <a:cubicBezTo>
                    <a:pt x="16546" y="222"/>
                    <a:pt x="16500" y="253"/>
                    <a:pt x="16452" y="245"/>
                  </a:cubicBezTo>
                  <a:cubicBezTo>
                    <a:pt x="16422" y="240"/>
                    <a:pt x="16396" y="221"/>
                    <a:pt x="16368" y="207"/>
                  </a:cubicBezTo>
                  <a:cubicBezTo>
                    <a:pt x="16283" y="166"/>
                    <a:pt x="16183" y="183"/>
                    <a:pt x="16089" y="171"/>
                  </a:cubicBezTo>
                  <a:cubicBezTo>
                    <a:pt x="15996" y="160"/>
                    <a:pt x="15890" y="94"/>
                    <a:pt x="15900" y="0"/>
                  </a:cubicBezTo>
                  <a:cubicBezTo>
                    <a:pt x="15668" y="122"/>
                    <a:pt x="15436" y="243"/>
                    <a:pt x="15203" y="365"/>
                  </a:cubicBezTo>
                  <a:cubicBezTo>
                    <a:pt x="14992" y="476"/>
                    <a:pt x="14785" y="529"/>
                    <a:pt x="14548" y="562"/>
                  </a:cubicBezTo>
                  <a:cubicBezTo>
                    <a:pt x="14439" y="578"/>
                    <a:pt x="14373" y="449"/>
                    <a:pt x="14285" y="383"/>
                  </a:cubicBezTo>
                  <a:cubicBezTo>
                    <a:pt x="14240" y="351"/>
                    <a:pt x="14187" y="334"/>
                    <a:pt x="14135" y="318"/>
                  </a:cubicBezTo>
                  <a:cubicBezTo>
                    <a:pt x="13954" y="264"/>
                    <a:pt x="13770" y="223"/>
                    <a:pt x="13584" y="196"/>
                  </a:cubicBezTo>
                  <a:cubicBezTo>
                    <a:pt x="13333" y="159"/>
                    <a:pt x="13052" y="155"/>
                    <a:pt x="12857" y="316"/>
                  </a:cubicBezTo>
                  <a:cubicBezTo>
                    <a:pt x="12822" y="345"/>
                    <a:pt x="12791" y="379"/>
                    <a:pt x="12750" y="399"/>
                  </a:cubicBezTo>
                  <a:cubicBezTo>
                    <a:pt x="12618" y="463"/>
                    <a:pt x="12463" y="357"/>
                    <a:pt x="12318" y="376"/>
                  </a:cubicBezTo>
                  <a:cubicBezTo>
                    <a:pt x="12219" y="389"/>
                    <a:pt x="12139" y="458"/>
                    <a:pt x="12052" y="507"/>
                  </a:cubicBezTo>
                  <a:cubicBezTo>
                    <a:pt x="11805" y="647"/>
                    <a:pt x="11503" y="629"/>
                    <a:pt x="11220" y="648"/>
                  </a:cubicBezTo>
                  <a:cubicBezTo>
                    <a:pt x="10915" y="669"/>
                    <a:pt x="10616" y="738"/>
                    <a:pt x="10319" y="806"/>
                  </a:cubicBezTo>
                  <a:cubicBezTo>
                    <a:pt x="10227" y="827"/>
                    <a:pt x="10135" y="849"/>
                    <a:pt x="10045" y="877"/>
                  </a:cubicBezTo>
                  <a:cubicBezTo>
                    <a:pt x="9834" y="943"/>
                    <a:pt x="9637" y="1048"/>
                    <a:pt x="9442" y="1152"/>
                  </a:cubicBezTo>
                  <a:cubicBezTo>
                    <a:pt x="9350" y="1201"/>
                    <a:pt x="9232" y="1264"/>
                    <a:pt x="9191" y="1366"/>
                  </a:cubicBezTo>
                  <a:cubicBezTo>
                    <a:pt x="9151" y="1464"/>
                    <a:pt x="9172" y="1564"/>
                    <a:pt x="9062" y="1628"/>
                  </a:cubicBezTo>
                  <a:cubicBezTo>
                    <a:pt x="8982" y="1675"/>
                    <a:pt x="8878" y="1662"/>
                    <a:pt x="8792" y="1627"/>
                  </a:cubicBezTo>
                  <a:cubicBezTo>
                    <a:pt x="8741" y="1607"/>
                    <a:pt x="8689" y="1579"/>
                    <a:pt x="8636" y="1589"/>
                  </a:cubicBezTo>
                  <a:cubicBezTo>
                    <a:pt x="8548" y="1607"/>
                    <a:pt x="8511" y="1712"/>
                    <a:pt x="8436" y="1761"/>
                  </a:cubicBezTo>
                  <a:cubicBezTo>
                    <a:pt x="8376" y="1800"/>
                    <a:pt x="8297" y="1797"/>
                    <a:pt x="8228" y="1779"/>
                  </a:cubicBezTo>
                  <a:cubicBezTo>
                    <a:pt x="8198" y="1771"/>
                    <a:pt x="8167" y="1761"/>
                    <a:pt x="8137" y="1765"/>
                  </a:cubicBezTo>
                  <a:cubicBezTo>
                    <a:pt x="8101" y="1770"/>
                    <a:pt x="8071" y="1794"/>
                    <a:pt x="8043" y="1818"/>
                  </a:cubicBezTo>
                  <a:cubicBezTo>
                    <a:pt x="7979" y="1874"/>
                    <a:pt x="7917" y="1934"/>
                    <a:pt x="7858" y="1996"/>
                  </a:cubicBezTo>
                  <a:cubicBezTo>
                    <a:pt x="7800" y="2057"/>
                    <a:pt x="7745" y="2120"/>
                    <a:pt x="7691" y="2185"/>
                  </a:cubicBezTo>
                  <a:cubicBezTo>
                    <a:pt x="7602" y="2291"/>
                    <a:pt x="7517" y="2406"/>
                    <a:pt x="7397" y="2477"/>
                  </a:cubicBezTo>
                  <a:cubicBezTo>
                    <a:pt x="7255" y="2562"/>
                    <a:pt x="7054" y="2594"/>
                    <a:pt x="6894" y="2566"/>
                  </a:cubicBezTo>
                  <a:cubicBezTo>
                    <a:pt x="6835" y="2555"/>
                    <a:pt x="6774" y="2548"/>
                    <a:pt x="6714" y="2542"/>
                  </a:cubicBezTo>
                  <a:lnTo>
                    <a:pt x="6714" y="2543"/>
                  </a:lnTo>
                  <a:cubicBezTo>
                    <a:pt x="6714" y="2543"/>
                    <a:pt x="7255" y="3003"/>
                    <a:pt x="7255" y="3003"/>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5" name="Shape">
              <a:extLst>
                <a:ext uri="{FF2B5EF4-FFF2-40B4-BE49-F238E27FC236}">
                  <a16:creationId xmlns:a16="http://schemas.microsoft.com/office/drawing/2014/main" id="{CD0DEB47-BE11-004F-8C25-0BB40D21546F}"/>
                </a:ext>
              </a:extLst>
            </p:cNvPr>
            <p:cNvSpPr/>
            <p:nvPr/>
          </p:nvSpPr>
          <p:spPr>
            <a:xfrm>
              <a:off x="1904999" y="4800600"/>
              <a:ext cx="2163058" cy="1863971"/>
            </a:xfrm>
            <a:custGeom>
              <a:avLst/>
              <a:gdLst/>
              <a:ahLst/>
              <a:cxnLst>
                <a:cxn ang="0">
                  <a:pos x="wd2" y="hd2"/>
                </a:cxn>
                <a:cxn ang="5400000">
                  <a:pos x="wd2" y="hd2"/>
                </a:cxn>
                <a:cxn ang="10800000">
                  <a:pos x="wd2" y="hd2"/>
                </a:cxn>
                <a:cxn ang="16200000">
                  <a:pos x="wd2" y="hd2"/>
                </a:cxn>
              </a:cxnLst>
              <a:rect l="0" t="0" r="r" b="b"/>
              <a:pathLst>
                <a:path w="21595" h="21600" extrusionOk="0">
                  <a:moveTo>
                    <a:pt x="374" y="20751"/>
                  </a:moveTo>
                  <a:cubicBezTo>
                    <a:pt x="469" y="20696"/>
                    <a:pt x="10374" y="20861"/>
                    <a:pt x="10390" y="20751"/>
                  </a:cubicBezTo>
                  <a:cubicBezTo>
                    <a:pt x="10406" y="20641"/>
                    <a:pt x="10094" y="15710"/>
                    <a:pt x="10168" y="15625"/>
                  </a:cubicBezTo>
                  <a:cubicBezTo>
                    <a:pt x="10242" y="15539"/>
                    <a:pt x="11235" y="14656"/>
                    <a:pt x="11351" y="14594"/>
                  </a:cubicBezTo>
                  <a:cubicBezTo>
                    <a:pt x="11468" y="14533"/>
                    <a:pt x="13021" y="13957"/>
                    <a:pt x="13021" y="13957"/>
                  </a:cubicBezTo>
                  <a:lnTo>
                    <a:pt x="13042" y="5580"/>
                  </a:lnTo>
                  <a:lnTo>
                    <a:pt x="21595" y="5666"/>
                  </a:lnTo>
                  <a:cubicBezTo>
                    <a:pt x="21595" y="5666"/>
                    <a:pt x="21579" y="3415"/>
                    <a:pt x="21571" y="1149"/>
                  </a:cubicBezTo>
                  <a:cubicBezTo>
                    <a:pt x="21561" y="1141"/>
                    <a:pt x="21555" y="1136"/>
                    <a:pt x="21555" y="1136"/>
                  </a:cubicBezTo>
                  <a:cubicBezTo>
                    <a:pt x="21555" y="1136"/>
                    <a:pt x="21561" y="1141"/>
                    <a:pt x="21571" y="1149"/>
                  </a:cubicBezTo>
                  <a:cubicBezTo>
                    <a:pt x="21570" y="763"/>
                    <a:pt x="21569" y="376"/>
                    <a:pt x="21568" y="0"/>
                  </a:cubicBezTo>
                  <a:lnTo>
                    <a:pt x="9946" y="0"/>
                  </a:lnTo>
                  <a:cubicBezTo>
                    <a:pt x="9357" y="1029"/>
                    <a:pt x="9588" y="2640"/>
                    <a:pt x="8761" y="3452"/>
                  </a:cubicBezTo>
                  <a:cubicBezTo>
                    <a:pt x="8428" y="3779"/>
                    <a:pt x="7983" y="3903"/>
                    <a:pt x="7609" y="4165"/>
                  </a:cubicBezTo>
                  <a:cubicBezTo>
                    <a:pt x="6775" y="4746"/>
                    <a:pt x="6405" y="5905"/>
                    <a:pt x="6126" y="6986"/>
                  </a:cubicBezTo>
                  <a:cubicBezTo>
                    <a:pt x="5817" y="8183"/>
                    <a:pt x="5334" y="9411"/>
                    <a:pt x="5103" y="10631"/>
                  </a:cubicBezTo>
                  <a:cubicBezTo>
                    <a:pt x="4956" y="10500"/>
                    <a:pt x="4731" y="10608"/>
                    <a:pt x="4623" y="10783"/>
                  </a:cubicBezTo>
                  <a:cubicBezTo>
                    <a:pt x="4514" y="10957"/>
                    <a:pt x="4480" y="11177"/>
                    <a:pt x="4404" y="11373"/>
                  </a:cubicBezTo>
                  <a:cubicBezTo>
                    <a:pt x="4258" y="11754"/>
                    <a:pt x="3946" y="12042"/>
                    <a:pt x="3593" y="12122"/>
                  </a:cubicBezTo>
                  <a:cubicBezTo>
                    <a:pt x="3465" y="12151"/>
                    <a:pt x="3296" y="12196"/>
                    <a:pt x="3290" y="12347"/>
                  </a:cubicBezTo>
                  <a:cubicBezTo>
                    <a:pt x="3288" y="12396"/>
                    <a:pt x="3307" y="12443"/>
                    <a:pt x="3319" y="12490"/>
                  </a:cubicBezTo>
                  <a:cubicBezTo>
                    <a:pt x="3375" y="12713"/>
                    <a:pt x="3287" y="12947"/>
                    <a:pt x="3201" y="13157"/>
                  </a:cubicBezTo>
                  <a:cubicBezTo>
                    <a:pt x="2867" y="13971"/>
                    <a:pt x="2533" y="14785"/>
                    <a:pt x="2199" y="15598"/>
                  </a:cubicBezTo>
                  <a:cubicBezTo>
                    <a:pt x="2009" y="16060"/>
                    <a:pt x="1818" y="16531"/>
                    <a:pt x="1757" y="17037"/>
                  </a:cubicBezTo>
                  <a:cubicBezTo>
                    <a:pt x="1744" y="17150"/>
                    <a:pt x="1735" y="17269"/>
                    <a:pt x="1675" y="17359"/>
                  </a:cubicBezTo>
                  <a:cubicBezTo>
                    <a:pt x="1610" y="17456"/>
                    <a:pt x="1500" y="17494"/>
                    <a:pt x="1403" y="17544"/>
                  </a:cubicBezTo>
                  <a:cubicBezTo>
                    <a:pt x="983" y="17758"/>
                    <a:pt x="720" y="18254"/>
                    <a:pt x="570" y="18758"/>
                  </a:cubicBezTo>
                  <a:cubicBezTo>
                    <a:pt x="421" y="19261"/>
                    <a:pt x="360" y="19796"/>
                    <a:pt x="199" y="20295"/>
                  </a:cubicBezTo>
                  <a:cubicBezTo>
                    <a:pt x="117" y="20550"/>
                    <a:pt x="8" y="20801"/>
                    <a:pt x="1" y="21073"/>
                  </a:cubicBezTo>
                  <a:cubicBezTo>
                    <a:pt x="-5" y="21269"/>
                    <a:pt x="64" y="21479"/>
                    <a:pt x="188" y="21600"/>
                  </a:cubicBezTo>
                  <a:cubicBezTo>
                    <a:pt x="253" y="21184"/>
                    <a:pt x="328" y="20777"/>
                    <a:pt x="374" y="20751"/>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6" name="Shape">
              <a:extLst>
                <a:ext uri="{FF2B5EF4-FFF2-40B4-BE49-F238E27FC236}">
                  <a16:creationId xmlns:a16="http://schemas.microsoft.com/office/drawing/2014/main" id="{4082EEC4-7757-AC46-BE18-C3366FB5F9FD}"/>
                </a:ext>
              </a:extLst>
            </p:cNvPr>
            <p:cNvSpPr/>
            <p:nvPr/>
          </p:nvSpPr>
          <p:spPr>
            <a:xfrm>
              <a:off x="7226300" y="9182100"/>
              <a:ext cx="1190" cy="4971"/>
            </a:xfrm>
            <a:custGeom>
              <a:avLst/>
              <a:gdLst/>
              <a:ahLst/>
              <a:cxnLst>
                <a:cxn ang="0">
                  <a:pos x="wd2" y="hd2"/>
                </a:cxn>
                <a:cxn ang="5400000">
                  <a:pos x="wd2" y="hd2"/>
                </a:cxn>
                <a:cxn ang="10800000">
                  <a:pos x="wd2" y="hd2"/>
                </a:cxn>
                <a:cxn ang="16200000">
                  <a:pos x="wd2" y="hd2"/>
                </a:cxn>
              </a:cxnLst>
              <a:rect l="0" t="0" r="r" b="b"/>
              <a:pathLst>
                <a:path w="21600" h="21600" extrusionOk="0">
                  <a:moveTo>
                    <a:pt x="436" y="21600"/>
                  </a:moveTo>
                  <a:cubicBezTo>
                    <a:pt x="7191" y="21192"/>
                    <a:pt x="14269" y="13360"/>
                    <a:pt x="21600" y="0"/>
                  </a:cubicBezTo>
                  <a:cubicBezTo>
                    <a:pt x="21600" y="0"/>
                    <a:pt x="12707" y="8708"/>
                    <a:pt x="0" y="21546"/>
                  </a:cubicBezTo>
                  <a:cubicBezTo>
                    <a:pt x="0" y="21546"/>
                    <a:pt x="366" y="21600"/>
                    <a:pt x="436" y="2160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7" name="Shape">
              <a:extLst>
                <a:ext uri="{FF2B5EF4-FFF2-40B4-BE49-F238E27FC236}">
                  <a16:creationId xmlns:a16="http://schemas.microsoft.com/office/drawing/2014/main" id="{4CD65FDD-DC6E-BF4A-9E3A-40CC0B3BCFEF}"/>
                </a:ext>
              </a:extLst>
            </p:cNvPr>
            <p:cNvSpPr/>
            <p:nvPr/>
          </p:nvSpPr>
          <p:spPr>
            <a:xfrm>
              <a:off x="14795500" y="8331199"/>
              <a:ext cx="3866682" cy="3005139"/>
            </a:xfrm>
            <a:custGeom>
              <a:avLst/>
              <a:gdLst/>
              <a:ahLst/>
              <a:cxnLst>
                <a:cxn ang="0">
                  <a:pos x="wd2" y="hd2"/>
                </a:cxn>
                <a:cxn ang="5400000">
                  <a:pos x="wd2" y="hd2"/>
                </a:cxn>
                <a:cxn ang="10800000">
                  <a:pos x="wd2" y="hd2"/>
                </a:cxn>
                <a:cxn ang="16200000">
                  <a:pos x="wd2" y="hd2"/>
                </a:cxn>
              </a:cxnLst>
              <a:rect l="0" t="0" r="r" b="b"/>
              <a:pathLst>
                <a:path w="21572" h="21600" extrusionOk="0">
                  <a:moveTo>
                    <a:pt x="13749" y="7246"/>
                  </a:moveTo>
                  <a:cubicBezTo>
                    <a:pt x="13566" y="7246"/>
                    <a:pt x="13082" y="7345"/>
                    <a:pt x="12975" y="7367"/>
                  </a:cubicBezTo>
                  <a:cubicBezTo>
                    <a:pt x="12869" y="7390"/>
                    <a:pt x="12722" y="7459"/>
                    <a:pt x="12686" y="7443"/>
                  </a:cubicBezTo>
                  <a:cubicBezTo>
                    <a:pt x="12651" y="7428"/>
                    <a:pt x="12704" y="6287"/>
                    <a:pt x="12686" y="6196"/>
                  </a:cubicBezTo>
                  <a:cubicBezTo>
                    <a:pt x="12668" y="6105"/>
                    <a:pt x="12792" y="5724"/>
                    <a:pt x="12822" y="5686"/>
                  </a:cubicBezTo>
                  <a:cubicBezTo>
                    <a:pt x="12850" y="5650"/>
                    <a:pt x="13430" y="4750"/>
                    <a:pt x="13497" y="4646"/>
                  </a:cubicBezTo>
                  <a:cubicBezTo>
                    <a:pt x="13497" y="4645"/>
                    <a:pt x="13496" y="4645"/>
                    <a:pt x="13495" y="4644"/>
                  </a:cubicBezTo>
                  <a:cubicBezTo>
                    <a:pt x="13460" y="4606"/>
                    <a:pt x="12663" y="3351"/>
                    <a:pt x="12527" y="3176"/>
                  </a:cubicBezTo>
                  <a:cubicBezTo>
                    <a:pt x="12391" y="3001"/>
                    <a:pt x="11883" y="2552"/>
                    <a:pt x="11830" y="2506"/>
                  </a:cubicBezTo>
                  <a:cubicBezTo>
                    <a:pt x="11777" y="2461"/>
                    <a:pt x="11228" y="1419"/>
                    <a:pt x="11198" y="1381"/>
                  </a:cubicBezTo>
                  <a:cubicBezTo>
                    <a:pt x="11169" y="1343"/>
                    <a:pt x="10354" y="1008"/>
                    <a:pt x="10330" y="993"/>
                  </a:cubicBezTo>
                  <a:cubicBezTo>
                    <a:pt x="10307" y="977"/>
                    <a:pt x="10254" y="711"/>
                    <a:pt x="10230" y="690"/>
                  </a:cubicBezTo>
                  <a:cubicBezTo>
                    <a:pt x="10206" y="669"/>
                    <a:pt x="9964" y="947"/>
                    <a:pt x="9964" y="947"/>
                  </a:cubicBezTo>
                  <a:cubicBezTo>
                    <a:pt x="9964" y="947"/>
                    <a:pt x="9575" y="576"/>
                    <a:pt x="9552" y="588"/>
                  </a:cubicBezTo>
                  <a:cubicBezTo>
                    <a:pt x="9530" y="599"/>
                    <a:pt x="9322" y="856"/>
                    <a:pt x="9322" y="856"/>
                  </a:cubicBezTo>
                  <a:cubicBezTo>
                    <a:pt x="9322" y="856"/>
                    <a:pt x="9198" y="690"/>
                    <a:pt x="9176" y="690"/>
                  </a:cubicBezTo>
                  <a:cubicBezTo>
                    <a:pt x="9154" y="690"/>
                    <a:pt x="8941" y="958"/>
                    <a:pt x="8919" y="947"/>
                  </a:cubicBezTo>
                  <a:cubicBezTo>
                    <a:pt x="8897" y="936"/>
                    <a:pt x="8893" y="536"/>
                    <a:pt x="8893" y="536"/>
                  </a:cubicBezTo>
                  <a:cubicBezTo>
                    <a:pt x="8893" y="536"/>
                    <a:pt x="8645" y="513"/>
                    <a:pt x="8609" y="513"/>
                  </a:cubicBezTo>
                  <a:cubicBezTo>
                    <a:pt x="8574" y="513"/>
                    <a:pt x="7847" y="936"/>
                    <a:pt x="7812" y="936"/>
                  </a:cubicBezTo>
                  <a:cubicBezTo>
                    <a:pt x="7777" y="936"/>
                    <a:pt x="7015" y="0"/>
                    <a:pt x="7015" y="0"/>
                  </a:cubicBezTo>
                  <a:cubicBezTo>
                    <a:pt x="7015" y="0"/>
                    <a:pt x="6510" y="1392"/>
                    <a:pt x="6475" y="1381"/>
                  </a:cubicBezTo>
                  <a:cubicBezTo>
                    <a:pt x="6439" y="1369"/>
                    <a:pt x="6218" y="890"/>
                    <a:pt x="6160" y="890"/>
                  </a:cubicBezTo>
                  <a:cubicBezTo>
                    <a:pt x="6101" y="890"/>
                    <a:pt x="5853" y="1240"/>
                    <a:pt x="5845" y="1242"/>
                  </a:cubicBezTo>
                  <a:cubicBezTo>
                    <a:pt x="5837" y="1244"/>
                    <a:pt x="5183" y="1242"/>
                    <a:pt x="5093" y="1242"/>
                  </a:cubicBezTo>
                  <a:cubicBezTo>
                    <a:pt x="5093" y="1243"/>
                    <a:pt x="5093" y="1243"/>
                    <a:pt x="5093" y="1244"/>
                  </a:cubicBezTo>
                  <a:cubicBezTo>
                    <a:pt x="5093" y="1312"/>
                    <a:pt x="4597" y="4222"/>
                    <a:pt x="4544" y="4210"/>
                  </a:cubicBezTo>
                  <a:cubicBezTo>
                    <a:pt x="4491" y="4199"/>
                    <a:pt x="3835" y="4279"/>
                    <a:pt x="3835" y="4279"/>
                  </a:cubicBezTo>
                  <a:cubicBezTo>
                    <a:pt x="3835" y="4279"/>
                    <a:pt x="2967" y="5945"/>
                    <a:pt x="2932" y="6036"/>
                  </a:cubicBezTo>
                  <a:cubicBezTo>
                    <a:pt x="2897" y="6127"/>
                    <a:pt x="2832" y="7634"/>
                    <a:pt x="2832" y="7634"/>
                  </a:cubicBezTo>
                  <a:cubicBezTo>
                    <a:pt x="2832" y="7634"/>
                    <a:pt x="2560" y="7999"/>
                    <a:pt x="2525" y="7999"/>
                  </a:cubicBezTo>
                  <a:cubicBezTo>
                    <a:pt x="2489" y="7999"/>
                    <a:pt x="2359" y="7694"/>
                    <a:pt x="2288" y="7664"/>
                  </a:cubicBezTo>
                  <a:cubicBezTo>
                    <a:pt x="2218" y="7634"/>
                    <a:pt x="1851" y="8197"/>
                    <a:pt x="1840" y="8273"/>
                  </a:cubicBezTo>
                  <a:cubicBezTo>
                    <a:pt x="1828" y="8349"/>
                    <a:pt x="1911" y="9033"/>
                    <a:pt x="1911" y="9125"/>
                  </a:cubicBezTo>
                  <a:cubicBezTo>
                    <a:pt x="1911" y="9215"/>
                    <a:pt x="1622" y="10213"/>
                    <a:pt x="1570" y="10234"/>
                  </a:cubicBezTo>
                  <a:cubicBezTo>
                    <a:pt x="1573" y="10388"/>
                    <a:pt x="1608" y="11880"/>
                    <a:pt x="1603" y="11913"/>
                  </a:cubicBezTo>
                  <a:cubicBezTo>
                    <a:pt x="1599" y="11947"/>
                    <a:pt x="1156" y="12375"/>
                    <a:pt x="1108" y="12380"/>
                  </a:cubicBezTo>
                  <a:cubicBezTo>
                    <a:pt x="1059" y="12386"/>
                    <a:pt x="545" y="12300"/>
                    <a:pt x="496" y="12266"/>
                  </a:cubicBezTo>
                  <a:cubicBezTo>
                    <a:pt x="448" y="12232"/>
                    <a:pt x="434" y="12186"/>
                    <a:pt x="390" y="12186"/>
                  </a:cubicBezTo>
                  <a:cubicBezTo>
                    <a:pt x="346" y="12186"/>
                    <a:pt x="319" y="12249"/>
                    <a:pt x="319" y="12249"/>
                  </a:cubicBezTo>
                  <a:cubicBezTo>
                    <a:pt x="319" y="12249"/>
                    <a:pt x="-4" y="13071"/>
                    <a:pt x="0" y="13128"/>
                  </a:cubicBezTo>
                  <a:cubicBezTo>
                    <a:pt x="5" y="13185"/>
                    <a:pt x="93" y="13464"/>
                    <a:pt x="120" y="13481"/>
                  </a:cubicBezTo>
                  <a:cubicBezTo>
                    <a:pt x="147" y="13499"/>
                    <a:pt x="939" y="13658"/>
                    <a:pt x="984" y="13693"/>
                  </a:cubicBezTo>
                  <a:cubicBezTo>
                    <a:pt x="1028" y="13727"/>
                    <a:pt x="1679" y="14851"/>
                    <a:pt x="1745" y="14908"/>
                  </a:cubicBezTo>
                  <a:cubicBezTo>
                    <a:pt x="1812" y="14965"/>
                    <a:pt x="2724" y="15689"/>
                    <a:pt x="2764" y="15735"/>
                  </a:cubicBezTo>
                  <a:cubicBezTo>
                    <a:pt x="2804" y="15781"/>
                    <a:pt x="2830" y="16853"/>
                    <a:pt x="2861" y="16939"/>
                  </a:cubicBezTo>
                  <a:cubicBezTo>
                    <a:pt x="2892" y="17024"/>
                    <a:pt x="3233" y="17857"/>
                    <a:pt x="3274" y="17873"/>
                  </a:cubicBezTo>
                  <a:cubicBezTo>
                    <a:pt x="3316" y="17888"/>
                    <a:pt x="3747" y="17835"/>
                    <a:pt x="3889" y="17918"/>
                  </a:cubicBezTo>
                  <a:cubicBezTo>
                    <a:pt x="4030" y="18002"/>
                    <a:pt x="4066" y="18002"/>
                    <a:pt x="4072" y="18048"/>
                  </a:cubicBezTo>
                  <a:cubicBezTo>
                    <a:pt x="4077" y="18093"/>
                    <a:pt x="4007" y="19006"/>
                    <a:pt x="4042" y="19052"/>
                  </a:cubicBezTo>
                  <a:cubicBezTo>
                    <a:pt x="4060" y="19074"/>
                    <a:pt x="4107" y="19139"/>
                    <a:pt x="4159" y="19218"/>
                  </a:cubicBezTo>
                  <a:cubicBezTo>
                    <a:pt x="4173" y="19214"/>
                    <a:pt x="4182" y="19211"/>
                    <a:pt x="4182" y="19211"/>
                  </a:cubicBezTo>
                  <a:cubicBezTo>
                    <a:pt x="4182" y="19211"/>
                    <a:pt x="4173" y="19214"/>
                    <a:pt x="4159" y="19218"/>
                  </a:cubicBezTo>
                  <a:cubicBezTo>
                    <a:pt x="4213" y="19298"/>
                    <a:pt x="4272" y="19393"/>
                    <a:pt x="4308" y="19470"/>
                  </a:cubicBezTo>
                  <a:cubicBezTo>
                    <a:pt x="4379" y="19622"/>
                    <a:pt x="4390" y="19698"/>
                    <a:pt x="4390" y="19698"/>
                  </a:cubicBezTo>
                  <a:cubicBezTo>
                    <a:pt x="4390" y="19698"/>
                    <a:pt x="5737" y="19744"/>
                    <a:pt x="5778" y="19774"/>
                  </a:cubicBezTo>
                  <a:cubicBezTo>
                    <a:pt x="5819" y="19805"/>
                    <a:pt x="7260" y="21204"/>
                    <a:pt x="7331" y="21204"/>
                  </a:cubicBezTo>
                  <a:cubicBezTo>
                    <a:pt x="7402" y="21204"/>
                    <a:pt x="7933" y="21083"/>
                    <a:pt x="8016" y="21113"/>
                  </a:cubicBezTo>
                  <a:cubicBezTo>
                    <a:pt x="8098" y="21144"/>
                    <a:pt x="9315" y="21600"/>
                    <a:pt x="9315" y="21600"/>
                  </a:cubicBezTo>
                  <a:lnTo>
                    <a:pt x="9870" y="20718"/>
                  </a:lnTo>
                  <a:lnTo>
                    <a:pt x="11062" y="20003"/>
                  </a:lnTo>
                  <a:lnTo>
                    <a:pt x="11736" y="20611"/>
                  </a:lnTo>
                  <a:lnTo>
                    <a:pt x="12760" y="20552"/>
                  </a:lnTo>
                  <a:cubicBezTo>
                    <a:pt x="12821" y="20479"/>
                    <a:pt x="12993" y="20271"/>
                    <a:pt x="13008" y="20227"/>
                  </a:cubicBezTo>
                  <a:cubicBezTo>
                    <a:pt x="13026" y="20174"/>
                    <a:pt x="13058" y="20143"/>
                    <a:pt x="13082" y="20139"/>
                  </a:cubicBezTo>
                  <a:cubicBezTo>
                    <a:pt x="13105" y="20136"/>
                    <a:pt x="14136" y="19987"/>
                    <a:pt x="14159" y="19938"/>
                  </a:cubicBezTo>
                  <a:cubicBezTo>
                    <a:pt x="14183" y="19888"/>
                    <a:pt x="14552" y="19265"/>
                    <a:pt x="14623" y="19242"/>
                  </a:cubicBezTo>
                  <a:cubicBezTo>
                    <a:pt x="14694" y="19219"/>
                    <a:pt x="15517" y="18816"/>
                    <a:pt x="15582" y="18785"/>
                  </a:cubicBezTo>
                  <a:cubicBezTo>
                    <a:pt x="15647" y="18755"/>
                    <a:pt x="15987" y="18694"/>
                    <a:pt x="16258" y="18694"/>
                  </a:cubicBezTo>
                  <a:cubicBezTo>
                    <a:pt x="16530" y="18694"/>
                    <a:pt x="17156" y="18770"/>
                    <a:pt x="17191" y="18770"/>
                  </a:cubicBezTo>
                  <a:cubicBezTo>
                    <a:pt x="17227" y="18770"/>
                    <a:pt x="21549" y="13111"/>
                    <a:pt x="21572" y="13065"/>
                  </a:cubicBezTo>
                  <a:cubicBezTo>
                    <a:pt x="21596" y="13019"/>
                    <a:pt x="20203" y="13080"/>
                    <a:pt x="20096" y="13065"/>
                  </a:cubicBezTo>
                  <a:cubicBezTo>
                    <a:pt x="19990" y="13050"/>
                    <a:pt x="16010" y="11346"/>
                    <a:pt x="15892" y="11270"/>
                  </a:cubicBezTo>
                  <a:cubicBezTo>
                    <a:pt x="15774" y="11194"/>
                    <a:pt x="14794" y="10113"/>
                    <a:pt x="14782" y="10037"/>
                  </a:cubicBezTo>
                  <a:cubicBezTo>
                    <a:pt x="14770" y="9961"/>
                    <a:pt x="14794" y="9687"/>
                    <a:pt x="14723" y="9596"/>
                  </a:cubicBezTo>
                  <a:cubicBezTo>
                    <a:pt x="14652" y="9505"/>
                    <a:pt x="14499" y="9535"/>
                    <a:pt x="14452" y="9459"/>
                  </a:cubicBezTo>
                  <a:cubicBezTo>
                    <a:pt x="14404" y="9383"/>
                    <a:pt x="13873" y="8105"/>
                    <a:pt x="13873" y="8105"/>
                  </a:cubicBezTo>
                  <a:lnTo>
                    <a:pt x="14286" y="7398"/>
                  </a:lnTo>
                  <a:cubicBezTo>
                    <a:pt x="14233" y="7398"/>
                    <a:pt x="13924" y="7246"/>
                    <a:pt x="13749" y="7246"/>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8" name="Shape">
              <a:extLst>
                <a:ext uri="{FF2B5EF4-FFF2-40B4-BE49-F238E27FC236}">
                  <a16:creationId xmlns:a16="http://schemas.microsoft.com/office/drawing/2014/main" id="{3DC859BA-560E-6547-8ECD-67ACF7970681}"/>
                </a:ext>
              </a:extLst>
            </p:cNvPr>
            <p:cNvSpPr/>
            <p:nvPr/>
          </p:nvSpPr>
          <p:spPr>
            <a:xfrm>
              <a:off x="14706600" y="14643100"/>
              <a:ext cx="836089" cy="2038648"/>
            </a:xfrm>
            <a:custGeom>
              <a:avLst/>
              <a:gdLst/>
              <a:ahLst/>
              <a:cxnLst>
                <a:cxn ang="0">
                  <a:pos x="wd2" y="hd2"/>
                </a:cxn>
                <a:cxn ang="5400000">
                  <a:pos x="wd2" y="hd2"/>
                </a:cxn>
                <a:cxn ang="10800000">
                  <a:pos x="wd2" y="hd2"/>
                </a:cxn>
                <a:cxn ang="16200000">
                  <a:pos x="wd2" y="hd2"/>
                </a:cxn>
              </a:cxnLst>
              <a:rect l="0" t="0" r="r" b="b"/>
              <a:pathLst>
                <a:path w="21498" h="21600" extrusionOk="0">
                  <a:moveTo>
                    <a:pt x="2368" y="648"/>
                  </a:moveTo>
                  <a:cubicBezTo>
                    <a:pt x="2368" y="648"/>
                    <a:pt x="3103" y="547"/>
                    <a:pt x="3470" y="564"/>
                  </a:cubicBezTo>
                  <a:cubicBezTo>
                    <a:pt x="3837" y="581"/>
                    <a:pt x="4327" y="1001"/>
                    <a:pt x="4450" y="1136"/>
                  </a:cubicBezTo>
                  <a:cubicBezTo>
                    <a:pt x="4572" y="1270"/>
                    <a:pt x="4164" y="1573"/>
                    <a:pt x="4286" y="1758"/>
                  </a:cubicBezTo>
                  <a:cubicBezTo>
                    <a:pt x="4409" y="1943"/>
                    <a:pt x="6967" y="3126"/>
                    <a:pt x="6940" y="3205"/>
                  </a:cubicBezTo>
                  <a:cubicBezTo>
                    <a:pt x="6912" y="3283"/>
                    <a:pt x="4028" y="3945"/>
                    <a:pt x="3946" y="4025"/>
                  </a:cubicBezTo>
                  <a:cubicBezTo>
                    <a:pt x="3865" y="4106"/>
                    <a:pt x="4899" y="4730"/>
                    <a:pt x="4871" y="4819"/>
                  </a:cubicBezTo>
                  <a:cubicBezTo>
                    <a:pt x="4844" y="4909"/>
                    <a:pt x="3946" y="5358"/>
                    <a:pt x="3865" y="5537"/>
                  </a:cubicBezTo>
                  <a:cubicBezTo>
                    <a:pt x="3783" y="5716"/>
                    <a:pt x="3837" y="7185"/>
                    <a:pt x="4001" y="7499"/>
                  </a:cubicBezTo>
                  <a:cubicBezTo>
                    <a:pt x="4164" y="7813"/>
                    <a:pt x="4348" y="7981"/>
                    <a:pt x="4674" y="8074"/>
                  </a:cubicBezTo>
                  <a:cubicBezTo>
                    <a:pt x="5001" y="8166"/>
                    <a:pt x="5960" y="8124"/>
                    <a:pt x="5940" y="8183"/>
                  </a:cubicBezTo>
                  <a:cubicBezTo>
                    <a:pt x="5919" y="8242"/>
                    <a:pt x="4797" y="8747"/>
                    <a:pt x="4613" y="8772"/>
                  </a:cubicBezTo>
                  <a:cubicBezTo>
                    <a:pt x="4429" y="8797"/>
                    <a:pt x="3184" y="8780"/>
                    <a:pt x="3082" y="8814"/>
                  </a:cubicBezTo>
                  <a:cubicBezTo>
                    <a:pt x="2980" y="8848"/>
                    <a:pt x="2001" y="9453"/>
                    <a:pt x="2001" y="9613"/>
                  </a:cubicBezTo>
                  <a:cubicBezTo>
                    <a:pt x="2001" y="9773"/>
                    <a:pt x="2470" y="10546"/>
                    <a:pt x="2450" y="10580"/>
                  </a:cubicBezTo>
                  <a:cubicBezTo>
                    <a:pt x="2429" y="10614"/>
                    <a:pt x="-20" y="11707"/>
                    <a:pt x="0" y="11749"/>
                  </a:cubicBezTo>
                  <a:cubicBezTo>
                    <a:pt x="21" y="11791"/>
                    <a:pt x="776" y="11732"/>
                    <a:pt x="878" y="11749"/>
                  </a:cubicBezTo>
                  <a:cubicBezTo>
                    <a:pt x="980" y="11766"/>
                    <a:pt x="960" y="11884"/>
                    <a:pt x="960" y="11926"/>
                  </a:cubicBezTo>
                  <a:cubicBezTo>
                    <a:pt x="960" y="11968"/>
                    <a:pt x="592" y="12060"/>
                    <a:pt x="572" y="12128"/>
                  </a:cubicBezTo>
                  <a:cubicBezTo>
                    <a:pt x="553" y="12190"/>
                    <a:pt x="2296" y="12868"/>
                    <a:pt x="2526" y="12957"/>
                  </a:cubicBezTo>
                  <a:cubicBezTo>
                    <a:pt x="3145" y="12869"/>
                    <a:pt x="3720" y="12802"/>
                    <a:pt x="3919" y="12826"/>
                  </a:cubicBezTo>
                  <a:cubicBezTo>
                    <a:pt x="4205" y="12859"/>
                    <a:pt x="6668" y="14530"/>
                    <a:pt x="6668" y="14530"/>
                  </a:cubicBezTo>
                  <a:cubicBezTo>
                    <a:pt x="6668" y="14530"/>
                    <a:pt x="6749" y="14339"/>
                    <a:pt x="6776" y="14350"/>
                  </a:cubicBezTo>
                  <a:cubicBezTo>
                    <a:pt x="6804" y="14360"/>
                    <a:pt x="7212" y="14182"/>
                    <a:pt x="7511" y="14149"/>
                  </a:cubicBezTo>
                  <a:cubicBezTo>
                    <a:pt x="7810" y="14115"/>
                    <a:pt x="10287" y="13880"/>
                    <a:pt x="10695" y="13924"/>
                  </a:cubicBezTo>
                  <a:cubicBezTo>
                    <a:pt x="11103" y="13969"/>
                    <a:pt x="12273" y="14283"/>
                    <a:pt x="12301" y="14350"/>
                  </a:cubicBezTo>
                  <a:cubicBezTo>
                    <a:pt x="12328" y="14417"/>
                    <a:pt x="12899" y="16257"/>
                    <a:pt x="12899" y="16302"/>
                  </a:cubicBezTo>
                  <a:cubicBezTo>
                    <a:pt x="12899" y="16347"/>
                    <a:pt x="10368" y="18197"/>
                    <a:pt x="10450" y="18219"/>
                  </a:cubicBezTo>
                  <a:cubicBezTo>
                    <a:pt x="10532" y="18242"/>
                    <a:pt x="11593" y="18455"/>
                    <a:pt x="11675" y="18533"/>
                  </a:cubicBezTo>
                  <a:cubicBezTo>
                    <a:pt x="11756" y="18612"/>
                    <a:pt x="11593" y="19105"/>
                    <a:pt x="11702" y="19150"/>
                  </a:cubicBezTo>
                  <a:cubicBezTo>
                    <a:pt x="11811" y="19195"/>
                    <a:pt x="16437" y="20759"/>
                    <a:pt x="16478" y="20837"/>
                  </a:cubicBezTo>
                  <a:cubicBezTo>
                    <a:pt x="16518" y="20916"/>
                    <a:pt x="16301" y="21000"/>
                    <a:pt x="16192" y="21090"/>
                  </a:cubicBezTo>
                  <a:cubicBezTo>
                    <a:pt x="16083" y="21180"/>
                    <a:pt x="15961" y="21527"/>
                    <a:pt x="16042" y="21555"/>
                  </a:cubicBezTo>
                  <a:cubicBezTo>
                    <a:pt x="16124" y="21583"/>
                    <a:pt x="17566" y="21600"/>
                    <a:pt x="17566" y="21600"/>
                  </a:cubicBezTo>
                  <a:lnTo>
                    <a:pt x="17471" y="20501"/>
                  </a:lnTo>
                  <a:lnTo>
                    <a:pt x="16464" y="20002"/>
                  </a:lnTo>
                  <a:lnTo>
                    <a:pt x="18206" y="18769"/>
                  </a:lnTo>
                  <a:lnTo>
                    <a:pt x="20818" y="18567"/>
                  </a:lnTo>
                  <a:lnTo>
                    <a:pt x="20600" y="16257"/>
                  </a:lnTo>
                  <a:lnTo>
                    <a:pt x="21006" y="16008"/>
                  </a:lnTo>
                  <a:lnTo>
                    <a:pt x="21471" y="15450"/>
                  </a:lnTo>
                  <a:cubicBezTo>
                    <a:pt x="21471" y="15450"/>
                    <a:pt x="21580" y="14822"/>
                    <a:pt x="21362" y="14614"/>
                  </a:cubicBezTo>
                  <a:cubicBezTo>
                    <a:pt x="21145" y="14407"/>
                    <a:pt x="17063" y="12287"/>
                    <a:pt x="16192" y="11996"/>
                  </a:cubicBezTo>
                  <a:cubicBezTo>
                    <a:pt x="15321" y="11704"/>
                    <a:pt x="13144" y="11166"/>
                    <a:pt x="13144" y="11166"/>
                  </a:cubicBezTo>
                  <a:cubicBezTo>
                    <a:pt x="13144" y="11166"/>
                    <a:pt x="11403" y="7824"/>
                    <a:pt x="11403" y="7712"/>
                  </a:cubicBezTo>
                  <a:cubicBezTo>
                    <a:pt x="11403" y="7600"/>
                    <a:pt x="13035" y="5963"/>
                    <a:pt x="13199" y="5985"/>
                  </a:cubicBezTo>
                  <a:cubicBezTo>
                    <a:pt x="13256" y="5993"/>
                    <a:pt x="14023" y="5996"/>
                    <a:pt x="14988" y="5995"/>
                  </a:cubicBezTo>
                  <a:cubicBezTo>
                    <a:pt x="14988" y="5995"/>
                    <a:pt x="14532" y="5335"/>
                    <a:pt x="14151" y="5133"/>
                  </a:cubicBezTo>
                  <a:cubicBezTo>
                    <a:pt x="13770" y="4931"/>
                    <a:pt x="13075" y="4126"/>
                    <a:pt x="13109" y="4013"/>
                  </a:cubicBezTo>
                  <a:cubicBezTo>
                    <a:pt x="13144" y="3900"/>
                    <a:pt x="12464" y="2924"/>
                    <a:pt x="12437" y="2846"/>
                  </a:cubicBezTo>
                  <a:cubicBezTo>
                    <a:pt x="12409" y="2767"/>
                    <a:pt x="12327" y="1501"/>
                    <a:pt x="12327" y="1501"/>
                  </a:cubicBezTo>
                  <a:lnTo>
                    <a:pt x="9459" y="240"/>
                  </a:lnTo>
                  <a:cubicBezTo>
                    <a:pt x="9459" y="240"/>
                    <a:pt x="8953" y="614"/>
                    <a:pt x="8600" y="614"/>
                  </a:cubicBezTo>
                  <a:cubicBezTo>
                    <a:pt x="8246" y="614"/>
                    <a:pt x="6668" y="637"/>
                    <a:pt x="6123" y="581"/>
                  </a:cubicBezTo>
                  <a:cubicBezTo>
                    <a:pt x="5579" y="525"/>
                    <a:pt x="3756" y="322"/>
                    <a:pt x="3293" y="193"/>
                  </a:cubicBezTo>
                  <a:cubicBezTo>
                    <a:pt x="2904" y="85"/>
                    <a:pt x="2393" y="19"/>
                    <a:pt x="2240" y="0"/>
                  </a:cubicBezTo>
                  <a:cubicBezTo>
                    <a:pt x="2557" y="153"/>
                    <a:pt x="2368" y="648"/>
                    <a:pt x="2368" y="64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9" name="Shape">
              <a:extLst>
                <a:ext uri="{FF2B5EF4-FFF2-40B4-BE49-F238E27FC236}">
                  <a16:creationId xmlns:a16="http://schemas.microsoft.com/office/drawing/2014/main" id="{42757E25-BEA3-7840-820E-0BCED7212FBB}"/>
                </a:ext>
              </a:extLst>
            </p:cNvPr>
            <p:cNvSpPr/>
            <p:nvPr/>
          </p:nvSpPr>
          <p:spPr>
            <a:xfrm>
              <a:off x="13741400" y="12484099"/>
              <a:ext cx="503342" cy="460451"/>
            </a:xfrm>
            <a:custGeom>
              <a:avLst/>
              <a:gdLst/>
              <a:ahLst/>
              <a:cxnLst>
                <a:cxn ang="0">
                  <a:pos x="wd2" y="hd2"/>
                </a:cxn>
                <a:cxn ang="5400000">
                  <a:pos x="wd2" y="hd2"/>
                </a:cxn>
                <a:cxn ang="10800000">
                  <a:pos x="wd2" y="hd2"/>
                </a:cxn>
                <a:cxn ang="16200000">
                  <a:pos x="wd2" y="hd2"/>
                </a:cxn>
              </a:cxnLst>
              <a:rect l="0" t="0" r="r" b="b"/>
              <a:pathLst>
                <a:path w="21491" h="21553" extrusionOk="0">
                  <a:moveTo>
                    <a:pt x="13218" y="3865"/>
                  </a:moveTo>
                  <a:cubicBezTo>
                    <a:pt x="12404" y="4831"/>
                    <a:pt x="11726" y="5202"/>
                    <a:pt x="10981" y="5054"/>
                  </a:cubicBezTo>
                  <a:cubicBezTo>
                    <a:pt x="10235" y="4905"/>
                    <a:pt x="10913" y="3493"/>
                    <a:pt x="10439" y="3345"/>
                  </a:cubicBezTo>
                  <a:cubicBezTo>
                    <a:pt x="9964" y="3196"/>
                    <a:pt x="9083" y="3568"/>
                    <a:pt x="8337" y="3791"/>
                  </a:cubicBezTo>
                  <a:cubicBezTo>
                    <a:pt x="7592" y="4013"/>
                    <a:pt x="4677" y="5946"/>
                    <a:pt x="4290" y="6540"/>
                  </a:cubicBezTo>
                  <a:cubicBezTo>
                    <a:pt x="3903" y="7134"/>
                    <a:pt x="3389" y="10181"/>
                    <a:pt x="2847" y="12145"/>
                  </a:cubicBezTo>
                  <a:cubicBezTo>
                    <a:pt x="2305" y="14109"/>
                    <a:pt x="407" y="14937"/>
                    <a:pt x="407" y="14937"/>
                  </a:cubicBezTo>
                  <a:lnTo>
                    <a:pt x="0" y="19470"/>
                  </a:lnTo>
                  <a:cubicBezTo>
                    <a:pt x="0" y="19470"/>
                    <a:pt x="932" y="19930"/>
                    <a:pt x="1461" y="20504"/>
                  </a:cubicBezTo>
                  <a:lnTo>
                    <a:pt x="1726" y="18875"/>
                  </a:lnTo>
                  <a:cubicBezTo>
                    <a:pt x="1726" y="18875"/>
                    <a:pt x="2214" y="18826"/>
                    <a:pt x="2802" y="19123"/>
                  </a:cubicBezTo>
                  <a:cubicBezTo>
                    <a:pt x="3389" y="19420"/>
                    <a:pt x="6462" y="21501"/>
                    <a:pt x="6823" y="21550"/>
                  </a:cubicBezTo>
                  <a:cubicBezTo>
                    <a:pt x="7185" y="21600"/>
                    <a:pt x="10710" y="20956"/>
                    <a:pt x="10845" y="20510"/>
                  </a:cubicBezTo>
                  <a:cubicBezTo>
                    <a:pt x="10981" y="20064"/>
                    <a:pt x="11387" y="15457"/>
                    <a:pt x="11387" y="15457"/>
                  </a:cubicBezTo>
                  <a:cubicBezTo>
                    <a:pt x="11387" y="15457"/>
                    <a:pt x="13105" y="16745"/>
                    <a:pt x="13602" y="16745"/>
                  </a:cubicBezTo>
                  <a:cubicBezTo>
                    <a:pt x="14099" y="16745"/>
                    <a:pt x="15997" y="15308"/>
                    <a:pt x="16358" y="15259"/>
                  </a:cubicBezTo>
                  <a:cubicBezTo>
                    <a:pt x="16720" y="15209"/>
                    <a:pt x="17804" y="16440"/>
                    <a:pt x="17804" y="16440"/>
                  </a:cubicBezTo>
                  <a:cubicBezTo>
                    <a:pt x="17804" y="16440"/>
                    <a:pt x="17829" y="16437"/>
                    <a:pt x="17863" y="16434"/>
                  </a:cubicBezTo>
                  <a:cubicBezTo>
                    <a:pt x="17872" y="16372"/>
                    <a:pt x="17878" y="16330"/>
                    <a:pt x="17878" y="16330"/>
                  </a:cubicBezTo>
                  <a:cubicBezTo>
                    <a:pt x="17878" y="16330"/>
                    <a:pt x="17872" y="16372"/>
                    <a:pt x="17863" y="16434"/>
                  </a:cubicBezTo>
                  <a:cubicBezTo>
                    <a:pt x="18262" y="16392"/>
                    <a:pt x="20760" y="16119"/>
                    <a:pt x="20967" y="15754"/>
                  </a:cubicBezTo>
                  <a:cubicBezTo>
                    <a:pt x="21193" y="15358"/>
                    <a:pt x="21600" y="14070"/>
                    <a:pt x="21464" y="13277"/>
                  </a:cubicBezTo>
                  <a:cubicBezTo>
                    <a:pt x="21329" y="12485"/>
                    <a:pt x="21329" y="8918"/>
                    <a:pt x="21058" y="7850"/>
                  </a:cubicBezTo>
                  <a:cubicBezTo>
                    <a:pt x="20806" y="6858"/>
                    <a:pt x="17666" y="847"/>
                    <a:pt x="17223" y="0"/>
                  </a:cubicBezTo>
                  <a:cubicBezTo>
                    <a:pt x="17221" y="0"/>
                    <a:pt x="17218" y="1"/>
                    <a:pt x="17217" y="1"/>
                  </a:cubicBezTo>
                  <a:cubicBezTo>
                    <a:pt x="16539" y="149"/>
                    <a:pt x="14031" y="2899"/>
                    <a:pt x="13218" y="386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0" name="Shape">
              <a:extLst>
                <a:ext uri="{FF2B5EF4-FFF2-40B4-BE49-F238E27FC236}">
                  <a16:creationId xmlns:a16="http://schemas.microsoft.com/office/drawing/2014/main" id="{A8929021-3E8B-DA40-8290-CE71160628A2}"/>
                </a:ext>
              </a:extLst>
            </p:cNvPr>
            <p:cNvSpPr/>
            <p:nvPr/>
          </p:nvSpPr>
          <p:spPr>
            <a:xfrm>
              <a:off x="14224000" y="19075399"/>
              <a:ext cx="340060" cy="456142"/>
            </a:xfrm>
            <a:custGeom>
              <a:avLst/>
              <a:gdLst/>
              <a:ahLst/>
              <a:cxnLst>
                <a:cxn ang="0">
                  <a:pos x="wd2" y="hd2"/>
                </a:cxn>
                <a:cxn ang="5400000">
                  <a:pos x="wd2" y="hd2"/>
                </a:cxn>
                <a:cxn ang="10800000">
                  <a:pos x="wd2" y="hd2"/>
                </a:cxn>
                <a:cxn ang="16200000">
                  <a:pos x="wd2" y="hd2"/>
                </a:cxn>
              </a:cxnLst>
              <a:rect l="0" t="0" r="r" b="b"/>
              <a:pathLst>
                <a:path w="21487" h="21600" extrusionOk="0">
                  <a:moveTo>
                    <a:pt x="9249" y="802"/>
                  </a:moveTo>
                  <a:cubicBezTo>
                    <a:pt x="9249" y="802"/>
                    <a:pt x="8246" y="351"/>
                    <a:pt x="8112" y="802"/>
                  </a:cubicBezTo>
                  <a:cubicBezTo>
                    <a:pt x="7979" y="1253"/>
                    <a:pt x="155" y="9672"/>
                    <a:pt x="21" y="9973"/>
                  </a:cubicBezTo>
                  <a:cubicBezTo>
                    <a:pt x="-113" y="10274"/>
                    <a:pt x="422" y="15185"/>
                    <a:pt x="689" y="15285"/>
                  </a:cubicBezTo>
                  <a:cubicBezTo>
                    <a:pt x="957" y="15386"/>
                    <a:pt x="1559" y="14133"/>
                    <a:pt x="1826" y="14433"/>
                  </a:cubicBezTo>
                  <a:cubicBezTo>
                    <a:pt x="2094" y="14734"/>
                    <a:pt x="5705" y="19896"/>
                    <a:pt x="6039" y="20097"/>
                  </a:cubicBezTo>
                  <a:cubicBezTo>
                    <a:pt x="6374" y="20297"/>
                    <a:pt x="18812" y="21600"/>
                    <a:pt x="19146" y="21600"/>
                  </a:cubicBezTo>
                  <a:cubicBezTo>
                    <a:pt x="19481" y="21600"/>
                    <a:pt x="20016" y="15072"/>
                    <a:pt x="20016" y="15072"/>
                  </a:cubicBezTo>
                  <a:lnTo>
                    <a:pt x="21487" y="15072"/>
                  </a:lnTo>
                  <a:lnTo>
                    <a:pt x="21487" y="4360"/>
                  </a:lnTo>
                  <a:lnTo>
                    <a:pt x="19481" y="3057"/>
                  </a:lnTo>
                  <a:cubicBezTo>
                    <a:pt x="19481" y="3057"/>
                    <a:pt x="19481" y="3039"/>
                    <a:pt x="19481" y="3031"/>
                  </a:cubicBezTo>
                  <a:lnTo>
                    <a:pt x="10119" y="0"/>
                  </a:lnTo>
                  <a:cubicBezTo>
                    <a:pt x="10119" y="0"/>
                    <a:pt x="9249" y="802"/>
                    <a:pt x="9249" y="802"/>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1" name="Shape">
              <a:extLst>
                <a:ext uri="{FF2B5EF4-FFF2-40B4-BE49-F238E27FC236}">
                  <a16:creationId xmlns:a16="http://schemas.microsoft.com/office/drawing/2014/main" id="{41D0EB25-DA34-E848-8A02-1D41CFCDBB06}"/>
                </a:ext>
              </a:extLst>
            </p:cNvPr>
            <p:cNvSpPr/>
            <p:nvPr/>
          </p:nvSpPr>
          <p:spPr>
            <a:xfrm>
              <a:off x="2006599" y="8928099"/>
              <a:ext cx="777470" cy="464992"/>
            </a:xfrm>
            <a:custGeom>
              <a:avLst/>
              <a:gdLst/>
              <a:ahLst/>
              <a:cxnLst>
                <a:cxn ang="0">
                  <a:pos x="wd2" y="hd2"/>
                </a:cxn>
                <a:cxn ang="5400000">
                  <a:pos x="wd2" y="hd2"/>
                </a:cxn>
                <a:cxn ang="10800000">
                  <a:pos x="wd2" y="hd2"/>
                </a:cxn>
                <a:cxn ang="16200000">
                  <a:pos x="wd2" y="hd2"/>
                </a:cxn>
              </a:cxnLst>
              <a:rect l="0" t="0" r="r" b="b"/>
              <a:pathLst>
                <a:path w="21600" h="21600" extrusionOk="0">
                  <a:moveTo>
                    <a:pt x="14565" y="14269"/>
                  </a:moveTo>
                  <a:cubicBezTo>
                    <a:pt x="14808" y="14048"/>
                    <a:pt x="19262" y="11946"/>
                    <a:pt x="19659" y="11725"/>
                  </a:cubicBezTo>
                  <a:cubicBezTo>
                    <a:pt x="20056" y="11504"/>
                    <a:pt x="20850" y="11799"/>
                    <a:pt x="21159" y="11725"/>
                  </a:cubicBezTo>
                  <a:cubicBezTo>
                    <a:pt x="21468" y="11651"/>
                    <a:pt x="21203" y="7891"/>
                    <a:pt x="21115" y="7522"/>
                  </a:cubicBezTo>
                  <a:cubicBezTo>
                    <a:pt x="21027" y="7153"/>
                    <a:pt x="19836" y="7079"/>
                    <a:pt x="19615" y="7006"/>
                  </a:cubicBezTo>
                  <a:cubicBezTo>
                    <a:pt x="19395" y="6932"/>
                    <a:pt x="19351" y="5826"/>
                    <a:pt x="19615" y="5678"/>
                  </a:cubicBezTo>
                  <a:cubicBezTo>
                    <a:pt x="19880" y="5531"/>
                    <a:pt x="21600" y="4793"/>
                    <a:pt x="21600" y="4498"/>
                  </a:cubicBezTo>
                  <a:cubicBezTo>
                    <a:pt x="21600" y="4232"/>
                    <a:pt x="21339" y="908"/>
                    <a:pt x="21289" y="271"/>
                  </a:cubicBezTo>
                  <a:cubicBezTo>
                    <a:pt x="16901" y="150"/>
                    <a:pt x="10843" y="0"/>
                    <a:pt x="10618" y="0"/>
                  </a:cubicBezTo>
                  <a:cubicBezTo>
                    <a:pt x="10265" y="0"/>
                    <a:pt x="7736" y="2753"/>
                    <a:pt x="7266" y="2950"/>
                  </a:cubicBezTo>
                  <a:cubicBezTo>
                    <a:pt x="6889" y="3107"/>
                    <a:pt x="1953" y="3643"/>
                    <a:pt x="0" y="3850"/>
                  </a:cubicBezTo>
                  <a:cubicBezTo>
                    <a:pt x="70" y="4069"/>
                    <a:pt x="144" y="4292"/>
                    <a:pt x="262" y="4443"/>
                  </a:cubicBezTo>
                  <a:cubicBezTo>
                    <a:pt x="495" y="4745"/>
                    <a:pt x="830" y="4691"/>
                    <a:pt x="1092" y="4918"/>
                  </a:cubicBezTo>
                  <a:cubicBezTo>
                    <a:pt x="1305" y="5102"/>
                    <a:pt x="1446" y="5450"/>
                    <a:pt x="1619" y="5728"/>
                  </a:cubicBezTo>
                  <a:cubicBezTo>
                    <a:pt x="1832" y="6069"/>
                    <a:pt x="2103" y="6311"/>
                    <a:pt x="2391" y="6417"/>
                  </a:cubicBezTo>
                  <a:cubicBezTo>
                    <a:pt x="2065" y="7210"/>
                    <a:pt x="2012" y="8297"/>
                    <a:pt x="2257" y="9168"/>
                  </a:cubicBezTo>
                  <a:cubicBezTo>
                    <a:pt x="2590" y="8967"/>
                    <a:pt x="2969" y="9120"/>
                    <a:pt x="3269" y="9433"/>
                  </a:cubicBezTo>
                  <a:cubicBezTo>
                    <a:pt x="3568" y="9746"/>
                    <a:pt x="3802" y="10204"/>
                    <a:pt x="4026" y="10661"/>
                  </a:cubicBezTo>
                  <a:cubicBezTo>
                    <a:pt x="4082" y="10774"/>
                    <a:pt x="4156" y="10900"/>
                    <a:pt x="4242" y="10871"/>
                  </a:cubicBezTo>
                  <a:cubicBezTo>
                    <a:pt x="4316" y="10845"/>
                    <a:pt x="4358" y="10715"/>
                    <a:pt x="4393" y="10601"/>
                  </a:cubicBezTo>
                  <a:cubicBezTo>
                    <a:pt x="4632" y="9832"/>
                    <a:pt x="5069" y="9243"/>
                    <a:pt x="5570" y="9013"/>
                  </a:cubicBezTo>
                  <a:cubicBezTo>
                    <a:pt x="5386" y="9298"/>
                    <a:pt x="5269" y="9719"/>
                    <a:pt x="5300" y="10135"/>
                  </a:cubicBezTo>
                  <a:cubicBezTo>
                    <a:pt x="5330" y="10550"/>
                    <a:pt x="5528" y="10934"/>
                    <a:pt x="5776" y="10986"/>
                  </a:cubicBezTo>
                  <a:cubicBezTo>
                    <a:pt x="6016" y="11037"/>
                    <a:pt x="6238" y="10797"/>
                    <a:pt x="6460" y="10635"/>
                  </a:cubicBezTo>
                  <a:cubicBezTo>
                    <a:pt x="7076" y="10187"/>
                    <a:pt x="7835" y="10293"/>
                    <a:pt x="8361" y="9594"/>
                  </a:cubicBezTo>
                  <a:cubicBezTo>
                    <a:pt x="8735" y="9096"/>
                    <a:pt x="9014" y="8192"/>
                    <a:pt x="9491" y="8241"/>
                  </a:cubicBezTo>
                  <a:cubicBezTo>
                    <a:pt x="9645" y="8663"/>
                    <a:pt x="9368" y="9135"/>
                    <a:pt x="9169" y="9499"/>
                  </a:cubicBezTo>
                  <a:cubicBezTo>
                    <a:pt x="8794" y="10186"/>
                    <a:pt x="8642" y="11125"/>
                    <a:pt x="8502" y="12025"/>
                  </a:cubicBezTo>
                  <a:cubicBezTo>
                    <a:pt x="8452" y="12351"/>
                    <a:pt x="8407" y="12732"/>
                    <a:pt x="8533" y="12995"/>
                  </a:cubicBezTo>
                  <a:cubicBezTo>
                    <a:pt x="8680" y="13304"/>
                    <a:pt x="8979" y="13253"/>
                    <a:pt x="9179" y="13043"/>
                  </a:cubicBezTo>
                  <a:cubicBezTo>
                    <a:pt x="9379" y="12832"/>
                    <a:pt x="9528" y="12505"/>
                    <a:pt x="9726" y="12289"/>
                  </a:cubicBezTo>
                  <a:cubicBezTo>
                    <a:pt x="9924" y="12074"/>
                    <a:pt x="10219" y="12005"/>
                    <a:pt x="10375" y="12301"/>
                  </a:cubicBezTo>
                  <a:cubicBezTo>
                    <a:pt x="10541" y="12615"/>
                    <a:pt x="10435" y="13145"/>
                    <a:pt x="10232" y="13391"/>
                  </a:cubicBezTo>
                  <a:cubicBezTo>
                    <a:pt x="10029" y="13637"/>
                    <a:pt x="9767" y="13686"/>
                    <a:pt x="9520" y="13760"/>
                  </a:cubicBezTo>
                  <a:cubicBezTo>
                    <a:pt x="9135" y="13876"/>
                    <a:pt x="8693" y="14190"/>
                    <a:pt x="8630" y="14835"/>
                  </a:cubicBezTo>
                  <a:cubicBezTo>
                    <a:pt x="8569" y="15476"/>
                    <a:pt x="8922" y="16017"/>
                    <a:pt x="8995" y="16654"/>
                  </a:cubicBezTo>
                  <a:cubicBezTo>
                    <a:pt x="9030" y="16963"/>
                    <a:pt x="8998" y="17283"/>
                    <a:pt x="9017" y="17596"/>
                  </a:cubicBezTo>
                  <a:cubicBezTo>
                    <a:pt x="9036" y="17910"/>
                    <a:pt x="9131" y="18250"/>
                    <a:pt x="9312" y="18335"/>
                  </a:cubicBezTo>
                  <a:cubicBezTo>
                    <a:pt x="9515" y="18431"/>
                    <a:pt x="9764" y="18183"/>
                    <a:pt x="9928" y="18403"/>
                  </a:cubicBezTo>
                  <a:cubicBezTo>
                    <a:pt x="9995" y="18494"/>
                    <a:pt x="10025" y="18641"/>
                    <a:pt x="10054" y="18777"/>
                  </a:cubicBezTo>
                  <a:cubicBezTo>
                    <a:pt x="10130" y="19124"/>
                    <a:pt x="10228" y="19457"/>
                    <a:pt x="10346" y="19768"/>
                  </a:cubicBezTo>
                  <a:cubicBezTo>
                    <a:pt x="10436" y="20005"/>
                    <a:pt x="10576" y="20257"/>
                    <a:pt x="10741" y="20205"/>
                  </a:cubicBezTo>
                  <a:cubicBezTo>
                    <a:pt x="10865" y="20165"/>
                    <a:pt x="10946" y="19966"/>
                    <a:pt x="11009" y="19782"/>
                  </a:cubicBezTo>
                  <a:cubicBezTo>
                    <a:pt x="11072" y="19597"/>
                    <a:pt x="11145" y="19394"/>
                    <a:pt x="11267" y="19334"/>
                  </a:cubicBezTo>
                  <a:cubicBezTo>
                    <a:pt x="11388" y="19274"/>
                    <a:pt x="11647" y="19439"/>
                    <a:pt x="11591" y="19629"/>
                  </a:cubicBezTo>
                  <a:cubicBezTo>
                    <a:pt x="11410" y="20235"/>
                    <a:pt x="11362" y="20934"/>
                    <a:pt x="11429" y="21600"/>
                  </a:cubicBezTo>
                  <a:cubicBezTo>
                    <a:pt x="12233" y="19636"/>
                    <a:pt x="14369" y="14449"/>
                    <a:pt x="14565" y="14269"/>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2" name="Shape">
              <a:extLst>
                <a:ext uri="{FF2B5EF4-FFF2-40B4-BE49-F238E27FC236}">
                  <a16:creationId xmlns:a16="http://schemas.microsoft.com/office/drawing/2014/main" id="{AD7CE536-50FA-0B4C-8FF1-21F8B29C7662}"/>
                </a:ext>
              </a:extLst>
            </p:cNvPr>
            <p:cNvSpPr/>
            <p:nvPr/>
          </p:nvSpPr>
          <p:spPr>
            <a:xfrm>
              <a:off x="11442699" y="16878300"/>
              <a:ext cx="2421964" cy="2534563"/>
            </a:xfrm>
            <a:custGeom>
              <a:avLst/>
              <a:gdLst/>
              <a:ahLst/>
              <a:cxnLst>
                <a:cxn ang="0">
                  <a:pos x="wd2" y="hd2"/>
                </a:cxn>
                <a:cxn ang="5400000">
                  <a:pos x="wd2" y="hd2"/>
                </a:cxn>
                <a:cxn ang="10800000">
                  <a:pos x="wd2" y="hd2"/>
                </a:cxn>
                <a:cxn ang="16200000">
                  <a:pos x="wd2" y="hd2"/>
                </a:cxn>
              </a:cxnLst>
              <a:rect l="0" t="0" r="r" b="b"/>
              <a:pathLst>
                <a:path w="21600" h="21583" extrusionOk="0">
                  <a:moveTo>
                    <a:pt x="20699" y="9274"/>
                  </a:moveTo>
                  <a:cubicBezTo>
                    <a:pt x="20647" y="9260"/>
                    <a:pt x="18533" y="8782"/>
                    <a:pt x="18490" y="8760"/>
                  </a:cubicBezTo>
                  <a:cubicBezTo>
                    <a:pt x="18448" y="8737"/>
                    <a:pt x="17754" y="7633"/>
                    <a:pt x="17726" y="7579"/>
                  </a:cubicBezTo>
                  <a:cubicBezTo>
                    <a:pt x="17697" y="7525"/>
                    <a:pt x="17825" y="6358"/>
                    <a:pt x="17797" y="6291"/>
                  </a:cubicBezTo>
                  <a:cubicBezTo>
                    <a:pt x="17768" y="6223"/>
                    <a:pt x="16862" y="6291"/>
                    <a:pt x="16805" y="6291"/>
                  </a:cubicBezTo>
                  <a:cubicBezTo>
                    <a:pt x="16749" y="6291"/>
                    <a:pt x="16692" y="5317"/>
                    <a:pt x="16593" y="5263"/>
                  </a:cubicBezTo>
                  <a:cubicBezTo>
                    <a:pt x="16494" y="5209"/>
                    <a:pt x="15404" y="4939"/>
                    <a:pt x="15319" y="4871"/>
                  </a:cubicBezTo>
                  <a:cubicBezTo>
                    <a:pt x="15234" y="4804"/>
                    <a:pt x="14342" y="4060"/>
                    <a:pt x="14229" y="3952"/>
                  </a:cubicBezTo>
                  <a:cubicBezTo>
                    <a:pt x="14115" y="3844"/>
                    <a:pt x="13917" y="2911"/>
                    <a:pt x="13790" y="2668"/>
                  </a:cubicBezTo>
                  <a:cubicBezTo>
                    <a:pt x="13662" y="2424"/>
                    <a:pt x="12303" y="748"/>
                    <a:pt x="12268" y="653"/>
                  </a:cubicBezTo>
                  <a:cubicBezTo>
                    <a:pt x="12232" y="559"/>
                    <a:pt x="12204" y="45"/>
                    <a:pt x="12181" y="5"/>
                  </a:cubicBezTo>
                  <a:cubicBezTo>
                    <a:pt x="12180" y="4"/>
                    <a:pt x="12178" y="1"/>
                    <a:pt x="12177" y="0"/>
                  </a:cubicBezTo>
                  <a:lnTo>
                    <a:pt x="11421" y="0"/>
                  </a:lnTo>
                  <a:cubicBezTo>
                    <a:pt x="11421" y="0"/>
                    <a:pt x="10666" y="613"/>
                    <a:pt x="10609" y="613"/>
                  </a:cubicBezTo>
                  <a:cubicBezTo>
                    <a:pt x="10552" y="613"/>
                    <a:pt x="10269" y="360"/>
                    <a:pt x="10269" y="360"/>
                  </a:cubicBezTo>
                  <a:lnTo>
                    <a:pt x="9401" y="685"/>
                  </a:lnTo>
                  <a:lnTo>
                    <a:pt x="8400" y="1647"/>
                  </a:lnTo>
                  <a:lnTo>
                    <a:pt x="7683" y="451"/>
                  </a:lnTo>
                  <a:lnTo>
                    <a:pt x="2435" y="1190"/>
                  </a:lnTo>
                  <a:lnTo>
                    <a:pt x="2379" y="9679"/>
                  </a:lnTo>
                  <a:lnTo>
                    <a:pt x="0" y="9835"/>
                  </a:lnTo>
                  <a:lnTo>
                    <a:pt x="0" y="16395"/>
                  </a:lnTo>
                  <a:cubicBezTo>
                    <a:pt x="130" y="16484"/>
                    <a:pt x="899" y="17015"/>
                    <a:pt x="970" y="17139"/>
                  </a:cubicBezTo>
                  <a:cubicBezTo>
                    <a:pt x="1048" y="17274"/>
                    <a:pt x="1918" y="18991"/>
                    <a:pt x="1918" y="19072"/>
                  </a:cubicBezTo>
                  <a:cubicBezTo>
                    <a:pt x="1918" y="19153"/>
                    <a:pt x="2025" y="19714"/>
                    <a:pt x="2003" y="19795"/>
                  </a:cubicBezTo>
                  <a:cubicBezTo>
                    <a:pt x="1982" y="19876"/>
                    <a:pt x="1472" y="20552"/>
                    <a:pt x="1458" y="20586"/>
                  </a:cubicBezTo>
                  <a:cubicBezTo>
                    <a:pt x="1444" y="20620"/>
                    <a:pt x="1579" y="21514"/>
                    <a:pt x="1621" y="21557"/>
                  </a:cubicBezTo>
                  <a:cubicBezTo>
                    <a:pt x="1664" y="21600"/>
                    <a:pt x="1685" y="21582"/>
                    <a:pt x="1734" y="21557"/>
                  </a:cubicBezTo>
                  <a:cubicBezTo>
                    <a:pt x="1784" y="21532"/>
                    <a:pt x="2018" y="21323"/>
                    <a:pt x="2166" y="21330"/>
                  </a:cubicBezTo>
                  <a:cubicBezTo>
                    <a:pt x="2315" y="21336"/>
                    <a:pt x="3915" y="21519"/>
                    <a:pt x="3957" y="21505"/>
                  </a:cubicBezTo>
                  <a:cubicBezTo>
                    <a:pt x="4000" y="21492"/>
                    <a:pt x="5776" y="20093"/>
                    <a:pt x="5805" y="19985"/>
                  </a:cubicBezTo>
                  <a:cubicBezTo>
                    <a:pt x="5833" y="19876"/>
                    <a:pt x="6357" y="19282"/>
                    <a:pt x="6371" y="19187"/>
                  </a:cubicBezTo>
                  <a:cubicBezTo>
                    <a:pt x="6385" y="19092"/>
                    <a:pt x="6668" y="18254"/>
                    <a:pt x="6725" y="18133"/>
                  </a:cubicBezTo>
                  <a:cubicBezTo>
                    <a:pt x="6782" y="18011"/>
                    <a:pt x="7051" y="17713"/>
                    <a:pt x="7093" y="17686"/>
                  </a:cubicBezTo>
                  <a:cubicBezTo>
                    <a:pt x="7136" y="17659"/>
                    <a:pt x="7957" y="17673"/>
                    <a:pt x="8042" y="17686"/>
                  </a:cubicBezTo>
                  <a:cubicBezTo>
                    <a:pt x="8127" y="17700"/>
                    <a:pt x="8920" y="18430"/>
                    <a:pt x="8990" y="18457"/>
                  </a:cubicBezTo>
                  <a:cubicBezTo>
                    <a:pt x="9061" y="18484"/>
                    <a:pt x="9401" y="18471"/>
                    <a:pt x="9571" y="18498"/>
                  </a:cubicBezTo>
                  <a:cubicBezTo>
                    <a:pt x="9741" y="18525"/>
                    <a:pt x="10548" y="18863"/>
                    <a:pt x="10689" y="18903"/>
                  </a:cubicBezTo>
                  <a:cubicBezTo>
                    <a:pt x="10831" y="18944"/>
                    <a:pt x="12303" y="18876"/>
                    <a:pt x="12360" y="18849"/>
                  </a:cubicBezTo>
                  <a:cubicBezTo>
                    <a:pt x="12417" y="18822"/>
                    <a:pt x="12855" y="18552"/>
                    <a:pt x="12884" y="18484"/>
                  </a:cubicBezTo>
                  <a:cubicBezTo>
                    <a:pt x="12912" y="18416"/>
                    <a:pt x="13450" y="16454"/>
                    <a:pt x="13507" y="16381"/>
                  </a:cubicBezTo>
                  <a:cubicBezTo>
                    <a:pt x="13563" y="16308"/>
                    <a:pt x="14710" y="16132"/>
                    <a:pt x="14823" y="16105"/>
                  </a:cubicBezTo>
                  <a:cubicBezTo>
                    <a:pt x="14937" y="16078"/>
                    <a:pt x="15673" y="15361"/>
                    <a:pt x="15715" y="15267"/>
                  </a:cubicBezTo>
                  <a:cubicBezTo>
                    <a:pt x="15758" y="15172"/>
                    <a:pt x="15956" y="13996"/>
                    <a:pt x="16013" y="13901"/>
                  </a:cubicBezTo>
                  <a:cubicBezTo>
                    <a:pt x="16069" y="13807"/>
                    <a:pt x="17457" y="12712"/>
                    <a:pt x="17513" y="12685"/>
                  </a:cubicBezTo>
                  <a:cubicBezTo>
                    <a:pt x="17570" y="12658"/>
                    <a:pt x="17754" y="12820"/>
                    <a:pt x="17811" y="12793"/>
                  </a:cubicBezTo>
                  <a:cubicBezTo>
                    <a:pt x="17867" y="12766"/>
                    <a:pt x="19156" y="11171"/>
                    <a:pt x="19255" y="11130"/>
                  </a:cubicBezTo>
                  <a:cubicBezTo>
                    <a:pt x="19354" y="11090"/>
                    <a:pt x="20458" y="10968"/>
                    <a:pt x="20515" y="10887"/>
                  </a:cubicBezTo>
                  <a:cubicBezTo>
                    <a:pt x="20571" y="10806"/>
                    <a:pt x="20756" y="10360"/>
                    <a:pt x="20784" y="10319"/>
                  </a:cubicBezTo>
                  <a:cubicBezTo>
                    <a:pt x="20810" y="10281"/>
                    <a:pt x="21498" y="10254"/>
                    <a:pt x="21600" y="10250"/>
                  </a:cubicBezTo>
                  <a:cubicBezTo>
                    <a:pt x="21498" y="10178"/>
                    <a:pt x="20836" y="9712"/>
                    <a:pt x="20784" y="9675"/>
                  </a:cubicBezTo>
                  <a:cubicBezTo>
                    <a:pt x="20727" y="9634"/>
                    <a:pt x="20751" y="9287"/>
                    <a:pt x="20699" y="9274"/>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3" name="Shape">
              <a:extLst>
                <a:ext uri="{FF2B5EF4-FFF2-40B4-BE49-F238E27FC236}">
                  <a16:creationId xmlns:a16="http://schemas.microsoft.com/office/drawing/2014/main" id="{1D987E2A-00E6-8344-9336-ED73C2694131}"/>
                </a:ext>
              </a:extLst>
            </p:cNvPr>
            <p:cNvSpPr/>
            <p:nvPr/>
          </p:nvSpPr>
          <p:spPr>
            <a:xfrm>
              <a:off x="12801599" y="16294099"/>
              <a:ext cx="2009634" cy="1850396"/>
            </a:xfrm>
            <a:custGeom>
              <a:avLst/>
              <a:gdLst/>
              <a:ahLst/>
              <a:cxnLst>
                <a:cxn ang="0">
                  <a:pos x="wd2" y="hd2"/>
                </a:cxn>
                <a:cxn ang="5400000">
                  <a:pos x="wd2" y="hd2"/>
                </a:cxn>
                <a:cxn ang="10800000">
                  <a:pos x="wd2" y="hd2"/>
                </a:cxn>
                <a:cxn ang="16200000">
                  <a:pos x="wd2" y="hd2"/>
                </a:cxn>
              </a:cxnLst>
              <a:rect l="0" t="0" r="r" b="b"/>
              <a:pathLst>
                <a:path w="21600" h="21600" extrusionOk="0">
                  <a:moveTo>
                    <a:pt x="10100" y="964"/>
                  </a:moveTo>
                  <a:cubicBezTo>
                    <a:pt x="10066" y="1112"/>
                    <a:pt x="9758" y="2707"/>
                    <a:pt x="9758" y="2707"/>
                  </a:cubicBezTo>
                  <a:cubicBezTo>
                    <a:pt x="9758" y="2707"/>
                    <a:pt x="7244" y="4077"/>
                    <a:pt x="7040" y="4209"/>
                  </a:cubicBezTo>
                  <a:cubicBezTo>
                    <a:pt x="6835" y="4340"/>
                    <a:pt x="6494" y="5189"/>
                    <a:pt x="6107" y="5621"/>
                  </a:cubicBezTo>
                  <a:cubicBezTo>
                    <a:pt x="5720" y="6054"/>
                    <a:pt x="5616" y="6042"/>
                    <a:pt x="5379" y="6276"/>
                  </a:cubicBezTo>
                  <a:cubicBezTo>
                    <a:pt x="5142" y="6510"/>
                    <a:pt x="5173" y="6780"/>
                    <a:pt x="5167" y="6795"/>
                  </a:cubicBezTo>
                  <a:cubicBezTo>
                    <a:pt x="5161" y="6809"/>
                    <a:pt x="4958" y="7165"/>
                    <a:pt x="4856" y="7289"/>
                  </a:cubicBezTo>
                  <a:cubicBezTo>
                    <a:pt x="4753" y="7412"/>
                    <a:pt x="3900" y="7684"/>
                    <a:pt x="3866" y="7684"/>
                  </a:cubicBezTo>
                  <a:cubicBezTo>
                    <a:pt x="3832" y="7684"/>
                    <a:pt x="2842" y="7091"/>
                    <a:pt x="2660" y="7091"/>
                  </a:cubicBezTo>
                  <a:cubicBezTo>
                    <a:pt x="2478" y="7091"/>
                    <a:pt x="2080" y="7425"/>
                    <a:pt x="1932" y="7400"/>
                  </a:cubicBezTo>
                  <a:cubicBezTo>
                    <a:pt x="1784" y="7375"/>
                    <a:pt x="1206" y="6795"/>
                    <a:pt x="1206" y="6795"/>
                  </a:cubicBezTo>
                  <a:lnTo>
                    <a:pt x="0" y="6795"/>
                  </a:lnTo>
                  <a:cubicBezTo>
                    <a:pt x="1" y="6797"/>
                    <a:pt x="4" y="6800"/>
                    <a:pt x="4" y="6801"/>
                  </a:cubicBezTo>
                  <a:cubicBezTo>
                    <a:pt x="33" y="6857"/>
                    <a:pt x="67" y="7561"/>
                    <a:pt x="109" y="7690"/>
                  </a:cubicBezTo>
                  <a:cubicBezTo>
                    <a:pt x="152" y="7820"/>
                    <a:pt x="1790" y="10118"/>
                    <a:pt x="1944" y="10452"/>
                  </a:cubicBezTo>
                  <a:cubicBezTo>
                    <a:pt x="2097" y="10785"/>
                    <a:pt x="2336" y="12064"/>
                    <a:pt x="2473" y="12212"/>
                  </a:cubicBezTo>
                  <a:cubicBezTo>
                    <a:pt x="2609" y="12360"/>
                    <a:pt x="3684" y="13380"/>
                    <a:pt x="3786" y="13472"/>
                  </a:cubicBezTo>
                  <a:cubicBezTo>
                    <a:pt x="3889" y="13565"/>
                    <a:pt x="5203" y="13935"/>
                    <a:pt x="5322" y="14010"/>
                  </a:cubicBezTo>
                  <a:cubicBezTo>
                    <a:pt x="5442" y="14084"/>
                    <a:pt x="5510" y="15418"/>
                    <a:pt x="5578" y="15418"/>
                  </a:cubicBezTo>
                  <a:cubicBezTo>
                    <a:pt x="5646" y="15418"/>
                    <a:pt x="6738" y="15325"/>
                    <a:pt x="6772" y="15418"/>
                  </a:cubicBezTo>
                  <a:cubicBezTo>
                    <a:pt x="6807" y="15511"/>
                    <a:pt x="6653" y="17110"/>
                    <a:pt x="6687" y="17185"/>
                  </a:cubicBezTo>
                  <a:cubicBezTo>
                    <a:pt x="6721" y="17259"/>
                    <a:pt x="7557" y="18772"/>
                    <a:pt x="7608" y="18803"/>
                  </a:cubicBezTo>
                  <a:cubicBezTo>
                    <a:pt x="7660" y="18834"/>
                    <a:pt x="10208" y="19489"/>
                    <a:pt x="10270" y="19507"/>
                  </a:cubicBezTo>
                  <a:cubicBezTo>
                    <a:pt x="10333" y="19526"/>
                    <a:pt x="10304" y="20001"/>
                    <a:pt x="10373" y="20057"/>
                  </a:cubicBezTo>
                  <a:cubicBezTo>
                    <a:pt x="10436" y="20108"/>
                    <a:pt x="11233" y="20748"/>
                    <a:pt x="11356" y="20846"/>
                  </a:cubicBezTo>
                  <a:cubicBezTo>
                    <a:pt x="11366" y="20846"/>
                    <a:pt x="11373" y="20845"/>
                    <a:pt x="11373" y="20845"/>
                  </a:cubicBezTo>
                  <a:cubicBezTo>
                    <a:pt x="11373" y="20845"/>
                    <a:pt x="11366" y="20846"/>
                    <a:pt x="11356" y="20846"/>
                  </a:cubicBezTo>
                  <a:cubicBezTo>
                    <a:pt x="11367" y="20854"/>
                    <a:pt x="11374" y="20860"/>
                    <a:pt x="11374" y="20860"/>
                  </a:cubicBezTo>
                  <a:lnTo>
                    <a:pt x="12215" y="20631"/>
                  </a:lnTo>
                  <a:cubicBezTo>
                    <a:pt x="12215" y="20631"/>
                    <a:pt x="13762" y="21323"/>
                    <a:pt x="13853" y="21348"/>
                  </a:cubicBezTo>
                  <a:cubicBezTo>
                    <a:pt x="13944" y="21373"/>
                    <a:pt x="15378" y="21150"/>
                    <a:pt x="15628" y="21224"/>
                  </a:cubicBezTo>
                  <a:cubicBezTo>
                    <a:pt x="15878" y="21299"/>
                    <a:pt x="16720" y="21595"/>
                    <a:pt x="16720" y="21595"/>
                  </a:cubicBezTo>
                  <a:cubicBezTo>
                    <a:pt x="16720" y="21595"/>
                    <a:pt x="16721" y="21598"/>
                    <a:pt x="16721" y="21600"/>
                  </a:cubicBezTo>
                  <a:cubicBezTo>
                    <a:pt x="16966" y="21340"/>
                    <a:pt x="19946" y="18174"/>
                    <a:pt x="19962" y="18068"/>
                  </a:cubicBezTo>
                  <a:cubicBezTo>
                    <a:pt x="19979" y="17957"/>
                    <a:pt x="19552" y="17549"/>
                    <a:pt x="19570" y="17475"/>
                  </a:cubicBezTo>
                  <a:cubicBezTo>
                    <a:pt x="19587" y="17401"/>
                    <a:pt x="20047" y="16808"/>
                    <a:pt x="20047" y="16752"/>
                  </a:cubicBezTo>
                  <a:cubicBezTo>
                    <a:pt x="20047" y="16697"/>
                    <a:pt x="19979" y="15770"/>
                    <a:pt x="20030" y="15677"/>
                  </a:cubicBezTo>
                  <a:cubicBezTo>
                    <a:pt x="20081" y="15585"/>
                    <a:pt x="20900" y="14843"/>
                    <a:pt x="21003" y="14769"/>
                  </a:cubicBezTo>
                  <a:cubicBezTo>
                    <a:pt x="21105" y="14695"/>
                    <a:pt x="21600" y="12990"/>
                    <a:pt x="21600" y="12990"/>
                  </a:cubicBezTo>
                  <a:lnTo>
                    <a:pt x="20986" y="12694"/>
                  </a:lnTo>
                  <a:lnTo>
                    <a:pt x="21054" y="10952"/>
                  </a:lnTo>
                  <a:lnTo>
                    <a:pt x="20542" y="10359"/>
                  </a:lnTo>
                  <a:lnTo>
                    <a:pt x="20559" y="9933"/>
                  </a:lnTo>
                  <a:cubicBezTo>
                    <a:pt x="20559" y="9933"/>
                    <a:pt x="21173" y="9951"/>
                    <a:pt x="21156" y="9933"/>
                  </a:cubicBezTo>
                  <a:cubicBezTo>
                    <a:pt x="21139" y="9914"/>
                    <a:pt x="21190" y="9784"/>
                    <a:pt x="21156" y="9729"/>
                  </a:cubicBezTo>
                  <a:cubicBezTo>
                    <a:pt x="21122" y="9673"/>
                    <a:pt x="21003" y="9210"/>
                    <a:pt x="20986" y="9117"/>
                  </a:cubicBezTo>
                  <a:cubicBezTo>
                    <a:pt x="20969" y="9025"/>
                    <a:pt x="21532" y="8673"/>
                    <a:pt x="21515" y="8598"/>
                  </a:cubicBezTo>
                  <a:cubicBezTo>
                    <a:pt x="21498" y="8524"/>
                    <a:pt x="21242" y="7746"/>
                    <a:pt x="21156" y="7561"/>
                  </a:cubicBezTo>
                  <a:cubicBezTo>
                    <a:pt x="21071" y="7375"/>
                    <a:pt x="21515" y="5448"/>
                    <a:pt x="21515" y="5300"/>
                  </a:cubicBezTo>
                  <a:cubicBezTo>
                    <a:pt x="21515" y="5152"/>
                    <a:pt x="20900" y="4170"/>
                    <a:pt x="20900" y="4077"/>
                  </a:cubicBezTo>
                  <a:cubicBezTo>
                    <a:pt x="20900" y="3984"/>
                    <a:pt x="21361" y="3336"/>
                    <a:pt x="21361" y="3336"/>
                  </a:cubicBezTo>
                  <a:cubicBezTo>
                    <a:pt x="21361" y="3336"/>
                    <a:pt x="18665" y="2483"/>
                    <a:pt x="18426" y="2409"/>
                  </a:cubicBezTo>
                  <a:cubicBezTo>
                    <a:pt x="18187" y="2335"/>
                    <a:pt x="16857" y="1186"/>
                    <a:pt x="16720" y="1149"/>
                  </a:cubicBezTo>
                  <a:cubicBezTo>
                    <a:pt x="16584" y="1112"/>
                    <a:pt x="14297" y="1112"/>
                    <a:pt x="14297" y="1112"/>
                  </a:cubicBezTo>
                  <a:lnTo>
                    <a:pt x="14297" y="0"/>
                  </a:lnTo>
                  <a:cubicBezTo>
                    <a:pt x="14297" y="0"/>
                    <a:pt x="14283" y="0"/>
                    <a:pt x="14259" y="0"/>
                  </a:cubicBezTo>
                  <a:cubicBezTo>
                    <a:pt x="14264" y="18"/>
                    <a:pt x="14267" y="28"/>
                    <a:pt x="14267" y="28"/>
                  </a:cubicBezTo>
                  <a:cubicBezTo>
                    <a:pt x="14267" y="28"/>
                    <a:pt x="14264" y="18"/>
                    <a:pt x="14259" y="0"/>
                  </a:cubicBezTo>
                  <a:cubicBezTo>
                    <a:pt x="13971" y="0"/>
                    <a:pt x="12066" y="0"/>
                    <a:pt x="11908" y="0"/>
                  </a:cubicBezTo>
                  <a:cubicBezTo>
                    <a:pt x="11738" y="0"/>
                    <a:pt x="10134" y="815"/>
                    <a:pt x="10100" y="964"/>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4" name="Shape">
              <a:extLst>
                <a:ext uri="{FF2B5EF4-FFF2-40B4-BE49-F238E27FC236}">
                  <a16:creationId xmlns:a16="http://schemas.microsoft.com/office/drawing/2014/main" id="{663A6024-986F-FA4E-9252-A13F8B5F5FD3}"/>
                </a:ext>
              </a:extLst>
            </p:cNvPr>
            <p:cNvSpPr/>
            <p:nvPr/>
          </p:nvSpPr>
          <p:spPr>
            <a:xfrm>
              <a:off x="12331699" y="9029699"/>
              <a:ext cx="3208812" cy="2286371"/>
            </a:xfrm>
            <a:custGeom>
              <a:avLst/>
              <a:gdLst/>
              <a:ahLst/>
              <a:cxnLst>
                <a:cxn ang="0">
                  <a:pos x="wd2" y="hd2"/>
                </a:cxn>
                <a:cxn ang="5400000">
                  <a:pos x="wd2" y="hd2"/>
                </a:cxn>
                <a:cxn ang="10800000">
                  <a:pos x="wd2" y="hd2"/>
                </a:cxn>
                <a:cxn ang="16200000">
                  <a:pos x="wd2" y="hd2"/>
                </a:cxn>
              </a:cxnLst>
              <a:rect l="0" t="0" r="r" b="b"/>
              <a:pathLst>
                <a:path w="21586" h="21582" extrusionOk="0">
                  <a:moveTo>
                    <a:pt x="21480" y="17055"/>
                  </a:moveTo>
                  <a:cubicBezTo>
                    <a:pt x="21473" y="16995"/>
                    <a:pt x="21430" y="16995"/>
                    <a:pt x="21259" y="16885"/>
                  </a:cubicBezTo>
                  <a:cubicBezTo>
                    <a:pt x="21088" y="16775"/>
                    <a:pt x="20569" y="16845"/>
                    <a:pt x="20519" y="16825"/>
                  </a:cubicBezTo>
                  <a:cubicBezTo>
                    <a:pt x="20469" y="16805"/>
                    <a:pt x="20058" y="15712"/>
                    <a:pt x="20020" y="15599"/>
                  </a:cubicBezTo>
                  <a:cubicBezTo>
                    <a:pt x="19983" y="15487"/>
                    <a:pt x="19951" y="14078"/>
                    <a:pt x="19903" y="14018"/>
                  </a:cubicBezTo>
                  <a:cubicBezTo>
                    <a:pt x="19855" y="13958"/>
                    <a:pt x="18755" y="13007"/>
                    <a:pt x="18675" y="12932"/>
                  </a:cubicBezTo>
                  <a:cubicBezTo>
                    <a:pt x="18595" y="12857"/>
                    <a:pt x="17810" y="11381"/>
                    <a:pt x="17756" y="11336"/>
                  </a:cubicBezTo>
                  <a:cubicBezTo>
                    <a:pt x="17703" y="11291"/>
                    <a:pt x="16747" y="11081"/>
                    <a:pt x="16715" y="11059"/>
                  </a:cubicBezTo>
                  <a:cubicBezTo>
                    <a:pt x="16683" y="11036"/>
                    <a:pt x="16576" y="10669"/>
                    <a:pt x="16571" y="10594"/>
                  </a:cubicBezTo>
                  <a:cubicBezTo>
                    <a:pt x="16566" y="10519"/>
                    <a:pt x="16955" y="9440"/>
                    <a:pt x="16955" y="9440"/>
                  </a:cubicBezTo>
                  <a:cubicBezTo>
                    <a:pt x="16955" y="9440"/>
                    <a:pt x="16988" y="9358"/>
                    <a:pt x="17041" y="9358"/>
                  </a:cubicBezTo>
                  <a:cubicBezTo>
                    <a:pt x="17094" y="9358"/>
                    <a:pt x="17110" y="9418"/>
                    <a:pt x="17169" y="9463"/>
                  </a:cubicBezTo>
                  <a:cubicBezTo>
                    <a:pt x="17228" y="9508"/>
                    <a:pt x="17847" y="9620"/>
                    <a:pt x="17906" y="9613"/>
                  </a:cubicBezTo>
                  <a:cubicBezTo>
                    <a:pt x="17965" y="9605"/>
                    <a:pt x="18499" y="9043"/>
                    <a:pt x="18504" y="8998"/>
                  </a:cubicBezTo>
                  <a:cubicBezTo>
                    <a:pt x="18509" y="8955"/>
                    <a:pt x="18468" y="6996"/>
                    <a:pt x="18463" y="6794"/>
                  </a:cubicBezTo>
                  <a:cubicBezTo>
                    <a:pt x="18463" y="6794"/>
                    <a:pt x="18462" y="6795"/>
                    <a:pt x="18461" y="6795"/>
                  </a:cubicBezTo>
                  <a:cubicBezTo>
                    <a:pt x="18404" y="6795"/>
                    <a:pt x="18034" y="6795"/>
                    <a:pt x="18034" y="6795"/>
                  </a:cubicBezTo>
                  <a:cubicBezTo>
                    <a:pt x="18034" y="6795"/>
                    <a:pt x="18262" y="5317"/>
                    <a:pt x="18219" y="5217"/>
                  </a:cubicBezTo>
                  <a:cubicBezTo>
                    <a:pt x="18177" y="5117"/>
                    <a:pt x="16995" y="3778"/>
                    <a:pt x="16938" y="3638"/>
                  </a:cubicBezTo>
                  <a:cubicBezTo>
                    <a:pt x="16881" y="3499"/>
                    <a:pt x="16824" y="1731"/>
                    <a:pt x="16810" y="1496"/>
                  </a:cubicBezTo>
                  <a:cubicBezTo>
                    <a:pt x="16795" y="1261"/>
                    <a:pt x="17094" y="142"/>
                    <a:pt x="17052" y="62"/>
                  </a:cubicBezTo>
                  <a:cubicBezTo>
                    <a:pt x="17009" y="-18"/>
                    <a:pt x="16126" y="2"/>
                    <a:pt x="16083" y="2"/>
                  </a:cubicBezTo>
                  <a:cubicBezTo>
                    <a:pt x="16041" y="2"/>
                    <a:pt x="16098" y="630"/>
                    <a:pt x="16083" y="696"/>
                  </a:cubicBezTo>
                  <a:cubicBezTo>
                    <a:pt x="16069" y="761"/>
                    <a:pt x="15087" y="630"/>
                    <a:pt x="15030" y="696"/>
                  </a:cubicBezTo>
                  <a:cubicBezTo>
                    <a:pt x="14973" y="761"/>
                    <a:pt x="15528" y="1281"/>
                    <a:pt x="15542" y="1381"/>
                  </a:cubicBezTo>
                  <a:cubicBezTo>
                    <a:pt x="15557" y="1481"/>
                    <a:pt x="15670" y="2999"/>
                    <a:pt x="15628" y="3039"/>
                  </a:cubicBezTo>
                  <a:cubicBezTo>
                    <a:pt x="15585" y="3079"/>
                    <a:pt x="14887" y="3718"/>
                    <a:pt x="14816" y="3858"/>
                  </a:cubicBezTo>
                  <a:cubicBezTo>
                    <a:pt x="14745" y="3998"/>
                    <a:pt x="13777" y="6116"/>
                    <a:pt x="13634" y="6136"/>
                  </a:cubicBezTo>
                  <a:cubicBezTo>
                    <a:pt x="13492" y="6156"/>
                    <a:pt x="12837" y="6236"/>
                    <a:pt x="12737" y="6236"/>
                  </a:cubicBezTo>
                  <a:cubicBezTo>
                    <a:pt x="12637" y="6236"/>
                    <a:pt x="11399" y="4937"/>
                    <a:pt x="11242" y="4897"/>
                  </a:cubicBezTo>
                  <a:cubicBezTo>
                    <a:pt x="11085" y="4857"/>
                    <a:pt x="10644" y="5337"/>
                    <a:pt x="10601" y="5397"/>
                  </a:cubicBezTo>
                  <a:cubicBezTo>
                    <a:pt x="10559" y="5457"/>
                    <a:pt x="10601" y="6216"/>
                    <a:pt x="10601" y="6216"/>
                  </a:cubicBezTo>
                  <a:cubicBezTo>
                    <a:pt x="10601" y="6216"/>
                    <a:pt x="9690" y="6316"/>
                    <a:pt x="9647" y="6356"/>
                  </a:cubicBezTo>
                  <a:cubicBezTo>
                    <a:pt x="9605" y="6396"/>
                    <a:pt x="9135" y="7095"/>
                    <a:pt x="9135" y="7095"/>
                  </a:cubicBezTo>
                  <a:lnTo>
                    <a:pt x="7910" y="7195"/>
                  </a:lnTo>
                  <a:cubicBezTo>
                    <a:pt x="7910" y="7195"/>
                    <a:pt x="7796" y="6556"/>
                    <a:pt x="7725" y="6516"/>
                  </a:cubicBezTo>
                  <a:cubicBezTo>
                    <a:pt x="7654" y="6476"/>
                    <a:pt x="5803" y="6995"/>
                    <a:pt x="5660" y="6955"/>
                  </a:cubicBezTo>
                  <a:cubicBezTo>
                    <a:pt x="5518" y="6915"/>
                    <a:pt x="5119" y="6775"/>
                    <a:pt x="5034" y="6635"/>
                  </a:cubicBezTo>
                  <a:cubicBezTo>
                    <a:pt x="4948" y="6496"/>
                    <a:pt x="4322" y="5177"/>
                    <a:pt x="4322" y="5097"/>
                  </a:cubicBezTo>
                  <a:cubicBezTo>
                    <a:pt x="4322" y="5017"/>
                    <a:pt x="4450" y="4637"/>
                    <a:pt x="4322" y="4557"/>
                  </a:cubicBezTo>
                  <a:cubicBezTo>
                    <a:pt x="4194" y="4478"/>
                    <a:pt x="3880" y="4438"/>
                    <a:pt x="3880" y="4438"/>
                  </a:cubicBezTo>
                  <a:lnTo>
                    <a:pt x="2827" y="4837"/>
                  </a:lnTo>
                  <a:lnTo>
                    <a:pt x="2827" y="5636"/>
                  </a:lnTo>
                  <a:lnTo>
                    <a:pt x="2371" y="6076"/>
                  </a:lnTo>
                  <a:lnTo>
                    <a:pt x="435" y="6396"/>
                  </a:lnTo>
                  <a:cubicBezTo>
                    <a:pt x="435" y="6396"/>
                    <a:pt x="432" y="6388"/>
                    <a:pt x="428" y="6375"/>
                  </a:cubicBezTo>
                  <a:cubicBezTo>
                    <a:pt x="422" y="6507"/>
                    <a:pt x="383" y="7270"/>
                    <a:pt x="370" y="7325"/>
                  </a:cubicBezTo>
                  <a:cubicBezTo>
                    <a:pt x="356" y="7385"/>
                    <a:pt x="-14" y="7774"/>
                    <a:pt x="0" y="7874"/>
                  </a:cubicBezTo>
                  <a:cubicBezTo>
                    <a:pt x="14" y="7974"/>
                    <a:pt x="264" y="8044"/>
                    <a:pt x="257" y="8084"/>
                  </a:cubicBezTo>
                  <a:cubicBezTo>
                    <a:pt x="249" y="8124"/>
                    <a:pt x="164" y="8284"/>
                    <a:pt x="143" y="8364"/>
                  </a:cubicBezTo>
                  <a:cubicBezTo>
                    <a:pt x="121" y="8444"/>
                    <a:pt x="150" y="8733"/>
                    <a:pt x="221" y="8733"/>
                  </a:cubicBezTo>
                  <a:cubicBezTo>
                    <a:pt x="292" y="8733"/>
                    <a:pt x="1246" y="8813"/>
                    <a:pt x="1346" y="8833"/>
                  </a:cubicBezTo>
                  <a:cubicBezTo>
                    <a:pt x="1446" y="8853"/>
                    <a:pt x="1317" y="9732"/>
                    <a:pt x="1417" y="9792"/>
                  </a:cubicBezTo>
                  <a:cubicBezTo>
                    <a:pt x="1517" y="9852"/>
                    <a:pt x="2271" y="10012"/>
                    <a:pt x="2400" y="10012"/>
                  </a:cubicBezTo>
                  <a:cubicBezTo>
                    <a:pt x="2528" y="10012"/>
                    <a:pt x="3168" y="10871"/>
                    <a:pt x="3225" y="10971"/>
                  </a:cubicBezTo>
                  <a:cubicBezTo>
                    <a:pt x="3282" y="11071"/>
                    <a:pt x="2941" y="11571"/>
                    <a:pt x="3026" y="11770"/>
                  </a:cubicBezTo>
                  <a:cubicBezTo>
                    <a:pt x="3111" y="11970"/>
                    <a:pt x="5098" y="13868"/>
                    <a:pt x="5091" y="13908"/>
                  </a:cubicBezTo>
                  <a:cubicBezTo>
                    <a:pt x="5084" y="13948"/>
                    <a:pt x="4913" y="14168"/>
                    <a:pt x="4920" y="14218"/>
                  </a:cubicBezTo>
                  <a:cubicBezTo>
                    <a:pt x="4927" y="14268"/>
                    <a:pt x="5347" y="14797"/>
                    <a:pt x="5354" y="14857"/>
                  </a:cubicBezTo>
                  <a:cubicBezTo>
                    <a:pt x="5361" y="14917"/>
                    <a:pt x="5190" y="15187"/>
                    <a:pt x="5240" y="15247"/>
                  </a:cubicBezTo>
                  <a:cubicBezTo>
                    <a:pt x="5290" y="15307"/>
                    <a:pt x="6493" y="16006"/>
                    <a:pt x="6550" y="16096"/>
                  </a:cubicBezTo>
                  <a:cubicBezTo>
                    <a:pt x="6603" y="16179"/>
                    <a:pt x="6854" y="17458"/>
                    <a:pt x="6893" y="17660"/>
                  </a:cubicBezTo>
                  <a:cubicBezTo>
                    <a:pt x="6897" y="17663"/>
                    <a:pt x="6899" y="17665"/>
                    <a:pt x="6899" y="17665"/>
                  </a:cubicBezTo>
                  <a:cubicBezTo>
                    <a:pt x="6899" y="17665"/>
                    <a:pt x="7668" y="18883"/>
                    <a:pt x="7810" y="18963"/>
                  </a:cubicBezTo>
                  <a:cubicBezTo>
                    <a:pt x="7953" y="19043"/>
                    <a:pt x="8508" y="19543"/>
                    <a:pt x="8565" y="19543"/>
                  </a:cubicBezTo>
                  <a:cubicBezTo>
                    <a:pt x="8622" y="19543"/>
                    <a:pt x="9220" y="18923"/>
                    <a:pt x="9263" y="18923"/>
                  </a:cubicBezTo>
                  <a:cubicBezTo>
                    <a:pt x="9306" y="18923"/>
                    <a:pt x="10017" y="19443"/>
                    <a:pt x="10017" y="19443"/>
                  </a:cubicBezTo>
                  <a:lnTo>
                    <a:pt x="10502" y="18624"/>
                  </a:lnTo>
                  <a:lnTo>
                    <a:pt x="11057" y="18883"/>
                  </a:lnTo>
                  <a:cubicBezTo>
                    <a:pt x="11057" y="18883"/>
                    <a:pt x="11000" y="19323"/>
                    <a:pt x="11057" y="19383"/>
                  </a:cubicBezTo>
                  <a:cubicBezTo>
                    <a:pt x="11114" y="19443"/>
                    <a:pt x="11669" y="20022"/>
                    <a:pt x="11669" y="20022"/>
                  </a:cubicBezTo>
                  <a:cubicBezTo>
                    <a:pt x="11669" y="20022"/>
                    <a:pt x="11655" y="20357"/>
                    <a:pt x="11740" y="20449"/>
                  </a:cubicBezTo>
                  <a:cubicBezTo>
                    <a:pt x="11826" y="20542"/>
                    <a:pt x="12225" y="20462"/>
                    <a:pt x="12267" y="20542"/>
                  </a:cubicBezTo>
                  <a:cubicBezTo>
                    <a:pt x="12310" y="20622"/>
                    <a:pt x="12267" y="21061"/>
                    <a:pt x="12367" y="21141"/>
                  </a:cubicBezTo>
                  <a:cubicBezTo>
                    <a:pt x="12467" y="21221"/>
                    <a:pt x="12709" y="21061"/>
                    <a:pt x="12751" y="21121"/>
                  </a:cubicBezTo>
                  <a:cubicBezTo>
                    <a:pt x="12790" y="21175"/>
                    <a:pt x="12680" y="21500"/>
                    <a:pt x="12728" y="21582"/>
                  </a:cubicBezTo>
                  <a:cubicBezTo>
                    <a:pt x="12732" y="21574"/>
                    <a:pt x="13026" y="20896"/>
                    <a:pt x="13186" y="20866"/>
                  </a:cubicBezTo>
                  <a:cubicBezTo>
                    <a:pt x="13346" y="20836"/>
                    <a:pt x="13506" y="20717"/>
                    <a:pt x="13664" y="20747"/>
                  </a:cubicBezTo>
                  <a:cubicBezTo>
                    <a:pt x="13822" y="20777"/>
                    <a:pt x="14008" y="21151"/>
                    <a:pt x="14072" y="21151"/>
                  </a:cubicBezTo>
                  <a:cubicBezTo>
                    <a:pt x="14136" y="21151"/>
                    <a:pt x="14403" y="20612"/>
                    <a:pt x="14457" y="20612"/>
                  </a:cubicBezTo>
                  <a:cubicBezTo>
                    <a:pt x="14510" y="20612"/>
                    <a:pt x="14617" y="21136"/>
                    <a:pt x="14724" y="21181"/>
                  </a:cubicBezTo>
                  <a:cubicBezTo>
                    <a:pt x="14830" y="21226"/>
                    <a:pt x="15119" y="21466"/>
                    <a:pt x="15193" y="21451"/>
                  </a:cubicBezTo>
                  <a:cubicBezTo>
                    <a:pt x="15268" y="21436"/>
                    <a:pt x="15428" y="20971"/>
                    <a:pt x="15503" y="20911"/>
                  </a:cubicBezTo>
                  <a:cubicBezTo>
                    <a:pt x="15578" y="20851"/>
                    <a:pt x="16464" y="20567"/>
                    <a:pt x="16571" y="20552"/>
                  </a:cubicBezTo>
                  <a:cubicBezTo>
                    <a:pt x="16678" y="20537"/>
                    <a:pt x="17351" y="20851"/>
                    <a:pt x="17447" y="20851"/>
                  </a:cubicBezTo>
                  <a:cubicBezTo>
                    <a:pt x="17543" y="20851"/>
                    <a:pt x="18322" y="19698"/>
                    <a:pt x="18322" y="19698"/>
                  </a:cubicBezTo>
                  <a:cubicBezTo>
                    <a:pt x="18322" y="19698"/>
                    <a:pt x="18323" y="19706"/>
                    <a:pt x="18325" y="19718"/>
                  </a:cubicBezTo>
                  <a:cubicBezTo>
                    <a:pt x="18416" y="19573"/>
                    <a:pt x="18879" y="18838"/>
                    <a:pt x="18942" y="18783"/>
                  </a:cubicBezTo>
                  <a:cubicBezTo>
                    <a:pt x="19011" y="18724"/>
                    <a:pt x="19038" y="18694"/>
                    <a:pt x="19214" y="18641"/>
                  </a:cubicBezTo>
                  <a:cubicBezTo>
                    <a:pt x="19390" y="18589"/>
                    <a:pt x="20325" y="18004"/>
                    <a:pt x="20400" y="17974"/>
                  </a:cubicBezTo>
                  <a:cubicBezTo>
                    <a:pt x="20474" y="17944"/>
                    <a:pt x="20725" y="17959"/>
                    <a:pt x="20811" y="18019"/>
                  </a:cubicBezTo>
                  <a:cubicBezTo>
                    <a:pt x="20896" y="18079"/>
                    <a:pt x="21052" y="18724"/>
                    <a:pt x="21084" y="18737"/>
                  </a:cubicBezTo>
                  <a:cubicBezTo>
                    <a:pt x="21112" y="18748"/>
                    <a:pt x="21483" y="18626"/>
                    <a:pt x="21586" y="18592"/>
                  </a:cubicBezTo>
                  <a:cubicBezTo>
                    <a:pt x="21523" y="18489"/>
                    <a:pt x="21465" y="18403"/>
                    <a:pt x="21444" y="18374"/>
                  </a:cubicBezTo>
                  <a:cubicBezTo>
                    <a:pt x="21402" y="18314"/>
                    <a:pt x="21487" y="17115"/>
                    <a:pt x="21480" y="1705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5" name="Shape">
              <a:extLst>
                <a:ext uri="{FF2B5EF4-FFF2-40B4-BE49-F238E27FC236}">
                  <a16:creationId xmlns:a16="http://schemas.microsoft.com/office/drawing/2014/main" id="{3AC55E96-969A-5841-8001-B9355E1E653A}"/>
                </a:ext>
              </a:extLst>
            </p:cNvPr>
            <p:cNvSpPr/>
            <p:nvPr/>
          </p:nvSpPr>
          <p:spPr>
            <a:xfrm>
              <a:off x="3149600" y="5562600"/>
              <a:ext cx="4254224" cy="4033172"/>
            </a:xfrm>
            <a:custGeom>
              <a:avLst/>
              <a:gdLst/>
              <a:ahLst/>
              <a:cxnLst>
                <a:cxn ang="0">
                  <a:pos x="wd2" y="hd2"/>
                </a:cxn>
                <a:cxn ang="5400000">
                  <a:pos x="wd2" y="hd2"/>
                </a:cxn>
                <a:cxn ang="10800000">
                  <a:pos x="wd2" y="hd2"/>
                </a:cxn>
                <a:cxn ang="16200000">
                  <a:pos x="wd2" y="hd2"/>
                </a:cxn>
              </a:cxnLst>
              <a:rect l="0" t="0" r="r" b="b"/>
              <a:pathLst>
                <a:path w="21600" h="21584" extrusionOk="0">
                  <a:moveTo>
                    <a:pt x="8789" y="20258"/>
                  </a:moveTo>
                  <a:cubicBezTo>
                    <a:pt x="8789" y="20258"/>
                    <a:pt x="8821" y="20202"/>
                    <a:pt x="8858" y="20181"/>
                  </a:cubicBezTo>
                  <a:cubicBezTo>
                    <a:pt x="8894" y="20160"/>
                    <a:pt x="8987" y="20190"/>
                    <a:pt x="9035" y="20181"/>
                  </a:cubicBezTo>
                  <a:cubicBezTo>
                    <a:pt x="9083" y="20173"/>
                    <a:pt x="9140" y="19999"/>
                    <a:pt x="9180" y="19846"/>
                  </a:cubicBezTo>
                  <a:cubicBezTo>
                    <a:pt x="9220" y="19693"/>
                    <a:pt x="9148" y="19310"/>
                    <a:pt x="9148" y="19310"/>
                  </a:cubicBezTo>
                  <a:lnTo>
                    <a:pt x="8926" y="19247"/>
                  </a:lnTo>
                  <a:cubicBezTo>
                    <a:pt x="8926" y="19247"/>
                    <a:pt x="8930" y="19221"/>
                    <a:pt x="8959" y="19183"/>
                  </a:cubicBezTo>
                  <a:cubicBezTo>
                    <a:pt x="8987" y="19145"/>
                    <a:pt x="9116" y="19141"/>
                    <a:pt x="9229" y="19128"/>
                  </a:cubicBezTo>
                  <a:cubicBezTo>
                    <a:pt x="9341" y="19115"/>
                    <a:pt x="9736" y="18983"/>
                    <a:pt x="9789" y="18971"/>
                  </a:cubicBezTo>
                  <a:cubicBezTo>
                    <a:pt x="9841" y="18958"/>
                    <a:pt x="10264" y="18512"/>
                    <a:pt x="10268" y="18474"/>
                  </a:cubicBezTo>
                  <a:cubicBezTo>
                    <a:pt x="10272" y="18435"/>
                    <a:pt x="10115" y="17947"/>
                    <a:pt x="10139" y="17943"/>
                  </a:cubicBezTo>
                  <a:cubicBezTo>
                    <a:pt x="10164" y="17938"/>
                    <a:pt x="10450" y="17955"/>
                    <a:pt x="10458" y="17913"/>
                  </a:cubicBezTo>
                  <a:cubicBezTo>
                    <a:pt x="10466" y="17870"/>
                    <a:pt x="10313" y="17382"/>
                    <a:pt x="10321" y="17356"/>
                  </a:cubicBezTo>
                  <a:cubicBezTo>
                    <a:pt x="10329" y="17331"/>
                    <a:pt x="10804" y="16855"/>
                    <a:pt x="10841" y="16859"/>
                  </a:cubicBezTo>
                  <a:cubicBezTo>
                    <a:pt x="10877" y="16864"/>
                    <a:pt x="10820" y="17017"/>
                    <a:pt x="10841" y="17025"/>
                  </a:cubicBezTo>
                  <a:cubicBezTo>
                    <a:pt x="10861" y="17034"/>
                    <a:pt x="11481" y="17327"/>
                    <a:pt x="11518" y="17322"/>
                  </a:cubicBezTo>
                  <a:cubicBezTo>
                    <a:pt x="11554" y="17318"/>
                    <a:pt x="11518" y="17136"/>
                    <a:pt x="11518" y="17136"/>
                  </a:cubicBezTo>
                  <a:cubicBezTo>
                    <a:pt x="11518" y="17136"/>
                    <a:pt x="11715" y="17114"/>
                    <a:pt x="11768" y="17110"/>
                  </a:cubicBezTo>
                  <a:cubicBezTo>
                    <a:pt x="11820" y="17106"/>
                    <a:pt x="11727" y="16554"/>
                    <a:pt x="11768" y="16554"/>
                  </a:cubicBezTo>
                  <a:cubicBezTo>
                    <a:pt x="11808" y="16554"/>
                    <a:pt x="12187" y="16643"/>
                    <a:pt x="12231" y="16639"/>
                  </a:cubicBezTo>
                  <a:cubicBezTo>
                    <a:pt x="12275" y="16634"/>
                    <a:pt x="12259" y="16129"/>
                    <a:pt x="12275" y="16112"/>
                  </a:cubicBezTo>
                  <a:cubicBezTo>
                    <a:pt x="12291" y="16095"/>
                    <a:pt x="12727" y="15691"/>
                    <a:pt x="12795" y="15696"/>
                  </a:cubicBezTo>
                  <a:cubicBezTo>
                    <a:pt x="12864" y="15700"/>
                    <a:pt x="13351" y="15815"/>
                    <a:pt x="13388" y="15810"/>
                  </a:cubicBezTo>
                  <a:cubicBezTo>
                    <a:pt x="13424" y="15806"/>
                    <a:pt x="13404" y="15441"/>
                    <a:pt x="13424" y="15436"/>
                  </a:cubicBezTo>
                  <a:cubicBezTo>
                    <a:pt x="13444" y="15432"/>
                    <a:pt x="14439" y="15092"/>
                    <a:pt x="14528" y="15067"/>
                  </a:cubicBezTo>
                  <a:cubicBezTo>
                    <a:pt x="14617" y="15041"/>
                    <a:pt x="15040" y="14589"/>
                    <a:pt x="15088" y="14585"/>
                  </a:cubicBezTo>
                  <a:cubicBezTo>
                    <a:pt x="15134" y="14581"/>
                    <a:pt x="16161" y="14793"/>
                    <a:pt x="16264" y="14814"/>
                  </a:cubicBezTo>
                  <a:cubicBezTo>
                    <a:pt x="16276" y="14757"/>
                    <a:pt x="16289" y="14720"/>
                    <a:pt x="16300" y="14726"/>
                  </a:cubicBezTo>
                  <a:cubicBezTo>
                    <a:pt x="16343" y="14748"/>
                    <a:pt x="17181" y="14737"/>
                    <a:pt x="17246" y="14726"/>
                  </a:cubicBezTo>
                  <a:cubicBezTo>
                    <a:pt x="17310" y="14714"/>
                    <a:pt x="17740" y="14284"/>
                    <a:pt x="17740" y="14284"/>
                  </a:cubicBezTo>
                  <a:cubicBezTo>
                    <a:pt x="17740" y="14284"/>
                    <a:pt x="18396" y="14239"/>
                    <a:pt x="18783" y="14205"/>
                  </a:cubicBezTo>
                  <a:cubicBezTo>
                    <a:pt x="19169" y="14171"/>
                    <a:pt x="19868" y="14091"/>
                    <a:pt x="19943" y="14091"/>
                  </a:cubicBezTo>
                  <a:cubicBezTo>
                    <a:pt x="20018" y="14091"/>
                    <a:pt x="20545" y="14205"/>
                    <a:pt x="20588" y="14205"/>
                  </a:cubicBezTo>
                  <a:cubicBezTo>
                    <a:pt x="20631" y="14205"/>
                    <a:pt x="21029" y="13763"/>
                    <a:pt x="21072" y="13706"/>
                  </a:cubicBezTo>
                  <a:cubicBezTo>
                    <a:pt x="21115" y="13650"/>
                    <a:pt x="21405" y="12902"/>
                    <a:pt x="21459" y="12755"/>
                  </a:cubicBezTo>
                  <a:cubicBezTo>
                    <a:pt x="21512" y="12607"/>
                    <a:pt x="21523" y="12279"/>
                    <a:pt x="21555" y="11950"/>
                  </a:cubicBezTo>
                  <a:cubicBezTo>
                    <a:pt x="21586" y="11636"/>
                    <a:pt x="21599" y="8984"/>
                    <a:pt x="21600" y="8765"/>
                  </a:cubicBezTo>
                  <a:cubicBezTo>
                    <a:pt x="20963" y="8899"/>
                    <a:pt x="20414" y="9008"/>
                    <a:pt x="20373" y="8994"/>
                  </a:cubicBezTo>
                  <a:cubicBezTo>
                    <a:pt x="20276" y="8960"/>
                    <a:pt x="20104" y="8801"/>
                    <a:pt x="20083" y="8745"/>
                  </a:cubicBezTo>
                  <a:cubicBezTo>
                    <a:pt x="20061" y="8688"/>
                    <a:pt x="20255" y="8348"/>
                    <a:pt x="20255" y="8348"/>
                  </a:cubicBezTo>
                  <a:cubicBezTo>
                    <a:pt x="20255" y="8348"/>
                    <a:pt x="20319" y="7918"/>
                    <a:pt x="20266" y="7827"/>
                  </a:cubicBezTo>
                  <a:cubicBezTo>
                    <a:pt x="20212" y="7737"/>
                    <a:pt x="19567" y="7329"/>
                    <a:pt x="19492" y="7340"/>
                  </a:cubicBezTo>
                  <a:cubicBezTo>
                    <a:pt x="19417" y="7352"/>
                    <a:pt x="19191" y="7419"/>
                    <a:pt x="19137" y="7431"/>
                  </a:cubicBezTo>
                  <a:cubicBezTo>
                    <a:pt x="19084" y="7442"/>
                    <a:pt x="18944" y="6978"/>
                    <a:pt x="18869" y="7000"/>
                  </a:cubicBezTo>
                  <a:cubicBezTo>
                    <a:pt x="18793" y="7023"/>
                    <a:pt x="18557" y="7182"/>
                    <a:pt x="18503" y="7170"/>
                  </a:cubicBezTo>
                  <a:cubicBezTo>
                    <a:pt x="18449" y="7159"/>
                    <a:pt x="18245" y="6672"/>
                    <a:pt x="18138" y="6627"/>
                  </a:cubicBezTo>
                  <a:cubicBezTo>
                    <a:pt x="18030" y="6581"/>
                    <a:pt x="17622" y="6423"/>
                    <a:pt x="17557" y="6423"/>
                  </a:cubicBezTo>
                  <a:cubicBezTo>
                    <a:pt x="17493" y="6423"/>
                    <a:pt x="17536" y="5879"/>
                    <a:pt x="17471" y="5811"/>
                  </a:cubicBezTo>
                  <a:cubicBezTo>
                    <a:pt x="17434" y="5772"/>
                    <a:pt x="13146" y="2640"/>
                    <a:pt x="9540" y="10"/>
                  </a:cubicBezTo>
                  <a:lnTo>
                    <a:pt x="7431" y="0"/>
                  </a:lnTo>
                  <a:lnTo>
                    <a:pt x="8670" y="12528"/>
                  </a:lnTo>
                  <a:lnTo>
                    <a:pt x="9035" y="12789"/>
                  </a:lnTo>
                  <a:lnTo>
                    <a:pt x="8809" y="13989"/>
                  </a:lnTo>
                  <a:lnTo>
                    <a:pt x="3823" y="13989"/>
                  </a:lnTo>
                  <a:lnTo>
                    <a:pt x="3823" y="13661"/>
                  </a:lnTo>
                  <a:lnTo>
                    <a:pt x="3726" y="13752"/>
                  </a:lnTo>
                  <a:lnTo>
                    <a:pt x="3726" y="14091"/>
                  </a:lnTo>
                  <a:lnTo>
                    <a:pt x="1985" y="14080"/>
                  </a:lnTo>
                  <a:lnTo>
                    <a:pt x="1759" y="14567"/>
                  </a:lnTo>
                  <a:lnTo>
                    <a:pt x="964" y="13785"/>
                  </a:lnTo>
                  <a:lnTo>
                    <a:pt x="685" y="13933"/>
                  </a:lnTo>
                  <a:lnTo>
                    <a:pt x="599" y="14839"/>
                  </a:lnTo>
                  <a:lnTo>
                    <a:pt x="0" y="15042"/>
                  </a:lnTo>
                  <a:cubicBezTo>
                    <a:pt x="4" y="15099"/>
                    <a:pt x="32" y="15478"/>
                    <a:pt x="40" y="15521"/>
                  </a:cubicBezTo>
                  <a:cubicBezTo>
                    <a:pt x="48" y="15568"/>
                    <a:pt x="286" y="15785"/>
                    <a:pt x="314" y="15827"/>
                  </a:cubicBezTo>
                  <a:cubicBezTo>
                    <a:pt x="342" y="15870"/>
                    <a:pt x="270" y="16630"/>
                    <a:pt x="278" y="16668"/>
                  </a:cubicBezTo>
                  <a:cubicBezTo>
                    <a:pt x="286" y="16707"/>
                    <a:pt x="475" y="17068"/>
                    <a:pt x="511" y="17068"/>
                  </a:cubicBezTo>
                  <a:cubicBezTo>
                    <a:pt x="548" y="17068"/>
                    <a:pt x="818" y="17021"/>
                    <a:pt x="838" y="17021"/>
                  </a:cubicBezTo>
                  <a:cubicBezTo>
                    <a:pt x="858" y="17021"/>
                    <a:pt x="1168" y="17628"/>
                    <a:pt x="1168" y="17648"/>
                  </a:cubicBezTo>
                  <a:cubicBezTo>
                    <a:pt x="1168" y="17668"/>
                    <a:pt x="1021" y="17962"/>
                    <a:pt x="1023" y="17991"/>
                  </a:cubicBezTo>
                  <a:cubicBezTo>
                    <a:pt x="1026" y="18019"/>
                    <a:pt x="1136" y="18404"/>
                    <a:pt x="1136" y="18404"/>
                  </a:cubicBezTo>
                  <a:cubicBezTo>
                    <a:pt x="1136" y="18404"/>
                    <a:pt x="991" y="18690"/>
                    <a:pt x="991" y="18716"/>
                  </a:cubicBezTo>
                  <a:cubicBezTo>
                    <a:pt x="991" y="18741"/>
                    <a:pt x="1273" y="18954"/>
                    <a:pt x="1305" y="18954"/>
                  </a:cubicBezTo>
                  <a:cubicBezTo>
                    <a:pt x="1338" y="18954"/>
                    <a:pt x="1668" y="18639"/>
                    <a:pt x="1700" y="18648"/>
                  </a:cubicBezTo>
                  <a:cubicBezTo>
                    <a:pt x="1733" y="18656"/>
                    <a:pt x="2015" y="19081"/>
                    <a:pt x="2055" y="19081"/>
                  </a:cubicBezTo>
                  <a:cubicBezTo>
                    <a:pt x="2095" y="19081"/>
                    <a:pt x="2466" y="18648"/>
                    <a:pt x="2490" y="18648"/>
                  </a:cubicBezTo>
                  <a:cubicBezTo>
                    <a:pt x="2514" y="18648"/>
                    <a:pt x="3280" y="18903"/>
                    <a:pt x="3312" y="18911"/>
                  </a:cubicBezTo>
                  <a:cubicBezTo>
                    <a:pt x="3345" y="18920"/>
                    <a:pt x="3756" y="18571"/>
                    <a:pt x="3764" y="18546"/>
                  </a:cubicBezTo>
                  <a:cubicBezTo>
                    <a:pt x="3772" y="18520"/>
                    <a:pt x="3740" y="18416"/>
                    <a:pt x="3764" y="18374"/>
                  </a:cubicBezTo>
                  <a:cubicBezTo>
                    <a:pt x="3788" y="18331"/>
                    <a:pt x="3822" y="18240"/>
                    <a:pt x="3822" y="18240"/>
                  </a:cubicBezTo>
                  <a:cubicBezTo>
                    <a:pt x="3822" y="18240"/>
                    <a:pt x="4225" y="18384"/>
                    <a:pt x="4233" y="18395"/>
                  </a:cubicBezTo>
                  <a:cubicBezTo>
                    <a:pt x="4241" y="18406"/>
                    <a:pt x="4533" y="18962"/>
                    <a:pt x="4537" y="18994"/>
                  </a:cubicBezTo>
                  <a:cubicBezTo>
                    <a:pt x="4542" y="19026"/>
                    <a:pt x="4435" y="19402"/>
                    <a:pt x="4435" y="19419"/>
                  </a:cubicBezTo>
                  <a:cubicBezTo>
                    <a:pt x="4435" y="19436"/>
                    <a:pt x="5078" y="19820"/>
                    <a:pt x="5082" y="19839"/>
                  </a:cubicBezTo>
                  <a:cubicBezTo>
                    <a:pt x="5086" y="19858"/>
                    <a:pt x="4656" y="20347"/>
                    <a:pt x="4666" y="20361"/>
                  </a:cubicBezTo>
                  <a:cubicBezTo>
                    <a:pt x="4677" y="20375"/>
                    <a:pt x="5110" y="20307"/>
                    <a:pt x="5131" y="20327"/>
                  </a:cubicBezTo>
                  <a:cubicBezTo>
                    <a:pt x="5153" y="20347"/>
                    <a:pt x="5145" y="20766"/>
                    <a:pt x="5153" y="20803"/>
                  </a:cubicBezTo>
                  <a:cubicBezTo>
                    <a:pt x="5160" y="20836"/>
                    <a:pt x="5517" y="21420"/>
                    <a:pt x="5579" y="21521"/>
                  </a:cubicBezTo>
                  <a:cubicBezTo>
                    <a:pt x="5608" y="21501"/>
                    <a:pt x="5633" y="21483"/>
                    <a:pt x="5650" y="21473"/>
                  </a:cubicBezTo>
                  <a:cubicBezTo>
                    <a:pt x="5702" y="21439"/>
                    <a:pt x="6158" y="21128"/>
                    <a:pt x="6178" y="21133"/>
                  </a:cubicBezTo>
                  <a:cubicBezTo>
                    <a:pt x="6198" y="21137"/>
                    <a:pt x="6315" y="21392"/>
                    <a:pt x="6343" y="21396"/>
                  </a:cubicBezTo>
                  <a:cubicBezTo>
                    <a:pt x="6371" y="21400"/>
                    <a:pt x="6750" y="21566"/>
                    <a:pt x="6802" y="21583"/>
                  </a:cubicBezTo>
                  <a:cubicBezTo>
                    <a:pt x="6855" y="21600"/>
                    <a:pt x="6899" y="21298"/>
                    <a:pt x="6931" y="21290"/>
                  </a:cubicBezTo>
                  <a:cubicBezTo>
                    <a:pt x="6964" y="21281"/>
                    <a:pt x="7294" y="21264"/>
                    <a:pt x="7314" y="21256"/>
                  </a:cubicBezTo>
                  <a:cubicBezTo>
                    <a:pt x="7334" y="21247"/>
                    <a:pt x="7318" y="20816"/>
                    <a:pt x="7336" y="20810"/>
                  </a:cubicBezTo>
                  <a:cubicBezTo>
                    <a:pt x="7355" y="20804"/>
                    <a:pt x="7560" y="21005"/>
                    <a:pt x="7598" y="21005"/>
                  </a:cubicBezTo>
                  <a:cubicBezTo>
                    <a:pt x="7637" y="21005"/>
                    <a:pt x="7598" y="20806"/>
                    <a:pt x="7625" y="20789"/>
                  </a:cubicBezTo>
                  <a:cubicBezTo>
                    <a:pt x="7651" y="20772"/>
                    <a:pt x="7848" y="20721"/>
                    <a:pt x="7862" y="20736"/>
                  </a:cubicBezTo>
                  <a:cubicBezTo>
                    <a:pt x="7876" y="20750"/>
                    <a:pt x="7840" y="21354"/>
                    <a:pt x="7844" y="21377"/>
                  </a:cubicBezTo>
                  <a:cubicBezTo>
                    <a:pt x="7848" y="21400"/>
                    <a:pt x="7987" y="21479"/>
                    <a:pt x="8030" y="21483"/>
                  </a:cubicBezTo>
                  <a:cubicBezTo>
                    <a:pt x="8072" y="21487"/>
                    <a:pt x="8435" y="21139"/>
                    <a:pt x="8457" y="21135"/>
                  </a:cubicBezTo>
                  <a:cubicBezTo>
                    <a:pt x="8479" y="21131"/>
                    <a:pt x="8705" y="21133"/>
                    <a:pt x="8794" y="21154"/>
                  </a:cubicBezTo>
                  <a:cubicBezTo>
                    <a:pt x="8818" y="21064"/>
                    <a:pt x="8942" y="20600"/>
                    <a:pt x="8942" y="20547"/>
                  </a:cubicBezTo>
                  <a:cubicBezTo>
                    <a:pt x="8942" y="20487"/>
                    <a:pt x="8789" y="20258"/>
                    <a:pt x="8789" y="2025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6" name="Shape">
              <a:extLst>
                <a:ext uri="{FF2B5EF4-FFF2-40B4-BE49-F238E27FC236}">
                  <a16:creationId xmlns:a16="http://schemas.microsoft.com/office/drawing/2014/main" id="{C3F79378-9751-C54E-AC31-80D0F39BD919}"/>
                </a:ext>
              </a:extLst>
            </p:cNvPr>
            <p:cNvSpPr/>
            <p:nvPr/>
          </p:nvSpPr>
          <p:spPr>
            <a:xfrm>
              <a:off x="9766299" y="6007100"/>
              <a:ext cx="2714626" cy="4281519"/>
            </a:xfrm>
            <a:custGeom>
              <a:avLst/>
              <a:gdLst/>
              <a:ahLst/>
              <a:cxnLst>
                <a:cxn ang="0">
                  <a:pos x="wd2" y="hd2"/>
                </a:cxn>
                <a:cxn ang="5400000">
                  <a:pos x="wd2" y="hd2"/>
                </a:cxn>
                <a:cxn ang="10800000">
                  <a:pos x="wd2" y="hd2"/>
                </a:cxn>
                <a:cxn ang="16200000">
                  <a:pos x="wd2" y="hd2"/>
                </a:cxn>
              </a:cxnLst>
              <a:rect l="0" t="0" r="r" b="b"/>
              <a:pathLst>
                <a:path w="21600" h="21592" extrusionOk="0">
                  <a:moveTo>
                    <a:pt x="19453" y="16548"/>
                  </a:moveTo>
                  <a:cubicBezTo>
                    <a:pt x="19427" y="16508"/>
                    <a:pt x="18606" y="16108"/>
                    <a:pt x="18606" y="16108"/>
                  </a:cubicBezTo>
                  <a:lnTo>
                    <a:pt x="18745" y="15500"/>
                  </a:lnTo>
                  <a:cubicBezTo>
                    <a:pt x="18745" y="15500"/>
                    <a:pt x="18568" y="15564"/>
                    <a:pt x="18505" y="15564"/>
                  </a:cubicBezTo>
                  <a:cubicBezTo>
                    <a:pt x="18442" y="15564"/>
                    <a:pt x="18455" y="15516"/>
                    <a:pt x="18442" y="15380"/>
                  </a:cubicBezTo>
                  <a:cubicBezTo>
                    <a:pt x="18429" y="15243"/>
                    <a:pt x="18202" y="15099"/>
                    <a:pt x="18189" y="15067"/>
                  </a:cubicBezTo>
                  <a:cubicBezTo>
                    <a:pt x="18177" y="15035"/>
                    <a:pt x="18493" y="14819"/>
                    <a:pt x="18455" y="14789"/>
                  </a:cubicBezTo>
                  <a:cubicBezTo>
                    <a:pt x="18417" y="14760"/>
                    <a:pt x="17874" y="14651"/>
                    <a:pt x="17823" y="14643"/>
                  </a:cubicBezTo>
                  <a:cubicBezTo>
                    <a:pt x="17773" y="14635"/>
                    <a:pt x="17406" y="14811"/>
                    <a:pt x="17331" y="14787"/>
                  </a:cubicBezTo>
                  <a:cubicBezTo>
                    <a:pt x="17255" y="14763"/>
                    <a:pt x="17091" y="14627"/>
                    <a:pt x="17091" y="14571"/>
                  </a:cubicBezTo>
                  <a:cubicBezTo>
                    <a:pt x="17091" y="14515"/>
                    <a:pt x="18038" y="13874"/>
                    <a:pt x="18000" y="13842"/>
                  </a:cubicBezTo>
                  <a:cubicBezTo>
                    <a:pt x="17962" y="13810"/>
                    <a:pt x="17646" y="13322"/>
                    <a:pt x="17608" y="13282"/>
                  </a:cubicBezTo>
                  <a:cubicBezTo>
                    <a:pt x="17571" y="13242"/>
                    <a:pt x="18354" y="12882"/>
                    <a:pt x="18442" y="12850"/>
                  </a:cubicBezTo>
                  <a:cubicBezTo>
                    <a:pt x="18531" y="12818"/>
                    <a:pt x="18480" y="12690"/>
                    <a:pt x="18467" y="12626"/>
                  </a:cubicBezTo>
                  <a:cubicBezTo>
                    <a:pt x="18455" y="12561"/>
                    <a:pt x="18253" y="12321"/>
                    <a:pt x="18253" y="12257"/>
                  </a:cubicBezTo>
                  <a:cubicBezTo>
                    <a:pt x="18253" y="12193"/>
                    <a:pt x="18392" y="12161"/>
                    <a:pt x="18455" y="12121"/>
                  </a:cubicBezTo>
                  <a:cubicBezTo>
                    <a:pt x="18518" y="12081"/>
                    <a:pt x="18998" y="12041"/>
                    <a:pt x="18998" y="12041"/>
                  </a:cubicBezTo>
                  <a:cubicBezTo>
                    <a:pt x="18998" y="12041"/>
                    <a:pt x="18872" y="11905"/>
                    <a:pt x="18872" y="11793"/>
                  </a:cubicBezTo>
                  <a:cubicBezTo>
                    <a:pt x="18872" y="11681"/>
                    <a:pt x="19554" y="11361"/>
                    <a:pt x="19554" y="11313"/>
                  </a:cubicBezTo>
                  <a:cubicBezTo>
                    <a:pt x="19554" y="11265"/>
                    <a:pt x="19427" y="10976"/>
                    <a:pt x="19427" y="10912"/>
                  </a:cubicBezTo>
                  <a:cubicBezTo>
                    <a:pt x="19427" y="10848"/>
                    <a:pt x="19781" y="10640"/>
                    <a:pt x="19781" y="10640"/>
                  </a:cubicBezTo>
                  <a:lnTo>
                    <a:pt x="21600" y="10640"/>
                  </a:lnTo>
                  <a:lnTo>
                    <a:pt x="21600" y="5533"/>
                  </a:lnTo>
                  <a:cubicBezTo>
                    <a:pt x="20924" y="5303"/>
                    <a:pt x="5327" y="16"/>
                    <a:pt x="5179" y="0"/>
                  </a:cubicBezTo>
                  <a:cubicBezTo>
                    <a:pt x="5099" y="-8"/>
                    <a:pt x="4098" y="305"/>
                    <a:pt x="3152" y="603"/>
                  </a:cubicBezTo>
                  <a:cubicBezTo>
                    <a:pt x="3170" y="682"/>
                    <a:pt x="3447" y="1902"/>
                    <a:pt x="3528" y="2015"/>
                  </a:cubicBezTo>
                  <a:cubicBezTo>
                    <a:pt x="3613" y="2133"/>
                    <a:pt x="3478" y="2656"/>
                    <a:pt x="3528" y="2741"/>
                  </a:cubicBezTo>
                  <a:cubicBezTo>
                    <a:pt x="3579" y="2826"/>
                    <a:pt x="4101" y="3382"/>
                    <a:pt x="4135" y="3456"/>
                  </a:cubicBezTo>
                  <a:cubicBezTo>
                    <a:pt x="4168" y="3531"/>
                    <a:pt x="4000" y="3627"/>
                    <a:pt x="4000" y="3691"/>
                  </a:cubicBezTo>
                  <a:cubicBezTo>
                    <a:pt x="4000" y="3755"/>
                    <a:pt x="4236" y="3926"/>
                    <a:pt x="4286" y="3979"/>
                  </a:cubicBezTo>
                  <a:cubicBezTo>
                    <a:pt x="4337" y="4033"/>
                    <a:pt x="4286" y="4107"/>
                    <a:pt x="4354" y="4097"/>
                  </a:cubicBezTo>
                  <a:cubicBezTo>
                    <a:pt x="4421" y="4086"/>
                    <a:pt x="5162" y="4321"/>
                    <a:pt x="5162" y="4321"/>
                  </a:cubicBezTo>
                  <a:lnTo>
                    <a:pt x="4640" y="4897"/>
                  </a:lnTo>
                  <a:cubicBezTo>
                    <a:pt x="4640" y="4897"/>
                    <a:pt x="4472" y="5698"/>
                    <a:pt x="4404" y="6093"/>
                  </a:cubicBezTo>
                  <a:cubicBezTo>
                    <a:pt x="4337" y="6488"/>
                    <a:pt x="4219" y="9271"/>
                    <a:pt x="4219" y="9271"/>
                  </a:cubicBezTo>
                  <a:cubicBezTo>
                    <a:pt x="4219" y="9271"/>
                    <a:pt x="1629" y="10848"/>
                    <a:pt x="1481" y="10968"/>
                  </a:cubicBezTo>
                  <a:cubicBezTo>
                    <a:pt x="1333" y="11088"/>
                    <a:pt x="463" y="12215"/>
                    <a:pt x="463" y="12215"/>
                  </a:cubicBezTo>
                  <a:lnTo>
                    <a:pt x="0" y="12353"/>
                  </a:lnTo>
                  <a:lnTo>
                    <a:pt x="345" y="13373"/>
                  </a:lnTo>
                  <a:cubicBezTo>
                    <a:pt x="345" y="13373"/>
                    <a:pt x="341" y="13373"/>
                    <a:pt x="336" y="13374"/>
                  </a:cubicBezTo>
                  <a:cubicBezTo>
                    <a:pt x="434" y="13463"/>
                    <a:pt x="1117" y="14076"/>
                    <a:pt x="1236" y="14195"/>
                  </a:cubicBezTo>
                  <a:lnTo>
                    <a:pt x="2114" y="14131"/>
                  </a:lnTo>
                  <a:lnTo>
                    <a:pt x="2215" y="14600"/>
                  </a:lnTo>
                  <a:cubicBezTo>
                    <a:pt x="2215" y="14600"/>
                    <a:pt x="2771" y="14718"/>
                    <a:pt x="2787" y="14757"/>
                  </a:cubicBezTo>
                  <a:cubicBezTo>
                    <a:pt x="2804" y="14797"/>
                    <a:pt x="2754" y="15380"/>
                    <a:pt x="2804" y="15401"/>
                  </a:cubicBezTo>
                  <a:cubicBezTo>
                    <a:pt x="2855" y="15422"/>
                    <a:pt x="3107" y="15486"/>
                    <a:pt x="3259" y="15529"/>
                  </a:cubicBezTo>
                  <a:cubicBezTo>
                    <a:pt x="3411" y="15572"/>
                    <a:pt x="3377" y="17472"/>
                    <a:pt x="3444" y="17557"/>
                  </a:cubicBezTo>
                  <a:cubicBezTo>
                    <a:pt x="3512" y="17642"/>
                    <a:pt x="4556" y="18262"/>
                    <a:pt x="4488" y="18304"/>
                  </a:cubicBezTo>
                  <a:cubicBezTo>
                    <a:pt x="4421" y="18347"/>
                    <a:pt x="1575" y="18240"/>
                    <a:pt x="1507" y="18262"/>
                  </a:cubicBezTo>
                  <a:cubicBezTo>
                    <a:pt x="1440" y="18283"/>
                    <a:pt x="985" y="18742"/>
                    <a:pt x="985" y="18742"/>
                  </a:cubicBezTo>
                  <a:cubicBezTo>
                    <a:pt x="985" y="18742"/>
                    <a:pt x="2046" y="19489"/>
                    <a:pt x="2164" y="19553"/>
                  </a:cubicBezTo>
                  <a:cubicBezTo>
                    <a:pt x="2282" y="19617"/>
                    <a:pt x="3259" y="19948"/>
                    <a:pt x="3394" y="20034"/>
                  </a:cubicBezTo>
                  <a:cubicBezTo>
                    <a:pt x="3528" y="20119"/>
                    <a:pt x="4135" y="21133"/>
                    <a:pt x="4135" y="21133"/>
                  </a:cubicBezTo>
                  <a:lnTo>
                    <a:pt x="4135" y="21515"/>
                  </a:lnTo>
                  <a:cubicBezTo>
                    <a:pt x="4148" y="21507"/>
                    <a:pt x="4156" y="21502"/>
                    <a:pt x="4156" y="21502"/>
                  </a:cubicBezTo>
                  <a:cubicBezTo>
                    <a:pt x="4156" y="21502"/>
                    <a:pt x="4148" y="21507"/>
                    <a:pt x="4135" y="21515"/>
                  </a:cubicBezTo>
                  <a:lnTo>
                    <a:pt x="4135" y="21517"/>
                  </a:lnTo>
                  <a:cubicBezTo>
                    <a:pt x="4135" y="21517"/>
                    <a:pt x="5078" y="21592"/>
                    <a:pt x="5162" y="21592"/>
                  </a:cubicBezTo>
                  <a:cubicBezTo>
                    <a:pt x="5246" y="21592"/>
                    <a:pt x="6240" y="21080"/>
                    <a:pt x="6366" y="21080"/>
                  </a:cubicBezTo>
                  <a:cubicBezTo>
                    <a:pt x="6493" y="21080"/>
                    <a:pt x="6720" y="21512"/>
                    <a:pt x="6796" y="21528"/>
                  </a:cubicBezTo>
                  <a:cubicBezTo>
                    <a:pt x="6872" y="21544"/>
                    <a:pt x="8488" y="20920"/>
                    <a:pt x="8589" y="20920"/>
                  </a:cubicBezTo>
                  <a:cubicBezTo>
                    <a:pt x="8691" y="20920"/>
                    <a:pt x="10509" y="20839"/>
                    <a:pt x="10509" y="20839"/>
                  </a:cubicBezTo>
                  <a:lnTo>
                    <a:pt x="11520" y="20039"/>
                  </a:lnTo>
                  <a:lnTo>
                    <a:pt x="11091" y="19719"/>
                  </a:lnTo>
                  <a:cubicBezTo>
                    <a:pt x="11091" y="19719"/>
                    <a:pt x="14046" y="19462"/>
                    <a:pt x="14223" y="19430"/>
                  </a:cubicBezTo>
                  <a:cubicBezTo>
                    <a:pt x="14400" y="19398"/>
                    <a:pt x="15537" y="18518"/>
                    <a:pt x="15688" y="18470"/>
                  </a:cubicBezTo>
                  <a:cubicBezTo>
                    <a:pt x="15840" y="18422"/>
                    <a:pt x="16851" y="17973"/>
                    <a:pt x="16851" y="17973"/>
                  </a:cubicBezTo>
                  <a:cubicBezTo>
                    <a:pt x="16851" y="17973"/>
                    <a:pt x="16971" y="17253"/>
                    <a:pt x="16996" y="17253"/>
                  </a:cubicBezTo>
                  <a:cubicBezTo>
                    <a:pt x="17021" y="17253"/>
                    <a:pt x="18448" y="16981"/>
                    <a:pt x="18493" y="16973"/>
                  </a:cubicBezTo>
                  <a:cubicBezTo>
                    <a:pt x="18537" y="16965"/>
                    <a:pt x="19247" y="17043"/>
                    <a:pt x="19247" y="17043"/>
                  </a:cubicBezTo>
                  <a:cubicBezTo>
                    <a:pt x="19290" y="16958"/>
                    <a:pt x="19475" y="16584"/>
                    <a:pt x="19453" y="1654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7" name="Shape">
              <a:extLst>
                <a:ext uri="{FF2B5EF4-FFF2-40B4-BE49-F238E27FC236}">
                  <a16:creationId xmlns:a16="http://schemas.microsoft.com/office/drawing/2014/main" id="{F1ED3698-3B70-404F-B8F2-02FDFD49AD29}"/>
                </a:ext>
              </a:extLst>
            </p:cNvPr>
            <p:cNvSpPr/>
            <p:nvPr/>
          </p:nvSpPr>
          <p:spPr>
            <a:xfrm>
              <a:off x="4876799" y="8280399"/>
              <a:ext cx="2032678" cy="1489815"/>
            </a:xfrm>
            <a:custGeom>
              <a:avLst/>
              <a:gdLst/>
              <a:ahLst/>
              <a:cxnLst>
                <a:cxn ang="0">
                  <a:pos x="wd2" y="hd2"/>
                </a:cxn>
                <a:cxn ang="5400000">
                  <a:pos x="wd2" y="hd2"/>
                </a:cxn>
                <a:cxn ang="10800000">
                  <a:pos x="wd2" y="hd2"/>
                </a:cxn>
                <a:cxn ang="16200000">
                  <a:pos x="wd2" y="hd2"/>
                </a:cxn>
              </a:cxnLst>
              <a:rect l="0" t="0" r="r" b="b"/>
              <a:pathLst>
                <a:path w="21600" h="21589" extrusionOk="0">
                  <a:moveTo>
                    <a:pt x="20735" y="10404"/>
                  </a:moveTo>
                  <a:cubicBezTo>
                    <a:pt x="20769" y="10389"/>
                    <a:pt x="21028" y="10396"/>
                    <a:pt x="21090" y="10404"/>
                  </a:cubicBezTo>
                  <a:cubicBezTo>
                    <a:pt x="21151" y="10412"/>
                    <a:pt x="21281" y="10189"/>
                    <a:pt x="21253" y="10143"/>
                  </a:cubicBezTo>
                  <a:cubicBezTo>
                    <a:pt x="21224" y="10097"/>
                    <a:pt x="20848" y="9100"/>
                    <a:pt x="20848" y="9100"/>
                  </a:cubicBezTo>
                  <a:lnTo>
                    <a:pt x="20212" y="9568"/>
                  </a:lnTo>
                  <a:lnTo>
                    <a:pt x="17789" y="7620"/>
                  </a:lnTo>
                  <a:lnTo>
                    <a:pt x="17789" y="6700"/>
                  </a:lnTo>
                  <a:lnTo>
                    <a:pt x="18598" y="6700"/>
                  </a:lnTo>
                  <a:cubicBezTo>
                    <a:pt x="18598" y="6700"/>
                    <a:pt x="17024" y="5535"/>
                    <a:pt x="16889" y="5381"/>
                  </a:cubicBezTo>
                  <a:cubicBezTo>
                    <a:pt x="16754" y="5228"/>
                    <a:pt x="16462" y="4706"/>
                    <a:pt x="16372" y="4522"/>
                  </a:cubicBezTo>
                  <a:cubicBezTo>
                    <a:pt x="16282" y="4338"/>
                    <a:pt x="15540" y="2222"/>
                    <a:pt x="15517" y="2099"/>
                  </a:cubicBezTo>
                  <a:cubicBezTo>
                    <a:pt x="15500" y="2008"/>
                    <a:pt x="15570" y="1073"/>
                    <a:pt x="15644" y="622"/>
                  </a:cubicBezTo>
                  <a:cubicBezTo>
                    <a:pt x="15429" y="564"/>
                    <a:pt x="13280" y="-11"/>
                    <a:pt x="13183" y="0"/>
                  </a:cubicBezTo>
                  <a:cubicBezTo>
                    <a:pt x="13082" y="11"/>
                    <a:pt x="12197" y="1236"/>
                    <a:pt x="12011" y="1305"/>
                  </a:cubicBezTo>
                  <a:cubicBezTo>
                    <a:pt x="11825" y="1374"/>
                    <a:pt x="9742" y="2295"/>
                    <a:pt x="9700" y="2306"/>
                  </a:cubicBezTo>
                  <a:cubicBezTo>
                    <a:pt x="9658" y="2318"/>
                    <a:pt x="9700" y="3307"/>
                    <a:pt x="9624" y="3318"/>
                  </a:cubicBezTo>
                  <a:cubicBezTo>
                    <a:pt x="9548" y="3330"/>
                    <a:pt x="8527" y="3019"/>
                    <a:pt x="8384" y="3008"/>
                  </a:cubicBezTo>
                  <a:cubicBezTo>
                    <a:pt x="8241" y="2996"/>
                    <a:pt x="7330" y="4089"/>
                    <a:pt x="7296" y="4135"/>
                  </a:cubicBezTo>
                  <a:cubicBezTo>
                    <a:pt x="7262" y="4181"/>
                    <a:pt x="7296" y="5550"/>
                    <a:pt x="7203" y="5561"/>
                  </a:cubicBezTo>
                  <a:cubicBezTo>
                    <a:pt x="7110" y="5573"/>
                    <a:pt x="6318" y="5331"/>
                    <a:pt x="6233" y="5331"/>
                  </a:cubicBezTo>
                  <a:cubicBezTo>
                    <a:pt x="6149" y="5331"/>
                    <a:pt x="6343" y="6827"/>
                    <a:pt x="6233" y="6838"/>
                  </a:cubicBezTo>
                  <a:cubicBezTo>
                    <a:pt x="6124" y="6850"/>
                    <a:pt x="5710" y="6907"/>
                    <a:pt x="5710" y="6907"/>
                  </a:cubicBezTo>
                  <a:cubicBezTo>
                    <a:pt x="5710" y="6907"/>
                    <a:pt x="5786" y="7402"/>
                    <a:pt x="5710" y="7413"/>
                  </a:cubicBezTo>
                  <a:cubicBezTo>
                    <a:pt x="5634" y="7425"/>
                    <a:pt x="4335" y="6631"/>
                    <a:pt x="4293" y="6608"/>
                  </a:cubicBezTo>
                  <a:cubicBezTo>
                    <a:pt x="4251" y="6585"/>
                    <a:pt x="4369" y="6171"/>
                    <a:pt x="4293" y="6159"/>
                  </a:cubicBezTo>
                  <a:cubicBezTo>
                    <a:pt x="4217" y="6148"/>
                    <a:pt x="3222" y="7436"/>
                    <a:pt x="3205" y="7505"/>
                  </a:cubicBezTo>
                  <a:cubicBezTo>
                    <a:pt x="3188" y="7574"/>
                    <a:pt x="3509" y="8897"/>
                    <a:pt x="3492" y="9012"/>
                  </a:cubicBezTo>
                  <a:cubicBezTo>
                    <a:pt x="3475" y="9127"/>
                    <a:pt x="2876" y="9081"/>
                    <a:pt x="2826" y="9093"/>
                  </a:cubicBezTo>
                  <a:cubicBezTo>
                    <a:pt x="2775" y="9104"/>
                    <a:pt x="3104" y="10427"/>
                    <a:pt x="3096" y="10530"/>
                  </a:cubicBezTo>
                  <a:cubicBezTo>
                    <a:pt x="3087" y="10634"/>
                    <a:pt x="2201" y="11842"/>
                    <a:pt x="2092" y="11876"/>
                  </a:cubicBezTo>
                  <a:cubicBezTo>
                    <a:pt x="1982" y="11911"/>
                    <a:pt x="1156" y="12267"/>
                    <a:pt x="919" y="12302"/>
                  </a:cubicBezTo>
                  <a:cubicBezTo>
                    <a:pt x="683" y="12336"/>
                    <a:pt x="413" y="12348"/>
                    <a:pt x="354" y="12451"/>
                  </a:cubicBezTo>
                  <a:cubicBezTo>
                    <a:pt x="295" y="12555"/>
                    <a:pt x="287" y="12624"/>
                    <a:pt x="287" y="12624"/>
                  </a:cubicBezTo>
                  <a:lnTo>
                    <a:pt x="751" y="12796"/>
                  </a:lnTo>
                  <a:cubicBezTo>
                    <a:pt x="751" y="12796"/>
                    <a:pt x="903" y="13832"/>
                    <a:pt x="818" y="14246"/>
                  </a:cubicBezTo>
                  <a:cubicBezTo>
                    <a:pt x="734" y="14660"/>
                    <a:pt x="616" y="15131"/>
                    <a:pt x="515" y="15154"/>
                  </a:cubicBezTo>
                  <a:cubicBezTo>
                    <a:pt x="413" y="15177"/>
                    <a:pt x="219" y="15097"/>
                    <a:pt x="143" y="15154"/>
                  </a:cubicBezTo>
                  <a:cubicBezTo>
                    <a:pt x="67" y="15212"/>
                    <a:pt x="0" y="15361"/>
                    <a:pt x="0" y="15361"/>
                  </a:cubicBezTo>
                  <a:cubicBezTo>
                    <a:pt x="0" y="15361"/>
                    <a:pt x="321" y="15983"/>
                    <a:pt x="321" y="16144"/>
                  </a:cubicBezTo>
                  <a:cubicBezTo>
                    <a:pt x="321" y="16289"/>
                    <a:pt x="60" y="17545"/>
                    <a:pt x="9" y="17790"/>
                  </a:cubicBezTo>
                  <a:lnTo>
                    <a:pt x="9" y="17790"/>
                  </a:lnTo>
                  <a:cubicBezTo>
                    <a:pt x="196" y="17848"/>
                    <a:pt x="818" y="18233"/>
                    <a:pt x="897" y="18310"/>
                  </a:cubicBezTo>
                  <a:cubicBezTo>
                    <a:pt x="976" y="18387"/>
                    <a:pt x="1808" y="20166"/>
                    <a:pt x="1920" y="20212"/>
                  </a:cubicBezTo>
                  <a:cubicBezTo>
                    <a:pt x="2033" y="20258"/>
                    <a:pt x="3236" y="20948"/>
                    <a:pt x="3326" y="20948"/>
                  </a:cubicBezTo>
                  <a:cubicBezTo>
                    <a:pt x="3416" y="20948"/>
                    <a:pt x="4136" y="19936"/>
                    <a:pt x="4203" y="19920"/>
                  </a:cubicBezTo>
                  <a:cubicBezTo>
                    <a:pt x="4271" y="19905"/>
                    <a:pt x="6138" y="19767"/>
                    <a:pt x="6273" y="19844"/>
                  </a:cubicBezTo>
                  <a:cubicBezTo>
                    <a:pt x="6384" y="19907"/>
                    <a:pt x="7209" y="21099"/>
                    <a:pt x="7542" y="21589"/>
                  </a:cubicBezTo>
                  <a:cubicBezTo>
                    <a:pt x="7592" y="21525"/>
                    <a:pt x="7738" y="21342"/>
                    <a:pt x="7832" y="21285"/>
                  </a:cubicBezTo>
                  <a:cubicBezTo>
                    <a:pt x="7945" y="21216"/>
                    <a:pt x="7718" y="20802"/>
                    <a:pt x="7617" y="20089"/>
                  </a:cubicBezTo>
                  <a:cubicBezTo>
                    <a:pt x="7515" y="19376"/>
                    <a:pt x="7583" y="18018"/>
                    <a:pt x="7515" y="17834"/>
                  </a:cubicBezTo>
                  <a:cubicBezTo>
                    <a:pt x="7448" y="17650"/>
                    <a:pt x="7026" y="17144"/>
                    <a:pt x="7026" y="17052"/>
                  </a:cubicBezTo>
                  <a:cubicBezTo>
                    <a:pt x="7026" y="16960"/>
                    <a:pt x="7296" y="15626"/>
                    <a:pt x="7380" y="15626"/>
                  </a:cubicBezTo>
                  <a:cubicBezTo>
                    <a:pt x="7465" y="15626"/>
                    <a:pt x="13200" y="15948"/>
                    <a:pt x="13453" y="16017"/>
                  </a:cubicBezTo>
                  <a:cubicBezTo>
                    <a:pt x="13706" y="16086"/>
                    <a:pt x="13959" y="15143"/>
                    <a:pt x="14010" y="15120"/>
                  </a:cubicBezTo>
                  <a:cubicBezTo>
                    <a:pt x="14061" y="15097"/>
                    <a:pt x="14752" y="15189"/>
                    <a:pt x="15056" y="15258"/>
                  </a:cubicBezTo>
                  <a:cubicBezTo>
                    <a:pt x="15062" y="15259"/>
                    <a:pt x="15070" y="15262"/>
                    <a:pt x="15077" y="15264"/>
                  </a:cubicBezTo>
                  <a:cubicBezTo>
                    <a:pt x="15077" y="15242"/>
                    <a:pt x="15077" y="15229"/>
                    <a:pt x="15077" y="15229"/>
                  </a:cubicBezTo>
                  <a:cubicBezTo>
                    <a:pt x="15077" y="15229"/>
                    <a:pt x="15077" y="15242"/>
                    <a:pt x="15077" y="15264"/>
                  </a:cubicBezTo>
                  <a:cubicBezTo>
                    <a:pt x="15401" y="15347"/>
                    <a:pt x="16359" y="15810"/>
                    <a:pt x="16574" y="15833"/>
                  </a:cubicBezTo>
                  <a:cubicBezTo>
                    <a:pt x="16728" y="15849"/>
                    <a:pt x="17223" y="15741"/>
                    <a:pt x="17604" y="15658"/>
                  </a:cubicBezTo>
                  <a:cubicBezTo>
                    <a:pt x="17609" y="15636"/>
                    <a:pt x="17612" y="15622"/>
                    <a:pt x="17612" y="15622"/>
                  </a:cubicBezTo>
                  <a:cubicBezTo>
                    <a:pt x="17612" y="15622"/>
                    <a:pt x="17609" y="15636"/>
                    <a:pt x="17604" y="15658"/>
                  </a:cubicBezTo>
                  <a:cubicBezTo>
                    <a:pt x="17765" y="15624"/>
                    <a:pt x="17906" y="15594"/>
                    <a:pt x="17991" y="15580"/>
                  </a:cubicBezTo>
                  <a:cubicBezTo>
                    <a:pt x="18278" y="15534"/>
                    <a:pt x="18936" y="13901"/>
                    <a:pt x="19003" y="13878"/>
                  </a:cubicBezTo>
                  <a:cubicBezTo>
                    <a:pt x="19071" y="13855"/>
                    <a:pt x="20538" y="14131"/>
                    <a:pt x="20640" y="14131"/>
                  </a:cubicBezTo>
                  <a:cubicBezTo>
                    <a:pt x="20732" y="14131"/>
                    <a:pt x="21476" y="12476"/>
                    <a:pt x="21600" y="12198"/>
                  </a:cubicBezTo>
                  <a:cubicBezTo>
                    <a:pt x="21431" y="11863"/>
                    <a:pt x="20705" y="10417"/>
                    <a:pt x="20735" y="10404"/>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8" name="Shape">
              <a:extLst>
                <a:ext uri="{FF2B5EF4-FFF2-40B4-BE49-F238E27FC236}">
                  <a16:creationId xmlns:a16="http://schemas.microsoft.com/office/drawing/2014/main" id="{E885DCEC-3741-2F45-8D19-AD7EBED5555E}"/>
                </a:ext>
              </a:extLst>
            </p:cNvPr>
            <p:cNvSpPr/>
            <p:nvPr/>
          </p:nvSpPr>
          <p:spPr>
            <a:xfrm>
              <a:off x="6337299" y="5981699"/>
              <a:ext cx="4079052" cy="3199332"/>
            </a:xfrm>
            <a:custGeom>
              <a:avLst/>
              <a:gdLst/>
              <a:ahLst/>
              <a:cxnLst>
                <a:cxn ang="0">
                  <a:pos x="wd2" y="hd2"/>
                </a:cxn>
                <a:cxn ang="5400000">
                  <a:pos x="wd2" y="hd2"/>
                </a:cxn>
                <a:cxn ang="10800000">
                  <a:pos x="wd2" y="hd2"/>
                </a:cxn>
                <a:cxn ang="16200000">
                  <a:pos x="wd2" y="hd2"/>
                </a:cxn>
              </a:cxnLst>
              <a:rect l="0" t="0" r="r" b="b"/>
              <a:pathLst>
                <a:path w="21593" h="21595" extrusionOk="0">
                  <a:moveTo>
                    <a:pt x="18159" y="16652"/>
                  </a:moveTo>
                  <a:lnTo>
                    <a:pt x="18467" y="16466"/>
                  </a:lnTo>
                  <a:cubicBezTo>
                    <a:pt x="18467" y="16466"/>
                    <a:pt x="19046" y="14959"/>
                    <a:pt x="19144" y="14798"/>
                  </a:cubicBezTo>
                  <a:cubicBezTo>
                    <a:pt x="19243" y="14637"/>
                    <a:pt x="20966" y="12526"/>
                    <a:pt x="20966" y="12526"/>
                  </a:cubicBezTo>
                  <a:cubicBezTo>
                    <a:pt x="20966" y="12526"/>
                    <a:pt x="21044" y="8801"/>
                    <a:pt x="21089" y="8272"/>
                  </a:cubicBezTo>
                  <a:cubicBezTo>
                    <a:pt x="21134" y="7744"/>
                    <a:pt x="21246" y="6672"/>
                    <a:pt x="21246" y="6672"/>
                  </a:cubicBezTo>
                  <a:lnTo>
                    <a:pt x="21593" y="5901"/>
                  </a:lnTo>
                  <a:cubicBezTo>
                    <a:pt x="21593" y="5901"/>
                    <a:pt x="21100" y="5586"/>
                    <a:pt x="21055" y="5601"/>
                  </a:cubicBezTo>
                  <a:cubicBezTo>
                    <a:pt x="21010" y="5615"/>
                    <a:pt x="21044" y="5515"/>
                    <a:pt x="21010" y="5443"/>
                  </a:cubicBezTo>
                  <a:cubicBezTo>
                    <a:pt x="20977" y="5372"/>
                    <a:pt x="20820" y="5143"/>
                    <a:pt x="20820" y="5058"/>
                  </a:cubicBezTo>
                  <a:cubicBezTo>
                    <a:pt x="20820" y="4972"/>
                    <a:pt x="20932" y="4843"/>
                    <a:pt x="20910" y="4743"/>
                  </a:cubicBezTo>
                  <a:cubicBezTo>
                    <a:pt x="20887" y="4643"/>
                    <a:pt x="20540" y="3900"/>
                    <a:pt x="20506" y="3786"/>
                  </a:cubicBezTo>
                  <a:cubicBezTo>
                    <a:pt x="20473" y="3672"/>
                    <a:pt x="20562" y="2972"/>
                    <a:pt x="20506" y="2815"/>
                  </a:cubicBezTo>
                  <a:cubicBezTo>
                    <a:pt x="20452" y="2663"/>
                    <a:pt x="20267" y="1030"/>
                    <a:pt x="20256" y="924"/>
                  </a:cubicBezTo>
                  <a:cubicBezTo>
                    <a:pt x="19685" y="1285"/>
                    <a:pt x="19145" y="1628"/>
                    <a:pt x="19117" y="1618"/>
                  </a:cubicBezTo>
                  <a:cubicBezTo>
                    <a:pt x="19058" y="1597"/>
                    <a:pt x="18167" y="611"/>
                    <a:pt x="18167" y="611"/>
                  </a:cubicBezTo>
                  <a:lnTo>
                    <a:pt x="16133" y="0"/>
                  </a:lnTo>
                  <a:cubicBezTo>
                    <a:pt x="15824" y="250"/>
                    <a:pt x="10028" y="4931"/>
                    <a:pt x="9951" y="5015"/>
                  </a:cubicBezTo>
                  <a:cubicBezTo>
                    <a:pt x="9873" y="5101"/>
                    <a:pt x="7923" y="7586"/>
                    <a:pt x="7744" y="7629"/>
                  </a:cubicBezTo>
                  <a:cubicBezTo>
                    <a:pt x="7640" y="7654"/>
                    <a:pt x="6547" y="7949"/>
                    <a:pt x="5628" y="8183"/>
                  </a:cubicBezTo>
                  <a:cubicBezTo>
                    <a:pt x="5627" y="8460"/>
                    <a:pt x="5614" y="11804"/>
                    <a:pt x="5581" y="12201"/>
                  </a:cubicBezTo>
                  <a:cubicBezTo>
                    <a:pt x="5548" y="12616"/>
                    <a:pt x="5536" y="13030"/>
                    <a:pt x="5480" y="13216"/>
                  </a:cubicBezTo>
                  <a:cubicBezTo>
                    <a:pt x="5424" y="13401"/>
                    <a:pt x="5122" y="14344"/>
                    <a:pt x="5077" y="14416"/>
                  </a:cubicBezTo>
                  <a:cubicBezTo>
                    <a:pt x="5032" y="14487"/>
                    <a:pt x="4618" y="15044"/>
                    <a:pt x="4573" y="15044"/>
                  </a:cubicBezTo>
                  <a:cubicBezTo>
                    <a:pt x="4528" y="15044"/>
                    <a:pt x="3979" y="14901"/>
                    <a:pt x="3901" y="14901"/>
                  </a:cubicBezTo>
                  <a:cubicBezTo>
                    <a:pt x="3822" y="14901"/>
                    <a:pt x="3094" y="15001"/>
                    <a:pt x="2690" y="15044"/>
                  </a:cubicBezTo>
                  <a:cubicBezTo>
                    <a:pt x="2287" y="15087"/>
                    <a:pt x="1604" y="15144"/>
                    <a:pt x="1604" y="15144"/>
                  </a:cubicBezTo>
                  <a:cubicBezTo>
                    <a:pt x="1604" y="15144"/>
                    <a:pt x="1155" y="15687"/>
                    <a:pt x="1088" y="15702"/>
                  </a:cubicBezTo>
                  <a:cubicBezTo>
                    <a:pt x="1021" y="15716"/>
                    <a:pt x="147" y="15730"/>
                    <a:pt x="102" y="15702"/>
                  </a:cubicBezTo>
                  <a:cubicBezTo>
                    <a:pt x="91" y="15694"/>
                    <a:pt x="78" y="15740"/>
                    <a:pt x="65" y="15813"/>
                  </a:cubicBezTo>
                  <a:cubicBezTo>
                    <a:pt x="70" y="15815"/>
                    <a:pt x="74" y="15816"/>
                    <a:pt x="74" y="15816"/>
                  </a:cubicBezTo>
                  <a:cubicBezTo>
                    <a:pt x="74" y="15816"/>
                    <a:pt x="70" y="15815"/>
                    <a:pt x="65" y="15813"/>
                  </a:cubicBezTo>
                  <a:cubicBezTo>
                    <a:pt x="28" y="16024"/>
                    <a:pt x="-7" y="16459"/>
                    <a:pt x="1" y="16502"/>
                  </a:cubicBezTo>
                  <a:cubicBezTo>
                    <a:pt x="13" y="16559"/>
                    <a:pt x="382" y="17545"/>
                    <a:pt x="427" y="17630"/>
                  </a:cubicBezTo>
                  <a:cubicBezTo>
                    <a:pt x="472" y="17716"/>
                    <a:pt x="618" y="17959"/>
                    <a:pt x="685" y="18030"/>
                  </a:cubicBezTo>
                  <a:cubicBezTo>
                    <a:pt x="752" y="18102"/>
                    <a:pt x="1536" y="18645"/>
                    <a:pt x="1536" y="18645"/>
                  </a:cubicBezTo>
                  <a:lnTo>
                    <a:pt x="1133" y="18645"/>
                  </a:lnTo>
                  <a:lnTo>
                    <a:pt x="1133" y="19073"/>
                  </a:lnTo>
                  <a:lnTo>
                    <a:pt x="2340" y="19981"/>
                  </a:lnTo>
                  <a:lnTo>
                    <a:pt x="2657" y="19763"/>
                  </a:lnTo>
                  <a:cubicBezTo>
                    <a:pt x="2657" y="19763"/>
                    <a:pt x="2845" y="20227"/>
                    <a:pt x="2859" y="20248"/>
                  </a:cubicBezTo>
                  <a:cubicBezTo>
                    <a:pt x="2873" y="20270"/>
                    <a:pt x="2808" y="20373"/>
                    <a:pt x="2777" y="20370"/>
                  </a:cubicBezTo>
                  <a:cubicBezTo>
                    <a:pt x="2746" y="20366"/>
                    <a:pt x="2618" y="20363"/>
                    <a:pt x="2601" y="20370"/>
                  </a:cubicBezTo>
                  <a:cubicBezTo>
                    <a:pt x="2586" y="20376"/>
                    <a:pt x="2948" y="21050"/>
                    <a:pt x="3032" y="21205"/>
                  </a:cubicBezTo>
                  <a:cubicBezTo>
                    <a:pt x="3037" y="21194"/>
                    <a:pt x="3041" y="21187"/>
                    <a:pt x="3041" y="21187"/>
                  </a:cubicBezTo>
                  <a:cubicBezTo>
                    <a:pt x="3041" y="21187"/>
                    <a:pt x="3037" y="21194"/>
                    <a:pt x="3032" y="21205"/>
                  </a:cubicBezTo>
                  <a:cubicBezTo>
                    <a:pt x="3043" y="21226"/>
                    <a:pt x="3049" y="21238"/>
                    <a:pt x="3049" y="21238"/>
                  </a:cubicBezTo>
                  <a:lnTo>
                    <a:pt x="3027" y="20645"/>
                  </a:lnTo>
                  <a:lnTo>
                    <a:pt x="3665" y="20345"/>
                  </a:lnTo>
                  <a:cubicBezTo>
                    <a:pt x="3665" y="20345"/>
                    <a:pt x="4666" y="21600"/>
                    <a:pt x="4690" y="21595"/>
                  </a:cubicBezTo>
                  <a:cubicBezTo>
                    <a:pt x="4694" y="21575"/>
                    <a:pt x="4697" y="21561"/>
                    <a:pt x="4697" y="21561"/>
                  </a:cubicBezTo>
                  <a:cubicBezTo>
                    <a:pt x="4719" y="21346"/>
                    <a:pt x="4749" y="20153"/>
                    <a:pt x="4775" y="20088"/>
                  </a:cubicBezTo>
                  <a:cubicBezTo>
                    <a:pt x="4803" y="20016"/>
                    <a:pt x="5307" y="19480"/>
                    <a:pt x="5312" y="19445"/>
                  </a:cubicBezTo>
                  <a:cubicBezTo>
                    <a:pt x="5318" y="19409"/>
                    <a:pt x="5419" y="18416"/>
                    <a:pt x="5452" y="18388"/>
                  </a:cubicBezTo>
                  <a:cubicBezTo>
                    <a:pt x="5486" y="18359"/>
                    <a:pt x="7262" y="17687"/>
                    <a:pt x="7318" y="17687"/>
                  </a:cubicBezTo>
                  <a:cubicBezTo>
                    <a:pt x="7374" y="17687"/>
                    <a:pt x="8495" y="18116"/>
                    <a:pt x="8562" y="18159"/>
                  </a:cubicBezTo>
                  <a:cubicBezTo>
                    <a:pt x="8629" y="18202"/>
                    <a:pt x="9212" y="19259"/>
                    <a:pt x="9279" y="19273"/>
                  </a:cubicBezTo>
                  <a:cubicBezTo>
                    <a:pt x="9346" y="19288"/>
                    <a:pt x="10332" y="18659"/>
                    <a:pt x="10399" y="18645"/>
                  </a:cubicBezTo>
                  <a:cubicBezTo>
                    <a:pt x="10467" y="18630"/>
                    <a:pt x="11968" y="19588"/>
                    <a:pt x="12024" y="19588"/>
                  </a:cubicBezTo>
                  <a:cubicBezTo>
                    <a:pt x="12080" y="19588"/>
                    <a:pt x="12920" y="19630"/>
                    <a:pt x="12988" y="19588"/>
                  </a:cubicBezTo>
                  <a:cubicBezTo>
                    <a:pt x="13055" y="19545"/>
                    <a:pt x="13380" y="18945"/>
                    <a:pt x="13458" y="18916"/>
                  </a:cubicBezTo>
                  <a:cubicBezTo>
                    <a:pt x="13537" y="18888"/>
                    <a:pt x="13458" y="18930"/>
                    <a:pt x="13772" y="18802"/>
                  </a:cubicBezTo>
                  <a:cubicBezTo>
                    <a:pt x="14086" y="18673"/>
                    <a:pt x="14355" y="18573"/>
                    <a:pt x="14355" y="18573"/>
                  </a:cubicBezTo>
                  <a:lnTo>
                    <a:pt x="15453" y="18545"/>
                  </a:lnTo>
                  <a:cubicBezTo>
                    <a:pt x="15453" y="18545"/>
                    <a:pt x="16528" y="19102"/>
                    <a:pt x="16562" y="19102"/>
                  </a:cubicBezTo>
                  <a:cubicBezTo>
                    <a:pt x="16596" y="19102"/>
                    <a:pt x="16853" y="19088"/>
                    <a:pt x="16853" y="19088"/>
                  </a:cubicBezTo>
                  <a:cubicBezTo>
                    <a:pt x="16853" y="19088"/>
                    <a:pt x="17246" y="18445"/>
                    <a:pt x="17279" y="18416"/>
                  </a:cubicBezTo>
                  <a:cubicBezTo>
                    <a:pt x="17313" y="18388"/>
                    <a:pt x="18097" y="18073"/>
                    <a:pt x="18142" y="18073"/>
                  </a:cubicBezTo>
                  <a:cubicBezTo>
                    <a:pt x="18182" y="18073"/>
                    <a:pt x="18349" y="18027"/>
                    <a:pt x="18382" y="18018"/>
                  </a:cubicBezTo>
                  <a:cubicBezTo>
                    <a:pt x="18377" y="18009"/>
                    <a:pt x="18374" y="18003"/>
                    <a:pt x="18374" y="18003"/>
                  </a:cubicBezTo>
                  <a:cubicBezTo>
                    <a:pt x="18374" y="18003"/>
                    <a:pt x="18377" y="18009"/>
                    <a:pt x="18382" y="18018"/>
                  </a:cubicBezTo>
                  <a:cubicBezTo>
                    <a:pt x="18386" y="18017"/>
                    <a:pt x="18388" y="18016"/>
                    <a:pt x="18388" y="18016"/>
                  </a:cubicBezTo>
                  <a:cubicBezTo>
                    <a:pt x="18388" y="18016"/>
                    <a:pt x="18159" y="16652"/>
                    <a:pt x="18159" y="16652"/>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29" name="Shape">
              <a:extLst>
                <a:ext uri="{FF2B5EF4-FFF2-40B4-BE49-F238E27FC236}">
                  <a16:creationId xmlns:a16="http://schemas.microsoft.com/office/drawing/2014/main" id="{CED95200-8481-5B4C-9C1B-1A95EA3C656A}"/>
                </a:ext>
              </a:extLst>
            </p:cNvPr>
            <p:cNvSpPr/>
            <p:nvPr/>
          </p:nvSpPr>
          <p:spPr>
            <a:xfrm>
              <a:off x="8712199" y="3162299"/>
              <a:ext cx="4051946" cy="3940935"/>
            </a:xfrm>
            <a:custGeom>
              <a:avLst/>
              <a:gdLst/>
              <a:ahLst/>
              <a:cxnLst>
                <a:cxn ang="0">
                  <a:pos x="wd2" y="hd2"/>
                </a:cxn>
                <a:cxn ang="5400000">
                  <a:pos x="wd2" y="hd2"/>
                </a:cxn>
                <a:cxn ang="10800000">
                  <a:pos x="wd2" y="hd2"/>
                </a:cxn>
                <a:cxn ang="16200000">
                  <a:pos x="wd2" y="hd2"/>
                </a:cxn>
              </a:cxnLst>
              <a:rect l="0" t="0" r="r" b="b"/>
              <a:pathLst>
                <a:path w="21582" h="21600" extrusionOk="0">
                  <a:moveTo>
                    <a:pt x="2879" y="862"/>
                  </a:moveTo>
                  <a:cubicBezTo>
                    <a:pt x="2879" y="862"/>
                    <a:pt x="3026" y="1118"/>
                    <a:pt x="3015" y="1153"/>
                  </a:cubicBezTo>
                  <a:cubicBezTo>
                    <a:pt x="3003" y="1187"/>
                    <a:pt x="2056" y="1651"/>
                    <a:pt x="1978" y="1721"/>
                  </a:cubicBezTo>
                  <a:cubicBezTo>
                    <a:pt x="1899" y="1791"/>
                    <a:pt x="1583" y="2347"/>
                    <a:pt x="1549" y="2382"/>
                  </a:cubicBezTo>
                  <a:cubicBezTo>
                    <a:pt x="1515" y="2417"/>
                    <a:pt x="1369" y="2324"/>
                    <a:pt x="1301" y="2382"/>
                  </a:cubicBezTo>
                  <a:cubicBezTo>
                    <a:pt x="1233" y="2440"/>
                    <a:pt x="1019" y="2788"/>
                    <a:pt x="1019" y="2788"/>
                  </a:cubicBezTo>
                  <a:cubicBezTo>
                    <a:pt x="1019" y="2788"/>
                    <a:pt x="1222" y="3392"/>
                    <a:pt x="1222" y="3461"/>
                  </a:cubicBezTo>
                  <a:cubicBezTo>
                    <a:pt x="1222" y="3531"/>
                    <a:pt x="1188" y="3937"/>
                    <a:pt x="1177" y="3995"/>
                  </a:cubicBezTo>
                  <a:cubicBezTo>
                    <a:pt x="1166" y="4053"/>
                    <a:pt x="737" y="4668"/>
                    <a:pt x="681" y="4703"/>
                  </a:cubicBezTo>
                  <a:cubicBezTo>
                    <a:pt x="645" y="4725"/>
                    <a:pt x="429" y="4793"/>
                    <a:pt x="261" y="4840"/>
                  </a:cubicBezTo>
                  <a:cubicBezTo>
                    <a:pt x="263" y="4848"/>
                    <a:pt x="264" y="4853"/>
                    <a:pt x="264" y="4853"/>
                  </a:cubicBezTo>
                  <a:cubicBezTo>
                    <a:pt x="264" y="4853"/>
                    <a:pt x="263" y="4848"/>
                    <a:pt x="261" y="4840"/>
                  </a:cubicBezTo>
                  <a:cubicBezTo>
                    <a:pt x="163" y="4868"/>
                    <a:pt x="82" y="4888"/>
                    <a:pt x="61" y="4888"/>
                  </a:cubicBezTo>
                  <a:cubicBezTo>
                    <a:pt x="5" y="4888"/>
                    <a:pt x="-18" y="5155"/>
                    <a:pt x="16" y="5178"/>
                  </a:cubicBezTo>
                  <a:cubicBezTo>
                    <a:pt x="50" y="5201"/>
                    <a:pt x="315" y="5625"/>
                    <a:pt x="439" y="5961"/>
                  </a:cubicBezTo>
                  <a:cubicBezTo>
                    <a:pt x="563" y="6298"/>
                    <a:pt x="664" y="6727"/>
                    <a:pt x="675" y="6889"/>
                  </a:cubicBezTo>
                  <a:cubicBezTo>
                    <a:pt x="687" y="7052"/>
                    <a:pt x="754" y="8647"/>
                    <a:pt x="754" y="8722"/>
                  </a:cubicBezTo>
                  <a:cubicBezTo>
                    <a:pt x="754" y="8798"/>
                    <a:pt x="501" y="9552"/>
                    <a:pt x="506" y="9627"/>
                  </a:cubicBezTo>
                  <a:cubicBezTo>
                    <a:pt x="512" y="9703"/>
                    <a:pt x="754" y="10190"/>
                    <a:pt x="743" y="10277"/>
                  </a:cubicBezTo>
                  <a:cubicBezTo>
                    <a:pt x="732" y="10364"/>
                    <a:pt x="647" y="10741"/>
                    <a:pt x="622" y="10819"/>
                  </a:cubicBezTo>
                  <a:cubicBezTo>
                    <a:pt x="596" y="10898"/>
                    <a:pt x="224" y="10967"/>
                    <a:pt x="191" y="11019"/>
                  </a:cubicBezTo>
                  <a:cubicBezTo>
                    <a:pt x="157" y="11072"/>
                    <a:pt x="49" y="11267"/>
                    <a:pt x="36" y="11300"/>
                  </a:cubicBezTo>
                  <a:cubicBezTo>
                    <a:pt x="24" y="11333"/>
                    <a:pt x="884" y="12568"/>
                    <a:pt x="884" y="12681"/>
                  </a:cubicBezTo>
                  <a:cubicBezTo>
                    <a:pt x="884" y="12794"/>
                    <a:pt x="1045" y="13595"/>
                    <a:pt x="1078" y="13647"/>
                  </a:cubicBezTo>
                  <a:cubicBezTo>
                    <a:pt x="1112" y="13699"/>
                    <a:pt x="1256" y="13891"/>
                    <a:pt x="1315" y="13926"/>
                  </a:cubicBezTo>
                  <a:cubicBezTo>
                    <a:pt x="1374" y="13960"/>
                    <a:pt x="1594" y="13865"/>
                    <a:pt x="1729" y="13856"/>
                  </a:cubicBezTo>
                  <a:cubicBezTo>
                    <a:pt x="1865" y="13847"/>
                    <a:pt x="1975" y="13847"/>
                    <a:pt x="2009" y="13882"/>
                  </a:cubicBezTo>
                  <a:cubicBezTo>
                    <a:pt x="2042" y="13917"/>
                    <a:pt x="2710" y="14369"/>
                    <a:pt x="2786" y="14395"/>
                  </a:cubicBezTo>
                  <a:cubicBezTo>
                    <a:pt x="2863" y="14422"/>
                    <a:pt x="2957" y="14308"/>
                    <a:pt x="3015" y="14335"/>
                  </a:cubicBezTo>
                  <a:cubicBezTo>
                    <a:pt x="3074" y="14361"/>
                    <a:pt x="3564" y="15492"/>
                    <a:pt x="3564" y="15492"/>
                  </a:cubicBezTo>
                  <a:lnTo>
                    <a:pt x="3564" y="15492"/>
                  </a:lnTo>
                  <a:cubicBezTo>
                    <a:pt x="3573" y="15486"/>
                    <a:pt x="3578" y="15483"/>
                    <a:pt x="3578" y="15483"/>
                  </a:cubicBezTo>
                  <a:cubicBezTo>
                    <a:pt x="3578" y="15483"/>
                    <a:pt x="3573" y="15486"/>
                    <a:pt x="3564" y="15492"/>
                  </a:cubicBezTo>
                  <a:lnTo>
                    <a:pt x="5611" y="15988"/>
                  </a:lnTo>
                  <a:cubicBezTo>
                    <a:pt x="5611" y="15988"/>
                    <a:pt x="6507" y="16788"/>
                    <a:pt x="6566" y="16806"/>
                  </a:cubicBezTo>
                  <a:cubicBezTo>
                    <a:pt x="6594" y="16814"/>
                    <a:pt x="7138" y="16535"/>
                    <a:pt x="7712" y="16242"/>
                  </a:cubicBezTo>
                  <a:cubicBezTo>
                    <a:pt x="7711" y="16239"/>
                    <a:pt x="7711" y="16238"/>
                    <a:pt x="7711" y="16238"/>
                  </a:cubicBezTo>
                  <a:cubicBezTo>
                    <a:pt x="7711" y="16238"/>
                    <a:pt x="7711" y="16239"/>
                    <a:pt x="7712" y="16242"/>
                  </a:cubicBezTo>
                  <a:cubicBezTo>
                    <a:pt x="8345" y="15919"/>
                    <a:pt x="9016" y="15578"/>
                    <a:pt x="9069" y="15587"/>
                  </a:cubicBezTo>
                  <a:cubicBezTo>
                    <a:pt x="9168" y="15604"/>
                    <a:pt x="19608" y="21351"/>
                    <a:pt x="20061" y="21600"/>
                  </a:cubicBezTo>
                  <a:lnTo>
                    <a:pt x="20061" y="20852"/>
                  </a:lnTo>
                  <a:lnTo>
                    <a:pt x="21363" y="20852"/>
                  </a:lnTo>
                  <a:cubicBezTo>
                    <a:pt x="21363" y="20852"/>
                    <a:pt x="21365" y="19573"/>
                    <a:pt x="21367" y="17777"/>
                  </a:cubicBezTo>
                  <a:lnTo>
                    <a:pt x="21350" y="17777"/>
                  </a:lnTo>
                  <a:lnTo>
                    <a:pt x="21367" y="17777"/>
                  </a:lnTo>
                  <a:cubicBezTo>
                    <a:pt x="21370" y="13626"/>
                    <a:pt x="21375" y="6710"/>
                    <a:pt x="21363" y="6443"/>
                  </a:cubicBezTo>
                  <a:cubicBezTo>
                    <a:pt x="21346" y="6060"/>
                    <a:pt x="20974" y="4981"/>
                    <a:pt x="20974" y="4981"/>
                  </a:cubicBezTo>
                  <a:cubicBezTo>
                    <a:pt x="20974" y="4981"/>
                    <a:pt x="21414" y="4146"/>
                    <a:pt x="21482" y="3972"/>
                  </a:cubicBezTo>
                  <a:cubicBezTo>
                    <a:pt x="21549" y="3798"/>
                    <a:pt x="21211" y="2962"/>
                    <a:pt x="21211" y="2962"/>
                  </a:cubicBezTo>
                  <a:lnTo>
                    <a:pt x="21582" y="2461"/>
                  </a:lnTo>
                  <a:cubicBezTo>
                    <a:pt x="21568" y="2408"/>
                    <a:pt x="21558" y="2353"/>
                    <a:pt x="21550" y="2298"/>
                  </a:cubicBezTo>
                  <a:cubicBezTo>
                    <a:pt x="21534" y="2200"/>
                    <a:pt x="21562" y="2078"/>
                    <a:pt x="21495" y="1996"/>
                  </a:cubicBezTo>
                  <a:cubicBezTo>
                    <a:pt x="21453" y="1944"/>
                    <a:pt x="21385" y="1924"/>
                    <a:pt x="21320" y="1913"/>
                  </a:cubicBezTo>
                  <a:cubicBezTo>
                    <a:pt x="21135" y="1884"/>
                    <a:pt x="20947" y="1908"/>
                    <a:pt x="20761" y="1917"/>
                  </a:cubicBezTo>
                  <a:cubicBezTo>
                    <a:pt x="20570" y="1927"/>
                    <a:pt x="20378" y="1921"/>
                    <a:pt x="20189" y="1899"/>
                  </a:cubicBezTo>
                  <a:cubicBezTo>
                    <a:pt x="20087" y="1888"/>
                    <a:pt x="20035" y="1813"/>
                    <a:pt x="19971" y="1744"/>
                  </a:cubicBezTo>
                  <a:cubicBezTo>
                    <a:pt x="19924" y="1693"/>
                    <a:pt x="19850" y="1679"/>
                    <a:pt x="19781" y="1671"/>
                  </a:cubicBezTo>
                  <a:cubicBezTo>
                    <a:pt x="19581" y="1646"/>
                    <a:pt x="19379" y="1642"/>
                    <a:pt x="19178" y="1658"/>
                  </a:cubicBezTo>
                  <a:cubicBezTo>
                    <a:pt x="19096" y="1664"/>
                    <a:pt x="18989" y="1660"/>
                    <a:pt x="18960" y="1579"/>
                  </a:cubicBezTo>
                  <a:cubicBezTo>
                    <a:pt x="18954" y="1561"/>
                    <a:pt x="18953" y="1541"/>
                    <a:pt x="18942" y="1524"/>
                  </a:cubicBezTo>
                  <a:cubicBezTo>
                    <a:pt x="18919" y="1487"/>
                    <a:pt x="18864" y="1491"/>
                    <a:pt x="18828" y="1466"/>
                  </a:cubicBezTo>
                  <a:cubicBezTo>
                    <a:pt x="18755" y="1417"/>
                    <a:pt x="18798" y="1304"/>
                    <a:pt x="18814" y="1215"/>
                  </a:cubicBezTo>
                  <a:cubicBezTo>
                    <a:pt x="18853" y="1008"/>
                    <a:pt x="18688" y="811"/>
                    <a:pt x="18499" y="729"/>
                  </a:cubicBezTo>
                  <a:cubicBezTo>
                    <a:pt x="18310" y="647"/>
                    <a:pt x="18099" y="644"/>
                    <a:pt x="17898" y="605"/>
                  </a:cubicBezTo>
                  <a:cubicBezTo>
                    <a:pt x="17636" y="553"/>
                    <a:pt x="17388" y="419"/>
                    <a:pt x="17124" y="383"/>
                  </a:cubicBezTo>
                  <a:cubicBezTo>
                    <a:pt x="16915" y="354"/>
                    <a:pt x="16640" y="477"/>
                    <a:pt x="16444" y="551"/>
                  </a:cubicBezTo>
                  <a:cubicBezTo>
                    <a:pt x="16335" y="593"/>
                    <a:pt x="16241" y="663"/>
                    <a:pt x="16133" y="700"/>
                  </a:cubicBezTo>
                  <a:cubicBezTo>
                    <a:pt x="15988" y="749"/>
                    <a:pt x="15837" y="755"/>
                    <a:pt x="15695" y="819"/>
                  </a:cubicBezTo>
                  <a:cubicBezTo>
                    <a:pt x="15616" y="855"/>
                    <a:pt x="15541" y="901"/>
                    <a:pt x="15467" y="946"/>
                  </a:cubicBezTo>
                  <a:cubicBezTo>
                    <a:pt x="15447" y="959"/>
                    <a:pt x="15426" y="972"/>
                    <a:pt x="15411" y="991"/>
                  </a:cubicBezTo>
                  <a:cubicBezTo>
                    <a:pt x="15400" y="1005"/>
                    <a:pt x="15392" y="1022"/>
                    <a:pt x="15383" y="1037"/>
                  </a:cubicBezTo>
                  <a:cubicBezTo>
                    <a:pt x="15318" y="1147"/>
                    <a:pt x="15118" y="1241"/>
                    <a:pt x="15013" y="1315"/>
                  </a:cubicBezTo>
                  <a:cubicBezTo>
                    <a:pt x="14872" y="1415"/>
                    <a:pt x="14740" y="1530"/>
                    <a:pt x="14639" y="1674"/>
                  </a:cubicBezTo>
                  <a:cubicBezTo>
                    <a:pt x="14386" y="2034"/>
                    <a:pt x="14370" y="2553"/>
                    <a:pt x="14600" y="2929"/>
                  </a:cubicBezTo>
                  <a:cubicBezTo>
                    <a:pt x="14666" y="3036"/>
                    <a:pt x="14752" y="3137"/>
                    <a:pt x="14768" y="3263"/>
                  </a:cubicBezTo>
                  <a:cubicBezTo>
                    <a:pt x="14782" y="3371"/>
                    <a:pt x="14741" y="3479"/>
                    <a:pt x="14701" y="3580"/>
                  </a:cubicBezTo>
                  <a:cubicBezTo>
                    <a:pt x="14580" y="3883"/>
                    <a:pt x="14453" y="4196"/>
                    <a:pt x="14216" y="4414"/>
                  </a:cubicBezTo>
                  <a:cubicBezTo>
                    <a:pt x="13933" y="4675"/>
                    <a:pt x="13534" y="4760"/>
                    <a:pt x="13154" y="4766"/>
                  </a:cubicBezTo>
                  <a:cubicBezTo>
                    <a:pt x="13082" y="4767"/>
                    <a:pt x="13008" y="4766"/>
                    <a:pt x="12940" y="4739"/>
                  </a:cubicBezTo>
                  <a:cubicBezTo>
                    <a:pt x="12850" y="4704"/>
                    <a:pt x="12781" y="4629"/>
                    <a:pt x="12713" y="4559"/>
                  </a:cubicBezTo>
                  <a:cubicBezTo>
                    <a:pt x="11992" y="3813"/>
                    <a:pt x="10999" y="3351"/>
                    <a:pt x="9978" y="3287"/>
                  </a:cubicBezTo>
                  <a:cubicBezTo>
                    <a:pt x="9714" y="3270"/>
                    <a:pt x="9445" y="3279"/>
                    <a:pt x="9190" y="3209"/>
                  </a:cubicBezTo>
                  <a:cubicBezTo>
                    <a:pt x="8675" y="3069"/>
                    <a:pt x="8263" y="2591"/>
                    <a:pt x="8189" y="2049"/>
                  </a:cubicBezTo>
                  <a:cubicBezTo>
                    <a:pt x="8150" y="1759"/>
                    <a:pt x="8156" y="1388"/>
                    <a:pt x="7895" y="1272"/>
                  </a:cubicBezTo>
                  <a:cubicBezTo>
                    <a:pt x="7751" y="1208"/>
                    <a:pt x="7585" y="1261"/>
                    <a:pt x="7429" y="1248"/>
                  </a:cubicBezTo>
                  <a:cubicBezTo>
                    <a:pt x="7221" y="1230"/>
                    <a:pt x="7042" y="1098"/>
                    <a:pt x="6863" y="987"/>
                  </a:cubicBezTo>
                  <a:cubicBezTo>
                    <a:pt x="6555" y="796"/>
                    <a:pt x="6218" y="656"/>
                    <a:pt x="5867" y="573"/>
                  </a:cubicBezTo>
                  <a:cubicBezTo>
                    <a:pt x="5560" y="500"/>
                    <a:pt x="5268" y="390"/>
                    <a:pt x="4958" y="495"/>
                  </a:cubicBezTo>
                  <a:cubicBezTo>
                    <a:pt x="4742" y="569"/>
                    <a:pt x="4526" y="680"/>
                    <a:pt x="4300" y="654"/>
                  </a:cubicBezTo>
                  <a:cubicBezTo>
                    <a:pt x="4156" y="638"/>
                    <a:pt x="4024" y="567"/>
                    <a:pt x="3895" y="498"/>
                  </a:cubicBezTo>
                  <a:cubicBezTo>
                    <a:pt x="3631" y="354"/>
                    <a:pt x="3366" y="211"/>
                    <a:pt x="3102" y="67"/>
                  </a:cubicBezTo>
                  <a:cubicBezTo>
                    <a:pt x="3059" y="44"/>
                    <a:pt x="3015" y="21"/>
                    <a:pt x="2970" y="0"/>
                  </a:cubicBezTo>
                  <a:cubicBezTo>
                    <a:pt x="2970" y="1"/>
                    <a:pt x="2970" y="1"/>
                    <a:pt x="2970" y="1"/>
                  </a:cubicBezTo>
                  <a:cubicBezTo>
                    <a:pt x="2958" y="201"/>
                    <a:pt x="2879" y="862"/>
                    <a:pt x="2879" y="862"/>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0" name="Shape">
              <a:extLst>
                <a:ext uri="{FF2B5EF4-FFF2-40B4-BE49-F238E27FC236}">
                  <a16:creationId xmlns:a16="http://schemas.microsoft.com/office/drawing/2014/main" id="{97F94D0D-6B3F-7348-9239-25E5A41DE51A}"/>
                </a:ext>
              </a:extLst>
            </p:cNvPr>
            <p:cNvSpPr/>
            <p:nvPr/>
          </p:nvSpPr>
          <p:spPr>
            <a:xfrm>
              <a:off x="9321799" y="16649699"/>
              <a:ext cx="3488162" cy="3360563"/>
            </a:xfrm>
            <a:custGeom>
              <a:avLst/>
              <a:gdLst/>
              <a:ahLst/>
              <a:cxnLst>
                <a:cxn ang="0">
                  <a:pos x="wd2" y="hd2"/>
                </a:cxn>
                <a:cxn ang="5400000">
                  <a:pos x="wd2" y="hd2"/>
                </a:cxn>
                <a:cxn ang="10800000">
                  <a:pos x="wd2" y="hd2"/>
                </a:cxn>
                <a:cxn ang="16200000">
                  <a:pos x="wd2" y="hd2"/>
                </a:cxn>
              </a:cxnLst>
              <a:rect l="0" t="0" r="r" b="b"/>
              <a:pathLst>
                <a:path w="21599" h="21555" extrusionOk="0">
                  <a:moveTo>
                    <a:pt x="8033" y="20618"/>
                  </a:moveTo>
                  <a:cubicBezTo>
                    <a:pt x="8072" y="20550"/>
                    <a:pt x="8138" y="20170"/>
                    <a:pt x="8177" y="20129"/>
                  </a:cubicBezTo>
                  <a:cubicBezTo>
                    <a:pt x="8216" y="20089"/>
                    <a:pt x="8505" y="19804"/>
                    <a:pt x="8505" y="19804"/>
                  </a:cubicBezTo>
                  <a:cubicBezTo>
                    <a:pt x="8505" y="19804"/>
                    <a:pt x="9016" y="20320"/>
                    <a:pt x="9029" y="20394"/>
                  </a:cubicBezTo>
                  <a:cubicBezTo>
                    <a:pt x="9042" y="20469"/>
                    <a:pt x="9029" y="21053"/>
                    <a:pt x="9108" y="21066"/>
                  </a:cubicBezTo>
                  <a:cubicBezTo>
                    <a:pt x="9186" y="21080"/>
                    <a:pt x="10235" y="21433"/>
                    <a:pt x="10340" y="21446"/>
                  </a:cubicBezTo>
                  <a:cubicBezTo>
                    <a:pt x="10445" y="21460"/>
                    <a:pt x="11074" y="21338"/>
                    <a:pt x="11192" y="21338"/>
                  </a:cubicBezTo>
                  <a:cubicBezTo>
                    <a:pt x="11310" y="21338"/>
                    <a:pt x="11873" y="21555"/>
                    <a:pt x="11873" y="21555"/>
                  </a:cubicBezTo>
                  <a:cubicBezTo>
                    <a:pt x="11873" y="21555"/>
                    <a:pt x="12384" y="20768"/>
                    <a:pt x="12515" y="20740"/>
                  </a:cubicBezTo>
                  <a:cubicBezTo>
                    <a:pt x="12646" y="20713"/>
                    <a:pt x="13144" y="20550"/>
                    <a:pt x="13144" y="20550"/>
                  </a:cubicBezTo>
                  <a:lnTo>
                    <a:pt x="13144" y="13770"/>
                  </a:lnTo>
                  <a:cubicBezTo>
                    <a:pt x="13136" y="13764"/>
                    <a:pt x="13130" y="13759"/>
                    <a:pt x="13130" y="13759"/>
                  </a:cubicBezTo>
                  <a:cubicBezTo>
                    <a:pt x="13130" y="13759"/>
                    <a:pt x="13136" y="13764"/>
                    <a:pt x="13144" y="13770"/>
                  </a:cubicBezTo>
                  <a:lnTo>
                    <a:pt x="13144" y="8829"/>
                  </a:lnTo>
                  <a:lnTo>
                    <a:pt x="14796" y="8712"/>
                  </a:lnTo>
                  <a:lnTo>
                    <a:pt x="14835" y="2317"/>
                  </a:lnTo>
                  <a:lnTo>
                    <a:pt x="18479" y="1761"/>
                  </a:lnTo>
                  <a:lnTo>
                    <a:pt x="18977" y="2661"/>
                  </a:lnTo>
                  <a:lnTo>
                    <a:pt x="19671" y="1937"/>
                  </a:lnTo>
                  <a:lnTo>
                    <a:pt x="20274" y="1693"/>
                  </a:lnTo>
                  <a:cubicBezTo>
                    <a:pt x="20274" y="1693"/>
                    <a:pt x="20471" y="1883"/>
                    <a:pt x="20510" y="1883"/>
                  </a:cubicBezTo>
                  <a:cubicBezTo>
                    <a:pt x="20550" y="1883"/>
                    <a:pt x="21074" y="1421"/>
                    <a:pt x="21074" y="1421"/>
                  </a:cubicBezTo>
                  <a:lnTo>
                    <a:pt x="21599" y="1421"/>
                  </a:lnTo>
                  <a:cubicBezTo>
                    <a:pt x="21569" y="1377"/>
                    <a:pt x="21241" y="1021"/>
                    <a:pt x="21241" y="1021"/>
                  </a:cubicBezTo>
                  <a:cubicBezTo>
                    <a:pt x="21241" y="1021"/>
                    <a:pt x="20481" y="882"/>
                    <a:pt x="20369" y="895"/>
                  </a:cubicBezTo>
                  <a:cubicBezTo>
                    <a:pt x="20258" y="909"/>
                    <a:pt x="18983" y="1072"/>
                    <a:pt x="18626" y="1146"/>
                  </a:cubicBezTo>
                  <a:cubicBezTo>
                    <a:pt x="18269" y="1221"/>
                    <a:pt x="14521" y="1883"/>
                    <a:pt x="14521" y="1883"/>
                  </a:cubicBezTo>
                  <a:cubicBezTo>
                    <a:pt x="14521" y="1883"/>
                    <a:pt x="13865" y="1557"/>
                    <a:pt x="13787" y="1497"/>
                  </a:cubicBezTo>
                  <a:cubicBezTo>
                    <a:pt x="13708" y="1437"/>
                    <a:pt x="11428" y="1497"/>
                    <a:pt x="11428" y="1497"/>
                  </a:cubicBezTo>
                  <a:cubicBezTo>
                    <a:pt x="11428" y="1497"/>
                    <a:pt x="10772" y="742"/>
                    <a:pt x="10694" y="688"/>
                  </a:cubicBezTo>
                  <a:cubicBezTo>
                    <a:pt x="10615" y="634"/>
                    <a:pt x="3773" y="824"/>
                    <a:pt x="3642" y="797"/>
                  </a:cubicBezTo>
                  <a:cubicBezTo>
                    <a:pt x="3511" y="770"/>
                    <a:pt x="2751" y="118"/>
                    <a:pt x="2594" y="36"/>
                  </a:cubicBezTo>
                  <a:cubicBezTo>
                    <a:pt x="2437" y="-45"/>
                    <a:pt x="2096" y="36"/>
                    <a:pt x="1965" y="36"/>
                  </a:cubicBezTo>
                  <a:cubicBezTo>
                    <a:pt x="1834" y="36"/>
                    <a:pt x="1493" y="471"/>
                    <a:pt x="1362" y="458"/>
                  </a:cubicBezTo>
                  <a:cubicBezTo>
                    <a:pt x="1231" y="445"/>
                    <a:pt x="733" y="308"/>
                    <a:pt x="575" y="336"/>
                  </a:cubicBezTo>
                  <a:cubicBezTo>
                    <a:pt x="475" y="354"/>
                    <a:pt x="193" y="449"/>
                    <a:pt x="2" y="514"/>
                  </a:cubicBezTo>
                  <a:cubicBezTo>
                    <a:pt x="-1" y="628"/>
                    <a:pt x="0" y="742"/>
                    <a:pt x="7" y="856"/>
                  </a:cubicBezTo>
                  <a:cubicBezTo>
                    <a:pt x="44" y="1466"/>
                    <a:pt x="162" y="2041"/>
                    <a:pt x="512" y="2543"/>
                  </a:cubicBezTo>
                  <a:cubicBezTo>
                    <a:pt x="747" y="2882"/>
                    <a:pt x="1033" y="3181"/>
                    <a:pt x="1268" y="3521"/>
                  </a:cubicBezTo>
                  <a:cubicBezTo>
                    <a:pt x="1550" y="3929"/>
                    <a:pt x="1754" y="4388"/>
                    <a:pt x="1957" y="4844"/>
                  </a:cubicBezTo>
                  <a:cubicBezTo>
                    <a:pt x="2072" y="5104"/>
                    <a:pt x="2187" y="5364"/>
                    <a:pt x="2276" y="5634"/>
                  </a:cubicBezTo>
                  <a:cubicBezTo>
                    <a:pt x="2356" y="5874"/>
                    <a:pt x="2414" y="6122"/>
                    <a:pt x="2494" y="6362"/>
                  </a:cubicBezTo>
                  <a:cubicBezTo>
                    <a:pt x="2665" y="6883"/>
                    <a:pt x="3011" y="7188"/>
                    <a:pt x="3268" y="7670"/>
                  </a:cubicBezTo>
                  <a:cubicBezTo>
                    <a:pt x="3525" y="8154"/>
                    <a:pt x="3783" y="8638"/>
                    <a:pt x="4041" y="9121"/>
                  </a:cubicBezTo>
                  <a:cubicBezTo>
                    <a:pt x="4164" y="9353"/>
                    <a:pt x="4289" y="9589"/>
                    <a:pt x="4336" y="9849"/>
                  </a:cubicBezTo>
                  <a:cubicBezTo>
                    <a:pt x="4385" y="10121"/>
                    <a:pt x="4346" y="10400"/>
                    <a:pt x="4327" y="10676"/>
                  </a:cubicBezTo>
                  <a:cubicBezTo>
                    <a:pt x="4255" y="11716"/>
                    <a:pt x="4471" y="12751"/>
                    <a:pt x="4686" y="13769"/>
                  </a:cubicBezTo>
                  <a:cubicBezTo>
                    <a:pt x="4748" y="14058"/>
                    <a:pt x="4809" y="14348"/>
                    <a:pt x="4870" y="14638"/>
                  </a:cubicBezTo>
                  <a:cubicBezTo>
                    <a:pt x="5050" y="15490"/>
                    <a:pt x="5230" y="16343"/>
                    <a:pt x="5443" y="17188"/>
                  </a:cubicBezTo>
                  <a:cubicBezTo>
                    <a:pt x="5455" y="17310"/>
                    <a:pt x="5468" y="17433"/>
                    <a:pt x="5488" y="17554"/>
                  </a:cubicBezTo>
                  <a:cubicBezTo>
                    <a:pt x="5712" y="18883"/>
                    <a:pt x="6801" y="19813"/>
                    <a:pt x="7570" y="20920"/>
                  </a:cubicBezTo>
                  <a:cubicBezTo>
                    <a:pt x="7730" y="20829"/>
                    <a:pt x="8005" y="20666"/>
                    <a:pt x="8033" y="2061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1" name="Shape">
              <a:extLst>
                <a:ext uri="{FF2B5EF4-FFF2-40B4-BE49-F238E27FC236}">
                  <a16:creationId xmlns:a16="http://schemas.microsoft.com/office/drawing/2014/main" id="{CC1ECE8D-3829-AF46-855D-4023AAC356DB}"/>
                </a:ext>
              </a:extLst>
            </p:cNvPr>
            <p:cNvSpPr/>
            <p:nvPr/>
          </p:nvSpPr>
          <p:spPr>
            <a:xfrm>
              <a:off x="9169399" y="11252200"/>
              <a:ext cx="1927256" cy="2247457"/>
            </a:xfrm>
            <a:custGeom>
              <a:avLst/>
              <a:gdLst/>
              <a:ahLst/>
              <a:cxnLst>
                <a:cxn ang="0">
                  <a:pos x="wd2" y="hd2"/>
                </a:cxn>
                <a:cxn ang="5400000">
                  <a:pos x="wd2" y="hd2"/>
                </a:cxn>
                <a:cxn ang="10800000">
                  <a:pos x="wd2" y="hd2"/>
                </a:cxn>
                <a:cxn ang="16200000">
                  <a:pos x="wd2" y="hd2"/>
                </a:cxn>
              </a:cxnLst>
              <a:rect l="0" t="0" r="r" b="b"/>
              <a:pathLst>
                <a:path w="21600" h="21585" extrusionOk="0">
                  <a:moveTo>
                    <a:pt x="3434" y="20721"/>
                  </a:moveTo>
                  <a:cubicBezTo>
                    <a:pt x="3488" y="20644"/>
                    <a:pt x="3577" y="20553"/>
                    <a:pt x="3772" y="20522"/>
                  </a:cubicBezTo>
                  <a:cubicBezTo>
                    <a:pt x="3968" y="20492"/>
                    <a:pt x="4520" y="20477"/>
                    <a:pt x="4626" y="20446"/>
                  </a:cubicBezTo>
                  <a:cubicBezTo>
                    <a:pt x="4733" y="20416"/>
                    <a:pt x="4448" y="20034"/>
                    <a:pt x="4520" y="20034"/>
                  </a:cubicBezTo>
                  <a:cubicBezTo>
                    <a:pt x="4555" y="20034"/>
                    <a:pt x="5029" y="20384"/>
                    <a:pt x="5510" y="20733"/>
                  </a:cubicBezTo>
                  <a:cubicBezTo>
                    <a:pt x="5522" y="20726"/>
                    <a:pt x="5529" y="20722"/>
                    <a:pt x="5529" y="20722"/>
                  </a:cubicBezTo>
                  <a:cubicBezTo>
                    <a:pt x="5529" y="20722"/>
                    <a:pt x="5522" y="20726"/>
                    <a:pt x="5510" y="20733"/>
                  </a:cubicBezTo>
                  <a:cubicBezTo>
                    <a:pt x="6003" y="21090"/>
                    <a:pt x="6503" y="21445"/>
                    <a:pt x="6548" y="21422"/>
                  </a:cubicBezTo>
                  <a:cubicBezTo>
                    <a:pt x="6637" y="21376"/>
                    <a:pt x="6690" y="20934"/>
                    <a:pt x="6797" y="20934"/>
                  </a:cubicBezTo>
                  <a:cubicBezTo>
                    <a:pt x="6904" y="20934"/>
                    <a:pt x="7295" y="20903"/>
                    <a:pt x="7366" y="20888"/>
                  </a:cubicBezTo>
                  <a:cubicBezTo>
                    <a:pt x="7437" y="20873"/>
                    <a:pt x="7331" y="20156"/>
                    <a:pt x="7384" y="20141"/>
                  </a:cubicBezTo>
                  <a:cubicBezTo>
                    <a:pt x="7437" y="20126"/>
                    <a:pt x="7936" y="20416"/>
                    <a:pt x="8078" y="20446"/>
                  </a:cubicBezTo>
                  <a:cubicBezTo>
                    <a:pt x="8220" y="20477"/>
                    <a:pt x="9270" y="19775"/>
                    <a:pt x="9359" y="19821"/>
                  </a:cubicBezTo>
                  <a:cubicBezTo>
                    <a:pt x="9448" y="19867"/>
                    <a:pt x="9359" y="21422"/>
                    <a:pt x="9359" y="21422"/>
                  </a:cubicBezTo>
                  <a:lnTo>
                    <a:pt x="10177" y="21422"/>
                  </a:lnTo>
                  <a:lnTo>
                    <a:pt x="10676" y="21041"/>
                  </a:lnTo>
                  <a:cubicBezTo>
                    <a:pt x="10676" y="21041"/>
                    <a:pt x="10925" y="20553"/>
                    <a:pt x="11458" y="20065"/>
                  </a:cubicBezTo>
                  <a:cubicBezTo>
                    <a:pt x="11992" y="19577"/>
                    <a:pt x="13344" y="19211"/>
                    <a:pt x="13594" y="18967"/>
                  </a:cubicBezTo>
                  <a:cubicBezTo>
                    <a:pt x="13843" y="18723"/>
                    <a:pt x="14590" y="17595"/>
                    <a:pt x="14590" y="17503"/>
                  </a:cubicBezTo>
                  <a:cubicBezTo>
                    <a:pt x="14590" y="17412"/>
                    <a:pt x="14519" y="16131"/>
                    <a:pt x="14483" y="15613"/>
                  </a:cubicBezTo>
                  <a:cubicBezTo>
                    <a:pt x="14448" y="15094"/>
                    <a:pt x="14697" y="14698"/>
                    <a:pt x="15124" y="14210"/>
                  </a:cubicBezTo>
                  <a:cubicBezTo>
                    <a:pt x="15551" y="13722"/>
                    <a:pt x="15942" y="12990"/>
                    <a:pt x="16369" y="12472"/>
                  </a:cubicBezTo>
                  <a:cubicBezTo>
                    <a:pt x="16796" y="11954"/>
                    <a:pt x="17597" y="11801"/>
                    <a:pt x="17597" y="11801"/>
                  </a:cubicBezTo>
                  <a:cubicBezTo>
                    <a:pt x="17597" y="11801"/>
                    <a:pt x="18824" y="10612"/>
                    <a:pt x="18913" y="10475"/>
                  </a:cubicBezTo>
                  <a:cubicBezTo>
                    <a:pt x="19002" y="10338"/>
                    <a:pt x="19056" y="9438"/>
                    <a:pt x="19038" y="9285"/>
                  </a:cubicBezTo>
                  <a:cubicBezTo>
                    <a:pt x="19020" y="9133"/>
                    <a:pt x="19625" y="8157"/>
                    <a:pt x="19625" y="7990"/>
                  </a:cubicBezTo>
                  <a:cubicBezTo>
                    <a:pt x="19625" y="7822"/>
                    <a:pt x="19536" y="7395"/>
                    <a:pt x="19429" y="6968"/>
                  </a:cubicBezTo>
                  <a:cubicBezTo>
                    <a:pt x="19323" y="6541"/>
                    <a:pt x="19483" y="6236"/>
                    <a:pt x="19554" y="5870"/>
                  </a:cubicBezTo>
                  <a:cubicBezTo>
                    <a:pt x="19625" y="5504"/>
                    <a:pt x="20016" y="3690"/>
                    <a:pt x="20034" y="3583"/>
                  </a:cubicBezTo>
                  <a:cubicBezTo>
                    <a:pt x="20052" y="3476"/>
                    <a:pt x="21600" y="1525"/>
                    <a:pt x="21600" y="1525"/>
                  </a:cubicBezTo>
                  <a:lnTo>
                    <a:pt x="21511" y="564"/>
                  </a:lnTo>
                  <a:cubicBezTo>
                    <a:pt x="21511" y="564"/>
                    <a:pt x="21155" y="229"/>
                    <a:pt x="21084" y="244"/>
                  </a:cubicBezTo>
                  <a:cubicBezTo>
                    <a:pt x="21013" y="259"/>
                    <a:pt x="20355" y="580"/>
                    <a:pt x="20194" y="580"/>
                  </a:cubicBezTo>
                  <a:cubicBezTo>
                    <a:pt x="20034" y="580"/>
                    <a:pt x="18255" y="15"/>
                    <a:pt x="18184" y="0"/>
                  </a:cubicBezTo>
                  <a:cubicBezTo>
                    <a:pt x="18113" y="-15"/>
                    <a:pt x="17241" y="488"/>
                    <a:pt x="17063" y="503"/>
                  </a:cubicBezTo>
                  <a:cubicBezTo>
                    <a:pt x="16885" y="519"/>
                    <a:pt x="15871" y="427"/>
                    <a:pt x="15835" y="503"/>
                  </a:cubicBezTo>
                  <a:cubicBezTo>
                    <a:pt x="15800" y="580"/>
                    <a:pt x="15568" y="1845"/>
                    <a:pt x="15533" y="2013"/>
                  </a:cubicBezTo>
                  <a:cubicBezTo>
                    <a:pt x="15497" y="2181"/>
                    <a:pt x="14661" y="3705"/>
                    <a:pt x="14661" y="3705"/>
                  </a:cubicBezTo>
                  <a:lnTo>
                    <a:pt x="14652" y="3705"/>
                  </a:lnTo>
                  <a:cubicBezTo>
                    <a:pt x="14658" y="3720"/>
                    <a:pt x="14662" y="3728"/>
                    <a:pt x="14662" y="3728"/>
                  </a:cubicBezTo>
                  <a:cubicBezTo>
                    <a:pt x="14662" y="3728"/>
                    <a:pt x="14658" y="3720"/>
                    <a:pt x="14652" y="3705"/>
                  </a:cubicBezTo>
                  <a:lnTo>
                    <a:pt x="14234" y="3705"/>
                  </a:lnTo>
                  <a:cubicBezTo>
                    <a:pt x="14234" y="3705"/>
                    <a:pt x="14234" y="3705"/>
                    <a:pt x="14216" y="3732"/>
                  </a:cubicBezTo>
                  <a:cubicBezTo>
                    <a:pt x="14198" y="3758"/>
                    <a:pt x="14394" y="4986"/>
                    <a:pt x="14359" y="5032"/>
                  </a:cubicBezTo>
                  <a:cubicBezTo>
                    <a:pt x="14323" y="5077"/>
                    <a:pt x="14127" y="5138"/>
                    <a:pt x="14021" y="5154"/>
                  </a:cubicBezTo>
                  <a:cubicBezTo>
                    <a:pt x="13914" y="5169"/>
                    <a:pt x="13362" y="4590"/>
                    <a:pt x="13238" y="4498"/>
                  </a:cubicBezTo>
                  <a:cubicBezTo>
                    <a:pt x="13113" y="4407"/>
                    <a:pt x="11156" y="4391"/>
                    <a:pt x="10960" y="4300"/>
                  </a:cubicBezTo>
                  <a:cubicBezTo>
                    <a:pt x="10765" y="4208"/>
                    <a:pt x="10071" y="3827"/>
                    <a:pt x="9946" y="3751"/>
                  </a:cubicBezTo>
                  <a:cubicBezTo>
                    <a:pt x="9827" y="3678"/>
                    <a:pt x="6399" y="3835"/>
                    <a:pt x="6101" y="3849"/>
                  </a:cubicBezTo>
                  <a:cubicBezTo>
                    <a:pt x="6102" y="3852"/>
                    <a:pt x="6103" y="3855"/>
                    <a:pt x="6103" y="3858"/>
                  </a:cubicBezTo>
                  <a:cubicBezTo>
                    <a:pt x="6103" y="3934"/>
                    <a:pt x="5729" y="4452"/>
                    <a:pt x="5729" y="4590"/>
                  </a:cubicBezTo>
                  <a:cubicBezTo>
                    <a:pt x="5729" y="4727"/>
                    <a:pt x="5516" y="5321"/>
                    <a:pt x="5623" y="5367"/>
                  </a:cubicBezTo>
                  <a:cubicBezTo>
                    <a:pt x="5729" y="5413"/>
                    <a:pt x="6103" y="5809"/>
                    <a:pt x="6103" y="5809"/>
                  </a:cubicBezTo>
                  <a:cubicBezTo>
                    <a:pt x="6103" y="5809"/>
                    <a:pt x="5640" y="6175"/>
                    <a:pt x="5783" y="6175"/>
                  </a:cubicBezTo>
                  <a:cubicBezTo>
                    <a:pt x="5925" y="6175"/>
                    <a:pt x="7260" y="5657"/>
                    <a:pt x="7580" y="5657"/>
                  </a:cubicBezTo>
                  <a:cubicBezTo>
                    <a:pt x="7900" y="5657"/>
                    <a:pt x="8718" y="5764"/>
                    <a:pt x="8896" y="5901"/>
                  </a:cubicBezTo>
                  <a:cubicBezTo>
                    <a:pt x="9074" y="6038"/>
                    <a:pt x="9537" y="7197"/>
                    <a:pt x="9501" y="7288"/>
                  </a:cubicBezTo>
                  <a:cubicBezTo>
                    <a:pt x="9466" y="7380"/>
                    <a:pt x="8238" y="8127"/>
                    <a:pt x="8114" y="8249"/>
                  </a:cubicBezTo>
                  <a:cubicBezTo>
                    <a:pt x="7989" y="8371"/>
                    <a:pt x="8060" y="9026"/>
                    <a:pt x="8025" y="9285"/>
                  </a:cubicBezTo>
                  <a:cubicBezTo>
                    <a:pt x="7989" y="9545"/>
                    <a:pt x="7864" y="9773"/>
                    <a:pt x="7864" y="9773"/>
                  </a:cubicBezTo>
                  <a:cubicBezTo>
                    <a:pt x="7864" y="9773"/>
                    <a:pt x="8434" y="9773"/>
                    <a:pt x="8594" y="9865"/>
                  </a:cubicBezTo>
                  <a:cubicBezTo>
                    <a:pt x="8754" y="9956"/>
                    <a:pt x="9608" y="10696"/>
                    <a:pt x="9661" y="10772"/>
                  </a:cubicBezTo>
                  <a:cubicBezTo>
                    <a:pt x="9715" y="10848"/>
                    <a:pt x="9359" y="11512"/>
                    <a:pt x="9395" y="11786"/>
                  </a:cubicBezTo>
                  <a:cubicBezTo>
                    <a:pt x="9430" y="12060"/>
                    <a:pt x="9608" y="13326"/>
                    <a:pt x="9573" y="13433"/>
                  </a:cubicBezTo>
                  <a:cubicBezTo>
                    <a:pt x="9537" y="13539"/>
                    <a:pt x="8665" y="14668"/>
                    <a:pt x="8665" y="14668"/>
                  </a:cubicBezTo>
                  <a:lnTo>
                    <a:pt x="8914" y="15064"/>
                  </a:lnTo>
                  <a:lnTo>
                    <a:pt x="8487" y="15399"/>
                  </a:lnTo>
                  <a:cubicBezTo>
                    <a:pt x="8487" y="15399"/>
                    <a:pt x="7775" y="15506"/>
                    <a:pt x="7775" y="15399"/>
                  </a:cubicBezTo>
                  <a:cubicBezTo>
                    <a:pt x="7775" y="15293"/>
                    <a:pt x="8042" y="15140"/>
                    <a:pt x="8025" y="15094"/>
                  </a:cubicBezTo>
                  <a:cubicBezTo>
                    <a:pt x="8007" y="15049"/>
                    <a:pt x="7562" y="14332"/>
                    <a:pt x="7473" y="14347"/>
                  </a:cubicBezTo>
                  <a:cubicBezTo>
                    <a:pt x="7384" y="14363"/>
                    <a:pt x="6850" y="15171"/>
                    <a:pt x="6744" y="15186"/>
                  </a:cubicBezTo>
                  <a:cubicBezTo>
                    <a:pt x="6637" y="15201"/>
                    <a:pt x="5658" y="15125"/>
                    <a:pt x="5445" y="15125"/>
                  </a:cubicBezTo>
                  <a:cubicBezTo>
                    <a:pt x="5231" y="15125"/>
                    <a:pt x="5142" y="15018"/>
                    <a:pt x="5142" y="15018"/>
                  </a:cubicBezTo>
                  <a:cubicBezTo>
                    <a:pt x="5142" y="15018"/>
                    <a:pt x="5498" y="14988"/>
                    <a:pt x="5445" y="14881"/>
                  </a:cubicBezTo>
                  <a:cubicBezTo>
                    <a:pt x="5391" y="14774"/>
                    <a:pt x="4947" y="13936"/>
                    <a:pt x="4715" y="13905"/>
                  </a:cubicBezTo>
                  <a:cubicBezTo>
                    <a:pt x="4484" y="13875"/>
                    <a:pt x="3772" y="13829"/>
                    <a:pt x="3701" y="13829"/>
                  </a:cubicBezTo>
                  <a:cubicBezTo>
                    <a:pt x="3630" y="13829"/>
                    <a:pt x="4021" y="15079"/>
                    <a:pt x="3932" y="15125"/>
                  </a:cubicBezTo>
                  <a:cubicBezTo>
                    <a:pt x="3843" y="15171"/>
                    <a:pt x="3203" y="15018"/>
                    <a:pt x="2847" y="15003"/>
                  </a:cubicBezTo>
                  <a:cubicBezTo>
                    <a:pt x="2491" y="14988"/>
                    <a:pt x="2384" y="15018"/>
                    <a:pt x="2278" y="15049"/>
                  </a:cubicBezTo>
                  <a:cubicBezTo>
                    <a:pt x="2171" y="15079"/>
                    <a:pt x="1744" y="15521"/>
                    <a:pt x="1673" y="15537"/>
                  </a:cubicBezTo>
                  <a:cubicBezTo>
                    <a:pt x="1602" y="15552"/>
                    <a:pt x="1086" y="15140"/>
                    <a:pt x="1014" y="15140"/>
                  </a:cubicBezTo>
                  <a:cubicBezTo>
                    <a:pt x="943" y="15140"/>
                    <a:pt x="1014" y="16268"/>
                    <a:pt x="1086" y="16284"/>
                  </a:cubicBezTo>
                  <a:cubicBezTo>
                    <a:pt x="1157" y="16299"/>
                    <a:pt x="1815" y="16772"/>
                    <a:pt x="1815" y="16772"/>
                  </a:cubicBezTo>
                  <a:lnTo>
                    <a:pt x="1459" y="16970"/>
                  </a:lnTo>
                  <a:cubicBezTo>
                    <a:pt x="1459" y="16970"/>
                    <a:pt x="2207" y="17336"/>
                    <a:pt x="2242" y="17382"/>
                  </a:cubicBezTo>
                  <a:cubicBezTo>
                    <a:pt x="2278" y="17427"/>
                    <a:pt x="2260" y="18159"/>
                    <a:pt x="2207" y="18174"/>
                  </a:cubicBezTo>
                  <a:cubicBezTo>
                    <a:pt x="2153" y="18190"/>
                    <a:pt x="1548" y="18525"/>
                    <a:pt x="1477" y="18495"/>
                  </a:cubicBezTo>
                  <a:cubicBezTo>
                    <a:pt x="1406" y="18464"/>
                    <a:pt x="997" y="17839"/>
                    <a:pt x="926" y="17839"/>
                  </a:cubicBezTo>
                  <a:cubicBezTo>
                    <a:pt x="865" y="17839"/>
                    <a:pt x="195" y="18772"/>
                    <a:pt x="0" y="19045"/>
                  </a:cubicBezTo>
                  <a:cubicBezTo>
                    <a:pt x="272" y="19308"/>
                    <a:pt x="578" y="19548"/>
                    <a:pt x="882" y="19786"/>
                  </a:cubicBezTo>
                  <a:cubicBezTo>
                    <a:pt x="1215" y="20045"/>
                    <a:pt x="1543" y="20354"/>
                    <a:pt x="1875" y="20613"/>
                  </a:cubicBezTo>
                  <a:cubicBezTo>
                    <a:pt x="1892" y="20968"/>
                    <a:pt x="2126" y="21280"/>
                    <a:pt x="2373" y="21585"/>
                  </a:cubicBezTo>
                  <a:cubicBezTo>
                    <a:pt x="2728" y="21305"/>
                    <a:pt x="3395" y="20776"/>
                    <a:pt x="3434" y="20721"/>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2" name="Shape">
              <a:extLst>
                <a:ext uri="{FF2B5EF4-FFF2-40B4-BE49-F238E27FC236}">
                  <a16:creationId xmlns:a16="http://schemas.microsoft.com/office/drawing/2014/main" id="{5DE0E58D-DAD5-A743-9539-001B4260718F}"/>
                </a:ext>
              </a:extLst>
            </p:cNvPr>
            <p:cNvSpPr/>
            <p:nvPr/>
          </p:nvSpPr>
          <p:spPr>
            <a:xfrm>
              <a:off x="9385300" y="13335000"/>
              <a:ext cx="279943" cy="358157"/>
            </a:xfrm>
            <a:custGeom>
              <a:avLst/>
              <a:gdLst/>
              <a:ahLst/>
              <a:cxnLst>
                <a:cxn ang="0">
                  <a:pos x="wd2" y="hd2"/>
                </a:cxn>
                <a:cxn ang="5400000">
                  <a:pos x="wd2" y="hd2"/>
                </a:cxn>
                <a:cxn ang="10800000">
                  <a:pos x="wd2" y="hd2"/>
                </a:cxn>
                <a:cxn ang="16200000">
                  <a:pos x="wd2" y="hd2"/>
                </a:cxn>
              </a:cxnLst>
              <a:rect l="0" t="0" r="r" b="b"/>
              <a:pathLst>
                <a:path w="21600" h="21541" extrusionOk="0">
                  <a:moveTo>
                    <a:pt x="10739" y="21435"/>
                  </a:moveTo>
                  <a:cubicBezTo>
                    <a:pt x="10984" y="21196"/>
                    <a:pt x="9392" y="10980"/>
                    <a:pt x="9759" y="10789"/>
                  </a:cubicBezTo>
                  <a:cubicBezTo>
                    <a:pt x="10104" y="10610"/>
                    <a:pt x="20338" y="5059"/>
                    <a:pt x="21600" y="4375"/>
                  </a:cubicBezTo>
                  <a:cubicBezTo>
                    <a:pt x="18287" y="2192"/>
                    <a:pt x="15023" y="0"/>
                    <a:pt x="14781" y="0"/>
                  </a:cubicBezTo>
                  <a:cubicBezTo>
                    <a:pt x="14291" y="0"/>
                    <a:pt x="16251" y="2387"/>
                    <a:pt x="15516" y="2578"/>
                  </a:cubicBezTo>
                  <a:cubicBezTo>
                    <a:pt x="14781" y="2769"/>
                    <a:pt x="10984" y="2864"/>
                    <a:pt x="9637" y="3055"/>
                  </a:cubicBezTo>
                  <a:cubicBezTo>
                    <a:pt x="8289" y="3246"/>
                    <a:pt x="7677" y="3819"/>
                    <a:pt x="7309" y="4297"/>
                  </a:cubicBezTo>
                  <a:cubicBezTo>
                    <a:pt x="7040" y="4646"/>
                    <a:pt x="2446" y="7958"/>
                    <a:pt x="0" y="9710"/>
                  </a:cubicBezTo>
                  <a:cubicBezTo>
                    <a:pt x="2171" y="12156"/>
                    <a:pt x="4478" y="14541"/>
                    <a:pt x="3950" y="17357"/>
                  </a:cubicBezTo>
                  <a:cubicBezTo>
                    <a:pt x="3831" y="17995"/>
                    <a:pt x="3562" y="18614"/>
                    <a:pt x="3465" y="19254"/>
                  </a:cubicBezTo>
                  <a:cubicBezTo>
                    <a:pt x="3350" y="20008"/>
                    <a:pt x="3485" y="20761"/>
                    <a:pt x="3782" y="21482"/>
                  </a:cubicBezTo>
                  <a:cubicBezTo>
                    <a:pt x="6364" y="21537"/>
                    <a:pt x="10570" y="21600"/>
                    <a:pt x="10739" y="2143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3" name="Shape">
              <a:extLst>
                <a:ext uri="{FF2B5EF4-FFF2-40B4-BE49-F238E27FC236}">
                  <a16:creationId xmlns:a16="http://schemas.microsoft.com/office/drawing/2014/main" id="{5ADD89E7-3B18-924A-AC14-BED99B1DDF31}"/>
                </a:ext>
              </a:extLst>
            </p:cNvPr>
            <p:cNvSpPr/>
            <p:nvPr/>
          </p:nvSpPr>
          <p:spPr>
            <a:xfrm>
              <a:off x="10540999" y="18059400"/>
              <a:ext cx="4205941" cy="3738534"/>
            </a:xfrm>
            <a:custGeom>
              <a:avLst/>
              <a:gdLst/>
              <a:ahLst/>
              <a:cxnLst>
                <a:cxn ang="0">
                  <a:pos x="wd2" y="hd2"/>
                </a:cxn>
                <a:cxn ang="5400000">
                  <a:pos x="wd2" y="hd2"/>
                </a:cxn>
                <a:cxn ang="10800000">
                  <a:pos x="wd2" y="hd2"/>
                </a:cxn>
                <a:cxn ang="16200000">
                  <a:pos x="wd2" y="hd2"/>
                </a:cxn>
              </a:cxnLst>
              <a:rect l="0" t="0" r="r" b="b"/>
              <a:pathLst>
                <a:path w="21600" h="21600" extrusionOk="0">
                  <a:moveTo>
                    <a:pt x="16945" y="12297"/>
                  </a:moveTo>
                  <a:cubicBezTo>
                    <a:pt x="16945" y="12297"/>
                    <a:pt x="16842" y="12327"/>
                    <a:pt x="16814" y="12346"/>
                  </a:cubicBezTo>
                  <a:cubicBezTo>
                    <a:pt x="16787" y="12364"/>
                    <a:pt x="16689" y="12474"/>
                    <a:pt x="16717" y="12547"/>
                  </a:cubicBezTo>
                  <a:cubicBezTo>
                    <a:pt x="16744" y="12621"/>
                    <a:pt x="16722" y="12939"/>
                    <a:pt x="16679" y="13024"/>
                  </a:cubicBezTo>
                  <a:cubicBezTo>
                    <a:pt x="16635" y="13110"/>
                    <a:pt x="15574" y="13485"/>
                    <a:pt x="15537" y="13501"/>
                  </a:cubicBezTo>
                  <a:cubicBezTo>
                    <a:pt x="15498" y="13518"/>
                    <a:pt x="15396" y="14229"/>
                    <a:pt x="15358" y="14217"/>
                  </a:cubicBezTo>
                  <a:cubicBezTo>
                    <a:pt x="15320" y="14204"/>
                    <a:pt x="14994" y="14107"/>
                    <a:pt x="14907" y="14107"/>
                  </a:cubicBezTo>
                  <a:cubicBezTo>
                    <a:pt x="14820" y="14107"/>
                    <a:pt x="14738" y="13990"/>
                    <a:pt x="14678" y="13868"/>
                  </a:cubicBezTo>
                  <a:cubicBezTo>
                    <a:pt x="14619" y="13746"/>
                    <a:pt x="14439" y="13685"/>
                    <a:pt x="14412" y="13630"/>
                  </a:cubicBezTo>
                  <a:cubicBezTo>
                    <a:pt x="14385" y="13575"/>
                    <a:pt x="14461" y="13373"/>
                    <a:pt x="14456" y="13306"/>
                  </a:cubicBezTo>
                  <a:cubicBezTo>
                    <a:pt x="14450" y="13238"/>
                    <a:pt x="13912" y="12474"/>
                    <a:pt x="13928" y="12450"/>
                  </a:cubicBezTo>
                  <a:cubicBezTo>
                    <a:pt x="13945" y="12425"/>
                    <a:pt x="14249" y="12284"/>
                    <a:pt x="14314" y="12266"/>
                  </a:cubicBezTo>
                  <a:cubicBezTo>
                    <a:pt x="14380" y="12248"/>
                    <a:pt x="14885" y="11208"/>
                    <a:pt x="14918" y="11172"/>
                  </a:cubicBezTo>
                  <a:cubicBezTo>
                    <a:pt x="14950" y="11135"/>
                    <a:pt x="16037" y="10627"/>
                    <a:pt x="16102" y="10621"/>
                  </a:cubicBezTo>
                  <a:cubicBezTo>
                    <a:pt x="16168" y="10615"/>
                    <a:pt x="16314" y="10945"/>
                    <a:pt x="16342" y="10964"/>
                  </a:cubicBezTo>
                  <a:cubicBezTo>
                    <a:pt x="16369" y="10982"/>
                    <a:pt x="16456" y="10982"/>
                    <a:pt x="16499" y="10988"/>
                  </a:cubicBezTo>
                  <a:cubicBezTo>
                    <a:pt x="16543" y="10994"/>
                    <a:pt x="17010" y="11502"/>
                    <a:pt x="17059" y="11538"/>
                  </a:cubicBezTo>
                  <a:cubicBezTo>
                    <a:pt x="17108" y="11575"/>
                    <a:pt x="17146" y="11973"/>
                    <a:pt x="17146" y="12003"/>
                  </a:cubicBezTo>
                  <a:cubicBezTo>
                    <a:pt x="17146" y="12034"/>
                    <a:pt x="16945" y="12297"/>
                    <a:pt x="16945" y="12297"/>
                  </a:cubicBezTo>
                  <a:close/>
                  <a:moveTo>
                    <a:pt x="20668" y="7691"/>
                  </a:moveTo>
                  <a:lnTo>
                    <a:pt x="20548" y="7691"/>
                  </a:lnTo>
                  <a:cubicBezTo>
                    <a:pt x="20548" y="7691"/>
                    <a:pt x="20505" y="8487"/>
                    <a:pt x="20478" y="8487"/>
                  </a:cubicBezTo>
                  <a:cubicBezTo>
                    <a:pt x="20451" y="8487"/>
                    <a:pt x="19440" y="8328"/>
                    <a:pt x="19413" y="8304"/>
                  </a:cubicBezTo>
                  <a:cubicBezTo>
                    <a:pt x="19385" y="8279"/>
                    <a:pt x="19092" y="7649"/>
                    <a:pt x="19070" y="7613"/>
                  </a:cubicBezTo>
                  <a:cubicBezTo>
                    <a:pt x="19048" y="7576"/>
                    <a:pt x="18999" y="7729"/>
                    <a:pt x="18978" y="7717"/>
                  </a:cubicBezTo>
                  <a:cubicBezTo>
                    <a:pt x="18956" y="7705"/>
                    <a:pt x="18912" y="7105"/>
                    <a:pt x="18923" y="7069"/>
                  </a:cubicBezTo>
                  <a:cubicBezTo>
                    <a:pt x="18934" y="7032"/>
                    <a:pt x="19570" y="6005"/>
                    <a:pt x="19581" y="5950"/>
                  </a:cubicBezTo>
                  <a:cubicBezTo>
                    <a:pt x="19592" y="5895"/>
                    <a:pt x="19673" y="5950"/>
                    <a:pt x="19673" y="5950"/>
                  </a:cubicBezTo>
                  <a:lnTo>
                    <a:pt x="19744" y="5852"/>
                  </a:lnTo>
                  <a:lnTo>
                    <a:pt x="20505" y="6222"/>
                  </a:lnTo>
                  <a:cubicBezTo>
                    <a:pt x="20505" y="6155"/>
                    <a:pt x="20516" y="3679"/>
                    <a:pt x="20505" y="3559"/>
                  </a:cubicBezTo>
                  <a:cubicBezTo>
                    <a:pt x="20494" y="3436"/>
                    <a:pt x="20005" y="2311"/>
                    <a:pt x="19929" y="2165"/>
                  </a:cubicBezTo>
                  <a:cubicBezTo>
                    <a:pt x="19854" y="2020"/>
                    <a:pt x="19633" y="531"/>
                    <a:pt x="19625" y="479"/>
                  </a:cubicBezTo>
                  <a:cubicBezTo>
                    <a:pt x="19620" y="485"/>
                    <a:pt x="19616" y="489"/>
                    <a:pt x="19616" y="489"/>
                  </a:cubicBezTo>
                  <a:cubicBezTo>
                    <a:pt x="19616" y="489"/>
                    <a:pt x="19620" y="485"/>
                    <a:pt x="19625" y="479"/>
                  </a:cubicBezTo>
                  <a:cubicBezTo>
                    <a:pt x="19625" y="478"/>
                    <a:pt x="19624" y="477"/>
                    <a:pt x="19624" y="477"/>
                  </a:cubicBezTo>
                  <a:cubicBezTo>
                    <a:pt x="19624" y="477"/>
                    <a:pt x="19222" y="330"/>
                    <a:pt x="19103" y="294"/>
                  </a:cubicBezTo>
                  <a:cubicBezTo>
                    <a:pt x="18983" y="257"/>
                    <a:pt x="18298" y="367"/>
                    <a:pt x="18255" y="355"/>
                  </a:cubicBezTo>
                  <a:cubicBezTo>
                    <a:pt x="18211" y="342"/>
                    <a:pt x="17472" y="0"/>
                    <a:pt x="17472" y="0"/>
                  </a:cubicBezTo>
                  <a:lnTo>
                    <a:pt x="17070" y="113"/>
                  </a:lnTo>
                  <a:cubicBezTo>
                    <a:pt x="17070" y="113"/>
                    <a:pt x="17067" y="110"/>
                    <a:pt x="17062" y="106"/>
                  </a:cubicBezTo>
                  <a:cubicBezTo>
                    <a:pt x="17003" y="109"/>
                    <a:pt x="16607" y="127"/>
                    <a:pt x="16592" y="153"/>
                  </a:cubicBezTo>
                  <a:cubicBezTo>
                    <a:pt x="16575" y="180"/>
                    <a:pt x="16469" y="483"/>
                    <a:pt x="16437" y="538"/>
                  </a:cubicBezTo>
                  <a:cubicBezTo>
                    <a:pt x="16404" y="593"/>
                    <a:pt x="15768" y="676"/>
                    <a:pt x="15711" y="703"/>
                  </a:cubicBezTo>
                  <a:cubicBezTo>
                    <a:pt x="15654" y="731"/>
                    <a:pt x="14912" y="1813"/>
                    <a:pt x="14880" y="1831"/>
                  </a:cubicBezTo>
                  <a:cubicBezTo>
                    <a:pt x="14847" y="1850"/>
                    <a:pt x="14741" y="1740"/>
                    <a:pt x="14708" y="1758"/>
                  </a:cubicBezTo>
                  <a:cubicBezTo>
                    <a:pt x="14676" y="1776"/>
                    <a:pt x="13877" y="2519"/>
                    <a:pt x="13844" y="2583"/>
                  </a:cubicBezTo>
                  <a:cubicBezTo>
                    <a:pt x="13812" y="2648"/>
                    <a:pt x="13697" y="3446"/>
                    <a:pt x="13673" y="3510"/>
                  </a:cubicBezTo>
                  <a:cubicBezTo>
                    <a:pt x="13649" y="3574"/>
                    <a:pt x="13225" y="4060"/>
                    <a:pt x="13159" y="4079"/>
                  </a:cubicBezTo>
                  <a:cubicBezTo>
                    <a:pt x="13094" y="4097"/>
                    <a:pt x="12434" y="4216"/>
                    <a:pt x="12401" y="4266"/>
                  </a:cubicBezTo>
                  <a:cubicBezTo>
                    <a:pt x="12369" y="4315"/>
                    <a:pt x="12059" y="5647"/>
                    <a:pt x="12042" y="5693"/>
                  </a:cubicBezTo>
                  <a:cubicBezTo>
                    <a:pt x="12026" y="5739"/>
                    <a:pt x="11773" y="5922"/>
                    <a:pt x="11741" y="5940"/>
                  </a:cubicBezTo>
                  <a:cubicBezTo>
                    <a:pt x="11708" y="5959"/>
                    <a:pt x="10860" y="6005"/>
                    <a:pt x="10779" y="5977"/>
                  </a:cubicBezTo>
                  <a:cubicBezTo>
                    <a:pt x="10697" y="5950"/>
                    <a:pt x="10233" y="5720"/>
                    <a:pt x="10135" y="5702"/>
                  </a:cubicBezTo>
                  <a:cubicBezTo>
                    <a:pt x="10037" y="5684"/>
                    <a:pt x="9841" y="5693"/>
                    <a:pt x="9800" y="5674"/>
                  </a:cubicBezTo>
                  <a:cubicBezTo>
                    <a:pt x="9760" y="5656"/>
                    <a:pt x="9303" y="5161"/>
                    <a:pt x="9254" y="5152"/>
                  </a:cubicBezTo>
                  <a:cubicBezTo>
                    <a:pt x="9205" y="5142"/>
                    <a:pt x="8732" y="5133"/>
                    <a:pt x="8708" y="5152"/>
                  </a:cubicBezTo>
                  <a:cubicBezTo>
                    <a:pt x="8683" y="5170"/>
                    <a:pt x="8529" y="5372"/>
                    <a:pt x="8496" y="5454"/>
                  </a:cubicBezTo>
                  <a:cubicBezTo>
                    <a:pt x="8463" y="5537"/>
                    <a:pt x="8300" y="6106"/>
                    <a:pt x="8292" y="6170"/>
                  </a:cubicBezTo>
                  <a:cubicBezTo>
                    <a:pt x="8284" y="6234"/>
                    <a:pt x="7982" y="6638"/>
                    <a:pt x="7966" y="6711"/>
                  </a:cubicBezTo>
                  <a:cubicBezTo>
                    <a:pt x="7950" y="6784"/>
                    <a:pt x="6927" y="7734"/>
                    <a:pt x="6902" y="7743"/>
                  </a:cubicBezTo>
                  <a:cubicBezTo>
                    <a:pt x="6878" y="7752"/>
                    <a:pt x="5956" y="7628"/>
                    <a:pt x="5871" y="7624"/>
                  </a:cubicBezTo>
                  <a:cubicBezTo>
                    <a:pt x="5785" y="7619"/>
                    <a:pt x="5651" y="7761"/>
                    <a:pt x="5622" y="7778"/>
                  </a:cubicBezTo>
                  <a:cubicBezTo>
                    <a:pt x="5594" y="7795"/>
                    <a:pt x="5581" y="7807"/>
                    <a:pt x="5557" y="7778"/>
                  </a:cubicBezTo>
                  <a:cubicBezTo>
                    <a:pt x="5532" y="7749"/>
                    <a:pt x="5455" y="7142"/>
                    <a:pt x="5463" y="7119"/>
                  </a:cubicBezTo>
                  <a:cubicBezTo>
                    <a:pt x="5471" y="7096"/>
                    <a:pt x="5765" y="6638"/>
                    <a:pt x="5777" y="6582"/>
                  </a:cubicBezTo>
                  <a:cubicBezTo>
                    <a:pt x="5789" y="6527"/>
                    <a:pt x="5728" y="6147"/>
                    <a:pt x="5728" y="6092"/>
                  </a:cubicBezTo>
                  <a:cubicBezTo>
                    <a:pt x="5728" y="6037"/>
                    <a:pt x="5227" y="4872"/>
                    <a:pt x="5182" y="4780"/>
                  </a:cubicBezTo>
                  <a:cubicBezTo>
                    <a:pt x="5141" y="4696"/>
                    <a:pt x="4698" y="4336"/>
                    <a:pt x="4623" y="4275"/>
                  </a:cubicBezTo>
                  <a:lnTo>
                    <a:pt x="4623" y="10383"/>
                  </a:lnTo>
                  <a:cubicBezTo>
                    <a:pt x="4623" y="10383"/>
                    <a:pt x="4210" y="10530"/>
                    <a:pt x="4102" y="10554"/>
                  </a:cubicBezTo>
                  <a:cubicBezTo>
                    <a:pt x="3993" y="10578"/>
                    <a:pt x="3569" y="11288"/>
                    <a:pt x="3569" y="11288"/>
                  </a:cubicBezTo>
                  <a:cubicBezTo>
                    <a:pt x="3569" y="11288"/>
                    <a:pt x="3102" y="11092"/>
                    <a:pt x="3004" y="11092"/>
                  </a:cubicBezTo>
                  <a:cubicBezTo>
                    <a:pt x="2906" y="11092"/>
                    <a:pt x="2384" y="11202"/>
                    <a:pt x="2297" y="11190"/>
                  </a:cubicBezTo>
                  <a:cubicBezTo>
                    <a:pt x="2210" y="11178"/>
                    <a:pt x="1341" y="10860"/>
                    <a:pt x="1275" y="10847"/>
                  </a:cubicBezTo>
                  <a:cubicBezTo>
                    <a:pt x="1210" y="10835"/>
                    <a:pt x="1221" y="10309"/>
                    <a:pt x="1210" y="10242"/>
                  </a:cubicBezTo>
                  <a:cubicBezTo>
                    <a:pt x="1199" y="10175"/>
                    <a:pt x="775" y="9710"/>
                    <a:pt x="775" y="9710"/>
                  </a:cubicBezTo>
                  <a:cubicBezTo>
                    <a:pt x="775" y="9710"/>
                    <a:pt x="536" y="9967"/>
                    <a:pt x="504" y="10004"/>
                  </a:cubicBezTo>
                  <a:cubicBezTo>
                    <a:pt x="471" y="10040"/>
                    <a:pt x="417" y="10383"/>
                    <a:pt x="384" y="10444"/>
                  </a:cubicBezTo>
                  <a:cubicBezTo>
                    <a:pt x="361" y="10487"/>
                    <a:pt x="133" y="10633"/>
                    <a:pt x="0" y="10716"/>
                  </a:cubicBezTo>
                  <a:cubicBezTo>
                    <a:pt x="134" y="10925"/>
                    <a:pt x="256" y="11141"/>
                    <a:pt x="358" y="11370"/>
                  </a:cubicBezTo>
                  <a:cubicBezTo>
                    <a:pt x="669" y="12068"/>
                    <a:pt x="775" y="12858"/>
                    <a:pt x="1022" y="13588"/>
                  </a:cubicBezTo>
                  <a:cubicBezTo>
                    <a:pt x="1166" y="14014"/>
                    <a:pt x="1357" y="14417"/>
                    <a:pt x="1555" y="14815"/>
                  </a:cubicBezTo>
                  <a:cubicBezTo>
                    <a:pt x="1794" y="15296"/>
                    <a:pt x="2003" y="15539"/>
                    <a:pt x="2228" y="16028"/>
                  </a:cubicBezTo>
                  <a:cubicBezTo>
                    <a:pt x="2398" y="16395"/>
                    <a:pt x="2470" y="16817"/>
                    <a:pt x="2435" y="17229"/>
                  </a:cubicBezTo>
                  <a:cubicBezTo>
                    <a:pt x="2422" y="17388"/>
                    <a:pt x="2390" y="17551"/>
                    <a:pt x="2304" y="17677"/>
                  </a:cubicBezTo>
                  <a:cubicBezTo>
                    <a:pt x="2217" y="17803"/>
                    <a:pt x="2065" y="17883"/>
                    <a:pt x="1930" y="17833"/>
                  </a:cubicBezTo>
                  <a:cubicBezTo>
                    <a:pt x="1807" y="17922"/>
                    <a:pt x="1806" y="18158"/>
                    <a:pt x="1928" y="18249"/>
                  </a:cubicBezTo>
                  <a:cubicBezTo>
                    <a:pt x="1971" y="18280"/>
                    <a:pt x="2023" y="18295"/>
                    <a:pt x="2057" y="18338"/>
                  </a:cubicBezTo>
                  <a:cubicBezTo>
                    <a:pt x="2086" y="18375"/>
                    <a:pt x="2095" y="18426"/>
                    <a:pt x="2105" y="18474"/>
                  </a:cubicBezTo>
                  <a:cubicBezTo>
                    <a:pt x="2172" y="18802"/>
                    <a:pt x="2315" y="19110"/>
                    <a:pt x="2515" y="19360"/>
                  </a:cubicBezTo>
                  <a:cubicBezTo>
                    <a:pt x="2580" y="19441"/>
                    <a:pt x="2655" y="19526"/>
                    <a:pt x="2663" y="19635"/>
                  </a:cubicBezTo>
                  <a:cubicBezTo>
                    <a:pt x="2669" y="19718"/>
                    <a:pt x="2634" y="19797"/>
                    <a:pt x="2606" y="19874"/>
                  </a:cubicBezTo>
                  <a:cubicBezTo>
                    <a:pt x="2532" y="20078"/>
                    <a:pt x="2503" y="20301"/>
                    <a:pt x="2520" y="20521"/>
                  </a:cubicBezTo>
                  <a:cubicBezTo>
                    <a:pt x="2611" y="20287"/>
                    <a:pt x="2859" y="20147"/>
                    <a:pt x="3080" y="20203"/>
                  </a:cubicBezTo>
                  <a:cubicBezTo>
                    <a:pt x="3074" y="20401"/>
                    <a:pt x="3099" y="20599"/>
                    <a:pt x="3155" y="20786"/>
                  </a:cubicBezTo>
                  <a:cubicBezTo>
                    <a:pt x="3350" y="20764"/>
                    <a:pt x="3548" y="20785"/>
                    <a:pt x="3735" y="20848"/>
                  </a:cubicBezTo>
                  <a:cubicBezTo>
                    <a:pt x="3977" y="21218"/>
                    <a:pt x="4337" y="21488"/>
                    <a:pt x="4733" y="21600"/>
                  </a:cubicBezTo>
                  <a:cubicBezTo>
                    <a:pt x="4870" y="21290"/>
                    <a:pt x="5157" y="21070"/>
                    <a:pt x="5464" y="21039"/>
                  </a:cubicBezTo>
                  <a:cubicBezTo>
                    <a:pt x="5588" y="21027"/>
                    <a:pt x="5743" y="21025"/>
                    <a:pt x="5798" y="20899"/>
                  </a:cubicBezTo>
                  <a:cubicBezTo>
                    <a:pt x="5811" y="20869"/>
                    <a:pt x="5816" y="20836"/>
                    <a:pt x="5828" y="20806"/>
                  </a:cubicBezTo>
                  <a:cubicBezTo>
                    <a:pt x="5869" y="20711"/>
                    <a:pt x="5980" y="20679"/>
                    <a:pt x="6073" y="20695"/>
                  </a:cubicBezTo>
                  <a:cubicBezTo>
                    <a:pt x="6166" y="20711"/>
                    <a:pt x="6251" y="20764"/>
                    <a:pt x="6342" y="20794"/>
                  </a:cubicBezTo>
                  <a:cubicBezTo>
                    <a:pt x="6647" y="20894"/>
                    <a:pt x="6969" y="20729"/>
                    <a:pt x="7239" y="20542"/>
                  </a:cubicBezTo>
                  <a:cubicBezTo>
                    <a:pt x="7510" y="20354"/>
                    <a:pt x="7783" y="20133"/>
                    <a:pt x="8100" y="20107"/>
                  </a:cubicBezTo>
                  <a:cubicBezTo>
                    <a:pt x="8353" y="20087"/>
                    <a:pt x="8598" y="20194"/>
                    <a:pt x="8847" y="20247"/>
                  </a:cubicBezTo>
                  <a:cubicBezTo>
                    <a:pt x="8915" y="20261"/>
                    <a:pt x="8990" y="20271"/>
                    <a:pt x="9050" y="20233"/>
                  </a:cubicBezTo>
                  <a:cubicBezTo>
                    <a:pt x="9100" y="20202"/>
                    <a:pt x="9132" y="20144"/>
                    <a:pt x="9181" y="20111"/>
                  </a:cubicBezTo>
                  <a:cubicBezTo>
                    <a:pt x="9248" y="20066"/>
                    <a:pt x="9331" y="20076"/>
                    <a:pt x="9408" y="20088"/>
                  </a:cubicBezTo>
                  <a:cubicBezTo>
                    <a:pt x="9811" y="20154"/>
                    <a:pt x="10209" y="20258"/>
                    <a:pt x="10596" y="20398"/>
                  </a:cubicBezTo>
                  <a:cubicBezTo>
                    <a:pt x="10725" y="20445"/>
                    <a:pt x="10883" y="20489"/>
                    <a:pt x="10981" y="20384"/>
                  </a:cubicBezTo>
                  <a:cubicBezTo>
                    <a:pt x="11034" y="20329"/>
                    <a:pt x="11052" y="20245"/>
                    <a:pt x="11090" y="20176"/>
                  </a:cubicBezTo>
                  <a:cubicBezTo>
                    <a:pt x="11171" y="20027"/>
                    <a:pt x="11338" y="19961"/>
                    <a:pt x="11493" y="19968"/>
                  </a:cubicBezTo>
                  <a:cubicBezTo>
                    <a:pt x="11648" y="19975"/>
                    <a:pt x="11795" y="20042"/>
                    <a:pt x="11938" y="20110"/>
                  </a:cubicBezTo>
                  <a:cubicBezTo>
                    <a:pt x="11972" y="20126"/>
                    <a:pt x="12010" y="20143"/>
                    <a:pt x="12046" y="20131"/>
                  </a:cubicBezTo>
                  <a:cubicBezTo>
                    <a:pt x="12134" y="20103"/>
                    <a:pt x="12123" y="19963"/>
                    <a:pt x="12137" y="19862"/>
                  </a:cubicBezTo>
                  <a:cubicBezTo>
                    <a:pt x="12168" y="19654"/>
                    <a:pt x="12377" y="19538"/>
                    <a:pt x="12564" y="19530"/>
                  </a:cubicBezTo>
                  <a:cubicBezTo>
                    <a:pt x="12751" y="19521"/>
                    <a:pt x="12937" y="19584"/>
                    <a:pt x="13124" y="19573"/>
                  </a:cubicBezTo>
                  <a:cubicBezTo>
                    <a:pt x="13371" y="19559"/>
                    <a:pt x="13511" y="19398"/>
                    <a:pt x="13713" y="19272"/>
                  </a:cubicBezTo>
                  <a:cubicBezTo>
                    <a:pt x="13913" y="19147"/>
                    <a:pt x="14121" y="19038"/>
                    <a:pt x="14319" y="18904"/>
                  </a:cubicBezTo>
                  <a:cubicBezTo>
                    <a:pt x="14769" y="18602"/>
                    <a:pt x="15205" y="18272"/>
                    <a:pt x="15615" y="17903"/>
                  </a:cubicBezTo>
                  <a:cubicBezTo>
                    <a:pt x="15915" y="17632"/>
                    <a:pt x="16201" y="17341"/>
                    <a:pt x="16486" y="17050"/>
                  </a:cubicBezTo>
                  <a:cubicBezTo>
                    <a:pt x="17074" y="16451"/>
                    <a:pt x="17670" y="15841"/>
                    <a:pt x="18096" y="15088"/>
                  </a:cubicBezTo>
                  <a:cubicBezTo>
                    <a:pt x="18226" y="14857"/>
                    <a:pt x="18339" y="14614"/>
                    <a:pt x="18452" y="14371"/>
                  </a:cubicBezTo>
                  <a:cubicBezTo>
                    <a:pt x="18606" y="14043"/>
                    <a:pt x="18759" y="13715"/>
                    <a:pt x="18912" y="13387"/>
                  </a:cubicBezTo>
                  <a:cubicBezTo>
                    <a:pt x="19126" y="12929"/>
                    <a:pt x="19344" y="12463"/>
                    <a:pt x="19664" y="12091"/>
                  </a:cubicBezTo>
                  <a:cubicBezTo>
                    <a:pt x="19859" y="11865"/>
                    <a:pt x="20089" y="11677"/>
                    <a:pt x="20341" y="11539"/>
                  </a:cubicBezTo>
                  <a:cubicBezTo>
                    <a:pt x="20400" y="11507"/>
                    <a:pt x="20462" y="11476"/>
                    <a:pt x="20507" y="11423"/>
                  </a:cubicBezTo>
                  <a:cubicBezTo>
                    <a:pt x="20579" y="11340"/>
                    <a:pt x="20598" y="11217"/>
                    <a:pt x="20641" y="11112"/>
                  </a:cubicBezTo>
                  <a:cubicBezTo>
                    <a:pt x="20726" y="10906"/>
                    <a:pt x="20902" y="10771"/>
                    <a:pt x="21051" y="10618"/>
                  </a:cubicBezTo>
                  <a:cubicBezTo>
                    <a:pt x="21200" y="10464"/>
                    <a:pt x="21335" y="10251"/>
                    <a:pt x="21296" y="10028"/>
                  </a:cubicBezTo>
                  <a:cubicBezTo>
                    <a:pt x="21137" y="9992"/>
                    <a:pt x="21059" y="9775"/>
                    <a:pt x="21084" y="9594"/>
                  </a:cubicBezTo>
                  <a:cubicBezTo>
                    <a:pt x="21109" y="9414"/>
                    <a:pt x="21204" y="9257"/>
                    <a:pt x="21274" y="9093"/>
                  </a:cubicBezTo>
                  <a:cubicBezTo>
                    <a:pt x="21371" y="8867"/>
                    <a:pt x="21422" y="8620"/>
                    <a:pt x="21473" y="8375"/>
                  </a:cubicBezTo>
                  <a:cubicBezTo>
                    <a:pt x="21516" y="8173"/>
                    <a:pt x="21558" y="7970"/>
                    <a:pt x="21600" y="7768"/>
                  </a:cubicBezTo>
                  <a:lnTo>
                    <a:pt x="20668" y="7705"/>
                  </a:lnTo>
                  <a:cubicBezTo>
                    <a:pt x="20668" y="7705"/>
                    <a:pt x="20668" y="7691"/>
                    <a:pt x="20668" y="7691"/>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4" name="Shape">
              <a:extLst>
                <a:ext uri="{FF2B5EF4-FFF2-40B4-BE49-F238E27FC236}">
                  <a16:creationId xmlns:a16="http://schemas.microsoft.com/office/drawing/2014/main" id="{BFF04DA1-6866-7840-9D03-BDEEE7FC726C}"/>
                </a:ext>
              </a:extLst>
            </p:cNvPr>
            <p:cNvSpPr/>
            <p:nvPr/>
          </p:nvSpPr>
          <p:spPr>
            <a:xfrm>
              <a:off x="15036799" y="10934700"/>
              <a:ext cx="2054010" cy="2488985"/>
            </a:xfrm>
            <a:custGeom>
              <a:avLst/>
              <a:gdLst/>
              <a:ahLst/>
              <a:cxnLst>
                <a:cxn ang="0">
                  <a:pos x="wd2" y="hd2"/>
                </a:cxn>
                <a:cxn ang="5400000">
                  <a:pos x="wd2" y="hd2"/>
                </a:cxn>
                <a:cxn ang="10800000">
                  <a:pos x="wd2" y="hd2"/>
                </a:cxn>
                <a:cxn ang="16200000">
                  <a:pos x="wd2" y="hd2"/>
                </a:cxn>
              </a:cxnLst>
              <a:rect l="0" t="0" r="r" b="b"/>
              <a:pathLst>
                <a:path w="21599" h="21586" extrusionOk="0">
                  <a:moveTo>
                    <a:pt x="19106" y="4685"/>
                  </a:moveTo>
                  <a:cubicBezTo>
                    <a:pt x="19151" y="4539"/>
                    <a:pt x="21599" y="2189"/>
                    <a:pt x="21599" y="2189"/>
                  </a:cubicBezTo>
                  <a:lnTo>
                    <a:pt x="21550" y="2191"/>
                  </a:lnTo>
                  <a:cubicBezTo>
                    <a:pt x="21525" y="2209"/>
                    <a:pt x="21510" y="2221"/>
                    <a:pt x="21510" y="2221"/>
                  </a:cubicBezTo>
                  <a:cubicBezTo>
                    <a:pt x="21510" y="2221"/>
                    <a:pt x="21525" y="2209"/>
                    <a:pt x="21550" y="2191"/>
                  </a:cubicBezTo>
                  <a:lnTo>
                    <a:pt x="19618" y="2262"/>
                  </a:lnTo>
                  <a:lnTo>
                    <a:pt x="18349" y="1528"/>
                  </a:lnTo>
                  <a:lnTo>
                    <a:pt x="16101" y="2391"/>
                  </a:lnTo>
                  <a:lnTo>
                    <a:pt x="15055" y="3456"/>
                  </a:lnTo>
                  <a:cubicBezTo>
                    <a:pt x="15055" y="3456"/>
                    <a:pt x="12763" y="2905"/>
                    <a:pt x="12607" y="2868"/>
                  </a:cubicBezTo>
                  <a:cubicBezTo>
                    <a:pt x="12451" y="2831"/>
                    <a:pt x="11449" y="2978"/>
                    <a:pt x="11316" y="2978"/>
                  </a:cubicBezTo>
                  <a:cubicBezTo>
                    <a:pt x="11182" y="2978"/>
                    <a:pt x="8467" y="1289"/>
                    <a:pt x="8389" y="1253"/>
                  </a:cubicBezTo>
                  <a:cubicBezTo>
                    <a:pt x="8311" y="1216"/>
                    <a:pt x="5774" y="1161"/>
                    <a:pt x="5774" y="1161"/>
                  </a:cubicBezTo>
                  <a:cubicBezTo>
                    <a:pt x="5774" y="1161"/>
                    <a:pt x="5752" y="1069"/>
                    <a:pt x="5618" y="886"/>
                  </a:cubicBezTo>
                  <a:cubicBezTo>
                    <a:pt x="5550" y="792"/>
                    <a:pt x="5440" y="678"/>
                    <a:pt x="5339" y="581"/>
                  </a:cubicBezTo>
                  <a:cubicBezTo>
                    <a:pt x="5177" y="613"/>
                    <a:pt x="4598" y="724"/>
                    <a:pt x="4554" y="714"/>
                  </a:cubicBezTo>
                  <a:cubicBezTo>
                    <a:pt x="4504" y="702"/>
                    <a:pt x="4260" y="110"/>
                    <a:pt x="4127" y="55"/>
                  </a:cubicBezTo>
                  <a:cubicBezTo>
                    <a:pt x="3993" y="0"/>
                    <a:pt x="3601" y="-14"/>
                    <a:pt x="3484" y="14"/>
                  </a:cubicBezTo>
                  <a:cubicBezTo>
                    <a:pt x="3367" y="41"/>
                    <a:pt x="1907" y="578"/>
                    <a:pt x="1631" y="626"/>
                  </a:cubicBezTo>
                  <a:cubicBezTo>
                    <a:pt x="1356" y="674"/>
                    <a:pt x="1314" y="702"/>
                    <a:pt x="1205" y="757"/>
                  </a:cubicBezTo>
                  <a:cubicBezTo>
                    <a:pt x="1108" y="807"/>
                    <a:pt x="383" y="1483"/>
                    <a:pt x="241" y="1616"/>
                  </a:cubicBezTo>
                  <a:cubicBezTo>
                    <a:pt x="264" y="1729"/>
                    <a:pt x="395" y="2361"/>
                    <a:pt x="471" y="2437"/>
                  </a:cubicBezTo>
                  <a:cubicBezTo>
                    <a:pt x="554" y="2519"/>
                    <a:pt x="1372" y="2795"/>
                    <a:pt x="1421" y="2919"/>
                  </a:cubicBezTo>
                  <a:cubicBezTo>
                    <a:pt x="1469" y="3042"/>
                    <a:pt x="1406" y="3841"/>
                    <a:pt x="1421" y="3951"/>
                  </a:cubicBezTo>
                  <a:cubicBezTo>
                    <a:pt x="1436" y="4061"/>
                    <a:pt x="2841" y="5619"/>
                    <a:pt x="2841" y="5619"/>
                  </a:cubicBezTo>
                  <a:lnTo>
                    <a:pt x="2775" y="7366"/>
                  </a:lnTo>
                  <a:lnTo>
                    <a:pt x="2307" y="7834"/>
                  </a:lnTo>
                  <a:cubicBezTo>
                    <a:pt x="2307" y="7834"/>
                    <a:pt x="2374" y="8219"/>
                    <a:pt x="2307" y="8316"/>
                  </a:cubicBezTo>
                  <a:cubicBezTo>
                    <a:pt x="2240" y="8412"/>
                    <a:pt x="1973" y="8495"/>
                    <a:pt x="1890" y="8550"/>
                  </a:cubicBezTo>
                  <a:cubicBezTo>
                    <a:pt x="1806" y="8605"/>
                    <a:pt x="1472" y="8811"/>
                    <a:pt x="1389" y="9059"/>
                  </a:cubicBezTo>
                  <a:cubicBezTo>
                    <a:pt x="1306" y="9307"/>
                    <a:pt x="655" y="9665"/>
                    <a:pt x="588" y="9789"/>
                  </a:cubicBezTo>
                  <a:cubicBezTo>
                    <a:pt x="521" y="9913"/>
                    <a:pt x="3" y="10890"/>
                    <a:pt x="1" y="11014"/>
                  </a:cubicBezTo>
                  <a:cubicBezTo>
                    <a:pt x="-1" y="11133"/>
                    <a:pt x="1" y="13141"/>
                    <a:pt x="1" y="13314"/>
                  </a:cubicBezTo>
                  <a:cubicBezTo>
                    <a:pt x="21" y="13313"/>
                    <a:pt x="31" y="13313"/>
                    <a:pt x="31" y="13313"/>
                  </a:cubicBezTo>
                  <a:cubicBezTo>
                    <a:pt x="31" y="13313"/>
                    <a:pt x="10003" y="17811"/>
                    <a:pt x="10025" y="17884"/>
                  </a:cubicBezTo>
                  <a:cubicBezTo>
                    <a:pt x="10047" y="17958"/>
                    <a:pt x="9825" y="18912"/>
                    <a:pt x="9914" y="18949"/>
                  </a:cubicBezTo>
                  <a:cubicBezTo>
                    <a:pt x="9992" y="18981"/>
                    <a:pt x="13547" y="21066"/>
                    <a:pt x="14434" y="21586"/>
                  </a:cubicBezTo>
                  <a:cubicBezTo>
                    <a:pt x="14453" y="21562"/>
                    <a:pt x="14477" y="21541"/>
                    <a:pt x="14524" y="21522"/>
                  </a:cubicBezTo>
                  <a:cubicBezTo>
                    <a:pt x="14554" y="21509"/>
                    <a:pt x="14803" y="21514"/>
                    <a:pt x="14806" y="21494"/>
                  </a:cubicBezTo>
                  <a:cubicBezTo>
                    <a:pt x="14948" y="20725"/>
                    <a:pt x="15325" y="19987"/>
                    <a:pt x="15895" y="19367"/>
                  </a:cubicBezTo>
                  <a:cubicBezTo>
                    <a:pt x="16401" y="18815"/>
                    <a:pt x="17101" y="18241"/>
                    <a:pt x="16961" y="17558"/>
                  </a:cubicBezTo>
                  <a:cubicBezTo>
                    <a:pt x="16942" y="17467"/>
                    <a:pt x="16908" y="17375"/>
                    <a:pt x="16921" y="17283"/>
                  </a:cubicBezTo>
                  <a:cubicBezTo>
                    <a:pt x="16942" y="17135"/>
                    <a:pt x="17077" y="17018"/>
                    <a:pt x="17205" y="16913"/>
                  </a:cubicBezTo>
                  <a:cubicBezTo>
                    <a:pt x="17298" y="16837"/>
                    <a:pt x="17396" y="16758"/>
                    <a:pt x="17521" y="16725"/>
                  </a:cubicBezTo>
                  <a:cubicBezTo>
                    <a:pt x="17623" y="16699"/>
                    <a:pt x="17733" y="16706"/>
                    <a:pt x="17840" y="16702"/>
                  </a:cubicBezTo>
                  <a:cubicBezTo>
                    <a:pt x="18581" y="16675"/>
                    <a:pt x="19193" y="16028"/>
                    <a:pt x="19043" y="15429"/>
                  </a:cubicBezTo>
                  <a:cubicBezTo>
                    <a:pt x="19420" y="15614"/>
                    <a:pt x="19922" y="15429"/>
                    <a:pt x="20202" y="15150"/>
                  </a:cubicBezTo>
                  <a:cubicBezTo>
                    <a:pt x="20348" y="15003"/>
                    <a:pt x="20456" y="14836"/>
                    <a:pt x="20559" y="14666"/>
                  </a:cubicBezTo>
                  <a:cubicBezTo>
                    <a:pt x="20190" y="14211"/>
                    <a:pt x="19258" y="13064"/>
                    <a:pt x="19151" y="12946"/>
                  </a:cubicBezTo>
                  <a:cubicBezTo>
                    <a:pt x="19017" y="12799"/>
                    <a:pt x="19062" y="4832"/>
                    <a:pt x="19106" y="468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5" name="Shape">
              <a:extLst>
                <a:ext uri="{FF2B5EF4-FFF2-40B4-BE49-F238E27FC236}">
                  <a16:creationId xmlns:a16="http://schemas.microsoft.com/office/drawing/2014/main" id="{AA80AA79-8510-1A40-BB63-62B08F6E5845}"/>
                </a:ext>
              </a:extLst>
            </p:cNvPr>
            <p:cNvSpPr/>
            <p:nvPr/>
          </p:nvSpPr>
          <p:spPr>
            <a:xfrm>
              <a:off x="16852900" y="9105900"/>
              <a:ext cx="2651879" cy="3525555"/>
            </a:xfrm>
            <a:custGeom>
              <a:avLst/>
              <a:gdLst/>
              <a:ahLst/>
              <a:cxnLst>
                <a:cxn ang="0">
                  <a:pos x="wd2" y="hd2"/>
                </a:cxn>
                <a:cxn ang="5400000">
                  <a:pos x="wd2" y="hd2"/>
                </a:cxn>
                <a:cxn ang="10800000">
                  <a:pos x="wd2" y="hd2"/>
                </a:cxn>
                <a:cxn ang="16200000">
                  <a:pos x="wd2" y="hd2"/>
                </a:cxn>
              </a:cxnLst>
              <a:rect l="0" t="0" r="r" b="b"/>
              <a:pathLst>
                <a:path w="21408" h="21573" extrusionOk="0">
                  <a:moveTo>
                    <a:pt x="21376" y="246"/>
                  </a:moveTo>
                  <a:cubicBezTo>
                    <a:pt x="21040" y="271"/>
                    <a:pt x="20761" y="38"/>
                    <a:pt x="20426" y="4"/>
                  </a:cubicBezTo>
                  <a:cubicBezTo>
                    <a:pt x="20124" y="-27"/>
                    <a:pt x="19816" y="126"/>
                    <a:pt x="19701" y="340"/>
                  </a:cubicBezTo>
                  <a:cubicBezTo>
                    <a:pt x="19664" y="409"/>
                    <a:pt x="19643" y="485"/>
                    <a:pt x="19582" y="544"/>
                  </a:cubicBezTo>
                  <a:cubicBezTo>
                    <a:pt x="19506" y="616"/>
                    <a:pt x="19382" y="648"/>
                    <a:pt x="19266" y="677"/>
                  </a:cubicBezTo>
                  <a:cubicBezTo>
                    <a:pt x="18198" y="937"/>
                    <a:pt x="17096" y="1200"/>
                    <a:pt x="15977" y="1132"/>
                  </a:cubicBezTo>
                  <a:cubicBezTo>
                    <a:pt x="15879" y="1126"/>
                    <a:pt x="15778" y="1118"/>
                    <a:pt x="15682" y="1135"/>
                  </a:cubicBezTo>
                  <a:cubicBezTo>
                    <a:pt x="15562" y="1156"/>
                    <a:pt x="15461" y="1215"/>
                    <a:pt x="15354" y="1261"/>
                  </a:cubicBezTo>
                  <a:cubicBezTo>
                    <a:pt x="14810" y="1496"/>
                    <a:pt x="14136" y="1408"/>
                    <a:pt x="13510" y="1431"/>
                  </a:cubicBezTo>
                  <a:cubicBezTo>
                    <a:pt x="13413" y="1435"/>
                    <a:pt x="13316" y="1441"/>
                    <a:pt x="13225" y="1464"/>
                  </a:cubicBezTo>
                  <a:cubicBezTo>
                    <a:pt x="13103" y="1494"/>
                    <a:pt x="12996" y="1551"/>
                    <a:pt x="12892" y="1608"/>
                  </a:cubicBezTo>
                  <a:cubicBezTo>
                    <a:pt x="12572" y="1784"/>
                    <a:pt x="12254" y="1971"/>
                    <a:pt x="11882" y="2072"/>
                  </a:cubicBezTo>
                  <a:cubicBezTo>
                    <a:pt x="11451" y="2188"/>
                    <a:pt x="11145" y="2111"/>
                    <a:pt x="10742" y="2003"/>
                  </a:cubicBezTo>
                  <a:cubicBezTo>
                    <a:pt x="10344" y="1897"/>
                    <a:pt x="9882" y="1894"/>
                    <a:pt x="9492" y="2019"/>
                  </a:cubicBezTo>
                  <a:cubicBezTo>
                    <a:pt x="9170" y="2121"/>
                    <a:pt x="8898" y="2298"/>
                    <a:pt x="8582" y="2410"/>
                  </a:cubicBezTo>
                  <a:cubicBezTo>
                    <a:pt x="8097" y="2583"/>
                    <a:pt x="7515" y="2589"/>
                    <a:pt x="7023" y="2427"/>
                  </a:cubicBezTo>
                  <a:cubicBezTo>
                    <a:pt x="6789" y="2350"/>
                    <a:pt x="6579" y="2239"/>
                    <a:pt x="6370" y="2128"/>
                  </a:cubicBezTo>
                  <a:cubicBezTo>
                    <a:pt x="6248" y="2063"/>
                    <a:pt x="6126" y="1998"/>
                    <a:pt x="6004" y="1933"/>
                  </a:cubicBezTo>
                  <a:cubicBezTo>
                    <a:pt x="5773" y="1810"/>
                    <a:pt x="5518" y="1658"/>
                    <a:pt x="5501" y="1444"/>
                  </a:cubicBezTo>
                  <a:cubicBezTo>
                    <a:pt x="5497" y="1389"/>
                    <a:pt x="5509" y="1332"/>
                    <a:pt x="5489" y="1279"/>
                  </a:cubicBezTo>
                  <a:cubicBezTo>
                    <a:pt x="5445" y="1160"/>
                    <a:pt x="5268" y="1107"/>
                    <a:pt x="5124" y="1050"/>
                  </a:cubicBezTo>
                  <a:cubicBezTo>
                    <a:pt x="5002" y="1001"/>
                    <a:pt x="4891" y="937"/>
                    <a:pt x="4795" y="862"/>
                  </a:cubicBezTo>
                  <a:cubicBezTo>
                    <a:pt x="4595" y="1084"/>
                    <a:pt x="4160" y="1563"/>
                    <a:pt x="4127" y="1573"/>
                  </a:cubicBezTo>
                  <a:cubicBezTo>
                    <a:pt x="4125" y="1573"/>
                    <a:pt x="4121" y="1573"/>
                    <a:pt x="4118" y="1573"/>
                  </a:cubicBezTo>
                  <a:lnTo>
                    <a:pt x="3520" y="2175"/>
                  </a:lnTo>
                  <a:cubicBezTo>
                    <a:pt x="3520" y="2175"/>
                    <a:pt x="4289" y="3263"/>
                    <a:pt x="4358" y="3328"/>
                  </a:cubicBezTo>
                  <a:cubicBezTo>
                    <a:pt x="4426" y="3392"/>
                    <a:pt x="4648" y="3366"/>
                    <a:pt x="4751" y="3444"/>
                  </a:cubicBezTo>
                  <a:cubicBezTo>
                    <a:pt x="4853" y="3522"/>
                    <a:pt x="4819" y="3755"/>
                    <a:pt x="4836" y="3820"/>
                  </a:cubicBezTo>
                  <a:cubicBezTo>
                    <a:pt x="4853" y="3885"/>
                    <a:pt x="6271" y="4804"/>
                    <a:pt x="6442" y="4869"/>
                  </a:cubicBezTo>
                  <a:cubicBezTo>
                    <a:pt x="6613" y="4934"/>
                    <a:pt x="12372" y="6384"/>
                    <a:pt x="12525" y="6397"/>
                  </a:cubicBezTo>
                  <a:cubicBezTo>
                    <a:pt x="12679" y="6410"/>
                    <a:pt x="14696" y="6358"/>
                    <a:pt x="14661" y="6397"/>
                  </a:cubicBezTo>
                  <a:cubicBezTo>
                    <a:pt x="14627" y="6436"/>
                    <a:pt x="8373" y="11254"/>
                    <a:pt x="8322" y="11254"/>
                  </a:cubicBezTo>
                  <a:cubicBezTo>
                    <a:pt x="8271" y="11254"/>
                    <a:pt x="7365" y="11190"/>
                    <a:pt x="6972" y="11190"/>
                  </a:cubicBezTo>
                  <a:cubicBezTo>
                    <a:pt x="6579" y="11190"/>
                    <a:pt x="6088" y="11241"/>
                    <a:pt x="5994" y="11267"/>
                  </a:cubicBezTo>
                  <a:cubicBezTo>
                    <a:pt x="5900" y="11293"/>
                    <a:pt x="4708" y="11636"/>
                    <a:pt x="4605" y="11656"/>
                  </a:cubicBezTo>
                  <a:cubicBezTo>
                    <a:pt x="4503" y="11675"/>
                    <a:pt x="3969" y="12206"/>
                    <a:pt x="3935" y="12248"/>
                  </a:cubicBezTo>
                  <a:cubicBezTo>
                    <a:pt x="3900" y="12291"/>
                    <a:pt x="2410" y="12417"/>
                    <a:pt x="2375" y="12420"/>
                  </a:cubicBezTo>
                  <a:cubicBezTo>
                    <a:pt x="2341" y="12423"/>
                    <a:pt x="2294" y="12449"/>
                    <a:pt x="2269" y="12494"/>
                  </a:cubicBezTo>
                  <a:cubicBezTo>
                    <a:pt x="2247" y="12532"/>
                    <a:pt x="1998" y="12709"/>
                    <a:pt x="1910" y="12771"/>
                  </a:cubicBezTo>
                  <a:lnTo>
                    <a:pt x="1948" y="12770"/>
                  </a:lnTo>
                  <a:cubicBezTo>
                    <a:pt x="1948" y="12770"/>
                    <a:pt x="69" y="14428"/>
                    <a:pt x="34" y="14531"/>
                  </a:cubicBezTo>
                  <a:cubicBezTo>
                    <a:pt x="0" y="14635"/>
                    <a:pt x="-34" y="20256"/>
                    <a:pt x="69" y="20360"/>
                  </a:cubicBezTo>
                  <a:cubicBezTo>
                    <a:pt x="151" y="20443"/>
                    <a:pt x="867" y="21252"/>
                    <a:pt x="1150" y="21573"/>
                  </a:cubicBezTo>
                  <a:cubicBezTo>
                    <a:pt x="1222" y="21464"/>
                    <a:pt x="1291" y="21354"/>
                    <a:pt x="1377" y="21251"/>
                  </a:cubicBezTo>
                  <a:cubicBezTo>
                    <a:pt x="1580" y="21009"/>
                    <a:pt x="1872" y="20819"/>
                    <a:pt x="2154" y="20628"/>
                  </a:cubicBezTo>
                  <a:cubicBezTo>
                    <a:pt x="3235" y="19897"/>
                    <a:pt x="4248" y="19104"/>
                    <a:pt x="5127" y="18231"/>
                  </a:cubicBezTo>
                  <a:cubicBezTo>
                    <a:pt x="5717" y="17645"/>
                    <a:pt x="6264" y="17009"/>
                    <a:pt x="7068" y="16594"/>
                  </a:cubicBezTo>
                  <a:cubicBezTo>
                    <a:pt x="7573" y="16334"/>
                    <a:pt x="8163" y="16108"/>
                    <a:pt x="8713" y="15909"/>
                  </a:cubicBezTo>
                  <a:cubicBezTo>
                    <a:pt x="9270" y="15707"/>
                    <a:pt x="9776" y="15421"/>
                    <a:pt x="10278" y="15144"/>
                  </a:cubicBezTo>
                  <a:cubicBezTo>
                    <a:pt x="11350" y="14550"/>
                    <a:pt x="12373" y="13906"/>
                    <a:pt x="13356" y="13230"/>
                  </a:cubicBezTo>
                  <a:cubicBezTo>
                    <a:pt x="13630" y="13041"/>
                    <a:pt x="13903" y="12848"/>
                    <a:pt x="14116" y="12618"/>
                  </a:cubicBezTo>
                  <a:cubicBezTo>
                    <a:pt x="14360" y="12354"/>
                    <a:pt x="14518" y="12050"/>
                    <a:pt x="14713" y="11763"/>
                  </a:cubicBezTo>
                  <a:cubicBezTo>
                    <a:pt x="14970" y="11385"/>
                    <a:pt x="15291" y="11035"/>
                    <a:pt x="15593" y="10676"/>
                  </a:cubicBezTo>
                  <a:cubicBezTo>
                    <a:pt x="15887" y="10327"/>
                    <a:pt x="16163" y="9968"/>
                    <a:pt x="16419" y="9602"/>
                  </a:cubicBezTo>
                  <a:cubicBezTo>
                    <a:pt x="16654" y="9266"/>
                    <a:pt x="16787" y="8891"/>
                    <a:pt x="17017" y="8564"/>
                  </a:cubicBezTo>
                  <a:cubicBezTo>
                    <a:pt x="17117" y="8422"/>
                    <a:pt x="17278" y="8310"/>
                    <a:pt x="17410" y="8184"/>
                  </a:cubicBezTo>
                  <a:cubicBezTo>
                    <a:pt x="17672" y="7933"/>
                    <a:pt x="17818" y="7625"/>
                    <a:pt x="17991" y="7332"/>
                  </a:cubicBezTo>
                  <a:cubicBezTo>
                    <a:pt x="18420" y="6608"/>
                    <a:pt x="19178" y="6043"/>
                    <a:pt x="19549" y="5304"/>
                  </a:cubicBezTo>
                  <a:cubicBezTo>
                    <a:pt x="19646" y="5111"/>
                    <a:pt x="19721" y="4907"/>
                    <a:pt x="19882" y="4739"/>
                  </a:cubicBezTo>
                  <a:cubicBezTo>
                    <a:pt x="19966" y="4652"/>
                    <a:pt x="20072" y="4578"/>
                    <a:pt x="20154" y="4489"/>
                  </a:cubicBezTo>
                  <a:cubicBezTo>
                    <a:pt x="20557" y="4051"/>
                    <a:pt x="20283" y="3410"/>
                    <a:pt x="20635" y="2948"/>
                  </a:cubicBezTo>
                  <a:cubicBezTo>
                    <a:pt x="20786" y="2750"/>
                    <a:pt x="21046" y="2594"/>
                    <a:pt x="21109" y="2370"/>
                  </a:cubicBezTo>
                  <a:cubicBezTo>
                    <a:pt x="21180" y="2115"/>
                    <a:pt x="20972" y="1835"/>
                    <a:pt x="21113" y="1597"/>
                  </a:cubicBezTo>
                  <a:cubicBezTo>
                    <a:pt x="21144" y="1545"/>
                    <a:pt x="21192" y="1495"/>
                    <a:pt x="21196" y="1438"/>
                  </a:cubicBezTo>
                  <a:cubicBezTo>
                    <a:pt x="21204" y="1332"/>
                    <a:pt x="21066" y="1256"/>
                    <a:pt x="21015" y="1157"/>
                  </a:cubicBezTo>
                  <a:cubicBezTo>
                    <a:pt x="20851" y="848"/>
                    <a:pt x="21566" y="547"/>
                    <a:pt x="21376" y="246"/>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6" name="Shape">
              <a:extLst>
                <a:ext uri="{FF2B5EF4-FFF2-40B4-BE49-F238E27FC236}">
                  <a16:creationId xmlns:a16="http://schemas.microsoft.com/office/drawing/2014/main" id="{AB83171B-3A47-0747-8D56-470130CD2DBA}"/>
                </a:ext>
              </a:extLst>
            </p:cNvPr>
            <p:cNvSpPr/>
            <p:nvPr/>
          </p:nvSpPr>
          <p:spPr>
            <a:xfrm>
              <a:off x="14084300" y="14909799"/>
              <a:ext cx="2712431" cy="4487125"/>
            </a:xfrm>
            <a:custGeom>
              <a:avLst/>
              <a:gdLst/>
              <a:ahLst/>
              <a:cxnLst>
                <a:cxn ang="0">
                  <a:pos x="wd2" y="hd2"/>
                </a:cxn>
                <a:cxn ang="5400000">
                  <a:pos x="wd2" y="hd2"/>
                </a:cxn>
                <a:cxn ang="10800000">
                  <a:pos x="wd2" y="hd2"/>
                </a:cxn>
                <a:cxn ang="16200000">
                  <a:pos x="wd2" y="hd2"/>
                </a:cxn>
              </a:cxnLst>
              <a:rect l="0" t="0" r="r" b="b"/>
              <a:pathLst>
                <a:path w="21534" h="21600" extrusionOk="0">
                  <a:moveTo>
                    <a:pt x="17701" y="934"/>
                  </a:moveTo>
                  <a:cubicBezTo>
                    <a:pt x="17651" y="955"/>
                    <a:pt x="16945" y="1336"/>
                    <a:pt x="16844" y="1288"/>
                  </a:cubicBezTo>
                  <a:cubicBezTo>
                    <a:pt x="16743" y="1240"/>
                    <a:pt x="15752" y="1067"/>
                    <a:pt x="15701" y="1067"/>
                  </a:cubicBezTo>
                  <a:cubicBezTo>
                    <a:pt x="15651" y="1067"/>
                    <a:pt x="15500" y="1383"/>
                    <a:pt x="15399" y="1413"/>
                  </a:cubicBezTo>
                  <a:cubicBezTo>
                    <a:pt x="15298" y="1444"/>
                    <a:pt x="14660" y="1627"/>
                    <a:pt x="14576" y="1617"/>
                  </a:cubicBezTo>
                  <a:cubicBezTo>
                    <a:pt x="14492" y="1607"/>
                    <a:pt x="13601" y="1413"/>
                    <a:pt x="13466" y="1413"/>
                  </a:cubicBezTo>
                  <a:cubicBezTo>
                    <a:pt x="13332" y="1413"/>
                    <a:pt x="12996" y="1699"/>
                    <a:pt x="12878" y="1688"/>
                  </a:cubicBezTo>
                  <a:cubicBezTo>
                    <a:pt x="12761" y="1678"/>
                    <a:pt x="12240" y="1567"/>
                    <a:pt x="12189" y="1572"/>
                  </a:cubicBezTo>
                  <a:cubicBezTo>
                    <a:pt x="12139" y="1576"/>
                    <a:pt x="12055" y="1423"/>
                    <a:pt x="12005" y="1373"/>
                  </a:cubicBezTo>
                  <a:cubicBezTo>
                    <a:pt x="11954" y="1322"/>
                    <a:pt x="11459" y="1240"/>
                    <a:pt x="11459" y="1240"/>
                  </a:cubicBezTo>
                  <a:lnTo>
                    <a:pt x="10868" y="1434"/>
                  </a:lnTo>
                  <a:cubicBezTo>
                    <a:pt x="10868" y="1434"/>
                    <a:pt x="10124" y="1438"/>
                    <a:pt x="9583" y="1438"/>
                  </a:cubicBezTo>
                  <a:lnTo>
                    <a:pt x="9583" y="1438"/>
                  </a:lnTo>
                  <a:lnTo>
                    <a:pt x="9583" y="1438"/>
                  </a:lnTo>
                  <a:cubicBezTo>
                    <a:pt x="9285" y="1438"/>
                    <a:pt x="9048" y="1437"/>
                    <a:pt x="9030" y="1434"/>
                  </a:cubicBezTo>
                  <a:cubicBezTo>
                    <a:pt x="8980" y="1423"/>
                    <a:pt x="8476" y="2167"/>
                    <a:pt x="8476" y="2218"/>
                  </a:cubicBezTo>
                  <a:cubicBezTo>
                    <a:pt x="8476" y="2269"/>
                    <a:pt x="9013" y="3787"/>
                    <a:pt x="9013" y="3787"/>
                  </a:cubicBezTo>
                  <a:cubicBezTo>
                    <a:pt x="9013" y="3787"/>
                    <a:pt x="9686" y="4032"/>
                    <a:pt x="9954" y="4164"/>
                  </a:cubicBezTo>
                  <a:cubicBezTo>
                    <a:pt x="10223" y="4297"/>
                    <a:pt x="11484" y="5260"/>
                    <a:pt x="11551" y="5354"/>
                  </a:cubicBezTo>
                  <a:cubicBezTo>
                    <a:pt x="11618" y="5448"/>
                    <a:pt x="11584" y="5733"/>
                    <a:pt x="11584" y="5733"/>
                  </a:cubicBezTo>
                  <a:lnTo>
                    <a:pt x="11441" y="5987"/>
                  </a:lnTo>
                  <a:lnTo>
                    <a:pt x="11316" y="6100"/>
                  </a:lnTo>
                  <a:lnTo>
                    <a:pt x="11383" y="7150"/>
                  </a:lnTo>
                  <a:lnTo>
                    <a:pt x="10576" y="7241"/>
                  </a:lnTo>
                  <a:lnTo>
                    <a:pt x="10038" y="7802"/>
                  </a:lnTo>
                  <a:lnTo>
                    <a:pt x="10349" y="8029"/>
                  </a:lnTo>
                  <a:lnTo>
                    <a:pt x="10379" y="8528"/>
                  </a:lnTo>
                  <a:cubicBezTo>
                    <a:pt x="10379" y="8528"/>
                    <a:pt x="9933" y="8520"/>
                    <a:pt x="9908" y="8507"/>
                  </a:cubicBezTo>
                  <a:cubicBezTo>
                    <a:pt x="9883" y="8495"/>
                    <a:pt x="9921" y="8337"/>
                    <a:pt x="9954" y="8296"/>
                  </a:cubicBezTo>
                  <a:cubicBezTo>
                    <a:pt x="9988" y="8255"/>
                    <a:pt x="10055" y="8217"/>
                    <a:pt x="10043" y="8181"/>
                  </a:cubicBezTo>
                  <a:cubicBezTo>
                    <a:pt x="10030" y="8146"/>
                    <a:pt x="8602" y="7435"/>
                    <a:pt x="8568" y="7415"/>
                  </a:cubicBezTo>
                  <a:cubicBezTo>
                    <a:pt x="8535" y="7394"/>
                    <a:pt x="8585" y="7170"/>
                    <a:pt x="8560" y="7134"/>
                  </a:cubicBezTo>
                  <a:cubicBezTo>
                    <a:pt x="8535" y="7099"/>
                    <a:pt x="8207" y="7002"/>
                    <a:pt x="8182" y="6992"/>
                  </a:cubicBezTo>
                  <a:cubicBezTo>
                    <a:pt x="8156" y="6982"/>
                    <a:pt x="8938" y="6141"/>
                    <a:pt x="8938" y="6121"/>
                  </a:cubicBezTo>
                  <a:cubicBezTo>
                    <a:pt x="8938" y="6100"/>
                    <a:pt x="8761" y="5264"/>
                    <a:pt x="8753" y="5234"/>
                  </a:cubicBezTo>
                  <a:cubicBezTo>
                    <a:pt x="8745" y="5204"/>
                    <a:pt x="8383" y="5061"/>
                    <a:pt x="8257" y="5041"/>
                  </a:cubicBezTo>
                  <a:cubicBezTo>
                    <a:pt x="8131" y="5020"/>
                    <a:pt x="7367" y="5127"/>
                    <a:pt x="7274" y="5143"/>
                  </a:cubicBezTo>
                  <a:cubicBezTo>
                    <a:pt x="7182" y="5158"/>
                    <a:pt x="7056" y="5239"/>
                    <a:pt x="7047" y="5234"/>
                  </a:cubicBezTo>
                  <a:cubicBezTo>
                    <a:pt x="7039" y="5229"/>
                    <a:pt x="7014" y="5316"/>
                    <a:pt x="7014" y="5316"/>
                  </a:cubicBezTo>
                  <a:cubicBezTo>
                    <a:pt x="7014" y="5316"/>
                    <a:pt x="6253" y="4557"/>
                    <a:pt x="6165" y="4541"/>
                  </a:cubicBezTo>
                  <a:cubicBezTo>
                    <a:pt x="6104" y="4531"/>
                    <a:pt x="5926" y="4561"/>
                    <a:pt x="5735" y="4601"/>
                  </a:cubicBezTo>
                  <a:cubicBezTo>
                    <a:pt x="5740" y="4604"/>
                    <a:pt x="5743" y="4605"/>
                    <a:pt x="5743" y="4605"/>
                  </a:cubicBezTo>
                  <a:cubicBezTo>
                    <a:pt x="5743" y="4605"/>
                    <a:pt x="5740" y="4604"/>
                    <a:pt x="5735" y="4601"/>
                  </a:cubicBezTo>
                  <a:cubicBezTo>
                    <a:pt x="5651" y="4618"/>
                    <a:pt x="5565" y="4637"/>
                    <a:pt x="5485" y="4656"/>
                  </a:cubicBezTo>
                  <a:cubicBezTo>
                    <a:pt x="5220" y="4717"/>
                    <a:pt x="40" y="5779"/>
                    <a:pt x="2" y="5779"/>
                  </a:cubicBezTo>
                  <a:cubicBezTo>
                    <a:pt x="-33" y="5779"/>
                    <a:pt x="340" y="6520"/>
                    <a:pt x="390" y="6620"/>
                  </a:cubicBezTo>
                  <a:cubicBezTo>
                    <a:pt x="408" y="6620"/>
                    <a:pt x="418" y="6620"/>
                    <a:pt x="418" y="6620"/>
                  </a:cubicBezTo>
                  <a:lnTo>
                    <a:pt x="418" y="7078"/>
                  </a:lnTo>
                  <a:cubicBezTo>
                    <a:pt x="418" y="7078"/>
                    <a:pt x="2107" y="7078"/>
                    <a:pt x="2208" y="7094"/>
                  </a:cubicBezTo>
                  <a:cubicBezTo>
                    <a:pt x="2309" y="7109"/>
                    <a:pt x="3292" y="7583"/>
                    <a:pt x="3468" y="7613"/>
                  </a:cubicBezTo>
                  <a:cubicBezTo>
                    <a:pt x="3645" y="7644"/>
                    <a:pt x="5636" y="7995"/>
                    <a:pt x="5636" y="7995"/>
                  </a:cubicBezTo>
                  <a:cubicBezTo>
                    <a:pt x="5636" y="7995"/>
                    <a:pt x="5296" y="8263"/>
                    <a:pt x="5296" y="8301"/>
                  </a:cubicBezTo>
                  <a:cubicBezTo>
                    <a:pt x="5296" y="8339"/>
                    <a:pt x="5749" y="8744"/>
                    <a:pt x="5749" y="8806"/>
                  </a:cubicBezTo>
                  <a:cubicBezTo>
                    <a:pt x="5749" y="8867"/>
                    <a:pt x="5422" y="9661"/>
                    <a:pt x="5485" y="9738"/>
                  </a:cubicBezTo>
                  <a:cubicBezTo>
                    <a:pt x="5548" y="9814"/>
                    <a:pt x="5737" y="10135"/>
                    <a:pt x="5749" y="10166"/>
                  </a:cubicBezTo>
                  <a:cubicBezTo>
                    <a:pt x="5762" y="10196"/>
                    <a:pt x="5346" y="10342"/>
                    <a:pt x="5359" y="10380"/>
                  </a:cubicBezTo>
                  <a:cubicBezTo>
                    <a:pt x="5371" y="10418"/>
                    <a:pt x="5459" y="10609"/>
                    <a:pt x="5485" y="10632"/>
                  </a:cubicBezTo>
                  <a:cubicBezTo>
                    <a:pt x="5510" y="10655"/>
                    <a:pt x="5472" y="10708"/>
                    <a:pt x="5485" y="10716"/>
                  </a:cubicBezTo>
                  <a:cubicBezTo>
                    <a:pt x="5497" y="10724"/>
                    <a:pt x="5043" y="10716"/>
                    <a:pt x="5043" y="10716"/>
                  </a:cubicBezTo>
                  <a:lnTo>
                    <a:pt x="5031" y="10892"/>
                  </a:lnTo>
                  <a:lnTo>
                    <a:pt x="5409" y="11136"/>
                  </a:lnTo>
                  <a:lnTo>
                    <a:pt x="5359" y="11855"/>
                  </a:lnTo>
                  <a:lnTo>
                    <a:pt x="5812" y="11977"/>
                  </a:lnTo>
                  <a:cubicBezTo>
                    <a:pt x="5812" y="11977"/>
                    <a:pt x="5447" y="12680"/>
                    <a:pt x="5371" y="12711"/>
                  </a:cubicBezTo>
                  <a:cubicBezTo>
                    <a:pt x="5296" y="12741"/>
                    <a:pt x="4691" y="13047"/>
                    <a:pt x="4653" y="13085"/>
                  </a:cubicBezTo>
                  <a:cubicBezTo>
                    <a:pt x="4615" y="13123"/>
                    <a:pt x="4665" y="13505"/>
                    <a:pt x="4665" y="13528"/>
                  </a:cubicBezTo>
                  <a:cubicBezTo>
                    <a:pt x="4665" y="13551"/>
                    <a:pt x="4325" y="13796"/>
                    <a:pt x="4312" y="13826"/>
                  </a:cubicBezTo>
                  <a:cubicBezTo>
                    <a:pt x="4300" y="13857"/>
                    <a:pt x="4615" y="14025"/>
                    <a:pt x="4602" y="14071"/>
                  </a:cubicBezTo>
                  <a:cubicBezTo>
                    <a:pt x="4590" y="14115"/>
                    <a:pt x="2389" y="15420"/>
                    <a:pt x="2208" y="15527"/>
                  </a:cubicBezTo>
                  <a:cubicBezTo>
                    <a:pt x="2220" y="15571"/>
                    <a:pt x="2563" y="16811"/>
                    <a:pt x="2678" y="16931"/>
                  </a:cubicBezTo>
                  <a:cubicBezTo>
                    <a:pt x="2796" y="17054"/>
                    <a:pt x="3552" y="17991"/>
                    <a:pt x="3569" y="18093"/>
                  </a:cubicBezTo>
                  <a:cubicBezTo>
                    <a:pt x="3585" y="18193"/>
                    <a:pt x="3569" y="20256"/>
                    <a:pt x="3569" y="20312"/>
                  </a:cubicBezTo>
                  <a:lnTo>
                    <a:pt x="3598" y="20319"/>
                  </a:lnTo>
                  <a:lnTo>
                    <a:pt x="3569" y="20312"/>
                  </a:lnTo>
                  <a:cubicBezTo>
                    <a:pt x="3569" y="20312"/>
                    <a:pt x="3569" y="20314"/>
                    <a:pt x="3569" y="20314"/>
                  </a:cubicBezTo>
                  <a:lnTo>
                    <a:pt x="3821" y="20447"/>
                  </a:lnTo>
                  <a:lnTo>
                    <a:pt x="3821" y="21536"/>
                  </a:lnTo>
                  <a:lnTo>
                    <a:pt x="3840" y="21536"/>
                  </a:lnTo>
                  <a:lnTo>
                    <a:pt x="3821" y="21536"/>
                  </a:lnTo>
                  <a:lnTo>
                    <a:pt x="3821" y="21547"/>
                  </a:lnTo>
                  <a:lnTo>
                    <a:pt x="5262" y="21600"/>
                  </a:lnTo>
                  <a:cubicBezTo>
                    <a:pt x="5323" y="21442"/>
                    <a:pt x="5384" y="21284"/>
                    <a:pt x="5445" y="21126"/>
                  </a:cubicBezTo>
                  <a:cubicBezTo>
                    <a:pt x="5478" y="21042"/>
                    <a:pt x="5510" y="20953"/>
                    <a:pt x="5470" y="20869"/>
                  </a:cubicBezTo>
                  <a:cubicBezTo>
                    <a:pt x="5430" y="20786"/>
                    <a:pt x="5325" y="20707"/>
                    <a:pt x="5186" y="20729"/>
                  </a:cubicBezTo>
                  <a:cubicBezTo>
                    <a:pt x="4854" y="20638"/>
                    <a:pt x="4785" y="20360"/>
                    <a:pt x="4899" y="20150"/>
                  </a:cubicBezTo>
                  <a:cubicBezTo>
                    <a:pt x="5141" y="19707"/>
                    <a:pt x="5903" y="19460"/>
                    <a:pt x="6613" y="19280"/>
                  </a:cubicBezTo>
                  <a:cubicBezTo>
                    <a:pt x="7168" y="19139"/>
                    <a:pt x="7734" y="19012"/>
                    <a:pt x="8306" y="18899"/>
                  </a:cubicBezTo>
                  <a:cubicBezTo>
                    <a:pt x="8810" y="18799"/>
                    <a:pt x="9326" y="18709"/>
                    <a:pt x="9774" y="18538"/>
                  </a:cubicBezTo>
                  <a:cubicBezTo>
                    <a:pt x="10222" y="18367"/>
                    <a:pt x="10601" y="18097"/>
                    <a:pt x="10664" y="17779"/>
                  </a:cubicBezTo>
                  <a:cubicBezTo>
                    <a:pt x="10676" y="17719"/>
                    <a:pt x="10675" y="17656"/>
                    <a:pt x="10633" y="17602"/>
                  </a:cubicBezTo>
                  <a:cubicBezTo>
                    <a:pt x="10600" y="17559"/>
                    <a:pt x="10543" y="17524"/>
                    <a:pt x="10507" y="17482"/>
                  </a:cubicBezTo>
                  <a:cubicBezTo>
                    <a:pt x="10421" y="17379"/>
                    <a:pt x="10474" y="17256"/>
                    <a:pt x="10522" y="17145"/>
                  </a:cubicBezTo>
                  <a:cubicBezTo>
                    <a:pt x="10689" y="16759"/>
                    <a:pt x="10779" y="16361"/>
                    <a:pt x="10788" y="15963"/>
                  </a:cubicBezTo>
                  <a:cubicBezTo>
                    <a:pt x="10792" y="15782"/>
                    <a:pt x="10780" y="15600"/>
                    <a:pt x="10710" y="15424"/>
                  </a:cubicBezTo>
                  <a:cubicBezTo>
                    <a:pt x="10604" y="15154"/>
                    <a:pt x="10368" y="14910"/>
                    <a:pt x="10188" y="14654"/>
                  </a:cubicBezTo>
                  <a:cubicBezTo>
                    <a:pt x="9987" y="14370"/>
                    <a:pt x="9853" y="14068"/>
                    <a:pt x="9792" y="13760"/>
                  </a:cubicBezTo>
                  <a:cubicBezTo>
                    <a:pt x="9772" y="13657"/>
                    <a:pt x="9759" y="13551"/>
                    <a:pt x="9694" y="13455"/>
                  </a:cubicBezTo>
                  <a:cubicBezTo>
                    <a:pt x="9629" y="13359"/>
                    <a:pt x="9515" y="13278"/>
                    <a:pt x="9427" y="13189"/>
                  </a:cubicBezTo>
                  <a:cubicBezTo>
                    <a:pt x="9084" y="12842"/>
                    <a:pt x="9014" y="12431"/>
                    <a:pt x="9093" y="12029"/>
                  </a:cubicBezTo>
                  <a:cubicBezTo>
                    <a:pt x="9526" y="12008"/>
                    <a:pt x="10007" y="11966"/>
                    <a:pt x="10279" y="11760"/>
                  </a:cubicBezTo>
                  <a:cubicBezTo>
                    <a:pt x="10346" y="11709"/>
                    <a:pt x="10396" y="11651"/>
                    <a:pt x="10454" y="11596"/>
                  </a:cubicBezTo>
                  <a:cubicBezTo>
                    <a:pt x="10808" y="11259"/>
                    <a:pt x="11427" y="11064"/>
                    <a:pt x="12032" y="10904"/>
                  </a:cubicBezTo>
                  <a:cubicBezTo>
                    <a:pt x="12126" y="10879"/>
                    <a:pt x="12222" y="10855"/>
                    <a:pt x="12305" y="10817"/>
                  </a:cubicBezTo>
                  <a:cubicBezTo>
                    <a:pt x="12403" y="10773"/>
                    <a:pt x="12478" y="10713"/>
                    <a:pt x="12552" y="10654"/>
                  </a:cubicBezTo>
                  <a:cubicBezTo>
                    <a:pt x="12925" y="10354"/>
                    <a:pt x="13298" y="10054"/>
                    <a:pt x="13671" y="9755"/>
                  </a:cubicBezTo>
                  <a:cubicBezTo>
                    <a:pt x="13814" y="9639"/>
                    <a:pt x="13959" y="9523"/>
                    <a:pt x="14141" y="9430"/>
                  </a:cubicBezTo>
                  <a:cubicBezTo>
                    <a:pt x="14690" y="9148"/>
                    <a:pt x="15487" y="9116"/>
                    <a:pt x="16073" y="8864"/>
                  </a:cubicBezTo>
                  <a:cubicBezTo>
                    <a:pt x="16226" y="8798"/>
                    <a:pt x="16362" y="8719"/>
                    <a:pt x="16524" y="8661"/>
                  </a:cubicBezTo>
                  <a:cubicBezTo>
                    <a:pt x="16946" y="8510"/>
                    <a:pt x="17473" y="8531"/>
                    <a:pt x="17941" y="8444"/>
                  </a:cubicBezTo>
                  <a:cubicBezTo>
                    <a:pt x="17995" y="8434"/>
                    <a:pt x="18049" y="8422"/>
                    <a:pt x="18093" y="8401"/>
                  </a:cubicBezTo>
                  <a:cubicBezTo>
                    <a:pt x="18148" y="8375"/>
                    <a:pt x="18183" y="8337"/>
                    <a:pt x="18220" y="8302"/>
                  </a:cubicBezTo>
                  <a:cubicBezTo>
                    <a:pt x="18565" y="7971"/>
                    <a:pt x="19189" y="7794"/>
                    <a:pt x="19778" y="7634"/>
                  </a:cubicBezTo>
                  <a:cubicBezTo>
                    <a:pt x="19678" y="7344"/>
                    <a:pt x="20075" y="7086"/>
                    <a:pt x="20443" y="6891"/>
                  </a:cubicBezTo>
                  <a:cubicBezTo>
                    <a:pt x="20682" y="6766"/>
                    <a:pt x="21558" y="6235"/>
                    <a:pt x="21062" y="6072"/>
                  </a:cubicBezTo>
                  <a:cubicBezTo>
                    <a:pt x="21219" y="5924"/>
                    <a:pt x="21378" y="5774"/>
                    <a:pt x="21467" y="5607"/>
                  </a:cubicBezTo>
                  <a:cubicBezTo>
                    <a:pt x="21555" y="5440"/>
                    <a:pt x="21567" y="5250"/>
                    <a:pt x="21434" y="5094"/>
                  </a:cubicBezTo>
                  <a:cubicBezTo>
                    <a:pt x="21346" y="4990"/>
                    <a:pt x="21202" y="4909"/>
                    <a:pt x="21087" y="4816"/>
                  </a:cubicBezTo>
                  <a:cubicBezTo>
                    <a:pt x="20972" y="4723"/>
                    <a:pt x="20882" y="4605"/>
                    <a:pt x="20928" y="4492"/>
                  </a:cubicBezTo>
                  <a:cubicBezTo>
                    <a:pt x="20970" y="4393"/>
                    <a:pt x="21112" y="4307"/>
                    <a:pt x="21094" y="4206"/>
                  </a:cubicBezTo>
                  <a:cubicBezTo>
                    <a:pt x="21085" y="4155"/>
                    <a:pt x="21037" y="4110"/>
                    <a:pt x="21011" y="4061"/>
                  </a:cubicBezTo>
                  <a:cubicBezTo>
                    <a:pt x="20924" y="3897"/>
                    <a:pt x="21103" y="3730"/>
                    <a:pt x="21175" y="3563"/>
                  </a:cubicBezTo>
                  <a:cubicBezTo>
                    <a:pt x="21186" y="3537"/>
                    <a:pt x="21194" y="3508"/>
                    <a:pt x="21175" y="3483"/>
                  </a:cubicBezTo>
                  <a:cubicBezTo>
                    <a:pt x="21154" y="3458"/>
                    <a:pt x="21110" y="3444"/>
                    <a:pt x="21072" y="3428"/>
                  </a:cubicBezTo>
                  <a:cubicBezTo>
                    <a:pt x="20887" y="3346"/>
                    <a:pt x="20877" y="3155"/>
                    <a:pt x="21053" y="3066"/>
                  </a:cubicBezTo>
                  <a:cubicBezTo>
                    <a:pt x="21113" y="3036"/>
                    <a:pt x="21195" y="3011"/>
                    <a:pt x="21208" y="2965"/>
                  </a:cubicBezTo>
                  <a:cubicBezTo>
                    <a:pt x="21221" y="2916"/>
                    <a:pt x="21150" y="2875"/>
                    <a:pt x="21100" y="2835"/>
                  </a:cubicBezTo>
                  <a:cubicBezTo>
                    <a:pt x="20876" y="2659"/>
                    <a:pt x="21042" y="2405"/>
                    <a:pt x="21013" y="2183"/>
                  </a:cubicBezTo>
                  <a:cubicBezTo>
                    <a:pt x="20987" y="1985"/>
                    <a:pt x="20796" y="1797"/>
                    <a:pt x="20831" y="1599"/>
                  </a:cubicBezTo>
                  <a:cubicBezTo>
                    <a:pt x="20855" y="1463"/>
                    <a:pt x="20984" y="1324"/>
                    <a:pt x="20899" y="1197"/>
                  </a:cubicBezTo>
                  <a:cubicBezTo>
                    <a:pt x="20883" y="1174"/>
                    <a:pt x="20860" y="1152"/>
                    <a:pt x="20851" y="1127"/>
                  </a:cubicBezTo>
                  <a:cubicBezTo>
                    <a:pt x="20830" y="1072"/>
                    <a:pt x="20877" y="1017"/>
                    <a:pt x="20917" y="966"/>
                  </a:cubicBezTo>
                  <a:cubicBezTo>
                    <a:pt x="21124" y="705"/>
                    <a:pt x="21169" y="398"/>
                    <a:pt x="21041" y="118"/>
                  </a:cubicBezTo>
                  <a:cubicBezTo>
                    <a:pt x="21018" y="69"/>
                    <a:pt x="20959" y="31"/>
                    <a:pt x="20884" y="0"/>
                  </a:cubicBezTo>
                  <a:cubicBezTo>
                    <a:pt x="20404" y="190"/>
                    <a:pt x="18518" y="934"/>
                    <a:pt x="18474" y="934"/>
                  </a:cubicBezTo>
                  <a:cubicBezTo>
                    <a:pt x="18424" y="934"/>
                    <a:pt x="17752" y="914"/>
                    <a:pt x="17701" y="934"/>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7" name="Shape">
              <a:extLst>
                <a:ext uri="{FF2B5EF4-FFF2-40B4-BE49-F238E27FC236}">
                  <a16:creationId xmlns:a16="http://schemas.microsoft.com/office/drawing/2014/main" id="{69652CCA-74C1-744B-8BD0-9226BC067D2C}"/>
                </a:ext>
              </a:extLst>
            </p:cNvPr>
            <p:cNvSpPr/>
            <p:nvPr/>
          </p:nvSpPr>
          <p:spPr>
            <a:xfrm>
              <a:off x="8585200" y="11620500"/>
              <a:ext cx="1457834" cy="1623108"/>
            </a:xfrm>
            <a:custGeom>
              <a:avLst/>
              <a:gdLst/>
              <a:ahLst/>
              <a:cxnLst>
                <a:cxn ang="0">
                  <a:pos x="wd2" y="hd2"/>
                </a:cxn>
                <a:cxn ang="5400000">
                  <a:pos x="wd2" y="hd2"/>
                </a:cxn>
                <a:cxn ang="10800000">
                  <a:pos x="wd2" y="hd2"/>
                </a:cxn>
                <a:cxn ang="16200000">
                  <a:pos x="wd2" y="hd2"/>
                </a:cxn>
              </a:cxnLst>
              <a:rect l="0" t="0" r="r" b="b"/>
              <a:pathLst>
                <a:path w="21498" h="21523" extrusionOk="0">
                  <a:moveTo>
                    <a:pt x="9996" y="19858"/>
                  </a:moveTo>
                  <a:cubicBezTo>
                    <a:pt x="10090" y="19858"/>
                    <a:pt x="10629" y="20721"/>
                    <a:pt x="10722" y="20763"/>
                  </a:cubicBezTo>
                  <a:cubicBezTo>
                    <a:pt x="10816" y="20805"/>
                    <a:pt x="11612" y="20342"/>
                    <a:pt x="11682" y="20321"/>
                  </a:cubicBezTo>
                  <a:cubicBezTo>
                    <a:pt x="11752" y="20300"/>
                    <a:pt x="11776" y="19289"/>
                    <a:pt x="11729" y="19226"/>
                  </a:cubicBezTo>
                  <a:cubicBezTo>
                    <a:pt x="11682" y="19163"/>
                    <a:pt x="10699" y="18658"/>
                    <a:pt x="10699" y="18658"/>
                  </a:cubicBezTo>
                  <a:lnTo>
                    <a:pt x="11167" y="18384"/>
                  </a:lnTo>
                  <a:cubicBezTo>
                    <a:pt x="11167" y="18384"/>
                    <a:pt x="10301" y="17732"/>
                    <a:pt x="10207" y="17711"/>
                  </a:cubicBezTo>
                  <a:cubicBezTo>
                    <a:pt x="10114" y="17690"/>
                    <a:pt x="10020" y="16132"/>
                    <a:pt x="10114" y="16132"/>
                  </a:cubicBezTo>
                  <a:cubicBezTo>
                    <a:pt x="10207" y="16132"/>
                    <a:pt x="10886" y="16700"/>
                    <a:pt x="10980" y="16679"/>
                  </a:cubicBezTo>
                  <a:cubicBezTo>
                    <a:pt x="11073" y="16658"/>
                    <a:pt x="11635" y="16048"/>
                    <a:pt x="11776" y="16005"/>
                  </a:cubicBezTo>
                  <a:cubicBezTo>
                    <a:pt x="11916" y="15963"/>
                    <a:pt x="12057" y="15921"/>
                    <a:pt x="12525" y="15942"/>
                  </a:cubicBezTo>
                  <a:cubicBezTo>
                    <a:pt x="12993" y="15963"/>
                    <a:pt x="13836" y="16174"/>
                    <a:pt x="13953" y="16111"/>
                  </a:cubicBezTo>
                  <a:cubicBezTo>
                    <a:pt x="14070" y="16048"/>
                    <a:pt x="13555" y="14321"/>
                    <a:pt x="13648" y="14321"/>
                  </a:cubicBezTo>
                  <a:cubicBezTo>
                    <a:pt x="13742" y="14321"/>
                    <a:pt x="14678" y="14385"/>
                    <a:pt x="14983" y="14427"/>
                  </a:cubicBezTo>
                  <a:cubicBezTo>
                    <a:pt x="15287" y="14469"/>
                    <a:pt x="15872" y="15627"/>
                    <a:pt x="15943" y="15774"/>
                  </a:cubicBezTo>
                  <a:cubicBezTo>
                    <a:pt x="16013" y="15921"/>
                    <a:pt x="15545" y="15963"/>
                    <a:pt x="15545" y="15963"/>
                  </a:cubicBezTo>
                  <a:cubicBezTo>
                    <a:pt x="15545" y="15963"/>
                    <a:pt x="15662" y="16111"/>
                    <a:pt x="15943" y="16111"/>
                  </a:cubicBezTo>
                  <a:cubicBezTo>
                    <a:pt x="16224" y="16111"/>
                    <a:pt x="17511" y="16216"/>
                    <a:pt x="17652" y="16195"/>
                  </a:cubicBezTo>
                  <a:cubicBezTo>
                    <a:pt x="17792" y="16174"/>
                    <a:pt x="18494" y="15058"/>
                    <a:pt x="18611" y="15037"/>
                  </a:cubicBezTo>
                  <a:cubicBezTo>
                    <a:pt x="18728" y="15016"/>
                    <a:pt x="19314" y="16005"/>
                    <a:pt x="19337" y="16069"/>
                  </a:cubicBezTo>
                  <a:cubicBezTo>
                    <a:pt x="19360" y="16132"/>
                    <a:pt x="19009" y="16342"/>
                    <a:pt x="19009" y="16490"/>
                  </a:cubicBezTo>
                  <a:cubicBezTo>
                    <a:pt x="19009" y="16637"/>
                    <a:pt x="19946" y="16490"/>
                    <a:pt x="19946" y="16490"/>
                  </a:cubicBezTo>
                  <a:lnTo>
                    <a:pt x="20508" y="16027"/>
                  </a:lnTo>
                  <a:lnTo>
                    <a:pt x="20180" y="15479"/>
                  </a:lnTo>
                  <a:cubicBezTo>
                    <a:pt x="20180" y="15479"/>
                    <a:pt x="21327" y="13922"/>
                    <a:pt x="21374" y="13774"/>
                  </a:cubicBezTo>
                  <a:cubicBezTo>
                    <a:pt x="21421" y="13627"/>
                    <a:pt x="21186" y="11880"/>
                    <a:pt x="21140" y="11501"/>
                  </a:cubicBezTo>
                  <a:cubicBezTo>
                    <a:pt x="21093" y="11122"/>
                    <a:pt x="21561" y="10206"/>
                    <a:pt x="21491" y="10101"/>
                  </a:cubicBezTo>
                  <a:cubicBezTo>
                    <a:pt x="21421" y="9996"/>
                    <a:pt x="20297" y="8975"/>
                    <a:pt x="20086" y="8848"/>
                  </a:cubicBezTo>
                  <a:cubicBezTo>
                    <a:pt x="19875" y="8722"/>
                    <a:pt x="19126" y="8722"/>
                    <a:pt x="19126" y="8722"/>
                  </a:cubicBezTo>
                  <a:cubicBezTo>
                    <a:pt x="19126" y="8722"/>
                    <a:pt x="19290" y="8406"/>
                    <a:pt x="19337" y="8048"/>
                  </a:cubicBezTo>
                  <a:cubicBezTo>
                    <a:pt x="19384" y="7691"/>
                    <a:pt x="19290" y="6785"/>
                    <a:pt x="19454" y="6617"/>
                  </a:cubicBezTo>
                  <a:cubicBezTo>
                    <a:pt x="19618" y="6449"/>
                    <a:pt x="21233" y="5417"/>
                    <a:pt x="21280" y="5291"/>
                  </a:cubicBezTo>
                  <a:cubicBezTo>
                    <a:pt x="21327" y="5165"/>
                    <a:pt x="20718" y="3565"/>
                    <a:pt x="20484" y="3375"/>
                  </a:cubicBezTo>
                  <a:cubicBezTo>
                    <a:pt x="20250" y="3186"/>
                    <a:pt x="19173" y="3038"/>
                    <a:pt x="18752" y="3038"/>
                  </a:cubicBezTo>
                  <a:cubicBezTo>
                    <a:pt x="18330" y="3038"/>
                    <a:pt x="16575" y="3754"/>
                    <a:pt x="16387" y="3754"/>
                  </a:cubicBezTo>
                  <a:cubicBezTo>
                    <a:pt x="16200" y="3754"/>
                    <a:pt x="16809" y="3249"/>
                    <a:pt x="16809" y="3249"/>
                  </a:cubicBezTo>
                  <a:cubicBezTo>
                    <a:pt x="16809" y="3249"/>
                    <a:pt x="16317" y="2702"/>
                    <a:pt x="16177" y="2638"/>
                  </a:cubicBezTo>
                  <a:cubicBezTo>
                    <a:pt x="16036" y="2575"/>
                    <a:pt x="16317" y="1754"/>
                    <a:pt x="16317" y="1565"/>
                  </a:cubicBezTo>
                  <a:cubicBezTo>
                    <a:pt x="16317" y="1375"/>
                    <a:pt x="16809" y="660"/>
                    <a:pt x="16809" y="555"/>
                  </a:cubicBezTo>
                  <a:cubicBezTo>
                    <a:pt x="16809" y="551"/>
                    <a:pt x="16807" y="546"/>
                    <a:pt x="16807" y="543"/>
                  </a:cubicBezTo>
                  <a:cubicBezTo>
                    <a:pt x="16789" y="543"/>
                    <a:pt x="16777" y="544"/>
                    <a:pt x="16777" y="544"/>
                  </a:cubicBezTo>
                  <a:cubicBezTo>
                    <a:pt x="16777" y="544"/>
                    <a:pt x="16789" y="543"/>
                    <a:pt x="16807" y="543"/>
                  </a:cubicBezTo>
                  <a:cubicBezTo>
                    <a:pt x="16796" y="435"/>
                    <a:pt x="16640" y="254"/>
                    <a:pt x="16504" y="91"/>
                  </a:cubicBezTo>
                  <a:cubicBezTo>
                    <a:pt x="16364" y="-77"/>
                    <a:pt x="9833" y="28"/>
                    <a:pt x="9669" y="91"/>
                  </a:cubicBezTo>
                  <a:cubicBezTo>
                    <a:pt x="9505" y="155"/>
                    <a:pt x="9364" y="639"/>
                    <a:pt x="9364" y="639"/>
                  </a:cubicBezTo>
                  <a:cubicBezTo>
                    <a:pt x="9364" y="639"/>
                    <a:pt x="9130" y="576"/>
                    <a:pt x="9013" y="639"/>
                  </a:cubicBezTo>
                  <a:cubicBezTo>
                    <a:pt x="9002" y="645"/>
                    <a:pt x="8991" y="658"/>
                    <a:pt x="8982" y="674"/>
                  </a:cubicBezTo>
                  <a:cubicBezTo>
                    <a:pt x="8993" y="684"/>
                    <a:pt x="9002" y="691"/>
                    <a:pt x="9002" y="691"/>
                  </a:cubicBezTo>
                  <a:cubicBezTo>
                    <a:pt x="9002" y="691"/>
                    <a:pt x="8993" y="684"/>
                    <a:pt x="8982" y="674"/>
                  </a:cubicBezTo>
                  <a:cubicBezTo>
                    <a:pt x="8898" y="817"/>
                    <a:pt x="8908" y="1316"/>
                    <a:pt x="9013" y="1544"/>
                  </a:cubicBezTo>
                  <a:cubicBezTo>
                    <a:pt x="9130" y="1796"/>
                    <a:pt x="9505" y="1649"/>
                    <a:pt x="9435" y="1839"/>
                  </a:cubicBezTo>
                  <a:cubicBezTo>
                    <a:pt x="9364" y="2028"/>
                    <a:pt x="9505" y="4554"/>
                    <a:pt x="9435" y="4610"/>
                  </a:cubicBezTo>
                  <a:cubicBezTo>
                    <a:pt x="9364" y="4666"/>
                    <a:pt x="4331" y="4828"/>
                    <a:pt x="4191" y="4828"/>
                  </a:cubicBezTo>
                  <a:cubicBezTo>
                    <a:pt x="4050" y="4828"/>
                    <a:pt x="3535" y="4512"/>
                    <a:pt x="3348" y="4470"/>
                  </a:cubicBezTo>
                  <a:cubicBezTo>
                    <a:pt x="3241" y="4446"/>
                    <a:pt x="3011" y="4401"/>
                    <a:pt x="2799" y="4394"/>
                  </a:cubicBezTo>
                  <a:cubicBezTo>
                    <a:pt x="2824" y="4436"/>
                    <a:pt x="2834" y="4488"/>
                    <a:pt x="2837" y="4537"/>
                  </a:cubicBezTo>
                  <a:cubicBezTo>
                    <a:pt x="2862" y="4894"/>
                    <a:pt x="2861" y="5313"/>
                    <a:pt x="2742" y="5655"/>
                  </a:cubicBezTo>
                  <a:cubicBezTo>
                    <a:pt x="2803" y="5666"/>
                    <a:pt x="2867" y="5679"/>
                    <a:pt x="2911" y="5718"/>
                  </a:cubicBezTo>
                  <a:cubicBezTo>
                    <a:pt x="2954" y="5757"/>
                    <a:pt x="2963" y="5832"/>
                    <a:pt x="2911" y="5863"/>
                  </a:cubicBezTo>
                  <a:cubicBezTo>
                    <a:pt x="2878" y="5883"/>
                    <a:pt x="2834" y="5878"/>
                    <a:pt x="2795" y="5872"/>
                  </a:cubicBezTo>
                  <a:cubicBezTo>
                    <a:pt x="2597" y="5847"/>
                    <a:pt x="2394" y="5852"/>
                    <a:pt x="2198" y="5887"/>
                  </a:cubicBezTo>
                  <a:cubicBezTo>
                    <a:pt x="2150" y="5895"/>
                    <a:pt x="2093" y="5912"/>
                    <a:pt x="2079" y="5955"/>
                  </a:cubicBezTo>
                  <a:cubicBezTo>
                    <a:pt x="2070" y="5984"/>
                    <a:pt x="2084" y="6015"/>
                    <a:pt x="2088" y="6046"/>
                  </a:cubicBezTo>
                  <a:cubicBezTo>
                    <a:pt x="2104" y="6159"/>
                    <a:pt x="1979" y="6240"/>
                    <a:pt x="1900" y="6329"/>
                  </a:cubicBezTo>
                  <a:cubicBezTo>
                    <a:pt x="1821" y="6418"/>
                    <a:pt x="1830" y="6600"/>
                    <a:pt x="1956" y="6594"/>
                  </a:cubicBezTo>
                  <a:cubicBezTo>
                    <a:pt x="2070" y="6501"/>
                    <a:pt x="2260" y="6573"/>
                    <a:pt x="2355" y="6682"/>
                  </a:cubicBezTo>
                  <a:cubicBezTo>
                    <a:pt x="2450" y="6791"/>
                    <a:pt x="2500" y="6931"/>
                    <a:pt x="2614" y="7025"/>
                  </a:cubicBezTo>
                  <a:cubicBezTo>
                    <a:pt x="2748" y="7135"/>
                    <a:pt x="2941" y="7159"/>
                    <a:pt x="3115" y="7206"/>
                  </a:cubicBezTo>
                  <a:cubicBezTo>
                    <a:pt x="3289" y="7253"/>
                    <a:pt x="3475" y="7356"/>
                    <a:pt x="3494" y="7518"/>
                  </a:cubicBezTo>
                  <a:cubicBezTo>
                    <a:pt x="3130" y="7512"/>
                    <a:pt x="2766" y="7505"/>
                    <a:pt x="2403" y="7498"/>
                  </a:cubicBezTo>
                  <a:cubicBezTo>
                    <a:pt x="2346" y="7497"/>
                    <a:pt x="2285" y="7495"/>
                    <a:pt x="2238" y="7466"/>
                  </a:cubicBezTo>
                  <a:cubicBezTo>
                    <a:pt x="2196" y="7440"/>
                    <a:pt x="2173" y="7397"/>
                    <a:pt x="2154" y="7354"/>
                  </a:cubicBezTo>
                  <a:cubicBezTo>
                    <a:pt x="2093" y="7221"/>
                    <a:pt x="2059" y="7078"/>
                    <a:pt x="2052" y="6934"/>
                  </a:cubicBezTo>
                  <a:cubicBezTo>
                    <a:pt x="1967" y="6864"/>
                    <a:pt x="1842" y="6792"/>
                    <a:pt x="1750" y="6853"/>
                  </a:cubicBezTo>
                  <a:cubicBezTo>
                    <a:pt x="1713" y="6878"/>
                    <a:pt x="1694" y="6918"/>
                    <a:pt x="1682" y="6958"/>
                  </a:cubicBezTo>
                  <a:cubicBezTo>
                    <a:pt x="1604" y="7237"/>
                    <a:pt x="1818" y="7509"/>
                    <a:pt x="1861" y="7794"/>
                  </a:cubicBezTo>
                  <a:cubicBezTo>
                    <a:pt x="1908" y="8098"/>
                    <a:pt x="1758" y="8395"/>
                    <a:pt x="1657" y="8688"/>
                  </a:cubicBezTo>
                  <a:cubicBezTo>
                    <a:pt x="1565" y="8958"/>
                    <a:pt x="1511" y="9238"/>
                    <a:pt x="1394" y="9499"/>
                  </a:cubicBezTo>
                  <a:cubicBezTo>
                    <a:pt x="1277" y="9761"/>
                    <a:pt x="1083" y="10010"/>
                    <a:pt x="796" y="10123"/>
                  </a:cubicBezTo>
                  <a:cubicBezTo>
                    <a:pt x="650" y="10181"/>
                    <a:pt x="486" y="10201"/>
                    <a:pt x="348" y="10273"/>
                  </a:cubicBezTo>
                  <a:cubicBezTo>
                    <a:pt x="67" y="10419"/>
                    <a:pt x="-39" y="10751"/>
                    <a:pt x="13" y="11039"/>
                  </a:cubicBezTo>
                  <a:cubicBezTo>
                    <a:pt x="65" y="11327"/>
                    <a:pt x="242" y="11583"/>
                    <a:pt x="415" y="11830"/>
                  </a:cubicBezTo>
                  <a:cubicBezTo>
                    <a:pt x="677" y="12203"/>
                    <a:pt x="939" y="12577"/>
                    <a:pt x="1202" y="12950"/>
                  </a:cubicBezTo>
                  <a:cubicBezTo>
                    <a:pt x="1398" y="13230"/>
                    <a:pt x="1575" y="13430"/>
                    <a:pt x="1528" y="13758"/>
                  </a:cubicBezTo>
                  <a:cubicBezTo>
                    <a:pt x="1487" y="14040"/>
                    <a:pt x="1512" y="14416"/>
                    <a:pt x="1816" y="14490"/>
                  </a:cubicBezTo>
                  <a:cubicBezTo>
                    <a:pt x="2032" y="14543"/>
                    <a:pt x="2266" y="14394"/>
                    <a:pt x="2478" y="14458"/>
                  </a:cubicBezTo>
                  <a:cubicBezTo>
                    <a:pt x="2491" y="14518"/>
                    <a:pt x="2504" y="14578"/>
                    <a:pt x="2517" y="14638"/>
                  </a:cubicBezTo>
                  <a:cubicBezTo>
                    <a:pt x="2327" y="14497"/>
                    <a:pt x="1996" y="14567"/>
                    <a:pt x="1896" y="14769"/>
                  </a:cubicBezTo>
                  <a:cubicBezTo>
                    <a:pt x="2227" y="14988"/>
                    <a:pt x="2495" y="15282"/>
                    <a:pt x="2668" y="15617"/>
                  </a:cubicBezTo>
                  <a:cubicBezTo>
                    <a:pt x="2724" y="15727"/>
                    <a:pt x="2765" y="15870"/>
                    <a:pt x="2673" y="15958"/>
                  </a:cubicBezTo>
                  <a:cubicBezTo>
                    <a:pt x="3149" y="16157"/>
                    <a:pt x="3567" y="16466"/>
                    <a:pt x="3877" y="16847"/>
                  </a:cubicBezTo>
                  <a:cubicBezTo>
                    <a:pt x="4088" y="17106"/>
                    <a:pt x="4271" y="17415"/>
                    <a:pt x="4600" y="17542"/>
                  </a:cubicBezTo>
                  <a:cubicBezTo>
                    <a:pt x="4687" y="17575"/>
                    <a:pt x="4781" y="17594"/>
                    <a:pt x="4859" y="17641"/>
                  </a:cubicBezTo>
                  <a:cubicBezTo>
                    <a:pt x="5040" y="17748"/>
                    <a:pt x="5088" y="17963"/>
                    <a:pt x="5196" y="18132"/>
                  </a:cubicBezTo>
                  <a:cubicBezTo>
                    <a:pt x="5435" y="18505"/>
                    <a:pt x="5958" y="18640"/>
                    <a:pt x="6294" y="18946"/>
                  </a:cubicBezTo>
                  <a:cubicBezTo>
                    <a:pt x="6587" y="19212"/>
                    <a:pt x="6734" y="19605"/>
                    <a:pt x="7084" y="19809"/>
                  </a:cubicBezTo>
                  <a:cubicBezTo>
                    <a:pt x="7194" y="19873"/>
                    <a:pt x="7319" y="19915"/>
                    <a:pt x="7432" y="19976"/>
                  </a:cubicBezTo>
                  <a:cubicBezTo>
                    <a:pt x="7793" y="20171"/>
                    <a:pt x="7988" y="20534"/>
                    <a:pt x="8213" y="20854"/>
                  </a:cubicBezTo>
                  <a:cubicBezTo>
                    <a:pt x="8380" y="21092"/>
                    <a:pt x="8572" y="21313"/>
                    <a:pt x="8779" y="21523"/>
                  </a:cubicBezTo>
                  <a:cubicBezTo>
                    <a:pt x="9035" y="21146"/>
                    <a:pt x="9917" y="19858"/>
                    <a:pt x="9996" y="1985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8" name="Shape">
              <a:extLst>
                <a:ext uri="{FF2B5EF4-FFF2-40B4-BE49-F238E27FC236}">
                  <a16:creationId xmlns:a16="http://schemas.microsoft.com/office/drawing/2014/main" id="{AEAE9AC4-8047-B84A-A6BF-8ADF71626214}"/>
                </a:ext>
              </a:extLst>
            </p:cNvPr>
            <p:cNvSpPr/>
            <p:nvPr/>
          </p:nvSpPr>
          <p:spPr>
            <a:xfrm>
              <a:off x="2870199" y="9626599"/>
              <a:ext cx="783749" cy="817385"/>
            </a:xfrm>
            <a:custGeom>
              <a:avLst/>
              <a:gdLst/>
              <a:ahLst/>
              <a:cxnLst>
                <a:cxn ang="0">
                  <a:pos x="wd2" y="hd2"/>
                </a:cxn>
                <a:cxn ang="5400000">
                  <a:pos x="wd2" y="hd2"/>
                </a:cxn>
                <a:cxn ang="10800000">
                  <a:pos x="wd2" y="hd2"/>
                </a:cxn>
                <a:cxn ang="16200000">
                  <a:pos x="wd2" y="hd2"/>
                </a:cxn>
              </a:cxnLst>
              <a:rect l="0" t="0" r="r" b="b"/>
              <a:pathLst>
                <a:path w="21600" h="21507" extrusionOk="0">
                  <a:moveTo>
                    <a:pt x="19139" y="15195"/>
                  </a:moveTo>
                  <a:cubicBezTo>
                    <a:pt x="19172" y="15018"/>
                    <a:pt x="19544" y="13420"/>
                    <a:pt x="19719" y="13107"/>
                  </a:cubicBezTo>
                  <a:cubicBezTo>
                    <a:pt x="19894" y="12793"/>
                    <a:pt x="20375" y="12522"/>
                    <a:pt x="20616" y="12522"/>
                  </a:cubicBezTo>
                  <a:cubicBezTo>
                    <a:pt x="20856" y="12522"/>
                    <a:pt x="21206" y="12668"/>
                    <a:pt x="21228" y="12522"/>
                  </a:cubicBezTo>
                  <a:cubicBezTo>
                    <a:pt x="21248" y="12390"/>
                    <a:pt x="21543" y="10616"/>
                    <a:pt x="21600" y="10277"/>
                  </a:cubicBezTo>
                  <a:cubicBezTo>
                    <a:pt x="21588" y="10278"/>
                    <a:pt x="21577" y="10279"/>
                    <a:pt x="21571" y="10280"/>
                  </a:cubicBezTo>
                  <a:cubicBezTo>
                    <a:pt x="21338" y="10322"/>
                    <a:pt x="18610" y="11937"/>
                    <a:pt x="18523" y="11867"/>
                  </a:cubicBezTo>
                  <a:cubicBezTo>
                    <a:pt x="18435" y="11798"/>
                    <a:pt x="20331" y="9194"/>
                    <a:pt x="20258" y="8985"/>
                  </a:cubicBezTo>
                  <a:cubicBezTo>
                    <a:pt x="20186" y="8776"/>
                    <a:pt x="18406" y="5838"/>
                    <a:pt x="18392" y="5574"/>
                  </a:cubicBezTo>
                  <a:cubicBezTo>
                    <a:pt x="18377" y="5309"/>
                    <a:pt x="19121" y="5031"/>
                    <a:pt x="18888" y="4808"/>
                  </a:cubicBezTo>
                  <a:cubicBezTo>
                    <a:pt x="18654" y="4585"/>
                    <a:pt x="15154" y="241"/>
                    <a:pt x="14921" y="74"/>
                  </a:cubicBezTo>
                  <a:cubicBezTo>
                    <a:pt x="14687" y="-93"/>
                    <a:pt x="10429" y="74"/>
                    <a:pt x="10021" y="74"/>
                  </a:cubicBezTo>
                  <a:cubicBezTo>
                    <a:pt x="9612" y="74"/>
                    <a:pt x="6287" y="854"/>
                    <a:pt x="6112" y="1021"/>
                  </a:cubicBezTo>
                  <a:cubicBezTo>
                    <a:pt x="5937" y="1188"/>
                    <a:pt x="4829" y="3694"/>
                    <a:pt x="4771" y="3917"/>
                  </a:cubicBezTo>
                  <a:cubicBezTo>
                    <a:pt x="4712" y="4140"/>
                    <a:pt x="1620" y="6590"/>
                    <a:pt x="1620" y="6590"/>
                  </a:cubicBezTo>
                  <a:lnTo>
                    <a:pt x="0" y="6590"/>
                  </a:lnTo>
                  <a:cubicBezTo>
                    <a:pt x="11" y="6624"/>
                    <a:pt x="26" y="6657"/>
                    <a:pt x="36" y="6691"/>
                  </a:cubicBezTo>
                  <a:cubicBezTo>
                    <a:pt x="189" y="7228"/>
                    <a:pt x="165" y="7793"/>
                    <a:pt x="200" y="8348"/>
                  </a:cubicBezTo>
                  <a:cubicBezTo>
                    <a:pt x="262" y="9353"/>
                    <a:pt x="521" y="10347"/>
                    <a:pt x="958" y="11264"/>
                  </a:cubicBezTo>
                  <a:cubicBezTo>
                    <a:pt x="1083" y="11526"/>
                    <a:pt x="1244" y="11802"/>
                    <a:pt x="1523" y="11912"/>
                  </a:cubicBezTo>
                  <a:cubicBezTo>
                    <a:pt x="1745" y="11999"/>
                    <a:pt x="2006" y="11965"/>
                    <a:pt x="2220" y="12069"/>
                  </a:cubicBezTo>
                  <a:cubicBezTo>
                    <a:pt x="2889" y="12393"/>
                    <a:pt x="2348" y="13389"/>
                    <a:pt x="2561" y="14076"/>
                  </a:cubicBezTo>
                  <a:cubicBezTo>
                    <a:pt x="2834" y="14950"/>
                    <a:pt x="4153" y="14961"/>
                    <a:pt x="4867" y="15568"/>
                  </a:cubicBezTo>
                  <a:cubicBezTo>
                    <a:pt x="5145" y="15806"/>
                    <a:pt x="5322" y="16131"/>
                    <a:pt x="5545" y="16417"/>
                  </a:cubicBezTo>
                  <a:cubicBezTo>
                    <a:pt x="5949" y="16935"/>
                    <a:pt x="6503" y="17324"/>
                    <a:pt x="7048" y="17704"/>
                  </a:cubicBezTo>
                  <a:cubicBezTo>
                    <a:pt x="8521" y="18732"/>
                    <a:pt x="10232" y="19807"/>
                    <a:pt x="11759" y="20761"/>
                  </a:cubicBezTo>
                  <a:cubicBezTo>
                    <a:pt x="12157" y="21009"/>
                    <a:pt x="12555" y="21258"/>
                    <a:pt x="12953" y="21507"/>
                  </a:cubicBezTo>
                  <a:cubicBezTo>
                    <a:pt x="13219" y="20933"/>
                    <a:pt x="13755" y="19841"/>
                    <a:pt x="13987" y="19497"/>
                  </a:cubicBezTo>
                  <a:cubicBezTo>
                    <a:pt x="14305" y="19027"/>
                    <a:pt x="19106" y="15373"/>
                    <a:pt x="19139" y="1519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39" name="Shape">
              <a:extLst>
                <a:ext uri="{FF2B5EF4-FFF2-40B4-BE49-F238E27FC236}">
                  <a16:creationId xmlns:a16="http://schemas.microsoft.com/office/drawing/2014/main" id="{EB7CD893-8948-3943-9D3E-3A5F442429CD}"/>
                </a:ext>
              </a:extLst>
            </p:cNvPr>
            <p:cNvSpPr/>
            <p:nvPr/>
          </p:nvSpPr>
          <p:spPr>
            <a:xfrm>
              <a:off x="5461000" y="9321800"/>
              <a:ext cx="1146786" cy="1663944"/>
            </a:xfrm>
            <a:custGeom>
              <a:avLst/>
              <a:gdLst/>
              <a:ahLst/>
              <a:cxnLst>
                <a:cxn ang="0">
                  <a:pos x="wd2" y="hd2"/>
                </a:cxn>
                <a:cxn ang="5400000">
                  <a:pos x="wd2" y="hd2"/>
                </a:cxn>
                <a:cxn ang="10800000">
                  <a:pos x="wd2" y="hd2"/>
                </a:cxn>
                <a:cxn ang="16200000">
                  <a:pos x="wd2" y="hd2"/>
                </a:cxn>
              </a:cxnLst>
              <a:rect l="0" t="0" r="r" b="b"/>
              <a:pathLst>
                <a:path w="21572" h="21569" extrusionOk="0">
                  <a:moveTo>
                    <a:pt x="18293" y="14504"/>
                  </a:moveTo>
                  <a:cubicBezTo>
                    <a:pt x="18213" y="14436"/>
                    <a:pt x="18930" y="13133"/>
                    <a:pt x="18910" y="13023"/>
                  </a:cubicBezTo>
                  <a:cubicBezTo>
                    <a:pt x="18890" y="12913"/>
                    <a:pt x="18432" y="12639"/>
                    <a:pt x="18332" y="12556"/>
                  </a:cubicBezTo>
                  <a:cubicBezTo>
                    <a:pt x="18233" y="12474"/>
                    <a:pt x="18611" y="10005"/>
                    <a:pt x="18571" y="9909"/>
                  </a:cubicBezTo>
                  <a:cubicBezTo>
                    <a:pt x="18532" y="9813"/>
                    <a:pt x="19208" y="9483"/>
                    <a:pt x="19208" y="9415"/>
                  </a:cubicBezTo>
                  <a:cubicBezTo>
                    <a:pt x="19208" y="9346"/>
                    <a:pt x="18651" y="8880"/>
                    <a:pt x="18352" y="8781"/>
                  </a:cubicBezTo>
                  <a:cubicBezTo>
                    <a:pt x="18054" y="8683"/>
                    <a:pt x="17496" y="8084"/>
                    <a:pt x="17556" y="8070"/>
                  </a:cubicBezTo>
                  <a:cubicBezTo>
                    <a:pt x="17616" y="8057"/>
                    <a:pt x="17934" y="8002"/>
                    <a:pt x="18173" y="7933"/>
                  </a:cubicBezTo>
                  <a:cubicBezTo>
                    <a:pt x="18412" y="7865"/>
                    <a:pt x="18561" y="5848"/>
                    <a:pt x="18542" y="5812"/>
                  </a:cubicBezTo>
                  <a:cubicBezTo>
                    <a:pt x="18522" y="5776"/>
                    <a:pt x="16849" y="5812"/>
                    <a:pt x="16849" y="5812"/>
                  </a:cubicBezTo>
                  <a:cubicBezTo>
                    <a:pt x="16849" y="5812"/>
                    <a:pt x="16849" y="5772"/>
                    <a:pt x="16849" y="5690"/>
                  </a:cubicBezTo>
                  <a:cubicBezTo>
                    <a:pt x="16849" y="5608"/>
                    <a:pt x="17606" y="5327"/>
                    <a:pt x="17626" y="5244"/>
                  </a:cubicBezTo>
                  <a:cubicBezTo>
                    <a:pt x="17646" y="5162"/>
                    <a:pt x="17591" y="2802"/>
                    <a:pt x="17546" y="2756"/>
                  </a:cubicBezTo>
                  <a:cubicBezTo>
                    <a:pt x="17501" y="2710"/>
                    <a:pt x="15799" y="1856"/>
                    <a:pt x="15739" y="1799"/>
                  </a:cubicBezTo>
                  <a:cubicBezTo>
                    <a:pt x="15684" y="1747"/>
                    <a:pt x="15699" y="354"/>
                    <a:pt x="15702" y="132"/>
                  </a:cubicBezTo>
                  <a:cubicBezTo>
                    <a:pt x="15690" y="131"/>
                    <a:pt x="15676" y="128"/>
                    <a:pt x="15665" y="127"/>
                  </a:cubicBezTo>
                  <a:cubicBezTo>
                    <a:pt x="15127" y="65"/>
                    <a:pt x="13903" y="-17"/>
                    <a:pt x="13813" y="4"/>
                  </a:cubicBezTo>
                  <a:cubicBezTo>
                    <a:pt x="13724" y="24"/>
                    <a:pt x="13276" y="868"/>
                    <a:pt x="12828" y="806"/>
                  </a:cubicBezTo>
                  <a:cubicBezTo>
                    <a:pt x="12380" y="744"/>
                    <a:pt x="2227" y="456"/>
                    <a:pt x="2077" y="456"/>
                  </a:cubicBezTo>
                  <a:cubicBezTo>
                    <a:pt x="1928" y="456"/>
                    <a:pt x="1450" y="1650"/>
                    <a:pt x="1450" y="1732"/>
                  </a:cubicBezTo>
                  <a:cubicBezTo>
                    <a:pt x="1450" y="1814"/>
                    <a:pt x="2197" y="2267"/>
                    <a:pt x="2316" y="2432"/>
                  </a:cubicBezTo>
                  <a:cubicBezTo>
                    <a:pt x="2436" y="2596"/>
                    <a:pt x="2316" y="3811"/>
                    <a:pt x="2495" y="4449"/>
                  </a:cubicBezTo>
                  <a:cubicBezTo>
                    <a:pt x="2675" y="5086"/>
                    <a:pt x="3078" y="5457"/>
                    <a:pt x="2876" y="5519"/>
                  </a:cubicBezTo>
                  <a:cubicBezTo>
                    <a:pt x="2710" y="5569"/>
                    <a:pt x="2451" y="5733"/>
                    <a:pt x="2364" y="5790"/>
                  </a:cubicBezTo>
                  <a:cubicBezTo>
                    <a:pt x="2491" y="5885"/>
                    <a:pt x="2580" y="5952"/>
                    <a:pt x="2605" y="5971"/>
                  </a:cubicBezTo>
                  <a:cubicBezTo>
                    <a:pt x="2744" y="6081"/>
                    <a:pt x="2306" y="6904"/>
                    <a:pt x="2366" y="7014"/>
                  </a:cubicBezTo>
                  <a:cubicBezTo>
                    <a:pt x="2426" y="7124"/>
                    <a:pt x="2943" y="7371"/>
                    <a:pt x="3142" y="7576"/>
                  </a:cubicBezTo>
                  <a:cubicBezTo>
                    <a:pt x="3341" y="7782"/>
                    <a:pt x="3600" y="9826"/>
                    <a:pt x="3560" y="9963"/>
                  </a:cubicBezTo>
                  <a:cubicBezTo>
                    <a:pt x="3521" y="10101"/>
                    <a:pt x="2247" y="10718"/>
                    <a:pt x="2247" y="10869"/>
                  </a:cubicBezTo>
                  <a:cubicBezTo>
                    <a:pt x="2247" y="11020"/>
                    <a:pt x="1729" y="11623"/>
                    <a:pt x="1629" y="11829"/>
                  </a:cubicBezTo>
                  <a:cubicBezTo>
                    <a:pt x="1530" y="12035"/>
                    <a:pt x="1570" y="13009"/>
                    <a:pt x="1570" y="13133"/>
                  </a:cubicBezTo>
                  <a:cubicBezTo>
                    <a:pt x="1570" y="13256"/>
                    <a:pt x="32" y="15149"/>
                    <a:pt x="2" y="15304"/>
                  </a:cubicBezTo>
                  <a:cubicBezTo>
                    <a:pt x="-28" y="15458"/>
                    <a:pt x="271" y="15983"/>
                    <a:pt x="480" y="16487"/>
                  </a:cubicBezTo>
                  <a:cubicBezTo>
                    <a:pt x="689" y="16991"/>
                    <a:pt x="928" y="18236"/>
                    <a:pt x="1062" y="18308"/>
                  </a:cubicBezTo>
                  <a:cubicBezTo>
                    <a:pt x="1196" y="18380"/>
                    <a:pt x="2316" y="18637"/>
                    <a:pt x="2316" y="18637"/>
                  </a:cubicBezTo>
                  <a:lnTo>
                    <a:pt x="2510" y="20294"/>
                  </a:lnTo>
                  <a:cubicBezTo>
                    <a:pt x="2510" y="20294"/>
                    <a:pt x="1465" y="20294"/>
                    <a:pt x="1017" y="20345"/>
                  </a:cubicBezTo>
                  <a:cubicBezTo>
                    <a:pt x="917" y="20357"/>
                    <a:pt x="838" y="20373"/>
                    <a:pt x="770" y="20390"/>
                  </a:cubicBezTo>
                  <a:cubicBezTo>
                    <a:pt x="2082" y="20583"/>
                    <a:pt x="3358" y="20895"/>
                    <a:pt x="4550" y="21319"/>
                  </a:cubicBezTo>
                  <a:cubicBezTo>
                    <a:pt x="4904" y="21444"/>
                    <a:pt x="5273" y="21583"/>
                    <a:pt x="5670" y="21569"/>
                  </a:cubicBezTo>
                  <a:cubicBezTo>
                    <a:pt x="6206" y="21549"/>
                    <a:pt x="6625" y="21262"/>
                    <a:pt x="7063" y="21048"/>
                  </a:cubicBezTo>
                  <a:cubicBezTo>
                    <a:pt x="8167" y="20510"/>
                    <a:pt x="9577" y="20398"/>
                    <a:pt x="10853" y="20089"/>
                  </a:cubicBezTo>
                  <a:cubicBezTo>
                    <a:pt x="12321" y="19735"/>
                    <a:pt x="13619" y="19118"/>
                    <a:pt x="15003" y="18630"/>
                  </a:cubicBezTo>
                  <a:cubicBezTo>
                    <a:pt x="16388" y="18142"/>
                    <a:pt x="17959" y="17777"/>
                    <a:pt x="19484" y="17988"/>
                  </a:cubicBezTo>
                  <a:cubicBezTo>
                    <a:pt x="19335" y="17802"/>
                    <a:pt x="19409" y="17546"/>
                    <a:pt x="19649" y="17414"/>
                  </a:cubicBezTo>
                  <a:cubicBezTo>
                    <a:pt x="20285" y="17267"/>
                    <a:pt x="20927" y="17131"/>
                    <a:pt x="21572" y="17005"/>
                  </a:cubicBezTo>
                  <a:cubicBezTo>
                    <a:pt x="21204" y="16785"/>
                    <a:pt x="20687" y="16484"/>
                    <a:pt x="20502" y="16425"/>
                  </a:cubicBezTo>
                  <a:cubicBezTo>
                    <a:pt x="20204" y="16329"/>
                    <a:pt x="18372" y="14573"/>
                    <a:pt x="18293" y="14504"/>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0" name="Shape">
              <a:extLst>
                <a:ext uri="{FF2B5EF4-FFF2-40B4-BE49-F238E27FC236}">
                  <a16:creationId xmlns:a16="http://schemas.microsoft.com/office/drawing/2014/main" id="{33A18FFF-502D-1248-BCAB-237943C6F23F}"/>
                </a:ext>
              </a:extLst>
            </p:cNvPr>
            <p:cNvSpPr/>
            <p:nvPr/>
          </p:nvSpPr>
          <p:spPr>
            <a:xfrm>
              <a:off x="4089400" y="9436100"/>
              <a:ext cx="1561881" cy="1644983"/>
            </a:xfrm>
            <a:custGeom>
              <a:avLst/>
              <a:gdLst/>
              <a:ahLst/>
              <a:cxnLst>
                <a:cxn ang="0">
                  <a:pos x="wd2" y="hd2"/>
                </a:cxn>
                <a:cxn ang="5400000">
                  <a:pos x="wd2" y="hd2"/>
                </a:cxn>
                <a:cxn ang="10800000">
                  <a:pos x="wd2" y="hd2"/>
                </a:cxn>
                <a:cxn ang="16200000">
                  <a:pos x="wd2" y="hd2"/>
                </a:cxn>
              </a:cxnLst>
              <a:rect l="0" t="0" r="r" b="b"/>
              <a:pathLst>
                <a:path w="21531" h="21570" extrusionOk="0">
                  <a:moveTo>
                    <a:pt x="20758" y="19142"/>
                  </a:moveTo>
                  <a:lnTo>
                    <a:pt x="20616" y="17466"/>
                  </a:lnTo>
                  <a:cubicBezTo>
                    <a:pt x="20616" y="17466"/>
                    <a:pt x="19795" y="17206"/>
                    <a:pt x="19697" y="17133"/>
                  </a:cubicBezTo>
                  <a:cubicBezTo>
                    <a:pt x="19598" y="17060"/>
                    <a:pt x="19423" y="15801"/>
                    <a:pt x="19270" y="15291"/>
                  </a:cubicBezTo>
                  <a:cubicBezTo>
                    <a:pt x="19117" y="14781"/>
                    <a:pt x="18898" y="14250"/>
                    <a:pt x="18920" y="14094"/>
                  </a:cubicBezTo>
                  <a:cubicBezTo>
                    <a:pt x="18942" y="13938"/>
                    <a:pt x="20069" y="12022"/>
                    <a:pt x="20069" y="11898"/>
                  </a:cubicBezTo>
                  <a:cubicBezTo>
                    <a:pt x="20069" y="11773"/>
                    <a:pt x="20040" y="10787"/>
                    <a:pt x="20113" y="10579"/>
                  </a:cubicBezTo>
                  <a:cubicBezTo>
                    <a:pt x="20186" y="10371"/>
                    <a:pt x="20565" y="9760"/>
                    <a:pt x="20565" y="9608"/>
                  </a:cubicBezTo>
                  <a:cubicBezTo>
                    <a:pt x="20565" y="9455"/>
                    <a:pt x="21499" y="8831"/>
                    <a:pt x="21528" y="8692"/>
                  </a:cubicBezTo>
                  <a:cubicBezTo>
                    <a:pt x="21557" y="8553"/>
                    <a:pt x="21367" y="6485"/>
                    <a:pt x="21221" y="6277"/>
                  </a:cubicBezTo>
                  <a:cubicBezTo>
                    <a:pt x="21076" y="6069"/>
                    <a:pt x="20696" y="5819"/>
                    <a:pt x="20652" y="5708"/>
                  </a:cubicBezTo>
                  <a:cubicBezTo>
                    <a:pt x="20609" y="5597"/>
                    <a:pt x="20930" y="4765"/>
                    <a:pt x="20828" y="4654"/>
                  </a:cubicBezTo>
                  <a:cubicBezTo>
                    <a:pt x="20809" y="4634"/>
                    <a:pt x="20744" y="4566"/>
                    <a:pt x="20651" y="4471"/>
                  </a:cubicBezTo>
                  <a:cubicBezTo>
                    <a:pt x="20637" y="4483"/>
                    <a:pt x="20627" y="4492"/>
                    <a:pt x="20627" y="4492"/>
                  </a:cubicBezTo>
                  <a:cubicBezTo>
                    <a:pt x="20627" y="4492"/>
                    <a:pt x="20637" y="4483"/>
                    <a:pt x="20651" y="4471"/>
                  </a:cubicBezTo>
                  <a:cubicBezTo>
                    <a:pt x="20218" y="4027"/>
                    <a:pt x="19148" y="2948"/>
                    <a:pt x="19004" y="2891"/>
                  </a:cubicBezTo>
                  <a:cubicBezTo>
                    <a:pt x="18829" y="2822"/>
                    <a:pt x="16407" y="2947"/>
                    <a:pt x="16319" y="2961"/>
                  </a:cubicBezTo>
                  <a:cubicBezTo>
                    <a:pt x="16232" y="2974"/>
                    <a:pt x="15298" y="3890"/>
                    <a:pt x="15181" y="3890"/>
                  </a:cubicBezTo>
                  <a:cubicBezTo>
                    <a:pt x="15065" y="3890"/>
                    <a:pt x="13504" y="3266"/>
                    <a:pt x="13358" y="3224"/>
                  </a:cubicBezTo>
                  <a:cubicBezTo>
                    <a:pt x="13212" y="3183"/>
                    <a:pt x="12132" y="1573"/>
                    <a:pt x="12030" y="1503"/>
                  </a:cubicBezTo>
                  <a:cubicBezTo>
                    <a:pt x="11928" y="1434"/>
                    <a:pt x="11120" y="1086"/>
                    <a:pt x="10879" y="1033"/>
                  </a:cubicBezTo>
                  <a:lnTo>
                    <a:pt x="10879" y="1033"/>
                  </a:lnTo>
                  <a:cubicBezTo>
                    <a:pt x="10871" y="1057"/>
                    <a:pt x="10866" y="1073"/>
                    <a:pt x="10866" y="1073"/>
                  </a:cubicBezTo>
                  <a:cubicBezTo>
                    <a:pt x="10866" y="1073"/>
                    <a:pt x="10871" y="1057"/>
                    <a:pt x="10879" y="1033"/>
                  </a:cubicBezTo>
                  <a:cubicBezTo>
                    <a:pt x="10637" y="980"/>
                    <a:pt x="10024" y="974"/>
                    <a:pt x="9964" y="985"/>
                  </a:cubicBezTo>
                  <a:cubicBezTo>
                    <a:pt x="9904" y="995"/>
                    <a:pt x="8919" y="1849"/>
                    <a:pt x="8804" y="1838"/>
                  </a:cubicBezTo>
                  <a:cubicBezTo>
                    <a:pt x="8689" y="1828"/>
                    <a:pt x="8311" y="1635"/>
                    <a:pt x="8300" y="1578"/>
                  </a:cubicBezTo>
                  <a:cubicBezTo>
                    <a:pt x="8290" y="1521"/>
                    <a:pt x="8388" y="43"/>
                    <a:pt x="8350" y="6"/>
                  </a:cubicBezTo>
                  <a:cubicBezTo>
                    <a:pt x="8311" y="-30"/>
                    <a:pt x="7775" y="95"/>
                    <a:pt x="7704" y="137"/>
                  </a:cubicBezTo>
                  <a:cubicBezTo>
                    <a:pt x="7633" y="178"/>
                    <a:pt x="7737" y="667"/>
                    <a:pt x="7633" y="667"/>
                  </a:cubicBezTo>
                  <a:cubicBezTo>
                    <a:pt x="7529" y="667"/>
                    <a:pt x="6971" y="173"/>
                    <a:pt x="6922" y="189"/>
                  </a:cubicBezTo>
                  <a:cubicBezTo>
                    <a:pt x="6873" y="204"/>
                    <a:pt x="6916" y="1261"/>
                    <a:pt x="6862" y="1281"/>
                  </a:cubicBezTo>
                  <a:cubicBezTo>
                    <a:pt x="6807" y="1302"/>
                    <a:pt x="5910" y="1344"/>
                    <a:pt x="5822" y="1365"/>
                  </a:cubicBezTo>
                  <a:cubicBezTo>
                    <a:pt x="5735" y="1385"/>
                    <a:pt x="5614" y="2124"/>
                    <a:pt x="5472" y="2083"/>
                  </a:cubicBezTo>
                  <a:cubicBezTo>
                    <a:pt x="5330" y="2041"/>
                    <a:pt x="4301" y="1635"/>
                    <a:pt x="4224" y="1625"/>
                  </a:cubicBezTo>
                  <a:cubicBezTo>
                    <a:pt x="4148" y="1614"/>
                    <a:pt x="3831" y="990"/>
                    <a:pt x="3776" y="980"/>
                  </a:cubicBezTo>
                  <a:cubicBezTo>
                    <a:pt x="3721" y="969"/>
                    <a:pt x="2485" y="1729"/>
                    <a:pt x="2342" y="1812"/>
                  </a:cubicBezTo>
                  <a:cubicBezTo>
                    <a:pt x="2297" y="1839"/>
                    <a:pt x="2228" y="1881"/>
                    <a:pt x="2150" y="1931"/>
                  </a:cubicBezTo>
                  <a:cubicBezTo>
                    <a:pt x="2165" y="1955"/>
                    <a:pt x="2175" y="1968"/>
                    <a:pt x="2175" y="1968"/>
                  </a:cubicBezTo>
                  <a:cubicBezTo>
                    <a:pt x="2175" y="1968"/>
                    <a:pt x="2165" y="1955"/>
                    <a:pt x="2150" y="1931"/>
                  </a:cubicBezTo>
                  <a:cubicBezTo>
                    <a:pt x="1984" y="2038"/>
                    <a:pt x="1773" y="2181"/>
                    <a:pt x="1631" y="2301"/>
                  </a:cubicBezTo>
                  <a:cubicBezTo>
                    <a:pt x="1423" y="2478"/>
                    <a:pt x="1394" y="2669"/>
                    <a:pt x="1365" y="2933"/>
                  </a:cubicBezTo>
                  <a:cubicBezTo>
                    <a:pt x="1336" y="3196"/>
                    <a:pt x="1496" y="4126"/>
                    <a:pt x="1511" y="4168"/>
                  </a:cubicBezTo>
                  <a:cubicBezTo>
                    <a:pt x="1525" y="4210"/>
                    <a:pt x="1803" y="4584"/>
                    <a:pt x="1890" y="4584"/>
                  </a:cubicBezTo>
                  <a:cubicBezTo>
                    <a:pt x="1978" y="4584"/>
                    <a:pt x="2590" y="4418"/>
                    <a:pt x="2605" y="4487"/>
                  </a:cubicBezTo>
                  <a:cubicBezTo>
                    <a:pt x="2620" y="4556"/>
                    <a:pt x="2328" y="5084"/>
                    <a:pt x="2401" y="5223"/>
                  </a:cubicBezTo>
                  <a:cubicBezTo>
                    <a:pt x="2474" y="5361"/>
                    <a:pt x="3014" y="5597"/>
                    <a:pt x="2999" y="5667"/>
                  </a:cubicBezTo>
                  <a:cubicBezTo>
                    <a:pt x="2984" y="5736"/>
                    <a:pt x="2488" y="5805"/>
                    <a:pt x="2386" y="5875"/>
                  </a:cubicBezTo>
                  <a:cubicBezTo>
                    <a:pt x="2284" y="5944"/>
                    <a:pt x="2277" y="6027"/>
                    <a:pt x="2277" y="6055"/>
                  </a:cubicBezTo>
                  <a:cubicBezTo>
                    <a:pt x="2277" y="6083"/>
                    <a:pt x="2197" y="6458"/>
                    <a:pt x="2233" y="6472"/>
                  </a:cubicBezTo>
                  <a:cubicBezTo>
                    <a:pt x="2269" y="6485"/>
                    <a:pt x="3203" y="7145"/>
                    <a:pt x="3247" y="7242"/>
                  </a:cubicBezTo>
                  <a:cubicBezTo>
                    <a:pt x="3291" y="7339"/>
                    <a:pt x="3378" y="7963"/>
                    <a:pt x="3283" y="7998"/>
                  </a:cubicBezTo>
                  <a:cubicBezTo>
                    <a:pt x="3189" y="8033"/>
                    <a:pt x="1591" y="7693"/>
                    <a:pt x="1503" y="7700"/>
                  </a:cubicBezTo>
                  <a:cubicBezTo>
                    <a:pt x="1416" y="7707"/>
                    <a:pt x="1299" y="7852"/>
                    <a:pt x="1248" y="8047"/>
                  </a:cubicBezTo>
                  <a:cubicBezTo>
                    <a:pt x="1197" y="8241"/>
                    <a:pt x="1168" y="8595"/>
                    <a:pt x="1212" y="8616"/>
                  </a:cubicBezTo>
                  <a:cubicBezTo>
                    <a:pt x="1255" y="8636"/>
                    <a:pt x="1934" y="8643"/>
                    <a:pt x="1978" y="8713"/>
                  </a:cubicBezTo>
                  <a:lnTo>
                    <a:pt x="2233" y="9306"/>
                  </a:lnTo>
                  <a:lnTo>
                    <a:pt x="1762" y="9316"/>
                  </a:lnTo>
                  <a:cubicBezTo>
                    <a:pt x="1762" y="9316"/>
                    <a:pt x="1434" y="10898"/>
                    <a:pt x="1358" y="10950"/>
                  </a:cubicBezTo>
                  <a:cubicBezTo>
                    <a:pt x="1288" y="10998"/>
                    <a:pt x="474" y="10985"/>
                    <a:pt x="335" y="10982"/>
                  </a:cubicBezTo>
                  <a:cubicBezTo>
                    <a:pt x="644" y="11651"/>
                    <a:pt x="1080" y="12664"/>
                    <a:pt x="1073" y="12741"/>
                  </a:cubicBezTo>
                  <a:cubicBezTo>
                    <a:pt x="1062" y="12855"/>
                    <a:pt x="-43" y="14395"/>
                    <a:pt x="1" y="14468"/>
                  </a:cubicBezTo>
                  <a:cubicBezTo>
                    <a:pt x="45" y="14541"/>
                    <a:pt x="438" y="14677"/>
                    <a:pt x="701" y="14833"/>
                  </a:cubicBezTo>
                  <a:cubicBezTo>
                    <a:pt x="964" y="14989"/>
                    <a:pt x="1281" y="15228"/>
                    <a:pt x="1369" y="15228"/>
                  </a:cubicBezTo>
                  <a:cubicBezTo>
                    <a:pt x="1456" y="15228"/>
                    <a:pt x="2321" y="15228"/>
                    <a:pt x="2397" y="15228"/>
                  </a:cubicBezTo>
                  <a:cubicBezTo>
                    <a:pt x="2474" y="15228"/>
                    <a:pt x="3032" y="16592"/>
                    <a:pt x="3174" y="16612"/>
                  </a:cubicBezTo>
                  <a:cubicBezTo>
                    <a:pt x="3316" y="16633"/>
                    <a:pt x="4093" y="16623"/>
                    <a:pt x="4137" y="16675"/>
                  </a:cubicBezTo>
                  <a:cubicBezTo>
                    <a:pt x="4181" y="16727"/>
                    <a:pt x="4235" y="17830"/>
                    <a:pt x="4312" y="18017"/>
                  </a:cubicBezTo>
                  <a:cubicBezTo>
                    <a:pt x="4389" y="18205"/>
                    <a:pt x="4400" y="18465"/>
                    <a:pt x="4400" y="18465"/>
                  </a:cubicBezTo>
                  <a:cubicBezTo>
                    <a:pt x="4400" y="18465"/>
                    <a:pt x="4017" y="18455"/>
                    <a:pt x="3973" y="18538"/>
                  </a:cubicBezTo>
                  <a:cubicBezTo>
                    <a:pt x="3929" y="18621"/>
                    <a:pt x="3688" y="19152"/>
                    <a:pt x="3655" y="19506"/>
                  </a:cubicBezTo>
                  <a:cubicBezTo>
                    <a:pt x="3630" y="19782"/>
                    <a:pt x="3664" y="21030"/>
                    <a:pt x="3680" y="21568"/>
                  </a:cubicBezTo>
                  <a:cubicBezTo>
                    <a:pt x="3693" y="21568"/>
                    <a:pt x="3705" y="21570"/>
                    <a:pt x="3717" y="21570"/>
                  </a:cubicBezTo>
                  <a:cubicBezTo>
                    <a:pt x="4038" y="21557"/>
                    <a:pt x="4342" y="21432"/>
                    <a:pt x="4636" y="21308"/>
                  </a:cubicBezTo>
                  <a:cubicBezTo>
                    <a:pt x="5500" y="20947"/>
                    <a:pt x="6365" y="20585"/>
                    <a:pt x="7229" y="20223"/>
                  </a:cubicBezTo>
                  <a:cubicBezTo>
                    <a:pt x="7832" y="19970"/>
                    <a:pt x="8437" y="19717"/>
                    <a:pt x="9069" y="19544"/>
                  </a:cubicBezTo>
                  <a:cubicBezTo>
                    <a:pt x="11209" y="18959"/>
                    <a:pt x="13545" y="19317"/>
                    <a:pt x="15671" y="18691"/>
                  </a:cubicBezTo>
                  <a:cubicBezTo>
                    <a:pt x="15910" y="18621"/>
                    <a:pt x="16158" y="18537"/>
                    <a:pt x="16405" y="18579"/>
                  </a:cubicBezTo>
                  <a:cubicBezTo>
                    <a:pt x="16601" y="18612"/>
                    <a:pt x="16772" y="18720"/>
                    <a:pt x="16950" y="18804"/>
                  </a:cubicBezTo>
                  <a:cubicBezTo>
                    <a:pt x="17338" y="18988"/>
                    <a:pt x="17783" y="19059"/>
                    <a:pt x="18213" y="19014"/>
                  </a:cubicBezTo>
                  <a:cubicBezTo>
                    <a:pt x="18739" y="18958"/>
                    <a:pt x="18743" y="18811"/>
                    <a:pt x="18904" y="18366"/>
                  </a:cubicBezTo>
                  <a:cubicBezTo>
                    <a:pt x="19081" y="18284"/>
                    <a:pt x="19286" y="18482"/>
                    <a:pt x="19277" y="18669"/>
                  </a:cubicBezTo>
                  <a:cubicBezTo>
                    <a:pt x="19268" y="18856"/>
                    <a:pt x="19129" y="19011"/>
                    <a:pt x="18997" y="19150"/>
                  </a:cubicBezTo>
                  <a:cubicBezTo>
                    <a:pt x="19160" y="19176"/>
                    <a:pt x="19322" y="19206"/>
                    <a:pt x="19483" y="19239"/>
                  </a:cubicBezTo>
                  <a:cubicBezTo>
                    <a:pt x="19532" y="19221"/>
                    <a:pt x="19591" y="19205"/>
                    <a:pt x="19664" y="19194"/>
                  </a:cubicBezTo>
                  <a:cubicBezTo>
                    <a:pt x="19992" y="19142"/>
                    <a:pt x="20758" y="19142"/>
                    <a:pt x="20758" y="19142"/>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1" name="Shape">
              <a:extLst>
                <a:ext uri="{FF2B5EF4-FFF2-40B4-BE49-F238E27FC236}">
                  <a16:creationId xmlns:a16="http://schemas.microsoft.com/office/drawing/2014/main" id="{9D75127F-D6D9-2C45-BF34-86FA070A57B4}"/>
                </a:ext>
              </a:extLst>
            </p:cNvPr>
            <p:cNvSpPr/>
            <p:nvPr/>
          </p:nvSpPr>
          <p:spPr>
            <a:xfrm>
              <a:off x="6299199" y="9334500"/>
              <a:ext cx="465491" cy="1301678"/>
            </a:xfrm>
            <a:custGeom>
              <a:avLst/>
              <a:gdLst/>
              <a:ahLst/>
              <a:cxnLst>
                <a:cxn ang="0">
                  <a:pos x="wd2" y="hd2"/>
                </a:cxn>
                <a:cxn ang="5400000">
                  <a:pos x="wd2" y="hd2"/>
                </a:cxn>
                <a:cxn ang="10800000">
                  <a:pos x="wd2" y="hd2"/>
                </a:cxn>
                <a:cxn ang="16200000">
                  <a:pos x="wd2" y="hd2"/>
                </a:cxn>
              </a:cxnLst>
              <a:rect l="0" t="0" r="r" b="b"/>
              <a:pathLst>
                <a:path w="21567" h="21600" extrusionOk="0">
                  <a:moveTo>
                    <a:pt x="19017" y="18065"/>
                  </a:moveTo>
                  <a:cubicBezTo>
                    <a:pt x="18870" y="17722"/>
                    <a:pt x="18944" y="9055"/>
                    <a:pt x="19017" y="8739"/>
                  </a:cubicBezTo>
                  <a:cubicBezTo>
                    <a:pt x="19091" y="8423"/>
                    <a:pt x="16933" y="7194"/>
                    <a:pt x="16247" y="6808"/>
                  </a:cubicBezTo>
                  <a:cubicBezTo>
                    <a:pt x="15560" y="6421"/>
                    <a:pt x="16933" y="5122"/>
                    <a:pt x="16247" y="4841"/>
                  </a:cubicBezTo>
                  <a:cubicBezTo>
                    <a:pt x="15560" y="4560"/>
                    <a:pt x="9774" y="3436"/>
                    <a:pt x="9382" y="3155"/>
                  </a:cubicBezTo>
                  <a:cubicBezTo>
                    <a:pt x="9019" y="2895"/>
                    <a:pt x="10761" y="772"/>
                    <a:pt x="11027" y="452"/>
                  </a:cubicBezTo>
                  <a:cubicBezTo>
                    <a:pt x="9368" y="546"/>
                    <a:pt x="7210" y="671"/>
                    <a:pt x="6538" y="652"/>
                  </a:cubicBezTo>
                  <a:cubicBezTo>
                    <a:pt x="5601" y="626"/>
                    <a:pt x="1423" y="96"/>
                    <a:pt x="9" y="0"/>
                  </a:cubicBezTo>
                  <a:cubicBezTo>
                    <a:pt x="3" y="285"/>
                    <a:pt x="-33" y="2067"/>
                    <a:pt x="102" y="2134"/>
                  </a:cubicBezTo>
                  <a:cubicBezTo>
                    <a:pt x="249" y="2206"/>
                    <a:pt x="4442" y="3300"/>
                    <a:pt x="4552" y="3359"/>
                  </a:cubicBezTo>
                  <a:cubicBezTo>
                    <a:pt x="4663" y="3418"/>
                    <a:pt x="4797" y="6439"/>
                    <a:pt x="4748" y="6544"/>
                  </a:cubicBezTo>
                  <a:cubicBezTo>
                    <a:pt x="4699" y="6649"/>
                    <a:pt x="2836" y="7010"/>
                    <a:pt x="2836" y="7115"/>
                  </a:cubicBezTo>
                  <a:cubicBezTo>
                    <a:pt x="2836" y="7220"/>
                    <a:pt x="2836" y="7271"/>
                    <a:pt x="2836" y="7271"/>
                  </a:cubicBezTo>
                  <a:cubicBezTo>
                    <a:pt x="2836" y="7271"/>
                    <a:pt x="6955" y="7225"/>
                    <a:pt x="7004" y="7271"/>
                  </a:cubicBezTo>
                  <a:cubicBezTo>
                    <a:pt x="7053" y="7317"/>
                    <a:pt x="6685" y="9898"/>
                    <a:pt x="6097" y="9986"/>
                  </a:cubicBezTo>
                  <a:cubicBezTo>
                    <a:pt x="5508" y="10074"/>
                    <a:pt x="4724" y="10144"/>
                    <a:pt x="4577" y="10162"/>
                  </a:cubicBezTo>
                  <a:cubicBezTo>
                    <a:pt x="4430" y="10179"/>
                    <a:pt x="5803" y="10947"/>
                    <a:pt x="6538" y="11072"/>
                  </a:cubicBezTo>
                  <a:cubicBezTo>
                    <a:pt x="7274" y="11198"/>
                    <a:pt x="8647" y="11795"/>
                    <a:pt x="8647" y="11883"/>
                  </a:cubicBezTo>
                  <a:cubicBezTo>
                    <a:pt x="8647" y="11971"/>
                    <a:pt x="6979" y="12392"/>
                    <a:pt x="7077" y="12515"/>
                  </a:cubicBezTo>
                  <a:cubicBezTo>
                    <a:pt x="7176" y="12638"/>
                    <a:pt x="6244" y="15799"/>
                    <a:pt x="6489" y="15905"/>
                  </a:cubicBezTo>
                  <a:cubicBezTo>
                    <a:pt x="6734" y="16010"/>
                    <a:pt x="7862" y="16361"/>
                    <a:pt x="7911" y="16502"/>
                  </a:cubicBezTo>
                  <a:cubicBezTo>
                    <a:pt x="7960" y="16642"/>
                    <a:pt x="6195" y="18311"/>
                    <a:pt x="6391" y="18398"/>
                  </a:cubicBezTo>
                  <a:cubicBezTo>
                    <a:pt x="6587" y="18486"/>
                    <a:pt x="11098" y="20734"/>
                    <a:pt x="11834" y="20857"/>
                  </a:cubicBezTo>
                  <a:cubicBezTo>
                    <a:pt x="12288" y="20933"/>
                    <a:pt x="13561" y="21317"/>
                    <a:pt x="14468" y="21600"/>
                  </a:cubicBezTo>
                  <a:cubicBezTo>
                    <a:pt x="16507" y="21393"/>
                    <a:pt x="18564" y="21209"/>
                    <a:pt x="20635" y="21047"/>
                  </a:cubicBezTo>
                  <a:cubicBezTo>
                    <a:pt x="21069" y="20902"/>
                    <a:pt x="21567" y="20743"/>
                    <a:pt x="21567" y="20743"/>
                  </a:cubicBezTo>
                  <a:cubicBezTo>
                    <a:pt x="21567" y="20743"/>
                    <a:pt x="19164" y="18407"/>
                    <a:pt x="19017" y="1806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2" name="Shape">
              <a:extLst>
                <a:ext uri="{FF2B5EF4-FFF2-40B4-BE49-F238E27FC236}">
                  <a16:creationId xmlns:a16="http://schemas.microsoft.com/office/drawing/2014/main" id="{BF0C4DB3-1004-BF45-B4A6-0E3CE6D3DE4C}"/>
                </a:ext>
              </a:extLst>
            </p:cNvPr>
            <p:cNvSpPr/>
            <p:nvPr/>
          </p:nvSpPr>
          <p:spPr>
            <a:xfrm>
              <a:off x="2413000" y="8928099"/>
              <a:ext cx="1915391" cy="1425736"/>
            </a:xfrm>
            <a:custGeom>
              <a:avLst/>
              <a:gdLst/>
              <a:ahLst/>
              <a:cxnLst>
                <a:cxn ang="0">
                  <a:pos x="wd2" y="hd2"/>
                </a:cxn>
                <a:cxn ang="5400000">
                  <a:pos x="wd2" y="hd2"/>
                </a:cxn>
                <a:cxn ang="10800000">
                  <a:pos x="wd2" y="hd2"/>
                </a:cxn>
                <a:cxn ang="16200000">
                  <a:pos x="wd2" y="hd2"/>
                </a:cxn>
              </a:cxnLst>
              <a:rect l="0" t="0" r="r" b="b"/>
              <a:pathLst>
                <a:path w="21557" h="21547" extrusionOk="0">
                  <a:moveTo>
                    <a:pt x="7056" y="12771"/>
                  </a:moveTo>
                  <a:cubicBezTo>
                    <a:pt x="7080" y="12643"/>
                    <a:pt x="7533" y="11204"/>
                    <a:pt x="7604" y="11108"/>
                  </a:cubicBezTo>
                  <a:cubicBezTo>
                    <a:pt x="7676" y="11012"/>
                    <a:pt x="9034" y="10564"/>
                    <a:pt x="9200" y="10564"/>
                  </a:cubicBezTo>
                  <a:cubicBezTo>
                    <a:pt x="9367" y="10564"/>
                    <a:pt x="11106" y="10468"/>
                    <a:pt x="11201" y="10564"/>
                  </a:cubicBezTo>
                  <a:cubicBezTo>
                    <a:pt x="11297" y="10660"/>
                    <a:pt x="12726" y="13155"/>
                    <a:pt x="12821" y="13283"/>
                  </a:cubicBezTo>
                  <a:cubicBezTo>
                    <a:pt x="12917" y="13411"/>
                    <a:pt x="12613" y="13571"/>
                    <a:pt x="12619" y="13723"/>
                  </a:cubicBezTo>
                  <a:cubicBezTo>
                    <a:pt x="12625" y="13875"/>
                    <a:pt x="13351" y="15562"/>
                    <a:pt x="13381" y="15682"/>
                  </a:cubicBezTo>
                  <a:cubicBezTo>
                    <a:pt x="13411" y="15802"/>
                    <a:pt x="12637" y="17298"/>
                    <a:pt x="12672" y="17338"/>
                  </a:cubicBezTo>
                  <a:cubicBezTo>
                    <a:pt x="12708" y="17378"/>
                    <a:pt x="13822" y="16450"/>
                    <a:pt x="13917" y="16426"/>
                  </a:cubicBezTo>
                  <a:cubicBezTo>
                    <a:pt x="13920" y="16425"/>
                    <a:pt x="13924" y="16425"/>
                    <a:pt x="13929" y="16424"/>
                  </a:cubicBezTo>
                  <a:cubicBezTo>
                    <a:pt x="13932" y="16403"/>
                    <a:pt x="13933" y="16389"/>
                    <a:pt x="13933" y="16389"/>
                  </a:cubicBezTo>
                  <a:cubicBezTo>
                    <a:pt x="13933" y="16389"/>
                    <a:pt x="13932" y="16403"/>
                    <a:pt x="13929" y="16424"/>
                  </a:cubicBezTo>
                  <a:cubicBezTo>
                    <a:pt x="14105" y="16400"/>
                    <a:pt x="15723" y="16371"/>
                    <a:pt x="15775" y="16410"/>
                  </a:cubicBezTo>
                  <a:cubicBezTo>
                    <a:pt x="15829" y="16450"/>
                    <a:pt x="16180" y="16922"/>
                    <a:pt x="16234" y="16954"/>
                  </a:cubicBezTo>
                  <a:cubicBezTo>
                    <a:pt x="16288" y="16986"/>
                    <a:pt x="16276" y="18193"/>
                    <a:pt x="16419" y="18881"/>
                  </a:cubicBezTo>
                  <a:cubicBezTo>
                    <a:pt x="16562" y="19569"/>
                    <a:pt x="16585" y="19761"/>
                    <a:pt x="16573" y="19857"/>
                  </a:cubicBezTo>
                  <a:cubicBezTo>
                    <a:pt x="16562" y="19953"/>
                    <a:pt x="16276" y="20560"/>
                    <a:pt x="16228" y="20672"/>
                  </a:cubicBezTo>
                  <a:cubicBezTo>
                    <a:pt x="16180" y="20784"/>
                    <a:pt x="17002" y="20768"/>
                    <a:pt x="17038" y="20832"/>
                  </a:cubicBezTo>
                  <a:cubicBezTo>
                    <a:pt x="17074" y="20896"/>
                    <a:pt x="17252" y="21472"/>
                    <a:pt x="17300" y="21536"/>
                  </a:cubicBezTo>
                  <a:cubicBezTo>
                    <a:pt x="17348" y="21600"/>
                    <a:pt x="17479" y="21360"/>
                    <a:pt x="17645" y="21216"/>
                  </a:cubicBezTo>
                  <a:cubicBezTo>
                    <a:pt x="17812" y="21072"/>
                    <a:pt x="18015" y="21088"/>
                    <a:pt x="18062" y="20976"/>
                  </a:cubicBezTo>
                  <a:cubicBezTo>
                    <a:pt x="18110" y="20864"/>
                    <a:pt x="18551" y="19649"/>
                    <a:pt x="18575" y="19585"/>
                  </a:cubicBezTo>
                  <a:cubicBezTo>
                    <a:pt x="18598" y="19521"/>
                    <a:pt x="18825" y="19585"/>
                    <a:pt x="18872" y="19585"/>
                  </a:cubicBezTo>
                  <a:cubicBezTo>
                    <a:pt x="18888" y="19585"/>
                    <a:pt x="18989" y="19871"/>
                    <a:pt x="19115" y="20257"/>
                  </a:cubicBezTo>
                  <a:cubicBezTo>
                    <a:pt x="19229" y="20260"/>
                    <a:pt x="19893" y="20275"/>
                    <a:pt x="19950" y="20220"/>
                  </a:cubicBezTo>
                  <a:cubicBezTo>
                    <a:pt x="20013" y="20161"/>
                    <a:pt x="20281" y="18337"/>
                    <a:pt x="20281" y="18337"/>
                  </a:cubicBezTo>
                  <a:lnTo>
                    <a:pt x="20665" y="18325"/>
                  </a:lnTo>
                  <a:lnTo>
                    <a:pt x="20457" y="17641"/>
                  </a:lnTo>
                  <a:cubicBezTo>
                    <a:pt x="20421" y="17561"/>
                    <a:pt x="19867" y="17553"/>
                    <a:pt x="19831" y="17529"/>
                  </a:cubicBezTo>
                  <a:cubicBezTo>
                    <a:pt x="19795" y="17505"/>
                    <a:pt x="19819" y="17098"/>
                    <a:pt x="19861" y="16874"/>
                  </a:cubicBezTo>
                  <a:cubicBezTo>
                    <a:pt x="19903" y="16650"/>
                    <a:pt x="19998" y="16482"/>
                    <a:pt x="20069" y="16474"/>
                  </a:cubicBezTo>
                  <a:cubicBezTo>
                    <a:pt x="20141" y="16466"/>
                    <a:pt x="21445" y="16858"/>
                    <a:pt x="21523" y="16818"/>
                  </a:cubicBezTo>
                  <a:cubicBezTo>
                    <a:pt x="21600" y="16778"/>
                    <a:pt x="21529" y="16058"/>
                    <a:pt x="21493" y="15946"/>
                  </a:cubicBezTo>
                  <a:cubicBezTo>
                    <a:pt x="21457" y="15834"/>
                    <a:pt x="20695" y="15074"/>
                    <a:pt x="20665" y="15058"/>
                  </a:cubicBezTo>
                  <a:cubicBezTo>
                    <a:pt x="20635" y="15042"/>
                    <a:pt x="20701" y="14611"/>
                    <a:pt x="20701" y="14579"/>
                  </a:cubicBezTo>
                  <a:cubicBezTo>
                    <a:pt x="20701" y="14547"/>
                    <a:pt x="20707" y="14451"/>
                    <a:pt x="20790" y="14371"/>
                  </a:cubicBezTo>
                  <a:cubicBezTo>
                    <a:pt x="20873" y="14291"/>
                    <a:pt x="21278" y="14211"/>
                    <a:pt x="21290" y="14131"/>
                  </a:cubicBezTo>
                  <a:cubicBezTo>
                    <a:pt x="21302" y="14051"/>
                    <a:pt x="20861" y="13779"/>
                    <a:pt x="20802" y="13619"/>
                  </a:cubicBezTo>
                  <a:cubicBezTo>
                    <a:pt x="20742" y="13459"/>
                    <a:pt x="20981" y="12851"/>
                    <a:pt x="20969" y="12771"/>
                  </a:cubicBezTo>
                  <a:cubicBezTo>
                    <a:pt x="20957" y="12691"/>
                    <a:pt x="20457" y="12883"/>
                    <a:pt x="20385" y="12883"/>
                  </a:cubicBezTo>
                  <a:cubicBezTo>
                    <a:pt x="20314" y="12883"/>
                    <a:pt x="20087" y="12451"/>
                    <a:pt x="20075" y="12403"/>
                  </a:cubicBezTo>
                  <a:cubicBezTo>
                    <a:pt x="20063" y="12355"/>
                    <a:pt x="19932" y="11284"/>
                    <a:pt x="19956" y="10980"/>
                  </a:cubicBezTo>
                  <a:cubicBezTo>
                    <a:pt x="19980" y="10676"/>
                    <a:pt x="20004" y="10456"/>
                    <a:pt x="20174" y="10252"/>
                  </a:cubicBezTo>
                  <a:cubicBezTo>
                    <a:pt x="20289" y="10113"/>
                    <a:pt x="20461" y="9948"/>
                    <a:pt x="20597" y="9826"/>
                  </a:cubicBezTo>
                  <a:cubicBezTo>
                    <a:pt x="20460" y="9541"/>
                    <a:pt x="19669" y="7892"/>
                    <a:pt x="19653" y="7797"/>
                  </a:cubicBezTo>
                  <a:cubicBezTo>
                    <a:pt x="19635" y="7693"/>
                    <a:pt x="19653" y="6509"/>
                    <a:pt x="19605" y="6453"/>
                  </a:cubicBezTo>
                  <a:cubicBezTo>
                    <a:pt x="19557" y="6397"/>
                    <a:pt x="18598" y="6589"/>
                    <a:pt x="18575" y="6549"/>
                  </a:cubicBezTo>
                  <a:cubicBezTo>
                    <a:pt x="18551" y="6509"/>
                    <a:pt x="19504" y="5130"/>
                    <a:pt x="19495" y="5076"/>
                  </a:cubicBezTo>
                  <a:cubicBezTo>
                    <a:pt x="19486" y="5022"/>
                    <a:pt x="18061" y="3936"/>
                    <a:pt x="18061" y="3888"/>
                  </a:cubicBezTo>
                  <a:cubicBezTo>
                    <a:pt x="18061" y="3840"/>
                    <a:pt x="18298" y="2779"/>
                    <a:pt x="18289" y="2689"/>
                  </a:cubicBezTo>
                  <a:cubicBezTo>
                    <a:pt x="18280" y="2599"/>
                    <a:pt x="17632" y="1027"/>
                    <a:pt x="17614" y="997"/>
                  </a:cubicBezTo>
                  <a:cubicBezTo>
                    <a:pt x="17596" y="967"/>
                    <a:pt x="16703" y="560"/>
                    <a:pt x="16703" y="560"/>
                  </a:cubicBezTo>
                  <a:cubicBezTo>
                    <a:pt x="16703" y="560"/>
                    <a:pt x="16627" y="817"/>
                    <a:pt x="16573" y="937"/>
                  </a:cubicBezTo>
                  <a:cubicBezTo>
                    <a:pt x="16520" y="1057"/>
                    <a:pt x="16591" y="1351"/>
                    <a:pt x="16573" y="1423"/>
                  </a:cubicBezTo>
                  <a:cubicBezTo>
                    <a:pt x="16556" y="1495"/>
                    <a:pt x="15644" y="2479"/>
                    <a:pt x="15573" y="2455"/>
                  </a:cubicBezTo>
                  <a:cubicBezTo>
                    <a:pt x="15501" y="2431"/>
                    <a:pt x="13804" y="1711"/>
                    <a:pt x="13750" y="1711"/>
                  </a:cubicBezTo>
                  <a:cubicBezTo>
                    <a:pt x="13697" y="1711"/>
                    <a:pt x="12875" y="2935"/>
                    <a:pt x="12786" y="2935"/>
                  </a:cubicBezTo>
                  <a:cubicBezTo>
                    <a:pt x="12696" y="2935"/>
                    <a:pt x="12071" y="1735"/>
                    <a:pt x="12000" y="1711"/>
                  </a:cubicBezTo>
                  <a:cubicBezTo>
                    <a:pt x="11928" y="1687"/>
                    <a:pt x="11196" y="2575"/>
                    <a:pt x="11124" y="2575"/>
                  </a:cubicBezTo>
                  <a:cubicBezTo>
                    <a:pt x="11053" y="2575"/>
                    <a:pt x="10427" y="1975"/>
                    <a:pt x="10427" y="1903"/>
                  </a:cubicBezTo>
                  <a:cubicBezTo>
                    <a:pt x="10427" y="1831"/>
                    <a:pt x="10749" y="1023"/>
                    <a:pt x="10749" y="1023"/>
                  </a:cubicBezTo>
                  <a:cubicBezTo>
                    <a:pt x="10749" y="1023"/>
                    <a:pt x="7974" y="1151"/>
                    <a:pt x="7723" y="1151"/>
                  </a:cubicBezTo>
                  <a:cubicBezTo>
                    <a:pt x="7473" y="1151"/>
                    <a:pt x="6502" y="400"/>
                    <a:pt x="6425" y="392"/>
                  </a:cubicBezTo>
                  <a:cubicBezTo>
                    <a:pt x="6348" y="384"/>
                    <a:pt x="6068" y="608"/>
                    <a:pt x="6032" y="680"/>
                  </a:cubicBezTo>
                  <a:cubicBezTo>
                    <a:pt x="5996" y="752"/>
                    <a:pt x="5847" y="696"/>
                    <a:pt x="5841" y="648"/>
                  </a:cubicBezTo>
                  <a:cubicBezTo>
                    <a:pt x="5835" y="600"/>
                    <a:pt x="5847" y="64"/>
                    <a:pt x="5812" y="48"/>
                  </a:cubicBezTo>
                  <a:cubicBezTo>
                    <a:pt x="5799" y="42"/>
                    <a:pt x="5006" y="22"/>
                    <a:pt x="3994" y="0"/>
                  </a:cubicBezTo>
                  <a:cubicBezTo>
                    <a:pt x="4015" y="207"/>
                    <a:pt x="4120" y="1289"/>
                    <a:pt x="4120" y="1375"/>
                  </a:cubicBezTo>
                  <a:cubicBezTo>
                    <a:pt x="4120" y="1471"/>
                    <a:pt x="3423" y="1711"/>
                    <a:pt x="3316" y="1759"/>
                  </a:cubicBezTo>
                  <a:cubicBezTo>
                    <a:pt x="3209" y="1807"/>
                    <a:pt x="3227" y="2167"/>
                    <a:pt x="3316" y="2191"/>
                  </a:cubicBezTo>
                  <a:cubicBezTo>
                    <a:pt x="3406" y="2215"/>
                    <a:pt x="3888" y="2239"/>
                    <a:pt x="3924" y="2359"/>
                  </a:cubicBezTo>
                  <a:cubicBezTo>
                    <a:pt x="3959" y="2479"/>
                    <a:pt x="4067" y="3702"/>
                    <a:pt x="3942" y="3726"/>
                  </a:cubicBezTo>
                  <a:cubicBezTo>
                    <a:pt x="3816" y="3750"/>
                    <a:pt x="3495" y="3654"/>
                    <a:pt x="3334" y="3726"/>
                  </a:cubicBezTo>
                  <a:cubicBezTo>
                    <a:pt x="3173" y="3798"/>
                    <a:pt x="1369" y="4482"/>
                    <a:pt x="1270" y="4554"/>
                  </a:cubicBezTo>
                  <a:cubicBezTo>
                    <a:pt x="1191" y="4612"/>
                    <a:pt x="326" y="6300"/>
                    <a:pt x="0" y="6939"/>
                  </a:cubicBezTo>
                  <a:cubicBezTo>
                    <a:pt x="23" y="7126"/>
                    <a:pt x="81" y="7306"/>
                    <a:pt x="174" y="7450"/>
                  </a:cubicBezTo>
                  <a:cubicBezTo>
                    <a:pt x="334" y="7117"/>
                    <a:pt x="678" y="6969"/>
                    <a:pt x="952" y="7115"/>
                  </a:cubicBezTo>
                  <a:cubicBezTo>
                    <a:pt x="888" y="7292"/>
                    <a:pt x="965" y="7533"/>
                    <a:pt x="1104" y="7594"/>
                  </a:cubicBezTo>
                  <a:cubicBezTo>
                    <a:pt x="1243" y="7655"/>
                    <a:pt x="1411" y="7520"/>
                    <a:pt x="1437" y="7327"/>
                  </a:cubicBezTo>
                  <a:cubicBezTo>
                    <a:pt x="1523" y="7628"/>
                    <a:pt x="1477" y="7991"/>
                    <a:pt x="1321" y="8237"/>
                  </a:cubicBezTo>
                  <a:cubicBezTo>
                    <a:pt x="1367" y="8807"/>
                    <a:pt x="1702" y="9257"/>
                    <a:pt x="2058" y="9574"/>
                  </a:cubicBezTo>
                  <a:cubicBezTo>
                    <a:pt x="2413" y="9891"/>
                    <a:pt x="2813" y="10132"/>
                    <a:pt x="3114" y="10538"/>
                  </a:cubicBezTo>
                  <a:cubicBezTo>
                    <a:pt x="3271" y="10750"/>
                    <a:pt x="3397" y="11003"/>
                    <a:pt x="3572" y="11186"/>
                  </a:cubicBezTo>
                  <a:cubicBezTo>
                    <a:pt x="3748" y="11370"/>
                    <a:pt x="3997" y="11473"/>
                    <a:pt x="4193" y="11333"/>
                  </a:cubicBezTo>
                  <a:cubicBezTo>
                    <a:pt x="3996" y="11841"/>
                    <a:pt x="4183" y="12467"/>
                    <a:pt x="4435" y="12930"/>
                  </a:cubicBezTo>
                  <a:cubicBezTo>
                    <a:pt x="4678" y="13376"/>
                    <a:pt x="4986" y="13783"/>
                    <a:pt x="5108" y="14307"/>
                  </a:cubicBezTo>
                  <a:lnTo>
                    <a:pt x="5770" y="14307"/>
                  </a:lnTo>
                  <a:cubicBezTo>
                    <a:pt x="5770" y="14307"/>
                    <a:pt x="7033" y="12899"/>
                    <a:pt x="7056" y="12771"/>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3" name="Shape">
              <a:extLst>
                <a:ext uri="{FF2B5EF4-FFF2-40B4-BE49-F238E27FC236}">
                  <a16:creationId xmlns:a16="http://schemas.microsoft.com/office/drawing/2014/main" id="{8BB06A6A-83E9-0042-A5D2-5EF8FB82C1FD}"/>
                </a:ext>
              </a:extLst>
            </p:cNvPr>
            <p:cNvSpPr/>
            <p:nvPr/>
          </p:nvSpPr>
          <p:spPr>
            <a:xfrm>
              <a:off x="3340100" y="10020300"/>
              <a:ext cx="1069427" cy="1063180"/>
            </a:xfrm>
            <a:custGeom>
              <a:avLst/>
              <a:gdLst/>
              <a:ahLst/>
              <a:cxnLst>
                <a:cxn ang="0">
                  <a:pos x="wd2" y="hd2"/>
                </a:cxn>
                <a:cxn ang="5400000">
                  <a:pos x="wd2" y="hd2"/>
                </a:cxn>
                <a:cxn ang="10800000">
                  <a:pos x="wd2" y="hd2"/>
                </a:cxn>
                <a:cxn ang="16200000">
                  <a:pos x="wd2" y="hd2"/>
                </a:cxn>
              </a:cxnLst>
              <a:rect l="0" t="0" r="r" b="b"/>
              <a:pathLst>
                <a:path w="21600" h="21569" extrusionOk="0">
                  <a:moveTo>
                    <a:pt x="20510" y="18377"/>
                  </a:moveTo>
                  <a:cubicBezTo>
                    <a:pt x="20558" y="17829"/>
                    <a:pt x="20911" y="17008"/>
                    <a:pt x="20975" y="16879"/>
                  </a:cubicBezTo>
                  <a:cubicBezTo>
                    <a:pt x="21039" y="16751"/>
                    <a:pt x="21600" y="16767"/>
                    <a:pt x="21600" y="16767"/>
                  </a:cubicBezTo>
                  <a:cubicBezTo>
                    <a:pt x="21600" y="16767"/>
                    <a:pt x="21584" y="16364"/>
                    <a:pt x="21472" y="16074"/>
                  </a:cubicBezTo>
                  <a:cubicBezTo>
                    <a:pt x="21360" y="15784"/>
                    <a:pt x="21279" y="14078"/>
                    <a:pt x="21215" y="13997"/>
                  </a:cubicBezTo>
                  <a:cubicBezTo>
                    <a:pt x="21151" y="13917"/>
                    <a:pt x="20013" y="13933"/>
                    <a:pt x="19804" y="13900"/>
                  </a:cubicBezTo>
                  <a:cubicBezTo>
                    <a:pt x="19596" y="13868"/>
                    <a:pt x="18778" y="11759"/>
                    <a:pt x="18666" y="11759"/>
                  </a:cubicBezTo>
                  <a:cubicBezTo>
                    <a:pt x="18554" y="11759"/>
                    <a:pt x="17287" y="11759"/>
                    <a:pt x="17159" y="11759"/>
                  </a:cubicBezTo>
                  <a:cubicBezTo>
                    <a:pt x="17031" y="11759"/>
                    <a:pt x="16566" y="11388"/>
                    <a:pt x="16181" y="11147"/>
                  </a:cubicBezTo>
                  <a:cubicBezTo>
                    <a:pt x="15796" y="10905"/>
                    <a:pt x="15219" y="10696"/>
                    <a:pt x="15155" y="10583"/>
                  </a:cubicBezTo>
                  <a:cubicBezTo>
                    <a:pt x="15091" y="10471"/>
                    <a:pt x="16710" y="8087"/>
                    <a:pt x="16726" y="7910"/>
                  </a:cubicBezTo>
                  <a:cubicBezTo>
                    <a:pt x="16737" y="7792"/>
                    <a:pt x="16098" y="6224"/>
                    <a:pt x="15645" y="5190"/>
                  </a:cubicBezTo>
                  <a:cubicBezTo>
                    <a:pt x="15626" y="5189"/>
                    <a:pt x="15612" y="5189"/>
                    <a:pt x="15612" y="5189"/>
                  </a:cubicBezTo>
                  <a:cubicBezTo>
                    <a:pt x="15612" y="5189"/>
                    <a:pt x="15626" y="5189"/>
                    <a:pt x="15645" y="5190"/>
                  </a:cubicBezTo>
                  <a:cubicBezTo>
                    <a:pt x="15418" y="4672"/>
                    <a:pt x="15237" y="4287"/>
                    <a:pt x="15209" y="4287"/>
                  </a:cubicBezTo>
                  <a:cubicBezTo>
                    <a:pt x="15123" y="4287"/>
                    <a:pt x="14717" y="4201"/>
                    <a:pt x="14674" y="4287"/>
                  </a:cubicBezTo>
                  <a:cubicBezTo>
                    <a:pt x="14631" y="4373"/>
                    <a:pt x="13841" y="6005"/>
                    <a:pt x="13755" y="6155"/>
                  </a:cubicBezTo>
                  <a:cubicBezTo>
                    <a:pt x="13670" y="6305"/>
                    <a:pt x="13306" y="6284"/>
                    <a:pt x="13007" y="6477"/>
                  </a:cubicBezTo>
                  <a:cubicBezTo>
                    <a:pt x="12708" y="6670"/>
                    <a:pt x="12472" y="6992"/>
                    <a:pt x="12387" y="6906"/>
                  </a:cubicBezTo>
                  <a:cubicBezTo>
                    <a:pt x="12301" y="6821"/>
                    <a:pt x="11981" y="6048"/>
                    <a:pt x="11917" y="5962"/>
                  </a:cubicBezTo>
                  <a:cubicBezTo>
                    <a:pt x="11853" y="5876"/>
                    <a:pt x="10378" y="5897"/>
                    <a:pt x="10463" y="5747"/>
                  </a:cubicBezTo>
                  <a:cubicBezTo>
                    <a:pt x="10549" y="5597"/>
                    <a:pt x="11062" y="4781"/>
                    <a:pt x="11083" y="4652"/>
                  </a:cubicBezTo>
                  <a:cubicBezTo>
                    <a:pt x="11104" y="4523"/>
                    <a:pt x="11062" y="4266"/>
                    <a:pt x="10805" y="3342"/>
                  </a:cubicBezTo>
                  <a:cubicBezTo>
                    <a:pt x="10549" y="2419"/>
                    <a:pt x="10570" y="798"/>
                    <a:pt x="10474" y="755"/>
                  </a:cubicBezTo>
                  <a:cubicBezTo>
                    <a:pt x="10378" y="712"/>
                    <a:pt x="9747" y="79"/>
                    <a:pt x="9651" y="25"/>
                  </a:cubicBezTo>
                  <a:cubicBezTo>
                    <a:pt x="9557" y="-27"/>
                    <a:pt x="6653" y="12"/>
                    <a:pt x="6337" y="44"/>
                  </a:cubicBezTo>
                  <a:cubicBezTo>
                    <a:pt x="6296" y="306"/>
                    <a:pt x="6080" y="1673"/>
                    <a:pt x="6065" y="1775"/>
                  </a:cubicBezTo>
                  <a:cubicBezTo>
                    <a:pt x="6049" y="1888"/>
                    <a:pt x="5792" y="1775"/>
                    <a:pt x="5616" y="1775"/>
                  </a:cubicBezTo>
                  <a:cubicBezTo>
                    <a:pt x="5440" y="1775"/>
                    <a:pt x="5087" y="1984"/>
                    <a:pt x="4959" y="2226"/>
                  </a:cubicBezTo>
                  <a:cubicBezTo>
                    <a:pt x="4831" y="2467"/>
                    <a:pt x="4558" y="3699"/>
                    <a:pt x="4534" y="3836"/>
                  </a:cubicBezTo>
                  <a:cubicBezTo>
                    <a:pt x="4510" y="3973"/>
                    <a:pt x="991" y="6791"/>
                    <a:pt x="758" y="7153"/>
                  </a:cubicBezTo>
                  <a:cubicBezTo>
                    <a:pt x="588" y="7419"/>
                    <a:pt x="196" y="8260"/>
                    <a:pt x="0" y="8703"/>
                  </a:cubicBezTo>
                  <a:cubicBezTo>
                    <a:pt x="1150" y="9459"/>
                    <a:pt x="2300" y="10215"/>
                    <a:pt x="3450" y="10972"/>
                  </a:cubicBezTo>
                  <a:cubicBezTo>
                    <a:pt x="3937" y="11292"/>
                    <a:pt x="4424" y="11612"/>
                    <a:pt x="4945" y="11872"/>
                  </a:cubicBezTo>
                  <a:cubicBezTo>
                    <a:pt x="5351" y="12075"/>
                    <a:pt x="5778" y="12241"/>
                    <a:pt x="6156" y="12494"/>
                  </a:cubicBezTo>
                  <a:cubicBezTo>
                    <a:pt x="6647" y="12823"/>
                    <a:pt x="7032" y="13283"/>
                    <a:pt x="7426" y="13725"/>
                  </a:cubicBezTo>
                  <a:cubicBezTo>
                    <a:pt x="10636" y="17320"/>
                    <a:pt x="14852" y="20000"/>
                    <a:pt x="19462" y="21372"/>
                  </a:cubicBezTo>
                  <a:cubicBezTo>
                    <a:pt x="19816" y="21477"/>
                    <a:pt x="20179" y="21573"/>
                    <a:pt x="20546" y="21568"/>
                  </a:cubicBezTo>
                  <a:cubicBezTo>
                    <a:pt x="20523" y="20736"/>
                    <a:pt x="20472" y="18804"/>
                    <a:pt x="20510" y="18377"/>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4" name="Shape">
              <a:extLst>
                <a:ext uri="{FF2B5EF4-FFF2-40B4-BE49-F238E27FC236}">
                  <a16:creationId xmlns:a16="http://schemas.microsoft.com/office/drawing/2014/main" id="{A1856ECF-6BC1-CE4E-9582-FD94E8829812}"/>
                </a:ext>
              </a:extLst>
            </p:cNvPr>
            <p:cNvSpPr/>
            <p:nvPr/>
          </p:nvSpPr>
          <p:spPr>
            <a:xfrm>
              <a:off x="6997699" y="8610600"/>
              <a:ext cx="3080032" cy="2494208"/>
            </a:xfrm>
            <a:custGeom>
              <a:avLst/>
              <a:gdLst/>
              <a:ahLst/>
              <a:cxnLst>
                <a:cxn ang="0">
                  <a:pos x="wd2" y="hd2"/>
                </a:cxn>
                <a:cxn ang="5400000">
                  <a:pos x="wd2" y="hd2"/>
                </a:cxn>
                <a:cxn ang="10800000">
                  <a:pos x="wd2" y="hd2"/>
                </a:cxn>
                <a:cxn ang="16200000">
                  <a:pos x="wd2" y="hd2"/>
                </a:cxn>
              </a:cxnLst>
              <a:rect l="0" t="0" r="r" b="b"/>
              <a:pathLst>
                <a:path w="21600" h="21524" extrusionOk="0">
                  <a:moveTo>
                    <a:pt x="11102" y="18143"/>
                  </a:moveTo>
                  <a:cubicBezTo>
                    <a:pt x="11135" y="18033"/>
                    <a:pt x="13417" y="15471"/>
                    <a:pt x="13473" y="15512"/>
                  </a:cubicBezTo>
                  <a:cubicBezTo>
                    <a:pt x="13529" y="15554"/>
                    <a:pt x="13529" y="15786"/>
                    <a:pt x="13584" y="15786"/>
                  </a:cubicBezTo>
                  <a:cubicBezTo>
                    <a:pt x="13640" y="15786"/>
                    <a:pt x="14007" y="15800"/>
                    <a:pt x="14074" y="15786"/>
                  </a:cubicBezTo>
                  <a:cubicBezTo>
                    <a:pt x="14141" y="15773"/>
                    <a:pt x="14208" y="15156"/>
                    <a:pt x="14263" y="15170"/>
                  </a:cubicBezTo>
                  <a:cubicBezTo>
                    <a:pt x="14319" y="15184"/>
                    <a:pt x="14831" y="16252"/>
                    <a:pt x="14865" y="16252"/>
                  </a:cubicBezTo>
                  <a:cubicBezTo>
                    <a:pt x="14898" y="16252"/>
                    <a:pt x="15121" y="16252"/>
                    <a:pt x="15199" y="16252"/>
                  </a:cubicBezTo>
                  <a:cubicBezTo>
                    <a:pt x="15276" y="16252"/>
                    <a:pt x="15121" y="16663"/>
                    <a:pt x="15199" y="16663"/>
                  </a:cubicBezTo>
                  <a:cubicBezTo>
                    <a:pt x="15276" y="16663"/>
                    <a:pt x="15900" y="16334"/>
                    <a:pt x="15989" y="16293"/>
                  </a:cubicBezTo>
                  <a:cubicBezTo>
                    <a:pt x="16078" y="16252"/>
                    <a:pt x="16056" y="15649"/>
                    <a:pt x="16123" y="15622"/>
                  </a:cubicBezTo>
                  <a:cubicBezTo>
                    <a:pt x="16189" y="15595"/>
                    <a:pt x="16568" y="15321"/>
                    <a:pt x="16568" y="15321"/>
                  </a:cubicBezTo>
                  <a:cubicBezTo>
                    <a:pt x="16568" y="15321"/>
                    <a:pt x="17202" y="12362"/>
                    <a:pt x="17236" y="12348"/>
                  </a:cubicBezTo>
                  <a:cubicBezTo>
                    <a:pt x="17269" y="12334"/>
                    <a:pt x="18188" y="11663"/>
                    <a:pt x="18227" y="11608"/>
                  </a:cubicBezTo>
                  <a:cubicBezTo>
                    <a:pt x="18266" y="11553"/>
                    <a:pt x="18288" y="10286"/>
                    <a:pt x="18321" y="10272"/>
                  </a:cubicBezTo>
                  <a:cubicBezTo>
                    <a:pt x="18355" y="10259"/>
                    <a:pt x="18950" y="9855"/>
                    <a:pt x="19028" y="9827"/>
                  </a:cubicBezTo>
                  <a:cubicBezTo>
                    <a:pt x="19106" y="9800"/>
                    <a:pt x="18984" y="8800"/>
                    <a:pt x="19028" y="8717"/>
                  </a:cubicBezTo>
                  <a:cubicBezTo>
                    <a:pt x="19073" y="8635"/>
                    <a:pt x="19496" y="8238"/>
                    <a:pt x="19529" y="8169"/>
                  </a:cubicBezTo>
                  <a:cubicBezTo>
                    <a:pt x="19563" y="8101"/>
                    <a:pt x="19874" y="6717"/>
                    <a:pt x="19908" y="6594"/>
                  </a:cubicBezTo>
                  <a:cubicBezTo>
                    <a:pt x="19941" y="6471"/>
                    <a:pt x="20342" y="5868"/>
                    <a:pt x="20387" y="5868"/>
                  </a:cubicBezTo>
                  <a:cubicBezTo>
                    <a:pt x="20431" y="5868"/>
                    <a:pt x="20720" y="6005"/>
                    <a:pt x="20757" y="6005"/>
                  </a:cubicBezTo>
                  <a:cubicBezTo>
                    <a:pt x="20793" y="6005"/>
                    <a:pt x="21489" y="5443"/>
                    <a:pt x="21500" y="5347"/>
                  </a:cubicBezTo>
                  <a:cubicBezTo>
                    <a:pt x="21511" y="5251"/>
                    <a:pt x="21600" y="3895"/>
                    <a:pt x="21600" y="3895"/>
                  </a:cubicBezTo>
                  <a:cubicBezTo>
                    <a:pt x="21600" y="3895"/>
                    <a:pt x="21333" y="3471"/>
                    <a:pt x="21277" y="3484"/>
                  </a:cubicBezTo>
                  <a:cubicBezTo>
                    <a:pt x="21221" y="3498"/>
                    <a:pt x="20865" y="3484"/>
                    <a:pt x="20865" y="3484"/>
                  </a:cubicBezTo>
                  <a:cubicBezTo>
                    <a:pt x="20865" y="3484"/>
                    <a:pt x="20810" y="3334"/>
                    <a:pt x="20757" y="2923"/>
                  </a:cubicBezTo>
                  <a:cubicBezTo>
                    <a:pt x="20704" y="2512"/>
                    <a:pt x="20609" y="1977"/>
                    <a:pt x="20553" y="1854"/>
                  </a:cubicBezTo>
                  <a:cubicBezTo>
                    <a:pt x="20551" y="1848"/>
                    <a:pt x="20546" y="1839"/>
                    <a:pt x="20541" y="1828"/>
                  </a:cubicBezTo>
                  <a:lnTo>
                    <a:pt x="20532" y="1829"/>
                  </a:lnTo>
                  <a:lnTo>
                    <a:pt x="20541" y="1828"/>
                  </a:lnTo>
                  <a:cubicBezTo>
                    <a:pt x="20435" y="1623"/>
                    <a:pt x="19834" y="574"/>
                    <a:pt x="19747" y="422"/>
                  </a:cubicBezTo>
                  <a:cubicBezTo>
                    <a:pt x="19703" y="434"/>
                    <a:pt x="19482" y="493"/>
                    <a:pt x="19429" y="493"/>
                  </a:cubicBezTo>
                  <a:cubicBezTo>
                    <a:pt x="19370" y="493"/>
                    <a:pt x="18331" y="895"/>
                    <a:pt x="18286" y="932"/>
                  </a:cubicBezTo>
                  <a:cubicBezTo>
                    <a:pt x="18242" y="968"/>
                    <a:pt x="17722" y="1790"/>
                    <a:pt x="17722" y="1790"/>
                  </a:cubicBezTo>
                  <a:cubicBezTo>
                    <a:pt x="17722" y="1790"/>
                    <a:pt x="17381" y="1808"/>
                    <a:pt x="17336" y="1808"/>
                  </a:cubicBezTo>
                  <a:cubicBezTo>
                    <a:pt x="17292" y="1808"/>
                    <a:pt x="15867" y="1096"/>
                    <a:pt x="15867" y="1096"/>
                  </a:cubicBezTo>
                  <a:lnTo>
                    <a:pt x="14412" y="1132"/>
                  </a:lnTo>
                  <a:cubicBezTo>
                    <a:pt x="14412" y="1132"/>
                    <a:pt x="14056" y="1260"/>
                    <a:pt x="13640" y="1425"/>
                  </a:cubicBezTo>
                  <a:cubicBezTo>
                    <a:pt x="13224" y="1589"/>
                    <a:pt x="13328" y="1534"/>
                    <a:pt x="13224" y="1571"/>
                  </a:cubicBezTo>
                  <a:cubicBezTo>
                    <a:pt x="13120" y="1607"/>
                    <a:pt x="12690" y="2375"/>
                    <a:pt x="12601" y="2429"/>
                  </a:cubicBezTo>
                  <a:cubicBezTo>
                    <a:pt x="12512" y="2484"/>
                    <a:pt x="11398" y="2429"/>
                    <a:pt x="11324" y="2429"/>
                  </a:cubicBezTo>
                  <a:cubicBezTo>
                    <a:pt x="11250" y="2429"/>
                    <a:pt x="9261" y="1206"/>
                    <a:pt x="9172" y="1224"/>
                  </a:cubicBezTo>
                  <a:cubicBezTo>
                    <a:pt x="9083" y="1242"/>
                    <a:pt x="7777" y="2046"/>
                    <a:pt x="7687" y="2028"/>
                  </a:cubicBezTo>
                  <a:cubicBezTo>
                    <a:pt x="7598" y="2009"/>
                    <a:pt x="6827" y="658"/>
                    <a:pt x="6737" y="603"/>
                  </a:cubicBezTo>
                  <a:cubicBezTo>
                    <a:pt x="6648" y="548"/>
                    <a:pt x="5164" y="0"/>
                    <a:pt x="5090" y="0"/>
                  </a:cubicBezTo>
                  <a:cubicBezTo>
                    <a:pt x="5016" y="0"/>
                    <a:pt x="2663" y="859"/>
                    <a:pt x="2618" y="895"/>
                  </a:cubicBezTo>
                  <a:cubicBezTo>
                    <a:pt x="2574" y="932"/>
                    <a:pt x="2440" y="2201"/>
                    <a:pt x="2433" y="2247"/>
                  </a:cubicBezTo>
                  <a:cubicBezTo>
                    <a:pt x="2425" y="2292"/>
                    <a:pt x="1757" y="2977"/>
                    <a:pt x="1720" y="3069"/>
                  </a:cubicBezTo>
                  <a:cubicBezTo>
                    <a:pt x="1686" y="3152"/>
                    <a:pt x="1646" y="4678"/>
                    <a:pt x="1617" y="4953"/>
                  </a:cubicBezTo>
                  <a:lnTo>
                    <a:pt x="1617" y="4953"/>
                  </a:lnTo>
                  <a:lnTo>
                    <a:pt x="1617" y="4953"/>
                  </a:lnTo>
                  <a:cubicBezTo>
                    <a:pt x="1614" y="4979"/>
                    <a:pt x="1611" y="4995"/>
                    <a:pt x="1609" y="4996"/>
                  </a:cubicBezTo>
                  <a:cubicBezTo>
                    <a:pt x="1609" y="4996"/>
                    <a:pt x="1609" y="4996"/>
                    <a:pt x="1609" y="4996"/>
                  </a:cubicBezTo>
                  <a:cubicBezTo>
                    <a:pt x="1599" y="5048"/>
                    <a:pt x="1582" y="5138"/>
                    <a:pt x="1572" y="5206"/>
                  </a:cubicBezTo>
                  <a:cubicBezTo>
                    <a:pt x="1557" y="5306"/>
                    <a:pt x="1431" y="5863"/>
                    <a:pt x="1446" y="5891"/>
                  </a:cubicBezTo>
                  <a:cubicBezTo>
                    <a:pt x="1460" y="5918"/>
                    <a:pt x="1817" y="6238"/>
                    <a:pt x="1846" y="6302"/>
                  </a:cubicBezTo>
                  <a:cubicBezTo>
                    <a:pt x="1876" y="6366"/>
                    <a:pt x="2032" y="7160"/>
                    <a:pt x="2062" y="7279"/>
                  </a:cubicBezTo>
                  <a:cubicBezTo>
                    <a:pt x="2091" y="7398"/>
                    <a:pt x="1980" y="7864"/>
                    <a:pt x="1935" y="7854"/>
                  </a:cubicBezTo>
                  <a:cubicBezTo>
                    <a:pt x="1891" y="7845"/>
                    <a:pt x="1705" y="7827"/>
                    <a:pt x="1683" y="7854"/>
                  </a:cubicBezTo>
                  <a:cubicBezTo>
                    <a:pt x="1661" y="7882"/>
                    <a:pt x="1616" y="8886"/>
                    <a:pt x="1587" y="8941"/>
                  </a:cubicBezTo>
                  <a:cubicBezTo>
                    <a:pt x="1557" y="8996"/>
                    <a:pt x="1149" y="9188"/>
                    <a:pt x="1126" y="9243"/>
                  </a:cubicBezTo>
                  <a:cubicBezTo>
                    <a:pt x="1104" y="9297"/>
                    <a:pt x="696" y="10795"/>
                    <a:pt x="674" y="10841"/>
                  </a:cubicBezTo>
                  <a:cubicBezTo>
                    <a:pt x="651" y="10887"/>
                    <a:pt x="147" y="10868"/>
                    <a:pt x="132" y="10960"/>
                  </a:cubicBezTo>
                  <a:cubicBezTo>
                    <a:pt x="118" y="11044"/>
                    <a:pt x="15" y="16187"/>
                    <a:pt x="0" y="16919"/>
                  </a:cubicBezTo>
                  <a:cubicBezTo>
                    <a:pt x="528" y="16853"/>
                    <a:pt x="1058" y="16820"/>
                    <a:pt x="1588" y="16819"/>
                  </a:cubicBezTo>
                  <a:cubicBezTo>
                    <a:pt x="1703" y="16819"/>
                    <a:pt x="1822" y="16820"/>
                    <a:pt x="1928" y="16765"/>
                  </a:cubicBezTo>
                  <a:cubicBezTo>
                    <a:pt x="2036" y="16710"/>
                    <a:pt x="2121" y="16604"/>
                    <a:pt x="2228" y="16547"/>
                  </a:cubicBezTo>
                  <a:cubicBezTo>
                    <a:pt x="2539" y="16384"/>
                    <a:pt x="2871" y="16692"/>
                    <a:pt x="3117" y="16977"/>
                  </a:cubicBezTo>
                  <a:cubicBezTo>
                    <a:pt x="3731" y="17691"/>
                    <a:pt x="4345" y="18404"/>
                    <a:pt x="4960" y="19118"/>
                  </a:cubicBezTo>
                  <a:cubicBezTo>
                    <a:pt x="4739" y="19137"/>
                    <a:pt x="4689" y="19529"/>
                    <a:pt x="4786" y="19773"/>
                  </a:cubicBezTo>
                  <a:cubicBezTo>
                    <a:pt x="4862" y="19962"/>
                    <a:pt x="4983" y="20120"/>
                    <a:pt x="5047" y="20317"/>
                  </a:cubicBezTo>
                  <a:cubicBezTo>
                    <a:pt x="5116" y="20531"/>
                    <a:pt x="5176" y="20688"/>
                    <a:pt x="5298" y="20873"/>
                  </a:cubicBezTo>
                  <a:cubicBezTo>
                    <a:pt x="5424" y="21061"/>
                    <a:pt x="5554" y="21255"/>
                    <a:pt x="5731" y="21363"/>
                  </a:cubicBezTo>
                  <a:cubicBezTo>
                    <a:pt x="5860" y="21443"/>
                    <a:pt x="6005" y="21471"/>
                    <a:pt x="6148" y="21490"/>
                  </a:cubicBezTo>
                  <a:cubicBezTo>
                    <a:pt x="6975" y="21600"/>
                    <a:pt x="7808" y="21423"/>
                    <a:pt x="8627" y="21246"/>
                  </a:cubicBezTo>
                  <a:cubicBezTo>
                    <a:pt x="8768" y="21216"/>
                    <a:pt x="8909" y="21185"/>
                    <a:pt x="9050" y="21152"/>
                  </a:cubicBezTo>
                  <a:cubicBezTo>
                    <a:pt x="9290" y="21094"/>
                    <a:pt x="9528" y="21027"/>
                    <a:pt x="9767" y="20959"/>
                  </a:cubicBezTo>
                  <a:cubicBezTo>
                    <a:pt x="9841" y="20939"/>
                    <a:pt x="9914" y="20918"/>
                    <a:pt x="9988" y="20897"/>
                  </a:cubicBezTo>
                  <a:cubicBezTo>
                    <a:pt x="10034" y="20884"/>
                    <a:pt x="10087" y="20865"/>
                    <a:pt x="10107" y="20812"/>
                  </a:cubicBezTo>
                  <a:cubicBezTo>
                    <a:pt x="10136" y="20737"/>
                    <a:pt x="10081" y="20657"/>
                    <a:pt x="10045" y="20587"/>
                  </a:cubicBezTo>
                  <a:cubicBezTo>
                    <a:pt x="9972" y="20445"/>
                    <a:pt x="9972" y="20252"/>
                    <a:pt x="10044" y="20111"/>
                  </a:cubicBezTo>
                  <a:cubicBezTo>
                    <a:pt x="10064" y="20103"/>
                    <a:pt x="10088" y="20107"/>
                    <a:pt x="10106" y="20122"/>
                  </a:cubicBezTo>
                  <a:cubicBezTo>
                    <a:pt x="10102" y="20217"/>
                    <a:pt x="10094" y="20325"/>
                    <a:pt x="10141" y="20407"/>
                  </a:cubicBezTo>
                  <a:cubicBezTo>
                    <a:pt x="10196" y="20502"/>
                    <a:pt x="10297" y="20537"/>
                    <a:pt x="10367" y="20615"/>
                  </a:cubicBezTo>
                  <a:cubicBezTo>
                    <a:pt x="10390" y="20640"/>
                    <a:pt x="10408" y="20669"/>
                    <a:pt x="10425" y="20700"/>
                  </a:cubicBezTo>
                  <a:cubicBezTo>
                    <a:pt x="10627" y="20375"/>
                    <a:pt x="11032" y="19725"/>
                    <a:pt x="11057" y="19684"/>
                  </a:cubicBezTo>
                  <a:cubicBezTo>
                    <a:pt x="11090" y="19629"/>
                    <a:pt x="11068" y="18252"/>
                    <a:pt x="11102" y="18143"/>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5" name="Shape">
              <a:extLst>
                <a:ext uri="{FF2B5EF4-FFF2-40B4-BE49-F238E27FC236}">
                  <a16:creationId xmlns:a16="http://schemas.microsoft.com/office/drawing/2014/main" id="{34161181-97CD-CA4B-B1DB-07F90F572F3B}"/>
                </a:ext>
              </a:extLst>
            </p:cNvPr>
            <p:cNvSpPr/>
            <p:nvPr/>
          </p:nvSpPr>
          <p:spPr>
            <a:xfrm>
              <a:off x="8724900" y="11595099"/>
              <a:ext cx="496832" cy="377696"/>
            </a:xfrm>
            <a:custGeom>
              <a:avLst/>
              <a:gdLst/>
              <a:ahLst/>
              <a:cxnLst>
                <a:cxn ang="0">
                  <a:pos x="wd2" y="hd2"/>
                </a:cxn>
                <a:cxn ang="5400000">
                  <a:pos x="wd2" y="hd2"/>
                </a:cxn>
                <a:cxn ang="10800000">
                  <a:pos x="wd2" y="hd2"/>
                </a:cxn>
                <a:cxn ang="16200000">
                  <a:pos x="wd2" y="hd2"/>
                </a:cxn>
              </a:cxnLst>
              <a:rect l="0" t="0" r="r" b="b"/>
              <a:pathLst>
                <a:path w="21400" h="21600" extrusionOk="0">
                  <a:moveTo>
                    <a:pt x="6024" y="21600"/>
                  </a:moveTo>
                  <a:cubicBezTo>
                    <a:pt x="6435" y="21600"/>
                    <a:pt x="21136" y="20902"/>
                    <a:pt x="21341" y="20661"/>
                  </a:cubicBezTo>
                  <a:cubicBezTo>
                    <a:pt x="21546" y="20420"/>
                    <a:pt x="21136" y="9525"/>
                    <a:pt x="21341" y="8708"/>
                  </a:cubicBezTo>
                  <a:cubicBezTo>
                    <a:pt x="21546" y="7891"/>
                    <a:pt x="20452" y="8527"/>
                    <a:pt x="20110" y="7437"/>
                  </a:cubicBezTo>
                  <a:cubicBezTo>
                    <a:pt x="19802" y="6456"/>
                    <a:pt x="19773" y="4302"/>
                    <a:pt x="20019" y="3684"/>
                  </a:cubicBezTo>
                  <a:cubicBezTo>
                    <a:pt x="19884" y="3502"/>
                    <a:pt x="19532" y="3043"/>
                    <a:pt x="19403" y="3019"/>
                  </a:cubicBezTo>
                  <a:cubicBezTo>
                    <a:pt x="19244" y="2989"/>
                    <a:pt x="6480" y="3200"/>
                    <a:pt x="6480" y="3200"/>
                  </a:cubicBezTo>
                  <a:lnTo>
                    <a:pt x="4311" y="0"/>
                  </a:lnTo>
                  <a:cubicBezTo>
                    <a:pt x="4132" y="979"/>
                    <a:pt x="4086" y="1993"/>
                    <a:pt x="4034" y="2999"/>
                  </a:cubicBezTo>
                  <a:cubicBezTo>
                    <a:pt x="3867" y="6228"/>
                    <a:pt x="3545" y="9615"/>
                    <a:pt x="2105" y="12228"/>
                  </a:cubicBezTo>
                  <a:cubicBezTo>
                    <a:pt x="1664" y="13028"/>
                    <a:pt x="1130" y="13732"/>
                    <a:pt x="701" y="14543"/>
                  </a:cubicBezTo>
                  <a:cubicBezTo>
                    <a:pt x="272" y="15355"/>
                    <a:pt x="-54" y="16320"/>
                    <a:pt x="8" y="17308"/>
                  </a:cubicBezTo>
                  <a:cubicBezTo>
                    <a:pt x="69" y="18296"/>
                    <a:pt x="614" y="19275"/>
                    <a:pt x="1355" y="19392"/>
                  </a:cubicBezTo>
                  <a:cubicBezTo>
                    <a:pt x="1512" y="19417"/>
                    <a:pt x="1680" y="19407"/>
                    <a:pt x="1814" y="19518"/>
                  </a:cubicBezTo>
                  <a:cubicBezTo>
                    <a:pt x="1878" y="19571"/>
                    <a:pt x="1922" y="19647"/>
                    <a:pt x="1957" y="19731"/>
                  </a:cubicBezTo>
                  <a:cubicBezTo>
                    <a:pt x="2577" y="19761"/>
                    <a:pt x="3251" y="19953"/>
                    <a:pt x="3563" y="20057"/>
                  </a:cubicBezTo>
                  <a:cubicBezTo>
                    <a:pt x="4110" y="20238"/>
                    <a:pt x="5614" y="21600"/>
                    <a:pt x="6024" y="2160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6" name="Shape">
              <a:extLst>
                <a:ext uri="{FF2B5EF4-FFF2-40B4-BE49-F238E27FC236}">
                  <a16:creationId xmlns:a16="http://schemas.microsoft.com/office/drawing/2014/main" id="{F11FA2E7-1E84-3B40-A8D5-175EC48397A4}"/>
                </a:ext>
              </a:extLst>
            </p:cNvPr>
            <p:cNvSpPr/>
            <p:nvPr/>
          </p:nvSpPr>
          <p:spPr>
            <a:xfrm>
              <a:off x="8483600" y="8801100"/>
              <a:ext cx="2000747" cy="2987706"/>
            </a:xfrm>
            <a:custGeom>
              <a:avLst/>
              <a:gdLst/>
              <a:ahLst/>
              <a:cxnLst>
                <a:cxn ang="0">
                  <a:pos x="wd2" y="hd2"/>
                </a:cxn>
                <a:cxn ang="5400000">
                  <a:pos x="wd2" y="hd2"/>
                </a:cxn>
                <a:cxn ang="10800000">
                  <a:pos x="wd2" y="hd2"/>
                </a:cxn>
                <a:cxn ang="16200000">
                  <a:pos x="wd2" y="hd2"/>
                </a:cxn>
              </a:cxnLst>
              <a:rect l="0" t="0" r="r" b="b"/>
              <a:pathLst>
                <a:path w="21600" h="21589" extrusionOk="0">
                  <a:moveTo>
                    <a:pt x="7480" y="20594"/>
                  </a:moveTo>
                  <a:cubicBezTo>
                    <a:pt x="7513" y="20597"/>
                    <a:pt x="7601" y="20655"/>
                    <a:pt x="7635" y="20678"/>
                  </a:cubicBezTo>
                  <a:cubicBezTo>
                    <a:pt x="7642" y="20670"/>
                    <a:pt x="7649" y="20663"/>
                    <a:pt x="7657" y="20659"/>
                  </a:cubicBezTo>
                  <a:cubicBezTo>
                    <a:pt x="7743" y="20625"/>
                    <a:pt x="7915" y="20659"/>
                    <a:pt x="7915" y="20659"/>
                  </a:cubicBezTo>
                  <a:cubicBezTo>
                    <a:pt x="7915" y="20659"/>
                    <a:pt x="8017" y="20396"/>
                    <a:pt x="8137" y="20361"/>
                  </a:cubicBezTo>
                  <a:cubicBezTo>
                    <a:pt x="8257" y="20327"/>
                    <a:pt x="13039" y="20269"/>
                    <a:pt x="13142" y="20361"/>
                  </a:cubicBezTo>
                  <a:cubicBezTo>
                    <a:pt x="13241" y="20450"/>
                    <a:pt x="13355" y="20549"/>
                    <a:pt x="13363" y="20607"/>
                  </a:cubicBezTo>
                  <a:cubicBezTo>
                    <a:pt x="13650" y="20597"/>
                    <a:pt x="16952" y="20478"/>
                    <a:pt x="17067" y="20533"/>
                  </a:cubicBezTo>
                  <a:cubicBezTo>
                    <a:pt x="17187" y="20591"/>
                    <a:pt x="17855" y="20877"/>
                    <a:pt x="18043" y="20946"/>
                  </a:cubicBezTo>
                  <a:cubicBezTo>
                    <a:pt x="18232" y="21015"/>
                    <a:pt x="20117" y="21026"/>
                    <a:pt x="20237" y="21095"/>
                  </a:cubicBezTo>
                  <a:cubicBezTo>
                    <a:pt x="20357" y="21164"/>
                    <a:pt x="20888" y="21600"/>
                    <a:pt x="20991" y="21589"/>
                  </a:cubicBezTo>
                  <a:cubicBezTo>
                    <a:pt x="21094" y="21577"/>
                    <a:pt x="21283" y="21531"/>
                    <a:pt x="21317" y="21497"/>
                  </a:cubicBezTo>
                  <a:cubicBezTo>
                    <a:pt x="21351" y="21462"/>
                    <a:pt x="21163" y="20539"/>
                    <a:pt x="21180" y="20519"/>
                  </a:cubicBezTo>
                  <a:cubicBezTo>
                    <a:pt x="21197" y="20499"/>
                    <a:pt x="21197" y="20499"/>
                    <a:pt x="21197" y="20499"/>
                  </a:cubicBezTo>
                  <a:lnTo>
                    <a:pt x="21600" y="20499"/>
                  </a:lnTo>
                  <a:cubicBezTo>
                    <a:pt x="21520" y="20344"/>
                    <a:pt x="20910" y="19169"/>
                    <a:pt x="20854" y="19105"/>
                  </a:cubicBezTo>
                  <a:cubicBezTo>
                    <a:pt x="20794" y="19036"/>
                    <a:pt x="18935" y="17734"/>
                    <a:pt x="18849" y="17711"/>
                  </a:cubicBezTo>
                  <a:cubicBezTo>
                    <a:pt x="18763" y="17688"/>
                    <a:pt x="18438" y="16553"/>
                    <a:pt x="18301" y="16495"/>
                  </a:cubicBezTo>
                  <a:cubicBezTo>
                    <a:pt x="18163" y="16438"/>
                    <a:pt x="17426" y="16128"/>
                    <a:pt x="17392" y="16048"/>
                  </a:cubicBezTo>
                  <a:cubicBezTo>
                    <a:pt x="17358" y="15968"/>
                    <a:pt x="17319" y="15153"/>
                    <a:pt x="17302" y="15125"/>
                  </a:cubicBezTo>
                  <a:cubicBezTo>
                    <a:pt x="17285" y="15096"/>
                    <a:pt x="16912" y="14861"/>
                    <a:pt x="16882" y="14815"/>
                  </a:cubicBezTo>
                  <a:cubicBezTo>
                    <a:pt x="16852" y="14769"/>
                    <a:pt x="17062" y="13742"/>
                    <a:pt x="17054" y="13708"/>
                  </a:cubicBezTo>
                  <a:cubicBezTo>
                    <a:pt x="17045" y="13673"/>
                    <a:pt x="16612" y="13467"/>
                    <a:pt x="16600" y="13438"/>
                  </a:cubicBezTo>
                  <a:cubicBezTo>
                    <a:pt x="16587" y="13410"/>
                    <a:pt x="16625" y="13378"/>
                    <a:pt x="16625" y="13378"/>
                  </a:cubicBezTo>
                  <a:cubicBezTo>
                    <a:pt x="16625" y="13378"/>
                    <a:pt x="17375" y="13077"/>
                    <a:pt x="17426" y="12997"/>
                  </a:cubicBezTo>
                  <a:cubicBezTo>
                    <a:pt x="17478" y="12916"/>
                    <a:pt x="18678" y="11184"/>
                    <a:pt x="18763" y="11104"/>
                  </a:cubicBezTo>
                  <a:cubicBezTo>
                    <a:pt x="18839" y="11033"/>
                    <a:pt x="19376" y="10669"/>
                    <a:pt x="19506" y="10581"/>
                  </a:cubicBezTo>
                  <a:lnTo>
                    <a:pt x="19506" y="10033"/>
                  </a:lnTo>
                  <a:cubicBezTo>
                    <a:pt x="19506" y="10033"/>
                    <a:pt x="18683" y="8580"/>
                    <a:pt x="18500" y="8458"/>
                  </a:cubicBezTo>
                  <a:cubicBezTo>
                    <a:pt x="18318" y="8336"/>
                    <a:pt x="16992" y="7861"/>
                    <a:pt x="16832" y="7770"/>
                  </a:cubicBezTo>
                  <a:cubicBezTo>
                    <a:pt x="16672" y="7678"/>
                    <a:pt x="15233" y="6607"/>
                    <a:pt x="15233" y="6607"/>
                  </a:cubicBezTo>
                  <a:cubicBezTo>
                    <a:pt x="15233" y="6607"/>
                    <a:pt x="15850" y="5950"/>
                    <a:pt x="15941" y="5919"/>
                  </a:cubicBezTo>
                  <a:cubicBezTo>
                    <a:pt x="16033" y="5888"/>
                    <a:pt x="19894" y="6041"/>
                    <a:pt x="19986" y="5980"/>
                  </a:cubicBezTo>
                  <a:cubicBezTo>
                    <a:pt x="20077" y="5919"/>
                    <a:pt x="18660" y="5032"/>
                    <a:pt x="18569" y="4910"/>
                  </a:cubicBezTo>
                  <a:cubicBezTo>
                    <a:pt x="18478" y="4787"/>
                    <a:pt x="18523" y="2065"/>
                    <a:pt x="18318" y="2004"/>
                  </a:cubicBezTo>
                  <a:cubicBezTo>
                    <a:pt x="18112" y="1942"/>
                    <a:pt x="17769" y="1851"/>
                    <a:pt x="17701" y="1820"/>
                  </a:cubicBezTo>
                  <a:cubicBezTo>
                    <a:pt x="17632" y="1789"/>
                    <a:pt x="17701" y="955"/>
                    <a:pt x="17678" y="898"/>
                  </a:cubicBezTo>
                  <a:cubicBezTo>
                    <a:pt x="17655" y="841"/>
                    <a:pt x="16901" y="673"/>
                    <a:pt x="16901" y="673"/>
                  </a:cubicBezTo>
                  <a:lnTo>
                    <a:pt x="16764" y="0"/>
                  </a:lnTo>
                  <a:lnTo>
                    <a:pt x="15573" y="93"/>
                  </a:lnTo>
                  <a:cubicBezTo>
                    <a:pt x="15581" y="102"/>
                    <a:pt x="15589" y="110"/>
                    <a:pt x="15593" y="115"/>
                  </a:cubicBezTo>
                  <a:cubicBezTo>
                    <a:pt x="15678" y="218"/>
                    <a:pt x="15825" y="665"/>
                    <a:pt x="15906" y="1009"/>
                  </a:cubicBezTo>
                  <a:cubicBezTo>
                    <a:pt x="15987" y="1354"/>
                    <a:pt x="16073" y="1480"/>
                    <a:pt x="16073" y="1480"/>
                  </a:cubicBezTo>
                  <a:cubicBezTo>
                    <a:pt x="16073" y="1480"/>
                    <a:pt x="16621" y="1491"/>
                    <a:pt x="16707" y="1480"/>
                  </a:cubicBezTo>
                  <a:cubicBezTo>
                    <a:pt x="16792" y="1468"/>
                    <a:pt x="17204" y="1824"/>
                    <a:pt x="17204" y="1824"/>
                  </a:cubicBezTo>
                  <a:cubicBezTo>
                    <a:pt x="17204" y="1824"/>
                    <a:pt x="17067" y="2960"/>
                    <a:pt x="17049" y="3040"/>
                  </a:cubicBezTo>
                  <a:cubicBezTo>
                    <a:pt x="17032" y="3120"/>
                    <a:pt x="15962" y="3590"/>
                    <a:pt x="15906" y="3590"/>
                  </a:cubicBezTo>
                  <a:cubicBezTo>
                    <a:pt x="15850" y="3590"/>
                    <a:pt x="15404" y="3476"/>
                    <a:pt x="15336" y="3476"/>
                  </a:cubicBezTo>
                  <a:cubicBezTo>
                    <a:pt x="15267" y="3476"/>
                    <a:pt x="14650" y="3980"/>
                    <a:pt x="14599" y="4084"/>
                  </a:cubicBezTo>
                  <a:cubicBezTo>
                    <a:pt x="14547" y="4187"/>
                    <a:pt x="14067" y="5346"/>
                    <a:pt x="14016" y="5403"/>
                  </a:cubicBezTo>
                  <a:cubicBezTo>
                    <a:pt x="13964" y="5460"/>
                    <a:pt x="13313" y="5793"/>
                    <a:pt x="13245" y="5862"/>
                  </a:cubicBezTo>
                  <a:cubicBezTo>
                    <a:pt x="13176" y="5931"/>
                    <a:pt x="13365" y="6768"/>
                    <a:pt x="13245" y="6791"/>
                  </a:cubicBezTo>
                  <a:cubicBezTo>
                    <a:pt x="13125" y="6814"/>
                    <a:pt x="12208" y="7152"/>
                    <a:pt x="12156" y="7164"/>
                  </a:cubicBezTo>
                  <a:cubicBezTo>
                    <a:pt x="12105" y="7175"/>
                    <a:pt x="12071" y="8236"/>
                    <a:pt x="12011" y="8282"/>
                  </a:cubicBezTo>
                  <a:cubicBezTo>
                    <a:pt x="11951" y="8328"/>
                    <a:pt x="10537" y="8890"/>
                    <a:pt x="10485" y="8902"/>
                  </a:cubicBezTo>
                  <a:cubicBezTo>
                    <a:pt x="10434" y="8913"/>
                    <a:pt x="9457" y="11391"/>
                    <a:pt x="9457" y="11391"/>
                  </a:cubicBezTo>
                  <a:cubicBezTo>
                    <a:pt x="9457" y="11391"/>
                    <a:pt x="8874" y="11620"/>
                    <a:pt x="8771" y="11643"/>
                  </a:cubicBezTo>
                  <a:cubicBezTo>
                    <a:pt x="8669" y="11666"/>
                    <a:pt x="8703" y="12171"/>
                    <a:pt x="8566" y="12205"/>
                  </a:cubicBezTo>
                  <a:cubicBezTo>
                    <a:pt x="8429" y="12240"/>
                    <a:pt x="7469" y="12515"/>
                    <a:pt x="7349" y="12515"/>
                  </a:cubicBezTo>
                  <a:cubicBezTo>
                    <a:pt x="7229" y="12515"/>
                    <a:pt x="7469" y="12171"/>
                    <a:pt x="7349" y="12171"/>
                  </a:cubicBezTo>
                  <a:cubicBezTo>
                    <a:pt x="7229" y="12171"/>
                    <a:pt x="6886" y="12171"/>
                    <a:pt x="6835" y="12171"/>
                  </a:cubicBezTo>
                  <a:cubicBezTo>
                    <a:pt x="6783" y="12171"/>
                    <a:pt x="5995" y="11276"/>
                    <a:pt x="5909" y="11265"/>
                  </a:cubicBezTo>
                  <a:cubicBezTo>
                    <a:pt x="5824" y="11253"/>
                    <a:pt x="5721" y="11769"/>
                    <a:pt x="5618" y="11781"/>
                  </a:cubicBezTo>
                  <a:cubicBezTo>
                    <a:pt x="5515" y="11792"/>
                    <a:pt x="4950" y="11781"/>
                    <a:pt x="4864" y="11781"/>
                  </a:cubicBezTo>
                  <a:cubicBezTo>
                    <a:pt x="4778" y="11781"/>
                    <a:pt x="4778" y="11586"/>
                    <a:pt x="4692" y="11551"/>
                  </a:cubicBezTo>
                  <a:cubicBezTo>
                    <a:pt x="4607" y="11517"/>
                    <a:pt x="1093" y="13662"/>
                    <a:pt x="1042" y="13754"/>
                  </a:cubicBezTo>
                  <a:cubicBezTo>
                    <a:pt x="991" y="13846"/>
                    <a:pt x="1025" y="14998"/>
                    <a:pt x="973" y="15044"/>
                  </a:cubicBezTo>
                  <a:cubicBezTo>
                    <a:pt x="935" y="15079"/>
                    <a:pt x="312" y="15623"/>
                    <a:pt x="0" y="15895"/>
                  </a:cubicBezTo>
                  <a:cubicBezTo>
                    <a:pt x="73" y="15971"/>
                    <a:pt x="114" y="16063"/>
                    <a:pt x="177" y="16144"/>
                  </a:cubicBezTo>
                  <a:cubicBezTo>
                    <a:pt x="261" y="16254"/>
                    <a:pt x="438" y="16356"/>
                    <a:pt x="611" y="16315"/>
                  </a:cubicBezTo>
                  <a:cubicBezTo>
                    <a:pt x="654" y="16305"/>
                    <a:pt x="692" y="16287"/>
                    <a:pt x="732" y="16272"/>
                  </a:cubicBezTo>
                  <a:cubicBezTo>
                    <a:pt x="844" y="16232"/>
                    <a:pt x="980" y="16222"/>
                    <a:pt x="1102" y="16246"/>
                  </a:cubicBezTo>
                  <a:cubicBezTo>
                    <a:pt x="1186" y="16548"/>
                    <a:pt x="1302" y="16883"/>
                    <a:pt x="1687" y="17050"/>
                  </a:cubicBezTo>
                  <a:cubicBezTo>
                    <a:pt x="1876" y="17132"/>
                    <a:pt x="2115" y="17164"/>
                    <a:pt x="2269" y="17274"/>
                  </a:cubicBezTo>
                  <a:cubicBezTo>
                    <a:pt x="2358" y="17336"/>
                    <a:pt x="2472" y="17431"/>
                    <a:pt x="2580" y="17384"/>
                  </a:cubicBezTo>
                  <a:cubicBezTo>
                    <a:pt x="2692" y="17221"/>
                    <a:pt x="3072" y="17181"/>
                    <a:pt x="3252" y="17314"/>
                  </a:cubicBezTo>
                  <a:cubicBezTo>
                    <a:pt x="3085" y="17367"/>
                    <a:pt x="3098" y="17528"/>
                    <a:pt x="3151" y="17647"/>
                  </a:cubicBezTo>
                  <a:cubicBezTo>
                    <a:pt x="3269" y="17907"/>
                    <a:pt x="3460" y="18153"/>
                    <a:pt x="3710" y="18369"/>
                  </a:cubicBezTo>
                  <a:cubicBezTo>
                    <a:pt x="3897" y="18531"/>
                    <a:pt x="4287" y="18743"/>
                    <a:pt x="4177" y="18982"/>
                  </a:cubicBezTo>
                  <a:cubicBezTo>
                    <a:pt x="4149" y="19043"/>
                    <a:pt x="4084" y="19092"/>
                    <a:pt x="4035" y="19146"/>
                  </a:cubicBezTo>
                  <a:cubicBezTo>
                    <a:pt x="3836" y="19369"/>
                    <a:pt x="3922" y="19654"/>
                    <a:pt x="3835" y="19907"/>
                  </a:cubicBezTo>
                  <a:cubicBezTo>
                    <a:pt x="3801" y="20005"/>
                    <a:pt x="3741" y="20098"/>
                    <a:pt x="3703" y="20195"/>
                  </a:cubicBezTo>
                  <a:cubicBezTo>
                    <a:pt x="3701" y="20201"/>
                    <a:pt x="3700" y="20207"/>
                    <a:pt x="3697" y="20213"/>
                  </a:cubicBezTo>
                  <a:lnTo>
                    <a:pt x="4241" y="20617"/>
                  </a:lnTo>
                  <a:cubicBezTo>
                    <a:pt x="4241" y="20617"/>
                    <a:pt x="7440" y="20591"/>
                    <a:pt x="7480" y="20594"/>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7" name="Shape">
              <a:extLst>
                <a:ext uri="{FF2B5EF4-FFF2-40B4-BE49-F238E27FC236}">
                  <a16:creationId xmlns:a16="http://schemas.microsoft.com/office/drawing/2014/main" id="{46CD5F33-7E92-DF49-A6E2-3739FF997296}"/>
                </a:ext>
              </a:extLst>
            </p:cNvPr>
            <p:cNvSpPr/>
            <p:nvPr/>
          </p:nvSpPr>
          <p:spPr>
            <a:xfrm>
              <a:off x="6502399" y="9004299"/>
              <a:ext cx="791292" cy="1607392"/>
            </a:xfrm>
            <a:custGeom>
              <a:avLst/>
              <a:gdLst/>
              <a:ahLst/>
              <a:cxnLst>
                <a:cxn ang="0">
                  <a:pos x="wd2" y="hd2"/>
                </a:cxn>
                <a:cxn ang="5400000">
                  <a:pos x="wd2" y="hd2"/>
                </a:cxn>
                <a:cxn ang="10800000">
                  <a:pos x="wd2" y="hd2"/>
                </a:cxn>
                <a:cxn ang="16200000">
                  <a:pos x="wd2" y="hd2"/>
                </a:cxn>
              </a:cxnLst>
              <a:rect l="0" t="0" r="r" b="b"/>
              <a:pathLst>
                <a:path w="21323" h="21600" extrusionOk="0">
                  <a:moveTo>
                    <a:pt x="15971" y="11591"/>
                  </a:moveTo>
                  <a:cubicBezTo>
                    <a:pt x="16056" y="11520"/>
                    <a:pt x="17625" y="9187"/>
                    <a:pt x="17711" y="9102"/>
                  </a:cubicBezTo>
                  <a:cubicBezTo>
                    <a:pt x="17796" y="9017"/>
                    <a:pt x="19365" y="8718"/>
                    <a:pt x="19479" y="8633"/>
                  </a:cubicBezTo>
                  <a:cubicBezTo>
                    <a:pt x="19593" y="8547"/>
                    <a:pt x="19764" y="6983"/>
                    <a:pt x="19849" y="6940"/>
                  </a:cubicBezTo>
                  <a:cubicBezTo>
                    <a:pt x="19935" y="6898"/>
                    <a:pt x="20648" y="6926"/>
                    <a:pt x="20819" y="6940"/>
                  </a:cubicBezTo>
                  <a:cubicBezTo>
                    <a:pt x="20990" y="6954"/>
                    <a:pt x="21418" y="6229"/>
                    <a:pt x="21304" y="6044"/>
                  </a:cubicBezTo>
                  <a:cubicBezTo>
                    <a:pt x="21190" y="5859"/>
                    <a:pt x="20591" y="4622"/>
                    <a:pt x="20477" y="4523"/>
                  </a:cubicBezTo>
                  <a:cubicBezTo>
                    <a:pt x="20363" y="4423"/>
                    <a:pt x="18994" y="3925"/>
                    <a:pt x="18937" y="3883"/>
                  </a:cubicBezTo>
                  <a:cubicBezTo>
                    <a:pt x="18880" y="3840"/>
                    <a:pt x="19365" y="2972"/>
                    <a:pt x="19422" y="2816"/>
                  </a:cubicBezTo>
                  <a:cubicBezTo>
                    <a:pt x="19460" y="2711"/>
                    <a:pt x="19525" y="2570"/>
                    <a:pt x="19564" y="2489"/>
                  </a:cubicBezTo>
                  <a:cubicBezTo>
                    <a:pt x="19442" y="2499"/>
                    <a:pt x="14345" y="0"/>
                    <a:pt x="14345" y="0"/>
                  </a:cubicBezTo>
                  <a:lnTo>
                    <a:pt x="11094" y="597"/>
                  </a:lnTo>
                  <a:lnTo>
                    <a:pt x="11208" y="1778"/>
                  </a:lnTo>
                  <a:cubicBezTo>
                    <a:pt x="11208" y="1778"/>
                    <a:pt x="11175" y="1754"/>
                    <a:pt x="11120" y="1713"/>
                  </a:cubicBezTo>
                  <a:cubicBezTo>
                    <a:pt x="10804" y="1971"/>
                    <a:pt x="8919" y="3506"/>
                    <a:pt x="8684" y="3506"/>
                  </a:cubicBezTo>
                  <a:cubicBezTo>
                    <a:pt x="8428" y="3506"/>
                    <a:pt x="4706" y="3250"/>
                    <a:pt x="4535" y="3271"/>
                  </a:cubicBezTo>
                  <a:cubicBezTo>
                    <a:pt x="4364" y="3292"/>
                    <a:pt x="2695" y="4807"/>
                    <a:pt x="1968" y="4850"/>
                  </a:cubicBezTo>
                  <a:cubicBezTo>
                    <a:pt x="1752" y="4862"/>
                    <a:pt x="1394" y="4890"/>
                    <a:pt x="986" y="4922"/>
                  </a:cubicBezTo>
                  <a:cubicBezTo>
                    <a:pt x="831" y="5181"/>
                    <a:pt x="-182" y="6901"/>
                    <a:pt x="29" y="7111"/>
                  </a:cubicBezTo>
                  <a:cubicBezTo>
                    <a:pt x="257" y="7338"/>
                    <a:pt x="3622" y="8249"/>
                    <a:pt x="4022" y="8476"/>
                  </a:cubicBezTo>
                  <a:cubicBezTo>
                    <a:pt x="4421" y="8704"/>
                    <a:pt x="3622" y="9756"/>
                    <a:pt x="4022" y="10069"/>
                  </a:cubicBezTo>
                  <a:cubicBezTo>
                    <a:pt x="4421" y="10382"/>
                    <a:pt x="5676" y="11377"/>
                    <a:pt x="5633" y="11633"/>
                  </a:cubicBezTo>
                  <a:cubicBezTo>
                    <a:pt x="5590" y="11889"/>
                    <a:pt x="5547" y="18908"/>
                    <a:pt x="5633" y="19185"/>
                  </a:cubicBezTo>
                  <a:cubicBezTo>
                    <a:pt x="5718" y="19463"/>
                    <a:pt x="7116" y="21354"/>
                    <a:pt x="7116" y="21354"/>
                  </a:cubicBezTo>
                  <a:cubicBezTo>
                    <a:pt x="7116" y="21354"/>
                    <a:pt x="6826" y="21483"/>
                    <a:pt x="6573" y="21600"/>
                  </a:cubicBezTo>
                  <a:cubicBezTo>
                    <a:pt x="8820" y="21355"/>
                    <a:pt x="11094" y="21173"/>
                    <a:pt x="13382" y="21056"/>
                  </a:cubicBezTo>
                  <a:cubicBezTo>
                    <a:pt x="13439" y="19916"/>
                    <a:pt x="13836" y="11908"/>
                    <a:pt x="13889" y="11776"/>
                  </a:cubicBezTo>
                  <a:cubicBezTo>
                    <a:pt x="13946" y="11633"/>
                    <a:pt x="15885" y="11662"/>
                    <a:pt x="15971" y="11591"/>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8" name="Shape">
              <a:extLst>
                <a:ext uri="{FF2B5EF4-FFF2-40B4-BE49-F238E27FC236}">
                  <a16:creationId xmlns:a16="http://schemas.microsoft.com/office/drawing/2014/main" id="{E51A3487-7282-D249-989E-CA4FEDB90CB1}"/>
                </a:ext>
              </a:extLst>
            </p:cNvPr>
            <p:cNvSpPr/>
            <p:nvPr/>
          </p:nvSpPr>
          <p:spPr>
            <a:xfrm>
              <a:off x="17424400" y="15328899"/>
              <a:ext cx="1876169" cy="3698561"/>
            </a:xfrm>
            <a:custGeom>
              <a:avLst/>
              <a:gdLst/>
              <a:ahLst/>
              <a:cxnLst>
                <a:cxn ang="0">
                  <a:pos x="wd2" y="hd2"/>
                </a:cxn>
                <a:cxn ang="5400000">
                  <a:pos x="wd2" y="hd2"/>
                </a:cxn>
                <a:cxn ang="10800000">
                  <a:pos x="wd2" y="hd2"/>
                </a:cxn>
                <a:cxn ang="16200000">
                  <a:pos x="wd2" y="hd2"/>
                </a:cxn>
              </a:cxnLst>
              <a:rect l="0" t="0" r="r" b="b"/>
              <a:pathLst>
                <a:path w="21496" h="21581" extrusionOk="0">
                  <a:moveTo>
                    <a:pt x="20206" y="2827"/>
                  </a:moveTo>
                  <a:cubicBezTo>
                    <a:pt x="20206" y="2317"/>
                    <a:pt x="20046" y="1664"/>
                    <a:pt x="19391" y="1266"/>
                  </a:cubicBezTo>
                  <a:cubicBezTo>
                    <a:pt x="19338" y="1234"/>
                    <a:pt x="19275" y="1199"/>
                    <a:pt x="19192" y="1196"/>
                  </a:cubicBezTo>
                  <a:cubicBezTo>
                    <a:pt x="19159" y="1195"/>
                    <a:pt x="19127" y="1199"/>
                    <a:pt x="19094" y="1198"/>
                  </a:cubicBezTo>
                  <a:cubicBezTo>
                    <a:pt x="19012" y="1196"/>
                    <a:pt x="18947" y="1160"/>
                    <a:pt x="18919" y="1121"/>
                  </a:cubicBezTo>
                  <a:cubicBezTo>
                    <a:pt x="18891" y="1082"/>
                    <a:pt x="18891" y="1039"/>
                    <a:pt x="18885" y="998"/>
                  </a:cubicBezTo>
                  <a:cubicBezTo>
                    <a:pt x="18836" y="688"/>
                    <a:pt x="18360" y="408"/>
                    <a:pt x="17765" y="340"/>
                  </a:cubicBezTo>
                  <a:cubicBezTo>
                    <a:pt x="17941" y="292"/>
                    <a:pt x="18084" y="212"/>
                    <a:pt x="18160" y="118"/>
                  </a:cubicBezTo>
                  <a:cubicBezTo>
                    <a:pt x="18172" y="103"/>
                    <a:pt x="18183" y="87"/>
                    <a:pt x="18180" y="71"/>
                  </a:cubicBezTo>
                  <a:cubicBezTo>
                    <a:pt x="18174" y="32"/>
                    <a:pt x="18090" y="8"/>
                    <a:pt x="18013" y="2"/>
                  </a:cubicBezTo>
                  <a:cubicBezTo>
                    <a:pt x="17786" y="-16"/>
                    <a:pt x="17552" y="78"/>
                    <a:pt x="17523" y="194"/>
                  </a:cubicBezTo>
                  <a:cubicBezTo>
                    <a:pt x="17502" y="275"/>
                    <a:pt x="17579" y="363"/>
                    <a:pt x="17721" y="401"/>
                  </a:cubicBezTo>
                  <a:cubicBezTo>
                    <a:pt x="17524" y="366"/>
                    <a:pt x="17296" y="407"/>
                    <a:pt x="17154" y="484"/>
                  </a:cubicBezTo>
                  <a:cubicBezTo>
                    <a:pt x="17012" y="562"/>
                    <a:pt x="16948" y="670"/>
                    <a:pt x="16936" y="775"/>
                  </a:cubicBezTo>
                  <a:cubicBezTo>
                    <a:pt x="16927" y="848"/>
                    <a:pt x="16941" y="922"/>
                    <a:pt x="16945" y="995"/>
                  </a:cubicBezTo>
                  <a:cubicBezTo>
                    <a:pt x="16957" y="1272"/>
                    <a:pt x="16815" y="1544"/>
                    <a:pt x="16674" y="1812"/>
                  </a:cubicBezTo>
                  <a:cubicBezTo>
                    <a:pt x="16628" y="1898"/>
                    <a:pt x="16580" y="1988"/>
                    <a:pt x="16470" y="2058"/>
                  </a:cubicBezTo>
                  <a:cubicBezTo>
                    <a:pt x="16235" y="2210"/>
                    <a:pt x="15807" y="2226"/>
                    <a:pt x="15441" y="2278"/>
                  </a:cubicBezTo>
                  <a:cubicBezTo>
                    <a:pt x="15362" y="2289"/>
                    <a:pt x="15280" y="2304"/>
                    <a:pt x="15229" y="2336"/>
                  </a:cubicBezTo>
                  <a:cubicBezTo>
                    <a:pt x="15170" y="2374"/>
                    <a:pt x="15166" y="2427"/>
                    <a:pt x="15156" y="2475"/>
                  </a:cubicBezTo>
                  <a:cubicBezTo>
                    <a:pt x="15139" y="2561"/>
                    <a:pt x="15094" y="2645"/>
                    <a:pt x="15023" y="2724"/>
                  </a:cubicBezTo>
                  <a:cubicBezTo>
                    <a:pt x="14997" y="2752"/>
                    <a:pt x="14964" y="2782"/>
                    <a:pt x="14909" y="2796"/>
                  </a:cubicBezTo>
                  <a:cubicBezTo>
                    <a:pt x="14681" y="2854"/>
                    <a:pt x="14655" y="2567"/>
                    <a:pt x="14592" y="2523"/>
                  </a:cubicBezTo>
                  <a:cubicBezTo>
                    <a:pt x="14496" y="2456"/>
                    <a:pt x="14269" y="2484"/>
                    <a:pt x="14182" y="2554"/>
                  </a:cubicBezTo>
                  <a:cubicBezTo>
                    <a:pt x="14096" y="2625"/>
                    <a:pt x="14107" y="2714"/>
                    <a:pt x="14122" y="2797"/>
                  </a:cubicBezTo>
                  <a:cubicBezTo>
                    <a:pt x="14171" y="3066"/>
                    <a:pt x="14219" y="3335"/>
                    <a:pt x="14267" y="3603"/>
                  </a:cubicBezTo>
                  <a:cubicBezTo>
                    <a:pt x="14081" y="3529"/>
                    <a:pt x="13840" y="3492"/>
                    <a:pt x="13604" y="3500"/>
                  </a:cubicBezTo>
                  <a:cubicBezTo>
                    <a:pt x="13718" y="3721"/>
                    <a:pt x="13529" y="3953"/>
                    <a:pt x="13280" y="4142"/>
                  </a:cubicBezTo>
                  <a:cubicBezTo>
                    <a:pt x="13031" y="4332"/>
                    <a:pt x="12718" y="4502"/>
                    <a:pt x="12536" y="4710"/>
                  </a:cubicBezTo>
                  <a:cubicBezTo>
                    <a:pt x="12456" y="4659"/>
                    <a:pt x="12326" y="4628"/>
                    <a:pt x="12197" y="4631"/>
                  </a:cubicBezTo>
                  <a:cubicBezTo>
                    <a:pt x="12347" y="4499"/>
                    <a:pt x="12497" y="4368"/>
                    <a:pt x="12647" y="4236"/>
                  </a:cubicBezTo>
                  <a:cubicBezTo>
                    <a:pt x="12479" y="4215"/>
                    <a:pt x="12339" y="4301"/>
                    <a:pt x="12249" y="4376"/>
                  </a:cubicBezTo>
                  <a:cubicBezTo>
                    <a:pt x="12008" y="4576"/>
                    <a:pt x="11767" y="4776"/>
                    <a:pt x="11526" y="4976"/>
                  </a:cubicBezTo>
                  <a:cubicBezTo>
                    <a:pt x="11497" y="5001"/>
                    <a:pt x="11466" y="5029"/>
                    <a:pt x="11480" y="5057"/>
                  </a:cubicBezTo>
                  <a:cubicBezTo>
                    <a:pt x="11496" y="5086"/>
                    <a:pt x="11554" y="5103"/>
                    <a:pt x="11600" y="5121"/>
                  </a:cubicBezTo>
                  <a:cubicBezTo>
                    <a:pt x="11730" y="5174"/>
                    <a:pt x="11789" y="5269"/>
                    <a:pt x="11742" y="5350"/>
                  </a:cubicBezTo>
                  <a:cubicBezTo>
                    <a:pt x="11582" y="5374"/>
                    <a:pt x="11405" y="5397"/>
                    <a:pt x="11252" y="5363"/>
                  </a:cubicBezTo>
                  <a:cubicBezTo>
                    <a:pt x="11099" y="5328"/>
                    <a:pt x="11021" y="5207"/>
                    <a:pt x="11156" y="5157"/>
                  </a:cubicBezTo>
                  <a:cubicBezTo>
                    <a:pt x="11196" y="5142"/>
                    <a:pt x="11249" y="5135"/>
                    <a:pt x="11278" y="5115"/>
                  </a:cubicBezTo>
                  <a:cubicBezTo>
                    <a:pt x="11333" y="5076"/>
                    <a:pt x="11251" y="5019"/>
                    <a:pt x="11158" y="5013"/>
                  </a:cubicBezTo>
                  <a:cubicBezTo>
                    <a:pt x="11064" y="5008"/>
                    <a:pt x="10977" y="5035"/>
                    <a:pt x="10898" y="5062"/>
                  </a:cubicBezTo>
                  <a:cubicBezTo>
                    <a:pt x="10497" y="5196"/>
                    <a:pt x="10095" y="5331"/>
                    <a:pt x="9694" y="5466"/>
                  </a:cubicBezTo>
                  <a:cubicBezTo>
                    <a:pt x="9509" y="5528"/>
                    <a:pt x="9302" y="5611"/>
                    <a:pt x="9315" y="5724"/>
                  </a:cubicBezTo>
                  <a:cubicBezTo>
                    <a:pt x="9321" y="5776"/>
                    <a:pt x="9377" y="5825"/>
                    <a:pt x="9365" y="5877"/>
                  </a:cubicBezTo>
                  <a:cubicBezTo>
                    <a:pt x="9343" y="5971"/>
                    <a:pt x="9057" y="6009"/>
                    <a:pt x="8948" y="5933"/>
                  </a:cubicBezTo>
                  <a:cubicBezTo>
                    <a:pt x="8916" y="5911"/>
                    <a:pt x="8897" y="5882"/>
                    <a:pt x="8852" y="5867"/>
                  </a:cubicBezTo>
                  <a:cubicBezTo>
                    <a:pt x="8785" y="5845"/>
                    <a:pt x="8697" y="5863"/>
                    <a:pt x="8622" y="5876"/>
                  </a:cubicBezTo>
                  <a:cubicBezTo>
                    <a:pt x="8465" y="5905"/>
                    <a:pt x="8295" y="5910"/>
                    <a:pt x="8130" y="5921"/>
                  </a:cubicBezTo>
                  <a:cubicBezTo>
                    <a:pt x="7611" y="5955"/>
                    <a:pt x="7108" y="6049"/>
                    <a:pt x="6670" y="6194"/>
                  </a:cubicBezTo>
                  <a:cubicBezTo>
                    <a:pt x="6679" y="6268"/>
                    <a:pt x="6567" y="6342"/>
                    <a:pt x="6423" y="6356"/>
                  </a:cubicBezTo>
                  <a:cubicBezTo>
                    <a:pt x="6320" y="6209"/>
                    <a:pt x="5883" y="6232"/>
                    <a:pt x="5635" y="6323"/>
                  </a:cubicBezTo>
                  <a:cubicBezTo>
                    <a:pt x="5386" y="6414"/>
                    <a:pt x="5160" y="6552"/>
                    <a:pt x="4853" y="6553"/>
                  </a:cubicBezTo>
                  <a:cubicBezTo>
                    <a:pt x="4642" y="6553"/>
                    <a:pt x="4445" y="6486"/>
                    <a:pt x="4235" y="6493"/>
                  </a:cubicBezTo>
                  <a:cubicBezTo>
                    <a:pt x="3873" y="6505"/>
                    <a:pt x="3678" y="6720"/>
                    <a:pt x="3663" y="6904"/>
                  </a:cubicBezTo>
                  <a:cubicBezTo>
                    <a:pt x="3649" y="7088"/>
                    <a:pt x="3732" y="7281"/>
                    <a:pt x="3593" y="7452"/>
                  </a:cubicBezTo>
                  <a:cubicBezTo>
                    <a:pt x="3475" y="7595"/>
                    <a:pt x="3219" y="7695"/>
                    <a:pt x="3022" y="7815"/>
                  </a:cubicBezTo>
                  <a:cubicBezTo>
                    <a:pt x="2777" y="7964"/>
                    <a:pt x="2623" y="8147"/>
                    <a:pt x="2473" y="8326"/>
                  </a:cubicBezTo>
                  <a:cubicBezTo>
                    <a:pt x="2428" y="8380"/>
                    <a:pt x="2382" y="8436"/>
                    <a:pt x="2390" y="8494"/>
                  </a:cubicBezTo>
                  <a:cubicBezTo>
                    <a:pt x="2398" y="8556"/>
                    <a:pt x="2466" y="8612"/>
                    <a:pt x="2518" y="8669"/>
                  </a:cubicBezTo>
                  <a:cubicBezTo>
                    <a:pt x="2888" y="9079"/>
                    <a:pt x="2403" y="9591"/>
                    <a:pt x="2773" y="10001"/>
                  </a:cubicBezTo>
                  <a:cubicBezTo>
                    <a:pt x="2864" y="10102"/>
                    <a:pt x="3003" y="10191"/>
                    <a:pt x="3077" y="10295"/>
                  </a:cubicBezTo>
                  <a:cubicBezTo>
                    <a:pt x="3237" y="10524"/>
                    <a:pt x="3093" y="10779"/>
                    <a:pt x="3312" y="11000"/>
                  </a:cubicBezTo>
                  <a:cubicBezTo>
                    <a:pt x="3553" y="11242"/>
                    <a:pt x="3778" y="11424"/>
                    <a:pt x="3790" y="11715"/>
                  </a:cubicBezTo>
                  <a:cubicBezTo>
                    <a:pt x="3808" y="12146"/>
                    <a:pt x="3437" y="12553"/>
                    <a:pt x="3075" y="12942"/>
                  </a:cubicBezTo>
                  <a:cubicBezTo>
                    <a:pt x="2636" y="13413"/>
                    <a:pt x="2197" y="13883"/>
                    <a:pt x="1758" y="14354"/>
                  </a:cubicBezTo>
                  <a:cubicBezTo>
                    <a:pt x="1705" y="14410"/>
                    <a:pt x="1650" y="14468"/>
                    <a:pt x="1557" y="14508"/>
                  </a:cubicBezTo>
                  <a:cubicBezTo>
                    <a:pt x="1415" y="14568"/>
                    <a:pt x="1205" y="14579"/>
                    <a:pt x="1077" y="14647"/>
                  </a:cubicBezTo>
                  <a:cubicBezTo>
                    <a:pt x="946" y="14718"/>
                    <a:pt x="942" y="14825"/>
                    <a:pt x="918" y="14922"/>
                  </a:cubicBezTo>
                  <a:cubicBezTo>
                    <a:pt x="802" y="15389"/>
                    <a:pt x="37" y="15775"/>
                    <a:pt x="2" y="16245"/>
                  </a:cubicBezTo>
                  <a:cubicBezTo>
                    <a:pt x="-52" y="16951"/>
                    <a:pt x="1521" y="17471"/>
                    <a:pt x="1544" y="18176"/>
                  </a:cubicBezTo>
                  <a:cubicBezTo>
                    <a:pt x="1549" y="18360"/>
                    <a:pt x="1447" y="18540"/>
                    <a:pt x="1401" y="18722"/>
                  </a:cubicBezTo>
                  <a:cubicBezTo>
                    <a:pt x="1311" y="19074"/>
                    <a:pt x="1439" y="19439"/>
                    <a:pt x="1760" y="19754"/>
                  </a:cubicBezTo>
                  <a:cubicBezTo>
                    <a:pt x="1865" y="19856"/>
                    <a:pt x="1991" y="19955"/>
                    <a:pt x="2030" y="20069"/>
                  </a:cubicBezTo>
                  <a:cubicBezTo>
                    <a:pt x="2061" y="20159"/>
                    <a:pt x="2035" y="20253"/>
                    <a:pt x="2085" y="20341"/>
                  </a:cubicBezTo>
                  <a:cubicBezTo>
                    <a:pt x="2145" y="20447"/>
                    <a:pt x="2306" y="20530"/>
                    <a:pt x="2462" y="20607"/>
                  </a:cubicBezTo>
                  <a:cubicBezTo>
                    <a:pt x="2946" y="20848"/>
                    <a:pt x="3458" y="21098"/>
                    <a:pt x="4108" y="21193"/>
                  </a:cubicBezTo>
                  <a:cubicBezTo>
                    <a:pt x="4400" y="21235"/>
                    <a:pt x="4717" y="21246"/>
                    <a:pt x="4977" y="21326"/>
                  </a:cubicBezTo>
                  <a:cubicBezTo>
                    <a:pt x="5145" y="21378"/>
                    <a:pt x="5277" y="21456"/>
                    <a:pt x="5447" y="21507"/>
                  </a:cubicBezTo>
                  <a:cubicBezTo>
                    <a:pt x="5642" y="21566"/>
                    <a:pt x="5876" y="21584"/>
                    <a:pt x="6104" y="21580"/>
                  </a:cubicBezTo>
                  <a:cubicBezTo>
                    <a:pt x="7144" y="21560"/>
                    <a:pt x="7967" y="21107"/>
                    <a:pt x="8987" y="21000"/>
                  </a:cubicBezTo>
                  <a:cubicBezTo>
                    <a:pt x="9362" y="20960"/>
                    <a:pt x="9752" y="20969"/>
                    <a:pt x="10129" y="20934"/>
                  </a:cubicBezTo>
                  <a:cubicBezTo>
                    <a:pt x="10964" y="20854"/>
                    <a:pt x="11698" y="20539"/>
                    <a:pt x="11993" y="20133"/>
                  </a:cubicBezTo>
                  <a:cubicBezTo>
                    <a:pt x="12138" y="19934"/>
                    <a:pt x="12181" y="19721"/>
                    <a:pt x="12236" y="19511"/>
                  </a:cubicBezTo>
                  <a:cubicBezTo>
                    <a:pt x="12502" y="18483"/>
                    <a:pt x="13066" y="17483"/>
                    <a:pt x="13736" y="16507"/>
                  </a:cubicBezTo>
                  <a:cubicBezTo>
                    <a:pt x="14379" y="15572"/>
                    <a:pt x="15324" y="14657"/>
                    <a:pt x="15598" y="13668"/>
                  </a:cubicBezTo>
                  <a:cubicBezTo>
                    <a:pt x="15671" y="13405"/>
                    <a:pt x="15674" y="13135"/>
                    <a:pt x="15801" y="12877"/>
                  </a:cubicBezTo>
                  <a:cubicBezTo>
                    <a:pt x="15929" y="12614"/>
                    <a:pt x="16181" y="12372"/>
                    <a:pt x="16392" y="12123"/>
                  </a:cubicBezTo>
                  <a:cubicBezTo>
                    <a:pt x="17039" y="11360"/>
                    <a:pt x="17307" y="10528"/>
                    <a:pt x="17873" y="9749"/>
                  </a:cubicBezTo>
                  <a:cubicBezTo>
                    <a:pt x="18043" y="9515"/>
                    <a:pt x="18288" y="9287"/>
                    <a:pt x="18283" y="9033"/>
                  </a:cubicBezTo>
                  <a:cubicBezTo>
                    <a:pt x="18279" y="8778"/>
                    <a:pt x="18070" y="8529"/>
                    <a:pt x="18149" y="8273"/>
                  </a:cubicBezTo>
                  <a:cubicBezTo>
                    <a:pt x="18265" y="7901"/>
                    <a:pt x="18974" y="7649"/>
                    <a:pt x="19228" y="7295"/>
                  </a:cubicBezTo>
                  <a:cubicBezTo>
                    <a:pt x="19555" y="6838"/>
                    <a:pt x="19063" y="6345"/>
                    <a:pt x="18960" y="5861"/>
                  </a:cubicBezTo>
                  <a:cubicBezTo>
                    <a:pt x="18933" y="5731"/>
                    <a:pt x="18937" y="5593"/>
                    <a:pt x="19065" y="5480"/>
                  </a:cubicBezTo>
                  <a:cubicBezTo>
                    <a:pt x="19192" y="5368"/>
                    <a:pt x="19478" y="5293"/>
                    <a:pt x="19713" y="5344"/>
                  </a:cubicBezTo>
                  <a:cubicBezTo>
                    <a:pt x="19998" y="5407"/>
                    <a:pt x="20049" y="5595"/>
                    <a:pt x="20125" y="5749"/>
                  </a:cubicBezTo>
                  <a:cubicBezTo>
                    <a:pt x="20201" y="5902"/>
                    <a:pt x="20477" y="6075"/>
                    <a:pt x="20758" y="6007"/>
                  </a:cubicBezTo>
                  <a:cubicBezTo>
                    <a:pt x="20947" y="5961"/>
                    <a:pt x="20986" y="5837"/>
                    <a:pt x="21054" y="5735"/>
                  </a:cubicBezTo>
                  <a:cubicBezTo>
                    <a:pt x="21173" y="5558"/>
                    <a:pt x="21447" y="5408"/>
                    <a:pt x="21490" y="5221"/>
                  </a:cubicBezTo>
                  <a:cubicBezTo>
                    <a:pt x="21548" y="4975"/>
                    <a:pt x="21193" y="4760"/>
                    <a:pt x="20941" y="4547"/>
                  </a:cubicBezTo>
                  <a:cubicBezTo>
                    <a:pt x="20341" y="4039"/>
                    <a:pt x="20283" y="3419"/>
                    <a:pt x="20206" y="2827"/>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49" name="Shape">
              <a:extLst>
                <a:ext uri="{FF2B5EF4-FFF2-40B4-BE49-F238E27FC236}">
                  <a16:creationId xmlns:a16="http://schemas.microsoft.com/office/drawing/2014/main" id="{74BDD6CD-1923-A841-B6E0-3E0EEE822629}"/>
                </a:ext>
              </a:extLst>
            </p:cNvPr>
            <p:cNvSpPr/>
            <p:nvPr/>
          </p:nvSpPr>
          <p:spPr>
            <a:xfrm>
              <a:off x="13258799" y="19900900"/>
              <a:ext cx="626605" cy="622342"/>
            </a:xfrm>
            <a:custGeom>
              <a:avLst/>
              <a:gdLst/>
              <a:ahLst/>
              <a:cxnLst>
                <a:cxn ang="0">
                  <a:pos x="wd2" y="hd2"/>
                </a:cxn>
                <a:cxn ang="5400000">
                  <a:pos x="wd2" y="hd2"/>
                </a:cxn>
                <a:cxn ang="10800000">
                  <a:pos x="wd2" y="hd2"/>
                </a:cxn>
                <a:cxn ang="16200000">
                  <a:pos x="wd2" y="hd2"/>
                </a:cxn>
              </a:cxnLst>
              <a:rect l="0" t="0" r="r" b="b"/>
              <a:pathLst>
                <a:path w="21494" h="21492" extrusionOk="0">
                  <a:moveTo>
                    <a:pt x="17174" y="2193"/>
                  </a:moveTo>
                  <a:cubicBezTo>
                    <a:pt x="16884" y="2157"/>
                    <a:pt x="16303" y="2157"/>
                    <a:pt x="16121" y="2047"/>
                  </a:cubicBezTo>
                  <a:cubicBezTo>
                    <a:pt x="15940" y="1938"/>
                    <a:pt x="14960" y="-36"/>
                    <a:pt x="14524" y="1"/>
                  </a:cubicBezTo>
                  <a:cubicBezTo>
                    <a:pt x="14088" y="37"/>
                    <a:pt x="6828" y="3071"/>
                    <a:pt x="6610" y="3290"/>
                  </a:cubicBezTo>
                  <a:cubicBezTo>
                    <a:pt x="6392" y="3509"/>
                    <a:pt x="3016" y="9722"/>
                    <a:pt x="2580" y="9832"/>
                  </a:cubicBezTo>
                  <a:cubicBezTo>
                    <a:pt x="2145" y="9942"/>
                    <a:pt x="112" y="10782"/>
                    <a:pt x="3" y="10928"/>
                  </a:cubicBezTo>
                  <a:cubicBezTo>
                    <a:pt x="-106" y="11075"/>
                    <a:pt x="3488" y="15643"/>
                    <a:pt x="3524" y="16045"/>
                  </a:cubicBezTo>
                  <a:cubicBezTo>
                    <a:pt x="3560" y="16447"/>
                    <a:pt x="3052" y="17653"/>
                    <a:pt x="3234" y="17982"/>
                  </a:cubicBezTo>
                  <a:cubicBezTo>
                    <a:pt x="3415" y="18311"/>
                    <a:pt x="4613" y="18677"/>
                    <a:pt x="5013" y="19408"/>
                  </a:cubicBezTo>
                  <a:cubicBezTo>
                    <a:pt x="5412" y="20139"/>
                    <a:pt x="5956" y="20833"/>
                    <a:pt x="6537" y="20833"/>
                  </a:cubicBezTo>
                  <a:cubicBezTo>
                    <a:pt x="7118" y="20833"/>
                    <a:pt x="9296" y="21418"/>
                    <a:pt x="9550" y="21491"/>
                  </a:cubicBezTo>
                  <a:cubicBezTo>
                    <a:pt x="9805" y="21564"/>
                    <a:pt x="10490" y="17316"/>
                    <a:pt x="10748" y="17215"/>
                  </a:cubicBezTo>
                  <a:cubicBezTo>
                    <a:pt x="10992" y="17119"/>
                    <a:pt x="18082" y="14876"/>
                    <a:pt x="18372" y="14364"/>
                  </a:cubicBezTo>
                  <a:cubicBezTo>
                    <a:pt x="18662" y="13852"/>
                    <a:pt x="18808" y="11952"/>
                    <a:pt x="18626" y="11513"/>
                  </a:cubicBezTo>
                  <a:cubicBezTo>
                    <a:pt x="18445" y="11075"/>
                    <a:pt x="19098" y="10417"/>
                    <a:pt x="19280" y="10307"/>
                  </a:cubicBezTo>
                  <a:cubicBezTo>
                    <a:pt x="19461" y="10198"/>
                    <a:pt x="20151" y="10015"/>
                    <a:pt x="20151" y="10015"/>
                  </a:cubicBezTo>
                  <a:cubicBezTo>
                    <a:pt x="20151" y="10015"/>
                    <a:pt x="21494" y="8443"/>
                    <a:pt x="21494" y="8260"/>
                  </a:cubicBezTo>
                  <a:cubicBezTo>
                    <a:pt x="21494" y="8078"/>
                    <a:pt x="21240" y="5702"/>
                    <a:pt x="20913" y="5483"/>
                  </a:cubicBezTo>
                  <a:cubicBezTo>
                    <a:pt x="20586" y="5264"/>
                    <a:pt x="17464" y="2230"/>
                    <a:pt x="17174" y="2193"/>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0" name="Shape">
              <a:extLst>
                <a:ext uri="{FF2B5EF4-FFF2-40B4-BE49-F238E27FC236}">
                  <a16:creationId xmlns:a16="http://schemas.microsoft.com/office/drawing/2014/main" id="{F576CF7C-CA66-B846-9634-6223855E0159}"/>
                </a:ext>
              </a:extLst>
            </p:cNvPr>
            <p:cNvSpPr/>
            <p:nvPr/>
          </p:nvSpPr>
          <p:spPr>
            <a:xfrm>
              <a:off x="11963399" y="15036799"/>
              <a:ext cx="542184" cy="1579381"/>
            </a:xfrm>
            <a:custGeom>
              <a:avLst/>
              <a:gdLst/>
              <a:ahLst/>
              <a:cxnLst>
                <a:cxn ang="0">
                  <a:pos x="wd2" y="hd2"/>
                </a:cxn>
                <a:cxn ang="5400000">
                  <a:pos x="wd2" y="hd2"/>
                </a:cxn>
                <a:cxn ang="10800000">
                  <a:pos x="wd2" y="hd2"/>
                </a:cxn>
                <a:cxn ang="16200000">
                  <a:pos x="wd2" y="hd2"/>
                </a:cxn>
              </a:cxnLst>
              <a:rect l="0" t="0" r="r" b="b"/>
              <a:pathLst>
                <a:path w="21162" h="21600" extrusionOk="0">
                  <a:moveTo>
                    <a:pt x="21027" y="5364"/>
                  </a:moveTo>
                  <a:cubicBezTo>
                    <a:pt x="20945" y="5567"/>
                    <a:pt x="19292" y="6696"/>
                    <a:pt x="19210" y="6811"/>
                  </a:cubicBezTo>
                  <a:cubicBezTo>
                    <a:pt x="19127" y="6927"/>
                    <a:pt x="21286" y="7506"/>
                    <a:pt x="21033" y="7564"/>
                  </a:cubicBezTo>
                  <a:cubicBezTo>
                    <a:pt x="20779" y="7622"/>
                    <a:pt x="621" y="7564"/>
                    <a:pt x="208" y="7564"/>
                  </a:cubicBezTo>
                  <a:cubicBezTo>
                    <a:pt x="-205" y="7564"/>
                    <a:pt x="125" y="19288"/>
                    <a:pt x="125" y="19288"/>
                  </a:cubicBezTo>
                  <a:cubicBezTo>
                    <a:pt x="125" y="19288"/>
                    <a:pt x="4876" y="21532"/>
                    <a:pt x="5330" y="21589"/>
                  </a:cubicBezTo>
                  <a:cubicBezTo>
                    <a:pt x="5341" y="21591"/>
                    <a:pt x="5362" y="21595"/>
                    <a:pt x="5383" y="21600"/>
                  </a:cubicBezTo>
                  <a:cubicBezTo>
                    <a:pt x="4687" y="21414"/>
                    <a:pt x="234" y="19311"/>
                    <a:pt x="234" y="19311"/>
                  </a:cubicBezTo>
                  <a:cubicBezTo>
                    <a:pt x="234" y="19311"/>
                    <a:pt x="-96" y="7587"/>
                    <a:pt x="317" y="7587"/>
                  </a:cubicBezTo>
                  <a:cubicBezTo>
                    <a:pt x="730" y="7587"/>
                    <a:pt x="20888" y="7645"/>
                    <a:pt x="21142" y="7587"/>
                  </a:cubicBezTo>
                  <a:cubicBezTo>
                    <a:pt x="21395" y="7529"/>
                    <a:pt x="19236" y="6950"/>
                    <a:pt x="19318" y="6834"/>
                  </a:cubicBezTo>
                  <a:cubicBezTo>
                    <a:pt x="19401" y="6718"/>
                    <a:pt x="21053" y="5589"/>
                    <a:pt x="21136" y="5387"/>
                  </a:cubicBezTo>
                  <a:cubicBezTo>
                    <a:pt x="21214" y="5194"/>
                    <a:pt x="20443" y="490"/>
                    <a:pt x="20366" y="18"/>
                  </a:cubicBezTo>
                  <a:lnTo>
                    <a:pt x="20258" y="0"/>
                  </a:lnTo>
                  <a:cubicBezTo>
                    <a:pt x="20340" y="498"/>
                    <a:pt x="21105" y="5172"/>
                    <a:pt x="21027" y="5364"/>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1" name="Shape">
              <a:extLst>
                <a:ext uri="{FF2B5EF4-FFF2-40B4-BE49-F238E27FC236}">
                  <a16:creationId xmlns:a16="http://schemas.microsoft.com/office/drawing/2014/main" id="{4D8CF491-377B-A643-9540-D6DABF63D9B0}"/>
                </a:ext>
              </a:extLst>
            </p:cNvPr>
            <p:cNvSpPr/>
            <p:nvPr/>
          </p:nvSpPr>
          <p:spPr>
            <a:xfrm>
              <a:off x="12103100" y="16611600"/>
              <a:ext cx="524" cy="32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8640" y="10544"/>
                    <a:pt x="14112" y="13615"/>
                    <a:pt x="21600" y="21600"/>
                  </a:cubicBezTo>
                  <a:cubicBezTo>
                    <a:pt x="12896" y="12080"/>
                    <a:pt x="7552" y="7678"/>
                    <a:pt x="0" y="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2" name="Shape">
              <a:extLst>
                <a:ext uri="{FF2B5EF4-FFF2-40B4-BE49-F238E27FC236}">
                  <a16:creationId xmlns:a16="http://schemas.microsoft.com/office/drawing/2014/main" id="{8E0D3641-AE0C-EA45-9306-BBA48A5D0D76}"/>
                </a:ext>
              </a:extLst>
            </p:cNvPr>
            <p:cNvSpPr/>
            <p:nvPr/>
          </p:nvSpPr>
          <p:spPr>
            <a:xfrm>
              <a:off x="9321800" y="13716000"/>
              <a:ext cx="3183847" cy="3228818"/>
            </a:xfrm>
            <a:custGeom>
              <a:avLst/>
              <a:gdLst/>
              <a:ahLst/>
              <a:cxnLst>
                <a:cxn ang="0">
                  <a:pos x="wd2" y="hd2"/>
                </a:cxn>
                <a:cxn ang="5400000">
                  <a:pos x="wd2" y="hd2"/>
                </a:cxn>
                <a:cxn ang="10800000">
                  <a:pos x="wd2" y="hd2"/>
                </a:cxn>
                <a:cxn ang="16200000">
                  <a:pos x="wd2" y="hd2"/>
                </a:cxn>
              </a:cxnLst>
              <a:rect l="0" t="0" r="r" b="b"/>
              <a:pathLst>
                <a:path w="21560" h="21600" extrusionOk="0">
                  <a:moveTo>
                    <a:pt x="18844" y="19420"/>
                  </a:moveTo>
                  <a:cubicBezTo>
                    <a:pt x="19009" y="19531"/>
                    <a:pt x="20421" y="20825"/>
                    <a:pt x="20421" y="20825"/>
                  </a:cubicBezTo>
                  <a:cubicBezTo>
                    <a:pt x="20421" y="20825"/>
                    <a:pt x="19009" y="19531"/>
                    <a:pt x="18844" y="19420"/>
                  </a:cubicBezTo>
                  <a:cubicBezTo>
                    <a:pt x="18843" y="19419"/>
                    <a:pt x="18842" y="19419"/>
                    <a:pt x="18841" y="19417"/>
                  </a:cubicBezTo>
                  <a:cubicBezTo>
                    <a:pt x="18837" y="19415"/>
                    <a:pt x="18834" y="19413"/>
                    <a:pt x="18832" y="19412"/>
                  </a:cubicBezTo>
                  <a:cubicBezTo>
                    <a:pt x="18753" y="19384"/>
                    <a:pt x="17929" y="18287"/>
                    <a:pt x="17929" y="18287"/>
                  </a:cubicBezTo>
                  <a:cubicBezTo>
                    <a:pt x="17929" y="18287"/>
                    <a:pt x="17871" y="12552"/>
                    <a:pt x="17943" y="12552"/>
                  </a:cubicBezTo>
                  <a:cubicBezTo>
                    <a:pt x="18015" y="12552"/>
                    <a:pt x="21512" y="12580"/>
                    <a:pt x="21556" y="12552"/>
                  </a:cubicBezTo>
                  <a:cubicBezTo>
                    <a:pt x="21600" y="12523"/>
                    <a:pt x="21225" y="12240"/>
                    <a:pt x="21240" y="12184"/>
                  </a:cubicBezTo>
                  <a:cubicBezTo>
                    <a:pt x="21254" y="12127"/>
                    <a:pt x="21541" y="11575"/>
                    <a:pt x="21555" y="11476"/>
                  </a:cubicBezTo>
                  <a:cubicBezTo>
                    <a:pt x="21569" y="11382"/>
                    <a:pt x="21436" y="9095"/>
                    <a:pt x="21422" y="8852"/>
                  </a:cubicBezTo>
                  <a:lnTo>
                    <a:pt x="21408" y="8845"/>
                  </a:lnTo>
                  <a:cubicBezTo>
                    <a:pt x="21408" y="8845"/>
                    <a:pt x="21215" y="9058"/>
                    <a:pt x="21129" y="9047"/>
                  </a:cubicBezTo>
                  <a:cubicBezTo>
                    <a:pt x="21043" y="9037"/>
                    <a:pt x="20441" y="8973"/>
                    <a:pt x="20344" y="8994"/>
                  </a:cubicBezTo>
                  <a:cubicBezTo>
                    <a:pt x="20247" y="9015"/>
                    <a:pt x="20021" y="9164"/>
                    <a:pt x="19914" y="9164"/>
                  </a:cubicBezTo>
                  <a:cubicBezTo>
                    <a:pt x="19806" y="9164"/>
                    <a:pt x="18839" y="9164"/>
                    <a:pt x="18807" y="9164"/>
                  </a:cubicBezTo>
                  <a:cubicBezTo>
                    <a:pt x="18774" y="9164"/>
                    <a:pt x="18366" y="9451"/>
                    <a:pt x="18366" y="9451"/>
                  </a:cubicBezTo>
                  <a:cubicBezTo>
                    <a:pt x="18366" y="9451"/>
                    <a:pt x="18323" y="9355"/>
                    <a:pt x="18291" y="9217"/>
                  </a:cubicBezTo>
                  <a:cubicBezTo>
                    <a:pt x="18258" y="9079"/>
                    <a:pt x="18237" y="8780"/>
                    <a:pt x="18237" y="8780"/>
                  </a:cubicBezTo>
                  <a:lnTo>
                    <a:pt x="18473" y="8580"/>
                  </a:lnTo>
                  <a:cubicBezTo>
                    <a:pt x="18473" y="8580"/>
                    <a:pt x="18506" y="7964"/>
                    <a:pt x="18473" y="7879"/>
                  </a:cubicBezTo>
                  <a:cubicBezTo>
                    <a:pt x="18441" y="7794"/>
                    <a:pt x="17624" y="6318"/>
                    <a:pt x="17592" y="6222"/>
                  </a:cubicBezTo>
                  <a:cubicBezTo>
                    <a:pt x="17560" y="6127"/>
                    <a:pt x="17796" y="4661"/>
                    <a:pt x="17807" y="4555"/>
                  </a:cubicBezTo>
                  <a:cubicBezTo>
                    <a:pt x="17818" y="4449"/>
                    <a:pt x="17527" y="3950"/>
                    <a:pt x="17506" y="3833"/>
                  </a:cubicBezTo>
                  <a:cubicBezTo>
                    <a:pt x="17484" y="3716"/>
                    <a:pt x="17667" y="3132"/>
                    <a:pt x="17656" y="2941"/>
                  </a:cubicBezTo>
                  <a:cubicBezTo>
                    <a:pt x="17646" y="2750"/>
                    <a:pt x="17603" y="2558"/>
                    <a:pt x="17549" y="2537"/>
                  </a:cubicBezTo>
                  <a:cubicBezTo>
                    <a:pt x="17495" y="2516"/>
                    <a:pt x="15463" y="2558"/>
                    <a:pt x="15410" y="2516"/>
                  </a:cubicBezTo>
                  <a:cubicBezTo>
                    <a:pt x="15356" y="2473"/>
                    <a:pt x="15549" y="1879"/>
                    <a:pt x="15506" y="1879"/>
                  </a:cubicBezTo>
                  <a:cubicBezTo>
                    <a:pt x="15463" y="1879"/>
                    <a:pt x="13690" y="2006"/>
                    <a:pt x="13658" y="2049"/>
                  </a:cubicBezTo>
                  <a:cubicBezTo>
                    <a:pt x="13625" y="2091"/>
                    <a:pt x="13367" y="3769"/>
                    <a:pt x="13324" y="3769"/>
                  </a:cubicBezTo>
                  <a:cubicBezTo>
                    <a:pt x="13281" y="3769"/>
                    <a:pt x="11916" y="3620"/>
                    <a:pt x="11852" y="3620"/>
                  </a:cubicBezTo>
                  <a:cubicBezTo>
                    <a:pt x="11787" y="3620"/>
                    <a:pt x="11228" y="3939"/>
                    <a:pt x="11185" y="3981"/>
                  </a:cubicBezTo>
                  <a:cubicBezTo>
                    <a:pt x="11142" y="4024"/>
                    <a:pt x="10207" y="4003"/>
                    <a:pt x="10132" y="3981"/>
                  </a:cubicBezTo>
                  <a:cubicBezTo>
                    <a:pt x="10056" y="3960"/>
                    <a:pt x="9605" y="2877"/>
                    <a:pt x="9562" y="2803"/>
                  </a:cubicBezTo>
                  <a:cubicBezTo>
                    <a:pt x="9519" y="2728"/>
                    <a:pt x="9186" y="2537"/>
                    <a:pt x="9121" y="2473"/>
                  </a:cubicBezTo>
                  <a:cubicBezTo>
                    <a:pt x="9057" y="2410"/>
                    <a:pt x="8551" y="116"/>
                    <a:pt x="8508" y="63"/>
                  </a:cubicBezTo>
                  <a:cubicBezTo>
                    <a:pt x="8465" y="10"/>
                    <a:pt x="2394" y="0"/>
                    <a:pt x="2361" y="0"/>
                  </a:cubicBezTo>
                  <a:cubicBezTo>
                    <a:pt x="2295" y="214"/>
                    <a:pt x="2092" y="364"/>
                    <a:pt x="1875" y="428"/>
                  </a:cubicBezTo>
                  <a:cubicBezTo>
                    <a:pt x="1658" y="492"/>
                    <a:pt x="1426" y="483"/>
                    <a:pt x="1200" y="474"/>
                  </a:cubicBezTo>
                  <a:cubicBezTo>
                    <a:pt x="1121" y="511"/>
                    <a:pt x="1093" y="613"/>
                    <a:pt x="1112" y="697"/>
                  </a:cubicBezTo>
                  <a:cubicBezTo>
                    <a:pt x="1132" y="781"/>
                    <a:pt x="1187" y="852"/>
                    <a:pt x="1239" y="921"/>
                  </a:cubicBezTo>
                  <a:cubicBezTo>
                    <a:pt x="1405" y="1140"/>
                    <a:pt x="1553" y="1373"/>
                    <a:pt x="1681" y="1616"/>
                  </a:cubicBezTo>
                  <a:cubicBezTo>
                    <a:pt x="1747" y="1743"/>
                    <a:pt x="1822" y="1884"/>
                    <a:pt x="1959" y="1929"/>
                  </a:cubicBezTo>
                  <a:cubicBezTo>
                    <a:pt x="1943" y="2010"/>
                    <a:pt x="1911" y="2065"/>
                    <a:pt x="1895" y="2147"/>
                  </a:cubicBezTo>
                  <a:cubicBezTo>
                    <a:pt x="2091" y="2672"/>
                    <a:pt x="2286" y="3197"/>
                    <a:pt x="2482" y="3721"/>
                  </a:cubicBezTo>
                  <a:cubicBezTo>
                    <a:pt x="2581" y="3987"/>
                    <a:pt x="2681" y="4257"/>
                    <a:pt x="2702" y="4539"/>
                  </a:cubicBezTo>
                  <a:cubicBezTo>
                    <a:pt x="2722" y="4821"/>
                    <a:pt x="2652" y="5122"/>
                    <a:pt x="2452" y="5324"/>
                  </a:cubicBezTo>
                  <a:cubicBezTo>
                    <a:pt x="2393" y="5384"/>
                    <a:pt x="2322" y="5436"/>
                    <a:pt x="2288" y="5511"/>
                  </a:cubicBezTo>
                  <a:cubicBezTo>
                    <a:pt x="2243" y="5610"/>
                    <a:pt x="2270" y="5725"/>
                    <a:pt x="2300" y="5830"/>
                  </a:cubicBezTo>
                  <a:cubicBezTo>
                    <a:pt x="2481" y="6460"/>
                    <a:pt x="2744" y="7068"/>
                    <a:pt x="3081" y="7632"/>
                  </a:cubicBezTo>
                  <a:cubicBezTo>
                    <a:pt x="3308" y="8013"/>
                    <a:pt x="3572" y="8382"/>
                    <a:pt x="3691" y="8808"/>
                  </a:cubicBezTo>
                  <a:cubicBezTo>
                    <a:pt x="3938" y="9691"/>
                    <a:pt x="3518" y="10609"/>
                    <a:pt x="3089" y="11421"/>
                  </a:cubicBezTo>
                  <a:cubicBezTo>
                    <a:pt x="2974" y="11640"/>
                    <a:pt x="2925" y="11900"/>
                    <a:pt x="2678" y="11865"/>
                  </a:cubicBezTo>
                  <a:cubicBezTo>
                    <a:pt x="2457" y="11833"/>
                    <a:pt x="2287" y="12060"/>
                    <a:pt x="2221" y="12271"/>
                  </a:cubicBezTo>
                  <a:cubicBezTo>
                    <a:pt x="2156" y="12483"/>
                    <a:pt x="2130" y="12724"/>
                    <a:pt x="1966" y="12875"/>
                  </a:cubicBezTo>
                  <a:cubicBezTo>
                    <a:pt x="1798" y="13029"/>
                    <a:pt x="1513" y="13056"/>
                    <a:pt x="1411" y="13260"/>
                  </a:cubicBezTo>
                  <a:cubicBezTo>
                    <a:pt x="1365" y="13352"/>
                    <a:pt x="1369" y="13459"/>
                    <a:pt x="1365" y="13561"/>
                  </a:cubicBezTo>
                  <a:cubicBezTo>
                    <a:pt x="1357" y="13796"/>
                    <a:pt x="1301" y="14026"/>
                    <a:pt x="1246" y="14254"/>
                  </a:cubicBezTo>
                  <a:cubicBezTo>
                    <a:pt x="1228" y="14328"/>
                    <a:pt x="1210" y="14403"/>
                    <a:pt x="1192" y="14477"/>
                  </a:cubicBezTo>
                  <a:cubicBezTo>
                    <a:pt x="1028" y="15151"/>
                    <a:pt x="864" y="15824"/>
                    <a:pt x="700" y="16498"/>
                  </a:cubicBezTo>
                  <a:cubicBezTo>
                    <a:pt x="590" y="16948"/>
                    <a:pt x="430" y="17459"/>
                    <a:pt x="0" y="17644"/>
                  </a:cubicBezTo>
                  <a:cubicBezTo>
                    <a:pt x="130" y="17711"/>
                    <a:pt x="163" y="17878"/>
                    <a:pt x="171" y="18023"/>
                  </a:cubicBezTo>
                  <a:cubicBezTo>
                    <a:pt x="213" y="18740"/>
                    <a:pt x="34" y="19456"/>
                    <a:pt x="16" y="20173"/>
                  </a:cubicBezTo>
                  <a:cubicBezTo>
                    <a:pt x="224" y="20104"/>
                    <a:pt x="533" y="20006"/>
                    <a:pt x="643" y="19987"/>
                  </a:cubicBezTo>
                  <a:cubicBezTo>
                    <a:pt x="815" y="19957"/>
                    <a:pt x="1360" y="20100"/>
                    <a:pt x="1503" y="20114"/>
                  </a:cubicBezTo>
                  <a:cubicBezTo>
                    <a:pt x="1646" y="20127"/>
                    <a:pt x="2019" y="19674"/>
                    <a:pt x="2162" y="19674"/>
                  </a:cubicBezTo>
                  <a:cubicBezTo>
                    <a:pt x="2306" y="19674"/>
                    <a:pt x="2678" y="19589"/>
                    <a:pt x="2850" y="19674"/>
                  </a:cubicBezTo>
                  <a:cubicBezTo>
                    <a:pt x="3022" y="19759"/>
                    <a:pt x="3854" y="20439"/>
                    <a:pt x="3997" y="20467"/>
                  </a:cubicBezTo>
                  <a:cubicBezTo>
                    <a:pt x="4140" y="20496"/>
                    <a:pt x="11622" y="20297"/>
                    <a:pt x="11708" y="20354"/>
                  </a:cubicBezTo>
                  <a:cubicBezTo>
                    <a:pt x="11794" y="20411"/>
                    <a:pt x="12511" y="21198"/>
                    <a:pt x="12511" y="21198"/>
                  </a:cubicBezTo>
                  <a:cubicBezTo>
                    <a:pt x="12511" y="21198"/>
                    <a:pt x="15005" y="21135"/>
                    <a:pt x="15091" y="21198"/>
                  </a:cubicBezTo>
                  <a:cubicBezTo>
                    <a:pt x="15177" y="21260"/>
                    <a:pt x="15893" y="21600"/>
                    <a:pt x="15893" y="21600"/>
                  </a:cubicBezTo>
                  <a:cubicBezTo>
                    <a:pt x="15893" y="21600"/>
                    <a:pt x="19993" y="20910"/>
                    <a:pt x="20383" y="20832"/>
                  </a:cubicBezTo>
                  <a:cubicBezTo>
                    <a:pt x="20396" y="20829"/>
                    <a:pt x="20411" y="20826"/>
                    <a:pt x="20426" y="20824"/>
                  </a:cubicBezTo>
                  <a:cubicBezTo>
                    <a:pt x="20282" y="20691"/>
                    <a:pt x="18925" y="19450"/>
                    <a:pt x="18851" y="19423"/>
                  </a:cubicBezTo>
                  <a:cubicBezTo>
                    <a:pt x="18849" y="19423"/>
                    <a:pt x="18847" y="19421"/>
                    <a:pt x="18844" y="1942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3" name="Shape">
              <a:extLst>
                <a:ext uri="{FF2B5EF4-FFF2-40B4-BE49-F238E27FC236}">
                  <a16:creationId xmlns:a16="http://schemas.microsoft.com/office/drawing/2014/main" id="{D45D799B-7732-4842-9F8A-73F1300CBF55}"/>
                </a:ext>
              </a:extLst>
            </p:cNvPr>
            <p:cNvSpPr/>
            <p:nvPr/>
          </p:nvSpPr>
          <p:spPr>
            <a:xfrm>
              <a:off x="11963400" y="14338299"/>
              <a:ext cx="3014563" cy="2613820"/>
            </a:xfrm>
            <a:custGeom>
              <a:avLst/>
              <a:gdLst/>
              <a:ahLst/>
              <a:cxnLst>
                <a:cxn ang="0">
                  <a:pos x="wd2" y="hd2"/>
                </a:cxn>
                <a:cxn ang="5400000">
                  <a:pos x="wd2" y="hd2"/>
                </a:cxn>
                <a:cxn ang="10800000">
                  <a:pos x="wd2" y="hd2"/>
                </a:cxn>
                <a:cxn ang="16200000">
                  <a:pos x="wd2" y="hd2"/>
                </a:cxn>
              </a:cxnLst>
              <a:rect l="0" t="0" r="r" b="b"/>
              <a:pathLst>
                <a:path w="21555" h="21600" extrusionOk="0">
                  <a:moveTo>
                    <a:pt x="21554" y="5088"/>
                  </a:moveTo>
                  <a:cubicBezTo>
                    <a:pt x="21562" y="5027"/>
                    <a:pt x="20851" y="4104"/>
                    <a:pt x="20817" y="3960"/>
                  </a:cubicBezTo>
                  <a:cubicBezTo>
                    <a:pt x="20783" y="3815"/>
                    <a:pt x="20896" y="3579"/>
                    <a:pt x="20862" y="3474"/>
                  </a:cubicBezTo>
                  <a:cubicBezTo>
                    <a:pt x="20828" y="3369"/>
                    <a:pt x="20692" y="3041"/>
                    <a:pt x="20590" y="3028"/>
                  </a:cubicBezTo>
                  <a:cubicBezTo>
                    <a:pt x="20487" y="3015"/>
                    <a:pt x="20283" y="3094"/>
                    <a:pt x="20283" y="3094"/>
                  </a:cubicBezTo>
                  <a:cubicBezTo>
                    <a:pt x="20283" y="3094"/>
                    <a:pt x="20336" y="2708"/>
                    <a:pt x="20248" y="2588"/>
                  </a:cubicBezTo>
                  <a:cubicBezTo>
                    <a:pt x="20240" y="2586"/>
                    <a:pt x="20234" y="2584"/>
                    <a:pt x="20234" y="2584"/>
                  </a:cubicBezTo>
                  <a:cubicBezTo>
                    <a:pt x="20234" y="2584"/>
                    <a:pt x="20240" y="2586"/>
                    <a:pt x="20248" y="2588"/>
                  </a:cubicBezTo>
                  <a:cubicBezTo>
                    <a:pt x="20236" y="2572"/>
                    <a:pt x="20221" y="2561"/>
                    <a:pt x="20204" y="2556"/>
                  </a:cubicBezTo>
                  <a:cubicBezTo>
                    <a:pt x="20056" y="2517"/>
                    <a:pt x="18353" y="1953"/>
                    <a:pt x="18331" y="1900"/>
                  </a:cubicBezTo>
                  <a:cubicBezTo>
                    <a:pt x="18308" y="1848"/>
                    <a:pt x="18331" y="1533"/>
                    <a:pt x="18331" y="1533"/>
                  </a:cubicBezTo>
                  <a:lnTo>
                    <a:pt x="17752" y="1533"/>
                  </a:lnTo>
                  <a:cubicBezTo>
                    <a:pt x="17752" y="1533"/>
                    <a:pt x="17457" y="851"/>
                    <a:pt x="17321" y="851"/>
                  </a:cubicBezTo>
                  <a:cubicBezTo>
                    <a:pt x="17184" y="851"/>
                    <a:pt x="16810" y="824"/>
                    <a:pt x="16764" y="851"/>
                  </a:cubicBezTo>
                  <a:cubicBezTo>
                    <a:pt x="16723" y="874"/>
                    <a:pt x="16236" y="145"/>
                    <a:pt x="16139" y="0"/>
                  </a:cubicBezTo>
                  <a:lnTo>
                    <a:pt x="12731" y="620"/>
                  </a:lnTo>
                  <a:lnTo>
                    <a:pt x="12807" y="1152"/>
                  </a:lnTo>
                  <a:cubicBezTo>
                    <a:pt x="12807" y="1152"/>
                    <a:pt x="11868" y="2202"/>
                    <a:pt x="11838" y="2254"/>
                  </a:cubicBezTo>
                  <a:cubicBezTo>
                    <a:pt x="11808" y="2307"/>
                    <a:pt x="12307" y="3374"/>
                    <a:pt x="12368" y="3479"/>
                  </a:cubicBezTo>
                  <a:cubicBezTo>
                    <a:pt x="12429" y="3584"/>
                    <a:pt x="12141" y="4178"/>
                    <a:pt x="12110" y="4283"/>
                  </a:cubicBezTo>
                  <a:cubicBezTo>
                    <a:pt x="12080" y="4388"/>
                    <a:pt x="12322" y="5175"/>
                    <a:pt x="12307" y="5315"/>
                  </a:cubicBezTo>
                  <a:cubicBezTo>
                    <a:pt x="12292" y="5455"/>
                    <a:pt x="11914" y="6067"/>
                    <a:pt x="11914" y="6190"/>
                  </a:cubicBezTo>
                  <a:cubicBezTo>
                    <a:pt x="11914" y="6312"/>
                    <a:pt x="11793" y="7764"/>
                    <a:pt x="11883" y="7817"/>
                  </a:cubicBezTo>
                  <a:cubicBezTo>
                    <a:pt x="11974" y="7869"/>
                    <a:pt x="12216" y="8044"/>
                    <a:pt x="12368" y="8096"/>
                  </a:cubicBezTo>
                  <a:cubicBezTo>
                    <a:pt x="12520" y="8149"/>
                    <a:pt x="12913" y="8971"/>
                    <a:pt x="12958" y="9006"/>
                  </a:cubicBezTo>
                  <a:cubicBezTo>
                    <a:pt x="13003" y="9041"/>
                    <a:pt x="13079" y="9041"/>
                    <a:pt x="13215" y="9024"/>
                  </a:cubicBezTo>
                  <a:cubicBezTo>
                    <a:pt x="13351" y="9006"/>
                    <a:pt x="13876" y="9111"/>
                    <a:pt x="13876" y="9111"/>
                  </a:cubicBezTo>
                  <a:cubicBezTo>
                    <a:pt x="13876" y="9111"/>
                    <a:pt x="13881" y="8639"/>
                    <a:pt x="13964" y="8604"/>
                  </a:cubicBezTo>
                  <a:cubicBezTo>
                    <a:pt x="14047" y="8569"/>
                    <a:pt x="14123" y="8621"/>
                    <a:pt x="14232" y="8639"/>
                  </a:cubicBezTo>
                  <a:cubicBezTo>
                    <a:pt x="14341" y="8656"/>
                    <a:pt x="14320" y="8446"/>
                    <a:pt x="14411" y="8464"/>
                  </a:cubicBezTo>
                  <a:cubicBezTo>
                    <a:pt x="14502" y="8481"/>
                    <a:pt x="14365" y="11297"/>
                    <a:pt x="14331" y="11369"/>
                  </a:cubicBezTo>
                  <a:cubicBezTo>
                    <a:pt x="14297" y="11440"/>
                    <a:pt x="14108" y="11332"/>
                    <a:pt x="14063" y="11365"/>
                  </a:cubicBezTo>
                  <a:cubicBezTo>
                    <a:pt x="14017" y="11398"/>
                    <a:pt x="14108" y="11157"/>
                    <a:pt x="14154" y="11105"/>
                  </a:cubicBezTo>
                  <a:cubicBezTo>
                    <a:pt x="14199" y="11053"/>
                    <a:pt x="14154" y="10808"/>
                    <a:pt x="14154" y="10808"/>
                  </a:cubicBezTo>
                  <a:cubicBezTo>
                    <a:pt x="14154" y="10808"/>
                    <a:pt x="13942" y="10773"/>
                    <a:pt x="13876" y="10808"/>
                  </a:cubicBezTo>
                  <a:cubicBezTo>
                    <a:pt x="13810" y="10843"/>
                    <a:pt x="13336" y="11315"/>
                    <a:pt x="13291" y="11350"/>
                  </a:cubicBezTo>
                  <a:cubicBezTo>
                    <a:pt x="13245" y="11385"/>
                    <a:pt x="13018" y="11350"/>
                    <a:pt x="12973" y="11350"/>
                  </a:cubicBezTo>
                  <a:cubicBezTo>
                    <a:pt x="12928" y="11350"/>
                    <a:pt x="12852" y="11175"/>
                    <a:pt x="12685" y="10668"/>
                  </a:cubicBezTo>
                  <a:cubicBezTo>
                    <a:pt x="12519" y="10160"/>
                    <a:pt x="12315" y="9955"/>
                    <a:pt x="12269" y="9955"/>
                  </a:cubicBezTo>
                  <a:cubicBezTo>
                    <a:pt x="12224" y="9955"/>
                    <a:pt x="12110" y="10178"/>
                    <a:pt x="12110" y="10178"/>
                  </a:cubicBezTo>
                  <a:cubicBezTo>
                    <a:pt x="12110" y="10178"/>
                    <a:pt x="12099" y="9719"/>
                    <a:pt x="12031" y="9574"/>
                  </a:cubicBezTo>
                  <a:cubicBezTo>
                    <a:pt x="11963" y="9430"/>
                    <a:pt x="11418" y="8997"/>
                    <a:pt x="11373" y="9010"/>
                  </a:cubicBezTo>
                  <a:cubicBezTo>
                    <a:pt x="11327" y="9024"/>
                    <a:pt x="10953" y="9010"/>
                    <a:pt x="10953" y="9010"/>
                  </a:cubicBezTo>
                  <a:cubicBezTo>
                    <a:pt x="10953" y="9010"/>
                    <a:pt x="10987" y="8866"/>
                    <a:pt x="10884" y="8748"/>
                  </a:cubicBezTo>
                  <a:cubicBezTo>
                    <a:pt x="10782" y="8630"/>
                    <a:pt x="10430" y="8774"/>
                    <a:pt x="10328" y="8748"/>
                  </a:cubicBezTo>
                  <a:cubicBezTo>
                    <a:pt x="10226" y="8722"/>
                    <a:pt x="10135" y="8145"/>
                    <a:pt x="10090" y="8013"/>
                  </a:cubicBezTo>
                  <a:cubicBezTo>
                    <a:pt x="10044" y="7882"/>
                    <a:pt x="9704" y="7803"/>
                    <a:pt x="9647" y="7764"/>
                  </a:cubicBezTo>
                  <a:cubicBezTo>
                    <a:pt x="9590" y="7725"/>
                    <a:pt x="9681" y="7239"/>
                    <a:pt x="9579" y="7213"/>
                  </a:cubicBezTo>
                  <a:cubicBezTo>
                    <a:pt x="9477" y="7187"/>
                    <a:pt x="9488" y="7344"/>
                    <a:pt x="9488" y="7344"/>
                  </a:cubicBezTo>
                  <a:cubicBezTo>
                    <a:pt x="9488" y="7344"/>
                    <a:pt x="9375" y="7344"/>
                    <a:pt x="9261" y="7371"/>
                  </a:cubicBezTo>
                  <a:cubicBezTo>
                    <a:pt x="9148" y="7397"/>
                    <a:pt x="9125" y="7922"/>
                    <a:pt x="9091" y="8013"/>
                  </a:cubicBezTo>
                  <a:cubicBezTo>
                    <a:pt x="9057" y="8105"/>
                    <a:pt x="8694" y="8145"/>
                    <a:pt x="8512" y="8158"/>
                  </a:cubicBezTo>
                  <a:cubicBezTo>
                    <a:pt x="8330" y="8171"/>
                    <a:pt x="6526" y="7777"/>
                    <a:pt x="6458" y="7751"/>
                  </a:cubicBezTo>
                  <a:cubicBezTo>
                    <a:pt x="6389" y="7725"/>
                    <a:pt x="6094" y="7239"/>
                    <a:pt x="6060" y="7134"/>
                  </a:cubicBezTo>
                  <a:cubicBezTo>
                    <a:pt x="6026" y="7029"/>
                    <a:pt x="6219" y="6544"/>
                    <a:pt x="6162" y="6478"/>
                  </a:cubicBezTo>
                  <a:cubicBezTo>
                    <a:pt x="6106" y="6413"/>
                    <a:pt x="5198" y="6701"/>
                    <a:pt x="5050" y="6688"/>
                  </a:cubicBezTo>
                  <a:cubicBezTo>
                    <a:pt x="4902" y="6675"/>
                    <a:pt x="4812" y="7003"/>
                    <a:pt x="4766" y="7043"/>
                  </a:cubicBezTo>
                  <a:cubicBezTo>
                    <a:pt x="4721" y="7082"/>
                    <a:pt x="4687" y="7016"/>
                    <a:pt x="4596" y="6964"/>
                  </a:cubicBezTo>
                  <a:cubicBezTo>
                    <a:pt x="4505" y="6911"/>
                    <a:pt x="4221" y="6885"/>
                    <a:pt x="4221" y="6885"/>
                  </a:cubicBezTo>
                  <a:lnTo>
                    <a:pt x="4380" y="6203"/>
                  </a:lnTo>
                  <a:lnTo>
                    <a:pt x="3710" y="5828"/>
                  </a:lnTo>
                  <a:cubicBezTo>
                    <a:pt x="3725" y="6113"/>
                    <a:pt x="3866" y="8956"/>
                    <a:pt x="3852" y="9072"/>
                  </a:cubicBezTo>
                  <a:cubicBezTo>
                    <a:pt x="3836" y="9195"/>
                    <a:pt x="3534" y="9877"/>
                    <a:pt x="3519" y="9947"/>
                  </a:cubicBezTo>
                  <a:cubicBezTo>
                    <a:pt x="3504" y="10017"/>
                    <a:pt x="3899" y="10367"/>
                    <a:pt x="3853" y="10402"/>
                  </a:cubicBezTo>
                  <a:cubicBezTo>
                    <a:pt x="3806" y="10437"/>
                    <a:pt x="113" y="10402"/>
                    <a:pt x="38" y="10402"/>
                  </a:cubicBezTo>
                  <a:cubicBezTo>
                    <a:pt x="-38" y="10402"/>
                    <a:pt x="23" y="17486"/>
                    <a:pt x="23" y="17486"/>
                  </a:cubicBezTo>
                  <a:cubicBezTo>
                    <a:pt x="23" y="17486"/>
                    <a:pt x="838" y="18756"/>
                    <a:pt x="966" y="18869"/>
                  </a:cubicBezTo>
                  <a:cubicBezTo>
                    <a:pt x="967" y="18870"/>
                    <a:pt x="968" y="18870"/>
                    <a:pt x="969" y="18872"/>
                  </a:cubicBezTo>
                  <a:cubicBezTo>
                    <a:pt x="972" y="18873"/>
                    <a:pt x="974" y="18876"/>
                    <a:pt x="976" y="18876"/>
                  </a:cubicBezTo>
                  <a:cubicBezTo>
                    <a:pt x="1055" y="18909"/>
                    <a:pt x="2487" y="20443"/>
                    <a:pt x="2640" y="20606"/>
                  </a:cubicBezTo>
                  <a:cubicBezTo>
                    <a:pt x="3105" y="20506"/>
                    <a:pt x="4483" y="20309"/>
                    <a:pt x="4607" y="20293"/>
                  </a:cubicBezTo>
                  <a:cubicBezTo>
                    <a:pt x="4736" y="20275"/>
                    <a:pt x="5614" y="20454"/>
                    <a:pt x="5614" y="20454"/>
                  </a:cubicBezTo>
                  <a:cubicBezTo>
                    <a:pt x="5614" y="20454"/>
                    <a:pt x="5993" y="20913"/>
                    <a:pt x="6027" y="20970"/>
                  </a:cubicBezTo>
                  <a:lnTo>
                    <a:pt x="6830" y="20970"/>
                  </a:lnTo>
                  <a:cubicBezTo>
                    <a:pt x="6830" y="20970"/>
                    <a:pt x="7214" y="21381"/>
                    <a:pt x="7313" y="21399"/>
                  </a:cubicBezTo>
                  <a:cubicBezTo>
                    <a:pt x="7411" y="21416"/>
                    <a:pt x="7676" y="21180"/>
                    <a:pt x="7797" y="21180"/>
                  </a:cubicBezTo>
                  <a:cubicBezTo>
                    <a:pt x="7918" y="21180"/>
                    <a:pt x="8576" y="21600"/>
                    <a:pt x="8599" y="21600"/>
                  </a:cubicBezTo>
                  <a:cubicBezTo>
                    <a:pt x="8622" y="21600"/>
                    <a:pt x="9189" y="21408"/>
                    <a:pt x="9257" y="21320"/>
                  </a:cubicBezTo>
                  <a:cubicBezTo>
                    <a:pt x="9326" y="21233"/>
                    <a:pt x="9460" y="20980"/>
                    <a:pt x="9464" y="20970"/>
                  </a:cubicBezTo>
                  <a:cubicBezTo>
                    <a:pt x="9469" y="20960"/>
                    <a:pt x="9448" y="20768"/>
                    <a:pt x="9606" y="20603"/>
                  </a:cubicBezTo>
                  <a:cubicBezTo>
                    <a:pt x="9763" y="20438"/>
                    <a:pt x="9833" y="20446"/>
                    <a:pt x="10090" y="20139"/>
                  </a:cubicBezTo>
                  <a:cubicBezTo>
                    <a:pt x="10347" y="19833"/>
                    <a:pt x="10574" y="19233"/>
                    <a:pt x="10710" y="19140"/>
                  </a:cubicBezTo>
                  <a:cubicBezTo>
                    <a:pt x="10847" y="19046"/>
                    <a:pt x="12519" y="18077"/>
                    <a:pt x="12519" y="18077"/>
                  </a:cubicBezTo>
                  <a:cubicBezTo>
                    <a:pt x="12519" y="18077"/>
                    <a:pt x="12723" y="16947"/>
                    <a:pt x="12746" y="16842"/>
                  </a:cubicBezTo>
                  <a:cubicBezTo>
                    <a:pt x="12769" y="16737"/>
                    <a:pt x="13836" y="16160"/>
                    <a:pt x="13949" y="16160"/>
                  </a:cubicBezTo>
                  <a:cubicBezTo>
                    <a:pt x="14054" y="16160"/>
                    <a:pt x="15322" y="16160"/>
                    <a:pt x="15513" y="16160"/>
                  </a:cubicBezTo>
                  <a:cubicBezTo>
                    <a:pt x="15468" y="15988"/>
                    <a:pt x="15132" y="14717"/>
                    <a:pt x="15164" y="14717"/>
                  </a:cubicBezTo>
                  <a:cubicBezTo>
                    <a:pt x="15198" y="14717"/>
                    <a:pt x="19863" y="12894"/>
                    <a:pt x="20102" y="12789"/>
                  </a:cubicBezTo>
                  <a:cubicBezTo>
                    <a:pt x="20174" y="12757"/>
                    <a:pt x="20252" y="12724"/>
                    <a:pt x="20327" y="12694"/>
                  </a:cubicBezTo>
                  <a:cubicBezTo>
                    <a:pt x="20263" y="12625"/>
                    <a:pt x="19778" y="12096"/>
                    <a:pt x="19784" y="12047"/>
                  </a:cubicBezTo>
                  <a:cubicBezTo>
                    <a:pt x="19789" y="11995"/>
                    <a:pt x="19892" y="11923"/>
                    <a:pt x="19892" y="11890"/>
                  </a:cubicBezTo>
                  <a:cubicBezTo>
                    <a:pt x="19892" y="11857"/>
                    <a:pt x="19897" y="11765"/>
                    <a:pt x="19869" y="11752"/>
                  </a:cubicBezTo>
                  <a:cubicBezTo>
                    <a:pt x="19840" y="11739"/>
                    <a:pt x="19630" y="11785"/>
                    <a:pt x="19625" y="11752"/>
                  </a:cubicBezTo>
                  <a:cubicBezTo>
                    <a:pt x="19619" y="11719"/>
                    <a:pt x="20300" y="10867"/>
                    <a:pt x="20306" y="10840"/>
                  </a:cubicBezTo>
                  <a:cubicBezTo>
                    <a:pt x="20312" y="10814"/>
                    <a:pt x="20181" y="10211"/>
                    <a:pt x="20181" y="10086"/>
                  </a:cubicBezTo>
                  <a:cubicBezTo>
                    <a:pt x="20181" y="9962"/>
                    <a:pt x="20453" y="9489"/>
                    <a:pt x="20482" y="9463"/>
                  </a:cubicBezTo>
                  <a:cubicBezTo>
                    <a:pt x="20510" y="9437"/>
                    <a:pt x="20856" y="9450"/>
                    <a:pt x="20907" y="9430"/>
                  </a:cubicBezTo>
                  <a:cubicBezTo>
                    <a:pt x="20959" y="9411"/>
                    <a:pt x="21271" y="9017"/>
                    <a:pt x="21276" y="8971"/>
                  </a:cubicBezTo>
                  <a:cubicBezTo>
                    <a:pt x="21282" y="8925"/>
                    <a:pt x="21015" y="8958"/>
                    <a:pt x="20924" y="8886"/>
                  </a:cubicBezTo>
                  <a:cubicBezTo>
                    <a:pt x="20834" y="8814"/>
                    <a:pt x="20783" y="8682"/>
                    <a:pt x="20737" y="8438"/>
                  </a:cubicBezTo>
                  <a:cubicBezTo>
                    <a:pt x="20692" y="8193"/>
                    <a:pt x="20677" y="7047"/>
                    <a:pt x="20699" y="6907"/>
                  </a:cubicBezTo>
                  <a:cubicBezTo>
                    <a:pt x="20722" y="6767"/>
                    <a:pt x="20972" y="6417"/>
                    <a:pt x="20979" y="6347"/>
                  </a:cubicBezTo>
                  <a:cubicBezTo>
                    <a:pt x="20987" y="6277"/>
                    <a:pt x="20699" y="5791"/>
                    <a:pt x="20722" y="5728"/>
                  </a:cubicBezTo>
                  <a:cubicBezTo>
                    <a:pt x="20745" y="5665"/>
                    <a:pt x="21547" y="5149"/>
                    <a:pt x="21554" y="508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4" name="Shape">
              <a:extLst>
                <a:ext uri="{FF2B5EF4-FFF2-40B4-BE49-F238E27FC236}">
                  <a16:creationId xmlns:a16="http://schemas.microsoft.com/office/drawing/2014/main" id="{64684032-E881-DA4D-BF34-9E23757A270B}"/>
                </a:ext>
              </a:extLst>
            </p:cNvPr>
            <p:cNvSpPr/>
            <p:nvPr/>
          </p:nvSpPr>
          <p:spPr>
            <a:xfrm>
              <a:off x="13360400" y="10896599"/>
              <a:ext cx="620078" cy="203501"/>
            </a:xfrm>
            <a:custGeom>
              <a:avLst/>
              <a:gdLst/>
              <a:ahLst/>
              <a:cxnLst>
                <a:cxn ang="0">
                  <a:pos x="wd2" y="hd2"/>
                </a:cxn>
                <a:cxn ang="5400000">
                  <a:pos x="wd2" y="hd2"/>
                </a:cxn>
                <a:cxn ang="10800000">
                  <a:pos x="wd2" y="hd2"/>
                </a:cxn>
                <a:cxn ang="16200000">
                  <a:pos x="wd2" y="hd2"/>
                </a:cxn>
              </a:cxnLst>
              <a:rect l="0" t="0" r="r" b="b"/>
              <a:pathLst>
                <a:path w="21600" h="21600" extrusionOk="0">
                  <a:moveTo>
                    <a:pt x="70" y="481"/>
                  </a:moveTo>
                  <a:cubicBezTo>
                    <a:pt x="70" y="481"/>
                    <a:pt x="4052" y="14186"/>
                    <a:pt x="4789" y="15085"/>
                  </a:cubicBezTo>
                  <a:cubicBezTo>
                    <a:pt x="5526" y="15983"/>
                    <a:pt x="8402" y="21600"/>
                    <a:pt x="8697" y="21600"/>
                  </a:cubicBezTo>
                  <a:cubicBezTo>
                    <a:pt x="8992" y="21600"/>
                    <a:pt x="12088" y="14635"/>
                    <a:pt x="12310" y="14635"/>
                  </a:cubicBezTo>
                  <a:cubicBezTo>
                    <a:pt x="12531" y="14635"/>
                    <a:pt x="16218" y="20477"/>
                    <a:pt x="16218" y="20477"/>
                  </a:cubicBezTo>
                  <a:lnTo>
                    <a:pt x="18724" y="11265"/>
                  </a:lnTo>
                  <a:lnTo>
                    <a:pt x="21581" y="14167"/>
                  </a:lnTo>
                  <a:cubicBezTo>
                    <a:pt x="21592" y="13954"/>
                    <a:pt x="21600" y="13819"/>
                    <a:pt x="21600" y="13819"/>
                  </a:cubicBezTo>
                  <a:lnTo>
                    <a:pt x="18724" y="10899"/>
                  </a:lnTo>
                  <a:lnTo>
                    <a:pt x="16218" y="20110"/>
                  </a:lnTo>
                  <a:cubicBezTo>
                    <a:pt x="16218" y="20110"/>
                    <a:pt x="12531" y="14269"/>
                    <a:pt x="12310" y="14269"/>
                  </a:cubicBezTo>
                  <a:cubicBezTo>
                    <a:pt x="12088" y="14269"/>
                    <a:pt x="8992" y="21233"/>
                    <a:pt x="8697" y="21233"/>
                  </a:cubicBezTo>
                  <a:cubicBezTo>
                    <a:pt x="8402" y="21233"/>
                    <a:pt x="5526" y="15617"/>
                    <a:pt x="4789" y="14718"/>
                  </a:cubicBezTo>
                  <a:cubicBezTo>
                    <a:pt x="4052" y="13819"/>
                    <a:pt x="70" y="114"/>
                    <a:pt x="70" y="114"/>
                  </a:cubicBezTo>
                  <a:cubicBezTo>
                    <a:pt x="70" y="114"/>
                    <a:pt x="43" y="70"/>
                    <a:pt x="0" y="0"/>
                  </a:cubicBezTo>
                  <a:cubicBezTo>
                    <a:pt x="15" y="168"/>
                    <a:pt x="29" y="318"/>
                    <a:pt x="39" y="430"/>
                  </a:cubicBezTo>
                  <a:cubicBezTo>
                    <a:pt x="57" y="461"/>
                    <a:pt x="70" y="481"/>
                    <a:pt x="70" y="481"/>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5" name="Shape">
              <a:extLst>
                <a:ext uri="{FF2B5EF4-FFF2-40B4-BE49-F238E27FC236}">
                  <a16:creationId xmlns:a16="http://schemas.microsoft.com/office/drawing/2014/main" id="{D8B167D3-EEC9-DB4F-9D05-0565D57A5EAE}"/>
                </a:ext>
              </a:extLst>
            </p:cNvPr>
            <p:cNvSpPr/>
            <p:nvPr/>
          </p:nvSpPr>
          <p:spPr>
            <a:xfrm>
              <a:off x="14071600" y="11163300"/>
              <a:ext cx="162207" cy="117129"/>
            </a:xfrm>
            <a:custGeom>
              <a:avLst/>
              <a:gdLst/>
              <a:ahLst/>
              <a:cxnLst>
                <a:cxn ang="0">
                  <a:pos x="wd2" y="hd2"/>
                </a:cxn>
                <a:cxn ang="5400000">
                  <a:pos x="wd2" y="hd2"/>
                </a:cxn>
                <a:cxn ang="10800000">
                  <a:pos x="wd2" y="hd2"/>
                </a:cxn>
                <a:cxn ang="16200000">
                  <a:pos x="wd2" y="hd2"/>
                </a:cxn>
              </a:cxnLst>
              <a:rect l="0" t="0" r="r" b="b"/>
              <a:pathLst>
                <a:path w="21561" h="20540" extrusionOk="0">
                  <a:moveTo>
                    <a:pt x="1424" y="7264"/>
                  </a:moveTo>
                  <a:cubicBezTo>
                    <a:pt x="3112" y="8979"/>
                    <a:pt x="10990" y="7495"/>
                    <a:pt x="11834" y="8979"/>
                  </a:cubicBezTo>
                  <a:cubicBezTo>
                    <a:pt x="12678" y="10464"/>
                    <a:pt x="11834" y="18630"/>
                    <a:pt x="13804" y="20115"/>
                  </a:cubicBezTo>
                  <a:cubicBezTo>
                    <a:pt x="15773" y="21600"/>
                    <a:pt x="20557" y="18630"/>
                    <a:pt x="21401" y="19744"/>
                  </a:cubicBezTo>
                  <a:cubicBezTo>
                    <a:pt x="21488" y="19859"/>
                    <a:pt x="21528" y="20056"/>
                    <a:pt x="21547" y="20291"/>
                  </a:cubicBezTo>
                  <a:cubicBezTo>
                    <a:pt x="21584" y="19754"/>
                    <a:pt x="21554" y="19340"/>
                    <a:pt x="21401" y="19138"/>
                  </a:cubicBezTo>
                  <a:cubicBezTo>
                    <a:pt x="20557" y="18024"/>
                    <a:pt x="15773" y="20994"/>
                    <a:pt x="13804" y="19509"/>
                  </a:cubicBezTo>
                  <a:cubicBezTo>
                    <a:pt x="11834" y="18024"/>
                    <a:pt x="12678" y="9858"/>
                    <a:pt x="11834" y="8373"/>
                  </a:cubicBezTo>
                  <a:cubicBezTo>
                    <a:pt x="10990" y="6889"/>
                    <a:pt x="3112" y="8373"/>
                    <a:pt x="1424" y="6658"/>
                  </a:cubicBezTo>
                  <a:cubicBezTo>
                    <a:pt x="217" y="5432"/>
                    <a:pt x="18" y="1912"/>
                    <a:pt x="2" y="0"/>
                  </a:cubicBezTo>
                  <a:cubicBezTo>
                    <a:pt x="-16" y="1650"/>
                    <a:pt x="74" y="5893"/>
                    <a:pt x="1424" y="7264"/>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6" name="Shape">
              <a:extLst>
                <a:ext uri="{FF2B5EF4-FFF2-40B4-BE49-F238E27FC236}">
                  <a16:creationId xmlns:a16="http://schemas.microsoft.com/office/drawing/2014/main" id="{44185886-A283-D846-8309-B2CB8DFB740E}"/>
                </a:ext>
              </a:extLst>
            </p:cNvPr>
            <p:cNvSpPr/>
            <p:nvPr/>
          </p:nvSpPr>
          <p:spPr>
            <a:xfrm>
              <a:off x="13969999" y="11074400"/>
              <a:ext cx="94760" cy="85731"/>
            </a:xfrm>
            <a:custGeom>
              <a:avLst/>
              <a:gdLst/>
              <a:ahLst/>
              <a:cxnLst>
                <a:cxn ang="0">
                  <a:pos x="wd2" y="hd2"/>
                </a:cxn>
                <a:cxn ang="5400000">
                  <a:pos x="wd2" y="hd2"/>
                </a:cxn>
                <a:cxn ang="10800000">
                  <a:pos x="wd2" y="hd2"/>
                </a:cxn>
                <a:cxn ang="16200000">
                  <a:pos x="wd2" y="hd2"/>
                </a:cxn>
              </a:cxnLst>
              <a:rect l="0" t="0" r="r" b="b"/>
              <a:pathLst>
                <a:path w="21575" h="21600" extrusionOk="0">
                  <a:moveTo>
                    <a:pt x="852" y="4555"/>
                  </a:moveTo>
                  <a:cubicBezTo>
                    <a:pt x="2766" y="6143"/>
                    <a:pt x="21271" y="21371"/>
                    <a:pt x="21550" y="21600"/>
                  </a:cubicBezTo>
                  <a:cubicBezTo>
                    <a:pt x="21558" y="21069"/>
                    <a:pt x="21575" y="20750"/>
                    <a:pt x="21575" y="20750"/>
                  </a:cubicBezTo>
                  <a:cubicBezTo>
                    <a:pt x="21575" y="20750"/>
                    <a:pt x="2780" y="5284"/>
                    <a:pt x="852" y="3685"/>
                  </a:cubicBezTo>
                  <a:cubicBezTo>
                    <a:pt x="263" y="3196"/>
                    <a:pt x="37" y="1757"/>
                    <a:pt x="3" y="0"/>
                  </a:cubicBezTo>
                  <a:cubicBezTo>
                    <a:pt x="-25" y="2140"/>
                    <a:pt x="169" y="3988"/>
                    <a:pt x="852" y="455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7" name="Shape">
              <a:extLst>
                <a:ext uri="{FF2B5EF4-FFF2-40B4-BE49-F238E27FC236}">
                  <a16:creationId xmlns:a16="http://schemas.microsoft.com/office/drawing/2014/main" id="{A369198D-5C88-834D-8760-879AB1E8505C}"/>
                </a:ext>
              </a:extLst>
            </p:cNvPr>
            <p:cNvSpPr/>
            <p:nvPr/>
          </p:nvSpPr>
          <p:spPr>
            <a:xfrm>
              <a:off x="14223999" y="11315700"/>
              <a:ext cx="3059" cy="7760"/>
            </a:xfrm>
            <a:custGeom>
              <a:avLst/>
              <a:gdLst/>
              <a:ahLst/>
              <a:cxnLst>
                <a:cxn ang="0">
                  <a:pos x="wd2" y="hd2"/>
                </a:cxn>
                <a:cxn ang="5400000">
                  <a:pos x="wd2" y="hd2"/>
                </a:cxn>
                <a:cxn ang="10800000">
                  <a:pos x="wd2" y="hd2"/>
                </a:cxn>
                <a:cxn ang="16200000">
                  <a:pos x="wd2" y="hd2"/>
                </a:cxn>
              </a:cxnLst>
              <a:rect l="0" t="0" r="r" b="b"/>
              <a:pathLst>
                <a:path w="21296" h="21600" extrusionOk="0">
                  <a:moveTo>
                    <a:pt x="21296" y="15422"/>
                  </a:moveTo>
                  <a:cubicBezTo>
                    <a:pt x="8919" y="12595"/>
                    <a:pt x="2558" y="7123"/>
                    <a:pt x="31" y="0"/>
                  </a:cubicBezTo>
                  <a:cubicBezTo>
                    <a:pt x="-304" y="9000"/>
                    <a:pt x="2018" y="16902"/>
                    <a:pt x="11684" y="21600"/>
                  </a:cubicBezTo>
                  <a:cubicBezTo>
                    <a:pt x="12030" y="21376"/>
                    <a:pt x="15864" y="18890"/>
                    <a:pt x="21296" y="15422"/>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8" name="Shape">
              <a:extLst>
                <a:ext uri="{FF2B5EF4-FFF2-40B4-BE49-F238E27FC236}">
                  <a16:creationId xmlns:a16="http://schemas.microsoft.com/office/drawing/2014/main" id="{C42B6F4B-F0CF-134D-9247-F0382ED19A74}"/>
                </a:ext>
              </a:extLst>
            </p:cNvPr>
            <p:cNvSpPr/>
            <p:nvPr/>
          </p:nvSpPr>
          <p:spPr>
            <a:xfrm>
              <a:off x="14223999" y="11328400"/>
              <a:ext cx="45335" cy="92733"/>
            </a:xfrm>
            <a:custGeom>
              <a:avLst/>
              <a:gdLst/>
              <a:ahLst/>
              <a:cxnLst>
                <a:cxn ang="0">
                  <a:pos x="wd2" y="hd2"/>
                </a:cxn>
                <a:cxn ang="5400000">
                  <a:pos x="wd2" y="hd2"/>
                </a:cxn>
                <a:cxn ang="10800000">
                  <a:pos x="wd2" y="hd2"/>
                </a:cxn>
                <a:cxn ang="16200000">
                  <a:pos x="wd2" y="hd2"/>
                </a:cxn>
              </a:cxnLst>
              <a:rect l="0" t="0" r="r" b="b"/>
              <a:pathLst>
                <a:path w="20279" h="21600" extrusionOk="0">
                  <a:moveTo>
                    <a:pt x="62" y="21600"/>
                  </a:moveTo>
                  <a:cubicBezTo>
                    <a:pt x="1308" y="17175"/>
                    <a:pt x="18376" y="3702"/>
                    <a:pt x="20084" y="1033"/>
                  </a:cubicBezTo>
                  <a:cubicBezTo>
                    <a:pt x="20358" y="606"/>
                    <a:pt x="20316" y="279"/>
                    <a:pt x="20125" y="0"/>
                  </a:cubicBezTo>
                  <a:cubicBezTo>
                    <a:pt x="20090" y="83"/>
                    <a:pt x="20142" y="138"/>
                    <a:pt x="20085" y="227"/>
                  </a:cubicBezTo>
                  <a:cubicBezTo>
                    <a:pt x="18252" y="3090"/>
                    <a:pt x="-1242" y="18375"/>
                    <a:pt x="62" y="2160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59" name="Shape">
              <a:extLst>
                <a:ext uri="{FF2B5EF4-FFF2-40B4-BE49-F238E27FC236}">
                  <a16:creationId xmlns:a16="http://schemas.microsoft.com/office/drawing/2014/main" id="{5BA1C699-BB38-1244-82EE-14A6F5349217}"/>
                </a:ext>
              </a:extLst>
            </p:cNvPr>
            <p:cNvSpPr/>
            <p:nvPr/>
          </p:nvSpPr>
          <p:spPr>
            <a:xfrm>
              <a:off x="14223999" y="11417299"/>
              <a:ext cx="36760" cy="65991"/>
            </a:xfrm>
            <a:custGeom>
              <a:avLst/>
              <a:gdLst/>
              <a:ahLst/>
              <a:cxnLst>
                <a:cxn ang="0">
                  <a:pos x="wd2" y="hd2"/>
                </a:cxn>
                <a:cxn ang="5400000">
                  <a:pos x="wd2" y="hd2"/>
                </a:cxn>
                <a:cxn ang="10800000">
                  <a:pos x="wd2" y="hd2"/>
                </a:cxn>
                <a:cxn ang="16200000">
                  <a:pos x="wd2" y="hd2"/>
                </a:cxn>
              </a:cxnLst>
              <a:rect l="0" t="0" r="r" b="b"/>
              <a:pathLst>
                <a:path w="20262" h="21600" extrusionOk="0">
                  <a:moveTo>
                    <a:pt x="280" y="1582"/>
                  </a:moveTo>
                  <a:cubicBezTo>
                    <a:pt x="3447" y="4716"/>
                    <a:pt x="18974" y="16331"/>
                    <a:pt x="20190" y="21600"/>
                  </a:cubicBezTo>
                  <a:cubicBezTo>
                    <a:pt x="21539" y="17111"/>
                    <a:pt x="3700" y="3835"/>
                    <a:pt x="281" y="451"/>
                  </a:cubicBezTo>
                  <a:cubicBezTo>
                    <a:pt x="167" y="338"/>
                    <a:pt x="165" y="152"/>
                    <a:pt x="111" y="0"/>
                  </a:cubicBezTo>
                  <a:cubicBezTo>
                    <a:pt x="-55" y="674"/>
                    <a:pt x="-61" y="1243"/>
                    <a:pt x="280" y="1582"/>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0" name="Shape">
              <a:extLst>
                <a:ext uri="{FF2B5EF4-FFF2-40B4-BE49-F238E27FC236}">
                  <a16:creationId xmlns:a16="http://schemas.microsoft.com/office/drawing/2014/main" id="{4C367065-FCB6-DF48-90B0-0AAE2F4FDDB0}"/>
                </a:ext>
              </a:extLst>
            </p:cNvPr>
            <p:cNvSpPr/>
            <p:nvPr/>
          </p:nvSpPr>
          <p:spPr>
            <a:xfrm>
              <a:off x="14224000" y="11315700"/>
              <a:ext cx="37621" cy="10354"/>
            </a:xfrm>
            <a:custGeom>
              <a:avLst/>
              <a:gdLst/>
              <a:ahLst/>
              <a:cxnLst>
                <a:cxn ang="0">
                  <a:pos x="wd2" y="hd2"/>
                </a:cxn>
                <a:cxn ang="5400000">
                  <a:pos x="wd2" y="hd2"/>
                </a:cxn>
                <a:cxn ang="10800000">
                  <a:pos x="wd2" y="hd2"/>
                </a:cxn>
                <a:cxn ang="16200000">
                  <a:pos x="wd2" y="hd2"/>
                </a:cxn>
              </a:cxnLst>
              <a:rect l="0" t="0" r="r" b="b"/>
              <a:pathLst>
                <a:path w="20347" h="19728" extrusionOk="0">
                  <a:moveTo>
                    <a:pt x="1875" y="8007"/>
                  </a:moveTo>
                  <a:cubicBezTo>
                    <a:pt x="8731" y="11461"/>
                    <a:pt x="18869" y="6203"/>
                    <a:pt x="20240" y="19728"/>
                  </a:cubicBezTo>
                  <a:cubicBezTo>
                    <a:pt x="21600" y="-1872"/>
                    <a:pt x="9644" y="5333"/>
                    <a:pt x="1875" y="1422"/>
                  </a:cubicBezTo>
                  <a:cubicBezTo>
                    <a:pt x="1434" y="1202"/>
                    <a:pt x="1075" y="660"/>
                    <a:pt x="746" y="0"/>
                  </a:cubicBezTo>
                  <a:cubicBezTo>
                    <a:pt x="324" y="2373"/>
                    <a:pt x="27" y="4075"/>
                    <a:pt x="0" y="4229"/>
                  </a:cubicBezTo>
                  <a:cubicBezTo>
                    <a:pt x="451" y="6164"/>
                    <a:pt x="1036" y="7586"/>
                    <a:pt x="1875" y="8007"/>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1" name="Shape">
              <a:extLst>
                <a:ext uri="{FF2B5EF4-FFF2-40B4-BE49-F238E27FC236}">
                  <a16:creationId xmlns:a16="http://schemas.microsoft.com/office/drawing/2014/main" id="{96F2E514-EE66-8848-BCB5-95821CE1FD15}"/>
                </a:ext>
              </a:extLst>
            </p:cNvPr>
            <p:cNvSpPr/>
            <p:nvPr/>
          </p:nvSpPr>
          <p:spPr>
            <a:xfrm>
              <a:off x="14211300" y="11493500"/>
              <a:ext cx="46874" cy="98372"/>
            </a:xfrm>
            <a:custGeom>
              <a:avLst/>
              <a:gdLst/>
              <a:ahLst/>
              <a:cxnLst>
                <a:cxn ang="0">
                  <a:pos x="wd2" y="hd2"/>
                </a:cxn>
                <a:cxn ang="5400000">
                  <a:pos x="wd2" y="hd2"/>
                </a:cxn>
                <a:cxn ang="10800000">
                  <a:pos x="wd2" y="hd2"/>
                </a:cxn>
                <a:cxn ang="16200000">
                  <a:pos x="wd2" y="hd2"/>
                </a:cxn>
              </a:cxnLst>
              <a:rect l="0" t="0" r="r" b="b"/>
              <a:pathLst>
                <a:path w="21556" h="21600" extrusionOk="0">
                  <a:moveTo>
                    <a:pt x="0" y="21600"/>
                  </a:moveTo>
                  <a:lnTo>
                    <a:pt x="793" y="21600"/>
                  </a:lnTo>
                  <a:cubicBezTo>
                    <a:pt x="4441" y="18105"/>
                    <a:pt x="19701" y="3433"/>
                    <a:pt x="21415" y="979"/>
                  </a:cubicBezTo>
                  <a:cubicBezTo>
                    <a:pt x="21600" y="713"/>
                    <a:pt x="21583" y="373"/>
                    <a:pt x="21476" y="0"/>
                  </a:cubicBezTo>
                  <a:cubicBezTo>
                    <a:pt x="21450" y="71"/>
                    <a:pt x="21460" y="156"/>
                    <a:pt x="21415" y="221"/>
                  </a:cubicBezTo>
                  <a:cubicBezTo>
                    <a:pt x="19468" y="3009"/>
                    <a:pt x="0" y="21600"/>
                    <a:pt x="0" y="2160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2" name="Shape">
              <a:extLst>
                <a:ext uri="{FF2B5EF4-FFF2-40B4-BE49-F238E27FC236}">
                  <a16:creationId xmlns:a16="http://schemas.microsoft.com/office/drawing/2014/main" id="{D2B65E73-2985-ED48-A9B0-588BEE49ADE0}"/>
                </a:ext>
              </a:extLst>
            </p:cNvPr>
            <p:cNvSpPr/>
            <p:nvPr/>
          </p:nvSpPr>
          <p:spPr>
            <a:xfrm>
              <a:off x="13919200" y="11125200"/>
              <a:ext cx="1383161" cy="1469114"/>
            </a:xfrm>
            <a:custGeom>
              <a:avLst/>
              <a:gdLst/>
              <a:ahLst/>
              <a:cxnLst>
                <a:cxn ang="0">
                  <a:pos x="wd2" y="hd2"/>
                </a:cxn>
                <a:cxn ang="5400000">
                  <a:pos x="wd2" y="hd2"/>
                </a:cxn>
                <a:cxn ang="10800000">
                  <a:pos x="wd2" y="hd2"/>
                </a:cxn>
                <a:cxn ang="16200000">
                  <a:pos x="wd2" y="hd2"/>
                </a:cxn>
              </a:cxnLst>
              <a:rect l="0" t="0" r="r" b="b"/>
              <a:pathLst>
                <a:path w="21600" h="21563" extrusionOk="0">
                  <a:moveTo>
                    <a:pt x="21600" y="6808"/>
                  </a:moveTo>
                  <a:cubicBezTo>
                    <a:pt x="21600" y="6808"/>
                    <a:pt x="19513" y="4171"/>
                    <a:pt x="19490" y="3984"/>
                  </a:cubicBezTo>
                  <a:cubicBezTo>
                    <a:pt x="19468" y="3798"/>
                    <a:pt x="19562" y="2447"/>
                    <a:pt x="19490" y="2237"/>
                  </a:cubicBezTo>
                  <a:cubicBezTo>
                    <a:pt x="19418" y="2027"/>
                    <a:pt x="18204" y="1561"/>
                    <a:pt x="18080" y="1421"/>
                  </a:cubicBezTo>
                  <a:cubicBezTo>
                    <a:pt x="17967" y="1294"/>
                    <a:pt x="17772" y="223"/>
                    <a:pt x="17738" y="32"/>
                  </a:cubicBezTo>
                  <a:cubicBezTo>
                    <a:pt x="17715" y="57"/>
                    <a:pt x="17699" y="74"/>
                    <a:pt x="17699" y="74"/>
                  </a:cubicBezTo>
                  <a:cubicBezTo>
                    <a:pt x="17699" y="74"/>
                    <a:pt x="17715" y="57"/>
                    <a:pt x="17738" y="32"/>
                  </a:cubicBezTo>
                  <a:cubicBezTo>
                    <a:pt x="17735" y="13"/>
                    <a:pt x="17733" y="0"/>
                    <a:pt x="17733" y="0"/>
                  </a:cubicBezTo>
                  <a:cubicBezTo>
                    <a:pt x="17733" y="0"/>
                    <a:pt x="15923" y="1794"/>
                    <a:pt x="15700" y="1794"/>
                  </a:cubicBezTo>
                  <a:cubicBezTo>
                    <a:pt x="15477" y="1794"/>
                    <a:pt x="13915" y="1305"/>
                    <a:pt x="13667" y="1328"/>
                  </a:cubicBezTo>
                  <a:cubicBezTo>
                    <a:pt x="13419" y="1351"/>
                    <a:pt x="11361" y="1794"/>
                    <a:pt x="11188" y="1887"/>
                  </a:cubicBezTo>
                  <a:cubicBezTo>
                    <a:pt x="11014" y="1981"/>
                    <a:pt x="10642" y="2703"/>
                    <a:pt x="10469" y="2726"/>
                  </a:cubicBezTo>
                  <a:cubicBezTo>
                    <a:pt x="10295" y="2750"/>
                    <a:pt x="9626" y="2377"/>
                    <a:pt x="9378" y="2307"/>
                  </a:cubicBezTo>
                  <a:cubicBezTo>
                    <a:pt x="9130" y="2237"/>
                    <a:pt x="8882" y="1421"/>
                    <a:pt x="8758" y="1421"/>
                  </a:cubicBezTo>
                  <a:cubicBezTo>
                    <a:pt x="8634" y="1421"/>
                    <a:pt x="8015" y="2260"/>
                    <a:pt x="7866" y="2260"/>
                  </a:cubicBezTo>
                  <a:cubicBezTo>
                    <a:pt x="7717" y="2260"/>
                    <a:pt x="7284" y="1678"/>
                    <a:pt x="6918" y="1631"/>
                  </a:cubicBezTo>
                  <a:cubicBezTo>
                    <a:pt x="6552" y="1584"/>
                    <a:pt x="6180" y="1771"/>
                    <a:pt x="5808" y="1817"/>
                  </a:cubicBezTo>
                  <a:cubicBezTo>
                    <a:pt x="5474" y="1859"/>
                    <a:pt x="4883" y="2724"/>
                    <a:pt x="4767" y="2898"/>
                  </a:cubicBezTo>
                  <a:cubicBezTo>
                    <a:pt x="4777" y="2903"/>
                    <a:pt x="4787" y="2907"/>
                    <a:pt x="4800" y="2909"/>
                  </a:cubicBezTo>
                  <a:cubicBezTo>
                    <a:pt x="5024" y="2939"/>
                    <a:pt x="5369" y="2883"/>
                    <a:pt x="5330" y="3050"/>
                  </a:cubicBezTo>
                  <a:cubicBezTo>
                    <a:pt x="5337" y="3067"/>
                    <a:pt x="5338" y="3088"/>
                    <a:pt x="5329" y="3115"/>
                  </a:cubicBezTo>
                  <a:cubicBezTo>
                    <a:pt x="5269" y="3283"/>
                    <a:pt x="4673" y="4132"/>
                    <a:pt x="4630" y="4411"/>
                  </a:cubicBezTo>
                  <a:cubicBezTo>
                    <a:pt x="4631" y="4417"/>
                    <a:pt x="4631" y="4426"/>
                    <a:pt x="4635" y="4431"/>
                  </a:cubicBezTo>
                  <a:cubicBezTo>
                    <a:pt x="4732" y="4583"/>
                    <a:pt x="5237" y="5178"/>
                    <a:pt x="5199" y="5379"/>
                  </a:cubicBezTo>
                  <a:cubicBezTo>
                    <a:pt x="5202" y="5404"/>
                    <a:pt x="5203" y="5427"/>
                    <a:pt x="5197" y="5445"/>
                  </a:cubicBezTo>
                  <a:cubicBezTo>
                    <a:pt x="5138" y="5609"/>
                    <a:pt x="4620" y="6589"/>
                    <a:pt x="4496" y="6823"/>
                  </a:cubicBezTo>
                  <a:lnTo>
                    <a:pt x="5337" y="6823"/>
                  </a:lnTo>
                  <a:lnTo>
                    <a:pt x="6918" y="7910"/>
                  </a:lnTo>
                  <a:cubicBezTo>
                    <a:pt x="6918" y="7910"/>
                    <a:pt x="6907" y="7922"/>
                    <a:pt x="6889" y="7941"/>
                  </a:cubicBezTo>
                  <a:lnTo>
                    <a:pt x="6918" y="7961"/>
                  </a:lnTo>
                  <a:cubicBezTo>
                    <a:pt x="6918" y="7961"/>
                    <a:pt x="3727" y="11244"/>
                    <a:pt x="3388" y="11482"/>
                  </a:cubicBezTo>
                  <a:cubicBezTo>
                    <a:pt x="3048" y="11720"/>
                    <a:pt x="2751" y="11596"/>
                    <a:pt x="2585" y="11751"/>
                  </a:cubicBezTo>
                  <a:cubicBezTo>
                    <a:pt x="2420" y="11907"/>
                    <a:pt x="2453" y="12559"/>
                    <a:pt x="2222" y="12621"/>
                  </a:cubicBezTo>
                  <a:cubicBezTo>
                    <a:pt x="1990" y="12684"/>
                    <a:pt x="1660" y="12777"/>
                    <a:pt x="1528" y="12808"/>
                  </a:cubicBezTo>
                  <a:cubicBezTo>
                    <a:pt x="1395" y="12839"/>
                    <a:pt x="338" y="15775"/>
                    <a:pt x="338" y="16513"/>
                  </a:cubicBezTo>
                  <a:cubicBezTo>
                    <a:pt x="338" y="17251"/>
                    <a:pt x="61" y="19965"/>
                    <a:pt x="32" y="20338"/>
                  </a:cubicBezTo>
                  <a:cubicBezTo>
                    <a:pt x="3" y="20703"/>
                    <a:pt x="0" y="21225"/>
                    <a:pt x="0" y="21247"/>
                  </a:cubicBezTo>
                  <a:lnTo>
                    <a:pt x="0" y="21249"/>
                  </a:lnTo>
                  <a:cubicBezTo>
                    <a:pt x="97" y="21203"/>
                    <a:pt x="178" y="21171"/>
                    <a:pt x="230" y="21157"/>
                  </a:cubicBezTo>
                  <a:cubicBezTo>
                    <a:pt x="503" y="21087"/>
                    <a:pt x="825" y="20971"/>
                    <a:pt x="999" y="21017"/>
                  </a:cubicBezTo>
                  <a:cubicBezTo>
                    <a:pt x="1172" y="21064"/>
                    <a:pt x="924" y="21507"/>
                    <a:pt x="1197" y="21553"/>
                  </a:cubicBezTo>
                  <a:cubicBezTo>
                    <a:pt x="1470" y="21600"/>
                    <a:pt x="1718" y="21483"/>
                    <a:pt x="2015" y="21181"/>
                  </a:cubicBezTo>
                  <a:cubicBezTo>
                    <a:pt x="2313" y="20878"/>
                    <a:pt x="3230" y="20016"/>
                    <a:pt x="3478" y="19969"/>
                  </a:cubicBezTo>
                  <a:cubicBezTo>
                    <a:pt x="3478" y="19969"/>
                    <a:pt x="3479" y="19969"/>
                    <a:pt x="3480" y="19969"/>
                  </a:cubicBezTo>
                  <a:cubicBezTo>
                    <a:pt x="3468" y="19948"/>
                    <a:pt x="3460" y="19937"/>
                    <a:pt x="3460" y="19937"/>
                  </a:cubicBezTo>
                  <a:cubicBezTo>
                    <a:pt x="3460" y="19937"/>
                    <a:pt x="3468" y="19948"/>
                    <a:pt x="3480" y="19969"/>
                  </a:cubicBezTo>
                  <a:cubicBezTo>
                    <a:pt x="3760" y="19924"/>
                    <a:pt x="16537" y="19835"/>
                    <a:pt x="17382" y="19829"/>
                  </a:cubicBezTo>
                  <a:cubicBezTo>
                    <a:pt x="17382" y="19537"/>
                    <a:pt x="17379" y="16139"/>
                    <a:pt x="17382" y="15938"/>
                  </a:cubicBezTo>
                  <a:cubicBezTo>
                    <a:pt x="17386" y="15728"/>
                    <a:pt x="18154" y="14074"/>
                    <a:pt x="18253" y="13864"/>
                  </a:cubicBezTo>
                  <a:cubicBezTo>
                    <a:pt x="18352" y="13654"/>
                    <a:pt x="19319" y="13049"/>
                    <a:pt x="19443" y="12629"/>
                  </a:cubicBezTo>
                  <a:cubicBezTo>
                    <a:pt x="19567" y="12210"/>
                    <a:pt x="20063" y="11860"/>
                    <a:pt x="20187" y="11767"/>
                  </a:cubicBezTo>
                  <a:cubicBezTo>
                    <a:pt x="20311" y="11674"/>
                    <a:pt x="20708" y="11534"/>
                    <a:pt x="20807" y="11371"/>
                  </a:cubicBezTo>
                  <a:cubicBezTo>
                    <a:pt x="20906" y="11208"/>
                    <a:pt x="20807" y="10555"/>
                    <a:pt x="20807" y="10555"/>
                  </a:cubicBezTo>
                  <a:lnTo>
                    <a:pt x="21501" y="9763"/>
                  </a:lnTo>
                  <a:cubicBezTo>
                    <a:pt x="21501" y="9763"/>
                    <a:pt x="21600" y="6808"/>
                    <a:pt x="21600" y="680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3" name="Shape">
              <a:extLst>
                <a:ext uri="{FF2B5EF4-FFF2-40B4-BE49-F238E27FC236}">
                  <a16:creationId xmlns:a16="http://schemas.microsoft.com/office/drawing/2014/main" id="{D2467098-8DD5-AB44-9A2B-606C3AFAA949}"/>
                </a:ext>
              </a:extLst>
            </p:cNvPr>
            <p:cNvSpPr/>
            <p:nvPr/>
          </p:nvSpPr>
          <p:spPr>
            <a:xfrm>
              <a:off x="13919199" y="11658599"/>
              <a:ext cx="443005" cy="906543"/>
            </a:xfrm>
            <a:custGeom>
              <a:avLst/>
              <a:gdLst/>
              <a:ahLst/>
              <a:cxnLst>
                <a:cxn ang="0">
                  <a:pos x="wd2" y="hd2"/>
                </a:cxn>
                <a:cxn ang="5400000">
                  <a:pos x="wd2" y="hd2"/>
                </a:cxn>
                <a:cxn ang="10800000">
                  <a:pos x="wd2" y="hd2"/>
                </a:cxn>
                <a:cxn ang="16200000">
                  <a:pos x="wd2" y="hd2"/>
                </a:cxn>
              </a:cxnLst>
              <a:rect l="0" t="0" r="r" b="b"/>
              <a:pathLst>
                <a:path w="21600" h="21600" extrusionOk="0">
                  <a:moveTo>
                    <a:pt x="10577" y="5666"/>
                  </a:moveTo>
                  <a:cubicBezTo>
                    <a:pt x="9517" y="6053"/>
                    <a:pt x="8588" y="5851"/>
                    <a:pt x="8072" y="6104"/>
                  </a:cubicBezTo>
                  <a:cubicBezTo>
                    <a:pt x="7556" y="6356"/>
                    <a:pt x="7659" y="7415"/>
                    <a:pt x="6937" y="7516"/>
                  </a:cubicBezTo>
                  <a:cubicBezTo>
                    <a:pt x="6214" y="7617"/>
                    <a:pt x="5182" y="7768"/>
                    <a:pt x="4769" y="7818"/>
                  </a:cubicBezTo>
                  <a:cubicBezTo>
                    <a:pt x="4356" y="7869"/>
                    <a:pt x="1054" y="12636"/>
                    <a:pt x="1054" y="13833"/>
                  </a:cubicBezTo>
                  <a:cubicBezTo>
                    <a:pt x="1054" y="15030"/>
                    <a:pt x="190" y="19437"/>
                    <a:pt x="99" y="20042"/>
                  </a:cubicBezTo>
                  <a:cubicBezTo>
                    <a:pt x="9" y="20647"/>
                    <a:pt x="0" y="21521"/>
                    <a:pt x="0" y="21521"/>
                  </a:cubicBezTo>
                  <a:lnTo>
                    <a:pt x="0" y="21600"/>
                  </a:lnTo>
                  <a:cubicBezTo>
                    <a:pt x="0" y="21565"/>
                    <a:pt x="11" y="20717"/>
                    <a:pt x="99" y="20124"/>
                  </a:cubicBezTo>
                  <a:cubicBezTo>
                    <a:pt x="190" y="19519"/>
                    <a:pt x="1054" y="15113"/>
                    <a:pt x="1054" y="13915"/>
                  </a:cubicBezTo>
                  <a:cubicBezTo>
                    <a:pt x="1054" y="12718"/>
                    <a:pt x="4356" y="7951"/>
                    <a:pt x="4769" y="7901"/>
                  </a:cubicBezTo>
                  <a:cubicBezTo>
                    <a:pt x="5182" y="7850"/>
                    <a:pt x="6214" y="7699"/>
                    <a:pt x="6937" y="7598"/>
                  </a:cubicBezTo>
                  <a:cubicBezTo>
                    <a:pt x="7659" y="7497"/>
                    <a:pt x="7556" y="6438"/>
                    <a:pt x="8072" y="6186"/>
                  </a:cubicBezTo>
                  <a:cubicBezTo>
                    <a:pt x="8588" y="5934"/>
                    <a:pt x="9517" y="6135"/>
                    <a:pt x="10577" y="5749"/>
                  </a:cubicBezTo>
                  <a:cubicBezTo>
                    <a:pt x="11637" y="5362"/>
                    <a:pt x="21600" y="33"/>
                    <a:pt x="21600" y="33"/>
                  </a:cubicBezTo>
                  <a:lnTo>
                    <a:pt x="21508" y="0"/>
                  </a:lnTo>
                  <a:cubicBezTo>
                    <a:pt x="20525" y="525"/>
                    <a:pt x="11579" y="5301"/>
                    <a:pt x="10577" y="5666"/>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4" name="Shape">
              <a:extLst>
                <a:ext uri="{FF2B5EF4-FFF2-40B4-BE49-F238E27FC236}">
                  <a16:creationId xmlns:a16="http://schemas.microsoft.com/office/drawing/2014/main" id="{4B3B91B5-A35C-594E-ADA8-EB53518BFEC3}"/>
                </a:ext>
              </a:extLst>
            </p:cNvPr>
            <p:cNvSpPr/>
            <p:nvPr/>
          </p:nvSpPr>
          <p:spPr>
            <a:xfrm>
              <a:off x="14211299" y="11582399"/>
              <a:ext cx="156807" cy="76155"/>
            </a:xfrm>
            <a:custGeom>
              <a:avLst/>
              <a:gdLst/>
              <a:ahLst/>
              <a:cxnLst>
                <a:cxn ang="0">
                  <a:pos x="wd2" y="hd2"/>
                </a:cxn>
                <a:cxn ang="5400000">
                  <a:pos x="wd2" y="hd2"/>
                </a:cxn>
                <a:cxn ang="10800000">
                  <a:pos x="wd2" y="hd2"/>
                </a:cxn>
                <a:cxn ang="16200000">
                  <a:pos x="wd2" y="hd2"/>
                </a:cxn>
              </a:cxnLst>
              <a:rect l="0" t="0" r="r" b="b"/>
              <a:pathLst>
                <a:path w="21600" h="21600" extrusionOk="0">
                  <a:moveTo>
                    <a:pt x="7651" y="980"/>
                  </a:moveTo>
                  <a:lnTo>
                    <a:pt x="21339" y="21600"/>
                  </a:lnTo>
                  <a:cubicBezTo>
                    <a:pt x="21501" y="21235"/>
                    <a:pt x="21600" y="21013"/>
                    <a:pt x="21600" y="21013"/>
                  </a:cubicBezTo>
                  <a:lnTo>
                    <a:pt x="7651" y="0"/>
                  </a:lnTo>
                  <a:lnTo>
                    <a:pt x="237" y="0"/>
                  </a:lnTo>
                  <a:cubicBezTo>
                    <a:pt x="88" y="617"/>
                    <a:pt x="0" y="980"/>
                    <a:pt x="0" y="980"/>
                  </a:cubicBezTo>
                  <a:cubicBezTo>
                    <a:pt x="0" y="980"/>
                    <a:pt x="7651" y="980"/>
                    <a:pt x="7651" y="98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5" name="Shape">
              <a:extLst>
                <a:ext uri="{FF2B5EF4-FFF2-40B4-BE49-F238E27FC236}">
                  <a16:creationId xmlns:a16="http://schemas.microsoft.com/office/drawing/2014/main" id="{79292031-0A2A-7347-9A7A-C77723807CEF}"/>
                </a:ext>
              </a:extLst>
            </p:cNvPr>
            <p:cNvSpPr/>
            <p:nvPr/>
          </p:nvSpPr>
          <p:spPr>
            <a:xfrm>
              <a:off x="14224000" y="11277600"/>
              <a:ext cx="6491" cy="37937"/>
            </a:xfrm>
            <a:custGeom>
              <a:avLst/>
              <a:gdLst/>
              <a:ahLst/>
              <a:cxnLst>
                <a:cxn ang="0">
                  <a:pos x="wd2" y="hd2"/>
                </a:cxn>
                <a:cxn ang="5400000">
                  <a:pos x="wd2" y="hd2"/>
                </a:cxn>
                <a:cxn ang="10800000">
                  <a:pos x="wd2" y="hd2"/>
                </a:cxn>
                <a:cxn ang="16200000">
                  <a:pos x="wd2" y="hd2"/>
                </a:cxn>
              </a:cxnLst>
              <a:rect l="0" t="0" r="r" b="b"/>
              <a:pathLst>
                <a:path w="16634" h="21600" extrusionOk="0">
                  <a:moveTo>
                    <a:pt x="464" y="21600"/>
                  </a:moveTo>
                  <a:cubicBezTo>
                    <a:pt x="909" y="15063"/>
                    <a:pt x="18592" y="4561"/>
                    <a:pt x="16455" y="0"/>
                  </a:cubicBezTo>
                  <a:cubicBezTo>
                    <a:pt x="14067" y="5800"/>
                    <a:pt x="-3008" y="16135"/>
                    <a:pt x="464" y="2160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6" name="Shape">
              <a:extLst>
                <a:ext uri="{FF2B5EF4-FFF2-40B4-BE49-F238E27FC236}">
                  <a16:creationId xmlns:a16="http://schemas.microsoft.com/office/drawing/2014/main" id="{7F7B7364-ACF1-5D40-A1E3-B55B2703993D}"/>
                </a:ext>
              </a:extLst>
            </p:cNvPr>
            <p:cNvSpPr/>
            <p:nvPr/>
          </p:nvSpPr>
          <p:spPr>
            <a:xfrm>
              <a:off x="10020299" y="9372600"/>
              <a:ext cx="3340848" cy="2273414"/>
            </a:xfrm>
            <a:custGeom>
              <a:avLst/>
              <a:gdLst/>
              <a:ahLst/>
              <a:cxnLst>
                <a:cxn ang="0">
                  <a:pos x="wd2" y="hd2"/>
                </a:cxn>
                <a:cxn ang="5400000">
                  <a:pos x="wd2" y="hd2"/>
                </a:cxn>
                <a:cxn ang="10800000">
                  <a:pos x="wd2" y="hd2"/>
                </a:cxn>
                <a:cxn ang="16200000">
                  <a:pos x="wd2" y="hd2"/>
                </a:cxn>
              </a:cxnLst>
              <a:rect l="0" t="0" r="r" b="b"/>
              <a:pathLst>
                <a:path w="21594" h="21586" extrusionOk="0">
                  <a:moveTo>
                    <a:pt x="6872" y="17069"/>
                  </a:moveTo>
                  <a:cubicBezTo>
                    <a:pt x="6865" y="17010"/>
                    <a:pt x="6863" y="16917"/>
                    <a:pt x="6863" y="16820"/>
                  </a:cubicBezTo>
                  <a:cubicBezTo>
                    <a:pt x="6862" y="16630"/>
                    <a:pt x="6872" y="16413"/>
                    <a:pt x="6872" y="16413"/>
                  </a:cubicBezTo>
                  <a:cubicBezTo>
                    <a:pt x="6872" y="16413"/>
                    <a:pt x="7125" y="16303"/>
                    <a:pt x="7207" y="16142"/>
                  </a:cubicBezTo>
                  <a:cubicBezTo>
                    <a:pt x="7290" y="15981"/>
                    <a:pt x="7734" y="14936"/>
                    <a:pt x="7789" y="14876"/>
                  </a:cubicBezTo>
                  <a:cubicBezTo>
                    <a:pt x="7844" y="14815"/>
                    <a:pt x="8124" y="14735"/>
                    <a:pt x="8309" y="14655"/>
                  </a:cubicBezTo>
                  <a:cubicBezTo>
                    <a:pt x="8493" y="14574"/>
                    <a:pt x="8651" y="14444"/>
                    <a:pt x="8733" y="14444"/>
                  </a:cubicBezTo>
                  <a:cubicBezTo>
                    <a:pt x="8815" y="14444"/>
                    <a:pt x="9773" y="15268"/>
                    <a:pt x="9862" y="15358"/>
                  </a:cubicBezTo>
                  <a:cubicBezTo>
                    <a:pt x="9951" y="15449"/>
                    <a:pt x="10163" y="16212"/>
                    <a:pt x="10238" y="16252"/>
                  </a:cubicBezTo>
                  <a:cubicBezTo>
                    <a:pt x="10313" y="16293"/>
                    <a:pt x="11866" y="16303"/>
                    <a:pt x="12140" y="16403"/>
                  </a:cubicBezTo>
                  <a:cubicBezTo>
                    <a:pt x="12413" y="16504"/>
                    <a:pt x="12974" y="16966"/>
                    <a:pt x="13001" y="16966"/>
                  </a:cubicBezTo>
                  <a:cubicBezTo>
                    <a:pt x="13029" y="16966"/>
                    <a:pt x="13193" y="16835"/>
                    <a:pt x="13248" y="16835"/>
                  </a:cubicBezTo>
                  <a:cubicBezTo>
                    <a:pt x="13302" y="16835"/>
                    <a:pt x="13391" y="16875"/>
                    <a:pt x="13426" y="16815"/>
                  </a:cubicBezTo>
                  <a:cubicBezTo>
                    <a:pt x="13460" y="16755"/>
                    <a:pt x="13460" y="16504"/>
                    <a:pt x="13535" y="16393"/>
                  </a:cubicBezTo>
                  <a:cubicBezTo>
                    <a:pt x="13610" y="16283"/>
                    <a:pt x="13610" y="16092"/>
                    <a:pt x="13651" y="16031"/>
                  </a:cubicBezTo>
                  <a:cubicBezTo>
                    <a:pt x="13692" y="15971"/>
                    <a:pt x="13795" y="15921"/>
                    <a:pt x="13802" y="15881"/>
                  </a:cubicBezTo>
                  <a:cubicBezTo>
                    <a:pt x="13809" y="15840"/>
                    <a:pt x="13952" y="15278"/>
                    <a:pt x="14082" y="15258"/>
                  </a:cubicBezTo>
                  <a:cubicBezTo>
                    <a:pt x="14212" y="15237"/>
                    <a:pt x="14807" y="15770"/>
                    <a:pt x="14862" y="15750"/>
                  </a:cubicBezTo>
                  <a:cubicBezTo>
                    <a:pt x="14917" y="15730"/>
                    <a:pt x="15163" y="15338"/>
                    <a:pt x="15245" y="15298"/>
                  </a:cubicBezTo>
                  <a:cubicBezTo>
                    <a:pt x="15327" y="15258"/>
                    <a:pt x="16299" y="14976"/>
                    <a:pt x="16353" y="14956"/>
                  </a:cubicBezTo>
                  <a:cubicBezTo>
                    <a:pt x="16408" y="14936"/>
                    <a:pt x="16504" y="14373"/>
                    <a:pt x="16545" y="14444"/>
                  </a:cubicBezTo>
                  <a:cubicBezTo>
                    <a:pt x="16586" y="14514"/>
                    <a:pt x="17092" y="14976"/>
                    <a:pt x="17147" y="14996"/>
                  </a:cubicBezTo>
                  <a:cubicBezTo>
                    <a:pt x="17202" y="15016"/>
                    <a:pt x="17612" y="14916"/>
                    <a:pt x="17694" y="14916"/>
                  </a:cubicBezTo>
                  <a:cubicBezTo>
                    <a:pt x="17776" y="14916"/>
                    <a:pt x="18132" y="14594"/>
                    <a:pt x="18132" y="14594"/>
                  </a:cubicBezTo>
                  <a:lnTo>
                    <a:pt x="18187" y="13991"/>
                  </a:lnTo>
                  <a:cubicBezTo>
                    <a:pt x="18187" y="13991"/>
                    <a:pt x="18419" y="13831"/>
                    <a:pt x="18474" y="13831"/>
                  </a:cubicBezTo>
                  <a:cubicBezTo>
                    <a:pt x="18529" y="13831"/>
                    <a:pt x="18980" y="14233"/>
                    <a:pt x="19062" y="14293"/>
                  </a:cubicBezTo>
                  <a:cubicBezTo>
                    <a:pt x="19144" y="14353"/>
                    <a:pt x="19377" y="13971"/>
                    <a:pt x="19555" y="14092"/>
                  </a:cubicBezTo>
                  <a:cubicBezTo>
                    <a:pt x="19733" y="14213"/>
                    <a:pt x="19924" y="14635"/>
                    <a:pt x="20034" y="14675"/>
                  </a:cubicBezTo>
                  <a:cubicBezTo>
                    <a:pt x="20143" y="14715"/>
                    <a:pt x="20663" y="14675"/>
                    <a:pt x="20718" y="14675"/>
                  </a:cubicBezTo>
                  <a:cubicBezTo>
                    <a:pt x="20772" y="14675"/>
                    <a:pt x="21087" y="14233"/>
                    <a:pt x="21169" y="14273"/>
                  </a:cubicBezTo>
                  <a:cubicBezTo>
                    <a:pt x="21242" y="14309"/>
                    <a:pt x="21530" y="14534"/>
                    <a:pt x="21594" y="14584"/>
                  </a:cubicBezTo>
                  <a:cubicBezTo>
                    <a:pt x="21540" y="14295"/>
                    <a:pt x="21320" y="13129"/>
                    <a:pt x="21272" y="13050"/>
                  </a:cubicBezTo>
                  <a:cubicBezTo>
                    <a:pt x="21217" y="12959"/>
                    <a:pt x="20061" y="12256"/>
                    <a:pt x="20013" y="12195"/>
                  </a:cubicBezTo>
                  <a:cubicBezTo>
                    <a:pt x="19965" y="12135"/>
                    <a:pt x="20129" y="11864"/>
                    <a:pt x="20123" y="11803"/>
                  </a:cubicBezTo>
                  <a:cubicBezTo>
                    <a:pt x="20116" y="11743"/>
                    <a:pt x="19712" y="11211"/>
                    <a:pt x="19705" y="11160"/>
                  </a:cubicBezTo>
                  <a:cubicBezTo>
                    <a:pt x="19698" y="11110"/>
                    <a:pt x="19863" y="10889"/>
                    <a:pt x="19869" y="10849"/>
                  </a:cubicBezTo>
                  <a:cubicBezTo>
                    <a:pt x="19876" y="10809"/>
                    <a:pt x="17968" y="8899"/>
                    <a:pt x="17886" y="8698"/>
                  </a:cubicBezTo>
                  <a:cubicBezTo>
                    <a:pt x="17804" y="8497"/>
                    <a:pt x="18132" y="7995"/>
                    <a:pt x="18077" y="7894"/>
                  </a:cubicBezTo>
                  <a:cubicBezTo>
                    <a:pt x="18022" y="7794"/>
                    <a:pt x="17407" y="6930"/>
                    <a:pt x="17284" y="6930"/>
                  </a:cubicBezTo>
                  <a:cubicBezTo>
                    <a:pt x="17161" y="6930"/>
                    <a:pt x="16435" y="6769"/>
                    <a:pt x="16340" y="6709"/>
                  </a:cubicBezTo>
                  <a:cubicBezTo>
                    <a:pt x="16244" y="6648"/>
                    <a:pt x="16367" y="5764"/>
                    <a:pt x="16271" y="5744"/>
                  </a:cubicBezTo>
                  <a:cubicBezTo>
                    <a:pt x="16176" y="5724"/>
                    <a:pt x="15259" y="5644"/>
                    <a:pt x="15190" y="5644"/>
                  </a:cubicBezTo>
                  <a:cubicBezTo>
                    <a:pt x="15122" y="5644"/>
                    <a:pt x="15095" y="5352"/>
                    <a:pt x="15115" y="5272"/>
                  </a:cubicBezTo>
                  <a:cubicBezTo>
                    <a:pt x="15136" y="5191"/>
                    <a:pt x="15218" y="5031"/>
                    <a:pt x="15225" y="4990"/>
                  </a:cubicBezTo>
                  <a:cubicBezTo>
                    <a:pt x="15232" y="4950"/>
                    <a:pt x="14992" y="4880"/>
                    <a:pt x="14978" y="4779"/>
                  </a:cubicBezTo>
                  <a:cubicBezTo>
                    <a:pt x="14965" y="4679"/>
                    <a:pt x="15320" y="4287"/>
                    <a:pt x="15334" y="4227"/>
                  </a:cubicBezTo>
                  <a:cubicBezTo>
                    <a:pt x="15347" y="4172"/>
                    <a:pt x="15383" y="3404"/>
                    <a:pt x="15390" y="3271"/>
                  </a:cubicBezTo>
                  <a:cubicBezTo>
                    <a:pt x="15329" y="3068"/>
                    <a:pt x="14831" y="1405"/>
                    <a:pt x="14766" y="1282"/>
                  </a:cubicBezTo>
                  <a:cubicBezTo>
                    <a:pt x="14698" y="1152"/>
                    <a:pt x="14018" y="133"/>
                    <a:pt x="14018" y="133"/>
                  </a:cubicBezTo>
                  <a:cubicBezTo>
                    <a:pt x="14013" y="154"/>
                    <a:pt x="14010" y="167"/>
                    <a:pt x="14010" y="167"/>
                  </a:cubicBezTo>
                  <a:cubicBezTo>
                    <a:pt x="14010" y="167"/>
                    <a:pt x="14013" y="154"/>
                    <a:pt x="14018" y="133"/>
                  </a:cubicBezTo>
                  <a:cubicBezTo>
                    <a:pt x="14018" y="133"/>
                    <a:pt x="13441" y="-14"/>
                    <a:pt x="13405" y="1"/>
                  </a:cubicBezTo>
                  <a:cubicBezTo>
                    <a:pt x="13369" y="16"/>
                    <a:pt x="12210" y="529"/>
                    <a:pt x="12189" y="529"/>
                  </a:cubicBezTo>
                  <a:cubicBezTo>
                    <a:pt x="12169" y="529"/>
                    <a:pt x="12071" y="1885"/>
                    <a:pt x="12071" y="1885"/>
                  </a:cubicBezTo>
                  <a:cubicBezTo>
                    <a:pt x="12071" y="1885"/>
                    <a:pt x="11250" y="2729"/>
                    <a:pt x="11127" y="2820"/>
                  </a:cubicBezTo>
                  <a:cubicBezTo>
                    <a:pt x="11004" y="2910"/>
                    <a:pt x="10081" y="4568"/>
                    <a:pt x="9937" y="4629"/>
                  </a:cubicBezTo>
                  <a:cubicBezTo>
                    <a:pt x="9793" y="4689"/>
                    <a:pt x="7392" y="5171"/>
                    <a:pt x="7392" y="5171"/>
                  </a:cubicBezTo>
                  <a:lnTo>
                    <a:pt x="7741" y="5774"/>
                  </a:lnTo>
                  <a:lnTo>
                    <a:pt x="6920" y="7281"/>
                  </a:lnTo>
                  <a:cubicBezTo>
                    <a:pt x="6920" y="7281"/>
                    <a:pt x="5443" y="7432"/>
                    <a:pt x="5360" y="7432"/>
                  </a:cubicBezTo>
                  <a:cubicBezTo>
                    <a:pt x="5278" y="7432"/>
                    <a:pt x="3965" y="8608"/>
                    <a:pt x="3903" y="8578"/>
                  </a:cubicBezTo>
                  <a:cubicBezTo>
                    <a:pt x="3842" y="8548"/>
                    <a:pt x="3657" y="7734"/>
                    <a:pt x="3555" y="7734"/>
                  </a:cubicBezTo>
                  <a:cubicBezTo>
                    <a:pt x="3452" y="7734"/>
                    <a:pt x="2645" y="8698"/>
                    <a:pt x="2576" y="8698"/>
                  </a:cubicBezTo>
                  <a:cubicBezTo>
                    <a:pt x="2508" y="8698"/>
                    <a:pt x="1742" y="8558"/>
                    <a:pt x="1742" y="8558"/>
                  </a:cubicBezTo>
                  <a:lnTo>
                    <a:pt x="1742" y="8554"/>
                  </a:lnTo>
                  <a:cubicBezTo>
                    <a:pt x="1664" y="8670"/>
                    <a:pt x="1342" y="9148"/>
                    <a:pt x="1297" y="9241"/>
                  </a:cubicBezTo>
                  <a:cubicBezTo>
                    <a:pt x="1246" y="9347"/>
                    <a:pt x="528" y="11623"/>
                    <a:pt x="497" y="11728"/>
                  </a:cubicBezTo>
                  <a:cubicBezTo>
                    <a:pt x="466" y="11834"/>
                    <a:pt x="17" y="12229"/>
                    <a:pt x="17" y="12229"/>
                  </a:cubicBezTo>
                  <a:cubicBezTo>
                    <a:pt x="17" y="12229"/>
                    <a:pt x="-6" y="12271"/>
                    <a:pt x="2" y="12308"/>
                  </a:cubicBezTo>
                  <a:cubicBezTo>
                    <a:pt x="9" y="12346"/>
                    <a:pt x="268" y="12617"/>
                    <a:pt x="274" y="12663"/>
                  </a:cubicBezTo>
                  <a:cubicBezTo>
                    <a:pt x="279" y="12708"/>
                    <a:pt x="153" y="14057"/>
                    <a:pt x="171" y="14117"/>
                  </a:cubicBezTo>
                  <a:cubicBezTo>
                    <a:pt x="189" y="14177"/>
                    <a:pt x="412" y="14486"/>
                    <a:pt x="422" y="14524"/>
                  </a:cubicBezTo>
                  <a:cubicBezTo>
                    <a:pt x="433" y="14562"/>
                    <a:pt x="456" y="15632"/>
                    <a:pt x="476" y="15738"/>
                  </a:cubicBezTo>
                  <a:cubicBezTo>
                    <a:pt x="497" y="15843"/>
                    <a:pt x="938" y="16250"/>
                    <a:pt x="1020" y="16325"/>
                  </a:cubicBezTo>
                  <a:cubicBezTo>
                    <a:pt x="1102" y="16401"/>
                    <a:pt x="1297" y="17893"/>
                    <a:pt x="1348" y="17923"/>
                  </a:cubicBezTo>
                  <a:cubicBezTo>
                    <a:pt x="1400" y="17953"/>
                    <a:pt x="2513" y="19664"/>
                    <a:pt x="2549" y="19755"/>
                  </a:cubicBezTo>
                  <a:cubicBezTo>
                    <a:pt x="2583" y="19839"/>
                    <a:pt x="2948" y="21383"/>
                    <a:pt x="2995" y="21586"/>
                  </a:cubicBezTo>
                  <a:lnTo>
                    <a:pt x="3000" y="21586"/>
                  </a:lnTo>
                  <a:cubicBezTo>
                    <a:pt x="3000" y="21586"/>
                    <a:pt x="3483" y="20079"/>
                    <a:pt x="3503" y="19913"/>
                  </a:cubicBezTo>
                  <a:cubicBezTo>
                    <a:pt x="3524" y="19747"/>
                    <a:pt x="3657" y="18496"/>
                    <a:pt x="3678" y="18421"/>
                  </a:cubicBezTo>
                  <a:cubicBezTo>
                    <a:pt x="3698" y="18345"/>
                    <a:pt x="4283" y="18436"/>
                    <a:pt x="4386" y="18421"/>
                  </a:cubicBezTo>
                  <a:cubicBezTo>
                    <a:pt x="4488" y="18406"/>
                    <a:pt x="4991" y="17908"/>
                    <a:pt x="5032" y="17923"/>
                  </a:cubicBezTo>
                  <a:cubicBezTo>
                    <a:pt x="5073" y="17938"/>
                    <a:pt x="6099" y="18496"/>
                    <a:pt x="6192" y="18496"/>
                  </a:cubicBezTo>
                  <a:cubicBezTo>
                    <a:pt x="6284" y="18496"/>
                    <a:pt x="6664" y="18179"/>
                    <a:pt x="6705" y="18164"/>
                  </a:cubicBezTo>
                  <a:cubicBezTo>
                    <a:pt x="6746" y="18149"/>
                    <a:pt x="6951" y="18481"/>
                    <a:pt x="6951" y="18481"/>
                  </a:cubicBezTo>
                  <a:lnTo>
                    <a:pt x="6951" y="18483"/>
                  </a:lnTo>
                  <a:lnTo>
                    <a:pt x="6951" y="18482"/>
                  </a:lnTo>
                  <a:cubicBezTo>
                    <a:pt x="6942" y="18286"/>
                    <a:pt x="6891" y="17224"/>
                    <a:pt x="6872" y="17069"/>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7" name="Shape">
              <a:extLst>
                <a:ext uri="{FF2B5EF4-FFF2-40B4-BE49-F238E27FC236}">
                  <a16:creationId xmlns:a16="http://schemas.microsoft.com/office/drawing/2014/main" id="{90D4EDEF-5DC3-2D48-887D-B5C608AD2D93}"/>
                </a:ext>
              </a:extLst>
            </p:cNvPr>
            <p:cNvSpPr/>
            <p:nvPr/>
          </p:nvSpPr>
          <p:spPr>
            <a:xfrm>
              <a:off x="13969999" y="11036300"/>
              <a:ext cx="3752" cy="35021"/>
            </a:xfrm>
            <a:custGeom>
              <a:avLst/>
              <a:gdLst/>
              <a:ahLst/>
              <a:cxnLst>
                <a:cxn ang="0">
                  <a:pos x="wd2" y="hd2"/>
                </a:cxn>
                <a:cxn ang="5400000">
                  <a:pos x="wd2" y="hd2"/>
                </a:cxn>
                <a:cxn ang="10800000">
                  <a:pos x="wd2" y="hd2"/>
                </a:cxn>
                <a:cxn ang="16200000">
                  <a:pos x="wd2" y="hd2"/>
                </a:cxn>
              </a:cxnLst>
              <a:rect l="0" t="0" r="r" b="b"/>
              <a:pathLst>
                <a:path w="20292" h="21600" extrusionOk="0">
                  <a:moveTo>
                    <a:pt x="110" y="21600"/>
                  </a:moveTo>
                  <a:cubicBezTo>
                    <a:pt x="1326" y="12062"/>
                    <a:pt x="20292" y="113"/>
                    <a:pt x="20292" y="113"/>
                  </a:cubicBezTo>
                  <a:lnTo>
                    <a:pt x="17314" y="0"/>
                  </a:lnTo>
                  <a:cubicBezTo>
                    <a:pt x="11375" y="4163"/>
                    <a:pt x="-1308" y="14060"/>
                    <a:pt x="110" y="2160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8" name="Shape">
              <a:extLst>
                <a:ext uri="{FF2B5EF4-FFF2-40B4-BE49-F238E27FC236}">
                  <a16:creationId xmlns:a16="http://schemas.microsoft.com/office/drawing/2014/main" id="{C6AEAF09-EBFE-9E41-A5D3-6178536D9989}"/>
                </a:ext>
              </a:extLst>
            </p:cNvPr>
            <p:cNvSpPr/>
            <p:nvPr/>
          </p:nvSpPr>
          <p:spPr>
            <a:xfrm>
              <a:off x="11074400" y="10820400"/>
              <a:ext cx="2280159" cy="333656"/>
            </a:xfrm>
            <a:custGeom>
              <a:avLst/>
              <a:gdLst/>
              <a:ahLst/>
              <a:cxnLst>
                <a:cxn ang="0">
                  <a:pos x="wd2" y="hd2"/>
                </a:cxn>
                <a:cxn ang="5400000">
                  <a:pos x="wd2" y="hd2"/>
                </a:cxn>
                <a:cxn ang="10800000">
                  <a:pos x="wd2" y="hd2"/>
                </a:cxn>
                <a:cxn ang="16200000">
                  <a:pos x="wd2" y="hd2"/>
                </a:cxn>
              </a:cxnLst>
              <a:rect l="0" t="0" r="r" b="b"/>
              <a:pathLst>
                <a:path w="21599" h="21600" extrusionOk="0">
                  <a:moveTo>
                    <a:pt x="20304" y="5755"/>
                  </a:moveTo>
                  <a:cubicBezTo>
                    <a:pt x="20224" y="5755"/>
                    <a:pt x="19462" y="6029"/>
                    <a:pt x="19302" y="5755"/>
                  </a:cubicBezTo>
                  <a:cubicBezTo>
                    <a:pt x="19141" y="5481"/>
                    <a:pt x="18861" y="2604"/>
                    <a:pt x="18600" y="1781"/>
                  </a:cubicBezTo>
                  <a:cubicBezTo>
                    <a:pt x="18339" y="959"/>
                    <a:pt x="17998" y="3563"/>
                    <a:pt x="17878" y="3152"/>
                  </a:cubicBezTo>
                  <a:cubicBezTo>
                    <a:pt x="17758" y="2741"/>
                    <a:pt x="17096" y="0"/>
                    <a:pt x="17016" y="0"/>
                  </a:cubicBezTo>
                  <a:cubicBezTo>
                    <a:pt x="16936" y="0"/>
                    <a:pt x="16595" y="1096"/>
                    <a:pt x="16595" y="1096"/>
                  </a:cubicBezTo>
                  <a:lnTo>
                    <a:pt x="16515" y="5207"/>
                  </a:lnTo>
                  <a:cubicBezTo>
                    <a:pt x="16515" y="5207"/>
                    <a:pt x="15993" y="7399"/>
                    <a:pt x="15873" y="7399"/>
                  </a:cubicBezTo>
                  <a:cubicBezTo>
                    <a:pt x="15753" y="7399"/>
                    <a:pt x="15151" y="8085"/>
                    <a:pt x="15071" y="7948"/>
                  </a:cubicBezTo>
                  <a:cubicBezTo>
                    <a:pt x="14991" y="7811"/>
                    <a:pt x="14249" y="4659"/>
                    <a:pt x="14189" y="4179"/>
                  </a:cubicBezTo>
                  <a:cubicBezTo>
                    <a:pt x="14129" y="3700"/>
                    <a:pt x="13988" y="7537"/>
                    <a:pt x="13908" y="7674"/>
                  </a:cubicBezTo>
                  <a:cubicBezTo>
                    <a:pt x="13828" y="7811"/>
                    <a:pt x="12404" y="9729"/>
                    <a:pt x="12284" y="10003"/>
                  </a:cubicBezTo>
                  <a:cubicBezTo>
                    <a:pt x="12164" y="10277"/>
                    <a:pt x="11803" y="12949"/>
                    <a:pt x="11723" y="13086"/>
                  </a:cubicBezTo>
                  <a:cubicBezTo>
                    <a:pt x="11643" y="13223"/>
                    <a:pt x="10770" y="9592"/>
                    <a:pt x="10580" y="9729"/>
                  </a:cubicBezTo>
                  <a:cubicBezTo>
                    <a:pt x="10389" y="9866"/>
                    <a:pt x="10179" y="13703"/>
                    <a:pt x="10169" y="13977"/>
                  </a:cubicBezTo>
                  <a:cubicBezTo>
                    <a:pt x="10159" y="14251"/>
                    <a:pt x="10008" y="14593"/>
                    <a:pt x="9948" y="15005"/>
                  </a:cubicBezTo>
                  <a:cubicBezTo>
                    <a:pt x="9888" y="15416"/>
                    <a:pt x="9888" y="16717"/>
                    <a:pt x="9778" y="17471"/>
                  </a:cubicBezTo>
                  <a:cubicBezTo>
                    <a:pt x="9668" y="18225"/>
                    <a:pt x="9668" y="19938"/>
                    <a:pt x="9617" y="20349"/>
                  </a:cubicBezTo>
                  <a:cubicBezTo>
                    <a:pt x="9567" y="20760"/>
                    <a:pt x="9437" y="20486"/>
                    <a:pt x="9357" y="20486"/>
                  </a:cubicBezTo>
                  <a:cubicBezTo>
                    <a:pt x="9277" y="20486"/>
                    <a:pt x="9036" y="21376"/>
                    <a:pt x="8996" y="21376"/>
                  </a:cubicBezTo>
                  <a:cubicBezTo>
                    <a:pt x="8956" y="21376"/>
                    <a:pt x="8134" y="18225"/>
                    <a:pt x="7733" y="17540"/>
                  </a:cubicBezTo>
                  <a:cubicBezTo>
                    <a:pt x="7332" y="16854"/>
                    <a:pt x="5056" y="16786"/>
                    <a:pt x="4946" y="16512"/>
                  </a:cubicBezTo>
                  <a:cubicBezTo>
                    <a:pt x="4835" y="16238"/>
                    <a:pt x="4525" y="11031"/>
                    <a:pt x="4394" y="10414"/>
                  </a:cubicBezTo>
                  <a:cubicBezTo>
                    <a:pt x="4264" y="9797"/>
                    <a:pt x="2861" y="4179"/>
                    <a:pt x="2740" y="4179"/>
                  </a:cubicBezTo>
                  <a:cubicBezTo>
                    <a:pt x="2620" y="4179"/>
                    <a:pt x="2389" y="5070"/>
                    <a:pt x="2119" y="5618"/>
                  </a:cubicBezTo>
                  <a:cubicBezTo>
                    <a:pt x="1848" y="6166"/>
                    <a:pt x="1437" y="6714"/>
                    <a:pt x="1357" y="7125"/>
                  </a:cubicBezTo>
                  <a:cubicBezTo>
                    <a:pt x="1277" y="7537"/>
                    <a:pt x="625" y="14662"/>
                    <a:pt x="505" y="15758"/>
                  </a:cubicBezTo>
                  <a:cubicBezTo>
                    <a:pt x="384" y="16854"/>
                    <a:pt x="13" y="17608"/>
                    <a:pt x="13" y="17608"/>
                  </a:cubicBezTo>
                  <a:cubicBezTo>
                    <a:pt x="13" y="17608"/>
                    <a:pt x="-1" y="19087"/>
                    <a:pt x="0" y="20383"/>
                  </a:cubicBezTo>
                  <a:cubicBezTo>
                    <a:pt x="1" y="19146"/>
                    <a:pt x="13" y="17832"/>
                    <a:pt x="13" y="17832"/>
                  </a:cubicBezTo>
                  <a:cubicBezTo>
                    <a:pt x="13" y="17832"/>
                    <a:pt x="384" y="17078"/>
                    <a:pt x="505" y="15982"/>
                  </a:cubicBezTo>
                  <a:cubicBezTo>
                    <a:pt x="625" y="14886"/>
                    <a:pt x="1277" y="7760"/>
                    <a:pt x="1357" y="7349"/>
                  </a:cubicBezTo>
                  <a:cubicBezTo>
                    <a:pt x="1437" y="6938"/>
                    <a:pt x="1848" y="6390"/>
                    <a:pt x="2119" y="5842"/>
                  </a:cubicBezTo>
                  <a:cubicBezTo>
                    <a:pt x="2389" y="5294"/>
                    <a:pt x="2620" y="4403"/>
                    <a:pt x="2740" y="4403"/>
                  </a:cubicBezTo>
                  <a:cubicBezTo>
                    <a:pt x="2861" y="4403"/>
                    <a:pt x="4264" y="10021"/>
                    <a:pt x="4394" y="10638"/>
                  </a:cubicBezTo>
                  <a:cubicBezTo>
                    <a:pt x="4525" y="11254"/>
                    <a:pt x="4835" y="16461"/>
                    <a:pt x="4946" y="16736"/>
                  </a:cubicBezTo>
                  <a:cubicBezTo>
                    <a:pt x="5056" y="17010"/>
                    <a:pt x="7332" y="17078"/>
                    <a:pt x="7733" y="17763"/>
                  </a:cubicBezTo>
                  <a:cubicBezTo>
                    <a:pt x="8134" y="18448"/>
                    <a:pt x="8956" y="21600"/>
                    <a:pt x="8996" y="21600"/>
                  </a:cubicBezTo>
                  <a:cubicBezTo>
                    <a:pt x="9036" y="21600"/>
                    <a:pt x="9277" y="20709"/>
                    <a:pt x="9357" y="20709"/>
                  </a:cubicBezTo>
                  <a:cubicBezTo>
                    <a:pt x="9437" y="20709"/>
                    <a:pt x="9567" y="20983"/>
                    <a:pt x="9617" y="20572"/>
                  </a:cubicBezTo>
                  <a:cubicBezTo>
                    <a:pt x="9668" y="20161"/>
                    <a:pt x="9668" y="18448"/>
                    <a:pt x="9778" y="17695"/>
                  </a:cubicBezTo>
                  <a:cubicBezTo>
                    <a:pt x="9888" y="16941"/>
                    <a:pt x="9888" y="15639"/>
                    <a:pt x="9948" y="15228"/>
                  </a:cubicBezTo>
                  <a:cubicBezTo>
                    <a:pt x="10008" y="14817"/>
                    <a:pt x="10159" y="14475"/>
                    <a:pt x="10169" y="14201"/>
                  </a:cubicBezTo>
                  <a:cubicBezTo>
                    <a:pt x="10179" y="13926"/>
                    <a:pt x="10389" y="10090"/>
                    <a:pt x="10580" y="9953"/>
                  </a:cubicBezTo>
                  <a:cubicBezTo>
                    <a:pt x="10770" y="9816"/>
                    <a:pt x="11643" y="13447"/>
                    <a:pt x="11723" y="13310"/>
                  </a:cubicBezTo>
                  <a:cubicBezTo>
                    <a:pt x="11803" y="13173"/>
                    <a:pt x="12164" y="10501"/>
                    <a:pt x="12284" y="10227"/>
                  </a:cubicBezTo>
                  <a:cubicBezTo>
                    <a:pt x="12404" y="9953"/>
                    <a:pt x="13828" y="8034"/>
                    <a:pt x="13908" y="7897"/>
                  </a:cubicBezTo>
                  <a:cubicBezTo>
                    <a:pt x="13988" y="7760"/>
                    <a:pt x="14129" y="3923"/>
                    <a:pt x="14189" y="4403"/>
                  </a:cubicBezTo>
                  <a:cubicBezTo>
                    <a:pt x="14249" y="4883"/>
                    <a:pt x="14991" y="8034"/>
                    <a:pt x="15071" y="8171"/>
                  </a:cubicBezTo>
                  <a:cubicBezTo>
                    <a:pt x="15151" y="8308"/>
                    <a:pt x="15753" y="7623"/>
                    <a:pt x="15873" y="7623"/>
                  </a:cubicBezTo>
                  <a:cubicBezTo>
                    <a:pt x="15993" y="7623"/>
                    <a:pt x="16515" y="5431"/>
                    <a:pt x="16515" y="5431"/>
                  </a:cubicBezTo>
                  <a:lnTo>
                    <a:pt x="16595" y="1320"/>
                  </a:lnTo>
                  <a:cubicBezTo>
                    <a:pt x="16595" y="1320"/>
                    <a:pt x="16936" y="224"/>
                    <a:pt x="17016" y="224"/>
                  </a:cubicBezTo>
                  <a:cubicBezTo>
                    <a:pt x="17096" y="224"/>
                    <a:pt x="17758" y="2964"/>
                    <a:pt x="17878" y="3375"/>
                  </a:cubicBezTo>
                  <a:cubicBezTo>
                    <a:pt x="17998" y="3786"/>
                    <a:pt x="18339" y="1183"/>
                    <a:pt x="18600" y="2005"/>
                  </a:cubicBezTo>
                  <a:cubicBezTo>
                    <a:pt x="18861" y="2827"/>
                    <a:pt x="19141" y="5705"/>
                    <a:pt x="19302" y="5979"/>
                  </a:cubicBezTo>
                  <a:cubicBezTo>
                    <a:pt x="19462" y="6253"/>
                    <a:pt x="20224" y="5979"/>
                    <a:pt x="20304" y="5979"/>
                  </a:cubicBezTo>
                  <a:cubicBezTo>
                    <a:pt x="20384" y="5979"/>
                    <a:pt x="20846" y="2964"/>
                    <a:pt x="20966" y="3238"/>
                  </a:cubicBezTo>
                  <a:cubicBezTo>
                    <a:pt x="21078" y="3493"/>
                    <a:pt x="21534" y="5160"/>
                    <a:pt x="21599" y="5400"/>
                  </a:cubicBezTo>
                  <a:cubicBezTo>
                    <a:pt x="21596" y="5331"/>
                    <a:pt x="21593" y="5240"/>
                    <a:pt x="21588" y="5137"/>
                  </a:cubicBezTo>
                  <a:cubicBezTo>
                    <a:pt x="21495" y="4796"/>
                    <a:pt x="21073" y="3258"/>
                    <a:pt x="20966" y="3015"/>
                  </a:cubicBezTo>
                  <a:cubicBezTo>
                    <a:pt x="20846" y="2741"/>
                    <a:pt x="20384" y="5755"/>
                    <a:pt x="20304" y="575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69" name="Shape">
              <a:extLst>
                <a:ext uri="{FF2B5EF4-FFF2-40B4-BE49-F238E27FC236}">
                  <a16:creationId xmlns:a16="http://schemas.microsoft.com/office/drawing/2014/main" id="{E5A03AD7-4374-6B42-A8DE-77C6D981AD70}"/>
                </a:ext>
              </a:extLst>
            </p:cNvPr>
            <p:cNvSpPr/>
            <p:nvPr/>
          </p:nvSpPr>
          <p:spPr>
            <a:xfrm>
              <a:off x="9436100" y="10833099"/>
              <a:ext cx="4929794" cy="4886304"/>
            </a:xfrm>
            <a:custGeom>
              <a:avLst/>
              <a:gdLst/>
              <a:ahLst/>
              <a:cxnLst>
                <a:cxn ang="0">
                  <a:pos x="wd2" y="hd2"/>
                </a:cxn>
                <a:cxn ang="5400000">
                  <a:pos x="wd2" y="hd2"/>
                </a:cxn>
                <a:cxn ang="10800000">
                  <a:pos x="wd2" y="hd2"/>
                </a:cxn>
                <a:cxn ang="16200000">
                  <a:pos x="wd2" y="hd2"/>
                </a:cxn>
              </a:cxnLst>
              <a:rect l="0" t="0" r="r" b="b"/>
              <a:pathLst>
                <a:path w="21600" h="21575" extrusionOk="0">
                  <a:moveTo>
                    <a:pt x="19667" y="7698"/>
                  </a:moveTo>
                  <a:cubicBezTo>
                    <a:pt x="19667" y="7698"/>
                    <a:pt x="19667" y="7698"/>
                    <a:pt x="19667" y="7698"/>
                  </a:cubicBezTo>
                  <a:lnTo>
                    <a:pt x="19667" y="7683"/>
                  </a:lnTo>
                  <a:cubicBezTo>
                    <a:pt x="19667" y="7683"/>
                    <a:pt x="19668" y="7521"/>
                    <a:pt x="19676" y="7409"/>
                  </a:cubicBezTo>
                  <a:cubicBezTo>
                    <a:pt x="19684" y="7297"/>
                    <a:pt x="19762" y="6480"/>
                    <a:pt x="19762" y="6258"/>
                  </a:cubicBezTo>
                  <a:cubicBezTo>
                    <a:pt x="19762" y="6036"/>
                    <a:pt x="20059" y="5153"/>
                    <a:pt x="20096" y="5144"/>
                  </a:cubicBezTo>
                  <a:cubicBezTo>
                    <a:pt x="20133" y="5134"/>
                    <a:pt x="20226" y="5106"/>
                    <a:pt x="20291" y="5088"/>
                  </a:cubicBezTo>
                  <a:cubicBezTo>
                    <a:pt x="20356" y="5069"/>
                    <a:pt x="20346" y="4873"/>
                    <a:pt x="20393" y="4826"/>
                  </a:cubicBezTo>
                  <a:cubicBezTo>
                    <a:pt x="20439" y="4779"/>
                    <a:pt x="20522" y="4817"/>
                    <a:pt x="20618" y="4745"/>
                  </a:cubicBezTo>
                  <a:cubicBezTo>
                    <a:pt x="20708" y="4677"/>
                    <a:pt x="21512" y="3792"/>
                    <a:pt x="21600" y="3695"/>
                  </a:cubicBezTo>
                  <a:lnTo>
                    <a:pt x="21165" y="3374"/>
                  </a:lnTo>
                  <a:lnTo>
                    <a:pt x="20921" y="3374"/>
                  </a:lnTo>
                  <a:cubicBezTo>
                    <a:pt x="20921" y="3374"/>
                    <a:pt x="20924" y="3368"/>
                    <a:pt x="20929" y="3359"/>
                  </a:cubicBezTo>
                  <a:lnTo>
                    <a:pt x="20921" y="3359"/>
                  </a:lnTo>
                  <a:cubicBezTo>
                    <a:pt x="20921" y="3359"/>
                    <a:pt x="21107" y="2985"/>
                    <a:pt x="21125" y="2929"/>
                  </a:cubicBezTo>
                  <a:cubicBezTo>
                    <a:pt x="21126" y="2927"/>
                    <a:pt x="21126" y="2926"/>
                    <a:pt x="21126" y="2924"/>
                  </a:cubicBezTo>
                  <a:cubicBezTo>
                    <a:pt x="21116" y="2853"/>
                    <a:pt x="20993" y="2697"/>
                    <a:pt x="20968" y="2654"/>
                  </a:cubicBezTo>
                  <a:cubicBezTo>
                    <a:pt x="20965" y="2650"/>
                    <a:pt x="20965" y="2642"/>
                    <a:pt x="20966" y="2633"/>
                  </a:cubicBezTo>
                  <a:cubicBezTo>
                    <a:pt x="20953" y="2572"/>
                    <a:pt x="21144" y="2282"/>
                    <a:pt x="21162" y="2228"/>
                  </a:cubicBezTo>
                  <a:cubicBezTo>
                    <a:pt x="21163" y="2226"/>
                    <a:pt x="21162" y="2225"/>
                    <a:pt x="21163" y="2223"/>
                  </a:cubicBezTo>
                  <a:cubicBezTo>
                    <a:pt x="21152" y="2192"/>
                    <a:pt x="21070" y="2204"/>
                    <a:pt x="21014" y="2196"/>
                  </a:cubicBezTo>
                  <a:cubicBezTo>
                    <a:pt x="21007" y="2195"/>
                    <a:pt x="21002" y="2192"/>
                    <a:pt x="20999" y="2188"/>
                  </a:cubicBezTo>
                  <a:lnTo>
                    <a:pt x="20999" y="2188"/>
                  </a:lnTo>
                  <a:lnTo>
                    <a:pt x="20999" y="2188"/>
                  </a:lnTo>
                  <a:cubicBezTo>
                    <a:pt x="20993" y="2180"/>
                    <a:pt x="20991" y="2168"/>
                    <a:pt x="20991" y="2153"/>
                  </a:cubicBezTo>
                  <a:cubicBezTo>
                    <a:pt x="20986" y="2111"/>
                    <a:pt x="21015" y="2031"/>
                    <a:pt x="21019" y="1986"/>
                  </a:cubicBezTo>
                  <a:cubicBezTo>
                    <a:pt x="21018" y="1980"/>
                    <a:pt x="21017" y="1975"/>
                    <a:pt x="21014" y="1972"/>
                  </a:cubicBezTo>
                  <a:cubicBezTo>
                    <a:pt x="20986" y="1944"/>
                    <a:pt x="20829" y="2019"/>
                    <a:pt x="20764" y="1981"/>
                  </a:cubicBezTo>
                  <a:cubicBezTo>
                    <a:pt x="20699" y="1944"/>
                    <a:pt x="20726" y="1738"/>
                    <a:pt x="20699" y="1701"/>
                  </a:cubicBezTo>
                  <a:cubicBezTo>
                    <a:pt x="20671" y="1664"/>
                    <a:pt x="20411" y="1701"/>
                    <a:pt x="20356" y="1658"/>
                  </a:cubicBezTo>
                  <a:cubicBezTo>
                    <a:pt x="20311" y="1623"/>
                    <a:pt x="20308" y="1516"/>
                    <a:pt x="20309" y="1475"/>
                  </a:cubicBezTo>
                  <a:cubicBezTo>
                    <a:pt x="20309" y="1468"/>
                    <a:pt x="20309" y="1462"/>
                    <a:pt x="20309" y="1458"/>
                  </a:cubicBezTo>
                  <a:cubicBezTo>
                    <a:pt x="20303" y="1454"/>
                    <a:pt x="19947" y="1187"/>
                    <a:pt x="19910" y="1159"/>
                  </a:cubicBezTo>
                  <a:cubicBezTo>
                    <a:pt x="19897" y="1149"/>
                    <a:pt x="19893" y="1117"/>
                    <a:pt x="19894" y="1079"/>
                  </a:cubicBezTo>
                  <a:cubicBezTo>
                    <a:pt x="19893" y="1025"/>
                    <a:pt x="19903" y="954"/>
                    <a:pt x="19908" y="924"/>
                  </a:cubicBezTo>
                  <a:lnTo>
                    <a:pt x="19549" y="804"/>
                  </a:lnTo>
                  <a:lnTo>
                    <a:pt x="19233" y="1187"/>
                  </a:lnTo>
                  <a:cubicBezTo>
                    <a:pt x="19233" y="1187"/>
                    <a:pt x="18770" y="944"/>
                    <a:pt x="18742" y="944"/>
                  </a:cubicBezTo>
                  <a:cubicBezTo>
                    <a:pt x="18714" y="944"/>
                    <a:pt x="18324" y="1234"/>
                    <a:pt x="18287" y="1234"/>
                  </a:cubicBezTo>
                  <a:cubicBezTo>
                    <a:pt x="18250" y="1234"/>
                    <a:pt x="17889" y="1000"/>
                    <a:pt x="17796" y="963"/>
                  </a:cubicBezTo>
                  <a:cubicBezTo>
                    <a:pt x="17703" y="925"/>
                    <a:pt x="17202" y="355"/>
                    <a:pt x="17202" y="355"/>
                  </a:cubicBezTo>
                  <a:cubicBezTo>
                    <a:pt x="17202" y="355"/>
                    <a:pt x="17201" y="354"/>
                    <a:pt x="17198" y="353"/>
                  </a:cubicBezTo>
                  <a:cubicBezTo>
                    <a:pt x="17201" y="361"/>
                    <a:pt x="17202" y="366"/>
                    <a:pt x="17202" y="366"/>
                  </a:cubicBezTo>
                  <a:cubicBezTo>
                    <a:pt x="17202" y="366"/>
                    <a:pt x="17201" y="361"/>
                    <a:pt x="17198" y="353"/>
                  </a:cubicBezTo>
                  <a:cubicBezTo>
                    <a:pt x="17168" y="337"/>
                    <a:pt x="16957" y="223"/>
                    <a:pt x="16906" y="206"/>
                  </a:cubicBezTo>
                  <a:cubicBezTo>
                    <a:pt x="16850" y="187"/>
                    <a:pt x="16637" y="393"/>
                    <a:pt x="16599" y="393"/>
                  </a:cubicBezTo>
                  <a:cubicBezTo>
                    <a:pt x="16562" y="393"/>
                    <a:pt x="16210" y="411"/>
                    <a:pt x="16136" y="393"/>
                  </a:cubicBezTo>
                  <a:cubicBezTo>
                    <a:pt x="16062" y="374"/>
                    <a:pt x="15932" y="178"/>
                    <a:pt x="15811" y="121"/>
                  </a:cubicBezTo>
                  <a:cubicBezTo>
                    <a:pt x="15691" y="65"/>
                    <a:pt x="15533" y="243"/>
                    <a:pt x="15477" y="215"/>
                  </a:cubicBezTo>
                  <a:cubicBezTo>
                    <a:pt x="15422" y="187"/>
                    <a:pt x="15116" y="0"/>
                    <a:pt x="15078" y="0"/>
                  </a:cubicBezTo>
                  <a:cubicBezTo>
                    <a:pt x="15041" y="0"/>
                    <a:pt x="14884" y="75"/>
                    <a:pt x="14884" y="75"/>
                  </a:cubicBezTo>
                  <a:lnTo>
                    <a:pt x="14847" y="355"/>
                  </a:lnTo>
                  <a:cubicBezTo>
                    <a:pt x="14847" y="355"/>
                    <a:pt x="14606" y="505"/>
                    <a:pt x="14550" y="505"/>
                  </a:cubicBezTo>
                  <a:cubicBezTo>
                    <a:pt x="14494" y="505"/>
                    <a:pt x="14216" y="551"/>
                    <a:pt x="14179" y="542"/>
                  </a:cubicBezTo>
                  <a:cubicBezTo>
                    <a:pt x="14142" y="533"/>
                    <a:pt x="13799" y="318"/>
                    <a:pt x="13771" y="285"/>
                  </a:cubicBezTo>
                  <a:cubicBezTo>
                    <a:pt x="13743" y="252"/>
                    <a:pt x="13678" y="514"/>
                    <a:pt x="13641" y="523"/>
                  </a:cubicBezTo>
                  <a:cubicBezTo>
                    <a:pt x="13604" y="533"/>
                    <a:pt x="12945" y="664"/>
                    <a:pt x="12890" y="682"/>
                  </a:cubicBezTo>
                  <a:cubicBezTo>
                    <a:pt x="12834" y="701"/>
                    <a:pt x="12667" y="883"/>
                    <a:pt x="12630" y="893"/>
                  </a:cubicBezTo>
                  <a:cubicBezTo>
                    <a:pt x="12593" y="902"/>
                    <a:pt x="12190" y="654"/>
                    <a:pt x="12101" y="664"/>
                  </a:cubicBezTo>
                  <a:cubicBezTo>
                    <a:pt x="12013" y="673"/>
                    <a:pt x="11916" y="935"/>
                    <a:pt x="11911" y="953"/>
                  </a:cubicBezTo>
                  <a:cubicBezTo>
                    <a:pt x="11907" y="972"/>
                    <a:pt x="11837" y="995"/>
                    <a:pt x="11809" y="1023"/>
                  </a:cubicBezTo>
                  <a:cubicBezTo>
                    <a:pt x="11782" y="1051"/>
                    <a:pt x="11782" y="1140"/>
                    <a:pt x="11730" y="1192"/>
                  </a:cubicBezTo>
                  <a:cubicBezTo>
                    <a:pt x="11679" y="1243"/>
                    <a:pt x="11679" y="1360"/>
                    <a:pt x="11656" y="1388"/>
                  </a:cubicBezTo>
                  <a:cubicBezTo>
                    <a:pt x="11633" y="1416"/>
                    <a:pt x="11573" y="1397"/>
                    <a:pt x="11536" y="1397"/>
                  </a:cubicBezTo>
                  <a:cubicBezTo>
                    <a:pt x="11499" y="1397"/>
                    <a:pt x="11387" y="1458"/>
                    <a:pt x="11369" y="1458"/>
                  </a:cubicBezTo>
                  <a:cubicBezTo>
                    <a:pt x="11350" y="1458"/>
                    <a:pt x="10970" y="1243"/>
                    <a:pt x="10785" y="1196"/>
                  </a:cubicBezTo>
                  <a:cubicBezTo>
                    <a:pt x="10599" y="1150"/>
                    <a:pt x="9546" y="1145"/>
                    <a:pt x="9495" y="1126"/>
                  </a:cubicBezTo>
                  <a:cubicBezTo>
                    <a:pt x="9444" y="1108"/>
                    <a:pt x="9301" y="752"/>
                    <a:pt x="9240" y="710"/>
                  </a:cubicBezTo>
                  <a:cubicBezTo>
                    <a:pt x="9180" y="668"/>
                    <a:pt x="8531" y="285"/>
                    <a:pt x="8475" y="285"/>
                  </a:cubicBezTo>
                  <a:cubicBezTo>
                    <a:pt x="8420" y="285"/>
                    <a:pt x="8313" y="346"/>
                    <a:pt x="8188" y="383"/>
                  </a:cubicBezTo>
                  <a:cubicBezTo>
                    <a:pt x="8063" y="421"/>
                    <a:pt x="7872" y="458"/>
                    <a:pt x="7835" y="486"/>
                  </a:cubicBezTo>
                  <a:cubicBezTo>
                    <a:pt x="7798" y="514"/>
                    <a:pt x="7497" y="1000"/>
                    <a:pt x="7441" y="1075"/>
                  </a:cubicBezTo>
                  <a:cubicBezTo>
                    <a:pt x="7386" y="1150"/>
                    <a:pt x="7214" y="1201"/>
                    <a:pt x="7214" y="1201"/>
                  </a:cubicBezTo>
                  <a:cubicBezTo>
                    <a:pt x="7214" y="1201"/>
                    <a:pt x="7208" y="1291"/>
                    <a:pt x="7208" y="1375"/>
                  </a:cubicBezTo>
                  <a:cubicBezTo>
                    <a:pt x="7208" y="1414"/>
                    <a:pt x="7210" y="1451"/>
                    <a:pt x="7214" y="1475"/>
                  </a:cubicBezTo>
                  <a:cubicBezTo>
                    <a:pt x="7228" y="1555"/>
                    <a:pt x="7268" y="2147"/>
                    <a:pt x="7268" y="2147"/>
                  </a:cubicBezTo>
                  <a:lnTo>
                    <a:pt x="7267" y="2148"/>
                  </a:lnTo>
                  <a:cubicBezTo>
                    <a:pt x="7268" y="2157"/>
                    <a:pt x="7268" y="2163"/>
                    <a:pt x="7268" y="2163"/>
                  </a:cubicBezTo>
                  <a:cubicBezTo>
                    <a:pt x="7268" y="2163"/>
                    <a:pt x="7268" y="2157"/>
                    <a:pt x="7267" y="2148"/>
                  </a:cubicBezTo>
                  <a:lnTo>
                    <a:pt x="7267" y="2148"/>
                  </a:lnTo>
                  <a:lnTo>
                    <a:pt x="7302" y="2589"/>
                  </a:lnTo>
                  <a:cubicBezTo>
                    <a:pt x="7302" y="2589"/>
                    <a:pt x="6697" y="3486"/>
                    <a:pt x="6690" y="3535"/>
                  </a:cubicBezTo>
                  <a:cubicBezTo>
                    <a:pt x="6683" y="3584"/>
                    <a:pt x="6530" y="4418"/>
                    <a:pt x="6502" y="4587"/>
                  </a:cubicBezTo>
                  <a:cubicBezTo>
                    <a:pt x="6474" y="4755"/>
                    <a:pt x="6412" y="4895"/>
                    <a:pt x="6453" y="5091"/>
                  </a:cubicBezTo>
                  <a:cubicBezTo>
                    <a:pt x="6495" y="5288"/>
                    <a:pt x="6530" y="5484"/>
                    <a:pt x="6530" y="5561"/>
                  </a:cubicBezTo>
                  <a:cubicBezTo>
                    <a:pt x="6530" y="5638"/>
                    <a:pt x="6293" y="6087"/>
                    <a:pt x="6300" y="6157"/>
                  </a:cubicBezTo>
                  <a:cubicBezTo>
                    <a:pt x="6307" y="6227"/>
                    <a:pt x="6287" y="6640"/>
                    <a:pt x="6252" y="6703"/>
                  </a:cubicBezTo>
                  <a:cubicBezTo>
                    <a:pt x="6217" y="6767"/>
                    <a:pt x="5737" y="7313"/>
                    <a:pt x="5737" y="7313"/>
                  </a:cubicBezTo>
                  <a:cubicBezTo>
                    <a:pt x="5737" y="7313"/>
                    <a:pt x="5424" y="7383"/>
                    <a:pt x="5257" y="7622"/>
                  </a:cubicBezTo>
                  <a:cubicBezTo>
                    <a:pt x="5090" y="7860"/>
                    <a:pt x="4937" y="8197"/>
                    <a:pt x="4770" y="8421"/>
                  </a:cubicBezTo>
                  <a:cubicBezTo>
                    <a:pt x="4603" y="8645"/>
                    <a:pt x="4506" y="8827"/>
                    <a:pt x="4520" y="9066"/>
                  </a:cubicBezTo>
                  <a:cubicBezTo>
                    <a:pt x="4534" y="9304"/>
                    <a:pt x="4562" y="9893"/>
                    <a:pt x="4562" y="9935"/>
                  </a:cubicBezTo>
                  <a:cubicBezTo>
                    <a:pt x="4562" y="9977"/>
                    <a:pt x="4269" y="10496"/>
                    <a:pt x="4172" y="10608"/>
                  </a:cubicBezTo>
                  <a:cubicBezTo>
                    <a:pt x="4075" y="10720"/>
                    <a:pt x="3546" y="10888"/>
                    <a:pt x="3337" y="11112"/>
                  </a:cubicBezTo>
                  <a:cubicBezTo>
                    <a:pt x="3129" y="11337"/>
                    <a:pt x="3031" y="11561"/>
                    <a:pt x="3031" y="11561"/>
                  </a:cubicBezTo>
                  <a:lnTo>
                    <a:pt x="2837" y="11736"/>
                  </a:lnTo>
                  <a:lnTo>
                    <a:pt x="2517" y="11736"/>
                  </a:lnTo>
                  <a:cubicBezTo>
                    <a:pt x="2517" y="11736"/>
                    <a:pt x="2551" y="11021"/>
                    <a:pt x="2517" y="11000"/>
                  </a:cubicBezTo>
                  <a:cubicBezTo>
                    <a:pt x="2482" y="10979"/>
                    <a:pt x="2071" y="11302"/>
                    <a:pt x="2016" y="11288"/>
                  </a:cubicBezTo>
                  <a:cubicBezTo>
                    <a:pt x="1960" y="11274"/>
                    <a:pt x="1765" y="11141"/>
                    <a:pt x="1744" y="11148"/>
                  </a:cubicBezTo>
                  <a:cubicBezTo>
                    <a:pt x="1724" y="11155"/>
                    <a:pt x="1765" y="11484"/>
                    <a:pt x="1738" y="11491"/>
                  </a:cubicBezTo>
                  <a:cubicBezTo>
                    <a:pt x="1710" y="11498"/>
                    <a:pt x="1557" y="11512"/>
                    <a:pt x="1515" y="11512"/>
                  </a:cubicBezTo>
                  <a:cubicBezTo>
                    <a:pt x="1473" y="11512"/>
                    <a:pt x="1452" y="11715"/>
                    <a:pt x="1418" y="11736"/>
                  </a:cubicBezTo>
                  <a:cubicBezTo>
                    <a:pt x="1400" y="11747"/>
                    <a:pt x="1204" y="11584"/>
                    <a:pt x="1012" y="11420"/>
                  </a:cubicBezTo>
                  <a:cubicBezTo>
                    <a:pt x="940" y="11470"/>
                    <a:pt x="359" y="11877"/>
                    <a:pt x="339" y="11891"/>
                  </a:cubicBezTo>
                  <a:cubicBezTo>
                    <a:pt x="319" y="11905"/>
                    <a:pt x="409" y="12655"/>
                    <a:pt x="395" y="12672"/>
                  </a:cubicBezTo>
                  <a:cubicBezTo>
                    <a:pt x="385" y="12684"/>
                    <a:pt x="147" y="12680"/>
                    <a:pt x="0" y="12676"/>
                  </a:cubicBezTo>
                  <a:cubicBezTo>
                    <a:pt x="19" y="12735"/>
                    <a:pt x="49" y="12791"/>
                    <a:pt x="86" y="12841"/>
                  </a:cubicBezTo>
                  <a:cubicBezTo>
                    <a:pt x="106" y="12868"/>
                    <a:pt x="130" y="12895"/>
                    <a:pt x="161" y="12905"/>
                  </a:cubicBezTo>
                  <a:cubicBezTo>
                    <a:pt x="191" y="12915"/>
                    <a:pt x="222" y="12909"/>
                    <a:pt x="252" y="12903"/>
                  </a:cubicBezTo>
                  <a:cubicBezTo>
                    <a:pt x="504" y="12853"/>
                    <a:pt x="756" y="12803"/>
                    <a:pt x="1008" y="12753"/>
                  </a:cubicBezTo>
                  <a:cubicBezTo>
                    <a:pt x="1008" y="12753"/>
                    <a:pt x="1008" y="12753"/>
                    <a:pt x="1008" y="12753"/>
                  </a:cubicBezTo>
                  <a:cubicBezTo>
                    <a:pt x="1029" y="12753"/>
                    <a:pt x="4958" y="12760"/>
                    <a:pt x="4986" y="12795"/>
                  </a:cubicBezTo>
                  <a:cubicBezTo>
                    <a:pt x="5014" y="12830"/>
                    <a:pt x="5341" y="14344"/>
                    <a:pt x="5382" y="14386"/>
                  </a:cubicBezTo>
                  <a:cubicBezTo>
                    <a:pt x="5424" y="14428"/>
                    <a:pt x="5640" y="14554"/>
                    <a:pt x="5667" y="14603"/>
                  </a:cubicBezTo>
                  <a:cubicBezTo>
                    <a:pt x="5695" y="14652"/>
                    <a:pt x="5987" y="15367"/>
                    <a:pt x="6036" y="15381"/>
                  </a:cubicBezTo>
                  <a:cubicBezTo>
                    <a:pt x="6085" y="15395"/>
                    <a:pt x="6690" y="15409"/>
                    <a:pt x="6718" y="15381"/>
                  </a:cubicBezTo>
                  <a:cubicBezTo>
                    <a:pt x="6746" y="15353"/>
                    <a:pt x="7107" y="15143"/>
                    <a:pt x="7149" y="15143"/>
                  </a:cubicBezTo>
                  <a:cubicBezTo>
                    <a:pt x="7191" y="15143"/>
                    <a:pt x="8074" y="15241"/>
                    <a:pt x="8102" y="15241"/>
                  </a:cubicBezTo>
                  <a:cubicBezTo>
                    <a:pt x="8130" y="15241"/>
                    <a:pt x="8297" y="14134"/>
                    <a:pt x="8318" y="14106"/>
                  </a:cubicBezTo>
                  <a:cubicBezTo>
                    <a:pt x="8338" y="14078"/>
                    <a:pt x="9486" y="13993"/>
                    <a:pt x="9514" y="13993"/>
                  </a:cubicBezTo>
                  <a:cubicBezTo>
                    <a:pt x="9542" y="13993"/>
                    <a:pt x="9417" y="14386"/>
                    <a:pt x="9451" y="14414"/>
                  </a:cubicBezTo>
                  <a:cubicBezTo>
                    <a:pt x="9486" y="14442"/>
                    <a:pt x="10801" y="14414"/>
                    <a:pt x="10836" y="14428"/>
                  </a:cubicBezTo>
                  <a:cubicBezTo>
                    <a:pt x="10870" y="14442"/>
                    <a:pt x="10898" y="14568"/>
                    <a:pt x="10905" y="14694"/>
                  </a:cubicBezTo>
                  <a:cubicBezTo>
                    <a:pt x="10912" y="14821"/>
                    <a:pt x="10794" y="15206"/>
                    <a:pt x="10808" y="15283"/>
                  </a:cubicBezTo>
                  <a:cubicBezTo>
                    <a:pt x="10822" y="15360"/>
                    <a:pt x="11009" y="15690"/>
                    <a:pt x="11002" y="15760"/>
                  </a:cubicBezTo>
                  <a:cubicBezTo>
                    <a:pt x="10996" y="15830"/>
                    <a:pt x="10842" y="16797"/>
                    <a:pt x="10863" y="16860"/>
                  </a:cubicBezTo>
                  <a:cubicBezTo>
                    <a:pt x="10884" y="16923"/>
                    <a:pt x="11413" y="17898"/>
                    <a:pt x="11434" y="17954"/>
                  </a:cubicBezTo>
                  <a:cubicBezTo>
                    <a:pt x="11455" y="18010"/>
                    <a:pt x="11434" y="18416"/>
                    <a:pt x="11434" y="18416"/>
                  </a:cubicBezTo>
                  <a:lnTo>
                    <a:pt x="11281" y="18548"/>
                  </a:lnTo>
                  <a:cubicBezTo>
                    <a:pt x="11281" y="18548"/>
                    <a:pt x="11295" y="18746"/>
                    <a:pt x="11315" y="18837"/>
                  </a:cubicBezTo>
                  <a:cubicBezTo>
                    <a:pt x="11336" y="18928"/>
                    <a:pt x="11364" y="18991"/>
                    <a:pt x="11364" y="18991"/>
                  </a:cubicBezTo>
                  <a:cubicBezTo>
                    <a:pt x="11364" y="18991"/>
                    <a:pt x="11628" y="18802"/>
                    <a:pt x="11649" y="18802"/>
                  </a:cubicBezTo>
                  <a:cubicBezTo>
                    <a:pt x="11670" y="18802"/>
                    <a:pt x="12296" y="18802"/>
                    <a:pt x="12366" y="18802"/>
                  </a:cubicBezTo>
                  <a:cubicBezTo>
                    <a:pt x="12435" y="18802"/>
                    <a:pt x="12581" y="18704"/>
                    <a:pt x="12644" y="18690"/>
                  </a:cubicBezTo>
                  <a:cubicBezTo>
                    <a:pt x="12707" y="18676"/>
                    <a:pt x="13096" y="18718"/>
                    <a:pt x="13152" y="18725"/>
                  </a:cubicBezTo>
                  <a:cubicBezTo>
                    <a:pt x="13207" y="18732"/>
                    <a:pt x="13333" y="18592"/>
                    <a:pt x="13333" y="18592"/>
                  </a:cubicBezTo>
                  <a:lnTo>
                    <a:pt x="13341" y="18596"/>
                  </a:lnTo>
                  <a:cubicBezTo>
                    <a:pt x="13341" y="18587"/>
                    <a:pt x="13340" y="18581"/>
                    <a:pt x="13340" y="18581"/>
                  </a:cubicBezTo>
                  <a:cubicBezTo>
                    <a:pt x="13340" y="18581"/>
                    <a:pt x="13341" y="18587"/>
                    <a:pt x="13341" y="18596"/>
                  </a:cubicBezTo>
                  <a:lnTo>
                    <a:pt x="13764" y="18802"/>
                  </a:lnTo>
                  <a:lnTo>
                    <a:pt x="13666" y="19166"/>
                  </a:lnTo>
                  <a:cubicBezTo>
                    <a:pt x="13666" y="19166"/>
                    <a:pt x="13840" y="19180"/>
                    <a:pt x="13896" y="19209"/>
                  </a:cubicBezTo>
                  <a:cubicBezTo>
                    <a:pt x="13952" y="19237"/>
                    <a:pt x="13973" y="19272"/>
                    <a:pt x="14000" y="19251"/>
                  </a:cubicBezTo>
                  <a:cubicBezTo>
                    <a:pt x="14028" y="19230"/>
                    <a:pt x="14084" y="19054"/>
                    <a:pt x="14174" y="19061"/>
                  </a:cubicBezTo>
                  <a:cubicBezTo>
                    <a:pt x="14265" y="19068"/>
                    <a:pt x="14821" y="18914"/>
                    <a:pt x="14856" y="18949"/>
                  </a:cubicBezTo>
                  <a:cubicBezTo>
                    <a:pt x="14891" y="18984"/>
                    <a:pt x="14772" y="19244"/>
                    <a:pt x="14793" y="19300"/>
                  </a:cubicBezTo>
                  <a:cubicBezTo>
                    <a:pt x="14814" y="19356"/>
                    <a:pt x="14995" y="19615"/>
                    <a:pt x="15037" y="19629"/>
                  </a:cubicBezTo>
                  <a:cubicBezTo>
                    <a:pt x="15078" y="19643"/>
                    <a:pt x="16184" y="19853"/>
                    <a:pt x="16296" y="19846"/>
                  </a:cubicBezTo>
                  <a:cubicBezTo>
                    <a:pt x="16407" y="19839"/>
                    <a:pt x="16630" y="19818"/>
                    <a:pt x="16650" y="19769"/>
                  </a:cubicBezTo>
                  <a:cubicBezTo>
                    <a:pt x="16671" y="19720"/>
                    <a:pt x="16685" y="19440"/>
                    <a:pt x="16755" y="19426"/>
                  </a:cubicBezTo>
                  <a:cubicBezTo>
                    <a:pt x="16824" y="19412"/>
                    <a:pt x="16894" y="19412"/>
                    <a:pt x="16894" y="19412"/>
                  </a:cubicBezTo>
                  <a:cubicBezTo>
                    <a:pt x="16894" y="19412"/>
                    <a:pt x="16887" y="19328"/>
                    <a:pt x="16950" y="19342"/>
                  </a:cubicBezTo>
                  <a:cubicBezTo>
                    <a:pt x="17012" y="19356"/>
                    <a:pt x="16957" y="19615"/>
                    <a:pt x="16991" y="19636"/>
                  </a:cubicBezTo>
                  <a:cubicBezTo>
                    <a:pt x="17026" y="19657"/>
                    <a:pt x="17235" y="19699"/>
                    <a:pt x="17263" y="19769"/>
                  </a:cubicBezTo>
                  <a:cubicBezTo>
                    <a:pt x="17290" y="19839"/>
                    <a:pt x="17346" y="20148"/>
                    <a:pt x="17409" y="20162"/>
                  </a:cubicBezTo>
                  <a:cubicBezTo>
                    <a:pt x="17471" y="20176"/>
                    <a:pt x="17687" y="20099"/>
                    <a:pt x="17749" y="20162"/>
                  </a:cubicBezTo>
                  <a:cubicBezTo>
                    <a:pt x="17812" y="20225"/>
                    <a:pt x="17791" y="20302"/>
                    <a:pt x="17791" y="20302"/>
                  </a:cubicBezTo>
                  <a:cubicBezTo>
                    <a:pt x="17791" y="20302"/>
                    <a:pt x="18021" y="20309"/>
                    <a:pt x="18049" y="20302"/>
                  </a:cubicBezTo>
                  <a:cubicBezTo>
                    <a:pt x="18076" y="20295"/>
                    <a:pt x="18410" y="20526"/>
                    <a:pt x="18452" y="20603"/>
                  </a:cubicBezTo>
                  <a:cubicBezTo>
                    <a:pt x="18494" y="20681"/>
                    <a:pt x="18501" y="20926"/>
                    <a:pt x="18501" y="20926"/>
                  </a:cubicBezTo>
                  <a:cubicBezTo>
                    <a:pt x="18501" y="20926"/>
                    <a:pt x="18570" y="20807"/>
                    <a:pt x="18598" y="20807"/>
                  </a:cubicBezTo>
                  <a:cubicBezTo>
                    <a:pt x="18626" y="20807"/>
                    <a:pt x="18751" y="20917"/>
                    <a:pt x="18853" y="21188"/>
                  </a:cubicBezTo>
                  <a:cubicBezTo>
                    <a:pt x="18955" y="21459"/>
                    <a:pt x="19001" y="21552"/>
                    <a:pt x="19029" y="21552"/>
                  </a:cubicBezTo>
                  <a:cubicBezTo>
                    <a:pt x="19057" y="21552"/>
                    <a:pt x="19196" y="21571"/>
                    <a:pt x="19224" y="21552"/>
                  </a:cubicBezTo>
                  <a:cubicBezTo>
                    <a:pt x="19252" y="21533"/>
                    <a:pt x="19542" y="21281"/>
                    <a:pt x="19582" y="21262"/>
                  </a:cubicBezTo>
                  <a:cubicBezTo>
                    <a:pt x="19623" y="21244"/>
                    <a:pt x="19753" y="21262"/>
                    <a:pt x="19753" y="21262"/>
                  </a:cubicBezTo>
                  <a:cubicBezTo>
                    <a:pt x="19753" y="21262"/>
                    <a:pt x="19781" y="21393"/>
                    <a:pt x="19753" y="21421"/>
                  </a:cubicBezTo>
                  <a:cubicBezTo>
                    <a:pt x="19725" y="21449"/>
                    <a:pt x="19669" y="21578"/>
                    <a:pt x="19697" y="21560"/>
                  </a:cubicBezTo>
                  <a:cubicBezTo>
                    <a:pt x="19725" y="21543"/>
                    <a:pt x="19840" y="21600"/>
                    <a:pt x="19861" y="21562"/>
                  </a:cubicBezTo>
                  <a:cubicBezTo>
                    <a:pt x="19883" y="21524"/>
                    <a:pt x="19966" y="20019"/>
                    <a:pt x="19910" y="20010"/>
                  </a:cubicBezTo>
                  <a:cubicBezTo>
                    <a:pt x="19855" y="20001"/>
                    <a:pt x="19867" y="20113"/>
                    <a:pt x="19801" y="20103"/>
                  </a:cubicBezTo>
                  <a:cubicBezTo>
                    <a:pt x="19734" y="20094"/>
                    <a:pt x="19687" y="20066"/>
                    <a:pt x="19637" y="20085"/>
                  </a:cubicBezTo>
                  <a:cubicBezTo>
                    <a:pt x="19586" y="20103"/>
                    <a:pt x="19582" y="20356"/>
                    <a:pt x="19582" y="20356"/>
                  </a:cubicBezTo>
                  <a:cubicBezTo>
                    <a:pt x="19582" y="20356"/>
                    <a:pt x="19261" y="20300"/>
                    <a:pt x="19178" y="20309"/>
                  </a:cubicBezTo>
                  <a:cubicBezTo>
                    <a:pt x="19094" y="20318"/>
                    <a:pt x="19048" y="20318"/>
                    <a:pt x="19020" y="20300"/>
                  </a:cubicBezTo>
                  <a:cubicBezTo>
                    <a:pt x="18992" y="20281"/>
                    <a:pt x="18752" y="19842"/>
                    <a:pt x="18659" y="19814"/>
                  </a:cubicBezTo>
                  <a:cubicBezTo>
                    <a:pt x="18566" y="19786"/>
                    <a:pt x="18417" y="19692"/>
                    <a:pt x="18362" y="19664"/>
                  </a:cubicBezTo>
                  <a:cubicBezTo>
                    <a:pt x="18306" y="19636"/>
                    <a:pt x="18380" y="18860"/>
                    <a:pt x="18380" y="18795"/>
                  </a:cubicBezTo>
                  <a:cubicBezTo>
                    <a:pt x="18380" y="18730"/>
                    <a:pt x="18612" y="18402"/>
                    <a:pt x="18621" y="18328"/>
                  </a:cubicBezTo>
                  <a:cubicBezTo>
                    <a:pt x="18631" y="18253"/>
                    <a:pt x="18482" y="17832"/>
                    <a:pt x="18501" y="17776"/>
                  </a:cubicBezTo>
                  <a:cubicBezTo>
                    <a:pt x="18519" y="17720"/>
                    <a:pt x="18696" y="17402"/>
                    <a:pt x="18659" y="17346"/>
                  </a:cubicBezTo>
                  <a:cubicBezTo>
                    <a:pt x="18621" y="17290"/>
                    <a:pt x="18315" y="16720"/>
                    <a:pt x="18334" y="16692"/>
                  </a:cubicBezTo>
                  <a:cubicBezTo>
                    <a:pt x="18352" y="16664"/>
                    <a:pt x="18927" y="16103"/>
                    <a:pt x="18927" y="16103"/>
                  </a:cubicBezTo>
                  <a:lnTo>
                    <a:pt x="18881" y="15819"/>
                  </a:lnTo>
                  <a:lnTo>
                    <a:pt x="20970" y="15488"/>
                  </a:lnTo>
                  <a:cubicBezTo>
                    <a:pt x="20963" y="15479"/>
                    <a:pt x="20959" y="15473"/>
                    <a:pt x="20959" y="15473"/>
                  </a:cubicBezTo>
                  <a:cubicBezTo>
                    <a:pt x="20959" y="15473"/>
                    <a:pt x="20963" y="15479"/>
                    <a:pt x="20970" y="15488"/>
                  </a:cubicBezTo>
                  <a:lnTo>
                    <a:pt x="20977" y="15486"/>
                  </a:lnTo>
                  <a:cubicBezTo>
                    <a:pt x="20977" y="15486"/>
                    <a:pt x="20518" y="14309"/>
                    <a:pt x="20365" y="14141"/>
                  </a:cubicBezTo>
                  <a:cubicBezTo>
                    <a:pt x="20212" y="13972"/>
                    <a:pt x="19565" y="13412"/>
                    <a:pt x="19582" y="13299"/>
                  </a:cubicBezTo>
                  <a:cubicBezTo>
                    <a:pt x="19600" y="13187"/>
                    <a:pt x="19660" y="12599"/>
                    <a:pt x="19637" y="12514"/>
                  </a:cubicBezTo>
                  <a:cubicBezTo>
                    <a:pt x="19614" y="12430"/>
                    <a:pt x="19289" y="11617"/>
                    <a:pt x="19326" y="11547"/>
                  </a:cubicBezTo>
                  <a:cubicBezTo>
                    <a:pt x="19363" y="11477"/>
                    <a:pt x="19447" y="11309"/>
                    <a:pt x="19433" y="11197"/>
                  </a:cubicBezTo>
                  <a:cubicBezTo>
                    <a:pt x="19419" y="11084"/>
                    <a:pt x="19224" y="10552"/>
                    <a:pt x="19224" y="10468"/>
                  </a:cubicBezTo>
                  <a:cubicBezTo>
                    <a:pt x="19224" y="10383"/>
                    <a:pt x="19224" y="9823"/>
                    <a:pt x="19252" y="9725"/>
                  </a:cubicBezTo>
                  <a:cubicBezTo>
                    <a:pt x="19280" y="9626"/>
                    <a:pt x="19091" y="9351"/>
                    <a:pt x="19053" y="9282"/>
                  </a:cubicBezTo>
                  <a:cubicBezTo>
                    <a:pt x="19047" y="9270"/>
                    <a:pt x="19037" y="9258"/>
                    <a:pt x="19026" y="9247"/>
                  </a:cubicBezTo>
                  <a:lnTo>
                    <a:pt x="19025" y="9254"/>
                  </a:lnTo>
                  <a:lnTo>
                    <a:pt x="19026" y="9247"/>
                  </a:lnTo>
                  <a:cubicBezTo>
                    <a:pt x="18972" y="9193"/>
                    <a:pt x="18876" y="9150"/>
                    <a:pt x="18876" y="9150"/>
                  </a:cubicBezTo>
                  <a:lnTo>
                    <a:pt x="18918" y="8722"/>
                  </a:lnTo>
                  <a:cubicBezTo>
                    <a:pt x="18918" y="8722"/>
                    <a:pt x="19113" y="8644"/>
                    <a:pt x="19168" y="8459"/>
                  </a:cubicBezTo>
                  <a:cubicBezTo>
                    <a:pt x="19224" y="8274"/>
                    <a:pt x="19277" y="7986"/>
                    <a:pt x="19317" y="7930"/>
                  </a:cubicBezTo>
                  <a:cubicBezTo>
                    <a:pt x="19349" y="7885"/>
                    <a:pt x="19551" y="7757"/>
                    <a:pt x="19667" y="7698"/>
                  </a:cubicBezTo>
                  <a:lnTo>
                    <a:pt x="19667" y="7698"/>
                  </a:lnTo>
                  <a:cubicBezTo>
                    <a:pt x="19667" y="7698"/>
                    <a:pt x="19667" y="7698"/>
                    <a:pt x="19667" y="769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0" name="Shape">
              <a:extLst>
                <a:ext uri="{FF2B5EF4-FFF2-40B4-BE49-F238E27FC236}">
                  <a16:creationId xmlns:a16="http://schemas.microsoft.com/office/drawing/2014/main" id="{4EA8328A-3802-CB4B-872B-65A78676E4E3}"/>
                </a:ext>
              </a:extLst>
            </p:cNvPr>
            <p:cNvSpPr/>
            <p:nvPr/>
          </p:nvSpPr>
          <p:spPr>
            <a:xfrm>
              <a:off x="14071599" y="11163299"/>
              <a:ext cx="130" cy="3914"/>
            </a:xfrm>
            <a:custGeom>
              <a:avLst/>
              <a:gdLst/>
              <a:ahLst/>
              <a:cxnLst>
                <a:cxn ang="0">
                  <a:pos x="wd2" y="hd2"/>
                </a:cxn>
                <a:cxn ang="5400000">
                  <a:pos x="wd2" y="hd2"/>
                </a:cxn>
                <a:cxn ang="10800000">
                  <a:pos x="wd2" y="hd2"/>
                </a:cxn>
                <a:cxn ang="16200000">
                  <a:pos x="wd2" y="hd2"/>
                </a:cxn>
              </a:cxnLst>
              <a:rect l="0" t="0" r="r" b="b"/>
              <a:pathLst>
                <a:path w="20652" h="21600" extrusionOk="0">
                  <a:moveTo>
                    <a:pt x="1815" y="21600"/>
                  </a:moveTo>
                  <a:cubicBezTo>
                    <a:pt x="7592" y="8575"/>
                    <a:pt x="20652" y="458"/>
                    <a:pt x="20652" y="458"/>
                  </a:cubicBezTo>
                  <a:cubicBezTo>
                    <a:pt x="20652" y="458"/>
                    <a:pt x="4075" y="43"/>
                    <a:pt x="2568" y="0"/>
                  </a:cubicBezTo>
                  <a:cubicBezTo>
                    <a:pt x="-446" y="5982"/>
                    <a:pt x="-948" y="13461"/>
                    <a:pt x="1815" y="2160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1" name="Shape">
              <a:extLst>
                <a:ext uri="{FF2B5EF4-FFF2-40B4-BE49-F238E27FC236}">
                  <a16:creationId xmlns:a16="http://schemas.microsoft.com/office/drawing/2014/main" id="{8207FCBE-6075-C948-9DC8-23E4692366ED}"/>
                </a:ext>
              </a:extLst>
            </p:cNvPr>
            <p:cNvSpPr/>
            <p:nvPr/>
          </p:nvSpPr>
          <p:spPr>
            <a:xfrm>
              <a:off x="11074399" y="11137899"/>
              <a:ext cx="13848" cy="175067"/>
            </a:xfrm>
            <a:custGeom>
              <a:avLst/>
              <a:gdLst/>
              <a:ahLst/>
              <a:cxnLst>
                <a:cxn ang="0">
                  <a:pos x="wd2" y="hd2"/>
                </a:cxn>
                <a:cxn ang="5400000">
                  <a:pos x="wd2" y="hd2"/>
                </a:cxn>
                <a:cxn ang="10800000">
                  <a:pos x="wd2" y="hd2"/>
                </a:cxn>
                <a:cxn ang="16200000">
                  <a:pos x="wd2" y="hd2"/>
                </a:cxn>
              </a:cxnLst>
              <a:rect l="0" t="0" r="r" b="b"/>
              <a:pathLst>
                <a:path w="21555" h="21600" extrusionOk="0">
                  <a:moveTo>
                    <a:pt x="2184" y="3233"/>
                  </a:moveTo>
                  <a:cubicBezTo>
                    <a:pt x="6665" y="5246"/>
                    <a:pt x="18953" y="19049"/>
                    <a:pt x="21200" y="21600"/>
                  </a:cubicBezTo>
                  <a:lnTo>
                    <a:pt x="21555" y="21579"/>
                  </a:lnTo>
                  <a:cubicBezTo>
                    <a:pt x="21555" y="21579"/>
                    <a:pt x="7126" y="5026"/>
                    <a:pt x="2184" y="2807"/>
                  </a:cubicBezTo>
                  <a:cubicBezTo>
                    <a:pt x="666" y="2124"/>
                    <a:pt x="84" y="1096"/>
                    <a:pt x="3" y="0"/>
                  </a:cubicBezTo>
                  <a:cubicBezTo>
                    <a:pt x="-45" y="1252"/>
                    <a:pt x="468" y="2463"/>
                    <a:pt x="2184" y="3233"/>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2" name="Shape">
              <a:extLst>
                <a:ext uri="{FF2B5EF4-FFF2-40B4-BE49-F238E27FC236}">
                  <a16:creationId xmlns:a16="http://schemas.microsoft.com/office/drawing/2014/main" id="{7732E511-769A-2D4A-99EC-3BE404836531}"/>
                </a:ext>
              </a:extLst>
            </p:cNvPr>
            <p:cNvSpPr/>
            <p:nvPr/>
          </p:nvSpPr>
          <p:spPr>
            <a:xfrm>
              <a:off x="14020799" y="13144500"/>
              <a:ext cx="101320" cy="171056"/>
            </a:xfrm>
            <a:custGeom>
              <a:avLst/>
              <a:gdLst/>
              <a:ahLst/>
              <a:cxnLst>
                <a:cxn ang="0">
                  <a:pos x="wd2" y="hd2"/>
                </a:cxn>
                <a:cxn ang="5400000">
                  <a:pos x="wd2" y="hd2"/>
                </a:cxn>
                <a:cxn ang="10800000">
                  <a:pos x="wd2" y="hd2"/>
                </a:cxn>
                <a:cxn ang="16200000">
                  <a:pos x="wd2" y="hd2"/>
                </a:cxn>
              </a:cxnLst>
              <a:rect l="0" t="0" r="r" b="b"/>
              <a:pathLst>
                <a:path w="21600" h="21600" extrusionOk="0">
                  <a:moveTo>
                    <a:pt x="21221" y="349"/>
                  </a:moveTo>
                  <a:cubicBezTo>
                    <a:pt x="20882" y="1752"/>
                    <a:pt x="5991" y="16586"/>
                    <a:pt x="4637" y="18391"/>
                  </a:cubicBezTo>
                  <a:cubicBezTo>
                    <a:pt x="4215" y="18954"/>
                    <a:pt x="2382" y="20176"/>
                    <a:pt x="0" y="21600"/>
                  </a:cubicBezTo>
                  <a:cubicBezTo>
                    <a:pt x="2401" y="20166"/>
                    <a:pt x="4252" y="18933"/>
                    <a:pt x="4677" y="18367"/>
                  </a:cubicBezTo>
                  <a:cubicBezTo>
                    <a:pt x="6031" y="16563"/>
                    <a:pt x="20922" y="1728"/>
                    <a:pt x="21261" y="325"/>
                  </a:cubicBezTo>
                  <a:cubicBezTo>
                    <a:pt x="21281" y="239"/>
                    <a:pt x="21401" y="129"/>
                    <a:pt x="21600" y="0"/>
                  </a:cubicBezTo>
                  <a:cubicBezTo>
                    <a:pt x="21380" y="139"/>
                    <a:pt x="21242" y="258"/>
                    <a:pt x="21221" y="349"/>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3" name="Shape">
              <a:extLst>
                <a:ext uri="{FF2B5EF4-FFF2-40B4-BE49-F238E27FC236}">
                  <a16:creationId xmlns:a16="http://schemas.microsoft.com/office/drawing/2014/main" id="{CB6C0F0C-3DDF-A24F-9F29-3F53C2454D30}"/>
                </a:ext>
              </a:extLst>
            </p:cNvPr>
            <p:cNvSpPr/>
            <p:nvPr/>
          </p:nvSpPr>
          <p:spPr>
            <a:xfrm>
              <a:off x="13843000" y="12471399"/>
              <a:ext cx="2869651" cy="2791940"/>
            </a:xfrm>
            <a:custGeom>
              <a:avLst/>
              <a:gdLst/>
              <a:ahLst/>
              <a:cxnLst>
                <a:cxn ang="0">
                  <a:pos x="wd2" y="hd2"/>
                </a:cxn>
                <a:cxn ang="5400000">
                  <a:pos x="wd2" y="hd2"/>
                </a:cxn>
                <a:cxn ang="10800000">
                  <a:pos x="wd2" y="hd2"/>
                </a:cxn>
                <a:cxn ang="16200000">
                  <a:pos x="wd2" y="hd2"/>
                </a:cxn>
              </a:cxnLst>
              <a:rect l="0" t="0" r="r" b="b"/>
              <a:pathLst>
                <a:path w="21541" h="21584" extrusionOk="0">
                  <a:moveTo>
                    <a:pt x="21176" y="18666"/>
                  </a:moveTo>
                  <a:cubicBezTo>
                    <a:pt x="20930" y="18497"/>
                    <a:pt x="20683" y="18328"/>
                    <a:pt x="20437" y="18159"/>
                  </a:cubicBezTo>
                  <a:cubicBezTo>
                    <a:pt x="20324" y="18081"/>
                    <a:pt x="20206" y="17998"/>
                    <a:pt x="20141" y="17875"/>
                  </a:cubicBezTo>
                  <a:cubicBezTo>
                    <a:pt x="20075" y="17751"/>
                    <a:pt x="20071" y="17603"/>
                    <a:pt x="20059" y="17462"/>
                  </a:cubicBezTo>
                  <a:cubicBezTo>
                    <a:pt x="20035" y="17168"/>
                    <a:pt x="19969" y="16877"/>
                    <a:pt x="19863" y="16602"/>
                  </a:cubicBezTo>
                  <a:cubicBezTo>
                    <a:pt x="19740" y="16280"/>
                    <a:pt x="19564" y="15982"/>
                    <a:pt x="19436" y="15662"/>
                  </a:cubicBezTo>
                  <a:cubicBezTo>
                    <a:pt x="19308" y="15342"/>
                    <a:pt x="19230" y="14985"/>
                    <a:pt x="19314" y="14650"/>
                  </a:cubicBezTo>
                  <a:cubicBezTo>
                    <a:pt x="19367" y="14440"/>
                    <a:pt x="19482" y="14241"/>
                    <a:pt x="19475" y="14025"/>
                  </a:cubicBezTo>
                  <a:cubicBezTo>
                    <a:pt x="19468" y="13816"/>
                    <a:pt x="19347" y="13627"/>
                    <a:pt x="19331" y="13419"/>
                  </a:cubicBezTo>
                  <a:cubicBezTo>
                    <a:pt x="19298" y="12971"/>
                    <a:pt x="19749" y="12592"/>
                    <a:pt x="19696" y="12147"/>
                  </a:cubicBezTo>
                  <a:cubicBezTo>
                    <a:pt x="19656" y="11813"/>
                    <a:pt x="19352" y="11591"/>
                    <a:pt x="19080" y="11406"/>
                  </a:cubicBezTo>
                  <a:cubicBezTo>
                    <a:pt x="18848" y="11249"/>
                    <a:pt x="18611" y="11080"/>
                    <a:pt x="18468" y="10835"/>
                  </a:cubicBezTo>
                  <a:cubicBezTo>
                    <a:pt x="18387" y="10694"/>
                    <a:pt x="18340" y="10535"/>
                    <a:pt x="18314" y="10374"/>
                  </a:cubicBezTo>
                  <a:cubicBezTo>
                    <a:pt x="18180" y="9549"/>
                    <a:pt x="18560" y="8739"/>
                    <a:pt x="18930" y="7994"/>
                  </a:cubicBezTo>
                  <a:cubicBezTo>
                    <a:pt x="19012" y="7829"/>
                    <a:pt x="19081" y="7616"/>
                    <a:pt x="19190" y="7470"/>
                  </a:cubicBezTo>
                  <a:cubicBezTo>
                    <a:pt x="19219" y="7431"/>
                    <a:pt x="19230" y="7401"/>
                    <a:pt x="19247" y="7374"/>
                  </a:cubicBezTo>
                  <a:cubicBezTo>
                    <a:pt x="18614" y="6911"/>
                    <a:pt x="16076" y="5052"/>
                    <a:pt x="16021" y="5024"/>
                  </a:cubicBezTo>
                  <a:cubicBezTo>
                    <a:pt x="15957" y="4991"/>
                    <a:pt x="16116" y="4140"/>
                    <a:pt x="16100" y="4075"/>
                  </a:cubicBezTo>
                  <a:cubicBezTo>
                    <a:pt x="16084" y="4009"/>
                    <a:pt x="8966" y="0"/>
                    <a:pt x="8966" y="0"/>
                  </a:cubicBezTo>
                  <a:cubicBezTo>
                    <a:pt x="8966" y="0"/>
                    <a:pt x="8959" y="0"/>
                    <a:pt x="8945" y="0"/>
                  </a:cubicBezTo>
                  <a:cubicBezTo>
                    <a:pt x="8945" y="7"/>
                    <a:pt x="8945" y="12"/>
                    <a:pt x="8945" y="12"/>
                  </a:cubicBezTo>
                  <a:cubicBezTo>
                    <a:pt x="8945" y="12"/>
                    <a:pt x="8945" y="7"/>
                    <a:pt x="8945" y="0"/>
                  </a:cubicBezTo>
                  <a:cubicBezTo>
                    <a:pt x="8539" y="3"/>
                    <a:pt x="2397" y="50"/>
                    <a:pt x="2262" y="74"/>
                  </a:cubicBezTo>
                  <a:cubicBezTo>
                    <a:pt x="2340" y="213"/>
                    <a:pt x="2892" y="1206"/>
                    <a:pt x="2936" y="1370"/>
                  </a:cubicBezTo>
                  <a:cubicBezTo>
                    <a:pt x="2984" y="1546"/>
                    <a:pt x="2984" y="2135"/>
                    <a:pt x="3008" y="2266"/>
                  </a:cubicBezTo>
                  <a:cubicBezTo>
                    <a:pt x="3032" y="2397"/>
                    <a:pt x="2960" y="2610"/>
                    <a:pt x="2920" y="2675"/>
                  </a:cubicBezTo>
                  <a:cubicBezTo>
                    <a:pt x="2884" y="2735"/>
                    <a:pt x="2449" y="2780"/>
                    <a:pt x="2376" y="2788"/>
                  </a:cubicBezTo>
                  <a:cubicBezTo>
                    <a:pt x="2370" y="2827"/>
                    <a:pt x="2357" y="2922"/>
                    <a:pt x="2355" y="2984"/>
                  </a:cubicBezTo>
                  <a:cubicBezTo>
                    <a:pt x="2352" y="3064"/>
                    <a:pt x="2084" y="3619"/>
                    <a:pt x="2119" y="3632"/>
                  </a:cubicBezTo>
                  <a:cubicBezTo>
                    <a:pt x="2155" y="3644"/>
                    <a:pt x="2942" y="3901"/>
                    <a:pt x="3014" y="3938"/>
                  </a:cubicBezTo>
                  <a:cubicBezTo>
                    <a:pt x="3086" y="3975"/>
                    <a:pt x="3013" y="4380"/>
                    <a:pt x="3014" y="4503"/>
                  </a:cubicBezTo>
                  <a:cubicBezTo>
                    <a:pt x="3014" y="4518"/>
                    <a:pt x="3000" y="4539"/>
                    <a:pt x="2975" y="4563"/>
                  </a:cubicBezTo>
                  <a:cubicBezTo>
                    <a:pt x="2818" y="4721"/>
                    <a:pt x="2216" y="5039"/>
                    <a:pt x="2119" y="5145"/>
                  </a:cubicBezTo>
                  <a:cubicBezTo>
                    <a:pt x="2112" y="5153"/>
                    <a:pt x="2108" y="5160"/>
                    <a:pt x="2107" y="5165"/>
                  </a:cubicBezTo>
                  <a:cubicBezTo>
                    <a:pt x="2096" y="5251"/>
                    <a:pt x="1571" y="6159"/>
                    <a:pt x="1524" y="6270"/>
                  </a:cubicBezTo>
                  <a:cubicBezTo>
                    <a:pt x="1509" y="6305"/>
                    <a:pt x="1443" y="6380"/>
                    <a:pt x="1359" y="6468"/>
                  </a:cubicBezTo>
                  <a:cubicBezTo>
                    <a:pt x="1174" y="6660"/>
                    <a:pt x="895" y="6912"/>
                    <a:pt x="846" y="6925"/>
                  </a:cubicBezTo>
                  <a:cubicBezTo>
                    <a:pt x="774" y="6943"/>
                    <a:pt x="190" y="6906"/>
                    <a:pt x="190" y="6906"/>
                  </a:cubicBezTo>
                  <a:cubicBezTo>
                    <a:pt x="190" y="6906"/>
                    <a:pt x="774" y="6943"/>
                    <a:pt x="846" y="6925"/>
                  </a:cubicBezTo>
                  <a:cubicBezTo>
                    <a:pt x="895" y="6912"/>
                    <a:pt x="1174" y="6660"/>
                    <a:pt x="1359" y="6468"/>
                  </a:cubicBezTo>
                  <a:cubicBezTo>
                    <a:pt x="1174" y="6660"/>
                    <a:pt x="896" y="6911"/>
                    <a:pt x="847" y="6923"/>
                  </a:cubicBezTo>
                  <a:cubicBezTo>
                    <a:pt x="782" y="6940"/>
                    <a:pt x="278" y="6911"/>
                    <a:pt x="188" y="6905"/>
                  </a:cubicBezTo>
                  <a:cubicBezTo>
                    <a:pt x="195" y="7101"/>
                    <a:pt x="65" y="7370"/>
                    <a:pt x="5" y="7486"/>
                  </a:cubicBezTo>
                  <a:cubicBezTo>
                    <a:pt x="-59" y="7609"/>
                    <a:pt x="497" y="9033"/>
                    <a:pt x="537" y="9180"/>
                  </a:cubicBezTo>
                  <a:cubicBezTo>
                    <a:pt x="576" y="9327"/>
                    <a:pt x="473" y="10358"/>
                    <a:pt x="444" y="10555"/>
                  </a:cubicBezTo>
                  <a:cubicBezTo>
                    <a:pt x="414" y="10751"/>
                    <a:pt x="1522" y="11733"/>
                    <a:pt x="1784" y="12027"/>
                  </a:cubicBezTo>
                  <a:cubicBezTo>
                    <a:pt x="2046" y="12322"/>
                    <a:pt x="2833" y="14384"/>
                    <a:pt x="2833" y="14384"/>
                  </a:cubicBezTo>
                  <a:lnTo>
                    <a:pt x="2820" y="14386"/>
                  </a:lnTo>
                  <a:cubicBezTo>
                    <a:pt x="2921" y="14521"/>
                    <a:pt x="3434" y="15203"/>
                    <a:pt x="3476" y="15181"/>
                  </a:cubicBezTo>
                  <a:cubicBezTo>
                    <a:pt x="3524" y="15157"/>
                    <a:pt x="3917" y="15181"/>
                    <a:pt x="4060" y="15181"/>
                  </a:cubicBezTo>
                  <a:cubicBezTo>
                    <a:pt x="4203" y="15181"/>
                    <a:pt x="4513" y="15820"/>
                    <a:pt x="4513" y="15820"/>
                  </a:cubicBezTo>
                  <a:lnTo>
                    <a:pt x="5121" y="15820"/>
                  </a:lnTo>
                  <a:cubicBezTo>
                    <a:pt x="5121" y="15820"/>
                    <a:pt x="5097" y="16114"/>
                    <a:pt x="5121" y="16163"/>
                  </a:cubicBezTo>
                  <a:cubicBezTo>
                    <a:pt x="5145" y="16212"/>
                    <a:pt x="6932" y="16740"/>
                    <a:pt x="7087" y="16777"/>
                  </a:cubicBezTo>
                  <a:cubicBezTo>
                    <a:pt x="7106" y="16781"/>
                    <a:pt x="7121" y="16792"/>
                    <a:pt x="7133" y="16807"/>
                  </a:cubicBezTo>
                  <a:cubicBezTo>
                    <a:pt x="7178" y="16821"/>
                    <a:pt x="7327" y="16869"/>
                    <a:pt x="7441" y="16948"/>
                  </a:cubicBezTo>
                  <a:cubicBezTo>
                    <a:pt x="7576" y="17042"/>
                    <a:pt x="8108" y="17190"/>
                    <a:pt x="8267" y="17231"/>
                  </a:cubicBezTo>
                  <a:cubicBezTo>
                    <a:pt x="8426" y="17272"/>
                    <a:pt x="8887" y="17255"/>
                    <a:pt x="8990" y="17255"/>
                  </a:cubicBezTo>
                  <a:cubicBezTo>
                    <a:pt x="9093" y="17255"/>
                    <a:pt x="9241" y="16982"/>
                    <a:pt x="9241" y="16982"/>
                  </a:cubicBezTo>
                  <a:lnTo>
                    <a:pt x="10078" y="17902"/>
                  </a:lnTo>
                  <a:cubicBezTo>
                    <a:pt x="10078" y="17902"/>
                    <a:pt x="10102" y="18826"/>
                    <a:pt x="10110" y="18884"/>
                  </a:cubicBezTo>
                  <a:cubicBezTo>
                    <a:pt x="10118" y="18941"/>
                    <a:pt x="10317" y="19653"/>
                    <a:pt x="10307" y="19735"/>
                  </a:cubicBezTo>
                  <a:cubicBezTo>
                    <a:pt x="10296" y="19818"/>
                    <a:pt x="10499" y="20405"/>
                    <a:pt x="10611" y="20553"/>
                  </a:cubicBezTo>
                  <a:cubicBezTo>
                    <a:pt x="10722" y="20700"/>
                    <a:pt x="10855" y="21182"/>
                    <a:pt x="10855" y="21182"/>
                  </a:cubicBezTo>
                  <a:cubicBezTo>
                    <a:pt x="11367" y="21181"/>
                    <a:pt x="12070" y="21175"/>
                    <a:pt x="12070" y="21175"/>
                  </a:cubicBezTo>
                  <a:lnTo>
                    <a:pt x="12629" y="20864"/>
                  </a:lnTo>
                  <a:cubicBezTo>
                    <a:pt x="12629" y="20864"/>
                    <a:pt x="13097" y="20995"/>
                    <a:pt x="13145" y="21076"/>
                  </a:cubicBezTo>
                  <a:cubicBezTo>
                    <a:pt x="13193" y="21158"/>
                    <a:pt x="13272" y="21404"/>
                    <a:pt x="13320" y="21396"/>
                  </a:cubicBezTo>
                  <a:cubicBezTo>
                    <a:pt x="13367" y="21389"/>
                    <a:pt x="13860" y="21567"/>
                    <a:pt x="13971" y="21584"/>
                  </a:cubicBezTo>
                  <a:cubicBezTo>
                    <a:pt x="14082" y="21600"/>
                    <a:pt x="14400" y="21142"/>
                    <a:pt x="14527" y="21142"/>
                  </a:cubicBezTo>
                  <a:cubicBezTo>
                    <a:pt x="14654" y="21142"/>
                    <a:pt x="15497" y="21453"/>
                    <a:pt x="15576" y="21469"/>
                  </a:cubicBezTo>
                  <a:cubicBezTo>
                    <a:pt x="15655" y="21485"/>
                    <a:pt x="16259" y="21191"/>
                    <a:pt x="16355" y="21142"/>
                  </a:cubicBezTo>
                  <a:cubicBezTo>
                    <a:pt x="16450" y="21093"/>
                    <a:pt x="16593" y="20585"/>
                    <a:pt x="16641" y="20585"/>
                  </a:cubicBezTo>
                  <a:cubicBezTo>
                    <a:pt x="16688" y="20585"/>
                    <a:pt x="17626" y="20864"/>
                    <a:pt x="17721" y="20941"/>
                  </a:cubicBezTo>
                  <a:cubicBezTo>
                    <a:pt x="17816" y="21018"/>
                    <a:pt x="18484" y="20405"/>
                    <a:pt x="18531" y="20373"/>
                  </a:cubicBezTo>
                  <a:cubicBezTo>
                    <a:pt x="18579" y="20340"/>
                    <a:pt x="19215" y="20373"/>
                    <a:pt x="19262" y="20373"/>
                  </a:cubicBezTo>
                  <a:cubicBezTo>
                    <a:pt x="19304" y="20373"/>
                    <a:pt x="21087" y="19177"/>
                    <a:pt x="21541" y="18872"/>
                  </a:cubicBezTo>
                  <a:cubicBezTo>
                    <a:pt x="21427" y="18791"/>
                    <a:pt x="21277" y="18736"/>
                    <a:pt x="21176" y="18666"/>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4" name="Shape">
              <a:extLst>
                <a:ext uri="{FF2B5EF4-FFF2-40B4-BE49-F238E27FC236}">
                  <a16:creationId xmlns:a16="http://schemas.microsoft.com/office/drawing/2014/main" id="{DD9F1560-6F1B-D846-B8E0-A3C5D1F34D64}"/>
                </a:ext>
              </a:extLst>
            </p:cNvPr>
            <p:cNvSpPr/>
            <p:nvPr/>
          </p:nvSpPr>
          <p:spPr>
            <a:xfrm>
              <a:off x="14122400" y="13068299"/>
              <a:ext cx="113972" cy="7528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cubicBezTo>
                    <a:pt x="2443" y="17660"/>
                    <a:pt x="17637" y="5840"/>
                    <a:pt x="21600" y="0"/>
                  </a:cubicBezTo>
                  <a:cubicBezTo>
                    <a:pt x="17562" y="5885"/>
                    <a:pt x="2333" y="17725"/>
                    <a:pt x="0" y="21600"/>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5" name="Shape">
              <a:extLst>
                <a:ext uri="{FF2B5EF4-FFF2-40B4-BE49-F238E27FC236}">
                  <a16:creationId xmlns:a16="http://schemas.microsoft.com/office/drawing/2014/main" id="{268584B9-A743-6B4B-B2D4-B54C57781520}"/>
                </a:ext>
              </a:extLst>
            </p:cNvPr>
            <p:cNvSpPr/>
            <p:nvPr/>
          </p:nvSpPr>
          <p:spPr>
            <a:xfrm>
              <a:off x="13779499" y="12814300"/>
              <a:ext cx="473387" cy="560760"/>
            </a:xfrm>
            <a:custGeom>
              <a:avLst/>
              <a:gdLst/>
              <a:ahLst/>
              <a:cxnLst>
                <a:cxn ang="0">
                  <a:pos x="wd2" y="hd2"/>
                </a:cxn>
                <a:cxn ang="5400000">
                  <a:pos x="wd2" y="hd2"/>
                </a:cxn>
                <a:cxn ang="10800000">
                  <a:pos x="wd2" y="hd2"/>
                </a:cxn>
                <a:cxn ang="16200000">
                  <a:pos x="wd2" y="hd2"/>
                </a:cxn>
              </a:cxnLst>
              <a:rect l="0" t="0" r="r" b="b"/>
              <a:pathLst>
                <a:path w="21358" h="21503" extrusionOk="0">
                  <a:moveTo>
                    <a:pt x="8152" y="21478"/>
                  </a:moveTo>
                  <a:cubicBezTo>
                    <a:pt x="8447" y="21415"/>
                    <a:pt x="10116" y="20170"/>
                    <a:pt x="11227" y="19218"/>
                  </a:cubicBezTo>
                  <a:cubicBezTo>
                    <a:pt x="11731" y="18786"/>
                    <a:pt x="12119" y="18415"/>
                    <a:pt x="12208" y="18244"/>
                  </a:cubicBezTo>
                  <a:cubicBezTo>
                    <a:pt x="12495" y="17696"/>
                    <a:pt x="15646" y="13191"/>
                    <a:pt x="15718" y="12765"/>
                  </a:cubicBezTo>
                  <a:cubicBezTo>
                    <a:pt x="15722" y="12737"/>
                    <a:pt x="15751" y="12701"/>
                    <a:pt x="15798" y="12659"/>
                  </a:cubicBezTo>
                  <a:cubicBezTo>
                    <a:pt x="16353" y="12141"/>
                    <a:pt x="19979" y="10559"/>
                    <a:pt x="20940" y="9772"/>
                  </a:cubicBezTo>
                  <a:cubicBezTo>
                    <a:pt x="21083" y="9653"/>
                    <a:pt x="21166" y="9553"/>
                    <a:pt x="21166" y="9478"/>
                  </a:cubicBezTo>
                  <a:cubicBezTo>
                    <a:pt x="21161" y="8869"/>
                    <a:pt x="21600" y="6860"/>
                    <a:pt x="21166" y="6677"/>
                  </a:cubicBezTo>
                  <a:cubicBezTo>
                    <a:pt x="20731" y="6495"/>
                    <a:pt x="16004" y="5221"/>
                    <a:pt x="15789" y="5158"/>
                  </a:cubicBezTo>
                  <a:cubicBezTo>
                    <a:pt x="15574" y="5095"/>
                    <a:pt x="17186" y="2340"/>
                    <a:pt x="17204" y="1944"/>
                  </a:cubicBezTo>
                  <a:cubicBezTo>
                    <a:pt x="17218" y="1632"/>
                    <a:pt x="17298" y="1153"/>
                    <a:pt x="17332" y="964"/>
                  </a:cubicBezTo>
                  <a:cubicBezTo>
                    <a:pt x="17295" y="967"/>
                    <a:pt x="17269" y="969"/>
                    <a:pt x="17269" y="969"/>
                  </a:cubicBezTo>
                  <a:cubicBezTo>
                    <a:pt x="17269" y="969"/>
                    <a:pt x="16123" y="-39"/>
                    <a:pt x="15741" y="2"/>
                  </a:cubicBezTo>
                  <a:cubicBezTo>
                    <a:pt x="15359" y="42"/>
                    <a:pt x="13354" y="1219"/>
                    <a:pt x="12829" y="1219"/>
                  </a:cubicBezTo>
                  <a:cubicBezTo>
                    <a:pt x="12304" y="1219"/>
                    <a:pt x="10489" y="164"/>
                    <a:pt x="10489" y="164"/>
                  </a:cubicBezTo>
                  <a:cubicBezTo>
                    <a:pt x="10489" y="164"/>
                    <a:pt x="10059" y="3938"/>
                    <a:pt x="9916" y="4303"/>
                  </a:cubicBezTo>
                  <a:cubicBezTo>
                    <a:pt x="9773" y="4669"/>
                    <a:pt x="6048" y="5196"/>
                    <a:pt x="5666" y="5156"/>
                  </a:cubicBezTo>
                  <a:cubicBezTo>
                    <a:pt x="5285" y="5115"/>
                    <a:pt x="2038" y="3411"/>
                    <a:pt x="1417" y="3167"/>
                  </a:cubicBezTo>
                  <a:cubicBezTo>
                    <a:pt x="796" y="2924"/>
                    <a:pt x="280" y="2964"/>
                    <a:pt x="280" y="2964"/>
                  </a:cubicBezTo>
                  <a:lnTo>
                    <a:pt x="0" y="4298"/>
                  </a:lnTo>
                  <a:cubicBezTo>
                    <a:pt x="115" y="4395"/>
                    <a:pt x="213" y="4495"/>
                    <a:pt x="280" y="4597"/>
                  </a:cubicBezTo>
                  <a:cubicBezTo>
                    <a:pt x="671" y="5194"/>
                    <a:pt x="2611" y="7591"/>
                    <a:pt x="2324" y="8443"/>
                  </a:cubicBezTo>
                  <a:cubicBezTo>
                    <a:pt x="2038" y="9295"/>
                    <a:pt x="2038" y="14165"/>
                    <a:pt x="2038" y="14896"/>
                  </a:cubicBezTo>
                  <a:cubicBezTo>
                    <a:pt x="2038" y="15626"/>
                    <a:pt x="4043" y="20252"/>
                    <a:pt x="4186" y="21226"/>
                  </a:cubicBezTo>
                  <a:cubicBezTo>
                    <a:pt x="4194" y="21278"/>
                    <a:pt x="4188" y="21335"/>
                    <a:pt x="4190" y="21389"/>
                  </a:cubicBezTo>
                  <a:cubicBezTo>
                    <a:pt x="4733" y="21416"/>
                    <a:pt x="7761" y="21561"/>
                    <a:pt x="8152" y="21478"/>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6" name="Shape">
              <a:extLst>
                <a:ext uri="{FF2B5EF4-FFF2-40B4-BE49-F238E27FC236}">
                  <a16:creationId xmlns:a16="http://schemas.microsoft.com/office/drawing/2014/main" id="{44558A0C-2C72-8147-8584-37A0A0C1D329}"/>
                </a:ext>
              </a:extLst>
            </p:cNvPr>
            <p:cNvSpPr/>
            <p:nvPr/>
          </p:nvSpPr>
          <p:spPr>
            <a:xfrm>
              <a:off x="14122399" y="12839700"/>
              <a:ext cx="124049" cy="229722"/>
            </a:xfrm>
            <a:custGeom>
              <a:avLst/>
              <a:gdLst/>
              <a:ahLst/>
              <a:cxnLst>
                <a:cxn ang="0">
                  <a:pos x="wd2" y="hd2"/>
                </a:cxn>
                <a:cxn ang="5400000">
                  <a:pos x="wd2" y="hd2"/>
                </a:cxn>
                <a:cxn ang="10800000">
                  <a:pos x="wd2" y="hd2"/>
                </a:cxn>
                <a:cxn ang="16200000">
                  <a:pos x="wd2" y="hd2"/>
                </a:cxn>
              </a:cxnLst>
              <a:rect l="0" t="0" r="r" b="b"/>
              <a:pathLst>
                <a:path w="20034" h="21600" extrusionOk="0">
                  <a:moveTo>
                    <a:pt x="70" y="10285"/>
                  </a:moveTo>
                  <a:cubicBezTo>
                    <a:pt x="839" y="10440"/>
                    <a:pt x="17760" y="13564"/>
                    <a:pt x="19315" y="14011"/>
                  </a:cubicBezTo>
                  <a:cubicBezTo>
                    <a:pt x="20870" y="14459"/>
                    <a:pt x="19299" y="19385"/>
                    <a:pt x="19315" y="20878"/>
                  </a:cubicBezTo>
                  <a:cubicBezTo>
                    <a:pt x="19317" y="21062"/>
                    <a:pt x="19021" y="21309"/>
                    <a:pt x="18507" y="21600"/>
                  </a:cubicBezTo>
                  <a:cubicBezTo>
                    <a:pt x="19041" y="21301"/>
                    <a:pt x="19348" y="21048"/>
                    <a:pt x="19346" y="20860"/>
                  </a:cubicBezTo>
                  <a:cubicBezTo>
                    <a:pt x="19329" y="19367"/>
                    <a:pt x="20901" y="14442"/>
                    <a:pt x="19346" y="13994"/>
                  </a:cubicBezTo>
                  <a:cubicBezTo>
                    <a:pt x="17791" y="13546"/>
                    <a:pt x="870" y="10422"/>
                    <a:pt x="100" y="10268"/>
                  </a:cubicBezTo>
                  <a:cubicBezTo>
                    <a:pt x="-669" y="10113"/>
                    <a:pt x="5100" y="3359"/>
                    <a:pt x="5164" y="2388"/>
                  </a:cubicBezTo>
                  <a:cubicBezTo>
                    <a:pt x="5214" y="1631"/>
                    <a:pt x="5495" y="476"/>
                    <a:pt x="5618" y="0"/>
                  </a:cubicBezTo>
                  <a:cubicBezTo>
                    <a:pt x="5611" y="0"/>
                    <a:pt x="5599" y="1"/>
                    <a:pt x="5592" y="1"/>
                  </a:cubicBezTo>
                  <a:cubicBezTo>
                    <a:pt x="5472" y="465"/>
                    <a:pt x="5184" y="1639"/>
                    <a:pt x="5134" y="2406"/>
                  </a:cubicBezTo>
                  <a:cubicBezTo>
                    <a:pt x="5070" y="3376"/>
                    <a:pt x="-699" y="10130"/>
                    <a:pt x="70" y="1028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7" name="Line">
              <a:extLst>
                <a:ext uri="{FF2B5EF4-FFF2-40B4-BE49-F238E27FC236}">
                  <a16:creationId xmlns:a16="http://schemas.microsoft.com/office/drawing/2014/main" id="{87A15B1C-8B18-584F-A8D1-15E5CC59BEB8}"/>
                </a:ext>
              </a:extLst>
            </p:cNvPr>
            <p:cNvSpPr/>
            <p:nvPr/>
          </p:nvSpPr>
          <p:spPr>
            <a:xfrm>
              <a:off x="11912599" y="3568700"/>
              <a:ext cx="884239" cy="581977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9118" y="495"/>
                  </a:lnTo>
                  <a:cubicBezTo>
                    <a:pt x="19118" y="495"/>
                    <a:pt x="20669" y="1061"/>
                    <a:pt x="20359" y="1178"/>
                  </a:cubicBezTo>
                  <a:cubicBezTo>
                    <a:pt x="20049" y="1296"/>
                    <a:pt x="18032" y="1862"/>
                    <a:pt x="18032" y="1862"/>
                  </a:cubicBezTo>
                  <a:cubicBezTo>
                    <a:pt x="18032" y="1862"/>
                    <a:pt x="19739" y="2592"/>
                    <a:pt x="19816" y="2852"/>
                  </a:cubicBezTo>
                  <a:cubicBezTo>
                    <a:pt x="19894" y="3111"/>
                    <a:pt x="19816" y="12609"/>
                    <a:pt x="19816" y="12609"/>
                  </a:cubicBezTo>
                  <a:lnTo>
                    <a:pt x="13844" y="12609"/>
                  </a:lnTo>
                  <a:lnTo>
                    <a:pt x="13844" y="16875"/>
                  </a:lnTo>
                  <a:lnTo>
                    <a:pt x="8260" y="16875"/>
                  </a:lnTo>
                  <a:cubicBezTo>
                    <a:pt x="8260" y="16875"/>
                    <a:pt x="7174" y="17028"/>
                    <a:pt x="7174" y="17075"/>
                  </a:cubicBezTo>
                  <a:cubicBezTo>
                    <a:pt x="7174" y="17122"/>
                    <a:pt x="7562" y="17334"/>
                    <a:pt x="7562" y="17370"/>
                  </a:cubicBezTo>
                  <a:cubicBezTo>
                    <a:pt x="7562" y="17405"/>
                    <a:pt x="5468" y="17641"/>
                    <a:pt x="5468" y="17723"/>
                  </a:cubicBezTo>
                  <a:cubicBezTo>
                    <a:pt x="5468" y="17806"/>
                    <a:pt x="5856" y="17906"/>
                    <a:pt x="5856" y="17906"/>
                  </a:cubicBezTo>
                  <a:cubicBezTo>
                    <a:pt x="5856" y="17906"/>
                    <a:pt x="4382" y="17935"/>
                    <a:pt x="4188" y="17965"/>
                  </a:cubicBezTo>
                  <a:cubicBezTo>
                    <a:pt x="3994" y="17994"/>
                    <a:pt x="3568" y="18018"/>
                    <a:pt x="3568" y="18065"/>
                  </a:cubicBezTo>
                  <a:cubicBezTo>
                    <a:pt x="3568" y="18112"/>
                    <a:pt x="4188" y="18289"/>
                    <a:pt x="4227" y="18336"/>
                  </a:cubicBezTo>
                  <a:cubicBezTo>
                    <a:pt x="4266" y="18383"/>
                    <a:pt x="4421" y="18477"/>
                    <a:pt x="4149" y="18501"/>
                  </a:cubicBezTo>
                  <a:cubicBezTo>
                    <a:pt x="3878" y="18524"/>
                    <a:pt x="1474" y="18790"/>
                    <a:pt x="1590" y="18819"/>
                  </a:cubicBezTo>
                  <a:cubicBezTo>
                    <a:pt x="1706" y="18848"/>
                    <a:pt x="2676" y="19208"/>
                    <a:pt x="2792" y="19231"/>
                  </a:cubicBezTo>
                  <a:cubicBezTo>
                    <a:pt x="2908" y="19255"/>
                    <a:pt x="0" y="19726"/>
                    <a:pt x="0" y="19768"/>
                  </a:cubicBezTo>
                  <a:cubicBezTo>
                    <a:pt x="0" y="19809"/>
                    <a:pt x="504" y="19909"/>
                    <a:pt x="737" y="19927"/>
                  </a:cubicBezTo>
                  <a:cubicBezTo>
                    <a:pt x="969" y="19944"/>
                    <a:pt x="2094" y="19815"/>
                    <a:pt x="2249" y="19821"/>
                  </a:cubicBezTo>
                  <a:cubicBezTo>
                    <a:pt x="2404" y="19827"/>
                    <a:pt x="4072" y="19906"/>
                    <a:pt x="4188" y="19928"/>
                  </a:cubicBezTo>
                  <a:cubicBezTo>
                    <a:pt x="4304" y="19950"/>
                    <a:pt x="3335" y="20109"/>
                    <a:pt x="3374" y="20133"/>
                  </a:cubicBezTo>
                  <a:cubicBezTo>
                    <a:pt x="3413" y="20156"/>
                    <a:pt x="4111" y="20263"/>
                    <a:pt x="4149" y="20363"/>
                  </a:cubicBezTo>
                  <a:cubicBezTo>
                    <a:pt x="4188" y="20463"/>
                    <a:pt x="4149" y="20498"/>
                    <a:pt x="4343" y="20498"/>
                  </a:cubicBezTo>
                  <a:cubicBezTo>
                    <a:pt x="4537" y="20498"/>
                    <a:pt x="5080" y="20451"/>
                    <a:pt x="5080" y="20451"/>
                  </a:cubicBezTo>
                  <a:lnTo>
                    <a:pt x="4654" y="20899"/>
                  </a:lnTo>
                  <a:cubicBezTo>
                    <a:pt x="4654" y="20899"/>
                    <a:pt x="7174" y="21193"/>
                    <a:pt x="7252" y="21223"/>
                  </a:cubicBezTo>
                  <a:cubicBezTo>
                    <a:pt x="7329" y="21252"/>
                    <a:pt x="6592" y="21600"/>
                    <a:pt x="6592"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8" name="Line">
              <a:extLst>
                <a:ext uri="{FF2B5EF4-FFF2-40B4-BE49-F238E27FC236}">
                  <a16:creationId xmlns:a16="http://schemas.microsoft.com/office/drawing/2014/main" id="{DE106244-E17A-864D-BA75-7A1D49B3D7A0}"/>
                </a:ext>
              </a:extLst>
            </p:cNvPr>
            <p:cNvSpPr/>
            <p:nvPr/>
          </p:nvSpPr>
          <p:spPr>
            <a:xfrm>
              <a:off x="12725399" y="6096000"/>
              <a:ext cx="2772164" cy="370889"/>
            </a:xfrm>
            <a:custGeom>
              <a:avLst/>
              <a:gdLst/>
              <a:ahLst/>
              <a:cxnLst>
                <a:cxn ang="0">
                  <a:pos x="wd2" y="hd2"/>
                </a:cxn>
                <a:cxn ang="5400000">
                  <a:pos x="wd2" y="hd2"/>
                </a:cxn>
                <a:cxn ang="10800000">
                  <a:pos x="wd2" y="hd2"/>
                </a:cxn>
                <a:cxn ang="16200000">
                  <a:pos x="wd2" y="hd2"/>
                </a:cxn>
              </a:cxnLst>
              <a:rect l="0" t="0" r="r" b="b"/>
              <a:pathLst>
                <a:path w="21600" h="21263" extrusionOk="0">
                  <a:moveTo>
                    <a:pt x="21600" y="0"/>
                  </a:moveTo>
                  <a:cubicBezTo>
                    <a:pt x="21501" y="0"/>
                    <a:pt x="21056" y="4975"/>
                    <a:pt x="20627" y="4975"/>
                  </a:cubicBezTo>
                  <a:cubicBezTo>
                    <a:pt x="20198" y="4975"/>
                    <a:pt x="19901" y="6049"/>
                    <a:pt x="19720" y="7878"/>
                  </a:cubicBezTo>
                  <a:cubicBezTo>
                    <a:pt x="19538" y="9708"/>
                    <a:pt x="19703" y="12013"/>
                    <a:pt x="19390" y="12620"/>
                  </a:cubicBezTo>
                  <a:cubicBezTo>
                    <a:pt x="19077" y="13227"/>
                    <a:pt x="18648" y="12984"/>
                    <a:pt x="18499" y="14804"/>
                  </a:cubicBezTo>
                  <a:cubicBezTo>
                    <a:pt x="18351" y="16625"/>
                    <a:pt x="18318" y="20386"/>
                    <a:pt x="18071" y="20993"/>
                  </a:cubicBezTo>
                  <a:cubicBezTo>
                    <a:pt x="17823" y="21600"/>
                    <a:pt x="17114" y="20993"/>
                    <a:pt x="16999" y="20993"/>
                  </a:cubicBezTo>
                  <a:cubicBezTo>
                    <a:pt x="16883" y="20993"/>
                    <a:pt x="16520" y="17353"/>
                    <a:pt x="16520" y="17353"/>
                  </a:cubicBezTo>
                  <a:lnTo>
                    <a:pt x="0" y="17353"/>
                  </a:ln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79" name="Line">
              <a:extLst>
                <a:ext uri="{FF2B5EF4-FFF2-40B4-BE49-F238E27FC236}">
                  <a16:creationId xmlns:a16="http://schemas.microsoft.com/office/drawing/2014/main" id="{E855D1FA-8402-E34A-AD51-567B94E326F2}"/>
                </a:ext>
              </a:extLst>
            </p:cNvPr>
            <p:cNvSpPr/>
            <p:nvPr/>
          </p:nvSpPr>
          <p:spPr>
            <a:xfrm>
              <a:off x="8712199" y="3124199"/>
              <a:ext cx="3769329" cy="3975692"/>
            </a:xfrm>
            <a:custGeom>
              <a:avLst/>
              <a:gdLst/>
              <a:ahLst/>
              <a:cxnLst>
                <a:cxn ang="0">
                  <a:pos x="wd2" y="hd2"/>
                </a:cxn>
                <a:cxn ang="5400000">
                  <a:pos x="wd2" y="hd2"/>
                </a:cxn>
                <a:cxn ang="10800000">
                  <a:pos x="wd2" y="hd2"/>
                </a:cxn>
                <a:cxn ang="16200000">
                  <a:pos x="wd2" y="hd2"/>
                </a:cxn>
              </a:cxnLst>
              <a:rect l="0" t="0" r="r" b="b"/>
              <a:pathLst>
                <a:path w="21581" h="21584" extrusionOk="0">
                  <a:moveTo>
                    <a:pt x="3241" y="1"/>
                  </a:moveTo>
                  <a:cubicBezTo>
                    <a:pt x="3241" y="1"/>
                    <a:pt x="3205" y="-16"/>
                    <a:pt x="3193" y="182"/>
                  </a:cubicBezTo>
                  <a:cubicBezTo>
                    <a:pt x="3180" y="380"/>
                    <a:pt x="3095" y="1035"/>
                    <a:pt x="3095" y="1035"/>
                  </a:cubicBezTo>
                  <a:cubicBezTo>
                    <a:pt x="3095" y="1035"/>
                    <a:pt x="3253" y="1288"/>
                    <a:pt x="3241" y="1322"/>
                  </a:cubicBezTo>
                  <a:cubicBezTo>
                    <a:pt x="3229" y="1356"/>
                    <a:pt x="2211" y="1816"/>
                    <a:pt x="2126" y="1885"/>
                  </a:cubicBezTo>
                  <a:cubicBezTo>
                    <a:pt x="2041" y="1954"/>
                    <a:pt x="1702" y="2506"/>
                    <a:pt x="1665" y="2540"/>
                  </a:cubicBezTo>
                  <a:cubicBezTo>
                    <a:pt x="1629" y="2575"/>
                    <a:pt x="1472" y="2483"/>
                    <a:pt x="1399" y="2540"/>
                  </a:cubicBezTo>
                  <a:cubicBezTo>
                    <a:pt x="1326" y="2598"/>
                    <a:pt x="1096" y="2942"/>
                    <a:pt x="1096" y="2942"/>
                  </a:cubicBezTo>
                  <a:cubicBezTo>
                    <a:pt x="1096" y="2942"/>
                    <a:pt x="1314" y="3540"/>
                    <a:pt x="1314" y="3609"/>
                  </a:cubicBezTo>
                  <a:cubicBezTo>
                    <a:pt x="1314" y="3678"/>
                    <a:pt x="1278" y="4080"/>
                    <a:pt x="1266" y="4137"/>
                  </a:cubicBezTo>
                  <a:cubicBezTo>
                    <a:pt x="1253" y="4195"/>
                    <a:pt x="793" y="4804"/>
                    <a:pt x="732" y="4838"/>
                  </a:cubicBezTo>
                  <a:cubicBezTo>
                    <a:pt x="672" y="4873"/>
                    <a:pt x="126" y="5022"/>
                    <a:pt x="66" y="5022"/>
                  </a:cubicBezTo>
                  <a:cubicBezTo>
                    <a:pt x="5" y="5022"/>
                    <a:pt x="-19" y="5287"/>
                    <a:pt x="17" y="5309"/>
                  </a:cubicBezTo>
                  <a:cubicBezTo>
                    <a:pt x="54" y="5332"/>
                    <a:pt x="338" y="5752"/>
                    <a:pt x="472" y="6085"/>
                  </a:cubicBezTo>
                  <a:cubicBezTo>
                    <a:pt x="605" y="6418"/>
                    <a:pt x="714" y="6844"/>
                    <a:pt x="726" y="7004"/>
                  </a:cubicBezTo>
                  <a:cubicBezTo>
                    <a:pt x="738" y="7165"/>
                    <a:pt x="811" y="8745"/>
                    <a:pt x="811" y="8820"/>
                  </a:cubicBezTo>
                  <a:cubicBezTo>
                    <a:pt x="811" y="8895"/>
                    <a:pt x="538" y="9642"/>
                    <a:pt x="545" y="9716"/>
                  </a:cubicBezTo>
                  <a:cubicBezTo>
                    <a:pt x="551" y="9791"/>
                    <a:pt x="811" y="10274"/>
                    <a:pt x="799" y="10360"/>
                  </a:cubicBezTo>
                  <a:cubicBezTo>
                    <a:pt x="787" y="10446"/>
                    <a:pt x="696" y="10820"/>
                    <a:pt x="669" y="10897"/>
                  </a:cubicBezTo>
                  <a:cubicBezTo>
                    <a:pt x="641" y="10975"/>
                    <a:pt x="242" y="11044"/>
                    <a:pt x="205" y="11095"/>
                  </a:cubicBezTo>
                  <a:cubicBezTo>
                    <a:pt x="169" y="11147"/>
                    <a:pt x="53" y="11341"/>
                    <a:pt x="39" y="11373"/>
                  </a:cubicBezTo>
                  <a:cubicBezTo>
                    <a:pt x="26" y="11406"/>
                    <a:pt x="950" y="12629"/>
                    <a:pt x="950" y="12741"/>
                  </a:cubicBezTo>
                  <a:cubicBezTo>
                    <a:pt x="950" y="12854"/>
                    <a:pt x="1123" y="13646"/>
                    <a:pt x="1160" y="13698"/>
                  </a:cubicBezTo>
                  <a:cubicBezTo>
                    <a:pt x="1196" y="13750"/>
                    <a:pt x="1350" y="13939"/>
                    <a:pt x="1414" y="13974"/>
                  </a:cubicBezTo>
                  <a:cubicBezTo>
                    <a:pt x="1478" y="14008"/>
                    <a:pt x="1714" y="13914"/>
                    <a:pt x="1859" y="13905"/>
                  </a:cubicBezTo>
                  <a:cubicBezTo>
                    <a:pt x="2005" y="13896"/>
                    <a:pt x="2123" y="13896"/>
                    <a:pt x="2159" y="13931"/>
                  </a:cubicBezTo>
                  <a:cubicBezTo>
                    <a:pt x="2196" y="13965"/>
                    <a:pt x="2914" y="14413"/>
                    <a:pt x="2996" y="14439"/>
                  </a:cubicBezTo>
                  <a:cubicBezTo>
                    <a:pt x="3077" y="14465"/>
                    <a:pt x="3179" y="14353"/>
                    <a:pt x="3242" y="14379"/>
                  </a:cubicBezTo>
                  <a:cubicBezTo>
                    <a:pt x="3305" y="14405"/>
                    <a:pt x="3832" y="15525"/>
                    <a:pt x="3832" y="15525"/>
                  </a:cubicBezTo>
                  <a:lnTo>
                    <a:pt x="6031" y="16016"/>
                  </a:lnTo>
                  <a:cubicBezTo>
                    <a:pt x="6031" y="16016"/>
                    <a:pt x="6995" y="16809"/>
                    <a:pt x="7058" y="16827"/>
                  </a:cubicBezTo>
                  <a:cubicBezTo>
                    <a:pt x="7122" y="16844"/>
                    <a:pt x="9640" y="15603"/>
                    <a:pt x="9749" y="15620"/>
                  </a:cubicBezTo>
                  <a:cubicBezTo>
                    <a:pt x="9858" y="15637"/>
                    <a:pt x="21581" y="21584"/>
                    <a:pt x="21581" y="21584"/>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0" name="Line">
              <a:extLst>
                <a:ext uri="{FF2B5EF4-FFF2-40B4-BE49-F238E27FC236}">
                  <a16:creationId xmlns:a16="http://schemas.microsoft.com/office/drawing/2014/main" id="{2D82CA0B-7596-7448-AF4D-C1217DDCC81B}"/>
                </a:ext>
              </a:extLst>
            </p:cNvPr>
            <p:cNvSpPr/>
            <p:nvPr/>
          </p:nvSpPr>
          <p:spPr>
            <a:xfrm>
              <a:off x="8229600" y="1930399"/>
              <a:ext cx="533129" cy="2110295"/>
            </a:xfrm>
            <a:custGeom>
              <a:avLst/>
              <a:gdLst/>
              <a:ahLst/>
              <a:cxnLst>
                <a:cxn ang="0">
                  <a:pos x="wd2" y="hd2"/>
                </a:cxn>
                <a:cxn ang="5400000">
                  <a:pos x="wd2" y="hd2"/>
                </a:cxn>
                <a:cxn ang="10800000">
                  <a:pos x="wd2" y="hd2"/>
                </a:cxn>
                <a:cxn ang="16200000">
                  <a:pos x="wd2" y="hd2"/>
                </a:cxn>
              </a:cxnLst>
              <a:rect l="0" t="0" r="r" b="b"/>
              <a:pathLst>
                <a:path w="21460" h="21600" extrusionOk="0">
                  <a:moveTo>
                    <a:pt x="11149" y="0"/>
                  </a:moveTo>
                  <a:lnTo>
                    <a:pt x="12001" y="737"/>
                  </a:lnTo>
                  <a:lnTo>
                    <a:pt x="6719" y="1820"/>
                  </a:lnTo>
                  <a:lnTo>
                    <a:pt x="9360" y="2167"/>
                  </a:lnTo>
                  <a:lnTo>
                    <a:pt x="7741" y="4203"/>
                  </a:lnTo>
                  <a:cubicBezTo>
                    <a:pt x="7741" y="4203"/>
                    <a:pt x="9786" y="4896"/>
                    <a:pt x="9360" y="5026"/>
                  </a:cubicBezTo>
                  <a:cubicBezTo>
                    <a:pt x="8934" y="5156"/>
                    <a:pt x="8253" y="5633"/>
                    <a:pt x="8253" y="5633"/>
                  </a:cubicBezTo>
                  <a:cubicBezTo>
                    <a:pt x="8253" y="5633"/>
                    <a:pt x="10340" y="5839"/>
                    <a:pt x="10170" y="5893"/>
                  </a:cubicBezTo>
                  <a:cubicBezTo>
                    <a:pt x="9999" y="5947"/>
                    <a:pt x="7315" y="6803"/>
                    <a:pt x="7358" y="6900"/>
                  </a:cubicBezTo>
                  <a:cubicBezTo>
                    <a:pt x="7400" y="6998"/>
                    <a:pt x="8039" y="7756"/>
                    <a:pt x="7954" y="7810"/>
                  </a:cubicBezTo>
                  <a:cubicBezTo>
                    <a:pt x="7869" y="7864"/>
                    <a:pt x="4631" y="8244"/>
                    <a:pt x="4291" y="8449"/>
                  </a:cubicBezTo>
                  <a:cubicBezTo>
                    <a:pt x="3950" y="8655"/>
                    <a:pt x="3481" y="9078"/>
                    <a:pt x="2714" y="9229"/>
                  </a:cubicBezTo>
                  <a:cubicBezTo>
                    <a:pt x="1947" y="9381"/>
                    <a:pt x="584" y="9576"/>
                    <a:pt x="371" y="9587"/>
                  </a:cubicBezTo>
                  <a:cubicBezTo>
                    <a:pt x="158" y="9598"/>
                    <a:pt x="-140" y="10453"/>
                    <a:pt x="73" y="10551"/>
                  </a:cubicBezTo>
                  <a:cubicBezTo>
                    <a:pt x="286" y="10648"/>
                    <a:pt x="2544" y="12328"/>
                    <a:pt x="2885" y="12371"/>
                  </a:cubicBezTo>
                  <a:cubicBezTo>
                    <a:pt x="3226" y="12414"/>
                    <a:pt x="6208" y="12653"/>
                    <a:pt x="6548" y="12718"/>
                  </a:cubicBezTo>
                  <a:cubicBezTo>
                    <a:pt x="6889" y="12783"/>
                    <a:pt x="8423" y="13389"/>
                    <a:pt x="8508" y="13541"/>
                  </a:cubicBezTo>
                  <a:cubicBezTo>
                    <a:pt x="8593" y="13692"/>
                    <a:pt x="8508" y="14559"/>
                    <a:pt x="8508" y="14559"/>
                  </a:cubicBezTo>
                  <a:cubicBezTo>
                    <a:pt x="8508" y="14559"/>
                    <a:pt x="15580" y="15751"/>
                    <a:pt x="15921" y="15859"/>
                  </a:cubicBezTo>
                  <a:cubicBezTo>
                    <a:pt x="16262" y="15967"/>
                    <a:pt x="21460" y="21600"/>
                    <a:pt x="21460"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1" name="Line">
              <a:extLst>
                <a:ext uri="{FF2B5EF4-FFF2-40B4-BE49-F238E27FC236}">
                  <a16:creationId xmlns:a16="http://schemas.microsoft.com/office/drawing/2014/main" id="{87641549-133D-654D-8572-586E502829F1}"/>
                </a:ext>
              </a:extLst>
            </p:cNvPr>
            <p:cNvSpPr/>
            <p:nvPr/>
          </p:nvSpPr>
          <p:spPr>
            <a:xfrm>
              <a:off x="1905000" y="2514599"/>
              <a:ext cx="4129156" cy="4222751"/>
            </a:xfrm>
            <a:custGeom>
              <a:avLst/>
              <a:gdLst/>
              <a:ahLst/>
              <a:cxnLst>
                <a:cxn ang="0">
                  <a:pos x="wd2" y="hd2"/>
                </a:cxn>
                <a:cxn ang="5400000">
                  <a:pos x="wd2" y="hd2"/>
                </a:cxn>
                <a:cxn ang="10800000">
                  <a:pos x="wd2" y="hd2"/>
                </a:cxn>
                <a:cxn ang="16200000">
                  <a:pos x="wd2" y="hd2"/>
                </a:cxn>
              </a:cxnLst>
              <a:rect l="0" t="0" r="r" b="b"/>
              <a:pathLst>
                <a:path w="21584" h="21600" extrusionOk="0">
                  <a:moveTo>
                    <a:pt x="19849" y="0"/>
                  </a:moveTo>
                  <a:lnTo>
                    <a:pt x="19908" y="159"/>
                  </a:lnTo>
                  <a:lnTo>
                    <a:pt x="20604" y="739"/>
                  </a:lnTo>
                  <a:lnTo>
                    <a:pt x="20438" y="942"/>
                  </a:lnTo>
                  <a:cubicBezTo>
                    <a:pt x="20438" y="942"/>
                    <a:pt x="20646" y="1080"/>
                    <a:pt x="20654" y="1129"/>
                  </a:cubicBezTo>
                  <a:cubicBezTo>
                    <a:pt x="20662" y="1177"/>
                    <a:pt x="20505" y="1259"/>
                    <a:pt x="20530" y="1315"/>
                  </a:cubicBezTo>
                  <a:cubicBezTo>
                    <a:pt x="20554" y="1372"/>
                    <a:pt x="20778" y="1730"/>
                    <a:pt x="20745" y="1819"/>
                  </a:cubicBezTo>
                  <a:cubicBezTo>
                    <a:pt x="20712" y="1908"/>
                    <a:pt x="20621" y="2241"/>
                    <a:pt x="20621" y="2339"/>
                  </a:cubicBezTo>
                  <a:cubicBezTo>
                    <a:pt x="20621" y="2436"/>
                    <a:pt x="20895" y="3670"/>
                    <a:pt x="20961" y="3752"/>
                  </a:cubicBezTo>
                  <a:cubicBezTo>
                    <a:pt x="21027" y="3833"/>
                    <a:pt x="21600" y="4263"/>
                    <a:pt x="21583" y="4288"/>
                  </a:cubicBezTo>
                  <a:cubicBezTo>
                    <a:pt x="21567" y="4312"/>
                    <a:pt x="21243" y="4564"/>
                    <a:pt x="21235" y="4612"/>
                  </a:cubicBezTo>
                  <a:cubicBezTo>
                    <a:pt x="21227" y="4661"/>
                    <a:pt x="21301" y="4953"/>
                    <a:pt x="21251" y="4970"/>
                  </a:cubicBezTo>
                  <a:cubicBezTo>
                    <a:pt x="21202" y="4986"/>
                    <a:pt x="20554" y="4823"/>
                    <a:pt x="20264" y="4823"/>
                  </a:cubicBezTo>
                  <a:cubicBezTo>
                    <a:pt x="19974" y="4823"/>
                    <a:pt x="19028" y="4921"/>
                    <a:pt x="19028" y="4921"/>
                  </a:cubicBezTo>
                  <a:lnTo>
                    <a:pt x="19119" y="5400"/>
                  </a:lnTo>
                  <a:cubicBezTo>
                    <a:pt x="19119" y="5400"/>
                    <a:pt x="18040" y="5635"/>
                    <a:pt x="17990" y="5644"/>
                  </a:cubicBezTo>
                  <a:cubicBezTo>
                    <a:pt x="17941" y="5652"/>
                    <a:pt x="17918" y="6098"/>
                    <a:pt x="17907" y="6182"/>
                  </a:cubicBezTo>
                  <a:cubicBezTo>
                    <a:pt x="17896" y="6266"/>
                    <a:pt x="17881" y="6423"/>
                    <a:pt x="17900" y="6445"/>
                  </a:cubicBezTo>
                  <a:cubicBezTo>
                    <a:pt x="17920" y="6466"/>
                    <a:pt x="18148" y="6504"/>
                    <a:pt x="18148" y="6561"/>
                  </a:cubicBezTo>
                  <a:cubicBezTo>
                    <a:pt x="18148" y="6618"/>
                    <a:pt x="18057" y="6642"/>
                    <a:pt x="18057" y="6732"/>
                  </a:cubicBezTo>
                  <a:cubicBezTo>
                    <a:pt x="18057" y="6821"/>
                    <a:pt x="18131" y="7040"/>
                    <a:pt x="18073" y="7073"/>
                  </a:cubicBezTo>
                  <a:cubicBezTo>
                    <a:pt x="18015" y="7105"/>
                    <a:pt x="17227" y="7276"/>
                    <a:pt x="17119" y="7325"/>
                  </a:cubicBezTo>
                  <a:cubicBezTo>
                    <a:pt x="17011" y="7373"/>
                    <a:pt x="16289" y="7877"/>
                    <a:pt x="16231" y="7942"/>
                  </a:cubicBezTo>
                  <a:cubicBezTo>
                    <a:pt x="16173" y="8007"/>
                    <a:pt x="15426" y="8981"/>
                    <a:pt x="15368" y="8965"/>
                  </a:cubicBezTo>
                  <a:cubicBezTo>
                    <a:pt x="15310" y="8949"/>
                    <a:pt x="15210" y="8746"/>
                    <a:pt x="15161" y="8729"/>
                  </a:cubicBezTo>
                  <a:cubicBezTo>
                    <a:pt x="15111" y="8713"/>
                    <a:pt x="14804" y="8786"/>
                    <a:pt x="14630" y="8786"/>
                  </a:cubicBezTo>
                  <a:cubicBezTo>
                    <a:pt x="14455" y="8786"/>
                    <a:pt x="14314" y="8762"/>
                    <a:pt x="14231" y="8794"/>
                  </a:cubicBezTo>
                  <a:cubicBezTo>
                    <a:pt x="14148" y="8827"/>
                    <a:pt x="14049" y="8932"/>
                    <a:pt x="13874" y="8932"/>
                  </a:cubicBezTo>
                  <a:cubicBezTo>
                    <a:pt x="13700" y="8932"/>
                    <a:pt x="13327" y="8876"/>
                    <a:pt x="13070" y="8965"/>
                  </a:cubicBezTo>
                  <a:cubicBezTo>
                    <a:pt x="12812" y="9054"/>
                    <a:pt x="12746" y="9030"/>
                    <a:pt x="12497" y="9217"/>
                  </a:cubicBezTo>
                  <a:cubicBezTo>
                    <a:pt x="12248" y="9403"/>
                    <a:pt x="11310" y="10118"/>
                    <a:pt x="11277" y="10134"/>
                  </a:cubicBezTo>
                  <a:cubicBezTo>
                    <a:pt x="11244" y="10150"/>
                    <a:pt x="11277" y="14162"/>
                    <a:pt x="11277" y="14162"/>
                  </a:cubicBezTo>
                  <a:lnTo>
                    <a:pt x="6799" y="14124"/>
                  </a:lnTo>
                  <a:lnTo>
                    <a:pt x="6788" y="17821"/>
                  </a:lnTo>
                  <a:cubicBezTo>
                    <a:pt x="6788" y="17821"/>
                    <a:pt x="5975" y="18076"/>
                    <a:pt x="5914" y="18103"/>
                  </a:cubicBezTo>
                  <a:cubicBezTo>
                    <a:pt x="5853" y="18130"/>
                    <a:pt x="5333" y="18520"/>
                    <a:pt x="5294" y="18558"/>
                  </a:cubicBezTo>
                  <a:cubicBezTo>
                    <a:pt x="5255" y="18595"/>
                    <a:pt x="5419" y="20772"/>
                    <a:pt x="5410" y="20820"/>
                  </a:cubicBezTo>
                  <a:cubicBezTo>
                    <a:pt x="5402" y="20869"/>
                    <a:pt x="216" y="20796"/>
                    <a:pt x="166" y="20820"/>
                  </a:cubicBezTo>
                  <a:cubicBezTo>
                    <a:pt x="116" y="20845"/>
                    <a:pt x="0" y="21600"/>
                    <a:pt x="0"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2" name="Line">
              <a:extLst>
                <a:ext uri="{FF2B5EF4-FFF2-40B4-BE49-F238E27FC236}">
                  <a16:creationId xmlns:a16="http://schemas.microsoft.com/office/drawing/2014/main" id="{932BC71D-D197-8942-8B34-47362FF3C679}"/>
                </a:ext>
              </a:extLst>
            </p:cNvPr>
            <p:cNvSpPr/>
            <p:nvPr/>
          </p:nvSpPr>
          <p:spPr>
            <a:xfrm>
              <a:off x="4064000" y="4889500"/>
              <a:ext cx="5324690" cy="2344840"/>
            </a:xfrm>
            <a:custGeom>
              <a:avLst/>
              <a:gdLst/>
              <a:ahLst/>
              <a:cxnLst>
                <a:cxn ang="0">
                  <a:pos x="wd2" y="hd2"/>
                </a:cxn>
                <a:cxn ang="5400000">
                  <a:pos x="wd2" y="hd2"/>
                </a:cxn>
                <a:cxn ang="10800000">
                  <a:pos x="wd2" y="hd2"/>
                </a:cxn>
                <a:cxn ang="16200000">
                  <a:pos x="wd2" y="hd2"/>
                </a:cxn>
              </a:cxnLst>
              <a:rect l="0" t="0" r="r" b="b"/>
              <a:pathLst>
                <a:path w="21600" h="21544" extrusionOk="0">
                  <a:moveTo>
                    <a:pt x="21600" y="9994"/>
                  </a:moveTo>
                  <a:cubicBezTo>
                    <a:pt x="21600" y="9994"/>
                    <a:pt x="16912" y="16719"/>
                    <a:pt x="16852" y="16835"/>
                  </a:cubicBezTo>
                  <a:cubicBezTo>
                    <a:pt x="16792" y="16952"/>
                    <a:pt x="15298" y="20336"/>
                    <a:pt x="15160" y="20394"/>
                  </a:cubicBezTo>
                  <a:cubicBezTo>
                    <a:pt x="15023" y="20453"/>
                    <a:pt x="12636" y="21600"/>
                    <a:pt x="12559" y="21542"/>
                  </a:cubicBezTo>
                  <a:cubicBezTo>
                    <a:pt x="12481" y="21483"/>
                    <a:pt x="12344" y="21211"/>
                    <a:pt x="12327" y="21114"/>
                  </a:cubicBezTo>
                  <a:cubicBezTo>
                    <a:pt x="12310" y="21017"/>
                    <a:pt x="12464" y="20433"/>
                    <a:pt x="12464" y="20433"/>
                  </a:cubicBezTo>
                  <a:cubicBezTo>
                    <a:pt x="12464" y="20433"/>
                    <a:pt x="12516" y="19694"/>
                    <a:pt x="12473" y="19539"/>
                  </a:cubicBezTo>
                  <a:cubicBezTo>
                    <a:pt x="12430" y="19383"/>
                    <a:pt x="11915" y="18683"/>
                    <a:pt x="11855" y="18702"/>
                  </a:cubicBezTo>
                  <a:cubicBezTo>
                    <a:pt x="11795" y="18722"/>
                    <a:pt x="11614" y="18838"/>
                    <a:pt x="11571" y="18858"/>
                  </a:cubicBezTo>
                  <a:cubicBezTo>
                    <a:pt x="11528" y="18877"/>
                    <a:pt x="11417" y="18080"/>
                    <a:pt x="11357" y="18119"/>
                  </a:cubicBezTo>
                  <a:cubicBezTo>
                    <a:pt x="11297" y="18158"/>
                    <a:pt x="11108" y="18430"/>
                    <a:pt x="11065" y="18411"/>
                  </a:cubicBezTo>
                  <a:cubicBezTo>
                    <a:pt x="11022" y="18391"/>
                    <a:pt x="10859" y="17555"/>
                    <a:pt x="10773" y="17477"/>
                  </a:cubicBezTo>
                  <a:cubicBezTo>
                    <a:pt x="10687" y="17399"/>
                    <a:pt x="10361" y="17127"/>
                    <a:pt x="10309" y="17127"/>
                  </a:cubicBezTo>
                  <a:cubicBezTo>
                    <a:pt x="10258" y="17127"/>
                    <a:pt x="10292" y="16194"/>
                    <a:pt x="10240" y="16077"/>
                  </a:cubicBezTo>
                  <a:cubicBezTo>
                    <a:pt x="10189" y="15960"/>
                    <a:pt x="0" y="0"/>
                    <a:pt x="0"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3" name="Line">
              <a:extLst>
                <a:ext uri="{FF2B5EF4-FFF2-40B4-BE49-F238E27FC236}">
                  <a16:creationId xmlns:a16="http://schemas.microsoft.com/office/drawing/2014/main" id="{1C5C3B24-8E5A-EC48-A63C-BFFC9BD517E4}"/>
                </a:ext>
              </a:extLst>
            </p:cNvPr>
            <p:cNvSpPr/>
            <p:nvPr/>
          </p:nvSpPr>
          <p:spPr>
            <a:xfrm>
              <a:off x="2006600" y="5562599"/>
              <a:ext cx="3017044" cy="2810934"/>
            </a:xfrm>
            <a:custGeom>
              <a:avLst/>
              <a:gdLst/>
              <a:ahLst/>
              <a:cxnLst>
                <a:cxn ang="0">
                  <a:pos x="wd2" y="hd2"/>
                </a:cxn>
                <a:cxn ang="5400000">
                  <a:pos x="wd2" y="hd2"/>
                </a:cxn>
                <a:cxn ang="10800000">
                  <a:pos x="wd2" y="hd2"/>
                </a:cxn>
                <a:cxn ang="16200000">
                  <a:pos x="wd2" y="hd2"/>
                </a:cxn>
              </a:cxnLst>
              <a:rect l="0" t="0" r="r" b="b"/>
              <a:pathLst>
                <a:path w="21600" h="21600" extrusionOk="0">
                  <a:moveTo>
                    <a:pt x="0" y="19111"/>
                  </a:moveTo>
                  <a:lnTo>
                    <a:pt x="226" y="18916"/>
                  </a:lnTo>
                  <a:cubicBezTo>
                    <a:pt x="226" y="18916"/>
                    <a:pt x="652" y="17973"/>
                    <a:pt x="727" y="17957"/>
                  </a:cubicBezTo>
                  <a:cubicBezTo>
                    <a:pt x="803" y="17940"/>
                    <a:pt x="1818" y="18087"/>
                    <a:pt x="1925" y="18054"/>
                  </a:cubicBezTo>
                  <a:cubicBezTo>
                    <a:pt x="2031" y="18022"/>
                    <a:pt x="2894" y="17631"/>
                    <a:pt x="3061" y="17631"/>
                  </a:cubicBezTo>
                  <a:cubicBezTo>
                    <a:pt x="3228" y="17631"/>
                    <a:pt x="4137" y="17664"/>
                    <a:pt x="4273" y="17745"/>
                  </a:cubicBezTo>
                  <a:cubicBezTo>
                    <a:pt x="4410" y="17827"/>
                    <a:pt x="5122" y="18851"/>
                    <a:pt x="5198" y="18867"/>
                  </a:cubicBezTo>
                  <a:cubicBezTo>
                    <a:pt x="5274" y="18884"/>
                    <a:pt x="5940" y="18884"/>
                    <a:pt x="6016" y="18949"/>
                  </a:cubicBezTo>
                  <a:cubicBezTo>
                    <a:pt x="6092" y="19014"/>
                    <a:pt x="6834" y="20575"/>
                    <a:pt x="6971" y="20689"/>
                  </a:cubicBezTo>
                  <a:cubicBezTo>
                    <a:pt x="7107" y="20803"/>
                    <a:pt x="8122" y="21600"/>
                    <a:pt x="8122" y="21600"/>
                  </a:cubicBezTo>
                  <a:lnTo>
                    <a:pt x="8971" y="21307"/>
                  </a:lnTo>
                  <a:lnTo>
                    <a:pt x="9092" y="20006"/>
                  </a:lnTo>
                  <a:lnTo>
                    <a:pt x="9486" y="19795"/>
                  </a:lnTo>
                  <a:lnTo>
                    <a:pt x="10608" y="20917"/>
                  </a:lnTo>
                  <a:lnTo>
                    <a:pt x="10926" y="20217"/>
                  </a:lnTo>
                  <a:lnTo>
                    <a:pt x="13381" y="20234"/>
                  </a:lnTo>
                  <a:lnTo>
                    <a:pt x="13381" y="19746"/>
                  </a:lnTo>
                  <a:lnTo>
                    <a:pt x="13517" y="19616"/>
                  </a:lnTo>
                  <a:lnTo>
                    <a:pt x="13517" y="20087"/>
                  </a:lnTo>
                  <a:lnTo>
                    <a:pt x="20549" y="20087"/>
                  </a:lnTo>
                  <a:lnTo>
                    <a:pt x="20867" y="18363"/>
                  </a:lnTo>
                  <a:lnTo>
                    <a:pt x="20352" y="17989"/>
                  </a:lnTo>
                  <a:lnTo>
                    <a:pt x="18605" y="0"/>
                  </a:lnTo>
                  <a:lnTo>
                    <a:pt x="21600" y="14"/>
                  </a:ln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4" name="Line">
              <a:extLst>
                <a:ext uri="{FF2B5EF4-FFF2-40B4-BE49-F238E27FC236}">
                  <a16:creationId xmlns:a16="http://schemas.microsoft.com/office/drawing/2014/main" id="{2392A309-DAD9-814A-A071-8215306B5991}"/>
                </a:ext>
              </a:extLst>
            </p:cNvPr>
            <p:cNvSpPr/>
            <p:nvPr/>
          </p:nvSpPr>
          <p:spPr>
            <a:xfrm>
              <a:off x="6337299" y="6121399"/>
              <a:ext cx="4079052" cy="3063232"/>
            </a:xfrm>
            <a:custGeom>
              <a:avLst/>
              <a:gdLst/>
              <a:ahLst/>
              <a:cxnLst>
                <a:cxn ang="0">
                  <a:pos x="wd2" y="hd2"/>
                </a:cxn>
                <a:cxn ang="5400000">
                  <a:pos x="wd2" y="hd2"/>
                </a:cxn>
                <a:cxn ang="10800000">
                  <a:pos x="wd2" y="hd2"/>
                </a:cxn>
                <a:cxn ang="16200000">
                  <a:pos x="wd2" y="hd2"/>
                </a:cxn>
              </a:cxnLst>
              <a:rect l="0" t="0" r="r" b="b"/>
              <a:pathLst>
                <a:path w="21590" h="21593" extrusionOk="0">
                  <a:moveTo>
                    <a:pt x="5627" y="7567"/>
                  </a:moveTo>
                  <a:cubicBezTo>
                    <a:pt x="5627" y="7567"/>
                    <a:pt x="5614" y="11350"/>
                    <a:pt x="5580" y="11782"/>
                  </a:cubicBezTo>
                  <a:cubicBezTo>
                    <a:pt x="5547" y="12215"/>
                    <a:pt x="5536" y="12648"/>
                    <a:pt x="5480" y="12842"/>
                  </a:cubicBezTo>
                  <a:cubicBezTo>
                    <a:pt x="5424" y="13036"/>
                    <a:pt x="5121" y="14020"/>
                    <a:pt x="5076" y="14095"/>
                  </a:cubicBezTo>
                  <a:cubicBezTo>
                    <a:pt x="5031" y="14170"/>
                    <a:pt x="4617" y="14752"/>
                    <a:pt x="4572" y="14752"/>
                  </a:cubicBezTo>
                  <a:cubicBezTo>
                    <a:pt x="4527" y="14752"/>
                    <a:pt x="3978" y="14602"/>
                    <a:pt x="3900" y="14602"/>
                  </a:cubicBezTo>
                  <a:cubicBezTo>
                    <a:pt x="3822" y="14602"/>
                    <a:pt x="3093" y="14707"/>
                    <a:pt x="2690" y="14752"/>
                  </a:cubicBezTo>
                  <a:cubicBezTo>
                    <a:pt x="2287" y="14796"/>
                    <a:pt x="1603" y="14856"/>
                    <a:pt x="1603" y="14856"/>
                  </a:cubicBezTo>
                  <a:cubicBezTo>
                    <a:pt x="1603" y="14856"/>
                    <a:pt x="1155" y="15423"/>
                    <a:pt x="1088" y="15438"/>
                  </a:cubicBezTo>
                  <a:cubicBezTo>
                    <a:pt x="1021" y="15453"/>
                    <a:pt x="147" y="15468"/>
                    <a:pt x="102" y="15438"/>
                  </a:cubicBezTo>
                  <a:cubicBezTo>
                    <a:pt x="57" y="15408"/>
                    <a:pt x="-10" y="16214"/>
                    <a:pt x="1" y="16273"/>
                  </a:cubicBezTo>
                  <a:cubicBezTo>
                    <a:pt x="12" y="16333"/>
                    <a:pt x="382" y="17363"/>
                    <a:pt x="427" y="17452"/>
                  </a:cubicBezTo>
                  <a:cubicBezTo>
                    <a:pt x="472" y="17542"/>
                    <a:pt x="617" y="17795"/>
                    <a:pt x="685" y="17870"/>
                  </a:cubicBezTo>
                  <a:cubicBezTo>
                    <a:pt x="752" y="17945"/>
                    <a:pt x="1536" y="18512"/>
                    <a:pt x="1536" y="18512"/>
                  </a:cubicBezTo>
                  <a:lnTo>
                    <a:pt x="1133" y="18512"/>
                  </a:lnTo>
                  <a:lnTo>
                    <a:pt x="1133" y="18959"/>
                  </a:lnTo>
                  <a:lnTo>
                    <a:pt x="2340" y="19907"/>
                  </a:lnTo>
                  <a:lnTo>
                    <a:pt x="2656" y="19679"/>
                  </a:lnTo>
                  <a:cubicBezTo>
                    <a:pt x="2656" y="19679"/>
                    <a:pt x="2844" y="20164"/>
                    <a:pt x="2858" y="20186"/>
                  </a:cubicBezTo>
                  <a:cubicBezTo>
                    <a:pt x="2872" y="20209"/>
                    <a:pt x="2808" y="20317"/>
                    <a:pt x="2777" y="20313"/>
                  </a:cubicBezTo>
                  <a:cubicBezTo>
                    <a:pt x="2746" y="20309"/>
                    <a:pt x="2617" y="20306"/>
                    <a:pt x="2600" y="20313"/>
                  </a:cubicBezTo>
                  <a:cubicBezTo>
                    <a:pt x="2584" y="20321"/>
                    <a:pt x="3049" y="21220"/>
                    <a:pt x="3049" y="21220"/>
                  </a:cubicBezTo>
                  <a:lnTo>
                    <a:pt x="3026" y="20600"/>
                  </a:lnTo>
                  <a:lnTo>
                    <a:pt x="3665" y="20287"/>
                  </a:lnTo>
                  <a:cubicBezTo>
                    <a:pt x="3665" y="20287"/>
                    <a:pt x="4667" y="21600"/>
                    <a:pt x="4690" y="21593"/>
                  </a:cubicBezTo>
                  <a:cubicBezTo>
                    <a:pt x="4712" y="21585"/>
                    <a:pt x="4746" y="20093"/>
                    <a:pt x="4774" y="20018"/>
                  </a:cubicBezTo>
                  <a:cubicBezTo>
                    <a:pt x="4802" y="19944"/>
                    <a:pt x="5306" y="19384"/>
                    <a:pt x="5312" y="19347"/>
                  </a:cubicBezTo>
                  <a:cubicBezTo>
                    <a:pt x="5317" y="19310"/>
                    <a:pt x="5418" y="18273"/>
                    <a:pt x="5452" y="18243"/>
                  </a:cubicBezTo>
                  <a:cubicBezTo>
                    <a:pt x="5485" y="18213"/>
                    <a:pt x="7261" y="17512"/>
                    <a:pt x="7317" y="17512"/>
                  </a:cubicBezTo>
                  <a:cubicBezTo>
                    <a:pt x="7373" y="17512"/>
                    <a:pt x="8493" y="17959"/>
                    <a:pt x="8561" y="18004"/>
                  </a:cubicBezTo>
                  <a:cubicBezTo>
                    <a:pt x="8628" y="18049"/>
                    <a:pt x="9210" y="19153"/>
                    <a:pt x="9278" y="19168"/>
                  </a:cubicBezTo>
                  <a:cubicBezTo>
                    <a:pt x="9345" y="19183"/>
                    <a:pt x="10331" y="18526"/>
                    <a:pt x="10398" y="18512"/>
                  </a:cubicBezTo>
                  <a:cubicBezTo>
                    <a:pt x="10465" y="18497"/>
                    <a:pt x="11966" y="19496"/>
                    <a:pt x="12022" y="19496"/>
                  </a:cubicBezTo>
                  <a:cubicBezTo>
                    <a:pt x="12078" y="19496"/>
                    <a:pt x="12919" y="19541"/>
                    <a:pt x="12986" y="19496"/>
                  </a:cubicBezTo>
                  <a:cubicBezTo>
                    <a:pt x="13053" y="19451"/>
                    <a:pt x="13378" y="18825"/>
                    <a:pt x="13456" y="18795"/>
                  </a:cubicBezTo>
                  <a:cubicBezTo>
                    <a:pt x="13535" y="18765"/>
                    <a:pt x="13456" y="18810"/>
                    <a:pt x="13770" y="18676"/>
                  </a:cubicBezTo>
                  <a:cubicBezTo>
                    <a:pt x="14084" y="18541"/>
                    <a:pt x="14353" y="18437"/>
                    <a:pt x="14353" y="18437"/>
                  </a:cubicBezTo>
                  <a:lnTo>
                    <a:pt x="15451" y="18407"/>
                  </a:lnTo>
                  <a:cubicBezTo>
                    <a:pt x="15451" y="18407"/>
                    <a:pt x="16526" y="18989"/>
                    <a:pt x="16560" y="18989"/>
                  </a:cubicBezTo>
                  <a:cubicBezTo>
                    <a:pt x="16593" y="18989"/>
                    <a:pt x="16851" y="18974"/>
                    <a:pt x="16851" y="18974"/>
                  </a:cubicBezTo>
                  <a:cubicBezTo>
                    <a:pt x="16851" y="18974"/>
                    <a:pt x="17243" y="18303"/>
                    <a:pt x="17277" y="18273"/>
                  </a:cubicBezTo>
                  <a:cubicBezTo>
                    <a:pt x="17310" y="18243"/>
                    <a:pt x="18095" y="17915"/>
                    <a:pt x="18139" y="17915"/>
                  </a:cubicBezTo>
                  <a:cubicBezTo>
                    <a:pt x="18184" y="17915"/>
                    <a:pt x="18386" y="17855"/>
                    <a:pt x="18386" y="17855"/>
                  </a:cubicBezTo>
                  <a:lnTo>
                    <a:pt x="18156" y="16430"/>
                  </a:lnTo>
                  <a:lnTo>
                    <a:pt x="18464" y="16236"/>
                  </a:lnTo>
                  <a:cubicBezTo>
                    <a:pt x="18464" y="16236"/>
                    <a:pt x="19043" y="14662"/>
                    <a:pt x="19142" y="14494"/>
                  </a:cubicBezTo>
                  <a:cubicBezTo>
                    <a:pt x="19240" y="14326"/>
                    <a:pt x="20963" y="12122"/>
                    <a:pt x="20963" y="12122"/>
                  </a:cubicBezTo>
                  <a:cubicBezTo>
                    <a:pt x="20963" y="12122"/>
                    <a:pt x="21041" y="8231"/>
                    <a:pt x="21086" y="7679"/>
                  </a:cubicBezTo>
                  <a:cubicBezTo>
                    <a:pt x="21131" y="7127"/>
                    <a:pt x="21243" y="6008"/>
                    <a:pt x="21243" y="6008"/>
                  </a:cubicBezTo>
                  <a:lnTo>
                    <a:pt x="21590" y="5203"/>
                  </a:lnTo>
                  <a:cubicBezTo>
                    <a:pt x="21590" y="5203"/>
                    <a:pt x="21097" y="4874"/>
                    <a:pt x="21052" y="4889"/>
                  </a:cubicBezTo>
                  <a:cubicBezTo>
                    <a:pt x="21007" y="4904"/>
                    <a:pt x="21041" y="4800"/>
                    <a:pt x="21007" y="4725"/>
                  </a:cubicBezTo>
                  <a:cubicBezTo>
                    <a:pt x="20974" y="4651"/>
                    <a:pt x="20817" y="4412"/>
                    <a:pt x="20817" y="4322"/>
                  </a:cubicBezTo>
                  <a:cubicBezTo>
                    <a:pt x="20817" y="4233"/>
                    <a:pt x="20929" y="4099"/>
                    <a:pt x="20907" y="3994"/>
                  </a:cubicBezTo>
                  <a:cubicBezTo>
                    <a:pt x="20884" y="3890"/>
                    <a:pt x="20537" y="3114"/>
                    <a:pt x="20503" y="2994"/>
                  </a:cubicBezTo>
                  <a:cubicBezTo>
                    <a:pt x="20470" y="2875"/>
                    <a:pt x="20559" y="2144"/>
                    <a:pt x="20503" y="1980"/>
                  </a:cubicBezTo>
                  <a:cubicBezTo>
                    <a:pt x="20447" y="1816"/>
                    <a:pt x="20252" y="0"/>
                    <a:pt x="20252"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5" name="Line">
              <a:extLst>
                <a:ext uri="{FF2B5EF4-FFF2-40B4-BE49-F238E27FC236}">
                  <a16:creationId xmlns:a16="http://schemas.microsoft.com/office/drawing/2014/main" id="{B8018131-6A1D-6144-A0C2-1531D790E902}"/>
                </a:ext>
              </a:extLst>
            </p:cNvPr>
            <p:cNvSpPr/>
            <p:nvPr/>
          </p:nvSpPr>
          <p:spPr>
            <a:xfrm>
              <a:off x="1981199" y="8928099"/>
              <a:ext cx="2271714" cy="658814"/>
            </a:xfrm>
            <a:custGeom>
              <a:avLst/>
              <a:gdLst/>
              <a:ahLst/>
              <a:cxnLst>
                <a:cxn ang="0">
                  <a:pos x="wd2" y="hd2"/>
                </a:cxn>
                <a:cxn ang="5400000">
                  <a:pos x="wd2" y="hd2"/>
                </a:cxn>
                <a:cxn ang="10800000">
                  <a:pos x="wd2" y="hd2"/>
                </a:cxn>
                <a:cxn ang="16200000">
                  <a:pos x="wd2" y="hd2"/>
                </a:cxn>
              </a:cxnLst>
              <a:rect l="0" t="0" r="r" b="b"/>
              <a:pathLst>
                <a:path w="21600" h="21600" extrusionOk="0">
                  <a:moveTo>
                    <a:pt x="0" y="2776"/>
                  </a:moveTo>
                  <a:cubicBezTo>
                    <a:pt x="0" y="2776"/>
                    <a:pt x="2596" y="2221"/>
                    <a:pt x="2757" y="2082"/>
                  </a:cubicBezTo>
                  <a:cubicBezTo>
                    <a:pt x="2918" y="1943"/>
                    <a:pt x="3784" y="0"/>
                    <a:pt x="3904" y="0"/>
                  </a:cubicBezTo>
                  <a:cubicBezTo>
                    <a:pt x="4025" y="0"/>
                    <a:pt x="9062" y="260"/>
                    <a:pt x="9092" y="295"/>
                  </a:cubicBezTo>
                  <a:cubicBezTo>
                    <a:pt x="9122" y="330"/>
                    <a:pt x="9112" y="1492"/>
                    <a:pt x="9117" y="1596"/>
                  </a:cubicBezTo>
                  <a:cubicBezTo>
                    <a:pt x="9122" y="1700"/>
                    <a:pt x="9248" y="1822"/>
                    <a:pt x="9278" y="1666"/>
                  </a:cubicBezTo>
                  <a:cubicBezTo>
                    <a:pt x="9308" y="1509"/>
                    <a:pt x="9545" y="1024"/>
                    <a:pt x="9610" y="1041"/>
                  </a:cubicBezTo>
                  <a:cubicBezTo>
                    <a:pt x="9675" y="1058"/>
                    <a:pt x="10496" y="2689"/>
                    <a:pt x="10707" y="2689"/>
                  </a:cubicBezTo>
                  <a:cubicBezTo>
                    <a:pt x="10918" y="2689"/>
                    <a:pt x="13263" y="2412"/>
                    <a:pt x="13263" y="2412"/>
                  </a:cubicBezTo>
                  <a:cubicBezTo>
                    <a:pt x="13263" y="2412"/>
                    <a:pt x="12991" y="4164"/>
                    <a:pt x="12991" y="4320"/>
                  </a:cubicBezTo>
                  <a:cubicBezTo>
                    <a:pt x="12991" y="4476"/>
                    <a:pt x="13519" y="5777"/>
                    <a:pt x="13580" y="5777"/>
                  </a:cubicBezTo>
                  <a:cubicBezTo>
                    <a:pt x="13640" y="5777"/>
                    <a:pt x="14259" y="3852"/>
                    <a:pt x="14319" y="3904"/>
                  </a:cubicBezTo>
                  <a:cubicBezTo>
                    <a:pt x="14380" y="3956"/>
                    <a:pt x="14908" y="6558"/>
                    <a:pt x="14984" y="6558"/>
                  </a:cubicBezTo>
                  <a:cubicBezTo>
                    <a:pt x="15059" y="6558"/>
                    <a:pt x="15753" y="3904"/>
                    <a:pt x="15799" y="3904"/>
                  </a:cubicBezTo>
                  <a:cubicBezTo>
                    <a:pt x="15844" y="3904"/>
                    <a:pt x="17278" y="5465"/>
                    <a:pt x="17338" y="5517"/>
                  </a:cubicBezTo>
                  <a:cubicBezTo>
                    <a:pt x="17399" y="5569"/>
                    <a:pt x="18169" y="3435"/>
                    <a:pt x="18184" y="3279"/>
                  </a:cubicBezTo>
                  <a:cubicBezTo>
                    <a:pt x="18199" y="3123"/>
                    <a:pt x="18138" y="2485"/>
                    <a:pt x="18184" y="2225"/>
                  </a:cubicBezTo>
                  <a:cubicBezTo>
                    <a:pt x="18229" y="1965"/>
                    <a:pt x="18293" y="1405"/>
                    <a:pt x="18293" y="1405"/>
                  </a:cubicBezTo>
                  <a:cubicBezTo>
                    <a:pt x="18293" y="1405"/>
                    <a:pt x="19048" y="2290"/>
                    <a:pt x="19063" y="2355"/>
                  </a:cubicBezTo>
                  <a:cubicBezTo>
                    <a:pt x="19078" y="2420"/>
                    <a:pt x="19625" y="5829"/>
                    <a:pt x="19633" y="6025"/>
                  </a:cubicBezTo>
                  <a:cubicBezTo>
                    <a:pt x="19640" y="6220"/>
                    <a:pt x="19440" y="8523"/>
                    <a:pt x="19440" y="8627"/>
                  </a:cubicBezTo>
                  <a:cubicBezTo>
                    <a:pt x="19440" y="8731"/>
                    <a:pt x="20644" y="11086"/>
                    <a:pt x="20652" y="11203"/>
                  </a:cubicBezTo>
                  <a:cubicBezTo>
                    <a:pt x="20659" y="11320"/>
                    <a:pt x="19854" y="14313"/>
                    <a:pt x="19874" y="14400"/>
                  </a:cubicBezTo>
                  <a:cubicBezTo>
                    <a:pt x="19894" y="14487"/>
                    <a:pt x="20704" y="14070"/>
                    <a:pt x="20745" y="14192"/>
                  </a:cubicBezTo>
                  <a:cubicBezTo>
                    <a:pt x="20785" y="14313"/>
                    <a:pt x="20770" y="16881"/>
                    <a:pt x="20785" y="17106"/>
                  </a:cubicBezTo>
                  <a:cubicBezTo>
                    <a:pt x="20800" y="17332"/>
                    <a:pt x="21600" y="21600"/>
                    <a:pt x="21600"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6" name="Line">
              <a:extLst>
                <a:ext uri="{FF2B5EF4-FFF2-40B4-BE49-F238E27FC236}">
                  <a16:creationId xmlns:a16="http://schemas.microsoft.com/office/drawing/2014/main" id="{BB1701F0-3DB4-BE45-8ABD-DC404D7EC1E7}"/>
                </a:ext>
              </a:extLst>
            </p:cNvPr>
            <p:cNvSpPr/>
            <p:nvPr/>
          </p:nvSpPr>
          <p:spPr>
            <a:xfrm>
              <a:off x="2844799" y="9626599"/>
              <a:ext cx="1558926" cy="1470467"/>
            </a:xfrm>
            <a:custGeom>
              <a:avLst/>
              <a:gdLst/>
              <a:ahLst/>
              <a:cxnLst>
                <a:cxn ang="0">
                  <a:pos x="wd2" y="hd2"/>
                </a:cxn>
                <a:cxn ang="5400000">
                  <a:pos x="wd2" y="hd2"/>
                </a:cxn>
                <a:cxn ang="10800000">
                  <a:pos x="wd2" y="hd2"/>
                </a:cxn>
                <a:cxn ang="16200000">
                  <a:pos x="wd2" y="hd2"/>
                </a:cxn>
              </a:cxnLst>
              <a:rect l="0" t="0" r="r" b="b"/>
              <a:pathLst>
                <a:path w="21600" h="21548" extrusionOk="0">
                  <a:moveTo>
                    <a:pt x="0" y="3670"/>
                  </a:moveTo>
                  <a:lnTo>
                    <a:pt x="1085" y="3670"/>
                  </a:lnTo>
                  <a:cubicBezTo>
                    <a:pt x="1085" y="3670"/>
                    <a:pt x="2640" y="2305"/>
                    <a:pt x="2669" y="2181"/>
                  </a:cubicBezTo>
                  <a:cubicBezTo>
                    <a:pt x="2698" y="2057"/>
                    <a:pt x="3255" y="661"/>
                    <a:pt x="3343" y="568"/>
                  </a:cubicBezTo>
                  <a:cubicBezTo>
                    <a:pt x="3431" y="475"/>
                    <a:pt x="5103" y="41"/>
                    <a:pt x="5308" y="41"/>
                  </a:cubicBezTo>
                  <a:cubicBezTo>
                    <a:pt x="5514" y="41"/>
                    <a:pt x="7655" y="-52"/>
                    <a:pt x="7772" y="41"/>
                  </a:cubicBezTo>
                  <a:cubicBezTo>
                    <a:pt x="7889" y="134"/>
                    <a:pt x="9649" y="2553"/>
                    <a:pt x="9766" y="2678"/>
                  </a:cubicBezTo>
                  <a:cubicBezTo>
                    <a:pt x="9884" y="2802"/>
                    <a:pt x="9510" y="2957"/>
                    <a:pt x="9517" y="3104"/>
                  </a:cubicBezTo>
                  <a:cubicBezTo>
                    <a:pt x="9524" y="3251"/>
                    <a:pt x="10419" y="4888"/>
                    <a:pt x="10455" y="5004"/>
                  </a:cubicBezTo>
                  <a:cubicBezTo>
                    <a:pt x="10492" y="5120"/>
                    <a:pt x="9539" y="6570"/>
                    <a:pt x="9583" y="6609"/>
                  </a:cubicBezTo>
                  <a:cubicBezTo>
                    <a:pt x="9627" y="6648"/>
                    <a:pt x="10998" y="5748"/>
                    <a:pt x="11115" y="5725"/>
                  </a:cubicBezTo>
                  <a:cubicBezTo>
                    <a:pt x="11233" y="5702"/>
                    <a:pt x="13337" y="5671"/>
                    <a:pt x="13403" y="5710"/>
                  </a:cubicBezTo>
                  <a:cubicBezTo>
                    <a:pt x="13469" y="5748"/>
                    <a:pt x="13901" y="6206"/>
                    <a:pt x="13967" y="6237"/>
                  </a:cubicBezTo>
                  <a:cubicBezTo>
                    <a:pt x="14033" y="6268"/>
                    <a:pt x="14019" y="7439"/>
                    <a:pt x="14195" y="8106"/>
                  </a:cubicBezTo>
                  <a:cubicBezTo>
                    <a:pt x="14371" y="8773"/>
                    <a:pt x="14400" y="8959"/>
                    <a:pt x="14385" y="9052"/>
                  </a:cubicBezTo>
                  <a:cubicBezTo>
                    <a:pt x="14371" y="9145"/>
                    <a:pt x="14019" y="9734"/>
                    <a:pt x="13960" y="9843"/>
                  </a:cubicBezTo>
                  <a:cubicBezTo>
                    <a:pt x="13901" y="9951"/>
                    <a:pt x="14913" y="9936"/>
                    <a:pt x="14957" y="9998"/>
                  </a:cubicBezTo>
                  <a:cubicBezTo>
                    <a:pt x="15001" y="10060"/>
                    <a:pt x="15221" y="10618"/>
                    <a:pt x="15280" y="10680"/>
                  </a:cubicBezTo>
                  <a:cubicBezTo>
                    <a:pt x="15338" y="10742"/>
                    <a:pt x="15500" y="10510"/>
                    <a:pt x="15705" y="10370"/>
                  </a:cubicBezTo>
                  <a:cubicBezTo>
                    <a:pt x="15910" y="10230"/>
                    <a:pt x="16160" y="10246"/>
                    <a:pt x="16218" y="10137"/>
                  </a:cubicBezTo>
                  <a:cubicBezTo>
                    <a:pt x="16277" y="10029"/>
                    <a:pt x="16820" y="8850"/>
                    <a:pt x="16849" y="8788"/>
                  </a:cubicBezTo>
                  <a:cubicBezTo>
                    <a:pt x="16878" y="8726"/>
                    <a:pt x="17157" y="8788"/>
                    <a:pt x="17215" y="8788"/>
                  </a:cubicBezTo>
                  <a:cubicBezTo>
                    <a:pt x="17274" y="8788"/>
                    <a:pt x="18268" y="11277"/>
                    <a:pt x="18257" y="11405"/>
                  </a:cubicBezTo>
                  <a:cubicBezTo>
                    <a:pt x="18246" y="11533"/>
                    <a:pt x="17135" y="13255"/>
                    <a:pt x="17179" y="13336"/>
                  </a:cubicBezTo>
                  <a:cubicBezTo>
                    <a:pt x="17223" y="13417"/>
                    <a:pt x="17619" y="13569"/>
                    <a:pt x="17883" y="13743"/>
                  </a:cubicBezTo>
                  <a:cubicBezTo>
                    <a:pt x="18147" y="13918"/>
                    <a:pt x="18466" y="14185"/>
                    <a:pt x="18554" y="14185"/>
                  </a:cubicBezTo>
                  <a:cubicBezTo>
                    <a:pt x="18642" y="14185"/>
                    <a:pt x="19510" y="14185"/>
                    <a:pt x="19587" y="14185"/>
                  </a:cubicBezTo>
                  <a:cubicBezTo>
                    <a:pt x="19664" y="14185"/>
                    <a:pt x="20225" y="15709"/>
                    <a:pt x="20368" y="15732"/>
                  </a:cubicBezTo>
                  <a:cubicBezTo>
                    <a:pt x="20511" y="15755"/>
                    <a:pt x="21292" y="15744"/>
                    <a:pt x="21336" y="15802"/>
                  </a:cubicBezTo>
                  <a:cubicBezTo>
                    <a:pt x="21380" y="15860"/>
                    <a:pt x="21435" y="17093"/>
                    <a:pt x="21512" y="17302"/>
                  </a:cubicBezTo>
                  <a:cubicBezTo>
                    <a:pt x="21589" y="17512"/>
                    <a:pt x="21600" y="17803"/>
                    <a:pt x="21600" y="17803"/>
                  </a:cubicBezTo>
                  <a:cubicBezTo>
                    <a:pt x="21600" y="17803"/>
                    <a:pt x="21215" y="17791"/>
                    <a:pt x="21171" y="17884"/>
                  </a:cubicBezTo>
                  <a:cubicBezTo>
                    <a:pt x="21127" y="17977"/>
                    <a:pt x="20885" y="18570"/>
                    <a:pt x="20852" y="18966"/>
                  </a:cubicBezTo>
                  <a:cubicBezTo>
                    <a:pt x="20819" y="19361"/>
                    <a:pt x="20885" y="21548"/>
                    <a:pt x="20885" y="21548"/>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7" name="Line">
              <a:extLst>
                <a:ext uri="{FF2B5EF4-FFF2-40B4-BE49-F238E27FC236}">
                  <a16:creationId xmlns:a16="http://schemas.microsoft.com/office/drawing/2014/main" id="{7F195A47-EA10-3142-8E20-7EFB12705CE1}"/>
                </a:ext>
              </a:extLst>
            </p:cNvPr>
            <p:cNvSpPr/>
            <p:nvPr/>
          </p:nvSpPr>
          <p:spPr>
            <a:xfrm>
              <a:off x="1968499" y="8623299"/>
              <a:ext cx="777876" cy="211345"/>
            </a:xfrm>
            <a:custGeom>
              <a:avLst/>
              <a:gdLst/>
              <a:ahLst/>
              <a:cxnLst>
                <a:cxn ang="0">
                  <a:pos x="wd2" y="hd2"/>
                </a:cxn>
                <a:cxn ang="5400000">
                  <a:pos x="wd2" y="hd2"/>
                </a:cxn>
                <a:cxn ang="10800000">
                  <a:pos x="wd2" y="hd2"/>
                </a:cxn>
                <a:cxn ang="16200000">
                  <a:pos x="wd2" y="hd2"/>
                </a:cxn>
              </a:cxnLst>
              <a:rect l="0" t="0" r="r" b="b"/>
              <a:pathLst>
                <a:path w="21600" h="21460" extrusionOk="0">
                  <a:moveTo>
                    <a:pt x="1278" y="5824"/>
                  </a:moveTo>
                  <a:cubicBezTo>
                    <a:pt x="1278" y="5824"/>
                    <a:pt x="9433" y="5824"/>
                    <a:pt x="9742" y="5824"/>
                  </a:cubicBezTo>
                  <a:cubicBezTo>
                    <a:pt x="10051" y="5824"/>
                    <a:pt x="10315" y="1633"/>
                    <a:pt x="10491" y="1150"/>
                  </a:cubicBezTo>
                  <a:cubicBezTo>
                    <a:pt x="10668" y="666"/>
                    <a:pt x="12299" y="-140"/>
                    <a:pt x="12519" y="21"/>
                  </a:cubicBezTo>
                  <a:cubicBezTo>
                    <a:pt x="12740" y="182"/>
                    <a:pt x="17589" y="9693"/>
                    <a:pt x="17809" y="9693"/>
                  </a:cubicBezTo>
                  <a:cubicBezTo>
                    <a:pt x="18029" y="9693"/>
                    <a:pt x="20278" y="6147"/>
                    <a:pt x="20454" y="6147"/>
                  </a:cubicBezTo>
                  <a:cubicBezTo>
                    <a:pt x="20630" y="6147"/>
                    <a:pt x="21600" y="10015"/>
                    <a:pt x="21600" y="10660"/>
                  </a:cubicBezTo>
                  <a:cubicBezTo>
                    <a:pt x="21600" y="11305"/>
                    <a:pt x="18029" y="15496"/>
                    <a:pt x="17589" y="15335"/>
                  </a:cubicBezTo>
                  <a:cubicBezTo>
                    <a:pt x="17148" y="15173"/>
                    <a:pt x="13798" y="7597"/>
                    <a:pt x="13136" y="6791"/>
                  </a:cubicBezTo>
                  <a:cubicBezTo>
                    <a:pt x="12475" y="5985"/>
                    <a:pt x="12255" y="5985"/>
                    <a:pt x="12034" y="6469"/>
                  </a:cubicBezTo>
                  <a:cubicBezTo>
                    <a:pt x="11814" y="6953"/>
                    <a:pt x="11373" y="12272"/>
                    <a:pt x="10888" y="12272"/>
                  </a:cubicBezTo>
                  <a:cubicBezTo>
                    <a:pt x="10403" y="12272"/>
                    <a:pt x="8023" y="12756"/>
                    <a:pt x="7626" y="12917"/>
                  </a:cubicBezTo>
                  <a:cubicBezTo>
                    <a:pt x="7229" y="13078"/>
                    <a:pt x="7009" y="15979"/>
                    <a:pt x="6348" y="16141"/>
                  </a:cubicBezTo>
                  <a:cubicBezTo>
                    <a:pt x="5687" y="16302"/>
                    <a:pt x="2292" y="17753"/>
                    <a:pt x="1851" y="17753"/>
                  </a:cubicBezTo>
                  <a:cubicBezTo>
                    <a:pt x="1411" y="17753"/>
                    <a:pt x="0" y="21460"/>
                    <a:pt x="0" y="2146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8" name="Line">
              <a:extLst>
                <a:ext uri="{FF2B5EF4-FFF2-40B4-BE49-F238E27FC236}">
                  <a16:creationId xmlns:a16="http://schemas.microsoft.com/office/drawing/2014/main" id="{9341D216-17AB-C848-8FE4-78E253088D54}"/>
                </a:ext>
              </a:extLst>
            </p:cNvPr>
            <p:cNvSpPr/>
            <p:nvPr/>
          </p:nvSpPr>
          <p:spPr>
            <a:xfrm>
              <a:off x="2400300" y="8928100"/>
              <a:ext cx="377032" cy="477640"/>
            </a:xfrm>
            <a:custGeom>
              <a:avLst/>
              <a:gdLst/>
              <a:ahLst/>
              <a:cxnLst>
                <a:cxn ang="0">
                  <a:pos x="wd2" y="hd2"/>
                </a:cxn>
                <a:cxn ang="5400000">
                  <a:pos x="wd2" y="hd2"/>
                </a:cxn>
                <a:cxn ang="10800000">
                  <a:pos x="wd2" y="hd2"/>
                </a:cxn>
                <a:cxn ang="16200000">
                  <a:pos x="wd2" y="hd2"/>
                </a:cxn>
              </a:cxnLst>
              <a:rect l="0" t="0" r="r" b="b"/>
              <a:pathLst>
                <a:path w="21600" h="21600" extrusionOk="0">
                  <a:moveTo>
                    <a:pt x="20941" y="0"/>
                  </a:moveTo>
                  <a:cubicBezTo>
                    <a:pt x="20941" y="0"/>
                    <a:pt x="21600" y="3940"/>
                    <a:pt x="21600" y="4227"/>
                  </a:cubicBezTo>
                  <a:cubicBezTo>
                    <a:pt x="21600" y="4514"/>
                    <a:pt x="18053" y="5232"/>
                    <a:pt x="17507" y="5375"/>
                  </a:cubicBezTo>
                  <a:cubicBezTo>
                    <a:pt x="16962" y="5519"/>
                    <a:pt x="17053" y="6596"/>
                    <a:pt x="17507" y="6668"/>
                  </a:cubicBezTo>
                  <a:cubicBezTo>
                    <a:pt x="17962" y="6739"/>
                    <a:pt x="20418" y="6811"/>
                    <a:pt x="20600" y="7170"/>
                  </a:cubicBezTo>
                  <a:cubicBezTo>
                    <a:pt x="20781" y="7529"/>
                    <a:pt x="21327" y="11190"/>
                    <a:pt x="20691" y="11262"/>
                  </a:cubicBezTo>
                  <a:cubicBezTo>
                    <a:pt x="20054" y="11334"/>
                    <a:pt x="18417" y="11047"/>
                    <a:pt x="17598" y="11262"/>
                  </a:cubicBezTo>
                  <a:cubicBezTo>
                    <a:pt x="16780" y="11478"/>
                    <a:pt x="7594" y="13524"/>
                    <a:pt x="7094" y="13739"/>
                  </a:cubicBezTo>
                  <a:cubicBezTo>
                    <a:pt x="6594" y="13954"/>
                    <a:pt x="0" y="21600"/>
                    <a:pt x="0"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89" name="Line">
              <a:extLst>
                <a:ext uri="{FF2B5EF4-FFF2-40B4-BE49-F238E27FC236}">
                  <a16:creationId xmlns:a16="http://schemas.microsoft.com/office/drawing/2014/main" id="{17C43B01-9F1C-5340-8282-E793F91468F9}"/>
                </a:ext>
              </a:extLst>
            </p:cNvPr>
            <p:cNvSpPr/>
            <p:nvPr/>
          </p:nvSpPr>
          <p:spPr>
            <a:xfrm>
              <a:off x="3149600" y="8369299"/>
              <a:ext cx="230220" cy="6297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0" y="0"/>
                    <a:pt x="599" y="2825"/>
                    <a:pt x="748" y="3124"/>
                  </a:cubicBezTo>
                  <a:cubicBezTo>
                    <a:pt x="897" y="3424"/>
                    <a:pt x="5291" y="4812"/>
                    <a:pt x="5812" y="5084"/>
                  </a:cubicBezTo>
                  <a:cubicBezTo>
                    <a:pt x="6333" y="5357"/>
                    <a:pt x="4993" y="10230"/>
                    <a:pt x="5142" y="10475"/>
                  </a:cubicBezTo>
                  <a:cubicBezTo>
                    <a:pt x="5291" y="10720"/>
                    <a:pt x="8791" y="13034"/>
                    <a:pt x="9461" y="13034"/>
                  </a:cubicBezTo>
                  <a:cubicBezTo>
                    <a:pt x="10131" y="13034"/>
                    <a:pt x="15121" y="12734"/>
                    <a:pt x="15493" y="12734"/>
                  </a:cubicBezTo>
                  <a:cubicBezTo>
                    <a:pt x="15866" y="12734"/>
                    <a:pt x="21600" y="16627"/>
                    <a:pt x="21600" y="16754"/>
                  </a:cubicBezTo>
                  <a:cubicBezTo>
                    <a:pt x="21600" y="16881"/>
                    <a:pt x="18869" y="18769"/>
                    <a:pt x="18919" y="18950"/>
                  </a:cubicBezTo>
                  <a:cubicBezTo>
                    <a:pt x="18969" y="19132"/>
                    <a:pt x="21004" y="21600"/>
                    <a:pt x="21004"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0" name="Line">
              <a:extLst>
                <a:ext uri="{FF2B5EF4-FFF2-40B4-BE49-F238E27FC236}">
                  <a16:creationId xmlns:a16="http://schemas.microsoft.com/office/drawing/2014/main" id="{B7BD6340-9492-DF4C-8ABF-504D8F6BF8F9}"/>
                </a:ext>
              </a:extLst>
            </p:cNvPr>
            <p:cNvSpPr/>
            <p:nvPr/>
          </p:nvSpPr>
          <p:spPr>
            <a:xfrm>
              <a:off x="4876800" y="8280400"/>
              <a:ext cx="1473994" cy="1230721"/>
            </a:xfrm>
            <a:custGeom>
              <a:avLst/>
              <a:gdLst/>
              <a:ahLst/>
              <a:cxnLst>
                <a:cxn ang="0">
                  <a:pos x="wd2" y="hd2"/>
                </a:cxn>
                <a:cxn ang="5400000">
                  <a:pos x="wd2" y="hd2"/>
                </a:cxn>
                <a:cxn ang="10800000">
                  <a:pos x="wd2" y="hd2"/>
                </a:cxn>
                <a:cxn ang="16200000">
                  <a:pos x="wd2" y="hd2"/>
                </a:cxn>
              </a:cxnLst>
              <a:rect l="0" t="0" r="r" b="b"/>
              <a:pathLst>
                <a:path w="21600" h="21586" extrusionOk="0">
                  <a:moveTo>
                    <a:pt x="21600" y="759"/>
                  </a:moveTo>
                  <a:cubicBezTo>
                    <a:pt x="21600" y="759"/>
                    <a:pt x="18320" y="-14"/>
                    <a:pt x="18180" y="0"/>
                  </a:cubicBezTo>
                  <a:cubicBezTo>
                    <a:pt x="18041" y="14"/>
                    <a:pt x="16819" y="1497"/>
                    <a:pt x="16563" y="1580"/>
                  </a:cubicBezTo>
                  <a:cubicBezTo>
                    <a:pt x="16308" y="1664"/>
                    <a:pt x="13435" y="2777"/>
                    <a:pt x="13376" y="2791"/>
                  </a:cubicBezTo>
                  <a:cubicBezTo>
                    <a:pt x="13318" y="2805"/>
                    <a:pt x="13376" y="4003"/>
                    <a:pt x="13272" y="4016"/>
                  </a:cubicBezTo>
                  <a:cubicBezTo>
                    <a:pt x="13167" y="4030"/>
                    <a:pt x="11760" y="3654"/>
                    <a:pt x="11562" y="3641"/>
                  </a:cubicBezTo>
                  <a:cubicBezTo>
                    <a:pt x="11364" y="3627"/>
                    <a:pt x="10108" y="4949"/>
                    <a:pt x="10061" y="5005"/>
                  </a:cubicBezTo>
                  <a:cubicBezTo>
                    <a:pt x="10015" y="5061"/>
                    <a:pt x="10061" y="6717"/>
                    <a:pt x="9933" y="6731"/>
                  </a:cubicBezTo>
                  <a:cubicBezTo>
                    <a:pt x="9805" y="6745"/>
                    <a:pt x="8712" y="6453"/>
                    <a:pt x="8596" y="6453"/>
                  </a:cubicBezTo>
                  <a:cubicBezTo>
                    <a:pt x="8479" y="6453"/>
                    <a:pt x="8747" y="8263"/>
                    <a:pt x="8596" y="8277"/>
                  </a:cubicBezTo>
                  <a:cubicBezTo>
                    <a:pt x="8445" y="8290"/>
                    <a:pt x="7875" y="8360"/>
                    <a:pt x="7875" y="8360"/>
                  </a:cubicBezTo>
                  <a:cubicBezTo>
                    <a:pt x="7875" y="8360"/>
                    <a:pt x="7979" y="8959"/>
                    <a:pt x="7875" y="8973"/>
                  </a:cubicBezTo>
                  <a:cubicBezTo>
                    <a:pt x="7770" y="8987"/>
                    <a:pt x="5979" y="8026"/>
                    <a:pt x="5921" y="7998"/>
                  </a:cubicBezTo>
                  <a:cubicBezTo>
                    <a:pt x="5862" y="7970"/>
                    <a:pt x="6025" y="7469"/>
                    <a:pt x="5921" y="7455"/>
                  </a:cubicBezTo>
                  <a:cubicBezTo>
                    <a:pt x="5816" y="7441"/>
                    <a:pt x="4443" y="9001"/>
                    <a:pt x="4420" y="9084"/>
                  </a:cubicBezTo>
                  <a:cubicBezTo>
                    <a:pt x="4397" y="9168"/>
                    <a:pt x="4839" y="10769"/>
                    <a:pt x="4816" y="10908"/>
                  </a:cubicBezTo>
                  <a:cubicBezTo>
                    <a:pt x="4792" y="11047"/>
                    <a:pt x="3966" y="10991"/>
                    <a:pt x="3897" y="11005"/>
                  </a:cubicBezTo>
                  <a:cubicBezTo>
                    <a:pt x="3827" y="11019"/>
                    <a:pt x="4280" y="12620"/>
                    <a:pt x="4269" y="12746"/>
                  </a:cubicBezTo>
                  <a:cubicBezTo>
                    <a:pt x="4257" y="12871"/>
                    <a:pt x="3036" y="14333"/>
                    <a:pt x="2885" y="14374"/>
                  </a:cubicBezTo>
                  <a:cubicBezTo>
                    <a:pt x="2733" y="14416"/>
                    <a:pt x="1594" y="14848"/>
                    <a:pt x="1268" y="14890"/>
                  </a:cubicBezTo>
                  <a:cubicBezTo>
                    <a:pt x="942" y="14931"/>
                    <a:pt x="570" y="14945"/>
                    <a:pt x="489" y="15071"/>
                  </a:cubicBezTo>
                  <a:cubicBezTo>
                    <a:pt x="407" y="15196"/>
                    <a:pt x="395" y="15279"/>
                    <a:pt x="395" y="15279"/>
                  </a:cubicBezTo>
                  <a:lnTo>
                    <a:pt x="1035" y="15488"/>
                  </a:lnTo>
                  <a:cubicBezTo>
                    <a:pt x="1035" y="15488"/>
                    <a:pt x="1245" y="16741"/>
                    <a:pt x="1128" y="17242"/>
                  </a:cubicBezTo>
                  <a:cubicBezTo>
                    <a:pt x="1012" y="17744"/>
                    <a:pt x="849" y="18314"/>
                    <a:pt x="710" y="18342"/>
                  </a:cubicBezTo>
                  <a:cubicBezTo>
                    <a:pt x="570" y="18370"/>
                    <a:pt x="302" y="18273"/>
                    <a:pt x="198" y="18342"/>
                  </a:cubicBezTo>
                  <a:cubicBezTo>
                    <a:pt x="93" y="18412"/>
                    <a:pt x="0" y="18593"/>
                    <a:pt x="0" y="18593"/>
                  </a:cubicBezTo>
                  <a:cubicBezTo>
                    <a:pt x="0" y="18593"/>
                    <a:pt x="442" y="19345"/>
                    <a:pt x="442" y="19539"/>
                  </a:cubicBezTo>
                  <a:cubicBezTo>
                    <a:pt x="442" y="19734"/>
                    <a:pt x="0" y="21586"/>
                    <a:pt x="0" y="21586"/>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1" name="Line">
              <a:extLst>
                <a:ext uri="{FF2B5EF4-FFF2-40B4-BE49-F238E27FC236}">
                  <a16:creationId xmlns:a16="http://schemas.microsoft.com/office/drawing/2014/main" id="{157F7E9A-563B-F34D-96D6-7804BE5AF028}"/>
                </a:ext>
              </a:extLst>
            </p:cNvPr>
            <p:cNvSpPr/>
            <p:nvPr/>
          </p:nvSpPr>
          <p:spPr>
            <a:xfrm>
              <a:off x="4114799" y="9436099"/>
              <a:ext cx="1539169" cy="1478069"/>
            </a:xfrm>
            <a:custGeom>
              <a:avLst/>
              <a:gdLst/>
              <a:ahLst/>
              <a:cxnLst>
                <a:cxn ang="0">
                  <a:pos x="wd2" y="hd2"/>
                </a:cxn>
                <a:cxn ang="5400000">
                  <a:pos x="wd2" y="hd2"/>
                </a:cxn>
                <a:cxn ang="10800000">
                  <a:pos x="wd2" y="hd2"/>
                </a:cxn>
                <a:cxn ang="16200000">
                  <a:pos x="wd2" y="hd2"/>
                </a:cxn>
              </a:cxnLst>
              <a:rect l="0" t="0" r="r" b="b"/>
              <a:pathLst>
                <a:path w="21573" h="21567" extrusionOk="0">
                  <a:moveTo>
                    <a:pt x="19275" y="21567"/>
                  </a:moveTo>
                  <a:cubicBezTo>
                    <a:pt x="19275" y="21567"/>
                    <a:pt x="19342" y="21416"/>
                    <a:pt x="19675" y="21359"/>
                  </a:cubicBezTo>
                  <a:cubicBezTo>
                    <a:pt x="20009" y="21301"/>
                    <a:pt x="20788" y="21301"/>
                    <a:pt x="20788" y="21301"/>
                  </a:cubicBezTo>
                  <a:lnTo>
                    <a:pt x="20643" y="19436"/>
                  </a:lnTo>
                  <a:cubicBezTo>
                    <a:pt x="20643" y="19436"/>
                    <a:pt x="19809" y="19146"/>
                    <a:pt x="19709" y="19065"/>
                  </a:cubicBezTo>
                  <a:cubicBezTo>
                    <a:pt x="19609" y="18984"/>
                    <a:pt x="19431" y="17583"/>
                    <a:pt x="19275" y="17015"/>
                  </a:cubicBezTo>
                  <a:cubicBezTo>
                    <a:pt x="19119" y="16448"/>
                    <a:pt x="18897" y="15857"/>
                    <a:pt x="18919" y="15683"/>
                  </a:cubicBezTo>
                  <a:cubicBezTo>
                    <a:pt x="18941" y="15510"/>
                    <a:pt x="20087" y="13379"/>
                    <a:pt x="20087" y="13240"/>
                  </a:cubicBezTo>
                  <a:cubicBezTo>
                    <a:pt x="20087" y="13101"/>
                    <a:pt x="20057" y="12004"/>
                    <a:pt x="20131" y="11773"/>
                  </a:cubicBezTo>
                  <a:cubicBezTo>
                    <a:pt x="20206" y="11541"/>
                    <a:pt x="20591" y="10862"/>
                    <a:pt x="20591" y="10692"/>
                  </a:cubicBezTo>
                  <a:cubicBezTo>
                    <a:pt x="20591" y="10522"/>
                    <a:pt x="21541" y="9827"/>
                    <a:pt x="21570" y="9673"/>
                  </a:cubicBezTo>
                  <a:cubicBezTo>
                    <a:pt x="21600" y="9518"/>
                    <a:pt x="21407" y="7217"/>
                    <a:pt x="21259" y="6986"/>
                  </a:cubicBezTo>
                  <a:cubicBezTo>
                    <a:pt x="21110" y="6754"/>
                    <a:pt x="20725" y="6476"/>
                    <a:pt x="20680" y="6352"/>
                  </a:cubicBezTo>
                  <a:cubicBezTo>
                    <a:pt x="20636" y="6229"/>
                    <a:pt x="20962" y="5302"/>
                    <a:pt x="20858" y="5179"/>
                  </a:cubicBezTo>
                  <a:cubicBezTo>
                    <a:pt x="20754" y="5055"/>
                    <a:pt x="19182" y="3295"/>
                    <a:pt x="19004" y="3218"/>
                  </a:cubicBezTo>
                  <a:cubicBezTo>
                    <a:pt x="18826" y="3140"/>
                    <a:pt x="16364" y="3279"/>
                    <a:pt x="16275" y="3295"/>
                  </a:cubicBezTo>
                  <a:cubicBezTo>
                    <a:pt x="16186" y="3310"/>
                    <a:pt x="15236" y="4329"/>
                    <a:pt x="15118" y="4329"/>
                  </a:cubicBezTo>
                  <a:cubicBezTo>
                    <a:pt x="14999" y="4329"/>
                    <a:pt x="13412" y="3635"/>
                    <a:pt x="13263" y="3588"/>
                  </a:cubicBezTo>
                  <a:cubicBezTo>
                    <a:pt x="13115" y="3542"/>
                    <a:pt x="12017" y="1751"/>
                    <a:pt x="11913" y="1673"/>
                  </a:cubicBezTo>
                  <a:cubicBezTo>
                    <a:pt x="11810" y="1596"/>
                    <a:pt x="10989" y="1209"/>
                    <a:pt x="10743" y="1150"/>
                  </a:cubicBezTo>
                  <a:cubicBezTo>
                    <a:pt x="10497" y="1090"/>
                    <a:pt x="9874" y="1085"/>
                    <a:pt x="9813" y="1096"/>
                  </a:cubicBezTo>
                  <a:cubicBezTo>
                    <a:pt x="9751" y="1108"/>
                    <a:pt x="8750" y="2057"/>
                    <a:pt x="8633" y="2046"/>
                  </a:cubicBezTo>
                  <a:cubicBezTo>
                    <a:pt x="8517" y="2034"/>
                    <a:pt x="8133" y="1820"/>
                    <a:pt x="8122" y="1756"/>
                  </a:cubicBezTo>
                  <a:cubicBezTo>
                    <a:pt x="8110" y="1693"/>
                    <a:pt x="8211" y="48"/>
                    <a:pt x="8172" y="8"/>
                  </a:cubicBezTo>
                  <a:cubicBezTo>
                    <a:pt x="8133" y="-33"/>
                    <a:pt x="7588" y="106"/>
                    <a:pt x="7515" y="152"/>
                  </a:cubicBezTo>
                  <a:cubicBezTo>
                    <a:pt x="7443" y="199"/>
                    <a:pt x="7549" y="743"/>
                    <a:pt x="7443" y="743"/>
                  </a:cubicBezTo>
                  <a:cubicBezTo>
                    <a:pt x="7337" y="743"/>
                    <a:pt x="6770" y="193"/>
                    <a:pt x="6720" y="210"/>
                  </a:cubicBezTo>
                  <a:cubicBezTo>
                    <a:pt x="6670" y="228"/>
                    <a:pt x="6714" y="1403"/>
                    <a:pt x="6659" y="1426"/>
                  </a:cubicBezTo>
                  <a:cubicBezTo>
                    <a:pt x="6603" y="1449"/>
                    <a:pt x="5691" y="1496"/>
                    <a:pt x="5602" y="1519"/>
                  </a:cubicBezTo>
                  <a:cubicBezTo>
                    <a:pt x="5513" y="1542"/>
                    <a:pt x="5390" y="2364"/>
                    <a:pt x="5246" y="2318"/>
                  </a:cubicBezTo>
                  <a:cubicBezTo>
                    <a:pt x="5101" y="2272"/>
                    <a:pt x="4055" y="1820"/>
                    <a:pt x="3977" y="1809"/>
                  </a:cubicBezTo>
                  <a:cubicBezTo>
                    <a:pt x="3899" y="1797"/>
                    <a:pt x="3577" y="1102"/>
                    <a:pt x="3521" y="1090"/>
                  </a:cubicBezTo>
                  <a:cubicBezTo>
                    <a:pt x="3466" y="1079"/>
                    <a:pt x="2208" y="1924"/>
                    <a:pt x="2064" y="2017"/>
                  </a:cubicBezTo>
                  <a:cubicBezTo>
                    <a:pt x="1919" y="2110"/>
                    <a:pt x="1552" y="2364"/>
                    <a:pt x="1341" y="2561"/>
                  </a:cubicBezTo>
                  <a:cubicBezTo>
                    <a:pt x="1129" y="2758"/>
                    <a:pt x="1100" y="2971"/>
                    <a:pt x="1070" y="3264"/>
                  </a:cubicBezTo>
                  <a:cubicBezTo>
                    <a:pt x="1040" y="3557"/>
                    <a:pt x="1203" y="4592"/>
                    <a:pt x="1218" y="4638"/>
                  </a:cubicBezTo>
                  <a:cubicBezTo>
                    <a:pt x="1233" y="4685"/>
                    <a:pt x="1515" y="5102"/>
                    <a:pt x="1604" y="5102"/>
                  </a:cubicBezTo>
                  <a:cubicBezTo>
                    <a:pt x="1693" y="5102"/>
                    <a:pt x="2316" y="4916"/>
                    <a:pt x="2331" y="4993"/>
                  </a:cubicBezTo>
                  <a:cubicBezTo>
                    <a:pt x="2346" y="5071"/>
                    <a:pt x="2049" y="5657"/>
                    <a:pt x="2123" y="5812"/>
                  </a:cubicBezTo>
                  <a:cubicBezTo>
                    <a:pt x="2197" y="5966"/>
                    <a:pt x="2746" y="6229"/>
                    <a:pt x="2731" y="6306"/>
                  </a:cubicBezTo>
                  <a:cubicBezTo>
                    <a:pt x="2716" y="6383"/>
                    <a:pt x="2212" y="6461"/>
                    <a:pt x="2108" y="6538"/>
                  </a:cubicBezTo>
                  <a:cubicBezTo>
                    <a:pt x="2004" y="6615"/>
                    <a:pt x="1997" y="6708"/>
                    <a:pt x="1997" y="6738"/>
                  </a:cubicBezTo>
                  <a:cubicBezTo>
                    <a:pt x="1997" y="6769"/>
                    <a:pt x="1915" y="7186"/>
                    <a:pt x="1953" y="7202"/>
                  </a:cubicBezTo>
                  <a:cubicBezTo>
                    <a:pt x="1990" y="7217"/>
                    <a:pt x="2939" y="7951"/>
                    <a:pt x="2983" y="8059"/>
                  </a:cubicBezTo>
                  <a:cubicBezTo>
                    <a:pt x="3028" y="8167"/>
                    <a:pt x="3117" y="8862"/>
                    <a:pt x="3021" y="8900"/>
                  </a:cubicBezTo>
                  <a:cubicBezTo>
                    <a:pt x="2924" y="8939"/>
                    <a:pt x="1300" y="8561"/>
                    <a:pt x="1211" y="8568"/>
                  </a:cubicBezTo>
                  <a:cubicBezTo>
                    <a:pt x="1122" y="8576"/>
                    <a:pt x="1003" y="8738"/>
                    <a:pt x="951" y="8954"/>
                  </a:cubicBezTo>
                  <a:cubicBezTo>
                    <a:pt x="899" y="9171"/>
                    <a:pt x="870" y="9564"/>
                    <a:pt x="914" y="9588"/>
                  </a:cubicBezTo>
                  <a:cubicBezTo>
                    <a:pt x="959" y="9611"/>
                    <a:pt x="1648" y="9618"/>
                    <a:pt x="1693" y="9696"/>
                  </a:cubicBezTo>
                  <a:lnTo>
                    <a:pt x="1953" y="10356"/>
                  </a:lnTo>
                  <a:lnTo>
                    <a:pt x="1474" y="10367"/>
                  </a:lnTo>
                  <a:cubicBezTo>
                    <a:pt x="1474" y="10367"/>
                    <a:pt x="1140" y="12128"/>
                    <a:pt x="1062" y="12186"/>
                  </a:cubicBezTo>
                  <a:cubicBezTo>
                    <a:pt x="985" y="12244"/>
                    <a:pt x="0" y="12221"/>
                    <a:pt x="0" y="12221"/>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2" name="Line">
              <a:extLst>
                <a:ext uri="{FF2B5EF4-FFF2-40B4-BE49-F238E27FC236}">
                  <a16:creationId xmlns:a16="http://schemas.microsoft.com/office/drawing/2014/main" id="{81DFA955-61D1-3A47-ACE3-78C71A90CB29}"/>
                </a:ext>
              </a:extLst>
            </p:cNvPr>
            <p:cNvSpPr/>
            <p:nvPr/>
          </p:nvSpPr>
          <p:spPr>
            <a:xfrm>
              <a:off x="3340099" y="10020300"/>
              <a:ext cx="319851" cy="442846"/>
            </a:xfrm>
            <a:custGeom>
              <a:avLst/>
              <a:gdLst/>
              <a:ahLst/>
              <a:cxnLst>
                <a:cxn ang="0">
                  <a:pos x="wd2" y="hd2"/>
                </a:cxn>
                <a:cxn ang="5400000">
                  <a:pos x="wd2" y="hd2"/>
                </a:cxn>
                <a:cxn ang="10800000">
                  <a:pos x="wd2" y="hd2"/>
                </a:cxn>
                <a:cxn ang="16200000">
                  <a:pos x="wd2" y="hd2"/>
                </a:cxn>
              </a:cxnLst>
              <a:rect l="0" t="0" r="r" b="b"/>
              <a:pathLst>
                <a:path w="21574" h="21600" extrusionOk="0">
                  <a:moveTo>
                    <a:pt x="1" y="21600"/>
                  </a:moveTo>
                  <a:cubicBezTo>
                    <a:pt x="-26" y="21542"/>
                    <a:pt x="2142" y="18077"/>
                    <a:pt x="2919" y="17206"/>
                  </a:cubicBezTo>
                  <a:cubicBezTo>
                    <a:pt x="3695" y="16335"/>
                    <a:pt x="15446" y="9559"/>
                    <a:pt x="15527" y="9230"/>
                  </a:cubicBezTo>
                  <a:cubicBezTo>
                    <a:pt x="15607" y="8901"/>
                    <a:pt x="16517" y="5940"/>
                    <a:pt x="16945" y="5359"/>
                  </a:cubicBezTo>
                  <a:cubicBezTo>
                    <a:pt x="17374" y="4778"/>
                    <a:pt x="18552" y="4275"/>
                    <a:pt x="19140" y="4275"/>
                  </a:cubicBezTo>
                  <a:cubicBezTo>
                    <a:pt x="19729" y="4275"/>
                    <a:pt x="20586" y="4546"/>
                    <a:pt x="20640" y="4275"/>
                  </a:cubicBezTo>
                  <a:cubicBezTo>
                    <a:pt x="20693" y="4004"/>
                    <a:pt x="21574" y="0"/>
                    <a:pt x="21574"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3" name="Line">
              <a:extLst>
                <a:ext uri="{FF2B5EF4-FFF2-40B4-BE49-F238E27FC236}">
                  <a16:creationId xmlns:a16="http://schemas.microsoft.com/office/drawing/2014/main" id="{68638CA6-9B5D-264B-B0BB-CB66C545B635}"/>
                </a:ext>
              </a:extLst>
            </p:cNvPr>
            <p:cNvSpPr/>
            <p:nvPr/>
          </p:nvSpPr>
          <p:spPr>
            <a:xfrm>
              <a:off x="6997699" y="9182099"/>
              <a:ext cx="294926" cy="1396816"/>
            </a:xfrm>
            <a:custGeom>
              <a:avLst/>
              <a:gdLst/>
              <a:ahLst/>
              <a:cxnLst>
                <a:cxn ang="0">
                  <a:pos x="wd2" y="hd2"/>
                </a:cxn>
                <a:cxn ang="5400000">
                  <a:pos x="wd2" y="hd2"/>
                </a:cxn>
                <a:cxn ang="10800000">
                  <a:pos x="wd2" y="hd2"/>
                </a:cxn>
                <a:cxn ang="16200000">
                  <a:pos x="wd2" y="hd2"/>
                </a:cxn>
              </a:cxnLst>
              <a:rect l="0" t="0" r="r" b="b"/>
              <a:pathLst>
                <a:path w="21345" h="21600" extrusionOk="0">
                  <a:moveTo>
                    <a:pt x="0" y="21600"/>
                  </a:moveTo>
                  <a:cubicBezTo>
                    <a:pt x="0" y="21600"/>
                    <a:pt x="1226" y="10927"/>
                    <a:pt x="1379" y="10764"/>
                  </a:cubicBezTo>
                  <a:cubicBezTo>
                    <a:pt x="1532" y="10600"/>
                    <a:pt x="6740" y="10633"/>
                    <a:pt x="6970" y="10551"/>
                  </a:cubicBezTo>
                  <a:cubicBezTo>
                    <a:pt x="7200" y="10469"/>
                    <a:pt x="11413" y="7785"/>
                    <a:pt x="11643" y="7687"/>
                  </a:cubicBezTo>
                  <a:cubicBezTo>
                    <a:pt x="11872" y="7589"/>
                    <a:pt x="16085" y="7245"/>
                    <a:pt x="16392" y="7147"/>
                  </a:cubicBezTo>
                  <a:cubicBezTo>
                    <a:pt x="16698" y="7049"/>
                    <a:pt x="17157" y="5248"/>
                    <a:pt x="17387" y="5199"/>
                  </a:cubicBezTo>
                  <a:cubicBezTo>
                    <a:pt x="17617" y="5150"/>
                    <a:pt x="19532" y="5183"/>
                    <a:pt x="19991" y="5199"/>
                  </a:cubicBezTo>
                  <a:cubicBezTo>
                    <a:pt x="20451" y="5216"/>
                    <a:pt x="21600" y="4381"/>
                    <a:pt x="21294" y="4168"/>
                  </a:cubicBezTo>
                  <a:cubicBezTo>
                    <a:pt x="20987" y="3956"/>
                    <a:pt x="19379" y="2532"/>
                    <a:pt x="19072" y="2417"/>
                  </a:cubicBezTo>
                  <a:cubicBezTo>
                    <a:pt x="18766" y="2303"/>
                    <a:pt x="15089" y="1730"/>
                    <a:pt x="14936" y="1681"/>
                  </a:cubicBezTo>
                  <a:cubicBezTo>
                    <a:pt x="14783" y="1632"/>
                    <a:pt x="16085" y="633"/>
                    <a:pt x="16238" y="453"/>
                  </a:cubicBezTo>
                  <a:cubicBezTo>
                    <a:pt x="16392" y="273"/>
                    <a:pt x="16706" y="0"/>
                    <a:pt x="16706"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4" name="Line">
              <a:extLst>
                <a:ext uri="{FF2B5EF4-FFF2-40B4-BE49-F238E27FC236}">
                  <a16:creationId xmlns:a16="http://schemas.microsoft.com/office/drawing/2014/main" id="{A33550DC-883E-2044-A50A-6498E2AFCE6B}"/>
                </a:ext>
              </a:extLst>
            </p:cNvPr>
            <p:cNvSpPr/>
            <p:nvPr/>
          </p:nvSpPr>
          <p:spPr>
            <a:xfrm>
              <a:off x="5537200" y="9118599"/>
              <a:ext cx="1373182" cy="65250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0"/>
                    <a:pt x="20302" y="4508"/>
                    <a:pt x="20152" y="4508"/>
                  </a:cubicBezTo>
                  <a:cubicBezTo>
                    <a:pt x="20002" y="4508"/>
                    <a:pt x="17829" y="3877"/>
                    <a:pt x="17730" y="3930"/>
                  </a:cubicBezTo>
                  <a:cubicBezTo>
                    <a:pt x="17630" y="3982"/>
                    <a:pt x="16656" y="7713"/>
                    <a:pt x="16231" y="7818"/>
                  </a:cubicBezTo>
                  <a:cubicBezTo>
                    <a:pt x="15807" y="7924"/>
                    <a:pt x="14458" y="8449"/>
                    <a:pt x="14134" y="8396"/>
                  </a:cubicBezTo>
                  <a:cubicBezTo>
                    <a:pt x="13809" y="8344"/>
                    <a:pt x="12336" y="7240"/>
                    <a:pt x="11886" y="7083"/>
                  </a:cubicBezTo>
                  <a:cubicBezTo>
                    <a:pt x="11437" y="6925"/>
                    <a:pt x="10413" y="6715"/>
                    <a:pt x="10338" y="6767"/>
                  </a:cubicBezTo>
                  <a:cubicBezTo>
                    <a:pt x="10263" y="6820"/>
                    <a:pt x="9889" y="8975"/>
                    <a:pt x="9514" y="8817"/>
                  </a:cubicBezTo>
                  <a:cubicBezTo>
                    <a:pt x="9139" y="8659"/>
                    <a:pt x="649" y="7924"/>
                    <a:pt x="524" y="7924"/>
                  </a:cubicBezTo>
                  <a:cubicBezTo>
                    <a:pt x="400" y="7924"/>
                    <a:pt x="0" y="10972"/>
                    <a:pt x="0" y="11182"/>
                  </a:cubicBezTo>
                  <a:cubicBezTo>
                    <a:pt x="0" y="11392"/>
                    <a:pt x="624" y="12548"/>
                    <a:pt x="724" y="12968"/>
                  </a:cubicBezTo>
                  <a:cubicBezTo>
                    <a:pt x="824" y="13389"/>
                    <a:pt x="724" y="16489"/>
                    <a:pt x="874" y="18118"/>
                  </a:cubicBezTo>
                  <a:cubicBezTo>
                    <a:pt x="1024" y="19748"/>
                    <a:pt x="1361" y="20694"/>
                    <a:pt x="1192" y="20851"/>
                  </a:cubicBezTo>
                  <a:cubicBezTo>
                    <a:pt x="1024" y="21009"/>
                    <a:pt x="737" y="21600"/>
                    <a:pt x="737"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5" name="Line">
              <a:extLst>
                <a:ext uri="{FF2B5EF4-FFF2-40B4-BE49-F238E27FC236}">
                  <a16:creationId xmlns:a16="http://schemas.microsoft.com/office/drawing/2014/main" id="{9BBC0E01-7AA2-9241-9201-E4F818816353}"/>
                </a:ext>
              </a:extLst>
            </p:cNvPr>
            <p:cNvSpPr/>
            <p:nvPr/>
          </p:nvSpPr>
          <p:spPr>
            <a:xfrm>
              <a:off x="6502399" y="9359900"/>
              <a:ext cx="264064" cy="1257565"/>
            </a:xfrm>
            <a:custGeom>
              <a:avLst/>
              <a:gdLst/>
              <a:ahLst/>
              <a:cxnLst>
                <a:cxn ang="0">
                  <a:pos x="wd2" y="hd2"/>
                </a:cxn>
                <a:cxn ang="5400000">
                  <a:pos x="wd2" y="hd2"/>
                </a:cxn>
                <a:cxn ang="10800000">
                  <a:pos x="wd2" y="hd2"/>
                </a:cxn>
                <a:cxn ang="16200000">
                  <a:pos x="wd2" y="hd2"/>
                </a:cxn>
              </a:cxnLst>
              <a:rect l="0" t="0" r="r" b="b"/>
              <a:pathLst>
                <a:path w="21011" h="21600" extrusionOk="0">
                  <a:moveTo>
                    <a:pt x="18316" y="21600"/>
                  </a:moveTo>
                  <a:cubicBezTo>
                    <a:pt x="18316" y="21564"/>
                    <a:pt x="21011" y="21046"/>
                    <a:pt x="21011" y="21046"/>
                  </a:cubicBezTo>
                  <a:cubicBezTo>
                    <a:pt x="21011" y="21046"/>
                    <a:pt x="16885" y="18628"/>
                    <a:pt x="16632" y="18273"/>
                  </a:cubicBezTo>
                  <a:cubicBezTo>
                    <a:pt x="16379" y="17919"/>
                    <a:pt x="16506" y="8948"/>
                    <a:pt x="16632" y="8621"/>
                  </a:cubicBezTo>
                  <a:cubicBezTo>
                    <a:pt x="16758" y="8294"/>
                    <a:pt x="13053" y="7021"/>
                    <a:pt x="11874" y="6621"/>
                  </a:cubicBezTo>
                  <a:cubicBezTo>
                    <a:pt x="10695" y="6221"/>
                    <a:pt x="13053" y="4876"/>
                    <a:pt x="11874" y="4585"/>
                  </a:cubicBezTo>
                  <a:cubicBezTo>
                    <a:pt x="10695" y="4295"/>
                    <a:pt x="758" y="3131"/>
                    <a:pt x="85" y="2840"/>
                  </a:cubicBezTo>
                  <a:cubicBezTo>
                    <a:pt x="-589" y="2549"/>
                    <a:pt x="2969" y="0"/>
                    <a:pt x="2969"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6" name="Line">
              <a:extLst>
                <a:ext uri="{FF2B5EF4-FFF2-40B4-BE49-F238E27FC236}">
                  <a16:creationId xmlns:a16="http://schemas.microsoft.com/office/drawing/2014/main" id="{635D2EF0-177F-B343-9D71-5935F8220CF9}"/>
                </a:ext>
              </a:extLst>
            </p:cNvPr>
            <p:cNvSpPr/>
            <p:nvPr/>
          </p:nvSpPr>
          <p:spPr>
            <a:xfrm>
              <a:off x="6299199" y="9334500"/>
              <a:ext cx="333459" cy="1322785"/>
            </a:xfrm>
            <a:custGeom>
              <a:avLst/>
              <a:gdLst/>
              <a:ahLst/>
              <a:cxnLst>
                <a:cxn ang="0">
                  <a:pos x="wd2" y="hd2"/>
                </a:cxn>
                <a:cxn ang="5400000">
                  <a:pos x="wd2" y="hd2"/>
                </a:cxn>
                <a:cxn ang="10800000">
                  <a:pos x="wd2" y="hd2"/>
                </a:cxn>
                <a:cxn ang="16200000">
                  <a:pos x="wd2" y="hd2"/>
                </a:cxn>
              </a:cxnLst>
              <a:rect l="0" t="0" r="r" b="b"/>
              <a:pathLst>
                <a:path w="21537" h="21600" extrusionOk="0">
                  <a:moveTo>
                    <a:pt x="14" y="0"/>
                  </a:moveTo>
                  <a:cubicBezTo>
                    <a:pt x="14" y="0"/>
                    <a:pt x="-63" y="2067"/>
                    <a:pt x="142" y="2139"/>
                  </a:cubicBezTo>
                  <a:cubicBezTo>
                    <a:pt x="347" y="2210"/>
                    <a:pt x="6192" y="3286"/>
                    <a:pt x="6345" y="3344"/>
                  </a:cubicBezTo>
                  <a:cubicBezTo>
                    <a:pt x="6499" y="3402"/>
                    <a:pt x="6687" y="6375"/>
                    <a:pt x="6619" y="6478"/>
                  </a:cubicBezTo>
                  <a:cubicBezTo>
                    <a:pt x="6550" y="6582"/>
                    <a:pt x="3953" y="6936"/>
                    <a:pt x="3953" y="7040"/>
                  </a:cubicBezTo>
                  <a:cubicBezTo>
                    <a:pt x="3953" y="7144"/>
                    <a:pt x="3953" y="7194"/>
                    <a:pt x="3953" y="7194"/>
                  </a:cubicBezTo>
                  <a:cubicBezTo>
                    <a:pt x="3953" y="7194"/>
                    <a:pt x="9695" y="7148"/>
                    <a:pt x="9763" y="7194"/>
                  </a:cubicBezTo>
                  <a:cubicBezTo>
                    <a:pt x="9831" y="7239"/>
                    <a:pt x="9319" y="9779"/>
                    <a:pt x="8498" y="9866"/>
                  </a:cubicBezTo>
                  <a:cubicBezTo>
                    <a:pt x="7678" y="9952"/>
                    <a:pt x="6585" y="10021"/>
                    <a:pt x="6380" y="10039"/>
                  </a:cubicBezTo>
                  <a:cubicBezTo>
                    <a:pt x="6174" y="10056"/>
                    <a:pt x="8088" y="10811"/>
                    <a:pt x="9114" y="10934"/>
                  </a:cubicBezTo>
                  <a:cubicBezTo>
                    <a:pt x="10139" y="11058"/>
                    <a:pt x="12053" y="11646"/>
                    <a:pt x="12053" y="11732"/>
                  </a:cubicBezTo>
                  <a:cubicBezTo>
                    <a:pt x="12053" y="11819"/>
                    <a:pt x="9729" y="12233"/>
                    <a:pt x="9866" y="12354"/>
                  </a:cubicBezTo>
                  <a:cubicBezTo>
                    <a:pt x="10002" y="12475"/>
                    <a:pt x="8704" y="15586"/>
                    <a:pt x="9045" y="15690"/>
                  </a:cubicBezTo>
                  <a:cubicBezTo>
                    <a:pt x="9387" y="15793"/>
                    <a:pt x="10959" y="16139"/>
                    <a:pt x="11028" y="16277"/>
                  </a:cubicBezTo>
                  <a:cubicBezTo>
                    <a:pt x="11096" y="16415"/>
                    <a:pt x="8635" y="18057"/>
                    <a:pt x="8909" y="18144"/>
                  </a:cubicBezTo>
                  <a:cubicBezTo>
                    <a:pt x="9182" y="18230"/>
                    <a:pt x="15471" y="20442"/>
                    <a:pt x="16496" y="20563"/>
                  </a:cubicBezTo>
                  <a:cubicBezTo>
                    <a:pt x="17521" y="20684"/>
                    <a:pt x="21537" y="21600"/>
                    <a:pt x="21537"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7" name="Line">
              <a:extLst>
                <a:ext uri="{FF2B5EF4-FFF2-40B4-BE49-F238E27FC236}">
                  <a16:creationId xmlns:a16="http://schemas.microsoft.com/office/drawing/2014/main" id="{6289A9DF-07C3-414D-98CE-5FABE692DA6B}"/>
                </a:ext>
              </a:extLst>
            </p:cNvPr>
            <p:cNvSpPr/>
            <p:nvPr/>
          </p:nvSpPr>
          <p:spPr>
            <a:xfrm>
              <a:off x="8470900" y="8648700"/>
              <a:ext cx="1609726" cy="2373115"/>
            </a:xfrm>
            <a:custGeom>
              <a:avLst/>
              <a:gdLst/>
              <a:ahLst/>
              <a:cxnLst>
                <a:cxn ang="0">
                  <a:pos x="wd2" y="hd2"/>
                </a:cxn>
                <a:cxn ang="5400000">
                  <a:pos x="wd2" y="hd2"/>
                </a:cxn>
                <a:cxn ang="10800000">
                  <a:pos x="wd2" y="hd2"/>
                </a:cxn>
                <a:cxn ang="16200000">
                  <a:pos x="wd2" y="hd2"/>
                </a:cxn>
              </a:cxnLst>
              <a:rect l="0" t="0" r="r" b="b"/>
              <a:pathLst>
                <a:path w="21600" h="21600" extrusionOk="0">
                  <a:moveTo>
                    <a:pt x="18035" y="0"/>
                  </a:moveTo>
                  <a:cubicBezTo>
                    <a:pt x="18035" y="0"/>
                    <a:pt x="19491" y="1400"/>
                    <a:pt x="19598" y="1530"/>
                  </a:cubicBezTo>
                  <a:cubicBezTo>
                    <a:pt x="19704" y="1660"/>
                    <a:pt x="19886" y="2223"/>
                    <a:pt x="19987" y="2657"/>
                  </a:cubicBezTo>
                  <a:cubicBezTo>
                    <a:pt x="20088" y="3090"/>
                    <a:pt x="20194" y="3249"/>
                    <a:pt x="20194" y="3249"/>
                  </a:cubicBezTo>
                  <a:cubicBezTo>
                    <a:pt x="20194" y="3249"/>
                    <a:pt x="20876" y="3264"/>
                    <a:pt x="20982" y="3249"/>
                  </a:cubicBezTo>
                  <a:cubicBezTo>
                    <a:pt x="21089" y="3235"/>
                    <a:pt x="21600" y="3683"/>
                    <a:pt x="21600" y="3683"/>
                  </a:cubicBezTo>
                  <a:cubicBezTo>
                    <a:pt x="21600" y="3683"/>
                    <a:pt x="21430" y="5113"/>
                    <a:pt x="21408" y="5214"/>
                  </a:cubicBezTo>
                  <a:cubicBezTo>
                    <a:pt x="21387" y="5316"/>
                    <a:pt x="20057" y="5908"/>
                    <a:pt x="19987" y="5908"/>
                  </a:cubicBezTo>
                  <a:cubicBezTo>
                    <a:pt x="19917" y="5908"/>
                    <a:pt x="19363" y="5763"/>
                    <a:pt x="19278" y="5763"/>
                  </a:cubicBezTo>
                  <a:cubicBezTo>
                    <a:pt x="19193" y="5763"/>
                    <a:pt x="18426" y="6399"/>
                    <a:pt x="18362" y="6529"/>
                  </a:cubicBezTo>
                  <a:cubicBezTo>
                    <a:pt x="18298" y="6659"/>
                    <a:pt x="17702" y="8119"/>
                    <a:pt x="17638" y="8191"/>
                  </a:cubicBezTo>
                  <a:cubicBezTo>
                    <a:pt x="17574" y="8263"/>
                    <a:pt x="16764" y="8682"/>
                    <a:pt x="16679" y="8769"/>
                  </a:cubicBezTo>
                  <a:cubicBezTo>
                    <a:pt x="16594" y="8856"/>
                    <a:pt x="16828" y="9910"/>
                    <a:pt x="16679" y="9939"/>
                  </a:cubicBezTo>
                  <a:cubicBezTo>
                    <a:pt x="16530" y="9968"/>
                    <a:pt x="15391" y="10395"/>
                    <a:pt x="15327" y="10409"/>
                  </a:cubicBezTo>
                  <a:cubicBezTo>
                    <a:pt x="15263" y="10423"/>
                    <a:pt x="15220" y="11760"/>
                    <a:pt x="15146" y="11818"/>
                  </a:cubicBezTo>
                  <a:cubicBezTo>
                    <a:pt x="15071" y="11876"/>
                    <a:pt x="13314" y="12584"/>
                    <a:pt x="13250" y="12598"/>
                  </a:cubicBezTo>
                  <a:cubicBezTo>
                    <a:pt x="13186" y="12612"/>
                    <a:pt x="11972" y="15734"/>
                    <a:pt x="11972" y="15734"/>
                  </a:cubicBezTo>
                  <a:cubicBezTo>
                    <a:pt x="11972" y="15734"/>
                    <a:pt x="11247" y="16023"/>
                    <a:pt x="11120" y="16051"/>
                  </a:cubicBezTo>
                  <a:cubicBezTo>
                    <a:pt x="10992" y="16080"/>
                    <a:pt x="11034" y="16716"/>
                    <a:pt x="10864" y="16759"/>
                  </a:cubicBezTo>
                  <a:cubicBezTo>
                    <a:pt x="10693" y="16803"/>
                    <a:pt x="9501" y="17150"/>
                    <a:pt x="9351" y="17150"/>
                  </a:cubicBezTo>
                  <a:cubicBezTo>
                    <a:pt x="9202" y="17150"/>
                    <a:pt x="9501" y="16716"/>
                    <a:pt x="9351" y="16716"/>
                  </a:cubicBezTo>
                  <a:cubicBezTo>
                    <a:pt x="9202" y="16716"/>
                    <a:pt x="8776" y="16716"/>
                    <a:pt x="8712" y="16716"/>
                  </a:cubicBezTo>
                  <a:cubicBezTo>
                    <a:pt x="8649" y="16716"/>
                    <a:pt x="7669" y="15589"/>
                    <a:pt x="7562" y="15575"/>
                  </a:cubicBezTo>
                  <a:cubicBezTo>
                    <a:pt x="7456" y="15560"/>
                    <a:pt x="7328" y="16210"/>
                    <a:pt x="7200" y="16225"/>
                  </a:cubicBezTo>
                  <a:cubicBezTo>
                    <a:pt x="7072" y="16239"/>
                    <a:pt x="6369" y="16225"/>
                    <a:pt x="6263" y="16225"/>
                  </a:cubicBezTo>
                  <a:cubicBezTo>
                    <a:pt x="6156" y="16225"/>
                    <a:pt x="6156" y="15979"/>
                    <a:pt x="6050" y="15936"/>
                  </a:cubicBezTo>
                  <a:cubicBezTo>
                    <a:pt x="5943" y="15893"/>
                    <a:pt x="1576" y="18595"/>
                    <a:pt x="1512" y="18710"/>
                  </a:cubicBezTo>
                  <a:cubicBezTo>
                    <a:pt x="1449" y="18826"/>
                    <a:pt x="1491" y="20278"/>
                    <a:pt x="1427" y="20336"/>
                  </a:cubicBezTo>
                  <a:cubicBezTo>
                    <a:pt x="1363" y="20393"/>
                    <a:pt x="0" y="21600"/>
                    <a:pt x="0"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8" name="Line">
              <a:extLst>
                <a:ext uri="{FF2B5EF4-FFF2-40B4-BE49-F238E27FC236}">
                  <a16:creationId xmlns:a16="http://schemas.microsoft.com/office/drawing/2014/main" id="{9ED79A26-0FC1-6649-9C8C-D4EDD9313CDC}"/>
                </a:ext>
              </a:extLst>
            </p:cNvPr>
            <p:cNvSpPr/>
            <p:nvPr/>
          </p:nvSpPr>
          <p:spPr>
            <a:xfrm>
              <a:off x="8737600" y="11620500"/>
              <a:ext cx="1294301" cy="1630870"/>
            </a:xfrm>
            <a:custGeom>
              <a:avLst/>
              <a:gdLst/>
              <a:ahLst/>
              <a:cxnLst>
                <a:cxn ang="0">
                  <a:pos x="wd2" y="hd2"/>
                </a:cxn>
                <a:cxn ang="5400000">
                  <a:pos x="wd2" y="hd2"/>
                </a:cxn>
                <a:cxn ang="10800000">
                  <a:pos x="wd2" y="hd2"/>
                </a:cxn>
                <a:cxn ang="16200000">
                  <a:pos x="wd2" y="hd2"/>
                </a:cxn>
              </a:cxnLst>
              <a:rect l="0" t="0" r="r" b="b"/>
              <a:pathLst>
                <a:path w="21529" h="21523" extrusionOk="0">
                  <a:moveTo>
                    <a:pt x="0" y="4448"/>
                  </a:moveTo>
                  <a:cubicBezTo>
                    <a:pt x="201" y="4297"/>
                    <a:pt x="845" y="4406"/>
                    <a:pt x="1056" y="4448"/>
                  </a:cubicBezTo>
                  <a:cubicBezTo>
                    <a:pt x="1267" y="4490"/>
                    <a:pt x="1848" y="4804"/>
                    <a:pt x="2007" y="4804"/>
                  </a:cubicBezTo>
                  <a:cubicBezTo>
                    <a:pt x="2165" y="4804"/>
                    <a:pt x="7843" y="4643"/>
                    <a:pt x="7922" y="4588"/>
                  </a:cubicBezTo>
                  <a:cubicBezTo>
                    <a:pt x="8001" y="4532"/>
                    <a:pt x="7843" y="2018"/>
                    <a:pt x="7922" y="1829"/>
                  </a:cubicBezTo>
                  <a:cubicBezTo>
                    <a:pt x="8001" y="1641"/>
                    <a:pt x="7578" y="1788"/>
                    <a:pt x="7446" y="1536"/>
                  </a:cubicBezTo>
                  <a:cubicBezTo>
                    <a:pt x="7314" y="1285"/>
                    <a:pt x="7314" y="698"/>
                    <a:pt x="7446" y="635"/>
                  </a:cubicBezTo>
                  <a:cubicBezTo>
                    <a:pt x="7578" y="572"/>
                    <a:pt x="7843" y="635"/>
                    <a:pt x="7843" y="635"/>
                  </a:cubicBezTo>
                  <a:cubicBezTo>
                    <a:pt x="7843" y="635"/>
                    <a:pt x="8001" y="153"/>
                    <a:pt x="8186" y="91"/>
                  </a:cubicBezTo>
                  <a:cubicBezTo>
                    <a:pt x="8371" y="28"/>
                    <a:pt x="15738" y="-77"/>
                    <a:pt x="15896" y="91"/>
                  </a:cubicBezTo>
                  <a:cubicBezTo>
                    <a:pt x="16055" y="258"/>
                    <a:pt x="16240" y="447"/>
                    <a:pt x="16240" y="552"/>
                  </a:cubicBezTo>
                  <a:cubicBezTo>
                    <a:pt x="16240" y="656"/>
                    <a:pt x="15685" y="1369"/>
                    <a:pt x="15685" y="1557"/>
                  </a:cubicBezTo>
                  <a:cubicBezTo>
                    <a:pt x="15685" y="1746"/>
                    <a:pt x="15368" y="2563"/>
                    <a:pt x="15527" y="2626"/>
                  </a:cubicBezTo>
                  <a:cubicBezTo>
                    <a:pt x="15685" y="2688"/>
                    <a:pt x="16240" y="3233"/>
                    <a:pt x="16240" y="3233"/>
                  </a:cubicBezTo>
                  <a:cubicBezTo>
                    <a:pt x="16240" y="3233"/>
                    <a:pt x="15553" y="3736"/>
                    <a:pt x="15764" y="3736"/>
                  </a:cubicBezTo>
                  <a:cubicBezTo>
                    <a:pt x="15976" y="3736"/>
                    <a:pt x="17956" y="3024"/>
                    <a:pt x="18431" y="3024"/>
                  </a:cubicBezTo>
                  <a:cubicBezTo>
                    <a:pt x="18907" y="3024"/>
                    <a:pt x="20121" y="3170"/>
                    <a:pt x="20385" y="3359"/>
                  </a:cubicBezTo>
                  <a:cubicBezTo>
                    <a:pt x="20649" y="3547"/>
                    <a:pt x="21336" y="5140"/>
                    <a:pt x="21283" y="5265"/>
                  </a:cubicBezTo>
                  <a:cubicBezTo>
                    <a:pt x="21230" y="5391"/>
                    <a:pt x="19408" y="6418"/>
                    <a:pt x="19223" y="6585"/>
                  </a:cubicBezTo>
                  <a:cubicBezTo>
                    <a:pt x="19039" y="6753"/>
                    <a:pt x="19144" y="7654"/>
                    <a:pt x="19091" y="8010"/>
                  </a:cubicBezTo>
                  <a:cubicBezTo>
                    <a:pt x="19039" y="8366"/>
                    <a:pt x="18854" y="8680"/>
                    <a:pt x="18854" y="8680"/>
                  </a:cubicBezTo>
                  <a:cubicBezTo>
                    <a:pt x="18854" y="8680"/>
                    <a:pt x="19699" y="8680"/>
                    <a:pt x="19936" y="8806"/>
                  </a:cubicBezTo>
                  <a:cubicBezTo>
                    <a:pt x="20174" y="8932"/>
                    <a:pt x="21442" y="9948"/>
                    <a:pt x="21521" y="10053"/>
                  </a:cubicBezTo>
                  <a:cubicBezTo>
                    <a:pt x="21600" y="10157"/>
                    <a:pt x="21072" y="11069"/>
                    <a:pt x="21125" y="11446"/>
                  </a:cubicBezTo>
                  <a:cubicBezTo>
                    <a:pt x="21178" y="11823"/>
                    <a:pt x="21442" y="13562"/>
                    <a:pt x="21389" y="13708"/>
                  </a:cubicBezTo>
                  <a:cubicBezTo>
                    <a:pt x="21336" y="13855"/>
                    <a:pt x="20042" y="15405"/>
                    <a:pt x="20042" y="15405"/>
                  </a:cubicBezTo>
                  <a:lnTo>
                    <a:pt x="20412" y="15950"/>
                  </a:lnTo>
                  <a:lnTo>
                    <a:pt x="19778" y="16411"/>
                  </a:lnTo>
                  <a:cubicBezTo>
                    <a:pt x="19778" y="16411"/>
                    <a:pt x="18722" y="16558"/>
                    <a:pt x="18722" y="16411"/>
                  </a:cubicBezTo>
                  <a:cubicBezTo>
                    <a:pt x="18722" y="16264"/>
                    <a:pt x="19118" y="16055"/>
                    <a:pt x="19091" y="15992"/>
                  </a:cubicBezTo>
                  <a:cubicBezTo>
                    <a:pt x="19065" y="15929"/>
                    <a:pt x="18405" y="14945"/>
                    <a:pt x="18273" y="14965"/>
                  </a:cubicBezTo>
                  <a:cubicBezTo>
                    <a:pt x="18141" y="14986"/>
                    <a:pt x="17349" y="16097"/>
                    <a:pt x="17190" y="16118"/>
                  </a:cubicBezTo>
                  <a:cubicBezTo>
                    <a:pt x="17032" y="16139"/>
                    <a:pt x="15579" y="16034"/>
                    <a:pt x="15263" y="16034"/>
                  </a:cubicBezTo>
                  <a:cubicBezTo>
                    <a:pt x="14946" y="16034"/>
                    <a:pt x="14814" y="15887"/>
                    <a:pt x="14814" y="15887"/>
                  </a:cubicBezTo>
                  <a:cubicBezTo>
                    <a:pt x="14814" y="15887"/>
                    <a:pt x="15342" y="15845"/>
                    <a:pt x="15263" y="15699"/>
                  </a:cubicBezTo>
                  <a:cubicBezTo>
                    <a:pt x="15183" y="15552"/>
                    <a:pt x="14523" y="14400"/>
                    <a:pt x="14180" y="14358"/>
                  </a:cubicBezTo>
                  <a:cubicBezTo>
                    <a:pt x="13837" y="14316"/>
                    <a:pt x="12780" y="14253"/>
                    <a:pt x="12675" y="14253"/>
                  </a:cubicBezTo>
                  <a:cubicBezTo>
                    <a:pt x="12569" y="14253"/>
                    <a:pt x="13150" y="15971"/>
                    <a:pt x="13018" y="16034"/>
                  </a:cubicBezTo>
                  <a:cubicBezTo>
                    <a:pt x="12886" y="16097"/>
                    <a:pt x="11935" y="15887"/>
                    <a:pt x="11407" y="15866"/>
                  </a:cubicBezTo>
                  <a:cubicBezTo>
                    <a:pt x="10879" y="15845"/>
                    <a:pt x="10721" y="15887"/>
                    <a:pt x="10562" y="15929"/>
                  </a:cubicBezTo>
                  <a:cubicBezTo>
                    <a:pt x="10404" y="15971"/>
                    <a:pt x="9770" y="16579"/>
                    <a:pt x="9665" y="16600"/>
                  </a:cubicBezTo>
                  <a:cubicBezTo>
                    <a:pt x="9559" y="16621"/>
                    <a:pt x="8793" y="16055"/>
                    <a:pt x="8688" y="16055"/>
                  </a:cubicBezTo>
                  <a:cubicBezTo>
                    <a:pt x="8582" y="16055"/>
                    <a:pt x="8688" y="17605"/>
                    <a:pt x="8793" y="17626"/>
                  </a:cubicBezTo>
                  <a:cubicBezTo>
                    <a:pt x="8899" y="17647"/>
                    <a:pt x="9876" y="18297"/>
                    <a:pt x="9876" y="18297"/>
                  </a:cubicBezTo>
                  <a:lnTo>
                    <a:pt x="9348" y="18569"/>
                  </a:lnTo>
                  <a:cubicBezTo>
                    <a:pt x="9348" y="18569"/>
                    <a:pt x="10457" y="19072"/>
                    <a:pt x="10510" y="19135"/>
                  </a:cubicBezTo>
                  <a:cubicBezTo>
                    <a:pt x="10562" y="19197"/>
                    <a:pt x="10536" y="20203"/>
                    <a:pt x="10457" y="20224"/>
                  </a:cubicBezTo>
                  <a:cubicBezTo>
                    <a:pt x="10378" y="20245"/>
                    <a:pt x="9480" y="20706"/>
                    <a:pt x="9374" y="20664"/>
                  </a:cubicBezTo>
                  <a:cubicBezTo>
                    <a:pt x="9268" y="20622"/>
                    <a:pt x="8661" y="19763"/>
                    <a:pt x="8556" y="19763"/>
                  </a:cubicBezTo>
                  <a:cubicBezTo>
                    <a:pt x="8450" y="19763"/>
                    <a:pt x="7103" y="21523"/>
                    <a:pt x="7103" y="21523"/>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99" name="Line">
              <a:extLst>
                <a:ext uri="{FF2B5EF4-FFF2-40B4-BE49-F238E27FC236}">
                  <a16:creationId xmlns:a16="http://schemas.microsoft.com/office/drawing/2014/main" id="{E50708E5-BDF3-B847-8042-91D5B4D6D576}"/>
                </a:ext>
              </a:extLst>
            </p:cNvPr>
            <p:cNvSpPr/>
            <p:nvPr/>
          </p:nvSpPr>
          <p:spPr>
            <a:xfrm>
              <a:off x="8801100" y="11569700"/>
              <a:ext cx="391849" cy="9445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200" y="19361"/>
                  </a:lnTo>
                  <a:cubicBezTo>
                    <a:pt x="4200" y="19361"/>
                    <a:pt x="20535" y="18514"/>
                    <a:pt x="20739" y="18635"/>
                  </a:cubicBezTo>
                  <a:cubicBezTo>
                    <a:pt x="20944" y="18756"/>
                    <a:pt x="21600" y="21600"/>
                    <a:pt x="21600"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0" name="Line">
              <a:extLst>
                <a:ext uri="{FF2B5EF4-FFF2-40B4-BE49-F238E27FC236}">
                  <a16:creationId xmlns:a16="http://schemas.microsoft.com/office/drawing/2014/main" id="{298A3980-0CE8-1A49-981F-3ADB7C293177}"/>
                </a:ext>
              </a:extLst>
            </p:cNvPr>
            <p:cNvSpPr/>
            <p:nvPr/>
          </p:nvSpPr>
          <p:spPr>
            <a:xfrm>
              <a:off x="9372599" y="11252199"/>
              <a:ext cx="1735139" cy="2265398"/>
            </a:xfrm>
            <a:custGeom>
              <a:avLst/>
              <a:gdLst/>
              <a:ahLst/>
              <a:cxnLst>
                <a:cxn ang="0">
                  <a:pos x="wd2" y="hd2"/>
                </a:cxn>
                <a:cxn ang="5400000">
                  <a:pos x="wd2" y="hd2"/>
                </a:cxn>
                <a:cxn ang="10800000">
                  <a:pos x="wd2" y="hd2"/>
                </a:cxn>
                <a:cxn ang="16200000">
                  <a:pos x="wd2" y="hd2"/>
                </a:cxn>
              </a:cxnLst>
              <a:rect l="0" t="0" r="r" b="b"/>
              <a:pathLst>
                <a:path w="21600" h="21585" extrusionOk="0">
                  <a:moveTo>
                    <a:pt x="4360" y="3819"/>
                  </a:moveTo>
                  <a:cubicBezTo>
                    <a:pt x="4360" y="3819"/>
                    <a:pt x="8517" y="3646"/>
                    <a:pt x="8656" y="3721"/>
                  </a:cubicBezTo>
                  <a:cubicBezTo>
                    <a:pt x="8794" y="3797"/>
                    <a:pt x="9565" y="4175"/>
                    <a:pt x="9782" y="4266"/>
                  </a:cubicBezTo>
                  <a:cubicBezTo>
                    <a:pt x="10000" y="4356"/>
                    <a:pt x="12173" y="4372"/>
                    <a:pt x="12312" y="4462"/>
                  </a:cubicBezTo>
                  <a:cubicBezTo>
                    <a:pt x="12450" y="4553"/>
                    <a:pt x="13063" y="5128"/>
                    <a:pt x="13181" y="5113"/>
                  </a:cubicBezTo>
                  <a:cubicBezTo>
                    <a:pt x="13300" y="5098"/>
                    <a:pt x="13517" y="5037"/>
                    <a:pt x="13557" y="4992"/>
                  </a:cubicBezTo>
                  <a:cubicBezTo>
                    <a:pt x="13596" y="4946"/>
                    <a:pt x="13379" y="3728"/>
                    <a:pt x="13399" y="3702"/>
                  </a:cubicBezTo>
                  <a:cubicBezTo>
                    <a:pt x="13418" y="3676"/>
                    <a:pt x="13418" y="3676"/>
                    <a:pt x="13418" y="3676"/>
                  </a:cubicBezTo>
                  <a:lnTo>
                    <a:pt x="13893" y="3676"/>
                  </a:lnTo>
                  <a:cubicBezTo>
                    <a:pt x="13893" y="3676"/>
                    <a:pt x="14822" y="2163"/>
                    <a:pt x="14861" y="1997"/>
                  </a:cubicBezTo>
                  <a:cubicBezTo>
                    <a:pt x="14901" y="1830"/>
                    <a:pt x="15158" y="575"/>
                    <a:pt x="15197" y="499"/>
                  </a:cubicBezTo>
                  <a:cubicBezTo>
                    <a:pt x="15237" y="424"/>
                    <a:pt x="16363" y="514"/>
                    <a:pt x="16561" y="499"/>
                  </a:cubicBezTo>
                  <a:cubicBezTo>
                    <a:pt x="16758" y="484"/>
                    <a:pt x="17727" y="-15"/>
                    <a:pt x="17806" y="0"/>
                  </a:cubicBezTo>
                  <a:cubicBezTo>
                    <a:pt x="17885" y="15"/>
                    <a:pt x="19861" y="575"/>
                    <a:pt x="20039" y="575"/>
                  </a:cubicBezTo>
                  <a:cubicBezTo>
                    <a:pt x="20217" y="575"/>
                    <a:pt x="20948" y="257"/>
                    <a:pt x="21027" y="242"/>
                  </a:cubicBezTo>
                  <a:cubicBezTo>
                    <a:pt x="21106" y="227"/>
                    <a:pt x="21501" y="560"/>
                    <a:pt x="21501" y="560"/>
                  </a:cubicBezTo>
                  <a:lnTo>
                    <a:pt x="21600" y="1513"/>
                  </a:lnTo>
                  <a:cubicBezTo>
                    <a:pt x="21600" y="1513"/>
                    <a:pt x="19881" y="3449"/>
                    <a:pt x="19861" y="3555"/>
                  </a:cubicBezTo>
                  <a:cubicBezTo>
                    <a:pt x="19841" y="3661"/>
                    <a:pt x="19406" y="5461"/>
                    <a:pt x="19327" y="5824"/>
                  </a:cubicBezTo>
                  <a:cubicBezTo>
                    <a:pt x="19248" y="6187"/>
                    <a:pt x="19070" y="6489"/>
                    <a:pt x="19189" y="6913"/>
                  </a:cubicBezTo>
                  <a:cubicBezTo>
                    <a:pt x="19308" y="7336"/>
                    <a:pt x="19406" y="7760"/>
                    <a:pt x="19406" y="7926"/>
                  </a:cubicBezTo>
                  <a:cubicBezTo>
                    <a:pt x="19406" y="8093"/>
                    <a:pt x="18734" y="9061"/>
                    <a:pt x="18754" y="9212"/>
                  </a:cubicBezTo>
                  <a:cubicBezTo>
                    <a:pt x="18774" y="9363"/>
                    <a:pt x="18715" y="10256"/>
                    <a:pt x="18616" y="10392"/>
                  </a:cubicBezTo>
                  <a:cubicBezTo>
                    <a:pt x="18517" y="10528"/>
                    <a:pt x="17154" y="11708"/>
                    <a:pt x="17154" y="11708"/>
                  </a:cubicBezTo>
                  <a:cubicBezTo>
                    <a:pt x="17154" y="11708"/>
                    <a:pt x="16264" y="11859"/>
                    <a:pt x="15790" y="12373"/>
                  </a:cubicBezTo>
                  <a:cubicBezTo>
                    <a:pt x="15316" y="12888"/>
                    <a:pt x="14881" y="13614"/>
                    <a:pt x="14407" y="14098"/>
                  </a:cubicBezTo>
                  <a:cubicBezTo>
                    <a:pt x="13932" y="14582"/>
                    <a:pt x="13656" y="14975"/>
                    <a:pt x="13695" y="15489"/>
                  </a:cubicBezTo>
                  <a:cubicBezTo>
                    <a:pt x="13735" y="16003"/>
                    <a:pt x="13814" y="17274"/>
                    <a:pt x="13814" y="17365"/>
                  </a:cubicBezTo>
                  <a:cubicBezTo>
                    <a:pt x="13814" y="17456"/>
                    <a:pt x="12984" y="18575"/>
                    <a:pt x="12707" y="18817"/>
                  </a:cubicBezTo>
                  <a:cubicBezTo>
                    <a:pt x="12430" y="19059"/>
                    <a:pt x="10928" y="19422"/>
                    <a:pt x="10336" y="19906"/>
                  </a:cubicBezTo>
                  <a:cubicBezTo>
                    <a:pt x="9743" y="20390"/>
                    <a:pt x="9466" y="20874"/>
                    <a:pt x="9466" y="20874"/>
                  </a:cubicBezTo>
                  <a:lnTo>
                    <a:pt x="8913" y="21252"/>
                  </a:lnTo>
                  <a:lnTo>
                    <a:pt x="8004" y="21252"/>
                  </a:lnTo>
                  <a:cubicBezTo>
                    <a:pt x="8004" y="21252"/>
                    <a:pt x="8102" y="19709"/>
                    <a:pt x="8004" y="19664"/>
                  </a:cubicBezTo>
                  <a:cubicBezTo>
                    <a:pt x="7905" y="19619"/>
                    <a:pt x="6739" y="20314"/>
                    <a:pt x="6581" y="20284"/>
                  </a:cubicBezTo>
                  <a:cubicBezTo>
                    <a:pt x="6423" y="20254"/>
                    <a:pt x="5869" y="19967"/>
                    <a:pt x="5810" y="19982"/>
                  </a:cubicBezTo>
                  <a:cubicBezTo>
                    <a:pt x="5751" y="19997"/>
                    <a:pt x="5869" y="20708"/>
                    <a:pt x="5790" y="20723"/>
                  </a:cubicBezTo>
                  <a:cubicBezTo>
                    <a:pt x="5711" y="20738"/>
                    <a:pt x="5276" y="20768"/>
                    <a:pt x="5158" y="20768"/>
                  </a:cubicBezTo>
                  <a:cubicBezTo>
                    <a:pt x="5039" y="20768"/>
                    <a:pt x="4980" y="21207"/>
                    <a:pt x="4881" y="21252"/>
                  </a:cubicBezTo>
                  <a:cubicBezTo>
                    <a:pt x="4782" y="21298"/>
                    <a:pt x="2707" y="19876"/>
                    <a:pt x="2628" y="19876"/>
                  </a:cubicBezTo>
                  <a:cubicBezTo>
                    <a:pt x="2549" y="19876"/>
                    <a:pt x="2866" y="20254"/>
                    <a:pt x="2747" y="20284"/>
                  </a:cubicBezTo>
                  <a:cubicBezTo>
                    <a:pt x="2628" y="20314"/>
                    <a:pt x="2016" y="20330"/>
                    <a:pt x="1798" y="20360"/>
                  </a:cubicBezTo>
                  <a:cubicBezTo>
                    <a:pt x="1581" y="20390"/>
                    <a:pt x="1482" y="20481"/>
                    <a:pt x="1423" y="20556"/>
                  </a:cubicBezTo>
                  <a:cubicBezTo>
                    <a:pt x="1364" y="20632"/>
                    <a:pt x="0" y="21585"/>
                    <a:pt x="0" y="21585"/>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1" name="Line">
              <a:extLst>
                <a:ext uri="{FF2B5EF4-FFF2-40B4-BE49-F238E27FC236}">
                  <a16:creationId xmlns:a16="http://schemas.microsoft.com/office/drawing/2014/main" id="{9EAF7A4D-2FDA-9D44-8BC1-BC3006DA1D47}"/>
                </a:ext>
              </a:extLst>
            </p:cNvPr>
            <p:cNvSpPr/>
            <p:nvPr/>
          </p:nvSpPr>
          <p:spPr>
            <a:xfrm>
              <a:off x="9575799" y="12471400"/>
              <a:ext cx="6849007" cy="3239537"/>
            </a:xfrm>
            <a:custGeom>
              <a:avLst/>
              <a:gdLst/>
              <a:ahLst/>
              <a:cxnLst>
                <a:cxn ang="0">
                  <a:pos x="wd2" y="hd2"/>
                </a:cxn>
                <a:cxn ang="5400000">
                  <a:pos x="wd2" y="hd2"/>
                </a:cxn>
                <a:cxn ang="10800000">
                  <a:pos x="wd2" y="hd2"/>
                </a:cxn>
                <a:cxn ang="16200000">
                  <a:pos x="wd2" y="hd2"/>
                </a:cxn>
              </a:cxnLst>
              <a:rect l="0" t="0" r="r" b="b"/>
              <a:pathLst>
                <a:path w="21600" h="21563" extrusionOk="0">
                  <a:moveTo>
                    <a:pt x="0" y="8496"/>
                  </a:moveTo>
                  <a:cubicBezTo>
                    <a:pt x="20" y="8485"/>
                    <a:pt x="271" y="8264"/>
                    <a:pt x="271" y="8264"/>
                  </a:cubicBezTo>
                  <a:cubicBezTo>
                    <a:pt x="271" y="8264"/>
                    <a:pt x="3114" y="8274"/>
                    <a:pt x="3134" y="8326"/>
                  </a:cubicBezTo>
                  <a:cubicBezTo>
                    <a:pt x="3154" y="8379"/>
                    <a:pt x="3389" y="10662"/>
                    <a:pt x="3419" y="10725"/>
                  </a:cubicBezTo>
                  <a:cubicBezTo>
                    <a:pt x="3450" y="10788"/>
                    <a:pt x="3605" y="10979"/>
                    <a:pt x="3625" y="11053"/>
                  </a:cubicBezTo>
                  <a:cubicBezTo>
                    <a:pt x="3645" y="11127"/>
                    <a:pt x="3855" y="12204"/>
                    <a:pt x="3890" y="12226"/>
                  </a:cubicBezTo>
                  <a:cubicBezTo>
                    <a:pt x="3925" y="12247"/>
                    <a:pt x="4361" y="12268"/>
                    <a:pt x="4381" y="12226"/>
                  </a:cubicBezTo>
                  <a:cubicBezTo>
                    <a:pt x="4401" y="12183"/>
                    <a:pt x="4661" y="11866"/>
                    <a:pt x="4691" y="11866"/>
                  </a:cubicBezTo>
                  <a:cubicBezTo>
                    <a:pt x="4721" y="11866"/>
                    <a:pt x="5357" y="12014"/>
                    <a:pt x="5377" y="12014"/>
                  </a:cubicBezTo>
                  <a:cubicBezTo>
                    <a:pt x="5397" y="12014"/>
                    <a:pt x="5517" y="10345"/>
                    <a:pt x="5532" y="10302"/>
                  </a:cubicBezTo>
                  <a:cubicBezTo>
                    <a:pt x="5547" y="10260"/>
                    <a:pt x="6373" y="10133"/>
                    <a:pt x="6393" y="10133"/>
                  </a:cubicBezTo>
                  <a:cubicBezTo>
                    <a:pt x="6413" y="10133"/>
                    <a:pt x="6323" y="10725"/>
                    <a:pt x="6348" y="10767"/>
                  </a:cubicBezTo>
                  <a:cubicBezTo>
                    <a:pt x="6373" y="10810"/>
                    <a:pt x="7320" y="10767"/>
                    <a:pt x="7345" y="10788"/>
                  </a:cubicBezTo>
                  <a:cubicBezTo>
                    <a:pt x="7370" y="10810"/>
                    <a:pt x="7390" y="11000"/>
                    <a:pt x="7395" y="11190"/>
                  </a:cubicBezTo>
                  <a:cubicBezTo>
                    <a:pt x="7400" y="11380"/>
                    <a:pt x="7315" y="11961"/>
                    <a:pt x="7325" y="12078"/>
                  </a:cubicBezTo>
                  <a:cubicBezTo>
                    <a:pt x="7335" y="12194"/>
                    <a:pt x="7470" y="12690"/>
                    <a:pt x="7465" y="12796"/>
                  </a:cubicBezTo>
                  <a:cubicBezTo>
                    <a:pt x="7460" y="12902"/>
                    <a:pt x="7350" y="14360"/>
                    <a:pt x="7365" y="14455"/>
                  </a:cubicBezTo>
                  <a:cubicBezTo>
                    <a:pt x="7380" y="14550"/>
                    <a:pt x="7760" y="16019"/>
                    <a:pt x="7775" y="16103"/>
                  </a:cubicBezTo>
                  <a:cubicBezTo>
                    <a:pt x="7790" y="16188"/>
                    <a:pt x="7775" y="16801"/>
                    <a:pt x="7775" y="16801"/>
                  </a:cubicBezTo>
                  <a:lnTo>
                    <a:pt x="7665" y="17000"/>
                  </a:lnTo>
                  <a:cubicBezTo>
                    <a:pt x="7665" y="17000"/>
                    <a:pt x="7675" y="17298"/>
                    <a:pt x="7690" y="17435"/>
                  </a:cubicBezTo>
                  <a:cubicBezTo>
                    <a:pt x="7705" y="17572"/>
                    <a:pt x="7725" y="17667"/>
                    <a:pt x="7725" y="17667"/>
                  </a:cubicBezTo>
                  <a:cubicBezTo>
                    <a:pt x="7725" y="17667"/>
                    <a:pt x="7915" y="17382"/>
                    <a:pt x="7930" y="17382"/>
                  </a:cubicBezTo>
                  <a:cubicBezTo>
                    <a:pt x="7945" y="17382"/>
                    <a:pt x="8396" y="17382"/>
                    <a:pt x="8446" y="17382"/>
                  </a:cubicBezTo>
                  <a:cubicBezTo>
                    <a:pt x="8496" y="17382"/>
                    <a:pt x="8601" y="17234"/>
                    <a:pt x="8646" y="17213"/>
                  </a:cubicBezTo>
                  <a:cubicBezTo>
                    <a:pt x="8691" y="17192"/>
                    <a:pt x="8972" y="17255"/>
                    <a:pt x="9012" y="17266"/>
                  </a:cubicBezTo>
                  <a:cubicBezTo>
                    <a:pt x="9052" y="17276"/>
                    <a:pt x="9142" y="17065"/>
                    <a:pt x="9142" y="17065"/>
                  </a:cubicBezTo>
                  <a:lnTo>
                    <a:pt x="9452" y="17382"/>
                  </a:lnTo>
                  <a:lnTo>
                    <a:pt x="9382" y="17932"/>
                  </a:lnTo>
                  <a:cubicBezTo>
                    <a:pt x="9382" y="17932"/>
                    <a:pt x="9507" y="17953"/>
                    <a:pt x="9548" y="17995"/>
                  </a:cubicBezTo>
                  <a:cubicBezTo>
                    <a:pt x="9588" y="18037"/>
                    <a:pt x="9603" y="18090"/>
                    <a:pt x="9623" y="18058"/>
                  </a:cubicBezTo>
                  <a:cubicBezTo>
                    <a:pt x="9643" y="18027"/>
                    <a:pt x="9683" y="17762"/>
                    <a:pt x="9748" y="17773"/>
                  </a:cubicBezTo>
                  <a:cubicBezTo>
                    <a:pt x="9813" y="17784"/>
                    <a:pt x="10213" y="17551"/>
                    <a:pt x="10238" y="17604"/>
                  </a:cubicBezTo>
                  <a:cubicBezTo>
                    <a:pt x="10263" y="17657"/>
                    <a:pt x="10178" y="18048"/>
                    <a:pt x="10193" y="18132"/>
                  </a:cubicBezTo>
                  <a:cubicBezTo>
                    <a:pt x="10208" y="18217"/>
                    <a:pt x="10339" y="18608"/>
                    <a:pt x="10369" y="18629"/>
                  </a:cubicBezTo>
                  <a:cubicBezTo>
                    <a:pt x="10399" y="18650"/>
                    <a:pt x="11195" y="18967"/>
                    <a:pt x="11275" y="18956"/>
                  </a:cubicBezTo>
                  <a:cubicBezTo>
                    <a:pt x="11355" y="18946"/>
                    <a:pt x="11515" y="18914"/>
                    <a:pt x="11530" y="18840"/>
                  </a:cubicBezTo>
                  <a:cubicBezTo>
                    <a:pt x="11545" y="18766"/>
                    <a:pt x="11555" y="18344"/>
                    <a:pt x="11605" y="18322"/>
                  </a:cubicBezTo>
                  <a:cubicBezTo>
                    <a:pt x="11655" y="18301"/>
                    <a:pt x="11705" y="18301"/>
                    <a:pt x="11705" y="18301"/>
                  </a:cubicBezTo>
                  <a:cubicBezTo>
                    <a:pt x="11705" y="18301"/>
                    <a:pt x="11700" y="18175"/>
                    <a:pt x="11745" y="18196"/>
                  </a:cubicBezTo>
                  <a:cubicBezTo>
                    <a:pt x="11790" y="18217"/>
                    <a:pt x="11750" y="18608"/>
                    <a:pt x="11775" y="18639"/>
                  </a:cubicBezTo>
                  <a:cubicBezTo>
                    <a:pt x="11800" y="18671"/>
                    <a:pt x="11951" y="18735"/>
                    <a:pt x="11971" y="18840"/>
                  </a:cubicBezTo>
                  <a:cubicBezTo>
                    <a:pt x="11991" y="18946"/>
                    <a:pt x="12031" y="19411"/>
                    <a:pt x="12076" y="19432"/>
                  </a:cubicBezTo>
                  <a:cubicBezTo>
                    <a:pt x="12121" y="19453"/>
                    <a:pt x="12276" y="19337"/>
                    <a:pt x="12321" y="19432"/>
                  </a:cubicBezTo>
                  <a:cubicBezTo>
                    <a:pt x="12366" y="19527"/>
                    <a:pt x="12351" y="19643"/>
                    <a:pt x="12351" y="19643"/>
                  </a:cubicBezTo>
                  <a:cubicBezTo>
                    <a:pt x="12351" y="19643"/>
                    <a:pt x="12516" y="19654"/>
                    <a:pt x="12536" y="19643"/>
                  </a:cubicBezTo>
                  <a:cubicBezTo>
                    <a:pt x="12556" y="19633"/>
                    <a:pt x="12797" y="19981"/>
                    <a:pt x="12827" y="20098"/>
                  </a:cubicBezTo>
                  <a:cubicBezTo>
                    <a:pt x="12857" y="20214"/>
                    <a:pt x="12862" y="20584"/>
                    <a:pt x="12862" y="20584"/>
                  </a:cubicBezTo>
                  <a:cubicBezTo>
                    <a:pt x="12862" y="20584"/>
                    <a:pt x="12912" y="20404"/>
                    <a:pt x="12932" y="20404"/>
                  </a:cubicBezTo>
                  <a:cubicBezTo>
                    <a:pt x="12952" y="20404"/>
                    <a:pt x="13042" y="20570"/>
                    <a:pt x="13116" y="20978"/>
                  </a:cubicBezTo>
                  <a:cubicBezTo>
                    <a:pt x="13189" y="21387"/>
                    <a:pt x="13222" y="21528"/>
                    <a:pt x="13242" y="21528"/>
                  </a:cubicBezTo>
                  <a:cubicBezTo>
                    <a:pt x="13262" y="21528"/>
                    <a:pt x="13363" y="21556"/>
                    <a:pt x="13383" y="21528"/>
                  </a:cubicBezTo>
                  <a:cubicBezTo>
                    <a:pt x="13403" y="21500"/>
                    <a:pt x="13611" y="21119"/>
                    <a:pt x="13641" y="21091"/>
                  </a:cubicBezTo>
                  <a:cubicBezTo>
                    <a:pt x="13670" y="21063"/>
                    <a:pt x="13763" y="21091"/>
                    <a:pt x="13763" y="21091"/>
                  </a:cubicBezTo>
                  <a:cubicBezTo>
                    <a:pt x="13763" y="21091"/>
                    <a:pt x="13783" y="21288"/>
                    <a:pt x="13763" y="21330"/>
                  </a:cubicBezTo>
                  <a:cubicBezTo>
                    <a:pt x="13743" y="21373"/>
                    <a:pt x="13703" y="21567"/>
                    <a:pt x="13723" y="21540"/>
                  </a:cubicBezTo>
                  <a:cubicBezTo>
                    <a:pt x="13743" y="21514"/>
                    <a:pt x="13826" y="21600"/>
                    <a:pt x="13841" y="21543"/>
                  </a:cubicBezTo>
                  <a:cubicBezTo>
                    <a:pt x="13857" y="21485"/>
                    <a:pt x="13917" y="19217"/>
                    <a:pt x="13877" y="19203"/>
                  </a:cubicBezTo>
                  <a:cubicBezTo>
                    <a:pt x="13836" y="19189"/>
                    <a:pt x="13846" y="19358"/>
                    <a:pt x="13798" y="19344"/>
                  </a:cubicBezTo>
                  <a:cubicBezTo>
                    <a:pt x="13750" y="19330"/>
                    <a:pt x="13716" y="19288"/>
                    <a:pt x="13679" y="19316"/>
                  </a:cubicBezTo>
                  <a:cubicBezTo>
                    <a:pt x="13643" y="19344"/>
                    <a:pt x="13641" y="19724"/>
                    <a:pt x="13641" y="19724"/>
                  </a:cubicBezTo>
                  <a:cubicBezTo>
                    <a:pt x="13641" y="19724"/>
                    <a:pt x="13409" y="19640"/>
                    <a:pt x="13349" y="19654"/>
                  </a:cubicBezTo>
                  <a:cubicBezTo>
                    <a:pt x="13289" y="19668"/>
                    <a:pt x="13256" y="19668"/>
                    <a:pt x="13236" y="19640"/>
                  </a:cubicBezTo>
                  <a:cubicBezTo>
                    <a:pt x="13216" y="19612"/>
                    <a:pt x="13042" y="18949"/>
                    <a:pt x="12976" y="18907"/>
                  </a:cubicBezTo>
                  <a:cubicBezTo>
                    <a:pt x="12909" y="18865"/>
                    <a:pt x="12802" y="18724"/>
                    <a:pt x="12762" y="18682"/>
                  </a:cubicBezTo>
                  <a:cubicBezTo>
                    <a:pt x="12722" y="18639"/>
                    <a:pt x="12775" y="17470"/>
                    <a:pt x="12775" y="17371"/>
                  </a:cubicBezTo>
                  <a:cubicBezTo>
                    <a:pt x="12775" y="17273"/>
                    <a:pt x="12942" y="16780"/>
                    <a:pt x="12949" y="16667"/>
                  </a:cubicBezTo>
                  <a:cubicBezTo>
                    <a:pt x="12955" y="16554"/>
                    <a:pt x="12849" y="15920"/>
                    <a:pt x="12862" y="15836"/>
                  </a:cubicBezTo>
                  <a:cubicBezTo>
                    <a:pt x="12875" y="15751"/>
                    <a:pt x="13002" y="15272"/>
                    <a:pt x="12976" y="15188"/>
                  </a:cubicBezTo>
                  <a:cubicBezTo>
                    <a:pt x="12949" y="15103"/>
                    <a:pt x="12728" y="14244"/>
                    <a:pt x="12742" y="14202"/>
                  </a:cubicBezTo>
                  <a:cubicBezTo>
                    <a:pt x="12755" y="14159"/>
                    <a:pt x="13169" y="13314"/>
                    <a:pt x="13169" y="13314"/>
                  </a:cubicBezTo>
                  <a:lnTo>
                    <a:pt x="13136" y="12886"/>
                  </a:lnTo>
                  <a:lnTo>
                    <a:pt x="14644" y="12384"/>
                  </a:lnTo>
                  <a:cubicBezTo>
                    <a:pt x="14644" y="12384"/>
                    <a:pt x="14314" y="10609"/>
                    <a:pt x="14204" y="10355"/>
                  </a:cubicBezTo>
                  <a:cubicBezTo>
                    <a:pt x="14093" y="10102"/>
                    <a:pt x="13628" y="9256"/>
                    <a:pt x="13641" y="9087"/>
                  </a:cubicBezTo>
                  <a:cubicBezTo>
                    <a:pt x="13653" y="8918"/>
                    <a:pt x="13696" y="8031"/>
                    <a:pt x="13679" y="7904"/>
                  </a:cubicBezTo>
                  <a:cubicBezTo>
                    <a:pt x="13663" y="7777"/>
                    <a:pt x="13429" y="6551"/>
                    <a:pt x="13456" y="6446"/>
                  </a:cubicBezTo>
                  <a:cubicBezTo>
                    <a:pt x="13483" y="6340"/>
                    <a:pt x="13543" y="6086"/>
                    <a:pt x="13533" y="5917"/>
                  </a:cubicBezTo>
                  <a:cubicBezTo>
                    <a:pt x="13523" y="5748"/>
                    <a:pt x="13383" y="4945"/>
                    <a:pt x="13383" y="4818"/>
                  </a:cubicBezTo>
                  <a:cubicBezTo>
                    <a:pt x="13383" y="4692"/>
                    <a:pt x="13383" y="3846"/>
                    <a:pt x="13403" y="3698"/>
                  </a:cubicBezTo>
                  <a:cubicBezTo>
                    <a:pt x="13423" y="3550"/>
                    <a:pt x="13287" y="3134"/>
                    <a:pt x="13260" y="3031"/>
                  </a:cubicBezTo>
                  <a:cubicBezTo>
                    <a:pt x="13232" y="2927"/>
                    <a:pt x="13132" y="2832"/>
                    <a:pt x="13132" y="2832"/>
                  </a:cubicBezTo>
                  <a:lnTo>
                    <a:pt x="13162" y="2187"/>
                  </a:lnTo>
                  <a:cubicBezTo>
                    <a:pt x="13162" y="2187"/>
                    <a:pt x="13302" y="2069"/>
                    <a:pt x="13342" y="1790"/>
                  </a:cubicBezTo>
                  <a:cubicBezTo>
                    <a:pt x="13383" y="1511"/>
                    <a:pt x="13421" y="1078"/>
                    <a:pt x="13449" y="993"/>
                  </a:cubicBezTo>
                  <a:cubicBezTo>
                    <a:pt x="13478" y="909"/>
                    <a:pt x="13693" y="634"/>
                    <a:pt x="13748" y="602"/>
                  </a:cubicBezTo>
                  <a:cubicBezTo>
                    <a:pt x="13803" y="571"/>
                    <a:pt x="13868" y="518"/>
                    <a:pt x="13903" y="539"/>
                  </a:cubicBezTo>
                  <a:cubicBezTo>
                    <a:pt x="13938" y="560"/>
                    <a:pt x="13888" y="761"/>
                    <a:pt x="13943" y="782"/>
                  </a:cubicBezTo>
                  <a:cubicBezTo>
                    <a:pt x="13998" y="803"/>
                    <a:pt x="14048" y="750"/>
                    <a:pt x="14109" y="613"/>
                  </a:cubicBezTo>
                  <a:cubicBezTo>
                    <a:pt x="14169" y="475"/>
                    <a:pt x="14354" y="85"/>
                    <a:pt x="14404" y="63"/>
                  </a:cubicBezTo>
                  <a:cubicBezTo>
                    <a:pt x="14454" y="42"/>
                    <a:pt x="17221" y="0"/>
                    <a:pt x="17221" y="0"/>
                  </a:cubicBezTo>
                  <a:cubicBezTo>
                    <a:pt x="17221" y="0"/>
                    <a:pt x="20212" y="3452"/>
                    <a:pt x="20218" y="3508"/>
                  </a:cubicBezTo>
                  <a:cubicBezTo>
                    <a:pt x="20225" y="3564"/>
                    <a:pt x="20158" y="4297"/>
                    <a:pt x="20185" y="4325"/>
                  </a:cubicBezTo>
                  <a:cubicBezTo>
                    <a:pt x="20212" y="4353"/>
                    <a:pt x="21600" y="6439"/>
                    <a:pt x="21600" y="6439"/>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2" name="Line">
              <a:extLst>
                <a:ext uri="{FF2B5EF4-FFF2-40B4-BE49-F238E27FC236}">
                  <a16:creationId xmlns:a16="http://schemas.microsoft.com/office/drawing/2014/main" id="{7674C78B-754D-E34B-BA0E-5BD5CE06A359}"/>
                </a:ext>
              </a:extLst>
            </p:cNvPr>
            <p:cNvSpPr/>
            <p:nvPr/>
          </p:nvSpPr>
          <p:spPr>
            <a:xfrm>
              <a:off x="9893299" y="7454899"/>
              <a:ext cx="6362701" cy="2832101"/>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1600" y="0"/>
                    <a:pt x="21277" y="1259"/>
                    <a:pt x="21250" y="1271"/>
                  </a:cubicBezTo>
                  <a:cubicBezTo>
                    <a:pt x="21223" y="1283"/>
                    <a:pt x="20565" y="1731"/>
                    <a:pt x="20560" y="1792"/>
                  </a:cubicBezTo>
                  <a:cubicBezTo>
                    <a:pt x="20554" y="1852"/>
                    <a:pt x="20484" y="2325"/>
                    <a:pt x="20484" y="2325"/>
                  </a:cubicBezTo>
                  <a:cubicBezTo>
                    <a:pt x="20484" y="2325"/>
                    <a:pt x="20161" y="2252"/>
                    <a:pt x="20140" y="2264"/>
                  </a:cubicBezTo>
                  <a:cubicBezTo>
                    <a:pt x="20118" y="2276"/>
                    <a:pt x="20140" y="3039"/>
                    <a:pt x="20140" y="3039"/>
                  </a:cubicBezTo>
                  <a:cubicBezTo>
                    <a:pt x="20140" y="3039"/>
                    <a:pt x="19989" y="3390"/>
                    <a:pt x="19994" y="3439"/>
                  </a:cubicBezTo>
                  <a:cubicBezTo>
                    <a:pt x="19999" y="3487"/>
                    <a:pt x="20118" y="3753"/>
                    <a:pt x="20107" y="3862"/>
                  </a:cubicBezTo>
                  <a:cubicBezTo>
                    <a:pt x="20096" y="3971"/>
                    <a:pt x="19649" y="6054"/>
                    <a:pt x="19649" y="6126"/>
                  </a:cubicBezTo>
                  <a:cubicBezTo>
                    <a:pt x="19649" y="6199"/>
                    <a:pt x="19757" y="7967"/>
                    <a:pt x="19757" y="8039"/>
                  </a:cubicBezTo>
                  <a:cubicBezTo>
                    <a:pt x="19757" y="8112"/>
                    <a:pt x="19455" y="11200"/>
                    <a:pt x="19423" y="11187"/>
                  </a:cubicBezTo>
                  <a:cubicBezTo>
                    <a:pt x="19390" y="11175"/>
                    <a:pt x="18992" y="11260"/>
                    <a:pt x="18992" y="11260"/>
                  </a:cubicBezTo>
                  <a:cubicBezTo>
                    <a:pt x="18992" y="11260"/>
                    <a:pt x="18463" y="13028"/>
                    <a:pt x="18442" y="13125"/>
                  </a:cubicBezTo>
                  <a:cubicBezTo>
                    <a:pt x="18420" y="13222"/>
                    <a:pt x="18381" y="14820"/>
                    <a:pt x="18381" y="14820"/>
                  </a:cubicBezTo>
                  <a:cubicBezTo>
                    <a:pt x="18381" y="14820"/>
                    <a:pt x="18216" y="15207"/>
                    <a:pt x="18194" y="15207"/>
                  </a:cubicBezTo>
                  <a:cubicBezTo>
                    <a:pt x="18172" y="15207"/>
                    <a:pt x="18093" y="14884"/>
                    <a:pt x="18050" y="14852"/>
                  </a:cubicBezTo>
                  <a:cubicBezTo>
                    <a:pt x="18007" y="14820"/>
                    <a:pt x="17784" y="15417"/>
                    <a:pt x="17777" y="15498"/>
                  </a:cubicBezTo>
                  <a:cubicBezTo>
                    <a:pt x="17770" y="15578"/>
                    <a:pt x="17820" y="16305"/>
                    <a:pt x="17820" y="16402"/>
                  </a:cubicBezTo>
                  <a:cubicBezTo>
                    <a:pt x="17820" y="16499"/>
                    <a:pt x="17641" y="17580"/>
                    <a:pt x="17612" y="17580"/>
                  </a:cubicBezTo>
                  <a:cubicBezTo>
                    <a:pt x="17583" y="17580"/>
                    <a:pt x="17396" y="17580"/>
                    <a:pt x="17396" y="17580"/>
                  </a:cubicBezTo>
                  <a:cubicBezTo>
                    <a:pt x="17396" y="17580"/>
                    <a:pt x="17511" y="16386"/>
                    <a:pt x="17490" y="16305"/>
                  </a:cubicBezTo>
                  <a:cubicBezTo>
                    <a:pt x="17468" y="16224"/>
                    <a:pt x="16872" y="15143"/>
                    <a:pt x="16843" y="15030"/>
                  </a:cubicBezTo>
                  <a:cubicBezTo>
                    <a:pt x="16814" y="14917"/>
                    <a:pt x="16786" y="13489"/>
                    <a:pt x="16778" y="13299"/>
                  </a:cubicBezTo>
                  <a:cubicBezTo>
                    <a:pt x="16771" y="13109"/>
                    <a:pt x="16922" y="12204"/>
                    <a:pt x="16901" y="12140"/>
                  </a:cubicBezTo>
                  <a:cubicBezTo>
                    <a:pt x="16879" y="12075"/>
                    <a:pt x="16434" y="12091"/>
                    <a:pt x="16412" y="12091"/>
                  </a:cubicBezTo>
                  <a:cubicBezTo>
                    <a:pt x="16390" y="12091"/>
                    <a:pt x="16419" y="12599"/>
                    <a:pt x="16412" y="12652"/>
                  </a:cubicBezTo>
                  <a:cubicBezTo>
                    <a:pt x="16405" y="12705"/>
                    <a:pt x="15909" y="12599"/>
                    <a:pt x="15880" y="12652"/>
                  </a:cubicBezTo>
                  <a:cubicBezTo>
                    <a:pt x="15852" y="12705"/>
                    <a:pt x="16132" y="13125"/>
                    <a:pt x="16139" y="13205"/>
                  </a:cubicBezTo>
                  <a:cubicBezTo>
                    <a:pt x="16146" y="13286"/>
                    <a:pt x="16204" y="14513"/>
                    <a:pt x="16182" y="14545"/>
                  </a:cubicBezTo>
                  <a:cubicBezTo>
                    <a:pt x="16160" y="14578"/>
                    <a:pt x="15808" y="15094"/>
                    <a:pt x="15772" y="15207"/>
                  </a:cubicBezTo>
                  <a:cubicBezTo>
                    <a:pt x="15737" y="15320"/>
                    <a:pt x="15248" y="17031"/>
                    <a:pt x="15176" y="17048"/>
                  </a:cubicBezTo>
                  <a:cubicBezTo>
                    <a:pt x="15104" y="17064"/>
                    <a:pt x="14774" y="17128"/>
                    <a:pt x="14723" y="17128"/>
                  </a:cubicBezTo>
                  <a:cubicBezTo>
                    <a:pt x="14673" y="17128"/>
                    <a:pt x="14048" y="16079"/>
                    <a:pt x="13969" y="16047"/>
                  </a:cubicBezTo>
                  <a:cubicBezTo>
                    <a:pt x="13890" y="16014"/>
                    <a:pt x="13667" y="16402"/>
                    <a:pt x="13646" y="16450"/>
                  </a:cubicBezTo>
                  <a:cubicBezTo>
                    <a:pt x="13624" y="16499"/>
                    <a:pt x="13646" y="17112"/>
                    <a:pt x="13646" y="17112"/>
                  </a:cubicBezTo>
                  <a:cubicBezTo>
                    <a:pt x="13646" y="17112"/>
                    <a:pt x="13186" y="17193"/>
                    <a:pt x="13164" y="17225"/>
                  </a:cubicBezTo>
                  <a:cubicBezTo>
                    <a:pt x="13143" y="17257"/>
                    <a:pt x="12905" y="17822"/>
                    <a:pt x="12905" y="17822"/>
                  </a:cubicBezTo>
                  <a:lnTo>
                    <a:pt x="12287" y="17903"/>
                  </a:lnTo>
                  <a:cubicBezTo>
                    <a:pt x="12287" y="17903"/>
                    <a:pt x="12230" y="17387"/>
                    <a:pt x="12194" y="17354"/>
                  </a:cubicBezTo>
                  <a:cubicBezTo>
                    <a:pt x="12158" y="17322"/>
                    <a:pt x="11224" y="17742"/>
                    <a:pt x="11152" y="17709"/>
                  </a:cubicBezTo>
                  <a:cubicBezTo>
                    <a:pt x="11080" y="17677"/>
                    <a:pt x="10879" y="17564"/>
                    <a:pt x="10836" y="17451"/>
                  </a:cubicBezTo>
                  <a:cubicBezTo>
                    <a:pt x="10793" y="17338"/>
                    <a:pt x="10477" y="16273"/>
                    <a:pt x="10477" y="16208"/>
                  </a:cubicBezTo>
                  <a:cubicBezTo>
                    <a:pt x="10477" y="16143"/>
                    <a:pt x="10541" y="15837"/>
                    <a:pt x="10477" y="15772"/>
                  </a:cubicBezTo>
                  <a:cubicBezTo>
                    <a:pt x="10412" y="15708"/>
                    <a:pt x="10254" y="15675"/>
                    <a:pt x="10254" y="15675"/>
                  </a:cubicBezTo>
                  <a:lnTo>
                    <a:pt x="9722" y="15998"/>
                  </a:lnTo>
                  <a:lnTo>
                    <a:pt x="9722" y="16644"/>
                  </a:lnTo>
                  <a:lnTo>
                    <a:pt x="9492" y="16999"/>
                  </a:lnTo>
                  <a:lnTo>
                    <a:pt x="8515" y="17257"/>
                  </a:lnTo>
                  <a:cubicBezTo>
                    <a:pt x="8515" y="17257"/>
                    <a:pt x="8220" y="15748"/>
                    <a:pt x="8184" y="15643"/>
                  </a:cubicBezTo>
                  <a:cubicBezTo>
                    <a:pt x="8149" y="15538"/>
                    <a:pt x="7791" y="14720"/>
                    <a:pt x="7791" y="14720"/>
                  </a:cubicBezTo>
                  <a:cubicBezTo>
                    <a:pt x="7791" y="14720"/>
                    <a:pt x="7488" y="14602"/>
                    <a:pt x="7469" y="14614"/>
                  </a:cubicBezTo>
                  <a:cubicBezTo>
                    <a:pt x="7451" y="14626"/>
                    <a:pt x="6842" y="15038"/>
                    <a:pt x="6831" y="15038"/>
                  </a:cubicBezTo>
                  <a:cubicBezTo>
                    <a:pt x="6820" y="15038"/>
                    <a:pt x="6769" y="16127"/>
                    <a:pt x="6769" y="16127"/>
                  </a:cubicBezTo>
                  <a:cubicBezTo>
                    <a:pt x="6769" y="16127"/>
                    <a:pt x="6338" y="16805"/>
                    <a:pt x="6273" y="16878"/>
                  </a:cubicBezTo>
                  <a:cubicBezTo>
                    <a:pt x="6208" y="16951"/>
                    <a:pt x="5723" y="18283"/>
                    <a:pt x="5648" y="18331"/>
                  </a:cubicBezTo>
                  <a:cubicBezTo>
                    <a:pt x="5572" y="18379"/>
                    <a:pt x="4311" y="18767"/>
                    <a:pt x="4311" y="18767"/>
                  </a:cubicBezTo>
                  <a:lnTo>
                    <a:pt x="4495" y="19251"/>
                  </a:lnTo>
                  <a:lnTo>
                    <a:pt x="4063" y="20462"/>
                  </a:lnTo>
                  <a:cubicBezTo>
                    <a:pt x="4063" y="20462"/>
                    <a:pt x="3287" y="20583"/>
                    <a:pt x="3244" y="20583"/>
                  </a:cubicBezTo>
                  <a:cubicBezTo>
                    <a:pt x="3201" y="20583"/>
                    <a:pt x="2511" y="21527"/>
                    <a:pt x="2479" y="21503"/>
                  </a:cubicBezTo>
                  <a:cubicBezTo>
                    <a:pt x="2447" y="21479"/>
                    <a:pt x="2350" y="20825"/>
                    <a:pt x="2296" y="20825"/>
                  </a:cubicBezTo>
                  <a:cubicBezTo>
                    <a:pt x="2242" y="20825"/>
                    <a:pt x="1818" y="21600"/>
                    <a:pt x="1782" y="21600"/>
                  </a:cubicBezTo>
                  <a:cubicBezTo>
                    <a:pt x="1746" y="21600"/>
                    <a:pt x="1344" y="21487"/>
                    <a:pt x="1344" y="21487"/>
                  </a:cubicBezTo>
                  <a:lnTo>
                    <a:pt x="1344" y="20906"/>
                  </a:lnTo>
                  <a:cubicBezTo>
                    <a:pt x="1344" y="20906"/>
                    <a:pt x="1085" y="19372"/>
                    <a:pt x="1028" y="19243"/>
                  </a:cubicBezTo>
                  <a:cubicBezTo>
                    <a:pt x="970" y="19114"/>
                    <a:pt x="553" y="18613"/>
                    <a:pt x="503" y="18517"/>
                  </a:cubicBezTo>
                  <a:cubicBezTo>
                    <a:pt x="453" y="18420"/>
                    <a:pt x="0" y="17290"/>
                    <a:pt x="0" y="17290"/>
                  </a:cubicBezTo>
                  <a:cubicBezTo>
                    <a:pt x="0" y="17290"/>
                    <a:pt x="194" y="16596"/>
                    <a:pt x="223" y="16563"/>
                  </a:cubicBezTo>
                  <a:cubicBezTo>
                    <a:pt x="251" y="16531"/>
                    <a:pt x="1466" y="16692"/>
                    <a:pt x="1495" y="16628"/>
                  </a:cubicBezTo>
                  <a:cubicBezTo>
                    <a:pt x="1523" y="16563"/>
                    <a:pt x="1078" y="15627"/>
                    <a:pt x="1049" y="15498"/>
                  </a:cubicBezTo>
                  <a:cubicBezTo>
                    <a:pt x="1020" y="15369"/>
                    <a:pt x="1035" y="12495"/>
                    <a:pt x="970" y="12430"/>
                  </a:cubicBezTo>
                  <a:cubicBezTo>
                    <a:pt x="905" y="12366"/>
                    <a:pt x="798" y="12269"/>
                    <a:pt x="776" y="12237"/>
                  </a:cubicBezTo>
                  <a:cubicBezTo>
                    <a:pt x="754" y="12204"/>
                    <a:pt x="776" y="11323"/>
                    <a:pt x="769" y="11263"/>
                  </a:cubicBezTo>
                  <a:cubicBezTo>
                    <a:pt x="762" y="11204"/>
                    <a:pt x="525" y="11026"/>
                    <a:pt x="525" y="11026"/>
                  </a:cubicBezTo>
                  <a:lnTo>
                    <a:pt x="481" y="10316"/>
                  </a:lnTo>
                  <a:lnTo>
                    <a:pt x="103" y="10415"/>
                  </a:ln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3" name="Line">
              <a:extLst>
                <a:ext uri="{FF2B5EF4-FFF2-40B4-BE49-F238E27FC236}">
                  <a16:creationId xmlns:a16="http://schemas.microsoft.com/office/drawing/2014/main" id="{ABF9D575-19C1-014D-B2E1-84AFA005D8AD}"/>
                </a:ext>
              </a:extLst>
            </p:cNvPr>
            <p:cNvSpPr/>
            <p:nvPr/>
          </p:nvSpPr>
          <p:spPr>
            <a:xfrm>
              <a:off x="10020300" y="10261600"/>
              <a:ext cx="464240" cy="1377533"/>
            </a:xfrm>
            <a:custGeom>
              <a:avLst/>
              <a:gdLst/>
              <a:ahLst/>
              <a:cxnLst>
                <a:cxn ang="0">
                  <a:pos x="wd2" y="hd2"/>
                </a:cxn>
                <a:cxn ang="5400000">
                  <a:pos x="wd2" y="hd2"/>
                </a:cxn>
                <a:cxn ang="10800000">
                  <a:pos x="wd2" y="hd2"/>
                </a:cxn>
                <a:cxn ang="16200000">
                  <a:pos x="wd2" y="hd2"/>
                </a:cxn>
              </a:cxnLst>
              <a:rect l="0" t="0" r="r" b="b"/>
              <a:pathLst>
                <a:path w="21556" h="21600" extrusionOk="0">
                  <a:moveTo>
                    <a:pt x="21556" y="21600"/>
                  </a:moveTo>
                  <a:cubicBezTo>
                    <a:pt x="21556" y="21600"/>
                    <a:pt x="18568" y="18688"/>
                    <a:pt x="18310" y="18539"/>
                  </a:cubicBezTo>
                  <a:cubicBezTo>
                    <a:pt x="18052" y="18389"/>
                    <a:pt x="10055" y="15563"/>
                    <a:pt x="9686" y="15514"/>
                  </a:cubicBezTo>
                  <a:cubicBezTo>
                    <a:pt x="9317" y="15464"/>
                    <a:pt x="7917" y="13000"/>
                    <a:pt x="7327" y="12876"/>
                  </a:cubicBezTo>
                  <a:cubicBezTo>
                    <a:pt x="6738" y="12751"/>
                    <a:pt x="3568" y="12079"/>
                    <a:pt x="3420" y="11905"/>
                  </a:cubicBezTo>
                  <a:cubicBezTo>
                    <a:pt x="3273" y="11731"/>
                    <a:pt x="3107" y="9963"/>
                    <a:pt x="3034" y="9901"/>
                  </a:cubicBezTo>
                  <a:cubicBezTo>
                    <a:pt x="2960" y="9839"/>
                    <a:pt x="1357" y="9328"/>
                    <a:pt x="1228" y="9229"/>
                  </a:cubicBezTo>
                  <a:cubicBezTo>
                    <a:pt x="1099" y="9129"/>
                    <a:pt x="2002" y="6901"/>
                    <a:pt x="1965" y="6827"/>
                  </a:cubicBezTo>
                  <a:cubicBezTo>
                    <a:pt x="1928" y="6752"/>
                    <a:pt x="67" y="6304"/>
                    <a:pt x="11" y="6242"/>
                  </a:cubicBezTo>
                  <a:cubicBezTo>
                    <a:pt x="-44" y="6180"/>
                    <a:pt x="122" y="6111"/>
                    <a:pt x="122" y="6111"/>
                  </a:cubicBezTo>
                  <a:cubicBezTo>
                    <a:pt x="122" y="6111"/>
                    <a:pt x="3347" y="5458"/>
                    <a:pt x="3568" y="5283"/>
                  </a:cubicBezTo>
                  <a:cubicBezTo>
                    <a:pt x="3789" y="5109"/>
                    <a:pt x="8949" y="1350"/>
                    <a:pt x="9317" y="1176"/>
                  </a:cubicBezTo>
                  <a:cubicBezTo>
                    <a:pt x="9686" y="1002"/>
                    <a:pt x="12635" y="0"/>
                    <a:pt x="12635"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4" name="Line">
              <a:extLst>
                <a:ext uri="{FF2B5EF4-FFF2-40B4-BE49-F238E27FC236}">
                  <a16:creationId xmlns:a16="http://schemas.microsoft.com/office/drawing/2014/main" id="{EAFD8C4C-C0E6-E246-A0F1-8D0250421338}"/>
                </a:ext>
              </a:extLst>
            </p:cNvPr>
            <p:cNvSpPr/>
            <p:nvPr/>
          </p:nvSpPr>
          <p:spPr>
            <a:xfrm>
              <a:off x="14795499" y="9753599"/>
              <a:ext cx="2291831" cy="2897056"/>
            </a:xfrm>
            <a:custGeom>
              <a:avLst/>
              <a:gdLst/>
              <a:ahLst/>
              <a:cxnLst>
                <a:cxn ang="0">
                  <a:pos x="wd2" y="hd2"/>
                </a:cxn>
                <a:cxn ang="5400000">
                  <a:pos x="wd2" y="hd2"/>
                </a:cxn>
                <a:cxn ang="10800000">
                  <a:pos x="wd2" y="hd2"/>
                </a:cxn>
                <a:cxn ang="16200000">
                  <a:pos x="wd2" y="hd2"/>
                </a:cxn>
              </a:cxnLst>
              <a:rect l="0" t="0" r="r" b="b"/>
              <a:pathLst>
                <a:path w="21593" h="21600" extrusionOk="0">
                  <a:moveTo>
                    <a:pt x="2650" y="0"/>
                  </a:moveTo>
                  <a:cubicBezTo>
                    <a:pt x="2650" y="0"/>
                    <a:pt x="2715" y="1720"/>
                    <a:pt x="2708" y="1755"/>
                  </a:cubicBezTo>
                  <a:cubicBezTo>
                    <a:pt x="2700" y="1791"/>
                    <a:pt x="1952" y="2235"/>
                    <a:pt x="1870" y="2240"/>
                  </a:cubicBezTo>
                  <a:cubicBezTo>
                    <a:pt x="1788" y="2246"/>
                    <a:pt x="920" y="2158"/>
                    <a:pt x="838" y="2122"/>
                  </a:cubicBezTo>
                  <a:cubicBezTo>
                    <a:pt x="756" y="2087"/>
                    <a:pt x="733" y="2039"/>
                    <a:pt x="659" y="2039"/>
                  </a:cubicBezTo>
                  <a:cubicBezTo>
                    <a:pt x="584" y="2039"/>
                    <a:pt x="539" y="2104"/>
                    <a:pt x="539" y="2104"/>
                  </a:cubicBezTo>
                  <a:cubicBezTo>
                    <a:pt x="539" y="2104"/>
                    <a:pt x="-7" y="2957"/>
                    <a:pt x="0" y="3016"/>
                  </a:cubicBezTo>
                  <a:cubicBezTo>
                    <a:pt x="8" y="3075"/>
                    <a:pt x="158" y="3365"/>
                    <a:pt x="202" y="3383"/>
                  </a:cubicBezTo>
                  <a:cubicBezTo>
                    <a:pt x="247" y="3400"/>
                    <a:pt x="1586" y="3566"/>
                    <a:pt x="1661" y="3602"/>
                  </a:cubicBezTo>
                  <a:cubicBezTo>
                    <a:pt x="1735" y="3637"/>
                    <a:pt x="2835" y="4803"/>
                    <a:pt x="2947" y="4862"/>
                  </a:cubicBezTo>
                  <a:cubicBezTo>
                    <a:pt x="3059" y="4921"/>
                    <a:pt x="4600" y="5673"/>
                    <a:pt x="4667" y="5720"/>
                  </a:cubicBezTo>
                  <a:cubicBezTo>
                    <a:pt x="4734" y="5768"/>
                    <a:pt x="4779" y="6880"/>
                    <a:pt x="4831" y="6969"/>
                  </a:cubicBezTo>
                  <a:cubicBezTo>
                    <a:pt x="4884" y="7058"/>
                    <a:pt x="5460" y="7922"/>
                    <a:pt x="5529" y="7938"/>
                  </a:cubicBezTo>
                  <a:cubicBezTo>
                    <a:pt x="5599" y="7953"/>
                    <a:pt x="6327" y="7898"/>
                    <a:pt x="6566" y="7985"/>
                  </a:cubicBezTo>
                  <a:cubicBezTo>
                    <a:pt x="6806" y="8072"/>
                    <a:pt x="6866" y="8072"/>
                    <a:pt x="6876" y="8119"/>
                  </a:cubicBezTo>
                  <a:cubicBezTo>
                    <a:pt x="6886" y="8166"/>
                    <a:pt x="6766" y="9113"/>
                    <a:pt x="6826" y="9161"/>
                  </a:cubicBezTo>
                  <a:cubicBezTo>
                    <a:pt x="6886" y="9208"/>
                    <a:pt x="7155" y="9437"/>
                    <a:pt x="7274" y="9595"/>
                  </a:cubicBezTo>
                  <a:cubicBezTo>
                    <a:pt x="7394" y="9752"/>
                    <a:pt x="7414" y="9831"/>
                    <a:pt x="7414" y="9831"/>
                  </a:cubicBezTo>
                  <a:cubicBezTo>
                    <a:pt x="7414" y="9831"/>
                    <a:pt x="9687" y="9879"/>
                    <a:pt x="9757" y="9910"/>
                  </a:cubicBezTo>
                  <a:cubicBezTo>
                    <a:pt x="9827" y="9942"/>
                    <a:pt x="12260" y="11394"/>
                    <a:pt x="12380" y="11394"/>
                  </a:cubicBezTo>
                  <a:cubicBezTo>
                    <a:pt x="12499" y="11394"/>
                    <a:pt x="13397" y="11267"/>
                    <a:pt x="13536" y="11299"/>
                  </a:cubicBezTo>
                  <a:cubicBezTo>
                    <a:pt x="13676" y="11331"/>
                    <a:pt x="15730" y="11804"/>
                    <a:pt x="15730" y="11804"/>
                  </a:cubicBezTo>
                  <a:lnTo>
                    <a:pt x="16667" y="10889"/>
                  </a:lnTo>
                  <a:lnTo>
                    <a:pt x="18681" y="10147"/>
                  </a:lnTo>
                  <a:lnTo>
                    <a:pt x="19818" y="10778"/>
                  </a:lnTo>
                  <a:lnTo>
                    <a:pt x="21593" y="10715"/>
                  </a:lnTo>
                  <a:cubicBezTo>
                    <a:pt x="21593" y="10715"/>
                    <a:pt x="19399" y="12735"/>
                    <a:pt x="19359" y="12861"/>
                  </a:cubicBezTo>
                  <a:cubicBezTo>
                    <a:pt x="19320" y="12988"/>
                    <a:pt x="19280" y="19837"/>
                    <a:pt x="19399" y="19963"/>
                  </a:cubicBezTo>
                  <a:cubicBezTo>
                    <a:pt x="19519" y="20089"/>
                    <a:pt x="20795" y="21600"/>
                    <a:pt x="20795"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5" name="Line">
              <a:extLst>
                <a:ext uri="{FF2B5EF4-FFF2-40B4-BE49-F238E27FC236}">
                  <a16:creationId xmlns:a16="http://schemas.microsoft.com/office/drawing/2014/main" id="{9189FB50-8FEF-A740-AA6F-356ACE702178}"/>
                </a:ext>
              </a:extLst>
            </p:cNvPr>
            <p:cNvSpPr/>
            <p:nvPr/>
          </p:nvSpPr>
          <p:spPr>
            <a:xfrm>
              <a:off x="15709900" y="8331200"/>
              <a:ext cx="1704236" cy="673651"/>
            </a:xfrm>
            <a:custGeom>
              <a:avLst/>
              <a:gdLst/>
              <a:ahLst/>
              <a:cxnLst>
                <a:cxn ang="0">
                  <a:pos x="wd2" y="hd2"/>
                </a:cxn>
                <a:cxn ang="5400000">
                  <a:pos x="wd2" y="hd2"/>
                </a:cxn>
                <a:cxn ang="10800000">
                  <a:pos x="wd2" y="hd2"/>
                </a:cxn>
                <a:cxn ang="16200000">
                  <a:pos x="wd2" y="hd2"/>
                </a:cxn>
              </a:cxnLst>
              <a:rect l="0" t="0" r="r" b="b"/>
              <a:pathLst>
                <a:path w="21600" h="21584" extrusionOk="0">
                  <a:moveTo>
                    <a:pt x="0" y="5537"/>
                  </a:moveTo>
                  <a:cubicBezTo>
                    <a:pt x="0" y="5537"/>
                    <a:pt x="1714" y="5547"/>
                    <a:pt x="1733" y="5537"/>
                  </a:cubicBezTo>
                  <a:cubicBezTo>
                    <a:pt x="1752" y="5527"/>
                    <a:pt x="2315" y="3967"/>
                    <a:pt x="2447" y="3967"/>
                  </a:cubicBezTo>
                  <a:cubicBezTo>
                    <a:pt x="2579" y="3967"/>
                    <a:pt x="3082" y="6104"/>
                    <a:pt x="3163" y="6154"/>
                  </a:cubicBezTo>
                  <a:cubicBezTo>
                    <a:pt x="3243" y="6205"/>
                    <a:pt x="4390" y="0"/>
                    <a:pt x="4390" y="0"/>
                  </a:cubicBezTo>
                  <a:cubicBezTo>
                    <a:pt x="4390" y="0"/>
                    <a:pt x="6121" y="4171"/>
                    <a:pt x="6201" y="4171"/>
                  </a:cubicBezTo>
                  <a:cubicBezTo>
                    <a:pt x="6282" y="4171"/>
                    <a:pt x="7931" y="2289"/>
                    <a:pt x="8012" y="2289"/>
                  </a:cubicBezTo>
                  <a:cubicBezTo>
                    <a:pt x="8092" y="2289"/>
                    <a:pt x="8656" y="2391"/>
                    <a:pt x="8656" y="2391"/>
                  </a:cubicBezTo>
                  <a:cubicBezTo>
                    <a:pt x="8656" y="2391"/>
                    <a:pt x="8666" y="4171"/>
                    <a:pt x="8716" y="4222"/>
                  </a:cubicBezTo>
                  <a:cubicBezTo>
                    <a:pt x="8766" y="4273"/>
                    <a:pt x="9249" y="3078"/>
                    <a:pt x="9300" y="3077"/>
                  </a:cubicBezTo>
                  <a:cubicBezTo>
                    <a:pt x="9350" y="3077"/>
                    <a:pt x="9632" y="3815"/>
                    <a:pt x="9632" y="3815"/>
                  </a:cubicBezTo>
                  <a:cubicBezTo>
                    <a:pt x="9632" y="3815"/>
                    <a:pt x="10104" y="2670"/>
                    <a:pt x="10155" y="2619"/>
                  </a:cubicBezTo>
                  <a:cubicBezTo>
                    <a:pt x="10205" y="2569"/>
                    <a:pt x="11090" y="4222"/>
                    <a:pt x="11090" y="4222"/>
                  </a:cubicBezTo>
                  <a:cubicBezTo>
                    <a:pt x="11090" y="4222"/>
                    <a:pt x="11640" y="2984"/>
                    <a:pt x="11694" y="3077"/>
                  </a:cubicBezTo>
                  <a:cubicBezTo>
                    <a:pt x="11748" y="3170"/>
                    <a:pt x="11868" y="4357"/>
                    <a:pt x="11922" y="4425"/>
                  </a:cubicBezTo>
                  <a:cubicBezTo>
                    <a:pt x="11976" y="4493"/>
                    <a:pt x="13827" y="5986"/>
                    <a:pt x="13894" y="6155"/>
                  </a:cubicBezTo>
                  <a:cubicBezTo>
                    <a:pt x="13961" y="6324"/>
                    <a:pt x="15208" y="10970"/>
                    <a:pt x="15329" y="11173"/>
                  </a:cubicBezTo>
                  <a:cubicBezTo>
                    <a:pt x="15450" y="11376"/>
                    <a:pt x="16603" y="13377"/>
                    <a:pt x="16912" y="14157"/>
                  </a:cubicBezTo>
                  <a:cubicBezTo>
                    <a:pt x="17220" y="14937"/>
                    <a:pt x="19031" y="20532"/>
                    <a:pt x="19112" y="20701"/>
                  </a:cubicBezTo>
                  <a:cubicBezTo>
                    <a:pt x="19192" y="20871"/>
                    <a:pt x="19528" y="20956"/>
                    <a:pt x="19662" y="21125"/>
                  </a:cubicBezTo>
                  <a:cubicBezTo>
                    <a:pt x="19796" y="21295"/>
                    <a:pt x="19937" y="21600"/>
                    <a:pt x="19984" y="21583"/>
                  </a:cubicBezTo>
                  <a:cubicBezTo>
                    <a:pt x="20031" y="21566"/>
                    <a:pt x="20527" y="19989"/>
                    <a:pt x="20621" y="19820"/>
                  </a:cubicBezTo>
                  <a:cubicBezTo>
                    <a:pt x="20715" y="19650"/>
                    <a:pt x="21600" y="18396"/>
                    <a:pt x="21600" y="18396"/>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6" name="Line">
              <a:extLst>
                <a:ext uri="{FF2B5EF4-FFF2-40B4-BE49-F238E27FC236}">
                  <a16:creationId xmlns:a16="http://schemas.microsoft.com/office/drawing/2014/main" id="{83B53A27-7480-694C-B468-3C86E42DE96A}"/>
                </a:ext>
              </a:extLst>
            </p:cNvPr>
            <p:cNvSpPr/>
            <p:nvPr/>
          </p:nvSpPr>
          <p:spPr>
            <a:xfrm>
              <a:off x="17068799" y="8978900"/>
              <a:ext cx="385353" cy="390929"/>
            </a:xfrm>
            <a:custGeom>
              <a:avLst/>
              <a:gdLst/>
              <a:ahLst/>
              <a:cxnLst>
                <a:cxn ang="0">
                  <a:pos x="wd2" y="hd2"/>
                </a:cxn>
                <a:cxn ang="5400000">
                  <a:pos x="wd2" y="hd2"/>
                </a:cxn>
                <a:cxn ang="10800000">
                  <a:pos x="wd2" y="hd2"/>
                </a:cxn>
                <a:cxn ang="16200000">
                  <a:pos x="wd2" y="hd2"/>
                </a:cxn>
              </a:cxnLst>
              <a:rect l="0" t="0" r="r" b="b"/>
              <a:pathLst>
                <a:path w="21372" h="21500" extrusionOk="0">
                  <a:moveTo>
                    <a:pt x="21372" y="13742"/>
                  </a:moveTo>
                  <a:cubicBezTo>
                    <a:pt x="21372" y="13742"/>
                    <a:pt x="16383" y="21018"/>
                    <a:pt x="16089" y="21134"/>
                  </a:cubicBezTo>
                  <a:cubicBezTo>
                    <a:pt x="15796" y="21251"/>
                    <a:pt x="12509" y="19970"/>
                    <a:pt x="10689" y="19970"/>
                  </a:cubicBezTo>
                  <a:cubicBezTo>
                    <a:pt x="8870" y="19970"/>
                    <a:pt x="4057" y="20727"/>
                    <a:pt x="3000" y="20902"/>
                  </a:cubicBezTo>
                  <a:cubicBezTo>
                    <a:pt x="1944" y="21076"/>
                    <a:pt x="476" y="21600"/>
                    <a:pt x="124" y="21484"/>
                  </a:cubicBezTo>
                  <a:cubicBezTo>
                    <a:pt x="-228" y="21367"/>
                    <a:pt x="300" y="12636"/>
                    <a:pt x="124" y="11938"/>
                  </a:cubicBezTo>
                  <a:cubicBezTo>
                    <a:pt x="-52" y="11239"/>
                    <a:pt x="1181" y="8329"/>
                    <a:pt x="1474" y="8038"/>
                  </a:cubicBezTo>
                  <a:cubicBezTo>
                    <a:pt x="1768" y="7747"/>
                    <a:pt x="8254" y="0"/>
                    <a:pt x="8254"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7" name="Line">
              <a:extLst>
                <a:ext uri="{FF2B5EF4-FFF2-40B4-BE49-F238E27FC236}">
                  <a16:creationId xmlns:a16="http://schemas.microsoft.com/office/drawing/2014/main" id="{FFD7DEA9-F72B-534B-89C8-94EEAD83982E}"/>
                </a:ext>
              </a:extLst>
            </p:cNvPr>
            <p:cNvSpPr/>
            <p:nvPr/>
          </p:nvSpPr>
          <p:spPr>
            <a:xfrm>
              <a:off x="17081500" y="9359899"/>
              <a:ext cx="1583319" cy="1834887"/>
            </a:xfrm>
            <a:custGeom>
              <a:avLst/>
              <a:gdLst/>
              <a:ahLst/>
              <a:cxnLst>
                <a:cxn ang="0">
                  <a:pos x="wd2" y="hd2"/>
                </a:cxn>
                <a:cxn ang="5400000">
                  <a:pos x="wd2" y="hd2"/>
                </a:cxn>
                <a:cxn ang="10800000">
                  <a:pos x="wd2" y="hd2"/>
                </a:cxn>
                <a:cxn ang="16200000">
                  <a:pos x="wd2" y="hd2"/>
                </a:cxn>
              </a:cxnLst>
              <a:rect l="0" t="0" r="r" b="b"/>
              <a:pathLst>
                <a:path w="21543" h="21600" extrusionOk="0">
                  <a:moveTo>
                    <a:pt x="0" y="21600"/>
                  </a:moveTo>
                  <a:cubicBezTo>
                    <a:pt x="0" y="21600"/>
                    <a:pt x="612" y="21114"/>
                    <a:pt x="655" y="21027"/>
                  </a:cubicBezTo>
                  <a:cubicBezTo>
                    <a:pt x="698" y="20940"/>
                    <a:pt x="778" y="20890"/>
                    <a:pt x="835" y="20884"/>
                  </a:cubicBezTo>
                  <a:cubicBezTo>
                    <a:pt x="893" y="20877"/>
                    <a:pt x="3406" y="20634"/>
                    <a:pt x="3463" y="20553"/>
                  </a:cubicBezTo>
                  <a:cubicBezTo>
                    <a:pt x="3521" y="20472"/>
                    <a:pt x="4421" y="19451"/>
                    <a:pt x="4594" y="19414"/>
                  </a:cubicBezTo>
                  <a:cubicBezTo>
                    <a:pt x="4766" y="19376"/>
                    <a:pt x="6775" y="18716"/>
                    <a:pt x="6934" y="18666"/>
                  </a:cubicBezTo>
                  <a:cubicBezTo>
                    <a:pt x="7092" y="18616"/>
                    <a:pt x="7920" y="18517"/>
                    <a:pt x="8582" y="18517"/>
                  </a:cubicBezTo>
                  <a:cubicBezTo>
                    <a:pt x="9245" y="18517"/>
                    <a:pt x="10771" y="18641"/>
                    <a:pt x="10858" y="18641"/>
                  </a:cubicBezTo>
                  <a:cubicBezTo>
                    <a:pt x="10944" y="18641"/>
                    <a:pt x="21485" y="9372"/>
                    <a:pt x="21542" y="9297"/>
                  </a:cubicBezTo>
                  <a:cubicBezTo>
                    <a:pt x="21600" y="9222"/>
                    <a:pt x="18202" y="9322"/>
                    <a:pt x="17942" y="9297"/>
                  </a:cubicBezTo>
                  <a:cubicBezTo>
                    <a:pt x="17683" y="9272"/>
                    <a:pt x="7978" y="6482"/>
                    <a:pt x="7690" y="6357"/>
                  </a:cubicBezTo>
                  <a:cubicBezTo>
                    <a:pt x="7402" y="6232"/>
                    <a:pt x="5011" y="4463"/>
                    <a:pt x="4982" y="4339"/>
                  </a:cubicBezTo>
                  <a:cubicBezTo>
                    <a:pt x="4954" y="4214"/>
                    <a:pt x="5011" y="3766"/>
                    <a:pt x="4838" y="3616"/>
                  </a:cubicBezTo>
                  <a:cubicBezTo>
                    <a:pt x="4666" y="3467"/>
                    <a:pt x="4291" y="3516"/>
                    <a:pt x="4176" y="3392"/>
                  </a:cubicBezTo>
                  <a:cubicBezTo>
                    <a:pt x="4061" y="3267"/>
                    <a:pt x="2765" y="1174"/>
                    <a:pt x="2765" y="1174"/>
                  </a:cubicBezTo>
                  <a:lnTo>
                    <a:pt x="3786" y="0"/>
                  </a:ln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8" name="Line">
              <a:extLst>
                <a:ext uri="{FF2B5EF4-FFF2-40B4-BE49-F238E27FC236}">
                  <a16:creationId xmlns:a16="http://schemas.microsoft.com/office/drawing/2014/main" id="{6C943D94-2D0C-DF4B-998E-134381AD6642}"/>
                </a:ext>
              </a:extLst>
            </p:cNvPr>
            <p:cNvSpPr/>
            <p:nvPr/>
          </p:nvSpPr>
          <p:spPr>
            <a:xfrm>
              <a:off x="11074399" y="10833099"/>
              <a:ext cx="3286651" cy="1743497"/>
            </a:xfrm>
            <a:custGeom>
              <a:avLst/>
              <a:gdLst/>
              <a:ahLst/>
              <a:cxnLst>
                <a:cxn ang="0">
                  <a:pos x="wd2" y="hd2"/>
                </a:cxn>
                <a:cxn ang="5400000">
                  <a:pos x="wd2" y="hd2"/>
                </a:cxn>
                <a:cxn ang="10800000">
                  <a:pos x="wd2" y="hd2"/>
                </a:cxn>
                <a:cxn ang="16200000">
                  <a:pos x="wd2" y="hd2"/>
                </a:cxn>
              </a:cxnLst>
              <a:rect l="0" t="0" r="r" b="b"/>
              <a:pathLst>
                <a:path w="21588" h="21600" extrusionOk="0">
                  <a:moveTo>
                    <a:pt x="91" y="6068"/>
                  </a:moveTo>
                  <a:cubicBezTo>
                    <a:pt x="91" y="6068"/>
                    <a:pt x="30" y="4405"/>
                    <a:pt x="9" y="4183"/>
                  </a:cubicBezTo>
                  <a:cubicBezTo>
                    <a:pt x="-12" y="3960"/>
                    <a:pt x="9" y="3370"/>
                    <a:pt x="9" y="3370"/>
                  </a:cubicBezTo>
                  <a:cubicBezTo>
                    <a:pt x="9" y="3370"/>
                    <a:pt x="266" y="3225"/>
                    <a:pt x="349" y="3016"/>
                  </a:cubicBezTo>
                  <a:cubicBezTo>
                    <a:pt x="433" y="2806"/>
                    <a:pt x="885" y="1442"/>
                    <a:pt x="940" y="1364"/>
                  </a:cubicBezTo>
                  <a:cubicBezTo>
                    <a:pt x="996" y="1285"/>
                    <a:pt x="1281" y="1180"/>
                    <a:pt x="1469" y="1075"/>
                  </a:cubicBezTo>
                  <a:cubicBezTo>
                    <a:pt x="1656" y="970"/>
                    <a:pt x="1816" y="800"/>
                    <a:pt x="1900" y="800"/>
                  </a:cubicBezTo>
                  <a:cubicBezTo>
                    <a:pt x="1983" y="800"/>
                    <a:pt x="2956" y="1875"/>
                    <a:pt x="3047" y="1993"/>
                  </a:cubicBezTo>
                  <a:cubicBezTo>
                    <a:pt x="3137" y="2111"/>
                    <a:pt x="3353" y="3107"/>
                    <a:pt x="3429" y="3160"/>
                  </a:cubicBezTo>
                  <a:cubicBezTo>
                    <a:pt x="3506" y="3212"/>
                    <a:pt x="5084" y="3225"/>
                    <a:pt x="5362" y="3357"/>
                  </a:cubicBezTo>
                  <a:cubicBezTo>
                    <a:pt x="5640" y="3488"/>
                    <a:pt x="6210" y="4091"/>
                    <a:pt x="6238" y="4091"/>
                  </a:cubicBezTo>
                  <a:cubicBezTo>
                    <a:pt x="6265" y="4091"/>
                    <a:pt x="6432" y="3920"/>
                    <a:pt x="6488" y="3920"/>
                  </a:cubicBezTo>
                  <a:cubicBezTo>
                    <a:pt x="6543" y="3920"/>
                    <a:pt x="6634" y="3973"/>
                    <a:pt x="6669" y="3894"/>
                  </a:cubicBezTo>
                  <a:cubicBezTo>
                    <a:pt x="6703" y="3815"/>
                    <a:pt x="6703" y="3488"/>
                    <a:pt x="6780" y="3343"/>
                  </a:cubicBezTo>
                  <a:cubicBezTo>
                    <a:pt x="6856" y="3199"/>
                    <a:pt x="6856" y="2950"/>
                    <a:pt x="6898" y="2871"/>
                  </a:cubicBezTo>
                  <a:cubicBezTo>
                    <a:pt x="6940" y="2793"/>
                    <a:pt x="7044" y="2727"/>
                    <a:pt x="7051" y="2675"/>
                  </a:cubicBezTo>
                  <a:cubicBezTo>
                    <a:pt x="7058" y="2622"/>
                    <a:pt x="7204" y="1888"/>
                    <a:pt x="7336" y="1862"/>
                  </a:cubicBezTo>
                  <a:cubicBezTo>
                    <a:pt x="7468" y="1836"/>
                    <a:pt x="8073" y="2531"/>
                    <a:pt x="8128" y="2504"/>
                  </a:cubicBezTo>
                  <a:cubicBezTo>
                    <a:pt x="8184" y="2478"/>
                    <a:pt x="8434" y="1967"/>
                    <a:pt x="8518" y="1914"/>
                  </a:cubicBezTo>
                  <a:cubicBezTo>
                    <a:pt x="8601" y="1862"/>
                    <a:pt x="9588" y="1495"/>
                    <a:pt x="9644" y="1469"/>
                  </a:cubicBezTo>
                  <a:cubicBezTo>
                    <a:pt x="9699" y="1442"/>
                    <a:pt x="9797" y="708"/>
                    <a:pt x="9839" y="800"/>
                  </a:cubicBezTo>
                  <a:cubicBezTo>
                    <a:pt x="9880" y="892"/>
                    <a:pt x="10395" y="1495"/>
                    <a:pt x="10450" y="1521"/>
                  </a:cubicBezTo>
                  <a:cubicBezTo>
                    <a:pt x="10506" y="1547"/>
                    <a:pt x="10923" y="1416"/>
                    <a:pt x="11006" y="1416"/>
                  </a:cubicBezTo>
                  <a:cubicBezTo>
                    <a:pt x="11090" y="1416"/>
                    <a:pt x="11451" y="996"/>
                    <a:pt x="11451" y="996"/>
                  </a:cubicBezTo>
                  <a:lnTo>
                    <a:pt x="11507" y="210"/>
                  </a:lnTo>
                  <a:cubicBezTo>
                    <a:pt x="11507" y="210"/>
                    <a:pt x="11743" y="0"/>
                    <a:pt x="11799" y="0"/>
                  </a:cubicBezTo>
                  <a:cubicBezTo>
                    <a:pt x="11855" y="0"/>
                    <a:pt x="12313" y="524"/>
                    <a:pt x="12397" y="603"/>
                  </a:cubicBezTo>
                  <a:cubicBezTo>
                    <a:pt x="12480" y="682"/>
                    <a:pt x="12717" y="184"/>
                    <a:pt x="12897" y="341"/>
                  </a:cubicBezTo>
                  <a:cubicBezTo>
                    <a:pt x="13078" y="498"/>
                    <a:pt x="13273" y="1049"/>
                    <a:pt x="13384" y="1101"/>
                  </a:cubicBezTo>
                  <a:cubicBezTo>
                    <a:pt x="13495" y="1154"/>
                    <a:pt x="14023" y="1101"/>
                    <a:pt x="14079" y="1101"/>
                  </a:cubicBezTo>
                  <a:cubicBezTo>
                    <a:pt x="14135" y="1101"/>
                    <a:pt x="14454" y="524"/>
                    <a:pt x="14538" y="577"/>
                  </a:cubicBezTo>
                  <a:cubicBezTo>
                    <a:pt x="14621" y="629"/>
                    <a:pt x="14983" y="996"/>
                    <a:pt x="14983" y="996"/>
                  </a:cubicBezTo>
                  <a:cubicBezTo>
                    <a:pt x="14983" y="996"/>
                    <a:pt x="15734" y="2596"/>
                    <a:pt x="15873" y="2701"/>
                  </a:cubicBezTo>
                  <a:cubicBezTo>
                    <a:pt x="16012" y="2806"/>
                    <a:pt x="16554" y="3461"/>
                    <a:pt x="16609" y="3461"/>
                  </a:cubicBezTo>
                  <a:cubicBezTo>
                    <a:pt x="16665" y="3461"/>
                    <a:pt x="17249" y="2649"/>
                    <a:pt x="17291" y="2649"/>
                  </a:cubicBezTo>
                  <a:cubicBezTo>
                    <a:pt x="17332" y="2649"/>
                    <a:pt x="18028" y="3330"/>
                    <a:pt x="18028" y="3330"/>
                  </a:cubicBezTo>
                  <a:lnTo>
                    <a:pt x="18500" y="2255"/>
                  </a:lnTo>
                  <a:lnTo>
                    <a:pt x="19043" y="2596"/>
                  </a:lnTo>
                  <a:cubicBezTo>
                    <a:pt x="19043" y="2596"/>
                    <a:pt x="18987" y="3173"/>
                    <a:pt x="19043" y="3252"/>
                  </a:cubicBezTo>
                  <a:cubicBezTo>
                    <a:pt x="19098" y="3330"/>
                    <a:pt x="19640" y="4091"/>
                    <a:pt x="19640" y="4091"/>
                  </a:cubicBezTo>
                  <a:cubicBezTo>
                    <a:pt x="19640" y="4091"/>
                    <a:pt x="19626" y="4530"/>
                    <a:pt x="19710" y="4651"/>
                  </a:cubicBezTo>
                  <a:cubicBezTo>
                    <a:pt x="19793" y="4773"/>
                    <a:pt x="20183" y="4668"/>
                    <a:pt x="20224" y="4773"/>
                  </a:cubicBezTo>
                  <a:cubicBezTo>
                    <a:pt x="20266" y="4878"/>
                    <a:pt x="20224" y="5454"/>
                    <a:pt x="20322" y="5559"/>
                  </a:cubicBezTo>
                  <a:cubicBezTo>
                    <a:pt x="20419" y="5664"/>
                    <a:pt x="20655" y="5454"/>
                    <a:pt x="20697" y="5533"/>
                  </a:cubicBezTo>
                  <a:cubicBezTo>
                    <a:pt x="20739" y="5612"/>
                    <a:pt x="20600" y="6136"/>
                    <a:pt x="20697" y="6162"/>
                  </a:cubicBezTo>
                  <a:cubicBezTo>
                    <a:pt x="20794" y="6189"/>
                    <a:pt x="20947" y="6136"/>
                    <a:pt x="20920" y="6294"/>
                  </a:cubicBezTo>
                  <a:cubicBezTo>
                    <a:pt x="20892" y="6451"/>
                    <a:pt x="20586" y="7316"/>
                    <a:pt x="20628" y="7447"/>
                  </a:cubicBezTo>
                  <a:cubicBezTo>
                    <a:pt x="20669" y="7579"/>
                    <a:pt x="20892" y="8103"/>
                    <a:pt x="20864" y="8260"/>
                  </a:cubicBezTo>
                  <a:cubicBezTo>
                    <a:pt x="20836" y="8418"/>
                    <a:pt x="20558" y="9467"/>
                    <a:pt x="20558" y="9467"/>
                  </a:cubicBezTo>
                  <a:lnTo>
                    <a:pt x="20923" y="9467"/>
                  </a:lnTo>
                  <a:lnTo>
                    <a:pt x="21588" y="10384"/>
                  </a:lnTo>
                  <a:cubicBezTo>
                    <a:pt x="21588" y="10384"/>
                    <a:pt x="20246" y="13155"/>
                    <a:pt x="20103" y="13356"/>
                  </a:cubicBezTo>
                  <a:cubicBezTo>
                    <a:pt x="19960" y="13557"/>
                    <a:pt x="19835" y="13452"/>
                    <a:pt x="19766" y="13584"/>
                  </a:cubicBezTo>
                  <a:cubicBezTo>
                    <a:pt x="19696" y="13715"/>
                    <a:pt x="19710" y="14265"/>
                    <a:pt x="19613" y="14318"/>
                  </a:cubicBezTo>
                  <a:cubicBezTo>
                    <a:pt x="19515" y="14370"/>
                    <a:pt x="19376" y="14449"/>
                    <a:pt x="19321" y="14475"/>
                  </a:cubicBezTo>
                  <a:cubicBezTo>
                    <a:pt x="19265" y="14501"/>
                    <a:pt x="18820" y="16980"/>
                    <a:pt x="18820" y="17603"/>
                  </a:cubicBezTo>
                  <a:cubicBezTo>
                    <a:pt x="18820" y="18225"/>
                    <a:pt x="18704" y="20516"/>
                    <a:pt x="18691" y="20831"/>
                  </a:cubicBezTo>
                  <a:cubicBezTo>
                    <a:pt x="18679" y="21146"/>
                    <a:pt x="18678" y="21600"/>
                    <a:pt x="18678"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09" name="Line">
              <a:extLst>
                <a:ext uri="{FF2B5EF4-FFF2-40B4-BE49-F238E27FC236}">
                  <a16:creationId xmlns:a16="http://schemas.microsoft.com/office/drawing/2014/main" id="{D8EA9E77-F764-CF48-94E1-C454EB37F5AF}"/>
                </a:ext>
              </a:extLst>
            </p:cNvPr>
            <p:cNvSpPr/>
            <p:nvPr/>
          </p:nvSpPr>
          <p:spPr>
            <a:xfrm>
              <a:off x="13779500" y="12484099"/>
              <a:ext cx="469388" cy="462638"/>
            </a:xfrm>
            <a:custGeom>
              <a:avLst/>
              <a:gdLst/>
              <a:ahLst/>
              <a:cxnLst>
                <a:cxn ang="0">
                  <a:pos x="wd2" y="hd2"/>
                </a:cxn>
                <a:cxn ang="5400000">
                  <a:pos x="wd2" y="hd2"/>
                </a:cxn>
                <a:cxn ang="10800000">
                  <a:pos x="wd2" y="hd2"/>
                </a:cxn>
                <a:cxn ang="16200000">
                  <a:pos x="wd2" y="hd2"/>
                </a:cxn>
              </a:cxnLst>
              <a:rect l="0" t="0" r="r" b="b"/>
              <a:pathLst>
                <a:path w="21484" h="21553" extrusionOk="0">
                  <a:moveTo>
                    <a:pt x="16850" y="0"/>
                  </a:moveTo>
                  <a:cubicBezTo>
                    <a:pt x="16850" y="0"/>
                    <a:pt x="20728" y="6852"/>
                    <a:pt x="21019" y="7915"/>
                  </a:cubicBezTo>
                  <a:cubicBezTo>
                    <a:pt x="21309" y="8978"/>
                    <a:pt x="21309" y="12528"/>
                    <a:pt x="21455" y="13317"/>
                  </a:cubicBezTo>
                  <a:cubicBezTo>
                    <a:pt x="21600" y="14106"/>
                    <a:pt x="21164" y="15387"/>
                    <a:pt x="20922" y="15782"/>
                  </a:cubicBezTo>
                  <a:cubicBezTo>
                    <a:pt x="20680" y="16176"/>
                    <a:pt x="17531" y="16464"/>
                    <a:pt x="17531" y="16464"/>
                  </a:cubicBezTo>
                  <a:cubicBezTo>
                    <a:pt x="17531" y="16464"/>
                    <a:pt x="16369" y="15240"/>
                    <a:pt x="15981" y="15289"/>
                  </a:cubicBezTo>
                  <a:cubicBezTo>
                    <a:pt x="15593" y="15338"/>
                    <a:pt x="13559" y="16768"/>
                    <a:pt x="13026" y="16768"/>
                  </a:cubicBezTo>
                  <a:cubicBezTo>
                    <a:pt x="12493" y="16768"/>
                    <a:pt x="10653" y="15486"/>
                    <a:pt x="10653" y="15486"/>
                  </a:cubicBezTo>
                  <a:cubicBezTo>
                    <a:pt x="10653" y="15486"/>
                    <a:pt x="10217" y="20072"/>
                    <a:pt x="10071" y="20515"/>
                  </a:cubicBezTo>
                  <a:cubicBezTo>
                    <a:pt x="9926" y="20959"/>
                    <a:pt x="6148" y="21600"/>
                    <a:pt x="5760" y="21551"/>
                  </a:cubicBezTo>
                  <a:cubicBezTo>
                    <a:pt x="5373" y="21501"/>
                    <a:pt x="2079" y="19431"/>
                    <a:pt x="1449" y="19135"/>
                  </a:cubicBezTo>
                  <a:cubicBezTo>
                    <a:pt x="819" y="18839"/>
                    <a:pt x="296" y="18888"/>
                    <a:pt x="296" y="18888"/>
                  </a:cubicBezTo>
                  <a:lnTo>
                    <a:pt x="0" y="20576"/>
                  </a:ln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0" name="Line">
              <a:extLst>
                <a:ext uri="{FF2B5EF4-FFF2-40B4-BE49-F238E27FC236}">
                  <a16:creationId xmlns:a16="http://schemas.microsoft.com/office/drawing/2014/main" id="{FAE565C9-B9EC-B540-8915-B09E278B3F03}"/>
                </a:ext>
              </a:extLst>
            </p:cNvPr>
            <p:cNvSpPr/>
            <p:nvPr/>
          </p:nvSpPr>
          <p:spPr>
            <a:xfrm>
              <a:off x="13868399" y="12826999"/>
              <a:ext cx="380280" cy="538031"/>
            </a:xfrm>
            <a:custGeom>
              <a:avLst/>
              <a:gdLst/>
              <a:ahLst/>
              <a:cxnLst>
                <a:cxn ang="0">
                  <a:pos x="wd2" y="hd2"/>
                </a:cxn>
                <a:cxn ang="5400000">
                  <a:pos x="wd2" y="hd2"/>
                </a:cxn>
                <a:cxn ang="10800000">
                  <a:pos x="wd2" y="hd2"/>
                </a:cxn>
                <a:cxn ang="16200000">
                  <a:pos x="wd2" y="hd2"/>
                </a:cxn>
              </a:cxnLst>
              <a:rect l="0" t="0" r="r" b="b"/>
              <a:pathLst>
                <a:path w="21299" h="21531" extrusionOk="0">
                  <a:moveTo>
                    <a:pt x="0" y="21407"/>
                  </a:moveTo>
                  <a:cubicBezTo>
                    <a:pt x="0" y="21407"/>
                    <a:pt x="4361" y="21600"/>
                    <a:pt x="4895" y="21505"/>
                  </a:cubicBezTo>
                  <a:cubicBezTo>
                    <a:pt x="5428" y="21409"/>
                    <a:pt x="9585" y="18693"/>
                    <a:pt x="9941" y="18122"/>
                  </a:cubicBezTo>
                  <a:cubicBezTo>
                    <a:pt x="10296" y="17550"/>
                    <a:pt x="14208" y="12849"/>
                    <a:pt x="14297" y="12404"/>
                  </a:cubicBezTo>
                  <a:cubicBezTo>
                    <a:pt x="14386" y="11959"/>
                    <a:pt x="21067" y="9609"/>
                    <a:pt x="21061" y="8973"/>
                  </a:cubicBezTo>
                  <a:cubicBezTo>
                    <a:pt x="21055" y="8338"/>
                    <a:pt x="21600" y="6242"/>
                    <a:pt x="21061" y="6051"/>
                  </a:cubicBezTo>
                  <a:cubicBezTo>
                    <a:pt x="20521" y="5861"/>
                    <a:pt x="14653" y="4531"/>
                    <a:pt x="14386" y="4465"/>
                  </a:cubicBezTo>
                  <a:cubicBezTo>
                    <a:pt x="14119" y="4399"/>
                    <a:pt x="16120" y="1525"/>
                    <a:pt x="16142" y="1112"/>
                  </a:cubicBezTo>
                  <a:cubicBezTo>
                    <a:pt x="16165" y="699"/>
                    <a:pt x="16320" y="0"/>
                    <a:pt x="16320"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1" name="Line">
              <a:extLst>
                <a:ext uri="{FF2B5EF4-FFF2-40B4-BE49-F238E27FC236}">
                  <a16:creationId xmlns:a16="http://schemas.microsoft.com/office/drawing/2014/main" id="{058649BA-0FC0-AF4A-985C-D69F575B9018}"/>
                </a:ext>
              </a:extLst>
            </p:cNvPr>
            <p:cNvSpPr/>
            <p:nvPr/>
          </p:nvSpPr>
          <p:spPr>
            <a:xfrm>
              <a:off x="9283699" y="16649699"/>
              <a:ext cx="5486401" cy="2753080"/>
            </a:xfrm>
            <a:custGeom>
              <a:avLst/>
              <a:gdLst/>
              <a:ahLst/>
              <a:cxnLst>
                <a:cxn ang="0">
                  <a:pos x="wd2" y="hd2"/>
                </a:cxn>
                <a:cxn ang="5400000">
                  <a:pos x="wd2" y="hd2"/>
                </a:cxn>
                <a:cxn ang="10800000">
                  <a:pos x="wd2" y="hd2"/>
                </a:cxn>
                <a:cxn ang="16200000">
                  <a:pos x="wd2" y="hd2"/>
                </a:cxn>
              </a:cxnLst>
              <a:rect l="0" t="0" r="r" b="b"/>
              <a:pathLst>
                <a:path w="21600" h="21545" extrusionOk="0">
                  <a:moveTo>
                    <a:pt x="0" y="707"/>
                  </a:moveTo>
                  <a:cubicBezTo>
                    <a:pt x="0" y="707"/>
                    <a:pt x="383" y="445"/>
                    <a:pt x="483" y="410"/>
                  </a:cubicBezTo>
                  <a:cubicBezTo>
                    <a:pt x="583" y="376"/>
                    <a:pt x="900" y="543"/>
                    <a:pt x="983" y="559"/>
                  </a:cubicBezTo>
                  <a:cubicBezTo>
                    <a:pt x="1067" y="574"/>
                    <a:pt x="1283" y="44"/>
                    <a:pt x="1367" y="44"/>
                  </a:cubicBezTo>
                  <a:cubicBezTo>
                    <a:pt x="1450" y="44"/>
                    <a:pt x="1667" y="-55"/>
                    <a:pt x="1767" y="44"/>
                  </a:cubicBezTo>
                  <a:cubicBezTo>
                    <a:pt x="1867" y="144"/>
                    <a:pt x="2350" y="939"/>
                    <a:pt x="2433" y="972"/>
                  </a:cubicBezTo>
                  <a:cubicBezTo>
                    <a:pt x="2517" y="1005"/>
                    <a:pt x="6867" y="773"/>
                    <a:pt x="6917" y="839"/>
                  </a:cubicBezTo>
                  <a:cubicBezTo>
                    <a:pt x="6967" y="906"/>
                    <a:pt x="7383" y="1827"/>
                    <a:pt x="7383" y="1827"/>
                  </a:cubicBezTo>
                  <a:cubicBezTo>
                    <a:pt x="7383" y="1827"/>
                    <a:pt x="8833" y="1754"/>
                    <a:pt x="8883" y="1827"/>
                  </a:cubicBezTo>
                  <a:cubicBezTo>
                    <a:pt x="8933" y="1900"/>
                    <a:pt x="9350" y="2297"/>
                    <a:pt x="9350" y="2297"/>
                  </a:cubicBezTo>
                  <a:cubicBezTo>
                    <a:pt x="9350" y="2297"/>
                    <a:pt x="11733" y="1490"/>
                    <a:pt x="11960" y="1399"/>
                  </a:cubicBezTo>
                  <a:cubicBezTo>
                    <a:pt x="12188" y="1307"/>
                    <a:pt x="12998" y="1109"/>
                    <a:pt x="13069" y="1092"/>
                  </a:cubicBezTo>
                  <a:cubicBezTo>
                    <a:pt x="13140" y="1076"/>
                    <a:pt x="13623" y="1245"/>
                    <a:pt x="13623" y="1245"/>
                  </a:cubicBezTo>
                  <a:cubicBezTo>
                    <a:pt x="13623" y="1245"/>
                    <a:pt x="13842" y="1701"/>
                    <a:pt x="13852" y="1738"/>
                  </a:cubicBezTo>
                  <a:cubicBezTo>
                    <a:pt x="13863" y="1775"/>
                    <a:pt x="13875" y="2247"/>
                    <a:pt x="13891" y="2334"/>
                  </a:cubicBezTo>
                  <a:cubicBezTo>
                    <a:pt x="13906" y="2421"/>
                    <a:pt x="14506" y="3962"/>
                    <a:pt x="14562" y="4185"/>
                  </a:cubicBezTo>
                  <a:cubicBezTo>
                    <a:pt x="14619" y="4409"/>
                    <a:pt x="14706" y="5266"/>
                    <a:pt x="14756" y="5366"/>
                  </a:cubicBezTo>
                  <a:cubicBezTo>
                    <a:pt x="14806" y="5465"/>
                    <a:pt x="15200" y="6148"/>
                    <a:pt x="15237" y="6210"/>
                  </a:cubicBezTo>
                  <a:cubicBezTo>
                    <a:pt x="15275" y="6273"/>
                    <a:pt x="15756" y="6521"/>
                    <a:pt x="15800" y="6571"/>
                  </a:cubicBezTo>
                  <a:cubicBezTo>
                    <a:pt x="15844" y="6620"/>
                    <a:pt x="15869" y="7515"/>
                    <a:pt x="15894" y="7515"/>
                  </a:cubicBezTo>
                  <a:cubicBezTo>
                    <a:pt x="15919" y="7515"/>
                    <a:pt x="16319" y="7453"/>
                    <a:pt x="16331" y="7515"/>
                  </a:cubicBezTo>
                  <a:cubicBezTo>
                    <a:pt x="16344" y="7577"/>
                    <a:pt x="16288" y="8650"/>
                    <a:pt x="16300" y="8699"/>
                  </a:cubicBezTo>
                  <a:cubicBezTo>
                    <a:pt x="16312" y="8749"/>
                    <a:pt x="16619" y="9764"/>
                    <a:pt x="16638" y="9784"/>
                  </a:cubicBezTo>
                  <a:cubicBezTo>
                    <a:pt x="16656" y="9805"/>
                    <a:pt x="17590" y="10244"/>
                    <a:pt x="17613" y="10256"/>
                  </a:cubicBezTo>
                  <a:cubicBezTo>
                    <a:pt x="17635" y="10269"/>
                    <a:pt x="17625" y="10588"/>
                    <a:pt x="17650" y="10625"/>
                  </a:cubicBezTo>
                  <a:cubicBezTo>
                    <a:pt x="17675" y="10662"/>
                    <a:pt x="18017" y="11163"/>
                    <a:pt x="18017" y="11163"/>
                  </a:cubicBezTo>
                  <a:lnTo>
                    <a:pt x="18325" y="11010"/>
                  </a:lnTo>
                  <a:cubicBezTo>
                    <a:pt x="18325" y="11010"/>
                    <a:pt x="18892" y="11474"/>
                    <a:pt x="18925" y="11490"/>
                  </a:cubicBezTo>
                  <a:cubicBezTo>
                    <a:pt x="18958" y="11507"/>
                    <a:pt x="19483" y="11358"/>
                    <a:pt x="19575" y="11408"/>
                  </a:cubicBezTo>
                  <a:cubicBezTo>
                    <a:pt x="19667" y="11457"/>
                    <a:pt x="19975" y="11656"/>
                    <a:pt x="19975" y="11656"/>
                  </a:cubicBezTo>
                  <a:cubicBezTo>
                    <a:pt x="19975" y="11656"/>
                    <a:pt x="20150" y="13743"/>
                    <a:pt x="20208" y="13942"/>
                  </a:cubicBezTo>
                  <a:cubicBezTo>
                    <a:pt x="20267" y="14141"/>
                    <a:pt x="20642" y="15665"/>
                    <a:pt x="20650" y="15830"/>
                  </a:cubicBezTo>
                  <a:cubicBezTo>
                    <a:pt x="20658" y="15996"/>
                    <a:pt x="20650" y="19441"/>
                    <a:pt x="20650" y="19441"/>
                  </a:cubicBezTo>
                  <a:lnTo>
                    <a:pt x="20775" y="19657"/>
                  </a:lnTo>
                  <a:lnTo>
                    <a:pt x="20775" y="21446"/>
                  </a:lnTo>
                  <a:lnTo>
                    <a:pt x="21600" y="21545"/>
                  </a:ln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2" name="Line">
              <a:extLst>
                <a:ext uri="{FF2B5EF4-FFF2-40B4-BE49-F238E27FC236}">
                  <a16:creationId xmlns:a16="http://schemas.microsoft.com/office/drawing/2014/main" id="{99A99C29-8FFE-9440-B9F3-62B74FEAA26B}"/>
                </a:ext>
              </a:extLst>
            </p:cNvPr>
            <p:cNvSpPr/>
            <p:nvPr/>
          </p:nvSpPr>
          <p:spPr>
            <a:xfrm>
              <a:off x="10528299" y="16294099"/>
              <a:ext cx="4293659" cy="3721101"/>
            </a:xfrm>
            <a:custGeom>
              <a:avLst/>
              <a:gdLst/>
              <a:ahLst/>
              <a:cxnLst>
                <a:cxn ang="0">
                  <a:pos x="wd2" y="hd2"/>
                </a:cxn>
                <a:cxn ang="5400000">
                  <a:pos x="wd2" y="hd2"/>
                </a:cxn>
                <a:cxn ang="10800000">
                  <a:pos x="wd2" y="hd2"/>
                </a:cxn>
                <a:cxn ang="16200000">
                  <a:pos x="wd2" y="hd2"/>
                </a:cxn>
              </a:cxnLst>
              <a:rect l="0" t="0" r="r" b="b"/>
              <a:pathLst>
                <a:path w="21600" h="21600" extrusionOk="0">
                  <a:moveTo>
                    <a:pt x="0" y="21084"/>
                  </a:moveTo>
                  <a:cubicBezTo>
                    <a:pt x="0" y="21084"/>
                    <a:pt x="437" y="20814"/>
                    <a:pt x="469" y="20752"/>
                  </a:cubicBezTo>
                  <a:cubicBezTo>
                    <a:pt x="500" y="20691"/>
                    <a:pt x="554" y="20347"/>
                    <a:pt x="586" y="20310"/>
                  </a:cubicBezTo>
                  <a:cubicBezTo>
                    <a:pt x="618" y="20273"/>
                    <a:pt x="852" y="20015"/>
                    <a:pt x="852" y="20015"/>
                  </a:cubicBezTo>
                  <a:cubicBezTo>
                    <a:pt x="852" y="20015"/>
                    <a:pt x="1267" y="20482"/>
                    <a:pt x="1278" y="20549"/>
                  </a:cubicBezTo>
                  <a:cubicBezTo>
                    <a:pt x="1288" y="20617"/>
                    <a:pt x="1278" y="21145"/>
                    <a:pt x="1342" y="21158"/>
                  </a:cubicBezTo>
                  <a:cubicBezTo>
                    <a:pt x="1406" y="21170"/>
                    <a:pt x="2257" y="21489"/>
                    <a:pt x="2343" y="21502"/>
                  </a:cubicBezTo>
                  <a:cubicBezTo>
                    <a:pt x="2428" y="21514"/>
                    <a:pt x="2939" y="21403"/>
                    <a:pt x="3035" y="21403"/>
                  </a:cubicBezTo>
                  <a:cubicBezTo>
                    <a:pt x="3131" y="21403"/>
                    <a:pt x="3588" y="21600"/>
                    <a:pt x="3588" y="21600"/>
                  </a:cubicBezTo>
                  <a:cubicBezTo>
                    <a:pt x="3588" y="21600"/>
                    <a:pt x="4004" y="20887"/>
                    <a:pt x="4110" y="20863"/>
                  </a:cubicBezTo>
                  <a:cubicBezTo>
                    <a:pt x="4217" y="20838"/>
                    <a:pt x="4621" y="20691"/>
                    <a:pt x="4621" y="20691"/>
                  </a:cubicBezTo>
                  <a:lnTo>
                    <a:pt x="4621" y="10083"/>
                  </a:lnTo>
                  <a:lnTo>
                    <a:pt x="5963" y="9977"/>
                  </a:lnTo>
                  <a:lnTo>
                    <a:pt x="5995" y="4190"/>
                  </a:lnTo>
                  <a:lnTo>
                    <a:pt x="8955" y="3686"/>
                  </a:lnTo>
                  <a:lnTo>
                    <a:pt x="9360" y="4501"/>
                  </a:lnTo>
                  <a:lnTo>
                    <a:pt x="9924" y="3846"/>
                  </a:lnTo>
                  <a:lnTo>
                    <a:pt x="10414" y="3625"/>
                  </a:lnTo>
                  <a:cubicBezTo>
                    <a:pt x="10414" y="3625"/>
                    <a:pt x="10574" y="3797"/>
                    <a:pt x="10606" y="3797"/>
                  </a:cubicBezTo>
                  <a:cubicBezTo>
                    <a:pt x="10638" y="3797"/>
                    <a:pt x="11064" y="3379"/>
                    <a:pt x="11064" y="3379"/>
                  </a:cubicBezTo>
                  <a:lnTo>
                    <a:pt x="12055" y="3379"/>
                  </a:lnTo>
                  <a:cubicBezTo>
                    <a:pt x="12055" y="3379"/>
                    <a:pt x="12325" y="3668"/>
                    <a:pt x="12395" y="3680"/>
                  </a:cubicBezTo>
                  <a:cubicBezTo>
                    <a:pt x="12464" y="3692"/>
                    <a:pt x="12650" y="3526"/>
                    <a:pt x="12735" y="3526"/>
                  </a:cubicBezTo>
                  <a:cubicBezTo>
                    <a:pt x="12821" y="3526"/>
                    <a:pt x="13284" y="3821"/>
                    <a:pt x="13300" y="3821"/>
                  </a:cubicBezTo>
                  <a:cubicBezTo>
                    <a:pt x="13316" y="3821"/>
                    <a:pt x="13715" y="3686"/>
                    <a:pt x="13763" y="3625"/>
                  </a:cubicBezTo>
                  <a:cubicBezTo>
                    <a:pt x="13811" y="3563"/>
                    <a:pt x="13906" y="3386"/>
                    <a:pt x="13908" y="3379"/>
                  </a:cubicBezTo>
                  <a:cubicBezTo>
                    <a:pt x="13911" y="3372"/>
                    <a:pt x="13897" y="3237"/>
                    <a:pt x="14008" y="3121"/>
                  </a:cubicBezTo>
                  <a:cubicBezTo>
                    <a:pt x="14119" y="3005"/>
                    <a:pt x="14168" y="3010"/>
                    <a:pt x="14349" y="2795"/>
                  </a:cubicBezTo>
                  <a:cubicBezTo>
                    <a:pt x="14530" y="2580"/>
                    <a:pt x="14689" y="2158"/>
                    <a:pt x="14785" y="2093"/>
                  </a:cubicBezTo>
                  <a:cubicBezTo>
                    <a:pt x="14881" y="2027"/>
                    <a:pt x="16058" y="1346"/>
                    <a:pt x="16058" y="1346"/>
                  </a:cubicBezTo>
                  <a:cubicBezTo>
                    <a:pt x="16058" y="1346"/>
                    <a:pt x="16201" y="553"/>
                    <a:pt x="16217" y="479"/>
                  </a:cubicBezTo>
                  <a:cubicBezTo>
                    <a:pt x="16233" y="405"/>
                    <a:pt x="16984" y="0"/>
                    <a:pt x="17064" y="0"/>
                  </a:cubicBezTo>
                  <a:cubicBezTo>
                    <a:pt x="17144" y="0"/>
                    <a:pt x="18182" y="0"/>
                    <a:pt x="18182" y="0"/>
                  </a:cubicBezTo>
                  <a:lnTo>
                    <a:pt x="18182" y="553"/>
                  </a:lnTo>
                  <a:cubicBezTo>
                    <a:pt x="18182" y="553"/>
                    <a:pt x="19252" y="553"/>
                    <a:pt x="19316" y="571"/>
                  </a:cubicBezTo>
                  <a:cubicBezTo>
                    <a:pt x="19380" y="590"/>
                    <a:pt x="20003" y="1161"/>
                    <a:pt x="20115" y="1198"/>
                  </a:cubicBezTo>
                  <a:cubicBezTo>
                    <a:pt x="20226" y="1235"/>
                    <a:pt x="21488" y="1659"/>
                    <a:pt x="21488" y="1659"/>
                  </a:cubicBezTo>
                  <a:cubicBezTo>
                    <a:pt x="21488" y="1659"/>
                    <a:pt x="21273" y="1981"/>
                    <a:pt x="21273" y="2027"/>
                  </a:cubicBezTo>
                  <a:cubicBezTo>
                    <a:pt x="21273" y="2073"/>
                    <a:pt x="21560" y="2562"/>
                    <a:pt x="21560" y="2635"/>
                  </a:cubicBezTo>
                  <a:cubicBezTo>
                    <a:pt x="21560" y="2709"/>
                    <a:pt x="21352" y="3668"/>
                    <a:pt x="21392" y="3760"/>
                  </a:cubicBezTo>
                  <a:cubicBezTo>
                    <a:pt x="21432" y="3852"/>
                    <a:pt x="21552" y="4239"/>
                    <a:pt x="21560" y="4276"/>
                  </a:cubicBezTo>
                  <a:cubicBezTo>
                    <a:pt x="21568" y="4313"/>
                    <a:pt x="21305" y="4488"/>
                    <a:pt x="21312" y="4534"/>
                  </a:cubicBezTo>
                  <a:cubicBezTo>
                    <a:pt x="21320" y="4580"/>
                    <a:pt x="21376" y="4810"/>
                    <a:pt x="21392" y="4838"/>
                  </a:cubicBezTo>
                  <a:cubicBezTo>
                    <a:pt x="21408" y="4866"/>
                    <a:pt x="21384" y="4930"/>
                    <a:pt x="21392" y="4939"/>
                  </a:cubicBezTo>
                  <a:cubicBezTo>
                    <a:pt x="21400" y="4948"/>
                    <a:pt x="21113" y="4939"/>
                    <a:pt x="21113" y="4939"/>
                  </a:cubicBezTo>
                  <a:lnTo>
                    <a:pt x="21105" y="5151"/>
                  </a:lnTo>
                  <a:lnTo>
                    <a:pt x="21344" y="5446"/>
                  </a:lnTo>
                  <a:lnTo>
                    <a:pt x="21312" y="6312"/>
                  </a:lnTo>
                  <a:lnTo>
                    <a:pt x="21600" y="6460"/>
                  </a:lnTo>
                  <a:cubicBezTo>
                    <a:pt x="21600" y="6460"/>
                    <a:pt x="21368" y="7308"/>
                    <a:pt x="21320" y="7344"/>
                  </a:cubicBezTo>
                  <a:cubicBezTo>
                    <a:pt x="21273" y="7381"/>
                    <a:pt x="20889" y="7750"/>
                    <a:pt x="20865" y="7796"/>
                  </a:cubicBezTo>
                  <a:cubicBezTo>
                    <a:pt x="20841" y="7842"/>
                    <a:pt x="20873" y="8303"/>
                    <a:pt x="20873" y="8330"/>
                  </a:cubicBezTo>
                  <a:cubicBezTo>
                    <a:pt x="20873" y="8358"/>
                    <a:pt x="20658" y="8653"/>
                    <a:pt x="20650" y="8690"/>
                  </a:cubicBezTo>
                  <a:cubicBezTo>
                    <a:pt x="20642" y="8727"/>
                    <a:pt x="20841" y="8929"/>
                    <a:pt x="20833" y="8985"/>
                  </a:cubicBezTo>
                  <a:cubicBezTo>
                    <a:pt x="20825" y="9040"/>
                    <a:pt x="19308" y="10750"/>
                    <a:pt x="19308" y="1075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3" name="Line">
              <a:extLst>
                <a:ext uri="{FF2B5EF4-FFF2-40B4-BE49-F238E27FC236}">
                  <a16:creationId xmlns:a16="http://schemas.microsoft.com/office/drawing/2014/main" id="{8E9B32C1-7B51-964B-8A65-9CF54D15D5D4}"/>
                </a:ext>
              </a:extLst>
            </p:cNvPr>
            <p:cNvSpPr/>
            <p:nvPr/>
          </p:nvSpPr>
          <p:spPr>
            <a:xfrm>
              <a:off x="14084299" y="14909800"/>
              <a:ext cx="2644544" cy="1780647"/>
            </a:xfrm>
            <a:custGeom>
              <a:avLst/>
              <a:gdLst/>
              <a:ahLst/>
              <a:cxnLst>
                <a:cxn ang="0">
                  <a:pos x="wd2" y="hd2"/>
                </a:cxn>
                <a:cxn ang="5400000">
                  <a:pos x="wd2" y="hd2"/>
                </a:cxn>
                <a:cxn ang="10800000">
                  <a:pos x="wd2" y="hd2"/>
                </a:cxn>
                <a:cxn ang="16200000">
                  <a:pos x="wd2" y="hd2"/>
                </a:cxn>
              </a:cxnLst>
              <a:rect l="0" t="0" r="r" b="b"/>
              <a:pathLst>
                <a:path w="21564" h="21600" extrusionOk="0">
                  <a:moveTo>
                    <a:pt x="21564" y="0"/>
                  </a:moveTo>
                  <a:cubicBezTo>
                    <a:pt x="21564" y="0"/>
                    <a:pt x="19027" y="2465"/>
                    <a:pt x="18975" y="2465"/>
                  </a:cubicBezTo>
                  <a:cubicBezTo>
                    <a:pt x="18923" y="2465"/>
                    <a:pt x="18233" y="2414"/>
                    <a:pt x="18181" y="2465"/>
                  </a:cubicBezTo>
                  <a:cubicBezTo>
                    <a:pt x="18129" y="2516"/>
                    <a:pt x="17405" y="3478"/>
                    <a:pt x="17301" y="3357"/>
                  </a:cubicBezTo>
                  <a:cubicBezTo>
                    <a:pt x="17197" y="3235"/>
                    <a:pt x="16179" y="2799"/>
                    <a:pt x="16127" y="2799"/>
                  </a:cubicBezTo>
                  <a:cubicBezTo>
                    <a:pt x="16076" y="2799"/>
                    <a:pt x="15920" y="3595"/>
                    <a:pt x="15817" y="3672"/>
                  </a:cubicBezTo>
                  <a:cubicBezTo>
                    <a:pt x="15713" y="3749"/>
                    <a:pt x="15057" y="4211"/>
                    <a:pt x="14971" y="4185"/>
                  </a:cubicBezTo>
                  <a:cubicBezTo>
                    <a:pt x="14885" y="4160"/>
                    <a:pt x="13970" y="3672"/>
                    <a:pt x="13832" y="3672"/>
                  </a:cubicBezTo>
                  <a:cubicBezTo>
                    <a:pt x="13694" y="3672"/>
                    <a:pt x="13349" y="4391"/>
                    <a:pt x="13228" y="4365"/>
                  </a:cubicBezTo>
                  <a:cubicBezTo>
                    <a:pt x="13107" y="4339"/>
                    <a:pt x="12572" y="4059"/>
                    <a:pt x="12520" y="4071"/>
                  </a:cubicBezTo>
                  <a:cubicBezTo>
                    <a:pt x="12468" y="4082"/>
                    <a:pt x="12382" y="3697"/>
                    <a:pt x="12330" y="3569"/>
                  </a:cubicBezTo>
                  <a:cubicBezTo>
                    <a:pt x="12279" y="3441"/>
                    <a:pt x="11770" y="3235"/>
                    <a:pt x="11770" y="3235"/>
                  </a:cubicBezTo>
                  <a:lnTo>
                    <a:pt x="11163" y="3723"/>
                  </a:lnTo>
                  <a:cubicBezTo>
                    <a:pt x="11163" y="3723"/>
                    <a:pt x="9327" y="3749"/>
                    <a:pt x="9275" y="3723"/>
                  </a:cubicBezTo>
                  <a:cubicBezTo>
                    <a:pt x="9224" y="3697"/>
                    <a:pt x="8706" y="5572"/>
                    <a:pt x="8706" y="5700"/>
                  </a:cubicBezTo>
                  <a:cubicBezTo>
                    <a:pt x="8706" y="5828"/>
                    <a:pt x="9258" y="9654"/>
                    <a:pt x="9258" y="9654"/>
                  </a:cubicBezTo>
                  <a:cubicBezTo>
                    <a:pt x="9258" y="9654"/>
                    <a:pt x="9949" y="10270"/>
                    <a:pt x="10225" y="10604"/>
                  </a:cubicBezTo>
                  <a:cubicBezTo>
                    <a:pt x="10501" y="10938"/>
                    <a:pt x="11795" y="13365"/>
                    <a:pt x="11864" y="13602"/>
                  </a:cubicBezTo>
                  <a:cubicBezTo>
                    <a:pt x="11933" y="13839"/>
                    <a:pt x="11899" y="14558"/>
                    <a:pt x="11899" y="14558"/>
                  </a:cubicBezTo>
                  <a:lnTo>
                    <a:pt x="11751" y="15198"/>
                  </a:lnTo>
                  <a:lnTo>
                    <a:pt x="11623" y="15483"/>
                  </a:lnTo>
                  <a:lnTo>
                    <a:pt x="11692" y="18127"/>
                  </a:lnTo>
                  <a:lnTo>
                    <a:pt x="10863" y="18358"/>
                  </a:lnTo>
                  <a:lnTo>
                    <a:pt x="10311" y="19771"/>
                  </a:lnTo>
                  <a:lnTo>
                    <a:pt x="10630" y="20342"/>
                  </a:lnTo>
                  <a:lnTo>
                    <a:pt x="10660" y="21600"/>
                  </a:lnTo>
                  <a:cubicBezTo>
                    <a:pt x="10660" y="21600"/>
                    <a:pt x="10203" y="21581"/>
                    <a:pt x="10177" y="21549"/>
                  </a:cubicBezTo>
                  <a:cubicBezTo>
                    <a:pt x="10151" y="21517"/>
                    <a:pt x="10190" y="21119"/>
                    <a:pt x="10225" y="21016"/>
                  </a:cubicBezTo>
                  <a:cubicBezTo>
                    <a:pt x="10259" y="20913"/>
                    <a:pt x="10328" y="20817"/>
                    <a:pt x="10315" y="20727"/>
                  </a:cubicBezTo>
                  <a:cubicBezTo>
                    <a:pt x="10302" y="20637"/>
                    <a:pt x="8835" y="18846"/>
                    <a:pt x="8801" y="18795"/>
                  </a:cubicBezTo>
                  <a:cubicBezTo>
                    <a:pt x="8766" y="18744"/>
                    <a:pt x="8818" y="18179"/>
                    <a:pt x="8792" y="18089"/>
                  </a:cubicBezTo>
                  <a:cubicBezTo>
                    <a:pt x="8766" y="17999"/>
                    <a:pt x="8430" y="17755"/>
                    <a:pt x="8404" y="17729"/>
                  </a:cubicBezTo>
                  <a:cubicBezTo>
                    <a:pt x="8378" y="17704"/>
                    <a:pt x="9180" y="15585"/>
                    <a:pt x="9180" y="15534"/>
                  </a:cubicBezTo>
                  <a:cubicBezTo>
                    <a:pt x="9180" y="15483"/>
                    <a:pt x="8999" y="13376"/>
                    <a:pt x="8991" y="13299"/>
                  </a:cubicBezTo>
                  <a:cubicBezTo>
                    <a:pt x="8982" y="13223"/>
                    <a:pt x="8611" y="12864"/>
                    <a:pt x="8481" y="12812"/>
                  </a:cubicBezTo>
                  <a:cubicBezTo>
                    <a:pt x="8352" y="12761"/>
                    <a:pt x="7567" y="13031"/>
                    <a:pt x="7472" y="13069"/>
                  </a:cubicBezTo>
                  <a:cubicBezTo>
                    <a:pt x="7377" y="13108"/>
                    <a:pt x="7247" y="13312"/>
                    <a:pt x="7239" y="13299"/>
                  </a:cubicBezTo>
                  <a:cubicBezTo>
                    <a:pt x="7230" y="13287"/>
                    <a:pt x="7204" y="13506"/>
                    <a:pt x="7204" y="13506"/>
                  </a:cubicBezTo>
                  <a:cubicBezTo>
                    <a:pt x="7204" y="13506"/>
                    <a:pt x="6423" y="11593"/>
                    <a:pt x="6333" y="11554"/>
                  </a:cubicBezTo>
                  <a:cubicBezTo>
                    <a:pt x="6242" y="11516"/>
                    <a:pt x="5906" y="11689"/>
                    <a:pt x="5634" y="11843"/>
                  </a:cubicBezTo>
                  <a:cubicBezTo>
                    <a:pt x="5362" y="11997"/>
                    <a:pt x="42" y="14674"/>
                    <a:pt x="3" y="14674"/>
                  </a:cubicBezTo>
                  <a:cubicBezTo>
                    <a:pt x="-36" y="14674"/>
                    <a:pt x="407" y="16821"/>
                    <a:pt x="407" y="16821"/>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4" name="Line">
              <a:extLst>
                <a:ext uri="{FF2B5EF4-FFF2-40B4-BE49-F238E27FC236}">
                  <a16:creationId xmlns:a16="http://schemas.microsoft.com/office/drawing/2014/main" id="{9C6C6127-2F11-1847-9DB0-8D808AB1DDAA}"/>
                </a:ext>
              </a:extLst>
            </p:cNvPr>
            <p:cNvSpPr/>
            <p:nvPr/>
          </p:nvSpPr>
          <p:spPr>
            <a:xfrm>
              <a:off x="11963400" y="15036800"/>
              <a:ext cx="539397" cy="1793070"/>
            </a:xfrm>
            <a:custGeom>
              <a:avLst/>
              <a:gdLst/>
              <a:ahLst/>
              <a:cxnLst>
                <a:cxn ang="0">
                  <a:pos x="wd2" y="hd2"/>
                </a:cxn>
                <a:cxn ang="5400000">
                  <a:pos x="wd2" y="hd2"/>
                </a:cxn>
                <a:cxn ang="10800000">
                  <a:pos x="wd2" y="hd2"/>
                </a:cxn>
                <a:cxn ang="16200000">
                  <a:pos x="wd2" y="hd2"/>
                </a:cxn>
              </a:cxnLst>
              <a:rect l="0" t="0" r="r" b="b"/>
              <a:pathLst>
                <a:path w="21160" h="21600" extrusionOk="0">
                  <a:moveTo>
                    <a:pt x="20353" y="0"/>
                  </a:moveTo>
                  <a:cubicBezTo>
                    <a:pt x="20353" y="0"/>
                    <a:pt x="21217" y="4586"/>
                    <a:pt x="21134" y="4765"/>
                  </a:cubicBezTo>
                  <a:cubicBezTo>
                    <a:pt x="21051" y="4943"/>
                    <a:pt x="19390" y="5938"/>
                    <a:pt x="19307" y="6040"/>
                  </a:cubicBezTo>
                  <a:cubicBezTo>
                    <a:pt x="19224" y="6142"/>
                    <a:pt x="21394" y="6652"/>
                    <a:pt x="21139" y="6703"/>
                  </a:cubicBezTo>
                  <a:cubicBezTo>
                    <a:pt x="20885" y="6754"/>
                    <a:pt x="624" y="6703"/>
                    <a:pt x="209" y="6703"/>
                  </a:cubicBezTo>
                  <a:cubicBezTo>
                    <a:pt x="-206" y="6703"/>
                    <a:pt x="126" y="17030"/>
                    <a:pt x="126" y="17030"/>
                  </a:cubicBezTo>
                  <a:cubicBezTo>
                    <a:pt x="126" y="17030"/>
                    <a:pt x="4901" y="19006"/>
                    <a:pt x="5357" y="19057"/>
                  </a:cubicBezTo>
                  <a:cubicBezTo>
                    <a:pt x="5814" y="19108"/>
                    <a:pt x="14562" y="21600"/>
                    <a:pt x="14562" y="2160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5" name="Shape">
              <a:extLst>
                <a:ext uri="{FF2B5EF4-FFF2-40B4-BE49-F238E27FC236}">
                  <a16:creationId xmlns:a16="http://schemas.microsoft.com/office/drawing/2014/main" id="{DF7CD32C-8A28-E54C-B50A-DD024B3EF504}"/>
                </a:ext>
              </a:extLst>
            </p:cNvPr>
            <p:cNvSpPr/>
            <p:nvPr/>
          </p:nvSpPr>
          <p:spPr>
            <a:xfrm>
              <a:off x="13258799" y="19900900"/>
              <a:ext cx="626605" cy="622342"/>
            </a:xfrm>
            <a:custGeom>
              <a:avLst/>
              <a:gdLst/>
              <a:ahLst/>
              <a:cxnLst>
                <a:cxn ang="0">
                  <a:pos x="wd2" y="hd2"/>
                </a:cxn>
                <a:cxn ang="5400000">
                  <a:pos x="wd2" y="hd2"/>
                </a:cxn>
                <a:cxn ang="10800000">
                  <a:pos x="wd2" y="hd2"/>
                </a:cxn>
                <a:cxn ang="16200000">
                  <a:pos x="wd2" y="hd2"/>
                </a:cxn>
              </a:cxnLst>
              <a:rect l="0" t="0" r="r" b="b"/>
              <a:pathLst>
                <a:path w="21494" h="21492" extrusionOk="0">
                  <a:moveTo>
                    <a:pt x="10748" y="17215"/>
                  </a:moveTo>
                  <a:cubicBezTo>
                    <a:pt x="10992" y="17119"/>
                    <a:pt x="18082" y="14876"/>
                    <a:pt x="18372" y="14364"/>
                  </a:cubicBezTo>
                  <a:cubicBezTo>
                    <a:pt x="18662" y="13852"/>
                    <a:pt x="18808" y="11952"/>
                    <a:pt x="18626" y="11513"/>
                  </a:cubicBezTo>
                  <a:cubicBezTo>
                    <a:pt x="18445" y="11075"/>
                    <a:pt x="19098" y="10417"/>
                    <a:pt x="19280" y="10307"/>
                  </a:cubicBezTo>
                  <a:cubicBezTo>
                    <a:pt x="19461" y="10198"/>
                    <a:pt x="20151" y="10015"/>
                    <a:pt x="20151" y="10015"/>
                  </a:cubicBezTo>
                  <a:cubicBezTo>
                    <a:pt x="20151" y="10015"/>
                    <a:pt x="21494" y="8443"/>
                    <a:pt x="21494" y="8260"/>
                  </a:cubicBezTo>
                  <a:cubicBezTo>
                    <a:pt x="21494" y="8078"/>
                    <a:pt x="21240" y="5702"/>
                    <a:pt x="20913" y="5483"/>
                  </a:cubicBezTo>
                  <a:cubicBezTo>
                    <a:pt x="20586" y="5264"/>
                    <a:pt x="17464" y="2230"/>
                    <a:pt x="17174" y="2193"/>
                  </a:cubicBezTo>
                  <a:cubicBezTo>
                    <a:pt x="16884" y="2157"/>
                    <a:pt x="16303" y="2157"/>
                    <a:pt x="16121" y="2047"/>
                  </a:cubicBezTo>
                  <a:cubicBezTo>
                    <a:pt x="15940" y="1938"/>
                    <a:pt x="14960" y="-36"/>
                    <a:pt x="14524" y="1"/>
                  </a:cubicBezTo>
                  <a:cubicBezTo>
                    <a:pt x="14088" y="37"/>
                    <a:pt x="6828" y="3071"/>
                    <a:pt x="6610" y="3290"/>
                  </a:cubicBezTo>
                  <a:cubicBezTo>
                    <a:pt x="6392" y="3509"/>
                    <a:pt x="3016" y="9722"/>
                    <a:pt x="2580" y="9832"/>
                  </a:cubicBezTo>
                  <a:cubicBezTo>
                    <a:pt x="2145" y="9942"/>
                    <a:pt x="112" y="10782"/>
                    <a:pt x="3" y="10928"/>
                  </a:cubicBezTo>
                  <a:cubicBezTo>
                    <a:pt x="-106" y="11075"/>
                    <a:pt x="3488" y="15643"/>
                    <a:pt x="3524" y="16045"/>
                  </a:cubicBezTo>
                  <a:cubicBezTo>
                    <a:pt x="3561" y="16447"/>
                    <a:pt x="3052" y="17653"/>
                    <a:pt x="3234" y="17982"/>
                  </a:cubicBezTo>
                  <a:cubicBezTo>
                    <a:pt x="3415" y="18311"/>
                    <a:pt x="4613" y="18677"/>
                    <a:pt x="5013" y="19408"/>
                  </a:cubicBezTo>
                  <a:cubicBezTo>
                    <a:pt x="5412" y="20139"/>
                    <a:pt x="5957" y="20833"/>
                    <a:pt x="6537" y="20833"/>
                  </a:cubicBezTo>
                  <a:cubicBezTo>
                    <a:pt x="7118" y="20833"/>
                    <a:pt x="9296" y="21418"/>
                    <a:pt x="9550" y="21491"/>
                  </a:cubicBezTo>
                  <a:cubicBezTo>
                    <a:pt x="9805" y="21564"/>
                    <a:pt x="10490" y="17316"/>
                    <a:pt x="10748" y="17215"/>
                  </a:cubicBezTo>
                  <a:close/>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6" name="Line">
              <a:extLst>
                <a:ext uri="{FF2B5EF4-FFF2-40B4-BE49-F238E27FC236}">
                  <a16:creationId xmlns:a16="http://schemas.microsoft.com/office/drawing/2014/main" id="{D1D656B8-D611-9D4D-9247-A86B43A67F59}"/>
                </a:ext>
              </a:extLst>
            </p:cNvPr>
            <p:cNvSpPr/>
            <p:nvPr/>
          </p:nvSpPr>
          <p:spPr>
            <a:xfrm>
              <a:off x="14224000" y="19075399"/>
              <a:ext cx="342441" cy="456142"/>
            </a:xfrm>
            <a:custGeom>
              <a:avLst/>
              <a:gdLst/>
              <a:ahLst/>
              <a:cxnLst>
                <a:cxn ang="0">
                  <a:pos x="wd2" y="hd2"/>
                </a:cxn>
                <a:cxn ang="5400000">
                  <a:pos x="wd2" y="hd2"/>
                </a:cxn>
                <a:cxn ang="10800000">
                  <a:pos x="wd2" y="hd2"/>
                </a:cxn>
                <a:cxn ang="16200000">
                  <a:pos x="wd2" y="hd2"/>
                </a:cxn>
              </a:cxnLst>
              <a:rect l="0" t="0" r="r" b="b"/>
              <a:pathLst>
                <a:path w="21488" h="21600" extrusionOk="0">
                  <a:moveTo>
                    <a:pt x="21488" y="15072"/>
                  </a:moveTo>
                  <a:lnTo>
                    <a:pt x="19878" y="15072"/>
                  </a:lnTo>
                  <a:cubicBezTo>
                    <a:pt x="19878" y="15072"/>
                    <a:pt x="19346" y="21600"/>
                    <a:pt x="19014" y="21600"/>
                  </a:cubicBezTo>
                  <a:cubicBezTo>
                    <a:pt x="18682" y="21600"/>
                    <a:pt x="6330" y="20297"/>
                    <a:pt x="5998" y="20097"/>
                  </a:cubicBezTo>
                  <a:cubicBezTo>
                    <a:pt x="5666" y="19896"/>
                    <a:pt x="2080" y="14734"/>
                    <a:pt x="1814" y="14433"/>
                  </a:cubicBezTo>
                  <a:cubicBezTo>
                    <a:pt x="1548" y="14133"/>
                    <a:pt x="951" y="15386"/>
                    <a:pt x="685" y="15285"/>
                  </a:cubicBezTo>
                  <a:cubicBezTo>
                    <a:pt x="419" y="15185"/>
                    <a:pt x="-112" y="10274"/>
                    <a:pt x="21" y="9973"/>
                  </a:cubicBezTo>
                  <a:cubicBezTo>
                    <a:pt x="154" y="9672"/>
                    <a:pt x="7924" y="1253"/>
                    <a:pt x="8056" y="802"/>
                  </a:cubicBezTo>
                  <a:cubicBezTo>
                    <a:pt x="8189" y="351"/>
                    <a:pt x="9185" y="802"/>
                    <a:pt x="9185" y="802"/>
                  </a:cubicBezTo>
                  <a:lnTo>
                    <a:pt x="10049" y="0"/>
                  </a:lnTo>
                  <a:lnTo>
                    <a:pt x="19579" y="3107"/>
                  </a:ln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7" name="Line">
              <a:extLst>
                <a:ext uri="{FF2B5EF4-FFF2-40B4-BE49-F238E27FC236}">
                  <a16:creationId xmlns:a16="http://schemas.microsoft.com/office/drawing/2014/main" id="{A89CEED9-0B17-1340-8015-0F4D96CD5CD5}"/>
                </a:ext>
              </a:extLst>
            </p:cNvPr>
            <p:cNvSpPr/>
            <p:nvPr/>
          </p:nvSpPr>
          <p:spPr>
            <a:xfrm>
              <a:off x="11442699" y="18072099"/>
              <a:ext cx="2425835" cy="1330906"/>
            </a:xfrm>
            <a:custGeom>
              <a:avLst/>
              <a:gdLst/>
              <a:ahLst/>
              <a:cxnLst>
                <a:cxn ang="0">
                  <a:pos x="wd2" y="hd2"/>
                </a:cxn>
                <a:cxn ang="5400000">
                  <a:pos x="wd2" y="hd2"/>
                </a:cxn>
                <a:cxn ang="10800000">
                  <a:pos x="wd2" y="hd2"/>
                </a:cxn>
                <a:cxn ang="16200000">
                  <a:pos x="wd2" y="hd2"/>
                </a:cxn>
              </a:cxnLst>
              <a:rect l="0" t="0" r="r" b="b"/>
              <a:pathLst>
                <a:path w="21600" h="21568" extrusionOk="0">
                  <a:moveTo>
                    <a:pt x="0" y="11667"/>
                  </a:moveTo>
                  <a:cubicBezTo>
                    <a:pt x="0" y="11667"/>
                    <a:pt x="911" y="12853"/>
                    <a:pt x="989" y="13110"/>
                  </a:cubicBezTo>
                  <a:cubicBezTo>
                    <a:pt x="1067" y="13368"/>
                    <a:pt x="1936" y="16635"/>
                    <a:pt x="1936" y="16789"/>
                  </a:cubicBezTo>
                  <a:cubicBezTo>
                    <a:pt x="1936" y="16944"/>
                    <a:pt x="2042" y="18011"/>
                    <a:pt x="2021" y="18166"/>
                  </a:cubicBezTo>
                  <a:cubicBezTo>
                    <a:pt x="2000" y="18320"/>
                    <a:pt x="1491" y="19606"/>
                    <a:pt x="1477" y="19671"/>
                  </a:cubicBezTo>
                  <a:cubicBezTo>
                    <a:pt x="1462" y="19735"/>
                    <a:pt x="1597" y="21437"/>
                    <a:pt x="1639" y="21519"/>
                  </a:cubicBezTo>
                  <a:cubicBezTo>
                    <a:pt x="1682" y="21600"/>
                    <a:pt x="1703" y="21566"/>
                    <a:pt x="1752" y="21519"/>
                  </a:cubicBezTo>
                  <a:cubicBezTo>
                    <a:pt x="1802" y="21471"/>
                    <a:pt x="2035" y="21073"/>
                    <a:pt x="2183" y="21085"/>
                  </a:cubicBezTo>
                  <a:cubicBezTo>
                    <a:pt x="2332" y="21098"/>
                    <a:pt x="3929" y="21446"/>
                    <a:pt x="3971" y="21420"/>
                  </a:cubicBezTo>
                  <a:cubicBezTo>
                    <a:pt x="4014" y="21394"/>
                    <a:pt x="5788" y="18732"/>
                    <a:pt x="5816" y="18526"/>
                  </a:cubicBezTo>
                  <a:cubicBezTo>
                    <a:pt x="5844" y="18320"/>
                    <a:pt x="6367" y="17188"/>
                    <a:pt x="6382" y="17008"/>
                  </a:cubicBezTo>
                  <a:cubicBezTo>
                    <a:pt x="6396" y="16828"/>
                    <a:pt x="6678" y="15233"/>
                    <a:pt x="6735" y="15001"/>
                  </a:cubicBezTo>
                  <a:cubicBezTo>
                    <a:pt x="6791" y="14770"/>
                    <a:pt x="7060" y="14204"/>
                    <a:pt x="7102" y="14152"/>
                  </a:cubicBezTo>
                  <a:cubicBezTo>
                    <a:pt x="7145" y="14101"/>
                    <a:pt x="7965" y="14127"/>
                    <a:pt x="8050" y="14152"/>
                  </a:cubicBezTo>
                  <a:cubicBezTo>
                    <a:pt x="8134" y="14178"/>
                    <a:pt x="8926" y="15567"/>
                    <a:pt x="8997" y="15619"/>
                  </a:cubicBezTo>
                  <a:cubicBezTo>
                    <a:pt x="9067" y="15670"/>
                    <a:pt x="9406" y="15644"/>
                    <a:pt x="9576" y="15696"/>
                  </a:cubicBezTo>
                  <a:cubicBezTo>
                    <a:pt x="9746" y="15747"/>
                    <a:pt x="10551" y="16391"/>
                    <a:pt x="10693" y="16468"/>
                  </a:cubicBezTo>
                  <a:cubicBezTo>
                    <a:pt x="10834" y="16545"/>
                    <a:pt x="12304" y="16416"/>
                    <a:pt x="12361" y="16365"/>
                  </a:cubicBezTo>
                  <a:cubicBezTo>
                    <a:pt x="12417" y="16313"/>
                    <a:pt x="12856" y="15799"/>
                    <a:pt x="12884" y="15670"/>
                  </a:cubicBezTo>
                  <a:cubicBezTo>
                    <a:pt x="12912" y="15542"/>
                    <a:pt x="13449" y="11806"/>
                    <a:pt x="13506" y="11667"/>
                  </a:cubicBezTo>
                  <a:cubicBezTo>
                    <a:pt x="13562" y="11528"/>
                    <a:pt x="14707" y="11194"/>
                    <a:pt x="14820" y="11142"/>
                  </a:cubicBezTo>
                  <a:cubicBezTo>
                    <a:pt x="14933" y="11091"/>
                    <a:pt x="15668" y="9728"/>
                    <a:pt x="15711" y="9547"/>
                  </a:cubicBezTo>
                  <a:cubicBezTo>
                    <a:pt x="15753" y="9367"/>
                    <a:pt x="15951" y="7129"/>
                    <a:pt x="16008" y="6949"/>
                  </a:cubicBezTo>
                  <a:cubicBezTo>
                    <a:pt x="16064" y="6769"/>
                    <a:pt x="17450" y="4685"/>
                    <a:pt x="17506" y="4634"/>
                  </a:cubicBezTo>
                  <a:cubicBezTo>
                    <a:pt x="17563" y="4582"/>
                    <a:pt x="17746" y="4891"/>
                    <a:pt x="17803" y="4840"/>
                  </a:cubicBezTo>
                  <a:cubicBezTo>
                    <a:pt x="17859" y="4788"/>
                    <a:pt x="19146" y="1753"/>
                    <a:pt x="19245" y="1675"/>
                  </a:cubicBezTo>
                  <a:cubicBezTo>
                    <a:pt x="19344" y="1598"/>
                    <a:pt x="20446" y="1367"/>
                    <a:pt x="20503" y="1212"/>
                  </a:cubicBezTo>
                  <a:cubicBezTo>
                    <a:pt x="20559" y="1058"/>
                    <a:pt x="20743" y="209"/>
                    <a:pt x="20771" y="132"/>
                  </a:cubicBezTo>
                  <a:cubicBezTo>
                    <a:pt x="20800" y="55"/>
                    <a:pt x="21600" y="0"/>
                    <a:pt x="21600"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8" name="Line">
              <a:extLst>
                <a:ext uri="{FF2B5EF4-FFF2-40B4-BE49-F238E27FC236}">
                  <a16:creationId xmlns:a16="http://schemas.microsoft.com/office/drawing/2014/main" id="{B8C994E8-2028-8B4F-ABCF-0B172D09C514}"/>
                </a:ext>
              </a:extLst>
            </p:cNvPr>
            <p:cNvSpPr/>
            <p:nvPr/>
          </p:nvSpPr>
          <p:spPr>
            <a:xfrm>
              <a:off x="14223999" y="14325599"/>
              <a:ext cx="759827" cy="1540275"/>
            </a:xfrm>
            <a:custGeom>
              <a:avLst/>
              <a:gdLst/>
              <a:ahLst/>
              <a:cxnLst>
                <a:cxn ang="0">
                  <a:pos x="wd2" y="hd2"/>
                </a:cxn>
                <a:cxn ang="5400000">
                  <a:pos x="wd2" y="hd2"/>
                </a:cxn>
                <a:cxn ang="10800000">
                  <a:pos x="wd2" y="hd2"/>
                </a:cxn>
                <a:cxn ang="16200000">
                  <a:pos x="wd2" y="hd2"/>
                </a:cxn>
              </a:cxnLst>
              <a:rect l="0" t="0" r="r" b="b"/>
              <a:pathLst>
                <a:path w="21570" h="21600" extrusionOk="0">
                  <a:moveTo>
                    <a:pt x="16725" y="21600"/>
                  </a:moveTo>
                  <a:cubicBezTo>
                    <a:pt x="16725" y="21600"/>
                    <a:pt x="14517" y="20579"/>
                    <a:pt x="14540" y="20490"/>
                  </a:cubicBezTo>
                  <a:cubicBezTo>
                    <a:pt x="14562" y="20401"/>
                    <a:pt x="14968" y="20278"/>
                    <a:pt x="14968" y="20223"/>
                  </a:cubicBezTo>
                  <a:cubicBezTo>
                    <a:pt x="14968" y="20167"/>
                    <a:pt x="14990" y="20011"/>
                    <a:pt x="14878" y="19989"/>
                  </a:cubicBezTo>
                  <a:cubicBezTo>
                    <a:pt x="14765" y="19966"/>
                    <a:pt x="13931" y="20044"/>
                    <a:pt x="13909" y="19989"/>
                  </a:cubicBezTo>
                  <a:cubicBezTo>
                    <a:pt x="13886" y="19933"/>
                    <a:pt x="16590" y="18486"/>
                    <a:pt x="16613" y="18442"/>
                  </a:cubicBezTo>
                  <a:cubicBezTo>
                    <a:pt x="16635" y="18397"/>
                    <a:pt x="16117" y="17373"/>
                    <a:pt x="16117" y="17161"/>
                  </a:cubicBezTo>
                  <a:cubicBezTo>
                    <a:pt x="16117" y="16950"/>
                    <a:pt x="17198" y="16149"/>
                    <a:pt x="17311" y="16104"/>
                  </a:cubicBezTo>
                  <a:cubicBezTo>
                    <a:pt x="17424" y="16059"/>
                    <a:pt x="18798" y="16082"/>
                    <a:pt x="19001" y="16048"/>
                  </a:cubicBezTo>
                  <a:cubicBezTo>
                    <a:pt x="19204" y="16015"/>
                    <a:pt x="20443" y="15347"/>
                    <a:pt x="20466" y="15269"/>
                  </a:cubicBezTo>
                  <a:cubicBezTo>
                    <a:pt x="20488" y="15191"/>
                    <a:pt x="19429" y="15247"/>
                    <a:pt x="19069" y="15124"/>
                  </a:cubicBezTo>
                  <a:cubicBezTo>
                    <a:pt x="18708" y="15002"/>
                    <a:pt x="18505" y="14779"/>
                    <a:pt x="18325" y="14364"/>
                  </a:cubicBezTo>
                  <a:cubicBezTo>
                    <a:pt x="18145" y="13948"/>
                    <a:pt x="18085" y="12004"/>
                    <a:pt x="18175" y="11767"/>
                  </a:cubicBezTo>
                  <a:cubicBezTo>
                    <a:pt x="18265" y="11529"/>
                    <a:pt x="19257" y="10935"/>
                    <a:pt x="19287" y="10817"/>
                  </a:cubicBezTo>
                  <a:cubicBezTo>
                    <a:pt x="19317" y="10698"/>
                    <a:pt x="18175" y="9873"/>
                    <a:pt x="18265" y="9766"/>
                  </a:cubicBezTo>
                  <a:cubicBezTo>
                    <a:pt x="18355" y="9659"/>
                    <a:pt x="21540" y="8783"/>
                    <a:pt x="21570" y="8680"/>
                  </a:cubicBezTo>
                  <a:cubicBezTo>
                    <a:pt x="21600" y="8576"/>
                    <a:pt x="18776" y="7010"/>
                    <a:pt x="18641" y="6765"/>
                  </a:cubicBezTo>
                  <a:cubicBezTo>
                    <a:pt x="18505" y="6520"/>
                    <a:pt x="18956" y="6119"/>
                    <a:pt x="18821" y="5941"/>
                  </a:cubicBezTo>
                  <a:cubicBezTo>
                    <a:pt x="18686" y="5763"/>
                    <a:pt x="18145" y="5207"/>
                    <a:pt x="17739" y="5184"/>
                  </a:cubicBezTo>
                  <a:cubicBezTo>
                    <a:pt x="17334" y="5162"/>
                    <a:pt x="16522" y="5296"/>
                    <a:pt x="16522" y="5296"/>
                  </a:cubicBezTo>
                  <a:cubicBezTo>
                    <a:pt x="16522" y="5296"/>
                    <a:pt x="16793" y="4450"/>
                    <a:pt x="16207" y="4383"/>
                  </a:cubicBezTo>
                  <a:cubicBezTo>
                    <a:pt x="15621" y="4316"/>
                    <a:pt x="8861" y="3359"/>
                    <a:pt x="8771" y="3270"/>
                  </a:cubicBezTo>
                  <a:cubicBezTo>
                    <a:pt x="8681" y="3181"/>
                    <a:pt x="8771" y="2646"/>
                    <a:pt x="8771" y="2646"/>
                  </a:cubicBezTo>
                  <a:lnTo>
                    <a:pt x="6473" y="2646"/>
                  </a:lnTo>
                  <a:cubicBezTo>
                    <a:pt x="6473" y="2646"/>
                    <a:pt x="5301" y="1489"/>
                    <a:pt x="4760" y="1489"/>
                  </a:cubicBezTo>
                  <a:cubicBezTo>
                    <a:pt x="4219" y="1489"/>
                    <a:pt x="2732" y="1444"/>
                    <a:pt x="2552" y="1489"/>
                  </a:cubicBezTo>
                  <a:cubicBezTo>
                    <a:pt x="2372" y="1533"/>
                    <a:pt x="0" y="0"/>
                    <a:pt x="0"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19" name="Line">
              <a:extLst>
                <a:ext uri="{FF2B5EF4-FFF2-40B4-BE49-F238E27FC236}">
                  <a16:creationId xmlns:a16="http://schemas.microsoft.com/office/drawing/2014/main" id="{97E13038-62BF-B742-B22A-5B71D619A534}"/>
                </a:ext>
              </a:extLst>
            </p:cNvPr>
            <p:cNvSpPr/>
            <p:nvPr/>
          </p:nvSpPr>
          <p:spPr>
            <a:xfrm>
              <a:off x="14795499" y="14643100"/>
              <a:ext cx="497678" cy="56641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cubicBezTo>
                    <a:pt x="21600" y="21600"/>
                    <a:pt x="20831" y="19223"/>
                    <a:pt x="20187" y="18497"/>
                  </a:cubicBezTo>
                  <a:cubicBezTo>
                    <a:pt x="19544" y="17770"/>
                    <a:pt x="18371" y="14872"/>
                    <a:pt x="18429" y="14464"/>
                  </a:cubicBezTo>
                  <a:cubicBezTo>
                    <a:pt x="18488" y="14057"/>
                    <a:pt x="17340" y="10546"/>
                    <a:pt x="17294" y="10264"/>
                  </a:cubicBezTo>
                  <a:cubicBezTo>
                    <a:pt x="17248" y="9981"/>
                    <a:pt x="17109" y="5423"/>
                    <a:pt x="17109" y="5423"/>
                  </a:cubicBezTo>
                  <a:lnTo>
                    <a:pt x="12268" y="884"/>
                  </a:lnTo>
                  <a:cubicBezTo>
                    <a:pt x="12268" y="884"/>
                    <a:pt x="11414" y="2232"/>
                    <a:pt x="10817" y="2232"/>
                  </a:cubicBezTo>
                  <a:cubicBezTo>
                    <a:pt x="10220" y="2232"/>
                    <a:pt x="7556" y="2313"/>
                    <a:pt x="6637" y="2111"/>
                  </a:cubicBezTo>
                  <a:cubicBezTo>
                    <a:pt x="5718" y="1909"/>
                    <a:pt x="2641" y="1180"/>
                    <a:pt x="1860" y="717"/>
                  </a:cubicBezTo>
                  <a:cubicBezTo>
                    <a:pt x="1079" y="255"/>
                    <a:pt x="0" y="0"/>
                    <a:pt x="0"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20" name="Line">
              <a:extLst>
                <a:ext uri="{FF2B5EF4-FFF2-40B4-BE49-F238E27FC236}">
                  <a16:creationId xmlns:a16="http://schemas.microsoft.com/office/drawing/2014/main" id="{33161BC6-9C82-F840-BA02-DF23E23125F7}"/>
                </a:ext>
              </a:extLst>
            </p:cNvPr>
            <p:cNvSpPr/>
            <p:nvPr/>
          </p:nvSpPr>
          <p:spPr>
            <a:xfrm>
              <a:off x="14224000" y="11125200"/>
              <a:ext cx="1079310" cy="1352507"/>
            </a:xfrm>
            <a:custGeom>
              <a:avLst/>
              <a:gdLst/>
              <a:ahLst/>
              <a:cxnLst>
                <a:cxn ang="0">
                  <a:pos x="wd2" y="hd2"/>
                </a:cxn>
                <a:cxn ang="5400000">
                  <a:pos x="wd2" y="hd2"/>
                </a:cxn>
                <a:cxn ang="10800000">
                  <a:pos x="wd2" y="hd2"/>
                </a:cxn>
                <a:cxn ang="16200000">
                  <a:pos x="wd2" y="hd2"/>
                </a:cxn>
              </a:cxnLst>
              <a:rect l="0" t="0" r="r" b="b"/>
              <a:pathLst>
                <a:path w="21600" h="21600" extrusionOk="0">
                  <a:moveTo>
                    <a:pt x="16195" y="21600"/>
                  </a:moveTo>
                  <a:cubicBezTo>
                    <a:pt x="16195" y="21600"/>
                    <a:pt x="16190" y="17570"/>
                    <a:pt x="16195" y="17341"/>
                  </a:cubicBezTo>
                  <a:cubicBezTo>
                    <a:pt x="16199" y="17113"/>
                    <a:pt x="17184" y="15313"/>
                    <a:pt x="17311" y="15085"/>
                  </a:cubicBezTo>
                  <a:cubicBezTo>
                    <a:pt x="17438" y="14857"/>
                    <a:pt x="18677" y="14198"/>
                    <a:pt x="18836" y="13741"/>
                  </a:cubicBezTo>
                  <a:cubicBezTo>
                    <a:pt x="18995" y="13285"/>
                    <a:pt x="19630" y="12905"/>
                    <a:pt x="19789" y="12803"/>
                  </a:cubicBezTo>
                  <a:cubicBezTo>
                    <a:pt x="19948" y="12702"/>
                    <a:pt x="20456" y="12550"/>
                    <a:pt x="20583" y="12372"/>
                  </a:cubicBezTo>
                  <a:cubicBezTo>
                    <a:pt x="20710" y="12195"/>
                    <a:pt x="20583" y="11485"/>
                    <a:pt x="20583" y="11485"/>
                  </a:cubicBezTo>
                  <a:lnTo>
                    <a:pt x="21473" y="10623"/>
                  </a:lnTo>
                  <a:lnTo>
                    <a:pt x="21600" y="7407"/>
                  </a:lnTo>
                  <a:cubicBezTo>
                    <a:pt x="21600" y="7407"/>
                    <a:pt x="18925" y="4538"/>
                    <a:pt x="18896" y="4335"/>
                  </a:cubicBezTo>
                  <a:cubicBezTo>
                    <a:pt x="18868" y="4133"/>
                    <a:pt x="18989" y="2662"/>
                    <a:pt x="18896" y="2434"/>
                  </a:cubicBezTo>
                  <a:cubicBezTo>
                    <a:pt x="18804" y="2206"/>
                    <a:pt x="17247" y="1699"/>
                    <a:pt x="17089" y="1547"/>
                  </a:cubicBezTo>
                  <a:cubicBezTo>
                    <a:pt x="16930" y="1394"/>
                    <a:pt x="16644" y="0"/>
                    <a:pt x="16644" y="0"/>
                  </a:cubicBezTo>
                  <a:cubicBezTo>
                    <a:pt x="16644" y="0"/>
                    <a:pt x="14325" y="1952"/>
                    <a:pt x="14039" y="1952"/>
                  </a:cubicBezTo>
                  <a:cubicBezTo>
                    <a:pt x="13753" y="1952"/>
                    <a:pt x="11751" y="1420"/>
                    <a:pt x="11433" y="1445"/>
                  </a:cubicBezTo>
                  <a:cubicBezTo>
                    <a:pt x="11116" y="1470"/>
                    <a:pt x="8479" y="1952"/>
                    <a:pt x="8256" y="2054"/>
                  </a:cubicBezTo>
                  <a:cubicBezTo>
                    <a:pt x="8034" y="2155"/>
                    <a:pt x="7558" y="2941"/>
                    <a:pt x="7335" y="2966"/>
                  </a:cubicBezTo>
                  <a:cubicBezTo>
                    <a:pt x="7113" y="2992"/>
                    <a:pt x="6255" y="2586"/>
                    <a:pt x="5937" y="2510"/>
                  </a:cubicBezTo>
                  <a:cubicBezTo>
                    <a:pt x="5620" y="2434"/>
                    <a:pt x="5302" y="1547"/>
                    <a:pt x="5143" y="1547"/>
                  </a:cubicBezTo>
                  <a:cubicBezTo>
                    <a:pt x="4984" y="1547"/>
                    <a:pt x="4190" y="2459"/>
                    <a:pt x="3999" y="2459"/>
                  </a:cubicBezTo>
                  <a:cubicBezTo>
                    <a:pt x="3809" y="2459"/>
                    <a:pt x="3254" y="1825"/>
                    <a:pt x="2785" y="1775"/>
                  </a:cubicBezTo>
                  <a:cubicBezTo>
                    <a:pt x="2315" y="1724"/>
                    <a:pt x="1839" y="1927"/>
                    <a:pt x="1362" y="1978"/>
                  </a:cubicBezTo>
                  <a:cubicBezTo>
                    <a:pt x="886" y="2028"/>
                    <a:pt x="0" y="3189"/>
                    <a:pt x="0" y="3189"/>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21" name="Line">
              <a:extLst>
                <a:ext uri="{FF2B5EF4-FFF2-40B4-BE49-F238E27FC236}">
                  <a16:creationId xmlns:a16="http://schemas.microsoft.com/office/drawing/2014/main" id="{1CD9A58E-C98B-0C49-9D3F-5A152321448D}"/>
                </a:ext>
              </a:extLst>
            </p:cNvPr>
            <p:cNvSpPr/>
            <p:nvPr/>
          </p:nvSpPr>
          <p:spPr>
            <a:xfrm>
              <a:off x="15062199" y="10934700"/>
              <a:ext cx="491272" cy="189162"/>
            </a:xfrm>
            <a:custGeom>
              <a:avLst/>
              <a:gdLst/>
              <a:ahLst/>
              <a:cxnLst>
                <a:cxn ang="0">
                  <a:pos x="wd2" y="hd2"/>
                </a:cxn>
                <a:cxn ang="5400000">
                  <a:pos x="wd2" y="hd2"/>
                </a:cxn>
                <a:cxn ang="10800000">
                  <a:pos x="wd2" y="hd2"/>
                </a:cxn>
                <a:cxn ang="16200000">
                  <a:pos x="wd2" y="hd2"/>
                </a:cxn>
              </a:cxnLst>
              <a:rect l="0" t="0" r="r" b="b"/>
              <a:pathLst>
                <a:path w="21600" h="21420" extrusionOk="0">
                  <a:moveTo>
                    <a:pt x="21600" y="7482"/>
                  </a:moveTo>
                  <a:cubicBezTo>
                    <a:pt x="21600" y="7482"/>
                    <a:pt x="18354" y="9482"/>
                    <a:pt x="18145" y="9325"/>
                  </a:cubicBezTo>
                  <a:cubicBezTo>
                    <a:pt x="17936" y="9168"/>
                    <a:pt x="16915" y="1438"/>
                    <a:pt x="16356" y="719"/>
                  </a:cubicBezTo>
                  <a:cubicBezTo>
                    <a:pt x="15798" y="0"/>
                    <a:pt x="14158" y="-180"/>
                    <a:pt x="13669" y="180"/>
                  </a:cubicBezTo>
                  <a:cubicBezTo>
                    <a:pt x="13181" y="539"/>
                    <a:pt x="7073" y="7550"/>
                    <a:pt x="5921" y="8179"/>
                  </a:cubicBezTo>
                  <a:cubicBezTo>
                    <a:pt x="4770" y="8808"/>
                    <a:pt x="4595" y="9168"/>
                    <a:pt x="4142" y="9887"/>
                  </a:cubicBezTo>
                  <a:cubicBezTo>
                    <a:pt x="3688" y="10606"/>
                    <a:pt x="0" y="21420"/>
                    <a:pt x="0" y="2142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22" name="Line">
              <a:extLst>
                <a:ext uri="{FF2B5EF4-FFF2-40B4-BE49-F238E27FC236}">
                  <a16:creationId xmlns:a16="http://schemas.microsoft.com/office/drawing/2014/main" id="{96DA3A9D-D9C7-8E4F-A36E-8311C901AABE}"/>
                </a:ext>
              </a:extLst>
            </p:cNvPr>
            <p:cNvSpPr/>
            <p:nvPr/>
          </p:nvSpPr>
          <p:spPr>
            <a:xfrm>
              <a:off x="9410700" y="13411200"/>
              <a:ext cx="258308" cy="286576"/>
            </a:xfrm>
            <a:custGeom>
              <a:avLst/>
              <a:gdLst/>
              <a:ahLst/>
              <a:cxnLst>
                <a:cxn ang="0">
                  <a:pos x="wd2" y="hd2"/>
                </a:cxn>
                <a:cxn ang="5400000">
                  <a:pos x="wd2" y="hd2"/>
                </a:cxn>
                <a:cxn ang="10800000">
                  <a:pos x="wd2" y="hd2"/>
                </a:cxn>
                <a:cxn ang="16200000">
                  <a:pos x="wd2" y="hd2"/>
                </a:cxn>
              </a:cxnLst>
              <a:rect l="0" t="0" r="r" b="b"/>
              <a:pathLst>
                <a:path w="21600" h="21435" extrusionOk="0">
                  <a:moveTo>
                    <a:pt x="0" y="21303"/>
                  </a:moveTo>
                  <a:cubicBezTo>
                    <a:pt x="0" y="21303"/>
                    <a:pt x="9425" y="21600"/>
                    <a:pt x="9691" y="21303"/>
                  </a:cubicBezTo>
                  <a:cubicBezTo>
                    <a:pt x="9956" y="21006"/>
                    <a:pt x="8230" y="8301"/>
                    <a:pt x="8629" y="8064"/>
                  </a:cubicBezTo>
                  <a:cubicBezTo>
                    <a:pt x="9027" y="7826"/>
                    <a:pt x="21600" y="0"/>
                    <a:pt x="21600"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23" name="Line">
              <a:extLst>
                <a:ext uri="{FF2B5EF4-FFF2-40B4-BE49-F238E27FC236}">
                  <a16:creationId xmlns:a16="http://schemas.microsoft.com/office/drawing/2014/main" id="{CC94F9C1-5876-2C45-8EBA-10034B655F06}"/>
                </a:ext>
              </a:extLst>
            </p:cNvPr>
            <p:cNvSpPr/>
            <p:nvPr/>
          </p:nvSpPr>
          <p:spPr>
            <a:xfrm>
              <a:off x="12331699" y="9702800"/>
              <a:ext cx="1025486" cy="1200674"/>
            </a:xfrm>
            <a:custGeom>
              <a:avLst/>
              <a:gdLst/>
              <a:ahLst/>
              <a:cxnLst>
                <a:cxn ang="0">
                  <a:pos x="wd2" y="hd2"/>
                </a:cxn>
                <a:cxn ang="5400000">
                  <a:pos x="wd2" y="hd2"/>
                </a:cxn>
                <a:cxn ang="10800000">
                  <a:pos x="wd2" y="hd2"/>
                </a:cxn>
                <a:cxn ang="16200000">
                  <a:pos x="wd2" y="hd2"/>
                </a:cxn>
              </a:cxnLst>
              <a:rect l="0" t="0" r="r" b="b"/>
              <a:pathLst>
                <a:path w="21557" h="21600" extrusionOk="0">
                  <a:moveTo>
                    <a:pt x="21557" y="21600"/>
                  </a:moveTo>
                  <a:cubicBezTo>
                    <a:pt x="21557" y="21600"/>
                    <a:pt x="20647" y="18738"/>
                    <a:pt x="20469" y="18567"/>
                  </a:cubicBezTo>
                  <a:cubicBezTo>
                    <a:pt x="20291" y="18396"/>
                    <a:pt x="16531" y="17063"/>
                    <a:pt x="16375" y="16949"/>
                  </a:cubicBezTo>
                  <a:cubicBezTo>
                    <a:pt x="16220" y="16834"/>
                    <a:pt x="16754" y="16320"/>
                    <a:pt x="16731" y="16206"/>
                  </a:cubicBezTo>
                  <a:cubicBezTo>
                    <a:pt x="16709" y="16092"/>
                    <a:pt x="15397" y="15083"/>
                    <a:pt x="15374" y="14988"/>
                  </a:cubicBezTo>
                  <a:cubicBezTo>
                    <a:pt x="15352" y="14892"/>
                    <a:pt x="15886" y="14473"/>
                    <a:pt x="15908" y="14397"/>
                  </a:cubicBezTo>
                  <a:cubicBezTo>
                    <a:pt x="15931" y="14321"/>
                    <a:pt x="9724" y="10704"/>
                    <a:pt x="9457" y="10323"/>
                  </a:cubicBezTo>
                  <a:cubicBezTo>
                    <a:pt x="9190" y="9942"/>
                    <a:pt x="10257" y="8990"/>
                    <a:pt x="10080" y="8800"/>
                  </a:cubicBezTo>
                  <a:cubicBezTo>
                    <a:pt x="9902" y="8609"/>
                    <a:pt x="7899" y="6972"/>
                    <a:pt x="7499" y="6972"/>
                  </a:cubicBezTo>
                  <a:cubicBezTo>
                    <a:pt x="7098" y="6972"/>
                    <a:pt x="4740" y="6667"/>
                    <a:pt x="4429" y="6553"/>
                  </a:cubicBezTo>
                  <a:cubicBezTo>
                    <a:pt x="4117" y="6439"/>
                    <a:pt x="4518" y="4763"/>
                    <a:pt x="4206" y="4725"/>
                  </a:cubicBezTo>
                  <a:cubicBezTo>
                    <a:pt x="3895" y="4687"/>
                    <a:pt x="914" y="4535"/>
                    <a:pt x="691" y="4535"/>
                  </a:cubicBezTo>
                  <a:cubicBezTo>
                    <a:pt x="469" y="4535"/>
                    <a:pt x="380" y="3983"/>
                    <a:pt x="446" y="3830"/>
                  </a:cubicBezTo>
                  <a:cubicBezTo>
                    <a:pt x="513" y="3678"/>
                    <a:pt x="780" y="3374"/>
                    <a:pt x="802" y="3297"/>
                  </a:cubicBezTo>
                  <a:cubicBezTo>
                    <a:pt x="825" y="3221"/>
                    <a:pt x="46" y="3088"/>
                    <a:pt x="2" y="2898"/>
                  </a:cubicBezTo>
                  <a:cubicBezTo>
                    <a:pt x="-43" y="2707"/>
                    <a:pt x="1114" y="1965"/>
                    <a:pt x="1158" y="1850"/>
                  </a:cubicBezTo>
                  <a:cubicBezTo>
                    <a:pt x="1203" y="1736"/>
                    <a:pt x="1342" y="0"/>
                    <a:pt x="1342" y="0"/>
                  </a:cubicBezTo>
                </a:path>
              </a:pathLst>
            </a:custGeom>
            <a:grpFill/>
            <a:ln w="3175">
              <a:solidFill>
                <a:schemeClr val="bg1"/>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sz="3000"/>
            </a:p>
          </p:txBody>
        </p:sp>
        <p:sp>
          <p:nvSpPr>
            <p:cNvPr id="124" name="Line">
              <a:extLst>
                <a:ext uri="{FF2B5EF4-FFF2-40B4-BE49-F238E27FC236}">
                  <a16:creationId xmlns:a16="http://schemas.microsoft.com/office/drawing/2014/main" id="{697699EE-C580-A649-90CA-B3BF91A6A73E}"/>
                </a:ext>
              </a:extLst>
            </p:cNvPr>
            <p:cNvSpPr/>
            <p:nvPr/>
          </p:nvSpPr>
          <p:spPr>
            <a:xfrm>
              <a:off x="2834629" y="4796529"/>
              <a:ext cx="1232482" cy="1"/>
            </a:xfrm>
            <a:prstGeom prst="line">
              <a:avLst/>
            </a:prstGeom>
            <a:grpFill/>
            <a:ln w="3175">
              <a:solidFill>
                <a:schemeClr val="bg1"/>
              </a:solidFill>
              <a:miter lim="400000"/>
            </a:ln>
          </p:spPr>
          <p:txBody>
            <a:bodyPr lIns="0" tIns="0" rIns="0" bIns="0"/>
            <a:lstStyle/>
            <a:p>
              <a:pPr algn="l">
                <a:defRPr sz="1200">
                  <a:latin typeface="Helvetica"/>
                  <a:ea typeface="Helvetica"/>
                  <a:cs typeface="Helvetica"/>
                  <a:sym typeface="Helvetica"/>
                </a:defRPr>
              </a:pPr>
              <a:endParaRPr sz="1200"/>
            </a:p>
          </p:txBody>
        </p:sp>
      </p:grpSp>
    </p:spTree>
    <p:extLst>
      <p:ext uri="{BB962C8B-B14F-4D97-AF65-F5344CB8AC3E}">
        <p14:creationId xmlns:p14="http://schemas.microsoft.com/office/powerpoint/2010/main" val="40572758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565804A-820F-CE4A-9013-9DA08611B251}"/>
              </a:ext>
            </a:extLst>
          </p:cNvPr>
          <p:cNvSpPr/>
          <p:nvPr/>
        </p:nvSpPr>
        <p:spPr>
          <a:xfrm>
            <a:off x="641684" y="1299411"/>
            <a:ext cx="7365857" cy="4876800"/>
          </a:xfrm>
          <a:prstGeom prst="rect">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224AFBC2-A31F-D047-9568-6B8546C18F33}"/>
              </a:ext>
            </a:extLst>
          </p:cNvPr>
          <p:cNvGrpSpPr/>
          <p:nvPr/>
        </p:nvGrpSpPr>
        <p:grpSpPr>
          <a:xfrm>
            <a:off x="641684" y="1299411"/>
            <a:ext cx="7365857" cy="4876800"/>
            <a:chOff x="0" y="0"/>
            <a:chExt cx="9144000" cy="6858000"/>
          </a:xfrm>
        </p:grpSpPr>
        <p:cxnSp>
          <p:nvCxnSpPr>
            <p:cNvPr id="14" name="Straight Connector 13">
              <a:extLst>
                <a:ext uri="{FF2B5EF4-FFF2-40B4-BE49-F238E27FC236}">
                  <a16:creationId xmlns:a16="http://schemas.microsoft.com/office/drawing/2014/main" id="{31ADEC0E-5FAC-5245-97B4-C00E675BD46D}"/>
                </a:ext>
              </a:extLst>
            </p:cNvPr>
            <p:cNvCxnSpPr/>
            <p:nvPr userDrawn="1"/>
          </p:nvCxnSpPr>
          <p:spPr>
            <a:xfrm>
              <a:off x="8001000" y="0"/>
              <a:ext cx="0" cy="6858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FD6348B6-D494-1C45-9351-7476E008F5DD}"/>
                </a:ext>
              </a:extLst>
            </p:cNvPr>
            <p:cNvCxnSpPr/>
            <p:nvPr userDrawn="1"/>
          </p:nvCxnSpPr>
          <p:spPr>
            <a:xfrm>
              <a:off x="6858000" y="0"/>
              <a:ext cx="0" cy="6858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144E3940-BC84-4A4A-AC2C-DD31A1DEE602}"/>
                </a:ext>
              </a:extLst>
            </p:cNvPr>
            <p:cNvCxnSpPr/>
            <p:nvPr userDrawn="1"/>
          </p:nvCxnSpPr>
          <p:spPr>
            <a:xfrm>
              <a:off x="5715000" y="0"/>
              <a:ext cx="0" cy="6858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0D9FE8C2-088E-1E4B-83AE-8DEDE7EACCF6}"/>
                </a:ext>
              </a:extLst>
            </p:cNvPr>
            <p:cNvCxnSpPr/>
            <p:nvPr userDrawn="1"/>
          </p:nvCxnSpPr>
          <p:spPr>
            <a:xfrm>
              <a:off x="4572000" y="0"/>
              <a:ext cx="0" cy="6858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65B41101-AC84-0D46-9165-892B4988C6A9}"/>
                </a:ext>
              </a:extLst>
            </p:cNvPr>
            <p:cNvCxnSpPr/>
            <p:nvPr userDrawn="1"/>
          </p:nvCxnSpPr>
          <p:spPr>
            <a:xfrm>
              <a:off x="3429000" y="0"/>
              <a:ext cx="0" cy="6858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B800FC7B-D1A0-2F4E-9747-947A1B4820CF}"/>
                </a:ext>
              </a:extLst>
            </p:cNvPr>
            <p:cNvCxnSpPr/>
            <p:nvPr userDrawn="1"/>
          </p:nvCxnSpPr>
          <p:spPr>
            <a:xfrm>
              <a:off x="2286000" y="0"/>
              <a:ext cx="0" cy="6858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702159A1-F70C-9646-BFD7-B200CF95D14E}"/>
                </a:ext>
              </a:extLst>
            </p:cNvPr>
            <p:cNvCxnSpPr/>
            <p:nvPr userDrawn="1"/>
          </p:nvCxnSpPr>
          <p:spPr>
            <a:xfrm>
              <a:off x="1143000" y="0"/>
              <a:ext cx="0" cy="6858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00058325-DAE9-A042-9422-71794B727C59}"/>
                </a:ext>
              </a:extLst>
            </p:cNvPr>
            <p:cNvCxnSpPr/>
            <p:nvPr userDrawn="1"/>
          </p:nvCxnSpPr>
          <p:spPr>
            <a:xfrm rot="16200000">
              <a:off x="4572000" y="-3437467"/>
              <a:ext cx="0" cy="9144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3C17A9BF-BC68-1446-AED2-E6BEEB8FB402}"/>
                </a:ext>
              </a:extLst>
            </p:cNvPr>
            <p:cNvCxnSpPr/>
            <p:nvPr userDrawn="1"/>
          </p:nvCxnSpPr>
          <p:spPr>
            <a:xfrm rot="16200000">
              <a:off x="4572000" y="-2294467"/>
              <a:ext cx="0" cy="9144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ACF7D3D6-C7BB-C24A-A2AA-0435072C1D85}"/>
                </a:ext>
              </a:extLst>
            </p:cNvPr>
            <p:cNvCxnSpPr/>
            <p:nvPr userDrawn="1"/>
          </p:nvCxnSpPr>
          <p:spPr>
            <a:xfrm rot="16200000">
              <a:off x="4572000" y="-1151467"/>
              <a:ext cx="0" cy="9144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526EB887-D2AC-CE4A-AE16-9C626844EFF4}"/>
                </a:ext>
              </a:extLst>
            </p:cNvPr>
            <p:cNvCxnSpPr/>
            <p:nvPr userDrawn="1"/>
          </p:nvCxnSpPr>
          <p:spPr>
            <a:xfrm rot="16200000">
              <a:off x="4572000" y="-8467"/>
              <a:ext cx="0" cy="9144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47919499-C725-B44E-9732-311B5BB6B098}"/>
                </a:ext>
              </a:extLst>
            </p:cNvPr>
            <p:cNvCxnSpPr/>
            <p:nvPr userDrawn="1"/>
          </p:nvCxnSpPr>
          <p:spPr>
            <a:xfrm rot="16200000">
              <a:off x="4572000" y="1134533"/>
              <a:ext cx="0" cy="9144000"/>
            </a:xfrm>
            <a:prstGeom prst="line">
              <a:avLst/>
            </a:prstGeom>
            <a:ln w="6350" cmpd="sng">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p:nvPr>
        </p:nvSpPr>
        <p:spPr/>
        <p:txBody>
          <a:bodyPr/>
          <a:lstStyle/>
          <a:p>
            <a:r>
              <a:rPr lang="en-US"/>
              <a:t>Gradients</a:t>
            </a:r>
            <a:endParaRPr lang="en-US" dirty="0"/>
          </a:p>
        </p:txBody>
      </p:sp>
      <p:sp>
        <p:nvSpPr>
          <p:cNvPr id="15" name="Rectangle 14"/>
          <p:cNvSpPr/>
          <p:nvPr/>
        </p:nvSpPr>
        <p:spPr>
          <a:xfrm>
            <a:off x="1011068" y="3836469"/>
            <a:ext cx="3165355" cy="2063940"/>
          </a:xfrm>
          <a:prstGeom prst="rect">
            <a:avLst/>
          </a:prstGeom>
          <a:gradFill flip="none" rotWithShape="1">
            <a:gsLst>
              <a:gs pos="0">
                <a:srgbClr val="000000"/>
              </a:gs>
              <a:gs pos="100000">
                <a:schemeClr val="tx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sp>
        <p:nvSpPr>
          <p:cNvPr id="5" name="Rectangle 4"/>
          <p:cNvSpPr/>
          <p:nvPr/>
        </p:nvSpPr>
        <p:spPr>
          <a:xfrm rot="5400000">
            <a:off x="1558174" y="1013501"/>
            <a:ext cx="2071142" cy="3165355"/>
          </a:xfrm>
          <a:prstGeom prst="rect">
            <a:avLst/>
          </a:prstGeom>
          <a:gradFill flip="none" rotWithShape="1">
            <a:gsLst>
              <a:gs pos="0">
                <a:srgbClr val="000000"/>
              </a:gs>
              <a:gs pos="99000">
                <a:schemeClr val="tx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sp>
        <p:nvSpPr>
          <p:cNvPr id="18" name="Rectangle 17"/>
          <p:cNvSpPr/>
          <p:nvPr/>
        </p:nvSpPr>
        <p:spPr>
          <a:xfrm rot="10800000" flipH="1">
            <a:off x="4493633" y="3836469"/>
            <a:ext cx="3165354" cy="2063940"/>
          </a:xfrm>
          <a:prstGeom prst="rect">
            <a:avLst/>
          </a:prstGeom>
          <a:gradFill flip="none" rotWithShape="1">
            <a:gsLst>
              <a:gs pos="0">
                <a:schemeClr val="bg1"/>
              </a:gs>
              <a:gs pos="99000">
                <a:schemeClr val="bg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sp>
        <p:nvSpPr>
          <p:cNvPr id="6" name="Rectangle 5"/>
          <p:cNvSpPr/>
          <p:nvPr/>
        </p:nvSpPr>
        <p:spPr>
          <a:xfrm rot="5400000">
            <a:off x="5040739" y="1013504"/>
            <a:ext cx="2071143" cy="3165355"/>
          </a:xfrm>
          <a:prstGeom prst="rect">
            <a:avLst/>
          </a:prstGeom>
          <a:gradFill flip="none" rotWithShape="1">
            <a:gsLst>
              <a:gs pos="0">
                <a:schemeClr val="bg1"/>
              </a:gs>
              <a:gs pos="100000">
                <a:schemeClr val="bg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grpSp>
        <p:nvGrpSpPr>
          <p:cNvPr id="12" name="Group 11">
            <a:extLst>
              <a:ext uri="{FF2B5EF4-FFF2-40B4-BE49-F238E27FC236}">
                <a16:creationId xmlns:a16="http://schemas.microsoft.com/office/drawing/2014/main" id="{79017AD5-E099-3F4C-86B5-316DAC7ADF8D}"/>
              </a:ext>
            </a:extLst>
          </p:cNvPr>
          <p:cNvGrpSpPr/>
          <p:nvPr/>
        </p:nvGrpSpPr>
        <p:grpSpPr>
          <a:xfrm>
            <a:off x="8502868" y="2488452"/>
            <a:ext cx="3207869" cy="2028827"/>
            <a:chOff x="8550994" y="2071360"/>
            <a:chExt cx="4026017" cy="2546267"/>
          </a:xfrm>
        </p:grpSpPr>
        <p:pic>
          <p:nvPicPr>
            <p:cNvPr id="8" name="Picture 7" descr="shutterstock_60146710.jpg">
              <a:extLst>
                <a:ext uri="{FF2B5EF4-FFF2-40B4-BE49-F238E27FC236}">
                  <a16:creationId xmlns:a16="http://schemas.microsoft.com/office/drawing/2014/main" id="{19D1F3A6-47BC-374A-A4FE-1B5B0E1EDDB7}"/>
                </a:ext>
              </a:extLst>
            </p:cNvPr>
            <p:cNvPicPr>
              <a:picLocks noChangeAspect="1"/>
            </p:cNvPicPr>
            <p:nvPr/>
          </p:nvPicPr>
          <p:blipFill rotWithShape="1">
            <a:blip r:embed="rId2" cstate="screen">
              <a:extLst>
                <a:ext uri="{BEBA8EAE-BF5A-486C-A8C5-ECC9F3942E4B}">
                  <a14:imgProps xmlns:a14="http://schemas.microsoft.com/office/drawing/2010/main">
                    <a14:imgLayer r:embed="rId3">
                      <a14:imgEffect>
                        <a14:brightnessContrast bright="27000"/>
                      </a14:imgEffect>
                    </a14:imgLayer>
                  </a14:imgProps>
                </a:ext>
                <a:ext uri="{28A0092B-C50C-407E-A947-70E740481C1C}">
                  <a14:useLocalDpi xmlns:a14="http://schemas.microsoft.com/office/drawing/2010/main"/>
                </a:ext>
              </a:extLst>
            </a:blip>
            <a:srcRect/>
            <a:stretch/>
          </p:blipFill>
          <p:spPr>
            <a:xfrm>
              <a:off x="8550994" y="2071360"/>
              <a:ext cx="4026017" cy="2382562"/>
            </a:xfrm>
            <a:prstGeom prst="rect">
              <a:avLst/>
            </a:prstGeom>
          </p:spPr>
        </p:pic>
        <p:sp>
          <p:nvSpPr>
            <p:cNvPr id="11" name="Rectangle 10">
              <a:extLst>
                <a:ext uri="{FF2B5EF4-FFF2-40B4-BE49-F238E27FC236}">
                  <a16:creationId xmlns:a16="http://schemas.microsoft.com/office/drawing/2014/main" id="{67F56C8E-F09C-1243-9DE0-686370077513}"/>
                </a:ext>
              </a:extLst>
            </p:cNvPr>
            <p:cNvSpPr/>
            <p:nvPr/>
          </p:nvSpPr>
          <p:spPr>
            <a:xfrm>
              <a:off x="8726714" y="2235065"/>
              <a:ext cx="3482564" cy="2382562"/>
            </a:xfrm>
            <a:prstGeom prst="rect">
              <a:avLst/>
            </a:prstGeom>
            <a:gradFill flip="none" rotWithShape="1">
              <a:gsLst>
                <a:gs pos="0">
                  <a:srgbClr val="000000"/>
                </a:gs>
                <a:gs pos="100000">
                  <a:schemeClr val="tx1">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grpSp>
      <p:sp>
        <p:nvSpPr>
          <p:cNvPr id="29" name="Title 2">
            <a:extLst>
              <a:ext uri="{FF2B5EF4-FFF2-40B4-BE49-F238E27FC236}">
                <a16:creationId xmlns:a16="http://schemas.microsoft.com/office/drawing/2014/main" id="{7BA74E71-B49C-414D-B60A-75366C54E4E6}"/>
              </a:ext>
            </a:extLst>
          </p:cNvPr>
          <p:cNvSpPr txBox="1">
            <a:spLocks/>
          </p:cNvSpPr>
          <p:nvPr/>
        </p:nvSpPr>
        <p:spPr>
          <a:xfrm>
            <a:off x="8312157" y="4889623"/>
            <a:ext cx="3532550" cy="419629"/>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US" sz="2000" b="0" i="0" kern="1200">
                <a:solidFill>
                  <a:srgbClr val="7F7F7F"/>
                </a:solidFill>
                <a:latin typeface="Tw Cen MT Regular"/>
                <a:ea typeface="+mj-ea"/>
                <a:cs typeface="Gill Sans"/>
              </a:defRPr>
            </a:lvl1pPr>
          </a:lstStyle>
          <a:p>
            <a:pPr algn="ctr"/>
            <a:r>
              <a:rPr lang="en-US" sz="1600" i="1" dirty="0"/>
              <a:t>Place over an image to fade an image </a:t>
            </a:r>
            <a:br>
              <a:rPr lang="en-US" sz="1600" i="1" dirty="0"/>
            </a:br>
            <a:r>
              <a:rPr lang="en-US" sz="1600" i="1" dirty="0"/>
              <a:t>into the background of your slide </a:t>
            </a:r>
            <a:br>
              <a:rPr lang="en-US" sz="1600" i="1" dirty="0"/>
            </a:br>
            <a:r>
              <a:rPr lang="en-US" sz="1600" i="1" dirty="0"/>
              <a:t>and/or to allow for textual content </a:t>
            </a:r>
            <a:br>
              <a:rPr lang="en-US" sz="1600" i="1" dirty="0"/>
            </a:br>
            <a:r>
              <a:rPr lang="en-US" sz="1600" i="1" dirty="0"/>
              <a:t>on top of the image</a:t>
            </a:r>
          </a:p>
        </p:txBody>
      </p:sp>
      <p:sp>
        <p:nvSpPr>
          <p:cNvPr id="30" name="Rectangle 29">
            <a:extLst>
              <a:ext uri="{FF2B5EF4-FFF2-40B4-BE49-F238E27FC236}">
                <a16:creationId xmlns:a16="http://schemas.microsoft.com/office/drawing/2014/main" id="{A0C8F2D0-4498-294F-A692-E714E603747D}"/>
              </a:ext>
            </a:extLst>
          </p:cNvPr>
          <p:cNvSpPr>
            <a:spLocks/>
          </p:cNvSpPr>
          <p:nvPr/>
        </p:nvSpPr>
        <p:spPr>
          <a:xfrm>
            <a:off x="8663001" y="2719458"/>
            <a:ext cx="1558063" cy="373599"/>
          </a:xfrm>
          <a:prstGeom prst="rect">
            <a:avLst/>
          </a:prstGeom>
        </p:spPr>
        <p:txBody>
          <a:bodyPr wrap="none" lIns="68235" tIns="34117" rIns="68235" bIns="34117">
            <a:spAutoFit/>
          </a:bodyPr>
          <a:lstStyle/>
          <a:p>
            <a:pPr>
              <a:lnSpc>
                <a:spcPct val="90000"/>
              </a:lnSpc>
            </a:pPr>
            <a:r>
              <a:rPr lang="en-US" sz="1100" b="1" dirty="0">
                <a:solidFill>
                  <a:schemeClr val="bg1"/>
                </a:solidFill>
                <a:effectLst>
                  <a:outerShdw blurRad="50800" dist="38100" dir="2700000" algn="tl" rotWithShape="0">
                    <a:prstClr val="black">
                      <a:alpha val="40000"/>
                    </a:prstClr>
                  </a:outerShdw>
                </a:effectLst>
                <a:latin typeface="Century Gothic"/>
                <a:cs typeface="Century Gothic"/>
              </a:rPr>
              <a:t>HIGHER EDUCATION</a:t>
            </a:r>
          </a:p>
          <a:p>
            <a:pPr>
              <a:lnSpc>
                <a:spcPct val="90000"/>
              </a:lnSpc>
            </a:pPr>
            <a:r>
              <a:rPr lang="en-US" sz="1100" i="1" dirty="0">
                <a:solidFill>
                  <a:schemeClr val="bg1"/>
                </a:solidFill>
                <a:effectLst>
                  <a:outerShdw blurRad="50800" dist="38100" dir="2700000" algn="tl" rotWithShape="0">
                    <a:prstClr val="black">
                      <a:alpha val="40000"/>
                    </a:prstClr>
                  </a:outerShdw>
                </a:effectLst>
                <a:latin typeface="Georgia"/>
                <a:cs typeface="Georgia"/>
              </a:rPr>
              <a:t>              changes lives…</a:t>
            </a:r>
          </a:p>
        </p:txBody>
      </p:sp>
    </p:spTree>
    <p:extLst>
      <p:ext uri="{BB962C8B-B14F-4D97-AF65-F5344CB8AC3E}">
        <p14:creationId xmlns:p14="http://schemas.microsoft.com/office/powerpoint/2010/main" val="38155831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E46A9-B53B-3341-8C91-A189CBE0A07E}"/>
              </a:ext>
            </a:extLst>
          </p:cNvPr>
          <p:cNvSpPr>
            <a:spLocks noGrp="1"/>
          </p:cNvSpPr>
          <p:nvPr>
            <p:ph type="title"/>
          </p:nvPr>
        </p:nvSpPr>
        <p:spPr/>
        <p:txBody>
          <a:bodyPr/>
          <a:lstStyle/>
          <a:p>
            <a:r>
              <a:rPr lang="en-US" dirty="0"/>
              <a:t>Latin America</a:t>
            </a:r>
          </a:p>
        </p:txBody>
      </p:sp>
      <p:grpSp>
        <p:nvGrpSpPr>
          <p:cNvPr id="3" name="Group 2">
            <a:extLst>
              <a:ext uri="{FF2B5EF4-FFF2-40B4-BE49-F238E27FC236}">
                <a16:creationId xmlns:a16="http://schemas.microsoft.com/office/drawing/2014/main" id="{0E21FD40-0DCB-8945-874D-C545D4C40C2D}"/>
              </a:ext>
            </a:extLst>
          </p:cNvPr>
          <p:cNvGrpSpPr/>
          <p:nvPr/>
        </p:nvGrpSpPr>
        <p:grpSpPr>
          <a:xfrm>
            <a:off x="4225905" y="993287"/>
            <a:ext cx="3740190" cy="5200264"/>
            <a:chOff x="2108160" y="3880603"/>
            <a:chExt cx="1383598" cy="1923719"/>
          </a:xfrm>
          <a:solidFill>
            <a:schemeClr val="bg1">
              <a:lumMod val="75000"/>
            </a:schemeClr>
          </a:solidFill>
        </p:grpSpPr>
        <p:sp>
          <p:nvSpPr>
            <p:cNvPr id="4" name="Freeform 284">
              <a:extLst>
                <a:ext uri="{FF2B5EF4-FFF2-40B4-BE49-F238E27FC236}">
                  <a16:creationId xmlns:a16="http://schemas.microsoft.com/office/drawing/2014/main" id="{1A1DA592-3FEF-E54B-84BB-EE86BBCA335C}"/>
                </a:ext>
              </a:extLst>
            </p:cNvPr>
            <p:cNvSpPr>
              <a:spLocks/>
            </p:cNvSpPr>
            <p:nvPr/>
          </p:nvSpPr>
          <p:spPr bwMode="auto">
            <a:xfrm>
              <a:off x="2168832" y="3964951"/>
              <a:ext cx="54753" cy="31076"/>
            </a:xfrm>
            <a:custGeom>
              <a:avLst/>
              <a:gdLst/>
              <a:ahLst/>
              <a:cxnLst>
                <a:cxn ang="0">
                  <a:pos x="36" y="8"/>
                </a:cxn>
                <a:cxn ang="0">
                  <a:pos x="36" y="8"/>
                </a:cxn>
                <a:cxn ang="0">
                  <a:pos x="33" y="7"/>
                </a:cxn>
                <a:cxn ang="0">
                  <a:pos x="29" y="7"/>
                </a:cxn>
                <a:cxn ang="0">
                  <a:pos x="24" y="5"/>
                </a:cxn>
                <a:cxn ang="0">
                  <a:pos x="19" y="4"/>
                </a:cxn>
                <a:cxn ang="0">
                  <a:pos x="19" y="4"/>
                </a:cxn>
                <a:cxn ang="0">
                  <a:pos x="12" y="0"/>
                </a:cxn>
                <a:cxn ang="0">
                  <a:pos x="12" y="0"/>
                </a:cxn>
                <a:cxn ang="0">
                  <a:pos x="12" y="1"/>
                </a:cxn>
                <a:cxn ang="0">
                  <a:pos x="12" y="1"/>
                </a:cxn>
                <a:cxn ang="0">
                  <a:pos x="7" y="4"/>
                </a:cxn>
                <a:cxn ang="0">
                  <a:pos x="0" y="10"/>
                </a:cxn>
                <a:cxn ang="0">
                  <a:pos x="0" y="10"/>
                </a:cxn>
                <a:cxn ang="0">
                  <a:pos x="6" y="14"/>
                </a:cxn>
                <a:cxn ang="0">
                  <a:pos x="16" y="17"/>
                </a:cxn>
                <a:cxn ang="0">
                  <a:pos x="24" y="20"/>
                </a:cxn>
                <a:cxn ang="0">
                  <a:pos x="31" y="21"/>
                </a:cxn>
                <a:cxn ang="0">
                  <a:pos x="31" y="21"/>
                </a:cxn>
                <a:cxn ang="0">
                  <a:pos x="34" y="20"/>
                </a:cxn>
                <a:cxn ang="0">
                  <a:pos x="36" y="18"/>
                </a:cxn>
                <a:cxn ang="0">
                  <a:pos x="36" y="18"/>
                </a:cxn>
                <a:cxn ang="0">
                  <a:pos x="37" y="12"/>
                </a:cxn>
                <a:cxn ang="0">
                  <a:pos x="36" y="8"/>
                </a:cxn>
                <a:cxn ang="0">
                  <a:pos x="36" y="8"/>
                </a:cxn>
              </a:cxnLst>
              <a:rect l="0" t="0" r="r" b="b"/>
              <a:pathLst>
                <a:path w="37" h="21">
                  <a:moveTo>
                    <a:pt x="36" y="8"/>
                  </a:moveTo>
                  <a:lnTo>
                    <a:pt x="36" y="8"/>
                  </a:lnTo>
                  <a:lnTo>
                    <a:pt x="33" y="7"/>
                  </a:lnTo>
                  <a:lnTo>
                    <a:pt x="29" y="7"/>
                  </a:lnTo>
                  <a:lnTo>
                    <a:pt x="24" y="5"/>
                  </a:lnTo>
                  <a:lnTo>
                    <a:pt x="19" y="4"/>
                  </a:lnTo>
                  <a:lnTo>
                    <a:pt x="19" y="4"/>
                  </a:lnTo>
                  <a:lnTo>
                    <a:pt x="12" y="0"/>
                  </a:lnTo>
                  <a:lnTo>
                    <a:pt x="12" y="0"/>
                  </a:lnTo>
                  <a:lnTo>
                    <a:pt x="12" y="1"/>
                  </a:lnTo>
                  <a:lnTo>
                    <a:pt x="12" y="1"/>
                  </a:lnTo>
                  <a:lnTo>
                    <a:pt x="7" y="4"/>
                  </a:lnTo>
                  <a:lnTo>
                    <a:pt x="0" y="10"/>
                  </a:lnTo>
                  <a:lnTo>
                    <a:pt x="0" y="10"/>
                  </a:lnTo>
                  <a:lnTo>
                    <a:pt x="6" y="14"/>
                  </a:lnTo>
                  <a:lnTo>
                    <a:pt x="16" y="17"/>
                  </a:lnTo>
                  <a:lnTo>
                    <a:pt x="24" y="20"/>
                  </a:lnTo>
                  <a:lnTo>
                    <a:pt x="31" y="21"/>
                  </a:lnTo>
                  <a:lnTo>
                    <a:pt x="31" y="21"/>
                  </a:lnTo>
                  <a:lnTo>
                    <a:pt x="34" y="20"/>
                  </a:lnTo>
                  <a:lnTo>
                    <a:pt x="36" y="18"/>
                  </a:lnTo>
                  <a:lnTo>
                    <a:pt x="36" y="18"/>
                  </a:lnTo>
                  <a:lnTo>
                    <a:pt x="37" y="12"/>
                  </a:lnTo>
                  <a:lnTo>
                    <a:pt x="36" y="8"/>
                  </a:lnTo>
                  <a:lnTo>
                    <a:pt x="36" y="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5" name="Freeform 285">
              <a:extLst>
                <a:ext uri="{FF2B5EF4-FFF2-40B4-BE49-F238E27FC236}">
                  <a16:creationId xmlns:a16="http://schemas.microsoft.com/office/drawing/2014/main" id="{723166C6-D306-7042-8EF7-E8BB7F3891C4}"/>
                </a:ext>
              </a:extLst>
            </p:cNvPr>
            <p:cNvSpPr>
              <a:spLocks/>
            </p:cNvSpPr>
            <p:nvPr/>
          </p:nvSpPr>
          <p:spPr bwMode="auto">
            <a:xfrm>
              <a:off x="2186588" y="3924995"/>
              <a:ext cx="145019" cy="75470"/>
            </a:xfrm>
            <a:custGeom>
              <a:avLst/>
              <a:gdLst/>
              <a:ahLst/>
              <a:cxnLst>
                <a:cxn ang="0">
                  <a:pos x="41" y="45"/>
                </a:cxn>
                <a:cxn ang="0">
                  <a:pos x="42" y="37"/>
                </a:cxn>
                <a:cxn ang="0">
                  <a:pos x="46" y="35"/>
                </a:cxn>
                <a:cxn ang="0">
                  <a:pos x="52" y="35"/>
                </a:cxn>
                <a:cxn ang="0">
                  <a:pos x="62" y="31"/>
                </a:cxn>
                <a:cxn ang="0">
                  <a:pos x="64" y="28"/>
                </a:cxn>
                <a:cxn ang="0">
                  <a:pos x="66" y="25"/>
                </a:cxn>
                <a:cxn ang="0">
                  <a:pos x="79" y="25"/>
                </a:cxn>
                <a:cxn ang="0">
                  <a:pos x="86" y="21"/>
                </a:cxn>
                <a:cxn ang="0">
                  <a:pos x="98" y="17"/>
                </a:cxn>
                <a:cxn ang="0">
                  <a:pos x="98" y="15"/>
                </a:cxn>
                <a:cxn ang="0">
                  <a:pos x="92" y="11"/>
                </a:cxn>
                <a:cxn ang="0">
                  <a:pos x="81" y="4"/>
                </a:cxn>
                <a:cxn ang="0">
                  <a:pos x="76" y="2"/>
                </a:cxn>
                <a:cxn ang="0">
                  <a:pos x="64" y="0"/>
                </a:cxn>
                <a:cxn ang="0">
                  <a:pos x="46" y="4"/>
                </a:cxn>
                <a:cxn ang="0">
                  <a:pos x="39" y="5"/>
                </a:cxn>
                <a:cxn ang="0">
                  <a:pos x="24" y="4"/>
                </a:cxn>
                <a:cxn ang="0">
                  <a:pos x="17" y="5"/>
                </a:cxn>
                <a:cxn ang="0">
                  <a:pos x="15" y="5"/>
                </a:cxn>
                <a:cxn ang="0">
                  <a:pos x="7" y="15"/>
                </a:cxn>
                <a:cxn ang="0">
                  <a:pos x="4" y="18"/>
                </a:cxn>
                <a:cxn ang="0">
                  <a:pos x="1" y="25"/>
                </a:cxn>
                <a:cxn ang="0">
                  <a:pos x="0" y="27"/>
                </a:cxn>
                <a:cxn ang="0">
                  <a:pos x="7" y="31"/>
                </a:cxn>
                <a:cxn ang="0">
                  <a:pos x="17" y="34"/>
                </a:cxn>
                <a:cxn ang="0">
                  <a:pos x="24" y="35"/>
                </a:cxn>
                <a:cxn ang="0">
                  <a:pos x="25" y="39"/>
                </a:cxn>
                <a:cxn ang="0">
                  <a:pos x="24" y="45"/>
                </a:cxn>
                <a:cxn ang="0">
                  <a:pos x="29" y="45"/>
                </a:cxn>
                <a:cxn ang="0">
                  <a:pos x="31" y="48"/>
                </a:cxn>
                <a:cxn ang="0">
                  <a:pos x="36" y="49"/>
                </a:cxn>
                <a:cxn ang="0">
                  <a:pos x="41" y="45"/>
                </a:cxn>
              </a:cxnLst>
              <a:rect l="0" t="0" r="r" b="b"/>
              <a:pathLst>
                <a:path w="98" h="51">
                  <a:moveTo>
                    <a:pt x="41" y="45"/>
                  </a:moveTo>
                  <a:lnTo>
                    <a:pt x="41" y="45"/>
                  </a:lnTo>
                  <a:lnTo>
                    <a:pt x="41" y="41"/>
                  </a:lnTo>
                  <a:lnTo>
                    <a:pt x="42" y="37"/>
                  </a:lnTo>
                  <a:lnTo>
                    <a:pt x="44" y="37"/>
                  </a:lnTo>
                  <a:lnTo>
                    <a:pt x="46" y="35"/>
                  </a:lnTo>
                  <a:lnTo>
                    <a:pt x="46" y="35"/>
                  </a:lnTo>
                  <a:lnTo>
                    <a:pt x="52" y="35"/>
                  </a:lnTo>
                  <a:lnTo>
                    <a:pt x="58" y="34"/>
                  </a:lnTo>
                  <a:lnTo>
                    <a:pt x="62" y="31"/>
                  </a:lnTo>
                  <a:lnTo>
                    <a:pt x="64" y="28"/>
                  </a:lnTo>
                  <a:lnTo>
                    <a:pt x="64" y="28"/>
                  </a:lnTo>
                  <a:lnTo>
                    <a:pt x="65" y="27"/>
                  </a:lnTo>
                  <a:lnTo>
                    <a:pt x="66" y="25"/>
                  </a:lnTo>
                  <a:lnTo>
                    <a:pt x="71" y="24"/>
                  </a:lnTo>
                  <a:lnTo>
                    <a:pt x="79" y="25"/>
                  </a:lnTo>
                  <a:lnTo>
                    <a:pt x="79" y="25"/>
                  </a:lnTo>
                  <a:lnTo>
                    <a:pt x="86" y="21"/>
                  </a:lnTo>
                  <a:lnTo>
                    <a:pt x="92" y="18"/>
                  </a:lnTo>
                  <a:lnTo>
                    <a:pt x="98" y="17"/>
                  </a:lnTo>
                  <a:lnTo>
                    <a:pt x="98" y="17"/>
                  </a:lnTo>
                  <a:lnTo>
                    <a:pt x="98" y="15"/>
                  </a:lnTo>
                  <a:lnTo>
                    <a:pt x="96" y="12"/>
                  </a:lnTo>
                  <a:lnTo>
                    <a:pt x="92" y="11"/>
                  </a:lnTo>
                  <a:lnTo>
                    <a:pt x="86" y="8"/>
                  </a:lnTo>
                  <a:lnTo>
                    <a:pt x="81" y="4"/>
                  </a:lnTo>
                  <a:lnTo>
                    <a:pt x="81" y="4"/>
                  </a:lnTo>
                  <a:lnTo>
                    <a:pt x="76" y="2"/>
                  </a:lnTo>
                  <a:lnTo>
                    <a:pt x="72" y="1"/>
                  </a:lnTo>
                  <a:lnTo>
                    <a:pt x="64" y="0"/>
                  </a:lnTo>
                  <a:lnTo>
                    <a:pt x="54" y="1"/>
                  </a:lnTo>
                  <a:lnTo>
                    <a:pt x="46" y="4"/>
                  </a:lnTo>
                  <a:lnTo>
                    <a:pt x="46" y="4"/>
                  </a:lnTo>
                  <a:lnTo>
                    <a:pt x="39" y="5"/>
                  </a:lnTo>
                  <a:lnTo>
                    <a:pt x="31" y="4"/>
                  </a:lnTo>
                  <a:lnTo>
                    <a:pt x="24" y="4"/>
                  </a:lnTo>
                  <a:lnTo>
                    <a:pt x="19" y="4"/>
                  </a:lnTo>
                  <a:lnTo>
                    <a:pt x="17" y="5"/>
                  </a:lnTo>
                  <a:lnTo>
                    <a:pt x="17" y="5"/>
                  </a:lnTo>
                  <a:lnTo>
                    <a:pt x="15" y="5"/>
                  </a:lnTo>
                  <a:lnTo>
                    <a:pt x="15" y="5"/>
                  </a:lnTo>
                  <a:lnTo>
                    <a:pt x="7" y="15"/>
                  </a:lnTo>
                  <a:lnTo>
                    <a:pt x="7" y="15"/>
                  </a:lnTo>
                  <a:lnTo>
                    <a:pt x="4" y="18"/>
                  </a:lnTo>
                  <a:lnTo>
                    <a:pt x="2" y="22"/>
                  </a:lnTo>
                  <a:lnTo>
                    <a:pt x="1" y="25"/>
                  </a:lnTo>
                  <a:lnTo>
                    <a:pt x="0" y="27"/>
                  </a:lnTo>
                  <a:lnTo>
                    <a:pt x="0" y="27"/>
                  </a:lnTo>
                  <a:lnTo>
                    <a:pt x="7" y="31"/>
                  </a:lnTo>
                  <a:lnTo>
                    <a:pt x="7" y="31"/>
                  </a:lnTo>
                  <a:lnTo>
                    <a:pt x="12" y="32"/>
                  </a:lnTo>
                  <a:lnTo>
                    <a:pt x="17" y="34"/>
                  </a:lnTo>
                  <a:lnTo>
                    <a:pt x="21" y="34"/>
                  </a:lnTo>
                  <a:lnTo>
                    <a:pt x="24" y="35"/>
                  </a:lnTo>
                  <a:lnTo>
                    <a:pt x="24" y="35"/>
                  </a:lnTo>
                  <a:lnTo>
                    <a:pt x="25" y="39"/>
                  </a:lnTo>
                  <a:lnTo>
                    <a:pt x="24" y="45"/>
                  </a:lnTo>
                  <a:lnTo>
                    <a:pt x="24" y="45"/>
                  </a:lnTo>
                  <a:lnTo>
                    <a:pt x="27" y="44"/>
                  </a:lnTo>
                  <a:lnTo>
                    <a:pt x="29" y="45"/>
                  </a:lnTo>
                  <a:lnTo>
                    <a:pt x="29" y="45"/>
                  </a:lnTo>
                  <a:lnTo>
                    <a:pt x="31" y="48"/>
                  </a:lnTo>
                  <a:lnTo>
                    <a:pt x="31" y="51"/>
                  </a:lnTo>
                  <a:lnTo>
                    <a:pt x="36" y="49"/>
                  </a:lnTo>
                  <a:lnTo>
                    <a:pt x="36" y="49"/>
                  </a:lnTo>
                  <a:lnTo>
                    <a:pt x="41" y="45"/>
                  </a:lnTo>
                  <a:lnTo>
                    <a:pt x="41" y="4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6" name="Freeform 287">
              <a:extLst>
                <a:ext uri="{FF2B5EF4-FFF2-40B4-BE49-F238E27FC236}">
                  <a16:creationId xmlns:a16="http://schemas.microsoft.com/office/drawing/2014/main" id="{E28FFBB0-FD98-3D48-A654-5E0368390CD3}"/>
                </a:ext>
              </a:extLst>
            </p:cNvPr>
            <p:cNvSpPr>
              <a:spLocks/>
            </p:cNvSpPr>
            <p:nvPr/>
          </p:nvSpPr>
          <p:spPr bwMode="auto">
            <a:xfrm>
              <a:off x="2108160" y="3880603"/>
              <a:ext cx="100626" cy="99146"/>
            </a:xfrm>
            <a:custGeom>
              <a:avLst/>
              <a:gdLst/>
              <a:ahLst/>
              <a:cxnLst>
                <a:cxn ang="0">
                  <a:pos x="60" y="45"/>
                </a:cxn>
                <a:cxn ang="0">
                  <a:pos x="60" y="45"/>
                </a:cxn>
                <a:cxn ang="0">
                  <a:pos x="68" y="35"/>
                </a:cxn>
                <a:cxn ang="0">
                  <a:pos x="68" y="35"/>
                </a:cxn>
                <a:cxn ang="0">
                  <a:pos x="65" y="37"/>
                </a:cxn>
                <a:cxn ang="0">
                  <a:pos x="62" y="37"/>
                </a:cxn>
                <a:cxn ang="0">
                  <a:pos x="62" y="35"/>
                </a:cxn>
                <a:cxn ang="0">
                  <a:pos x="62" y="32"/>
                </a:cxn>
                <a:cxn ang="0">
                  <a:pos x="54" y="32"/>
                </a:cxn>
                <a:cxn ang="0">
                  <a:pos x="55" y="1"/>
                </a:cxn>
                <a:cxn ang="0">
                  <a:pos x="55" y="1"/>
                </a:cxn>
                <a:cxn ang="0">
                  <a:pos x="28" y="0"/>
                </a:cxn>
                <a:cxn ang="0">
                  <a:pos x="28" y="0"/>
                </a:cxn>
                <a:cxn ang="0">
                  <a:pos x="27" y="3"/>
                </a:cxn>
                <a:cxn ang="0">
                  <a:pos x="25" y="5"/>
                </a:cxn>
                <a:cxn ang="0">
                  <a:pos x="24" y="10"/>
                </a:cxn>
                <a:cxn ang="0">
                  <a:pos x="23" y="13"/>
                </a:cxn>
                <a:cxn ang="0">
                  <a:pos x="23" y="13"/>
                </a:cxn>
                <a:cxn ang="0">
                  <a:pos x="24" y="14"/>
                </a:cxn>
                <a:cxn ang="0">
                  <a:pos x="28" y="18"/>
                </a:cxn>
                <a:cxn ang="0">
                  <a:pos x="33" y="24"/>
                </a:cxn>
                <a:cxn ang="0">
                  <a:pos x="34" y="25"/>
                </a:cxn>
                <a:cxn ang="0">
                  <a:pos x="34" y="28"/>
                </a:cxn>
                <a:cxn ang="0">
                  <a:pos x="34" y="28"/>
                </a:cxn>
                <a:cxn ang="0">
                  <a:pos x="33" y="30"/>
                </a:cxn>
                <a:cxn ang="0">
                  <a:pos x="31" y="30"/>
                </a:cxn>
                <a:cxn ang="0">
                  <a:pos x="24" y="31"/>
                </a:cxn>
                <a:cxn ang="0">
                  <a:pos x="13" y="30"/>
                </a:cxn>
                <a:cxn ang="0">
                  <a:pos x="13" y="30"/>
                </a:cxn>
                <a:cxn ang="0">
                  <a:pos x="0" y="48"/>
                </a:cxn>
                <a:cxn ang="0">
                  <a:pos x="0" y="48"/>
                </a:cxn>
                <a:cxn ang="0">
                  <a:pos x="10" y="57"/>
                </a:cxn>
                <a:cxn ang="0">
                  <a:pos x="18" y="62"/>
                </a:cxn>
                <a:cxn ang="0">
                  <a:pos x="18" y="62"/>
                </a:cxn>
                <a:cxn ang="0">
                  <a:pos x="24" y="64"/>
                </a:cxn>
                <a:cxn ang="0">
                  <a:pos x="30" y="65"/>
                </a:cxn>
                <a:cxn ang="0">
                  <a:pos x="35" y="65"/>
                </a:cxn>
                <a:cxn ang="0">
                  <a:pos x="40" y="67"/>
                </a:cxn>
                <a:cxn ang="0">
                  <a:pos x="40" y="67"/>
                </a:cxn>
                <a:cxn ang="0">
                  <a:pos x="41" y="67"/>
                </a:cxn>
                <a:cxn ang="0">
                  <a:pos x="41" y="67"/>
                </a:cxn>
                <a:cxn ang="0">
                  <a:pos x="48" y="61"/>
                </a:cxn>
                <a:cxn ang="0">
                  <a:pos x="53" y="58"/>
                </a:cxn>
                <a:cxn ang="0">
                  <a:pos x="53" y="58"/>
                </a:cxn>
                <a:cxn ang="0">
                  <a:pos x="54" y="55"/>
                </a:cxn>
                <a:cxn ang="0">
                  <a:pos x="55" y="52"/>
                </a:cxn>
                <a:cxn ang="0">
                  <a:pos x="57" y="50"/>
                </a:cxn>
                <a:cxn ang="0">
                  <a:pos x="60" y="45"/>
                </a:cxn>
                <a:cxn ang="0">
                  <a:pos x="60" y="45"/>
                </a:cxn>
              </a:cxnLst>
              <a:rect l="0" t="0" r="r" b="b"/>
              <a:pathLst>
                <a:path w="68" h="67">
                  <a:moveTo>
                    <a:pt x="60" y="45"/>
                  </a:moveTo>
                  <a:lnTo>
                    <a:pt x="60" y="45"/>
                  </a:lnTo>
                  <a:lnTo>
                    <a:pt x="68" y="35"/>
                  </a:lnTo>
                  <a:lnTo>
                    <a:pt x="68" y="35"/>
                  </a:lnTo>
                  <a:lnTo>
                    <a:pt x="65" y="37"/>
                  </a:lnTo>
                  <a:lnTo>
                    <a:pt x="62" y="37"/>
                  </a:lnTo>
                  <a:lnTo>
                    <a:pt x="62" y="35"/>
                  </a:lnTo>
                  <a:lnTo>
                    <a:pt x="62" y="32"/>
                  </a:lnTo>
                  <a:lnTo>
                    <a:pt x="54" y="32"/>
                  </a:lnTo>
                  <a:lnTo>
                    <a:pt x="55" y="1"/>
                  </a:lnTo>
                  <a:lnTo>
                    <a:pt x="55" y="1"/>
                  </a:lnTo>
                  <a:lnTo>
                    <a:pt x="28" y="0"/>
                  </a:lnTo>
                  <a:lnTo>
                    <a:pt x="28" y="0"/>
                  </a:lnTo>
                  <a:lnTo>
                    <a:pt x="27" y="3"/>
                  </a:lnTo>
                  <a:lnTo>
                    <a:pt x="25" y="5"/>
                  </a:lnTo>
                  <a:lnTo>
                    <a:pt x="24" y="10"/>
                  </a:lnTo>
                  <a:lnTo>
                    <a:pt x="23" y="13"/>
                  </a:lnTo>
                  <a:lnTo>
                    <a:pt x="23" y="13"/>
                  </a:lnTo>
                  <a:lnTo>
                    <a:pt x="24" y="14"/>
                  </a:lnTo>
                  <a:lnTo>
                    <a:pt x="28" y="18"/>
                  </a:lnTo>
                  <a:lnTo>
                    <a:pt x="33" y="24"/>
                  </a:lnTo>
                  <a:lnTo>
                    <a:pt x="34" y="25"/>
                  </a:lnTo>
                  <a:lnTo>
                    <a:pt x="34" y="28"/>
                  </a:lnTo>
                  <a:lnTo>
                    <a:pt x="34" y="28"/>
                  </a:lnTo>
                  <a:lnTo>
                    <a:pt x="33" y="30"/>
                  </a:lnTo>
                  <a:lnTo>
                    <a:pt x="31" y="30"/>
                  </a:lnTo>
                  <a:lnTo>
                    <a:pt x="24" y="31"/>
                  </a:lnTo>
                  <a:lnTo>
                    <a:pt x="13" y="30"/>
                  </a:lnTo>
                  <a:lnTo>
                    <a:pt x="13" y="30"/>
                  </a:lnTo>
                  <a:lnTo>
                    <a:pt x="0" y="48"/>
                  </a:lnTo>
                  <a:lnTo>
                    <a:pt x="0" y="48"/>
                  </a:lnTo>
                  <a:lnTo>
                    <a:pt x="10" y="57"/>
                  </a:lnTo>
                  <a:lnTo>
                    <a:pt x="18" y="62"/>
                  </a:lnTo>
                  <a:lnTo>
                    <a:pt x="18" y="62"/>
                  </a:lnTo>
                  <a:lnTo>
                    <a:pt x="24" y="64"/>
                  </a:lnTo>
                  <a:lnTo>
                    <a:pt x="30" y="65"/>
                  </a:lnTo>
                  <a:lnTo>
                    <a:pt x="35" y="65"/>
                  </a:lnTo>
                  <a:lnTo>
                    <a:pt x="40" y="67"/>
                  </a:lnTo>
                  <a:lnTo>
                    <a:pt x="40" y="67"/>
                  </a:lnTo>
                  <a:lnTo>
                    <a:pt x="41" y="67"/>
                  </a:lnTo>
                  <a:lnTo>
                    <a:pt x="41" y="67"/>
                  </a:lnTo>
                  <a:lnTo>
                    <a:pt x="48" y="61"/>
                  </a:lnTo>
                  <a:lnTo>
                    <a:pt x="53" y="58"/>
                  </a:lnTo>
                  <a:lnTo>
                    <a:pt x="53" y="58"/>
                  </a:lnTo>
                  <a:lnTo>
                    <a:pt x="54" y="55"/>
                  </a:lnTo>
                  <a:lnTo>
                    <a:pt x="55" y="52"/>
                  </a:lnTo>
                  <a:lnTo>
                    <a:pt x="57" y="50"/>
                  </a:lnTo>
                  <a:lnTo>
                    <a:pt x="60" y="45"/>
                  </a:lnTo>
                  <a:lnTo>
                    <a:pt x="60" y="4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7" name="Freeform 291">
              <a:extLst>
                <a:ext uri="{FF2B5EF4-FFF2-40B4-BE49-F238E27FC236}">
                  <a16:creationId xmlns:a16="http://schemas.microsoft.com/office/drawing/2014/main" id="{7A0AFC1B-E41F-244F-B4E1-B98A1D5560BB}"/>
                </a:ext>
              </a:extLst>
            </p:cNvPr>
            <p:cNvSpPr>
              <a:spLocks/>
            </p:cNvSpPr>
            <p:nvPr/>
          </p:nvSpPr>
          <p:spPr bwMode="auto">
            <a:xfrm>
              <a:off x="2232462" y="3950153"/>
              <a:ext cx="99146" cy="102106"/>
            </a:xfrm>
            <a:custGeom>
              <a:avLst/>
              <a:gdLst/>
              <a:ahLst/>
              <a:cxnLst>
                <a:cxn ang="0">
                  <a:pos x="35" y="67"/>
                </a:cxn>
                <a:cxn ang="0">
                  <a:pos x="44" y="68"/>
                </a:cxn>
                <a:cxn ang="0">
                  <a:pos x="51" y="69"/>
                </a:cxn>
                <a:cxn ang="0">
                  <a:pos x="55" y="69"/>
                </a:cxn>
                <a:cxn ang="0">
                  <a:pos x="60" y="69"/>
                </a:cxn>
                <a:cxn ang="0">
                  <a:pos x="57" y="67"/>
                </a:cxn>
                <a:cxn ang="0">
                  <a:pos x="58" y="57"/>
                </a:cxn>
                <a:cxn ang="0">
                  <a:pos x="61" y="45"/>
                </a:cxn>
                <a:cxn ang="0">
                  <a:pos x="61" y="31"/>
                </a:cxn>
                <a:cxn ang="0">
                  <a:pos x="62" y="21"/>
                </a:cxn>
                <a:cxn ang="0">
                  <a:pos x="64" y="18"/>
                </a:cxn>
                <a:cxn ang="0">
                  <a:pos x="65" y="13"/>
                </a:cxn>
                <a:cxn ang="0">
                  <a:pos x="67" y="1"/>
                </a:cxn>
                <a:cxn ang="0">
                  <a:pos x="67" y="0"/>
                </a:cxn>
                <a:cxn ang="0">
                  <a:pos x="55" y="4"/>
                </a:cxn>
                <a:cxn ang="0">
                  <a:pos x="48" y="8"/>
                </a:cxn>
                <a:cxn ang="0">
                  <a:pos x="35" y="8"/>
                </a:cxn>
                <a:cxn ang="0">
                  <a:pos x="33" y="11"/>
                </a:cxn>
                <a:cxn ang="0">
                  <a:pos x="31" y="14"/>
                </a:cxn>
                <a:cxn ang="0">
                  <a:pos x="21" y="18"/>
                </a:cxn>
                <a:cxn ang="0">
                  <a:pos x="15" y="18"/>
                </a:cxn>
                <a:cxn ang="0">
                  <a:pos x="11" y="20"/>
                </a:cxn>
                <a:cxn ang="0">
                  <a:pos x="10" y="28"/>
                </a:cxn>
                <a:cxn ang="0">
                  <a:pos x="5" y="32"/>
                </a:cxn>
                <a:cxn ang="0">
                  <a:pos x="0" y="34"/>
                </a:cxn>
                <a:cxn ang="0">
                  <a:pos x="1" y="41"/>
                </a:cxn>
                <a:cxn ang="0">
                  <a:pos x="7" y="44"/>
                </a:cxn>
                <a:cxn ang="0">
                  <a:pos x="17" y="55"/>
                </a:cxn>
                <a:cxn ang="0">
                  <a:pos x="21" y="59"/>
                </a:cxn>
                <a:cxn ang="0">
                  <a:pos x="27" y="65"/>
                </a:cxn>
                <a:cxn ang="0">
                  <a:pos x="31" y="65"/>
                </a:cxn>
                <a:cxn ang="0">
                  <a:pos x="35" y="67"/>
                </a:cxn>
              </a:cxnLst>
              <a:rect l="0" t="0" r="r" b="b"/>
              <a:pathLst>
                <a:path w="67" h="69">
                  <a:moveTo>
                    <a:pt x="35" y="67"/>
                  </a:moveTo>
                  <a:lnTo>
                    <a:pt x="35" y="67"/>
                  </a:lnTo>
                  <a:lnTo>
                    <a:pt x="40" y="67"/>
                  </a:lnTo>
                  <a:lnTo>
                    <a:pt x="44" y="68"/>
                  </a:lnTo>
                  <a:lnTo>
                    <a:pt x="48" y="68"/>
                  </a:lnTo>
                  <a:lnTo>
                    <a:pt x="51" y="69"/>
                  </a:lnTo>
                  <a:lnTo>
                    <a:pt x="51" y="69"/>
                  </a:lnTo>
                  <a:lnTo>
                    <a:pt x="55" y="69"/>
                  </a:lnTo>
                  <a:lnTo>
                    <a:pt x="60" y="69"/>
                  </a:lnTo>
                  <a:lnTo>
                    <a:pt x="60" y="69"/>
                  </a:lnTo>
                  <a:lnTo>
                    <a:pt x="57" y="67"/>
                  </a:lnTo>
                  <a:lnTo>
                    <a:pt x="57" y="67"/>
                  </a:lnTo>
                  <a:lnTo>
                    <a:pt x="57" y="62"/>
                  </a:lnTo>
                  <a:lnTo>
                    <a:pt x="58" y="57"/>
                  </a:lnTo>
                  <a:lnTo>
                    <a:pt x="61" y="45"/>
                  </a:lnTo>
                  <a:lnTo>
                    <a:pt x="61" y="45"/>
                  </a:lnTo>
                  <a:lnTo>
                    <a:pt x="62" y="40"/>
                  </a:lnTo>
                  <a:lnTo>
                    <a:pt x="61" y="31"/>
                  </a:lnTo>
                  <a:lnTo>
                    <a:pt x="61" y="24"/>
                  </a:lnTo>
                  <a:lnTo>
                    <a:pt x="62" y="21"/>
                  </a:lnTo>
                  <a:lnTo>
                    <a:pt x="64" y="18"/>
                  </a:lnTo>
                  <a:lnTo>
                    <a:pt x="64" y="18"/>
                  </a:lnTo>
                  <a:lnTo>
                    <a:pt x="65" y="15"/>
                  </a:lnTo>
                  <a:lnTo>
                    <a:pt x="65" y="13"/>
                  </a:lnTo>
                  <a:lnTo>
                    <a:pt x="67" y="1"/>
                  </a:lnTo>
                  <a:lnTo>
                    <a:pt x="67" y="1"/>
                  </a:lnTo>
                  <a:lnTo>
                    <a:pt x="67" y="0"/>
                  </a:lnTo>
                  <a:lnTo>
                    <a:pt x="67" y="0"/>
                  </a:lnTo>
                  <a:lnTo>
                    <a:pt x="61" y="1"/>
                  </a:lnTo>
                  <a:lnTo>
                    <a:pt x="55" y="4"/>
                  </a:lnTo>
                  <a:lnTo>
                    <a:pt x="48" y="8"/>
                  </a:lnTo>
                  <a:lnTo>
                    <a:pt x="48" y="8"/>
                  </a:lnTo>
                  <a:lnTo>
                    <a:pt x="40" y="7"/>
                  </a:lnTo>
                  <a:lnTo>
                    <a:pt x="35" y="8"/>
                  </a:lnTo>
                  <a:lnTo>
                    <a:pt x="34" y="10"/>
                  </a:lnTo>
                  <a:lnTo>
                    <a:pt x="33" y="11"/>
                  </a:lnTo>
                  <a:lnTo>
                    <a:pt x="33" y="11"/>
                  </a:lnTo>
                  <a:lnTo>
                    <a:pt x="31" y="14"/>
                  </a:lnTo>
                  <a:lnTo>
                    <a:pt x="27" y="17"/>
                  </a:lnTo>
                  <a:lnTo>
                    <a:pt x="21" y="18"/>
                  </a:lnTo>
                  <a:lnTo>
                    <a:pt x="15" y="18"/>
                  </a:lnTo>
                  <a:lnTo>
                    <a:pt x="15" y="18"/>
                  </a:lnTo>
                  <a:lnTo>
                    <a:pt x="13" y="20"/>
                  </a:lnTo>
                  <a:lnTo>
                    <a:pt x="11" y="20"/>
                  </a:lnTo>
                  <a:lnTo>
                    <a:pt x="10" y="24"/>
                  </a:lnTo>
                  <a:lnTo>
                    <a:pt x="10" y="28"/>
                  </a:lnTo>
                  <a:lnTo>
                    <a:pt x="10" y="28"/>
                  </a:lnTo>
                  <a:lnTo>
                    <a:pt x="5" y="32"/>
                  </a:lnTo>
                  <a:lnTo>
                    <a:pt x="0" y="34"/>
                  </a:lnTo>
                  <a:lnTo>
                    <a:pt x="0" y="34"/>
                  </a:lnTo>
                  <a:lnTo>
                    <a:pt x="0" y="38"/>
                  </a:lnTo>
                  <a:lnTo>
                    <a:pt x="1" y="41"/>
                  </a:lnTo>
                  <a:lnTo>
                    <a:pt x="1" y="41"/>
                  </a:lnTo>
                  <a:lnTo>
                    <a:pt x="7" y="44"/>
                  </a:lnTo>
                  <a:lnTo>
                    <a:pt x="11" y="49"/>
                  </a:lnTo>
                  <a:lnTo>
                    <a:pt x="17" y="55"/>
                  </a:lnTo>
                  <a:lnTo>
                    <a:pt x="21" y="59"/>
                  </a:lnTo>
                  <a:lnTo>
                    <a:pt x="21" y="59"/>
                  </a:lnTo>
                  <a:lnTo>
                    <a:pt x="25" y="62"/>
                  </a:lnTo>
                  <a:lnTo>
                    <a:pt x="27" y="65"/>
                  </a:lnTo>
                  <a:lnTo>
                    <a:pt x="27" y="65"/>
                  </a:lnTo>
                  <a:lnTo>
                    <a:pt x="31" y="65"/>
                  </a:lnTo>
                  <a:lnTo>
                    <a:pt x="35" y="67"/>
                  </a:lnTo>
                  <a:lnTo>
                    <a:pt x="35" y="6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8" name="Freeform 292">
              <a:extLst>
                <a:ext uri="{FF2B5EF4-FFF2-40B4-BE49-F238E27FC236}">
                  <a16:creationId xmlns:a16="http://schemas.microsoft.com/office/drawing/2014/main" id="{ED12C25B-01F6-364F-80D2-62716840D774}"/>
                </a:ext>
              </a:extLst>
            </p:cNvPr>
            <p:cNvSpPr>
              <a:spLocks/>
            </p:cNvSpPr>
            <p:nvPr/>
          </p:nvSpPr>
          <p:spPr bwMode="auto">
            <a:xfrm>
              <a:off x="2553575" y="4189877"/>
              <a:ext cx="938183" cy="963340"/>
            </a:xfrm>
            <a:custGeom>
              <a:avLst/>
              <a:gdLst/>
              <a:ahLst/>
              <a:cxnLst>
                <a:cxn ang="0">
                  <a:pos x="358" y="604"/>
                </a:cxn>
                <a:cxn ang="0">
                  <a:pos x="373" y="587"/>
                </a:cxn>
                <a:cxn ang="0">
                  <a:pos x="389" y="576"/>
                </a:cxn>
                <a:cxn ang="0">
                  <a:pos x="409" y="536"/>
                </a:cxn>
                <a:cxn ang="0">
                  <a:pos x="423" y="496"/>
                </a:cxn>
                <a:cxn ang="0">
                  <a:pos x="464" y="471"/>
                </a:cxn>
                <a:cxn ang="0">
                  <a:pos x="517" y="461"/>
                </a:cxn>
                <a:cxn ang="0">
                  <a:pos x="534" y="439"/>
                </a:cxn>
                <a:cxn ang="0">
                  <a:pos x="548" y="407"/>
                </a:cxn>
                <a:cxn ang="0">
                  <a:pos x="564" y="373"/>
                </a:cxn>
                <a:cxn ang="0">
                  <a:pos x="565" y="307"/>
                </a:cxn>
                <a:cxn ang="0">
                  <a:pos x="571" y="287"/>
                </a:cxn>
                <a:cxn ang="0">
                  <a:pos x="601" y="256"/>
                </a:cxn>
                <a:cxn ang="0">
                  <a:pos x="631" y="185"/>
                </a:cxn>
                <a:cxn ang="0">
                  <a:pos x="575" y="145"/>
                </a:cxn>
                <a:cxn ang="0">
                  <a:pos x="520" y="131"/>
                </a:cxn>
                <a:cxn ang="0">
                  <a:pos x="474" y="134"/>
                </a:cxn>
                <a:cxn ang="0">
                  <a:pos x="441" y="95"/>
                </a:cxn>
                <a:cxn ang="0">
                  <a:pos x="410" y="107"/>
                </a:cxn>
                <a:cxn ang="0">
                  <a:pos x="399" y="111"/>
                </a:cxn>
                <a:cxn ang="0">
                  <a:pos x="380" y="84"/>
                </a:cxn>
                <a:cxn ang="0">
                  <a:pos x="367" y="88"/>
                </a:cxn>
                <a:cxn ang="0">
                  <a:pos x="387" y="54"/>
                </a:cxn>
                <a:cxn ang="0">
                  <a:pos x="355" y="28"/>
                </a:cxn>
                <a:cxn ang="0">
                  <a:pos x="316" y="47"/>
                </a:cxn>
                <a:cxn ang="0">
                  <a:pos x="289" y="53"/>
                </a:cxn>
                <a:cxn ang="0">
                  <a:pos x="262" y="57"/>
                </a:cxn>
                <a:cxn ang="0">
                  <a:pos x="234" y="54"/>
                </a:cxn>
                <a:cxn ang="0">
                  <a:pos x="229" y="13"/>
                </a:cxn>
                <a:cxn ang="0">
                  <a:pos x="214" y="6"/>
                </a:cxn>
                <a:cxn ang="0">
                  <a:pos x="181" y="23"/>
                </a:cxn>
                <a:cxn ang="0">
                  <a:pos x="161" y="17"/>
                </a:cxn>
                <a:cxn ang="0">
                  <a:pos x="157" y="34"/>
                </a:cxn>
                <a:cxn ang="0">
                  <a:pos x="170" y="48"/>
                </a:cxn>
                <a:cxn ang="0">
                  <a:pos x="147" y="64"/>
                </a:cxn>
                <a:cxn ang="0">
                  <a:pos x="124" y="71"/>
                </a:cxn>
                <a:cxn ang="0">
                  <a:pos x="76" y="55"/>
                </a:cxn>
                <a:cxn ang="0">
                  <a:pos x="76" y="70"/>
                </a:cxn>
                <a:cxn ang="0">
                  <a:pos x="72" y="101"/>
                </a:cxn>
                <a:cxn ang="0">
                  <a:pos x="63" y="151"/>
                </a:cxn>
                <a:cxn ang="0">
                  <a:pos x="25" y="162"/>
                </a:cxn>
                <a:cxn ang="0">
                  <a:pos x="9" y="189"/>
                </a:cxn>
                <a:cxn ang="0">
                  <a:pos x="6" y="216"/>
                </a:cxn>
                <a:cxn ang="0">
                  <a:pos x="22" y="236"/>
                </a:cxn>
                <a:cxn ang="0">
                  <a:pos x="47" y="240"/>
                </a:cxn>
                <a:cxn ang="0">
                  <a:pos x="67" y="262"/>
                </a:cxn>
                <a:cxn ang="0">
                  <a:pos x="106" y="253"/>
                </a:cxn>
                <a:cxn ang="0">
                  <a:pos x="138" y="259"/>
                </a:cxn>
                <a:cxn ang="0">
                  <a:pos x="170" y="289"/>
                </a:cxn>
                <a:cxn ang="0">
                  <a:pos x="195" y="301"/>
                </a:cxn>
                <a:cxn ang="0">
                  <a:pos x="218" y="317"/>
                </a:cxn>
                <a:cxn ang="0">
                  <a:pos x="222" y="343"/>
                </a:cxn>
                <a:cxn ang="0">
                  <a:pos x="255" y="363"/>
                </a:cxn>
                <a:cxn ang="0">
                  <a:pos x="259" y="401"/>
                </a:cxn>
                <a:cxn ang="0">
                  <a:pos x="261" y="430"/>
                </a:cxn>
                <a:cxn ang="0">
                  <a:pos x="282" y="448"/>
                </a:cxn>
                <a:cxn ang="0">
                  <a:pos x="301" y="479"/>
                </a:cxn>
                <a:cxn ang="0">
                  <a:pos x="319" y="505"/>
                </a:cxn>
                <a:cxn ang="0">
                  <a:pos x="306" y="542"/>
                </a:cxn>
                <a:cxn ang="0">
                  <a:pos x="272" y="586"/>
                </a:cxn>
                <a:cxn ang="0">
                  <a:pos x="294" y="600"/>
                </a:cxn>
                <a:cxn ang="0">
                  <a:pos x="328" y="627"/>
                </a:cxn>
              </a:cxnLst>
              <a:rect l="0" t="0" r="r" b="b"/>
              <a:pathLst>
                <a:path w="634" h="651">
                  <a:moveTo>
                    <a:pt x="338" y="644"/>
                  </a:moveTo>
                  <a:lnTo>
                    <a:pt x="338" y="644"/>
                  </a:lnTo>
                  <a:lnTo>
                    <a:pt x="343" y="639"/>
                  </a:lnTo>
                  <a:lnTo>
                    <a:pt x="346" y="634"/>
                  </a:lnTo>
                  <a:lnTo>
                    <a:pt x="348" y="630"/>
                  </a:lnTo>
                  <a:lnTo>
                    <a:pt x="349" y="624"/>
                  </a:lnTo>
                  <a:lnTo>
                    <a:pt x="349" y="624"/>
                  </a:lnTo>
                  <a:lnTo>
                    <a:pt x="352" y="619"/>
                  </a:lnTo>
                  <a:lnTo>
                    <a:pt x="353" y="614"/>
                  </a:lnTo>
                  <a:lnTo>
                    <a:pt x="355" y="610"/>
                  </a:lnTo>
                  <a:lnTo>
                    <a:pt x="358" y="604"/>
                  </a:lnTo>
                  <a:lnTo>
                    <a:pt x="358" y="604"/>
                  </a:lnTo>
                  <a:lnTo>
                    <a:pt x="360" y="602"/>
                  </a:lnTo>
                  <a:lnTo>
                    <a:pt x="362" y="600"/>
                  </a:lnTo>
                  <a:lnTo>
                    <a:pt x="362" y="595"/>
                  </a:lnTo>
                  <a:lnTo>
                    <a:pt x="362" y="592"/>
                  </a:lnTo>
                  <a:lnTo>
                    <a:pt x="363" y="589"/>
                  </a:lnTo>
                  <a:lnTo>
                    <a:pt x="366" y="587"/>
                  </a:lnTo>
                  <a:lnTo>
                    <a:pt x="366" y="587"/>
                  </a:lnTo>
                  <a:lnTo>
                    <a:pt x="370" y="586"/>
                  </a:lnTo>
                  <a:lnTo>
                    <a:pt x="372" y="586"/>
                  </a:lnTo>
                  <a:lnTo>
                    <a:pt x="373" y="587"/>
                  </a:lnTo>
                  <a:lnTo>
                    <a:pt x="373" y="589"/>
                  </a:lnTo>
                  <a:lnTo>
                    <a:pt x="372" y="595"/>
                  </a:lnTo>
                  <a:lnTo>
                    <a:pt x="367" y="602"/>
                  </a:lnTo>
                  <a:lnTo>
                    <a:pt x="367" y="602"/>
                  </a:lnTo>
                  <a:lnTo>
                    <a:pt x="360" y="612"/>
                  </a:lnTo>
                  <a:lnTo>
                    <a:pt x="362" y="612"/>
                  </a:lnTo>
                  <a:lnTo>
                    <a:pt x="367" y="607"/>
                  </a:lnTo>
                  <a:lnTo>
                    <a:pt x="367" y="607"/>
                  </a:lnTo>
                  <a:lnTo>
                    <a:pt x="375" y="602"/>
                  </a:lnTo>
                  <a:lnTo>
                    <a:pt x="380" y="593"/>
                  </a:lnTo>
                  <a:lnTo>
                    <a:pt x="389" y="576"/>
                  </a:lnTo>
                  <a:lnTo>
                    <a:pt x="389" y="576"/>
                  </a:lnTo>
                  <a:lnTo>
                    <a:pt x="393" y="569"/>
                  </a:lnTo>
                  <a:lnTo>
                    <a:pt x="397" y="563"/>
                  </a:lnTo>
                  <a:lnTo>
                    <a:pt x="400" y="560"/>
                  </a:lnTo>
                  <a:lnTo>
                    <a:pt x="404" y="559"/>
                  </a:lnTo>
                  <a:lnTo>
                    <a:pt x="404" y="559"/>
                  </a:lnTo>
                  <a:lnTo>
                    <a:pt x="406" y="559"/>
                  </a:lnTo>
                  <a:lnTo>
                    <a:pt x="407" y="556"/>
                  </a:lnTo>
                  <a:lnTo>
                    <a:pt x="409" y="550"/>
                  </a:lnTo>
                  <a:lnTo>
                    <a:pt x="409" y="536"/>
                  </a:lnTo>
                  <a:lnTo>
                    <a:pt x="409" y="536"/>
                  </a:lnTo>
                  <a:lnTo>
                    <a:pt x="407" y="523"/>
                  </a:lnTo>
                  <a:lnTo>
                    <a:pt x="407" y="518"/>
                  </a:lnTo>
                  <a:lnTo>
                    <a:pt x="410" y="512"/>
                  </a:lnTo>
                  <a:lnTo>
                    <a:pt x="410" y="512"/>
                  </a:lnTo>
                  <a:lnTo>
                    <a:pt x="412" y="508"/>
                  </a:lnTo>
                  <a:lnTo>
                    <a:pt x="412" y="503"/>
                  </a:lnTo>
                  <a:lnTo>
                    <a:pt x="412" y="502"/>
                  </a:lnTo>
                  <a:lnTo>
                    <a:pt x="414" y="501"/>
                  </a:lnTo>
                  <a:lnTo>
                    <a:pt x="414" y="501"/>
                  </a:lnTo>
                  <a:lnTo>
                    <a:pt x="419" y="499"/>
                  </a:lnTo>
                  <a:lnTo>
                    <a:pt x="423" y="496"/>
                  </a:lnTo>
                  <a:lnTo>
                    <a:pt x="434" y="485"/>
                  </a:lnTo>
                  <a:lnTo>
                    <a:pt x="434" y="485"/>
                  </a:lnTo>
                  <a:lnTo>
                    <a:pt x="440" y="481"/>
                  </a:lnTo>
                  <a:lnTo>
                    <a:pt x="446" y="478"/>
                  </a:lnTo>
                  <a:lnTo>
                    <a:pt x="450" y="476"/>
                  </a:lnTo>
                  <a:lnTo>
                    <a:pt x="456" y="476"/>
                  </a:lnTo>
                  <a:lnTo>
                    <a:pt x="456" y="476"/>
                  </a:lnTo>
                  <a:lnTo>
                    <a:pt x="460" y="475"/>
                  </a:lnTo>
                  <a:lnTo>
                    <a:pt x="461" y="474"/>
                  </a:lnTo>
                  <a:lnTo>
                    <a:pt x="463" y="472"/>
                  </a:lnTo>
                  <a:lnTo>
                    <a:pt x="464" y="471"/>
                  </a:lnTo>
                  <a:lnTo>
                    <a:pt x="464" y="471"/>
                  </a:lnTo>
                  <a:lnTo>
                    <a:pt x="468" y="469"/>
                  </a:lnTo>
                  <a:lnTo>
                    <a:pt x="471" y="466"/>
                  </a:lnTo>
                  <a:lnTo>
                    <a:pt x="477" y="461"/>
                  </a:lnTo>
                  <a:lnTo>
                    <a:pt x="477" y="461"/>
                  </a:lnTo>
                  <a:lnTo>
                    <a:pt x="481" y="461"/>
                  </a:lnTo>
                  <a:lnTo>
                    <a:pt x="488" y="461"/>
                  </a:lnTo>
                  <a:lnTo>
                    <a:pt x="504" y="462"/>
                  </a:lnTo>
                  <a:lnTo>
                    <a:pt x="504" y="462"/>
                  </a:lnTo>
                  <a:lnTo>
                    <a:pt x="514" y="461"/>
                  </a:lnTo>
                  <a:lnTo>
                    <a:pt x="517" y="461"/>
                  </a:lnTo>
                  <a:lnTo>
                    <a:pt x="518" y="457"/>
                  </a:lnTo>
                  <a:lnTo>
                    <a:pt x="518" y="457"/>
                  </a:lnTo>
                  <a:lnTo>
                    <a:pt x="518" y="454"/>
                  </a:lnTo>
                  <a:lnTo>
                    <a:pt x="521" y="451"/>
                  </a:lnTo>
                  <a:lnTo>
                    <a:pt x="524" y="448"/>
                  </a:lnTo>
                  <a:lnTo>
                    <a:pt x="527" y="448"/>
                  </a:lnTo>
                  <a:lnTo>
                    <a:pt x="527" y="448"/>
                  </a:lnTo>
                  <a:lnTo>
                    <a:pt x="530" y="447"/>
                  </a:lnTo>
                  <a:lnTo>
                    <a:pt x="533" y="447"/>
                  </a:lnTo>
                  <a:lnTo>
                    <a:pt x="534" y="444"/>
                  </a:lnTo>
                  <a:lnTo>
                    <a:pt x="534" y="439"/>
                  </a:lnTo>
                  <a:lnTo>
                    <a:pt x="534" y="439"/>
                  </a:lnTo>
                  <a:lnTo>
                    <a:pt x="534" y="434"/>
                  </a:lnTo>
                  <a:lnTo>
                    <a:pt x="535" y="431"/>
                  </a:lnTo>
                  <a:lnTo>
                    <a:pt x="538" y="427"/>
                  </a:lnTo>
                  <a:lnTo>
                    <a:pt x="541" y="424"/>
                  </a:lnTo>
                  <a:lnTo>
                    <a:pt x="541" y="424"/>
                  </a:lnTo>
                  <a:lnTo>
                    <a:pt x="542" y="421"/>
                  </a:lnTo>
                  <a:lnTo>
                    <a:pt x="545" y="418"/>
                  </a:lnTo>
                  <a:lnTo>
                    <a:pt x="547" y="410"/>
                  </a:lnTo>
                  <a:lnTo>
                    <a:pt x="547" y="410"/>
                  </a:lnTo>
                  <a:lnTo>
                    <a:pt x="548" y="407"/>
                  </a:lnTo>
                  <a:lnTo>
                    <a:pt x="551" y="405"/>
                  </a:lnTo>
                  <a:lnTo>
                    <a:pt x="552" y="404"/>
                  </a:lnTo>
                  <a:lnTo>
                    <a:pt x="552" y="401"/>
                  </a:lnTo>
                  <a:lnTo>
                    <a:pt x="552" y="401"/>
                  </a:lnTo>
                  <a:lnTo>
                    <a:pt x="554" y="391"/>
                  </a:lnTo>
                  <a:lnTo>
                    <a:pt x="555" y="381"/>
                  </a:lnTo>
                  <a:lnTo>
                    <a:pt x="555" y="381"/>
                  </a:lnTo>
                  <a:lnTo>
                    <a:pt x="557" y="378"/>
                  </a:lnTo>
                  <a:lnTo>
                    <a:pt x="558" y="377"/>
                  </a:lnTo>
                  <a:lnTo>
                    <a:pt x="561" y="375"/>
                  </a:lnTo>
                  <a:lnTo>
                    <a:pt x="564" y="373"/>
                  </a:lnTo>
                  <a:lnTo>
                    <a:pt x="564" y="373"/>
                  </a:lnTo>
                  <a:lnTo>
                    <a:pt x="564" y="370"/>
                  </a:lnTo>
                  <a:lnTo>
                    <a:pt x="564" y="365"/>
                  </a:lnTo>
                  <a:lnTo>
                    <a:pt x="564" y="360"/>
                  </a:lnTo>
                  <a:lnTo>
                    <a:pt x="565" y="353"/>
                  </a:lnTo>
                  <a:lnTo>
                    <a:pt x="565" y="353"/>
                  </a:lnTo>
                  <a:lnTo>
                    <a:pt x="567" y="344"/>
                  </a:lnTo>
                  <a:lnTo>
                    <a:pt x="567" y="337"/>
                  </a:lnTo>
                  <a:lnTo>
                    <a:pt x="565" y="321"/>
                  </a:lnTo>
                  <a:lnTo>
                    <a:pt x="565" y="321"/>
                  </a:lnTo>
                  <a:lnTo>
                    <a:pt x="565" y="307"/>
                  </a:lnTo>
                  <a:lnTo>
                    <a:pt x="567" y="301"/>
                  </a:lnTo>
                  <a:lnTo>
                    <a:pt x="569" y="299"/>
                  </a:lnTo>
                  <a:lnTo>
                    <a:pt x="569" y="299"/>
                  </a:lnTo>
                  <a:lnTo>
                    <a:pt x="571" y="296"/>
                  </a:lnTo>
                  <a:lnTo>
                    <a:pt x="571" y="294"/>
                  </a:lnTo>
                  <a:lnTo>
                    <a:pt x="568" y="292"/>
                  </a:lnTo>
                  <a:lnTo>
                    <a:pt x="568" y="292"/>
                  </a:lnTo>
                  <a:lnTo>
                    <a:pt x="567" y="290"/>
                  </a:lnTo>
                  <a:lnTo>
                    <a:pt x="567" y="289"/>
                  </a:lnTo>
                  <a:lnTo>
                    <a:pt x="569" y="287"/>
                  </a:lnTo>
                  <a:lnTo>
                    <a:pt x="571" y="287"/>
                  </a:lnTo>
                  <a:lnTo>
                    <a:pt x="571" y="287"/>
                  </a:lnTo>
                  <a:lnTo>
                    <a:pt x="575" y="290"/>
                  </a:lnTo>
                  <a:lnTo>
                    <a:pt x="578" y="292"/>
                  </a:lnTo>
                  <a:lnTo>
                    <a:pt x="581" y="290"/>
                  </a:lnTo>
                  <a:lnTo>
                    <a:pt x="581" y="290"/>
                  </a:lnTo>
                  <a:lnTo>
                    <a:pt x="584" y="287"/>
                  </a:lnTo>
                  <a:lnTo>
                    <a:pt x="588" y="280"/>
                  </a:lnTo>
                  <a:lnTo>
                    <a:pt x="594" y="266"/>
                  </a:lnTo>
                  <a:lnTo>
                    <a:pt x="594" y="266"/>
                  </a:lnTo>
                  <a:lnTo>
                    <a:pt x="597" y="260"/>
                  </a:lnTo>
                  <a:lnTo>
                    <a:pt x="601" y="256"/>
                  </a:lnTo>
                  <a:lnTo>
                    <a:pt x="609" y="253"/>
                  </a:lnTo>
                  <a:lnTo>
                    <a:pt x="609" y="253"/>
                  </a:lnTo>
                  <a:lnTo>
                    <a:pt x="614" y="250"/>
                  </a:lnTo>
                  <a:lnTo>
                    <a:pt x="619" y="243"/>
                  </a:lnTo>
                  <a:lnTo>
                    <a:pt x="625" y="235"/>
                  </a:lnTo>
                  <a:lnTo>
                    <a:pt x="631" y="222"/>
                  </a:lnTo>
                  <a:lnTo>
                    <a:pt x="631" y="222"/>
                  </a:lnTo>
                  <a:lnTo>
                    <a:pt x="634" y="216"/>
                  </a:lnTo>
                  <a:lnTo>
                    <a:pt x="634" y="209"/>
                  </a:lnTo>
                  <a:lnTo>
                    <a:pt x="634" y="196"/>
                  </a:lnTo>
                  <a:lnTo>
                    <a:pt x="631" y="185"/>
                  </a:lnTo>
                  <a:lnTo>
                    <a:pt x="628" y="175"/>
                  </a:lnTo>
                  <a:lnTo>
                    <a:pt x="628" y="175"/>
                  </a:lnTo>
                  <a:lnTo>
                    <a:pt x="625" y="169"/>
                  </a:lnTo>
                  <a:lnTo>
                    <a:pt x="622" y="166"/>
                  </a:lnTo>
                  <a:lnTo>
                    <a:pt x="619" y="166"/>
                  </a:lnTo>
                  <a:lnTo>
                    <a:pt x="614" y="166"/>
                  </a:lnTo>
                  <a:lnTo>
                    <a:pt x="614" y="166"/>
                  </a:lnTo>
                  <a:lnTo>
                    <a:pt x="608" y="166"/>
                  </a:lnTo>
                  <a:lnTo>
                    <a:pt x="599" y="163"/>
                  </a:lnTo>
                  <a:lnTo>
                    <a:pt x="588" y="156"/>
                  </a:lnTo>
                  <a:lnTo>
                    <a:pt x="575" y="145"/>
                  </a:lnTo>
                  <a:lnTo>
                    <a:pt x="575" y="145"/>
                  </a:lnTo>
                  <a:lnTo>
                    <a:pt x="569" y="139"/>
                  </a:lnTo>
                  <a:lnTo>
                    <a:pt x="562" y="135"/>
                  </a:lnTo>
                  <a:lnTo>
                    <a:pt x="557" y="132"/>
                  </a:lnTo>
                  <a:lnTo>
                    <a:pt x="550" y="129"/>
                  </a:lnTo>
                  <a:lnTo>
                    <a:pt x="544" y="129"/>
                  </a:lnTo>
                  <a:lnTo>
                    <a:pt x="538" y="129"/>
                  </a:lnTo>
                  <a:lnTo>
                    <a:pt x="528" y="131"/>
                  </a:lnTo>
                  <a:lnTo>
                    <a:pt x="528" y="131"/>
                  </a:lnTo>
                  <a:lnTo>
                    <a:pt x="524" y="132"/>
                  </a:lnTo>
                  <a:lnTo>
                    <a:pt x="520" y="131"/>
                  </a:lnTo>
                  <a:lnTo>
                    <a:pt x="511" y="129"/>
                  </a:lnTo>
                  <a:lnTo>
                    <a:pt x="504" y="126"/>
                  </a:lnTo>
                  <a:lnTo>
                    <a:pt x="497" y="124"/>
                  </a:lnTo>
                  <a:lnTo>
                    <a:pt x="497" y="124"/>
                  </a:lnTo>
                  <a:lnTo>
                    <a:pt x="494" y="124"/>
                  </a:lnTo>
                  <a:lnTo>
                    <a:pt x="491" y="124"/>
                  </a:lnTo>
                  <a:lnTo>
                    <a:pt x="486" y="128"/>
                  </a:lnTo>
                  <a:lnTo>
                    <a:pt x="481" y="131"/>
                  </a:lnTo>
                  <a:lnTo>
                    <a:pt x="476" y="134"/>
                  </a:lnTo>
                  <a:lnTo>
                    <a:pt x="476" y="134"/>
                  </a:lnTo>
                  <a:lnTo>
                    <a:pt x="474" y="134"/>
                  </a:lnTo>
                  <a:lnTo>
                    <a:pt x="474" y="134"/>
                  </a:lnTo>
                  <a:lnTo>
                    <a:pt x="476" y="129"/>
                  </a:lnTo>
                  <a:lnTo>
                    <a:pt x="478" y="124"/>
                  </a:lnTo>
                  <a:lnTo>
                    <a:pt x="480" y="118"/>
                  </a:lnTo>
                  <a:lnTo>
                    <a:pt x="480" y="118"/>
                  </a:lnTo>
                  <a:lnTo>
                    <a:pt x="478" y="117"/>
                  </a:lnTo>
                  <a:lnTo>
                    <a:pt x="476" y="114"/>
                  </a:lnTo>
                  <a:lnTo>
                    <a:pt x="467" y="107"/>
                  </a:lnTo>
                  <a:lnTo>
                    <a:pt x="454" y="101"/>
                  </a:lnTo>
                  <a:lnTo>
                    <a:pt x="441" y="95"/>
                  </a:lnTo>
                  <a:lnTo>
                    <a:pt x="441" y="95"/>
                  </a:lnTo>
                  <a:lnTo>
                    <a:pt x="432" y="92"/>
                  </a:lnTo>
                  <a:lnTo>
                    <a:pt x="427" y="92"/>
                  </a:lnTo>
                  <a:lnTo>
                    <a:pt x="424" y="94"/>
                  </a:lnTo>
                  <a:lnTo>
                    <a:pt x="422" y="94"/>
                  </a:lnTo>
                  <a:lnTo>
                    <a:pt x="420" y="97"/>
                  </a:lnTo>
                  <a:lnTo>
                    <a:pt x="419" y="102"/>
                  </a:lnTo>
                  <a:lnTo>
                    <a:pt x="419" y="102"/>
                  </a:lnTo>
                  <a:lnTo>
                    <a:pt x="417" y="105"/>
                  </a:lnTo>
                  <a:lnTo>
                    <a:pt x="417" y="107"/>
                  </a:lnTo>
                  <a:lnTo>
                    <a:pt x="414" y="107"/>
                  </a:lnTo>
                  <a:lnTo>
                    <a:pt x="410" y="107"/>
                  </a:lnTo>
                  <a:lnTo>
                    <a:pt x="409" y="108"/>
                  </a:lnTo>
                  <a:lnTo>
                    <a:pt x="407" y="111"/>
                  </a:lnTo>
                  <a:lnTo>
                    <a:pt x="407" y="111"/>
                  </a:lnTo>
                  <a:lnTo>
                    <a:pt x="404" y="114"/>
                  </a:lnTo>
                  <a:lnTo>
                    <a:pt x="403" y="117"/>
                  </a:lnTo>
                  <a:lnTo>
                    <a:pt x="400" y="117"/>
                  </a:lnTo>
                  <a:lnTo>
                    <a:pt x="399" y="117"/>
                  </a:lnTo>
                  <a:lnTo>
                    <a:pt x="396" y="114"/>
                  </a:lnTo>
                  <a:lnTo>
                    <a:pt x="397" y="112"/>
                  </a:lnTo>
                  <a:lnTo>
                    <a:pt x="399" y="111"/>
                  </a:lnTo>
                  <a:lnTo>
                    <a:pt x="399" y="111"/>
                  </a:lnTo>
                  <a:lnTo>
                    <a:pt x="403" y="108"/>
                  </a:lnTo>
                  <a:lnTo>
                    <a:pt x="407" y="104"/>
                  </a:lnTo>
                  <a:lnTo>
                    <a:pt x="410" y="98"/>
                  </a:lnTo>
                  <a:lnTo>
                    <a:pt x="413" y="92"/>
                  </a:lnTo>
                  <a:lnTo>
                    <a:pt x="413" y="92"/>
                  </a:lnTo>
                  <a:lnTo>
                    <a:pt x="412" y="90"/>
                  </a:lnTo>
                  <a:lnTo>
                    <a:pt x="410" y="88"/>
                  </a:lnTo>
                  <a:lnTo>
                    <a:pt x="400" y="84"/>
                  </a:lnTo>
                  <a:lnTo>
                    <a:pt x="389" y="82"/>
                  </a:lnTo>
                  <a:lnTo>
                    <a:pt x="385" y="84"/>
                  </a:lnTo>
                  <a:lnTo>
                    <a:pt x="380" y="84"/>
                  </a:lnTo>
                  <a:lnTo>
                    <a:pt x="380" y="84"/>
                  </a:lnTo>
                  <a:lnTo>
                    <a:pt x="377" y="85"/>
                  </a:lnTo>
                  <a:lnTo>
                    <a:pt x="376" y="88"/>
                  </a:lnTo>
                  <a:lnTo>
                    <a:pt x="375" y="94"/>
                  </a:lnTo>
                  <a:lnTo>
                    <a:pt x="373" y="97"/>
                  </a:lnTo>
                  <a:lnTo>
                    <a:pt x="372" y="97"/>
                  </a:lnTo>
                  <a:lnTo>
                    <a:pt x="370" y="97"/>
                  </a:lnTo>
                  <a:lnTo>
                    <a:pt x="370" y="97"/>
                  </a:lnTo>
                  <a:lnTo>
                    <a:pt x="367" y="95"/>
                  </a:lnTo>
                  <a:lnTo>
                    <a:pt x="366" y="92"/>
                  </a:lnTo>
                  <a:lnTo>
                    <a:pt x="367" y="88"/>
                  </a:lnTo>
                  <a:lnTo>
                    <a:pt x="370" y="85"/>
                  </a:lnTo>
                  <a:lnTo>
                    <a:pt x="375" y="84"/>
                  </a:lnTo>
                  <a:lnTo>
                    <a:pt x="375" y="84"/>
                  </a:lnTo>
                  <a:lnTo>
                    <a:pt x="376" y="82"/>
                  </a:lnTo>
                  <a:lnTo>
                    <a:pt x="379" y="81"/>
                  </a:lnTo>
                  <a:lnTo>
                    <a:pt x="383" y="77"/>
                  </a:lnTo>
                  <a:lnTo>
                    <a:pt x="390" y="64"/>
                  </a:lnTo>
                  <a:lnTo>
                    <a:pt x="390" y="64"/>
                  </a:lnTo>
                  <a:lnTo>
                    <a:pt x="390" y="61"/>
                  </a:lnTo>
                  <a:lnTo>
                    <a:pt x="390" y="58"/>
                  </a:lnTo>
                  <a:lnTo>
                    <a:pt x="387" y="54"/>
                  </a:lnTo>
                  <a:lnTo>
                    <a:pt x="382" y="51"/>
                  </a:lnTo>
                  <a:lnTo>
                    <a:pt x="377" y="47"/>
                  </a:lnTo>
                  <a:lnTo>
                    <a:pt x="377" y="47"/>
                  </a:lnTo>
                  <a:lnTo>
                    <a:pt x="375" y="43"/>
                  </a:lnTo>
                  <a:lnTo>
                    <a:pt x="373" y="40"/>
                  </a:lnTo>
                  <a:lnTo>
                    <a:pt x="372" y="30"/>
                  </a:lnTo>
                  <a:lnTo>
                    <a:pt x="369" y="21"/>
                  </a:lnTo>
                  <a:lnTo>
                    <a:pt x="367" y="17"/>
                  </a:lnTo>
                  <a:lnTo>
                    <a:pt x="366" y="16"/>
                  </a:lnTo>
                  <a:lnTo>
                    <a:pt x="366" y="16"/>
                  </a:lnTo>
                  <a:lnTo>
                    <a:pt x="355" y="28"/>
                  </a:lnTo>
                  <a:lnTo>
                    <a:pt x="349" y="35"/>
                  </a:lnTo>
                  <a:lnTo>
                    <a:pt x="346" y="41"/>
                  </a:lnTo>
                  <a:lnTo>
                    <a:pt x="346" y="41"/>
                  </a:lnTo>
                  <a:lnTo>
                    <a:pt x="343" y="45"/>
                  </a:lnTo>
                  <a:lnTo>
                    <a:pt x="340" y="47"/>
                  </a:lnTo>
                  <a:lnTo>
                    <a:pt x="336" y="47"/>
                  </a:lnTo>
                  <a:lnTo>
                    <a:pt x="329" y="48"/>
                  </a:lnTo>
                  <a:lnTo>
                    <a:pt x="329" y="48"/>
                  </a:lnTo>
                  <a:lnTo>
                    <a:pt x="323" y="50"/>
                  </a:lnTo>
                  <a:lnTo>
                    <a:pt x="319" y="48"/>
                  </a:lnTo>
                  <a:lnTo>
                    <a:pt x="316" y="47"/>
                  </a:lnTo>
                  <a:lnTo>
                    <a:pt x="313" y="44"/>
                  </a:lnTo>
                  <a:lnTo>
                    <a:pt x="313" y="44"/>
                  </a:lnTo>
                  <a:lnTo>
                    <a:pt x="311" y="43"/>
                  </a:lnTo>
                  <a:lnTo>
                    <a:pt x="306" y="43"/>
                  </a:lnTo>
                  <a:lnTo>
                    <a:pt x="296" y="43"/>
                  </a:lnTo>
                  <a:lnTo>
                    <a:pt x="296" y="43"/>
                  </a:lnTo>
                  <a:lnTo>
                    <a:pt x="294" y="43"/>
                  </a:lnTo>
                  <a:lnTo>
                    <a:pt x="292" y="44"/>
                  </a:lnTo>
                  <a:lnTo>
                    <a:pt x="292" y="47"/>
                  </a:lnTo>
                  <a:lnTo>
                    <a:pt x="291" y="51"/>
                  </a:lnTo>
                  <a:lnTo>
                    <a:pt x="289" y="53"/>
                  </a:lnTo>
                  <a:lnTo>
                    <a:pt x="289" y="53"/>
                  </a:lnTo>
                  <a:lnTo>
                    <a:pt x="285" y="54"/>
                  </a:lnTo>
                  <a:lnTo>
                    <a:pt x="279" y="53"/>
                  </a:lnTo>
                  <a:lnTo>
                    <a:pt x="274" y="51"/>
                  </a:lnTo>
                  <a:lnTo>
                    <a:pt x="272" y="51"/>
                  </a:lnTo>
                  <a:lnTo>
                    <a:pt x="269" y="53"/>
                  </a:lnTo>
                  <a:lnTo>
                    <a:pt x="269" y="53"/>
                  </a:lnTo>
                  <a:lnTo>
                    <a:pt x="268" y="54"/>
                  </a:lnTo>
                  <a:lnTo>
                    <a:pt x="265" y="55"/>
                  </a:lnTo>
                  <a:lnTo>
                    <a:pt x="264" y="55"/>
                  </a:lnTo>
                  <a:lnTo>
                    <a:pt x="262" y="57"/>
                  </a:lnTo>
                  <a:lnTo>
                    <a:pt x="262" y="57"/>
                  </a:lnTo>
                  <a:lnTo>
                    <a:pt x="259" y="58"/>
                  </a:lnTo>
                  <a:lnTo>
                    <a:pt x="257" y="60"/>
                  </a:lnTo>
                  <a:lnTo>
                    <a:pt x="254" y="60"/>
                  </a:lnTo>
                  <a:lnTo>
                    <a:pt x="251" y="61"/>
                  </a:lnTo>
                  <a:lnTo>
                    <a:pt x="251" y="61"/>
                  </a:lnTo>
                  <a:lnTo>
                    <a:pt x="249" y="62"/>
                  </a:lnTo>
                  <a:lnTo>
                    <a:pt x="245" y="62"/>
                  </a:lnTo>
                  <a:lnTo>
                    <a:pt x="239" y="60"/>
                  </a:lnTo>
                  <a:lnTo>
                    <a:pt x="234" y="54"/>
                  </a:lnTo>
                  <a:lnTo>
                    <a:pt x="234" y="54"/>
                  </a:lnTo>
                  <a:lnTo>
                    <a:pt x="231" y="51"/>
                  </a:lnTo>
                  <a:lnTo>
                    <a:pt x="229" y="47"/>
                  </a:lnTo>
                  <a:lnTo>
                    <a:pt x="228" y="38"/>
                  </a:lnTo>
                  <a:lnTo>
                    <a:pt x="228" y="31"/>
                  </a:lnTo>
                  <a:lnTo>
                    <a:pt x="231" y="25"/>
                  </a:lnTo>
                  <a:lnTo>
                    <a:pt x="231" y="25"/>
                  </a:lnTo>
                  <a:lnTo>
                    <a:pt x="232" y="23"/>
                  </a:lnTo>
                  <a:lnTo>
                    <a:pt x="234" y="20"/>
                  </a:lnTo>
                  <a:lnTo>
                    <a:pt x="232" y="16"/>
                  </a:lnTo>
                  <a:lnTo>
                    <a:pt x="229" y="13"/>
                  </a:lnTo>
                  <a:lnTo>
                    <a:pt x="229" y="13"/>
                  </a:lnTo>
                  <a:lnTo>
                    <a:pt x="228" y="11"/>
                  </a:lnTo>
                  <a:lnTo>
                    <a:pt x="227" y="10"/>
                  </a:lnTo>
                  <a:lnTo>
                    <a:pt x="227" y="6"/>
                  </a:lnTo>
                  <a:lnTo>
                    <a:pt x="225" y="1"/>
                  </a:lnTo>
                  <a:lnTo>
                    <a:pt x="224" y="0"/>
                  </a:lnTo>
                  <a:lnTo>
                    <a:pt x="222" y="0"/>
                  </a:lnTo>
                  <a:lnTo>
                    <a:pt x="222" y="0"/>
                  </a:lnTo>
                  <a:lnTo>
                    <a:pt x="220" y="0"/>
                  </a:lnTo>
                  <a:lnTo>
                    <a:pt x="218" y="0"/>
                  </a:lnTo>
                  <a:lnTo>
                    <a:pt x="217" y="3"/>
                  </a:lnTo>
                  <a:lnTo>
                    <a:pt x="214" y="6"/>
                  </a:lnTo>
                  <a:lnTo>
                    <a:pt x="212" y="8"/>
                  </a:lnTo>
                  <a:lnTo>
                    <a:pt x="212" y="8"/>
                  </a:lnTo>
                  <a:lnTo>
                    <a:pt x="202" y="13"/>
                  </a:lnTo>
                  <a:lnTo>
                    <a:pt x="197" y="16"/>
                  </a:lnTo>
                  <a:lnTo>
                    <a:pt x="193" y="16"/>
                  </a:lnTo>
                  <a:lnTo>
                    <a:pt x="193" y="16"/>
                  </a:lnTo>
                  <a:lnTo>
                    <a:pt x="188" y="16"/>
                  </a:lnTo>
                  <a:lnTo>
                    <a:pt x="185" y="17"/>
                  </a:lnTo>
                  <a:lnTo>
                    <a:pt x="183" y="18"/>
                  </a:lnTo>
                  <a:lnTo>
                    <a:pt x="181" y="23"/>
                  </a:lnTo>
                  <a:lnTo>
                    <a:pt x="181" y="23"/>
                  </a:lnTo>
                  <a:lnTo>
                    <a:pt x="181" y="25"/>
                  </a:lnTo>
                  <a:lnTo>
                    <a:pt x="178" y="25"/>
                  </a:lnTo>
                  <a:lnTo>
                    <a:pt x="177" y="24"/>
                  </a:lnTo>
                  <a:lnTo>
                    <a:pt x="175" y="21"/>
                  </a:lnTo>
                  <a:lnTo>
                    <a:pt x="175" y="21"/>
                  </a:lnTo>
                  <a:lnTo>
                    <a:pt x="174" y="21"/>
                  </a:lnTo>
                  <a:lnTo>
                    <a:pt x="173" y="20"/>
                  </a:lnTo>
                  <a:lnTo>
                    <a:pt x="168" y="18"/>
                  </a:lnTo>
                  <a:lnTo>
                    <a:pt x="164" y="18"/>
                  </a:lnTo>
                  <a:lnTo>
                    <a:pt x="161" y="17"/>
                  </a:lnTo>
                  <a:lnTo>
                    <a:pt x="161" y="17"/>
                  </a:lnTo>
                  <a:lnTo>
                    <a:pt x="157" y="16"/>
                  </a:lnTo>
                  <a:lnTo>
                    <a:pt x="153" y="16"/>
                  </a:lnTo>
                  <a:lnTo>
                    <a:pt x="150" y="17"/>
                  </a:lnTo>
                  <a:lnTo>
                    <a:pt x="150" y="18"/>
                  </a:lnTo>
                  <a:lnTo>
                    <a:pt x="150" y="18"/>
                  </a:lnTo>
                  <a:lnTo>
                    <a:pt x="150" y="18"/>
                  </a:lnTo>
                  <a:lnTo>
                    <a:pt x="154" y="21"/>
                  </a:lnTo>
                  <a:lnTo>
                    <a:pt x="156" y="24"/>
                  </a:lnTo>
                  <a:lnTo>
                    <a:pt x="157" y="31"/>
                  </a:lnTo>
                  <a:lnTo>
                    <a:pt x="157" y="31"/>
                  </a:lnTo>
                  <a:lnTo>
                    <a:pt x="157" y="34"/>
                  </a:lnTo>
                  <a:lnTo>
                    <a:pt x="158" y="35"/>
                  </a:lnTo>
                  <a:lnTo>
                    <a:pt x="160" y="38"/>
                  </a:lnTo>
                  <a:lnTo>
                    <a:pt x="161" y="41"/>
                  </a:lnTo>
                  <a:lnTo>
                    <a:pt x="161" y="41"/>
                  </a:lnTo>
                  <a:lnTo>
                    <a:pt x="161" y="44"/>
                  </a:lnTo>
                  <a:lnTo>
                    <a:pt x="164" y="44"/>
                  </a:lnTo>
                  <a:lnTo>
                    <a:pt x="170" y="43"/>
                  </a:lnTo>
                  <a:lnTo>
                    <a:pt x="170" y="43"/>
                  </a:lnTo>
                  <a:lnTo>
                    <a:pt x="171" y="44"/>
                  </a:lnTo>
                  <a:lnTo>
                    <a:pt x="171" y="45"/>
                  </a:lnTo>
                  <a:lnTo>
                    <a:pt x="170" y="48"/>
                  </a:lnTo>
                  <a:lnTo>
                    <a:pt x="167" y="50"/>
                  </a:lnTo>
                  <a:lnTo>
                    <a:pt x="167" y="50"/>
                  </a:lnTo>
                  <a:lnTo>
                    <a:pt x="164" y="51"/>
                  </a:lnTo>
                  <a:lnTo>
                    <a:pt x="161" y="53"/>
                  </a:lnTo>
                  <a:lnTo>
                    <a:pt x="160" y="55"/>
                  </a:lnTo>
                  <a:lnTo>
                    <a:pt x="158" y="58"/>
                  </a:lnTo>
                  <a:lnTo>
                    <a:pt x="158" y="58"/>
                  </a:lnTo>
                  <a:lnTo>
                    <a:pt x="157" y="61"/>
                  </a:lnTo>
                  <a:lnTo>
                    <a:pt x="154" y="61"/>
                  </a:lnTo>
                  <a:lnTo>
                    <a:pt x="151" y="62"/>
                  </a:lnTo>
                  <a:lnTo>
                    <a:pt x="147" y="64"/>
                  </a:lnTo>
                  <a:lnTo>
                    <a:pt x="147" y="64"/>
                  </a:lnTo>
                  <a:lnTo>
                    <a:pt x="141" y="68"/>
                  </a:lnTo>
                  <a:lnTo>
                    <a:pt x="138" y="70"/>
                  </a:lnTo>
                  <a:lnTo>
                    <a:pt x="137" y="70"/>
                  </a:lnTo>
                  <a:lnTo>
                    <a:pt x="137" y="70"/>
                  </a:lnTo>
                  <a:lnTo>
                    <a:pt x="134" y="68"/>
                  </a:lnTo>
                  <a:lnTo>
                    <a:pt x="133" y="68"/>
                  </a:lnTo>
                  <a:lnTo>
                    <a:pt x="128" y="71"/>
                  </a:lnTo>
                  <a:lnTo>
                    <a:pt x="128" y="71"/>
                  </a:lnTo>
                  <a:lnTo>
                    <a:pt x="126" y="71"/>
                  </a:lnTo>
                  <a:lnTo>
                    <a:pt x="124" y="71"/>
                  </a:lnTo>
                  <a:lnTo>
                    <a:pt x="119" y="67"/>
                  </a:lnTo>
                  <a:lnTo>
                    <a:pt x="119" y="67"/>
                  </a:lnTo>
                  <a:lnTo>
                    <a:pt x="116" y="64"/>
                  </a:lnTo>
                  <a:lnTo>
                    <a:pt x="113" y="60"/>
                  </a:lnTo>
                  <a:lnTo>
                    <a:pt x="110" y="55"/>
                  </a:lnTo>
                  <a:lnTo>
                    <a:pt x="106" y="51"/>
                  </a:lnTo>
                  <a:lnTo>
                    <a:pt x="106" y="51"/>
                  </a:lnTo>
                  <a:lnTo>
                    <a:pt x="99" y="54"/>
                  </a:lnTo>
                  <a:lnTo>
                    <a:pt x="90" y="55"/>
                  </a:lnTo>
                  <a:lnTo>
                    <a:pt x="90" y="55"/>
                  </a:lnTo>
                  <a:lnTo>
                    <a:pt x="76" y="55"/>
                  </a:lnTo>
                  <a:lnTo>
                    <a:pt x="69" y="55"/>
                  </a:lnTo>
                  <a:lnTo>
                    <a:pt x="67" y="57"/>
                  </a:lnTo>
                  <a:lnTo>
                    <a:pt x="66" y="57"/>
                  </a:lnTo>
                  <a:lnTo>
                    <a:pt x="66" y="57"/>
                  </a:lnTo>
                  <a:lnTo>
                    <a:pt x="66" y="60"/>
                  </a:lnTo>
                  <a:lnTo>
                    <a:pt x="67" y="62"/>
                  </a:lnTo>
                  <a:lnTo>
                    <a:pt x="69" y="65"/>
                  </a:lnTo>
                  <a:lnTo>
                    <a:pt x="70" y="67"/>
                  </a:lnTo>
                  <a:lnTo>
                    <a:pt x="70" y="67"/>
                  </a:lnTo>
                  <a:lnTo>
                    <a:pt x="74" y="68"/>
                  </a:lnTo>
                  <a:lnTo>
                    <a:pt x="76" y="70"/>
                  </a:lnTo>
                  <a:lnTo>
                    <a:pt x="73" y="72"/>
                  </a:lnTo>
                  <a:lnTo>
                    <a:pt x="73" y="72"/>
                  </a:lnTo>
                  <a:lnTo>
                    <a:pt x="69" y="74"/>
                  </a:lnTo>
                  <a:lnTo>
                    <a:pt x="66" y="75"/>
                  </a:lnTo>
                  <a:lnTo>
                    <a:pt x="63" y="77"/>
                  </a:lnTo>
                  <a:lnTo>
                    <a:pt x="63" y="81"/>
                  </a:lnTo>
                  <a:lnTo>
                    <a:pt x="63" y="81"/>
                  </a:lnTo>
                  <a:lnTo>
                    <a:pt x="63" y="85"/>
                  </a:lnTo>
                  <a:lnTo>
                    <a:pt x="64" y="88"/>
                  </a:lnTo>
                  <a:lnTo>
                    <a:pt x="69" y="95"/>
                  </a:lnTo>
                  <a:lnTo>
                    <a:pt x="72" y="101"/>
                  </a:lnTo>
                  <a:lnTo>
                    <a:pt x="73" y="104"/>
                  </a:lnTo>
                  <a:lnTo>
                    <a:pt x="73" y="108"/>
                  </a:lnTo>
                  <a:lnTo>
                    <a:pt x="73" y="108"/>
                  </a:lnTo>
                  <a:lnTo>
                    <a:pt x="70" y="118"/>
                  </a:lnTo>
                  <a:lnTo>
                    <a:pt x="70" y="129"/>
                  </a:lnTo>
                  <a:lnTo>
                    <a:pt x="70" y="129"/>
                  </a:lnTo>
                  <a:lnTo>
                    <a:pt x="67" y="142"/>
                  </a:lnTo>
                  <a:lnTo>
                    <a:pt x="66" y="148"/>
                  </a:lnTo>
                  <a:lnTo>
                    <a:pt x="64" y="151"/>
                  </a:lnTo>
                  <a:lnTo>
                    <a:pt x="63" y="151"/>
                  </a:lnTo>
                  <a:lnTo>
                    <a:pt x="63" y="151"/>
                  </a:lnTo>
                  <a:lnTo>
                    <a:pt x="60" y="151"/>
                  </a:lnTo>
                  <a:lnTo>
                    <a:pt x="57" y="151"/>
                  </a:lnTo>
                  <a:lnTo>
                    <a:pt x="53" y="151"/>
                  </a:lnTo>
                  <a:lnTo>
                    <a:pt x="50" y="152"/>
                  </a:lnTo>
                  <a:lnTo>
                    <a:pt x="50" y="152"/>
                  </a:lnTo>
                  <a:lnTo>
                    <a:pt x="45" y="155"/>
                  </a:lnTo>
                  <a:lnTo>
                    <a:pt x="40" y="155"/>
                  </a:lnTo>
                  <a:lnTo>
                    <a:pt x="35" y="156"/>
                  </a:lnTo>
                  <a:lnTo>
                    <a:pt x="30" y="159"/>
                  </a:lnTo>
                  <a:lnTo>
                    <a:pt x="30" y="159"/>
                  </a:lnTo>
                  <a:lnTo>
                    <a:pt x="25" y="162"/>
                  </a:lnTo>
                  <a:lnTo>
                    <a:pt x="20" y="163"/>
                  </a:lnTo>
                  <a:lnTo>
                    <a:pt x="18" y="165"/>
                  </a:lnTo>
                  <a:lnTo>
                    <a:pt x="16" y="169"/>
                  </a:lnTo>
                  <a:lnTo>
                    <a:pt x="16" y="169"/>
                  </a:lnTo>
                  <a:lnTo>
                    <a:pt x="15" y="173"/>
                  </a:lnTo>
                  <a:lnTo>
                    <a:pt x="13" y="176"/>
                  </a:lnTo>
                  <a:lnTo>
                    <a:pt x="10" y="181"/>
                  </a:lnTo>
                  <a:lnTo>
                    <a:pt x="10" y="183"/>
                  </a:lnTo>
                  <a:lnTo>
                    <a:pt x="10" y="183"/>
                  </a:lnTo>
                  <a:lnTo>
                    <a:pt x="10" y="186"/>
                  </a:lnTo>
                  <a:lnTo>
                    <a:pt x="9" y="189"/>
                  </a:lnTo>
                  <a:lnTo>
                    <a:pt x="6" y="191"/>
                  </a:lnTo>
                  <a:lnTo>
                    <a:pt x="3" y="192"/>
                  </a:lnTo>
                  <a:lnTo>
                    <a:pt x="3" y="192"/>
                  </a:lnTo>
                  <a:lnTo>
                    <a:pt x="2" y="195"/>
                  </a:lnTo>
                  <a:lnTo>
                    <a:pt x="2" y="198"/>
                  </a:lnTo>
                  <a:lnTo>
                    <a:pt x="2" y="200"/>
                  </a:lnTo>
                  <a:lnTo>
                    <a:pt x="2" y="203"/>
                  </a:lnTo>
                  <a:lnTo>
                    <a:pt x="2" y="203"/>
                  </a:lnTo>
                  <a:lnTo>
                    <a:pt x="0" y="206"/>
                  </a:lnTo>
                  <a:lnTo>
                    <a:pt x="0" y="209"/>
                  </a:lnTo>
                  <a:lnTo>
                    <a:pt x="6" y="216"/>
                  </a:lnTo>
                  <a:lnTo>
                    <a:pt x="6" y="216"/>
                  </a:lnTo>
                  <a:lnTo>
                    <a:pt x="10" y="223"/>
                  </a:lnTo>
                  <a:lnTo>
                    <a:pt x="12" y="227"/>
                  </a:lnTo>
                  <a:lnTo>
                    <a:pt x="12" y="230"/>
                  </a:lnTo>
                  <a:lnTo>
                    <a:pt x="12" y="230"/>
                  </a:lnTo>
                  <a:lnTo>
                    <a:pt x="12" y="233"/>
                  </a:lnTo>
                  <a:lnTo>
                    <a:pt x="15" y="235"/>
                  </a:lnTo>
                  <a:lnTo>
                    <a:pt x="18" y="236"/>
                  </a:lnTo>
                  <a:lnTo>
                    <a:pt x="20" y="236"/>
                  </a:lnTo>
                  <a:lnTo>
                    <a:pt x="20" y="236"/>
                  </a:lnTo>
                  <a:lnTo>
                    <a:pt x="22" y="236"/>
                  </a:lnTo>
                  <a:lnTo>
                    <a:pt x="22" y="237"/>
                  </a:lnTo>
                  <a:lnTo>
                    <a:pt x="23" y="240"/>
                  </a:lnTo>
                  <a:lnTo>
                    <a:pt x="25" y="245"/>
                  </a:lnTo>
                  <a:lnTo>
                    <a:pt x="26" y="245"/>
                  </a:lnTo>
                  <a:lnTo>
                    <a:pt x="29" y="246"/>
                  </a:lnTo>
                  <a:lnTo>
                    <a:pt x="29" y="246"/>
                  </a:lnTo>
                  <a:lnTo>
                    <a:pt x="39" y="246"/>
                  </a:lnTo>
                  <a:lnTo>
                    <a:pt x="43" y="245"/>
                  </a:lnTo>
                  <a:lnTo>
                    <a:pt x="46" y="243"/>
                  </a:lnTo>
                  <a:lnTo>
                    <a:pt x="46" y="243"/>
                  </a:lnTo>
                  <a:lnTo>
                    <a:pt x="47" y="240"/>
                  </a:lnTo>
                  <a:lnTo>
                    <a:pt x="50" y="239"/>
                  </a:lnTo>
                  <a:lnTo>
                    <a:pt x="52" y="239"/>
                  </a:lnTo>
                  <a:lnTo>
                    <a:pt x="53" y="242"/>
                  </a:lnTo>
                  <a:lnTo>
                    <a:pt x="53" y="242"/>
                  </a:lnTo>
                  <a:lnTo>
                    <a:pt x="53" y="255"/>
                  </a:lnTo>
                  <a:lnTo>
                    <a:pt x="55" y="260"/>
                  </a:lnTo>
                  <a:lnTo>
                    <a:pt x="55" y="263"/>
                  </a:lnTo>
                  <a:lnTo>
                    <a:pt x="57" y="263"/>
                  </a:lnTo>
                  <a:lnTo>
                    <a:pt x="57" y="263"/>
                  </a:lnTo>
                  <a:lnTo>
                    <a:pt x="62" y="262"/>
                  </a:lnTo>
                  <a:lnTo>
                    <a:pt x="67" y="262"/>
                  </a:lnTo>
                  <a:lnTo>
                    <a:pt x="77" y="263"/>
                  </a:lnTo>
                  <a:lnTo>
                    <a:pt x="77" y="263"/>
                  </a:lnTo>
                  <a:lnTo>
                    <a:pt x="82" y="263"/>
                  </a:lnTo>
                  <a:lnTo>
                    <a:pt x="86" y="263"/>
                  </a:lnTo>
                  <a:lnTo>
                    <a:pt x="89" y="262"/>
                  </a:lnTo>
                  <a:lnTo>
                    <a:pt x="92" y="260"/>
                  </a:lnTo>
                  <a:lnTo>
                    <a:pt x="92" y="260"/>
                  </a:lnTo>
                  <a:lnTo>
                    <a:pt x="94" y="257"/>
                  </a:lnTo>
                  <a:lnTo>
                    <a:pt x="97" y="256"/>
                  </a:lnTo>
                  <a:lnTo>
                    <a:pt x="106" y="253"/>
                  </a:lnTo>
                  <a:lnTo>
                    <a:pt x="106" y="253"/>
                  </a:lnTo>
                  <a:lnTo>
                    <a:pt x="114" y="247"/>
                  </a:lnTo>
                  <a:lnTo>
                    <a:pt x="120" y="245"/>
                  </a:lnTo>
                  <a:lnTo>
                    <a:pt x="124" y="245"/>
                  </a:lnTo>
                  <a:lnTo>
                    <a:pt x="124" y="245"/>
                  </a:lnTo>
                  <a:lnTo>
                    <a:pt x="134" y="243"/>
                  </a:lnTo>
                  <a:lnTo>
                    <a:pt x="138" y="243"/>
                  </a:lnTo>
                  <a:lnTo>
                    <a:pt x="140" y="243"/>
                  </a:lnTo>
                  <a:lnTo>
                    <a:pt x="140" y="245"/>
                  </a:lnTo>
                  <a:lnTo>
                    <a:pt x="140" y="245"/>
                  </a:lnTo>
                  <a:lnTo>
                    <a:pt x="138" y="250"/>
                  </a:lnTo>
                  <a:lnTo>
                    <a:pt x="138" y="259"/>
                  </a:lnTo>
                  <a:lnTo>
                    <a:pt x="140" y="269"/>
                  </a:lnTo>
                  <a:lnTo>
                    <a:pt x="141" y="273"/>
                  </a:lnTo>
                  <a:lnTo>
                    <a:pt x="144" y="276"/>
                  </a:lnTo>
                  <a:lnTo>
                    <a:pt x="144" y="276"/>
                  </a:lnTo>
                  <a:lnTo>
                    <a:pt x="150" y="282"/>
                  </a:lnTo>
                  <a:lnTo>
                    <a:pt x="154" y="286"/>
                  </a:lnTo>
                  <a:lnTo>
                    <a:pt x="158" y="287"/>
                  </a:lnTo>
                  <a:lnTo>
                    <a:pt x="164" y="287"/>
                  </a:lnTo>
                  <a:lnTo>
                    <a:pt x="164" y="287"/>
                  </a:lnTo>
                  <a:lnTo>
                    <a:pt x="167" y="287"/>
                  </a:lnTo>
                  <a:lnTo>
                    <a:pt x="170" y="289"/>
                  </a:lnTo>
                  <a:lnTo>
                    <a:pt x="171" y="290"/>
                  </a:lnTo>
                  <a:lnTo>
                    <a:pt x="175" y="290"/>
                  </a:lnTo>
                  <a:lnTo>
                    <a:pt x="175" y="290"/>
                  </a:lnTo>
                  <a:lnTo>
                    <a:pt x="177" y="290"/>
                  </a:lnTo>
                  <a:lnTo>
                    <a:pt x="178" y="293"/>
                  </a:lnTo>
                  <a:lnTo>
                    <a:pt x="180" y="294"/>
                  </a:lnTo>
                  <a:lnTo>
                    <a:pt x="181" y="296"/>
                  </a:lnTo>
                  <a:lnTo>
                    <a:pt x="181" y="296"/>
                  </a:lnTo>
                  <a:lnTo>
                    <a:pt x="190" y="297"/>
                  </a:lnTo>
                  <a:lnTo>
                    <a:pt x="194" y="299"/>
                  </a:lnTo>
                  <a:lnTo>
                    <a:pt x="195" y="301"/>
                  </a:lnTo>
                  <a:lnTo>
                    <a:pt x="195" y="301"/>
                  </a:lnTo>
                  <a:lnTo>
                    <a:pt x="195" y="303"/>
                  </a:lnTo>
                  <a:lnTo>
                    <a:pt x="197" y="304"/>
                  </a:lnTo>
                  <a:lnTo>
                    <a:pt x="202" y="304"/>
                  </a:lnTo>
                  <a:lnTo>
                    <a:pt x="208" y="304"/>
                  </a:lnTo>
                  <a:lnTo>
                    <a:pt x="212" y="306"/>
                  </a:lnTo>
                  <a:lnTo>
                    <a:pt x="212" y="306"/>
                  </a:lnTo>
                  <a:lnTo>
                    <a:pt x="217" y="310"/>
                  </a:lnTo>
                  <a:lnTo>
                    <a:pt x="218" y="313"/>
                  </a:lnTo>
                  <a:lnTo>
                    <a:pt x="218" y="317"/>
                  </a:lnTo>
                  <a:lnTo>
                    <a:pt x="218" y="317"/>
                  </a:lnTo>
                  <a:lnTo>
                    <a:pt x="220" y="320"/>
                  </a:lnTo>
                  <a:lnTo>
                    <a:pt x="221" y="324"/>
                  </a:lnTo>
                  <a:lnTo>
                    <a:pt x="222" y="327"/>
                  </a:lnTo>
                  <a:lnTo>
                    <a:pt x="222" y="328"/>
                  </a:lnTo>
                  <a:lnTo>
                    <a:pt x="221" y="328"/>
                  </a:lnTo>
                  <a:lnTo>
                    <a:pt x="221" y="328"/>
                  </a:lnTo>
                  <a:lnTo>
                    <a:pt x="220" y="331"/>
                  </a:lnTo>
                  <a:lnTo>
                    <a:pt x="220" y="334"/>
                  </a:lnTo>
                  <a:lnTo>
                    <a:pt x="221" y="338"/>
                  </a:lnTo>
                  <a:lnTo>
                    <a:pt x="222" y="343"/>
                  </a:lnTo>
                  <a:lnTo>
                    <a:pt x="222" y="343"/>
                  </a:lnTo>
                  <a:lnTo>
                    <a:pt x="224" y="346"/>
                  </a:lnTo>
                  <a:lnTo>
                    <a:pt x="228" y="348"/>
                  </a:lnTo>
                  <a:lnTo>
                    <a:pt x="234" y="350"/>
                  </a:lnTo>
                  <a:lnTo>
                    <a:pt x="241" y="350"/>
                  </a:lnTo>
                  <a:lnTo>
                    <a:pt x="241" y="350"/>
                  </a:lnTo>
                  <a:lnTo>
                    <a:pt x="247" y="350"/>
                  </a:lnTo>
                  <a:lnTo>
                    <a:pt x="251" y="351"/>
                  </a:lnTo>
                  <a:lnTo>
                    <a:pt x="252" y="354"/>
                  </a:lnTo>
                  <a:lnTo>
                    <a:pt x="254" y="358"/>
                  </a:lnTo>
                  <a:lnTo>
                    <a:pt x="254" y="358"/>
                  </a:lnTo>
                  <a:lnTo>
                    <a:pt x="255" y="363"/>
                  </a:lnTo>
                  <a:lnTo>
                    <a:pt x="258" y="367"/>
                  </a:lnTo>
                  <a:lnTo>
                    <a:pt x="261" y="370"/>
                  </a:lnTo>
                  <a:lnTo>
                    <a:pt x="264" y="374"/>
                  </a:lnTo>
                  <a:lnTo>
                    <a:pt x="264" y="374"/>
                  </a:lnTo>
                  <a:lnTo>
                    <a:pt x="264" y="380"/>
                  </a:lnTo>
                  <a:lnTo>
                    <a:pt x="262" y="385"/>
                  </a:lnTo>
                  <a:lnTo>
                    <a:pt x="261" y="390"/>
                  </a:lnTo>
                  <a:lnTo>
                    <a:pt x="261" y="395"/>
                  </a:lnTo>
                  <a:lnTo>
                    <a:pt x="261" y="395"/>
                  </a:lnTo>
                  <a:lnTo>
                    <a:pt x="261" y="398"/>
                  </a:lnTo>
                  <a:lnTo>
                    <a:pt x="259" y="401"/>
                  </a:lnTo>
                  <a:lnTo>
                    <a:pt x="257" y="405"/>
                  </a:lnTo>
                  <a:lnTo>
                    <a:pt x="257" y="405"/>
                  </a:lnTo>
                  <a:lnTo>
                    <a:pt x="259" y="411"/>
                  </a:lnTo>
                  <a:lnTo>
                    <a:pt x="258" y="412"/>
                  </a:lnTo>
                  <a:lnTo>
                    <a:pt x="257" y="414"/>
                  </a:lnTo>
                  <a:lnTo>
                    <a:pt x="257" y="414"/>
                  </a:lnTo>
                  <a:lnTo>
                    <a:pt x="257" y="415"/>
                  </a:lnTo>
                  <a:lnTo>
                    <a:pt x="257" y="417"/>
                  </a:lnTo>
                  <a:lnTo>
                    <a:pt x="258" y="421"/>
                  </a:lnTo>
                  <a:lnTo>
                    <a:pt x="259" y="427"/>
                  </a:lnTo>
                  <a:lnTo>
                    <a:pt x="261" y="430"/>
                  </a:lnTo>
                  <a:lnTo>
                    <a:pt x="259" y="434"/>
                  </a:lnTo>
                  <a:lnTo>
                    <a:pt x="259" y="434"/>
                  </a:lnTo>
                  <a:lnTo>
                    <a:pt x="258" y="441"/>
                  </a:lnTo>
                  <a:lnTo>
                    <a:pt x="259" y="444"/>
                  </a:lnTo>
                  <a:lnTo>
                    <a:pt x="262" y="447"/>
                  </a:lnTo>
                  <a:lnTo>
                    <a:pt x="268" y="447"/>
                  </a:lnTo>
                  <a:lnTo>
                    <a:pt x="268" y="447"/>
                  </a:lnTo>
                  <a:lnTo>
                    <a:pt x="274" y="448"/>
                  </a:lnTo>
                  <a:lnTo>
                    <a:pt x="278" y="449"/>
                  </a:lnTo>
                  <a:lnTo>
                    <a:pt x="279" y="449"/>
                  </a:lnTo>
                  <a:lnTo>
                    <a:pt x="282" y="448"/>
                  </a:lnTo>
                  <a:lnTo>
                    <a:pt x="282" y="448"/>
                  </a:lnTo>
                  <a:lnTo>
                    <a:pt x="284" y="448"/>
                  </a:lnTo>
                  <a:lnTo>
                    <a:pt x="285" y="449"/>
                  </a:lnTo>
                  <a:lnTo>
                    <a:pt x="288" y="452"/>
                  </a:lnTo>
                  <a:lnTo>
                    <a:pt x="291" y="457"/>
                  </a:lnTo>
                  <a:lnTo>
                    <a:pt x="294" y="462"/>
                  </a:lnTo>
                  <a:lnTo>
                    <a:pt x="294" y="462"/>
                  </a:lnTo>
                  <a:lnTo>
                    <a:pt x="296" y="472"/>
                  </a:lnTo>
                  <a:lnTo>
                    <a:pt x="299" y="478"/>
                  </a:lnTo>
                  <a:lnTo>
                    <a:pt x="301" y="479"/>
                  </a:lnTo>
                  <a:lnTo>
                    <a:pt x="301" y="479"/>
                  </a:lnTo>
                  <a:lnTo>
                    <a:pt x="306" y="478"/>
                  </a:lnTo>
                  <a:lnTo>
                    <a:pt x="311" y="476"/>
                  </a:lnTo>
                  <a:lnTo>
                    <a:pt x="315" y="476"/>
                  </a:lnTo>
                  <a:lnTo>
                    <a:pt x="315" y="476"/>
                  </a:lnTo>
                  <a:lnTo>
                    <a:pt x="316" y="478"/>
                  </a:lnTo>
                  <a:lnTo>
                    <a:pt x="316" y="481"/>
                  </a:lnTo>
                  <a:lnTo>
                    <a:pt x="315" y="489"/>
                  </a:lnTo>
                  <a:lnTo>
                    <a:pt x="313" y="498"/>
                  </a:lnTo>
                  <a:lnTo>
                    <a:pt x="312" y="505"/>
                  </a:lnTo>
                  <a:lnTo>
                    <a:pt x="312" y="505"/>
                  </a:lnTo>
                  <a:lnTo>
                    <a:pt x="319" y="505"/>
                  </a:lnTo>
                  <a:lnTo>
                    <a:pt x="323" y="506"/>
                  </a:lnTo>
                  <a:lnTo>
                    <a:pt x="323" y="506"/>
                  </a:lnTo>
                  <a:lnTo>
                    <a:pt x="325" y="511"/>
                  </a:lnTo>
                  <a:lnTo>
                    <a:pt x="326" y="518"/>
                  </a:lnTo>
                  <a:lnTo>
                    <a:pt x="326" y="526"/>
                  </a:lnTo>
                  <a:lnTo>
                    <a:pt x="326" y="531"/>
                  </a:lnTo>
                  <a:lnTo>
                    <a:pt x="326" y="531"/>
                  </a:lnTo>
                  <a:lnTo>
                    <a:pt x="323" y="533"/>
                  </a:lnTo>
                  <a:lnTo>
                    <a:pt x="318" y="536"/>
                  </a:lnTo>
                  <a:lnTo>
                    <a:pt x="306" y="542"/>
                  </a:lnTo>
                  <a:lnTo>
                    <a:pt x="306" y="542"/>
                  </a:lnTo>
                  <a:lnTo>
                    <a:pt x="301" y="546"/>
                  </a:lnTo>
                  <a:lnTo>
                    <a:pt x="294" y="553"/>
                  </a:lnTo>
                  <a:lnTo>
                    <a:pt x="285" y="562"/>
                  </a:lnTo>
                  <a:lnTo>
                    <a:pt x="279" y="570"/>
                  </a:lnTo>
                  <a:lnTo>
                    <a:pt x="279" y="570"/>
                  </a:lnTo>
                  <a:lnTo>
                    <a:pt x="272" y="580"/>
                  </a:lnTo>
                  <a:lnTo>
                    <a:pt x="265" y="587"/>
                  </a:lnTo>
                  <a:lnTo>
                    <a:pt x="265" y="587"/>
                  </a:lnTo>
                  <a:lnTo>
                    <a:pt x="269" y="587"/>
                  </a:lnTo>
                  <a:lnTo>
                    <a:pt x="269" y="587"/>
                  </a:lnTo>
                  <a:lnTo>
                    <a:pt x="272" y="586"/>
                  </a:lnTo>
                  <a:lnTo>
                    <a:pt x="275" y="587"/>
                  </a:lnTo>
                  <a:lnTo>
                    <a:pt x="279" y="589"/>
                  </a:lnTo>
                  <a:lnTo>
                    <a:pt x="284" y="592"/>
                  </a:lnTo>
                  <a:lnTo>
                    <a:pt x="284" y="592"/>
                  </a:lnTo>
                  <a:lnTo>
                    <a:pt x="286" y="597"/>
                  </a:lnTo>
                  <a:lnTo>
                    <a:pt x="288" y="600"/>
                  </a:lnTo>
                  <a:lnTo>
                    <a:pt x="289" y="603"/>
                  </a:lnTo>
                  <a:lnTo>
                    <a:pt x="291" y="603"/>
                  </a:lnTo>
                  <a:lnTo>
                    <a:pt x="291" y="603"/>
                  </a:lnTo>
                  <a:lnTo>
                    <a:pt x="292" y="602"/>
                  </a:lnTo>
                  <a:lnTo>
                    <a:pt x="294" y="600"/>
                  </a:lnTo>
                  <a:lnTo>
                    <a:pt x="296" y="599"/>
                  </a:lnTo>
                  <a:lnTo>
                    <a:pt x="299" y="602"/>
                  </a:lnTo>
                  <a:lnTo>
                    <a:pt x="299" y="602"/>
                  </a:lnTo>
                  <a:lnTo>
                    <a:pt x="303" y="606"/>
                  </a:lnTo>
                  <a:lnTo>
                    <a:pt x="309" y="609"/>
                  </a:lnTo>
                  <a:lnTo>
                    <a:pt x="318" y="614"/>
                  </a:lnTo>
                  <a:lnTo>
                    <a:pt x="318" y="614"/>
                  </a:lnTo>
                  <a:lnTo>
                    <a:pt x="323" y="619"/>
                  </a:lnTo>
                  <a:lnTo>
                    <a:pt x="326" y="623"/>
                  </a:lnTo>
                  <a:lnTo>
                    <a:pt x="328" y="627"/>
                  </a:lnTo>
                  <a:lnTo>
                    <a:pt x="328" y="627"/>
                  </a:lnTo>
                  <a:lnTo>
                    <a:pt x="328" y="639"/>
                  </a:lnTo>
                  <a:lnTo>
                    <a:pt x="328" y="644"/>
                  </a:lnTo>
                  <a:lnTo>
                    <a:pt x="331" y="651"/>
                  </a:lnTo>
                  <a:lnTo>
                    <a:pt x="331" y="651"/>
                  </a:lnTo>
                  <a:lnTo>
                    <a:pt x="333" y="647"/>
                  </a:lnTo>
                  <a:lnTo>
                    <a:pt x="338" y="644"/>
                  </a:lnTo>
                  <a:lnTo>
                    <a:pt x="338" y="64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9" name="Freeform 293">
              <a:extLst>
                <a:ext uri="{FF2B5EF4-FFF2-40B4-BE49-F238E27FC236}">
                  <a16:creationId xmlns:a16="http://schemas.microsoft.com/office/drawing/2014/main" id="{3C137783-45BD-F342-A364-F1AA36D6DE7B}"/>
                </a:ext>
              </a:extLst>
            </p:cNvPr>
            <p:cNvSpPr>
              <a:spLocks/>
            </p:cNvSpPr>
            <p:nvPr/>
          </p:nvSpPr>
          <p:spPr bwMode="auto">
            <a:xfrm>
              <a:off x="2922041" y="5057031"/>
              <a:ext cx="121343" cy="125782"/>
            </a:xfrm>
            <a:custGeom>
              <a:avLst/>
              <a:gdLst/>
              <a:ahLst/>
              <a:cxnLst>
                <a:cxn ang="0">
                  <a:pos x="79" y="41"/>
                </a:cxn>
                <a:cxn ang="0">
                  <a:pos x="74" y="33"/>
                </a:cxn>
                <a:cxn ang="0">
                  <a:pos x="69" y="28"/>
                </a:cxn>
                <a:cxn ang="0">
                  <a:pos x="54" y="20"/>
                </a:cxn>
                <a:cxn ang="0">
                  <a:pos x="50" y="16"/>
                </a:cxn>
                <a:cxn ang="0">
                  <a:pos x="45" y="14"/>
                </a:cxn>
                <a:cxn ang="0">
                  <a:pos x="42" y="17"/>
                </a:cxn>
                <a:cxn ang="0">
                  <a:pos x="40" y="17"/>
                </a:cxn>
                <a:cxn ang="0">
                  <a:pos x="37" y="11"/>
                </a:cxn>
                <a:cxn ang="0">
                  <a:pos x="35" y="6"/>
                </a:cxn>
                <a:cxn ang="0">
                  <a:pos x="26" y="1"/>
                </a:cxn>
                <a:cxn ang="0">
                  <a:pos x="20" y="1"/>
                </a:cxn>
                <a:cxn ang="0">
                  <a:pos x="16" y="1"/>
                </a:cxn>
                <a:cxn ang="0">
                  <a:pos x="12" y="6"/>
                </a:cxn>
                <a:cxn ang="0">
                  <a:pos x="10" y="10"/>
                </a:cxn>
                <a:cxn ang="0">
                  <a:pos x="8" y="23"/>
                </a:cxn>
                <a:cxn ang="0">
                  <a:pos x="5" y="38"/>
                </a:cxn>
                <a:cxn ang="0">
                  <a:pos x="5" y="46"/>
                </a:cxn>
                <a:cxn ang="0">
                  <a:pos x="2" y="53"/>
                </a:cxn>
                <a:cxn ang="0">
                  <a:pos x="0" y="58"/>
                </a:cxn>
                <a:cxn ang="0">
                  <a:pos x="3" y="67"/>
                </a:cxn>
                <a:cxn ang="0">
                  <a:pos x="6" y="68"/>
                </a:cxn>
                <a:cxn ang="0">
                  <a:pos x="5" y="75"/>
                </a:cxn>
                <a:cxn ang="0">
                  <a:pos x="8" y="78"/>
                </a:cxn>
                <a:cxn ang="0">
                  <a:pos x="10" y="78"/>
                </a:cxn>
                <a:cxn ang="0">
                  <a:pos x="20" y="80"/>
                </a:cxn>
                <a:cxn ang="0">
                  <a:pos x="32" y="84"/>
                </a:cxn>
                <a:cxn ang="0">
                  <a:pos x="37" y="85"/>
                </a:cxn>
                <a:cxn ang="0">
                  <a:pos x="45" y="84"/>
                </a:cxn>
                <a:cxn ang="0">
                  <a:pos x="56" y="84"/>
                </a:cxn>
                <a:cxn ang="0">
                  <a:pos x="69" y="81"/>
                </a:cxn>
                <a:cxn ang="0">
                  <a:pos x="72" y="78"/>
                </a:cxn>
                <a:cxn ang="0">
                  <a:pos x="82" y="65"/>
                </a:cxn>
                <a:cxn ang="0">
                  <a:pos x="79" y="58"/>
                </a:cxn>
                <a:cxn ang="0">
                  <a:pos x="79" y="41"/>
                </a:cxn>
              </a:cxnLst>
              <a:rect l="0" t="0" r="r" b="b"/>
              <a:pathLst>
                <a:path w="82" h="85">
                  <a:moveTo>
                    <a:pt x="79" y="41"/>
                  </a:moveTo>
                  <a:lnTo>
                    <a:pt x="79" y="41"/>
                  </a:lnTo>
                  <a:lnTo>
                    <a:pt x="77" y="37"/>
                  </a:lnTo>
                  <a:lnTo>
                    <a:pt x="74" y="33"/>
                  </a:lnTo>
                  <a:lnTo>
                    <a:pt x="69" y="28"/>
                  </a:lnTo>
                  <a:lnTo>
                    <a:pt x="69" y="28"/>
                  </a:lnTo>
                  <a:lnTo>
                    <a:pt x="60" y="23"/>
                  </a:lnTo>
                  <a:lnTo>
                    <a:pt x="54" y="20"/>
                  </a:lnTo>
                  <a:lnTo>
                    <a:pt x="50" y="16"/>
                  </a:lnTo>
                  <a:lnTo>
                    <a:pt x="50" y="16"/>
                  </a:lnTo>
                  <a:lnTo>
                    <a:pt x="47" y="13"/>
                  </a:lnTo>
                  <a:lnTo>
                    <a:pt x="45" y="14"/>
                  </a:lnTo>
                  <a:lnTo>
                    <a:pt x="43" y="16"/>
                  </a:lnTo>
                  <a:lnTo>
                    <a:pt x="42" y="17"/>
                  </a:lnTo>
                  <a:lnTo>
                    <a:pt x="42" y="17"/>
                  </a:lnTo>
                  <a:lnTo>
                    <a:pt x="40" y="17"/>
                  </a:lnTo>
                  <a:lnTo>
                    <a:pt x="39" y="14"/>
                  </a:lnTo>
                  <a:lnTo>
                    <a:pt x="37" y="11"/>
                  </a:lnTo>
                  <a:lnTo>
                    <a:pt x="35" y="6"/>
                  </a:lnTo>
                  <a:lnTo>
                    <a:pt x="35" y="6"/>
                  </a:lnTo>
                  <a:lnTo>
                    <a:pt x="30" y="3"/>
                  </a:lnTo>
                  <a:lnTo>
                    <a:pt x="26" y="1"/>
                  </a:lnTo>
                  <a:lnTo>
                    <a:pt x="23" y="0"/>
                  </a:lnTo>
                  <a:lnTo>
                    <a:pt x="20" y="1"/>
                  </a:lnTo>
                  <a:lnTo>
                    <a:pt x="20" y="1"/>
                  </a:lnTo>
                  <a:lnTo>
                    <a:pt x="16" y="1"/>
                  </a:lnTo>
                  <a:lnTo>
                    <a:pt x="16" y="1"/>
                  </a:lnTo>
                  <a:lnTo>
                    <a:pt x="12" y="6"/>
                  </a:lnTo>
                  <a:lnTo>
                    <a:pt x="10" y="10"/>
                  </a:lnTo>
                  <a:lnTo>
                    <a:pt x="10" y="10"/>
                  </a:lnTo>
                  <a:lnTo>
                    <a:pt x="10" y="16"/>
                  </a:lnTo>
                  <a:lnTo>
                    <a:pt x="8" y="23"/>
                  </a:lnTo>
                  <a:lnTo>
                    <a:pt x="6" y="30"/>
                  </a:lnTo>
                  <a:lnTo>
                    <a:pt x="5" y="38"/>
                  </a:lnTo>
                  <a:lnTo>
                    <a:pt x="5" y="38"/>
                  </a:lnTo>
                  <a:lnTo>
                    <a:pt x="5" y="46"/>
                  </a:lnTo>
                  <a:lnTo>
                    <a:pt x="3" y="50"/>
                  </a:lnTo>
                  <a:lnTo>
                    <a:pt x="2" y="53"/>
                  </a:lnTo>
                  <a:lnTo>
                    <a:pt x="0" y="58"/>
                  </a:lnTo>
                  <a:lnTo>
                    <a:pt x="0" y="58"/>
                  </a:lnTo>
                  <a:lnTo>
                    <a:pt x="2" y="64"/>
                  </a:lnTo>
                  <a:lnTo>
                    <a:pt x="3" y="67"/>
                  </a:lnTo>
                  <a:lnTo>
                    <a:pt x="6" y="68"/>
                  </a:lnTo>
                  <a:lnTo>
                    <a:pt x="6" y="68"/>
                  </a:lnTo>
                  <a:lnTo>
                    <a:pt x="6" y="71"/>
                  </a:lnTo>
                  <a:lnTo>
                    <a:pt x="5" y="75"/>
                  </a:lnTo>
                  <a:lnTo>
                    <a:pt x="5" y="75"/>
                  </a:lnTo>
                  <a:lnTo>
                    <a:pt x="8" y="78"/>
                  </a:lnTo>
                  <a:lnTo>
                    <a:pt x="10" y="78"/>
                  </a:lnTo>
                  <a:lnTo>
                    <a:pt x="10" y="78"/>
                  </a:lnTo>
                  <a:lnTo>
                    <a:pt x="16" y="78"/>
                  </a:lnTo>
                  <a:lnTo>
                    <a:pt x="20" y="80"/>
                  </a:lnTo>
                  <a:lnTo>
                    <a:pt x="32" y="84"/>
                  </a:lnTo>
                  <a:lnTo>
                    <a:pt x="32" y="84"/>
                  </a:lnTo>
                  <a:lnTo>
                    <a:pt x="36" y="85"/>
                  </a:lnTo>
                  <a:lnTo>
                    <a:pt x="37" y="85"/>
                  </a:lnTo>
                  <a:lnTo>
                    <a:pt x="40" y="84"/>
                  </a:lnTo>
                  <a:lnTo>
                    <a:pt x="45" y="84"/>
                  </a:lnTo>
                  <a:lnTo>
                    <a:pt x="45" y="84"/>
                  </a:lnTo>
                  <a:lnTo>
                    <a:pt x="56" y="84"/>
                  </a:lnTo>
                  <a:lnTo>
                    <a:pt x="62" y="84"/>
                  </a:lnTo>
                  <a:lnTo>
                    <a:pt x="69" y="81"/>
                  </a:lnTo>
                  <a:lnTo>
                    <a:pt x="69" y="81"/>
                  </a:lnTo>
                  <a:lnTo>
                    <a:pt x="72" y="78"/>
                  </a:lnTo>
                  <a:lnTo>
                    <a:pt x="74" y="74"/>
                  </a:lnTo>
                  <a:lnTo>
                    <a:pt x="82" y="65"/>
                  </a:lnTo>
                  <a:lnTo>
                    <a:pt x="82" y="65"/>
                  </a:lnTo>
                  <a:lnTo>
                    <a:pt x="79" y="58"/>
                  </a:lnTo>
                  <a:lnTo>
                    <a:pt x="79" y="53"/>
                  </a:lnTo>
                  <a:lnTo>
                    <a:pt x="79" y="41"/>
                  </a:lnTo>
                  <a:lnTo>
                    <a:pt x="79" y="4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0" name="Freeform 294">
              <a:extLst>
                <a:ext uri="{FF2B5EF4-FFF2-40B4-BE49-F238E27FC236}">
                  <a16:creationId xmlns:a16="http://schemas.microsoft.com/office/drawing/2014/main" id="{5C154A84-784B-DC45-AE53-B9203CA49298}"/>
                </a:ext>
              </a:extLst>
            </p:cNvPr>
            <p:cNvSpPr>
              <a:spLocks noEditPoints="1"/>
            </p:cNvSpPr>
            <p:nvPr/>
          </p:nvSpPr>
          <p:spPr bwMode="auto">
            <a:xfrm>
              <a:off x="2560975" y="4846902"/>
              <a:ext cx="475011" cy="941142"/>
            </a:xfrm>
            <a:custGeom>
              <a:avLst/>
              <a:gdLst/>
              <a:ahLst/>
              <a:cxnLst>
                <a:cxn ang="0">
                  <a:pos x="87" y="597"/>
                </a:cxn>
                <a:cxn ang="0">
                  <a:pos x="84" y="587"/>
                </a:cxn>
                <a:cxn ang="0">
                  <a:pos x="78" y="633"/>
                </a:cxn>
                <a:cxn ang="0">
                  <a:pos x="116" y="633"/>
                </a:cxn>
                <a:cxn ang="0">
                  <a:pos x="318" y="62"/>
                </a:cxn>
                <a:cxn ang="0">
                  <a:pos x="303" y="84"/>
                </a:cxn>
                <a:cxn ang="0">
                  <a:pos x="284" y="94"/>
                </a:cxn>
                <a:cxn ang="0">
                  <a:pos x="257" y="95"/>
                </a:cxn>
                <a:cxn ang="0">
                  <a:pos x="249" y="81"/>
                </a:cxn>
                <a:cxn ang="0">
                  <a:pos x="256" y="55"/>
                </a:cxn>
                <a:cxn ang="0">
                  <a:pos x="213" y="35"/>
                </a:cxn>
                <a:cxn ang="0">
                  <a:pos x="173" y="1"/>
                </a:cxn>
                <a:cxn ang="0">
                  <a:pos x="148" y="11"/>
                </a:cxn>
                <a:cxn ang="0">
                  <a:pos x="115" y="4"/>
                </a:cxn>
                <a:cxn ang="0">
                  <a:pos x="89" y="40"/>
                </a:cxn>
                <a:cxn ang="0">
                  <a:pos x="81" y="61"/>
                </a:cxn>
                <a:cxn ang="0">
                  <a:pos x="84" y="84"/>
                </a:cxn>
                <a:cxn ang="0">
                  <a:pos x="71" y="105"/>
                </a:cxn>
                <a:cxn ang="0">
                  <a:pos x="58" y="125"/>
                </a:cxn>
                <a:cxn ang="0">
                  <a:pos x="55" y="148"/>
                </a:cxn>
                <a:cxn ang="0">
                  <a:pos x="50" y="176"/>
                </a:cxn>
                <a:cxn ang="0">
                  <a:pos x="59" y="206"/>
                </a:cxn>
                <a:cxn ang="0">
                  <a:pos x="50" y="232"/>
                </a:cxn>
                <a:cxn ang="0">
                  <a:pos x="42" y="256"/>
                </a:cxn>
                <a:cxn ang="0">
                  <a:pos x="41" y="294"/>
                </a:cxn>
                <a:cxn ang="0">
                  <a:pos x="34" y="311"/>
                </a:cxn>
                <a:cxn ang="0">
                  <a:pos x="25" y="333"/>
                </a:cxn>
                <a:cxn ang="0">
                  <a:pos x="27" y="358"/>
                </a:cxn>
                <a:cxn ang="0">
                  <a:pos x="22" y="382"/>
                </a:cxn>
                <a:cxn ang="0">
                  <a:pos x="27" y="401"/>
                </a:cxn>
                <a:cxn ang="0">
                  <a:pos x="37" y="415"/>
                </a:cxn>
                <a:cxn ang="0">
                  <a:pos x="34" y="425"/>
                </a:cxn>
                <a:cxn ang="0">
                  <a:pos x="28" y="448"/>
                </a:cxn>
                <a:cxn ang="0">
                  <a:pos x="25" y="466"/>
                </a:cxn>
                <a:cxn ang="0">
                  <a:pos x="15" y="481"/>
                </a:cxn>
                <a:cxn ang="0">
                  <a:pos x="11" y="500"/>
                </a:cxn>
                <a:cxn ang="0">
                  <a:pos x="1" y="526"/>
                </a:cxn>
                <a:cxn ang="0">
                  <a:pos x="18" y="539"/>
                </a:cxn>
                <a:cxn ang="0">
                  <a:pos x="22" y="562"/>
                </a:cxn>
                <a:cxn ang="0">
                  <a:pos x="61" y="569"/>
                </a:cxn>
                <a:cxn ang="0">
                  <a:pos x="79" y="570"/>
                </a:cxn>
                <a:cxn ang="0">
                  <a:pos x="71" y="535"/>
                </a:cxn>
                <a:cxn ang="0">
                  <a:pos x="91" y="519"/>
                </a:cxn>
                <a:cxn ang="0">
                  <a:pos x="122" y="482"/>
                </a:cxn>
                <a:cxn ang="0">
                  <a:pos x="118" y="462"/>
                </a:cxn>
                <a:cxn ang="0">
                  <a:pos x="98" y="435"/>
                </a:cxn>
                <a:cxn ang="0">
                  <a:pos x="126" y="414"/>
                </a:cxn>
                <a:cxn ang="0">
                  <a:pos x="136" y="385"/>
                </a:cxn>
                <a:cxn ang="0">
                  <a:pos x="139" y="377"/>
                </a:cxn>
                <a:cxn ang="0">
                  <a:pos x="156" y="377"/>
                </a:cxn>
                <a:cxn ang="0">
                  <a:pos x="148" y="368"/>
                </a:cxn>
                <a:cxn ang="0">
                  <a:pos x="136" y="355"/>
                </a:cxn>
                <a:cxn ang="0">
                  <a:pos x="146" y="340"/>
                </a:cxn>
                <a:cxn ang="0">
                  <a:pos x="178" y="327"/>
                </a:cxn>
                <a:cxn ang="0">
                  <a:pos x="180" y="308"/>
                </a:cxn>
                <a:cxn ang="0">
                  <a:pos x="227" y="300"/>
                </a:cxn>
                <a:cxn ang="0">
                  <a:pos x="273" y="263"/>
                </a:cxn>
                <a:cxn ang="0">
                  <a:pos x="263" y="239"/>
                </a:cxn>
                <a:cxn ang="0">
                  <a:pos x="242" y="222"/>
                </a:cxn>
                <a:cxn ang="0">
                  <a:pos x="250" y="210"/>
                </a:cxn>
                <a:cxn ang="0">
                  <a:pos x="249" y="180"/>
                </a:cxn>
                <a:cxn ang="0">
                  <a:pos x="269" y="135"/>
                </a:cxn>
                <a:cxn ang="0">
                  <a:pos x="318" y="89"/>
                </a:cxn>
              </a:cxnLst>
              <a:rect l="0" t="0" r="r" b="b"/>
              <a:pathLst>
                <a:path w="321" h="636">
                  <a:moveTo>
                    <a:pt x="121" y="624"/>
                  </a:moveTo>
                  <a:lnTo>
                    <a:pt x="121" y="624"/>
                  </a:lnTo>
                  <a:lnTo>
                    <a:pt x="118" y="623"/>
                  </a:lnTo>
                  <a:lnTo>
                    <a:pt x="114" y="621"/>
                  </a:lnTo>
                  <a:lnTo>
                    <a:pt x="104" y="614"/>
                  </a:lnTo>
                  <a:lnTo>
                    <a:pt x="89" y="603"/>
                  </a:lnTo>
                  <a:lnTo>
                    <a:pt x="89" y="603"/>
                  </a:lnTo>
                  <a:lnTo>
                    <a:pt x="87" y="600"/>
                  </a:lnTo>
                  <a:lnTo>
                    <a:pt x="87" y="597"/>
                  </a:lnTo>
                  <a:lnTo>
                    <a:pt x="85" y="596"/>
                  </a:lnTo>
                  <a:lnTo>
                    <a:pt x="82" y="596"/>
                  </a:lnTo>
                  <a:lnTo>
                    <a:pt x="82" y="596"/>
                  </a:lnTo>
                  <a:lnTo>
                    <a:pt x="79" y="594"/>
                  </a:lnTo>
                  <a:lnTo>
                    <a:pt x="78" y="593"/>
                  </a:lnTo>
                  <a:lnTo>
                    <a:pt x="81" y="590"/>
                  </a:lnTo>
                  <a:lnTo>
                    <a:pt x="84" y="589"/>
                  </a:lnTo>
                  <a:lnTo>
                    <a:pt x="84" y="589"/>
                  </a:lnTo>
                  <a:lnTo>
                    <a:pt x="84" y="587"/>
                  </a:lnTo>
                  <a:lnTo>
                    <a:pt x="84" y="584"/>
                  </a:lnTo>
                  <a:lnTo>
                    <a:pt x="81" y="582"/>
                  </a:lnTo>
                  <a:lnTo>
                    <a:pt x="78" y="580"/>
                  </a:lnTo>
                  <a:lnTo>
                    <a:pt x="78" y="580"/>
                  </a:lnTo>
                  <a:lnTo>
                    <a:pt x="77" y="610"/>
                  </a:lnTo>
                  <a:lnTo>
                    <a:pt x="77" y="626"/>
                  </a:lnTo>
                  <a:lnTo>
                    <a:pt x="77" y="631"/>
                  </a:lnTo>
                  <a:lnTo>
                    <a:pt x="78" y="633"/>
                  </a:lnTo>
                  <a:lnTo>
                    <a:pt x="78" y="633"/>
                  </a:lnTo>
                  <a:lnTo>
                    <a:pt x="89" y="633"/>
                  </a:lnTo>
                  <a:lnTo>
                    <a:pt x="98" y="633"/>
                  </a:lnTo>
                  <a:lnTo>
                    <a:pt x="105" y="634"/>
                  </a:lnTo>
                  <a:lnTo>
                    <a:pt x="105" y="634"/>
                  </a:lnTo>
                  <a:lnTo>
                    <a:pt x="108" y="636"/>
                  </a:lnTo>
                  <a:lnTo>
                    <a:pt x="111" y="636"/>
                  </a:lnTo>
                  <a:lnTo>
                    <a:pt x="112" y="634"/>
                  </a:lnTo>
                  <a:lnTo>
                    <a:pt x="112" y="634"/>
                  </a:lnTo>
                  <a:lnTo>
                    <a:pt x="116" y="633"/>
                  </a:lnTo>
                  <a:lnTo>
                    <a:pt x="121" y="631"/>
                  </a:lnTo>
                  <a:lnTo>
                    <a:pt x="126" y="630"/>
                  </a:lnTo>
                  <a:lnTo>
                    <a:pt x="132" y="629"/>
                  </a:lnTo>
                  <a:lnTo>
                    <a:pt x="132" y="629"/>
                  </a:lnTo>
                  <a:lnTo>
                    <a:pt x="133" y="627"/>
                  </a:lnTo>
                  <a:lnTo>
                    <a:pt x="132" y="626"/>
                  </a:lnTo>
                  <a:lnTo>
                    <a:pt x="121" y="624"/>
                  </a:lnTo>
                  <a:lnTo>
                    <a:pt x="121" y="624"/>
                  </a:lnTo>
                  <a:close/>
                  <a:moveTo>
                    <a:pt x="318" y="62"/>
                  </a:moveTo>
                  <a:lnTo>
                    <a:pt x="318" y="62"/>
                  </a:lnTo>
                  <a:lnTo>
                    <a:pt x="314" y="61"/>
                  </a:lnTo>
                  <a:lnTo>
                    <a:pt x="307" y="61"/>
                  </a:lnTo>
                  <a:lnTo>
                    <a:pt x="307" y="61"/>
                  </a:lnTo>
                  <a:lnTo>
                    <a:pt x="307" y="64"/>
                  </a:lnTo>
                  <a:lnTo>
                    <a:pt x="307" y="64"/>
                  </a:lnTo>
                  <a:lnTo>
                    <a:pt x="307" y="69"/>
                  </a:lnTo>
                  <a:lnTo>
                    <a:pt x="306" y="78"/>
                  </a:lnTo>
                  <a:lnTo>
                    <a:pt x="303" y="84"/>
                  </a:lnTo>
                  <a:lnTo>
                    <a:pt x="301" y="87"/>
                  </a:lnTo>
                  <a:lnTo>
                    <a:pt x="300" y="87"/>
                  </a:lnTo>
                  <a:lnTo>
                    <a:pt x="300" y="87"/>
                  </a:lnTo>
                  <a:lnTo>
                    <a:pt x="296" y="88"/>
                  </a:lnTo>
                  <a:lnTo>
                    <a:pt x="293" y="89"/>
                  </a:lnTo>
                  <a:lnTo>
                    <a:pt x="290" y="92"/>
                  </a:lnTo>
                  <a:lnTo>
                    <a:pt x="287" y="94"/>
                  </a:lnTo>
                  <a:lnTo>
                    <a:pt x="287" y="94"/>
                  </a:lnTo>
                  <a:lnTo>
                    <a:pt x="284" y="94"/>
                  </a:lnTo>
                  <a:lnTo>
                    <a:pt x="280" y="95"/>
                  </a:lnTo>
                  <a:lnTo>
                    <a:pt x="277" y="96"/>
                  </a:lnTo>
                  <a:lnTo>
                    <a:pt x="273" y="96"/>
                  </a:lnTo>
                  <a:lnTo>
                    <a:pt x="273" y="96"/>
                  </a:lnTo>
                  <a:lnTo>
                    <a:pt x="269" y="95"/>
                  </a:lnTo>
                  <a:lnTo>
                    <a:pt x="264" y="95"/>
                  </a:lnTo>
                  <a:lnTo>
                    <a:pt x="261" y="95"/>
                  </a:lnTo>
                  <a:lnTo>
                    <a:pt x="257" y="95"/>
                  </a:lnTo>
                  <a:lnTo>
                    <a:pt x="257" y="95"/>
                  </a:lnTo>
                  <a:lnTo>
                    <a:pt x="254" y="94"/>
                  </a:lnTo>
                  <a:lnTo>
                    <a:pt x="249" y="94"/>
                  </a:lnTo>
                  <a:lnTo>
                    <a:pt x="244" y="92"/>
                  </a:lnTo>
                  <a:lnTo>
                    <a:pt x="243" y="91"/>
                  </a:lnTo>
                  <a:lnTo>
                    <a:pt x="243" y="91"/>
                  </a:lnTo>
                  <a:lnTo>
                    <a:pt x="243" y="89"/>
                  </a:lnTo>
                  <a:lnTo>
                    <a:pt x="246" y="88"/>
                  </a:lnTo>
                  <a:lnTo>
                    <a:pt x="247" y="85"/>
                  </a:lnTo>
                  <a:lnTo>
                    <a:pt x="249" y="81"/>
                  </a:lnTo>
                  <a:lnTo>
                    <a:pt x="249" y="81"/>
                  </a:lnTo>
                  <a:lnTo>
                    <a:pt x="249" y="77"/>
                  </a:lnTo>
                  <a:lnTo>
                    <a:pt x="250" y="74"/>
                  </a:lnTo>
                  <a:lnTo>
                    <a:pt x="254" y="68"/>
                  </a:lnTo>
                  <a:lnTo>
                    <a:pt x="260" y="62"/>
                  </a:lnTo>
                  <a:lnTo>
                    <a:pt x="260" y="61"/>
                  </a:lnTo>
                  <a:lnTo>
                    <a:pt x="260" y="59"/>
                  </a:lnTo>
                  <a:lnTo>
                    <a:pt x="260" y="59"/>
                  </a:lnTo>
                  <a:lnTo>
                    <a:pt x="256" y="55"/>
                  </a:lnTo>
                  <a:lnTo>
                    <a:pt x="246" y="52"/>
                  </a:lnTo>
                  <a:lnTo>
                    <a:pt x="236" y="48"/>
                  </a:lnTo>
                  <a:lnTo>
                    <a:pt x="230" y="44"/>
                  </a:lnTo>
                  <a:lnTo>
                    <a:pt x="230" y="44"/>
                  </a:lnTo>
                  <a:lnTo>
                    <a:pt x="227" y="41"/>
                  </a:lnTo>
                  <a:lnTo>
                    <a:pt x="224" y="38"/>
                  </a:lnTo>
                  <a:lnTo>
                    <a:pt x="219" y="35"/>
                  </a:lnTo>
                  <a:lnTo>
                    <a:pt x="213" y="35"/>
                  </a:lnTo>
                  <a:lnTo>
                    <a:pt x="213" y="35"/>
                  </a:lnTo>
                  <a:lnTo>
                    <a:pt x="207" y="34"/>
                  </a:lnTo>
                  <a:lnTo>
                    <a:pt x="203" y="31"/>
                  </a:lnTo>
                  <a:lnTo>
                    <a:pt x="200" y="28"/>
                  </a:lnTo>
                  <a:lnTo>
                    <a:pt x="195" y="24"/>
                  </a:lnTo>
                  <a:lnTo>
                    <a:pt x="195" y="24"/>
                  </a:lnTo>
                  <a:lnTo>
                    <a:pt x="189" y="20"/>
                  </a:lnTo>
                  <a:lnTo>
                    <a:pt x="183" y="13"/>
                  </a:lnTo>
                  <a:lnTo>
                    <a:pt x="178" y="7"/>
                  </a:lnTo>
                  <a:lnTo>
                    <a:pt x="173" y="1"/>
                  </a:lnTo>
                  <a:lnTo>
                    <a:pt x="173" y="1"/>
                  </a:lnTo>
                  <a:lnTo>
                    <a:pt x="163" y="0"/>
                  </a:lnTo>
                  <a:lnTo>
                    <a:pt x="159" y="0"/>
                  </a:lnTo>
                  <a:lnTo>
                    <a:pt x="158" y="1"/>
                  </a:lnTo>
                  <a:lnTo>
                    <a:pt x="158" y="1"/>
                  </a:lnTo>
                  <a:lnTo>
                    <a:pt x="152" y="10"/>
                  </a:lnTo>
                  <a:lnTo>
                    <a:pt x="151" y="13"/>
                  </a:lnTo>
                  <a:lnTo>
                    <a:pt x="149" y="13"/>
                  </a:lnTo>
                  <a:lnTo>
                    <a:pt x="148" y="11"/>
                  </a:lnTo>
                  <a:lnTo>
                    <a:pt x="148" y="11"/>
                  </a:lnTo>
                  <a:lnTo>
                    <a:pt x="145" y="7"/>
                  </a:lnTo>
                  <a:lnTo>
                    <a:pt x="139" y="4"/>
                  </a:lnTo>
                  <a:lnTo>
                    <a:pt x="129" y="3"/>
                  </a:lnTo>
                  <a:lnTo>
                    <a:pt x="129" y="3"/>
                  </a:lnTo>
                  <a:lnTo>
                    <a:pt x="125" y="1"/>
                  </a:lnTo>
                  <a:lnTo>
                    <a:pt x="122" y="0"/>
                  </a:lnTo>
                  <a:lnTo>
                    <a:pt x="119" y="0"/>
                  </a:lnTo>
                  <a:lnTo>
                    <a:pt x="115" y="4"/>
                  </a:lnTo>
                  <a:lnTo>
                    <a:pt x="115" y="4"/>
                  </a:lnTo>
                  <a:lnTo>
                    <a:pt x="109" y="8"/>
                  </a:lnTo>
                  <a:lnTo>
                    <a:pt x="104" y="13"/>
                  </a:lnTo>
                  <a:lnTo>
                    <a:pt x="104" y="13"/>
                  </a:lnTo>
                  <a:lnTo>
                    <a:pt x="102" y="24"/>
                  </a:lnTo>
                  <a:lnTo>
                    <a:pt x="99" y="32"/>
                  </a:lnTo>
                  <a:lnTo>
                    <a:pt x="99" y="32"/>
                  </a:lnTo>
                  <a:lnTo>
                    <a:pt x="96" y="35"/>
                  </a:lnTo>
                  <a:lnTo>
                    <a:pt x="89" y="40"/>
                  </a:lnTo>
                  <a:lnTo>
                    <a:pt x="84" y="42"/>
                  </a:lnTo>
                  <a:lnTo>
                    <a:pt x="81" y="47"/>
                  </a:lnTo>
                  <a:lnTo>
                    <a:pt x="81" y="47"/>
                  </a:lnTo>
                  <a:lnTo>
                    <a:pt x="82" y="52"/>
                  </a:lnTo>
                  <a:lnTo>
                    <a:pt x="82" y="55"/>
                  </a:lnTo>
                  <a:lnTo>
                    <a:pt x="81" y="58"/>
                  </a:lnTo>
                  <a:lnTo>
                    <a:pt x="81" y="58"/>
                  </a:lnTo>
                  <a:lnTo>
                    <a:pt x="79" y="59"/>
                  </a:lnTo>
                  <a:lnTo>
                    <a:pt x="81" y="61"/>
                  </a:lnTo>
                  <a:lnTo>
                    <a:pt x="82" y="67"/>
                  </a:lnTo>
                  <a:lnTo>
                    <a:pt x="84" y="72"/>
                  </a:lnTo>
                  <a:lnTo>
                    <a:pt x="84" y="74"/>
                  </a:lnTo>
                  <a:lnTo>
                    <a:pt x="82" y="75"/>
                  </a:lnTo>
                  <a:lnTo>
                    <a:pt x="82" y="75"/>
                  </a:lnTo>
                  <a:lnTo>
                    <a:pt x="81" y="77"/>
                  </a:lnTo>
                  <a:lnTo>
                    <a:pt x="81" y="78"/>
                  </a:lnTo>
                  <a:lnTo>
                    <a:pt x="81" y="81"/>
                  </a:lnTo>
                  <a:lnTo>
                    <a:pt x="84" y="84"/>
                  </a:lnTo>
                  <a:lnTo>
                    <a:pt x="84" y="85"/>
                  </a:lnTo>
                  <a:lnTo>
                    <a:pt x="82" y="85"/>
                  </a:lnTo>
                  <a:lnTo>
                    <a:pt x="82" y="85"/>
                  </a:lnTo>
                  <a:lnTo>
                    <a:pt x="77" y="89"/>
                  </a:lnTo>
                  <a:lnTo>
                    <a:pt x="74" y="91"/>
                  </a:lnTo>
                  <a:lnTo>
                    <a:pt x="72" y="94"/>
                  </a:lnTo>
                  <a:lnTo>
                    <a:pt x="72" y="94"/>
                  </a:lnTo>
                  <a:lnTo>
                    <a:pt x="72" y="101"/>
                  </a:lnTo>
                  <a:lnTo>
                    <a:pt x="71" y="105"/>
                  </a:lnTo>
                  <a:lnTo>
                    <a:pt x="68" y="106"/>
                  </a:lnTo>
                  <a:lnTo>
                    <a:pt x="68" y="106"/>
                  </a:lnTo>
                  <a:lnTo>
                    <a:pt x="65" y="109"/>
                  </a:lnTo>
                  <a:lnTo>
                    <a:pt x="62" y="114"/>
                  </a:lnTo>
                  <a:lnTo>
                    <a:pt x="61" y="118"/>
                  </a:lnTo>
                  <a:lnTo>
                    <a:pt x="61" y="122"/>
                  </a:lnTo>
                  <a:lnTo>
                    <a:pt x="61" y="122"/>
                  </a:lnTo>
                  <a:lnTo>
                    <a:pt x="59" y="123"/>
                  </a:lnTo>
                  <a:lnTo>
                    <a:pt x="58" y="125"/>
                  </a:lnTo>
                  <a:lnTo>
                    <a:pt x="57" y="126"/>
                  </a:lnTo>
                  <a:lnTo>
                    <a:pt x="57" y="131"/>
                  </a:lnTo>
                  <a:lnTo>
                    <a:pt x="57" y="131"/>
                  </a:lnTo>
                  <a:lnTo>
                    <a:pt x="59" y="141"/>
                  </a:lnTo>
                  <a:lnTo>
                    <a:pt x="59" y="145"/>
                  </a:lnTo>
                  <a:lnTo>
                    <a:pt x="58" y="146"/>
                  </a:lnTo>
                  <a:lnTo>
                    <a:pt x="57" y="146"/>
                  </a:lnTo>
                  <a:lnTo>
                    <a:pt x="57" y="146"/>
                  </a:lnTo>
                  <a:lnTo>
                    <a:pt x="55" y="148"/>
                  </a:lnTo>
                  <a:lnTo>
                    <a:pt x="54" y="149"/>
                  </a:lnTo>
                  <a:lnTo>
                    <a:pt x="52" y="153"/>
                  </a:lnTo>
                  <a:lnTo>
                    <a:pt x="51" y="158"/>
                  </a:lnTo>
                  <a:lnTo>
                    <a:pt x="50" y="159"/>
                  </a:lnTo>
                  <a:lnTo>
                    <a:pt x="50" y="159"/>
                  </a:lnTo>
                  <a:lnTo>
                    <a:pt x="48" y="160"/>
                  </a:lnTo>
                  <a:lnTo>
                    <a:pt x="47" y="166"/>
                  </a:lnTo>
                  <a:lnTo>
                    <a:pt x="48" y="172"/>
                  </a:lnTo>
                  <a:lnTo>
                    <a:pt x="50" y="176"/>
                  </a:lnTo>
                  <a:lnTo>
                    <a:pt x="50" y="176"/>
                  </a:lnTo>
                  <a:lnTo>
                    <a:pt x="52" y="180"/>
                  </a:lnTo>
                  <a:lnTo>
                    <a:pt x="54" y="185"/>
                  </a:lnTo>
                  <a:lnTo>
                    <a:pt x="55" y="192"/>
                  </a:lnTo>
                  <a:lnTo>
                    <a:pt x="55" y="192"/>
                  </a:lnTo>
                  <a:lnTo>
                    <a:pt x="55" y="196"/>
                  </a:lnTo>
                  <a:lnTo>
                    <a:pt x="58" y="199"/>
                  </a:lnTo>
                  <a:lnTo>
                    <a:pt x="59" y="202"/>
                  </a:lnTo>
                  <a:lnTo>
                    <a:pt x="59" y="206"/>
                  </a:lnTo>
                  <a:lnTo>
                    <a:pt x="59" y="206"/>
                  </a:lnTo>
                  <a:lnTo>
                    <a:pt x="57" y="215"/>
                  </a:lnTo>
                  <a:lnTo>
                    <a:pt x="57" y="217"/>
                  </a:lnTo>
                  <a:lnTo>
                    <a:pt x="54" y="220"/>
                  </a:lnTo>
                  <a:lnTo>
                    <a:pt x="54" y="220"/>
                  </a:lnTo>
                  <a:lnTo>
                    <a:pt x="52" y="222"/>
                  </a:lnTo>
                  <a:lnTo>
                    <a:pt x="52" y="226"/>
                  </a:lnTo>
                  <a:lnTo>
                    <a:pt x="52" y="229"/>
                  </a:lnTo>
                  <a:lnTo>
                    <a:pt x="50" y="232"/>
                  </a:lnTo>
                  <a:lnTo>
                    <a:pt x="50" y="232"/>
                  </a:lnTo>
                  <a:lnTo>
                    <a:pt x="48" y="233"/>
                  </a:lnTo>
                  <a:lnTo>
                    <a:pt x="48" y="234"/>
                  </a:lnTo>
                  <a:lnTo>
                    <a:pt x="50" y="242"/>
                  </a:lnTo>
                  <a:lnTo>
                    <a:pt x="51" y="247"/>
                  </a:lnTo>
                  <a:lnTo>
                    <a:pt x="51" y="250"/>
                  </a:lnTo>
                  <a:lnTo>
                    <a:pt x="50" y="252"/>
                  </a:lnTo>
                  <a:lnTo>
                    <a:pt x="50" y="252"/>
                  </a:lnTo>
                  <a:lnTo>
                    <a:pt x="42" y="256"/>
                  </a:lnTo>
                  <a:lnTo>
                    <a:pt x="40" y="260"/>
                  </a:lnTo>
                  <a:lnTo>
                    <a:pt x="38" y="267"/>
                  </a:lnTo>
                  <a:lnTo>
                    <a:pt x="38" y="267"/>
                  </a:lnTo>
                  <a:lnTo>
                    <a:pt x="38" y="280"/>
                  </a:lnTo>
                  <a:lnTo>
                    <a:pt x="38" y="289"/>
                  </a:lnTo>
                  <a:lnTo>
                    <a:pt x="38" y="289"/>
                  </a:lnTo>
                  <a:lnTo>
                    <a:pt x="38" y="291"/>
                  </a:lnTo>
                  <a:lnTo>
                    <a:pt x="40" y="293"/>
                  </a:lnTo>
                  <a:lnTo>
                    <a:pt x="41" y="294"/>
                  </a:lnTo>
                  <a:lnTo>
                    <a:pt x="42" y="297"/>
                  </a:lnTo>
                  <a:lnTo>
                    <a:pt x="42" y="297"/>
                  </a:lnTo>
                  <a:lnTo>
                    <a:pt x="41" y="300"/>
                  </a:lnTo>
                  <a:lnTo>
                    <a:pt x="40" y="301"/>
                  </a:lnTo>
                  <a:lnTo>
                    <a:pt x="37" y="301"/>
                  </a:lnTo>
                  <a:lnTo>
                    <a:pt x="34" y="303"/>
                  </a:lnTo>
                  <a:lnTo>
                    <a:pt x="32" y="304"/>
                  </a:lnTo>
                  <a:lnTo>
                    <a:pt x="32" y="304"/>
                  </a:lnTo>
                  <a:lnTo>
                    <a:pt x="34" y="311"/>
                  </a:lnTo>
                  <a:lnTo>
                    <a:pt x="32" y="314"/>
                  </a:lnTo>
                  <a:lnTo>
                    <a:pt x="32" y="316"/>
                  </a:lnTo>
                  <a:lnTo>
                    <a:pt x="32" y="316"/>
                  </a:lnTo>
                  <a:lnTo>
                    <a:pt x="30" y="317"/>
                  </a:lnTo>
                  <a:lnTo>
                    <a:pt x="28" y="318"/>
                  </a:lnTo>
                  <a:lnTo>
                    <a:pt x="28" y="325"/>
                  </a:lnTo>
                  <a:lnTo>
                    <a:pt x="28" y="325"/>
                  </a:lnTo>
                  <a:lnTo>
                    <a:pt x="27" y="330"/>
                  </a:lnTo>
                  <a:lnTo>
                    <a:pt x="25" y="333"/>
                  </a:lnTo>
                  <a:lnTo>
                    <a:pt x="24" y="335"/>
                  </a:lnTo>
                  <a:lnTo>
                    <a:pt x="22" y="337"/>
                  </a:lnTo>
                  <a:lnTo>
                    <a:pt x="22" y="337"/>
                  </a:lnTo>
                  <a:lnTo>
                    <a:pt x="24" y="340"/>
                  </a:lnTo>
                  <a:lnTo>
                    <a:pt x="25" y="343"/>
                  </a:lnTo>
                  <a:lnTo>
                    <a:pt x="25" y="345"/>
                  </a:lnTo>
                  <a:lnTo>
                    <a:pt x="27" y="348"/>
                  </a:lnTo>
                  <a:lnTo>
                    <a:pt x="27" y="348"/>
                  </a:lnTo>
                  <a:lnTo>
                    <a:pt x="27" y="358"/>
                  </a:lnTo>
                  <a:lnTo>
                    <a:pt x="27" y="362"/>
                  </a:lnTo>
                  <a:lnTo>
                    <a:pt x="27" y="365"/>
                  </a:lnTo>
                  <a:lnTo>
                    <a:pt x="25" y="365"/>
                  </a:lnTo>
                  <a:lnTo>
                    <a:pt x="25" y="365"/>
                  </a:lnTo>
                  <a:lnTo>
                    <a:pt x="24" y="368"/>
                  </a:lnTo>
                  <a:lnTo>
                    <a:pt x="22" y="374"/>
                  </a:lnTo>
                  <a:lnTo>
                    <a:pt x="22" y="380"/>
                  </a:lnTo>
                  <a:lnTo>
                    <a:pt x="22" y="382"/>
                  </a:lnTo>
                  <a:lnTo>
                    <a:pt x="22" y="382"/>
                  </a:lnTo>
                  <a:lnTo>
                    <a:pt x="25" y="384"/>
                  </a:lnTo>
                  <a:lnTo>
                    <a:pt x="25" y="387"/>
                  </a:lnTo>
                  <a:lnTo>
                    <a:pt x="24" y="391"/>
                  </a:lnTo>
                  <a:lnTo>
                    <a:pt x="24" y="391"/>
                  </a:lnTo>
                  <a:lnTo>
                    <a:pt x="25" y="394"/>
                  </a:lnTo>
                  <a:lnTo>
                    <a:pt x="27" y="395"/>
                  </a:lnTo>
                  <a:lnTo>
                    <a:pt x="28" y="398"/>
                  </a:lnTo>
                  <a:lnTo>
                    <a:pt x="28" y="399"/>
                  </a:lnTo>
                  <a:lnTo>
                    <a:pt x="27" y="401"/>
                  </a:lnTo>
                  <a:lnTo>
                    <a:pt x="27" y="401"/>
                  </a:lnTo>
                  <a:lnTo>
                    <a:pt x="25" y="405"/>
                  </a:lnTo>
                  <a:lnTo>
                    <a:pt x="25" y="408"/>
                  </a:lnTo>
                  <a:lnTo>
                    <a:pt x="28" y="409"/>
                  </a:lnTo>
                  <a:lnTo>
                    <a:pt x="32" y="409"/>
                  </a:lnTo>
                  <a:lnTo>
                    <a:pt x="32" y="409"/>
                  </a:lnTo>
                  <a:lnTo>
                    <a:pt x="35" y="409"/>
                  </a:lnTo>
                  <a:lnTo>
                    <a:pt x="37" y="412"/>
                  </a:lnTo>
                  <a:lnTo>
                    <a:pt x="37" y="415"/>
                  </a:lnTo>
                  <a:lnTo>
                    <a:pt x="35" y="417"/>
                  </a:lnTo>
                  <a:lnTo>
                    <a:pt x="34" y="417"/>
                  </a:lnTo>
                  <a:lnTo>
                    <a:pt x="34" y="417"/>
                  </a:lnTo>
                  <a:lnTo>
                    <a:pt x="28" y="417"/>
                  </a:lnTo>
                  <a:lnTo>
                    <a:pt x="27" y="418"/>
                  </a:lnTo>
                  <a:lnTo>
                    <a:pt x="28" y="419"/>
                  </a:lnTo>
                  <a:lnTo>
                    <a:pt x="28" y="419"/>
                  </a:lnTo>
                  <a:lnTo>
                    <a:pt x="31" y="422"/>
                  </a:lnTo>
                  <a:lnTo>
                    <a:pt x="34" y="425"/>
                  </a:lnTo>
                  <a:lnTo>
                    <a:pt x="34" y="428"/>
                  </a:lnTo>
                  <a:lnTo>
                    <a:pt x="31" y="431"/>
                  </a:lnTo>
                  <a:lnTo>
                    <a:pt x="31" y="431"/>
                  </a:lnTo>
                  <a:lnTo>
                    <a:pt x="28" y="432"/>
                  </a:lnTo>
                  <a:lnTo>
                    <a:pt x="27" y="435"/>
                  </a:lnTo>
                  <a:lnTo>
                    <a:pt x="28" y="439"/>
                  </a:lnTo>
                  <a:lnTo>
                    <a:pt x="28" y="444"/>
                  </a:lnTo>
                  <a:lnTo>
                    <a:pt x="28" y="444"/>
                  </a:lnTo>
                  <a:lnTo>
                    <a:pt x="28" y="448"/>
                  </a:lnTo>
                  <a:lnTo>
                    <a:pt x="30" y="451"/>
                  </a:lnTo>
                  <a:lnTo>
                    <a:pt x="30" y="454"/>
                  </a:lnTo>
                  <a:lnTo>
                    <a:pt x="28" y="455"/>
                  </a:lnTo>
                  <a:lnTo>
                    <a:pt x="28" y="455"/>
                  </a:lnTo>
                  <a:lnTo>
                    <a:pt x="27" y="456"/>
                  </a:lnTo>
                  <a:lnTo>
                    <a:pt x="25" y="458"/>
                  </a:lnTo>
                  <a:lnTo>
                    <a:pt x="25" y="461"/>
                  </a:lnTo>
                  <a:lnTo>
                    <a:pt x="25" y="465"/>
                  </a:lnTo>
                  <a:lnTo>
                    <a:pt x="25" y="466"/>
                  </a:lnTo>
                  <a:lnTo>
                    <a:pt x="22" y="466"/>
                  </a:lnTo>
                  <a:lnTo>
                    <a:pt x="22" y="466"/>
                  </a:lnTo>
                  <a:lnTo>
                    <a:pt x="20" y="468"/>
                  </a:lnTo>
                  <a:lnTo>
                    <a:pt x="18" y="471"/>
                  </a:lnTo>
                  <a:lnTo>
                    <a:pt x="18" y="475"/>
                  </a:lnTo>
                  <a:lnTo>
                    <a:pt x="15" y="478"/>
                  </a:lnTo>
                  <a:lnTo>
                    <a:pt x="15" y="478"/>
                  </a:lnTo>
                  <a:lnTo>
                    <a:pt x="15" y="479"/>
                  </a:lnTo>
                  <a:lnTo>
                    <a:pt x="15" y="481"/>
                  </a:lnTo>
                  <a:lnTo>
                    <a:pt x="17" y="483"/>
                  </a:lnTo>
                  <a:lnTo>
                    <a:pt x="18" y="486"/>
                  </a:lnTo>
                  <a:lnTo>
                    <a:pt x="18" y="488"/>
                  </a:lnTo>
                  <a:lnTo>
                    <a:pt x="17" y="489"/>
                  </a:lnTo>
                  <a:lnTo>
                    <a:pt x="17" y="489"/>
                  </a:lnTo>
                  <a:lnTo>
                    <a:pt x="14" y="493"/>
                  </a:lnTo>
                  <a:lnTo>
                    <a:pt x="13" y="496"/>
                  </a:lnTo>
                  <a:lnTo>
                    <a:pt x="13" y="499"/>
                  </a:lnTo>
                  <a:lnTo>
                    <a:pt x="11" y="500"/>
                  </a:lnTo>
                  <a:lnTo>
                    <a:pt x="10" y="500"/>
                  </a:lnTo>
                  <a:lnTo>
                    <a:pt x="10" y="500"/>
                  </a:lnTo>
                  <a:lnTo>
                    <a:pt x="7" y="502"/>
                  </a:lnTo>
                  <a:lnTo>
                    <a:pt x="4" y="505"/>
                  </a:lnTo>
                  <a:lnTo>
                    <a:pt x="1" y="512"/>
                  </a:lnTo>
                  <a:lnTo>
                    <a:pt x="1" y="512"/>
                  </a:lnTo>
                  <a:lnTo>
                    <a:pt x="0" y="519"/>
                  </a:lnTo>
                  <a:lnTo>
                    <a:pt x="0" y="522"/>
                  </a:lnTo>
                  <a:lnTo>
                    <a:pt x="1" y="526"/>
                  </a:lnTo>
                  <a:lnTo>
                    <a:pt x="1" y="526"/>
                  </a:lnTo>
                  <a:lnTo>
                    <a:pt x="3" y="530"/>
                  </a:lnTo>
                  <a:lnTo>
                    <a:pt x="3" y="533"/>
                  </a:lnTo>
                  <a:lnTo>
                    <a:pt x="3" y="535"/>
                  </a:lnTo>
                  <a:lnTo>
                    <a:pt x="4" y="537"/>
                  </a:lnTo>
                  <a:lnTo>
                    <a:pt x="4" y="537"/>
                  </a:lnTo>
                  <a:lnTo>
                    <a:pt x="8" y="537"/>
                  </a:lnTo>
                  <a:lnTo>
                    <a:pt x="14" y="537"/>
                  </a:lnTo>
                  <a:lnTo>
                    <a:pt x="18" y="539"/>
                  </a:lnTo>
                  <a:lnTo>
                    <a:pt x="20" y="540"/>
                  </a:lnTo>
                  <a:lnTo>
                    <a:pt x="20" y="542"/>
                  </a:lnTo>
                  <a:lnTo>
                    <a:pt x="20" y="542"/>
                  </a:lnTo>
                  <a:lnTo>
                    <a:pt x="18" y="547"/>
                  </a:lnTo>
                  <a:lnTo>
                    <a:pt x="18" y="553"/>
                  </a:lnTo>
                  <a:lnTo>
                    <a:pt x="18" y="557"/>
                  </a:lnTo>
                  <a:lnTo>
                    <a:pt x="20" y="560"/>
                  </a:lnTo>
                  <a:lnTo>
                    <a:pt x="20" y="560"/>
                  </a:lnTo>
                  <a:lnTo>
                    <a:pt x="22" y="562"/>
                  </a:lnTo>
                  <a:lnTo>
                    <a:pt x="24" y="563"/>
                  </a:lnTo>
                  <a:lnTo>
                    <a:pt x="25" y="566"/>
                  </a:lnTo>
                  <a:lnTo>
                    <a:pt x="28" y="567"/>
                  </a:lnTo>
                  <a:lnTo>
                    <a:pt x="28" y="567"/>
                  </a:lnTo>
                  <a:lnTo>
                    <a:pt x="41" y="566"/>
                  </a:lnTo>
                  <a:lnTo>
                    <a:pt x="50" y="566"/>
                  </a:lnTo>
                  <a:lnTo>
                    <a:pt x="57" y="566"/>
                  </a:lnTo>
                  <a:lnTo>
                    <a:pt x="57" y="566"/>
                  </a:lnTo>
                  <a:lnTo>
                    <a:pt x="61" y="569"/>
                  </a:lnTo>
                  <a:lnTo>
                    <a:pt x="65" y="572"/>
                  </a:lnTo>
                  <a:lnTo>
                    <a:pt x="65" y="572"/>
                  </a:lnTo>
                  <a:lnTo>
                    <a:pt x="69" y="572"/>
                  </a:lnTo>
                  <a:lnTo>
                    <a:pt x="74" y="573"/>
                  </a:lnTo>
                  <a:lnTo>
                    <a:pt x="78" y="573"/>
                  </a:lnTo>
                  <a:lnTo>
                    <a:pt x="81" y="573"/>
                  </a:lnTo>
                  <a:lnTo>
                    <a:pt x="81" y="573"/>
                  </a:lnTo>
                  <a:lnTo>
                    <a:pt x="81" y="572"/>
                  </a:lnTo>
                  <a:lnTo>
                    <a:pt x="79" y="570"/>
                  </a:lnTo>
                  <a:lnTo>
                    <a:pt x="77" y="566"/>
                  </a:lnTo>
                  <a:lnTo>
                    <a:pt x="74" y="562"/>
                  </a:lnTo>
                  <a:lnTo>
                    <a:pt x="72" y="559"/>
                  </a:lnTo>
                  <a:lnTo>
                    <a:pt x="72" y="559"/>
                  </a:lnTo>
                  <a:lnTo>
                    <a:pt x="71" y="553"/>
                  </a:lnTo>
                  <a:lnTo>
                    <a:pt x="69" y="546"/>
                  </a:lnTo>
                  <a:lnTo>
                    <a:pt x="69" y="546"/>
                  </a:lnTo>
                  <a:lnTo>
                    <a:pt x="69" y="539"/>
                  </a:lnTo>
                  <a:lnTo>
                    <a:pt x="71" y="535"/>
                  </a:lnTo>
                  <a:lnTo>
                    <a:pt x="74" y="532"/>
                  </a:lnTo>
                  <a:lnTo>
                    <a:pt x="74" y="532"/>
                  </a:lnTo>
                  <a:lnTo>
                    <a:pt x="78" y="526"/>
                  </a:lnTo>
                  <a:lnTo>
                    <a:pt x="79" y="525"/>
                  </a:lnTo>
                  <a:lnTo>
                    <a:pt x="82" y="525"/>
                  </a:lnTo>
                  <a:lnTo>
                    <a:pt x="82" y="525"/>
                  </a:lnTo>
                  <a:lnTo>
                    <a:pt x="85" y="525"/>
                  </a:lnTo>
                  <a:lnTo>
                    <a:pt x="88" y="523"/>
                  </a:lnTo>
                  <a:lnTo>
                    <a:pt x="91" y="519"/>
                  </a:lnTo>
                  <a:lnTo>
                    <a:pt x="92" y="513"/>
                  </a:lnTo>
                  <a:lnTo>
                    <a:pt x="92" y="513"/>
                  </a:lnTo>
                  <a:lnTo>
                    <a:pt x="92" y="508"/>
                  </a:lnTo>
                  <a:lnTo>
                    <a:pt x="95" y="503"/>
                  </a:lnTo>
                  <a:lnTo>
                    <a:pt x="104" y="496"/>
                  </a:lnTo>
                  <a:lnTo>
                    <a:pt x="104" y="496"/>
                  </a:lnTo>
                  <a:lnTo>
                    <a:pt x="116" y="486"/>
                  </a:lnTo>
                  <a:lnTo>
                    <a:pt x="121" y="483"/>
                  </a:lnTo>
                  <a:lnTo>
                    <a:pt x="122" y="482"/>
                  </a:lnTo>
                  <a:lnTo>
                    <a:pt x="122" y="481"/>
                  </a:lnTo>
                  <a:lnTo>
                    <a:pt x="122" y="481"/>
                  </a:lnTo>
                  <a:lnTo>
                    <a:pt x="122" y="476"/>
                  </a:lnTo>
                  <a:lnTo>
                    <a:pt x="122" y="472"/>
                  </a:lnTo>
                  <a:lnTo>
                    <a:pt x="125" y="465"/>
                  </a:lnTo>
                  <a:lnTo>
                    <a:pt x="125" y="465"/>
                  </a:lnTo>
                  <a:lnTo>
                    <a:pt x="123" y="463"/>
                  </a:lnTo>
                  <a:lnTo>
                    <a:pt x="122" y="462"/>
                  </a:lnTo>
                  <a:lnTo>
                    <a:pt x="118" y="462"/>
                  </a:lnTo>
                  <a:lnTo>
                    <a:pt x="109" y="461"/>
                  </a:lnTo>
                  <a:lnTo>
                    <a:pt x="109" y="461"/>
                  </a:lnTo>
                  <a:lnTo>
                    <a:pt x="105" y="458"/>
                  </a:lnTo>
                  <a:lnTo>
                    <a:pt x="99" y="452"/>
                  </a:lnTo>
                  <a:lnTo>
                    <a:pt x="96" y="449"/>
                  </a:lnTo>
                  <a:lnTo>
                    <a:pt x="96" y="445"/>
                  </a:lnTo>
                  <a:lnTo>
                    <a:pt x="96" y="441"/>
                  </a:lnTo>
                  <a:lnTo>
                    <a:pt x="98" y="435"/>
                  </a:lnTo>
                  <a:lnTo>
                    <a:pt x="98" y="435"/>
                  </a:lnTo>
                  <a:lnTo>
                    <a:pt x="101" y="431"/>
                  </a:lnTo>
                  <a:lnTo>
                    <a:pt x="104" y="428"/>
                  </a:lnTo>
                  <a:lnTo>
                    <a:pt x="112" y="424"/>
                  </a:lnTo>
                  <a:lnTo>
                    <a:pt x="119" y="421"/>
                  </a:lnTo>
                  <a:lnTo>
                    <a:pt x="123" y="421"/>
                  </a:lnTo>
                  <a:lnTo>
                    <a:pt x="123" y="421"/>
                  </a:lnTo>
                  <a:lnTo>
                    <a:pt x="126" y="419"/>
                  </a:lnTo>
                  <a:lnTo>
                    <a:pt x="126" y="417"/>
                  </a:lnTo>
                  <a:lnTo>
                    <a:pt x="126" y="414"/>
                  </a:lnTo>
                  <a:lnTo>
                    <a:pt x="128" y="412"/>
                  </a:lnTo>
                  <a:lnTo>
                    <a:pt x="128" y="412"/>
                  </a:lnTo>
                  <a:lnTo>
                    <a:pt x="131" y="411"/>
                  </a:lnTo>
                  <a:lnTo>
                    <a:pt x="132" y="408"/>
                  </a:lnTo>
                  <a:lnTo>
                    <a:pt x="132" y="401"/>
                  </a:lnTo>
                  <a:lnTo>
                    <a:pt x="132" y="401"/>
                  </a:lnTo>
                  <a:lnTo>
                    <a:pt x="133" y="391"/>
                  </a:lnTo>
                  <a:lnTo>
                    <a:pt x="135" y="387"/>
                  </a:lnTo>
                  <a:lnTo>
                    <a:pt x="136" y="385"/>
                  </a:lnTo>
                  <a:lnTo>
                    <a:pt x="139" y="385"/>
                  </a:lnTo>
                  <a:lnTo>
                    <a:pt x="139" y="385"/>
                  </a:lnTo>
                  <a:lnTo>
                    <a:pt x="142" y="384"/>
                  </a:lnTo>
                  <a:lnTo>
                    <a:pt x="145" y="382"/>
                  </a:lnTo>
                  <a:lnTo>
                    <a:pt x="145" y="381"/>
                  </a:lnTo>
                  <a:lnTo>
                    <a:pt x="143" y="380"/>
                  </a:lnTo>
                  <a:lnTo>
                    <a:pt x="143" y="380"/>
                  </a:lnTo>
                  <a:lnTo>
                    <a:pt x="141" y="378"/>
                  </a:lnTo>
                  <a:lnTo>
                    <a:pt x="139" y="377"/>
                  </a:lnTo>
                  <a:lnTo>
                    <a:pt x="141" y="374"/>
                  </a:lnTo>
                  <a:lnTo>
                    <a:pt x="143" y="372"/>
                  </a:lnTo>
                  <a:lnTo>
                    <a:pt x="143" y="372"/>
                  </a:lnTo>
                  <a:lnTo>
                    <a:pt x="148" y="374"/>
                  </a:lnTo>
                  <a:lnTo>
                    <a:pt x="149" y="375"/>
                  </a:lnTo>
                  <a:lnTo>
                    <a:pt x="151" y="378"/>
                  </a:lnTo>
                  <a:lnTo>
                    <a:pt x="152" y="378"/>
                  </a:lnTo>
                  <a:lnTo>
                    <a:pt x="152" y="378"/>
                  </a:lnTo>
                  <a:lnTo>
                    <a:pt x="156" y="377"/>
                  </a:lnTo>
                  <a:lnTo>
                    <a:pt x="159" y="374"/>
                  </a:lnTo>
                  <a:lnTo>
                    <a:pt x="160" y="370"/>
                  </a:lnTo>
                  <a:lnTo>
                    <a:pt x="160" y="368"/>
                  </a:lnTo>
                  <a:lnTo>
                    <a:pt x="159" y="365"/>
                  </a:lnTo>
                  <a:lnTo>
                    <a:pt x="159" y="365"/>
                  </a:lnTo>
                  <a:lnTo>
                    <a:pt x="155" y="364"/>
                  </a:lnTo>
                  <a:lnTo>
                    <a:pt x="152" y="365"/>
                  </a:lnTo>
                  <a:lnTo>
                    <a:pt x="151" y="367"/>
                  </a:lnTo>
                  <a:lnTo>
                    <a:pt x="148" y="368"/>
                  </a:lnTo>
                  <a:lnTo>
                    <a:pt x="148" y="368"/>
                  </a:lnTo>
                  <a:lnTo>
                    <a:pt x="145" y="368"/>
                  </a:lnTo>
                  <a:lnTo>
                    <a:pt x="143" y="367"/>
                  </a:lnTo>
                  <a:lnTo>
                    <a:pt x="141" y="365"/>
                  </a:lnTo>
                  <a:lnTo>
                    <a:pt x="139" y="364"/>
                  </a:lnTo>
                  <a:lnTo>
                    <a:pt x="139" y="364"/>
                  </a:lnTo>
                  <a:lnTo>
                    <a:pt x="138" y="362"/>
                  </a:lnTo>
                  <a:lnTo>
                    <a:pt x="138" y="360"/>
                  </a:lnTo>
                  <a:lnTo>
                    <a:pt x="136" y="355"/>
                  </a:lnTo>
                  <a:lnTo>
                    <a:pt x="136" y="353"/>
                  </a:lnTo>
                  <a:lnTo>
                    <a:pt x="136" y="353"/>
                  </a:lnTo>
                  <a:lnTo>
                    <a:pt x="135" y="345"/>
                  </a:lnTo>
                  <a:lnTo>
                    <a:pt x="135" y="341"/>
                  </a:lnTo>
                  <a:lnTo>
                    <a:pt x="136" y="337"/>
                  </a:lnTo>
                  <a:lnTo>
                    <a:pt x="136" y="337"/>
                  </a:lnTo>
                  <a:lnTo>
                    <a:pt x="138" y="337"/>
                  </a:lnTo>
                  <a:lnTo>
                    <a:pt x="139" y="337"/>
                  </a:lnTo>
                  <a:lnTo>
                    <a:pt x="146" y="340"/>
                  </a:lnTo>
                  <a:lnTo>
                    <a:pt x="153" y="343"/>
                  </a:lnTo>
                  <a:lnTo>
                    <a:pt x="162" y="344"/>
                  </a:lnTo>
                  <a:lnTo>
                    <a:pt x="162" y="344"/>
                  </a:lnTo>
                  <a:lnTo>
                    <a:pt x="169" y="344"/>
                  </a:lnTo>
                  <a:lnTo>
                    <a:pt x="175" y="341"/>
                  </a:lnTo>
                  <a:lnTo>
                    <a:pt x="179" y="338"/>
                  </a:lnTo>
                  <a:lnTo>
                    <a:pt x="180" y="335"/>
                  </a:lnTo>
                  <a:lnTo>
                    <a:pt x="180" y="335"/>
                  </a:lnTo>
                  <a:lnTo>
                    <a:pt x="178" y="327"/>
                  </a:lnTo>
                  <a:lnTo>
                    <a:pt x="179" y="323"/>
                  </a:lnTo>
                  <a:lnTo>
                    <a:pt x="179" y="321"/>
                  </a:lnTo>
                  <a:lnTo>
                    <a:pt x="182" y="320"/>
                  </a:lnTo>
                  <a:lnTo>
                    <a:pt x="182" y="320"/>
                  </a:lnTo>
                  <a:lnTo>
                    <a:pt x="185" y="317"/>
                  </a:lnTo>
                  <a:lnTo>
                    <a:pt x="185" y="314"/>
                  </a:lnTo>
                  <a:lnTo>
                    <a:pt x="182" y="311"/>
                  </a:lnTo>
                  <a:lnTo>
                    <a:pt x="180" y="308"/>
                  </a:lnTo>
                  <a:lnTo>
                    <a:pt x="180" y="308"/>
                  </a:lnTo>
                  <a:lnTo>
                    <a:pt x="180" y="304"/>
                  </a:lnTo>
                  <a:lnTo>
                    <a:pt x="182" y="301"/>
                  </a:lnTo>
                  <a:lnTo>
                    <a:pt x="183" y="301"/>
                  </a:lnTo>
                  <a:lnTo>
                    <a:pt x="186" y="301"/>
                  </a:lnTo>
                  <a:lnTo>
                    <a:pt x="186" y="301"/>
                  </a:lnTo>
                  <a:lnTo>
                    <a:pt x="192" y="303"/>
                  </a:lnTo>
                  <a:lnTo>
                    <a:pt x="202" y="303"/>
                  </a:lnTo>
                  <a:lnTo>
                    <a:pt x="227" y="300"/>
                  </a:lnTo>
                  <a:lnTo>
                    <a:pt x="227" y="300"/>
                  </a:lnTo>
                  <a:lnTo>
                    <a:pt x="240" y="296"/>
                  </a:lnTo>
                  <a:lnTo>
                    <a:pt x="249" y="293"/>
                  </a:lnTo>
                  <a:lnTo>
                    <a:pt x="256" y="289"/>
                  </a:lnTo>
                  <a:lnTo>
                    <a:pt x="259" y="284"/>
                  </a:lnTo>
                  <a:lnTo>
                    <a:pt x="259" y="284"/>
                  </a:lnTo>
                  <a:lnTo>
                    <a:pt x="260" y="280"/>
                  </a:lnTo>
                  <a:lnTo>
                    <a:pt x="264" y="274"/>
                  </a:lnTo>
                  <a:lnTo>
                    <a:pt x="273" y="263"/>
                  </a:lnTo>
                  <a:lnTo>
                    <a:pt x="273" y="263"/>
                  </a:lnTo>
                  <a:lnTo>
                    <a:pt x="274" y="260"/>
                  </a:lnTo>
                  <a:lnTo>
                    <a:pt x="273" y="257"/>
                  </a:lnTo>
                  <a:lnTo>
                    <a:pt x="270" y="254"/>
                  </a:lnTo>
                  <a:lnTo>
                    <a:pt x="266" y="253"/>
                  </a:lnTo>
                  <a:lnTo>
                    <a:pt x="266" y="253"/>
                  </a:lnTo>
                  <a:lnTo>
                    <a:pt x="261" y="252"/>
                  </a:lnTo>
                  <a:lnTo>
                    <a:pt x="260" y="247"/>
                  </a:lnTo>
                  <a:lnTo>
                    <a:pt x="261" y="243"/>
                  </a:lnTo>
                  <a:lnTo>
                    <a:pt x="263" y="239"/>
                  </a:lnTo>
                  <a:lnTo>
                    <a:pt x="263" y="239"/>
                  </a:lnTo>
                  <a:lnTo>
                    <a:pt x="264" y="236"/>
                  </a:lnTo>
                  <a:lnTo>
                    <a:pt x="263" y="233"/>
                  </a:lnTo>
                  <a:lnTo>
                    <a:pt x="259" y="230"/>
                  </a:lnTo>
                  <a:lnTo>
                    <a:pt x="254" y="229"/>
                  </a:lnTo>
                  <a:lnTo>
                    <a:pt x="254" y="229"/>
                  </a:lnTo>
                  <a:lnTo>
                    <a:pt x="249" y="229"/>
                  </a:lnTo>
                  <a:lnTo>
                    <a:pt x="243" y="226"/>
                  </a:lnTo>
                  <a:lnTo>
                    <a:pt x="242" y="222"/>
                  </a:lnTo>
                  <a:lnTo>
                    <a:pt x="242" y="220"/>
                  </a:lnTo>
                  <a:lnTo>
                    <a:pt x="243" y="219"/>
                  </a:lnTo>
                  <a:lnTo>
                    <a:pt x="243" y="219"/>
                  </a:lnTo>
                  <a:lnTo>
                    <a:pt x="246" y="216"/>
                  </a:lnTo>
                  <a:lnTo>
                    <a:pt x="249" y="217"/>
                  </a:lnTo>
                  <a:lnTo>
                    <a:pt x="249" y="217"/>
                  </a:lnTo>
                  <a:lnTo>
                    <a:pt x="250" y="213"/>
                  </a:lnTo>
                  <a:lnTo>
                    <a:pt x="250" y="210"/>
                  </a:lnTo>
                  <a:lnTo>
                    <a:pt x="250" y="210"/>
                  </a:lnTo>
                  <a:lnTo>
                    <a:pt x="247" y="209"/>
                  </a:lnTo>
                  <a:lnTo>
                    <a:pt x="246" y="206"/>
                  </a:lnTo>
                  <a:lnTo>
                    <a:pt x="244" y="200"/>
                  </a:lnTo>
                  <a:lnTo>
                    <a:pt x="244" y="200"/>
                  </a:lnTo>
                  <a:lnTo>
                    <a:pt x="246" y="195"/>
                  </a:lnTo>
                  <a:lnTo>
                    <a:pt x="247" y="192"/>
                  </a:lnTo>
                  <a:lnTo>
                    <a:pt x="249" y="188"/>
                  </a:lnTo>
                  <a:lnTo>
                    <a:pt x="249" y="180"/>
                  </a:lnTo>
                  <a:lnTo>
                    <a:pt x="249" y="180"/>
                  </a:lnTo>
                  <a:lnTo>
                    <a:pt x="250" y="172"/>
                  </a:lnTo>
                  <a:lnTo>
                    <a:pt x="252" y="165"/>
                  </a:lnTo>
                  <a:lnTo>
                    <a:pt x="254" y="158"/>
                  </a:lnTo>
                  <a:lnTo>
                    <a:pt x="254" y="152"/>
                  </a:lnTo>
                  <a:lnTo>
                    <a:pt x="254" y="152"/>
                  </a:lnTo>
                  <a:lnTo>
                    <a:pt x="256" y="151"/>
                  </a:lnTo>
                  <a:lnTo>
                    <a:pt x="257" y="148"/>
                  </a:lnTo>
                  <a:lnTo>
                    <a:pt x="261" y="142"/>
                  </a:lnTo>
                  <a:lnTo>
                    <a:pt x="269" y="135"/>
                  </a:lnTo>
                  <a:lnTo>
                    <a:pt x="274" y="126"/>
                  </a:lnTo>
                  <a:lnTo>
                    <a:pt x="274" y="126"/>
                  </a:lnTo>
                  <a:lnTo>
                    <a:pt x="280" y="118"/>
                  </a:lnTo>
                  <a:lnTo>
                    <a:pt x="289" y="109"/>
                  </a:lnTo>
                  <a:lnTo>
                    <a:pt x="296" y="102"/>
                  </a:lnTo>
                  <a:lnTo>
                    <a:pt x="301" y="98"/>
                  </a:lnTo>
                  <a:lnTo>
                    <a:pt x="301" y="98"/>
                  </a:lnTo>
                  <a:lnTo>
                    <a:pt x="313" y="92"/>
                  </a:lnTo>
                  <a:lnTo>
                    <a:pt x="318" y="89"/>
                  </a:lnTo>
                  <a:lnTo>
                    <a:pt x="321" y="87"/>
                  </a:lnTo>
                  <a:lnTo>
                    <a:pt x="321" y="87"/>
                  </a:lnTo>
                  <a:lnTo>
                    <a:pt x="321" y="82"/>
                  </a:lnTo>
                  <a:lnTo>
                    <a:pt x="321" y="74"/>
                  </a:lnTo>
                  <a:lnTo>
                    <a:pt x="320" y="67"/>
                  </a:lnTo>
                  <a:lnTo>
                    <a:pt x="318" y="62"/>
                  </a:lnTo>
                  <a:lnTo>
                    <a:pt x="318" y="6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1" name="Freeform 295">
              <a:extLst>
                <a:ext uri="{FF2B5EF4-FFF2-40B4-BE49-F238E27FC236}">
                  <a16:creationId xmlns:a16="http://schemas.microsoft.com/office/drawing/2014/main" id="{3429B040-AF0D-B846-8E5E-565AA926E946}"/>
                </a:ext>
              </a:extLst>
            </p:cNvPr>
            <p:cNvSpPr>
              <a:spLocks/>
            </p:cNvSpPr>
            <p:nvPr/>
          </p:nvSpPr>
          <p:spPr bwMode="auto">
            <a:xfrm>
              <a:off x="2510662" y="4737397"/>
              <a:ext cx="205691" cy="1066925"/>
            </a:xfrm>
            <a:custGeom>
              <a:avLst/>
              <a:gdLst/>
              <a:ahLst/>
              <a:cxnLst>
                <a:cxn ang="0">
                  <a:pos x="52" y="613"/>
                </a:cxn>
                <a:cxn ang="0">
                  <a:pos x="38" y="579"/>
                </a:cxn>
                <a:cxn ang="0">
                  <a:pos x="49" y="553"/>
                </a:cxn>
                <a:cxn ang="0">
                  <a:pos x="62" y="529"/>
                </a:cxn>
                <a:cxn ang="0">
                  <a:pos x="62" y="493"/>
                </a:cxn>
                <a:cxn ang="0">
                  <a:pos x="59" y="479"/>
                </a:cxn>
                <a:cxn ang="0">
                  <a:pos x="56" y="448"/>
                </a:cxn>
                <a:cxn ang="0">
                  <a:pos x="58" y="409"/>
                </a:cxn>
                <a:cxn ang="0">
                  <a:pos x="71" y="375"/>
                </a:cxn>
                <a:cxn ang="0">
                  <a:pos x="76" y="330"/>
                </a:cxn>
                <a:cxn ang="0">
                  <a:pos x="88" y="294"/>
                </a:cxn>
                <a:cxn ang="0">
                  <a:pos x="82" y="246"/>
                </a:cxn>
                <a:cxn ang="0">
                  <a:pos x="91" y="205"/>
                </a:cxn>
                <a:cxn ang="0">
                  <a:pos x="106" y="168"/>
                </a:cxn>
                <a:cxn ang="0">
                  <a:pos x="118" y="146"/>
                </a:cxn>
                <a:cxn ang="0">
                  <a:pos x="133" y="106"/>
                </a:cxn>
                <a:cxn ang="0">
                  <a:pos x="119" y="61"/>
                </a:cxn>
                <a:cxn ang="0">
                  <a:pos x="116" y="31"/>
                </a:cxn>
                <a:cxn ang="0">
                  <a:pos x="98" y="0"/>
                </a:cxn>
                <a:cxn ang="0">
                  <a:pos x="89" y="48"/>
                </a:cxn>
                <a:cxn ang="0">
                  <a:pos x="82" y="126"/>
                </a:cxn>
                <a:cxn ang="0">
                  <a:pos x="64" y="195"/>
                </a:cxn>
                <a:cxn ang="0">
                  <a:pos x="64" y="264"/>
                </a:cxn>
                <a:cxn ang="0">
                  <a:pos x="42" y="330"/>
                </a:cxn>
                <a:cxn ang="0">
                  <a:pos x="35" y="375"/>
                </a:cxn>
                <a:cxn ang="0">
                  <a:pos x="29" y="428"/>
                </a:cxn>
                <a:cxn ang="0">
                  <a:pos x="31" y="459"/>
                </a:cxn>
                <a:cxn ang="0">
                  <a:pos x="44" y="431"/>
                </a:cxn>
                <a:cxn ang="0">
                  <a:pos x="41" y="459"/>
                </a:cxn>
                <a:cxn ang="0">
                  <a:pos x="38" y="486"/>
                </a:cxn>
                <a:cxn ang="0">
                  <a:pos x="29" y="508"/>
                </a:cxn>
                <a:cxn ang="0">
                  <a:pos x="29" y="496"/>
                </a:cxn>
                <a:cxn ang="0">
                  <a:pos x="22" y="503"/>
                </a:cxn>
                <a:cxn ang="0">
                  <a:pos x="10" y="520"/>
                </a:cxn>
                <a:cxn ang="0">
                  <a:pos x="11" y="530"/>
                </a:cxn>
                <a:cxn ang="0">
                  <a:pos x="17" y="550"/>
                </a:cxn>
                <a:cxn ang="0">
                  <a:pos x="24" y="553"/>
                </a:cxn>
                <a:cxn ang="0">
                  <a:pos x="4" y="570"/>
                </a:cxn>
                <a:cxn ang="0">
                  <a:pos x="15" y="573"/>
                </a:cxn>
                <a:cxn ang="0">
                  <a:pos x="12" y="596"/>
                </a:cxn>
                <a:cxn ang="0">
                  <a:pos x="24" y="587"/>
                </a:cxn>
                <a:cxn ang="0">
                  <a:pos x="11" y="614"/>
                </a:cxn>
                <a:cxn ang="0">
                  <a:pos x="21" y="624"/>
                </a:cxn>
                <a:cxn ang="0">
                  <a:pos x="29" y="636"/>
                </a:cxn>
                <a:cxn ang="0">
                  <a:pos x="47" y="640"/>
                </a:cxn>
                <a:cxn ang="0">
                  <a:pos x="39" y="650"/>
                </a:cxn>
                <a:cxn ang="0">
                  <a:pos x="49" y="657"/>
                </a:cxn>
                <a:cxn ang="0">
                  <a:pos x="38" y="668"/>
                </a:cxn>
                <a:cxn ang="0">
                  <a:pos x="68" y="663"/>
                </a:cxn>
                <a:cxn ang="0">
                  <a:pos x="31" y="671"/>
                </a:cxn>
                <a:cxn ang="0">
                  <a:pos x="56" y="690"/>
                </a:cxn>
                <a:cxn ang="0">
                  <a:pos x="74" y="668"/>
                </a:cxn>
                <a:cxn ang="0">
                  <a:pos x="79" y="664"/>
                </a:cxn>
                <a:cxn ang="0">
                  <a:pos x="91" y="675"/>
                </a:cxn>
                <a:cxn ang="0">
                  <a:pos x="82" y="675"/>
                </a:cxn>
                <a:cxn ang="0">
                  <a:pos x="66" y="690"/>
                </a:cxn>
                <a:cxn ang="0">
                  <a:pos x="72" y="700"/>
                </a:cxn>
                <a:cxn ang="0">
                  <a:pos x="86" y="701"/>
                </a:cxn>
                <a:cxn ang="0">
                  <a:pos x="105" y="710"/>
                </a:cxn>
                <a:cxn ang="0">
                  <a:pos x="125" y="711"/>
                </a:cxn>
                <a:cxn ang="0">
                  <a:pos x="111" y="684"/>
                </a:cxn>
                <a:cxn ang="0">
                  <a:pos x="91" y="640"/>
                </a:cxn>
              </a:cxnLst>
              <a:rect l="0" t="0" r="r" b="b"/>
              <a:pathLst>
                <a:path w="139" h="721">
                  <a:moveTo>
                    <a:pt x="62" y="641"/>
                  </a:moveTo>
                  <a:lnTo>
                    <a:pt x="62" y="641"/>
                  </a:lnTo>
                  <a:lnTo>
                    <a:pt x="59" y="640"/>
                  </a:lnTo>
                  <a:lnTo>
                    <a:pt x="58" y="637"/>
                  </a:lnTo>
                  <a:lnTo>
                    <a:pt x="56" y="636"/>
                  </a:lnTo>
                  <a:lnTo>
                    <a:pt x="54" y="634"/>
                  </a:lnTo>
                  <a:lnTo>
                    <a:pt x="54" y="634"/>
                  </a:lnTo>
                  <a:lnTo>
                    <a:pt x="52" y="631"/>
                  </a:lnTo>
                  <a:lnTo>
                    <a:pt x="52" y="627"/>
                  </a:lnTo>
                  <a:lnTo>
                    <a:pt x="52" y="621"/>
                  </a:lnTo>
                  <a:lnTo>
                    <a:pt x="54" y="616"/>
                  </a:lnTo>
                  <a:lnTo>
                    <a:pt x="54" y="616"/>
                  </a:lnTo>
                  <a:lnTo>
                    <a:pt x="54" y="614"/>
                  </a:lnTo>
                  <a:lnTo>
                    <a:pt x="52" y="613"/>
                  </a:lnTo>
                  <a:lnTo>
                    <a:pt x="48" y="611"/>
                  </a:lnTo>
                  <a:lnTo>
                    <a:pt x="42" y="611"/>
                  </a:lnTo>
                  <a:lnTo>
                    <a:pt x="38" y="611"/>
                  </a:lnTo>
                  <a:lnTo>
                    <a:pt x="38" y="611"/>
                  </a:lnTo>
                  <a:lnTo>
                    <a:pt x="37" y="609"/>
                  </a:lnTo>
                  <a:lnTo>
                    <a:pt x="37" y="607"/>
                  </a:lnTo>
                  <a:lnTo>
                    <a:pt x="37" y="604"/>
                  </a:lnTo>
                  <a:lnTo>
                    <a:pt x="35" y="600"/>
                  </a:lnTo>
                  <a:lnTo>
                    <a:pt x="35" y="600"/>
                  </a:lnTo>
                  <a:lnTo>
                    <a:pt x="34" y="596"/>
                  </a:lnTo>
                  <a:lnTo>
                    <a:pt x="34" y="593"/>
                  </a:lnTo>
                  <a:lnTo>
                    <a:pt x="35" y="586"/>
                  </a:lnTo>
                  <a:lnTo>
                    <a:pt x="35" y="586"/>
                  </a:lnTo>
                  <a:lnTo>
                    <a:pt x="38" y="579"/>
                  </a:lnTo>
                  <a:lnTo>
                    <a:pt x="41" y="576"/>
                  </a:lnTo>
                  <a:lnTo>
                    <a:pt x="44" y="574"/>
                  </a:lnTo>
                  <a:lnTo>
                    <a:pt x="44" y="574"/>
                  </a:lnTo>
                  <a:lnTo>
                    <a:pt x="45" y="574"/>
                  </a:lnTo>
                  <a:lnTo>
                    <a:pt x="47" y="573"/>
                  </a:lnTo>
                  <a:lnTo>
                    <a:pt x="47" y="570"/>
                  </a:lnTo>
                  <a:lnTo>
                    <a:pt x="48" y="567"/>
                  </a:lnTo>
                  <a:lnTo>
                    <a:pt x="51" y="563"/>
                  </a:lnTo>
                  <a:lnTo>
                    <a:pt x="51" y="563"/>
                  </a:lnTo>
                  <a:lnTo>
                    <a:pt x="52" y="562"/>
                  </a:lnTo>
                  <a:lnTo>
                    <a:pt x="52" y="560"/>
                  </a:lnTo>
                  <a:lnTo>
                    <a:pt x="51" y="557"/>
                  </a:lnTo>
                  <a:lnTo>
                    <a:pt x="49" y="555"/>
                  </a:lnTo>
                  <a:lnTo>
                    <a:pt x="49" y="553"/>
                  </a:lnTo>
                  <a:lnTo>
                    <a:pt x="49" y="552"/>
                  </a:lnTo>
                  <a:lnTo>
                    <a:pt x="49" y="552"/>
                  </a:lnTo>
                  <a:lnTo>
                    <a:pt x="52" y="549"/>
                  </a:lnTo>
                  <a:lnTo>
                    <a:pt x="52" y="545"/>
                  </a:lnTo>
                  <a:lnTo>
                    <a:pt x="54" y="542"/>
                  </a:lnTo>
                  <a:lnTo>
                    <a:pt x="56" y="540"/>
                  </a:lnTo>
                  <a:lnTo>
                    <a:pt x="56" y="540"/>
                  </a:lnTo>
                  <a:lnTo>
                    <a:pt x="59" y="540"/>
                  </a:lnTo>
                  <a:lnTo>
                    <a:pt x="59" y="539"/>
                  </a:lnTo>
                  <a:lnTo>
                    <a:pt x="59" y="535"/>
                  </a:lnTo>
                  <a:lnTo>
                    <a:pt x="59" y="532"/>
                  </a:lnTo>
                  <a:lnTo>
                    <a:pt x="61" y="530"/>
                  </a:lnTo>
                  <a:lnTo>
                    <a:pt x="62" y="529"/>
                  </a:lnTo>
                  <a:lnTo>
                    <a:pt x="62" y="529"/>
                  </a:lnTo>
                  <a:lnTo>
                    <a:pt x="64" y="528"/>
                  </a:lnTo>
                  <a:lnTo>
                    <a:pt x="64" y="525"/>
                  </a:lnTo>
                  <a:lnTo>
                    <a:pt x="62" y="522"/>
                  </a:lnTo>
                  <a:lnTo>
                    <a:pt x="62" y="518"/>
                  </a:lnTo>
                  <a:lnTo>
                    <a:pt x="62" y="518"/>
                  </a:lnTo>
                  <a:lnTo>
                    <a:pt x="62" y="513"/>
                  </a:lnTo>
                  <a:lnTo>
                    <a:pt x="61" y="509"/>
                  </a:lnTo>
                  <a:lnTo>
                    <a:pt x="62" y="506"/>
                  </a:lnTo>
                  <a:lnTo>
                    <a:pt x="65" y="505"/>
                  </a:lnTo>
                  <a:lnTo>
                    <a:pt x="65" y="505"/>
                  </a:lnTo>
                  <a:lnTo>
                    <a:pt x="68" y="502"/>
                  </a:lnTo>
                  <a:lnTo>
                    <a:pt x="68" y="499"/>
                  </a:lnTo>
                  <a:lnTo>
                    <a:pt x="65" y="496"/>
                  </a:lnTo>
                  <a:lnTo>
                    <a:pt x="62" y="493"/>
                  </a:lnTo>
                  <a:lnTo>
                    <a:pt x="62" y="493"/>
                  </a:lnTo>
                  <a:lnTo>
                    <a:pt x="61" y="492"/>
                  </a:lnTo>
                  <a:lnTo>
                    <a:pt x="62" y="491"/>
                  </a:lnTo>
                  <a:lnTo>
                    <a:pt x="68" y="491"/>
                  </a:lnTo>
                  <a:lnTo>
                    <a:pt x="68" y="491"/>
                  </a:lnTo>
                  <a:lnTo>
                    <a:pt x="69" y="491"/>
                  </a:lnTo>
                  <a:lnTo>
                    <a:pt x="71" y="489"/>
                  </a:lnTo>
                  <a:lnTo>
                    <a:pt x="71" y="486"/>
                  </a:lnTo>
                  <a:lnTo>
                    <a:pt x="69" y="483"/>
                  </a:lnTo>
                  <a:lnTo>
                    <a:pt x="66" y="483"/>
                  </a:lnTo>
                  <a:lnTo>
                    <a:pt x="66" y="483"/>
                  </a:lnTo>
                  <a:lnTo>
                    <a:pt x="62" y="483"/>
                  </a:lnTo>
                  <a:lnTo>
                    <a:pt x="59" y="482"/>
                  </a:lnTo>
                  <a:lnTo>
                    <a:pt x="59" y="479"/>
                  </a:lnTo>
                  <a:lnTo>
                    <a:pt x="61" y="475"/>
                  </a:lnTo>
                  <a:lnTo>
                    <a:pt x="61" y="475"/>
                  </a:lnTo>
                  <a:lnTo>
                    <a:pt x="62" y="473"/>
                  </a:lnTo>
                  <a:lnTo>
                    <a:pt x="62" y="472"/>
                  </a:lnTo>
                  <a:lnTo>
                    <a:pt x="61" y="469"/>
                  </a:lnTo>
                  <a:lnTo>
                    <a:pt x="59" y="468"/>
                  </a:lnTo>
                  <a:lnTo>
                    <a:pt x="58" y="465"/>
                  </a:lnTo>
                  <a:lnTo>
                    <a:pt x="58" y="465"/>
                  </a:lnTo>
                  <a:lnTo>
                    <a:pt x="59" y="461"/>
                  </a:lnTo>
                  <a:lnTo>
                    <a:pt x="59" y="458"/>
                  </a:lnTo>
                  <a:lnTo>
                    <a:pt x="56" y="456"/>
                  </a:lnTo>
                  <a:lnTo>
                    <a:pt x="56" y="456"/>
                  </a:lnTo>
                  <a:lnTo>
                    <a:pt x="56" y="454"/>
                  </a:lnTo>
                  <a:lnTo>
                    <a:pt x="56" y="448"/>
                  </a:lnTo>
                  <a:lnTo>
                    <a:pt x="58" y="442"/>
                  </a:lnTo>
                  <a:lnTo>
                    <a:pt x="59" y="439"/>
                  </a:lnTo>
                  <a:lnTo>
                    <a:pt x="59" y="439"/>
                  </a:lnTo>
                  <a:lnTo>
                    <a:pt x="61" y="439"/>
                  </a:lnTo>
                  <a:lnTo>
                    <a:pt x="61" y="436"/>
                  </a:lnTo>
                  <a:lnTo>
                    <a:pt x="61" y="432"/>
                  </a:lnTo>
                  <a:lnTo>
                    <a:pt x="61" y="422"/>
                  </a:lnTo>
                  <a:lnTo>
                    <a:pt x="61" y="422"/>
                  </a:lnTo>
                  <a:lnTo>
                    <a:pt x="59" y="419"/>
                  </a:lnTo>
                  <a:lnTo>
                    <a:pt x="59" y="417"/>
                  </a:lnTo>
                  <a:lnTo>
                    <a:pt x="58" y="414"/>
                  </a:lnTo>
                  <a:lnTo>
                    <a:pt x="56" y="411"/>
                  </a:lnTo>
                  <a:lnTo>
                    <a:pt x="56" y="411"/>
                  </a:lnTo>
                  <a:lnTo>
                    <a:pt x="58" y="409"/>
                  </a:lnTo>
                  <a:lnTo>
                    <a:pt x="59" y="407"/>
                  </a:lnTo>
                  <a:lnTo>
                    <a:pt x="61" y="404"/>
                  </a:lnTo>
                  <a:lnTo>
                    <a:pt x="62" y="399"/>
                  </a:lnTo>
                  <a:lnTo>
                    <a:pt x="62" y="399"/>
                  </a:lnTo>
                  <a:lnTo>
                    <a:pt x="62" y="392"/>
                  </a:lnTo>
                  <a:lnTo>
                    <a:pt x="64" y="391"/>
                  </a:lnTo>
                  <a:lnTo>
                    <a:pt x="66" y="390"/>
                  </a:lnTo>
                  <a:lnTo>
                    <a:pt x="66" y="390"/>
                  </a:lnTo>
                  <a:lnTo>
                    <a:pt x="66" y="388"/>
                  </a:lnTo>
                  <a:lnTo>
                    <a:pt x="68" y="385"/>
                  </a:lnTo>
                  <a:lnTo>
                    <a:pt x="66" y="378"/>
                  </a:lnTo>
                  <a:lnTo>
                    <a:pt x="66" y="378"/>
                  </a:lnTo>
                  <a:lnTo>
                    <a:pt x="68" y="377"/>
                  </a:lnTo>
                  <a:lnTo>
                    <a:pt x="71" y="375"/>
                  </a:lnTo>
                  <a:lnTo>
                    <a:pt x="74" y="375"/>
                  </a:lnTo>
                  <a:lnTo>
                    <a:pt x="75" y="374"/>
                  </a:lnTo>
                  <a:lnTo>
                    <a:pt x="76" y="371"/>
                  </a:lnTo>
                  <a:lnTo>
                    <a:pt x="76" y="371"/>
                  </a:lnTo>
                  <a:lnTo>
                    <a:pt x="75" y="368"/>
                  </a:lnTo>
                  <a:lnTo>
                    <a:pt x="74" y="367"/>
                  </a:lnTo>
                  <a:lnTo>
                    <a:pt x="72" y="365"/>
                  </a:lnTo>
                  <a:lnTo>
                    <a:pt x="72" y="363"/>
                  </a:lnTo>
                  <a:lnTo>
                    <a:pt x="72" y="363"/>
                  </a:lnTo>
                  <a:lnTo>
                    <a:pt x="72" y="354"/>
                  </a:lnTo>
                  <a:lnTo>
                    <a:pt x="72" y="341"/>
                  </a:lnTo>
                  <a:lnTo>
                    <a:pt x="72" y="341"/>
                  </a:lnTo>
                  <a:lnTo>
                    <a:pt x="74" y="334"/>
                  </a:lnTo>
                  <a:lnTo>
                    <a:pt x="76" y="330"/>
                  </a:lnTo>
                  <a:lnTo>
                    <a:pt x="84" y="326"/>
                  </a:lnTo>
                  <a:lnTo>
                    <a:pt x="84" y="326"/>
                  </a:lnTo>
                  <a:lnTo>
                    <a:pt x="85" y="324"/>
                  </a:lnTo>
                  <a:lnTo>
                    <a:pt x="85" y="321"/>
                  </a:lnTo>
                  <a:lnTo>
                    <a:pt x="84" y="316"/>
                  </a:lnTo>
                  <a:lnTo>
                    <a:pt x="82" y="308"/>
                  </a:lnTo>
                  <a:lnTo>
                    <a:pt x="82" y="307"/>
                  </a:lnTo>
                  <a:lnTo>
                    <a:pt x="84" y="306"/>
                  </a:lnTo>
                  <a:lnTo>
                    <a:pt x="84" y="306"/>
                  </a:lnTo>
                  <a:lnTo>
                    <a:pt x="86" y="303"/>
                  </a:lnTo>
                  <a:lnTo>
                    <a:pt x="86" y="300"/>
                  </a:lnTo>
                  <a:lnTo>
                    <a:pt x="86" y="296"/>
                  </a:lnTo>
                  <a:lnTo>
                    <a:pt x="88" y="294"/>
                  </a:lnTo>
                  <a:lnTo>
                    <a:pt x="88" y="294"/>
                  </a:lnTo>
                  <a:lnTo>
                    <a:pt x="91" y="291"/>
                  </a:lnTo>
                  <a:lnTo>
                    <a:pt x="91" y="289"/>
                  </a:lnTo>
                  <a:lnTo>
                    <a:pt x="93" y="280"/>
                  </a:lnTo>
                  <a:lnTo>
                    <a:pt x="93" y="280"/>
                  </a:lnTo>
                  <a:lnTo>
                    <a:pt x="93" y="276"/>
                  </a:lnTo>
                  <a:lnTo>
                    <a:pt x="92" y="273"/>
                  </a:lnTo>
                  <a:lnTo>
                    <a:pt x="89" y="270"/>
                  </a:lnTo>
                  <a:lnTo>
                    <a:pt x="89" y="266"/>
                  </a:lnTo>
                  <a:lnTo>
                    <a:pt x="89" y="266"/>
                  </a:lnTo>
                  <a:lnTo>
                    <a:pt x="88" y="259"/>
                  </a:lnTo>
                  <a:lnTo>
                    <a:pt x="86" y="254"/>
                  </a:lnTo>
                  <a:lnTo>
                    <a:pt x="84" y="250"/>
                  </a:lnTo>
                  <a:lnTo>
                    <a:pt x="84" y="250"/>
                  </a:lnTo>
                  <a:lnTo>
                    <a:pt x="82" y="246"/>
                  </a:lnTo>
                  <a:lnTo>
                    <a:pt x="81" y="240"/>
                  </a:lnTo>
                  <a:lnTo>
                    <a:pt x="82" y="234"/>
                  </a:lnTo>
                  <a:lnTo>
                    <a:pt x="84" y="233"/>
                  </a:lnTo>
                  <a:lnTo>
                    <a:pt x="84" y="233"/>
                  </a:lnTo>
                  <a:lnTo>
                    <a:pt x="85" y="232"/>
                  </a:lnTo>
                  <a:lnTo>
                    <a:pt x="86" y="227"/>
                  </a:lnTo>
                  <a:lnTo>
                    <a:pt x="88" y="223"/>
                  </a:lnTo>
                  <a:lnTo>
                    <a:pt x="89" y="222"/>
                  </a:lnTo>
                  <a:lnTo>
                    <a:pt x="91" y="220"/>
                  </a:lnTo>
                  <a:lnTo>
                    <a:pt x="91" y="220"/>
                  </a:lnTo>
                  <a:lnTo>
                    <a:pt x="92" y="220"/>
                  </a:lnTo>
                  <a:lnTo>
                    <a:pt x="93" y="219"/>
                  </a:lnTo>
                  <a:lnTo>
                    <a:pt x="93" y="215"/>
                  </a:lnTo>
                  <a:lnTo>
                    <a:pt x="91" y="205"/>
                  </a:lnTo>
                  <a:lnTo>
                    <a:pt x="91" y="205"/>
                  </a:lnTo>
                  <a:lnTo>
                    <a:pt x="91" y="200"/>
                  </a:lnTo>
                  <a:lnTo>
                    <a:pt x="92" y="199"/>
                  </a:lnTo>
                  <a:lnTo>
                    <a:pt x="93" y="197"/>
                  </a:lnTo>
                  <a:lnTo>
                    <a:pt x="95" y="196"/>
                  </a:lnTo>
                  <a:lnTo>
                    <a:pt x="95" y="196"/>
                  </a:lnTo>
                  <a:lnTo>
                    <a:pt x="95" y="192"/>
                  </a:lnTo>
                  <a:lnTo>
                    <a:pt x="96" y="188"/>
                  </a:lnTo>
                  <a:lnTo>
                    <a:pt x="99" y="183"/>
                  </a:lnTo>
                  <a:lnTo>
                    <a:pt x="102" y="180"/>
                  </a:lnTo>
                  <a:lnTo>
                    <a:pt x="102" y="180"/>
                  </a:lnTo>
                  <a:lnTo>
                    <a:pt x="105" y="179"/>
                  </a:lnTo>
                  <a:lnTo>
                    <a:pt x="106" y="175"/>
                  </a:lnTo>
                  <a:lnTo>
                    <a:pt x="106" y="168"/>
                  </a:lnTo>
                  <a:lnTo>
                    <a:pt x="106" y="168"/>
                  </a:lnTo>
                  <a:lnTo>
                    <a:pt x="108" y="165"/>
                  </a:lnTo>
                  <a:lnTo>
                    <a:pt x="111" y="163"/>
                  </a:lnTo>
                  <a:lnTo>
                    <a:pt x="116" y="159"/>
                  </a:lnTo>
                  <a:lnTo>
                    <a:pt x="116" y="159"/>
                  </a:lnTo>
                  <a:lnTo>
                    <a:pt x="118" y="159"/>
                  </a:lnTo>
                  <a:lnTo>
                    <a:pt x="118" y="158"/>
                  </a:lnTo>
                  <a:lnTo>
                    <a:pt x="115" y="155"/>
                  </a:lnTo>
                  <a:lnTo>
                    <a:pt x="115" y="152"/>
                  </a:lnTo>
                  <a:lnTo>
                    <a:pt x="115" y="151"/>
                  </a:lnTo>
                  <a:lnTo>
                    <a:pt x="116" y="149"/>
                  </a:lnTo>
                  <a:lnTo>
                    <a:pt x="116" y="149"/>
                  </a:lnTo>
                  <a:lnTo>
                    <a:pt x="118" y="148"/>
                  </a:lnTo>
                  <a:lnTo>
                    <a:pt x="118" y="146"/>
                  </a:lnTo>
                  <a:lnTo>
                    <a:pt x="116" y="141"/>
                  </a:lnTo>
                  <a:lnTo>
                    <a:pt x="115" y="135"/>
                  </a:lnTo>
                  <a:lnTo>
                    <a:pt x="113" y="133"/>
                  </a:lnTo>
                  <a:lnTo>
                    <a:pt x="115" y="132"/>
                  </a:lnTo>
                  <a:lnTo>
                    <a:pt x="115" y="132"/>
                  </a:lnTo>
                  <a:lnTo>
                    <a:pt x="116" y="129"/>
                  </a:lnTo>
                  <a:lnTo>
                    <a:pt x="116" y="126"/>
                  </a:lnTo>
                  <a:lnTo>
                    <a:pt x="115" y="121"/>
                  </a:lnTo>
                  <a:lnTo>
                    <a:pt x="115" y="121"/>
                  </a:lnTo>
                  <a:lnTo>
                    <a:pt x="118" y="116"/>
                  </a:lnTo>
                  <a:lnTo>
                    <a:pt x="123" y="114"/>
                  </a:lnTo>
                  <a:lnTo>
                    <a:pt x="130" y="109"/>
                  </a:lnTo>
                  <a:lnTo>
                    <a:pt x="133" y="106"/>
                  </a:lnTo>
                  <a:lnTo>
                    <a:pt x="133" y="106"/>
                  </a:lnTo>
                  <a:lnTo>
                    <a:pt x="136" y="98"/>
                  </a:lnTo>
                  <a:lnTo>
                    <a:pt x="138" y="87"/>
                  </a:lnTo>
                  <a:lnTo>
                    <a:pt x="138" y="87"/>
                  </a:lnTo>
                  <a:lnTo>
                    <a:pt x="130" y="91"/>
                  </a:lnTo>
                  <a:lnTo>
                    <a:pt x="128" y="91"/>
                  </a:lnTo>
                  <a:lnTo>
                    <a:pt x="128" y="91"/>
                  </a:lnTo>
                  <a:lnTo>
                    <a:pt x="128" y="91"/>
                  </a:lnTo>
                  <a:lnTo>
                    <a:pt x="126" y="82"/>
                  </a:lnTo>
                  <a:lnTo>
                    <a:pt x="125" y="77"/>
                  </a:lnTo>
                  <a:lnTo>
                    <a:pt x="123" y="72"/>
                  </a:lnTo>
                  <a:lnTo>
                    <a:pt x="123" y="72"/>
                  </a:lnTo>
                  <a:lnTo>
                    <a:pt x="121" y="69"/>
                  </a:lnTo>
                  <a:lnTo>
                    <a:pt x="121" y="64"/>
                  </a:lnTo>
                  <a:lnTo>
                    <a:pt x="119" y="61"/>
                  </a:lnTo>
                  <a:lnTo>
                    <a:pt x="118" y="58"/>
                  </a:lnTo>
                  <a:lnTo>
                    <a:pt x="118" y="58"/>
                  </a:lnTo>
                  <a:lnTo>
                    <a:pt x="115" y="55"/>
                  </a:lnTo>
                  <a:lnTo>
                    <a:pt x="112" y="52"/>
                  </a:lnTo>
                  <a:lnTo>
                    <a:pt x="111" y="48"/>
                  </a:lnTo>
                  <a:lnTo>
                    <a:pt x="111" y="47"/>
                  </a:lnTo>
                  <a:lnTo>
                    <a:pt x="112" y="45"/>
                  </a:lnTo>
                  <a:lnTo>
                    <a:pt x="112" y="45"/>
                  </a:lnTo>
                  <a:lnTo>
                    <a:pt x="113" y="42"/>
                  </a:lnTo>
                  <a:lnTo>
                    <a:pt x="113" y="40"/>
                  </a:lnTo>
                  <a:lnTo>
                    <a:pt x="113" y="35"/>
                  </a:lnTo>
                  <a:lnTo>
                    <a:pt x="115" y="34"/>
                  </a:lnTo>
                  <a:lnTo>
                    <a:pt x="115" y="34"/>
                  </a:lnTo>
                  <a:lnTo>
                    <a:pt x="116" y="31"/>
                  </a:lnTo>
                  <a:lnTo>
                    <a:pt x="115" y="30"/>
                  </a:lnTo>
                  <a:lnTo>
                    <a:pt x="112" y="28"/>
                  </a:lnTo>
                  <a:lnTo>
                    <a:pt x="109" y="24"/>
                  </a:lnTo>
                  <a:lnTo>
                    <a:pt x="109" y="24"/>
                  </a:lnTo>
                  <a:lnTo>
                    <a:pt x="108" y="23"/>
                  </a:lnTo>
                  <a:lnTo>
                    <a:pt x="106" y="20"/>
                  </a:lnTo>
                  <a:lnTo>
                    <a:pt x="106" y="15"/>
                  </a:lnTo>
                  <a:lnTo>
                    <a:pt x="106" y="11"/>
                  </a:lnTo>
                  <a:lnTo>
                    <a:pt x="106" y="8"/>
                  </a:lnTo>
                  <a:lnTo>
                    <a:pt x="105" y="7"/>
                  </a:lnTo>
                  <a:lnTo>
                    <a:pt x="105" y="7"/>
                  </a:lnTo>
                  <a:lnTo>
                    <a:pt x="102" y="4"/>
                  </a:lnTo>
                  <a:lnTo>
                    <a:pt x="99" y="1"/>
                  </a:lnTo>
                  <a:lnTo>
                    <a:pt x="98" y="0"/>
                  </a:lnTo>
                  <a:lnTo>
                    <a:pt x="98" y="0"/>
                  </a:lnTo>
                  <a:lnTo>
                    <a:pt x="98" y="0"/>
                  </a:lnTo>
                  <a:lnTo>
                    <a:pt x="95" y="7"/>
                  </a:lnTo>
                  <a:lnTo>
                    <a:pt x="93" y="10"/>
                  </a:lnTo>
                  <a:lnTo>
                    <a:pt x="91" y="13"/>
                  </a:lnTo>
                  <a:lnTo>
                    <a:pt x="91" y="13"/>
                  </a:lnTo>
                  <a:lnTo>
                    <a:pt x="88" y="15"/>
                  </a:lnTo>
                  <a:lnTo>
                    <a:pt x="88" y="15"/>
                  </a:lnTo>
                  <a:lnTo>
                    <a:pt x="86" y="23"/>
                  </a:lnTo>
                  <a:lnTo>
                    <a:pt x="86" y="27"/>
                  </a:lnTo>
                  <a:lnTo>
                    <a:pt x="88" y="30"/>
                  </a:lnTo>
                  <a:lnTo>
                    <a:pt x="88" y="30"/>
                  </a:lnTo>
                  <a:lnTo>
                    <a:pt x="89" y="37"/>
                  </a:lnTo>
                  <a:lnTo>
                    <a:pt x="89" y="48"/>
                  </a:lnTo>
                  <a:lnTo>
                    <a:pt x="89" y="61"/>
                  </a:lnTo>
                  <a:lnTo>
                    <a:pt x="89" y="71"/>
                  </a:lnTo>
                  <a:lnTo>
                    <a:pt x="89" y="71"/>
                  </a:lnTo>
                  <a:lnTo>
                    <a:pt x="82" y="95"/>
                  </a:lnTo>
                  <a:lnTo>
                    <a:pt x="82" y="95"/>
                  </a:lnTo>
                  <a:lnTo>
                    <a:pt x="82" y="99"/>
                  </a:lnTo>
                  <a:lnTo>
                    <a:pt x="84" y="101"/>
                  </a:lnTo>
                  <a:lnTo>
                    <a:pt x="85" y="102"/>
                  </a:lnTo>
                  <a:lnTo>
                    <a:pt x="85" y="105"/>
                  </a:lnTo>
                  <a:lnTo>
                    <a:pt x="85" y="105"/>
                  </a:lnTo>
                  <a:lnTo>
                    <a:pt x="84" y="108"/>
                  </a:lnTo>
                  <a:lnTo>
                    <a:pt x="82" y="112"/>
                  </a:lnTo>
                  <a:lnTo>
                    <a:pt x="82" y="126"/>
                  </a:lnTo>
                  <a:lnTo>
                    <a:pt x="82" y="126"/>
                  </a:lnTo>
                  <a:lnTo>
                    <a:pt x="82" y="135"/>
                  </a:lnTo>
                  <a:lnTo>
                    <a:pt x="79" y="146"/>
                  </a:lnTo>
                  <a:lnTo>
                    <a:pt x="75" y="162"/>
                  </a:lnTo>
                  <a:lnTo>
                    <a:pt x="75" y="162"/>
                  </a:lnTo>
                  <a:lnTo>
                    <a:pt x="75" y="166"/>
                  </a:lnTo>
                  <a:lnTo>
                    <a:pt x="74" y="170"/>
                  </a:lnTo>
                  <a:lnTo>
                    <a:pt x="72" y="175"/>
                  </a:lnTo>
                  <a:lnTo>
                    <a:pt x="71" y="179"/>
                  </a:lnTo>
                  <a:lnTo>
                    <a:pt x="71" y="179"/>
                  </a:lnTo>
                  <a:lnTo>
                    <a:pt x="71" y="183"/>
                  </a:lnTo>
                  <a:lnTo>
                    <a:pt x="69" y="188"/>
                  </a:lnTo>
                  <a:lnTo>
                    <a:pt x="64" y="193"/>
                  </a:lnTo>
                  <a:lnTo>
                    <a:pt x="64" y="193"/>
                  </a:lnTo>
                  <a:lnTo>
                    <a:pt x="64" y="195"/>
                  </a:lnTo>
                  <a:lnTo>
                    <a:pt x="64" y="196"/>
                  </a:lnTo>
                  <a:lnTo>
                    <a:pt x="66" y="202"/>
                  </a:lnTo>
                  <a:lnTo>
                    <a:pt x="69" y="207"/>
                  </a:lnTo>
                  <a:lnTo>
                    <a:pt x="71" y="212"/>
                  </a:lnTo>
                  <a:lnTo>
                    <a:pt x="71" y="212"/>
                  </a:lnTo>
                  <a:lnTo>
                    <a:pt x="69" y="216"/>
                  </a:lnTo>
                  <a:lnTo>
                    <a:pt x="66" y="220"/>
                  </a:lnTo>
                  <a:lnTo>
                    <a:pt x="64" y="225"/>
                  </a:lnTo>
                  <a:lnTo>
                    <a:pt x="64" y="230"/>
                  </a:lnTo>
                  <a:lnTo>
                    <a:pt x="64" y="230"/>
                  </a:lnTo>
                  <a:lnTo>
                    <a:pt x="65" y="240"/>
                  </a:lnTo>
                  <a:lnTo>
                    <a:pt x="65" y="250"/>
                  </a:lnTo>
                  <a:lnTo>
                    <a:pt x="64" y="264"/>
                  </a:lnTo>
                  <a:lnTo>
                    <a:pt x="64" y="264"/>
                  </a:lnTo>
                  <a:lnTo>
                    <a:pt x="64" y="267"/>
                  </a:lnTo>
                  <a:lnTo>
                    <a:pt x="62" y="269"/>
                  </a:lnTo>
                  <a:lnTo>
                    <a:pt x="61" y="271"/>
                  </a:lnTo>
                  <a:lnTo>
                    <a:pt x="61" y="276"/>
                  </a:lnTo>
                  <a:lnTo>
                    <a:pt x="61" y="276"/>
                  </a:lnTo>
                  <a:lnTo>
                    <a:pt x="61" y="281"/>
                  </a:lnTo>
                  <a:lnTo>
                    <a:pt x="58" y="284"/>
                  </a:lnTo>
                  <a:lnTo>
                    <a:pt x="56" y="290"/>
                  </a:lnTo>
                  <a:lnTo>
                    <a:pt x="55" y="296"/>
                  </a:lnTo>
                  <a:lnTo>
                    <a:pt x="55" y="296"/>
                  </a:lnTo>
                  <a:lnTo>
                    <a:pt x="52" y="304"/>
                  </a:lnTo>
                  <a:lnTo>
                    <a:pt x="49" y="314"/>
                  </a:lnTo>
                  <a:lnTo>
                    <a:pt x="42" y="330"/>
                  </a:lnTo>
                  <a:lnTo>
                    <a:pt x="42" y="330"/>
                  </a:lnTo>
                  <a:lnTo>
                    <a:pt x="39" y="340"/>
                  </a:lnTo>
                  <a:lnTo>
                    <a:pt x="38" y="343"/>
                  </a:lnTo>
                  <a:lnTo>
                    <a:pt x="35" y="343"/>
                  </a:lnTo>
                  <a:lnTo>
                    <a:pt x="35" y="343"/>
                  </a:lnTo>
                  <a:lnTo>
                    <a:pt x="32" y="344"/>
                  </a:lnTo>
                  <a:lnTo>
                    <a:pt x="31" y="345"/>
                  </a:lnTo>
                  <a:lnTo>
                    <a:pt x="31" y="350"/>
                  </a:lnTo>
                  <a:lnTo>
                    <a:pt x="32" y="354"/>
                  </a:lnTo>
                  <a:lnTo>
                    <a:pt x="32" y="354"/>
                  </a:lnTo>
                  <a:lnTo>
                    <a:pt x="34" y="360"/>
                  </a:lnTo>
                  <a:lnTo>
                    <a:pt x="34" y="365"/>
                  </a:lnTo>
                  <a:lnTo>
                    <a:pt x="34" y="370"/>
                  </a:lnTo>
                  <a:lnTo>
                    <a:pt x="35" y="375"/>
                  </a:lnTo>
                  <a:lnTo>
                    <a:pt x="35" y="375"/>
                  </a:lnTo>
                  <a:lnTo>
                    <a:pt x="37" y="380"/>
                  </a:lnTo>
                  <a:lnTo>
                    <a:pt x="38" y="384"/>
                  </a:lnTo>
                  <a:lnTo>
                    <a:pt x="35" y="391"/>
                  </a:lnTo>
                  <a:lnTo>
                    <a:pt x="35" y="391"/>
                  </a:lnTo>
                  <a:lnTo>
                    <a:pt x="32" y="398"/>
                  </a:lnTo>
                  <a:lnTo>
                    <a:pt x="31" y="401"/>
                  </a:lnTo>
                  <a:lnTo>
                    <a:pt x="31" y="405"/>
                  </a:lnTo>
                  <a:lnTo>
                    <a:pt x="31" y="405"/>
                  </a:lnTo>
                  <a:lnTo>
                    <a:pt x="29" y="409"/>
                  </a:lnTo>
                  <a:lnTo>
                    <a:pt x="28" y="414"/>
                  </a:lnTo>
                  <a:lnTo>
                    <a:pt x="28" y="418"/>
                  </a:lnTo>
                  <a:lnTo>
                    <a:pt x="28" y="424"/>
                  </a:lnTo>
                  <a:lnTo>
                    <a:pt x="28" y="424"/>
                  </a:lnTo>
                  <a:lnTo>
                    <a:pt x="29" y="428"/>
                  </a:lnTo>
                  <a:lnTo>
                    <a:pt x="31" y="431"/>
                  </a:lnTo>
                  <a:lnTo>
                    <a:pt x="29" y="432"/>
                  </a:lnTo>
                  <a:lnTo>
                    <a:pt x="27" y="434"/>
                  </a:lnTo>
                  <a:lnTo>
                    <a:pt x="27" y="434"/>
                  </a:lnTo>
                  <a:lnTo>
                    <a:pt x="25" y="434"/>
                  </a:lnTo>
                  <a:lnTo>
                    <a:pt x="22" y="438"/>
                  </a:lnTo>
                  <a:lnTo>
                    <a:pt x="21" y="451"/>
                  </a:lnTo>
                  <a:lnTo>
                    <a:pt x="21" y="451"/>
                  </a:lnTo>
                  <a:lnTo>
                    <a:pt x="20" y="458"/>
                  </a:lnTo>
                  <a:lnTo>
                    <a:pt x="21" y="461"/>
                  </a:lnTo>
                  <a:lnTo>
                    <a:pt x="22" y="462"/>
                  </a:lnTo>
                  <a:lnTo>
                    <a:pt x="28" y="461"/>
                  </a:lnTo>
                  <a:lnTo>
                    <a:pt x="28" y="461"/>
                  </a:lnTo>
                  <a:lnTo>
                    <a:pt x="31" y="459"/>
                  </a:lnTo>
                  <a:lnTo>
                    <a:pt x="32" y="456"/>
                  </a:lnTo>
                  <a:lnTo>
                    <a:pt x="32" y="446"/>
                  </a:lnTo>
                  <a:lnTo>
                    <a:pt x="32" y="436"/>
                  </a:lnTo>
                  <a:lnTo>
                    <a:pt x="34" y="434"/>
                  </a:lnTo>
                  <a:lnTo>
                    <a:pt x="35" y="432"/>
                  </a:lnTo>
                  <a:lnTo>
                    <a:pt x="35" y="432"/>
                  </a:lnTo>
                  <a:lnTo>
                    <a:pt x="38" y="432"/>
                  </a:lnTo>
                  <a:lnTo>
                    <a:pt x="38" y="429"/>
                  </a:lnTo>
                  <a:lnTo>
                    <a:pt x="38" y="428"/>
                  </a:lnTo>
                  <a:lnTo>
                    <a:pt x="41" y="427"/>
                  </a:lnTo>
                  <a:lnTo>
                    <a:pt x="41" y="427"/>
                  </a:lnTo>
                  <a:lnTo>
                    <a:pt x="44" y="427"/>
                  </a:lnTo>
                  <a:lnTo>
                    <a:pt x="44" y="428"/>
                  </a:lnTo>
                  <a:lnTo>
                    <a:pt x="44" y="431"/>
                  </a:lnTo>
                  <a:lnTo>
                    <a:pt x="45" y="432"/>
                  </a:lnTo>
                  <a:lnTo>
                    <a:pt x="45" y="432"/>
                  </a:lnTo>
                  <a:lnTo>
                    <a:pt x="48" y="434"/>
                  </a:lnTo>
                  <a:lnTo>
                    <a:pt x="49" y="435"/>
                  </a:lnTo>
                  <a:lnTo>
                    <a:pt x="49" y="438"/>
                  </a:lnTo>
                  <a:lnTo>
                    <a:pt x="47" y="439"/>
                  </a:lnTo>
                  <a:lnTo>
                    <a:pt x="47" y="439"/>
                  </a:lnTo>
                  <a:lnTo>
                    <a:pt x="45" y="441"/>
                  </a:lnTo>
                  <a:lnTo>
                    <a:pt x="44" y="442"/>
                  </a:lnTo>
                  <a:lnTo>
                    <a:pt x="45" y="446"/>
                  </a:lnTo>
                  <a:lnTo>
                    <a:pt x="45" y="449"/>
                  </a:lnTo>
                  <a:lnTo>
                    <a:pt x="45" y="454"/>
                  </a:lnTo>
                  <a:lnTo>
                    <a:pt x="45" y="454"/>
                  </a:lnTo>
                  <a:lnTo>
                    <a:pt x="41" y="459"/>
                  </a:lnTo>
                  <a:lnTo>
                    <a:pt x="41" y="462"/>
                  </a:lnTo>
                  <a:lnTo>
                    <a:pt x="41" y="466"/>
                  </a:lnTo>
                  <a:lnTo>
                    <a:pt x="41" y="466"/>
                  </a:lnTo>
                  <a:lnTo>
                    <a:pt x="41" y="469"/>
                  </a:lnTo>
                  <a:lnTo>
                    <a:pt x="41" y="471"/>
                  </a:lnTo>
                  <a:lnTo>
                    <a:pt x="39" y="472"/>
                  </a:lnTo>
                  <a:lnTo>
                    <a:pt x="38" y="476"/>
                  </a:lnTo>
                  <a:lnTo>
                    <a:pt x="38" y="476"/>
                  </a:lnTo>
                  <a:lnTo>
                    <a:pt x="38" y="479"/>
                  </a:lnTo>
                  <a:lnTo>
                    <a:pt x="39" y="482"/>
                  </a:lnTo>
                  <a:lnTo>
                    <a:pt x="39" y="483"/>
                  </a:lnTo>
                  <a:lnTo>
                    <a:pt x="39" y="483"/>
                  </a:lnTo>
                  <a:lnTo>
                    <a:pt x="39" y="483"/>
                  </a:lnTo>
                  <a:lnTo>
                    <a:pt x="38" y="486"/>
                  </a:lnTo>
                  <a:lnTo>
                    <a:pt x="39" y="488"/>
                  </a:lnTo>
                  <a:lnTo>
                    <a:pt x="39" y="489"/>
                  </a:lnTo>
                  <a:lnTo>
                    <a:pt x="38" y="491"/>
                  </a:lnTo>
                  <a:lnTo>
                    <a:pt x="38" y="491"/>
                  </a:lnTo>
                  <a:lnTo>
                    <a:pt x="37" y="492"/>
                  </a:lnTo>
                  <a:lnTo>
                    <a:pt x="37" y="495"/>
                  </a:lnTo>
                  <a:lnTo>
                    <a:pt x="39" y="501"/>
                  </a:lnTo>
                  <a:lnTo>
                    <a:pt x="39" y="501"/>
                  </a:lnTo>
                  <a:lnTo>
                    <a:pt x="39" y="502"/>
                  </a:lnTo>
                  <a:lnTo>
                    <a:pt x="37" y="503"/>
                  </a:lnTo>
                  <a:lnTo>
                    <a:pt x="34" y="503"/>
                  </a:lnTo>
                  <a:lnTo>
                    <a:pt x="31" y="505"/>
                  </a:lnTo>
                  <a:lnTo>
                    <a:pt x="31" y="505"/>
                  </a:lnTo>
                  <a:lnTo>
                    <a:pt x="29" y="508"/>
                  </a:lnTo>
                  <a:lnTo>
                    <a:pt x="31" y="510"/>
                  </a:lnTo>
                  <a:lnTo>
                    <a:pt x="32" y="513"/>
                  </a:lnTo>
                  <a:lnTo>
                    <a:pt x="32" y="516"/>
                  </a:lnTo>
                  <a:lnTo>
                    <a:pt x="32" y="516"/>
                  </a:lnTo>
                  <a:lnTo>
                    <a:pt x="31" y="518"/>
                  </a:lnTo>
                  <a:lnTo>
                    <a:pt x="28" y="516"/>
                  </a:lnTo>
                  <a:lnTo>
                    <a:pt x="22" y="512"/>
                  </a:lnTo>
                  <a:lnTo>
                    <a:pt x="22" y="512"/>
                  </a:lnTo>
                  <a:lnTo>
                    <a:pt x="22" y="509"/>
                  </a:lnTo>
                  <a:lnTo>
                    <a:pt x="24" y="506"/>
                  </a:lnTo>
                  <a:lnTo>
                    <a:pt x="29" y="501"/>
                  </a:lnTo>
                  <a:lnTo>
                    <a:pt x="29" y="501"/>
                  </a:lnTo>
                  <a:lnTo>
                    <a:pt x="29" y="499"/>
                  </a:lnTo>
                  <a:lnTo>
                    <a:pt x="29" y="496"/>
                  </a:lnTo>
                  <a:lnTo>
                    <a:pt x="28" y="492"/>
                  </a:lnTo>
                  <a:lnTo>
                    <a:pt x="25" y="489"/>
                  </a:lnTo>
                  <a:lnTo>
                    <a:pt x="22" y="489"/>
                  </a:lnTo>
                  <a:lnTo>
                    <a:pt x="21" y="489"/>
                  </a:lnTo>
                  <a:lnTo>
                    <a:pt x="21" y="489"/>
                  </a:lnTo>
                  <a:lnTo>
                    <a:pt x="20" y="491"/>
                  </a:lnTo>
                  <a:lnTo>
                    <a:pt x="20" y="492"/>
                  </a:lnTo>
                  <a:lnTo>
                    <a:pt x="21" y="495"/>
                  </a:lnTo>
                  <a:lnTo>
                    <a:pt x="24" y="498"/>
                  </a:lnTo>
                  <a:lnTo>
                    <a:pt x="27" y="502"/>
                  </a:lnTo>
                  <a:lnTo>
                    <a:pt x="27" y="502"/>
                  </a:lnTo>
                  <a:lnTo>
                    <a:pt x="25" y="503"/>
                  </a:lnTo>
                  <a:lnTo>
                    <a:pt x="25" y="503"/>
                  </a:lnTo>
                  <a:lnTo>
                    <a:pt x="22" y="503"/>
                  </a:lnTo>
                  <a:lnTo>
                    <a:pt x="18" y="503"/>
                  </a:lnTo>
                  <a:lnTo>
                    <a:pt x="18" y="505"/>
                  </a:lnTo>
                  <a:lnTo>
                    <a:pt x="18" y="506"/>
                  </a:lnTo>
                  <a:lnTo>
                    <a:pt x="18" y="506"/>
                  </a:lnTo>
                  <a:lnTo>
                    <a:pt x="17" y="509"/>
                  </a:lnTo>
                  <a:lnTo>
                    <a:pt x="14" y="509"/>
                  </a:lnTo>
                  <a:lnTo>
                    <a:pt x="11" y="510"/>
                  </a:lnTo>
                  <a:lnTo>
                    <a:pt x="8" y="512"/>
                  </a:lnTo>
                  <a:lnTo>
                    <a:pt x="8" y="512"/>
                  </a:lnTo>
                  <a:lnTo>
                    <a:pt x="8" y="515"/>
                  </a:lnTo>
                  <a:lnTo>
                    <a:pt x="8" y="518"/>
                  </a:lnTo>
                  <a:lnTo>
                    <a:pt x="10" y="519"/>
                  </a:lnTo>
                  <a:lnTo>
                    <a:pt x="10" y="520"/>
                  </a:lnTo>
                  <a:lnTo>
                    <a:pt x="10" y="520"/>
                  </a:lnTo>
                  <a:lnTo>
                    <a:pt x="2" y="525"/>
                  </a:lnTo>
                  <a:lnTo>
                    <a:pt x="0" y="528"/>
                  </a:lnTo>
                  <a:lnTo>
                    <a:pt x="0" y="530"/>
                  </a:lnTo>
                  <a:lnTo>
                    <a:pt x="0" y="530"/>
                  </a:lnTo>
                  <a:lnTo>
                    <a:pt x="0" y="532"/>
                  </a:lnTo>
                  <a:lnTo>
                    <a:pt x="1" y="533"/>
                  </a:lnTo>
                  <a:lnTo>
                    <a:pt x="2" y="532"/>
                  </a:lnTo>
                  <a:lnTo>
                    <a:pt x="2" y="530"/>
                  </a:lnTo>
                  <a:lnTo>
                    <a:pt x="2" y="530"/>
                  </a:lnTo>
                  <a:lnTo>
                    <a:pt x="4" y="529"/>
                  </a:lnTo>
                  <a:lnTo>
                    <a:pt x="7" y="528"/>
                  </a:lnTo>
                  <a:lnTo>
                    <a:pt x="8" y="528"/>
                  </a:lnTo>
                  <a:lnTo>
                    <a:pt x="11" y="530"/>
                  </a:lnTo>
                  <a:lnTo>
                    <a:pt x="11" y="530"/>
                  </a:lnTo>
                  <a:lnTo>
                    <a:pt x="12" y="533"/>
                  </a:lnTo>
                  <a:lnTo>
                    <a:pt x="14" y="532"/>
                  </a:lnTo>
                  <a:lnTo>
                    <a:pt x="17" y="532"/>
                  </a:lnTo>
                  <a:lnTo>
                    <a:pt x="20" y="532"/>
                  </a:lnTo>
                  <a:lnTo>
                    <a:pt x="20" y="532"/>
                  </a:lnTo>
                  <a:lnTo>
                    <a:pt x="22" y="533"/>
                  </a:lnTo>
                  <a:lnTo>
                    <a:pt x="24" y="536"/>
                  </a:lnTo>
                  <a:lnTo>
                    <a:pt x="22" y="539"/>
                  </a:lnTo>
                  <a:lnTo>
                    <a:pt x="21" y="540"/>
                  </a:lnTo>
                  <a:lnTo>
                    <a:pt x="21" y="540"/>
                  </a:lnTo>
                  <a:lnTo>
                    <a:pt x="20" y="540"/>
                  </a:lnTo>
                  <a:lnTo>
                    <a:pt x="17" y="543"/>
                  </a:lnTo>
                  <a:lnTo>
                    <a:pt x="17" y="546"/>
                  </a:lnTo>
                  <a:lnTo>
                    <a:pt x="17" y="550"/>
                  </a:lnTo>
                  <a:lnTo>
                    <a:pt x="17" y="550"/>
                  </a:lnTo>
                  <a:lnTo>
                    <a:pt x="17" y="552"/>
                  </a:lnTo>
                  <a:lnTo>
                    <a:pt x="18" y="552"/>
                  </a:lnTo>
                  <a:lnTo>
                    <a:pt x="22" y="552"/>
                  </a:lnTo>
                  <a:lnTo>
                    <a:pt x="27" y="552"/>
                  </a:lnTo>
                  <a:lnTo>
                    <a:pt x="31" y="552"/>
                  </a:lnTo>
                  <a:lnTo>
                    <a:pt x="31" y="552"/>
                  </a:lnTo>
                  <a:lnTo>
                    <a:pt x="34" y="553"/>
                  </a:lnTo>
                  <a:lnTo>
                    <a:pt x="34" y="556"/>
                  </a:lnTo>
                  <a:lnTo>
                    <a:pt x="32" y="557"/>
                  </a:lnTo>
                  <a:lnTo>
                    <a:pt x="31" y="557"/>
                  </a:lnTo>
                  <a:lnTo>
                    <a:pt x="31" y="557"/>
                  </a:lnTo>
                  <a:lnTo>
                    <a:pt x="27" y="555"/>
                  </a:lnTo>
                  <a:lnTo>
                    <a:pt x="24" y="553"/>
                  </a:lnTo>
                  <a:lnTo>
                    <a:pt x="21" y="555"/>
                  </a:lnTo>
                  <a:lnTo>
                    <a:pt x="21" y="555"/>
                  </a:lnTo>
                  <a:lnTo>
                    <a:pt x="18" y="557"/>
                  </a:lnTo>
                  <a:lnTo>
                    <a:pt x="17" y="557"/>
                  </a:lnTo>
                  <a:lnTo>
                    <a:pt x="11" y="556"/>
                  </a:lnTo>
                  <a:lnTo>
                    <a:pt x="11" y="556"/>
                  </a:lnTo>
                  <a:lnTo>
                    <a:pt x="8" y="556"/>
                  </a:lnTo>
                  <a:lnTo>
                    <a:pt x="2" y="559"/>
                  </a:lnTo>
                  <a:lnTo>
                    <a:pt x="0" y="562"/>
                  </a:lnTo>
                  <a:lnTo>
                    <a:pt x="0" y="563"/>
                  </a:lnTo>
                  <a:lnTo>
                    <a:pt x="1" y="565"/>
                  </a:lnTo>
                  <a:lnTo>
                    <a:pt x="1" y="565"/>
                  </a:lnTo>
                  <a:lnTo>
                    <a:pt x="2" y="567"/>
                  </a:lnTo>
                  <a:lnTo>
                    <a:pt x="4" y="570"/>
                  </a:lnTo>
                  <a:lnTo>
                    <a:pt x="5" y="572"/>
                  </a:lnTo>
                  <a:lnTo>
                    <a:pt x="7" y="572"/>
                  </a:lnTo>
                  <a:lnTo>
                    <a:pt x="7" y="572"/>
                  </a:lnTo>
                  <a:lnTo>
                    <a:pt x="11" y="570"/>
                  </a:lnTo>
                  <a:lnTo>
                    <a:pt x="14" y="567"/>
                  </a:lnTo>
                  <a:lnTo>
                    <a:pt x="14" y="567"/>
                  </a:lnTo>
                  <a:lnTo>
                    <a:pt x="15" y="565"/>
                  </a:lnTo>
                  <a:lnTo>
                    <a:pt x="18" y="563"/>
                  </a:lnTo>
                  <a:lnTo>
                    <a:pt x="20" y="565"/>
                  </a:lnTo>
                  <a:lnTo>
                    <a:pt x="21" y="567"/>
                  </a:lnTo>
                  <a:lnTo>
                    <a:pt x="21" y="567"/>
                  </a:lnTo>
                  <a:lnTo>
                    <a:pt x="20" y="570"/>
                  </a:lnTo>
                  <a:lnTo>
                    <a:pt x="18" y="572"/>
                  </a:lnTo>
                  <a:lnTo>
                    <a:pt x="15" y="573"/>
                  </a:lnTo>
                  <a:lnTo>
                    <a:pt x="12" y="574"/>
                  </a:lnTo>
                  <a:lnTo>
                    <a:pt x="12" y="574"/>
                  </a:lnTo>
                  <a:lnTo>
                    <a:pt x="10" y="579"/>
                  </a:lnTo>
                  <a:lnTo>
                    <a:pt x="4" y="584"/>
                  </a:lnTo>
                  <a:lnTo>
                    <a:pt x="4" y="584"/>
                  </a:lnTo>
                  <a:lnTo>
                    <a:pt x="2" y="587"/>
                  </a:lnTo>
                  <a:lnTo>
                    <a:pt x="4" y="589"/>
                  </a:lnTo>
                  <a:lnTo>
                    <a:pt x="5" y="592"/>
                  </a:lnTo>
                  <a:lnTo>
                    <a:pt x="8" y="590"/>
                  </a:lnTo>
                  <a:lnTo>
                    <a:pt x="8" y="590"/>
                  </a:lnTo>
                  <a:lnTo>
                    <a:pt x="10" y="590"/>
                  </a:lnTo>
                  <a:lnTo>
                    <a:pt x="10" y="593"/>
                  </a:lnTo>
                  <a:lnTo>
                    <a:pt x="10" y="594"/>
                  </a:lnTo>
                  <a:lnTo>
                    <a:pt x="12" y="596"/>
                  </a:lnTo>
                  <a:lnTo>
                    <a:pt x="12" y="596"/>
                  </a:lnTo>
                  <a:lnTo>
                    <a:pt x="15" y="596"/>
                  </a:lnTo>
                  <a:lnTo>
                    <a:pt x="17" y="594"/>
                  </a:lnTo>
                  <a:lnTo>
                    <a:pt x="17" y="592"/>
                  </a:lnTo>
                  <a:lnTo>
                    <a:pt x="17" y="589"/>
                  </a:lnTo>
                  <a:lnTo>
                    <a:pt x="17" y="589"/>
                  </a:lnTo>
                  <a:lnTo>
                    <a:pt x="17" y="586"/>
                  </a:lnTo>
                  <a:lnTo>
                    <a:pt x="18" y="583"/>
                  </a:lnTo>
                  <a:lnTo>
                    <a:pt x="21" y="580"/>
                  </a:lnTo>
                  <a:lnTo>
                    <a:pt x="22" y="582"/>
                  </a:lnTo>
                  <a:lnTo>
                    <a:pt x="24" y="582"/>
                  </a:lnTo>
                  <a:lnTo>
                    <a:pt x="24" y="582"/>
                  </a:lnTo>
                  <a:lnTo>
                    <a:pt x="25" y="584"/>
                  </a:lnTo>
                  <a:lnTo>
                    <a:pt x="24" y="587"/>
                  </a:lnTo>
                  <a:lnTo>
                    <a:pt x="22" y="590"/>
                  </a:lnTo>
                  <a:lnTo>
                    <a:pt x="21" y="593"/>
                  </a:lnTo>
                  <a:lnTo>
                    <a:pt x="21" y="593"/>
                  </a:lnTo>
                  <a:lnTo>
                    <a:pt x="20" y="599"/>
                  </a:lnTo>
                  <a:lnTo>
                    <a:pt x="20" y="606"/>
                  </a:lnTo>
                  <a:lnTo>
                    <a:pt x="20" y="606"/>
                  </a:lnTo>
                  <a:lnTo>
                    <a:pt x="18" y="607"/>
                  </a:lnTo>
                  <a:lnTo>
                    <a:pt x="17" y="609"/>
                  </a:lnTo>
                  <a:lnTo>
                    <a:pt x="15" y="609"/>
                  </a:lnTo>
                  <a:lnTo>
                    <a:pt x="15" y="611"/>
                  </a:lnTo>
                  <a:lnTo>
                    <a:pt x="15" y="611"/>
                  </a:lnTo>
                  <a:lnTo>
                    <a:pt x="14" y="613"/>
                  </a:lnTo>
                  <a:lnTo>
                    <a:pt x="14" y="613"/>
                  </a:lnTo>
                  <a:lnTo>
                    <a:pt x="11" y="614"/>
                  </a:lnTo>
                  <a:lnTo>
                    <a:pt x="8" y="614"/>
                  </a:lnTo>
                  <a:lnTo>
                    <a:pt x="10" y="616"/>
                  </a:lnTo>
                  <a:lnTo>
                    <a:pt x="10" y="616"/>
                  </a:lnTo>
                  <a:lnTo>
                    <a:pt x="11" y="619"/>
                  </a:lnTo>
                  <a:lnTo>
                    <a:pt x="10" y="620"/>
                  </a:lnTo>
                  <a:lnTo>
                    <a:pt x="8" y="623"/>
                  </a:lnTo>
                  <a:lnTo>
                    <a:pt x="10" y="626"/>
                  </a:lnTo>
                  <a:lnTo>
                    <a:pt x="10" y="626"/>
                  </a:lnTo>
                  <a:lnTo>
                    <a:pt x="11" y="626"/>
                  </a:lnTo>
                  <a:lnTo>
                    <a:pt x="12" y="624"/>
                  </a:lnTo>
                  <a:lnTo>
                    <a:pt x="15" y="623"/>
                  </a:lnTo>
                  <a:lnTo>
                    <a:pt x="18" y="623"/>
                  </a:lnTo>
                  <a:lnTo>
                    <a:pt x="18" y="623"/>
                  </a:lnTo>
                  <a:lnTo>
                    <a:pt x="21" y="624"/>
                  </a:lnTo>
                  <a:lnTo>
                    <a:pt x="25" y="623"/>
                  </a:lnTo>
                  <a:lnTo>
                    <a:pt x="25" y="623"/>
                  </a:lnTo>
                  <a:lnTo>
                    <a:pt x="29" y="623"/>
                  </a:lnTo>
                  <a:lnTo>
                    <a:pt x="31" y="624"/>
                  </a:lnTo>
                  <a:lnTo>
                    <a:pt x="31" y="627"/>
                  </a:lnTo>
                  <a:lnTo>
                    <a:pt x="29" y="629"/>
                  </a:lnTo>
                  <a:lnTo>
                    <a:pt x="29" y="629"/>
                  </a:lnTo>
                  <a:lnTo>
                    <a:pt x="25" y="630"/>
                  </a:lnTo>
                  <a:lnTo>
                    <a:pt x="22" y="633"/>
                  </a:lnTo>
                  <a:lnTo>
                    <a:pt x="21" y="634"/>
                  </a:lnTo>
                  <a:lnTo>
                    <a:pt x="21" y="636"/>
                  </a:lnTo>
                  <a:lnTo>
                    <a:pt x="21" y="636"/>
                  </a:lnTo>
                  <a:lnTo>
                    <a:pt x="27" y="636"/>
                  </a:lnTo>
                  <a:lnTo>
                    <a:pt x="29" y="636"/>
                  </a:lnTo>
                  <a:lnTo>
                    <a:pt x="31" y="637"/>
                  </a:lnTo>
                  <a:lnTo>
                    <a:pt x="31" y="637"/>
                  </a:lnTo>
                  <a:lnTo>
                    <a:pt x="32" y="640"/>
                  </a:lnTo>
                  <a:lnTo>
                    <a:pt x="34" y="640"/>
                  </a:lnTo>
                  <a:lnTo>
                    <a:pt x="35" y="638"/>
                  </a:lnTo>
                  <a:lnTo>
                    <a:pt x="37" y="636"/>
                  </a:lnTo>
                  <a:lnTo>
                    <a:pt x="37" y="636"/>
                  </a:lnTo>
                  <a:lnTo>
                    <a:pt x="37" y="634"/>
                  </a:lnTo>
                  <a:lnTo>
                    <a:pt x="38" y="633"/>
                  </a:lnTo>
                  <a:lnTo>
                    <a:pt x="41" y="633"/>
                  </a:lnTo>
                  <a:lnTo>
                    <a:pt x="45" y="636"/>
                  </a:lnTo>
                  <a:lnTo>
                    <a:pt x="47" y="638"/>
                  </a:lnTo>
                  <a:lnTo>
                    <a:pt x="47" y="638"/>
                  </a:lnTo>
                  <a:lnTo>
                    <a:pt x="47" y="640"/>
                  </a:lnTo>
                  <a:lnTo>
                    <a:pt x="45" y="641"/>
                  </a:lnTo>
                  <a:lnTo>
                    <a:pt x="42" y="644"/>
                  </a:lnTo>
                  <a:lnTo>
                    <a:pt x="37" y="644"/>
                  </a:lnTo>
                  <a:lnTo>
                    <a:pt x="32" y="644"/>
                  </a:lnTo>
                  <a:lnTo>
                    <a:pt x="32" y="644"/>
                  </a:lnTo>
                  <a:lnTo>
                    <a:pt x="29" y="644"/>
                  </a:lnTo>
                  <a:lnTo>
                    <a:pt x="27" y="647"/>
                  </a:lnTo>
                  <a:lnTo>
                    <a:pt x="27" y="650"/>
                  </a:lnTo>
                  <a:lnTo>
                    <a:pt x="28" y="654"/>
                  </a:lnTo>
                  <a:lnTo>
                    <a:pt x="28" y="654"/>
                  </a:lnTo>
                  <a:lnTo>
                    <a:pt x="31" y="656"/>
                  </a:lnTo>
                  <a:lnTo>
                    <a:pt x="34" y="656"/>
                  </a:lnTo>
                  <a:lnTo>
                    <a:pt x="39" y="650"/>
                  </a:lnTo>
                  <a:lnTo>
                    <a:pt x="39" y="650"/>
                  </a:lnTo>
                  <a:lnTo>
                    <a:pt x="45" y="648"/>
                  </a:lnTo>
                  <a:lnTo>
                    <a:pt x="52" y="648"/>
                  </a:lnTo>
                  <a:lnTo>
                    <a:pt x="61" y="648"/>
                  </a:lnTo>
                  <a:lnTo>
                    <a:pt x="62" y="650"/>
                  </a:lnTo>
                  <a:lnTo>
                    <a:pt x="64" y="651"/>
                  </a:lnTo>
                  <a:lnTo>
                    <a:pt x="64" y="651"/>
                  </a:lnTo>
                  <a:lnTo>
                    <a:pt x="64" y="653"/>
                  </a:lnTo>
                  <a:lnTo>
                    <a:pt x="64" y="654"/>
                  </a:lnTo>
                  <a:lnTo>
                    <a:pt x="61" y="654"/>
                  </a:lnTo>
                  <a:lnTo>
                    <a:pt x="56" y="654"/>
                  </a:lnTo>
                  <a:lnTo>
                    <a:pt x="54" y="654"/>
                  </a:lnTo>
                  <a:lnTo>
                    <a:pt x="54" y="654"/>
                  </a:lnTo>
                  <a:lnTo>
                    <a:pt x="52" y="657"/>
                  </a:lnTo>
                  <a:lnTo>
                    <a:pt x="49" y="657"/>
                  </a:lnTo>
                  <a:lnTo>
                    <a:pt x="47" y="658"/>
                  </a:lnTo>
                  <a:lnTo>
                    <a:pt x="44" y="657"/>
                  </a:lnTo>
                  <a:lnTo>
                    <a:pt x="44" y="657"/>
                  </a:lnTo>
                  <a:lnTo>
                    <a:pt x="42" y="656"/>
                  </a:lnTo>
                  <a:lnTo>
                    <a:pt x="39" y="657"/>
                  </a:lnTo>
                  <a:lnTo>
                    <a:pt x="37" y="658"/>
                  </a:lnTo>
                  <a:lnTo>
                    <a:pt x="35" y="663"/>
                  </a:lnTo>
                  <a:lnTo>
                    <a:pt x="35" y="663"/>
                  </a:lnTo>
                  <a:lnTo>
                    <a:pt x="34" y="666"/>
                  </a:lnTo>
                  <a:lnTo>
                    <a:pt x="32" y="667"/>
                  </a:lnTo>
                  <a:lnTo>
                    <a:pt x="32" y="667"/>
                  </a:lnTo>
                  <a:lnTo>
                    <a:pt x="35" y="668"/>
                  </a:lnTo>
                  <a:lnTo>
                    <a:pt x="35" y="668"/>
                  </a:lnTo>
                  <a:lnTo>
                    <a:pt x="38" y="668"/>
                  </a:lnTo>
                  <a:lnTo>
                    <a:pt x="39" y="668"/>
                  </a:lnTo>
                  <a:lnTo>
                    <a:pt x="42" y="666"/>
                  </a:lnTo>
                  <a:lnTo>
                    <a:pt x="45" y="664"/>
                  </a:lnTo>
                  <a:lnTo>
                    <a:pt x="47" y="663"/>
                  </a:lnTo>
                  <a:lnTo>
                    <a:pt x="51" y="663"/>
                  </a:lnTo>
                  <a:lnTo>
                    <a:pt x="51" y="663"/>
                  </a:lnTo>
                  <a:lnTo>
                    <a:pt x="56" y="661"/>
                  </a:lnTo>
                  <a:lnTo>
                    <a:pt x="62" y="658"/>
                  </a:lnTo>
                  <a:lnTo>
                    <a:pt x="65" y="657"/>
                  </a:lnTo>
                  <a:lnTo>
                    <a:pt x="68" y="657"/>
                  </a:lnTo>
                  <a:lnTo>
                    <a:pt x="68" y="658"/>
                  </a:lnTo>
                  <a:lnTo>
                    <a:pt x="68" y="658"/>
                  </a:lnTo>
                  <a:lnTo>
                    <a:pt x="69" y="661"/>
                  </a:lnTo>
                  <a:lnTo>
                    <a:pt x="68" y="663"/>
                  </a:lnTo>
                  <a:lnTo>
                    <a:pt x="65" y="666"/>
                  </a:lnTo>
                  <a:lnTo>
                    <a:pt x="61" y="667"/>
                  </a:lnTo>
                  <a:lnTo>
                    <a:pt x="56" y="666"/>
                  </a:lnTo>
                  <a:lnTo>
                    <a:pt x="56" y="666"/>
                  </a:lnTo>
                  <a:lnTo>
                    <a:pt x="54" y="664"/>
                  </a:lnTo>
                  <a:lnTo>
                    <a:pt x="51" y="667"/>
                  </a:lnTo>
                  <a:lnTo>
                    <a:pt x="49" y="670"/>
                  </a:lnTo>
                  <a:lnTo>
                    <a:pt x="48" y="674"/>
                  </a:lnTo>
                  <a:lnTo>
                    <a:pt x="48" y="674"/>
                  </a:lnTo>
                  <a:lnTo>
                    <a:pt x="48" y="675"/>
                  </a:lnTo>
                  <a:lnTo>
                    <a:pt x="47" y="675"/>
                  </a:lnTo>
                  <a:lnTo>
                    <a:pt x="42" y="675"/>
                  </a:lnTo>
                  <a:lnTo>
                    <a:pt x="31" y="671"/>
                  </a:lnTo>
                  <a:lnTo>
                    <a:pt x="31" y="671"/>
                  </a:lnTo>
                  <a:lnTo>
                    <a:pt x="28" y="673"/>
                  </a:lnTo>
                  <a:lnTo>
                    <a:pt x="28" y="674"/>
                  </a:lnTo>
                  <a:lnTo>
                    <a:pt x="29" y="678"/>
                  </a:lnTo>
                  <a:lnTo>
                    <a:pt x="32" y="683"/>
                  </a:lnTo>
                  <a:lnTo>
                    <a:pt x="32" y="683"/>
                  </a:lnTo>
                  <a:lnTo>
                    <a:pt x="37" y="684"/>
                  </a:lnTo>
                  <a:lnTo>
                    <a:pt x="39" y="684"/>
                  </a:lnTo>
                  <a:lnTo>
                    <a:pt x="42" y="684"/>
                  </a:lnTo>
                  <a:lnTo>
                    <a:pt x="47" y="685"/>
                  </a:lnTo>
                  <a:lnTo>
                    <a:pt x="47" y="685"/>
                  </a:lnTo>
                  <a:lnTo>
                    <a:pt x="52" y="690"/>
                  </a:lnTo>
                  <a:lnTo>
                    <a:pt x="55" y="691"/>
                  </a:lnTo>
                  <a:lnTo>
                    <a:pt x="56" y="690"/>
                  </a:lnTo>
                  <a:lnTo>
                    <a:pt x="56" y="690"/>
                  </a:lnTo>
                  <a:lnTo>
                    <a:pt x="59" y="687"/>
                  </a:lnTo>
                  <a:lnTo>
                    <a:pt x="58" y="685"/>
                  </a:lnTo>
                  <a:lnTo>
                    <a:pt x="54" y="684"/>
                  </a:lnTo>
                  <a:lnTo>
                    <a:pt x="54" y="684"/>
                  </a:lnTo>
                  <a:lnTo>
                    <a:pt x="54" y="683"/>
                  </a:lnTo>
                  <a:lnTo>
                    <a:pt x="54" y="680"/>
                  </a:lnTo>
                  <a:lnTo>
                    <a:pt x="56" y="678"/>
                  </a:lnTo>
                  <a:lnTo>
                    <a:pt x="61" y="680"/>
                  </a:lnTo>
                  <a:lnTo>
                    <a:pt x="61" y="680"/>
                  </a:lnTo>
                  <a:lnTo>
                    <a:pt x="65" y="680"/>
                  </a:lnTo>
                  <a:lnTo>
                    <a:pt x="71" y="678"/>
                  </a:lnTo>
                  <a:lnTo>
                    <a:pt x="74" y="674"/>
                  </a:lnTo>
                  <a:lnTo>
                    <a:pt x="74" y="668"/>
                  </a:lnTo>
                  <a:lnTo>
                    <a:pt x="74" y="668"/>
                  </a:lnTo>
                  <a:lnTo>
                    <a:pt x="72" y="666"/>
                  </a:lnTo>
                  <a:lnTo>
                    <a:pt x="74" y="663"/>
                  </a:lnTo>
                  <a:lnTo>
                    <a:pt x="76" y="658"/>
                  </a:lnTo>
                  <a:lnTo>
                    <a:pt x="81" y="656"/>
                  </a:lnTo>
                  <a:lnTo>
                    <a:pt x="88" y="653"/>
                  </a:lnTo>
                  <a:lnTo>
                    <a:pt x="88" y="653"/>
                  </a:lnTo>
                  <a:lnTo>
                    <a:pt x="91" y="653"/>
                  </a:lnTo>
                  <a:lnTo>
                    <a:pt x="92" y="654"/>
                  </a:lnTo>
                  <a:lnTo>
                    <a:pt x="92" y="656"/>
                  </a:lnTo>
                  <a:lnTo>
                    <a:pt x="89" y="658"/>
                  </a:lnTo>
                  <a:lnTo>
                    <a:pt x="85" y="661"/>
                  </a:lnTo>
                  <a:lnTo>
                    <a:pt x="85" y="661"/>
                  </a:lnTo>
                  <a:lnTo>
                    <a:pt x="82" y="663"/>
                  </a:lnTo>
                  <a:lnTo>
                    <a:pt x="79" y="664"/>
                  </a:lnTo>
                  <a:lnTo>
                    <a:pt x="81" y="667"/>
                  </a:lnTo>
                  <a:lnTo>
                    <a:pt x="82" y="670"/>
                  </a:lnTo>
                  <a:lnTo>
                    <a:pt x="82" y="670"/>
                  </a:lnTo>
                  <a:lnTo>
                    <a:pt x="85" y="671"/>
                  </a:lnTo>
                  <a:lnTo>
                    <a:pt x="86" y="671"/>
                  </a:lnTo>
                  <a:lnTo>
                    <a:pt x="91" y="671"/>
                  </a:lnTo>
                  <a:lnTo>
                    <a:pt x="93" y="670"/>
                  </a:lnTo>
                  <a:lnTo>
                    <a:pt x="96" y="670"/>
                  </a:lnTo>
                  <a:lnTo>
                    <a:pt x="98" y="671"/>
                  </a:lnTo>
                  <a:lnTo>
                    <a:pt x="98" y="671"/>
                  </a:lnTo>
                  <a:lnTo>
                    <a:pt x="98" y="673"/>
                  </a:lnTo>
                  <a:lnTo>
                    <a:pt x="98" y="673"/>
                  </a:lnTo>
                  <a:lnTo>
                    <a:pt x="95" y="674"/>
                  </a:lnTo>
                  <a:lnTo>
                    <a:pt x="91" y="675"/>
                  </a:lnTo>
                  <a:lnTo>
                    <a:pt x="88" y="678"/>
                  </a:lnTo>
                  <a:lnTo>
                    <a:pt x="88" y="678"/>
                  </a:lnTo>
                  <a:lnTo>
                    <a:pt x="88" y="681"/>
                  </a:lnTo>
                  <a:lnTo>
                    <a:pt x="91" y="684"/>
                  </a:lnTo>
                  <a:lnTo>
                    <a:pt x="91" y="687"/>
                  </a:lnTo>
                  <a:lnTo>
                    <a:pt x="91" y="688"/>
                  </a:lnTo>
                  <a:lnTo>
                    <a:pt x="89" y="690"/>
                  </a:lnTo>
                  <a:lnTo>
                    <a:pt x="89" y="690"/>
                  </a:lnTo>
                  <a:lnTo>
                    <a:pt x="88" y="690"/>
                  </a:lnTo>
                  <a:lnTo>
                    <a:pt x="86" y="688"/>
                  </a:lnTo>
                  <a:lnTo>
                    <a:pt x="85" y="684"/>
                  </a:lnTo>
                  <a:lnTo>
                    <a:pt x="84" y="680"/>
                  </a:lnTo>
                  <a:lnTo>
                    <a:pt x="84" y="677"/>
                  </a:lnTo>
                  <a:lnTo>
                    <a:pt x="82" y="675"/>
                  </a:lnTo>
                  <a:lnTo>
                    <a:pt x="82" y="675"/>
                  </a:lnTo>
                  <a:lnTo>
                    <a:pt x="79" y="675"/>
                  </a:lnTo>
                  <a:lnTo>
                    <a:pt x="78" y="677"/>
                  </a:lnTo>
                  <a:lnTo>
                    <a:pt x="78" y="681"/>
                  </a:lnTo>
                  <a:lnTo>
                    <a:pt x="79" y="685"/>
                  </a:lnTo>
                  <a:lnTo>
                    <a:pt x="79" y="685"/>
                  </a:lnTo>
                  <a:lnTo>
                    <a:pt x="79" y="690"/>
                  </a:lnTo>
                  <a:lnTo>
                    <a:pt x="78" y="690"/>
                  </a:lnTo>
                  <a:lnTo>
                    <a:pt x="71" y="683"/>
                  </a:lnTo>
                  <a:lnTo>
                    <a:pt x="71" y="683"/>
                  </a:lnTo>
                  <a:lnTo>
                    <a:pt x="68" y="683"/>
                  </a:lnTo>
                  <a:lnTo>
                    <a:pt x="66" y="683"/>
                  </a:lnTo>
                  <a:lnTo>
                    <a:pt x="65" y="685"/>
                  </a:lnTo>
                  <a:lnTo>
                    <a:pt x="66" y="690"/>
                  </a:lnTo>
                  <a:lnTo>
                    <a:pt x="66" y="690"/>
                  </a:lnTo>
                  <a:lnTo>
                    <a:pt x="68" y="691"/>
                  </a:lnTo>
                  <a:lnTo>
                    <a:pt x="68" y="691"/>
                  </a:lnTo>
                  <a:lnTo>
                    <a:pt x="65" y="691"/>
                  </a:lnTo>
                  <a:lnTo>
                    <a:pt x="61" y="693"/>
                  </a:lnTo>
                  <a:lnTo>
                    <a:pt x="59" y="694"/>
                  </a:lnTo>
                  <a:lnTo>
                    <a:pt x="59" y="695"/>
                  </a:lnTo>
                  <a:lnTo>
                    <a:pt x="59" y="695"/>
                  </a:lnTo>
                  <a:lnTo>
                    <a:pt x="59" y="698"/>
                  </a:lnTo>
                  <a:lnTo>
                    <a:pt x="62" y="698"/>
                  </a:lnTo>
                  <a:lnTo>
                    <a:pt x="66" y="698"/>
                  </a:lnTo>
                  <a:lnTo>
                    <a:pt x="71" y="698"/>
                  </a:lnTo>
                  <a:lnTo>
                    <a:pt x="71" y="698"/>
                  </a:lnTo>
                  <a:lnTo>
                    <a:pt x="72" y="700"/>
                  </a:lnTo>
                  <a:lnTo>
                    <a:pt x="74" y="701"/>
                  </a:lnTo>
                  <a:lnTo>
                    <a:pt x="75" y="704"/>
                  </a:lnTo>
                  <a:lnTo>
                    <a:pt x="76" y="708"/>
                  </a:lnTo>
                  <a:lnTo>
                    <a:pt x="79" y="712"/>
                  </a:lnTo>
                  <a:lnTo>
                    <a:pt x="79" y="712"/>
                  </a:lnTo>
                  <a:lnTo>
                    <a:pt x="81" y="712"/>
                  </a:lnTo>
                  <a:lnTo>
                    <a:pt x="81" y="712"/>
                  </a:lnTo>
                  <a:lnTo>
                    <a:pt x="82" y="708"/>
                  </a:lnTo>
                  <a:lnTo>
                    <a:pt x="82" y="703"/>
                  </a:lnTo>
                  <a:lnTo>
                    <a:pt x="84" y="701"/>
                  </a:lnTo>
                  <a:lnTo>
                    <a:pt x="85" y="700"/>
                  </a:lnTo>
                  <a:lnTo>
                    <a:pt x="85" y="700"/>
                  </a:lnTo>
                  <a:lnTo>
                    <a:pt x="86" y="700"/>
                  </a:lnTo>
                  <a:lnTo>
                    <a:pt x="86" y="701"/>
                  </a:lnTo>
                  <a:lnTo>
                    <a:pt x="88" y="705"/>
                  </a:lnTo>
                  <a:lnTo>
                    <a:pt x="91" y="711"/>
                  </a:lnTo>
                  <a:lnTo>
                    <a:pt x="92" y="712"/>
                  </a:lnTo>
                  <a:lnTo>
                    <a:pt x="96" y="715"/>
                  </a:lnTo>
                  <a:lnTo>
                    <a:pt x="96" y="715"/>
                  </a:lnTo>
                  <a:lnTo>
                    <a:pt x="101" y="715"/>
                  </a:lnTo>
                  <a:lnTo>
                    <a:pt x="101" y="715"/>
                  </a:lnTo>
                  <a:lnTo>
                    <a:pt x="101" y="715"/>
                  </a:lnTo>
                  <a:lnTo>
                    <a:pt x="101" y="712"/>
                  </a:lnTo>
                  <a:lnTo>
                    <a:pt x="101" y="711"/>
                  </a:lnTo>
                  <a:lnTo>
                    <a:pt x="102" y="710"/>
                  </a:lnTo>
                  <a:lnTo>
                    <a:pt x="102" y="710"/>
                  </a:lnTo>
                  <a:lnTo>
                    <a:pt x="103" y="708"/>
                  </a:lnTo>
                  <a:lnTo>
                    <a:pt x="105" y="710"/>
                  </a:lnTo>
                  <a:lnTo>
                    <a:pt x="109" y="714"/>
                  </a:lnTo>
                  <a:lnTo>
                    <a:pt x="113" y="718"/>
                  </a:lnTo>
                  <a:lnTo>
                    <a:pt x="118" y="721"/>
                  </a:lnTo>
                  <a:lnTo>
                    <a:pt x="118" y="721"/>
                  </a:lnTo>
                  <a:lnTo>
                    <a:pt x="119" y="721"/>
                  </a:lnTo>
                  <a:lnTo>
                    <a:pt x="121" y="721"/>
                  </a:lnTo>
                  <a:lnTo>
                    <a:pt x="121" y="718"/>
                  </a:lnTo>
                  <a:lnTo>
                    <a:pt x="119" y="714"/>
                  </a:lnTo>
                  <a:lnTo>
                    <a:pt x="116" y="711"/>
                  </a:lnTo>
                  <a:lnTo>
                    <a:pt x="116" y="711"/>
                  </a:lnTo>
                  <a:lnTo>
                    <a:pt x="115" y="708"/>
                  </a:lnTo>
                  <a:lnTo>
                    <a:pt x="118" y="708"/>
                  </a:lnTo>
                  <a:lnTo>
                    <a:pt x="125" y="711"/>
                  </a:lnTo>
                  <a:lnTo>
                    <a:pt x="125" y="711"/>
                  </a:lnTo>
                  <a:lnTo>
                    <a:pt x="132" y="712"/>
                  </a:lnTo>
                  <a:lnTo>
                    <a:pt x="135" y="711"/>
                  </a:lnTo>
                  <a:lnTo>
                    <a:pt x="136" y="710"/>
                  </a:lnTo>
                  <a:lnTo>
                    <a:pt x="136" y="710"/>
                  </a:lnTo>
                  <a:lnTo>
                    <a:pt x="138" y="708"/>
                  </a:lnTo>
                  <a:lnTo>
                    <a:pt x="139" y="708"/>
                  </a:lnTo>
                  <a:lnTo>
                    <a:pt x="139" y="708"/>
                  </a:lnTo>
                  <a:lnTo>
                    <a:pt x="132" y="707"/>
                  </a:lnTo>
                  <a:lnTo>
                    <a:pt x="123" y="707"/>
                  </a:lnTo>
                  <a:lnTo>
                    <a:pt x="112" y="707"/>
                  </a:lnTo>
                  <a:lnTo>
                    <a:pt x="112" y="707"/>
                  </a:lnTo>
                  <a:lnTo>
                    <a:pt x="111" y="705"/>
                  </a:lnTo>
                  <a:lnTo>
                    <a:pt x="111" y="700"/>
                  </a:lnTo>
                  <a:lnTo>
                    <a:pt x="111" y="684"/>
                  </a:lnTo>
                  <a:lnTo>
                    <a:pt x="112" y="654"/>
                  </a:lnTo>
                  <a:lnTo>
                    <a:pt x="112" y="654"/>
                  </a:lnTo>
                  <a:lnTo>
                    <a:pt x="111" y="654"/>
                  </a:lnTo>
                  <a:lnTo>
                    <a:pt x="111" y="654"/>
                  </a:lnTo>
                  <a:lnTo>
                    <a:pt x="102" y="653"/>
                  </a:lnTo>
                  <a:lnTo>
                    <a:pt x="98" y="651"/>
                  </a:lnTo>
                  <a:lnTo>
                    <a:pt x="98" y="650"/>
                  </a:lnTo>
                  <a:lnTo>
                    <a:pt x="98" y="647"/>
                  </a:lnTo>
                  <a:lnTo>
                    <a:pt x="98" y="647"/>
                  </a:lnTo>
                  <a:lnTo>
                    <a:pt x="99" y="646"/>
                  </a:lnTo>
                  <a:lnTo>
                    <a:pt x="99" y="646"/>
                  </a:lnTo>
                  <a:lnTo>
                    <a:pt x="95" y="643"/>
                  </a:lnTo>
                  <a:lnTo>
                    <a:pt x="91" y="640"/>
                  </a:lnTo>
                  <a:lnTo>
                    <a:pt x="91" y="640"/>
                  </a:lnTo>
                  <a:lnTo>
                    <a:pt x="84" y="640"/>
                  </a:lnTo>
                  <a:lnTo>
                    <a:pt x="75" y="640"/>
                  </a:lnTo>
                  <a:lnTo>
                    <a:pt x="62" y="641"/>
                  </a:lnTo>
                  <a:lnTo>
                    <a:pt x="62" y="64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2" name="Freeform 296">
              <a:extLst>
                <a:ext uri="{FF2B5EF4-FFF2-40B4-BE49-F238E27FC236}">
                  <a16:creationId xmlns:a16="http://schemas.microsoft.com/office/drawing/2014/main" id="{0BCD90FE-4199-D149-B4EC-D5F978FFCD18}"/>
                </a:ext>
              </a:extLst>
            </p:cNvPr>
            <p:cNvSpPr>
              <a:spLocks/>
            </p:cNvSpPr>
            <p:nvPr/>
          </p:nvSpPr>
          <p:spPr bwMode="auto">
            <a:xfrm>
              <a:off x="2816976" y="4781791"/>
              <a:ext cx="204210" cy="207170"/>
            </a:xfrm>
            <a:custGeom>
              <a:avLst/>
              <a:gdLst/>
              <a:ahLst/>
              <a:cxnLst>
                <a:cxn ang="0">
                  <a:pos x="137" y="76"/>
                </a:cxn>
                <a:cxn ang="0">
                  <a:pos x="128" y="78"/>
                </a:cxn>
                <a:cxn ang="0">
                  <a:pos x="123" y="79"/>
                </a:cxn>
                <a:cxn ang="0">
                  <a:pos x="118" y="72"/>
                </a:cxn>
                <a:cxn ang="0">
                  <a:pos x="116" y="62"/>
                </a:cxn>
                <a:cxn ang="0">
                  <a:pos x="110" y="52"/>
                </a:cxn>
                <a:cxn ang="0">
                  <a:pos x="106" y="48"/>
                </a:cxn>
                <a:cxn ang="0">
                  <a:pos x="104" y="48"/>
                </a:cxn>
                <a:cxn ang="0">
                  <a:pos x="100" y="49"/>
                </a:cxn>
                <a:cxn ang="0">
                  <a:pos x="90" y="47"/>
                </a:cxn>
                <a:cxn ang="0">
                  <a:pos x="84" y="47"/>
                </a:cxn>
                <a:cxn ang="0">
                  <a:pos x="80" y="41"/>
                </a:cxn>
                <a:cxn ang="0">
                  <a:pos x="81" y="34"/>
                </a:cxn>
                <a:cxn ang="0">
                  <a:pos x="81" y="27"/>
                </a:cxn>
                <a:cxn ang="0">
                  <a:pos x="79" y="17"/>
                </a:cxn>
                <a:cxn ang="0">
                  <a:pos x="79" y="14"/>
                </a:cxn>
                <a:cxn ang="0">
                  <a:pos x="80" y="12"/>
                </a:cxn>
                <a:cxn ang="0">
                  <a:pos x="79" y="5"/>
                </a:cxn>
                <a:cxn ang="0">
                  <a:pos x="76" y="7"/>
                </a:cxn>
                <a:cxn ang="0">
                  <a:pos x="73" y="5"/>
                </a:cxn>
                <a:cxn ang="0">
                  <a:pos x="64" y="1"/>
                </a:cxn>
                <a:cxn ang="0">
                  <a:pos x="60" y="0"/>
                </a:cxn>
                <a:cxn ang="0">
                  <a:pos x="46" y="1"/>
                </a:cxn>
                <a:cxn ang="0">
                  <a:pos x="42" y="2"/>
                </a:cxn>
                <a:cxn ang="0">
                  <a:pos x="33" y="2"/>
                </a:cxn>
                <a:cxn ang="0">
                  <a:pos x="23" y="5"/>
                </a:cxn>
                <a:cxn ang="0">
                  <a:pos x="15" y="12"/>
                </a:cxn>
                <a:cxn ang="0">
                  <a:pos x="10" y="21"/>
                </a:cxn>
                <a:cxn ang="0">
                  <a:pos x="9" y="34"/>
                </a:cxn>
                <a:cxn ang="0">
                  <a:pos x="6" y="45"/>
                </a:cxn>
                <a:cxn ang="0">
                  <a:pos x="0" y="45"/>
                </a:cxn>
                <a:cxn ang="0">
                  <a:pos x="5" y="51"/>
                </a:cxn>
                <a:cxn ang="0">
                  <a:pos x="16" y="64"/>
                </a:cxn>
                <a:cxn ang="0">
                  <a:pos x="22" y="68"/>
                </a:cxn>
                <a:cxn ang="0">
                  <a:pos x="30" y="75"/>
                </a:cxn>
                <a:cxn ang="0">
                  <a:pos x="40" y="79"/>
                </a:cxn>
                <a:cxn ang="0">
                  <a:pos x="46" y="79"/>
                </a:cxn>
                <a:cxn ang="0">
                  <a:pos x="54" y="85"/>
                </a:cxn>
                <a:cxn ang="0">
                  <a:pos x="57" y="88"/>
                </a:cxn>
                <a:cxn ang="0">
                  <a:pos x="73" y="96"/>
                </a:cxn>
                <a:cxn ang="0">
                  <a:pos x="87" y="103"/>
                </a:cxn>
                <a:cxn ang="0">
                  <a:pos x="87" y="105"/>
                </a:cxn>
                <a:cxn ang="0">
                  <a:pos x="81" y="112"/>
                </a:cxn>
                <a:cxn ang="0">
                  <a:pos x="76" y="121"/>
                </a:cxn>
                <a:cxn ang="0">
                  <a:pos x="76" y="125"/>
                </a:cxn>
                <a:cxn ang="0">
                  <a:pos x="73" y="132"/>
                </a:cxn>
                <a:cxn ang="0">
                  <a:pos x="70" y="135"/>
                </a:cxn>
                <a:cxn ang="0">
                  <a:pos x="71" y="136"/>
                </a:cxn>
                <a:cxn ang="0">
                  <a:pos x="81" y="138"/>
                </a:cxn>
                <a:cxn ang="0">
                  <a:pos x="84" y="139"/>
                </a:cxn>
                <a:cxn ang="0">
                  <a:pos x="91" y="139"/>
                </a:cxn>
                <a:cxn ang="0">
                  <a:pos x="100" y="140"/>
                </a:cxn>
                <a:cxn ang="0">
                  <a:pos x="104" y="140"/>
                </a:cxn>
                <a:cxn ang="0">
                  <a:pos x="111" y="138"/>
                </a:cxn>
                <a:cxn ang="0">
                  <a:pos x="114" y="138"/>
                </a:cxn>
                <a:cxn ang="0">
                  <a:pos x="120" y="133"/>
                </a:cxn>
                <a:cxn ang="0">
                  <a:pos x="127" y="131"/>
                </a:cxn>
                <a:cxn ang="0">
                  <a:pos x="128" y="131"/>
                </a:cxn>
                <a:cxn ang="0">
                  <a:pos x="133" y="122"/>
                </a:cxn>
                <a:cxn ang="0">
                  <a:pos x="134" y="108"/>
                </a:cxn>
                <a:cxn ang="0">
                  <a:pos x="135" y="101"/>
                </a:cxn>
                <a:cxn ang="0">
                  <a:pos x="138" y="82"/>
                </a:cxn>
                <a:cxn ang="0">
                  <a:pos x="137" y="76"/>
                </a:cxn>
              </a:cxnLst>
              <a:rect l="0" t="0" r="r" b="b"/>
              <a:pathLst>
                <a:path w="138" h="140">
                  <a:moveTo>
                    <a:pt x="137" y="76"/>
                  </a:moveTo>
                  <a:lnTo>
                    <a:pt x="137" y="76"/>
                  </a:lnTo>
                  <a:lnTo>
                    <a:pt x="133" y="76"/>
                  </a:lnTo>
                  <a:lnTo>
                    <a:pt x="128" y="78"/>
                  </a:lnTo>
                  <a:lnTo>
                    <a:pt x="123" y="79"/>
                  </a:lnTo>
                  <a:lnTo>
                    <a:pt x="123" y="79"/>
                  </a:lnTo>
                  <a:lnTo>
                    <a:pt x="121" y="78"/>
                  </a:lnTo>
                  <a:lnTo>
                    <a:pt x="118" y="72"/>
                  </a:lnTo>
                  <a:lnTo>
                    <a:pt x="116" y="62"/>
                  </a:lnTo>
                  <a:lnTo>
                    <a:pt x="116" y="62"/>
                  </a:lnTo>
                  <a:lnTo>
                    <a:pt x="113" y="57"/>
                  </a:lnTo>
                  <a:lnTo>
                    <a:pt x="110" y="52"/>
                  </a:lnTo>
                  <a:lnTo>
                    <a:pt x="107" y="49"/>
                  </a:lnTo>
                  <a:lnTo>
                    <a:pt x="106" y="48"/>
                  </a:lnTo>
                  <a:lnTo>
                    <a:pt x="104" y="48"/>
                  </a:lnTo>
                  <a:lnTo>
                    <a:pt x="104" y="48"/>
                  </a:lnTo>
                  <a:lnTo>
                    <a:pt x="101" y="49"/>
                  </a:lnTo>
                  <a:lnTo>
                    <a:pt x="100" y="49"/>
                  </a:lnTo>
                  <a:lnTo>
                    <a:pt x="96" y="48"/>
                  </a:lnTo>
                  <a:lnTo>
                    <a:pt x="90" y="47"/>
                  </a:lnTo>
                  <a:lnTo>
                    <a:pt x="90" y="47"/>
                  </a:lnTo>
                  <a:lnTo>
                    <a:pt x="84" y="47"/>
                  </a:lnTo>
                  <a:lnTo>
                    <a:pt x="81" y="44"/>
                  </a:lnTo>
                  <a:lnTo>
                    <a:pt x="80" y="41"/>
                  </a:lnTo>
                  <a:lnTo>
                    <a:pt x="81" y="34"/>
                  </a:lnTo>
                  <a:lnTo>
                    <a:pt x="81" y="34"/>
                  </a:lnTo>
                  <a:lnTo>
                    <a:pt x="83" y="30"/>
                  </a:lnTo>
                  <a:lnTo>
                    <a:pt x="81" y="27"/>
                  </a:lnTo>
                  <a:lnTo>
                    <a:pt x="80" y="21"/>
                  </a:lnTo>
                  <a:lnTo>
                    <a:pt x="79" y="17"/>
                  </a:lnTo>
                  <a:lnTo>
                    <a:pt x="79" y="15"/>
                  </a:lnTo>
                  <a:lnTo>
                    <a:pt x="79" y="14"/>
                  </a:lnTo>
                  <a:lnTo>
                    <a:pt x="79" y="14"/>
                  </a:lnTo>
                  <a:lnTo>
                    <a:pt x="80" y="12"/>
                  </a:lnTo>
                  <a:lnTo>
                    <a:pt x="81" y="11"/>
                  </a:lnTo>
                  <a:lnTo>
                    <a:pt x="79" y="5"/>
                  </a:lnTo>
                  <a:lnTo>
                    <a:pt x="79" y="5"/>
                  </a:lnTo>
                  <a:lnTo>
                    <a:pt x="76" y="7"/>
                  </a:lnTo>
                  <a:lnTo>
                    <a:pt x="76" y="7"/>
                  </a:lnTo>
                  <a:lnTo>
                    <a:pt x="73" y="5"/>
                  </a:lnTo>
                  <a:lnTo>
                    <a:pt x="69" y="4"/>
                  </a:lnTo>
                  <a:lnTo>
                    <a:pt x="64" y="1"/>
                  </a:lnTo>
                  <a:lnTo>
                    <a:pt x="60" y="0"/>
                  </a:lnTo>
                  <a:lnTo>
                    <a:pt x="60" y="0"/>
                  </a:lnTo>
                  <a:lnTo>
                    <a:pt x="50" y="0"/>
                  </a:lnTo>
                  <a:lnTo>
                    <a:pt x="46" y="1"/>
                  </a:lnTo>
                  <a:lnTo>
                    <a:pt x="42" y="2"/>
                  </a:lnTo>
                  <a:lnTo>
                    <a:pt x="42" y="2"/>
                  </a:lnTo>
                  <a:lnTo>
                    <a:pt x="37" y="2"/>
                  </a:lnTo>
                  <a:lnTo>
                    <a:pt x="33" y="2"/>
                  </a:lnTo>
                  <a:lnTo>
                    <a:pt x="27" y="4"/>
                  </a:lnTo>
                  <a:lnTo>
                    <a:pt x="23" y="5"/>
                  </a:lnTo>
                  <a:lnTo>
                    <a:pt x="23" y="5"/>
                  </a:lnTo>
                  <a:lnTo>
                    <a:pt x="15" y="12"/>
                  </a:lnTo>
                  <a:lnTo>
                    <a:pt x="10" y="17"/>
                  </a:lnTo>
                  <a:lnTo>
                    <a:pt x="10" y="21"/>
                  </a:lnTo>
                  <a:lnTo>
                    <a:pt x="10" y="21"/>
                  </a:lnTo>
                  <a:lnTo>
                    <a:pt x="9" y="34"/>
                  </a:lnTo>
                  <a:lnTo>
                    <a:pt x="7" y="41"/>
                  </a:lnTo>
                  <a:lnTo>
                    <a:pt x="6" y="45"/>
                  </a:lnTo>
                  <a:lnTo>
                    <a:pt x="6" y="45"/>
                  </a:lnTo>
                  <a:lnTo>
                    <a:pt x="0" y="45"/>
                  </a:lnTo>
                  <a:lnTo>
                    <a:pt x="0" y="45"/>
                  </a:lnTo>
                  <a:lnTo>
                    <a:pt x="5" y="51"/>
                  </a:lnTo>
                  <a:lnTo>
                    <a:pt x="10" y="57"/>
                  </a:lnTo>
                  <a:lnTo>
                    <a:pt x="16" y="64"/>
                  </a:lnTo>
                  <a:lnTo>
                    <a:pt x="22" y="68"/>
                  </a:lnTo>
                  <a:lnTo>
                    <a:pt x="22" y="68"/>
                  </a:lnTo>
                  <a:lnTo>
                    <a:pt x="27" y="72"/>
                  </a:lnTo>
                  <a:lnTo>
                    <a:pt x="30" y="75"/>
                  </a:lnTo>
                  <a:lnTo>
                    <a:pt x="34" y="78"/>
                  </a:lnTo>
                  <a:lnTo>
                    <a:pt x="40" y="79"/>
                  </a:lnTo>
                  <a:lnTo>
                    <a:pt x="40" y="79"/>
                  </a:lnTo>
                  <a:lnTo>
                    <a:pt x="46" y="79"/>
                  </a:lnTo>
                  <a:lnTo>
                    <a:pt x="51" y="82"/>
                  </a:lnTo>
                  <a:lnTo>
                    <a:pt x="54" y="85"/>
                  </a:lnTo>
                  <a:lnTo>
                    <a:pt x="57" y="88"/>
                  </a:lnTo>
                  <a:lnTo>
                    <a:pt x="57" y="88"/>
                  </a:lnTo>
                  <a:lnTo>
                    <a:pt x="63" y="92"/>
                  </a:lnTo>
                  <a:lnTo>
                    <a:pt x="73" y="96"/>
                  </a:lnTo>
                  <a:lnTo>
                    <a:pt x="83" y="99"/>
                  </a:lnTo>
                  <a:lnTo>
                    <a:pt x="87" y="103"/>
                  </a:lnTo>
                  <a:lnTo>
                    <a:pt x="87" y="103"/>
                  </a:lnTo>
                  <a:lnTo>
                    <a:pt x="87" y="105"/>
                  </a:lnTo>
                  <a:lnTo>
                    <a:pt x="87" y="106"/>
                  </a:lnTo>
                  <a:lnTo>
                    <a:pt x="81" y="112"/>
                  </a:lnTo>
                  <a:lnTo>
                    <a:pt x="77" y="118"/>
                  </a:lnTo>
                  <a:lnTo>
                    <a:pt x="76" y="121"/>
                  </a:lnTo>
                  <a:lnTo>
                    <a:pt x="76" y="125"/>
                  </a:lnTo>
                  <a:lnTo>
                    <a:pt x="76" y="125"/>
                  </a:lnTo>
                  <a:lnTo>
                    <a:pt x="74" y="129"/>
                  </a:lnTo>
                  <a:lnTo>
                    <a:pt x="73" y="132"/>
                  </a:lnTo>
                  <a:lnTo>
                    <a:pt x="70" y="133"/>
                  </a:lnTo>
                  <a:lnTo>
                    <a:pt x="70" y="135"/>
                  </a:lnTo>
                  <a:lnTo>
                    <a:pt x="70" y="135"/>
                  </a:lnTo>
                  <a:lnTo>
                    <a:pt x="71" y="136"/>
                  </a:lnTo>
                  <a:lnTo>
                    <a:pt x="76" y="138"/>
                  </a:lnTo>
                  <a:lnTo>
                    <a:pt x="81" y="138"/>
                  </a:lnTo>
                  <a:lnTo>
                    <a:pt x="84" y="139"/>
                  </a:lnTo>
                  <a:lnTo>
                    <a:pt x="84" y="139"/>
                  </a:lnTo>
                  <a:lnTo>
                    <a:pt x="88" y="139"/>
                  </a:lnTo>
                  <a:lnTo>
                    <a:pt x="91" y="139"/>
                  </a:lnTo>
                  <a:lnTo>
                    <a:pt x="96" y="139"/>
                  </a:lnTo>
                  <a:lnTo>
                    <a:pt x="100" y="140"/>
                  </a:lnTo>
                  <a:lnTo>
                    <a:pt x="100" y="140"/>
                  </a:lnTo>
                  <a:lnTo>
                    <a:pt x="104" y="140"/>
                  </a:lnTo>
                  <a:lnTo>
                    <a:pt x="107" y="139"/>
                  </a:lnTo>
                  <a:lnTo>
                    <a:pt x="111" y="138"/>
                  </a:lnTo>
                  <a:lnTo>
                    <a:pt x="114" y="138"/>
                  </a:lnTo>
                  <a:lnTo>
                    <a:pt x="114" y="138"/>
                  </a:lnTo>
                  <a:lnTo>
                    <a:pt x="117" y="136"/>
                  </a:lnTo>
                  <a:lnTo>
                    <a:pt x="120" y="133"/>
                  </a:lnTo>
                  <a:lnTo>
                    <a:pt x="123" y="132"/>
                  </a:lnTo>
                  <a:lnTo>
                    <a:pt x="127" y="131"/>
                  </a:lnTo>
                  <a:lnTo>
                    <a:pt x="127" y="131"/>
                  </a:lnTo>
                  <a:lnTo>
                    <a:pt x="128" y="131"/>
                  </a:lnTo>
                  <a:lnTo>
                    <a:pt x="130" y="128"/>
                  </a:lnTo>
                  <a:lnTo>
                    <a:pt x="133" y="122"/>
                  </a:lnTo>
                  <a:lnTo>
                    <a:pt x="134" y="113"/>
                  </a:lnTo>
                  <a:lnTo>
                    <a:pt x="134" y="108"/>
                  </a:lnTo>
                  <a:lnTo>
                    <a:pt x="134" y="108"/>
                  </a:lnTo>
                  <a:lnTo>
                    <a:pt x="135" y="101"/>
                  </a:lnTo>
                  <a:lnTo>
                    <a:pt x="137" y="91"/>
                  </a:lnTo>
                  <a:lnTo>
                    <a:pt x="138" y="82"/>
                  </a:lnTo>
                  <a:lnTo>
                    <a:pt x="138" y="79"/>
                  </a:lnTo>
                  <a:lnTo>
                    <a:pt x="137" y="76"/>
                  </a:lnTo>
                  <a:lnTo>
                    <a:pt x="137" y="7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3" name="Freeform 297">
              <a:extLst>
                <a:ext uri="{FF2B5EF4-FFF2-40B4-BE49-F238E27FC236}">
                  <a16:creationId xmlns:a16="http://schemas.microsoft.com/office/drawing/2014/main" id="{4228EDA3-9401-674A-8198-69D539346B82}"/>
                </a:ext>
              </a:extLst>
            </p:cNvPr>
            <p:cNvSpPr>
              <a:spLocks/>
            </p:cNvSpPr>
            <p:nvPr/>
          </p:nvSpPr>
          <p:spPr bwMode="auto">
            <a:xfrm>
              <a:off x="2267977" y="4046338"/>
              <a:ext cx="75470" cy="65111"/>
            </a:xfrm>
            <a:custGeom>
              <a:avLst/>
              <a:gdLst/>
              <a:ahLst/>
              <a:cxnLst>
                <a:cxn ang="0">
                  <a:pos x="48" y="34"/>
                </a:cxn>
                <a:cxn ang="0">
                  <a:pos x="48" y="34"/>
                </a:cxn>
                <a:cxn ang="0">
                  <a:pos x="48" y="30"/>
                </a:cxn>
                <a:cxn ang="0">
                  <a:pos x="51" y="24"/>
                </a:cxn>
                <a:cxn ang="0">
                  <a:pos x="51" y="24"/>
                </a:cxn>
                <a:cxn ang="0">
                  <a:pos x="43" y="14"/>
                </a:cxn>
                <a:cxn ang="0">
                  <a:pos x="36" y="4"/>
                </a:cxn>
                <a:cxn ang="0">
                  <a:pos x="36" y="4"/>
                </a:cxn>
                <a:cxn ang="0">
                  <a:pos x="31" y="4"/>
                </a:cxn>
                <a:cxn ang="0">
                  <a:pos x="27" y="4"/>
                </a:cxn>
                <a:cxn ang="0">
                  <a:pos x="27" y="4"/>
                </a:cxn>
                <a:cxn ang="0">
                  <a:pos x="24" y="3"/>
                </a:cxn>
                <a:cxn ang="0">
                  <a:pos x="20" y="3"/>
                </a:cxn>
                <a:cxn ang="0">
                  <a:pos x="16" y="2"/>
                </a:cxn>
                <a:cxn ang="0">
                  <a:pos x="11" y="2"/>
                </a:cxn>
                <a:cxn ang="0">
                  <a:pos x="11" y="2"/>
                </a:cxn>
                <a:cxn ang="0">
                  <a:pos x="7" y="0"/>
                </a:cxn>
                <a:cxn ang="0">
                  <a:pos x="3" y="0"/>
                </a:cxn>
                <a:cxn ang="0">
                  <a:pos x="3" y="0"/>
                </a:cxn>
                <a:cxn ang="0">
                  <a:pos x="3" y="4"/>
                </a:cxn>
                <a:cxn ang="0">
                  <a:pos x="1" y="7"/>
                </a:cxn>
                <a:cxn ang="0">
                  <a:pos x="1" y="7"/>
                </a:cxn>
                <a:cxn ang="0">
                  <a:pos x="0" y="10"/>
                </a:cxn>
                <a:cxn ang="0">
                  <a:pos x="0" y="14"/>
                </a:cxn>
                <a:cxn ang="0">
                  <a:pos x="1" y="17"/>
                </a:cxn>
                <a:cxn ang="0">
                  <a:pos x="6" y="21"/>
                </a:cxn>
                <a:cxn ang="0">
                  <a:pos x="6" y="21"/>
                </a:cxn>
                <a:cxn ang="0">
                  <a:pos x="10" y="21"/>
                </a:cxn>
                <a:cxn ang="0">
                  <a:pos x="11" y="21"/>
                </a:cxn>
                <a:cxn ang="0">
                  <a:pos x="13" y="20"/>
                </a:cxn>
                <a:cxn ang="0">
                  <a:pos x="16" y="19"/>
                </a:cxn>
                <a:cxn ang="0">
                  <a:pos x="16" y="19"/>
                </a:cxn>
                <a:cxn ang="0">
                  <a:pos x="17" y="20"/>
                </a:cxn>
                <a:cxn ang="0">
                  <a:pos x="18" y="23"/>
                </a:cxn>
                <a:cxn ang="0">
                  <a:pos x="20" y="24"/>
                </a:cxn>
                <a:cxn ang="0">
                  <a:pos x="23" y="26"/>
                </a:cxn>
                <a:cxn ang="0">
                  <a:pos x="23" y="26"/>
                </a:cxn>
                <a:cxn ang="0">
                  <a:pos x="26" y="26"/>
                </a:cxn>
                <a:cxn ang="0">
                  <a:pos x="30" y="29"/>
                </a:cxn>
                <a:cxn ang="0">
                  <a:pos x="33" y="31"/>
                </a:cxn>
                <a:cxn ang="0">
                  <a:pos x="34" y="36"/>
                </a:cxn>
                <a:cxn ang="0">
                  <a:pos x="34" y="36"/>
                </a:cxn>
                <a:cxn ang="0">
                  <a:pos x="34" y="39"/>
                </a:cxn>
                <a:cxn ang="0">
                  <a:pos x="36" y="41"/>
                </a:cxn>
                <a:cxn ang="0">
                  <a:pos x="38" y="43"/>
                </a:cxn>
                <a:cxn ang="0">
                  <a:pos x="43" y="43"/>
                </a:cxn>
                <a:cxn ang="0">
                  <a:pos x="43" y="43"/>
                </a:cxn>
                <a:cxn ang="0">
                  <a:pos x="47" y="44"/>
                </a:cxn>
                <a:cxn ang="0">
                  <a:pos x="47" y="44"/>
                </a:cxn>
                <a:cxn ang="0">
                  <a:pos x="48" y="39"/>
                </a:cxn>
                <a:cxn ang="0">
                  <a:pos x="48" y="34"/>
                </a:cxn>
                <a:cxn ang="0">
                  <a:pos x="48" y="34"/>
                </a:cxn>
              </a:cxnLst>
              <a:rect l="0" t="0" r="r" b="b"/>
              <a:pathLst>
                <a:path w="51" h="44">
                  <a:moveTo>
                    <a:pt x="48" y="34"/>
                  </a:moveTo>
                  <a:lnTo>
                    <a:pt x="48" y="34"/>
                  </a:lnTo>
                  <a:lnTo>
                    <a:pt x="48" y="30"/>
                  </a:lnTo>
                  <a:lnTo>
                    <a:pt x="51" y="24"/>
                  </a:lnTo>
                  <a:lnTo>
                    <a:pt x="51" y="24"/>
                  </a:lnTo>
                  <a:lnTo>
                    <a:pt x="43" y="14"/>
                  </a:lnTo>
                  <a:lnTo>
                    <a:pt x="36" y="4"/>
                  </a:lnTo>
                  <a:lnTo>
                    <a:pt x="36" y="4"/>
                  </a:lnTo>
                  <a:lnTo>
                    <a:pt x="31" y="4"/>
                  </a:lnTo>
                  <a:lnTo>
                    <a:pt x="27" y="4"/>
                  </a:lnTo>
                  <a:lnTo>
                    <a:pt x="27" y="4"/>
                  </a:lnTo>
                  <a:lnTo>
                    <a:pt x="24" y="3"/>
                  </a:lnTo>
                  <a:lnTo>
                    <a:pt x="20" y="3"/>
                  </a:lnTo>
                  <a:lnTo>
                    <a:pt x="16" y="2"/>
                  </a:lnTo>
                  <a:lnTo>
                    <a:pt x="11" y="2"/>
                  </a:lnTo>
                  <a:lnTo>
                    <a:pt x="11" y="2"/>
                  </a:lnTo>
                  <a:lnTo>
                    <a:pt x="7" y="0"/>
                  </a:lnTo>
                  <a:lnTo>
                    <a:pt x="3" y="0"/>
                  </a:lnTo>
                  <a:lnTo>
                    <a:pt x="3" y="0"/>
                  </a:lnTo>
                  <a:lnTo>
                    <a:pt x="3" y="4"/>
                  </a:lnTo>
                  <a:lnTo>
                    <a:pt x="1" y="7"/>
                  </a:lnTo>
                  <a:lnTo>
                    <a:pt x="1" y="7"/>
                  </a:lnTo>
                  <a:lnTo>
                    <a:pt x="0" y="10"/>
                  </a:lnTo>
                  <a:lnTo>
                    <a:pt x="0" y="14"/>
                  </a:lnTo>
                  <a:lnTo>
                    <a:pt x="1" y="17"/>
                  </a:lnTo>
                  <a:lnTo>
                    <a:pt x="6" y="21"/>
                  </a:lnTo>
                  <a:lnTo>
                    <a:pt x="6" y="21"/>
                  </a:lnTo>
                  <a:lnTo>
                    <a:pt x="10" y="21"/>
                  </a:lnTo>
                  <a:lnTo>
                    <a:pt x="11" y="21"/>
                  </a:lnTo>
                  <a:lnTo>
                    <a:pt x="13" y="20"/>
                  </a:lnTo>
                  <a:lnTo>
                    <a:pt x="16" y="19"/>
                  </a:lnTo>
                  <a:lnTo>
                    <a:pt x="16" y="19"/>
                  </a:lnTo>
                  <a:lnTo>
                    <a:pt x="17" y="20"/>
                  </a:lnTo>
                  <a:lnTo>
                    <a:pt x="18" y="23"/>
                  </a:lnTo>
                  <a:lnTo>
                    <a:pt x="20" y="24"/>
                  </a:lnTo>
                  <a:lnTo>
                    <a:pt x="23" y="26"/>
                  </a:lnTo>
                  <a:lnTo>
                    <a:pt x="23" y="26"/>
                  </a:lnTo>
                  <a:lnTo>
                    <a:pt x="26" y="26"/>
                  </a:lnTo>
                  <a:lnTo>
                    <a:pt x="30" y="29"/>
                  </a:lnTo>
                  <a:lnTo>
                    <a:pt x="33" y="31"/>
                  </a:lnTo>
                  <a:lnTo>
                    <a:pt x="34" y="36"/>
                  </a:lnTo>
                  <a:lnTo>
                    <a:pt x="34" y="36"/>
                  </a:lnTo>
                  <a:lnTo>
                    <a:pt x="34" y="39"/>
                  </a:lnTo>
                  <a:lnTo>
                    <a:pt x="36" y="41"/>
                  </a:lnTo>
                  <a:lnTo>
                    <a:pt x="38" y="43"/>
                  </a:lnTo>
                  <a:lnTo>
                    <a:pt x="43" y="43"/>
                  </a:lnTo>
                  <a:lnTo>
                    <a:pt x="43" y="43"/>
                  </a:lnTo>
                  <a:lnTo>
                    <a:pt x="47" y="44"/>
                  </a:lnTo>
                  <a:lnTo>
                    <a:pt x="47" y="44"/>
                  </a:lnTo>
                  <a:lnTo>
                    <a:pt x="48" y="39"/>
                  </a:lnTo>
                  <a:lnTo>
                    <a:pt x="48" y="34"/>
                  </a:lnTo>
                  <a:lnTo>
                    <a:pt x="48" y="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4" name="Freeform 298">
              <a:extLst>
                <a:ext uri="{FF2B5EF4-FFF2-40B4-BE49-F238E27FC236}">
                  <a16:creationId xmlns:a16="http://schemas.microsoft.com/office/drawing/2014/main" id="{C30B77A8-3715-2643-9D0B-08F7EFF946E5}"/>
                </a:ext>
              </a:extLst>
            </p:cNvPr>
            <p:cNvSpPr>
              <a:spLocks/>
            </p:cNvSpPr>
            <p:nvPr/>
          </p:nvSpPr>
          <p:spPr bwMode="auto">
            <a:xfrm>
              <a:off x="2337527" y="4080374"/>
              <a:ext cx="139100" cy="59191"/>
            </a:xfrm>
            <a:custGeom>
              <a:avLst/>
              <a:gdLst/>
              <a:ahLst/>
              <a:cxnLst>
                <a:cxn ang="0">
                  <a:pos x="84" y="11"/>
                </a:cxn>
                <a:cxn ang="0">
                  <a:pos x="72" y="4"/>
                </a:cxn>
                <a:cxn ang="0">
                  <a:pos x="61" y="1"/>
                </a:cxn>
                <a:cxn ang="0">
                  <a:pos x="50" y="1"/>
                </a:cxn>
                <a:cxn ang="0">
                  <a:pos x="38" y="10"/>
                </a:cxn>
                <a:cxn ang="0">
                  <a:pos x="36" y="13"/>
                </a:cxn>
                <a:cxn ang="0">
                  <a:pos x="26" y="14"/>
                </a:cxn>
                <a:cxn ang="0">
                  <a:pos x="13" y="8"/>
                </a:cxn>
                <a:cxn ang="0">
                  <a:pos x="4" y="1"/>
                </a:cxn>
                <a:cxn ang="0">
                  <a:pos x="1" y="7"/>
                </a:cxn>
                <a:cxn ang="0">
                  <a:pos x="1" y="11"/>
                </a:cxn>
                <a:cxn ang="0">
                  <a:pos x="0" y="21"/>
                </a:cxn>
                <a:cxn ang="0">
                  <a:pos x="11" y="24"/>
                </a:cxn>
                <a:cxn ang="0">
                  <a:pos x="20" y="30"/>
                </a:cxn>
                <a:cxn ang="0">
                  <a:pos x="24" y="33"/>
                </a:cxn>
                <a:cxn ang="0">
                  <a:pos x="30" y="35"/>
                </a:cxn>
                <a:cxn ang="0">
                  <a:pos x="33" y="38"/>
                </a:cxn>
                <a:cxn ang="0">
                  <a:pos x="36" y="40"/>
                </a:cxn>
                <a:cxn ang="0">
                  <a:pos x="43" y="37"/>
                </a:cxn>
                <a:cxn ang="0">
                  <a:pos x="44" y="34"/>
                </a:cxn>
                <a:cxn ang="0">
                  <a:pos x="43" y="30"/>
                </a:cxn>
                <a:cxn ang="0">
                  <a:pos x="40" y="26"/>
                </a:cxn>
                <a:cxn ang="0">
                  <a:pos x="41" y="24"/>
                </a:cxn>
                <a:cxn ang="0">
                  <a:pos x="47" y="21"/>
                </a:cxn>
                <a:cxn ang="0">
                  <a:pos x="48" y="18"/>
                </a:cxn>
                <a:cxn ang="0">
                  <a:pos x="55" y="13"/>
                </a:cxn>
                <a:cxn ang="0">
                  <a:pos x="67" y="13"/>
                </a:cxn>
                <a:cxn ang="0">
                  <a:pos x="70" y="14"/>
                </a:cxn>
                <a:cxn ang="0">
                  <a:pos x="72" y="20"/>
                </a:cxn>
                <a:cxn ang="0">
                  <a:pos x="71" y="23"/>
                </a:cxn>
                <a:cxn ang="0">
                  <a:pos x="70" y="27"/>
                </a:cxn>
                <a:cxn ang="0">
                  <a:pos x="80" y="40"/>
                </a:cxn>
                <a:cxn ang="0">
                  <a:pos x="91" y="30"/>
                </a:cxn>
                <a:cxn ang="0">
                  <a:pos x="92" y="27"/>
                </a:cxn>
                <a:cxn ang="0">
                  <a:pos x="94" y="24"/>
                </a:cxn>
                <a:cxn ang="0">
                  <a:pos x="84" y="11"/>
                </a:cxn>
              </a:cxnLst>
              <a:rect l="0" t="0" r="r" b="b"/>
              <a:pathLst>
                <a:path w="94" h="40">
                  <a:moveTo>
                    <a:pt x="84" y="11"/>
                  </a:moveTo>
                  <a:lnTo>
                    <a:pt x="84" y="11"/>
                  </a:lnTo>
                  <a:lnTo>
                    <a:pt x="78" y="7"/>
                  </a:lnTo>
                  <a:lnTo>
                    <a:pt x="72" y="4"/>
                  </a:lnTo>
                  <a:lnTo>
                    <a:pt x="61" y="1"/>
                  </a:lnTo>
                  <a:lnTo>
                    <a:pt x="61" y="1"/>
                  </a:lnTo>
                  <a:lnTo>
                    <a:pt x="55" y="0"/>
                  </a:lnTo>
                  <a:lnTo>
                    <a:pt x="50" y="1"/>
                  </a:lnTo>
                  <a:lnTo>
                    <a:pt x="44" y="4"/>
                  </a:lnTo>
                  <a:lnTo>
                    <a:pt x="38" y="10"/>
                  </a:lnTo>
                  <a:lnTo>
                    <a:pt x="38" y="10"/>
                  </a:lnTo>
                  <a:lnTo>
                    <a:pt x="36" y="13"/>
                  </a:lnTo>
                  <a:lnTo>
                    <a:pt x="31" y="13"/>
                  </a:lnTo>
                  <a:lnTo>
                    <a:pt x="26" y="14"/>
                  </a:lnTo>
                  <a:lnTo>
                    <a:pt x="18" y="11"/>
                  </a:lnTo>
                  <a:lnTo>
                    <a:pt x="13" y="8"/>
                  </a:lnTo>
                  <a:lnTo>
                    <a:pt x="13" y="8"/>
                  </a:lnTo>
                  <a:lnTo>
                    <a:pt x="4" y="1"/>
                  </a:lnTo>
                  <a:lnTo>
                    <a:pt x="4" y="1"/>
                  </a:lnTo>
                  <a:lnTo>
                    <a:pt x="1" y="7"/>
                  </a:lnTo>
                  <a:lnTo>
                    <a:pt x="1" y="11"/>
                  </a:lnTo>
                  <a:lnTo>
                    <a:pt x="1" y="11"/>
                  </a:lnTo>
                  <a:lnTo>
                    <a:pt x="1" y="16"/>
                  </a:lnTo>
                  <a:lnTo>
                    <a:pt x="0" y="21"/>
                  </a:lnTo>
                  <a:lnTo>
                    <a:pt x="0" y="21"/>
                  </a:lnTo>
                  <a:lnTo>
                    <a:pt x="11" y="24"/>
                  </a:lnTo>
                  <a:lnTo>
                    <a:pt x="16" y="27"/>
                  </a:lnTo>
                  <a:lnTo>
                    <a:pt x="20" y="30"/>
                  </a:lnTo>
                  <a:lnTo>
                    <a:pt x="20" y="30"/>
                  </a:lnTo>
                  <a:lnTo>
                    <a:pt x="24" y="33"/>
                  </a:lnTo>
                  <a:lnTo>
                    <a:pt x="27" y="34"/>
                  </a:lnTo>
                  <a:lnTo>
                    <a:pt x="30" y="35"/>
                  </a:lnTo>
                  <a:lnTo>
                    <a:pt x="33" y="38"/>
                  </a:lnTo>
                  <a:lnTo>
                    <a:pt x="33" y="38"/>
                  </a:lnTo>
                  <a:lnTo>
                    <a:pt x="34" y="40"/>
                  </a:lnTo>
                  <a:lnTo>
                    <a:pt x="36" y="40"/>
                  </a:lnTo>
                  <a:lnTo>
                    <a:pt x="38" y="40"/>
                  </a:lnTo>
                  <a:lnTo>
                    <a:pt x="43" y="37"/>
                  </a:lnTo>
                  <a:lnTo>
                    <a:pt x="44" y="34"/>
                  </a:lnTo>
                  <a:lnTo>
                    <a:pt x="44" y="34"/>
                  </a:lnTo>
                  <a:lnTo>
                    <a:pt x="44" y="33"/>
                  </a:lnTo>
                  <a:lnTo>
                    <a:pt x="43" y="30"/>
                  </a:lnTo>
                  <a:lnTo>
                    <a:pt x="41" y="28"/>
                  </a:lnTo>
                  <a:lnTo>
                    <a:pt x="40" y="26"/>
                  </a:lnTo>
                  <a:lnTo>
                    <a:pt x="40" y="26"/>
                  </a:lnTo>
                  <a:lnTo>
                    <a:pt x="41" y="24"/>
                  </a:lnTo>
                  <a:lnTo>
                    <a:pt x="44" y="23"/>
                  </a:lnTo>
                  <a:lnTo>
                    <a:pt x="47" y="21"/>
                  </a:lnTo>
                  <a:lnTo>
                    <a:pt x="48" y="18"/>
                  </a:lnTo>
                  <a:lnTo>
                    <a:pt x="48" y="18"/>
                  </a:lnTo>
                  <a:lnTo>
                    <a:pt x="51" y="14"/>
                  </a:lnTo>
                  <a:lnTo>
                    <a:pt x="55" y="13"/>
                  </a:lnTo>
                  <a:lnTo>
                    <a:pt x="61" y="11"/>
                  </a:lnTo>
                  <a:lnTo>
                    <a:pt x="67" y="13"/>
                  </a:lnTo>
                  <a:lnTo>
                    <a:pt x="67" y="13"/>
                  </a:lnTo>
                  <a:lnTo>
                    <a:pt x="70" y="14"/>
                  </a:lnTo>
                  <a:lnTo>
                    <a:pt x="72" y="17"/>
                  </a:lnTo>
                  <a:lnTo>
                    <a:pt x="72" y="20"/>
                  </a:lnTo>
                  <a:lnTo>
                    <a:pt x="71" y="23"/>
                  </a:lnTo>
                  <a:lnTo>
                    <a:pt x="71" y="23"/>
                  </a:lnTo>
                  <a:lnTo>
                    <a:pt x="70" y="26"/>
                  </a:lnTo>
                  <a:lnTo>
                    <a:pt x="70" y="27"/>
                  </a:lnTo>
                  <a:lnTo>
                    <a:pt x="72" y="31"/>
                  </a:lnTo>
                  <a:lnTo>
                    <a:pt x="80" y="40"/>
                  </a:lnTo>
                  <a:lnTo>
                    <a:pt x="80" y="40"/>
                  </a:lnTo>
                  <a:lnTo>
                    <a:pt x="91" y="30"/>
                  </a:lnTo>
                  <a:lnTo>
                    <a:pt x="91" y="30"/>
                  </a:lnTo>
                  <a:lnTo>
                    <a:pt x="92" y="27"/>
                  </a:lnTo>
                  <a:lnTo>
                    <a:pt x="94" y="24"/>
                  </a:lnTo>
                  <a:lnTo>
                    <a:pt x="94" y="24"/>
                  </a:lnTo>
                  <a:lnTo>
                    <a:pt x="88" y="20"/>
                  </a:lnTo>
                  <a:lnTo>
                    <a:pt x="84" y="11"/>
                  </a:lnTo>
                  <a:lnTo>
                    <a:pt x="84"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5" name="Freeform 299">
              <a:extLst>
                <a:ext uri="{FF2B5EF4-FFF2-40B4-BE49-F238E27FC236}">
                  <a16:creationId xmlns:a16="http://schemas.microsoft.com/office/drawing/2014/main" id="{E7B52C90-894D-5D48-B869-81685FC35F2E}"/>
                </a:ext>
              </a:extLst>
            </p:cNvPr>
            <p:cNvSpPr>
              <a:spLocks/>
            </p:cNvSpPr>
            <p:nvPr/>
          </p:nvSpPr>
          <p:spPr bwMode="auto">
            <a:xfrm>
              <a:off x="2432233" y="4012303"/>
              <a:ext cx="282640" cy="401022"/>
            </a:xfrm>
            <a:custGeom>
              <a:avLst/>
              <a:gdLst/>
              <a:ahLst/>
              <a:cxnLst>
                <a:cxn ang="0">
                  <a:pos x="40" y="198"/>
                </a:cxn>
                <a:cxn ang="0">
                  <a:pos x="53" y="207"/>
                </a:cxn>
                <a:cxn ang="0">
                  <a:pos x="65" y="205"/>
                </a:cxn>
                <a:cxn ang="0">
                  <a:pos x="74" y="218"/>
                </a:cxn>
                <a:cxn ang="0">
                  <a:pos x="84" y="224"/>
                </a:cxn>
                <a:cxn ang="0">
                  <a:pos x="90" y="234"/>
                </a:cxn>
                <a:cxn ang="0">
                  <a:pos x="95" y="242"/>
                </a:cxn>
                <a:cxn ang="0">
                  <a:pos x="117" y="241"/>
                </a:cxn>
                <a:cxn ang="0">
                  <a:pos x="127" y="241"/>
                </a:cxn>
                <a:cxn ang="0">
                  <a:pos x="142" y="246"/>
                </a:cxn>
                <a:cxn ang="0">
                  <a:pos x="135" y="261"/>
                </a:cxn>
                <a:cxn ang="0">
                  <a:pos x="142" y="269"/>
                </a:cxn>
                <a:cxn ang="0">
                  <a:pos x="146" y="271"/>
                </a:cxn>
                <a:cxn ang="0">
                  <a:pos x="152" y="238"/>
                </a:cxn>
                <a:cxn ang="0">
                  <a:pos x="151" y="215"/>
                </a:cxn>
                <a:cxn ang="0">
                  <a:pos x="145" y="197"/>
                </a:cxn>
                <a:cxn ang="0">
                  <a:pos x="158" y="190"/>
                </a:cxn>
                <a:cxn ang="0">
                  <a:pos x="149" y="182"/>
                </a:cxn>
                <a:cxn ang="0">
                  <a:pos x="151" y="175"/>
                </a:cxn>
                <a:cxn ang="0">
                  <a:pos x="183" y="173"/>
                </a:cxn>
                <a:cxn ang="0">
                  <a:pos x="188" y="161"/>
                </a:cxn>
                <a:cxn ang="0">
                  <a:pos x="188" y="150"/>
                </a:cxn>
                <a:cxn ang="0">
                  <a:pos x="182" y="137"/>
                </a:cxn>
                <a:cxn ang="0">
                  <a:pos x="185" y="107"/>
                </a:cxn>
                <a:cxn ang="0">
                  <a:pos x="182" y="101"/>
                </a:cxn>
                <a:cxn ang="0">
                  <a:pos x="155" y="101"/>
                </a:cxn>
                <a:cxn ang="0">
                  <a:pos x="139" y="90"/>
                </a:cxn>
                <a:cxn ang="0">
                  <a:pos x="109" y="89"/>
                </a:cxn>
                <a:cxn ang="0">
                  <a:pos x="107" y="69"/>
                </a:cxn>
                <a:cxn ang="0">
                  <a:pos x="100" y="59"/>
                </a:cxn>
                <a:cxn ang="0">
                  <a:pos x="91" y="54"/>
                </a:cxn>
                <a:cxn ang="0">
                  <a:pos x="97" y="36"/>
                </a:cxn>
                <a:cxn ang="0">
                  <a:pos x="111" y="17"/>
                </a:cxn>
                <a:cxn ang="0">
                  <a:pos x="119" y="12"/>
                </a:cxn>
                <a:cxn ang="0">
                  <a:pos x="124" y="2"/>
                </a:cxn>
                <a:cxn ang="0">
                  <a:pos x="111" y="7"/>
                </a:cxn>
                <a:cxn ang="0">
                  <a:pos x="91" y="19"/>
                </a:cxn>
                <a:cxn ang="0">
                  <a:pos x="77" y="22"/>
                </a:cxn>
                <a:cxn ang="0">
                  <a:pos x="70" y="22"/>
                </a:cxn>
                <a:cxn ang="0">
                  <a:pos x="54" y="36"/>
                </a:cxn>
                <a:cxn ang="0">
                  <a:pos x="48" y="52"/>
                </a:cxn>
                <a:cxn ang="0">
                  <a:pos x="31" y="70"/>
                </a:cxn>
                <a:cxn ang="0">
                  <a:pos x="27" y="76"/>
                </a:cxn>
                <a:cxn ang="0">
                  <a:pos x="24" y="94"/>
                </a:cxn>
                <a:cxn ang="0">
                  <a:pos x="26" y="109"/>
                </a:cxn>
                <a:cxn ang="0">
                  <a:pos x="24" y="124"/>
                </a:cxn>
                <a:cxn ang="0">
                  <a:pos x="28" y="143"/>
                </a:cxn>
                <a:cxn ang="0">
                  <a:pos x="16" y="161"/>
                </a:cxn>
                <a:cxn ang="0">
                  <a:pos x="6" y="167"/>
                </a:cxn>
                <a:cxn ang="0">
                  <a:pos x="0" y="174"/>
                </a:cxn>
                <a:cxn ang="0">
                  <a:pos x="20" y="190"/>
                </a:cxn>
                <a:cxn ang="0">
                  <a:pos x="30" y="197"/>
                </a:cxn>
              </a:cxnLst>
              <a:rect l="0" t="0" r="r" b="b"/>
              <a:pathLst>
                <a:path w="191" h="271">
                  <a:moveTo>
                    <a:pt x="30" y="197"/>
                  </a:moveTo>
                  <a:lnTo>
                    <a:pt x="30" y="197"/>
                  </a:lnTo>
                  <a:lnTo>
                    <a:pt x="33" y="198"/>
                  </a:lnTo>
                  <a:lnTo>
                    <a:pt x="37" y="200"/>
                  </a:lnTo>
                  <a:lnTo>
                    <a:pt x="40" y="198"/>
                  </a:lnTo>
                  <a:lnTo>
                    <a:pt x="41" y="197"/>
                  </a:lnTo>
                  <a:lnTo>
                    <a:pt x="41" y="197"/>
                  </a:lnTo>
                  <a:lnTo>
                    <a:pt x="43" y="197"/>
                  </a:lnTo>
                  <a:lnTo>
                    <a:pt x="45" y="198"/>
                  </a:lnTo>
                  <a:lnTo>
                    <a:pt x="53" y="207"/>
                  </a:lnTo>
                  <a:lnTo>
                    <a:pt x="53" y="207"/>
                  </a:lnTo>
                  <a:lnTo>
                    <a:pt x="54" y="207"/>
                  </a:lnTo>
                  <a:lnTo>
                    <a:pt x="54" y="207"/>
                  </a:lnTo>
                  <a:lnTo>
                    <a:pt x="61" y="205"/>
                  </a:lnTo>
                  <a:lnTo>
                    <a:pt x="65" y="205"/>
                  </a:lnTo>
                  <a:lnTo>
                    <a:pt x="67" y="207"/>
                  </a:lnTo>
                  <a:lnTo>
                    <a:pt x="67" y="207"/>
                  </a:lnTo>
                  <a:lnTo>
                    <a:pt x="70" y="210"/>
                  </a:lnTo>
                  <a:lnTo>
                    <a:pt x="71" y="214"/>
                  </a:lnTo>
                  <a:lnTo>
                    <a:pt x="74" y="218"/>
                  </a:lnTo>
                  <a:lnTo>
                    <a:pt x="75" y="219"/>
                  </a:lnTo>
                  <a:lnTo>
                    <a:pt x="77" y="219"/>
                  </a:lnTo>
                  <a:lnTo>
                    <a:pt x="77" y="219"/>
                  </a:lnTo>
                  <a:lnTo>
                    <a:pt x="81" y="221"/>
                  </a:lnTo>
                  <a:lnTo>
                    <a:pt x="84" y="224"/>
                  </a:lnTo>
                  <a:lnTo>
                    <a:pt x="87" y="227"/>
                  </a:lnTo>
                  <a:lnTo>
                    <a:pt x="87" y="229"/>
                  </a:lnTo>
                  <a:lnTo>
                    <a:pt x="87" y="229"/>
                  </a:lnTo>
                  <a:lnTo>
                    <a:pt x="88" y="232"/>
                  </a:lnTo>
                  <a:lnTo>
                    <a:pt x="90" y="234"/>
                  </a:lnTo>
                  <a:lnTo>
                    <a:pt x="92" y="237"/>
                  </a:lnTo>
                  <a:lnTo>
                    <a:pt x="92" y="239"/>
                  </a:lnTo>
                  <a:lnTo>
                    <a:pt x="92" y="239"/>
                  </a:lnTo>
                  <a:lnTo>
                    <a:pt x="94" y="242"/>
                  </a:lnTo>
                  <a:lnTo>
                    <a:pt x="95" y="242"/>
                  </a:lnTo>
                  <a:lnTo>
                    <a:pt x="101" y="244"/>
                  </a:lnTo>
                  <a:lnTo>
                    <a:pt x="108" y="244"/>
                  </a:lnTo>
                  <a:lnTo>
                    <a:pt x="111" y="242"/>
                  </a:lnTo>
                  <a:lnTo>
                    <a:pt x="111" y="242"/>
                  </a:lnTo>
                  <a:lnTo>
                    <a:pt x="117" y="241"/>
                  </a:lnTo>
                  <a:lnTo>
                    <a:pt x="118" y="241"/>
                  </a:lnTo>
                  <a:lnTo>
                    <a:pt x="121" y="241"/>
                  </a:lnTo>
                  <a:lnTo>
                    <a:pt x="121" y="241"/>
                  </a:lnTo>
                  <a:lnTo>
                    <a:pt x="124" y="242"/>
                  </a:lnTo>
                  <a:lnTo>
                    <a:pt x="127" y="241"/>
                  </a:lnTo>
                  <a:lnTo>
                    <a:pt x="129" y="241"/>
                  </a:lnTo>
                  <a:lnTo>
                    <a:pt x="132" y="241"/>
                  </a:lnTo>
                  <a:lnTo>
                    <a:pt x="132" y="241"/>
                  </a:lnTo>
                  <a:lnTo>
                    <a:pt x="139" y="244"/>
                  </a:lnTo>
                  <a:lnTo>
                    <a:pt x="142" y="246"/>
                  </a:lnTo>
                  <a:lnTo>
                    <a:pt x="144" y="248"/>
                  </a:lnTo>
                  <a:lnTo>
                    <a:pt x="144" y="251"/>
                  </a:lnTo>
                  <a:lnTo>
                    <a:pt x="144" y="251"/>
                  </a:lnTo>
                  <a:lnTo>
                    <a:pt x="138" y="256"/>
                  </a:lnTo>
                  <a:lnTo>
                    <a:pt x="135" y="261"/>
                  </a:lnTo>
                  <a:lnTo>
                    <a:pt x="135" y="264"/>
                  </a:lnTo>
                  <a:lnTo>
                    <a:pt x="135" y="264"/>
                  </a:lnTo>
                  <a:lnTo>
                    <a:pt x="137" y="265"/>
                  </a:lnTo>
                  <a:lnTo>
                    <a:pt x="139" y="266"/>
                  </a:lnTo>
                  <a:lnTo>
                    <a:pt x="142" y="269"/>
                  </a:lnTo>
                  <a:lnTo>
                    <a:pt x="145" y="271"/>
                  </a:lnTo>
                  <a:lnTo>
                    <a:pt x="145" y="271"/>
                  </a:lnTo>
                  <a:lnTo>
                    <a:pt x="145" y="271"/>
                  </a:lnTo>
                  <a:lnTo>
                    <a:pt x="145" y="271"/>
                  </a:lnTo>
                  <a:lnTo>
                    <a:pt x="146" y="271"/>
                  </a:lnTo>
                  <a:lnTo>
                    <a:pt x="148" y="268"/>
                  </a:lnTo>
                  <a:lnTo>
                    <a:pt x="149" y="262"/>
                  </a:lnTo>
                  <a:lnTo>
                    <a:pt x="152" y="249"/>
                  </a:lnTo>
                  <a:lnTo>
                    <a:pt x="152" y="249"/>
                  </a:lnTo>
                  <a:lnTo>
                    <a:pt x="152" y="238"/>
                  </a:lnTo>
                  <a:lnTo>
                    <a:pt x="155" y="228"/>
                  </a:lnTo>
                  <a:lnTo>
                    <a:pt x="155" y="228"/>
                  </a:lnTo>
                  <a:lnTo>
                    <a:pt x="155" y="224"/>
                  </a:lnTo>
                  <a:lnTo>
                    <a:pt x="154" y="221"/>
                  </a:lnTo>
                  <a:lnTo>
                    <a:pt x="151" y="215"/>
                  </a:lnTo>
                  <a:lnTo>
                    <a:pt x="146" y="208"/>
                  </a:lnTo>
                  <a:lnTo>
                    <a:pt x="145" y="205"/>
                  </a:lnTo>
                  <a:lnTo>
                    <a:pt x="145" y="201"/>
                  </a:lnTo>
                  <a:lnTo>
                    <a:pt x="145" y="201"/>
                  </a:lnTo>
                  <a:lnTo>
                    <a:pt x="145" y="197"/>
                  </a:lnTo>
                  <a:lnTo>
                    <a:pt x="148" y="195"/>
                  </a:lnTo>
                  <a:lnTo>
                    <a:pt x="151" y="194"/>
                  </a:lnTo>
                  <a:lnTo>
                    <a:pt x="155" y="192"/>
                  </a:lnTo>
                  <a:lnTo>
                    <a:pt x="155" y="192"/>
                  </a:lnTo>
                  <a:lnTo>
                    <a:pt x="158" y="190"/>
                  </a:lnTo>
                  <a:lnTo>
                    <a:pt x="156" y="188"/>
                  </a:lnTo>
                  <a:lnTo>
                    <a:pt x="152" y="187"/>
                  </a:lnTo>
                  <a:lnTo>
                    <a:pt x="152" y="187"/>
                  </a:lnTo>
                  <a:lnTo>
                    <a:pt x="151" y="185"/>
                  </a:lnTo>
                  <a:lnTo>
                    <a:pt x="149" y="182"/>
                  </a:lnTo>
                  <a:lnTo>
                    <a:pt x="148" y="180"/>
                  </a:lnTo>
                  <a:lnTo>
                    <a:pt x="148" y="177"/>
                  </a:lnTo>
                  <a:lnTo>
                    <a:pt x="148" y="177"/>
                  </a:lnTo>
                  <a:lnTo>
                    <a:pt x="149" y="177"/>
                  </a:lnTo>
                  <a:lnTo>
                    <a:pt x="151" y="175"/>
                  </a:lnTo>
                  <a:lnTo>
                    <a:pt x="158" y="175"/>
                  </a:lnTo>
                  <a:lnTo>
                    <a:pt x="172" y="175"/>
                  </a:lnTo>
                  <a:lnTo>
                    <a:pt x="172" y="175"/>
                  </a:lnTo>
                  <a:lnTo>
                    <a:pt x="178" y="175"/>
                  </a:lnTo>
                  <a:lnTo>
                    <a:pt x="183" y="173"/>
                  </a:lnTo>
                  <a:lnTo>
                    <a:pt x="191" y="170"/>
                  </a:lnTo>
                  <a:lnTo>
                    <a:pt x="191" y="170"/>
                  </a:lnTo>
                  <a:lnTo>
                    <a:pt x="191" y="167"/>
                  </a:lnTo>
                  <a:lnTo>
                    <a:pt x="189" y="164"/>
                  </a:lnTo>
                  <a:lnTo>
                    <a:pt x="188" y="161"/>
                  </a:lnTo>
                  <a:lnTo>
                    <a:pt x="188" y="161"/>
                  </a:lnTo>
                  <a:lnTo>
                    <a:pt x="185" y="158"/>
                  </a:lnTo>
                  <a:lnTo>
                    <a:pt x="185" y="155"/>
                  </a:lnTo>
                  <a:lnTo>
                    <a:pt x="186" y="153"/>
                  </a:lnTo>
                  <a:lnTo>
                    <a:pt x="188" y="150"/>
                  </a:lnTo>
                  <a:lnTo>
                    <a:pt x="188" y="150"/>
                  </a:lnTo>
                  <a:lnTo>
                    <a:pt x="189" y="147"/>
                  </a:lnTo>
                  <a:lnTo>
                    <a:pt x="188" y="144"/>
                  </a:lnTo>
                  <a:lnTo>
                    <a:pt x="182" y="137"/>
                  </a:lnTo>
                  <a:lnTo>
                    <a:pt x="182" y="137"/>
                  </a:lnTo>
                  <a:lnTo>
                    <a:pt x="181" y="134"/>
                  </a:lnTo>
                  <a:lnTo>
                    <a:pt x="179" y="131"/>
                  </a:lnTo>
                  <a:lnTo>
                    <a:pt x="181" y="124"/>
                  </a:lnTo>
                  <a:lnTo>
                    <a:pt x="182" y="116"/>
                  </a:lnTo>
                  <a:lnTo>
                    <a:pt x="185" y="107"/>
                  </a:lnTo>
                  <a:lnTo>
                    <a:pt x="185" y="107"/>
                  </a:lnTo>
                  <a:lnTo>
                    <a:pt x="186" y="106"/>
                  </a:lnTo>
                  <a:lnTo>
                    <a:pt x="186" y="103"/>
                  </a:lnTo>
                  <a:lnTo>
                    <a:pt x="183" y="103"/>
                  </a:lnTo>
                  <a:lnTo>
                    <a:pt x="182" y="101"/>
                  </a:lnTo>
                  <a:lnTo>
                    <a:pt x="174" y="101"/>
                  </a:lnTo>
                  <a:lnTo>
                    <a:pt x="166" y="103"/>
                  </a:lnTo>
                  <a:lnTo>
                    <a:pt x="166" y="103"/>
                  </a:lnTo>
                  <a:lnTo>
                    <a:pt x="161" y="103"/>
                  </a:lnTo>
                  <a:lnTo>
                    <a:pt x="155" y="101"/>
                  </a:lnTo>
                  <a:lnTo>
                    <a:pt x="149" y="97"/>
                  </a:lnTo>
                  <a:lnTo>
                    <a:pt x="144" y="93"/>
                  </a:lnTo>
                  <a:lnTo>
                    <a:pt x="144" y="93"/>
                  </a:lnTo>
                  <a:lnTo>
                    <a:pt x="142" y="90"/>
                  </a:lnTo>
                  <a:lnTo>
                    <a:pt x="139" y="90"/>
                  </a:lnTo>
                  <a:lnTo>
                    <a:pt x="134" y="89"/>
                  </a:lnTo>
                  <a:lnTo>
                    <a:pt x="117" y="90"/>
                  </a:lnTo>
                  <a:lnTo>
                    <a:pt x="117" y="90"/>
                  </a:lnTo>
                  <a:lnTo>
                    <a:pt x="112" y="90"/>
                  </a:lnTo>
                  <a:lnTo>
                    <a:pt x="109" y="89"/>
                  </a:lnTo>
                  <a:lnTo>
                    <a:pt x="108" y="86"/>
                  </a:lnTo>
                  <a:lnTo>
                    <a:pt x="107" y="83"/>
                  </a:lnTo>
                  <a:lnTo>
                    <a:pt x="105" y="76"/>
                  </a:lnTo>
                  <a:lnTo>
                    <a:pt x="107" y="69"/>
                  </a:lnTo>
                  <a:lnTo>
                    <a:pt x="107" y="69"/>
                  </a:lnTo>
                  <a:lnTo>
                    <a:pt x="105" y="66"/>
                  </a:lnTo>
                  <a:lnTo>
                    <a:pt x="104" y="63"/>
                  </a:lnTo>
                  <a:lnTo>
                    <a:pt x="101" y="62"/>
                  </a:lnTo>
                  <a:lnTo>
                    <a:pt x="100" y="59"/>
                  </a:lnTo>
                  <a:lnTo>
                    <a:pt x="100" y="59"/>
                  </a:lnTo>
                  <a:lnTo>
                    <a:pt x="98" y="56"/>
                  </a:lnTo>
                  <a:lnTo>
                    <a:pt x="97" y="56"/>
                  </a:lnTo>
                  <a:lnTo>
                    <a:pt x="92" y="56"/>
                  </a:lnTo>
                  <a:lnTo>
                    <a:pt x="92" y="56"/>
                  </a:lnTo>
                  <a:lnTo>
                    <a:pt x="91" y="54"/>
                  </a:lnTo>
                  <a:lnTo>
                    <a:pt x="91" y="53"/>
                  </a:lnTo>
                  <a:lnTo>
                    <a:pt x="94" y="47"/>
                  </a:lnTo>
                  <a:lnTo>
                    <a:pt x="94" y="47"/>
                  </a:lnTo>
                  <a:lnTo>
                    <a:pt x="97" y="43"/>
                  </a:lnTo>
                  <a:lnTo>
                    <a:pt x="97" y="36"/>
                  </a:lnTo>
                  <a:lnTo>
                    <a:pt x="97" y="36"/>
                  </a:lnTo>
                  <a:lnTo>
                    <a:pt x="98" y="32"/>
                  </a:lnTo>
                  <a:lnTo>
                    <a:pt x="102" y="27"/>
                  </a:lnTo>
                  <a:lnTo>
                    <a:pt x="111" y="17"/>
                  </a:lnTo>
                  <a:lnTo>
                    <a:pt x="111" y="17"/>
                  </a:lnTo>
                  <a:lnTo>
                    <a:pt x="112" y="16"/>
                  </a:lnTo>
                  <a:lnTo>
                    <a:pt x="115" y="15"/>
                  </a:lnTo>
                  <a:lnTo>
                    <a:pt x="115" y="15"/>
                  </a:lnTo>
                  <a:lnTo>
                    <a:pt x="117" y="13"/>
                  </a:lnTo>
                  <a:lnTo>
                    <a:pt x="119" y="12"/>
                  </a:lnTo>
                  <a:lnTo>
                    <a:pt x="119" y="12"/>
                  </a:lnTo>
                  <a:lnTo>
                    <a:pt x="124" y="10"/>
                  </a:lnTo>
                  <a:lnTo>
                    <a:pt x="127" y="7"/>
                  </a:lnTo>
                  <a:lnTo>
                    <a:pt x="127" y="5"/>
                  </a:lnTo>
                  <a:lnTo>
                    <a:pt x="124" y="2"/>
                  </a:lnTo>
                  <a:lnTo>
                    <a:pt x="124" y="2"/>
                  </a:lnTo>
                  <a:lnTo>
                    <a:pt x="121" y="0"/>
                  </a:lnTo>
                  <a:lnTo>
                    <a:pt x="119" y="2"/>
                  </a:lnTo>
                  <a:lnTo>
                    <a:pt x="115" y="5"/>
                  </a:lnTo>
                  <a:lnTo>
                    <a:pt x="111" y="7"/>
                  </a:lnTo>
                  <a:lnTo>
                    <a:pt x="105" y="10"/>
                  </a:lnTo>
                  <a:lnTo>
                    <a:pt x="105" y="10"/>
                  </a:lnTo>
                  <a:lnTo>
                    <a:pt x="101" y="12"/>
                  </a:lnTo>
                  <a:lnTo>
                    <a:pt x="98" y="13"/>
                  </a:lnTo>
                  <a:lnTo>
                    <a:pt x="91" y="19"/>
                  </a:lnTo>
                  <a:lnTo>
                    <a:pt x="91" y="19"/>
                  </a:lnTo>
                  <a:lnTo>
                    <a:pt x="87" y="19"/>
                  </a:lnTo>
                  <a:lnTo>
                    <a:pt x="82" y="20"/>
                  </a:lnTo>
                  <a:lnTo>
                    <a:pt x="78" y="20"/>
                  </a:lnTo>
                  <a:lnTo>
                    <a:pt x="77" y="22"/>
                  </a:lnTo>
                  <a:lnTo>
                    <a:pt x="77" y="23"/>
                  </a:lnTo>
                  <a:lnTo>
                    <a:pt x="77" y="23"/>
                  </a:lnTo>
                  <a:lnTo>
                    <a:pt x="77" y="25"/>
                  </a:lnTo>
                  <a:lnTo>
                    <a:pt x="74" y="25"/>
                  </a:lnTo>
                  <a:lnTo>
                    <a:pt x="70" y="22"/>
                  </a:lnTo>
                  <a:lnTo>
                    <a:pt x="70" y="22"/>
                  </a:lnTo>
                  <a:lnTo>
                    <a:pt x="65" y="23"/>
                  </a:lnTo>
                  <a:lnTo>
                    <a:pt x="60" y="26"/>
                  </a:lnTo>
                  <a:lnTo>
                    <a:pt x="55" y="32"/>
                  </a:lnTo>
                  <a:lnTo>
                    <a:pt x="54" y="36"/>
                  </a:lnTo>
                  <a:lnTo>
                    <a:pt x="54" y="36"/>
                  </a:lnTo>
                  <a:lnTo>
                    <a:pt x="55" y="43"/>
                  </a:lnTo>
                  <a:lnTo>
                    <a:pt x="53" y="47"/>
                  </a:lnTo>
                  <a:lnTo>
                    <a:pt x="48" y="52"/>
                  </a:lnTo>
                  <a:lnTo>
                    <a:pt x="48" y="52"/>
                  </a:lnTo>
                  <a:lnTo>
                    <a:pt x="44" y="56"/>
                  </a:lnTo>
                  <a:lnTo>
                    <a:pt x="40" y="60"/>
                  </a:lnTo>
                  <a:lnTo>
                    <a:pt x="33" y="70"/>
                  </a:lnTo>
                  <a:lnTo>
                    <a:pt x="33" y="70"/>
                  </a:lnTo>
                  <a:lnTo>
                    <a:pt x="31" y="70"/>
                  </a:lnTo>
                  <a:lnTo>
                    <a:pt x="30" y="70"/>
                  </a:lnTo>
                  <a:lnTo>
                    <a:pt x="30" y="70"/>
                  </a:lnTo>
                  <a:lnTo>
                    <a:pt x="28" y="73"/>
                  </a:lnTo>
                  <a:lnTo>
                    <a:pt x="27" y="76"/>
                  </a:lnTo>
                  <a:lnTo>
                    <a:pt x="27" y="76"/>
                  </a:lnTo>
                  <a:lnTo>
                    <a:pt x="16" y="86"/>
                  </a:lnTo>
                  <a:lnTo>
                    <a:pt x="16" y="86"/>
                  </a:lnTo>
                  <a:lnTo>
                    <a:pt x="21" y="91"/>
                  </a:lnTo>
                  <a:lnTo>
                    <a:pt x="21" y="91"/>
                  </a:lnTo>
                  <a:lnTo>
                    <a:pt x="24" y="94"/>
                  </a:lnTo>
                  <a:lnTo>
                    <a:pt x="24" y="99"/>
                  </a:lnTo>
                  <a:lnTo>
                    <a:pt x="24" y="101"/>
                  </a:lnTo>
                  <a:lnTo>
                    <a:pt x="24" y="103"/>
                  </a:lnTo>
                  <a:lnTo>
                    <a:pt x="24" y="103"/>
                  </a:lnTo>
                  <a:lnTo>
                    <a:pt x="26" y="109"/>
                  </a:lnTo>
                  <a:lnTo>
                    <a:pt x="26" y="110"/>
                  </a:lnTo>
                  <a:lnTo>
                    <a:pt x="24" y="113"/>
                  </a:lnTo>
                  <a:lnTo>
                    <a:pt x="24" y="113"/>
                  </a:lnTo>
                  <a:lnTo>
                    <a:pt x="24" y="117"/>
                  </a:lnTo>
                  <a:lnTo>
                    <a:pt x="24" y="124"/>
                  </a:lnTo>
                  <a:lnTo>
                    <a:pt x="26" y="133"/>
                  </a:lnTo>
                  <a:lnTo>
                    <a:pt x="27" y="137"/>
                  </a:lnTo>
                  <a:lnTo>
                    <a:pt x="27" y="137"/>
                  </a:lnTo>
                  <a:lnTo>
                    <a:pt x="28" y="140"/>
                  </a:lnTo>
                  <a:lnTo>
                    <a:pt x="28" y="143"/>
                  </a:lnTo>
                  <a:lnTo>
                    <a:pt x="24" y="151"/>
                  </a:lnTo>
                  <a:lnTo>
                    <a:pt x="24" y="151"/>
                  </a:lnTo>
                  <a:lnTo>
                    <a:pt x="21" y="155"/>
                  </a:lnTo>
                  <a:lnTo>
                    <a:pt x="18" y="158"/>
                  </a:lnTo>
                  <a:lnTo>
                    <a:pt x="16" y="161"/>
                  </a:lnTo>
                  <a:lnTo>
                    <a:pt x="11" y="161"/>
                  </a:lnTo>
                  <a:lnTo>
                    <a:pt x="11" y="161"/>
                  </a:lnTo>
                  <a:lnTo>
                    <a:pt x="8" y="163"/>
                  </a:lnTo>
                  <a:lnTo>
                    <a:pt x="7" y="164"/>
                  </a:lnTo>
                  <a:lnTo>
                    <a:pt x="6" y="167"/>
                  </a:lnTo>
                  <a:lnTo>
                    <a:pt x="4" y="171"/>
                  </a:lnTo>
                  <a:lnTo>
                    <a:pt x="3" y="173"/>
                  </a:lnTo>
                  <a:lnTo>
                    <a:pt x="3" y="173"/>
                  </a:lnTo>
                  <a:lnTo>
                    <a:pt x="1" y="173"/>
                  </a:lnTo>
                  <a:lnTo>
                    <a:pt x="0" y="174"/>
                  </a:lnTo>
                  <a:lnTo>
                    <a:pt x="0" y="178"/>
                  </a:lnTo>
                  <a:lnTo>
                    <a:pt x="0" y="178"/>
                  </a:lnTo>
                  <a:lnTo>
                    <a:pt x="10" y="187"/>
                  </a:lnTo>
                  <a:lnTo>
                    <a:pt x="16" y="188"/>
                  </a:lnTo>
                  <a:lnTo>
                    <a:pt x="20" y="190"/>
                  </a:lnTo>
                  <a:lnTo>
                    <a:pt x="20" y="190"/>
                  </a:lnTo>
                  <a:lnTo>
                    <a:pt x="21" y="191"/>
                  </a:lnTo>
                  <a:lnTo>
                    <a:pt x="24" y="192"/>
                  </a:lnTo>
                  <a:lnTo>
                    <a:pt x="30" y="197"/>
                  </a:lnTo>
                  <a:lnTo>
                    <a:pt x="30" y="19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6" name="Freeform 300">
              <a:extLst>
                <a:ext uri="{FF2B5EF4-FFF2-40B4-BE49-F238E27FC236}">
                  <a16:creationId xmlns:a16="http://schemas.microsoft.com/office/drawing/2014/main" id="{66250317-2815-394D-AE5C-42603D1DBA24}"/>
                </a:ext>
              </a:extLst>
            </p:cNvPr>
            <p:cNvSpPr>
              <a:spLocks/>
            </p:cNvSpPr>
            <p:nvPr/>
          </p:nvSpPr>
          <p:spPr bwMode="auto">
            <a:xfrm>
              <a:off x="2655680" y="4549465"/>
              <a:ext cx="288558" cy="322593"/>
            </a:xfrm>
            <a:custGeom>
              <a:avLst/>
              <a:gdLst/>
              <a:ahLst/>
              <a:cxnLst>
                <a:cxn ang="0">
                  <a:pos x="189" y="124"/>
                </a:cxn>
                <a:cxn ang="0">
                  <a:pos x="183" y="111"/>
                </a:cxn>
                <a:cxn ang="0">
                  <a:pos x="172" y="107"/>
                </a:cxn>
                <a:cxn ang="0">
                  <a:pos x="153" y="100"/>
                </a:cxn>
                <a:cxn ang="0">
                  <a:pos x="151" y="88"/>
                </a:cxn>
                <a:cxn ang="0">
                  <a:pos x="153" y="84"/>
                </a:cxn>
                <a:cxn ang="0">
                  <a:pos x="149" y="74"/>
                </a:cxn>
                <a:cxn ang="0">
                  <a:pos x="143" y="63"/>
                </a:cxn>
                <a:cxn ang="0">
                  <a:pos x="126" y="60"/>
                </a:cxn>
                <a:cxn ang="0">
                  <a:pos x="121" y="54"/>
                </a:cxn>
                <a:cxn ang="0">
                  <a:pos x="109" y="50"/>
                </a:cxn>
                <a:cxn ang="0">
                  <a:pos x="102" y="47"/>
                </a:cxn>
                <a:cxn ang="0">
                  <a:pos x="95" y="44"/>
                </a:cxn>
                <a:cxn ang="0">
                  <a:pos x="75" y="33"/>
                </a:cxn>
                <a:cxn ang="0">
                  <a:pos x="69" y="16"/>
                </a:cxn>
                <a:cxn ang="0">
                  <a:pos x="71" y="0"/>
                </a:cxn>
                <a:cxn ang="0">
                  <a:pos x="55" y="2"/>
                </a:cxn>
                <a:cxn ang="0">
                  <a:pos x="37" y="10"/>
                </a:cxn>
                <a:cxn ang="0">
                  <a:pos x="23" y="17"/>
                </a:cxn>
                <a:cxn ang="0">
                  <a:pos x="8" y="20"/>
                </a:cxn>
                <a:cxn ang="0">
                  <a:pos x="14" y="41"/>
                </a:cxn>
                <a:cxn ang="0">
                  <a:pos x="10" y="50"/>
                </a:cxn>
                <a:cxn ang="0">
                  <a:pos x="11" y="73"/>
                </a:cxn>
                <a:cxn ang="0">
                  <a:pos x="7" y="83"/>
                </a:cxn>
                <a:cxn ang="0">
                  <a:pos x="8" y="88"/>
                </a:cxn>
                <a:cxn ang="0">
                  <a:pos x="4" y="100"/>
                </a:cxn>
                <a:cxn ang="0">
                  <a:pos x="10" y="107"/>
                </a:cxn>
                <a:cxn ang="0">
                  <a:pos x="1" y="120"/>
                </a:cxn>
                <a:cxn ang="0">
                  <a:pos x="0" y="127"/>
                </a:cxn>
                <a:cxn ang="0">
                  <a:pos x="7" y="134"/>
                </a:cxn>
                <a:cxn ang="0">
                  <a:pos x="8" y="147"/>
                </a:cxn>
                <a:cxn ang="0">
                  <a:pos x="14" y="155"/>
                </a:cxn>
                <a:cxn ang="0">
                  <a:pos x="17" y="161"/>
                </a:cxn>
                <a:cxn ang="0">
                  <a:pos x="14" y="172"/>
                </a:cxn>
                <a:cxn ang="0">
                  <a:pos x="14" y="179"/>
                </a:cxn>
                <a:cxn ang="0">
                  <a:pos x="21" y="188"/>
                </a:cxn>
                <a:cxn ang="0">
                  <a:pos x="25" y="199"/>
                </a:cxn>
                <a:cxn ang="0">
                  <a:pos x="30" y="218"/>
                </a:cxn>
                <a:cxn ang="0">
                  <a:pos x="44" y="211"/>
                </a:cxn>
                <a:cxn ang="0">
                  <a:pos x="58" y="201"/>
                </a:cxn>
                <a:cxn ang="0">
                  <a:pos x="75" y="205"/>
                </a:cxn>
                <a:cxn ang="0">
                  <a:pos x="85" y="214"/>
                </a:cxn>
                <a:cxn ang="0">
                  <a:pos x="94" y="202"/>
                </a:cxn>
                <a:cxn ang="0">
                  <a:pos x="115" y="202"/>
                </a:cxn>
                <a:cxn ang="0">
                  <a:pos x="119" y="178"/>
                </a:cxn>
                <a:cxn ang="0">
                  <a:pos x="132" y="162"/>
                </a:cxn>
                <a:cxn ang="0">
                  <a:pos x="151" y="159"/>
                </a:cxn>
                <a:cxn ang="0">
                  <a:pos x="169" y="157"/>
                </a:cxn>
                <a:cxn ang="0">
                  <a:pos x="182" y="162"/>
                </a:cxn>
                <a:cxn ang="0">
                  <a:pos x="190" y="159"/>
                </a:cxn>
                <a:cxn ang="0">
                  <a:pos x="192" y="147"/>
                </a:cxn>
                <a:cxn ang="0">
                  <a:pos x="195" y="131"/>
                </a:cxn>
              </a:cxnLst>
              <a:rect l="0" t="0" r="r" b="b"/>
              <a:pathLst>
                <a:path w="195" h="218">
                  <a:moveTo>
                    <a:pt x="195" y="131"/>
                  </a:moveTo>
                  <a:lnTo>
                    <a:pt x="195" y="131"/>
                  </a:lnTo>
                  <a:lnTo>
                    <a:pt x="192" y="127"/>
                  </a:lnTo>
                  <a:lnTo>
                    <a:pt x="189" y="124"/>
                  </a:lnTo>
                  <a:lnTo>
                    <a:pt x="186" y="120"/>
                  </a:lnTo>
                  <a:lnTo>
                    <a:pt x="185" y="115"/>
                  </a:lnTo>
                  <a:lnTo>
                    <a:pt x="185" y="115"/>
                  </a:lnTo>
                  <a:lnTo>
                    <a:pt x="183" y="111"/>
                  </a:lnTo>
                  <a:lnTo>
                    <a:pt x="182" y="108"/>
                  </a:lnTo>
                  <a:lnTo>
                    <a:pt x="178" y="107"/>
                  </a:lnTo>
                  <a:lnTo>
                    <a:pt x="172" y="107"/>
                  </a:lnTo>
                  <a:lnTo>
                    <a:pt x="172" y="107"/>
                  </a:lnTo>
                  <a:lnTo>
                    <a:pt x="165" y="107"/>
                  </a:lnTo>
                  <a:lnTo>
                    <a:pt x="159" y="105"/>
                  </a:lnTo>
                  <a:lnTo>
                    <a:pt x="155" y="103"/>
                  </a:lnTo>
                  <a:lnTo>
                    <a:pt x="153" y="100"/>
                  </a:lnTo>
                  <a:lnTo>
                    <a:pt x="153" y="100"/>
                  </a:lnTo>
                  <a:lnTo>
                    <a:pt x="152" y="95"/>
                  </a:lnTo>
                  <a:lnTo>
                    <a:pt x="151" y="91"/>
                  </a:lnTo>
                  <a:lnTo>
                    <a:pt x="151" y="88"/>
                  </a:lnTo>
                  <a:lnTo>
                    <a:pt x="152" y="85"/>
                  </a:lnTo>
                  <a:lnTo>
                    <a:pt x="152" y="85"/>
                  </a:lnTo>
                  <a:lnTo>
                    <a:pt x="153" y="85"/>
                  </a:lnTo>
                  <a:lnTo>
                    <a:pt x="153" y="84"/>
                  </a:lnTo>
                  <a:lnTo>
                    <a:pt x="152" y="81"/>
                  </a:lnTo>
                  <a:lnTo>
                    <a:pt x="151" y="77"/>
                  </a:lnTo>
                  <a:lnTo>
                    <a:pt x="149" y="74"/>
                  </a:lnTo>
                  <a:lnTo>
                    <a:pt x="149" y="74"/>
                  </a:lnTo>
                  <a:lnTo>
                    <a:pt x="149" y="70"/>
                  </a:lnTo>
                  <a:lnTo>
                    <a:pt x="148" y="67"/>
                  </a:lnTo>
                  <a:lnTo>
                    <a:pt x="143" y="63"/>
                  </a:lnTo>
                  <a:lnTo>
                    <a:pt x="143" y="63"/>
                  </a:lnTo>
                  <a:lnTo>
                    <a:pt x="139" y="61"/>
                  </a:lnTo>
                  <a:lnTo>
                    <a:pt x="133" y="61"/>
                  </a:lnTo>
                  <a:lnTo>
                    <a:pt x="128" y="61"/>
                  </a:lnTo>
                  <a:lnTo>
                    <a:pt x="126" y="60"/>
                  </a:lnTo>
                  <a:lnTo>
                    <a:pt x="126" y="58"/>
                  </a:lnTo>
                  <a:lnTo>
                    <a:pt x="126" y="58"/>
                  </a:lnTo>
                  <a:lnTo>
                    <a:pt x="125" y="56"/>
                  </a:lnTo>
                  <a:lnTo>
                    <a:pt x="121" y="54"/>
                  </a:lnTo>
                  <a:lnTo>
                    <a:pt x="112" y="53"/>
                  </a:lnTo>
                  <a:lnTo>
                    <a:pt x="112" y="53"/>
                  </a:lnTo>
                  <a:lnTo>
                    <a:pt x="111" y="51"/>
                  </a:lnTo>
                  <a:lnTo>
                    <a:pt x="109" y="50"/>
                  </a:lnTo>
                  <a:lnTo>
                    <a:pt x="108" y="47"/>
                  </a:lnTo>
                  <a:lnTo>
                    <a:pt x="106" y="47"/>
                  </a:lnTo>
                  <a:lnTo>
                    <a:pt x="106" y="47"/>
                  </a:lnTo>
                  <a:lnTo>
                    <a:pt x="102" y="47"/>
                  </a:lnTo>
                  <a:lnTo>
                    <a:pt x="101" y="46"/>
                  </a:lnTo>
                  <a:lnTo>
                    <a:pt x="98" y="44"/>
                  </a:lnTo>
                  <a:lnTo>
                    <a:pt x="95" y="44"/>
                  </a:lnTo>
                  <a:lnTo>
                    <a:pt x="95" y="44"/>
                  </a:lnTo>
                  <a:lnTo>
                    <a:pt x="89" y="44"/>
                  </a:lnTo>
                  <a:lnTo>
                    <a:pt x="85" y="43"/>
                  </a:lnTo>
                  <a:lnTo>
                    <a:pt x="81" y="39"/>
                  </a:lnTo>
                  <a:lnTo>
                    <a:pt x="75" y="33"/>
                  </a:lnTo>
                  <a:lnTo>
                    <a:pt x="75" y="33"/>
                  </a:lnTo>
                  <a:lnTo>
                    <a:pt x="72" y="30"/>
                  </a:lnTo>
                  <a:lnTo>
                    <a:pt x="71" y="26"/>
                  </a:lnTo>
                  <a:lnTo>
                    <a:pt x="69" y="16"/>
                  </a:lnTo>
                  <a:lnTo>
                    <a:pt x="69" y="7"/>
                  </a:lnTo>
                  <a:lnTo>
                    <a:pt x="71" y="2"/>
                  </a:lnTo>
                  <a:lnTo>
                    <a:pt x="71" y="2"/>
                  </a:lnTo>
                  <a:lnTo>
                    <a:pt x="71" y="0"/>
                  </a:lnTo>
                  <a:lnTo>
                    <a:pt x="69" y="0"/>
                  </a:lnTo>
                  <a:lnTo>
                    <a:pt x="65" y="0"/>
                  </a:lnTo>
                  <a:lnTo>
                    <a:pt x="55" y="2"/>
                  </a:lnTo>
                  <a:lnTo>
                    <a:pt x="55" y="2"/>
                  </a:lnTo>
                  <a:lnTo>
                    <a:pt x="51" y="2"/>
                  </a:lnTo>
                  <a:lnTo>
                    <a:pt x="45" y="4"/>
                  </a:lnTo>
                  <a:lnTo>
                    <a:pt x="37" y="10"/>
                  </a:lnTo>
                  <a:lnTo>
                    <a:pt x="37" y="10"/>
                  </a:lnTo>
                  <a:lnTo>
                    <a:pt x="28" y="13"/>
                  </a:lnTo>
                  <a:lnTo>
                    <a:pt x="25" y="14"/>
                  </a:lnTo>
                  <a:lnTo>
                    <a:pt x="23" y="17"/>
                  </a:lnTo>
                  <a:lnTo>
                    <a:pt x="23" y="17"/>
                  </a:lnTo>
                  <a:lnTo>
                    <a:pt x="20" y="19"/>
                  </a:lnTo>
                  <a:lnTo>
                    <a:pt x="17" y="20"/>
                  </a:lnTo>
                  <a:lnTo>
                    <a:pt x="13" y="20"/>
                  </a:lnTo>
                  <a:lnTo>
                    <a:pt x="8" y="20"/>
                  </a:lnTo>
                  <a:lnTo>
                    <a:pt x="8" y="20"/>
                  </a:lnTo>
                  <a:lnTo>
                    <a:pt x="3" y="19"/>
                  </a:lnTo>
                  <a:lnTo>
                    <a:pt x="3" y="19"/>
                  </a:lnTo>
                  <a:lnTo>
                    <a:pt x="14" y="41"/>
                  </a:lnTo>
                  <a:lnTo>
                    <a:pt x="14" y="41"/>
                  </a:lnTo>
                  <a:lnTo>
                    <a:pt x="14" y="44"/>
                  </a:lnTo>
                  <a:lnTo>
                    <a:pt x="14" y="47"/>
                  </a:lnTo>
                  <a:lnTo>
                    <a:pt x="10" y="50"/>
                  </a:lnTo>
                  <a:lnTo>
                    <a:pt x="10" y="50"/>
                  </a:lnTo>
                  <a:lnTo>
                    <a:pt x="10" y="54"/>
                  </a:lnTo>
                  <a:lnTo>
                    <a:pt x="10" y="60"/>
                  </a:lnTo>
                  <a:lnTo>
                    <a:pt x="11" y="73"/>
                  </a:lnTo>
                  <a:lnTo>
                    <a:pt x="11" y="73"/>
                  </a:lnTo>
                  <a:lnTo>
                    <a:pt x="11" y="76"/>
                  </a:lnTo>
                  <a:lnTo>
                    <a:pt x="8" y="80"/>
                  </a:lnTo>
                  <a:lnTo>
                    <a:pt x="7" y="83"/>
                  </a:lnTo>
                  <a:lnTo>
                    <a:pt x="7" y="84"/>
                  </a:lnTo>
                  <a:lnTo>
                    <a:pt x="8" y="85"/>
                  </a:lnTo>
                  <a:lnTo>
                    <a:pt x="8" y="85"/>
                  </a:lnTo>
                  <a:lnTo>
                    <a:pt x="8" y="88"/>
                  </a:lnTo>
                  <a:lnTo>
                    <a:pt x="7" y="93"/>
                  </a:lnTo>
                  <a:lnTo>
                    <a:pt x="5" y="95"/>
                  </a:lnTo>
                  <a:lnTo>
                    <a:pt x="4" y="100"/>
                  </a:lnTo>
                  <a:lnTo>
                    <a:pt x="4" y="100"/>
                  </a:lnTo>
                  <a:lnTo>
                    <a:pt x="5" y="103"/>
                  </a:lnTo>
                  <a:lnTo>
                    <a:pt x="7" y="104"/>
                  </a:lnTo>
                  <a:lnTo>
                    <a:pt x="10" y="105"/>
                  </a:lnTo>
                  <a:lnTo>
                    <a:pt x="10" y="107"/>
                  </a:lnTo>
                  <a:lnTo>
                    <a:pt x="10" y="107"/>
                  </a:lnTo>
                  <a:lnTo>
                    <a:pt x="10" y="110"/>
                  </a:lnTo>
                  <a:lnTo>
                    <a:pt x="7" y="114"/>
                  </a:lnTo>
                  <a:lnTo>
                    <a:pt x="1" y="120"/>
                  </a:lnTo>
                  <a:lnTo>
                    <a:pt x="1" y="120"/>
                  </a:lnTo>
                  <a:lnTo>
                    <a:pt x="0" y="122"/>
                  </a:lnTo>
                  <a:lnTo>
                    <a:pt x="0" y="127"/>
                  </a:lnTo>
                  <a:lnTo>
                    <a:pt x="0" y="127"/>
                  </a:lnTo>
                  <a:lnTo>
                    <a:pt x="3" y="130"/>
                  </a:lnTo>
                  <a:lnTo>
                    <a:pt x="4" y="131"/>
                  </a:lnTo>
                  <a:lnTo>
                    <a:pt x="7" y="134"/>
                  </a:lnTo>
                  <a:lnTo>
                    <a:pt x="7" y="134"/>
                  </a:lnTo>
                  <a:lnTo>
                    <a:pt x="8" y="135"/>
                  </a:lnTo>
                  <a:lnTo>
                    <a:pt x="8" y="138"/>
                  </a:lnTo>
                  <a:lnTo>
                    <a:pt x="8" y="142"/>
                  </a:lnTo>
                  <a:lnTo>
                    <a:pt x="8" y="147"/>
                  </a:lnTo>
                  <a:lnTo>
                    <a:pt x="10" y="150"/>
                  </a:lnTo>
                  <a:lnTo>
                    <a:pt x="11" y="151"/>
                  </a:lnTo>
                  <a:lnTo>
                    <a:pt x="11" y="151"/>
                  </a:lnTo>
                  <a:lnTo>
                    <a:pt x="14" y="155"/>
                  </a:lnTo>
                  <a:lnTo>
                    <a:pt x="17" y="157"/>
                  </a:lnTo>
                  <a:lnTo>
                    <a:pt x="18" y="158"/>
                  </a:lnTo>
                  <a:lnTo>
                    <a:pt x="17" y="161"/>
                  </a:lnTo>
                  <a:lnTo>
                    <a:pt x="17" y="161"/>
                  </a:lnTo>
                  <a:lnTo>
                    <a:pt x="15" y="162"/>
                  </a:lnTo>
                  <a:lnTo>
                    <a:pt x="15" y="167"/>
                  </a:lnTo>
                  <a:lnTo>
                    <a:pt x="15" y="169"/>
                  </a:lnTo>
                  <a:lnTo>
                    <a:pt x="14" y="172"/>
                  </a:lnTo>
                  <a:lnTo>
                    <a:pt x="14" y="172"/>
                  </a:lnTo>
                  <a:lnTo>
                    <a:pt x="13" y="174"/>
                  </a:lnTo>
                  <a:lnTo>
                    <a:pt x="13" y="175"/>
                  </a:lnTo>
                  <a:lnTo>
                    <a:pt x="14" y="179"/>
                  </a:lnTo>
                  <a:lnTo>
                    <a:pt x="17" y="182"/>
                  </a:lnTo>
                  <a:lnTo>
                    <a:pt x="20" y="185"/>
                  </a:lnTo>
                  <a:lnTo>
                    <a:pt x="20" y="185"/>
                  </a:lnTo>
                  <a:lnTo>
                    <a:pt x="21" y="188"/>
                  </a:lnTo>
                  <a:lnTo>
                    <a:pt x="23" y="191"/>
                  </a:lnTo>
                  <a:lnTo>
                    <a:pt x="23" y="196"/>
                  </a:lnTo>
                  <a:lnTo>
                    <a:pt x="25" y="199"/>
                  </a:lnTo>
                  <a:lnTo>
                    <a:pt x="25" y="199"/>
                  </a:lnTo>
                  <a:lnTo>
                    <a:pt x="27" y="204"/>
                  </a:lnTo>
                  <a:lnTo>
                    <a:pt x="28" y="209"/>
                  </a:lnTo>
                  <a:lnTo>
                    <a:pt x="30" y="218"/>
                  </a:lnTo>
                  <a:lnTo>
                    <a:pt x="30" y="218"/>
                  </a:lnTo>
                  <a:lnTo>
                    <a:pt x="30" y="218"/>
                  </a:lnTo>
                  <a:lnTo>
                    <a:pt x="32" y="218"/>
                  </a:lnTo>
                  <a:lnTo>
                    <a:pt x="38" y="215"/>
                  </a:lnTo>
                  <a:lnTo>
                    <a:pt x="44" y="211"/>
                  </a:lnTo>
                  <a:lnTo>
                    <a:pt x="51" y="205"/>
                  </a:lnTo>
                  <a:lnTo>
                    <a:pt x="51" y="205"/>
                  </a:lnTo>
                  <a:lnTo>
                    <a:pt x="55" y="201"/>
                  </a:lnTo>
                  <a:lnTo>
                    <a:pt x="58" y="201"/>
                  </a:lnTo>
                  <a:lnTo>
                    <a:pt x="61" y="202"/>
                  </a:lnTo>
                  <a:lnTo>
                    <a:pt x="65" y="204"/>
                  </a:lnTo>
                  <a:lnTo>
                    <a:pt x="65" y="204"/>
                  </a:lnTo>
                  <a:lnTo>
                    <a:pt x="75" y="205"/>
                  </a:lnTo>
                  <a:lnTo>
                    <a:pt x="81" y="208"/>
                  </a:lnTo>
                  <a:lnTo>
                    <a:pt x="84" y="212"/>
                  </a:lnTo>
                  <a:lnTo>
                    <a:pt x="84" y="212"/>
                  </a:lnTo>
                  <a:lnTo>
                    <a:pt x="85" y="214"/>
                  </a:lnTo>
                  <a:lnTo>
                    <a:pt x="87" y="214"/>
                  </a:lnTo>
                  <a:lnTo>
                    <a:pt x="88" y="211"/>
                  </a:lnTo>
                  <a:lnTo>
                    <a:pt x="94" y="202"/>
                  </a:lnTo>
                  <a:lnTo>
                    <a:pt x="94" y="202"/>
                  </a:lnTo>
                  <a:lnTo>
                    <a:pt x="96" y="201"/>
                  </a:lnTo>
                  <a:lnTo>
                    <a:pt x="104" y="201"/>
                  </a:lnTo>
                  <a:lnTo>
                    <a:pt x="115" y="202"/>
                  </a:lnTo>
                  <a:lnTo>
                    <a:pt x="115" y="202"/>
                  </a:lnTo>
                  <a:lnTo>
                    <a:pt x="116" y="198"/>
                  </a:lnTo>
                  <a:lnTo>
                    <a:pt x="118" y="191"/>
                  </a:lnTo>
                  <a:lnTo>
                    <a:pt x="119" y="178"/>
                  </a:lnTo>
                  <a:lnTo>
                    <a:pt x="119" y="178"/>
                  </a:lnTo>
                  <a:lnTo>
                    <a:pt x="119" y="174"/>
                  </a:lnTo>
                  <a:lnTo>
                    <a:pt x="124" y="169"/>
                  </a:lnTo>
                  <a:lnTo>
                    <a:pt x="132" y="162"/>
                  </a:lnTo>
                  <a:lnTo>
                    <a:pt x="132" y="162"/>
                  </a:lnTo>
                  <a:lnTo>
                    <a:pt x="136" y="161"/>
                  </a:lnTo>
                  <a:lnTo>
                    <a:pt x="142" y="159"/>
                  </a:lnTo>
                  <a:lnTo>
                    <a:pt x="146" y="159"/>
                  </a:lnTo>
                  <a:lnTo>
                    <a:pt x="151" y="159"/>
                  </a:lnTo>
                  <a:lnTo>
                    <a:pt x="151" y="159"/>
                  </a:lnTo>
                  <a:lnTo>
                    <a:pt x="155" y="158"/>
                  </a:lnTo>
                  <a:lnTo>
                    <a:pt x="159" y="157"/>
                  </a:lnTo>
                  <a:lnTo>
                    <a:pt x="169" y="157"/>
                  </a:lnTo>
                  <a:lnTo>
                    <a:pt x="169" y="157"/>
                  </a:lnTo>
                  <a:lnTo>
                    <a:pt x="173" y="158"/>
                  </a:lnTo>
                  <a:lnTo>
                    <a:pt x="178" y="161"/>
                  </a:lnTo>
                  <a:lnTo>
                    <a:pt x="182" y="162"/>
                  </a:lnTo>
                  <a:lnTo>
                    <a:pt x="185" y="164"/>
                  </a:lnTo>
                  <a:lnTo>
                    <a:pt x="185" y="164"/>
                  </a:lnTo>
                  <a:lnTo>
                    <a:pt x="188" y="162"/>
                  </a:lnTo>
                  <a:lnTo>
                    <a:pt x="190" y="159"/>
                  </a:lnTo>
                  <a:lnTo>
                    <a:pt x="192" y="157"/>
                  </a:lnTo>
                  <a:lnTo>
                    <a:pt x="192" y="152"/>
                  </a:lnTo>
                  <a:lnTo>
                    <a:pt x="192" y="152"/>
                  </a:lnTo>
                  <a:lnTo>
                    <a:pt x="192" y="147"/>
                  </a:lnTo>
                  <a:lnTo>
                    <a:pt x="193" y="142"/>
                  </a:lnTo>
                  <a:lnTo>
                    <a:pt x="195" y="137"/>
                  </a:lnTo>
                  <a:lnTo>
                    <a:pt x="195" y="131"/>
                  </a:lnTo>
                  <a:lnTo>
                    <a:pt x="195" y="13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7" name="Freeform 301">
              <a:extLst>
                <a:ext uri="{FF2B5EF4-FFF2-40B4-BE49-F238E27FC236}">
                  <a16:creationId xmlns:a16="http://schemas.microsoft.com/office/drawing/2014/main" id="{1229E82D-930A-7D46-BF1F-94F3009CE7CA}"/>
                </a:ext>
              </a:extLst>
            </p:cNvPr>
            <p:cNvSpPr>
              <a:spLocks/>
            </p:cNvSpPr>
            <p:nvPr/>
          </p:nvSpPr>
          <p:spPr bwMode="auto">
            <a:xfrm>
              <a:off x="2376001" y="4315658"/>
              <a:ext cx="300396" cy="443935"/>
            </a:xfrm>
            <a:custGeom>
              <a:avLst/>
              <a:gdLst/>
              <a:ahLst/>
              <a:cxnLst>
                <a:cxn ang="0">
                  <a:pos x="189" y="285"/>
                </a:cxn>
                <a:cxn ang="0">
                  <a:pos x="196" y="272"/>
                </a:cxn>
                <a:cxn ang="0">
                  <a:pos x="199" y="263"/>
                </a:cxn>
                <a:cxn ang="0">
                  <a:pos x="193" y="258"/>
                </a:cxn>
                <a:cxn ang="0">
                  <a:pos x="197" y="243"/>
                </a:cxn>
                <a:cxn ang="0">
                  <a:pos x="197" y="238"/>
                </a:cxn>
                <a:cxn ang="0">
                  <a:pos x="199" y="218"/>
                </a:cxn>
                <a:cxn ang="0">
                  <a:pos x="203" y="205"/>
                </a:cxn>
                <a:cxn ang="0">
                  <a:pos x="192" y="177"/>
                </a:cxn>
                <a:cxn ang="0">
                  <a:pos x="177" y="178"/>
                </a:cxn>
                <a:cxn ang="0">
                  <a:pos x="173" y="157"/>
                </a:cxn>
                <a:cxn ang="0">
                  <a:pos x="167" y="155"/>
                </a:cxn>
                <a:cxn ang="0">
                  <a:pos x="159" y="161"/>
                </a:cxn>
                <a:cxn ang="0">
                  <a:pos x="145" y="160"/>
                </a:cxn>
                <a:cxn ang="0">
                  <a:pos x="140" y="151"/>
                </a:cxn>
                <a:cxn ang="0">
                  <a:pos x="132" y="148"/>
                </a:cxn>
                <a:cxn ang="0">
                  <a:pos x="130" y="138"/>
                </a:cxn>
                <a:cxn ang="0">
                  <a:pos x="120" y="121"/>
                </a:cxn>
                <a:cxn ang="0">
                  <a:pos x="122" y="113"/>
                </a:cxn>
                <a:cxn ang="0">
                  <a:pos x="126" y="106"/>
                </a:cxn>
                <a:cxn ang="0">
                  <a:pos x="130" y="98"/>
                </a:cxn>
                <a:cxn ang="0">
                  <a:pos x="136" y="84"/>
                </a:cxn>
                <a:cxn ang="0">
                  <a:pos x="145" y="77"/>
                </a:cxn>
                <a:cxn ang="0">
                  <a:pos x="160" y="70"/>
                </a:cxn>
                <a:cxn ang="0">
                  <a:pos x="173" y="66"/>
                </a:cxn>
                <a:cxn ang="0">
                  <a:pos x="180" y="64"/>
                </a:cxn>
                <a:cxn ang="0">
                  <a:pos x="173" y="59"/>
                </a:cxn>
                <a:cxn ang="0">
                  <a:pos x="182" y="46"/>
                </a:cxn>
                <a:cxn ang="0">
                  <a:pos x="170" y="36"/>
                </a:cxn>
                <a:cxn ang="0">
                  <a:pos x="162" y="37"/>
                </a:cxn>
                <a:cxn ang="0">
                  <a:pos x="155" y="36"/>
                </a:cxn>
                <a:cxn ang="0">
                  <a:pos x="139" y="39"/>
                </a:cxn>
                <a:cxn ang="0">
                  <a:pos x="130" y="34"/>
                </a:cxn>
                <a:cxn ang="0">
                  <a:pos x="125" y="24"/>
                </a:cxn>
                <a:cxn ang="0">
                  <a:pos x="119" y="16"/>
                </a:cxn>
                <a:cxn ang="0">
                  <a:pos x="112" y="13"/>
                </a:cxn>
                <a:cxn ang="0">
                  <a:pos x="105" y="2"/>
                </a:cxn>
                <a:cxn ang="0">
                  <a:pos x="92" y="2"/>
                </a:cxn>
                <a:cxn ang="0">
                  <a:pos x="95" y="13"/>
                </a:cxn>
                <a:cxn ang="0">
                  <a:pos x="86" y="30"/>
                </a:cxn>
                <a:cxn ang="0">
                  <a:pos x="71" y="41"/>
                </a:cxn>
                <a:cxn ang="0">
                  <a:pos x="52" y="49"/>
                </a:cxn>
                <a:cxn ang="0">
                  <a:pos x="41" y="73"/>
                </a:cxn>
                <a:cxn ang="0">
                  <a:pos x="29" y="73"/>
                </a:cxn>
                <a:cxn ang="0">
                  <a:pos x="19" y="71"/>
                </a:cxn>
                <a:cxn ang="0">
                  <a:pos x="14" y="66"/>
                </a:cxn>
                <a:cxn ang="0">
                  <a:pos x="17" y="59"/>
                </a:cxn>
                <a:cxn ang="0">
                  <a:pos x="7" y="59"/>
                </a:cxn>
                <a:cxn ang="0">
                  <a:pos x="0" y="73"/>
                </a:cxn>
                <a:cxn ang="0">
                  <a:pos x="7" y="91"/>
                </a:cxn>
                <a:cxn ang="0">
                  <a:pos x="1" y="94"/>
                </a:cxn>
                <a:cxn ang="0">
                  <a:pos x="19" y="107"/>
                </a:cxn>
                <a:cxn ang="0">
                  <a:pos x="31" y="124"/>
                </a:cxn>
                <a:cxn ang="0">
                  <a:pos x="41" y="138"/>
                </a:cxn>
                <a:cxn ang="0">
                  <a:pos x="65" y="192"/>
                </a:cxn>
                <a:cxn ang="0">
                  <a:pos x="79" y="215"/>
                </a:cxn>
                <a:cxn ang="0">
                  <a:pos x="81" y="225"/>
                </a:cxn>
                <a:cxn ang="0">
                  <a:pos x="86" y="236"/>
                </a:cxn>
                <a:cxn ang="0">
                  <a:pos x="112" y="255"/>
                </a:cxn>
                <a:cxn ang="0">
                  <a:pos x="159" y="283"/>
                </a:cxn>
                <a:cxn ang="0">
                  <a:pos x="177" y="298"/>
                </a:cxn>
                <a:cxn ang="0">
                  <a:pos x="182" y="298"/>
                </a:cxn>
                <a:cxn ang="0">
                  <a:pos x="189" y="285"/>
                </a:cxn>
              </a:cxnLst>
              <a:rect l="0" t="0" r="r" b="b"/>
              <a:pathLst>
                <a:path w="203" h="300">
                  <a:moveTo>
                    <a:pt x="189" y="285"/>
                  </a:moveTo>
                  <a:lnTo>
                    <a:pt x="189" y="285"/>
                  </a:lnTo>
                  <a:lnTo>
                    <a:pt x="189" y="285"/>
                  </a:lnTo>
                  <a:lnTo>
                    <a:pt x="189" y="285"/>
                  </a:lnTo>
                  <a:lnTo>
                    <a:pt x="189" y="280"/>
                  </a:lnTo>
                  <a:lnTo>
                    <a:pt x="190" y="278"/>
                  </a:lnTo>
                  <a:lnTo>
                    <a:pt x="190" y="278"/>
                  </a:lnTo>
                  <a:lnTo>
                    <a:pt x="196" y="272"/>
                  </a:lnTo>
                  <a:lnTo>
                    <a:pt x="199" y="268"/>
                  </a:lnTo>
                  <a:lnTo>
                    <a:pt x="199" y="265"/>
                  </a:lnTo>
                  <a:lnTo>
                    <a:pt x="199" y="265"/>
                  </a:lnTo>
                  <a:lnTo>
                    <a:pt x="199" y="263"/>
                  </a:lnTo>
                  <a:lnTo>
                    <a:pt x="196" y="262"/>
                  </a:lnTo>
                  <a:lnTo>
                    <a:pt x="194" y="261"/>
                  </a:lnTo>
                  <a:lnTo>
                    <a:pt x="193" y="258"/>
                  </a:lnTo>
                  <a:lnTo>
                    <a:pt x="193" y="258"/>
                  </a:lnTo>
                  <a:lnTo>
                    <a:pt x="194" y="253"/>
                  </a:lnTo>
                  <a:lnTo>
                    <a:pt x="196" y="251"/>
                  </a:lnTo>
                  <a:lnTo>
                    <a:pt x="197" y="246"/>
                  </a:lnTo>
                  <a:lnTo>
                    <a:pt x="197" y="243"/>
                  </a:lnTo>
                  <a:lnTo>
                    <a:pt x="197" y="243"/>
                  </a:lnTo>
                  <a:lnTo>
                    <a:pt x="196" y="242"/>
                  </a:lnTo>
                  <a:lnTo>
                    <a:pt x="196" y="241"/>
                  </a:lnTo>
                  <a:lnTo>
                    <a:pt x="197" y="238"/>
                  </a:lnTo>
                  <a:lnTo>
                    <a:pt x="200" y="234"/>
                  </a:lnTo>
                  <a:lnTo>
                    <a:pt x="200" y="231"/>
                  </a:lnTo>
                  <a:lnTo>
                    <a:pt x="200" y="231"/>
                  </a:lnTo>
                  <a:lnTo>
                    <a:pt x="199" y="218"/>
                  </a:lnTo>
                  <a:lnTo>
                    <a:pt x="199" y="212"/>
                  </a:lnTo>
                  <a:lnTo>
                    <a:pt x="199" y="208"/>
                  </a:lnTo>
                  <a:lnTo>
                    <a:pt x="199" y="208"/>
                  </a:lnTo>
                  <a:lnTo>
                    <a:pt x="203" y="205"/>
                  </a:lnTo>
                  <a:lnTo>
                    <a:pt x="203" y="202"/>
                  </a:lnTo>
                  <a:lnTo>
                    <a:pt x="203" y="199"/>
                  </a:lnTo>
                  <a:lnTo>
                    <a:pt x="203" y="199"/>
                  </a:lnTo>
                  <a:lnTo>
                    <a:pt x="192" y="177"/>
                  </a:lnTo>
                  <a:lnTo>
                    <a:pt x="192" y="177"/>
                  </a:lnTo>
                  <a:lnTo>
                    <a:pt x="184" y="177"/>
                  </a:lnTo>
                  <a:lnTo>
                    <a:pt x="177" y="178"/>
                  </a:lnTo>
                  <a:lnTo>
                    <a:pt x="177" y="178"/>
                  </a:lnTo>
                  <a:lnTo>
                    <a:pt x="175" y="178"/>
                  </a:lnTo>
                  <a:lnTo>
                    <a:pt x="175" y="175"/>
                  </a:lnTo>
                  <a:lnTo>
                    <a:pt x="173" y="170"/>
                  </a:lnTo>
                  <a:lnTo>
                    <a:pt x="173" y="157"/>
                  </a:lnTo>
                  <a:lnTo>
                    <a:pt x="173" y="157"/>
                  </a:lnTo>
                  <a:lnTo>
                    <a:pt x="172" y="154"/>
                  </a:lnTo>
                  <a:lnTo>
                    <a:pt x="170" y="154"/>
                  </a:lnTo>
                  <a:lnTo>
                    <a:pt x="167" y="155"/>
                  </a:lnTo>
                  <a:lnTo>
                    <a:pt x="166" y="158"/>
                  </a:lnTo>
                  <a:lnTo>
                    <a:pt x="166" y="158"/>
                  </a:lnTo>
                  <a:lnTo>
                    <a:pt x="163" y="160"/>
                  </a:lnTo>
                  <a:lnTo>
                    <a:pt x="159" y="161"/>
                  </a:lnTo>
                  <a:lnTo>
                    <a:pt x="149" y="161"/>
                  </a:lnTo>
                  <a:lnTo>
                    <a:pt x="149" y="161"/>
                  </a:lnTo>
                  <a:lnTo>
                    <a:pt x="146" y="160"/>
                  </a:lnTo>
                  <a:lnTo>
                    <a:pt x="145" y="160"/>
                  </a:lnTo>
                  <a:lnTo>
                    <a:pt x="143" y="155"/>
                  </a:lnTo>
                  <a:lnTo>
                    <a:pt x="142" y="152"/>
                  </a:lnTo>
                  <a:lnTo>
                    <a:pt x="142" y="151"/>
                  </a:lnTo>
                  <a:lnTo>
                    <a:pt x="140" y="151"/>
                  </a:lnTo>
                  <a:lnTo>
                    <a:pt x="140" y="151"/>
                  </a:lnTo>
                  <a:lnTo>
                    <a:pt x="138" y="151"/>
                  </a:lnTo>
                  <a:lnTo>
                    <a:pt x="135" y="150"/>
                  </a:lnTo>
                  <a:lnTo>
                    <a:pt x="132" y="148"/>
                  </a:lnTo>
                  <a:lnTo>
                    <a:pt x="132" y="145"/>
                  </a:lnTo>
                  <a:lnTo>
                    <a:pt x="132" y="145"/>
                  </a:lnTo>
                  <a:lnTo>
                    <a:pt x="132" y="142"/>
                  </a:lnTo>
                  <a:lnTo>
                    <a:pt x="130" y="138"/>
                  </a:lnTo>
                  <a:lnTo>
                    <a:pt x="126" y="131"/>
                  </a:lnTo>
                  <a:lnTo>
                    <a:pt x="126" y="131"/>
                  </a:lnTo>
                  <a:lnTo>
                    <a:pt x="120" y="124"/>
                  </a:lnTo>
                  <a:lnTo>
                    <a:pt x="120" y="121"/>
                  </a:lnTo>
                  <a:lnTo>
                    <a:pt x="122" y="118"/>
                  </a:lnTo>
                  <a:lnTo>
                    <a:pt x="122" y="118"/>
                  </a:lnTo>
                  <a:lnTo>
                    <a:pt x="122" y="115"/>
                  </a:lnTo>
                  <a:lnTo>
                    <a:pt x="122" y="113"/>
                  </a:lnTo>
                  <a:lnTo>
                    <a:pt x="122" y="110"/>
                  </a:lnTo>
                  <a:lnTo>
                    <a:pt x="123" y="107"/>
                  </a:lnTo>
                  <a:lnTo>
                    <a:pt x="123" y="107"/>
                  </a:lnTo>
                  <a:lnTo>
                    <a:pt x="126" y="106"/>
                  </a:lnTo>
                  <a:lnTo>
                    <a:pt x="129" y="104"/>
                  </a:lnTo>
                  <a:lnTo>
                    <a:pt x="130" y="101"/>
                  </a:lnTo>
                  <a:lnTo>
                    <a:pt x="130" y="98"/>
                  </a:lnTo>
                  <a:lnTo>
                    <a:pt x="130" y="98"/>
                  </a:lnTo>
                  <a:lnTo>
                    <a:pt x="130" y="96"/>
                  </a:lnTo>
                  <a:lnTo>
                    <a:pt x="133" y="91"/>
                  </a:lnTo>
                  <a:lnTo>
                    <a:pt x="135" y="88"/>
                  </a:lnTo>
                  <a:lnTo>
                    <a:pt x="136" y="84"/>
                  </a:lnTo>
                  <a:lnTo>
                    <a:pt x="136" y="84"/>
                  </a:lnTo>
                  <a:lnTo>
                    <a:pt x="138" y="80"/>
                  </a:lnTo>
                  <a:lnTo>
                    <a:pt x="140" y="78"/>
                  </a:lnTo>
                  <a:lnTo>
                    <a:pt x="145" y="77"/>
                  </a:lnTo>
                  <a:lnTo>
                    <a:pt x="150" y="74"/>
                  </a:lnTo>
                  <a:lnTo>
                    <a:pt x="150" y="74"/>
                  </a:lnTo>
                  <a:lnTo>
                    <a:pt x="155" y="71"/>
                  </a:lnTo>
                  <a:lnTo>
                    <a:pt x="160" y="70"/>
                  </a:lnTo>
                  <a:lnTo>
                    <a:pt x="165" y="70"/>
                  </a:lnTo>
                  <a:lnTo>
                    <a:pt x="170" y="67"/>
                  </a:lnTo>
                  <a:lnTo>
                    <a:pt x="170" y="67"/>
                  </a:lnTo>
                  <a:lnTo>
                    <a:pt x="173" y="66"/>
                  </a:lnTo>
                  <a:lnTo>
                    <a:pt x="176" y="66"/>
                  </a:lnTo>
                  <a:lnTo>
                    <a:pt x="183" y="66"/>
                  </a:lnTo>
                  <a:lnTo>
                    <a:pt x="183" y="66"/>
                  </a:lnTo>
                  <a:lnTo>
                    <a:pt x="180" y="64"/>
                  </a:lnTo>
                  <a:lnTo>
                    <a:pt x="177" y="61"/>
                  </a:lnTo>
                  <a:lnTo>
                    <a:pt x="175" y="60"/>
                  </a:lnTo>
                  <a:lnTo>
                    <a:pt x="173" y="59"/>
                  </a:lnTo>
                  <a:lnTo>
                    <a:pt x="173" y="59"/>
                  </a:lnTo>
                  <a:lnTo>
                    <a:pt x="173" y="56"/>
                  </a:lnTo>
                  <a:lnTo>
                    <a:pt x="176" y="51"/>
                  </a:lnTo>
                  <a:lnTo>
                    <a:pt x="182" y="46"/>
                  </a:lnTo>
                  <a:lnTo>
                    <a:pt x="182" y="46"/>
                  </a:lnTo>
                  <a:lnTo>
                    <a:pt x="182" y="43"/>
                  </a:lnTo>
                  <a:lnTo>
                    <a:pt x="180" y="41"/>
                  </a:lnTo>
                  <a:lnTo>
                    <a:pt x="177" y="39"/>
                  </a:lnTo>
                  <a:lnTo>
                    <a:pt x="170" y="36"/>
                  </a:lnTo>
                  <a:lnTo>
                    <a:pt x="170" y="36"/>
                  </a:lnTo>
                  <a:lnTo>
                    <a:pt x="167" y="36"/>
                  </a:lnTo>
                  <a:lnTo>
                    <a:pt x="165" y="36"/>
                  </a:lnTo>
                  <a:lnTo>
                    <a:pt x="162" y="37"/>
                  </a:lnTo>
                  <a:lnTo>
                    <a:pt x="159" y="36"/>
                  </a:lnTo>
                  <a:lnTo>
                    <a:pt x="159" y="36"/>
                  </a:lnTo>
                  <a:lnTo>
                    <a:pt x="156" y="36"/>
                  </a:lnTo>
                  <a:lnTo>
                    <a:pt x="155" y="36"/>
                  </a:lnTo>
                  <a:lnTo>
                    <a:pt x="149" y="37"/>
                  </a:lnTo>
                  <a:lnTo>
                    <a:pt x="149" y="37"/>
                  </a:lnTo>
                  <a:lnTo>
                    <a:pt x="146" y="39"/>
                  </a:lnTo>
                  <a:lnTo>
                    <a:pt x="139" y="39"/>
                  </a:lnTo>
                  <a:lnTo>
                    <a:pt x="133" y="37"/>
                  </a:lnTo>
                  <a:lnTo>
                    <a:pt x="132" y="37"/>
                  </a:lnTo>
                  <a:lnTo>
                    <a:pt x="130" y="34"/>
                  </a:lnTo>
                  <a:lnTo>
                    <a:pt x="130" y="34"/>
                  </a:lnTo>
                  <a:lnTo>
                    <a:pt x="130" y="32"/>
                  </a:lnTo>
                  <a:lnTo>
                    <a:pt x="128" y="29"/>
                  </a:lnTo>
                  <a:lnTo>
                    <a:pt x="126" y="27"/>
                  </a:lnTo>
                  <a:lnTo>
                    <a:pt x="125" y="24"/>
                  </a:lnTo>
                  <a:lnTo>
                    <a:pt x="125" y="24"/>
                  </a:lnTo>
                  <a:lnTo>
                    <a:pt x="125" y="22"/>
                  </a:lnTo>
                  <a:lnTo>
                    <a:pt x="122" y="19"/>
                  </a:lnTo>
                  <a:lnTo>
                    <a:pt x="119" y="16"/>
                  </a:lnTo>
                  <a:lnTo>
                    <a:pt x="115" y="14"/>
                  </a:lnTo>
                  <a:lnTo>
                    <a:pt x="115" y="14"/>
                  </a:lnTo>
                  <a:lnTo>
                    <a:pt x="113" y="14"/>
                  </a:lnTo>
                  <a:lnTo>
                    <a:pt x="112" y="13"/>
                  </a:lnTo>
                  <a:lnTo>
                    <a:pt x="109" y="9"/>
                  </a:lnTo>
                  <a:lnTo>
                    <a:pt x="108" y="5"/>
                  </a:lnTo>
                  <a:lnTo>
                    <a:pt x="105" y="2"/>
                  </a:lnTo>
                  <a:lnTo>
                    <a:pt x="105" y="2"/>
                  </a:lnTo>
                  <a:lnTo>
                    <a:pt x="103" y="0"/>
                  </a:lnTo>
                  <a:lnTo>
                    <a:pt x="99" y="0"/>
                  </a:lnTo>
                  <a:lnTo>
                    <a:pt x="92" y="2"/>
                  </a:lnTo>
                  <a:lnTo>
                    <a:pt x="92" y="2"/>
                  </a:lnTo>
                  <a:lnTo>
                    <a:pt x="96" y="9"/>
                  </a:lnTo>
                  <a:lnTo>
                    <a:pt x="98" y="12"/>
                  </a:lnTo>
                  <a:lnTo>
                    <a:pt x="95" y="13"/>
                  </a:lnTo>
                  <a:lnTo>
                    <a:pt x="95" y="13"/>
                  </a:lnTo>
                  <a:lnTo>
                    <a:pt x="93" y="16"/>
                  </a:lnTo>
                  <a:lnTo>
                    <a:pt x="92" y="19"/>
                  </a:lnTo>
                  <a:lnTo>
                    <a:pt x="91" y="23"/>
                  </a:lnTo>
                  <a:lnTo>
                    <a:pt x="86" y="30"/>
                  </a:lnTo>
                  <a:lnTo>
                    <a:pt x="86" y="30"/>
                  </a:lnTo>
                  <a:lnTo>
                    <a:pt x="83" y="34"/>
                  </a:lnTo>
                  <a:lnTo>
                    <a:pt x="79" y="37"/>
                  </a:lnTo>
                  <a:lnTo>
                    <a:pt x="71" y="41"/>
                  </a:lnTo>
                  <a:lnTo>
                    <a:pt x="62" y="44"/>
                  </a:lnTo>
                  <a:lnTo>
                    <a:pt x="55" y="47"/>
                  </a:lnTo>
                  <a:lnTo>
                    <a:pt x="55" y="47"/>
                  </a:lnTo>
                  <a:lnTo>
                    <a:pt x="52" y="49"/>
                  </a:lnTo>
                  <a:lnTo>
                    <a:pt x="51" y="50"/>
                  </a:lnTo>
                  <a:lnTo>
                    <a:pt x="46" y="57"/>
                  </a:lnTo>
                  <a:lnTo>
                    <a:pt x="41" y="73"/>
                  </a:lnTo>
                  <a:lnTo>
                    <a:pt x="41" y="73"/>
                  </a:lnTo>
                  <a:lnTo>
                    <a:pt x="38" y="77"/>
                  </a:lnTo>
                  <a:lnTo>
                    <a:pt x="35" y="78"/>
                  </a:lnTo>
                  <a:lnTo>
                    <a:pt x="32" y="77"/>
                  </a:lnTo>
                  <a:lnTo>
                    <a:pt x="29" y="73"/>
                  </a:lnTo>
                  <a:lnTo>
                    <a:pt x="29" y="73"/>
                  </a:lnTo>
                  <a:lnTo>
                    <a:pt x="27" y="71"/>
                  </a:lnTo>
                  <a:lnTo>
                    <a:pt x="24" y="71"/>
                  </a:lnTo>
                  <a:lnTo>
                    <a:pt x="19" y="71"/>
                  </a:lnTo>
                  <a:lnTo>
                    <a:pt x="17" y="70"/>
                  </a:lnTo>
                  <a:lnTo>
                    <a:pt x="17" y="70"/>
                  </a:lnTo>
                  <a:lnTo>
                    <a:pt x="14" y="67"/>
                  </a:lnTo>
                  <a:lnTo>
                    <a:pt x="14" y="66"/>
                  </a:lnTo>
                  <a:lnTo>
                    <a:pt x="17" y="61"/>
                  </a:lnTo>
                  <a:lnTo>
                    <a:pt x="17" y="61"/>
                  </a:lnTo>
                  <a:lnTo>
                    <a:pt x="17" y="60"/>
                  </a:lnTo>
                  <a:lnTo>
                    <a:pt x="17" y="59"/>
                  </a:lnTo>
                  <a:lnTo>
                    <a:pt x="14" y="53"/>
                  </a:lnTo>
                  <a:lnTo>
                    <a:pt x="14" y="53"/>
                  </a:lnTo>
                  <a:lnTo>
                    <a:pt x="10" y="56"/>
                  </a:lnTo>
                  <a:lnTo>
                    <a:pt x="7" y="59"/>
                  </a:lnTo>
                  <a:lnTo>
                    <a:pt x="1" y="67"/>
                  </a:lnTo>
                  <a:lnTo>
                    <a:pt x="1" y="67"/>
                  </a:lnTo>
                  <a:lnTo>
                    <a:pt x="0" y="70"/>
                  </a:lnTo>
                  <a:lnTo>
                    <a:pt x="0" y="73"/>
                  </a:lnTo>
                  <a:lnTo>
                    <a:pt x="2" y="78"/>
                  </a:lnTo>
                  <a:lnTo>
                    <a:pt x="7" y="90"/>
                  </a:lnTo>
                  <a:lnTo>
                    <a:pt x="7" y="90"/>
                  </a:lnTo>
                  <a:lnTo>
                    <a:pt x="7" y="91"/>
                  </a:lnTo>
                  <a:lnTo>
                    <a:pt x="5" y="91"/>
                  </a:lnTo>
                  <a:lnTo>
                    <a:pt x="2" y="91"/>
                  </a:lnTo>
                  <a:lnTo>
                    <a:pt x="1" y="94"/>
                  </a:lnTo>
                  <a:lnTo>
                    <a:pt x="1" y="94"/>
                  </a:lnTo>
                  <a:lnTo>
                    <a:pt x="2" y="96"/>
                  </a:lnTo>
                  <a:lnTo>
                    <a:pt x="2" y="97"/>
                  </a:lnTo>
                  <a:lnTo>
                    <a:pt x="8" y="100"/>
                  </a:lnTo>
                  <a:lnTo>
                    <a:pt x="19" y="107"/>
                  </a:lnTo>
                  <a:lnTo>
                    <a:pt x="19" y="107"/>
                  </a:lnTo>
                  <a:lnTo>
                    <a:pt x="24" y="113"/>
                  </a:lnTo>
                  <a:lnTo>
                    <a:pt x="27" y="118"/>
                  </a:lnTo>
                  <a:lnTo>
                    <a:pt x="31" y="124"/>
                  </a:lnTo>
                  <a:lnTo>
                    <a:pt x="35" y="130"/>
                  </a:lnTo>
                  <a:lnTo>
                    <a:pt x="35" y="130"/>
                  </a:lnTo>
                  <a:lnTo>
                    <a:pt x="38" y="134"/>
                  </a:lnTo>
                  <a:lnTo>
                    <a:pt x="41" y="138"/>
                  </a:lnTo>
                  <a:lnTo>
                    <a:pt x="46" y="154"/>
                  </a:lnTo>
                  <a:lnTo>
                    <a:pt x="46" y="154"/>
                  </a:lnTo>
                  <a:lnTo>
                    <a:pt x="58" y="179"/>
                  </a:lnTo>
                  <a:lnTo>
                    <a:pt x="65" y="192"/>
                  </a:lnTo>
                  <a:lnTo>
                    <a:pt x="71" y="201"/>
                  </a:lnTo>
                  <a:lnTo>
                    <a:pt x="71" y="201"/>
                  </a:lnTo>
                  <a:lnTo>
                    <a:pt x="76" y="208"/>
                  </a:lnTo>
                  <a:lnTo>
                    <a:pt x="79" y="215"/>
                  </a:lnTo>
                  <a:lnTo>
                    <a:pt x="81" y="219"/>
                  </a:lnTo>
                  <a:lnTo>
                    <a:pt x="81" y="222"/>
                  </a:lnTo>
                  <a:lnTo>
                    <a:pt x="81" y="222"/>
                  </a:lnTo>
                  <a:lnTo>
                    <a:pt x="81" y="225"/>
                  </a:lnTo>
                  <a:lnTo>
                    <a:pt x="81" y="229"/>
                  </a:lnTo>
                  <a:lnTo>
                    <a:pt x="83" y="234"/>
                  </a:lnTo>
                  <a:lnTo>
                    <a:pt x="86" y="236"/>
                  </a:lnTo>
                  <a:lnTo>
                    <a:pt x="86" y="236"/>
                  </a:lnTo>
                  <a:lnTo>
                    <a:pt x="96" y="243"/>
                  </a:lnTo>
                  <a:lnTo>
                    <a:pt x="102" y="249"/>
                  </a:lnTo>
                  <a:lnTo>
                    <a:pt x="112" y="255"/>
                  </a:lnTo>
                  <a:lnTo>
                    <a:pt x="112" y="255"/>
                  </a:lnTo>
                  <a:lnTo>
                    <a:pt x="139" y="269"/>
                  </a:lnTo>
                  <a:lnTo>
                    <a:pt x="152" y="276"/>
                  </a:lnTo>
                  <a:lnTo>
                    <a:pt x="156" y="280"/>
                  </a:lnTo>
                  <a:lnTo>
                    <a:pt x="159" y="283"/>
                  </a:lnTo>
                  <a:lnTo>
                    <a:pt x="159" y="283"/>
                  </a:lnTo>
                  <a:lnTo>
                    <a:pt x="163" y="288"/>
                  </a:lnTo>
                  <a:lnTo>
                    <a:pt x="169" y="292"/>
                  </a:lnTo>
                  <a:lnTo>
                    <a:pt x="177" y="298"/>
                  </a:lnTo>
                  <a:lnTo>
                    <a:pt x="177" y="298"/>
                  </a:lnTo>
                  <a:lnTo>
                    <a:pt x="179" y="300"/>
                  </a:lnTo>
                  <a:lnTo>
                    <a:pt x="179" y="300"/>
                  </a:lnTo>
                  <a:lnTo>
                    <a:pt x="182" y="298"/>
                  </a:lnTo>
                  <a:lnTo>
                    <a:pt x="182" y="298"/>
                  </a:lnTo>
                  <a:lnTo>
                    <a:pt x="184" y="295"/>
                  </a:lnTo>
                  <a:lnTo>
                    <a:pt x="186" y="292"/>
                  </a:lnTo>
                  <a:lnTo>
                    <a:pt x="189" y="285"/>
                  </a:lnTo>
                  <a:lnTo>
                    <a:pt x="189" y="285"/>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8" name="Freeform 302">
              <a:extLst>
                <a:ext uri="{FF2B5EF4-FFF2-40B4-BE49-F238E27FC236}">
                  <a16:creationId xmlns:a16="http://schemas.microsoft.com/office/drawing/2014/main" id="{00F4885A-A355-544E-85EA-A1E56433C7C3}"/>
                </a:ext>
              </a:extLst>
            </p:cNvPr>
            <p:cNvSpPr>
              <a:spLocks/>
            </p:cNvSpPr>
            <p:nvPr/>
          </p:nvSpPr>
          <p:spPr bwMode="auto">
            <a:xfrm>
              <a:off x="2566893" y="4021182"/>
              <a:ext cx="325552" cy="273761"/>
            </a:xfrm>
            <a:custGeom>
              <a:avLst/>
              <a:gdLst/>
              <a:ahLst/>
              <a:cxnLst>
                <a:cxn ang="0">
                  <a:pos x="6" y="30"/>
                </a:cxn>
                <a:cxn ang="0">
                  <a:pos x="0" y="47"/>
                </a:cxn>
                <a:cxn ang="0">
                  <a:pos x="7" y="50"/>
                </a:cxn>
                <a:cxn ang="0">
                  <a:pos x="14" y="60"/>
                </a:cxn>
                <a:cxn ang="0">
                  <a:pos x="17" y="80"/>
                </a:cxn>
                <a:cxn ang="0">
                  <a:pos x="43" y="83"/>
                </a:cxn>
                <a:cxn ang="0">
                  <a:pos x="58" y="91"/>
                </a:cxn>
                <a:cxn ang="0">
                  <a:pos x="83" y="95"/>
                </a:cxn>
                <a:cxn ang="0">
                  <a:pos x="94" y="101"/>
                </a:cxn>
                <a:cxn ang="0">
                  <a:pos x="90" y="128"/>
                </a:cxn>
                <a:cxn ang="0">
                  <a:pos x="97" y="144"/>
                </a:cxn>
                <a:cxn ang="0">
                  <a:pos x="97" y="155"/>
                </a:cxn>
                <a:cxn ang="0">
                  <a:pos x="100" y="164"/>
                </a:cxn>
                <a:cxn ang="0">
                  <a:pos x="107" y="178"/>
                </a:cxn>
                <a:cxn ang="0">
                  <a:pos x="119" y="185"/>
                </a:cxn>
                <a:cxn ang="0">
                  <a:pos x="128" y="184"/>
                </a:cxn>
                <a:cxn ang="0">
                  <a:pos x="142" y="176"/>
                </a:cxn>
                <a:cxn ang="0">
                  <a:pos x="151" y="169"/>
                </a:cxn>
                <a:cxn ang="0">
                  <a:pos x="161" y="162"/>
                </a:cxn>
                <a:cxn ang="0">
                  <a:pos x="155" y="158"/>
                </a:cxn>
                <a:cxn ang="0">
                  <a:pos x="149" y="149"/>
                </a:cxn>
                <a:cxn ang="0">
                  <a:pos x="145" y="135"/>
                </a:cxn>
                <a:cxn ang="0">
                  <a:pos x="144" y="130"/>
                </a:cxn>
                <a:cxn ang="0">
                  <a:pos x="159" y="132"/>
                </a:cxn>
                <a:cxn ang="0">
                  <a:pos x="168" y="138"/>
                </a:cxn>
                <a:cxn ang="0">
                  <a:pos x="174" y="132"/>
                </a:cxn>
                <a:cxn ang="0">
                  <a:pos x="188" y="130"/>
                </a:cxn>
                <a:cxn ang="0">
                  <a:pos x="208" y="117"/>
                </a:cxn>
                <a:cxn ang="0">
                  <a:pos x="196" y="101"/>
                </a:cxn>
                <a:cxn ang="0">
                  <a:pos x="199" y="93"/>
                </a:cxn>
                <a:cxn ang="0">
                  <a:pos x="211" y="87"/>
                </a:cxn>
                <a:cxn ang="0">
                  <a:pos x="208" y="78"/>
                </a:cxn>
                <a:cxn ang="0">
                  <a:pos x="215" y="68"/>
                </a:cxn>
                <a:cxn ang="0">
                  <a:pos x="208" y="58"/>
                </a:cxn>
                <a:cxn ang="0">
                  <a:pos x="196" y="54"/>
                </a:cxn>
                <a:cxn ang="0">
                  <a:pos x="199" y="41"/>
                </a:cxn>
                <a:cxn ang="0">
                  <a:pos x="174" y="31"/>
                </a:cxn>
                <a:cxn ang="0">
                  <a:pos x="182" y="26"/>
                </a:cxn>
                <a:cxn ang="0">
                  <a:pos x="158" y="24"/>
                </a:cxn>
                <a:cxn ang="0">
                  <a:pos x="128" y="34"/>
                </a:cxn>
                <a:cxn ang="0">
                  <a:pos x="105" y="26"/>
                </a:cxn>
                <a:cxn ang="0">
                  <a:pos x="84" y="21"/>
                </a:cxn>
                <a:cxn ang="0">
                  <a:pos x="71" y="9"/>
                </a:cxn>
                <a:cxn ang="0">
                  <a:pos x="61" y="1"/>
                </a:cxn>
                <a:cxn ang="0">
                  <a:pos x="55" y="1"/>
                </a:cxn>
                <a:cxn ang="0">
                  <a:pos x="53" y="10"/>
                </a:cxn>
                <a:cxn ang="0">
                  <a:pos x="31" y="23"/>
                </a:cxn>
                <a:cxn ang="0">
                  <a:pos x="37" y="47"/>
                </a:cxn>
                <a:cxn ang="0">
                  <a:pos x="23" y="46"/>
                </a:cxn>
                <a:cxn ang="0">
                  <a:pos x="23" y="30"/>
                </a:cxn>
                <a:cxn ang="0">
                  <a:pos x="24" y="14"/>
                </a:cxn>
                <a:cxn ang="0">
                  <a:pos x="20" y="11"/>
                </a:cxn>
              </a:cxnLst>
              <a:rect l="0" t="0" r="r" b="b"/>
              <a:pathLst>
                <a:path w="220" h="185">
                  <a:moveTo>
                    <a:pt x="20" y="11"/>
                  </a:moveTo>
                  <a:lnTo>
                    <a:pt x="20" y="11"/>
                  </a:lnTo>
                  <a:lnTo>
                    <a:pt x="11" y="21"/>
                  </a:lnTo>
                  <a:lnTo>
                    <a:pt x="7" y="26"/>
                  </a:lnTo>
                  <a:lnTo>
                    <a:pt x="6" y="30"/>
                  </a:lnTo>
                  <a:lnTo>
                    <a:pt x="6" y="30"/>
                  </a:lnTo>
                  <a:lnTo>
                    <a:pt x="6" y="37"/>
                  </a:lnTo>
                  <a:lnTo>
                    <a:pt x="3" y="41"/>
                  </a:lnTo>
                  <a:lnTo>
                    <a:pt x="3" y="41"/>
                  </a:lnTo>
                  <a:lnTo>
                    <a:pt x="0" y="47"/>
                  </a:lnTo>
                  <a:lnTo>
                    <a:pt x="0" y="48"/>
                  </a:lnTo>
                  <a:lnTo>
                    <a:pt x="1" y="50"/>
                  </a:lnTo>
                  <a:lnTo>
                    <a:pt x="1" y="50"/>
                  </a:lnTo>
                  <a:lnTo>
                    <a:pt x="6" y="50"/>
                  </a:lnTo>
                  <a:lnTo>
                    <a:pt x="7" y="50"/>
                  </a:lnTo>
                  <a:lnTo>
                    <a:pt x="9" y="53"/>
                  </a:lnTo>
                  <a:lnTo>
                    <a:pt x="9" y="53"/>
                  </a:lnTo>
                  <a:lnTo>
                    <a:pt x="10" y="56"/>
                  </a:lnTo>
                  <a:lnTo>
                    <a:pt x="13" y="57"/>
                  </a:lnTo>
                  <a:lnTo>
                    <a:pt x="14" y="60"/>
                  </a:lnTo>
                  <a:lnTo>
                    <a:pt x="16" y="63"/>
                  </a:lnTo>
                  <a:lnTo>
                    <a:pt x="16" y="63"/>
                  </a:lnTo>
                  <a:lnTo>
                    <a:pt x="14" y="70"/>
                  </a:lnTo>
                  <a:lnTo>
                    <a:pt x="16" y="77"/>
                  </a:lnTo>
                  <a:lnTo>
                    <a:pt x="17" y="80"/>
                  </a:lnTo>
                  <a:lnTo>
                    <a:pt x="18" y="83"/>
                  </a:lnTo>
                  <a:lnTo>
                    <a:pt x="21" y="84"/>
                  </a:lnTo>
                  <a:lnTo>
                    <a:pt x="26" y="84"/>
                  </a:lnTo>
                  <a:lnTo>
                    <a:pt x="26" y="84"/>
                  </a:lnTo>
                  <a:lnTo>
                    <a:pt x="43" y="83"/>
                  </a:lnTo>
                  <a:lnTo>
                    <a:pt x="48" y="84"/>
                  </a:lnTo>
                  <a:lnTo>
                    <a:pt x="51" y="84"/>
                  </a:lnTo>
                  <a:lnTo>
                    <a:pt x="53" y="87"/>
                  </a:lnTo>
                  <a:lnTo>
                    <a:pt x="53" y="87"/>
                  </a:lnTo>
                  <a:lnTo>
                    <a:pt x="58" y="91"/>
                  </a:lnTo>
                  <a:lnTo>
                    <a:pt x="64" y="95"/>
                  </a:lnTo>
                  <a:lnTo>
                    <a:pt x="70" y="97"/>
                  </a:lnTo>
                  <a:lnTo>
                    <a:pt x="75" y="97"/>
                  </a:lnTo>
                  <a:lnTo>
                    <a:pt x="75" y="97"/>
                  </a:lnTo>
                  <a:lnTo>
                    <a:pt x="83" y="95"/>
                  </a:lnTo>
                  <a:lnTo>
                    <a:pt x="91" y="95"/>
                  </a:lnTo>
                  <a:lnTo>
                    <a:pt x="92" y="97"/>
                  </a:lnTo>
                  <a:lnTo>
                    <a:pt x="95" y="97"/>
                  </a:lnTo>
                  <a:lnTo>
                    <a:pt x="95" y="100"/>
                  </a:lnTo>
                  <a:lnTo>
                    <a:pt x="94" y="101"/>
                  </a:lnTo>
                  <a:lnTo>
                    <a:pt x="94" y="101"/>
                  </a:lnTo>
                  <a:lnTo>
                    <a:pt x="91" y="110"/>
                  </a:lnTo>
                  <a:lnTo>
                    <a:pt x="90" y="118"/>
                  </a:lnTo>
                  <a:lnTo>
                    <a:pt x="88" y="125"/>
                  </a:lnTo>
                  <a:lnTo>
                    <a:pt x="90" y="128"/>
                  </a:lnTo>
                  <a:lnTo>
                    <a:pt x="91" y="131"/>
                  </a:lnTo>
                  <a:lnTo>
                    <a:pt x="91" y="131"/>
                  </a:lnTo>
                  <a:lnTo>
                    <a:pt x="97" y="138"/>
                  </a:lnTo>
                  <a:lnTo>
                    <a:pt x="98" y="141"/>
                  </a:lnTo>
                  <a:lnTo>
                    <a:pt x="97" y="144"/>
                  </a:lnTo>
                  <a:lnTo>
                    <a:pt x="97" y="144"/>
                  </a:lnTo>
                  <a:lnTo>
                    <a:pt x="95" y="147"/>
                  </a:lnTo>
                  <a:lnTo>
                    <a:pt x="94" y="149"/>
                  </a:lnTo>
                  <a:lnTo>
                    <a:pt x="94" y="152"/>
                  </a:lnTo>
                  <a:lnTo>
                    <a:pt x="97" y="155"/>
                  </a:lnTo>
                  <a:lnTo>
                    <a:pt x="97" y="155"/>
                  </a:lnTo>
                  <a:lnTo>
                    <a:pt x="98" y="158"/>
                  </a:lnTo>
                  <a:lnTo>
                    <a:pt x="100" y="161"/>
                  </a:lnTo>
                  <a:lnTo>
                    <a:pt x="100" y="164"/>
                  </a:lnTo>
                  <a:lnTo>
                    <a:pt x="100" y="164"/>
                  </a:lnTo>
                  <a:lnTo>
                    <a:pt x="97" y="165"/>
                  </a:lnTo>
                  <a:lnTo>
                    <a:pt x="97" y="165"/>
                  </a:lnTo>
                  <a:lnTo>
                    <a:pt x="101" y="169"/>
                  </a:lnTo>
                  <a:lnTo>
                    <a:pt x="104" y="174"/>
                  </a:lnTo>
                  <a:lnTo>
                    <a:pt x="107" y="178"/>
                  </a:lnTo>
                  <a:lnTo>
                    <a:pt x="110" y="181"/>
                  </a:lnTo>
                  <a:lnTo>
                    <a:pt x="110" y="181"/>
                  </a:lnTo>
                  <a:lnTo>
                    <a:pt x="115" y="185"/>
                  </a:lnTo>
                  <a:lnTo>
                    <a:pt x="117" y="185"/>
                  </a:lnTo>
                  <a:lnTo>
                    <a:pt x="119" y="185"/>
                  </a:lnTo>
                  <a:lnTo>
                    <a:pt x="119" y="185"/>
                  </a:lnTo>
                  <a:lnTo>
                    <a:pt x="124" y="182"/>
                  </a:lnTo>
                  <a:lnTo>
                    <a:pt x="125" y="182"/>
                  </a:lnTo>
                  <a:lnTo>
                    <a:pt x="128" y="184"/>
                  </a:lnTo>
                  <a:lnTo>
                    <a:pt x="128" y="184"/>
                  </a:lnTo>
                  <a:lnTo>
                    <a:pt x="129" y="184"/>
                  </a:lnTo>
                  <a:lnTo>
                    <a:pt x="132" y="182"/>
                  </a:lnTo>
                  <a:lnTo>
                    <a:pt x="138" y="178"/>
                  </a:lnTo>
                  <a:lnTo>
                    <a:pt x="138" y="178"/>
                  </a:lnTo>
                  <a:lnTo>
                    <a:pt x="142" y="176"/>
                  </a:lnTo>
                  <a:lnTo>
                    <a:pt x="145" y="175"/>
                  </a:lnTo>
                  <a:lnTo>
                    <a:pt x="148" y="175"/>
                  </a:lnTo>
                  <a:lnTo>
                    <a:pt x="149" y="172"/>
                  </a:lnTo>
                  <a:lnTo>
                    <a:pt x="149" y="172"/>
                  </a:lnTo>
                  <a:lnTo>
                    <a:pt x="151" y="169"/>
                  </a:lnTo>
                  <a:lnTo>
                    <a:pt x="152" y="167"/>
                  </a:lnTo>
                  <a:lnTo>
                    <a:pt x="155" y="165"/>
                  </a:lnTo>
                  <a:lnTo>
                    <a:pt x="158" y="164"/>
                  </a:lnTo>
                  <a:lnTo>
                    <a:pt x="158" y="164"/>
                  </a:lnTo>
                  <a:lnTo>
                    <a:pt x="161" y="162"/>
                  </a:lnTo>
                  <a:lnTo>
                    <a:pt x="162" y="159"/>
                  </a:lnTo>
                  <a:lnTo>
                    <a:pt x="162" y="158"/>
                  </a:lnTo>
                  <a:lnTo>
                    <a:pt x="161" y="157"/>
                  </a:lnTo>
                  <a:lnTo>
                    <a:pt x="161" y="157"/>
                  </a:lnTo>
                  <a:lnTo>
                    <a:pt x="155" y="158"/>
                  </a:lnTo>
                  <a:lnTo>
                    <a:pt x="152" y="158"/>
                  </a:lnTo>
                  <a:lnTo>
                    <a:pt x="152" y="155"/>
                  </a:lnTo>
                  <a:lnTo>
                    <a:pt x="152" y="155"/>
                  </a:lnTo>
                  <a:lnTo>
                    <a:pt x="151" y="152"/>
                  </a:lnTo>
                  <a:lnTo>
                    <a:pt x="149" y="149"/>
                  </a:lnTo>
                  <a:lnTo>
                    <a:pt x="148" y="148"/>
                  </a:lnTo>
                  <a:lnTo>
                    <a:pt x="148" y="145"/>
                  </a:lnTo>
                  <a:lnTo>
                    <a:pt x="148" y="145"/>
                  </a:lnTo>
                  <a:lnTo>
                    <a:pt x="147" y="138"/>
                  </a:lnTo>
                  <a:lnTo>
                    <a:pt x="145" y="135"/>
                  </a:lnTo>
                  <a:lnTo>
                    <a:pt x="141" y="132"/>
                  </a:lnTo>
                  <a:lnTo>
                    <a:pt x="141" y="132"/>
                  </a:lnTo>
                  <a:lnTo>
                    <a:pt x="141" y="132"/>
                  </a:lnTo>
                  <a:lnTo>
                    <a:pt x="141" y="131"/>
                  </a:lnTo>
                  <a:lnTo>
                    <a:pt x="144" y="130"/>
                  </a:lnTo>
                  <a:lnTo>
                    <a:pt x="148" y="130"/>
                  </a:lnTo>
                  <a:lnTo>
                    <a:pt x="152" y="131"/>
                  </a:lnTo>
                  <a:lnTo>
                    <a:pt x="152" y="131"/>
                  </a:lnTo>
                  <a:lnTo>
                    <a:pt x="155" y="132"/>
                  </a:lnTo>
                  <a:lnTo>
                    <a:pt x="159" y="132"/>
                  </a:lnTo>
                  <a:lnTo>
                    <a:pt x="164" y="134"/>
                  </a:lnTo>
                  <a:lnTo>
                    <a:pt x="165" y="135"/>
                  </a:lnTo>
                  <a:lnTo>
                    <a:pt x="166" y="135"/>
                  </a:lnTo>
                  <a:lnTo>
                    <a:pt x="166" y="135"/>
                  </a:lnTo>
                  <a:lnTo>
                    <a:pt x="168" y="138"/>
                  </a:lnTo>
                  <a:lnTo>
                    <a:pt x="169" y="139"/>
                  </a:lnTo>
                  <a:lnTo>
                    <a:pt x="172" y="139"/>
                  </a:lnTo>
                  <a:lnTo>
                    <a:pt x="172" y="137"/>
                  </a:lnTo>
                  <a:lnTo>
                    <a:pt x="172" y="137"/>
                  </a:lnTo>
                  <a:lnTo>
                    <a:pt x="174" y="132"/>
                  </a:lnTo>
                  <a:lnTo>
                    <a:pt x="176" y="131"/>
                  </a:lnTo>
                  <a:lnTo>
                    <a:pt x="179" y="130"/>
                  </a:lnTo>
                  <a:lnTo>
                    <a:pt x="184" y="130"/>
                  </a:lnTo>
                  <a:lnTo>
                    <a:pt x="184" y="130"/>
                  </a:lnTo>
                  <a:lnTo>
                    <a:pt x="188" y="130"/>
                  </a:lnTo>
                  <a:lnTo>
                    <a:pt x="193" y="127"/>
                  </a:lnTo>
                  <a:lnTo>
                    <a:pt x="203" y="122"/>
                  </a:lnTo>
                  <a:lnTo>
                    <a:pt x="203" y="122"/>
                  </a:lnTo>
                  <a:lnTo>
                    <a:pt x="206" y="120"/>
                  </a:lnTo>
                  <a:lnTo>
                    <a:pt x="208" y="117"/>
                  </a:lnTo>
                  <a:lnTo>
                    <a:pt x="208" y="117"/>
                  </a:lnTo>
                  <a:lnTo>
                    <a:pt x="202" y="110"/>
                  </a:lnTo>
                  <a:lnTo>
                    <a:pt x="196" y="104"/>
                  </a:lnTo>
                  <a:lnTo>
                    <a:pt x="196" y="104"/>
                  </a:lnTo>
                  <a:lnTo>
                    <a:pt x="196" y="101"/>
                  </a:lnTo>
                  <a:lnTo>
                    <a:pt x="196" y="100"/>
                  </a:lnTo>
                  <a:lnTo>
                    <a:pt x="198" y="98"/>
                  </a:lnTo>
                  <a:lnTo>
                    <a:pt x="199" y="95"/>
                  </a:lnTo>
                  <a:lnTo>
                    <a:pt x="199" y="95"/>
                  </a:lnTo>
                  <a:lnTo>
                    <a:pt x="199" y="93"/>
                  </a:lnTo>
                  <a:lnTo>
                    <a:pt x="199" y="90"/>
                  </a:lnTo>
                  <a:lnTo>
                    <a:pt x="202" y="88"/>
                  </a:lnTo>
                  <a:lnTo>
                    <a:pt x="206" y="88"/>
                  </a:lnTo>
                  <a:lnTo>
                    <a:pt x="206" y="88"/>
                  </a:lnTo>
                  <a:lnTo>
                    <a:pt x="211" y="87"/>
                  </a:lnTo>
                  <a:lnTo>
                    <a:pt x="212" y="84"/>
                  </a:lnTo>
                  <a:lnTo>
                    <a:pt x="211" y="81"/>
                  </a:lnTo>
                  <a:lnTo>
                    <a:pt x="209" y="78"/>
                  </a:lnTo>
                  <a:lnTo>
                    <a:pt x="209" y="78"/>
                  </a:lnTo>
                  <a:lnTo>
                    <a:pt x="208" y="78"/>
                  </a:lnTo>
                  <a:lnTo>
                    <a:pt x="208" y="77"/>
                  </a:lnTo>
                  <a:lnTo>
                    <a:pt x="208" y="74"/>
                  </a:lnTo>
                  <a:lnTo>
                    <a:pt x="211" y="70"/>
                  </a:lnTo>
                  <a:lnTo>
                    <a:pt x="215" y="68"/>
                  </a:lnTo>
                  <a:lnTo>
                    <a:pt x="215" y="68"/>
                  </a:lnTo>
                  <a:lnTo>
                    <a:pt x="218" y="66"/>
                  </a:lnTo>
                  <a:lnTo>
                    <a:pt x="220" y="60"/>
                  </a:lnTo>
                  <a:lnTo>
                    <a:pt x="220" y="60"/>
                  </a:lnTo>
                  <a:lnTo>
                    <a:pt x="213" y="58"/>
                  </a:lnTo>
                  <a:lnTo>
                    <a:pt x="208" y="58"/>
                  </a:lnTo>
                  <a:lnTo>
                    <a:pt x="196" y="58"/>
                  </a:lnTo>
                  <a:lnTo>
                    <a:pt x="196" y="58"/>
                  </a:lnTo>
                  <a:lnTo>
                    <a:pt x="195" y="58"/>
                  </a:lnTo>
                  <a:lnTo>
                    <a:pt x="195" y="57"/>
                  </a:lnTo>
                  <a:lnTo>
                    <a:pt x="196" y="54"/>
                  </a:lnTo>
                  <a:lnTo>
                    <a:pt x="199" y="50"/>
                  </a:lnTo>
                  <a:lnTo>
                    <a:pt x="201" y="44"/>
                  </a:lnTo>
                  <a:lnTo>
                    <a:pt x="201" y="44"/>
                  </a:lnTo>
                  <a:lnTo>
                    <a:pt x="201" y="43"/>
                  </a:lnTo>
                  <a:lnTo>
                    <a:pt x="199" y="41"/>
                  </a:lnTo>
                  <a:lnTo>
                    <a:pt x="192" y="38"/>
                  </a:lnTo>
                  <a:lnTo>
                    <a:pt x="178" y="36"/>
                  </a:lnTo>
                  <a:lnTo>
                    <a:pt x="178" y="36"/>
                  </a:lnTo>
                  <a:lnTo>
                    <a:pt x="174" y="34"/>
                  </a:lnTo>
                  <a:lnTo>
                    <a:pt x="174" y="31"/>
                  </a:lnTo>
                  <a:lnTo>
                    <a:pt x="175" y="29"/>
                  </a:lnTo>
                  <a:lnTo>
                    <a:pt x="179" y="27"/>
                  </a:lnTo>
                  <a:lnTo>
                    <a:pt x="179" y="27"/>
                  </a:lnTo>
                  <a:lnTo>
                    <a:pt x="181" y="27"/>
                  </a:lnTo>
                  <a:lnTo>
                    <a:pt x="182" y="26"/>
                  </a:lnTo>
                  <a:lnTo>
                    <a:pt x="179" y="24"/>
                  </a:lnTo>
                  <a:lnTo>
                    <a:pt x="174" y="23"/>
                  </a:lnTo>
                  <a:lnTo>
                    <a:pt x="166" y="23"/>
                  </a:lnTo>
                  <a:lnTo>
                    <a:pt x="166" y="23"/>
                  </a:lnTo>
                  <a:lnTo>
                    <a:pt x="158" y="24"/>
                  </a:lnTo>
                  <a:lnTo>
                    <a:pt x="149" y="27"/>
                  </a:lnTo>
                  <a:lnTo>
                    <a:pt x="135" y="34"/>
                  </a:lnTo>
                  <a:lnTo>
                    <a:pt x="135" y="34"/>
                  </a:lnTo>
                  <a:lnTo>
                    <a:pt x="132" y="34"/>
                  </a:lnTo>
                  <a:lnTo>
                    <a:pt x="128" y="34"/>
                  </a:lnTo>
                  <a:lnTo>
                    <a:pt x="121" y="30"/>
                  </a:lnTo>
                  <a:lnTo>
                    <a:pt x="112" y="26"/>
                  </a:lnTo>
                  <a:lnTo>
                    <a:pt x="108" y="24"/>
                  </a:lnTo>
                  <a:lnTo>
                    <a:pt x="105" y="26"/>
                  </a:lnTo>
                  <a:lnTo>
                    <a:pt x="105" y="26"/>
                  </a:lnTo>
                  <a:lnTo>
                    <a:pt x="98" y="27"/>
                  </a:lnTo>
                  <a:lnTo>
                    <a:pt x="91" y="27"/>
                  </a:lnTo>
                  <a:lnTo>
                    <a:pt x="85" y="26"/>
                  </a:lnTo>
                  <a:lnTo>
                    <a:pt x="84" y="24"/>
                  </a:lnTo>
                  <a:lnTo>
                    <a:pt x="84" y="21"/>
                  </a:lnTo>
                  <a:lnTo>
                    <a:pt x="84" y="21"/>
                  </a:lnTo>
                  <a:lnTo>
                    <a:pt x="83" y="17"/>
                  </a:lnTo>
                  <a:lnTo>
                    <a:pt x="81" y="13"/>
                  </a:lnTo>
                  <a:lnTo>
                    <a:pt x="77" y="10"/>
                  </a:lnTo>
                  <a:lnTo>
                    <a:pt x="71" y="9"/>
                  </a:lnTo>
                  <a:lnTo>
                    <a:pt x="71" y="9"/>
                  </a:lnTo>
                  <a:lnTo>
                    <a:pt x="68" y="9"/>
                  </a:lnTo>
                  <a:lnTo>
                    <a:pt x="67" y="9"/>
                  </a:lnTo>
                  <a:lnTo>
                    <a:pt x="64" y="4"/>
                  </a:lnTo>
                  <a:lnTo>
                    <a:pt x="61" y="1"/>
                  </a:lnTo>
                  <a:lnTo>
                    <a:pt x="60" y="0"/>
                  </a:lnTo>
                  <a:lnTo>
                    <a:pt x="58" y="0"/>
                  </a:lnTo>
                  <a:lnTo>
                    <a:pt x="58" y="0"/>
                  </a:lnTo>
                  <a:lnTo>
                    <a:pt x="55" y="0"/>
                  </a:lnTo>
                  <a:lnTo>
                    <a:pt x="55" y="1"/>
                  </a:lnTo>
                  <a:lnTo>
                    <a:pt x="54" y="4"/>
                  </a:lnTo>
                  <a:lnTo>
                    <a:pt x="55" y="9"/>
                  </a:lnTo>
                  <a:lnTo>
                    <a:pt x="54" y="10"/>
                  </a:lnTo>
                  <a:lnTo>
                    <a:pt x="53" y="10"/>
                  </a:lnTo>
                  <a:lnTo>
                    <a:pt x="53" y="10"/>
                  </a:lnTo>
                  <a:lnTo>
                    <a:pt x="41" y="16"/>
                  </a:lnTo>
                  <a:lnTo>
                    <a:pt x="34" y="19"/>
                  </a:lnTo>
                  <a:lnTo>
                    <a:pt x="33" y="21"/>
                  </a:lnTo>
                  <a:lnTo>
                    <a:pt x="31" y="23"/>
                  </a:lnTo>
                  <a:lnTo>
                    <a:pt x="31" y="23"/>
                  </a:lnTo>
                  <a:lnTo>
                    <a:pt x="33" y="29"/>
                  </a:lnTo>
                  <a:lnTo>
                    <a:pt x="36" y="34"/>
                  </a:lnTo>
                  <a:lnTo>
                    <a:pt x="37" y="41"/>
                  </a:lnTo>
                  <a:lnTo>
                    <a:pt x="37" y="44"/>
                  </a:lnTo>
                  <a:lnTo>
                    <a:pt x="37" y="47"/>
                  </a:lnTo>
                  <a:lnTo>
                    <a:pt x="37" y="47"/>
                  </a:lnTo>
                  <a:lnTo>
                    <a:pt x="36" y="48"/>
                  </a:lnTo>
                  <a:lnTo>
                    <a:pt x="33" y="50"/>
                  </a:lnTo>
                  <a:lnTo>
                    <a:pt x="28" y="48"/>
                  </a:lnTo>
                  <a:lnTo>
                    <a:pt x="23" y="46"/>
                  </a:lnTo>
                  <a:lnTo>
                    <a:pt x="20" y="41"/>
                  </a:lnTo>
                  <a:lnTo>
                    <a:pt x="20" y="41"/>
                  </a:lnTo>
                  <a:lnTo>
                    <a:pt x="18" y="38"/>
                  </a:lnTo>
                  <a:lnTo>
                    <a:pt x="20" y="36"/>
                  </a:lnTo>
                  <a:lnTo>
                    <a:pt x="23" y="30"/>
                  </a:lnTo>
                  <a:lnTo>
                    <a:pt x="26" y="24"/>
                  </a:lnTo>
                  <a:lnTo>
                    <a:pt x="27" y="21"/>
                  </a:lnTo>
                  <a:lnTo>
                    <a:pt x="27" y="20"/>
                  </a:lnTo>
                  <a:lnTo>
                    <a:pt x="27" y="20"/>
                  </a:lnTo>
                  <a:lnTo>
                    <a:pt x="24" y="14"/>
                  </a:lnTo>
                  <a:lnTo>
                    <a:pt x="24" y="11"/>
                  </a:lnTo>
                  <a:lnTo>
                    <a:pt x="24" y="9"/>
                  </a:lnTo>
                  <a:lnTo>
                    <a:pt x="24" y="9"/>
                  </a:lnTo>
                  <a:lnTo>
                    <a:pt x="21" y="10"/>
                  </a:lnTo>
                  <a:lnTo>
                    <a:pt x="20" y="11"/>
                  </a:lnTo>
                  <a:lnTo>
                    <a:pt x="20"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19" name="Freeform 303">
              <a:extLst>
                <a:ext uri="{FF2B5EF4-FFF2-40B4-BE49-F238E27FC236}">
                  <a16:creationId xmlns:a16="http://schemas.microsoft.com/office/drawing/2014/main" id="{126DB109-9962-6A41-AB58-80030A16AE04}"/>
                </a:ext>
              </a:extLst>
            </p:cNvPr>
            <p:cNvSpPr>
              <a:spLocks/>
            </p:cNvSpPr>
            <p:nvPr/>
          </p:nvSpPr>
          <p:spPr bwMode="auto">
            <a:xfrm>
              <a:off x="2935360" y="4164720"/>
              <a:ext cx="99146" cy="105065"/>
            </a:xfrm>
            <a:custGeom>
              <a:avLst/>
              <a:gdLst/>
              <a:ahLst/>
              <a:cxnLst>
                <a:cxn ang="0">
                  <a:pos x="14" y="14"/>
                </a:cxn>
                <a:cxn ang="0">
                  <a:pos x="13" y="18"/>
                </a:cxn>
                <a:cxn ang="0">
                  <a:pos x="7" y="21"/>
                </a:cxn>
                <a:cxn ang="0">
                  <a:pos x="6" y="21"/>
                </a:cxn>
                <a:cxn ang="0">
                  <a:pos x="3" y="27"/>
                </a:cxn>
                <a:cxn ang="0">
                  <a:pos x="0" y="35"/>
                </a:cxn>
                <a:cxn ang="0">
                  <a:pos x="0" y="37"/>
                </a:cxn>
                <a:cxn ang="0">
                  <a:pos x="6" y="42"/>
                </a:cxn>
                <a:cxn ang="0">
                  <a:pos x="14" y="51"/>
                </a:cxn>
                <a:cxn ang="0">
                  <a:pos x="23" y="70"/>
                </a:cxn>
                <a:cxn ang="0">
                  <a:pos x="27" y="71"/>
                </a:cxn>
                <a:cxn ang="0">
                  <a:pos x="31" y="70"/>
                </a:cxn>
                <a:cxn ang="0">
                  <a:pos x="34" y="64"/>
                </a:cxn>
                <a:cxn ang="0">
                  <a:pos x="36" y="60"/>
                </a:cxn>
                <a:cxn ang="0">
                  <a:pos x="38" y="60"/>
                </a:cxn>
                <a:cxn ang="0">
                  <a:pos x="53" y="60"/>
                </a:cxn>
                <a:cxn ang="0">
                  <a:pos x="55" y="61"/>
                </a:cxn>
                <a:cxn ang="0">
                  <a:pos x="57" y="62"/>
                </a:cxn>
                <a:cxn ang="0">
                  <a:pos x="63" y="55"/>
                </a:cxn>
                <a:cxn ang="0">
                  <a:pos x="63" y="40"/>
                </a:cxn>
                <a:cxn ang="0">
                  <a:pos x="60" y="34"/>
                </a:cxn>
                <a:cxn ang="0">
                  <a:pos x="60" y="23"/>
                </a:cxn>
                <a:cxn ang="0">
                  <a:pos x="63" y="15"/>
                </a:cxn>
                <a:cxn ang="0">
                  <a:pos x="67" y="7"/>
                </a:cxn>
                <a:cxn ang="0">
                  <a:pos x="58" y="4"/>
                </a:cxn>
                <a:cxn ang="0">
                  <a:pos x="50" y="3"/>
                </a:cxn>
                <a:cxn ang="0">
                  <a:pos x="33" y="6"/>
                </a:cxn>
                <a:cxn ang="0">
                  <a:pos x="30" y="3"/>
                </a:cxn>
                <a:cxn ang="0">
                  <a:pos x="27" y="1"/>
                </a:cxn>
                <a:cxn ang="0">
                  <a:pos x="21" y="1"/>
                </a:cxn>
                <a:cxn ang="0">
                  <a:pos x="17" y="3"/>
                </a:cxn>
                <a:cxn ang="0">
                  <a:pos x="16" y="3"/>
                </a:cxn>
                <a:cxn ang="0">
                  <a:pos x="14" y="14"/>
                </a:cxn>
              </a:cxnLst>
              <a:rect l="0" t="0" r="r" b="b"/>
              <a:pathLst>
                <a:path w="67" h="71">
                  <a:moveTo>
                    <a:pt x="14" y="14"/>
                  </a:moveTo>
                  <a:lnTo>
                    <a:pt x="14" y="14"/>
                  </a:lnTo>
                  <a:lnTo>
                    <a:pt x="14" y="17"/>
                  </a:lnTo>
                  <a:lnTo>
                    <a:pt x="13" y="18"/>
                  </a:lnTo>
                  <a:lnTo>
                    <a:pt x="10" y="20"/>
                  </a:lnTo>
                  <a:lnTo>
                    <a:pt x="7" y="21"/>
                  </a:lnTo>
                  <a:lnTo>
                    <a:pt x="7" y="21"/>
                  </a:lnTo>
                  <a:lnTo>
                    <a:pt x="6" y="21"/>
                  </a:lnTo>
                  <a:lnTo>
                    <a:pt x="4" y="23"/>
                  </a:lnTo>
                  <a:lnTo>
                    <a:pt x="3" y="27"/>
                  </a:lnTo>
                  <a:lnTo>
                    <a:pt x="1" y="31"/>
                  </a:lnTo>
                  <a:lnTo>
                    <a:pt x="0" y="35"/>
                  </a:lnTo>
                  <a:lnTo>
                    <a:pt x="0" y="35"/>
                  </a:lnTo>
                  <a:lnTo>
                    <a:pt x="0" y="37"/>
                  </a:lnTo>
                  <a:lnTo>
                    <a:pt x="1" y="38"/>
                  </a:lnTo>
                  <a:lnTo>
                    <a:pt x="6" y="42"/>
                  </a:lnTo>
                  <a:lnTo>
                    <a:pt x="10" y="47"/>
                  </a:lnTo>
                  <a:lnTo>
                    <a:pt x="14" y="51"/>
                  </a:lnTo>
                  <a:lnTo>
                    <a:pt x="14" y="51"/>
                  </a:lnTo>
                  <a:lnTo>
                    <a:pt x="23" y="70"/>
                  </a:lnTo>
                  <a:lnTo>
                    <a:pt x="23" y="70"/>
                  </a:lnTo>
                  <a:lnTo>
                    <a:pt x="27" y="71"/>
                  </a:lnTo>
                  <a:lnTo>
                    <a:pt x="31" y="70"/>
                  </a:lnTo>
                  <a:lnTo>
                    <a:pt x="31" y="70"/>
                  </a:lnTo>
                  <a:lnTo>
                    <a:pt x="33" y="68"/>
                  </a:lnTo>
                  <a:lnTo>
                    <a:pt x="34" y="64"/>
                  </a:lnTo>
                  <a:lnTo>
                    <a:pt x="34" y="61"/>
                  </a:lnTo>
                  <a:lnTo>
                    <a:pt x="36" y="60"/>
                  </a:lnTo>
                  <a:lnTo>
                    <a:pt x="38" y="60"/>
                  </a:lnTo>
                  <a:lnTo>
                    <a:pt x="38" y="60"/>
                  </a:lnTo>
                  <a:lnTo>
                    <a:pt x="48" y="60"/>
                  </a:lnTo>
                  <a:lnTo>
                    <a:pt x="53" y="60"/>
                  </a:lnTo>
                  <a:lnTo>
                    <a:pt x="55" y="61"/>
                  </a:lnTo>
                  <a:lnTo>
                    <a:pt x="55" y="61"/>
                  </a:lnTo>
                  <a:lnTo>
                    <a:pt x="57" y="62"/>
                  </a:lnTo>
                  <a:lnTo>
                    <a:pt x="57" y="62"/>
                  </a:lnTo>
                  <a:lnTo>
                    <a:pt x="63" y="55"/>
                  </a:lnTo>
                  <a:lnTo>
                    <a:pt x="63" y="55"/>
                  </a:lnTo>
                  <a:lnTo>
                    <a:pt x="63" y="47"/>
                  </a:lnTo>
                  <a:lnTo>
                    <a:pt x="63" y="40"/>
                  </a:lnTo>
                  <a:lnTo>
                    <a:pt x="60" y="34"/>
                  </a:lnTo>
                  <a:lnTo>
                    <a:pt x="60" y="34"/>
                  </a:lnTo>
                  <a:lnTo>
                    <a:pt x="60" y="28"/>
                  </a:lnTo>
                  <a:lnTo>
                    <a:pt x="60" y="23"/>
                  </a:lnTo>
                  <a:lnTo>
                    <a:pt x="61" y="18"/>
                  </a:lnTo>
                  <a:lnTo>
                    <a:pt x="63" y="15"/>
                  </a:lnTo>
                  <a:lnTo>
                    <a:pt x="63" y="15"/>
                  </a:lnTo>
                  <a:lnTo>
                    <a:pt x="67" y="7"/>
                  </a:lnTo>
                  <a:lnTo>
                    <a:pt x="67" y="7"/>
                  </a:lnTo>
                  <a:lnTo>
                    <a:pt x="58" y="4"/>
                  </a:lnTo>
                  <a:lnTo>
                    <a:pt x="50" y="3"/>
                  </a:lnTo>
                  <a:lnTo>
                    <a:pt x="50" y="3"/>
                  </a:lnTo>
                  <a:lnTo>
                    <a:pt x="38" y="6"/>
                  </a:lnTo>
                  <a:lnTo>
                    <a:pt x="33" y="6"/>
                  </a:lnTo>
                  <a:lnTo>
                    <a:pt x="31" y="4"/>
                  </a:lnTo>
                  <a:lnTo>
                    <a:pt x="30" y="3"/>
                  </a:lnTo>
                  <a:lnTo>
                    <a:pt x="30" y="3"/>
                  </a:lnTo>
                  <a:lnTo>
                    <a:pt x="27" y="1"/>
                  </a:lnTo>
                  <a:lnTo>
                    <a:pt x="24" y="0"/>
                  </a:lnTo>
                  <a:lnTo>
                    <a:pt x="21" y="1"/>
                  </a:lnTo>
                  <a:lnTo>
                    <a:pt x="17" y="3"/>
                  </a:lnTo>
                  <a:lnTo>
                    <a:pt x="17" y="3"/>
                  </a:lnTo>
                  <a:lnTo>
                    <a:pt x="16" y="3"/>
                  </a:lnTo>
                  <a:lnTo>
                    <a:pt x="16" y="3"/>
                  </a:lnTo>
                  <a:lnTo>
                    <a:pt x="14" y="10"/>
                  </a:lnTo>
                  <a:lnTo>
                    <a:pt x="14" y="14"/>
                  </a:lnTo>
                  <a:lnTo>
                    <a:pt x="14" y="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0" name="Freeform 304">
              <a:extLst>
                <a:ext uri="{FF2B5EF4-FFF2-40B4-BE49-F238E27FC236}">
                  <a16:creationId xmlns:a16="http://schemas.microsoft.com/office/drawing/2014/main" id="{CD1A5761-7A50-054B-B2C1-65730AAA595A}"/>
                </a:ext>
              </a:extLst>
            </p:cNvPr>
            <p:cNvSpPr>
              <a:spLocks/>
            </p:cNvSpPr>
            <p:nvPr/>
          </p:nvSpPr>
          <p:spPr bwMode="auto">
            <a:xfrm>
              <a:off x="2856932" y="4109969"/>
              <a:ext cx="112464" cy="171655"/>
            </a:xfrm>
            <a:custGeom>
              <a:avLst/>
              <a:gdLst/>
              <a:ahLst/>
              <a:cxnLst>
                <a:cxn ang="0">
                  <a:pos x="19" y="8"/>
                </a:cxn>
                <a:cxn ang="0">
                  <a:pos x="12" y="14"/>
                </a:cxn>
                <a:cxn ang="0">
                  <a:pos x="12" y="18"/>
                </a:cxn>
                <a:cxn ang="0">
                  <a:pos x="13" y="18"/>
                </a:cxn>
                <a:cxn ang="0">
                  <a:pos x="16" y="24"/>
                </a:cxn>
                <a:cxn ang="0">
                  <a:pos x="10" y="28"/>
                </a:cxn>
                <a:cxn ang="0">
                  <a:pos x="6" y="28"/>
                </a:cxn>
                <a:cxn ang="0">
                  <a:pos x="3" y="33"/>
                </a:cxn>
                <a:cxn ang="0">
                  <a:pos x="3" y="35"/>
                </a:cxn>
                <a:cxn ang="0">
                  <a:pos x="0" y="40"/>
                </a:cxn>
                <a:cxn ang="0">
                  <a:pos x="0" y="44"/>
                </a:cxn>
                <a:cxn ang="0">
                  <a:pos x="6" y="50"/>
                </a:cxn>
                <a:cxn ang="0">
                  <a:pos x="12" y="57"/>
                </a:cxn>
                <a:cxn ang="0">
                  <a:pos x="17" y="54"/>
                </a:cxn>
                <a:cxn ang="0">
                  <a:pos x="19" y="54"/>
                </a:cxn>
                <a:cxn ang="0">
                  <a:pos x="22" y="60"/>
                </a:cxn>
                <a:cxn ang="0">
                  <a:pos x="23" y="65"/>
                </a:cxn>
                <a:cxn ang="0">
                  <a:pos x="24" y="67"/>
                </a:cxn>
                <a:cxn ang="0">
                  <a:pos x="29" y="74"/>
                </a:cxn>
                <a:cxn ang="0">
                  <a:pos x="26" y="79"/>
                </a:cxn>
                <a:cxn ang="0">
                  <a:pos x="23" y="85"/>
                </a:cxn>
                <a:cxn ang="0">
                  <a:pos x="24" y="101"/>
                </a:cxn>
                <a:cxn ang="0">
                  <a:pos x="29" y="108"/>
                </a:cxn>
                <a:cxn ang="0">
                  <a:pos x="34" y="114"/>
                </a:cxn>
                <a:cxn ang="0">
                  <a:pos x="44" y="116"/>
                </a:cxn>
                <a:cxn ang="0">
                  <a:pos x="46" y="115"/>
                </a:cxn>
                <a:cxn ang="0">
                  <a:pos x="52" y="114"/>
                </a:cxn>
                <a:cxn ang="0">
                  <a:pos x="57" y="111"/>
                </a:cxn>
                <a:cxn ang="0">
                  <a:pos x="59" y="109"/>
                </a:cxn>
                <a:cxn ang="0">
                  <a:pos x="63" y="108"/>
                </a:cxn>
                <a:cxn ang="0">
                  <a:pos x="64" y="107"/>
                </a:cxn>
                <a:cxn ang="0">
                  <a:pos x="70" y="105"/>
                </a:cxn>
                <a:cxn ang="0">
                  <a:pos x="76" y="107"/>
                </a:cxn>
                <a:cxn ang="0">
                  <a:pos x="67" y="88"/>
                </a:cxn>
                <a:cxn ang="0">
                  <a:pos x="59" y="79"/>
                </a:cxn>
                <a:cxn ang="0">
                  <a:pos x="53" y="74"/>
                </a:cxn>
                <a:cxn ang="0">
                  <a:pos x="53" y="72"/>
                </a:cxn>
                <a:cxn ang="0">
                  <a:pos x="56" y="64"/>
                </a:cxn>
                <a:cxn ang="0">
                  <a:pos x="59" y="58"/>
                </a:cxn>
                <a:cxn ang="0">
                  <a:pos x="60" y="58"/>
                </a:cxn>
                <a:cxn ang="0">
                  <a:pos x="66" y="55"/>
                </a:cxn>
                <a:cxn ang="0">
                  <a:pos x="67" y="51"/>
                </a:cxn>
                <a:cxn ang="0">
                  <a:pos x="67" y="47"/>
                </a:cxn>
                <a:cxn ang="0">
                  <a:pos x="69" y="40"/>
                </a:cxn>
                <a:cxn ang="0">
                  <a:pos x="61" y="34"/>
                </a:cxn>
                <a:cxn ang="0">
                  <a:pos x="54" y="27"/>
                </a:cxn>
                <a:cxn ang="0">
                  <a:pos x="52" y="27"/>
                </a:cxn>
                <a:cxn ang="0">
                  <a:pos x="46" y="21"/>
                </a:cxn>
                <a:cxn ang="0">
                  <a:pos x="46" y="17"/>
                </a:cxn>
                <a:cxn ang="0">
                  <a:pos x="44" y="14"/>
                </a:cxn>
                <a:cxn ang="0">
                  <a:pos x="36" y="8"/>
                </a:cxn>
                <a:cxn ang="0">
                  <a:pos x="30" y="4"/>
                </a:cxn>
                <a:cxn ang="0">
                  <a:pos x="24" y="0"/>
                </a:cxn>
                <a:cxn ang="0">
                  <a:pos x="22" y="6"/>
                </a:cxn>
                <a:cxn ang="0">
                  <a:pos x="19" y="8"/>
                </a:cxn>
              </a:cxnLst>
              <a:rect l="0" t="0" r="r" b="b"/>
              <a:pathLst>
                <a:path w="76" h="116">
                  <a:moveTo>
                    <a:pt x="19" y="8"/>
                  </a:moveTo>
                  <a:lnTo>
                    <a:pt x="19" y="8"/>
                  </a:lnTo>
                  <a:lnTo>
                    <a:pt x="15" y="10"/>
                  </a:lnTo>
                  <a:lnTo>
                    <a:pt x="12" y="14"/>
                  </a:lnTo>
                  <a:lnTo>
                    <a:pt x="12" y="17"/>
                  </a:lnTo>
                  <a:lnTo>
                    <a:pt x="12" y="18"/>
                  </a:lnTo>
                  <a:lnTo>
                    <a:pt x="13" y="18"/>
                  </a:lnTo>
                  <a:lnTo>
                    <a:pt x="13" y="18"/>
                  </a:lnTo>
                  <a:lnTo>
                    <a:pt x="15" y="21"/>
                  </a:lnTo>
                  <a:lnTo>
                    <a:pt x="16" y="24"/>
                  </a:lnTo>
                  <a:lnTo>
                    <a:pt x="15" y="27"/>
                  </a:lnTo>
                  <a:lnTo>
                    <a:pt x="10" y="28"/>
                  </a:lnTo>
                  <a:lnTo>
                    <a:pt x="10" y="28"/>
                  </a:lnTo>
                  <a:lnTo>
                    <a:pt x="6" y="28"/>
                  </a:lnTo>
                  <a:lnTo>
                    <a:pt x="3" y="30"/>
                  </a:lnTo>
                  <a:lnTo>
                    <a:pt x="3" y="33"/>
                  </a:lnTo>
                  <a:lnTo>
                    <a:pt x="3" y="35"/>
                  </a:lnTo>
                  <a:lnTo>
                    <a:pt x="3" y="35"/>
                  </a:lnTo>
                  <a:lnTo>
                    <a:pt x="2" y="38"/>
                  </a:lnTo>
                  <a:lnTo>
                    <a:pt x="0" y="40"/>
                  </a:lnTo>
                  <a:lnTo>
                    <a:pt x="0" y="41"/>
                  </a:lnTo>
                  <a:lnTo>
                    <a:pt x="0" y="44"/>
                  </a:lnTo>
                  <a:lnTo>
                    <a:pt x="0" y="44"/>
                  </a:lnTo>
                  <a:lnTo>
                    <a:pt x="6" y="50"/>
                  </a:lnTo>
                  <a:lnTo>
                    <a:pt x="12" y="57"/>
                  </a:lnTo>
                  <a:lnTo>
                    <a:pt x="12" y="57"/>
                  </a:lnTo>
                  <a:lnTo>
                    <a:pt x="13" y="54"/>
                  </a:lnTo>
                  <a:lnTo>
                    <a:pt x="17" y="54"/>
                  </a:lnTo>
                  <a:lnTo>
                    <a:pt x="17" y="54"/>
                  </a:lnTo>
                  <a:lnTo>
                    <a:pt x="19" y="54"/>
                  </a:lnTo>
                  <a:lnTo>
                    <a:pt x="20" y="55"/>
                  </a:lnTo>
                  <a:lnTo>
                    <a:pt x="22" y="60"/>
                  </a:lnTo>
                  <a:lnTo>
                    <a:pt x="22" y="64"/>
                  </a:lnTo>
                  <a:lnTo>
                    <a:pt x="23" y="65"/>
                  </a:lnTo>
                  <a:lnTo>
                    <a:pt x="24" y="67"/>
                  </a:lnTo>
                  <a:lnTo>
                    <a:pt x="24" y="67"/>
                  </a:lnTo>
                  <a:lnTo>
                    <a:pt x="27" y="70"/>
                  </a:lnTo>
                  <a:lnTo>
                    <a:pt x="29" y="74"/>
                  </a:lnTo>
                  <a:lnTo>
                    <a:pt x="27" y="77"/>
                  </a:lnTo>
                  <a:lnTo>
                    <a:pt x="26" y="79"/>
                  </a:lnTo>
                  <a:lnTo>
                    <a:pt x="26" y="79"/>
                  </a:lnTo>
                  <a:lnTo>
                    <a:pt x="23" y="85"/>
                  </a:lnTo>
                  <a:lnTo>
                    <a:pt x="23" y="92"/>
                  </a:lnTo>
                  <a:lnTo>
                    <a:pt x="24" y="101"/>
                  </a:lnTo>
                  <a:lnTo>
                    <a:pt x="26" y="105"/>
                  </a:lnTo>
                  <a:lnTo>
                    <a:pt x="29" y="108"/>
                  </a:lnTo>
                  <a:lnTo>
                    <a:pt x="29" y="108"/>
                  </a:lnTo>
                  <a:lnTo>
                    <a:pt x="34" y="114"/>
                  </a:lnTo>
                  <a:lnTo>
                    <a:pt x="40" y="116"/>
                  </a:lnTo>
                  <a:lnTo>
                    <a:pt x="44" y="116"/>
                  </a:lnTo>
                  <a:lnTo>
                    <a:pt x="46" y="115"/>
                  </a:lnTo>
                  <a:lnTo>
                    <a:pt x="46" y="115"/>
                  </a:lnTo>
                  <a:lnTo>
                    <a:pt x="49" y="114"/>
                  </a:lnTo>
                  <a:lnTo>
                    <a:pt x="52" y="114"/>
                  </a:lnTo>
                  <a:lnTo>
                    <a:pt x="54" y="112"/>
                  </a:lnTo>
                  <a:lnTo>
                    <a:pt x="57" y="111"/>
                  </a:lnTo>
                  <a:lnTo>
                    <a:pt x="57" y="111"/>
                  </a:lnTo>
                  <a:lnTo>
                    <a:pt x="59" y="109"/>
                  </a:lnTo>
                  <a:lnTo>
                    <a:pt x="60" y="109"/>
                  </a:lnTo>
                  <a:lnTo>
                    <a:pt x="63" y="108"/>
                  </a:lnTo>
                  <a:lnTo>
                    <a:pt x="64" y="107"/>
                  </a:lnTo>
                  <a:lnTo>
                    <a:pt x="64" y="107"/>
                  </a:lnTo>
                  <a:lnTo>
                    <a:pt x="67" y="105"/>
                  </a:lnTo>
                  <a:lnTo>
                    <a:pt x="70" y="105"/>
                  </a:lnTo>
                  <a:lnTo>
                    <a:pt x="76" y="107"/>
                  </a:lnTo>
                  <a:lnTo>
                    <a:pt x="76" y="107"/>
                  </a:lnTo>
                  <a:lnTo>
                    <a:pt x="67" y="88"/>
                  </a:lnTo>
                  <a:lnTo>
                    <a:pt x="67" y="88"/>
                  </a:lnTo>
                  <a:lnTo>
                    <a:pt x="63" y="84"/>
                  </a:lnTo>
                  <a:lnTo>
                    <a:pt x="59" y="79"/>
                  </a:lnTo>
                  <a:lnTo>
                    <a:pt x="54" y="75"/>
                  </a:lnTo>
                  <a:lnTo>
                    <a:pt x="53" y="74"/>
                  </a:lnTo>
                  <a:lnTo>
                    <a:pt x="53" y="72"/>
                  </a:lnTo>
                  <a:lnTo>
                    <a:pt x="53" y="72"/>
                  </a:lnTo>
                  <a:lnTo>
                    <a:pt x="54" y="68"/>
                  </a:lnTo>
                  <a:lnTo>
                    <a:pt x="56" y="64"/>
                  </a:lnTo>
                  <a:lnTo>
                    <a:pt x="57" y="60"/>
                  </a:lnTo>
                  <a:lnTo>
                    <a:pt x="59" y="58"/>
                  </a:lnTo>
                  <a:lnTo>
                    <a:pt x="60" y="58"/>
                  </a:lnTo>
                  <a:lnTo>
                    <a:pt x="60" y="58"/>
                  </a:lnTo>
                  <a:lnTo>
                    <a:pt x="63" y="57"/>
                  </a:lnTo>
                  <a:lnTo>
                    <a:pt x="66" y="55"/>
                  </a:lnTo>
                  <a:lnTo>
                    <a:pt x="67" y="54"/>
                  </a:lnTo>
                  <a:lnTo>
                    <a:pt x="67" y="51"/>
                  </a:lnTo>
                  <a:lnTo>
                    <a:pt x="67" y="51"/>
                  </a:lnTo>
                  <a:lnTo>
                    <a:pt x="67" y="47"/>
                  </a:lnTo>
                  <a:lnTo>
                    <a:pt x="69" y="40"/>
                  </a:lnTo>
                  <a:lnTo>
                    <a:pt x="69" y="40"/>
                  </a:lnTo>
                  <a:lnTo>
                    <a:pt x="66" y="38"/>
                  </a:lnTo>
                  <a:lnTo>
                    <a:pt x="61" y="34"/>
                  </a:lnTo>
                  <a:lnTo>
                    <a:pt x="57" y="30"/>
                  </a:lnTo>
                  <a:lnTo>
                    <a:pt x="54" y="27"/>
                  </a:lnTo>
                  <a:lnTo>
                    <a:pt x="54" y="27"/>
                  </a:lnTo>
                  <a:lnTo>
                    <a:pt x="52" y="27"/>
                  </a:lnTo>
                  <a:lnTo>
                    <a:pt x="49" y="24"/>
                  </a:lnTo>
                  <a:lnTo>
                    <a:pt x="46" y="21"/>
                  </a:lnTo>
                  <a:lnTo>
                    <a:pt x="46" y="17"/>
                  </a:lnTo>
                  <a:lnTo>
                    <a:pt x="46" y="17"/>
                  </a:lnTo>
                  <a:lnTo>
                    <a:pt x="46" y="15"/>
                  </a:lnTo>
                  <a:lnTo>
                    <a:pt x="44" y="14"/>
                  </a:lnTo>
                  <a:lnTo>
                    <a:pt x="40" y="11"/>
                  </a:lnTo>
                  <a:lnTo>
                    <a:pt x="36" y="8"/>
                  </a:lnTo>
                  <a:lnTo>
                    <a:pt x="30" y="4"/>
                  </a:lnTo>
                  <a:lnTo>
                    <a:pt x="30" y="4"/>
                  </a:lnTo>
                  <a:lnTo>
                    <a:pt x="27" y="1"/>
                  </a:lnTo>
                  <a:lnTo>
                    <a:pt x="24" y="0"/>
                  </a:lnTo>
                  <a:lnTo>
                    <a:pt x="24" y="0"/>
                  </a:lnTo>
                  <a:lnTo>
                    <a:pt x="22" y="6"/>
                  </a:lnTo>
                  <a:lnTo>
                    <a:pt x="19" y="8"/>
                  </a:lnTo>
                  <a:lnTo>
                    <a:pt x="19" y="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1" name="Freeform 305">
              <a:extLst>
                <a:ext uri="{FF2B5EF4-FFF2-40B4-BE49-F238E27FC236}">
                  <a16:creationId xmlns:a16="http://schemas.microsoft.com/office/drawing/2014/main" id="{E01F067A-A57C-674A-A528-FCA2831E4B05}"/>
                </a:ext>
              </a:extLst>
            </p:cNvPr>
            <p:cNvSpPr>
              <a:spLocks/>
            </p:cNvSpPr>
            <p:nvPr/>
          </p:nvSpPr>
          <p:spPr bwMode="auto">
            <a:xfrm>
              <a:off x="3019708" y="4175080"/>
              <a:ext cx="75470" cy="88787"/>
            </a:xfrm>
            <a:custGeom>
              <a:avLst/>
              <a:gdLst/>
              <a:ahLst/>
              <a:cxnLst>
                <a:cxn ang="0">
                  <a:pos x="3" y="27"/>
                </a:cxn>
                <a:cxn ang="0">
                  <a:pos x="3" y="27"/>
                </a:cxn>
                <a:cxn ang="0">
                  <a:pos x="6" y="33"/>
                </a:cxn>
                <a:cxn ang="0">
                  <a:pos x="6" y="40"/>
                </a:cxn>
                <a:cxn ang="0">
                  <a:pos x="6" y="48"/>
                </a:cxn>
                <a:cxn ang="0">
                  <a:pos x="6" y="48"/>
                </a:cxn>
                <a:cxn ang="0">
                  <a:pos x="0" y="55"/>
                </a:cxn>
                <a:cxn ang="0">
                  <a:pos x="0" y="55"/>
                </a:cxn>
                <a:cxn ang="0">
                  <a:pos x="3" y="58"/>
                </a:cxn>
                <a:cxn ang="0">
                  <a:pos x="6" y="60"/>
                </a:cxn>
                <a:cxn ang="0">
                  <a:pos x="10" y="60"/>
                </a:cxn>
                <a:cxn ang="0">
                  <a:pos x="14" y="58"/>
                </a:cxn>
                <a:cxn ang="0">
                  <a:pos x="14" y="58"/>
                </a:cxn>
                <a:cxn ang="0">
                  <a:pos x="21" y="57"/>
                </a:cxn>
                <a:cxn ang="0">
                  <a:pos x="25" y="57"/>
                </a:cxn>
                <a:cxn ang="0">
                  <a:pos x="28" y="55"/>
                </a:cxn>
                <a:cxn ang="0">
                  <a:pos x="31" y="51"/>
                </a:cxn>
                <a:cxn ang="0">
                  <a:pos x="31" y="51"/>
                </a:cxn>
                <a:cxn ang="0">
                  <a:pos x="34" y="45"/>
                </a:cxn>
                <a:cxn ang="0">
                  <a:pos x="40" y="38"/>
                </a:cxn>
                <a:cxn ang="0">
                  <a:pos x="51" y="26"/>
                </a:cxn>
                <a:cxn ang="0">
                  <a:pos x="51" y="26"/>
                </a:cxn>
                <a:cxn ang="0">
                  <a:pos x="50" y="26"/>
                </a:cxn>
                <a:cxn ang="0">
                  <a:pos x="50" y="26"/>
                </a:cxn>
                <a:cxn ang="0">
                  <a:pos x="44" y="21"/>
                </a:cxn>
                <a:cxn ang="0">
                  <a:pos x="38" y="14"/>
                </a:cxn>
                <a:cxn ang="0">
                  <a:pos x="30" y="8"/>
                </a:cxn>
                <a:cxn ang="0">
                  <a:pos x="27" y="6"/>
                </a:cxn>
                <a:cxn ang="0">
                  <a:pos x="23" y="4"/>
                </a:cxn>
                <a:cxn ang="0">
                  <a:pos x="23" y="4"/>
                </a:cxn>
                <a:cxn ang="0">
                  <a:pos x="10" y="0"/>
                </a:cxn>
                <a:cxn ang="0">
                  <a:pos x="10" y="0"/>
                </a:cxn>
                <a:cxn ang="0">
                  <a:pos x="6" y="8"/>
                </a:cxn>
                <a:cxn ang="0">
                  <a:pos x="6" y="8"/>
                </a:cxn>
                <a:cxn ang="0">
                  <a:pos x="4" y="11"/>
                </a:cxn>
                <a:cxn ang="0">
                  <a:pos x="3" y="16"/>
                </a:cxn>
                <a:cxn ang="0">
                  <a:pos x="3" y="21"/>
                </a:cxn>
                <a:cxn ang="0">
                  <a:pos x="3" y="27"/>
                </a:cxn>
                <a:cxn ang="0">
                  <a:pos x="3" y="27"/>
                </a:cxn>
              </a:cxnLst>
              <a:rect l="0" t="0" r="r" b="b"/>
              <a:pathLst>
                <a:path w="51" h="60">
                  <a:moveTo>
                    <a:pt x="3" y="27"/>
                  </a:moveTo>
                  <a:lnTo>
                    <a:pt x="3" y="27"/>
                  </a:lnTo>
                  <a:lnTo>
                    <a:pt x="6" y="33"/>
                  </a:lnTo>
                  <a:lnTo>
                    <a:pt x="6" y="40"/>
                  </a:lnTo>
                  <a:lnTo>
                    <a:pt x="6" y="48"/>
                  </a:lnTo>
                  <a:lnTo>
                    <a:pt x="6" y="48"/>
                  </a:lnTo>
                  <a:lnTo>
                    <a:pt x="0" y="55"/>
                  </a:lnTo>
                  <a:lnTo>
                    <a:pt x="0" y="55"/>
                  </a:lnTo>
                  <a:lnTo>
                    <a:pt x="3" y="58"/>
                  </a:lnTo>
                  <a:lnTo>
                    <a:pt x="6" y="60"/>
                  </a:lnTo>
                  <a:lnTo>
                    <a:pt x="10" y="60"/>
                  </a:lnTo>
                  <a:lnTo>
                    <a:pt x="14" y="58"/>
                  </a:lnTo>
                  <a:lnTo>
                    <a:pt x="14" y="58"/>
                  </a:lnTo>
                  <a:lnTo>
                    <a:pt x="21" y="57"/>
                  </a:lnTo>
                  <a:lnTo>
                    <a:pt x="25" y="57"/>
                  </a:lnTo>
                  <a:lnTo>
                    <a:pt x="28" y="55"/>
                  </a:lnTo>
                  <a:lnTo>
                    <a:pt x="31" y="51"/>
                  </a:lnTo>
                  <a:lnTo>
                    <a:pt x="31" y="51"/>
                  </a:lnTo>
                  <a:lnTo>
                    <a:pt x="34" y="45"/>
                  </a:lnTo>
                  <a:lnTo>
                    <a:pt x="40" y="38"/>
                  </a:lnTo>
                  <a:lnTo>
                    <a:pt x="51" y="26"/>
                  </a:lnTo>
                  <a:lnTo>
                    <a:pt x="51" y="26"/>
                  </a:lnTo>
                  <a:lnTo>
                    <a:pt x="50" y="26"/>
                  </a:lnTo>
                  <a:lnTo>
                    <a:pt x="50" y="26"/>
                  </a:lnTo>
                  <a:lnTo>
                    <a:pt x="44" y="21"/>
                  </a:lnTo>
                  <a:lnTo>
                    <a:pt x="38" y="14"/>
                  </a:lnTo>
                  <a:lnTo>
                    <a:pt x="30" y="8"/>
                  </a:lnTo>
                  <a:lnTo>
                    <a:pt x="27" y="6"/>
                  </a:lnTo>
                  <a:lnTo>
                    <a:pt x="23" y="4"/>
                  </a:lnTo>
                  <a:lnTo>
                    <a:pt x="23" y="4"/>
                  </a:lnTo>
                  <a:lnTo>
                    <a:pt x="10" y="0"/>
                  </a:lnTo>
                  <a:lnTo>
                    <a:pt x="10" y="0"/>
                  </a:lnTo>
                  <a:lnTo>
                    <a:pt x="6" y="8"/>
                  </a:lnTo>
                  <a:lnTo>
                    <a:pt x="6" y="8"/>
                  </a:lnTo>
                  <a:lnTo>
                    <a:pt x="4" y="11"/>
                  </a:lnTo>
                  <a:lnTo>
                    <a:pt x="3" y="16"/>
                  </a:lnTo>
                  <a:lnTo>
                    <a:pt x="3" y="21"/>
                  </a:lnTo>
                  <a:lnTo>
                    <a:pt x="3" y="27"/>
                  </a:lnTo>
                  <a:lnTo>
                    <a:pt x="3" y="27"/>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2" name="Freeform 309">
              <a:extLst>
                <a:ext uri="{FF2B5EF4-FFF2-40B4-BE49-F238E27FC236}">
                  <a16:creationId xmlns:a16="http://schemas.microsoft.com/office/drawing/2014/main" id="{56A59019-832F-4E4E-80EF-E820CCADFE55}"/>
                </a:ext>
              </a:extLst>
            </p:cNvPr>
            <p:cNvSpPr>
              <a:spLocks/>
            </p:cNvSpPr>
            <p:nvPr/>
          </p:nvSpPr>
          <p:spPr bwMode="auto">
            <a:xfrm>
              <a:off x="2383400" y="4275705"/>
              <a:ext cx="137620" cy="155377"/>
            </a:xfrm>
            <a:custGeom>
              <a:avLst/>
              <a:gdLst/>
              <a:ahLst/>
              <a:cxnLst>
                <a:cxn ang="0">
                  <a:pos x="86" y="29"/>
                </a:cxn>
                <a:cxn ang="0">
                  <a:pos x="76" y="19"/>
                </a:cxn>
                <a:cxn ang="0">
                  <a:pos x="74" y="19"/>
                </a:cxn>
                <a:cxn ang="0">
                  <a:pos x="70" y="22"/>
                </a:cxn>
                <a:cxn ang="0">
                  <a:pos x="63" y="19"/>
                </a:cxn>
                <a:cxn ang="0">
                  <a:pos x="57" y="14"/>
                </a:cxn>
                <a:cxn ang="0">
                  <a:pos x="53" y="12"/>
                </a:cxn>
                <a:cxn ang="0">
                  <a:pos x="49" y="10"/>
                </a:cxn>
                <a:cxn ang="0">
                  <a:pos x="33" y="0"/>
                </a:cxn>
                <a:cxn ang="0">
                  <a:pos x="33" y="3"/>
                </a:cxn>
                <a:cxn ang="0">
                  <a:pos x="32" y="4"/>
                </a:cxn>
                <a:cxn ang="0">
                  <a:pos x="22" y="9"/>
                </a:cxn>
                <a:cxn ang="0">
                  <a:pos x="17" y="10"/>
                </a:cxn>
                <a:cxn ang="0">
                  <a:pos x="16" y="20"/>
                </a:cxn>
                <a:cxn ang="0">
                  <a:pos x="16" y="23"/>
                </a:cxn>
                <a:cxn ang="0">
                  <a:pos x="12" y="27"/>
                </a:cxn>
                <a:cxn ang="0">
                  <a:pos x="9" y="30"/>
                </a:cxn>
                <a:cxn ang="0">
                  <a:pos x="7" y="37"/>
                </a:cxn>
                <a:cxn ang="0">
                  <a:pos x="5" y="39"/>
                </a:cxn>
                <a:cxn ang="0">
                  <a:pos x="0" y="43"/>
                </a:cxn>
                <a:cxn ang="0">
                  <a:pos x="2" y="50"/>
                </a:cxn>
                <a:cxn ang="0">
                  <a:pos x="2" y="53"/>
                </a:cxn>
                <a:cxn ang="0">
                  <a:pos x="0" y="60"/>
                </a:cxn>
                <a:cxn ang="0">
                  <a:pos x="0" y="61"/>
                </a:cxn>
                <a:cxn ang="0">
                  <a:pos x="9" y="68"/>
                </a:cxn>
                <a:cxn ang="0">
                  <a:pos x="12" y="70"/>
                </a:cxn>
                <a:cxn ang="0">
                  <a:pos x="16" y="68"/>
                </a:cxn>
                <a:cxn ang="0">
                  <a:pos x="17" y="70"/>
                </a:cxn>
                <a:cxn ang="0">
                  <a:pos x="16" y="77"/>
                </a:cxn>
                <a:cxn ang="0">
                  <a:pos x="10" y="80"/>
                </a:cxn>
                <a:cxn ang="0">
                  <a:pos x="9" y="80"/>
                </a:cxn>
                <a:cxn ang="0">
                  <a:pos x="12" y="86"/>
                </a:cxn>
                <a:cxn ang="0">
                  <a:pos x="12" y="88"/>
                </a:cxn>
                <a:cxn ang="0">
                  <a:pos x="9" y="93"/>
                </a:cxn>
                <a:cxn ang="0">
                  <a:pos x="12" y="97"/>
                </a:cxn>
                <a:cxn ang="0">
                  <a:pos x="14" y="98"/>
                </a:cxn>
                <a:cxn ang="0">
                  <a:pos x="22" y="98"/>
                </a:cxn>
                <a:cxn ang="0">
                  <a:pos x="24" y="100"/>
                </a:cxn>
                <a:cxn ang="0">
                  <a:pos x="30" y="105"/>
                </a:cxn>
                <a:cxn ang="0">
                  <a:pos x="36" y="100"/>
                </a:cxn>
                <a:cxn ang="0">
                  <a:pos x="41" y="84"/>
                </a:cxn>
                <a:cxn ang="0">
                  <a:pos x="47" y="76"/>
                </a:cxn>
                <a:cxn ang="0">
                  <a:pos x="50" y="74"/>
                </a:cxn>
                <a:cxn ang="0">
                  <a:pos x="66" y="68"/>
                </a:cxn>
                <a:cxn ang="0">
                  <a:pos x="78" y="61"/>
                </a:cxn>
                <a:cxn ang="0">
                  <a:pos x="81" y="57"/>
                </a:cxn>
                <a:cxn ang="0">
                  <a:pos x="87" y="46"/>
                </a:cxn>
                <a:cxn ang="0">
                  <a:pos x="90" y="40"/>
                </a:cxn>
                <a:cxn ang="0">
                  <a:pos x="93" y="39"/>
                </a:cxn>
                <a:cxn ang="0">
                  <a:pos x="86" y="29"/>
                </a:cxn>
              </a:cxnLst>
              <a:rect l="0" t="0" r="r" b="b"/>
              <a:pathLst>
                <a:path w="93" h="105">
                  <a:moveTo>
                    <a:pt x="86" y="29"/>
                  </a:moveTo>
                  <a:lnTo>
                    <a:pt x="86" y="29"/>
                  </a:lnTo>
                  <a:lnTo>
                    <a:pt x="78" y="20"/>
                  </a:lnTo>
                  <a:lnTo>
                    <a:pt x="76" y="19"/>
                  </a:lnTo>
                  <a:lnTo>
                    <a:pt x="74" y="19"/>
                  </a:lnTo>
                  <a:lnTo>
                    <a:pt x="74" y="19"/>
                  </a:lnTo>
                  <a:lnTo>
                    <a:pt x="73" y="20"/>
                  </a:lnTo>
                  <a:lnTo>
                    <a:pt x="70" y="22"/>
                  </a:lnTo>
                  <a:lnTo>
                    <a:pt x="66" y="20"/>
                  </a:lnTo>
                  <a:lnTo>
                    <a:pt x="63" y="19"/>
                  </a:lnTo>
                  <a:lnTo>
                    <a:pt x="63" y="19"/>
                  </a:lnTo>
                  <a:lnTo>
                    <a:pt x="57" y="14"/>
                  </a:lnTo>
                  <a:lnTo>
                    <a:pt x="54" y="13"/>
                  </a:lnTo>
                  <a:lnTo>
                    <a:pt x="53" y="12"/>
                  </a:lnTo>
                  <a:lnTo>
                    <a:pt x="53" y="12"/>
                  </a:lnTo>
                  <a:lnTo>
                    <a:pt x="49" y="10"/>
                  </a:lnTo>
                  <a:lnTo>
                    <a:pt x="43" y="9"/>
                  </a:lnTo>
                  <a:lnTo>
                    <a:pt x="33" y="0"/>
                  </a:lnTo>
                  <a:lnTo>
                    <a:pt x="33" y="0"/>
                  </a:lnTo>
                  <a:lnTo>
                    <a:pt x="33" y="3"/>
                  </a:lnTo>
                  <a:lnTo>
                    <a:pt x="33" y="3"/>
                  </a:lnTo>
                  <a:lnTo>
                    <a:pt x="32" y="4"/>
                  </a:lnTo>
                  <a:lnTo>
                    <a:pt x="29" y="7"/>
                  </a:lnTo>
                  <a:lnTo>
                    <a:pt x="22" y="9"/>
                  </a:lnTo>
                  <a:lnTo>
                    <a:pt x="22" y="9"/>
                  </a:lnTo>
                  <a:lnTo>
                    <a:pt x="17" y="10"/>
                  </a:lnTo>
                  <a:lnTo>
                    <a:pt x="16" y="13"/>
                  </a:lnTo>
                  <a:lnTo>
                    <a:pt x="16" y="20"/>
                  </a:lnTo>
                  <a:lnTo>
                    <a:pt x="16" y="20"/>
                  </a:lnTo>
                  <a:lnTo>
                    <a:pt x="16" y="23"/>
                  </a:lnTo>
                  <a:lnTo>
                    <a:pt x="13" y="24"/>
                  </a:lnTo>
                  <a:lnTo>
                    <a:pt x="12" y="27"/>
                  </a:lnTo>
                  <a:lnTo>
                    <a:pt x="9" y="30"/>
                  </a:lnTo>
                  <a:lnTo>
                    <a:pt x="9" y="30"/>
                  </a:lnTo>
                  <a:lnTo>
                    <a:pt x="7" y="36"/>
                  </a:lnTo>
                  <a:lnTo>
                    <a:pt x="7" y="37"/>
                  </a:lnTo>
                  <a:lnTo>
                    <a:pt x="5" y="39"/>
                  </a:lnTo>
                  <a:lnTo>
                    <a:pt x="5" y="39"/>
                  </a:lnTo>
                  <a:lnTo>
                    <a:pt x="2" y="40"/>
                  </a:lnTo>
                  <a:lnTo>
                    <a:pt x="0" y="43"/>
                  </a:lnTo>
                  <a:lnTo>
                    <a:pt x="0" y="46"/>
                  </a:lnTo>
                  <a:lnTo>
                    <a:pt x="2" y="50"/>
                  </a:lnTo>
                  <a:lnTo>
                    <a:pt x="2" y="50"/>
                  </a:lnTo>
                  <a:lnTo>
                    <a:pt x="2" y="53"/>
                  </a:lnTo>
                  <a:lnTo>
                    <a:pt x="2" y="56"/>
                  </a:lnTo>
                  <a:lnTo>
                    <a:pt x="0" y="60"/>
                  </a:lnTo>
                  <a:lnTo>
                    <a:pt x="0" y="60"/>
                  </a:lnTo>
                  <a:lnTo>
                    <a:pt x="0" y="61"/>
                  </a:lnTo>
                  <a:lnTo>
                    <a:pt x="3" y="63"/>
                  </a:lnTo>
                  <a:lnTo>
                    <a:pt x="9" y="68"/>
                  </a:lnTo>
                  <a:lnTo>
                    <a:pt x="9" y="68"/>
                  </a:lnTo>
                  <a:lnTo>
                    <a:pt x="12" y="70"/>
                  </a:lnTo>
                  <a:lnTo>
                    <a:pt x="14" y="70"/>
                  </a:lnTo>
                  <a:lnTo>
                    <a:pt x="16" y="68"/>
                  </a:lnTo>
                  <a:lnTo>
                    <a:pt x="17" y="70"/>
                  </a:lnTo>
                  <a:lnTo>
                    <a:pt x="17" y="70"/>
                  </a:lnTo>
                  <a:lnTo>
                    <a:pt x="17" y="73"/>
                  </a:lnTo>
                  <a:lnTo>
                    <a:pt x="16" y="77"/>
                  </a:lnTo>
                  <a:lnTo>
                    <a:pt x="14" y="78"/>
                  </a:lnTo>
                  <a:lnTo>
                    <a:pt x="10" y="80"/>
                  </a:lnTo>
                  <a:lnTo>
                    <a:pt x="10" y="80"/>
                  </a:lnTo>
                  <a:lnTo>
                    <a:pt x="9" y="80"/>
                  </a:lnTo>
                  <a:lnTo>
                    <a:pt x="9" y="80"/>
                  </a:lnTo>
                  <a:lnTo>
                    <a:pt x="12" y="86"/>
                  </a:lnTo>
                  <a:lnTo>
                    <a:pt x="12" y="87"/>
                  </a:lnTo>
                  <a:lnTo>
                    <a:pt x="12" y="88"/>
                  </a:lnTo>
                  <a:lnTo>
                    <a:pt x="12" y="88"/>
                  </a:lnTo>
                  <a:lnTo>
                    <a:pt x="9" y="93"/>
                  </a:lnTo>
                  <a:lnTo>
                    <a:pt x="9" y="94"/>
                  </a:lnTo>
                  <a:lnTo>
                    <a:pt x="12" y="97"/>
                  </a:lnTo>
                  <a:lnTo>
                    <a:pt x="12" y="97"/>
                  </a:lnTo>
                  <a:lnTo>
                    <a:pt x="14" y="98"/>
                  </a:lnTo>
                  <a:lnTo>
                    <a:pt x="19" y="98"/>
                  </a:lnTo>
                  <a:lnTo>
                    <a:pt x="22" y="98"/>
                  </a:lnTo>
                  <a:lnTo>
                    <a:pt x="24" y="100"/>
                  </a:lnTo>
                  <a:lnTo>
                    <a:pt x="24" y="100"/>
                  </a:lnTo>
                  <a:lnTo>
                    <a:pt x="27" y="104"/>
                  </a:lnTo>
                  <a:lnTo>
                    <a:pt x="30" y="105"/>
                  </a:lnTo>
                  <a:lnTo>
                    <a:pt x="33" y="104"/>
                  </a:lnTo>
                  <a:lnTo>
                    <a:pt x="36" y="100"/>
                  </a:lnTo>
                  <a:lnTo>
                    <a:pt x="36" y="100"/>
                  </a:lnTo>
                  <a:lnTo>
                    <a:pt x="41" y="84"/>
                  </a:lnTo>
                  <a:lnTo>
                    <a:pt x="46" y="77"/>
                  </a:lnTo>
                  <a:lnTo>
                    <a:pt x="47" y="76"/>
                  </a:lnTo>
                  <a:lnTo>
                    <a:pt x="50" y="74"/>
                  </a:lnTo>
                  <a:lnTo>
                    <a:pt x="50" y="74"/>
                  </a:lnTo>
                  <a:lnTo>
                    <a:pt x="57" y="71"/>
                  </a:lnTo>
                  <a:lnTo>
                    <a:pt x="66" y="68"/>
                  </a:lnTo>
                  <a:lnTo>
                    <a:pt x="74" y="64"/>
                  </a:lnTo>
                  <a:lnTo>
                    <a:pt x="78" y="61"/>
                  </a:lnTo>
                  <a:lnTo>
                    <a:pt x="81" y="57"/>
                  </a:lnTo>
                  <a:lnTo>
                    <a:pt x="81" y="57"/>
                  </a:lnTo>
                  <a:lnTo>
                    <a:pt x="86" y="50"/>
                  </a:lnTo>
                  <a:lnTo>
                    <a:pt x="87" y="46"/>
                  </a:lnTo>
                  <a:lnTo>
                    <a:pt x="88" y="43"/>
                  </a:lnTo>
                  <a:lnTo>
                    <a:pt x="90" y="40"/>
                  </a:lnTo>
                  <a:lnTo>
                    <a:pt x="90" y="40"/>
                  </a:lnTo>
                  <a:lnTo>
                    <a:pt x="93" y="39"/>
                  </a:lnTo>
                  <a:lnTo>
                    <a:pt x="91" y="36"/>
                  </a:lnTo>
                  <a:lnTo>
                    <a:pt x="86" y="29"/>
                  </a:lnTo>
                  <a:lnTo>
                    <a:pt x="86" y="29"/>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sp>
          <p:nvSpPr>
            <p:cNvPr id="23" name="Freeform 351">
              <a:extLst>
                <a:ext uri="{FF2B5EF4-FFF2-40B4-BE49-F238E27FC236}">
                  <a16:creationId xmlns:a16="http://schemas.microsoft.com/office/drawing/2014/main" id="{6EFC4F44-A2D3-D84B-98F8-E99E28B7E8E8}"/>
                </a:ext>
              </a:extLst>
            </p:cNvPr>
            <p:cNvSpPr>
              <a:spLocks/>
            </p:cNvSpPr>
            <p:nvPr/>
          </p:nvSpPr>
          <p:spPr bwMode="auto">
            <a:xfrm>
              <a:off x="2842133" y="4055217"/>
              <a:ext cx="23676" cy="16278"/>
            </a:xfrm>
            <a:custGeom>
              <a:avLst/>
              <a:gdLst/>
              <a:ahLst/>
              <a:cxnLst>
                <a:cxn ang="0">
                  <a:pos x="2" y="11"/>
                </a:cxn>
                <a:cxn ang="0">
                  <a:pos x="2" y="11"/>
                </a:cxn>
                <a:cxn ang="0">
                  <a:pos x="2" y="10"/>
                </a:cxn>
                <a:cxn ang="0">
                  <a:pos x="2" y="7"/>
                </a:cxn>
                <a:cxn ang="0">
                  <a:pos x="3" y="6"/>
                </a:cxn>
                <a:cxn ang="0">
                  <a:pos x="2" y="4"/>
                </a:cxn>
                <a:cxn ang="0">
                  <a:pos x="2" y="4"/>
                </a:cxn>
                <a:cxn ang="0">
                  <a:pos x="0" y="3"/>
                </a:cxn>
                <a:cxn ang="0">
                  <a:pos x="2" y="1"/>
                </a:cxn>
                <a:cxn ang="0">
                  <a:pos x="5" y="0"/>
                </a:cxn>
                <a:cxn ang="0">
                  <a:pos x="9" y="0"/>
                </a:cxn>
                <a:cxn ang="0">
                  <a:pos x="13" y="0"/>
                </a:cxn>
                <a:cxn ang="0">
                  <a:pos x="13" y="0"/>
                </a:cxn>
                <a:cxn ang="0">
                  <a:pos x="16" y="3"/>
                </a:cxn>
                <a:cxn ang="0">
                  <a:pos x="16" y="6"/>
                </a:cxn>
                <a:cxn ang="0">
                  <a:pos x="16" y="8"/>
                </a:cxn>
                <a:cxn ang="0">
                  <a:pos x="15" y="10"/>
                </a:cxn>
                <a:cxn ang="0">
                  <a:pos x="15" y="10"/>
                </a:cxn>
                <a:cxn ang="0">
                  <a:pos x="7" y="11"/>
                </a:cxn>
                <a:cxn ang="0">
                  <a:pos x="5" y="11"/>
                </a:cxn>
                <a:cxn ang="0">
                  <a:pos x="2" y="11"/>
                </a:cxn>
                <a:cxn ang="0">
                  <a:pos x="2" y="11"/>
                </a:cxn>
              </a:cxnLst>
              <a:rect l="0" t="0" r="r" b="b"/>
              <a:pathLst>
                <a:path w="16" h="11">
                  <a:moveTo>
                    <a:pt x="2" y="11"/>
                  </a:moveTo>
                  <a:lnTo>
                    <a:pt x="2" y="11"/>
                  </a:lnTo>
                  <a:lnTo>
                    <a:pt x="2" y="10"/>
                  </a:lnTo>
                  <a:lnTo>
                    <a:pt x="2" y="7"/>
                  </a:lnTo>
                  <a:lnTo>
                    <a:pt x="3" y="6"/>
                  </a:lnTo>
                  <a:lnTo>
                    <a:pt x="2" y="4"/>
                  </a:lnTo>
                  <a:lnTo>
                    <a:pt x="2" y="4"/>
                  </a:lnTo>
                  <a:lnTo>
                    <a:pt x="0" y="3"/>
                  </a:lnTo>
                  <a:lnTo>
                    <a:pt x="2" y="1"/>
                  </a:lnTo>
                  <a:lnTo>
                    <a:pt x="5" y="0"/>
                  </a:lnTo>
                  <a:lnTo>
                    <a:pt x="9" y="0"/>
                  </a:lnTo>
                  <a:lnTo>
                    <a:pt x="13" y="0"/>
                  </a:lnTo>
                  <a:lnTo>
                    <a:pt x="13" y="0"/>
                  </a:lnTo>
                  <a:lnTo>
                    <a:pt x="16" y="3"/>
                  </a:lnTo>
                  <a:lnTo>
                    <a:pt x="16" y="6"/>
                  </a:lnTo>
                  <a:lnTo>
                    <a:pt x="16" y="8"/>
                  </a:lnTo>
                  <a:lnTo>
                    <a:pt x="15" y="10"/>
                  </a:lnTo>
                  <a:lnTo>
                    <a:pt x="15" y="10"/>
                  </a:lnTo>
                  <a:lnTo>
                    <a:pt x="7" y="11"/>
                  </a:lnTo>
                  <a:lnTo>
                    <a:pt x="5" y="11"/>
                  </a:lnTo>
                  <a:lnTo>
                    <a:pt x="2" y="11"/>
                  </a:lnTo>
                  <a:lnTo>
                    <a:pt x="2" y="11"/>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defRPr/>
              </a:pPr>
              <a:endParaRPr lang="en-US" kern="0" dirty="0">
                <a:solidFill>
                  <a:srgbClr val="3F3F3F"/>
                </a:solidFill>
                <a:latin typeface="Gill Sans"/>
              </a:endParaRPr>
            </a:p>
          </p:txBody>
        </p:sp>
      </p:grpSp>
    </p:spTree>
    <p:extLst>
      <p:ext uri="{BB962C8B-B14F-4D97-AF65-F5344CB8AC3E}">
        <p14:creationId xmlns:p14="http://schemas.microsoft.com/office/powerpoint/2010/main" val="13259152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44EB9-8DE4-284D-9FAB-64A814D7B914}"/>
              </a:ext>
            </a:extLst>
          </p:cNvPr>
          <p:cNvSpPr>
            <a:spLocks noGrp="1"/>
          </p:cNvSpPr>
          <p:nvPr>
            <p:ph type="title"/>
          </p:nvPr>
        </p:nvSpPr>
        <p:spPr/>
        <p:txBody>
          <a:bodyPr/>
          <a:lstStyle/>
          <a:p>
            <a:r>
              <a:rPr lang="en-US" dirty="0"/>
              <a:t>India</a:t>
            </a:r>
          </a:p>
        </p:txBody>
      </p:sp>
      <p:grpSp>
        <p:nvGrpSpPr>
          <p:cNvPr id="3" name="Group 2">
            <a:extLst>
              <a:ext uri="{FF2B5EF4-FFF2-40B4-BE49-F238E27FC236}">
                <a16:creationId xmlns:a16="http://schemas.microsoft.com/office/drawing/2014/main" id="{833BD79A-A021-E94B-BB85-BCBF1E424CDA}"/>
              </a:ext>
            </a:extLst>
          </p:cNvPr>
          <p:cNvGrpSpPr/>
          <p:nvPr/>
        </p:nvGrpSpPr>
        <p:grpSpPr>
          <a:xfrm>
            <a:off x="3993231" y="1378318"/>
            <a:ext cx="4205539" cy="4622922"/>
            <a:chOff x="8029079" y="2927480"/>
            <a:chExt cx="8466170" cy="9306404"/>
          </a:xfrm>
          <a:solidFill>
            <a:schemeClr val="bg1">
              <a:lumMod val="75000"/>
            </a:schemeClr>
          </a:solidFill>
        </p:grpSpPr>
        <p:sp>
          <p:nvSpPr>
            <p:cNvPr id="4" name="Freeform 1">
              <a:extLst>
                <a:ext uri="{FF2B5EF4-FFF2-40B4-BE49-F238E27FC236}">
                  <a16:creationId xmlns:a16="http://schemas.microsoft.com/office/drawing/2014/main" id="{3658F03F-BA68-DF43-BE32-57465019BDA9}"/>
                </a:ext>
              </a:extLst>
            </p:cNvPr>
            <p:cNvSpPr>
              <a:spLocks noChangeArrowheads="1"/>
            </p:cNvSpPr>
            <p:nvPr/>
          </p:nvSpPr>
          <p:spPr bwMode="auto">
            <a:xfrm>
              <a:off x="9704776" y="6257592"/>
              <a:ext cx="2657473" cy="1804129"/>
            </a:xfrm>
            <a:custGeom>
              <a:avLst/>
              <a:gdLst>
                <a:gd name="T0" fmla="*/ 4767 w 6149"/>
                <a:gd name="T1" fmla="*/ 3541 h 4174"/>
                <a:gd name="T2" fmla="*/ 5057 w 6149"/>
                <a:gd name="T3" fmla="*/ 3274 h 4174"/>
                <a:gd name="T4" fmla="*/ 5391 w 6149"/>
                <a:gd name="T5" fmla="*/ 3037 h 4174"/>
                <a:gd name="T6" fmla="*/ 5473 w 6149"/>
                <a:gd name="T7" fmla="*/ 2532 h 4174"/>
                <a:gd name="T8" fmla="*/ 5688 w 6149"/>
                <a:gd name="T9" fmla="*/ 2339 h 4174"/>
                <a:gd name="T10" fmla="*/ 5992 w 6149"/>
                <a:gd name="T11" fmla="*/ 2272 h 4174"/>
                <a:gd name="T12" fmla="*/ 6029 w 6149"/>
                <a:gd name="T13" fmla="*/ 2072 h 4174"/>
                <a:gd name="T14" fmla="*/ 6051 w 6149"/>
                <a:gd name="T15" fmla="*/ 1775 h 4174"/>
                <a:gd name="T16" fmla="*/ 5829 w 6149"/>
                <a:gd name="T17" fmla="*/ 1738 h 4174"/>
                <a:gd name="T18" fmla="*/ 5651 w 6149"/>
                <a:gd name="T19" fmla="*/ 1552 h 4174"/>
                <a:gd name="T20" fmla="*/ 5243 w 6149"/>
                <a:gd name="T21" fmla="*/ 1270 h 4174"/>
                <a:gd name="T22" fmla="*/ 5064 w 6149"/>
                <a:gd name="T23" fmla="*/ 1307 h 4174"/>
                <a:gd name="T24" fmla="*/ 4842 w 6149"/>
                <a:gd name="T25" fmla="*/ 1292 h 4174"/>
                <a:gd name="T26" fmla="*/ 4738 w 6149"/>
                <a:gd name="T27" fmla="*/ 1344 h 4174"/>
                <a:gd name="T28" fmla="*/ 4522 w 6149"/>
                <a:gd name="T29" fmla="*/ 1344 h 4174"/>
                <a:gd name="T30" fmla="*/ 4463 w 6149"/>
                <a:gd name="T31" fmla="*/ 1322 h 4174"/>
                <a:gd name="T32" fmla="*/ 4181 w 6149"/>
                <a:gd name="T33" fmla="*/ 1188 h 4174"/>
                <a:gd name="T34" fmla="*/ 3891 w 6149"/>
                <a:gd name="T35" fmla="*/ 1173 h 4174"/>
                <a:gd name="T36" fmla="*/ 3616 w 6149"/>
                <a:gd name="T37" fmla="*/ 1255 h 4174"/>
                <a:gd name="T38" fmla="*/ 3535 w 6149"/>
                <a:gd name="T39" fmla="*/ 1121 h 4174"/>
                <a:gd name="T40" fmla="*/ 3535 w 6149"/>
                <a:gd name="T41" fmla="*/ 943 h 4174"/>
                <a:gd name="T42" fmla="*/ 3200 w 6149"/>
                <a:gd name="T43" fmla="*/ 1106 h 4174"/>
                <a:gd name="T44" fmla="*/ 3490 w 6149"/>
                <a:gd name="T45" fmla="*/ 1619 h 4174"/>
                <a:gd name="T46" fmla="*/ 3416 w 6149"/>
                <a:gd name="T47" fmla="*/ 1938 h 4174"/>
                <a:gd name="T48" fmla="*/ 3104 w 6149"/>
                <a:gd name="T49" fmla="*/ 1864 h 4174"/>
                <a:gd name="T50" fmla="*/ 3178 w 6149"/>
                <a:gd name="T51" fmla="*/ 1233 h 4174"/>
                <a:gd name="T52" fmla="*/ 3349 w 6149"/>
                <a:gd name="T53" fmla="*/ 914 h 4174"/>
                <a:gd name="T54" fmla="*/ 3512 w 6149"/>
                <a:gd name="T55" fmla="*/ 654 h 4174"/>
                <a:gd name="T56" fmla="*/ 3572 w 6149"/>
                <a:gd name="T57" fmla="*/ 104 h 4174"/>
                <a:gd name="T58" fmla="*/ 3119 w 6149"/>
                <a:gd name="T59" fmla="*/ 7 h 4174"/>
                <a:gd name="T60" fmla="*/ 2673 w 6149"/>
                <a:gd name="T61" fmla="*/ 260 h 4174"/>
                <a:gd name="T62" fmla="*/ 1953 w 6149"/>
                <a:gd name="T63" fmla="*/ 676 h 4174"/>
                <a:gd name="T64" fmla="*/ 2376 w 6149"/>
                <a:gd name="T65" fmla="*/ 1084 h 4174"/>
                <a:gd name="T66" fmla="*/ 2302 w 6149"/>
                <a:gd name="T67" fmla="*/ 1263 h 4174"/>
                <a:gd name="T68" fmla="*/ 2257 w 6149"/>
                <a:gd name="T69" fmla="*/ 1597 h 4174"/>
                <a:gd name="T70" fmla="*/ 1945 w 6149"/>
                <a:gd name="T71" fmla="*/ 1894 h 4174"/>
                <a:gd name="T72" fmla="*/ 1589 w 6149"/>
                <a:gd name="T73" fmla="*/ 1834 h 4174"/>
                <a:gd name="T74" fmla="*/ 1277 w 6149"/>
                <a:gd name="T75" fmla="*/ 2161 h 4174"/>
                <a:gd name="T76" fmla="*/ 1374 w 6149"/>
                <a:gd name="T77" fmla="*/ 1797 h 4174"/>
                <a:gd name="T78" fmla="*/ 1285 w 6149"/>
                <a:gd name="T79" fmla="*/ 1471 h 4174"/>
                <a:gd name="T80" fmla="*/ 935 w 6149"/>
                <a:gd name="T81" fmla="*/ 1218 h 4174"/>
                <a:gd name="T82" fmla="*/ 735 w 6149"/>
                <a:gd name="T83" fmla="*/ 1381 h 4174"/>
                <a:gd name="T84" fmla="*/ 653 w 6149"/>
                <a:gd name="T85" fmla="*/ 1775 h 4174"/>
                <a:gd name="T86" fmla="*/ 690 w 6149"/>
                <a:gd name="T87" fmla="*/ 2287 h 4174"/>
                <a:gd name="T88" fmla="*/ 319 w 6149"/>
                <a:gd name="T89" fmla="*/ 2621 h 4174"/>
                <a:gd name="T90" fmla="*/ 230 w 6149"/>
                <a:gd name="T91" fmla="*/ 2948 h 4174"/>
                <a:gd name="T92" fmla="*/ 89 w 6149"/>
                <a:gd name="T93" fmla="*/ 3422 h 4174"/>
                <a:gd name="T94" fmla="*/ 623 w 6149"/>
                <a:gd name="T95" fmla="*/ 3705 h 4174"/>
                <a:gd name="T96" fmla="*/ 1366 w 6149"/>
                <a:gd name="T97" fmla="*/ 3942 h 4174"/>
                <a:gd name="T98" fmla="*/ 1663 w 6149"/>
                <a:gd name="T99" fmla="*/ 4098 h 4174"/>
                <a:gd name="T100" fmla="*/ 1886 w 6149"/>
                <a:gd name="T101" fmla="*/ 3853 h 4174"/>
                <a:gd name="T102" fmla="*/ 2473 w 6149"/>
                <a:gd name="T103" fmla="*/ 3883 h 4174"/>
                <a:gd name="T104" fmla="*/ 2510 w 6149"/>
                <a:gd name="T105" fmla="*/ 3987 h 4174"/>
                <a:gd name="T106" fmla="*/ 3074 w 6149"/>
                <a:gd name="T107" fmla="*/ 3913 h 4174"/>
                <a:gd name="T108" fmla="*/ 3549 w 6149"/>
                <a:gd name="T109" fmla="*/ 3876 h 4174"/>
                <a:gd name="T110" fmla="*/ 4121 w 6149"/>
                <a:gd name="T111" fmla="*/ 3972 h 4174"/>
                <a:gd name="T112" fmla="*/ 4567 w 6149"/>
                <a:gd name="T113" fmla="*/ 4135 h 4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9" h="4174">
                  <a:moveTo>
                    <a:pt x="4648" y="3838"/>
                  </a:moveTo>
                  <a:lnTo>
                    <a:pt x="4648" y="3838"/>
                  </a:lnTo>
                  <a:cubicBezTo>
                    <a:pt x="4708" y="3846"/>
                    <a:pt x="4738" y="3801"/>
                    <a:pt x="4730" y="3742"/>
                  </a:cubicBezTo>
                  <a:cubicBezTo>
                    <a:pt x="4723" y="3719"/>
                    <a:pt x="4708" y="3690"/>
                    <a:pt x="4708" y="3660"/>
                  </a:cubicBezTo>
                  <a:cubicBezTo>
                    <a:pt x="4708" y="3623"/>
                    <a:pt x="4738" y="3638"/>
                    <a:pt x="4767" y="3623"/>
                  </a:cubicBezTo>
                  <a:cubicBezTo>
                    <a:pt x="4767" y="3593"/>
                    <a:pt x="4767" y="3564"/>
                    <a:pt x="4767" y="3541"/>
                  </a:cubicBezTo>
                  <a:cubicBezTo>
                    <a:pt x="4804" y="3534"/>
                    <a:pt x="4827" y="3564"/>
                    <a:pt x="4856" y="3556"/>
                  </a:cubicBezTo>
                  <a:cubicBezTo>
                    <a:pt x="4856" y="3541"/>
                    <a:pt x="4856" y="3519"/>
                    <a:pt x="4856" y="3504"/>
                  </a:cubicBezTo>
                  <a:cubicBezTo>
                    <a:pt x="4819" y="3489"/>
                    <a:pt x="4871" y="3430"/>
                    <a:pt x="4879" y="3415"/>
                  </a:cubicBezTo>
                  <a:cubicBezTo>
                    <a:pt x="4893" y="3415"/>
                    <a:pt x="4908" y="3415"/>
                    <a:pt x="4931" y="3415"/>
                  </a:cubicBezTo>
                  <a:cubicBezTo>
                    <a:pt x="4931" y="3370"/>
                    <a:pt x="4931" y="3326"/>
                    <a:pt x="4931" y="3281"/>
                  </a:cubicBezTo>
                  <a:cubicBezTo>
                    <a:pt x="4975" y="3281"/>
                    <a:pt x="5012" y="3281"/>
                    <a:pt x="5057" y="3274"/>
                  </a:cubicBezTo>
                  <a:cubicBezTo>
                    <a:pt x="5072" y="3267"/>
                    <a:pt x="5079" y="3252"/>
                    <a:pt x="5101" y="3259"/>
                  </a:cubicBezTo>
                  <a:cubicBezTo>
                    <a:pt x="5124" y="3259"/>
                    <a:pt x="5139" y="3281"/>
                    <a:pt x="5161" y="3274"/>
                  </a:cubicBezTo>
                  <a:cubicBezTo>
                    <a:pt x="5161" y="3222"/>
                    <a:pt x="5243" y="3237"/>
                    <a:pt x="5265" y="3207"/>
                  </a:cubicBezTo>
                  <a:cubicBezTo>
                    <a:pt x="5287" y="3177"/>
                    <a:pt x="5280" y="3170"/>
                    <a:pt x="5309" y="3155"/>
                  </a:cubicBezTo>
                  <a:cubicBezTo>
                    <a:pt x="5332" y="3140"/>
                    <a:pt x="5369" y="3140"/>
                    <a:pt x="5369" y="3103"/>
                  </a:cubicBezTo>
                  <a:cubicBezTo>
                    <a:pt x="5376" y="3081"/>
                    <a:pt x="5369" y="3060"/>
                    <a:pt x="5391" y="3037"/>
                  </a:cubicBezTo>
                  <a:cubicBezTo>
                    <a:pt x="5413" y="3023"/>
                    <a:pt x="5436" y="3008"/>
                    <a:pt x="5443" y="2985"/>
                  </a:cubicBezTo>
                  <a:cubicBezTo>
                    <a:pt x="5443" y="2955"/>
                    <a:pt x="5443" y="2933"/>
                    <a:pt x="5465" y="2911"/>
                  </a:cubicBezTo>
                  <a:cubicBezTo>
                    <a:pt x="5480" y="2896"/>
                    <a:pt x="5503" y="2896"/>
                    <a:pt x="5495" y="2866"/>
                  </a:cubicBezTo>
                  <a:cubicBezTo>
                    <a:pt x="5584" y="2859"/>
                    <a:pt x="5651" y="2859"/>
                    <a:pt x="5644" y="2748"/>
                  </a:cubicBezTo>
                  <a:cubicBezTo>
                    <a:pt x="5636" y="2703"/>
                    <a:pt x="5577" y="2592"/>
                    <a:pt x="5517" y="2592"/>
                  </a:cubicBezTo>
                  <a:cubicBezTo>
                    <a:pt x="5517" y="2570"/>
                    <a:pt x="5495" y="2540"/>
                    <a:pt x="5473" y="2532"/>
                  </a:cubicBezTo>
                  <a:cubicBezTo>
                    <a:pt x="5450" y="2584"/>
                    <a:pt x="5428" y="2532"/>
                    <a:pt x="5398" y="2518"/>
                  </a:cubicBezTo>
                  <a:cubicBezTo>
                    <a:pt x="5361" y="2503"/>
                    <a:pt x="5324" y="2555"/>
                    <a:pt x="5295" y="2532"/>
                  </a:cubicBezTo>
                  <a:cubicBezTo>
                    <a:pt x="5228" y="2473"/>
                    <a:pt x="5272" y="2443"/>
                    <a:pt x="5324" y="2399"/>
                  </a:cubicBezTo>
                  <a:cubicBezTo>
                    <a:pt x="5384" y="2347"/>
                    <a:pt x="5332" y="2332"/>
                    <a:pt x="5287" y="2302"/>
                  </a:cubicBezTo>
                  <a:cubicBezTo>
                    <a:pt x="5235" y="2265"/>
                    <a:pt x="5391" y="2198"/>
                    <a:pt x="5384" y="2295"/>
                  </a:cubicBezTo>
                  <a:cubicBezTo>
                    <a:pt x="5421" y="2302"/>
                    <a:pt x="5695" y="2265"/>
                    <a:pt x="5688" y="2339"/>
                  </a:cubicBezTo>
                  <a:cubicBezTo>
                    <a:pt x="5718" y="2339"/>
                    <a:pt x="5785" y="2310"/>
                    <a:pt x="5792" y="2347"/>
                  </a:cubicBezTo>
                  <a:cubicBezTo>
                    <a:pt x="5814" y="2354"/>
                    <a:pt x="5837" y="2339"/>
                    <a:pt x="5859" y="2347"/>
                  </a:cubicBezTo>
                  <a:cubicBezTo>
                    <a:pt x="5881" y="2354"/>
                    <a:pt x="5874" y="2399"/>
                    <a:pt x="5896" y="2391"/>
                  </a:cubicBezTo>
                  <a:cubicBezTo>
                    <a:pt x="5917" y="2376"/>
                    <a:pt x="5903" y="2339"/>
                    <a:pt x="5925" y="2324"/>
                  </a:cubicBezTo>
                  <a:cubicBezTo>
                    <a:pt x="5940" y="2317"/>
                    <a:pt x="5962" y="2332"/>
                    <a:pt x="5977" y="2324"/>
                  </a:cubicBezTo>
                  <a:cubicBezTo>
                    <a:pt x="5999" y="2317"/>
                    <a:pt x="5992" y="2287"/>
                    <a:pt x="5992" y="2272"/>
                  </a:cubicBezTo>
                  <a:cubicBezTo>
                    <a:pt x="5999" y="2243"/>
                    <a:pt x="6036" y="2250"/>
                    <a:pt x="6059" y="2250"/>
                  </a:cubicBezTo>
                  <a:cubicBezTo>
                    <a:pt x="6073" y="2243"/>
                    <a:pt x="6088" y="2228"/>
                    <a:pt x="6103" y="2206"/>
                  </a:cubicBezTo>
                  <a:cubicBezTo>
                    <a:pt x="6096" y="2206"/>
                    <a:pt x="6096" y="2198"/>
                    <a:pt x="6096" y="2191"/>
                  </a:cubicBezTo>
                  <a:cubicBezTo>
                    <a:pt x="6066" y="2191"/>
                    <a:pt x="6081" y="2161"/>
                    <a:pt x="6073" y="2139"/>
                  </a:cubicBezTo>
                  <a:cubicBezTo>
                    <a:pt x="6066" y="2124"/>
                    <a:pt x="6051" y="2109"/>
                    <a:pt x="6029" y="2102"/>
                  </a:cubicBezTo>
                  <a:cubicBezTo>
                    <a:pt x="6021" y="2094"/>
                    <a:pt x="6021" y="2079"/>
                    <a:pt x="6029" y="2072"/>
                  </a:cubicBezTo>
                  <a:cubicBezTo>
                    <a:pt x="6036" y="2079"/>
                    <a:pt x="6051" y="2072"/>
                    <a:pt x="6059" y="2072"/>
                  </a:cubicBezTo>
                  <a:cubicBezTo>
                    <a:pt x="6059" y="2027"/>
                    <a:pt x="6081" y="2005"/>
                    <a:pt x="6096" y="1961"/>
                  </a:cubicBezTo>
                  <a:cubicBezTo>
                    <a:pt x="6110" y="1931"/>
                    <a:pt x="6110" y="1894"/>
                    <a:pt x="6066" y="1894"/>
                  </a:cubicBezTo>
                  <a:cubicBezTo>
                    <a:pt x="6066" y="1879"/>
                    <a:pt x="6066" y="1857"/>
                    <a:pt x="6066" y="1834"/>
                  </a:cubicBezTo>
                  <a:cubicBezTo>
                    <a:pt x="6059" y="1834"/>
                    <a:pt x="6051" y="1834"/>
                    <a:pt x="6044" y="1834"/>
                  </a:cubicBezTo>
                  <a:cubicBezTo>
                    <a:pt x="6044" y="1812"/>
                    <a:pt x="6044" y="1797"/>
                    <a:pt x="6051" y="1775"/>
                  </a:cubicBezTo>
                  <a:cubicBezTo>
                    <a:pt x="6088" y="1797"/>
                    <a:pt x="6148" y="1767"/>
                    <a:pt x="6110" y="1716"/>
                  </a:cubicBezTo>
                  <a:cubicBezTo>
                    <a:pt x="6096" y="1708"/>
                    <a:pt x="6081" y="1716"/>
                    <a:pt x="6073" y="1708"/>
                  </a:cubicBezTo>
                  <a:cubicBezTo>
                    <a:pt x="6073" y="1693"/>
                    <a:pt x="6073" y="1686"/>
                    <a:pt x="6066" y="1678"/>
                  </a:cubicBezTo>
                  <a:cubicBezTo>
                    <a:pt x="6051" y="1656"/>
                    <a:pt x="6029" y="1656"/>
                    <a:pt x="6006" y="1656"/>
                  </a:cubicBezTo>
                  <a:cubicBezTo>
                    <a:pt x="5977" y="1693"/>
                    <a:pt x="5874" y="1671"/>
                    <a:pt x="5829" y="1678"/>
                  </a:cubicBezTo>
                  <a:cubicBezTo>
                    <a:pt x="5822" y="1693"/>
                    <a:pt x="5837" y="1716"/>
                    <a:pt x="5829" y="1738"/>
                  </a:cubicBezTo>
                  <a:cubicBezTo>
                    <a:pt x="5800" y="1745"/>
                    <a:pt x="5807" y="1708"/>
                    <a:pt x="5777" y="1716"/>
                  </a:cubicBezTo>
                  <a:cubicBezTo>
                    <a:pt x="5777" y="1701"/>
                    <a:pt x="5777" y="1686"/>
                    <a:pt x="5777" y="1671"/>
                  </a:cubicBezTo>
                  <a:cubicBezTo>
                    <a:pt x="5762" y="1671"/>
                    <a:pt x="5748" y="1671"/>
                    <a:pt x="5733" y="1663"/>
                  </a:cubicBezTo>
                  <a:cubicBezTo>
                    <a:pt x="5733" y="1641"/>
                    <a:pt x="5733" y="1619"/>
                    <a:pt x="5733" y="1589"/>
                  </a:cubicBezTo>
                  <a:cubicBezTo>
                    <a:pt x="5703" y="1589"/>
                    <a:pt x="5681" y="1589"/>
                    <a:pt x="5651" y="1589"/>
                  </a:cubicBezTo>
                  <a:cubicBezTo>
                    <a:pt x="5651" y="1574"/>
                    <a:pt x="5651" y="1560"/>
                    <a:pt x="5651" y="1552"/>
                  </a:cubicBezTo>
                  <a:cubicBezTo>
                    <a:pt x="5621" y="1545"/>
                    <a:pt x="5555" y="1567"/>
                    <a:pt x="5525" y="1537"/>
                  </a:cubicBezTo>
                  <a:cubicBezTo>
                    <a:pt x="5510" y="1508"/>
                    <a:pt x="5525" y="1463"/>
                    <a:pt x="5525" y="1433"/>
                  </a:cubicBezTo>
                  <a:cubicBezTo>
                    <a:pt x="5488" y="1426"/>
                    <a:pt x="5413" y="1448"/>
                    <a:pt x="5398" y="1396"/>
                  </a:cubicBezTo>
                  <a:cubicBezTo>
                    <a:pt x="5391" y="1359"/>
                    <a:pt x="5347" y="1381"/>
                    <a:pt x="5317" y="1374"/>
                  </a:cubicBezTo>
                  <a:cubicBezTo>
                    <a:pt x="5309" y="1344"/>
                    <a:pt x="5347" y="1300"/>
                    <a:pt x="5317" y="1277"/>
                  </a:cubicBezTo>
                  <a:cubicBezTo>
                    <a:pt x="5302" y="1263"/>
                    <a:pt x="5265" y="1270"/>
                    <a:pt x="5243" y="1270"/>
                  </a:cubicBezTo>
                  <a:cubicBezTo>
                    <a:pt x="5250" y="1300"/>
                    <a:pt x="5228" y="1314"/>
                    <a:pt x="5228" y="1344"/>
                  </a:cubicBezTo>
                  <a:cubicBezTo>
                    <a:pt x="5205" y="1352"/>
                    <a:pt x="5190" y="1337"/>
                    <a:pt x="5176" y="1322"/>
                  </a:cubicBezTo>
                  <a:cubicBezTo>
                    <a:pt x="5183" y="1307"/>
                    <a:pt x="5176" y="1300"/>
                    <a:pt x="5176" y="1292"/>
                  </a:cubicBezTo>
                  <a:cubicBezTo>
                    <a:pt x="5139" y="1285"/>
                    <a:pt x="5124" y="1314"/>
                    <a:pt x="5109" y="1329"/>
                  </a:cubicBezTo>
                  <a:cubicBezTo>
                    <a:pt x="5109" y="1322"/>
                    <a:pt x="5101" y="1314"/>
                    <a:pt x="5109" y="1300"/>
                  </a:cubicBezTo>
                  <a:cubicBezTo>
                    <a:pt x="5094" y="1300"/>
                    <a:pt x="5079" y="1300"/>
                    <a:pt x="5064" y="1307"/>
                  </a:cubicBezTo>
                  <a:cubicBezTo>
                    <a:pt x="5109" y="1366"/>
                    <a:pt x="5020" y="1389"/>
                    <a:pt x="5042" y="1448"/>
                  </a:cubicBezTo>
                  <a:cubicBezTo>
                    <a:pt x="5012" y="1448"/>
                    <a:pt x="4871" y="1463"/>
                    <a:pt x="4871" y="1433"/>
                  </a:cubicBezTo>
                  <a:cubicBezTo>
                    <a:pt x="4834" y="1426"/>
                    <a:pt x="4819" y="1478"/>
                    <a:pt x="4782" y="1463"/>
                  </a:cubicBezTo>
                  <a:cubicBezTo>
                    <a:pt x="4797" y="1433"/>
                    <a:pt x="4804" y="1404"/>
                    <a:pt x="4804" y="1366"/>
                  </a:cubicBezTo>
                  <a:cubicBezTo>
                    <a:pt x="4812" y="1352"/>
                    <a:pt x="4804" y="1329"/>
                    <a:pt x="4819" y="1314"/>
                  </a:cubicBezTo>
                  <a:cubicBezTo>
                    <a:pt x="4834" y="1307"/>
                    <a:pt x="4834" y="1307"/>
                    <a:pt x="4842" y="1292"/>
                  </a:cubicBezTo>
                  <a:cubicBezTo>
                    <a:pt x="4827" y="1292"/>
                    <a:pt x="4804" y="1292"/>
                    <a:pt x="4790" y="1292"/>
                  </a:cubicBezTo>
                  <a:cubicBezTo>
                    <a:pt x="4790" y="1307"/>
                    <a:pt x="4790" y="1322"/>
                    <a:pt x="4790" y="1329"/>
                  </a:cubicBezTo>
                  <a:cubicBezTo>
                    <a:pt x="4782" y="1322"/>
                    <a:pt x="4782" y="1307"/>
                    <a:pt x="4782" y="1300"/>
                  </a:cubicBezTo>
                  <a:cubicBezTo>
                    <a:pt x="4760" y="1300"/>
                    <a:pt x="4738" y="1300"/>
                    <a:pt x="4715" y="1307"/>
                  </a:cubicBezTo>
                  <a:cubicBezTo>
                    <a:pt x="4715" y="1314"/>
                    <a:pt x="4723" y="1329"/>
                    <a:pt x="4738" y="1329"/>
                  </a:cubicBezTo>
                  <a:cubicBezTo>
                    <a:pt x="4738" y="1337"/>
                    <a:pt x="4738" y="1344"/>
                    <a:pt x="4738" y="1344"/>
                  </a:cubicBezTo>
                  <a:cubicBezTo>
                    <a:pt x="4715" y="1344"/>
                    <a:pt x="4678" y="1352"/>
                    <a:pt x="4663" y="1329"/>
                  </a:cubicBezTo>
                  <a:cubicBezTo>
                    <a:pt x="4656" y="1314"/>
                    <a:pt x="4656" y="1292"/>
                    <a:pt x="4626" y="1300"/>
                  </a:cubicBezTo>
                  <a:cubicBezTo>
                    <a:pt x="4626" y="1314"/>
                    <a:pt x="4619" y="1322"/>
                    <a:pt x="4619" y="1329"/>
                  </a:cubicBezTo>
                  <a:cubicBezTo>
                    <a:pt x="4611" y="1307"/>
                    <a:pt x="4582" y="1314"/>
                    <a:pt x="4567" y="1322"/>
                  </a:cubicBezTo>
                  <a:cubicBezTo>
                    <a:pt x="4582" y="1352"/>
                    <a:pt x="4589" y="1426"/>
                    <a:pt x="4537" y="1411"/>
                  </a:cubicBezTo>
                  <a:cubicBezTo>
                    <a:pt x="4537" y="1389"/>
                    <a:pt x="4552" y="1352"/>
                    <a:pt x="4522" y="1344"/>
                  </a:cubicBezTo>
                  <a:cubicBezTo>
                    <a:pt x="4500" y="1337"/>
                    <a:pt x="4470" y="1352"/>
                    <a:pt x="4478" y="1381"/>
                  </a:cubicBezTo>
                  <a:cubicBezTo>
                    <a:pt x="4455" y="1389"/>
                    <a:pt x="4441" y="1389"/>
                    <a:pt x="4418" y="1381"/>
                  </a:cubicBezTo>
                  <a:cubicBezTo>
                    <a:pt x="4426" y="1366"/>
                    <a:pt x="4433" y="1359"/>
                    <a:pt x="4448" y="1359"/>
                  </a:cubicBezTo>
                  <a:cubicBezTo>
                    <a:pt x="4463" y="1352"/>
                    <a:pt x="4455" y="1352"/>
                    <a:pt x="4470" y="1344"/>
                  </a:cubicBezTo>
                  <a:cubicBezTo>
                    <a:pt x="4470" y="1344"/>
                    <a:pt x="4478" y="1329"/>
                    <a:pt x="4478" y="1322"/>
                  </a:cubicBezTo>
                  <a:cubicBezTo>
                    <a:pt x="4478" y="1322"/>
                    <a:pt x="4470" y="1322"/>
                    <a:pt x="4463" y="1322"/>
                  </a:cubicBezTo>
                  <a:cubicBezTo>
                    <a:pt x="4455" y="1270"/>
                    <a:pt x="4537" y="1277"/>
                    <a:pt x="4522" y="1218"/>
                  </a:cubicBezTo>
                  <a:cubicBezTo>
                    <a:pt x="4500" y="1211"/>
                    <a:pt x="4478" y="1173"/>
                    <a:pt x="4455" y="1159"/>
                  </a:cubicBezTo>
                  <a:cubicBezTo>
                    <a:pt x="4433" y="1144"/>
                    <a:pt x="4433" y="1114"/>
                    <a:pt x="4433" y="1092"/>
                  </a:cubicBezTo>
                  <a:cubicBezTo>
                    <a:pt x="4411" y="1084"/>
                    <a:pt x="4344" y="1106"/>
                    <a:pt x="4344" y="1129"/>
                  </a:cubicBezTo>
                  <a:cubicBezTo>
                    <a:pt x="4322" y="1121"/>
                    <a:pt x="4292" y="1114"/>
                    <a:pt x="4270" y="1121"/>
                  </a:cubicBezTo>
                  <a:cubicBezTo>
                    <a:pt x="4292" y="1159"/>
                    <a:pt x="4210" y="1211"/>
                    <a:pt x="4181" y="1188"/>
                  </a:cubicBezTo>
                  <a:cubicBezTo>
                    <a:pt x="4136" y="1159"/>
                    <a:pt x="4143" y="1270"/>
                    <a:pt x="4143" y="1285"/>
                  </a:cubicBezTo>
                  <a:cubicBezTo>
                    <a:pt x="4091" y="1285"/>
                    <a:pt x="4025" y="1292"/>
                    <a:pt x="3980" y="1285"/>
                  </a:cubicBezTo>
                  <a:cubicBezTo>
                    <a:pt x="3965" y="1240"/>
                    <a:pt x="3921" y="1225"/>
                    <a:pt x="3928" y="1285"/>
                  </a:cubicBezTo>
                  <a:cubicBezTo>
                    <a:pt x="3906" y="1285"/>
                    <a:pt x="3876" y="1270"/>
                    <a:pt x="3854" y="1277"/>
                  </a:cubicBezTo>
                  <a:cubicBezTo>
                    <a:pt x="3824" y="1292"/>
                    <a:pt x="3846" y="1314"/>
                    <a:pt x="3846" y="1337"/>
                  </a:cubicBezTo>
                  <a:cubicBezTo>
                    <a:pt x="3743" y="1322"/>
                    <a:pt x="3898" y="1203"/>
                    <a:pt x="3891" y="1173"/>
                  </a:cubicBezTo>
                  <a:cubicBezTo>
                    <a:pt x="3846" y="1173"/>
                    <a:pt x="3817" y="1188"/>
                    <a:pt x="3817" y="1136"/>
                  </a:cubicBezTo>
                  <a:cubicBezTo>
                    <a:pt x="3787" y="1136"/>
                    <a:pt x="3780" y="1114"/>
                    <a:pt x="3750" y="1106"/>
                  </a:cubicBezTo>
                  <a:cubicBezTo>
                    <a:pt x="3757" y="1129"/>
                    <a:pt x="3802" y="1218"/>
                    <a:pt x="3765" y="1225"/>
                  </a:cubicBezTo>
                  <a:cubicBezTo>
                    <a:pt x="3765" y="1233"/>
                    <a:pt x="3765" y="1248"/>
                    <a:pt x="3765" y="1255"/>
                  </a:cubicBezTo>
                  <a:cubicBezTo>
                    <a:pt x="3728" y="1263"/>
                    <a:pt x="3713" y="1255"/>
                    <a:pt x="3683" y="1248"/>
                  </a:cubicBezTo>
                  <a:cubicBezTo>
                    <a:pt x="3653" y="1240"/>
                    <a:pt x="3639" y="1255"/>
                    <a:pt x="3616" y="1255"/>
                  </a:cubicBezTo>
                  <a:cubicBezTo>
                    <a:pt x="3616" y="1248"/>
                    <a:pt x="3609" y="1240"/>
                    <a:pt x="3609" y="1233"/>
                  </a:cubicBezTo>
                  <a:cubicBezTo>
                    <a:pt x="3579" y="1225"/>
                    <a:pt x="3609" y="1196"/>
                    <a:pt x="3594" y="1181"/>
                  </a:cubicBezTo>
                  <a:cubicBezTo>
                    <a:pt x="3579" y="1173"/>
                    <a:pt x="3549" y="1188"/>
                    <a:pt x="3535" y="1196"/>
                  </a:cubicBezTo>
                  <a:cubicBezTo>
                    <a:pt x="3535" y="1211"/>
                    <a:pt x="3520" y="1218"/>
                    <a:pt x="3505" y="1218"/>
                  </a:cubicBezTo>
                  <a:cubicBezTo>
                    <a:pt x="3497" y="1211"/>
                    <a:pt x="3497" y="1196"/>
                    <a:pt x="3505" y="1188"/>
                  </a:cubicBezTo>
                  <a:cubicBezTo>
                    <a:pt x="3535" y="1173"/>
                    <a:pt x="3535" y="1151"/>
                    <a:pt x="3535" y="1121"/>
                  </a:cubicBezTo>
                  <a:cubicBezTo>
                    <a:pt x="3520" y="1114"/>
                    <a:pt x="3505" y="1114"/>
                    <a:pt x="3497" y="1121"/>
                  </a:cubicBezTo>
                  <a:cubicBezTo>
                    <a:pt x="3497" y="1136"/>
                    <a:pt x="3490" y="1151"/>
                    <a:pt x="3490" y="1166"/>
                  </a:cubicBezTo>
                  <a:cubicBezTo>
                    <a:pt x="3483" y="1159"/>
                    <a:pt x="3468" y="1151"/>
                    <a:pt x="3460" y="1144"/>
                  </a:cubicBezTo>
                  <a:cubicBezTo>
                    <a:pt x="3453" y="1084"/>
                    <a:pt x="3497" y="1084"/>
                    <a:pt x="3542" y="1084"/>
                  </a:cubicBezTo>
                  <a:cubicBezTo>
                    <a:pt x="3542" y="1055"/>
                    <a:pt x="3505" y="1025"/>
                    <a:pt x="3520" y="995"/>
                  </a:cubicBezTo>
                  <a:cubicBezTo>
                    <a:pt x="3527" y="973"/>
                    <a:pt x="3549" y="966"/>
                    <a:pt x="3535" y="943"/>
                  </a:cubicBezTo>
                  <a:cubicBezTo>
                    <a:pt x="3497" y="951"/>
                    <a:pt x="3483" y="988"/>
                    <a:pt x="3453" y="988"/>
                  </a:cubicBezTo>
                  <a:cubicBezTo>
                    <a:pt x="3446" y="1003"/>
                    <a:pt x="3453" y="1017"/>
                    <a:pt x="3446" y="1032"/>
                  </a:cubicBezTo>
                  <a:cubicBezTo>
                    <a:pt x="3438" y="1032"/>
                    <a:pt x="3423" y="1040"/>
                    <a:pt x="3416" y="1032"/>
                  </a:cubicBezTo>
                  <a:cubicBezTo>
                    <a:pt x="3408" y="1084"/>
                    <a:pt x="3401" y="1084"/>
                    <a:pt x="3349" y="1084"/>
                  </a:cubicBezTo>
                  <a:cubicBezTo>
                    <a:pt x="3349" y="1025"/>
                    <a:pt x="3327" y="1017"/>
                    <a:pt x="3275" y="1040"/>
                  </a:cubicBezTo>
                  <a:cubicBezTo>
                    <a:pt x="3260" y="1069"/>
                    <a:pt x="3245" y="1106"/>
                    <a:pt x="3200" y="1106"/>
                  </a:cubicBezTo>
                  <a:cubicBezTo>
                    <a:pt x="3193" y="1136"/>
                    <a:pt x="3252" y="1121"/>
                    <a:pt x="3267" y="1136"/>
                  </a:cubicBezTo>
                  <a:cubicBezTo>
                    <a:pt x="3312" y="1159"/>
                    <a:pt x="3282" y="1218"/>
                    <a:pt x="3304" y="1255"/>
                  </a:cubicBezTo>
                  <a:cubicBezTo>
                    <a:pt x="3364" y="1248"/>
                    <a:pt x="3327" y="1381"/>
                    <a:pt x="3341" y="1411"/>
                  </a:cubicBezTo>
                  <a:cubicBezTo>
                    <a:pt x="3356" y="1448"/>
                    <a:pt x="3394" y="1418"/>
                    <a:pt x="3408" y="1463"/>
                  </a:cubicBezTo>
                  <a:cubicBezTo>
                    <a:pt x="3423" y="1515"/>
                    <a:pt x="3386" y="1582"/>
                    <a:pt x="3386" y="1634"/>
                  </a:cubicBezTo>
                  <a:cubicBezTo>
                    <a:pt x="3423" y="1641"/>
                    <a:pt x="3460" y="1611"/>
                    <a:pt x="3490" y="1619"/>
                  </a:cubicBezTo>
                  <a:cubicBezTo>
                    <a:pt x="3490" y="1641"/>
                    <a:pt x="3512" y="1649"/>
                    <a:pt x="3520" y="1663"/>
                  </a:cubicBezTo>
                  <a:cubicBezTo>
                    <a:pt x="3520" y="1678"/>
                    <a:pt x="3520" y="1701"/>
                    <a:pt x="3512" y="1716"/>
                  </a:cubicBezTo>
                  <a:cubicBezTo>
                    <a:pt x="3497" y="1716"/>
                    <a:pt x="3483" y="1723"/>
                    <a:pt x="3490" y="1745"/>
                  </a:cubicBezTo>
                  <a:cubicBezTo>
                    <a:pt x="3520" y="1753"/>
                    <a:pt x="3535" y="1775"/>
                    <a:pt x="3549" y="1805"/>
                  </a:cubicBezTo>
                  <a:cubicBezTo>
                    <a:pt x="3527" y="1812"/>
                    <a:pt x="3520" y="1849"/>
                    <a:pt x="3520" y="1879"/>
                  </a:cubicBezTo>
                  <a:cubicBezTo>
                    <a:pt x="3475" y="1886"/>
                    <a:pt x="3453" y="1923"/>
                    <a:pt x="3416" y="1938"/>
                  </a:cubicBezTo>
                  <a:cubicBezTo>
                    <a:pt x="3416" y="1901"/>
                    <a:pt x="3371" y="1894"/>
                    <a:pt x="3349" y="1901"/>
                  </a:cubicBezTo>
                  <a:cubicBezTo>
                    <a:pt x="3349" y="1908"/>
                    <a:pt x="3341" y="1923"/>
                    <a:pt x="3341" y="1931"/>
                  </a:cubicBezTo>
                  <a:cubicBezTo>
                    <a:pt x="3289" y="1923"/>
                    <a:pt x="3312" y="1849"/>
                    <a:pt x="3275" y="1827"/>
                  </a:cubicBezTo>
                  <a:cubicBezTo>
                    <a:pt x="3252" y="1805"/>
                    <a:pt x="3208" y="1827"/>
                    <a:pt x="3200" y="1782"/>
                  </a:cubicBezTo>
                  <a:cubicBezTo>
                    <a:pt x="3171" y="1805"/>
                    <a:pt x="3163" y="1834"/>
                    <a:pt x="3156" y="1871"/>
                  </a:cubicBezTo>
                  <a:cubicBezTo>
                    <a:pt x="3141" y="1871"/>
                    <a:pt x="3126" y="1864"/>
                    <a:pt x="3104" y="1864"/>
                  </a:cubicBezTo>
                  <a:cubicBezTo>
                    <a:pt x="3104" y="1819"/>
                    <a:pt x="3141" y="1738"/>
                    <a:pt x="3082" y="1723"/>
                  </a:cubicBezTo>
                  <a:cubicBezTo>
                    <a:pt x="3044" y="1716"/>
                    <a:pt x="3022" y="1716"/>
                    <a:pt x="3030" y="1671"/>
                  </a:cubicBezTo>
                  <a:cubicBezTo>
                    <a:pt x="3119" y="1649"/>
                    <a:pt x="2992" y="1463"/>
                    <a:pt x="2992" y="1418"/>
                  </a:cubicBezTo>
                  <a:cubicBezTo>
                    <a:pt x="3022" y="1426"/>
                    <a:pt x="3052" y="1396"/>
                    <a:pt x="3074" y="1381"/>
                  </a:cubicBezTo>
                  <a:cubicBezTo>
                    <a:pt x="3111" y="1352"/>
                    <a:pt x="3104" y="1314"/>
                    <a:pt x="3111" y="1270"/>
                  </a:cubicBezTo>
                  <a:cubicBezTo>
                    <a:pt x="3149" y="1277"/>
                    <a:pt x="3134" y="1225"/>
                    <a:pt x="3178" y="1233"/>
                  </a:cubicBezTo>
                  <a:cubicBezTo>
                    <a:pt x="3178" y="1211"/>
                    <a:pt x="3163" y="1196"/>
                    <a:pt x="3156" y="1173"/>
                  </a:cubicBezTo>
                  <a:cubicBezTo>
                    <a:pt x="3111" y="1173"/>
                    <a:pt x="3119" y="1106"/>
                    <a:pt x="3119" y="1077"/>
                  </a:cubicBezTo>
                  <a:cubicBezTo>
                    <a:pt x="3119" y="1055"/>
                    <a:pt x="3111" y="1032"/>
                    <a:pt x="3119" y="1017"/>
                  </a:cubicBezTo>
                  <a:cubicBezTo>
                    <a:pt x="3134" y="988"/>
                    <a:pt x="3163" y="1010"/>
                    <a:pt x="3186" y="1003"/>
                  </a:cubicBezTo>
                  <a:cubicBezTo>
                    <a:pt x="3186" y="973"/>
                    <a:pt x="3171" y="921"/>
                    <a:pt x="3223" y="921"/>
                  </a:cubicBezTo>
                  <a:cubicBezTo>
                    <a:pt x="3260" y="914"/>
                    <a:pt x="3312" y="936"/>
                    <a:pt x="3349" y="914"/>
                  </a:cubicBezTo>
                  <a:cubicBezTo>
                    <a:pt x="3371" y="906"/>
                    <a:pt x="3379" y="884"/>
                    <a:pt x="3401" y="891"/>
                  </a:cubicBezTo>
                  <a:cubicBezTo>
                    <a:pt x="3423" y="891"/>
                    <a:pt x="3438" y="891"/>
                    <a:pt x="3453" y="876"/>
                  </a:cubicBezTo>
                  <a:cubicBezTo>
                    <a:pt x="3475" y="847"/>
                    <a:pt x="3431" y="824"/>
                    <a:pt x="3431" y="795"/>
                  </a:cubicBezTo>
                  <a:lnTo>
                    <a:pt x="3438" y="795"/>
                  </a:lnTo>
                  <a:cubicBezTo>
                    <a:pt x="3438" y="772"/>
                    <a:pt x="3438" y="713"/>
                    <a:pt x="3475" y="750"/>
                  </a:cubicBezTo>
                  <a:cubicBezTo>
                    <a:pt x="3475" y="713"/>
                    <a:pt x="3505" y="683"/>
                    <a:pt x="3512" y="654"/>
                  </a:cubicBezTo>
                  <a:cubicBezTo>
                    <a:pt x="3549" y="631"/>
                    <a:pt x="3542" y="564"/>
                    <a:pt x="3579" y="542"/>
                  </a:cubicBezTo>
                  <a:cubicBezTo>
                    <a:pt x="3579" y="527"/>
                    <a:pt x="3579" y="498"/>
                    <a:pt x="3586" y="483"/>
                  </a:cubicBezTo>
                  <a:cubicBezTo>
                    <a:pt x="3624" y="475"/>
                    <a:pt x="3594" y="423"/>
                    <a:pt x="3653" y="423"/>
                  </a:cubicBezTo>
                  <a:cubicBezTo>
                    <a:pt x="3646" y="379"/>
                    <a:pt x="3668" y="327"/>
                    <a:pt x="3653" y="282"/>
                  </a:cubicBezTo>
                  <a:cubicBezTo>
                    <a:pt x="3639" y="238"/>
                    <a:pt x="3601" y="215"/>
                    <a:pt x="3609" y="171"/>
                  </a:cubicBezTo>
                  <a:cubicBezTo>
                    <a:pt x="3609" y="134"/>
                    <a:pt x="3609" y="119"/>
                    <a:pt x="3572" y="104"/>
                  </a:cubicBezTo>
                  <a:cubicBezTo>
                    <a:pt x="3549" y="104"/>
                    <a:pt x="3520" y="97"/>
                    <a:pt x="3520" y="67"/>
                  </a:cubicBezTo>
                  <a:cubicBezTo>
                    <a:pt x="3483" y="37"/>
                    <a:pt x="3468" y="15"/>
                    <a:pt x="3416" y="15"/>
                  </a:cubicBezTo>
                  <a:cubicBezTo>
                    <a:pt x="3416" y="22"/>
                    <a:pt x="3408" y="30"/>
                    <a:pt x="3408" y="37"/>
                  </a:cubicBezTo>
                  <a:cubicBezTo>
                    <a:pt x="3379" y="37"/>
                    <a:pt x="3341" y="37"/>
                    <a:pt x="3304" y="37"/>
                  </a:cubicBezTo>
                  <a:cubicBezTo>
                    <a:pt x="3275" y="30"/>
                    <a:pt x="3245" y="7"/>
                    <a:pt x="3208" y="7"/>
                  </a:cubicBezTo>
                  <a:cubicBezTo>
                    <a:pt x="3178" y="0"/>
                    <a:pt x="3149" y="15"/>
                    <a:pt x="3119" y="7"/>
                  </a:cubicBezTo>
                  <a:cubicBezTo>
                    <a:pt x="3111" y="7"/>
                    <a:pt x="3104" y="7"/>
                    <a:pt x="3096" y="0"/>
                  </a:cubicBezTo>
                  <a:cubicBezTo>
                    <a:pt x="3082" y="22"/>
                    <a:pt x="3059" y="45"/>
                    <a:pt x="3052" y="59"/>
                  </a:cubicBezTo>
                  <a:lnTo>
                    <a:pt x="3030" y="119"/>
                  </a:lnTo>
                  <a:cubicBezTo>
                    <a:pt x="2955" y="126"/>
                    <a:pt x="2814" y="82"/>
                    <a:pt x="2799" y="193"/>
                  </a:cubicBezTo>
                  <a:cubicBezTo>
                    <a:pt x="2770" y="208"/>
                    <a:pt x="2733" y="201"/>
                    <a:pt x="2710" y="223"/>
                  </a:cubicBezTo>
                  <a:cubicBezTo>
                    <a:pt x="2695" y="238"/>
                    <a:pt x="2688" y="253"/>
                    <a:pt x="2673" y="260"/>
                  </a:cubicBezTo>
                  <a:cubicBezTo>
                    <a:pt x="2636" y="290"/>
                    <a:pt x="2584" y="304"/>
                    <a:pt x="2539" y="304"/>
                  </a:cubicBezTo>
                  <a:cubicBezTo>
                    <a:pt x="2517" y="349"/>
                    <a:pt x="2443" y="349"/>
                    <a:pt x="2398" y="371"/>
                  </a:cubicBezTo>
                  <a:cubicBezTo>
                    <a:pt x="2376" y="386"/>
                    <a:pt x="2361" y="401"/>
                    <a:pt x="2347" y="423"/>
                  </a:cubicBezTo>
                  <a:cubicBezTo>
                    <a:pt x="2324" y="461"/>
                    <a:pt x="2287" y="453"/>
                    <a:pt x="2250" y="461"/>
                  </a:cubicBezTo>
                  <a:cubicBezTo>
                    <a:pt x="2183" y="475"/>
                    <a:pt x="2131" y="550"/>
                    <a:pt x="2101" y="602"/>
                  </a:cubicBezTo>
                  <a:cubicBezTo>
                    <a:pt x="2072" y="654"/>
                    <a:pt x="2012" y="676"/>
                    <a:pt x="1953" y="676"/>
                  </a:cubicBezTo>
                  <a:cubicBezTo>
                    <a:pt x="1916" y="698"/>
                    <a:pt x="1945" y="772"/>
                    <a:pt x="1886" y="765"/>
                  </a:cubicBezTo>
                  <a:cubicBezTo>
                    <a:pt x="1908" y="832"/>
                    <a:pt x="1931" y="899"/>
                    <a:pt x="1945" y="966"/>
                  </a:cubicBezTo>
                  <a:cubicBezTo>
                    <a:pt x="1953" y="1010"/>
                    <a:pt x="1982" y="1032"/>
                    <a:pt x="2020" y="1047"/>
                  </a:cubicBezTo>
                  <a:cubicBezTo>
                    <a:pt x="2087" y="1069"/>
                    <a:pt x="2183" y="1084"/>
                    <a:pt x="2257" y="1077"/>
                  </a:cubicBezTo>
                  <a:cubicBezTo>
                    <a:pt x="2279" y="1069"/>
                    <a:pt x="2294" y="1055"/>
                    <a:pt x="2317" y="1062"/>
                  </a:cubicBezTo>
                  <a:cubicBezTo>
                    <a:pt x="2339" y="1062"/>
                    <a:pt x="2354" y="1077"/>
                    <a:pt x="2376" y="1084"/>
                  </a:cubicBezTo>
                  <a:cubicBezTo>
                    <a:pt x="2391" y="1032"/>
                    <a:pt x="2398" y="1003"/>
                    <a:pt x="2458" y="1010"/>
                  </a:cubicBezTo>
                  <a:cubicBezTo>
                    <a:pt x="2465" y="1040"/>
                    <a:pt x="2443" y="1092"/>
                    <a:pt x="2495" y="1092"/>
                  </a:cubicBezTo>
                  <a:cubicBezTo>
                    <a:pt x="2495" y="1144"/>
                    <a:pt x="2495" y="1196"/>
                    <a:pt x="2487" y="1248"/>
                  </a:cubicBezTo>
                  <a:cubicBezTo>
                    <a:pt x="2465" y="1248"/>
                    <a:pt x="2443" y="1255"/>
                    <a:pt x="2421" y="1255"/>
                  </a:cubicBezTo>
                  <a:cubicBezTo>
                    <a:pt x="2421" y="1248"/>
                    <a:pt x="2413" y="1225"/>
                    <a:pt x="2421" y="1218"/>
                  </a:cubicBezTo>
                  <a:cubicBezTo>
                    <a:pt x="2376" y="1233"/>
                    <a:pt x="2347" y="1263"/>
                    <a:pt x="2302" y="1263"/>
                  </a:cubicBezTo>
                  <a:cubicBezTo>
                    <a:pt x="2242" y="1270"/>
                    <a:pt x="2190" y="1255"/>
                    <a:pt x="2139" y="1263"/>
                  </a:cubicBezTo>
                  <a:cubicBezTo>
                    <a:pt x="2131" y="1285"/>
                    <a:pt x="2124" y="1307"/>
                    <a:pt x="2131" y="1329"/>
                  </a:cubicBezTo>
                  <a:cubicBezTo>
                    <a:pt x="2139" y="1359"/>
                    <a:pt x="2168" y="1366"/>
                    <a:pt x="2168" y="1396"/>
                  </a:cubicBezTo>
                  <a:cubicBezTo>
                    <a:pt x="2176" y="1441"/>
                    <a:pt x="2116" y="1433"/>
                    <a:pt x="2087" y="1433"/>
                  </a:cubicBezTo>
                  <a:cubicBezTo>
                    <a:pt x="2101" y="1485"/>
                    <a:pt x="2131" y="1500"/>
                    <a:pt x="2190" y="1508"/>
                  </a:cubicBezTo>
                  <a:cubicBezTo>
                    <a:pt x="2235" y="1522"/>
                    <a:pt x="2257" y="1545"/>
                    <a:pt x="2257" y="1597"/>
                  </a:cubicBezTo>
                  <a:cubicBezTo>
                    <a:pt x="2250" y="1634"/>
                    <a:pt x="2235" y="1701"/>
                    <a:pt x="2183" y="1686"/>
                  </a:cubicBezTo>
                  <a:cubicBezTo>
                    <a:pt x="2146" y="1678"/>
                    <a:pt x="2139" y="1634"/>
                    <a:pt x="2094" y="1649"/>
                  </a:cubicBezTo>
                  <a:cubicBezTo>
                    <a:pt x="2109" y="1693"/>
                    <a:pt x="2079" y="1871"/>
                    <a:pt x="2139" y="1886"/>
                  </a:cubicBezTo>
                  <a:cubicBezTo>
                    <a:pt x="2139" y="1931"/>
                    <a:pt x="2064" y="1923"/>
                    <a:pt x="2064" y="1961"/>
                  </a:cubicBezTo>
                  <a:cubicBezTo>
                    <a:pt x="2034" y="1968"/>
                    <a:pt x="2020" y="1938"/>
                    <a:pt x="2027" y="1908"/>
                  </a:cubicBezTo>
                  <a:cubicBezTo>
                    <a:pt x="1990" y="1916"/>
                    <a:pt x="1975" y="1894"/>
                    <a:pt x="1945" y="1894"/>
                  </a:cubicBezTo>
                  <a:cubicBezTo>
                    <a:pt x="1945" y="1871"/>
                    <a:pt x="1945" y="1849"/>
                    <a:pt x="1945" y="1834"/>
                  </a:cubicBezTo>
                  <a:lnTo>
                    <a:pt x="1938" y="1842"/>
                  </a:lnTo>
                  <a:cubicBezTo>
                    <a:pt x="1923" y="1849"/>
                    <a:pt x="1901" y="1849"/>
                    <a:pt x="1879" y="1849"/>
                  </a:cubicBezTo>
                  <a:cubicBezTo>
                    <a:pt x="1886" y="1857"/>
                    <a:pt x="1879" y="1871"/>
                    <a:pt x="1879" y="1886"/>
                  </a:cubicBezTo>
                  <a:cubicBezTo>
                    <a:pt x="1834" y="1864"/>
                    <a:pt x="1782" y="1864"/>
                    <a:pt x="1730" y="1857"/>
                  </a:cubicBezTo>
                  <a:cubicBezTo>
                    <a:pt x="1685" y="1842"/>
                    <a:pt x="1641" y="1819"/>
                    <a:pt x="1589" y="1834"/>
                  </a:cubicBezTo>
                  <a:cubicBezTo>
                    <a:pt x="1589" y="1871"/>
                    <a:pt x="1567" y="1923"/>
                    <a:pt x="1537" y="1961"/>
                  </a:cubicBezTo>
                  <a:cubicBezTo>
                    <a:pt x="1515" y="1983"/>
                    <a:pt x="1485" y="1976"/>
                    <a:pt x="1455" y="1990"/>
                  </a:cubicBezTo>
                  <a:cubicBezTo>
                    <a:pt x="1455" y="2013"/>
                    <a:pt x="1477" y="2035"/>
                    <a:pt x="1470" y="2065"/>
                  </a:cubicBezTo>
                  <a:cubicBezTo>
                    <a:pt x="1448" y="2065"/>
                    <a:pt x="1433" y="2072"/>
                    <a:pt x="1426" y="2094"/>
                  </a:cubicBezTo>
                  <a:cubicBezTo>
                    <a:pt x="1381" y="2094"/>
                    <a:pt x="1337" y="2072"/>
                    <a:pt x="1292" y="2087"/>
                  </a:cubicBezTo>
                  <a:cubicBezTo>
                    <a:pt x="1277" y="2109"/>
                    <a:pt x="1292" y="2139"/>
                    <a:pt x="1277" y="2161"/>
                  </a:cubicBezTo>
                  <a:cubicBezTo>
                    <a:pt x="1225" y="2131"/>
                    <a:pt x="1232" y="2094"/>
                    <a:pt x="1158" y="2094"/>
                  </a:cubicBezTo>
                  <a:cubicBezTo>
                    <a:pt x="1151" y="2065"/>
                    <a:pt x="1151" y="1931"/>
                    <a:pt x="1210" y="1968"/>
                  </a:cubicBezTo>
                  <a:cubicBezTo>
                    <a:pt x="1247" y="1983"/>
                    <a:pt x="1262" y="1990"/>
                    <a:pt x="1307" y="1983"/>
                  </a:cubicBezTo>
                  <a:cubicBezTo>
                    <a:pt x="1351" y="1976"/>
                    <a:pt x="1374" y="1953"/>
                    <a:pt x="1418" y="1938"/>
                  </a:cubicBezTo>
                  <a:cubicBezTo>
                    <a:pt x="1411" y="1908"/>
                    <a:pt x="1366" y="1916"/>
                    <a:pt x="1359" y="1879"/>
                  </a:cubicBezTo>
                  <a:cubicBezTo>
                    <a:pt x="1351" y="1857"/>
                    <a:pt x="1374" y="1827"/>
                    <a:pt x="1374" y="1797"/>
                  </a:cubicBezTo>
                  <a:cubicBezTo>
                    <a:pt x="1381" y="1745"/>
                    <a:pt x="1344" y="1767"/>
                    <a:pt x="1344" y="1745"/>
                  </a:cubicBezTo>
                  <a:cubicBezTo>
                    <a:pt x="1337" y="1716"/>
                    <a:pt x="1351" y="1671"/>
                    <a:pt x="1381" y="1663"/>
                  </a:cubicBezTo>
                  <a:cubicBezTo>
                    <a:pt x="1455" y="1738"/>
                    <a:pt x="1463" y="1619"/>
                    <a:pt x="1455" y="1574"/>
                  </a:cubicBezTo>
                  <a:cubicBezTo>
                    <a:pt x="1433" y="1574"/>
                    <a:pt x="1411" y="1574"/>
                    <a:pt x="1396" y="1567"/>
                  </a:cubicBezTo>
                  <a:cubicBezTo>
                    <a:pt x="1388" y="1522"/>
                    <a:pt x="1396" y="1485"/>
                    <a:pt x="1396" y="1448"/>
                  </a:cubicBezTo>
                  <a:cubicBezTo>
                    <a:pt x="1337" y="1441"/>
                    <a:pt x="1322" y="1448"/>
                    <a:pt x="1285" y="1471"/>
                  </a:cubicBezTo>
                  <a:cubicBezTo>
                    <a:pt x="1262" y="1485"/>
                    <a:pt x="1195" y="1537"/>
                    <a:pt x="1210" y="1471"/>
                  </a:cubicBezTo>
                  <a:cubicBezTo>
                    <a:pt x="1151" y="1463"/>
                    <a:pt x="1077" y="1456"/>
                    <a:pt x="1017" y="1448"/>
                  </a:cubicBezTo>
                  <a:cubicBezTo>
                    <a:pt x="965" y="1433"/>
                    <a:pt x="980" y="1374"/>
                    <a:pt x="1032" y="1374"/>
                  </a:cubicBezTo>
                  <a:cubicBezTo>
                    <a:pt x="1032" y="1344"/>
                    <a:pt x="1017" y="1292"/>
                    <a:pt x="1069" y="1300"/>
                  </a:cubicBezTo>
                  <a:cubicBezTo>
                    <a:pt x="1077" y="1263"/>
                    <a:pt x="1077" y="1233"/>
                    <a:pt x="1077" y="1196"/>
                  </a:cubicBezTo>
                  <a:cubicBezTo>
                    <a:pt x="1032" y="1196"/>
                    <a:pt x="965" y="1181"/>
                    <a:pt x="935" y="1218"/>
                  </a:cubicBezTo>
                  <a:cubicBezTo>
                    <a:pt x="921" y="1255"/>
                    <a:pt x="935" y="1292"/>
                    <a:pt x="898" y="1314"/>
                  </a:cubicBezTo>
                  <a:cubicBezTo>
                    <a:pt x="869" y="1329"/>
                    <a:pt x="817" y="1329"/>
                    <a:pt x="794" y="1300"/>
                  </a:cubicBezTo>
                  <a:cubicBezTo>
                    <a:pt x="780" y="1277"/>
                    <a:pt x="780" y="1240"/>
                    <a:pt x="750" y="1233"/>
                  </a:cubicBezTo>
                  <a:cubicBezTo>
                    <a:pt x="690" y="1314"/>
                    <a:pt x="824" y="1374"/>
                    <a:pt x="824" y="1456"/>
                  </a:cubicBezTo>
                  <a:cubicBezTo>
                    <a:pt x="794" y="1463"/>
                    <a:pt x="787" y="1433"/>
                    <a:pt x="765" y="1418"/>
                  </a:cubicBezTo>
                  <a:cubicBezTo>
                    <a:pt x="750" y="1396"/>
                    <a:pt x="728" y="1418"/>
                    <a:pt x="735" y="1381"/>
                  </a:cubicBezTo>
                  <a:cubicBezTo>
                    <a:pt x="661" y="1366"/>
                    <a:pt x="713" y="1441"/>
                    <a:pt x="713" y="1471"/>
                  </a:cubicBezTo>
                  <a:cubicBezTo>
                    <a:pt x="713" y="1500"/>
                    <a:pt x="668" y="1500"/>
                    <a:pt x="653" y="1522"/>
                  </a:cubicBezTo>
                  <a:cubicBezTo>
                    <a:pt x="638" y="1545"/>
                    <a:pt x="653" y="1574"/>
                    <a:pt x="653" y="1597"/>
                  </a:cubicBezTo>
                  <a:cubicBezTo>
                    <a:pt x="675" y="1604"/>
                    <a:pt x="713" y="1611"/>
                    <a:pt x="720" y="1634"/>
                  </a:cubicBezTo>
                  <a:cubicBezTo>
                    <a:pt x="690" y="1649"/>
                    <a:pt x="713" y="1686"/>
                    <a:pt x="698" y="1716"/>
                  </a:cubicBezTo>
                  <a:cubicBezTo>
                    <a:pt x="690" y="1738"/>
                    <a:pt x="668" y="1753"/>
                    <a:pt x="653" y="1775"/>
                  </a:cubicBezTo>
                  <a:cubicBezTo>
                    <a:pt x="690" y="1775"/>
                    <a:pt x="735" y="1775"/>
                    <a:pt x="772" y="1775"/>
                  </a:cubicBezTo>
                  <a:cubicBezTo>
                    <a:pt x="772" y="1812"/>
                    <a:pt x="772" y="1857"/>
                    <a:pt x="787" y="1886"/>
                  </a:cubicBezTo>
                  <a:cubicBezTo>
                    <a:pt x="802" y="1916"/>
                    <a:pt x="817" y="1946"/>
                    <a:pt x="794" y="1976"/>
                  </a:cubicBezTo>
                  <a:cubicBezTo>
                    <a:pt x="772" y="1998"/>
                    <a:pt x="750" y="2013"/>
                    <a:pt x="750" y="2050"/>
                  </a:cubicBezTo>
                  <a:cubicBezTo>
                    <a:pt x="742" y="2079"/>
                    <a:pt x="750" y="2116"/>
                    <a:pt x="750" y="2146"/>
                  </a:cubicBezTo>
                  <a:cubicBezTo>
                    <a:pt x="750" y="2198"/>
                    <a:pt x="742" y="2258"/>
                    <a:pt x="690" y="2287"/>
                  </a:cubicBezTo>
                  <a:cubicBezTo>
                    <a:pt x="631" y="2324"/>
                    <a:pt x="549" y="2332"/>
                    <a:pt x="483" y="2354"/>
                  </a:cubicBezTo>
                  <a:cubicBezTo>
                    <a:pt x="483" y="2399"/>
                    <a:pt x="505" y="2413"/>
                    <a:pt x="468" y="2443"/>
                  </a:cubicBezTo>
                  <a:cubicBezTo>
                    <a:pt x="490" y="2458"/>
                    <a:pt x="616" y="2495"/>
                    <a:pt x="579" y="2532"/>
                  </a:cubicBezTo>
                  <a:cubicBezTo>
                    <a:pt x="527" y="2584"/>
                    <a:pt x="438" y="2555"/>
                    <a:pt x="393" y="2621"/>
                  </a:cubicBezTo>
                  <a:cubicBezTo>
                    <a:pt x="386" y="2614"/>
                    <a:pt x="334" y="2592"/>
                    <a:pt x="327" y="2614"/>
                  </a:cubicBezTo>
                  <a:cubicBezTo>
                    <a:pt x="327" y="2621"/>
                    <a:pt x="327" y="2621"/>
                    <a:pt x="319" y="2621"/>
                  </a:cubicBezTo>
                  <a:cubicBezTo>
                    <a:pt x="312" y="2614"/>
                    <a:pt x="312" y="2614"/>
                    <a:pt x="304" y="2614"/>
                  </a:cubicBezTo>
                  <a:cubicBezTo>
                    <a:pt x="304" y="2636"/>
                    <a:pt x="297" y="2651"/>
                    <a:pt x="297" y="2666"/>
                  </a:cubicBezTo>
                  <a:cubicBezTo>
                    <a:pt x="297" y="2703"/>
                    <a:pt x="297" y="2748"/>
                    <a:pt x="341" y="2763"/>
                  </a:cubicBezTo>
                  <a:cubicBezTo>
                    <a:pt x="378" y="2770"/>
                    <a:pt x="408" y="2755"/>
                    <a:pt x="401" y="2807"/>
                  </a:cubicBezTo>
                  <a:cubicBezTo>
                    <a:pt x="401" y="2852"/>
                    <a:pt x="371" y="2889"/>
                    <a:pt x="341" y="2918"/>
                  </a:cubicBezTo>
                  <a:cubicBezTo>
                    <a:pt x="304" y="2955"/>
                    <a:pt x="289" y="2948"/>
                    <a:pt x="230" y="2948"/>
                  </a:cubicBezTo>
                  <a:cubicBezTo>
                    <a:pt x="223" y="2970"/>
                    <a:pt x="208" y="3000"/>
                    <a:pt x="185" y="3015"/>
                  </a:cubicBezTo>
                  <a:cubicBezTo>
                    <a:pt x="156" y="3045"/>
                    <a:pt x="119" y="3015"/>
                    <a:pt x="81" y="3023"/>
                  </a:cubicBezTo>
                  <a:cubicBezTo>
                    <a:pt x="59" y="3133"/>
                    <a:pt x="245" y="3045"/>
                    <a:pt x="230" y="3163"/>
                  </a:cubicBezTo>
                  <a:cubicBezTo>
                    <a:pt x="223" y="3163"/>
                    <a:pt x="0" y="3163"/>
                    <a:pt x="52" y="3222"/>
                  </a:cubicBezTo>
                  <a:cubicBezTo>
                    <a:pt x="74" y="3259"/>
                    <a:pt x="89" y="3289"/>
                    <a:pt x="111" y="3326"/>
                  </a:cubicBezTo>
                  <a:cubicBezTo>
                    <a:pt x="119" y="3348"/>
                    <a:pt x="81" y="3385"/>
                    <a:pt x="89" y="3422"/>
                  </a:cubicBezTo>
                  <a:cubicBezTo>
                    <a:pt x="89" y="3445"/>
                    <a:pt x="96" y="3459"/>
                    <a:pt x="111" y="3474"/>
                  </a:cubicBezTo>
                  <a:cubicBezTo>
                    <a:pt x="133" y="3482"/>
                    <a:pt x="156" y="3497"/>
                    <a:pt x="178" y="3504"/>
                  </a:cubicBezTo>
                  <a:cubicBezTo>
                    <a:pt x="252" y="3526"/>
                    <a:pt x="238" y="3445"/>
                    <a:pt x="289" y="3445"/>
                  </a:cubicBezTo>
                  <a:cubicBezTo>
                    <a:pt x="297" y="3445"/>
                    <a:pt x="371" y="3519"/>
                    <a:pt x="371" y="3512"/>
                  </a:cubicBezTo>
                  <a:cubicBezTo>
                    <a:pt x="378" y="3579"/>
                    <a:pt x="371" y="3645"/>
                    <a:pt x="423" y="3697"/>
                  </a:cubicBezTo>
                  <a:cubicBezTo>
                    <a:pt x="475" y="3749"/>
                    <a:pt x="564" y="3697"/>
                    <a:pt x="623" y="3705"/>
                  </a:cubicBezTo>
                  <a:cubicBezTo>
                    <a:pt x="698" y="3712"/>
                    <a:pt x="728" y="3734"/>
                    <a:pt x="757" y="3801"/>
                  </a:cubicBezTo>
                  <a:cubicBezTo>
                    <a:pt x="787" y="3861"/>
                    <a:pt x="802" y="3898"/>
                    <a:pt x="869" y="3890"/>
                  </a:cubicBezTo>
                  <a:cubicBezTo>
                    <a:pt x="906" y="3890"/>
                    <a:pt x="928" y="3913"/>
                    <a:pt x="958" y="3905"/>
                  </a:cubicBezTo>
                  <a:cubicBezTo>
                    <a:pt x="995" y="3898"/>
                    <a:pt x="1017" y="3890"/>
                    <a:pt x="1054" y="3913"/>
                  </a:cubicBezTo>
                  <a:cubicBezTo>
                    <a:pt x="1121" y="3942"/>
                    <a:pt x="1210" y="3905"/>
                    <a:pt x="1285" y="3913"/>
                  </a:cubicBezTo>
                  <a:cubicBezTo>
                    <a:pt x="1322" y="3913"/>
                    <a:pt x="1344" y="3905"/>
                    <a:pt x="1366" y="3942"/>
                  </a:cubicBezTo>
                  <a:cubicBezTo>
                    <a:pt x="1374" y="3957"/>
                    <a:pt x="1411" y="3957"/>
                    <a:pt x="1433" y="3965"/>
                  </a:cubicBezTo>
                  <a:cubicBezTo>
                    <a:pt x="1470" y="3979"/>
                    <a:pt x="1477" y="4091"/>
                    <a:pt x="1463" y="4128"/>
                  </a:cubicBezTo>
                  <a:cubicBezTo>
                    <a:pt x="1455" y="4128"/>
                    <a:pt x="1455" y="4128"/>
                    <a:pt x="1455" y="4128"/>
                  </a:cubicBezTo>
                  <a:cubicBezTo>
                    <a:pt x="1455" y="4173"/>
                    <a:pt x="1544" y="4158"/>
                    <a:pt x="1574" y="4158"/>
                  </a:cubicBezTo>
                  <a:cubicBezTo>
                    <a:pt x="1596" y="4158"/>
                    <a:pt x="1619" y="4165"/>
                    <a:pt x="1641" y="4158"/>
                  </a:cubicBezTo>
                  <a:cubicBezTo>
                    <a:pt x="1671" y="4158"/>
                    <a:pt x="1656" y="4121"/>
                    <a:pt x="1663" y="4098"/>
                  </a:cubicBezTo>
                  <a:cubicBezTo>
                    <a:pt x="1685" y="4098"/>
                    <a:pt x="1715" y="4113"/>
                    <a:pt x="1737" y="4106"/>
                  </a:cubicBezTo>
                  <a:cubicBezTo>
                    <a:pt x="1760" y="4098"/>
                    <a:pt x="1775" y="4069"/>
                    <a:pt x="1797" y="4076"/>
                  </a:cubicBezTo>
                  <a:cubicBezTo>
                    <a:pt x="1804" y="4039"/>
                    <a:pt x="1789" y="4031"/>
                    <a:pt x="1760" y="4016"/>
                  </a:cubicBezTo>
                  <a:cubicBezTo>
                    <a:pt x="1775" y="3994"/>
                    <a:pt x="1797" y="3957"/>
                    <a:pt x="1834" y="3957"/>
                  </a:cubicBezTo>
                  <a:cubicBezTo>
                    <a:pt x="1834" y="3935"/>
                    <a:pt x="1849" y="3935"/>
                    <a:pt x="1864" y="3927"/>
                  </a:cubicBezTo>
                  <a:cubicBezTo>
                    <a:pt x="1893" y="3913"/>
                    <a:pt x="1893" y="3876"/>
                    <a:pt x="1886" y="3853"/>
                  </a:cubicBezTo>
                  <a:cubicBezTo>
                    <a:pt x="1923" y="3846"/>
                    <a:pt x="1931" y="3831"/>
                    <a:pt x="1931" y="3801"/>
                  </a:cubicBezTo>
                  <a:cubicBezTo>
                    <a:pt x="1982" y="3801"/>
                    <a:pt x="2012" y="3771"/>
                    <a:pt x="2057" y="3764"/>
                  </a:cubicBezTo>
                  <a:cubicBezTo>
                    <a:pt x="2079" y="3757"/>
                    <a:pt x="2146" y="3749"/>
                    <a:pt x="2146" y="3786"/>
                  </a:cubicBezTo>
                  <a:cubicBezTo>
                    <a:pt x="2161" y="3771"/>
                    <a:pt x="2190" y="3779"/>
                    <a:pt x="2213" y="3779"/>
                  </a:cubicBezTo>
                  <a:cubicBezTo>
                    <a:pt x="2250" y="3727"/>
                    <a:pt x="2279" y="3697"/>
                    <a:pt x="2354" y="3712"/>
                  </a:cubicBezTo>
                  <a:cubicBezTo>
                    <a:pt x="2421" y="3727"/>
                    <a:pt x="2428" y="3831"/>
                    <a:pt x="2473" y="3883"/>
                  </a:cubicBezTo>
                  <a:cubicBezTo>
                    <a:pt x="2458" y="3883"/>
                    <a:pt x="2443" y="3890"/>
                    <a:pt x="2435" y="3905"/>
                  </a:cubicBezTo>
                  <a:cubicBezTo>
                    <a:pt x="2435" y="3898"/>
                    <a:pt x="2428" y="3883"/>
                    <a:pt x="2428" y="3876"/>
                  </a:cubicBezTo>
                  <a:cubicBezTo>
                    <a:pt x="2406" y="3890"/>
                    <a:pt x="2361" y="3876"/>
                    <a:pt x="2332" y="3876"/>
                  </a:cubicBezTo>
                  <a:cubicBezTo>
                    <a:pt x="2347" y="3905"/>
                    <a:pt x="2354" y="3987"/>
                    <a:pt x="2391" y="3994"/>
                  </a:cubicBezTo>
                  <a:cubicBezTo>
                    <a:pt x="2391" y="3979"/>
                    <a:pt x="2421" y="3920"/>
                    <a:pt x="2435" y="3957"/>
                  </a:cubicBezTo>
                  <a:cubicBezTo>
                    <a:pt x="2465" y="3994"/>
                    <a:pt x="2473" y="3979"/>
                    <a:pt x="2510" y="3987"/>
                  </a:cubicBezTo>
                  <a:cubicBezTo>
                    <a:pt x="2621" y="4009"/>
                    <a:pt x="2703" y="3950"/>
                    <a:pt x="2799" y="3950"/>
                  </a:cubicBezTo>
                  <a:cubicBezTo>
                    <a:pt x="2807" y="3905"/>
                    <a:pt x="2851" y="3853"/>
                    <a:pt x="2903" y="3883"/>
                  </a:cubicBezTo>
                  <a:cubicBezTo>
                    <a:pt x="2926" y="3890"/>
                    <a:pt x="2948" y="3905"/>
                    <a:pt x="2970" y="3898"/>
                  </a:cubicBezTo>
                  <a:cubicBezTo>
                    <a:pt x="2992" y="3883"/>
                    <a:pt x="2985" y="3846"/>
                    <a:pt x="3015" y="3853"/>
                  </a:cubicBezTo>
                  <a:cubicBezTo>
                    <a:pt x="3015" y="3883"/>
                    <a:pt x="3007" y="3905"/>
                    <a:pt x="3015" y="3927"/>
                  </a:cubicBezTo>
                  <a:cubicBezTo>
                    <a:pt x="3030" y="3965"/>
                    <a:pt x="3067" y="3935"/>
                    <a:pt x="3074" y="3913"/>
                  </a:cubicBezTo>
                  <a:cubicBezTo>
                    <a:pt x="3119" y="3905"/>
                    <a:pt x="3149" y="3957"/>
                    <a:pt x="3186" y="3972"/>
                  </a:cubicBezTo>
                  <a:cubicBezTo>
                    <a:pt x="3245" y="4002"/>
                    <a:pt x="3312" y="3965"/>
                    <a:pt x="3371" y="3965"/>
                  </a:cubicBezTo>
                  <a:cubicBezTo>
                    <a:pt x="3371" y="3935"/>
                    <a:pt x="3371" y="3913"/>
                    <a:pt x="3371" y="3883"/>
                  </a:cubicBezTo>
                  <a:cubicBezTo>
                    <a:pt x="3416" y="3876"/>
                    <a:pt x="3460" y="3905"/>
                    <a:pt x="3505" y="3905"/>
                  </a:cubicBezTo>
                  <a:cubicBezTo>
                    <a:pt x="3505" y="3898"/>
                    <a:pt x="3505" y="3890"/>
                    <a:pt x="3505" y="3876"/>
                  </a:cubicBezTo>
                  <a:cubicBezTo>
                    <a:pt x="3520" y="3876"/>
                    <a:pt x="3535" y="3876"/>
                    <a:pt x="3549" y="3876"/>
                  </a:cubicBezTo>
                  <a:cubicBezTo>
                    <a:pt x="3557" y="3853"/>
                    <a:pt x="3564" y="3786"/>
                    <a:pt x="3601" y="3816"/>
                  </a:cubicBezTo>
                  <a:cubicBezTo>
                    <a:pt x="3631" y="3838"/>
                    <a:pt x="3624" y="3876"/>
                    <a:pt x="3676" y="3876"/>
                  </a:cubicBezTo>
                  <a:cubicBezTo>
                    <a:pt x="3713" y="3876"/>
                    <a:pt x="3750" y="3883"/>
                    <a:pt x="3750" y="3927"/>
                  </a:cubicBezTo>
                  <a:cubicBezTo>
                    <a:pt x="3750" y="3965"/>
                    <a:pt x="3839" y="3935"/>
                    <a:pt x="3854" y="3935"/>
                  </a:cubicBezTo>
                  <a:cubicBezTo>
                    <a:pt x="3913" y="3927"/>
                    <a:pt x="3943" y="3935"/>
                    <a:pt x="3995" y="3965"/>
                  </a:cubicBezTo>
                  <a:cubicBezTo>
                    <a:pt x="4032" y="3979"/>
                    <a:pt x="4077" y="3979"/>
                    <a:pt x="4121" y="3972"/>
                  </a:cubicBezTo>
                  <a:cubicBezTo>
                    <a:pt x="4166" y="3972"/>
                    <a:pt x="4181" y="3965"/>
                    <a:pt x="4210" y="3935"/>
                  </a:cubicBezTo>
                  <a:cubicBezTo>
                    <a:pt x="4218" y="3927"/>
                    <a:pt x="4240" y="3913"/>
                    <a:pt x="4247" y="3920"/>
                  </a:cubicBezTo>
                  <a:cubicBezTo>
                    <a:pt x="4270" y="3942"/>
                    <a:pt x="4277" y="3942"/>
                    <a:pt x="4307" y="3942"/>
                  </a:cubicBezTo>
                  <a:cubicBezTo>
                    <a:pt x="4314" y="3965"/>
                    <a:pt x="4351" y="3965"/>
                    <a:pt x="4366" y="3994"/>
                  </a:cubicBezTo>
                  <a:cubicBezTo>
                    <a:pt x="4388" y="4054"/>
                    <a:pt x="4433" y="4106"/>
                    <a:pt x="4500" y="4113"/>
                  </a:cubicBezTo>
                  <a:cubicBezTo>
                    <a:pt x="4522" y="4121"/>
                    <a:pt x="4552" y="4121"/>
                    <a:pt x="4567" y="4135"/>
                  </a:cubicBezTo>
                  <a:cubicBezTo>
                    <a:pt x="4641" y="4069"/>
                    <a:pt x="4641" y="3898"/>
                    <a:pt x="4648" y="3838"/>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5" name="Freeform 2">
              <a:extLst>
                <a:ext uri="{FF2B5EF4-FFF2-40B4-BE49-F238E27FC236}">
                  <a16:creationId xmlns:a16="http://schemas.microsoft.com/office/drawing/2014/main" id="{4A95D317-BAC9-EF4E-B9F3-ACE3131AE61B}"/>
                </a:ext>
              </a:extLst>
            </p:cNvPr>
            <p:cNvSpPr>
              <a:spLocks noChangeArrowheads="1"/>
            </p:cNvSpPr>
            <p:nvPr/>
          </p:nvSpPr>
          <p:spPr bwMode="auto">
            <a:xfrm>
              <a:off x="8029079" y="6779588"/>
              <a:ext cx="1852987" cy="1514553"/>
            </a:xfrm>
            <a:custGeom>
              <a:avLst/>
              <a:gdLst>
                <a:gd name="T0" fmla="*/ 3112 w 4286"/>
                <a:gd name="T1" fmla="*/ 3452 h 3505"/>
                <a:gd name="T2" fmla="*/ 3283 w 4286"/>
                <a:gd name="T3" fmla="*/ 3496 h 3505"/>
                <a:gd name="T4" fmla="*/ 3409 w 4286"/>
                <a:gd name="T5" fmla="*/ 3088 h 3505"/>
                <a:gd name="T6" fmla="*/ 3684 w 4286"/>
                <a:gd name="T7" fmla="*/ 3117 h 3505"/>
                <a:gd name="T8" fmla="*/ 3654 w 4286"/>
                <a:gd name="T9" fmla="*/ 2805 h 3505"/>
                <a:gd name="T10" fmla="*/ 3951 w 4286"/>
                <a:gd name="T11" fmla="*/ 2605 h 3505"/>
                <a:gd name="T12" fmla="*/ 3795 w 4286"/>
                <a:gd name="T13" fmla="*/ 2382 h 3505"/>
                <a:gd name="T14" fmla="*/ 3988 w 4286"/>
                <a:gd name="T15" fmla="*/ 2263 h 3505"/>
                <a:gd name="T16" fmla="*/ 4062 w 4286"/>
                <a:gd name="T17" fmla="*/ 1804 h 3505"/>
                <a:gd name="T18" fmla="*/ 4181 w 4286"/>
                <a:gd name="T19" fmla="*/ 1403 h 3505"/>
                <a:gd name="T20" fmla="*/ 3958 w 4286"/>
                <a:gd name="T21" fmla="*/ 1210 h 3505"/>
                <a:gd name="T22" fmla="*/ 3602 w 4286"/>
                <a:gd name="T23" fmla="*/ 861 h 3505"/>
                <a:gd name="T24" fmla="*/ 3513 w 4286"/>
                <a:gd name="T25" fmla="*/ 415 h 3505"/>
                <a:gd name="T26" fmla="*/ 3119 w 4286"/>
                <a:gd name="T27" fmla="*/ 252 h 3505"/>
                <a:gd name="T28" fmla="*/ 2763 w 4286"/>
                <a:gd name="T29" fmla="*/ 133 h 3505"/>
                <a:gd name="T30" fmla="*/ 2347 w 4286"/>
                <a:gd name="T31" fmla="*/ 59 h 3505"/>
                <a:gd name="T32" fmla="*/ 2102 w 4286"/>
                <a:gd name="T33" fmla="*/ 44 h 3505"/>
                <a:gd name="T34" fmla="*/ 2117 w 4286"/>
                <a:gd name="T35" fmla="*/ 237 h 3505"/>
                <a:gd name="T36" fmla="*/ 1701 w 4286"/>
                <a:gd name="T37" fmla="*/ 141 h 3505"/>
                <a:gd name="T38" fmla="*/ 1270 w 4286"/>
                <a:gd name="T39" fmla="*/ 282 h 3505"/>
                <a:gd name="T40" fmla="*/ 891 w 4286"/>
                <a:gd name="T41" fmla="*/ 155 h 3505"/>
                <a:gd name="T42" fmla="*/ 572 w 4286"/>
                <a:gd name="T43" fmla="*/ 170 h 3505"/>
                <a:gd name="T44" fmla="*/ 194 w 4286"/>
                <a:gd name="T45" fmla="*/ 334 h 3505"/>
                <a:gd name="T46" fmla="*/ 15 w 4286"/>
                <a:gd name="T47" fmla="*/ 512 h 3505"/>
                <a:gd name="T48" fmla="*/ 401 w 4286"/>
                <a:gd name="T49" fmla="*/ 438 h 3505"/>
                <a:gd name="T50" fmla="*/ 194 w 4286"/>
                <a:gd name="T51" fmla="*/ 586 h 3505"/>
                <a:gd name="T52" fmla="*/ 320 w 4286"/>
                <a:gd name="T53" fmla="*/ 816 h 3505"/>
                <a:gd name="T54" fmla="*/ 349 w 4286"/>
                <a:gd name="T55" fmla="*/ 987 h 3505"/>
                <a:gd name="T56" fmla="*/ 869 w 4286"/>
                <a:gd name="T57" fmla="*/ 1307 h 3505"/>
                <a:gd name="T58" fmla="*/ 1330 w 4286"/>
                <a:gd name="T59" fmla="*/ 1225 h 3505"/>
                <a:gd name="T60" fmla="*/ 1567 w 4286"/>
                <a:gd name="T61" fmla="*/ 1113 h 3505"/>
                <a:gd name="T62" fmla="*/ 1389 w 4286"/>
                <a:gd name="T63" fmla="*/ 1477 h 3505"/>
                <a:gd name="T64" fmla="*/ 1159 w 4286"/>
                <a:gd name="T65" fmla="*/ 1537 h 3505"/>
                <a:gd name="T66" fmla="*/ 1010 w 4286"/>
                <a:gd name="T67" fmla="*/ 1618 h 3505"/>
                <a:gd name="T68" fmla="*/ 825 w 4286"/>
                <a:gd name="T69" fmla="*/ 1648 h 3505"/>
                <a:gd name="T70" fmla="*/ 624 w 4286"/>
                <a:gd name="T71" fmla="*/ 1707 h 3505"/>
                <a:gd name="T72" fmla="*/ 580 w 4286"/>
                <a:gd name="T73" fmla="*/ 1514 h 3505"/>
                <a:gd name="T74" fmla="*/ 728 w 4286"/>
                <a:gd name="T75" fmla="*/ 2026 h 3505"/>
                <a:gd name="T76" fmla="*/ 1166 w 4286"/>
                <a:gd name="T77" fmla="*/ 2546 h 3505"/>
                <a:gd name="T78" fmla="*/ 1545 w 4286"/>
                <a:gd name="T79" fmla="*/ 2850 h 3505"/>
                <a:gd name="T80" fmla="*/ 1998 w 4286"/>
                <a:gd name="T81" fmla="*/ 2880 h 3505"/>
                <a:gd name="T82" fmla="*/ 2280 w 4286"/>
                <a:gd name="T83" fmla="*/ 2754 h 3505"/>
                <a:gd name="T84" fmla="*/ 2629 w 4286"/>
                <a:gd name="T85" fmla="*/ 2598 h 3505"/>
                <a:gd name="T86" fmla="*/ 2785 w 4286"/>
                <a:gd name="T87" fmla="*/ 2070 h 3505"/>
                <a:gd name="T88" fmla="*/ 2956 w 4286"/>
                <a:gd name="T89" fmla="*/ 1922 h 3505"/>
                <a:gd name="T90" fmla="*/ 3260 w 4286"/>
                <a:gd name="T91" fmla="*/ 1907 h 3505"/>
                <a:gd name="T92" fmla="*/ 2963 w 4286"/>
                <a:gd name="T93" fmla="*/ 2011 h 3505"/>
                <a:gd name="T94" fmla="*/ 2971 w 4286"/>
                <a:gd name="T95" fmla="*/ 2182 h 3505"/>
                <a:gd name="T96" fmla="*/ 2978 w 4286"/>
                <a:gd name="T97" fmla="*/ 2390 h 3505"/>
                <a:gd name="T98" fmla="*/ 3030 w 4286"/>
                <a:gd name="T99" fmla="*/ 2479 h 3505"/>
                <a:gd name="T100" fmla="*/ 2978 w 4286"/>
                <a:gd name="T101" fmla="*/ 2709 h 3505"/>
                <a:gd name="T102" fmla="*/ 3053 w 4286"/>
                <a:gd name="T103" fmla="*/ 2850 h 3505"/>
                <a:gd name="T104" fmla="*/ 3082 w 4286"/>
                <a:gd name="T105" fmla="*/ 3013 h 3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86" h="3505">
                  <a:moveTo>
                    <a:pt x="3053" y="3259"/>
                  </a:moveTo>
                  <a:lnTo>
                    <a:pt x="3053" y="3259"/>
                  </a:lnTo>
                  <a:lnTo>
                    <a:pt x="3053" y="3266"/>
                  </a:lnTo>
                  <a:cubicBezTo>
                    <a:pt x="3105" y="3281"/>
                    <a:pt x="3201" y="3362"/>
                    <a:pt x="3208" y="3400"/>
                  </a:cubicBezTo>
                  <a:cubicBezTo>
                    <a:pt x="3216" y="3437"/>
                    <a:pt x="3171" y="3422"/>
                    <a:pt x="3149" y="3422"/>
                  </a:cubicBezTo>
                  <a:cubicBezTo>
                    <a:pt x="3142" y="3444"/>
                    <a:pt x="3119" y="3437"/>
                    <a:pt x="3112" y="3452"/>
                  </a:cubicBezTo>
                  <a:cubicBezTo>
                    <a:pt x="3112" y="3489"/>
                    <a:pt x="3164" y="3481"/>
                    <a:pt x="3179" y="3481"/>
                  </a:cubicBezTo>
                  <a:cubicBezTo>
                    <a:pt x="3179" y="3474"/>
                    <a:pt x="3186" y="3467"/>
                    <a:pt x="3186" y="3459"/>
                  </a:cubicBezTo>
                  <a:cubicBezTo>
                    <a:pt x="3194" y="3459"/>
                    <a:pt x="3201" y="3459"/>
                    <a:pt x="3208" y="3459"/>
                  </a:cubicBezTo>
                  <a:cubicBezTo>
                    <a:pt x="3216" y="3459"/>
                    <a:pt x="3216" y="3459"/>
                    <a:pt x="3216" y="3459"/>
                  </a:cubicBezTo>
                  <a:cubicBezTo>
                    <a:pt x="3216" y="3474"/>
                    <a:pt x="3216" y="3481"/>
                    <a:pt x="3216" y="3496"/>
                  </a:cubicBezTo>
                  <a:cubicBezTo>
                    <a:pt x="3238" y="3489"/>
                    <a:pt x="3260" y="3504"/>
                    <a:pt x="3283" y="3496"/>
                  </a:cubicBezTo>
                  <a:cubicBezTo>
                    <a:pt x="3290" y="3496"/>
                    <a:pt x="3298" y="3474"/>
                    <a:pt x="3305" y="3474"/>
                  </a:cubicBezTo>
                  <a:cubicBezTo>
                    <a:pt x="3320" y="3474"/>
                    <a:pt x="3335" y="3474"/>
                    <a:pt x="3357" y="3474"/>
                  </a:cubicBezTo>
                  <a:cubicBezTo>
                    <a:pt x="3357" y="3444"/>
                    <a:pt x="3350" y="3385"/>
                    <a:pt x="3379" y="3370"/>
                  </a:cubicBezTo>
                  <a:cubicBezTo>
                    <a:pt x="3409" y="3355"/>
                    <a:pt x="3387" y="3310"/>
                    <a:pt x="3394" y="3281"/>
                  </a:cubicBezTo>
                  <a:cubicBezTo>
                    <a:pt x="3409" y="3251"/>
                    <a:pt x="3453" y="3147"/>
                    <a:pt x="3387" y="3140"/>
                  </a:cubicBezTo>
                  <a:cubicBezTo>
                    <a:pt x="3394" y="3117"/>
                    <a:pt x="3409" y="3103"/>
                    <a:pt x="3409" y="3088"/>
                  </a:cubicBezTo>
                  <a:cubicBezTo>
                    <a:pt x="3446" y="3080"/>
                    <a:pt x="3439" y="3103"/>
                    <a:pt x="3461" y="3125"/>
                  </a:cubicBezTo>
                  <a:cubicBezTo>
                    <a:pt x="3483" y="3147"/>
                    <a:pt x="3513" y="3140"/>
                    <a:pt x="3543" y="3147"/>
                  </a:cubicBezTo>
                  <a:cubicBezTo>
                    <a:pt x="3543" y="3162"/>
                    <a:pt x="3543" y="3177"/>
                    <a:pt x="3543" y="3199"/>
                  </a:cubicBezTo>
                  <a:cubicBezTo>
                    <a:pt x="3572" y="3192"/>
                    <a:pt x="3580" y="3207"/>
                    <a:pt x="3595" y="3229"/>
                  </a:cubicBezTo>
                  <a:cubicBezTo>
                    <a:pt x="3610" y="3177"/>
                    <a:pt x="3699" y="3221"/>
                    <a:pt x="3699" y="3162"/>
                  </a:cubicBezTo>
                  <a:cubicBezTo>
                    <a:pt x="3699" y="3147"/>
                    <a:pt x="3676" y="3132"/>
                    <a:pt x="3684" y="3117"/>
                  </a:cubicBezTo>
                  <a:cubicBezTo>
                    <a:pt x="3684" y="3103"/>
                    <a:pt x="3758" y="3103"/>
                    <a:pt x="3773" y="3103"/>
                  </a:cubicBezTo>
                  <a:cubicBezTo>
                    <a:pt x="3780" y="3013"/>
                    <a:pt x="3765" y="2954"/>
                    <a:pt x="3699" y="2895"/>
                  </a:cubicBezTo>
                  <a:cubicBezTo>
                    <a:pt x="3661" y="2865"/>
                    <a:pt x="3661" y="2843"/>
                    <a:pt x="3610" y="2843"/>
                  </a:cubicBezTo>
                  <a:cubicBezTo>
                    <a:pt x="3602" y="2843"/>
                    <a:pt x="3572" y="2843"/>
                    <a:pt x="3565" y="2835"/>
                  </a:cubicBezTo>
                  <a:cubicBezTo>
                    <a:pt x="3565" y="2828"/>
                    <a:pt x="3557" y="2805"/>
                    <a:pt x="3557" y="2805"/>
                  </a:cubicBezTo>
                  <a:cubicBezTo>
                    <a:pt x="3595" y="2805"/>
                    <a:pt x="3624" y="2820"/>
                    <a:pt x="3654" y="2805"/>
                  </a:cubicBezTo>
                  <a:cubicBezTo>
                    <a:pt x="3676" y="2805"/>
                    <a:pt x="3691" y="2791"/>
                    <a:pt x="3713" y="2783"/>
                  </a:cubicBezTo>
                  <a:cubicBezTo>
                    <a:pt x="3743" y="2776"/>
                    <a:pt x="3728" y="2739"/>
                    <a:pt x="3743" y="2716"/>
                  </a:cubicBezTo>
                  <a:cubicBezTo>
                    <a:pt x="3765" y="2679"/>
                    <a:pt x="3825" y="2694"/>
                    <a:pt x="3855" y="2687"/>
                  </a:cubicBezTo>
                  <a:cubicBezTo>
                    <a:pt x="3855" y="2672"/>
                    <a:pt x="3862" y="2657"/>
                    <a:pt x="3862" y="2650"/>
                  </a:cubicBezTo>
                  <a:cubicBezTo>
                    <a:pt x="3884" y="2650"/>
                    <a:pt x="3907" y="2650"/>
                    <a:pt x="3929" y="2635"/>
                  </a:cubicBezTo>
                  <a:cubicBezTo>
                    <a:pt x="3936" y="2627"/>
                    <a:pt x="3944" y="2613"/>
                    <a:pt x="3951" y="2605"/>
                  </a:cubicBezTo>
                  <a:cubicBezTo>
                    <a:pt x="3981" y="2598"/>
                    <a:pt x="4003" y="2613"/>
                    <a:pt x="4033" y="2613"/>
                  </a:cubicBezTo>
                  <a:cubicBezTo>
                    <a:pt x="4055" y="2613"/>
                    <a:pt x="4077" y="2590"/>
                    <a:pt x="4100" y="2598"/>
                  </a:cubicBezTo>
                  <a:cubicBezTo>
                    <a:pt x="4055" y="2553"/>
                    <a:pt x="3936" y="2494"/>
                    <a:pt x="3877" y="2553"/>
                  </a:cubicBezTo>
                  <a:cubicBezTo>
                    <a:pt x="3780" y="2635"/>
                    <a:pt x="3817" y="2494"/>
                    <a:pt x="3758" y="2494"/>
                  </a:cubicBezTo>
                  <a:cubicBezTo>
                    <a:pt x="3758" y="2479"/>
                    <a:pt x="3780" y="2442"/>
                    <a:pt x="3795" y="2442"/>
                  </a:cubicBezTo>
                  <a:cubicBezTo>
                    <a:pt x="3795" y="2419"/>
                    <a:pt x="3795" y="2405"/>
                    <a:pt x="3795" y="2382"/>
                  </a:cubicBezTo>
                  <a:cubicBezTo>
                    <a:pt x="3773" y="2375"/>
                    <a:pt x="3743" y="2375"/>
                    <a:pt x="3758" y="2345"/>
                  </a:cubicBezTo>
                  <a:cubicBezTo>
                    <a:pt x="3780" y="2345"/>
                    <a:pt x="3802" y="2353"/>
                    <a:pt x="3825" y="2345"/>
                  </a:cubicBezTo>
                  <a:cubicBezTo>
                    <a:pt x="3847" y="2338"/>
                    <a:pt x="3847" y="2301"/>
                    <a:pt x="3884" y="2293"/>
                  </a:cubicBezTo>
                  <a:cubicBezTo>
                    <a:pt x="3899" y="2293"/>
                    <a:pt x="3914" y="2286"/>
                    <a:pt x="3929" y="2286"/>
                  </a:cubicBezTo>
                  <a:cubicBezTo>
                    <a:pt x="3944" y="2286"/>
                    <a:pt x="3958" y="2271"/>
                    <a:pt x="3981" y="2263"/>
                  </a:cubicBezTo>
                  <a:lnTo>
                    <a:pt x="3988" y="2263"/>
                  </a:lnTo>
                  <a:cubicBezTo>
                    <a:pt x="3973" y="2248"/>
                    <a:pt x="3966" y="2234"/>
                    <a:pt x="3966" y="2211"/>
                  </a:cubicBezTo>
                  <a:cubicBezTo>
                    <a:pt x="3958" y="2174"/>
                    <a:pt x="3996" y="2137"/>
                    <a:pt x="3988" y="2115"/>
                  </a:cubicBezTo>
                  <a:cubicBezTo>
                    <a:pt x="3966" y="2078"/>
                    <a:pt x="3951" y="2048"/>
                    <a:pt x="3929" y="2011"/>
                  </a:cubicBezTo>
                  <a:cubicBezTo>
                    <a:pt x="3877" y="1952"/>
                    <a:pt x="4100" y="1952"/>
                    <a:pt x="4107" y="1952"/>
                  </a:cubicBezTo>
                  <a:cubicBezTo>
                    <a:pt x="4122" y="1834"/>
                    <a:pt x="3936" y="1922"/>
                    <a:pt x="3958" y="1812"/>
                  </a:cubicBezTo>
                  <a:cubicBezTo>
                    <a:pt x="3996" y="1804"/>
                    <a:pt x="4033" y="1834"/>
                    <a:pt x="4062" y="1804"/>
                  </a:cubicBezTo>
                  <a:cubicBezTo>
                    <a:pt x="4085" y="1789"/>
                    <a:pt x="4100" y="1759"/>
                    <a:pt x="4107" y="1737"/>
                  </a:cubicBezTo>
                  <a:cubicBezTo>
                    <a:pt x="4166" y="1737"/>
                    <a:pt x="4181" y="1744"/>
                    <a:pt x="4218" y="1707"/>
                  </a:cubicBezTo>
                  <a:cubicBezTo>
                    <a:pt x="4248" y="1678"/>
                    <a:pt x="4278" y="1641"/>
                    <a:pt x="4278" y="1596"/>
                  </a:cubicBezTo>
                  <a:cubicBezTo>
                    <a:pt x="4285" y="1544"/>
                    <a:pt x="4255" y="1559"/>
                    <a:pt x="4218" y="1552"/>
                  </a:cubicBezTo>
                  <a:cubicBezTo>
                    <a:pt x="4174" y="1537"/>
                    <a:pt x="4174" y="1492"/>
                    <a:pt x="4174" y="1455"/>
                  </a:cubicBezTo>
                  <a:cubicBezTo>
                    <a:pt x="4174" y="1440"/>
                    <a:pt x="4181" y="1425"/>
                    <a:pt x="4181" y="1403"/>
                  </a:cubicBezTo>
                  <a:cubicBezTo>
                    <a:pt x="4174" y="1403"/>
                    <a:pt x="4159" y="1403"/>
                    <a:pt x="4159" y="1403"/>
                  </a:cubicBezTo>
                  <a:cubicBezTo>
                    <a:pt x="4159" y="1403"/>
                    <a:pt x="4174" y="1403"/>
                    <a:pt x="4181" y="1403"/>
                  </a:cubicBezTo>
                  <a:cubicBezTo>
                    <a:pt x="4181" y="1373"/>
                    <a:pt x="4181" y="1344"/>
                    <a:pt x="4152" y="1336"/>
                  </a:cubicBezTo>
                  <a:cubicBezTo>
                    <a:pt x="4129" y="1329"/>
                    <a:pt x="4055" y="1366"/>
                    <a:pt x="4070" y="1314"/>
                  </a:cubicBezTo>
                  <a:cubicBezTo>
                    <a:pt x="4070" y="1277"/>
                    <a:pt x="4092" y="1262"/>
                    <a:pt x="4055" y="1225"/>
                  </a:cubicBezTo>
                  <a:cubicBezTo>
                    <a:pt x="4033" y="1202"/>
                    <a:pt x="3988" y="1210"/>
                    <a:pt x="3958" y="1210"/>
                  </a:cubicBezTo>
                  <a:lnTo>
                    <a:pt x="3958" y="1202"/>
                  </a:lnTo>
                  <a:cubicBezTo>
                    <a:pt x="3914" y="1210"/>
                    <a:pt x="3921" y="1158"/>
                    <a:pt x="3884" y="1143"/>
                  </a:cubicBezTo>
                  <a:cubicBezTo>
                    <a:pt x="3855" y="1128"/>
                    <a:pt x="3802" y="1150"/>
                    <a:pt x="3773" y="1128"/>
                  </a:cubicBezTo>
                  <a:cubicBezTo>
                    <a:pt x="3728" y="1084"/>
                    <a:pt x="3825" y="928"/>
                    <a:pt x="3699" y="995"/>
                  </a:cubicBezTo>
                  <a:cubicBezTo>
                    <a:pt x="3669" y="965"/>
                    <a:pt x="3691" y="928"/>
                    <a:pt x="3669" y="898"/>
                  </a:cubicBezTo>
                  <a:cubicBezTo>
                    <a:pt x="3654" y="876"/>
                    <a:pt x="3617" y="891"/>
                    <a:pt x="3602" y="861"/>
                  </a:cubicBezTo>
                  <a:cubicBezTo>
                    <a:pt x="3580" y="809"/>
                    <a:pt x="3676" y="765"/>
                    <a:pt x="3691" y="720"/>
                  </a:cubicBezTo>
                  <a:cubicBezTo>
                    <a:pt x="3706" y="660"/>
                    <a:pt x="3654" y="594"/>
                    <a:pt x="3610" y="653"/>
                  </a:cubicBezTo>
                  <a:cubicBezTo>
                    <a:pt x="3565" y="705"/>
                    <a:pt x="3535" y="668"/>
                    <a:pt x="3550" y="608"/>
                  </a:cubicBezTo>
                  <a:cubicBezTo>
                    <a:pt x="3498" y="616"/>
                    <a:pt x="3468" y="564"/>
                    <a:pt x="3476" y="512"/>
                  </a:cubicBezTo>
                  <a:cubicBezTo>
                    <a:pt x="3483" y="460"/>
                    <a:pt x="3528" y="452"/>
                    <a:pt x="3572" y="423"/>
                  </a:cubicBezTo>
                  <a:cubicBezTo>
                    <a:pt x="3557" y="408"/>
                    <a:pt x="3535" y="415"/>
                    <a:pt x="3513" y="415"/>
                  </a:cubicBezTo>
                  <a:cubicBezTo>
                    <a:pt x="3505" y="386"/>
                    <a:pt x="3520" y="356"/>
                    <a:pt x="3520" y="326"/>
                  </a:cubicBezTo>
                  <a:cubicBezTo>
                    <a:pt x="3483" y="319"/>
                    <a:pt x="3446" y="304"/>
                    <a:pt x="3424" y="334"/>
                  </a:cubicBezTo>
                  <a:cubicBezTo>
                    <a:pt x="3409" y="356"/>
                    <a:pt x="3416" y="438"/>
                    <a:pt x="3372" y="415"/>
                  </a:cubicBezTo>
                  <a:cubicBezTo>
                    <a:pt x="3357" y="363"/>
                    <a:pt x="3268" y="386"/>
                    <a:pt x="3223" y="386"/>
                  </a:cubicBezTo>
                  <a:cubicBezTo>
                    <a:pt x="3216" y="363"/>
                    <a:pt x="3216" y="341"/>
                    <a:pt x="3216" y="319"/>
                  </a:cubicBezTo>
                  <a:cubicBezTo>
                    <a:pt x="3186" y="311"/>
                    <a:pt x="3149" y="245"/>
                    <a:pt x="3119" y="252"/>
                  </a:cubicBezTo>
                  <a:cubicBezTo>
                    <a:pt x="3097" y="274"/>
                    <a:pt x="3097" y="304"/>
                    <a:pt x="3067" y="311"/>
                  </a:cubicBezTo>
                  <a:cubicBezTo>
                    <a:pt x="3060" y="274"/>
                    <a:pt x="3053" y="260"/>
                    <a:pt x="3023" y="237"/>
                  </a:cubicBezTo>
                  <a:cubicBezTo>
                    <a:pt x="3000" y="215"/>
                    <a:pt x="3008" y="193"/>
                    <a:pt x="2993" y="170"/>
                  </a:cubicBezTo>
                  <a:cubicBezTo>
                    <a:pt x="2971" y="133"/>
                    <a:pt x="2911" y="170"/>
                    <a:pt x="2882" y="148"/>
                  </a:cubicBezTo>
                  <a:cubicBezTo>
                    <a:pt x="2852" y="133"/>
                    <a:pt x="2859" y="103"/>
                    <a:pt x="2852" y="74"/>
                  </a:cubicBezTo>
                  <a:cubicBezTo>
                    <a:pt x="2822" y="66"/>
                    <a:pt x="2770" y="96"/>
                    <a:pt x="2763" y="133"/>
                  </a:cubicBezTo>
                  <a:cubicBezTo>
                    <a:pt x="2741" y="133"/>
                    <a:pt x="2733" y="126"/>
                    <a:pt x="2733" y="103"/>
                  </a:cubicBezTo>
                  <a:cubicBezTo>
                    <a:pt x="2703" y="96"/>
                    <a:pt x="2689" y="141"/>
                    <a:pt x="2689" y="163"/>
                  </a:cubicBezTo>
                  <a:cubicBezTo>
                    <a:pt x="2659" y="170"/>
                    <a:pt x="2651" y="133"/>
                    <a:pt x="2644" y="111"/>
                  </a:cubicBezTo>
                  <a:cubicBezTo>
                    <a:pt x="2629" y="81"/>
                    <a:pt x="2600" y="74"/>
                    <a:pt x="2562" y="81"/>
                  </a:cubicBezTo>
                  <a:cubicBezTo>
                    <a:pt x="2525" y="81"/>
                    <a:pt x="2503" y="74"/>
                    <a:pt x="2473" y="59"/>
                  </a:cubicBezTo>
                  <a:cubicBezTo>
                    <a:pt x="2436" y="44"/>
                    <a:pt x="2384" y="59"/>
                    <a:pt x="2347" y="59"/>
                  </a:cubicBezTo>
                  <a:cubicBezTo>
                    <a:pt x="2347" y="74"/>
                    <a:pt x="2340" y="89"/>
                    <a:pt x="2340" y="96"/>
                  </a:cubicBezTo>
                  <a:cubicBezTo>
                    <a:pt x="2317" y="103"/>
                    <a:pt x="2288" y="103"/>
                    <a:pt x="2280" y="81"/>
                  </a:cubicBezTo>
                  <a:cubicBezTo>
                    <a:pt x="2273" y="59"/>
                    <a:pt x="2280" y="29"/>
                    <a:pt x="2265" y="22"/>
                  </a:cubicBezTo>
                  <a:cubicBezTo>
                    <a:pt x="2243" y="0"/>
                    <a:pt x="2154" y="22"/>
                    <a:pt x="2132" y="37"/>
                  </a:cubicBezTo>
                  <a:cubicBezTo>
                    <a:pt x="2124" y="37"/>
                    <a:pt x="2109" y="44"/>
                    <a:pt x="2102" y="44"/>
                  </a:cubicBezTo>
                  <a:lnTo>
                    <a:pt x="2102" y="44"/>
                  </a:lnTo>
                  <a:cubicBezTo>
                    <a:pt x="2109" y="52"/>
                    <a:pt x="2109" y="52"/>
                    <a:pt x="2117" y="52"/>
                  </a:cubicBezTo>
                  <a:cubicBezTo>
                    <a:pt x="2124" y="96"/>
                    <a:pt x="2095" y="133"/>
                    <a:pt x="2102" y="170"/>
                  </a:cubicBezTo>
                  <a:cubicBezTo>
                    <a:pt x="2139" y="170"/>
                    <a:pt x="2169" y="170"/>
                    <a:pt x="2198" y="170"/>
                  </a:cubicBezTo>
                  <a:cubicBezTo>
                    <a:pt x="2198" y="178"/>
                    <a:pt x="2198" y="178"/>
                    <a:pt x="2198" y="185"/>
                  </a:cubicBezTo>
                  <a:cubicBezTo>
                    <a:pt x="2191" y="185"/>
                    <a:pt x="2191" y="193"/>
                    <a:pt x="2184" y="193"/>
                  </a:cubicBezTo>
                  <a:cubicBezTo>
                    <a:pt x="2161" y="193"/>
                    <a:pt x="2132" y="222"/>
                    <a:pt x="2117" y="237"/>
                  </a:cubicBezTo>
                  <a:cubicBezTo>
                    <a:pt x="2102" y="222"/>
                    <a:pt x="2080" y="230"/>
                    <a:pt x="2057" y="230"/>
                  </a:cubicBezTo>
                  <a:lnTo>
                    <a:pt x="2057" y="237"/>
                  </a:lnTo>
                  <a:cubicBezTo>
                    <a:pt x="2020" y="237"/>
                    <a:pt x="2006" y="267"/>
                    <a:pt x="1998" y="304"/>
                  </a:cubicBezTo>
                  <a:cubicBezTo>
                    <a:pt x="1953" y="304"/>
                    <a:pt x="1886" y="311"/>
                    <a:pt x="1842" y="289"/>
                  </a:cubicBezTo>
                  <a:cubicBezTo>
                    <a:pt x="1783" y="267"/>
                    <a:pt x="1820" y="200"/>
                    <a:pt x="1820" y="148"/>
                  </a:cubicBezTo>
                  <a:cubicBezTo>
                    <a:pt x="1783" y="148"/>
                    <a:pt x="1738" y="141"/>
                    <a:pt x="1701" y="141"/>
                  </a:cubicBezTo>
                  <a:cubicBezTo>
                    <a:pt x="1679" y="148"/>
                    <a:pt x="1656" y="148"/>
                    <a:pt x="1641" y="155"/>
                  </a:cubicBezTo>
                  <a:cubicBezTo>
                    <a:pt x="1619" y="163"/>
                    <a:pt x="1612" y="178"/>
                    <a:pt x="1590" y="185"/>
                  </a:cubicBezTo>
                  <a:cubicBezTo>
                    <a:pt x="1567" y="193"/>
                    <a:pt x="1552" y="193"/>
                    <a:pt x="1530" y="193"/>
                  </a:cubicBezTo>
                  <a:cubicBezTo>
                    <a:pt x="1493" y="193"/>
                    <a:pt x="1501" y="193"/>
                    <a:pt x="1478" y="215"/>
                  </a:cubicBezTo>
                  <a:cubicBezTo>
                    <a:pt x="1449" y="237"/>
                    <a:pt x="1426" y="252"/>
                    <a:pt x="1396" y="267"/>
                  </a:cubicBezTo>
                  <a:cubicBezTo>
                    <a:pt x="1396" y="304"/>
                    <a:pt x="1300" y="282"/>
                    <a:pt x="1270" y="282"/>
                  </a:cubicBezTo>
                  <a:cubicBezTo>
                    <a:pt x="1211" y="282"/>
                    <a:pt x="1189" y="267"/>
                    <a:pt x="1151" y="222"/>
                  </a:cubicBezTo>
                  <a:cubicBezTo>
                    <a:pt x="1144" y="207"/>
                    <a:pt x="1122" y="170"/>
                    <a:pt x="1107" y="163"/>
                  </a:cubicBezTo>
                  <a:cubicBezTo>
                    <a:pt x="1092" y="155"/>
                    <a:pt x="1055" y="163"/>
                    <a:pt x="1040" y="163"/>
                  </a:cubicBezTo>
                  <a:cubicBezTo>
                    <a:pt x="1018" y="163"/>
                    <a:pt x="996" y="155"/>
                    <a:pt x="981" y="148"/>
                  </a:cubicBezTo>
                  <a:cubicBezTo>
                    <a:pt x="958" y="148"/>
                    <a:pt x="944" y="141"/>
                    <a:pt x="936" y="170"/>
                  </a:cubicBezTo>
                  <a:cubicBezTo>
                    <a:pt x="914" y="178"/>
                    <a:pt x="906" y="163"/>
                    <a:pt x="891" y="155"/>
                  </a:cubicBezTo>
                  <a:cubicBezTo>
                    <a:pt x="869" y="148"/>
                    <a:pt x="877" y="148"/>
                    <a:pt x="854" y="155"/>
                  </a:cubicBezTo>
                  <a:cubicBezTo>
                    <a:pt x="825" y="163"/>
                    <a:pt x="795" y="178"/>
                    <a:pt x="758" y="155"/>
                  </a:cubicBezTo>
                  <a:cubicBezTo>
                    <a:pt x="750" y="155"/>
                    <a:pt x="736" y="133"/>
                    <a:pt x="721" y="126"/>
                  </a:cubicBezTo>
                  <a:cubicBezTo>
                    <a:pt x="706" y="126"/>
                    <a:pt x="699" y="148"/>
                    <a:pt x="691" y="148"/>
                  </a:cubicBezTo>
                  <a:cubicBezTo>
                    <a:pt x="639" y="170"/>
                    <a:pt x="639" y="133"/>
                    <a:pt x="632" y="96"/>
                  </a:cubicBezTo>
                  <a:cubicBezTo>
                    <a:pt x="602" y="96"/>
                    <a:pt x="580" y="148"/>
                    <a:pt x="572" y="170"/>
                  </a:cubicBezTo>
                  <a:cubicBezTo>
                    <a:pt x="542" y="170"/>
                    <a:pt x="550" y="103"/>
                    <a:pt x="542" y="81"/>
                  </a:cubicBezTo>
                  <a:cubicBezTo>
                    <a:pt x="513" y="29"/>
                    <a:pt x="513" y="111"/>
                    <a:pt x="513" y="133"/>
                  </a:cubicBezTo>
                  <a:cubicBezTo>
                    <a:pt x="505" y="178"/>
                    <a:pt x="498" y="200"/>
                    <a:pt x="491" y="237"/>
                  </a:cubicBezTo>
                  <a:cubicBezTo>
                    <a:pt x="476" y="267"/>
                    <a:pt x="483" y="311"/>
                    <a:pt x="461" y="341"/>
                  </a:cubicBezTo>
                  <a:cubicBezTo>
                    <a:pt x="394" y="341"/>
                    <a:pt x="320" y="334"/>
                    <a:pt x="245" y="334"/>
                  </a:cubicBezTo>
                  <a:cubicBezTo>
                    <a:pt x="231" y="334"/>
                    <a:pt x="208" y="334"/>
                    <a:pt x="194" y="334"/>
                  </a:cubicBezTo>
                  <a:cubicBezTo>
                    <a:pt x="186" y="326"/>
                    <a:pt x="171" y="311"/>
                    <a:pt x="164" y="311"/>
                  </a:cubicBezTo>
                  <a:cubicBezTo>
                    <a:pt x="134" y="319"/>
                    <a:pt x="149" y="334"/>
                    <a:pt x="127" y="341"/>
                  </a:cubicBezTo>
                  <a:cubicBezTo>
                    <a:pt x="119" y="349"/>
                    <a:pt x="97" y="349"/>
                    <a:pt x="82" y="349"/>
                  </a:cubicBezTo>
                  <a:cubicBezTo>
                    <a:pt x="75" y="363"/>
                    <a:pt x="60" y="363"/>
                    <a:pt x="52" y="378"/>
                  </a:cubicBezTo>
                  <a:cubicBezTo>
                    <a:pt x="45" y="400"/>
                    <a:pt x="60" y="423"/>
                    <a:pt x="37" y="438"/>
                  </a:cubicBezTo>
                  <a:cubicBezTo>
                    <a:pt x="30" y="460"/>
                    <a:pt x="23" y="482"/>
                    <a:pt x="15" y="512"/>
                  </a:cubicBezTo>
                  <a:cubicBezTo>
                    <a:pt x="0" y="586"/>
                    <a:pt x="0" y="586"/>
                    <a:pt x="0" y="586"/>
                  </a:cubicBezTo>
                  <a:cubicBezTo>
                    <a:pt x="23" y="601"/>
                    <a:pt x="75" y="601"/>
                    <a:pt x="104" y="608"/>
                  </a:cubicBezTo>
                  <a:cubicBezTo>
                    <a:pt x="164" y="608"/>
                    <a:pt x="149" y="556"/>
                    <a:pt x="171" y="519"/>
                  </a:cubicBezTo>
                  <a:cubicBezTo>
                    <a:pt x="201" y="482"/>
                    <a:pt x="253" y="512"/>
                    <a:pt x="297" y="497"/>
                  </a:cubicBezTo>
                  <a:cubicBezTo>
                    <a:pt x="305" y="497"/>
                    <a:pt x="334" y="475"/>
                    <a:pt x="349" y="467"/>
                  </a:cubicBezTo>
                  <a:cubicBezTo>
                    <a:pt x="364" y="460"/>
                    <a:pt x="372" y="430"/>
                    <a:pt x="401" y="438"/>
                  </a:cubicBezTo>
                  <a:cubicBezTo>
                    <a:pt x="387" y="452"/>
                    <a:pt x="387" y="490"/>
                    <a:pt x="379" y="497"/>
                  </a:cubicBezTo>
                  <a:cubicBezTo>
                    <a:pt x="364" y="512"/>
                    <a:pt x="342" y="505"/>
                    <a:pt x="320" y="512"/>
                  </a:cubicBezTo>
                  <a:cubicBezTo>
                    <a:pt x="312" y="519"/>
                    <a:pt x="297" y="542"/>
                    <a:pt x="283" y="549"/>
                  </a:cubicBezTo>
                  <a:cubicBezTo>
                    <a:pt x="260" y="564"/>
                    <a:pt x="260" y="564"/>
                    <a:pt x="231" y="564"/>
                  </a:cubicBezTo>
                  <a:cubicBezTo>
                    <a:pt x="208" y="564"/>
                    <a:pt x="201" y="564"/>
                    <a:pt x="201" y="571"/>
                  </a:cubicBezTo>
                  <a:cubicBezTo>
                    <a:pt x="194" y="571"/>
                    <a:pt x="194" y="579"/>
                    <a:pt x="194" y="586"/>
                  </a:cubicBezTo>
                  <a:cubicBezTo>
                    <a:pt x="179" y="608"/>
                    <a:pt x="186" y="668"/>
                    <a:pt x="186" y="690"/>
                  </a:cubicBezTo>
                  <a:cubicBezTo>
                    <a:pt x="208" y="683"/>
                    <a:pt x="231" y="690"/>
                    <a:pt x="238" y="720"/>
                  </a:cubicBezTo>
                  <a:cubicBezTo>
                    <a:pt x="245" y="750"/>
                    <a:pt x="223" y="727"/>
                    <a:pt x="208" y="757"/>
                  </a:cubicBezTo>
                  <a:cubicBezTo>
                    <a:pt x="231" y="757"/>
                    <a:pt x="260" y="765"/>
                    <a:pt x="283" y="779"/>
                  </a:cubicBezTo>
                  <a:cubicBezTo>
                    <a:pt x="320" y="794"/>
                    <a:pt x="260" y="816"/>
                    <a:pt x="268" y="854"/>
                  </a:cubicBezTo>
                  <a:cubicBezTo>
                    <a:pt x="290" y="854"/>
                    <a:pt x="290" y="816"/>
                    <a:pt x="320" y="816"/>
                  </a:cubicBezTo>
                  <a:cubicBezTo>
                    <a:pt x="320" y="839"/>
                    <a:pt x="320" y="846"/>
                    <a:pt x="305" y="861"/>
                  </a:cubicBezTo>
                  <a:cubicBezTo>
                    <a:pt x="297" y="876"/>
                    <a:pt x="275" y="868"/>
                    <a:pt x="290" y="891"/>
                  </a:cubicBezTo>
                  <a:cubicBezTo>
                    <a:pt x="312" y="883"/>
                    <a:pt x="334" y="839"/>
                    <a:pt x="364" y="854"/>
                  </a:cubicBezTo>
                  <a:lnTo>
                    <a:pt x="364" y="861"/>
                  </a:lnTo>
                  <a:cubicBezTo>
                    <a:pt x="327" y="868"/>
                    <a:pt x="342" y="920"/>
                    <a:pt x="305" y="920"/>
                  </a:cubicBezTo>
                  <a:cubicBezTo>
                    <a:pt x="327" y="943"/>
                    <a:pt x="342" y="957"/>
                    <a:pt x="349" y="987"/>
                  </a:cubicBezTo>
                  <a:cubicBezTo>
                    <a:pt x="394" y="987"/>
                    <a:pt x="439" y="1054"/>
                    <a:pt x="476" y="1076"/>
                  </a:cubicBezTo>
                  <a:cubicBezTo>
                    <a:pt x="520" y="1099"/>
                    <a:pt x="557" y="1121"/>
                    <a:pt x="602" y="1158"/>
                  </a:cubicBezTo>
                  <a:cubicBezTo>
                    <a:pt x="617" y="1173"/>
                    <a:pt x="639" y="1188"/>
                    <a:pt x="654" y="1202"/>
                  </a:cubicBezTo>
                  <a:cubicBezTo>
                    <a:pt x="676" y="1225"/>
                    <a:pt x="691" y="1247"/>
                    <a:pt x="721" y="1262"/>
                  </a:cubicBezTo>
                  <a:cubicBezTo>
                    <a:pt x="758" y="1269"/>
                    <a:pt x="825" y="1247"/>
                    <a:pt x="825" y="1314"/>
                  </a:cubicBezTo>
                  <a:cubicBezTo>
                    <a:pt x="839" y="1314"/>
                    <a:pt x="862" y="1314"/>
                    <a:pt x="869" y="1307"/>
                  </a:cubicBezTo>
                  <a:cubicBezTo>
                    <a:pt x="869" y="1277"/>
                    <a:pt x="951" y="1307"/>
                    <a:pt x="981" y="1307"/>
                  </a:cubicBezTo>
                  <a:cubicBezTo>
                    <a:pt x="1003" y="1307"/>
                    <a:pt x="1033" y="1321"/>
                    <a:pt x="1062" y="1321"/>
                  </a:cubicBezTo>
                  <a:cubicBezTo>
                    <a:pt x="1085" y="1314"/>
                    <a:pt x="1092" y="1307"/>
                    <a:pt x="1122" y="1307"/>
                  </a:cubicBezTo>
                  <a:cubicBezTo>
                    <a:pt x="1122" y="1299"/>
                    <a:pt x="1122" y="1299"/>
                    <a:pt x="1122" y="1292"/>
                  </a:cubicBezTo>
                  <a:cubicBezTo>
                    <a:pt x="1166" y="1262"/>
                    <a:pt x="1218" y="1292"/>
                    <a:pt x="1270" y="1277"/>
                  </a:cubicBezTo>
                  <a:cubicBezTo>
                    <a:pt x="1293" y="1262"/>
                    <a:pt x="1300" y="1232"/>
                    <a:pt x="1330" y="1225"/>
                  </a:cubicBezTo>
                  <a:cubicBezTo>
                    <a:pt x="1344" y="1225"/>
                    <a:pt x="1374" y="1240"/>
                    <a:pt x="1396" y="1232"/>
                  </a:cubicBezTo>
                  <a:cubicBezTo>
                    <a:pt x="1404" y="1225"/>
                    <a:pt x="1426" y="1188"/>
                    <a:pt x="1411" y="1188"/>
                  </a:cubicBezTo>
                  <a:cubicBezTo>
                    <a:pt x="1396" y="1188"/>
                    <a:pt x="1389" y="1188"/>
                    <a:pt x="1374" y="1188"/>
                  </a:cubicBezTo>
                  <a:cubicBezTo>
                    <a:pt x="1374" y="1165"/>
                    <a:pt x="1396" y="1150"/>
                    <a:pt x="1419" y="1158"/>
                  </a:cubicBezTo>
                  <a:cubicBezTo>
                    <a:pt x="1449" y="1173"/>
                    <a:pt x="1426" y="1202"/>
                    <a:pt x="1471" y="1180"/>
                  </a:cubicBezTo>
                  <a:cubicBezTo>
                    <a:pt x="1471" y="1128"/>
                    <a:pt x="1530" y="1106"/>
                    <a:pt x="1567" y="1113"/>
                  </a:cubicBezTo>
                  <a:cubicBezTo>
                    <a:pt x="1567" y="1158"/>
                    <a:pt x="1612" y="1165"/>
                    <a:pt x="1649" y="1143"/>
                  </a:cubicBezTo>
                  <a:cubicBezTo>
                    <a:pt x="1634" y="1158"/>
                    <a:pt x="1627" y="1173"/>
                    <a:pt x="1612" y="1188"/>
                  </a:cubicBezTo>
                  <a:cubicBezTo>
                    <a:pt x="1597" y="1202"/>
                    <a:pt x="1582" y="1202"/>
                    <a:pt x="1575" y="1232"/>
                  </a:cubicBezTo>
                  <a:cubicBezTo>
                    <a:pt x="1552" y="1269"/>
                    <a:pt x="1538" y="1307"/>
                    <a:pt x="1530" y="1359"/>
                  </a:cubicBezTo>
                  <a:cubicBezTo>
                    <a:pt x="1501" y="1366"/>
                    <a:pt x="1471" y="1410"/>
                    <a:pt x="1441" y="1440"/>
                  </a:cubicBezTo>
                  <a:cubicBezTo>
                    <a:pt x="1426" y="1448"/>
                    <a:pt x="1404" y="1462"/>
                    <a:pt x="1389" y="1477"/>
                  </a:cubicBezTo>
                  <a:cubicBezTo>
                    <a:pt x="1382" y="1492"/>
                    <a:pt x="1389" y="1514"/>
                    <a:pt x="1382" y="1529"/>
                  </a:cubicBezTo>
                  <a:cubicBezTo>
                    <a:pt x="1352" y="1529"/>
                    <a:pt x="1330" y="1522"/>
                    <a:pt x="1300" y="1522"/>
                  </a:cubicBezTo>
                  <a:cubicBezTo>
                    <a:pt x="1285" y="1529"/>
                    <a:pt x="1300" y="1544"/>
                    <a:pt x="1278" y="1537"/>
                  </a:cubicBezTo>
                  <a:cubicBezTo>
                    <a:pt x="1263" y="1529"/>
                    <a:pt x="1270" y="1514"/>
                    <a:pt x="1248" y="1507"/>
                  </a:cubicBezTo>
                  <a:cubicBezTo>
                    <a:pt x="1241" y="1499"/>
                    <a:pt x="1218" y="1507"/>
                    <a:pt x="1211" y="1507"/>
                  </a:cubicBezTo>
                  <a:cubicBezTo>
                    <a:pt x="1196" y="1514"/>
                    <a:pt x="1181" y="1522"/>
                    <a:pt x="1159" y="1537"/>
                  </a:cubicBezTo>
                  <a:cubicBezTo>
                    <a:pt x="1174" y="1537"/>
                    <a:pt x="1189" y="1537"/>
                    <a:pt x="1204" y="1537"/>
                  </a:cubicBezTo>
                  <a:cubicBezTo>
                    <a:pt x="1196" y="1566"/>
                    <a:pt x="1144" y="1589"/>
                    <a:pt x="1144" y="1618"/>
                  </a:cubicBezTo>
                  <a:cubicBezTo>
                    <a:pt x="1136" y="1618"/>
                    <a:pt x="1122" y="1626"/>
                    <a:pt x="1114" y="1626"/>
                  </a:cubicBezTo>
                  <a:cubicBezTo>
                    <a:pt x="1114" y="1626"/>
                    <a:pt x="1114" y="1626"/>
                    <a:pt x="1114" y="1633"/>
                  </a:cubicBezTo>
                  <a:cubicBezTo>
                    <a:pt x="1107" y="1633"/>
                    <a:pt x="1099" y="1633"/>
                    <a:pt x="1092" y="1626"/>
                  </a:cubicBezTo>
                  <a:cubicBezTo>
                    <a:pt x="1099" y="1574"/>
                    <a:pt x="1033" y="1604"/>
                    <a:pt x="1010" y="1618"/>
                  </a:cubicBezTo>
                  <a:cubicBezTo>
                    <a:pt x="1010" y="1626"/>
                    <a:pt x="1010" y="1633"/>
                    <a:pt x="1010" y="1641"/>
                  </a:cubicBezTo>
                  <a:cubicBezTo>
                    <a:pt x="1003" y="1641"/>
                    <a:pt x="996" y="1641"/>
                    <a:pt x="988" y="1641"/>
                  </a:cubicBezTo>
                  <a:cubicBezTo>
                    <a:pt x="973" y="1648"/>
                    <a:pt x="951" y="1633"/>
                    <a:pt x="958" y="1663"/>
                  </a:cubicBezTo>
                  <a:cubicBezTo>
                    <a:pt x="958" y="1670"/>
                    <a:pt x="951" y="1670"/>
                    <a:pt x="944" y="1670"/>
                  </a:cubicBezTo>
                  <a:cubicBezTo>
                    <a:pt x="944" y="1663"/>
                    <a:pt x="936" y="1648"/>
                    <a:pt x="936" y="1641"/>
                  </a:cubicBezTo>
                  <a:cubicBezTo>
                    <a:pt x="899" y="1633"/>
                    <a:pt x="862" y="1648"/>
                    <a:pt x="825" y="1648"/>
                  </a:cubicBezTo>
                  <a:lnTo>
                    <a:pt x="832" y="1648"/>
                  </a:lnTo>
                  <a:cubicBezTo>
                    <a:pt x="839" y="1655"/>
                    <a:pt x="839" y="1670"/>
                    <a:pt x="832" y="1678"/>
                  </a:cubicBezTo>
                  <a:cubicBezTo>
                    <a:pt x="802" y="1693"/>
                    <a:pt x="802" y="1655"/>
                    <a:pt x="780" y="1648"/>
                  </a:cubicBezTo>
                  <a:cubicBezTo>
                    <a:pt x="765" y="1648"/>
                    <a:pt x="743" y="1663"/>
                    <a:pt x="728" y="1663"/>
                  </a:cubicBezTo>
                  <a:cubicBezTo>
                    <a:pt x="706" y="1670"/>
                    <a:pt x="684" y="1670"/>
                    <a:pt x="661" y="1678"/>
                  </a:cubicBezTo>
                  <a:cubicBezTo>
                    <a:pt x="646" y="1685"/>
                    <a:pt x="639" y="1700"/>
                    <a:pt x="624" y="1707"/>
                  </a:cubicBezTo>
                  <a:cubicBezTo>
                    <a:pt x="624" y="1685"/>
                    <a:pt x="654" y="1693"/>
                    <a:pt x="654" y="1663"/>
                  </a:cubicBezTo>
                  <a:cubicBezTo>
                    <a:pt x="580" y="1670"/>
                    <a:pt x="646" y="1604"/>
                    <a:pt x="661" y="1566"/>
                  </a:cubicBezTo>
                  <a:cubicBezTo>
                    <a:pt x="639" y="1581"/>
                    <a:pt x="624" y="1566"/>
                    <a:pt x="602" y="1566"/>
                  </a:cubicBezTo>
                  <a:cubicBezTo>
                    <a:pt x="587" y="1574"/>
                    <a:pt x="572" y="1589"/>
                    <a:pt x="557" y="1589"/>
                  </a:cubicBezTo>
                  <a:cubicBezTo>
                    <a:pt x="528" y="1581"/>
                    <a:pt x="513" y="1559"/>
                    <a:pt x="542" y="1537"/>
                  </a:cubicBezTo>
                  <a:cubicBezTo>
                    <a:pt x="557" y="1529"/>
                    <a:pt x="580" y="1544"/>
                    <a:pt x="580" y="1514"/>
                  </a:cubicBezTo>
                  <a:cubicBezTo>
                    <a:pt x="557" y="1514"/>
                    <a:pt x="535" y="1507"/>
                    <a:pt x="520" y="1522"/>
                  </a:cubicBezTo>
                  <a:cubicBezTo>
                    <a:pt x="505" y="1529"/>
                    <a:pt x="520" y="1544"/>
                    <a:pt x="513" y="1552"/>
                  </a:cubicBezTo>
                  <a:cubicBezTo>
                    <a:pt x="505" y="1566"/>
                    <a:pt x="498" y="1566"/>
                    <a:pt x="491" y="1581"/>
                  </a:cubicBezTo>
                  <a:cubicBezTo>
                    <a:pt x="424" y="1604"/>
                    <a:pt x="513" y="1700"/>
                    <a:pt x="528" y="1737"/>
                  </a:cubicBezTo>
                  <a:cubicBezTo>
                    <a:pt x="550" y="1767"/>
                    <a:pt x="557" y="1797"/>
                    <a:pt x="580" y="1826"/>
                  </a:cubicBezTo>
                  <a:cubicBezTo>
                    <a:pt x="624" y="1900"/>
                    <a:pt x="684" y="1959"/>
                    <a:pt x="728" y="2026"/>
                  </a:cubicBezTo>
                  <a:cubicBezTo>
                    <a:pt x="758" y="2063"/>
                    <a:pt x="765" y="2085"/>
                    <a:pt x="802" y="2108"/>
                  </a:cubicBezTo>
                  <a:cubicBezTo>
                    <a:pt x="839" y="2137"/>
                    <a:pt x="854" y="2167"/>
                    <a:pt x="891" y="2197"/>
                  </a:cubicBezTo>
                  <a:cubicBezTo>
                    <a:pt x="921" y="2226"/>
                    <a:pt x="944" y="2248"/>
                    <a:pt x="966" y="2286"/>
                  </a:cubicBezTo>
                  <a:cubicBezTo>
                    <a:pt x="981" y="2315"/>
                    <a:pt x="996" y="2345"/>
                    <a:pt x="1033" y="2338"/>
                  </a:cubicBezTo>
                  <a:cubicBezTo>
                    <a:pt x="1025" y="2345"/>
                    <a:pt x="1025" y="2345"/>
                    <a:pt x="1018" y="2353"/>
                  </a:cubicBezTo>
                  <a:cubicBezTo>
                    <a:pt x="1025" y="2427"/>
                    <a:pt x="1114" y="2501"/>
                    <a:pt x="1166" y="2546"/>
                  </a:cubicBezTo>
                  <a:cubicBezTo>
                    <a:pt x="1196" y="2575"/>
                    <a:pt x="1218" y="2605"/>
                    <a:pt x="1248" y="2627"/>
                  </a:cubicBezTo>
                  <a:cubicBezTo>
                    <a:pt x="1278" y="2650"/>
                    <a:pt x="1293" y="2650"/>
                    <a:pt x="1307" y="2672"/>
                  </a:cubicBezTo>
                  <a:cubicBezTo>
                    <a:pt x="1322" y="2694"/>
                    <a:pt x="1337" y="2709"/>
                    <a:pt x="1352" y="2724"/>
                  </a:cubicBezTo>
                  <a:cubicBezTo>
                    <a:pt x="1382" y="2754"/>
                    <a:pt x="1419" y="2761"/>
                    <a:pt x="1449" y="2791"/>
                  </a:cubicBezTo>
                  <a:cubicBezTo>
                    <a:pt x="1471" y="2805"/>
                    <a:pt x="1478" y="2828"/>
                    <a:pt x="1493" y="2835"/>
                  </a:cubicBezTo>
                  <a:cubicBezTo>
                    <a:pt x="1515" y="2850"/>
                    <a:pt x="1523" y="2850"/>
                    <a:pt x="1545" y="2850"/>
                  </a:cubicBezTo>
                  <a:cubicBezTo>
                    <a:pt x="1590" y="2858"/>
                    <a:pt x="1604" y="2910"/>
                    <a:pt x="1649" y="2902"/>
                  </a:cubicBezTo>
                  <a:cubicBezTo>
                    <a:pt x="1664" y="2902"/>
                    <a:pt x="1671" y="2887"/>
                    <a:pt x="1694" y="2887"/>
                  </a:cubicBezTo>
                  <a:cubicBezTo>
                    <a:pt x="1716" y="2887"/>
                    <a:pt x="1723" y="2902"/>
                    <a:pt x="1746" y="2910"/>
                  </a:cubicBezTo>
                  <a:cubicBezTo>
                    <a:pt x="1768" y="2902"/>
                    <a:pt x="1805" y="2917"/>
                    <a:pt x="1827" y="2939"/>
                  </a:cubicBezTo>
                  <a:cubicBezTo>
                    <a:pt x="1849" y="2917"/>
                    <a:pt x="1886" y="2910"/>
                    <a:pt x="1894" y="2895"/>
                  </a:cubicBezTo>
                  <a:cubicBezTo>
                    <a:pt x="1931" y="2895"/>
                    <a:pt x="1968" y="2902"/>
                    <a:pt x="1998" y="2880"/>
                  </a:cubicBezTo>
                  <a:cubicBezTo>
                    <a:pt x="2028" y="2872"/>
                    <a:pt x="2028" y="2858"/>
                    <a:pt x="2057" y="2850"/>
                  </a:cubicBezTo>
                  <a:cubicBezTo>
                    <a:pt x="2080" y="2850"/>
                    <a:pt x="2095" y="2858"/>
                    <a:pt x="2117" y="2858"/>
                  </a:cubicBezTo>
                  <a:cubicBezTo>
                    <a:pt x="2132" y="2828"/>
                    <a:pt x="2146" y="2813"/>
                    <a:pt x="2184" y="2805"/>
                  </a:cubicBezTo>
                  <a:cubicBezTo>
                    <a:pt x="2206" y="2805"/>
                    <a:pt x="2258" y="2813"/>
                    <a:pt x="2258" y="2776"/>
                  </a:cubicBezTo>
                  <a:cubicBezTo>
                    <a:pt x="2236" y="2783"/>
                    <a:pt x="2206" y="2776"/>
                    <a:pt x="2198" y="2805"/>
                  </a:cubicBezTo>
                  <a:cubicBezTo>
                    <a:pt x="2176" y="2768"/>
                    <a:pt x="2258" y="2754"/>
                    <a:pt x="2280" y="2754"/>
                  </a:cubicBezTo>
                  <a:cubicBezTo>
                    <a:pt x="2317" y="2761"/>
                    <a:pt x="2354" y="2768"/>
                    <a:pt x="2392" y="2746"/>
                  </a:cubicBezTo>
                  <a:cubicBezTo>
                    <a:pt x="2406" y="2716"/>
                    <a:pt x="2436" y="2724"/>
                    <a:pt x="2466" y="2716"/>
                  </a:cubicBezTo>
                  <a:cubicBezTo>
                    <a:pt x="2496" y="2716"/>
                    <a:pt x="2518" y="2702"/>
                    <a:pt x="2540" y="2687"/>
                  </a:cubicBezTo>
                  <a:cubicBezTo>
                    <a:pt x="2570" y="2672"/>
                    <a:pt x="2585" y="2642"/>
                    <a:pt x="2614" y="2642"/>
                  </a:cubicBezTo>
                  <a:cubicBezTo>
                    <a:pt x="2622" y="2627"/>
                    <a:pt x="2622" y="2613"/>
                    <a:pt x="2622" y="2605"/>
                  </a:cubicBezTo>
                  <a:lnTo>
                    <a:pt x="2629" y="2598"/>
                  </a:lnTo>
                  <a:cubicBezTo>
                    <a:pt x="2659" y="2546"/>
                    <a:pt x="2689" y="2516"/>
                    <a:pt x="2733" y="2471"/>
                  </a:cubicBezTo>
                  <a:cubicBezTo>
                    <a:pt x="2778" y="2434"/>
                    <a:pt x="2763" y="2382"/>
                    <a:pt x="2770" y="2323"/>
                  </a:cubicBezTo>
                  <a:cubicBezTo>
                    <a:pt x="2800" y="2323"/>
                    <a:pt x="2785" y="2263"/>
                    <a:pt x="2785" y="2241"/>
                  </a:cubicBezTo>
                  <a:cubicBezTo>
                    <a:pt x="2785" y="2226"/>
                    <a:pt x="2793" y="2204"/>
                    <a:pt x="2785" y="2189"/>
                  </a:cubicBezTo>
                  <a:cubicBezTo>
                    <a:pt x="2785" y="2174"/>
                    <a:pt x="2770" y="2167"/>
                    <a:pt x="2770" y="2152"/>
                  </a:cubicBezTo>
                  <a:cubicBezTo>
                    <a:pt x="2763" y="2122"/>
                    <a:pt x="2770" y="2093"/>
                    <a:pt x="2785" y="2070"/>
                  </a:cubicBezTo>
                  <a:cubicBezTo>
                    <a:pt x="2800" y="2048"/>
                    <a:pt x="2822" y="2033"/>
                    <a:pt x="2830" y="2011"/>
                  </a:cubicBezTo>
                  <a:cubicBezTo>
                    <a:pt x="2837" y="2003"/>
                    <a:pt x="2837" y="2003"/>
                    <a:pt x="2845" y="1996"/>
                  </a:cubicBezTo>
                  <a:cubicBezTo>
                    <a:pt x="2822" y="1996"/>
                    <a:pt x="2800" y="1989"/>
                    <a:pt x="2785" y="1981"/>
                  </a:cubicBezTo>
                  <a:cubicBezTo>
                    <a:pt x="2815" y="1966"/>
                    <a:pt x="2815" y="1944"/>
                    <a:pt x="2822" y="1914"/>
                  </a:cubicBezTo>
                  <a:cubicBezTo>
                    <a:pt x="2859" y="1907"/>
                    <a:pt x="2867" y="1944"/>
                    <a:pt x="2897" y="1944"/>
                  </a:cubicBezTo>
                  <a:cubicBezTo>
                    <a:pt x="2926" y="1944"/>
                    <a:pt x="2919" y="1914"/>
                    <a:pt x="2956" y="1922"/>
                  </a:cubicBezTo>
                  <a:cubicBezTo>
                    <a:pt x="2956" y="1914"/>
                    <a:pt x="2956" y="1907"/>
                    <a:pt x="2956" y="1907"/>
                  </a:cubicBezTo>
                  <a:cubicBezTo>
                    <a:pt x="2934" y="1900"/>
                    <a:pt x="2911" y="1907"/>
                    <a:pt x="2889" y="1900"/>
                  </a:cubicBezTo>
                  <a:cubicBezTo>
                    <a:pt x="2897" y="1885"/>
                    <a:pt x="2911" y="1885"/>
                    <a:pt x="2934" y="1885"/>
                  </a:cubicBezTo>
                  <a:cubicBezTo>
                    <a:pt x="2948" y="1804"/>
                    <a:pt x="3053" y="1892"/>
                    <a:pt x="3082" y="1907"/>
                  </a:cubicBezTo>
                  <a:cubicBezTo>
                    <a:pt x="3119" y="1937"/>
                    <a:pt x="3208" y="1929"/>
                    <a:pt x="3253" y="1907"/>
                  </a:cubicBezTo>
                  <a:cubicBezTo>
                    <a:pt x="3260" y="1907"/>
                    <a:pt x="3260" y="1907"/>
                    <a:pt x="3260" y="1907"/>
                  </a:cubicBezTo>
                  <a:cubicBezTo>
                    <a:pt x="3260" y="1907"/>
                    <a:pt x="3260" y="1907"/>
                    <a:pt x="3253" y="1907"/>
                  </a:cubicBezTo>
                  <a:cubicBezTo>
                    <a:pt x="3238" y="1914"/>
                    <a:pt x="3208" y="1959"/>
                    <a:pt x="3186" y="1966"/>
                  </a:cubicBezTo>
                  <a:cubicBezTo>
                    <a:pt x="3164" y="1981"/>
                    <a:pt x="3164" y="1966"/>
                    <a:pt x="3134" y="1959"/>
                  </a:cubicBezTo>
                  <a:cubicBezTo>
                    <a:pt x="3119" y="1959"/>
                    <a:pt x="3097" y="1959"/>
                    <a:pt x="3082" y="1944"/>
                  </a:cubicBezTo>
                  <a:cubicBezTo>
                    <a:pt x="3045" y="1922"/>
                    <a:pt x="3038" y="1870"/>
                    <a:pt x="3000" y="1922"/>
                  </a:cubicBezTo>
                  <a:cubicBezTo>
                    <a:pt x="2978" y="1944"/>
                    <a:pt x="2986" y="1996"/>
                    <a:pt x="2963" y="2011"/>
                  </a:cubicBezTo>
                  <a:cubicBezTo>
                    <a:pt x="2978" y="2018"/>
                    <a:pt x="2993" y="2026"/>
                    <a:pt x="2993" y="2048"/>
                  </a:cubicBezTo>
                  <a:cubicBezTo>
                    <a:pt x="2963" y="2048"/>
                    <a:pt x="2963" y="2122"/>
                    <a:pt x="2963" y="2145"/>
                  </a:cubicBezTo>
                  <a:cubicBezTo>
                    <a:pt x="2978" y="2152"/>
                    <a:pt x="2993" y="2152"/>
                    <a:pt x="3008" y="2152"/>
                  </a:cubicBezTo>
                  <a:cubicBezTo>
                    <a:pt x="3023" y="2122"/>
                    <a:pt x="3134" y="2115"/>
                    <a:pt x="3156" y="2130"/>
                  </a:cubicBezTo>
                  <a:cubicBezTo>
                    <a:pt x="3119" y="2145"/>
                    <a:pt x="3097" y="2167"/>
                    <a:pt x="3053" y="2167"/>
                  </a:cubicBezTo>
                  <a:cubicBezTo>
                    <a:pt x="3030" y="2167"/>
                    <a:pt x="2986" y="2152"/>
                    <a:pt x="2971" y="2182"/>
                  </a:cubicBezTo>
                  <a:cubicBezTo>
                    <a:pt x="2956" y="2204"/>
                    <a:pt x="2971" y="2234"/>
                    <a:pt x="2971" y="2256"/>
                  </a:cubicBezTo>
                  <a:cubicBezTo>
                    <a:pt x="2971" y="2286"/>
                    <a:pt x="2948" y="2308"/>
                    <a:pt x="2956" y="2330"/>
                  </a:cubicBezTo>
                  <a:cubicBezTo>
                    <a:pt x="2963" y="2338"/>
                    <a:pt x="3090" y="2345"/>
                    <a:pt x="3090" y="2360"/>
                  </a:cubicBezTo>
                  <a:cubicBezTo>
                    <a:pt x="3090" y="2368"/>
                    <a:pt x="3090" y="2368"/>
                    <a:pt x="3090" y="2375"/>
                  </a:cubicBezTo>
                  <a:cubicBezTo>
                    <a:pt x="3045" y="2375"/>
                    <a:pt x="3000" y="2368"/>
                    <a:pt x="2963" y="2375"/>
                  </a:cubicBezTo>
                  <a:cubicBezTo>
                    <a:pt x="2971" y="2382"/>
                    <a:pt x="2971" y="2382"/>
                    <a:pt x="2978" y="2390"/>
                  </a:cubicBezTo>
                  <a:cubicBezTo>
                    <a:pt x="2978" y="2397"/>
                    <a:pt x="2986" y="2405"/>
                    <a:pt x="2986" y="2419"/>
                  </a:cubicBezTo>
                  <a:cubicBezTo>
                    <a:pt x="3015" y="2419"/>
                    <a:pt x="3045" y="2419"/>
                    <a:pt x="3067" y="2397"/>
                  </a:cubicBezTo>
                  <a:cubicBezTo>
                    <a:pt x="3090" y="2382"/>
                    <a:pt x="3105" y="2368"/>
                    <a:pt x="3134" y="2375"/>
                  </a:cubicBezTo>
                  <a:cubicBezTo>
                    <a:pt x="3127" y="2375"/>
                    <a:pt x="3119" y="2382"/>
                    <a:pt x="3119" y="2382"/>
                  </a:cubicBezTo>
                  <a:cubicBezTo>
                    <a:pt x="3112" y="2412"/>
                    <a:pt x="3075" y="2427"/>
                    <a:pt x="3060" y="2449"/>
                  </a:cubicBezTo>
                  <a:cubicBezTo>
                    <a:pt x="3045" y="2464"/>
                    <a:pt x="3045" y="2471"/>
                    <a:pt x="3030" y="2479"/>
                  </a:cubicBezTo>
                  <a:cubicBezTo>
                    <a:pt x="3015" y="2494"/>
                    <a:pt x="2993" y="2486"/>
                    <a:pt x="3000" y="2516"/>
                  </a:cubicBezTo>
                  <a:lnTo>
                    <a:pt x="3008" y="2516"/>
                  </a:lnTo>
                  <a:cubicBezTo>
                    <a:pt x="3008" y="2546"/>
                    <a:pt x="3008" y="2568"/>
                    <a:pt x="2993" y="2590"/>
                  </a:cubicBezTo>
                  <a:cubicBezTo>
                    <a:pt x="2986" y="2605"/>
                    <a:pt x="2978" y="2605"/>
                    <a:pt x="2978" y="2627"/>
                  </a:cubicBezTo>
                  <a:cubicBezTo>
                    <a:pt x="2978" y="2642"/>
                    <a:pt x="2986" y="2650"/>
                    <a:pt x="2993" y="2657"/>
                  </a:cubicBezTo>
                  <a:cubicBezTo>
                    <a:pt x="2986" y="2672"/>
                    <a:pt x="2971" y="2687"/>
                    <a:pt x="2978" y="2709"/>
                  </a:cubicBezTo>
                  <a:cubicBezTo>
                    <a:pt x="3000" y="2709"/>
                    <a:pt x="3045" y="2702"/>
                    <a:pt x="3045" y="2724"/>
                  </a:cubicBezTo>
                  <a:cubicBezTo>
                    <a:pt x="3030" y="2724"/>
                    <a:pt x="3008" y="2739"/>
                    <a:pt x="3000" y="2754"/>
                  </a:cubicBezTo>
                  <a:cubicBezTo>
                    <a:pt x="3030" y="2761"/>
                    <a:pt x="3060" y="2754"/>
                    <a:pt x="3090" y="2754"/>
                  </a:cubicBezTo>
                  <a:cubicBezTo>
                    <a:pt x="3090" y="2761"/>
                    <a:pt x="3090" y="2768"/>
                    <a:pt x="3090" y="2776"/>
                  </a:cubicBezTo>
                  <a:cubicBezTo>
                    <a:pt x="3067" y="2768"/>
                    <a:pt x="3053" y="2776"/>
                    <a:pt x="3038" y="2783"/>
                  </a:cubicBezTo>
                  <a:cubicBezTo>
                    <a:pt x="3060" y="2798"/>
                    <a:pt x="3053" y="2828"/>
                    <a:pt x="3053" y="2850"/>
                  </a:cubicBezTo>
                  <a:cubicBezTo>
                    <a:pt x="3075" y="2850"/>
                    <a:pt x="3105" y="2843"/>
                    <a:pt x="3134" y="2850"/>
                  </a:cubicBezTo>
                  <a:cubicBezTo>
                    <a:pt x="3127" y="2865"/>
                    <a:pt x="3127" y="2880"/>
                    <a:pt x="3127" y="2887"/>
                  </a:cubicBezTo>
                  <a:cubicBezTo>
                    <a:pt x="3097" y="2895"/>
                    <a:pt x="3075" y="2902"/>
                    <a:pt x="3053" y="2910"/>
                  </a:cubicBezTo>
                  <a:cubicBezTo>
                    <a:pt x="3060" y="2924"/>
                    <a:pt x="3067" y="2954"/>
                    <a:pt x="3082" y="2962"/>
                  </a:cubicBezTo>
                  <a:cubicBezTo>
                    <a:pt x="3097" y="2976"/>
                    <a:pt x="3112" y="2976"/>
                    <a:pt x="3134" y="2976"/>
                  </a:cubicBezTo>
                  <a:cubicBezTo>
                    <a:pt x="3142" y="3013"/>
                    <a:pt x="3105" y="2999"/>
                    <a:pt x="3082" y="3013"/>
                  </a:cubicBezTo>
                  <a:cubicBezTo>
                    <a:pt x="3075" y="3073"/>
                    <a:pt x="3075" y="3125"/>
                    <a:pt x="3060" y="3177"/>
                  </a:cubicBezTo>
                  <a:cubicBezTo>
                    <a:pt x="3053" y="3184"/>
                    <a:pt x="3053" y="3199"/>
                    <a:pt x="3045" y="3207"/>
                  </a:cubicBezTo>
                  <a:cubicBezTo>
                    <a:pt x="3038" y="3221"/>
                    <a:pt x="3038" y="3236"/>
                    <a:pt x="3038" y="3244"/>
                  </a:cubicBezTo>
                  <a:cubicBezTo>
                    <a:pt x="3045" y="3251"/>
                    <a:pt x="3053" y="3251"/>
                    <a:pt x="3053" y="3259"/>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6" name="Freeform 3">
              <a:extLst>
                <a:ext uri="{FF2B5EF4-FFF2-40B4-BE49-F238E27FC236}">
                  <a16:creationId xmlns:a16="http://schemas.microsoft.com/office/drawing/2014/main" id="{B6AB8E08-0E16-F846-B0FA-C894666CB195}"/>
                </a:ext>
              </a:extLst>
            </p:cNvPr>
            <p:cNvSpPr>
              <a:spLocks noChangeArrowheads="1"/>
            </p:cNvSpPr>
            <p:nvPr/>
          </p:nvSpPr>
          <p:spPr bwMode="auto">
            <a:xfrm>
              <a:off x="9434072" y="7604497"/>
              <a:ext cx="3813" cy="1904"/>
            </a:xfrm>
            <a:custGeom>
              <a:avLst/>
              <a:gdLst>
                <a:gd name="T0" fmla="*/ 0 w 8"/>
                <a:gd name="T1" fmla="*/ 0 h 1"/>
                <a:gd name="T2" fmla="*/ 0 w 8"/>
                <a:gd name="T3" fmla="*/ 0 h 1"/>
                <a:gd name="T4" fmla="*/ 7 w 8"/>
                <a:gd name="T5" fmla="*/ 0 h 1"/>
                <a:gd name="T6" fmla="*/ 0 w 8"/>
                <a:gd name="T7" fmla="*/ 0 h 1"/>
              </a:gdLst>
              <a:ahLst/>
              <a:cxnLst>
                <a:cxn ang="0">
                  <a:pos x="T0" y="T1"/>
                </a:cxn>
                <a:cxn ang="0">
                  <a:pos x="T2" y="T3"/>
                </a:cxn>
                <a:cxn ang="0">
                  <a:pos x="T4" y="T5"/>
                </a:cxn>
                <a:cxn ang="0">
                  <a:pos x="T6" y="T7"/>
                </a:cxn>
              </a:cxnLst>
              <a:rect l="0" t="0" r="r" b="b"/>
              <a:pathLst>
                <a:path w="8" h="1">
                  <a:moveTo>
                    <a:pt x="0" y="0"/>
                  </a:moveTo>
                  <a:lnTo>
                    <a:pt x="0" y="0"/>
                  </a:lnTo>
                  <a:cubicBezTo>
                    <a:pt x="7" y="0"/>
                    <a:pt x="7" y="0"/>
                    <a:pt x="7" y="0"/>
                  </a:cubicBezTo>
                  <a:cubicBezTo>
                    <a:pt x="7" y="0"/>
                    <a:pt x="7" y="0"/>
                    <a:pt x="0" y="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7" name="Freeform 4">
              <a:extLst>
                <a:ext uri="{FF2B5EF4-FFF2-40B4-BE49-F238E27FC236}">
                  <a16:creationId xmlns:a16="http://schemas.microsoft.com/office/drawing/2014/main" id="{47255905-459D-CF4B-A0F0-7BB12614EA30}"/>
                </a:ext>
              </a:extLst>
            </p:cNvPr>
            <p:cNvSpPr>
              <a:spLocks noChangeArrowheads="1"/>
            </p:cNvSpPr>
            <p:nvPr/>
          </p:nvSpPr>
          <p:spPr bwMode="auto">
            <a:xfrm>
              <a:off x="9430260" y="9663906"/>
              <a:ext cx="200167" cy="299101"/>
            </a:xfrm>
            <a:custGeom>
              <a:avLst/>
              <a:gdLst>
                <a:gd name="T0" fmla="*/ 312 w 462"/>
                <a:gd name="T1" fmla="*/ 660 h 691"/>
                <a:gd name="T2" fmla="*/ 312 w 462"/>
                <a:gd name="T3" fmla="*/ 660 h 691"/>
                <a:gd name="T4" fmla="*/ 372 w 462"/>
                <a:gd name="T5" fmla="*/ 683 h 691"/>
                <a:gd name="T6" fmla="*/ 394 w 462"/>
                <a:gd name="T7" fmla="*/ 631 h 691"/>
                <a:gd name="T8" fmla="*/ 409 w 462"/>
                <a:gd name="T9" fmla="*/ 534 h 691"/>
                <a:gd name="T10" fmla="*/ 416 w 462"/>
                <a:gd name="T11" fmla="*/ 534 h 691"/>
                <a:gd name="T12" fmla="*/ 379 w 462"/>
                <a:gd name="T13" fmla="*/ 475 h 691"/>
                <a:gd name="T14" fmla="*/ 431 w 462"/>
                <a:gd name="T15" fmla="*/ 460 h 691"/>
                <a:gd name="T16" fmla="*/ 454 w 462"/>
                <a:gd name="T17" fmla="*/ 445 h 691"/>
                <a:gd name="T18" fmla="*/ 402 w 462"/>
                <a:gd name="T19" fmla="*/ 371 h 691"/>
                <a:gd name="T20" fmla="*/ 416 w 462"/>
                <a:gd name="T21" fmla="*/ 274 h 691"/>
                <a:gd name="T22" fmla="*/ 402 w 462"/>
                <a:gd name="T23" fmla="*/ 200 h 691"/>
                <a:gd name="T24" fmla="*/ 342 w 462"/>
                <a:gd name="T25" fmla="*/ 170 h 691"/>
                <a:gd name="T26" fmla="*/ 327 w 462"/>
                <a:gd name="T27" fmla="*/ 170 h 691"/>
                <a:gd name="T28" fmla="*/ 186 w 462"/>
                <a:gd name="T29" fmla="*/ 141 h 691"/>
                <a:gd name="T30" fmla="*/ 127 w 462"/>
                <a:gd name="T31" fmla="*/ 0 h 691"/>
                <a:gd name="T32" fmla="*/ 60 w 462"/>
                <a:gd name="T33" fmla="*/ 29 h 691"/>
                <a:gd name="T34" fmla="*/ 0 w 462"/>
                <a:gd name="T35" fmla="*/ 29 h 691"/>
                <a:gd name="T36" fmla="*/ 30 w 462"/>
                <a:gd name="T37" fmla="*/ 111 h 691"/>
                <a:gd name="T38" fmla="*/ 67 w 462"/>
                <a:gd name="T39" fmla="*/ 193 h 691"/>
                <a:gd name="T40" fmla="*/ 157 w 462"/>
                <a:gd name="T41" fmla="*/ 222 h 691"/>
                <a:gd name="T42" fmla="*/ 105 w 462"/>
                <a:gd name="T43" fmla="*/ 259 h 691"/>
                <a:gd name="T44" fmla="*/ 186 w 462"/>
                <a:gd name="T45" fmla="*/ 282 h 691"/>
                <a:gd name="T46" fmla="*/ 119 w 462"/>
                <a:gd name="T47" fmla="*/ 282 h 691"/>
                <a:gd name="T48" fmla="*/ 186 w 462"/>
                <a:gd name="T49" fmla="*/ 475 h 691"/>
                <a:gd name="T50" fmla="*/ 179 w 462"/>
                <a:gd name="T51" fmla="*/ 475 h 691"/>
                <a:gd name="T52" fmla="*/ 208 w 462"/>
                <a:gd name="T53" fmla="*/ 527 h 691"/>
                <a:gd name="T54" fmla="*/ 246 w 462"/>
                <a:gd name="T55" fmla="*/ 586 h 691"/>
                <a:gd name="T56" fmla="*/ 260 w 462"/>
                <a:gd name="T57" fmla="*/ 653 h 691"/>
                <a:gd name="T58" fmla="*/ 305 w 462"/>
                <a:gd name="T59" fmla="*/ 690 h 691"/>
                <a:gd name="T60" fmla="*/ 312 w 462"/>
                <a:gd name="T61" fmla="*/ 690 h 691"/>
                <a:gd name="T62" fmla="*/ 312 w 462"/>
                <a:gd name="T63" fmla="*/ 66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2" h="691">
                  <a:moveTo>
                    <a:pt x="312" y="660"/>
                  </a:moveTo>
                  <a:lnTo>
                    <a:pt x="312" y="660"/>
                  </a:lnTo>
                  <a:cubicBezTo>
                    <a:pt x="335" y="660"/>
                    <a:pt x="350" y="690"/>
                    <a:pt x="372" y="683"/>
                  </a:cubicBezTo>
                  <a:cubicBezTo>
                    <a:pt x="379" y="660"/>
                    <a:pt x="372" y="645"/>
                    <a:pt x="394" y="631"/>
                  </a:cubicBezTo>
                  <a:cubicBezTo>
                    <a:pt x="424" y="608"/>
                    <a:pt x="409" y="564"/>
                    <a:pt x="409" y="534"/>
                  </a:cubicBezTo>
                  <a:cubicBezTo>
                    <a:pt x="416" y="534"/>
                    <a:pt x="416" y="534"/>
                    <a:pt x="416" y="534"/>
                  </a:cubicBezTo>
                  <a:cubicBezTo>
                    <a:pt x="431" y="490"/>
                    <a:pt x="379" y="512"/>
                    <a:pt x="379" y="475"/>
                  </a:cubicBezTo>
                  <a:cubicBezTo>
                    <a:pt x="394" y="475"/>
                    <a:pt x="431" y="475"/>
                    <a:pt x="431" y="460"/>
                  </a:cubicBezTo>
                  <a:cubicBezTo>
                    <a:pt x="439" y="445"/>
                    <a:pt x="439" y="445"/>
                    <a:pt x="454" y="445"/>
                  </a:cubicBezTo>
                  <a:cubicBezTo>
                    <a:pt x="461" y="408"/>
                    <a:pt x="439" y="386"/>
                    <a:pt x="402" y="371"/>
                  </a:cubicBezTo>
                  <a:cubicBezTo>
                    <a:pt x="402" y="348"/>
                    <a:pt x="431" y="304"/>
                    <a:pt x="416" y="274"/>
                  </a:cubicBezTo>
                  <a:cubicBezTo>
                    <a:pt x="454" y="259"/>
                    <a:pt x="416" y="215"/>
                    <a:pt x="402" y="200"/>
                  </a:cubicBezTo>
                  <a:cubicBezTo>
                    <a:pt x="379" y="178"/>
                    <a:pt x="365" y="170"/>
                    <a:pt x="342" y="170"/>
                  </a:cubicBezTo>
                  <a:cubicBezTo>
                    <a:pt x="335" y="170"/>
                    <a:pt x="327" y="170"/>
                    <a:pt x="327" y="170"/>
                  </a:cubicBezTo>
                  <a:cubicBezTo>
                    <a:pt x="283" y="170"/>
                    <a:pt x="231" y="148"/>
                    <a:pt x="186" y="141"/>
                  </a:cubicBezTo>
                  <a:cubicBezTo>
                    <a:pt x="186" y="81"/>
                    <a:pt x="142" y="59"/>
                    <a:pt x="127" y="0"/>
                  </a:cubicBezTo>
                  <a:cubicBezTo>
                    <a:pt x="90" y="0"/>
                    <a:pt x="67" y="0"/>
                    <a:pt x="60" y="29"/>
                  </a:cubicBezTo>
                  <a:cubicBezTo>
                    <a:pt x="38" y="37"/>
                    <a:pt x="23" y="29"/>
                    <a:pt x="0" y="29"/>
                  </a:cubicBezTo>
                  <a:cubicBezTo>
                    <a:pt x="15" y="59"/>
                    <a:pt x="23" y="81"/>
                    <a:pt x="30" y="111"/>
                  </a:cubicBezTo>
                  <a:cubicBezTo>
                    <a:pt x="45" y="141"/>
                    <a:pt x="45" y="170"/>
                    <a:pt x="67" y="193"/>
                  </a:cubicBezTo>
                  <a:cubicBezTo>
                    <a:pt x="82" y="200"/>
                    <a:pt x="142" y="222"/>
                    <a:pt x="157" y="222"/>
                  </a:cubicBezTo>
                  <a:cubicBezTo>
                    <a:pt x="134" y="222"/>
                    <a:pt x="67" y="222"/>
                    <a:pt x="105" y="259"/>
                  </a:cubicBezTo>
                  <a:cubicBezTo>
                    <a:pt x="127" y="282"/>
                    <a:pt x="171" y="252"/>
                    <a:pt x="186" y="282"/>
                  </a:cubicBezTo>
                  <a:cubicBezTo>
                    <a:pt x="164" y="282"/>
                    <a:pt x="134" y="274"/>
                    <a:pt x="119" y="282"/>
                  </a:cubicBezTo>
                  <a:cubicBezTo>
                    <a:pt x="149" y="341"/>
                    <a:pt x="194" y="400"/>
                    <a:pt x="186" y="475"/>
                  </a:cubicBezTo>
                  <a:cubicBezTo>
                    <a:pt x="179" y="475"/>
                    <a:pt x="179" y="475"/>
                    <a:pt x="179" y="475"/>
                  </a:cubicBezTo>
                  <a:cubicBezTo>
                    <a:pt x="171" y="497"/>
                    <a:pt x="201" y="505"/>
                    <a:pt x="208" y="527"/>
                  </a:cubicBezTo>
                  <a:cubicBezTo>
                    <a:pt x="223" y="549"/>
                    <a:pt x="231" y="564"/>
                    <a:pt x="246" y="586"/>
                  </a:cubicBezTo>
                  <a:cubicBezTo>
                    <a:pt x="260" y="616"/>
                    <a:pt x="253" y="631"/>
                    <a:pt x="260" y="653"/>
                  </a:cubicBezTo>
                  <a:cubicBezTo>
                    <a:pt x="268" y="675"/>
                    <a:pt x="290" y="675"/>
                    <a:pt x="305" y="690"/>
                  </a:cubicBezTo>
                  <a:lnTo>
                    <a:pt x="312" y="690"/>
                  </a:lnTo>
                  <a:cubicBezTo>
                    <a:pt x="312" y="683"/>
                    <a:pt x="312" y="668"/>
                    <a:pt x="312" y="66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8" name="Freeform 5">
              <a:extLst>
                <a:ext uri="{FF2B5EF4-FFF2-40B4-BE49-F238E27FC236}">
                  <a16:creationId xmlns:a16="http://schemas.microsoft.com/office/drawing/2014/main" id="{473CA58B-7731-E64A-BC2C-F1D88530A17E}"/>
                </a:ext>
              </a:extLst>
            </p:cNvPr>
            <p:cNvSpPr>
              <a:spLocks noChangeArrowheads="1"/>
            </p:cNvSpPr>
            <p:nvPr/>
          </p:nvSpPr>
          <p:spPr bwMode="auto">
            <a:xfrm>
              <a:off x="9523671" y="8919014"/>
              <a:ext cx="1416430" cy="2179432"/>
            </a:xfrm>
            <a:custGeom>
              <a:avLst/>
              <a:gdLst>
                <a:gd name="T0" fmla="*/ 720 w 3276"/>
                <a:gd name="T1" fmla="*/ 4158 h 5043"/>
                <a:gd name="T2" fmla="*/ 809 w 3276"/>
                <a:gd name="T3" fmla="*/ 4262 h 5043"/>
                <a:gd name="T4" fmla="*/ 891 w 3276"/>
                <a:gd name="T5" fmla="*/ 4411 h 5043"/>
                <a:gd name="T6" fmla="*/ 1262 w 3276"/>
                <a:gd name="T7" fmla="*/ 4745 h 5043"/>
                <a:gd name="T8" fmla="*/ 1500 w 3276"/>
                <a:gd name="T9" fmla="*/ 4864 h 5043"/>
                <a:gd name="T10" fmla="*/ 1730 w 3276"/>
                <a:gd name="T11" fmla="*/ 4968 h 5043"/>
                <a:gd name="T12" fmla="*/ 2050 w 3276"/>
                <a:gd name="T13" fmla="*/ 4886 h 5043"/>
                <a:gd name="T14" fmla="*/ 2398 w 3276"/>
                <a:gd name="T15" fmla="*/ 4938 h 5043"/>
                <a:gd name="T16" fmla="*/ 2629 w 3276"/>
                <a:gd name="T17" fmla="*/ 4634 h 5043"/>
                <a:gd name="T18" fmla="*/ 2525 w 3276"/>
                <a:gd name="T19" fmla="*/ 4262 h 5043"/>
                <a:gd name="T20" fmla="*/ 2941 w 3276"/>
                <a:gd name="T21" fmla="*/ 4180 h 5043"/>
                <a:gd name="T22" fmla="*/ 3067 w 3276"/>
                <a:gd name="T23" fmla="*/ 4040 h 5043"/>
                <a:gd name="T24" fmla="*/ 3253 w 3276"/>
                <a:gd name="T25" fmla="*/ 3787 h 5043"/>
                <a:gd name="T26" fmla="*/ 2993 w 3276"/>
                <a:gd name="T27" fmla="*/ 3601 h 5043"/>
                <a:gd name="T28" fmla="*/ 2933 w 3276"/>
                <a:gd name="T29" fmla="*/ 3497 h 5043"/>
                <a:gd name="T30" fmla="*/ 2822 w 3276"/>
                <a:gd name="T31" fmla="*/ 3297 h 5043"/>
                <a:gd name="T32" fmla="*/ 2673 w 3276"/>
                <a:gd name="T33" fmla="*/ 3393 h 5043"/>
                <a:gd name="T34" fmla="*/ 2473 w 3276"/>
                <a:gd name="T35" fmla="*/ 3430 h 5043"/>
                <a:gd name="T36" fmla="*/ 2131 w 3276"/>
                <a:gd name="T37" fmla="*/ 3386 h 5043"/>
                <a:gd name="T38" fmla="*/ 2064 w 3276"/>
                <a:gd name="T39" fmla="*/ 3119 h 5043"/>
                <a:gd name="T40" fmla="*/ 2406 w 3276"/>
                <a:gd name="T41" fmla="*/ 3289 h 5043"/>
                <a:gd name="T42" fmla="*/ 2465 w 3276"/>
                <a:gd name="T43" fmla="*/ 3030 h 5043"/>
                <a:gd name="T44" fmla="*/ 2361 w 3276"/>
                <a:gd name="T45" fmla="*/ 2992 h 5043"/>
                <a:gd name="T46" fmla="*/ 2109 w 3276"/>
                <a:gd name="T47" fmla="*/ 2985 h 5043"/>
                <a:gd name="T48" fmla="*/ 2101 w 3276"/>
                <a:gd name="T49" fmla="*/ 2888 h 5043"/>
                <a:gd name="T50" fmla="*/ 2042 w 3276"/>
                <a:gd name="T51" fmla="*/ 2658 h 5043"/>
                <a:gd name="T52" fmla="*/ 2191 w 3276"/>
                <a:gd name="T53" fmla="*/ 2480 h 5043"/>
                <a:gd name="T54" fmla="*/ 2198 w 3276"/>
                <a:gd name="T55" fmla="*/ 2198 h 5043"/>
                <a:gd name="T56" fmla="*/ 2599 w 3276"/>
                <a:gd name="T57" fmla="*/ 1864 h 5043"/>
                <a:gd name="T58" fmla="*/ 2421 w 3276"/>
                <a:gd name="T59" fmla="*/ 1470 h 5043"/>
                <a:gd name="T60" fmla="*/ 2569 w 3276"/>
                <a:gd name="T61" fmla="*/ 1225 h 5043"/>
                <a:gd name="T62" fmla="*/ 2614 w 3276"/>
                <a:gd name="T63" fmla="*/ 883 h 5043"/>
                <a:gd name="T64" fmla="*/ 2658 w 3276"/>
                <a:gd name="T65" fmla="*/ 601 h 5043"/>
                <a:gd name="T66" fmla="*/ 2822 w 3276"/>
                <a:gd name="T67" fmla="*/ 230 h 5043"/>
                <a:gd name="T68" fmla="*/ 2718 w 3276"/>
                <a:gd name="T69" fmla="*/ 156 h 5043"/>
                <a:gd name="T70" fmla="*/ 2495 w 3276"/>
                <a:gd name="T71" fmla="*/ 141 h 5043"/>
                <a:gd name="T72" fmla="*/ 2302 w 3276"/>
                <a:gd name="T73" fmla="*/ 334 h 5043"/>
                <a:gd name="T74" fmla="*/ 2176 w 3276"/>
                <a:gd name="T75" fmla="*/ 430 h 5043"/>
                <a:gd name="T76" fmla="*/ 1856 w 3276"/>
                <a:gd name="T77" fmla="*/ 534 h 5043"/>
                <a:gd name="T78" fmla="*/ 1760 w 3276"/>
                <a:gd name="T79" fmla="*/ 720 h 5043"/>
                <a:gd name="T80" fmla="*/ 1396 w 3276"/>
                <a:gd name="T81" fmla="*/ 616 h 5043"/>
                <a:gd name="T82" fmla="*/ 1322 w 3276"/>
                <a:gd name="T83" fmla="*/ 928 h 5043"/>
                <a:gd name="T84" fmla="*/ 1002 w 3276"/>
                <a:gd name="T85" fmla="*/ 1024 h 5043"/>
                <a:gd name="T86" fmla="*/ 676 w 3276"/>
                <a:gd name="T87" fmla="*/ 1106 h 5043"/>
                <a:gd name="T88" fmla="*/ 356 w 3276"/>
                <a:gd name="T89" fmla="*/ 1173 h 5043"/>
                <a:gd name="T90" fmla="*/ 260 w 3276"/>
                <a:gd name="T91" fmla="*/ 1411 h 5043"/>
                <a:gd name="T92" fmla="*/ 289 w 3276"/>
                <a:gd name="T93" fmla="*/ 1730 h 5043"/>
                <a:gd name="T94" fmla="*/ 89 w 3276"/>
                <a:gd name="T95" fmla="*/ 1886 h 5043"/>
                <a:gd name="T96" fmla="*/ 200 w 3276"/>
                <a:gd name="T97" fmla="*/ 1997 h 5043"/>
                <a:gd name="T98" fmla="*/ 200 w 3276"/>
                <a:gd name="T99" fmla="*/ 2257 h 5043"/>
                <a:gd name="T100" fmla="*/ 96 w 3276"/>
                <a:gd name="T101" fmla="*/ 2413 h 5043"/>
                <a:gd name="T102" fmla="*/ 104 w 3276"/>
                <a:gd name="T103" fmla="*/ 2487 h 5043"/>
                <a:gd name="T104" fmla="*/ 260 w 3276"/>
                <a:gd name="T105" fmla="*/ 2688 h 5043"/>
                <a:gd name="T106" fmla="*/ 275 w 3276"/>
                <a:gd name="T107" fmla="*/ 2851 h 5043"/>
                <a:gd name="T108" fmla="*/ 394 w 3276"/>
                <a:gd name="T109" fmla="*/ 3170 h 5043"/>
                <a:gd name="T110" fmla="*/ 379 w 3276"/>
                <a:gd name="T111" fmla="*/ 3505 h 5043"/>
                <a:gd name="T112" fmla="*/ 468 w 3276"/>
                <a:gd name="T113" fmla="*/ 3750 h 5043"/>
                <a:gd name="T114" fmla="*/ 616 w 3276"/>
                <a:gd name="T115" fmla="*/ 4114 h 5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76" h="5043">
                  <a:moveTo>
                    <a:pt x="616" y="4114"/>
                  </a:moveTo>
                  <a:lnTo>
                    <a:pt x="616" y="4114"/>
                  </a:lnTo>
                  <a:cubicBezTo>
                    <a:pt x="639" y="4106"/>
                    <a:pt x="668" y="4143"/>
                    <a:pt x="639" y="4151"/>
                  </a:cubicBezTo>
                  <a:cubicBezTo>
                    <a:pt x="646" y="4166"/>
                    <a:pt x="654" y="4180"/>
                    <a:pt x="668" y="4173"/>
                  </a:cubicBezTo>
                  <a:cubicBezTo>
                    <a:pt x="676" y="4143"/>
                    <a:pt x="691" y="4136"/>
                    <a:pt x="720" y="4158"/>
                  </a:cubicBezTo>
                  <a:cubicBezTo>
                    <a:pt x="757" y="4180"/>
                    <a:pt x="720" y="4188"/>
                    <a:pt x="728" y="4210"/>
                  </a:cubicBezTo>
                  <a:cubicBezTo>
                    <a:pt x="743" y="4210"/>
                    <a:pt x="757" y="4210"/>
                    <a:pt x="772" y="4218"/>
                  </a:cubicBezTo>
                  <a:cubicBezTo>
                    <a:pt x="772" y="4225"/>
                    <a:pt x="765" y="4240"/>
                    <a:pt x="772" y="4247"/>
                  </a:cubicBezTo>
                  <a:cubicBezTo>
                    <a:pt x="772" y="4240"/>
                    <a:pt x="809" y="4210"/>
                    <a:pt x="817" y="4210"/>
                  </a:cubicBezTo>
                  <a:cubicBezTo>
                    <a:pt x="817" y="4225"/>
                    <a:pt x="817" y="4247"/>
                    <a:pt x="809" y="4262"/>
                  </a:cubicBezTo>
                  <a:cubicBezTo>
                    <a:pt x="839" y="4270"/>
                    <a:pt x="839" y="4292"/>
                    <a:pt x="854" y="4314"/>
                  </a:cubicBezTo>
                  <a:cubicBezTo>
                    <a:pt x="861" y="4314"/>
                    <a:pt x="869" y="4314"/>
                    <a:pt x="876" y="4314"/>
                  </a:cubicBezTo>
                  <a:cubicBezTo>
                    <a:pt x="876" y="4292"/>
                    <a:pt x="921" y="4292"/>
                    <a:pt x="913" y="4322"/>
                  </a:cubicBezTo>
                  <a:cubicBezTo>
                    <a:pt x="899" y="4337"/>
                    <a:pt x="876" y="4344"/>
                    <a:pt x="876" y="4366"/>
                  </a:cubicBezTo>
                  <a:cubicBezTo>
                    <a:pt x="876" y="4381"/>
                    <a:pt x="891" y="4388"/>
                    <a:pt x="891" y="4411"/>
                  </a:cubicBezTo>
                  <a:cubicBezTo>
                    <a:pt x="891" y="4455"/>
                    <a:pt x="906" y="4448"/>
                    <a:pt x="951" y="4463"/>
                  </a:cubicBezTo>
                  <a:cubicBezTo>
                    <a:pt x="980" y="4470"/>
                    <a:pt x="1017" y="4537"/>
                    <a:pt x="1010" y="4567"/>
                  </a:cubicBezTo>
                  <a:cubicBezTo>
                    <a:pt x="1047" y="4567"/>
                    <a:pt x="1069" y="4604"/>
                    <a:pt x="1091" y="4619"/>
                  </a:cubicBezTo>
                  <a:cubicBezTo>
                    <a:pt x="1121" y="4641"/>
                    <a:pt x="1188" y="4626"/>
                    <a:pt x="1196" y="4663"/>
                  </a:cubicBezTo>
                  <a:cubicBezTo>
                    <a:pt x="1203" y="4708"/>
                    <a:pt x="1210" y="4730"/>
                    <a:pt x="1262" y="4745"/>
                  </a:cubicBezTo>
                  <a:cubicBezTo>
                    <a:pt x="1277" y="4752"/>
                    <a:pt x="1299" y="4752"/>
                    <a:pt x="1322" y="4752"/>
                  </a:cubicBezTo>
                  <a:cubicBezTo>
                    <a:pt x="1344" y="4752"/>
                    <a:pt x="1381" y="4730"/>
                    <a:pt x="1403" y="4737"/>
                  </a:cubicBezTo>
                  <a:cubicBezTo>
                    <a:pt x="1403" y="4760"/>
                    <a:pt x="1403" y="4782"/>
                    <a:pt x="1403" y="4804"/>
                  </a:cubicBezTo>
                  <a:cubicBezTo>
                    <a:pt x="1426" y="4804"/>
                    <a:pt x="1463" y="4797"/>
                    <a:pt x="1478" y="4819"/>
                  </a:cubicBezTo>
                  <a:cubicBezTo>
                    <a:pt x="1485" y="4827"/>
                    <a:pt x="1485" y="4864"/>
                    <a:pt x="1500" y="4864"/>
                  </a:cubicBezTo>
                  <a:cubicBezTo>
                    <a:pt x="1500" y="4856"/>
                    <a:pt x="1500" y="4856"/>
                    <a:pt x="1500" y="4856"/>
                  </a:cubicBezTo>
                  <a:cubicBezTo>
                    <a:pt x="1530" y="4849"/>
                    <a:pt x="1545" y="4893"/>
                    <a:pt x="1567" y="4908"/>
                  </a:cubicBezTo>
                  <a:cubicBezTo>
                    <a:pt x="1596" y="4916"/>
                    <a:pt x="1634" y="4901"/>
                    <a:pt x="1648" y="4931"/>
                  </a:cubicBezTo>
                  <a:cubicBezTo>
                    <a:pt x="1648" y="4938"/>
                    <a:pt x="1648" y="4945"/>
                    <a:pt x="1648" y="4968"/>
                  </a:cubicBezTo>
                  <a:cubicBezTo>
                    <a:pt x="1671" y="4960"/>
                    <a:pt x="1708" y="4953"/>
                    <a:pt x="1730" y="4968"/>
                  </a:cubicBezTo>
                  <a:cubicBezTo>
                    <a:pt x="1738" y="4975"/>
                    <a:pt x="1745" y="5034"/>
                    <a:pt x="1738" y="5034"/>
                  </a:cubicBezTo>
                  <a:cubicBezTo>
                    <a:pt x="1760" y="5042"/>
                    <a:pt x="1782" y="5027"/>
                    <a:pt x="1797" y="5020"/>
                  </a:cubicBezTo>
                  <a:cubicBezTo>
                    <a:pt x="1827" y="5020"/>
                    <a:pt x="1856" y="5020"/>
                    <a:pt x="1879" y="5027"/>
                  </a:cubicBezTo>
                  <a:cubicBezTo>
                    <a:pt x="1946" y="5034"/>
                    <a:pt x="1946" y="5020"/>
                    <a:pt x="1960" y="4968"/>
                  </a:cubicBezTo>
                  <a:cubicBezTo>
                    <a:pt x="1968" y="4923"/>
                    <a:pt x="2005" y="4893"/>
                    <a:pt x="2050" y="4886"/>
                  </a:cubicBezTo>
                  <a:cubicBezTo>
                    <a:pt x="2072" y="4886"/>
                    <a:pt x="2094" y="4879"/>
                    <a:pt x="2116" y="4893"/>
                  </a:cubicBezTo>
                  <a:cubicBezTo>
                    <a:pt x="2124" y="4908"/>
                    <a:pt x="2131" y="4938"/>
                    <a:pt x="2153" y="4931"/>
                  </a:cubicBezTo>
                  <a:cubicBezTo>
                    <a:pt x="2161" y="4923"/>
                    <a:pt x="2161" y="4908"/>
                    <a:pt x="2161" y="4901"/>
                  </a:cubicBezTo>
                  <a:cubicBezTo>
                    <a:pt x="2205" y="4886"/>
                    <a:pt x="2243" y="4893"/>
                    <a:pt x="2287" y="4908"/>
                  </a:cubicBezTo>
                  <a:cubicBezTo>
                    <a:pt x="2317" y="4908"/>
                    <a:pt x="2369" y="4938"/>
                    <a:pt x="2398" y="4938"/>
                  </a:cubicBezTo>
                  <a:cubicBezTo>
                    <a:pt x="2406" y="4901"/>
                    <a:pt x="2406" y="4856"/>
                    <a:pt x="2436" y="4827"/>
                  </a:cubicBezTo>
                  <a:cubicBezTo>
                    <a:pt x="2473" y="4789"/>
                    <a:pt x="2532" y="4804"/>
                    <a:pt x="2577" y="4804"/>
                  </a:cubicBezTo>
                  <a:cubicBezTo>
                    <a:pt x="2577" y="4782"/>
                    <a:pt x="2577" y="4760"/>
                    <a:pt x="2599" y="4745"/>
                  </a:cubicBezTo>
                  <a:cubicBezTo>
                    <a:pt x="2606" y="4737"/>
                    <a:pt x="2621" y="4737"/>
                    <a:pt x="2621" y="4722"/>
                  </a:cubicBezTo>
                  <a:cubicBezTo>
                    <a:pt x="2629" y="4693"/>
                    <a:pt x="2636" y="4663"/>
                    <a:pt x="2629" y="4634"/>
                  </a:cubicBezTo>
                  <a:cubicBezTo>
                    <a:pt x="2606" y="4574"/>
                    <a:pt x="2465" y="4619"/>
                    <a:pt x="2428" y="4574"/>
                  </a:cubicBezTo>
                  <a:cubicBezTo>
                    <a:pt x="2450" y="4552"/>
                    <a:pt x="2503" y="4522"/>
                    <a:pt x="2525" y="4500"/>
                  </a:cubicBezTo>
                  <a:cubicBezTo>
                    <a:pt x="2547" y="4470"/>
                    <a:pt x="2540" y="4426"/>
                    <a:pt x="2540" y="4381"/>
                  </a:cubicBezTo>
                  <a:cubicBezTo>
                    <a:pt x="2532" y="4388"/>
                    <a:pt x="2525" y="4381"/>
                    <a:pt x="2517" y="4381"/>
                  </a:cubicBezTo>
                  <a:cubicBezTo>
                    <a:pt x="2532" y="4351"/>
                    <a:pt x="2525" y="4299"/>
                    <a:pt x="2525" y="4262"/>
                  </a:cubicBezTo>
                  <a:cubicBezTo>
                    <a:pt x="2562" y="4262"/>
                    <a:pt x="2644" y="4277"/>
                    <a:pt x="2666" y="4232"/>
                  </a:cubicBezTo>
                  <a:cubicBezTo>
                    <a:pt x="2681" y="4203"/>
                    <a:pt x="2681" y="4166"/>
                    <a:pt x="2688" y="4129"/>
                  </a:cubicBezTo>
                  <a:cubicBezTo>
                    <a:pt x="2695" y="4099"/>
                    <a:pt x="2785" y="4121"/>
                    <a:pt x="2800" y="4143"/>
                  </a:cubicBezTo>
                  <a:cubicBezTo>
                    <a:pt x="2844" y="4203"/>
                    <a:pt x="2844" y="4114"/>
                    <a:pt x="2889" y="4129"/>
                  </a:cubicBezTo>
                  <a:cubicBezTo>
                    <a:pt x="2911" y="4143"/>
                    <a:pt x="2918" y="4166"/>
                    <a:pt x="2941" y="4180"/>
                  </a:cubicBezTo>
                  <a:cubicBezTo>
                    <a:pt x="2955" y="4188"/>
                    <a:pt x="2978" y="4188"/>
                    <a:pt x="3000" y="4195"/>
                  </a:cubicBezTo>
                  <a:cubicBezTo>
                    <a:pt x="3000" y="4195"/>
                    <a:pt x="3000" y="4203"/>
                    <a:pt x="3008" y="4203"/>
                  </a:cubicBezTo>
                  <a:cubicBezTo>
                    <a:pt x="3015" y="4173"/>
                    <a:pt x="3022" y="4136"/>
                    <a:pt x="3037" y="4129"/>
                  </a:cubicBezTo>
                  <a:cubicBezTo>
                    <a:pt x="3052" y="4121"/>
                    <a:pt x="3104" y="4121"/>
                    <a:pt x="3097" y="4091"/>
                  </a:cubicBezTo>
                  <a:cubicBezTo>
                    <a:pt x="3060" y="4091"/>
                    <a:pt x="3015" y="4047"/>
                    <a:pt x="3067" y="4040"/>
                  </a:cubicBezTo>
                  <a:cubicBezTo>
                    <a:pt x="3111" y="4040"/>
                    <a:pt x="3119" y="4114"/>
                    <a:pt x="3156" y="4114"/>
                  </a:cubicBezTo>
                  <a:cubicBezTo>
                    <a:pt x="3200" y="4114"/>
                    <a:pt x="3163" y="4025"/>
                    <a:pt x="3163" y="4002"/>
                  </a:cubicBezTo>
                  <a:cubicBezTo>
                    <a:pt x="3171" y="3965"/>
                    <a:pt x="3193" y="3965"/>
                    <a:pt x="3230" y="3965"/>
                  </a:cubicBezTo>
                  <a:cubicBezTo>
                    <a:pt x="3230" y="3950"/>
                    <a:pt x="3223" y="3913"/>
                    <a:pt x="3245" y="3913"/>
                  </a:cubicBezTo>
                  <a:cubicBezTo>
                    <a:pt x="3253" y="3891"/>
                    <a:pt x="3275" y="3802"/>
                    <a:pt x="3253" y="3787"/>
                  </a:cubicBezTo>
                  <a:cubicBezTo>
                    <a:pt x="3215" y="3765"/>
                    <a:pt x="3163" y="3780"/>
                    <a:pt x="3126" y="3780"/>
                  </a:cubicBezTo>
                  <a:cubicBezTo>
                    <a:pt x="3126" y="3765"/>
                    <a:pt x="3119" y="3750"/>
                    <a:pt x="3111" y="3735"/>
                  </a:cubicBezTo>
                  <a:cubicBezTo>
                    <a:pt x="3111" y="3713"/>
                    <a:pt x="3111" y="3690"/>
                    <a:pt x="3119" y="3668"/>
                  </a:cubicBezTo>
                  <a:cubicBezTo>
                    <a:pt x="3119" y="3646"/>
                    <a:pt x="3134" y="3594"/>
                    <a:pt x="3111" y="3579"/>
                  </a:cubicBezTo>
                  <a:cubicBezTo>
                    <a:pt x="3089" y="3564"/>
                    <a:pt x="2993" y="3564"/>
                    <a:pt x="2993" y="3601"/>
                  </a:cubicBezTo>
                  <a:cubicBezTo>
                    <a:pt x="2985" y="3601"/>
                    <a:pt x="2985" y="3601"/>
                    <a:pt x="2978" y="3601"/>
                  </a:cubicBezTo>
                  <a:cubicBezTo>
                    <a:pt x="2978" y="3572"/>
                    <a:pt x="2985" y="3557"/>
                    <a:pt x="2985" y="3535"/>
                  </a:cubicBezTo>
                  <a:cubicBezTo>
                    <a:pt x="2978" y="3527"/>
                    <a:pt x="2970" y="3527"/>
                    <a:pt x="2963" y="3520"/>
                  </a:cubicBezTo>
                  <a:cubicBezTo>
                    <a:pt x="2941" y="3512"/>
                    <a:pt x="2933" y="3527"/>
                    <a:pt x="2911" y="3520"/>
                  </a:cubicBezTo>
                  <a:cubicBezTo>
                    <a:pt x="2889" y="3497"/>
                    <a:pt x="2911" y="3497"/>
                    <a:pt x="2933" y="3497"/>
                  </a:cubicBezTo>
                  <a:cubicBezTo>
                    <a:pt x="2941" y="3468"/>
                    <a:pt x="2963" y="3378"/>
                    <a:pt x="2926" y="3364"/>
                  </a:cubicBezTo>
                  <a:cubicBezTo>
                    <a:pt x="2903" y="3356"/>
                    <a:pt x="2844" y="3356"/>
                    <a:pt x="2851" y="3386"/>
                  </a:cubicBezTo>
                  <a:cubicBezTo>
                    <a:pt x="2844" y="3386"/>
                    <a:pt x="2829" y="3386"/>
                    <a:pt x="2829" y="3386"/>
                  </a:cubicBezTo>
                  <a:cubicBezTo>
                    <a:pt x="2822" y="3349"/>
                    <a:pt x="2851" y="3334"/>
                    <a:pt x="2851" y="3297"/>
                  </a:cubicBezTo>
                  <a:cubicBezTo>
                    <a:pt x="2844" y="3297"/>
                    <a:pt x="2829" y="3297"/>
                    <a:pt x="2822" y="3297"/>
                  </a:cubicBezTo>
                  <a:cubicBezTo>
                    <a:pt x="2822" y="3304"/>
                    <a:pt x="2822" y="3319"/>
                    <a:pt x="2822" y="3327"/>
                  </a:cubicBezTo>
                  <a:cubicBezTo>
                    <a:pt x="2814" y="3327"/>
                    <a:pt x="2807" y="3327"/>
                    <a:pt x="2800" y="3327"/>
                  </a:cubicBezTo>
                  <a:cubicBezTo>
                    <a:pt x="2800" y="3297"/>
                    <a:pt x="2740" y="3304"/>
                    <a:pt x="2718" y="3304"/>
                  </a:cubicBezTo>
                  <a:cubicBezTo>
                    <a:pt x="2733" y="3319"/>
                    <a:pt x="2725" y="3334"/>
                    <a:pt x="2725" y="3349"/>
                  </a:cubicBezTo>
                  <a:cubicBezTo>
                    <a:pt x="2703" y="3356"/>
                    <a:pt x="2688" y="3371"/>
                    <a:pt x="2673" y="3393"/>
                  </a:cubicBezTo>
                  <a:cubicBezTo>
                    <a:pt x="2658" y="3408"/>
                    <a:pt x="2629" y="3408"/>
                    <a:pt x="2606" y="3408"/>
                  </a:cubicBezTo>
                  <a:cubicBezTo>
                    <a:pt x="2606" y="3416"/>
                    <a:pt x="2606" y="3416"/>
                    <a:pt x="2606" y="3423"/>
                  </a:cubicBezTo>
                  <a:cubicBezTo>
                    <a:pt x="2569" y="3423"/>
                    <a:pt x="2525" y="3423"/>
                    <a:pt x="2488" y="3423"/>
                  </a:cubicBezTo>
                  <a:cubicBezTo>
                    <a:pt x="2488" y="3430"/>
                    <a:pt x="2488" y="3453"/>
                    <a:pt x="2473" y="3453"/>
                  </a:cubicBezTo>
                  <a:cubicBezTo>
                    <a:pt x="2473" y="3453"/>
                    <a:pt x="2465" y="3438"/>
                    <a:pt x="2473" y="3430"/>
                  </a:cubicBezTo>
                  <a:cubicBezTo>
                    <a:pt x="2428" y="3430"/>
                    <a:pt x="2436" y="3386"/>
                    <a:pt x="2436" y="3349"/>
                  </a:cubicBezTo>
                  <a:cubicBezTo>
                    <a:pt x="2398" y="3349"/>
                    <a:pt x="2332" y="3349"/>
                    <a:pt x="2302" y="3327"/>
                  </a:cubicBezTo>
                  <a:cubicBezTo>
                    <a:pt x="2280" y="3312"/>
                    <a:pt x="2272" y="3282"/>
                    <a:pt x="2235" y="3289"/>
                  </a:cubicBezTo>
                  <a:cubicBezTo>
                    <a:pt x="2235" y="3304"/>
                    <a:pt x="2250" y="3393"/>
                    <a:pt x="2228" y="3393"/>
                  </a:cubicBezTo>
                  <a:cubicBezTo>
                    <a:pt x="2198" y="3401"/>
                    <a:pt x="2161" y="3393"/>
                    <a:pt x="2131" y="3386"/>
                  </a:cubicBezTo>
                  <a:cubicBezTo>
                    <a:pt x="2124" y="3364"/>
                    <a:pt x="2139" y="3334"/>
                    <a:pt x="2146" y="3312"/>
                  </a:cubicBezTo>
                  <a:cubicBezTo>
                    <a:pt x="2198" y="3312"/>
                    <a:pt x="2198" y="3260"/>
                    <a:pt x="2168" y="3230"/>
                  </a:cubicBezTo>
                  <a:cubicBezTo>
                    <a:pt x="2153" y="3215"/>
                    <a:pt x="2139" y="3215"/>
                    <a:pt x="2131" y="3208"/>
                  </a:cubicBezTo>
                  <a:cubicBezTo>
                    <a:pt x="2109" y="3193"/>
                    <a:pt x="2131" y="3163"/>
                    <a:pt x="2131" y="3141"/>
                  </a:cubicBezTo>
                  <a:cubicBezTo>
                    <a:pt x="2109" y="3141"/>
                    <a:pt x="2087" y="3119"/>
                    <a:pt x="2064" y="3119"/>
                  </a:cubicBezTo>
                  <a:cubicBezTo>
                    <a:pt x="2064" y="3104"/>
                    <a:pt x="2064" y="3096"/>
                    <a:pt x="2072" y="3089"/>
                  </a:cubicBezTo>
                  <a:cubicBezTo>
                    <a:pt x="2124" y="3089"/>
                    <a:pt x="2161" y="3119"/>
                    <a:pt x="2176" y="3170"/>
                  </a:cubicBezTo>
                  <a:cubicBezTo>
                    <a:pt x="2191" y="3215"/>
                    <a:pt x="2250" y="3185"/>
                    <a:pt x="2250" y="3252"/>
                  </a:cubicBezTo>
                  <a:cubicBezTo>
                    <a:pt x="2265" y="3252"/>
                    <a:pt x="2280" y="3245"/>
                    <a:pt x="2280" y="3230"/>
                  </a:cubicBezTo>
                  <a:cubicBezTo>
                    <a:pt x="2339" y="3223"/>
                    <a:pt x="2376" y="3238"/>
                    <a:pt x="2406" y="3289"/>
                  </a:cubicBezTo>
                  <a:cubicBezTo>
                    <a:pt x="2428" y="3356"/>
                    <a:pt x="2503" y="3267"/>
                    <a:pt x="2443" y="3252"/>
                  </a:cubicBezTo>
                  <a:cubicBezTo>
                    <a:pt x="2398" y="3238"/>
                    <a:pt x="2391" y="3170"/>
                    <a:pt x="2421" y="3141"/>
                  </a:cubicBezTo>
                  <a:cubicBezTo>
                    <a:pt x="2443" y="3119"/>
                    <a:pt x="2532" y="3156"/>
                    <a:pt x="2517" y="3104"/>
                  </a:cubicBezTo>
                  <a:cubicBezTo>
                    <a:pt x="2495" y="3104"/>
                    <a:pt x="2480" y="3081"/>
                    <a:pt x="2473" y="3059"/>
                  </a:cubicBezTo>
                  <a:cubicBezTo>
                    <a:pt x="2473" y="3052"/>
                    <a:pt x="2465" y="3044"/>
                    <a:pt x="2465" y="3030"/>
                  </a:cubicBezTo>
                  <a:cubicBezTo>
                    <a:pt x="2458" y="3000"/>
                    <a:pt x="2443" y="3015"/>
                    <a:pt x="2428" y="3000"/>
                  </a:cubicBezTo>
                  <a:cubicBezTo>
                    <a:pt x="2428" y="3015"/>
                    <a:pt x="2443" y="3074"/>
                    <a:pt x="2443" y="3081"/>
                  </a:cubicBezTo>
                  <a:cubicBezTo>
                    <a:pt x="2436" y="3096"/>
                    <a:pt x="2398" y="3052"/>
                    <a:pt x="2376" y="3052"/>
                  </a:cubicBezTo>
                  <a:cubicBezTo>
                    <a:pt x="2376" y="3030"/>
                    <a:pt x="2369" y="3007"/>
                    <a:pt x="2369" y="2992"/>
                  </a:cubicBezTo>
                  <a:cubicBezTo>
                    <a:pt x="2369" y="2992"/>
                    <a:pt x="2369" y="2992"/>
                    <a:pt x="2361" y="2992"/>
                  </a:cubicBezTo>
                  <a:cubicBezTo>
                    <a:pt x="2354" y="3022"/>
                    <a:pt x="2317" y="3007"/>
                    <a:pt x="2295" y="3007"/>
                  </a:cubicBezTo>
                  <a:cubicBezTo>
                    <a:pt x="2243" y="2992"/>
                    <a:pt x="2243" y="3030"/>
                    <a:pt x="2235" y="3067"/>
                  </a:cubicBezTo>
                  <a:cubicBezTo>
                    <a:pt x="2220" y="3067"/>
                    <a:pt x="2213" y="3067"/>
                    <a:pt x="2198" y="3067"/>
                  </a:cubicBezTo>
                  <a:cubicBezTo>
                    <a:pt x="2191" y="3044"/>
                    <a:pt x="2153" y="3059"/>
                    <a:pt x="2131" y="3052"/>
                  </a:cubicBezTo>
                  <a:cubicBezTo>
                    <a:pt x="2094" y="3052"/>
                    <a:pt x="2109" y="3007"/>
                    <a:pt x="2109" y="2985"/>
                  </a:cubicBezTo>
                  <a:cubicBezTo>
                    <a:pt x="2079" y="2985"/>
                    <a:pt x="2079" y="2963"/>
                    <a:pt x="2079" y="2948"/>
                  </a:cubicBezTo>
                  <a:lnTo>
                    <a:pt x="2087" y="2948"/>
                  </a:lnTo>
                  <a:cubicBezTo>
                    <a:pt x="2094" y="2933"/>
                    <a:pt x="2094" y="2940"/>
                    <a:pt x="2101" y="2933"/>
                  </a:cubicBezTo>
                  <a:cubicBezTo>
                    <a:pt x="2101" y="2911"/>
                    <a:pt x="2116" y="2903"/>
                    <a:pt x="2139" y="2903"/>
                  </a:cubicBezTo>
                  <a:cubicBezTo>
                    <a:pt x="2146" y="2873"/>
                    <a:pt x="2116" y="2881"/>
                    <a:pt x="2101" y="2888"/>
                  </a:cubicBezTo>
                  <a:cubicBezTo>
                    <a:pt x="2072" y="2888"/>
                    <a:pt x="2064" y="2859"/>
                    <a:pt x="2035" y="2851"/>
                  </a:cubicBezTo>
                  <a:cubicBezTo>
                    <a:pt x="2042" y="2829"/>
                    <a:pt x="2027" y="2829"/>
                    <a:pt x="2012" y="2814"/>
                  </a:cubicBezTo>
                  <a:cubicBezTo>
                    <a:pt x="1998" y="2799"/>
                    <a:pt x="1998" y="2770"/>
                    <a:pt x="1998" y="2747"/>
                  </a:cubicBezTo>
                  <a:cubicBezTo>
                    <a:pt x="2005" y="2740"/>
                    <a:pt x="2020" y="2666"/>
                    <a:pt x="2020" y="2666"/>
                  </a:cubicBezTo>
                  <a:cubicBezTo>
                    <a:pt x="2027" y="2666"/>
                    <a:pt x="2035" y="2658"/>
                    <a:pt x="2042" y="2658"/>
                  </a:cubicBezTo>
                  <a:cubicBezTo>
                    <a:pt x="2050" y="2614"/>
                    <a:pt x="2057" y="2569"/>
                    <a:pt x="2064" y="2517"/>
                  </a:cubicBezTo>
                  <a:cubicBezTo>
                    <a:pt x="2012" y="2517"/>
                    <a:pt x="2005" y="2502"/>
                    <a:pt x="2012" y="2458"/>
                  </a:cubicBezTo>
                  <a:cubicBezTo>
                    <a:pt x="2027" y="2458"/>
                    <a:pt x="2027" y="2435"/>
                    <a:pt x="2035" y="2421"/>
                  </a:cubicBezTo>
                  <a:cubicBezTo>
                    <a:pt x="2057" y="2443"/>
                    <a:pt x="2072" y="2495"/>
                    <a:pt x="2109" y="2487"/>
                  </a:cubicBezTo>
                  <a:cubicBezTo>
                    <a:pt x="2139" y="2487"/>
                    <a:pt x="2168" y="2473"/>
                    <a:pt x="2191" y="2480"/>
                  </a:cubicBezTo>
                  <a:cubicBezTo>
                    <a:pt x="2228" y="2487"/>
                    <a:pt x="2243" y="2510"/>
                    <a:pt x="2265" y="2473"/>
                  </a:cubicBezTo>
                  <a:cubicBezTo>
                    <a:pt x="2287" y="2443"/>
                    <a:pt x="2324" y="2435"/>
                    <a:pt x="2309" y="2391"/>
                  </a:cubicBezTo>
                  <a:cubicBezTo>
                    <a:pt x="2309" y="2383"/>
                    <a:pt x="2287" y="2383"/>
                    <a:pt x="2287" y="2376"/>
                  </a:cubicBezTo>
                  <a:cubicBezTo>
                    <a:pt x="2272" y="2361"/>
                    <a:pt x="2280" y="2324"/>
                    <a:pt x="2280" y="2302"/>
                  </a:cubicBezTo>
                  <a:cubicBezTo>
                    <a:pt x="2280" y="2257"/>
                    <a:pt x="2220" y="2228"/>
                    <a:pt x="2198" y="2198"/>
                  </a:cubicBezTo>
                  <a:cubicBezTo>
                    <a:pt x="2168" y="2176"/>
                    <a:pt x="2228" y="2153"/>
                    <a:pt x="2228" y="2116"/>
                  </a:cubicBezTo>
                  <a:cubicBezTo>
                    <a:pt x="2235" y="2071"/>
                    <a:pt x="2235" y="2049"/>
                    <a:pt x="2287" y="2049"/>
                  </a:cubicBezTo>
                  <a:cubicBezTo>
                    <a:pt x="2287" y="2034"/>
                    <a:pt x="2287" y="2020"/>
                    <a:pt x="2280" y="2005"/>
                  </a:cubicBezTo>
                  <a:cubicBezTo>
                    <a:pt x="2243" y="1990"/>
                    <a:pt x="2243" y="1945"/>
                    <a:pt x="2250" y="1908"/>
                  </a:cubicBezTo>
                  <a:cubicBezTo>
                    <a:pt x="2295" y="1767"/>
                    <a:pt x="2495" y="1864"/>
                    <a:pt x="2599" y="1864"/>
                  </a:cubicBezTo>
                  <a:cubicBezTo>
                    <a:pt x="2606" y="1789"/>
                    <a:pt x="2569" y="1648"/>
                    <a:pt x="2621" y="1581"/>
                  </a:cubicBezTo>
                  <a:cubicBezTo>
                    <a:pt x="2658" y="1581"/>
                    <a:pt x="2688" y="1589"/>
                    <a:pt x="2688" y="1537"/>
                  </a:cubicBezTo>
                  <a:cubicBezTo>
                    <a:pt x="2673" y="1537"/>
                    <a:pt x="2666" y="1537"/>
                    <a:pt x="2651" y="1537"/>
                  </a:cubicBezTo>
                  <a:cubicBezTo>
                    <a:pt x="2644" y="1507"/>
                    <a:pt x="2584" y="1515"/>
                    <a:pt x="2562" y="1507"/>
                  </a:cubicBezTo>
                  <a:cubicBezTo>
                    <a:pt x="2510" y="1507"/>
                    <a:pt x="2473" y="1470"/>
                    <a:pt x="2421" y="1470"/>
                  </a:cubicBezTo>
                  <a:cubicBezTo>
                    <a:pt x="2406" y="1403"/>
                    <a:pt x="2495" y="1440"/>
                    <a:pt x="2532" y="1426"/>
                  </a:cubicBezTo>
                  <a:cubicBezTo>
                    <a:pt x="2540" y="1403"/>
                    <a:pt x="2562" y="1374"/>
                    <a:pt x="2584" y="1374"/>
                  </a:cubicBezTo>
                  <a:cubicBezTo>
                    <a:pt x="2584" y="1359"/>
                    <a:pt x="2584" y="1344"/>
                    <a:pt x="2599" y="1336"/>
                  </a:cubicBezTo>
                  <a:cubicBezTo>
                    <a:pt x="2599" y="1321"/>
                    <a:pt x="2592" y="1307"/>
                    <a:pt x="2569" y="1307"/>
                  </a:cubicBezTo>
                  <a:cubicBezTo>
                    <a:pt x="2584" y="1277"/>
                    <a:pt x="2562" y="1247"/>
                    <a:pt x="2569" y="1225"/>
                  </a:cubicBezTo>
                  <a:cubicBezTo>
                    <a:pt x="2584" y="1225"/>
                    <a:pt x="2592" y="1225"/>
                    <a:pt x="2606" y="1225"/>
                  </a:cubicBezTo>
                  <a:cubicBezTo>
                    <a:pt x="2614" y="1188"/>
                    <a:pt x="2569" y="1166"/>
                    <a:pt x="2592" y="1129"/>
                  </a:cubicBezTo>
                  <a:cubicBezTo>
                    <a:pt x="2621" y="1084"/>
                    <a:pt x="2621" y="1047"/>
                    <a:pt x="2629" y="1002"/>
                  </a:cubicBezTo>
                  <a:cubicBezTo>
                    <a:pt x="2644" y="950"/>
                    <a:pt x="2614" y="965"/>
                    <a:pt x="2584" y="950"/>
                  </a:cubicBezTo>
                  <a:cubicBezTo>
                    <a:pt x="2540" y="921"/>
                    <a:pt x="2584" y="876"/>
                    <a:pt x="2614" y="883"/>
                  </a:cubicBezTo>
                  <a:cubicBezTo>
                    <a:pt x="2629" y="802"/>
                    <a:pt x="2740" y="720"/>
                    <a:pt x="2814" y="713"/>
                  </a:cubicBezTo>
                  <a:cubicBezTo>
                    <a:pt x="2829" y="675"/>
                    <a:pt x="2763" y="675"/>
                    <a:pt x="2740" y="668"/>
                  </a:cubicBezTo>
                  <a:cubicBezTo>
                    <a:pt x="2718" y="668"/>
                    <a:pt x="2695" y="675"/>
                    <a:pt x="2673" y="668"/>
                  </a:cubicBezTo>
                  <a:cubicBezTo>
                    <a:pt x="2644" y="668"/>
                    <a:pt x="2636" y="646"/>
                    <a:pt x="2606" y="638"/>
                  </a:cubicBezTo>
                  <a:cubicBezTo>
                    <a:pt x="2599" y="601"/>
                    <a:pt x="2629" y="601"/>
                    <a:pt x="2658" y="601"/>
                  </a:cubicBezTo>
                  <a:cubicBezTo>
                    <a:pt x="2666" y="557"/>
                    <a:pt x="2666" y="542"/>
                    <a:pt x="2710" y="542"/>
                  </a:cubicBezTo>
                  <a:cubicBezTo>
                    <a:pt x="2710" y="527"/>
                    <a:pt x="2710" y="505"/>
                    <a:pt x="2710" y="482"/>
                  </a:cubicBezTo>
                  <a:cubicBezTo>
                    <a:pt x="2740" y="490"/>
                    <a:pt x="2800" y="438"/>
                    <a:pt x="2807" y="408"/>
                  </a:cubicBezTo>
                  <a:cubicBezTo>
                    <a:pt x="2814" y="371"/>
                    <a:pt x="2755" y="282"/>
                    <a:pt x="2814" y="282"/>
                  </a:cubicBezTo>
                  <a:cubicBezTo>
                    <a:pt x="2822" y="267"/>
                    <a:pt x="2822" y="245"/>
                    <a:pt x="2822" y="230"/>
                  </a:cubicBezTo>
                  <a:cubicBezTo>
                    <a:pt x="2800" y="230"/>
                    <a:pt x="2807" y="178"/>
                    <a:pt x="2807" y="163"/>
                  </a:cubicBezTo>
                  <a:cubicBezTo>
                    <a:pt x="2814" y="163"/>
                    <a:pt x="2822" y="163"/>
                    <a:pt x="2829" y="163"/>
                  </a:cubicBezTo>
                  <a:cubicBezTo>
                    <a:pt x="2829" y="163"/>
                    <a:pt x="2822" y="119"/>
                    <a:pt x="2822" y="111"/>
                  </a:cubicBezTo>
                  <a:cubicBezTo>
                    <a:pt x="2822" y="111"/>
                    <a:pt x="2755" y="96"/>
                    <a:pt x="2725" y="104"/>
                  </a:cubicBezTo>
                  <a:cubicBezTo>
                    <a:pt x="2725" y="119"/>
                    <a:pt x="2718" y="148"/>
                    <a:pt x="2718" y="156"/>
                  </a:cubicBezTo>
                  <a:cubicBezTo>
                    <a:pt x="2718" y="148"/>
                    <a:pt x="2725" y="119"/>
                    <a:pt x="2725" y="104"/>
                  </a:cubicBezTo>
                  <a:cubicBezTo>
                    <a:pt x="2718" y="104"/>
                    <a:pt x="2718" y="104"/>
                    <a:pt x="2710" y="104"/>
                  </a:cubicBezTo>
                  <a:cubicBezTo>
                    <a:pt x="2651" y="200"/>
                    <a:pt x="2666" y="37"/>
                    <a:pt x="2658" y="7"/>
                  </a:cubicBezTo>
                  <a:cubicBezTo>
                    <a:pt x="2599" y="0"/>
                    <a:pt x="2614" y="14"/>
                    <a:pt x="2584" y="59"/>
                  </a:cubicBezTo>
                  <a:cubicBezTo>
                    <a:pt x="2562" y="96"/>
                    <a:pt x="2517" y="104"/>
                    <a:pt x="2495" y="141"/>
                  </a:cubicBezTo>
                  <a:cubicBezTo>
                    <a:pt x="2458" y="200"/>
                    <a:pt x="2354" y="104"/>
                    <a:pt x="2324" y="200"/>
                  </a:cubicBezTo>
                  <a:cubicBezTo>
                    <a:pt x="2339" y="200"/>
                    <a:pt x="2354" y="215"/>
                    <a:pt x="2354" y="230"/>
                  </a:cubicBezTo>
                  <a:cubicBezTo>
                    <a:pt x="2354" y="267"/>
                    <a:pt x="2354" y="267"/>
                    <a:pt x="2317" y="267"/>
                  </a:cubicBezTo>
                  <a:cubicBezTo>
                    <a:pt x="2317" y="282"/>
                    <a:pt x="2324" y="304"/>
                    <a:pt x="2317" y="312"/>
                  </a:cubicBezTo>
                  <a:cubicBezTo>
                    <a:pt x="2317" y="312"/>
                    <a:pt x="2295" y="334"/>
                    <a:pt x="2302" y="334"/>
                  </a:cubicBezTo>
                  <a:cubicBezTo>
                    <a:pt x="2265" y="349"/>
                    <a:pt x="2228" y="356"/>
                    <a:pt x="2191" y="334"/>
                  </a:cubicBezTo>
                  <a:cubicBezTo>
                    <a:pt x="2191" y="327"/>
                    <a:pt x="2191" y="319"/>
                    <a:pt x="2191" y="312"/>
                  </a:cubicBezTo>
                  <a:cubicBezTo>
                    <a:pt x="2183" y="312"/>
                    <a:pt x="2183" y="312"/>
                    <a:pt x="2183" y="312"/>
                  </a:cubicBezTo>
                  <a:cubicBezTo>
                    <a:pt x="2176" y="334"/>
                    <a:pt x="2161" y="364"/>
                    <a:pt x="2183" y="378"/>
                  </a:cubicBezTo>
                  <a:cubicBezTo>
                    <a:pt x="2213" y="401"/>
                    <a:pt x="2205" y="423"/>
                    <a:pt x="2176" y="430"/>
                  </a:cubicBezTo>
                  <a:cubicBezTo>
                    <a:pt x="2131" y="445"/>
                    <a:pt x="2124" y="534"/>
                    <a:pt x="2094" y="453"/>
                  </a:cubicBezTo>
                  <a:cubicBezTo>
                    <a:pt x="2064" y="453"/>
                    <a:pt x="2042" y="438"/>
                    <a:pt x="2012" y="438"/>
                  </a:cubicBezTo>
                  <a:cubicBezTo>
                    <a:pt x="1975" y="445"/>
                    <a:pt x="1975" y="467"/>
                    <a:pt x="1953" y="490"/>
                  </a:cubicBezTo>
                  <a:cubicBezTo>
                    <a:pt x="1938" y="505"/>
                    <a:pt x="1953" y="549"/>
                    <a:pt x="1931" y="549"/>
                  </a:cubicBezTo>
                  <a:cubicBezTo>
                    <a:pt x="1901" y="549"/>
                    <a:pt x="1879" y="534"/>
                    <a:pt x="1856" y="534"/>
                  </a:cubicBezTo>
                  <a:cubicBezTo>
                    <a:pt x="1849" y="549"/>
                    <a:pt x="1856" y="564"/>
                    <a:pt x="1864" y="579"/>
                  </a:cubicBezTo>
                  <a:cubicBezTo>
                    <a:pt x="1871" y="601"/>
                    <a:pt x="1856" y="609"/>
                    <a:pt x="1849" y="631"/>
                  </a:cubicBezTo>
                  <a:cubicBezTo>
                    <a:pt x="1849" y="661"/>
                    <a:pt x="1856" y="705"/>
                    <a:pt x="1886" y="720"/>
                  </a:cubicBezTo>
                  <a:cubicBezTo>
                    <a:pt x="1886" y="735"/>
                    <a:pt x="1871" y="742"/>
                    <a:pt x="1864" y="764"/>
                  </a:cubicBezTo>
                  <a:cubicBezTo>
                    <a:pt x="1827" y="735"/>
                    <a:pt x="1812" y="720"/>
                    <a:pt x="1760" y="720"/>
                  </a:cubicBezTo>
                  <a:cubicBezTo>
                    <a:pt x="1753" y="720"/>
                    <a:pt x="1656" y="683"/>
                    <a:pt x="1656" y="683"/>
                  </a:cubicBezTo>
                  <a:lnTo>
                    <a:pt x="1656" y="698"/>
                  </a:lnTo>
                  <a:cubicBezTo>
                    <a:pt x="1626" y="713"/>
                    <a:pt x="1582" y="698"/>
                    <a:pt x="1552" y="698"/>
                  </a:cubicBezTo>
                  <a:cubicBezTo>
                    <a:pt x="1537" y="668"/>
                    <a:pt x="1500" y="616"/>
                    <a:pt x="1470" y="616"/>
                  </a:cubicBezTo>
                  <a:cubicBezTo>
                    <a:pt x="1463" y="638"/>
                    <a:pt x="1411" y="624"/>
                    <a:pt x="1396" y="616"/>
                  </a:cubicBezTo>
                  <a:cubicBezTo>
                    <a:pt x="1374" y="586"/>
                    <a:pt x="1366" y="557"/>
                    <a:pt x="1322" y="564"/>
                  </a:cubicBezTo>
                  <a:cubicBezTo>
                    <a:pt x="1322" y="601"/>
                    <a:pt x="1307" y="638"/>
                    <a:pt x="1307" y="668"/>
                  </a:cubicBezTo>
                  <a:cubicBezTo>
                    <a:pt x="1299" y="705"/>
                    <a:pt x="1337" y="735"/>
                    <a:pt x="1329" y="772"/>
                  </a:cubicBezTo>
                  <a:cubicBezTo>
                    <a:pt x="1307" y="787"/>
                    <a:pt x="1292" y="809"/>
                    <a:pt x="1307" y="839"/>
                  </a:cubicBezTo>
                  <a:cubicBezTo>
                    <a:pt x="1322" y="869"/>
                    <a:pt x="1314" y="891"/>
                    <a:pt x="1322" y="928"/>
                  </a:cubicBezTo>
                  <a:cubicBezTo>
                    <a:pt x="1322" y="943"/>
                    <a:pt x="1322" y="995"/>
                    <a:pt x="1285" y="972"/>
                  </a:cubicBezTo>
                  <a:cubicBezTo>
                    <a:pt x="1255" y="950"/>
                    <a:pt x="1285" y="928"/>
                    <a:pt x="1233" y="935"/>
                  </a:cubicBezTo>
                  <a:cubicBezTo>
                    <a:pt x="1233" y="943"/>
                    <a:pt x="1233" y="958"/>
                    <a:pt x="1233" y="972"/>
                  </a:cubicBezTo>
                  <a:cubicBezTo>
                    <a:pt x="1166" y="980"/>
                    <a:pt x="1069" y="950"/>
                    <a:pt x="1010" y="972"/>
                  </a:cubicBezTo>
                  <a:cubicBezTo>
                    <a:pt x="1010" y="987"/>
                    <a:pt x="1025" y="1017"/>
                    <a:pt x="1002" y="1024"/>
                  </a:cubicBezTo>
                  <a:cubicBezTo>
                    <a:pt x="980" y="1032"/>
                    <a:pt x="943" y="1039"/>
                    <a:pt x="928" y="1017"/>
                  </a:cubicBezTo>
                  <a:cubicBezTo>
                    <a:pt x="891" y="965"/>
                    <a:pt x="817" y="958"/>
                    <a:pt x="757" y="958"/>
                  </a:cubicBezTo>
                  <a:cubicBezTo>
                    <a:pt x="772" y="965"/>
                    <a:pt x="765" y="1010"/>
                    <a:pt x="765" y="1024"/>
                  </a:cubicBezTo>
                  <a:cubicBezTo>
                    <a:pt x="757" y="1024"/>
                    <a:pt x="750" y="1024"/>
                    <a:pt x="735" y="1024"/>
                  </a:cubicBezTo>
                  <a:cubicBezTo>
                    <a:pt x="735" y="1069"/>
                    <a:pt x="720" y="1099"/>
                    <a:pt x="676" y="1106"/>
                  </a:cubicBezTo>
                  <a:cubicBezTo>
                    <a:pt x="654" y="1106"/>
                    <a:pt x="601" y="1114"/>
                    <a:pt x="594" y="1136"/>
                  </a:cubicBezTo>
                  <a:cubicBezTo>
                    <a:pt x="542" y="1136"/>
                    <a:pt x="512" y="1173"/>
                    <a:pt x="549" y="1210"/>
                  </a:cubicBezTo>
                  <a:cubicBezTo>
                    <a:pt x="520" y="1203"/>
                    <a:pt x="497" y="1218"/>
                    <a:pt x="460" y="1218"/>
                  </a:cubicBezTo>
                  <a:cubicBezTo>
                    <a:pt x="460" y="1195"/>
                    <a:pt x="460" y="1173"/>
                    <a:pt x="438" y="1158"/>
                  </a:cubicBezTo>
                  <a:cubicBezTo>
                    <a:pt x="416" y="1158"/>
                    <a:pt x="371" y="1151"/>
                    <a:pt x="356" y="1173"/>
                  </a:cubicBezTo>
                  <a:cubicBezTo>
                    <a:pt x="341" y="1210"/>
                    <a:pt x="371" y="1203"/>
                    <a:pt x="319" y="1210"/>
                  </a:cubicBezTo>
                  <a:cubicBezTo>
                    <a:pt x="289" y="1218"/>
                    <a:pt x="289" y="1232"/>
                    <a:pt x="289" y="1255"/>
                  </a:cubicBezTo>
                  <a:cubicBezTo>
                    <a:pt x="260" y="1262"/>
                    <a:pt x="252" y="1225"/>
                    <a:pt x="223" y="1232"/>
                  </a:cubicBezTo>
                  <a:cubicBezTo>
                    <a:pt x="223" y="1269"/>
                    <a:pt x="312" y="1329"/>
                    <a:pt x="282" y="1359"/>
                  </a:cubicBezTo>
                  <a:cubicBezTo>
                    <a:pt x="260" y="1381"/>
                    <a:pt x="245" y="1374"/>
                    <a:pt x="260" y="1411"/>
                  </a:cubicBezTo>
                  <a:cubicBezTo>
                    <a:pt x="260" y="1433"/>
                    <a:pt x="282" y="1463"/>
                    <a:pt x="297" y="1426"/>
                  </a:cubicBezTo>
                  <a:cubicBezTo>
                    <a:pt x="364" y="1418"/>
                    <a:pt x="386" y="1529"/>
                    <a:pt x="379" y="1574"/>
                  </a:cubicBezTo>
                  <a:cubicBezTo>
                    <a:pt x="341" y="1574"/>
                    <a:pt x="312" y="1566"/>
                    <a:pt x="282" y="1581"/>
                  </a:cubicBezTo>
                  <a:cubicBezTo>
                    <a:pt x="267" y="1633"/>
                    <a:pt x="319" y="1619"/>
                    <a:pt x="349" y="1633"/>
                  </a:cubicBezTo>
                  <a:cubicBezTo>
                    <a:pt x="386" y="1663"/>
                    <a:pt x="319" y="1723"/>
                    <a:pt x="289" y="1730"/>
                  </a:cubicBezTo>
                  <a:cubicBezTo>
                    <a:pt x="289" y="1745"/>
                    <a:pt x="289" y="1767"/>
                    <a:pt x="289" y="1782"/>
                  </a:cubicBezTo>
                  <a:cubicBezTo>
                    <a:pt x="260" y="1782"/>
                    <a:pt x="245" y="1767"/>
                    <a:pt x="215" y="1767"/>
                  </a:cubicBezTo>
                  <a:lnTo>
                    <a:pt x="215" y="1774"/>
                  </a:lnTo>
                  <a:cubicBezTo>
                    <a:pt x="230" y="1782"/>
                    <a:pt x="238" y="1789"/>
                    <a:pt x="238" y="1804"/>
                  </a:cubicBezTo>
                  <a:cubicBezTo>
                    <a:pt x="193" y="1797"/>
                    <a:pt x="74" y="1819"/>
                    <a:pt x="89" y="1886"/>
                  </a:cubicBezTo>
                  <a:cubicBezTo>
                    <a:pt x="104" y="1886"/>
                    <a:pt x="119" y="1886"/>
                    <a:pt x="126" y="1893"/>
                  </a:cubicBezTo>
                  <a:cubicBezTo>
                    <a:pt x="149" y="1893"/>
                    <a:pt x="178" y="1886"/>
                    <a:pt x="186" y="1886"/>
                  </a:cubicBezTo>
                  <a:cubicBezTo>
                    <a:pt x="178" y="1886"/>
                    <a:pt x="149" y="1893"/>
                    <a:pt x="126" y="1893"/>
                  </a:cubicBezTo>
                  <a:cubicBezTo>
                    <a:pt x="149" y="1893"/>
                    <a:pt x="163" y="1901"/>
                    <a:pt x="186" y="1923"/>
                  </a:cubicBezTo>
                  <a:cubicBezTo>
                    <a:pt x="200" y="1938"/>
                    <a:pt x="238" y="1982"/>
                    <a:pt x="200" y="1997"/>
                  </a:cubicBezTo>
                  <a:cubicBezTo>
                    <a:pt x="215" y="2027"/>
                    <a:pt x="186" y="2071"/>
                    <a:pt x="186" y="2094"/>
                  </a:cubicBezTo>
                  <a:cubicBezTo>
                    <a:pt x="223" y="2109"/>
                    <a:pt x="245" y="2131"/>
                    <a:pt x="238" y="2168"/>
                  </a:cubicBezTo>
                  <a:cubicBezTo>
                    <a:pt x="223" y="2168"/>
                    <a:pt x="223" y="2168"/>
                    <a:pt x="215" y="2183"/>
                  </a:cubicBezTo>
                  <a:cubicBezTo>
                    <a:pt x="215" y="2198"/>
                    <a:pt x="178" y="2198"/>
                    <a:pt x="163" y="2198"/>
                  </a:cubicBezTo>
                  <a:cubicBezTo>
                    <a:pt x="163" y="2235"/>
                    <a:pt x="215" y="2213"/>
                    <a:pt x="200" y="2257"/>
                  </a:cubicBezTo>
                  <a:cubicBezTo>
                    <a:pt x="200" y="2257"/>
                    <a:pt x="200" y="2257"/>
                    <a:pt x="193" y="2257"/>
                  </a:cubicBezTo>
                  <a:cubicBezTo>
                    <a:pt x="193" y="2287"/>
                    <a:pt x="208" y="2331"/>
                    <a:pt x="178" y="2354"/>
                  </a:cubicBezTo>
                  <a:cubicBezTo>
                    <a:pt x="156" y="2368"/>
                    <a:pt x="163" y="2383"/>
                    <a:pt x="156" y="2406"/>
                  </a:cubicBezTo>
                  <a:cubicBezTo>
                    <a:pt x="134" y="2413"/>
                    <a:pt x="119" y="2383"/>
                    <a:pt x="96" y="2383"/>
                  </a:cubicBezTo>
                  <a:cubicBezTo>
                    <a:pt x="96" y="2391"/>
                    <a:pt x="96" y="2406"/>
                    <a:pt x="96" y="2413"/>
                  </a:cubicBezTo>
                  <a:lnTo>
                    <a:pt x="89" y="2413"/>
                  </a:lnTo>
                  <a:lnTo>
                    <a:pt x="96" y="2421"/>
                  </a:lnTo>
                  <a:cubicBezTo>
                    <a:pt x="67" y="2428"/>
                    <a:pt x="0" y="2406"/>
                    <a:pt x="15" y="2450"/>
                  </a:cubicBezTo>
                  <a:cubicBezTo>
                    <a:pt x="44" y="2458"/>
                    <a:pt x="37" y="2480"/>
                    <a:pt x="52" y="2487"/>
                  </a:cubicBezTo>
                  <a:cubicBezTo>
                    <a:pt x="67" y="2495"/>
                    <a:pt x="89" y="2480"/>
                    <a:pt x="104" y="2487"/>
                  </a:cubicBezTo>
                  <a:cubicBezTo>
                    <a:pt x="119" y="2495"/>
                    <a:pt x="119" y="2517"/>
                    <a:pt x="134" y="2525"/>
                  </a:cubicBezTo>
                  <a:cubicBezTo>
                    <a:pt x="149" y="2532"/>
                    <a:pt x="171" y="2517"/>
                    <a:pt x="178" y="2532"/>
                  </a:cubicBezTo>
                  <a:cubicBezTo>
                    <a:pt x="186" y="2547"/>
                    <a:pt x="178" y="2576"/>
                    <a:pt x="186" y="2591"/>
                  </a:cubicBezTo>
                  <a:cubicBezTo>
                    <a:pt x="193" y="2606"/>
                    <a:pt x="200" y="2606"/>
                    <a:pt x="208" y="2628"/>
                  </a:cubicBezTo>
                  <a:cubicBezTo>
                    <a:pt x="215" y="2666"/>
                    <a:pt x="208" y="2695"/>
                    <a:pt x="260" y="2688"/>
                  </a:cubicBezTo>
                  <a:cubicBezTo>
                    <a:pt x="267" y="2710"/>
                    <a:pt x="245" y="2710"/>
                    <a:pt x="238" y="2725"/>
                  </a:cubicBezTo>
                  <a:cubicBezTo>
                    <a:pt x="238" y="2740"/>
                    <a:pt x="245" y="2762"/>
                    <a:pt x="252" y="2777"/>
                  </a:cubicBezTo>
                  <a:cubicBezTo>
                    <a:pt x="260" y="2792"/>
                    <a:pt x="260" y="2799"/>
                    <a:pt x="267" y="2814"/>
                  </a:cubicBezTo>
                  <a:cubicBezTo>
                    <a:pt x="275" y="2829"/>
                    <a:pt x="297" y="2822"/>
                    <a:pt x="282" y="2851"/>
                  </a:cubicBezTo>
                  <a:cubicBezTo>
                    <a:pt x="282" y="2851"/>
                    <a:pt x="282" y="2851"/>
                    <a:pt x="275" y="2851"/>
                  </a:cubicBezTo>
                  <a:cubicBezTo>
                    <a:pt x="275" y="2859"/>
                    <a:pt x="275" y="2866"/>
                    <a:pt x="275" y="2866"/>
                  </a:cubicBezTo>
                  <a:cubicBezTo>
                    <a:pt x="327" y="2873"/>
                    <a:pt x="289" y="2963"/>
                    <a:pt x="275" y="2978"/>
                  </a:cubicBezTo>
                  <a:cubicBezTo>
                    <a:pt x="304" y="3000"/>
                    <a:pt x="356" y="3059"/>
                    <a:pt x="371" y="3096"/>
                  </a:cubicBezTo>
                  <a:cubicBezTo>
                    <a:pt x="379" y="3111"/>
                    <a:pt x="379" y="3126"/>
                    <a:pt x="386" y="3141"/>
                  </a:cubicBezTo>
                  <a:cubicBezTo>
                    <a:pt x="386" y="3156"/>
                    <a:pt x="394" y="3156"/>
                    <a:pt x="394" y="3170"/>
                  </a:cubicBezTo>
                  <a:cubicBezTo>
                    <a:pt x="401" y="3200"/>
                    <a:pt x="394" y="3230"/>
                    <a:pt x="394" y="3252"/>
                  </a:cubicBezTo>
                  <a:cubicBezTo>
                    <a:pt x="416" y="3252"/>
                    <a:pt x="453" y="3252"/>
                    <a:pt x="446" y="3282"/>
                  </a:cubicBezTo>
                  <a:cubicBezTo>
                    <a:pt x="379" y="3304"/>
                    <a:pt x="423" y="3327"/>
                    <a:pt x="431" y="3371"/>
                  </a:cubicBezTo>
                  <a:cubicBezTo>
                    <a:pt x="438" y="3416"/>
                    <a:pt x="438" y="3445"/>
                    <a:pt x="431" y="3482"/>
                  </a:cubicBezTo>
                  <a:cubicBezTo>
                    <a:pt x="423" y="3490"/>
                    <a:pt x="379" y="3497"/>
                    <a:pt x="379" y="3505"/>
                  </a:cubicBezTo>
                  <a:cubicBezTo>
                    <a:pt x="379" y="3520"/>
                    <a:pt x="401" y="3527"/>
                    <a:pt x="416" y="3535"/>
                  </a:cubicBezTo>
                  <a:cubicBezTo>
                    <a:pt x="438" y="3549"/>
                    <a:pt x="431" y="3542"/>
                    <a:pt x="438" y="3572"/>
                  </a:cubicBezTo>
                  <a:cubicBezTo>
                    <a:pt x="446" y="3594"/>
                    <a:pt x="453" y="3609"/>
                    <a:pt x="460" y="3631"/>
                  </a:cubicBezTo>
                  <a:cubicBezTo>
                    <a:pt x="468" y="3646"/>
                    <a:pt x="475" y="3661"/>
                    <a:pt x="475" y="3683"/>
                  </a:cubicBezTo>
                  <a:cubicBezTo>
                    <a:pt x="475" y="3705"/>
                    <a:pt x="475" y="3727"/>
                    <a:pt x="468" y="3750"/>
                  </a:cubicBezTo>
                  <a:cubicBezTo>
                    <a:pt x="468" y="3765"/>
                    <a:pt x="468" y="3787"/>
                    <a:pt x="475" y="3809"/>
                  </a:cubicBezTo>
                  <a:cubicBezTo>
                    <a:pt x="483" y="3824"/>
                    <a:pt x="497" y="3824"/>
                    <a:pt x="520" y="3839"/>
                  </a:cubicBezTo>
                  <a:cubicBezTo>
                    <a:pt x="475" y="3861"/>
                    <a:pt x="520" y="3913"/>
                    <a:pt x="535" y="3950"/>
                  </a:cubicBezTo>
                  <a:cubicBezTo>
                    <a:pt x="549" y="3995"/>
                    <a:pt x="549" y="4047"/>
                    <a:pt x="572" y="4091"/>
                  </a:cubicBezTo>
                  <a:cubicBezTo>
                    <a:pt x="601" y="4106"/>
                    <a:pt x="616" y="4114"/>
                    <a:pt x="616" y="4114"/>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9" name="Freeform 6">
              <a:extLst>
                <a:ext uri="{FF2B5EF4-FFF2-40B4-BE49-F238E27FC236}">
                  <a16:creationId xmlns:a16="http://schemas.microsoft.com/office/drawing/2014/main" id="{9F50B55A-A08B-3C4B-87B7-8A8A0BA949B0}"/>
                </a:ext>
              </a:extLst>
            </p:cNvPr>
            <p:cNvSpPr>
              <a:spLocks noChangeArrowheads="1"/>
            </p:cNvSpPr>
            <p:nvPr/>
          </p:nvSpPr>
          <p:spPr bwMode="auto">
            <a:xfrm>
              <a:off x="10021232" y="4925927"/>
              <a:ext cx="890272" cy="1074476"/>
            </a:xfrm>
            <a:custGeom>
              <a:avLst/>
              <a:gdLst>
                <a:gd name="T0" fmla="*/ 1931 w 2058"/>
                <a:gd name="T1" fmla="*/ 2250 h 2489"/>
                <a:gd name="T2" fmla="*/ 1916 w 2058"/>
                <a:gd name="T3" fmla="*/ 2191 h 2489"/>
                <a:gd name="T4" fmla="*/ 1886 w 2058"/>
                <a:gd name="T5" fmla="*/ 2050 h 2489"/>
                <a:gd name="T6" fmla="*/ 1767 w 2058"/>
                <a:gd name="T7" fmla="*/ 1812 h 2489"/>
                <a:gd name="T8" fmla="*/ 1730 w 2058"/>
                <a:gd name="T9" fmla="*/ 1812 h 2489"/>
                <a:gd name="T10" fmla="*/ 1686 w 2058"/>
                <a:gd name="T11" fmla="*/ 1849 h 2489"/>
                <a:gd name="T12" fmla="*/ 1663 w 2058"/>
                <a:gd name="T13" fmla="*/ 1812 h 2489"/>
                <a:gd name="T14" fmla="*/ 1649 w 2058"/>
                <a:gd name="T15" fmla="*/ 1790 h 2489"/>
                <a:gd name="T16" fmla="*/ 1612 w 2058"/>
                <a:gd name="T17" fmla="*/ 1782 h 2489"/>
                <a:gd name="T18" fmla="*/ 1567 w 2058"/>
                <a:gd name="T19" fmla="*/ 1790 h 2489"/>
                <a:gd name="T20" fmla="*/ 1530 w 2058"/>
                <a:gd name="T21" fmla="*/ 1768 h 2489"/>
                <a:gd name="T22" fmla="*/ 1544 w 2058"/>
                <a:gd name="T23" fmla="*/ 1716 h 2489"/>
                <a:gd name="T24" fmla="*/ 1582 w 2058"/>
                <a:gd name="T25" fmla="*/ 1693 h 2489"/>
                <a:gd name="T26" fmla="*/ 1582 w 2058"/>
                <a:gd name="T27" fmla="*/ 1649 h 2489"/>
                <a:gd name="T28" fmla="*/ 1619 w 2058"/>
                <a:gd name="T29" fmla="*/ 1597 h 2489"/>
                <a:gd name="T30" fmla="*/ 1671 w 2058"/>
                <a:gd name="T31" fmla="*/ 1582 h 2489"/>
                <a:gd name="T32" fmla="*/ 1686 w 2058"/>
                <a:gd name="T33" fmla="*/ 1003 h 2489"/>
                <a:gd name="T34" fmla="*/ 1760 w 2058"/>
                <a:gd name="T35" fmla="*/ 869 h 2489"/>
                <a:gd name="T36" fmla="*/ 1894 w 2058"/>
                <a:gd name="T37" fmla="*/ 706 h 2489"/>
                <a:gd name="T38" fmla="*/ 2027 w 2058"/>
                <a:gd name="T39" fmla="*/ 438 h 2489"/>
                <a:gd name="T40" fmla="*/ 2027 w 2058"/>
                <a:gd name="T41" fmla="*/ 431 h 2489"/>
                <a:gd name="T42" fmla="*/ 1782 w 2058"/>
                <a:gd name="T43" fmla="*/ 327 h 2489"/>
                <a:gd name="T44" fmla="*/ 1641 w 2058"/>
                <a:gd name="T45" fmla="*/ 60 h 2489"/>
                <a:gd name="T46" fmla="*/ 1604 w 2058"/>
                <a:gd name="T47" fmla="*/ 208 h 2489"/>
                <a:gd name="T48" fmla="*/ 1559 w 2058"/>
                <a:gd name="T49" fmla="*/ 349 h 2489"/>
                <a:gd name="T50" fmla="*/ 1493 w 2058"/>
                <a:gd name="T51" fmla="*/ 372 h 2489"/>
                <a:gd name="T52" fmla="*/ 1389 w 2058"/>
                <a:gd name="T53" fmla="*/ 475 h 2489"/>
                <a:gd name="T54" fmla="*/ 1389 w 2058"/>
                <a:gd name="T55" fmla="*/ 580 h 2489"/>
                <a:gd name="T56" fmla="*/ 1285 w 2058"/>
                <a:gd name="T57" fmla="*/ 550 h 2489"/>
                <a:gd name="T58" fmla="*/ 1144 w 2058"/>
                <a:gd name="T59" fmla="*/ 676 h 2489"/>
                <a:gd name="T60" fmla="*/ 1114 w 2058"/>
                <a:gd name="T61" fmla="*/ 795 h 2489"/>
                <a:gd name="T62" fmla="*/ 1069 w 2058"/>
                <a:gd name="T63" fmla="*/ 832 h 2489"/>
                <a:gd name="T64" fmla="*/ 817 w 2058"/>
                <a:gd name="T65" fmla="*/ 825 h 2489"/>
                <a:gd name="T66" fmla="*/ 550 w 2058"/>
                <a:gd name="T67" fmla="*/ 936 h 2489"/>
                <a:gd name="T68" fmla="*/ 445 w 2058"/>
                <a:gd name="T69" fmla="*/ 891 h 2489"/>
                <a:gd name="T70" fmla="*/ 468 w 2058"/>
                <a:gd name="T71" fmla="*/ 780 h 2489"/>
                <a:gd name="T72" fmla="*/ 171 w 2058"/>
                <a:gd name="T73" fmla="*/ 617 h 2489"/>
                <a:gd name="T74" fmla="*/ 0 w 2058"/>
                <a:gd name="T75" fmla="*/ 617 h 2489"/>
                <a:gd name="T76" fmla="*/ 67 w 2058"/>
                <a:gd name="T77" fmla="*/ 706 h 2489"/>
                <a:gd name="T78" fmla="*/ 89 w 2058"/>
                <a:gd name="T79" fmla="*/ 847 h 2489"/>
                <a:gd name="T80" fmla="*/ 0 w 2058"/>
                <a:gd name="T81" fmla="*/ 1047 h 2489"/>
                <a:gd name="T82" fmla="*/ 186 w 2058"/>
                <a:gd name="T83" fmla="*/ 1129 h 2489"/>
                <a:gd name="T84" fmla="*/ 342 w 2058"/>
                <a:gd name="T85" fmla="*/ 1188 h 2489"/>
                <a:gd name="T86" fmla="*/ 587 w 2058"/>
                <a:gd name="T87" fmla="*/ 1322 h 2489"/>
                <a:gd name="T88" fmla="*/ 653 w 2058"/>
                <a:gd name="T89" fmla="*/ 1679 h 2489"/>
                <a:gd name="T90" fmla="*/ 847 w 2058"/>
                <a:gd name="T91" fmla="*/ 1901 h 2489"/>
                <a:gd name="T92" fmla="*/ 995 w 2058"/>
                <a:gd name="T93" fmla="*/ 2302 h 2489"/>
                <a:gd name="T94" fmla="*/ 1151 w 2058"/>
                <a:gd name="T95" fmla="*/ 2184 h 2489"/>
                <a:gd name="T96" fmla="*/ 1114 w 2058"/>
                <a:gd name="T97" fmla="*/ 2065 h 2489"/>
                <a:gd name="T98" fmla="*/ 1448 w 2058"/>
                <a:gd name="T99" fmla="*/ 2124 h 2489"/>
                <a:gd name="T100" fmla="*/ 1559 w 2058"/>
                <a:gd name="T101" fmla="*/ 2139 h 2489"/>
                <a:gd name="T102" fmla="*/ 1619 w 2058"/>
                <a:gd name="T103" fmla="*/ 2421 h 2489"/>
                <a:gd name="T104" fmla="*/ 1842 w 2058"/>
                <a:gd name="T105" fmla="*/ 2287 h 2489"/>
                <a:gd name="T106" fmla="*/ 1842 w 2058"/>
                <a:gd name="T107" fmla="*/ 2287 h 2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58" h="2489">
                  <a:moveTo>
                    <a:pt x="1923" y="2280"/>
                  </a:moveTo>
                  <a:lnTo>
                    <a:pt x="1923" y="2280"/>
                  </a:lnTo>
                  <a:cubicBezTo>
                    <a:pt x="1923" y="2273"/>
                    <a:pt x="1931" y="2258"/>
                    <a:pt x="1931" y="2250"/>
                  </a:cubicBezTo>
                  <a:cubicBezTo>
                    <a:pt x="1923" y="2243"/>
                    <a:pt x="1923" y="2243"/>
                    <a:pt x="1923" y="2236"/>
                  </a:cubicBezTo>
                  <a:cubicBezTo>
                    <a:pt x="1916" y="2228"/>
                    <a:pt x="1916" y="2213"/>
                    <a:pt x="1916" y="2198"/>
                  </a:cubicBezTo>
                  <a:lnTo>
                    <a:pt x="1916" y="2191"/>
                  </a:lnTo>
                  <a:cubicBezTo>
                    <a:pt x="1916" y="2147"/>
                    <a:pt x="1916" y="2109"/>
                    <a:pt x="1894" y="2065"/>
                  </a:cubicBezTo>
                  <a:lnTo>
                    <a:pt x="1894" y="2057"/>
                  </a:lnTo>
                  <a:cubicBezTo>
                    <a:pt x="1886" y="2057"/>
                    <a:pt x="1886" y="2050"/>
                    <a:pt x="1886" y="2050"/>
                  </a:cubicBezTo>
                  <a:cubicBezTo>
                    <a:pt x="1871" y="2005"/>
                    <a:pt x="1849" y="1968"/>
                    <a:pt x="1819" y="1939"/>
                  </a:cubicBezTo>
                  <a:cubicBezTo>
                    <a:pt x="1790" y="1901"/>
                    <a:pt x="1790" y="1879"/>
                    <a:pt x="1782" y="1834"/>
                  </a:cubicBezTo>
                  <a:cubicBezTo>
                    <a:pt x="1782" y="1834"/>
                    <a:pt x="1775" y="1820"/>
                    <a:pt x="1767" y="1812"/>
                  </a:cubicBezTo>
                  <a:lnTo>
                    <a:pt x="1767" y="1812"/>
                  </a:lnTo>
                  <a:cubicBezTo>
                    <a:pt x="1760" y="1820"/>
                    <a:pt x="1760" y="1812"/>
                    <a:pt x="1752" y="1805"/>
                  </a:cubicBezTo>
                  <a:cubicBezTo>
                    <a:pt x="1745" y="1805"/>
                    <a:pt x="1738" y="1812"/>
                    <a:pt x="1730" y="1812"/>
                  </a:cubicBezTo>
                  <a:cubicBezTo>
                    <a:pt x="1715" y="1827"/>
                    <a:pt x="1730" y="1827"/>
                    <a:pt x="1730" y="1842"/>
                  </a:cubicBezTo>
                  <a:cubicBezTo>
                    <a:pt x="1723" y="1849"/>
                    <a:pt x="1700" y="1864"/>
                    <a:pt x="1686" y="1857"/>
                  </a:cubicBezTo>
                  <a:cubicBezTo>
                    <a:pt x="1686" y="1857"/>
                    <a:pt x="1686" y="1857"/>
                    <a:pt x="1686" y="1849"/>
                  </a:cubicBezTo>
                  <a:cubicBezTo>
                    <a:pt x="1678" y="1849"/>
                    <a:pt x="1678" y="1849"/>
                    <a:pt x="1678" y="1842"/>
                  </a:cubicBezTo>
                  <a:cubicBezTo>
                    <a:pt x="1678" y="1834"/>
                    <a:pt x="1663" y="1834"/>
                    <a:pt x="1663" y="1827"/>
                  </a:cubicBezTo>
                  <a:cubicBezTo>
                    <a:pt x="1656" y="1827"/>
                    <a:pt x="1656" y="1820"/>
                    <a:pt x="1663" y="1812"/>
                  </a:cubicBezTo>
                  <a:cubicBezTo>
                    <a:pt x="1663" y="1805"/>
                    <a:pt x="1663" y="1805"/>
                    <a:pt x="1663" y="1797"/>
                  </a:cubicBezTo>
                  <a:cubicBezTo>
                    <a:pt x="1663" y="1797"/>
                    <a:pt x="1656" y="1797"/>
                    <a:pt x="1649" y="1797"/>
                  </a:cubicBezTo>
                  <a:lnTo>
                    <a:pt x="1649" y="1790"/>
                  </a:lnTo>
                  <a:cubicBezTo>
                    <a:pt x="1641" y="1790"/>
                    <a:pt x="1641" y="1790"/>
                    <a:pt x="1634" y="1790"/>
                  </a:cubicBezTo>
                  <a:cubicBezTo>
                    <a:pt x="1626" y="1790"/>
                    <a:pt x="1619" y="1782"/>
                    <a:pt x="1619" y="1775"/>
                  </a:cubicBezTo>
                  <a:cubicBezTo>
                    <a:pt x="1612" y="1768"/>
                    <a:pt x="1597" y="1775"/>
                    <a:pt x="1612" y="1782"/>
                  </a:cubicBezTo>
                  <a:cubicBezTo>
                    <a:pt x="1612" y="1782"/>
                    <a:pt x="1612" y="1782"/>
                    <a:pt x="1604" y="1782"/>
                  </a:cubicBezTo>
                  <a:cubicBezTo>
                    <a:pt x="1597" y="1790"/>
                    <a:pt x="1597" y="1782"/>
                    <a:pt x="1589" y="1782"/>
                  </a:cubicBezTo>
                  <a:cubicBezTo>
                    <a:pt x="1582" y="1790"/>
                    <a:pt x="1582" y="1790"/>
                    <a:pt x="1567" y="1790"/>
                  </a:cubicBezTo>
                  <a:cubicBezTo>
                    <a:pt x="1559" y="1790"/>
                    <a:pt x="1552" y="1790"/>
                    <a:pt x="1544" y="1790"/>
                  </a:cubicBezTo>
                  <a:cubicBezTo>
                    <a:pt x="1537" y="1797"/>
                    <a:pt x="1537" y="1790"/>
                    <a:pt x="1544" y="1782"/>
                  </a:cubicBezTo>
                  <a:cubicBezTo>
                    <a:pt x="1544" y="1782"/>
                    <a:pt x="1537" y="1768"/>
                    <a:pt x="1530" y="1768"/>
                  </a:cubicBezTo>
                  <a:cubicBezTo>
                    <a:pt x="1522" y="1768"/>
                    <a:pt x="1522" y="1760"/>
                    <a:pt x="1522" y="1753"/>
                  </a:cubicBezTo>
                  <a:cubicBezTo>
                    <a:pt x="1522" y="1738"/>
                    <a:pt x="1530" y="1745"/>
                    <a:pt x="1537" y="1738"/>
                  </a:cubicBezTo>
                  <a:cubicBezTo>
                    <a:pt x="1537" y="1731"/>
                    <a:pt x="1537" y="1723"/>
                    <a:pt x="1544" y="1716"/>
                  </a:cubicBezTo>
                  <a:cubicBezTo>
                    <a:pt x="1544" y="1716"/>
                    <a:pt x="1552" y="1716"/>
                    <a:pt x="1559" y="1716"/>
                  </a:cubicBezTo>
                  <a:cubicBezTo>
                    <a:pt x="1567" y="1708"/>
                    <a:pt x="1559" y="1708"/>
                    <a:pt x="1567" y="1701"/>
                  </a:cubicBezTo>
                  <a:cubicBezTo>
                    <a:pt x="1567" y="1693"/>
                    <a:pt x="1574" y="1693"/>
                    <a:pt x="1582" y="1693"/>
                  </a:cubicBezTo>
                  <a:lnTo>
                    <a:pt x="1582" y="1679"/>
                  </a:lnTo>
                  <a:cubicBezTo>
                    <a:pt x="1589" y="1671"/>
                    <a:pt x="1582" y="1671"/>
                    <a:pt x="1582" y="1671"/>
                  </a:cubicBezTo>
                  <a:cubicBezTo>
                    <a:pt x="1574" y="1664"/>
                    <a:pt x="1589" y="1656"/>
                    <a:pt x="1582" y="1649"/>
                  </a:cubicBezTo>
                  <a:cubicBezTo>
                    <a:pt x="1574" y="1642"/>
                    <a:pt x="1574" y="1619"/>
                    <a:pt x="1574" y="1612"/>
                  </a:cubicBezTo>
                  <a:cubicBezTo>
                    <a:pt x="1582" y="1604"/>
                    <a:pt x="1589" y="1597"/>
                    <a:pt x="1597" y="1590"/>
                  </a:cubicBezTo>
                  <a:cubicBezTo>
                    <a:pt x="1604" y="1590"/>
                    <a:pt x="1612" y="1597"/>
                    <a:pt x="1619" y="1597"/>
                  </a:cubicBezTo>
                  <a:cubicBezTo>
                    <a:pt x="1626" y="1590"/>
                    <a:pt x="1626" y="1582"/>
                    <a:pt x="1634" y="1575"/>
                  </a:cubicBezTo>
                  <a:cubicBezTo>
                    <a:pt x="1641" y="1567"/>
                    <a:pt x="1656" y="1575"/>
                    <a:pt x="1671" y="1575"/>
                  </a:cubicBezTo>
                  <a:cubicBezTo>
                    <a:pt x="1671" y="1582"/>
                    <a:pt x="1671" y="1582"/>
                    <a:pt x="1671" y="1582"/>
                  </a:cubicBezTo>
                  <a:lnTo>
                    <a:pt x="1678" y="1582"/>
                  </a:lnTo>
                  <a:cubicBezTo>
                    <a:pt x="1678" y="1485"/>
                    <a:pt x="1678" y="1330"/>
                    <a:pt x="1656" y="1255"/>
                  </a:cubicBezTo>
                  <a:cubicBezTo>
                    <a:pt x="1634" y="1181"/>
                    <a:pt x="1656" y="1077"/>
                    <a:pt x="1686" y="1003"/>
                  </a:cubicBezTo>
                  <a:lnTo>
                    <a:pt x="1693" y="1003"/>
                  </a:lnTo>
                  <a:cubicBezTo>
                    <a:pt x="1708" y="980"/>
                    <a:pt x="1708" y="951"/>
                    <a:pt x="1730" y="929"/>
                  </a:cubicBezTo>
                  <a:cubicBezTo>
                    <a:pt x="1745" y="914"/>
                    <a:pt x="1760" y="899"/>
                    <a:pt x="1760" y="869"/>
                  </a:cubicBezTo>
                  <a:cubicBezTo>
                    <a:pt x="1760" y="832"/>
                    <a:pt x="1752" y="773"/>
                    <a:pt x="1812" y="773"/>
                  </a:cubicBezTo>
                  <a:cubicBezTo>
                    <a:pt x="1819" y="750"/>
                    <a:pt x="1834" y="750"/>
                    <a:pt x="1834" y="728"/>
                  </a:cubicBezTo>
                  <a:cubicBezTo>
                    <a:pt x="1842" y="698"/>
                    <a:pt x="1871" y="706"/>
                    <a:pt x="1894" y="706"/>
                  </a:cubicBezTo>
                  <a:cubicBezTo>
                    <a:pt x="1901" y="624"/>
                    <a:pt x="1990" y="580"/>
                    <a:pt x="2020" y="505"/>
                  </a:cubicBezTo>
                  <a:cubicBezTo>
                    <a:pt x="2027" y="505"/>
                    <a:pt x="2042" y="490"/>
                    <a:pt x="2057" y="475"/>
                  </a:cubicBezTo>
                  <a:cubicBezTo>
                    <a:pt x="2042" y="468"/>
                    <a:pt x="2035" y="453"/>
                    <a:pt x="2027" y="438"/>
                  </a:cubicBezTo>
                  <a:cubicBezTo>
                    <a:pt x="2020" y="446"/>
                    <a:pt x="2012" y="446"/>
                    <a:pt x="2005" y="446"/>
                  </a:cubicBezTo>
                  <a:cubicBezTo>
                    <a:pt x="2012" y="446"/>
                    <a:pt x="2020" y="446"/>
                    <a:pt x="2027" y="438"/>
                  </a:cubicBezTo>
                  <a:lnTo>
                    <a:pt x="2027" y="431"/>
                  </a:lnTo>
                  <a:cubicBezTo>
                    <a:pt x="2005" y="446"/>
                    <a:pt x="1990" y="453"/>
                    <a:pt x="1990" y="401"/>
                  </a:cubicBezTo>
                  <a:cubicBezTo>
                    <a:pt x="1953" y="401"/>
                    <a:pt x="1916" y="409"/>
                    <a:pt x="1894" y="372"/>
                  </a:cubicBezTo>
                  <a:cubicBezTo>
                    <a:pt x="1864" y="335"/>
                    <a:pt x="1827" y="327"/>
                    <a:pt x="1782" y="327"/>
                  </a:cubicBezTo>
                  <a:cubicBezTo>
                    <a:pt x="1782" y="283"/>
                    <a:pt x="1790" y="245"/>
                    <a:pt x="1782" y="208"/>
                  </a:cubicBezTo>
                  <a:cubicBezTo>
                    <a:pt x="1782" y="178"/>
                    <a:pt x="1738" y="156"/>
                    <a:pt x="1715" y="141"/>
                  </a:cubicBezTo>
                  <a:cubicBezTo>
                    <a:pt x="1686" y="112"/>
                    <a:pt x="1663" y="82"/>
                    <a:pt x="1641" y="60"/>
                  </a:cubicBezTo>
                  <a:cubicBezTo>
                    <a:pt x="1626" y="45"/>
                    <a:pt x="1612" y="23"/>
                    <a:pt x="1604" y="0"/>
                  </a:cubicBezTo>
                  <a:cubicBezTo>
                    <a:pt x="1597" y="38"/>
                    <a:pt x="1574" y="104"/>
                    <a:pt x="1544" y="127"/>
                  </a:cubicBezTo>
                  <a:cubicBezTo>
                    <a:pt x="1559" y="164"/>
                    <a:pt x="1574" y="193"/>
                    <a:pt x="1604" y="208"/>
                  </a:cubicBezTo>
                  <a:cubicBezTo>
                    <a:pt x="1626" y="230"/>
                    <a:pt x="1612" y="260"/>
                    <a:pt x="1612" y="290"/>
                  </a:cubicBezTo>
                  <a:cubicBezTo>
                    <a:pt x="1612" y="305"/>
                    <a:pt x="1619" y="409"/>
                    <a:pt x="1597" y="409"/>
                  </a:cubicBezTo>
                  <a:cubicBezTo>
                    <a:pt x="1582" y="386"/>
                    <a:pt x="1582" y="357"/>
                    <a:pt x="1559" y="349"/>
                  </a:cubicBezTo>
                  <a:cubicBezTo>
                    <a:pt x="1544" y="349"/>
                    <a:pt x="1522" y="342"/>
                    <a:pt x="1522" y="327"/>
                  </a:cubicBezTo>
                  <a:cubicBezTo>
                    <a:pt x="1507" y="320"/>
                    <a:pt x="1485" y="320"/>
                    <a:pt x="1478" y="335"/>
                  </a:cubicBezTo>
                  <a:cubicBezTo>
                    <a:pt x="1470" y="357"/>
                    <a:pt x="1470" y="372"/>
                    <a:pt x="1493" y="372"/>
                  </a:cubicBezTo>
                  <a:cubicBezTo>
                    <a:pt x="1500" y="394"/>
                    <a:pt x="1493" y="409"/>
                    <a:pt x="1493" y="431"/>
                  </a:cubicBezTo>
                  <a:cubicBezTo>
                    <a:pt x="1470" y="431"/>
                    <a:pt x="1448" y="431"/>
                    <a:pt x="1433" y="446"/>
                  </a:cubicBezTo>
                  <a:cubicBezTo>
                    <a:pt x="1418" y="453"/>
                    <a:pt x="1411" y="475"/>
                    <a:pt x="1389" y="475"/>
                  </a:cubicBezTo>
                  <a:cubicBezTo>
                    <a:pt x="1389" y="475"/>
                    <a:pt x="1389" y="483"/>
                    <a:pt x="1389" y="490"/>
                  </a:cubicBezTo>
                  <a:cubicBezTo>
                    <a:pt x="1418" y="490"/>
                    <a:pt x="1433" y="498"/>
                    <a:pt x="1433" y="528"/>
                  </a:cubicBezTo>
                  <a:cubicBezTo>
                    <a:pt x="1433" y="565"/>
                    <a:pt x="1418" y="557"/>
                    <a:pt x="1389" y="580"/>
                  </a:cubicBezTo>
                  <a:cubicBezTo>
                    <a:pt x="1381" y="587"/>
                    <a:pt x="1366" y="624"/>
                    <a:pt x="1344" y="594"/>
                  </a:cubicBezTo>
                  <a:cubicBezTo>
                    <a:pt x="1337" y="580"/>
                    <a:pt x="1337" y="557"/>
                    <a:pt x="1329" y="542"/>
                  </a:cubicBezTo>
                  <a:cubicBezTo>
                    <a:pt x="1322" y="498"/>
                    <a:pt x="1285" y="505"/>
                    <a:pt x="1285" y="550"/>
                  </a:cubicBezTo>
                  <a:cubicBezTo>
                    <a:pt x="1277" y="587"/>
                    <a:pt x="1196" y="542"/>
                    <a:pt x="1173" y="535"/>
                  </a:cubicBezTo>
                  <a:cubicBezTo>
                    <a:pt x="1166" y="565"/>
                    <a:pt x="1173" y="602"/>
                    <a:pt x="1158" y="632"/>
                  </a:cubicBezTo>
                  <a:cubicBezTo>
                    <a:pt x="1158" y="646"/>
                    <a:pt x="1151" y="661"/>
                    <a:pt x="1144" y="676"/>
                  </a:cubicBezTo>
                  <a:cubicBezTo>
                    <a:pt x="1144" y="698"/>
                    <a:pt x="1136" y="758"/>
                    <a:pt x="1173" y="750"/>
                  </a:cubicBezTo>
                  <a:cubicBezTo>
                    <a:pt x="1173" y="765"/>
                    <a:pt x="1158" y="773"/>
                    <a:pt x="1151" y="787"/>
                  </a:cubicBezTo>
                  <a:cubicBezTo>
                    <a:pt x="1144" y="795"/>
                    <a:pt x="1121" y="787"/>
                    <a:pt x="1114" y="795"/>
                  </a:cubicBezTo>
                  <a:cubicBezTo>
                    <a:pt x="1099" y="802"/>
                    <a:pt x="1107" y="817"/>
                    <a:pt x="1092" y="825"/>
                  </a:cubicBezTo>
                  <a:cubicBezTo>
                    <a:pt x="1092" y="817"/>
                    <a:pt x="1084" y="817"/>
                    <a:pt x="1077" y="810"/>
                  </a:cubicBezTo>
                  <a:cubicBezTo>
                    <a:pt x="1077" y="817"/>
                    <a:pt x="1069" y="825"/>
                    <a:pt x="1069" y="832"/>
                  </a:cubicBezTo>
                  <a:cubicBezTo>
                    <a:pt x="1040" y="847"/>
                    <a:pt x="1062" y="862"/>
                    <a:pt x="1025" y="854"/>
                  </a:cubicBezTo>
                  <a:cubicBezTo>
                    <a:pt x="1002" y="847"/>
                    <a:pt x="980" y="847"/>
                    <a:pt x="950" y="847"/>
                  </a:cubicBezTo>
                  <a:cubicBezTo>
                    <a:pt x="950" y="773"/>
                    <a:pt x="809" y="765"/>
                    <a:pt x="817" y="825"/>
                  </a:cubicBezTo>
                  <a:cubicBezTo>
                    <a:pt x="772" y="825"/>
                    <a:pt x="735" y="817"/>
                    <a:pt x="698" y="795"/>
                  </a:cubicBezTo>
                  <a:cubicBezTo>
                    <a:pt x="653" y="780"/>
                    <a:pt x="639" y="817"/>
                    <a:pt x="616" y="854"/>
                  </a:cubicBezTo>
                  <a:cubicBezTo>
                    <a:pt x="602" y="877"/>
                    <a:pt x="550" y="899"/>
                    <a:pt x="550" y="936"/>
                  </a:cubicBezTo>
                  <a:cubicBezTo>
                    <a:pt x="550" y="973"/>
                    <a:pt x="542" y="988"/>
                    <a:pt x="505" y="980"/>
                  </a:cubicBezTo>
                  <a:cubicBezTo>
                    <a:pt x="497" y="958"/>
                    <a:pt x="497" y="936"/>
                    <a:pt x="483" y="921"/>
                  </a:cubicBezTo>
                  <a:cubicBezTo>
                    <a:pt x="475" y="914"/>
                    <a:pt x="445" y="899"/>
                    <a:pt x="445" y="891"/>
                  </a:cubicBezTo>
                  <a:cubicBezTo>
                    <a:pt x="453" y="854"/>
                    <a:pt x="497" y="832"/>
                    <a:pt x="497" y="795"/>
                  </a:cubicBezTo>
                  <a:cubicBezTo>
                    <a:pt x="497" y="787"/>
                    <a:pt x="505" y="758"/>
                    <a:pt x="483" y="758"/>
                  </a:cubicBezTo>
                  <a:cubicBezTo>
                    <a:pt x="468" y="758"/>
                    <a:pt x="475" y="773"/>
                    <a:pt x="468" y="780"/>
                  </a:cubicBezTo>
                  <a:cubicBezTo>
                    <a:pt x="423" y="825"/>
                    <a:pt x="438" y="698"/>
                    <a:pt x="438" y="691"/>
                  </a:cubicBezTo>
                  <a:cubicBezTo>
                    <a:pt x="401" y="654"/>
                    <a:pt x="401" y="758"/>
                    <a:pt x="349" y="669"/>
                  </a:cubicBezTo>
                  <a:cubicBezTo>
                    <a:pt x="312" y="617"/>
                    <a:pt x="223" y="617"/>
                    <a:pt x="171" y="617"/>
                  </a:cubicBezTo>
                  <a:cubicBezTo>
                    <a:pt x="163" y="632"/>
                    <a:pt x="148" y="632"/>
                    <a:pt x="148" y="646"/>
                  </a:cubicBezTo>
                  <a:cubicBezTo>
                    <a:pt x="97" y="676"/>
                    <a:pt x="59" y="624"/>
                    <a:pt x="15" y="617"/>
                  </a:cubicBezTo>
                  <a:cubicBezTo>
                    <a:pt x="7" y="617"/>
                    <a:pt x="0" y="617"/>
                    <a:pt x="0" y="617"/>
                  </a:cubicBezTo>
                  <a:cubicBezTo>
                    <a:pt x="0" y="624"/>
                    <a:pt x="0" y="632"/>
                    <a:pt x="0" y="632"/>
                  </a:cubicBezTo>
                  <a:cubicBezTo>
                    <a:pt x="0" y="654"/>
                    <a:pt x="7" y="676"/>
                    <a:pt x="22" y="691"/>
                  </a:cubicBezTo>
                  <a:cubicBezTo>
                    <a:pt x="30" y="698"/>
                    <a:pt x="67" y="698"/>
                    <a:pt x="67" y="706"/>
                  </a:cubicBezTo>
                  <a:cubicBezTo>
                    <a:pt x="74" y="713"/>
                    <a:pt x="74" y="735"/>
                    <a:pt x="67" y="750"/>
                  </a:cubicBezTo>
                  <a:cubicBezTo>
                    <a:pt x="15" y="750"/>
                    <a:pt x="30" y="802"/>
                    <a:pt x="30" y="840"/>
                  </a:cubicBezTo>
                  <a:cubicBezTo>
                    <a:pt x="45" y="840"/>
                    <a:pt x="67" y="840"/>
                    <a:pt x="89" y="847"/>
                  </a:cubicBezTo>
                  <a:cubicBezTo>
                    <a:pt x="89" y="884"/>
                    <a:pt x="89" y="906"/>
                    <a:pt x="67" y="936"/>
                  </a:cubicBezTo>
                  <a:cubicBezTo>
                    <a:pt x="52" y="973"/>
                    <a:pt x="74" y="1010"/>
                    <a:pt x="67" y="1047"/>
                  </a:cubicBezTo>
                  <a:cubicBezTo>
                    <a:pt x="45" y="1047"/>
                    <a:pt x="22" y="1047"/>
                    <a:pt x="0" y="1047"/>
                  </a:cubicBezTo>
                  <a:cubicBezTo>
                    <a:pt x="0" y="1077"/>
                    <a:pt x="30" y="1085"/>
                    <a:pt x="52" y="1092"/>
                  </a:cubicBezTo>
                  <a:cubicBezTo>
                    <a:pt x="52" y="1107"/>
                    <a:pt x="59" y="1114"/>
                    <a:pt x="59" y="1129"/>
                  </a:cubicBezTo>
                  <a:cubicBezTo>
                    <a:pt x="104" y="1114"/>
                    <a:pt x="148" y="1122"/>
                    <a:pt x="186" y="1129"/>
                  </a:cubicBezTo>
                  <a:cubicBezTo>
                    <a:pt x="193" y="1062"/>
                    <a:pt x="275" y="1122"/>
                    <a:pt x="312" y="1137"/>
                  </a:cubicBezTo>
                  <a:cubicBezTo>
                    <a:pt x="312" y="1151"/>
                    <a:pt x="312" y="1174"/>
                    <a:pt x="312" y="1188"/>
                  </a:cubicBezTo>
                  <a:cubicBezTo>
                    <a:pt x="319" y="1188"/>
                    <a:pt x="334" y="1196"/>
                    <a:pt x="342" y="1188"/>
                  </a:cubicBezTo>
                  <a:cubicBezTo>
                    <a:pt x="364" y="1277"/>
                    <a:pt x="497" y="1196"/>
                    <a:pt x="535" y="1203"/>
                  </a:cubicBezTo>
                  <a:cubicBezTo>
                    <a:pt x="535" y="1211"/>
                    <a:pt x="542" y="1218"/>
                    <a:pt x="542" y="1226"/>
                  </a:cubicBezTo>
                  <a:cubicBezTo>
                    <a:pt x="602" y="1226"/>
                    <a:pt x="594" y="1277"/>
                    <a:pt x="587" y="1322"/>
                  </a:cubicBezTo>
                  <a:cubicBezTo>
                    <a:pt x="587" y="1337"/>
                    <a:pt x="587" y="1367"/>
                    <a:pt x="594" y="1382"/>
                  </a:cubicBezTo>
                  <a:cubicBezTo>
                    <a:pt x="602" y="1389"/>
                    <a:pt x="639" y="1411"/>
                    <a:pt x="639" y="1396"/>
                  </a:cubicBezTo>
                  <a:cubicBezTo>
                    <a:pt x="624" y="1485"/>
                    <a:pt x="602" y="1604"/>
                    <a:pt x="653" y="1679"/>
                  </a:cubicBezTo>
                  <a:cubicBezTo>
                    <a:pt x="676" y="1716"/>
                    <a:pt x="676" y="1745"/>
                    <a:pt x="691" y="1782"/>
                  </a:cubicBezTo>
                  <a:cubicBezTo>
                    <a:pt x="705" y="1820"/>
                    <a:pt x="757" y="1805"/>
                    <a:pt x="787" y="1805"/>
                  </a:cubicBezTo>
                  <a:cubicBezTo>
                    <a:pt x="787" y="1857"/>
                    <a:pt x="802" y="1879"/>
                    <a:pt x="847" y="1901"/>
                  </a:cubicBezTo>
                  <a:cubicBezTo>
                    <a:pt x="891" y="1924"/>
                    <a:pt x="936" y="1983"/>
                    <a:pt x="950" y="2035"/>
                  </a:cubicBezTo>
                  <a:cubicBezTo>
                    <a:pt x="973" y="2102"/>
                    <a:pt x="817" y="2280"/>
                    <a:pt x="958" y="2302"/>
                  </a:cubicBezTo>
                  <a:cubicBezTo>
                    <a:pt x="973" y="2302"/>
                    <a:pt x="988" y="2302"/>
                    <a:pt x="995" y="2302"/>
                  </a:cubicBezTo>
                  <a:cubicBezTo>
                    <a:pt x="1017" y="2295"/>
                    <a:pt x="1032" y="2317"/>
                    <a:pt x="1054" y="2310"/>
                  </a:cubicBezTo>
                  <a:cubicBezTo>
                    <a:pt x="1054" y="2273"/>
                    <a:pt x="1032" y="2243"/>
                    <a:pt x="1040" y="2206"/>
                  </a:cubicBezTo>
                  <a:cubicBezTo>
                    <a:pt x="1047" y="2161"/>
                    <a:pt x="1121" y="2184"/>
                    <a:pt x="1151" y="2184"/>
                  </a:cubicBezTo>
                  <a:cubicBezTo>
                    <a:pt x="1136" y="2154"/>
                    <a:pt x="1129" y="2132"/>
                    <a:pt x="1129" y="2102"/>
                  </a:cubicBezTo>
                  <a:cubicBezTo>
                    <a:pt x="1144" y="2102"/>
                    <a:pt x="1144" y="2094"/>
                    <a:pt x="1151" y="2094"/>
                  </a:cubicBezTo>
                  <a:cubicBezTo>
                    <a:pt x="1129" y="2094"/>
                    <a:pt x="1107" y="2087"/>
                    <a:pt x="1114" y="2065"/>
                  </a:cubicBezTo>
                  <a:cubicBezTo>
                    <a:pt x="1233" y="2042"/>
                    <a:pt x="1247" y="2198"/>
                    <a:pt x="1352" y="2191"/>
                  </a:cubicBezTo>
                  <a:cubicBezTo>
                    <a:pt x="1366" y="2176"/>
                    <a:pt x="1352" y="2139"/>
                    <a:pt x="1374" y="2124"/>
                  </a:cubicBezTo>
                  <a:cubicBezTo>
                    <a:pt x="1389" y="2109"/>
                    <a:pt x="1426" y="2124"/>
                    <a:pt x="1448" y="2124"/>
                  </a:cubicBezTo>
                  <a:cubicBezTo>
                    <a:pt x="1448" y="2102"/>
                    <a:pt x="1455" y="2087"/>
                    <a:pt x="1455" y="2065"/>
                  </a:cubicBezTo>
                  <a:cubicBezTo>
                    <a:pt x="1493" y="2042"/>
                    <a:pt x="1522" y="2117"/>
                    <a:pt x="1567" y="2124"/>
                  </a:cubicBezTo>
                  <a:cubicBezTo>
                    <a:pt x="1559" y="2124"/>
                    <a:pt x="1567" y="2132"/>
                    <a:pt x="1559" y="2139"/>
                  </a:cubicBezTo>
                  <a:cubicBezTo>
                    <a:pt x="1507" y="2161"/>
                    <a:pt x="1522" y="2280"/>
                    <a:pt x="1515" y="2325"/>
                  </a:cubicBezTo>
                  <a:cubicBezTo>
                    <a:pt x="1507" y="2362"/>
                    <a:pt x="1470" y="2488"/>
                    <a:pt x="1544" y="2466"/>
                  </a:cubicBezTo>
                  <a:cubicBezTo>
                    <a:pt x="1552" y="2421"/>
                    <a:pt x="1582" y="2414"/>
                    <a:pt x="1619" y="2421"/>
                  </a:cubicBezTo>
                  <a:cubicBezTo>
                    <a:pt x="1619" y="2399"/>
                    <a:pt x="1619" y="2384"/>
                    <a:pt x="1612" y="2369"/>
                  </a:cubicBezTo>
                  <a:cubicBezTo>
                    <a:pt x="1649" y="2392"/>
                    <a:pt x="1730" y="2384"/>
                    <a:pt x="1760" y="2362"/>
                  </a:cubicBezTo>
                  <a:cubicBezTo>
                    <a:pt x="1790" y="2339"/>
                    <a:pt x="1804" y="2302"/>
                    <a:pt x="1842" y="2287"/>
                  </a:cubicBezTo>
                  <a:cubicBezTo>
                    <a:pt x="1834" y="2280"/>
                    <a:pt x="1827" y="2265"/>
                    <a:pt x="1819" y="2258"/>
                  </a:cubicBezTo>
                  <a:cubicBezTo>
                    <a:pt x="1827" y="2265"/>
                    <a:pt x="1834" y="2280"/>
                    <a:pt x="1842" y="2287"/>
                  </a:cubicBezTo>
                  <a:lnTo>
                    <a:pt x="1842" y="2287"/>
                  </a:lnTo>
                  <a:cubicBezTo>
                    <a:pt x="1864" y="2280"/>
                    <a:pt x="1901" y="2295"/>
                    <a:pt x="1923" y="228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0" name="Freeform 7">
              <a:extLst>
                <a:ext uri="{FF2B5EF4-FFF2-40B4-BE49-F238E27FC236}">
                  <a16:creationId xmlns:a16="http://schemas.microsoft.com/office/drawing/2014/main" id="{E1BB8B2D-823D-CB44-81FD-471789274EBA}"/>
                </a:ext>
              </a:extLst>
            </p:cNvPr>
            <p:cNvSpPr>
              <a:spLocks noChangeArrowheads="1"/>
            </p:cNvSpPr>
            <p:nvPr/>
          </p:nvSpPr>
          <p:spPr bwMode="auto">
            <a:xfrm>
              <a:off x="9251061" y="7745474"/>
              <a:ext cx="2497338" cy="1992732"/>
            </a:xfrm>
            <a:custGeom>
              <a:avLst/>
              <a:gdLst>
                <a:gd name="T0" fmla="*/ 757 w 5778"/>
                <a:gd name="T1" fmla="*/ 4611 h 4612"/>
                <a:gd name="T2" fmla="*/ 920 w 5778"/>
                <a:gd name="T3" fmla="*/ 4448 h 4612"/>
                <a:gd name="T4" fmla="*/ 913 w 5778"/>
                <a:gd name="T5" fmla="*/ 4077 h 4612"/>
                <a:gd name="T6" fmla="*/ 1091 w 5778"/>
                <a:gd name="T7" fmla="*/ 3936 h 4612"/>
                <a:gd name="T8" fmla="*/ 1388 w 5778"/>
                <a:gd name="T9" fmla="*/ 3676 h 4612"/>
                <a:gd name="T10" fmla="*/ 1916 w 5778"/>
                <a:gd name="T11" fmla="*/ 3690 h 4612"/>
                <a:gd name="T12" fmla="*/ 2027 w 5778"/>
                <a:gd name="T13" fmla="*/ 3334 h 4612"/>
                <a:gd name="T14" fmla="*/ 2495 w 5778"/>
                <a:gd name="T15" fmla="*/ 3482 h 4612"/>
                <a:gd name="T16" fmla="*/ 2584 w 5778"/>
                <a:gd name="T17" fmla="*/ 3208 h 4612"/>
                <a:gd name="T18" fmla="*/ 2822 w 5778"/>
                <a:gd name="T19" fmla="*/ 3030 h 4612"/>
                <a:gd name="T20" fmla="*/ 2955 w 5778"/>
                <a:gd name="T21" fmla="*/ 2918 h 4612"/>
                <a:gd name="T22" fmla="*/ 3364 w 5778"/>
                <a:gd name="T23" fmla="*/ 2792 h 4612"/>
                <a:gd name="T24" fmla="*/ 3512 w 5778"/>
                <a:gd name="T25" fmla="*/ 2495 h 4612"/>
                <a:gd name="T26" fmla="*/ 3653 w 5778"/>
                <a:gd name="T27" fmla="*/ 2027 h 4612"/>
                <a:gd name="T28" fmla="*/ 3780 w 5778"/>
                <a:gd name="T29" fmla="*/ 1997 h 4612"/>
                <a:gd name="T30" fmla="*/ 3965 w 5778"/>
                <a:gd name="T31" fmla="*/ 1626 h 4612"/>
                <a:gd name="T32" fmla="*/ 4396 w 5778"/>
                <a:gd name="T33" fmla="*/ 1864 h 4612"/>
                <a:gd name="T34" fmla="*/ 4589 w 5778"/>
                <a:gd name="T35" fmla="*/ 1849 h 4612"/>
                <a:gd name="T36" fmla="*/ 4782 w 5778"/>
                <a:gd name="T37" fmla="*/ 1960 h 4612"/>
                <a:gd name="T38" fmla="*/ 5094 w 5778"/>
                <a:gd name="T39" fmla="*/ 2005 h 4612"/>
                <a:gd name="T40" fmla="*/ 5116 w 5778"/>
                <a:gd name="T41" fmla="*/ 2540 h 4612"/>
                <a:gd name="T42" fmla="*/ 5287 w 5778"/>
                <a:gd name="T43" fmla="*/ 2554 h 4612"/>
                <a:gd name="T44" fmla="*/ 5532 w 5778"/>
                <a:gd name="T45" fmla="*/ 2101 h 4612"/>
                <a:gd name="T46" fmla="*/ 5740 w 5778"/>
                <a:gd name="T47" fmla="*/ 2079 h 4612"/>
                <a:gd name="T48" fmla="*/ 5450 w 5778"/>
                <a:gd name="T49" fmla="*/ 1804 h 4612"/>
                <a:gd name="T50" fmla="*/ 5435 w 5778"/>
                <a:gd name="T51" fmla="*/ 1485 h 4612"/>
                <a:gd name="T52" fmla="*/ 5554 w 5778"/>
                <a:gd name="T53" fmla="*/ 987 h 4612"/>
                <a:gd name="T54" fmla="*/ 5629 w 5778"/>
                <a:gd name="T55" fmla="*/ 750 h 4612"/>
                <a:gd name="T56" fmla="*/ 5354 w 5778"/>
                <a:gd name="T57" fmla="*/ 497 h 4612"/>
                <a:gd name="T58" fmla="*/ 4797 w 5778"/>
                <a:gd name="T59" fmla="*/ 482 h 4612"/>
                <a:gd name="T60" fmla="*/ 4418 w 5778"/>
                <a:gd name="T61" fmla="*/ 438 h 4612"/>
                <a:gd name="T62" fmla="*/ 4017 w 5778"/>
                <a:gd name="T63" fmla="*/ 453 h 4612"/>
                <a:gd name="T64" fmla="*/ 3379 w 5778"/>
                <a:gd name="T65" fmla="*/ 431 h 4612"/>
                <a:gd name="T66" fmla="*/ 3193 w 5778"/>
                <a:gd name="T67" fmla="*/ 341 h 4612"/>
                <a:gd name="T68" fmla="*/ 2807 w 5778"/>
                <a:gd name="T69" fmla="*/ 571 h 4612"/>
                <a:gd name="T70" fmla="*/ 2502 w 5778"/>
                <a:gd name="T71" fmla="*/ 683 h 4612"/>
                <a:gd name="T72" fmla="*/ 2005 w 5778"/>
                <a:gd name="T73" fmla="*/ 460 h 4612"/>
                <a:gd name="T74" fmla="*/ 1336 w 5778"/>
                <a:gd name="T75" fmla="*/ 0 h 4612"/>
                <a:gd name="T76" fmla="*/ 1099 w 5778"/>
                <a:gd name="T77" fmla="*/ 52 h 4612"/>
                <a:gd name="T78" fmla="*/ 928 w 5778"/>
                <a:gd name="T79" fmla="*/ 260 h 4612"/>
                <a:gd name="T80" fmla="*/ 1032 w 5778"/>
                <a:gd name="T81" fmla="*/ 416 h 4612"/>
                <a:gd name="T82" fmla="*/ 735 w 5778"/>
                <a:gd name="T83" fmla="*/ 601 h 4612"/>
                <a:gd name="T84" fmla="*/ 765 w 5778"/>
                <a:gd name="T85" fmla="*/ 995 h 4612"/>
                <a:gd name="T86" fmla="*/ 564 w 5778"/>
                <a:gd name="T87" fmla="*/ 1047 h 4612"/>
                <a:gd name="T88" fmla="*/ 386 w 5778"/>
                <a:gd name="T89" fmla="*/ 1322 h 4612"/>
                <a:gd name="T90" fmla="*/ 104 w 5778"/>
                <a:gd name="T91" fmla="*/ 1181 h 4612"/>
                <a:gd name="T92" fmla="*/ 67 w 5778"/>
                <a:gd name="T93" fmla="*/ 1396 h 4612"/>
                <a:gd name="T94" fmla="*/ 126 w 5778"/>
                <a:gd name="T95" fmla="*/ 1633 h 4612"/>
                <a:gd name="T96" fmla="*/ 67 w 5778"/>
                <a:gd name="T97" fmla="*/ 1916 h 4612"/>
                <a:gd name="T98" fmla="*/ 185 w 5778"/>
                <a:gd name="T99" fmla="*/ 1916 h 4612"/>
                <a:gd name="T100" fmla="*/ 111 w 5778"/>
                <a:gd name="T101" fmla="*/ 2131 h 4612"/>
                <a:gd name="T102" fmla="*/ 81 w 5778"/>
                <a:gd name="T103" fmla="*/ 2287 h 4612"/>
                <a:gd name="T104" fmla="*/ 81 w 5778"/>
                <a:gd name="T105" fmla="*/ 2480 h 4612"/>
                <a:gd name="T106" fmla="*/ 81 w 5778"/>
                <a:gd name="T107" fmla="*/ 2562 h 4612"/>
                <a:gd name="T108" fmla="*/ 185 w 5778"/>
                <a:gd name="T109" fmla="*/ 3059 h 4612"/>
                <a:gd name="T110" fmla="*/ 215 w 5778"/>
                <a:gd name="T111" fmla="*/ 3356 h 4612"/>
                <a:gd name="T112" fmla="*/ 245 w 5778"/>
                <a:gd name="T113" fmla="*/ 3728 h 4612"/>
                <a:gd name="T114" fmla="*/ 312 w 5778"/>
                <a:gd name="T115" fmla="*/ 4166 h 4612"/>
                <a:gd name="T116" fmla="*/ 475 w 5778"/>
                <a:gd name="T117" fmla="*/ 4470 h 4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78" h="4612">
                  <a:moveTo>
                    <a:pt x="475" y="4470"/>
                  </a:moveTo>
                  <a:lnTo>
                    <a:pt x="475" y="4470"/>
                  </a:lnTo>
                  <a:cubicBezTo>
                    <a:pt x="482" y="4441"/>
                    <a:pt x="505" y="4441"/>
                    <a:pt x="542" y="4441"/>
                  </a:cubicBezTo>
                  <a:cubicBezTo>
                    <a:pt x="557" y="4500"/>
                    <a:pt x="601" y="4522"/>
                    <a:pt x="601" y="4582"/>
                  </a:cubicBezTo>
                  <a:cubicBezTo>
                    <a:pt x="646" y="4589"/>
                    <a:pt x="698" y="4611"/>
                    <a:pt x="742" y="4611"/>
                  </a:cubicBezTo>
                  <a:cubicBezTo>
                    <a:pt x="742" y="4611"/>
                    <a:pt x="750" y="4611"/>
                    <a:pt x="757" y="4611"/>
                  </a:cubicBezTo>
                  <a:cubicBezTo>
                    <a:pt x="750" y="4604"/>
                    <a:pt x="735" y="4604"/>
                    <a:pt x="720" y="4604"/>
                  </a:cubicBezTo>
                  <a:cubicBezTo>
                    <a:pt x="705" y="4537"/>
                    <a:pt x="824" y="4515"/>
                    <a:pt x="869" y="4522"/>
                  </a:cubicBezTo>
                  <a:cubicBezTo>
                    <a:pt x="869" y="4507"/>
                    <a:pt x="861" y="4500"/>
                    <a:pt x="846" y="4492"/>
                  </a:cubicBezTo>
                  <a:lnTo>
                    <a:pt x="846" y="4485"/>
                  </a:lnTo>
                  <a:cubicBezTo>
                    <a:pt x="876" y="4485"/>
                    <a:pt x="891" y="4500"/>
                    <a:pt x="920" y="4500"/>
                  </a:cubicBezTo>
                  <a:cubicBezTo>
                    <a:pt x="920" y="4485"/>
                    <a:pt x="920" y="4463"/>
                    <a:pt x="920" y="4448"/>
                  </a:cubicBezTo>
                  <a:cubicBezTo>
                    <a:pt x="950" y="4441"/>
                    <a:pt x="1017" y="4381"/>
                    <a:pt x="980" y="4351"/>
                  </a:cubicBezTo>
                  <a:cubicBezTo>
                    <a:pt x="950" y="4337"/>
                    <a:pt x="898" y="4351"/>
                    <a:pt x="913" y="4299"/>
                  </a:cubicBezTo>
                  <a:cubicBezTo>
                    <a:pt x="943" y="4284"/>
                    <a:pt x="972" y="4292"/>
                    <a:pt x="1010" y="4292"/>
                  </a:cubicBezTo>
                  <a:cubicBezTo>
                    <a:pt x="1017" y="4247"/>
                    <a:pt x="995" y="4136"/>
                    <a:pt x="928" y="4144"/>
                  </a:cubicBezTo>
                  <a:cubicBezTo>
                    <a:pt x="913" y="4181"/>
                    <a:pt x="891" y="4151"/>
                    <a:pt x="891" y="4129"/>
                  </a:cubicBezTo>
                  <a:cubicBezTo>
                    <a:pt x="876" y="4092"/>
                    <a:pt x="891" y="4099"/>
                    <a:pt x="913" y="4077"/>
                  </a:cubicBezTo>
                  <a:cubicBezTo>
                    <a:pt x="943" y="4047"/>
                    <a:pt x="854" y="3987"/>
                    <a:pt x="854" y="3950"/>
                  </a:cubicBezTo>
                  <a:cubicBezTo>
                    <a:pt x="883" y="3943"/>
                    <a:pt x="891" y="3980"/>
                    <a:pt x="920" y="3973"/>
                  </a:cubicBezTo>
                  <a:cubicBezTo>
                    <a:pt x="920" y="3950"/>
                    <a:pt x="920" y="3936"/>
                    <a:pt x="950" y="3928"/>
                  </a:cubicBezTo>
                  <a:cubicBezTo>
                    <a:pt x="1002" y="3921"/>
                    <a:pt x="972" y="3928"/>
                    <a:pt x="987" y="3891"/>
                  </a:cubicBezTo>
                  <a:cubicBezTo>
                    <a:pt x="1002" y="3869"/>
                    <a:pt x="1047" y="3876"/>
                    <a:pt x="1069" y="3876"/>
                  </a:cubicBezTo>
                  <a:cubicBezTo>
                    <a:pt x="1091" y="3891"/>
                    <a:pt x="1091" y="3913"/>
                    <a:pt x="1091" y="3936"/>
                  </a:cubicBezTo>
                  <a:cubicBezTo>
                    <a:pt x="1128" y="3936"/>
                    <a:pt x="1151" y="3921"/>
                    <a:pt x="1180" y="3928"/>
                  </a:cubicBezTo>
                  <a:cubicBezTo>
                    <a:pt x="1143" y="3891"/>
                    <a:pt x="1173" y="3854"/>
                    <a:pt x="1225" y="3854"/>
                  </a:cubicBezTo>
                  <a:cubicBezTo>
                    <a:pt x="1232" y="3832"/>
                    <a:pt x="1285" y="3824"/>
                    <a:pt x="1307" y="3824"/>
                  </a:cubicBezTo>
                  <a:cubicBezTo>
                    <a:pt x="1351" y="3817"/>
                    <a:pt x="1366" y="3787"/>
                    <a:pt x="1366" y="3742"/>
                  </a:cubicBezTo>
                  <a:cubicBezTo>
                    <a:pt x="1381" y="3742"/>
                    <a:pt x="1388" y="3742"/>
                    <a:pt x="1396" y="3742"/>
                  </a:cubicBezTo>
                  <a:cubicBezTo>
                    <a:pt x="1396" y="3728"/>
                    <a:pt x="1403" y="3683"/>
                    <a:pt x="1388" y="3676"/>
                  </a:cubicBezTo>
                  <a:cubicBezTo>
                    <a:pt x="1448" y="3676"/>
                    <a:pt x="1522" y="3683"/>
                    <a:pt x="1559" y="3735"/>
                  </a:cubicBezTo>
                  <a:cubicBezTo>
                    <a:pt x="1574" y="3757"/>
                    <a:pt x="1611" y="3750"/>
                    <a:pt x="1633" y="3742"/>
                  </a:cubicBezTo>
                  <a:cubicBezTo>
                    <a:pt x="1656" y="3735"/>
                    <a:pt x="1641" y="3705"/>
                    <a:pt x="1641" y="3690"/>
                  </a:cubicBezTo>
                  <a:cubicBezTo>
                    <a:pt x="1700" y="3668"/>
                    <a:pt x="1797" y="3698"/>
                    <a:pt x="1864" y="3690"/>
                  </a:cubicBezTo>
                  <a:cubicBezTo>
                    <a:pt x="1864" y="3676"/>
                    <a:pt x="1864" y="3661"/>
                    <a:pt x="1864" y="3653"/>
                  </a:cubicBezTo>
                  <a:cubicBezTo>
                    <a:pt x="1916" y="3646"/>
                    <a:pt x="1886" y="3668"/>
                    <a:pt x="1916" y="3690"/>
                  </a:cubicBezTo>
                  <a:cubicBezTo>
                    <a:pt x="1953" y="3713"/>
                    <a:pt x="1953" y="3661"/>
                    <a:pt x="1953" y="3646"/>
                  </a:cubicBezTo>
                  <a:cubicBezTo>
                    <a:pt x="1945" y="3609"/>
                    <a:pt x="1953" y="3587"/>
                    <a:pt x="1938" y="3557"/>
                  </a:cubicBezTo>
                  <a:cubicBezTo>
                    <a:pt x="1923" y="3527"/>
                    <a:pt x="1938" y="3505"/>
                    <a:pt x="1960" y="3490"/>
                  </a:cubicBezTo>
                  <a:cubicBezTo>
                    <a:pt x="1968" y="3453"/>
                    <a:pt x="1930" y="3423"/>
                    <a:pt x="1938" y="3386"/>
                  </a:cubicBezTo>
                  <a:cubicBezTo>
                    <a:pt x="1938" y="3356"/>
                    <a:pt x="1953" y="3319"/>
                    <a:pt x="1953" y="3282"/>
                  </a:cubicBezTo>
                  <a:cubicBezTo>
                    <a:pt x="1997" y="3275"/>
                    <a:pt x="2005" y="3304"/>
                    <a:pt x="2027" y="3334"/>
                  </a:cubicBezTo>
                  <a:cubicBezTo>
                    <a:pt x="2042" y="3342"/>
                    <a:pt x="2094" y="3356"/>
                    <a:pt x="2101" y="3334"/>
                  </a:cubicBezTo>
                  <a:cubicBezTo>
                    <a:pt x="2131" y="3334"/>
                    <a:pt x="2168" y="3386"/>
                    <a:pt x="2183" y="3416"/>
                  </a:cubicBezTo>
                  <a:cubicBezTo>
                    <a:pt x="2213" y="3416"/>
                    <a:pt x="2257" y="3431"/>
                    <a:pt x="2287" y="3416"/>
                  </a:cubicBezTo>
                  <a:lnTo>
                    <a:pt x="2287" y="3401"/>
                  </a:lnTo>
                  <a:cubicBezTo>
                    <a:pt x="2287" y="3401"/>
                    <a:pt x="2384" y="3438"/>
                    <a:pt x="2391" y="3438"/>
                  </a:cubicBezTo>
                  <a:cubicBezTo>
                    <a:pt x="2443" y="3438"/>
                    <a:pt x="2458" y="3453"/>
                    <a:pt x="2495" y="3482"/>
                  </a:cubicBezTo>
                  <a:cubicBezTo>
                    <a:pt x="2502" y="3460"/>
                    <a:pt x="2517" y="3453"/>
                    <a:pt x="2517" y="3438"/>
                  </a:cubicBezTo>
                  <a:cubicBezTo>
                    <a:pt x="2487" y="3423"/>
                    <a:pt x="2480" y="3379"/>
                    <a:pt x="2480" y="3349"/>
                  </a:cubicBezTo>
                  <a:cubicBezTo>
                    <a:pt x="2487" y="3327"/>
                    <a:pt x="2502" y="3319"/>
                    <a:pt x="2495" y="3297"/>
                  </a:cubicBezTo>
                  <a:cubicBezTo>
                    <a:pt x="2487" y="3282"/>
                    <a:pt x="2480" y="3267"/>
                    <a:pt x="2487" y="3252"/>
                  </a:cubicBezTo>
                  <a:cubicBezTo>
                    <a:pt x="2510" y="3252"/>
                    <a:pt x="2532" y="3267"/>
                    <a:pt x="2562" y="3267"/>
                  </a:cubicBezTo>
                  <a:cubicBezTo>
                    <a:pt x="2584" y="3267"/>
                    <a:pt x="2569" y="3223"/>
                    <a:pt x="2584" y="3208"/>
                  </a:cubicBezTo>
                  <a:cubicBezTo>
                    <a:pt x="2606" y="3185"/>
                    <a:pt x="2606" y="3163"/>
                    <a:pt x="2643" y="3156"/>
                  </a:cubicBezTo>
                  <a:cubicBezTo>
                    <a:pt x="2673" y="3156"/>
                    <a:pt x="2695" y="3171"/>
                    <a:pt x="2725" y="3171"/>
                  </a:cubicBezTo>
                  <a:cubicBezTo>
                    <a:pt x="2755" y="3252"/>
                    <a:pt x="2762" y="3163"/>
                    <a:pt x="2807" y="3148"/>
                  </a:cubicBezTo>
                  <a:cubicBezTo>
                    <a:pt x="2836" y="3141"/>
                    <a:pt x="2844" y="3119"/>
                    <a:pt x="2814" y="3096"/>
                  </a:cubicBezTo>
                  <a:cubicBezTo>
                    <a:pt x="2792" y="3082"/>
                    <a:pt x="2807" y="3052"/>
                    <a:pt x="2814" y="3030"/>
                  </a:cubicBezTo>
                  <a:cubicBezTo>
                    <a:pt x="2814" y="3030"/>
                    <a:pt x="2814" y="3030"/>
                    <a:pt x="2822" y="3030"/>
                  </a:cubicBezTo>
                  <a:cubicBezTo>
                    <a:pt x="2822" y="3037"/>
                    <a:pt x="2822" y="3045"/>
                    <a:pt x="2822" y="3052"/>
                  </a:cubicBezTo>
                  <a:cubicBezTo>
                    <a:pt x="2859" y="3074"/>
                    <a:pt x="2896" y="3067"/>
                    <a:pt x="2933" y="3052"/>
                  </a:cubicBezTo>
                  <a:cubicBezTo>
                    <a:pt x="2926" y="3052"/>
                    <a:pt x="2948" y="3030"/>
                    <a:pt x="2948" y="3030"/>
                  </a:cubicBezTo>
                  <a:cubicBezTo>
                    <a:pt x="2955" y="3022"/>
                    <a:pt x="2948" y="3000"/>
                    <a:pt x="2948" y="2985"/>
                  </a:cubicBezTo>
                  <a:cubicBezTo>
                    <a:pt x="2985" y="2985"/>
                    <a:pt x="2985" y="2985"/>
                    <a:pt x="2985" y="2948"/>
                  </a:cubicBezTo>
                  <a:cubicBezTo>
                    <a:pt x="2985" y="2933"/>
                    <a:pt x="2970" y="2918"/>
                    <a:pt x="2955" y="2918"/>
                  </a:cubicBezTo>
                  <a:cubicBezTo>
                    <a:pt x="2985" y="2822"/>
                    <a:pt x="3089" y="2918"/>
                    <a:pt x="3126" y="2859"/>
                  </a:cubicBezTo>
                  <a:cubicBezTo>
                    <a:pt x="3148" y="2822"/>
                    <a:pt x="3193" y="2814"/>
                    <a:pt x="3215" y="2777"/>
                  </a:cubicBezTo>
                  <a:cubicBezTo>
                    <a:pt x="3245" y="2732"/>
                    <a:pt x="3230" y="2718"/>
                    <a:pt x="3289" y="2725"/>
                  </a:cubicBezTo>
                  <a:cubicBezTo>
                    <a:pt x="3297" y="2755"/>
                    <a:pt x="3282" y="2918"/>
                    <a:pt x="3341" y="2822"/>
                  </a:cubicBezTo>
                  <a:cubicBezTo>
                    <a:pt x="3349" y="2822"/>
                    <a:pt x="3349" y="2822"/>
                    <a:pt x="3356" y="2822"/>
                  </a:cubicBezTo>
                  <a:cubicBezTo>
                    <a:pt x="3356" y="2807"/>
                    <a:pt x="3356" y="2799"/>
                    <a:pt x="3364" y="2792"/>
                  </a:cubicBezTo>
                  <a:cubicBezTo>
                    <a:pt x="3371" y="2762"/>
                    <a:pt x="3394" y="2732"/>
                    <a:pt x="3379" y="2695"/>
                  </a:cubicBezTo>
                  <a:cubicBezTo>
                    <a:pt x="3371" y="2673"/>
                    <a:pt x="3356" y="2673"/>
                    <a:pt x="3356" y="2643"/>
                  </a:cubicBezTo>
                  <a:cubicBezTo>
                    <a:pt x="3379" y="2636"/>
                    <a:pt x="3379" y="2621"/>
                    <a:pt x="3371" y="2606"/>
                  </a:cubicBezTo>
                  <a:cubicBezTo>
                    <a:pt x="3394" y="2606"/>
                    <a:pt x="3408" y="2599"/>
                    <a:pt x="3401" y="2577"/>
                  </a:cubicBezTo>
                  <a:cubicBezTo>
                    <a:pt x="3423" y="2562"/>
                    <a:pt x="3460" y="2584"/>
                    <a:pt x="3482" y="2577"/>
                  </a:cubicBezTo>
                  <a:cubicBezTo>
                    <a:pt x="3497" y="2577"/>
                    <a:pt x="3505" y="2502"/>
                    <a:pt x="3512" y="2495"/>
                  </a:cubicBezTo>
                  <a:cubicBezTo>
                    <a:pt x="3534" y="2450"/>
                    <a:pt x="3564" y="2413"/>
                    <a:pt x="3601" y="2398"/>
                  </a:cubicBezTo>
                  <a:cubicBezTo>
                    <a:pt x="3631" y="2383"/>
                    <a:pt x="3646" y="2376"/>
                    <a:pt x="3639" y="2339"/>
                  </a:cubicBezTo>
                  <a:lnTo>
                    <a:pt x="3609" y="2339"/>
                  </a:lnTo>
                  <a:cubicBezTo>
                    <a:pt x="3616" y="2287"/>
                    <a:pt x="3482" y="2220"/>
                    <a:pt x="3579" y="2190"/>
                  </a:cubicBezTo>
                  <a:cubicBezTo>
                    <a:pt x="3624" y="2175"/>
                    <a:pt x="3594" y="2131"/>
                    <a:pt x="3616" y="2094"/>
                  </a:cubicBezTo>
                  <a:cubicBezTo>
                    <a:pt x="3631" y="2072"/>
                    <a:pt x="3661" y="2064"/>
                    <a:pt x="3653" y="2027"/>
                  </a:cubicBezTo>
                  <a:cubicBezTo>
                    <a:pt x="3668" y="2020"/>
                    <a:pt x="3683" y="2020"/>
                    <a:pt x="3698" y="2027"/>
                  </a:cubicBezTo>
                  <a:cubicBezTo>
                    <a:pt x="3691" y="2064"/>
                    <a:pt x="3750" y="2072"/>
                    <a:pt x="3728" y="2116"/>
                  </a:cubicBezTo>
                  <a:cubicBezTo>
                    <a:pt x="3750" y="2086"/>
                    <a:pt x="3794" y="2094"/>
                    <a:pt x="3824" y="2094"/>
                  </a:cubicBezTo>
                  <a:cubicBezTo>
                    <a:pt x="3831" y="2086"/>
                    <a:pt x="3839" y="2079"/>
                    <a:pt x="3839" y="2079"/>
                  </a:cubicBezTo>
                  <a:cubicBezTo>
                    <a:pt x="3824" y="2064"/>
                    <a:pt x="3824" y="2035"/>
                    <a:pt x="3802" y="2020"/>
                  </a:cubicBezTo>
                  <a:cubicBezTo>
                    <a:pt x="3787" y="2012"/>
                    <a:pt x="3780" y="2012"/>
                    <a:pt x="3780" y="1997"/>
                  </a:cubicBezTo>
                  <a:cubicBezTo>
                    <a:pt x="3839" y="1990"/>
                    <a:pt x="3876" y="1997"/>
                    <a:pt x="3921" y="1945"/>
                  </a:cubicBezTo>
                  <a:cubicBezTo>
                    <a:pt x="3943" y="1923"/>
                    <a:pt x="3943" y="1841"/>
                    <a:pt x="3943" y="1812"/>
                  </a:cubicBezTo>
                  <a:cubicBezTo>
                    <a:pt x="3943" y="1789"/>
                    <a:pt x="3913" y="1797"/>
                    <a:pt x="3928" y="1775"/>
                  </a:cubicBezTo>
                  <a:cubicBezTo>
                    <a:pt x="3936" y="1760"/>
                    <a:pt x="3958" y="1767"/>
                    <a:pt x="3965" y="1752"/>
                  </a:cubicBezTo>
                  <a:cubicBezTo>
                    <a:pt x="4002" y="1708"/>
                    <a:pt x="3936" y="1685"/>
                    <a:pt x="3936" y="1648"/>
                  </a:cubicBezTo>
                  <a:cubicBezTo>
                    <a:pt x="3943" y="1648"/>
                    <a:pt x="3958" y="1633"/>
                    <a:pt x="3965" y="1626"/>
                  </a:cubicBezTo>
                  <a:cubicBezTo>
                    <a:pt x="3980" y="1648"/>
                    <a:pt x="4077" y="1678"/>
                    <a:pt x="4077" y="1715"/>
                  </a:cubicBezTo>
                  <a:cubicBezTo>
                    <a:pt x="4121" y="1723"/>
                    <a:pt x="4166" y="1693"/>
                    <a:pt x="4210" y="1708"/>
                  </a:cubicBezTo>
                  <a:cubicBezTo>
                    <a:pt x="4247" y="1723"/>
                    <a:pt x="4285" y="1723"/>
                    <a:pt x="4322" y="1723"/>
                  </a:cubicBezTo>
                  <a:cubicBezTo>
                    <a:pt x="4322" y="1760"/>
                    <a:pt x="4322" y="1797"/>
                    <a:pt x="4322" y="1827"/>
                  </a:cubicBezTo>
                  <a:cubicBezTo>
                    <a:pt x="4351" y="1834"/>
                    <a:pt x="4388" y="1819"/>
                    <a:pt x="4418" y="1827"/>
                  </a:cubicBezTo>
                  <a:cubicBezTo>
                    <a:pt x="4426" y="1849"/>
                    <a:pt x="4411" y="1856"/>
                    <a:pt x="4396" y="1864"/>
                  </a:cubicBezTo>
                  <a:cubicBezTo>
                    <a:pt x="4374" y="1878"/>
                    <a:pt x="4374" y="1908"/>
                    <a:pt x="4374" y="1930"/>
                  </a:cubicBezTo>
                  <a:cubicBezTo>
                    <a:pt x="4411" y="1938"/>
                    <a:pt x="4455" y="1930"/>
                    <a:pt x="4493" y="1938"/>
                  </a:cubicBezTo>
                  <a:cubicBezTo>
                    <a:pt x="4493" y="1930"/>
                    <a:pt x="4493" y="1930"/>
                    <a:pt x="4500" y="1923"/>
                  </a:cubicBezTo>
                  <a:cubicBezTo>
                    <a:pt x="4537" y="1923"/>
                    <a:pt x="4544" y="1975"/>
                    <a:pt x="4589" y="1968"/>
                  </a:cubicBezTo>
                  <a:cubicBezTo>
                    <a:pt x="4574" y="1953"/>
                    <a:pt x="4559" y="1923"/>
                    <a:pt x="4589" y="1908"/>
                  </a:cubicBezTo>
                  <a:cubicBezTo>
                    <a:pt x="4589" y="1893"/>
                    <a:pt x="4589" y="1871"/>
                    <a:pt x="4589" y="1849"/>
                  </a:cubicBezTo>
                  <a:cubicBezTo>
                    <a:pt x="4596" y="1849"/>
                    <a:pt x="4604" y="1849"/>
                    <a:pt x="4611" y="1849"/>
                  </a:cubicBezTo>
                  <a:cubicBezTo>
                    <a:pt x="4619" y="1856"/>
                    <a:pt x="4619" y="1878"/>
                    <a:pt x="4626" y="1878"/>
                  </a:cubicBezTo>
                  <a:cubicBezTo>
                    <a:pt x="4641" y="1893"/>
                    <a:pt x="4671" y="1886"/>
                    <a:pt x="4693" y="1886"/>
                  </a:cubicBezTo>
                  <a:cubicBezTo>
                    <a:pt x="4693" y="1893"/>
                    <a:pt x="4693" y="1908"/>
                    <a:pt x="4693" y="1916"/>
                  </a:cubicBezTo>
                  <a:cubicBezTo>
                    <a:pt x="4700" y="1916"/>
                    <a:pt x="4715" y="1916"/>
                    <a:pt x="4723" y="1916"/>
                  </a:cubicBezTo>
                  <a:cubicBezTo>
                    <a:pt x="4715" y="1945"/>
                    <a:pt x="4760" y="1997"/>
                    <a:pt x="4782" y="1960"/>
                  </a:cubicBezTo>
                  <a:cubicBezTo>
                    <a:pt x="4790" y="1945"/>
                    <a:pt x="4775" y="1930"/>
                    <a:pt x="4790" y="1916"/>
                  </a:cubicBezTo>
                  <a:cubicBezTo>
                    <a:pt x="4804" y="1908"/>
                    <a:pt x="4819" y="1930"/>
                    <a:pt x="4819" y="1945"/>
                  </a:cubicBezTo>
                  <a:cubicBezTo>
                    <a:pt x="4841" y="1945"/>
                    <a:pt x="4849" y="1923"/>
                    <a:pt x="4849" y="1901"/>
                  </a:cubicBezTo>
                  <a:cubicBezTo>
                    <a:pt x="4886" y="1901"/>
                    <a:pt x="4908" y="1916"/>
                    <a:pt x="4945" y="1908"/>
                  </a:cubicBezTo>
                  <a:cubicBezTo>
                    <a:pt x="4960" y="1901"/>
                    <a:pt x="4968" y="1908"/>
                    <a:pt x="4983" y="1923"/>
                  </a:cubicBezTo>
                  <a:cubicBezTo>
                    <a:pt x="5005" y="1953"/>
                    <a:pt x="5049" y="1997"/>
                    <a:pt x="5094" y="2005"/>
                  </a:cubicBezTo>
                  <a:cubicBezTo>
                    <a:pt x="5094" y="2027"/>
                    <a:pt x="5116" y="2035"/>
                    <a:pt x="5116" y="2057"/>
                  </a:cubicBezTo>
                  <a:cubicBezTo>
                    <a:pt x="5116" y="2086"/>
                    <a:pt x="5109" y="2101"/>
                    <a:pt x="5101" y="2124"/>
                  </a:cubicBezTo>
                  <a:cubicBezTo>
                    <a:pt x="5087" y="2168"/>
                    <a:pt x="5101" y="2220"/>
                    <a:pt x="5072" y="2257"/>
                  </a:cubicBezTo>
                  <a:cubicBezTo>
                    <a:pt x="5035" y="2287"/>
                    <a:pt x="5012" y="2324"/>
                    <a:pt x="5064" y="2346"/>
                  </a:cubicBezTo>
                  <a:cubicBezTo>
                    <a:pt x="5094" y="2361"/>
                    <a:pt x="5109" y="2458"/>
                    <a:pt x="5101" y="2487"/>
                  </a:cubicBezTo>
                  <a:cubicBezTo>
                    <a:pt x="5057" y="2487"/>
                    <a:pt x="5101" y="2532"/>
                    <a:pt x="5116" y="2540"/>
                  </a:cubicBezTo>
                  <a:cubicBezTo>
                    <a:pt x="5153" y="2577"/>
                    <a:pt x="5205" y="2584"/>
                    <a:pt x="5250" y="2599"/>
                  </a:cubicBezTo>
                  <a:cubicBezTo>
                    <a:pt x="5265" y="2599"/>
                    <a:pt x="5272" y="2599"/>
                    <a:pt x="5280" y="2599"/>
                  </a:cubicBezTo>
                  <a:cubicBezTo>
                    <a:pt x="5280" y="2591"/>
                    <a:pt x="5280" y="2591"/>
                    <a:pt x="5280" y="2591"/>
                  </a:cubicBezTo>
                  <a:cubicBezTo>
                    <a:pt x="5280" y="2591"/>
                    <a:pt x="5280" y="2591"/>
                    <a:pt x="5280" y="2599"/>
                  </a:cubicBezTo>
                  <a:lnTo>
                    <a:pt x="5287" y="2599"/>
                  </a:lnTo>
                  <a:cubicBezTo>
                    <a:pt x="5287" y="2577"/>
                    <a:pt x="5287" y="2554"/>
                    <a:pt x="5287" y="2554"/>
                  </a:cubicBezTo>
                  <a:cubicBezTo>
                    <a:pt x="5272" y="2502"/>
                    <a:pt x="5324" y="2517"/>
                    <a:pt x="5361" y="2495"/>
                  </a:cubicBezTo>
                  <a:cubicBezTo>
                    <a:pt x="5421" y="2458"/>
                    <a:pt x="5346" y="2428"/>
                    <a:pt x="5332" y="2406"/>
                  </a:cubicBezTo>
                  <a:cubicBezTo>
                    <a:pt x="5317" y="2383"/>
                    <a:pt x="5302" y="2294"/>
                    <a:pt x="5339" y="2287"/>
                  </a:cubicBezTo>
                  <a:cubicBezTo>
                    <a:pt x="5384" y="2280"/>
                    <a:pt x="5339" y="2213"/>
                    <a:pt x="5384" y="2205"/>
                  </a:cubicBezTo>
                  <a:cubicBezTo>
                    <a:pt x="5384" y="2198"/>
                    <a:pt x="5384" y="2198"/>
                    <a:pt x="5384" y="2190"/>
                  </a:cubicBezTo>
                  <a:cubicBezTo>
                    <a:pt x="5428" y="2198"/>
                    <a:pt x="5502" y="2079"/>
                    <a:pt x="5532" y="2101"/>
                  </a:cubicBezTo>
                  <a:cubicBezTo>
                    <a:pt x="5554" y="2116"/>
                    <a:pt x="5562" y="2153"/>
                    <a:pt x="5591" y="2161"/>
                  </a:cubicBezTo>
                  <a:cubicBezTo>
                    <a:pt x="5614" y="2168"/>
                    <a:pt x="5651" y="2175"/>
                    <a:pt x="5681" y="2168"/>
                  </a:cubicBezTo>
                  <a:cubicBezTo>
                    <a:pt x="5688" y="2153"/>
                    <a:pt x="5703" y="2153"/>
                    <a:pt x="5718" y="2146"/>
                  </a:cubicBezTo>
                  <a:cubicBezTo>
                    <a:pt x="5725" y="2131"/>
                    <a:pt x="5725" y="2138"/>
                    <a:pt x="5733" y="2131"/>
                  </a:cubicBezTo>
                  <a:cubicBezTo>
                    <a:pt x="5733" y="2109"/>
                    <a:pt x="5747" y="2101"/>
                    <a:pt x="5762" y="2086"/>
                  </a:cubicBezTo>
                  <a:cubicBezTo>
                    <a:pt x="5755" y="2086"/>
                    <a:pt x="5747" y="2079"/>
                    <a:pt x="5740" y="2079"/>
                  </a:cubicBezTo>
                  <a:cubicBezTo>
                    <a:pt x="5733" y="2049"/>
                    <a:pt x="5777" y="2035"/>
                    <a:pt x="5770" y="2005"/>
                  </a:cubicBezTo>
                  <a:cubicBezTo>
                    <a:pt x="5755" y="1968"/>
                    <a:pt x="5695" y="1968"/>
                    <a:pt x="5658" y="1968"/>
                  </a:cubicBezTo>
                  <a:cubicBezTo>
                    <a:pt x="5658" y="1953"/>
                    <a:pt x="5651" y="1945"/>
                    <a:pt x="5651" y="1930"/>
                  </a:cubicBezTo>
                  <a:cubicBezTo>
                    <a:pt x="5599" y="1930"/>
                    <a:pt x="5599" y="1908"/>
                    <a:pt x="5599" y="1849"/>
                  </a:cubicBezTo>
                  <a:cubicBezTo>
                    <a:pt x="5562" y="1841"/>
                    <a:pt x="5569" y="1797"/>
                    <a:pt x="5540" y="1775"/>
                  </a:cubicBezTo>
                  <a:cubicBezTo>
                    <a:pt x="5502" y="1752"/>
                    <a:pt x="5480" y="1789"/>
                    <a:pt x="5450" y="1804"/>
                  </a:cubicBezTo>
                  <a:cubicBezTo>
                    <a:pt x="5428" y="1775"/>
                    <a:pt x="5458" y="1775"/>
                    <a:pt x="5473" y="1745"/>
                  </a:cubicBezTo>
                  <a:cubicBezTo>
                    <a:pt x="5480" y="1723"/>
                    <a:pt x="5450" y="1708"/>
                    <a:pt x="5458" y="1685"/>
                  </a:cubicBezTo>
                  <a:cubicBezTo>
                    <a:pt x="5517" y="1678"/>
                    <a:pt x="5525" y="1678"/>
                    <a:pt x="5525" y="1611"/>
                  </a:cubicBezTo>
                  <a:cubicBezTo>
                    <a:pt x="5532" y="1559"/>
                    <a:pt x="5510" y="1552"/>
                    <a:pt x="5465" y="1530"/>
                  </a:cubicBezTo>
                  <a:cubicBezTo>
                    <a:pt x="5458" y="1537"/>
                    <a:pt x="5443" y="1544"/>
                    <a:pt x="5435" y="1544"/>
                  </a:cubicBezTo>
                  <a:cubicBezTo>
                    <a:pt x="5428" y="1522"/>
                    <a:pt x="5428" y="1500"/>
                    <a:pt x="5435" y="1485"/>
                  </a:cubicBezTo>
                  <a:cubicBezTo>
                    <a:pt x="5443" y="1463"/>
                    <a:pt x="5465" y="1455"/>
                    <a:pt x="5458" y="1433"/>
                  </a:cubicBezTo>
                  <a:cubicBezTo>
                    <a:pt x="5465" y="1463"/>
                    <a:pt x="5554" y="1411"/>
                    <a:pt x="5562" y="1396"/>
                  </a:cubicBezTo>
                  <a:cubicBezTo>
                    <a:pt x="5584" y="1359"/>
                    <a:pt x="5577" y="1329"/>
                    <a:pt x="5577" y="1299"/>
                  </a:cubicBezTo>
                  <a:cubicBezTo>
                    <a:pt x="5577" y="1270"/>
                    <a:pt x="5584" y="1240"/>
                    <a:pt x="5584" y="1203"/>
                  </a:cubicBezTo>
                  <a:cubicBezTo>
                    <a:pt x="5554" y="1203"/>
                    <a:pt x="5532" y="1225"/>
                    <a:pt x="5510" y="1218"/>
                  </a:cubicBezTo>
                  <a:cubicBezTo>
                    <a:pt x="5510" y="1143"/>
                    <a:pt x="5606" y="1069"/>
                    <a:pt x="5554" y="987"/>
                  </a:cubicBezTo>
                  <a:cubicBezTo>
                    <a:pt x="5532" y="958"/>
                    <a:pt x="5495" y="973"/>
                    <a:pt x="5480" y="936"/>
                  </a:cubicBezTo>
                  <a:cubicBezTo>
                    <a:pt x="5465" y="913"/>
                    <a:pt x="5480" y="883"/>
                    <a:pt x="5473" y="854"/>
                  </a:cubicBezTo>
                  <a:cubicBezTo>
                    <a:pt x="5473" y="831"/>
                    <a:pt x="5465" y="817"/>
                    <a:pt x="5465" y="794"/>
                  </a:cubicBezTo>
                  <a:cubicBezTo>
                    <a:pt x="5488" y="787"/>
                    <a:pt x="5510" y="794"/>
                    <a:pt x="5502" y="824"/>
                  </a:cubicBezTo>
                  <a:cubicBezTo>
                    <a:pt x="5532" y="824"/>
                    <a:pt x="5547" y="787"/>
                    <a:pt x="5569" y="787"/>
                  </a:cubicBezTo>
                  <a:cubicBezTo>
                    <a:pt x="5599" y="779"/>
                    <a:pt x="5621" y="772"/>
                    <a:pt x="5629" y="750"/>
                  </a:cubicBezTo>
                  <a:cubicBezTo>
                    <a:pt x="5643" y="713"/>
                    <a:pt x="5629" y="698"/>
                    <a:pt x="5614" y="690"/>
                  </a:cubicBezTo>
                  <a:cubicBezTo>
                    <a:pt x="5599" y="705"/>
                    <a:pt x="5584" y="713"/>
                    <a:pt x="5554" y="713"/>
                  </a:cubicBezTo>
                  <a:cubicBezTo>
                    <a:pt x="5584" y="713"/>
                    <a:pt x="5599" y="705"/>
                    <a:pt x="5614" y="690"/>
                  </a:cubicBezTo>
                  <a:cubicBezTo>
                    <a:pt x="5599" y="676"/>
                    <a:pt x="5569" y="676"/>
                    <a:pt x="5547" y="668"/>
                  </a:cubicBezTo>
                  <a:cubicBezTo>
                    <a:pt x="5480" y="661"/>
                    <a:pt x="5435" y="609"/>
                    <a:pt x="5413" y="549"/>
                  </a:cubicBezTo>
                  <a:cubicBezTo>
                    <a:pt x="5398" y="520"/>
                    <a:pt x="5361" y="520"/>
                    <a:pt x="5354" y="497"/>
                  </a:cubicBezTo>
                  <a:cubicBezTo>
                    <a:pt x="5324" y="497"/>
                    <a:pt x="5317" y="497"/>
                    <a:pt x="5294" y="475"/>
                  </a:cubicBezTo>
                  <a:cubicBezTo>
                    <a:pt x="5287" y="468"/>
                    <a:pt x="5265" y="482"/>
                    <a:pt x="5257" y="490"/>
                  </a:cubicBezTo>
                  <a:cubicBezTo>
                    <a:pt x="5228" y="520"/>
                    <a:pt x="5213" y="527"/>
                    <a:pt x="5168" y="527"/>
                  </a:cubicBezTo>
                  <a:cubicBezTo>
                    <a:pt x="5124" y="534"/>
                    <a:pt x="5079" y="534"/>
                    <a:pt x="5042" y="520"/>
                  </a:cubicBezTo>
                  <a:cubicBezTo>
                    <a:pt x="4990" y="490"/>
                    <a:pt x="4960" y="482"/>
                    <a:pt x="4901" y="490"/>
                  </a:cubicBezTo>
                  <a:cubicBezTo>
                    <a:pt x="4886" y="490"/>
                    <a:pt x="4797" y="520"/>
                    <a:pt x="4797" y="482"/>
                  </a:cubicBezTo>
                  <a:cubicBezTo>
                    <a:pt x="4797" y="438"/>
                    <a:pt x="4760" y="431"/>
                    <a:pt x="4723" y="431"/>
                  </a:cubicBezTo>
                  <a:cubicBezTo>
                    <a:pt x="4671" y="431"/>
                    <a:pt x="4678" y="393"/>
                    <a:pt x="4648" y="371"/>
                  </a:cubicBezTo>
                  <a:cubicBezTo>
                    <a:pt x="4611" y="341"/>
                    <a:pt x="4604" y="408"/>
                    <a:pt x="4596" y="431"/>
                  </a:cubicBezTo>
                  <a:cubicBezTo>
                    <a:pt x="4582" y="431"/>
                    <a:pt x="4567" y="431"/>
                    <a:pt x="4552" y="431"/>
                  </a:cubicBezTo>
                  <a:cubicBezTo>
                    <a:pt x="4552" y="445"/>
                    <a:pt x="4552" y="453"/>
                    <a:pt x="4552" y="460"/>
                  </a:cubicBezTo>
                  <a:cubicBezTo>
                    <a:pt x="4507" y="460"/>
                    <a:pt x="4463" y="431"/>
                    <a:pt x="4418" y="438"/>
                  </a:cubicBezTo>
                  <a:cubicBezTo>
                    <a:pt x="4418" y="468"/>
                    <a:pt x="4418" y="490"/>
                    <a:pt x="4418" y="520"/>
                  </a:cubicBezTo>
                  <a:cubicBezTo>
                    <a:pt x="4359" y="520"/>
                    <a:pt x="4292" y="557"/>
                    <a:pt x="4233" y="527"/>
                  </a:cubicBezTo>
                  <a:cubicBezTo>
                    <a:pt x="4196" y="512"/>
                    <a:pt x="4166" y="460"/>
                    <a:pt x="4121" y="468"/>
                  </a:cubicBezTo>
                  <a:cubicBezTo>
                    <a:pt x="4114" y="490"/>
                    <a:pt x="4077" y="520"/>
                    <a:pt x="4062" y="482"/>
                  </a:cubicBezTo>
                  <a:cubicBezTo>
                    <a:pt x="4054" y="460"/>
                    <a:pt x="4062" y="438"/>
                    <a:pt x="4062" y="408"/>
                  </a:cubicBezTo>
                  <a:cubicBezTo>
                    <a:pt x="4032" y="401"/>
                    <a:pt x="4039" y="438"/>
                    <a:pt x="4017" y="453"/>
                  </a:cubicBezTo>
                  <a:cubicBezTo>
                    <a:pt x="3995" y="460"/>
                    <a:pt x="3973" y="445"/>
                    <a:pt x="3950" y="438"/>
                  </a:cubicBezTo>
                  <a:cubicBezTo>
                    <a:pt x="3898" y="408"/>
                    <a:pt x="3854" y="460"/>
                    <a:pt x="3846" y="505"/>
                  </a:cubicBezTo>
                  <a:cubicBezTo>
                    <a:pt x="3750" y="505"/>
                    <a:pt x="3668" y="564"/>
                    <a:pt x="3557" y="542"/>
                  </a:cubicBezTo>
                  <a:cubicBezTo>
                    <a:pt x="3520" y="534"/>
                    <a:pt x="3512" y="549"/>
                    <a:pt x="3482" y="512"/>
                  </a:cubicBezTo>
                  <a:cubicBezTo>
                    <a:pt x="3468" y="475"/>
                    <a:pt x="3438" y="534"/>
                    <a:pt x="3438" y="549"/>
                  </a:cubicBezTo>
                  <a:cubicBezTo>
                    <a:pt x="3401" y="542"/>
                    <a:pt x="3394" y="460"/>
                    <a:pt x="3379" y="431"/>
                  </a:cubicBezTo>
                  <a:cubicBezTo>
                    <a:pt x="3408" y="431"/>
                    <a:pt x="3453" y="445"/>
                    <a:pt x="3475" y="431"/>
                  </a:cubicBezTo>
                  <a:cubicBezTo>
                    <a:pt x="3475" y="438"/>
                    <a:pt x="3482" y="453"/>
                    <a:pt x="3482" y="460"/>
                  </a:cubicBezTo>
                  <a:cubicBezTo>
                    <a:pt x="3490" y="445"/>
                    <a:pt x="3505" y="438"/>
                    <a:pt x="3520" y="438"/>
                  </a:cubicBezTo>
                  <a:cubicBezTo>
                    <a:pt x="3475" y="386"/>
                    <a:pt x="3468" y="282"/>
                    <a:pt x="3401" y="267"/>
                  </a:cubicBezTo>
                  <a:cubicBezTo>
                    <a:pt x="3326" y="252"/>
                    <a:pt x="3297" y="282"/>
                    <a:pt x="3260" y="334"/>
                  </a:cubicBezTo>
                  <a:cubicBezTo>
                    <a:pt x="3237" y="334"/>
                    <a:pt x="3208" y="326"/>
                    <a:pt x="3193" y="341"/>
                  </a:cubicBezTo>
                  <a:cubicBezTo>
                    <a:pt x="3193" y="304"/>
                    <a:pt x="3126" y="312"/>
                    <a:pt x="3104" y="319"/>
                  </a:cubicBezTo>
                  <a:cubicBezTo>
                    <a:pt x="3059" y="326"/>
                    <a:pt x="3029" y="356"/>
                    <a:pt x="2978" y="356"/>
                  </a:cubicBezTo>
                  <a:cubicBezTo>
                    <a:pt x="2978" y="386"/>
                    <a:pt x="2970" y="401"/>
                    <a:pt x="2933" y="408"/>
                  </a:cubicBezTo>
                  <a:cubicBezTo>
                    <a:pt x="2940" y="431"/>
                    <a:pt x="2940" y="468"/>
                    <a:pt x="2911" y="482"/>
                  </a:cubicBezTo>
                  <a:cubicBezTo>
                    <a:pt x="2896" y="490"/>
                    <a:pt x="2881" y="490"/>
                    <a:pt x="2881" y="512"/>
                  </a:cubicBezTo>
                  <a:cubicBezTo>
                    <a:pt x="2844" y="512"/>
                    <a:pt x="2822" y="549"/>
                    <a:pt x="2807" y="571"/>
                  </a:cubicBezTo>
                  <a:cubicBezTo>
                    <a:pt x="2836" y="586"/>
                    <a:pt x="2851" y="594"/>
                    <a:pt x="2844" y="631"/>
                  </a:cubicBezTo>
                  <a:cubicBezTo>
                    <a:pt x="2822" y="624"/>
                    <a:pt x="2807" y="653"/>
                    <a:pt x="2784" y="661"/>
                  </a:cubicBezTo>
                  <a:cubicBezTo>
                    <a:pt x="2762" y="668"/>
                    <a:pt x="2732" y="653"/>
                    <a:pt x="2710" y="653"/>
                  </a:cubicBezTo>
                  <a:cubicBezTo>
                    <a:pt x="2703" y="676"/>
                    <a:pt x="2718" y="713"/>
                    <a:pt x="2688" y="713"/>
                  </a:cubicBezTo>
                  <a:cubicBezTo>
                    <a:pt x="2666" y="720"/>
                    <a:pt x="2643" y="713"/>
                    <a:pt x="2621" y="713"/>
                  </a:cubicBezTo>
                  <a:cubicBezTo>
                    <a:pt x="2591" y="713"/>
                    <a:pt x="2502" y="728"/>
                    <a:pt x="2502" y="683"/>
                  </a:cubicBezTo>
                  <a:cubicBezTo>
                    <a:pt x="2502" y="683"/>
                    <a:pt x="2502" y="683"/>
                    <a:pt x="2510" y="683"/>
                  </a:cubicBezTo>
                  <a:cubicBezTo>
                    <a:pt x="2524" y="646"/>
                    <a:pt x="2517" y="534"/>
                    <a:pt x="2480" y="520"/>
                  </a:cubicBezTo>
                  <a:cubicBezTo>
                    <a:pt x="2458" y="512"/>
                    <a:pt x="2421" y="512"/>
                    <a:pt x="2413" y="497"/>
                  </a:cubicBezTo>
                  <a:cubicBezTo>
                    <a:pt x="2391" y="460"/>
                    <a:pt x="2369" y="468"/>
                    <a:pt x="2332" y="468"/>
                  </a:cubicBezTo>
                  <a:cubicBezTo>
                    <a:pt x="2257" y="460"/>
                    <a:pt x="2168" y="497"/>
                    <a:pt x="2101" y="468"/>
                  </a:cubicBezTo>
                  <a:cubicBezTo>
                    <a:pt x="2064" y="445"/>
                    <a:pt x="2042" y="453"/>
                    <a:pt x="2005" y="460"/>
                  </a:cubicBezTo>
                  <a:cubicBezTo>
                    <a:pt x="1975" y="468"/>
                    <a:pt x="1953" y="445"/>
                    <a:pt x="1916" y="445"/>
                  </a:cubicBezTo>
                  <a:cubicBezTo>
                    <a:pt x="1849" y="453"/>
                    <a:pt x="1834" y="416"/>
                    <a:pt x="1804" y="356"/>
                  </a:cubicBezTo>
                  <a:cubicBezTo>
                    <a:pt x="1775" y="289"/>
                    <a:pt x="1745" y="267"/>
                    <a:pt x="1670" y="260"/>
                  </a:cubicBezTo>
                  <a:cubicBezTo>
                    <a:pt x="1611" y="252"/>
                    <a:pt x="1522" y="304"/>
                    <a:pt x="1470" y="252"/>
                  </a:cubicBezTo>
                  <a:cubicBezTo>
                    <a:pt x="1418" y="200"/>
                    <a:pt x="1425" y="134"/>
                    <a:pt x="1418" y="67"/>
                  </a:cubicBezTo>
                  <a:cubicBezTo>
                    <a:pt x="1418" y="74"/>
                    <a:pt x="1344" y="0"/>
                    <a:pt x="1336" y="0"/>
                  </a:cubicBezTo>
                  <a:cubicBezTo>
                    <a:pt x="1285" y="0"/>
                    <a:pt x="1299" y="81"/>
                    <a:pt x="1225" y="59"/>
                  </a:cubicBezTo>
                  <a:cubicBezTo>
                    <a:pt x="1203" y="52"/>
                    <a:pt x="1180" y="37"/>
                    <a:pt x="1158" y="29"/>
                  </a:cubicBezTo>
                  <a:cubicBezTo>
                    <a:pt x="1158" y="37"/>
                    <a:pt x="1166" y="37"/>
                    <a:pt x="1166" y="37"/>
                  </a:cubicBezTo>
                  <a:cubicBezTo>
                    <a:pt x="1166" y="37"/>
                    <a:pt x="1158" y="37"/>
                    <a:pt x="1158" y="29"/>
                  </a:cubicBezTo>
                  <a:lnTo>
                    <a:pt x="1151" y="29"/>
                  </a:lnTo>
                  <a:cubicBezTo>
                    <a:pt x="1128" y="37"/>
                    <a:pt x="1114" y="52"/>
                    <a:pt x="1099" y="52"/>
                  </a:cubicBezTo>
                  <a:cubicBezTo>
                    <a:pt x="1084" y="52"/>
                    <a:pt x="1069" y="59"/>
                    <a:pt x="1054" y="59"/>
                  </a:cubicBezTo>
                  <a:cubicBezTo>
                    <a:pt x="1017" y="67"/>
                    <a:pt x="1017" y="104"/>
                    <a:pt x="995" y="111"/>
                  </a:cubicBezTo>
                  <a:cubicBezTo>
                    <a:pt x="972" y="119"/>
                    <a:pt x="950" y="111"/>
                    <a:pt x="928" y="111"/>
                  </a:cubicBezTo>
                  <a:cubicBezTo>
                    <a:pt x="913" y="141"/>
                    <a:pt x="943" y="141"/>
                    <a:pt x="965" y="148"/>
                  </a:cubicBezTo>
                  <a:cubicBezTo>
                    <a:pt x="965" y="171"/>
                    <a:pt x="965" y="185"/>
                    <a:pt x="965" y="208"/>
                  </a:cubicBezTo>
                  <a:cubicBezTo>
                    <a:pt x="950" y="208"/>
                    <a:pt x="928" y="245"/>
                    <a:pt x="928" y="260"/>
                  </a:cubicBezTo>
                  <a:cubicBezTo>
                    <a:pt x="987" y="260"/>
                    <a:pt x="950" y="401"/>
                    <a:pt x="1047" y="319"/>
                  </a:cubicBezTo>
                  <a:cubicBezTo>
                    <a:pt x="1106" y="260"/>
                    <a:pt x="1225" y="319"/>
                    <a:pt x="1270" y="364"/>
                  </a:cubicBezTo>
                  <a:cubicBezTo>
                    <a:pt x="1247" y="356"/>
                    <a:pt x="1225" y="379"/>
                    <a:pt x="1203" y="379"/>
                  </a:cubicBezTo>
                  <a:cubicBezTo>
                    <a:pt x="1173" y="379"/>
                    <a:pt x="1151" y="364"/>
                    <a:pt x="1121" y="371"/>
                  </a:cubicBezTo>
                  <a:cubicBezTo>
                    <a:pt x="1114" y="379"/>
                    <a:pt x="1106" y="393"/>
                    <a:pt x="1099" y="401"/>
                  </a:cubicBezTo>
                  <a:cubicBezTo>
                    <a:pt x="1077" y="416"/>
                    <a:pt x="1054" y="416"/>
                    <a:pt x="1032" y="416"/>
                  </a:cubicBezTo>
                  <a:cubicBezTo>
                    <a:pt x="1032" y="423"/>
                    <a:pt x="1025" y="438"/>
                    <a:pt x="1025" y="453"/>
                  </a:cubicBezTo>
                  <a:cubicBezTo>
                    <a:pt x="995" y="460"/>
                    <a:pt x="935" y="445"/>
                    <a:pt x="913" y="482"/>
                  </a:cubicBezTo>
                  <a:cubicBezTo>
                    <a:pt x="898" y="505"/>
                    <a:pt x="913" y="542"/>
                    <a:pt x="883" y="549"/>
                  </a:cubicBezTo>
                  <a:cubicBezTo>
                    <a:pt x="861" y="557"/>
                    <a:pt x="846" y="571"/>
                    <a:pt x="824" y="571"/>
                  </a:cubicBezTo>
                  <a:cubicBezTo>
                    <a:pt x="794" y="586"/>
                    <a:pt x="765" y="571"/>
                    <a:pt x="727" y="571"/>
                  </a:cubicBezTo>
                  <a:cubicBezTo>
                    <a:pt x="727" y="571"/>
                    <a:pt x="735" y="594"/>
                    <a:pt x="735" y="601"/>
                  </a:cubicBezTo>
                  <a:cubicBezTo>
                    <a:pt x="742" y="609"/>
                    <a:pt x="772" y="609"/>
                    <a:pt x="780" y="609"/>
                  </a:cubicBezTo>
                  <a:cubicBezTo>
                    <a:pt x="831" y="609"/>
                    <a:pt x="831" y="631"/>
                    <a:pt x="869" y="661"/>
                  </a:cubicBezTo>
                  <a:cubicBezTo>
                    <a:pt x="935" y="720"/>
                    <a:pt x="950" y="779"/>
                    <a:pt x="943" y="869"/>
                  </a:cubicBezTo>
                  <a:cubicBezTo>
                    <a:pt x="928" y="869"/>
                    <a:pt x="854" y="869"/>
                    <a:pt x="854" y="883"/>
                  </a:cubicBezTo>
                  <a:cubicBezTo>
                    <a:pt x="846" y="898"/>
                    <a:pt x="869" y="913"/>
                    <a:pt x="869" y="928"/>
                  </a:cubicBezTo>
                  <a:cubicBezTo>
                    <a:pt x="869" y="987"/>
                    <a:pt x="780" y="943"/>
                    <a:pt x="765" y="995"/>
                  </a:cubicBezTo>
                  <a:cubicBezTo>
                    <a:pt x="750" y="973"/>
                    <a:pt x="742" y="958"/>
                    <a:pt x="713" y="965"/>
                  </a:cubicBezTo>
                  <a:cubicBezTo>
                    <a:pt x="713" y="943"/>
                    <a:pt x="713" y="928"/>
                    <a:pt x="713" y="913"/>
                  </a:cubicBezTo>
                  <a:cubicBezTo>
                    <a:pt x="683" y="906"/>
                    <a:pt x="653" y="913"/>
                    <a:pt x="631" y="891"/>
                  </a:cubicBezTo>
                  <a:cubicBezTo>
                    <a:pt x="609" y="869"/>
                    <a:pt x="616" y="846"/>
                    <a:pt x="579" y="854"/>
                  </a:cubicBezTo>
                  <a:cubicBezTo>
                    <a:pt x="579" y="869"/>
                    <a:pt x="564" y="883"/>
                    <a:pt x="557" y="906"/>
                  </a:cubicBezTo>
                  <a:cubicBezTo>
                    <a:pt x="623" y="913"/>
                    <a:pt x="579" y="1017"/>
                    <a:pt x="564" y="1047"/>
                  </a:cubicBezTo>
                  <a:cubicBezTo>
                    <a:pt x="557" y="1076"/>
                    <a:pt x="579" y="1121"/>
                    <a:pt x="549" y="1136"/>
                  </a:cubicBezTo>
                  <a:cubicBezTo>
                    <a:pt x="520" y="1151"/>
                    <a:pt x="527" y="1210"/>
                    <a:pt x="527" y="1240"/>
                  </a:cubicBezTo>
                  <a:cubicBezTo>
                    <a:pt x="505" y="1240"/>
                    <a:pt x="490" y="1240"/>
                    <a:pt x="475" y="1240"/>
                  </a:cubicBezTo>
                  <a:cubicBezTo>
                    <a:pt x="468" y="1240"/>
                    <a:pt x="460" y="1262"/>
                    <a:pt x="453" y="1262"/>
                  </a:cubicBezTo>
                  <a:cubicBezTo>
                    <a:pt x="430" y="1270"/>
                    <a:pt x="408" y="1255"/>
                    <a:pt x="386" y="1262"/>
                  </a:cubicBezTo>
                  <a:cubicBezTo>
                    <a:pt x="386" y="1284"/>
                    <a:pt x="386" y="1307"/>
                    <a:pt x="386" y="1322"/>
                  </a:cubicBezTo>
                  <a:cubicBezTo>
                    <a:pt x="230" y="1329"/>
                    <a:pt x="215" y="1463"/>
                    <a:pt x="170" y="1247"/>
                  </a:cubicBezTo>
                  <a:cubicBezTo>
                    <a:pt x="163" y="1218"/>
                    <a:pt x="163" y="1121"/>
                    <a:pt x="178" y="1069"/>
                  </a:cubicBezTo>
                  <a:cubicBezTo>
                    <a:pt x="178" y="1069"/>
                    <a:pt x="170" y="1069"/>
                    <a:pt x="163" y="1069"/>
                  </a:cubicBezTo>
                  <a:cubicBezTo>
                    <a:pt x="163" y="1076"/>
                    <a:pt x="163" y="1084"/>
                    <a:pt x="156" y="1091"/>
                  </a:cubicBezTo>
                  <a:cubicBezTo>
                    <a:pt x="141" y="1114"/>
                    <a:pt x="96" y="1099"/>
                    <a:pt x="89" y="1121"/>
                  </a:cubicBezTo>
                  <a:cubicBezTo>
                    <a:pt x="81" y="1136"/>
                    <a:pt x="111" y="1158"/>
                    <a:pt x="104" y="1181"/>
                  </a:cubicBezTo>
                  <a:cubicBezTo>
                    <a:pt x="96" y="1218"/>
                    <a:pt x="74" y="1195"/>
                    <a:pt x="59" y="1225"/>
                  </a:cubicBezTo>
                  <a:cubicBezTo>
                    <a:pt x="37" y="1270"/>
                    <a:pt x="104" y="1299"/>
                    <a:pt x="96" y="1344"/>
                  </a:cubicBezTo>
                  <a:cubicBezTo>
                    <a:pt x="89" y="1329"/>
                    <a:pt x="74" y="1329"/>
                    <a:pt x="74" y="1307"/>
                  </a:cubicBezTo>
                  <a:cubicBezTo>
                    <a:pt x="59" y="1307"/>
                    <a:pt x="44" y="1307"/>
                    <a:pt x="37" y="1307"/>
                  </a:cubicBezTo>
                  <a:cubicBezTo>
                    <a:pt x="22" y="1329"/>
                    <a:pt x="29" y="1336"/>
                    <a:pt x="37" y="1359"/>
                  </a:cubicBezTo>
                  <a:cubicBezTo>
                    <a:pt x="44" y="1359"/>
                    <a:pt x="74" y="1396"/>
                    <a:pt x="67" y="1396"/>
                  </a:cubicBezTo>
                  <a:cubicBezTo>
                    <a:pt x="59" y="1403"/>
                    <a:pt x="44" y="1403"/>
                    <a:pt x="37" y="1403"/>
                  </a:cubicBezTo>
                  <a:cubicBezTo>
                    <a:pt x="37" y="1440"/>
                    <a:pt x="15" y="1470"/>
                    <a:pt x="22" y="1507"/>
                  </a:cubicBezTo>
                  <a:cubicBezTo>
                    <a:pt x="74" y="1500"/>
                    <a:pt x="0" y="1641"/>
                    <a:pt x="22" y="1641"/>
                  </a:cubicBezTo>
                  <a:cubicBezTo>
                    <a:pt x="37" y="1641"/>
                    <a:pt x="52" y="1641"/>
                    <a:pt x="67" y="1641"/>
                  </a:cubicBezTo>
                  <a:cubicBezTo>
                    <a:pt x="67" y="1626"/>
                    <a:pt x="59" y="1589"/>
                    <a:pt x="81" y="1589"/>
                  </a:cubicBezTo>
                  <a:cubicBezTo>
                    <a:pt x="89" y="1589"/>
                    <a:pt x="111" y="1626"/>
                    <a:pt x="126" y="1633"/>
                  </a:cubicBezTo>
                  <a:cubicBezTo>
                    <a:pt x="104" y="1656"/>
                    <a:pt x="52" y="1648"/>
                    <a:pt x="44" y="1685"/>
                  </a:cubicBezTo>
                  <a:cubicBezTo>
                    <a:pt x="37" y="1708"/>
                    <a:pt x="52" y="1708"/>
                    <a:pt x="59" y="1723"/>
                  </a:cubicBezTo>
                  <a:cubicBezTo>
                    <a:pt x="59" y="1745"/>
                    <a:pt x="59" y="1767"/>
                    <a:pt x="59" y="1782"/>
                  </a:cubicBezTo>
                  <a:cubicBezTo>
                    <a:pt x="89" y="1789"/>
                    <a:pt x="118" y="1782"/>
                    <a:pt x="148" y="1789"/>
                  </a:cubicBezTo>
                  <a:cubicBezTo>
                    <a:pt x="118" y="1804"/>
                    <a:pt x="59" y="1782"/>
                    <a:pt x="44" y="1819"/>
                  </a:cubicBezTo>
                  <a:cubicBezTo>
                    <a:pt x="44" y="1834"/>
                    <a:pt x="52" y="1908"/>
                    <a:pt x="67" y="1916"/>
                  </a:cubicBezTo>
                  <a:cubicBezTo>
                    <a:pt x="67" y="1930"/>
                    <a:pt x="67" y="1945"/>
                    <a:pt x="67" y="1960"/>
                  </a:cubicBezTo>
                  <a:cubicBezTo>
                    <a:pt x="37" y="1968"/>
                    <a:pt x="67" y="1990"/>
                    <a:pt x="59" y="2005"/>
                  </a:cubicBezTo>
                  <a:cubicBezTo>
                    <a:pt x="37" y="2012"/>
                    <a:pt x="37" y="2079"/>
                    <a:pt x="67" y="2072"/>
                  </a:cubicBezTo>
                  <a:cubicBezTo>
                    <a:pt x="81" y="2049"/>
                    <a:pt x="96" y="2027"/>
                    <a:pt x="104" y="1997"/>
                  </a:cubicBezTo>
                  <a:cubicBezTo>
                    <a:pt x="118" y="1997"/>
                    <a:pt x="141" y="1997"/>
                    <a:pt x="163" y="1997"/>
                  </a:cubicBezTo>
                  <a:cubicBezTo>
                    <a:pt x="170" y="1975"/>
                    <a:pt x="156" y="1908"/>
                    <a:pt x="185" y="1916"/>
                  </a:cubicBezTo>
                  <a:cubicBezTo>
                    <a:pt x="185" y="1938"/>
                    <a:pt x="193" y="1945"/>
                    <a:pt x="200" y="1968"/>
                  </a:cubicBezTo>
                  <a:cubicBezTo>
                    <a:pt x="200" y="1983"/>
                    <a:pt x="200" y="2005"/>
                    <a:pt x="193" y="2020"/>
                  </a:cubicBezTo>
                  <a:cubicBezTo>
                    <a:pt x="178" y="2020"/>
                    <a:pt x="156" y="2012"/>
                    <a:pt x="148" y="2020"/>
                  </a:cubicBezTo>
                  <a:cubicBezTo>
                    <a:pt x="126" y="2027"/>
                    <a:pt x="141" y="2035"/>
                    <a:pt x="126" y="2042"/>
                  </a:cubicBezTo>
                  <a:cubicBezTo>
                    <a:pt x="118" y="2057"/>
                    <a:pt x="74" y="2094"/>
                    <a:pt x="111" y="2109"/>
                  </a:cubicBezTo>
                  <a:cubicBezTo>
                    <a:pt x="111" y="2116"/>
                    <a:pt x="118" y="2124"/>
                    <a:pt x="111" y="2131"/>
                  </a:cubicBezTo>
                  <a:cubicBezTo>
                    <a:pt x="133" y="2138"/>
                    <a:pt x="148" y="2131"/>
                    <a:pt x="163" y="2131"/>
                  </a:cubicBezTo>
                  <a:cubicBezTo>
                    <a:pt x="170" y="2138"/>
                    <a:pt x="178" y="2153"/>
                    <a:pt x="185" y="2161"/>
                  </a:cubicBezTo>
                  <a:cubicBezTo>
                    <a:pt x="170" y="2175"/>
                    <a:pt x="133" y="2168"/>
                    <a:pt x="111" y="2161"/>
                  </a:cubicBezTo>
                  <a:lnTo>
                    <a:pt x="111" y="2153"/>
                  </a:lnTo>
                  <a:cubicBezTo>
                    <a:pt x="44" y="2138"/>
                    <a:pt x="44" y="2228"/>
                    <a:pt x="59" y="2265"/>
                  </a:cubicBezTo>
                  <a:cubicBezTo>
                    <a:pt x="67" y="2272"/>
                    <a:pt x="81" y="2280"/>
                    <a:pt x="81" y="2287"/>
                  </a:cubicBezTo>
                  <a:cubicBezTo>
                    <a:pt x="89" y="2302"/>
                    <a:pt x="89" y="2309"/>
                    <a:pt x="89" y="2324"/>
                  </a:cubicBezTo>
                  <a:cubicBezTo>
                    <a:pt x="96" y="2346"/>
                    <a:pt x="111" y="2369"/>
                    <a:pt x="126" y="2383"/>
                  </a:cubicBezTo>
                  <a:cubicBezTo>
                    <a:pt x="118" y="2383"/>
                    <a:pt x="111" y="2383"/>
                    <a:pt x="104" y="2383"/>
                  </a:cubicBezTo>
                  <a:cubicBezTo>
                    <a:pt x="104" y="2376"/>
                    <a:pt x="104" y="2376"/>
                    <a:pt x="104" y="2369"/>
                  </a:cubicBezTo>
                  <a:cubicBezTo>
                    <a:pt x="96" y="2369"/>
                    <a:pt x="89" y="2369"/>
                    <a:pt x="89" y="2369"/>
                  </a:cubicBezTo>
                  <a:cubicBezTo>
                    <a:pt x="74" y="2406"/>
                    <a:pt x="74" y="2450"/>
                    <a:pt x="81" y="2480"/>
                  </a:cubicBezTo>
                  <a:cubicBezTo>
                    <a:pt x="89" y="2487"/>
                    <a:pt x="96" y="2495"/>
                    <a:pt x="111" y="2495"/>
                  </a:cubicBezTo>
                  <a:cubicBezTo>
                    <a:pt x="111" y="2517"/>
                    <a:pt x="111" y="2540"/>
                    <a:pt x="96" y="2547"/>
                  </a:cubicBezTo>
                  <a:cubicBezTo>
                    <a:pt x="111" y="2554"/>
                    <a:pt x="126" y="2554"/>
                    <a:pt x="141" y="2554"/>
                  </a:cubicBezTo>
                  <a:cubicBezTo>
                    <a:pt x="141" y="2540"/>
                    <a:pt x="156" y="2525"/>
                    <a:pt x="170" y="2532"/>
                  </a:cubicBezTo>
                  <a:cubicBezTo>
                    <a:pt x="163" y="2554"/>
                    <a:pt x="170" y="2577"/>
                    <a:pt x="163" y="2591"/>
                  </a:cubicBezTo>
                  <a:cubicBezTo>
                    <a:pt x="163" y="2554"/>
                    <a:pt x="111" y="2562"/>
                    <a:pt x="81" y="2562"/>
                  </a:cubicBezTo>
                  <a:cubicBezTo>
                    <a:pt x="74" y="2606"/>
                    <a:pt x="104" y="2606"/>
                    <a:pt x="126" y="2621"/>
                  </a:cubicBezTo>
                  <a:cubicBezTo>
                    <a:pt x="133" y="2651"/>
                    <a:pt x="111" y="2673"/>
                    <a:pt x="96" y="2695"/>
                  </a:cubicBezTo>
                  <a:cubicBezTo>
                    <a:pt x="111" y="2695"/>
                    <a:pt x="111" y="2695"/>
                    <a:pt x="118" y="2695"/>
                  </a:cubicBezTo>
                  <a:cubicBezTo>
                    <a:pt x="118" y="2725"/>
                    <a:pt x="126" y="2785"/>
                    <a:pt x="170" y="2777"/>
                  </a:cubicBezTo>
                  <a:cubicBezTo>
                    <a:pt x="104" y="2792"/>
                    <a:pt x="148" y="2859"/>
                    <a:pt x="170" y="2896"/>
                  </a:cubicBezTo>
                  <a:cubicBezTo>
                    <a:pt x="208" y="2948"/>
                    <a:pt x="178" y="3000"/>
                    <a:pt x="185" y="3059"/>
                  </a:cubicBezTo>
                  <a:cubicBezTo>
                    <a:pt x="200" y="3059"/>
                    <a:pt x="215" y="3059"/>
                    <a:pt x="230" y="3067"/>
                  </a:cubicBezTo>
                  <a:cubicBezTo>
                    <a:pt x="215" y="3082"/>
                    <a:pt x="200" y="3082"/>
                    <a:pt x="185" y="3089"/>
                  </a:cubicBezTo>
                  <a:cubicBezTo>
                    <a:pt x="200" y="3141"/>
                    <a:pt x="237" y="3230"/>
                    <a:pt x="193" y="3275"/>
                  </a:cubicBezTo>
                  <a:cubicBezTo>
                    <a:pt x="208" y="3275"/>
                    <a:pt x="223" y="3275"/>
                    <a:pt x="237" y="3282"/>
                  </a:cubicBezTo>
                  <a:cubicBezTo>
                    <a:pt x="237" y="3304"/>
                    <a:pt x="215" y="3297"/>
                    <a:pt x="215" y="3312"/>
                  </a:cubicBezTo>
                  <a:cubicBezTo>
                    <a:pt x="208" y="3319"/>
                    <a:pt x="215" y="3342"/>
                    <a:pt x="215" y="3356"/>
                  </a:cubicBezTo>
                  <a:cubicBezTo>
                    <a:pt x="230" y="3364"/>
                    <a:pt x="252" y="3371"/>
                    <a:pt x="245" y="3401"/>
                  </a:cubicBezTo>
                  <a:cubicBezTo>
                    <a:pt x="223" y="3393"/>
                    <a:pt x="215" y="3416"/>
                    <a:pt x="223" y="3431"/>
                  </a:cubicBezTo>
                  <a:cubicBezTo>
                    <a:pt x="260" y="3431"/>
                    <a:pt x="230" y="3497"/>
                    <a:pt x="230" y="3527"/>
                  </a:cubicBezTo>
                  <a:cubicBezTo>
                    <a:pt x="245" y="3527"/>
                    <a:pt x="252" y="3535"/>
                    <a:pt x="260" y="3535"/>
                  </a:cubicBezTo>
                  <a:cubicBezTo>
                    <a:pt x="267" y="3557"/>
                    <a:pt x="245" y="3557"/>
                    <a:pt x="223" y="3557"/>
                  </a:cubicBezTo>
                  <a:cubicBezTo>
                    <a:pt x="252" y="3594"/>
                    <a:pt x="245" y="3683"/>
                    <a:pt x="245" y="3728"/>
                  </a:cubicBezTo>
                  <a:cubicBezTo>
                    <a:pt x="245" y="3750"/>
                    <a:pt x="237" y="3780"/>
                    <a:pt x="237" y="3809"/>
                  </a:cubicBezTo>
                  <a:cubicBezTo>
                    <a:pt x="237" y="3839"/>
                    <a:pt x="252" y="3869"/>
                    <a:pt x="260" y="3898"/>
                  </a:cubicBezTo>
                  <a:cubicBezTo>
                    <a:pt x="260" y="3928"/>
                    <a:pt x="252" y="3958"/>
                    <a:pt x="267" y="3987"/>
                  </a:cubicBezTo>
                  <a:cubicBezTo>
                    <a:pt x="282" y="4017"/>
                    <a:pt x="282" y="4039"/>
                    <a:pt x="289" y="4077"/>
                  </a:cubicBezTo>
                  <a:cubicBezTo>
                    <a:pt x="289" y="4092"/>
                    <a:pt x="282" y="4114"/>
                    <a:pt x="289" y="4129"/>
                  </a:cubicBezTo>
                  <a:cubicBezTo>
                    <a:pt x="289" y="4144"/>
                    <a:pt x="312" y="4151"/>
                    <a:pt x="312" y="4166"/>
                  </a:cubicBezTo>
                  <a:cubicBezTo>
                    <a:pt x="312" y="4188"/>
                    <a:pt x="289" y="4203"/>
                    <a:pt x="275" y="4218"/>
                  </a:cubicBezTo>
                  <a:cubicBezTo>
                    <a:pt x="275" y="4240"/>
                    <a:pt x="297" y="4247"/>
                    <a:pt x="312" y="4262"/>
                  </a:cubicBezTo>
                  <a:cubicBezTo>
                    <a:pt x="326" y="4270"/>
                    <a:pt x="341" y="4292"/>
                    <a:pt x="356" y="4307"/>
                  </a:cubicBezTo>
                  <a:cubicBezTo>
                    <a:pt x="378" y="4344"/>
                    <a:pt x="378" y="4389"/>
                    <a:pt x="401" y="4433"/>
                  </a:cubicBezTo>
                  <a:cubicBezTo>
                    <a:pt x="408" y="4448"/>
                    <a:pt x="408" y="4463"/>
                    <a:pt x="415" y="4470"/>
                  </a:cubicBezTo>
                  <a:cubicBezTo>
                    <a:pt x="438" y="4470"/>
                    <a:pt x="453" y="4478"/>
                    <a:pt x="475" y="447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1" name="Freeform 8">
              <a:extLst>
                <a:ext uri="{FF2B5EF4-FFF2-40B4-BE49-F238E27FC236}">
                  <a16:creationId xmlns:a16="http://schemas.microsoft.com/office/drawing/2014/main" id="{F92597FD-938F-754E-B6E3-9EC0EB162DF0}"/>
                </a:ext>
              </a:extLst>
            </p:cNvPr>
            <p:cNvSpPr>
              <a:spLocks noChangeArrowheads="1"/>
            </p:cNvSpPr>
            <p:nvPr/>
          </p:nvSpPr>
          <p:spPr bwMode="auto">
            <a:xfrm>
              <a:off x="8528547" y="5133583"/>
              <a:ext cx="2520215" cy="2255636"/>
            </a:xfrm>
            <a:custGeom>
              <a:avLst/>
              <a:gdLst>
                <a:gd name="T0" fmla="*/ 1181 w 5830"/>
                <a:gd name="T1" fmla="*/ 3906 h 5221"/>
                <a:gd name="T2" fmla="*/ 1485 w 5830"/>
                <a:gd name="T3" fmla="*/ 3921 h 5221"/>
                <a:gd name="T4" fmla="*/ 1693 w 5830"/>
                <a:gd name="T5" fmla="*/ 3884 h 5221"/>
                <a:gd name="T6" fmla="*/ 1908 w 5830"/>
                <a:gd name="T7" fmla="*/ 4121 h 5221"/>
                <a:gd name="T8" fmla="*/ 2213 w 5830"/>
                <a:gd name="T9" fmla="*/ 4225 h 5221"/>
                <a:gd name="T10" fmla="*/ 2413 w 5830"/>
                <a:gd name="T11" fmla="*/ 4233 h 5221"/>
                <a:gd name="T12" fmla="*/ 2532 w 5830"/>
                <a:gd name="T13" fmla="*/ 4530 h 5221"/>
                <a:gd name="T14" fmla="*/ 2614 w 5830"/>
                <a:gd name="T15" fmla="*/ 4938 h 5221"/>
                <a:gd name="T16" fmla="*/ 2896 w 5830"/>
                <a:gd name="T17" fmla="*/ 5035 h 5221"/>
                <a:gd name="T18" fmla="*/ 3037 w 5830"/>
                <a:gd name="T19" fmla="*/ 5220 h 5221"/>
                <a:gd name="T20" fmla="*/ 3186 w 5830"/>
                <a:gd name="T21" fmla="*/ 5042 h 5221"/>
                <a:gd name="T22" fmla="*/ 3468 w 5830"/>
                <a:gd name="T23" fmla="*/ 4649 h 5221"/>
                <a:gd name="T24" fmla="*/ 3371 w 5830"/>
                <a:gd name="T25" fmla="*/ 4374 h 5221"/>
                <a:gd name="T26" fmla="*/ 3371 w 5830"/>
                <a:gd name="T27" fmla="*/ 4121 h 5221"/>
                <a:gd name="T28" fmla="*/ 3542 w 5830"/>
                <a:gd name="T29" fmla="*/ 4055 h 5221"/>
                <a:gd name="T30" fmla="*/ 3653 w 5830"/>
                <a:gd name="T31" fmla="*/ 3817 h 5221"/>
                <a:gd name="T32" fmla="*/ 3735 w 5830"/>
                <a:gd name="T33" fmla="*/ 4047 h 5221"/>
                <a:gd name="T34" fmla="*/ 4114 w 5830"/>
                <a:gd name="T35" fmla="*/ 4166 h 5221"/>
                <a:gd name="T36" fmla="*/ 4092 w 5830"/>
                <a:gd name="T37" fmla="*/ 4396 h 5221"/>
                <a:gd name="T38" fmla="*/ 3928 w 5830"/>
                <a:gd name="T39" fmla="*/ 4567 h 5221"/>
                <a:gd name="T40" fmla="*/ 4144 w 5830"/>
                <a:gd name="T41" fmla="*/ 4693 h 5221"/>
                <a:gd name="T42" fmla="*/ 4307 w 5830"/>
                <a:gd name="T43" fmla="*/ 4433 h 5221"/>
                <a:gd name="T44" fmla="*/ 4656 w 5830"/>
                <a:gd name="T45" fmla="*/ 4441 h 5221"/>
                <a:gd name="T46" fmla="*/ 4782 w 5830"/>
                <a:gd name="T47" fmla="*/ 4560 h 5221"/>
                <a:gd name="T48" fmla="*/ 4975 w 5830"/>
                <a:gd name="T49" fmla="*/ 4196 h 5221"/>
                <a:gd name="T50" fmla="*/ 4849 w 5830"/>
                <a:gd name="T51" fmla="*/ 3928 h 5221"/>
                <a:gd name="T52" fmla="*/ 5139 w 5830"/>
                <a:gd name="T53" fmla="*/ 3854 h 5221"/>
                <a:gd name="T54" fmla="*/ 5094 w 5830"/>
                <a:gd name="T55" fmla="*/ 3683 h 5221"/>
                <a:gd name="T56" fmla="*/ 4663 w 5830"/>
                <a:gd name="T57" fmla="*/ 3565 h 5221"/>
                <a:gd name="T58" fmla="*/ 4968 w 5830"/>
                <a:gd name="T59" fmla="*/ 3060 h 5221"/>
                <a:gd name="T60" fmla="*/ 5391 w 5830"/>
                <a:gd name="T61" fmla="*/ 2859 h 5221"/>
                <a:gd name="T62" fmla="*/ 5770 w 5830"/>
                <a:gd name="T63" fmla="*/ 2658 h 5221"/>
                <a:gd name="T64" fmla="*/ 5748 w 5830"/>
                <a:gd name="T65" fmla="*/ 2525 h 5221"/>
                <a:gd name="T66" fmla="*/ 5569 w 5830"/>
                <a:gd name="T67" fmla="*/ 2555 h 5221"/>
                <a:gd name="T68" fmla="*/ 5339 w 5830"/>
                <a:gd name="T69" fmla="*/ 2525 h 5221"/>
                <a:gd name="T70" fmla="*/ 5384 w 5830"/>
                <a:gd name="T71" fmla="*/ 2428 h 5221"/>
                <a:gd name="T72" fmla="*/ 5428 w 5830"/>
                <a:gd name="T73" fmla="*/ 2228 h 5221"/>
                <a:gd name="T74" fmla="*/ 5295 w 5830"/>
                <a:gd name="T75" fmla="*/ 1804 h 5221"/>
                <a:gd name="T76" fmla="*/ 4997 w 5830"/>
                <a:gd name="T77" fmla="*/ 1983 h 5221"/>
                <a:gd name="T78" fmla="*/ 4908 w 5830"/>
                <a:gd name="T79" fmla="*/ 1582 h 5221"/>
                <a:gd name="T80" fmla="*/ 4567 w 5830"/>
                <a:gd name="T81" fmla="*/ 1582 h 5221"/>
                <a:gd name="T82" fmla="*/ 4493 w 5830"/>
                <a:gd name="T83" fmla="*/ 1723 h 5221"/>
                <a:gd name="T84" fmla="*/ 4403 w 5830"/>
                <a:gd name="T85" fmla="*/ 1552 h 5221"/>
                <a:gd name="T86" fmla="*/ 4106 w 5830"/>
                <a:gd name="T87" fmla="*/ 1196 h 5221"/>
                <a:gd name="T88" fmla="*/ 3995 w 5830"/>
                <a:gd name="T89" fmla="*/ 743 h 5221"/>
                <a:gd name="T90" fmla="*/ 3765 w 5830"/>
                <a:gd name="T91" fmla="*/ 654 h 5221"/>
                <a:gd name="T92" fmla="*/ 3453 w 5830"/>
                <a:gd name="T93" fmla="*/ 564 h 5221"/>
                <a:gd name="T94" fmla="*/ 3483 w 5830"/>
                <a:gd name="T95" fmla="*/ 357 h 5221"/>
                <a:gd name="T96" fmla="*/ 3453 w 5830"/>
                <a:gd name="T97" fmla="*/ 149 h 5221"/>
                <a:gd name="T98" fmla="*/ 3126 w 5830"/>
                <a:gd name="T99" fmla="*/ 74 h 5221"/>
                <a:gd name="T100" fmla="*/ 2785 w 5830"/>
                <a:gd name="T101" fmla="*/ 67 h 5221"/>
                <a:gd name="T102" fmla="*/ 2436 w 5830"/>
                <a:gd name="T103" fmla="*/ 735 h 5221"/>
                <a:gd name="T104" fmla="*/ 1938 w 5830"/>
                <a:gd name="T105" fmla="*/ 1151 h 5221"/>
                <a:gd name="T106" fmla="*/ 1374 w 5830"/>
                <a:gd name="T107" fmla="*/ 1485 h 5221"/>
                <a:gd name="T108" fmla="*/ 847 w 5830"/>
                <a:gd name="T109" fmla="*/ 1337 h 5221"/>
                <a:gd name="T110" fmla="*/ 319 w 5830"/>
                <a:gd name="T111" fmla="*/ 1701 h 5221"/>
                <a:gd name="T112" fmla="*/ 178 w 5830"/>
                <a:gd name="T113" fmla="*/ 2258 h 5221"/>
                <a:gd name="T114" fmla="*/ 423 w 5830"/>
                <a:gd name="T115" fmla="*/ 2347 h 5221"/>
                <a:gd name="T116" fmla="*/ 371 w 5830"/>
                <a:gd name="T117" fmla="*/ 2785 h 5221"/>
                <a:gd name="T118" fmla="*/ 512 w 5830"/>
                <a:gd name="T119" fmla="*/ 2978 h 5221"/>
                <a:gd name="T120" fmla="*/ 809 w 5830"/>
                <a:gd name="T121" fmla="*/ 3386 h 5221"/>
                <a:gd name="T122" fmla="*/ 943 w 5830"/>
                <a:gd name="T123" fmla="*/ 3854 h 5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0" h="5221">
                  <a:moveTo>
                    <a:pt x="1106" y="3832"/>
                  </a:moveTo>
                  <a:lnTo>
                    <a:pt x="1106" y="3832"/>
                  </a:lnTo>
                  <a:cubicBezTo>
                    <a:pt x="1121" y="3839"/>
                    <a:pt x="1114" y="3869"/>
                    <a:pt x="1121" y="3891"/>
                  </a:cubicBezTo>
                  <a:cubicBezTo>
                    <a:pt x="1129" y="3913"/>
                    <a:pt x="1158" y="3913"/>
                    <a:pt x="1181" y="3906"/>
                  </a:cubicBezTo>
                  <a:cubicBezTo>
                    <a:pt x="1181" y="3899"/>
                    <a:pt x="1188" y="3884"/>
                    <a:pt x="1188" y="3869"/>
                  </a:cubicBezTo>
                  <a:cubicBezTo>
                    <a:pt x="1225" y="3869"/>
                    <a:pt x="1277" y="3854"/>
                    <a:pt x="1314" y="3869"/>
                  </a:cubicBezTo>
                  <a:cubicBezTo>
                    <a:pt x="1344" y="3884"/>
                    <a:pt x="1366" y="3891"/>
                    <a:pt x="1403" y="3891"/>
                  </a:cubicBezTo>
                  <a:cubicBezTo>
                    <a:pt x="1441" y="3884"/>
                    <a:pt x="1470" y="3891"/>
                    <a:pt x="1485" y="3921"/>
                  </a:cubicBezTo>
                  <a:cubicBezTo>
                    <a:pt x="1492" y="3943"/>
                    <a:pt x="1500" y="3980"/>
                    <a:pt x="1530" y="3973"/>
                  </a:cubicBezTo>
                  <a:cubicBezTo>
                    <a:pt x="1530" y="3951"/>
                    <a:pt x="1544" y="3906"/>
                    <a:pt x="1574" y="3913"/>
                  </a:cubicBezTo>
                  <a:cubicBezTo>
                    <a:pt x="1574" y="3936"/>
                    <a:pt x="1582" y="3943"/>
                    <a:pt x="1604" y="3943"/>
                  </a:cubicBezTo>
                  <a:cubicBezTo>
                    <a:pt x="1611" y="3906"/>
                    <a:pt x="1663" y="3876"/>
                    <a:pt x="1693" y="3884"/>
                  </a:cubicBezTo>
                  <a:cubicBezTo>
                    <a:pt x="1700" y="3913"/>
                    <a:pt x="1693" y="3943"/>
                    <a:pt x="1723" y="3958"/>
                  </a:cubicBezTo>
                  <a:cubicBezTo>
                    <a:pt x="1752" y="3980"/>
                    <a:pt x="1812" y="3943"/>
                    <a:pt x="1834" y="3980"/>
                  </a:cubicBezTo>
                  <a:cubicBezTo>
                    <a:pt x="1849" y="4003"/>
                    <a:pt x="1841" y="4025"/>
                    <a:pt x="1864" y="4047"/>
                  </a:cubicBezTo>
                  <a:cubicBezTo>
                    <a:pt x="1894" y="4070"/>
                    <a:pt x="1901" y="4084"/>
                    <a:pt x="1908" y="4121"/>
                  </a:cubicBezTo>
                  <a:cubicBezTo>
                    <a:pt x="1938" y="4114"/>
                    <a:pt x="1938" y="4084"/>
                    <a:pt x="1960" y="4062"/>
                  </a:cubicBezTo>
                  <a:cubicBezTo>
                    <a:pt x="1990" y="4055"/>
                    <a:pt x="2027" y="4121"/>
                    <a:pt x="2057" y="4129"/>
                  </a:cubicBezTo>
                  <a:cubicBezTo>
                    <a:pt x="2057" y="4151"/>
                    <a:pt x="2057" y="4173"/>
                    <a:pt x="2064" y="4196"/>
                  </a:cubicBezTo>
                  <a:cubicBezTo>
                    <a:pt x="2109" y="4196"/>
                    <a:pt x="2198" y="4173"/>
                    <a:pt x="2213" y="4225"/>
                  </a:cubicBezTo>
                  <a:cubicBezTo>
                    <a:pt x="2257" y="4248"/>
                    <a:pt x="2250" y="4166"/>
                    <a:pt x="2265" y="4144"/>
                  </a:cubicBezTo>
                  <a:cubicBezTo>
                    <a:pt x="2287" y="4114"/>
                    <a:pt x="2324" y="4129"/>
                    <a:pt x="2361" y="4136"/>
                  </a:cubicBezTo>
                  <a:cubicBezTo>
                    <a:pt x="2361" y="4166"/>
                    <a:pt x="2346" y="4196"/>
                    <a:pt x="2354" y="4225"/>
                  </a:cubicBezTo>
                  <a:cubicBezTo>
                    <a:pt x="2376" y="4225"/>
                    <a:pt x="2398" y="4218"/>
                    <a:pt x="2413" y="4233"/>
                  </a:cubicBezTo>
                  <a:cubicBezTo>
                    <a:pt x="2369" y="4262"/>
                    <a:pt x="2324" y="4270"/>
                    <a:pt x="2317" y="4322"/>
                  </a:cubicBezTo>
                  <a:cubicBezTo>
                    <a:pt x="2309" y="4374"/>
                    <a:pt x="2339" y="4426"/>
                    <a:pt x="2391" y="4418"/>
                  </a:cubicBezTo>
                  <a:cubicBezTo>
                    <a:pt x="2376" y="4478"/>
                    <a:pt x="2406" y="4515"/>
                    <a:pt x="2451" y="4463"/>
                  </a:cubicBezTo>
                  <a:cubicBezTo>
                    <a:pt x="2495" y="4404"/>
                    <a:pt x="2547" y="4470"/>
                    <a:pt x="2532" y="4530"/>
                  </a:cubicBezTo>
                  <a:cubicBezTo>
                    <a:pt x="2517" y="4575"/>
                    <a:pt x="2421" y="4619"/>
                    <a:pt x="2443" y="4671"/>
                  </a:cubicBezTo>
                  <a:cubicBezTo>
                    <a:pt x="2458" y="4701"/>
                    <a:pt x="2495" y="4686"/>
                    <a:pt x="2510" y="4708"/>
                  </a:cubicBezTo>
                  <a:cubicBezTo>
                    <a:pt x="2532" y="4738"/>
                    <a:pt x="2510" y="4775"/>
                    <a:pt x="2540" y="4805"/>
                  </a:cubicBezTo>
                  <a:cubicBezTo>
                    <a:pt x="2666" y="4738"/>
                    <a:pt x="2569" y="4894"/>
                    <a:pt x="2614" y="4938"/>
                  </a:cubicBezTo>
                  <a:cubicBezTo>
                    <a:pt x="2643" y="4960"/>
                    <a:pt x="2696" y="4938"/>
                    <a:pt x="2725" y="4953"/>
                  </a:cubicBezTo>
                  <a:cubicBezTo>
                    <a:pt x="2762" y="4968"/>
                    <a:pt x="2755" y="5020"/>
                    <a:pt x="2799" y="5012"/>
                  </a:cubicBezTo>
                  <a:lnTo>
                    <a:pt x="2799" y="5020"/>
                  </a:lnTo>
                  <a:cubicBezTo>
                    <a:pt x="2829" y="5020"/>
                    <a:pt x="2874" y="5012"/>
                    <a:pt x="2896" y="5035"/>
                  </a:cubicBezTo>
                  <a:cubicBezTo>
                    <a:pt x="2933" y="5072"/>
                    <a:pt x="2911" y="5087"/>
                    <a:pt x="2911" y="5124"/>
                  </a:cubicBezTo>
                  <a:cubicBezTo>
                    <a:pt x="2896" y="5176"/>
                    <a:pt x="2970" y="5139"/>
                    <a:pt x="2993" y="5146"/>
                  </a:cubicBezTo>
                  <a:cubicBezTo>
                    <a:pt x="3022" y="5154"/>
                    <a:pt x="3022" y="5183"/>
                    <a:pt x="3022" y="5213"/>
                  </a:cubicBezTo>
                  <a:cubicBezTo>
                    <a:pt x="3030" y="5213"/>
                    <a:pt x="3030" y="5213"/>
                    <a:pt x="3037" y="5220"/>
                  </a:cubicBezTo>
                  <a:cubicBezTo>
                    <a:pt x="3045" y="5220"/>
                    <a:pt x="3045" y="5220"/>
                    <a:pt x="3045" y="5213"/>
                  </a:cubicBezTo>
                  <a:cubicBezTo>
                    <a:pt x="3052" y="5191"/>
                    <a:pt x="3104" y="5213"/>
                    <a:pt x="3111" y="5220"/>
                  </a:cubicBezTo>
                  <a:cubicBezTo>
                    <a:pt x="3156" y="5154"/>
                    <a:pt x="3245" y="5183"/>
                    <a:pt x="3297" y="5131"/>
                  </a:cubicBezTo>
                  <a:cubicBezTo>
                    <a:pt x="3334" y="5094"/>
                    <a:pt x="3208" y="5057"/>
                    <a:pt x="3186" y="5042"/>
                  </a:cubicBezTo>
                  <a:cubicBezTo>
                    <a:pt x="3223" y="5012"/>
                    <a:pt x="3201" y="4998"/>
                    <a:pt x="3201" y="4953"/>
                  </a:cubicBezTo>
                  <a:cubicBezTo>
                    <a:pt x="3267" y="4931"/>
                    <a:pt x="3349" y="4923"/>
                    <a:pt x="3408" y="4886"/>
                  </a:cubicBezTo>
                  <a:cubicBezTo>
                    <a:pt x="3460" y="4857"/>
                    <a:pt x="3468" y="4797"/>
                    <a:pt x="3468" y="4745"/>
                  </a:cubicBezTo>
                  <a:cubicBezTo>
                    <a:pt x="3468" y="4715"/>
                    <a:pt x="3460" y="4678"/>
                    <a:pt x="3468" y="4649"/>
                  </a:cubicBezTo>
                  <a:cubicBezTo>
                    <a:pt x="3468" y="4612"/>
                    <a:pt x="3490" y="4597"/>
                    <a:pt x="3512" y="4575"/>
                  </a:cubicBezTo>
                  <a:cubicBezTo>
                    <a:pt x="3535" y="4545"/>
                    <a:pt x="3520" y="4515"/>
                    <a:pt x="3505" y="4485"/>
                  </a:cubicBezTo>
                  <a:cubicBezTo>
                    <a:pt x="3490" y="4456"/>
                    <a:pt x="3490" y="4411"/>
                    <a:pt x="3490" y="4374"/>
                  </a:cubicBezTo>
                  <a:cubicBezTo>
                    <a:pt x="3453" y="4374"/>
                    <a:pt x="3408" y="4374"/>
                    <a:pt x="3371" y="4374"/>
                  </a:cubicBezTo>
                  <a:cubicBezTo>
                    <a:pt x="3386" y="4352"/>
                    <a:pt x="3408" y="4337"/>
                    <a:pt x="3416" y="4315"/>
                  </a:cubicBezTo>
                  <a:cubicBezTo>
                    <a:pt x="3431" y="4285"/>
                    <a:pt x="3408" y="4248"/>
                    <a:pt x="3438" y="4233"/>
                  </a:cubicBezTo>
                  <a:cubicBezTo>
                    <a:pt x="3431" y="4210"/>
                    <a:pt x="3393" y="4203"/>
                    <a:pt x="3371" y="4196"/>
                  </a:cubicBezTo>
                  <a:cubicBezTo>
                    <a:pt x="3371" y="4173"/>
                    <a:pt x="3356" y="4144"/>
                    <a:pt x="3371" y="4121"/>
                  </a:cubicBezTo>
                  <a:cubicBezTo>
                    <a:pt x="3386" y="4099"/>
                    <a:pt x="3431" y="4099"/>
                    <a:pt x="3431" y="4070"/>
                  </a:cubicBezTo>
                  <a:cubicBezTo>
                    <a:pt x="3431" y="4040"/>
                    <a:pt x="3379" y="3965"/>
                    <a:pt x="3453" y="3980"/>
                  </a:cubicBezTo>
                  <a:cubicBezTo>
                    <a:pt x="3446" y="4017"/>
                    <a:pt x="3468" y="3995"/>
                    <a:pt x="3483" y="4017"/>
                  </a:cubicBezTo>
                  <a:cubicBezTo>
                    <a:pt x="3505" y="4032"/>
                    <a:pt x="3512" y="4062"/>
                    <a:pt x="3542" y="4055"/>
                  </a:cubicBezTo>
                  <a:cubicBezTo>
                    <a:pt x="3542" y="3973"/>
                    <a:pt x="3408" y="3913"/>
                    <a:pt x="3468" y="3832"/>
                  </a:cubicBezTo>
                  <a:cubicBezTo>
                    <a:pt x="3498" y="3839"/>
                    <a:pt x="3498" y="3876"/>
                    <a:pt x="3512" y="3899"/>
                  </a:cubicBezTo>
                  <a:cubicBezTo>
                    <a:pt x="3535" y="3928"/>
                    <a:pt x="3587" y="3928"/>
                    <a:pt x="3616" y="3913"/>
                  </a:cubicBezTo>
                  <a:cubicBezTo>
                    <a:pt x="3653" y="3891"/>
                    <a:pt x="3639" y="3854"/>
                    <a:pt x="3653" y="3817"/>
                  </a:cubicBezTo>
                  <a:cubicBezTo>
                    <a:pt x="3683" y="3780"/>
                    <a:pt x="3750" y="3795"/>
                    <a:pt x="3795" y="3795"/>
                  </a:cubicBezTo>
                  <a:cubicBezTo>
                    <a:pt x="3795" y="3832"/>
                    <a:pt x="3795" y="3862"/>
                    <a:pt x="3787" y="3899"/>
                  </a:cubicBezTo>
                  <a:cubicBezTo>
                    <a:pt x="3735" y="3891"/>
                    <a:pt x="3750" y="3943"/>
                    <a:pt x="3750" y="3973"/>
                  </a:cubicBezTo>
                  <a:cubicBezTo>
                    <a:pt x="3698" y="3973"/>
                    <a:pt x="3683" y="4032"/>
                    <a:pt x="3735" y="4047"/>
                  </a:cubicBezTo>
                  <a:cubicBezTo>
                    <a:pt x="3795" y="4055"/>
                    <a:pt x="3869" y="4062"/>
                    <a:pt x="3928" y="4070"/>
                  </a:cubicBezTo>
                  <a:cubicBezTo>
                    <a:pt x="3913" y="4136"/>
                    <a:pt x="3980" y="4084"/>
                    <a:pt x="4003" y="4070"/>
                  </a:cubicBezTo>
                  <a:cubicBezTo>
                    <a:pt x="4040" y="4047"/>
                    <a:pt x="4055" y="4040"/>
                    <a:pt x="4114" y="4047"/>
                  </a:cubicBezTo>
                  <a:cubicBezTo>
                    <a:pt x="4114" y="4084"/>
                    <a:pt x="4106" y="4121"/>
                    <a:pt x="4114" y="4166"/>
                  </a:cubicBezTo>
                  <a:cubicBezTo>
                    <a:pt x="4129" y="4173"/>
                    <a:pt x="4151" y="4173"/>
                    <a:pt x="4173" y="4173"/>
                  </a:cubicBezTo>
                  <a:cubicBezTo>
                    <a:pt x="4181" y="4218"/>
                    <a:pt x="4173" y="4337"/>
                    <a:pt x="4099" y="4262"/>
                  </a:cubicBezTo>
                  <a:cubicBezTo>
                    <a:pt x="4069" y="4270"/>
                    <a:pt x="4055" y="4315"/>
                    <a:pt x="4062" y="4344"/>
                  </a:cubicBezTo>
                  <a:cubicBezTo>
                    <a:pt x="4062" y="4366"/>
                    <a:pt x="4099" y="4344"/>
                    <a:pt x="4092" y="4396"/>
                  </a:cubicBezTo>
                  <a:cubicBezTo>
                    <a:pt x="4092" y="4426"/>
                    <a:pt x="4069" y="4456"/>
                    <a:pt x="4077" y="4478"/>
                  </a:cubicBezTo>
                  <a:cubicBezTo>
                    <a:pt x="4084" y="4515"/>
                    <a:pt x="4129" y="4507"/>
                    <a:pt x="4136" y="4537"/>
                  </a:cubicBezTo>
                  <a:cubicBezTo>
                    <a:pt x="4092" y="4552"/>
                    <a:pt x="4069" y="4575"/>
                    <a:pt x="4025" y="4582"/>
                  </a:cubicBezTo>
                  <a:cubicBezTo>
                    <a:pt x="3980" y="4589"/>
                    <a:pt x="3965" y="4582"/>
                    <a:pt x="3928" y="4567"/>
                  </a:cubicBezTo>
                  <a:cubicBezTo>
                    <a:pt x="3869" y="4530"/>
                    <a:pt x="3869" y="4664"/>
                    <a:pt x="3876" y="4693"/>
                  </a:cubicBezTo>
                  <a:cubicBezTo>
                    <a:pt x="3950" y="4693"/>
                    <a:pt x="3943" y="4730"/>
                    <a:pt x="3995" y="4760"/>
                  </a:cubicBezTo>
                  <a:cubicBezTo>
                    <a:pt x="4010" y="4738"/>
                    <a:pt x="3995" y="4708"/>
                    <a:pt x="4010" y="4686"/>
                  </a:cubicBezTo>
                  <a:cubicBezTo>
                    <a:pt x="4055" y="4671"/>
                    <a:pt x="4099" y="4693"/>
                    <a:pt x="4144" y="4693"/>
                  </a:cubicBezTo>
                  <a:cubicBezTo>
                    <a:pt x="4151" y="4671"/>
                    <a:pt x="4166" y="4664"/>
                    <a:pt x="4188" y="4664"/>
                  </a:cubicBezTo>
                  <a:cubicBezTo>
                    <a:pt x="4195" y="4634"/>
                    <a:pt x="4173" y="4612"/>
                    <a:pt x="4173" y="4589"/>
                  </a:cubicBezTo>
                  <a:cubicBezTo>
                    <a:pt x="4203" y="4575"/>
                    <a:pt x="4233" y="4582"/>
                    <a:pt x="4255" y="4560"/>
                  </a:cubicBezTo>
                  <a:cubicBezTo>
                    <a:pt x="4285" y="4522"/>
                    <a:pt x="4307" y="4470"/>
                    <a:pt x="4307" y="4433"/>
                  </a:cubicBezTo>
                  <a:cubicBezTo>
                    <a:pt x="4359" y="4418"/>
                    <a:pt x="4403" y="4441"/>
                    <a:pt x="4448" y="4456"/>
                  </a:cubicBezTo>
                  <a:cubicBezTo>
                    <a:pt x="4500" y="4463"/>
                    <a:pt x="4552" y="4463"/>
                    <a:pt x="4597" y="4485"/>
                  </a:cubicBezTo>
                  <a:cubicBezTo>
                    <a:pt x="4597" y="4470"/>
                    <a:pt x="4604" y="4456"/>
                    <a:pt x="4597" y="4448"/>
                  </a:cubicBezTo>
                  <a:cubicBezTo>
                    <a:pt x="4619" y="4448"/>
                    <a:pt x="4641" y="4448"/>
                    <a:pt x="4656" y="4441"/>
                  </a:cubicBezTo>
                  <a:lnTo>
                    <a:pt x="4663" y="4433"/>
                  </a:lnTo>
                  <a:cubicBezTo>
                    <a:pt x="4663" y="4448"/>
                    <a:pt x="4663" y="4470"/>
                    <a:pt x="4663" y="4493"/>
                  </a:cubicBezTo>
                  <a:cubicBezTo>
                    <a:pt x="4693" y="4493"/>
                    <a:pt x="4708" y="4515"/>
                    <a:pt x="4745" y="4507"/>
                  </a:cubicBezTo>
                  <a:cubicBezTo>
                    <a:pt x="4738" y="4537"/>
                    <a:pt x="4752" y="4567"/>
                    <a:pt x="4782" y="4560"/>
                  </a:cubicBezTo>
                  <a:cubicBezTo>
                    <a:pt x="4782" y="4522"/>
                    <a:pt x="4857" y="4530"/>
                    <a:pt x="4857" y="4485"/>
                  </a:cubicBezTo>
                  <a:cubicBezTo>
                    <a:pt x="4797" y="4470"/>
                    <a:pt x="4827" y="4292"/>
                    <a:pt x="4812" y="4248"/>
                  </a:cubicBezTo>
                  <a:cubicBezTo>
                    <a:pt x="4857" y="4233"/>
                    <a:pt x="4864" y="4277"/>
                    <a:pt x="4901" y="4285"/>
                  </a:cubicBezTo>
                  <a:cubicBezTo>
                    <a:pt x="4953" y="4300"/>
                    <a:pt x="4968" y="4233"/>
                    <a:pt x="4975" y="4196"/>
                  </a:cubicBezTo>
                  <a:cubicBezTo>
                    <a:pt x="4975" y="4144"/>
                    <a:pt x="4953" y="4121"/>
                    <a:pt x="4908" y="4107"/>
                  </a:cubicBezTo>
                  <a:cubicBezTo>
                    <a:pt x="4849" y="4099"/>
                    <a:pt x="4819" y="4084"/>
                    <a:pt x="4805" y="4032"/>
                  </a:cubicBezTo>
                  <a:cubicBezTo>
                    <a:pt x="4834" y="4032"/>
                    <a:pt x="4894" y="4040"/>
                    <a:pt x="4886" y="3995"/>
                  </a:cubicBezTo>
                  <a:cubicBezTo>
                    <a:pt x="4886" y="3965"/>
                    <a:pt x="4857" y="3958"/>
                    <a:pt x="4849" y="3928"/>
                  </a:cubicBezTo>
                  <a:cubicBezTo>
                    <a:pt x="4842" y="3906"/>
                    <a:pt x="4849" y="3884"/>
                    <a:pt x="4857" y="3862"/>
                  </a:cubicBezTo>
                  <a:cubicBezTo>
                    <a:pt x="4908" y="3854"/>
                    <a:pt x="4960" y="3869"/>
                    <a:pt x="5020" y="3862"/>
                  </a:cubicBezTo>
                  <a:cubicBezTo>
                    <a:pt x="5065" y="3862"/>
                    <a:pt x="5094" y="3832"/>
                    <a:pt x="5139" y="3817"/>
                  </a:cubicBezTo>
                  <a:cubicBezTo>
                    <a:pt x="5131" y="3824"/>
                    <a:pt x="5139" y="3847"/>
                    <a:pt x="5139" y="3854"/>
                  </a:cubicBezTo>
                  <a:cubicBezTo>
                    <a:pt x="5161" y="3854"/>
                    <a:pt x="5183" y="3847"/>
                    <a:pt x="5205" y="3847"/>
                  </a:cubicBezTo>
                  <a:cubicBezTo>
                    <a:pt x="5213" y="3795"/>
                    <a:pt x="5213" y="3743"/>
                    <a:pt x="5213" y="3691"/>
                  </a:cubicBezTo>
                  <a:cubicBezTo>
                    <a:pt x="5161" y="3691"/>
                    <a:pt x="5183" y="3639"/>
                    <a:pt x="5176" y="3609"/>
                  </a:cubicBezTo>
                  <a:cubicBezTo>
                    <a:pt x="5116" y="3602"/>
                    <a:pt x="5109" y="3631"/>
                    <a:pt x="5094" y="3683"/>
                  </a:cubicBezTo>
                  <a:cubicBezTo>
                    <a:pt x="5072" y="3676"/>
                    <a:pt x="5057" y="3661"/>
                    <a:pt x="5035" y="3661"/>
                  </a:cubicBezTo>
                  <a:cubicBezTo>
                    <a:pt x="5012" y="3654"/>
                    <a:pt x="4997" y="3668"/>
                    <a:pt x="4975" y="3676"/>
                  </a:cubicBezTo>
                  <a:cubicBezTo>
                    <a:pt x="4901" y="3683"/>
                    <a:pt x="4805" y="3668"/>
                    <a:pt x="4738" y="3646"/>
                  </a:cubicBezTo>
                  <a:cubicBezTo>
                    <a:pt x="4700" y="3631"/>
                    <a:pt x="4671" y="3609"/>
                    <a:pt x="4663" y="3565"/>
                  </a:cubicBezTo>
                  <a:cubicBezTo>
                    <a:pt x="4649" y="3498"/>
                    <a:pt x="4626" y="3431"/>
                    <a:pt x="4604" y="3364"/>
                  </a:cubicBezTo>
                  <a:cubicBezTo>
                    <a:pt x="4663" y="3371"/>
                    <a:pt x="4634" y="3297"/>
                    <a:pt x="4671" y="3275"/>
                  </a:cubicBezTo>
                  <a:cubicBezTo>
                    <a:pt x="4730" y="3275"/>
                    <a:pt x="4790" y="3253"/>
                    <a:pt x="4819" y="3201"/>
                  </a:cubicBezTo>
                  <a:cubicBezTo>
                    <a:pt x="4849" y="3149"/>
                    <a:pt x="4901" y="3074"/>
                    <a:pt x="4968" y="3060"/>
                  </a:cubicBezTo>
                  <a:cubicBezTo>
                    <a:pt x="5005" y="3052"/>
                    <a:pt x="5042" y="3060"/>
                    <a:pt x="5065" y="3022"/>
                  </a:cubicBezTo>
                  <a:cubicBezTo>
                    <a:pt x="5079" y="3000"/>
                    <a:pt x="5094" y="2985"/>
                    <a:pt x="5116" y="2970"/>
                  </a:cubicBezTo>
                  <a:cubicBezTo>
                    <a:pt x="5161" y="2948"/>
                    <a:pt x="5235" y="2948"/>
                    <a:pt x="5257" y="2903"/>
                  </a:cubicBezTo>
                  <a:cubicBezTo>
                    <a:pt x="5302" y="2903"/>
                    <a:pt x="5354" y="2889"/>
                    <a:pt x="5391" y="2859"/>
                  </a:cubicBezTo>
                  <a:cubicBezTo>
                    <a:pt x="5406" y="2852"/>
                    <a:pt x="5413" y="2837"/>
                    <a:pt x="5428" y="2822"/>
                  </a:cubicBezTo>
                  <a:cubicBezTo>
                    <a:pt x="5451" y="2800"/>
                    <a:pt x="5488" y="2807"/>
                    <a:pt x="5517" y="2792"/>
                  </a:cubicBezTo>
                  <a:cubicBezTo>
                    <a:pt x="5532" y="2681"/>
                    <a:pt x="5673" y="2725"/>
                    <a:pt x="5748" y="2718"/>
                  </a:cubicBezTo>
                  <a:lnTo>
                    <a:pt x="5770" y="2658"/>
                  </a:lnTo>
                  <a:cubicBezTo>
                    <a:pt x="5777" y="2644"/>
                    <a:pt x="5800" y="2621"/>
                    <a:pt x="5814" y="2599"/>
                  </a:cubicBezTo>
                  <a:cubicBezTo>
                    <a:pt x="5807" y="2584"/>
                    <a:pt x="5814" y="2562"/>
                    <a:pt x="5829" y="2555"/>
                  </a:cubicBezTo>
                  <a:cubicBezTo>
                    <a:pt x="5800" y="2555"/>
                    <a:pt x="5785" y="2525"/>
                    <a:pt x="5777" y="2495"/>
                  </a:cubicBezTo>
                  <a:cubicBezTo>
                    <a:pt x="5755" y="2503"/>
                    <a:pt x="5748" y="2510"/>
                    <a:pt x="5748" y="2525"/>
                  </a:cubicBezTo>
                  <a:cubicBezTo>
                    <a:pt x="5740" y="2525"/>
                    <a:pt x="5733" y="2532"/>
                    <a:pt x="5725" y="2532"/>
                  </a:cubicBezTo>
                  <a:cubicBezTo>
                    <a:pt x="5718" y="2547"/>
                    <a:pt x="5710" y="2569"/>
                    <a:pt x="5710" y="2584"/>
                  </a:cubicBezTo>
                  <a:cubicBezTo>
                    <a:pt x="5673" y="2592"/>
                    <a:pt x="5673" y="2562"/>
                    <a:pt x="5666" y="2532"/>
                  </a:cubicBezTo>
                  <a:cubicBezTo>
                    <a:pt x="5636" y="2525"/>
                    <a:pt x="5592" y="2584"/>
                    <a:pt x="5569" y="2555"/>
                  </a:cubicBezTo>
                  <a:cubicBezTo>
                    <a:pt x="5540" y="2525"/>
                    <a:pt x="5517" y="2525"/>
                    <a:pt x="5480" y="2532"/>
                  </a:cubicBezTo>
                  <a:cubicBezTo>
                    <a:pt x="5480" y="2547"/>
                    <a:pt x="5473" y="2562"/>
                    <a:pt x="5473" y="2584"/>
                  </a:cubicBezTo>
                  <a:cubicBezTo>
                    <a:pt x="5406" y="2584"/>
                    <a:pt x="5295" y="2547"/>
                    <a:pt x="5302" y="2644"/>
                  </a:cubicBezTo>
                  <a:cubicBezTo>
                    <a:pt x="5243" y="2644"/>
                    <a:pt x="5272" y="2525"/>
                    <a:pt x="5339" y="2525"/>
                  </a:cubicBezTo>
                  <a:cubicBezTo>
                    <a:pt x="5339" y="2517"/>
                    <a:pt x="5339" y="2517"/>
                    <a:pt x="5347" y="2510"/>
                  </a:cubicBezTo>
                  <a:cubicBezTo>
                    <a:pt x="5369" y="2510"/>
                    <a:pt x="5399" y="2517"/>
                    <a:pt x="5428" y="2510"/>
                  </a:cubicBezTo>
                  <a:cubicBezTo>
                    <a:pt x="5428" y="2473"/>
                    <a:pt x="5480" y="2480"/>
                    <a:pt x="5510" y="2480"/>
                  </a:cubicBezTo>
                  <a:cubicBezTo>
                    <a:pt x="5502" y="2428"/>
                    <a:pt x="5428" y="2436"/>
                    <a:pt x="5384" y="2428"/>
                  </a:cubicBezTo>
                  <a:cubicBezTo>
                    <a:pt x="5384" y="2391"/>
                    <a:pt x="5384" y="2354"/>
                    <a:pt x="5436" y="2369"/>
                  </a:cubicBezTo>
                  <a:cubicBezTo>
                    <a:pt x="5428" y="2347"/>
                    <a:pt x="5436" y="2332"/>
                    <a:pt x="5451" y="2324"/>
                  </a:cubicBezTo>
                  <a:cubicBezTo>
                    <a:pt x="5473" y="2258"/>
                    <a:pt x="5391" y="2302"/>
                    <a:pt x="5399" y="2258"/>
                  </a:cubicBezTo>
                  <a:cubicBezTo>
                    <a:pt x="5399" y="2250"/>
                    <a:pt x="5451" y="2250"/>
                    <a:pt x="5428" y="2228"/>
                  </a:cubicBezTo>
                  <a:cubicBezTo>
                    <a:pt x="5421" y="2213"/>
                    <a:pt x="5399" y="2213"/>
                    <a:pt x="5384" y="2206"/>
                  </a:cubicBezTo>
                  <a:cubicBezTo>
                    <a:pt x="5347" y="2191"/>
                    <a:pt x="5295" y="2198"/>
                    <a:pt x="5295" y="2146"/>
                  </a:cubicBezTo>
                  <a:cubicBezTo>
                    <a:pt x="5295" y="2072"/>
                    <a:pt x="5198" y="1938"/>
                    <a:pt x="5265" y="1871"/>
                  </a:cubicBezTo>
                  <a:cubicBezTo>
                    <a:pt x="5287" y="1849"/>
                    <a:pt x="5295" y="1827"/>
                    <a:pt x="5295" y="1804"/>
                  </a:cubicBezTo>
                  <a:cubicBezTo>
                    <a:pt x="5257" y="1819"/>
                    <a:pt x="5243" y="1856"/>
                    <a:pt x="5213" y="1879"/>
                  </a:cubicBezTo>
                  <a:cubicBezTo>
                    <a:pt x="5183" y="1901"/>
                    <a:pt x="5102" y="1909"/>
                    <a:pt x="5065" y="1886"/>
                  </a:cubicBezTo>
                  <a:cubicBezTo>
                    <a:pt x="5072" y="1901"/>
                    <a:pt x="5072" y="1916"/>
                    <a:pt x="5072" y="1938"/>
                  </a:cubicBezTo>
                  <a:cubicBezTo>
                    <a:pt x="5035" y="1931"/>
                    <a:pt x="5005" y="1938"/>
                    <a:pt x="4997" y="1983"/>
                  </a:cubicBezTo>
                  <a:cubicBezTo>
                    <a:pt x="4923" y="2005"/>
                    <a:pt x="4960" y="1879"/>
                    <a:pt x="4968" y="1842"/>
                  </a:cubicBezTo>
                  <a:cubicBezTo>
                    <a:pt x="4975" y="1797"/>
                    <a:pt x="4960" y="1678"/>
                    <a:pt x="5012" y="1656"/>
                  </a:cubicBezTo>
                  <a:cubicBezTo>
                    <a:pt x="5020" y="1649"/>
                    <a:pt x="5012" y="1641"/>
                    <a:pt x="5020" y="1641"/>
                  </a:cubicBezTo>
                  <a:cubicBezTo>
                    <a:pt x="4975" y="1634"/>
                    <a:pt x="4946" y="1559"/>
                    <a:pt x="4908" y="1582"/>
                  </a:cubicBezTo>
                  <a:cubicBezTo>
                    <a:pt x="4908" y="1604"/>
                    <a:pt x="4901" y="1619"/>
                    <a:pt x="4901" y="1641"/>
                  </a:cubicBezTo>
                  <a:cubicBezTo>
                    <a:pt x="4879" y="1641"/>
                    <a:pt x="4842" y="1626"/>
                    <a:pt x="4827" y="1641"/>
                  </a:cubicBezTo>
                  <a:cubicBezTo>
                    <a:pt x="4805" y="1656"/>
                    <a:pt x="4819" y="1693"/>
                    <a:pt x="4805" y="1708"/>
                  </a:cubicBezTo>
                  <a:cubicBezTo>
                    <a:pt x="4700" y="1715"/>
                    <a:pt x="4686" y="1559"/>
                    <a:pt x="4567" y="1582"/>
                  </a:cubicBezTo>
                  <a:cubicBezTo>
                    <a:pt x="4560" y="1604"/>
                    <a:pt x="4582" y="1611"/>
                    <a:pt x="4604" y="1611"/>
                  </a:cubicBezTo>
                  <a:cubicBezTo>
                    <a:pt x="4597" y="1611"/>
                    <a:pt x="4597" y="1619"/>
                    <a:pt x="4582" y="1619"/>
                  </a:cubicBezTo>
                  <a:cubicBezTo>
                    <a:pt x="4582" y="1649"/>
                    <a:pt x="4589" y="1671"/>
                    <a:pt x="4604" y="1701"/>
                  </a:cubicBezTo>
                  <a:cubicBezTo>
                    <a:pt x="4574" y="1701"/>
                    <a:pt x="4500" y="1678"/>
                    <a:pt x="4493" y="1723"/>
                  </a:cubicBezTo>
                  <a:cubicBezTo>
                    <a:pt x="4485" y="1760"/>
                    <a:pt x="4507" y="1790"/>
                    <a:pt x="4507" y="1827"/>
                  </a:cubicBezTo>
                  <a:cubicBezTo>
                    <a:pt x="4485" y="1834"/>
                    <a:pt x="4470" y="1812"/>
                    <a:pt x="4448" y="1819"/>
                  </a:cubicBezTo>
                  <a:cubicBezTo>
                    <a:pt x="4441" y="1819"/>
                    <a:pt x="4426" y="1819"/>
                    <a:pt x="4411" y="1819"/>
                  </a:cubicBezTo>
                  <a:cubicBezTo>
                    <a:pt x="4270" y="1797"/>
                    <a:pt x="4426" y="1619"/>
                    <a:pt x="4403" y="1552"/>
                  </a:cubicBezTo>
                  <a:cubicBezTo>
                    <a:pt x="4389" y="1500"/>
                    <a:pt x="4344" y="1441"/>
                    <a:pt x="4300" y="1418"/>
                  </a:cubicBezTo>
                  <a:cubicBezTo>
                    <a:pt x="4255" y="1396"/>
                    <a:pt x="4240" y="1374"/>
                    <a:pt x="4240" y="1322"/>
                  </a:cubicBezTo>
                  <a:cubicBezTo>
                    <a:pt x="4210" y="1322"/>
                    <a:pt x="4158" y="1337"/>
                    <a:pt x="4144" y="1299"/>
                  </a:cubicBezTo>
                  <a:cubicBezTo>
                    <a:pt x="4129" y="1262"/>
                    <a:pt x="4129" y="1233"/>
                    <a:pt x="4106" y="1196"/>
                  </a:cubicBezTo>
                  <a:cubicBezTo>
                    <a:pt x="4055" y="1121"/>
                    <a:pt x="4077" y="1002"/>
                    <a:pt x="4092" y="913"/>
                  </a:cubicBezTo>
                  <a:cubicBezTo>
                    <a:pt x="4092" y="928"/>
                    <a:pt x="4055" y="906"/>
                    <a:pt x="4047" y="899"/>
                  </a:cubicBezTo>
                  <a:cubicBezTo>
                    <a:pt x="4040" y="884"/>
                    <a:pt x="4040" y="854"/>
                    <a:pt x="4040" y="839"/>
                  </a:cubicBezTo>
                  <a:cubicBezTo>
                    <a:pt x="4047" y="794"/>
                    <a:pt x="4055" y="743"/>
                    <a:pt x="3995" y="743"/>
                  </a:cubicBezTo>
                  <a:cubicBezTo>
                    <a:pt x="3995" y="735"/>
                    <a:pt x="3988" y="728"/>
                    <a:pt x="3988" y="720"/>
                  </a:cubicBezTo>
                  <a:cubicBezTo>
                    <a:pt x="3950" y="713"/>
                    <a:pt x="3817" y="794"/>
                    <a:pt x="3795" y="705"/>
                  </a:cubicBezTo>
                  <a:cubicBezTo>
                    <a:pt x="3787" y="713"/>
                    <a:pt x="3772" y="705"/>
                    <a:pt x="3765" y="705"/>
                  </a:cubicBezTo>
                  <a:cubicBezTo>
                    <a:pt x="3765" y="691"/>
                    <a:pt x="3765" y="668"/>
                    <a:pt x="3765" y="654"/>
                  </a:cubicBezTo>
                  <a:cubicBezTo>
                    <a:pt x="3728" y="639"/>
                    <a:pt x="3646" y="579"/>
                    <a:pt x="3639" y="646"/>
                  </a:cubicBezTo>
                  <a:cubicBezTo>
                    <a:pt x="3601" y="639"/>
                    <a:pt x="3557" y="631"/>
                    <a:pt x="3512" y="646"/>
                  </a:cubicBezTo>
                  <a:cubicBezTo>
                    <a:pt x="3512" y="631"/>
                    <a:pt x="3505" y="624"/>
                    <a:pt x="3505" y="609"/>
                  </a:cubicBezTo>
                  <a:cubicBezTo>
                    <a:pt x="3483" y="602"/>
                    <a:pt x="3453" y="594"/>
                    <a:pt x="3453" y="564"/>
                  </a:cubicBezTo>
                  <a:cubicBezTo>
                    <a:pt x="3475" y="564"/>
                    <a:pt x="3498" y="564"/>
                    <a:pt x="3520" y="564"/>
                  </a:cubicBezTo>
                  <a:cubicBezTo>
                    <a:pt x="3527" y="527"/>
                    <a:pt x="3505" y="490"/>
                    <a:pt x="3520" y="453"/>
                  </a:cubicBezTo>
                  <a:cubicBezTo>
                    <a:pt x="3542" y="423"/>
                    <a:pt x="3542" y="401"/>
                    <a:pt x="3542" y="364"/>
                  </a:cubicBezTo>
                  <a:cubicBezTo>
                    <a:pt x="3520" y="357"/>
                    <a:pt x="3498" y="357"/>
                    <a:pt x="3483" y="357"/>
                  </a:cubicBezTo>
                  <a:cubicBezTo>
                    <a:pt x="3483" y="319"/>
                    <a:pt x="3468" y="267"/>
                    <a:pt x="3520" y="267"/>
                  </a:cubicBezTo>
                  <a:cubicBezTo>
                    <a:pt x="3527" y="252"/>
                    <a:pt x="3527" y="230"/>
                    <a:pt x="3520" y="223"/>
                  </a:cubicBezTo>
                  <a:cubicBezTo>
                    <a:pt x="3520" y="215"/>
                    <a:pt x="3483" y="215"/>
                    <a:pt x="3475" y="208"/>
                  </a:cubicBezTo>
                  <a:cubicBezTo>
                    <a:pt x="3460" y="193"/>
                    <a:pt x="3453" y="171"/>
                    <a:pt x="3453" y="149"/>
                  </a:cubicBezTo>
                  <a:cubicBezTo>
                    <a:pt x="3453" y="149"/>
                    <a:pt x="3453" y="141"/>
                    <a:pt x="3453" y="134"/>
                  </a:cubicBezTo>
                  <a:cubicBezTo>
                    <a:pt x="3408" y="126"/>
                    <a:pt x="3364" y="134"/>
                    <a:pt x="3327" y="119"/>
                  </a:cubicBezTo>
                  <a:cubicBezTo>
                    <a:pt x="3282" y="104"/>
                    <a:pt x="3253" y="97"/>
                    <a:pt x="3208" y="97"/>
                  </a:cubicBezTo>
                  <a:cubicBezTo>
                    <a:pt x="3186" y="97"/>
                    <a:pt x="3126" y="104"/>
                    <a:pt x="3126" y="74"/>
                  </a:cubicBezTo>
                  <a:cubicBezTo>
                    <a:pt x="3134" y="37"/>
                    <a:pt x="3104" y="15"/>
                    <a:pt x="3074" y="0"/>
                  </a:cubicBezTo>
                  <a:cubicBezTo>
                    <a:pt x="3059" y="22"/>
                    <a:pt x="3052" y="45"/>
                    <a:pt x="3015" y="45"/>
                  </a:cubicBezTo>
                  <a:cubicBezTo>
                    <a:pt x="2985" y="45"/>
                    <a:pt x="2948" y="37"/>
                    <a:pt x="2911" y="30"/>
                  </a:cubicBezTo>
                  <a:cubicBezTo>
                    <a:pt x="2859" y="30"/>
                    <a:pt x="2829" y="45"/>
                    <a:pt x="2785" y="67"/>
                  </a:cubicBezTo>
                  <a:cubicBezTo>
                    <a:pt x="2777" y="149"/>
                    <a:pt x="2755" y="215"/>
                    <a:pt x="2725" y="290"/>
                  </a:cubicBezTo>
                  <a:cubicBezTo>
                    <a:pt x="2710" y="327"/>
                    <a:pt x="2696" y="371"/>
                    <a:pt x="2681" y="408"/>
                  </a:cubicBezTo>
                  <a:cubicBezTo>
                    <a:pt x="2666" y="446"/>
                    <a:pt x="2643" y="483"/>
                    <a:pt x="2614" y="505"/>
                  </a:cubicBezTo>
                  <a:cubicBezTo>
                    <a:pt x="2540" y="572"/>
                    <a:pt x="2525" y="676"/>
                    <a:pt x="2436" y="735"/>
                  </a:cubicBezTo>
                  <a:cubicBezTo>
                    <a:pt x="2361" y="787"/>
                    <a:pt x="2280" y="802"/>
                    <a:pt x="2213" y="854"/>
                  </a:cubicBezTo>
                  <a:cubicBezTo>
                    <a:pt x="2176" y="876"/>
                    <a:pt x="2146" y="869"/>
                    <a:pt x="2109" y="884"/>
                  </a:cubicBezTo>
                  <a:cubicBezTo>
                    <a:pt x="2035" y="906"/>
                    <a:pt x="1997" y="980"/>
                    <a:pt x="1968" y="1040"/>
                  </a:cubicBezTo>
                  <a:cubicBezTo>
                    <a:pt x="1916" y="1047"/>
                    <a:pt x="1953" y="1121"/>
                    <a:pt x="1938" y="1151"/>
                  </a:cubicBezTo>
                  <a:cubicBezTo>
                    <a:pt x="1923" y="1188"/>
                    <a:pt x="1901" y="1188"/>
                    <a:pt x="1871" y="1210"/>
                  </a:cubicBezTo>
                  <a:cubicBezTo>
                    <a:pt x="1834" y="1225"/>
                    <a:pt x="1804" y="1240"/>
                    <a:pt x="1782" y="1270"/>
                  </a:cubicBezTo>
                  <a:cubicBezTo>
                    <a:pt x="1738" y="1322"/>
                    <a:pt x="1745" y="1396"/>
                    <a:pt x="1686" y="1448"/>
                  </a:cubicBezTo>
                  <a:cubicBezTo>
                    <a:pt x="1596" y="1522"/>
                    <a:pt x="1485" y="1485"/>
                    <a:pt x="1374" y="1485"/>
                  </a:cubicBezTo>
                  <a:cubicBezTo>
                    <a:pt x="1307" y="1485"/>
                    <a:pt x="1247" y="1485"/>
                    <a:pt x="1188" y="1507"/>
                  </a:cubicBezTo>
                  <a:cubicBezTo>
                    <a:pt x="1129" y="1530"/>
                    <a:pt x="1062" y="1596"/>
                    <a:pt x="987" y="1574"/>
                  </a:cubicBezTo>
                  <a:cubicBezTo>
                    <a:pt x="950" y="1567"/>
                    <a:pt x="884" y="1493"/>
                    <a:pt x="869" y="1448"/>
                  </a:cubicBezTo>
                  <a:cubicBezTo>
                    <a:pt x="861" y="1396"/>
                    <a:pt x="884" y="1374"/>
                    <a:pt x="847" y="1337"/>
                  </a:cubicBezTo>
                  <a:cubicBezTo>
                    <a:pt x="757" y="1255"/>
                    <a:pt x="631" y="1329"/>
                    <a:pt x="572" y="1396"/>
                  </a:cubicBezTo>
                  <a:cubicBezTo>
                    <a:pt x="557" y="1411"/>
                    <a:pt x="549" y="1441"/>
                    <a:pt x="535" y="1456"/>
                  </a:cubicBezTo>
                  <a:cubicBezTo>
                    <a:pt x="505" y="1493"/>
                    <a:pt x="475" y="1530"/>
                    <a:pt x="445" y="1574"/>
                  </a:cubicBezTo>
                  <a:cubicBezTo>
                    <a:pt x="408" y="1611"/>
                    <a:pt x="364" y="1671"/>
                    <a:pt x="319" y="1701"/>
                  </a:cubicBezTo>
                  <a:cubicBezTo>
                    <a:pt x="275" y="1738"/>
                    <a:pt x="215" y="1760"/>
                    <a:pt x="163" y="1797"/>
                  </a:cubicBezTo>
                  <a:cubicBezTo>
                    <a:pt x="82" y="1842"/>
                    <a:pt x="89" y="1879"/>
                    <a:pt x="74" y="1961"/>
                  </a:cubicBezTo>
                  <a:cubicBezTo>
                    <a:pt x="67" y="2005"/>
                    <a:pt x="45" y="2020"/>
                    <a:pt x="30" y="2057"/>
                  </a:cubicBezTo>
                  <a:cubicBezTo>
                    <a:pt x="0" y="2183"/>
                    <a:pt x="96" y="2191"/>
                    <a:pt x="178" y="2258"/>
                  </a:cubicBezTo>
                  <a:cubicBezTo>
                    <a:pt x="193" y="2272"/>
                    <a:pt x="208" y="2287"/>
                    <a:pt x="223" y="2302"/>
                  </a:cubicBezTo>
                  <a:cubicBezTo>
                    <a:pt x="237" y="2309"/>
                    <a:pt x="230" y="2324"/>
                    <a:pt x="252" y="2332"/>
                  </a:cubicBezTo>
                  <a:cubicBezTo>
                    <a:pt x="267" y="2332"/>
                    <a:pt x="267" y="2309"/>
                    <a:pt x="282" y="2309"/>
                  </a:cubicBezTo>
                  <a:cubicBezTo>
                    <a:pt x="327" y="2309"/>
                    <a:pt x="386" y="2324"/>
                    <a:pt x="423" y="2347"/>
                  </a:cubicBezTo>
                  <a:cubicBezTo>
                    <a:pt x="475" y="2384"/>
                    <a:pt x="453" y="2443"/>
                    <a:pt x="453" y="2503"/>
                  </a:cubicBezTo>
                  <a:cubicBezTo>
                    <a:pt x="453" y="2532"/>
                    <a:pt x="453" y="2555"/>
                    <a:pt x="438" y="2577"/>
                  </a:cubicBezTo>
                  <a:cubicBezTo>
                    <a:pt x="423" y="2606"/>
                    <a:pt x="401" y="2614"/>
                    <a:pt x="386" y="2629"/>
                  </a:cubicBezTo>
                  <a:cubicBezTo>
                    <a:pt x="364" y="2658"/>
                    <a:pt x="356" y="2748"/>
                    <a:pt x="371" y="2785"/>
                  </a:cubicBezTo>
                  <a:cubicBezTo>
                    <a:pt x="379" y="2807"/>
                    <a:pt x="408" y="2807"/>
                    <a:pt x="408" y="2829"/>
                  </a:cubicBezTo>
                  <a:cubicBezTo>
                    <a:pt x="423" y="2844"/>
                    <a:pt x="408" y="2881"/>
                    <a:pt x="416" y="2903"/>
                  </a:cubicBezTo>
                  <a:cubicBezTo>
                    <a:pt x="460" y="2911"/>
                    <a:pt x="438" y="2933"/>
                    <a:pt x="453" y="2956"/>
                  </a:cubicBezTo>
                  <a:cubicBezTo>
                    <a:pt x="468" y="2963"/>
                    <a:pt x="490" y="2978"/>
                    <a:pt x="512" y="2978"/>
                  </a:cubicBezTo>
                  <a:cubicBezTo>
                    <a:pt x="557" y="3000"/>
                    <a:pt x="601" y="3000"/>
                    <a:pt x="653" y="3008"/>
                  </a:cubicBezTo>
                  <a:cubicBezTo>
                    <a:pt x="742" y="3008"/>
                    <a:pt x="735" y="3022"/>
                    <a:pt x="735" y="3097"/>
                  </a:cubicBezTo>
                  <a:cubicBezTo>
                    <a:pt x="735" y="3156"/>
                    <a:pt x="735" y="3201"/>
                    <a:pt x="750" y="3245"/>
                  </a:cubicBezTo>
                  <a:cubicBezTo>
                    <a:pt x="765" y="3297"/>
                    <a:pt x="787" y="3342"/>
                    <a:pt x="809" y="3386"/>
                  </a:cubicBezTo>
                  <a:cubicBezTo>
                    <a:pt x="824" y="3431"/>
                    <a:pt x="861" y="3460"/>
                    <a:pt x="869" y="3513"/>
                  </a:cubicBezTo>
                  <a:cubicBezTo>
                    <a:pt x="884" y="3572"/>
                    <a:pt x="906" y="3587"/>
                    <a:pt x="936" y="3639"/>
                  </a:cubicBezTo>
                  <a:cubicBezTo>
                    <a:pt x="965" y="3683"/>
                    <a:pt x="1039" y="3765"/>
                    <a:pt x="1025" y="3817"/>
                  </a:cubicBezTo>
                  <a:cubicBezTo>
                    <a:pt x="995" y="3810"/>
                    <a:pt x="950" y="3817"/>
                    <a:pt x="943" y="3854"/>
                  </a:cubicBezTo>
                  <a:cubicBezTo>
                    <a:pt x="950" y="3854"/>
                    <a:pt x="965" y="3847"/>
                    <a:pt x="973" y="3847"/>
                  </a:cubicBezTo>
                  <a:cubicBezTo>
                    <a:pt x="995" y="3832"/>
                    <a:pt x="1084" y="3810"/>
                    <a:pt x="1106" y="3832"/>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2" name="Freeform 9">
              <a:extLst>
                <a:ext uri="{FF2B5EF4-FFF2-40B4-BE49-F238E27FC236}">
                  <a16:creationId xmlns:a16="http://schemas.microsoft.com/office/drawing/2014/main" id="{0E3D482C-F174-7944-B6D9-B84651448672}"/>
                </a:ext>
              </a:extLst>
            </p:cNvPr>
            <p:cNvSpPr>
              <a:spLocks noChangeArrowheads="1"/>
            </p:cNvSpPr>
            <p:nvPr/>
          </p:nvSpPr>
          <p:spPr bwMode="auto">
            <a:xfrm>
              <a:off x="10898161" y="4758280"/>
              <a:ext cx="993215" cy="931592"/>
            </a:xfrm>
            <a:custGeom>
              <a:avLst/>
              <a:gdLst>
                <a:gd name="T0" fmla="*/ 995 w 2296"/>
                <a:gd name="T1" fmla="*/ 312 h 2155"/>
                <a:gd name="T2" fmla="*/ 743 w 2296"/>
                <a:gd name="T3" fmla="*/ 238 h 2155"/>
                <a:gd name="T4" fmla="*/ 498 w 2296"/>
                <a:gd name="T5" fmla="*/ 193 h 2155"/>
                <a:gd name="T6" fmla="*/ 342 w 2296"/>
                <a:gd name="T7" fmla="*/ 297 h 2155"/>
                <a:gd name="T8" fmla="*/ 179 w 2296"/>
                <a:gd name="T9" fmla="*/ 371 h 2155"/>
                <a:gd name="T10" fmla="*/ 141 w 2296"/>
                <a:gd name="T11" fmla="*/ 394 h 2155"/>
                <a:gd name="T12" fmla="*/ 156 w 2296"/>
                <a:gd name="T13" fmla="*/ 461 h 2155"/>
                <a:gd name="T14" fmla="*/ 97 w 2296"/>
                <a:gd name="T15" fmla="*/ 594 h 2155"/>
                <a:gd name="T16" fmla="*/ 119 w 2296"/>
                <a:gd name="T17" fmla="*/ 758 h 2155"/>
                <a:gd name="T18" fmla="*/ 30 w 2296"/>
                <a:gd name="T19" fmla="*/ 861 h 2155"/>
                <a:gd name="T20" fmla="*/ 30 w 2296"/>
                <a:gd name="T21" fmla="*/ 861 h 2155"/>
                <a:gd name="T22" fmla="*/ 238 w 2296"/>
                <a:gd name="T23" fmla="*/ 980 h 2155"/>
                <a:gd name="T24" fmla="*/ 127 w 2296"/>
                <a:gd name="T25" fmla="*/ 1129 h 2155"/>
                <a:gd name="T26" fmla="*/ 97 w 2296"/>
                <a:gd name="T27" fmla="*/ 1352 h 2155"/>
                <a:gd name="T28" fmla="*/ 216 w 2296"/>
                <a:gd name="T29" fmla="*/ 1411 h 2155"/>
                <a:gd name="T30" fmla="*/ 357 w 2296"/>
                <a:gd name="T31" fmla="*/ 1389 h 2155"/>
                <a:gd name="T32" fmla="*/ 527 w 2296"/>
                <a:gd name="T33" fmla="*/ 1322 h 2155"/>
                <a:gd name="T34" fmla="*/ 758 w 2296"/>
                <a:gd name="T35" fmla="*/ 1560 h 2155"/>
                <a:gd name="T36" fmla="*/ 758 w 2296"/>
                <a:gd name="T37" fmla="*/ 1656 h 2155"/>
                <a:gd name="T38" fmla="*/ 832 w 2296"/>
                <a:gd name="T39" fmla="*/ 1782 h 2155"/>
                <a:gd name="T40" fmla="*/ 995 w 2296"/>
                <a:gd name="T41" fmla="*/ 1909 h 2155"/>
                <a:gd name="T42" fmla="*/ 1189 w 2296"/>
                <a:gd name="T43" fmla="*/ 2028 h 2155"/>
                <a:gd name="T44" fmla="*/ 1463 w 2296"/>
                <a:gd name="T45" fmla="*/ 2035 h 2155"/>
                <a:gd name="T46" fmla="*/ 1500 w 2296"/>
                <a:gd name="T47" fmla="*/ 2094 h 2155"/>
                <a:gd name="T48" fmla="*/ 1604 w 2296"/>
                <a:gd name="T49" fmla="*/ 2154 h 2155"/>
                <a:gd name="T50" fmla="*/ 1649 w 2296"/>
                <a:gd name="T51" fmla="*/ 2020 h 2155"/>
                <a:gd name="T52" fmla="*/ 1768 w 2296"/>
                <a:gd name="T53" fmla="*/ 1820 h 2155"/>
                <a:gd name="T54" fmla="*/ 1820 w 2296"/>
                <a:gd name="T55" fmla="*/ 1701 h 2155"/>
                <a:gd name="T56" fmla="*/ 1849 w 2296"/>
                <a:gd name="T57" fmla="*/ 1663 h 2155"/>
                <a:gd name="T58" fmla="*/ 1857 w 2296"/>
                <a:gd name="T59" fmla="*/ 1485 h 2155"/>
                <a:gd name="T60" fmla="*/ 1916 w 2296"/>
                <a:gd name="T61" fmla="*/ 1307 h 2155"/>
                <a:gd name="T62" fmla="*/ 2028 w 2296"/>
                <a:gd name="T63" fmla="*/ 1218 h 2155"/>
                <a:gd name="T64" fmla="*/ 2124 w 2296"/>
                <a:gd name="T65" fmla="*/ 1144 h 2155"/>
                <a:gd name="T66" fmla="*/ 2258 w 2296"/>
                <a:gd name="T67" fmla="*/ 1025 h 2155"/>
                <a:gd name="T68" fmla="*/ 2198 w 2296"/>
                <a:gd name="T69" fmla="*/ 921 h 2155"/>
                <a:gd name="T70" fmla="*/ 2072 w 2296"/>
                <a:gd name="T71" fmla="*/ 802 h 2155"/>
                <a:gd name="T72" fmla="*/ 1968 w 2296"/>
                <a:gd name="T73" fmla="*/ 750 h 2155"/>
                <a:gd name="T74" fmla="*/ 1782 w 2296"/>
                <a:gd name="T75" fmla="*/ 713 h 2155"/>
                <a:gd name="T76" fmla="*/ 1723 w 2296"/>
                <a:gd name="T77" fmla="*/ 550 h 2155"/>
                <a:gd name="T78" fmla="*/ 1671 w 2296"/>
                <a:gd name="T79" fmla="*/ 505 h 2155"/>
                <a:gd name="T80" fmla="*/ 1545 w 2296"/>
                <a:gd name="T81" fmla="*/ 401 h 2155"/>
                <a:gd name="T82" fmla="*/ 1396 w 2296"/>
                <a:gd name="T83" fmla="*/ 409 h 2155"/>
                <a:gd name="T84" fmla="*/ 1285 w 2296"/>
                <a:gd name="T85" fmla="*/ 319 h 2155"/>
                <a:gd name="T86" fmla="*/ 1196 w 2296"/>
                <a:gd name="T87" fmla="*/ 223 h 2155"/>
                <a:gd name="T88" fmla="*/ 1107 w 2296"/>
                <a:gd name="T89" fmla="*/ 104 h 2155"/>
                <a:gd name="T90" fmla="*/ 1040 w 2296"/>
                <a:gd name="T91" fmla="*/ 52 h 2155"/>
                <a:gd name="T92" fmla="*/ 981 w 2296"/>
                <a:gd name="T93" fmla="*/ 119 h 2155"/>
                <a:gd name="T94" fmla="*/ 958 w 2296"/>
                <a:gd name="T95" fmla="*/ 245 h 2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96" h="2155">
                  <a:moveTo>
                    <a:pt x="995" y="312"/>
                  </a:moveTo>
                  <a:lnTo>
                    <a:pt x="995" y="312"/>
                  </a:lnTo>
                  <a:cubicBezTo>
                    <a:pt x="995" y="327"/>
                    <a:pt x="899" y="319"/>
                    <a:pt x="884" y="319"/>
                  </a:cubicBezTo>
                  <a:cubicBezTo>
                    <a:pt x="891" y="253"/>
                    <a:pt x="787" y="238"/>
                    <a:pt x="743" y="238"/>
                  </a:cubicBezTo>
                  <a:cubicBezTo>
                    <a:pt x="698" y="238"/>
                    <a:pt x="676" y="238"/>
                    <a:pt x="639" y="223"/>
                  </a:cubicBezTo>
                  <a:cubicBezTo>
                    <a:pt x="602" y="208"/>
                    <a:pt x="535" y="193"/>
                    <a:pt x="498" y="193"/>
                  </a:cubicBezTo>
                  <a:cubicBezTo>
                    <a:pt x="468" y="245"/>
                    <a:pt x="409" y="208"/>
                    <a:pt x="372" y="238"/>
                  </a:cubicBezTo>
                  <a:cubicBezTo>
                    <a:pt x="364" y="253"/>
                    <a:pt x="357" y="297"/>
                    <a:pt x="342" y="297"/>
                  </a:cubicBezTo>
                  <a:cubicBezTo>
                    <a:pt x="320" y="305"/>
                    <a:pt x="305" y="275"/>
                    <a:pt x="290" y="267"/>
                  </a:cubicBezTo>
                  <a:cubicBezTo>
                    <a:pt x="245" y="253"/>
                    <a:pt x="179" y="334"/>
                    <a:pt x="179" y="371"/>
                  </a:cubicBezTo>
                  <a:cubicBezTo>
                    <a:pt x="186" y="371"/>
                    <a:pt x="193" y="379"/>
                    <a:pt x="201" y="371"/>
                  </a:cubicBezTo>
                  <a:cubicBezTo>
                    <a:pt x="208" y="409"/>
                    <a:pt x="156" y="394"/>
                    <a:pt x="141" y="394"/>
                  </a:cubicBezTo>
                  <a:cubicBezTo>
                    <a:pt x="134" y="424"/>
                    <a:pt x="141" y="438"/>
                    <a:pt x="149" y="461"/>
                  </a:cubicBezTo>
                  <a:cubicBezTo>
                    <a:pt x="156" y="461"/>
                    <a:pt x="156" y="461"/>
                    <a:pt x="156" y="461"/>
                  </a:cubicBezTo>
                  <a:cubicBezTo>
                    <a:pt x="156" y="468"/>
                    <a:pt x="156" y="475"/>
                    <a:pt x="156" y="475"/>
                  </a:cubicBezTo>
                  <a:cubicBezTo>
                    <a:pt x="127" y="468"/>
                    <a:pt x="89" y="572"/>
                    <a:pt x="97" y="594"/>
                  </a:cubicBezTo>
                  <a:cubicBezTo>
                    <a:pt x="141" y="594"/>
                    <a:pt x="104" y="676"/>
                    <a:pt x="97" y="706"/>
                  </a:cubicBezTo>
                  <a:cubicBezTo>
                    <a:pt x="134" y="706"/>
                    <a:pt x="141" y="743"/>
                    <a:pt x="119" y="758"/>
                  </a:cubicBezTo>
                  <a:cubicBezTo>
                    <a:pt x="97" y="772"/>
                    <a:pt x="37" y="802"/>
                    <a:pt x="0" y="824"/>
                  </a:cubicBezTo>
                  <a:cubicBezTo>
                    <a:pt x="8" y="839"/>
                    <a:pt x="15" y="854"/>
                    <a:pt x="30" y="861"/>
                  </a:cubicBezTo>
                  <a:cubicBezTo>
                    <a:pt x="45" y="854"/>
                    <a:pt x="52" y="847"/>
                    <a:pt x="60" y="839"/>
                  </a:cubicBezTo>
                  <a:cubicBezTo>
                    <a:pt x="52" y="847"/>
                    <a:pt x="45" y="854"/>
                    <a:pt x="30" y="861"/>
                  </a:cubicBezTo>
                  <a:cubicBezTo>
                    <a:pt x="45" y="884"/>
                    <a:pt x="67" y="891"/>
                    <a:pt x="82" y="906"/>
                  </a:cubicBezTo>
                  <a:cubicBezTo>
                    <a:pt x="127" y="943"/>
                    <a:pt x="186" y="951"/>
                    <a:pt x="238" y="980"/>
                  </a:cubicBezTo>
                  <a:cubicBezTo>
                    <a:pt x="216" y="973"/>
                    <a:pt x="193" y="988"/>
                    <a:pt x="179" y="995"/>
                  </a:cubicBezTo>
                  <a:cubicBezTo>
                    <a:pt x="164" y="1040"/>
                    <a:pt x="156" y="1092"/>
                    <a:pt x="127" y="1129"/>
                  </a:cubicBezTo>
                  <a:cubicBezTo>
                    <a:pt x="97" y="1166"/>
                    <a:pt x="37" y="1203"/>
                    <a:pt x="67" y="1248"/>
                  </a:cubicBezTo>
                  <a:cubicBezTo>
                    <a:pt x="89" y="1277"/>
                    <a:pt x="75" y="1337"/>
                    <a:pt x="97" y="1352"/>
                  </a:cubicBezTo>
                  <a:cubicBezTo>
                    <a:pt x="134" y="1374"/>
                    <a:pt x="193" y="1352"/>
                    <a:pt x="230" y="1344"/>
                  </a:cubicBezTo>
                  <a:cubicBezTo>
                    <a:pt x="223" y="1366"/>
                    <a:pt x="238" y="1389"/>
                    <a:pt x="216" y="1411"/>
                  </a:cubicBezTo>
                  <a:cubicBezTo>
                    <a:pt x="238" y="1418"/>
                    <a:pt x="275" y="1478"/>
                    <a:pt x="290" y="1456"/>
                  </a:cubicBezTo>
                  <a:cubicBezTo>
                    <a:pt x="327" y="1426"/>
                    <a:pt x="305" y="1404"/>
                    <a:pt x="357" y="1389"/>
                  </a:cubicBezTo>
                  <a:cubicBezTo>
                    <a:pt x="394" y="1374"/>
                    <a:pt x="387" y="1329"/>
                    <a:pt x="424" y="1329"/>
                  </a:cubicBezTo>
                  <a:cubicBezTo>
                    <a:pt x="468" y="1337"/>
                    <a:pt x="490" y="1292"/>
                    <a:pt x="527" y="1322"/>
                  </a:cubicBezTo>
                  <a:cubicBezTo>
                    <a:pt x="572" y="1352"/>
                    <a:pt x="579" y="1396"/>
                    <a:pt x="609" y="1441"/>
                  </a:cubicBezTo>
                  <a:cubicBezTo>
                    <a:pt x="646" y="1485"/>
                    <a:pt x="706" y="1515"/>
                    <a:pt x="758" y="1560"/>
                  </a:cubicBezTo>
                  <a:cubicBezTo>
                    <a:pt x="773" y="1574"/>
                    <a:pt x="847" y="1604"/>
                    <a:pt x="854" y="1626"/>
                  </a:cubicBezTo>
                  <a:cubicBezTo>
                    <a:pt x="854" y="1656"/>
                    <a:pt x="780" y="1656"/>
                    <a:pt x="758" y="1656"/>
                  </a:cubicBezTo>
                  <a:cubicBezTo>
                    <a:pt x="750" y="1671"/>
                    <a:pt x="743" y="1693"/>
                    <a:pt x="743" y="1708"/>
                  </a:cubicBezTo>
                  <a:cubicBezTo>
                    <a:pt x="787" y="1723"/>
                    <a:pt x="787" y="1775"/>
                    <a:pt x="832" y="1782"/>
                  </a:cubicBezTo>
                  <a:cubicBezTo>
                    <a:pt x="832" y="1849"/>
                    <a:pt x="891" y="1820"/>
                    <a:pt x="936" y="1820"/>
                  </a:cubicBezTo>
                  <a:cubicBezTo>
                    <a:pt x="1003" y="1820"/>
                    <a:pt x="995" y="1857"/>
                    <a:pt x="995" y="1909"/>
                  </a:cubicBezTo>
                  <a:cubicBezTo>
                    <a:pt x="1047" y="1909"/>
                    <a:pt x="1084" y="1953"/>
                    <a:pt x="1129" y="1968"/>
                  </a:cubicBezTo>
                  <a:cubicBezTo>
                    <a:pt x="1174" y="1976"/>
                    <a:pt x="1189" y="1983"/>
                    <a:pt x="1189" y="2028"/>
                  </a:cubicBezTo>
                  <a:cubicBezTo>
                    <a:pt x="1233" y="2035"/>
                    <a:pt x="1270" y="2028"/>
                    <a:pt x="1315" y="2035"/>
                  </a:cubicBezTo>
                  <a:cubicBezTo>
                    <a:pt x="1367" y="2050"/>
                    <a:pt x="1411" y="2020"/>
                    <a:pt x="1463" y="2035"/>
                  </a:cubicBezTo>
                  <a:cubicBezTo>
                    <a:pt x="1463" y="2057"/>
                    <a:pt x="1463" y="2079"/>
                    <a:pt x="1463" y="2094"/>
                  </a:cubicBezTo>
                  <a:cubicBezTo>
                    <a:pt x="1478" y="2094"/>
                    <a:pt x="1485" y="2094"/>
                    <a:pt x="1500" y="2094"/>
                  </a:cubicBezTo>
                  <a:cubicBezTo>
                    <a:pt x="1500" y="2131"/>
                    <a:pt x="1552" y="2094"/>
                    <a:pt x="1552" y="2154"/>
                  </a:cubicBezTo>
                  <a:cubicBezTo>
                    <a:pt x="1567" y="2154"/>
                    <a:pt x="1589" y="2154"/>
                    <a:pt x="1604" y="2154"/>
                  </a:cubicBezTo>
                  <a:cubicBezTo>
                    <a:pt x="1619" y="2139"/>
                    <a:pt x="1656" y="2087"/>
                    <a:pt x="1693" y="2050"/>
                  </a:cubicBezTo>
                  <a:cubicBezTo>
                    <a:pt x="1671" y="2042"/>
                    <a:pt x="1656" y="2035"/>
                    <a:pt x="1649" y="2020"/>
                  </a:cubicBezTo>
                  <a:cubicBezTo>
                    <a:pt x="1634" y="1990"/>
                    <a:pt x="1664" y="1961"/>
                    <a:pt x="1679" y="1938"/>
                  </a:cubicBezTo>
                  <a:cubicBezTo>
                    <a:pt x="1716" y="1901"/>
                    <a:pt x="1738" y="1864"/>
                    <a:pt x="1768" y="1820"/>
                  </a:cubicBezTo>
                  <a:cubicBezTo>
                    <a:pt x="1782" y="1790"/>
                    <a:pt x="1790" y="1738"/>
                    <a:pt x="1812" y="1723"/>
                  </a:cubicBezTo>
                  <a:cubicBezTo>
                    <a:pt x="1820" y="1716"/>
                    <a:pt x="1820" y="1708"/>
                    <a:pt x="1820" y="1701"/>
                  </a:cubicBezTo>
                  <a:cubicBezTo>
                    <a:pt x="1834" y="1701"/>
                    <a:pt x="1849" y="1701"/>
                    <a:pt x="1864" y="1701"/>
                  </a:cubicBezTo>
                  <a:cubicBezTo>
                    <a:pt x="1872" y="1686"/>
                    <a:pt x="1872" y="1663"/>
                    <a:pt x="1849" y="1663"/>
                  </a:cubicBezTo>
                  <a:cubicBezTo>
                    <a:pt x="1834" y="1626"/>
                    <a:pt x="1820" y="1582"/>
                    <a:pt x="1834" y="1545"/>
                  </a:cubicBezTo>
                  <a:cubicBezTo>
                    <a:pt x="1849" y="1537"/>
                    <a:pt x="1842" y="1508"/>
                    <a:pt x="1857" y="1485"/>
                  </a:cubicBezTo>
                  <a:cubicBezTo>
                    <a:pt x="1872" y="1463"/>
                    <a:pt x="1894" y="1478"/>
                    <a:pt x="1909" y="1456"/>
                  </a:cubicBezTo>
                  <a:cubicBezTo>
                    <a:pt x="1946" y="1426"/>
                    <a:pt x="1901" y="1352"/>
                    <a:pt x="1916" y="1307"/>
                  </a:cubicBezTo>
                  <a:cubicBezTo>
                    <a:pt x="1924" y="1285"/>
                    <a:pt x="1953" y="1285"/>
                    <a:pt x="1976" y="1277"/>
                  </a:cubicBezTo>
                  <a:cubicBezTo>
                    <a:pt x="2005" y="1263"/>
                    <a:pt x="2013" y="1248"/>
                    <a:pt x="2028" y="1218"/>
                  </a:cubicBezTo>
                  <a:cubicBezTo>
                    <a:pt x="2035" y="1203"/>
                    <a:pt x="2035" y="1173"/>
                    <a:pt x="2050" y="1159"/>
                  </a:cubicBezTo>
                  <a:cubicBezTo>
                    <a:pt x="2072" y="1144"/>
                    <a:pt x="2102" y="1151"/>
                    <a:pt x="2124" y="1144"/>
                  </a:cubicBezTo>
                  <a:cubicBezTo>
                    <a:pt x="2131" y="1114"/>
                    <a:pt x="2176" y="1084"/>
                    <a:pt x="2191" y="1047"/>
                  </a:cubicBezTo>
                  <a:cubicBezTo>
                    <a:pt x="2213" y="1018"/>
                    <a:pt x="2221" y="1018"/>
                    <a:pt x="2258" y="1025"/>
                  </a:cubicBezTo>
                  <a:cubicBezTo>
                    <a:pt x="2295" y="1032"/>
                    <a:pt x="2250" y="966"/>
                    <a:pt x="2250" y="966"/>
                  </a:cubicBezTo>
                  <a:cubicBezTo>
                    <a:pt x="2236" y="943"/>
                    <a:pt x="2228" y="928"/>
                    <a:pt x="2198" y="921"/>
                  </a:cubicBezTo>
                  <a:cubicBezTo>
                    <a:pt x="2154" y="914"/>
                    <a:pt x="2146" y="921"/>
                    <a:pt x="2117" y="876"/>
                  </a:cubicBezTo>
                  <a:cubicBezTo>
                    <a:pt x="2102" y="847"/>
                    <a:pt x="2102" y="817"/>
                    <a:pt x="2072" y="802"/>
                  </a:cubicBezTo>
                  <a:cubicBezTo>
                    <a:pt x="2057" y="802"/>
                    <a:pt x="2042" y="802"/>
                    <a:pt x="2028" y="795"/>
                  </a:cubicBezTo>
                  <a:cubicBezTo>
                    <a:pt x="1998" y="780"/>
                    <a:pt x="1991" y="765"/>
                    <a:pt x="1968" y="750"/>
                  </a:cubicBezTo>
                  <a:cubicBezTo>
                    <a:pt x="1938" y="743"/>
                    <a:pt x="1901" y="735"/>
                    <a:pt x="1872" y="735"/>
                  </a:cubicBezTo>
                  <a:cubicBezTo>
                    <a:pt x="1849" y="735"/>
                    <a:pt x="1797" y="735"/>
                    <a:pt x="1782" y="713"/>
                  </a:cubicBezTo>
                  <a:cubicBezTo>
                    <a:pt x="1760" y="683"/>
                    <a:pt x="1760" y="624"/>
                    <a:pt x="1768" y="587"/>
                  </a:cubicBezTo>
                  <a:cubicBezTo>
                    <a:pt x="1745" y="587"/>
                    <a:pt x="1731" y="564"/>
                    <a:pt x="1723" y="550"/>
                  </a:cubicBezTo>
                  <a:cubicBezTo>
                    <a:pt x="1716" y="542"/>
                    <a:pt x="1716" y="535"/>
                    <a:pt x="1708" y="520"/>
                  </a:cubicBezTo>
                  <a:cubicBezTo>
                    <a:pt x="1701" y="513"/>
                    <a:pt x="1686" y="505"/>
                    <a:pt x="1671" y="505"/>
                  </a:cubicBezTo>
                  <a:cubicBezTo>
                    <a:pt x="1656" y="498"/>
                    <a:pt x="1634" y="505"/>
                    <a:pt x="1612" y="498"/>
                  </a:cubicBezTo>
                  <a:cubicBezTo>
                    <a:pt x="1597" y="490"/>
                    <a:pt x="1537" y="431"/>
                    <a:pt x="1545" y="401"/>
                  </a:cubicBezTo>
                  <a:cubicBezTo>
                    <a:pt x="1515" y="394"/>
                    <a:pt x="1500" y="371"/>
                    <a:pt x="1463" y="379"/>
                  </a:cubicBezTo>
                  <a:cubicBezTo>
                    <a:pt x="1441" y="379"/>
                    <a:pt x="1419" y="401"/>
                    <a:pt x="1396" y="409"/>
                  </a:cubicBezTo>
                  <a:cubicBezTo>
                    <a:pt x="1396" y="409"/>
                    <a:pt x="1396" y="409"/>
                    <a:pt x="1396" y="416"/>
                  </a:cubicBezTo>
                  <a:cubicBezTo>
                    <a:pt x="1329" y="431"/>
                    <a:pt x="1315" y="357"/>
                    <a:pt x="1285" y="319"/>
                  </a:cubicBezTo>
                  <a:cubicBezTo>
                    <a:pt x="1263" y="305"/>
                    <a:pt x="1233" y="305"/>
                    <a:pt x="1218" y="282"/>
                  </a:cubicBezTo>
                  <a:cubicBezTo>
                    <a:pt x="1203" y="260"/>
                    <a:pt x="1218" y="238"/>
                    <a:pt x="1196" y="223"/>
                  </a:cubicBezTo>
                  <a:cubicBezTo>
                    <a:pt x="1144" y="208"/>
                    <a:pt x="1174" y="156"/>
                    <a:pt x="1159" y="104"/>
                  </a:cubicBezTo>
                  <a:cubicBezTo>
                    <a:pt x="1144" y="112"/>
                    <a:pt x="1122" y="97"/>
                    <a:pt x="1107" y="104"/>
                  </a:cubicBezTo>
                  <a:cubicBezTo>
                    <a:pt x="1136" y="97"/>
                    <a:pt x="1062" y="8"/>
                    <a:pt x="1040" y="0"/>
                  </a:cubicBezTo>
                  <a:cubicBezTo>
                    <a:pt x="1040" y="15"/>
                    <a:pt x="1047" y="37"/>
                    <a:pt x="1040" y="52"/>
                  </a:cubicBezTo>
                  <a:cubicBezTo>
                    <a:pt x="1025" y="59"/>
                    <a:pt x="1010" y="52"/>
                    <a:pt x="1003" y="59"/>
                  </a:cubicBezTo>
                  <a:cubicBezTo>
                    <a:pt x="973" y="74"/>
                    <a:pt x="995" y="97"/>
                    <a:pt x="981" y="119"/>
                  </a:cubicBezTo>
                  <a:cubicBezTo>
                    <a:pt x="973" y="141"/>
                    <a:pt x="951" y="141"/>
                    <a:pt x="936" y="141"/>
                  </a:cubicBezTo>
                  <a:cubicBezTo>
                    <a:pt x="943" y="186"/>
                    <a:pt x="951" y="230"/>
                    <a:pt x="958" y="245"/>
                  </a:cubicBezTo>
                  <a:cubicBezTo>
                    <a:pt x="973" y="267"/>
                    <a:pt x="988" y="290"/>
                    <a:pt x="995" y="312"/>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3" name="Freeform 10">
              <a:extLst>
                <a:ext uri="{FF2B5EF4-FFF2-40B4-BE49-F238E27FC236}">
                  <a16:creationId xmlns:a16="http://schemas.microsoft.com/office/drawing/2014/main" id="{29F6B7B9-BE9B-1F4B-9F99-D0AF344364AD}"/>
                </a:ext>
              </a:extLst>
            </p:cNvPr>
            <p:cNvSpPr>
              <a:spLocks noChangeArrowheads="1"/>
            </p:cNvSpPr>
            <p:nvPr/>
          </p:nvSpPr>
          <p:spPr bwMode="auto">
            <a:xfrm>
              <a:off x="10728493" y="5131678"/>
              <a:ext cx="2148475" cy="2118469"/>
            </a:xfrm>
            <a:custGeom>
              <a:avLst/>
              <a:gdLst>
                <a:gd name="T0" fmla="*/ 1708 w 4968"/>
                <a:gd name="T1" fmla="*/ 1174 h 4903"/>
                <a:gd name="T2" fmla="*/ 1136 w 4968"/>
                <a:gd name="T3" fmla="*/ 847 h 4903"/>
                <a:gd name="T4" fmla="*/ 817 w 4968"/>
                <a:gd name="T5" fmla="*/ 468 h 4903"/>
                <a:gd name="T6" fmla="*/ 460 w 4968"/>
                <a:gd name="T7" fmla="*/ 387 h 4903"/>
                <a:gd name="T8" fmla="*/ 386 w 4968"/>
                <a:gd name="T9" fmla="*/ 30 h 4903"/>
                <a:gd name="T10" fmla="*/ 59 w 4968"/>
                <a:gd name="T11" fmla="*/ 528 h 4903"/>
                <a:gd name="T12" fmla="*/ 81 w 4968"/>
                <a:gd name="T13" fmla="*/ 1129 h 4903"/>
                <a:gd name="T14" fmla="*/ 104 w 4968"/>
                <a:gd name="T15" fmla="*/ 1174 h 4903"/>
                <a:gd name="T16" fmla="*/ 133 w 4968"/>
                <a:gd name="T17" fmla="*/ 1270 h 4903"/>
                <a:gd name="T18" fmla="*/ 260 w 4968"/>
                <a:gd name="T19" fmla="*/ 1582 h 4903"/>
                <a:gd name="T20" fmla="*/ 289 w 4968"/>
                <a:gd name="T21" fmla="*/ 1805 h 4903"/>
                <a:gd name="T22" fmla="*/ 341 w 4968"/>
                <a:gd name="T23" fmla="*/ 2236 h 4903"/>
                <a:gd name="T24" fmla="*/ 341 w 4968"/>
                <a:gd name="T25" fmla="*/ 2518 h 4903"/>
                <a:gd name="T26" fmla="*/ 482 w 4968"/>
                <a:gd name="T27" fmla="*/ 2563 h 4903"/>
                <a:gd name="T28" fmla="*/ 742 w 4968"/>
                <a:gd name="T29" fmla="*/ 2563 h 4903"/>
                <a:gd name="T30" fmla="*/ 935 w 4968"/>
                <a:gd name="T31" fmla="*/ 2644 h 4903"/>
                <a:gd name="T32" fmla="*/ 1284 w 4968"/>
                <a:gd name="T33" fmla="*/ 2889 h 4903"/>
                <a:gd name="T34" fmla="*/ 1069 w 4968"/>
                <a:gd name="T35" fmla="*/ 3402 h 4903"/>
                <a:gd name="T36" fmla="*/ 817 w 4968"/>
                <a:gd name="T37" fmla="*/ 3610 h 4903"/>
                <a:gd name="T38" fmla="*/ 705 w 4968"/>
                <a:gd name="T39" fmla="*/ 3988 h 4903"/>
                <a:gd name="T40" fmla="*/ 831 w 4968"/>
                <a:gd name="T41" fmla="*/ 4389 h 4903"/>
                <a:gd name="T42" fmla="*/ 1180 w 4968"/>
                <a:gd name="T43" fmla="*/ 4412 h 4903"/>
                <a:gd name="T44" fmla="*/ 1039 w 4968"/>
                <a:gd name="T45" fmla="*/ 4070 h 4903"/>
                <a:gd name="T46" fmla="*/ 980 w 4968"/>
                <a:gd name="T47" fmla="*/ 3691 h 4903"/>
                <a:gd name="T48" fmla="*/ 1173 w 4968"/>
                <a:gd name="T49" fmla="*/ 3691 h 4903"/>
                <a:gd name="T50" fmla="*/ 1136 w 4968"/>
                <a:gd name="T51" fmla="*/ 3825 h 4903"/>
                <a:gd name="T52" fmla="*/ 1396 w 4968"/>
                <a:gd name="T53" fmla="*/ 3862 h 4903"/>
                <a:gd name="T54" fmla="*/ 1485 w 4968"/>
                <a:gd name="T55" fmla="*/ 3884 h 4903"/>
                <a:gd name="T56" fmla="*/ 1975 w 4968"/>
                <a:gd name="T57" fmla="*/ 3736 h 4903"/>
                <a:gd name="T58" fmla="*/ 2101 w 4968"/>
                <a:gd name="T59" fmla="*/ 3951 h 4903"/>
                <a:gd name="T60" fmla="*/ 2198 w 4968"/>
                <a:gd name="T61" fmla="*/ 3929 h 4903"/>
                <a:gd name="T62" fmla="*/ 2346 w 4968"/>
                <a:gd name="T63" fmla="*/ 3914 h 4903"/>
                <a:gd name="T64" fmla="*/ 2435 w 4968"/>
                <a:gd name="T65" fmla="*/ 3973 h 4903"/>
                <a:gd name="T66" fmla="*/ 2740 w 4968"/>
                <a:gd name="T67" fmla="*/ 3936 h 4903"/>
                <a:gd name="T68" fmla="*/ 2948 w 4968"/>
                <a:gd name="T69" fmla="*/ 3981 h 4903"/>
                <a:gd name="T70" fmla="*/ 3364 w 4968"/>
                <a:gd name="T71" fmla="*/ 4196 h 4903"/>
                <a:gd name="T72" fmla="*/ 3637 w 4968"/>
                <a:gd name="T73" fmla="*/ 4263 h 4903"/>
                <a:gd name="T74" fmla="*/ 3697 w 4968"/>
                <a:gd name="T75" fmla="*/ 4441 h 4903"/>
                <a:gd name="T76" fmla="*/ 3704 w 4968"/>
                <a:gd name="T77" fmla="*/ 4746 h 4903"/>
                <a:gd name="T78" fmla="*/ 4001 w 4968"/>
                <a:gd name="T79" fmla="*/ 4887 h 4903"/>
                <a:gd name="T80" fmla="*/ 4113 w 4968"/>
                <a:gd name="T81" fmla="*/ 4701 h 4903"/>
                <a:gd name="T82" fmla="*/ 4105 w 4968"/>
                <a:gd name="T83" fmla="*/ 4412 h 4903"/>
                <a:gd name="T84" fmla="*/ 4105 w 4968"/>
                <a:gd name="T85" fmla="*/ 3936 h 4903"/>
                <a:gd name="T86" fmla="*/ 4595 w 4968"/>
                <a:gd name="T87" fmla="*/ 3543 h 4903"/>
                <a:gd name="T88" fmla="*/ 4662 w 4968"/>
                <a:gd name="T89" fmla="*/ 3313 h 4903"/>
                <a:gd name="T90" fmla="*/ 4506 w 4968"/>
                <a:gd name="T91" fmla="*/ 2986 h 4903"/>
                <a:gd name="T92" fmla="*/ 4714 w 4968"/>
                <a:gd name="T93" fmla="*/ 2785 h 4903"/>
                <a:gd name="T94" fmla="*/ 4417 w 4968"/>
                <a:gd name="T95" fmla="*/ 2258 h 4903"/>
                <a:gd name="T96" fmla="*/ 3994 w 4968"/>
                <a:gd name="T97" fmla="*/ 2184 h 4903"/>
                <a:gd name="T98" fmla="*/ 3475 w 4968"/>
                <a:gd name="T99" fmla="*/ 1961 h 4903"/>
                <a:gd name="T100" fmla="*/ 2985 w 4968"/>
                <a:gd name="T101" fmla="*/ 1783 h 4903"/>
                <a:gd name="T102" fmla="*/ 2718 w 4968"/>
                <a:gd name="T103" fmla="*/ 1501 h 4903"/>
                <a:gd name="T104" fmla="*/ 2369 w 4968"/>
                <a:gd name="T105" fmla="*/ 1307 h 4903"/>
                <a:gd name="T106" fmla="*/ 2094 w 4968"/>
                <a:gd name="T107" fmla="*/ 1189 h 4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68" h="4903">
                  <a:moveTo>
                    <a:pt x="1945" y="1293"/>
                  </a:moveTo>
                  <a:lnTo>
                    <a:pt x="1945" y="1293"/>
                  </a:lnTo>
                  <a:cubicBezTo>
                    <a:pt x="1945" y="1233"/>
                    <a:pt x="1893" y="1270"/>
                    <a:pt x="1893" y="1233"/>
                  </a:cubicBezTo>
                  <a:cubicBezTo>
                    <a:pt x="1878" y="1233"/>
                    <a:pt x="1871" y="1233"/>
                    <a:pt x="1856" y="1233"/>
                  </a:cubicBezTo>
                  <a:cubicBezTo>
                    <a:pt x="1856" y="1218"/>
                    <a:pt x="1856" y="1196"/>
                    <a:pt x="1856" y="1174"/>
                  </a:cubicBezTo>
                  <a:cubicBezTo>
                    <a:pt x="1804" y="1159"/>
                    <a:pt x="1760" y="1189"/>
                    <a:pt x="1708" y="1174"/>
                  </a:cubicBezTo>
                  <a:cubicBezTo>
                    <a:pt x="1663" y="1167"/>
                    <a:pt x="1626" y="1174"/>
                    <a:pt x="1582" y="1167"/>
                  </a:cubicBezTo>
                  <a:cubicBezTo>
                    <a:pt x="1582" y="1122"/>
                    <a:pt x="1567" y="1115"/>
                    <a:pt x="1522" y="1107"/>
                  </a:cubicBezTo>
                  <a:cubicBezTo>
                    <a:pt x="1477" y="1092"/>
                    <a:pt x="1440" y="1048"/>
                    <a:pt x="1388" y="1048"/>
                  </a:cubicBezTo>
                  <a:cubicBezTo>
                    <a:pt x="1388" y="996"/>
                    <a:pt x="1396" y="959"/>
                    <a:pt x="1329" y="959"/>
                  </a:cubicBezTo>
                  <a:cubicBezTo>
                    <a:pt x="1284" y="959"/>
                    <a:pt x="1225" y="988"/>
                    <a:pt x="1225" y="921"/>
                  </a:cubicBezTo>
                  <a:cubicBezTo>
                    <a:pt x="1180" y="914"/>
                    <a:pt x="1180" y="862"/>
                    <a:pt x="1136" y="847"/>
                  </a:cubicBezTo>
                  <a:cubicBezTo>
                    <a:pt x="1136" y="832"/>
                    <a:pt x="1143" y="810"/>
                    <a:pt x="1151" y="795"/>
                  </a:cubicBezTo>
                  <a:cubicBezTo>
                    <a:pt x="1173" y="795"/>
                    <a:pt x="1247" y="795"/>
                    <a:pt x="1247" y="765"/>
                  </a:cubicBezTo>
                  <a:cubicBezTo>
                    <a:pt x="1240" y="743"/>
                    <a:pt x="1166" y="713"/>
                    <a:pt x="1151" y="699"/>
                  </a:cubicBezTo>
                  <a:cubicBezTo>
                    <a:pt x="1099" y="654"/>
                    <a:pt x="1039" y="624"/>
                    <a:pt x="1002" y="580"/>
                  </a:cubicBezTo>
                  <a:cubicBezTo>
                    <a:pt x="972" y="535"/>
                    <a:pt x="965" y="491"/>
                    <a:pt x="920" y="461"/>
                  </a:cubicBezTo>
                  <a:cubicBezTo>
                    <a:pt x="883" y="431"/>
                    <a:pt x="861" y="476"/>
                    <a:pt x="817" y="468"/>
                  </a:cubicBezTo>
                  <a:cubicBezTo>
                    <a:pt x="780" y="468"/>
                    <a:pt x="787" y="513"/>
                    <a:pt x="750" y="528"/>
                  </a:cubicBezTo>
                  <a:cubicBezTo>
                    <a:pt x="698" y="543"/>
                    <a:pt x="720" y="565"/>
                    <a:pt x="683" y="595"/>
                  </a:cubicBezTo>
                  <a:cubicBezTo>
                    <a:pt x="668" y="617"/>
                    <a:pt x="631" y="557"/>
                    <a:pt x="609" y="550"/>
                  </a:cubicBezTo>
                  <a:cubicBezTo>
                    <a:pt x="631" y="528"/>
                    <a:pt x="616" y="505"/>
                    <a:pt x="623" y="483"/>
                  </a:cubicBezTo>
                  <a:cubicBezTo>
                    <a:pt x="586" y="491"/>
                    <a:pt x="527" y="513"/>
                    <a:pt x="490" y="491"/>
                  </a:cubicBezTo>
                  <a:cubicBezTo>
                    <a:pt x="468" y="476"/>
                    <a:pt x="482" y="416"/>
                    <a:pt x="460" y="387"/>
                  </a:cubicBezTo>
                  <a:cubicBezTo>
                    <a:pt x="430" y="342"/>
                    <a:pt x="490" y="305"/>
                    <a:pt x="520" y="268"/>
                  </a:cubicBezTo>
                  <a:cubicBezTo>
                    <a:pt x="549" y="231"/>
                    <a:pt x="557" y="179"/>
                    <a:pt x="572" y="134"/>
                  </a:cubicBezTo>
                  <a:cubicBezTo>
                    <a:pt x="586" y="127"/>
                    <a:pt x="609" y="112"/>
                    <a:pt x="631" y="119"/>
                  </a:cubicBezTo>
                  <a:cubicBezTo>
                    <a:pt x="579" y="90"/>
                    <a:pt x="520" y="82"/>
                    <a:pt x="475" y="45"/>
                  </a:cubicBezTo>
                  <a:cubicBezTo>
                    <a:pt x="460" y="30"/>
                    <a:pt x="438" y="23"/>
                    <a:pt x="423" y="0"/>
                  </a:cubicBezTo>
                  <a:cubicBezTo>
                    <a:pt x="408" y="15"/>
                    <a:pt x="393" y="30"/>
                    <a:pt x="386" y="30"/>
                  </a:cubicBezTo>
                  <a:cubicBezTo>
                    <a:pt x="356" y="105"/>
                    <a:pt x="267" y="149"/>
                    <a:pt x="260" y="231"/>
                  </a:cubicBezTo>
                  <a:cubicBezTo>
                    <a:pt x="237" y="231"/>
                    <a:pt x="208" y="223"/>
                    <a:pt x="200" y="253"/>
                  </a:cubicBezTo>
                  <a:cubicBezTo>
                    <a:pt x="200" y="275"/>
                    <a:pt x="185" y="275"/>
                    <a:pt x="178" y="298"/>
                  </a:cubicBezTo>
                  <a:cubicBezTo>
                    <a:pt x="118" y="298"/>
                    <a:pt x="126" y="357"/>
                    <a:pt x="126" y="394"/>
                  </a:cubicBezTo>
                  <a:cubicBezTo>
                    <a:pt x="126" y="424"/>
                    <a:pt x="111" y="439"/>
                    <a:pt x="96" y="454"/>
                  </a:cubicBezTo>
                  <a:cubicBezTo>
                    <a:pt x="74" y="476"/>
                    <a:pt x="74" y="505"/>
                    <a:pt x="59" y="528"/>
                  </a:cubicBezTo>
                  <a:lnTo>
                    <a:pt x="52" y="528"/>
                  </a:lnTo>
                  <a:cubicBezTo>
                    <a:pt x="22" y="602"/>
                    <a:pt x="0" y="706"/>
                    <a:pt x="22" y="780"/>
                  </a:cubicBezTo>
                  <a:cubicBezTo>
                    <a:pt x="44" y="855"/>
                    <a:pt x="44" y="1010"/>
                    <a:pt x="44" y="1107"/>
                  </a:cubicBezTo>
                  <a:cubicBezTo>
                    <a:pt x="44" y="1115"/>
                    <a:pt x="52" y="1115"/>
                    <a:pt x="52" y="1115"/>
                  </a:cubicBezTo>
                  <a:cubicBezTo>
                    <a:pt x="59" y="1115"/>
                    <a:pt x="59" y="1107"/>
                    <a:pt x="66" y="1107"/>
                  </a:cubicBezTo>
                  <a:cubicBezTo>
                    <a:pt x="74" y="1107"/>
                    <a:pt x="81" y="1129"/>
                    <a:pt x="81" y="1129"/>
                  </a:cubicBezTo>
                  <a:cubicBezTo>
                    <a:pt x="89" y="1144"/>
                    <a:pt x="74" y="1129"/>
                    <a:pt x="74" y="1137"/>
                  </a:cubicBezTo>
                  <a:cubicBezTo>
                    <a:pt x="66" y="1144"/>
                    <a:pt x="81" y="1152"/>
                    <a:pt x="81" y="1152"/>
                  </a:cubicBezTo>
                  <a:lnTo>
                    <a:pt x="89" y="1152"/>
                  </a:lnTo>
                  <a:cubicBezTo>
                    <a:pt x="89" y="1159"/>
                    <a:pt x="89" y="1159"/>
                    <a:pt x="89" y="1159"/>
                  </a:cubicBezTo>
                  <a:cubicBezTo>
                    <a:pt x="89" y="1159"/>
                    <a:pt x="89" y="1167"/>
                    <a:pt x="96" y="1174"/>
                  </a:cubicBezTo>
                  <a:cubicBezTo>
                    <a:pt x="96" y="1174"/>
                    <a:pt x="96" y="1174"/>
                    <a:pt x="104" y="1174"/>
                  </a:cubicBezTo>
                  <a:cubicBezTo>
                    <a:pt x="104" y="1181"/>
                    <a:pt x="104" y="1181"/>
                    <a:pt x="104" y="1181"/>
                  </a:cubicBezTo>
                  <a:cubicBezTo>
                    <a:pt x="111" y="1189"/>
                    <a:pt x="111" y="1189"/>
                    <a:pt x="118" y="1196"/>
                  </a:cubicBezTo>
                  <a:cubicBezTo>
                    <a:pt x="118" y="1211"/>
                    <a:pt x="126" y="1196"/>
                    <a:pt x="133" y="1196"/>
                  </a:cubicBezTo>
                  <a:cubicBezTo>
                    <a:pt x="141" y="1204"/>
                    <a:pt x="141" y="1218"/>
                    <a:pt x="133" y="1218"/>
                  </a:cubicBezTo>
                  <a:cubicBezTo>
                    <a:pt x="133" y="1226"/>
                    <a:pt x="133" y="1233"/>
                    <a:pt x="133" y="1241"/>
                  </a:cubicBezTo>
                  <a:cubicBezTo>
                    <a:pt x="141" y="1256"/>
                    <a:pt x="156" y="1263"/>
                    <a:pt x="133" y="1270"/>
                  </a:cubicBezTo>
                  <a:cubicBezTo>
                    <a:pt x="118" y="1278"/>
                    <a:pt x="118" y="1293"/>
                    <a:pt x="133" y="1300"/>
                  </a:cubicBezTo>
                  <a:cubicBezTo>
                    <a:pt x="141" y="1307"/>
                    <a:pt x="148" y="1322"/>
                    <a:pt x="133" y="1337"/>
                  </a:cubicBezTo>
                  <a:cubicBezTo>
                    <a:pt x="141" y="1345"/>
                    <a:pt x="148" y="1359"/>
                    <a:pt x="148" y="1359"/>
                  </a:cubicBezTo>
                  <a:cubicBezTo>
                    <a:pt x="156" y="1404"/>
                    <a:pt x="156" y="1426"/>
                    <a:pt x="185" y="1464"/>
                  </a:cubicBezTo>
                  <a:cubicBezTo>
                    <a:pt x="215" y="1493"/>
                    <a:pt x="237" y="1530"/>
                    <a:pt x="252" y="1575"/>
                  </a:cubicBezTo>
                  <a:cubicBezTo>
                    <a:pt x="252" y="1575"/>
                    <a:pt x="252" y="1582"/>
                    <a:pt x="260" y="1582"/>
                  </a:cubicBezTo>
                  <a:lnTo>
                    <a:pt x="260" y="1590"/>
                  </a:lnTo>
                  <a:cubicBezTo>
                    <a:pt x="282" y="1634"/>
                    <a:pt x="282" y="1672"/>
                    <a:pt x="282" y="1716"/>
                  </a:cubicBezTo>
                  <a:lnTo>
                    <a:pt x="282" y="1723"/>
                  </a:lnTo>
                  <a:cubicBezTo>
                    <a:pt x="282" y="1738"/>
                    <a:pt x="282" y="1753"/>
                    <a:pt x="289" y="1761"/>
                  </a:cubicBezTo>
                  <a:cubicBezTo>
                    <a:pt x="289" y="1768"/>
                    <a:pt x="289" y="1768"/>
                    <a:pt x="297" y="1775"/>
                  </a:cubicBezTo>
                  <a:cubicBezTo>
                    <a:pt x="297" y="1783"/>
                    <a:pt x="289" y="1798"/>
                    <a:pt x="289" y="1805"/>
                  </a:cubicBezTo>
                  <a:cubicBezTo>
                    <a:pt x="267" y="1820"/>
                    <a:pt x="230" y="1805"/>
                    <a:pt x="208" y="1812"/>
                  </a:cubicBezTo>
                  <a:lnTo>
                    <a:pt x="208" y="1812"/>
                  </a:lnTo>
                  <a:cubicBezTo>
                    <a:pt x="208" y="1835"/>
                    <a:pt x="200" y="1857"/>
                    <a:pt x="178" y="1879"/>
                  </a:cubicBezTo>
                  <a:cubicBezTo>
                    <a:pt x="111" y="1946"/>
                    <a:pt x="208" y="2080"/>
                    <a:pt x="208" y="2154"/>
                  </a:cubicBezTo>
                  <a:cubicBezTo>
                    <a:pt x="208" y="2206"/>
                    <a:pt x="260" y="2199"/>
                    <a:pt x="297" y="2214"/>
                  </a:cubicBezTo>
                  <a:cubicBezTo>
                    <a:pt x="312" y="2221"/>
                    <a:pt x="334" y="2221"/>
                    <a:pt x="341" y="2236"/>
                  </a:cubicBezTo>
                  <a:cubicBezTo>
                    <a:pt x="364" y="2258"/>
                    <a:pt x="312" y="2258"/>
                    <a:pt x="312" y="2266"/>
                  </a:cubicBezTo>
                  <a:cubicBezTo>
                    <a:pt x="304" y="2310"/>
                    <a:pt x="386" y="2266"/>
                    <a:pt x="364" y="2332"/>
                  </a:cubicBezTo>
                  <a:cubicBezTo>
                    <a:pt x="349" y="2340"/>
                    <a:pt x="341" y="2355"/>
                    <a:pt x="349" y="2377"/>
                  </a:cubicBezTo>
                  <a:cubicBezTo>
                    <a:pt x="297" y="2362"/>
                    <a:pt x="297" y="2399"/>
                    <a:pt x="297" y="2436"/>
                  </a:cubicBezTo>
                  <a:cubicBezTo>
                    <a:pt x="341" y="2444"/>
                    <a:pt x="415" y="2436"/>
                    <a:pt x="423" y="2488"/>
                  </a:cubicBezTo>
                  <a:cubicBezTo>
                    <a:pt x="393" y="2488"/>
                    <a:pt x="341" y="2481"/>
                    <a:pt x="341" y="2518"/>
                  </a:cubicBezTo>
                  <a:cubicBezTo>
                    <a:pt x="312" y="2525"/>
                    <a:pt x="282" y="2518"/>
                    <a:pt x="260" y="2518"/>
                  </a:cubicBezTo>
                  <a:cubicBezTo>
                    <a:pt x="252" y="2525"/>
                    <a:pt x="252" y="2525"/>
                    <a:pt x="252" y="2533"/>
                  </a:cubicBezTo>
                  <a:cubicBezTo>
                    <a:pt x="185" y="2533"/>
                    <a:pt x="156" y="2652"/>
                    <a:pt x="215" y="2652"/>
                  </a:cubicBezTo>
                  <a:cubicBezTo>
                    <a:pt x="208" y="2555"/>
                    <a:pt x="319" y="2592"/>
                    <a:pt x="386" y="2592"/>
                  </a:cubicBezTo>
                  <a:cubicBezTo>
                    <a:pt x="386" y="2570"/>
                    <a:pt x="393" y="2555"/>
                    <a:pt x="393" y="2540"/>
                  </a:cubicBezTo>
                  <a:cubicBezTo>
                    <a:pt x="430" y="2533"/>
                    <a:pt x="453" y="2533"/>
                    <a:pt x="482" y="2563"/>
                  </a:cubicBezTo>
                  <a:cubicBezTo>
                    <a:pt x="505" y="2592"/>
                    <a:pt x="549" y="2533"/>
                    <a:pt x="579" y="2540"/>
                  </a:cubicBezTo>
                  <a:cubicBezTo>
                    <a:pt x="586" y="2570"/>
                    <a:pt x="586" y="2600"/>
                    <a:pt x="623" y="2592"/>
                  </a:cubicBezTo>
                  <a:cubicBezTo>
                    <a:pt x="623" y="2577"/>
                    <a:pt x="631" y="2555"/>
                    <a:pt x="638" y="2540"/>
                  </a:cubicBezTo>
                  <a:cubicBezTo>
                    <a:pt x="646" y="2540"/>
                    <a:pt x="653" y="2533"/>
                    <a:pt x="661" y="2533"/>
                  </a:cubicBezTo>
                  <a:cubicBezTo>
                    <a:pt x="661" y="2518"/>
                    <a:pt x="668" y="2511"/>
                    <a:pt x="690" y="2503"/>
                  </a:cubicBezTo>
                  <a:cubicBezTo>
                    <a:pt x="698" y="2533"/>
                    <a:pt x="713" y="2563"/>
                    <a:pt x="742" y="2563"/>
                  </a:cubicBezTo>
                  <a:cubicBezTo>
                    <a:pt x="727" y="2570"/>
                    <a:pt x="720" y="2592"/>
                    <a:pt x="727" y="2607"/>
                  </a:cubicBezTo>
                  <a:cubicBezTo>
                    <a:pt x="750" y="2592"/>
                    <a:pt x="765" y="2577"/>
                    <a:pt x="780" y="2577"/>
                  </a:cubicBezTo>
                  <a:cubicBezTo>
                    <a:pt x="765" y="2577"/>
                    <a:pt x="750" y="2592"/>
                    <a:pt x="727" y="2607"/>
                  </a:cubicBezTo>
                  <a:cubicBezTo>
                    <a:pt x="735" y="2614"/>
                    <a:pt x="742" y="2614"/>
                    <a:pt x="750" y="2614"/>
                  </a:cubicBezTo>
                  <a:cubicBezTo>
                    <a:pt x="780" y="2622"/>
                    <a:pt x="809" y="2607"/>
                    <a:pt x="839" y="2614"/>
                  </a:cubicBezTo>
                  <a:cubicBezTo>
                    <a:pt x="876" y="2614"/>
                    <a:pt x="906" y="2637"/>
                    <a:pt x="935" y="2644"/>
                  </a:cubicBezTo>
                  <a:cubicBezTo>
                    <a:pt x="972" y="2644"/>
                    <a:pt x="1010" y="2644"/>
                    <a:pt x="1039" y="2644"/>
                  </a:cubicBezTo>
                  <a:cubicBezTo>
                    <a:pt x="1039" y="2637"/>
                    <a:pt x="1047" y="2629"/>
                    <a:pt x="1047" y="2622"/>
                  </a:cubicBezTo>
                  <a:cubicBezTo>
                    <a:pt x="1099" y="2622"/>
                    <a:pt x="1114" y="2644"/>
                    <a:pt x="1151" y="2674"/>
                  </a:cubicBezTo>
                  <a:cubicBezTo>
                    <a:pt x="1151" y="2704"/>
                    <a:pt x="1180" y="2711"/>
                    <a:pt x="1203" y="2711"/>
                  </a:cubicBezTo>
                  <a:cubicBezTo>
                    <a:pt x="1240" y="2726"/>
                    <a:pt x="1240" y="2741"/>
                    <a:pt x="1240" y="2778"/>
                  </a:cubicBezTo>
                  <a:cubicBezTo>
                    <a:pt x="1232" y="2822"/>
                    <a:pt x="1270" y="2845"/>
                    <a:pt x="1284" y="2889"/>
                  </a:cubicBezTo>
                  <a:cubicBezTo>
                    <a:pt x="1299" y="2934"/>
                    <a:pt x="1277" y="2986"/>
                    <a:pt x="1284" y="3030"/>
                  </a:cubicBezTo>
                  <a:cubicBezTo>
                    <a:pt x="1225" y="3030"/>
                    <a:pt x="1255" y="3082"/>
                    <a:pt x="1217" y="3090"/>
                  </a:cubicBezTo>
                  <a:cubicBezTo>
                    <a:pt x="1210" y="3105"/>
                    <a:pt x="1210" y="3134"/>
                    <a:pt x="1210" y="3149"/>
                  </a:cubicBezTo>
                  <a:cubicBezTo>
                    <a:pt x="1173" y="3171"/>
                    <a:pt x="1180" y="3238"/>
                    <a:pt x="1143" y="3261"/>
                  </a:cubicBezTo>
                  <a:cubicBezTo>
                    <a:pt x="1136" y="3290"/>
                    <a:pt x="1106" y="3320"/>
                    <a:pt x="1106" y="3357"/>
                  </a:cubicBezTo>
                  <a:cubicBezTo>
                    <a:pt x="1069" y="3320"/>
                    <a:pt x="1069" y="3379"/>
                    <a:pt x="1069" y="3402"/>
                  </a:cubicBezTo>
                  <a:lnTo>
                    <a:pt x="1062" y="3402"/>
                  </a:lnTo>
                  <a:cubicBezTo>
                    <a:pt x="1062" y="3431"/>
                    <a:pt x="1106" y="3454"/>
                    <a:pt x="1084" y="3483"/>
                  </a:cubicBezTo>
                  <a:cubicBezTo>
                    <a:pt x="1069" y="3498"/>
                    <a:pt x="1054" y="3498"/>
                    <a:pt x="1032" y="3498"/>
                  </a:cubicBezTo>
                  <a:cubicBezTo>
                    <a:pt x="1010" y="3491"/>
                    <a:pt x="1002" y="3513"/>
                    <a:pt x="980" y="3521"/>
                  </a:cubicBezTo>
                  <a:cubicBezTo>
                    <a:pt x="943" y="3543"/>
                    <a:pt x="891" y="3521"/>
                    <a:pt x="854" y="3528"/>
                  </a:cubicBezTo>
                  <a:cubicBezTo>
                    <a:pt x="802" y="3528"/>
                    <a:pt x="817" y="3580"/>
                    <a:pt x="817" y="3610"/>
                  </a:cubicBezTo>
                  <a:cubicBezTo>
                    <a:pt x="794" y="3617"/>
                    <a:pt x="765" y="3595"/>
                    <a:pt x="750" y="3624"/>
                  </a:cubicBezTo>
                  <a:cubicBezTo>
                    <a:pt x="742" y="3639"/>
                    <a:pt x="750" y="3662"/>
                    <a:pt x="750" y="3684"/>
                  </a:cubicBezTo>
                  <a:cubicBezTo>
                    <a:pt x="750" y="3713"/>
                    <a:pt x="742" y="3780"/>
                    <a:pt x="787" y="3780"/>
                  </a:cubicBezTo>
                  <a:cubicBezTo>
                    <a:pt x="794" y="3803"/>
                    <a:pt x="809" y="3818"/>
                    <a:pt x="809" y="3840"/>
                  </a:cubicBezTo>
                  <a:cubicBezTo>
                    <a:pt x="765" y="3832"/>
                    <a:pt x="780" y="3884"/>
                    <a:pt x="742" y="3877"/>
                  </a:cubicBezTo>
                  <a:cubicBezTo>
                    <a:pt x="735" y="3921"/>
                    <a:pt x="742" y="3959"/>
                    <a:pt x="705" y="3988"/>
                  </a:cubicBezTo>
                  <a:cubicBezTo>
                    <a:pt x="683" y="4003"/>
                    <a:pt x="653" y="4033"/>
                    <a:pt x="623" y="4025"/>
                  </a:cubicBezTo>
                  <a:cubicBezTo>
                    <a:pt x="623" y="4070"/>
                    <a:pt x="750" y="4256"/>
                    <a:pt x="661" y="4278"/>
                  </a:cubicBezTo>
                  <a:cubicBezTo>
                    <a:pt x="653" y="4323"/>
                    <a:pt x="675" y="4323"/>
                    <a:pt x="713" y="4330"/>
                  </a:cubicBezTo>
                  <a:cubicBezTo>
                    <a:pt x="772" y="4345"/>
                    <a:pt x="735" y="4426"/>
                    <a:pt x="735" y="4471"/>
                  </a:cubicBezTo>
                  <a:cubicBezTo>
                    <a:pt x="757" y="4471"/>
                    <a:pt x="772" y="4478"/>
                    <a:pt x="787" y="4478"/>
                  </a:cubicBezTo>
                  <a:cubicBezTo>
                    <a:pt x="794" y="4441"/>
                    <a:pt x="802" y="4412"/>
                    <a:pt x="831" y="4389"/>
                  </a:cubicBezTo>
                  <a:cubicBezTo>
                    <a:pt x="839" y="4434"/>
                    <a:pt x="883" y="4412"/>
                    <a:pt x="906" y="4434"/>
                  </a:cubicBezTo>
                  <a:cubicBezTo>
                    <a:pt x="943" y="4456"/>
                    <a:pt x="920" y="4530"/>
                    <a:pt x="972" y="4538"/>
                  </a:cubicBezTo>
                  <a:cubicBezTo>
                    <a:pt x="972" y="4530"/>
                    <a:pt x="980" y="4515"/>
                    <a:pt x="980" y="4508"/>
                  </a:cubicBezTo>
                  <a:cubicBezTo>
                    <a:pt x="1002" y="4501"/>
                    <a:pt x="1047" y="4508"/>
                    <a:pt x="1047" y="4545"/>
                  </a:cubicBezTo>
                  <a:cubicBezTo>
                    <a:pt x="1084" y="4530"/>
                    <a:pt x="1106" y="4493"/>
                    <a:pt x="1151" y="4486"/>
                  </a:cubicBezTo>
                  <a:cubicBezTo>
                    <a:pt x="1151" y="4456"/>
                    <a:pt x="1158" y="4419"/>
                    <a:pt x="1180" y="4412"/>
                  </a:cubicBezTo>
                  <a:cubicBezTo>
                    <a:pt x="1166" y="4382"/>
                    <a:pt x="1151" y="4360"/>
                    <a:pt x="1121" y="4352"/>
                  </a:cubicBezTo>
                  <a:cubicBezTo>
                    <a:pt x="1114" y="4330"/>
                    <a:pt x="1128" y="4323"/>
                    <a:pt x="1143" y="4323"/>
                  </a:cubicBezTo>
                  <a:cubicBezTo>
                    <a:pt x="1151" y="4308"/>
                    <a:pt x="1151" y="4285"/>
                    <a:pt x="1151" y="4270"/>
                  </a:cubicBezTo>
                  <a:cubicBezTo>
                    <a:pt x="1143" y="4256"/>
                    <a:pt x="1121" y="4248"/>
                    <a:pt x="1121" y="4226"/>
                  </a:cubicBezTo>
                  <a:cubicBezTo>
                    <a:pt x="1091" y="4218"/>
                    <a:pt x="1054" y="4248"/>
                    <a:pt x="1017" y="4241"/>
                  </a:cubicBezTo>
                  <a:cubicBezTo>
                    <a:pt x="1017" y="4189"/>
                    <a:pt x="1054" y="4122"/>
                    <a:pt x="1039" y="4070"/>
                  </a:cubicBezTo>
                  <a:cubicBezTo>
                    <a:pt x="1025" y="4025"/>
                    <a:pt x="987" y="4055"/>
                    <a:pt x="972" y="4018"/>
                  </a:cubicBezTo>
                  <a:cubicBezTo>
                    <a:pt x="958" y="3988"/>
                    <a:pt x="995" y="3855"/>
                    <a:pt x="935" y="3862"/>
                  </a:cubicBezTo>
                  <a:cubicBezTo>
                    <a:pt x="913" y="3825"/>
                    <a:pt x="943" y="3766"/>
                    <a:pt x="898" y="3743"/>
                  </a:cubicBezTo>
                  <a:cubicBezTo>
                    <a:pt x="883" y="3728"/>
                    <a:pt x="824" y="3743"/>
                    <a:pt x="831" y="3713"/>
                  </a:cubicBezTo>
                  <a:cubicBezTo>
                    <a:pt x="876" y="3713"/>
                    <a:pt x="891" y="3676"/>
                    <a:pt x="906" y="3647"/>
                  </a:cubicBezTo>
                  <a:cubicBezTo>
                    <a:pt x="958" y="3624"/>
                    <a:pt x="980" y="3632"/>
                    <a:pt x="980" y="3691"/>
                  </a:cubicBezTo>
                  <a:cubicBezTo>
                    <a:pt x="1032" y="3691"/>
                    <a:pt x="1039" y="3691"/>
                    <a:pt x="1047" y="3639"/>
                  </a:cubicBezTo>
                  <a:cubicBezTo>
                    <a:pt x="1054" y="3647"/>
                    <a:pt x="1069" y="3639"/>
                    <a:pt x="1077" y="3639"/>
                  </a:cubicBezTo>
                  <a:cubicBezTo>
                    <a:pt x="1084" y="3624"/>
                    <a:pt x="1077" y="3610"/>
                    <a:pt x="1084" y="3595"/>
                  </a:cubicBezTo>
                  <a:cubicBezTo>
                    <a:pt x="1114" y="3595"/>
                    <a:pt x="1128" y="3558"/>
                    <a:pt x="1166" y="3550"/>
                  </a:cubicBezTo>
                  <a:cubicBezTo>
                    <a:pt x="1180" y="3573"/>
                    <a:pt x="1158" y="3580"/>
                    <a:pt x="1151" y="3602"/>
                  </a:cubicBezTo>
                  <a:cubicBezTo>
                    <a:pt x="1136" y="3632"/>
                    <a:pt x="1173" y="3662"/>
                    <a:pt x="1173" y="3691"/>
                  </a:cubicBezTo>
                  <a:cubicBezTo>
                    <a:pt x="1128" y="3691"/>
                    <a:pt x="1084" y="3691"/>
                    <a:pt x="1091" y="3751"/>
                  </a:cubicBezTo>
                  <a:cubicBezTo>
                    <a:pt x="1099" y="3758"/>
                    <a:pt x="1114" y="3766"/>
                    <a:pt x="1121" y="3773"/>
                  </a:cubicBezTo>
                  <a:cubicBezTo>
                    <a:pt x="1121" y="3758"/>
                    <a:pt x="1128" y="3743"/>
                    <a:pt x="1128" y="3728"/>
                  </a:cubicBezTo>
                  <a:cubicBezTo>
                    <a:pt x="1136" y="3721"/>
                    <a:pt x="1151" y="3721"/>
                    <a:pt x="1166" y="3728"/>
                  </a:cubicBezTo>
                  <a:cubicBezTo>
                    <a:pt x="1166" y="3758"/>
                    <a:pt x="1166" y="3780"/>
                    <a:pt x="1136" y="3795"/>
                  </a:cubicBezTo>
                  <a:cubicBezTo>
                    <a:pt x="1128" y="3803"/>
                    <a:pt x="1128" y="3818"/>
                    <a:pt x="1136" y="3825"/>
                  </a:cubicBezTo>
                  <a:cubicBezTo>
                    <a:pt x="1151" y="3825"/>
                    <a:pt x="1166" y="3818"/>
                    <a:pt x="1166" y="3803"/>
                  </a:cubicBezTo>
                  <a:cubicBezTo>
                    <a:pt x="1180" y="3795"/>
                    <a:pt x="1210" y="3780"/>
                    <a:pt x="1225" y="3788"/>
                  </a:cubicBezTo>
                  <a:cubicBezTo>
                    <a:pt x="1240" y="3803"/>
                    <a:pt x="1210" y="3832"/>
                    <a:pt x="1240" y="3840"/>
                  </a:cubicBezTo>
                  <a:cubicBezTo>
                    <a:pt x="1240" y="3847"/>
                    <a:pt x="1247" y="3855"/>
                    <a:pt x="1247" y="3862"/>
                  </a:cubicBezTo>
                  <a:cubicBezTo>
                    <a:pt x="1270" y="3862"/>
                    <a:pt x="1284" y="3847"/>
                    <a:pt x="1314" y="3855"/>
                  </a:cubicBezTo>
                  <a:cubicBezTo>
                    <a:pt x="1344" y="3862"/>
                    <a:pt x="1359" y="3870"/>
                    <a:pt x="1396" y="3862"/>
                  </a:cubicBezTo>
                  <a:cubicBezTo>
                    <a:pt x="1396" y="3855"/>
                    <a:pt x="1396" y="3840"/>
                    <a:pt x="1396" y="3832"/>
                  </a:cubicBezTo>
                  <a:cubicBezTo>
                    <a:pt x="1433" y="3825"/>
                    <a:pt x="1388" y="3736"/>
                    <a:pt x="1381" y="3713"/>
                  </a:cubicBezTo>
                  <a:cubicBezTo>
                    <a:pt x="1411" y="3721"/>
                    <a:pt x="1418" y="3743"/>
                    <a:pt x="1448" y="3743"/>
                  </a:cubicBezTo>
                  <a:cubicBezTo>
                    <a:pt x="1448" y="3795"/>
                    <a:pt x="1477" y="3780"/>
                    <a:pt x="1522" y="3780"/>
                  </a:cubicBezTo>
                  <a:cubicBezTo>
                    <a:pt x="1529" y="3810"/>
                    <a:pt x="1374" y="3929"/>
                    <a:pt x="1477" y="3944"/>
                  </a:cubicBezTo>
                  <a:cubicBezTo>
                    <a:pt x="1477" y="3921"/>
                    <a:pt x="1455" y="3899"/>
                    <a:pt x="1485" y="3884"/>
                  </a:cubicBezTo>
                  <a:cubicBezTo>
                    <a:pt x="1507" y="3877"/>
                    <a:pt x="1537" y="3892"/>
                    <a:pt x="1559" y="3892"/>
                  </a:cubicBezTo>
                  <a:cubicBezTo>
                    <a:pt x="1552" y="3832"/>
                    <a:pt x="1596" y="3847"/>
                    <a:pt x="1611" y="3892"/>
                  </a:cubicBezTo>
                  <a:cubicBezTo>
                    <a:pt x="1656" y="3899"/>
                    <a:pt x="1722" y="3892"/>
                    <a:pt x="1774" y="3892"/>
                  </a:cubicBezTo>
                  <a:cubicBezTo>
                    <a:pt x="1774" y="3877"/>
                    <a:pt x="1767" y="3766"/>
                    <a:pt x="1812" y="3795"/>
                  </a:cubicBezTo>
                  <a:cubicBezTo>
                    <a:pt x="1841" y="3818"/>
                    <a:pt x="1923" y="3766"/>
                    <a:pt x="1901" y="3728"/>
                  </a:cubicBezTo>
                  <a:cubicBezTo>
                    <a:pt x="1923" y="3721"/>
                    <a:pt x="1953" y="3728"/>
                    <a:pt x="1975" y="3736"/>
                  </a:cubicBezTo>
                  <a:cubicBezTo>
                    <a:pt x="1975" y="3713"/>
                    <a:pt x="2042" y="3691"/>
                    <a:pt x="2064" y="3699"/>
                  </a:cubicBezTo>
                  <a:cubicBezTo>
                    <a:pt x="2064" y="3721"/>
                    <a:pt x="2064" y="3751"/>
                    <a:pt x="2086" y="3766"/>
                  </a:cubicBezTo>
                  <a:cubicBezTo>
                    <a:pt x="2109" y="3780"/>
                    <a:pt x="2131" y="3818"/>
                    <a:pt x="2153" y="3825"/>
                  </a:cubicBezTo>
                  <a:cubicBezTo>
                    <a:pt x="2168" y="3884"/>
                    <a:pt x="2086" y="3877"/>
                    <a:pt x="2094" y="3929"/>
                  </a:cubicBezTo>
                  <a:cubicBezTo>
                    <a:pt x="2101" y="3929"/>
                    <a:pt x="2109" y="3929"/>
                    <a:pt x="2109" y="3929"/>
                  </a:cubicBezTo>
                  <a:cubicBezTo>
                    <a:pt x="2109" y="3936"/>
                    <a:pt x="2101" y="3951"/>
                    <a:pt x="2101" y="3951"/>
                  </a:cubicBezTo>
                  <a:cubicBezTo>
                    <a:pt x="2086" y="3959"/>
                    <a:pt x="2094" y="3959"/>
                    <a:pt x="2079" y="3966"/>
                  </a:cubicBezTo>
                  <a:cubicBezTo>
                    <a:pt x="2064" y="3966"/>
                    <a:pt x="2057" y="3973"/>
                    <a:pt x="2049" y="3988"/>
                  </a:cubicBezTo>
                  <a:cubicBezTo>
                    <a:pt x="2072" y="3996"/>
                    <a:pt x="2086" y="3996"/>
                    <a:pt x="2109" y="3988"/>
                  </a:cubicBezTo>
                  <a:cubicBezTo>
                    <a:pt x="2101" y="3959"/>
                    <a:pt x="2131" y="3944"/>
                    <a:pt x="2153" y="3951"/>
                  </a:cubicBezTo>
                  <a:cubicBezTo>
                    <a:pt x="2183" y="3959"/>
                    <a:pt x="2168" y="3996"/>
                    <a:pt x="2168" y="4018"/>
                  </a:cubicBezTo>
                  <a:cubicBezTo>
                    <a:pt x="2220" y="4033"/>
                    <a:pt x="2213" y="3959"/>
                    <a:pt x="2198" y="3929"/>
                  </a:cubicBezTo>
                  <a:cubicBezTo>
                    <a:pt x="2213" y="3921"/>
                    <a:pt x="2242" y="3914"/>
                    <a:pt x="2250" y="3936"/>
                  </a:cubicBezTo>
                  <a:cubicBezTo>
                    <a:pt x="2250" y="3929"/>
                    <a:pt x="2257" y="3921"/>
                    <a:pt x="2257" y="3907"/>
                  </a:cubicBezTo>
                  <a:cubicBezTo>
                    <a:pt x="2287" y="3899"/>
                    <a:pt x="2287" y="3921"/>
                    <a:pt x="2294" y="3936"/>
                  </a:cubicBezTo>
                  <a:cubicBezTo>
                    <a:pt x="2309" y="3959"/>
                    <a:pt x="2346" y="3951"/>
                    <a:pt x="2369" y="3951"/>
                  </a:cubicBezTo>
                  <a:cubicBezTo>
                    <a:pt x="2369" y="3951"/>
                    <a:pt x="2369" y="3944"/>
                    <a:pt x="2369" y="3936"/>
                  </a:cubicBezTo>
                  <a:cubicBezTo>
                    <a:pt x="2354" y="3936"/>
                    <a:pt x="2346" y="3921"/>
                    <a:pt x="2346" y="3914"/>
                  </a:cubicBezTo>
                  <a:cubicBezTo>
                    <a:pt x="2369" y="3907"/>
                    <a:pt x="2391" y="3907"/>
                    <a:pt x="2413" y="3907"/>
                  </a:cubicBezTo>
                  <a:cubicBezTo>
                    <a:pt x="2413" y="3914"/>
                    <a:pt x="2413" y="3929"/>
                    <a:pt x="2421" y="3936"/>
                  </a:cubicBezTo>
                  <a:cubicBezTo>
                    <a:pt x="2421" y="3929"/>
                    <a:pt x="2421" y="3914"/>
                    <a:pt x="2421" y="3899"/>
                  </a:cubicBezTo>
                  <a:cubicBezTo>
                    <a:pt x="2435" y="3899"/>
                    <a:pt x="2458" y="3899"/>
                    <a:pt x="2473" y="3899"/>
                  </a:cubicBezTo>
                  <a:cubicBezTo>
                    <a:pt x="2465" y="3914"/>
                    <a:pt x="2465" y="3914"/>
                    <a:pt x="2450" y="3921"/>
                  </a:cubicBezTo>
                  <a:cubicBezTo>
                    <a:pt x="2435" y="3936"/>
                    <a:pt x="2443" y="3959"/>
                    <a:pt x="2435" y="3973"/>
                  </a:cubicBezTo>
                  <a:cubicBezTo>
                    <a:pt x="2435" y="4011"/>
                    <a:pt x="2428" y="4040"/>
                    <a:pt x="2413" y="4070"/>
                  </a:cubicBezTo>
                  <a:cubicBezTo>
                    <a:pt x="2450" y="4085"/>
                    <a:pt x="2465" y="4033"/>
                    <a:pt x="2502" y="4040"/>
                  </a:cubicBezTo>
                  <a:cubicBezTo>
                    <a:pt x="2502" y="4070"/>
                    <a:pt x="2643" y="4055"/>
                    <a:pt x="2673" y="4055"/>
                  </a:cubicBezTo>
                  <a:cubicBezTo>
                    <a:pt x="2651" y="3996"/>
                    <a:pt x="2740" y="3973"/>
                    <a:pt x="2695" y="3914"/>
                  </a:cubicBezTo>
                  <a:cubicBezTo>
                    <a:pt x="2710" y="3907"/>
                    <a:pt x="2725" y="3907"/>
                    <a:pt x="2740" y="3907"/>
                  </a:cubicBezTo>
                  <a:cubicBezTo>
                    <a:pt x="2732" y="3921"/>
                    <a:pt x="2740" y="3929"/>
                    <a:pt x="2740" y="3936"/>
                  </a:cubicBezTo>
                  <a:cubicBezTo>
                    <a:pt x="2755" y="3921"/>
                    <a:pt x="2770" y="3892"/>
                    <a:pt x="2807" y="3899"/>
                  </a:cubicBezTo>
                  <a:cubicBezTo>
                    <a:pt x="2807" y="3907"/>
                    <a:pt x="2814" y="3914"/>
                    <a:pt x="2807" y="3929"/>
                  </a:cubicBezTo>
                  <a:cubicBezTo>
                    <a:pt x="2821" y="3944"/>
                    <a:pt x="2836" y="3959"/>
                    <a:pt x="2859" y="3951"/>
                  </a:cubicBezTo>
                  <a:cubicBezTo>
                    <a:pt x="2859" y="3921"/>
                    <a:pt x="2881" y="3907"/>
                    <a:pt x="2874" y="3877"/>
                  </a:cubicBezTo>
                  <a:cubicBezTo>
                    <a:pt x="2896" y="3877"/>
                    <a:pt x="2933" y="3870"/>
                    <a:pt x="2948" y="3884"/>
                  </a:cubicBezTo>
                  <a:cubicBezTo>
                    <a:pt x="2978" y="3907"/>
                    <a:pt x="2940" y="3951"/>
                    <a:pt x="2948" y="3981"/>
                  </a:cubicBezTo>
                  <a:cubicBezTo>
                    <a:pt x="2978" y="3988"/>
                    <a:pt x="3022" y="3966"/>
                    <a:pt x="3029" y="4003"/>
                  </a:cubicBezTo>
                  <a:cubicBezTo>
                    <a:pt x="3044" y="4055"/>
                    <a:pt x="3119" y="4033"/>
                    <a:pt x="3156" y="4040"/>
                  </a:cubicBezTo>
                  <a:cubicBezTo>
                    <a:pt x="3156" y="4070"/>
                    <a:pt x="3141" y="4115"/>
                    <a:pt x="3156" y="4144"/>
                  </a:cubicBezTo>
                  <a:cubicBezTo>
                    <a:pt x="3186" y="4174"/>
                    <a:pt x="3252" y="4152"/>
                    <a:pt x="3282" y="4159"/>
                  </a:cubicBezTo>
                  <a:cubicBezTo>
                    <a:pt x="3282" y="4167"/>
                    <a:pt x="3282" y="4181"/>
                    <a:pt x="3282" y="4196"/>
                  </a:cubicBezTo>
                  <a:cubicBezTo>
                    <a:pt x="3312" y="4196"/>
                    <a:pt x="3334" y="4196"/>
                    <a:pt x="3364" y="4196"/>
                  </a:cubicBezTo>
                  <a:cubicBezTo>
                    <a:pt x="3364" y="4226"/>
                    <a:pt x="3364" y="4248"/>
                    <a:pt x="3364" y="4270"/>
                  </a:cubicBezTo>
                  <a:cubicBezTo>
                    <a:pt x="3379" y="4278"/>
                    <a:pt x="3393" y="4278"/>
                    <a:pt x="3408" y="4278"/>
                  </a:cubicBezTo>
                  <a:cubicBezTo>
                    <a:pt x="3408" y="4293"/>
                    <a:pt x="3408" y="4308"/>
                    <a:pt x="3408" y="4323"/>
                  </a:cubicBezTo>
                  <a:cubicBezTo>
                    <a:pt x="3438" y="4315"/>
                    <a:pt x="3431" y="4352"/>
                    <a:pt x="3460" y="4345"/>
                  </a:cubicBezTo>
                  <a:cubicBezTo>
                    <a:pt x="3468" y="4323"/>
                    <a:pt x="3453" y="4300"/>
                    <a:pt x="3460" y="4285"/>
                  </a:cubicBezTo>
                  <a:cubicBezTo>
                    <a:pt x="3505" y="4278"/>
                    <a:pt x="3608" y="4300"/>
                    <a:pt x="3637" y="4263"/>
                  </a:cubicBezTo>
                  <a:cubicBezTo>
                    <a:pt x="3660" y="4263"/>
                    <a:pt x="3682" y="4263"/>
                    <a:pt x="3697" y="4285"/>
                  </a:cubicBezTo>
                  <a:cubicBezTo>
                    <a:pt x="3704" y="4293"/>
                    <a:pt x="3704" y="4300"/>
                    <a:pt x="3704" y="4315"/>
                  </a:cubicBezTo>
                  <a:cubicBezTo>
                    <a:pt x="3712" y="4323"/>
                    <a:pt x="3727" y="4315"/>
                    <a:pt x="3741" y="4323"/>
                  </a:cubicBezTo>
                  <a:cubicBezTo>
                    <a:pt x="3779" y="4374"/>
                    <a:pt x="3719" y="4404"/>
                    <a:pt x="3682" y="4382"/>
                  </a:cubicBezTo>
                  <a:cubicBezTo>
                    <a:pt x="3675" y="4404"/>
                    <a:pt x="3675" y="4419"/>
                    <a:pt x="3675" y="4441"/>
                  </a:cubicBezTo>
                  <a:cubicBezTo>
                    <a:pt x="3682" y="4441"/>
                    <a:pt x="3690" y="4441"/>
                    <a:pt x="3697" y="4441"/>
                  </a:cubicBezTo>
                  <a:cubicBezTo>
                    <a:pt x="3697" y="4464"/>
                    <a:pt x="3697" y="4486"/>
                    <a:pt x="3697" y="4501"/>
                  </a:cubicBezTo>
                  <a:cubicBezTo>
                    <a:pt x="3741" y="4501"/>
                    <a:pt x="3741" y="4538"/>
                    <a:pt x="3727" y="4568"/>
                  </a:cubicBezTo>
                  <a:cubicBezTo>
                    <a:pt x="3712" y="4612"/>
                    <a:pt x="3690" y="4634"/>
                    <a:pt x="3690" y="4679"/>
                  </a:cubicBezTo>
                  <a:cubicBezTo>
                    <a:pt x="3682" y="4679"/>
                    <a:pt x="3667" y="4686"/>
                    <a:pt x="3660" y="4679"/>
                  </a:cubicBezTo>
                  <a:cubicBezTo>
                    <a:pt x="3652" y="4686"/>
                    <a:pt x="3652" y="4701"/>
                    <a:pt x="3660" y="4709"/>
                  </a:cubicBezTo>
                  <a:cubicBezTo>
                    <a:pt x="3682" y="4716"/>
                    <a:pt x="3697" y="4731"/>
                    <a:pt x="3704" y="4746"/>
                  </a:cubicBezTo>
                  <a:cubicBezTo>
                    <a:pt x="3712" y="4768"/>
                    <a:pt x="3697" y="4798"/>
                    <a:pt x="3727" y="4798"/>
                  </a:cubicBezTo>
                  <a:cubicBezTo>
                    <a:pt x="3727" y="4805"/>
                    <a:pt x="3727" y="4813"/>
                    <a:pt x="3734" y="4813"/>
                  </a:cubicBezTo>
                  <a:cubicBezTo>
                    <a:pt x="3741" y="4805"/>
                    <a:pt x="3749" y="4790"/>
                    <a:pt x="3756" y="4783"/>
                  </a:cubicBezTo>
                  <a:cubicBezTo>
                    <a:pt x="3749" y="4790"/>
                    <a:pt x="3741" y="4805"/>
                    <a:pt x="3734" y="4813"/>
                  </a:cubicBezTo>
                  <a:cubicBezTo>
                    <a:pt x="3749" y="4835"/>
                    <a:pt x="3786" y="4835"/>
                    <a:pt x="3816" y="4842"/>
                  </a:cubicBezTo>
                  <a:cubicBezTo>
                    <a:pt x="3816" y="4902"/>
                    <a:pt x="3957" y="4902"/>
                    <a:pt x="4001" y="4887"/>
                  </a:cubicBezTo>
                  <a:cubicBezTo>
                    <a:pt x="4046" y="4857"/>
                    <a:pt x="4009" y="4798"/>
                    <a:pt x="4038" y="4768"/>
                  </a:cubicBezTo>
                  <a:cubicBezTo>
                    <a:pt x="4053" y="4753"/>
                    <a:pt x="4068" y="4775"/>
                    <a:pt x="4068" y="4746"/>
                  </a:cubicBezTo>
                  <a:cubicBezTo>
                    <a:pt x="4068" y="4723"/>
                    <a:pt x="4098" y="4731"/>
                    <a:pt x="4120" y="4731"/>
                  </a:cubicBezTo>
                  <a:cubicBezTo>
                    <a:pt x="4120" y="4716"/>
                    <a:pt x="4113" y="4709"/>
                    <a:pt x="4113" y="4701"/>
                  </a:cubicBezTo>
                  <a:lnTo>
                    <a:pt x="4105" y="4701"/>
                  </a:lnTo>
                  <a:lnTo>
                    <a:pt x="4113" y="4701"/>
                  </a:lnTo>
                  <a:cubicBezTo>
                    <a:pt x="4098" y="4686"/>
                    <a:pt x="4083" y="4672"/>
                    <a:pt x="4105" y="4649"/>
                  </a:cubicBezTo>
                  <a:cubicBezTo>
                    <a:pt x="4127" y="4627"/>
                    <a:pt x="4165" y="4627"/>
                    <a:pt x="4142" y="4590"/>
                  </a:cubicBezTo>
                  <a:cubicBezTo>
                    <a:pt x="4120" y="4560"/>
                    <a:pt x="4135" y="4538"/>
                    <a:pt x="4157" y="4508"/>
                  </a:cubicBezTo>
                  <a:cubicBezTo>
                    <a:pt x="4172" y="4486"/>
                    <a:pt x="4150" y="4478"/>
                    <a:pt x="4142" y="4464"/>
                  </a:cubicBezTo>
                  <a:cubicBezTo>
                    <a:pt x="4142" y="4449"/>
                    <a:pt x="4142" y="4434"/>
                    <a:pt x="4142" y="4419"/>
                  </a:cubicBezTo>
                  <a:cubicBezTo>
                    <a:pt x="4127" y="4412"/>
                    <a:pt x="4120" y="4412"/>
                    <a:pt x="4105" y="4412"/>
                  </a:cubicBezTo>
                  <a:cubicBezTo>
                    <a:pt x="4120" y="4412"/>
                    <a:pt x="4127" y="4412"/>
                    <a:pt x="4142" y="4419"/>
                  </a:cubicBezTo>
                  <a:lnTo>
                    <a:pt x="4142" y="4412"/>
                  </a:lnTo>
                  <a:cubicBezTo>
                    <a:pt x="4187" y="4404"/>
                    <a:pt x="4224" y="4389"/>
                    <a:pt x="4232" y="4337"/>
                  </a:cubicBezTo>
                  <a:cubicBezTo>
                    <a:pt x="4232" y="4278"/>
                    <a:pt x="4202" y="4256"/>
                    <a:pt x="4165" y="4226"/>
                  </a:cubicBezTo>
                  <a:cubicBezTo>
                    <a:pt x="4113" y="4189"/>
                    <a:pt x="4127" y="4137"/>
                    <a:pt x="4113" y="4092"/>
                  </a:cubicBezTo>
                  <a:cubicBezTo>
                    <a:pt x="4090" y="4040"/>
                    <a:pt x="4090" y="3996"/>
                    <a:pt x="4105" y="3936"/>
                  </a:cubicBezTo>
                  <a:cubicBezTo>
                    <a:pt x="4120" y="3899"/>
                    <a:pt x="4142" y="3862"/>
                    <a:pt x="4187" y="3855"/>
                  </a:cubicBezTo>
                  <a:cubicBezTo>
                    <a:pt x="4239" y="3840"/>
                    <a:pt x="4269" y="3810"/>
                    <a:pt x="4313" y="3780"/>
                  </a:cubicBezTo>
                  <a:cubicBezTo>
                    <a:pt x="4350" y="3766"/>
                    <a:pt x="4402" y="3766"/>
                    <a:pt x="4425" y="3728"/>
                  </a:cubicBezTo>
                  <a:cubicBezTo>
                    <a:pt x="4447" y="3691"/>
                    <a:pt x="4462" y="3639"/>
                    <a:pt x="4514" y="3632"/>
                  </a:cubicBezTo>
                  <a:cubicBezTo>
                    <a:pt x="4521" y="3610"/>
                    <a:pt x="4551" y="3610"/>
                    <a:pt x="4573" y="3602"/>
                  </a:cubicBezTo>
                  <a:cubicBezTo>
                    <a:pt x="4595" y="3587"/>
                    <a:pt x="4595" y="3565"/>
                    <a:pt x="4595" y="3543"/>
                  </a:cubicBezTo>
                  <a:cubicBezTo>
                    <a:pt x="4610" y="3498"/>
                    <a:pt x="4692" y="3513"/>
                    <a:pt x="4684" y="3565"/>
                  </a:cubicBezTo>
                  <a:cubicBezTo>
                    <a:pt x="4722" y="3565"/>
                    <a:pt x="4722" y="3543"/>
                    <a:pt x="4751" y="3528"/>
                  </a:cubicBezTo>
                  <a:cubicBezTo>
                    <a:pt x="4789" y="3498"/>
                    <a:pt x="4840" y="3535"/>
                    <a:pt x="4878" y="3543"/>
                  </a:cubicBezTo>
                  <a:cubicBezTo>
                    <a:pt x="4967" y="3550"/>
                    <a:pt x="4967" y="3461"/>
                    <a:pt x="4892" y="3439"/>
                  </a:cubicBezTo>
                  <a:cubicBezTo>
                    <a:pt x="4818" y="3424"/>
                    <a:pt x="4774" y="3372"/>
                    <a:pt x="4707" y="3342"/>
                  </a:cubicBezTo>
                  <a:cubicBezTo>
                    <a:pt x="4692" y="3335"/>
                    <a:pt x="4677" y="3327"/>
                    <a:pt x="4662" y="3313"/>
                  </a:cubicBezTo>
                  <a:cubicBezTo>
                    <a:pt x="4640" y="3298"/>
                    <a:pt x="4647" y="3276"/>
                    <a:pt x="4632" y="3253"/>
                  </a:cubicBezTo>
                  <a:cubicBezTo>
                    <a:pt x="4610" y="3209"/>
                    <a:pt x="4566" y="3201"/>
                    <a:pt x="4543" y="3149"/>
                  </a:cubicBezTo>
                  <a:cubicBezTo>
                    <a:pt x="4581" y="3149"/>
                    <a:pt x="4625" y="3134"/>
                    <a:pt x="4655" y="3112"/>
                  </a:cubicBezTo>
                  <a:cubicBezTo>
                    <a:pt x="4677" y="3097"/>
                    <a:pt x="4655" y="3060"/>
                    <a:pt x="4655" y="3045"/>
                  </a:cubicBezTo>
                  <a:cubicBezTo>
                    <a:pt x="4647" y="3016"/>
                    <a:pt x="4625" y="3023"/>
                    <a:pt x="4603" y="3016"/>
                  </a:cubicBezTo>
                  <a:cubicBezTo>
                    <a:pt x="4566" y="3016"/>
                    <a:pt x="4536" y="2993"/>
                    <a:pt x="4506" y="2986"/>
                  </a:cubicBezTo>
                  <a:cubicBezTo>
                    <a:pt x="4484" y="2949"/>
                    <a:pt x="4492" y="2911"/>
                    <a:pt x="4543" y="2911"/>
                  </a:cubicBezTo>
                  <a:cubicBezTo>
                    <a:pt x="4588" y="2911"/>
                    <a:pt x="4566" y="2882"/>
                    <a:pt x="4610" y="2867"/>
                  </a:cubicBezTo>
                  <a:cubicBezTo>
                    <a:pt x="4662" y="2852"/>
                    <a:pt x="4722" y="2874"/>
                    <a:pt x="4781" y="2867"/>
                  </a:cubicBezTo>
                  <a:cubicBezTo>
                    <a:pt x="4803" y="2867"/>
                    <a:pt x="4826" y="2852"/>
                    <a:pt x="4803" y="2822"/>
                  </a:cubicBezTo>
                  <a:cubicBezTo>
                    <a:pt x="4789" y="2808"/>
                    <a:pt x="4759" y="2815"/>
                    <a:pt x="4737" y="2815"/>
                  </a:cubicBezTo>
                  <a:cubicBezTo>
                    <a:pt x="4737" y="2793"/>
                    <a:pt x="4729" y="2785"/>
                    <a:pt x="4714" y="2785"/>
                  </a:cubicBezTo>
                  <a:cubicBezTo>
                    <a:pt x="4707" y="2756"/>
                    <a:pt x="4707" y="2726"/>
                    <a:pt x="4707" y="2689"/>
                  </a:cubicBezTo>
                  <a:cubicBezTo>
                    <a:pt x="4670" y="2681"/>
                    <a:pt x="4618" y="2696"/>
                    <a:pt x="4588" y="2674"/>
                  </a:cubicBezTo>
                  <a:cubicBezTo>
                    <a:pt x="4551" y="2644"/>
                    <a:pt x="4573" y="2592"/>
                    <a:pt x="4566" y="2548"/>
                  </a:cubicBezTo>
                  <a:cubicBezTo>
                    <a:pt x="4558" y="2503"/>
                    <a:pt x="4499" y="2525"/>
                    <a:pt x="4506" y="2474"/>
                  </a:cubicBezTo>
                  <a:cubicBezTo>
                    <a:pt x="4521" y="2429"/>
                    <a:pt x="4469" y="2399"/>
                    <a:pt x="4477" y="2355"/>
                  </a:cubicBezTo>
                  <a:cubicBezTo>
                    <a:pt x="4439" y="2355"/>
                    <a:pt x="4425" y="2303"/>
                    <a:pt x="4417" y="2258"/>
                  </a:cubicBezTo>
                  <a:cubicBezTo>
                    <a:pt x="4395" y="2251"/>
                    <a:pt x="4373" y="2228"/>
                    <a:pt x="4343" y="2214"/>
                  </a:cubicBezTo>
                  <a:cubicBezTo>
                    <a:pt x="4298" y="2191"/>
                    <a:pt x="4239" y="2191"/>
                    <a:pt x="4180" y="2199"/>
                  </a:cubicBezTo>
                  <a:cubicBezTo>
                    <a:pt x="4172" y="2214"/>
                    <a:pt x="4165" y="2236"/>
                    <a:pt x="4150" y="2251"/>
                  </a:cubicBezTo>
                  <a:cubicBezTo>
                    <a:pt x="4135" y="2258"/>
                    <a:pt x="4105" y="2266"/>
                    <a:pt x="4098" y="2288"/>
                  </a:cubicBezTo>
                  <a:cubicBezTo>
                    <a:pt x="4061" y="2295"/>
                    <a:pt x="4053" y="2251"/>
                    <a:pt x="4046" y="2228"/>
                  </a:cubicBezTo>
                  <a:cubicBezTo>
                    <a:pt x="4031" y="2214"/>
                    <a:pt x="4024" y="2191"/>
                    <a:pt x="3994" y="2184"/>
                  </a:cubicBezTo>
                  <a:cubicBezTo>
                    <a:pt x="3957" y="2169"/>
                    <a:pt x="3905" y="2184"/>
                    <a:pt x="3860" y="2184"/>
                  </a:cubicBezTo>
                  <a:cubicBezTo>
                    <a:pt x="3853" y="2139"/>
                    <a:pt x="3756" y="2154"/>
                    <a:pt x="3727" y="2154"/>
                  </a:cubicBezTo>
                  <a:cubicBezTo>
                    <a:pt x="3727" y="2124"/>
                    <a:pt x="3727" y="2095"/>
                    <a:pt x="3727" y="2072"/>
                  </a:cubicBezTo>
                  <a:cubicBezTo>
                    <a:pt x="3727" y="2043"/>
                    <a:pt x="3704" y="2020"/>
                    <a:pt x="3697" y="1998"/>
                  </a:cubicBezTo>
                  <a:cubicBezTo>
                    <a:pt x="3645" y="1983"/>
                    <a:pt x="3585" y="2020"/>
                    <a:pt x="3534" y="2013"/>
                  </a:cubicBezTo>
                  <a:cubicBezTo>
                    <a:pt x="3497" y="2006"/>
                    <a:pt x="3497" y="1983"/>
                    <a:pt x="3475" y="1961"/>
                  </a:cubicBezTo>
                  <a:cubicBezTo>
                    <a:pt x="3453" y="1939"/>
                    <a:pt x="3438" y="1939"/>
                    <a:pt x="3408" y="1924"/>
                  </a:cubicBezTo>
                  <a:cubicBezTo>
                    <a:pt x="3371" y="1909"/>
                    <a:pt x="3326" y="1879"/>
                    <a:pt x="3282" y="1857"/>
                  </a:cubicBezTo>
                  <a:cubicBezTo>
                    <a:pt x="3252" y="1842"/>
                    <a:pt x="3245" y="1835"/>
                    <a:pt x="3215" y="1850"/>
                  </a:cubicBezTo>
                  <a:cubicBezTo>
                    <a:pt x="3200" y="1864"/>
                    <a:pt x="3186" y="1894"/>
                    <a:pt x="3163" y="1887"/>
                  </a:cubicBezTo>
                  <a:cubicBezTo>
                    <a:pt x="3148" y="1850"/>
                    <a:pt x="3104" y="1835"/>
                    <a:pt x="3074" y="1820"/>
                  </a:cubicBezTo>
                  <a:cubicBezTo>
                    <a:pt x="3044" y="1812"/>
                    <a:pt x="3022" y="1798"/>
                    <a:pt x="2985" y="1783"/>
                  </a:cubicBezTo>
                  <a:cubicBezTo>
                    <a:pt x="2992" y="1775"/>
                    <a:pt x="2985" y="1768"/>
                    <a:pt x="2985" y="1761"/>
                  </a:cubicBezTo>
                  <a:cubicBezTo>
                    <a:pt x="2955" y="1746"/>
                    <a:pt x="2926" y="1731"/>
                    <a:pt x="2896" y="1701"/>
                  </a:cubicBezTo>
                  <a:cubicBezTo>
                    <a:pt x="2859" y="1679"/>
                    <a:pt x="2844" y="1642"/>
                    <a:pt x="2807" y="1657"/>
                  </a:cubicBezTo>
                  <a:cubicBezTo>
                    <a:pt x="2807" y="1664"/>
                    <a:pt x="2807" y="1664"/>
                    <a:pt x="2799" y="1664"/>
                  </a:cubicBezTo>
                  <a:cubicBezTo>
                    <a:pt x="2770" y="1672"/>
                    <a:pt x="2784" y="1597"/>
                    <a:pt x="2777" y="1575"/>
                  </a:cubicBezTo>
                  <a:cubicBezTo>
                    <a:pt x="2770" y="1545"/>
                    <a:pt x="2747" y="1508"/>
                    <a:pt x="2718" y="1501"/>
                  </a:cubicBezTo>
                  <a:cubicBezTo>
                    <a:pt x="2695" y="1493"/>
                    <a:pt x="2688" y="1493"/>
                    <a:pt x="2666" y="1486"/>
                  </a:cubicBezTo>
                  <a:cubicBezTo>
                    <a:pt x="2651" y="1478"/>
                    <a:pt x="2636" y="1464"/>
                    <a:pt x="2621" y="1456"/>
                  </a:cubicBezTo>
                  <a:cubicBezTo>
                    <a:pt x="2606" y="1449"/>
                    <a:pt x="2584" y="1426"/>
                    <a:pt x="2569" y="1426"/>
                  </a:cubicBezTo>
                  <a:cubicBezTo>
                    <a:pt x="2554" y="1419"/>
                    <a:pt x="2532" y="1426"/>
                    <a:pt x="2517" y="1419"/>
                  </a:cubicBezTo>
                  <a:cubicBezTo>
                    <a:pt x="2517" y="1412"/>
                    <a:pt x="2517" y="1404"/>
                    <a:pt x="2517" y="1389"/>
                  </a:cubicBezTo>
                  <a:cubicBezTo>
                    <a:pt x="2450" y="1389"/>
                    <a:pt x="2413" y="1352"/>
                    <a:pt x="2369" y="1307"/>
                  </a:cubicBezTo>
                  <a:cubicBezTo>
                    <a:pt x="2346" y="1285"/>
                    <a:pt x="2339" y="1256"/>
                    <a:pt x="2309" y="1256"/>
                  </a:cubicBezTo>
                  <a:cubicBezTo>
                    <a:pt x="2265" y="1248"/>
                    <a:pt x="2272" y="1300"/>
                    <a:pt x="2272" y="1330"/>
                  </a:cubicBezTo>
                  <a:cubicBezTo>
                    <a:pt x="2242" y="1337"/>
                    <a:pt x="2235" y="1293"/>
                    <a:pt x="2213" y="1278"/>
                  </a:cubicBezTo>
                  <a:cubicBezTo>
                    <a:pt x="2183" y="1263"/>
                    <a:pt x="2161" y="1285"/>
                    <a:pt x="2131" y="1256"/>
                  </a:cubicBezTo>
                  <a:cubicBezTo>
                    <a:pt x="2124" y="1241"/>
                    <a:pt x="2116" y="1218"/>
                    <a:pt x="2109" y="1204"/>
                  </a:cubicBezTo>
                  <a:cubicBezTo>
                    <a:pt x="2109" y="1204"/>
                    <a:pt x="2101" y="1196"/>
                    <a:pt x="2094" y="1189"/>
                  </a:cubicBezTo>
                  <a:cubicBezTo>
                    <a:pt x="2079" y="1204"/>
                    <a:pt x="2064" y="1218"/>
                    <a:pt x="2072" y="1218"/>
                  </a:cubicBezTo>
                  <a:cubicBezTo>
                    <a:pt x="2064" y="1218"/>
                    <a:pt x="2079" y="1204"/>
                    <a:pt x="2094" y="1189"/>
                  </a:cubicBezTo>
                  <a:cubicBezTo>
                    <a:pt x="2086" y="1189"/>
                    <a:pt x="2086" y="1189"/>
                    <a:pt x="2086" y="1189"/>
                  </a:cubicBezTo>
                  <a:cubicBezTo>
                    <a:pt x="2049" y="1226"/>
                    <a:pt x="2012" y="1278"/>
                    <a:pt x="1997" y="1293"/>
                  </a:cubicBezTo>
                  <a:cubicBezTo>
                    <a:pt x="1982" y="1293"/>
                    <a:pt x="1960" y="1293"/>
                    <a:pt x="1945" y="1293"/>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4" name="Freeform 11">
              <a:extLst>
                <a:ext uri="{FF2B5EF4-FFF2-40B4-BE49-F238E27FC236}">
                  <a16:creationId xmlns:a16="http://schemas.microsoft.com/office/drawing/2014/main" id="{8573CBF2-28CB-354E-83AC-853D6B41C6B9}"/>
                </a:ext>
              </a:extLst>
            </p:cNvPr>
            <p:cNvSpPr>
              <a:spLocks noChangeArrowheads="1"/>
            </p:cNvSpPr>
            <p:nvPr/>
          </p:nvSpPr>
          <p:spPr bwMode="auto">
            <a:xfrm>
              <a:off x="9771497" y="10686945"/>
              <a:ext cx="754921" cy="1482166"/>
            </a:xfrm>
            <a:custGeom>
              <a:avLst/>
              <a:gdLst>
                <a:gd name="T0" fmla="*/ 1522 w 1746"/>
                <a:gd name="T1" fmla="*/ 3342 h 3432"/>
                <a:gd name="T2" fmla="*/ 1567 w 1746"/>
                <a:gd name="T3" fmla="*/ 3223 h 3432"/>
                <a:gd name="T4" fmla="*/ 1537 w 1746"/>
                <a:gd name="T5" fmla="*/ 2904 h 3432"/>
                <a:gd name="T6" fmla="*/ 1693 w 1746"/>
                <a:gd name="T7" fmla="*/ 2473 h 3432"/>
                <a:gd name="T8" fmla="*/ 1611 w 1746"/>
                <a:gd name="T9" fmla="*/ 2288 h 3432"/>
                <a:gd name="T10" fmla="*/ 1619 w 1746"/>
                <a:gd name="T11" fmla="*/ 1916 h 3432"/>
                <a:gd name="T12" fmla="*/ 1359 w 1746"/>
                <a:gd name="T13" fmla="*/ 1961 h 3432"/>
                <a:gd name="T14" fmla="*/ 1351 w 1746"/>
                <a:gd name="T15" fmla="*/ 1530 h 3432"/>
                <a:gd name="T16" fmla="*/ 1240 w 1746"/>
                <a:gd name="T17" fmla="*/ 1255 h 3432"/>
                <a:gd name="T18" fmla="*/ 1099 w 1746"/>
                <a:gd name="T19" fmla="*/ 1114 h 3432"/>
                <a:gd name="T20" fmla="*/ 928 w 1746"/>
                <a:gd name="T21" fmla="*/ 921 h 3432"/>
                <a:gd name="T22" fmla="*/ 1076 w 1746"/>
                <a:gd name="T23" fmla="*/ 840 h 3432"/>
                <a:gd name="T24" fmla="*/ 906 w 1746"/>
                <a:gd name="T25" fmla="*/ 728 h 3432"/>
                <a:gd name="T26" fmla="*/ 690 w 1746"/>
                <a:gd name="T27" fmla="*/ 654 h 3432"/>
                <a:gd name="T28" fmla="*/ 379 w 1746"/>
                <a:gd name="T29" fmla="*/ 372 h 3432"/>
                <a:gd name="T30" fmla="*/ 304 w 1746"/>
                <a:gd name="T31" fmla="*/ 223 h 3432"/>
                <a:gd name="T32" fmla="*/ 200 w 1746"/>
                <a:gd name="T33" fmla="*/ 156 h 3432"/>
                <a:gd name="T34" fmla="*/ 96 w 1746"/>
                <a:gd name="T35" fmla="*/ 82 h 3432"/>
                <a:gd name="T36" fmla="*/ 7 w 1746"/>
                <a:gd name="T37" fmla="*/ 8 h 3432"/>
                <a:gd name="T38" fmla="*/ 163 w 1746"/>
                <a:gd name="T39" fmla="*/ 461 h 3432"/>
                <a:gd name="T40" fmla="*/ 237 w 1746"/>
                <a:gd name="T41" fmla="*/ 528 h 3432"/>
                <a:gd name="T42" fmla="*/ 282 w 1746"/>
                <a:gd name="T43" fmla="*/ 631 h 3432"/>
                <a:gd name="T44" fmla="*/ 416 w 1746"/>
                <a:gd name="T45" fmla="*/ 758 h 3432"/>
                <a:gd name="T46" fmla="*/ 482 w 1746"/>
                <a:gd name="T47" fmla="*/ 884 h 3432"/>
                <a:gd name="T48" fmla="*/ 497 w 1746"/>
                <a:gd name="T49" fmla="*/ 973 h 3432"/>
                <a:gd name="T50" fmla="*/ 601 w 1746"/>
                <a:gd name="T51" fmla="*/ 1055 h 3432"/>
                <a:gd name="T52" fmla="*/ 594 w 1746"/>
                <a:gd name="T53" fmla="*/ 1166 h 3432"/>
                <a:gd name="T54" fmla="*/ 624 w 1746"/>
                <a:gd name="T55" fmla="*/ 1241 h 3432"/>
                <a:gd name="T56" fmla="*/ 661 w 1746"/>
                <a:gd name="T57" fmla="*/ 1441 h 3432"/>
                <a:gd name="T58" fmla="*/ 698 w 1746"/>
                <a:gd name="T59" fmla="*/ 1508 h 3432"/>
                <a:gd name="T60" fmla="*/ 713 w 1746"/>
                <a:gd name="T61" fmla="*/ 1523 h 3432"/>
                <a:gd name="T62" fmla="*/ 727 w 1746"/>
                <a:gd name="T63" fmla="*/ 1619 h 3432"/>
                <a:gd name="T64" fmla="*/ 809 w 1746"/>
                <a:gd name="T65" fmla="*/ 1723 h 3432"/>
                <a:gd name="T66" fmla="*/ 794 w 1746"/>
                <a:gd name="T67" fmla="*/ 1783 h 3432"/>
                <a:gd name="T68" fmla="*/ 824 w 1746"/>
                <a:gd name="T69" fmla="*/ 1872 h 3432"/>
                <a:gd name="T70" fmla="*/ 906 w 1746"/>
                <a:gd name="T71" fmla="*/ 1968 h 3432"/>
                <a:gd name="T72" fmla="*/ 846 w 1746"/>
                <a:gd name="T73" fmla="*/ 1983 h 3432"/>
                <a:gd name="T74" fmla="*/ 943 w 1746"/>
                <a:gd name="T75" fmla="*/ 2154 h 3432"/>
                <a:gd name="T76" fmla="*/ 987 w 1746"/>
                <a:gd name="T77" fmla="*/ 2421 h 3432"/>
                <a:gd name="T78" fmla="*/ 995 w 1746"/>
                <a:gd name="T79" fmla="*/ 2444 h 3432"/>
                <a:gd name="T80" fmla="*/ 935 w 1746"/>
                <a:gd name="T81" fmla="*/ 2288 h 3432"/>
                <a:gd name="T82" fmla="*/ 884 w 1746"/>
                <a:gd name="T83" fmla="*/ 2109 h 3432"/>
                <a:gd name="T84" fmla="*/ 921 w 1746"/>
                <a:gd name="T85" fmla="*/ 2451 h 3432"/>
                <a:gd name="T86" fmla="*/ 1010 w 1746"/>
                <a:gd name="T87" fmla="*/ 2741 h 3432"/>
                <a:gd name="T88" fmla="*/ 1032 w 1746"/>
                <a:gd name="T89" fmla="*/ 2748 h 3432"/>
                <a:gd name="T90" fmla="*/ 1032 w 1746"/>
                <a:gd name="T91" fmla="*/ 2741 h 3432"/>
                <a:gd name="T92" fmla="*/ 1039 w 1746"/>
                <a:gd name="T93" fmla="*/ 2837 h 3432"/>
                <a:gd name="T94" fmla="*/ 1143 w 1746"/>
                <a:gd name="T95" fmla="*/ 2882 h 3432"/>
                <a:gd name="T96" fmla="*/ 1114 w 1746"/>
                <a:gd name="T97" fmla="*/ 2963 h 3432"/>
                <a:gd name="T98" fmla="*/ 1218 w 1746"/>
                <a:gd name="T99" fmla="*/ 3112 h 3432"/>
                <a:gd name="T100" fmla="*/ 1470 w 1746"/>
                <a:gd name="T101" fmla="*/ 3409 h 3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6" h="3432">
                  <a:moveTo>
                    <a:pt x="1500" y="3424"/>
                  </a:moveTo>
                  <a:lnTo>
                    <a:pt x="1500" y="3424"/>
                  </a:lnTo>
                  <a:cubicBezTo>
                    <a:pt x="1507" y="3424"/>
                    <a:pt x="1515" y="3424"/>
                    <a:pt x="1515" y="3416"/>
                  </a:cubicBezTo>
                  <a:cubicBezTo>
                    <a:pt x="1522" y="3394"/>
                    <a:pt x="1522" y="3372"/>
                    <a:pt x="1522" y="3342"/>
                  </a:cubicBezTo>
                  <a:cubicBezTo>
                    <a:pt x="1529" y="3349"/>
                    <a:pt x="1529" y="3342"/>
                    <a:pt x="1537" y="3342"/>
                  </a:cubicBezTo>
                  <a:cubicBezTo>
                    <a:pt x="1537" y="3327"/>
                    <a:pt x="1537" y="3312"/>
                    <a:pt x="1537" y="3297"/>
                  </a:cubicBezTo>
                  <a:cubicBezTo>
                    <a:pt x="1604" y="3327"/>
                    <a:pt x="1589" y="3268"/>
                    <a:pt x="1574" y="3223"/>
                  </a:cubicBezTo>
                  <a:cubicBezTo>
                    <a:pt x="1574" y="3223"/>
                    <a:pt x="1574" y="3223"/>
                    <a:pt x="1567" y="3223"/>
                  </a:cubicBezTo>
                  <a:cubicBezTo>
                    <a:pt x="1567" y="3186"/>
                    <a:pt x="1529" y="3164"/>
                    <a:pt x="1537" y="3127"/>
                  </a:cubicBezTo>
                  <a:cubicBezTo>
                    <a:pt x="1537" y="3104"/>
                    <a:pt x="1567" y="3067"/>
                    <a:pt x="1596" y="3067"/>
                  </a:cubicBezTo>
                  <a:cubicBezTo>
                    <a:pt x="1604" y="3045"/>
                    <a:pt x="1604" y="3015"/>
                    <a:pt x="1596" y="2986"/>
                  </a:cubicBezTo>
                  <a:cubicBezTo>
                    <a:pt x="1574" y="2986"/>
                    <a:pt x="1544" y="2934"/>
                    <a:pt x="1537" y="2904"/>
                  </a:cubicBezTo>
                  <a:cubicBezTo>
                    <a:pt x="1529" y="2874"/>
                    <a:pt x="1574" y="2874"/>
                    <a:pt x="1589" y="2845"/>
                  </a:cubicBezTo>
                  <a:cubicBezTo>
                    <a:pt x="1611" y="2807"/>
                    <a:pt x="1604" y="2674"/>
                    <a:pt x="1663" y="2689"/>
                  </a:cubicBezTo>
                  <a:cubicBezTo>
                    <a:pt x="1663" y="2659"/>
                    <a:pt x="1678" y="2585"/>
                    <a:pt x="1700" y="2570"/>
                  </a:cubicBezTo>
                  <a:cubicBezTo>
                    <a:pt x="1745" y="2540"/>
                    <a:pt x="1686" y="2518"/>
                    <a:pt x="1693" y="2473"/>
                  </a:cubicBezTo>
                  <a:cubicBezTo>
                    <a:pt x="1663" y="2466"/>
                    <a:pt x="1656" y="2488"/>
                    <a:pt x="1641" y="2503"/>
                  </a:cubicBezTo>
                  <a:cubicBezTo>
                    <a:pt x="1604" y="2510"/>
                    <a:pt x="1589" y="2466"/>
                    <a:pt x="1552" y="2458"/>
                  </a:cubicBezTo>
                  <a:cubicBezTo>
                    <a:pt x="1596" y="2458"/>
                    <a:pt x="1559" y="2347"/>
                    <a:pt x="1611" y="2332"/>
                  </a:cubicBezTo>
                  <a:cubicBezTo>
                    <a:pt x="1611" y="2317"/>
                    <a:pt x="1611" y="2302"/>
                    <a:pt x="1611" y="2288"/>
                  </a:cubicBezTo>
                  <a:cubicBezTo>
                    <a:pt x="1604" y="2288"/>
                    <a:pt x="1604" y="2288"/>
                    <a:pt x="1604" y="2288"/>
                  </a:cubicBezTo>
                  <a:cubicBezTo>
                    <a:pt x="1589" y="2236"/>
                    <a:pt x="1715" y="2147"/>
                    <a:pt x="1604" y="2132"/>
                  </a:cubicBezTo>
                  <a:cubicBezTo>
                    <a:pt x="1611" y="2109"/>
                    <a:pt x="1596" y="2102"/>
                    <a:pt x="1596" y="2080"/>
                  </a:cubicBezTo>
                  <a:cubicBezTo>
                    <a:pt x="1663" y="2087"/>
                    <a:pt x="1656" y="1939"/>
                    <a:pt x="1619" y="1916"/>
                  </a:cubicBezTo>
                  <a:cubicBezTo>
                    <a:pt x="1589" y="1901"/>
                    <a:pt x="1537" y="1909"/>
                    <a:pt x="1515" y="1931"/>
                  </a:cubicBezTo>
                  <a:cubicBezTo>
                    <a:pt x="1492" y="1968"/>
                    <a:pt x="1440" y="1953"/>
                    <a:pt x="1440" y="2005"/>
                  </a:cubicBezTo>
                  <a:cubicBezTo>
                    <a:pt x="1433" y="2013"/>
                    <a:pt x="1426" y="2013"/>
                    <a:pt x="1418" y="2013"/>
                  </a:cubicBezTo>
                  <a:cubicBezTo>
                    <a:pt x="1418" y="1976"/>
                    <a:pt x="1381" y="1976"/>
                    <a:pt x="1359" y="1961"/>
                  </a:cubicBezTo>
                  <a:cubicBezTo>
                    <a:pt x="1336" y="1946"/>
                    <a:pt x="1336" y="1909"/>
                    <a:pt x="1329" y="1879"/>
                  </a:cubicBezTo>
                  <a:cubicBezTo>
                    <a:pt x="1321" y="1842"/>
                    <a:pt x="1329" y="1805"/>
                    <a:pt x="1336" y="1768"/>
                  </a:cubicBezTo>
                  <a:cubicBezTo>
                    <a:pt x="1344" y="1731"/>
                    <a:pt x="1336" y="1679"/>
                    <a:pt x="1366" y="1656"/>
                  </a:cubicBezTo>
                  <a:cubicBezTo>
                    <a:pt x="1374" y="1619"/>
                    <a:pt x="1381" y="1567"/>
                    <a:pt x="1351" y="1530"/>
                  </a:cubicBezTo>
                  <a:cubicBezTo>
                    <a:pt x="1336" y="1508"/>
                    <a:pt x="1247" y="1463"/>
                    <a:pt x="1225" y="1463"/>
                  </a:cubicBezTo>
                  <a:cubicBezTo>
                    <a:pt x="1232" y="1441"/>
                    <a:pt x="1218" y="1404"/>
                    <a:pt x="1232" y="1382"/>
                  </a:cubicBezTo>
                  <a:cubicBezTo>
                    <a:pt x="1247" y="1382"/>
                    <a:pt x="1255" y="1382"/>
                    <a:pt x="1270" y="1382"/>
                  </a:cubicBezTo>
                  <a:cubicBezTo>
                    <a:pt x="1270" y="1337"/>
                    <a:pt x="1284" y="1278"/>
                    <a:pt x="1240" y="1255"/>
                  </a:cubicBezTo>
                  <a:cubicBezTo>
                    <a:pt x="1188" y="1226"/>
                    <a:pt x="1114" y="1248"/>
                    <a:pt x="1054" y="1248"/>
                  </a:cubicBezTo>
                  <a:cubicBezTo>
                    <a:pt x="1062" y="1248"/>
                    <a:pt x="1062" y="1248"/>
                    <a:pt x="1069" y="1248"/>
                  </a:cubicBezTo>
                  <a:cubicBezTo>
                    <a:pt x="1069" y="1226"/>
                    <a:pt x="1121" y="1151"/>
                    <a:pt x="1143" y="1144"/>
                  </a:cubicBezTo>
                  <a:cubicBezTo>
                    <a:pt x="1143" y="1122"/>
                    <a:pt x="1114" y="1122"/>
                    <a:pt x="1099" y="1114"/>
                  </a:cubicBezTo>
                  <a:cubicBezTo>
                    <a:pt x="1076" y="1107"/>
                    <a:pt x="1076" y="1085"/>
                    <a:pt x="1054" y="1077"/>
                  </a:cubicBezTo>
                  <a:cubicBezTo>
                    <a:pt x="1039" y="1062"/>
                    <a:pt x="1017" y="1070"/>
                    <a:pt x="995" y="1055"/>
                  </a:cubicBezTo>
                  <a:cubicBezTo>
                    <a:pt x="973" y="1033"/>
                    <a:pt x="950" y="1040"/>
                    <a:pt x="921" y="1040"/>
                  </a:cubicBezTo>
                  <a:cubicBezTo>
                    <a:pt x="921" y="1003"/>
                    <a:pt x="921" y="958"/>
                    <a:pt x="928" y="921"/>
                  </a:cubicBezTo>
                  <a:cubicBezTo>
                    <a:pt x="958" y="929"/>
                    <a:pt x="973" y="958"/>
                    <a:pt x="1010" y="951"/>
                  </a:cubicBezTo>
                  <a:cubicBezTo>
                    <a:pt x="1010" y="899"/>
                    <a:pt x="1069" y="929"/>
                    <a:pt x="1069" y="877"/>
                  </a:cubicBezTo>
                  <a:cubicBezTo>
                    <a:pt x="1076" y="877"/>
                    <a:pt x="1076" y="877"/>
                    <a:pt x="1076" y="877"/>
                  </a:cubicBezTo>
                  <a:cubicBezTo>
                    <a:pt x="1076" y="854"/>
                    <a:pt x="1076" y="847"/>
                    <a:pt x="1076" y="840"/>
                  </a:cubicBezTo>
                  <a:cubicBezTo>
                    <a:pt x="1062" y="810"/>
                    <a:pt x="1024" y="825"/>
                    <a:pt x="995" y="817"/>
                  </a:cubicBezTo>
                  <a:cubicBezTo>
                    <a:pt x="973" y="802"/>
                    <a:pt x="958" y="758"/>
                    <a:pt x="928" y="765"/>
                  </a:cubicBezTo>
                  <a:cubicBezTo>
                    <a:pt x="928" y="765"/>
                    <a:pt x="928" y="765"/>
                    <a:pt x="928" y="773"/>
                  </a:cubicBezTo>
                  <a:cubicBezTo>
                    <a:pt x="913" y="773"/>
                    <a:pt x="913" y="736"/>
                    <a:pt x="906" y="728"/>
                  </a:cubicBezTo>
                  <a:cubicBezTo>
                    <a:pt x="891" y="706"/>
                    <a:pt x="854" y="713"/>
                    <a:pt x="831" y="713"/>
                  </a:cubicBezTo>
                  <a:cubicBezTo>
                    <a:pt x="831" y="691"/>
                    <a:pt x="831" y="669"/>
                    <a:pt x="831" y="646"/>
                  </a:cubicBezTo>
                  <a:cubicBezTo>
                    <a:pt x="809" y="639"/>
                    <a:pt x="772" y="661"/>
                    <a:pt x="750" y="661"/>
                  </a:cubicBezTo>
                  <a:cubicBezTo>
                    <a:pt x="727" y="661"/>
                    <a:pt x="705" y="661"/>
                    <a:pt x="690" y="654"/>
                  </a:cubicBezTo>
                  <a:cubicBezTo>
                    <a:pt x="638" y="639"/>
                    <a:pt x="631" y="617"/>
                    <a:pt x="624" y="572"/>
                  </a:cubicBezTo>
                  <a:cubicBezTo>
                    <a:pt x="616" y="535"/>
                    <a:pt x="549" y="550"/>
                    <a:pt x="519" y="528"/>
                  </a:cubicBezTo>
                  <a:cubicBezTo>
                    <a:pt x="497" y="513"/>
                    <a:pt x="475" y="476"/>
                    <a:pt x="438" y="476"/>
                  </a:cubicBezTo>
                  <a:cubicBezTo>
                    <a:pt x="445" y="446"/>
                    <a:pt x="408" y="379"/>
                    <a:pt x="379" y="372"/>
                  </a:cubicBezTo>
                  <a:cubicBezTo>
                    <a:pt x="334" y="357"/>
                    <a:pt x="319" y="364"/>
                    <a:pt x="319" y="320"/>
                  </a:cubicBezTo>
                  <a:cubicBezTo>
                    <a:pt x="319" y="297"/>
                    <a:pt x="304" y="290"/>
                    <a:pt x="304" y="275"/>
                  </a:cubicBezTo>
                  <a:cubicBezTo>
                    <a:pt x="304" y="253"/>
                    <a:pt x="327" y="246"/>
                    <a:pt x="341" y="231"/>
                  </a:cubicBezTo>
                  <a:cubicBezTo>
                    <a:pt x="349" y="201"/>
                    <a:pt x="304" y="201"/>
                    <a:pt x="304" y="223"/>
                  </a:cubicBezTo>
                  <a:cubicBezTo>
                    <a:pt x="297" y="223"/>
                    <a:pt x="289" y="223"/>
                    <a:pt x="282" y="223"/>
                  </a:cubicBezTo>
                  <a:cubicBezTo>
                    <a:pt x="267" y="201"/>
                    <a:pt x="267" y="179"/>
                    <a:pt x="237" y="171"/>
                  </a:cubicBezTo>
                  <a:cubicBezTo>
                    <a:pt x="245" y="156"/>
                    <a:pt x="245" y="134"/>
                    <a:pt x="245" y="119"/>
                  </a:cubicBezTo>
                  <a:cubicBezTo>
                    <a:pt x="237" y="119"/>
                    <a:pt x="200" y="149"/>
                    <a:pt x="200" y="156"/>
                  </a:cubicBezTo>
                  <a:cubicBezTo>
                    <a:pt x="193" y="149"/>
                    <a:pt x="200" y="134"/>
                    <a:pt x="200" y="127"/>
                  </a:cubicBezTo>
                  <a:cubicBezTo>
                    <a:pt x="185" y="119"/>
                    <a:pt x="171" y="119"/>
                    <a:pt x="156" y="119"/>
                  </a:cubicBezTo>
                  <a:cubicBezTo>
                    <a:pt x="148" y="97"/>
                    <a:pt x="185" y="89"/>
                    <a:pt x="148" y="67"/>
                  </a:cubicBezTo>
                  <a:cubicBezTo>
                    <a:pt x="119" y="45"/>
                    <a:pt x="104" y="52"/>
                    <a:pt x="96" y="82"/>
                  </a:cubicBezTo>
                  <a:cubicBezTo>
                    <a:pt x="82" y="89"/>
                    <a:pt x="74" y="75"/>
                    <a:pt x="67" y="60"/>
                  </a:cubicBezTo>
                  <a:cubicBezTo>
                    <a:pt x="96" y="52"/>
                    <a:pt x="67" y="15"/>
                    <a:pt x="44" y="23"/>
                  </a:cubicBezTo>
                  <a:cubicBezTo>
                    <a:pt x="44" y="23"/>
                    <a:pt x="29" y="15"/>
                    <a:pt x="0" y="0"/>
                  </a:cubicBezTo>
                  <a:cubicBezTo>
                    <a:pt x="0" y="8"/>
                    <a:pt x="7" y="8"/>
                    <a:pt x="7" y="8"/>
                  </a:cubicBezTo>
                  <a:cubicBezTo>
                    <a:pt x="29" y="52"/>
                    <a:pt x="59" y="97"/>
                    <a:pt x="67" y="149"/>
                  </a:cubicBezTo>
                  <a:cubicBezTo>
                    <a:pt x="74" y="194"/>
                    <a:pt x="89" y="238"/>
                    <a:pt x="104" y="283"/>
                  </a:cubicBezTo>
                  <a:cubicBezTo>
                    <a:pt x="119" y="327"/>
                    <a:pt x="126" y="372"/>
                    <a:pt x="148" y="409"/>
                  </a:cubicBezTo>
                  <a:cubicBezTo>
                    <a:pt x="156" y="424"/>
                    <a:pt x="163" y="446"/>
                    <a:pt x="163" y="461"/>
                  </a:cubicBezTo>
                  <a:cubicBezTo>
                    <a:pt x="163" y="476"/>
                    <a:pt x="163" y="498"/>
                    <a:pt x="163" y="513"/>
                  </a:cubicBezTo>
                  <a:cubicBezTo>
                    <a:pt x="178" y="535"/>
                    <a:pt x="171" y="520"/>
                    <a:pt x="185" y="520"/>
                  </a:cubicBezTo>
                  <a:cubicBezTo>
                    <a:pt x="193" y="520"/>
                    <a:pt x="200" y="528"/>
                    <a:pt x="208" y="528"/>
                  </a:cubicBezTo>
                  <a:cubicBezTo>
                    <a:pt x="215" y="528"/>
                    <a:pt x="230" y="520"/>
                    <a:pt x="237" y="528"/>
                  </a:cubicBezTo>
                  <a:cubicBezTo>
                    <a:pt x="245" y="535"/>
                    <a:pt x="237" y="543"/>
                    <a:pt x="230" y="543"/>
                  </a:cubicBezTo>
                  <a:cubicBezTo>
                    <a:pt x="230" y="550"/>
                    <a:pt x="289" y="587"/>
                    <a:pt x="297" y="594"/>
                  </a:cubicBezTo>
                  <a:cubicBezTo>
                    <a:pt x="289" y="594"/>
                    <a:pt x="274" y="594"/>
                    <a:pt x="260" y="594"/>
                  </a:cubicBezTo>
                  <a:cubicBezTo>
                    <a:pt x="260" y="609"/>
                    <a:pt x="274" y="617"/>
                    <a:pt x="282" y="631"/>
                  </a:cubicBezTo>
                  <a:cubicBezTo>
                    <a:pt x="297" y="646"/>
                    <a:pt x="282" y="654"/>
                    <a:pt x="304" y="669"/>
                  </a:cubicBezTo>
                  <a:cubicBezTo>
                    <a:pt x="319" y="676"/>
                    <a:pt x="334" y="684"/>
                    <a:pt x="349" y="691"/>
                  </a:cubicBezTo>
                  <a:cubicBezTo>
                    <a:pt x="364" y="706"/>
                    <a:pt x="371" y="713"/>
                    <a:pt x="386" y="713"/>
                  </a:cubicBezTo>
                  <a:cubicBezTo>
                    <a:pt x="386" y="728"/>
                    <a:pt x="401" y="743"/>
                    <a:pt x="416" y="758"/>
                  </a:cubicBezTo>
                  <a:cubicBezTo>
                    <a:pt x="423" y="765"/>
                    <a:pt x="445" y="780"/>
                    <a:pt x="445" y="795"/>
                  </a:cubicBezTo>
                  <a:cubicBezTo>
                    <a:pt x="453" y="817"/>
                    <a:pt x="445" y="825"/>
                    <a:pt x="453" y="847"/>
                  </a:cubicBezTo>
                  <a:cubicBezTo>
                    <a:pt x="460" y="854"/>
                    <a:pt x="467" y="877"/>
                    <a:pt x="482" y="877"/>
                  </a:cubicBezTo>
                  <a:lnTo>
                    <a:pt x="482" y="884"/>
                  </a:lnTo>
                  <a:cubicBezTo>
                    <a:pt x="475" y="884"/>
                    <a:pt x="467" y="884"/>
                    <a:pt x="460" y="884"/>
                  </a:cubicBezTo>
                  <a:cubicBezTo>
                    <a:pt x="460" y="899"/>
                    <a:pt x="475" y="906"/>
                    <a:pt x="475" y="921"/>
                  </a:cubicBezTo>
                  <a:cubicBezTo>
                    <a:pt x="475" y="929"/>
                    <a:pt x="475" y="943"/>
                    <a:pt x="475" y="951"/>
                  </a:cubicBezTo>
                  <a:cubicBezTo>
                    <a:pt x="482" y="966"/>
                    <a:pt x="482" y="966"/>
                    <a:pt x="497" y="973"/>
                  </a:cubicBezTo>
                  <a:cubicBezTo>
                    <a:pt x="512" y="973"/>
                    <a:pt x="505" y="966"/>
                    <a:pt x="519" y="981"/>
                  </a:cubicBezTo>
                  <a:cubicBezTo>
                    <a:pt x="527" y="988"/>
                    <a:pt x="534" y="1003"/>
                    <a:pt x="534" y="1010"/>
                  </a:cubicBezTo>
                  <a:cubicBezTo>
                    <a:pt x="542" y="1018"/>
                    <a:pt x="542" y="1033"/>
                    <a:pt x="549" y="1040"/>
                  </a:cubicBezTo>
                  <a:cubicBezTo>
                    <a:pt x="557" y="1048"/>
                    <a:pt x="601" y="1033"/>
                    <a:pt x="601" y="1055"/>
                  </a:cubicBezTo>
                  <a:cubicBezTo>
                    <a:pt x="586" y="1055"/>
                    <a:pt x="572" y="1055"/>
                    <a:pt x="564" y="1055"/>
                  </a:cubicBezTo>
                  <a:cubicBezTo>
                    <a:pt x="557" y="1062"/>
                    <a:pt x="572" y="1062"/>
                    <a:pt x="579" y="1077"/>
                  </a:cubicBezTo>
                  <a:cubicBezTo>
                    <a:pt x="586" y="1085"/>
                    <a:pt x="579" y="1092"/>
                    <a:pt x="579" y="1099"/>
                  </a:cubicBezTo>
                  <a:cubicBezTo>
                    <a:pt x="579" y="1129"/>
                    <a:pt x="594" y="1144"/>
                    <a:pt x="594" y="1166"/>
                  </a:cubicBezTo>
                  <a:cubicBezTo>
                    <a:pt x="594" y="1166"/>
                    <a:pt x="594" y="1166"/>
                    <a:pt x="601" y="1166"/>
                  </a:cubicBezTo>
                  <a:cubicBezTo>
                    <a:pt x="609" y="1166"/>
                    <a:pt x="624" y="1159"/>
                    <a:pt x="638" y="1159"/>
                  </a:cubicBezTo>
                  <a:cubicBezTo>
                    <a:pt x="638" y="1181"/>
                    <a:pt x="609" y="1181"/>
                    <a:pt x="609" y="1196"/>
                  </a:cubicBezTo>
                  <a:cubicBezTo>
                    <a:pt x="609" y="1211"/>
                    <a:pt x="624" y="1226"/>
                    <a:pt x="624" y="1241"/>
                  </a:cubicBezTo>
                  <a:cubicBezTo>
                    <a:pt x="631" y="1255"/>
                    <a:pt x="631" y="1278"/>
                    <a:pt x="631" y="1293"/>
                  </a:cubicBezTo>
                  <a:cubicBezTo>
                    <a:pt x="638" y="1307"/>
                    <a:pt x="638" y="1322"/>
                    <a:pt x="646" y="1337"/>
                  </a:cubicBezTo>
                  <a:cubicBezTo>
                    <a:pt x="646" y="1359"/>
                    <a:pt x="653" y="1374"/>
                    <a:pt x="661" y="1389"/>
                  </a:cubicBezTo>
                  <a:cubicBezTo>
                    <a:pt x="661" y="1404"/>
                    <a:pt x="661" y="1426"/>
                    <a:pt x="661" y="1441"/>
                  </a:cubicBezTo>
                  <a:cubicBezTo>
                    <a:pt x="668" y="1456"/>
                    <a:pt x="676" y="1478"/>
                    <a:pt x="683" y="1493"/>
                  </a:cubicBezTo>
                  <a:cubicBezTo>
                    <a:pt x="683" y="1508"/>
                    <a:pt x="676" y="1530"/>
                    <a:pt x="683" y="1545"/>
                  </a:cubicBezTo>
                  <a:cubicBezTo>
                    <a:pt x="683" y="1530"/>
                    <a:pt x="683" y="1515"/>
                    <a:pt x="690" y="1508"/>
                  </a:cubicBezTo>
                  <a:cubicBezTo>
                    <a:pt x="690" y="1508"/>
                    <a:pt x="690" y="1508"/>
                    <a:pt x="698" y="1508"/>
                  </a:cubicBezTo>
                  <a:cubicBezTo>
                    <a:pt x="698" y="1500"/>
                    <a:pt x="698" y="1493"/>
                    <a:pt x="698" y="1486"/>
                  </a:cubicBezTo>
                  <a:cubicBezTo>
                    <a:pt x="705" y="1486"/>
                    <a:pt x="705" y="1486"/>
                    <a:pt x="705" y="1493"/>
                  </a:cubicBezTo>
                  <a:cubicBezTo>
                    <a:pt x="713" y="1493"/>
                    <a:pt x="720" y="1493"/>
                    <a:pt x="727" y="1508"/>
                  </a:cubicBezTo>
                  <a:cubicBezTo>
                    <a:pt x="727" y="1515"/>
                    <a:pt x="727" y="1523"/>
                    <a:pt x="713" y="1523"/>
                  </a:cubicBezTo>
                  <a:cubicBezTo>
                    <a:pt x="713" y="1538"/>
                    <a:pt x="720" y="1545"/>
                    <a:pt x="720" y="1553"/>
                  </a:cubicBezTo>
                  <a:cubicBezTo>
                    <a:pt x="713" y="1545"/>
                    <a:pt x="698" y="1545"/>
                    <a:pt x="690" y="1545"/>
                  </a:cubicBezTo>
                  <a:cubicBezTo>
                    <a:pt x="690" y="1560"/>
                    <a:pt x="698" y="1567"/>
                    <a:pt x="698" y="1582"/>
                  </a:cubicBezTo>
                  <a:cubicBezTo>
                    <a:pt x="705" y="1582"/>
                    <a:pt x="727" y="1612"/>
                    <a:pt x="727" y="1619"/>
                  </a:cubicBezTo>
                  <a:cubicBezTo>
                    <a:pt x="735" y="1634"/>
                    <a:pt x="735" y="1642"/>
                    <a:pt x="735" y="1649"/>
                  </a:cubicBezTo>
                  <a:cubicBezTo>
                    <a:pt x="742" y="1664"/>
                    <a:pt x="742" y="1686"/>
                    <a:pt x="765" y="1686"/>
                  </a:cubicBezTo>
                  <a:cubicBezTo>
                    <a:pt x="757" y="1664"/>
                    <a:pt x="779" y="1679"/>
                    <a:pt x="787" y="1686"/>
                  </a:cubicBezTo>
                  <a:cubicBezTo>
                    <a:pt x="794" y="1693"/>
                    <a:pt x="802" y="1708"/>
                    <a:pt x="809" y="1723"/>
                  </a:cubicBezTo>
                  <a:cubicBezTo>
                    <a:pt x="779" y="1723"/>
                    <a:pt x="779" y="1723"/>
                    <a:pt x="772" y="1693"/>
                  </a:cubicBezTo>
                  <a:lnTo>
                    <a:pt x="765" y="1693"/>
                  </a:lnTo>
                  <a:cubicBezTo>
                    <a:pt x="765" y="1716"/>
                    <a:pt x="779" y="1731"/>
                    <a:pt x="787" y="1753"/>
                  </a:cubicBezTo>
                  <a:cubicBezTo>
                    <a:pt x="787" y="1760"/>
                    <a:pt x="787" y="1768"/>
                    <a:pt x="794" y="1783"/>
                  </a:cubicBezTo>
                  <a:cubicBezTo>
                    <a:pt x="802" y="1790"/>
                    <a:pt x="802" y="1798"/>
                    <a:pt x="809" y="1805"/>
                  </a:cubicBezTo>
                  <a:cubicBezTo>
                    <a:pt x="809" y="1820"/>
                    <a:pt x="809" y="1827"/>
                    <a:pt x="809" y="1842"/>
                  </a:cubicBezTo>
                  <a:cubicBezTo>
                    <a:pt x="809" y="1842"/>
                    <a:pt x="809" y="1850"/>
                    <a:pt x="809" y="1857"/>
                  </a:cubicBezTo>
                  <a:cubicBezTo>
                    <a:pt x="809" y="1864"/>
                    <a:pt x="817" y="1864"/>
                    <a:pt x="824" y="1872"/>
                  </a:cubicBezTo>
                  <a:cubicBezTo>
                    <a:pt x="831" y="1887"/>
                    <a:pt x="831" y="1909"/>
                    <a:pt x="831" y="1931"/>
                  </a:cubicBezTo>
                  <a:cubicBezTo>
                    <a:pt x="839" y="1924"/>
                    <a:pt x="854" y="1924"/>
                    <a:pt x="861" y="1924"/>
                  </a:cubicBezTo>
                  <a:cubicBezTo>
                    <a:pt x="869" y="1916"/>
                    <a:pt x="861" y="1901"/>
                    <a:pt x="861" y="1887"/>
                  </a:cubicBezTo>
                  <a:cubicBezTo>
                    <a:pt x="876" y="1901"/>
                    <a:pt x="891" y="1968"/>
                    <a:pt x="906" y="1968"/>
                  </a:cubicBezTo>
                  <a:cubicBezTo>
                    <a:pt x="891" y="1968"/>
                    <a:pt x="884" y="1953"/>
                    <a:pt x="869" y="1953"/>
                  </a:cubicBezTo>
                  <a:lnTo>
                    <a:pt x="869" y="1946"/>
                  </a:lnTo>
                  <a:cubicBezTo>
                    <a:pt x="846" y="1939"/>
                    <a:pt x="861" y="1968"/>
                    <a:pt x="861" y="1976"/>
                  </a:cubicBezTo>
                  <a:cubicBezTo>
                    <a:pt x="854" y="1976"/>
                    <a:pt x="854" y="1983"/>
                    <a:pt x="846" y="1983"/>
                  </a:cubicBezTo>
                  <a:cubicBezTo>
                    <a:pt x="854" y="1990"/>
                    <a:pt x="854" y="2005"/>
                    <a:pt x="854" y="2013"/>
                  </a:cubicBezTo>
                  <a:cubicBezTo>
                    <a:pt x="861" y="2035"/>
                    <a:pt x="861" y="2050"/>
                    <a:pt x="876" y="2065"/>
                  </a:cubicBezTo>
                  <a:cubicBezTo>
                    <a:pt x="891" y="2080"/>
                    <a:pt x="898" y="2102"/>
                    <a:pt x="913" y="2117"/>
                  </a:cubicBezTo>
                  <a:cubicBezTo>
                    <a:pt x="921" y="2132"/>
                    <a:pt x="935" y="2139"/>
                    <a:pt x="943" y="2154"/>
                  </a:cubicBezTo>
                  <a:cubicBezTo>
                    <a:pt x="958" y="2169"/>
                    <a:pt x="973" y="2176"/>
                    <a:pt x="973" y="2198"/>
                  </a:cubicBezTo>
                  <a:cubicBezTo>
                    <a:pt x="980" y="2221"/>
                    <a:pt x="973" y="2236"/>
                    <a:pt x="973" y="2250"/>
                  </a:cubicBezTo>
                  <a:cubicBezTo>
                    <a:pt x="973" y="2273"/>
                    <a:pt x="987" y="2280"/>
                    <a:pt x="987" y="2302"/>
                  </a:cubicBezTo>
                  <a:cubicBezTo>
                    <a:pt x="987" y="2347"/>
                    <a:pt x="987" y="2384"/>
                    <a:pt x="987" y="2421"/>
                  </a:cubicBezTo>
                  <a:cubicBezTo>
                    <a:pt x="1002" y="2421"/>
                    <a:pt x="1010" y="2421"/>
                    <a:pt x="1024" y="2421"/>
                  </a:cubicBezTo>
                  <a:cubicBezTo>
                    <a:pt x="1017" y="2414"/>
                    <a:pt x="1024" y="2414"/>
                    <a:pt x="1024" y="2406"/>
                  </a:cubicBezTo>
                  <a:cubicBezTo>
                    <a:pt x="1047" y="2421"/>
                    <a:pt x="1062" y="2429"/>
                    <a:pt x="1054" y="2458"/>
                  </a:cubicBezTo>
                  <a:cubicBezTo>
                    <a:pt x="1032" y="2458"/>
                    <a:pt x="1017" y="2451"/>
                    <a:pt x="995" y="2444"/>
                  </a:cubicBezTo>
                  <a:cubicBezTo>
                    <a:pt x="965" y="2444"/>
                    <a:pt x="950" y="2451"/>
                    <a:pt x="950" y="2421"/>
                  </a:cubicBezTo>
                  <a:cubicBezTo>
                    <a:pt x="950" y="2399"/>
                    <a:pt x="950" y="2384"/>
                    <a:pt x="958" y="2362"/>
                  </a:cubicBezTo>
                  <a:cubicBezTo>
                    <a:pt x="958" y="2355"/>
                    <a:pt x="973" y="2332"/>
                    <a:pt x="973" y="2317"/>
                  </a:cubicBezTo>
                  <a:cubicBezTo>
                    <a:pt x="965" y="2302"/>
                    <a:pt x="943" y="2317"/>
                    <a:pt x="935" y="2288"/>
                  </a:cubicBezTo>
                  <a:cubicBezTo>
                    <a:pt x="935" y="2273"/>
                    <a:pt x="935" y="2250"/>
                    <a:pt x="928" y="2236"/>
                  </a:cubicBezTo>
                  <a:cubicBezTo>
                    <a:pt x="921" y="2213"/>
                    <a:pt x="921" y="2198"/>
                    <a:pt x="921" y="2176"/>
                  </a:cubicBezTo>
                  <a:cubicBezTo>
                    <a:pt x="913" y="2161"/>
                    <a:pt x="906" y="2154"/>
                    <a:pt x="898" y="2139"/>
                  </a:cubicBezTo>
                  <a:cubicBezTo>
                    <a:pt x="891" y="2124"/>
                    <a:pt x="891" y="2117"/>
                    <a:pt x="884" y="2109"/>
                  </a:cubicBezTo>
                  <a:cubicBezTo>
                    <a:pt x="876" y="2102"/>
                    <a:pt x="869" y="2102"/>
                    <a:pt x="869" y="2087"/>
                  </a:cubicBezTo>
                  <a:cubicBezTo>
                    <a:pt x="869" y="2154"/>
                    <a:pt x="906" y="2198"/>
                    <a:pt x="906" y="2258"/>
                  </a:cubicBezTo>
                  <a:cubicBezTo>
                    <a:pt x="913" y="2295"/>
                    <a:pt x="921" y="2325"/>
                    <a:pt x="913" y="2362"/>
                  </a:cubicBezTo>
                  <a:cubicBezTo>
                    <a:pt x="913" y="2392"/>
                    <a:pt x="913" y="2421"/>
                    <a:pt x="921" y="2451"/>
                  </a:cubicBezTo>
                  <a:cubicBezTo>
                    <a:pt x="921" y="2473"/>
                    <a:pt x="935" y="2495"/>
                    <a:pt x="943" y="2518"/>
                  </a:cubicBezTo>
                  <a:cubicBezTo>
                    <a:pt x="958" y="2547"/>
                    <a:pt x="950" y="2570"/>
                    <a:pt x="950" y="2600"/>
                  </a:cubicBezTo>
                  <a:cubicBezTo>
                    <a:pt x="958" y="2622"/>
                    <a:pt x="973" y="2644"/>
                    <a:pt x="980" y="2666"/>
                  </a:cubicBezTo>
                  <a:cubicBezTo>
                    <a:pt x="995" y="2689"/>
                    <a:pt x="1002" y="2718"/>
                    <a:pt x="1010" y="2741"/>
                  </a:cubicBezTo>
                  <a:cubicBezTo>
                    <a:pt x="1017" y="2755"/>
                    <a:pt x="1017" y="2770"/>
                    <a:pt x="1024" y="2785"/>
                  </a:cubicBezTo>
                  <a:cubicBezTo>
                    <a:pt x="1024" y="2792"/>
                    <a:pt x="1024" y="2807"/>
                    <a:pt x="1032" y="2815"/>
                  </a:cubicBezTo>
                  <a:cubicBezTo>
                    <a:pt x="1039" y="2800"/>
                    <a:pt x="1032" y="2792"/>
                    <a:pt x="1032" y="2778"/>
                  </a:cubicBezTo>
                  <a:cubicBezTo>
                    <a:pt x="1032" y="2770"/>
                    <a:pt x="1032" y="2763"/>
                    <a:pt x="1032" y="2748"/>
                  </a:cubicBezTo>
                  <a:cubicBezTo>
                    <a:pt x="1032" y="2741"/>
                    <a:pt x="1032" y="2733"/>
                    <a:pt x="1024" y="2726"/>
                  </a:cubicBezTo>
                  <a:cubicBezTo>
                    <a:pt x="1017" y="2711"/>
                    <a:pt x="1010" y="2703"/>
                    <a:pt x="1010" y="2696"/>
                  </a:cubicBezTo>
                  <a:cubicBezTo>
                    <a:pt x="1010" y="2703"/>
                    <a:pt x="1024" y="2711"/>
                    <a:pt x="1024" y="2718"/>
                  </a:cubicBezTo>
                  <a:cubicBezTo>
                    <a:pt x="1024" y="2726"/>
                    <a:pt x="1032" y="2733"/>
                    <a:pt x="1032" y="2741"/>
                  </a:cubicBezTo>
                  <a:cubicBezTo>
                    <a:pt x="1039" y="2748"/>
                    <a:pt x="1039" y="2755"/>
                    <a:pt x="1039" y="2770"/>
                  </a:cubicBezTo>
                  <a:cubicBezTo>
                    <a:pt x="1047" y="2778"/>
                    <a:pt x="1047" y="2785"/>
                    <a:pt x="1047" y="2800"/>
                  </a:cubicBezTo>
                  <a:cubicBezTo>
                    <a:pt x="1047" y="2807"/>
                    <a:pt x="1054" y="2807"/>
                    <a:pt x="1054" y="2815"/>
                  </a:cubicBezTo>
                  <a:cubicBezTo>
                    <a:pt x="1054" y="2822"/>
                    <a:pt x="1039" y="2822"/>
                    <a:pt x="1039" y="2837"/>
                  </a:cubicBezTo>
                  <a:cubicBezTo>
                    <a:pt x="1054" y="2845"/>
                    <a:pt x="1047" y="2867"/>
                    <a:pt x="1062" y="2882"/>
                  </a:cubicBezTo>
                  <a:cubicBezTo>
                    <a:pt x="1069" y="2867"/>
                    <a:pt x="1076" y="2882"/>
                    <a:pt x="1084" y="2874"/>
                  </a:cubicBezTo>
                  <a:cubicBezTo>
                    <a:pt x="1091" y="2867"/>
                    <a:pt x="1084" y="2852"/>
                    <a:pt x="1099" y="2845"/>
                  </a:cubicBezTo>
                  <a:cubicBezTo>
                    <a:pt x="1114" y="2837"/>
                    <a:pt x="1136" y="2867"/>
                    <a:pt x="1143" y="2882"/>
                  </a:cubicBezTo>
                  <a:cubicBezTo>
                    <a:pt x="1129" y="2889"/>
                    <a:pt x="1106" y="2889"/>
                    <a:pt x="1091" y="2904"/>
                  </a:cubicBezTo>
                  <a:cubicBezTo>
                    <a:pt x="1099" y="2911"/>
                    <a:pt x="1106" y="2919"/>
                    <a:pt x="1114" y="2919"/>
                  </a:cubicBezTo>
                  <a:cubicBezTo>
                    <a:pt x="1106" y="2919"/>
                    <a:pt x="1091" y="2926"/>
                    <a:pt x="1084" y="2919"/>
                  </a:cubicBezTo>
                  <a:cubicBezTo>
                    <a:pt x="1084" y="2934"/>
                    <a:pt x="1099" y="2956"/>
                    <a:pt x="1114" y="2963"/>
                  </a:cubicBezTo>
                  <a:cubicBezTo>
                    <a:pt x="1121" y="2963"/>
                    <a:pt x="1158" y="2963"/>
                    <a:pt x="1166" y="2963"/>
                  </a:cubicBezTo>
                  <a:cubicBezTo>
                    <a:pt x="1166" y="2971"/>
                    <a:pt x="1166" y="2986"/>
                    <a:pt x="1166" y="2993"/>
                  </a:cubicBezTo>
                  <a:cubicBezTo>
                    <a:pt x="1158" y="2986"/>
                    <a:pt x="1151" y="2986"/>
                    <a:pt x="1136" y="2986"/>
                  </a:cubicBezTo>
                  <a:cubicBezTo>
                    <a:pt x="1136" y="3023"/>
                    <a:pt x="1203" y="3082"/>
                    <a:pt x="1218" y="3112"/>
                  </a:cubicBezTo>
                  <a:cubicBezTo>
                    <a:pt x="1255" y="3157"/>
                    <a:pt x="1292" y="3201"/>
                    <a:pt x="1329" y="3246"/>
                  </a:cubicBezTo>
                  <a:cubicBezTo>
                    <a:pt x="1351" y="3268"/>
                    <a:pt x="1359" y="3290"/>
                    <a:pt x="1366" y="3312"/>
                  </a:cubicBezTo>
                  <a:cubicBezTo>
                    <a:pt x="1381" y="3349"/>
                    <a:pt x="1396" y="3349"/>
                    <a:pt x="1426" y="3364"/>
                  </a:cubicBezTo>
                  <a:cubicBezTo>
                    <a:pt x="1440" y="3372"/>
                    <a:pt x="1463" y="3387"/>
                    <a:pt x="1470" y="3409"/>
                  </a:cubicBezTo>
                  <a:cubicBezTo>
                    <a:pt x="1478" y="3416"/>
                    <a:pt x="1485" y="3424"/>
                    <a:pt x="1485" y="3431"/>
                  </a:cubicBezTo>
                  <a:cubicBezTo>
                    <a:pt x="1492" y="3431"/>
                    <a:pt x="1500" y="3424"/>
                    <a:pt x="1500" y="3424"/>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5" name="Freeform 12">
              <a:extLst>
                <a:ext uri="{FF2B5EF4-FFF2-40B4-BE49-F238E27FC236}">
                  <a16:creationId xmlns:a16="http://schemas.microsoft.com/office/drawing/2014/main" id="{0CD539B8-75A6-854E-863D-16BFDE2DDCC7}"/>
                </a:ext>
              </a:extLst>
            </p:cNvPr>
            <p:cNvSpPr>
              <a:spLocks noChangeArrowheads="1"/>
            </p:cNvSpPr>
            <p:nvPr/>
          </p:nvSpPr>
          <p:spPr bwMode="auto">
            <a:xfrm>
              <a:off x="12497600" y="6065177"/>
              <a:ext cx="1420243" cy="1072569"/>
            </a:xfrm>
            <a:custGeom>
              <a:avLst/>
              <a:gdLst>
                <a:gd name="T0" fmla="*/ 416 w 3284"/>
                <a:gd name="T1" fmla="*/ 312 h 2481"/>
                <a:gd name="T2" fmla="*/ 617 w 3284"/>
                <a:gd name="T3" fmla="*/ 527 h 2481"/>
                <a:gd name="T4" fmla="*/ 713 w 3284"/>
                <a:gd name="T5" fmla="*/ 660 h 2481"/>
                <a:gd name="T6" fmla="*/ 453 w 3284"/>
                <a:gd name="T7" fmla="*/ 749 h 2481"/>
                <a:gd name="T8" fmla="*/ 565 w 3284"/>
                <a:gd name="T9" fmla="*/ 883 h 2481"/>
                <a:gd name="T10" fmla="*/ 542 w 3284"/>
                <a:gd name="T11" fmla="*/ 1091 h 2481"/>
                <a:gd name="T12" fmla="*/ 802 w 3284"/>
                <a:gd name="T13" fmla="*/ 1277 h 2481"/>
                <a:gd name="T14" fmla="*/ 594 w 3284"/>
                <a:gd name="T15" fmla="*/ 1403 h 2481"/>
                <a:gd name="T16" fmla="*/ 424 w 3284"/>
                <a:gd name="T17" fmla="*/ 1470 h 2481"/>
                <a:gd name="T18" fmla="*/ 97 w 3284"/>
                <a:gd name="T19" fmla="*/ 1693 h 2481"/>
                <a:gd name="T20" fmla="*/ 75 w 3284"/>
                <a:gd name="T21" fmla="*/ 2064 h 2481"/>
                <a:gd name="T22" fmla="*/ 52 w 3284"/>
                <a:gd name="T23" fmla="*/ 2257 h 2481"/>
                <a:gd name="T24" fmla="*/ 468 w 3284"/>
                <a:gd name="T25" fmla="*/ 2250 h 2481"/>
                <a:gd name="T26" fmla="*/ 721 w 3284"/>
                <a:gd name="T27" fmla="*/ 2406 h 2481"/>
                <a:gd name="T28" fmla="*/ 966 w 3284"/>
                <a:gd name="T29" fmla="*/ 2391 h 2481"/>
                <a:gd name="T30" fmla="*/ 1166 w 3284"/>
                <a:gd name="T31" fmla="*/ 2443 h 2481"/>
                <a:gd name="T32" fmla="*/ 1471 w 3284"/>
                <a:gd name="T33" fmla="*/ 2331 h 2481"/>
                <a:gd name="T34" fmla="*/ 1560 w 3284"/>
                <a:gd name="T35" fmla="*/ 2242 h 2481"/>
                <a:gd name="T36" fmla="*/ 1612 w 3284"/>
                <a:gd name="T37" fmla="*/ 2108 h 2481"/>
                <a:gd name="T38" fmla="*/ 1827 w 3284"/>
                <a:gd name="T39" fmla="*/ 2138 h 2481"/>
                <a:gd name="T40" fmla="*/ 1983 w 3284"/>
                <a:gd name="T41" fmla="*/ 2316 h 2481"/>
                <a:gd name="T42" fmla="*/ 2117 w 3284"/>
                <a:gd name="T43" fmla="*/ 2316 h 2481"/>
                <a:gd name="T44" fmla="*/ 2213 w 3284"/>
                <a:gd name="T45" fmla="*/ 2302 h 2481"/>
                <a:gd name="T46" fmla="*/ 2406 w 3284"/>
                <a:gd name="T47" fmla="*/ 2227 h 2481"/>
                <a:gd name="T48" fmla="*/ 2518 w 3284"/>
                <a:gd name="T49" fmla="*/ 2049 h 2481"/>
                <a:gd name="T50" fmla="*/ 2748 w 3284"/>
                <a:gd name="T51" fmla="*/ 1782 h 2481"/>
                <a:gd name="T52" fmla="*/ 2904 w 3284"/>
                <a:gd name="T53" fmla="*/ 1730 h 2481"/>
                <a:gd name="T54" fmla="*/ 2963 w 3284"/>
                <a:gd name="T55" fmla="*/ 1544 h 2481"/>
                <a:gd name="T56" fmla="*/ 3149 w 3284"/>
                <a:gd name="T57" fmla="*/ 1500 h 2481"/>
                <a:gd name="T58" fmla="*/ 3001 w 3284"/>
                <a:gd name="T59" fmla="*/ 1099 h 2481"/>
                <a:gd name="T60" fmla="*/ 3142 w 3284"/>
                <a:gd name="T61" fmla="*/ 1017 h 2481"/>
                <a:gd name="T62" fmla="*/ 3231 w 3284"/>
                <a:gd name="T63" fmla="*/ 757 h 2481"/>
                <a:gd name="T64" fmla="*/ 3142 w 3284"/>
                <a:gd name="T65" fmla="*/ 705 h 2481"/>
                <a:gd name="T66" fmla="*/ 3097 w 3284"/>
                <a:gd name="T67" fmla="*/ 824 h 2481"/>
                <a:gd name="T68" fmla="*/ 2867 w 3284"/>
                <a:gd name="T69" fmla="*/ 787 h 2481"/>
                <a:gd name="T70" fmla="*/ 2659 w 3284"/>
                <a:gd name="T71" fmla="*/ 854 h 2481"/>
                <a:gd name="T72" fmla="*/ 2511 w 3284"/>
                <a:gd name="T73" fmla="*/ 794 h 2481"/>
                <a:gd name="T74" fmla="*/ 2421 w 3284"/>
                <a:gd name="T75" fmla="*/ 712 h 2481"/>
                <a:gd name="T76" fmla="*/ 2265 w 3284"/>
                <a:gd name="T77" fmla="*/ 802 h 2481"/>
                <a:gd name="T78" fmla="*/ 2102 w 3284"/>
                <a:gd name="T79" fmla="*/ 698 h 2481"/>
                <a:gd name="T80" fmla="*/ 1879 w 3284"/>
                <a:gd name="T81" fmla="*/ 660 h 2481"/>
                <a:gd name="T82" fmla="*/ 1738 w 3284"/>
                <a:gd name="T83" fmla="*/ 675 h 2481"/>
                <a:gd name="T84" fmla="*/ 1604 w 3284"/>
                <a:gd name="T85" fmla="*/ 653 h 2481"/>
                <a:gd name="T86" fmla="*/ 1426 w 3284"/>
                <a:gd name="T87" fmla="*/ 549 h 2481"/>
                <a:gd name="T88" fmla="*/ 1255 w 3284"/>
                <a:gd name="T89" fmla="*/ 490 h 2481"/>
                <a:gd name="T90" fmla="*/ 944 w 3284"/>
                <a:gd name="T91" fmla="*/ 386 h 2481"/>
                <a:gd name="T92" fmla="*/ 907 w 3284"/>
                <a:gd name="T93" fmla="*/ 133 h 2481"/>
                <a:gd name="T94" fmla="*/ 602 w 3284"/>
                <a:gd name="T95" fmla="*/ 29 h 2481"/>
                <a:gd name="T96" fmla="*/ 402 w 3284"/>
                <a:gd name="T97" fmla="*/ 74 h 2481"/>
                <a:gd name="T98" fmla="*/ 387 w 3284"/>
                <a:gd name="T99" fmla="*/ 193 h 2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4" h="2481">
                  <a:moveTo>
                    <a:pt x="387" y="193"/>
                  </a:moveTo>
                  <a:lnTo>
                    <a:pt x="387" y="193"/>
                  </a:lnTo>
                  <a:cubicBezTo>
                    <a:pt x="379" y="237"/>
                    <a:pt x="431" y="267"/>
                    <a:pt x="416" y="312"/>
                  </a:cubicBezTo>
                  <a:cubicBezTo>
                    <a:pt x="409" y="363"/>
                    <a:pt x="468" y="341"/>
                    <a:pt x="476" y="386"/>
                  </a:cubicBezTo>
                  <a:cubicBezTo>
                    <a:pt x="483" y="430"/>
                    <a:pt x="461" y="482"/>
                    <a:pt x="498" y="512"/>
                  </a:cubicBezTo>
                  <a:cubicBezTo>
                    <a:pt x="528" y="534"/>
                    <a:pt x="580" y="519"/>
                    <a:pt x="617" y="527"/>
                  </a:cubicBezTo>
                  <a:cubicBezTo>
                    <a:pt x="617" y="564"/>
                    <a:pt x="617" y="594"/>
                    <a:pt x="624" y="623"/>
                  </a:cubicBezTo>
                  <a:cubicBezTo>
                    <a:pt x="639" y="623"/>
                    <a:pt x="647" y="631"/>
                    <a:pt x="647" y="653"/>
                  </a:cubicBezTo>
                  <a:cubicBezTo>
                    <a:pt x="669" y="653"/>
                    <a:pt x="699" y="646"/>
                    <a:pt x="713" y="660"/>
                  </a:cubicBezTo>
                  <a:cubicBezTo>
                    <a:pt x="736" y="690"/>
                    <a:pt x="713" y="705"/>
                    <a:pt x="691" y="705"/>
                  </a:cubicBezTo>
                  <a:cubicBezTo>
                    <a:pt x="632" y="712"/>
                    <a:pt x="572" y="690"/>
                    <a:pt x="520" y="705"/>
                  </a:cubicBezTo>
                  <a:cubicBezTo>
                    <a:pt x="476" y="720"/>
                    <a:pt x="498" y="749"/>
                    <a:pt x="453" y="749"/>
                  </a:cubicBezTo>
                  <a:cubicBezTo>
                    <a:pt x="402" y="749"/>
                    <a:pt x="394" y="787"/>
                    <a:pt x="416" y="824"/>
                  </a:cubicBezTo>
                  <a:cubicBezTo>
                    <a:pt x="446" y="831"/>
                    <a:pt x="476" y="854"/>
                    <a:pt x="513" y="854"/>
                  </a:cubicBezTo>
                  <a:cubicBezTo>
                    <a:pt x="535" y="861"/>
                    <a:pt x="557" y="854"/>
                    <a:pt x="565" y="883"/>
                  </a:cubicBezTo>
                  <a:cubicBezTo>
                    <a:pt x="565" y="898"/>
                    <a:pt x="587" y="935"/>
                    <a:pt x="565" y="950"/>
                  </a:cubicBezTo>
                  <a:cubicBezTo>
                    <a:pt x="535" y="972"/>
                    <a:pt x="491" y="987"/>
                    <a:pt x="453" y="987"/>
                  </a:cubicBezTo>
                  <a:cubicBezTo>
                    <a:pt x="476" y="1039"/>
                    <a:pt x="520" y="1047"/>
                    <a:pt x="542" y="1091"/>
                  </a:cubicBezTo>
                  <a:cubicBezTo>
                    <a:pt x="557" y="1114"/>
                    <a:pt x="550" y="1136"/>
                    <a:pt x="572" y="1151"/>
                  </a:cubicBezTo>
                  <a:cubicBezTo>
                    <a:pt x="587" y="1165"/>
                    <a:pt x="602" y="1173"/>
                    <a:pt x="617" y="1180"/>
                  </a:cubicBezTo>
                  <a:cubicBezTo>
                    <a:pt x="684" y="1210"/>
                    <a:pt x="728" y="1262"/>
                    <a:pt x="802" y="1277"/>
                  </a:cubicBezTo>
                  <a:cubicBezTo>
                    <a:pt x="877" y="1299"/>
                    <a:pt x="877" y="1388"/>
                    <a:pt x="788" y="1381"/>
                  </a:cubicBezTo>
                  <a:cubicBezTo>
                    <a:pt x="750" y="1373"/>
                    <a:pt x="699" y="1336"/>
                    <a:pt x="661" y="1366"/>
                  </a:cubicBezTo>
                  <a:cubicBezTo>
                    <a:pt x="632" y="1381"/>
                    <a:pt x="632" y="1403"/>
                    <a:pt x="594" y="1403"/>
                  </a:cubicBezTo>
                  <a:cubicBezTo>
                    <a:pt x="602" y="1351"/>
                    <a:pt x="520" y="1336"/>
                    <a:pt x="505" y="1381"/>
                  </a:cubicBezTo>
                  <a:cubicBezTo>
                    <a:pt x="505" y="1403"/>
                    <a:pt x="505" y="1425"/>
                    <a:pt x="483" y="1440"/>
                  </a:cubicBezTo>
                  <a:cubicBezTo>
                    <a:pt x="461" y="1448"/>
                    <a:pt x="431" y="1448"/>
                    <a:pt x="424" y="1470"/>
                  </a:cubicBezTo>
                  <a:cubicBezTo>
                    <a:pt x="372" y="1477"/>
                    <a:pt x="357" y="1529"/>
                    <a:pt x="335" y="1566"/>
                  </a:cubicBezTo>
                  <a:cubicBezTo>
                    <a:pt x="312" y="1604"/>
                    <a:pt x="260" y="1604"/>
                    <a:pt x="223" y="1618"/>
                  </a:cubicBezTo>
                  <a:cubicBezTo>
                    <a:pt x="179" y="1648"/>
                    <a:pt x="149" y="1678"/>
                    <a:pt x="97" y="1693"/>
                  </a:cubicBezTo>
                  <a:cubicBezTo>
                    <a:pt x="52" y="1700"/>
                    <a:pt x="30" y="1737"/>
                    <a:pt x="15" y="1774"/>
                  </a:cubicBezTo>
                  <a:cubicBezTo>
                    <a:pt x="0" y="1834"/>
                    <a:pt x="0" y="1878"/>
                    <a:pt x="23" y="1930"/>
                  </a:cubicBezTo>
                  <a:cubicBezTo>
                    <a:pt x="37" y="1975"/>
                    <a:pt x="23" y="2027"/>
                    <a:pt x="75" y="2064"/>
                  </a:cubicBezTo>
                  <a:cubicBezTo>
                    <a:pt x="112" y="2094"/>
                    <a:pt x="142" y="2116"/>
                    <a:pt x="142" y="2175"/>
                  </a:cubicBezTo>
                  <a:cubicBezTo>
                    <a:pt x="134" y="2227"/>
                    <a:pt x="97" y="2242"/>
                    <a:pt x="52" y="2250"/>
                  </a:cubicBezTo>
                  <a:lnTo>
                    <a:pt x="52" y="2257"/>
                  </a:lnTo>
                  <a:cubicBezTo>
                    <a:pt x="82" y="2264"/>
                    <a:pt x="104" y="2272"/>
                    <a:pt x="119" y="2272"/>
                  </a:cubicBezTo>
                  <a:cubicBezTo>
                    <a:pt x="179" y="2316"/>
                    <a:pt x="283" y="2302"/>
                    <a:pt x="349" y="2309"/>
                  </a:cubicBezTo>
                  <a:cubicBezTo>
                    <a:pt x="416" y="2309"/>
                    <a:pt x="461" y="2324"/>
                    <a:pt x="468" y="2250"/>
                  </a:cubicBezTo>
                  <a:cubicBezTo>
                    <a:pt x="520" y="2242"/>
                    <a:pt x="535" y="2287"/>
                    <a:pt x="557" y="2331"/>
                  </a:cubicBezTo>
                  <a:cubicBezTo>
                    <a:pt x="580" y="2376"/>
                    <a:pt x="639" y="2316"/>
                    <a:pt x="669" y="2309"/>
                  </a:cubicBezTo>
                  <a:cubicBezTo>
                    <a:pt x="728" y="2294"/>
                    <a:pt x="721" y="2368"/>
                    <a:pt x="721" y="2406"/>
                  </a:cubicBezTo>
                  <a:cubicBezTo>
                    <a:pt x="728" y="2472"/>
                    <a:pt x="825" y="2480"/>
                    <a:pt x="877" y="2480"/>
                  </a:cubicBezTo>
                  <a:cubicBezTo>
                    <a:pt x="884" y="2458"/>
                    <a:pt x="884" y="2435"/>
                    <a:pt x="884" y="2413"/>
                  </a:cubicBezTo>
                  <a:cubicBezTo>
                    <a:pt x="914" y="2413"/>
                    <a:pt x="951" y="2421"/>
                    <a:pt x="966" y="2391"/>
                  </a:cubicBezTo>
                  <a:cubicBezTo>
                    <a:pt x="981" y="2368"/>
                    <a:pt x="973" y="2339"/>
                    <a:pt x="1018" y="2331"/>
                  </a:cubicBezTo>
                  <a:cubicBezTo>
                    <a:pt x="1070" y="2324"/>
                    <a:pt x="1070" y="2406"/>
                    <a:pt x="1114" y="2428"/>
                  </a:cubicBezTo>
                  <a:cubicBezTo>
                    <a:pt x="1129" y="2435"/>
                    <a:pt x="1152" y="2443"/>
                    <a:pt x="1166" y="2443"/>
                  </a:cubicBezTo>
                  <a:cubicBezTo>
                    <a:pt x="1189" y="2435"/>
                    <a:pt x="1189" y="2406"/>
                    <a:pt x="1211" y="2398"/>
                  </a:cubicBezTo>
                  <a:cubicBezTo>
                    <a:pt x="1241" y="2391"/>
                    <a:pt x="1307" y="2406"/>
                    <a:pt x="1307" y="2353"/>
                  </a:cubicBezTo>
                  <a:cubicBezTo>
                    <a:pt x="1359" y="2324"/>
                    <a:pt x="1411" y="2339"/>
                    <a:pt x="1471" y="2331"/>
                  </a:cubicBezTo>
                  <a:cubicBezTo>
                    <a:pt x="1486" y="2324"/>
                    <a:pt x="1493" y="2302"/>
                    <a:pt x="1493" y="2287"/>
                  </a:cubicBezTo>
                  <a:cubicBezTo>
                    <a:pt x="1501" y="2272"/>
                    <a:pt x="1508" y="2272"/>
                    <a:pt x="1530" y="2272"/>
                  </a:cubicBezTo>
                  <a:cubicBezTo>
                    <a:pt x="1545" y="2264"/>
                    <a:pt x="1560" y="2264"/>
                    <a:pt x="1560" y="2242"/>
                  </a:cubicBezTo>
                  <a:cubicBezTo>
                    <a:pt x="1567" y="2235"/>
                    <a:pt x="1567" y="2227"/>
                    <a:pt x="1567" y="2212"/>
                  </a:cubicBezTo>
                  <a:cubicBezTo>
                    <a:pt x="1567" y="2190"/>
                    <a:pt x="1590" y="2190"/>
                    <a:pt x="1597" y="2175"/>
                  </a:cubicBezTo>
                  <a:cubicBezTo>
                    <a:pt x="1604" y="2153"/>
                    <a:pt x="1582" y="2123"/>
                    <a:pt x="1612" y="2108"/>
                  </a:cubicBezTo>
                  <a:cubicBezTo>
                    <a:pt x="1627" y="2101"/>
                    <a:pt x="1664" y="2108"/>
                    <a:pt x="1686" y="2116"/>
                  </a:cubicBezTo>
                  <a:cubicBezTo>
                    <a:pt x="1686" y="2175"/>
                    <a:pt x="1790" y="2131"/>
                    <a:pt x="1820" y="2123"/>
                  </a:cubicBezTo>
                  <a:cubicBezTo>
                    <a:pt x="1827" y="2131"/>
                    <a:pt x="1827" y="2131"/>
                    <a:pt x="1827" y="2138"/>
                  </a:cubicBezTo>
                  <a:cubicBezTo>
                    <a:pt x="1835" y="2161"/>
                    <a:pt x="1857" y="2168"/>
                    <a:pt x="1872" y="2183"/>
                  </a:cubicBezTo>
                  <a:cubicBezTo>
                    <a:pt x="1901" y="2212"/>
                    <a:pt x="1879" y="2257"/>
                    <a:pt x="1879" y="2287"/>
                  </a:cubicBezTo>
                  <a:cubicBezTo>
                    <a:pt x="1931" y="2302"/>
                    <a:pt x="1983" y="2235"/>
                    <a:pt x="1983" y="2316"/>
                  </a:cubicBezTo>
                  <a:cubicBezTo>
                    <a:pt x="1991" y="2339"/>
                    <a:pt x="1976" y="2376"/>
                    <a:pt x="1991" y="2398"/>
                  </a:cubicBezTo>
                  <a:cubicBezTo>
                    <a:pt x="2006" y="2413"/>
                    <a:pt x="2050" y="2383"/>
                    <a:pt x="2050" y="2421"/>
                  </a:cubicBezTo>
                  <a:cubicBezTo>
                    <a:pt x="2117" y="2435"/>
                    <a:pt x="2102" y="2353"/>
                    <a:pt x="2117" y="2316"/>
                  </a:cubicBezTo>
                  <a:cubicBezTo>
                    <a:pt x="2124" y="2302"/>
                    <a:pt x="2139" y="2302"/>
                    <a:pt x="2154" y="2294"/>
                  </a:cubicBezTo>
                  <a:cubicBezTo>
                    <a:pt x="2161" y="2279"/>
                    <a:pt x="2154" y="2264"/>
                    <a:pt x="2169" y="2257"/>
                  </a:cubicBezTo>
                  <a:cubicBezTo>
                    <a:pt x="2199" y="2235"/>
                    <a:pt x="2213" y="2279"/>
                    <a:pt x="2213" y="2302"/>
                  </a:cubicBezTo>
                  <a:cubicBezTo>
                    <a:pt x="2243" y="2309"/>
                    <a:pt x="2295" y="2279"/>
                    <a:pt x="2295" y="2242"/>
                  </a:cubicBezTo>
                  <a:cubicBezTo>
                    <a:pt x="2332" y="2242"/>
                    <a:pt x="2347" y="2309"/>
                    <a:pt x="2392" y="2287"/>
                  </a:cubicBezTo>
                  <a:cubicBezTo>
                    <a:pt x="2399" y="2264"/>
                    <a:pt x="2377" y="2242"/>
                    <a:pt x="2406" y="2227"/>
                  </a:cubicBezTo>
                  <a:cubicBezTo>
                    <a:pt x="2421" y="2220"/>
                    <a:pt x="2451" y="2235"/>
                    <a:pt x="2458" y="2220"/>
                  </a:cubicBezTo>
                  <a:cubicBezTo>
                    <a:pt x="2473" y="2190"/>
                    <a:pt x="2473" y="2138"/>
                    <a:pt x="2473" y="2108"/>
                  </a:cubicBezTo>
                  <a:cubicBezTo>
                    <a:pt x="2473" y="2071"/>
                    <a:pt x="2511" y="2079"/>
                    <a:pt x="2518" y="2049"/>
                  </a:cubicBezTo>
                  <a:cubicBezTo>
                    <a:pt x="2540" y="1997"/>
                    <a:pt x="2481" y="1908"/>
                    <a:pt x="2570" y="1901"/>
                  </a:cubicBezTo>
                  <a:cubicBezTo>
                    <a:pt x="2614" y="1893"/>
                    <a:pt x="2622" y="1819"/>
                    <a:pt x="2637" y="1782"/>
                  </a:cubicBezTo>
                  <a:cubicBezTo>
                    <a:pt x="2674" y="1782"/>
                    <a:pt x="2711" y="1782"/>
                    <a:pt x="2748" y="1782"/>
                  </a:cubicBezTo>
                  <a:cubicBezTo>
                    <a:pt x="2756" y="1767"/>
                    <a:pt x="2741" y="1737"/>
                    <a:pt x="2770" y="1737"/>
                  </a:cubicBezTo>
                  <a:cubicBezTo>
                    <a:pt x="2770" y="1737"/>
                    <a:pt x="2770" y="1693"/>
                    <a:pt x="2778" y="1693"/>
                  </a:cubicBezTo>
                  <a:cubicBezTo>
                    <a:pt x="2822" y="1685"/>
                    <a:pt x="2867" y="1700"/>
                    <a:pt x="2904" y="1730"/>
                  </a:cubicBezTo>
                  <a:cubicBezTo>
                    <a:pt x="2911" y="1737"/>
                    <a:pt x="2948" y="1745"/>
                    <a:pt x="2978" y="1752"/>
                  </a:cubicBezTo>
                  <a:cubicBezTo>
                    <a:pt x="2986" y="1730"/>
                    <a:pt x="3023" y="1715"/>
                    <a:pt x="3038" y="1693"/>
                  </a:cubicBezTo>
                  <a:cubicBezTo>
                    <a:pt x="3008" y="1678"/>
                    <a:pt x="2956" y="1574"/>
                    <a:pt x="2963" y="1544"/>
                  </a:cubicBezTo>
                  <a:cubicBezTo>
                    <a:pt x="2986" y="1544"/>
                    <a:pt x="3008" y="1544"/>
                    <a:pt x="3030" y="1544"/>
                  </a:cubicBezTo>
                  <a:cubicBezTo>
                    <a:pt x="3030" y="1514"/>
                    <a:pt x="3038" y="1477"/>
                    <a:pt x="3075" y="1470"/>
                  </a:cubicBezTo>
                  <a:cubicBezTo>
                    <a:pt x="3105" y="1470"/>
                    <a:pt x="3119" y="1507"/>
                    <a:pt x="3149" y="1500"/>
                  </a:cubicBezTo>
                  <a:cubicBezTo>
                    <a:pt x="3142" y="1418"/>
                    <a:pt x="3142" y="1314"/>
                    <a:pt x="3038" y="1306"/>
                  </a:cubicBezTo>
                  <a:cubicBezTo>
                    <a:pt x="3030" y="1269"/>
                    <a:pt x="2986" y="1269"/>
                    <a:pt x="2971" y="1240"/>
                  </a:cubicBezTo>
                  <a:cubicBezTo>
                    <a:pt x="2956" y="1195"/>
                    <a:pt x="3001" y="1143"/>
                    <a:pt x="3001" y="1099"/>
                  </a:cubicBezTo>
                  <a:cubicBezTo>
                    <a:pt x="3023" y="1106"/>
                    <a:pt x="3045" y="1106"/>
                    <a:pt x="3067" y="1106"/>
                  </a:cubicBezTo>
                  <a:cubicBezTo>
                    <a:pt x="3067" y="1084"/>
                    <a:pt x="3075" y="1061"/>
                    <a:pt x="3090" y="1047"/>
                  </a:cubicBezTo>
                  <a:cubicBezTo>
                    <a:pt x="3097" y="1032"/>
                    <a:pt x="3134" y="1032"/>
                    <a:pt x="3142" y="1017"/>
                  </a:cubicBezTo>
                  <a:cubicBezTo>
                    <a:pt x="3156" y="995"/>
                    <a:pt x="3156" y="972"/>
                    <a:pt x="3186" y="957"/>
                  </a:cubicBezTo>
                  <a:cubicBezTo>
                    <a:pt x="3201" y="950"/>
                    <a:pt x="3223" y="943"/>
                    <a:pt x="3238" y="928"/>
                  </a:cubicBezTo>
                  <a:cubicBezTo>
                    <a:pt x="3283" y="876"/>
                    <a:pt x="3223" y="816"/>
                    <a:pt x="3231" y="757"/>
                  </a:cubicBezTo>
                  <a:cubicBezTo>
                    <a:pt x="3231" y="727"/>
                    <a:pt x="3246" y="683"/>
                    <a:pt x="3208" y="668"/>
                  </a:cubicBezTo>
                  <a:lnTo>
                    <a:pt x="3208" y="668"/>
                  </a:lnTo>
                  <a:cubicBezTo>
                    <a:pt x="3201" y="698"/>
                    <a:pt x="3194" y="705"/>
                    <a:pt x="3142" y="705"/>
                  </a:cubicBezTo>
                  <a:cubicBezTo>
                    <a:pt x="3149" y="698"/>
                    <a:pt x="3142" y="683"/>
                    <a:pt x="3142" y="683"/>
                  </a:cubicBezTo>
                  <a:cubicBezTo>
                    <a:pt x="3127" y="698"/>
                    <a:pt x="3127" y="727"/>
                    <a:pt x="3119" y="749"/>
                  </a:cubicBezTo>
                  <a:cubicBezTo>
                    <a:pt x="3119" y="772"/>
                    <a:pt x="3105" y="802"/>
                    <a:pt x="3097" y="824"/>
                  </a:cubicBezTo>
                  <a:cubicBezTo>
                    <a:pt x="3075" y="831"/>
                    <a:pt x="3030" y="749"/>
                    <a:pt x="3001" y="742"/>
                  </a:cubicBezTo>
                  <a:cubicBezTo>
                    <a:pt x="3001" y="749"/>
                    <a:pt x="2993" y="757"/>
                    <a:pt x="2993" y="764"/>
                  </a:cubicBezTo>
                  <a:cubicBezTo>
                    <a:pt x="2993" y="764"/>
                    <a:pt x="2874" y="787"/>
                    <a:pt x="2867" y="787"/>
                  </a:cubicBezTo>
                  <a:cubicBezTo>
                    <a:pt x="2852" y="794"/>
                    <a:pt x="2845" y="802"/>
                    <a:pt x="2830" y="802"/>
                  </a:cubicBezTo>
                  <a:cubicBezTo>
                    <a:pt x="2785" y="816"/>
                    <a:pt x="2748" y="779"/>
                    <a:pt x="2703" y="787"/>
                  </a:cubicBezTo>
                  <a:cubicBezTo>
                    <a:pt x="2666" y="794"/>
                    <a:pt x="2689" y="839"/>
                    <a:pt x="2659" y="854"/>
                  </a:cubicBezTo>
                  <a:cubicBezTo>
                    <a:pt x="2637" y="861"/>
                    <a:pt x="2614" y="816"/>
                    <a:pt x="2585" y="824"/>
                  </a:cubicBezTo>
                  <a:cubicBezTo>
                    <a:pt x="2585" y="816"/>
                    <a:pt x="2577" y="809"/>
                    <a:pt x="2577" y="802"/>
                  </a:cubicBezTo>
                  <a:cubicBezTo>
                    <a:pt x="2562" y="794"/>
                    <a:pt x="2533" y="802"/>
                    <a:pt x="2511" y="794"/>
                  </a:cubicBezTo>
                  <a:cubicBezTo>
                    <a:pt x="2511" y="757"/>
                    <a:pt x="2503" y="705"/>
                    <a:pt x="2488" y="668"/>
                  </a:cubicBezTo>
                  <a:cubicBezTo>
                    <a:pt x="2466" y="675"/>
                    <a:pt x="2466" y="698"/>
                    <a:pt x="2451" y="712"/>
                  </a:cubicBezTo>
                  <a:cubicBezTo>
                    <a:pt x="2436" y="720"/>
                    <a:pt x="2429" y="712"/>
                    <a:pt x="2421" y="712"/>
                  </a:cubicBezTo>
                  <a:cubicBezTo>
                    <a:pt x="2406" y="720"/>
                    <a:pt x="2406" y="727"/>
                    <a:pt x="2399" y="735"/>
                  </a:cubicBezTo>
                  <a:cubicBezTo>
                    <a:pt x="2362" y="772"/>
                    <a:pt x="2340" y="794"/>
                    <a:pt x="2280" y="779"/>
                  </a:cubicBezTo>
                  <a:cubicBezTo>
                    <a:pt x="2280" y="794"/>
                    <a:pt x="2273" y="794"/>
                    <a:pt x="2265" y="802"/>
                  </a:cubicBezTo>
                  <a:cubicBezTo>
                    <a:pt x="2251" y="802"/>
                    <a:pt x="2228" y="764"/>
                    <a:pt x="2213" y="757"/>
                  </a:cubicBezTo>
                  <a:cubicBezTo>
                    <a:pt x="2191" y="735"/>
                    <a:pt x="2161" y="727"/>
                    <a:pt x="2139" y="712"/>
                  </a:cubicBezTo>
                  <a:cubicBezTo>
                    <a:pt x="2124" y="712"/>
                    <a:pt x="2124" y="705"/>
                    <a:pt x="2102" y="698"/>
                  </a:cubicBezTo>
                  <a:cubicBezTo>
                    <a:pt x="2087" y="690"/>
                    <a:pt x="2072" y="690"/>
                    <a:pt x="2057" y="690"/>
                  </a:cubicBezTo>
                  <a:cubicBezTo>
                    <a:pt x="2035" y="683"/>
                    <a:pt x="1983" y="646"/>
                    <a:pt x="1976" y="668"/>
                  </a:cubicBezTo>
                  <a:cubicBezTo>
                    <a:pt x="1939" y="683"/>
                    <a:pt x="1909" y="675"/>
                    <a:pt x="1879" y="660"/>
                  </a:cubicBezTo>
                  <a:cubicBezTo>
                    <a:pt x="1857" y="646"/>
                    <a:pt x="1842" y="631"/>
                    <a:pt x="1812" y="631"/>
                  </a:cubicBezTo>
                  <a:cubicBezTo>
                    <a:pt x="1790" y="631"/>
                    <a:pt x="1790" y="638"/>
                    <a:pt x="1775" y="653"/>
                  </a:cubicBezTo>
                  <a:cubicBezTo>
                    <a:pt x="1760" y="660"/>
                    <a:pt x="1753" y="668"/>
                    <a:pt x="1738" y="675"/>
                  </a:cubicBezTo>
                  <a:cubicBezTo>
                    <a:pt x="1731" y="683"/>
                    <a:pt x="1701" y="705"/>
                    <a:pt x="1694" y="705"/>
                  </a:cubicBezTo>
                  <a:cubicBezTo>
                    <a:pt x="1679" y="705"/>
                    <a:pt x="1671" y="675"/>
                    <a:pt x="1656" y="668"/>
                  </a:cubicBezTo>
                  <a:cubicBezTo>
                    <a:pt x="1642" y="660"/>
                    <a:pt x="1619" y="653"/>
                    <a:pt x="1604" y="653"/>
                  </a:cubicBezTo>
                  <a:cubicBezTo>
                    <a:pt x="1597" y="594"/>
                    <a:pt x="1604" y="542"/>
                    <a:pt x="1604" y="482"/>
                  </a:cubicBezTo>
                  <a:cubicBezTo>
                    <a:pt x="1575" y="482"/>
                    <a:pt x="1538" y="475"/>
                    <a:pt x="1508" y="490"/>
                  </a:cubicBezTo>
                  <a:cubicBezTo>
                    <a:pt x="1493" y="497"/>
                    <a:pt x="1434" y="534"/>
                    <a:pt x="1426" y="549"/>
                  </a:cubicBezTo>
                  <a:cubicBezTo>
                    <a:pt x="1397" y="564"/>
                    <a:pt x="1404" y="579"/>
                    <a:pt x="1359" y="579"/>
                  </a:cubicBezTo>
                  <a:cubicBezTo>
                    <a:pt x="1337" y="579"/>
                    <a:pt x="1307" y="579"/>
                    <a:pt x="1285" y="557"/>
                  </a:cubicBezTo>
                  <a:cubicBezTo>
                    <a:pt x="1270" y="534"/>
                    <a:pt x="1285" y="504"/>
                    <a:pt x="1255" y="490"/>
                  </a:cubicBezTo>
                  <a:cubicBezTo>
                    <a:pt x="1241" y="482"/>
                    <a:pt x="1196" y="490"/>
                    <a:pt x="1181" y="490"/>
                  </a:cubicBezTo>
                  <a:cubicBezTo>
                    <a:pt x="1166" y="438"/>
                    <a:pt x="1129" y="423"/>
                    <a:pt x="1092" y="401"/>
                  </a:cubicBezTo>
                  <a:cubicBezTo>
                    <a:pt x="1047" y="378"/>
                    <a:pt x="996" y="401"/>
                    <a:pt x="944" y="386"/>
                  </a:cubicBezTo>
                  <a:cubicBezTo>
                    <a:pt x="877" y="371"/>
                    <a:pt x="899" y="326"/>
                    <a:pt x="921" y="282"/>
                  </a:cubicBezTo>
                  <a:cubicBezTo>
                    <a:pt x="929" y="259"/>
                    <a:pt x="929" y="237"/>
                    <a:pt x="929" y="215"/>
                  </a:cubicBezTo>
                  <a:cubicBezTo>
                    <a:pt x="921" y="185"/>
                    <a:pt x="914" y="163"/>
                    <a:pt x="907" y="133"/>
                  </a:cubicBezTo>
                  <a:cubicBezTo>
                    <a:pt x="839" y="118"/>
                    <a:pt x="728" y="148"/>
                    <a:pt x="676" y="81"/>
                  </a:cubicBezTo>
                  <a:cubicBezTo>
                    <a:pt x="669" y="74"/>
                    <a:pt x="669" y="52"/>
                    <a:pt x="654" y="37"/>
                  </a:cubicBezTo>
                  <a:cubicBezTo>
                    <a:pt x="647" y="29"/>
                    <a:pt x="624" y="37"/>
                    <a:pt x="602" y="29"/>
                  </a:cubicBezTo>
                  <a:cubicBezTo>
                    <a:pt x="580" y="22"/>
                    <a:pt x="580" y="0"/>
                    <a:pt x="550" y="7"/>
                  </a:cubicBezTo>
                  <a:cubicBezTo>
                    <a:pt x="535" y="37"/>
                    <a:pt x="550" y="44"/>
                    <a:pt x="513" y="52"/>
                  </a:cubicBezTo>
                  <a:cubicBezTo>
                    <a:pt x="468" y="52"/>
                    <a:pt x="439" y="52"/>
                    <a:pt x="402" y="74"/>
                  </a:cubicBezTo>
                  <a:cubicBezTo>
                    <a:pt x="387" y="74"/>
                    <a:pt x="372" y="89"/>
                    <a:pt x="357" y="96"/>
                  </a:cubicBezTo>
                  <a:cubicBezTo>
                    <a:pt x="349" y="96"/>
                    <a:pt x="342" y="96"/>
                    <a:pt x="327" y="96"/>
                  </a:cubicBezTo>
                  <a:cubicBezTo>
                    <a:pt x="335" y="141"/>
                    <a:pt x="349" y="193"/>
                    <a:pt x="387" y="193"/>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6" name="Freeform 13">
              <a:extLst>
                <a:ext uri="{FF2B5EF4-FFF2-40B4-BE49-F238E27FC236}">
                  <a16:creationId xmlns:a16="http://schemas.microsoft.com/office/drawing/2014/main" id="{B40EDEE6-AEA3-4848-9D36-5FBB0BE45C1D}"/>
                </a:ext>
              </a:extLst>
            </p:cNvPr>
            <p:cNvSpPr>
              <a:spLocks noChangeArrowheads="1"/>
            </p:cNvSpPr>
            <p:nvPr/>
          </p:nvSpPr>
          <p:spPr bwMode="auto">
            <a:xfrm>
              <a:off x="9859191" y="4396311"/>
              <a:ext cx="867397" cy="956359"/>
            </a:xfrm>
            <a:custGeom>
              <a:avLst/>
              <a:gdLst>
                <a:gd name="T0" fmla="*/ 134 w 2006"/>
                <a:gd name="T1" fmla="*/ 1805 h 2214"/>
                <a:gd name="T2" fmla="*/ 379 w 2006"/>
                <a:gd name="T3" fmla="*/ 1790 h 2214"/>
                <a:gd name="T4" fmla="*/ 527 w 2006"/>
                <a:gd name="T5" fmla="*/ 1871 h 2214"/>
                <a:gd name="T6" fmla="*/ 817 w 2006"/>
                <a:gd name="T7" fmla="*/ 1916 h 2214"/>
                <a:gd name="T8" fmla="*/ 876 w 2006"/>
                <a:gd name="T9" fmla="*/ 2020 h 2214"/>
                <a:gd name="T10" fmla="*/ 884 w 2006"/>
                <a:gd name="T11" fmla="*/ 2205 h 2214"/>
                <a:gd name="T12" fmla="*/ 1077 w 2006"/>
                <a:gd name="T13" fmla="*/ 2020 h 2214"/>
                <a:gd name="T14" fmla="*/ 1404 w 2006"/>
                <a:gd name="T15" fmla="*/ 2079 h 2214"/>
                <a:gd name="T16" fmla="*/ 1471 w 2006"/>
                <a:gd name="T17" fmla="*/ 2050 h 2214"/>
                <a:gd name="T18" fmla="*/ 1552 w 2006"/>
                <a:gd name="T19" fmla="*/ 1975 h 2214"/>
                <a:gd name="T20" fmla="*/ 1552 w 2006"/>
                <a:gd name="T21" fmla="*/ 1760 h 2214"/>
                <a:gd name="T22" fmla="*/ 1723 w 2006"/>
                <a:gd name="T23" fmla="*/ 1819 h 2214"/>
                <a:gd name="T24" fmla="*/ 1768 w 2006"/>
                <a:gd name="T25" fmla="*/ 1715 h 2214"/>
                <a:gd name="T26" fmla="*/ 1872 w 2006"/>
                <a:gd name="T27" fmla="*/ 1656 h 2214"/>
                <a:gd name="T28" fmla="*/ 1901 w 2006"/>
                <a:gd name="T29" fmla="*/ 1552 h 2214"/>
                <a:gd name="T30" fmla="*/ 1991 w 2006"/>
                <a:gd name="T31" fmla="*/ 1515 h 2214"/>
                <a:gd name="T32" fmla="*/ 1916 w 2006"/>
                <a:gd name="T33" fmla="*/ 1359 h 2214"/>
                <a:gd name="T34" fmla="*/ 1901 w 2006"/>
                <a:gd name="T35" fmla="*/ 1359 h 2214"/>
                <a:gd name="T36" fmla="*/ 1864 w 2006"/>
                <a:gd name="T37" fmla="*/ 1277 h 2214"/>
                <a:gd name="T38" fmla="*/ 1946 w 2006"/>
                <a:gd name="T39" fmla="*/ 1173 h 2214"/>
                <a:gd name="T40" fmla="*/ 1805 w 2006"/>
                <a:gd name="T41" fmla="*/ 943 h 2214"/>
                <a:gd name="T42" fmla="*/ 1671 w 2006"/>
                <a:gd name="T43" fmla="*/ 817 h 2214"/>
                <a:gd name="T44" fmla="*/ 1515 w 2006"/>
                <a:gd name="T45" fmla="*/ 743 h 2214"/>
                <a:gd name="T46" fmla="*/ 1359 w 2006"/>
                <a:gd name="T47" fmla="*/ 394 h 2214"/>
                <a:gd name="T48" fmla="*/ 1226 w 2006"/>
                <a:gd name="T49" fmla="*/ 304 h 2214"/>
                <a:gd name="T50" fmla="*/ 1337 w 2006"/>
                <a:gd name="T51" fmla="*/ 141 h 2214"/>
                <a:gd name="T52" fmla="*/ 1352 w 2006"/>
                <a:gd name="T53" fmla="*/ 7 h 2214"/>
                <a:gd name="T54" fmla="*/ 1226 w 2006"/>
                <a:gd name="T55" fmla="*/ 67 h 2214"/>
                <a:gd name="T56" fmla="*/ 1107 w 2006"/>
                <a:gd name="T57" fmla="*/ 96 h 2214"/>
                <a:gd name="T58" fmla="*/ 1032 w 2006"/>
                <a:gd name="T59" fmla="*/ 260 h 2214"/>
                <a:gd name="T60" fmla="*/ 773 w 2006"/>
                <a:gd name="T61" fmla="*/ 304 h 2214"/>
                <a:gd name="T62" fmla="*/ 609 w 2006"/>
                <a:gd name="T63" fmla="*/ 446 h 2214"/>
                <a:gd name="T64" fmla="*/ 609 w 2006"/>
                <a:gd name="T65" fmla="*/ 639 h 2214"/>
                <a:gd name="T66" fmla="*/ 602 w 2006"/>
                <a:gd name="T67" fmla="*/ 720 h 2214"/>
                <a:gd name="T68" fmla="*/ 557 w 2006"/>
                <a:gd name="T69" fmla="*/ 928 h 2214"/>
                <a:gd name="T70" fmla="*/ 639 w 2006"/>
                <a:gd name="T71" fmla="*/ 906 h 2214"/>
                <a:gd name="T72" fmla="*/ 579 w 2006"/>
                <a:gd name="T73" fmla="*/ 973 h 2214"/>
                <a:gd name="T74" fmla="*/ 505 w 2006"/>
                <a:gd name="T75" fmla="*/ 1032 h 2214"/>
                <a:gd name="T76" fmla="*/ 349 w 2006"/>
                <a:gd name="T77" fmla="*/ 1188 h 2214"/>
                <a:gd name="T78" fmla="*/ 238 w 2006"/>
                <a:gd name="T79" fmla="*/ 1300 h 2214"/>
                <a:gd name="T80" fmla="*/ 112 w 2006"/>
                <a:gd name="T81" fmla="*/ 1381 h 2214"/>
                <a:gd name="T82" fmla="*/ 119 w 2006"/>
                <a:gd name="T83" fmla="*/ 1485 h 2214"/>
                <a:gd name="T84" fmla="*/ 8 w 2006"/>
                <a:gd name="T85" fmla="*/ 1686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6" h="2214">
                  <a:moveTo>
                    <a:pt x="52" y="1782"/>
                  </a:moveTo>
                  <a:lnTo>
                    <a:pt x="52" y="1782"/>
                  </a:lnTo>
                  <a:cubicBezTo>
                    <a:pt x="52" y="1812"/>
                    <a:pt x="112" y="1805"/>
                    <a:pt x="134" y="1805"/>
                  </a:cubicBezTo>
                  <a:cubicBezTo>
                    <a:pt x="179" y="1805"/>
                    <a:pt x="208" y="1812"/>
                    <a:pt x="253" y="1827"/>
                  </a:cubicBezTo>
                  <a:cubicBezTo>
                    <a:pt x="290" y="1842"/>
                    <a:pt x="334" y="1834"/>
                    <a:pt x="379" y="1842"/>
                  </a:cubicBezTo>
                  <a:cubicBezTo>
                    <a:pt x="379" y="1819"/>
                    <a:pt x="379" y="1797"/>
                    <a:pt x="379" y="1790"/>
                  </a:cubicBezTo>
                  <a:cubicBezTo>
                    <a:pt x="379" y="1797"/>
                    <a:pt x="379" y="1819"/>
                    <a:pt x="379" y="1842"/>
                  </a:cubicBezTo>
                  <a:cubicBezTo>
                    <a:pt x="379" y="1842"/>
                    <a:pt x="386" y="1842"/>
                    <a:pt x="394" y="1842"/>
                  </a:cubicBezTo>
                  <a:cubicBezTo>
                    <a:pt x="438" y="1849"/>
                    <a:pt x="476" y="1901"/>
                    <a:pt x="527" y="1871"/>
                  </a:cubicBezTo>
                  <a:cubicBezTo>
                    <a:pt x="527" y="1857"/>
                    <a:pt x="542" y="1857"/>
                    <a:pt x="550" y="1842"/>
                  </a:cubicBezTo>
                  <a:cubicBezTo>
                    <a:pt x="602" y="1842"/>
                    <a:pt x="691" y="1842"/>
                    <a:pt x="728" y="1894"/>
                  </a:cubicBezTo>
                  <a:cubicBezTo>
                    <a:pt x="780" y="1983"/>
                    <a:pt x="780" y="1879"/>
                    <a:pt x="817" y="1916"/>
                  </a:cubicBezTo>
                  <a:cubicBezTo>
                    <a:pt x="817" y="1923"/>
                    <a:pt x="802" y="2050"/>
                    <a:pt x="847" y="2005"/>
                  </a:cubicBezTo>
                  <a:cubicBezTo>
                    <a:pt x="854" y="1998"/>
                    <a:pt x="847" y="1983"/>
                    <a:pt x="862" y="1983"/>
                  </a:cubicBezTo>
                  <a:cubicBezTo>
                    <a:pt x="884" y="1983"/>
                    <a:pt x="876" y="2012"/>
                    <a:pt x="876" y="2020"/>
                  </a:cubicBezTo>
                  <a:cubicBezTo>
                    <a:pt x="876" y="2057"/>
                    <a:pt x="832" y="2079"/>
                    <a:pt x="824" y="2116"/>
                  </a:cubicBezTo>
                  <a:cubicBezTo>
                    <a:pt x="824" y="2124"/>
                    <a:pt x="854" y="2139"/>
                    <a:pt x="862" y="2146"/>
                  </a:cubicBezTo>
                  <a:cubicBezTo>
                    <a:pt x="876" y="2161"/>
                    <a:pt x="876" y="2183"/>
                    <a:pt x="884" y="2205"/>
                  </a:cubicBezTo>
                  <a:cubicBezTo>
                    <a:pt x="921" y="2213"/>
                    <a:pt x="929" y="2198"/>
                    <a:pt x="929" y="2161"/>
                  </a:cubicBezTo>
                  <a:cubicBezTo>
                    <a:pt x="929" y="2124"/>
                    <a:pt x="981" y="2102"/>
                    <a:pt x="995" y="2079"/>
                  </a:cubicBezTo>
                  <a:cubicBezTo>
                    <a:pt x="1018" y="2042"/>
                    <a:pt x="1032" y="2005"/>
                    <a:pt x="1077" y="2020"/>
                  </a:cubicBezTo>
                  <a:cubicBezTo>
                    <a:pt x="1114" y="2042"/>
                    <a:pt x="1151" y="2050"/>
                    <a:pt x="1196" y="2050"/>
                  </a:cubicBezTo>
                  <a:cubicBezTo>
                    <a:pt x="1188" y="1990"/>
                    <a:pt x="1329" y="1998"/>
                    <a:pt x="1329" y="2072"/>
                  </a:cubicBezTo>
                  <a:cubicBezTo>
                    <a:pt x="1359" y="2072"/>
                    <a:pt x="1381" y="2072"/>
                    <a:pt x="1404" y="2079"/>
                  </a:cubicBezTo>
                  <a:cubicBezTo>
                    <a:pt x="1441" y="2087"/>
                    <a:pt x="1419" y="2072"/>
                    <a:pt x="1448" y="2057"/>
                  </a:cubicBezTo>
                  <a:cubicBezTo>
                    <a:pt x="1448" y="2050"/>
                    <a:pt x="1456" y="2042"/>
                    <a:pt x="1456" y="2035"/>
                  </a:cubicBezTo>
                  <a:cubicBezTo>
                    <a:pt x="1463" y="2042"/>
                    <a:pt x="1471" y="2042"/>
                    <a:pt x="1471" y="2050"/>
                  </a:cubicBezTo>
                  <a:cubicBezTo>
                    <a:pt x="1486" y="2042"/>
                    <a:pt x="1478" y="2027"/>
                    <a:pt x="1493" y="2020"/>
                  </a:cubicBezTo>
                  <a:cubicBezTo>
                    <a:pt x="1500" y="2012"/>
                    <a:pt x="1523" y="2020"/>
                    <a:pt x="1530" y="2012"/>
                  </a:cubicBezTo>
                  <a:cubicBezTo>
                    <a:pt x="1537" y="1998"/>
                    <a:pt x="1552" y="1990"/>
                    <a:pt x="1552" y="1975"/>
                  </a:cubicBezTo>
                  <a:cubicBezTo>
                    <a:pt x="1515" y="1983"/>
                    <a:pt x="1523" y="1923"/>
                    <a:pt x="1523" y="1901"/>
                  </a:cubicBezTo>
                  <a:cubicBezTo>
                    <a:pt x="1530" y="1886"/>
                    <a:pt x="1537" y="1871"/>
                    <a:pt x="1537" y="1857"/>
                  </a:cubicBezTo>
                  <a:cubicBezTo>
                    <a:pt x="1552" y="1827"/>
                    <a:pt x="1545" y="1790"/>
                    <a:pt x="1552" y="1760"/>
                  </a:cubicBezTo>
                  <a:cubicBezTo>
                    <a:pt x="1575" y="1767"/>
                    <a:pt x="1656" y="1812"/>
                    <a:pt x="1664" y="1775"/>
                  </a:cubicBezTo>
                  <a:cubicBezTo>
                    <a:pt x="1664" y="1730"/>
                    <a:pt x="1701" y="1723"/>
                    <a:pt x="1708" y="1767"/>
                  </a:cubicBezTo>
                  <a:cubicBezTo>
                    <a:pt x="1716" y="1782"/>
                    <a:pt x="1716" y="1805"/>
                    <a:pt x="1723" y="1819"/>
                  </a:cubicBezTo>
                  <a:cubicBezTo>
                    <a:pt x="1745" y="1849"/>
                    <a:pt x="1760" y="1812"/>
                    <a:pt x="1768" y="1805"/>
                  </a:cubicBezTo>
                  <a:cubicBezTo>
                    <a:pt x="1797" y="1782"/>
                    <a:pt x="1812" y="1790"/>
                    <a:pt x="1812" y="1753"/>
                  </a:cubicBezTo>
                  <a:cubicBezTo>
                    <a:pt x="1812" y="1723"/>
                    <a:pt x="1797" y="1715"/>
                    <a:pt x="1768" y="1715"/>
                  </a:cubicBezTo>
                  <a:cubicBezTo>
                    <a:pt x="1768" y="1708"/>
                    <a:pt x="1768" y="1700"/>
                    <a:pt x="1768" y="1700"/>
                  </a:cubicBezTo>
                  <a:cubicBezTo>
                    <a:pt x="1790" y="1700"/>
                    <a:pt x="1797" y="1678"/>
                    <a:pt x="1812" y="1671"/>
                  </a:cubicBezTo>
                  <a:cubicBezTo>
                    <a:pt x="1827" y="1656"/>
                    <a:pt x="1849" y="1656"/>
                    <a:pt x="1872" y="1656"/>
                  </a:cubicBezTo>
                  <a:cubicBezTo>
                    <a:pt x="1872" y="1634"/>
                    <a:pt x="1879" y="1619"/>
                    <a:pt x="1872" y="1597"/>
                  </a:cubicBezTo>
                  <a:cubicBezTo>
                    <a:pt x="1849" y="1597"/>
                    <a:pt x="1849" y="1582"/>
                    <a:pt x="1857" y="1560"/>
                  </a:cubicBezTo>
                  <a:cubicBezTo>
                    <a:pt x="1864" y="1545"/>
                    <a:pt x="1886" y="1545"/>
                    <a:pt x="1901" y="1552"/>
                  </a:cubicBezTo>
                  <a:cubicBezTo>
                    <a:pt x="1901" y="1567"/>
                    <a:pt x="1923" y="1574"/>
                    <a:pt x="1938" y="1574"/>
                  </a:cubicBezTo>
                  <a:cubicBezTo>
                    <a:pt x="1961" y="1582"/>
                    <a:pt x="1961" y="1611"/>
                    <a:pt x="1976" y="1634"/>
                  </a:cubicBezTo>
                  <a:cubicBezTo>
                    <a:pt x="1998" y="1634"/>
                    <a:pt x="1991" y="1530"/>
                    <a:pt x="1991" y="1515"/>
                  </a:cubicBezTo>
                  <a:cubicBezTo>
                    <a:pt x="1991" y="1485"/>
                    <a:pt x="2005" y="1455"/>
                    <a:pt x="1983" y="1433"/>
                  </a:cubicBezTo>
                  <a:cubicBezTo>
                    <a:pt x="1953" y="1418"/>
                    <a:pt x="1938" y="1389"/>
                    <a:pt x="1923" y="1352"/>
                  </a:cubicBezTo>
                  <a:cubicBezTo>
                    <a:pt x="1923" y="1359"/>
                    <a:pt x="1923" y="1359"/>
                    <a:pt x="1916" y="1359"/>
                  </a:cubicBezTo>
                  <a:cubicBezTo>
                    <a:pt x="1916" y="1359"/>
                    <a:pt x="1916" y="1366"/>
                    <a:pt x="1916" y="1359"/>
                  </a:cubicBezTo>
                  <a:cubicBezTo>
                    <a:pt x="1916" y="1366"/>
                    <a:pt x="1916" y="1359"/>
                    <a:pt x="1916" y="1359"/>
                  </a:cubicBezTo>
                  <a:cubicBezTo>
                    <a:pt x="1909" y="1366"/>
                    <a:pt x="1901" y="1366"/>
                    <a:pt x="1901" y="1359"/>
                  </a:cubicBezTo>
                  <a:lnTo>
                    <a:pt x="1879" y="1329"/>
                  </a:lnTo>
                  <a:cubicBezTo>
                    <a:pt x="1872" y="1322"/>
                    <a:pt x="1879" y="1314"/>
                    <a:pt x="1879" y="1300"/>
                  </a:cubicBezTo>
                  <a:cubicBezTo>
                    <a:pt x="1872" y="1292"/>
                    <a:pt x="1857" y="1292"/>
                    <a:pt x="1864" y="1277"/>
                  </a:cubicBezTo>
                  <a:cubicBezTo>
                    <a:pt x="1872" y="1263"/>
                    <a:pt x="1909" y="1173"/>
                    <a:pt x="1931" y="1173"/>
                  </a:cubicBezTo>
                  <a:cubicBezTo>
                    <a:pt x="1931" y="1173"/>
                    <a:pt x="1946" y="1181"/>
                    <a:pt x="1953" y="1188"/>
                  </a:cubicBezTo>
                  <a:cubicBezTo>
                    <a:pt x="1953" y="1188"/>
                    <a:pt x="1946" y="1181"/>
                    <a:pt x="1946" y="1173"/>
                  </a:cubicBezTo>
                  <a:cubicBezTo>
                    <a:pt x="1894" y="1136"/>
                    <a:pt x="1834" y="1151"/>
                    <a:pt x="1797" y="1092"/>
                  </a:cubicBezTo>
                  <a:cubicBezTo>
                    <a:pt x="1783" y="1069"/>
                    <a:pt x="1790" y="1055"/>
                    <a:pt x="1805" y="1025"/>
                  </a:cubicBezTo>
                  <a:cubicBezTo>
                    <a:pt x="1812" y="1010"/>
                    <a:pt x="1797" y="965"/>
                    <a:pt x="1805" y="943"/>
                  </a:cubicBezTo>
                  <a:cubicBezTo>
                    <a:pt x="1797" y="943"/>
                    <a:pt x="1790" y="943"/>
                    <a:pt x="1790" y="943"/>
                  </a:cubicBezTo>
                  <a:cubicBezTo>
                    <a:pt x="1790" y="891"/>
                    <a:pt x="1768" y="913"/>
                    <a:pt x="1731" y="906"/>
                  </a:cubicBezTo>
                  <a:cubicBezTo>
                    <a:pt x="1701" y="898"/>
                    <a:pt x="1686" y="847"/>
                    <a:pt x="1671" y="817"/>
                  </a:cubicBezTo>
                  <a:cubicBezTo>
                    <a:pt x="1649" y="780"/>
                    <a:pt x="1634" y="787"/>
                    <a:pt x="1626" y="824"/>
                  </a:cubicBezTo>
                  <a:cubicBezTo>
                    <a:pt x="1612" y="876"/>
                    <a:pt x="1560" y="861"/>
                    <a:pt x="1523" y="854"/>
                  </a:cubicBezTo>
                  <a:cubicBezTo>
                    <a:pt x="1523" y="817"/>
                    <a:pt x="1530" y="780"/>
                    <a:pt x="1515" y="743"/>
                  </a:cubicBezTo>
                  <a:cubicBezTo>
                    <a:pt x="1508" y="713"/>
                    <a:pt x="1486" y="683"/>
                    <a:pt x="1463" y="661"/>
                  </a:cubicBezTo>
                  <a:cubicBezTo>
                    <a:pt x="1448" y="639"/>
                    <a:pt x="1329" y="490"/>
                    <a:pt x="1426" y="512"/>
                  </a:cubicBezTo>
                  <a:cubicBezTo>
                    <a:pt x="1433" y="490"/>
                    <a:pt x="1374" y="408"/>
                    <a:pt x="1359" y="394"/>
                  </a:cubicBezTo>
                  <a:cubicBezTo>
                    <a:pt x="1337" y="364"/>
                    <a:pt x="1292" y="356"/>
                    <a:pt x="1263" y="342"/>
                  </a:cubicBezTo>
                  <a:cubicBezTo>
                    <a:pt x="1240" y="327"/>
                    <a:pt x="1203" y="342"/>
                    <a:pt x="1181" y="319"/>
                  </a:cubicBezTo>
                  <a:cubicBezTo>
                    <a:pt x="1188" y="304"/>
                    <a:pt x="1211" y="312"/>
                    <a:pt x="1226" y="304"/>
                  </a:cubicBezTo>
                  <a:cubicBezTo>
                    <a:pt x="1248" y="290"/>
                    <a:pt x="1233" y="260"/>
                    <a:pt x="1233" y="238"/>
                  </a:cubicBezTo>
                  <a:cubicBezTo>
                    <a:pt x="1226" y="186"/>
                    <a:pt x="1278" y="201"/>
                    <a:pt x="1315" y="201"/>
                  </a:cubicBezTo>
                  <a:cubicBezTo>
                    <a:pt x="1307" y="201"/>
                    <a:pt x="1337" y="141"/>
                    <a:pt x="1337" y="141"/>
                  </a:cubicBezTo>
                  <a:cubicBezTo>
                    <a:pt x="1352" y="119"/>
                    <a:pt x="1381" y="111"/>
                    <a:pt x="1411" y="111"/>
                  </a:cubicBezTo>
                  <a:cubicBezTo>
                    <a:pt x="1411" y="82"/>
                    <a:pt x="1381" y="59"/>
                    <a:pt x="1367" y="37"/>
                  </a:cubicBezTo>
                  <a:cubicBezTo>
                    <a:pt x="1367" y="37"/>
                    <a:pt x="1359" y="22"/>
                    <a:pt x="1352" y="7"/>
                  </a:cubicBezTo>
                  <a:cubicBezTo>
                    <a:pt x="1344" y="7"/>
                    <a:pt x="1337" y="0"/>
                    <a:pt x="1329" y="30"/>
                  </a:cubicBezTo>
                  <a:cubicBezTo>
                    <a:pt x="1322" y="52"/>
                    <a:pt x="1322" y="59"/>
                    <a:pt x="1292" y="67"/>
                  </a:cubicBezTo>
                  <a:cubicBezTo>
                    <a:pt x="1270" y="67"/>
                    <a:pt x="1248" y="59"/>
                    <a:pt x="1226" y="67"/>
                  </a:cubicBezTo>
                  <a:cubicBezTo>
                    <a:pt x="1226" y="89"/>
                    <a:pt x="1188" y="82"/>
                    <a:pt x="1188" y="119"/>
                  </a:cubicBezTo>
                  <a:cubicBezTo>
                    <a:pt x="1159" y="119"/>
                    <a:pt x="1144" y="111"/>
                    <a:pt x="1114" y="96"/>
                  </a:cubicBezTo>
                  <a:lnTo>
                    <a:pt x="1107" y="96"/>
                  </a:lnTo>
                  <a:cubicBezTo>
                    <a:pt x="1107" y="126"/>
                    <a:pt x="1092" y="156"/>
                    <a:pt x="1092" y="178"/>
                  </a:cubicBezTo>
                  <a:cubicBezTo>
                    <a:pt x="1092" y="201"/>
                    <a:pt x="1084" y="208"/>
                    <a:pt x="1070" y="223"/>
                  </a:cubicBezTo>
                  <a:cubicBezTo>
                    <a:pt x="1055" y="238"/>
                    <a:pt x="1040" y="238"/>
                    <a:pt x="1032" y="260"/>
                  </a:cubicBezTo>
                  <a:cubicBezTo>
                    <a:pt x="981" y="260"/>
                    <a:pt x="936" y="260"/>
                    <a:pt x="884" y="260"/>
                  </a:cubicBezTo>
                  <a:cubicBezTo>
                    <a:pt x="862" y="260"/>
                    <a:pt x="824" y="253"/>
                    <a:pt x="810" y="260"/>
                  </a:cubicBezTo>
                  <a:cubicBezTo>
                    <a:pt x="787" y="275"/>
                    <a:pt x="795" y="304"/>
                    <a:pt x="773" y="304"/>
                  </a:cubicBezTo>
                  <a:cubicBezTo>
                    <a:pt x="765" y="364"/>
                    <a:pt x="721" y="342"/>
                    <a:pt x="684" y="356"/>
                  </a:cubicBezTo>
                  <a:cubicBezTo>
                    <a:pt x="661" y="364"/>
                    <a:pt x="646" y="379"/>
                    <a:pt x="631" y="394"/>
                  </a:cubicBezTo>
                  <a:cubicBezTo>
                    <a:pt x="609" y="416"/>
                    <a:pt x="617" y="416"/>
                    <a:pt x="609" y="446"/>
                  </a:cubicBezTo>
                  <a:cubicBezTo>
                    <a:pt x="594" y="475"/>
                    <a:pt x="587" y="446"/>
                    <a:pt x="565" y="461"/>
                  </a:cubicBezTo>
                  <a:cubicBezTo>
                    <a:pt x="550" y="475"/>
                    <a:pt x="579" y="527"/>
                    <a:pt x="587" y="542"/>
                  </a:cubicBezTo>
                  <a:cubicBezTo>
                    <a:pt x="609" y="572"/>
                    <a:pt x="617" y="601"/>
                    <a:pt x="609" y="639"/>
                  </a:cubicBezTo>
                  <a:cubicBezTo>
                    <a:pt x="602" y="639"/>
                    <a:pt x="594" y="646"/>
                    <a:pt x="587" y="653"/>
                  </a:cubicBezTo>
                  <a:cubicBezTo>
                    <a:pt x="624" y="653"/>
                    <a:pt x="631" y="661"/>
                    <a:pt x="631" y="698"/>
                  </a:cubicBezTo>
                  <a:cubicBezTo>
                    <a:pt x="631" y="706"/>
                    <a:pt x="602" y="713"/>
                    <a:pt x="602" y="720"/>
                  </a:cubicBezTo>
                  <a:cubicBezTo>
                    <a:pt x="587" y="728"/>
                    <a:pt x="572" y="743"/>
                    <a:pt x="565" y="758"/>
                  </a:cubicBezTo>
                  <a:cubicBezTo>
                    <a:pt x="557" y="780"/>
                    <a:pt x="520" y="913"/>
                    <a:pt x="557" y="913"/>
                  </a:cubicBezTo>
                  <a:cubicBezTo>
                    <a:pt x="557" y="921"/>
                    <a:pt x="557" y="921"/>
                    <a:pt x="557" y="928"/>
                  </a:cubicBezTo>
                  <a:cubicBezTo>
                    <a:pt x="565" y="928"/>
                    <a:pt x="579" y="928"/>
                    <a:pt x="587" y="928"/>
                  </a:cubicBezTo>
                  <a:cubicBezTo>
                    <a:pt x="587" y="921"/>
                    <a:pt x="594" y="913"/>
                    <a:pt x="587" y="906"/>
                  </a:cubicBezTo>
                  <a:cubicBezTo>
                    <a:pt x="609" y="906"/>
                    <a:pt x="624" y="906"/>
                    <a:pt x="639" y="906"/>
                  </a:cubicBezTo>
                  <a:cubicBezTo>
                    <a:pt x="646" y="921"/>
                    <a:pt x="646" y="936"/>
                    <a:pt x="639" y="943"/>
                  </a:cubicBezTo>
                  <a:cubicBezTo>
                    <a:pt x="631" y="958"/>
                    <a:pt x="609" y="943"/>
                    <a:pt x="602" y="951"/>
                  </a:cubicBezTo>
                  <a:cubicBezTo>
                    <a:pt x="587" y="951"/>
                    <a:pt x="594" y="958"/>
                    <a:pt x="579" y="973"/>
                  </a:cubicBezTo>
                  <a:cubicBezTo>
                    <a:pt x="565" y="988"/>
                    <a:pt x="565" y="980"/>
                    <a:pt x="550" y="988"/>
                  </a:cubicBezTo>
                  <a:cubicBezTo>
                    <a:pt x="535" y="995"/>
                    <a:pt x="535" y="988"/>
                    <a:pt x="527" y="1003"/>
                  </a:cubicBezTo>
                  <a:cubicBezTo>
                    <a:pt x="520" y="1017"/>
                    <a:pt x="513" y="1025"/>
                    <a:pt x="505" y="1032"/>
                  </a:cubicBezTo>
                  <a:cubicBezTo>
                    <a:pt x="483" y="1055"/>
                    <a:pt x="468" y="1069"/>
                    <a:pt x="446" y="1092"/>
                  </a:cubicBezTo>
                  <a:cubicBezTo>
                    <a:pt x="431" y="1114"/>
                    <a:pt x="409" y="1114"/>
                    <a:pt x="386" y="1129"/>
                  </a:cubicBezTo>
                  <a:cubicBezTo>
                    <a:pt x="349" y="1136"/>
                    <a:pt x="364" y="1158"/>
                    <a:pt x="349" y="1188"/>
                  </a:cubicBezTo>
                  <a:cubicBezTo>
                    <a:pt x="342" y="1203"/>
                    <a:pt x="312" y="1210"/>
                    <a:pt x="297" y="1225"/>
                  </a:cubicBezTo>
                  <a:cubicBezTo>
                    <a:pt x="282" y="1255"/>
                    <a:pt x="275" y="1263"/>
                    <a:pt x="245" y="1263"/>
                  </a:cubicBezTo>
                  <a:cubicBezTo>
                    <a:pt x="245" y="1270"/>
                    <a:pt x="245" y="1285"/>
                    <a:pt x="238" y="1300"/>
                  </a:cubicBezTo>
                  <a:cubicBezTo>
                    <a:pt x="216" y="1307"/>
                    <a:pt x="208" y="1337"/>
                    <a:pt x="186" y="1344"/>
                  </a:cubicBezTo>
                  <a:cubicBezTo>
                    <a:pt x="186" y="1344"/>
                    <a:pt x="186" y="1344"/>
                    <a:pt x="186" y="1352"/>
                  </a:cubicBezTo>
                  <a:cubicBezTo>
                    <a:pt x="164" y="1352"/>
                    <a:pt x="112" y="1344"/>
                    <a:pt x="112" y="1381"/>
                  </a:cubicBezTo>
                  <a:cubicBezTo>
                    <a:pt x="134" y="1381"/>
                    <a:pt x="141" y="1389"/>
                    <a:pt x="141" y="1411"/>
                  </a:cubicBezTo>
                  <a:cubicBezTo>
                    <a:pt x="141" y="1411"/>
                    <a:pt x="97" y="1418"/>
                    <a:pt x="89" y="1418"/>
                  </a:cubicBezTo>
                  <a:cubicBezTo>
                    <a:pt x="67" y="1448"/>
                    <a:pt x="89" y="1470"/>
                    <a:pt x="119" y="1485"/>
                  </a:cubicBezTo>
                  <a:cubicBezTo>
                    <a:pt x="119" y="1522"/>
                    <a:pt x="112" y="1560"/>
                    <a:pt x="104" y="1597"/>
                  </a:cubicBezTo>
                  <a:cubicBezTo>
                    <a:pt x="97" y="1626"/>
                    <a:pt x="104" y="1626"/>
                    <a:pt x="74" y="1641"/>
                  </a:cubicBezTo>
                  <a:cubicBezTo>
                    <a:pt x="45" y="1656"/>
                    <a:pt x="30" y="1663"/>
                    <a:pt x="8" y="1686"/>
                  </a:cubicBezTo>
                  <a:cubicBezTo>
                    <a:pt x="8" y="1693"/>
                    <a:pt x="0" y="1700"/>
                    <a:pt x="0" y="1708"/>
                  </a:cubicBezTo>
                  <a:cubicBezTo>
                    <a:pt x="30" y="1723"/>
                    <a:pt x="60" y="1745"/>
                    <a:pt x="52" y="1782"/>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7" name="Freeform 14">
              <a:extLst>
                <a:ext uri="{FF2B5EF4-FFF2-40B4-BE49-F238E27FC236}">
                  <a16:creationId xmlns:a16="http://schemas.microsoft.com/office/drawing/2014/main" id="{FCC1AC12-781F-C348-8D6A-F319AC5EAF4B}"/>
                </a:ext>
              </a:extLst>
            </p:cNvPr>
            <p:cNvSpPr>
              <a:spLocks noChangeArrowheads="1"/>
            </p:cNvSpPr>
            <p:nvPr/>
          </p:nvSpPr>
          <p:spPr bwMode="auto">
            <a:xfrm>
              <a:off x="11531073" y="7162513"/>
              <a:ext cx="1256294" cy="2027024"/>
            </a:xfrm>
            <a:custGeom>
              <a:avLst/>
              <a:gdLst>
                <a:gd name="T0" fmla="*/ 2903 w 2904"/>
                <a:gd name="T1" fmla="*/ 839 h 4694"/>
                <a:gd name="T2" fmla="*/ 2673 w 2904"/>
                <a:gd name="T3" fmla="*/ 609 h 4694"/>
                <a:gd name="T4" fmla="*/ 2546 w 2904"/>
                <a:gd name="T5" fmla="*/ 305 h 4694"/>
                <a:gd name="T6" fmla="*/ 2361 w 2904"/>
                <a:gd name="T7" fmla="*/ 60 h 4694"/>
                <a:gd name="T8" fmla="*/ 2212 w 2904"/>
                <a:gd name="T9" fmla="*/ 45 h 4694"/>
                <a:gd name="T10" fmla="*/ 1960 w 2904"/>
                <a:gd name="T11" fmla="*/ 141 h 4694"/>
                <a:gd name="T12" fmla="*/ 1767 w 2904"/>
                <a:gd name="T13" fmla="*/ 178 h 4694"/>
                <a:gd name="T14" fmla="*/ 1671 w 2904"/>
                <a:gd name="T15" fmla="*/ 297 h 4694"/>
                <a:gd name="T16" fmla="*/ 1463 w 2904"/>
                <a:gd name="T17" fmla="*/ 245 h 4694"/>
                <a:gd name="T18" fmla="*/ 1099 w 2904"/>
                <a:gd name="T19" fmla="*/ 305 h 4694"/>
                <a:gd name="T20" fmla="*/ 1248 w 2904"/>
                <a:gd name="T21" fmla="*/ 438 h 4694"/>
                <a:gd name="T22" fmla="*/ 1270 w 2904"/>
                <a:gd name="T23" fmla="*/ 772 h 4694"/>
                <a:gd name="T24" fmla="*/ 1166 w 2904"/>
                <a:gd name="T25" fmla="*/ 943 h 4694"/>
                <a:gd name="T26" fmla="*/ 1040 w 2904"/>
                <a:gd name="T27" fmla="*/ 1113 h 4694"/>
                <a:gd name="T28" fmla="*/ 832 w 2904"/>
                <a:gd name="T29" fmla="*/ 1180 h 4694"/>
                <a:gd name="T30" fmla="*/ 654 w 2904"/>
                <a:gd name="T31" fmla="*/ 1321 h 4694"/>
                <a:gd name="T32" fmla="*/ 542 w 2904"/>
                <a:gd name="T33" fmla="*/ 1447 h 4694"/>
                <a:gd name="T34" fmla="*/ 505 w 2904"/>
                <a:gd name="T35" fmla="*/ 1648 h 4694"/>
                <a:gd name="T36" fmla="*/ 357 w 2904"/>
                <a:gd name="T37" fmla="*/ 2101 h 4694"/>
                <a:gd name="T38" fmla="*/ 193 w 2904"/>
                <a:gd name="T39" fmla="*/ 2145 h 4694"/>
                <a:gd name="T40" fmla="*/ 282 w 2904"/>
                <a:gd name="T41" fmla="*/ 2338 h 4694"/>
                <a:gd name="T42" fmla="*/ 305 w 2904"/>
                <a:gd name="T43" fmla="*/ 2650 h 4694"/>
                <a:gd name="T44" fmla="*/ 163 w 2904"/>
                <a:gd name="T45" fmla="*/ 2836 h 4694"/>
                <a:gd name="T46" fmla="*/ 253 w 2904"/>
                <a:gd name="T47" fmla="*/ 2962 h 4694"/>
                <a:gd name="T48" fmla="*/ 178 w 2904"/>
                <a:gd name="T49" fmla="*/ 3155 h 4694"/>
                <a:gd name="T50" fmla="*/ 379 w 2904"/>
                <a:gd name="T51" fmla="*/ 3281 h 4694"/>
                <a:gd name="T52" fmla="*/ 468 w 2904"/>
                <a:gd name="T53" fmla="*/ 3430 h 4694"/>
                <a:gd name="T54" fmla="*/ 446 w 2904"/>
                <a:gd name="T55" fmla="*/ 3497 h 4694"/>
                <a:gd name="T56" fmla="*/ 260 w 2904"/>
                <a:gd name="T57" fmla="*/ 3452 h 4694"/>
                <a:gd name="T58" fmla="*/ 67 w 2904"/>
                <a:gd name="T59" fmla="*/ 3638 h 4694"/>
                <a:gd name="T60" fmla="*/ 15 w 2904"/>
                <a:gd name="T61" fmla="*/ 3905 h 4694"/>
                <a:gd name="T62" fmla="*/ 74 w 2904"/>
                <a:gd name="T63" fmla="*/ 3994 h 4694"/>
                <a:gd name="T64" fmla="*/ 364 w 2904"/>
                <a:gd name="T65" fmla="*/ 4269 h 4694"/>
                <a:gd name="T66" fmla="*/ 453 w 2904"/>
                <a:gd name="T67" fmla="*/ 4381 h 4694"/>
                <a:gd name="T68" fmla="*/ 513 w 2904"/>
                <a:gd name="T69" fmla="*/ 4462 h 4694"/>
                <a:gd name="T70" fmla="*/ 743 w 2904"/>
                <a:gd name="T71" fmla="*/ 4626 h 4694"/>
                <a:gd name="T72" fmla="*/ 817 w 2904"/>
                <a:gd name="T73" fmla="*/ 4470 h 4694"/>
                <a:gd name="T74" fmla="*/ 965 w 2904"/>
                <a:gd name="T75" fmla="*/ 4239 h 4694"/>
                <a:gd name="T76" fmla="*/ 1181 w 2904"/>
                <a:gd name="T77" fmla="*/ 4083 h 4694"/>
                <a:gd name="T78" fmla="*/ 1300 w 2904"/>
                <a:gd name="T79" fmla="*/ 3928 h 4694"/>
                <a:gd name="T80" fmla="*/ 1352 w 2904"/>
                <a:gd name="T81" fmla="*/ 3549 h 4694"/>
                <a:gd name="T82" fmla="*/ 1248 w 2904"/>
                <a:gd name="T83" fmla="*/ 3363 h 4694"/>
                <a:gd name="T84" fmla="*/ 1159 w 2904"/>
                <a:gd name="T85" fmla="*/ 3103 h 4694"/>
                <a:gd name="T86" fmla="*/ 1456 w 2904"/>
                <a:gd name="T87" fmla="*/ 3029 h 4694"/>
                <a:gd name="T88" fmla="*/ 1664 w 2904"/>
                <a:gd name="T89" fmla="*/ 3163 h 4694"/>
                <a:gd name="T90" fmla="*/ 1627 w 2904"/>
                <a:gd name="T91" fmla="*/ 3014 h 4694"/>
                <a:gd name="T92" fmla="*/ 1545 w 2904"/>
                <a:gd name="T93" fmla="*/ 2658 h 4694"/>
                <a:gd name="T94" fmla="*/ 1515 w 2904"/>
                <a:gd name="T95" fmla="*/ 2316 h 4694"/>
                <a:gd name="T96" fmla="*/ 1649 w 2904"/>
                <a:gd name="T97" fmla="*/ 2316 h 4694"/>
                <a:gd name="T98" fmla="*/ 2019 w 2904"/>
                <a:gd name="T99" fmla="*/ 2153 h 4694"/>
                <a:gd name="T100" fmla="*/ 2131 w 2904"/>
                <a:gd name="T101" fmla="*/ 2027 h 4694"/>
                <a:gd name="T102" fmla="*/ 2249 w 2904"/>
                <a:gd name="T103" fmla="*/ 1811 h 4694"/>
                <a:gd name="T104" fmla="*/ 2413 w 2904"/>
                <a:gd name="T105" fmla="*/ 1611 h 4694"/>
                <a:gd name="T106" fmla="*/ 2472 w 2904"/>
                <a:gd name="T107" fmla="*/ 1373 h 4694"/>
                <a:gd name="T108" fmla="*/ 2687 w 2904"/>
                <a:gd name="T109" fmla="*/ 1143 h 4694"/>
                <a:gd name="T110" fmla="*/ 2881 w 2904"/>
                <a:gd name="T111" fmla="*/ 958 h 4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04" h="4694">
                  <a:moveTo>
                    <a:pt x="2881" y="958"/>
                  </a:moveTo>
                  <a:lnTo>
                    <a:pt x="2881" y="958"/>
                  </a:lnTo>
                  <a:cubicBezTo>
                    <a:pt x="2881" y="921"/>
                    <a:pt x="2895" y="884"/>
                    <a:pt x="2903" y="839"/>
                  </a:cubicBezTo>
                  <a:cubicBezTo>
                    <a:pt x="2858" y="839"/>
                    <a:pt x="2806" y="854"/>
                    <a:pt x="2776" y="802"/>
                  </a:cubicBezTo>
                  <a:cubicBezTo>
                    <a:pt x="2762" y="780"/>
                    <a:pt x="2747" y="743"/>
                    <a:pt x="2717" y="743"/>
                  </a:cubicBezTo>
                  <a:cubicBezTo>
                    <a:pt x="2710" y="706"/>
                    <a:pt x="2725" y="594"/>
                    <a:pt x="2673" y="609"/>
                  </a:cubicBezTo>
                  <a:cubicBezTo>
                    <a:pt x="2658" y="535"/>
                    <a:pt x="2725" y="431"/>
                    <a:pt x="2658" y="379"/>
                  </a:cubicBezTo>
                  <a:cubicBezTo>
                    <a:pt x="2643" y="364"/>
                    <a:pt x="2598" y="386"/>
                    <a:pt x="2569" y="371"/>
                  </a:cubicBezTo>
                  <a:cubicBezTo>
                    <a:pt x="2546" y="364"/>
                    <a:pt x="2546" y="327"/>
                    <a:pt x="2546" y="305"/>
                  </a:cubicBezTo>
                  <a:cubicBezTo>
                    <a:pt x="2509" y="312"/>
                    <a:pt x="2502" y="275"/>
                    <a:pt x="2494" y="245"/>
                  </a:cubicBezTo>
                  <a:cubicBezTo>
                    <a:pt x="2487" y="216"/>
                    <a:pt x="2472" y="201"/>
                    <a:pt x="2442" y="186"/>
                  </a:cubicBezTo>
                  <a:cubicBezTo>
                    <a:pt x="2390" y="149"/>
                    <a:pt x="2368" y="134"/>
                    <a:pt x="2361" y="60"/>
                  </a:cubicBezTo>
                  <a:cubicBezTo>
                    <a:pt x="2361" y="15"/>
                    <a:pt x="2309" y="0"/>
                    <a:pt x="2257" y="0"/>
                  </a:cubicBezTo>
                  <a:cubicBezTo>
                    <a:pt x="2257" y="8"/>
                    <a:pt x="2264" y="15"/>
                    <a:pt x="2264" y="30"/>
                  </a:cubicBezTo>
                  <a:cubicBezTo>
                    <a:pt x="2242" y="30"/>
                    <a:pt x="2212" y="22"/>
                    <a:pt x="2212" y="45"/>
                  </a:cubicBezTo>
                  <a:cubicBezTo>
                    <a:pt x="2212" y="74"/>
                    <a:pt x="2197" y="52"/>
                    <a:pt x="2182" y="67"/>
                  </a:cubicBezTo>
                  <a:cubicBezTo>
                    <a:pt x="2153" y="97"/>
                    <a:pt x="2190" y="156"/>
                    <a:pt x="2145" y="186"/>
                  </a:cubicBezTo>
                  <a:cubicBezTo>
                    <a:pt x="2101" y="201"/>
                    <a:pt x="1960" y="201"/>
                    <a:pt x="1960" y="141"/>
                  </a:cubicBezTo>
                  <a:cubicBezTo>
                    <a:pt x="1930" y="134"/>
                    <a:pt x="1893" y="134"/>
                    <a:pt x="1878" y="112"/>
                  </a:cubicBezTo>
                  <a:cubicBezTo>
                    <a:pt x="1863" y="134"/>
                    <a:pt x="1848" y="149"/>
                    <a:pt x="1834" y="156"/>
                  </a:cubicBezTo>
                  <a:cubicBezTo>
                    <a:pt x="1811" y="156"/>
                    <a:pt x="1774" y="149"/>
                    <a:pt x="1767" y="178"/>
                  </a:cubicBezTo>
                  <a:cubicBezTo>
                    <a:pt x="1767" y="193"/>
                    <a:pt x="1774" y="223"/>
                    <a:pt x="1752" y="230"/>
                  </a:cubicBezTo>
                  <a:cubicBezTo>
                    <a:pt x="1737" y="238"/>
                    <a:pt x="1715" y="223"/>
                    <a:pt x="1700" y="230"/>
                  </a:cubicBezTo>
                  <a:cubicBezTo>
                    <a:pt x="1678" y="245"/>
                    <a:pt x="1692" y="282"/>
                    <a:pt x="1671" y="297"/>
                  </a:cubicBezTo>
                  <a:cubicBezTo>
                    <a:pt x="1649" y="305"/>
                    <a:pt x="1656" y="260"/>
                    <a:pt x="1634" y="253"/>
                  </a:cubicBezTo>
                  <a:cubicBezTo>
                    <a:pt x="1612" y="245"/>
                    <a:pt x="1589" y="260"/>
                    <a:pt x="1567" y="253"/>
                  </a:cubicBezTo>
                  <a:cubicBezTo>
                    <a:pt x="1560" y="216"/>
                    <a:pt x="1493" y="245"/>
                    <a:pt x="1463" y="245"/>
                  </a:cubicBezTo>
                  <a:cubicBezTo>
                    <a:pt x="1470" y="171"/>
                    <a:pt x="1196" y="208"/>
                    <a:pt x="1159" y="201"/>
                  </a:cubicBezTo>
                  <a:cubicBezTo>
                    <a:pt x="1166" y="104"/>
                    <a:pt x="1010" y="171"/>
                    <a:pt x="1062" y="208"/>
                  </a:cubicBezTo>
                  <a:cubicBezTo>
                    <a:pt x="1107" y="238"/>
                    <a:pt x="1159" y="253"/>
                    <a:pt x="1099" y="305"/>
                  </a:cubicBezTo>
                  <a:cubicBezTo>
                    <a:pt x="1047" y="349"/>
                    <a:pt x="1003" y="379"/>
                    <a:pt x="1070" y="438"/>
                  </a:cubicBezTo>
                  <a:cubicBezTo>
                    <a:pt x="1099" y="461"/>
                    <a:pt x="1136" y="409"/>
                    <a:pt x="1173" y="424"/>
                  </a:cubicBezTo>
                  <a:cubicBezTo>
                    <a:pt x="1203" y="438"/>
                    <a:pt x="1225" y="490"/>
                    <a:pt x="1248" y="438"/>
                  </a:cubicBezTo>
                  <a:cubicBezTo>
                    <a:pt x="1270" y="446"/>
                    <a:pt x="1292" y="476"/>
                    <a:pt x="1292" y="498"/>
                  </a:cubicBezTo>
                  <a:cubicBezTo>
                    <a:pt x="1352" y="498"/>
                    <a:pt x="1411" y="609"/>
                    <a:pt x="1419" y="654"/>
                  </a:cubicBezTo>
                  <a:cubicBezTo>
                    <a:pt x="1426" y="765"/>
                    <a:pt x="1359" y="765"/>
                    <a:pt x="1270" y="772"/>
                  </a:cubicBezTo>
                  <a:cubicBezTo>
                    <a:pt x="1278" y="802"/>
                    <a:pt x="1255" y="802"/>
                    <a:pt x="1240" y="817"/>
                  </a:cubicBezTo>
                  <a:cubicBezTo>
                    <a:pt x="1218" y="839"/>
                    <a:pt x="1218" y="861"/>
                    <a:pt x="1218" y="891"/>
                  </a:cubicBezTo>
                  <a:cubicBezTo>
                    <a:pt x="1211" y="914"/>
                    <a:pt x="1188" y="929"/>
                    <a:pt x="1166" y="943"/>
                  </a:cubicBezTo>
                  <a:cubicBezTo>
                    <a:pt x="1144" y="966"/>
                    <a:pt x="1151" y="987"/>
                    <a:pt x="1144" y="1009"/>
                  </a:cubicBezTo>
                  <a:cubicBezTo>
                    <a:pt x="1144" y="1046"/>
                    <a:pt x="1107" y="1046"/>
                    <a:pt x="1084" y="1061"/>
                  </a:cubicBezTo>
                  <a:cubicBezTo>
                    <a:pt x="1055" y="1076"/>
                    <a:pt x="1062" y="1083"/>
                    <a:pt x="1040" y="1113"/>
                  </a:cubicBezTo>
                  <a:cubicBezTo>
                    <a:pt x="1018" y="1143"/>
                    <a:pt x="936" y="1128"/>
                    <a:pt x="936" y="1180"/>
                  </a:cubicBezTo>
                  <a:cubicBezTo>
                    <a:pt x="914" y="1187"/>
                    <a:pt x="899" y="1165"/>
                    <a:pt x="876" y="1165"/>
                  </a:cubicBezTo>
                  <a:cubicBezTo>
                    <a:pt x="854" y="1158"/>
                    <a:pt x="847" y="1173"/>
                    <a:pt x="832" y="1180"/>
                  </a:cubicBezTo>
                  <a:cubicBezTo>
                    <a:pt x="787" y="1187"/>
                    <a:pt x="750" y="1187"/>
                    <a:pt x="706" y="1187"/>
                  </a:cubicBezTo>
                  <a:cubicBezTo>
                    <a:pt x="706" y="1232"/>
                    <a:pt x="706" y="1276"/>
                    <a:pt x="706" y="1321"/>
                  </a:cubicBezTo>
                  <a:cubicBezTo>
                    <a:pt x="683" y="1321"/>
                    <a:pt x="668" y="1321"/>
                    <a:pt x="654" y="1321"/>
                  </a:cubicBezTo>
                  <a:cubicBezTo>
                    <a:pt x="646" y="1336"/>
                    <a:pt x="594" y="1395"/>
                    <a:pt x="631" y="1410"/>
                  </a:cubicBezTo>
                  <a:cubicBezTo>
                    <a:pt x="631" y="1425"/>
                    <a:pt x="631" y="1447"/>
                    <a:pt x="631" y="1462"/>
                  </a:cubicBezTo>
                  <a:cubicBezTo>
                    <a:pt x="602" y="1470"/>
                    <a:pt x="579" y="1440"/>
                    <a:pt x="542" y="1447"/>
                  </a:cubicBezTo>
                  <a:cubicBezTo>
                    <a:pt x="542" y="1470"/>
                    <a:pt x="542" y="1499"/>
                    <a:pt x="542" y="1529"/>
                  </a:cubicBezTo>
                  <a:cubicBezTo>
                    <a:pt x="513" y="1544"/>
                    <a:pt x="483" y="1529"/>
                    <a:pt x="483" y="1566"/>
                  </a:cubicBezTo>
                  <a:cubicBezTo>
                    <a:pt x="483" y="1596"/>
                    <a:pt x="498" y="1625"/>
                    <a:pt x="505" y="1648"/>
                  </a:cubicBezTo>
                  <a:cubicBezTo>
                    <a:pt x="513" y="1707"/>
                    <a:pt x="483" y="1752"/>
                    <a:pt x="423" y="1744"/>
                  </a:cubicBezTo>
                  <a:cubicBezTo>
                    <a:pt x="416" y="1804"/>
                    <a:pt x="416" y="1975"/>
                    <a:pt x="342" y="2041"/>
                  </a:cubicBezTo>
                  <a:cubicBezTo>
                    <a:pt x="357" y="2049"/>
                    <a:pt x="371" y="2064"/>
                    <a:pt x="357" y="2101"/>
                  </a:cubicBezTo>
                  <a:cubicBezTo>
                    <a:pt x="349" y="2123"/>
                    <a:pt x="327" y="2130"/>
                    <a:pt x="297" y="2138"/>
                  </a:cubicBezTo>
                  <a:cubicBezTo>
                    <a:pt x="275" y="2138"/>
                    <a:pt x="260" y="2175"/>
                    <a:pt x="230" y="2175"/>
                  </a:cubicBezTo>
                  <a:cubicBezTo>
                    <a:pt x="238" y="2145"/>
                    <a:pt x="216" y="2138"/>
                    <a:pt x="193" y="2145"/>
                  </a:cubicBezTo>
                  <a:cubicBezTo>
                    <a:pt x="193" y="2168"/>
                    <a:pt x="201" y="2182"/>
                    <a:pt x="201" y="2205"/>
                  </a:cubicBezTo>
                  <a:cubicBezTo>
                    <a:pt x="208" y="2234"/>
                    <a:pt x="193" y="2264"/>
                    <a:pt x="208" y="2287"/>
                  </a:cubicBezTo>
                  <a:cubicBezTo>
                    <a:pt x="223" y="2324"/>
                    <a:pt x="260" y="2309"/>
                    <a:pt x="282" y="2338"/>
                  </a:cubicBezTo>
                  <a:cubicBezTo>
                    <a:pt x="334" y="2420"/>
                    <a:pt x="238" y="2494"/>
                    <a:pt x="238" y="2569"/>
                  </a:cubicBezTo>
                  <a:cubicBezTo>
                    <a:pt x="260" y="2576"/>
                    <a:pt x="282" y="2554"/>
                    <a:pt x="312" y="2554"/>
                  </a:cubicBezTo>
                  <a:cubicBezTo>
                    <a:pt x="312" y="2591"/>
                    <a:pt x="305" y="2621"/>
                    <a:pt x="305" y="2650"/>
                  </a:cubicBezTo>
                  <a:cubicBezTo>
                    <a:pt x="305" y="2680"/>
                    <a:pt x="312" y="2710"/>
                    <a:pt x="290" y="2747"/>
                  </a:cubicBezTo>
                  <a:cubicBezTo>
                    <a:pt x="282" y="2762"/>
                    <a:pt x="193" y="2814"/>
                    <a:pt x="186" y="2784"/>
                  </a:cubicBezTo>
                  <a:cubicBezTo>
                    <a:pt x="193" y="2806"/>
                    <a:pt x="171" y="2814"/>
                    <a:pt x="163" y="2836"/>
                  </a:cubicBezTo>
                  <a:cubicBezTo>
                    <a:pt x="156" y="2851"/>
                    <a:pt x="156" y="2873"/>
                    <a:pt x="163" y="2895"/>
                  </a:cubicBezTo>
                  <a:cubicBezTo>
                    <a:pt x="171" y="2895"/>
                    <a:pt x="186" y="2888"/>
                    <a:pt x="193" y="2881"/>
                  </a:cubicBezTo>
                  <a:cubicBezTo>
                    <a:pt x="238" y="2903"/>
                    <a:pt x="260" y="2910"/>
                    <a:pt x="253" y="2962"/>
                  </a:cubicBezTo>
                  <a:cubicBezTo>
                    <a:pt x="253" y="3029"/>
                    <a:pt x="245" y="3029"/>
                    <a:pt x="186" y="3036"/>
                  </a:cubicBezTo>
                  <a:cubicBezTo>
                    <a:pt x="178" y="3059"/>
                    <a:pt x="208" y="3074"/>
                    <a:pt x="201" y="3096"/>
                  </a:cubicBezTo>
                  <a:cubicBezTo>
                    <a:pt x="186" y="3126"/>
                    <a:pt x="156" y="3126"/>
                    <a:pt x="178" y="3155"/>
                  </a:cubicBezTo>
                  <a:cubicBezTo>
                    <a:pt x="208" y="3140"/>
                    <a:pt x="230" y="3103"/>
                    <a:pt x="268" y="3126"/>
                  </a:cubicBezTo>
                  <a:cubicBezTo>
                    <a:pt x="297" y="3148"/>
                    <a:pt x="290" y="3192"/>
                    <a:pt x="327" y="3200"/>
                  </a:cubicBezTo>
                  <a:cubicBezTo>
                    <a:pt x="327" y="3259"/>
                    <a:pt x="327" y="3281"/>
                    <a:pt x="379" y="3281"/>
                  </a:cubicBezTo>
                  <a:cubicBezTo>
                    <a:pt x="379" y="3296"/>
                    <a:pt x="386" y="3304"/>
                    <a:pt x="386" y="3319"/>
                  </a:cubicBezTo>
                  <a:cubicBezTo>
                    <a:pt x="423" y="3319"/>
                    <a:pt x="483" y="3319"/>
                    <a:pt x="498" y="3356"/>
                  </a:cubicBezTo>
                  <a:cubicBezTo>
                    <a:pt x="505" y="3386"/>
                    <a:pt x="461" y="3400"/>
                    <a:pt x="468" y="3430"/>
                  </a:cubicBezTo>
                  <a:cubicBezTo>
                    <a:pt x="475" y="3430"/>
                    <a:pt x="483" y="3437"/>
                    <a:pt x="490" y="3437"/>
                  </a:cubicBezTo>
                  <a:cubicBezTo>
                    <a:pt x="475" y="3452"/>
                    <a:pt x="461" y="3460"/>
                    <a:pt x="461" y="3482"/>
                  </a:cubicBezTo>
                  <a:cubicBezTo>
                    <a:pt x="453" y="3489"/>
                    <a:pt x="453" y="3482"/>
                    <a:pt x="446" y="3497"/>
                  </a:cubicBezTo>
                  <a:cubicBezTo>
                    <a:pt x="431" y="3504"/>
                    <a:pt x="416" y="3504"/>
                    <a:pt x="409" y="3519"/>
                  </a:cubicBezTo>
                  <a:cubicBezTo>
                    <a:pt x="379" y="3526"/>
                    <a:pt x="342" y="3519"/>
                    <a:pt x="319" y="3512"/>
                  </a:cubicBezTo>
                  <a:cubicBezTo>
                    <a:pt x="290" y="3504"/>
                    <a:pt x="282" y="3467"/>
                    <a:pt x="260" y="3452"/>
                  </a:cubicBezTo>
                  <a:cubicBezTo>
                    <a:pt x="230" y="3430"/>
                    <a:pt x="156" y="3549"/>
                    <a:pt x="112" y="3541"/>
                  </a:cubicBezTo>
                  <a:cubicBezTo>
                    <a:pt x="112" y="3549"/>
                    <a:pt x="112" y="3549"/>
                    <a:pt x="112" y="3556"/>
                  </a:cubicBezTo>
                  <a:cubicBezTo>
                    <a:pt x="67" y="3564"/>
                    <a:pt x="112" y="3631"/>
                    <a:pt x="67" y="3638"/>
                  </a:cubicBezTo>
                  <a:cubicBezTo>
                    <a:pt x="30" y="3645"/>
                    <a:pt x="45" y="3734"/>
                    <a:pt x="60" y="3757"/>
                  </a:cubicBezTo>
                  <a:cubicBezTo>
                    <a:pt x="74" y="3779"/>
                    <a:pt x="149" y="3809"/>
                    <a:pt x="89" y="3846"/>
                  </a:cubicBezTo>
                  <a:cubicBezTo>
                    <a:pt x="52" y="3868"/>
                    <a:pt x="0" y="3853"/>
                    <a:pt x="15" y="3905"/>
                  </a:cubicBezTo>
                  <a:cubicBezTo>
                    <a:pt x="15" y="3905"/>
                    <a:pt x="15" y="3928"/>
                    <a:pt x="15" y="3950"/>
                  </a:cubicBezTo>
                  <a:cubicBezTo>
                    <a:pt x="22" y="3950"/>
                    <a:pt x="30" y="3950"/>
                    <a:pt x="37" y="3957"/>
                  </a:cubicBezTo>
                  <a:cubicBezTo>
                    <a:pt x="52" y="3965"/>
                    <a:pt x="60" y="3987"/>
                    <a:pt x="74" y="3994"/>
                  </a:cubicBezTo>
                  <a:cubicBezTo>
                    <a:pt x="89" y="4017"/>
                    <a:pt x="134" y="4031"/>
                    <a:pt x="156" y="4009"/>
                  </a:cubicBezTo>
                  <a:cubicBezTo>
                    <a:pt x="208" y="3957"/>
                    <a:pt x="297" y="4121"/>
                    <a:pt x="319" y="4150"/>
                  </a:cubicBezTo>
                  <a:cubicBezTo>
                    <a:pt x="342" y="4188"/>
                    <a:pt x="349" y="4232"/>
                    <a:pt x="364" y="4269"/>
                  </a:cubicBezTo>
                  <a:cubicBezTo>
                    <a:pt x="379" y="4306"/>
                    <a:pt x="342" y="4321"/>
                    <a:pt x="349" y="4358"/>
                  </a:cubicBezTo>
                  <a:cubicBezTo>
                    <a:pt x="386" y="4373"/>
                    <a:pt x="416" y="4328"/>
                    <a:pt x="453" y="4336"/>
                  </a:cubicBezTo>
                  <a:cubicBezTo>
                    <a:pt x="453" y="4351"/>
                    <a:pt x="453" y="4366"/>
                    <a:pt x="453" y="4381"/>
                  </a:cubicBezTo>
                  <a:cubicBezTo>
                    <a:pt x="483" y="4388"/>
                    <a:pt x="483" y="4366"/>
                    <a:pt x="505" y="4366"/>
                  </a:cubicBezTo>
                  <a:cubicBezTo>
                    <a:pt x="505" y="4373"/>
                    <a:pt x="505" y="4373"/>
                    <a:pt x="505" y="4373"/>
                  </a:cubicBezTo>
                  <a:cubicBezTo>
                    <a:pt x="528" y="4396"/>
                    <a:pt x="483" y="4425"/>
                    <a:pt x="513" y="4462"/>
                  </a:cubicBezTo>
                  <a:cubicBezTo>
                    <a:pt x="542" y="4492"/>
                    <a:pt x="535" y="4536"/>
                    <a:pt x="535" y="4574"/>
                  </a:cubicBezTo>
                  <a:cubicBezTo>
                    <a:pt x="535" y="4693"/>
                    <a:pt x="587" y="4611"/>
                    <a:pt x="661" y="4603"/>
                  </a:cubicBezTo>
                  <a:cubicBezTo>
                    <a:pt x="691" y="4596"/>
                    <a:pt x="713" y="4633"/>
                    <a:pt x="743" y="4626"/>
                  </a:cubicBezTo>
                  <a:lnTo>
                    <a:pt x="750" y="4626"/>
                  </a:lnTo>
                  <a:cubicBezTo>
                    <a:pt x="750" y="4611"/>
                    <a:pt x="750" y="4596"/>
                    <a:pt x="750" y="4596"/>
                  </a:cubicBezTo>
                  <a:cubicBezTo>
                    <a:pt x="750" y="4536"/>
                    <a:pt x="787" y="4514"/>
                    <a:pt x="817" y="4470"/>
                  </a:cubicBezTo>
                  <a:cubicBezTo>
                    <a:pt x="854" y="4425"/>
                    <a:pt x="854" y="4366"/>
                    <a:pt x="862" y="4314"/>
                  </a:cubicBezTo>
                  <a:cubicBezTo>
                    <a:pt x="891" y="4306"/>
                    <a:pt x="906" y="4284"/>
                    <a:pt x="928" y="4262"/>
                  </a:cubicBezTo>
                  <a:cubicBezTo>
                    <a:pt x="943" y="4254"/>
                    <a:pt x="951" y="4247"/>
                    <a:pt x="965" y="4239"/>
                  </a:cubicBezTo>
                  <a:cubicBezTo>
                    <a:pt x="980" y="4232"/>
                    <a:pt x="1003" y="4247"/>
                    <a:pt x="1018" y="4239"/>
                  </a:cubicBezTo>
                  <a:cubicBezTo>
                    <a:pt x="1077" y="4210"/>
                    <a:pt x="1077" y="4128"/>
                    <a:pt x="1122" y="4091"/>
                  </a:cubicBezTo>
                  <a:cubicBezTo>
                    <a:pt x="1144" y="4091"/>
                    <a:pt x="1159" y="4083"/>
                    <a:pt x="1181" y="4083"/>
                  </a:cubicBezTo>
                  <a:cubicBezTo>
                    <a:pt x="1188" y="4031"/>
                    <a:pt x="1181" y="4017"/>
                    <a:pt x="1136" y="3987"/>
                  </a:cubicBezTo>
                  <a:cubicBezTo>
                    <a:pt x="1166" y="3980"/>
                    <a:pt x="1196" y="3980"/>
                    <a:pt x="1225" y="3980"/>
                  </a:cubicBezTo>
                  <a:cubicBezTo>
                    <a:pt x="1233" y="3928"/>
                    <a:pt x="1278" y="3950"/>
                    <a:pt x="1300" y="3928"/>
                  </a:cubicBezTo>
                  <a:cubicBezTo>
                    <a:pt x="1330" y="3905"/>
                    <a:pt x="1330" y="3846"/>
                    <a:pt x="1322" y="3816"/>
                  </a:cubicBezTo>
                  <a:cubicBezTo>
                    <a:pt x="1344" y="3816"/>
                    <a:pt x="1359" y="3816"/>
                    <a:pt x="1374" y="3816"/>
                  </a:cubicBezTo>
                  <a:cubicBezTo>
                    <a:pt x="1389" y="3720"/>
                    <a:pt x="1352" y="3638"/>
                    <a:pt x="1352" y="3549"/>
                  </a:cubicBezTo>
                  <a:cubicBezTo>
                    <a:pt x="1352" y="3512"/>
                    <a:pt x="1367" y="3467"/>
                    <a:pt x="1344" y="3437"/>
                  </a:cubicBezTo>
                  <a:cubicBezTo>
                    <a:pt x="1337" y="3408"/>
                    <a:pt x="1300" y="3400"/>
                    <a:pt x="1292" y="3371"/>
                  </a:cubicBezTo>
                  <a:cubicBezTo>
                    <a:pt x="1285" y="3371"/>
                    <a:pt x="1263" y="3363"/>
                    <a:pt x="1248" y="3363"/>
                  </a:cubicBezTo>
                  <a:cubicBezTo>
                    <a:pt x="1248" y="3296"/>
                    <a:pt x="1315" y="3237"/>
                    <a:pt x="1292" y="3170"/>
                  </a:cubicBezTo>
                  <a:cubicBezTo>
                    <a:pt x="1278" y="3126"/>
                    <a:pt x="1218" y="3155"/>
                    <a:pt x="1218" y="3103"/>
                  </a:cubicBezTo>
                  <a:cubicBezTo>
                    <a:pt x="1196" y="3103"/>
                    <a:pt x="1173" y="3103"/>
                    <a:pt x="1159" y="3103"/>
                  </a:cubicBezTo>
                  <a:cubicBezTo>
                    <a:pt x="1122" y="3044"/>
                    <a:pt x="1173" y="2992"/>
                    <a:pt x="1173" y="2932"/>
                  </a:cubicBezTo>
                  <a:cubicBezTo>
                    <a:pt x="1203" y="2932"/>
                    <a:pt x="1263" y="2918"/>
                    <a:pt x="1255" y="2970"/>
                  </a:cubicBezTo>
                  <a:cubicBezTo>
                    <a:pt x="1337" y="2970"/>
                    <a:pt x="1389" y="2984"/>
                    <a:pt x="1456" y="3029"/>
                  </a:cubicBezTo>
                  <a:cubicBezTo>
                    <a:pt x="1456" y="3066"/>
                    <a:pt x="1456" y="3133"/>
                    <a:pt x="1515" y="3118"/>
                  </a:cubicBezTo>
                  <a:cubicBezTo>
                    <a:pt x="1508" y="3051"/>
                    <a:pt x="1627" y="3074"/>
                    <a:pt x="1664" y="3089"/>
                  </a:cubicBezTo>
                  <a:cubicBezTo>
                    <a:pt x="1664" y="3111"/>
                    <a:pt x="1664" y="3140"/>
                    <a:pt x="1664" y="3163"/>
                  </a:cubicBezTo>
                  <a:cubicBezTo>
                    <a:pt x="1700" y="3170"/>
                    <a:pt x="1715" y="3140"/>
                    <a:pt x="1737" y="3126"/>
                  </a:cubicBezTo>
                  <a:cubicBezTo>
                    <a:pt x="1737" y="3089"/>
                    <a:pt x="1752" y="3044"/>
                    <a:pt x="1729" y="3014"/>
                  </a:cubicBezTo>
                  <a:cubicBezTo>
                    <a:pt x="1729" y="3007"/>
                    <a:pt x="1634" y="3014"/>
                    <a:pt x="1627" y="3014"/>
                  </a:cubicBezTo>
                  <a:cubicBezTo>
                    <a:pt x="1597" y="3007"/>
                    <a:pt x="1537" y="2999"/>
                    <a:pt x="1530" y="2962"/>
                  </a:cubicBezTo>
                  <a:cubicBezTo>
                    <a:pt x="1530" y="2925"/>
                    <a:pt x="1537" y="2888"/>
                    <a:pt x="1545" y="2858"/>
                  </a:cubicBezTo>
                  <a:cubicBezTo>
                    <a:pt x="1552" y="2791"/>
                    <a:pt x="1589" y="2717"/>
                    <a:pt x="1545" y="2658"/>
                  </a:cubicBezTo>
                  <a:cubicBezTo>
                    <a:pt x="1537" y="2643"/>
                    <a:pt x="1508" y="2650"/>
                    <a:pt x="1508" y="2628"/>
                  </a:cubicBezTo>
                  <a:cubicBezTo>
                    <a:pt x="1500" y="2598"/>
                    <a:pt x="1508" y="2576"/>
                    <a:pt x="1508" y="2546"/>
                  </a:cubicBezTo>
                  <a:cubicBezTo>
                    <a:pt x="1500" y="2472"/>
                    <a:pt x="1508" y="2390"/>
                    <a:pt x="1515" y="2316"/>
                  </a:cubicBezTo>
                  <a:cubicBezTo>
                    <a:pt x="1523" y="2316"/>
                    <a:pt x="1537" y="2316"/>
                    <a:pt x="1552" y="2324"/>
                  </a:cubicBezTo>
                  <a:cubicBezTo>
                    <a:pt x="1552" y="2353"/>
                    <a:pt x="1567" y="2383"/>
                    <a:pt x="1604" y="2376"/>
                  </a:cubicBezTo>
                  <a:cubicBezTo>
                    <a:pt x="1619" y="2368"/>
                    <a:pt x="1634" y="2331"/>
                    <a:pt x="1649" y="2316"/>
                  </a:cubicBezTo>
                  <a:cubicBezTo>
                    <a:pt x="1678" y="2257"/>
                    <a:pt x="1700" y="2197"/>
                    <a:pt x="1700" y="2130"/>
                  </a:cubicBezTo>
                  <a:cubicBezTo>
                    <a:pt x="1774" y="2123"/>
                    <a:pt x="1856" y="2138"/>
                    <a:pt x="1930" y="2138"/>
                  </a:cubicBezTo>
                  <a:cubicBezTo>
                    <a:pt x="1952" y="2138"/>
                    <a:pt x="1997" y="2130"/>
                    <a:pt x="2019" y="2153"/>
                  </a:cubicBezTo>
                  <a:cubicBezTo>
                    <a:pt x="2041" y="2175"/>
                    <a:pt x="2064" y="2168"/>
                    <a:pt x="2093" y="2168"/>
                  </a:cubicBezTo>
                  <a:cubicBezTo>
                    <a:pt x="2101" y="2145"/>
                    <a:pt x="2116" y="2123"/>
                    <a:pt x="2123" y="2093"/>
                  </a:cubicBezTo>
                  <a:cubicBezTo>
                    <a:pt x="2131" y="2071"/>
                    <a:pt x="2116" y="2041"/>
                    <a:pt x="2131" y="2027"/>
                  </a:cubicBezTo>
                  <a:cubicBezTo>
                    <a:pt x="2153" y="1989"/>
                    <a:pt x="2220" y="2004"/>
                    <a:pt x="2257" y="2004"/>
                  </a:cubicBezTo>
                  <a:cubicBezTo>
                    <a:pt x="2264" y="1975"/>
                    <a:pt x="2227" y="1960"/>
                    <a:pt x="2227" y="1930"/>
                  </a:cubicBezTo>
                  <a:cubicBezTo>
                    <a:pt x="2220" y="1893"/>
                    <a:pt x="2227" y="1841"/>
                    <a:pt x="2249" y="1811"/>
                  </a:cubicBezTo>
                  <a:cubicBezTo>
                    <a:pt x="2264" y="1789"/>
                    <a:pt x="2301" y="1782"/>
                    <a:pt x="2301" y="1767"/>
                  </a:cubicBezTo>
                  <a:cubicBezTo>
                    <a:pt x="2309" y="1744"/>
                    <a:pt x="2294" y="1722"/>
                    <a:pt x="2316" y="1715"/>
                  </a:cubicBezTo>
                  <a:cubicBezTo>
                    <a:pt x="2331" y="1655"/>
                    <a:pt x="2361" y="1640"/>
                    <a:pt x="2413" y="1611"/>
                  </a:cubicBezTo>
                  <a:cubicBezTo>
                    <a:pt x="2390" y="1566"/>
                    <a:pt x="2338" y="1544"/>
                    <a:pt x="2368" y="1485"/>
                  </a:cubicBezTo>
                  <a:cubicBezTo>
                    <a:pt x="2383" y="1455"/>
                    <a:pt x="2405" y="1477"/>
                    <a:pt x="2405" y="1440"/>
                  </a:cubicBezTo>
                  <a:cubicBezTo>
                    <a:pt x="2405" y="1410"/>
                    <a:pt x="2450" y="1380"/>
                    <a:pt x="2472" y="1373"/>
                  </a:cubicBezTo>
                  <a:cubicBezTo>
                    <a:pt x="2509" y="1343"/>
                    <a:pt x="2576" y="1284"/>
                    <a:pt x="2621" y="1276"/>
                  </a:cubicBezTo>
                  <a:cubicBezTo>
                    <a:pt x="2710" y="1254"/>
                    <a:pt x="2702" y="1225"/>
                    <a:pt x="2702" y="1150"/>
                  </a:cubicBezTo>
                  <a:cubicBezTo>
                    <a:pt x="2695" y="1143"/>
                    <a:pt x="2687" y="1143"/>
                    <a:pt x="2687" y="1143"/>
                  </a:cubicBezTo>
                  <a:cubicBezTo>
                    <a:pt x="2702" y="1143"/>
                    <a:pt x="2710" y="1143"/>
                    <a:pt x="2725" y="1143"/>
                  </a:cubicBezTo>
                  <a:cubicBezTo>
                    <a:pt x="2739" y="1098"/>
                    <a:pt x="2762" y="1061"/>
                    <a:pt x="2799" y="1031"/>
                  </a:cubicBezTo>
                  <a:cubicBezTo>
                    <a:pt x="2821" y="1002"/>
                    <a:pt x="2881" y="1009"/>
                    <a:pt x="2881" y="958"/>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8" name="Freeform 15">
              <a:extLst>
                <a:ext uri="{FF2B5EF4-FFF2-40B4-BE49-F238E27FC236}">
                  <a16:creationId xmlns:a16="http://schemas.microsoft.com/office/drawing/2014/main" id="{456823E4-8AF6-5141-8C45-D328A611651F}"/>
                </a:ext>
              </a:extLst>
            </p:cNvPr>
            <p:cNvSpPr>
              <a:spLocks noChangeArrowheads="1"/>
            </p:cNvSpPr>
            <p:nvPr/>
          </p:nvSpPr>
          <p:spPr bwMode="auto">
            <a:xfrm>
              <a:off x="10368191" y="4179130"/>
              <a:ext cx="960808" cy="943023"/>
            </a:xfrm>
            <a:custGeom>
              <a:avLst/>
              <a:gdLst>
                <a:gd name="T0" fmla="*/ 1938 w 2221"/>
                <a:gd name="T1" fmla="*/ 668 h 2184"/>
                <a:gd name="T2" fmla="*/ 1864 w 2221"/>
                <a:gd name="T3" fmla="*/ 616 h 2184"/>
                <a:gd name="T4" fmla="*/ 1842 w 2221"/>
                <a:gd name="T5" fmla="*/ 594 h 2184"/>
                <a:gd name="T6" fmla="*/ 1782 w 2221"/>
                <a:gd name="T7" fmla="*/ 453 h 2184"/>
                <a:gd name="T8" fmla="*/ 1715 w 2221"/>
                <a:gd name="T9" fmla="*/ 483 h 2184"/>
                <a:gd name="T10" fmla="*/ 1604 w 2221"/>
                <a:gd name="T11" fmla="*/ 468 h 2184"/>
                <a:gd name="T12" fmla="*/ 1559 w 2221"/>
                <a:gd name="T13" fmla="*/ 334 h 2184"/>
                <a:gd name="T14" fmla="*/ 1493 w 2221"/>
                <a:gd name="T15" fmla="*/ 215 h 2184"/>
                <a:gd name="T16" fmla="*/ 1262 w 2221"/>
                <a:gd name="T17" fmla="*/ 282 h 2184"/>
                <a:gd name="T18" fmla="*/ 1107 w 2221"/>
                <a:gd name="T19" fmla="*/ 208 h 2184"/>
                <a:gd name="T20" fmla="*/ 988 w 2221"/>
                <a:gd name="T21" fmla="*/ 149 h 2184"/>
                <a:gd name="T22" fmla="*/ 876 w 2221"/>
                <a:gd name="T23" fmla="*/ 96 h 2184"/>
                <a:gd name="T24" fmla="*/ 691 w 2221"/>
                <a:gd name="T25" fmla="*/ 22 h 2184"/>
                <a:gd name="T26" fmla="*/ 505 w 2221"/>
                <a:gd name="T27" fmla="*/ 141 h 2184"/>
                <a:gd name="T28" fmla="*/ 386 w 2221"/>
                <a:gd name="T29" fmla="*/ 186 h 2184"/>
                <a:gd name="T30" fmla="*/ 349 w 2221"/>
                <a:gd name="T31" fmla="*/ 215 h 2184"/>
                <a:gd name="T32" fmla="*/ 282 w 2221"/>
                <a:gd name="T33" fmla="*/ 186 h 2184"/>
                <a:gd name="T34" fmla="*/ 230 w 2221"/>
                <a:gd name="T35" fmla="*/ 253 h 2184"/>
                <a:gd name="T36" fmla="*/ 275 w 2221"/>
                <a:gd name="T37" fmla="*/ 356 h 2184"/>
                <a:gd name="T38" fmla="*/ 208 w 2221"/>
                <a:gd name="T39" fmla="*/ 490 h 2184"/>
                <a:gd name="T40" fmla="*/ 193 w 2221"/>
                <a:gd name="T41" fmla="*/ 512 h 2184"/>
                <a:gd name="T42" fmla="*/ 186 w 2221"/>
                <a:gd name="T43" fmla="*/ 542 h 2184"/>
                <a:gd name="T44" fmla="*/ 156 w 2221"/>
                <a:gd name="T45" fmla="*/ 646 h 2184"/>
                <a:gd name="T46" fmla="*/ 52 w 2221"/>
                <a:gd name="T47" fmla="*/ 743 h 2184"/>
                <a:gd name="T48" fmla="*/ 0 w 2221"/>
                <a:gd name="T49" fmla="*/ 824 h 2184"/>
                <a:gd name="T50" fmla="*/ 178 w 2221"/>
                <a:gd name="T51" fmla="*/ 899 h 2184"/>
                <a:gd name="T52" fmla="*/ 282 w 2221"/>
                <a:gd name="T53" fmla="*/ 1166 h 2184"/>
                <a:gd name="T54" fmla="*/ 342 w 2221"/>
                <a:gd name="T55" fmla="*/ 1359 h 2184"/>
                <a:gd name="T56" fmla="*/ 490 w 2221"/>
                <a:gd name="T57" fmla="*/ 1322 h 2184"/>
                <a:gd name="T58" fmla="*/ 609 w 2221"/>
                <a:gd name="T59" fmla="*/ 1448 h 2184"/>
                <a:gd name="T60" fmla="*/ 624 w 2221"/>
                <a:gd name="T61" fmla="*/ 1530 h 2184"/>
                <a:gd name="T62" fmla="*/ 765 w 2221"/>
                <a:gd name="T63" fmla="*/ 1678 h 2184"/>
                <a:gd name="T64" fmla="*/ 802 w 2221"/>
                <a:gd name="T65" fmla="*/ 1715 h 2184"/>
                <a:gd name="T66" fmla="*/ 839 w 2221"/>
                <a:gd name="T67" fmla="*/ 1790 h 2184"/>
                <a:gd name="T68" fmla="*/ 980 w 2221"/>
                <a:gd name="T69" fmla="*/ 1938 h 2184"/>
                <a:gd name="T70" fmla="*/ 1092 w 2221"/>
                <a:gd name="T71" fmla="*/ 2102 h 2184"/>
                <a:gd name="T72" fmla="*/ 1225 w 2221"/>
                <a:gd name="T73" fmla="*/ 2161 h 2184"/>
                <a:gd name="T74" fmla="*/ 1225 w 2221"/>
                <a:gd name="T75" fmla="*/ 2161 h 2184"/>
                <a:gd name="T76" fmla="*/ 1225 w 2221"/>
                <a:gd name="T77" fmla="*/ 2161 h 2184"/>
                <a:gd name="T78" fmla="*/ 1344 w 2221"/>
                <a:gd name="T79" fmla="*/ 2102 h 2184"/>
                <a:gd name="T80" fmla="*/ 1322 w 2221"/>
                <a:gd name="T81" fmla="*/ 1938 h 2184"/>
                <a:gd name="T82" fmla="*/ 1381 w 2221"/>
                <a:gd name="T83" fmla="*/ 1805 h 2184"/>
                <a:gd name="T84" fmla="*/ 1366 w 2221"/>
                <a:gd name="T85" fmla="*/ 1738 h 2184"/>
                <a:gd name="T86" fmla="*/ 1404 w 2221"/>
                <a:gd name="T87" fmla="*/ 1715 h 2184"/>
                <a:gd name="T88" fmla="*/ 1567 w 2221"/>
                <a:gd name="T89" fmla="*/ 1641 h 2184"/>
                <a:gd name="T90" fmla="*/ 1723 w 2221"/>
                <a:gd name="T91" fmla="*/ 1537 h 2184"/>
                <a:gd name="T92" fmla="*/ 1968 w 2221"/>
                <a:gd name="T93" fmla="*/ 1582 h 2184"/>
                <a:gd name="T94" fmla="*/ 2220 w 2221"/>
                <a:gd name="T95" fmla="*/ 1656 h 2184"/>
                <a:gd name="T96" fmla="*/ 2161 w 2221"/>
                <a:gd name="T97" fmla="*/ 1485 h 2184"/>
                <a:gd name="T98" fmla="*/ 2131 w 2221"/>
                <a:gd name="T99" fmla="*/ 1381 h 2184"/>
                <a:gd name="T100" fmla="*/ 2087 w 2221"/>
                <a:gd name="T101" fmla="*/ 1307 h 2184"/>
                <a:gd name="T102" fmla="*/ 2131 w 2221"/>
                <a:gd name="T103" fmla="*/ 1158 h 2184"/>
                <a:gd name="T104" fmla="*/ 2049 w 2221"/>
                <a:gd name="T105" fmla="*/ 921 h 2184"/>
                <a:gd name="T106" fmla="*/ 2005 w 2221"/>
                <a:gd name="T107" fmla="*/ 832 h 2184"/>
                <a:gd name="T108" fmla="*/ 1953 w 2221"/>
                <a:gd name="T109" fmla="*/ 743 h 2184"/>
                <a:gd name="T110" fmla="*/ 1983 w 2221"/>
                <a:gd name="T111" fmla="*/ 668 h 2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21" h="2184">
                  <a:moveTo>
                    <a:pt x="1938" y="668"/>
                  </a:moveTo>
                  <a:lnTo>
                    <a:pt x="1938" y="668"/>
                  </a:lnTo>
                  <a:cubicBezTo>
                    <a:pt x="1916" y="668"/>
                    <a:pt x="1916" y="668"/>
                    <a:pt x="1901" y="646"/>
                  </a:cubicBezTo>
                  <a:cubicBezTo>
                    <a:pt x="1886" y="631"/>
                    <a:pt x="1886" y="624"/>
                    <a:pt x="1864" y="616"/>
                  </a:cubicBezTo>
                  <a:cubicBezTo>
                    <a:pt x="1849" y="616"/>
                    <a:pt x="1819" y="624"/>
                    <a:pt x="1812" y="631"/>
                  </a:cubicBezTo>
                  <a:cubicBezTo>
                    <a:pt x="1812" y="616"/>
                    <a:pt x="1819" y="587"/>
                    <a:pt x="1842" y="594"/>
                  </a:cubicBezTo>
                  <a:cubicBezTo>
                    <a:pt x="1857" y="550"/>
                    <a:pt x="1909" y="379"/>
                    <a:pt x="1804" y="431"/>
                  </a:cubicBezTo>
                  <a:cubicBezTo>
                    <a:pt x="1797" y="438"/>
                    <a:pt x="1790" y="446"/>
                    <a:pt x="1782" y="453"/>
                  </a:cubicBezTo>
                  <a:cubicBezTo>
                    <a:pt x="1775" y="453"/>
                    <a:pt x="1760" y="446"/>
                    <a:pt x="1752" y="453"/>
                  </a:cubicBezTo>
                  <a:cubicBezTo>
                    <a:pt x="1738" y="461"/>
                    <a:pt x="1738" y="483"/>
                    <a:pt x="1715" y="483"/>
                  </a:cubicBezTo>
                  <a:cubicBezTo>
                    <a:pt x="1701" y="490"/>
                    <a:pt x="1678" y="475"/>
                    <a:pt x="1663" y="475"/>
                  </a:cubicBezTo>
                  <a:cubicBezTo>
                    <a:pt x="1641" y="468"/>
                    <a:pt x="1619" y="475"/>
                    <a:pt x="1604" y="468"/>
                  </a:cubicBezTo>
                  <a:cubicBezTo>
                    <a:pt x="1604" y="446"/>
                    <a:pt x="1604" y="423"/>
                    <a:pt x="1604" y="401"/>
                  </a:cubicBezTo>
                  <a:cubicBezTo>
                    <a:pt x="1597" y="379"/>
                    <a:pt x="1574" y="349"/>
                    <a:pt x="1559" y="334"/>
                  </a:cubicBezTo>
                  <a:cubicBezTo>
                    <a:pt x="1545" y="312"/>
                    <a:pt x="1507" y="304"/>
                    <a:pt x="1493" y="290"/>
                  </a:cubicBezTo>
                  <a:cubicBezTo>
                    <a:pt x="1485" y="267"/>
                    <a:pt x="1493" y="238"/>
                    <a:pt x="1493" y="215"/>
                  </a:cubicBezTo>
                  <a:cubicBezTo>
                    <a:pt x="1455" y="208"/>
                    <a:pt x="1418" y="245"/>
                    <a:pt x="1389" y="253"/>
                  </a:cubicBezTo>
                  <a:cubicBezTo>
                    <a:pt x="1352" y="267"/>
                    <a:pt x="1307" y="282"/>
                    <a:pt x="1262" y="282"/>
                  </a:cubicBezTo>
                  <a:cubicBezTo>
                    <a:pt x="1218" y="290"/>
                    <a:pt x="1173" y="282"/>
                    <a:pt x="1144" y="245"/>
                  </a:cubicBezTo>
                  <a:cubicBezTo>
                    <a:pt x="1129" y="223"/>
                    <a:pt x="1129" y="215"/>
                    <a:pt x="1107" y="208"/>
                  </a:cubicBezTo>
                  <a:cubicBezTo>
                    <a:pt x="1084" y="208"/>
                    <a:pt x="1055" y="215"/>
                    <a:pt x="1032" y="208"/>
                  </a:cubicBezTo>
                  <a:cubicBezTo>
                    <a:pt x="1025" y="186"/>
                    <a:pt x="995" y="171"/>
                    <a:pt x="988" y="149"/>
                  </a:cubicBezTo>
                  <a:cubicBezTo>
                    <a:pt x="973" y="119"/>
                    <a:pt x="980" y="119"/>
                    <a:pt x="943" y="111"/>
                  </a:cubicBezTo>
                  <a:cubicBezTo>
                    <a:pt x="921" y="111"/>
                    <a:pt x="891" y="111"/>
                    <a:pt x="876" y="96"/>
                  </a:cubicBezTo>
                  <a:cubicBezTo>
                    <a:pt x="854" y="74"/>
                    <a:pt x="869" y="52"/>
                    <a:pt x="854" y="30"/>
                  </a:cubicBezTo>
                  <a:cubicBezTo>
                    <a:pt x="802" y="22"/>
                    <a:pt x="742" y="22"/>
                    <a:pt x="691" y="22"/>
                  </a:cubicBezTo>
                  <a:cubicBezTo>
                    <a:pt x="631" y="15"/>
                    <a:pt x="572" y="0"/>
                    <a:pt x="550" y="59"/>
                  </a:cubicBezTo>
                  <a:cubicBezTo>
                    <a:pt x="527" y="82"/>
                    <a:pt x="535" y="126"/>
                    <a:pt x="505" y="141"/>
                  </a:cubicBezTo>
                  <a:cubicBezTo>
                    <a:pt x="475" y="156"/>
                    <a:pt x="431" y="141"/>
                    <a:pt x="401" y="149"/>
                  </a:cubicBezTo>
                  <a:cubicBezTo>
                    <a:pt x="401" y="164"/>
                    <a:pt x="394" y="178"/>
                    <a:pt x="386" y="186"/>
                  </a:cubicBezTo>
                  <a:cubicBezTo>
                    <a:pt x="379" y="193"/>
                    <a:pt x="371" y="193"/>
                    <a:pt x="371" y="193"/>
                  </a:cubicBezTo>
                  <a:cubicBezTo>
                    <a:pt x="364" y="201"/>
                    <a:pt x="356" y="208"/>
                    <a:pt x="349" y="215"/>
                  </a:cubicBezTo>
                  <a:cubicBezTo>
                    <a:pt x="334" y="230"/>
                    <a:pt x="334" y="230"/>
                    <a:pt x="312" y="223"/>
                  </a:cubicBezTo>
                  <a:cubicBezTo>
                    <a:pt x="290" y="215"/>
                    <a:pt x="290" y="208"/>
                    <a:pt x="282" y="186"/>
                  </a:cubicBezTo>
                  <a:cubicBezTo>
                    <a:pt x="267" y="186"/>
                    <a:pt x="260" y="193"/>
                    <a:pt x="245" y="193"/>
                  </a:cubicBezTo>
                  <a:cubicBezTo>
                    <a:pt x="238" y="215"/>
                    <a:pt x="230" y="230"/>
                    <a:pt x="230" y="253"/>
                  </a:cubicBezTo>
                  <a:cubicBezTo>
                    <a:pt x="260" y="253"/>
                    <a:pt x="275" y="253"/>
                    <a:pt x="282" y="282"/>
                  </a:cubicBezTo>
                  <a:cubicBezTo>
                    <a:pt x="282" y="312"/>
                    <a:pt x="275" y="334"/>
                    <a:pt x="275" y="356"/>
                  </a:cubicBezTo>
                  <a:cubicBezTo>
                    <a:pt x="267" y="401"/>
                    <a:pt x="267" y="446"/>
                    <a:pt x="238" y="475"/>
                  </a:cubicBezTo>
                  <a:cubicBezTo>
                    <a:pt x="230" y="483"/>
                    <a:pt x="223" y="483"/>
                    <a:pt x="208" y="490"/>
                  </a:cubicBezTo>
                  <a:cubicBezTo>
                    <a:pt x="208" y="498"/>
                    <a:pt x="200" y="498"/>
                    <a:pt x="200" y="498"/>
                  </a:cubicBezTo>
                  <a:cubicBezTo>
                    <a:pt x="193" y="498"/>
                    <a:pt x="200" y="505"/>
                    <a:pt x="193" y="512"/>
                  </a:cubicBezTo>
                  <a:cubicBezTo>
                    <a:pt x="186" y="512"/>
                    <a:pt x="178" y="512"/>
                    <a:pt x="171" y="512"/>
                  </a:cubicBezTo>
                  <a:cubicBezTo>
                    <a:pt x="178" y="527"/>
                    <a:pt x="186" y="542"/>
                    <a:pt x="186" y="542"/>
                  </a:cubicBezTo>
                  <a:cubicBezTo>
                    <a:pt x="200" y="564"/>
                    <a:pt x="230" y="587"/>
                    <a:pt x="230" y="616"/>
                  </a:cubicBezTo>
                  <a:cubicBezTo>
                    <a:pt x="200" y="616"/>
                    <a:pt x="171" y="624"/>
                    <a:pt x="156" y="646"/>
                  </a:cubicBezTo>
                  <a:cubicBezTo>
                    <a:pt x="156" y="646"/>
                    <a:pt x="126" y="706"/>
                    <a:pt x="134" y="706"/>
                  </a:cubicBezTo>
                  <a:cubicBezTo>
                    <a:pt x="97" y="706"/>
                    <a:pt x="45" y="691"/>
                    <a:pt x="52" y="743"/>
                  </a:cubicBezTo>
                  <a:cubicBezTo>
                    <a:pt x="52" y="765"/>
                    <a:pt x="67" y="795"/>
                    <a:pt x="45" y="809"/>
                  </a:cubicBezTo>
                  <a:cubicBezTo>
                    <a:pt x="30" y="817"/>
                    <a:pt x="7" y="809"/>
                    <a:pt x="0" y="824"/>
                  </a:cubicBezTo>
                  <a:cubicBezTo>
                    <a:pt x="22" y="847"/>
                    <a:pt x="59" y="832"/>
                    <a:pt x="82" y="847"/>
                  </a:cubicBezTo>
                  <a:cubicBezTo>
                    <a:pt x="111" y="861"/>
                    <a:pt x="156" y="869"/>
                    <a:pt x="178" y="899"/>
                  </a:cubicBezTo>
                  <a:cubicBezTo>
                    <a:pt x="193" y="913"/>
                    <a:pt x="252" y="995"/>
                    <a:pt x="245" y="1017"/>
                  </a:cubicBezTo>
                  <a:cubicBezTo>
                    <a:pt x="148" y="995"/>
                    <a:pt x="267" y="1144"/>
                    <a:pt x="282" y="1166"/>
                  </a:cubicBezTo>
                  <a:cubicBezTo>
                    <a:pt x="305" y="1188"/>
                    <a:pt x="327" y="1218"/>
                    <a:pt x="334" y="1248"/>
                  </a:cubicBezTo>
                  <a:cubicBezTo>
                    <a:pt x="349" y="1285"/>
                    <a:pt x="342" y="1322"/>
                    <a:pt x="342" y="1359"/>
                  </a:cubicBezTo>
                  <a:cubicBezTo>
                    <a:pt x="379" y="1366"/>
                    <a:pt x="431" y="1381"/>
                    <a:pt x="445" y="1329"/>
                  </a:cubicBezTo>
                  <a:cubicBezTo>
                    <a:pt x="453" y="1292"/>
                    <a:pt x="468" y="1285"/>
                    <a:pt x="490" y="1322"/>
                  </a:cubicBezTo>
                  <a:cubicBezTo>
                    <a:pt x="505" y="1352"/>
                    <a:pt x="520" y="1403"/>
                    <a:pt x="550" y="1411"/>
                  </a:cubicBezTo>
                  <a:cubicBezTo>
                    <a:pt x="587" y="1418"/>
                    <a:pt x="609" y="1396"/>
                    <a:pt x="609" y="1448"/>
                  </a:cubicBezTo>
                  <a:cubicBezTo>
                    <a:pt x="609" y="1448"/>
                    <a:pt x="616" y="1448"/>
                    <a:pt x="624" y="1448"/>
                  </a:cubicBezTo>
                  <a:cubicBezTo>
                    <a:pt x="616" y="1470"/>
                    <a:pt x="631" y="1515"/>
                    <a:pt x="624" y="1530"/>
                  </a:cubicBezTo>
                  <a:cubicBezTo>
                    <a:pt x="609" y="1560"/>
                    <a:pt x="602" y="1574"/>
                    <a:pt x="616" y="1597"/>
                  </a:cubicBezTo>
                  <a:cubicBezTo>
                    <a:pt x="653" y="1656"/>
                    <a:pt x="713" y="1641"/>
                    <a:pt x="765" y="1678"/>
                  </a:cubicBezTo>
                  <a:cubicBezTo>
                    <a:pt x="765" y="1686"/>
                    <a:pt x="772" y="1693"/>
                    <a:pt x="772" y="1693"/>
                  </a:cubicBezTo>
                  <a:cubicBezTo>
                    <a:pt x="787" y="1701"/>
                    <a:pt x="802" y="1715"/>
                    <a:pt x="802" y="1715"/>
                  </a:cubicBezTo>
                  <a:cubicBezTo>
                    <a:pt x="802" y="1715"/>
                    <a:pt x="802" y="1723"/>
                    <a:pt x="802" y="1730"/>
                  </a:cubicBezTo>
                  <a:cubicBezTo>
                    <a:pt x="810" y="1753"/>
                    <a:pt x="824" y="1775"/>
                    <a:pt x="839" y="1790"/>
                  </a:cubicBezTo>
                  <a:cubicBezTo>
                    <a:pt x="861" y="1812"/>
                    <a:pt x="884" y="1842"/>
                    <a:pt x="913" y="1871"/>
                  </a:cubicBezTo>
                  <a:cubicBezTo>
                    <a:pt x="936" y="1886"/>
                    <a:pt x="980" y="1908"/>
                    <a:pt x="980" y="1938"/>
                  </a:cubicBezTo>
                  <a:cubicBezTo>
                    <a:pt x="988" y="1975"/>
                    <a:pt x="980" y="2013"/>
                    <a:pt x="980" y="2057"/>
                  </a:cubicBezTo>
                  <a:cubicBezTo>
                    <a:pt x="1025" y="2057"/>
                    <a:pt x="1062" y="2065"/>
                    <a:pt x="1092" y="2102"/>
                  </a:cubicBezTo>
                  <a:cubicBezTo>
                    <a:pt x="1114" y="2139"/>
                    <a:pt x="1151" y="2131"/>
                    <a:pt x="1188" y="2131"/>
                  </a:cubicBezTo>
                  <a:cubicBezTo>
                    <a:pt x="1188" y="2183"/>
                    <a:pt x="1203" y="2176"/>
                    <a:pt x="1225" y="2161"/>
                  </a:cubicBezTo>
                  <a:lnTo>
                    <a:pt x="1225" y="2154"/>
                  </a:lnTo>
                  <a:lnTo>
                    <a:pt x="1225" y="2161"/>
                  </a:lnTo>
                  <a:cubicBezTo>
                    <a:pt x="1240" y="2154"/>
                    <a:pt x="1255" y="2139"/>
                    <a:pt x="1262" y="2131"/>
                  </a:cubicBezTo>
                  <a:cubicBezTo>
                    <a:pt x="1255" y="2139"/>
                    <a:pt x="1240" y="2154"/>
                    <a:pt x="1225" y="2161"/>
                  </a:cubicBezTo>
                  <a:lnTo>
                    <a:pt x="1225" y="2168"/>
                  </a:lnTo>
                  <a:cubicBezTo>
                    <a:pt x="1262" y="2146"/>
                    <a:pt x="1322" y="2116"/>
                    <a:pt x="1344" y="2102"/>
                  </a:cubicBezTo>
                  <a:cubicBezTo>
                    <a:pt x="1366" y="2087"/>
                    <a:pt x="1359" y="2050"/>
                    <a:pt x="1322" y="2050"/>
                  </a:cubicBezTo>
                  <a:cubicBezTo>
                    <a:pt x="1329" y="2020"/>
                    <a:pt x="1366" y="1938"/>
                    <a:pt x="1322" y="1938"/>
                  </a:cubicBezTo>
                  <a:cubicBezTo>
                    <a:pt x="1314" y="1916"/>
                    <a:pt x="1352" y="1812"/>
                    <a:pt x="1381" y="1819"/>
                  </a:cubicBezTo>
                  <a:cubicBezTo>
                    <a:pt x="1381" y="1819"/>
                    <a:pt x="1381" y="1812"/>
                    <a:pt x="1381" y="1805"/>
                  </a:cubicBezTo>
                  <a:cubicBezTo>
                    <a:pt x="1381" y="1805"/>
                    <a:pt x="1381" y="1805"/>
                    <a:pt x="1374" y="1805"/>
                  </a:cubicBezTo>
                  <a:cubicBezTo>
                    <a:pt x="1366" y="1782"/>
                    <a:pt x="1359" y="1768"/>
                    <a:pt x="1366" y="1738"/>
                  </a:cubicBezTo>
                  <a:cubicBezTo>
                    <a:pt x="1381" y="1738"/>
                    <a:pt x="1433" y="1753"/>
                    <a:pt x="1426" y="1715"/>
                  </a:cubicBezTo>
                  <a:cubicBezTo>
                    <a:pt x="1418" y="1723"/>
                    <a:pt x="1411" y="1715"/>
                    <a:pt x="1404" y="1715"/>
                  </a:cubicBezTo>
                  <a:cubicBezTo>
                    <a:pt x="1404" y="1678"/>
                    <a:pt x="1470" y="1597"/>
                    <a:pt x="1515" y="1611"/>
                  </a:cubicBezTo>
                  <a:cubicBezTo>
                    <a:pt x="1530" y="1619"/>
                    <a:pt x="1545" y="1649"/>
                    <a:pt x="1567" y="1641"/>
                  </a:cubicBezTo>
                  <a:cubicBezTo>
                    <a:pt x="1582" y="1641"/>
                    <a:pt x="1589" y="1597"/>
                    <a:pt x="1597" y="1582"/>
                  </a:cubicBezTo>
                  <a:cubicBezTo>
                    <a:pt x="1634" y="1552"/>
                    <a:pt x="1693" y="1589"/>
                    <a:pt x="1723" y="1537"/>
                  </a:cubicBezTo>
                  <a:cubicBezTo>
                    <a:pt x="1760" y="1537"/>
                    <a:pt x="1827" y="1552"/>
                    <a:pt x="1864" y="1567"/>
                  </a:cubicBezTo>
                  <a:cubicBezTo>
                    <a:pt x="1901" y="1582"/>
                    <a:pt x="1923" y="1582"/>
                    <a:pt x="1968" y="1582"/>
                  </a:cubicBezTo>
                  <a:cubicBezTo>
                    <a:pt x="2012" y="1582"/>
                    <a:pt x="2116" y="1597"/>
                    <a:pt x="2109" y="1663"/>
                  </a:cubicBezTo>
                  <a:cubicBezTo>
                    <a:pt x="2124" y="1663"/>
                    <a:pt x="2220" y="1671"/>
                    <a:pt x="2220" y="1656"/>
                  </a:cubicBezTo>
                  <a:cubicBezTo>
                    <a:pt x="2213" y="1634"/>
                    <a:pt x="2198" y="1611"/>
                    <a:pt x="2183" y="1589"/>
                  </a:cubicBezTo>
                  <a:cubicBezTo>
                    <a:pt x="2176" y="1574"/>
                    <a:pt x="2168" y="1530"/>
                    <a:pt x="2161" y="1485"/>
                  </a:cubicBezTo>
                  <a:cubicBezTo>
                    <a:pt x="2154" y="1485"/>
                    <a:pt x="2146" y="1478"/>
                    <a:pt x="2146" y="1470"/>
                  </a:cubicBezTo>
                  <a:cubicBezTo>
                    <a:pt x="2131" y="1448"/>
                    <a:pt x="2139" y="1411"/>
                    <a:pt x="2131" y="1381"/>
                  </a:cubicBezTo>
                  <a:cubicBezTo>
                    <a:pt x="2124" y="1389"/>
                    <a:pt x="2116" y="1389"/>
                    <a:pt x="2109" y="1396"/>
                  </a:cubicBezTo>
                  <a:cubicBezTo>
                    <a:pt x="2102" y="1403"/>
                    <a:pt x="2087" y="1314"/>
                    <a:pt x="2087" y="1307"/>
                  </a:cubicBezTo>
                  <a:cubicBezTo>
                    <a:pt x="2094" y="1285"/>
                    <a:pt x="2109" y="1277"/>
                    <a:pt x="2124" y="1255"/>
                  </a:cubicBezTo>
                  <a:cubicBezTo>
                    <a:pt x="2131" y="1233"/>
                    <a:pt x="2131" y="1188"/>
                    <a:pt x="2131" y="1158"/>
                  </a:cubicBezTo>
                  <a:cubicBezTo>
                    <a:pt x="2124" y="1084"/>
                    <a:pt x="2064" y="1032"/>
                    <a:pt x="2057" y="958"/>
                  </a:cubicBezTo>
                  <a:cubicBezTo>
                    <a:pt x="2057" y="951"/>
                    <a:pt x="2057" y="928"/>
                    <a:pt x="2049" y="921"/>
                  </a:cubicBezTo>
                  <a:cubicBezTo>
                    <a:pt x="2042" y="899"/>
                    <a:pt x="2035" y="913"/>
                    <a:pt x="2020" y="899"/>
                  </a:cubicBezTo>
                  <a:cubicBezTo>
                    <a:pt x="1998" y="884"/>
                    <a:pt x="2005" y="854"/>
                    <a:pt x="2005" y="832"/>
                  </a:cubicBezTo>
                  <a:cubicBezTo>
                    <a:pt x="2005" y="817"/>
                    <a:pt x="2012" y="802"/>
                    <a:pt x="2005" y="787"/>
                  </a:cubicBezTo>
                  <a:cubicBezTo>
                    <a:pt x="1990" y="765"/>
                    <a:pt x="1960" y="765"/>
                    <a:pt x="1953" y="743"/>
                  </a:cubicBezTo>
                  <a:cubicBezTo>
                    <a:pt x="1946" y="720"/>
                    <a:pt x="1968" y="713"/>
                    <a:pt x="1983" y="698"/>
                  </a:cubicBezTo>
                  <a:cubicBezTo>
                    <a:pt x="1983" y="691"/>
                    <a:pt x="1983" y="676"/>
                    <a:pt x="1983" y="668"/>
                  </a:cubicBezTo>
                  <a:cubicBezTo>
                    <a:pt x="1968" y="668"/>
                    <a:pt x="1953" y="668"/>
                    <a:pt x="1938" y="668"/>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19" name="Freeform 16">
              <a:extLst>
                <a:ext uri="{FF2B5EF4-FFF2-40B4-BE49-F238E27FC236}">
                  <a16:creationId xmlns:a16="http://schemas.microsoft.com/office/drawing/2014/main" id="{D6006040-3EF9-E344-9A99-4B8780F7708D}"/>
                </a:ext>
              </a:extLst>
            </p:cNvPr>
            <p:cNvSpPr>
              <a:spLocks noChangeArrowheads="1"/>
            </p:cNvSpPr>
            <p:nvPr/>
          </p:nvSpPr>
          <p:spPr bwMode="auto">
            <a:xfrm>
              <a:off x="11855156" y="7648312"/>
              <a:ext cx="1894927" cy="1510744"/>
            </a:xfrm>
            <a:custGeom>
              <a:avLst/>
              <a:gdLst>
                <a:gd name="T0" fmla="*/ 4143 w 4382"/>
                <a:gd name="T1" fmla="*/ 446 h 3499"/>
                <a:gd name="T2" fmla="*/ 3853 w 4382"/>
                <a:gd name="T3" fmla="*/ 267 h 3499"/>
                <a:gd name="T4" fmla="*/ 3801 w 4382"/>
                <a:gd name="T5" fmla="*/ 260 h 3499"/>
                <a:gd name="T6" fmla="*/ 3408 w 4382"/>
                <a:gd name="T7" fmla="*/ 59 h 3499"/>
                <a:gd name="T8" fmla="*/ 3282 w 4382"/>
                <a:gd name="T9" fmla="*/ 416 h 3499"/>
                <a:gd name="T10" fmla="*/ 2903 w 4382"/>
                <a:gd name="T11" fmla="*/ 297 h 3499"/>
                <a:gd name="T12" fmla="*/ 2702 w 4382"/>
                <a:gd name="T13" fmla="*/ 267 h 3499"/>
                <a:gd name="T14" fmla="*/ 2346 w 4382"/>
                <a:gd name="T15" fmla="*/ 97 h 3499"/>
                <a:gd name="T16" fmla="*/ 1975 w 4382"/>
                <a:gd name="T17" fmla="*/ 15 h 3499"/>
                <a:gd name="T18" fmla="*/ 1952 w 4382"/>
                <a:gd name="T19" fmla="*/ 22 h 3499"/>
                <a:gd name="T20" fmla="*/ 1618 w 4382"/>
                <a:gd name="T21" fmla="*/ 357 h 3499"/>
                <a:gd name="T22" fmla="*/ 1499 w 4382"/>
                <a:gd name="T23" fmla="*/ 683 h 3499"/>
                <a:gd name="T24" fmla="*/ 1373 w 4382"/>
                <a:gd name="T25" fmla="*/ 965 h 3499"/>
                <a:gd name="T26" fmla="*/ 950 w 4382"/>
                <a:gd name="T27" fmla="*/ 1002 h 3499"/>
                <a:gd name="T28" fmla="*/ 765 w 4382"/>
                <a:gd name="T29" fmla="*/ 1188 h 3499"/>
                <a:gd name="T30" fmla="*/ 795 w 4382"/>
                <a:gd name="T31" fmla="*/ 1730 h 3499"/>
                <a:gd name="T32" fmla="*/ 987 w 4382"/>
                <a:gd name="T33" fmla="*/ 1998 h 3499"/>
                <a:gd name="T34" fmla="*/ 706 w 4382"/>
                <a:gd name="T35" fmla="*/ 1901 h 3499"/>
                <a:gd name="T36" fmla="*/ 468 w 4382"/>
                <a:gd name="T37" fmla="*/ 1975 h 3499"/>
                <a:gd name="T38" fmla="*/ 594 w 4382"/>
                <a:gd name="T39" fmla="*/ 2309 h 3499"/>
                <a:gd name="T40" fmla="*/ 550 w 4382"/>
                <a:gd name="T41" fmla="*/ 2800 h 3499"/>
                <a:gd name="T42" fmla="*/ 372 w 4382"/>
                <a:gd name="T43" fmla="*/ 2963 h 3499"/>
                <a:gd name="T44" fmla="*/ 112 w 4382"/>
                <a:gd name="T45" fmla="*/ 3186 h 3499"/>
                <a:gd name="T46" fmla="*/ 134 w 4382"/>
                <a:gd name="T47" fmla="*/ 3483 h 3499"/>
                <a:gd name="T48" fmla="*/ 431 w 4382"/>
                <a:gd name="T49" fmla="*/ 3394 h 3499"/>
                <a:gd name="T50" fmla="*/ 676 w 4382"/>
                <a:gd name="T51" fmla="*/ 3349 h 3499"/>
                <a:gd name="T52" fmla="*/ 713 w 4382"/>
                <a:gd name="T53" fmla="*/ 3253 h 3499"/>
                <a:gd name="T54" fmla="*/ 728 w 4382"/>
                <a:gd name="T55" fmla="*/ 3067 h 3499"/>
                <a:gd name="T56" fmla="*/ 1031 w 4382"/>
                <a:gd name="T57" fmla="*/ 3126 h 3499"/>
                <a:gd name="T58" fmla="*/ 1224 w 4382"/>
                <a:gd name="T59" fmla="*/ 3104 h 3499"/>
                <a:gd name="T60" fmla="*/ 1195 w 4382"/>
                <a:gd name="T61" fmla="*/ 2941 h 3499"/>
                <a:gd name="T62" fmla="*/ 1410 w 4382"/>
                <a:gd name="T63" fmla="*/ 2807 h 3499"/>
                <a:gd name="T64" fmla="*/ 1514 w 4382"/>
                <a:gd name="T65" fmla="*/ 2703 h 3499"/>
                <a:gd name="T66" fmla="*/ 1626 w 4382"/>
                <a:gd name="T67" fmla="*/ 2547 h 3499"/>
                <a:gd name="T68" fmla="*/ 1796 w 4382"/>
                <a:gd name="T69" fmla="*/ 2770 h 3499"/>
                <a:gd name="T70" fmla="*/ 2116 w 4382"/>
                <a:gd name="T71" fmla="*/ 2807 h 3499"/>
                <a:gd name="T72" fmla="*/ 2234 w 4382"/>
                <a:gd name="T73" fmla="*/ 2658 h 3499"/>
                <a:gd name="T74" fmla="*/ 2450 w 4382"/>
                <a:gd name="T75" fmla="*/ 2614 h 3499"/>
                <a:gd name="T76" fmla="*/ 2628 w 4382"/>
                <a:gd name="T77" fmla="*/ 2354 h 3499"/>
                <a:gd name="T78" fmla="*/ 2858 w 4382"/>
                <a:gd name="T79" fmla="*/ 2183 h 3499"/>
                <a:gd name="T80" fmla="*/ 2784 w 4382"/>
                <a:gd name="T81" fmla="*/ 2131 h 3499"/>
                <a:gd name="T82" fmla="*/ 2702 w 4382"/>
                <a:gd name="T83" fmla="*/ 2220 h 3499"/>
                <a:gd name="T84" fmla="*/ 2999 w 4382"/>
                <a:gd name="T85" fmla="*/ 1998 h 3499"/>
                <a:gd name="T86" fmla="*/ 2895 w 4382"/>
                <a:gd name="T87" fmla="*/ 2153 h 3499"/>
                <a:gd name="T88" fmla="*/ 3445 w 4382"/>
                <a:gd name="T89" fmla="*/ 1975 h 3499"/>
                <a:gd name="T90" fmla="*/ 3846 w 4382"/>
                <a:gd name="T91" fmla="*/ 1671 h 3499"/>
                <a:gd name="T92" fmla="*/ 4069 w 4382"/>
                <a:gd name="T93" fmla="*/ 1314 h 3499"/>
                <a:gd name="T94" fmla="*/ 3980 w 4382"/>
                <a:gd name="T95" fmla="*/ 1351 h 3499"/>
                <a:gd name="T96" fmla="*/ 3980 w 4382"/>
                <a:gd name="T97" fmla="*/ 1196 h 3499"/>
                <a:gd name="T98" fmla="*/ 4098 w 4382"/>
                <a:gd name="T99" fmla="*/ 772 h 3499"/>
                <a:gd name="T100" fmla="*/ 4381 w 4382"/>
                <a:gd name="T101" fmla="*/ 698 h 3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82" h="3499">
                  <a:moveTo>
                    <a:pt x="4299" y="594"/>
                  </a:moveTo>
                  <a:lnTo>
                    <a:pt x="4299" y="594"/>
                  </a:lnTo>
                  <a:cubicBezTo>
                    <a:pt x="4262" y="564"/>
                    <a:pt x="4210" y="572"/>
                    <a:pt x="4195" y="520"/>
                  </a:cubicBezTo>
                  <a:cubicBezTo>
                    <a:pt x="4187" y="490"/>
                    <a:pt x="4187" y="438"/>
                    <a:pt x="4143" y="446"/>
                  </a:cubicBezTo>
                  <a:cubicBezTo>
                    <a:pt x="4121" y="490"/>
                    <a:pt x="4121" y="483"/>
                    <a:pt x="4084" y="497"/>
                  </a:cubicBezTo>
                  <a:cubicBezTo>
                    <a:pt x="4076" y="542"/>
                    <a:pt x="4032" y="512"/>
                    <a:pt x="4024" y="490"/>
                  </a:cubicBezTo>
                  <a:cubicBezTo>
                    <a:pt x="3995" y="446"/>
                    <a:pt x="4039" y="401"/>
                    <a:pt x="4002" y="357"/>
                  </a:cubicBezTo>
                  <a:cubicBezTo>
                    <a:pt x="3950" y="312"/>
                    <a:pt x="3876" y="357"/>
                    <a:pt x="3853" y="267"/>
                  </a:cubicBezTo>
                  <a:cubicBezTo>
                    <a:pt x="3846" y="267"/>
                    <a:pt x="3838" y="267"/>
                    <a:pt x="3831" y="260"/>
                  </a:cubicBezTo>
                  <a:lnTo>
                    <a:pt x="3831" y="260"/>
                  </a:lnTo>
                  <a:lnTo>
                    <a:pt x="3831" y="260"/>
                  </a:lnTo>
                  <a:cubicBezTo>
                    <a:pt x="3824" y="260"/>
                    <a:pt x="3816" y="260"/>
                    <a:pt x="3801" y="260"/>
                  </a:cubicBezTo>
                  <a:cubicBezTo>
                    <a:pt x="3816" y="186"/>
                    <a:pt x="3683" y="104"/>
                    <a:pt x="3660" y="193"/>
                  </a:cubicBezTo>
                  <a:cubicBezTo>
                    <a:pt x="3653" y="200"/>
                    <a:pt x="3638" y="200"/>
                    <a:pt x="3630" y="200"/>
                  </a:cubicBezTo>
                  <a:cubicBezTo>
                    <a:pt x="3638" y="171"/>
                    <a:pt x="3586" y="111"/>
                    <a:pt x="3564" y="89"/>
                  </a:cubicBezTo>
                  <a:cubicBezTo>
                    <a:pt x="3527" y="45"/>
                    <a:pt x="3460" y="67"/>
                    <a:pt x="3408" y="59"/>
                  </a:cubicBezTo>
                  <a:cubicBezTo>
                    <a:pt x="3415" y="0"/>
                    <a:pt x="3333" y="30"/>
                    <a:pt x="3296" y="37"/>
                  </a:cubicBezTo>
                  <a:cubicBezTo>
                    <a:pt x="3311" y="67"/>
                    <a:pt x="3393" y="193"/>
                    <a:pt x="3326" y="215"/>
                  </a:cubicBezTo>
                  <a:cubicBezTo>
                    <a:pt x="3319" y="252"/>
                    <a:pt x="3356" y="282"/>
                    <a:pt x="3348" y="327"/>
                  </a:cubicBezTo>
                  <a:cubicBezTo>
                    <a:pt x="3282" y="319"/>
                    <a:pt x="3304" y="386"/>
                    <a:pt x="3282" y="416"/>
                  </a:cubicBezTo>
                  <a:cubicBezTo>
                    <a:pt x="3244" y="423"/>
                    <a:pt x="3222" y="408"/>
                    <a:pt x="3193" y="401"/>
                  </a:cubicBezTo>
                  <a:cubicBezTo>
                    <a:pt x="3215" y="379"/>
                    <a:pt x="3237" y="349"/>
                    <a:pt x="3193" y="334"/>
                  </a:cubicBezTo>
                  <a:cubicBezTo>
                    <a:pt x="3148" y="379"/>
                    <a:pt x="3096" y="334"/>
                    <a:pt x="3051" y="312"/>
                  </a:cubicBezTo>
                  <a:cubicBezTo>
                    <a:pt x="3007" y="297"/>
                    <a:pt x="2947" y="275"/>
                    <a:pt x="2903" y="297"/>
                  </a:cubicBezTo>
                  <a:cubicBezTo>
                    <a:pt x="2866" y="312"/>
                    <a:pt x="2851" y="364"/>
                    <a:pt x="2806" y="371"/>
                  </a:cubicBezTo>
                  <a:cubicBezTo>
                    <a:pt x="2747" y="379"/>
                    <a:pt x="2695" y="334"/>
                    <a:pt x="2643" y="327"/>
                  </a:cubicBezTo>
                  <a:cubicBezTo>
                    <a:pt x="2650" y="304"/>
                    <a:pt x="2688" y="304"/>
                    <a:pt x="2688" y="275"/>
                  </a:cubicBezTo>
                  <a:cubicBezTo>
                    <a:pt x="2695" y="267"/>
                    <a:pt x="2695" y="267"/>
                    <a:pt x="2702" y="267"/>
                  </a:cubicBezTo>
                  <a:cubicBezTo>
                    <a:pt x="2710" y="193"/>
                    <a:pt x="2710" y="111"/>
                    <a:pt x="2702" y="37"/>
                  </a:cubicBezTo>
                  <a:cubicBezTo>
                    <a:pt x="2665" y="30"/>
                    <a:pt x="2636" y="59"/>
                    <a:pt x="2606" y="74"/>
                  </a:cubicBezTo>
                  <a:cubicBezTo>
                    <a:pt x="2569" y="89"/>
                    <a:pt x="2531" y="97"/>
                    <a:pt x="2494" y="104"/>
                  </a:cubicBezTo>
                  <a:cubicBezTo>
                    <a:pt x="2442" y="111"/>
                    <a:pt x="2398" y="89"/>
                    <a:pt x="2346" y="97"/>
                  </a:cubicBezTo>
                  <a:cubicBezTo>
                    <a:pt x="2316" y="104"/>
                    <a:pt x="2294" y="119"/>
                    <a:pt x="2272" y="134"/>
                  </a:cubicBezTo>
                  <a:cubicBezTo>
                    <a:pt x="2212" y="163"/>
                    <a:pt x="2093" y="148"/>
                    <a:pt x="2056" y="104"/>
                  </a:cubicBezTo>
                  <a:cubicBezTo>
                    <a:pt x="2034" y="82"/>
                    <a:pt x="2034" y="45"/>
                    <a:pt x="2012" y="30"/>
                  </a:cubicBezTo>
                  <a:cubicBezTo>
                    <a:pt x="2004" y="15"/>
                    <a:pt x="1989" y="15"/>
                    <a:pt x="1975" y="15"/>
                  </a:cubicBezTo>
                  <a:lnTo>
                    <a:pt x="1975" y="15"/>
                  </a:lnTo>
                  <a:lnTo>
                    <a:pt x="1975" y="15"/>
                  </a:lnTo>
                  <a:cubicBezTo>
                    <a:pt x="1960" y="15"/>
                    <a:pt x="1952" y="15"/>
                    <a:pt x="1937" y="15"/>
                  </a:cubicBezTo>
                  <a:cubicBezTo>
                    <a:pt x="1937" y="15"/>
                    <a:pt x="1945" y="15"/>
                    <a:pt x="1952" y="22"/>
                  </a:cubicBezTo>
                  <a:cubicBezTo>
                    <a:pt x="1952" y="97"/>
                    <a:pt x="1960" y="126"/>
                    <a:pt x="1871" y="148"/>
                  </a:cubicBezTo>
                  <a:cubicBezTo>
                    <a:pt x="1826" y="156"/>
                    <a:pt x="1759" y="215"/>
                    <a:pt x="1722" y="245"/>
                  </a:cubicBezTo>
                  <a:cubicBezTo>
                    <a:pt x="1700" y="252"/>
                    <a:pt x="1655" y="282"/>
                    <a:pt x="1655" y="312"/>
                  </a:cubicBezTo>
                  <a:cubicBezTo>
                    <a:pt x="1655" y="349"/>
                    <a:pt x="1633" y="327"/>
                    <a:pt x="1618" y="357"/>
                  </a:cubicBezTo>
                  <a:cubicBezTo>
                    <a:pt x="1588" y="416"/>
                    <a:pt x="1640" y="438"/>
                    <a:pt x="1663" y="483"/>
                  </a:cubicBezTo>
                  <a:cubicBezTo>
                    <a:pt x="1611" y="512"/>
                    <a:pt x="1581" y="527"/>
                    <a:pt x="1566" y="587"/>
                  </a:cubicBezTo>
                  <a:cubicBezTo>
                    <a:pt x="1544" y="594"/>
                    <a:pt x="1559" y="616"/>
                    <a:pt x="1551" y="639"/>
                  </a:cubicBezTo>
                  <a:cubicBezTo>
                    <a:pt x="1551" y="654"/>
                    <a:pt x="1514" y="661"/>
                    <a:pt x="1499" y="683"/>
                  </a:cubicBezTo>
                  <a:cubicBezTo>
                    <a:pt x="1477" y="713"/>
                    <a:pt x="1470" y="765"/>
                    <a:pt x="1477" y="802"/>
                  </a:cubicBezTo>
                  <a:cubicBezTo>
                    <a:pt x="1477" y="832"/>
                    <a:pt x="1514" y="847"/>
                    <a:pt x="1507" y="876"/>
                  </a:cubicBezTo>
                  <a:cubicBezTo>
                    <a:pt x="1470" y="876"/>
                    <a:pt x="1403" y="861"/>
                    <a:pt x="1381" y="899"/>
                  </a:cubicBezTo>
                  <a:cubicBezTo>
                    <a:pt x="1366" y="913"/>
                    <a:pt x="1381" y="943"/>
                    <a:pt x="1373" y="965"/>
                  </a:cubicBezTo>
                  <a:cubicBezTo>
                    <a:pt x="1366" y="995"/>
                    <a:pt x="1351" y="1017"/>
                    <a:pt x="1343" y="1040"/>
                  </a:cubicBezTo>
                  <a:cubicBezTo>
                    <a:pt x="1314" y="1040"/>
                    <a:pt x="1291" y="1047"/>
                    <a:pt x="1269" y="1025"/>
                  </a:cubicBezTo>
                  <a:cubicBezTo>
                    <a:pt x="1247" y="1002"/>
                    <a:pt x="1202" y="1010"/>
                    <a:pt x="1180" y="1010"/>
                  </a:cubicBezTo>
                  <a:cubicBezTo>
                    <a:pt x="1106" y="1010"/>
                    <a:pt x="1024" y="995"/>
                    <a:pt x="950" y="1002"/>
                  </a:cubicBezTo>
                  <a:cubicBezTo>
                    <a:pt x="950" y="1069"/>
                    <a:pt x="928" y="1129"/>
                    <a:pt x="899" y="1188"/>
                  </a:cubicBezTo>
                  <a:cubicBezTo>
                    <a:pt x="884" y="1203"/>
                    <a:pt x="869" y="1240"/>
                    <a:pt x="854" y="1248"/>
                  </a:cubicBezTo>
                  <a:cubicBezTo>
                    <a:pt x="817" y="1255"/>
                    <a:pt x="802" y="1225"/>
                    <a:pt x="802" y="1196"/>
                  </a:cubicBezTo>
                  <a:cubicBezTo>
                    <a:pt x="787" y="1188"/>
                    <a:pt x="773" y="1188"/>
                    <a:pt x="765" y="1188"/>
                  </a:cubicBezTo>
                  <a:cubicBezTo>
                    <a:pt x="758" y="1262"/>
                    <a:pt x="750" y="1344"/>
                    <a:pt x="758" y="1418"/>
                  </a:cubicBezTo>
                  <a:cubicBezTo>
                    <a:pt x="758" y="1448"/>
                    <a:pt x="750" y="1470"/>
                    <a:pt x="758" y="1500"/>
                  </a:cubicBezTo>
                  <a:cubicBezTo>
                    <a:pt x="758" y="1522"/>
                    <a:pt x="787" y="1515"/>
                    <a:pt x="795" y="1530"/>
                  </a:cubicBezTo>
                  <a:cubicBezTo>
                    <a:pt x="839" y="1589"/>
                    <a:pt x="802" y="1663"/>
                    <a:pt x="795" y="1730"/>
                  </a:cubicBezTo>
                  <a:cubicBezTo>
                    <a:pt x="787" y="1760"/>
                    <a:pt x="780" y="1797"/>
                    <a:pt x="780" y="1834"/>
                  </a:cubicBezTo>
                  <a:cubicBezTo>
                    <a:pt x="787" y="1871"/>
                    <a:pt x="847" y="1879"/>
                    <a:pt x="877" y="1886"/>
                  </a:cubicBezTo>
                  <a:cubicBezTo>
                    <a:pt x="884" y="1886"/>
                    <a:pt x="979" y="1879"/>
                    <a:pt x="979" y="1886"/>
                  </a:cubicBezTo>
                  <a:cubicBezTo>
                    <a:pt x="1002" y="1916"/>
                    <a:pt x="987" y="1961"/>
                    <a:pt x="987" y="1998"/>
                  </a:cubicBezTo>
                  <a:cubicBezTo>
                    <a:pt x="965" y="2012"/>
                    <a:pt x="950" y="2042"/>
                    <a:pt x="914" y="2035"/>
                  </a:cubicBezTo>
                  <a:cubicBezTo>
                    <a:pt x="914" y="2012"/>
                    <a:pt x="914" y="1983"/>
                    <a:pt x="914" y="1961"/>
                  </a:cubicBezTo>
                  <a:cubicBezTo>
                    <a:pt x="877" y="1946"/>
                    <a:pt x="758" y="1923"/>
                    <a:pt x="765" y="1990"/>
                  </a:cubicBezTo>
                  <a:cubicBezTo>
                    <a:pt x="706" y="2005"/>
                    <a:pt x="706" y="1938"/>
                    <a:pt x="706" y="1901"/>
                  </a:cubicBezTo>
                  <a:cubicBezTo>
                    <a:pt x="639" y="1856"/>
                    <a:pt x="587" y="1842"/>
                    <a:pt x="505" y="1842"/>
                  </a:cubicBezTo>
                  <a:cubicBezTo>
                    <a:pt x="513" y="1790"/>
                    <a:pt x="453" y="1804"/>
                    <a:pt x="423" y="1804"/>
                  </a:cubicBezTo>
                  <a:cubicBezTo>
                    <a:pt x="423" y="1864"/>
                    <a:pt x="372" y="1916"/>
                    <a:pt x="409" y="1975"/>
                  </a:cubicBezTo>
                  <a:cubicBezTo>
                    <a:pt x="423" y="1975"/>
                    <a:pt x="446" y="1975"/>
                    <a:pt x="468" y="1975"/>
                  </a:cubicBezTo>
                  <a:cubicBezTo>
                    <a:pt x="468" y="2027"/>
                    <a:pt x="528" y="1998"/>
                    <a:pt x="542" y="2042"/>
                  </a:cubicBezTo>
                  <a:cubicBezTo>
                    <a:pt x="565" y="2109"/>
                    <a:pt x="498" y="2168"/>
                    <a:pt x="498" y="2235"/>
                  </a:cubicBezTo>
                  <a:cubicBezTo>
                    <a:pt x="513" y="2235"/>
                    <a:pt x="535" y="2243"/>
                    <a:pt x="542" y="2243"/>
                  </a:cubicBezTo>
                  <a:cubicBezTo>
                    <a:pt x="550" y="2272"/>
                    <a:pt x="587" y="2280"/>
                    <a:pt x="594" y="2309"/>
                  </a:cubicBezTo>
                  <a:cubicBezTo>
                    <a:pt x="617" y="2339"/>
                    <a:pt x="602" y="2384"/>
                    <a:pt x="602" y="2421"/>
                  </a:cubicBezTo>
                  <a:cubicBezTo>
                    <a:pt x="602" y="2510"/>
                    <a:pt x="639" y="2592"/>
                    <a:pt x="624" y="2688"/>
                  </a:cubicBezTo>
                  <a:cubicBezTo>
                    <a:pt x="609" y="2688"/>
                    <a:pt x="594" y="2688"/>
                    <a:pt x="572" y="2688"/>
                  </a:cubicBezTo>
                  <a:cubicBezTo>
                    <a:pt x="580" y="2718"/>
                    <a:pt x="580" y="2777"/>
                    <a:pt x="550" y="2800"/>
                  </a:cubicBezTo>
                  <a:cubicBezTo>
                    <a:pt x="528" y="2822"/>
                    <a:pt x="483" y="2800"/>
                    <a:pt x="475" y="2852"/>
                  </a:cubicBezTo>
                  <a:cubicBezTo>
                    <a:pt x="446" y="2852"/>
                    <a:pt x="416" y="2852"/>
                    <a:pt x="386" y="2859"/>
                  </a:cubicBezTo>
                  <a:cubicBezTo>
                    <a:pt x="431" y="2889"/>
                    <a:pt x="438" y="2903"/>
                    <a:pt x="431" y="2955"/>
                  </a:cubicBezTo>
                  <a:cubicBezTo>
                    <a:pt x="409" y="2955"/>
                    <a:pt x="394" y="2963"/>
                    <a:pt x="372" y="2963"/>
                  </a:cubicBezTo>
                  <a:cubicBezTo>
                    <a:pt x="327" y="3000"/>
                    <a:pt x="327" y="3082"/>
                    <a:pt x="268" y="3111"/>
                  </a:cubicBezTo>
                  <a:cubicBezTo>
                    <a:pt x="253" y="3119"/>
                    <a:pt x="230" y="3104"/>
                    <a:pt x="215" y="3111"/>
                  </a:cubicBezTo>
                  <a:cubicBezTo>
                    <a:pt x="201" y="3119"/>
                    <a:pt x="193" y="3126"/>
                    <a:pt x="178" y="3134"/>
                  </a:cubicBezTo>
                  <a:cubicBezTo>
                    <a:pt x="156" y="3156"/>
                    <a:pt x="141" y="3178"/>
                    <a:pt x="112" y="3186"/>
                  </a:cubicBezTo>
                  <a:cubicBezTo>
                    <a:pt x="104" y="3238"/>
                    <a:pt x="104" y="3297"/>
                    <a:pt x="67" y="3342"/>
                  </a:cubicBezTo>
                  <a:cubicBezTo>
                    <a:pt x="37" y="3386"/>
                    <a:pt x="0" y="3408"/>
                    <a:pt x="0" y="3468"/>
                  </a:cubicBezTo>
                  <a:cubicBezTo>
                    <a:pt x="0" y="3468"/>
                    <a:pt x="0" y="3483"/>
                    <a:pt x="0" y="3498"/>
                  </a:cubicBezTo>
                  <a:cubicBezTo>
                    <a:pt x="45" y="3490"/>
                    <a:pt x="89" y="3483"/>
                    <a:pt x="134" y="3483"/>
                  </a:cubicBezTo>
                  <a:cubicBezTo>
                    <a:pt x="178" y="3490"/>
                    <a:pt x="193" y="3475"/>
                    <a:pt x="230" y="3468"/>
                  </a:cubicBezTo>
                  <a:cubicBezTo>
                    <a:pt x="245" y="3460"/>
                    <a:pt x="268" y="3468"/>
                    <a:pt x="290" y="3468"/>
                  </a:cubicBezTo>
                  <a:cubicBezTo>
                    <a:pt x="305" y="3468"/>
                    <a:pt x="320" y="3453"/>
                    <a:pt x="342" y="3453"/>
                  </a:cubicBezTo>
                  <a:cubicBezTo>
                    <a:pt x="349" y="3386"/>
                    <a:pt x="379" y="3401"/>
                    <a:pt x="431" y="3394"/>
                  </a:cubicBezTo>
                  <a:cubicBezTo>
                    <a:pt x="475" y="3386"/>
                    <a:pt x="490" y="3327"/>
                    <a:pt x="542" y="3334"/>
                  </a:cubicBezTo>
                  <a:cubicBezTo>
                    <a:pt x="565" y="3334"/>
                    <a:pt x="594" y="3334"/>
                    <a:pt x="609" y="3357"/>
                  </a:cubicBezTo>
                  <a:cubicBezTo>
                    <a:pt x="617" y="3371"/>
                    <a:pt x="617" y="3394"/>
                    <a:pt x="639" y="3394"/>
                  </a:cubicBezTo>
                  <a:cubicBezTo>
                    <a:pt x="676" y="3401"/>
                    <a:pt x="669" y="3371"/>
                    <a:pt x="676" y="3349"/>
                  </a:cubicBezTo>
                  <a:cubicBezTo>
                    <a:pt x="691" y="3327"/>
                    <a:pt x="698" y="3342"/>
                    <a:pt x="720" y="3334"/>
                  </a:cubicBezTo>
                  <a:cubicBezTo>
                    <a:pt x="720" y="3319"/>
                    <a:pt x="713" y="3290"/>
                    <a:pt x="743" y="3290"/>
                  </a:cubicBezTo>
                  <a:cubicBezTo>
                    <a:pt x="743" y="3282"/>
                    <a:pt x="743" y="3268"/>
                    <a:pt x="743" y="3260"/>
                  </a:cubicBezTo>
                  <a:cubicBezTo>
                    <a:pt x="728" y="3260"/>
                    <a:pt x="720" y="3253"/>
                    <a:pt x="713" y="3253"/>
                  </a:cubicBezTo>
                  <a:cubicBezTo>
                    <a:pt x="713" y="3230"/>
                    <a:pt x="706" y="3193"/>
                    <a:pt x="728" y="3186"/>
                  </a:cubicBezTo>
                  <a:cubicBezTo>
                    <a:pt x="743" y="3178"/>
                    <a:pt x="750" y="3171"/>
                    <a:pt x="750" y="3156"/>
                  </a:cubicBezTo>
                  <a:cubicBezTo>
                    <a:pt x="743" y="3156"/>
                    <a:pt x="743" y="3156"/>
                    <a:pt x="735" y="3156"/>
                  </a:cubicBezTo>
                  <a:cubicBezTo>
                    <a:pt x="743" y="3126"/>
                    <a:pt x="720" y="3097"/>
                    <a:pt x="728" y="3067"/>
                  </a:cubicBezTo>
                  <a:cubicBezTo>
                    <a:pt x="773" y="3060"/>
                    <a:pt x="787" y="3037"/>
                    <a:pt x="817" y="3000"/>
                  </a:cubicBezTo>
                  <a:cubicBezTo>
                    <a:pt x="869" y="3015"/>
                    <a:pt x="891" y="3082"/>
                    <a:pt x="906" y="3126"/>
                  </a:cubicBezTo>
                  <a:cubicBezTo>
                    <a:pt x="942" y="3134"/>
                    <a:pt x="899" y="3163"/>
                    <a:pt x="884" y="3171"/>
                  </a:cubicBezTo>
                  <a:cubicBezTo>
                    <a:pt x="899" y="3260"/>
                    <a:pt x="987" y="3119"/>
                    <a:pt x="1031" y="3126"/>
                  </a:cubicBezTo>
                  <a:cubicBezTo>
                    <a:pt x="1031" y="3111"/>
                    <a:pt x="1031" y="3089"/>
                    <a:pt x="1031" y="3074"/>
                  </a:cubicBezTo>
                  <a:cubicBezTo>
                    <a:pt x="1061" y="3074"/>
                    <a:pt x="1084" y="3074"/>
                    <a:pt x="1098" y="3097"/>
                  </a:cubicBezTo>
                  <a:cubicBezTo>
                    <a:pt x="1106" y="3119"/>
                    <a:pt x="1121" y="3141"/>
                    <a:pt x="1143" y="3141"/>
                  </a:cubicBezTo>
                  <a:cubicBezTo>
                    <a:pt x="1173" y="3141"/>
                    <a:pt x="1187" y="3097"/>
                    <a:pt x="1224" y="3104"/>
                  </a:cubicBezTo>
                  <a:cubicBezTo>
                    <a:pt x="1224" y="3089"/>
                    <a:pt x="1224" y="3089"/>
                    <a:pt x="1210" y="3082"/>
                  </a:cubicBezTo>
                  <a:cubicBezTo>
                    <a:pt x="1210" y="3052"/>
                    <a:pt x="1217" y="3030"/>
                    <a:pt x="1247" y="3037"/>
                  </a:cubicBezTo>
                  <a:cubicBezTo>
                    <a:pt x="1254" y="3022"/>
                    <a:pt x="1254" y="3000"/>
                    <a:pt x="1232" y="3000"/>
                  </a:cubicBezTo>
                  <a:cubicBezTo>
                    <a:pt x="1232" y="2970"/>
                    <a:pt x="1187" y="2978"/>
                    <a:pt x="1195" y="2941"/>
                  </a:cubicBezTo>
                  <a:cubicBezTo>
                    <a:pt x="1195" y="2911"/>
                    <a:pt x="1210" y="2903"/>
                    <a:pt x="1232" y="2896"/>
                  </a:cubicBezTo>
                  <a:cubicBezTo>
                    <a:pt x="1276" y="2889"/>
                    <a:pt x="1247" y="2829"/>
                    <a:pt x="1262" y="2822"/>
                  </a:cubicBezTo>
                  <a:cubicBezTo>
                    <a:pt x="1284" y="2814"/>
                    <a:pt x="1306" y="2829"/>
                    <a:pt x="1329" y="2829"/>
                  </a:cubicBezTo>
                  <a:cubicBezTo>
                    <a:pt x="1358" y="2822"/>
                    <a:pt x="1381" y="2814"/>
                    <a:pt x="1410" y="2807"/>
                  </a:cubicBezTo>
                  <a:cubicBezTo>
                    <a:pt x="1432" y="2792"/>
                    <a:pt x="1455" y="2740"/>
                    <a:pt x="1477" y="2733"/>
                  </a:cubicBezTo>
                  <a:cubicBezTo>
                    <a:pt x="1470" y="2733"/>
                    <a:pt x="1462" y="2733"/>
                    <a:pt x="1462" y="2733"/>
                  </a:cubicBezTo>
                  <a:cubicBezTo>
                    <a:pt x="1455" y="2710"/>
                    <a:pt x="1388" y="2696"/>
                    <a:pt x="1418" y="2673"/>
                  </a:cubicBezTo>
                  <a:cubicBezTo>
                    <a:pt x="1470" y="2629"/>
                    <a:pt x="1477" y="2681"/>
                    <a:pt x="1514" y="2703"/>
                  </a:cubicBezTo>
                  <a:cubicBezTo>
                    <a:pt x="1514" y="2673"/>
                    <a:pt x="1521" y="2629"/>
                    <a:pt x="1536" y="2606"/>
                  </a:cubicBezTo>
                  <a:cubicBezTo>
                    <a:pt x="1551" y="2614"/>
                    <a:pt x="1551" y="2636"/>
                    <a:pt x="1559" y="2658"/>
                  </a:cubicBezTo>
                  <a:cubicBezTo>
                    <a:pt x="1566" y="2651"/>
                    <a:pt x="1574" y="2636"/>
                    <a:pt x="1581" y="2629"/>
                  </a:cubicBezTo>
                  <a:cubicBezTo>
                    <a:pt x="1626" y="2666"/>
                    <a:pt x="1626" y="2577"/>
                    <a:pt x="1626" y="2547"/>
                  </a:cubicBezTo>
                  <a:cubicBezTo>
                    <a:pt x="1633" y="2547"/>
                    <a:pt x="1640" y="2555"/>
                    <a:pt x="1648" y="2555"/>
                  </a:cubicBezTo>
                  <a:cubicBezTo>
                    <a:pt x="1640" y="2592"/>
                    <a:pt x="1678" y="2666"/>
                    <a:pt x="1715" y="2658"/>
                  </a:cubicBezTo>
                  <a:cubicBezTo>
                    <a:pt x="1715" y="2644"/>
                    <a:pt x="1729" y="2644"/>
                    <a:pt x="1744" y="2644"/>
                  </a:cubicBezTo>
                  <a:cubicBezTo>
                    <a:pt x="1759" y="2688"/>
                    <a:pt x="1789" y="2718"/>
                    <a:pt x="1796" y="2770"/>
                  </a:cubicBezTo>
                  <a:cubicBezTo>
                    <a:pt x="1804" y="2807"/>
                    <a:pt x="1848" y="2792"/>
                    <a:pt x="1871" y="2792"/>
                  </a:cubicBezTo>
                  <a:cubicBezTo>
                    <a:pt x="1923" y="2792"/>
                    <a:pt x="1945" y="2814"/>
                    <a:pt x="1989" y="2829"/>
                  </a:cubicBezTo>
                  <a:cubicBezTo>
                    <a:pt x="2026" y="2844"/>
                    <a:pt x="2071" y="2837"/>
                    <a:pt x="2108" y="2837"/>
                  </a:cubicBezTo>
                  <a:cubicBezTo>
                    <a:pt x="2108" y="2829"/>
                    <a:pt x="2116" y="2814"/>
                    <a:pt x="2116" y="2807"/>
                  </a:cubicBezTo>
                  <a:cubicBezTo>
                    <a:pt x="2160" y="2807"/>
                    <a:pt x="2153" y="2748"/>
                    <a:pt x="2205" y="2748"/>
                  </a:cubicBezTo>
                  <a:cubicBezTo>
                    <a:pt x="2205" y="2740"/>
                    <a:pt x="2168" y="2696"/>
                    <a:pt x="2175" y="2688"/>
                  </a:cubicBezTo>
                  <a:cubicBezTo>
                    <a:pt x="2183" y="2681"/>
                    <a:pt x="2197" y="2688"/>
                    <a:pt x="2205" y="2688"/>
                  </a:cubicBezTo>
                  <a:cubicBezTo>
                    <a:pt x="2220" y="2681"/>
                    <a:pt x="2227" y="2673"/>
                    <a:pt x="2234" y="2658"/>
                  </a:cubicBezTo>
                  <a:cubicBezTo>
                    <a:pt x="2264" y="2636"/>
                    <a:pt x="2353" y="2651"/>
                    <a:pt x="2346" y="2614"/>
                  </a:cubicBezTo>
                  <a:cubicBezTo>
                    <a:pt x="2331" y="2614"/>
                    <a:pt x="2316" y="2599"/>
                    <a:pt x="2323" y="2584"/>
                  </a:cubicBezTo>
                  <a:cubicBezTo>
                    <a:pt x="2353" y="2569"/>
                    <a:pt x="2361" y="2562"/>
                    <a:pt x="2398" y="2562"/>
                  </a:cubicBezTo>
                  <a:cubicBezTo>
                    <a:pt x="2398" y="2584"/>
                    <a:pt x="2420" y="2599"/>
                    <a:pt x="2450" y="2614"/>
                  </a:cubicBezTo>
                  <a:cubicBezTo>
                    <a:pt x="2450" y="2606"/>
                    <a:pt x="2450" y="2592"/>
                    <a:pt x="2457" y="2584"/>
                  </a:cubicBezTo>
                  <a:cubicBezTo>
                    <a:pt x="2472" y="2547"/>
                    <a:pt x="2517" y="2532"/>
                    <a:pt x="2539" y="2503"/>
                  </a:cubicBezTo>
                  <a:cubicBezTo>
                    <a:pt x="2546" y="2480"/>
                    <a:pt x="2554" y="2458"/>
                    <a:pt x="2569" y="2436"/>
                  </a:cubicBezTo>
                  <a:cubicBezTo>
                    <a:pt x="2591" y="2413"/>
                    <a:pt x="2606" y="2376"/>
                    <a:pt x="2628" y="2354"/>
                  </a:cubicBezTo>
                  <a:cubicBezTo>
                    <a:pt x="2650" y="2332"/>
                    <a:pt x="2688" y="2324"/>
                    <a:pt x="2717" y="2302"/>
                  </a:cubicBezTo>
                  <a:cubicBezTo>
                    <a:pt x="2739" y="2280"/>
                    <a:pt x="2739" y="2258"/>
                    <a:pt x="2777" y="2243"/>
                  </a:cubicBezTo>
                  <a:cubicBezTo>
                    <a:pt x="2806" y="2228"/>
                    <a:pt x="2821" y="2206"/>
                    <a:pt x="2858" y="2198"/>
                  </a:cubicBezTo>
                  <a:cubicBezTo>
                    <a:pt x="2858" y="2191"/>
                    <a:pt x="2858" y="2183"/>
                    <a:pt x="2858" y="2183"/>
                  </a:cubicBezTo>
                  <a:cubicBezTo>
                    <a:pt x="2843" y="2183"/>
                    <a:pt x="2828" y="2176"/>
                    <a:pt x="2821" y="2176"/>
                  </a:cubicBezTo>
                  <a:cubicBezTo>
                    <a:pt x="2806" y="2198"/>
                    <a:pt x="2784" y="2183"/>
                    <a:pt x="2769" y="2191"/>
                  </a:cubicBezTo>
                  <a:cubicBezTo>
                    <a:pt x="2777" y="2168"/>
                    <a:pt x="2806" y="2161"/>
                    <a:pt x="2814" y="2146"/>
                  </a:cubicBezTo>
                  <a:cubicBezTo>
                    <a:pt x="2806" y="2139"/>
                    <a:pt x="2791" y="2139"/>
                    <a:pt x="2784" y="2131"/>
                  </a:cubicBezTo>
                  <a:cubicBezTo>
                    <a:pt x="2777" y="2153"/>
                    <a:pt x="2754" y="2191"/>
                    <a:pt x="2732" y="2206"/>
                  </a:cubicBezTo>
                  <a:cubicBezTo>
                    <a:pt x="2725" y="2213"/>
                    <a:pt x="2717" y="2220"/>
                    <a:pt x="2702" y="2220"/>
                  </a:cubicBezTo>
                  <a:cubicBezTo>
                    <a:pt x="2702" y="2228"/>
                    <a:pt x="2688" y="2235"/>
                    <a:pt x="2680" y="2235"/>
                  </a:cubicBezTo>
                  <a:cubicBezTo>
                    <a:pt x="2688" y="2228"/>
                    <a:pt x="2695" y="2228"/>
                    <a:pt x="2702" y="2220"/>
                  </a:cubicBezTo>
                  <a:cubicBezTo>
                    <a:pt x="2725" y="2198"/>
                    <a:pt x="2717" y="2146"/>
                    <a:pt x="2725" y="2124"/>
                  </a:cubicBezTo>
                  <a:cubicBezTo>
                    <a:pt x="2732" y="2109"/>
                    <a:pt x="2754" y="2087"/>
                    <a:pt x="2762" y="2072"/>
                  </a:cubicBezTo>
                  <a:cubicBezTo>
                    <a:pt x="2791" y="2042"/>
                    <a:pt x="2836" y="2035"/>
                    <a:pt x="2866" y="2012"/>
                  </a:cubicBezTo>
                  <a:cubicBezTo>
                    <a:pt x="2903" y="1990"/>
                    <a:pt x="2962" y="1938"/>
                    <a:pt x="2999" y="1998"/>
                  </a:cubicBezTo>
                  <a:cubicBezTo>
                    <a:pt x="3029" y="2035"/>
                    <a:pt x="2985" y="2064"/>
                    <a:pt x="2962" y="2087"/>
                  </a:cubicBezTo>
                  <a:cubicBezTo>
                    <a:pt x="2955" y="2094"/>
                    <a:pt x="2866" y="2139"/>
                    <a:pt x="2866" y="2131"/>
                  </a:cubicBezTo>
                  <a:cubicBezTo>
                    <a:pt x="2858" y="2146"/>
                    <a:pt x="2858" y="2161"/>
                    <a:pt x="2858" y="2176"/>
                  </a:cubicBezTo>
                  <a:cubicBezTo>
                    <a:pt x="2888" y="2183"/>
                    <a:pt x="2881" y="2161"/>
                    <a:pt x="2895" y="2153"/>
                  </a:cubicBezTo>
                  <a:cubicBezTo>
                    <a:pt x="2910" y="2146"/>
                    <a:pt x="2933" y="2139"/>
                    <a:pt x="2955" y="2131"/>
                  </a:cubicBezTo>
                  <a:cubicBezTo>
                    <a:pt x="2985" y="2124"/>
                    <a:pt x="3022" y="2124"/>
                    <a:pt x="3051" y="2109"/>
                  </a:cubicBezTo>
                  <a:cubicBezTo>
                    <a:pt x="3111" y="2079"/>
                    <a:pt x="3178" y="2050"/>
                    <a:pt x="3237" y="2027"/>
                  </a:cubicBezTo>
                  <a:cubicBezTo>
                    <a:pt x="3304" y="1998"/>
                    <a:pt x="3378" y="2005"/>
                    <a:pt x="3445" y="1975"/>
                  </a:cubicBezTo>
                  <a:cubicBezTo>
                    <a:pt x="3497" y="1946"/>
                    <a:pt x="3564" y="1931"/>
                    <a:pt x="3586" y="1864"/>
                  </a:cubicBezTo>
                  <a:cubicBezTo>
                    <a:pt x="3593" y="1834"/>
                    <a:pt x="3601" y="1790"/>
                    <a:pt x="3638" y="1790"/>
                  </a:cubicBezTo>
                  <a:cubicBezTo>
                    <a:pt x="3645" y="1745"/>
                    <a:pt x="3742" y="1723"/>
                    <a:pt x="3779" y="1701"/>
                  </a:cubicBezTo>
                  <a:cubicBezTo>
                    <a:pt x="3794" y="1693"/>
                    <a:pt x="3831" y="1678"/>
                    <a:pt x="3846" y="1671"/>
                  </a:cubicBezTo>
                  <a:cubicBezTo>
                    <a:pt x="3868" y="1649"/>
                    <a:pt x="3868" y="1604"/>
                    <a:pt x="3868" y="1582"/>
                  </a:cubicBezTo>
                  <a:cubicBezTo>
                    <a:pt x="3853" y="1582"/>
                    <a:pt x="3838" y="1582"/>
                    <a:pt x="3824" y="1582"/>
                  </a:cubicBezTo>
                  <a:cubicBezTo>
                    <a:pt x="3816" y="1515"/>
                    <a:pt x="3898" y="1485"/>
                    <a:pt x="3942" y="1456"/>
                  </a:cubicBezTo>
                  <a:cubicBezTo>
                    <a:pt x="3995" y="1426"/>
                    <a:pt x="4046" y="1366"/>
                    <a:pt x="4069" y="1314"/>
                  </a:cubicBezTo>
                  <a:cubicBezTo>
                    <a:pt x="4061" y="1314"/>
                    <a:pt x="4046" y="1314"/>
                    <a:pt x="4039" y="1314"/>
                  </a:cubicBezTo>
                  <a:cubicBezTo>
                    <a:pt x="4024" y="1314"/>
                    <a:pt x="4032" y="1329"/>
                    <a:pt x="4024" y="1329"/>
                  </a:cubicBezTo>
                  <a:cubicBezTo>
                    <a:pt x="4017" y="1337"/>
                    <a:pt x="4002" y="1329"/>
                    <a:pt x="4002" y="1337"/>
                  </a:cubicBezTo>
                  <a:cubicBezTo>
                    <a:pt x="3995" y="1337"/>
                    <a:pt x="3987" y="1351"/>
                    <a:pt x="3980" y="1351"/>
                  </a:cubicBezTo>
                  <a:cubicBezTo>
                    <a:pt x="3957" y="1359"/>
                    <a:pt x="3950" y="1359"/>
                    <a:pt x="3928" y="1366"/>
                  </a:cubicBezTo>
                  <a:cubicBezTo>
                    <a:pt x="3913" y="1366"/>
                    <a:pt x="3905" y="1381"/>
                    <a:pt x="3890" y="1389"/>
                  </a:cubicBezTo>
                  <a:cubicBezTo>
                    <a:pt x="3890" y="1314"/>
                    <a:pt x="3905" y="1314"/>
                    <a:pt x="3972" y="1307"/>
                  </a:cubicBezTo>
                  <a:cubicBezTo>
                    <a:pt x="4054" y="1307"/>
                    <a:pt x="4002" y="1240"/>
                    <a:pt x="3980" y="1196"/>
                  </a:cubicBezTo>
                  <a:cubicBezTo>
                    <a:pt x="3957" y="1159"/>
                    <a:pt x="3935" y="1114"/>
                    <a:pt x="3928" y="1069"/>
                  </a:cubicBezTo>
                  <a:cubicBezTo>
                    <a:pt x="3920" y="1040"/>
                    <a:pt x="3920" y="943"/>
                    <a:pt x="3950" y="936"/>
                  </a:cubicBezTo>
                  <a:cubicBezTo>
                    <a:pt x="3957" y="899"/>
                    <a:pt x="3987" y="869"/>
                    <a:pt x="4017" y="847"/>
                  </a:cubicBezTo>
                  <a:cubicBezTo>
                    <a:pt x="4046" y="824"/>
                    <a:pt x="4069" y="794"/>
                    <a:pt x="4098" y="772"/>
                  </a:cubicBezTo>
                  <a:cubicBezTo>
                    <a:pt x="4128" y="757"/>
                    <a:pt x="4180" y="735"/>
                    <a:pt x="4210" y="728"/>
                  </a:cubicBezTo>
                  <a:cubicBezTo>
                    <a:pt x="4232" y="720"/>
                    <a:pt x="4254" y="720"/>
                    <a:pt x="4269" y="728"/>
                  </a:cubicBezTo>
                  <a:cubicBezTo>
                    <a:pt x="4299" y="728"/>
                    <a:pt x="4321" y="750"/>
                    <a:pt x="4351" y="743"/>
                  </a:cubicBezTo>
                  <a:cubicBezTo>
                    <a:pt x="4351" y="743"/>
                    <a:pt x="4366" y="720"/>
                    <a:pt x="4381" y="698"/>
                  </a:cubicBezTo>
                  <a:cubicBezTo>
                    <a:pt x="4381" y="631"/>
                    <a:pt x="4343" y="631"/>
                    <a:pt x="4299" y="594"/>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0" name="Freeform 17">
              <a:extLst>
                <a:ext uri="{FF2B5EF4-FFF2-40B4-BE49-F238E27FC236}">
                  <a16:creationId xmlns:a16="http://schemas.microsoft.com/office/drawing/2014/main" id="{DDF02ACF-9F2F-9E45-AE6D-EB8C48FF0158}"/>
                </a:ext>
              </a:extLst>
            </p:cNvPr>
            <p:cNvSpPr>
              <a:spLocks noChangeArrowheads="1"/>
            </p:cNvSpPr>
            <p:nvPr/>
          </p:nvSpPr>
          <p:spPr bwMode="auto">
            <a:xfrm>
              <a:off x="14798584" y="6998675"/>
              <a:ext cx="324082" cy="468654"/>
            </a:xfrm>
            <a:custGeom>
              <a:avLst/>
              <a:gdLst>
                <a:gd name="T0" fmla="*/ 742 w 751"/>
                <a:gd name="T1" fmla="*/ 356 h 1085"/>
                <a:gd name="T2" fmla="*/ 742 w 751"/>
                <a:gd name="T3" fmla="*/ 356 h 1085"/>
                <a:gd name="T4" fmla="*/ 720 w 751"/>
                <a:gd name="T5" fmla="*/ 297 h 1085"/>
                <a:gd name="T6" fmla="*/ 728 w 751"/>
                <a:gd name="T7" fmla="*/ 237 h 1085"/>
                <a:gd name="T8" fmla="*/ 698 w 751"/>
                <a:gd name="T9" fmla="*/ 192 h 1085"/>
                <a:gd name="T10" fmla="*/ 698 w 751"/>
                <a:gd name="T11" fmla="*/ 111 h 1085"/>
                <a:gd name="T12" fmla="*/ 639 w 751"/>
                <a:gd name="T13" fmla="*/ 118 h 1085"/>
                <a:gd name="T14" fmla="*/ 616 w 751"/>
                <a:gd name="T15" fmla="*/ 0 h 1085"/>
                <a:gd name="T16" fmla="*/ 609 w 751"/>
                <a:gd name="T17" fmla="*/ 14 h 1085"/>
                <a:gd name="T18" fmla="*/ 602 w 751"/>
                <a:gd name="T19" fmla="*/ 14 h 1085"/>
                <a:gd name="T20" fmla="*/ 579 w 751"/>
                <a:gd name="T21" fmla="*/ 59 h 1085"/>
                <a:gd name="T22" fmla="*/ 534 w 751"/>
                <a:gd name="T23" fmla="*/ 29 h 1085"/>
                <a:gd name="T24" fmla="*/ 505 w 751"/>
                <a:gd name="T25" fmla="*/ 66 h 1085"/>
                <a:gd name="T26" fmla="*/ 505 w 751"/>
                <a:gd name="T27" fmla="*/ 96 h 1085"/>
                <a:gd name="T28" fmla="*/ 490 w 751"/>
                <a:gd name="T29" fmla="*/ 111 h 1085"/>
                <a:gd name="T30" fmla="*/ 475 w 751"/>
                <a:gd name="T31" fmla="*/ 215 h 1085"/>
                <a:gd name="T32" fmla="*/ 416 w 751"/>
                <a:gd name="T33" fmla="*/ 163 h 1085"/>
                <a:gd name="T34" fmla="*/ 371 w 751"/>
                <a:gd name="T35" fmla="*/ 207 h 1085"/>
                <a:gd name="T36" fmla="*/ 327 w 751"/>
                <a:gd name="T37" fmla="*/ 178 h 1085"/>
                <a:gd name="T38" fmla="*/ 304 w 751"/>
                <a:gd name="T39" fmla="*/ 222 h 1085"/>
                <a:gd name="T40" fmla="*/ 267 w 751"/>
                <a:gd name="T41" fmla="*/ 260 h 1085"/>
                <a:gd name="T42" fmla="*/ 208 w 751"/>
                <a:gd name="T43" fmla="*/ 260 h 1085"/>
                <a:gd name="T44" fmla="*/ 156 w 751"/>
                <a:gd name="T45" fmla="*/ 260 h 1085"/>
                <a:gd name="T46" fmla="*/ 148 w 751"/>
                <a:gd name="T47" fmla="*/ 304 h 1085"/>
                <a:gd name="T48" fmla="*/ 74 w 751"/>
                <a:gd name="T49" fmla="*/ 334 h 1085"/>
                <a:gd name="T50" fmla="*/ 67 w 751"/>
                <a:gd name="T51" fmla="*/ 423 h 1085"/>
                <a:gd name="T52" fmla="*/ 22 w 751"/>
                <a:gd name="T53" fmla="*/ 505 h 1085"/>
                <a:gd name="T54" fmla="*/ 59 w 751"/>
                <a:gd name="T55" fmla="*/ 586 h 1085"/>
                <a:gd name="T56" fmla="*/ 52 w 751"/>
                <a:gd name="T57" fmla="*/ 623 h 1085"/>
                <a:gd name="T58" fmla="*/ 74 w 751"/>
                <a:gd name="T59" fmla="*/ 675 h 1085"/>
                <a:gd name="T60" fmla="*/ 96 w 751"/>
                <a:gd name="T61" fmla="*/ 727 h 1085"/>
                <a:gd name="T62" fmla="*/ 104 w 751"/>
                <a:gd name="T63" fmla="*/ 779 h 1085"/>
                <a:gd name="T64" fmla="*/ 134 w 751"/>
                <a:gd name="T65" fmla="*/ 846 h 1085"/>
                <a:gd name="T66" fmla="*/ 119 w 751"/>
                <a:gd name="T67" fmla="*/ 913 h 1085"/>
                <a:gd name="T68" fmla="*/ 134 w 751"/>
                <a:gd name="T69" fmla="*/ 965 h 1085"/>
                <a:gd name="T70" fmla="*/ 171 w 751"/>
                <a:gd name="T71" fmla="*/ 987 h 1085"/>
                <a:gd name="T72" fmla="*/ 223 w 751"/>
                <a:gd name="T73" fmla="*/ 839 h 1085"/>
                <a:gd name="T74" fmla="*/ 282 w 751"/>
                <a:gd name="T75" fmla="*/ 1032 h 1085"/>
                <a:gd name="T76" fmla="*/ 438 w 751"/>
                <a:gd name="T77" fmla="*/ 950 h 1085"/>
                <a:gd name="T78" fmla="*/ 416 w 751"/>
                <a:gd name="T79" fmla="*/ 898 h 1085"/>
                <a:gd name="T80" fmla="*/ 408 w 751"/>
                <a:gd name="T81" fmla="*/ 809 h 1085"/>
                <a:gd name="T82" fmla="*/ 460 w 751"/>
                <a:gd name="T83" fmla="*/ 735 h 1085"/>
                <a:gd name="T84" fmla="*/ 520 w 751"/>
                <a:gd name="T85" fmla="*/ 697 h 1085"/>
                <a:gd name="T86" fmla="*/ 497 w 751"/>
                <a:gd name="T87" fmla="*/ 601 h 1085"/>
                <a:gd name="T88" fmla="*/ 497 w 751"/>
                <a:gd name="T89" fmla="*/ 497 h 1085"/>
                <a:gd name="T90" fmla="*/ 542 w 751"/>
                <a:gd name="T91" fmla="*/ 556 h 1085"/>
                <a:gd name="T92" fmla="*/ 646 w 751"/>
                <a:gd name="T93" fmla="*/ 505 h 1085"/>
                <a:gd name="T94" fmla="*/ 676 w 751"/>
                <a:gd name="T95" fmla="*/ 542 h 1085"/>
                <a:gd name="T96" fmla="*/ 705 w 751"/>
                <a:gd name="T97" fmla="*/ 505 h 1085"/>
                <a:gd name="T98" fmla="*/ 735 w 751"/>
                <a:gd name="T99" fmla="*/ 460 h 1085"/>
                <a:gd name="T100" fmla="*/ 742 w 751"/>
                <a:gd name="T101" fmla="*/ 356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1" h="1085">
                  <a:moveTo>
                    <a:pt x="742" y="356"/>
                  </a:moveTo>
                  <a:lnTo>
                    <a:pt x="742" y="356"/>
                  </a:lnTo>
                  <a:cubicBezTo>
                    <a:pt x="742" y="334"/>
                    <a:pt x="728" y="319"/>
                    <a:pt x="720" y="297"/>
                  </a:cubicBezTo>
                  <a:cubicBezTo>
                    <a:pt x="720" y="274"/>
                    <a:pt x="728" y="252"/>
                    <a:pt x="728" y="237"/>
                  </a:cubicBezTo>
                  <a:cubicBezTo>
                    <a:pt x="728" y="215"/>
                    <a:pt x="698" y="200"/>
                    <a:pt x="698" y="192"/>
                  </a:cubicBezTo>
                  <a:cubicBezTo>
                    <a:pt x="691" y="170"/>
                    <a:pt x="691" y="141"/>
                    <a:pt x="698" y="111"/>
                  </a:cubicBezTo>
                  <a:cubicBezTo>
                    <a:pt x="668" y="118"/>
                    <a:pt x="639" y="118"/>
                    <a:pt x="639" y="118"/>
                  </a:cubicBezTo>
                  <a:cubicBezTo>
                    <a:pt x="646" y="74"/>
                    <a:pt x="631" y="29"/>
                    <a:pt x="616" y="0"/>
                  </a:cubicBezTo>
                  <a:cubicBezTo>
                    <a:pt x="609" y="0"/>
                    <a:pt x="609" y="7"/>
                    <a:pt x="609" y="14"/>
                  </a:cubicBezTo>
                  <a:cubicBezTo>
                    <a:pt x="602" y="14"/>
                    <a:pt x="602" y="14"/>
                    <a:pt x="602" y="14"/>
                  </a:cubicBezTo>
                  <a:cubicBezTo>
                    <a:pt x="594" y="29"/>
                    <a:pt x="602" y="51"/>
                    <a:pt x="579" y="59"/>
                  </a:cubicBezTo>
                  <a:cubicBezTo>
                    <a:pt x="564" y="66"/>
                    <a:pt x="549" y="37"/>
                    <a:pt x="534" y="29"/>
                  </a:cubicBezTo>
                  <a:cubicBezTo>
                    <a:pt x="527" y="44"/>
                    <a:pt x="512" y="44"/>
                    <a:pt x="505" y="66"/>
                  </a:cubicBezTo>
                  <a:cubicBezTo>
                    <a:pt x="505" y="74"/>
                    <a:pt x="512" y="89"/>
                    <a:pt x="505" y="96"/>
                  </a:cubicBezTo>
                  <a:cubicBezTo>
                    <a:pt x="505" y="103"/>
                    <a:pt x="497" y="103"/>
                    <a:pt x="490" y="111"/>
                  </a:cubicBezTo>
                  <a:cubicBezTo>
                    <a:pt x="475" y="148"/>
                    <a:pt x="505" y="185"/>
                    <a:pt x="475" y="215"/>
                  </a:cubicBezTo>
                  <a:cubicBezTo>
                    <a:pt x="453" y="192"/>
                    <a:pt x="445" y="163"/>
                    <a:pt x="416" y="163"/>
                  </a:cubicBezTo>
                  <a:cubicBezTo>
                    <a:pt x="379" y="163"/>
                    <a:pt x="371" y="178"/>
                    <a:pt x="371" y="207"/>
                  </a:cubicBezTo>
                  <a:cubicBezTo>
                    <a:pt x="349" y="215"/>
                    <a:pt x="334" y="192"/>
                    <a:pt x="327" y="178"/>
                  </a:cubicBezTo>
                  <a:cubicBezTo>
                    <a:pt x="312" y="192"/>
                    <a:pt x="319" y="207"/>
                    <a:pt x="304" y="222"/>
                  </a:cubicBezTo>
                  <a:cubicBezTo>
                    <a:pt x="297" y="237"/>
                    <a:pt x="282" y="252"/>
                    <a:pt x="267" y="260"/>
                  </a:cubicBezTo>
                  <a:cubicBezTo>
                    <a:pt x="245" y="282"/>
                    <a:pt x="237" y="267"/>
                    <a:pt x="208" y="260"/>
                  </a:cubicBezTo>
                  <a:cubicBezTo>
                    <a:pt x="193" y="260"/>
                    <a:pt x="171" y="260"/>
                    <a:pt x="156" y="260"/>
                  </a:cubicBezTo>
                  <a:cubicBezTo>
                    <a:pt x="148" y="274"/>
                    <a:pt x="148" y="289"/>
                    <a:pt x="148" y="304"/>
                  </a:cubicBezTo>
                  <a:cubicBezTo>
                    <a:pt x="119" y="304"/>
                    <a:pt x="104" y="334"/>
                    <a:pt x="74" y="334"/>
                  </a:cubicBezTo>
                  <a:cubicBezTo>
                    <a:pt x="59" y="363"/>
                    <a:pt x="67" y="386"/>
                    <a:pt x="67" y="423"/>
                  </a:cubicBezTo>
                  <a:cubicBezTo>
                    <a:pt x="59" y="460"/>
                    <a:pt x="30" y="467"/>
                    <a:pt x="22" y="505"/>
                  </a:cubicBezTo>
                  <a:cubicBezTo>
                    <a:pt x="0" y="549"/>
                    <a:pt x="52" y="549"/>
                    <a:pt x="59" y="586"/>
                  </a:cubicBezTo>
                  <a:cubicBezTo>
                    <a:pt x="59" y="594"/>
                    <a:pt x="52" y="608"/>
                    <a:pt x="52" y="623"/>
                  </a:cubicBezTo>
                  <a:cubicBezTo>
                    <a:pt x="52" y="638"/>
                    <a:pt x="67" y="660"/>
                    <a:pt x="74" y="675"/>
                  </a:cubicBezTo>
                  <a:cubicBezTo>
                    <a:pt x="82" y="690"/>
                    <a:pt x="89" y="705"/>
                    <a:pt x="96" y="727"/>
                  </a:cubicBezTo>
                  <a:cubicBezTo>
                    <a:pt x="104" y="742"/>
                    <a:pt x="96" y="757"/>
                    <a:pt x="104" y="779"/>
                  </a:cubicBezTo>
                  <a:cubicBezTo>
                    <a:pt x="104" y="802"/>
                    <a:pt x="126" y="824"/>
                    <a:pt x="134" y="846"/>
                  </a:cubicBezTo>
                  <a:cubicBezTo>
                    <a:pt x="134" y="868"/>
                    <a:pt x="119" y="891"/>
                    <a:pt x="119" y="913"/>
                  </a:cubicBezTo>
                  <a:cubicBezTo>
                    <a:pt x="119" y="928"/>
                    <a:pt x="119" y="950"/>
                    <a:pt x="134" y="965"/>
                  </a:cubicBezTo>
                  <a:cubicBezTo>
                    <a:pt x="134" y="972"/>
                    <a:pt x="171" y="994"/>
                    <a:pt x="171" y="987"/>
                  </a:cubicBezTo>
                  <a:cubicBezTo>
                    <a:pt x="171" y="957"/>
                    <a:pt x="156" y="787"/>
                    <a:pt x="223" y="839"/>
                  </a:cubicBezTo>
                  <a:cubicBezTo>
                    <a:pt x="282" y="876"/>
                    <a:pt x="230" y="980"/>
                    <a:pt x="282" y="1032"/>
                  </a:cubicBezTo>
                  <a:cubicBezTo>
                    <a:pt x="327" y="1084"/>
                    <a:pt x="438" y="1009"/>
                    <a:pt x="438" y="950"/>
                  </a:cubicBezTo>
                  <a:cubicBezTo>
                    <a:pt x="438" y="935"/>
                    <a:pt x="423" y="913"/>
                    <a:pt x="416" y="898"/>
                  </a:cubicBezTo>
                  <a:cubicBezTo>
                    <a:pt x="408" y="876"/>
                    <a:pt x="394" y="839"/>
                    <a:pt x="408" y="809"/>
                  </a:cubicBezTo>
                  <a:cubicBezTo>
                    <a:pt x="423" y="779"/>
                    <a:pt x="453" y="772"/>
                    <a:pt x="460" y="735"/>
                  </a:cubicBezTo>
                  <a:cubicBezTo>
                    <a:pt x="468" y="705"/>
                    <a:pt x="490" y="690"/>
                    <a:pt x="520" y="697"/>
                  </a:cubicBezTo>
                  <a:cubicBezTo>
                    <a:pt x="527" y="653"/>
                    <a:pt x="497" y="631"/>
                    <a:pt x="497" y="601"/>
                  </a:cubicBezTo>
                  <a:cubicBezTo>
                    <a:pt x="497" y="571"/>
                    <a:pt x="490" y="519"/>
                    <a:pt x="497" y="497"/>
                  </a:cubicBezTo>
                  <a:cubicBezTo>
                    <a:pt x="549" y="490"/>
                    <a:pt x="520" y="534"/>
                    <a:pt x="542" y="556"/>
                  </a:cubicBezTo>
                  <a:cubicBezTo>
                    <a:pt x="587" y="586"/>
                    <a:pt x="609" y="505"/>
                    <a:pt x="646" y="505"/>
                  </a:cubicBezTo>
                  <a:cubicBezTo>
                    <a:pt x="676" y="497"/>
                    <a:pt x="668" y="519"/>
                    <a:pt x="676" y="542"/>
                  </a:cubicBezTo>
                  <a:cubicBezTo>
                    <a:pt x="676" y="527"/>
                    <a:pt x="705" y="512"/>
                    <a:pt x="705" y="505"/>
                  </a:cubicBezTo>
                  <a:cubicBezTo>
                    <a:pt x="720" y="497"/>
                    <a:pt x="720" y="475"/>
                    <a:pt x="735" y="460"/>
                  </a:cubicBezTo>
                  <a:cubicBezTo>
                    <a:pt x="742" y="430"/>
                    <a:pt x="750" y="393"/>
                    <a:pt x="742" y="356"/>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1" name="Freeform 18">
              <a:extLst>
                <a:ext uri="{FF2B5EF4-FFF2-40B4-BE49-F238E27FC236}">
                  <a16:creationId xmlns:a16="http://schemas.microsoft.com/office/drawing/2014/main" id="{7E4F43C0-8658-F44D-A676-25DEFE3ED12D}"/>
                </a:ext>
              </a:extLst>
            </p:cNvPr>
            <p:cNvSpPr>
              <a:spLocks noChangeArrowheads="1"/>
            </p:cNvSpPr>
            <p:nvPr/>
          </p:nvSpPr>
          <p:spPr bwMode="auto">
            <a:xfrm>
              <a:off x="11109766" y="11841434"/>
              <a:ext cx="83880" cy="55247"/>
            </a:xfrm>
            <a:custGeom>
              <a:avLst/>
              <a:gdLst>
                <a:gd name="T0" fmla="*/ 23 w 195"/>
                <a:gd name="T1" fmla="*/ 59 h 127"/>
                <a:gd name="T2" fmla="*/ 23 w 195"/>
                <a:gd name="T3" fmla="*/ 59 h 127"/>
                <a:gd name="T4" fmla="*/ 112 w 195"/>
                <a:gd name="T5" fmla="*/ 74 h 127"/>
                <a:gd name="T6" fmla="*/ 149 w 195"/>
                <a:gd name="T7" fmla="*/ 104 h 127"/>
                <a:gd name="T8" fmla="*/ 194 w 195"/>
                <a:gd name="T9" fmla="*/ 126 h 127"/>
                <a:gd name="T10" fmla="*/ 179 w 195"/>
                <a:gd name="T11" fmla="*/ 96 h 127"/>
                <a:gd name="T12" fmla="*/ 142 w 195"/>
                <a:gd name="T13" fmla="*/ 74 h 127"/>
                <a:gd name="T14" fmla="*/ 127 w 195"/>
                <a:gd name="T15" fmla="*/ 7 h 127"/>
                <a:gd name="T16" fmla="*/ 97 w 195"/>
                <a:gd name="T17" fmla="*/ 29 h 127"/>
                <a:gd name="T18" fmla="*/ 52 w 195"/>
                <a:gd name="T19" fmla="*/ 37 h 127"/>
                <a:gd name="T20" fmla="*/ 0 w 195"/>
                <a:gd name="T21" fmla="*/ 37 h 127"/>
                <a:gd name="T22" fmla="*/ 23 w 195"/>
                <a:gd name="T23" fmla="*/ 5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27">
                  <a:moveTo>
                    <a:pt x="23" y="59"/>
                  </a:moveTo>
                  <a:lnTo>
                    <a:pt x="23" y="59"/>
                  </a:lnTo>
                  <a:cubicBezTo>
                    <a:pt x="45" y="44"/>
                    <a:pt x="89" y="59"/>
                    <a:pt x="112" y="74"/>
                  </a:cubicBezTo>
                  <a:cubicBezTo>
                    <a:pt x="127" y="81"/>
                    <a:pt x="142" y="89"/>
                    <a:pt x="149" y="104"/>
                  </a:cubicBezTo>
                  <a:cubicBezTo>
                    <a:pt x="164" y="111"/>
                    <a:pt x="171" y="126"/>
                    <a:pt x="194" y="126"/>
                  </a:cubicBezTo>
                  <a:cubicBezTo>
                    <a:pt x="186" y="118"/>
                    <a:pt x="186" y="104"/>
                    <a:pt x="179" y="96"/>
                  </a:cubicBezTo>
                  <a:cubicBezTo>
                    <a:pt x="171" y="81"/>
                    <a:pt x="156" y="81"/>
                    <a:pt x="142" y="74"/>
                  </a:cubicBezTo>
                  <a:cubicBezTo>
                    <a:pt x="119" y="59"/>
                    <a:pt x="127" y="37"/>
                    <a:pt x="127" y="7"/>
                  </a:cubicBezTo>
                  <a:cubicBezTo>
                    <a:pt x="104" y="0"/>
                    <a:pt x="104" y="15"/>
                    <a:pt x="97" y="29"/>
                  </a:cubicBezTo>
                  <a:cubicBezTo>
                    <a:pt x="82" y="37"/>
                    <a:pt x="67" y="37"/>
                    <a:pt x="52" y="37"/>
                  </a:cubicBezTo>
                  <a:cubicBezTo>
                    <a:pt x="37" y="37"/>
                    <a:pt x="15" y="37"/>
                    <a:pt x="0" y="37"/>
                  </a:cubicBezTo>
                  <a:cubicBezTo>
                    <a:pt x="15" y="44"/>
                    <a:pt x="23" y="52"/>
                    <a:pt x="23" y="59"/>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2" name="Freeform 19">
              <a:extLst>
                <a:ext uri="{FF2B5EF4-FFF2-40B4-BE49-F238E27FC236}">
                  <a16:creationId xmlns:a16="http://schemas.microsoft.com/office/drawing/2014/main" id="{A168940B-A633-5249-8ACA-79268BD2F7AA}"/>
                </a:ext>
              </a:extLst>
            </p:cNvPr>
            <p:cNvSpPr>
              <a:spLocks noChangeArrowheads="1"/>
            </p:cNvSpPr>
            <p:nvPr/>
          </p:nvSpPr>
          <p:spPr bwMode="auto">
            <a:xfrm>
              <a:off x="15065475" y="6981529"/>
              <a:ext cx="9531" cy="17146"/>
            </a:xfrm>
            <a:custGeom>
              <a:avLst/>
              <a:gdLst>
                <a:gd name="T0" fmla="*/ 23 w 24"/>
                <a:gd name="T1" fmla="*/ 30 h 39"/>
                <a:gd name="T2" fmla="*/ 23 w 24"/>
                <a:gd name="T3" fmla="*/ 30 h 39"/>
                <a:gd name="T4" fmla="*/ 23 w 24"/>
                <a:gd name="T5" fmla="*/ 0 h 39"/>
                <a:gd name="T6" fmla="*/ 0 w 24"/>
                <a:gd name="T7" fmla="*/ 38 h 39"/>
                <a:gd name="T8" fmla="*/ 23 w 24"/>
                <a:gd name="T9" fmla="*/ 30 h 39"/>
              </a:gdLst>
              <a:ahLst/>
              <a:cxnLst>
                <a:cxn ang="0">
                  <a:pos x="T0" y="T1"/>
                </a:cxn>
                <a:cxn ang="0">
                  <a:pos x="T2" y="T3"/>
                </a:cxn>
                <a:cxn ang="0">
                  <a:pos x="T4" y="T5"/>
                </a:cxn>
                <a:cxn ang="0">
                  <a:pos x="T6" y="T7"/>
                </a:cxn>
                <a:cxn ang="0">
                  <a:pos x="T8" y="T9"/>
                </a:cxn>
              </a:cxnLst>
              <a:rect l="0" t="0" r="r" b="b"/>
              <a:pathLst>
                <a:path w="24" h="39">
                  <a:moveTo>
                    <a:pt x="23" y="30"/>
                  </a:moveTo>
                  <a:lnTo>
                    <a:pt x="23" y="30"/>
                  </a:lnTo>
                  <a:cubicBezTo>
                    <a:pt x="23" y="23"/>
                    <a:pt x="23" y="15"/>
                    <a:pt x="23" y="0"/>
                  </a:cubicBezTo>
                  <a:cubicBezTo>
                    <a:pt x="15" y="8"/>
                    <a:pt x="0" y="23"/>
                    <a:pt x="0" y="38"/>
                  </a:cubicBezTo>
                  <a:cubicBezTo>
                    <a:pt x="8" y="30"/>
                    <a:pt x="15" y="38"/>
                    <a:pt x="23" y="3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3" name="Freeform 20">
              <a:extLst>
                <a:ext uri="{FF2B5EF4-FFF2-40B4-BE49-F238E27FC236}">
                  <a16:creationId xmlns:a16="http://schemas.microsoft.com/office/drawing/2014/main" id="{E0A3BA9A-5617-114C-8942-819D40D66F90}"/>
                </a:ext>
              </a:extLst>
            </p:cNvPr>
            <p:cNvSpPr>
              <a:spLocks noChangeArrowheads="1"/>
            </p:cNvSpPr>
            <p:nvPr/>
          </p:nvSpPr>
          <p:spPr bwMode="auto">
            <a:xfrm>
              <a:off x="11098328" y="11854770"/>
              <a:ext cx="13345" cy="3810"/>
            </a:xfrm>
            <a:custGeom>
              <a:avLst/>
              <a:gdLst>
                <a:gd name="T0" fmla="*/ 29 w 30"/>
                <a:gd name="T1" fmla="*/ 8 h 9"/>
                <a:gd name="T2" fmla="*/ 29 w 30"/>
                <a:gd name="T3" fmla="*/ 8 h 9"/>
                <a:gd name="T4" fmla="*/ 7 w 30"/>
                <a:gd name="T5" fmla="*/ 0 h 9"/>
                <a:gd name="T6" fmla="*/ 0 w 30"/>
                <a:gd name="T7" fmla="*/ 0 h 9"/>
                <a:gd name="T8" fmla="*/ 15 w 30"/>
                <a:gd name="T9" fmla="*/ 8 h 9"/>
                <a:gd name="T10" fmla="*/ 29 w 30"/>
                <a:gd name="T11" fmla="*/ 8 h 9"/>
              </a:gdLst>
              <a:ahLst/>
              <a:cxnLst>
                <a:cxn ang="0">
                  <a:pos x="T0" y="T1"/>
                </a:cxn>
                <a:cxn ang="0">
                  <a:pos x="T2" y="T3"/>
                </a:cxn>
                <a:cxn ang="0">
                  <a:pos x="T4" y="T5"/>
                </a:cxn>
                <a:cxn ang="0">
                  <a:pos x="T6" y="T7"/>
                </a:cxn>
                <a:cxn ang="0">
                  <a:pos x="T8" y="T9"/>
                </a:cxn>
                <a:cxn ang="0">
                  <a:pos x="T10" y="T11"/>
                </a:cxn>
              </a:cxnLst>
              <a:rect l="0" t="0" r="r" b="b"/>
              <a:pathLst>
                <a:path w="30" h="9">
                  <a:moveTo>
                    <a:pt x="29" y="8"/>
                  </a:moveTo>
                  <a:lnTo>
                    <a:pt x="29" y="8"/>
                  </a:lnTo>
                  <a:cubicBezTo>
                    <a:pt x="22" y="8"/>
                    <a:pt x="15" y="0"/>
                    <a:pt x="7" y="0"/>
                  </a:cubicBezTo>
                  <a:lnTo>
                    <a:pt x="0" y="0"/>
                  </a:lnTo>
                  <a:cubicBezTo>
                    <a:pt x="7" y="8"/>
                    <a:pt x="15" y="8"/>
                    <a:pt x="15" y="8"/>
                  </a:cubicBezTo>
                  <a:cubicBezTo>
                    <a:pt x="22" y="8"/>
                    <a:pt x="29" y="8"/>
                    <a:pt x="29" y="8"/>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4" name="Freeform 21">
              <a:extLst>
                <a:ext uri="{FF2B5EF4-FFF2-40B4-BE49-F238E27FC236}">
                  <a16:creationId xmlns:a16="http://schemas.microsoft.com/office/drawing/2014/main" id="{119F13F2-9E05-3542-A87D-C49C42F409E1}"/>
                </a:ext>
              </a:extLst>
            </p:cNvPr>
            <p:cNvSpPr>
              <a:spLocks noChangeArrowheads="1"/>
            </p:cNvSpPr>
            <p:nvPr/>
          </p:nvSpPr>
          <p:spPr bwMode="auto">
            <a:xfrm>
              <a:off x="15299957" y="6562408"/>
              <a:ext cx="516626" cy="552478"/>
            </a:xfrm>
            <a:custGeom>
              <a:avLst/>
              <a:gdLst>
                <a:gd name="T0" fmla="*/ 1018 w 1197"/>
                <a:gd name="T1" fmla="*/ 14 h 1278"/>
                <a:gd name="T2" fmla="*/ 943 w 1197"/>
                <a:gd name="T3" fmla="*/ 59 h 1278"/>
                <a:gd name="T4" fmla="*/ 921 w 1197"/>
                <a:gd name="T5" fmla="*/ 118 h 1278"/>
                <a:gd name="T6" fmla="*/ 795 w 1197"/>
                <a:gd name="T7" fmla="*/ 141 h 1278"/>
                <a:gd name="T8" fmla="*/ 743 w 1197"/>
                <a:gd name="T9" fmla="*/ 133 h 1278"/>
                <a:gd name="T10" fmla="*/ 683 w 1197"/>
                <a:gd name="T11" fmla="*/ 141 h 1278"/>
                <a:gd name="T12" fmla="*/ 543 w 1197"/>
                <a:gd name="T13" fmla="*/ 148 h 1278"/>
                <a:gd name="T14" fmla="*/ 498 w 1197"/>
                <a:gd name="T15" fmla="*/ 237 h 1278"/>
                <a:gd name="T16" fmla="*/ 409 w 1197"/>
                <a:gd name="T17" fmla="*/ 371 h 1278"/>
                <a:gd name="T18" fmla="*/ 290 w 1197"/>
                <a:gd name="T19" fmla="*/ 319 h 1278"/>
                <a:gd name="T20" fmla="*/ 246 w 1197"/>
                <a:gd name="T21" fmla="*/ 356 h 1278"/>
                <a:gd name="T22" fmla="*/ 201 w 1197"/>
                <a:gd name="T23" fmla="*/ 453 h 1278"/>
                <a:gd name="T24" fmla="*/ 149 w 1197"/>
                <a:gd name="T25" fmla="*/ 512 h 1278"/>
                <a:gd name="T26" fmla="*/ 134 w 1197"/>
                <a:gd name="T27" fmla="*/ 675 h 1278"/>
                <a:gd name="T28" fmla="*/ 52 w 1197"/>
                <a:gd name="T29" fmla="*/ 831 h 1278"/>
                <a:gd name="T30" fmla="*/ 23 w 1197"/>
                <a:gd name="T31" fmla="*/ 980 h 1278"/>
                <a:gd name="T32" fmla="*/ 38 w 1197"/>
                <a:gd name="T33" fmla="*/ 1054 h 1278"/>
                <a:gd name="T34" fmla="*/ 8 w 1197"/>
                <a:gd name="T35" fmla="*/ 1143 h 1278"/>
                <a:gd name="T36" fmla="*/ 134 w 1197"/>
                <a:gd name="T37" fmla="*/ 1180 h 1278"/>
                <a:gd name="T38" fmla="*/ 275 w 1197"/>
                <a:gd name="T39" fmla="*/ 1173 h 1278"/>
                <a:gd name="T40" fmla="*/ 283 w 1197"/>
                <a:gd name="T41" fmla="*/ 1165 h 1278"/>
                <a:gd name="T42" fmla="*/ 357 w 1197"/>
                <a:gd name="T43" fmla="*/ 1158 h 1278"/>
                <a:gd name="T44" fmla="*/ 446 w 1197"/>
                <a:gd name="T45" fmla="*/ 1143 h 1278"/>
                <a:gd name="T46" fmla="*/ 602 w 1197"/>
                <a:gd name="T47" fmla="*/ 1217 h 1278"/>
                <a:gd name="T48" fmla="*/ 795 w 1197"/>
                <a:gd name="T49" fmla="*/ 1270 h 1278"/>
                <a:gd name="T50" fmla="*/ 906 w 1197"/>
                <a:gd name="T51" fmla="*/ 995 h 1278"/>
                <a:gd name="T52" fmla="*/ 958 w 1197"/>
                <a:gd name="T53" fmla="*/ 891 h 1278"/>
                <a:gd name="T54" fmla="*/ 973 w 1197"/>
                <a:gd name="T55" fmla="*/ 839 h 1278"/>
                <a:gd name="T56" fmla="*/ 1018 w 1197"/>
                <a:gd name="T57" fmla="*/ 742 h 1278"/>
                <a:gd name="T58" fmla="*/ 1062 w 1197"/>
                <a:gd name="T59" fmla="*/ 660 h 1278"/>
                <a:gd name="T60" fmla="*/ 1107 w 1197"/>
                <a:gd name="T61" fmla="*/ 579 h 1278"/>
                <a:gd name="T62" fmla="*/ 1174 w 1197"/>
                <a:gd name="T63" fmla="*/ 438 h 1278"/>
                <a:gd name="T64" fmla="*/ 1196 w 1197"/>
                <a:gd name="T65" fmla="*/ 356 h 1278"/>
                <a:gd name="T66" fmla="*/ 1085 w 1197"/>
                <a:gd name="T67" fmla="*/ 304 h 1278"/>
                <a:gd name="T68" fmla="*/ 1122 w 1197"/>
                <a:gd name="T69" fmla="*/ 185 h 1278"/>
                <a:gd name="T70" fmla="*/ 1010 w 1197"/>
                <a:gd name="T71" fmla="*/ 141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97" h="1278">
                  <a:moveTo>
                    <a:pt x="1018" y="14"/>
                  </a:moveTo>
                  <a:lnTo>
                    <a:pt x="1018" y="14"/>
                  </a:lnTo>
                  <a:cubicBezTo>
                    <a:pt x="1003" y="14"/>
                    <a:pt x="1003" y="7"/>
                    <a:pt x="995" y="0"/>
                  </a:cubicBezTo>
                  <a:cubicBezTo>
                    <a:pt x="988" y="0"/>
                    <a:pt x="951" y="52"/>
                    <a:pt x="943" y="59"/>
                  </a:cubicBezTo>
                  <a:cubicBezTo>
                    <a:pt x="943" y="66"/>
                    <a:pt x="936" y="74"/>
                    <a:pt x="928" y="81"/>
                  </a:cubicBezTo>
                  <a:cubicBezTo>
                    <a:pt x="928" y="96"/>
                    <a:pt x="936" y="103"/>
                    <a:pt x="921" y="118"/>
                  </a:cubicBezTo>
                  <a:cubicBezTo>
                    <a:pt x="906" y="126"/>
                    <a:pt x="877" y="126"/>
                    <a:pt x="862" y="126"/>
                  </a:cubicBezTo>
                  <a:cubicBezTo>
                    <a:pt x="832" y="126"/>
                    <a:pt x="817" y="133"/>
                    <a:pt x="795" y="141"/>
                  </a:cubicBezTo>
                  <a:cubicBezTo>
                    <a:pt x="788" y="148"/>
                    <a:pt x="780" y="148"/>
                    <a:pt x="765" y="148"/>
                  </a:cubicBezTo>
                  <a:cubicBezTo>
                    <a:pt x="750" y="148"/>
                    <a:pt x="758" y="133"/>
                    <a:pt x="743" y="133"/>
                  </a:cubicBezTo>
                  <a:cubicBezTo>
                    <a:pt x="736" y="133"/>
                    <a:pt x="721" y="148"/>
                    <a:pt x="713" y="148"/>
                  </a:cubicBezTo>
                  <a:cubicBezTo>
                    <a:pt x="698" y="148"/>
                    <a:pt x="698" y="141"/>
                    <a:pt x="683" y="141"/>
                  </a:cubicBezTo>
                  <a:cubicBezTo>
                    <a:pt x="661" y="133"/>
                    <a:pt x="639" y="133"/>
                    <a:pt x="617" y="133"/>
                  </a:cubicBezTo>
                  <a:cubicBezTo>
                    <a:pt x="587" y="133"/>
                    <a:pt x="565" y="133"/>
                    <a:pt x="543" y="148"/>
                  </a:cubicBezTo>
                  <a:cubicBezTo>
                    <a:pt x="520" y="155"/>
                    <a:pt x="483" y="155"/>
                    <a:pt x="476" y="178"/>
                  </a:cubicBezTo>
                  <a:cubicBezTo>
                    <a:pt x="505" y="185"/>
                    <a:pt x="513" y="208"/>
                    <a:pt x="498" y="237"/>
                  </a:cubicBezTo>
                  <a:cubicBezTo>
                    <a:pt x="483" y="252"/>
                    <a:pt x="476" y="267"/>
                    <a:pt x="461" y="282"/>
                  </a:cubicBezTo>
                  <a:cubicBezTo>
                    <a:pt x="431" y="304"/>
                    <a:pt x="424" y="334"/>
                    <a:pt x="409" y="371"/>
                  </a:cubicBezTo>
                  <a:cubicBezTo>
                    <a:pt x="386" y="356"/>
                    <a:pt x="364" y="341"/>
                    <a:pt x="334" y="334"/>
                  </a:cubicBezTo>
                  <a:cubicBezTo>
                    <a:pt x="334" y="326"/>
                    <a:pt x="312" y="319"/>
                    <a:pt x="290" y="319"/>
                  </a:cubicBezTo>
                  <a:cubicBezTo>
                    <a:pt x="290" y="319"/>
                    <a:pt x="290" y="326"/>
                    <a:pt x="297" y="326"/>
                  </a:cubicBezTo>
                  <a:cubicBezTo>
                    <a:pt x="268" y="326"/>
                    <a:pt x="260" y="341"/>
                    <a:pt x="246" y="356"/>
                  </a:cubicBezTo>
                  <a:cubicBezTo>
                    <a:pt x="238" y="363"/>
                    <a:pt x="216" y="386"/>
                    <a:pt x="208" y="393"/>
                  </a:cubicBezTo>
                  <a:cubicBezTo>
                    <a:pt x="201" y="408"/>
                    <a:pt x="208" y="438"/>
                    <a:pt x="201" y="453"/>
                  </a:cubicBezTo>
                  <a:cubicBezTo>
                    <a:pt x="201" y="475"/>
                    <a:pt x="193" y="490"/>
                    <a:pt x="186" y="505"/>
                  </a:cubicBezTo>
                  <a:cubicBezTo>
                    <a:pt x="171" y="505"/>
                    <a:pt x="164" y="505"/>
                    <a:pt x="149" y="512"/>
                  </a:cubicBezTo>
                  <a:cubicBezTo>
                    <a:pt x="171" y="542"/>
                    <a:pt x="156" y="564"/>
                    <a:pt x="149" y="594"/>
                  </a:cubicBezTo>
                  <a:cubicBezTo>
                    <a:pt x="141" y="623"/>
                    <a:pt x="149" y="653"/>
                    <a:pt x="134" y="675"/>
                  </a:cubicBezTo>
                  <a:cubicBezTo>
                    <a:pt x="112" y="675"/>
                    <a:pt x="89" y="675"/>
                    <a:pt x="67" y="675"/>
                  </a:cubicBezTo>
                  <a:cubicBezTo>
                    <a:pt x="60" y="727"/>
                    <a:pt x="60" y="779"/>
                    <a:pt x="52" y="831"/>
                  </a:cubicBezTo>
                  <a:cubicBezTo>
                    <a:pt x="52" y="861"/>
                    <a:pt x="52" y="883"/>
                    <a:pt x="38" y="905"/>
                  </a:cubicBezTo>
                  <a:cubicBezTo>
                    <a:pt x="23" y="935"/>
                    <a:pt x="23" y="950"/>
                    <a:pt x="23" y="980"/>
                  </a:cubicBezTo>
                  <a:cubicBezTo>
                    <a:pt x="15" y="987"/>
                    <a:pt x="15" y="987"/>
                    <a:pt x="15" y="987"/>
                  </a:cubicBezTo>
                  <a:cubicBezTo>
                    <a:pt x="23" y="1010"/>
                    <a:pt x="38" y="1039"/>
                    <a:pt x="38" y="1054"/>
                  </a:cubicBezTo>
                  <a:cubicBezTo>
                    <a:pt x="38" y="1069"/>
                    <a:pt x="38" y="1084"/>
                    <a:pt x="30" y="1099"/>
                  </a:cubicBezTo>
                  <a:cubicBezTo>
                    <a:pt x="23" y="1121"/>
                    <a:pt x="0" y="1121"/>
                    <a:pt x="8" y="1143"/>
                  </a:cubicBezTo>
                  <a:cubicBezTo>
                    <a:pt x="38" y="1158"/>
                    <a:pt x="67" y="1151"/>
                    <a:pt x="97" y="1158"/>
                  </a:cubicBezTo>
                  <a:cubicBezTo>
                    <a:pt x="127" y="1165"/>
                    <a:pt x="119" y="1165"/>
                    <a:pt x="134" y="1180"/>
                  </a:cubicBezTo>
                  <a:cubicBezTo>
                    <a:pt x="149" y="1188"/>
                    <a:pt x="171" y="1180"/>
                    <a:pt x="186" y="1180"/>
                  </a:cubicBezTo>
                  <a:cubicBezTo>
                    <a:pt x="208" y="1180"/>
                    <a:pt x="260" y="1165"/>
                    <a:pt x="275" y="1173"/>
                  </a:cubicBezTo>
                  <a:lnTo>
                    <a:pt x="283" y="1180"/>
                  </a:lnTo>
                  <a:cubicBezTo>
                    <a:pt x="283" y="1173"/>
                    <a:pt x="283" y="1173"/>
                    <a:pt x="283" y="1165"/>
                  </a:cubicBezTo>
                  <a:cubicBezTo>
                    <a:pt x="290" y="1151"/>
                    <a:pt x="290" y="1121"/>
                    <a:pt x="312" y="1113"/>
                  </a:cubicBezTo>
                  <a:cubicBezTo>
                    <a:pt x="327" y="1113"/>
                    <a:pt x="349" y="1151"/>
                    <a:pt x="357" y="1158"/>
                  </a:cubicBezTo>
                  <a:cubicBezTo>
                    <a:pt x="372" y="1173"/>
                    <a:pt x="394" y="1195"/>
                    <a:pt x="416" y="1202"/>
                  </a:cubicBezTo>
                  <a:cubicBezTo>
                    <a:pt x="453" y="1202"/>
                    <a:pt x="446" y="1173"/>
                    <a:pt x="446" y="1143"/>
                  </a:cubicBezTo>
                  <a:cubicBezTo>
                    <a:pt x="476" y="1143"/>
                    <a:pt x="528" y="1136"/>
                    <a:pt x="550" y="1143"/>
                  </a:cubicBezTo>
                  <a:cubicBezTo>
                    <a:pt x="580" y="1158"/>
                    <a:pt x="580" y="1217"/>
                    <a:pt x="602" y="1217"/>
                  </a:cubicBezTo>
                  <a:cubicBezTo>
                    <a:pt x="602" y="1165"/>
                    <a:pt x="676" y="1165"/>
                    <a:pt x="713" y="1180"/>
                  </a:cubicBezTo>
                  <a:cubicBezTo>
                    <a:pt x="750" y="1202"/>
                    <a:pt x="780" y="1232"/>
                    <a:pt x="795" y="1270"/>
                  </a:cubicBezTo>
                  <a:cubicBezTo>
                    <a:pt x="854" y="1277"/>
                    <a:pt x="884" y="1084"/>
                    <a:pt x="891" y="1054"/>
                  </a:cubicBezTo>
                  <a:cubicBezTo>
                    <a:pt x="899" y="1032"/>
                    <a:pt x="899" y="1010"/>
                    <a:pt x="906" y="995"/>
                  </a:cubicBezTo>
                  <a:cubicBezTo>
                    <a:pt x="914" y="972"/>
                    <a:pt x="928" y="965"/>
                    <a:pt x="936" y="943"/>
                  </a:cubicBezTo>
                  <a:cubicBezTo>
                    <a:pt x="943" y="928"/>
                    <a:pt x="943" y="905"/>
                    <a:pt x="958" y="891"/>
                  </a:cubicBezTo>
                  <a:cubicBezTo>
                    <a:pt x="966" y="876"/>
                    <a:pt x="966" y="883"/>
                    <a:pt x="973" y="868"/>
                  </a:cubicBezTo>
                  <a:cubicBezTo>
                    <a:pt x="973" y="861"/>
                    <a:pt x="973" y="846"/>
                    <a:pt x="973" y="839"/>
                  </a:cubicBezTo>
                  <a:cubicBezTo>
                    <a:pt x="973" y="816"/>
                    <a:pt x="981" y="809"/>
                    <a:pt x="988" y="787"/>
                  </a:cubicBezTo>
                  <a:cubicBezTo>
                    <a:pt x="995" y="765"/>
                    <a:pt x="988" y="757"/>
                    <a:pt x="1018" y="742"/>
                  </a:cubicBezTo>
                  <a:cubicBezTo>
                    <a:pt x="1040" y="742"/>
                    <a:pt x="1055" y="742"/>
                    <a:pt x="1062" y="712"/>
                  </a:cubicBezTo>
                  <a:cubicBezTo>
                    <a:pt x="1070" y="698"/>
                    <a:pt x="1062" y="675"/>
                    <a:pt x="1062" y="660"/>
                  </a:cubicBezTo>
                  <a:cubicBezTo>
                    <a:pt x="1085" y="646"/>
                    <a:pt x="1099" y="646"/>
                    <a:pt x="1107" y="623"/>
                  </a:cubicBezTo>
                  <a:cubicBezTo>
                    <a:pt x="1107" y="608"/>
                    <a:pt x="1107" y="594"/>
                    <a:pt x="1107" y="579"/>
                  </a:cubicBezTo>
                  <a:cubicBezTo>
                    <a:pt x="1114" y="542"/>
                    <a:pt x="1137" y="549"/>
                    <a:pt x="1159" y="527"/>
                  </a:cubicBezTo>
                  <a:cubicBezTo>
                    <a:pt x="1174" y="497"/>
                    <a:pt x="1159" y="467"/>
                    <a:pt x="1174" y="438"/>
                  </a:cubicBezTo>
                  <a:cubicBezTo>
                    <a:pt x="1188" y="408"/>
                    <a:pt x="1188" y="408"/>
                    <a:pt x="1188" y="408"/>
                  </a:cubicBezTo>
                  <a:cubicBezTo>
                    <a:pt x="1196" y="393"/>
                    <a:pt x="1196" y="371"/>
                    <a:pt x="1196" y="356"/>
                  </a:cubicBezTo>
                  <a:cubicBezTo>
                    <a:pt x="1166" y="349"/>
                    <a:pt x="1159" y="349"/>
                    <a:pt x="1137" y="334"/>
                  </a:cubicBezTo>
                  <a:cubicBezTo>
                    <a:pt x="1122" y="326"/>
                    <a:pt x="1099" y="311"/>
                    <a:pt x="1085" y="304"/>
                  </a:cubicBezTo>
                  <a:cubicBezTo>
                    <a:pt x="1085" y="282"/>
                    <a:pt x="1085" y="237"/>
                    <a:pt x="1092" y="215"/>
                  </a:cubicBezTo>
                  <a:cubicBezTo>
                    <a:pt x="1099" y="200"/>
                    <a:pt x="1114" y="200"/>
                    <a:pt x="1122" y="185"/>
                  </a:cubicBezTo>
                  <a:cubicBezTo>
                    <a:pt x="1122" y="185"/>
                    <a:pt x="1122" y="178"/>
                    <a:pt x="1122" y="163"/>
                  </a:cubicBezTo>
                  <a:cubicBezTo>
                    <a:pt x="1085" y="163"/>
                    <a:pt x="1048" y="141"/>
                    <a:pt x="1010" y="141"/>
                  </a:cubicBezTo>
                  <a:cubicBezTo>
                    <a:pt x="1010" y="96"/>
                    <a:pt x="1018" y="59"/>
                    <a:pt x="1018" y="14"/>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5" name="Freeform 22">
              <a:extLst>
                <a:ext uri="{FF2B5EF4-FFF2-40B4-BE49-F238E27FC236}">
                  <a16:creationId xmlns:a16="http://schemas.microsoft.com/office/drawing/2014/main" id="{DE4E1BA2-AFC9-0E4E-A7F3-40356F97150D}"/>
                </a:ext>
              </a:extLst>
            </p:cNvPr>
            <p:cNvSpPr>
              <a:spLocks noChangeArrowheads="1"/>
            </p:cNvSpPr>
            <p:nvPr/>
          </p:nvSpPr>
          <p:spPr bwMode="auto">
            <a:xfrm>
              <a:off x="14863400" y="5305042"/>
              <a:ext cx="1631849" cy="1417393"/>
            </a:xfrm>
            <a:custGeom>
              <a:avLst/>
              <a:gdLst>
                <a:gd name="T0" fmla="*/ 3706 w 3774"/>
                <a:gd name="T1" fmla="*/ 839 h 3283"/>
                <a:gd name="T2" fmla="*/ 3476 w 3774"/>
                <a:gd name="T3" fmla="*/ 779 h 3283"/>
                <a:gd name="T4" fmla="*/ 3171 w 3774"/>
                <a:gd name="T5" fmla="*/ 727 h 3283"/>
                <a:gd name="T6" fmla="*/ 3052 w 3774"/>
                <a:gd name="T7" fmla="*/ 720 h 3283"/>
                <a:gd name="T8" fmla="*/ 3171 w 3774"/>
                <a:gd name="T9" fmla="*/ 490 h 3283"/>
                <a:gd name="T10" fmla="*/ 2941 w 3774"/>
                <a:gd name="T11" fmla="*/ 378 h 3283"/>
                <a:gd name="T12" fmla="*/ 2867 w 3774"/>
                <a:gd name="T13" fmla="*/ 282 h 3283"/>
                <a:gd name="T14" fmla="*/ 2926 w 3774"/>
                <a:gd name="T15" fmla="*/ 148 h 3283"/>
                <a:gd name="T16" fmla="*/ 2755 w 3774"/>
                <a:gd name="T17" fmla="*/ 29 h 3283"/>
                <a:gd name="T18" fmla="*/ 2458 w 3774"/>
                <a:gd name="T19" fmla="*/ 237 h 3283"/>
                <a:gd name="T20" fmla="*/ 2362 w 3774"/>
                <a:gd name="T21" fmla="*/ 371 h 3283"/>
                <a:gd name="T22" fmla="*/ 1857 w 3774"/>
                <a:gd name="T23" fmla="*/ 208 h 3283"/>
                <a:gd name="T24" fmla="*/ 1567 w 3774"/>
                <a:gd name="T25" fmla="*/ 505 h 3283"/>
                <a:gd name="T26" fmla="*/ 1344 w 3774"/>
                <a:gd name="T27" fmla="*/ 690 h 3283"/>
                <a:gd name="T28" fmla="*/ 1018 w 3774"/>
                <a:gd name="T29" fmla="*/ 787 h 3283"/>
                <a:gd name="T30" fmla="*/ 906 w 3774"/>
                <a:gd name="T31" fmla="*/ 1032 h 3283"/>
                <a:gd name="T32" fmla="*/ 706 w 3774"/>
                <a:gd name="T33" fmla="*/ 1188 h 3283"/>
                <a:gd name="T34" fmla="*/ 454 w 3774"/>
                <a:gd name="T35" fmla="*/ 1403 h 3283"/>
                <a:gd name="T36" fmla="*/ 305 w 3774"/>
                <a:gd name="T37" fmla="*/ 1470 h 3283"/>
                <a:gd name="T38" fmla="*/ 0 w 3774"/>
                <a:gd name="T39" fmla="*/ 1574 h 3283"/>
                <a:gd name="T40" fmla="*/ 201 w 3774"/>
                <a:gd name="T41" fmla="*/ 1730 h 3283"/>
                <a:gd name="T42" fmla="*/ 349 w 3774"/>
                <a:gd name="T43" fmla="*/ 1841 h 3283"/>
                <a:gd name="T44" fmla="*/ 386 w 3774"/>
                <a:gd name="T45" fmla="*/ 2116 h 3283"/>
                <a:gd name="T46" fmla="*/ 386 w 3774"/>
                <a:gd name="T47" fmla="*/ 2153 h 3283"/>
                <a:gd name="T48" fmla="*/ 661 w 3774"/>
                <a:gd name="T49" fmla="*/ 2072 h 3283"/>
                <a:gd name="T50" fmla="*/ 944 w 3774"/>
                <a:gd name="T51" fmla="*/ 2079 h 3283"/>
                <a:gd name="T52" fmla="*/ 1285 w 3774"/>
                <a:gd name="T53" fmla="*/ 2027 h 3283"/>
                <a:gd name="T54" fmla="*/ 1486 w 3774"/>
                <a:gd name="T55" fmla="*/ 1938 h 3283"/>
                <a:gd name="T56" fmla="*/ 1597 w 3774"/>
                <a:gd name="T57" fmla="*/ 1745 h 3283"/>
                <a:gd name="T58" fmla="*/ 1693 w 3774"/>
                <a:gd name="T59" fmla="*/ 1552 h 3283"/>
                <a:gd name="T60" fmla="*/ 1842 w 3774"/>
                <a:gd name="T61" fmla="*/ 1537 h 3283"/>
                <a:gd name="T62" fmla="*/ 2080 w 3774"/>
                <a:gd name="T63" fmla="*/ 1425 h 3283"/>
                <a:gd name="T64" fmla="*/ 2161 w 3774"/>
                <a:gd name="T65" fmla="*/ 1396 h 3283"/>
                <a:gd name="T66" fmla="*/ 2310 w 3774"/>
                <a:gd name="T67" fmla="*/ 1329 h 3283"/>
                <a:gd name="T68" fmla="*/ 2444 w 3774"/>
                <a:gd name="T69" fmla="*/ 1270 h 3283"/>
                <a:gd name="T70" fmla="*/ 2703 w 3774"/>
                <a:gd name="T71" fmla="*/ 1180 h 3283"/>
                <a:gd name="T72" fmla="*/ 2718 w 3774"/>
                <a:gd name="T73" fmla="*/ 1351 h 3283"/>
                <a:gd name="T74" fmla="*/ 2860 w 3774"/>
                <a:gd name="T75" fmla="*/ 1552 h 3283"/>
                <a:gd name="T76" fmla="*/ 2592 w 3774"/>
                <a:gd name="T77" fmla="*/ 1700 h 3283"/>
                <a:gd name="T78" fmla="*/ 2458 w 3774"/>
                <a:gd name="T79" fmla="*/ 1864 h 3283"/>
                <a:gd name="T80" fmla="*/ 2280 w 3774"/>
                <a:gd name="T81" fmla="*/ 1975 h 3283"/>
                <a:gd name="T82" fmla="*/ 2087 w 3774"/>
                <a:gd name="T83" fmla="*/ 2123 h 3283"/>
                <a:gd name="T84" fmla="*/ 1812 w 3774"/>
                <a:gd name="T85" fmla="*/ 2354 h 3283"/>
                <a:gd name="T86" fmla="*/ 1612 w 3774"/>
                <a:gd name="T87" fmla="*/ 2584 h 3283"/>
                <a:gd name="T88" fmla="*/ 1486 w 3774"/>
                <a:gd name="T89" fmla="*/ 2747 h 3283"/>
                <a:gd name="T90" fmla="*/ 1285 w 3774"/>
                <a:gd name="T91" fmla="*/ 2992 h 3283"/>
                <a:gd name="T92" fmla="*/ 1300 w 3774"/>
                <a:gd name="T93" fmla="*/ 3230 h 3283"/>
                <a:gd name="T94" fmla="*/ 1486 w 3774"/>
                <a:gd name="T95" fmla="*/ 3089 h 3283"/>
                <a:gd name="T96" fmla="*/ 1753 w 3774"/>
                <a:gd name="T97" fmla="*/ 3044 h 3283"/>
                <a:gd name="T98" fmla="*/ 1938 w 3774"/>
                <a:gd name="T99" fmla="*/ 2992 h 3283"/>
                <a:gd name="T100" fmla="*/ 2132 w 3774"/>
                <a:gd name="T101" fmla="*/ 3074 h 3283"/>
                <a:gd name="T102" fmla="*/ 2273 w 3774"/>
                <a:gd name="T103" fmla="*/ 2903 h 3283"/>
                <a:gd name="T104" fmla="*/ 2347 w 3774"/>
                <a:gd name="T105" fmla="*/ 2651 h 3283"/>
                <a:gd name="T106" fmla="*/ 2369 w 3774"/>
                <a:gd name="T107" fmla="*/ 2406 h 3283"/>
                <a:gd name="T108" fmla="*/ 2495 w 3774"/>
                <a:gd name="T109" fmla="*/ 2109 h 3283"/>
                <a:gd name="T110" fmla="*/ 2726 w 3774"/>
                <a:gd name="T111" fmla="*/ 1938 h 3283"/>
                <a:gd name="T112" fmla="*/ 3112 w 3774"/>
                <a:gd name="T113" fmla="*/ 1604 h 3283"/>
                <a:gd name="T114" fmla="*/ 3327 w 3774"/>
                <a:gd name="T115" fmla="*/ 1544 h 3283"/>
                <a:gd name="T116" fmla="*/ 3483 w 3774"/>
                <a:gd name="T117" fmla="*/ 1626 h 3283"/>
                <a:gd name="T118" fmla="*/ 3587 w 3774"/>
                <a:gd name="T119" fmla="*/ 1537 h 3283"/>
                <a:gd name="T120" fmla="*/ 3491 w 3774"/>
                <a:gd name="T121" fmla="*/ 1284 h 3283"/>
                <a:gd name="T122" fmla="*/ 3765 w 3774"/>
                <a:gd name="T123" fmla="*/ 995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4" h="3283">
                  <a:moveTo>
                    <a:pt x="3773" y="995"/>
                  </a:moveTo>
                  <a:lnTo>
                    <a:pt x="3773" y="995"/>
                  </a:lnTo>
                  <a:cubicBezTo>
                    <a:pt x="3773" y="965"/>
                    <a:pt x="3743" y="965"/>
                    <a:pt x="3728" y="943"/>
                  </a:cubicBezTo>
                  <a:cubicBezTo>
                    <a:pt x="3728" y="928"/>
                    <a:pt x="3728" y="905"/>
                    <a:pt x="3728" y="891"/>
                  </a:cubicBezTo>
                  <a:cubicBezTo>
                    <a:pt x="3736" y="861"/>
                    <a:pt x="3728" y="854"/>
                    <a:pt x="3706" y="839"/>
                  </a:cubicBezTo>
                  <a:cubicBezTo>
                    <a:pt x="3684" y="831"/>
                    <a:pt x="3669" y="824"/>
                    <a:pt x="3669" y="802"/>
                  </a:cubicBezTo>
                  <a:cubicBezTo>
                    <a:pt x="3654" y="794"/>
                    <a:pt x="3647" y="794"/>
                    <a:pt x="3639" y="779"/>
                  </a:cubicBezTo>
                  <a:cubicBezTo>
                    <a:pt x="3632" y="772"/>
                    <a:pt x="3624" y="757"/>
                    <a:pt x="3610" y="750"/>
                  </a:cubicBezTo>
                  <a:cubicBezTo>
                    <a:pt x="3595" y="742"/>
                    <a:pt x="3550" y="750"/>
                    <a:pt x="3535" y="750"/>
                  </a:cubicBezTo>
                  <a:cubicBezTo>
                    <a:pt x="3513" y="757"/>
                    <a:pt x="3498" y="779"/>
                    <a:pt x="3476" y="779"/>
                  </a:cubicBezTo>
                  <a:cubicBezTo>
                    <a:pt x="3461" y="779"/>
                    <a:pt x="3453" y="757"/>
                    <a:pt x="3439" y="750"/>
                  </a:cubicBezTo>
                  <a:cubicBezTo>
                    <a:pt x="3424" y="750"/>
                    <a:pt x="3416" y="750"/>
                    <a:pt x="3409" y="757"/>
                  </a:cubicBezTo>
                  <a:cubicBezTo>
                    <a:pt x="3372" y="765"/>
                    <a:pt x="3357" y="772"/>
                    <a:pt x="3327" y="750"/>
                  </a:cubicBezTo>
                  <a:cubicBezTo>
                    <a:pt x="3305" y="735"/>
                    <a:pt x="3275" y="705"/>
                    <a:pt x="3246" y="705"/>
                  </a:cubicBezTo>
                  <a:cubicBezTo>
                    <a:pt x="3223" y="698"/>
                    <a:pt x="3194" y="720"/>
                    <a:pt x="3171" y="727"/>
                  </a:cubicBezTo>
                  <a:cubicBezTo>
                    <a:pt x="3149" y="735"/>
                    <a:pt x="3119" y="750"/>
                    <a:pt x="3112" y="765"/>
                  </a:cubicBezTo>
                  <a:cubicBezTo>
                    <a:pt x="3090" y="779"/>
                    <a:pt x="3105" y="794"/>
                    <a:pt x="3097" y="816"/>
                  </a:cubicBezTo>
                  <a:cubicBezTo>
                    <a:pt x="3082" y="809"/>
                    <a:pt x="3067" y="809"/>
                    <a:pt x="3052" y="802"/>
                  </a:cubicBezTo>
                  <a:cubicBezTo>
                    <a:pt x="3038" y="802"/>
                    <a:pt x="3023" y="802"/>
                    <a:pt x="3008" y="802"/>
                  </a:cubicBezTo>
                  <a:cubicBezTo>
                    <a:pt x="3000" y="757"/>
                    <a:pt x="3060" y="757"/>
                    <a:pt x="3052" y="720"/>
                  </a:cubicBezTo>
                  <a:cubicBezTo>
                    <a:pt x="3030" y="720"/>
                    <a:pt x="3038" y="668"/>
                    <a:pt x="3045" y="653"/>
                  </a:cubicBezTo>
                  <a:cubicBezTo>
                    <a:pt x="3067" y="653"/>
                    <a:pt x="3075" y="631"/>
                    <a:pt x="3090" y="623"/>
                  </a:cubicBezTo>
                  <a:cubicBezTo>
                    <a:pt x="3112" y="594"/>
                    <a:pt x="3097" y="608"/>
                    <a:pt x="3097" y="579"/>
                  </a:cubicBezTo>
                  <a:cubicBezTo>
                    <a:pt x="3097" y="534"/>
                    <a:pt x="3149" y="534"/>
                    <a:pt x="3164" y="512"/>
                  </a:cubicBezTo>
                  <a:cubicBezTo>
                    <a:pt x="3171" y="505"/>
                    <a:pt x="3171" y="490"/>
                    <a:pt x="3171" y="490"/>
                  </a:cubicBezTo>
                  <a:cubicBezTo>
                    <a:pt x="3179" y="482"/>
                    <a:pt x="3194" y="490"/>
                    <a:pt x="3194" y="475"/>
                  </a:cubicBezTo>
                  <a:cubicBezTo>
                    <a:pt x="3201" y="460"/>
                    <a:pt x="3142" y="430"/>
                    <a:pt x="3134" y="415"/>
                  </a:cubicBezTo>
                  <a:cubicBezTo>
                    <a:pt x="3119" y="400"/>
                    <a:pt x="3097" y="371"/>
                    <a:pt x="3090" y="349"/>
                  </a:cubicBezTo>
                  <a:cubicBezTo>
                    <a:pt x="3082" y="326"/>
                    <a:pt x="3090" y="311"/>
                    <a:pt x="3082" y="289"/>
                  </a:cubicBezTo>
                  <a:cubicBezTo>
                    <a:pt x="3015" y="282"/>
                    <a:pt x="2949" y="311"/>
                    <a:pt x="2941" y="378"/>
                  </a:cubicBezTo>
                  <a:cubicBezTo>
                    <a:pt x="2941" y="393"/>
                    <a:pt x="2949" y="415"/>
                    <a:pt x="2926" y="423"/>
                  </a:cubicBezTo>
                  <a:cubicBezTo>
                    <a:pt x="2911" y="430"/>
                    <a:pt x="2904" y="423"/>
                    <a:pt x="2897" y="408"/>
                  </a:cubicBezTo>
                  <a:cubicBezTo>
                    <a:pt x="2889" y="378"/>
                    <a:pt x="2919" y="356"/>
                    <a:pt x="2904" y="326"/>
                  </a:cubicBezTo>
                  <a:cubicBezTo>
                    <a:pt x="2889" y="326"/>
                    <a:pt x="2867" y="319"/>
                    <a:pt x="2852" y="319"/>
                  </a:cubicBezTo>
                  <a:cubicBezTo>
                    <a:pt x="2852" y="304"/>
                    <a:pt x="2867" y="297"/>
                    <a:pt x="2867" y="282"/>
                  </a:cubicBezTo>
                  <a:cubicBezTo>
                    <a:pt x="2874" y="282"/>
                    <a:pt x="2889" y="274"/>
                    <a:pt x="2889" y="282"/>
                  </a:cubicBezTo>
                  <a:cubicBezTo>
                    <a:pt x="2897" y="267"/>
                    <a:pt x="2934" y="200"/>
                    <a:pt x="2949" y="200"/>
                  </a:cubicBezTo>
                  <a:cubicBezTo>
                    <a:pt x="2963" y="193"/>
                    <a:pt x="2978" y="208"/>
                    <a:pt x="2986" y="185"/>
                  </a:cubicBezTo>
                  <a:cubicBezTo>
                    <a:pt x="2993" y="178"/>
                    <a:pt x="2978" y="155"/>
                    <a:pt x="2986" y="148"/>
                  </a:cubicBezTo>
                  <a:cubicBezTo>
                    <a:pt x="2963" y="133"/>
                    <a:pt x="2949" y="148"/>
                    <a:pt x="2926" y="148"/>
                  </a:cubicBezTo>
                  <a:cubicBezTo>
                    <a:pt x="2897" y="155"/>
                    <a:pt x="2882" y="133"/>
                    <a:pt x="2867" y="103"/>
                  </a:cubicBezTo>
                  <a:cubicBezTo>
                    <a:pt x="2860" y="89"/>
                    <a:pt x="2867" y="96"/>
                    <a:pt x="2852" y="81"/>
                  </a:cubicBezTo>
                  <a:cubicBezTo>
                    <a:pt x="2845" y="66"/>
                    <a:pt x="2822" y="66"/>
                    <a:pt x="2815" y="52"/>
                  </a:cubicBezTo>
                  <a:cubicBezTo>
                    <a:pt x="2800" y="37"/>
                    <a:pt x="2807" y="7"/>
                    <a:pt x="2778" y="0"/>
                  </a:cubicBezTo>
                  <a:cubicBezTo>
                    <a:pt x="2778" y="29"/>
                    <a:pt x="2770" y="14"/>
                    <a:pt x="2755" y="29"/>
                  </a:cubicBezTo>
                  <a:cubicBezTo>
                    <a:pt x="2741" y="37"/>
                    <a:pt x="2748" y="44"/>
                    <a:pt x="2741" y="52"/>
                  </a:cubicBezTo>
                  <a:cubicBezTo>
                    <a:pt x="2733" y="66"/>
                    <a:pt x="2718" y="66"/>
                    <a:pt x="2711" y="66"/>
                  </a:cubicBezTo>
                  <a:cubicBezTo>
                    <a:pt x="2674" y="89"/>
                    <a:pt x="2644" y="111"/>
                    <a:pt x="2607" y="126"/>
                  </a:cubicBezTo>
                  <a:cubicBezTo>
                    <a:pt x="2570" y="148"/>
                    <a:pt x="2533" y="163"/>
                    <a:pt x="2503" y="193"/>
                  </a:cubicBezTo>
                  <a:cubicBezTo>
                    <a:pt x="2488" y="200"/>
                    <a:pt x="2458" y="215"/>
                    <a:pt x="2458" y="237"/>
                  </a:cubicBezTo>
                  <a:cubicBezTo>
                    <a:pt x="2458" y="245"/>
                    <a:pt x="2473" y="245"/>
                    <a:pt x="2473" y="260"/>
                  </a:cubicBezTo>
                  <a:cubicBezTo>
                    <a:pt x="2473" y="267"/>
                    <a:pt x="2473" y="274"/>
                    <a:pt x="2473" y="282"/>
                  </a:cubicBezTo>
                  <a:cubicBezTo>
                    <a:pt x="2466" y="282"/>
                    <a:pt x="2451" y="282"/>
                    <a:pt x="2436" y="282"/>
                  </a:cubicBezTo>
                  <a:cubicBezTo>
                    <a:pt x="2451" y="304"/>
                    <a:pt x="2444" y="334"/>
                    <a:pt x="2429" y="349"/>
                  </a:cubicBezTo>
                  <a:cubicBezTo>
                    <a:pt x="2414" y="363"/>
                    <a:pt x="2384" y="363"/>
                    <a:pt x="2362" y="371"/>
                  </a:cubicBezTo>
                  <a:cubicBezTo>
                    <a:pt x="2332" y="371"/>
                    <a:pt x="2303" y="349"/>
                    <a:pt x="2273" y="326"/>
                  </a:cubicBezTo>
                  <a:cubicBezTo>
                    <a:pt x="2243" y="311"/>
                    <a:pt x="2221" y="304"/>
                    <a:pt x="2184" y="304"/>
                  </a:cubicBezTo>
                  <a:cubicBezTo>
                    <a:pt x="2154" y="304"/>
                    <a:pt x="2132" y="311"/>
                    <a:pt x="2102" y="311"/>
                  </a:cubicBezTo>
                  <a:cubicBezTo>
                    <a:pt x="2058" y="319"/>
                    <a:pt x="2043" y="311"/>
                    <a:pt x="2005" y="282"/>
                  </a:cubicBezTo>
                  <a:cubicBezTo>
                    <a:pt x="1961" y="252"/>
                    <a:pt x="1916" y="208"/>
                    <a:pt x="1857" y="208"/>
                  </a:cubicBezTo>
                  <a:cubicBezTo>
                    <a:pt x="1857" y="245"/>
                    <a:pt x="1857" y="267"/>
                    <a:pt x="1820" y="282"/>
                  </a:cubicBezTo>
                  <a:cubicBezTo>
                    <a:pt x="1790" y="297"/>
                    <a:pt x="1760" y="289"/>
                    <a:pt x="1731" y="304"/>
                  </a:cubicBezTo>
                  <a:cubicBezTo>
                    <a:pt x="1693" y="319"/>
                    <a:pt x="1686" y="349"/>
                    <a:pt x="1656" y="371"/>
                  </a:cubicBezTo>
                  <a:cubicBezTo>
                    <a:pt x="1634" y="386"/>
                    <a:pt x="1612" y="408"/>
                    <a:pt x="1604" y="430"/>
                  </a:cubicBezTo>
                  <a:cubicBezTo>
                    <a:pt x="1597" y="445"/>
                    <a:pt x="1582" y="497"/>
                    <a:pt x="1567" y="505"/>
                  </a:cubicBezTo>
                  <a:cubicBezTo>
                    <a:pt x="1560" y="505"/>
                    <a:pt x="1515" y="497"/>
                    <a:pt x="1508" y="505"/>
                  </a:cubicBezTo>
                  <a:cubicBezTo>
                    <a:pt x="1501" y="519"/>
                    <a:pt x="1530" y="534"/>
                    <a:pt x="1523" y="557"/>
                  </a:cubicBezTo>
                  <a:cubicBezTo>
                    <a:pt x="1523" y="571"/>
                    <a:pt x="1456" y="594"/>
                    <a:pt x="1441" y="601"/>
                  </a:cubicBezTo>
                  <a:cubicBezTo>
                    <a:pt x="1448" y="631"/>
                    <a:pt x="1404" y="646"/>
                    <a:pt x="1382" y="660"/>
                  </a:cubicBezTo>
                  <a:cubicBezTo>
                    <a:pt x="1367" y="668"/>
                    <a:pt x="1359" y="675"/>
                    <a:pt x="1344" y="690"/>
                  </a:cubicBezTo>
                  <a:cubicBezTo>
                    <a:pt x="1337" y="698"/>
                    <a:pt x="1322" y="720"/>
                    <a:pt x="1307" y="727"/>
                  </a:cubicBezTo>
                  <a:cubicBezTo>
                    <a:pt x="1285" y="735"/>
                    <a:pt x="1263" y="720"/>
                    <a:pt x="1241" y="727"/>
                  </a:cubicBezTo>
                  <a:cubicBezTo>
                    <a:pt x="1218" y="727"/>
                    <a:pt x="1211" y="735"/>
                    <a:pt x="1196" y="742"/>
                  </a:cubicBezTo>
                  <a:cubicBezTo>
                    <a:pt x="1166" y="757"/>
                    <a:pt x="1137" y="765"/>
                    <a:pt x="1107" y="779"/>
                  </a:cubicBezTo>
                  <a:cubicBezTo>
                    <a:pt x="1077" y="794"/>
                    <a:pt x="1048" y="779"/>
                    <a:pt x="1018" y="787"/>
                  </a:cubicBezTo>
                  <a:cubicBezTo>
                    <a:pt x="988" y="794"/>
                    <a:pt x="996" y="831"/>
                    <a:pt x="996" y="861"/>
                  </a:cubicBezTo>
                  <a:cubicBezTo>
                    <a:pt x="996" y="891"/>
                    <a:pt x="996" y="913"/>
                    <a:pt x="981" y="943"/>
                  </a:cubicBezTo>
                  <a:cubicBezTo>
                    <a:pt x="973" y="957"/>
                    <a:pt x="966" y="972"/>
                    <a:pt x="958" y="980"/>
                  </a:cubicBezTo>
                  <a:cubicBezTo>
                    <a:pt x="951" y="987"/>
                    <a:pt x="936" y="995"/>
                    <a:pt x="929" y="1002"/>
                  </a:cubicBezTo>
                  <a:cubicBezTo>
                    <a:pt x="921" y="1017"/>
                    <a:pt x="921" y="1024"/>
                    <a:pt x="906" y="1032"/>
                  </a:cubicBezTo>
                  <a:cubicBezTo>
                    <a:pt x="891" y="1047"/>
                    <a:pt x="877" y="1047"/>
                    <a:pt x="862" y="1054"/>
                  </a:cubicBezTo>
                  <a:cubicBezTo>
                    <a:pt x="854" y="1069"/>
                    <a:pt x="854" y="1084"/>
                    <a:pt x="840" y="1091"/>
                  </a:cubicBezTo>
                  <a:cubicBezTo>
                    <a:pt x="825" y="1099"/>
                    <a:pt x="817" y="1106"/>
                    <a:pt x="802" y="1113"/>
                  </a:cubicBezTo>
                  <a:cubicBezTo>
                    <a:pt x="780" y="1121"/>
                    <a:pt x="736" y="1128"/>
                    <a:pt x="721" y="1151"/>
                  </a:cubicBezTo>
                  <a:cubicBezTo>
                    <a:pt x="713" y="1165"/>
                    <a:pt x="721" y="1173"/>
                    <a:pt x="706" y="1188"/>
                  </a:cubicBezTo>
                  <a:cubicBezTo>
                    <a:pt x="699" y="1202"/>
                    <a:pt x="669" y="1210"/>
                    <a:pt x="676" y="1232"/>
                  </a:cubicBezTo>
                  <a:cubicBezTo>
                    <a:pt x="691" y="1240"/>
                    <a:pt x="713" y="1247"/>
                    <a:pt x="721" y="1262"/>
                  </a:cubicBezTo>
                  <a:cubicBezTo>
                    <a:pt x="765" y="1329"/>
                    <a:pt x="587" y="1344"/>
                    <a:pt x="594" y="1403"/>
                  </a:cubicBezTo>
                  <a:cubicBezTo>
                    <a:pt x="572" y="1418"/>
                    <a:pt x="535" y="1396"/>
                    <a:pt x="505" y="1410"/>
                  </a:cubicBezTo>
                  <a:cubicBezTo>
                    <a:pt x="476" y="1433"/>
                    <a:pt x="468" y="1455"/>
                    <a:pt x="454" y="1403"/>
                  </a:cubicBezTo>
                  <a:cubicBezTo>
                    <a:pt x="439" y="1403"/>
                    <a:pt x="431" y="1403"/>
                    <a:pt x="416" y="1403"/>
                  </a:cubicBezTo>
                  <a:cubicBezTo>
                    <a:pt x="416" y="1403"/>
                    <a:pt x="416" y="1403"/>
                    <a:pt x="424" y="1403"/>
                  </a:cubicBezTo>
                  <a:cubicBezTo>
                    <a:pt x="424" y="1418"/>
                    <a:pt x="424" y="1425"/>
                    <a:pt x="424" y="1440"/>
                  </a:cubicBezTo>
                  <a:cubicBezTo>
                    <a:pt x="386" y="1440"/>
                    <a:pt x="372" y="1433"/>
                    <a:pt x="342" y="1448"/>
                  </a:cubicBezTo>
                  <a:cubicBezTo>
                    <a:pt x="327" y="1455"/>
                    <a:pt x="312" y="1455"/>
                    <a:pt x="305" y="1470"/>
                  </a:cubicBezTo>
                  <a:cubicBezTo>
                    <a:pt x="290" y="1485"/>
                    <a:pt x="290" y="1500"/>
                    <a:pt x="275" y="1507"/>
                  </a:cubicBezTo>
                  <a:cubicBezTo>
                    <a:pt x="268" y="1515"/>
                    <a:pt x="253" y="1515"/>
                    <a:pt x="238" y="1507"/>
                  </a:cubicBezTo>
                  <a:cubicBezTo>
                    <a:pt x="208" y="1500"/>
                    <a:pt x="171" y="1492"/>
                    <a:pt x="141" y="1492"/>
                  </a:cubicBezTo>
                  <a:cubicBezTo>
                    <a:pt x="104" y="1492"/>
                    <a:pt x="67" y="1485"/>
                    <a:pt x="38" y="1485"/>
                  </a:cubicBezTo>
                  <a:cubicBezTo>
                    <a:pt x="30" y="1515"/>
                    <a:pt x="38" y="1567"/>
                    <a:pt x="0" y="1574"/>
                  </a:cubicBezTo>
                  <a:cubicBezTo>
                    <a:pt x="8" y="1589"/>
                    <a:pt x="23" y="1604"/>
                    <a:pt x="30" y="1618"/>
                  </a:cubicBezTo>
                  <a:cubicBezTo>
                    <a:pt x="38" y="1633"/>
                    <a:pt x="30" y="1656"/>
                    <a:pt x="38" y="1670"/>
                  </a:cubicBezTo>
                  <a:cubicBezTo>
                    <a:pt x="52" y="1685"/>
                    <a:pt x="75" y="1693"/>
                    <a:pt x="97" y="1700"/>
                  </a:cubicBezTo>
                  <a:cubicBezTo>
                    <a:pt x="127" y="1715"/>
                    <a:pt x="119" y="1722"/>
                    <a:pt x="134" y="1752"/>
                  </a:cubicBezTo>
                  <a:cubicBezTo>
                    <a:pt x="149" y="1722"/>
                    <a:pt x="164" y="1730"/>
                    <a:pt x="201" y="1730"/>
                  </a:cubicBezTo>
                  <a:cubicBezTo>
                    <a:pt x="231" y="1730"/>
                    <a:pt x="246" y="1715"/>
                    <a:pt x="268" y="1700"/>
                  </a:cubicBezTo>
                  <a:cubicBezTo>
                    <a:pt x="297" y="1685"/>
                    <a:pt x="297" y="1707"/>
                    <a:pt x="312" y="1730"/>
                  </a:cubicBezTo>
                  <a:cubicBezTo>
                    <a:pt x="327" y="1745"/>
                    <a:pt x="342" y="1767"/>
                    <a:pt x="357" y="1782"/>
                  </a:cubicBezTo>
                  <a:cubicBezTo>
                    <a:pt x="364" y="1789"/>
                    <a:pt x="379" y="1812"/>
                    <a:pt x="372" y="1819"/>
                  </a:cubicBezTo>
                  <a:cubicBezTo>
                    <a:pt x="372" y="1826"/>
                    <a:pt x="349" y="1826"/>
                    <a:pt x="349" y="1841"/>
                  </a:cubicBezTo>
                  <a:cubicBezTo>
                    <a:pt x="342" y="1849"/>
                    <a:pt x="349" y="1864"/>
                    <a:pt x="342" y="1871"/>
                  </a:cubicBezTo>
                  <a:cubicBezTo>
                    <a:pt x="335" y="1886"/>
                    <a:pt x="320" y="1878"/>
                    <a:pt x="312" y="1893"/>
                  </a:cubicBezTo>
                  <a:cubicBezTo>
                    <a:pt x="305" y="1901"/>
                    <a:pt x="297" y="1945"/>
                    <a:pt x="305" y="1953"/>
                  </a:cubicBezTo>
                  <a:cubicBezTo>
                    <a:pt x="312" y="1975"/>
                    <a:pt x="357" y="1997"/>
                    <a:pt x="372" y="2005"/>
                  </a:cubicBezTo>
                  <a:cubicBezTo>
                    <a:pt x="379" y="2049"/>
                    <a:pt x="409" y="2072"/>
                    <a:pt x="386" y="2116"/>
                  </a:cubicBezTo>
                  <a:cubicBezTo>
                    <a:pt x="379" y="2153"/>
                    <a:pt x="335" y="2153"/>
                    <a:pt x="305" y="2153"/>
                  </a:cubicBezTo>
                  <a:cubicBezTo>
                    <a:pt x="305" y="2146"/>
                    <a:pt x="305" y="2138"/>
                    <a:pt x="305" y="2138"/>
                  </a:cubicBezTo>
                  <a:cubicBezTo>
                    <a:pt x="297" y="2138"/>
                    <a:pt x="283" y="2131"/>
                    <a:pt x="268" y="2131"/>
                  </a:cubicBezTo>
                  <a:cubicBezTo>
                    <a:pt x="283" y="2146"/>
                    <a:pt x="297" y="2153"/>
                    <a:pt x="312" y="2153"/>
                  </a:cubicBezTo>
                  <a:cubicBezTo>
                    <a:pt x="342" y="2161"/>
                    <a:pt x="364" y="2161"/>
                    <a:pt x="386" y="2153"/>
                  </a:cubicBezTo>
                  <a:cubicBezTo>
                    <a:pt x="409" y="2146"/>
                    <a:pt x="424" y="2146"/>
                    <a:pt x="446" y="2138"/>
                  </a:cubicBezTo>
                  <a:cubicBezTo>
                    <a:pt x="461" y="2138"/>
                    <a:pt x="476" y="2131"/>
                    <a:pt x="491" y="2131"/>
                  </a:cubicBezTo>
                  <a:cubicBezTo>
                    <a:pt x="505" y="2131"/>
                    <a:pt x="513" y="2116"/>
                    <a:pt x="528" y="2116"/>
                  </a:cubicBezTo>
                  <a:cubicBezTo>
                    <a:pt x="543" y="2109"/>
                    <a:pt x="565" y="2109"/>
                    <a:pt x="580" y="2109"/>
                  </a:cubicBezTo>
                  <a:cubicBezTo>
                    <a:pt x="609" y="2101"/>
                    <a:pt x="632" y="2086"/>
                    <a:pt x="661" y="2072"/>
                  </a:cubicBezTo>
                  <a:cubicBezTo>
                    <a:pt x="669" y="2072"/>
                    <a:pt x="676" y="2057"/>
                    <a:pt x="684" y="2057"/>
                  </a:cubicBezTo>
                  <a:cubicBezTo>
                    <a:pt x="699" y="2057"/>
                    <a:pt x="706" y="2057"/>
                    <a:pt x="713" y="2057"/>
                  </a:cubicBezTo>
                  <a:cubicBezTo>
                    <a:pt x="736" y="2049"/>
                    <a:pt x="736" y="2027"/>
                    <a:pt x="758" y="2027"/>
                  </a:cubicBezTo>
                  <a:cubicBezTo>
                    <a:pt x="802" y="2027"/>
                    <a:pt x="840" y="2042"/>
                    <a:pt x="877" y="2049"/>
                  </a:cubicBezTo>
                  <a:cubicBezTo>
                    <a:pt x="899" y="2057"/>
                    <a:pt x="921" y="2064"/>
                    <a:pt x="944" y="2079"/>
                  </a:cubicBezTo>
                  <a:cubicBezTo>
                    <a:pt x="973" y="2094"/>
                    <a:pt x="996" y="2086"/>
                    <a:pt x="1025" y="2086"/>
                  </a:cubicBezTo>
                  <a:cubicBezTo>
                    <a:pt x="1048" y="2079"/>
                    <a:pt x="1077" y="2079"/>
                    <a:pt x="1092" y="2072"/>
                  </a:cubicBezTo>
                  <a:cubicBezTo>
                    <a:pt x="1122" y="2042"/>
                    <a:pt x="1159" y="2042"/>
                    <a:pt x="1203" y="2049"/>
                  </a:cubicBezTo>
                  <a:cubicBezTo>
                    <a:pt x="1218" y="2049"/>
                    <a:pt x="1241" y="2049"/>
                    <a:pt x="1256" y="2042"/>
                  </a:cubicBezTo>
                  <a:cubicBezTo>
                    <a:pt x="1270" y="2034"/>
                    <a:pt x="1270" y="2027"/>
                    <a:pt x="1285" y="2027"/>
                  </a:cubicBezTo>
                  <a:cubicBezTo>
                    <a:pt x="1293" y="2027"/>
                    <a:pt x="1300" y="2027"/>
                    <a:pt x="1307" y="2027"/>
                  </a:cubicBezTo>
                  <a:cubicBezTo>
                    <a:pt x="1330" y="2027"/>
                    <a:pt x="1352" y="2027"/>
                    <a:pt x="1367" y="2027"/>
                  </a:cubicBezTo>
                  <a:cubicBezTo>
                    <a:pt x="1389" y="2019"/>
                    <a:pt x="1404" y="2012"/>
                    <a:pt x="1419" y="1997"/>
                  </a:cubicBezTo>
                  <a:cubicBezTo>
                    <a:pt x="1426" y="1982"/>
                    <a:pt x="1434" y="1967"/>
                    <a:pt x="1441" y="1953"/>
                  </a:cubicBezTo>
                  <a:cubicBezTo>
                    <a:pt x="1456" y="1938"/>
                    <a:pt x="1463" y="1938"/>
                    <a:pt x="1486" y="1938"/>
                  </a:cubicBezTo>
                  <a:cubicBezTo>
                    <a:pt x="1486" y="1923"/>
                    <a:pt x="1478" y="1908"/>
                    <a:pt x="1486" y="1893"/>
                  </a:cubicBezTo>
                  <a:cubicBezTo>
                    <a:pt x="1486" y="1871"/>
                    <a:pt x="1493" y="1856"/>
                    <a:pt x="1501" y="1849"/>
                  </a:cubicBezTo>
                  <a:cubicBezTo>
                    <a:pt x="1523" y="1819"/>
                    <a:pt x="1538" y="1797"/>
                    <a:pt x="1560" y="1774"/>
                  </a:cubicBezTo>
                  <a:cubicBezTo>
                    <a:pt x="1567" y="1767"/>
                    <a:pt x="1575" y="1760"/>
                    <a:pt x="1582" y="1760"/>
                  </a:cubicBezTo>
                  <a:cubicBezTo>
                    <a:pt x="1582" y="1752"/>
                    <a:pt x="1590" y="1745"/>
                    <a:pt x="1597" y="1745"/>
                  </a:cubicBezTo>
                  <a:cubicBezTo>
                    <a:pt x="1604" y="1730"/>
                    <a:pt x="1619" y="1722"/>
                    <a:pt x="1634" y="1707"/>
                  </a:cubicBezTo>
                  <a:cubicBezTo>
                    <a:pt x="1642" y="1700"/>
                    <a:pt x="1656" y="1685"/>
                    <a:pt x="1664" y="1678"/>
                  </a:cubicBezTo>
                  <a:cubicBezTo>
                    <a:pt x="1679" y="1663"/>
                    <a:pt x="1686" y="1641"/>
                    <a:pt x="1701" y="1641"/>
                  </a:cubicBezTo>
                  <a:cubicBezTo>
                    <a:pt x="1701" y="1641"/>
                    <a:pt x="1701" y="1641"/>
                    <a:pt x="1708" y="1633"/>
                  </a:cubicBezTo>
                  <a:cubicBezTo>
                    <a:pt x="1708" y="1618"/>
                    <a:pt x="1708" y="1567"/>
                    <a:pt x="1693" y="1552"/>
                  </a:cubicBezTo>
                  <a:cubicBezTo>
                    <a:pt x="1686" y="1544"/>
                    <a:pt x="1679" y="1552"/>
                    <a:pt x="1679" y="1537"/>
                  </a:cubicBezTo>
                  <a:cubicBezTo>
                    <a:pt x="1679" y="1529"/>
                    <a:pt x="1679" y="1522"/>
                    <a:pt x="1686" y="1515"/>
                  </a:cubicBezTo>
                  <a:cubicBezTo>
                    <a:pt x="1701" y="1515"/>
                    <a:pt x="1731" y="1529"/>
                    <a:pt x="1738" y="1529"/>
                  </a:cubicBezTo>
                  <a:cubicBezTo>
                    <a:pt x="1753" y="1537"/>
                    <a:pt x="1775" y="1559"/>
                    <a:pt x="1790" y="1559"/>
                  </a:cubicBezTo>
                  <a:cubicBezTo>
                    <a:pt x="1812" y="1559"/>
                    <a:pt x="1827" y="1544"/>
                    <a:pt x="1842" y="1537"/>
                  </a:cubicBezTo>
                  <a:cubicBezTo>
                    <a:pt x="1857" y="1529"/>
                    <a:pt x="1887" y="1544"/>
                    <a:pt x="1887" y="1522"/>
                  </a:cubicBezTo>
                  <a:cubicBezTo>
                    <a:pt x="1909" y="1515"/>
                    <a:pt x="1924" y="1529"/>
                    <a:pt x="1946" y="1507"/>
                  </a:cubicBezTo>
                  <a:cubicBezTo>
                    <a:pt x="1961" y="1500"/>
                    <a:pt x="1983" y="1485"/>
                    <a:pt x="2005" y="1477"/>
                  </a:cubicBezTo>
                  <a:cubicBezTo>
                    <a:pt x="2020" y="1470"/>
                    <a:pt x="2035" y="1462"/>
                    <a:pt x="2050" y="1448"/>
                  </a:cubicBezTo>
                  <a:cubicBezTo>
                    <a:pt x="2058" y="1440"/>
                    <a:pt x="2065" y="1433"/>
                    <a:pt x="2080" y="1425"/>
                  </a:cubicBezTo>
                  <a:cubicBezTo>
                    <a:pt x="2080" y="1425"/>
                    <a:pt x="2095" y="1425"/>
                    <a:pt x="2095" y="1418"/>
                  </a:cubicBezTo>
                  <a:cubicBezTo>
                    <a:pt x="2102" y="1418"/>
                    <a:pt x="2102" y="1418"/>
                    <a:pt x="2109" y="1418"/>
                  </a:cubicBezTo>
                  <a:lnTo>
                    <a:pt x="2109" y="1410"/>
                  </a:lnTo>
                  <a:cubicBezTo>
                    <a:pt x="2124" y="1403"/>
                    <a:pt x="2117" y="1403"/>
                    <a:pt x="2132" y="1396"/>
                  </a:cubicBezTo>
                  <a:cubicBezTo>
                    <a:pt x="2139" y="1396"/>
                    <a:pt x="2154" y="1396"/>
                    <a:pt x="2161" y="1396"/>
                  </a:cubicBezTo>
                  <a:cubicBezTo>
                    <a:pt x="2169" y="1388"/>
                    <a:pt x="2169" y="1381"/>
                    <a:pt x="2184" y="1373"/>
                  </a:cubicBezTo>
                  <a:cubicBezTo>
                    <a:pt x="2191" y="1373"/>
                    <a:pt x="2191" y="1373"/>
                    <a:pt x="2206" y="1366"/>
                  </a:cubicBezTo>
                  <a:cubicBezTo>
                    <a:pt x="2221" y="1351"/>
                    <a:pt x="2236" y="1359"/>
                    <a:pt x="2258" y="1351"/>
                  </a:cubicBezTo>
                  <a:cubicBezTo>
                    <a:pt x="2265" y="1344"/>
                    <a:pt x="2273" y="1336"/>
                    <a:pt x="2280" y="1336"/>
                  </a:cubicBezTo>
                  <a:cubicBezTo>
                    <a:pt x="2288" y="1329"/>
                    <a:pt x="2303" y="1329"/>
                    <a:pt x="2310" y="1329"/>
                  </a:cubicBezTo>
                  <a:cubicBezTo>
                    <a:pt x="2317" y="1321"/>
                    <a:pt x="2325" y="1321"/>
                    <a:pt x="2332" y="1314"/>
                  </a:cubicBezTo>
                  <a:cubicBezTo>
                    <a:pt x="2340" y="1307"/>
                    <a:pt x="2340" y="1299"/>
                    <a:pt x="2355" y="1292"/>
                  </a:cubicBezTo>
                  <a:cubicBezTo>
                    <a:pt x="2362" y="1292"/>
                    <a:pt x="2369" y="1299"/>
                    <a:pt x="2377" y="1292"/>
                  </a:cubicBezTo>
                  <a:cubicBezTo>
                    <a:pt x="2384" y="1292"/>
                    <a:pt x="2384" y="1277"/>
                    <a:pt x="2392" y="1277"/>
                  </a:cubicBezTo>
                  <a:cubicBezTo>
                    <a:pt x="2406" y="1270"/>
                    <a:pt x="2429" y="1270"/>
                    <a:pt x="2444" y="1270"/>
                  </a:cubicBezTo>
                  <a:cubicBezTo>
                    <a:pt x="2458" y="1262"/>
                    <a:pt x="2488" y="1262"/>
                    <a:pt x="2503" y="1255"/>
                  </a:cubicBezTo>
                  <a:cubicBezTo>
                    <a:pt x="2518" y="1240"/>
                    <a:pt x="2525" y="1232"/>
                    <a:pt x="2548" y="1225"/>
                  </a:cubicBezTo>
                  <a:cubicBezTo>
                    <a:pt x="2570" y="1225"/>
                    <a:pt x="2570" y="1225"/>
                    <a:pt x="2592" y="1202"/>
                  </a:cubicBezTo>
                  <a:cubicBezTo>
                    <a:pt x="2607" y="1188"/>
                    <a:pt x="2622" y="1188"/>
                    <a:pt x="2644" y="1188"/>
                  </a:cubicBezTo>
                  <a:cubicBezTo>
                    <a:pt x="2666" y="1188"/>
                    <a:pt x="2681" y="1180"/>
                    <a:pt x="2703" y="1180"/>
                  </a:cubicBezTo>
                  <a:cubicBezTo>
                    <a:pt x="2726" y="1173"/>
                    <a:pt x="2793" y="1158"/>
                    <a:pt x="2807" y="1188"/>
                  </a:cubicBezTo>
                  <a:cubicBezTo>
                    <a:pt x="2815" y="1202"/>
                    <a:pt x="2793" y="1217"/>
                    <a:pt x="2785" y="1232"/>
                  </a:cubicBezTo>
                  <a:cubicBezTo>
                    <a:pt x="2778" y="1247"/>
                    <a:pt x="2770" y="1255"/>
                    <a:pt x="2755" y="1262"/>
                  </a:cubicBezTo>
                  <a:cubicBezTo>
                    <a:pt x="2748" y="1270"/>
                    <a:pt x="2733" y="1270"/>
                    <a:pt x="2726" y="1277"/>
                  </a:cubicBezTo>
                  <a:cubicBezTo>
                    <a:pt x="2718" y="1292"/>
                    <a:pt x="2718" y="1329"/>
                    <a:pt x="2718" y="1351"/>
                  </a:cubicBezTo>
                  <a:cubicBezTo>
                    <a:pt x="2718" y="1403"/>
                    <a:pt x="2718" y="1448"/>
                    <a:pt x="2770" y="1470"/>
                  </a:cubicBezTo>
                  <a:cubicBezTo>
                    <a:pt x="2770" y="1492"/>
                    <a:pt x="2770" y="1507"/>
                    <a:pt x="2778" y="1529"/>
                  </a:cubicBezTo>
                  <a:cubicBezTo>
                    <a:pt x="2785" y="1544"/>
                    <a:pt x="2793" y="1559"/>
                    <a:pt x="2793" y="1581"/>
                  </a:cubicBezTo>
                  <a:cubicBezTo>
                    <a:pt x="2807" y="1581"/>
                    <a:pt x="2822" y="1581"/>
                    <a:pt x="2837" y="1574"/>
                  </a:cubicBezTo>
                  <a:cubicBezTo>
                    <a:pt x="2845" y="1567"/>
                    <a:pt x="2845" y="1552"/>
                    <a:pt x="2860" y="1552"/>
                  </a:cubicBezTo>
                  <a:cubicBezTo>
                    <a:pt x="2882" y="1544"/>
                    <a:pt x="2874" y="1596"/>
                    <a:pt x="2874" y="1611"/>
                  </a:cubicBezTo>
                  <a:cubicBezTo>
                    <a:pt x="2867" y="1656"/>
                    <a:pt x="2822" y="1685"/>
                    <a:pt x="2778" y="1685"/>
                  </a:cubicBezTo>
                  <a:cubicBezTo>
                    <a:pt x="2770" y="1693"/>
                    <a:pt x="2741" y="1693"/>
                    <a:pt x="2726" y="1700"/>
                  </a:cubicBezTo>
                  <a:cubicBezTo>
                    <a:pt x="2711" y="1707"/>
                    <a:pt x="2696" y="1715"/>
                    <a:pt x="2689" y="1715"/>
                  </a:cubicBezTo>
                  <a:cubicBezTo>
                    <a:pt x="2666" y="1722"/>
                    <a:pt x="2600" y="1722"/>
                    <a:pt x="2592" y="1700"/>
                  </a:cubicBezTo>
                  <a:cubicBezTo>
                    <a:pt x="2562" y="1707"/>
                    <a:pt x="2548" y="1707"/>
                    <a:pt x="2540" y="1737"/>
                  </a:cubicBezTo>
                  <a:cubicBezTo>
                    <a:pt x="2540" y="1752"/>
                    <a:pt x="2540" y="1782"/>
                    <a:pt x="2540" y="1789"/>
                  </a:cubicBezTo>
                  <a:cubicBezTo>
                    <a:pt x="2533" y="1804"/>
                    <a:pt x="2503" y="1812"/>
                    <a:pt x="2488" y="1819"/>
                  </a:cubicBezTo>
                  <a:cubicBezTo>
                    <a:pt x="2481" y="1826"/>
                    <a:pt x="2458" y="1856"/>
                    <a:pt x="2444" y="1856"/>
                  </a:cubicBezTo>
                  <a:cubicBezTo>
                    <a:pt x="2444" y="1864"/>
                    <a:pt x="2451" y="1864"/>
                    <a:pt x="2458" y="1864"/>
                  </a:cubicBezTo>
                  <a:cubicBezTo>
                    <a:pt x="2444" y="1871"/>
                    <a:pt x="2429" y="1878"/>
                    <a:pt x="2429" y="1886"/>
                  </a:cubicBezTo>
                  <a:cubicBezTo>
                    <a:pt x="2414" y="1886"/>
                    <a:pt x="2392" y="1878"/>
                    <a:pt x="2377" y="1886"/>
                  </a:cubicBezTo>
                  <a:cubicBezTo>
                    <a:pt x="2362" y="1893"/>
                    <a:pt x="2362" y="1901"/>
                    <a:pt x="2355" y="1908"/>
                  </a:cubicBezTo>
                  <a:cubicBezTo>
                    <a:pt x="2340" y="1923"/>
                    <a:pt x="2325" y="1930"/>
                    <a:pt x="2310" y="1945"/>
                  </a:cubicBezTo>
                  <a:cubicBezTo>
                    <a:pt x="2303" y="1953"/>
                    <a:pt x="2295" y="1967"/>
                    <a:pt x="2280" y="1975"/>
                  </a:cubicBezTo>
                  <a:cubicBezTo>
                    <a:pt x="2273" y="1975"/>
                    <a:pt x="2258" y="1975"/>
                    <a:pt x="2243" y="1975"/>
                  </a:cubicBezTo>
                  <a:cubicBezTo>
                    <a:pt x="2228" y="1982"/>
                    <a:pt x="2198" y="1982"/>
                    <a:pt x="2184" y="1990"/>
                  </a:cubicBezTo>
                  <a:cubicBezTo>
                    <a:pt x="2176" y="2005"/>
                    <a:pt x="2176" y="2019"/>
                    <a:pt x="2176" y="2042"/>
                  </a:cubicBezTo>
                  <a:cubicBezTo>
                    <a:pt x="2154" y="2042"/>
                    <a:pt x="2139" y="2072"/>
                    <a:pt x="2132" y="2086"/>
                  </a:cubicBezTo>
                  <a:cubicBezTo>
                    <a:pt x="2124" y="2101"/>
                    <a:pt x="2102" y="2116"/>
                    <a:pt x="2087" y="2123"/>
                  </a:cubicBezTo>
                  <a:cubicBezTo>
                    <a:pt x="2020" y="2161"/>
                    <a:pt x="1931" y="2175"/>
                    <a:pt x="1901" y="2250"/>
                  </a:cubicBezTo>
                  <a:cubicBezTo>
                    <a:pt x="1894" y="2272"/>
                    <a:pt x="1894" y="2287"/>
                    <a:pt x="1894" y="2309"/>
                  </a:cubicBezTo>
                  <a:cubicBezTo>
                    <a:pt x="1887" y="2324"/>
                    <a:pt x="1864" y="2339"/>
                    <a:pt x="1850" y="2354"/>
                  </a:cubicBezTo>
                  <a:cubicBezTo>
                    <a:pt x="1842" y="2361"/>
                    <a:pt x="1842" y="2361"/>
                    <a:pt x="1835" y="2369"/>
                  </a:cubicBezTo>
                  <a:cubicBezTo>
                    <a:pt x="1820" y="2369"/>
                    <a:pt x="1812" y="2369"/>
                    <a:pt x="1812" y="2354"/>
                  </a:cubicBezTo>
                  <a:cubicBezTo>
                    <a:pt x="1805" y="2339"/>
                    <a:pt x="1812" y="2317"/>
                    <a:pt x="1812" y="2302"/>
                  </a:cubicBezTo>
                  <a:cubicBezTo>
                    <a:pt x="1798" y="2302"/>
                    <a:pt x="1775" y="2302"/>
                    <a:pt x="1768" y="2309"/>
                  </a:cubicBezTo>
                  <a:cubicBezTo>
                    <a:pt x="1738" y="2346"/>
                    <a:pt x="1753" y="2398"/>
                    <a:pt x="1731" y="2435"/>
                  </a:cubicBezTo>
                  <a:cubicBezTo>
                    <a:pt x="1716" y="2458"/>
                    <a:pt x="1693" y="2458"/>
                    <a:pt x="1679" y="2472"/>
                  </a:cubicBezTo>
                  <a:cubicBezTo>
                    <a:pt x="1679" y="2480"/>
                    <a:pt x="1612" y="2591"/>
                    <a:pt x="1612" y="2584"/>
                  </a:cubicBezTo>
                  <a:cubicBezTo>
                    <a:pt x="1627" y="2621"/>
                    <a:pt x="1656" y="2614"/>
                    <a:pt x="1619" y="2658"/>
                  </a:cubicBezTo>
                  <a:cubicBezTo>
                    <a:pt x="1597" y="2680"/>
                    <a:pt x="1590" y="2680"/>
                    <a:pt x="1604" y="2717"/>
                  </a:cubicBezTo>
                  <a:cubicBezTo>
                    <a:pt x="1619" y="2769"/>
                    <a:pt x="1597" y="2821"/>
                    <a:pt x="1538" y="2829"/>
                  </a:cubicBezTo>
                  <a:cubicBezTo>
                    <a:pt x="1515" y="2829"/>
                    <a:pt x="1501" y="2829"/>
                    <a:pt x="1486" y="2799"/>
                  </a:cubicBezTo>
                  <a:cubicBezTo>
                    <a:pt x="1478" y="2784"/>
                    <a:pt x="1463" y="2755"/>
                    <a:pt x="1486" y="2747"/>
                  </a:cubicBezTo>
                  <a:cubicBezTo>
                    <a:pt x="1456" y="2762"/>
                    <a:pt x="1434" y="2762"/>
                    <a:pt x="1404" y="2769"/>
                  </a:cubicBezTo>
                  <a:cubicBezTo>
                    <a:pt x="1404" y="2792"/>
                    <a:pt x="1404" y="2807"/>
                    <a:pt x="1426" y="2821"/>
                  </a:cubicBezTo>
                  <a:cubicBezTo>
                    <a:pt x="1411" y="2859"/>
                    <a:pt x="1352" y="2859"/>
                    <a:pt x="1322" y="2896"/>
                  </a:cubicBezTo>
                  <a:cubicBezTo>
                    <a:pt x="1307" y="2918"/>
                    <a:pt x="1322" y="2933"/>
                    <a:pt x="1315" y="2955"/>
                  </a:cubicBezTo>
                  <a:cubicBezTo>
                    <a:pt x="1307" y="2970"/>
                    <a:pt x="1285" y="2963"/>
                    <a:pt x="1285" y="2992"/>
                  </a:cubicBezTo>
                  <a:cubicBezTo>
                    <a:pt x="1263" y="3000"/>
                    <a:pt x="1218" y="3014"/>
                    <a:pt x="1211" y="3037"/>
                  </a:cubicBezTo>
                  <a:cubicBezTo>
                    <a:pt x="1196" y="3059"/>
                    <a:pt x="1211" y="3044"/>
                    <a:pt x="1218" y="3059"/>
                  </a:cubicBezTo>
                  <a:cubicBezTo>
                    <a:pt x="1218" y="3066"/>
                    <a:pt x="1233" y="3089"/>
                    <a:pt x="1241" y="3096"/>
                  </a:cubicBezTo>
                  <a:cubicBezTo>
                    <a:pt x="1278" y="3119"/>
                    <a:pt x="1300" y="3081"/>
                    <a:pt x="1293" y="3148"/>
                  </a:cubicBezTo>
                  <a:cubicBezTo>
                    <a:pt x="1293" y="3178"/>
                    <a:pt x="1293" y="3208"/>
                    <a:pt x="1300" y="3230"/>
                  </a:cubicBezTo>
                  <a:cubicBezTo>
                    <a:pt x="1322" y="3230"/>
                    <a:pt x="1344" y="3237"/>
                    <a:pt x="1344" y="3245"/>
                  </a:cubicBezTo>
                  <a:cubicBezTo>
                    <a:pt x="1374" y="3252"/>
                    <a:pt x="1396" y="3267"/>
                    <a:pt x="1419" y="3282"/>
                  </a:cubicBezTo>
                  <a:cubicBezTo>
                    <a:pt x="1434" y="3245"/>
                    <a:pt x="1441" y="3215"/>
                    <a:pt x="1471" y="3193"/>
                  </a:cubicBezTo>
                  <a:cubicBezTo>
                    <a:pt x="1486" y="3178"/>
                    <a:pt x="1493" y="3163"/>
                    <a:pt x="1508" y="3148"/>
                  </a:cubicBezTo>
                  <a:cubicBezTo>
                    <a:pt x="1523" y="3119"/>
                    <a:pt x="1515" y="3096"/>
                    <a:pt x="1486" y="3089"/>
                  </a:cubicBezTo>
                  <a:cubicBezTo>
                    <a:pt x="1493" y="3066"/>
                    <a:pt x="1530" y="3066"/>
                    <a:pt x="1553" y="3059"/>
                  </a:cubicBezTo>
                  <a:cubicBezTo>
                    <a:pt x="1575" y="3044"/>
                    <a:pt x="1597" y="3044"/>
                    <a:pt x="1627" y="3044"/>
                  </a:cubicBezTo>
                  <a:cubicBezTo>
                    <a:pt x="1649" y="3044"/>
                    <a:pt x="1671" y="3044"/>
                    <a:pt x="1693" y="3052"/>
                  </a:cubicBezTo>
                  <a:cubicBezTo>
                    <a:pt x="1708" y="3052"/>
                    <a:pt x="1708" y="3059"/>
                    <a:pt x="1723" y="3059"/>
                  </a:cubicBezTo>
                  <a:cubicBezTo>
                    <a:pt x="1731" y="3059"/>
                    <a:pt x="1746" y="3044"/>
                    <a:pt x="1753" y="3044"/>
                  </a:cubicBezTo>
                  <a:cubicBezTo>
                    <a:pt x="1768" y="3044"/>
                    <a:pt x="1760" y="3059"/>
                    <a:pt x="1775" y="3059"/>
                  </a:cubicBezTo>
                  <a:cubicBezTo>
                    <a:pt x="1790" y="3059"/>
                    <a:pt x="1798" y="3059"/>
                    <a:pt x="1805" y="3052"/>
                  </a:cubicBezTo>
                  <a:cubicBezTo>
                    <a:pt x="1827" y="3044"/>
                    <a:pt x="1842" y="3037"/>
                    <a:pt x="1872" y="3037"/>
                  </a:cubicBezTo>
                  <a:cubicBezTo>
                    <a:pt x="1887" y="3037"/>
                    <a:pt x="1916" y="3037"/>
                    <a:pt x="1931" y="3029"/>
                  </a:cubicBezTo>
                  <a:cubicBezTo>
                    <a:pt x="1946" y="3014"/>
                    <a:pt x="1938" y="3007"/>
                    <a:pt x="1938" y="2992"/>
                  </a:cubicBezTo>
                  <a:cubicBezTo>
                    <a:pt x="1946" y="2985"/>
                    <a:pt x="1953" y="2977"/>
                    <a:pt x="1953" y="2970"/>
                  </a:cubicBezTo>
                  <a:cubicBezTo>
                    <a:pt x="1961" y="2963"/>
                    <a:pt x="1998" y="2911"/>
                    <a:pt x="2005" y="2911"/>
                  </a:cubicBezTo>
                  <a:cubicBezTo>
                    <a:pt x="2013" y="2918"/>
                    <a:pt x="2013" y="2925"/>
                    <a:pt x="2028" y="2925"/>
                  </a:cubicBezTo>
                  <a:cubicBezTo>
                    <a:pt x="2028" y="2970"/>
                    <a:pt x="2020" y="3007"/>
                    <a:pt x="2020" y="3052"/>
                  </a:cubicBezTo>
                  <a:cubicBezTo>
                    <a:pt x="2058" y="3052"/>
                    <a:pt x="2095" y="3074"/>
                    <a:pt x="2132" y="3074"/>
                  </a:cubicBezTo>
                  <a:cubicBezTo>
                    <a:pt x="2132" y="3044"/>
                    <a:pt x="2132" y="2992"/>
                    <a:pt x="2139" y="3000"/>
                  </a:cubicBezTo>
                  <a:cubicBezTo>
                    <a:pt x="2161" y="2985"/>
                    <a:pt x="2176" y="2992"/>
                    <a:pt x="2191" y="2985"/>
                  </a:cubicBezTo>
                  <a:cubicBezTo>
                    <a:pt x="2213" y="2977"/>
                    <a:pt x="2206" y="2970"/>
                    <a:pt x="2213" y="2955"/>
                  </a:cubicBezTo>
                  <a:cubicBezTo>
                    <a:pt x="2221" y="2933"/>
                    <a:pt x="2243" y="2925"/>
                    <a:pt x="2258" y="2918"/>
                  </a:cubicBezTo>
                  <a:cubicBezTo>
                    <a:pt x="2265" y="2911"/>
                    <a:pt x="2265" y="2911"/>
                    <a:pt x="2273" y="2903"/>
                  </a:cubicBezTo>
                  <a:cubicBezTo>
                    <a:pt x="2273" y="2896"/>
                    <a:pt x="2273" y="2881"/>
                    <a:pt x="2273" y="2874"/>
                  </a:cubicBezTo>
                  <a:cubicBezTo>
                    <a:pt x="2288" y="2866"/>
                    <a:pt x="2288" y="2859"/>
                    <a:pt x="2288" y="2844"/>
                  </a:cubicBezTo>
                  <a:cubicBezTo>
                    <a:pt x="2295" y="2821"/>
                    <a:pt x="2303" y="2814"/>
                    <a:pt x="2317" y="2799"/>
                  </a:cubicBezTo>
                  <a:cubicBezTo>
                    <a:pt x="2340" y="2777"/>
                    <a:pt x="2369" y="2777"/>
                    <a:pt x="2362" y="2740"/>
                  </a:cubicBezTo>
                  <a:cubicBezTo>
                    <a:pt x="2362" y="2703"/>
                    <a:pt x="2332" y="2688"/>
                    <a:pt x="2347" y="2651"/>
                  </a:cubicBezTo>
                  <a:cubicBezTo>
                    <a:pt x="2355" y="2628"/>
                    <a:pt x="2377" y="2614"/>
                    <a:pt x="2392" y="2599"/>
                  </a:cubicBezTo>
                  <a:cubicBezTo>
                    <a:pt x="2414" y="2576"/>
                    <a:pt x="2414" y="2547"/>
                    <a:pt x="2414" y="2517"/>
                  </a:cubicBezTo>
                  <a:cubicBezTo>
                    <a:pt x="2384" y="2524"/>
                    <a:pt x="2392" y="2487"/>
                    <a:pt x="2392" y="2472"/>
                  </a:cubicBezTo>
                  <a:cubicBezTo>
                    <a:pt x="2392" y="2458"/>
                    <a:pt x="2392" y="2450"/>
                    <a:pt x="2384" y="2435"/>
                  </a:cubicBezTo>
                  <a:cubicBezTo>
                    <a:pt x="2377" y="2420"/>
                    <a:pt x="2377" y="2420"/>
                    <a:pt x="2369" y="2406"/>
                  </a:cubicBezTo>
                  <a:cubicBezTo>
                    <a:pt x="2369" y="2376"/>
                    <a:pt x="2355" y="2369"/>
                    <a:pt x="2347" y="2346"/>
                  </a:cubicBezTo>
                  <a:cubicBezTo>
                    <a:pt x="2347" y="2294"/>
                    <a:pt x="2347" y="2279"/>
                    <a:pt x="2377" y="2235"/>
                  </a:cubicBezTo>
                  <a:cubicBezTo>
                    <a:pt x="2384" y="2227"/>
                    <a:pt x="2384" y="2212"/>
                    <a:pt x="2392" y="2205"/>
                  </a:cubicBezTo>
                  <a:cubicBezTo>
                    <a:pt x="2406" y="2183"/>
                    <a:pt x="2421" y="2168"/>
                    <a:pt x="2436" y="2146"/>
                  </a:cubicBezTo>
                  <a:cubicBezTo>
                    <a:pt x="2458" y="2131"/>
                    <a:pt x="2473" y="2116"/>
                    <a:pt x="2495" y="2109"/>
                  </a:cubicBezTo>
                  <a:cubicBezTo>
                    <a:pt x="2510" y="2109"/>
                    <a:pt x="2533" y="2116"/>
                    <a:pt x="2548" y="2109"/>
                  </a:cubicBezTo>
                  <a:cubicBezTo>
                    <a:pt x="2548" y="2064"/>
                    <a:pt x="2592" y="2042"/>
                    <a:pt x="2607" y="2005"/>
                  </a:cubicBezTo>
                  <a:cubicBezTo>
                    <a:pt x="2622" y="1982"/>
                    <a:pt x="2644" y="1967"/>
                    <a:pt x="2666" y="1960"/>
                  </a:cubicBezTo>
                  <a:cubicBezTo>
                    <a:pt x="2681" y="1960"/>
                    <a:pt x="2681" y="1960"/>
                    <a:pt x="2703" y="1953"/>
                  </a:cubicBezTo>
                  <a:cubicBezTo>
                    <a:pt x="2711" y="1945"/>
                    <a:pt x="2718" y="1945"/>
                    <a:pt x="2726" y="1938"/>
                  </a:cubicBezTo>
                  <a:cubicBezTo>
                    <a:pt x="2770" y="1901"/>
                    <a:pt x="2778" y="1834"/>
                    <a:pt x="2837" y="1834"/>
                  </a:cubicBezTo>
                  <a:cubicBezTo>
                    <a:pt x="2874" y="1834"/>
                    <a:pt x="2882" y="1812"/>
                    <a:pt x="2897" y="1782"/>
                  </a:cubicBezTo>
                  <a:cubicBezTo>
                    <a:pt x="2911" y="1737"/>
                    <a:pt x="2956" y="1670"/>
                    <a:pt x="3000" y="1641"/>
                  </a:cubicBezTo>
                  <a:cubicBezTo>
                    <a:pt x="3015" y="1633"/>
                    <a:pt x="3038" y="1633"/>
                    <a:pt x="3052" y="1626"/>
                  </a:cubicBezTo>
                  <a:cubicBezTo>
                    <a:pt x="3067" y="1618"/>
                    <a:pt x="3090" y="1611"/>
                    <a:pt x="3112" y="1604"/>
                  </a:cubicBezTo>
                  <a:cubicBezTo>
                    <a:pt x="3119" y="1604"/>
                    <a:pt x="3142" y="1611"/>
                    <a:pt x="3149" y="1604"/>
                  </a:cubicBezTo>
                  <a:cubicBezTo>
                    <a:pt x="3164" y="1604"/>
                    <a:pt x="3171" y="1589"/>
                    <a:pt x="3186" y="1581"/>
                  </a:cubicBezTo>
                  <a:cubicBezTo>
                    <a:pt x="3208" y="1574"/>
                    <a:pt x="3238" y="1574"/>
                    <a:pt x="3260" y="1567"/>
                  </a:cubicBezTo>
                  <a:cubicBezTo>
                    <a:pt x="3283" y="1559"/>
                    <a:pt x="3275" y="1529"/>
                    <a:pt x="3297" y="1515"/>
                  </a:cubicBezTo>
                  <a:cubicBezTo>
                    <a:pt x="3297" y="1522"/>
                    <a:pt x="3312" y="1537"/>
                    <a:pt x="3327" y="1544"/>
                  </a:cubicBezTo>
                  <a:cubicBezTo>
                    <a:pt x="3350" y="1544"/>
                    <a:pt x="3335" y="1537"/>
                    <a:pt x="3357" y="1522"/>
                  </a:cubicBezTo>
                  <a:cubicBezTo>
                    <a:pt x="3372" y="1515"/>
                    <a:pt x="3402" y="1515"/>
                    <a:pt x="3416" y="1522"/>
                  </a:cubicBezTo>
                  <a:cubicBezTo>
                    <a:pt x="3431" y="1529"/>
                    <a:pt x="3431" y="1544"/>
                    <a:pt x="3439" y="1544"/>
                  </a:cubicBezTo>
                  <a:cubicBezTo>
                    <a:pt x="3446" y="1552"/>
                    <a:pt x="3461" y="1552"/>
                    <a:pt x="3468" y="1567"/>
                  </a:cubicBezTo>
                  <a:cubicBezTo>
                    <a:pt x="3483" y="1581"/>
                    <a:pt x="3476" y="1611"/>
                    <a:pt x="3483" y="1626"/>
                  </a:cubicBezTo>
                  <a:cubicBezTo>
                    <a:pt x="3520" y="1633"/>
                    <a:pt x="3550" y="1648"/>
                    <a:pt x="3580" y="1670"/>
                  </a:cubicBezTo>
                  <a:cubicBezTo>
                    <a:pt x="3595" y="1670"/>
                    <a:pt x="3617" y="1693"/>
                    <a:pt x="3632" y="1693"/>
                  </a:cubicBezTo>
                  <a:cubicBezTo>
                    <a:pt x="3647" y="1685"/>
                    <a:pt x="3654" y="1663"/>
                    <a:pt x="3669" y="1656"/>
                  </a:cubicBezTo>
                  <a:cubicBezTo>
                    <a:pt x="3669" y="1633"/>
                    <a:pt x="3632" y="1596"/>
                    <a:pt x="3617" y="1574"/>
                  </a:cubicBezTo>
                  <a:cubicBezTo>
                    <a:pt x="3602" y="1559"/>
                    <a:pt x="3595" y="1552"/>
                    <a:pt x="3587" y="1537"/>
                  </a:cubicBezTo>
                  <a:cubicBezTo>
                    <a:pt x="3580" y="1537"/>
                    <a:pt x="3557" y="1515"/>
                    <a:pt x="3557" y="1515"/>
                  </a:cubicBezTo>
                  <a:cubicBezTo>
                    <a:pt x="3550" y="1500"/>
                    <a:pt x="3535" y="1500"/>
                    <a:pt x="3535" y="1485"/>
                  </a:cubicBezTo>
                  <a:cubicBezTo>
                    <a:pt x="3528" y="1477"/>
                    <a:pt x="3528" y="1462"/>
                    <a:pt x="3520" y="1455"/>
                  </a:cubicBezTo>
                  <a:cubicBezTo>
                    <a:pt x="3513" y="1455"/>
                    <a:pt x="3491" y="1455"/>
                    <a:pt x="3491" y="1448"/>
                  </a:cubicBezTo>
                  <a:cubicBezTo>
                    <a:pt x="3483" y="1425"/>
                    <a:pt x="3439" y="1284"/>
                    <a:pt x="3491" y="1284"/>
                  </a:cubicBezTo>
                  <a:cubicBezTo>
                    <a:pt x="3505" y="1270"/>
                    <a:pt x="3520" y="1240"/>
                    <a:pt x="3535" y="1240"/>
                  </a:cubicBezTo>
                  <a:cubicBezTo>
                    <a:pt x="3557" y="1202"/>
                    <a:pt x="3639" y="1165"/>
                    <a:pt x="3632" y="1113"/>
                  </a:cubicBezTo>
                  <a:cubicBezTo>
                    <a:pt x="3647" y="1099"/>
                    <a:pt x="3662" y="1084"/>
                    <a:pt x="3691" y="1084"/>
                  </a:cubicBezTo>
                  <a:cubicBezTo>
                    <a:pt x="3713" y="1084"/>
                    <a:pt x="3736" y="1091"/>
                    <a:pt x="3758" y="1091"/>
                  </a:cubicBezTo>
                  <a:cubicBezTo>
                    <a:pt x="3758" y="1062"/>
                    <a:pt x="3751" y="1017"/>
                    <a:pt x="3765" y="995"/>
                  </a:cubicBezTo>
                  <a:cubicBezTo>
                    <a:pt x="3765" y="995"/>
                    <a:pt x="3765" y="995"/>
                    <a:pt x="3773" y="995"/>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6" name="Freeform 23">
              <a:extLst>
                <a:ext uri="{FF2B5EF4-FFF2-40B4-BE49-F238E27FC236}">
                  <a16:creationId xmlns:a16="http://schemas.microsoft.com/office/drawing/2014/main" id="{FD2208A2-0500-0048-9C62-D48445C81F8B}"/>
                </a:ext>
              </a:extLst>
            </p:cNvPr>
            <p:cNvSpPr>
              <a:spLocks noChangeArrowheads="1"/>
            </p:cNvSpPr>
            <p:nvPr/>
          </p:nvSpPr>
          <p:spPr bwMode="auto">
            <a:xfrm>
              <a:off x="14375370" y="6491918"/>
              <a:ext cx="867396" cy="304815"/>
            </a:xfrm>
            <a:custGeom>
              <a:avLst/>
              <a:gdLst>
                <a:gd name="T0" fmla="*/ 1953 w 2006"/>
                <a:gd name="T1" fmla="*/ 602 h 707"/>
                <a:gd name="T2" fmla="*/ 1997 w 2006"/>
                <a:gd name="T3" fmla="*/ 505 h 707"/>
                <a:gd name="T4" fmla="*/ 1916 w 2006"/>
                <a:gd name="T5" fmla="*/ 312 h 707"/>
                <a:gd name="T6" fmla="*/ 1767 w 2006"/>
                <a:gd name="T7" fmla="*/ 230 h 707"/>
                <a:gd name="T8" fmla="*/ 1589 w 2006"/>
                <a:gd name="T9" fmla="*/ 275 h 707"/>
                <a:gd name="T10" fmla="*/ 1567 w 2006"/>
                <a:gd name="T11" fmla="*/ 104 h 707"/>
                <a:gd name="T12" fmla="*/ 1641 w 2006"/>
                <a:gd name="T13" fmla="*/ 22 h 707"/>
                <a:gd name="T14" fmla="*/ 1477 w 2006"/>
                <a:gd name="T15" fmla="*/ 30 h 707"/>
                <a:gd name="T16" fmla="*/ 1307 w 2006"/>
                <a:gd name="T17" fmla="*/ 89 h 707"/>
                <a:gd name="T18" fmla="*/ 1247 w 2006"/>
                <a:gd name="T19" fmla="*/ 89 h 707"/>
                <a:gd name="T20" fmla="*/ 1136 w 2006"/>
                <a:gd name="T21" fmla="*/ 134 h 707"/>
                <a:gd name="T22" fmla="*/ 1047 w 2006"/>
                <a:gd name="T23" fmla="*/ 230 h 707"/>
                <a:gd name="T24" fmla="*/ 987 w 2006"/>
                <a:gd name="T25" fmla="*/ 290 h 707"/>
                <a:gd name="T26" fmla="*/ 935 w 2006"/>
                <a:gd name="T27" fmla="*/ 193 h 707"/>
                <a:gd name="T28" fmla="*/ 854 w 2006"/>
                <a:gd name="T29" fmla="*/ 230 h 707"/>
                <a:gd name="T30" fmla="*/ 742 w 2006"/>
                <a:gd name="T31" fmla="*/ 156 h 707"/>
                <a:gd name="T32" fmla="*/ 594 w 2006"/>
                <a:gd name="T33" fmla="*/ 149 h 707"/>
                <a:gd name="T34" fmla="*/ 445 w 2006"/>
                <a:gd name="T35" fmla="*/ 119 h 707"/>
                <a:gd name="T36" fmla="*/ 297 w 2006"/>
                <a:gd name="T37" fmla="*/ 127 h 707"/>
                <a:gd name="T38" fmla="*/ 96 w 2006"/>
                <a:gd name="T39" fmla="*/ 193 h 707"/>
                <a:gd name="T40" fmla="*/ 37 w 2006"/>
                <a:gd name="T41" fmla="*/ 297 h 707"/>
                <a:gd name="T42" fmla="*/ 74 w 2006"/>
                <a:gd name="T43" fmla="*/ 409 h 707"/>
                <a:gd name="T44" fmla="*/ 22 w 2006"/>
                <a:gd name="T45" fmla="*/ 542 h 707"/>
                <a:gd name="T46" fmla="*/ 230 w 2006"/>
                <a:gd name="T47" fmla="*/ 602 h 707"/>
                <a:gd name="T48" fmla="*/ 408 w 2006"/>
                <a:gd name="T49" fmla="*/ 646 h 707"/>
                <a:gd name="T50" fmla="*/ 787 w 2006"/>
                <a:gd name="T51" fmla="*/ 639 h 707"/>
                <a:gd name="T52" fmla="*/ 950 w 2006"/>
                <a:gd name="T53" fmla="*/ 654 h 707"/>
                <a:gd name="T54" fmla="*/ 1128 w 2006"/>
                <a:gd name="T55" fmla="*/ 661 h 707"/>
                <a:gd name="T56" fmla="*/ 1203 w 2006"/>
                <a:gd name="T57" fmla="*/ 661 h 707"/>
                <a:gd name="T58" fmla="*/ 1307 w 2006"/>
                <a:gd name="T59" fmla="*/ 661 h 707"/>
                <a:gd name="T60" fmla="*/ 1381 w 2006"/>
                <a:gd name="T61" fmla="*/ 631 h 707"/>
                <a:gd name="T62" fmla="*/ 1685 w 2006"/>
                <a:gd name="T63" fmla="*/ 698 h 707"/>
                <a:gd name="T64" fmla="*/ 1782 w 2006"/>
                <a:gd name="T65" fmla="*/ 706 h 707"/>
                <a:gd name="T66" fmla="*/ 1953 w 2006"/>
                <a:gd name="T67" fmla="*/ 602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6" h="707">
                  <a:moveTo>
                    <a:pt x="1953" y="602"/>
                  </a:moveTo>
                  <a:lnTo>
                    <a:pt x="1953" y="602"/>
                  </a:lnTo>
                  <a:cubicBezTo>
                    <a:pt x="1968" y="594"/>
                    <a:pt x="1982" y="587"/>
                    <a:pt x="1997" y="579"/>
                  </a:cubicBezTo>
                  <a:cubicBezTo>
                    <a:pt x="2005" y="557"/>
                    <a:pt x="2005" y="527"/>
                    <a:pt x="1997" y="505"/>
                  </a:cubicBezTo>
                  <a:cubicBezTo>
                    <a:pt x="1968" y="468"/>
                    <a:pt x="1901" y="468"/>
                    <a:pt x="1886" y="416"/>
                  </a:cubicBezTo>
                  <a:cubicBezTo>
                    <a:pt x="1886" y="401"/>
                    <a:pt x="1886" y="319"/>
                    <a:pt x="1916" y="312"/>
                  </a:cubicBezTo>
                  <a:cubicBezTo>
                    <a:pt x="1893" y="312"/>
                    <a:pt x="1849" y="305"/>
                    <a:pt x="1834" y="297"/>
                  </a:cubicBezTo>
                  <a:cubicBezTo>
                    <a:pt x="1797" y="282"/>
                    <a:pt x="1804" y="245"/>
                    <a:pt x="1767" y="230"/>
                  </a:cubicBezTo>
                  <a:cubicBezTo>
                    <a:pt x="1737" y="223"/>
                    <a:pt x="1700" y="238"/>
                    <a:pt x="1671" y="245"/>
                  </a:cubicBezTo>
                  <a:cubicBezTo>
                    <a:pt x="1641" y="253"/>
                    <a:pt x="1626" y="282"/>
                    <a:pt x="1589" y="275"/>
                  </a:cubicBezTo>
                  <a:cubicBezTo>
                    <a:pt x="1589" y="238"/>
                    <a:pt x="1589" y="208"/>
                    <a:pt x="1596" y="178"/>
                  </a:cubicBezTo>
                  <a:cubicBezTo>
                    <a:pt x="1604" y="141"/>
                    <a:pt x="1611" y="112"/>
                    <a:pt x="1567" y="104"/>
                  </a:cubicBezTo>
                  <a:cubicBezTo>
                    <a:pt x="1567" y="89"/>
                    <a:pt x="1589" y="60"/>
                    <a:pt x="1596" y="52"/>
                  </a:cubicBezTo>
                  <a:cubicBezTo>
                    <a:pt x="1619" y="45"/>
                    <a:pt x="1648" y="45"/>
                    <a:pt x="1641" y="22"/>
                  </a:cubicBezTo>
                  <a:cubicBezTo>
                    <a:pt x="1611" y="22"/>
                    <a:pt x="1582" y="30"/>
                    <a:pt x="1552" y="30"/>
                  </a:cubicBezTo>
                  <a:cubicBezTo>
                    <a:pt x="1522" y="30"/>
                    <a:pt x="1500" y="30"/>
                    <a:pt x="1477" y="30"/>
                  </a:cubicBezTo>
                  <a:cubicBezTo>
                    <a:pt x="1440" y="82"/>
                    <a:pt x="1374" y="0"/>
                    <a:pt x="1329" y="22"/>
                  </a:cubicBezTo>
                  <a:cubicBezTo>
                    <a:pt x="1292" y="45"/>
                    <a:pt x="1314" y="67"/>
                    <a:pt x="1307" y="89"/>
                  </a:cubicBezTo>
                  <a:cubicBezTo>
                    <a:pt x="1299" y="119"/>
                    <a:pt x="1284" y="119"/>
                    <a:pt x="1284" y="156"/>
                  </a:cubicBezTo>
                  <a:cubicBezTo>
                    <a:pt x="1255" y="141"/>
                    <a:pt x="1262" y="104"/>
                    <a:pt x="1247" y="89"/>
                  </a:cubicBezTo>
                  <a:cubicBezTo>
                    <a:pt x="1225" y="74"/>
                    <a:pt x="1203" y="74"/>
                    <a:pt x="1180" y="74"/>
                  </a:cubicBezTo>
                  <a:cubicBezTo>
                    <a:pt x="1180" y="104"/>
                    <a:pt x="1136" y="97"/>
                    <a:pt x="1136" y="134"/>
                  </a:cubicBezTo>
                  <a:cubicBezTo>
                    <a:pt x="1128" y="164"/>
                    <a:pt x="1188" y="178"/>
                    <a:pt x="1128" y="193"/>
                  </a:cubicBezTo>
                  <a:cubicBezTo>
                    <a:pt x="1091" y="193"/>
                    <a:pt x="1054" y="178"/>
                    <a:pt x="1047" y="230"/>
                  </a:cubicBezTo>
                  <a:cubicBezTo>
                    <a:pt x="1032" y="245"/>
                    <a:pt x="1017" y="238"/>
                    <a:pt x="1010" y="245"/>
                  </a:cubicBezTo>
                  <a:cubicBezTo>
                    <a:pt x="995" y="253"/>
                    <a:pt x="995" y="267"/>
                    <a:pt x="987" y="290"/>
                  </a:cubicBezTo>
                  <a:cubicBezTo>
                    <a:pt x="957" y="290"/>
                    <a:pt x="943" y="290"/>
                    <a:pt x="935" y="267"/>
                  </a:cubicBezTo>
                  <a:cubicBezTo>
                    <a:pt x="928" y="245"/>
                    <a:pt x="935" y="208"/>
                    <a:pt x="935" y="193"/>
                  </a:cubicBezTo>
                  <a:cubicBezTo>
                    <a:pt x="913" y="186"/>
                    <a:pt x="906" y="186"/>
                    <a:pt x="883" y="201"/>
                  </a:cubicBezTo>
                  <a:cubicBezTo>
                    <a:pt x="876" y="201"/>
                    <a:pt x="876" y="238"/>
                    <a:pt x="854" y="230"/>
                  </a:cubicBezTo>
                  <a:cubicBezTo>
                    <a:pt x="824" y="230"/>
                    <a:pt x="831" y="193"/>
                    <a:pt x="817" y="178"/>
                  </a:cubicBezTo>
                  <a:cubicBezTo>
                    <a:pt x="794" y="149"/>
                    <a:pt x="772" y="171"/>
                    <a:pt x="742" y="156"/>
                  </a:cubicBezTo>
                  <a:cubicBezTo>
                    <a:pt x="720" y="149"/>
                    <a:pt x="698" y="134"/>
                    <a:pt x="675" y="134"/>
                  </a:cubicBezTo>
                  <a:cubicBezTo>
                    <a:pt x="646" y="134"/>
                    <a:pt x="623" y="149"/>
                    <a:pt x="594" y="149"/>
                  </a:cubicBezTo>
                  <a:cubicBezTo>
                    <a:pt x="564" y="156"/>
                    <a:pt x="527" y="149"/>
                    <a:pt x="497" y="141"/>
                  </a:cubicBezTo>
                  <a:cubicBezTo>
                    <a:pt x="475" y="141"/>
                    <a:pt x="467" y="127"/>
                    <a:pt x="445" y="119"/>
                  </a:cubicBezTo>
                  <a:cubicBezTo>
                    <a:pt x="423" y="112"/>
                    <a:pt x="408" y="119"/>
                    <a:pt x="378" y="127"/>
                  </a:cubicBezTo>
                  <a:cubicBezTo>
                    <a:pt x="349" y="134"/>
                    <a:pt x="326" y="127"/>
                    <a:pt x="297" y="127"/>
                  </a:cubicBezTo>
                  <a:cubicBezTo>
                    <a:pt x="297" y="193"/>
                    <a:pt x="170" y="171"/>
                    <a:pt x="133" y="171"/>
                  </a:cubicBezTo>
                  <a:cubicBezTo>
                    <a:pt x="104" y="171"/>
                    <a:pt x="111" y="171"/>
                    <a:pt x="96" y="193"/>
                  </a:cubicBezTo>
                  <a:cubicBezTo>
                    <a:pt x="74" y="208"/>
                    <a:pt x="74" y="238"/>
                    <a:pt x="37" y="245"/>
                  </a:cubicBezTo>
                  <a:cubicBezTo>
                    <a:pt x="37" y="260"/>
                    <a:pt x="37" y="275"/>
                    <a:pt x="37" y="297"/>
                  </a:cubicBezTo>
                  <a:cubicBezTo>
                    <a:pt x="44" y="290"/>
                    <a:pt x="52" y="297"/>
                    <a:pt x="59" y="297"/>
                  </a:cubicBezTo>
                  <a:cubicBezTo>
                    <a:pt x="67" y="319"/>
                    <a:pt x="96" y="394"/>
                    <a:pt x="74" y="409"/>
                  </a:cubicBezTo>
                  <a:cubicBezTo>
                    <a:pt x="59" y="416"/>
                    <a:pt x="29" y="416"/>
                    <a:pt x="0" y="416"/>
                  </a:cubicBezTo>
                  <a:cubicBezTo>
                    <a:pt x="0" y="461"/>
                    <a:pt x="0" y="505"/>
                    <a:pt x="22" y="542"/>
                  </a:cubicBezTo>
                  <a:cubicBezTo>
                    <a:pt x="44" y="579"/>
                    <a:pt x="89" y="557"/>
                    <a:pt x="126" y="557"/>
                  </a:cubicBezTo>
                  <a:cubicBezTo>
                    <a:pt x="170" y="550"/>
                    <a:pt x="185" y="587"/>
                    <a:pt x="230" y="602"/>
                  </a:cubicBezTo>
                  <a:cubicBezTo>
                    <a:pt x="252" y="609"/>
                    <a:pt x="297" y="617"/>
                    <a:pt x="319" y="624"/>
                  </a:cubicBezTo>
                  <a:cubicBezTo>
                    <a:pt x="356" y="631"/>
                    <a:pt x="371" y="646"/>
                    <a:pt x="408" y="646"/>
                  </a:cubicBezTo>
                  <a:cubicBezTo>
                    <a:pt x="467" y="646"/>
                    <a:pt x="534" y="646"/>
                    <a:pt x="594" y="639"/>
                  </a:cubicBezTo>
                  <a:cubicBezTo>
                    <a:pt x="661" y="631"/>
                    <a:pt x="727" y="639"/>
                    <a:pt x="787" y="639"/>
                  </a:cubicBezTo>
                  <a:cubicBezTo>
                    <a:pt x="817" y="639"/>
                    <a:pt x="846" y="631"/>
                    <a:pt x="869" y="631"/>
                  </a:cubicBezTo>
                  <a:cubicBezTo>
                    <a:pt x="898" y="631"/>
                    <a:pt x="920" y="654"/>
                    <a:pt x="950" y="654"/>
                  </a:cubicBezTo>
                  <a:cubicBezTo>
                    <a:pt x="980" y="654"/>
                    <a:pt x="1002" y="631"/>
                    <a:pt x="1032" y="624"/>
                  </a:cubicBezTo>
                  <a:cubicBezTo>
                    <a:pt x="1069" y="624"/>
                    <a:pt x="1091" y="669"/>
                    <a:pt x="1128" y="661"/>
                  </a:cubicBezTo>
                  <a:cubicBezTo>
                    <a:pt x="1151" y="661"/>
                    <a:pt x="1166" y="639"/>
                    <a:pt x="1188" y="646"/>
                  </a:cubicBezTo>
                  <a:cubicBezTo>
                    <a:pt x="1188" y="646"/>
                    <a:pt x="1195" y="661"/>
                    <a:pt x="1203" y="661"/>
                  </a:cubicBezTo>
                  <a:lnTo>
                    <a:pt x="1217" y="661"/>
                  </a:lnTo>
                  <a:cubicBezTo>
                    <a:pt x="1240" y="661"/>
                    <a:pt x="1292" y="676"/>
                    <a:pt x="1307" y="661"/>
                  </a:cubicBezTo>
                  <a:cubicBezTo>
                    <a:pt x="1322" y="654"/>
                    <a:pt x="1307" y="639"/>
                    <a:pt x="1329" y="631"/>
                  </a:cubicBezTo>
                  <a:cubicBezTo>
                    <a:pt x="1344" y="624"/>
                    <a:pt x="1366" y="631"/>
                    <a:pt x="1381" y="631"/>
                  </a:cubicBezTo>
                  <a:cubicBezTo>
                    <a:pt x="1440" y="624"/>
                    <a:pt x="1500" y="631"/>
                    <a:pt x="1552" y="631"/>
                  </a:cubicBezTo>
                  <a:cubicBezTo>
                    <a:pt x="1604" y="639"/>
                    <a:pt x="1663" y="654"/>
                    <a:pt x="1685" y="698"/>
                  </a:cubicBezTo>
                  <a:cubicBezTo>
                    <a:pt x="1708" y="706"/>
                    <a:pt x="1760" y="691"/>
                    <a:pt x="1782" y="706"/>
                  </a:cubicBezTo>
                  <a:lnTo>
                    <a:pt x="1782" y="706"/>
                  </a:lnTo>
                  <a:cubicBezTo>
                    <a:pt x="1812" y="691"/>
                    <a:pt x="1841" y="691"/>
                    <a:pt x="1864" y="676"/>
                  </a:cubicBezTo>
                  <a:cubicBezTo>
                    <a:pt x="1901" y="661"/>
                    <a:pt x="1923" y="617"/>
                    <a:pt x="1953" y="602"/>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7" name="Freeform 24">
              <a:extLst>
                <a:ext uri="{FF2B5EF4-FFF2-40B4-BE49-F238E27FC236}">
                  <a16:creationId xmlns:a16="http://schemas.microsoft.com/office/drawing/2014/main" id="{E410CB44-7CF8-204E-9F0B-8FAB8990A75A}"/>
                </a:ext>
              </a:extLst>
            </p:cNvPr>
            <p:cNvSpPr>
              <a:spLocks noChangeArrowheads="1"/>
            </p:cNvSpPr>
            <p:nvPr/>
          </p:nvSpPr>
          <p:spPr bwMode="auto">
            <a:xfrm>
              <a:off x="15097883" y="6962477"/>
              <a:ext cx="379368" cy="784900"/>
            </a:xfrm>
            <a:custGeom>
              <a:avLst/>
              <a:gdLst>
                <a:gd name="T0" fmla="*/ 653 w 877"/>
                <a:gd name="T1" fmla="*/ 252 h 1819"/>
                <a:gd name="T2" fmla="*/ 564 w 877"/>
                <a:gd name="T3" fmla="*/ 230 h 1819"/>
                <a:gd name="T4" fmla="*/ 497 w 877"/>
                <a:gd name="T5" fmla="*/ 171 h 1819"/>
                <a:gd name="T6" fmla="*/ 482 w 877"/>
                <a:gd name="T7" fmla="*/ 59 h 1819"/>
                <a:gd name="T8" fmla="*/ 348 w 877"/>
                <a:gd name="T9" fmla="*/ 82 h 1819"/>
                <a:gd name="T10" fmla="*/ 259 w 877"/>
                <a:gd name="T11" fmla="*/ 104 h 1819"/>
                <a:gd name="T12" fmla="*/ 215 w 877"/>
                <a:gd name="T13" fmla="*/ 178 h 1819"/>
                <a:gd name="T14" fmla="*/ 156 w 877"/>
                <a:gd name="T15" fmla="*/ 245 h 1819"/>
                <a:gd name="T16" fmla="*/ 89 w 877"/>
                <a:gd name="T17" fmla="*/ 185 h 1819"/>
                <a:gd name="T18" fmla="*/ 7 w 877"/>
                <a:gd name="T19" fmla="*/ 274 h 1819"/>
                <a:gd name="T20" fmla="*/ 29 w 877"/>
                <a:gd name="T21" fmla="*/ 379 h 1819"/>
                <a:gd name="T22" fmla="*/ 44 w 877"/>
                <a:gd name="T23" fmla="*/ 542 h 1819"/>
                <a:gd name="T24" fmla="*/ 96 w 877"/>
                <a:gd name="T25" fmla="*/ 638 h 1819"/>
                <a:gd name="T26" fmla="*/ 103 w 877"/>
                <a:gd name="T27" fmla="*/ 750 h 1819"/>
                <a:gd name="T28" fmla="*/ 141 w 877"/>
                <a:gd name="T29" fmla="*/ 936 h 1819"/>
                <a:gd name="T30" fmla="*/ 156 w 877"/>
                <a:gd name="T31" fmla="*/ 1084 h 1819"/>
                <a:gd name="T32" fmla="*/ 200 w 877"/>
                <a:gd name="T33" fmla="*/ 1188 h 1819"/>
                <a:gd name="T34" fmla="*/ 252 w 877"/>
                <a:gd name="T35" fmla="*/ 1329 h 1819"/>
                <a:gd name="T36" fmla="*/ 289 w 877"/>
                <a:gd name="T37" fmla="*/ 1418 h 1819"/>
                <a:gd name="T38" fmla="*/ 326 w 877"/>
                <a:gd name="T39" fmla="*/ 1685 h 1819"/>
                <a:gd name="T40" fmla="*/ 378 w 877"/>
                <a:gd name="T41" fmla="*/ 1781 h 1819"/>
                <a:gd name="T42" fmla="*/ 415 w 877"/>
                <a:gd name="T43" fmla="*/ 1670 h 1819"/>
                <a:gd name="T44" fmla="*/ 467 w 877"/>
                <a:gd name="T45" fmla="*/ 1714 h 1819"/>
                <a:gd name="T46" fmla="*/ 534 w 877"/>
                <a:gd name="T47" fmla="*/ 1818 h 1819"/>
                <a:gd name="T48" fmla="*/ 616 w 877"/>
                <a:gd name="T49" fmla="*/ 1744 h 1819"/>
                <a:gd name="T50" fmla="*/ 668 w 877"/>
                <a:gd name="T51" fmla="*/ 1647 h 1819"/>
                <a:gd name="T52" fmla="*/ 750 w 877"/>
                <a:gd name="T53" fmla="*/ 1633 h 1819"/>
                <a:gd name="T54" fmla="*/ 772 w 877"/>
                <a:gd name="T55" fmla="*/ 1514 h 1819"/>
                <a:gd name="T56" fmla="*/ 727 w 877"/>
                <a:gd name="T57" fmla="*/ 1440 h 1819"/>
                <a:gd name="T58" fmla="*/ 705 w 877"/>
                <a:gd name="T59" fmla="*/ 1270 h 1819"/>
                <a:gd name="T60" fmla="*/ 660 w 877"/>
                <a:gd name="T61" fmla="*/ 1143 h 1819"/>
                <a:gd name="T62" fmla="*/ 698 w 877"/>
                <a:gd name="T63" fmla="*/ 1084 h 1819"/>
                <a:gd name="T64" fmla="*/ 809 w 877"/>
                <a:gd name="T65" fmla="*/ 1054 h 1819"/>
                <a:gd name="T66" fmla="*/ 846 w 877"/>
                <a:gd name="T67" fmla="*/ 958 h 1819"/>
                <a:gd name="T68" fmla="*/ 876 w 877"/>
                <a:gd name="T69" fmla="*/ 698 h 1819"/>
                <a:gd name="T70" fmla="*/ 816 w 877"/>
                <a:gd name="T71" fmla="*/ 453 h 1819"/>
                <a:gd name="T72" fmla="*/ 764 w 877"/>
                <a:gd name="T73" fmla="*/ 334 h 1819"/>
                <a:gd name="T74" fmla="*/ 750 w 877"/>
                <a:gd name="T75" fmla="*/ 252 h 1819"/>
                <a:gd name="T76" fmla="*/ 653 w 877"/>
                <a:gd name="T77" fmla="*/ 252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7" h="1819">
                  <a:moveTo>
                    <a:pt x="653" y="252"/>
                  </a:moveTo>
                  <a:lnTo>
                    <a:pt x="653" y="252"/>
                  </a:lnTo>
                  <a:cubicBezTo>
                    <a:pt x="638" y="252"/>
                    <a:pt x="616" y="260"/>
                    <a:pt x="601" y="252"/>
                  </a:cubicBezTo>
                  <a:cubicBezTo>
                    <a:pt x="586" y="237"/>
                    <a:pt x="594" y="237"/>
                    <a:pt x="564" y="230"/>
                  </a:cubicBezTo>
                  <a:cubicBezTo>
                    <a:pt x="534" y="223"/>
                    <a:pt x="505" y="230"/>
                    <a:pt x="475" y="215"/>
                  </a:cubicBezTo>
                  <a:cubicBezTo>
                    <a:pt x="467" y="193"/>
                    <a:pt x="490" y="193"/>
                    <a:pt x="497" y="171"/>
                  </a:cubicBezTo>
                  <a:cubicBezTo>
                    <a:pt x="505" y="156"/>
                    <a:pt x="505" y="141"/>
                    <a:pt x="505" y="126"/>
                  </a:cubicBezTo>
                  <a:cubicBezTo>
                    <a:pt x="505" y="111"/>
                    <a:pt x="490" y="82"/>
                    <a:pt x="482" y="59"/>
                  </a:cubicBezTo>
                  <a:cubicBezTo>
                    <a:pt x="460" y="67"/>
                    <a:pt x="438" y="52"/>
                    <a:pt x="415" y="52"/>
                  </a:cubicBezTo>
                  <a:cubicBezTo>
                    <a:pt x="393" y="59"/>
                    <a:pt x="378" y="89"/>
                    <a:pt x="348" y="82"/>
                  </a:cubicBezTo>
                  <a:cubicBezTo>
                    <a:pt x="341" y="52"/>
                    <a:pt x="297" y="29"/>
                    <a:pt x="282" y="0"/>
                  </a:cubicBezTo>
                  <a:cubicBezTo>
                    <a:pt x="282" y="29"/>
                    <a:pt x="282" y="82"/>
                    <a:pt x="259" y="104"/>
                  </a:cubicBezTo>
                  <a:cubicBezTo>
                    <a:pt x="245" y="111"/>
                    <a:pt x="230" y="111"/>
                    <a:pt x="222" y="133"/>
                  </a:cubicBezTo>
                  <a:cubicBezTo>
                    <a:pt x="215" y="141"/>
                    <a:pt x="215" y="163"/>
                    <a:pt x="215" y="178"/>
                  </a:cubicBezTo>
                  <a:cubicBezTo>
                    <a:pt x="208" y="178"/>
                    <a:pt x="193" y="178"/>
                    <a:pt x="178" y="178"/>
                  </a:cubicBezTo>
                  <a:cubicBezTo>
                    <a:pt x="178" y="208"/>
                    <a:pt x="178" y="223"/>
                    <a:pt x="156" y="245"/>
                  </a:cubicBezTo>
                  <a:cubicBezTo>
                    <a:pt x="141" y="260"/>
                    <a:pt x="111" y="274"/>
                    <a:pt x="89" y="267"/>
                  </a:cubicBezTo>
                  <a:cubicBezTo>
                    <a:pt x="89" y="237"/>
                    <a:pt x="89" y="215"/>
                    <a:pt x="89" y="185"/>
                  </a:cubicBezTo>
                  <a:cubicBezTo>
                    <a:pt x="81" y="185"/>
                    <a:pt x="44" y="193"/>
                    <a:pt x="7" y="193"/>
                  </a:cubicBezTo>
                  <a:cubicBezTo>
                    <a:pt x="0" y="223"/>
                    <a:pt x="0" y="252"/>
                    <a:pt x="7" y="274"/>
                  </a:cubicBezTo>
                  <a:cubicBezTo>
                    <a:pt x="7" y="282"/>
                    <a:pt x="37" y="297"/>
                    <a:pt x="37" y="319"/>
                  </a:cubicBezTo>
                  <a:cubicBezTo>
                    <a:pt x="37" y="334"/>
                    <a:pt x="29" y="356"/>
                    <a:pt x="29" y="379"/>
                  </a:cubicBezTo>
                  <a:cubicBezTo>
                    <a:pt x="37" y="401"/>
                    <a:pt x="51" y="416"/>
                    <a:pt x="51" y="438"/>
                  </a:cubicBezTo>
                  <a:cubicBezTo>
                    <a:pt x="59" y="475"/>
                    <a:pt x="51" y="512"/>
                    <a:pt x="44" y="542"/>
                  </a:cubicBezTo>
                  <a:lnTo>
                    <a:pt x="44" y="542"/>
                  </a:lnTo>
                  <a:cubicBezTo>
                    <a:pt x="81" y="527"/>
                    <a:pt x="89" y="616"/>
                    <a:pt x="96" y="638"/>
                  </a:cubicBezTo>
                  <a:cubicBezTo>
                    <a:pt x="103" y="653"/>
                    <a:pt x="103" y="676"/>
                    <a:pt x="103" y="698"/>
                  </a:cubicBezTo>
                  <a:cubicBezTo>
                    <a:pt x="96" y="713"/>
                    <a:pt x="96" y="735"/>
                    <a:pt x="103" y="750"/>
                  </a:cubicBezTo>
                  <a:cubicBezTo>
                    <a:pt x="118" y="772"/>
                    <a:pt x="141" y="779"/>
                    <a:pt x="148" y="809"/>
                  </a:cubicBezTo>
                  <a:cubicBezTo>
                    <a:pt x="148" y="846"/>
                    <a:pt x="141" y="898"/>
                    <a:pt x="141" y="936"/>
                  </a:cubicBezTo>
                  <a:cubicBezTo>
                    <a:pt x="141" y="965"/>
                    <a:pt x="133" y="987"/>
                    <a:pt x="133" y="1010"/>
                  </a:cubicBezTo>
                  <a:cubicBezTo>
                    <a:pt x="133" y="1039"/>
                    <a:pt x="148" y="1054"/>
                    <a:pt x="156" y="1084"/>
                  </a:cubicBezTo>
                  <a:cubicBezTo>
                    <a:pt x="163" y="1106"/>
                    <a:pt x="163" y="1136"/>
                    <a:pt x="178" y="1151"/>
                  </a:cubicBezTo>
                  <a:cubicBezTo>
                    <a:pt x="185" y="1166"/>
                    <a:pt x="193" y="1181"/>
                    <a:pt x="200" y="1188"/>
                  </a:cubicBezTo>
                  <a:cubicBezTo>
                    <a:pt x="222" y="1225"/>
                    <a:pt x="230" y="1255"/>
                    <a:pt x="245" y="1292"/>
                  </a:cubicBezTo>
                  <a:cubicBezTo>
                    <a:pt x="252" y="1307"/>
                    <a:pt x="252" y="1314"/>
                    <a:pt x="252" y="1329"/>
                  </a:cubicBezTo>
                  <a:cubicBezTo>
                    <a:pt x="259" y="1351"/>
                    <a:pt x="267" y="1366"/>
                    <a:pt x="274" y="1381"/>
                  </a:cubicBezTo>
                  <a:cubicBezTo>
                    <a:pt x="282" y="1389"/>
                    <a:pt x="289" y="1403"/>
                    <a:pt x="289" y="1418"/>
                  </a:cubicBezTo>
                  <a:cubicBezTo>
                    <a:pt x="297" y="1447"/>
                    <a:pt x="311" y="1469"/>
                    <a:pt x="311" y="1491"/>
                  </a:cubicBezTo>
                  <a:cubicBezTo>
                    <a:pt x="311" y="1558"/>
                    <a:pt x="319" y="1625"/>
                    <a:pt x="326" y="1685"/>
                  </a:cubicBezTo>
                  <a:cubicBezTo>
                    <a:pt x="326" y="1714"/>
                    <a:pt x="348" y="1722"/>
                    <a:pt x="348" y="1751"/>
                  </a:cubicBezTo>
                  <a:cubicBezTo>
                    <a:pt x="348" y="1774"/>
                    <a:pt x="348" y="1781"/>
                    <a:pt x="378" y="1781"/>
                  </a:cubicBezTo>
                  <a:cubicBezTo>
                    <a:pt x="408" y="1774"/>
                    <a:pt x="393" y="1751"/>
                    <a:pt x="393" y="1729"/>
                  </a:cubicBezTo>
                  <a:cubicBezTo>
                    <a:pt x="393" y="1707"/>
                    <a:pt x="393" y="1670"/>
                    <a:pt x="415" y="1670"/>
                  </a:cubicBezTo>
                  <a:cubicBezTo>
                    <a:pt x="430" y="1670"/>
                    <a:pt x="430" y="1685"/>
                    <a:pt x="438" y="1692"/>
                  </a:cubicBezTo>
                  <a:cubicBezTo>
                    <a:pt x="445" y="1699"/>
                    <a:pt x="453" y="1707"/>
                    <a:pt x="467" y="1714"/>
                  </a:cubicBezTo>
                  <a:cubicBezTo>
                    <a:pt x="482" y="1729"/>
                    <a:pt x="497" y="1744"/>
                    <a:pt x="505" y="1774"/>
                  </a:cubicBezTo>
                  <a:cubicBezTo>
                    <a:pt x="512" y="1788"/>
                    <a:pt x="512" y="1811"/>
                    <a:pt x="534" y="1818"/>
                  </a:cubicBezTo>
                  <a:cubicBezTo>
                    <a:pt x="549" y="1818"/>
                    <a:pt x="571" y="1811"/>
                    <a:pt x="594" y="1811"/>
                  </a:cubicBezTo>
                  <a:cubicBezTo>
                    <a:pt x="601" y="1788"/>
                    <a:pt x="601" y="1759"/>
                    <a:pt x="616" y="1744"/>
                  </a:cubicBezTo>
                  <a:cubicBezTo>
                    <a:pt x="631" y="1722"/>
                    <a:pt x="653" y="1736"/>
                    <a:pt x="653" y="1707"/>
                  </a:cubicBezTo>
                  <a:cubicBezTo>
                    <a:pt x="660" y="1685"/>
                    <a:pt x="653" y="1662"/>
                    <a:pt x="668" y="1647"/>
                  </a:cubicBezTo>
                  <a:cubicBezTo>
                    <a:pt x="698" y="1625"/>
                    <a:pt x="713" y="1670"/>
                    <a:pt x="735" y="1655"/>
                  </a:cubicBezTo>
                  <a:cubicBezTo>
                    <a:pt x="742" y="1655"/>
                    <a:pt x="742" y="1640"/>
                    <a:pt x="750" y="1633"/>
                  </a:cubicBezTo>
                  <a:cubicBezTo>
                    <a:pt x="750" y="1625"/>
                    <a:pt x="757" y="1625"/>
                    <a:pt x="757" y="1618"/>
                  </a:cubicBezTo>
                  <a:cubicBezTo>
                    <a:pt x="764" y="1595"/>
                    <a:pt x="750" y="1521"/>
                    <a:pt x="772" y="1514"/>
                  </a:cubicBezTo>
                  <a:cubicBezTo>
                    <a:pt x="779" y="1491"/>
                    <a:pt x="764" y="1484"/>
                    <a:pt x="757" y="1469"/>
                  </a:cubicBezTo>
                  <a:cubicBezTo>
                    <a:pt x="750" y="1462"/>
                    <a:pt x="742" y="1447"/>
                    <a:pt x="727" y="1440"/>
                  </a:cubicBezTo>
                  <a:cubicBezTo>
                    <a:pt x="705" y="1418"/>
                    <a:pt x="713" y="1389"/>
                    <a:pt x="713" y="1359"/>
                  </a:cubicBezTo>
                  <a:cubicBezTo>
                    <a:pt x="705" y="1329"/>
                    <a:pt x="690" y="1299"/>
                    <a:pt x="705" y="1270"/>
                  </a:cubicBezTo>
                  <a:cubicBezTo>
                    <a:pt x="713" y="1232"/>
                    <a:pt x="705" y="1195"/>
                    <a:pt x="705" y="1158"/>
                  </a:cubicBezTo>
                  <a:cubicBezTo>
                    <a:pt x="683" y="1166"/>
                    <a:pt x="675" y="1166"/>
                    <a:pt x="660" y="1143"/>
                  </a:cubicBezTo>
                  <a:cubicBezTo>
                    <a:pt x="660" y="1129"/>
                    <a:pt x="653" y="1091"/>
                    <a:pt x="653" y="1076"/>
                  </a:cubicBezTo>
                  <a:cubicBezTo>
                    <a:pt x="675" y="1062"/>
                    <a:pt x="683" y="1076"/>
                    <a:pt x="698" y="1084"/>
                  </a:cubicBezTo>
                  <a:cubicBezTo>
                    <a:pt x="720" y="1084"/>
                    <a:pt x="735" y="1076"/>
                    <a:pt x="757" y="1076"/>
                  </a:cubicBezTo>
                  <a:cubicBezTo>
                    <a:pt x="787" y="1076"/>
                    <a:pt x="801" y="1084"/>
                    <a:pt x="809" y="1054"/>
                  </a:cubicBezTo>
                  <a:cubicBezTo>
                    <a:pt x="816" y="1032"/>
                    <a:pt x="816" y="1010"/>
                    <a:pt x="831" y="987"/>
                  </a:cubicBezTo>
                  <a:cubicBezTo>
                    <a:pt x="839" y="980"/>
                    <a:pt x="846" y="973"/>
                    <a:pt x="846" y="958"/>
                  </a:cubicBezTo>
                  <a:cubicBezTo>
                    <a:pt x="861" y="928"/>
                    <a:pt x="861" y="891"/>
                    <a:pt x="868" y="861"/>
                  </a:cubicBezTo>
                  <a:cubicBezTo>
                    <a:pt x="868" y="809"/>
                    <a:pt x="876" y="750"/>
                    <a:pt x="876" y="698"/>
                  </a:cubicBezTo>
                  <a:cubicBezTo>
                    <a:pt x="876" y="646"/>
                    <a:pt x="861" y="601"/>
                    <a:pt x="846" y="557"/>
                  </a:cubicBezTo>
                  <a:cubicBezTo>
                    <a:pt x="831" y="527"/>
                    <a:pt x="839" y="490"/>
                    <a:pt x="816" y="453"/>
                  </a:cubicBezTo>
                  <a:cubicBezTo>
                    <a:pt x="801" y="423"/>
                    <a:pt x="779" y="401"/>
                    <a:pt x="772" y="371"/>
                  </a:cubicBezTo>
                  <a:cubicBezTo>
                    <a:pt x="772" y="364"/>
                    <a:pt x="772" y="349"/>
                    <a:pt x="764" y="334"/>
                  </a:cubicBezTo>
                  <a:cubicBezTo>
                    <a:pt x="764" y="312"/>
                    <a:pt x="764" y="312"/>
                    <a:pt x="750" y="297"/>
                  </a:cubicBezTo>
                  <a:cubicBezTo>
                    <a:pt x="727" y="274"/>
                    <a:pt x="735" y="267"/>
                    <a:pt x="750" y="252"/>
                  </a:cubicBezTo>
                  <a:lnTo>
                    <a:pt x="742" y="245"/>
                  </a:lnTo>
                  <a:cubicBezTo>
                    <a:pt x="727" y="237"/>
                    <a:pt x="675" y="252"/>
                    <a:pt x="653" y="252"/>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8" name="Freeform 25">
              <a:extLst>
                <a:ext uri="{FF2B5EF4-FFF2-40B4-BE49-F238E27FC236}">
                  <a16:creationId xmlns:a16="http://schemas.microsoft.com/office/drawing/2014/main" id="{B57E7595-21D7-2944-81EE-7FC55FFE4830}"/>
                </a:ext>
              </a:extLst>
            </p:cNvPr>
            <p:cNvSpPr>
              <a:spLocks noChangeArrowheads="1"/>
            </p:cNvSpPr>
            <p:nvPr/>
          </p:nvSpPr>
          <p:spPr bwMode="auto">
            <a:xfrm>
              <a:off x="10389159" y="8448453"/>
              <a:ext cx="2525935" cy="2339460"/>
            </a:xfrm>
            <a:custGeom>
              <a:avLst/>
              <a:gdLst>
                <a:gd name="T0" fmla="*/ 5598 w 5844"/>
                <a:gd name="T1" fmla="*/ 839 h 5415"/>
                <a:gd name="T2" fmla="*/ 5264 w 5844"/>
                <a:gd name="T3" fmla="*/ 943 h 5415"/>
                <a:gd name="T4" fmla="*/ 4974 w 5844"/>
                <a:gd name="T5" fmla="*/ 780 h 5415"/>
                <a:gd name="T6" fmla="*/ 4870 w 5844"/>
                <a:gd name="T7" fmla="*/ 884 h 5415"/>
                <a:gd name="T8" fmla="*/ 4625 w 5844"/>
                <a:gd name="T9" fmla="*/ 1151 h 5415"/>
                <a:gd name="T10" fmla="*/ 4424 w 5844"/>
                <a:gd name="T11" fmla="*/ 1225 h 5415"/>
                <a:gd name="T12" fmla="*/ 4128 w 5844"/>
                <a:gd name="T13" fmla="*/ 1307 h 5415"/>
                <a:gd name="T14" fmla="*/ 4113 w 5844"/>
                <a:gd name="T15" fmla="*/ 1485 h 5415"/>
                <a:gd name="T16" fmla="*/ 3735 w 5844"/>
                <a:gd name="T17" fmla="*/ 1604 h 5415"/>
                <a:gd name="T18" fmla="*/ 3393 w 5844"/>
                <a:gd name="T19" fmla="*/ 1649 h 5415"/>
                <a:gd name="T20" fmla="*/ 3148 w 5844"/>
                <a:gd name="T21" fmla="*/ 1389 h 5415"/>
                <a:gd name="T22" fmla="*/ 2799 w 5844"/>
                <a:gd name="T23" fmla="*/ 1032 h 5415"/>
                <a:gd name="T24" fmla="*/ 2621 w 5844"/>
                <a:gd name="T25" fmla="*/ 973 h 5415"/>
                <a:gd name="T26" fmla="*/ 2487 w 5844"/>
                <a:gd name="T27" fmla="*/ 431 h 5415"/>
                <a:gd name="T28" fmla="*/ 2161 w 5844"/>
                <a:gd name="T29" fmla="*/ 290 h 5415"/>
                <a:gd name="T30" fmla="*/ 1982 w 5844"/>
                <a:gd name="T31" fmla="*/ 223 h 5415"/>
                <a:gd name="T32" fmla="*/ 1745 w 5844"/>
                <a:gd name="T33" fmla="*/ 304 h 5415"/>
                <a:gd name="T34" fmla="*/ 1448 w 5844"/>
                <a:gd name="T35" fmla="*/ 89 h 5415"/>
                <a:gd name="T36" fmla="*/ 1292 w 5844"/>
                <a:gd name="T37" fmla="*/ 319 h 5415"/>
                <a:gd name="T38" fmla="*/ 1069 w 5844"/>
                <a:gd name="T39" fmla="*/ 401 h 5415"/>
                <a:gd name="T40" fmla="*/ 972 w 5844"/>
                <a:gd name="T41" fmla="*/ 772 h 5415"/>
                <a:gd name="T42" fmla="*/ 750 w 5844"/>
                <a:gd name="T43" fmla="*/ 1069 h 5415"/>
                <a:gd name="T44" fmla="*/ 824 w 5844"/>
                <a:gd name="T45" fmla="*/ 1322 h 5415"/>
                <a:gd name="T46" fmla="*/ 608 w 5844"/>
                <a:gd name="T47" fmla="*/ 1730 h 5415"/>
                <a:gd name="T48" fmla="*/ 631 w 5844"/>
                <a:gd name="T49" fmla="*/ 2094 h 5415"/>
                <a:gd name="T50" fmla="*/ 586 w 5844"/>
                <a:gd name="T51" fmla="*/ 2466 h 5415"/>
                <a:gd name="T52" fmla="*/ 623 w 5844"/>
                <a:gd name="T53" fmla="*/ 2673 h 5415"/>
                <a:gd name="T54" fmla="*/ 200 w 5844"/>
                <a:gd name="T55" fmla="*/ 3290 h 5415"/>
                <a:gd name="T56" fmla="*/ 111 w 5844"/>
                <a:gd name="T57" fmla="*/ 3579 h 5415"/>
                <a:gd name="T58" fmla="*/ 0 w 5844"/>
                <a:gd name="T59" fmla="*/ 3839 h 5415"/>
                <a:gd name="T60" fmla="*/ 89 w 5844"/>
                <a:gd name="T61" fmla="*/ 4040 h 5415"/>
                <a:gd name="T62" fmla="*/ 297 w 5844"/>
                <a:gd name="T63" fmla="*/ 4099 h 5415"/>
                <a:gd name="T64" fmla="*/ 467 w 5844"/>
                <a:gd name="T65" fmla="*/ 4122 h 5415"/>
                <a:gd name="T66" fmla="*/ 282 w 5844"/>
                <a:gd name="T67" fmla="*/ 4322 h 5415"/>
                <a:gd name="T68" fmla="*/ 133 w 5844"/>
                <a:gd name="T69" fmla="*/ 4300 h 5415"/>
                <a:gd name="T70" fmla="*/ 304 w 5844"/>
                <a:gd name="T71" fmla="*/ 4419 h 5415"/>
                <a:gd name="T72" fmla="*/ 608 w 5844"/>
                <a:gd name="T73" fmla="*/ 4500 h 5415"/>
                <a:gd name="T74" fmla="*/ 824 w 5844"/>
                <a:gd name="T75" fmla="*/ 4389 h 5415"/>
                <a:gd name="T76" fmla="*/ 913 w 5844"/>
                <a:gd name="T77" fmla="*/ 4612 h 5415"/>
                <a:gd name="T78" fmla="*/ 1121 w 5844"/>
                <a:gd name="T79" fmla="*/ 4760 h 5415"/>
                <a:gd name="T80" fmla="*/ 1165 w 5844"/>
                <a:gd name="T81" fmla="*/ 5094 h 5415"/>
                <a:gd name="T82" fmla="*/ 1017 w 5844"/>
                <a:gd name="T83" fmla="*/ 5332 h 5415"/>
                <a:gd name="T84" fmla="*/ 1299 w 5844"/>
                <a:gd name="T85" fmla="*/ 5094 h 5415"/>
                <a:gd name="T86" fmla="*/ 1864 w 5844"/>
                <a:gd name="T87" fmla="*/ 5005 h 5415"/>
                <a:gd name="T88" fmla="*/ 2153 w 5844"/>
                <a:gd name="T89" fmla="*/ 4990 h 5415"/>
                <a:gd name="T90" fmla="*/ 2383 w 5844"/>
                <a:gd name="T91" fmla="*/ 4745 h 5415"/>
                <a:gd name="T92" fmla="*/ 2465 w 5844"/>
                <a:gd name="T93" fmla="*/ 4664 h 5415"/>
                <a:gd name="T94" fmla="*/ 2554 w 5844"/>
                <a:gd name="T95" fmla="*/ 4723 h 5415"/>
                <a:gd name="T96" fmla="*/ 2524 w 5844"/>
                <a:gd name="T97" fmla="*/ 4262 h 5415"/>
                <a:gd name="T98" fmla="*/ 2569 w 5844"/>
                <a:gd name="T99" fmla="*/ 3936 h 5415"/>
                <a:gd name="T100" fmla="*/ 2614 w 5844"/>
                <a:gd name="T101" fmla="*/ 3223 h 5415"/>
                <a:gd name="T102" fmla="*/ 3007 w 5844"/>
                <a:gd name="T103" fmla="*/ 2970 h 5415"/>
                <a:gd name="T104" fmla="*/ 3133 w 5844"/>
                <a:gd name="T105" fmla="*/ 3067 h 5415"/>
                <a:gd name="T106" fmla="*/ 3282 w 5844"/>
                <a:gd name="T107" fmla="*/ 2911 h 5415"/>
                <a:gd name="T108" fmla="*/ 3460 w 5844"/>
                <a:gd name="T109" fmla="*/ 2644 h 5415"/>
                <a:gd name="T110" fmla="*/ 3676 w 5844"/>
                <a:gd name="T111" fmla="*/ 2644 h 5415"/>
                <a:gd name="T112" fmla="*/ 4091 w 5844"/>
                <a:gd name="T113" fmla="*/ 2480 h 5415"/>
                <a:gd name="T114" fmla="*/ 4106 w 5844"/>
                <a:gd name="T115" fmla="*/ 2243 h 5415"/>
                <a:gd name="T116" fmla="*/ 4307 w 5844"/>
                <a:gd name="T117" fmla="*/ 2064 h 5415"/>
                <a:gd name="T118" fmla="*/ 4811 w 5844"/>
                <a:gd name="T119" fmla="*/ 1753 h 5415"/>
                <a:gd name="T120" fmla="*/ 5323 w 5844"/>
                <a:gd name="T121" fmla="*/ 1351 h 5415"/>
                <a:gd name="T122" fmla="*/ 5627 w 5844"/>
                <a:gd name="T123" fmla="*/ 1010 h 5415"/>
                <a:gd name="T124" fmla="*/ 5791 w 5844"/>
                <a:gd name="T125" fmla="*/ 713 h 5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44" h="5415">
                  <a:moveTo>
                    <a:pt x="5791" y="713"/>
                  </a:moveTo>
                  <a:lnTo>
                    <a:pt x="5791" y="713"/>
                  </a:lnTo>
                  <a:cubicBezTo>
                    <a:pt x="5754" y="713"/>
                    <a:pt x="5746" y="720"/>
                    <a:pt x="5716" y="735"/>
                  </a:cubicBezTo>
                  <a:cubicBezTo>
                    <a:pt x="5709" y="750"/>
                    <a:pt x="5724" y="765"/>
                    <a:pt x="5739" y="765"/>
                  </a:cubicBezTo>
                  <a:cubicBezTo>
                    <a:pt x="5746" y="802"/>
                    <a:pt x="5657" y="787"/>
                    <a:pt x="5627" y="809"/>
                  </a:cubicBezTo>
                  <a:cubicBezTo>
                    <a:pt x="5620" y="824"/>
                    <a:pt x="5613" y="832"/>
                    <a:pt x="5598" y="839"/>
                  </a:cubicBezTo>
                  <a:cubicBezTo>
                    <a:pt x="5590" y="839"/>
                    <a:pt x="5576" y="832"/>
                    <a:pt x="5568" y="839"/>
                  </a:cubicBezTo>
                  <a:cubicBezTo>
                    <a:pt x="5561" y="847"/>
                    <a:pt x="5598" y="891"/>
                    <a:pt x="5598" y="899"/>
                  </a:cubicBezTo>
                  <a:cubicBezTo>
                    <a:pt x="5546" y="899"/>
                    <a:pt x="5553" y="958"/>
                    <a:pt x="5509" y="958"/>
                  </a:cubicBezTo>
                  <a:cubicBezTo>
                    <a:pt x="5509" y="965"/>
                    <a:pt x="5501" y="980"/>
                    <a:pt x="5501" y="988"/>
                  </a:cubicBezTo>
                  <a:cubicBezTo>
                    <a:pt x="5464" y="988"/>
                    <a:pt x="5419" y="995"/>
                    <a:pt x="5382" y="980"/>
                  </a:cubicBezTo>
                  <a:cubicBezTo>
                    <a:pt x="5338" y="965"/>
                    <a:pt x="5316" y="943"/>
                    <a:pt x="5264" y="943"/>
                  </a:cubicBezTo>
                  <a:cubicBezTo>
                    <a:pt x="5241" y="943"/>
                    <a:pt x="5197" y="958"/>
                    <a:pt x="5189" y="921"/>
                  </a:cubicBezTo>
                  <a:cubicBezTo>
                    <a:pt x="5182" y="869"/>
                    <a:pt x="5152" y="839"/>
                    <a:pt x="5137" y="795"/>
                  </a:cubicBezTo>
                  <a:cubicBezTo>
                    <a:pt x="5122" y="795"/>
                    <a:pt x="5108" y="795"/>
                    <a:pt x="5108" y="809"/>
                  </a:cubicBezTo>
                  <a:cubicBezTo>
                    <a:pt x="5071" y="817"/>
                    <a:pt x="5033" y="743"/>
                    <a:pt x="5041" y="706"/>
                  </a:cubicBezTo>
                  <a:cubicBezTo>
                    <a:pt x="5033" y="706"/>
                    <a:pt x="5026" y="698"/>
                    <a:pt x="5019" y="698"/>
                  </a:cubicBezTo>
                  <a:cubicBezTo>
                    <a:pt x="5019" y="728"/>
                    <a:pt x="5019" y="817"/>
                    <a:pt x="4974" y="780"/>
                  </a:cubicBezTo>
                  <a:cubicBezTo>
                    <a:pt x="4967" y="787"/>
                    <a:pt x="4959" y="802"/>
                    <a:pt x="4952" y="809"/>
                  </a:cubicBezTo>
                  <a:cubicBezTo>
                    <a:pt x="4944" y="787"/>
                    <a:pt x="4944" y="765"/>
                    <a:pt x="4929" y="757"/>
                  </a:cubicBezTo>
                  <a:cubicBezTo>
                    <a:pt x="4914" y="780"/>
                    <a:pt x="4907" y="824"/>
                    <a:pt x="4907" y="854"/>
                  </a:cubicBezTo>
                  <a:cubicBezTo>
                    <a:pt x="4870" y="832"/>
                    <a:pt x="4863" y="780"/>
                    <a:pt x="4811" y="824"/>
                  </a:cubicBezTo>
                  <a:cubicBezTo>
                    <a:pt x="4781" y="847"/>
                    <a:pt x="4848" y="861"/>
                    <a:pt x="4855" y="884"/>
                  </a:cubicBezTo>
                  <a:cubicBezTo>
                    <a:pt x="4855" y="884"/>
                    <a:pt x="4863" y="884"/>
                    <a:pt x="4870" y="884"/>
                  </a:cubicBezTo>
                  <a:cubicBezTo>
                    <a:pt x="4848" y="891"/>
                    <a:pt x="4825" y="943"/>
                    <a:pt x="4803" y="958"/>
                  </a:cubicBezTo>
                  <a:cubicBezTo>
                    <a:pt x="4774" y="965"/>
                    <a:pt x="4751" y="973"/>
                    <a:pt x="4722" y="980"/>
                  </a:cubicBezTo>
                  <a:cubicBezTo>
                    <a:pt x="4699" y="980"/>
                    <a:pt x="4677" y="965"/>
                    <a:pt x="4655" y="973"/>
                  </a:cubicBezTo>
                  <a:cubicBezTo>
                    <a:pt x="4640" y="980"/>
                    <a:pt x="4669" y="1040"/>
                    <a:pt x="4625" y="1047"/>
                  </a:cubicBezTo>
                  <a:cubicBezTo>
                    <a:pt x="4603" y="1054"/>
                    <a:pt x="4588" y="1062"/>
                    <a:pt x="4588" y="1092"/>
                  </a:cubicBezTo>
                  <a:cubicBezTo>
                    <a:pt x="4580" y="1129"/>
                    <a:pt x="4625" y="1121"/>
                    <a:pt x="4625" y="1151"/>
                  </a:cubicBezTo>
                  <a:cubicBezTo>
                    <a:pt x="4647" y="1151"/>
                    <a:pt x="4647" y="1173"/>
                    <a:pt x="4640" y="1188"/>
                  </a:cubicBezTo>
                  <a:cubicBezTo>
                    <a:pt x="4610" y="1181"/>
                    <a:pt x="4603" y="1203"/>
                    <a:pt x="4603" y="1233"/>
                  </a:cubicBezTo>
                  <a:cubicBezTo>
                    <a:pt x="4617" y="1240"/>
                    <a:pt x="4617" y="1240"/>
                    <a:pt x="4617" y="1255"/>
                  </a:cubicBezTo>
                  <a:cubicBezTo>
                    <a:pt x="4580" y="1248"/>
                    <a:pt x="4566" y="1292"/>
                    <a:pt x="4536" y="1292"/>
                  </a:cubicBezTo>
                  <a:cubicBezTo>
                    <a:pt x="4514" y="1292"/>
                    <a:pt x="4499" y="1270"/>
                    <a:pt x="4491" y="1248"/>
                  </a:cubicBezTo>
                  <a:cubicBezTo>
                    <a:pt x="4477" y="1225"/>
                    <a:pt x="4454" y="1225"/>
                    <a:pt x="4424" y="1225"/>
                  </a:cubicBezTo>
                  <a:cubicBezTo>
                    <a:pt x="4424" y="1240"/>
                    <a:pt x="4424" y="1262"/>
                    <a:pt x="4424" y="1277"/>
                  </a:cubicBezTo>
                  <a:cubicBezTo>
                    <a:pt x="4380" y="1270"/>
                    <a:pt x="4292" y="1411"/>
                    <a:pt x="4277" y="1322"/>
                  </a:cubicBezTo>
                  <a:cubicBezTo>
                    <a:pt x="4292" y="1314"/>
                    <a:pt x="4335" y="1285"/>
                    <a:pt x="4299" y="1277"/>
                  </a:cubicBezTo>
                  <a:cubicBezTo>
                    <a:pt x="4284" y="1233"/>
                    <a:pt x="4262" y="1166"/>
                    <a:pt x="4210" y="1151"/>
                  </a:cubicBezTo>
                  <a:cubicBezTo>
                    <a:pt x="4180" y="1188"/>
                    <a:pt x="4166" y="1211"/>
                    <a:pt x="4121" y="1218"/>
                  </a:cubicBezTo>
                  <a:cubicBezTo>
                    <a:pt x="4113" y="1248"/>
                    <a:pt x="4136" y="1277"/>
                    <a:pt x="4128" y="1307"/>
                  </a:cubicBezTo>
                  <a:cubicBezTo>
                    <a:pt x="4136" y="1307"/>
                    <a:pt x="4136" y="1307"/>
                    <a:pt x="4143" y="1307"/>
                  </a:cubicBezTo>
                  <a:cubicBezTo>
                    <a:pt x="4143" y="1322"/>
                    <a:pt x="4136" y="1329"/>
                    <a:pt x="4121" y="1337"/>
                  </a:cubicBezTo>
                  <a:cubicBezTo>
                    <a:pt x="4099" y="1344"/>
                    <a:pt x="4106" y="1381"/>
                    <a:pt x="4106" y="1404"/>
                  </a:cubicBezTo>
                  <a:cubicBezTo>
                    <a:pt x="4113" y="1404"/>
                    <a:pt x="4121" y="1411"/>
                    <a:pt x="4136" y="1411"/>
                  </a:cubicBezTo>
                  <a:cubicBezTo>
                    <a:pt x="4136" y="1419"/>
                    <a:pt x="4136" y="1433"/>
                    <a:pt x="4136" y="1441"/>
                  </a:cubicBezTo>
                  <a:cubicBezTo>
                    <a:pt x="4106" y="1441"/>
                    <a:pt x="4113" y="1470"/>
                    <a:pt x="4113" y="1485"/>
                  </a:cubicBezTo>
                  <a:cubicBezTo>
                    <a:pt x="4091" y="1493"/>
                    <a:pt x="4084" y="1478"/>
                    <a:pt x="4069" y="1500"/>
                  </a:cubicBezTo>
                  <a:cubicBezTo>
                    <a:pt x="4062" y="1522"/>
                    <a:pt x="4069" y="1552"/>
                    <a:pt x="4032" y="1545"/>
                  </a:cubicBezTo>
                  <a:cubicBezTo>
                    <a:pt x="4010" y="1545"/>
                    <a:pt x="4010" y="1522"/>
                    <a:pt x="4002" y="1508"/>
                  </a:cubicBezTo>
                  <a:cubicBezTo>
                    <a:pt x="3987" y="1485"/>
                    <a:pt x="3958" y="1485"/>
                    <a:pt x="3935" y="1485"/>
                  </a:cubicBezTo>
                  <a:cubicBezTo>
                    <a:pt x="3883" y="1478"/>
                    <a:pt x="3868" y="1537"/>
                    <a:pt x="3824" y="1545"/>
                  </a:cubicBezTo>
                  <a:cubicBezTo>
                    <a:pt x="3772" y="1552"/>
                    <a:pt x="3742" y="1537"/>
                    <a:pt x="3735" y="1604"/>
                  </a:cubicBezTo>
                  <a:cubicBezTo>
                    <a:pt x="3713" y="1604"/>
                    <a:pt x="3698" y="1619"/>
                    <a:pt x="3683" y="1619"/>
                  </a:cubicBezTo>
                  <a:cubicBezTo>
                    <a:pt x="3661" y="1619"/>
                    <a:pt x="3638" y="1611"/>
                    <a:pt x="3623" y="1619"/>
                  </a:cubicBezTo>
                  <a:cubicBezTo>
                    <a:pt x="3586" y="1626"/>
                    <a:pt x="3571" y="1641"/>
                    <a:pt x="3527" y="1634"/>
                  </a:cubicBezTo>
                  <a:cubicBezTo>
                    <a:pt x="3482" y="1634"/>
                    <a:pt x="3438" y="1641"/>
                    <a:pt x="3393" y="1649"/>
                  </a:cubicBezTo>
                  <a:cubicBezTo>
                    <a:pt x="3393" y="1664"/>
                    <a:pt x="3393" y="1678"/>
                    <a:pt x="3393" y="1686"/>
                  </a:cubicBezTo>
                  <a:cubicBezTo>
                    <a:pt x="3393" y="1678"/>
                    <a:pt x="3393" y="1664"/>
                    <a:pt x="3393" y="1649"/>
                  </a:cubicBezTo>
                  <a:lnTo>
                    <a:pt x="3386" y="1649"/>
                  </a:lnTo>
                  <a:cubicBezTo>
                    <a:pt x="3356" y="1656"/>
                    <a:pt x="3334" y="1619"/>
                    <a:pt x="3304" y="1626"/>
                  </a:cubicBezTo>
                  <a:cubicBezTo>
                    <a:pt x="3230" y="1634"/>
                    <a:pt x="3178" y="1716"/>
                    <a:pt x="3178" y="1597"/>
                  </a:cubicBezTo>
                  <a:cubicBezTo>
                    <a:pt x="3178" y="1559"/>
                    <a:pt x="3185" y="1515"/>
                    <a:pt x="3156" y="1485"/>
                  </a:cubicBezTo>
                  <a:cubicBezTo>
                    <a:pt x="3126" y="1448"/>
                    <a:pt x="3171" y="1419"/>
                    <a:pt x="3148" y="1396"/>
                  </a:cubicBezTo>
                  <a:cubicBezTo>
                    <a:pt x="3148" y="1396"/>
                    <a:pt x="3148" y="1396"/>
                    <a:pt x="3148" y="1389"/>
                  </a:cubicBezTo>
                  <a:cubicBezTo>
                    <a:pt x="3126" y="1389"/>
                    <a:pt x="3126" y="1411"/>
                    <a:pt x="3096" y="1404"/>
                  </a:cubicBezTo>
                  <a:cubicBezTo>
                    <a:pt x="3096" y="1389"/>
                    <a:pt x="3096" y="1374"/>
                    <a:pt x="3096" y="1359"/>
                  </a:cubicBezTo>
                  <a:cubicBezTo>
                    <a:pt x="3059" y="1351"/>
                    <a:pt x="3029" y="1396"/>
                    <a:pt x="2992" y="1381"/>
                  </a:cubicBezTo>
                  <a:cubicBezTo>
                    <a:pt x="2985" y="1344"/>
                    <a:pt x="3022" y="1329"/>
                    <a:pt x="3007" y="1292"/>
                  </a:cubicBezTo>
                  <a:cubicBezTo>
                    <a:pt x="2992" y="1255"/>
                    <a:pt x="2985" y="1211"/>
                    <a:pt x="2962" y="1173"/>
                  </a:cubicBezTo>
                  <a:cubicBezTo>
                    <a:pt x="2940" y="1144"/>
                    <a:pt x="2851" y="980"/>
                    <a:pt x="2799" y="1032"/>
                  </a:cubicBezTo>
                  <a:cubicBezTo>
                    <a:pt x="2777" y="1054"/>
                    <a:pt x="2732" y="1040"/>
                    <a:pt x="2717" y="1017"/>
                  </a:cubicBezTo>
                  <a:cubicBezTo>
                    <a:pt x="2703" y="1010"/>
                    <a:pt x="2695" y="988"/>
                    <a:pt x="2680" y="980"/>
                  </a:cubicBezTo>
                  <a:cubicBezTo>
                    <a:pt x="2673" y="973"/>
                    <a:pt x="2665" y="973"/>
                    <a:pt x="2658" y="973"/>
                  </a:cubicBezTo>
                  <a:cubicBezTo>
                    <a:pt x="2658" y="988"/>
                    <a:pt x="2651" y="1010"/>
                    <a:pt x="2658" y="1017"/>
                  </a:cubicBezTo>
                  <a:cubicBezTo>
                    <a:pt x="2599" y="1047"/>
                    <a:pt x="2643" y="988"/>
                    <a:pt x="2651" y="973"/>
                  </a:cubicBezTo>
                  <a:cubicBezTo>
                    <a:pt x="2643" y="973"/>
                    <a:pt x="2636" y="973"/>
                    <a:pt x="2621" y="973"/>
                  </a:cubicBezTo>
                  <a:cubicBezTo>
                    <a:pt x="2576" y="958"/>
                    <a:pt x="2524" y="951"/>
                    <a:pt x="2487" y="914"/>
                  </a:cubicBezTo>
                  <a:cubicBezTo>
                    <a:pt x="2472" y="906"/>
                    <a:pt x="2428" y="861"/>
                    <a:pt x="2472" y="861"/>
                  </a:cubicBezTo>
                  <a:cubicBezTo>
                    <a:pt x="2480" y="832"/>
                    <a:pt x="2465" y="735"/>
                    <a:pt x="2435" y="720"/>
                  </a:cubicBezTo>
                  <a:cubicBezTo>
                    <a:pt x="2383" y="698"/>
                    <a:pt x="2406" y="661"/>
                    <a:pt x="2443" y="631"/>
                  </a:cubicBezTo>
                  <a:cubicBezTo>
                    <a:pt x="2472" y="594"/>
                    <a:pt x="2458" y="542"/>
                    <a:pt x="2472" y="498"/>
                  </a:cubicBezTo>
                  <a:cubicBezTo>
                    <a:pt x="2480" y="475"/>
                    <a:pt x="2487" y="460"/>
                    <a:pt x="2487" y="431"/>
                  </a:cubicBezTo>
                  <a:cubicBezTo>
                    <a:pt x="2487" y="409"/>
                    <a:pt x="2465" y="401"/>
                    <a:pt x="2465" y="379"/>
                  </a:cubicBezTo>
                  <a:cubicBezTo>
                    <a:pt x="2420" y="371"/>
                    <a:pt x="2376" y="327"/>
                    <a:pt x="2354" y="297"/>
                  </a:cubicBezTo>
                  <a:cubicBezTo>
                    <a:pt x="2339" y="282"/>
                    <a:pt x="2331" y="275"/>
                    <a:pt x="2316" y="282"/>
                  </a:cubicBezTo>
                  <a:cubicBezTo>
                    <a:pt x="2279" y="290"/>
                    <a:pt x="2257" y="275"/>
                    <a:pt x="2220" y="275"/>
                  </a:cubicBezTo>
                  <a:cubicBezTo>
                    <a:pt x="2220" y="297"/>
                    <a:pt x="2212" y="319"/>
                    <a:pt x="2190" y="319"/>
                  </a:cubicBezTo>
                  <a:cubicBezTo>
                    <a:pt x="2190" y="304"/>
                    <a:pt x="2175" y="282"/>
                    <a:pt x="2161" y="290"/>
                  </a:cubicBezTo>
                  <a:cubicBezTo>
                    <a:pt x="2146" y="304"/>
                    <a:pt x="2161" y="319"/>
                    <a:pt x="2153" y="334"/>
                  </a:cubicBezTo>
                  <a:cubicBezTo>
                    <a:pt x="2131" y="371"/>
                    <a:pt x="2086" y="319"/>
                    <a:pt x="2094" y="290"/>
                  </a:cubicBezTo>
                  <a:cubicBezTo>
                    <a:pt x="2086" y="290"/>
                    <a:pt x="2071" y="290"/>
                    <a:pt x="2064" y="290"/>
                  </a:cubicBezTo>
                  <a:cubicBezTo>
                    <a:pt x="2064" y="282"/>
                    <a:pt x="2064" y="267"/>
                    <a:pt x="2064" y="260"/>
                  </a:cubicBezTo>
                  <a:cubicBezTo>
                    <a:pt x="2042" y="260"/>
                    <a:pt x="2012" y="267"/>
                    <a:pt x="1997" y="252"/>
                  </a:cubicBezTo>
                  <a:cubicBezTo>
                    <a:pt x="1990" y="252"/>
                    <a:pt x="1990" y="230"/>
                    <a:pt x="1982" y="223"/>
                  </a:cubicBezTo>
                  <a:cubicBezTo>
                    <a:pt x="1975" y="223"/>
                    <a:pt x="1967" y="223"/>
                    <a:pt x="1960" y="223"/>
                  </a:cubicBezTo>
                  <a:cubicBezTo>
                    <a:pt x="1960" y="245"/>
                    <a:pt x="1960" y="267"/>
                    <a:pt x="1960" y="282"/>
                  </a:cubicBezTo>
                  <a:cubicBezTo>
                    <a:pt x="1930" y="297"/>
                    <a:pt x="1945" y="327"/>
                    <a:pt x="1960" y="342"/>
                  </a:cubicBezTo>
                  <a:cubicBezTo>
                    <a:pt x="1915" y="349"/>
                    <a:pt x="1908" y="297"/>
                    <a:pt x="1871" y="297"/>
                  </a:cubicBezTo>
                  <a:cubicBezTo>
                    <a:pt x="1864" y="304"/>
                    <a:pt x="1864" y="304"/>
                    <a:pt x="1864" y="312"/>
                  </a:cubicBezTo>
                  <a:cubicBezTo>
                    <a:pt x="1826" y="304"/>
                    <a:pt x="1782" y="312"/>
                    <a:pt x="1745" y="304"/>
                  </a:cubicBezTo>
                  <a:cubicBezTo>
                    <a:pt x="1745" y="282"/>
                    <a:pt x="1745" y="252"/>
                    <a:pt x="1767" y="238"/>
                  </a:cubicBezTo>
                  <a:cubicBezTo>
                    <a:pt x="1782" y="230"/>
                    <a:pt x="1797" y="223"/>
                    <a:pt x="1789" y="201"/>
                  </a:cubicBezTo>
                  <a:cubicBezTo>
                    <a:pt x="1759" y="193"/>
                    <a:pt x="1722" y="208"/>
                    <a:pt x="1693" y="201"/>
                  </a:cubicBezTo>
                  <a:cubicBezTo>
                    <a:pt x="1693" y="171"/>
                    <a:pt x="1693" y="134"/>
                    <a:pt x="1693" y="97"/>
                  </a:cubicBezTo>
                  <a:cubicBezTo>
                    <a:pt x="1656" y="97"/>
                    <a:pt x="1618" y="97"/>
                    <a:pt x="1581" y="82"/>
                  </a:cubicBezTo>
                  <a:cubicBezTo>
                    <a:pt x="1537" y="67"/>
                    <a:pt x="1492" y="97"/>
                    <a:pt x="1448" y="89"/>
                  </a:cubicBezTo>
                  <a:cubicBezTo>
                    <a:pt x="1448" y="52"/>
                    <a:pt x="1351" y="22"/>
                    <a:pt x="1336" y="0"/>
                  </a:cubicBezTo>
                  <a:cubicBezTo>
                    <a:pt x="1329" y="7"/>
                    <a:pt x="1314" y="22"/>
                    <a:pt x="1307" y="22"/>
                  </a:cubicBezTo>
                  <a:cubicBezTo>
                    <a:pt x="1307" y="59"/>
                    <a:pt x="1373" y="82"/>
                    <a:pt x="1336" y="126"/>
                  </a:cubicBezTo>
                  <a:cubicBezTo>
                    <a:pt x="1329" y="141"/>
                    <a:pt x="1307" y="134"/>
                    <a:pt x="1299" y="149"/>
                  </a:cubicBezTo>
                  <a:cubicBezTo>
                    <a:pt x="1284" y="171"/>
                    <a:pt x="1314" y="163"/>
                    <a:pt x="1314" y="186"/>
                  </a:cubicBezTo>
                  <a:cubicBezTo>
                    <a:pt x="1314" y="215"/>
                    <a:pt x="1314" y="297"/>
                    <a:pt x="1292" y="319"/>
                  </a:cubicBezTo>
                  <a:cubicBezTo>
                    <a:pt x="1247" y="371"/>
                    <a:pt x="1210" y="364"/>
                    <a:pt x="1151" y="371"/>
                  </a:cubicBezTo>
                  <a:cubicBezTo>
                    <a:pt x="1151" y="386"/>
                    <a:pt x="1158" y="386"/>
                    <a:pt x="1173" y="394"/>
                  </a:cubicBezTo>
                  <a:cubicBezTo>
                    <a:pt x="1195" y="409"/>
                    <a:pt x="1195" y="438"/>
                    <a:pt x="1210" y="453"/>
                  </a:cubicBezTo>
                  <a:cubicBezTo>
                    <a:pt x="1210" y="453"/>
                    <a:pt x="1202" y="460"/>
                    <a:pt x="1195" y="468"/>
                  </a:cubicBezTo>
                  <a:cubicBezTo>
                    <a:pt x="1165" y="468"/>
                    <a:pt x="1121" y="460"/>
                    <a:pt x="1099" y="490"/>
                  </a:cubicBezTo>
                  <a:cubicBezTo>
                    <a:pt x="1121" y="446"/>
                    <a:pt x="1062" y="438"/>
                    <a:pt x="1069" y="401"/>
                  </a:cubicBezTo>
                  <a:cubicBezTo>
                    <a:pt x="1054" y="394"/>
                    <a:pt x="1039" y="394"/>
                    <a:pt x="1024" y="401"/>
                  </a:cubicBezTo>
                  <a:cubicBezTo>
                    <a:pt x="1032" y="438"/>
                    <a:pt x="1002" y="446"/>
                    <a:pt x="987" y="468"/>
                  </a:cubicBezTo>
                  <a:cubicBezTo>
                    <a:pt x="965" y="505"/>
                    <a:pt x="995" y="549"/>
                    <a:pt x="950" y="564"/>
                  </a:cubicBezTo>
                  <a:cubicBezTo>
                    <a:pt x="853" y="594"/>
                    <a:pt x="987" y="661"/>
                    <a:pt x="980" y="713"/>
                  </a:cubicBezTo>
                  <a:lnTo>
                    <a:pt x="1010" y="713"/>
                  </a:lnTo>
                  <a:cubicBezTo>
                    <a:pt x="1017" y="750"/>
                    <a:pt x="1002" y="757"/>
                    <a:pt x="972" y="772"/>
                  </a:cubicBezTo>
                  <a:cubicBezTo>
                    <a:pt x="935" y="787"/>
                    <a:pt x="905" y="824"/>
                    <a:pt x="883" y="869"/>
                  </a:cubicBezTo>
                  <a:cubicBezTo>
                    <a:pt x="876" y="876"/>
                    <a:pt x="868" y="951"/>
                    <a:pt x="853" y="951"/>
                  </a:cubicBezTo>
                  <a:cubicBezTo>
                    <a:pt x="831" y="958"/>
                    <a:pt x="794" y="936"/>
                    <a:pt x="772" y="951"/>
                  </a:cubicBezTo>
                  <a:cubicBezTo>
                    <a:pt x="779" y="973"/>
                    <a:pt x="765" y="980"/>
                    <a:pt x="742" y="980"/>
                  </a:cubicBezTo>
                  <a:cubicBezTo>
                    <a:pt x="750" y="995"/>
                    <a:pt x="750" y="1010"/>
                    <a:pt x="727" y="1017"/>
                  </a:cubicBezTo>
                  <a:cubicBezTo>
                    <a:pt x="727" y="1047"/>
                    <a:pt x="742" y="1047"/>
                    <a:pt x="750" y="1069"/>
                  </a:cubicBezTo>
                  <a:cubicBezTo>
                    <a:pt x="765" y="1106"/>
                    <a:pt x="742" y="1136"/>
                    <a:pt x="735" y="1166"/>
                  </a:cubicBezTo>
                  <a:cubicBezTo>
                    <a:pt x="727" y="1173"/>
                    <a:pt x="727" y="1181"/>
                    <a:pt x="727" y="1196"/>
                  </a:cubicBezTo>
                  <a:cubicBezTo>
                    <a:pt x="757" y="1188"/>
                    <a:pt x="824" y="1203"/>
                    <a:pt x="824" y="1203"/>
                  </a:cubicBezTo>
                  <a:cubicBezTo>
                    <a:pt x="824" y="1211"/>
                    <a:pt x="831" y="1255"/>
                    <a:pt x="831" y="1255"/>
                  </a:cubicBezTo>
                  <a:cubicBezTo>
                    <a:pt x="824" y="1255"/>
                    <a:pt x="816" y="1255"/>
                    <a:pt x="809" y="1255"/>
                  </a:cubicBezTo>
                  <a:cubicBezTo>
                    <a:pt x="809" y="1270"/>
                    <a:pt x="802" y="1322"/>
                    <a:pt x="824" y="1322"/>
                  </a:cubicBezTo>
                  <a:cubicBezTo>
                    <a:pt x="824" y="1337"/>
                    <a:pt x="824" y="1359"/>
                    <a:pt x="816" y="1374"/>
                  </a:cubicBezTo>
                  <a:cubicBezTo>
                    <a:pt x="757" y="1374"/>
                    <a:pt x="816" y="1463"/>
                    <a:pt x="809" y="1500"/>
                  </a:cubicBezTo>
                  <a:cubicBezTo>
                    <a:pt x="802" y="1530"/>
                    <a:pt x="742" y="1582"/>
                    <a:pt x="712" y="1574"/>
                  </a:cubicBezTo>
                  <a:cubicBezTo>
                    <a:pt x="712" y="1597"/>
                    <a:pt x="712" y="1619"/>
                    <a:pt x="712" y="1634"/>
                  </a:cubicBezTo>
                  <a:cubicBezTo>
                    <a:pt x="668" y="1634"/>
                    <a:pt x="668" y="1649"/>
                    <a:pt x="660" y="1693"/>
                  </a:cubicBezTo>
                  <a:cubicBezTo>
                    <a:pt x="631" y="1693"/>
                    <a:pt x="601" y="1693"/>
                    <a:pt x="608" y="1730"/>
                  </a:cubicBezTo>
                  <a:cubicBezTo>
                    <a:pt x="638" y="1738"/>
                    <a:pt x="646" y="1760"/>
                    <a:pt x="675" y="1760"/>
                  </a:cubicBezTo>
                  <a:cubicBezTo>
                    <a:pt x="697" y="1767"/>
                    <a:pt x="720" y="1760"/>
                    <a:pt x="742" y="1760"/>
                  </a:cubicBezTo>
                  <a:cubicBezTo>
                    <a:pt x="765" y="1767"/>
                    <a:pt x="831" y="1767"/>
                    <a:pt x="816" y="1805"/>
                  </a:cubicBezTo>
                  <a:cubicBezTo>
                    <a:pt x="742" y="1812"/>
                    <a:pt x="631" y="1894"/>
                    <a:pt x="616" y="1975"/>
                  </a:cubicBezTo>
                  <a:cubicBezTo>
                    <a:pt x="586" y="1968"/>
                    <a:pt x="542" y="2013"/>
                    <a:pt x="586" y="2042"/>
                  </a:cubicBezTo>
                  <a:cubicBezTo>
                    <a:pt x="616" y="2057"/>
                    <a:pt x="646" y="2042"/>
                    <a:pt x="631" y="2094"/>
                  </a:cubicBezTo>
                  <a:cubicBezTo>
                    <a:pt x="623" y="2139"/>
                    <a:pt x="623" y="2176"/>
                    <a:pt x="594" y="2221"/>
                  </a:cubicBezTo>
                  <a:cubicBezTo>
                    <a:pt x="571" y="2258"/>
                    <a:pt x="616" y="2280"/>
                    <a:pt x="608" y="2317"/>
                  </a:cubicBezTo>
                  <a:cubicBezTo>
                    <a:pt x="594" y="2317"/>
                    <a:pt x="586" y="2317"/>
                    <a:pt x="571" y="2317"/>
                  </a:cubicBezTo>
                  <a:cubicBezTo>
                    <a:pt x="564" y="2339"/>
                    <a:pt x="586" y="2369"/>
                    <a:pt x="571" y="2399"/>
                  </a:cubicBezTo>
                  <a:cubicBezTo>
                    <a:pt x="594" y="2399"/>
                    <a:pt x="601" y="2413"/>
                    <a:pt x="601" y="2428"/>
                  </a:cubicBezTo>
                  <a:cubicBezTo>
                    <a:pt x="586" y="2436"/>
                    <a:pt x="586" y="2451"/>
                    <a:pt x="586" y="2466"/>
                  </a:cubicBezTo>
                  <a:cubicBezTo>
                    <a:pt x="564" y="2466"/>
                    <a:pt x="542" y="2495"/>
                    <a:pt x="534" y="2518"/>
                  </a:cubicBezTo>
                  <a:cubicBezTo>
                    <a:pt x="497" y="2532"/>
                    <a:pt x="408" y="2495"/>
                    <a:pt x="423" y="2562"/>
                  </a:cubicBezTo>
                  <a:cubicBezTo>
                    <a:pt x="475" y="2562"/>
                    <a:pt x="512" y="2599"/>
                    <a:pt x="564" y="2599"/>
                  </a:cubicBezTo>
                  <a:cubicBezTo>
                    <a:pt x="586" y="2607"/>
                    <a:pt x="646" y="2599"/>
                    <a:pt x="653" y="2629"/>
                  </a:cubicBezTo>
                  <a:cubicBezTo>
                    <a:pt x="668" y="2629"/>
                    <a:pt x="675" y="2629"/>
                    <a:pt x="690" y="2629"/>
                  </a:cubicBezTo>
                  <a:cubicBezTo>
                    <a:pt x="690" y="2681"/>
                    <a:pt x="660" y="2673"/>
                    <a:pt x="623" y="2673"/>
                  </a:cubicBezTo>
                  <a:cubicBezTo>
                    <a:pt x="571" y="2740"/>
                    <a:pt x="608" y="2881"/>
                    <a:pt x="601" y="2956"/>
                  </a:cubicBezTo>
                  <a:cubicBezTo>
                    <a:pt x="497" y="2956"/>
                    <a:pt x="297" y="2859"/>
                    <a:pt x="252" y="3000"/>
                  </a:cubicBezTo>
                  <a:cubicBezTo>
                    <a:pt x="245" y="3037"/>
                    <a:pt x="245" y="3082"/>
                    <a:pt x="282" y="3097"/>
                  </a:cubicBezTo>
                  <a:cubicBezTo>
                    <a:pt x="289" y="3112"/>
                    <a:pt x="289" y="3126"/>
                    <a:pt x="289" y="3141"/>
                  </a:cubicBezTo>
                  <a:cubicBezTo>
                    <a:pt x="237" y="3141"/>
                    <a:pt x="237" y="3163"/>
                    <a:pt x="230" y="3208"/>
                  </a:cubicBezTo>
                  <a:cubicBezTo>
                    <a:pt x="230" y="3245"/>
                    <a:pt x="170" y="3268"/>
                    <a:pt x="200" y="3290"/>
                  </a:cubicBezTo>
                  <a:cubicBezTo>
                    <a:pt x="222" y="3320"/>
                    <a:pt x="282" y="3349"/>
                    <a:pt x="282" y="3394"/>
                  </a:cubicBezTo>
                  <a:cubicBezTo>
                    <a:pt x="282" y="3416"/>
                    <a:pt x="274" y="3453"/>
                    <a:pt x="289" y="3468"/>
                  </a:cubicBezTo>
                  <a:cubicBezTo>
                    <a:pt x="289" y="3475"/>
                    <a:pt x="311" y="3475"/>
                    <a:pt x="311" y="3483"/>
                  </a:cubicBezTo>
                  <a:cubicBezTo>
                    <a:pt x="326" y="3527"/>
                    <a:pt x="289" y="3535"/>
                    <a:pt x="267" y="3565"/>
                  </a:cubicBezTo>
                  <a:cubicBezTo>
                    <a:pt x="245" y="3602"/>
                    <a:pt x="230" y="3579"/>
                    <a:pt x="193" y="3572"/>
                  </a:cubicBezTo>
                  <a:cubicBezTo>
                    <a:pt x="170" y="3565"/>
                    <a:pt x="141" y="3579"/>
                    <a:pt x="111" y="3579"/>
                  </a:cubicBezTo>
                  <a:cubicBezTo>
                    <a:pt x="74" y="3587"/>
                    <a:pt x="59" y="3535"/>
                    <a:pt x="37" y="3513"/>
                  </a:cubicBezTo>
                  <a:cubicBezTo>
                    <a:pt x="29" y="3527"/>
                    <a:pt x="29" y="3550"/>
                    <a:pt x="14" y="3550"/>
                  </a:cubicBezTo>
                  <a:cubicBezTo>
                    <a:pt x="7" y="3594"/>
                    <a:pt x="14" y="3609"/>
                    <a:pt x="66" y="3609"/>
                  </a:cubicBezTo>
                  <a:cubicBezTo>
                    <a:pt x="59" y="3661"/>
                    <a:pt x="52" y="3706"/>
                    <a:pt x="44" y="3750"/>
                  </a:cubicBezTo>
                  <a:cubicBezTo>
                    <a:pt x="37" y="3750"/>
                    <a:pt x="29" y="3758"/>
                    <a:pt x="22" y="3758"/>
                  </a:cubicBezTo>
                  <a:cubicBezTo>
                    <a:pt x="22" y="3758"/>
                    <a:pt x="7" y="3832"/>
                    <a:pt x="0" y="3839"/>
                  </a:cubicBezTo>
                  <a:cubicBezTo>
                    <a:pt x="0" y="3862"/>
                    <a:pt x="0" y="3891"/>
                    <a:pt x="14" y="3906"/>
                  </a:cubicBezTo>
                  <a:cubicBezTo>
                    <a:pt x="29" y="3921"/>
                    <a:pt x="44" y="3921"/>
                    <a:pt x="37" y="3943"/>
                  </a:cubicBezTo>
                  <a:cubicBezTo>
                    <a:pt x="66" y="3951"/>
                    <a:pt x="74" y="3980"/>
                    <a:pt x="103" y="3980"/>
                  </a:cubicBezTo>
                  <a:cubicBezTo>
                    <a:pt x="118" y="3973"/>
                    <a:pt x="148" y="3965"/>
                    <a:pt x="141" y="3995"/>
                  </a:cubicBezTo>
                  <a:cubicBezTo>
                    <a:pt x="118" y="3995"/>
                    <a:pt x="103" y="4003"/>
                    <a:pt x="103" y="4025"/>
                  </a:cubicBezTo>
                  <a:cubicBezTo>
                    <a:pt x="96" y="4032"/>
                    <a:pt x="96" y="4025"/>
                    <a:pt x="89" y="4040"/>
                  </a:cubicBezTo>
                  <a:lnTo>
                    <a:pt x="81" y="4040"/>
                  </a:lnTo>
                  <a:cubicBezTo>
                    <a:pt x="81" y="4055"/>
                    <a:pt x="81" y="4077"/>
                    <a:pt x="111" y="4077"/>
                  </a:cubicBezTo>
                  <a:cubicBezTo>
                    <a:pt x="111" y="4099"/>
                    <a:pt x="96" y="4144"/>
                    <a:pt x="133" y="4144"/>
                  </a:cubicBezTo>
                  <a:cubicBezTo>
                    <a:pt x="155" y="4151"/>
                    <a:pt x="193" y="4136"/>
                    <a:pt x="200" y="4159"/>
                  </a:cubicBezTo>
                  <a:cubicBezTo>
                    <a:pt x="215" y="4159"/>
                    <a:pt x="222" y="4159"/>
                    <a:pt x="237" y="4159"/>
                  </a:cubicBezTo>
                  <a:cubicBezTo>
                    <a:pt x="245" y="4122"/>
                    <a:pt x="245" y="4084"/>
                    <a:pt x="297" y="4099"/>
                  </a:cubicBezTo>
                  <a:cubicBezTo>
                    <a:pt x="319" y="4099"/>
                    <a:pt x="356" y="4114"/>
                    <a:pt x="363" y="4084"/>
                  </a:cubicBezTo>
                  <a:cubicBezTo>
                    <a:pt x="371" y="4084"/>
                    <a:pt x="371" y="4084"/>
                    <a:pt x="371" y="4084"/>
                  </a:cubicBezTo>
                  <a:cubicBezTo>
                    <a:pt x="371" y="4099"/>
                    <a:pt x="378" y="4122"/>
                    <a:pt x="378" y="4144"/>
                  </a:cubicBezTo>
                  <a:cubicBezTo>
                    <a:pt x="400" y="4144"/>
                    <a:pt x="438" y="4188"/>
                    <a:pt x="445" y="4173"/>
                  </a:cubicBezTo>
                  <a:cubicBezTo>
                    <a:pt x="445" y="4166"/>
                    <a:pt x="430" y="4107"/>
                    <a:pt x="430" y="4092"/>
                  </a:cubicBezTo>
                  <a:cubicBezTo>
                    <a:pt x="445" y="4107"/>
                    <a:pt x="460" y="4092"/>
                    <a:pt x="467" y="4122"/>
                  </a:cubicBezTo>
                  <a:cubicBezTo>
                    <a:pt x="467" y="4136"/>
                    <a:pt x="475" y="4144"/>
                    <a:pt x="475" y="4151"/>
                  </a:cubicBezTo>
                  <a:cubicBezTo>
                    <a:pt x="482" y="4173"/>
                    <a:pt x="497" y="4196"/>
                    <a:pt x="519" y="4196"/>
                  </a:cubicBezTo>
                  <a:cubicBezTo>
                    <a:pt x="534" y="4248"/>
                    <a:pt x="445" y="4211"/>
                    <a:pt x="423" y="4233"/>
                  </a:cubicBezTo>
                  <a:cubicBezTo>
                    <a:pt x="393" y="4262"/>
                    <a:pt x="400" y="4330"/>
                    <a:pt x="445" y="4344"/>
                  </a:cubicBezTo>
                  <a:cubicBezTo>
                    <a:pt x="505" y="4359"/>
                    <a:pt x="430" y="4448"/>
                    <a:pt x="408" y="4381"/>
                  </a:cubicBezTo>
                  <a:cubicBezTo>
                    <a:pt x="378" y="4330"/>
                    <a:pt x="341" y="4315"/>
                    <a:pt x="282" y="4322"/>
                  </a:cubicBezTo>
                  <a:cubicBezTo>
                    <a:pt x="282" y="4337"/>
                    <a:pt x="267" y="4344"/>
                    <a:pt x="252" y="4344"/>
                  </a:cubicBezTo>
                  <a:cubicBezTo>
                    <a:pt x="252" y="4277"/>
                    <a:pt x="193" y="4307"/>
                    <a:pt x="178" y="4262"/>
                  </a:cubicBezTo>
                  <a:cubicBezTo>
                    <a:pt x="163" y="4211"/>
                    <a:pt x="126" y="4181"/>
                    <a:pt x="74" y="4181"/>
                  </a:cubicBezTo>
                  <a:cubicBezTo>
                    <a:pt x="66" y="4188"/>
                    <a:pt x="66" y="4196"/>
                    <a:pt x="66" y="4211"/>
                  </a:cubicBezTo>
                  <a:cubicBezTo>
                    <a:pt x="89" y="4211"/>
                    <a:pt x="111" y="4233"/>
                    <a:pt x="133" y="4233"/>
                  </a:cubicBezTo>
                  <a:cubicBezTo>
                    <a:pt x="133" y="4255"/>
                    <a:pt x="111" y="4285"/>
                    <a:pt x="133" y="4300"/>
                  </a:cubicBezTo>
                  <a:cubicBezTo>
                    <a:pt x="141" y="4307"/>
                    <a:pt x="155" y="4307"/>
                    <a:pt x="170" y="4322"/>
                  </a:cubicBezTo>
                  <a:cubicBezTo>
                    <a:pt x="200" y="4352"/>
                    <a:pt x="200" y="4404"/>
                    <a:pt x="148" y="4404"/>
                  </a:cubicBezTo>
                  <a:cubicBezTo>
                    <a:pt x="141" y="4426"/>
                    <a:pt x="126" y="4456"/>
                    <a:pt x="133" y="4478"/>
                  </a:cubicBezTo>
                  <a:cubicBezTo>
                    <a:pt x="163" y="4485"/>
                    <a:pt x="200" y="4493"/>
                    <a:pt x="230" y="4485"/>
                  </a:cubicBezTo>
                  <a:cubicBezTo>
                    <a:pt x="252" y="4485"/>
                    <a:pt x="237" y="4396"/>
                    <a:pt x="237" y="4381"/>
                  </a:cubicBezTo>
                  <a:cubicBezTo>
                    <a:pt x="274" y="4374"/>
                    <a:pt x="282" y="4404"/>
                    <a:pt x="304" y="4419"/>
                  </a:cubicBezTo>
                  <a:cubicBezTo>
                    <a:pt x="334" y="4441"/>
                    <a:pt x="400" y="4441"/>
                    <a:pt x="438" y="4441"/>
                  </a:cubicBezTo>
                  <a:cubicBezTo>
                    <a:pt x="438" y="4478"/>
                    <a:pt x="430" y="4522"/>
                    <a:pt x="475" y="4522"/>
                  </a:cubicBezTo>
                  <a:cubicBezTo>
                    <a:pt x="467" y="4530"/>
                    <a:pt x="475" y="4545"/>
                    <a:pt x="475" y="4545"/>
                  </a:cubicBezTo>
                  <a:cubicBezTo>
                    <a:pt x="490" y="4545"/>
                    <a:pt x="490" y="4522"/>
                    <a:pt x="490" y="4515"/>
                  </a:cubicBezTo>
                  <a:cubicBezTo>
                    <a:pt x="527" y="4515"/>
                    <a:pt x="571" y="4515"/>
                    <a:pt x="608" y="4515"/>
                  </a:cubicBezTo>
                  <a:cubicBezTo>
                    <a:pt x="608" y="4508"/>
                    <a:pt x="608" y="4508"/>
                    <a:pt x="608" y="4500"/>
                  </a:cubicBezTo>
                  <a:cubicBezTo>
                    <a:pt x="631" y="4500"/>
                    <a:pt x="660" y="4500"/>
                    <a:pt x="675" y="4485"/>
                  </a:cubicBezTo>
                  <a:cubicBezTo>
                    <a:pt x="690" y="4463"/>
                    <a:pt x="705" y="4448"/>
                    <a:pt x="727" y="4441"/>
                  </a:cubicBezTo>
                  <a:cubicBezTo>
                    <a:pt x="727" y="4426"/>
                    <a:pt x="735" y="4411"/>
                    <a:pt x="720" y="4396"/>
                  </a:cubicBezTo>
                  <a:cubicBezTo>
                    <a:pt x="742" y="4396"/>
                    <a:pt x="802" y="4389"/>
                    <a:pt x="802" y="4419"/>
                  </a:cubicBezTo>
                  <a:cubicBezTo>
                    <a:pt x="809" y="4419"/>
                    <a:pt x="816" y="4419"/>
                    <a:pt x="824" y="4419"/>
                  </a:cubicBezTo>
                  <a:cubicBezTo>
                    <a:pt x="824" y="4411"/>
                    <a:pt x="824" y="4396"/>
                    <a:pt x="824" y="4389"/>
                  </a:cubicBezTo>
                  <a:cubicBezTo>
                    <a:pt x="831" y="4389"/>
                    <a:pt x="846" y="4389"/>
                    <a:pt x="853" y="4389"/>
                  </a:cubicBezTo>
                  <a:cubicBezTo>
                    <a:pt x="853" y="4426"/>
                    <a:pt x="824" y="4441"/>
                    <a:pt x="831" y="4478"/>
                  </a:cubicBezTo>
                  <a:cubicBezTo>
                    <a:pt x="831" y="4478"/>
                    <a:pt x="846" y="4478"/>
                    <a:pt x="853" y="4478"/>
                  </a:cubicBezTo>
                  <a:cubicBezTo>
                    <a:pt x="846" y="4448"/>
                    <a:pt x="905" y="4448"/>
                    <a:pt x="928" y="4456"/>
                  </a:cubicBezTo>
                  <a:cubicBezTo>
                    <a:pt x="965" y="4470"/>
                    <a:pt x="943" y="4560"/>
                    <a:pt x="935" y="4589"/>
                  </a:cubicBezTo>
                  <a:cubicBezTo>
                    <a:pt x="913" y="4589"/>
                    <a:pt x="891" y="4589"/>
                    <a:pt x="913" y="4612"/>
                  </a:cubicBezTo>
                  <a:cubicBezTo>
                    <a:pt x="935" y="4619"/>
                    <a:pt x="943" y="4604"/>
                    <a:pt x="965" y="4612"/>
                  </a:cubicBezTo>
                  <a:cubicBezTo>
                    <a:pt x="972" y="4619"/>
                    <a:pt x="980" y="4619"/>
                    <a:pt x="987" y="4627"/>
                  </a:cubicBezTo>
                  <a:cubicBezTo>
                    <a:pt x="987" y="4649"/>
                    <a:pt x="980" y="4664"/>
                    <a:pt x="980" y="4693"/>
                  </a:cubicBezTo>
                  <a:cubicBezTo>
                    <a:pt x="987" y="4693"/>
                    <a:pt x="987" y="4693"/>
                    <a:pt x="995" y="4693"/>
                  </a:cubicBezTo>
                  <a:cubicBezTo>
                    <a:pt x="995" y="4656"/>
                    <a:pt x="1091" y="4656"/>
                    <a:pt x="1113" y="4671"/>
                  </a:cubicBezTo>
                  <a:cubicBezTo>
                    <a:pt x="1136" y="4686"/>
                    <a:pt x="1121" y="4738"/>
                    <a:pt x="1121" y="4760"/>
                  </a:cubicBezTo>
                  <a:cubicBezTo>
                    <a:pt x="1113" y="4782"/>
                    <a:pt x="1113" y="4805"/>
                    <a:pt x="1113" y="4827"/>
                  </a:cubicBezTo>
                  <a:cubicBezTo>
                    <a:pt x="1121" y="4842"/>
                    <a:pt x="1128" y="4857"/>
                    <a:pt x="1128" y="4872"/>
                  </a:cubicBezTo>
                  <a:cubicBezTo>
                    <a:pt x="1165" y="4872"/>
                    <a:pt x="1217" y="4857"/>
                    <a:pt x="1255" y="4879"/>
                  </a:cubicBezTo>
                  <a:cubicBezTo>
                    <a:pt x="1277" y="4894"/>
                    <a:pt x="1255" y="4983"/>
                    <a:pt x="1247" y="5005"/>
                  </a:cubicBezTo>
                  <a:cubicBezTo>
                    <a:pt x="1225" y="5005"/>
                    <a:pt x="1232" y="5042"/>
                    <a:pt x="1232" y="5057"/>
                  </a:cubicBezTo>
                  <a:cubicBezTo>
                    <a:pt x="1195" y="5057"/>
                    <a:pt x="1173" y="5057"/>
                    <a:pt x="1165" y="5094"/>
                  </a:cubicBezTo>
                  <a:cubicBezTo>
                    <a:pt x="1165" y="5117"/>
                    <a:pt x="1202" y="5206"/>
                    <a:pt x="1158" y="5206"/>
                  </a:cubicBezTo>
                  <a:cubicBezTo>
                    <a:pt x="1121" y="5206"/>
                    <a:pt x="1113" y="5132"/>
                    <a:pt x="1069" y="5132"/>
                  </a:cubicBezTo>
                  <a:cubicBezTo>
                    <a:pt x="1017" y="5139"/>
                    <a:pt x="1062" y="5183"/>
                    <a:pt x="1099" y="5183"/>
                  </a:cubicBezTo>
                  <a:cubicBezTo>
                    <a:pt x="1106" y="5213"/>
                    <a:pt x="1054" y="5213"/>
                    <a:pt x="1039" y="5221"/>
                  </a:cubicBezTo>
                  <a:cubicBezTo>
                    <a:pt x="1024" y="5228"/>
                    <a:pt x="1017" y="5265"/>
                    <a:pt x="1010" y="5295"/>
                  </a:cubicBezTo>
                  <a:cubicBezTo>
                    <a:pt x="1017" y="5302"/>
                    <a:pt x="1010" y="5324"/>
                    <a:pt x="1017" y="5332"/>
                  </a:cubicBezTo>
                  <a:cubicBezTo>
                    <a:pt x="1024" y="5354"/>
                    <a:pt x="1069" y="5377"/>
                    <a:pt x="1091" y="5384"/>
                  </a:cubicBezTo>
                  <a:cubicBezTo>
                    <a:pt x="1143" y="5414"/>
                    <a:pt x="1180" y="5362"/>
                    <a:pt x="1217" y="5332"/>
                  </a:cubicBezTo>
                  <a:cubicBezTo>
                    <a:pt x="1240" y="5310"/>
                    <a:pt x="1262" y="5235"/>
                    <a:pt x="1299" y="5243"/>
                  </a:cubicBezTo>
                  <a:cubicBezTo>
                    <a:pt x="1307" y="5213"/>
                    <a:pt x="1307" y="5176"/>
                    <a:pt x="1307" y="5146"/>
                  </a:cubicBezTo>
                  <a:cubicBezTo>
                    <a:pt x="1299" y="5146"/>
                    <a:pt x="1299" y="5146"/>
                    <a:pt x="1299" y="5146"/>
                  </a:cubicBezTo>
                  <a:cubicBezTo>
                    <a:pt x="1292" y="5132"/>
                    <a:pt x="1299" y="5109"/>
                    <a:pt x="1299" y="5094"/>
                  </a:cubicBezTo>
                  <a:cubicBezTo>
                    <a:pt x="1373" y="5064"/>
                    <a:pt x="1477" y="5042"/>
                    <a:pt x="1559" y="5057"/>
                  </a:cubicBezTo>
                  <a:cubicBezTo>
                    <a:pt x="1596" y="5072"/>
                    <a:pt x="1604" y="5117"/>
                    <a:pt x="1641" y="5124"/>
                  </a:cubicBezTo>
                  <a:cubicBezTo>
                    <a:pt x="1670" y="5124"/>
                    <a:pt x="1715" y="5124"/>
                    <a:pt x="1715" y="5087"/>
                  </a:cubicBezTo>
                  <a:cubicBezTo>
                    <a:pt x="1722" y="5087"/>
                    <a:pt x="1730" y="5079"/>
                    <a:pt x="1745" y="5087"/>
                  </a:cubicBezTo>
                  <a:cubicBezTo>
                    <a:pt x="1752" y="4990"/>
                    <a:pt x="1789" y="5102"/>
                    <a:pt x="1812" y="5057"/>
                  </a:cubicBezTo>
                  <a:cubicBezTo>
                    <a:pt x="1826" y="5020"/>
                    <a:pt x="1834" y="5013"/>
                    <a:pt x="1864" y="5005"/>
                  </a:cubicBezTo>
                  <a:cubicBezTo>
                    <a:pt x="1901" y="4990"/>
                    <a:pt x="1864" y="4946"/>
                    <a:pt x="1901" y="4924"/>
                  </a:cubicBezTo>
                  <a:cubicBezTo>
                    <a:pt x="1834" y="4901"/>
                    <a:pt x="1893" y="4886"/>
                    <a:pt x="1938" y="4886"/>
                  </a:cubicBezTo>
                  <a:cubicBezTo>
                    <a:pt x="1990" y="4894"/>
                    <a:pt x="1997" y="4909"/>
                    <a:pt x="1997" y="4961"/>
                  </a:cubicBezTo>
                  <a:cubicBezTo>
                    <a:pt x="2012" y="4961"/>
                    <a:pt x="2019" y="4953"/>
                    <a:pt x="2027" y="4953"/>
                  </a:cubicBezTo>
                  <a:cubicBezTo>
                    <a:pt x="2034" y="4879"/>
                    <a:pt x="2101" y="4946"/>
                    <a:pt x="2094" y="4990"/>
                  </a:cubicBezTo>
                  <a:cubicBezTo>
                    <a:pt x="2109" y="4998"/>
                    <a:pt x="2131" y="4990"/>
                    <a:pt x="2153" y="4990"/>
                  </a:cubicBezTo>
                  <a:cubicBezTo>
                    <a:pt x="2153" y="4916"/>
                    <a:pt x="2198" y="4938"/>
                    <a:pt x="2257" y="4931"/>
                  </a:cubicBezTo>
                  <a:cubicBezTo>
                    <a:pt x="2264" y="4909"/>
                    <a:pt x="2235" y="4901"/>
                    <a:pt x="2242" y="4879"/>
                  </a:cubicBezTo>
                  <a:cubicBezTo>
                    <a:pt x="2287" y="4857"/>
                    <a:pt x="2272" y="4790"/>
                    <a:pt x="2331" y="4797"/>
                  </a:cubicBezTo>
                  <a:cubicBezTo>
                    <a:pt x="2331" y="4775"/>
                    <a:pt x="2331" y="4753"/>
                    <a:pt x="2339" y="4730"/>
                  </a:cubicBezTo>
                  <a:cubicBezTo>
                    <a:pt x="2354" y="4723"/>
                    <a:pt x="2369" y="4730"/>
                    <a:pt x="2369" y="4738"/>
                  </a:cubicBezTo>
                  <a:cubicBezTo>
                    <a:pt x="2376" y="4738"/>
                    <a:pt x="2383" y="4738"/>
                    <a:pt x="2383" y="4745"/>
                  </a:cubicBezTo>
                  <a:cubicBezTo>
                    <a:pt x="2383" y="4753"/>
                    <a:pt x="2391" y="4767"/>
                    <a:pt x="2391" y="4775"/>
                  </a:cubicBezTo>
                  <a:cubicBezTo>
                    <a:pt x="2413" y="4782"/>
                    <a:pt x="2428" y="4767"/>
                    <a:pt x="2435" y="4745"/>
                  </a:cubicBezTo>
                  <a:cubicBezTo>
                    <a:pt x="2465" y="4753"/>
                    <a:pt x="2502" y="4767"/>
                    <a:pt x="2547" y="4782"/>
                  </a:cubicBezTo>
                  <a:cubicBezTo>
                    <a:pt x="2547" y="4775"/>
                    <a:pt x="2539" y="4767"/>
                    <a:pt x="2539" y="4760"/>
                  </a:cubicBezTo>
                  <a:cubicBezTo>
                    <a:pt x="2539" y="4738"/>
                    <a:pt x="2532" y="4730"/>
                    <a:pt x="2502" y="4730"/>
                  </a:cubicBezTo>
                  <a:cubicBezTo>
                    <a:pt x="2495" y="4701"/>
                    <a:pt x="2472" y="4686"/>
                    <a:pt x="2465" y="4664"/>
                  </a:cubicBezTo>
                  <a:cubicBezTo>
                    <a:pt x="2517" y="4664"/>
                    <a:pt x="2458" y="4582"/>
                    <a:pt x="2458" y="4574"/>
                  </a:cubicBezTo>
                  <a:cubicBezTo>
                    <a:pt x="2450" y="4537"/>
                    <a:pt x="2458" y="4493"/>
                    <a:pt x="2458" y="4456"/>
                  </a:cubicBezTo>
                  <a:cubicBezTo>
                    <a:pt x="2465" y="4456"/>
                    <a:pt x="2472" y="4456"/>
                    <a:pt x="2480" y="4456"/>
                  </a:cubicBezTo>
                  <a:cubicBezTo>
                    <a:pt x="2480" y="4522"/>
                    <a:pt x="2524" y="4574"/>
                    <a:pt x="2532" y="4634"/>
                  </a:cubicBezTo>
                  <a:cubicBezTo>
                    <a:pt x="2532" y="4656"/>
                    <a:pt x="2547" y="4664"/>
                    <a:pt x="2547" y="4686"/>
                  </a:cubicBezTo>
                  <a:cubicBezTo>
                    <a:pt x="2554" y="4693"/>
                    <a:pt x="2547" y="4716"/>
                    <a:pt x="2554" y="4723"/>
                  </a:cubicBezTo>
                  <a:cubicBezTo>
                    <a:pt x="2554" y="4738"/>
                    <a:pt x="2569" y="4760"/>
                    <a:pt x="2591" y="4753"/>
                  </a:cubicBezTo>
                  <a:cubicBezTo>
                    <a:pt x="2606" y="4738"/>
                    <a:pt x="2576" y="4723"/>
                    <a:pt x="2576" y="4723"/>
                  </a:cubicBezTo>
                  <a:cubicBezTo>
                    <a:pt x="2569" y="4693"/>
                    <a:pt x="2584" y="4664"/>
                    <a:pt x="2576" y="4634"/>
                  </a:cubicBezTo>
                  <a:cubicBezTo>
                    <a:pt x="2569" y="4589"/>
                    <a:pt x="2561" y="4537"/>
                    <a:pt x="2554" y="4485"/>
                  </a:cubicBezTo>
                  <a:cubicBezTo>
                    <a:pt x="2547" y="4448"/>
                    <a:pt x="2554" y="4411"/>
                    <a:pt x="2547" y="4374"/>
                  </a:cubicBezTo>
                  <a:cubicBezTo>
                    <a:pt x="2539" y="4337"/>
                    <a:pt x="2532" y="4300"/>
                    <a:pt x="2524" y="4262"/>
                  </a:cubicBezTo>
                  <a:cubicBezTo>
                    <a:pt x="2524" y="4225"/>
                    <a:pt x="2509" y="4196"/>
                    <a:pt x="2509" y="4166"/>
                  </a:cubicBezTo>
                  <a:cubicBezTo>
                    <a:pt x="2487" y="4159"/>
                    <a:pt x="2472" y="4166"/>
                    <a:pt x="2472" y="4181"/>
                  </a:cubicBezTo>
                  <a:cubicBezTo>
                    <a:pt x="2458" y="4144"/>
                    <a:pt x="2487" y="4151"/>
                    <a:pt x="2509" y="4151"/>
                  </a:cubicBezTo>
                  <a:cubicBezTo>
                    <a:pt x="2517" y="4122"/>
                    <a:pt x="2517" y="4122"/>
                    <a:pt x="2524" y="4099"/>
                  </a:cubicBezTo>
                  <a:cubicBezTo>
                    <a:pt x="2539" y="4084"/>
                    <a:pt x="2554" y="4077"/>
                    <a:pt x="2561" y="4055"/>
                  </a:cubicBezTo>
                  <a:cubicBezTo>
                    <a:pt x="2569" y="4017"/>
                    <a:pt x="2569" y="3973"/>
                    <a:pt x="2569" y="3936"/>
                  </a:cubicBezTo>
                  <a:cubicBezTo>
                    <a:pt x="2569" y="3921"/>
                    <a:pt x="2569" y="3899"/>
                    <a:pt x="2569" y="3884"/>
                  </a:cubicBezTo>
                  <a:cubicBezTo>
                    <a:pt x="2561" y="3839"/>
                    <a:pt x="2539" y="3795"/>
                    <a:pt x="2524" y="3758"/>
                  </a:cubicBezTo>
                  <a:cubicBezTo>
                    <a:pt x="2517" y="3706"/>
                    <a:pt x="2502" y="3646"/>
                    <a:pt x="2495" y="3594"/>
                  </a:cubicBezTo>
                  <a:cubicBezTo>
                    <a:pt x="2487" y="3542"/>
                    <a:pt x="2495" y="3483"/>
                    <a:pt x="2517" y="3438"/>
                  </a:cubicBezTo>
                  <a:cubicBezTo>
                    <a:pt x="2524" y="3423"/>
                    <a:pt x="2532" y="3409"/>
                    <a:pt x="2539" y="3394"/>
                  </a:cubicBezTo>
                  <a:cubicBezTo>
                    <a:pt x="2554" y="3342"/>
                    <a:pt x="2569" y="3260"/>
                    <a:pt x="2614" y="3223"/>
                  </a:cubicBezTo>
                  <a:cubicBezTo>
                    <a:pt x="2658" y="3193"/>
                    <a:pt x="2658" y="3141"/>
                    <a:pt x="2688" y="3097"/>
                  </a:cubicBezTo>
                  <a:cubicBezTo>
                    <a:pt x="2703" y="3074"/>
                    <a:pt x="2725" y="3037"/>
                    <a:pt x="2755" y="3030"/>
                  </a:cubicBezTo>
                  <a:cubicBezTo>
                    <a:pt x="2777" y="3023"/>
                    <a:pt x="2792" y="3030"/>
                    <a:pt x="2814" y="3030"/>
                  </a:cubicBezTo>
                  <a:cubicBezTo>
                    <a:pt x="2836" y="3023"/>
                    <a:pt x="2844" y="3008"/>
                    <a:pt x="2866" y="3000"/>
                  </a:cubicBezTo>
                  <a:cubicBezTo>
                    <a:pt x="2866" y="2993"/>
                    <a:pt x="2866" y="2993"/>
                    <a:pt x="2866" y="2985"/>
                  </a:cubicBezTo>
                  <a:cubicBezTo>
                    <a:pt x="2903" y="2963"/>
                    <a:pt x="2962" y="2970"/>
                    <a:pt x="3007" y="2970"/>
                  </a:cubicBezTo>
                  <a:cubicBezTo>
                    <a:pt x="3007" y="3000"/>
                    <a:pt x="3022" y="3023"/>
                    <a:pt x="3022" y="3045"/>
                  </a:cubicBezTo>
                  <a:cubicBezTo>
                    <a:pt x="3022" y="3067"/>
                    <a:pt x="3007" y="3112"/>
                    <a:pt x="3044" y="3104"/>
                  </a:cubicBezTo>
                  <a:cubicBezTo>
                    <a:pt x="3044" y="3082"/>
                    <a:pt x="3044" y="3060"/>
                    <a:pt x="3066" y="3052"/>
                  </a:cubicBezTo>
                  <a:cubicBezTo>
                    <a:pt x="3066" y="3074"/>
                    <a:pt x="3059" y="3089"/>
                    <a:pt x="3059" y="3104"/>
                  </a:cubicBezTo>
                  <a:cubicBezTo>
                    <a:pt x="3096" y="3112"/>
                    <a:pt x="3096" y="3045"/>
                    <a:pt x="3096" y="3023"/>
                  </a:cubicBezTo>
                  <a:cubicBezTo>
                    <a:pt x="3111" y="3037"/>
                    <a:pt x="3096" y="3074"/>
                    <a:pt x="3133" y="3067"/>
                  </a:cubicBezTo>
                  <a:cubicBezTo>
                    <a:pt x="3133" y="3074"/>
                    <a:pt x="3133" y="3082"/>
                    <a:pt x="3133" y="3082"/>
                  </a:cubicBezTo>
                  <a:cubicBezTo>
                    <a:pt x="3141" y="3082"/>
                    <a:pt x="3148" y="3082"/>
                    <a:pt x="3148" y="3082"/>
                  </a:cubicBezTo>
                  <a:cubicBezTo>
                    <a:pt x="3148" y="3074"/>
                    <a:pt x="3156" y="3060"/>
                    <a:pt x="3148" y="3052"/>
                  </a:cubicBezTo>
                  <a:cubicBezTo>
                    <a:pt x="3156" y="3067"/>
                    <a:pt x="3171" y="3067"/>
                    <a:pt x="3185" y="3067"/>
                  </a:cubicBezTo>
                  <a:cubicBezTo>
                    <a:pt x="3156" y="3060"/>
                    <a:pt x="3163" y="3015"/>
                    <a:pt x="3185" y="3000"/>
                  </a:cubicBezTo>
                  <a:cubicBezTo>
                    <a:pt x="3222" y="2963"/>
                    <a:pt x="3260" y="2956"/>
                    <a:pt x="3282" y="2911"/>
                  </a:cubicBezTo>
                  <a:cubicBezTo>
                    <a:pt x="3289" y="2889"/>
                    <a:pt x="3282" y="2866"/>
                    <a:pt x="3297" y="2852"/>
                  </a:cubicBezTo>
                  <a:cubicBezTo>
                    <a:pt x="3304" y="2837"/>
                    <a:pt x="3326" y="2822"/>
                    <a:pt x="3341" y="2807"/>
                  </a:cubicBezTo>
                  <a:cubicBezTo>
                    <a:pt x="3356" y="2785"/>
                    <a:pt x="3356" y="2785"/>
                    <a:pt x="3363" y="2755"/>
                  </a:cubicBezTo>
                  <a:cubicBezTo>
                    <a:pt x="3363" y="2703"/>
                    <a:pt x="3386" y="2696"/>
                    <a:pt x="3430" y="2688"/>
                  </a:cubicBezTo>
                  <a:cubicBezTo>
                    <a:pt x="3460" y="2688"/>
                    <a:pt x="3497" y="2681"/>
                    <a:pt x="3527" y="2673"/>
                  </a:cubicBezTo>
                  <a:cubicBezTo>
                    <a:pt x="3527" y="2644"/>
                    <a:pt x="3482" y="2644"/>
                    <a:pt x="3460" y="2644"/>
                  </a:cubicBezTo>
                  <a:cubicBezTo>
                    <a:pt x="3430" y="2658"/>
                    <a:pt x="3430" y="2673"/>
                    <a:pt x="3386" y="2673"/>
                  </a:cubicBezTo>
                  <a:cubicBezTo>
                    <a:pt x="3401" y="2636"/>
                    <a:pt x="3490" y="2644"/>
                    <a:pt x="3519" y="2644"/>
                  </a:cubicBezTo>
                  <a:cubicBezTo>
                    <a:pt x="3542" y="2644"/>
                    <a:pt x="3571" y="2644"/>
                    <a:pt x="3594" y="2651"/>
                  </a:cubicBezTo>
                  <a:cubicBezTo>
                    <a:pt x="3623" y="2658"/>
                    <a:pt x="3638" y="2681"/>
                    <a:pt x="3668" y="2688"/>
                  </a:cubicBezTo>
                  <a:cubicBezTo>
                    <a:pt x="3668" y="2688"/>
                    <a:pt x="3668" y="2696"/>
                    <a:pt x="3676" y="2703"/>
                  </a:cubicBezTo>
                  <a:cubicBezTo>
                    <a:pt x="3676" y="2681"/>
                    <a:pt x="3676" y="2666"/>
                    <a:pt x="3676" y="2644"/>
                  </a:cubicBezTo>
                  <a:cubicBezTo>
                    <a:pt x="3698" y="2651"/>
                    <a:pt x="3690" y="2688"/>
                    <a:pt x="3690" y="2703"/>
                  </a:cubicBezTo>
                  <a:cubicBezTo>
                    <a:pt x="3735" y="2718"/>
                    <a:pt x="3779" y="2696"/>
                    <a:pt x="3816" y="2681"/>
                  </a:cubicBezTo>
                  <a:cubicBezTo>
                    <a:pt x="3861" y="2658"/>
                    <a:pt x="3883" y="2636"/>
                    <a:pt x="3921" y="2614"/>
                  </a:cubicBezTo>
                  <a:cubicBezTo>
                    <a:pt x="3958" y="2599"/>
                    <a:pt x="4002" y="2592"/>
                    <a:pt x="4039" y="2569"/>
                  </a:cubicBezTo>
                  <a:cubicBezTo>
                    <a:pt x="4054" y="2562"/>
                    <a:pt x="4062" y="2555"/>
                    <a:pt x="4069" y="2540"/>
                  </a:cubicBezTo>
                  <a:cubicBezTo>
                    <a:pt x="4076" y="2518"/>
                    <a:pt x="4069" y="2495"/>
                    <a:pt x="4091" y="2480"/>
                  </a:cubicBezTo>
                  <a:cubicBezTo>
                    <a:pt x="4091" y="2495"/>
                    <a:pt x="4084" y="2518"/>
                    <a:pt x="4091" y="2532"/>
                  </a:cubicBezTo>
                  <a:cubicBezTo>
                    <a:pt x="4091" y="2532"/>
                    <a:pt x="4099" y="2532"/>
                    <a:pt x="4106" y="2532"/>
                  </a:cubicBezTo>
                  <a:cubicBezTo>
                    <a:pt x="4113" y="2532"/>
                    <a:pt x="4106" y="2451"/>
                    <a:pt x="4106" y="2443"/>
                  </a:cubicBezTo>
                  <a:cubicBezTo>
                    <a:pt x="4113" y="2421"/>
                    <a:pt x="4121" y="2384"/>
                    <a:pt x="4128" y="2361"/>
                  </a:cubicBezTo>
                  <a:cubicBezTo>
                    <a:pt x="4143" y="2339"/>
                    <a:pt x="4158" y="2324"/>
                    <a:pt x="4158" y="2295"/>
                  </a:cubicBezTo>
                  <a:cubicBezTo>
                    <a:pt x="4151" y="2272"/>
                    <a:pt x="4128" y="2243"/>
                    <a:pt x="4106" y="2243"/>
                  </a:cubicBezTo>
                  <a:cubicBezTo>
                    <a:pt x="4106" y="2250"/>
                    <a:pt x="4106" y="2258"/>
                    <a:pt x="4106" y="2265"/>
                  </a:cubicBezTo>
                  <a:cubicBezTo>
                    <a:pt x="4113" y="2272"/>
                    <a:pt x="4113" y="2272"/>
                    <a:pt x="4121" y="2272"/>
                  </a:cubicBezTo>
                  <a:cubicBezTo>
                    <a:pt x="4121" y="2302"/>
                    <a:pt x="4121" y="2339"/>
                    <a:pt x="4106" y="2369"/>
                  </a:cubicBezTo>
                  <a:cubicBezTo>
                    <a:pt x="4039" y="2384"/>
                    <a:pt x="4106" y="2206"/>
                    <a:pt x="4121" y="2191"/>
                  </a:cubicBezTo>
                  <a:cubicBezTo>
                    <a:pt x="4136" y="2161"/>
                    <a:pt x="4173" y="2154"/>
                    <a:pt x="4203" y="2139"/>
                  </a:cubicBezTo>
                  <a:cubicBezTo>
                    <a:pt x="4240" y="2116"/>
                    <a:pt x="4270" y="2087"/>
                    <a:pt x="4307" y="2064"/>
                  </a:cubicBezTo>
                  <a:cubicBezTo>
                    <a:pt x="4335" y="2042"/>
                    <a:pt x="4358" y="2035"/>
                    <a:pt x="4380" y="2005"/>
                  </a:cubicBezTo>
                  <a:cubicBezTo>
                    <a:pt x="4410" y="1961"/>
                    <a:pt x="4439" y="1953"/>
                    <a:pt x="4491" y="1931"/>
                  </a:cubicBezTo>
                  <a:cubicBezTo>
                    <a:pt x="4528" y="1909"/>
                    <a:pt x="4573" y="1886"/>
                    <a:pt x="4617" y="1879"/>
                  </a:cubicBezTo>
                  <a:cubicBezTo>
                    <a:pt x="4647" y="1871"/>
                    <a:pt x="4677" y="1864"/>
                    <a:pt x="4707" y="1849"/>
                  </a:cubicBezTo>
                  <a:cubicBezTo>
                    <a:pt x="4729" y="1834"/>
                    <a:pt x="4736" y="1812"/>
                    <a:pt x="4751" y="1797"/>
                  </a:cubicBezTo>
                  <a:cubicBezTo>
                    <a:pt x="4774" y="1775"/>
                    <a:pt x="4796" y="1775"/>
                    <a:pt x="4811" y="1753"/>
                  </a:cubicBezTo>
                  <a:cubicBezTo>
                    <a:pt x="4818" y="1738"/>
                    <a:pt x="4818" y="1708"/>
                    <a:pt x="4833" y="1686"/>
                  </a:cubicBezTo>
                  <a:cubicBezTo>
                    <a:pt x="4863" y="1649"/>
                    <a:pt x="4900" y="1611"/>
                    <a:pt x="4937" y="1582"/>
                  </a:cubicBezTo>
                  <a:cubicBezTo>
                    <a:pt x="4989" y="1530"/>
                    <a:pt x="5056" y="1508"/>
                    <a:pt x="5122" y="1463"/>
                  </a:cubicBezTo>
                  <a:cubicBezTo>
                    <a:pt x="5145" y="1448"/>
                    <a:pt x="5152" y="1433"/>
                    <a:pt x="5167" y="1426"/>
                  </a:cubicBezTo>
                  <a:cubicBezTo>
                    <a:pt x="5182" y="1411"/>
                    <a:pt x="5204" y="1411"/>
                    <a:pt x="5219" y="1404"/>
                  </a:cubicBezTo>
                  <a:cubicBezTo>
                    <a:pt x="5256" y="1381"/>
                    <a:pt x="5293" y="1374"/>
                    <a:pt x="5323" y="1351"/>
                  </a:cubicBezTo>
                  <a:cubicBezTo>
                    <a:pt x="5338" y="1337"/>
                    <a:pt x="5353" y="1300"/>
                    <a:pt x="5382" y="1292"/>
                  </a:cubicBezTo>
                  <a:cubicBezTo>
                    <a:pt x="5412" y="1285"/>
                    <a:pt x="5397" y="1233"/>
                    <a:pt x="5405" y="1211"/>
                  </a:cubicBezTo>
                  <a:cubicBezTo>
                    <a:pt x="5419" y="1196"/>
                    <a:pt x="5442" y="1188"/>
                    <a:pt x="5457" y="1181"/>
                  </a:cubicBezTo>
                  <a:cubicBezTo>
                    <a:pt x="5486" y="1166"/>
                    <a:pt x="5524" y="1121"/>
                    <a:pt x="5553" y="1121"/>
                  </a:cubicBezTo>
                  <a:cubicBezTo>
                    <a:pt x="5553" y="1106"/>
                    <a:pt x="5568" y="1099"/>
                    <a:pt x="5576" y="1092"/>
                  </a:cubicBezTo>
                  <a:cubicBezTo>
                    <a:pt x="5598" y="1069"/>
                    <a:pt x="5605" y="1040"/>
                    <a:pt x="5627" y="1010"/>
                  </a:cubicBezTo>
                  <a:cubicBezTo>
                    <a:pt x="5642" y="995"/>
                    <a:pt x="5665" y="988"/>
                    <a:pt x="5672" y="973"/>
                  </a:cubicBezTo>
                  <a:cubicBezTo>
                    <a:pt x="5679" y="958"/>
                    <a:pt x="5687" y="943"/>
                    <a:pt x="5694" y="928"/>
                  </a:cubicBezTo>
                  <a:cubicBezTo>
                    <a:pt x="5709" y="899"/>
                    <a:pt x="5739" y="876"/>
                    <a:pt x="5761" y="861"/>
                  </a:cubicBezTo>
                  <a:cubicBezTo>
                    <a:pt x="5784" y="839"/>
                    <a:pt x="5813" y="817"/>
                    <a:pt x="5828" y="795"/>
                  </a:cubicBezTo>
                  <a:cubicBezTo>
                    <a:pt x="5835" y="787"/>
                    <a:pt x="5843" y="772"/>
                    <a:pt x="5843" y="765"/>
                  </a:cubicBezTo>
                  <a:cubicBezTo>
                    <a:pt x="5813" y="750"/>
                    <a:pt x="5791" y="735"/>
                    <a:pt x="5791" y="713"/>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29" name="Freeform 26">
              <a:extLst>
                <a:ext uri="{FF2B5EF4-FFF2-40B4-BE49-F238E27FC236}">
                  <a16:creationId xmlns:a16="http://schemas.microsoft.com/office/drawing/2014/main" id="{162CF068-2639-3641-B208-ECC86F01428E}"/>
                </a:ext>
              </a:extLst>
            </p:cNvPr>
            <p:cNvSpPr>
              <a:spLocks noChangeArrowheads="1"/>
            </p:cNvSpPr>
            <p:nvPr/>
          </p:nvSpPr>
          <p:spPr bwMode="auto">
            <a:xfrm>
              <a:off x="13244896" y="6154717"/>
              <a:ext cx="1140006" cy="1796508"/>
            </a:xfrm>
            <a:custGeom>
              <a:avLst/>
              <a:gdLst>
                <a:gd name="T0" fmla="*/ 2606 w 2637"/>
                <a:gd name="T1" fmla="*/ 595 h 4159"/>
                <a:gd name="T2" fmla="*/ 2636 w 2637"/>
                <a:gd name="T3" fmla="*/ 320 h 4159"/>
                <a:gd name="T4" fmla="*/ 2406 w 2637"/>
                <a:gd name="T5" fmla="*/ 297 h 4159"/>
                <a:gd name="T6" fmla="*/ 2087 w 2637"/>
                <a:gd name="T7" fmla="*/ 238 h 4159"/>
                <a:gd name="T8" fmla="*/ 1923 w 2637"/>
                <a:gd name="T9" fmla="*/ 75 h 4159"/>
                <a:gd name="T10" fmla="*/ 1760 w 2637"/>
                <a:gd name="T11" fmla="*/ 45 h 4159"/>
                <a:gd name="T12" fmla="*/ 1485 w 2637"/>
                <a:gd name="T13" fmla="*/ 82 h 4159"/>
                <a:gd name="T14" fmla="*/ 1381 w 2637"/>
                <a:gd name="T15" fmla="*/ 90 h 4159"/>
                <a:gd name="T16" fmla="*/ 1492 w 2637"/>
                <a:gd name="T17" fmla="*/ 275 h 4159"/>
                <a:gd name="T18" fmla="*/ 1477 w 2637"/>
                <a:gd name="T19" fmla="*/ 461 h 4159"/>
                <a:gd name="T20" fmla="*/ 1455 w 2637"/>
                <a:gd name="T21" fmla="*/ 750 h 4159"/>
                <a:gd name="T22" fmla="*/ 1270 w 2637"/>
                <a:gd name="T23" fmla="*/ 892 h 4159"/>
                <a:gd name="T24" fmla="*/ 1344 w 2637"/>
                <a:gd name="T25" fmla="*/ 1263 h 4159"/>
                <a:gd name="T26" fmla="*/ 1247 w 2637"/>
                <a:gd name="T27" fmla="*/ 1545 h 4159"/>
                <a:gd name="T28" fmla="*/ 1307 w 2637"/>
                <a:gd name="T29" fmla="*/ 1619 h 4159"/>
                <a:gd name="T30" fmla="*/ 1336 w 2637"/>
                <a:gd name="T31" fmla="*/ 1983 h 4159"/>
                <a:gd name="T32" fmla="*/ 1173 w 2637"/>
                <a:gd name="T33" fmla="*/ 2251 h 4159"/>
                <a:gd name="T34" fmla="*/ 1077 w 2637"/>
                <a:gd name="T35" fmla="*/ 2377 h 4159"/>
                <a:gd name="T36" fmla="*/ 958 w 2637"/>
                <a:gd name="T37" fmla="*/ 2429 h 4159"/>
                <a:gd name="T38" fmla="*/ 883 w 2637"/>
                <a:gd name="T39" fmla="*/ 2548 h 4159"/>
                <a:gd name="T40" fmla="*/ 512 w 2637"/>
                <a:gd name="T41" fmla="*/ 2659 h 4159"/>
                <a:gd name="T42" fmla="*/ 223 w 2637"/>
                <a:gd name="T43" fmla="*/ 2741 h 4159"/>
                <a:gd name="T44" fmla="*/ 22 w 2637"/>
                <a:gd name="T45" fmla="*/ 2919 h 4159"/>
                <a:gd name="T46" fmla="*/ 170 w 2637"/>
                <a:gd name="T47" fmla="*/ 3082 h 4159"/>
                <a:gd name="T48" fmla="*/ 378 w 2637"/>
                <a:gd name="T49" fmla="*/ 3164 h 4159"/>
                <a:gd name="T50" fmla="*/ 549 w 2637"/>
                <a:gd name="T51" fmla="*/ 3393 h 4159"/>
                <a:gd name="T52" fmla="*/ 623 w 2637"/>
                <a:gd name="T53" fmla="*/ 3557 h 4159"/>
                <a:gd name="T54" fmla="*/ 616 w 2637"/>
                <a:gd name="T55" fmla="*/ 3720 h 4159"/>
                <a:gd name="T56" fmla="*/ 869 w 2637"/>
                <a:gd name="T57" fmla="*/ 3957 h 4159"/>
                <a:gd name="T58" fmla="*/ 1166 w 2637"/>
                <a:gd name="T59" fmla="*/ 4158 h 4159"/>
                <a:gd name="T60" fmla="*/ 1374 w 2637"/>
                <a:gd name="T61" fmla="*/ 3980 h 4159"/>
                <a:gd name="T62" fmla="*/ 1507 w 2637"/>
                <a:gd name="T63" fmla="*/ 3854 h 4159"/>
                <a:gd name="T64" fmla="*/ 1611 w 2637"/>
                <a:gd name="T65" fmla="*/ 3712 h 4159"/>
                <a:gd name="T66" fmla="*/ 1633 w 2637"/>
                <a:gd name="T67" fmla="*/ 3891 h 4159"/>
                <a:gd name="T68" fmla="*/ 1737 w 2637"/>
                <a:gd name="T69" fmla="*/ 3883 h 4159"/>
                <a:gd name="T70" fmla="*/ 1864 w 2637"/>
                <a:gd name="T71" fmla="*/ 3794 h 4159"/>
                <a:gd name="T72" fmla="*/ 2072 w 2637"/>
                <a:gd name="T73" fmla="*/ 3616 h 4159"/>
                <a:gd name="T74" fmla="*/ 2138 w 2637"/>
                <a:gd name="T75" fmla="*/ 3482 h 4159"/>
                <a:gd name="T76" fmla="*/ 2094 w 2637"/>
                <a:gd name="T77" fmla="*/ 3142 h 4159"/>
                <a:gd name="T78" fmla="*/ 2124 w 2637"/>
                <a:gd name="T79" fmla="*/ 2911 h 4159"/>
                <a:gd name="T80" fmla="*/ 1945 w 2637"/>
                <a:gd name="T81" fmla="*/ 2748 h 4159"/>
                <a:gd name="T82" fmla="*/ 1856 w 2637"/>
                <a:gd name="T83" fmla="*/ 2622 h 4159"/>
                <a:gd name="T84" fmla="*/ 1886 w 2637"/>
                <a:gd name="T85" fmla="*/ 2429 h 4159"/>
                <a:gd name="T86" fmla="*/ 1804 w 2637"/>
                <a:gd name="T87" fmla="*/ 2102 h 4159"/>
                <a:gd name="T88" fmla="*/ 1515 w 2637"/>
                <a:gd name="T89" fmla="*/ 1954 h 4159"/>
                <a:gd name="T90" fmla="*/ 1477 w 2637"/>
                <a:gd name="T91" fmla="*/ 1790 h 4159"/>
                <a:gd name="T92" fmla="*/ 1619 w 2637"/>
                <a:gd name="T93" fmla="*/ 1694 h 4159"/>
                <a:gd name="T94" fmla="*/ 1737 w 2637"/>
                <a:gd name="T95" fmla="*/ 1590 h 4159"/>
                <a:gd name="T96" fmla="*/ 2034 w 2637"/>
                <a:gd name="T97" fmla="*/ 1456 h 4159"/>
                <a:gd name="T98" fmla="*/ 1945 w 2637"/>
                <a:gd name="T99" fmla="*/ 1270 h 4159"/>
                <a:gd name="T100" fmla="*/ 1693 w 2637"/>
                <a:gd name="T101" fmla="*/ 1166 h 4159"/>
                <a:gd name="T102" fmla="*/ 1552 w 2637"/>
                <a:gd name="T103" fmla="*/ 1040 h 4159"/>
                <a:gd name="T104" fmla="*/ 1529 w 2637"/>
                <a:gd name="T105" fmla="*/ 773 h 4159"/>
                <a:gd name="T106" fmla="*/ 1708 w 2637"/>
                <a:gd name="T107" fmla="*/ 572 h 4159"/>
                <a:gd name="T108" fmla="*/ 1641 w 2637"/>
                <a:gd name="T109" fmla="*/ 453 h 4159"/>
                <a:gd name="T110" fmla="*/ 1812 w 2637"/>
                <a:gd name="T111" fmla="*/ 557 h 4159"/>
                <a:gd name="T112" fmla="*/ 1834 w 2637"/>
                <a:gd name="T113" fmla="*/ 721 h 4159"/>
                <a:gd name="T114" fmla="*/ 1930 w 2637"/>
                <a:gd name="T115" fmla="*/ 676 h 4159"/>
                <a:gd name="T116" fmla="*/ 2027 w 2637"/>
                <a:gd name="T117" fmla="*/ 699 h 4159"/>
                <a:gd name="T118" fmla="*/ 2064 w 2637"/>
                <a:gd name="T119" fmla="*/ 550 h 4159"/>
                <a:gd name="T120" fmla="*/ 2190 w 2637"/>
                <a:gd name="T121" fmla="*/ 788 h 4159"/>
                <a:gd name="T122" fmla="*/ 2450 w 2637"/>
                <a:gd name="T123" fmla="*/ 788 h 4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7" h="4159">
                  <a:moveTo>
                    <a:pt x="2524" y="684"/>
                  </a:moveTo>
                  <a:lnTo>
                    <a:pt x="2524" y="684"/>
                  </a:lnTo>
                  <a:cubicBezTo>
                    <a:pt x="2539" y="669"/>
                    <a:pt x="2547" y="661"/>
                    <a:pt x="2562" y="647"/>
                  </a:cubicBezTo>
                  <a:cubicBezTo>
                    <a:pt x="2577" y="624"/>
                    <a:pt x="2591" y="617"/>
                    <a:pt x="2606" y="595"/>
                  </a:cubicBezTo>
                  <a:cubicBezTo>
                    <a:pt x="2621" y="580"/>
                    <a:pt x="2629" y="565"/>
                    <a:pt x="2636" y="550"/>
                  </a:cubicBezTo>
                  <a:cubicBezTo>
                    <a:pt x="2614" y="550"/>
                    <a:pt x="2599" y="535"/>
                    <a:pt x="2599" y="520"/>
                  </a:cubicBezTo>
                  <a:cubicBezTo>
                    <a:pt x="2584" y="483"/>
                    <a:pt x="2599" y="424"/>
                    <a:pt x="2614" y="394"/>
                  </a:cubicBezTo>
                  <a:cubicBezTo>
                    <a:pt x="2621" y="364"/>
                    <a:pt x="2636" y="350"/>
                    <a:pt x="2636" y="320"/>
                  </a:cubicBezTo>
                  <a:cubicBezTo>
                    <a:pt x="2621" y="320"/>
                    <a:pt x="2614" y="327"/>
                    <a:pt x="2599" y="327"/>
                  </a:cubicBezTo>
                  <a:cubicBezTo>
                    <a:pt x="2562" y="335"/>
                    <a:pt x="2524" y="327"/>
                    <a:pt x="2480" y="327"/>
                  </a:cubicBezTo>
                  <a:cubicBezTo>
                    <a:pt x="2443" y="327"/>
                    <a:pt x="2413" y="335"/>
                    <a:pt x="2384" y="350"/>
                  </a:cubicBezTo>
                  <a:cubicBezTo>
                    <a:pt x="2376" y="327"/>
                    <a:pt x="2398" y="312"/>
                    <a:pt x="2406" y="297"/>
                  </a:cubicBezTo>
                  <a:cubicBezTo>
                    <a:pt x="2391" y="290"/>
                    <a:pt x="2361" y="290"/>
                    <a:pt x="2339" y="283"/>
                  </a:cubicBezTo>
                  <a:cubicBezTo>
                    <a:pt x="2324" y="275"/>
                    <a:pt x="2309" y="245"/>
                    <a:pt x="2287" y="238"/>
                  </a:cubicBezTo>
                  <a:cubicBezTo>
                    <a:pt x="2227" y="216"/>
                    <a:pt x="2205" y="275"/>
                    <a:pt x="2153" y="268"/>
                  </a:cubicBezTo>
                  <a:cubicBezTo>
                    <a:pt x="2124" y="268"/>
                    <a:pt x="2101" y="268"/>
                    <a:pt x="2087" y="238"/>
                  </a:cubicBezTo>
                  <a:cubicBezTo>
                    <a:pt x="2072" y="208"/>
                    <a:pt x="2087" y="201"/>
                    <a:pt x="2042" y="194"/>
                  </a:cubicBezTo>
                  <a:cubicBezTo>
                    <a:pt x="2012" y="194"/>
                    <a:pt x="2005" y="201"/>
                    <a:pt x="1982" y="179"/>
                  </a:cubicBezTo>
                  <a:cubicBezTo>
                    <a:pt x="1968" y="164"/>
                    <a:pt x="1953" y="149"/>
                    <a:pt x="1945" y="134"/>
                  </a:cubicBezTo>
                  <a:cubicBezTo>
                    <a:pt x="1930" y="119"/>
                    <a:pt x="1938" y="97"/>
                    <a:pt x="1923" y="75"/>
                  </a:cubicBezTo>
                  <a:cubicBezTo>
                    <a:pt x="1901" y="52"/>
                    <a:pt x="1901" y="52"/>
                    <a:pt x="1901" y="45"/>
                  </a:cubicBezTo>
                  <a:cubicBezTo>
                    <a:pt x="1871" y="45"/>
                    <a:pt x="1856" y="38"/>
                    <a:pt x="1849" y="38"/>
                  </a:cubicBezTo>
                  <a:cubicBezTo>
                    <a:pt x="1834" y="45"/>
                    <a:pt x="1827" y="52"/>
                    <a:pt x="1819" y="67"/>
                  </a:cubicBezTo>
                  <a:cubicBezTo>
                    <a:pt x="1797" y="15"/>
                    <a:pt x="1797" y="60"/>
                    <a:pt x="1760" y="45"/>
                  </a:cubicBezTo>
                  <a:cubicBezTo>
                    <a:pt x="1730" y="38"/>
                    <a:pt x="1715" y="0"/>
                    <a:pt x="1678" y="23"/>
                  </a:cubicBezTo>
                  <a:cubicBezTo>
                    <a:pt x="1678" y="38"/>
                    <a:pt x="1678" y="52"/>
                    <a:pt x="1678" y="67"/>
                  </a:cubicBezTo>
                  <a:cubicBezTo>
                    <a:pt x="1633" y="90"/>
                    <a:pt x="1611" y="127"/>
                    <a:pt x="1552" y="97"/>
                  </a:cubicBezTo>
                  <a:cubicBezTo>
                    <a:pt x="1529" y="82"/>
                    <a:pt x="1522" y="82"/>
                    <a:pt x="1485" y="82"/>
                  </a:cubicBezTo>
                  <a:cubicBezTo>
                    <a:pt x="1470" y="82"/>
                    <a:pt x="1425" y="82"/>
                    <a:pt x="1411" y="75"/>
                  </a:cubicBezTo>
                  <a:cubicBezTo>
                    <a:pt x="1411" y="75"/>
                    <a:pt x="1381" y="52"/>
                    <a:pt x="1388" y="60"/>
                  </a:cubicBezTo>
                  <a:cubicBezTo>
                    <a:pt x="1381" y="45"/>
                    <a:pt x="1374" y="38"/>
                    <a:pt x="1374" y="38"/>
                  </a:cubicBezTo>
                  <a:cubicBezTo>
                    <a:pt x="1374" y="60"/>
                    <a:pt x="1374" y="82"/>
                    <a:pt x="1381" y="90"/>
                  </a:cubicBezTo>
                  <a:cubicBezTo>
                    <a:pt x="1396" y="105"/>
                    <a:pt x="1418" y="82"/>
                    <a:pt x="1433" y="105"/>
                  </a:cubicBezTo>
                  <a:cubicBezTo>
                    <a:pt x="1448" y="119"/>
                    <a:pt x="1425" y="149"/>
                    <a:pt x="1455" y="142"/>
                  </a:cubicBezTo>
                  <a:cubicBezTo>
                    <a:pt x="1455" y="164"/>
                    <a:pt x="1455" y="194"/>
                    <a:pt x="1455" y="216"/>
                  </a:cubicBezTo>
                  <a:cubicBezTo>
                    <a:pt x="1463" y="245"/>
                    <a:pt x="1477" y="253"/>
                    <a:pt x="1492" y="275"/>
                  </a:cubicBezTo>
                  <a:cubicBezTo>
                    <a:pt x="1500" y="290"/>
                    <a:pt x="1529" y="335"/>
                    <a:pt x="1522" y="350"/>
                  </a:cubicBezTo>
                  <a:cubicBezTo>
                    <a:pt x="1522" y="357"/>
                    <a:pt x="1492" y="372"/>
                    <a:pt x="1485" y="379"/>
                  </a:cubicBezTo>
                  <a:cubicBezTo>
                    <a:pt x="1477" y="394"/>
                    <a:pt x="1477" y="416"/>
                    <a:pt x="1477" y="431"/>
                  </a:cubicBezTo>
                  <a:cubicBezTo>
                    <a:pt x="1477" y="446"/>
                    <a:pt x="1477" y="453"/>
                    <a:pt x="1477" y="461"/>
                  </a:cubicBezTo>
                  <a:lnTo>
                    <a:pt x="1477" y="461"/>
                  </a:lnTo>
                  <a:cubicBezTo>
                    <a:pt x="1515" y="476"/>
                    <a:pt x="1500" y="520"/>
                    <a:pt x="1500" y="550"/>
                  </a:cubicBezTo>
                  <a:cubicBezTo>
                    <a:pt x="1492" y="609"/>
                    <a:pt x="1552" y="669"/>
                    <a:pt x="1507" y="721"/>
                  </a:cubicBezTo>
                  <a:cubicBezTo>
                    <a:pt x="1492" y="736"/>
                    <a:pt x="1470" y="743"/>
                    <a:pt x="1455" y="750"/>
                  </a:cubicBezTo>
                  <a:cubicBezTo>
                    <a:pt x="1425" y="765"/>
                    <a:pt x="1425" y="788"/>
                    <a:pt x="1411" y="810"/>
                  </a:cubicBezTo>
                  <a:cubicBezTo>
                    <a:pt x="1403" y="825"/>
                    <a:pt x="1366" y="825"/>
                    <a:pt x="1359" y="840"/>
                  </a:cubicBezTo>
                  <a:cubicBezTo>
                    <a:pt x="1344" y="854"/>
                    <a:pt x="1336" y="877"/>
                    <a:pt x="1336" y="899"/>
                  </a:cubicBezTo>
                  <a:cubicBezTo>
                    <a:pt x="1314" y="899"/>
                    <a:pt x="1292" y="899"/>
                    <a:pt x="1270" y="892"/>
                  </a:cubicBezTo>
                  <a:cubicBezTo>
                    <a:pt x="1270" y="936"/>
                    <a:pt x="1225" y="988"/>
                    <a:pt x="1240" y="1033"/>
                  </a:cubicBezTo>
                  <a:cubicBezTo>
                    <a:pt x="1255" y="1062"/>
                    <a:pt x="1299" y="1062"/>
                    <a:pt x="1307" y="1099"/>
                  </a:cubicBezTo>
                  <a:cubicBezTo>
                    <a:pt x="1411" y="1107"/>
                    <a:pt x="1411" y="1211"/>
                    <a:pt x="1418" y="1293"/>
                  </a:cubicBezTo>
                  <a:cubicBezTo>
                    <a:pt x="1388" y="1300"/>
                    <a:pt x="1374" y="1263"/>
                    <a:pt x="1344" y="1263"/>
                  </a:cubicBezTo>
                  <a:cubicBezTo>
                    <a:pt x="1307" y="1270"/>
                    <a:pt x="1299" y="1307"/>
                    <a:pt x="1299" y="1337"/>
                  </a:cubicBezTo>
                  <a:cubicBezTo>
                    <a:pt x="1277" y="1337"/>
                    <a:pt x="1255" y="1337"/>
                    <a:pt x="1232" y="1337"/>
                  </a:cubicBezTo>
                  <a:cubicBezTo>
                    <a:pt x="1225" y="1367"/>
                    <a:pt x="1277" y="1471"/>
                    <a:pt x="1307" y="1486"/>
                  </a:cubicBezTo>
                  <a:cubicBezTo>
                    <a:pt x="1292" y="1508"/>
                    <a:pt x="1255" y="1523"/>
                    <a:pt x="1247" y="1545"/>
                  </a:cubicBezTo>
                  <a:cubicBezTo>
                    <a:pt x="1292" y="1560"/>
                    <a:pt x="1329" y="1567"/>
                    <a:pt x="1344" y="1575"/>
                  </a:cubicBezTo>
                  <a:cubicBezTo>
                    <a:pt x="1329" y="1567"/>
                    <a:pt x="1292" y="1560"/>
                    <a:pt x="1247" y="1545"/>
                  </a:cubicBezTo>
                  <a:cubicBezTo>
                    <a:pt x="1247" y="1552"/>
                    <a:pt x="1247" y="1552"/>
                    <a:pt x="1247" y="1552"/>
                  </a:cubicBezTo>
                  <a:cubicBezTo>
                    <a:pt x="1247" y="1575"/>
                    <a:pt x="1292" y="1604"/>
                    <a:pt x="1307" y="1619"/>
                  </a:cubicBezTo>
                  <a:cubicBezTo>
                    <a:pt x="1344" y="1679"/>
                    <a:pt x="1322" y="1753"/>
                    <a:pt x="1314" y="1812"/>
                  </a:cubicBezTo>
                  <a:cubicBezTo>
                    <a:pt x="1307" y="1820"/>
                    <a:pt x="1299" y="1827"/>
                    <a:pt x="1292" y="1827"/>
                  </a:cubicBezTo>
                  <a:cubicBezTo>
                    <a:pt x="1277" y="1864"/>
                    <a:pt x="1322" y="1864"/>
                    <a:pt x="1336" y="1887"/>
                  </a:cubicBezTo>
                  <a:cubicBezTo>
                    <a:pt x="1351" y="1916"/>
                    <a:pt x="1336" y="1954"/>
                    <a:pt x="1336" y="1983"/>
                  </a:cubicBezTo>
                  <a:cubicBezTo>
                    <a:pt x="1314" y="1983"/>
                    <a:pt x="1284" y="1976"/>
                    <a:pt x="1262" y="1983"/>
                  </a:cubicBezTo>
                  <a:cubicBezTo>
                    <a:pt x="1277" y="2005"/>
                    <a:pt x="1217" y="2043"/>
                    <a:pt x="1284" y="2057"/>
                  </a:cubicBezTo>
                  <a:cubicBezTo>
                    <a:pt x="1284" y="2117"/>
                    <a:pt x="1270" y="2139"/>
                    <a:pt x="1232" y="2184"/>
                  </a:cubicBezTo>
                  <a:cubicBezTo>
                    <a:pt x="1225" y="2206"/>
                    <a:pt x="1173" y="2228"/>
                    <a:pt x="1173" y="2251"/>
                  </a:cubicBezTo>
                  <a:cubicBezTo>
                    <a:pt x="1195" y="2251"/>
                    <a:pt x="1203" y="2265"/>
                    <a:pt x="1210" y="2280"/>
                  </a:cubicBezTo>
                  <a:cubicBezTo>
                    <a:pt x="1180" y="2280"/>
                    <a:pt x="1136" y="2280"/>
                    <a:pt x="1143" y="2317"/>
                  </a:cubicBezTo>
                  <a:cubicBezTo>
                    <a:pt x="1084" y="2280"/>
                    <a:pt x="1091" y="2340"/>
                    <a:pt x="1084" y="2377"/>
                  </a:cubicBezTo>
                  <a:cubicBezTo>
                    <a:pt x="1084" y="2377"/>
                    <a:pt x="1084" y="2377"/>
                    <a:pt x="1077" y="2377"/>
                  </a:cubicBezTo>
                  <a:cubicBezTo>
                    <a:pt x="1077" y="2392"/>
                    <a:pt x="1077" y="2406"/>
                    <a:pt x="1077" y="2421"/>
                  </a:cubicBezTo>
                  <a:cubicBezTo>
                    <a:pt x="1032" y="2421"/>
                    <a:pt x="1039" y="2392"/>
                    <a:pt x="1010" y="2377"/>
                  </a:cubicBezTo>
                  <a:cubicBezTo>
                    <a:pt x="995" y="2369"/>
                    <a:pt x="958" y="2362"/>
                    <a:pt x="935" y="2369"/>
                  </a:cubicBezTo>
                  <a:cubicBezTo>
                    <a:pt x="913" y="2369"/>
                    <a:pt x="958" y="2414"/>
                    <a:pt x="958" y="2429"/>
                  </a:cubicBezTo>
                  <a:cubicBezTo>
                    <a:pt x="958" y="2451"/>
                    <a:pt x="950" y="2451"/>
                    <a:pt x="943" y="2466"/>
                  </a:cubicBezTo>
                  <a:cubicBezTo>
                    <a:pt x="943" y="2481"/>
                    <a:pt x="935" y="2496"/>
                    <a:pt x="935" y="2510"/>
                  </a:cubicBezTo>
                  <a:cubicBezTo>
                    <a:pt x="913" y="2510"/>
                    <a:pt x="891" y="2496"/>
                    <a:pt x="861" y="2496"/>
                  </a:cubicBezTo>
                  <a:cubicBezTo>
                    <a:pt x="883" y="2503"/>
                    <a:pt x="883" y="2525"/>
                    <a:pt x="883" y="2548"/>
                  </a:cubicBezTo>
                  <a:cubicBezTo>
                    <a:pt x="824" y="2548"/>
                    <a:pt x="780" y="2510"/>
                    <a:pt x="727" y="2503"/>
                  </a:cubicBezTo>
                  <a:cubicBezTo>
                    <a:pt x="698" y="2503"/>
                    <a:pt x="705" y="2540"/>
                    <a:pt x="705" y="2562"/>
                  </a:cubicBezTo>
                  <a:cubicBezTo>
                    <a:pt x="638" y="2503"/>
                    <a:pt x="661" y="2629"/>
                    <a:pt x="616" y="2637"/>
                  </a:cubicBezTo>
                  <a:cubicBezTo>
                    <a:pt x="579" y="2644"/>
                    <a:pt x="542" y="2644"/>
                    <a:pt x="512" y="2659"/>
                  </a:cubicBezTo>
                  <a:cubicBezTo>
                    <a:pt x="475" y="2674"/>
                    <a:pt x="445" y="2703"/>
                    <a:pt x="408" y="2726"/>
                  </a:cubicBezTo>
                  <a:cubicBezTo>
                    <a:pt x="378" y="2748"/>
                    <a:pt x="364" y="2756"/>
                    <a:pt x="356" y="2793"/>
                  </a:cubicBezTo>
                  <a:cubicBezTo>
                    <a:pt x="349" y="2822"/>
                    <a:pt x="334" y="2822"/>
                    <a:pt x="312" y="2822"/>
                  </a:cubicBezTo>
                  <a:cubicBezTo>
                    <a:pt x="245" y="2822"/>
                    <a:pt x="223" y="2800"/>
                    <a:pt x="223" y="2741"/>
                  </a:cubicBezTo>
                  <a:cubicBezTo>
                    <a:pt x="193" y="2733"/>
                    <a:pt x="163" y="2733"/>
                    <a:pt x="133" y="2741"/>
                  </a:cubicBezTo>
                  <a:cubicBezTo>
                    <a:pt x="126" y="2763"/>
                    <a:pt x="148" y="2778"/>
                    <a:pt x="141" y="2800"/>
                  </a:cubicBezTo>
                  <a:cubicBezTo>
                    <a:pt x="104" y="2800"/>
                    <a:pt x="67" y="2800"/>
                    <a:pt x="29" y="2800"/>
                  </a:cubicBezTo>
                  <a:cubicBezTo>
                    <a:pt x="59" y="2822"/>
                    <a:pt x="67" y="2919"/>
                    <a:pt x="22" y="2919"/>
                  </a:cubicBezTo>
                  <a:cubicBezTo>
                    <a:pt x="7" y="2934"/>
                    <a:pt x="0" y="2978"/>
                    <a:pt x="0" y="3001"/>
                  </a:cubicBezTo>
                  <a:cubicBezTo>
                    <a:pt x="15" y="3001"/>
                    <a:pt x="52" y="2993"/>
                    <a:pt x="52" y="3015"/>
                  </a:cubicBezTo>
                  <a:cubicBezTo>
                    <a:pt x="52" y="3030"/>
                    <a:pt x="59" y="3038"/>
                    <a:pt x="81" y="3038"/>
                  </a:cubicBezTo>
                  <a:cubicBezTo>
                    <a:pt x="126" y="3038"/>
                    <a:pt x="156" y="3038"/>
                    <a:pt x="170" y="3082"/>
                  </a:cubicBezTo>
                  <a:cubicBezTo>
                    <a:pt x="215" y="3075"/>
                    <a:pt x="230" y="3097"/>
                    <a:pt x="245" y="3127"/>
                  </a:cubicBezTo>
                  <a:cubicBezTo>
                    <a:pt x="275" y="3171"/>
                    <a:pt x="312" y="3149"/>
                    <a:pt x="356" y="3149"/>
                  </a:cubicBezTo>
                  <a:cubicBezTo>
                    <a:pt x="349" y="3164"/>
                    <a:pt x="356" y="3179"/>
                    <a:pt x="371" y="3171"/>
                  </a:cubicBezTo>
                  <a:cubicBezTo>
                    <a:pt x="378" y="3171"/>
                    <a:pt x="378" y="3164"/>
                    <a:pt x="378" y="3164"/>
                  </a:cubicBezTo>
                  <a:cubicBezTo>
                    <a:pt x="401" y="3164"/>
                    <a:pt x="490" y="3156"/>
                    <a:pt x="482" y="3193"/>
                  </a:cubicBezTo>
                  <a:cubicBezTo>
                    <a:pt x="438" y="3208"/>
                    <a:pt x="393" y="3253"/>
                    <a:pt x="430" y="3304"/>
                  </a:cubicBezTo>
                  <a:cubicBezTo>
                    <a:pt x="438" y="3319"/>
                    <a:pt x="460" y="3341"/>
                    <a:pt x="475" y="3349"/>
                  </a:cubicBezTo>
                  <a:cubicBezTo>
                    <a:pt x="490" y="3371"/>
                    <a:pt x="520" y="3386"/>
                    <a:pt x="549" y="3393"/>
                  </a:cubicBezTo>
                  <a:cubicBezTo>
                    <a:pt x="549" y="3408"/>
                    <a:pt x="549" y="3423"/>
                    <a:pt x="542" y="3438"/>
                  </a:cubicBezTo>
                  <a:cubicBezTo>
                    <a:pt x="564" y="3438"/>
                    <a:pt x="579" y="3430"/>
                    <a:pt x="594" y="3438"/>
                  </a:cubicBezTo>
                  <a:cubicBezTo>
                    <a:pt x="586" y="3467"/>
                    <a:pt x="638" y="3482"/>
                    <a:pt x="653" y="3505"/>
                  </a:cubicBezTo>
                  <a:cubicBezTo>
                    <a:pt x="668" y="3542"/>
                    <a:pt x="638" y="3534"/>
                    <a:pt x="623" y="3557"/>
                  </a:cubicBezTo>
                  <a:cubicBezTo>
                    <a:pt x="653" y="3579"/>
                    <a:pt x="683" y="3579"/>
                    <a:pt x="683" y="3616"/>
                  </a:cubicBezTo>
                  <a:cubicBezTo>
                    <a:pt x="690" y="3660"/>
                    <a:pt x="698" y="3638"/>
                    <a:pt x="727" y="3668"/>
                  </a:cubicBezTo>
                  <a:cubicBezTo>
                    <a:pt x="698" y="3675"/>
                    <a:pt x="683" y="3705"/>
                    <a:pt x="646" y="3712"/>
                  </a:cubicBezTo>
                  <a:cubicBezTo>
                    <a:pt x="631" y="3712"/>
                    <a:pt x="623" y="3720"/>
                    <a:pt x="616" y="3720"/>
                  </a:cubicBezTo>
                  <a:cubicBezTo>
                    <a:pt x="623" y="3727"/>
                    <a:pt x="631" y="3727"/>
                    <a:pt x="638" y="3727"/>
                  </a:cubicBezTo>
                  <a:cubicBezTo>
                    <a:pt x="661" y="3817"/>
                    <a:pt x="735" y="3772"/>
                    <a:pt x="787" y="3817"/>
                  </a:cubicBezTo>
                  <a:cubicBezTo>
                    <a:pt x="824" y="3861"/>
                    <a:pt x="780" y="3906"/>
                    <a:pt x="809" y="3950"/>
                  </a:cubicBezTo>
                  <a:cubicBezTo>
                    <a:pt x="817" y="3972"/>
                    <a:pt x="861" y="4002"/>
                    <a:pt x="869" y="3957"/>
                  </a:cubicBezTo>
                  <a:cubicBezTo>
                    <a:pt x="906" y="3943"/>
                    <a:pt x="906" y="3950"/>
                    <a:pt x="928" y="3906"/>
                  </a:cubicBezTo>
                  <a:cubicBezTo>
                    <a:pt x="972" y="3898"/>
                    <a:pt x="972" y="3950"/>
                    <a:pt x="980" y="3980"/>
                  </a:cubicBezTo>
                  <a:cubicBezTo>
                    <a:pt x="995" y="4032"/>
                    <a:pt x="1047" y="4024"/>
                    <a:pt x="1084" y="4054"/>
                  </a:cubicBezTo>
                  <a:cubicBezTo>
                    <a:pt x="1128" y="4091"/>
                    <a:pt x="1166" y="4091"/>
                    <a:pt x="1166" y="4158"/>
                  </a:cubicBezTo>
                  <a:cubicBezTo>
                    <a:pt x="1173" y="4151"/>
                    <a:pt x="1173" y="4143"/>
                    <a:pt x="1180" y="4136"/>
                  </a:cubicBezTo>
                  <a:cubicBezTo>
                    <a:pt x="1210" y="4121"/>
                    <a:pt x="1232" y="4091"/>
                    <a:pt x="1270" y="4084"/>
                  </a:cubicBezTo>
                  <a:cubicBezTo>
                    <a:pt x="1314" y="4069"/>
                    <a:pt x="1351" y="4076"/>
                    <a:pt x="1366" y="4024"/>
                  </a:cubicBezTo>
                  <a:cubicBezTo>
                    <a:pt x="1374" y="4009"/>
                    <a:pt x="1359" y="4002"/>
                    <a:pt x="1374" y="3980"/>
                  </a:cubicBezTo>
                  <a:cubicBezTo>
                    <a:pt x="1388" y="3965"/>
                    <a:pt x="1411" y="3965"/>
                    <a:pt x="1425" y="3943"/>
                  </a:cubicBezTo>
                  <a:cubicBezTo>
                    <a:pt x="1433" y="3935"/>
                    <a:pt x="1440" y="3913"/>
                    <a:pt x="1448" y="3906"/>
                  </a:cubicBezTo>
                  <a:cubicBezTo>
                    <a:pt x="1455" y="3898"/>
                    <a:pt x="1470" y="3891"/>
                    <a:pt x="1477" y="3883"/>
                  </a:cubicBezTo>
                  <a:cubicBezTo>
                    <a:pt x="1485" y="3876"/>
                    <a:pt x="1492" y="3861"/>
                    <a:pt x="1507" y="3854"/>
                  </a:cubicBezTo>
                  <a:cubicBezTo>
                    <a:pt x="1529" y="3839"/>
                    <a:pt x="1529" y="3854"/>
                    <a:pt x="1544" y="3831"/>
                  </a:cubicBezTo>
                  <a:cubicBezTo>
                    <a:pt x="1559" y="3809"/>
                    <a:pt x="1544" y="3809"/>
                    <a:pt x="1567" y="3802"/>
                  </a:cubicBezTo>
                  <a:cubicBezTo>
                    <a:pt x="1582" y="3794"/>
                    <a:pt x="1596" y="3794"/>
                    <a:pt x="1611" y="3787"/>
                  </a:cubicBezTo>
                  <a:cubicBezTo>
                    <a:pt x="1611" y="3764"/>
                    <a:pt x="1619" y="3735"/>
                    <a:pt x="1611" y="3712"/>
                  </a:cubicBezTo>
                  <a:cubicBezTo>
                    <a:pt x="1604" y="3683"/>
                    <a:pt x="1582" y="3675"/>
                    <a:pt x="1574" y="3653"/>
                  </a:cubicBezTo>
                  <a:cubicBezTo>
                    <a:pt x="1648" y="3638"/>
                    <a:pt x="1648" y="3720"/>
                    <a:pt x="1641" y="3764"/>
                  </a:cubicBezTo>
                  <a:cubicBezTo>
                    <a:pt x="1633" y="3794"/>
                    <a:pt x="1619" y="3802"/>
                    <a:pt x="1611" y="3824"/>
                  </a:cubicBezTo>
                  <a:cubicBezTo>
                    <a:pt x="1604" y="3854"/>
                    <a:pt x="1619" y="3868"/>
                    <a:pt x="1633" y="3891"/>
                  </a:cubicBezTo>
                  <a:cubicBezTo>
                    <a:pt x="1641" y="3906"/>
                    <a:pt x="1648" y="3906"/>
                    <a:pt x="1648" y="3928"/>
                  </a:cubicBezTo>
                  <a:cubicBezTo>
                    <a:pt x="1648" y="3935"/>
                    <a:pt x="1641" y="3957"/>
                    <a:pt x="1648" y="3965"/>
                  </a:cubicBezTo>
                  <a:cubicBezTo>
                    <a:pt x="1671" y="3980"/>
                    <a:pt x="1693" y="3950"/>
                    <a:pt x="1700" y="3935"/>
                  </a:cubicBezTo>
                  <a:cubicBezTo>
                    <a:pt x="1715" y="3913"/>
                    <a:pt x="1715" y="3898"/>
                    <a:pt x="1737" y="3883"/>
                  </a:cubicBezTo>
                  <a:cubicBezTo>
                    <a:pt x="1774" y="3876"/>
                    <a:pt x="1789" y="3891"/>
                    <a:pt x="1782" y="3920"/>
                  </a:cubicBezTo>
                  <a:cubicBezTo>
                    <a:pt x="1797" y="3928"/>
                    <a:pt x="1812" y="3928"/>
                    <a:pt x="1819" y="3920"/>
                  </a:cubicBezTo>
                  <a:cubicBezTo>
                    <a:pt x="1827" y="3868"/>
                    <a:pt x="1819" y="3876"/>
                    <a:pt x="1871" y="3868"/>
                  </a:cubicBezTo>
                  <a:cubicBezTo>
                    <a:pt x="1871" y="3854"/>
                    <a:pt x="1864" y="3817"/>
                    <a:pt x="1864" y="3794"/>
                  </a:cubicBezTo>
                  <a:cubicBezTo>
                    <a:pt x="1871" y="3772"/>
                    <a:pt x="1886" y="3764"/>
                    <a:pt x="1886" y="3735"/>
                  </a:cubicBezTo>
                  <a:cubicBezTo>
                    <a:pt x="1923" y="3727"/>
                    <a:pt x="1990" y="3742"/>
                    <a:pt x="1990" y="3697"/>
                  </a:cubicBezTo>
                  <a:cubicBezTo>
                    <a:pt x="2019" y="3683"/>
                    <a:pt x="2034" y="3675"/>
                    <a:pt x="2049" y="3638"/>
                  </a:cubicBezTo>
                  <a:cubicBezTo>
                    <a:pt x="2057" y="3623"/>
                    <a:pt x="2049" y="3623"/>
                    <a:pt x="2072" y="3616"/>
                  </a:cubicBezTo>
                  <a:cubicBezTo>
                    <a:pt x="2079" y="3608"/>
                    <a:pt x="2109" y="3616"/>
                    <a:pt x="2116" y="3616"/>
                  </a:cubicBezTo>
                  <a:cubicBezTo>
                    <a:pt x="2138" y="3623"/>
                    <a:pt x="2168" y="3660"/>
                    <a:pt x="2183" y="3675"/>
                  </a:cubicBezTo>
                  <a:cubicBezTo>
                    <a:pt x="2183" y="3623"/>
                    <a:pt x="2183" y="3623"/>
                    <a:pt x="2183" y="3623"/>
                  </a:cubicBezTo>
                  <a:cubicBezTo>
                    <a:pt x="2153" y="3571"/>
                    <a:pt x="2138" y="3542"/>
                    <a:pt x="2138" y="3482"/>
                  </a:cubicBezTo>
                  <a:cubicBezTo>
                    <a:pt x="2138" y="3423"/>
                    <a:pt x="2124" y="3393"/>
                    <a:pt x="2101" y="3341"/>
                  </a:cubicBezTo>
                  <a:cubicBezTo>
                    <a:pt x="2094" y="3312"/>
                    <a:pt x="2094" y="3290"/>
                    <a:pt x="2094" y="3268"/>
                  </a:cubicBezTo>
                  <a:cubicBezTo>
                    <a:pt x="2087" y="3246"/>
                    <a:pt x="2064" y="3216"/>
                    <a:pt x="2094" y="3208"/>
                  </a:cubicBezTo>
                  <a:cubicBezTo>
                    <a:pt x="2094" y="3186"/>
                    <a:pt x="2101" y="3164"/>
                    <a:pt x="2094" y="3142"/>
                  </a:cubicBezTo>
                  <a:cubicBezTo>
                    <a:pt x="2087" y="3119"/>
                    <a:pt x="2072" y="3119"/>
                    <a:pt x="2064" y="3112"/>
                  </a:cubicBezTo>
                  <a:cubicBezTo>
                    <a:pt x="2057" y="3097"/>
                    <a:pt x="2049" y="3082"/>
                    <a:pt x="2034" y="3082"/>
                  </a:cubicBezTo>
                  <a:cubicBezTo>
                    <a:pt x="2049" y="3045"/>
                    <a:pt x="2034" y="2971"/>
                    <a:pt x="2079" y="2948"/>
                  </a:cubicBezTo>
                  <a:cubicBezTo>
                    <a:pt x="2079" y="2926"/>
                    <a:pt x="2094" y="2904"/>
                    <a:pt x="2124" y="2911"/>
                  </a:cubicBezTo>
                  <a:cubicBezTo>
                    <a:pt x="2109" y="2904"/>
                    <a:pt x="2042" y="2882"/>
                    <a:pt x="2027" y="2882"/>
                  </a:cubicBezTo>
                  <a:cubicBezTo>
                    <a:pt x="1982" y="2882"/>
                    <a:pt x="1953" y="2948"/>
                    <a:pt x="1930" y="2897"/>
                  </a:cubicBezTo>
                  <a:cubicBezTo>
                    <a:pt x="1916" y="2867"/>
                    <a:pt x="1938" y="2815"/>
                    <a:pt x="1945" y="2785"/>
                  </a:cubicBezTo>
                  <a:cubicBezTo>
                    <a:pt x="1945" y="2770"/>
                    <a:pt x="1945" y="2763"/>
                    <a:pt x="1945" y="2748"/>
                  </a:cubicBezTo>
                  <a:cubicBezTo>
                    <a:pt x="1953" y="2741"/>
                    <a:pt x="1968" y="2741"/>
                    <a:pt x="1968" y="2726"/>
                  </a:cubicBezTo>
                  <a:cubicBezTo>
                    <a:pt x="1975" y="2689"/>
                    <a:pt x="1945" y="2696"/>
                    <a:pt x="1923" y="2681"/>
                  </a:cubicBezTo>
                  <a:cubicBezTo>
                    <a:pt x="1901" y="2674"/>
                    <a:pt x="1886" y="2659"/>
                    <a:pt x="1864" y="2644"/>
                  </a:cubicBezTo>
                  <a:cubicBezTo>
                    <a:pt x="1864" y="2637"/>
                    <a:pt x="1864" y="2629"/>
                    <a:pt x="1856" y="2622"/>
                  </a:cubicBezTo>
                  <a:cubicBezTo>
                    <a:pt x="1849" y="2614"/>
                    <a:pt x="1827" y="2622"/>
                    <a:pt x="1812" y="2622"/>
                  </a:cubicBezTo>
                  <a:cubicBezTo>
                    <a:pt x="1812" y="2577"/>
                    <a:pt x="1804" y="2533"/>
                    <a:pt x="1812" y="2488"/>
                  </a:cubicBezTo>
                  <a:cubicBezTo>
                    <a:pt x="1812" y="2473"/>
                    <a:pt x="1819" y="2436"/>
                    <a:pt x="1827" y="2429"/>
                  </a:cubicBezTo>
                  <a:cubicBezTo>
                    <a:pt x="1841" y="2421"/>
                    <a:pt x="1864" y="2436"/>
                    <a:pt x="1886" y="2429"/>
                  </a:cubicBezTo>
                  <a:cubicBezTo>
                    <a:pt x="1901" y="2414"/>
                    <a:pt x="1893" y="2406"/>
                    <a:pt x="1901" y="2384"/>
                  </a:cubicBezTo>
                  <a:cubicBezTo>
                    <a:pt x="1916" y="2347"/>
                    <a:pt x="1938" y="2325"/>
                    <a:pt x="1945" y="2280"/>
                  </a:cubicBezTo>
                  <a:cubicBezTo>
                    <a:pt x="1953" y="2236"/>
                    <a:pt x="1930" y="2139"/>
                    <a:pt x="1886" y="2117"/>
                  </a:cubicBezTo>
                  <a:cubicBezTo>
                    <a:pt x="1864" y="2102"/>
                    <a:pt x="1834" y="2109"/>
                    <a:pt x="1804" y="2102"/>
                  </a:cubicBezTo>
                  <a:cubicBezTo>
                    <a:pt x="1774" y="2102"/>
                    <a:pt x="1760" y="2087"/>
                    <a:pt x="1737" y="2080"/>
                  </a:cubicBezTo>
                  <a:cubicBezTo>
                    <a:pt x="1708" y="2065"/>
                    <a:pt x="1678" y="2065"/>
                    <a:pt x="1648" y="2065"/>
                  </a:cubicBezTo>
                  <a:cubicBezTo>
                    <a:pt x="1648" y="2035"/>
                    <a:pt x="1619" y="2020"/>
                    <a:pt x="1596" y="2013"/>
                  </a:cubicBezTo>
                  <a:cubicBezTo>
                    <a:pt x="1582" y="1991"/>
                    <a:pt x="1529" y="1983"/>
                    <a:pt x="1515" y="1954"/>
                  </a:cubicBezTo>
                  <a:cubicBezTo>
                    <a:pt x="1507" y="1939"/>
                    <a:pt x="1507" y="1924"/>
                    <a:pt x="1500" y="1909"/>
                  </a:cubicBezTo>
                  <a:cubicBezTo>
                    <a:pt x="1485" y="1894"/>
                    <a:pt x="1455" y="1879"/>
                    <a:pt x="1448" y="1864"/>
                  </a:cubicBezTo>
                  <a:cubicBezTo>
                    <a:pt x="1440" y="1835"/>
                    <a:pt x="1463" y="1842"/>
                    <a:pt x="1470" y="1820"/>
                  </a:cubicBezTo>
                  <a:cubicBezTo>
                    <a:pt x="1477" y="1812"/>
                    <a:pt x="1470" y="1805"/>
                    <a:pt x="1477" y="1790"/>
                  </a:cubicBezTo>
                  <a:cubicBezTo>
                    <a:pt x="1485" y="1783"/>
                    <a:pt x="1492" y="1775"/>
                    <a:pt x="1500" y="1768"/>
                  </a:cubicBezTo>
                  <a:cubicBezTo>
                    <a:pt x="1522" y="1731"/>
                    <a:pt x="1515" y="1694"/>
                    <a:pt x="1515" y="1649"/>
                  </a:cubicBezTo>
                  <a:cubicBezTo>
                    <a:pt x="1537" y="1649"/>
                    <a:pt x="1596" y="1642"/>
                    <a:pt x="1604" y="1656"/>
                  </a:cubicBezTo>
                  <a:cubicBezTo>
                    <a:pt x="1619" y="1664"/>
                    <a:pt x="1604" y="1686"/>
                    <a:pt x="1619" y="1694"/>
                  </a:cubicBezTo>
                  <a:cubicBezTo>
                    <a:pt x="1626" y="1701"/>
                    <a:pt x="1648" y="1701"/>
                    <a:pt x="1656" y="1701"/>
                  </a:cubicBezTo>
                  <a:cubicBezTo>
                    <a:pt x="1641" y="1686"/>
                    <a:pt x="1626" y="1679"/>
                    <a:pt x="1633" y="1649"/>
                  </a:cubicBezTo>
                  <a:cubicBezTo>
                    <a:pt x="1656" y="1649"/>
                    <a:pt x="1671" y="1649"/>
                    <a:pt x="1693" y="1649"/>
                  </a:cubicBezTo>
                  <a:cubicBezTo>
                    <a:pt x="1693" y="1604"/>
                    <a:pt x="1685" y="1590"/>
                    <a:pt x="1737" y="1590"/>
                  </a:cubicBezTo>
                  <a:cubicBezTo>
                    <a:pt x="1745" y="1545"/>
                    <a:pt x="1722" y="1523"/>
                    <a:pt x="1730" y="1478"/>
                  </a:cubicBezTo>
                  <a:cubicBezTo>
                    <a:pt x="1752" y="1463"/>
                    <a:pt x="1804" y="1471"/>
                    <a:pt x="1827" y="1463"/>
                  </a:cubicBezTo>
                  <a:cubicBezTo>
                    <a:pt x="1871" y="1456"/>
                    <a:pt x="1908" y="1471"/>
                    <a:pt x="1945" y="1471"/>
                  </a:cubicBezTo>
                  <a:cubicBezTo>
                    <a:pt x="1953" y="1426"/>
                    <a:pt x="2012" y="1471"/>
                    <a:pt x="2034" y="1456"/>
                  </a:cubicBezTo>
                  <a:cubicBezTo>
                    <a:pt x="2049" y="1449"/>
                    <a:pt x="2072" y="1352"/>
                    <a:pt x="2072" y="1330"/>
                  </a:cubicBezTo>
                  <a:cubicBezTo>
                    <a:pt x="2034" y="1322"/>
                    <a:pt x="2049" y="1359"/>
                    <a:pt x="2027" y="1367"/>
                  </a:cubicBezTo>
                  <a:cubicBezTo>
                    <a:pt x="2012" y="1374"/>
                    <a:pt x="1982" y="1344"/>
                    <a:pt x="1968" y="1330"/>
                  </a:cubicBezTo>
                  <a:cubicBezTo>
                    <a:pt x="1960" y="1315"/>
                    <a:pt x="1953" y="1293"/>
                    <a:pt x="1945" y="1270"/>
                  </a:cubicBezTo>
                  <a:cubicBezTo>
                    <a:pt x="1938" y="1255"/>
                    <a:pt x="1923" y="1233"/>
                    <a:pt x="1923" y="1218"/>
                  </a:cubicBezTo>
                  <a:cubicBezTo>
                    <a:pt x="1901" y="1233"/>
                    <a:pt x="1893" y="1248"/>
                    <a:pt x="1864" y="1255"/>
                  </a:cubicBezTo>
                  <a:cubicBezTo>
                    <a:pt x="1827" y="1270"/>
                    <a:pt x="1819" y="1263"/>
                    <a:pt x="1789" y="1248"/>
                  </a:cubicBezTo>
                  <a:cubicBezTo>
                    <a:pt x="1760" y="1233"/>
                    <a:pt x="1708" y="1211"/>
                    <a:pt x="1693" y="1166"/>
                  </a:cubicBezTo>
                  <a:cubicBezTo>
                    <a:pt x="1693" y="1159"/>
                    <a:pt x="1700" y="1144"/>
                    <a:pt x="1693" y="1137"/>
                  </a:cubicBezTo>
                  <a:cubicBezTo>
                    <a:pt x="1693" y="1122"/>
                    <a:pt x="1671" y="1107"/>
                    <a:pt x="1663" y="1099"/>
                  </a:cubicBezTo>
                  <a:cubicBezTo>
                    <a:pt x="1648" y="1085"/>
                    <a:pt x="1633" y="1070"/>
                    <a:pt x="1611" y="1062"/>
                  </a:cubicBezTo>
                  <a:cubicBezTo>
                    <a:pt x="1589" y="1055"/>
                    <a:pt x="1574" y="1047"/>
                    <a:pt x="1552" y="1040"/>
                  </a:cubicBezTo>
                  <a:cubicBezTo>
                    <a:pt x="1529" y="1033"/>
                    <a:pt x="1507" y="1040"/>
                    <a:pt x="1485" y="1040"/>
                  </a:cubicBezTo>
                  <a:cubicBezTo>
                    <a:pt x="1485" y="988"/>
                    <a:pt x="1470" y="892"/>
                    <a:pt x="1529" y="877"/>
                  </a:cubicBezTo>
                  <a:cubicBezTo>
                    <a:pt x="1529" y="854"/>
                    <a:pt x="1515" y="847"/>
                    <a:pt x="1507" y="825"/>
                  </a:cubicBezTo>
                  <a:cubicBezTo>
                    <a:pt x="1507" y="802"/>
                    <a:pt x="1515" y="788"/>
                    <a:pt x="1529" y="773"/>
                  </a:cubicBezTo>
                  <a:cubicBezTo>
                    <a:pt x="1559" y="743"/>
                    <a:pt x="1589" y="743"/>
                    <a:pt x="1619" y="721"/>
                  </a:cubicBezTo>
                  <a:cubicBezTo>
                    <a:pt x="1648" y="706"/>
                    <a:pt x="1633" y="676"/>
                    <a:pt x="1656" y="647"/>
                  </a:cubicBezTo>
                  <a:cubicBezTo>
                    <a:pt x="1678" y="632"/>
                    <a:pt x="1693" y="624"/>
                    <a:pt x="1722" y="624"/>
                  </a:cubicBezTo>
                  <a:cubicBezTo>
                    <a:pt x="1722" y="609"/>
                    <a:pt x="1715" y="587"/>
                    <a:pt x="1708" y="572"/>
                  </a:cubicBezTo>
                  <a:cubicBezTo>
                    <a:pt x="1663" y="565"/>
                    <a:pt x="1656" y="565"/>
                    <a:pt x="1641" y="528"/>
                  </a:cubicBezTo>
                  <a:cubicBezTo>
                    <a:pt x="1626" y="505"/>
                    <a:pt x="1619" y="498"/>
                    <a:pt x="1626" y="468"/>
                  </a:cubicBezTo>
                  <a:cubicBezTo>
                    <a:pt x="1626" y="453"/>
                    <a:pt x="1641" y="446"/>
                    <a:pt x="1641" y="424"/>
                  </a:cubicBezTo>
                  <a:cubicBezTo>
                    <a:pt x="1641" y="431"/>
                    <a:pt x="1641" y="446"/>
                    <a:pt x="1641" y="453"/>
                  </a:cubicBezTo>
                  <a:cubicBezTo>
                    <a:pt x="1656" y="453"/>
                    <a:pt x="1663" y="461"/>
                    <a:pt x="1671" y="461"/>
                  </a:cubicBezTo>
                  <a:cubicBezTo>
                    <a:pt x="1671" y="491"/>
                    <a:pt x="1722" y="520"/>
                    <a:pt x="1745" y="520"/>
                  </a:cubicBezTo>
                  <a:cubicBezTo>
                    <a:pt x="1745" y="528"/>
                    <a:pt x="1745" y="542"/>
                    <a:pt x="1745" y="550"/>
                  </a:cubicBezTo>
                  <a:cubicBezTo>
                    <a:pt x="1767" y="557"/>
                    <a:pt x="1789" y="550"/>
                    <a:pt x="1812" y="557"/>
                  </a:cubicBezTo>
                  <a:cubicBezTo>
                    <a:pt x="1804" y="565"/>
                    <a:pt x="1797" y="580"/>
                    <a:pt x="1797" y="587"/>
                  </a:cubicBezTo>
                  <a:cubicBezTo>
                    <a:pt x="1819" y="595"/>
                    <a:pt x="1841" y="595"/>
                    <a:pt x="1864" y="595"/>
                  </a:cubicBezTo>
                  <a:cubicBezTo>
                    <a:pt x="1864" y="617"/>
                    <a:pt x="1871" y="647"/>
                    <a:pt x="1864" y="661"/>
                  </a:cubicBezTo>
                  <a:cubicBezTo>
                    <a:pt x="1856" y="684"/>
                    <a:pt x="1834" y="699"/>
                    <a:pt x="1834" y="721"/>
                  </a:cubicBezTo>
                  <a:cubicBezTo>
                    <a:pt x="1856" y="728"/>
                    <a:pt x="1871" y="721"/>
                    <a:pt x="1886" y="721"/>
                  </a:cubicBezTo>
                  <a:cubicBezTo>
                    <a:pt x="1886" y="743"/>
                    <a:pt x="1886" y="780"/>
                    <a:pt x="1893" y="795"/>
                  </a:cubicBezTo>
                  <a:cubicBezTo>
                    <a:pt x="1893" y="780"/>
                    <a:pt x="1901" y="758"/>
                    <a:pt x="1901" y="743"/>
                  </a:cubicBezTo>
                  <a:cubicBezTo>
                    <a:pt x="1923" y="728"/>
                    <a:pt x="1893" y="669"/>
                    <a:pt x="1930" y="676"/>
                  </a:cubicBezTo>
                  <a:cubicBezTo>
                    <a:pt x="1938" y="684"/>
                    <a:pt x="1938" y="706"/>
                    <a:pt x="1945" y="713"/>
                  </a:cubicBezTo>
                  <a:cubicBezTo>
                    <a:pt x="1953" y="706"/>
                    <a:pt x="1945" y="684"/>
                    <a:pt x="1953" y="676"/>
                  </a:cubicBezTo>
                  <a:cubicBezTo>
                    <a:pt x="1975" y="654"/>
                    <a:pt x="1975" y="669"/>
                    <a:pt x="1990" y="676"/>
                  </a:cubicBezTo>
                  <a:cubicBezTo>
                    <a:pt x="2005" y="684"/>
                    <a:pt x="2005" y="691"/>
                    <a:pt x="2027" y="699"/>
                  </a:cubicBezTo>
                  <a:cubicBezTo>
                    <a:pt x="2042" y="699"/>
                    <a:pt x="2057" y="699"/>
                    <a:pt x="2072" y="699"/>
                  </a:cubicBezTo>
                  <a:cubicBezTo>
                    <a:pt x="2057" y="676"/>
                    <a:pt x="2042" y="654"/>
                    <a:pt x="2027" y="632"/>
                  </a:cubicBezTo>
                  <a:cubicBezTo>
                    <a:pt x="2012" y="609"/>
                    <a:pt x="1982" y="595"/>
                    <a:pt x="1990" y="557"/>
                  </a:cubicBezTo>
                  <a:cubicBezTo>
                    <a:pt x="2012" y="550"/>
                    <a:pt x="2042" y="550"/>
                    <a:pt x="2064" y="550"/>
                  </a:cubicBezTo>
                  <a:cubicBezTo>
                    <a:pt x="2064" y="595"/>
                    <a:pt x="2101" y="580"/>
                    <a:pt x="2116" y="602"/>
                  </a:cubicBezTo>
                  <a:cubicBezTo>
                    <a:pt x="2124" y="617"/>
                    <a:pt x="2124" y="654"/>
                    <a:pt x="2124" y="669"/>
                  </a:cubicBezTo>
                  <a:cubicBezTo>
                    <a:pt x="2131" y="699"/>
                    <a:pt x="2131" y="706"/>
                    <a:pt x="2138" y="728"/>
                  </a:cubicBezTo>
                  <a:cubicBezTo>
                    <a:pt x="2153" y="758"/>
                    <a:pt x="2161" y="773"/>
                    <a:pt x="2190" y="788"/>
                  </a:cubicBezTo>
                  <a:cubicBezTo>
                    <a:pt x="2227" y="810"/>
                    <a:pt x="2272" y="847"/>
                    <a:pt x="2317" y="854"/>
                  </a:cubicBezTo>
                  <a:cubicBezTo>
                    <a:pt x="2339" y="854"/>
                    <a:pt x="2406" y="869"/>
                    <a:pt x="2421" y="854"/>
                  </a:cubicBezTo>
                  <a:cubicBezTo>
                    <a:pt x="2421" y="847"/>
                    <a:pt x="2428" y="825"/>
                    <a:pt x="2428" y="817"/>
                  </a:cubicBezTo>
                  <a:cubicBezTo>
                    <a:pt x="2435" y="810"/>
                    <a:pt x="2450" y="795"/>
                    <a:pt x="2450" y="788"/>
                  </a:cubicBezTo>
                  <a:cubicBezTo>
                    <a:pt x="2450" y="780"/>
                    <a:pt x="2450" y="765"/>
                    <a:pt x="2450" y="758"/>
                  </a:cubicBezTo>
                  <a:cubicBezTo>
                    <a:pt x="2458" y="743"/>
                    <a:pt x="2465" y="743"/>
                    <a:pt x="2480" y="736"/>
                  </a:cubicBezTo>
                  <a:cubicBezTo>
                    <a:pt x="2487" y="713"/>
                    <a:pt x="2502" y="699"/>
                    <a:pt x="2524" y="684"/>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0" name="Freeform 27">
              <a:extLst>
                <a:ext uri="{FF2B5EF4-FFF2-40B4-BE49-F238E27FC236}">
                  <a16:creationId xmlns:a16="http://schemas.microsoft.com/office/drawing/2014/main" id="{2EFEAACB-2BA6-8449-9FB1-35C26DC48E32}"/>
                </a:ext>
              </a:extLst>
            </p:cNvPr>
            <p:cNvSpPr>
              <a:spLocks noChangeArrowheads="1"/>
            </p:cNvSpPr>
            <p:nvPr/>
          </p:nvSpPr>
          <p:spPr bwMode="auto">
            <a:xfrm>
              <a:off x="13832056" y="5849899"/>
              <a:ext cx="261172" cy="360064"/>
            </a:xfrm>
            <a:custGeom>
              <a:avLst/>
              <a:gdLst>
                <a:gd name="T0" fmla="*/ 52 w 602"/>
                <a:gd name="T1" fmla="*/ 780 h 833"/>
                <a:gd name="T2" fmla="*/ 52 w 602"/>
                <a:gd name="T3" fmla="*/ 780 h 833"/>
                <a:gd name="T4" fmla="*/ 126 w 602"/>
                <a:gd name="T5" fmla="*/ 787 h 833"/>
                <a:gd name="T6" fmla="*/ 193 w 602"/>
                <a:gd name="T7" fmla="*/ 802 h 833"/>
                <a:gd name="T8" fmla="*/ 319 w 602"/>
                <a:gd name="T9" fmla="*/ 772 h 833"/>
                <a:gd name="T10" fmla="*/ 319 w 602"/>
                <a:gd name="T11" fmla="*/ 728 h 833"/>
                <a:gd name="T12" fmla="*/ 401 w 602"/>
                <a:gd name="T13" fmla="*/ 750 h 833"/>
                <a:gd name="T14" fmla="*/ 460 w 602"/>
                <a:gd name="T15" fmla="*/ 772 h 833"/>
                <a:gd name="T16" fmla="*/ 490 w 602"/>
                <a:gd name="T17" fmla="*/ 743 h 833"/>
                <a:gd name="T18" fmla="*/ 542 w 602"/>
                <a:gd name="T19" fmla="*/ 750 h 833"/>
                <a:gd name="T20" fmla="*/ 542 w 602"/>
                <a:gd name="T21" fmla="*/ 720 h 833"/>
                <a:gd name="T22" fmla="*/ 579 w 602"/>
                <a:gd name="T23" fmla="*/ 653 h 833"/>
                <a:gd name="T24" fmla="*/ 601 w 602"/>
                <a:gd name="T25" fmla="*/ 594 h 833"/>
                <a:gd name="T26" fmla="*/ 564 w 602"/>
                <a:gd name="T27" fmla="*/ 550 h 833"/>
                <a:gd name="T28" fmla="*/ 527 w 602"/>
                <a:gd name="T29" fmla="*/ 438 h 833"/>
                <a:gd name="T30" fmla="*/ 520 w 602"/>
                <a:gd name="T31" fmla="*/ 438 h 833"/>
                <a:gd name="T32" fmla="*/ 512 w 602"/>
                <a:gd name="T33" fmla="*/ 416 h 833"/>
                <a:gd name="T34" fmla="*/ 534 w 602"/>
                <a:gd name="T35" fmla="*/ 416 h 833"/>
                <a:gd name="T36" fmla="*/ 564 w 602"/>
                <a:gd name="T37" fmla="*/ 349 h 833"/>
                <a:gd name="T38" fmla="*/ 586 w 602"/>
                <a:gd name="T39" fmla="*/ 275 h 833"/>
                <a:gd name="T40" fmla="*/ 579 w 602"/>
                <a:gd name="T41" fmla="*/ 230 h 833"/>
                <a:gd name="T42" fmla="*/ 594 w 602"/>
                <a:gd name="T43" fmla="*/ 171 h 833"/>
                <a:gd name="T44" fmla="*/ 564 w 602"/>
                <a:gd name="T45" fmla="*/ 119 h 833"/>
                <a:gd name="T46" fmla="*/ 534 w 602"/>
                <a:gd name="T47" fmla="*/ 45 h 833"/>
                <a:gd name="T48" fmla="*/ 490 w 602"/>
                <a:gd name="T49" fmla="*/ 37 h 833"/>
                <a:gd name="T50" fmla="*/ 453 w 602"/>
                <a:gd name="T51" fmla="*/ 37 h 833"/>
                <a:gd name="T52" fmla="*/ 438 w 602"/>
                <a:gd name="T53" fmla="*/ 8 h 833"/>
                <a:gd name="T54" fmla="*/ 401 w 602"/>
                <a:gd name="T55" fmla="*/ 0 h 833"/>
                <a:gd name="T56" fmla="*/ 401 w 602"/>
                <a:gd name="T57" fmla="*/ 30 h 833"/>
                <a:gd name="T58" fmla="*/ 371 w 602"/>
                <a:gd name="T59" fmla="*/ 30 h 833"/>
                <a:gd name="T60" fmla="*/ 371 w 602"/>
                <a:gd name="T61" fmla="*/ 67 h 833"/>
                <a:gd name="T62" fmla="*/ 326 w 602"/>
                <a:gd name="T63" fmla="*/ 45 h 833"/>
                <a:gd name="T64" fmla="*/ 304 w 602"/>
                <a:gd name="T65" fmla="*/ 82 h 833"/>
                <a:gd name="T66" fmla="*/ 289 w 602"/>
                <a:gd name="T67" fmla="*/ 111 h 833"/>
                <a:gd name="T68" fmla="*/ 267 w 602"/>
                <a:gd name="T69" fmla="*/ 82 h 833"/>
                <a:gd name="T70" fmla="*/ 208 w 602"/>
                <a:gd name="T71" fmla="*/ 119 h 833"/>
                <a:gd name="T72" fmla="*/ 148 w 602"/>
                <a:gd name="T73" fmla="*/ 126 h 833"/>
                <a:gd name="T74" fmla="*/ 96 w 602"/>
                <a:gd name="T75" fmla="*/ 126 h 833"/>
                <a:gd name="T76" fmla="*/ 133 w 602"/>
                <a:gd name="T77" fmla="*/ 193 h 833"/>
                <a:gd name="T78" fmla="*/ 118 w 602"/>
                <a:gd name="T79" fmla="*/ 275 h 833"/>
                <a:gd name="T80" fmla="*/ 96 w 602"/>
                <a:gd name="T81" fmla="*/ 312 h 833"/>
                <a:gd name="T82" fmla="*/ 81 w 602"/>
                <a:gd name="T83" fmla="*/ 342 h 833"/>
                <a:gd name="T84" fmla="*/ 66 w 602"/>
                <a:gd name="T85" fmla="*/ 379 h 833"/>
                <a:gd name="T86" fmla="*/ 22 w 602"/>
                <a:gd name="T87" fmla="*/ 438 h 833"/>
                <a:gd name="T88" fmla="*/ 37 w 602"/>
                <a:gd name="T89" fmla="*/ 520 h 833"/>
                <a:gd name="T90" fmla="*/ 22 w 602"/>
                <a:gd name="T91" fmla="*/ 572 h 833"/>
                <a:gd name="T92" fmla="*/ 0 w 602"/>
                <a:gd name="T93" fmla="*/ 661 h 833"/>
                <a:gd name="T94" fmla="*/ 15 w 602"/>
                <a:gd name="T95" fmla="*/ 668 h 833"/>
                <a:gd name="T96" fmla="*/ 15 w 602"/>
                <a:gd name="T97" fmla="*/ 743 h 833"/>
                <a:gd name="T98" fmla="*/ 29 w 602"/>
                <a:gd name="T99" fmla="*/ 765 h 833"/>
                <a:gd name="T100" fmla="*/ 52 w 602"/>
                <a:gd name="T101" fmla="*/ 78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2" h="833">
                  <a:moveTo>
                    <a:pt x="52" y="780"/>
                  </a:moveTo>
                  <a:lnTo>
                    <a:pt x="52" y="780"/>
                  </a:lnTo>
                  <a:cubicBezTo>
                    <a:pt x="66" y="787"/>
                    <a:pt x="111" y="787"/>
                    <a:pt x="126" y="787"/>
                  </a:cubicBezTo>
                  <a:cubicBezTo>
                    <a:pt x="163" y="787"/>
                    <a:pt x="170" y="787"/>
                    <a:pt x="193" y="802"/>
                  </a:cubicBezTo>
                  <a:cubicBezTo>
                    <a:pt x="252" y="832"/>
                    <a:pt x="274" y="795"/>
                    <a:pt x="319" y="772"/>
                  </a:cubicBezTo>
                  <a:cubicBezTo>
                    <a:pt x="319" y="757"/>
                    <a:pt x="319" y="743"/>
                    <a:pt x="319" y="728"/>
                  </a:cubicBezTo>
                  <a:cubicBezTo>
                    <a:pt x="356" y="705"/>
                    <a:pt x="371" y="743"/>
                    <a:pt x="401" y="750"/>
                  </a:cubicBezTo>
                  <a:cubicBezTo>
                    <a:pt x="438" y="765"/>
                    <a:pt x="438" y="720"/>
                    <a:pt x="460" y="772"/>
                  </a:cubicBezTo>
                  <a:cubicBezTo>
                    <a:pt x="468" y="757"/>
                    <a:pt x="475" y="750"/>
                    <a:pt x="490" y="743"/>
                  </a:cubicBezTo>
                  <a:cubicBezTo>
                    <a:pt x="497" y="743"/>
                    <a:pt x="512" y="750"/>
                    <a:pt x="542" y="750"/>
                  </a:cubicBezTo>
                  <a:cubicBezTo>
                    <a:pt x="542" y="743"/>
                    <a:pt x="542" y="735"/>
                    <a:pt x="542" y="720"/>
                  </a:cubicBezTo>
                  <a:cubicBezTo>
                    <a:pt x="549" y="691"/>
                    <a:pt x="534" y="653"/>
                    <a:pt x="579" y="653"/>
                  </a:cubicBezTo>
                  <a:cubicBezTo>
                    <a:pt x="586" y="631"/>
                    <a:pt x="601" y="609"/>
                    <a:pt x="601" y="594"/>
                  </a:cubicBezTo>
                  <a:cubicBezTo>
                    <a:pt x="594" y="564"/>
                    <a:pt x="579" y="564"/>
                    <a:pt x="564" y="550"/>
                  </a:cubicBezTo>
                  <a:cubicBezTo>
                    <a:pt x="534" y="527"/>
                    <a:pt x="527" y="475"/>
                    <a:pt x="527" y="438"/>
                  </a:cubicBezTo>
                  <a:cubicBezTo>
                    <a:pt x="520" y="438"/>
                    <a:pt x="520" y="438"/>
                    <a:pt x="520" y="438"/>
                  </a:cubicBezTo>
                  <a:cubicBezTo>
                    <a:pt x="520" y="431"/>
                    <a:pt x="512" y="423"/>
                    <a:pt x="512" y="416"/>
                  </a:cubicBezTo>
                  <a:cubicBezTo>
                    <a:pt x="520" y="416"/>
                    <a:pt x="527" y="416"/>
                    <a:pt x="534" y="416"/>
                  </a:cubicBezTo>
                  <a:cubicBezTo>
                    <a:pt x="534" y="386"/>
                    <a:pt x="557" y="364"/>
                    <a:pt x="564" y="349"/>
                  </a:cubicBezTo>
                  <a:cubicBezTo>
                    <a:pt x="579" y="327"/>
                    <a:pt x="586" y="297"/>
                    <a:pt x="586" y="275"/>
                  </a:cubicBezTo>
                  <a:cubicBezTo>
                    <a:pt x="549" y="275"/>
                    <a:pt x="571" y="238"/>
                    <a:pt x="579" y="230"/>
                  </a:cubicBezTo>
                  <a:cubicBezTo>
                    <a:pt x="594" y="208"/>
                    <a:pt x="594" y="193"/>
                    <a:pt x="594" y="171"/>
                  </a:cubicBezTo>
                  <a:cubicBezTo>
                    <a:pt x="542" y="171"/>
                    <a:pt x="564" y="148"/>
                    <a:pt x="564" y="119"/>
                  </a:cubicBezTo>
                  <a:cubicBezTo>
                    <a:pt x="564" y="89"/>
                    <a:pt x="557" y="59"/>
                    <a:pt x="534" y="45"/>
                  </a:cubicBezTo>
                  <a:cubicBezTo>
                    <a:pt x="520" y="45"/>
                    <a:pt x="497" y="37"/>
                    <a:pt x="490" y="37"/>
                  </a:cubicBezTo>
                  <a:cubicBezTo>
                    <a:pt x="475" y="30"/>
                    <a:pt x="468" y="45"/>
                    <a:pt x="453" y="37"/>
                  </a:cubicBezTo>
                  <a:cubicBezTo>
                    <a:pt x="430" y="30"/>
                    <a:pt x="453" y="22"/>
                    <a:pt x="438" y="8"/>
                  </a:cubicBezTo>
                  <a:cubicBezTo>
                    <a:pt x="430" y="0"/>
                    <a:pt x="408" y="0"/>
                    <a:pt x="401" y="0"/>
                  </a:cubicBezTo>
                  <a:cubicBezTo>
                    <a:pt x="401" y="8"/>
                    <a:pt x="401" y="22"/>
                    <a:pt x="401" y="30"/>
                  </a:cubicBezTo>
                  <a:cubicBezTo>
                    <a:pt x="393" y="30"/>
                    <a:pt x="378" y="30"/>
                    <a:pt x="371" y="30"/>
                  </a:cubicBezTo>
                  <a:cubicBezTo>
                    <a:pt x="371" y="45"/>
                    <a:pt x="371" y="59"/>
                    <a:pt x="371" y="67"/>
                  </a:cubicBezTo>
                  <a:cubicBezTo>
                    <a:pt x="349" y="74"/>
                    <a:pt x="341" y="52"/>
                    <a:pt x="326" y="45"/>
                  </a:cubicBezTo>
                  <a:cubicBezTo>
                    <a:pt x="319" y="59"/>
                    <a:pt x="312" y="74"/>
                    <a:pt x="304" y="82"/>
                  </a:cubicBezTo>
                  <a:cubicBezTo>
                    <a:pt x="297" y="89"/>
                    <a:pt x="289" y="111"/>
                    <a:pt x="289" y="111"/>
                  </a:cubicBezTo>
                  <a:cubicBezTo>
                    <a:pt x="267" y="126"/>
                    <a:pt x="282" y="89"/>
                    <a:pt x="267" y="82"/>
                  </a:cubicBezTo>
                  <a:cubicBezTo>
                    <a:pt x="215" y="74"/>
                    <a:pt x="245" y="111"/>
                    <a:pt x="208" y="119"/>
                  </a:cubicBezTo>
                  <a:cubicBezTo>
                    <a:pt x="193" y="126"/>
                    <a:pt x="141" y="97"/>
                    <a:pt x="148" y="126"/>
                  </a:cubicBezTo>
                  <a:cubicBezTo>
                    <a:pt x="133" y="126"/>
                    <a:pt x="111" y="126"/>
                    <a:pt x="96" y="126"/>
                  </a:cubicBezTo>
                  <a:cubicBezTo>
                    <a:pt x="96" y="156"/>
                    <a:pt x="126" y="171"/>
                    <a:pt x="133" y="193"/>
                  </a:cubicBezTo>
                  <a:cubicBezTo>
                    <a:pt x="133" y="208"/>
                    <a:pt x="126" y="253"/>
                    <a:pt x="118" y="275"/>
                  </a:cubicBezTo>
                  <a:cubicBezTo>
                    <a:pt x="111" y="282"/>
                    <a:pt x="104" y="297"/>
                    <a:pt x="96" y="312"/>
                  </a:cubicBezTo>
                  <a:cubicBezTo>
                    <a:pt x="89" y="327"/>
                    <a:pt x="89" y="327"/>
                    <a:pt x="81" y="342"/>
                  </a:cubicBezTo>
                  <a:cubicBezTo>
                    <a:pt x="74" y="356"/>
                    <a:pt x="74" y="364"/>
                    <a:pt x="66" y="379"/>
                  </a:cubicBezTo>
                  <a:cubicBezTo>
                    <a:pt x="59" y="408"/>
                    <a:pt x="22" y="408"/>
                    <a:pt x="22" y="438"/>
                  </a:cubicBezTo>
                  <a:cubicBezTo>
                    <a:pt x="22" y="468"/>
                    <a:pt x="37" y="490"/>
                    <a:pt x="37" y="520"/>
                  </a:cubicBezTo>
                  <a:cubicBezTo>
                    <a:pt x="29" y="535"/>
                    <a:pt x="15" y="550"/>
                    <a:pt x="22" y="572"/>
                  </a:cubicBezTo>
                  <a:cubicBezTo>
                    <a:pt x="29" y="616"/>
                    <a:pt x="44" y="639"/>
                    <a:pt x="0" y="661"/>
                  </a:cubicBezTo>
                  <a:lnTo>
                    <a:pt x="15" y="668"/>
                  </a:lnTo>
                  <a:cubicBezTo>
                    <a:pt x="22" y="683"/>
                    <a:pt x="15" y="713"/>
                    <a:pt x="15" y="743"/>
                  </a:cubicBezTo>
                  <a:cubicBezTo>
                    <a:pt x="15" y="743"/>
                    <a:pt x="22" y="750"/>
                    <a:pt x="29" y="765"/>
                  </a:cubicBezTo>
                  <a:cubicBezTo>
                    <a:pt x="22" y="757"/>
                    <a:pt x="52" y="780"/>
                    <a:pt x="52" y="78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1" name="Freeform 28">
              <a:extLst>
                <a:ext uri="{FF2B5EF4-FFF2-40B4-BE49-F238E27FC236}">
                  <a16:creationId xmlns:a16="http://schemas.microsoft.com/office/drawing/2014/main" id="{1E0FF956-D1D7-0C4B-8524-22BA0A7D9B0B}"/>
                </a:ext>
              </a:extLst>
            </p:cNvPr>
            <p:cNvSpPr>
              <a:spLocks noChangeArrowheads="1"/>
            </p:cNvSpPr>
            <p:nvPr/>
          </p:nvSpPr>
          <p:spPr bwMode="auto">
            <a:xfrm>
              <a:off x="11512010" y="8867575"/>
              <a:ext cx="26689" cy="32388"/>
            </a:xfrm>
            <a:custGeom>
              <a:avLst/>
              <a:gdLst>
                <a:gd name="T0" fmla="*/ 52 w 60"/>
                <a:gd name="T1" fmla="*/ 0 h 75"/>
                <a:gd name="T2" fmla="*/ 52 w 60"/>
                <a:gd name="T3" fmla="*/ 0 h 75"/>
                <a:gd name="T4" fmla="*/ 59 w 60"/>
                <a:gd name="T5" fmla="*/ 44 h 75"/>
                <a:gd name="T6" fmla="*/ 59 w 60"/>
                <a:gd name="T7" fmla="*/ 0 h 75"/>
                <a:gd name="T8" fmla="*/ 52 w 60"/>
                <a:gd name="T9" fmla="*/ 0 h 75"/>
              </a:gdLst>
              <a:ahLst/>
              <a:cxnLst>
                <a:cxn ang="0">
                  <a:pos x="T0" y="T1"/>
                </a:cxn>
                <a:cxn ang="0">
                  <a:pos x="T2" y="T3"/>
                </a:cxn>
                <a:cxn ang="0">
                  <a:pos x="T4" y="T5"/>
                </a:cxn>
                <a:cxn ang="0">
                  <a:pos x="T6" y="T7"/>
                </a:cxn>
                <a:cxn ang="0">
                  <a:pos x="T8" y="T9"/>
                </a:cxn>
              </a:cxnLst>
              <a:rect l="0" t="0" r="r" b="b"/>
              <a:pathLst>
                <a:path w="60" h="75">
                  <a:moveTo>
                    <a:pt x="52" y="0"/>
                  </a:moveTo>
                  <a:lnTo>
                    <a:pt x="52" y="0"/>
                  </a:lnTo>
                  <a:cubicBezTo>
                    <a:pt x="44" y="15"/>
                    <a:pt x="0" y="74"/>
                    <a:pt x="59" y="44"/>
                  </a:cubicBezTo>
                  <a:cubicBezTo>
                    <a:pt x="52" y="37"/>
                    <a:pt x="59" y="15"/>
                    <a:pt x="59" y="0"/>
                  </a:cubicBezTo>
                  <a:lnTo>
                    <a:pt x="52" y="0"/>
                  </a:ln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2" name="Freeform 29">
              <a:extLst>
                <a:ext uri="{FF2B5EF4-FFF2-40B4-BE49-F238E27FC236}">
                  <a16:creationId xmlns:a16="http://schemas.microsoft.com/office/drawing/2014/main" id="{9701475E-5A05-A64D-9F70-C9741F60067C}"/>
                </a:ext>
              </a:extLst>
            </p:cNvPr>
            <p:cNvSpPr>
              <a:spLocks noChangeArrowheads="1"/>
            </p:cNvSpPr>
            <p:nvPr/>
          </p:nvSpPr>
          <p:spPr bwMode="auto">
            <a:xfrm>
              <a:off x="10169929" y="10488814"/>
              <a:ext cx="1345894" cy="1745070"/>
            </a:xfrm>
            <a:custGeom>
              <a:avLst/>
              <a:gdLst>
                <a:gd name="T0" fmla="*/ 2874 w 3112"/>
                <a:gd name="T1" fmla="*/ 15 h 4041"/>
                <a:gd name="T2" fmla="*/ 2762 w 3112"/>
                <a:gd name="T3" fmla="*/ 208 h 4041"/>
                <a:gd name="T4" fmla="*/ 2502 w 3112"/>
                <a:gd name="T5" fmla="*/ 238 h 4041"/>
                <a:gd name="T6" fmla="*/ 2317 w 3112"/>
                <a:gd name="T7" fmla="*/ 334 h 4041"/>
                <a:gd name="T8" fmla="*/ 2064 w 3112"/>
                <a:gd name="T9" fmla="*/ 334 h 4041"/>
                <a:gd name="T10" fmla="*/ 1804 w 3112"/>
                <a:gd name="T11" fmla="*/ 520 h 4041"/>
                <a:gd name="T12" fmla="*/ 1515 w 3112"/>
                <a:gd name="T13" fmla="*/ 572 h 4041"/>
                <a:gd name="T14" fmla="*/ 1448 w 3112"/>
                <a:gd name="T15" fmla="*/ 549 h 4041"/>
                <a:gd name="T16" fmla="*/ 1173 w 3112"/>
                <a:gd name="T17" fmla="*/ 601 h 4041"/>
                <a:gd name="T18" fmla="*/ 1032 w 3112"/>
                <a:gd name="T19" fmla="*/ 869 h 4041"/>
                <a:gd name="T20" fmla="*/ 1106 w 3112"/>
                <a:gd name="T21" fmla="*/ 1114 h 4041"/>
                <a:gd name="T22" fmla="*/ 794 w 3112"/>
                <a:gd name="T23" fmla="*/ 1277 h 4041"/>
                <a:gd name="T24" fmla="*/ 557 w 3112"/>
                <a:gd name="T25" fmla="*/ 1255 h 4041"/>
                <a:gd name="T26" fmla="*/ 245 w 3112"/>
                <a:gd name="T27" fmla="*/ 1403 h 4041"/>
                <a:gd name="T28" fmla="*/ 155 w 3112"/>
                <a:gd name="T29" fmla="*/ 1337 h 4041"/>
                <a:gd name="T30" fmla="*/ 0 w 3112"/>
                <a:gd name="T31" fmla="*/ 1500 h 4041"/>
                <a:gd name="T32" fmla="*/ 222 w 3112"/>
                <a:gd name="T33" fmla="*/ 1604 h 4041"/>
                <a:gd name="T34" fmla="*/ 349 w 3112"/>
                <a:gd name="T35" fmla="*/ 1842 h 4041"/>
                <a:gd name="T36" fmla="*/ 445 w 3112"/>
                <a:gd name="T37" fmla="*/ 2116 h 4041"/>
                <a:gd name="T38" fmla="*/ 497 w 3112"/>
                <a:gd name="T39" fmla="*/ 2473 h 4041"/>
                <a:gd name="T40" fmla="*/ 675 w 3112"/>
                <a:gd name="T41" fmla="*/ 2540 h 4041"/>
                <a:gd name="T42" fmla="*/ 690 w 3112"/>
                <a:gd name="T43" fmla="*/ 2792 h 4041"/>
                <a:gd name="T44" fmla="*/ 779 w 3112"/>
                <a:gd name="T45" fmla="*/ 3030 h 4041"/>
                <a:gd name="T46" fmla="*/ 675 w 3112"/>
                <a:gd name="T47" fmla="*/ 3446 h 4041"/>
                <a:gd name="T48" fmla="*/ 653 w 3112"/>
                <a:gd name="T49" fmla="*/ 3683 h 4041"/>
                <a:gd name="T50" fmla="*/ 594 w 3112"/>
                <a:gd name="T51" fmla="*/ 3876 h 4041"/>
                <a:gd name="T52" fmla="*/ 690 w 3112"/>
                <a:gd name="T53" fmla="*/ 3980 h 4041"/>
                <a:gd name="T54" fmla="*/ 928 w 3112"/>
                <a:gd name="T55" fmla="*/ 4017 h 4041"/>
                <a:gd name="T56" fmla="*/ 1069 w 3112"/>
                <a:gd name="T57" fmla="*/ 3965 h 4041"/>
                <a:gd name="T58" fmla="*/ 1202 w 3112"/>
                <a:gd name="T59" fmla="*/ 3876 h 4041"/>
                <a:gd name="T60" fmla="*/ 1344 w 3112"/>
                <a:gd name="T61" fmla="*/ 3728 h 4041"/>
                <a:gd name="T62" fmla="*/ 1277 w 3112"/>
                <a:gd name="T63" fmla="*/ 3654 h 4041"/>
                <a:gd name="T64" fmla="*/ 1403 w 3112"/>
                <a:gd name="T65" fmla="*/ 3438 h 4041"/>
                <a:gd name="T66" fmla="*/ 1529 w 3112"/>
                <a:gd name="T67" fmla="*/ 3327 h 4041"/>
                <a:gd name="T68" fmla="*/ 1812 w 3112"/>
                <a:gd name="T69" fmla="*/ 3230 h 4041"/>
                <a:gd name="T70" fmla="*/ 1915 w 3112"/>
                <a:gd name="T71" fmla="*/ 3186 h 4041"/>
                <a:gd name="T72" fmla="*/ 2116 w 3112"/>
                <a:gd name="T73" fmla="*/ 3156 h 4041"/>
                <a:gd name="T74" fmla="*/ 2019 w 3112"/>
                <a:gd name="T75" fmla="*/ 2896 h 4041"/>
                <a:gd name="T76" fmla="*/ 2235 w 3112"/>
                <a:gd name="T77" fmla="*/ 2621 h 4041"/>
                <a:gd name="T78" fmla="*/ 2272 w 3112"/>
                <a:gd name="T79" fmla="*/ 2458 h 4041"/>
                <a:gd name="T80" fmla="*/ 2435 w 3112"/>
                <a:gd name="T81" fmla="*/ 2406 h 4041"/>
                <a:gd name="T82" fmla="*/ 2599 w 3112"/>
                <a:gd name="T83" fmla="*/ 2376 h 4041"/>
                <a:gd name="T84" fmla="*/ 2666 w 3112"/>
                <a:gd name="T85" fmla="*/ 2428 h 4041"/>
                <a:gd name="T86" fmla="*/ 2703 w 3112"/>
                <a:gd name="T87" fmla="*/ 1960 h 4041"/>
                <a:gd name="T88" fmla="*/ 2688 w 3112"/>
                <a:gd name="T89" fmla="*/ 1559 h 4041"/>
                <a:gd name="T90" fmla="*/ 2658 w 3112"/>
                <a:gd name="T91" fmla="*/ 1359 h 4041"/>
                <a:gd name="T92" fmla="*/ 2606 w 3112"/>
                <a:gd name="T93" fmla="*/ 1329 h 4041"/>
                <a:gd name="T94" fmla="*/ 2532 w 3112"/>
                <a:gd name="T95" fmla="*/ 1248 h 4041"/>
                <a:gd name="T96" fmla="*/ 2569 w 3112"/>
                <a:gd name="T97" fmla="*/ 1158 h 4041"/>
                <a:gd name="T98" fmla="*/ 2628 w 3112"/>
                <a:gd name="T99" fmla="*/ 1203 h 4041"/>
                <a:gd name="T100" fmla="*/ 2725 w 3112"/>
                <a:gd name="T101" fmla="*/ 1158 h 4041"/>
                <a:gd name="T102" fmla="*/ 2740 w 3112"/>
                <a:gd name="T103" fmla="*/ 1025 h 4041"/>
                <a:gd name="T104" fmla="*/ 2784 w 3112"/>
                <a:gd name="T105" fmla="*/ 1010 h 4041"/>
                <a:gd name="T106" fmla="*/ 2903 w 3112"/>
                <a:gd name="T107" fmla="*/ 861 h 4041"/>
                <a:gd name="T108" fmla="*/ 2881 w 3112"/>
                <a:gd name="T109" fmla="*/ 750 h 4041"/>
                <a:gd name="T110" fmla="*/ 3044 w 3112"/>
                <a:gd name="T111" fmla="*/ 542 h 4041"/>
                <a:gd name="T112" fmla="*/ 3052 w 3112"/>
                <a:gd name="T113" fmla="*/ 59 h 4041"/>
                <a:gd name="T114" fmla="*/ 2606 w 3112"/>
                <a:gd name="T115" fmla="*/ 1931 h 4041"/>
                <a:gd name="T116" fmla="*/ 2651 w 3112"/>
                <a:gd name="T117" fmla="*/ 2050 h 4041"/>
                <a:gd name="T118" fmla="*/ 2569 w 3112"/>
                <a:gd name="T119" fmla="*/ 1968 h 4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12" h="4041">
                  <a:moveTo>
                    <a:pt x="2896" y="52"/>
                  </a:moveTo>
                  <a:lnTo>
                    <a:pt x="2896" y="52"/>
                  </a:lnTo>
                  <a:cubicBezTo>
                    <a:pt x="2896" y="44"/>
                    <a:pt x="2888" y="30"/>
                    <a:pt x="2888" y="22"/>
                  </a:cubicBezTo>
                  <a:cubicBezTo>
                    <a:pt x="2888" y="15"/>
                    <a:pt x="2881" y="15"/>
                    <a:pt x="2874" y="15"/>
                  </a:cubicBezTo>
                  <a:cubicBezTo>
                    <a:pt x="2874" y="7"/>
                    <a:pt x="2859" y="0"/>
                    <a:pt x="2844" y="7"/>
                  </a:cubicBezTo>
                  <a:cubicBezTo>
                    <a:pt x="2836" y="30"/>
                    <a:pt x="2836" y="52"/>
                    <a:pt x="2836" y="74"/>
                  </a:cubicBezTo>
                  <a:cubicBezTo>
                    <a:pt x="2777" y="67"/>
                    <a:pt x="2792" y="134"/>
                    <a:pt x="2747" y="156"/>
                  </a:cubicBezTo>
                  <a:cubicBezTo>
                    <a:pt x="2740" y="178"/>
                    <a:pt x="2769" y="186"/>
                    <a:pt x="2762" y="208"/>
                  </a:cubicBezTo>
                  <a:cubicBezTo>
                    <a:pt x="2703" y="215"/>
                    <a:pt x="2658" y="193"/>
                    <a:pt x="2658" y="267"/>
                  </a:cubicBezTo>
                  <a:cubicBezTo>
                    <a:pt x="2636" y="267"/>
                    <a:pt x="2614" y="275"/>
                    <a:pt x="2599" y="267"/>
                  </a:cubicBezTo>
                  <a:cubicBezTo>
                    <a:pt x="2606" y="223"/>
                    <a:pt x="2539" y="156"/>
                    <a:pt x="2532" y="230"/>
                  </a:cubicBezTo>
                  <a:cubicBezTo>
                    <a:pt x="2524" y="230"/>
                    <a:pt x="2517" y="238"/>
                    <a:pt x="2502" y="238"/>
                  </a:cubicBezTo>
                  <a:cubicBezTo>
                    <a:pt x="2502" y="186"/>
                    <a:pt x="2495" y="171"/>
                    <a:pt x="2443" y="163"/>
                  </a:cubicBezTo>
                  <a:cubicBezTo>
                    <a:pt x="2398" y="163"/>
                    <a:pt x="2339" y="178"/>
                    <a:pt x="2406" y="201"/>
                  </a:cubicBezTo>
                  <a:cubicBezTo>
                    <a:pt x="2369" y="223"/>
                    <a:pt x="2406" y="267"/>
                    <a:pt x="2369" y="282"/>
                  </a:cubicBezTo>
                  <a:cubicBezTo>
                    <a:pt x="2339" y="290"/>
                    <a:pt x="2331" y="297"/>
                    <a:pt x="2317" y="334"/>
                  </a:cubicBezTo>
                  <a:cubicBezTo>
                    <a:pt x="2294" y="379"/>
                    <a:pt x="2257" y="267"/>
                    <a:pt x="2250" y="364"/>
                  </a:cubicBezTo>
                  <a:cubicBezTo>
                    <a:pt x="2235" y="356"/>
                    <a:pt x="2227" y="364"/>
                    <a:pt x="2220" y="364"/>
                  </a:cubicBezTo>
                  <a:cubicBezTo>
                    <a:pt x="2220" y="401"/>
                    <a:pt x="2175" y="401"/>
                    <a:pt x="2146" y="401"/>
                  </a:cubicBezTo>
                  <a:cubicBezTo>
                    <a:pt x="2109" y="394"/>
                    <a:pt x="2101" y="349"/>
                    <a:pt x="2064" y="334"/>
                  </a:cubicBezTo>
                  <a:cubicBezTo>
                    <a:pt x="1982" y="319"/>
                    <a:pt x="1878" y="341"/>
                    <a:pt x="1804" y="371"/>
                  </a:cubicBezTo>
                  <a:cubicBezTo>
                    <a:pt x="1804" y="386"/>
                    <a:pt x="1797" y="409"/>
                    <a:pt x="1804" y="423"/>
                  </a:cubicBezTo>
                  <a:cubicBezTo>
                    <a:pt x="1804" y="423"/>
                    <a:pt x="1804" y="423"/>
                    <a:pt x="1812" y="423"/>
                  </a:cubicBezTo>
                  <a:cubicBezTo>
                    <a:pt x="1812" y="453"/>
                    <a:pt x="1812" y="490"/>
                    <a:pt x="1804" y="520"/>
                  </a:cubicBezTo>
                  <a:cubicBezTo>
                    <a:pt x="1767" y="512"/>
                    <a:pt x="1745" y="587"/>
                    <a:pt x="1722" y="609"/>
                  </a:cubicBezTo>
                  <a:cubicBezTo>
                    <a:pt x="1685" y="639"/>
                    <a:pt x="1648" y="691"/>
                    <a:pt x="1596" y="661"/>
                  </a:cubicBezTo>
                  <a:cubicBezTo>
                    <a:pt x="1574" y="654"/>
                    <a:pt x="1529" y="631"/>
                    <a:pt x="1522" y="609"/>
                  </a:cubicBezTo>
                  <a:cubicBezTo>
                    <a:pt x="1515" y="601"/>
                    <a:pt x="1522" y="579"/>
                    <a:pt x="1515" y="572"/>
                  </a:cubicBezTo>
                  <a:cubicBezTo>
                    <a:pt x="1507" y="601"/>
                    <a:pt x="1500" y="631"/>
                    <a:pt x="1500" y="639"/>
                  </a:cubicBezTo>
                  <a:cubicBezTo>
                    <a:pt x="1500" y="631"/>
                    <a:pt x="1507" y="601"/>
                    <a:pt x="1515" y="572"/>
                  </a:cubicBezTo>
                  <a:cubicBezTo>
                    <a:pt x="1507" y="572"/>
                    <a:pt x="1507" y="564"/>
                    <a:pt x="1507" y="564"/>
                  </a:cubicBezTo>
                  <a:cubicBezTo>
                    <a:pt x="1485" y="557"/>
                    <a:pt x="1462" y="557"/>
                    <a:pt x="1448" y="549"/>
                  </a:cubicBezTo>
                  <a:cubicBezTo>
                    <a:pt x="1425" y="535"/>
                    <a:pt x="1418" y="512"/>
                    <a:pt x="1396" y="498"/>
                  </a:cubicBezTo>
                  <a:cubicBezTo>
                    <a:pt x="1351" y="483"/>
                    <a:pt x="1351" y="572"/>
                    <a:pt x="1307" y="512"/>
                  </a:cubicBezTo>
                  <a:cubicBezTo>
                    <a:pt x="1292" y="490"/>
                    <a:pt x="1202" y="468"/>
                    <a:pt x="1195" y="498"/>
                  </a:cubicBezTo>
                  <a:cubicBezTo>
                    <a:pt x="1188" y="535"/>
                    <a:pt x="1188" y="572"/>
                    <a:pt x="1173" y="601"/>
                  </a:cubicBezTo>
                  <a:cubicBezTo>
                    <a:pt x="1151" y="646"/>
                    <a:pt x="1069" y="631"/>
                    <a:pt x="1032" y="631"/>
                  </a:cubicBezTo>
                  <a:cubicBezTo>
                    <a:pt x="1032" y="668"/>
                    <a:pt x="1039" y="720"/>
                    <a:pt x="1024" y="750"/>
                  </a:cubicBezTo>
                  <a:cubicBezTo>
                    <a:pt x="1032" y="750"/>
                    <a:pt x="1039" y="757"/>
                    <a:pt x="1047" y="750"/>
                  </a:cubicBezTo>
                  <a:cubicBezTo>
                    <a:pt x="1047" y="795"/>
                    <a:pt x="1054" y="839"/>
                    <a:pt x="1032" y="869"/>
                  </a:cubicBezTo>
                  <a:cubicBezTo>
                    <a:pt x="1010" y="891"/>
                    <a:pt x="957" y="921"/>
                    <a:pt x="935" y="943"/>
                  </a:cubicBezTo>
                  <a:cubicBezTo>
                    <a:pt x="972" y="988"/>
                    <a:pt x="1113" y="943"/>
                    <a:pt x="1136" y="1003"/>
                  </a:cubicBezTo>
                  <a:cubicBezTo>
                    <a:pt x="1143" y="1032"/>
                    <a:pt x="1136" y="1062"/>
                    <a:pt x="1128" y="1091"/>
                  </a:cubicBezTo>
                  <a:cubicBezTo>
                    <a:pt x="1128" y="1106"/>
                    <a:pt x="1113" y="1106"/>
                    <a:pt x="1106" y="1114"/>
                  </a:cubicBezTo>
                  <a:cubicBezTo>
                    <a:pt x="1084" y="1129"/>
                    <a:pt x="1084" y="1151"/>
                    <a:pt x="1084" y="1173"/>
                  </a:cubicBezTo>
                  <a:cubicBezTo>
                    <a:pt x="1039" y="1173"/>
                    <a:pt x="980" y="1158"/>
                    <a:pt x="943" y="1196"/>
                  </a:cubicBezTo>
                  <a:cubicBezTo>
                    <a:pt x="913" y="1225"/>
                    <a:pt x="913" y="1270"/>
                    <a:pt x="905" y="1307"/>
                  </a:cubicBezTo>
                  <a:cubicBezTo>
                    <a:pt x="876" y="1307"/>
                    <a:pt x="824" y="1277"/>
                    <a:pt x="794" y="1277"/>
                  </a:cubicBezTo>
                  <a:cubicBezTo>
                    <a:pt x="750" y="1262"/>
                    <a:pt x="712" y="1255"/>
                    <a:pt x="668" y="1270"/>
                  </a:cubicBezTo>
                  <a:cubicBezTo>
                    <a:pt x="668" y="1277"/>
                    <a:pt x="668" y="1292"/>
                    <a:pt x="660" y="1300"/>
                  </a:cubicBezTo>
                  <a:cubicBezTo>
                    <a:pt x="638" y="1307"/>
                    <a:pt x="631" y="1277"/>
                    <a:pt x="623" y="1262"/>
                  </a:cubicBezTo>
                  <a:cubicBezTo>
                    <a:pt x="601" y="1248"/>
                    <a:pt x="579" y="1255"/>
                    <a:pt x="557" y="1255"/>
                  </a:cubicBezTo>
                  <a:cubicBezTo>
                    <a:pt x="512" y="1262"/>
                    <a:pt x="475" y="1292"/>
                    <a:pt x="467" y="1337"/>
                  </a:cubicBezTo>
                  <a:cubicBezTo>
                    <a:pt x="453" y="1389"/>
                    <a:pt x="453" y="1403"/>
                    <a:pt x="386" y="1396"/>
                  </a:cubicBezTo>
                  <a:cubicBezTo>
                    <a:pt x="363" y="1389"/>
                    <a:pt x="334" y="1389"/>
                    <a:pt x="304" y="1389"/>
                  </a:cubicBezTo>
                  <a:cubicBezTo>
                    <a:pt x="289" y="1396"/>
                    <a:pt x="267" y="1411"/>
                    <a:pt x="245" y="1403"/>
                  </a:cubicBezTo>
                  <a:cubicBezTo>
                    <a:pt x="252" y="1403"/>
                    <a:pt x="245" y="1344"/>
                    <a:pt x="237" y="1337"/>
                  </a:cubicBezTo>
                  <a:cubicBezTo>
                    <a:pt x="215" y="1322"/>
                    <a:pt x="178" y="1329"/>
                    <a:pt x="155" y="1337"/>
                  </a:cubicBezTo>
                  <a:cubicBezTo>
                    <a:pt x="155" y="1366"/>
                    <a:pt x="163" y="1411"/>
                    <a:pt x="163" y="1411"/>
                  </a:cubicBezTo>
                  <a:cubicBezTo>
                    <a:pt x="163" y="1411"/>
                    <a:pt x="155" y="1366"/>
                    <a:pt x="155" y="1337"/>
                  </a:cubicBezTo>
                  <a:cubicBezTo>
                    <a:pt x="155" y="1337"/>
                    <a:pt x="155" y="1337"/>
                    <a:pt x="148" y="1337"/>
                  </a:cubicBezTo>
                  <a:cubicBezTo>
                    <a:pt x="148" y="1389"/>
                    <a:pt x="89" y="1359"/>
                    <a:pt x="89" y="1411"/>
                  </a:cubicBezTo>
                  <a:cubicBezTo>
                    <a:pt x="52" y="1418"/>
                    <a:pt x="37" y="1389"/>
                    <a:pt x="7" y="1381"/>
                  </a:cubicBezTo>
                  <a:cubicBezTo>
                    <a:pt x="0" y="1418"/>
                    <a:pt x="0" y="1463"/>
                    <a:pt x="0" y="1500"/>
                  </a:cubicBezTo>
                  <a:cubicBezTo>
                    <a:pt x="29" y="1500"/>
                    <a:pt x="52" y="1493"/>
                    <a:pt x="74" y="1515"/>
                  </a:cubicBezTo>
                  <a:cubicBezTo>
                    <a:pt x="96" y="1530"/>
                    <a:pt x="118" y="1522"/>
                    <a:pt x="133" y="1537"/>
                  </a:cubicBezTo>
                  <a:cubicBezTo>
                    <a:pt x="155" y="1545"/>
                    <a:pt x="155" y="1567"/>
                    <a:pt x="178" y="1574"/>
                  </a:cubicBezTo>
                  <a:cubicBezTo>
                    <a:pt x="193" y="1582"/>
                    <a:pt x="222" y="1582"/>
                    <a:pt x="222" y="1604"/>
                  </a:cubicBezTo>
                  <a:cubicBezTo>
                    <a:pt x="200" y="1611"/>
                    <a:pt x="148" y="1686"/>
                    <a:pt x="148" y="1708"/>
                  </a:cubicBezTo>
                  <a:cubicBezTo>
                    <a:pt x="141" y="1708"/>
                    <a:pt x="141" y="1708"/>
                    <a:pt x="133" y="1708"/>
                  </a:cubicBezTo>
                  <a:cubicBezTo>
                    <a:pt x="193" y="1708"/>
                    <a:pt x="267" y="1686"/>
                    <a:pt x="319" y="1715"/>
                  </a:cubicBezTo>
                  <a:cubicBezTo>
                    <a:pt x="363" y="1738"/>
                    <a:pt x="349" y="1797"/>
                    <a:pt x="349" y="1842"/>
                  </a:cubicBezTo>
                  <a:cubicBezTo>
                    <a:pt x="334" y="1842"/>
                    <a:pt x="326" y="1842"/>
                    <a:pt x="311" y="1842"/>
                  </a:cubicBezTo>
                  <a:cubicBezTo>
                    <a:pt x="297" y="1864"/>
                    <a:pt x="311" y="1901"/>
                    <a:pt x="304" y="1923"/>
                  </a:cubicBezTo>
                  <a:cubicBezTo>
                    <a:pt x="326" y="1923"/>
                    <a:pt x="415" y="1968"/>
                    <a:pt x="430" y="1990"/>
                  </a:cubicBezTo>
                  <a:cubicBezTo>
                    <a:pt x="460" y="2027"/>
                    <a:pt x="453" y="2079"/>
                    <a:pt x="445" y="2116"/>
                  </a:cubicBezTo>
                  <a:cubicBezTo>
                    <a:pt x="415" y="2139"/>
                    <a:pt x="423" y="2191"/>
                    <a:pt x="415" y="2228"/>
                  </a:cubicBezTo>
                  <a:cubicBezTo>
                    <a:pt x="408" y="2265"/>
                    <a:pt x="400" y="2302"/>
                    <a:pt x="408" y="2339"/>
                  </a:cubicBezTo>
                  <a:cubicBezTo>
                    <a:pt x="415" y="2369"/>
                    <a:pt x="415" y="2406"/>
                    <a:pt x="438" y="2421"/>
                  </a:cubicBezTo>
                  <a:cubicBezTo>
                    <a:pt x="460" y="2436"/>
                    <a:pt x="497" y="2436"/>
                    <a:pt x="497" y="2473"/>
                  </a:cubicBezTo>
                  <a:cubicBezTo>
                    <a:pt x="505" y="2473"/>
                    <a:pt x="512" y="2473"/>
                    <a:pt x="519" y="2465"/>
                  </a:cubicBezTo>
                  <a:cubicBezTo>
                    <a:pt x="519" y="2413"/>
                    <a:pt x="571" y="2428"/>
                    <a:pt x="594" y="2391"/>
                  </a:cubicBezTo>
                  <a:cubicBezTo>
                    <a:pt x="616" y="2369"/>
                    <a:pt x="668" y="2361"/>
                    <a:pt x="698" y="2376"/>
                  </a:cubicBezTo>
                  <a:cubicBezTo>
                    <a:pt x="735" y="2399"/>
                    <a:pt x="742" y="2547"/>
                    <a:pt x="675" y="2540"/>
                  </a:cubicBezTo>
                  <a:cubicBezTo>
                    <a:pt x="675" y="2562"/>
                    <a:pt x="690" y="2569"/>
                    <a:pt x="683" y="2592"/>
                  </a:cubicBezTo>
                  <a:cubicBezTo>
                    <a:pt x="794" y="2607"/>
                    <a:pt x="668" y="2696"/>
                    <a:pt x="683" y="2748"/>
                  </a:cubicBezTo>
                  <a:cubicBezTo>
                    <a:pt x="683" y="2748"/>
                    <a:pt x="683" y="2748"/>
                    <a:pt x="690" y="2748"/>
                  </a:cubicBezTo>
                  <a:cubicBezTo>
                    <a:pt x="690" y="2762"/>
                    <a:pt x="690" y="2777"/>
                    <a:pt x="690" y="2792"/>
                  </a:cubicBezTo>
                  <a:cubicBezTo>
                    <a:pt x="638" y="2807"/>
                    <a:pt x="675" y="2918"/>
                    <a:pt x="631" y="2918"/>
                  </a:cubicBezTo>
                  <a:cubicBezTo>
                    <a:pt x="668" y="2926"/>
                    <a:pt x="683" y="2970"/>
                    <a:pt x="720" y="2963"/>
                  </a:cubicBezTo>
                  <a:cubicBezTo>
                    <a:pt x="735" y="2948"/>
                    <a:pt x="742" y="2926"/>
                    <a:pt x="772" y="2933"/>
                  </a:cubicBezTo>
                  <a:cubicBezTo>
                    <a:pt x="765" y="2978"/>
                    <a:pt x="824" y="3000"/>
                    <a:pt x="779" y="3030"/>
                  </a:cubicBezTo>
                  <a:cubicBezTo>
                    <a:pt x="757" y="3045"/>
                    <a:pt x="742" y="3119"/>
                    <a:pt x="742" y="3149"/>
                  </a:cubicBezTo>
                  <a:cubicBezTo>
                    <a:pt x="683" y="3134"/>
                    <a:pt x="690" y="3267"/>
                    <a:pt x="668" y="3305"/>
                  </a:cubicBezTo>
                  <a:cubicBezTo>
                    <a:pt x="653" y="3334"/>
                    <a:pt x="608" y="3334"/>
                    <a:pt x="616" y="3364"/>
                  </a:cubicBezTo>
                  <a:cubicBezTo>
                    <a:pt x="623" y="3394"/>
                    <a:pt x="653" y="3446"/>
                    <a:pt x="675" y="3446"/>
                  </a:cubicBezTo>
                  <a:cubicBezTo>
                    <a:pt x="683" y="3475"/>
                    <a:pt x="683" y="3505"/>
                    <a:pt x="675" y="3527"/>
                  </a:cubicBezTo>
                  <a:cubicBezTo>
                    <a:pt x="646" y="3527"/>
                    <a:pt x="616" y="3564"/>
                    <a:pt x="616" y="3587"/>
                  </a:cubicBezTo>
                  <a:cubicBezTo>
                    <a:pt x="608" y="3624"/>
                    <a:pt x="646" y="3646"/>
                    <a:pt x="646" y="3683"/>
                  </a:cubicBezTo>
                  <a:cubicBezTo>
                    <a:pt x="653" y="3683"/>
                    <a:pt x="653" y="3683"/>
                    <a:pt x="653" y="3683"/>
                  </a:cubicBezTo>
                  <a:cubicBezTo>
                    <a:pt x="668" y="3728"/>
                    <a:pt x="683" y="3787"/>
                    <a:pt x="616" y="3757"/>
                  </a:cubicBezTo>
                  <a:cubicBezTo>
                    <a:pt x="616" y="3772"/>
                    <a:pt x="616" y="3787"/>
                    <a:pt x="616" y="3802"/>
                  </a:cubicBezTo>
                  <a:cubicBezTo>
                    <a:pt x="608" y="3802"/>
                    <a:pt x="608" y="3809"/>
                    <a:pt x="601" y="3802"/>
                  </a:cubicBezTo>
                  <a:cubicBezTo>
                    <a:pt x="601" y="3832"/>
                    <a:pt x="601" y="3854"/>
                    <a:pt x="594" y="3876"/>
                  </a:cubicBezTo>
                  <a:cubicBezTo>
                    <a:pt x="594" y="3884"/>
                    <a:pt x="586" y="3884"/>
                    <a:pt x="579" y="3884"/>
                  </a:cubicBezTo>
                  <a:cubicBezTo>
                    <a:pt x="579" y="3884"/>
                    <a:pt x="571" y="3891"/>
                    <a:pt x="564" y="3891"/>
                  </a:cubicBezTo>
                  <a:cubicBezTo>
                    <a:pt x="571" y="3906"/>
                    <a:pt x="579" y="3921"/>
                    <a:pt x="594" y="3936"/>
                  </a:cubicBezTo>
                  <a:cubicBezTo>
                    <a:pt x="616" y="3951"/>
                    <a:pt x="660" y="3965"/>
                    <a:pt x="690" y="3980"/>
                  </a:cubicBezTo>
                  <a:cubicBezTo>
                    <a:pt x="735" y="3995"/>
                    <a:pt x="779" y="4017"/>
                    <a:pt x="824" y="4032"/>
                  </a:cubicBezTo>
                  <a:cubicBezTo>
                    <a:pt x="846" y="4032"/>
                    <a:pt x="868" y="4032"/>
                    <a:pt x="891" y="4032"/>
                  </a:cubicBezTo>
                  <a:cubicBezTo>
                    <a:pt x="898" y="4032"/>
                    <a:pt x="905" y="4040"/>
                    <a:pt x="913" y="4032"/>
                  </a:cubicBezTo>
                  <a:cubicBezTo>
                    <a:pt x="913" y="4032"/>
                    <a:pt x="920" y="4017"/>
                    <a:pt x="928" y="4017"/>
                  </a:cubicBezTo>
                  <a:lnTo>
                    <a:pt x="928" y="4017"/>
                  </a:lnTo>
                  <a:cubicBezTo>
                    <a:pt x="935" y="4010"/>
                    <a:pt x="935" y="3988"/>
                    <a:pt x="957" y="3980"/>
                  </a:cubicBezTo>
                  <a:cubicBezTo>
                    <a:pt x="965" y="3973"/>
                    <a:pt x="987" y="3980"/>
                    <a:pt x="1002" y="3980"/>
                  </a:cubicBezTo>
                  <a:cubicBezTo>
                    <a:pt x="1024" y="3980"/>
                    <a:pt x="1047" y="3973"/>
                    <a:pt x="1069" y="3965"/>
                  </a:cubicBezTo>
                  <a:cubicBezTo>
                    <a:pt x="1076" y="3958"/>
                    <a:pt x="1091" y="3951"/>
                    <a:pt x="1099" y="3943"/>
                  </a:cubicBezTo>
                  <a:cubicBezTo>
                    <a:pt x="1106" y="3921"/>
                    <a:pt x="1113" y="3906"/>
                    <a:pt x="1128" y="3891"/>
                  </a:cubicBezTo>
                  <a:cubicBezTo>
                    <a:pt x="1143" y="3884"/>
                    <a:pt x="1165" y="3884"/>
                    <a:pt x="1173" y="3876"/>
                  </a:cubicBezTo>
                  <a:cubicBezTo>
                    <a:pt x="1180" y="3876"/>
                    <a:pt x="1195" y="3876"/>
                    <a:pt x="1202" y="3876"/>
                  </a:cubicBezTo>
                  <a:cubicBezTo>
                    <a:pt x="1210" y="3876"/>
                    <a:pt x="1217" y="3862"/>
                    <a:pt x="1232" y="3862"/>
                  </a:cubicBezTo>
                  <a:cubicBezTo>
                    <a:pt x="1255" y="3847"/>
                    <a:pt x="1270" y="3847"/>
                    <a:pt x="1292" y="3824"/>
                  </a:cubicBezTo>
                  <a:cubicBezTo>
                    <a:pt x="1307" y="3809"/>
                    <a:pt x="1321" y="3787"/>
                    <a:pt x="1329" y="3765"/>
                  </a:cubicBezTo>
                  <a:cubicBezTo>
                    <a:pt x="1336" y="3750"/>
                    <a:pt x="1336" y="3735"/>
                    <a:pt x="1344" y="3728"/>
                  </a:cubicBezTo>
                  <a:cubicBezTo>
                    <a:pt x="1358" y="3713"/>
                    <a:pt x="1358" y="3713"/>
                    <a:pt x="1366" y="3698"/>
                  </a:cubicBezTo>
                  <a:cubicBezTo>
                    <a:pt x="1366" y="3691"/>
                    <a:pt x="1366" y="3661"/>
                    <a:pt x="1366" y="3654"/>
                  </a:cubicBezTo>
                  <a:cubicBezTo>
                    <a:pt x="1358" y="3646"/>
                    <a:pt x="1329" y="3646"/>
                    <a:pt x="1329" y="3654"/>
                  </a:cubicBezTo>
                  <a:cubicBezTo>
                    <a:pt x="1314" y="3654"/>
                    <a:pt x="1292" y="3654"/>
                    <a:pt x="1277" y="3654"/>
                  </a:cubicBezTo>
                  <a:cubicBezTo>
                    <a:pt x="1284" y="3624"/>
                    <a:pt x="1344" y="3639"/>
                    <a:pt x="1358" y="3639"/>
                  </a:cubicBezTo>
                  <a:cubicBezTo>
                    <a:pt x="1366" y="3617"/>
                    <a:pt x="1366" y="3602"/>
                    <a:pt x="1381" y="3587"/>
                  </a:cubicBezTo>
                  <a:cubicBezTo>
                    <a:pt x="1388" y="3579"/>
                    <a:pt x="1403" y="3564"/>
                    <a:pt x="1403" y="3550"/>
                  </a:cubicBezTo>
                  <a:cubicBezTo>
                    <a:pt x="1410" y="3512"/>
                    <a:pt x="1403" y="3475"/>
                    <a:pt x="1403" y="3438"/>
                  </a:cubicBezTo>
                  <a:cubicBezTo>
                    <a:pt x="1410" y="3423"/>
                    <a:pt x="1410" y="3386"/>
                    <a:pt x="1425" y="3371"/>
                  </a:cubicBezTo>
                  <a:cubicBezTo>
                    <a:pt x="1433" y="3364"/>
                    <a:pt x="1440" y="3371"/>
                    <a:pt x="1448" y="3364"/>
                  </a:cubicBezTo>
                  <a:cubicBezTo>
                    <a:pt x="1462" y="3364"/>
                    <a:pt x="1462" y="3357"/>
                    <a:pt x="1477" y="3349"/>
                  </a:cubicBezTo>
                  <a:cubicBezTo>
                    <a:pt x="1492" y="3334"/>
                    <a:pt x="1515" y="3342"/>
                    <a:pt x="1529" y="3327"/>
                  </a:cubicBezTo>
                  <a:cubicBezTo>
                    <a:pt x="1544" y="3312"/>
                    <a:pt x="1552" y="3290"/>
                    <a:pt x="1567" y="3282"/>
                  </a:cubicBezTo>
                  <a:cubicBezTo>
                    <a:pt x="1581" y="3267"/>
                    <a:pt x="1611" y="3267"/>
                    <a:pt x="1633" y="3267"/>
                  </a:cubicBezTo>
                  <a:cubicBezTo>
                    <a:pt x="1678" y="3260"/>
                    <a:pt x="1730" y="3252"/>
                    <a:pt x="1774" y="3238"/>
                  </a:cubicBezTo>
                  <a:cubicBezTo>
                    <a:pt x="1789" y="3230"/>
                    <a:pt x="1797" y="3230"/>
                    <a:pt x="1812" y="3230"/>
                  </a:cubicBezTo>
                  <a:cubicBezTo>
                    <a:pt x="1812" y="3230"/>
                    <a:pt x="1819" y="3223"/>
                    <a:pt x="1819" y="3215"/>
                  </a:cubicBezTo>
                  <a:cubicBezTo>
                    <a:pt x="1826" y="3208"/>
                    <a:pt x="1849" y="3208"/>
                    <a:pt x="1864" y="3208"/>
                  </a:cubicBezTo>
                  <a:cubicBezTo>
                    <a:pt x="1871" y="3193"/>
                    <a:pt x="1871" y="3193"/>
                    <a:pt x="1886" y="3186"/>
                  </a:cubicBezTo>
                  <a:cubicBezTo>
                    <a:pt x="1893" y="3186"/>
                    <a:pt x="1908" y="3186"/>
                    <a:pt x="1915" y="3186"/>
                  </a:cubicBezTo>
                  <a:cubicBezTo>
                    <a:pt x="1953" y="3171"/>
                    <a:pt x="1990" y="3163"/>
                    <a:pt x="2034" y="3171"/>
                  </a:cubicBezTo>
                  <a:cubicBezTo>
                    <a:pt x="2057" y="3171"/>
                    <a:pt x="2079" y="3178"/>
                    <a:pt x="2109" y="3178"/>
                  </a:cubicBezTo>
                  <a:cubicBezTo>
                    <a:pt x="2123" y="3178"/>
                    <a:pt x="2131" y="3171"/>
                    <a:pt x="2146" y="3163"/>
                  </a:cubicBezTo>
                  <a:cubicBezTo>
                    <a:pt x="2138" y="3163"/>
                    <a:pt x="2123" y="3156"/>
                    <a:pt x="2116" y="3156"/>
                  </a:cubicBezTo>
                  <a:cubicBezTo>
                    <a:pt x="2116" y="3149"/>
                    <a:pt x="2109" y="3141"/>
                    <a:pt x="2101" y="3134"/>
                  </a:cubicBezTo>
                  <a:cubicBezTo>
                    <a:pt x="2094" y="3134"/>
                    <a:pt x="2086" y="3134"/>
                    <a:pt x="2079" y="3126"/>
                  </a:cubicBezTo>
                  <a:cubicBezTo>
                    <a:pt x="2057" y="3112"/>
                    <a:pt x="2042" y="3104"/>
                    <a:pt x="2019" y="3097"/>
                  </a:cubicBezTo>
                  <a:cubicBezTo>
                    <a:pt x="1945" y="3060"/>
                    <a:pt x="1990" y="2948"/>
                    <a:pt x="2019" y="2896"/>
                  </a:cubicBezTo>
                  <a:cubicBezTo>
                    <a:pt x="2034" y="2859"/>
                    <a:pt x="2072" y="2844"/>
                    <a:pt x="2086" y="2815"/>
                  </a:cubicBezTo>
                  <a:cubicBezTo>
                    <a:pt x="2094" y="2785"/>
                    <a:pt x="2109" y="2762"/>
                    <a:pt x="2138" y="2748"/>
                  </a:cubicBezTo>
                  <a:cubicBezTo>
                    <a:pt x="2138" y="2703"/>
                    <a:pt x="2183" y="2681"/>
                    <a:pt x="2212" y="2651"/>
                  </a:cubicBezTo>
                  <a:cubicBezTo>
                    <a:pt x="2220" y="2636"/>
                    <a:pt x="2227" y="2629"/>
                    <a:pt x="2235" y="2621"/>
                  </a:cubicBezTo>
                  <a:cubicBezTo>
                    <a:pt x="2242" y="2614"/>
                    <a:pt x="2250" y="2614"/>
                    <a:pt x="2257" y="2607"/>
                  </a:cubicBezTo>
                  <a:cubicBezTo>
                    <a:pt x="2287" y="2584"/>
                    <a:pt x="2257" y="2584"/>
                    <a:pt x="2242" y="2577"/>
                  </a:cubicBezTo>
                  <a:cubicBezTo>
                    <a:pt x="2242" y="2562"/>
                    <a:pt x="2242" y="2488"/>
                    <a:pt x="2264" y="2495"/>
                  </a:cubicBezTo>
                  <a:cubicBezTo>
                    <a:pt x="2264" y="2480"/>
                    <a:pt x="2264" y="2465"/>
                    <a:pt x="2272" y="2458"/>
                  </a:cubicBezTo>
                  <a:cubicBezTo>
                    <a:pt x="2279" y="2443"/>
                    <a:pt x="2309" y="2413"/>
                    <a:pt x="2324" y="2406"/>
                  </a:cubicBezTo>
                  <a:cubicBezTo>
                    <a:pt x="2339" y="2399"/>
                    <a:pt x="2361" y="2399"/>
                    <a:pt x="2376" y="2399"/>
                  </a:cubicBezTo>
                  <a:cubicBezTo>
                    <a:pt x="2391" y="2399"/>
                    <a:pt x="2406" y="2399"/>
                    <a:pt x="2413" y="2399"/>
                  </a:cubicBezTo>
                  <a:cubicBezTo>
                    <a:pt x="2420" y="2406"/>
                    <a:pt x="2428" y="2406"/>
                    <a:pt x="2435" y="2406"/>
                  </a:cubicBezTo>
                  <a:cubicBezTo>
                    <a:pt x="2458" y="2399"/>
                    <a:pt x="2472" y="2421"/>
                    <a:pt x="2495" y="2413"/>
                  </a:cubicBezTo>
                  <a:cubicBezTo>
                    <a:pt x="2487" y="2399"/>
                    <a:pt x="2487" y="2384"/>
                    <a:pt x="2480" y="2376"/>
                  </a:cubicBezTo>
                  <a:cubicBezTo>
                    <a:pt x="2487" y="2369"/>
                    <a:pt x="2495" y="2369"/>
                    <a:pt x="2509" y="2369"/>
                  </a:cubicBezTo>
                  <a:cubicBezTo>
                    <a:pt x="2539" y="2369"/>
                    <a:pt x="2569" y="2376"/>
                    <a:pt x="2599" y="2376"/>
                  </a:cubicBezTo>
                  <a:cubicBezTo>
                    <a:pt x="2606" y="2376"/>
                    <a:pt x="2621" y="2376"/>
                    <a:pt x="2628" y="2376"/>
                  </a:cubicBezTo>
                  <a:cubicBezTo>
                    <a:pt x="2636" y="2384"/>
                    <a:pt x="2643" y="2391"/>
                    <a:pt x="2658" y="2391"/>
                  </a:cubicBezTo>
                  <a:cubicBezTo>
                    <a:pt x="2666" y="2391"/>
                    <a:pt x="2680" y="2384"/>
                    <a:pt x="2688" y="2391"/>
                  </a:cubicBezTo>
                  <a:cubicBezTo>
                    <a:pt x="2703" y="2399"/>
                    <a:pt x="2673" y="2421"/>
                    <a:pt x="2666" y="2428"/>
                  </a:cubicBezTo>
                  <a:cubicBezTo>
                    <a:pt x="2673" y="2428"/>
                    <a:pt x="2680" y="2428"/>
                    <a:pt x="2688" y="2428"/>
                  </a:cubicBezTo>
                  <a:cubicBezTo>
                    <a:pt x="2717" y="2361"/>
                    <a:pt x="2717" y="2361"/>
                    <a:pt x="2717" y="2361"/>
                  </a:cubicBezTo>
                  <a:cubicBezTo>
                    <a:pt x="2717" y="2317"/>
                    <a:pt x="2717" y="2272"/>
                    <a:pt x="2717" y="2228"/>
                  </a:cubicBezTo>
                  <a:cubicBezTo>
                    <a:pt x="2710" y="2139"/>
                    <a:pt x="2703" y="2050"/>
                    <a:pt x="2703" y="1960"/>
                  </a:cubicBezTo>
                  <a:cubicBezTo>
                    <a:pt x="2703" y="1886"/>
                    <a:pt x="2703" y="1812"/>
                    <a:pt x="2703" y="1730"/>
                  </a:cubicBezTo>
                  <a:cubicBezTo>
                    <a:pt x="2703" y="1693"/>
                    <a:pt x="2703" y="1648"/>
                    <a:pt x="2695" y="1611"/>
                  </a:cubicBezTo>
                  <a:cubicBezTo>
                    <a:pt x="2695" y="1604"/>
                    <a:pt x="2688" y="1604"/>
                    <a:pt x="2688" y="1597"/>
                  </a:cubicBezTo>
                  <a:cubicBezTo>
                    <a:pt x="2688" y="1582"/>
                    <a:pt x="2688" y="1567"/>
                    <a:pt x="2688" y="1559"/>
                  </a:cubicBezTo>
                  <a:cubicBezTo>
                    <a:pt x="2688" y="1545"/>
                    <a:pt x="2680" y="1545"/>
                    <a:pt x="2673" y="1537"/>
                  </a:cubicBezTo>
                  <a:cubicBezTo>
                    <a:pt x="2651" y="1500"/>
                    <a:pt x="2666" y="1426"/>
                    <a:pt x="2673" y="1389"/>
                  </a:cubicBezTo>
                  <a:cubicBezTo>
                    <a:pt x="2680" y="1381"/>
                    <a:pt x="2680" y="1366"/>
                    <a:pt x="2680" y="1359"/>
                  </a:cubicBezTo>
                  <a:cubicBezTo>
                    <a:pt x="2673" y="1359"/>
                    <a:pt x="2666" y="1351"/>
                    <a:pt x="2658" y="1359"/>
                  </a:cubicBezTo>
                  <a:cubicBezTo>
                    <a:pt x="2651" y="1359"/>
                    <a:pt x="2643" y="1359"/>
                    <a:pt x="2643" y="1359"/>
                  </a:cubicBezTo>
                  <a:cubicBezTo>
                    <a:pt x="2636" y="1359"/>
                    <a:pt x="2628" y="1359"/>
                    <a:pt x="2628" y="1359"/>
                  </a:cubicBezTo>
                  <a:lnTo>
                    <a:pt x="2621" y="1344"/>
                  </a:lnTo>
                  <a:cubicBezTo>
                    <a:pt x="2621" y="1337"/>
                    <a:pt x="2614" y="1329"/>
                    <a:pt x="2606" y="1329"/>
                  </a:cubicBezTo>
                  <a:cubicBezTo>
                    <a:pt x="2606" y="1344"/>
                    <a:pt x="2576" y="1344"/>
                    <a:pt x="2576" y="1329"/>
                  </a:cubicBezTo>
                  <a:cubicBezTo>
                    <a:pt x="2562" y="1329"/>
                    <a:pt x="2554" y="1322"/>
                    <a:pt x="2539" y="1314"/>
                  </a:cubicBezTo>
                  <a:cubicBezTo>
                    <a:pt x="2562" y="1285"/>
                    <a:pt x="2502" y="1262"/>
                    <a:pt x="2480" y="1262"/>
                  </a:cubicBezTo>
                  <a:cubicBezTo>
                    <a:pt x="2487" y="1240"/>
                    <a:pt x="2532" y="1248"/>
                    <a:pt x="2532" y="1248"/>
                  </a:cubicBezTo>
                  <a:cubicBezTo>
                    <a:pt x="2539" y="1225"/>
                    <a:pt x="2524" y="1211"/>
                    <a:pt x="2547" y="1203"/>
                  </a:cubicBezTo>
                  <a:cubicBezTo>
                    <a:pt x="2547" y="1196"/>
                    <a:pt x="2547" y="1196"/>
                    <a:pt x="2547" y="1188"/>
                  </a:cubicBezTo>
                  <a:cubicBezTo>
                    <a:pt x="2524" y="1188"/>
                    <a:pt x="2517" y="1173"/>
                    <a:pt x="2524" y="1158"/>
                  </a:cubicBezTo>
                  <a:cubicBezTo>
                    <a:pt x="2539" y="1158"/>
                    <a:pt x="2562" y="1144"/>
                    <a:pt x="2569" y="1158"/>
                  </a:cubicBezTo>
                  <a:cubicBezTo>
                    <a:pt x="2576" y="1166"/>
                    <a:pt x="2569" y="1196"/>
                    <a:pt x="2591" y="1181"/>
                  </a:cubicBezTo>
                  <a:cubicBezTo>
                    <a:pt x="2606" y="1173"/>
                    <a:pt x="2599" y="1144"/>
                    <a:pt x="2614" y="1151"/>
                  </a:cubicBezTo>
                  <a:cubicBezTo>
                    <a:pt x="2636" y="1158"/>
                    <a:pt x="2628" y="1181"/>
                    <a:pt x="2614" y="1188"/>
                  </a:cubicBezTo>
                  <a:cubicBezTo>
                    <a:pt x="2614" y="1188"/>
                    <a:pt x="2621" y="1203"/>
                    <a:pt x="2628" y="1203"/>
                  </a:cubicBezTo>
                  <a:cubicBezTo>
                    <a:pt x="2621" y="1203"/>
                    <a:pt x="2614" y="1211"/>
                    <a:pt x="2614" y="1218"/>
                  </a:cubicBezTo>
                  <a:cubicBezTo>
                    <a:pt x="2621" y="1225"/>
                    <a:pt x="2636" y="1218"/>
                    <a:pt x="2643" y="1218"/>
                  </a:cubicBezTo>
                  <a:cubicBezTo>
                    <a:pt x="2658" y="1211"/>
                    <a:pt x="2680" y="1203"/>
                    <a:pt x="2703" y="1211"/>
                  </a:cubicBezTo>
                  <a:cubicBezTo>
                    <a:pt x="2710" y="1196"/>
                    <a:pt x="2717" y="1173"/>
                    <a:pt x="2725" y="1158"/>
                  </a:cubicBezTo>
                  <a:cubicBezTo>
                    <a:pt x="2732" y="1144"/>
                    <a:pt x="2732" y="1121"/>
                    <a:pt x="2732" y="1106"/>
                  </a:cubicBezTo>
                  <a:cubicBezTo>
                    <a:pt x="2740" y="1099"/>
                    <a:pt x="2747" y="1077"/>
                    <a:pt x="2740" y="1069"/>
                  </a:cubicBezTo>
                  <a:cubicBezTo>
                    <a:pt x="2740" y="1054"/>
                    <a:pt x="2703" y="1077"/>
                    <a:pt x="2703" y="1054"/>
                  </a:cubicBezTo>
                  <a:cubicBezTo>
                    <a:pt x="2703" y="1040"/>
                    <a:pt x="2725" y="1025"/>
                    <a:pt x="2740" y="1025"/>
                  </a:cubicBezTo>
                  <a:cubicBezTo>
                    <a:pt x="2747" y="1032"/>
                    <a:pt x="2762" y="1054"/>
                    <a:pt x="2755" y="1054"/>
                  </a:cubicBezTo>
                  <a:cubicBezTo>
                    <a:pt x="2769" y="1054"/>
                    <a:pt x="2769" y="1047"/>
                    <a:pt x="2777" y="1040"/>
                  </a:cubicBezTo>
                  <a:cubicBezTo>
                    <a:pt x="2777" y="1032"/>
                    <a:pt x="2777" y="1032"/>
                    <a:pt x="2777" y="1025"/>
                  </a:cubicBezTo>
                  <a:cubicBezTo>
                    <a:pt x="2777" y="1017"/>
                    <a:pt x="2784" y="1017"/>
                    <a:pt x="2784" y="1010"/>
                  </a:cubicBezTo>
                  <a:cubicBezTo>
                    <a:pt x="2784" y="995"/>
                    <a:pt x="2784" y="988"/>
                    <a:pt x="2792" y="980"/>
                  </a:cubicBezTo>
                  <a:cubicBezTo>
                    <a:pt x="2799" y="973"/>
                    <a:pt x="2807" y="965"/>
                    <a:pt x="2814" y="958"/>
                  </a:cubicBezTo>
                  <a:cubicBezTo>
                    <a:pt x="2836" y="936"/>
                    <a:pt x="2866" y="921"/>
                    <a:pt x="2888" y="899"/>
                  </a:cubicBezTo>
                  <a:cubicBezTo>
                    <a:pt x="2903" y="884"/>
                    <a:pt x="2903" y="876"/>
                    <a:pt x="2903" y="861"/>
                  </a:cubicBezTo>
                  <a:cubicBezTo>
                    <a:pt x="2911" y="846"/>
                    <a:pt x="2925" y="839"/>
                    <a:pt x="2933" y="832"/>
                  </a:cubicBezTo>
                  <a:cubicBezTo>
                    <a:pt x="2940" y="817"/>
                    <a:pt x="2940" y="802"/>
                    <a:pt x="2940" y="787"/>
                  </a:cubicBezTo>
                  <a:cubicBezTo>
                    <a:pt x="2933" y="772"/>
                    <a:pt x="2925" y="772"/>
                    <a:pt x="2911" y="765"/>
                  </a:cubicBezTo>
                  <a:cubicBezTo>
                    <a:pt x="2903" y="765"/>
                    <a:pt x="2896" y="750"/>
                    <a:pt x="2881" y="750"/>
                  </a:cubicBezTo>
                  <a:cubicBezTo>
                    <a:pt x="2896" y="750"/>
                    <a:pt x="2903" y="750"/>
                    <a:pt x="2911" y="750"/>
                  </a:cubicBezTo>
                  <a:cubicBezTo>
                    <a:pt x="2918" y="757"/>
                    <a:pt x="2925" y="765"/>
                    <a:pt x="2933" y="765"/>
                  </a:cubicBezTo>
                  <a:cubicBezTo>
                    <a:pt x="2970" y="772"/>
                    <a:pt x="3007" y="661"/>
                    <a:pt x="3014" y="631"/>
                  </a:cubicBezTo>
                  <a:cubicBezTo>
                    <a:pt x="3029" y="594"/>
                    <a:pt x="3044" y="579"/>
                    <a:pt x="3044" y="542"/>
                  </a:cubicBezTo>
                  <a:cubicBezTo>
                    <a:pt x="3052" y="512"/>
                    <a:pt x="3044" y="483"/>
                    <a:pt x="3052" y="453"/>
                  </a:cubicBezTo>
                  <a:cubicBezTo>
                    <a:pt x="3052" y="386"/>
                    <a:pt x="3104" y="349"/>
                    <a:pt x="3104" y="290"/>
                  </a:cubicBezTo>
                  <a:cubicBezTo>
                    <a:pt x="3111" y="238"/>
                    <a:pt x="3111" y="186"/>
                    <a:pt x="3096" y="134"/>
                  </a:cubicBezTo>
                  <a:cubicBezTo>
                    <a:pt x="3089" y="104"/>
                    <a:pt x="3066" y="82"/>
                    <a:pt x="3052" y="59"/>
                  </a:cubicBezTo>
                  <a:cubicBezTo>
                    <a:pt x="3007" y="44"/>
                    <a:pt x="2970" y="30"/>
                    <a:pt x="2940" y="22"/>
                  </a:cubicBezTo>
                  <a:cubicBezTo>
                    <a:pt x="2933" y="44"/>
                    <a:pt x="2918" y="59"/>
                    <a:pt x="2896" y="52"/>
                  </a:cubicBezTo>
                  <a:close/>
                  <a:moveTo>
                    <a:pt x="2606" y="1931"/>
                  </a:moveTo>
                  <a:lnTo>
                    <a:pt x="2606" y="1931"/>
                  </a:lnTo>
                  <a:cubicBezTo>
                    <a:pt x="2628" y="1923"/>
                    <a:pt x="2651" y="1923"/>
                    <a:pt x="2666" y="1931"/>
                  </a:cubicBezTo>
                  <a:cubicBezTo>
                    <a:pt x="2673" y="1938"/>
                    <a:pt x="2680" y="1953"/>
                    <a:pt x="2688" y="1968"/>
                  </a:cubicBezTo>
                  <a:cubicBezTo>
                    <a:pt x="2695" y="1990"/>
                    <a:pt x="2695" y="2027"/>
                    <a:pt x="2688" y="2057"/>
                  </a:cubicBezTo>
                  <a:cubicBezTo>
                    <a:pt x="2666" y="2072"/>
                    <a:pt x="2673" y="2064"/>
                    <a:pt x="2651" y="2050"/>
                  </a:cubicBezTo>
                  <a:cubicBezTo>
                    <a:pt x="2643" y="2042"/>
                    <a:pt x="2636" y="2042"/>
                    <a:pt x="2628" y="2035"/>
                  </a:cubicBezTo>
                  <a:cubicBezTo>
                    <a:pt x="2621" y="2027"/>
                    <a:pt x="2628" y="2020"/>
                    <a:pt x="2614" y="2020"/>
                  </a:cubicBezTo>
                  <a:lnTo>
                    <a:pt x="2614" y="2020"/>
                  </a:lnTo>
                  <a:cubicBezTo>
                    <a:pt x="2591" y="2013"/>
                    <a:pt x="2569" y="1983"/>
                    <a:pt x="2569" y="1968"/>
                  </a:cubicBezTo>
                  <a:cubicBezTo>
                    <a:pt x="2599" y="1968"/>
                    <a:pt x="2584" y="1938"/>
                    <a:pt x="2606" y="1931"/>
                  </a:cubicBezTo>
                  <a:close/>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3" name="Freeform 30">
              <a:extLst>
                <a:ext uri="{FF2B5EF4-FFF2-40B4-BE49-F238E27FC236}">
                  <a16:creationId xmlns:a16="http://schemas.microsoft.com/office/drawing/2014/main" id="{20F93A9A-F142-B645-862C-8D8F39C1EF27}"/>
                </a:ext>
              </a:extLst>
            </p:cNvPr>
            <p:cNvSpPr>
              <a:spLocks noChangeArrowheads="1"/>
            </p:cNvSpPr>
            <p:nvPr/>
          </p:nvSpPr>
          <p:spPr bwMode="auto">
            <a:xfrm>
              <a:off x="12493786" y="6792925"/>
              <a:ext cx="1336363" cy="1040184"/>
            </a:xfrm>
            <a:custGeom>
              <a:avLst/>
              <a:gdLst>
                <a:gd name="T0" fmla="*/ 2777 w 3090"/>
                <a:gd name="T1" fmla="*/ 52 h 2406"/>
                <a:gd name="T2" fmla="*/ 2577 w 3090"/>
                <a:gd name="T3" fmla="*/ 216 h 2406"/>
                <a:gd name="T4" fmla="*/ 2465 w 3090"/>
                <a:gd name="T5" fmla="*/ 535 h 2406"/>
                <a:gd name="T6" fmla="*/ 2302 w 3090"/>
                <a:gd name="T7" fmla="*/ 557 h 2406"/>
                <a:gd name="T8" fmla="*/ 2161 w 3090"/>
                <a:gd name="T9" fmla="*/ 609 h 2406"/>
                <a:gd name="T10" fmla="*/ 1998 w 3090"/>
                <a:gd name="T11" fmla="*/ 713 h 2406"/>
                <a:gd name="T12" fmla="*/ 1879 w 3090"/>
                <a:gd name="T13" fmla="*/ 498 h 2406"/>
                <a:gd name="T14" fmla="*/ 1693 w 3090"/>
                <a:gd name="T15" fmla="*/ 431 h 2406"/>
                <a:gd name="T16" fmla="*/ 1574 w 3090"/>
                <a:gd name="T17" fmla="*/ 527 h 2406"/>
                <a:gd name="T18" fmla="*/ 1500 w 3090"/>
                <a:gd name="T19" fmla="*/ 602 h 2406"/>
                <a:gd name="T20" fmla="*/ 1218 w 3090"/>
                <a:gd name="T21" fmla="*/ 713 h 2406"/>
                <a:gd name="T22" fmla="*/ 1025 w 3090"/>
                <a:gd name="T23" fmla="*/ 646 h 2406"/>
                <a:gd name="T24" fmla="*/ 884 w 3090"/>
                <a:gd name="T25" fmla="*/ 795 h 2406"/>
                <a:gd name="T26" fmla="*/ 564 w 3090"/>
                <a:gd name="T27" fmla="*/ 646 h 2406"/>
                <a:gd name="T28" fmla="*/ 126 w 3090"/>
                <a:gd name="T29" fmla="*/ 587 h 2406"/>
                <a:gd name="T30" fmla="*/ 74 w 3090"/>
                <a:gd name="T31" fmla="*/ 661 h 2406"/>
                <a:gd name="T32" fmla="*/ 30 w 3090"/>
                <a:gd name="T33" fmla="*/ 854 h 2406"/>
                <a:gd name="T34" fmla="*/ 267 w 3090"/>
                <a:gd name="T35" fmla="*/ 1099 h 2406"/>
                <a:gd name="T36" fmla="*/ 431 w 3090"/>
                <a:gd name="T37" fmla="*/ 1233 h 2406"/>
                <a:gd name="T38" fmla="*/ 549 w 3090"/>
                <a:gd name="T39" fmla="*/ 1656 h 2406"/>
                <a:gd name="T40" fmla="*/ 572 w 3090"/>
                <a:gd name="T41" fmla="*/ 1885 h 2406"/>
                <a:gd name="T42" fmla="*/ 579 w 3090"/>
                <a:gd name="T43" fmla="*/ 2086 h 2406"/>
                <a:gd name="T44" fmla="*/ 1017 w 3090"/>
                <a:gd name="T45" fmla="*/ 2086 h 2406"/>
                <a:gd name="T46" fmla="*/ 1225 w 3090"/>
                <a:gd name="T47" fmla="*/ 2249 h 2406"/>
                <a:gd name="T48" fmla="*/ 1329 w 3090"/>
                <a:gd name="T49" fmla="*/ 2353 h 2406"/>
                <a:gd name="T50" fmla="*/ 1716 w 3090"/>
                <a:gd name="T51" fmla="*/ 2316 h 2406"/>
                <a:gd name="T52" fmla="*/ 1871 w 3090"/>
                <a:gd name="T53" fmla="*/ 2309 h 2406"/>
                <a:gd name="T54" fmla="*/ 1931 w 3090"/>
                <a:gd name="T55" fmla="*/ 2041 h 2406"/>
                <a:gd name="T56" fmla="*/ 2183 w 3090"/>
                <a:gd name="T57" fmla="*/ 2175 h 2406"/>
                <a:gd name="T58" fmla="*/ 2384 w 3090"/>
                <a:gd name="T59" fmla="*/ 2234 h 2406"/>
                <a:gd name="T60" fmla="*/ 2361 w 3090"/>
                <a:gd name="T61" fmla="*/ 2079 h 2406"/>
                <a:gd name="T62" fmla="*/ 2280 w 3090"/>
                <a:gd name="T63" fmla="*/ 1960 h 2406"/>
                <a:gd name="T64" fmla="*/ 2168 w 3090"/>
                <a:gd name="T65" fmla="*/ 1826 h 2406"/>
                <a:gd name="T66" fmla="*/ 2109 w 3090"/>
                <a:gd name="T67" fmla="*/ 1693 h 2406"/>
                <a:gd name="T68" fmla="*/ 1908 w 3090"/>
                <a:gd name="T69" fmla="*/ 1604 h 2406"/>
                <a:gd name="T70" fmla="*/ 1738 w 3090"/>
                <a:gd name="T71" fmla="*/ 1523 h 2406"/>
                <a:gd name="T72" fmla="*/ 1879 w 3090"/>
                <a:gd name="T73" fmla="*/ 1322 h 2406"/>
                <a:gd name="T74" fmla="*/ 2050 w 3090"/>
                <a:gd name="T75" fmla="*/ 1344 h 2406"/>
                <a:gd name="T76" fmla="*/ 2250 w 3090"/>
                <a:gd name="T77" fmla="*/ 1181 h 2406"/>
                <a:gd name="T78" fmla="*/ 2465 w 3090"/>
                <a:gd name="T79" fmla="*/ 1025 h 2406"/>
                <a:gd name="T80" fmla="*/ 2673 w 3090"/>
                <a:gd name="T81" fmla="*/ 1032 h 2406"/>
                <a:gd name="T82" fmla="*/ 2673 w 3090"/>
                <a:gd name="T83" fmla="*/ 891 h 2406"/>
                <a:gd name="T84" fmla="*/ 2815 w 3090"/>
                <a:gd name="T85" fmla="*/ 899 h 2406"/>
                <a:gd name="T86" fmla="*/ 2948 w 3090"/>
                <a:gd name="T87" fmla="*/ 802 h 2406"/>
                <a:gd name="T88" fmla="*/ 3022 w 3090"/>
                <a:gd name="T89" fmla="*/ 579 h 2406"/>
                <a:gd name="T90" fmla="*/ 3074 w 3090"/>
                <a:gd name="T91" fmla="*/ 409 h 2406"/>
                <a:gd name="T92" fmla="*/ 3045 w 3090"/>
                <a:gd name="T93" fmla="*/ 141 h 2406"/>
                <a:gd name="T94" fmla="*/ 2911 w 3090"/>
                <a:gd name="T95" fmla="*/ 45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90" h="2406">
                  <a:moveTo>
                    <a:pt x="2785" y="8"/>
                  </a:moveTo>
                  <a:lnTo>
                    <a:pt x="2785" y="8"/>
                  </a:lnTo>
                  <a:cubicBezTo>
                    <a:pt x="2777" y="8"/>
                    <a:pt x="2777" y="52"/>
                    <a:pt x="2777" y="52"/>
                  </a:cubicBezTo>
                  <a:cubicBezTo>
                    <a:pt x="2748" y="52"/>
                    <a:pt x="2763" y="82"/>
                    <a:pt x="2755" y="97"/>
                  </a:cubicBezTo>
                  <a:cubicBezTo>
                    <a:pt x="2718" y="97"/>
                    <a:pt x="2681" y="97"/>
                    <a:pt x="2644" y="97"/>
                  </a:cubicBezTo>
                  <a:cubicBezTo>
                    <a:pt x="2629" y="134"/>
                    <a:pt x="2621" y="208"/>
                    <a:pt x="2577" y="216"/>
                  </a:cubicBezTo>
                  <a:cubicBezTo>
                    <a:pt x="2488" y="223"/>
                    <a:pt x="2547" y="312"/>
                    <a:pt x="2525" y="364"/>
                  </a:cubicBezTo>
                  <a:cubicBezTo>
                    <a:pt x="2518" y="394"/>
                    <a:pt x="2480" y="386"/>
                    <a:pt x="2480" y="423"/>
                  </a:cubicBezTo>
                  <a:cubicBezTo>
                    <a:pt x="2480" y="453"/>
                    <a:pt x="2480" y="505"/>
                    <a:pt x="2465" y="535"/>
                  </a:cubicBezTo>
                  <a:cubicBezTo>
                    <a:pt x="2458" y="550"/>
                    <a:pt x="2428" y="535"/>
                    <a:pt x="2413" y="542"/>
                  </a:cubicBezTo>
                  <a:cubicBezTo>
                    <a:pt x="2384" y="557"/>
                    <a:pt x="2406" y="579"/>
                    <a:pt x="2399" y="602"/>
                  </a:cubicBezTo>
                  <a:cubicBezTo>
                    <a:pt x="2354" y="624"/>
                    <a:pt x="2339" y="557"/>
                    <a:pt x="2302" y="557"/>
                  </a:cubicBezTo>
                  <a:cubicBezTo>
                    <a:pt x="2302" y="594"/>
                    <a:pt x="2250" y="624"/>
                    <a:pt x="2220" y="617"/>
                  </a:cubicBezTo>
                  <a:cubicBezTo>
                    <a:pt x="2220" y="594"/>
                    <a:pt x="2206" y="550"/>
                    <a:pt x="2176" y="572"/>
                  </a:cubicBezTo>
                  <a:cubicBezTo>
                    <a:pt x="2161" y="579"/>
                    <a:pt x="2168" y="594"/>
                    <a:pt x="2161" y="609"/>
                  </a:cubicBezTo>
                  <a:cubicBezTo>
                    <a:pt x="2146" y="617"/>
                    <a:pt x="2131" y="617"/>
                    <a:pt x="2124" y="631"/>
                  </a:cubicBezTo>
                  <a:cubicBezTo>
                    <a:pt x="2109" y="668"/>
                    <a:pt x="2124" y="750"/>
                    <a:pt x="2057" y="736"/>
                  </a:cubicBezTo>
                  <a:cubicBezTo>
                    <a:pt x="2057" y="698"/>
                    <a:pt x="2013" y="728"/>
                    <a:pt x="1998" y="713"/>
                  </a:cubicBezTo>
                  <a:cubicBezTo>
                    <a:pt x="1983" y="691"/>
                    <a:pt x="1998" y="654"/>
                    <a:pt x="1990" y="631"/>
                  </a:cubicBezTo>
                  <a:cubicBezTo>
                    <a:pt x="1990" y="550"/>
                    <a:pt x="1938" y="617"/>
                    <a:pt x="1886" y="602"/>
                  </a:cubicBezTo>
                  <a:cubicBezTo>
                    <a:pt x="1886" y="572"/>
                    <a:pt x="1908" y="527"/>
                    <a:pt x="1879" y="498"/>
                  </a:cubicBezTo>
                  <a:cubicBezTo>
                    <a:pt x="1864" y="483"/>
                    <a:pt x="1842" y="476"/>
                    <a:pt x="1834" y="453"/>
                  </a:cubicBezTo>
                  <a:cubicBezTo>
                    <a:pt x="1834" y="446"/>
                    <a:pt x="1834" y="446"/>
                    <a:pt x="1827" y="438"/>
                  </a:cubicBezTo>
                  <a:cubicBezTo>
                    <a:pt x="1797" y="446"/>
                    <a:pt x="1693" y="490"/>
                    <a:pt x="1693" y="431"/>
                  </a:cubicBezTo>
                  <a:cubicBezTo>
                    <a:pt x="1671" y="423"/>
                    <a:pt x="1634" y="416"/>
                    <a:pt x="1619" y="423"/>
                  </a:cubicBezTo>
                  <a:cubicBezTo>
                    <a:pt x="1589" y="438"/>
                    <a:pt x="1611" y="468"/>
                    <a:pt x="1604" y="490"/>
                  </a:cubicBezTo>
                  <a:cubicBezTo>
                    <a:pt x="1597" y="505"/>
                    <a:pt x="1574" y="505"/>
                    <a:pt x="1574" y="527"/>
                  </a:cubicBezTo>
                  <a:cubicBezTo>
                    <a:pt x="1574" y="542"/>
                    <a:pt x="1574" y="550"/>
                    <a:pt x="1567" y="557"/>
                  </a:cubicBezTo>
                  <a:cubicBezTo>
                    <a:pt x="1567" y="579"/>
                    <a:pt x="1552" y="579"/>
                    <a:pt x="1537" y="587"/>
                  </a:cubicBezTo>
                  <a:cubicBezTo>
                    <a:pt x="1515" y="587"/>
                    <a:pt x="1508" y="587"/>
                    <a:pt x="1500" y="602"/>
                  </a:cubicBezTo>
                  <a:cubicBezTo>
                    <a:pt x="1500" y="617"/>
                    <a:pt x="1493" y="639"/>
                    <a:pt x="1478" y="646"/>
                  </a:cubicBezTo>
                  <a:cubicBezTo>
                    <a:pt x="1418" y="654"/>
                    <a:pt x="1366" y="639"/>
                    <a:pt x="1314" y="668"/>
                  </a:cubicBezTo>
                  <a:cubicBezTo>
                    <a:pt x="1314" y="721"/>
                    <a:pt x="1248" y="706"/>
                    <a:pt x="1218" y="713"/>
                  </a:cubicBezTo>
                  <a:cubicBezTo>
                    <a:pt x="1196" y="721"/>
                    <a:pt x="1196" y="750"/>
                    <a:pt x="1173" y="758"/>
                  </a:cubicBezTo>
                  <a:cubicBezTo>
                    <a:pt x="1159" y="758"/>
                    <a:pt x="1136" y="750"/>
                    <a:pt x="1121" y="743"/>
                  </a:cubicBezTo>
                  <a:cubicBezTo>
                    <a:pt x="1077" y="721"/>
                    <a:pt x="1077" y="639"/>
                    <a:pt x="1025" y="646"/>
                  </a:cubicBezTo>
                  <a:cubicBezTo>
                    <a:pt x="980" y="654"/>
                    <a:pt x="988" y="683"/>
                    <a:pt x="973" y="706"/>
                  </a:cubicBezTo>
                  <a:cubicBezTo>
                    <a:pt x="958" y="736"/>
                    <a:pt x="921" y="728"/>
                    <a:pt x="891" y="728"/>
                  </a:cubicBezTo>
                  <a:cubicBezTo>
                    <a:pt x="891" y="750"/>
                    <a:pt x="891" y="773"/>
                    <a:pt x="884" y="795"/>
                  </a:cubicBezTo>
                  <a:cubicBezTo>
                    <a:pt x="832" y="795"/>
                    <a:pt x="735" y="787"/>
                    <a:pt x="728" y="721"/>
                  </a:cubicBezTo>
                  <a:cubicBezTo>
                    <a:pt x="728" y="683"/>
                    <a:pt x="735" y="609"/>
                    <a:pt x="676" y="624"/>
                  </a:cubicBezTo>
                  <a:cubicBezTo>
                    <a:pt x="646" y="631"/>
                    <a:pt x="587" y="691"/>
                    <a:pt x="564" y="646"/>
                  </a:cubicBezTo>
                  <a:cubicBezTo>
                    <a:pt x="542" y="602"/>
                    <a:pt x="527" y="557"/>
                    <a:pt x="475" y="565"/>
                  </a:cubicBezTo>
                  <a:cubicBezTo>
                    <a:pt x="468" y="639"/>
                    <a:pt x="423" y="624"/>
                    <a:pt x="356" y="624"/>
                  </a:cubicBezTo>
                  <a:cubicBezTo>
                    <a:pt x="290" y="617"/>
                    <a:pt x="186" y="631"/>
                    <a:pt x="126" y="587"/>
                  </a:cubicBezTo>
                  <a:cubicBezTo>
                    <a:pt x="111" y="587"/>
                    <a:pt x="89" y="579"/>
                    <a:pt x="59" y="572"/>
                  </a:cubicBezTo>
                  <a:cubicBezTo>
                    <a:pt x="59" y="587"/>
                    <a:pt x="59" y="602"/>
                    <a:pt x="59" y="617"/>
                  </a:cubicBezTo>
                  <a:cubicBezTo>
                    <a:pt x="67" y="631"/>
                    <a:pt x="89" y="639"/>
                    <a:pt x="74" y="661"/>
                  </a:cubicBezTo>
                  <a:cubicBezTo>
                    <a:pt x="52" y="691"/>
                    <a:pt x="37" y="713"/>
                    <a:pt x="59" y="743"/>
                  </a:cubicBezTo>
                  <a:cubicBezTo>
                    <a:pt x="82" y="780"/>
                    <a:pt x="44" y="780"/>
                    <a:pt x="22" y="802"/>
                  </a:cubicBezTo>
                  <a:cubicBezTo>
                    <a:pt x="0" y="825"/>
                    <a:pt x="15" y="839"/>
                    <a:pt x="30" y="854"/>
                  </a:cubicBezTo>
                  <a:cubicBezTo>
                    <a:pt x="82" y="854"/>
                    <a:pt x="134" y="869"/>
                    <a:pt x="134" y="914"/>
                  </a:cubicBezTo>
                  <a:cubicBezTo>
                    <a:pt x="141" y="988"/>
                    <a:pt x="163" y="1003"/>
                    <a:pt x="215" y="1040"/>
                  </a:cubicBezTo>
                  <a:cubicBezTo>
                    <a:pt x="245" y="1055"/>
                    <a:pt x="260" y="1070"/>
                    <a:pt x="267" y="1099"/>
                  </a:cubicBezTo>
                  <a:cubicBezTo>
                    <a:pt x="275" y="1129"/>
                    <a:pt x="282" y="1166"/>
                    <a:pt x="319" y="1159"/>
                  </a:cubicBezTo>
                  <a:cubicBezTo>
                    <a:pt x="319" y="1181"/>
                    <a:pt x="319" y="1218"/>
                    <a:pt x="342" y="1225"/>
                  </a:cubicBezTo>
                  <a:cubicBezTo>
                    <a:pt x="371" y="1240"/>
                    <a:pt x="416" y="1218"/>
                    <a:pt x="431" y="1233"/>
                  </a:cubicBezTo>
                  <a:cubicBezTo>
                    <a:pt x="498" y="1285"/>
                    <a:pt x="431" y="1389"/>
                    <a:pt x="446" y="1463"/>
                  </a:cubicBezTo>
                  <a:cubicBezTo>
                    <a:pt x="498" y="1448"/>
                    <a:pt x="483" y="1560"/>
                    <a:pt x="490" y="1597"/>
                  </a:cubicBezTo>
                  <a:cubicBezTo>
                    <a:pt x="520" y="1597"/>
                    <a:pt x="535" y="1634"/>
                    <a:pt x="549" y="1656"/>
                  </a:cubicBezTo>
                  <a:cubicBezTo>
                    <a:pt x="579" y="1708"/>
                    <a:pt x="631" y="1693"/>
                    <a:pt x="676" y="1693"/>
                  </a:cubicBezTo>
                  <a:cubicBezTo>
                    <a:pt x="668" y="1738"/>
                    <a:pt x="654" y="1775"/>
                    <a:pt x="654" y="1812"/>
                  </a:cubicBezTo>
                  <a:cubicBezTo>
                    <a:pt x="654" y="1863"/>
                    <a:pt x="594" y="1856"/>
                    <a:pt x="572" y="1885"/>
                  </a:cubicBezTo>
                  <a:cubicBezTo>
                    <a:pt x="535" y="1915"/>
                    <a:pt x="512" y="1952"/>
                    <a:pt x="498" y="1997"/>
                  </a:cubicBezTo>
                  <a:cubicBezTo>
                    <a:pt x="512" y="1997"/>
                    <a:pt x="527" y="1997"/>
                    <a:pt x="535" y="2012"/>
                  </a:cubicBezTo>
                  <a:cubicBezTo>
                    <a:pt x="557" y="2027"/>
                    <a:pt x="557" y="2064"/>
                    <a:pt x="579" y="2086"/>
                  </a:cubicBezTo>
                  <a:cubicBezTo>
                    <a:pt x="616" y="2130"/>
                    <a:pt x="735" y="2145"/>
                    <a:pt x="795" y="2116"/>
                  </a:cubicBezTo>
                  <a:cubicBezTo>
                    <a:pt x="817" y="2101"/>
                    <a:pt x="839" y="2086"/>
                    <a:pt x="869" y="2079"/>
                  </a:cubicBezTo>
                  <a:cubicBezTo>
                    <a:pt x="921" y="2071"/>
                    <a:pt x="965" y="2093"/>
                    <a:pt x="1017" y="2086"/>
                  </a:cubicBezTo>
                  <a:cubicBezTo>
                    <a:pt x="1054" y="2079"/>
                    <a:pt x="1092" y="2071"/>
                    <a:pt x="1129" y="2056"/>
                  </a:cubicBezTo>
                  <a:cubicBezTo>
                    <a:pt x="1159" y="2041"/>
                    <a:pt x="1188" y="2012"/>
                    <a:pt x="1225" y="2019"/>
                  </a:cubicBezTo>
                  <a:cubicBezTo>
                    <a:pt x="1233" y="2093"/>
                    <a:pt x="1233" y="2175"/>
                    <a:pt x="1225" y="2249"/>
                  </a:cubicBezTo>
                  <a:cubicBezTo>
                    <a:pt x="1218" y="2249"/>
                    <a:pt x="1218" y="2249"/>
                    <a:pt x="1211" y="2257"/>
                  </a:cubicBezTo>
                  <a:cubicBezTo>
                    <a:pt x="1211" y="2286"/>
                    <a:pt x="1173" y="2286"/>
                    <a:pt x="1166" y="2309"/>
                  </a:cubicBezTo>
                  <a:cubicBezTo>
                    <a:pt x="1218" y="2316"/>
                    <a:pt x="1270" y="2361"/>
                    <a:pt x="1329" y="2353"/>
                  </a:cubicBezTo>
                  <a:cubicBezTo>
                    <a:pt x="1374" y="2346"/>
                    <a:pt x="1389" y="2294"/>
                    <a:pt x="1426" y="2279"/>
                  </a:cubicBezTo>
                  <a:cubicBezTo>
                    <a:pt x="1470" y="2257"/>
                    <a:pt x="1530" y="2279"/>
                    <a:pt x="1574" y="2294"/>
                  </a:cubicBezTo>
                  <a:cubicBezTo>
                    <a:pt x="1619" y="2316"/>
                    <a:pt x="1671" y="2361"/>
                    <a:pt x="1716" y="2316"/>
                  </a:cubicBezTo>
                  <a:cubicBezTo>
                    <a:pt x="1760" y="2331"/>
                    <a:pt x="1738" y="2361"/>
                    <a:pt x="1716" y="2383"/>
                  </a:cubicBezTo>
                  <a:cubicBezTo>
                    <a:pt x="1745" y="2390"/>
                    <a:pt x="1767" y="2405"/>
                    <a:pt x="1805" y="2398"/>
                  </a:cubicBezTo>
                  <a:cubicBezTo>
                    <a:pt x="1827" y="2368"/>
                    <a:pt x="1805" y="2301"/>
                    <a:pt x="1871" y="2309"/>
                  </a:cubicBezTo>
                  <a:cubicBezTo>
                    <a:pt x="1879" y="2264"/>
                    <a:pt x="1842" y="2234"/>
                    <a:pt x="1849" y="2197"/>
                  </a:cubicBezTo>
                  <a:cubicBezTo>
                    <a:pt x="1916" y="2175"/>
                    <a:pt x="1834" y="2049"/>
                    <a:pt x="1819" y="2019"/>
                  </a:cubicBezTo>
                  <a:cubicBezTo>
                    <a:pt x="1856" y="2012"/>
                    <a:pt x="1938" y="1982"/>
                    <a:pt x="1931" y="2041"/>
                  </a:cubicBezTo>
                  <a:cubicBezTo>
                    <a:pt x="1983" y="2049"/>
                    <a:pt x="2050" y="2027"/>
                    <a:pt x="2087" y="2071"/>
                  </a:cubicBezTo>
                  <a:cubicBezTo>
                    <a:pt x="2109" y="2093"/>
                    <a:pt x="2161" y="2153"/>
                    <a:pt x="2153" y="2182"/>
                  </a:cubicBezTo>
                  <a:cubicBezTo>
                    <a:pt x="2161" y="2182"/>
                    <a:pt x="2176" y="2182"/>
                    <a:pt x="2183" y="2175"/>
                  </a:cubicBezTo>
                  <a:cubicBezTo>
                    <a:pt x="2206" y="2086"/>
                    <a:pt x="2339" y="2168"/>
                    <a:pt x="2324" y="2242"/>
                  </a:cubicBezTo>
                  <a:cubicBezTo>
                    <a:pt x="2339" y="2242"/>
                    <a:pt x="2347" y="2242"/>
                    <a:pt x="2354" y="2242"/>
                  </a:cubicBezTo>
                  <a:cubicBezTo>
                    <a:pt x="2361" y="2242"/>
                    <a:pt x="2369" y="2234"/>
                    <a:pt x="2384" y="2234"/>
                  </a:cubicBezTo>
                  <a:cubicBezTo>
                    <a:pt x="2421" y="2227"/>
                    <a:pt x="2436" y="2197"/>
                    <a:pt x="2465" y="2190"/>
                  </a:cubicBezTo>
                  <a:cubicBezTo>
                    <a:pt x="2436" y="2160"/>
                    <a:pt x="2428" y="2182"/>
                    <a:pt x="2421" y="2138"/>
                  </a:cubicBezTo>
                  <a:cubicBezTo>
                    <a:pt x="2421" y="2101"/>
                    <a:pt x="2391" y="2101"/>
                    <a:pt x="2361" y="2079"/>
                  </a:cubicBezTo>
                  <a:cubicBezTo>
                    <a:pt x="2376" y="2056"/>
                    <a:pt x="2406" y="2064"/>
                    <a:pt x="2391" y="2027"/>
                  </a:cubicBezTo>
                  <a:cubicBezTo>
                    <a:pt x="2376" y="2004"/>
                    <a:pt x="2324" y="1989"/>
                    <a:pt x="2332" y="1960"/>
                  </a:cubicBezTo>
                  <a:cubicBezTo>
                    <a:pt x="2317" y="1952"/>
                    <a:pt x="2302" y="1960"/>
                    <a:pt x="2280" y="1960"/>
                  </a:cubicBezTo>
                  <a:cubicBezTo>
                    <a:pt x="2287" y="1945"/>
                    <a:pt x="2287" y="1930"/>
                    <a:pt x="2287" y="1915"/>
                  </a:cubicBezTo>
                  <a:cubicBezTo>
                    <a:pt x="2258" y="1908"/>
                    <a:pt x="2228" y="1893"/>
                    <a:pt x="2213" y="1871"/>
                  </a:cubicBezTo>
                  <a:cubicBezTo>
                    <a:pt x="2198" y="1863"/>
                    <a:pt x="2176" y="1841"/>
                    <a:pt x="2168" y="1826"/>
                  </a:cubicBezTo>
                  <a:cubicBezTo>
                    <a:pt x="2131" y="1775"/>
                    <a:pt x="2176" y="1730"/>
                    <a:pt x="2220" y="1715"/>
                  </a:cubicBezTo>
                  <a:cubicBezTo>
                    <a:pt x="2228" y="1678"/>
                    <a:pt x="2139" y="1686"/>
                    <a:pt x="2116" y="1686"/>
                  </a:cubicBezTo>
                  <a:cubicBezTo>
                    <a:pt x="2116" y="1686"/>
                    <a:pt x="2116" y="1693"/>
                    <a:pt x="2109" y="1693"/>
                  </a:cubicBezTo>
                  <a:cubicBezTo>
                    <a:pt x="2094" y="1701"/>
                    <a:pt x="2087" y="1686"/>
                    <a:pt x="2094" y="1671"/>
                  </a:cubicBezTo>
                  <a:cubicBezTo>
                    <a:pt x="2050" y="1671"/>
                    <a:pt x="2013" y="1693"/>
                    <a:pt x="1983" y="1649"/>
                  </a:cubicBezTo>
                  <a:cubicBezTo>
                    <a:pt x="1968" y="1619"/>
                    <a:pt x="1953" y="1597"/>
                    <a:pt x="1908" y="1604"/>
                  </a:cubicBezTo>
                  <a:cubicBezTo>
                    <a:pt x="1894" y="1560"/>
                    <a:pt x="1864" y="1560"/>
                    <a:pt x="1819" y="1560"/>
                  </a:cubicBezTo>
                  <a:cubicBezTo>
                    <a:pt x="1797" y="1560"/>
                    <a:pt x="1790" y="1552"/>
                    <a:pt x="1790" y="1537"/>
                  </a:cubicBezTo>
                  <a:cubicBezTo>
                    <a:pt x="1790" y="1515"/>
                    <a:pt x="1753" y="1523"/>
                    <a:pt x="1738" y="1523"/>
                  </a:cubicBezTo>
                  <a:cubicBezTo>
                    <a:pt x="1738" y="1500"/>
                    <a:pt x="1745" y="1456"/>
                    <a:pt x="1760" y="1441"/>
                  </a:cubicBezTo>
                  <a:cubicBezTo>
                    <a:pt x="1805" y="1441"/>
                    <a:pt x="1797" y="1344"/>
                    <a:pt x="1767" y="1322"/>
                  </a:cubicBezTo>
                  <a:cubicBezTo>
                    <a:pt x="1805" y="1322"/>
                    <a:pt x="1842" y="1322"/>
                    <a:pt x="1879" y="1322"/>
                  </a:cubicBezTo>
                  <a:cubicBezTo>
                    <a:pt x="1886" y="1300"/>
                    <a:pt x="1864" y="1285"/>
                    <a:pt x="1871" y="1263"/>
                  </a:cubicBezTo>
                  <a:cubicBezTo>
                    <a:pt x="1901" y="1255"/>
                    <a:pt x="1931" y="1255"/>
                    <a:pt x="1961" y="1263"/>
                  </a:cubicBezTo>
                  <a:cubicBezTo>
                    <a:pt x="1961" y="1322"/>
                    <a:pt x="1983" y="1344"/>
                    <a:pt x="2050" y="1344"/>
                  </a:cubicBezTo>
                  <a:cubicBezTo>
                    <a:pt x="2072" y="1344"/>
                    <a:pt x="2087" y="1344"/>
                    <a:pt x="2094" y="1315"/>
                  </a:cubicBezTo>
                  <a:cubicBezTo>
                    <a:pt x="2102" y="1278"/>
                    <a:pt x="2116" y="1270"/>
                    <a:pt x="2146" y="1248"/>
                  </a:cubicBezTo>
                  <a:cubicBezTo>
                    <a:pt x="2183" y="1225"/>
                    <a:pt x="2213" y="1196"/>
                    <a:pt x="2250" y="1181"/>
                  </a:cubicBezTo>
                  <a:cubicBezTo>
                    <a:pt x="2280" y="1166"/>
                    <a:pt x="2317" y="1166"/>
                    <a:pt x="2354" y="1159"/>
                  </a:cubicBezTo>
                  <a:cubicBezTo>
                    <a:pt x="2399" y="1151"/>
                    <a:pt x="2376" y="1025"/>
                    <a:pt x="2443" y="1084"/>
                  </a:cubicBezTo>
                  <a:cubicBezTo>
                    <a:pt x="2443" y="1062"/>
                    <a:pt x="2436" y="1025"/>
                    <a:pt x="2465" y="1025"/>
                  </a:cubicBezTo>
                  <a:cubicBezTo>
                    <a:pt x="2518" y="1032"/>
                    <a:pt x="2562" y="1070"/>
                    <a:pt x="2621" y="1070"/>
                  </a:cubicBezTo>
                  <a:cubicBezTo>
                    <a:pt x="2621" y="1047"/>
                    <a:pt x="2621" y="1025"/>
                    <a:pt x="2599" y="1018"/>
                  </a:cubicBezTo>
                  <a:cubicBezTo>
                    <a:pt x="2629" y="1018"/>
                    <a:pt x="2651" y="1032"/>
                    <a:pt x="2673" y="1032"/>
                  </a:cubicBezTo>
                  <a:cubicBezTo>
                    <a:pt x="2673" y="1018"/>
                    <a:pt x="2681" y="1003"/>
                    <a:pt x="2681" y="988"/>
                  </a:cubicBezTo>
                  <a:cubicBezTo>
                    <a:pt x="2688" y="973"/>
                    <a:pt x="2696" y="973"/>
                    <a:pt x="2696" y="951"/>
                  </a:cubicBezTo>
                  <a:cubicBezTo>
                    <a:pt x="2696" y="936"/>
                    <a:pt x="2651" y="891"/>
                    <a:pt x="2673" y="891"/>
                  </a:cubicBezTo>
                  <a:cubicBezTo>
                    <a:pt x="2696" y="884"/>
                    <a:pt x="2733" y="891"/>
                    <a:pt x="2748" y="899"/>
                  </a:cubicBezTo>
                  <a:cubicBezTo>
                    <a:pt x="2777" y="914"/>
                    <a:pt x="2770" y="943"/>
                    <a:pt x="2815" y="943"/>
                  </a:cubicBezTo>
                  <a:cubicBezTo>
                    <a:pt x="2815" y="928"/>
                    <a:pt x="2815" y="914"/>
                    <a:pt x="2815" y="899"/>
                  </a:cubicBezTo>
                  <a:cubicBezTo>
                    <a:pt x="2822" y="899"/>
                    <a:pt x="2822" y="899"/>
                    <a:pt x="2822" y="899"/>
                  </a:cubicBezTo>
                  <a:cubicBezTo>
                    <a:pt x="2829" y="862"/>
                    <a:pt x="2822" y="802"/>
                    <a:pt x="2881" y="839"/>
                  </a:cubicBezTo>
                  <a:cubicBezTo>
                    <a:pt x="2874" y="802"/>
                    <a:pt x="2918" y="802"/>
                    <a:pt x="2948" y="802"/>
                  </a:cubicBezTo>
                  <a:cubicBezTo>
                    <a:pt x="2941" y="787"/>
                    <a:pt x="2933" y="773"/>
                    <a:pt x="2911" y="773"/>
                  </a:cubicBezTo>
                  <a:cubicBezTo>
                    <a:pt x="2911" y="750"/>
                    <a:pt x="2963" y="728"/>
                    <a:pt x="2970" y="706"/>
                  </a:cubicBezTo>
                  <a:cubicBezTo>
                    <a:pt x="3008" y="661"/>
                    <a:pt x="3022" y="639"/>
                    <a:pt x="3022" y="579"/>
                  </a:cubicBezTo>
                  <a:cubicBezTo>
                    <a:pt x="2955" y="565"/>
                    <a:pt x="3015" y="527"/>
                    <a:pt x="3000" y="505"/>
                  </a:cubicBezTo>
                  <a:cubicBezTo>
                    <a:pt x="3022" y="498"/>
                    <a:pt x="3052" y="505"/>
                    <a:pt x="3074" y="505"/>
                  </a:cubicBezTo>
                  <a:cubicBezTo>
                    <a:pt x="3074" y="476"/>
                    <a:pt x="3089" y="438"/>
                    <a:pt x="3074" y="409"/>
                  </a:cubicBezTo>
                  <a:cubicBezTo>
                    <a:pt x="3060" y="386"/>
                    <a:pt x="3015" y="386"/>
                    <a:pt x="3030" y="349"/>
                  </a:cubicBezTo>
                  <a:cubicBezTo>
                    <a:pt x="3037" y="349"/>
                    <a:pt x="3045" y="342"/>
                    <a:pt x="3052" y="334"/>
                  </a:cubicBezTo>
                  <a:cubicBezTo>
                    <a:pt x="3060" y="275"/>
                    <a:pt x="3082" y="201"/>
                    <a:pt x="3045" y="141"/>
                  </a:cubicBezTo>
                  <a:cubicBezTo>
                    <a:pt x="3030" y="126"/>
                    <a:pt x="2985" y="97"/>
                    <a:pt x="2985" y="74"/>
                  </a:cubicBezTo>
                  <a:cubicBezTo>
                    <a:pt x="2985" y="74"/>
                    <a:pt x="2985" y="74"/>
                    <a:pt x="2985" y="67"/>
                  </a:cubicBezTo>
                  <a:cubicBezTo>
                    <a:pt x="2955" y="60"/>
                    <a:pt x="2918" y="52"/>
                    <a:pt x="2911" y="45"/>
                  </a:cubicBezTo>
                  <a:cubicBezTo>
                    <a:pt x="2874" y="15"/>
                    <a:pt x="2829" y="0"/>
                    <a:pt x="2785" y="8"/>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4" name="Freeform 31">
              <a:extLst>
                <a:ext uri="{FF2B5EF4-FFF2-40B4-BE49-F238E27FC236}">
                  <a16:creationId xmlns:a16="http://schemas.microsoft.com/office/drawing/2014/main" id="{F62A7ECE-1F67-144F-83C4-653DFBD05805}"/>
                </a:ext>
              </a:extLst>
            </p:cNvPr>
            <p:cNvSpPr>
              <a:spLocks noChangeArrowheads="1"/>
            </p:cNvSpPr>
            <p:nvPr/>
          </p:nvSpPr>
          <p:spPr bwMode="auto">
            <a:xfrm>
              <a:off x="13014226" y="8608482"/>
              <a:ext cx="9531" cy="7621"/>
            </a:xfrm>
            <a:custGeom>
              <a:avLst/>
              <a:gdLst>
                <a:gd name="T0" fmla="*/ 22 w 23"/>
                <a:gd name="T1" fmla="*/ 0 h 16"/>
                <a:gd name="T2" fmla="*/ 22 w 23"/>
                <a:gd name="T3" fmla="*/ 0 h 16"/>
                <a:gd name="T4" fmla="*/ 0 w 23"/>
                <a:gd name="T5" fmla="*/ 15 h 16"/>
                <a:gd name="T6" fmla="*/ 22 w 23"/>
                <a:gd name="T7" fmla="*/ 0 h 16"/>
              </a:gdLst>
              <a:ahLst/>
              <a:cxnLst>
                <a:cxn ang="0">
                  <a:pos x="T0" y="T1"/>
                </a:cxn>
                <a:cxn ang="0">
                  <a:pos x="T2" y="T3"/>
                </a:cxn>
                <a:cxn ang="0">
                  <a:pos x="T4" y="T5"/>
                </a:cxn>
                <a:cxn ang="0">
                  <a:pos x="T6" y="T7"/>
                </a:cxn>
              </a:cxnLst>
              <a:rect l="0" t="0" r="r" b="b"/>
              <a:pathLst>
                <a:path w="23" h="16">
                  <a:moveTo>
                    <a:pt x="22" y="0"/>
                  </a:moveTo>
                  <a:lnTo>
                    <a:pt x="22" y="0"/>
                  </a:lnTo>
                  <a:cubicBezTo>
                    <a:pt x="15" y="8"/>
                    <a:pt x="8" y="8"/>
                    <a:pt x="0" y="15"/>
                  </a:cubicBezTo>
                  <a:cubicBezTo>
                    <a:pt x="8" y="15"/>
                    <a:pt x="22" y="8"/>
                    <a:pt x="22" y="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5" name="Freeform 32">
              <a:extLst>
                <a:ext uri="{FF2B5EF4-FFF2-40B4-BE49-F238E27FC236}">
                  <a16:creationId xmlns:a16="http://schemas.microsoft.com/office/drawing/2014/main" id="{898BD6A5-2B6D-2343-A7F0-6F773D62C78C}"/>
                </a:ext>
              </a:extLst>
            </p:cNvPr>
            <p:cNvSpPr>
              <a:spLocks noChangeArrowheads="1"/>
            </p:cNvSpPr>
            <p:nvPr/>
          </p:nvSpPr>
          <p:spPr bwMode="auto">
            <a:xfrm>
              <a:off x="10680835" y="5602238"/>
              <a:ext cx="116287" cy="129546"/>
            </a:xfrm>
            <a:custGeom>
              <a:avLst/>
              <a:gdLst>
                <a:gd name="T0" fmla="*/ 149 w 269"/>
                <a:gd name="T1" fmla="*/ 8 h 298"/>
                <a:gd name="T2" fmla="*/ 149 w 269"/>
                <a:gd name="T3" fmla="*/ 8 h 298"/>
                <a:gd name="T4" fmla="*/ 112 w 269"/>
                <a:gd name="T5" fmla="*/ 8 h 298"/>
                <a:gd name="T6" fmla="*/ 97 w 269"/>
                <a:gd name="T7" fmla="*/ 30 h 298"/>
                <a:gd name="T8" fmla="*/ 75 w 269"/>
                <a:gd name="T9" fmla="*/ 23 h 298"/>
                <a:gd name="T10" fmla="*/ 52 w 269"/>
                <a:gd name="T11" fmla="*/ 45 h 298"/>
                <a:gd name="T12" fmla="*/ 60 w 269"/>
                <a:gd name="T13" fmla="*/ 82 h 298"/>
                <a:gd name="T14" fmla="*/ 60 w 269"/>
                <a:gd name="T15" fmla="*/ 104 h 298"/>
                <a:gd name="T16" fmla="*/ 60 w 269"/>
                <a:gd name="T17" fmla="*/ 112 h 298"/>
                <a:gd name="T18" fmla="*/ 60 w 269"/>
                <a:gd name="T19" fmla="*/ 126 h 298"/>
                <a:gd name="T20" fmla="*/ 45 w 269"/>
                <a:gd name="T21" fmla="*/ 134 h 298"/>
                <a:gd name="T22" fmla="*/ 37 w 269"/>
                <a:gd name="T23" fmla="*/ 149 h 298"/>
                <a:gd name="T24" fmla="*/ 22 w 269"/>
                <a:gd name="T25" fmla="*/ 149 h 298"/>
                <a:gd name="T26" fmla="*/ 15 w 269"/>
                <a:gd name="T27" fmla="*/ 171 h 298"/>
                <a:gd name="T28" fmla="*/ 0 w 269"/>
                <a:gd name="T29" fmla="*/ 186 h 298"/>
                <a:gd name="T30" fmla="*/ 8 w 269"/>
                <a:gd name="T31" fmla="*/ 201 h 298"/>
                <a:gd name="T32" fmla="*/ 22 w 269"/>
                <a:gd name="T33" fmla="*/ 215 h 298"/>
                <a:gd name="T34" fmla="*/ 22 w 269"/>
                <a:gd name="T35" fmla="*/ 223 h 298"/>
                <a:gd name="T36" fmla="*/ 45 w 269"/>
                <a:gd name="T37" fmla="*/ 223 h 298"/>
                <a:gd name="T38" fmla="*/ 67 w 269"/>
                <a:gd name="T39" fmla="*/ 215 h 298"/>
                <a:gd name="T40" fmla="*/ 82 w 269"/>
                <a:gd name="T41" fmla="*/ 215 h 298"/>
                <a:gd name="T42" fmla="*/ 90 w 269"/>
                <a:gd name="T43" fmla="*/ 215 h 298"/>
                <a:gd name="T44" fmla="*/ 97 w 269"/>
                <a:gd name="T45" fmla="*/ 208 h 298"/>
                <a:gd name="T46" fmla="*/ 112 w 269"/>
                <a:gd name="T47" fmla="*/ 223 h 298"/>
                <a:gd name="T48" fmla="*/ 127 w 269"/>
                <a:gd name="T49" fmla="*/ 223 h 298"/>
                <a:gd name="T50" fmla="*/ 127 w 269"/>
                <a:gd name="T51" fmla="*/ 230 h 298"/>
                <a:gd name="T52" fmla="*/ 141 w 269"/>
                <a:gd name="T53" fmla="*/ 230 h 298"/>
                <a:gd name="T54" fmla="*/ 141 w 269"/>
                <a:gd name="T55" fmla="*/ 245 h 298"/>
                <a:gd name="T56" fmla="*/ 141 w 269"/>
                <a:gd name="T57" fmla="*/ 260 h 298"/>
                <a:gd name="T58" fmla="*/ 156 w 269"/>
                <a:gd name="T59" fmla="*/ 275 h 298"/>
                <a:gd name="T60" fmla="*/ 164 w 269"/>
                <a:gd name="T61" fmla="*/ 282 h 298"/>
                <a:gd name="T62" fmla="*/ 164 w 269"/>
                <a:gd name="T63" fmla="*/ 290 h 298"/>
                <a:gd name="T64" fmla="*/ 208 w 269"/>
                <a:gd name="T65" fmla="*/ 275 h 298"/>
                <a:gd name="T66" fmla="*/ 208 w 269"/>
                <a:gd name="T67" fmla="*/ 245 h 298"/>
                <a:gd name="T68" fmla="*/ 230 w 269"/>
                <a:gd name="T69" fmla="*/ 238 h 298"/>
                <a:gd name="T70" fmla="*/ 245 w 269"/>
                <a:gd name="T71" fmla="*/ 245 h 298"/>
                <a:gd name="T72" fmla="*/ 245 w 269"/>
                <a:gd name="T73" fmla="*/ 245 h 298"/>
                <a:gd name="T74" fmla="*/ 208 w 269"/>
                <a:gd name="T75" fmla="*/ 208 h 298"/>
                <a:gd name="T76" fmla="*/ 245 w 269"/>
                <a:gd name="T77" fmla="*/ 245 h 298"/>
                <a:gd name="T78" fmla="*/ 245 w 269"/>
                <a:gd name="T79" fmla="*/ 208 h 298"/>
                <a:gd name="T80" fmla="*/ 245 w 269"/>
                <a:gd name="T81" fmla="*/ 178 h 298"/>
                <a:gd name="T82" fmla="*/ 245 w 269"/>
                <a:gd name="T83" fmla="*/ 149 h 298"/>
                <a:gd name="T84" fmla="*/ 245 w 269"/>
                <a:gd name="T85" fmla="*/ 126 h 298"/>
                <a:gd name="T86" fmla="*/ 245 w 269"/>
                <a:gd name="T87" fmla="*/ 104 h 298"/>
                <a:gd name="T88" fmla="*/ 230 w 269"/>
                <a:gd name="T89" fmla="*/ 104 h 298"/>
                <a:gd name="T90" fmla="*/ 216 w 269"/>
                <a:gd name="T91" fmla="*/ 89 h 298"/>
                <a:gd name="T92" fmla="*/ 216 w 269"/>
                <a:gd name="T93" fmla="*/ 82 h 298"/>
                <a:gd name="T94" fmla="*/ 208 w 269"/>
                <a:gd name="T95" fmla="*/ 82 h 298"/>
                <a:gd name="T96" fmla="*/ 201 w 269"/>
                <a:gd name="T97" fmla="*/ 67 h 298"/>
                <a:gd name="T98" fmla="*/ 201 w 269"/>
                <a:gd name="T99" fmla="*/ 60 h 298"/>
                <a:gd name="T100" fmla="*/ 193 w 269"/>
                <a:gd name="T101" fmla="*/ 60 h 298"/>
                <a:gd name="T102" fmla="*/ 186 w 269"/>
                <a:gd name="T103" fmla="*/ 45 h 298"/>
                <a:gd name="T104" fmla="*/ 193 w 269"/>
                <a:gd name="T105" fmla="*/ 37 h 298"/>
                <a:gd name="T106" fmla="*/ 178 w 269"/>
                <a:gd name="T107" fmla="*/ 15 h 298"/>
                <a:gd name="T108" fmla="*/ 164 w 269"/>
                <a:gd name="T109" fmla="*/ 23 h 298"/>
                <a:gd name="T110" fmla="*/ 156 w 269"/>
                <a:gd name="T111" fmla="*/ 15 h 298"/>
                <a:gd name="T112" fmla="*/ 156 w 269"/>
                <a:gd name="T113" fmla="*/ 60 h 298"/>
                <a:gd name="T114" fmla="*/ 156 w 269"/>
                <a:gd name="T115" fmla="*/ 15 h 298"/>
                <a:gd name="T116" fmla="*/ 149 w 269"/>
                <a:gd name="T117" fmla="*/ 15 h 298"/>
                <a:gd name="T118" fmla="*/ 149 w 269"/>
                <a:gd name="T119" fmla="*/ 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298">
                  <a:moveTo>
                    <a:pt x="149" y="8"/>
                  </a:moveTo>
                  <a:lnTo>
                    <a:pt x="149" y="8"/>
                  </a:lnTo>
                  <a:cubicBezTo>
                    <a:pt x="134" y="8"/>
                    <a:pt x="119" y="0"/>
                    <a:pt x="112" y="8"/>
                  </a:cubicBezTo>
                  <a:cubicBezTo>
                    <a:pt x="104" y="15"/>
                    <a:pt x="104" y="23"/>
                    <a:pt x="97" y="30"/>
                  </a:cubicBezTo>
                  <a:cubicBezTo>
                    <a:pt x="90" y="30"/>
                    <a:pt x="82" y="23"/>
                    <a:pt x="75" y="23"/>
                  </a:cubicBezTo>
                  <a:cubicBezTo>
                    <a:pt x="67" y="30"/>
                    <a:pt x="60" y="37"/>
                    <a:pt x="52" y="45"/>
                  </a:cubicBezTo>
                  <a:cubicBezTo>
                    <a:pt x="52" y="52"/>
                    <a:pt x="52" y="75"/>
                    <a:pt x="60" y="82"/>
                  </a:cubicBezTo>
                  <a:cubicBezTo>
                    <a:pt x="67" y="89"/>
                    <a:pt x="52" y="97"/>
                    <a:pt x="60" y="104"/>
                  </a:cubicBezTo>
                  <a:cubicBezTo>
                    <a:pt x="60" y="104"/>
                    <a:pt x="67" y="104"/>
                    <a:pt x="60" y="112"/>
                  </a:cubicBezTo>
                  <a:lnTo>
                    <a:pt x="60" y="126"/>
                  </a:lnTo>
                  <a:cubicBezTo>
                    <a:pt x="52" y="126"/>
                    <a:pt x="45" y="126"/>
                    <a:pt x="45" y="134"/>
                  </a:cubicBezTo>
                  <a:cubicBezTo>
                    <a:pt x="37" y="141"/>
                    <a:pt x="45" y="141"/>
                    <a:pt x="37" y="149"/>
                  </a:cubicBezTo>
                  <a:cubicBezTo>
                    <a:pt x="30" y="149"/>
                    <a:pt x="22" y="149"/>
                    <a:pt x="22" y="149"/>
                  </a:cubicBezTo>
                  <a:cubicBezTo>
                    <a:pt x="15" y="156"/>
                    <a:pt x="15" y="164"/>
                    <a:pt x="15" y="171"/>
                  </a:cubicBezTo>
                  <a:cubicBezTo>
                    <a:pt x="8" y="178"/>
                    <a:pt x="0" y="171"/>
                    <a:pt x="0" y="186"/>
                  </a:cubicBezTo>
                  <a:cubicBezTo>
                    <a:pt x="0" y="193"/>
                    <a:pt x="0" y="201"/>
                    <a:pt x="8" y="201"/>
                  </a:cubicBezTo>
                  <a:cubicBezTo>
                    <a:pt x="15" y="201"/>
                    <a:pt x="22" y="215"/>
                    <a:pt x="22" y="215"/>
                  </a:cubicBezTo>
                  <a:cubicBezTo>
                    <a:pt x="15" y="223"/>
                    <a:pt x="15" y="230"/>
                    <a:pt x="22" y="223"/>
                  </a:cubicBezTo>
                  <a:cubicBezTo>
                    <a:pt x="30" y="223"/>
                    <a:pt x="37" y="223"/>
                    <a:pt x="45" y="223"/>
                  </a:cubicBezTo>
                  <a:cubicBezTo>
                    <a:pt x="60" y="223"/>
                    <a:pt x="60" y="223"/>
                    <a:pt x="67" y="215"/>
                  </a:cubicBezTo>
                  <a:cubicBezTo>
                    <a:pt x="75" y="215"/>
                    <a:pt x="75" y="223"/>
                    <a:pt x="82" y="215"/>
                  </a:cubicBezTo>
                  <a:cubicBezTo>
                    <a:pt x="90" y="215"/>
                    <a:pt x="90" y="215"/>
                    <a:pt x="90" y="215"/>
                  </a:cubicBezTo>
                  <a:cubicBezTo>
                    <a:pt x="75" y="208"/>
                    <a:pt x="90" y="201"/>
                    <a:pt x="97" y="208"/>
                  </a:cubicBezTo>
                  <a:cubicBezTo>
                    <a:pt x="97" y="215"/>
                    <a:pt x="104" y="223"/>
                    <a:pt x="112" y="223"/>
                  </a:cubicBezTo>
                  <a:cubicBezTo>
                    <a:pt x="119" y="223"/>
                    <a:pt x="119" y="223"/>
                    <a:pt x="127" y="223"/>
                  </a:cubicBezTo>
                  <a:lnTo>
                    <a:pt x="127" y="230"/>
                  </a:lnTo>
                  <a:cubicBezTo>
                    <a:pt x="134" y="230"/>
                    <a:pt x="141" y="230"/>
                    <a:pt x="141" y="230"/>
                  </a:cubicBezTo>
                  <a:cubicBezTo>
                    <a:pt x="141" y="238"/>
                    <a:pt x="141" y="238"/>
                    <a:pt x="141" y="245"/>
                  </a:cubicBezTo>
                  <a:cubicBezTo>
                    <a:pt x="134" y="253"/>
                    <a:pt x="134" y="260"/>
                    <a:pt x="141" y="260"/>
                  </a:cubicBezTo>
                  <a:cubicBezTo>
                    <a:pt x="141" y="267"/>
                    <a:pt x="156" y="267"/>
                    <a:pt x="156" y="275"/>
                  </a:cubicBezTo>
                  <a:cubicBezTo>
                    <a:pt x="156" y="282"/>
                    <a:pt x="156" y="282"/>
                    <a:pt x="164" y="282"/>
                  </a:cubicBezTo>
                  <a:cubicBezTo>
                    <a:pt x="164" y="290"/>
                    <a:pt x="164" y="290"/>
                    <a:pt x="164" y="290"/>
                  </a:cubicBezTo>
                  <a:cubicBezTo>
                    <a:pt x="178" y="297"/>
                    <a:pt x="201" y="282"/>
                    <a:pt x="208" y="275"/>
                  </a:cubicBezTo>
                  <a:cubicBezTo>
                    <a:pt x="208" y="260"/>
                    <a:pt x="193" y="260"/>
                    <a:pt x="208" y="245"/>
                  </a:cubicBezTo>
                  <a:cubicBezTo>
                    <a:pt x="216" y="245"/>
                    <a:pt x="223" y="238"/>
                    <a:pt x="230" y="238"/>
                  </a:cubicBezTo>
                  <a:cubicBezTo>
                    <a:pt x="238" y="245"/>
                    <a:pt x="238" y="253"/>
                    <a:pt x="245" y="245"/>
                  </a:cubicBezTo>
                  <a:lnTo>
                    <a:pt x="245" y="245"/>
                  </a:lnTo>
                  <a:cubicBezTo>
                    <a:pt x="230" y="230"/>
                    <a:pt x="216" y="208"/>
                    <a:pt x="208" y="208"/>
                  </a:cubicBezTo>
                  <a:cubicBezTo>
                    <a:pt x="216" y="208"/>
                    <a:pt x="230" y="230"/>
                    <a:pt x="245" y="245"/>
                  </a:cubicBezTo>
                  <a:cubicBezTo>
                    <a:pt x="260" y="230"/>
                    <a:pt x="253" y="215"/>
                    <a:pt x="245" y="208"/>
                  </a:cubicBezTo>
                  <a:cubicBezTo>
                    <a:pt x="230" y="201"/>
                    <a:pt x="230" y="186"/>
                    <a:pt x="245" y="178"/>
                  </a:cubicBezTo>
                  <a:cubicBezTo>
                    <a:pt x="268" y="171"/>
                    <a:pt x="253" y="164"/>
                    <a:pt x="245" y="149"/>
                  </a:cubicBezTo>
                  <a:cubicBezTo>
                    <a:pt x="245" y="141"/>
                    <a:pt x="245" y="134"/>
                    <a:pt x="245" y="126"/>
                  </a:cubicBezTo>
                  <a:cubicBezTo>
                    <a:pt x="253" y="126"/>
                    <a:pt x="253" y="112"/>
                    <a:pt x="245" y="104"/>
                  </a:cubicBezTo>
                  <a:cubicBezTo>
                    <a:pt x="238" y="104"/>
                    <a:pt x="230" y="119"/>
                    <a:pt x="230" y="104"/>
                  </a:cubicBezTo>
                  <a:cubicBezTo>
                    <a:pt x="223" y="97"/>
                    <a:pt x="223" y="97"/>
                    <a:pt x="216" y="89"/>
                  </a:cubicBezTo>
                  <a:cubicBezTo>
                    <a:pt x="216" y="89"/>
                    <a:pt x="216" y="89"/>
                    <a:pt x="216" y="82"/>
                  </a:cubicBezTo>
                  <a:cubicBezTo>
                    <a:pt x="208" y="82"/>
                    <a:pt x="208" y="82"/>
                    <a:pt x="208" y="82"/>
                  </a:cubicBezTo>
                  <a:cubicBezTo>
                    <a:pt x="201" y="75"/>
                    <a:pt x="201" y="67"/>
                    <a:pt x="201" y="67"/>
                  </a:cubicBezTo>
                  <a:cubicBezTo>
                    <a:pt x="201" y="67"/>
                    <a:pt x="201" y="67"/>
                    <a:pt x="201" y="60"/>
                  </a:cubicBezTo>
                  <a:lnTo>
                    <a:pt x="193" y="60"/>
                  </a:lnTo>
                  <a:cubicBezTo>
                    <a:pt x="193" y="60"/>
                    <a:pt x="178" y="52"/>
                    <a:pt x="186" y="45"/>
                  </a:cubicBezTo>
                  <a:cubicBezTo>
                    <a:pt x="186" y="37"/>
                    <a:pt x="201" y="52"/>
                    <a:pt x="193" y="37"/>
                  </a:cubicBezTo>
                  <a:cubicBezTo>
                    <a:pt x="193" y="37"/>
                    <a:pt x="186" y="15"/>
                    <a:pt x="178" y="15"/>
                  </a:cubicBezTo>
                  <a:cubicBezTo>
                    <a:pt x="171" y="15"/>
                    <a:pt x="171" y="23"/>
                    <a:pt x="164" y="23"/>
                  </a:cubicBezTo>
                  <a:cubicBezTo>
                    <a:pt x="164" y="23"/>
                    <a:pt x="156" y="23"/>
                    <a:pt x="156" y="15"/>
                  </a:cubicBezTo>
                  <a:cubicBezTo>
                    <a:pt x="156" y="30"/>
                    <a:pt x="156" y="45"/>
                    <a:pt x="156" y="60"/>
                  </a:cubicBezTo>
                  <a:cubicBezTo>
                    <a:pt x="156" y="45"/>
                    <a:pt x="156" y="30"/>
                    <a:pt x="156" y="15"/>
                  </a:cubicBezTo>
                  <a:lnTo>
                    <a:pt x="149" y="15"/>
                  </a:lnTo>
                  <a:cubicBezTo>
                    <a:pt x="149" y="15"/>
                    <a:pt x="149" y="15"/>
                    <a:pt x="149" y="8"/>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6" name="Freeform 33">
              <a:extLst>
                <a:ext uri="{FF2B5EF4-FFF2-40B4-BE49-F238E27FC236}">
                  <a16:creationId xmlns:a16="http://schemas.microsoft.com/office/drawing/2014/main" id="{B51115EC-5E59-FB45-8D88-ADFDB2908583}"/>
                </a:ext>
              </a:extLst>
            </p:cNvPr>
            <p:cNvSpPr>
              <a:spLocks noChangeArrowheads="1"/>
            </p:cNvSpPr>
            <p:nvPr/>
          </p:nvSpPr>
          <p:spPr bwMode="auto">
            <a:xfrm>
              <a:off x="9672366" y="2927480"/>
              <a:ext cx="2077938" cy="1560276"/>
            </a:xfrm>
            <a:custGeom>
              <a:avLst/>
              <a:gdLst>
                <a:gd name="T0" fmla="*/ 1760 w 4806"/>
                <a:gd name="T1" fmla="*/ 3431 h 3610"/>
                <a:gd name="T2" fmla="*/ 1812 w 4806"/>
                <a:gd name="T3" fmla="*/ 3394 h 3610"/>
                <a:gd name="T4" fmla="*/ 1842 w 4806"/>
                <a:gd name="T5" fmla="*/ 3149 h 3610"/>
                <a:gd name="T6" fmla="*/ 1983 w 4806"/>
                <a:gd name="T7" fmla="*/ 3089 h 3610"/>
                <a:gd name="T8" fmla="*/ 2303 w 4806"/>
                <a:gd name="T9" fmla="*/ 2918 h 3610"/>
                <a:gd name="T10" fmla="*/ 2644 w 4806"/>
                <a:gd name="T11" fmla="*/ 3104 h 3610"/>
                <a:gd name="T12" fmla="*/ 3105 w 4806"/>
                <a:gd name="T13" fmla="*/ 3111 h 3610"/>
                <a:gd name="T14" fmla="*/ 3275 w 4806"/>
                <a:gd name="T15" fmla="*/ 3371 h 3610"/>
                <a:gd name="T16" fmla="*/ 3454 w 4806"/>
                <a:gd name="T17" fmla="*/ 3490 h 3610"/>
                <a:gd name="T18" fmla="*/ 3595 w 4806"/>
                <a:gd name="T19" fmla="*/ 3564 h 3610"/>
                <a:gd name="T20" fmla="*/ 3706 w 4806"/>
                <a:gd name="T21" fmla="*/ 3357 h 3610"/>
                <a:gd name="T22" fmla="*/ 3773 w 4806"/>
                <a:gd name="T23" fmla="*/ 3512 h 3610"/>
                <a:gd name="T24" fmla="*/ 3951 w 4806"/>
                <a:gd name="T25" fmla="*/ 3520 h 3610"/>
                <a:gd name="T26" fmla="*/ 4159 w 4806"/>
                <a:gd name="T27" fmla="*/ 3394 h 3610"/>
                <a:gd name="T28" fmla="*/ 4181 w 4806"/>
                <a:gd name="T29" fmla="*/ 3163 h 3610"/>
                <a:gd name="T30" fmla="*/ 3884 w 4806"/>
                <a:gd name="T31" fmla="*/ 2629 h 3610"/>
                <a:gd name="T32" fmla="*/ 3959 w 4806"/>
                <a:gd name="T33" fmla="*/ 2309 h 3610"/>
                <a:gd name="T34" fmla="*/ 4204 w 4806"/>
                <a:gd name="T35" fmla="*/ 2302 h 3610"/>
                <a:gd name="T36" fmla="*/ 4263 w 4806"/>
                <a:gd name="T37" fmla="*/ 2035 h 3610"/>
                <a:gd name="T38" fmla="*/ 4619 w 4806"/>
                <a:gd name="T39" fmla="*/ 1879 h 3610"/>
                <a:gd name="T40" fmla="*/ 4761 w 4806"/>
                <a:gd name="T41" fmla="*/ 1359 h 3610"/>
                <a:gd name="T42" fmla="*/ 4642 w 4806"/>
                <a:gd name="T43" fmla="*/ 1151 h 3610"/>
                <a:gd name="T44" fmla="*/ 4115 w 4806"/>
                <a:gd name="T45" fmla="*/ 973 h 3610"/>
                <a:gd name="T46" fmla="*/ 3632 w 4806"/>
                <a:gd name="T47" fmla="*/ 1091 h 3610"/>
                <a:gd name="T48" fmla="*/ 3461 w 4806"/>
                <a:gd name="T49" fmla="*/ 1181 h 3610"/>
                <a:gd name="T50" fmla="*/ 3090 w 4806"/>
                <a:gd name="T51" fmla="*/ 1240 h 3610"/>
                <a:gd name="T52" fmla="*/ 3001 w 4806"/>
                <a:gd name="T53" fmla="*/ 1114 h 3610"/>
                <a:gd name="T54" fmla="*/ 2726 w 4806"/>
                <a:gd name="T55" fmla="*/ 995 h 3610"/>
                <a:gd name="T56" fmla="*/ 2384 w 4806"/>
                <a:gd name="T57" fmla="*/ 616 h 3610"/>
                <a:gd name="T58" fmla="*/ 2072 w 4806"/>
                <a:gd name="T59" fmla="*/ 319 h 3610"/>
                <a:gd name="T60" fmla="*/ 1760 w 4806"/>
                <a:gd name="T61" fmla="*/ 82 h 3610"/>
                <a:gd name="T62" fmla="*/ 1456 w 4806"/>
                <a:gd name="T63" fmla="*/ 37 h 3610"/>
                <a:gd name="T64" fmla="*/ 1166 w 4806"/>
                <a:gd name="T65" fmla="*/ 67 h 3610"/>
                <a:gd name="T66" fmla="*/ 847 w 4806"/>
                <a:gd name="T67" fmla="*/ 141 h 3610"/>
                <a:gd name="T68" fmla="*/ 632 w 4806"/>
                <a:gd name="T69" fmla="*/ 186 h 3610"/>
                <a:gd name="T70" fmla="*/ 320 w 4806"/>
                <a:gd name="T71" fmla="*/ 349 h 3610"/>
                <a:gd name="T72" fmla="*/ 38 w 4806"/>
                <a:gd name="T73" fmla="*/ 549 h 3610"/>
                <a:gd name="T74" fmla="*/ 60 w 4806"/>
                <a:gd name="T75" fmla="*/ 728 h 3610"/>
                <a:gd name="T76" fmla="*/ 275 w 4806"/>
                <a:gd name="T77" fmla="*/ 780 h 3610"/>
                <a:gd name="T78" fmla="*/ 424 w 4806"/>
                <a:gd name="T79" fmla="*/ 928 h 3610"/>
                <a:gd name="T80" fmla="*/ 750 w 4806"/>
                <a:gd name="T81" fmla="*/ 1062 h 3610"/>
                <a:gd name="T82" fmla="*/ 780 w 4806"/>
                <a:gd name="T83" fmla="*/ 1292 h 3610"/>
                <a:gd name="T84" fmla="*/ 877 w 4806"/>
                <a:gd name="T85" fmla="*/ 1522 h 3610"/>
                <a:gd name="T86" fmla="*/ 713 w 4806"/>
                <a:gd name="T87" fmla="*/ 1589 h 3610"/>
                <a:gd name="T88" fmla="*/ 476 w 4806"/>
                <a:gd name="T89" fmla="*/ 1753 h 3610"/>
                <a:gd name="T90" fmla="*/ 498 w 4806"/>
                <a:gd name="T91" fmla="*/ 2205 h 3610"/>
                <a:gd name="T92" fmla="*/ 498 w 4806"/>
                <a:gd name="T93" fmla="*/ 2473 h 3610"/>
                <a:gd name="T94" fmla="*/ 505 w 4806"/>
                <a:gd name="T95" fmla="*/ 2703 h 3610"/>
                <a:gd name="T96" fmla="*/ 780 w 4806"/>
                <a:gd name="T97" fmla="*/ 2963 h 3610"/>
                <a:gd name="T98" fmla="*/ 1100 w 4806"/>
                <a:gd name="T99" fmla="*/ 3119 h 3610"/>
                <a:gd name="T100" fmla="*/ 1129 w 4806"/>
                <a:gd name="T101" fmla="*/ 3230 h 3610"/>
                <a:gd name="T102" fmla="*/ 1293 w 4806"/>
                <a:gd name="T103" fmla="*/ 3349 h 3610"/>
                <a:gd name="T104" fmla="*/ 1389 w 4806"/>
                <a:gd name="T105" fmla="*/ 3327 h 3610"/>
                <a:gd name="T106" fmla="*/ 1545 w 4806"/>
                <a:gd name="T107" fmla="*/ 3497 h 3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06" h="3610">
                  <a:moveTo>
                    <a:pt x="1619" y="3520"/>
                  </a:moveTo>
                  <a:lnTo>
                    <a:pt x="1619" y="3520"/>
                  </a:lnTo>
                  <a:cubicBezTo>
                    <a:pt x="1619" y="3483"/>
                    <a:pt x="1657" y="3490"/>
                    <a:pt x="1657" y="3468"/>
                  </a:cubicBezTo>
                  <a:cubicBezTo>
                    <a:pt x="1679" y="3460"/>
                    <a:pt x="1701" y="3468"/>
                    <a:pt x="1723" y="3468"/>
                  </a:cubicBezTo>
                  <a:cubicBezTo>
                    <a:pt x="1753" y="3460"/>
                    <a:pt x="1753" y="3453"/>
                    <a:pt x="1760" y="3431"/>
                  </a:cubicBezTo>
                  <a:cubicBezTo>
                    <a:pt x="1768" y="3401"/>
                    <a:pt x="1775" y="3408"/>
                    <a:pt x="1783" y="3408"/>
                  </a:cubicBezTo>
                  <a:cubicBezTo>
                    <a:pt x="1775" y="3394"/>
                    <a:pt x="1768" y="3371"/>
                    <a:pt x="1768" y="3364"/>
                  </a:cubicBezTo>
                  <a:cubicBezTo>
                    <a:pt x="1768" y="3371"/>
                    <a:pt x="1775" y="3394"/>
                    <a:pt x="1783" y="3408"/>
                  </a:cubicBezTo>
                  <a:cubicBezTo>
                    <a:pt x="1790" y="3408"/>
                    <a:pt x="1798" y="3408"/>
                    <a:pt x="1805" y="3408"/>
                  </a:cubicBezTo>
                  <a:cubicBezTo>
                    <a:pt x="1812" y="3401"/>
                    <a:pt x="1805" y="3394"/>
                    <a:pt x="1812" y="3394"/>
                  </a:cubicBezTo>
                  <a:cubicBezTo>
                    <a:pt x="1812" y="3394"/>
                    <a:pt x="1820" y="3394"/>
                    <a:pt x="1820" y="3386"/>
                  </a:cubicBezTo>
                  <a:cubicBezTo>
                    <a:pt x="1835" y="3379"/>
                    <a:pt x="1842" y="3379"/>
                    <a:pt x="1850" y="3371"/>
                  </a:cubicBezTo>
                  <a:cubicBezTo>
                    <a:pt x="1879" y="3342"/>
                    <a:pt x="1879" y="3297"/>
                    <a:pt x="1887" y="3252"/>
                  </a:cubicBezTo>
                  <a:cubicBezTo>
                    <a:pt x="1887" y="3230"/>
                    <a:pt x="1894" y="3208"/>
                    <a:pt x="1894" y="3178"/>
                  </a:cubicBezTo>
                  <a:cubicBezTo>
                    <a:pt x="1887" y="3149"/>
                    <a:pt x="1872" y="3149"/>
                    <a:pt x="1842" y="3149"/>
                  </a:cubicBezTo>
                  <a:cubicBezTo>
                    <a:pt x="1842" y="3126"/>
                    <a:pt x="1850" y="3111"/>
                    <a:pt x="1857" y="3089"/>
                  </a:cubicBezTo>
                  <a:cubicBezTo>
                    <a:pt x="1872" y="3089"/>
                    <a:pt x="1879" y="3082"/>
                    <a:pt x="1894" y="3082"/>
                  </a:cubicBezTo>
                  <a:cubicBezTo>
                    <a:pt x="1902" y="3104"/>
                    <a:pt x="1902" y="3111"/>
                    <a:pt x="1924" y="3119"/>
                  </a:cubicBezTo>
                  <a:cubicBezTo>
                    <a:pt x="1946" y="3126"/>
                    <a:pt x="1946" y="3126"/>
                    <a:pt x="1961" y="3111"/>
                  </a:cubicBezTo>
                  <a:cubicBezTo>
                    <a:pt x="1968" y="3104"/>
                    <a:pt x="1976" y="3097"/>
                    <a:pt x="1983" y="3089"/>
                  </a:cubicBezTo>
                  <a:cubicBezTo>
                    <a:pt x="1983" y="3089"/>
                    <a:pt x="1991" y="3089"/>
                    <a:pt x="1998" y="3082"/>
                  </a:cubicBezTo>
                  <a:cubicBezTo>
                    <a:pt x="2006" y="3074"/>
                    <a:pt x="2013" y="3060"/>
                    <a:pt x="2013" y="3045"/>
                  </a:cubicBezTo>
                  <a:cubicBezTo>
                    <a:pt x="2043" y="3037"/>
                    <a:pt x="2087" y="3052"/>
                    <a:pt x="2117" y="3037"/>
                  </a:cubicBezTo>
                  <a:cubicBezTo>
                    <a:pt x="2147" y="3022"/>
                    <a:pt x="2139" y="2978"/>
                    <a:pt x="2162" y="2955"/>
                  </a:cubicBezTo>
                  <a:cubicBezTo>
                    <a:pt x="2184" y="2896"/>
                    <a:pt x="2243" y="2911"/>
                    <a:pt x="2303" y="2918"/>
                  </a:cubicBezTo>
                  <a:cubicBezTo>
                    <a:pt x="2354" y="2918"/>
                    <a:pt x="2414" y="2918"/>
                    <a:pt x="2466" y="2926"/>
                  </a:cubicBezTo>
                  <a:cubicBezTo>
                    <a:pt x="2481" y="2948"/>
                    <a:pt x="2466" y="2970"/>
                    <a:pt x="2488" y="2992"/>
                  </a:cubicBezTo>
                  <a:cubicBezTo>
                    <a:pt x="2503" y="3007"/>
                    <a:pt x="2533" y="3007"/>
                    <a:pt x="2555" y="3007"/>
                  </a:cubicBezTo>
                  <a:cubicBezTo>
                    <a:pt x="2592" y="3015"/>
                    <a:pt x="2585" y="3015"/>
                    <a:pt x="2600" y="3045"/>
                  </a:cubicBezTo>
                  <a:cubicBezTo>
                    <a:pt x="2607" y="3067"/>
                    <a:pt x="2637" y="3082"/>
                    <a:pt x="2644" y="3104"/>
                  </a:cubicBezTo>
                  <a:cubicBezTo>
                    <a:pt x="2667" y="3111"/>
                    <a:pt x="2696" y="3104"/>
                    <a:pt x="2719" y="3104"/>
                  </a:cubicBezTo>
                  <a:cubicBezTo>
                    <a:pt x="2741" y="3111"/>
                    <a:pt x="2741" y="3119"/>
                    <a:pt x="2756" y="3141"/>
                  </a:cubicBezTo>
                  <a:cubicBezTo>
                    <a:pt x="2785" y="3178"/>
                    <a:pt x="2830" y="3186"/>
                    <a:pt x="2874" y="3178"/>
                  </a:cubicBezTo>
                  <a:cubicBezTo>
                    <a:pt x="2919" y="3178"/>
                    <a:pt x="2964" y="3163"/>
                    <a:pt x="3001" y="3149"/>
                  </a:cubicBezTo>
                  <a:cubicBezTo>
                    <a:pt x="3030" y="3141"/>
                    <a:pt x="3067" y="3104"/>
                    <a:pt x="3105" y="3111"/>
                  </a:cubicBezTo>
                  <a:cubicBezTo>
                    <a:pt x="3105" y="3134"/>
                    <a:pt x="3097" y="3163"/>
                    <a:pt x="3105" y="3186"/>
                  </a:cubicBezTo>
                  <a:cubicBezTo>
                    <a:pt x="3119" y="3200"/>
                    <a:pt x="3157" y="3208"/>
                    <a:pt x="3171" y="3230"/>
                  </a:cubicBezTo>
                  <a:cubicBezTo>
                    <a:pt x="3186" y="3245"/>
                    <a:pt x="3209" y="3275"/>
                    <a:pt x="3216" y="3297"/>
                  </a:cubicBezTo>
                  <a:cubicBezTo>
                    <a:pt x="3216" y="3319"/>
                    <a:pt x="3216" y="3342"/>
                    <a:pt x="3216" y="3364"/>
                  </a:cubicBezTo>
                  <a:cubicBezTo>
                    <a:pt x="3231" y="3371"/>
                    <a:pt x="3253" y="3364"/>
                    <a:pt x="3275" y="3371"/>
                  </a:cubicBezTo>
                  <a:cubicBezTo>
                    <a:pt x="3290" y="3371"/>
                    <a:pt x="3313" y="3386"/>
                    <a:pt x="3327" y="3379"/>
                  </a:cubicBezTo>
                  <a:cubicBezTo>
                    <a:pt x="3350" y="3379"/>
                    <a:pt x="3350" y="3357"/>
                    <a:pt x="3364" y="3349"/>
                  </a:cubicBezTo>
                  <a:cubicBezTo>
                    <a:pt x="3372" y="3342"/>
                    <a:pt x="3387" y="3349"/>
                    <a:pt x="3394" y="3349"/>
                  </a:cubicBezTo>
                  <a:cubicBezTo>
                    <a:pt x="3402" y="3342"/>
                    <a:pt x="3409" y="3334"/>
                    <a:pt x="3416" y="3327"/>
                  </a:cubicBezTo>
                  <a:cubicBezTo>
                    <a:pt x="3521" y="3275"/>
                    <a:pt x="3469" y="3446"/>
                    <a:pt x="3454" y="3490"/>
                  </a:cubicBezTo>
                  <a:cubicBezTo>
                    <a:pt x="3431" y="3483"/>
                    <a:pt x="3424" y="3512"/>
                    <a:pt x="3424" y="3527"/>
                  </a:cubicBezTo>
                  <a:cubicBezTo>
                    <a:pt x="3431" y="3520"/>
                    <a:pt x="3461" y="3512"/>
                    <a:pt x="3476" y="3512"/>
                  </a:cubicBezTo>
                  <a:cubicBezTo>
                    <a:pt x="3498" y="3520"/>
                    <a:pt x="3498" y="3527"/>
                    <a:pt x="3513" y="3542"/>
                  </a:cubicBezTo>
                  <a:cubicBezTo>
                    <a:pt x="3528" y="3564"/>
                    <a:pt x="3528" y="3564"/>
                    <a:pt x="3550" y="3564"/>
                  </a:cubicBezTo>
                  <a:cubicBezTo>
                    <a:pt x="3565" y="3564"/>
                    <a:pt x="3580" y="3564"/>
                    <a:pt x="3595" y="3564"/>
                  </a:cubicBezTo>
                  <a:cubicBezTo>
                    <a:pt x="3595" y="3557"/>
                    <a:pt x="3595" y="3550"/>
                    <a:pt x="3595" y="3542"/>
                  </a:cubicBezTo>
                  <a:cubicBezTo>
                    <a:pt x="3595" y="3512"/>
                    <a:pt x="3587" y="3490"/>
                    <a:pt x="3565" y="3468"/>
                  </a:cubicBezTo>
                  <a:cubicBezTo>
                    <a:pt x="3558" y="3460"/>
                    <a:pt x="3528" y="3460"/>
                    <a:pt x="3528" y="3446"/>
                  </a:cubicBezTo>
                  <a:cubicBezTo>
                    <a:pt x="3521" y="3431"/>
                    <a:pt x="3550" y="3423"/>
                    <a:pt x="3565" y="3423"/>
                  </a:cubicBezTo>
                  <a:cubicBezTo>
                    <a:pt x="3580" y="3364"/>
                    <a:pt x="3661" y="3371"/>
                    <a:pt x="3706" y="3357"/>
                  </a:cubicBezTo>
                  <a:cubicBezTo>
                    <a:pt x="3706" y="3342"/>
                    <a:pt x="3721" y="3334"/>
                    <a:pt x="3736" y="3312"/>
                  </a:cubicBezTo>
                  <a:cubicBezTo>
                    <a:pt x="3736" y="3312"/>
                    <a:pt x="3743" y="3312"/>
                    <a:pt x="3751" y="3312"/>
                  </a:cubicBezTo>
                  <a:cubicBezTo>
                    <a:pt x="3751" y="3364"/>
                    <a:pt x="3728" y="3408"/>
                    <a:pt x="3736" y="3453"/>
                  </a:cubicBezTo>
                  <a:cubicBezTo>
                    <a:pt x="3751" y="3460"/>
                    <a:pt x="3758" y="3460"/>
                    <a:pt x="3773" y="3468"/>
                  </a:cubicBezTo>
                  <a:cubicBezTo>
                    <a:pt x="3773" y="3483"/>
                    <a:pt x="3773" y="3497"/>
                    <a:pt x="3773" y="3512"/>
                  </a:cubicBezTo>
                  <a:cubicBezTo>
                    <a:pt x="3803" y="3512"/>
                    <a:pt x="3818" y="3535"/>
                    <a:pt x="3840" y="3557"/>
                  </a:cubicBezTo>
                  <a:cubicBezTo>
                    <a:pt x="3840" y="3557"/>
                    <a:pt x="3892" y="3609"/>
                    <a:pt x="3892" y="3594"/>
                  </a:cubicBezTo>
                  <a:cubicBezTo>
                    <a:pt x="3884" y="3557"/>
                    <a:pt x="3907" y="3557"/>
                    <a:pt x="3929" y="3542"/>
                  </a:cubicBezTo>
                  <a:cubicBezTo>
                    <a:pt x="3936" y="3535"/>
                    <a:pt x="3944" y="3542"/>
                    <a:pt x="3944" y="3542"/>
                  </a:cubicBezTo>
                  <a:cubicBezTo>
                    <a:pt x="3951" y="3535"/>
                    <a:pt x="3944" y="3527"/>
                    <a:pt x="3951" y="3520"/>
                  </a:cubicBezTo>
                  <a:cubicBezTo>
                    <a:pt x="3959" y="3512"/>
                    <a:pt x="3959" y="3505"/>
                    <a:pt x="3973" y="3497"/>
                  </a:cubicBezTo>
                  <a:cubicBezTo>
                    <a:pt x="3973" y="3490"/>
                    <a:pt x="4026" y="3490"/>
                    <a:pt x="4026" y="3490"/>
                  </a:cubicBezTo>
                  <a:cubicBezTo>
                    <a:pt x="4026" y="3453"/>
                    <a:pt x="4055" y="3423"/>
                    <a:pt x="4085" y="3401"/>
                  </a:cubicBezTo>
                  <a:cubicBezTo>
                    <a:pt x="4085" y="3423"/>
                    <a:pt x="4107" y="3446"/>
                    <a:pt x="4129" y="3438"/>
                  </a:cubicBezTo>
                  <a:cubicBezTo>
                    <a:pt x="4152" y="3438"/>
                    <a:pt x="4152" y="3416"/>
                    <a:pt x="4159" y="3394"/>
                  </a:cubicBezTo>
                  <a:cubicBezTo>
                    <a:pt x="4174" y="3371"/>
                    <a:pt x="4174" y="3371"/>
                    <a:pt x="4204" y="3357"/>
                  </a:cubicBezTo>
                  <a:cubicBezTo>
                    <a:pt x="4226" y="3349"/>
                    <a:pt x="4241" y="3334"/>
                    <a:pt x="4263" y="3334"/>
                  </a:cubicBezTo>
                  <a:cubicBezTo>
                    <a:pt x="4241" y="3305"/>
                    <a:pt x="4256" y="3275"/>
                    <a:pt x="4233" y="3245"/>
                  </a:cubicBezTo>
                  <a:cubicBezTo>
                    <a:pt x="4226" y="3230"/>
                    <a:pt x="4211" y="3223"/>
                    <a:pt x="4204" y="3208"/>
                  </a:cubicBezTo>
                  <a:cubicBezTo>
                    <a:pt x="4189" y="3200"/>
                    <a:pt x="4189" y="3178"/>
                    <a:pt x="4181" y="3163"/>
                  </a:cubicBezTo>
                  <a:cubicBezTo>
                    <a:pt x="4159" y="3134"/>
                    <a:pt x="4129" y="3111"/>
                    <a:pt x="4122" y="3074"/>
                  </a:cubicBezTo>
                  <a:cubicBezTo>
                    <a:pt x="4115" y="3030"/>
                    <a:pt x="4137" y="3007"/>
                    <a:pt x="4152" y="2978"/>
                  </a:cubicBezTo>
                  <a:cubicBezTo>
                    <a:pt x="4218" y="2881"/>
                    <a:pt x="4077" y="2896"/>
                    <a:pt x="4026" y="2889"/>
                  </a:cubicBezTo>
                  <a:cubicBezTo>
                    <a:pt x="3966" y="2874"/>
                    <a:pt x="3899" y="2814"/>
                    <a:pt x="3892" y="2755"/>
                  </a:cubicBezTo>
                  <a:cubicBezTo>
                    <a:pt x="3884" y="2710"/>
                    <a:pt x="3899" y="2666"/>
                    <a:pt x="3884" y="2629"/>
                  </a:cubicBezTo>
                  <a:lnTo>
                    <a:pt x="3981" y="2621"/>
                  </a:lnTo>
                  <a:cubicBezTo>
                    <a:pt x="3996" y="2592"/>
                    <a:pt x="3981" y="2592"/>
                    <a:pt x="3973" y="2577"/>
                  </a:cubicBezTo>
                  <a:cubicBezTo>
                    <a:pt x="3944" y="2510"/>
                    <a:pt x="3936" y="2428"/>
                    <a:pt x="3907" y="2361"/>
                  </a:cubicBezTo>
                  <a:cubicBezTo>
                    <a:pt x="3899" y="2354"/>
                    <a:pt x="3899" y="2354"/>
                    <a:pt x="3899" y="2354"/>
                  </a:cubicBezTo>
                  <a:cubicBezTo>
                    <a:pt x="3914" y="2339"/>
                    <a:pt x="3944" y="2317"/>
                    <a:pt x="3959" y="2309"/>
                  </a:cubicBezTo>
                  <a:cubicBezTo>
                    <a:pt x="3981" y="2309"/>
                    <a:pt x="3988" y="2324"/>
                    <a:pt x="4003" y="2324"/>
                  </a:cubicBezTo>
                  <a:cubicBezTo>
                    <a:pt x="4018" y="2332"/>
                    <a:pt x="4033" y="2324"/>
                    <a:pt x="4048" y="2324"/>
                  </a:cubicBezTo>
                  <a:cubicBezTo>
                    <a:pt x="4077" y="2332"/>
                    <a:pt x="4092" y="2354"/>
                    <a:pt x="4129" y="2347"/>
                  </a:cubicBezTo>
                  <a:cubicBezTo>
                    <a:pt x="4159" y="2347"/>
                    <a:pt x="4181" y="2339"/>
                    <a:pt x="4218" y="2347"/>
                  </a:cubicBezTo>
                  <a:cubicBezTo>
                    <a:pt x="4211" y="2339"/>
                    <a:pt x="4204" y="2309"/>
                    <a:pt x="4204" y="2302"/>
                  </a:cubicBezTo>
                  <a:cubicBezTo>
                    <a:pt x="4211" y="2280"/>
                    <a:pt x="4226" y="2287"/>
                    <a:pt x="4241" y="2280"/>
                  </a:cubicBezTo>
                  <a:cubicBezTo>
                    <a:pt x="4271" y="2258"/>
                    <a:pt x="4293" y="2235"/>
                    <a:pt x="4293" y="2198"/>
                  </a:cubicBezTo>
                  <a:cubicBezTo>
                    <a:pt x="4293" y="2183"/>
                    <a:pt x="4278" y="2176"/>
                    <a:pt x="4285" y="2153"/>
                  </a:cubicBezTo>
                  <a:cubicBezTo>
                    <a:pt x="4285" y="2139"/>
                    <a:pt x="4300" y="2124"/>
                    <a:pt x="4300" y="2101"/>
                  </a:cubicBezTo>
                  <a:cubicBezTo>
                    <a:pt x="4293" y="2087"/>
                    <a:pt x="4278" y="2050"/>
                    <a:pt x="4263" y="2035"/>
                  </a:cubicBezTo>
                  <a:cubicBezTo>
                    <a:pt x="4300" y="2035"/>
                    <a:pt x="4322" y="2027"/>
                    <a:pt x="4360" y="2027"/>
                  </a:cubicBezTo>
                  <a:cubicBezTo>
                    <a:pt x="4374" y="2027"/>
                    <a:pt x="4412" y="2035"/>
                    <a:pt x="4426" y="2020"/>
                  </a:cubicBezTo>
                  <a:cubicBezTo>
                    <a:pt x="4434" y="2012"/>
                    <a:pt x="4426" y="1983"/>
                    <a:pt x="4434" y="1968"/>
                  </a:cubicBezTo>
                  <a:cubicBezTo>
                    <a:pt x="4441" y="1931"/>
                    <a:pt x="4478" y="1908"/>
                    <a:pt x="4508" y="1893"/>
                  </a:cubicBezTo>
                  <a:cubicBezTo>
                    <a:pt x="4545" y="1871"/>
                    <a:pt x="4582" y="1879"/>
                    <a:pt x="4619" y="1879"/>
                  </a:cubicBezTo>
                  <a:cubicBezTo>
                    <a:pt x="4619" y="1834"/>
                    <a:pt x="4619" y="1804"/>
                    <a:pt x="4642" y="1767"/>
                  </a:cubicBezTo>
                  <a:cubicBezTo>
                    <a:pt x="4657" y="1753"/>
                    <a:pt x="4664" y="1738"/>
                    <a:pt x="4671" y="1723"/>
                  </a:cubicBezTo>
                  <a:cubicBezTo>
                    <a:pt x="4679" y="1700"/>
                    <a:pt x="4679" y="1678"/>
                    <a:pt x="4701" y="1671"/>
                  </a:cubicBezTo>
                  <a:cubicBezTo>
                    <a:pt x="4701" y="1619"/>
                    <a:pt x="4686" y="1530"/>
                    <a:pt x="4746" y="1522"/>
                  </a:cubicBezTo>
                  <a:cubicBezTo>
                    <a:pt x="4775" y="1470"/>
                    <a:pt x="4738" y="1411"/>
                    <a:pt x="4761" y="1359"/>
                  </a:cubicBezTo>
                  <a:cubicBezTo>
                    <a:pt x="4775" y="1329"/>
                    <a:pt x="4805" y="1337"/>
                    <a:pt x="4790" y="1292"/>
                  </a:cubicBezTo>
                  <a:cubicBezTo>
                    <a:pt x="4775" y="1270"/>
                    <a:pt x="4761" y="1262"/>
                    <a:pt x="4753" y="1240"/>
                  </a:cubicBezTo>
                  <a:cubicBezTo>
                    <a:pt x="4746" y="1233"/>
                    <a:pt x="4738" y="1225"/>
                    <a:pt x="4731" y="1225"/>
                  </a:cubicBezTo>
                  <a:cubicBezTo>
                    <a:pt x="4716" y="1218"/>
                    <a:pt x="4701" y="1225"/>
                    <a:pt x="4694" y="1218"/>
                  </a:cubicBezTo>
                  <a:cubicBezTo>
                    <a:pt x="4664" y="1203"/>
                    <a:pt x="4657" y="1166"/>
                    <a:pt x="4642" y="1151"/>
                  </a:cubicBezTo>
                  <a:cubicBezTo>
                    <a:pt x="4605" y="1099"/>
                    <a:pt x="4582" y="1084"/>
                    <a:pt x="4523" y="1099"/>
                  </a:cubicBezTo>
                  <a:cubicBezTo>
                    <a:pt x="4463" y="1106"/>
                    <a:pt x="4426" y="1084"/>
                    <a:pt x="4374" y="1069"/>
                  </a:cubicBezTo>
                  <a:cubicBezTo>
                    <a:pt x="4330" y="1054"/>
                    <a:pt x="4263" y="1010"/>
                    <a:pt x="4226" y="1010"/>
                  </a:cubicBezTo>
                  <a:cubicBezTo>
                    <a:pt x="4226" y="988"/>
                    <a:pt x="4218" y="965"/>
                    <a:pt x="4189" y="958"/>
                  </a:cubicBezTo>
                  <a:cubicBezTo>
                    <a:pt x="4159" y="951"/>
                    <a:pt x="4144" y="980"/>
                    <a:pt x="4115" y="973"/>
                  </a:cubicBezTo>
                  <a:cubicBezTo>
                    <a:pt x="4100" y="995"/>
                    <a:pt x="4107" y="1032"/>
                    <a:pt x="4077" y="1040"/>
                  </a:cubicBezTo>
                  <a:cubicBezTo>
                    <a:pt x="4055" y="1047"/>
                    <a:pt x="4011" y="1040"/>
                    <a:pt x="3988" y="1032"/>
                  </a:cubicBezTo>
                  <a:cubicBezTo>
                    <a:pt x="3936" y="1025"/>
                    <a:pt x="3862" y="1010"/>
                    <a:pt x="3810" y="1017"/>
                  </a:cubicBezTo>
                  <a:cubicBezTo>
                    <a:pt x="3780" y="1025"/>
                    <a:pt x="3758" y="1054"/>
                    <a:pt x="3721" y="1062"/>
                  </a:cubicBezTo>
                  <a:cubicBezTo>
                    <a:pt x="3691" y="1069"/>
                    <a:pt x="3661" y="1077"/>
                    <a:pt x="3632" y="1091"/>
                  </a:cubicBezTo>
                  <a:cubicBezTo>
                    <a:pt x="3617" y="1106"/>
                    <a:pt x="3610" y="1114"/>
                    <a:pt x="3587" y="1114"/>
                  </a:cubicBezTo>
                  <a:cubicBezTo>
                    <a:pt x="3572" y="1121"/>
                    <a:pt x="3558" y="1114"/>
                    <a:pt x="3543" y="1114"/>
                  </a:cubicBezTo>
                  <a:cubicBezTo>
                    <a:pt x="3528" y="1121"/>
                    <a:pt x="3521" y="1136"/>
                    <a:pt x="3513" y="1143"/>
                  </a:cubicBezTo>
                  <a:cubicBezTo>
                    <a:pt x="3498" y="1151"/>
                    <a:pt x="3483" y="1151"/>
                    <a:pt x="3469" y="1151"/>
                  </a:cubicBezTo>
                  <a:cubicBezTo>
                    <a:pt x="3469" y="1166"/>
                    <a:pt x="3461" y="1173"/>
                    <a:pt x="3461" y="1181"/>
                  </a:cubicBezTo>
                  <a:cubicBezTo>
                    <a:pt x="3424" y="1188"/>
                    <a:pt x="3379" y="1173"/>
                    <a:pt x="3342" y="1181"/>
                  </a:cubicBezTo>
                  <a:cubicBezTo>
                    <a:pt x="3298" y="1188"/>
                    <a:pt x="3313" y="1203"/>
                    <a:pt x="3290" y="1233"/>
                  </a:cubicBezTo>
                  <a:cubicBezTo>
                    <a:pt x="3268" y="1255"/>
                    <a:pt x="3253" y="1240"/>
                    <a:pt x="3231" y="1233"/>
                  </a:cubicBezTo>
                  <a:cubicBezTo>
                    <a:pt x="3201" y="1218"/>
                    <a:pt x="3201" y="1225"/>
                    <a:pt x="3164" y="1233"/>
                  </a:cubicBezTo>
                  <a:cubicBezTo>
                    <a:pt x="3142" y="1240"/>
                    <a:pt x="3112" y="1240"/>
                    <a:pt x="3090" y="1240"/>
                  </a:cubicBezTo>
                  <a:cubicBezTo>
                    <a:pt x="3067" y="1240"/>
                    <a:pt x="3045" y="1233"/>
                    <a:pt x="3023" y="1233"/>
                  </a:cubicBezTo>
                  <a:cubicBezTo>
                    <a:pt x="3001" y="1233"/>
                    <a:pt x="2956" y="1255"/>
                    <a:pt x="2941" y="1248"/>
                  </a:cubicBezTo>
                  <a:cubicBezTo>
                    <a:pt x="2882" y="1225"/>
                    <a:pt x="3008" y="1166"/>
                    <a:pt x="3038" y="1166"/>
                  </a:cubicBezTo>
                  <a:cubicBezTo>
                    <a:pt x="3038" y="1143"/>
                    <a:pt x="3038" y="1136"/>
                    <a:pt x="3023" y="1121"/>
                  </a:cubicBezTo>
                  <a:cubicBezTo>
                    <a:pt x="3016" y="1114"/>
                    <a:pt x="3008" y="1114"/>
                    <a:pt x="3001" y="1114"/>
                  </a:cubicBezTo>
                  <a:cubicBezTo>
                    <a:pt x="2993" y="1106"/>
                    <a:pt x="2993" y="1091"/>
                    <a:pt x="2986" y="1084"/>
                  </a:cubicBezTo>
                  <a:cubicBezTo>
                    <a:pt x="2956" y="1054"/>
                    <a:pt x="2934" y="1069"/>
                    <a:pt x="2897" y="1062"/>
                  </a:cubicBezTo>
                  <a:cubicBezTo>
                    <a:pt x="2882" y="1054"/>
                    <a:pt x="2859" y="1054"/>
                    <a:pt x="2852" y="1047"/>
                  </a:cubicBezTo>
                  <a:cubicBezTo>
                    <a:pt x="2837" y="1032"/>
                    <a:pt x="2837" y="1010"/>
                    <a:pt x="2830" y="1002"/>
                  </a:cubicBezTo>
                  <a:cubicBezTo>
                    <a:pt x="2808" y="988"/>
                    <a:pt x="2756" y="995"/>
                    <a:pt x="2726" y="995"/>
                  </a:cubicBezTo>
                  <a:cubicBezTo>
                    <a:pt x="2674" y="988"/>
                    <a:pt x="2659" y="995"/>
                    <a:pt x="2622" y="951"/>
                  </a:cubicBezTo>
                  <a:cubicBezTo>
                    <a:pt x="2577" y="913"/>
                    <a:pt x="2600" y="869"/>
                    <a:pt x="2585" y="817"/>
                  </a:cubicBezTo>
                  <a:cubicBezTo>
                    <a:pt x="2585" y="794"/>
                    <a:pt x="2570" y="765"/>
                    <a:pt x="2548" y="743"/>
                  </a:cubicBezTo>
                  <a:cubicBezTo>
                    <a:pt x="2525" y="713"/>
                    <a:pt x="2503" y="720"/>
                    <a:pt x="2466" y="713"/>
                  </a:cubicBezTo>
                  <a:cubicBezTo>
                    <a:pt x="2407" y="705"/>
                    <a:pt x="2407" y="661"/>
                    <a:pt x="2384" y="616"/>
                  </a:cubicBezTo>
                  <a:cubicBezTo>
                    <a:pt x="2354" y="572"/>
                    <a:pt x="2295" y="609"/>
                    <a:pt x="2251" y="586"/>
                  </a:cubicBezTo>
                  <a:cubicBezTo>
                    <a:pt x="2228" y="572"/>
                    <a:pt x="2221" y="549"/>
                    <a:pt x="2206" y="535"/>
                  </a:cubicBezTo>
                  <a:cubicBezTo>
                    <a:pt x="2191" y="512"/>
                    <a:pt x="2169" y="512"/>
                    <a:pt x="2154" y="497"/>
                  </a:cubicBezTo>
                  <a:cubicBezTo>
                    <a:pt x="2139" y="475"/>
                    <a:pt x="2117" y="438"/>
                    <a:pt x="2109" y="416"/>
                  </a:cubicBezTo>
                  <a:cubicBezTo>
                    <a:pt x="2095" y="379"/>
                    <a:pt x="2095" y="349"/>
                    <a:pt x="2072" y="319"/>
                  </a:cubicBezTo>
                  <a:cubicBezTo>
                    <a:pt x="2035" y="267"/>
                    <a:pt x="1976" y="208"/>
                    <a:pt x="1902" y="238"/>
                  </a:cubicBezTo>
                  <a:cubicBezTo>
                    <a:pt x="1887" y="245"/>
                    <a:pt x="1894" y="260"/>
                    <a:pt x="1872" y="267"/>
                  </a:cubicBezTo>
                  <a:cubicBezTo>
                    <a:pt x="1850" y="275"/>
                    <a:pt x="1835" y="260"/>
                    <a:pt x="1827" y="245"/>
                  </a:cubicBezTo>
                  <a:cubicBezTo>
                    <a:pt x="1820" y="215"/>
                    <a:pt x="1835" y="163"/>
                    <a:pt x="1835" y="134"/>
                  </a:cubicBezTo>
                  <a:cubicBezTo>
                    <a:pt x="1835" y="82"/>
                    <a:pt x="1812" y="89"/>
                    <a:pt x="1760" y="82"/>
                  </a:cubicBezTo>
                  <a:cubicBezTo>
                    <a:pt x="1723" y="82"/>
                    <a:pt x="1686" y="82"/>
                    <a:pt x="1657" y="67"/>
                  </a:cubicBezTo>
                  <a:cubicBezTo>
                    <a:pt x="1649" y="67"/>
                    <a:pt x="1649" y="59"/>
                    <a:pt x="1642" y="52"/>
                  </a:cubicBezTo>
                  <a:cubicBezTo>
                    <a:pt x="1634" y="52"/>
                    <a:pt x="1619" y="52"/>
                    <a:pt x="1612" y="52"/>
                  </a:cubicBezTo>
                  <a:cubicBezTo>
                    <a:pt x="1590" y="52"/>
                    <a:pt x="1575" y="52"/>
                    <a:pt x="1552" y="59"/>
                  </a:cubicBezTo>
                  <a:cubicBezTo>
                    <a:pt x="1508" y="67"/>
                    <a:pt x="1478" y="96"/>
                    <a:pt x="1456" y="37"/>
                  </a:cubicBezTo>
                  <a:cubicBezTo>
                    <a:pt x="1441" y="37"/>
                    <a:pt x="1441" y="15"/>
                    <a:pt x="1426" y="7"/>
                  </a:cubicBezTo>
                  <a:cubicBezTo>
                    <a:pt x="1412" y="0"/>
                    <a:pt x="1374" y="7"/>
                    <a:pt x="1360" y="15"/>
                  </a:cubicBezTo>
                  <a:cubicBezTo>
                    <a:pt x="1337" y="22"/>
                    <a:pt x="1345" y="44"/>
                    <a:pt x="1322" y="52"/>
                  </a:cubicBezTo>
                  <a:cubicBezTo>
                    <a:pt x="1300" y="67"/>
                    <a:pt x="1293" y="44"/>
                    <a:pt x="1270" y="37"/>
                  </a:cubicBezTo>
                  <a:cubicBezTo>
                    <a:pt x="1226" y="30"/>
                    <a:pt x="1204" y="52"/>
                    <a:pt x="1166" y="67"/>
                  </a:cubicBezTo>
                  <a:cubicBezTo>
                    <a:pt x="1122" y="74"/>
                    <a:pt x="1100" y="89"/>
                    <a:pt x="1055" y="89"/>
                  </a:cubicBezTo>
                  <a:cubicBezTo>
                    <a:pt x="1048" y="104"/>
                    <a:pt x="1048" y="111"/>
                    <a:pt x="1048" y="126"/>
                  </a:cubicBezTo>
                  <a:cubicBezTo>
                    <a:pt x="988" y="126"/>
                    <a:pt x="958" y="111"/>
                    <a:pt x="907" y="96"/>
                  </a:cubicBezTo>
                  <a:cubicBezTo>
                    <a:pt x="869" y="89"/>
                    <a:pt x="780" y="59"/>
                    <a:pt x="743" y="82"/>
                  </a:cubicBezTo>
                  <a:cubicBezTo>
                    <a:pt x="788" y="104"/>
                    <a:pt x="832" y="74"/>
                    <a:pt x="847" y="141"/>
                  </a:cubicBezTo>
                  <a:cubicBezTo>
                    <a:pt x="855" y="141"/>
                    <a:pt x="862" y="149"/>
                    <a:pt x="877" y="156"/>
                  </a:cubicBezTo>
                  <a:cubicBezTo>
                    <a:pt x="877" y="171"/>
                    <a:pt x="877" y="178"/>
                    <a:pt x="877" y="193"/>
                  </a:cubicBezTo>
                  <a:cubicBezTo>
                    <a:pt x="855" y="200"/>
                    <a:pt x="840" y="200"/>
                    <a:pt x="817" y="200"/>
                  </a:cubicBezTo>
                  <a:cubicBezTo>
                    <a:pt x="795" y="200"/>
                    <a:pt x="773" y="208"/>
                    <a:pt x="750" y="215"/>
                  </a:cubicBezTo>
                  <a:cubicBezTo>
                    <a:pt x="698" y="223"/>
                    <a:pt x="676" y="193"/>
                    <a:pt x="632" y="186"/>
                  </a:cubicBezTo>
                  <a:cubicBezTo>
                    <a:pt x="587" y="171"/>
                    <a:pt x="543" y="186"/>
                    <a:pt x="498" y="186"/>
                  </a:cubicBezTo>
                  <a:cubicBezTo>
                    <a:pt x="483" y="186"/>
                    <a:pt x="446" y="178"/>
                    <a:pt x="431" y="186"/>
                  </a:cubicBezTo>
                  <a:cubicBezTo>
                    <a:pt x="416" y="193"/>
                    <a:pt x="402" y="215"/>
                    <a:pt x="387" y="230"/>
                  </a:cubicBezTo>
                  <a:cubicBezTo>
                    <a:pt x="387" y="260"/>
                    <a:pt x="372" y="275"/>
                    <a:pt x="342" y="275"/>
                  </a:cubicBezTo>
                  <a:cubicBezTo>
                    <a:pt x="335" y="297"/>
                    <a:pt x="327" y="327"/>
                    <a:pt x="320" y="349"/>
                  </a:cubicBezTo>
                  <a:cubicBezTo>
                    <a:pt x="298" y="356"/>
                    <a:pt x="275" y="349"/>
                    <a:pt x="253" y="349"/>
                  </a:cubicBezTo>
                  <a:cubicBezTo>
                    <a:pt x="253" y="431"/>
                    <a:pt x="142" y="416"/>
                    <a:pt x="134" y="490"/>
                  </a:cubicBezTo>
                  <a:cubicBezTo>
                    <a:pt x="127" y="490"/>
                    <a:pt x="127" y="490"/>
                    <a:pt x="127" y="497"/>
                  </a:cubicBezTo>
                  <a:cubicBezTo>
                    <a:pt x="90" y="505"/>
                    <a:pt x="75" y="460"/>
                    <a:pt x="45" y="505"/>
                  </a:cubicBezTo>
                  <a:cubicBezTo>
                    <a:pt x="38" y="520"/>
                    <a:pt x="45" y="535"/>
                    <a:pt x="38" y="549"/>
                  </a:cubicBezTo>
                  <a:cubicBezTo>
                    <a:pt x="38" y="564"/>
                    <a:pt x="8" y="586"/>
                    <a:pt x="8" y="594"/>
                  </a:cubicBezTo>
                  <a:cubicBezTo>
                    <a:pt x="8" y="609"/>
                    <a:pt x="15" y="609"/>
                    <a:pt x="23" y="624"/>
                  </a:cubicBezTo>
                  <a:cubicBezTo>
                    <a:pt x="30" y="646"/>
                    <a:pt x="30" y="668"/>
                    <a:pt x="23" y="698"/>
                  </a:cubicBezTo>
                  <a:cubicBezTo>
                    <a:pt x="15" y="705"/>
                    <a:pt x="0" y="713"/>
                    <a:pt x="15" y="728"/>
                  </a:cubicBezTo>
                  <a:cubicBezTo>
                    <a:pt x="15" y="728"/>
                    <a:pt x="53" y="728"/>
                    <a:pt x="60" y="728"/>
                  </a:cubicBezTo>
                  <a:cubicBezTo>
                    <a:pt x="45" y="765"/>
                    <a:pt x="112" y="750"/>
                    <a:pt x="105" y="794"/>
                  </a:cubicBezTo>
                  <a:cubicBezTo>
                    <a:pt x="134" y="794"/>
                    <a:pt x="142" y="757"/>
                    <a:pt x="179" y="765"/>
                  </a:cubicBezTo>
                  <a:cubicBezTo>
                    <a:pt x="179" y="772"/>
                    <a:pt x="179" y="772"/>
                    <a:pt x="179" y="772"/>
                  </a:cubicBezTo>
                  <a:cubicBezTo>
                    <a:pt x="208" y="780"/>
                    <a:pt x="231" y="750"/>
                    <a:pt x="260" y="765"/>
                  </a:cubicBezTo>
                  <a:cubicBezTo>
                    <a:pt x="268" y="765"/>
                    <a:pt x="268" y="780"/>
                    <a:pt x="275" y="780"/>
                  </a:cubicBezTo>
                  <a:cubicBezTo>
                    <a:pt x="283" y="787"/>
                    <a:pt x="290" y="780"/>
                    <a:pt x="298" y="780"/>
                  </a:cubicBezTo>
                  <a:cubicBezTo>
                    <a:pt x="313" y="787"/>
                    <a:pt x="327" y="787"/>
                    <a:pt x="342" y="787"/>
                  </a:cubicBezTo>
                  <a:cubicBezTo>
                    <a:pt x="342" y="809"/>
                    <a:pt x="364" y="824"/>
                    <a:pt x="372" y="839"/>
                  </a:cubicBezTo>
                  <a:cubicBezTo>
                    <a:pt x="379" y="861"/>
                    <a:pt x="372" y="884"/>
                    <a:pt x="379" y="898"/>
                  </a:cubicBezTo>
                  <a:cubicBezTo>
                    <a:pt x="387" y="936"/>
                    <a:pt x="402" y="913"/>
                    <a:pt x="424" y="928"/>
                  </a:cubicBezTo>
                  <a:cubicBezTo>
                    <a:pt x="446" y="943"/>
                    <a:pt x="431" y="973"/>
                    <a:pt x="461" y="965"/>
                  </a:cubicBezTo>
                  <a:cubicBezTo>
                    <a:pt x="476" y="988"/>
                    <a:pt x="505" y="973"/>
                    <a:pt x="528" y="988"/>
                  </a:cubicBezTo>
                  <a:cubicBezTo>
                    <a:pt x="543" y="995"/>
                    <a:pt x="550" y="1017"/>
                    <a:pt x="558" y="1025"/>
                  </a:cubicBezTo>
                  <a:cubicBezTo>
                    <a:pt x="572" y="1032"/>
                    <a:pt x="587" y="1040"/>
                    <a:pt x="602" y="1040"/>
                  </a:cubicBezTo>
                  <a:cubicBezTo>
                    <a:pt x="654" y="1054"/>
                    <a:pt x="706" y="1032"/>
                    <a:pt x="750" y="1062"/>
                  </a:cubicBezTo>
                  <a:cubicBezTo>
                    <a:pt x="750" y="1069"/>
                    <a:pt x="750" y="1084"/>
                    <a:pt x="750" y="1099"/>
                  </a:cubicBezTo>
                  <a:cubicBezTo>
                    <a:pt x="736" y="1099"/>
                    <a:pt x="736" y="1106"/>
                    <a:pt x="736" y="1121"/>
                  </a:cubicBezTo>
                  <a:cubicBezTo>
                    <a:pt x="684" y="1121"/>
                    <a:pt x="669" y="1233"/>
                    <a:pt x="713" y="1255"/>
                  </a:cubicBezTo>
                  <a:cubicBezTo>
                    <a:pt x="721" y="1262"/>
                    <a:pt x="743" y="1255"/>
                    <a:pt x="750" y="1255"/>
                  </a:cubicBezTo>
                  <a:cubicBezTo>
                    <a:pt x="773" y="1262"/>
                    <a:pt x="765" y="1285"/>
                    <a:pt x="780" y="1292"/>
                  </a:cubicBezTo>
                  <a:cubicBezTo>
                    <a:pt x="803" y="1307"/>
                    <a:pt x="840" y="1314"/>
                    <a:pt x="847" y="1344"/>
                  </a:cubicBezTo>
                  <a:cubicBezTo>
                    <a:pt x="877" y="1344"/>
                    <a:pt x="914" y="1337"/>
                    <a:pt x="921" y="1366"/>
                  </a:cubicBezTo>
                  <a:cubicBezTo>
                    <a:pt x="936" y="1388"/>
                    <a:pt x="914" y="1418"/>
                    <a:pt x="899" y="1441"/>
                  </a:cubicBezTo>
                  <a:cubicBezTo>
                    <a:pt x="892" y="1455"/>
                    <a:pt x="884" y="1463"/>
                    <a:pt x="884" y="1478"/>
                  </a:cubicBezTo>
                  <a:cubicBezTo>
                    <a:pt x="884" y="1493"/>
                    <a:pt x="892" y="1507"/>
                    <a:pt x="877" y="1522"/>
                  </a:cubicBezTo>
                  <a:cubicBezTo>
                    <a:pt x="877" y="1530"/>
                    <a:pt x="855" y="1530"/>
                    <a:pt x="840" y="1537"/>
                  </a:cubicBezTo>
                  <a:cubicBezTo>
                    <a:pt x="832" y="1545"/>
                    <a:pt x="825" y="1567"/>
                    <a:pt x="825" y="1574"/>
                  </a:cubicBezTo>
                  <a:cubicBezTo>
                    <a:pt x="803" y="1574"/>
                    <a:pt x="788" y="1574"/>
                    <a:pt x="765" y="1574"/>
                  </a:cubicBezTo>
                  <a:cubicBezTo>
                    <a:pt x="758" y="1574"/>
                    <a:pt x="743" y="1574"/>
                    <a:pt x="736" y="1574"/>
                  </a:cubicBezTo>
                  <a:cubicBezTo>
                    <a:pt x="721" y="1582"/>
                    <a:pt x="713" y="1589"/>
                    <a:pt x="713" y="1589"/>
                  </a:cubicBezTo>
                  <a:cubicBezTo>
                    <a:pt x="698" y="1596"/>
                    <a:pt x="661" y="1596"/>
                    <a:pt x="654" y="1604"/>
                  </a:cubicBezTo>
                  <a:cubicBezTo>
                    <a:pt x="639" y="1619"/>
                    <a:pt x="647" y="1648"/>
                    <a:pt x="647" y="1663"/>
                  </a:cubicBezTo>
                  <a:cubicBezTo>
                    <a:pt x="647" y="1693"/>
                    <a:pt x="639" y="1700"/>
                    <a:pt x="632" y="1723"/>
                  </a:cubicBezTo>
                  <a:cubicBezTo>
                    <a:pt x="610" y="1760"/>
                    <a:pt x="617" y="1753"/>
                    <a:pt x="595" y="1753"/>
                  </a:cubicBezTo>
                  <a:cubicBezTo>
                    <a:pt x="565" y="1745"/>
                    <a:pt x="498" y="1730"/>
                    <a:pt x="476" y="1753"/>
                  </a:cubicBezTo>
                  <a:cubicBezTo>
                    <a:pt x="468" y="1760"/>
                    <a:pt x="468" y="1790"/>
                    <a:pt x="468" y="1804"/>
                  </a:cubicBezTo>
                  <a:cubicBezTo>
                    <a:pt x="461" y="1827"/>
                    <a:pt x="439" y="1886"/>
                    <a:pt x="461" y="1893"/>
                  </a:cubicBezTo>
                  <a:cubicBezTo>
                    <a:pt x="461" y="1931"/>
                    <a:pt x="461" y="1968"/>
                    <a:pt x="468" y="2005"/>
                  </a:cubicBezTo>
                  <a:cubicBezTo>
                    <a:pt x="476" y="2005"/>
                    <a:pt x="476" y="2012"/>
                    <a:pt x="483" y="2012"/>
                  </a:cubicBezTo>
                  <a:cubicBezTo>
                    <a:pt x="483" y="2079"/>
                    <a:pt x="483" y="2139"/>
                    <a:pt x="498" y="2205"/>
                  </a:cubicBezTo>
                  <a:cubicBezTo>
                    <a:pt x="513" y="2235"/>
                    <a:pt x="520" y="2265"/>
                    <a:pt x="520" y="2295"/>
                  </a:cubicBezTo>
                  <a:cubicBezTo>
                    <a:pt x="513" y="2309"/>
                    <a:pt x="505" y="2317"/>
                    <a:pt x="505" y="2332"/>
                  </a:cubicBezTo>
                  <a:cubicBezTo>
                    <a:pt x="505" y="2339"/>
                    <a:pt x="520" y="2339"/>
                    <a:pt x="520" y="2354"/>
                  </a:cubicBezTo>
                  <a:cubicBezTo>
                    <a:pt x="520" y="2361"/>
                    <a:pt x="520" y="2369"/>
                    <a:pt x="520" y="2376"/>
                  </a:cubicBezTo>
                  <a:cubicBezTo>
                    <a:pt x="520" y="2413"/>
                    <a:pt x="498" y="2443"/>
                    <a:pt x="498" y="2473"/>
                  </a:cubicBezTo>
                  <a:cubicBezTo>
                    <a:pt x="498" y="2480"/>
                    <a:pt x="505" y="2503"/>
                    <a:pt x="513" y="2510"/>
                  </a:cubicBezTo>
                  <a:cubicBezTo>
                    <a:pt x="513" y="2532"/>
                    <a:pt x="520" y="2555"/>
                    <a:pt x="520" y="2577"/>
                  </a:cubicBezTo>
                  <a:cubicBezTo>
                    <a:pt x="520" y="2592"/>
                    <a:pt x="520" y="2614"/>
                    <a:pt x="513" y="2629"/>
                  </a:cubicBezTo>
                  <a:cubicBezTo>
                    <a:pt x="513" y="2644"/>
                    <a:pt x="491" y="2658"/>
                    <a:pt x="491" y="2666"/>
                  </a:cubicBezTo>
                  <a:cubicBezTo>
                    <a:pt x="483" y="2688"/>
                    <a:pt x="498" y="2688"/>
                    <a:pt x="505" y="2703"/>
                  </a:cubicBezTo>
                  <a:cubicBezTo>
                    <a:pt x="505" y="2718"/>
                    <a:pt x="505" y="2740"/>
                    <a:pt x="505" y="2755"/>
                  </a:cubicBezTo>
                  <a:lnTo>
                    <a:pt x="513" y="2755"/>
                  </a:lnTo>
                  <a:cubicBezTo>
                    <a:pt x="513" y="2785"/>
                    <a:pt x="505" y="2807"/>
                    <a:pt x="505" y="2829"/>
                  </a:cubicBezTo>
                  <a:cubicBezTo>
                    <a:pt x="550" y="2829"/>
                    <a:pt x="595" y="2844"/>
                    <a:pt x="587" y="2896"/>
                  </a:cubicBezTo>
                  <a:cubicBezTo>
                    <a:pt x="632" y="2903"/>
                    <a:pt x="765" y="2903"/>
                    <a:pt x="780" y="2963"/>
                  </a:cubicBezTo>
                  <a:cubicBezTo>
                    <a:pt x="803" y="2970"/>
                    <a:pt x="803" y="3000"/>
                    <a:pt x="825" y="3007"/>
                  </a:cubicBezTo>
                  <a:cubicBezTo>
                    <a:pt x="840" y="3022"/>
                    <a:pt x="862" y="3007"/>
                    <a:pt x="877" y="3015"/>
                  </a:cubicBezTo>
                  <a:cubicBezTo>
                    <a:pt x="914" y="3037"/>
                    <a:pt x="884" y="3126"/>
                    <a:pt x="958" y="3111"/>
                  </a:cubicBezTo>
                  <a:cubicBezTo>
                    <a:pt x="958" y="3104"/>
                    <a:pt x="966" y="3097"/>
                    <a:pt x="966" y="3089"/>
                  </a:cubicBezTo>
                  <a:cubicBezTo>
                    <a:pt x="1018" y="3089"/>
                    <a:pt x="1048" y="3119"/>
                    <a:pt x="1100" y="3119"/>
                  </a:cubicBezTo>
                  <a:cubicBezTo>
                    <a:pt x="1100" y="3104"/>
                    <a:pt x="1100" y="3089"/>
                    <a:pt x="1100" y="3074"/>
                  </a:cubicBezTo>
                  <a:cubicBezTo>
                    <a:pt x="1115" y="3067"/>
                    <a:pt x="1129" y="3060"/>
                    <a:pt x="1152" y="3060"/>
                  </a:cubicBezTo>
                  <a:cubicBezTo>
                    <a:pt x="1152" y="3097"/>
                    <a:pt x="1122" y="3126"/>
                    <a:pt x="1129" y="3163"/>
                  </a:cubicBezTo>
                  <a:cubicBezTo>
                    <a:pt x="1137" y="3163"/>
                    <a:pt x="1137" y="3163"/>
                    <a:pt x="1137" y="3163"/>
                  </a:cubicBezTo>
                  <a:cubicBezTo>
                    <a:pt x="1137" y="3186"/>
                    <a:pt x="1144" y="3200"/>
                    <a:pt x="1129" y="3230"/>
                  </a:cubicBezTo>
                  <a:cubicBezTo>
                    <a:pt x="1129" y="3238"/>
                    <a:pt x="1085" y="3260"/>
                    <a:pt x="1122" y="3275"/>
                  </a:cubicBezTo>
                  <a:cubicBezTo>
                    <a:pt x="1122" y="3290"/>
                    <a:pt x="1122" y="3312"/>
                    <a:pt x="1129" y="3319"/>
                  </a:cubicBezTo>
                  <a:cubicBezTo>
                    <a:pt x="1152" y="3290"/>
                    <a:pt x="1226" y="3297"/>
                    <a:pt x="1263" y="3305"/>
                  </a:cubicBezTo>
                  <a:cubicBezTo>
                    <a:pt x="1263" y="3319"/>
                    <a:pt x="1270" y="3334"/>
                    <a:pt x="1278" y="3349"/>
                  </a:cubicBezTo>
                  <a:cubicBezTo>
                    <a:pt x="1285" y="3349"/>
                    <a:pt x="1293" y="3349"/>
                    <a:pt x="1293" y="3349"/>
                  </a:cubicBezTo>
                  <a:lnTo>
                    <a:pt x="1293" y="3357"/>
                  </a:lnTo>
                  <a:cubicBezTo>
                    <a:pt x="1307" y="3357"/>
                    <a:pt x="1322" y="3357"/>
                    <a:pt x="1330" y="3357"/>
                  </a:cubicBezTo>
                  <a:cubicBezTo>
                    <a:pt x="1330" y="3342"/>
                    <a:pt x="1337" y="3334"/>
                    <a:pt x="1352" y="3334"/>
                  </a:cubicBezTo>
                  <a:cubicBezTo>
                    <a:pt x="1352" y="3334"/>
                    <a:pt x="1352" y="3334"/>
                    <a:pt x="1352" y="3327"/>
                  </a:cubicBezTo>
                  <a:cubicBezTo>
                    <a:pt x="1367" y="3327"/>
                    <a:pt x="1382" y="3327"/>
                    <a:pt x="1389" y="3327"/>
                  </a:cubicBezTo>
                  <a:cubicBezTo>
                    <a:pt x="1397" y="3357"/>
                    <a:pt x="1419" y="3364"/>
                    <a:pt x="1412" y="3386"/>
                  </a:cubicBezTo>
                  <a:cubicBezTo>
                    <a:pt x="1434" y="3386"/>
                    <a:pt x="1456" y="3386"/>
                    <a:pt x="1471" y="3386"/>
                  </a:cubicBezTo>
                  <a:cubicBezTo>
                    <a:pt x="1493" y="3394"/>
                    <a:pt x="1538" y="3438"/>
                    <a:pt x="1545" y="3460"/>
                  </a:cubicBezTo>
                  <a:cubicBezTo>
                    <a:pt x="1545" y="3468"/>
                    <a:pt x="1545" y="3483"/>
                    <a:pt x="1538" y="3497"/>
                  </a:cubicBezTo>
                  <a:lnTo>
                    <a:pt x="1545" y="3497"/>
                  </a:lnTo>
                  <a:cubicBezTo>
                    <a:pt x="1575" y="3512"/>
                    <a:pt x="1590" y="3520"/>
                    <a:pt x="1619" y="352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7" name="Freeform 34">
              <a:extLst>
                <a:ext uri="{FF2B5EF4-FFF2-40B4-BE49-F238E27FC236}">
                  <a16:creationId xmlns:a16="http://schemas.microsoft.com/office/drawing/2014/main" id="{4A27ADE3-A85E-B444-AF1D-4E250EB1680D}"/>
                </a:ext>
              </a:extLst>
            </p:cNvPr>
            <p:cNvSpPr>
              <a:spLocks noChangeArrowheads="1"/>
            </p:cNvSpPr>
            <p:nvPr/>
          </p:nvSpPr>
          <p:spPr bwMode="auto">
            <a:xfrm>
              <a:off x="15061663" y="6998675"/>
              <a:ext cx="3813" cy="1904"/>
            </a:xfrm>
            <a:custGeom>
              <a:avLst/>
              <a:gdLst>
                <a:gd name="T0" fmla="*/ 0 w 8"/>
                <a:gd name="T1" fmla="*/ 0 h 1"/>
                <a:gd name="T2" fmla="*/ 0 w 8"/>
                <a:gd name="T3" fmla="*/ 0 h 1"/>
                <a:gd name="T4" fmla="*/ 7 w 8"/>
                <a:gd name="T5" fmla="*/ 0 h 1"/>
                <a:gd name="T6" fmla="*/ 7 w 8"/>
                <a:gd name="T7" fmla="*/ 0 h 1"/>
                <a:gd name="T8" fmla="*/ 0 w 8"/>
                <a:gd name="T9" fmla="*/ 0 h 1"/>
              </a:gdLst>
              <a:ahLst/>
              <a:cxnLst>
                <a:cxn ang="0">
                  <a:pos x="T0" y="T1"/>
                </a:cxn>
                <a:cxn ang="0">
                  <a:pos x="T2" y="T3"/>
                </a:cxn>
                <a:cxn ang="0">
                  <a:pos x="T4" y="T5"/>
                </a:cxn>
                <a:cxn ang="0">
                  <a:pos x="T6" y="T7"/>
                </a:cxn>
                <a:cxn ang="0">
                  <a:pos x="T8" y="T9"/>
                </a:cxn>
              </a:cxnLst>
              <a:rect l="0" t="0" r="r" b="b"/>
              <a:pathLst>
                <a:path w="8" h="1">
                  <a:moveTo>
                    <a:pt x="0" y="0"/>
                  </a:moveTo>
                  <a:lnTo>
                    <a:pt x="0" y="0"/>
                  </a:lnTo>
                  <a:cubicBezTo>
                    <a:pt x="0" y="0"/>
                    <a:pt x="0" y="0"/>
                    <a:pt x="7" y="0"/>
                  </a:cubicBezTo>
                  <a:lnTo>
                    <a:pt x="7" y="0"/>
                  </a:lnTo>
                  <a:lnTo>
                    <a:pt x="0" y="0"/>
                  </a:ln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8" name="Freeform 35">
              <a:extLst>
                <a:ext uri="{FF2B5EF4-FFF2-40B4-BE49-F238E27FC236}">
                  <a16:creationId xmlns:a16="http://schemas.microsoft.com/office/drawing/2014/main" id="{22EFF56C-E811-1840-9577-6F26A02302A3}"/>
                </a:ext>
              </a:extLst>
            </p:cNvPr>
            <p:cNvSpPr>
              <a:spLocks noChangeArrowheads="1"/>
            </p:cNvSpPr>
            <p:nvPr/>
          </p:nvSpPr>
          <p:spPr bwMode="auto">
            <a:xfrm>
              <a:off x="14316272" y="5804178"/>
              <a:ext cx="1791984" cy="1276416"/>
            </a:xfrm>
            <a:custGeom>
              <a:avLst/>
              <a:gdLst>
                <a:gd name="T0" fmla="*/ 1819 w 4145"/>
                <a:gd name="T1" fmla="*/ 2852 h 2956"/>
                <a:gd name="T2" fmla="*/ 1961 w 4145"/>
                <a:gd name="T3" fmla="*/ 2926 h 2956"/>
                <a:gd name="T4" fmla="*/ 2064 w 4145"/>
                <a:gd name="T5" fmla="*/ 2785 h 2956"/>
                <a:gd name="T6" fmla="*/ 2287 w 4145"/>
                <a:gd name="T7" fmla="*/ 2740 h 2956"/>
                <a:gd name="T8" fmla="*/ 2310 w 4145"/>
                <a:gd name="T9" fmla="*/ 2658 h 2956"/>
                <a:gd name="T10" fmla="*/ 2421 w 4145"/>
                <a:gd name="T11" fmla="*/ 2347 h 2956"/>
                <a:gd name="T12" fmla="*/ 2480 w 4145"/>
                <a:gd name="T13" fmla="*/ 2146 h 2956"/>
                <a:gd name="T14" fmla="*/ 2495 w 4145"/>
                <a:gd name="T15" fmla="*/ 2072 h 2956"/>
                <a:gd name="T16" fmla="*/ 2480 w 4145"/>
                <a:gd name="T17" fmla="*/ 1901 h 2956"/>
                <a:gd name="T18" fmla="*/ 2584 w 4145"/>
                <a:gd name="T19" fmla="*/ 1738 h 2956"/>
                <a:gd name="T20" fmla="*/ 2748 w 4145"/>
                <a:gd name="T21" fmla="*/ 1641 h 2956"/>
                <a:gd name="T22" fmla="*/ 2874 w 4145"/>
                <a:gd name="T23" fmla="*/ 1426 h 2956"/>
                <a:gd name="T24" fmla="*/ 3074 w 4145"/>
                <a:gd name="T25" fmla="*/ 1144 h 2956"/>
                <a:gd name="T26" fmla="*/ 3156 w 4145"/>
                <a:gd name="T27" fmla="*/ 1151 h 2956"/>
                <a:gd name="T28" fmla="*/ 3438 w 4145"/>
                <a:gd name="T29" fmla="*/ 884 h 2956"/>
                <a:gd name="T30" fmla="*/ 3572 w 4145"/>
                <a:gd name="T31" fmla="*/ 787 h 2956"/>
                <a:gd name="T32" fmla="*/ 3720 w 4145"/>
                <a:gd name="T33" fmla="*/ 706 h 2956"/>
                <a:gd name="T34" fmla="*/ 3802 w 4145"/>
                <a:gd name="T35" fmla="*/ 579 h 2956"/>
                <a:gd name="T36" fmla="*/ 4040 w 4145"/>
                <a:gd name="T37" fmla="*/ 527 h 2956"/>
                <a:gd name="T38" fmla="*/ 4055 w 4145"/>
                <a:gd name="T39" fmla="*/ 423 h 2956"/>
                <a:gd name="T40" fmla="*/ 3988 w 4145"/>
                <a:gd name="T41" fmla="*/ 119 h 2956"/>
                <a:gd name="T42" fmla="*/ 3965 w 4145"/>
                <a:gd name="T43" fmla="*/ 22 h 2956"/>
                <a:gd name="T44" fmla="*/ 3765 w 4145"/>
                <a:gd name="T45" fmla="*/ 97 h 2956"/>
                <a:gd name="T46" fmla="*/ 3617 w 4145"/>
                <a:gd name="T47" fmla="*/ 134 h 2956"/>
                <a:gd name="T48" fmla="*/ 3520 w 4145"/>
                <a:gd name="T49" fmla="*/ 193 h 2956"/>
                <a:gd name="T50" fmla="*/ 3394 w 4145"/>
                <a:gd name="T51" fmla="*/ 238 h 2956"/>
                <a:gd name="T52" fmla="*/ 3342 w 4145"/>
                <a:gd name="T53" fmla="*/ 267 h 2956"/>
                <a:gd name="T54" fmla="*/ 3149 w 4145"/>
                <a:gd name="T55" fmla="*/ 364 h 2956"/>
                <a:gd name="T56" fmla="*/ 2948 w 4145"/>
                <a:gd name="T57" fmla="*/ 357 h 2956"/>
                <a:gd name="T58" fmla="*/ 2963 w 4145"/>
                <a:gd name="T59" fmla="*/ 483 h 2956"/>
                <a:gd name="T60" fmla="*/ 2844 w 4145"/>
                <a:gd name="T61" fmla="*/ 602 h 2956"/>
                <a:gd name="T62" fmla="*/ 2748 w 4145"/>
                <a:gd name="T63" fmla="*/ 780 h 2956"/>
                <a:gd name="T64" fmla="*/ 2569 w 4145"/>
                <a:gd name="T65" fmla="*/ 869 h 2956"/>
                <a:gd name="T66" fmla="*/ 2354 w 4145"/>
                <a:gd name="T67" fmla="*/ 914 h 2956"/>
                <a:gd name="T68" fmla="*/ 2020 w 4145"/>
                <a:gd name="T69" fmla="*/ 869 h 2956"/>
                <a:gd name="T70" fmla="*/ 1842 w 4145"/>
                <a:gd name="T71" fmla="*/ 951 h 2956"/>
                <a:gd name="T72" fmla="*/ 1648 w 4145"/>
                <a:gd name="T73" fmla="*/ 995 h 2956"/>
                <a:gd name="T74" fmla="*/ 1515 w 4145"/>
                <a:gd name="T75" fmla="*/ 995 h 2956"/>
                <a:gd name="T76" fmla="*/ 1337 w 4145"/>
                <a:gd name="T77" fmla="*/ 1040 h 2956"/>
                <a:gd name="T78" fmla="*/ 1188 w 4145"/>
                <a:gd name="T79" fmla="*/ 1025 h 2956"/>
                <a:gd name="T80" fmla="*/ 906 w 4145"/>
                <a:gd name="T81" fmla="*/ 1084 h 2956"/>
                <a:gd name="T82" fmla="*/ 549 w 4145"/>
                <a:gd name="T83" fmla="*/ 980 h 2956"/>
                <a:gd name="T84" fmla="*/ 223 w 4145"/>
                <a:gd name="T85" fmla="*/ 1099 h 2956"/>
                <a:gd name="T86" fmla="*/ 156 w 4145"/>
                <a:gd name="T87" fmla="*/ 1359 h 2956"/>
                <a:gd name="T88" fmla="*/ 0 w 4145"/>
                <a:gd name="T89" fmla="*/ 1545 h 2956"/>
                <a:gd name="T90" fmla="*/ 126 w 4145"/>
                <a:gd name="T91" fmla="*/ 1775 h 2956"/>
                <a:gd name="T92" fmla="*/ 193 w 4145"/>
                <a:gd name="T93" fmla="*/ 1886 h 2956"/>
                <a:gd name="T94" fmla="*/ 267 w 4145"/>
                <a:gd name="T95" fmla="*/ 1760 h 2956"/>
                <a:gd name="T96" fmla="*/ 631 w 4145"/>
                <a:gd name="T97" fmla="*/ 1730 h 2956"/>
                <a:gd name="T98" fmla="*/ 951 w 4145"/>
                <a:gd name="T99" fmla="*/ 1767 h 2956"/>
                <a:gd name="T100" fmla="*/ 1069 w 4145"/>
                <a:gd name="T101" fmla="*/ 1856 h 2956"/>
                <a:gd name="T102" fmla="*/ 1262 w 4145"/>
                <a:gd name="T103" fmla="*/ 1782 h 2956"/>
                <a:gd name="T104" fmla="*/ 1418 w 4145"/>
                <a:gd name="T105" fmla="*/ 1745 h 2956"/>
                <a:gd name="T106" fmla="*/ 1686 w 4145"/>
                <a:gd name="T107" fmla="*/ 1619 h 2956"/>
                <a:gd name="T108" fmla="*/ 1730 w 4145"/>
                <a:gd name="T109" fmla="*/ 1767 h 2956"/>
                <a:gd name="T110" fmla="*/ 1968 w 4145"/>
                <a:gd name="T111" fmla="*/ 1886 h 2956"/>
                <a:gd name="T112" fmla="*/ 2131 w 4145"/>
                <a:gd name="T113" fmla="*/ 2168 h 2956"/>
                <a:gd name="T114" fmla="*/ 1931 w 4145"/>
                <a:gd name="T115" fmla="*/ 2369 h 2956"/>
                <a:gd name="T116" fmla="*/ 1856 w 4145"/>
                <a:gd name="T117" fmla="*/ 2495 h 2956"/>
                <a:gd name="T118" fmla="*/ 1753 w 4145"/>
                <a:gd name="T119" fmla="*/ 2725 h 2956"/>
                <a:gd name="T120" fmla="*/ 1753 w 4145"/>
                <a:gd name="T121" fmla="*/ 2881 h 2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5" h="2956">
                  <a:moveTo>
                    <a:pt x="1753" y="2881"/>
                  </a:moveTo>
                  <a:lnTo>
                    <a:pt x="1753" y="2881"/>
                  </a:lnTo>
                  <a:cubicBezTo>
                    <a:pt x="1753" y="2881"/>
                    <a:pt x="1782" y="2881"/>
                    <a:pt x="1812" y="2874"/>
                  </a:cubicBezTo>
                  <a:cubicBezTo>
                    <a:pt x="1812" y="2866"/>
                    <a:pt x="1812" y="2859"/>
                    <a:pt x="1819" y="2852"/>
                  </a:cubicBezTo>
                  <a:cubicBezTo>
                    <a:pt x="1812" y="2859"/>
                    <a:pt x="1812" y="2866"/>
                    <a:pt x="1812" y="2874"/>
                  </a:cubicBezTo>
                  <a:cubicBezTo>
                    <a:pt x="1849" y="2874"/>
                    <a:pt x="1886" y="2866"/>
                    <a:pt x="1894" y="2866"/>
                  </a:cubicBezTo>
                  <a:cubicBezTo>
                    <a:pt x="1894" y="2896"/>
                    <a:pt x="1894" y="2918"/>
                    <a:pt x="1894" y="2948"/>
                  </a:cubicBezTo>
                  <a:cubicBezTo>
                    <a:pt x="1916" y="2955"/>
                    <a:pt x="1946" y="2941"/>
                    <a:pt x="1961" y="2926"/>
                  </a:cubicBezTo>
                  <a:cubicBezTo>
                    <a:pt x="1983" y="2904"/>
                    <a:pt x="1983" y="2889"/>
                    <a:pt x="1983" y="2859"/>
                  </a:cubicBezTo>
                  <a:cubicBezTo>
                    <a:pt x="1998" y="2859"/>
                    <a:pt x="2013" y="2859"/>
                    <a:pt x="2020" y="2859"/>
                  </a:cubicBezTo>
                  <a:cubicBezTo>
                    <a:pt x="2020" y="2844"/>
                    <a:pt x="2020" y="2822"/>
                    <a:pt x="2027" y="2814"/>
                  </a:cubicBezTo>
                  <a:cubicBezTo>
                    <a:pt x="2035" y="2792"/>
                    <a:pt x="2050" y="2792"/>
                    <a:pt x="2064" y="2785"/>
                  </a:cubicBezTo>
                  <a:cubicBezTo>
                    <a:pt x="2087" y="2763"/>
                    <a:pt x="2087" y="2710"/>
                    <a:pt x="2087" y="2681"/>
                  </a:cubicBezTo>
                  <a:cubicBezTo>
                    <a:pt x="2102" y="2710"/>
                    <a:pt x="2146" y="2733"/>
                    <a:pt x="2153" y="2763"/>
                  </a:cubicBezTo>
                  <a:cubicBezTo>
                    <a:pt x="2183" y="2770"/>
                    <a:pt x="2198" y="2740"/>
                    <a:pt x="2220" y="2733"/>
                  </a:cubicBezTo>
                  <a:cubicBezTo>
                    <a:pt x="2243" y="2733"/>
                    <a:pt x="2265" y="2748"/>
                    <a:pt x="2287" y="2740"/>
                  </a:cubicBezTo>
                  <a:cubicBezTo>
                    <a:pt x="2272" y="2710"/>
                    <a:pt x="2258" y="2688"/>
                    <a:pt x="2250" y="2666"/>
                  </a:cubicBezTo>
                  <a:cubicBezTo>
                    <a:pt x="2258" y="2688"/>
                    <a:pt x="2272" y="2710"/>
                    <a:pt x="2287" y="2740"/>
                  </a:cubicBezTo>
                  <a:cubicBezTo>
                    <a:pt x="2287" y="2740"/>
                    <a:pt x="2287" y="2740"/>
                    <a:pt x="2295" y="2733"/>
                  </a:cubicBezTo>
                  <a:cubicBezTo>
                    <a:pt x="2295" y="2703"/>
                    <a:pt x="2295" y="2688"/>
                    <a:pt x="2310" y="2658"/>
                  </a:cubicBezTo>
                  <a:cubicBezTo>
                    <a:pt x="2324" y="2636"/>
                    <a:pt x="2324" y="2614"/>
                    <a:pt x="2324" y="2584"/>
                  </a:cubicBezTo>
                  <a:cubicBezTo>
                    <a:pt x="2332" y="2532"/>
                    <a:pt x="2332" y="2480"/>
                    <a:pt x="2339" y="2428"/>
                  </a:cubicBezTo>
                  <a:cubicBezTo>
                    <a:pt x="2361" y="2428"/>
                    <a:pt x="2384" y="2428"/>
                    <a:pt x="2406" y="2428"/>
                  </a:cubicBezTo>
                  <a:cubicBezTo>
                    <a:pt x="2421" y="2406"/>
                    <a:pt x="2413" y="2376"/>
                    <a:pt x="2421" y="2347"/>
                  </a:cubicBezTo>
                  <a:cubicBezTo>
                    <a:pt x="2428" y="2317"/>
                    <a:pt x="2443" y="2295"/>
                    <a:pt x="2421" y="2265"/>
                  </a:cubicBezTo>
                  <a:cubicBezTo>
                    <a:pt x="2436" y="2258"/>
                    <a:pt x="2443" y="2258"/>
                    <a:pt x="2458" y="2258"/>
                  </a:cubicBezTo>
                  <a:cubicBezTo>
                    <a:pt x="2465" y="2243"/>
                    <a:pt x="2473" y="2228"/>
                    <a:pt x="2473" y="2206"/>
                  </a:cubicBezTo>
                  <a:cubicBezTo>
                    <a:pt x="2480" y="2191"/>
                    <a:pt x="2473" y="2161"/>
                    <a:pt x="2480" y="2146"/>
                  </a:cubicBezTo>
                  <a:cubicBezTo>
                    <a:pt x="2488" y="2139"/>
                    <a:pt x="2510" y="2116"/>
                    <a:pt x="2518" y="2109"/>
                  </a:cubicBezTo>
                  <a:cubicBezTo>
                    <a:pt x="2532" y="2094"/>
                    <a:pt x="2540" y="2079"/>
                    <a:pt x="2569" y="2079"/>
                  </a:cubicBezTo>
                  <a:cubicBezTo>
                    <a:pt x="2562" y="2079"/>
                    <a:pt x="2562" y="2072"/>
                    <a:pt x="2562" y="2072"/>
                  </a:cubicBezTo>
                  <a:cubicBezTo>
                    <a:pt x="2532" y="2072"/>
                    <a:pt x="2503" y="2072"/>
                    <a:pt x="2495" y="2072"/>
                  </a:cubicBezTo>
                  <a:cubicBezTo>
                    <a:pt x="2503" y="2072"/>
                    <a:pt x="2532" y="2072"/>
                    <a:pt x="2562" y="2072"/>
                  </a:cubicBezTo>
                  <a:cubicBezTo>
                    <a:pt x="2555" y="2050"/>
                    <a:pt x="2555" y="2020"/>
                    <a:pt x="2555" y="1990"/>
                  </a:cubicBezTo>
                  <a:cubicBezTo>
                    <a:pt x="2562" y="1923"/>
                    <a:pt x="2540" y="1961"/>
                    <a:pt x="2503" y="1938"/>
                  </a:cubicBezTo>
                  <a:cubicBezTo>
                    <a:pt x="2495" y="1931"/>
                    <a:pt x="2480" y="1908"/>
                    <a:pt x="2480" y="1901"/>
                  </a:cubicBezTo>
                  <a:cubicBezTo>
                    <a:pt x="2473" y="1886"/>
                    <a:pt x="2458" y="1901"/>
                    <a:pt x="2473" y="1879"/>
                  </a:cubicBezTo>
                  <a:cubicBezTo>
                    <a:pt x="2480" y="1856"/>
                    <a:pt x="2525" y="1842"/>
                    <a:pt x="2547" y="1834"/>
                  </a:cubicBezTo>
                  <a:cubicBezTo>
                    <a:pt x="2547" y="1805"/>
                    <a:pt x="2569" y="1812"/>
                    <a:pt x="2577" y="1797"/>
                  </a:cubicBezTo>
                  <a:cubicBezTo>
                    <a:pt x="2584" y="1775"/>
                    <a:pt x="2569" y="1760"/>
                    <a:pt x="2584" y="1738"/>
                  </a:cubicBezTo>
                  <a:cubicBezTo>
                    <a:pt x="2614" y="1701"/>
                    <a:pt x="2673" y="1701"/>
                    <a:pt x="2688" y="1663"/>
                  </a:cubicBezTo>
                  <a:cubicBezTo>
                    <a:pt x="2666" y="1649"/>
                    <a:pt x="2666" y="1634"/>
                    <a:pt x="2666" y="1611"/>
                  </a:cubicBezTo>
                  <a:cubicBezTo>
                    <a:pt x="2696" y="1604"/>
                    <a:pt x="2718" y="1604"/>
                    <a:pt x="2748" y="1589"/>
                  </a:cubicBezTo>
                  <a:cubicBezTo>
                    <a:pt x="2725" y="1597"/>
                    <a:pt x="2740" y="1626"/>
                    <a:pt x="2748" y="1641"/>
                  </a:cubicBezTo>
                  <a:cubicBezTo>
                    <a:pt x="2763" y="1671"/>
                    <a:pt x="2777" y="1671"/>
                    <a:pt x="2800" y="1671"/>
                  </a:cubicBezTo>
                  <a:cubicBezTo>
                    <a:pt x="2859" y="1663"/>
                    <a:pt x="2881" y="1611"/>
                    <a:pt x="2866" y="1559"/>
                  </a:cubicBezTo>
                  <a:cubicBezTo>
                    <a:pt x="2852" y="1522"/>
                    <a:pt x="2859" y="1522"/>
                    <a:pt x="2881" y="1500"/>
                  </a:cubicBezTo>
                  <a:cubicBezTo>
                    <a:pt x="2918" y="1456"/>
                    <a:pt x="2889" y="1463"/>
                    <a:pt x="2874" y="1426"/>
                  </a:cubicBezTo>
                  <a:cubicBezTo>
                    <a:pt x="2874" y="1433"/>
                    <a:pt x="2941" y="1322"/>
                    <a:pt x="2941" y="1314"/>
                  </a:cubicBezTo>
                  <a:cubicBezTo>
                    <a:pt x="2955" y="1300"/>
                    <a:pt x="2978" y="1300"/>
                    <a:pt x="2993" y="1277"/>
                  </a:cubicBezTo>
                  <a:cubicBezTo>
                    <a:pt x="3015" y="1240"/>
                    <a:pt x="3000" y="1188"/>
                    <a:pt x="3030" y="1151"/>
                  </a:cubicBezTo>
                  <a:cubicBezTo>
                    <a:pt x="3037" y="1144"/>
                    <a:pt x="3060" y="1144"/>
                    <a:pt x="3074" y="1144"/>
                  </a:cubicBezTo>
                  <a:cubicBezTo>
                    <a:pt x="3074" y="1159"/>
                    <a:pt x="3067" y="1181"/>
                    <a:pt x="3074" y="1196"/>
                  </a:cubicBezTo>
                  <a:cubicBezTo>
                    <a:pt x="3074" y="1211"/>
                    <a:pt x="3082" y="1211"/>
                    <a:pt x="3097" y="1211"/>
                  </a:cubicBezTo>
                  <a:cubicBezTo>
                    <a:pt x="3104" y="1203"/>
                    <a:pt x="3104" y="1203"/>
                    <a:pt x="3112" y="1196"/>
                  </a:cubicBezTo>
                  <a:cubicBezTo>
                    <a:pt x="3126" y="1181"/>
                    <a:pt x="3149" y="1166"/>
                    <a:pt x="3156" y="1151"/>
                  </a:cubicBezTo>
                  <a:cubicBezTo>
                    <a:pt x="3156" y="1129"/>
                    <a:pt x="3156" y="1114"/>
                    <a:pt x="3163" y="1092"/>
                  </a:cubicBezTo>
                  <a:cubicBezTo>
                    <a:pt x="3193" y="1017"/>
                    <a:pt x="3282" y="1003"/>
                    <a:pt x="3349" y="965"/>
                  </a:cubicBezTo>
                  <a:cubicBezTo>
                    <a:pt x="3364" y="958"/>
                    <a:pt x="3386" y="943"/>
                    <a:pt x="3394" y="928"/>
                  </a:cubicBezTo>
                  <a:cubicBezTo>
                    <a:pt x="3401" y="914"/>
                    <a:pt x="3416" y="884"/>
                    <a:pt x="3438" y="884"/>
                  </a:cubicBezTo>
                  <a:cubicBezTo>
                    <a:pt x="3438" y="861"/>
                    <a:pt x="3438" y="847"/>
                    <a:pt x="3446" y="832"/>
                  </a:cubicBezTo>
                  <a:cubicBezTo>
                    <a:pt x="3460" y="824"/>
                    <a:pt x="3490" y="824"/>
                    <a:pt x="3505" y="817"/>
                  </a:cubicBezTo>
                  <a:cubicBezTo>
                    <a:pt x="3520" y="817"/>
                    <a:pt x="3535" y="817"/>
                    <a:pt x="3542" y="817"/>
                  </a:cubicBezTo>
                  <a:cubicBezTo>
                    <a:pt x="3557" y="809"/>
                    <a:pt x="3565" y="795"/>
                    <a:pt x="3572" y="787"/>
                  </a:cubicBezTo>
                  <a:cubicBezTo>
                    <a:pt x="3587" y="772"/>
                    <a:pt x="3602" y="765"/>
                    <a:pt x="3617" y="750"/>
                  </a:cubicBezTo>
                  <a:cubicBezTo>
                    <a:pt x="3624" y="743"/>
                    <a:pt x="3624" y="735"/>
                    <a:pt x="3639" y="728"/>
                  </a:cubicBezTo>
                  <a:cubicBezTo>
                    <a:pt x="3654" y="720"/>
                    <a:pt x="3676" y="728"/>
                    <a:pt x="3691" y="728"/>
                  </a:cubicBezTo>
                  <a:cubicBezTo>
                    <a:pt x="3691" y="720"/>
                    <a:pt x="3706" y="713"/>
                    <a:pt x="3720" y="706"/>
                  </a:cubicBezTo>
                  <a:cubicBezTo>
                    <a:pt x="3713" y="706"/>
                    <a:pt x="3706" y="706"/>
                    <a:pt x="3706" y="698"/>
                  </a:cubicBezTo>
                  <a:cubicBezTo>
                    <a:pt x="3720" y="698"/>
                    <a:pt x="3743" y="668"/>
                    <a:pt x="3750" y="661"/>
                  </a:cubicBezTo>
                  <a:cubicBezTo>
                    <a:pt x="3765" y="654"/>
                    <a:pt x="3795" y="646"/>
                    <a:pt x="3802" y="631"/>
                  </a:cubicBezTo>
                  <a:cubicBezTo>
                    <a:pt x="3802" y="624"/>
                    <a:pt x="3802" y="594"/>
                    <a:pt x="3802" y="579"/>
                  </a:cubicBezTo>
                  <a:cubicBezTo>
                    <a:pt x="3810" y="549"/>
                    <a:pt x="3824" y="549"/>
                    <a:pt x="3854" y="542"/>
                  </a:cubicBezTo>
                  <a:cubicBezTo>
                    <a:pt x="3862" y="564"/>
                    <a:pt x="3928" y="564"/>
                    <a:pt x="3951" y="557"/>
                  </a:cubicBezTo>
                  <a:cubicBezTo>
                    <a:pt x="3958" y="557"/>
                    <a:pt x="3973" y="549"/>
                    <a:pt x="3988" y="542"/>
                  </a:cubicBezTo>
                  <a:cubicBezTo>
                    <a:pt x="4003" y="535"/>
                    <a:pt x="4032" y="535"/>
                    <a:pt x="4040" y="527"/>
                  </a:cubicBezTo>
                  <a:cubicBezTo>
                    <a:pt x="4084" y="527"/>
                    <a:pt x="4129" y="498"/>
                    <a:pt x="4136" y="453"/>
                  </a:cubicBezTo>
                  <a:cubicBezTo>
                    <a:pt x="4136" y="438"/>
                    <a:pt x="4144" y="386"/>
                    <a:pt x="4122" y="394"/>
                  </a:cubicBezTo>
                  <a:cubicBezTo>
                    <a:pt x="4107" y="394"/>
                    <a:pt x="4107" y="409"/>
                    <a:pt x="4099" y="416"/>
                  </a:cubicBezTo>
                  <a:cubicBezTo>
                    <a:pt x="4084" y="423"/>
                    <a:pt x="4069" y="423"/>
                    <a:pt x="4055" y="423"/>
                  </a:cubicBezTo>
                  <a:cubicBezTo>
                    <a:pt x="4055" y="401"/>
                    <a:pt x="4047" y="386"/>
                    <a:pt x="4040" y="371"/>
                  </a:cubicBezTo>
                  <a:cubicBezTo>
                    <a:pt x="4032" y="349"/>
                    <a:pt x="4032" y="334"/>
                    <a:pt x="4032" y="312"/>
                  </a:cubicBezTo>
                  <a:cubicBezTo>
                    <a:pt x="3980" y="290"/>
                    <a:pt x="3980" y="245"/>
                    <a:pt x="3980" y="193"/>
                  </a:cubicBezTo>
                  <a:cubicBezTo>
                    <a:pt x="3980" y="171"/>
                    <a:pt x="3980" y="134"/>
                    <a:pt x="3988" y="119"/>
                  </a:cubicBezTo>
                  <a:cubicBezTo>
                    <a:pt x="3995" y="112"/>
                    <a:pt x="4010" y="112"/>
                    <a:pt x="4017" y="104"/>
                  </a:cubicBezTo>
                  <a:cubicBezTo>
                    <a:pt x="4032" y="97"/>
                    <a:pt x="4040" y="89"/>
                    <a:pt x="4047" y="74"/>
                  </a:cubicBezTo>
                  <a:cubicBezTo>
                    <a:pt x="4055" y="59"/>
                    <a:pt x="4077" y="44"/>
                    <a:pt x="4069" y="30"/>
                  </a:cubicBezTo>
                  <a:cubicBezTo>
                    <a:pt x="4055" y="0"/>
                    <a:pt x="3988" y="15"/>
                    <a:pt x="3965" y="22"/>
                  </a:cubicBezTo>
                  <a:cubicBezTo>
                    <a:pt x="3943" y="22"/>
                    <a:pt x="3928" y="30"/>
                    <a:pt x="3906" y="30"/>
                  </a:cubicBezTo>
                  <a:cubicBezTo>
                    <a:pt x="3884" y="30"/>
                    <a:pt x="3869" y="30"/>
                    <a:pt x="3854" y="44"/>
                  </a:cubicBezTo>
                  <a:cubicBezTo>
                    <a:pt x="3832" y="67"/>
                    <a:pt x="3832" y="67"/>
                    <a:pt x="3810" y="67"/>
                  </a:cubicBezTo>
                  <a:cubicBezTo>
                    <a:pt x="3787" y="74"/>
                    <a:pt x="3780" y="82"/>
                    <a:pt x="3765" y="97"/>
                  </a:cubicBezTo>
                  <a:cubicBezTo>
                    <a:pt x="3750" y="104"/>
                    <a:pt x="3720" y="104"/>
                    <a:pt x="3706" y="112"/>
                  </a:cubicBezTo>
                  <a:cubicBezTo>
                    <a:pt x="3691" y="112"/>
                    <a:pt x="3668" y="112"/>
                    <a:pt x="3654" y="119"/>
                  </a:cubicBezTo>
                  <a:cubicBezTo>
                    <a:pt x="3646" y="119"/>
                    <a:pt x="3646" y="134"/>
                    <a:pt x="3639" y="134"/>
                  </a:cubicBezTo>
                  <a:cubicBezTo>
                    <a:pt x="3631" y="141"/>
                    <a:pt x="3624" y="134"/>
                    <a:pt x="3617" y="134"/>
                  </a:cubicBezTo>
                  <a:cubicBezTo>
                    <a:pt x="3602" y="141"/>
                    <a:pt x="3602" y="149"/>
                    <a:pt x="3594" y="156"/>
                  </a:cubicBezTo>
                  <a:cubicBezTo>
                    <a:pt x="3587" y="163"/>
                    <a:pt x="3579" y="163"/>
                    <a:pt x="3572" y="171"/>
                  </a:cubicBezTo>
                  <a:cubicBezTo>
                    <a:pt x="3565" y="171"/>
                    <a:pt x="3550" y="171"/>
                    <a:pt x="3542" y="178"/>
                  </a:cubicBezTo>
                  <a:cubicBezTo>
                    <a:pt x="3535" y="178"/>
                    <a:pt x="3527" y="186"/>
                    <a:pt x="3520" y="193"/>
                  </a:cubicBezTo>
                  <a:cubicBezTo>
                    <a:pt x="3498" y="201"/>
                    <a:pt x="3483" y="193"/>
                    <a:pt x="3468" y="208"/>
                  </a:cubicBezTo>
                  <a:cubicBezTo>
                    <a:pt x="3453" y="215"/>
                    <a:pt x="3453" y="215"/>
                    <a:pt x="3446" y="215"/>
                  </a:cubicBezTo>
                  <a:cubicBezTo>
                    <a:pt x="3431" y="223"/>
                    <a:pt x="3431" y="230"/>
                    <a:pt x="3423" y="238"/>
                  </a:cubicBezTo>
                  <a:cubicBezTo>
                    <a:pt x="3416" y="238"/>
                    <a:pt x="3401" y="238"/>
                    <a:pt x="3394" y="238"/>
                  </a:cubicBezTo>
                  <a:cubicBezTo>
                    <a:pt x="3379" y="245"/>
                    <a:pt x="3386" y="245"/>
                    <a:pt x="3371" y="252"/>
                  </a:cubicBezTo>
                  <a:lnTo>
                    <a:pt x="3371" y="260"/>
                  </a:lnTo>
                  <a:cubicBezTo>
                    <a:pt x="3364" y="260"/>
                    <a:pt x="3364" y="260"/>
                    <a:pt x="3357" y="260"/>
                  </a:cubicBezTo>
                  <a:cubicBezTo>
                    <a:pt x="3357" y="267"/>
                    <a:pt x="3342" y="267"/>
                    <a:pt x="3342" y="267"/>
                  </a:cubicBezTo>
                  <a:cubicBezTo>
                    <a:pt x="3327" y="275"/>
                    <a:pt x="3320" y="282"/>
                    <a:pt x="3312" y="290"/>
                  </a:cubicBezTo>
                  <a:cubicBezTo>
                    <a:pt x="3297" y="304"/>
                    <a:pt x="3282" y="312"/>
                    <a:pt x="3267" y="319"/>
                  </a:cubicBezTo>
                  <a:cubicBezTo>
                    <a:pt x="3245" y="327"/>
                    <a:pt x="3223" y="342"/>
                    <a:pt x="3208" y="349"/>
                  </a:cubicBezTo>
                  <a:cubicBezTo>
                    <a:pt x="3186" y="371"/>
                    <a:pt x="3171" y="357"/>
                    <a:pt x="3149" y="364"/>
                  </a:cubicBezTo>
                  <a:cubicBezTo>
                    <a:pt x="3149" y="386"/>
                    <a:pt x="3119" y="371"/>
                    <a:pt x="3104" y="379"/>
                  </a:cubicBezTo>
                  <a:cubicBezTo>
                    <a:pt x="3089" y="386"/>
                    <a:pt x="3074" y="401"/>
                    <a:pt x="3052" y="401"/>
                  </a:cubicBezTo>
                  <a:cubicBezTo>
                    <a:pt x="3037" y="401"/>
                    <a:pt x="3015" y="379"/>
                    <a:pt x="3000" y="371"/>
                  </a:cubicBezTo>
                  <a:cubicBezTo>
                    <a:pt x="2993" y="371"/>
                    <a:pt x="2963" y="357"/>
                    <a:pt x="2948" y="357"/>
                  </a:cubicBezTo>
                  <a:cubicBezTo>
                    <a:pt x="2941" y="364"/>
                    <a:pt x="2941" y="371"/>
                    <a:pt x="2941" y="379"/>
                  </a:cubicBezTo>
                  <a:cubicBezTo>
                    <a:pt x="2941" y="394"/>
                    <a:pt x="2948" y="386"/>
                    <a:pt x="2955" y="394"/>
                  </a:cubicBezTo>
                  <a:cubicBezTo>
                    <a:pt x="2970" y="409"/>
                    <a:pt x="2970" y="460"/>
                    <a:pt x="2970" y="475"/>
                  </a:cubicBezTo>
                  <a:cubicBezTo>
                    <a:pt x="2963" y="483"/>
                    <a:pt x="2963" y="483"/>
                    <a:pt x="2963" y="483"/>
                  </a:cubicBezTo>
                  <a:cubicBezTo>
                    <a:pt x="2948" y="483"/>
                    <a:pt x="2941" y="505"/>
                    <a:pt x="2926" y="520"/>
                  </a:cubicBezTo>
                  <a:cubicBezTo>
                    <a:pt x="2918" y="527"/>
                    <a:pt x="2904" y="542"/>
                    <a:pt x="2896" y="549"/>
                  </a:cubicBezTo>
                  <a:cubicBezTo>
                    <a:pt x="2881" y="564"/>
                    <a:pt x="2866" y="572"/>
                    <a:pt x="2859" y="587"/>
                  </a:cubicBezTo>
                  <a:cubicBezTo>
                    <a:pt x="2852" y="587"/>
                    <a:pt x="2844" y="594"/>
                    <a:pt x="2844" y="602"/>
                  </a:cubicBezTo>
                  <a:cubicBezTo>
                    <a:pt x="2837" y="602"/>
                    <a:pt x="2829" y="609"/>
                    <a:pt x="2822" y="616"/>
                  </a:cubicBezTo>
                  <a:cubicBezTo>
                    <a:pt x="2800" y="639"/>
                    <a:pt x="2785" y="661"/>
                    <a:pt x="2763" y="691"/>
                  </a:cubicBezTo>
                  <a:cubicBezTo>
                    <a:pt x="2755" y="698"/>
                    <a:pt x="2748" y="713"/>
                    <a:pt x="2748" y="735"/>
                  </a:cubicBezTo>
                  <a:cubicBezTo>
                    <a:pt x="2740" y="750"/>
                    <a:pt x="2748" y="765"/>
                    <a:pt x="2748" y="780"/>
                  </a:cubicBezTo>
                  <a:cubicBezTo>
                    <a:pt x="2725" y="780"/>
                    <a:pt x="2718" y="780"/>
                    <a:pt x="2703" y="795"/>
                  </a:cubicBezTo>
                  <a:cubicBezTo>
                    <a:pt x="2696" y="809"/>
                    <a:pt x="2688" y="824"/>
                    <a:pt x="2681" y="839"/>
                  </a:cubicBezTo>
                  <a:cubicBezTo>
                    <a:pt x="2666" y="854"/>
                    <a:pt x="2651" y="861"/>
                    <a:pt x="2629" y="869"/>
                  </a:cubicBezTo>
                  <a:cubicBezTo>
                    <a:pt x="2614" y="869"/>
                    <a:pt x="2592" y="869"/>
                    <a:pt x="2569" y="869"/>
                  </a:cubicBezTo>
                  <a:cubicBezTo>
                    <a:pt x="2562" y="869"/>
                    <a:pt x="2555" y="869"/>
                    <a:pt x="2547" y="869"/>
                  </a:cubicBezTo>
                  <a:cubicBezTo>
                    <a:pt x="2532" y="869"/>
                    <a:pt x="2532" y="876"/>
                    <a:pt x="2518" y="884"/>
                  </a:cubicBezTo>
                  <a:cubicBezTo>
                    <a:pt x="2503" y="891"/>
                    <a:pt x="2480" y="891"/>
                    <a:pt x="2465" y="891"/>
                  </a:cubicBezTo>
                  <a:cubicBezTo>
                    <a:pt x="2421" y="884"/>
                    <a:pt x="2384" y="884"/>
                    <a:pt x="2354" y="914"/>
                  </a:cubicBezTo>
                  <a:cubicBezTo>
                    <a:pt x="2339" y="921"/>
                    <a:pt x="2310" y="921"/>
                    <a:pt x="2287" y="928"/>
                  </a:cubicBezTo>
                  <a:cubicBezTo>
                    <a:pt x="2258" y="928"/>
                    <a:pt x="2235" y="936"/>
                    <a:pt x="2206" y="921"/>
                  </a:cubicBezTo>
                  <a:cubicBezTo>
                    <a:pt x="2183" y="906"/>
                    <a:pt x="2161" y="899"/>
                    <a:pt x="2139" y="891"/>
                  </a:cubicBezTo>
                  <a:cubicBezTo>
                    <a:pt x="2102" y="884"/>
                    <a:pt x="2064" y="869"/>
                    <a:pt x="2020" y="869"/>
                  </a:cubicBezTo>
                  <a:cubicBezTo>
                    <a:pt x="1998" y="869"/>
                    <a:pt x="1998" y="891"/>
                    <a:pt x="1975" y="899"/>
                  </a:cubicBezTo>
                  <a:cubicBezTo>
                    <a:pt x="1968" y="899"/>
                    <a:pt x="1961" y="899"/>
                    <a:pt x="1946" y="899"/>
                  </a:cubicBezTo>
                  <a:cubicBezTo>
                    <a:pt x="1938" y="899"/>
                    <a:pt x="1931" y="914"/>
                    <a:pt x="1923" y="914"/>
                  </a:cubicBezTo>
                  <a:cubicBezTo>
                    <a:pt x="1894" y="928"/>
                    <a:pt x="1871" y="943"/>
                    <a:pt x="1842" y="951"/>
                  </a:cubicBezTo>
                  <a:cubicBezTo>
                    <a:pt x="1827" y="951"/>
                    <a:pt x="1805" y="951"/>
                    <a:pt x="1790" y="958"/>
                  </a:cubicBezTo>
                  <a:cubicBezTo>
                    <a:pt x="1775" y="958"/>
                    <a:pt x="1767" y="973"/>
                    <a:pt x="1753" y="973"/>
                  </a:cubicBezTo>
                  <a:cubicBezTo>
                    <a:pt x="1738" y="973"/>
                    <a:pt x="1723" y="980"/>
                    <a:pt x="1708" y="980"/>
                  </a:cubicBezTo>
                  <a:cubicBezTo>
                    <a:pt x="1686" y="988"/>
                    <a:pt x="1671" y="988"/>
                    <a:pt x="1648" y="995"/>
                  </a:cubicBezTo>
                  <a:cubicBezTo>
                    <a:pt x="1626" y="1003"/>
                    <a:pt x="1604" y="1003"/>
                    <a:pt x="1574" y="995"/>
                  </a:cubicBezTo>
                  <a:cubicBezTo>
                    <a:pt x="1559" y="995"/>
                    <a:pt x="1545" y="988"/>
                    <a:pt x="1530" y="973"/>
                  </a:cubicBezTo>
                  <a:cubicBezTo>
                    <a:pt x="1530" y="973"/>
                    <a:pt x="1530" y="973"/>
                    <a:pt x="1522" y="973"/>
                  </a:cubicBezTo>
                  <a:cubicBezTo>
                    <a:pt x="1508" y="980"/>
                    <a:pt x="1515" y="988"/>
                    <a:pt x="1515" y="995"/>
                  </a:cubicBezTo>
                  <a:cubicBezTo>
                    <a:pt x="1515" y="1025"/>
                    <a:pt x="1522" y="1040"/>
                    <a:pt x="1493" y="1054"/>
                  </a:cubicBezTo>
                  <a:cubicBezTo>
                    <a:pt x="1493" y="1032"/>
                    <a:pt x="1500" y="1010"/>
                    <a:pt x="1478" y="1003"/>
                  </a:cubicBezTo>
                  <a:cubicBezTo>
                    <a:pt x="1441" y="995"/>
                    <a:pt x="1441" y="1017"/>
                    <a:pt x="1426" y="1032"/>
                  </a:cubicBezTo>
                  <a:cubicBezTo>
                    <a:pt x="1403" y="1054"/>
                    <a:pt x="1366" y="1032"/>
                    <a:pt x="1337" y="1040"/>
                  </a:cubicBezTo>
                  <a:cubicBezTo>
                    <a:pt x="1307" y="1047"/>
                    <a:pt x="1285" y="1069"/>
                    <a:pt x="1255" y="1062"/>
                  </a:cubicBezTo>
                  <a:cubicBezTo>
                    <a:pt x="1255" y="1047"/>
                    <a:pt x="1255" y="1032"/>
                    <a:pt x="1255" y="1025"/>
                  </a:cubicBezTo>
                  <a:cubicBezTo>
                    <a:pt x="1240" y="1025"/>
                    <a:pt x="1233" y="1017"/>
                    <a:pt x="1218" y="1017"/>
                  </a:cubicBezTo>
                  <a:cubicBezTo>
                    <a:pt x="1210" y="1017"/>
                    <a:pt x="1196" y="1025"/>
                    <a:pt x="1188" y="1025"/>
                  </a:cubicBezTo>
                  <a:cubicBezTo>
                    <a:pt x="1166" y="1032"/>
                    <a:pt x="1158" y="1040"/>
                    <a:pt x="1158" y="1069"/>
                  </a:cubicBezTo>
                  <a:cubicBezTo>
                    <a:pt x="1121" y="1084"/>
                    <a:pt x="1077" y="1084"/>
                    <a:pt x="1040" y="1077"/>
                  </a:cubicBezTo>
                  <a:cubicBezTo>
                    <a:pt x="1017" y="1069"/>
                    <a:pt x="995" y="1062"/>
                    <a:pt x="973" y="1069"/>
                  </a:cubicBezTo>
                  <a:cubicBezTo>
                    <a:pt x="943" y="1077"/>
                    <a:pt x="936" y="1092"/>
                    <a:pt x="906" y="1084"/>
                  </a:cubicBezTo>
                  <a:cubicBezTo>
                    <a:pt x="869" y="1084"/>
                    <a:pt x="839" y="1077"/>
                    <a:pt x="809" y="1077"/>
                  </a:cubicBezTo>
                  <a:cubicBezTo>
                    <a:pt x="772" y="1069"/>
                    <a:pt x="728" y="1077"/>
                    <a:pt x="698" y="1062"/>
                  </a:cubicBezTo>
                  <a:cubicBezTo>
                    <a:pt x="676" y="1054"/>
                    <a:pt x="639" y="1032"/>
                    <a:pt x="616" y="1017"/>
                  </a:cubicBezTo>
                  <a:cubicBezTo>
                    <a:pt x="594" y="1003"/>
                    <a:pt x="572" y="988"/>
                    <a:pt x="549" y="980"/>
                  </a:cubicBezTo>
                  <a:cubicBezTo>
                    <a:pt x="520" y="980"/>
                    <a:pt x="475" y="980"/>
                    <a:pt x="438" y="988"/>
                  </a:cubicBezTo>
                  <a:cubicBezTo>
                    <a:pt x="438" y="1025"/>
                    <a:pt x="438" y="1047"/>
                    <a:pt x="394" y="1054"/>
                  </a:cubicBezTo>
                  <a:cubicBezTo>
                    <a:pt x="364" y="1069"/>
                    <a:pt x="334" y="1069"/>
                    <a:pt x="304" y="1084"/>
                  </a:cubicBezTo>
                  <a:cubicBezTo>
                    <a:pt x="275" y="1092"/>
                    <a:pt x="252" y="1092"/>
                    <a:pt x="223" y="1099"/>
                  </a:cubicBezTo>
                  <a:cubicBezTo>
                    <a:pt x="201" y="1106"/>
                    <a:pt x="178" y="1114"/>
                    <a:pt x="156" y="1129"/>
                  </a:cubicBezTo>
                  <a:cubicBezTo>
                    <a:pt x="156" y="1159"/>
                    <a:pt x="141" y="1173"/>
                    <a:pt x="134" y="1203"/>
                  </a:cubicBezTo>
                  <a:cubicBezTo>
                    <a:pt x="119" y="1233"/>
                    <a:pt x="104" y="1292"/>
                    <a:pt x="119" y="1329"/>
                  </a:cubicBezTo>
                  <a:cubicBezTo>
                    <a:pt x="119" y="1344"/>
                    <a:pt x="134" y="1359"/>
                    <a:pt x="156" y="1359"/>
                  </a:cubicBezTo>
                  <a:cubicBezTo>
                    <a:pt x="149" y="1374"/>
                    <a:pt x="141" y="1389"/>
                    <a:pt x="126" y="1404"/>
                  </a:cubicBezTo>
                  <a:cubicBezTo>
                    <a:pt x="111" y="1426"/>
                    <a:pt x="97" y="1433"/>
                    <a:pt x="82" y="1456"/>
                  </a:cubicBezTo>
                  <a:cubicBezTo>
                    <a:pt x="67" y="1470"/>
                    <a:pt x="59" y="1478"/>
                    <a:pt x="44" y="1493"/>
                  </a:cubicBezTo>
                  <a:cubicBezTo>
                    <a:pt x="22" y="1508"/>
                    <a:pt x="7" y="1522"/>
                    <a:pt x="0" y="1545"/>
                  </a:cubicBezTo>
                  <a:cubicBezTo>
                    <a:pt x="0" y="1545"/>
                    <a:pt x="7" y="1545"/>
                    <a:pt x="15" y="1537"/>
                  </a:cubicBezTo>
                  <a:cubicBezTo>
                    <a:pt x="22" y="1530"/>
                    <a:pt x="22" y="1522"/>
                    <a:pt x="44" y="1508"/>
                  </a:cubicBezTo>
                  <a:cubicBezTo>
                    <a:pt x="134" y="1456"/>
                    <a:pt x="89" y="1649"/>
                    <a:pt x="141" y="1671"/>
                  </a:cubicBezTo>
                  <a:cubicBezTo>
                    <a:pt x="149" y="1716"/>
                    <a:pt x="134" y="1738"/>
                    <a:pt x="126" y="1775"/>
                  </a:cubicBezTo>
                  <a:cubicBezTo>
                    <a:pt x="126" y="1805"/>
                    <a:pt x="141" y="1842"/>
                    <a:pt x="141" y="1879"/>
                  </a:cubicBezTo>
                  <a:cubicBezTo>
                    <a:pt x="141" y="1916"/>
                    <a:pt x="134" y="1961"/>
                    <a:pt x="134" y="2005"/>
                  </a:cubicBezTo>
                  <a:cubicBezTo>
                    <a:pt x="163" y="2005"/>
                    <a:pt x="193" y="2005"/>
                    <a:pt x="208" y="1998"/>
                  </a:cubicBezTo>
                  <a:cubicBezTo>
                    <a:pt x="230" y="1983"/>
                    <a:pt x="201" y="1908"/>
                    <a:pt x="193" y="1886"/>
                  </a:cubicBezTo>
                  <a:cubicBezTo>
                    <a:pt x="186" y="1886"/>
                    <a:pt x="178" y="1879"/>
                    <a:pt x="171" y="1886"/>
                  </a:cubicBezTo>
                  <a:cubicBezTo>
                    <a:pt x="171" y="1864"/>
                    <a:pt x="171" y="1849"/>
                    <a:pt x="171" y="1834"/>
                  </a:cubicBezTo>
                  <a:cubicBezTo>
                    <a:pt x="208" y="1827"/>
                    <a:pt x="208" y="1797"/>
                    <a:pt x="230" y="1782"/>
                  </a:cubicBezTo>
                  <a:cubicBezTo>
                    <a:pt x="245" y="1760"/>
                    <a:pt x="238" y="1760"/>
                    <a:pt x="267" y="1760"/>
                  </a:cubicBezTo>
                  <a:cubicBezTo>
                    <a:pt x="304" y="1760"/>
                    <a:pt x="431" y="1782"/>
                    <a:pt x="431" y="1716"/>
                  </a:cubicBezTo>
                  <a:cubicBezTo>
                    <a:pt x="460" y="1716"/>
                    <a:pt x="483" y="1723"/>
                    <a:pt x="512" y="1716"/>
                  </a:cubicBezTo>
                  <a:cubicBezTo>
                    <a:pt x="542" y="1708"/>
                    <a:pt x="557" y="1701"/>
                    <a:pt x="579" y="1708"/>
                  </a:cubicBezTo>
                  <a:cubicBezTo>
                    <a:pt x="601" y="1716"/>
                    <a:pt x="609" y="1730"/>
                    <a:pt x="631" y="1730"/>
                  </a:cubicBezTo>
                  <a:cubicBezTo>
                    <a:pt x="661" y="1738"/>
                    <a:pt x="698" y="1745"/>
                    <a:pt x="728" y="1738"/>
                  </a:cubicBezTo>
                  <a:cubicBezTo>
                    <a:pt x="757" y="1738"/>
                    <a:pt x="780" y="1723"/>
                    <a:pt x="809" y="1723"/>
                  </a:cubicBezTo>
                  <a:cubicBezTo>
                    <a:pt x="832" y="1723"/>
                    <a:pt x="854" y="1738"/>
                    <a:pt x="876" y="1745"/>
                  </a:cubicBezTo>
                  <a:cubicBezTo>
                    <a:pt x="906" y="1760"/>
                    <a:pt x="928" y="1738"/>
                    <a:pt x="951" y="1767"/>
                  </a:cubicBezTo>
                  <a:cubicBezTo>
                    <a:pt x="965" y="1782"/>
                    <a:pt x="958" y="1819"/>
                    <a:pt x="988" y="1819"/>
                  </a:cubicBezTo>
                  <a:cubicBezTo>
                    <a:pt x="1010" y="1827"/>
                    <a:pt x="1010" y="1790"/>
                    <a:pt x="1017" y="1790"/>
                  </a:cubicBezTo>
                  <a:cubicBezTo>
                    <a:pt x="1040" y="1775"/>
                    <a:pt x="1047" y="1775"/>
                    <a:pt x="1069" y="1782"/>
                  </a:cubicBezTo>
                  <a:cubicBezTo>
                    <a:pt x="1069" y="1797"/>
                    <a:pt x="1062" y="1834"/>
                    <a:pt x="1069" y="1856"/>
                  </a:cubicBezTo>
                  <a:cubicBezTo>
                    <a:pt x="1077" y="1879"/>
                    <a:pt x="1091" y="1879"/>
                    <a:pt x="1121" y="1879"/>
                  </a:cubicBezTo>
                  <a:cubicBezTo>
                    <a:pt x="1129" y="1856"/>
                    <a:pt x="1129" y="1842"/>
                    <a:pt x="1144" y="1834"/>
                  </a:cubicBezTo>
                  <a:cubicBezTo>
                    <a:pt x="1151" y="1827"/>
                    <a:pt x="1166" y="1834"/>
                    <a:pt x="1181" y="1819"/>
                  </a:cubicBezTo>
                  <a:cubicBezTo>
                    <a:pt x="1188" y="1767"/>
                    <a:pt x="1225" y="1782"/>
                    <a:pt x="1262" y="1782"/>
                  </a:cubicBezTo>
                  <a:cubicBezTo>
                    <a:pt x="1322" y="1767"/>
                    <a:pt x="1262" y="1753"/>
                    <a:pt x="1270" y="1723"/>
                  </a:cubicBezTo>
                  <a:cubicBezTo>
                    <a:pt x="1270" y="1686"/>
                    <a:pt x="1314" y="1693"/>
                    <a:pt x="1314" y="1663"/>
                  </a:cubicBezTo>
                  <a:cubicBezTo>
                    <a:pt x="1337" y="1663"/>
                    <a:pt x="1359" y="1663"/>
                    <a:pt x="1381" y="1678"/>
                  </a:cubicBezTo>
                  <a:cubicBezTo>
                    <a:pt x="1396" y="1693"/>
                    <a:pt x="1389" y="1730"/>
                    <a:pt x="1418" y="1745"/>
                  </a:cubicBezTo>
                  <a:cubicBezTo>
                    <a:pt x="1418" y="1708"/>
                    <a:pt x="1433" y="1708"/>
                    <a:pt x="1441" y="1678"/>
                  </a:cubicBezTo>
                  <a:cubicBezTo>
                    <a:pt x="1448" y="1656"/>
                    <a:pt x="1426" y="1634"/>
                    <a:pt x="1463" y="1611"/>
                  </a:cubicBezTo>
                  <a:cubicBezTo>
                    <a:pt x="1508" y="1589"/>
                    <a:pt x="1574" y="1671"/>
                    <a:pt x="1611" y="1619"/>
                  </a:cubicBezTo>
                  <a:cubicBezTo>
                    <a:pt x="1634" y="1619"/>
                    <a:pt x="1656" y="1619"/>
                    <a:pt x="1686" y="1619"/>
                  </a:cubicBezTo>
                  <a:cubicBezTo>
                    <a:pt x="1716" y="1619"/>
                    <a:pt x="1745" y="1611"/>
                    <a:pt x="1775" y="1611"/>
                  </a:cubicBezTo>
                  <a:cubicBezTo>
                    <a:pt x="1782" y="1634"/>
                    <a:pt x="1753" y="1634"/>
                    <a:pt x="1730" y="1641"/>
                  </a:cubicBezTo>
                  <a:cubicBezTo>
                    <a:pt x="1723" y="1649"/>
                    <a:pt x="1701" y="1678"/>
                    <a:pt x="1701" y="1693"/>
                  </a:cubicBezTo>
                  <a:cubicBezTo>
                    <a:pt x="1745" y="1701"/>
                    <a:pt x="1738" y="1730"/>
                    <a:pt x="1730" y="1767"/>
                  </a:cubicBezTo>
                  <a:cubicBezTo>
                    <a:pt x="1723" y="1797"/>
                    <a:pt x="1723" y="1827"/>
                    <a:pt x="1723" y="1864"/>
                  </a:cubicBezTo>
                  <a:cubicBezTo>
                    <a:pt x="1760" y="1871"/>
                    <a:pt x="1775" y="1842"/>
                    <a:pt x="1805" y="1834"/>
                  </a:cubicBezTo>
                  <a:cubicBezTo>
                    <a:pt x="1834" y="1827"/>
                    <a:pt x="1871" y="1812"/>
                    <a:pt x="1901" y="1819"/>
                  </a:cubicBezTo>
                  <a:cubicBezTo>
                    <a:pt x="1938" y="1834"/>
                    <a:pt x="1931" y="1871"/>
                    <a:pt x="1968" y="1886"/>
                  </a:cubicBezTo>
                  <a:cubicBezTo>
                    <a:pt x="1983" y="1894"/>
                    <a:pt x="2027" y="1901"/>
                    <a:pt x="2050" y="1901"/>
                  </a:cubicBezTo>
                  <a:cubicBezTo>
                    <a:pt x="2020" y="1908"/>
                    <a:pt x="2020" y="1990"/>
                    <a:pt x="2020" y="2005"/>
                  </a:cubicBezTo>
                  <a:cubicBezTo>
                    <a:pt x="2035" y="2057"/>
                    <a:pt x="2102" y="2057"/>
                    <a:pt x="2131" y="2094"/>
                  </a:cubicBezTo>
                  <a:cubicBezTo>
                    <a:pt x="2139" y="2116"/>
                    <a:pt x="2139" y="2146"/>
                    <a:pt x="2131" y="2168"/>
                  </a:cubicBezTo>
                  <a:cubicBezTo>
                    <a:pt x="2116" y="2176"/>
                    <a:pt x="2102" y="2183"/>
                    <a:pt x="2087" y="2191"/>
                  </a:cubicBezTo>
                  <a:cubicBezTo>
                    <a:pt x="2057" y="2206"/>
                    <a:pt x="2035" y="2250"/>
                    <a:pt x="1998" y="2265"/>
                  </a:cubicBezTo>
                  <a:cubicBezTo>
                    <a:pt x="1975" y="2280"/>
                    <a:pt x="1946" y="2280"/>
                    <a:pt x="1916" y="2295"/>
                  </a:cubicBezTo>
                  <a:cubicBezTo>
                    <a:pt x="1938" y="2317"/>
                    <a:pt x="1931" y="2354"/>
                    <a:pt x="1931" y="2369"/>
                  </a:cubicBezTo>
                  <a:cubicBezTo>
                    <a:pt x="1953" y="2376"/>
                    <a:pt x="1975" y="2376"/>
                    <a:pt x="1990" y="2391"/>
                  </a:cubicBezTo>
                  <a:cubicBezTo>
                    <a:pt x="1998" y="2399"/>
                    <a:pt x="2005" y="2436"/>
                    <a:pt x="1990" y="2451"/>
                  </a:cubicBezTo>
                  <a:cubicBezTo>
                    <a:pt x="1961" y="2495"/>
                    <a:pt x="1871" y="2413"/>
                    <a:pt x="1834" y="2413"/>
                  </a:cubicBezTo>
                  <a:cubicBezTo>
                    <a:pt x="1812" y="2458"/>
                    <a:pt x="1834" y="2458"/>
                    <a:pt x="1856" y="2495"/>
                  </a:cubicBezTo>
                  <a:cubicBezTo>
                    <a:pt x="1879" y="2540"/>
                    <a:pt x="1842" y="2555"/>
                    <a:pt x="1819" y="2577"/>
                  </a:cubicBezTo>
                  <a:cubicBezTo>
                    <a:pt x="1812" y="2592"/>
                    <a:pt x="1805" y="2614"/>
                    <a:pt x="1805" y="2636"/>
                  </a:cubicBezTo>
                  <a:cubicBezTo>
                    <a:pt x="1805" y="2673"/>
                    <a:pt x="1805" y="2673"/>
                    <a:pt x="1790" y="2696"/>
                  </a:cubicBezTo>
                  <a:cubicBezTo>
                    <a:pt x="1775" y="2703"/>
                    <a:pt x="1767" y="2718"/>
                    <a:pt x="1753" y="2725"/>
                  </a:cubicBezTo>
                  <a:cubicBezTo>
                    <a:pt x="1753" y="2740"/>
                    <a:pt x="1753" y="2748"/>
                    <a:pt x="1753" y="2755"/>
                  </a:cubicBezTo>
                  <a:cubicBezTo>
                    <a:pt x="1745" y="2763"/>
                    <a:pt x="1738" y="2755"/>
                    <a:pt x="1730" y="2763"/>
                  </a:cubicBezTo>
                  <a:lnTo>
                    <a:pt x="1730" y="2763"/>
                  </a:lnTo>
                  <a:cubicBezTo>
                    <a:pt x="1745" y="2792"/>
                    <a:pt x="1760" y="2837"/>
                    <a:pt x="1753" y="2881"/>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39" name="Freeform 36">
              <a:extLst>
                <a:ext uri="{FF2B5EF4-FFF2-40B4-BE49-F238E27FC236}">
                  <a16:creationId xmlns:a16="http://schemas.microsoft.com/office/drawing/2014/main" id="{70D9C69B-A6CA-2C40-BAB0-A9608D30AC78}"/>
                </a:ext>
              </a:extLst>
            </p:cNvPr>
            <p:cNvSpPr>
              <a:spLocks noChangeArrowheads="1"/>
            </p:cNvSpPr>
            <p:nvPr/>
          </p:nvSpPr>
          <p:spPr bwMode="auto">
            <a:xfrm>
              <a:off x="9321595" y="8181741"/>
              <a:ext cx="26689" cy="26671"/>
            </a:xfrm>
            <a:custGeom>
              <a:avLst/>
              <a:gdLst>
                <a:gd name="T0" fmla="*/ 15 w 61"/>
                <a:gd name="T1" fmla="*/ 59 h 60"/>
                <a:gd name="T2" fmla="*/ 15 w 61"/>
                <a:gd name="T3" fmla="*/ 59 h 60"/>
                <a:gd name="T4" fmla="*/ 37 w 61"/>
                <a:gd name="T5" fmla="*/ 22 h 60"/>
                <a:gd name="T6" fmla="*/ 60 w 61"/>
                <a:gd name="T7" fmla="*/ 22 h 60"/>
                <a:gd name="T8" fmla="*/ 60 w 61"/>
                <a:gd name="T9" fmla="*/ 15 h 60"/>
                <a:gd name="T10" fmla="*/ 45 w 61"/>
                <a:gd name="T11" fmla="*/ 0 h 60"/>
                <a:gd name="T12" fmla="*/ 37 w 61"/>
                <a:gd name="T13" fmla="*/ 7 h 60"/>
                <a:gd name="T14" fmla="*/ 7 w 61"/>
                <a:gd name="T15" fmla="*/ 29 h 60"/>
                <a:gd name="T16" fmla="*/ 0 w 61"/>
                <a:gd name="T17" fmla="*/ 59 h 60"/>
                <a:gd name="T18" fmla="*/ 15 w 61"/>
                <a:gd name="T19"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15" y="59"/>
                  </a:moveTo>
                  <a:lnTo>
                    <a:pt x="15" y="59"/>
                  </a:lnTo>
                  <a:cubicBezTo>
                    <a:pt x="22" y="44"/>
                    <a:pt x="30" y="29"/>
                    <a:pt x="37" y="22"/>
                  </a:cubicBezTo>
                  <a:cubicBezTo>
                    <a:pt x="37" y="22"/>
                    <a:pt x="45" y="22"/>
                    <a:pt x="60" y="22"/>
                  </a:cubicBezTo>
                  <a:lnTo>
                    <a:pt x="60" y="15"/>
                  </a:lnTo>
                  <a:cubicBezTo>
                    <a:pt x="60" y="7"/>
                    <a:pt x="52" y="7"/>
                    <a:pt x="45" y="0"/>
                  </a:cubicBezTo>
                  <a:cubicBezTo>
                    <a:pt x="37" y="0"/>
                    <a:pt x="37" y="7"/>
                    <a:pt x="37" y="7"/>
                  </a:cubicBezTo>
                  <a:cubicBezTo>
                    <a:pt x="30" y="15"/>
                    <a:pt x="15" y="15"/>
                    <a:pt x="7" y="29"/>
                  </a:cubicBezTo>
                  <a:cubicBezTo>
                    <a:pt x="0" y="37"/>
                    <a:pt x="0" y="44"/>
                    <a:pt x="0" y="59"/>
                  </a:cubicBezTo>
                  <a:cubicBezTo>
                    <a:pt x="7" y="59"/>
                    <a:pt x="15" y="59"/>
                    <a:pt x="15" y="59"/>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40" name="Freeform 37">
              <a:extLst>
                <a:ext uri="{FF2B5EF4-FFF2-40B4-BE49-F238E27FC236}">
                  <a16:creationId xmlns:a16="http://schemas.microsoft.com/office/drawing/2014/main" id="{5FC66D2A-5505-CE47-938C-8C5A91A7452C}"/>
                </a:ext>
              </a:extLst>
            </p:cNvPr>
            <p:cNvSpPr>
              <a:spLocks noChangeArrowheads="1"/>
            </p:cNvSpPr>
            <p:nvPr/>
          </p:nvSpPr>
          <p:spPr bwMode="auto">
            <a:xfrm>
              <a:off x="10661771" y="4903067"/>
              <a:ext cx="55284" cy="83824"/>
            </a:xfrm>
            <a:custGeom>
              <a:avLst/>
              <a:gdLst>
                <a:gd name="T0" fmla="*/ 126 w 127"/>
                <a:gd name="T1" fmla="*/ 52 h 194"/>
                <a:gd name="T2" fmla="*/ 126 w 127"/>
                <a:gd name="T3" fmla="*/ 52 h 194"/>
                <a:gd name="T4" fmla="*/ 96 w 127"/>
                <a:gd name="T5" fmla="*/ 15 h 194"/>
                <a:gd name="T6" fmla="*/ 74 w 127"/>
                <a:gd name="T7" fmla="*/ 0 h 194"/>
                <a:gd name="T8" fmla="*/ 7 w 127"/>
                <a:gd name="T9" fmla="*/ 104 h 194"/>
                <a:gd name="T10" fmla="*/ 22 w 127"/>
                <a:gd name="T11" fmla="*/ 127 h 194"/>
                <a:gd name="T12" fmla="*/ 22 w 127"/>
                <a:gd name="T13" fmla="*/ 156 h 194"/>
                <a:gd name="T14" fmla="*/ 44 w 127"/>
                <a:gd name="T15" fmla="*/ 186 h 194"/>
                <a:gd name="T16" fmla="*/ 59 w 127"/>
                <a:gd name="T17" fmla="*/ 186 h 194"/>
                <a:gd name="T18" fmla="*/ 59 w 127"/>
                <a:gd name="T19" fmla="*/ 156 h 194"/>
                <a:gd name="T20" fmla="*/ 66 w 127"/>
                <a:gd name="T21" fmla="*/ 179 h 194"/>
                <a:gd name="T22" fmla="*/ 126 w 127"/>
                <a:gd name="T23" fmla="*/ 5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94">
                  <a:moveTo>
                    <a:pt x="126" y="52"/>
                  </a:moveTo>
                  <a:lnTo>
                    <a:pt x="126" y="52"/>
                  </a:lnTo>
                  <a:cubicBezTo>
                    <a:pt x="119" y="45"/>
                    <a:pt x="111" y="30"/>
                    <a:pt x="96" y="15"/>
                  </a:cubicBezTo>
                  <a:cubicBezTo>
                    <a:pt x="89" y="8"/>
                    <a:pt x="74" y="0"/>
                    <a:pt x="74" y="0"/>
                  </a:cubicBezTo>
                  <a:cubicBezTo>
                    <a:pt x="52" y="0"/>
                    <a:pt x="15" y="90"/>
                    <a:pt x="7" y="104"/>
                  </a:cubicBezTo>
                  <a:cubicBezTo>
                    <a:pt x="0" y="119"/>
                    <a:pt x="15" y="119"/>
                    <a:pt x="22" y="127"/>
                  </a:cubicBezTo>
                  <a:cubicBezTo>
                    <a:pt x="22" y="141"/>
                    <a:pt x="15" y="149"/>
                    <a:pt x="22" y="156"/>
                  </a:cubicBezTo>
                  <a:lnTo>
                    <a:pt x="44" y="186"/>
                  </a:lnTo>
                  <a:cubicBezTo>
                    <a:pt x="44" y="193"/>
                    <a:pt x="52" y="193"/>
                    <a:pt x="59" y="186"/>
                  </a:cubicBezTo>
                  <a:cubicBezTo>
                    <a:pt x="59" y="179"/>
                    <a:pt x="59" y="156"/>
                    <a:pt x="59" y="156"/>
                  </a:cubicBezTo>
                  <a:cubicBezTo>
                    <a:pt x="66" y="164"/>
                    <a:pt x="66" y="171"/>
                    <a:pt x="66" y="179"/>
                  </a:cubicBezTo>
                  <a:cubicBezTo>
                    <a:pt x="96" y="156"/>
                    <a:pt x="119" y="90"/>
                    <a:pt x="126" y="52"/>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41" name="Freeform 38">
              <a:extLst>
                <a:ext uri="{FF2B5EF4-FFF2-40B4-BE49-F238E27FC236}">
                  <a16:creationId xmlns:a16="http://schemas.microsoft.com/office/drawing/2014/main" id="{17E24D8B-8A28-8742-B7F1-FAA00EF51AB8}"/>
                </a:ext>
              </a:extLst>
            </p:cNvPr>
            <p:cNvSpPr>
              <a:spLocks noChangeArrowheads="1"/>
            </p:cNvSpPr>
            <p:nvPr/>
          </p:nvSpPr>
          <p:spPr bwMode="auto">
            <a:xfrm>
              <a:off x="10686553" y="4969745"/>
              <a:ext cx="3813" cy="13337"/>
            </a:xfrm>
            <a:custGeom>
              <a:avLst/>
              <a:gdLst>
                <a:gd name="T0" fmla="*/ 0 w 8"/>
                <a:gd name="T1" fmla="*/ 30 h 31"/>
                <a:gd name="T2" fmla="*/ 0 w 8"/>
                <a:gd name="T3" fmla="*/ 30 h 31"/>
                <a:gd name="T4" fmla="*/ 7 w 8"/>
                <a:gd name="T5" fmla="*/ 23 h 31"/>
                <a:gd name="T6" fmla="*/ 0 w 8"/>
                <a:gd name="T7" fmla="*/ 0 h 31"/>
                <a:gd name="T8" fmla="*/ 0 w 8"/>
                <a:gd name="T9" fmla="*/ 30 h 31"/>
              </a:gdLst>
              <a:ahLst/>
              <a:cxnLst>
                <a:cxn ang="0">
                  <a:pos x="T0" y="T1"/>
                </a:cxn>
                <a:cxn ang="0">
                  <a:pos x="T2" y="T3"/>
                </a:cxn>
                <a:cxn ang="0">
                  <a:pos x="T4" y="T5"/>
                </a:cxn>
                <a:cxn ang="0">
                  <a:pos x="T6" y="T7"/>
                </a:cxn>
                <a:cxn ang="0">
                  <a:pos x="T8" y="T9"/>
                </a:cxn>
              </a:cxnLst>
              <a:rect l="0" t="0" r="r" b="b"/>
              <a:pathLst>
                <a:path w="8" h="31">
                  <a:moveTo>
                    <a:pt x="0" y="30"/>
                  </a:moveTo>
                  <a:lnTo>
                    <a:pt x="0" y="30"/>
                  </a:lnTo>
                  <a:cubicBezTo>
                    <a:pt x="7" y="30"/>
                    <a:pt x="7" y="30"/>
                    <a:pt x="7" y="23"/>
                  </a:cubicBezTo>
                  <a:cubicBezTo>
                    <a:pt x="7" y="15"/>
                    <a:pt x="7" y="8"/>
                    <a:pt x="0" y="0"/>
                  </a:cubicBezTo>
                  <a:cubicBezTo>
                    <a:pt x="0" y="0"/>
                    <a:pt x="0" y="23"/>
                    <a:pt x="0" y="3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42" name="Freeform 39">
              <a:extLst>
                <a:ext uri="{FF2B5EF4-FFF2-40B4-BE49-F238E27FC236}">
                  <a16:creationId xmlns:a16="http://schemas.microsoft.com/office/drawing/2014/main" id="{005198DC-782A-2846-A08E-68361EE69231}"/>
                </a:ext>
              </a:extLst>
            </p:cNvPr>
            <p:cNvSpPr>
              <a:spLocks noChangeArrowheads="1"/>
            </p:cNvSpPr>
            <p:nvPr/>
          </p:nvSpPr>
          <p:spPr bwMode="auto">
            <a:xfrm>
              <a:off x="10701804" y="4908782"/>
              <a:ext cx="13345" cy="17146"/>
            </a:xfrm>
            <a:custGeom>
              <a:avLst/>
              <a:gdLst>
                <a:gd name="T0" fmla="*/ 30 w 31"/>
                <a:gd name="T1" fmla="*/ 22 h 38"/>
                <a:gd name="T2" fmla="*/ 30 w 31"/>
                <a:gd name="T3" fmla="*/ 22 h 38"/>
                <a:gd name="T4" fmla="*/ 0 w 31"/>
                <a:gd name="T5" fmla="*/ 0 h 38"/>
                <a:gd name="T6" fmla="*/ 30 w 31"/>
                <a:gd name="T7" fmla="*/ 37 h 38"/>
                <a:gd name="T8" fmla="*/ 30 w 31"/>
                <a:gd name="T9" fmla="*/ 22 h 38"/>
              </a:gdLst>
              <a:ahLst/>
              <a:cxnLst>
                <a:cxn ang="0">
                  <a:pos x="T0" y="T1"/>
                </a:cxn>
                <a:cxn ang="0">
                  <a:pos x="T2" y="T3"/>
                </a:cxn>
                <a:cxn ang="0">
                  <a:pos x="T4" y="T5"/>
                </a:cxn>
                <a:cxn ang="0">
                  <a:pos x="T6" y="T7"/>
                </a:cxn>
                <a:cxn ang="0">
                  <a:pos x="T8" y="T9"/>
                </a:cxn>
              </a:cxnLst>
              <a:rect l="0" t="0" r="r" b="b"/>
              <a:pathLst>
                <a:path w="31" h="38">
                  <a:moveTo>
                    <a:pt x="30" y="22"/>
                  </a:moveTo>
                  <a:lnTo>
                    <a:pt x="30" y="22"/>
                  </a:lnTo>
                  <a:cubicBezTo>
                    <a:pt x="30" y="22"/>
                    <a:pt x="15" y="8"/>
                    <a:pt x="0" y="0"/>
                  </a:cubicBezTo>
                  <a:cubicBezTo>
                    <a:pt x="15" y="15"/>
                    <a:pt x="23" y="30"/>
                    <a:pt x="30" y="37"/>
                  </a:cubicBezTo>
                  <a:cubicBezTo>
                    <a:pt x="30" y="30"/>
                    <a:pt x="30" y="22"/>
                    <a:pt x="30" y="22"/>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43" name="Freeform 40">
              <a:extLst>
                <a:ext uri="{FF2B5EF4-FFF2-40B4-BE49-F238E27FC236}">
                  <a16:creationId xmlns:a16="http://schemas.microsoft.com/office/drawing/2014/main" id="{5D310F27-798E-8243-AE0F-2DD520092213}"/>
                </a:ext>
              </a:extLst>
            </p:cNvPr>
            <p:cNvSpPr>
              <a:spLocks noChangeArrowheads="1"/>
            </p:cNvSpPr>
            <p:nvPr/>
          </p:nvSpPr>
          <p:spPr bwMode="auto">
            <a:xfrm>
              <a:off x="11241306" y="10982234"/>
              <a:ext cx="97224" cy="93350"/>
            </a:xfrm>
            <a:custGeom>
              <a:avLst/>
              <a:gdLst>
                <a:gd name="T0" fmla="*/ 163 w 224"/>
                <a:gd name="T1" fmla="*/ 74 h 216"/>
                <a:gd name="T2" fmla="*/ 163 w 224"/>
                <a:gd name="T3" fmla="*/ 74 h 216"/>
                <a:gd name="T4" fmla="*/ 134 w 224"/>
                <a:gd name="T5" fmla="*/ 74 h 216"/>
                <a:gd name="T6" fmla="*/ 148 w 224"/>
                <a:gd name="T7" fmla="*/ 59 h 216"/>
                <a:gd name="T8" fmla="*/ 134 w 224"/>
                <a:gd name="T9" fmla="*/ 44 h 216"/>
                <a:gd name="T10" fmla="*/ 134 w 224"/>
                <a:gd name="T11" fmla="*/ 7 h 216"/>
                <a:gd name="T12" fmla="*/ 111 w 224"/>
                <a:gd name="T13" fmla="*/ 37 h 216"/>
                <a:gd name="T14" fmla="*/ 89 w 224"/>
                <a:gd name="T15" fmla="*/ 14 h 216"/>
                <a:gd name="T16" fmla="*/ 44 w 224"/>
                <a:gd name="T17" fmla="*/ 14 h 216"/>
                <a:gd name="T18" fmla="*/ 67 w 224"/>
                <a:gd name="T19" fmla="*/ 44 h 216"/>
                <a:gd name="T20" fmla="*/ 67 w 224"/>
                <a:gd name="T21" fmla="*/ 59 h 216"/>
                <a:gd name="T22" fmla="*/ 52 w 224"/>
                <a:gd name="T23" fmla="*/ 104 h 216"/>
                <a:gd name="T24" fmla="*/ 0 w 224"/>
                <a:gd name="T25" fmla="*/ 118 h 216"/>
                <a:gd name="T26" fmla="*/ 59 w 224"/>
                <a:gd name="T27" fmla="*/ 170 h 216"/>
                <a:gd name="T28" fmla="*/ 96 w 224"/>
                <a:gd name="T29" fmla="*/ 185 h 216"/>
                <a:gd name="T30" fmla="*/ 126 w 224"/>
                <a:gd name="T31" fmla="*/ 185 h 216"/>
                <a:gd name="T32" fmla="*/ 141 w 224"/>
                <a:gd name="T33" fmla="*/ 200 h 216"/>
                <a:gd name="T34" fmla="*/ 148 w 224"/>
                <a:gd name="T35" fmla="*/ 215 h 216"/>
                <a:gd name="T36" fmla="*/ 163 w 224"/>
                <a:gd name="T37" fmla="*/ 215 h 216"/>
                <a:gd name="T38" fmla="*/ 178 w 224"/>
                <a:gd name="T39" fmla="*/ 215 h 216"/>
                <a:gd name="T40" fmla="*/ 200 w 224"/>
                <a:gd name="T41" fmla="*/ 215 h 216"/>
                <a:gd name="T42" fmla="*/ 208 w 224"/>
                <a:gd name="T43" fmla="*/ 170 h 216"/>
                <a:gd name="T44" fmla="*/ 215 w 224"/>
                <a:gd name="T45" fmla="*/ 81 h 216"/>
                <a:gd name="T46" fmla="*/ 223 w 224"/>
                <a:gd name="T47" fmla="*/ 67 h 216"/>
                <a:gd name="T48" fmla="*/ 163 w 224"/>
                <a:gd name="T49" fmla="*/ 7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16">
                  <a:moveTo>
                    <a:pt x="163" y="74"/>
                  </a:moveTo>
                  <a:lnTo>
                    <a:pt x="163" y="74"/>
                  </a:lnTo>
                  <a:cubicBezTo>
                    <a:pt x="156" y="74"/>
                    <a:pt x="141" y="81"/>
                    <a:pt x="134" y="74"/>
                  </a:cubicBezTo>
                  <a:cubicBezTo>
                    <a:pt x="134" y="67"/>
                    <a:pt x="141" y="59"/>
                    <a:pt x="148" y="59"/>
                  </a:cubicBezTo>
                  <a:cubicBezTo>
                    <a:pt x="141" y="59"/>
                    <a:pt x="134" y="44"/>
                    <a:pt x="134" y="44"/>
                  </a:cubicBezTo>
                  <a:cubicBezTo>
                    <a:pt x="148" y="37"/>
                    <a:pt x="156" y="14"/>
                    <a:pt x="134" y="7"/>
                  </a:cubicBezTo>
                  <a:cubicBezTo>
                    <a:pt x="119" y="0"/>
                    <a:pt x="126" y="29"/>
                    <a:pt x="111" y="37"/>
                  </a:cubicBezTo>
                  <a:cubicBezTo>
                    <a:pt x="89" y="52"/>
                    <a:pt x="96" y="22"/>
                    <a:pt x="89" y="14"/>
                  </a:cubicBezTo>
                  <a:cubicBezTo>
                    <a:pt x="82" y="0"/>
                    <a:pt x="59" y="14"/>
                    <a:pt x="44" y="14"/>
                  </a:cubicBezTo>
                  <a:cubicBezTo>
                    <a:pt x="37" y="29"/>
                    <a:pt x="44" y="44"/>
                    <a:pt x="67" y="44"/>
                  </a:cubicBezTo>
                  <a:cubicBezTo>
                    <a:pt x="67" y="52"/>
                    <a:pt x="67" y="52"/>
                    <a:pt x="67" y="59"/>
                  </a:cubicBezTo>
                  <a:cubicBezTo>
                    <a:pt x="44" y="67"/>
                    <a:pt x="59" y="81"/>
                    <a:pt x="52" y="104"/>
                  </a:cubicBezTo>
                  <a:cubicBezTo>
                    <a:pt x="52" y="104"/>
                    <a:pt x="7" y="96"/>
                    <a:pt x="0" y="118"/>
                  </a:cubicBezTo>
                  <a:cubicBezTo>
                    <a:pt x="22" y="118"/>
                    <a:pt x="82" y="141"/>
                    <a:pt x="59" y="170"/>
                  </a:cubicBezTo>
                  <a:cubicBezTo>
                    <a:pt x="74" y="178"/>
                    <a:pt x="82" y="185"/>
                    <a:pt x="96" y="185"/>
                  </a:cubicBezTo>
                  <a:cubicBezTo>
                    <a:pt x="96" y="200"/>
                    <a:pt x="126" y="200"/>
                    <a:pt x="126" y="185"/>
                  </a:cubicBezTo>
                  <a:cubicBezTo>
                    <a:pt x="134" y="185"/>
                    <a:pt x="141" y="193"/>
                    <a:pt x="141" y="200"/>
                  </a:cubicBezTo>
                  <a:lnTo>
                    <a:pt x="148" y="215"/>
                  </a:lnTo>
                  <a:cubicBezTo>
                    <a:pt x="148" y="215"/>
                    <a:pt x="156" y="215"/>
                    <a:pt x="163" y="215"/>
                  </a:cubicBezTo>
                  <a:cubicBezTo>
                    <a:pt x="163" y="215"/>
                    <a:pt x="171" y="215"/>
                    <a:pt x="178" y="215"/>
                  </a:cubicBezTo>
                  <a:cubicBezTo>
                    <a:pt x="186" y="207"/>
                    <a:pt x="193" y="215"/>
                    <a:pt x="200" y="215"/>
                  </a:cubicBezTo>
                  <a:cubicBezTo>
                    <a:pt x="208" y="200"/>
                    <a:pt x="208" y="185"/>
                    <a:pt x="208" y="170"/>
                  </a:cubicBezTo>
                  <a:cubicBezTo>
                    <a:pt x="208" y="141"/>
                    <a:pt x="208" y="111"/>
                    <a:pt x="215" y="81"/>
                  </a:cubicBezTo>
                  <a:cubicBezTo>
                    <a:pt x="215" y="81"/>
                    <a:pt x="223" y="74"/>
                    <a:pt x="223" y="67"/>
                  </a:cubicBezTo>
                  <a:cubicBezTo>
                    <a:pt x="200" y="59"/>
                    <a:pt x="178" y="67"/>
                    <a:pt x="163" y="74"/>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44" name="Freeform 41">
              <a:extLst>
                <a:ext uri="{FF2B5EF4-FFF2-40B4-BE49-F238E27FC236}">
                  <a16:creationId xmlns:a16="http://schemas.microsoft.com/office/drawing/2014/main" id="{8EFA4BAC-B890-0047-9EC8-115BEA6BC05A}"/>
                </a:ext>
              </a:extLst>
            </p:cNvPr>
            <p:cNvSpPr>
              <a:spLocks noChangeArrowheads="1"/>
            </p:cNvSpPr>
            <p:nvPr/>
          </p:nvSpPr>
          <p:spPr bwMode="auto">
            <a:xfrm>
              <a:off x="11281338" y="11319437"/>
              <a:ext cx="55285" cy="64773"/>
            </a:xfrm>
            <a:custGeom>
              <a:avLst/>
              <a:gdLst>
                <a:gd name="T0" fmla="*/ 45 w 127"/>
                <a:gd name="T1" fmla="*/ 97 h 150"/>
                <a:gd name="T2" fmla="*/ 45 w 127"/>
                <a:gd name="T3" fmla="*/ 97 h 150"/>
                <a:gd name="T4" fmla="*/ 45 w 127"/>
                <a:gd name="T5" fmla="*/ 97 h 150"/>
                <a:gd name="T6" fmla="*/ 59 w 127"/>
                <a:gd name="T7" fmla="*/ 112 h 150"/>
                <a:gd name="T8" fmla="*/ 82 w 127"/>
                <a:gd name="T9" fmla="*/ 127 h 150"/>
                <a:gd name="T10" fmla="*/ 119 w 127"/>
                <a:gd name="T11" fmla="*/ 134 h 150"/>
                <a:gd name="T12" fmla="*/ 119 w 127"/>
                <a:gd name="T13" fmla="*/ 45 h 150"/>
                <a:gd name="T14" fmla="*/ 97 w 127"/>
                <a:gd name="T15" fmla="*/ 8 h 150"/>
                <a:gd name="T16" fmla="*/ 37 w 127"/>
                <a:gd name="T17" fmla="*/ 8 h 150"/>
                <a:gd name="T18" fmla="*/ 0 w 127"/>
                <a:gd name="T19" fmla="*/ 45 h 150"/>
                <a:gd name="T20" fmla="*/ 45 w 127"/>
                <a:gd name="T21" fmla="*/ 9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150">
                  <a:moveTo>
                    <a:pt x="45" y="97"/>
                  </a:moveTo>
                  <a:lnTo>
                    <a:pt x="45" y="97"/>
                  </a:lnTo>
                  <a:lnTo>
                    <a:pt x="45" y="97"/>
                  </a:lnTo>
                  <a:cubicBezTo>
                    <a:pt x="59" y="97"/>
                    <a:pt x="52" y="104"/>
                    <a:pt x="59" y="112"/>
                  </a:cubicBezTo>
                  <a:cubicBezTo>
                    <a:pt x="67" y="119"/>
                    <a:pt x="74" y="119"/>
                    <a:pt x="82" y="127"/>
                  </a:cubicBezTo>
                  <a:cubicBezTo>
                    <a:pt x="104" y="141"/>
                    <a:pt x="97" y="149"/>
                    <a:pt x="119" y="134"/>
                  </a:cubicBezTo>
                  <a:cubicBezTo>
                    <a:pt x="126" y="104"/>
                    <a:pt x="126" y="67"/>
                    <a:pt x="119" y="45"/>
                  </a:cubicBezTo>
                  <a:cubicBezTo>
                    <a:pt x="111" y="30"/>
                    <a:pt x="104" y="15"/>
                    <a:pt x="97" y="8"/>
                  </a:cubicBezTo>
                  <a:cubicBezTo>
                    <a:pt x="82" y="0"/>
                    <a:pt x="59" y="0"/>
                    <a:pt x="37" y="8"/>
                  </a:cubicBezTo>
                  <a:cubicBezTo>
                    <a:pt x="15" y="15"/>
                    <a:pt x="30" y="45"/>
                    <a:pt x="0" y="45"/>
                  </a:cubicBezTo>
                  <a:cubicBezTo>
                    <a:pt x="0" y="60"/>
                    <a:pt x="22" y="90"/>
                    <a:pt x="45" y="97"/>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45" name="Freeform 42">
              <a:extLst>
                <a:ext uri="{FF2B5EF4-FFF2-40B4-BE49-F238E27FC236}">
                  <a16:creationId xmlns:a16="http://schemas.microsoft.com/office/drawing/2014/main" id="{FDA41DA9-5FE8-054B-BD35-0814E6AC62EF}"/>
                </a:ext>
              </a:extLst>
            </p:cNvPr>
            <p:cNvSpPr>
              <a:spLocks noChangeArrowheads="1"/>
            </p:cNvSpPr>
            <p:nvPr/>
          </p:nvSpPr>
          <p:spPr bwMode="auto">
            <a:xfrm>
              <a:off x="9321595" y="8191267"/>
              <a:ext cx="97226" cy="186699"/>
            </a:xfrm>
            <a:custGeom>
              <a:avLst/>
              <a:gdLst>
                <a:gd name="T0" fmla="*/ 215 w 224"/>
                <a:gd name="T1" fmla="*/ 193 h 432"/>
                <a:gd name="T2" fmla="*/ 215 w 224"/>
                <a:gd name="T3" fmla="*/ 193 h 432"/>
                <a:gd name="T4" fmla="*/ 193 w 224"/>
                <a:gd name="T5" fmla="*/ 193 h 432"/>
                <a:gd name="T6" fmla="*/ 186 w 224"/>
                <a:gd name="T7" fmla="*/ 215 h 432"/>
                <a:gd name="T8" fmla="*/ 119 w 224"/>
                <a:gd name="T9" fmla="*/ 186 h 432"/>
                <a:gd name="T10" fmla="*/ 156 w 224"/>
                <a:gd name="T11" fmla="*/ 156 h 432"/>
                <a:gd name="T12" fmla="*/ 215 w 224"/>
                <a:gd name="T13" fmla="*/ 134 h 432"/>
                <a:gd name="T14" fmla="*/ 60 w 224"/>
                <a:gd name="T15" fmla="*/ 0 h 432"/>
                <a:gd name="T16" fmla="*/ 22 w 224"/>
                <a:gd name="T17" fmla="*/ 37 h 432"/>
                <a:gd name="T18" fmla="*/ 15 w 224"/>
                <a:gd name="T19" fmla="*/ 37 h 432"/>
                <a:gd name="T20" fmla="*/ 7 w 224"/>
                <a:gd name="T21" fmla="*/ 215 h 432"/>
                <a:gd name="T22" fmla="*/ 223 w 224"/>
                <a:gd name="T23" fmla="*/ 290 h 432"/>
                <a:gd name="T24" fmla="*/ 223 w 224"/>
                <a:gd name="T25" fmla="*/ 230 h 432"/>
                <a:gd name="T26" fmla="*/ 223 w 224"/>
                <a:gd name="T27" fmla="*/ 230 h 432"/>
                <a:gd name="T28" fmla="*/ 223 w 224"/>
                <a:gd name="T29" fmla="*/ 230 h 432"/>
                <a:gd name="T30" fmla="*/ 223 w 224"/>
                <a:gd name="T31" fmla="*/ 193 h 432"/>
                <a:gd name="T32" fmla="*/ 215 w 224"/>
                <a:gd name="T33" fmla="*/ 1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432">
                  <a:moveTo>
                    <a:pt x="215" y="193"/>
                  </a:moveTo>
                  <a:lnTo>
                    <a:pt x="215" y="193"/>
                  </a:lnTo>
                  <a:cubicBezTo>
                    <a:pt x="208" y="193"/>
                    <a:pt x="201" y="193"/>
                    <a:pt x="193" y="193"/>
                  </a:cubicBezTo>
                  <a:cubicBezTo>
                    <a:pt x="193" y="201"/>
                    <a:pt x="186" y="208"/>
                    <a:pt x="186" y="215"/>
                  </a:cubicBezTo>
                  <a:cubicBezTo>
                    <a:pt x="171" y="215"/>
                    <a:pt x="119" y="223"/>
                    <a:pt x="119" y="186"/>
                  </a:cubicBezTo>
                  <a:cubicBezTo>
                    <a:pt x="126" y="171"/>
                    <a:pt x="149" y="178"/>
                    <a:pt x="156" y="156"/>
                  </a:cubicBezTo>
                  <a:cubicBezTo>
                    <a:pt x="178" y="156"/>
                    <a:pt x="223" y="171"/>
                    <a:pt x="215" y="134"/>
                  </a:cubicBezTo>
                  <a:cubicBezTo>
                    <a:pt x="208" y="96"/>
                    <a:pt x="112" y="15"/>
                    <a:pt x="60" y="0"/>
                  </a:cubicBezTo>
                  <a:cubicBezTo>
                    <a:pt x="60" y="15"/>
                    <a:pt x="37" y="22"/>
                    <a:pt x="22" y="37"/>
                  </a:cubicBezTo>
                  <a:cubicBezTo>
                    <a:pt x="22" y="37"/>
                    <a:pt x="22" y="37"/>
                    <a:pt x="15" y="37"/>
                  </a:cubicBezTo>
                  <a:cubicBezTo>
                    <a:pt x="0" y="89"/>
                    <a:pt x="0" y="186"/>
                    <a:pt x="7" y="215"/>
                  </a:cubicBezTo>
                  <a:cubicBezTo>
                    <a:pt x="52" y="431"/>
                    <a:pt x="67" y="297"/>
                    <a:pt x="223" y="290"/>
                  </a:cubicBezTo>
                  <a:cubicBezTo>
                    <a:pt x="223" y="275"/>
                    <a:pt x="223" y="252"/>
                    <a:pt x="223" y="230"/>
                  </a:cubicBezTo>
                  <a:lnTo>
                    <a:pt x="223" y="230"/>
                  </a:lnTo>
                  <a:lnTo>
                    <a:pt x="223" y="230"/>
                  </a:lnTo>
                  <a:cubicBezTo>
                    <a:pt x="223" y="215"/>
                    <a:pt x="223" y="208"/>
                    <a:pt x="223" y="193"/>
                  </a:cubicBezTo>
                  <a:cubicBezTo>
                    <a:pt x="223" y="193"/>
                    <a:pt x="223" y="193"/>
                    <a:pt x="215" y="193"/>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sp>
          <p:nvSpPr>
            <p:cNvPr id="46" name="Freeform 43">
              <a:extLst>
                <a:ext uri="{FF2B5EF4-FFF2-40B4-BE49-F238E27FC236}">
                  <a16:creationId xmlns:a16="http://schemas.microsoft.com/office/drawing/2014/main" id="{F005361B-4C05-DB4D-BD75-84C92EE80EE1}"/>
                </a:ext>
              </a:extLst>
            </p:cNvPr>
            <p:cNvSpPr>
              <a:spLocks noChangeArrowheads="1"/>
            </p:cNvSpPr>
            <p:nvPr/>
          </p:nvSpPr>
          <p:spPr bwMode="auto">
            <a:xfrm>
              <a:off x="9329221" y="8191267"/>
              <a:ext cx="19064" cy="17146"/>
            </a:xfrm>
            <a:custGeom>
              <a:avLst/>
              <a:gdLst>
                <a:gd name="T0" fmla="*/ 45 w 46"/>
                <a:gd name="T1" fmla="*/ 0 h 38"/>
                <a:gd name="T2" fmla="*/ 45 w 46"/>
                <a:gd name="T3" fmla="*/ 0 h 38"/>
                <a:gd name="T4" fmla="*/ 22 w 46"/>
                <a:gd name="T5" fmla="*/ 0 h 38"/>
                <a:gd name="T6" fmla="*/ 0 w 46"/>
                <a:gd name="T7" fmla="*/ 37 h 38"/>
                <a:gd name="T8" fmla="*/ 7 w 46"/>
                <a:gd name="T9" fmla="*/ 37 h 38"/>
                <a:gd name="T10" fmla="*/ 45 w 46"/>
                <a:gd name="T11" fmla="*/ 0 h 38"/>
              </a:gdLst>
              <a:ahLst/>
              <a:cxnLst>
                <a:cxn ang="0">
                  <a:pos x="T0" y="T1"/>
                </a:cxn>
                <a:cxn ang="0">
                  <a:pos x="T2" y="T3"/>
                </a:cxn>
                <a:cxn ang="0">
                  <a:pos x="T4" y="T5"/>
                </a:cxn>
                <a:cxn ang="0">
                  <a:pos x="T6" y="T7"/>
                </a:cxn>
                <a:cxn ang="0">
                  <a:pos x="T8" y="T9"/>
                </a:cxn>
                <a:cxn ang="0">
                  <a:pos x="T10" y="T11"/>
                </a:cxn>
              </a:cxnLst>
              <a:rect l="0" t="0" r="r" b="b"/>
              <a:pathLst>
                <a:path w="46" h="38">
                  <a:moveTo>
                    <a:pt x="45" y="0"/>
                  </a:moveTo>
                  <a:lnTo>
                    <a:pt x="45" y="0"/>
                  </a:lnTo>
                  <a:cubicBezTo>
                    <a:pt x="30" y="0"/>
                    <a:pt x="22" y="0"/>
                    <a:pt x="22" y="0"/>
                  </a:cubicBezTo>
                  <a:cubicBezTo>
                    <a:pt x="15" y="7"/>
                    <a:pt x="7" y="22"/>
                    <a:pt x="0" y="37"/>
                  </a:cubicBezTo>
                  <a:cubicBezTo>
                    <a:pt x="7" y="37"/>
                    <a:pt x="7" y="37"/>
                    <a:pt x="7" y="37"/>
                  </a:cubicBezTo>
                  <a:cubicBezTo>
                    <a:pt x="22" y="22"/>
                    <a:pt x="45" y="15"/>
                    <a:pt x="45" y="0"/>
                  </a:cubicBezTo>
                </a:path>
              </a:pathLst>
            </a:custGeom>
            <a:grpFill/>
            <a:ln w="9525" cap="flat">
              <a:solidFill>
                <a:schemeClr val="bg1"/>
              </a:solidFill>
              <a:bevel/>
              <a:headEnd/>
              <a:tailEnd/>
            </a:ln>
            <a:effectLst/>
          </p:spPr>
          <p:txBody>
            <a:bodyPr wrap="none" lIns="54848" tIns="27424" rIns="54848" bIns="27424" anchor="ctr"/>
            <a:lstStyle/>
            <a:p>
              <a:pPr defTabSz="457128"/>
              <a:endParaRPr lang="en-US" sz="810">
                <a:solidFill>
                  <a:srgbClr val="333634"/>
                </a:solidFill>
                <a:latin typeface="Calibri Light"/>
              </a:endParaRPr>
            </a:p>
          </p:txBody>
        </p:sp>
      </p:grpSp>
    </p:spTree>
    <p:extLst>
      <p:ext uri="{BB962C8B-B14F-4D97-AF65-F5344CB8AC3E}">
        <p14:creationId xmlns:p14="http://schemas.microsoft.com/office/powerpoint/2010/main" val="32401525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58926-9FD4-3747-A4F7-08BB21E7B657}"/>
              </a:ext>
            </a:extLst>
          </p:cNvPr>
          <p:cNvSpPr>
            <a:spLocks noGrp="1"/>
          </p:cNvSpPr>
          <p:nvPr>
            <p:ph type="title"/>
          </p:nvPr>
        </p:nvSpPr>
        <p:spPr/>
        <p:txBody>
          <a:bodyPr/>
          <a:lstStyle/>
          <a:p>
            <a:r>
              <a:rPr lang="en-US" dirty="0"/>
              <a:t>Asia</a:t>
            </a:r>
          </a:p>
        </p:txBody>
      </p:sp>
      <p:grpSp>
        <p:nvGrpSpPr>
          <p:cNvPr id="3" name="Group 2">
            <a:extLst>
              <a:ext uri="{FF2B5EF4-FFF2-40B4-BE49-F238E27FC236}">
                <a16:creationId xmlns:a16="http://schemas.microsoft.com/office/drawing/2014/main" id="{C7F9D3B2-776D-9B43-A9C1-27AB370116C8}"/>
              </a:ext>
            </a:extLst>
          </p:cNvPr>
          <p:cNvGrpSpPr/>
          <p:nvPr/>
        </p:nvGrpSpPr>
        <p:grpSpPr>
          <a:xfrm>
            <a:off x="3314251" y="947456"/>
            <a:ext cx="5653363" cy="5278379"/>
            <a:chOff x="360363" y="1196975"/>
            <a:chExt cx="7053262" cy="7664450"/>
          </a:xfrm>
          <a:solidFill>
            <a:schemeClr val="bg1">
              <a:lumMod val="75000"/>
            </a:schemeClr>
          </a:solidFill>
        </p:grpSpPr>
        <p:sp>
          <p:nvSpPr>
            <p:cNvPr id="4" name="Freeform 1">
              <a:extLst>
                <a:ext uri="{FF2B5EF4-FFF2-40B4-BE49-F238E27FC236}">
                  <a16:creationId xmlns:a16="http://schemas.microsoft.com/office/drawing/2014/main" id="{3BC3E34A-18A9-464E-9572-4905173F1D24}"/>
                </a:ext>
              </a:extLst>
            </p:cNvPr>
            <p:cNvSpPr>
              <a:spLocks noChangeArrowheads="1"/>
            </p:cNvSpPr>
            <p:nvPr/>
          </p:nvSpPr>
          <p:spPr bwMode="auto">
            <a:xfrm>
              <a:off x="1274763" y="6921500"/>
              <a:ext cx="15875" cy="15875"/>
            </a:xfrm>
            <a:custGeom>
              <a:avLst/>
              <a:gdLst>
                <a:gd name="T0" fmla="*/ 20 w 42"/>
                <a:gd name="T1" fmla="*/ 0 h 43"/>
                <a:gd name="T2" fmla="*/ 20 w 42"/>
                <a:gd name="T3" fmla="*/ 0 h 43"/>
                <a:gd name="T4" fmla="*/ 0 w 42"/>
                <a:gd name="T5" fmla="*/ 0 h 43"/>
                <a:gd name="T6" fmla="*/ 0 w 42"/>
                <a:gd name="T7" fmla="*/ 21 h 43"/>
                <a:gd name="T8" fmla="*/ 0 w 42"/>
                <a:gd name="T9" fmla="*/ 21 h 43"/>
                <a:gd name="T10" fmla="*/ 20 w 42"/>
                <a:gd name="T11" fmla="*/ 42 h 43"/>
                <a:gd name="T12" fmla="*/ 20 w 42"/>
                <a:gd name="T13" fmla="*/ 21 h 43"/>
                <a:gd name="T14" fmla="*/ 20 w 42"/>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20" y="0"/>
                  </a:moveTo>
                  <a:lnTo>
                    <a:pt x="20" y="0"/>
                  </a:lnTo>
                  <a:cubicBezTo>
                    <a:pt x="20" y="0"/>
                    <a:pt x="20" y="0"/>
                    <a:pt x="0" y="0"/>
                  </a:cubicBezTo>
                  <a:cubicBezTo>
                    <a:pt x="0" y="0"/>
                    <a:pt x="0" y="0"/>
                    <a:pt x="0" y="21"/>
                  </a:cubicBezTo>
                  <a:lnTo>
                    <a:pt x="0" y="21"/>
                  </a:lnTo>
                  <a:lnTo>
                    <a:pt x="20" y="42"/>
                  </a:lnTo>
                  <a:lnTo>
                    <a:pt x="20" y="21"/>
                  </a:lnTo>
                  <a:cubicBezTo>
                    <a:pt x="41" y="21"/>
                    <a:pt x="2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 name="Freeform 2">
              <a:extLst>
                <a:ext uri="{FF2B5EF4-FFF2-40B4-BE49-F238E27FC236}">
                  <a16:creationId xmlns:a16="http://schemas.microsoft.com/office/drawing/2014/main" id="{6C77ECF8-13D9-7448-9303-31D79F184CA4}"/>
                </a:ext>
              </a:extLst>
            </p:cNvPr>
            <p:cNvSpPr>
              <a:spLocks noChangeArrowheads="1"/>
            </p:cNvSpPr>
            <p:nvPr/>
          </p:nvSpPr>
          <p:spPr bwMode="auto">
            <a:xfrm>
              <a:off x="1274763" y="6899275"/>
              <a:ext cx="7937" cy="15875"/>
            </a:xfrm>
            <a:custGeom>
              <a:avLst/>
              <a:gdLst>
                <a:gd name="T0" fmla="*/ 20 w 21"/>
                <a:gd name="T1" fmla="*/ 21 h 42"/>
                <a:gd name="T2" fmla="*/ 20 w 21"/>
                <a:gd name="T3" fmla="*/ 21 h 42"/>
                <a:gd name="T4" fmla="*/ 0 w 21"/>
                <a:gd name="T5" fmla="*/ 21 h 42"/>
                <a:gd name="T6" fmla="*/ 0 w 21"/>
                <a:gd name="T7" fmla="*/ 0 h 42"/>
                <a:gd name="T8" fmla="*/ 20 w 21"/>
                <a:gd name="T9" fmla="*/ 0 h 42"/>
                <a:gd name="T10" fmla="*/ 20 w 21"/>
                <a:gd name="T11" fmla="*/ 0 h 42"/>
                <a:gd name="T12" fmla="*/ 20 w 21"/>
                <a:gd name="T13" fmla="*/ 21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21"/>
                  </a:moveTo>
                  <a:lnTo>
                    <a:pt x="20" y="21"/>
                  </a:lnTo>
                  <a:cubicBezTo>
                    <a:pt x="20" y="41"/>
                    <a:pt x="20" y="21"/>
                    <a:pt x="0" y="21"/>
                  </a:cubicBezTo>
                  <a:cubicBezTo>
                    <a:pt x="0" y="21"/>
                    <a:pt x="0" y="21"/>
                    <a:pt x="0" y="0"/>
                  </a:cubicBezTo>
                  <a:cubicBezTo>
                    <a:pt x="0" y="0"/>
                    <a:pt x="0" y="0"/>
                    <a:pt x="20" y="0"/>
                  </a:cubicBezTo>
                  <a:lnTo>
                    <a:pt x="20" y="0"/>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 name="Freeform 3">
              <a:extLst>
                <a:ext uri="{FF2B5EF4-FFF2-40B4-BE49-F238E27FC236}">
                  <a16:creationId xmlns:a16="http://schemas.microsoft.com/office/drawing/2014/main" id="{A568E63A-B94A-6B44-9F2B-3B99761F2E8E}"/>
                </a:ext>
              </a:extLst>
            </p:cNvPr>
            <p:cNvSpPr>
              <a:spLocks noChangeArrowheads="1"/>
            </p:cNvSpPr>
            <p:nvPr/>
          </p:nvSpPr>
          <p:spPr bwMode="auto">
            <a:xfrm>
              <a:off x="1260475" y="6796088"/>
              <a:ext cx="7938" cy="15875"/>
            </a:xfrm>
            <a:custGeom>
              <a:avLst/>
              <a:gdLst>
                <a:gd name="T0" fmla="*/ 20 w 21"/>
                <a:gd name="T1" fmla="*/ 20 h 42"/>
                <a:gd name="T2" fmla="*/ 20 w 21"/>
                <a:gd name="T3" fmla="*/ 20 h 42"/>
                <a:gd name="T4" fmla="*/ 20 w 21"/>
                <a:gd name="T5" fmla="*/ 0 h 42"/>
                <a:gd name="T6" fmla="*/ 0 w 21"/>
                <a:gd name="T7" fmla="*/ 20 h 42"/>
                <a:gd name="T8" fmla="*/ 0 w 21"/>
                <a:gd name="T9" fmla="*/ 20 h 42"/>
                <a:gd name="T10" fmla="*/ 20 w 21"/>
                <a:gd name="T11" fmla="*/ 41 h 42"/>
                <a:gd name="T12" fmla="*/ 20 w 21"/>
                <a:gd name="T13" fmla="*/ 41 h 42"/>
                <a:gd name="T14" fmla="*/ 20 w 21"/>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20"/>
                  </a:moveTo>
                  <a:lnTo>
                    <a:pt x="20" y="20"/>
                  </a:lnTo>
                  <a:cubicBezTo>
                    <a:pt x="20" y="20"/>
                    <a:pt x="20" y="20"/>
                    <a:pt x="20" y="0"/>
                  </a:cubicBezTo>
                  <a:cubicBezTo>
                    <a:pt x="20" y="0"/>
                    <a:pt x="20" y="20"/>
                    <a:pt x="0" y="20"/>
                  </a:cubicBezTo>
                  <a:lnTo>
                    <a:pt x="0" y="20"/>
                  </a:lnTo>
                  <a:cubicBezTo>
                    <a:pt x="0" y="41"/>
                    <a:pt x="20" y="41"/>
                    <a:pt x="20" y="41"/>
                  </a:cubicBezTo>
                  <a:lnTo>
                    <a:pt x="20" y="41"/>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 name="Freeform 4">
              <a:extLst>
                <a:ext uri="{FF2B5EF4-FFF2-40B4-BE49-F238E27FC236}">
                  <a16:creationId xmlns:a16="http://schemas.microsoft.com/office/drawing/2014/main" id="{A1064B05-C518-A644-AF38-36DA5C9CBA09}"/>
                </a:ext>
              </a:extLst>
            </p:cNvPr>
            <p:cNvSpPr>
              <a:spLocks noChangeArrowheads="1"/>
            </p:cNvSpPr>
            <p:nvPr/>
          </p:nvSpPr>
          <p:spPr bwMode="auto">
            <a:xfrm>
              <a:off x="1252538" y="6737350"/>
              <a:ext cx="15875" cy="15875"/>
            </a:xfrm>
            <a:custGeom>
              <a:avLst/>
              <a:gdLst>
                <a:gd name="T0" fmla="*/ 0 w 42"/>
                <a:gd name="T1" fmla="*/ 0 h 42"/>
                <a:gd name="T2" fmla="*/ 0 w 42"/>
                <a:gd name="T3" fmla="*/ 0 h 42"/>
                <a:gd name="T4" fmla="*/ 0 w 42"/>
                <a:gd name="T5" fmla="*/ 21 h 42"/>
                <a:gd name="T6" fmla="*/ 0 w 42"/>
                <a:gd name="T7" fmla="*/ 21 h 42"/>
                <a:gd name="T8" fmla="*/ 21 w 42"/>
                <a:gd name="T9" fmla="*/ 41 h 42"/>
                <a:gd name="T10" fmla="*/ 21 w 42"/>
                <a:gd name="T11" fmla="*/ 21 h 42"/>
                <a:gd name="T12" fmla="*/ 21 w 42"/>
                <a:gd name="T13" fmla="*/ 0 h 42"/>
                <a:gd name="T14" fmla="*/ 21 w 42"/>
                <a:gd name="T15" fmla="*/ 0 h 42"/>
                <a:gd name="T16" fmla="*/ 0 w 4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0" y="0"/>
                  </a:moveTo>
                  <a:lnTo>
                    <a:pt x="0" y="0"/>
                  </a:lnTo>
                  <a:cubicBezTo>
                    <a:pt x="0" y="0"/>
                    <a:pt x="0" y="0"/>
                    <a:pt x="0" y="21"/>
                  </a:cubicBezTo>
                  <a:lnTo>
                    <a:pt x="0" y="21"/>
                  </a:lnTo>
                  <a:lnTo>
                    <a:pt x="21" y="41"/>
                  </a:lnTo>
                  <a:lnTo>
                    <a:pt x="21" y="21"/>
                  </a:lnTo>
                  <a:cubicBezTo>
                    <a:pt x="41" y="21"/>
                    <a:pt x="21" y="21"/>
                    <a:pt x="21" y="0"/>
                  </a:cubicBezTo>
                  <a:lnTo>
                    <a:pt x="21" y="0"/>
                  </a:lnTo>
                  <a:cubicBezTo>
                    <a:pt x="21" y="0"/>
                    <a:pt x="21"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 name="Freeform 5">
              <a:extLst>
                <a:ext uri="{FF2B5EF4-FFF2-40B4-BE49-F238E27FC236}">
                  <a16:creationId xmlns:a16="http://schemas.microsoft.com/office/drawing/2014/main" id="{AA5995D9-E613-714F-AAF4-F5D06CFE1F90}"/>
                </a:ext>
              </a:extLst>
            </p:cNvPr>
            <p:cNvSpPr>
              <a:spLocks noChangeArrowheads="1"/>
            </p:cNvSpPr>
            <p:nvPr/>
          </p:nvSpPr>
          <p:spPr bwMode="auto">
            <a:xfrm>
              <a:off x="1252538" y="6773863"/>
              <a:ext cx="15875" cy="7937"/>
            </a:xfrm>
            <a:custGeom>
              <a:avLst/>
              <a:gdLst>
                <a:gd name="T0" fmla="*/ 21 w 42"/>
                <a:gd name="T1" fmla="*/ 21 h 22"/>
                <a:gd name="T2" fmla="*/ 21 w 42"/>
                <a:gd name="T3" fmla="*/ 21 h 22"/>
                <a:gd name="T4" fmla="*/ 41 w 42"/>
                <a:gd name="T5" fmla="*/ 0 h 22"/>
                <a:gd name="T6" fmla="*/ 21 w 42"/>
                <a:gd name="T7" fmla="*/ 0 h 22"/>
                <a:gd name="T8" fmla="*/ 0 w 42"/>
                <a:gd name="T9" fmla="*/ 0 h 22"/>
                <a:gd name="T10" fmla="*/ 0 w 42"/>
                <a:gd name="T11" fmla="*/ 21 h 22"/>
                <a:gd name="T12" fmla="*/ 21 w 42"/>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21" y="21"/>
                  </a:moveTo>
                  <a:lnTo>
                    <a:pt x="21" y="21"/>
                  </a:lnTo>
                  <a:lnTo>
                    <a:pt x="41" y="0"/>
                  </a:lnTo>
                  <a:lnTo>
                    <a:pt x="21" y="0"/>
                  </a:lnTo>
                  <a:lnTo>
                    <a:pt x="0" y="0"/>
                  </a:lnTo>
                  <a:lnTo>
                    <a:pt x="0" y="21"/>
                  </a:lnTo>
                  <a:lnTo>
                    <a:pt x="2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 name="Freeform 6">
              <a:extLst>
                <a:ext uri="{FF2B5EF4-FFF2-40B4-BE49-F238E27FC236}">
                  <a16:creationId xmlns:a16="http://schemas.microsoft.com/office/drawing/2014/main" id="{C4AC2489-678E-3948-AA13-4C61A26D9BF6}"/>
                </a:ext>
              </a:extLst>
            </p:cNvPr>
            <p:cNvSpPr>
              <a:spLocks noChangeArrowheads="1"/>
            </p:cNvSpPr>
            <p:nvPr/>
          </p:nvSpPr>
          <p:spPr bwMode="auto">
            <a:xfrm>
              <a:off x="1274763" y="6508750"/>
              <a:ext cx="649287" cy="509588"/>
            </a:xfrm>
            <a:custGeom>
              <a:avLst/>
              <a:gdLst>
                <a:gd name="T0" fmla="*/ 1762 w 1804"/>
                <a:gd name="T1" fmla="*/ 451 h 1414"/>
                <a:gd name="T2" fmla="*/ 1782 w 1804"/>
                <a:gd name="T3" fmla="*/ 553 h 1414"/>
                <a:gd name="T4" fmla="*/ 1659 w 1804"/>
                <a:gd name="T5" fmla="*/ 635 h 1414"/>
                <a:gd name="T6" fmla="*/ 1639 w 1804"/>
                <a:gd name="T7" fmla="*/ 717 h 1414"/>
                <a:gd name="T8" fmla="*/ 1639 w 1804"/>
                <a:gd name="T9" fmla="*/ 779 h 1414"/>
                <a:gd name="T10" fmla="*/ 1598 w 1804"/>
                <a:gd name="T11" fmla="*/ 799 h 1414"/>
                <a:gd name="T12" fmla="*/ 1557 w 1804"/>
                <a:gd name="T13" fmla="*/ 819 h 1414"/>
                <a:gd name="T14" fmla="*/ 1516 w 1804"/>
                <a:gd name="T15" fmla="*/ 840 h 1414"/>
                <a:gd name="T16" fmla="*/ 1434 w 1804"/>
                <a:gd name="T17" fmla="*/ 881 h 1414"/>
                <a:gd name="T18" fmla="*/ 1290 w 1804"/>
                <a:gd name="T19" fmla="*/ 922 h 1414"/>
                <a:gd name="T20" fmla="*/ 1188 w 1804"/>
                <a:gd name="T21" fmla="*/ 983 h 1414"/>
                <a:gd name="T22" fmla="*/ 1126 w 1804"/>
                <a:gd name="T23" fmla="*/ 1025 h 1414"/>
                <a:gd name="T24" fmla="*/ 1024 w 1804"/>
                <a:gd name="T25" fmla="*/ 1107 h 1414"/>
                <a:gd name="T26" fmla="*/ 942 w 1804"/>
                <a:gd name="T27" fmla="*/ 1127 h 1414"/>
                <a:gd name="T28" fmla="*/ 860 w 1804"/>
                <a:gd name="T29" fmla="*/ 1147 h 1414"/>
                <a:gd name="T30" fmla="*/ 778 w 1804"/>
                <a:gd name="T31" fmla="*/ 1209 h 1414"/>
                <a:gd name="T32" fmla="*/ 717 w 1804"/>
                <a:gd name="T33" fmla="*/ 1229 h 1414"/>
                <a:gd name="T34" fmla="*/ 614 w 1804"/>
                <a:gd name="T35" fmla="*/ 1250 h 1414"/>
                <a:gd name="T36" fmla="*/ 532 w 1804"/>
                <a:gd name="T37" fmla="*/ 1271 h 1414"/>
                <a:gd name="T38" fmla="*/ 492 w 1804"/>
                <a:gd name="T39" fmla="*/ 1291 h 1414"/>
                <a:gd name="T40" fmla="*/ 430 w 1804"/>
                <a:gd name="T41" fmla="*/ 1353 h 1414"/>
                <a:gd name="T42" fmla="*/ 368 w 1804"/>
                <a:gd name="T43" fmla="*/ 1353 h 1414"/>
                <a:gd name="T44" fmla="*/ 307 w 1804"/>
                <a:gd name="T45" fmla="*/ 1353 h 1414"/>
                <a:gd name="T46" fmla="*/ 266 w 1804"/>
                <a:gd name="T47" fmla="*/ 1413 h 1414"/>
                <a:gd name="T48" fmla="*/ 225 w 1804"/>
                <a:gd name="T49" fmla="*/ 1393 h 1414"/>
                <a:gd name="T50" fmla="*/ 184 w 1804"/>
                <a:gd name="T51" fmla="*/ 1373 h 1414"/>
                <a:gd name="T52" fmla="*/ 143 w 1804"/>
                <a:gd name="T53" fmla="*/ 1373 h 1414"/>
                <a:gd name="T54" fmla="*/ 122 w 1804"/>
                <a:gd name="T55" fmla="*/ 1311 h 1414"/>
                <a:gd name="T56" fmla="*/ 102 w 1804"/>
                <a:gd name="T57" fmla="*/ 1250 h 1414"/>
                <a:gd name="T58" fmla="*/ 122 w 1804"/>
                <a:gd name="T59" fmla="*/ 1189 h 1414"/>
                <a:gd name="T60" fmla="*/ 102 w 1804"/>
                <a:gd name="T61" fmla="*/ 1127 h 1414"/>
                <a:gd name="T62" fmla="*/ 82 w 1804"/>
                <a:gd name="T63" fmla="*/ 1065 h 1414"/>
                <a:gd name="T64" fmla="*/ 41 w 1804"/>
                <a:gd name="T65" fmla="*/ 1004 h 1414"/>
                <a:gd name="T66" fmla="*/ 41 w 1804"/>
                <a:gd name="T67" fmla="*/ 922 h 1414"/>
                <a:gd name="T68" fmla="*/ 20 w 1804"/>
                <a:gd name="T69" fmla="*/ 861 h 1414"/>
                <a:gd name="T70" fmla="*/ 20 w 1804"/>
                <a:gd name="T71" fmla="*/ 840 h 1414"/>
                <a:gd name="T72" fmla="*/ 20 w 1804"/>
                <a:gd name="T73" fmla="*/ 799 h 1414"/>
                <a:gd name="T74" fmla="*/ 20 w 1804"/>
                <a:gd name="T75" fmla="*/ 737 h 1414"/>
                <a:gd name="T76" fmla="*/ 20 w 1804"/>
                <a:gd name="T77" fmla="*/ 635 h 1414"/>
                <a:gd name="T78" fmla="*/ 20 w 1804"/>
                <a:gd name="T79" fmla="*/ 615 h 1414"/>
                <a:gd name="T80" fmla="*/ 61 w 1804"/>
                <a:gd name="T81" fmla="*/ 574 h 1414"/>
                <a:gd name="T82" fmla="*/ 122 w 1804"/>
                <a:gd name="T83" fmla="*/ 574 h 1414"/>
                <a:gd name="T84" fmla="*/ 102 w 1804"/>
                <a:gd name="T85" fmla="*/ 512 h 1414"/>
                <a:gd name="T86" fmla="*/ 82 w 1804"/>
                <a:gd name="T87" fmla="*/ 471 h 1414"/>
                <a:gd name="T88" fmla="*/ 82 w 1804"/>
                <a:gd name="T89" fmla="*/ 410 h 1414"/>
                <a:gd name="T90" fmla="*/ 122 w 1804"/>
                <a:gd name="T91" fmla="*/ 369 h 1414"/>
                <a:gd name="T92" fmla="*/ 164 w 1804"/>
                <a:gd name="T93" fmla="*/ 348 h 1414"/>
                <a:gd name="T94" fmla="*/ 184 w 1804"/>
                <a:gd name="T95" fmla="*/ 389 h 1414"/>
                <a:gd name="T96" fmla="*/ 225 w 1804"/>
                <a:gd name="T97" fmla="*/ 410 h 1414"/>
                <a:gd name="T98" fmla="*/ 307 w 1804"/>
                <a:gd name="T99" fmla="*/ 410 h 1414"/>
                <a:gd name="T100" fmla="*/ 389 w 1804"/>
                <a:gd name="T101" fmla="*/ 430 h 1414"/>
                <a:gd name="T102" fmla="*/ 614 w 1804"/>
                <a:gd name="T103" fmla="*/ 512 h 1414"/>
                <a:gd name="T104" fmla="*/ 717 w 1804"/>
                <a:gd name="T105" fmla="*/ 635 h 1414"/>
                <a:gd name="T106" fmla="*/ 1086 w 1804"/>
                <a:gd name="T107" fmla="*/ 20 h 1414"/>
                <a:gd name="T108" fmla="*/ 1721 w 1804"/>
                <a:gd name="T109" fmla="*/ 369 h 1414"/>
                <a:gd name="T110" fmla="*/ 1741 w 1804"/>
                <a:gd name="T111" fmla="*/ 430 h 1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04" h="1414">
                  <a:moveTo>
                    <a:pt x="1762" y="451"/>
                  </a:moveTo>
                  <a:lnTo>
                    <a:pt x="1762" y="451"/>
                  </a:lnTo>
                  <a:cubicBezTo>
                    <a:pt x="1803" y="553"/>
                    <a:pt x="1803" y="553"/>
                    <a:pt x="1803" y="553"/>
                  </a:cubicBezTo>
                  <a:cubicBezTo>
                    <a:pt x="1803" y="553"/>
                    <a:pt x="1803" y="553"/>
                    <a:pt x="1782" y="553"/>
                  </a:cubicBezTo>
                  <a:cubicBezTo>
                    <a:pt x="1782" y="553"/>
                    <a:pt x="1741" y="574"/>
                    <a:pt x="1721" y="574"/>
                  </a:cubicBezTo>
                  <a:cubicBezTo>
                    <a:pt x="1721" y="594"/>
                    <a:pt x="1680" y="615"/>
                    <a:pt x="1659" y="635"/>
                  </a:cubicBezTo>
                  <a:cubicBezTo>
                    <a:pt x="1659" y="635"/>
                    <a:pt x="1639" y="656"/>
                    <a:pt x="1639" y="676"/>
                  </a:cubicBezTo>
                  <a:cubicBezTo>
                    <a:pt x="1639" y="676"/>
                    <a:pt x="1639" y="697"/>
                    <a:pt x="1639" y="717"/>
                  </a:cubicBezTo>
                  <a:lnTo>
                    <a:pt x="1659" y="737"/>
                  </a:lnTo>
                  <a:cubicBezTo>
                    <a:pt x="1639" y="758"/>
                    <a:pt x="1639" y="758"/>
                    <a:pt x="1639" y="779"/>
                  </a:cubicBezTo>
                  <a:cubicBezTo>
                    <a:pt x="1639" y="779"/>
                    <a:pt x="1618" y="779"/>
                    <a:pt x="1598" y="779"/>
                  </a:cubicBezTo>
                  <a:lnTo>
                    <a:pt x="1598" y="799"/>
                  </a:lnTo>
                  <a:cubicBezTo>
                    <a:pt x="1578" y="799"/>
                    <a:pt x="1578" y="819"/>
                    <a:pt x="1578" y="819"/>
                  </a:cubicBezTo>
                  <a:cubicBezTo>
                    <a:pt x="1557" y="819"/>
                    <a:pt x="1557" y="819"/>
                    <a:pt x="1557" y="819"/>
                  </a:cubicBezTo>
                  <a:cubicBezTo>
                    <a:pt x="1536" y="819"/>
                    <a:pt x="1536" y="840"/>
                    <a:pt x="1536" y="840"/>
                  </a:cubicBezTo>
                  <a:lnTo>
                    <a:pt x="1516" y="840"/>
                  </a:lnTo>
                  <a:lnTo>
                    <a:pt x="1496" y="861"/>
                  </a:lnTo>
                  <a:cubicBezTo>
                    <a:pt x="1475" y="861"/>
                    <a:pt x="1434" y="881"/>
                    <a:pt x="1434" y="881"/>
                  </a:cubicBezTo>
                  <a:cubicBezTo>
                    <a:pt x="1414" y="881"/>
                    <a:pt x="1372" y="901"/>
                    <a:pt x="1352" y="901"/>
                  </a:cubicBezTo>
                  <a:cubicBezTo>
                    <a:pt x="1332" y="922"/>
                    <a:pt x="1311" y="922"/>
                    <a:pt x="1290" y="922"/>
                  </a:cubicBezTo>
                  <a:cubicBezTo>
                    <a:pt x="1270" y="922"/>
                    <a:pt x="1250" y="943"/>
                    <a:pt x="1229" y="943"/>
                  </a:cubicBezTo>
                  <a:cubicBezTo>
                    <a:pt x="1229" y="963"/>
                    <a:pt x="1188" y="963"/>
                    <a:pt x="1188" y="983"/>
                  </a:cubicBezTo>
                  <a:cubicBezTo>
                    <a:pt x="1188" y="983"/>
                    <a:pt x="1168" y="983"/>
                    <a:pt x="1168" y="1004"/>
                  </a:cubicBezTo>
                  <a:cubicBezTo>
                    <a:pt x="1147" y="1004"/>
                    <a:pt x="1126" y="1025"/>
                    <a:pt x="1126" y="1025"/>
                  </a:cubicBezTo>
                  <a:cubicBezTo>
                    <a:pt x="1106" y="1025"/>
                    <a:pt x="1086" y="1065"/>
                    <a:pt x="1086" y="1065"/>
                  </a:cubicBezTo>
                  <a:cubicBezTo>
                    <a:pt x="1065" y="1086"/>
                    <a:pt x="1044" y="1107"/>
                    <a:pt x="1024" y="1107"/>
                  </a:cubicBezTo>
                  <a:cubicBezTo>
                    <a:pt x="1024" y="1127"/>
                    <a:pt x="1004" y="1127"/>
                    <a:pt x="983" y="1127"/>
                  </a:cubicBezTo>
                  <a:cubicBezTo>
                    <a:pt x="962" y="1127"/>
                    <a:pt x="942" y="1127"/>
                    <a:pt x="942" y="1127"/>
                  </a:cubicBezTo>
                  <a:cubicBezTo>
                    <a:pt x="942" y="1127"/>
                    <a:pt x="922" y="1127"/>
                    <a:pt x="901" y="1127"/>
                  </a:cubicBezTo>
                  <a:cubicBezTo>
                    <a:pt x="901" y="1127"/>
                    <a:pt x="880" y="1147"/>
                    <a:pt x="860" y="1147"/>
                  </a:cubicBezTo>
                  <a:cubicBezTo>
                    <a:pt x="860" y="1147"/>
                    <a:pt x="840" y="1168"/>
                    <a:pt x="820" y="1168"/>
                  </a:cubicBezTo>
                  <a:cubicBezTo>
                    <a:pt x="820" y="1168"/>
                    <a:pt x="799" y="1189"/>
                    <a:pt x="778" y="1209"/>
                  </a:cubicBezTo>
                  <a:lnTo>
                    <a:pt x="758" y="1209"/>
                  </a:lnTo>
                  <a:cubicBezTo>
                    <a:pt x="737" y="1229"/>
                    <a:pt x="717" y="1229"/>
                    <a:pt x="717" y="1229"/>
                  </a:cubicBezTo>
                  <a:cubicBezTo>
                    <a:pt x="696" y="1229"/>
                    <a:pt x="676" y="1229"/>
                    <a:pt x="656" y="1250"/>
                  </a:cubicBezTo>
                  <a:cubicBezTo>
                    <a:pt x="635" y="1250"/>
                    <a:pt x="614" y="1250"/>
                    <a:pt x="614" y="1250"/>
                  </a:cubicBezTo>
                  <a:cubicBezTo>
                    <a:pt x="594" y="1250"/>
                    <a:pt x="574" y="1250"/>
                    <a:pt x="553" y="1250"/>
                  </a:cubicBezTo>
                  <a:cubicBezTo>
                    <a:pt x="553" y="1250"/>
                    <a:pt x="532" y="1250"/>
                    <a:pt x="532" y="1271"/>
                  </a:cubicBezTo>
                  <a:cubicBezTo>
                    <a:pt x="512" y="1271"/>
                    <a:pt x="512" y="1271"/>
                    <a:pt x="512" y="1271"/>
                  </a:cubicBezTo>
                  <a:cubicBezTo>
                    <a:pt x="512" y="1291"/>
                    <a:pt x="492" y="1291"/>
                    <a:pt x="492" y="1291"/>
                  </a:cubicBezTo>
                  <a:cubicBezTo>
                    <a:pt x="471" y="1311"/>
                    <a:pt x="471" y="1311"/>
                    <a:pt x="450" y="1311"/>
                  </a:cubicBezTo>
                  <a:cubicBezTo>
                    <a:pt x="450" y="1332"/>
                    <a:pt x="450" y="1353"/>
                    <a:pt x="430" y="1353"/>
                  </a:cubicBezTo>
                  <a:lnTo>
                    <a:pt x="410" y="1373"/>
                  </a:lnTo>
                  <a:cubicBezTo>
                    <a:pt x="389" y="1373"/>
                    <a:pt x="368" y="1353"/>
                    <a:pt x="368" y="1353"/>
                  </a:cubicBezTo>
                  <a:lnTo>
                    <a:pt x="348" y="1353"/>
                  </a:lnTo>
                  <a:cubicBezTo>
                    <a:pt x="328" y="1353"/>
                    <a:pt x="328" y="1353"/>
                    <a:pt x="307" y="1353"/>
                  </a:cubicBezTo>
                  <a:cubicBezTo>
                    <a:pt x="307" y="1373"/>
                    <a:pt x="307" y="1373"/>
                    <a:pt x="286" y="1393"/>
                  </a:cubicBezTo>
                  <a:cubicBezTo>
                    <a:pt x="286" y="1393"/>
                    <a:pt x="266" y="1393"/>
                    <a:pt x="266" y="1413"/>
                  </a:cubicBezTo>
                  <a:lnTo>
                    <a:pt x="246" y="1413"/>
                  </a:lnTo>
                  <a:cubicBezTo>
                    <a:pt x="246" y="1413"/>
                    <a:pt x="246" y="1393"/>
                    <a:pt x="225" y="1393"/>
                  </a:cubicBezTo>
                  <a:cubicBezTo>
                    <a:pt x="225" y="1393"/>
                    <a:pt x="225" y="1373"/>
                    <a:pt x="204" y="1373"/>
                  </a:cubicBezTo>
                  <a:cubicBezTo>
                    <a:pt x="204" y="1373"/>
                    <a:pt x="204" y="1373"/>
                    <a:pt x="184" y="1373"/>
                  </a:cubicBezTo>
                  <a:cubicBezTo>
                    <a:pt x="184" y="1373"/>
                    <a:pt x="164" y="1373"/>
                    <a:pt x="143" y="1373"/>
                  </a:cubicBezTo>
                  <a:lnTo>
                    <a:pt x="143" y="1373"/>
                  </a:lnTo>
                  <a:cubicBezTo>
                    <a:pt x="122" y="1353"/>
                    <a:pt x="122" y="1353"/>
                    <a:pt x="122" y="1332"/>
                  </a:cubicBezTo>
                  <a:cubicBezTo>
                    <a:pt x="122" y="1332"/>
                    <a:pt x="122" y="1332"/>
                    <a:pt x="122" y="1311"/>
                  </a:cubicBezTo>
                  <a:lnTo>
                    <a:pt x="102" y="1291"/>
                  </a:lnTo>
                  <a:cubicBezTo>
                    <a:pt x="102" y="1271"/>
                    <a:pt x="102" y="1250"/>
                    <a:pt x="102" y="1250"/>
                  </a:cubicBezTo>
                  <a:cubicBezTo>
                    <a:pt x="102" y="1229"/>
                    <a:pt x="102" y="1229"/>
                    <a:pt x="102" y="1229"/>
                  </a:cubicBezTo>
                  <a:cubicBezTo>
                    <a:pt x="102" y="1209"/>
                    <a:pt x="122" y="1189"/>
                    <a:pt x="122" y="1189"/>
                  </a:cubicBezTo>
                  <a:cubicBezTo>
                    <a:pt x="122" y="1168"/>
                    <a:pt x="122" y="1168"/>
                    <a:pt x="102" y="1147"/>
                  </a:cubicBezTo>
                  <a:lnTo>
                    <a:pt x="102" y="1127"/>
                  </a:lnTo>
                  <a:lnTo>
                    <a:pt x="82" y="1107"/>
                  </a:lnTo>
                  <a:cubicBezTo>
                    <a:pt x="82" y="1086"/>
                    <a:pt x="82" y="1086"/>
                    <a:pt x="82" y="1065"/>
                  </a:cubicBezTo>
                  <a:lnTo>
                    <a:pt x="61" y="1045"/>
                  </a:lnTo>
                  <a:cubicBezTo>
                    <a:pt x="61" y="1025"/>
                    <a:pt x="41" y="1004"/>
                    <a:pt x="41" y="1004"/>
                  </a:cubicBezTo>
                  <a:cubicBezTo>
                    <a:pt x="41" y="983"/>
                    <a:pt x="41" y="963"/>
                    <a:pt x="41" y="963"/>
                  </a:cubicBezTo>
                  <a:cubicBezTo>
                    <a:pt x="41" y="943"/>
                    <a:pt x="41" y="943"/>
                    <a:pt x="41" y="922"/>
                  </a:cubicBezTo>
                  <a:cubicBezTo>
                    <a:pt x="41" y="922"/>
                    <a:pt x="41" y="901"/>
                    <a:pt x="41" y="881"/>
                  </a:cubicBezTo>
                  <a:cubicBezTo>
                    <a:pt x="41" y="881"/>
                    <a:pt x="20" y="881"/>
                    <a:pt x="20" y="861"/>
                  </a:cubicBezTo>
                  <a:lnTo>
                    <a:pt x="0" y="840"/>
                  </a:lnTo>
                  <a:lnTo>
                    <a:pt x="20" y="840"/>
                  </a:lnTo>
                  <a:lnTo>
                    <a:pt x="20" y="840"/>
                  </a:lnTo>
                  <a:cubicBezTo>
                    <a:pt x="41" y="819"/>
                    <a:pt x="20" y="799"/>
                    <a:pt x="20" y="799"/>
                  </a:cubicBezTo>
                  <a:lnTo>
                    <a:pt x="20" y="779"/>
                  </a:lnTo>
                  <a:cubicBezTo>
                    <a:pt x="20" y="758"/>
                    <a:pt x="20" y="737"/>
                    <a:pt x="20" y="737"/>
                  </a:cubicBezTo>
                  <a:cubicBezTo>
                    <a:pt x="20" y="717"/>
                    <a:pt x="20" y="697"/>
                    <a:pt x="20" y="697"/>
                  </a:cubicBezTo>
                  <a:cubicBezTo>
                    <a:pt x="20" y="676"/>
                    <a:pt x="20" y="656"/>
                    <a:pt x="20" y="635"/>
                  </a:cubicBezTo>
                  <a:lnTo>
                    <a:pt x="20" y="635"/>
                  </a:lnTo>
                  <a:lnTo>
                    <a:pt x="20" y="615"/>
                  </a:lnTo>
                  <a:cubicBezTo>
                    <a:pt x="41" y="615"/>
                    <a:pt x="41" y="594"/>
                    <a:pt x="41" y="574"/>
                  </a:cubicBezTo>
                  <a:cubicBezTo>
                    <a:pt x="41" y="574"/>
                    <a:pt x="41" y="574"/>
                    <a:pt x="61" y="574"/>
                  </a:cubicBezTo>
                  <a:lnTo>
                    <a:pt x="82" y="574"/>
                  </a:lnTo>
                  <a:cubicBezTo>
                    <a:pt x="102" y="574"/>
                    <a:pt x="122" y="574"/>
                    <a:pt x="122" y="574"/>
                  </a:cubicBezTo>
                  <a:lnTo>
                    <a:pt x="122" y="553"/>
                  </a:lnTo>
                  <a:cubicBezTo>
                    <a:pt x="122" y="533"/>
                    <a:pt x="122" y="512"/>
                    <a:pt x="102" y="512"/>
                  </a:cubicBezTo>
                  <a:lnTo>
                    <a:pt x="82" y="512"/>
                  </a:lnTo>
                  <a:cubicBezTo>
                    <a:pt x="82" y="492"/>
                    <a:pt x="82" y="492"/>
                    <a:pt x="82" y="471"/>
                  </a:cubicBezTo>
                  <a:cubicBezTo>
                    <a:pt x="61" y="471"/>
                    <a:pt x="82" y="451"/>
                    <a:pt x="82" y="451"/>
                  </a:cubicBezTo>
                  <a:cubicBezTo>
                    <a:pt x="82" y="430"/>
                    <a:pt x="82" y="410"/>
                    <a:pt x="82" y="410"/>
                  </a:cubicBezTo>
                  <a:cubicBezTo>
                    <a:pt x="82" y="410"/>
                    <a:pt x="102" y="410"/>
                    <a:pt x="102" y="389"/>
                  </a:cubicBezTo>
                  <a:cubicBezTo>
                    <a:pt x="102" y="389"/>
                    <a:pt x="122" y="389"/>
                    <a:pt x="122" y="369"/>
                  </a:cubicBezTo>
                  <a:cubicBezTo>
                    <a:pt x="122" y="369"/>
                    <a:pt x="122" y="348"/>
                    <a:pt x="143" y="348"/>
                  </a:cubicBezTo>
                  <a:lnTo>
                    <a:pt x="164" y="348"/>
                  </a:lnTo>
                  <a:cubicBezTo>
                    <a:pt x="164" y="348"/>
                    <a:pt x="164" y="348"/>
                    <a:pt x="184" y="348"/>
                  </a:cubicBezTo>
                  <a:cubicBezTo>
                    <a:pt x="184" y="369"/>
                    <a:pt x="184" y="369"/>
                    <a:pt x="184" y="389"/>
                  </a:cubicBezTo>
                  <a:lnTo>
                    <a:pt x="204" y="389"/>
                  </a:lnTo>
                  <a:cubicBezTo>
                    <a:pt x="204" y="389"/>
                    <a:pt x="204" y="410"/>
                    <a:pt x="225" y="410"/>
                  </a:cubicBezTo>
                  <a:lnTo>
                    <a:pt x="246" y="410"/>
                  </a:lnTo>
                  <a:cubicBezTo>
                    <a:pt x="266" y="410"/>
                    <a:pt x="307" y="410"/>
                    <a:pt x="307" y="410"/>
                  </a:cubicBezTo>
                  <a:cubicBezTo>
                    <a:pt x="328" y="410"/>
                    <a:pt x="348" y="410"/>
                    <a:pt x="368" y="410"/>
                  </a:cubicBezTo>
                  <a:cubicBezTo>
                    <a:pt x="368" y="430"/>
                    <a:pt x="389" y="430"/>
                    <a:pt x="389" y="430"/>
                  </a:cubicBezTo>
                  <a:cubicBezTo>
                    <a:pt x="410" y="430"/>
                    <a:pt x="450" y="451"/>
                    <a:pt x="492" y="451"/>
                  </a:cubicBezTo>
                  <a:cubicBezTo>
                    <a:pt x="512" y="471"/>
                    <a:pt x="594" y="492"/>
                    <a:pt x="614" y="512"/>
                  </a:cubicBezTo>
                  <a:cubicBezTo>
                    <a:pt x="635" y="533"/>
                    <a:pt x="676" y="553"/>
                    <a:pt x="696" y="574"/>
                  </a:cubicBezTo>
                  <a:cubicBezTo>
                    <a:pt x="717" y="574"/>
                    <a:pt x="717" y="615"/>
                    <a:pt x="717" y="635"/>
                  </a:cubicBezTo>
                  <a:cubicBezTo>
                    <a:pt x="717" y="656"/>
                    <a:pt x="758" y="697"/>
                    <a:pt x="758" y="697"/>
                  </a:cubicBezTo>
                  <a:cubicBezTo>
                    <a:pt x="1086" y="20"/>
                    <a:pt x="1086" y="20"/>
                    <a:pt x="1086" y="20"/>
                  </a:cubicBezTo>
                  <a:cubicBezTo>
                    <a:pt x="1598" y="0"/>
                    <a:pt x="1598" y="0"/>
                    <a:pt x="1598" y="0"/>
                  </a:cubicBezTo>
                  <a:cubicBezTo>
                    <a:pt x="1721" y="369"/>
                    <a:pt x="1721" y="369"/>
                    <a:pt x="1721" y="369"/>
                  </a:cubicBezTo>
                  <a:lnTo>
                    <a:pt x="1721" y="389"/>
                  </a:lnTo>
                  <a:cubicBezTo>
                    <a:pt x="1721" y="410"/>
                    <a:pt x="1741" y="430"/>
                    <a:pt x="1741" y="430"/>
                  </a:cubicBezTo>
                  <a:lnTo>
                    <a:pt x="1762" y="45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 name="Freeform 7">
              <a:extLst>
                <a:ext uri="{FF2B5EF4-FFF2-40B4-BE49-F238E27FC236}">
                  <a16:creationId xmlns:a16="http://schemas.microsoft.com/office/drawing/2014/main" id="{9523ED80-9973-B847-A3F6-6C66E734A04A}"/>
                </a:ext>
              </a:extLst>
            </p:cNvPr>
            <p:cNvSpPr>
              <a:spLocks noChangeArrowheads="1"/>
            </p:cNvSpPr>
            <p:nvPr/>
          </p:nvSpPr>
          <p:spPr bwMode="auto">
            <a:xfrm>
              <a:off x="781050" y="5527675"/>
              <a:ext cx="30163" cy="44450"/>
            </a:xfrm>
            <a:custGeom>
              <a:avLst/>
              <a:gdLst>
                <a:gd name="T0" fmla="*/ 82 w 83"/>
                <a:gd name="T1" fmla="*/ 61 h 123"/>
                <a:gd name="T2" fmla="*/ 82 w 83"/>
                <a:gd name="T3" fmla="*/ 61 h 123"/>
                <a:gd name="T4" fmla="*/ 82 w 83"/>
                <a:gd name="T5" fmla="*/ 102 h 123"/>
                <a:gd name="T6" fmla="*/ 82 w 83"/>
                <a:gd name="T7" fmla="*/ 122 h 123"/>
                <a:gd name="T8" fmla="*/ 61 w 83"/>
                <a:gd name="T9" fmla="*/ 122 h 123"/>
                <a:gd name="T10" fmla="*/ 40 w 83"/>
                <a:gd name="T11" fmla="*/ 122 h 123"/>
                <a:gd name="T12" fmla="*/ 40 w 83"/>
                <a:gd name="T13" fmla="*/ 122 h 123"/>
                <a:gd name="T14" fmla="*/ 20 w 83"/>
                <a:gd name="T15" fmla="*/ 102 h 123"/>
                <a:gd name="T16" fmla="*/ 0 w 83"/>
                <a:gd name="T17" fmla="*/ 82 h 123"/>
                <a:gd name="T18" fmla="*/ 20 w 83"/>
                <a:gd name="T19" fmla="*/ 82 h 123"/>
                <a:gd name="T20" fmla="*/ 61 w 83"/>
                <a:gd name="T21" fmla="*/ 20 h 123"/>
                <a:gd name="T22" fmla="*/ 61 w 83"/>
                <a:gd name="T23" fmla="*/ 0 h 123"/>
                <a:gd name="T24" fmla="*/ 82 w 83"/>
                <a:gd name="T25" fmla="*/ 0 h 123"/>
                <a:gd name="T26" fmla="*/ 82 w 83"/>
                <a:gd name="T27" fmla="*/ 20 h 123"/>
                <a:gd name="T28" fmla="*/ 82 w 83"/>
                <a:gd name="T29" fmla="*/ 40 h 123"/>
                <a:gd name="T30" fmla="*/ 82 w 83"/>
                <a:gd name="T31" fmla="*/ 6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 h="123">
                  <a:moveTo>
                    <a:pt x="82" y="61"/>
                  </a:moveTo>
                  <a:lnTo>
                    <a:pt x="82" y="61"/>
                  </a:lnTo>
                  <a:cubicBezTo>
                    <a:pt x="82" y="82"/>
                    <a:pt x="82" y="102"/>
                    <a:pt x="82" y="102"/>
                  </a:cubicBezTo>
                  <a:lnTo>
                    <a:pt x="82" y="122"/>
                  </a:lnTo>
                  <a:cubicBezTo>
                    <a:pt x="61" y="122"/>
                    <a:pt x="61" y="122"/>
                    <a:pt x="61" y="122"/>
                  </a:cubicBezTo>
                  <a:lnTo>
                    <a:pt x="40" y="122"/>
                  </a:lnTo>
                  <a:lnTo>
                    <a:pt x="40" y="122"/>
                  </a:lnTo>
                  <a:lnTo>
                    <a:pt x="20" y="102"/>
                  </a:lnTo>
                  <a:cubicBezTo>
                    <a:pt x="20" y="102"/>
                    <a:pt x="20" y="102"/>
                    <a:pt x="0" y="82"/>
                  </a:cubicBezTo>
                  <a:cubicBezTo>
                    <a:pt x="20" y="82"/>
                    <a:pt x="20" y="82"/>
                    <a:pt x="20" y="82"/>
                  </a:cubicBezTo>
                  <a:cubicBezTo>
                    <a:pt x="20" y="82"/>
                    <a:pt x="40" y="40"/>
                    <a:pt x="61" y="20"/>
                  </a:cubicBezTo>
                  <a:lnTo>
                    <a:pt x="61" y="0"/>
                  </a:lnTo>
                  <a:lnTo>
                    <a:pt x="82" y="0"/>
                  </a:lnTo>
                  <a:cubicBezTo>
                    <a:pt x="82" y="20"/>
                    <a:pt x="82" y="20"/>
                    <a:pt x="82" y="20"/>
                  </a:cubicBezTo>
                  <a:cubicBezTo>
                    <a:pt x="82" y="40"/>
                    <a:pt x="82" y="40"/>
                    <a:pt x="82" y="40"/>
                  </a:cubicBezTo>
                  <a:cubicBezTo>
                    <a:pt x="82" y="61"/>
                    <a:pt x="82" y="61"/>
                    <a:pt x="82"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 name="Freeform 8">
              <a:extLst>
                <a:ext uri="{FF2B5EF4-FFF2-40B4-BE49-F238E27FC236}">
                  <a16:creationId xmlns:a16="http://schemas.microsoft.com/office/drawing/2014/main" id="{49A2D853-E298-B048-91EE-04424CD17041}"/>
                </a:ext>
              </a:extLst>
            </p:cNvPr>
            <p:cNvSpPr>
              <a:spLocks noChangeArrowheads="1"/>
            </p:cNvSpPr>
            <p:nvPr/>
          </p:nvSpPr>
          <p:spPr bwMode="auto">
            <a:xfrm>
              <a:off x="831850" y="5505450"/>
              <a:ext cx="38100" cy="80963"/>
            </a:xfrm>
            <a:custGeom>
              <a:avLst/>
              <a:gdLst>
                <a:gd name="T0" fmla="*/ 82 w 104"/>
                <a:gd name="T1" fmla="*/ 205 h 227"/>
                <a:gd name="T2" fmla="*/ 82 w 104"/>
                <a:gd name="T3" fmla="*/ 205 h 227"/>
                <a:gd name="T4" fmla="*/ 82 w 104"/>
                <a:gd name="T5" fmla="*/ 205 h 227"/>
                <a:gd name="T6" fmla="*/ 61 w 104"/>
                <a:gd name="T7" fmla="*/ 205 h 227"/>
                <a:gd name="T8" fmla="*/ 41 w 104"/>
                <a:gd name="T9" fmla="*/ 205 h 227"/>
                <a:gd name="T10" fmla="*/ 21 w 104"/>
                <a:gd name="T11" fmla="*/ 226 h 227"/>
                <a:gd name="T12" fmla="*/ 21 w 104"/>
                <a:gd name="T13" fmla="*/ 205 h 227"/>
                <a:gd name="T14" fmla="*/ 0 w 104"/>
                <a:gd name="T15" fmla="*/ 205 h 227"/>
                <a:gd name="T16" fmla="*/ 0 w 104"/>
                <a:gd name="T17" fmla="*/ 184 h 227"/>
                <a:gd name="T18" fmla="*/ 0 w 104"/>
                <a:gd name="T19" fmla="*/ 164 h 227"/>
                <a:gd name="T20" fmla="*/ 0 w 104"/>
                <a:gd name="T21" fmla="*/ 144 h 227"/>
                <a:gd name="T22" fmla="*/ 21 w 104"/>
                <a:gd name="T23" fmla="*/ 144 h 227"/>
                <a:gd name="T24" fmla="*/ 21 w 104"/>
                <a:gd name="T25" fmla="*/ 123 h 227"/>
                <a:gd name="T26" fmla="*/ 41 w 104"/>
                <a:gd name="T27" fmla="*/ 82 h 227"/>
                <a:gd name="T28" fmla="*/ 41 w 104"/>
                <a:gd name="T29" fmla="*/ 82 h 227"/>
                <a:gd name="T30" fmla="*/ 41 w 104"/>
                <a:gd name="T31" fmla="*/ 42 h 227"/>
                <a:gd name="T32" fmla="*/ 61 w 104"/>
                <a:gd name="T33" fmla="*/ 21 h 227"/>
                <a:gd name="T34" fmla="*/ 61 w 104"/>
                <a:gd name="T35" fmla="*/ 0 h 227"/>
                <a:gd name="T36" fmla="*/ 82 w 104"/>
                <a:gd name="T37" fmla="*/ 0 h 227"/>
                <a:gd name="T38" fmla="*/ 103 w 104"/>
                <a:gd name="T39" fmla="*/ 0 h 227"/>
                <a:gd name="T40" fmla="*/ 82 w 104"/>
                <a:gd name="T41" fmla="*/ 21 h 227"/>
                <a:gd name="T42" fmla="*/ 103 w 104"/>
                <a:gd name="T43" fmla="*/ 62 h 227"/>
                <a:gd name="T44" fmla="*/ 103 w 104"/>
                <a:gd name="T45" fmla="*/ 123 h 227"/>
                <a:gd name="T46" fmla="*/ 82 w 104"/>
                <a:gd name="T47" fmla="*/ 164 h 227"/>
                <a:gd name="T48" fmla="*/ 82 w 104"/>
                <a:gd name="T49" fmla="*/ 20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4" h="227">
                  <a:moveTo>
                    <a:pt x="82" y="205"/>
                  </a:moveTo>
                  <a:lnTo>
                    <a:pt x="82" y="205"/>
                  </a:lnTo>
                  <a:lnTo>
                    <a:pt x="82" y="205"/>
                  </a:lnTo>
                  <a:cubicBezTo>
                    <a:pt x="61" y="205"/>
                    <a:pt x="61" y="205"/>
                    <a:pt x="61" y="205"/>
                  </a:cubicBezTo>
                  <a:lnTo>
                    <a:pt x="41" y="205"/>
                  </a:lnTo>
                  <a:cubicBezTo>
                    <a:pt x="41" y="226"/>
                    <a:pt x="21" y="226"/>
                    <a:pt x="21" y="226"/>
                  </a:cubicBezTo>
                  <a:lnTo>
                    <a:pt x="21" y="205"/>
                  </a:lnTo>
                  <a:cubicBezTo>
                    <a:pt x="21" y="205"/>
                    <a:pt x="21" y="205"/>
                    <a:pt x="0" y="205"/>
                  </a:cubicBezTo>
                  <a:lnTo>
                    <a:pt x="0" y="184"/>
                  </a:lnTo>
                  <a:cubicBezTo>
                    <a:pt x="0" y="184"/>
                    <a:pt x="0" y="184"/>
                    <a:pt x="0" y="164"/>
                  </a:cubicBezTo>
                  <a:cubicBezTo>
                    <a:pt x="0" y="164"/>
                    <a:pt x="0" y="164"/>
                    <a:pt x="0" y="144"/>
                  </a:cubicBezTo>
                  <a:lnTo>
                    <a:pt x="21" y="144"/>
                  </a:lnTo>
                  <a:cubicBezTo>
                    <a:pt x="21" y="123"/>
                    <a:pt x="21" y="123"/>
                    <a:pt x="21" y="123"/>
                  </a:cubicBezTo>
                  <a:cubicBezTo>
                    <a:pt x="21" y="102"/>
                    <a:pt x="21" y="102"/>
                    <a:pt x="41" y="82"/>
                  </a:cubicBezTo>
                  <a:lnTo>
                    <a:pt x="41" y="82"/>
                  </a:lnTo>
                  <a:cubicBezTo>
                    <a:pt x="41" y="62"/>
                    <a:pt x="41" y="62"/>
                    <a:pt x="41" y="42"/>
                  </a:cubicBezTo>
                  <a:cubicBezTo>
                    <a:pt x="41" y="42"/>
                    <a:pt x="41" y="21"/>
                    <a:pt x="61" y="21"/>
                  </a:cubicBezTo>
                  <a:lnTo>
                    <a:pt x="61" y="0"/>
                  </a:lnTo>
                  <a:lnTo>
                    <a:pt x="82" y="0"/>
                  </a:lnTo>
                  <a:cubicBezTo>
                    <a:pt x="82" y="0"/>
                    <a:pt x="82" y="0"/>
                    <a:pt x="103" y="0"/>
                  </a:cubicBezTo>
                  <a:cubicBezTo>
                    <a:pt x="103" y="0"/>
                    <a:pt x="82" y="0"/>
                    <a:pt x="82" y="21"/>
                  </a:cubicBezTo>
                  <a:lnTo>
                    <a:pt x="103" y="62"/>
                  </a:lnTo>
                  <a:cubicBezTo>
                    <a:pt x="103" y="82"/>
                    <a:pt x="103" y="102"/>
                    <a:pt x="103" y="123"/>
                  </a:cubicBezTo>
                  <a:cubicBezTo>
                    <a:pt x="103" y="123"/>
                    <a:pt x="82" y="144"/>
                    <a:pt x="82" y="164"/>
                  </a:cubicBezTo>
                  <a:cubicBezTo>
                    <a:pt x="82" y="164"/>
                    <a:pt x="82" y="184"/>
                    <a:pt x="82" y="20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 name="Freeform 9">
              <a:extLst>
                <a:ext uri="{FF2B5EF4-FFF2-40B4-BE49-F238E27FC236}">
                  <a16:creationId xmlns:a16="http://schemas.microsoft.com/office/drawing/2014/main" id="{1886A18B-1B97-A74A-A0F6-7FE1C79DE8D6}"/>
                </a:ext>
              </a:extLst>
            </p:cNvPr>
            <p:cNvSpPr>
              <a:spLocks noChangeArrowheads="1"/>
            </p:cNvSpPr>
            <p:nvPr/>
          </p:nvSpPr>
          <p:spPr bwMode="auto">
            <a:xfrm>
              <a:off x="795338" y="5416550"/>
              <a:ext cx="74612" cy="303213"/>
            </a:xfrm>
            <a:custGeom>
              <a:avLst/>
              <a:gdLst>
                <a:gd name="T0" fmla="*/ 206 w 207"/>
                <a:gd name="T1" fmla="*/ 62 h 841"/>
                <a:gd name="T2" fmla="*/ 206 w 207"/>
                <a:gd name="T3" fmla="*/ 164 h 841"/>
                <a:gd name="T4" fmla="*/ 206 w 207"/>
                <a:gd name="T5" fmla="*/ 246 h 841"/>
                <a:gd name="T6" fmla="*/ 164 w 207"/>
                <a:gd name="T7" fmla="*/ 246 h 841"/>
                <a:gd name="T8" fmla="*/ 144 w 207"/>
                <a:gd name="T9" fmla="*/ 288 h 841"/>
                <a:gd name="T10" fmla="*/ 144 w 207"/>
                <a:gd name="T11" fmla="*/ 328 h 841"/>
                <a:gd name="T12" fmla="*/ 124 w 207"/>
                <a:gd name="T13" fmla="*/ 390 h 841"/>
                <a:gd name="T14" fmla="*/ 103 w 207"/>
                <a:gd name="T15" fmla="*/ 410 h 841"/>
                <a:gd name="T16" fmla="*/ 103 w 207"/>
                <a:gd name="T17" fmla="*/ 451 h 841"/>
                <a:gd name="T18" fmla="*/ 124 w 207"/>
                <a:gd name="T19" fmla="*/ 472 h 841"/>
                <a:gd name="T20" fmla="*/ 164 w 207"/>
                <a:gd name="T21" fmla="*/ 451 h 841"/>
                <a:gd name="T22" fmla="*/ 185 w 207"/>
                <a:gd name="T23" fmla="*/ 472 h 841"/>
                <a:gd name="T24" fmla="*/ 185 w 207"/>
                <a:gd name="T25" fmla="*/ 533 h 841"/>
                <a:gd name="T26" fmla="*/ 164 w 207"/>
                <a:gd name="T27" fmla="*/ 574 h 841"/>
                <a:gd name="T28" fmla="*/ 144 w 207"/>
                <a:gd name="T29" fmla="*/ 615 h 841"/>
                <a:gd name="T30" fmla="*/ 124 w 207"/>
                <a:gd name="T31" fmla="*/ 636 h 841"/>
                <a:gd name="T32" fmla="*/ 124 w 207"/>
                <a:gd name="T33" fmla="*/ 676 h 841"/>
                <a:gd name="T34" fmla="*/ 124 w 207"/>
                <a:gd name="T35" fmla="*/ 718 h 841"/>
                <a:gd name="T36" fmla="*/ 124 w 207"/>
                <a:gd name="T37" fmla="*/ 779 h 841"/>
                <a:gd name="T38" fmla="*/ 103 w 207"/>
                <a:gd name="T39" fmla="*/ 820 h 841"/>
                <a:gd name="T40" fmla="*/ 82 w 207"/>
                <a:gd name="T41" fmla="*/ 840 h 841"/>
                <a:gd name="T42" fmla="*/ 62 w 207"/>
                <a:gd name="T43" fmla="*/ 840 h 841"/>
                <a:gd name="T44" fmla="*/ 62 w 207"/>
                <a:gd name="T45" fmla="*/ 779 h 841"/>
                <a:gd name="T46" fmla="*/ 42 w 207"/>
                <a:gd name="T47" fmla="*/ 718 h 841"/>
                <a:gd name="T48" fmla="*/ 62 w 207"/>
                <a:gd name="T49" fmla="*/ 656 h 841"/>
                <a:gd name="T50" fmla="*/ 42 w 207"/>
                <a:gd name="T51" fmla="*/ 615 h 841"/>
                <a:gd name="T52" fmla="*/ 42 w 207"/>
                <a:gd name="T53" fmla="*/ 574 h 841"/>
                <a:gd name="T54" fmla="*/ 21 w 207"/>
                <a:gd name="T55" fmla="*/ 512 h 841"/>
                <a:gd name="T56" fmla="*/ 0 w 207"/>
                <a:gd name="T57" fmla="*/ 451 h 841"/>
                <a:gd name="T58" fmla="*/ 21 w 207"/>
                <a:gd name="T59" fmla="*/ 430 h 841"/>
                <a:gd name="T60" fmla="*/ 42 w 207"/>
                <a:gd name="T61" fmla="*/ 410 h 841"/>
                <a:gd name="T62" fmla="*/ 42 w 207"/>
                <a:gd name="T63" fmla="*/ 348 h 841"/>
                <a:gd name="T64" fmla="*/ 42 w 207"/>
                <a:gd name="T65" fmla="*/ 308 h 841"/>
                <a:gd name="T66" fmla="*/ 42 w 207"/>
                <a:gd name="T67" fmla="*/ 267 h 841"/>
                <a:gd name="T68" fmla="*/ 82 w 207"/>
                <a:gd name="T69" fmla="*/ 144 h 841"/>
                <a:gd name="T70" fmla="*/ 103 w 207"/>
                <a:gd name="T71" fmla="*/ 0 h 841"/>
                <a:gd name="T72" fmla="*/ 144 w 207"/>
                <a:gd name="T73" fmla="*/ 42 h 841"/>
                <a:gd name="T74" fmla="*/ 185 w 207"/>
                <a:gd name="T75" fmla="*/ 21 h 841"/>
                <a:gd name="T76" fmla="*/ 206 w 207"/>
                <a:gd name="T77" fmla="*/ 62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07" h="841">
                  <a:moveTo>
                    <a:pt x="206" y="62"/>
                  </a:moveTo>
                  <a:lnTo>
                    <a:pt x="206" y="62"/>
                  </a:lnTo>
                  <a:lnTo>
                    <a:pt x="206" y="103"/>
                  </a:lnTo>
                  <a:cubicBezTo>
                    <a:pt x="206" y="124"/>
                    <a:pt x="206" y="144"/>
                    <a:pt x="206" y="164"/>
                  </a:cubicBezTo>
                  <a:cubicBezTo>
                    <a:pt x="206" y="164"/>
                    <a:pt x="206" y="206"/>
                    <a:pt x="206" y="226"/>
                  </a:cubicBezTo>
                  <a:cubicBezTo>
                    <a:pt x="206" y="226"/>
                    <a:pt x="206" y="226"/>
                    <a:pt x="206" y="246"/>
                  </a:cubicBezTo>
                  <a:cubicBezTo>
                    <a:pt x="185" y="246"/>
                    <a:pt x="185" y="246"/>
                    <a:pt x="185" y="246"/>
                  </a:cubicBezTo>
                  <a:lnTo>
                    <a:pt x="164" y="246"/>
                  </a:lnTo>
                  <a:lnTo>
                    <a:pt x="164" y="267"/>
                  </a:lnTo>
                  <a:cubicBezTo>
                    <a:pt x="144" y="267"/>
                    <a:pt x="144" y="288"/>
                    <a:pt x="144" y="288"/>
                  </a:cubicBezTo>
                  <a:cubicBezTo>
                    <a:pt x="144" y="308"/>
                    <a:pt x="144" y="308"/>
                    <a:pt x="144" y="328"/>
                  </a:cubicBezTo>
                  <a:lnTo>
                    <a:pt x="144" y="328"/>
                  </a:lnTo>
                  <a:cubicBezTo>
                    <a:pt x="124" y="348"/>
                    <a:pt x="124" y="348"/>
                    <a:pt x="124" y="369"/>
                  </a:cubicBezTo>
                  <a:cubicBezTo>
                    <a:pt x="124" y="369"/>
                    <a:pt x="124" y="369"/>
                    <a:pt x="124" y="390"/>
                  </a:cubicBezTo>
                  <a:lnTo>
                    <a:pt x="103" y="390"/>
                  </a:lnTo>
                  <a:cubicBezTo>
                    <a:pt x="103" y="410"/>
                    <a:pt x="103" y="410"/>
                    <a:pt x="103" y="410"/>
                  </a:cubicBezTo>
                  <a:cubicBezTo>
                    <a:pt x="103" y="430"/>
                    <a:pt x="103" y="430"/>
                    <a:pt x="103" y="430"/>
                  </a:cubicBezTo>
                  <a:lnTo>
                    <a:pt x="103" y="451"/>
                  </a:lnTo>
                  <a:cubicBezTo>
                    <a:pt x="124" y="451"/>
                    <a:pt x="124" y="451"/>
                    <a:pt x="124" y="451"/>
                  </a:cubicBezTo>
                  <a:lnTo>
                    <a:pt x="124" y="472"/>
                  </a:lnTo>
                  <a:cubicBezTo>
                    <a:pt x="124" y="472"/>
                    <a:pt x="144" y="472"/>
                    <a:pt x="144" y="451"/>
                  </a:cubicBezTo>
                  <a:lnTo>
                    <a:pt x="164" y="451"/>
                  </a:lnTo>
                  <a:cubicBezTo>
                    <a:pt x="164" y="451"/>
                    <a:pt x="164" y="451"/>
                    <a:pt x="185" y="451"/>
                  </a:cubicBezTo>
                  <a:lnTo>
                    <a:pt x="185" y="472"/>
                  </a:lnTo>
                  <a:cubicBezTo>
                    <a:pt x="185" y="492"/>
                    <a:pt x="185" y="492"/>
                    <a:pt x="185" y="512"/>
                  </a:cubicBezTo>
                  <a:lnTo>
                    <a:pt x="185" y="533"/>
                  </a:lnTo>
                  <a:lnTo>
                    <a:pt x="164" y="554"/>
                  </a:lnTo>
                  <a:lnTo>
                    <a:pt x="164" y="574"/>
                  </a:lnTo>
                  <a:lnTo>
                    <a:pt x="144" y="574"/>
                  </a:lnTo>
                  <a:cubicBezTo>
                    <a:pt x="144" y="594"/>
                    <a:pt x="144" y="594"/>
                    <a:pt x="144" y="615"/>
                  </a:cubicBezTo>
                  <a:cubicBezTo>
                    <a:pt x="144" y="615"/>
                    <a:pt x="144" y="615"/>
                    <a:pt x="124" y="636"/>
                  </a:cubicBezTo>
                  <a:lnTo>
                    <a:pt x="124" y="636"/>
                  </a:lnTo>
                  <a:lnTo>
                    <a:pt x="124" y="656"/>
                  </a:lnTo>
                  <a:cubicBezTo>
                    <a:pt x="103" y="656"/>
                    <a:pt x="124" y="676"/>
                    <a:pt x="124" y="676"/>
                  </a:cubicBezTo>
                  <a:lnTo>
                    <a:pt x="124" y="697"/>
                  </a:lnTo>
                  <a:lnTo>
                    <a:pt x="124" y="718"/>
                  </a:lnTo>
                  <a:cubicBezTo>
                    <a:pt x="124" y="738"/>
                    <a:pt x="124" y="738"/>
                    <a:pt x="124" y="758"/>
                  </a:cubicBezTo>
                  <a:lnTo>
                    <a:pt x="124" y="779"/>
                  </a:lnTo>
                  <a:lnTo>
                    <a:pt x="124" y="800"/>
                  </a:lnTo>
                  <a:cubicBezTo>
                    <a:pt x="103" y="820"/>
                    <a:pt x="103" y="820"/>
                    <a:pt x="103" y="820"/>
                  </a:cubicBezTo>
                  <a:cubicBezTo>
                    <a:pt x="82" y="820"/>
                    <a:pt x="82" y="840"/>
                    <a:pt x="82" y="840"/>
                  </a:cubicBezTo>
                  <a:lnTo>
                    <a:pt x="82" y="840"/>
                  </a:lnTo>
                  <a:lnTo>
                    <a:pt x="82" y="840"/>
                  </a:lnTo>
                  <a:lnTo>
                    <a:pt x="62" y="840"/>
                  </a:lnTo>
                  <a:cubicBezTo>
                    <a:pt x="62" y="820"/>
                    <a:pt x="62" y="820"/>
                    <a:pt x="62" y="820"/>
                  </a:cubicBezTo>
                  <a:cubicBezTo>
                    <a:pt x="62" y="800"/>
                    <a:pt x="62" y="779"/>
                    <a:pt x="62" y="779"/>
                  </a:cubicBezTo>
                  <a:cubicBezTo>
                    <a:pt x="62" y="758"/>
                    <a:pt x="62" y="758"/>
                    <a:pt x="62" y="738"/>
                  </a:cubicBezTo>
                  <a:lnTo>
                    <a:pt x="42" y="718"/>
                  </a:lnTo>
                  <a:lnTo>
                    <a:pt x="42" y="697"/>
                  </a:lnTo>
                  <a:cubicBezTo>
                    <a:pt x="42" y="676"/>
                    <a:pt x="62" y="676"/>
                    <a:pt x="62" y="656"/>
                  </a:cubicBezTo>
                  <a:lnTo>
                    <a:pt x="62" y="636"/>
                  </a:lnTo>
                  <a:cubicBezTo>
                    <a:pt x="62" y="636"/>
                    <a:pt x="62" y="615"/>
                    <a:pt x="42" y="615"/>
                  </a:cubicBezTo>
                  <a:lnTo>
                    <a:pt x="42" y="594"/>
                  </a:lnTo>
                  <a:lnTo>
                    <a:pt x="42" y="574"/>
                  </a:lnTo>
                  <a:cubicBezTo>
                    <a:pt x="42" y="574"/>
                    <a:pt x="21" y="554"/>
                    <a:pt x="21" y="533"/>
                  </a:cubicBezTo>
                  <a:lnTo>
                    <a:pt x="21" y="512"/>
                  </a:lnTo>
                  <a:cubicBezTo>
                    <a:pt x="21" y="512"/>
                    <a:pt x="21" y="492"/>
                    <a:pt x="21" y="472"/>
                  </a:cubicBezTo>
                  <a:cubicBezTo>
                    <a:pt x="0" y="472"/>
                    <a:pt x="0" y="451"/>
                    <a:pt x="0" y="451"/>
                  </a:cubicBezTo>
                  <a:cubicBezTo>
                    <a:pt x="0" y="451"/>
                    <a:pt x="0" y="451"/>
                    <a:pt x="0" y="430"/>
                  </a:cubicBezTo>
                  <a:lnTo>
                    <a:pt x="21" y="430"/>
                  </a:lnTo>
                  <a:cubicBezTo>
                    <a:pt x="21" y="430"/>
                    <a:pt x="21" y="430"/>
                    <a:pt x="42" y="430"/>
                  </a:cubicBezTo>
                  <a:lnTo>
                    <a:pt x="42" y="410"/>
                  </a:lnTo>
                  <a:cubicBezTo>
                    <a:pt x="42" y="410"/>
                    <a:pt x="42" y="390"/>
                    <a:pt x="42" y="369"/>
                  </a:cubicBezTo>
                  <a:cubicBezTo>
                    <a:pt x="42" y="369"/>
                    <a:pt x="42" y="369"/>
                    <a:pt x="42" y="348"/>
                  </a:cubicBezTo>
                  <a:cubicBezTo>
                    <a:pt x="42" y="348"/>
                    <a:pt x="42" y="348"/>
                    <a:pt x="42" y="328"/>
                  </a:cubicBezTo>
                  <a:cubicBezTo>
                    <a:pt x="42" y="328"/>
                    <a:pt x="42" y="328"/>
                    <a:pt x="42" y="308"/>
                  </a:cubicBezTo>
                  <a:lnTo>
                    <a:pt x="21" y="308"/>
                  </a:lnTo>
                  <a:cubicBezTo>
                    <a:pt x="42" y="288"/>
                    <a:pt x="42" y="288"/>
                    <a:pt x="42" y="267"/>
                  </a:cubicBezTo>
                  <a:cubicBezTo>
                    <a:pt x="42" y="246"/>
                    <a:pt x="42" y="226"/>
                    <a:pt x="62" y="206"/>
                  </a:cubicBezTo>
                  <a:cubicBezTo>
                    <a:pt x="62" y="185"/>
                    <a:pt x="62" y="144"/>
                    <a:pt x="82" y="144"/>
                  </a:cubicBezTo>
                  <a:cubicBezTo>
                    <a:pt x="82" y="124"/>
                    <a:pt x="82" y="82"/>
                    <a:pt x="82" y="82"/>
                  </a:cubicBezTo>
                  <a:cubicBezTo>
                    <a:pt x="103" y="62"/>
                    <a:pt x="103" y="21"/>
                    <a:pt x="103" y="0"/>
                  </a:cubicBezTo>
                  <a:cubicBezTo>
                    <a:pt x="103" y="21"/>
                    <a:pt x="124" y="21"/>
                    <a:pt x="124" y="21"/>
                  </a:cubicBezTo>
                  <a:cubicBezTo>
                    <a:pt x="124" y="21"/>
                    <a:pt x="124" y="42"/>
                    <a:pt x="144" y="42"/>
                  </a:cubicBezTo>
                  <a:lnTo>
                    <a:pt x="164" y="42"/>
                  </a:lnTo>
                  <a:cubicBezTo>
                    <a:pt x="185" y="42"/>
                    <a:pt x="185" y="42"/>
                    <a:pt x="185" y="21"/>
                  </a:cubicBezTo>
                  <a:cubicBezTo>
                    <a:pt x="185" y="21"/>
                    <a:pt x="185" y="21"/>
                    <a:pt x="206" y="21"/>
                  </a:cubicBezTo>
                  <a:cubicBezTo>
                    <a:pt x="206" y="42"/>
                    <a:pt x="206" y="42"/>
                    <a:pt x="206"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 name="Freeform 10">
              <a:extLst>
                <a:ext uri="{FF2B5EF4-FFF2-40B4-BE49-F238E27FC236}">
                  <a16:creationId xmlns:a16="http://schemas.microsoft.com/office/drawing/2014/main" id="{83DE5531-6625-CA49-A03C-5354843AE646}"/>
                </a:ext>
              </a:extLst>
            </p:cNvPr>
            <p:cNvSpPr>
              <a:spLocks noChangeArrowheads="1"/>
            </p:cNvSpPr>
            <p:nvPr/>
          </p:nvSpPr>
          <p:spPr bwMode="auto">
            <a:xfrm>
              <a:off x="1393825" y="4878388"/>
              <a:ext cx="119063" cy="80962"/>
            </a:xfrm>
            <a:custGeom>
              <a:avLst/>
              <a:gdLst>
                <a:gd name="T0" fmla="*/ 20 w 329"/>
                <a:gd name="T1" fmla="*/ 61 h 226"/>
                <a:gd name="T2" fmla="*/ 20 w 329"/>
                <a:gd name="T3" fmla="*/ 61 h 226"/>
                <a:gd name="T4" fmla="*/ 20 w 329"/>
                <a:gd name="T5" fmla="*/ 40 h 226"/>
                <a:gd name="T6" fmla="*/ 0 w 329"/>
                <a:gd name="T7" fmla="*/ 40 h 226"/>
                <a:gd name="T8" fmla="*/ 20 w 329"/>
                <a:gd name="T9" fmla="*/ 40 h 226"/>
                <a:gd name="T10" fmla="*/ 40 w 329"/>
                <a:gd name="T11" fmla="*/ 0 h 226"/>
                <a:gd name="T12" fmla="*/ 61 w 329"/>
                <a:gd name="T13" fmla="*/ 20 h 226"/>
                <a:gd name="T14" fmla="*/ 102 w 329"/>
                <a:gd name="T15" fmla="*/ 0 h 226"/>
                <a:gd name="T16" fmla="*/ 143 w 329"/>
                <a:gd name="T17" fmla="*/ 20 h 226"/>
                <a:gd name="T18" fmla="*/ 164 w 329"/>
                <a:gd name="T19" fmla="*/ 40 h 226"/>
                <a:gd name="T20" fmla="*/ 184 w 329"/>
                <a:gd name="T21" fmla="*/ 61 h 226"/>
                <a:gd name="T22" fmla="*/ 204 w 329"/>
                <a:gd name="T23" fmla="*/ 102 h 226"/>
                <a:gd name="T24" fmla="*/ 225 w 329"/>
                <a:gd name="T25" fmla="*/ 102 h 226"/>
                <a:gd name="T26" fmla="*/ 266 w 329"/>
                <a:gd name="T27" fmla="*/ 102 h 226"/>
                <a:gd name="T28" fmla="*/ 307 w 329"/>
                <a:gd name="T29" fmla="*/ 122 h 226"/>
                <a:gd name="T30" fmla="*/ 328 w 329"/>
                <a:gd name="T31" fmla="*/ 143 h 226"/>
                <a:gd name="T32" fmla="*/ 307 w 329"/>
                <a:gd name="T33" fmla="*/ 164 h 226"/>
                <a:gd name="T34" fmla="*/ 286 w 329"/>
                <a:gd name="T35" fmla="*/ 184 h 226"/>
                <a:gd name="T36" fmla="*/ 286 w 329"/>
                <a:gd name="T37" fmla="*/ 184 h 226"/>
                <a:gd name="T38" fmla="*/ 286 w 329"/>
                <a:gd name="T39" fmla="*/ 204 h 226"/>
                <a:gd name="T40" fmla="*/ 266 w 329"/>
                <a:gd name="T41" fmla="*/ 225 h 226"/>
                <a:gd name="T42" fmla="*/ 246 w 329"/>
                <a:gd name="T43" fmla="*/ 225 h 226"/>
                <a:gd name="T44" fmla="*/ 225 w 329"/>
                <a:gd name="T45" fmla="*/ 204 h 226"/>
                <a:gd name="T46" fmla="*/ 204 w 329"/>
                <a:gd name="T47" fmla="*/ 164 h 226"/>
                <a:gd name="T48" fmla="*/ 164 w 329"/>
                <a:gd name="T49" fmla="*/ 164 h 226"/>
                <a:gd name="T50" fmla="*/ 122 w 329"/>
                <a:gd name="T51" fmla="*/ 143 h 226"/>
                <a:gd name="T52" fmla="*/ 102 w 329"/>
                <a:gd name="T53" fmla="*/ 122 h 226"/>
                <a:gd name="T54" fmla="*/ 61 w 329"/>
                <a:gd name="T55" fmla="*/ 122 h 226"/>
                <a:gd name="T56" fmla="*/ 20 w 329"/>
                <a:gd name="T57" fmla="*/ 82 h 226"/>
                <a:gd name="T58" fmla="*/ 20 w 329"/>
                <a:gd name="T59" fmla="*/ 6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9" h="226">
                  <a:moveTo>
                    <a:pt x="20" y="61"/>
                  </a:moveTo>
                  <a:lnTo>
                    <a:pt x="20" y="61"/>
                  </a:lnTo>
                  <a:cubicBezTo>
                    <a:pt x="20" y="61"/>
                    <a:pt x="20" y="61"/>
                    <a:pt x="20" y="40"/>
                  </a:cubicBezTo>
                  <a:lnTo>
                    <a:pt x="0" y="40"/>
                  </a:lnTo>
                  <a:lnTo>
                    <a:pt x="20" y="40"/>
                  </a:lnTo>
                  <a:cubicBezTo>
                    <a:pt x="20" y="20"/>
                    <a:pt x="40" y="0"/>
                    <a:pt x="40" y="0"/>
                  </a:cubicBezTo>
                  <a:lnTo>
                    <a:pt x="61" y="20"/>
                  </a:lnTo>
                  <a:cubicBezTo>
                    <a:pt x="82" y="20"/>
                    <a:pt x="82" y="0"/>
                    <a:pt x="102" y="0"/>
                  </a:cubicBezTo>
                  <a:cubicBezTo>
                    <a:pt x="102" y="0"/>
                    <a:pt x="122" y="20"/>
                    <a:pt x="143" y="20"/>
                  </a:cubicBezTo>
                  <a:cubicBezTo>
                    <a:pt x="143" y="20"/>
                    <a:pt x="143" y="40"/>
                    <a:pt x="164" y="40"/>
                  </a:cubicBezTo>
                  <a:cubicBezTo>
                    <a:pt x="164" y="61"/>
                    <a:pt x="164" y="61"/>
                    <a:pt x="184" y="61"/>
                  </a:cubicBezTo>
                  <a:cubicBezTo>
                    <a:pt x="184" y="82"/>
                    <a:pt x="204" y="82"/>
                    <a:pt x="204" y="102"/>
                  </a:cubicBezTo>
                  <a:lnTo>
                    <a:pt x="225" y="102"/>
                  </a:lnTo>
                  <a:cubicBezTo>
                    <a:pt x="246" y="102"/>
                    <a:pt x="266" y="102"/>
                    <a:pt x="266" y="102"/>
                  </a:cubicBezTo>
                  <a:cubicBezTo>
                    <a:pt x="286" y="102"/>
                    <a:pt x="307" y="102"/>
                    <a:pt x="307" y="122"/>
                  </a:cubicBezTo>
                  <a:cubicBezTo>
                    <a:pt x="307" y="122"/>
                    <a:pt x="328" y="122"/>
                    <a:pt x="328" y="143"/>
                  </a:cubicBezTo>
                  <a:cubicBezTo>
                    <a:pt x="328" y="143"/>
                    <a:pt x="328" y="164"/>
                    <a:pt x="307" y="164"/>
                  </a:cubicBezTo>
                  <a:cubicBezTo>
                    <a:pt x="307" y="184"/>
                    <a:pt x="286" y="164"/>
                    <a:pt x="286" y="184"/>
                  </a:cubicBezTo>
                  <a:lnTo>
                    <a:pt x="286" y="184"/>
                  </a:lnTo>
                  <a:lnTo>
                    <a:pt x="286" y="204"/>
                  </a:lnTo>
                  <a:cubicBezTo>
                    <a:pt x="266" y="204"/>
                    <a:pt x="266" y="204"/>
                    <a:pt x="266" y="225"/>
                  </a:cubicBezTo>
                  <a:lnTo>
                    <a:pt x="246" y="225"/>
                  </a:lnTo>
                  <a:cubicBezTo>
                    <a:pt x="225" y="225"/>
                    <a:pt x="225" y="204"/>
                    <a:pt x="225" y="204"/>
                  </a:cubicBezTo>
                  <a:cubicBezTo>
                    <a:pt x="225" y="184"/>
                    <a:pt x="204" y="164"/>
                    <a:pt x="204" y="164"/>
                  </a:cubicBezTo>
                  <a:cubicBezTo>
                    <a:pt x="184" y="164"/>
                    <a:pt x="164" y="164"/>
                    <a:pt x="164" y="164"/>
                  </a:cubicBezTo>
                  <a:cubicBezTo>
                    <a:pt x="143" y="164"/>
                    <a:pt x="122" y="164"/>
                    <a:pt x="122" y="143"/>
                  </a:cubicBezTo>
                  <a:cubicBezTo>
                    <a:pt x="122" y="143"/>
                    <a:pt x="102" y="143"/>
                    <a:pt x="102" y="122"/>
                  </a:cubicBezTo>
                  <a:cubicBezTo>
                    <a:pt x="82" y="122"/>
                    <a:pt x="82" y="122"/>
                    <a:pt x="61" y="122"/>
                  </a:cubicBezTo>
                  <a:cubicBezTo>
                    <a:pt x="61" y="122"/>
                    <a:pt x="40" y="102"/>
                    <a:pt x="20" y="82"/>
                  </a:cubicBezTo>
                  <a:lnTo>
                    <a:pt x="20" y="6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 name="Freeform 11">
              <a:extLst>
                <a:ext uri="{FF2B5EF4-FFF2-40B4-BE49-F238E27FC236}">
                  <a16:creationId xmlns:a16="http://schemas.microsoft.com/office/drawing/2014/main" id="{DA6DBB5F-3FA4-1647-8747-CF36CD5C354E}"/>
                </a:ext>
              </a:extLst>
            </p:cNvPr>
            <p:cNvSpPr>
              <a:spLocks noChangeArrowheads="1"/>
            </p:cNvSpPr>
            <p:nvPr/>
          </p:nvSpPr>
          <p:spPr bwMode="auto">
            <a:xfrm>
              <a:off x="1444625" y="4738688"/>
              <a:ext cx="258763" cy="266700"/>
            </a:xfrm>
            <a:custGeom>
              <a:avLst/>
              <a:gdLst>
                <a:gd name="T0" fmla="*/ 697 w 718"/>
                <a:gd name="T1" fmla="*/ 328 h 739"/>
                <a:gd name="T2" fmla="*/ 676 w 718"/>
                <a:gd name="T3" fmla="*/ 348 h 739"/>
                <a:gd name="T4" fmla="*/ 635 w 718"/>
                <a:gd name="T5" fmla="*/ 328 h 739"/>
                <a:gd name="T6" fmla="*/ 594 w 718"/>
                <a:gd name="T7" fmla="*/ 348 h 739"/>
                <a:gd name="T8" fmla="*/ 573 w 718"/>
                <a:gd name="T9" fmla="*/ 430 h 739"/>
                <a:gd name="T10" fmla="*/ 533 w 718"/>
                <a:gd name="T11" fmla="*/ 492 h 739"/>
                <a:gd name="T12" fmla="*/ 553 w 718"/>
                <a:gd name="T13" fmla="*/ 533 h 739"/>
                <a:gd name="T14" fmla="*/ 553 w 718"/>
                <a:gd name="T15" fmla="*/ 594 h 739"/>
                <a:gd name="T16" fmla="*/ 533 w 718"/>
                <a:gd name="T17" fmla="*/ 594 h 739"/>
                <a:gd name="T18" fmla="*/ 491 w 718"/>
                <a:gd name="T19" fmla="*/ 574 h 739"/>
                <a:gd name="T20" fmla="*/ 491 w 718"/>
                <a:gd name="T21" fmla="*/ 636 h 739"/>
                <a:gd name="T22" fmla="*/ 512 w 718"/>
                <a:gd name="T23" fmla="*/ 738 h 739"/>
                <a:gd name="T24" fmla="*/ 471 w 718"/>
                <a:gd name="T25" fmla="*/ 738 h 739"/>
                <a:gd name="T26" fmla="*/ 389 w 718"/>
                <a:gd name="T27" fmla="*/ 697 h 739"/>
                <a:gd name="T28" fmla="*/ 369 w 718"/>
                <a:gd name="T29" fmla="*/ 636 h 739"/>
                <a:gd name="T30" fmla="*/ 369 w 718"/>
                <a:gd name="T31" fmla="*/ 554 h 739"/>
                <a:gd name="T32" fmla="*/ 369 w 718"/>
                <a:gd name="T33" fmla="*/ 472 h 739"/>
                <a:gd name="T34" fmla="*/ 307 w 718"/>
                <a:gd name="T35" fmla="*/ 492 h 739"/>
                <a:gd name="T36" fmla="*/ 266 w 718"/>
                <a:gd name="T37" fmla="*/ 554 h 739"/>
                <a:gd name="T38" fmla="*/ 246 w 718"/>
                <a:gd name="T39" fmla="*/ 533 h 739"/>
                <a:gd name="T40" fmla="*/ 185 w 718"/>
                <a:gd name="T41" fmla="*/ 451 h 739"/>
                <a:gd name="T42" fmla="*/ 61 w 718"/>
                <a:gd name="T43" fmla="*/ 410 h 739"/>
                <a:gd name="T44" fmla="*/ 0 w 718"/>
                <a:gd name="T45" fmla="*/ 348 h 739"/>
                <a:gd name="T46" fmla="*/ 41 w 718"/>
                <a:gd name="T47" fmla="*/ 287 h 739"/>
                <a:gd name="T48" fmla="*/ 41 w 718"/>
                <a:gd name="T49" fmla="*/ 226 h 739"/>
                <a:gd name="T50" fmla="*/ 61 w 718"/>
                <a:gd name="T51" fmla="*/ 184 h 739"/>
                <a:gd name="T52" fmla="*/ 82 w 718"/>
                <a:gd name="T53" fmla="*/ 144 h 739"/>
                <a:gd name="T54" fmla="*/ 143 w 718"/>
                <a:gd name="T55" fmla="*/ 144 h 739"/>
                <a:gd name="T56" fmla="*/ 143 w 718"/>
                <a:gd name="T57" fmla="*/ 62 h 739"/>
                <a:gd name="T58" fmla="*/ 185 w 718"/>
                <a:gd name="T59" fmla="*/ 21 h 739"/>
                <a:gd name="T60" fmla="*/ 185 w 718"/>
                <a:gd name="T61" fmla="*/ 0 h 739"/>
                <a:gd name="T62" fmla="*/ 246 w 718"/>
                <a:gd name="T63" fmla="*/ 42 h 739"/>
                <a:gd name="T64" fmla="*/ 287 w 718"/>
                <a:gd name="T65" fmla="*/ 103 h 739"/>
                <a:gd name="T66" fmla="*/ 349 w 718"/>
                <a:gd name="T67" fmla="*/ 103 h 739"/>
                <a:gd name="T68" fmla="*/ 389 w 718"/>
                <a:gd name="T69" fmla="*/ 42 h 739"/>
                <a:gd name="T70" fmla="*/ 451 w 718"/>
                <a:gd name="T71" fmla="*/ 21 h 739"/>
                <a:gd name="T72" fmla="*/ 471 w 718"/>
                <a:gd name="T73" fmla="*/ 21 h 739"/>
                <a:gd name="T74" fmla="*/ 512 w 718"/>
                <a:gd name="T75" fmla="*/ 124 h 739"/>
                <a:gd name="T76" fmla="*/ 533 w 718"/>
                <a:gd name="T77" fmla="*/ 205 h 739"/>
                <a:gd name="T78" fmla="*/ 594 w 718"/>
                <a:gd name="T79" fmla="*/ 246 h 739"/>
                <a:gd name="T80" fmla="*/ 676 w 718"/>
                <a:gd name="T81" fmla="*/ 246 h 739"/>
                <a:gd name="T82" fmla="*/ 697 w 718"/>
                <a:gd name="T83" fmla="*/ 328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18" h="739">
                  <a:moveTo>
                    <a:pt x="697" y="328"/>
                  </a:moveTo>
                  <a:lnTo>
                    <a:pt x="697" y="328"/>
                  </a:lnTo>
                  <a:cubicBezTo>
                    <a:pt x="697" y="328"/>
                    <a:pt x="717" y="348"/>
                    <a:pt x="697" y="348"/>
                  </a:cubicBezTo>
                  <a:cubicBezTo>
                    <a:pt x="697" y="348"/>
                    <a:pt x="697" y="348"/>
                    <a:pt x="676" y="348"/>
                  </a:cubicBezTo>
                  <a:cubicBezTo>
                    <a:pt x="676" y="348"/>
                    <a:pt x="676" y="328"/>
                    <a:pt x="655" y="328"/>
                  </a:cubicBezTo>
                  <a:cubicBezTo>
                    <a:pt x="655" y="328"/>
                    <a:pt x="655" y="328"/>
                    <a:pt x="635" y="328"/>
                  </a:cubicBezTo>
                  <a:lnTo>
                    <a:pt x="615" y="328"/>
                  </a:lnTo>
                  <a:cubicBezTo>
                    <a:pt x="594" y="328"/>
                    <a:pt x="594" y="348"/>
                    <a:pt x="594" y="348"/>
                  </a:cubicBezTo>
                  <a:cubicBezTo>
                    <a:pt x="594" y="369"/>
                    <a:pt x="573" y="390"/>
                    <a:pt x="573" y="390"/>
                  </a:cubicBezTo>
                  <a:cubicBezTo>
                    <a:pt x="573" y="410"/>
                    <a:pt x="573" y="410"/>
                    <a:pt x="573" y="430"/>
                  </a:cubicBezTo>
                  <a:cubicBezTo>
                    <a:pt x="553" y="430"/>
                    <a:pt x="553" y="451"/>
                    <a:pt x="533" y="472"/>
                  </a:cubicBezTo>
                  <a:lnTo>
                    <a:pt x="533" y="492"/>
                  </a:lnTo>
                  <a:cubicBezTo>
                    <a:pt x="533" y="512"/>
                    <a:pt x="533" y="512"/>
                    <a:pt x="533" y="512"/>
                  </a:cubicBezTo>
                  <a:cubicBezTo>
                    <a:pt x="553" y="512"/>
                    <a:pt x="553" y="512"/>
                    <a:pt x="553" y="533"/>
                  </a:cubicBezTo>
                  <a:cubicBezTo>
                    <a:pt x="573" y="533"/>
                    <a:pt x="553" y="554"/>
                    <a:pt x="553" y="554"/>
                  </a:cubicBezTo>
                  <a:cubicBezTo>
                    <a:pt x="553" y="574"/>
                    <a:pt x="553" y="594"/>
                    <a:pt x="553" y="594"/>
                  </a:cubicBezTo>
                  <a:cubicBezTo>
                    <a:pt x="533" y="594"/>
                    <a:pt x="533" y="615"/>
                    <a:pt x="533" y="615"/>
                  </a:cubicBezTo>
                  <a:lnTo>
                    <a:pt x="533" y="594"/>
                  </a:lnTo>
                  <a:lnTo>
                    <a:pt x="533" y="574"/>
                  </a:lnTo>
                  <a:cubicBezTo>
                    <a:pt x="512" y="574"/>
                    <a:pt x="512" y="574"/>
                    <a:pt x="491" y="574"/>
                  </a:cubicBezTo>
                  <a:cubicBezTo>
                    <a:pt x="491" y="594"/>
                    <a:pt x="491" y="594"/>
                    <a:pt x="491" y="615"/>
                  </a:cubicBezTo>
                  <a:lnTo>
                    <a:pt x="491" y="636"/>
                  </a:lnTo>
                  <a:cubicBezTo>
                    <a:pt x="491" y="656"/>
                    <a:pt x="512" y="676"/>
                    <a:pt x="512" y="697"/>
                  </a:cubicBezTo>
                  <a:cubicBezTo>
                    <a:pt x="512" y="697"/>
                    <a:pt x="512" y="718"/>
                    <a:pt x="512" y="738"/>
                  </a:cubicBezTo>
                  <a:lnTo>
                    <a:pt x="491" y="738"/>
                  </a:lnTo>
                  <a:lnTo>
                    <a:pt x="471" y="738"/>
                  </a:lnTo>
                  <a:cubicBezTo>
                    <a:pt x="451" y="738"/>
                    <a:pt x="430" y="738"/>
                    <a:pt x="430" y="738"/>
                  </a:cubicBezTo>
                  <a:cubicBezTo>
                    <a:pt x="409" y="718"/>
                    <a:pt x="389" y="697"/>
                    <a:pt x="389" y="697"/>
                  </a:cubicBezTo>
                  <a:cubicBezTo>
                    <a:pt x="369" y="676"/>
                    <a:pt x="369" y="676"/>
                    <a:pt x="369" y="656"/>
                  </a:cubicBezTo>
                  <a:cubicBezTo>
                    <a:pt x="369" y="656"/>
                    <a:pt x="349" y="636"/>
                    <a:pt x="369" y="636"/>
                  </a:cubicBezTo>
                  <a:cubicBezTo>
                    <a:pt x="369" y="615"/>
                    <a:pt x="369" y="615"/>
                    <a:pt x="369" y="594"/>
                  </a:cubicBezTo>
                  <a:cubicBezTo>
                    <a:pt x="389" y="594"/>
                    <a:pt x="389" y="574"/>
                    <a:pt x="369" y="554"/>
                  </a:cubicBezTo>
                  <a:cubicBezTo>
                    <a:pt x="369" y="554"/>
                    <a:pt x="369" y="533"/>
                    <a:pt x="369" y="512"/>
                  </a:cubicBezTo>
                  <a:cubicBezTo>
                    <a:pt x="369" y="512"/>
                    <a:pt x="369" y="492"/>
                    <a:pt x="369" y="472"/>
                  </a:cubicBezTo>
                  <a:lnTo>
                    <a:pt x="349" y="472"/>
                  </a:lnTo>
                  <a:cubicBezTo>
                    <a:pt x="328" y="472"/>
                    <a:pt x="328" y="492"/>
                    <a:pt x="307" y="492"/>
                  </a:cubicBezTo>
                  <a:lnTo>
                    <a:pt x="287" y="512"/>
                  </a:lnTo>
                  <a:cubicBezTo>
                    <a:pt x="287" y="533"/>
                    <a:pt x="287" y="554"/>
                    <a:pt x="266" y="554"/>
                  </a:cubicBezTo>
                  <a:cubicBezTo>
                    <a:pt x="266" y="554"/>
                    <a:pt x="266" y="554"/>
                    <a:pt x="266" y="574"/>
                  </a:cubicBezTo>
                  <a:cubicBezTo>
                    <a:pt x="266" y="554"/>
                    <a:pt x="266" y="533"/>
                    <a:pt x="246" y="533"/>
                  </a:cubicBezTo>
                  <a:cubicBezTo>
                    <a:pt x="246" y="512"/>
                    <a:pt x="246" y="492"/>
                    <a:pt x="225" y="472"/>
                  </a:cubicBezTo>
                  <a:lnTo>
                    <a:pt x="185" y="451"/>
                  </a:lnTo>
                  <a:cubicBezTo>
                    <a:pt x="164" y="430"/>
                    <a:pt x="123" y="430"/>
                    <a:pt x="103" y="430"/>
                  </a:cubicBezTo>
                  <a:cubicBezTo>
                    <a:pt x="82" y="410"/>
                    <a:pt x="61" y="410"/>
                    <a:pt x="61" y="410"/>
                  </a:cubicBezTo>
                  <a:cubicBezTo>
                    <a:pt x="41" y="410"/>
                    <a:pt x="21" y="390"/>
                    <a:pt x="0" y="390"/>
                  </a:cubicBezTo>
                  <a:cubicBezTo>
                    <a:pt x="0" y="369"/>
                    <a:pt x="0" y="369"/>
                    <a:pt x="0" y="348"/>
                  </a:cubicBezTo>
                  <a:cubicBezTo>
                    <a:pt x="0" y="348"/>
                    <a:pt x="21" y="348"/>
                    <a:pt x="41" y="328"/>
                  </a:cubicBezTo>
                  <a:cubicBezTo>
                    <a:pt x="41" y="328"/>
                    <a:pt x="41" y="308"/>
                    <a:pt x="41" y="287"/>
                  </a:cubicBezTo>
                  <a:lnTo>
                    <a:pt x="61" y="266"/>
                  </a:lnTo>
                  <a:cubicBezTo>
                    <a:pt x="41" y="246"/>
                    <a:pt x="41" y="246"/>
                    <a:pt x="41" y="226"/>
                  </a:cubicBezTo>
                  <a:cubicBezTo>
                    <a:pt x="21" y="226"/>
                    <a:pt x="21" y="205"/>
                    <a:pt x="41" y="205"/>
                  </a:cubicBezTo>
                  <a:cubicBezTo>
                    <a:pt x="41" y="184"/>
                    <a:pt x="61" y="184"/>
                    <a:pt x="61" y="184"/>
                  </a:cubicBezTo>
                  <a:cubicBezTo>
                    <a:pt x="61" y="164"/>
                    <a:pt x="61" y="164"/>
                    <a:pt x="61" y="144"/>
                  </a:cubicBezTo>
                  <a:lnTo>
                    <a:pt x="82" y="144"/>
                  </a:lnTo>
                  <a:lnTo>
                    <a:pt x="103" y="144"/>
                  </a:lnTo>
                  <a:cubicBezTo>
                    <a:pt x="123" y="144"/>
                    <a:pt x="123" y="144"/>
                    <a:pt x="143" y="144"/>
                  </a:cubicBezTo>
                  <a:cubicBezTo>
                    <a:pt x="143" y="124"/>
                    <a:pt x="164" y="124"/>
                    <a:pt x="164" y="124"/>
                  </a:cubicBezTo>
                  <a:cubicBezTo>
                    <a:pt x="164" y="103"/>
                    <a:pt x="143" y="82"/>
                    <a:pt x="143" y="62"/>
                  </a:cubicBezTo>
                  <a:lnTo>
                    <a:pt x="143" y="42"/>
                  </a:lnTo>
                  <a:cubicBezTo>
                    <a:pt x="143" y="21"/>
                    <a:pt x="164" y="21"/>
                    <a:pt x="185" y="21"/>
                  </a:cubicBezTo>
                  <a:lnTo>
                    <a:pt x="185" y="0"/>
                  </a:lnTo>
                  <a:lnTo>
                    <a:pt x="185" y="0"/>
                  </a:lnTo>
                  <a:cubicBezTo>
                    <a:pt x="185" y="21"/>
                    <a:pt x="205" y="21"/>
                    <a:pt x="205" y="21"/>
                  </a:cubicBezTo>
                  <a:cubicBezTo>
                    <a:pt x="225" y="42"/>
                    <a:pt x="225" y="42"/>
                    <a:pt x="246" y="42"/>
                  </a:cubicBezTo>
                  <a:cubicBezTo>
                    <a:pt x="246" y="62"/>
                    <a:pt x="246" y="82"/>
                    <a:pt x="266" y="103"/>
                  </a:cubicBezTo>
                  <a:lnTo>
                    <a:pt x="287" y="103"/>
                  </a:lnTo>
                  <a:cubicBezTo>
                    <a:pt x="287" y="103"/>
                    <a:pt x="307" y="103"/>
                    <a:pt x="328" y="103"/>
                  </a:cubicBezTo>
                  <a:lnTo>
                    <a:pt x="349" y="103"/>
                  </a:lnTo>
                  <a:cubicBezTo>
                    <a:pt x="349" y="82"/>
                    <a:pt x="369" y="82"/>
                    <a:pt x="369" y="82"/>
                  </a:cubicBezTo>
                  <a:cubicBezTo>
                    <a:pt x="389" y="62"/>
                    <a:pt x="389" y="62"/>
                    <a:pt x="389" y="42"/>
                  </a:cubicBezTo>
                  <a:cubicBezTo>
                    <a:pt x="409" y="42"/>
                    <a:pt x="409" y="42"/>
                    <a:pt x="430" y="42"/>
                  </a:cubicBezTo>
                  <a:cubicBezTo>
                    <a:pt x="430" y="21"/>
                    <a:pt x="451" y="21"/>
                    <a:pt x="451" y="21"/>
                  </a:cubicBezTo>
                  <a:lnTo>
                    <a:pt x="471" y="21"/>
                  </a:lnTo>
                  <a:lnTo>
                    <a:pt x="471" y="21"/>
                  </a:lnTo>
                  <a:cubicBezTo>
                    <a:pt x="471" y="42"/>
                    <a:pt x="512" y="62"/>
                    <a:pt x="512" y="82"/>
                  </a:cubicBezTo>
                  <a:lnTo>
                    <a:pt x="512" y="124"/>
                  </a:lnTo>
                  <a:cubicBezTo>
                    <a:pt x="512" y="144"/>
                    <a:pt x="512" y="164"/>
                    <a:pt x="512" y="164"/>
                  </a:cubicBezTo>
                  <a:cubicBezTo>
                    <a:pt x="512" y="184"/>
                    <a:pt x="533" y="184"/>
                    <a:pt x="533" y="205"/>
                  </a:cubicBezTo>
                  <a:cubicBezTo>
                    <a:pt x="553" y="205"/>
                    <a:pt x="573" y="205"/>
                    <a:pt x="573" y="226"/>
                  </a:cubicBezTo>
                  <a:lnTo>
                    <a:pt x="594" y="246"/>
                  </a:lnTo>
                  <a:cubicBezTo>
                    <a:pt x="615" y="246"/>
                    <a:pt x="615" y="246"/>
                    <a:pt x="635" y="246"/>
                  </a:cubicBezTo>
                  <a:cubicBezTo>
                    <a:pt x="635" y="246"/>
                    <a:pt x="655" y="246"/>
                    <a:pt x="676" y="246"/>
                  </a:cubicBezTo>
                  <a:lnTo>
                    <a:pt x="676" y="287"/>
                  </a:lnTo>
                  <a:cubicBezTo>
                    <a:pt x="697" y="308"/>
                    <a:pt x="697" y="308"/>
                    <a:pt x="697" y="328"/>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 name="Freeform 12">
              <a:extLst>
                <a:ext uri="{FF2B5EF4-FFF2-40B4-BE49-F238E27FC236}">
                  <a16:creationId xmlns:a16="http://schemas.microsoft.com/office/drawing/2014/main" id="{C5FE6DD3-0090-3F4C-A1D3-B0DA179E716B}"/>
                </a:ext>
              </a:extLst>
            </p:cNvPr>
            <p:cNvSpPr>
              <a:spLocks noChangeArrowheads="1"/>
            </p:cNvSpPr>
            <p:nvPr/>
          </p:nvSpPr>
          <p:spPr bwMode="auto">
            <a:xfrm>
              <a:off x="1731963" y="5954713"/>
              <a:ext cx="22225" cy="52387"/>
            </a:xfrm>
            <a:custGeom>
              <a:avLst/>
              <a:gdLst>
                <a:gd name="T0" fmla="*/ 41 w 63"/>
                <a:gd name="T1" fmla="*/ 144 h 145"/>
                <a:gd name="T2" fmla="*/ 41 w 63"/>
                <a:gd name="T3" fmla="*/ 144 h 145"/>
                <a:gd name="T4" fmla="*/ 41 w 63"/>
                <a:gd name="T5" fmla="*/ 103 h 145"/>
                <a:gd name="T6" fmla="*/ 20 w 63"/>
                <a:gd name="T7" fmla="*/ 82 h 145"/>
                <a:gd name="T8" fmla="*/ 0 w 63"/>
                <a:gd name="T9" fmla="*/ 62 h 145"/>
                <a:gd name="T10" fmla="*/ 0 w 63"/>
                <a:gd name="T11" fmla="*/ 41 h 145"/>
                <a:gd name="T12" fmla="*/ 20 w 63"/>
                <a:gd name="T13" fmla="*/ 21 h 145"/>
                <a:gd name="T14" fmla="*/ 20 w 63"/>
                <a:gd name="T15" fmla="*/ 0 h 145"/>
                <a:gd name="T16" fmla="*/ 41 w 63"/>
                <a:gd name="T17" fmla="*/ 0 h 145"/>
                <a:gd name="T18" fmla="*/ 62 w 63"/>
                <a:gd name="T19" fmla="*/ 21 h 145"/>
                <a:gd name="T20" fmla="*/ 62 w 63"/>
                <a:gd name="T21" fmla="*/ 41 h 145"/>
                <a:gd name="T22" fmla="*/ 62 w 63"/>
                <a:gd name="T23" fmla="*/ 41 h 145"/>
                <a:gd name="T24" fmla="*/ 62 w 63"/>
                <a:gd name="T25" fmla="*/ 62 h 145"/>
                <a:gd name="T26" fmla="*/ 62 w 63"/>
                <a:gd name="T27" fmla="*/ 82 h 145"/>
                <a:gd name="T28" fmla="*/ 62 w 63"/>
                <a:gd name="T29" fmla="*/ 103 h 145"/>
                <a:gd name="T30" fmla="*/ 62 w 63"/>
                <a:gd name="T31" fmla="*/ 123 h 145"/>
                <a:gd name="T32" fmla="*/ 41 w 63"/>
                <a:gd name="T33" fmla="*/ 14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145">
                  <a:moveTo>
                    <a:pt x="41" y="144"/>
                  </a:moveTo>
                  <a:lnTo>
                    <a:pt x="41" y="144"/>
                  </a:lnTo>
                  <a:cubicBezTo>
                    <a:pt x="41" y="123"/>
                    <a:pt x="41" y="123"/>
                    <a:pt x="41" y="103"/>
                  </a:cubicBezTo>
                  <a:cubicBezTo>
                    <a:pt x="20" y="103"/>
                    <a:pt x="20" y="103"/>
                    <a:pt x="20" y="82"/>
                  </a:cubicBezTo>
                  <a:cubicBezTo>
                    <a:pt x="0" y="82"/>
                    <a:pt x="0" y="62"/>
                    <a:pt x="0" y="62"/>
                  </a:cubicBezTo>
                  <a:lnTo>
                    <a:pt x="0" y="41"/>
                  </a:lnTo>
                  <a:cubicBezTo>
                    <a:pt x="0" y="21"/>
                    <a:pt x="0" y="21"/>
                    <a:pt x="20" y="21"/>
                  </a:cubicBezTo>
                  <a:lnTo>
                    <a:pt x="20" y="0"/>
                  </a:lnTo>
                  <a:lnTo>
                    <a:pt x="41" y="0"/>
                  </a:lnTo>
                  <a:lnTo>
                    <a:pt x="62" y="21"/>
                  </a:lnTo>
                  <a:cubicBezTo>
                    <a:pt x="62" y="21"/>
                    <a:pt x="62" y="21"/>
                    <a:pt x="62" y="41"/>
                  </a:cubicBezTo>
                  <a:lnTo>
                    <a:pt x="62" y="41"/>
                  </a:lnTo>
                  <a:cubicBezTo>
                    <a:pt x="62" y="62"/>
                    <a:pt x="62" y="62"/>
                    <a:pt x="62" y="62"/>
                  </a:cubicBezTo>
                  <a:lnTo>
                    <a:pt x="62" y="82"/>
                  </a:lnTo>
                  <a:cubicBezTo>
                    <a:pt x="62" y="103"/>
                    <a:pt x="62" y="103"/>
                    <a:pt x="62" y="103"/>
                  </a:cubicBezTo>
                  <a:lnTo>
                    <a:pt x="62" y="123"/>
                  </a:lnTo>
                  <a:lnTo>
                    <a:pt x="41" y="144"/>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 name="Freeform 13">
              <a:extLst>
                <a:ext uri="{FF2B5EF4-FFF2-40B4-BE49-F238E27FC236}">
                  <a16:creationId xmlns:a16="http://schemas.microsoft.com/office/drawing/2014/main" id="{308B7FD4-D7C2-8740-8CFC-9803F06825D7}"/>
                </a:ext>
              </a:extLst>
            </p:cNvPr>
            <p:cNvSpPr>
              <a:spLocks noChangeArrowheads="1"/>
            </p:cNvSpPr>
            <p:nvPr/>
          </p:nvSpPr>
          <p:spPr bwMode="auto">
            <a:xfrm>
              <a:off x="1135063" y="4591050"/>
              <a:ext cx="376237" cy="200025"/>
            </a:xfrm>
            <a:custGeom>
              <a:avLst/>
              <a:gdLst>
                <a:gd name="T0" fmla="*/ 1046 w 1047"/>
                <a:gd name="T1" fmla="*/ 410 h 555"/>
                <a:gd name="T2" fmla="*/ 1004 w 1047"/>
                <a:gd name="T3" fmla="*/ 452 h 555"/>
                <a:gd name="T4" fmla="*/ 1025 w 1047"/>
                <a:gd name="T5" fmla="*/ 534 h 555"/>
                <a:gd name="T6" fmla="*/ 964 w 1047"/>
                <a:gd name="T7" fmla="*/ 554 h 555"/>
                <a:gd name="T8" fmla="*/ 902 w 1047"/>
                <a:gd name="T9" fmla="*/ 513 h 555"/>
                <a:gd name="T10" fmla="*/ 840 w 1047"/>
                <a:gd name="T11" fmla="*/ 472 h 555"/>
                <a:gd name="T12" fmla="*/ 758 w 1047"/>
                <a:gd name="T13" fmla="*/ 492 h 555"/>
                <a:gd name="T14" fmla="*/ 697 w 1047"/>
                <a:gd name="T15" fmla="*/ 513 h 555"/>
                <a:gd name="T16" fmla="*/ 615 w 1047"/>
                <a:gd name="T17" fmla="*/ 534 h 555"/>
                <a:gd name="T18" fmla="*/ 512 w 1047"/>
                <a:gd name="T19" fmla="*/ 554 h 555"/>
                <a:gd name="T20" fmla="*/ 492 w 1047"/>
                <a:gd name="T21" fmla="*/ 513 h 555"/>
                <a:gd name="T22" fmla="*/ 431 w 1047"/>
                <a:gd name="T23" fmla="*/ 472 h 555"/>
                <a:gd name="T24" fmla="*/ 390 w 1047"/>
                <a:gd name="T25" fmla="*/ 410 h 555"/>
                <a:gd name="T26" fmla="*/ 308 w 1047"/>
                <a:gd name="T27" fmla="*/ 452 h 555"/>
                <a:gd name="T28" fmla="*/ 205 w 1047"/>
                <a:gd name="T29" fmla="*/ 452 h 555"/>
                <a:gd name="T30" fmla="*/ 226 w 1047"/>
                <a:gd name="T31" fmla="*/ 370 h 555"/>
                <a:gd name="T32" fmla="*/ 185 w 1047"/>
                <a:gd name="T33" fmla="*/ 226 h 555"/>
                <a:gd name="T34" fmla="*/ 82 w 1047"/>
                <a:gd name="T35" fmla="*/ 124 h 555"/>
                <a:gd name="T36" fmla="*/ 0 w 1047"/>
                <a:gd name="T37" fmla="*/ 62 h 555"/>
                <a:gd name="T38" fmla="*/ 21 w 1047"/>
                <a:gd name="T39" fmla="*/ 21 h 555"/>
                <a:gd name="T40" fmla="*/ 82 w 1047"/>
                <a:gd name="T41" fmla="*/ 0 h 555"/>
                <a:gd name="T42" fmla="*/ 144 w 1047"/>
                <a:gd name="T43" fmla="*/ 21 h 555"/>
                <a:gd name="T44" fmla="*/ 226 w 1047"/>
                <a:gd name="T45" fmla="*/ 62 h 555"/>
                <a:gd name="T46" fmla="*/ 369 w 1047"/>
                <a:gd name="T47" fmla="*/ 82 h 555"/>
                <a:gd name="T48" fmla="*/ 451 w 1047"/>
                <a:gd name="T49" fmla="*/ 103 h 555"/>
                <a:gd name="T50" fmla="*/ 533 w 1047"/>
                <a:gd name="T51" fmla="*/ 164 h 555"/>
                <a:gd name="T52" fmla="*/ 594 w 1047"/>
                <a:gd name="T53" fmla="*/ 226 h 555"/>
                <a:gd name="T54" fmla="*/ 656 w 1047"/>
                <a:gd name="T55" fmla="*/ 206 h 555"/>
                <a:gd name="T56" fmla="*/ 697 w 1047"/>
                <a:gd name="T57" fmla="*/ 185 h 555"/>
                <a:gd name="T58" fmla="*/ 779 w 1047"/>
                <a:gd name="T59" fmla="*/ 185 h 555"/>
                <a:gd name="T60" fmla="*/ 840 w 1047"/>
                <a:gd name="T61" fmla="*/ 246 h 555"/>
                <a:gd name="T62" fmla="*/ 902 w 1047"/>
                <a:gd name="T63" fmla="*/ 328 h 555"/>
                <a:gd name="T64" fmla="*/ 1025 w 1047"/>
                <a:gd name="T65" fmla="*/ 39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7" h="555">
                  <a:moveTo>
                    <a:pt x="1046" y="410"/>
                  </a:moveTo>
                  <a:lnTo>
                    <a:pt x="1046" y="410"/>
                  </a:lnTo>
                  <a:lnTo>
                    <a:pt x="1046" y="431"/>
                  </a:lnTo>
                  <a:cubicBezTo>
                    <a:pt x="1025" y="431"/>
                    <a:pt x="1004" y="431"/>
                    <a:pt x="1004" y="452"/>
                  </a:cubicBezTo>
                  <a:lnTo>
                    <a:pt x="1004" y="472"/>
                  </a:lnTo>
                  <a:cubicBezTo>
                    <a:pt x="1004" y="492"/>
                    <a:pt x="1025" y="513"/>
                    <a:pt x="1025" y="534"/>
                  </a:cubicBezTo>
                  <a:cubicBezTo>
                    <a:pt x="1025" y="534"/>
                    <a:pt x="1004" y="534"/>
                    <a:pt x="1004" y="554"/>
                  </a:cubicBezTo>
                  <a:cubicBezTo>
                    <a:pt x="984" y="554"/>
                    <a:pt x="984" y="554"/>
                    <a:pt x="964" y="554"/>
                  </a:cubicBezTo>
                  <a:cubicBezTo>
                    <a:pt x="964" y="554"/>
                    <a:pt x="922" y="554"/>
                    <a:pt x="922" y="534"/>
                  </a:cubicBezTo>
                  <a:cubicBezTo>
                    <a:pt x="922" y="534"/>
                    <a:pt x="902" y="534"/>
                    <a:pt x="902" y="513"/>
                  </a:cubicBezTo>
                  <a:cubicBezTo>
                    <a:pt x="882" y="513"/>
                    <a:pt x="861" y="513"/>
                    <a:pt x="861" y="513"/>
                  </a:cubicBezTo>
                  <a:cubicBezTo>
                    <a:pt x="861" y="513"/>
                    <a:pt x="861" y="492"/>
                    <a:pt x="840" y="472"/>
                  </a:cubicBezTo>
                  <a:cubicBezTo>
                    <a:pt x="840" y="472"/>
                    <a:pt x="800" y="472"/>
                    <a:pt x="779" y="472"/>
                  </a:cubicBezTo>
                  <a:lnTo>
                    <a:pt x="758" y="492"/>
                  </a:lnTo>
                  <a:cubicBezTo>
                    <a:pt x="738" y="492"/>
                    <a:pt x="738" y="513"/>
                    <a:pt x="738" y="513"/>
                  </a:cubicBezTo>
                  <a:cubicBezTo>
                    <a:pt x="738" y="513"/>
                    <a:pt x="718" y="513"/>
                    <a:pt x="697" y="513"/>
                  </a:cubicBezTo>
                  <a:cubicBezTo>
                    <a:pt x="697" y="513"/>
                    <a:pt x="676" y="534"/>
                    <a:pt x="656" y="534"/>
                  </a:cubicBezTo>
                  <a:lnTo>
                    <a:pt x="615" y="534"/>
                  </a:lnTo>
                  <a:cubicBezTo>
                    <a:pt x="594" y="534"/>
                    <a:pt x="574" y="554"/>
                    <a:pt x="554" y="554"/>
                  </a:cubicBezTo>
                  <a:cubicBezTo>
                    <a:pt x="554" y="554"/>
                    <a:pt x="533" y="554"/>
                    <a:pt x="512" y="554"/>
                  </a:cubicBezTo>
                  <a:lnTo>
                    <a:pt x="512" y="554"/>
                  </a:lnTo>
                  <a:cubicBezTo>
                    <a:pt x="492" y="534"/>
                    <a:pt x="492" y="513"/>
                    <a:pt x="492" y="513"/>
                  </a:cubicBezTo>
                  <a:cubicBezTo>
                    <a:pt x="472" y="513"/>
                    <a:pt x="451" y="513"/>
                    <a:pt x="451" y="492"/>
                  </a:cubicBezTo>
                  <a:lnTo>
                    <a:pt x="431" y="472"/>
                  </a:lnTo>
                  <a:cubicBezTo>
                    <a:pt x="431" y="452"/>
                    <a:pt x="431" y="431"/>
                    <a:pt x="410" y="431"/>
                  </a:cubicBezTo>
                  <a:lnTo>
                    <a:pt x="390" y="410"/>
                  </a:lnTo>
                  <a:cubicBezTo>
                    <a:pt x="369" y="410"/>
                    <a:pt x="349" y="431"/>
                    <a:pt x="349" y="431"/>
                  </a:cubicBezTo>
                  <a:cubicBezTo>
                    <a:pt x="328" y="431"/>
                    <a:pt x="308" y="452"/>
                    <a:pt x="308" y="452"/>
                  </a:cubicBezTo>
                  <a:cubicBezTo>
                    <a:pt x="287" y="472"/>
                    <a:pt x="246" y="452"/>
                    <a:pt x="246" y="452"/>
                  </a:cubicBezTo>
                  <a:cubicBezTo>
                    <a:pt x="226" y="452"/>
                    <a:pt x="205" y="452"/>
                    <a:pt x="205" y="452"/>
                  </a:cubicBezTo>
                  <a:cubicBezTo>
                    <a:pt x="205" y="452"/>
                    <a:pt x="205" y="431"/>
                    <a:pt x="226" y="431"/>
                  </a:cubicBezTo>
                  <a:cubicBezTo>
                    <a:pt x="226" y="410"/>
                    <a:pt x="226" y="390"/>
                    <a:pt x="226" y="370"/>
                  </a:cubicBezTo>
                  <a:cubicBezTo>
                    <a:pt x="226" y="349"/>
                    <a:pt x="205" y="328"/>
                    <a:pt x="205" y="308"/>
                  </a:cubicBezTo>
                  <a:cubicBezTo>
                    <a:pt x="205" y="288"/>
                    <a:pt x="205" y="246"/>
                    <a:pt x="185" y="226"/>
                  </a:cubicBezTo>
                  <a:cubicBezTo>
                    <a:pt x="185" y="206"/>
                    <a:pt x="164" y="185"/>
                    <a:pt x="144" y="164"/>
                  </a:cubicBezTo>
                  <a:cubicBezTo>
                    <a:pt x="144" y="144"/>
                    <a:pt x="103" y="144"/>
                    <a:pt x="82" y="124"/>
                  </a:cubicBezTo>
                  <a:cubicBezTo>
                    <a:pt x="62" y="124"/>
                    <a:pt x="21" y="82"/>
                    <a:pt x="0" y="82"/>
                  </a:cubicBezTo>
                  <a:lnTo>
                    <a:pt x="0" y="62"/>
                  </a:lnTo>
                  <a:cubicBezTo>
                    <a:pt x="0" y="62"/>
                    <a:pt x="0" y="62"/>
                    <a:pt x="21" y="42"/>
                  </a:cubicBezTo>
                  <a:lnTo>
                    <a:pt x="21" y="21"/>
                  </a:lnTo>
                  <a:cubicBezTo>
                    <a:pt x="41" y="21"/>
                    <a:pt x="41" y="0"/>
                    <a:pt x="41" y="0"/>
                  </a:cubicBezTo>
                  <a:cubicBezTo>
                    <a:pt x="62" y="0"/>
                    <a:pt x="62" y="0"/>
                    <a:pt x="82" y="0"/>
                  </a:cubicBezTo>
                  <a:lnTo>
                    <a:pt x="103" y="0"/>
                  </a:lnTo>
                  <a:cubicBezTo>
                    <a:pt x="123" y="0"/>
                    <a:pt x="123" y="21"/>
                    <a:pt x="144" y="21"/>
                  </a:cubicBezTo>
                  <a:cubicBezTo>
                    <a:pt x="144" y="42"/>
                    <a:pt x="185" y="42"/>
                    <a:pt x="185" y="42"/>
                  </a:cubicBezTo>
                  <a:cubicBezTo>
                    <a:pt x="205" y="62"/>
                    <a:pt x="205" y="62"/>
                    <a:pt x="226" y="62"/>
                  </a:cubicBezTo>
                  <a:cubicBezTo>
                    <a:pt x="246" y="62"/>
                    <a:pt x="267" y="82"/>
                    <a:pt x="287" y="82"/>
                  </a:cubicBezTo>
                  <a:cubicBezTo>
                    <a:pt x="308" y="82"/>
                    <a:pt x="349" y="82"/>
                    <a:pt x="369" y="82"/>
                  </a:cubicBezTo>
                  <a:lnTo>
                    <a:pt x="390" y="82"/>
                  </a:lnTo>
                  <a:cubicBezTo>
                    <a:pt x="410" y="82"/>
                    <a:pt x="431" y="82"/>
                    <a:pt x="451" y="103"/>
                  </a:cubicBezTo>
                  <a:cubicBezTo>
                    <a:pt x="451" y="103"/>
                    <a:pt x="472" y="124"/>
                    <a:pt x="492" y="124"/>
                  </a:cubicBezTo>
                  <a:cubicBezTo>
                    <a:pt x="492" y="124"/>
                    <a:pt x="512" y="144"/>
                    <a:pt x="533" y="164"/>
                  </a:cubicBezTo>
                  <a:cubicBezTo>
                    <a:pt x="533" y="164"/>
                    <a:pt x="533" y="185"/>
                    <a:pt x="554" y="185"/>
                  </a:cubicBezTo>
                  <a:cubicBezTo>
                    <a:pt x="554" y="206"/>
                    <a:pt x="594" y="226"/>
                    <a:pt x="594" y="226"/>
                  </a:cubicBezTo>
                  <a:cubicBezTo>
                    <a:pt x="615" y="226"/>
                    <a:pt x="615" y="226"/>
                    <a:pt x="615" y="226"/>
                  </a:cubicBezTo>
                  <a:cubicBezTo>
                    <a:pt x="636" y="206"/>
                    <a:pt x="656" y="206"/>
                    <a:pt x="656" y="206"/>
                  </a:cubicBezTo>
                  <a:cubicBezTo>
                    <a:pt x="656" y="206"/>
                    <a:pt x="656" y="185"/>
                    <a:pt x="676" y="185"/>
                  </a:cubicBezTo>
                  <a:lnTo>
                    <a:pt x="697" y="185"/>
                  </a:lnTo>
                  <a:cubicBezTo>
                    <a:pt x="718" y="185"/>
                    <a:pt x="738" y="185"/>
                    <a:pt x="738" y="185"/>
                  </a:cubicBezTo>
                  <a:cubicBezTo>
                    <a:pt x="758" y="185"/>
                    <a:pt x="758" y="185"/>
                    <a:pt x="779" y="185"/>
                  </a:cubicBezTo>
                  <a:cubicBezTo>
                    <a:pt x="779" y="185"/>
                    <a:pt x="800" y="206"/>
                    <a:pt x="820" y="226"/>
                  </a:cubicBezTo>
                  <a:lnTo>
                    <a:pt x="840" y="246"/>
                  </a:lnTo>
                  <a:cubicBezTo>
                    <a:pt x="861" y="267"/>
                    <a:pt x="861" y="288"/>
                    <a:pt x="882" y="288"/>
                  </a:cubicBezTo>
                  <a:cubicBezTo>
                    <a:pt x="882" y="308"/>
                    <a:pt x="902" y="328"/>
                    <a:pt x="902" y="328"/>
                  </a:cubicBezTo>
                  <a:cubicBezTo>
                    <a:pt x="922" y="349"/>
                    <a:pt x="943" y="370"/>
                    <a:pt x="964" y="370"/>
                  </a:cubicBezTo>
                  <a:cubicBezTo>
                    <a:pt x="964" y="390"/>
                    <a:pt x="1004" y="390"/>
                    <a:pt x="1025" y="390"/>
                  </a:cubicBezTo>
                  <a:cubicBezTo>
                    <a:pt x="1025" y="390"/>
                    <a:pt x="1025" y="410"/>
                    <a:pt x="1046" y="41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 name="Freeform 14">
              <a:extLst>
                <a:ext uri="{FF2B5EF4-FFF2-40B4-BE49-F238E27FC236}">
                  <a16:creationId xmlns:a16="http://schemas.microsoft.com/office/drawing/2014/main" id="{8B0F0FFC-9170-B34B-BCA3-F427E99D31C5}"/>
                </a:ext>
              </a:extLst>
            </p:cNvPr>
            <p:cNvSpPr>
              <a:spLocks noChangeArrowheads="1"/>
            </p:cNvSpPr>
            <p:nvPr/>
          </p:nvSpPr>
          <p:spPr bwMode="auto">
            <a:xfrm>
              <a:off x="831850" y="5297488"/>
              <a:ext cx="103188" cy="133350"/>
            </a:xfrm>
            <a:custGeom>
              <a:avLst/>
              <a:gdLst>
                <a:gd name="T0" fmla="*/ 103 w 288"/>
                <a:gd name="T1" fmla="*/ 349 h 371"/>
                <a:gd name="T2" fmla="*/ 103 w 288"/>
                <a:gd name="T3" fmla="*/ 349 h 371"/>
                <a:gd name="T4" fmla="*/ 82 w 288"/>
                <a:gd name="T5" fmla="*/ 349 h 371"/>
                <a:gd name="T6" fmla="*/ 61 w 288"/>
                <a:gd name="T7" fmla="*/ 370 h 371"/>
                <a:gd name="T8" fmla="*/ 41 w 288"/>
                <a:gd name="T9" fmla="*/ 370 h 371"/>
                <a:gd name="T10" fmla="*/ 21 w 288"/>
                <a:gd name="T11" fmla="*/ 349 h 371"/>
                <a:gd name="T12" fmla="*/ 0 w 288"/>
                <a:gd name="T13" fmla="*/ 328 h 371"/>
                <a:gd name="T14" fmla="*/ 0 w 288"/>
                <a:gd name="T15" fmla="*/ 328 h 371"/>
                <a:gd name="T16" fmla="*/ 21 w 288"/>
                <a:gd name="T17" fmla="*/ 288 h 371"/>
                <a:gd name="T18" fmla="*/ 41 w 288"/>
                <a:gd name="T19" fmla="*/ 206 h 371"/>
                <a:gd name="T20" fmla="*/ 82 w 288"/>
                <a:gd name="T21" fmla="*/ 124 h 371"/>
                <a:gd name="T22" fmla="*/ 143 w 288"/>
                <a:gd name="T23" fmla="*/ 62 h 371"/>
                <a:gd name="T24" fmla="*/ 143 w 288"/>
                <a:gd name="T25" fmla="*/ 0 h 371"/>
                <a:gd name="T26" fmla="*/ 164 w 288"/>
                <a:gd name="T27" fmla="*/ 0 h 371"/>
                <a:gd name="T28" fmla="*/ 185 w 288"/>
                <a:gd name="T29" fmla="*/ 21 h 371"/>
                <a:gd name="T30" fmla="*/ 185 w 288"/>
                <a:gd name="T31" fmla="*/ 42 h 371"/>
                <a:gd name="T32" fmla="*/ 225 w 288"/>
                <a:gd name="T33" fmla="*/ 42 h 371"/>
                <a:gd name="T34" fmla="*/ 246 w 288"/>
                <a:gd name="T35" fmla="*/ 62 h 371"/>
                <a:gd name="T36" fmla="*/ 267 w 288"/>
                <a:gd name="T37" fmla="*/ 82 h 371"/>
                <a:gd name="T38" fmla="*/ 287 w 288"/>
                <a:gd name="T39" fmla="*/ 103 h 371"/>
                <a:gd name="T40" fmla="*/ 287 w 288"/>
                <a:gd name="T41" fmla="*/ 144 h 371"/>
                <a:gd name="T42" fmla="*/ 267 w 288"/>
                <a:gd name="T43" fmla="*/ 144 h 371"/>
                <a:gd name="T44" fmla="*/ 246 w 288"/>
                <a:gd name="T45" fmla="*/ 164 h 371"/>
                <a:gd name="T46" fmla="*/ 225 w 288"/>
                <a:gd name="T47" fmla="*/ 185 h 371"/>
                <a:gd name="T48" fmla="*/ 205 w 288"/>
                <a:gd name="T49" fmla="*/ 226 h 371"/>
                <a:gd name="T50" fmla="*/ 185 w 288"/>
                <a:gd name="T51" fmla="*/ 246 h 371"/>
                <a:gd name="T52" fmla="*/ 164 w 288"/>
                <a:gd name="T53" fmla="*/ 267 h 371"/>
                <a:gd name="T54" fmla="*/ 143 w 288"/>
                <a:gd name="T55" fmla="*/ 308 h 371"/>
                <a:gd name="T56" fmla="*/ 123 w 288"/>
                <a:gd name="T57" fmla="*/ 328 h 371"/>
                <a:gd name="T58" fmla="*/ 103 w 288"/>
                <a:gd name="T59" fmla="*/ 349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8" h="371">
                  <a:moveTo>
                    <a:pt x="103" y="349"/>
                  </a:moveTo>
                  <a:lnTo>
                    <a:pt x="103" y="349"/>
                  </a:lnTo>
                  <a:cubicBezTo>
                    <a:pt x="82" y="349"/>
                    <a:pt x="82" y="349"/>
                    <a:pt x="82" y="349"/>
                  </a:cubicBezTo>
                  <a:cubicBezTo>
                    <a:pt x="82" y="370"/>
                    <a:pt x="82" y="370"/>
                    <a:pt x="61" y="370"/>
                  </a:cubicBezTo>
                  <a:lnTo>
                    <a:pt x="41" y="370"/>
                  </a:lnTo>
                  <a:cubicBezTo>
                    <a:pt x="21" y="370"/>
                    <a:pt x="21" y="349"/>
                    <a:pt x="21" y="349"/>
                  </a:cubicBezTo>
                  <a:cubicBezTo>
                    <a:pt x="21" y="349"/>
                    <a:pt x="0" y="349"/>
                    <a:pt x="0" y="328"/>
                  </a:cubicBezTo>
                  <a:lnTo>
                    <a:pt x="0" y="328"/>
                  </a:lnTo>
                  <a:cubicBezTo>
                    <a:pt x="0" y="328"/>
                    <a:pt x="0" y="288"/>
                    <a:pt x="21" y="288"/>
                  </a:cubicBezTo>
                  <a:cubicBezTo>
                    <a:pt x="21" y="246"/>
                    <a:pt x="41" y="226"/>
                    <a:pt x="41" y="206"/>
                  </a:cubicBezTo>
                  <a:cubicBezTo>
                    <a:pt x="61" y="185"/>
                    <a:pt x="61" y="144"/>
                    <a:pt x="82" y="124"/>
                  </a:cubicBezTo>
                  <a:cubicBezTo>
                    <a:pt x="82" y="103"/>
                    <a:pt x="123" y="82"/>
                    <a:pt x="143" y="62"/>
                  </a:cubicBezTo>
                  <a:cubicBezTo>
                    <a:pt x="143" y="42"/>
                    <a:pt x="143" y="21"/>
                    <a:pt x="143" y="0"/>
                  </a:cubicBezTo>
                  <a:lnTo>
                    <a:pt x="164" y="0"/>
                  </a:lnTo>
                  <a:cubicBezTo>
                    <a:pt x="164" y="0"/>
                    <a:pt x="164" y="21"/>
                    <a:pt x="185" y="21"/>
                  </a:cubicBezTo>
                  <a:lnTo>
                    <a:pt x="185" y="42"/>
                  </a:lnTo>
                  <a:cubicBezTo>
                    <a:pt x="205" y="42"/>
                    <a:pt x="205" y="42"/>
                    <a:pt x="225" y="42"/>
                  </a:cubicBezTo>
                  <a:cubicBezTo>
                    <a:pt x="225" y="42"/>
                    <a:pt x="246" y="42"/>
                    <a:pt x="246" y="62"/>
                  </a:cubicBezTo>
                  <a:cubicBezTo>
                    <a:pt x="246" y="62"/>
                    <a:pt x="267" y="62"/>
                    <a:pt x="267" y="82"/>
                  </a:cubicBezTo>
                  <a:lnTo>
                    <a:pt x="287" y="103"/>
                  </a:lnTo>
                  <a:cubicBezTo>
                    <a:pt x="287" y="124"/>
                    <a:pt x="287" y="124"/>
                    <a:pt x="287" y="144"/>
                  </a:cubicBezTo>
                  <a:lnTo>
                    <a:pt x="267" y="144"/>
                  </a:lnTo>
                  <a:cubicBezTo>
                    <a:pt x="246" y="144"/>
                    <a:pt x="246" y="164"/>
                    <a:pt x="246" y="164"/>
                  </a:cubicBezTo>
                  <a:cubicBezTo>
                    <a:pt x="225" y="164"/>
                    <a:pt x="225" y="185"/>
                    <a:pt x="225" y="185"/>
                  </a:cubicBezTo>
                  <a:cubicBezTo>
                    <a:pt x="225" y="206"/>
                    <a:pt x="205" y="206"/>
                    <a:pt x="205" y="226"/>
                  </a:cubicBezTo>
                  <a:cubicBezTo>
                    <a:pt x="185" y="226"/>
                    <a:pt x="185" y="226"/>
                    <a:pt x="185" y="246"/>
                  </a:cubicBezTo>
                  <a:cubicBezTo>
                    <a:pt x="164" y="246"/>
                    <a:pt x="164" y="267"/>
                    <a:pt x="164" y="267"/>
                  </a:cubicBezTo>
                  <a:cubicBezTo>
                    <a:pt x="164" y="288"/>
                    <a:pt x="143" y="308"/>
                    <a:pt x="143" y="308"/>
                  </a:cubicBezTo>
                  <a:lnTo>
                    <a:pt x="123" y="328"/>
                  </a:lnTo>
                  <a:cubicBezTo>
                    <a:pt x="123" y="349"/>
                    <a:pt x="103" y="349"/>
                    <a:pt x="103" y="349"/>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 name="Freeform 15">
              <a:extLst>
                <a:ext uri="{FF2B5EF4-FFF2-40B4-BE49-F238E27FC236}">
                  <a16:creationId xmlns:a16="http://schemas.microsoft.com/office/drawing/2014/main" id="{0CAC9936-B41F-1141-B5F1-4AE49D9E4A7F}"/>
                </a:ext>
              </a:extLst>
            </p:cNvPr>
            <p:cNvSpPr>
              <a:spLocks noChangeArrowheads="1"/>
            </p:cNvSpPr>
            <p:nvPr/>
          </p:nvSpPr>
          <p:spPr bwMode="auto">
            <a:xfrm>
              <a:off x="1223963" y="6692900"/>
              <a:ext cx="30162" cy="22225"/>
            </a:xfrm>
            <a:custGeom>
              <a:avLst/>
              <a:gdLst>
                <a:gd name="T0" fmla="*/ 62 w 83"/>
                <a:gd name="T1" fmla="*/ 62 h 63"/>
                <a:gd name="T2" fmla="*/ 62 w 83"/>
                <a:gd name="T3" fmla="*/ 62 h 63"/>
                <a:gd name="T4" fmla="*/ 62 w 83"/>
                <a:gd name="T5" fmla="*/ 41 h 63"/>
                <a:gd name="T6" fmla="*/ 41 w 83"/>
                <a:gd name="T7" fmla="*/ 41 h 63"/>
                <a:gd name="T8" fmla="*/ 21 w 83"/>
                <a:gd name="T9" fmla="*/ 41 h 63"/>
                <a:gd name="T10" fmla="*/ 0 w 83"/>
                <a:gd name="T11" fmla="*/ 21 h 63"/>
                <a:gd name="T12" fmla="*/ 21 w 83"/>
                <a:gd name="T13" fmla="*/ 0 h 63"/>
                <a:gd name="T14" fmla="*/ 21 w 83"/>
                <a:gd name="T15" fmla="*/ 0 h 63"/>
                <a:gd name="T16" fmla="*/ 41 w 83"/>
                <a:gd name="T17" fmla="*/ 0 h 63"/>
                <a:gd name="T18" fmla="*/ 62 w 83"/>
                <a:gd name="T19" fmla="*/ 0 h 63"/>
                <a:gd name="T20" fmla="*/ 82 w 83"/>
                <a:gd name="T21" fmla="*/ 21 h 63"/>
                <a:gd name="T22" fmla="*/ 82 w 83"/>
                <a:gd name="T23" fmla="*/ 41 h 63"/>
                <a:gd name="T24" fmla="*/ 82 w 83"/>
                <a:gd name="T25" fmla="*/ 62 h 63"/>
                <a:gd name="T26" fmla="*/ 62 w 83"/>
                <a:gd name="T2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63">
                  <a:moveTo>
                    <a:pt x="62" y="62"/>
                  </a:moveTo>
                  <a:lnTo>
                    <a:pt x="62" y="62"/>
                  </a:lnTo>
                  <a:cubicBezTo>
                    <a:pt x="62" y="41"/>
                    <a:pt x="62" y="41"/>
                    <a:pt x="62" y="41"/>
                  </a:cubicBezTo>
                  <a:cubicBezTo>
                    <a:pt x="41" y="41"/>
                    <a:pt x="41" y="41"/>
                    <a:pt x="41" y="41"/>
                  </a:cubicBezTo>
                  <a:cubicBezTo>
                    <a:pt x="41" y="21"/>
                    <a:pt x="21" y="41"/>
                    <a:pt x="21" y="41"/>
                  </a:cubicBezTo>
                  <a:cubicBezTo>
                    <a:pt x="21" y="21"/>
                    <a:pt x="0" y="21"/>
                    <a:pt x="0" y="21"/>
                  </a:cubicBezTo>
                  <a:lnTo>
                    <a:pt x="21" y="0"/>
                  </a:lnTo>
                  <a:lnTo>
                    <a:pt x="21" y="0"/>
                  </a:lnTo>
                  <a:cubicBezTo>
                    <a:pt x="41" y="0"/>
                    <a:pt x="41" y="0"/>
                    <a:pt x="41" y="0"/>
                  </a:cubicBezTo>
                  <a:cubicBezTo>
                    <a:pt x="62" y="0"/>
                    <a:pt x="62" y="0"/>
                    <a:pt x="62" y="0"/>
                  </a:cubicBezTo>
                  <a:cubicBezTo>
                    <a:pt x="62" y="0"/>
                    <a:pt x="62" y="0"/>
                    <a:pt x="82" y="21"/>
                  </a:cubicBezTo>
                  <a:cubicBezTo>
                    <a:pt x="82" y="21"/>
                    <a:pt x="82" y="21"/>
                    <a:pt x="82" y="41"/>
                  </a:cubicBezTo>
                  <a:cubicBezTo>
                    <a:pt x="82" y="41"/>
                    <a:pt x="82" y="41"/>
                    <a:pt x="82" y="62"/>
                  </a:cubicBezTo>
                  <a:lnTo>
                    <a:pt x="62"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 name="Freeform 16">
              <a:extLst>
                <a:ext uri="{FF2B5EF4-FFF2-40B4-BE49-F238E27FC236}">
                  <a16:creationId xmlns:a16="http://schemas.microsoft.com/office/drawing/2014/main" id="{3499A27F-CC9E-5F4E-AF09-858C7DEE068E}"/>
                </a:ext>
              </a:extLst>
            </p:cNvPr>
            <p:cNvSpPr>
              <a:spLocks noChangeArrowheads="1"/>
            </p:cNvSpPr>
            <p:nvPr/>
          </p:nvSpPr>
          <p:spPr bwMode="auto">
            <a:xfrm>
              <a:off x="1223963" y="6715125"/>
              <a:ext cx="15875" cy="15875"/>
            </a:xfrm>
            <a:custGeom>
              <a:avLst/>
              <a:gdLst>
                <a:gd name="T0" fmla="*/ 41 w 42"/>
                <a:gd name="T1" fmla="*/ 20 h 42"/>
                <a:gd name="T2" fmla="*/ 41 w 42"/>
                <a:gd name="T3" fmla="*/ 20 h 42"/>
                <a:gd name="T4" fmla="*/ 21 w 42"/>
                <a:gd name="T5" fmla="*/ 20 h 42"/>
                <a:gd name="T6" fmla="*/ 0 w 42"/>
                <a:gd name="T7" fmla="*/ 20 h 42"/>
                <a:gd name="T8" fmla="*/ 0 w 42"/>
                <a:gd name="T9" fmla="*/ 20 h 42"/>
                <a:gd name="T10" fmla="*/ 21 w 42"/>
                <a:gd name="T11" fmla="*/ 41 h 42"/>
                <a:gd name="T12" fmla="*/ 41 w 4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41" y="20"/>
                  </a:moveTo>
                  <a:lnTo>
                    <a:pt x="41" y="20"/>
                  </a:lnTo>
                  <a:cubicBezTo>
                    <a:pt x="41" y="20"/>
                    <a:pt x="21" y="0"/>
                    <a:pt x="21" y="20"/>
                  </a:cubicBezTo>
                  <a:lnTo>
                    <a:pt x="0" y="20"/>
                  </a:lnTo>
                  <a:lnTo>
                    <a:pt x="0" y="20"/>
                  </a:lnTo>
                  <a:cubicBezTo>
                    <a:pt x="0" y="41"/>
                    <a:pt x="21" y="41"/>
                    <a:pt x="21" y="41"/>
                  </a:cubicBezTo>
                  <a:cubicBezTo>
                    <a:pt x="21" y="41"/>
                    <a:pt x="21" y="41"/>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 name="Freeform 17">
              <a:extLst>
                <a:ext uri="{FF2B5EF4-FFF2-40B4-BE49-F238E27FC236}">
                  <a16:creationId xmlns:a16="http://schemas.microsoft.com/office/drawing/2014/main" id="{1A55325D-FBDC-C84B-88EB-5886201A9B5E}"/>
                </a:ext>
              </a:extLst>
            </p:cNvPr>
            <p:cNvSpPr>
              <a:spLocks noChangeArrowheads="1"/>
            </p:cNvSpPr>
            <p:nvPr/>
          </p:nvSpPr>
          <p:spPr bwMode="auto">
            <a:xfrm>
              <a:off x="1223963" y="6670675"/>
              <a:ext cx="15875" cy="15875"/>
            </a:xfrm>
            <a:custGeom>
              <a:avLst/>
              <a:gdLst>
                <a:gd name="T0" fmla="*/ 41 w 42"/>
                <a:gd name="T1" fmla="*/ 20 h 42"/>
                <a:gd name="T2" fmla="*/ 41 w 42"/>
                <a:gd name="T3" fmla="*/ 20 h 42"/>
                <a:gd name="T4" fmla="*/ 41 w 42"/>
                <a:gd name="T5" fmla="*/ 0 h 42"/>
                <a:gd name="T6" fmla="*/ 21 w 42"/>
                <a:gd name="T7" fmla="*/ 20 h 42"/>
                <a:gd name="T8" fmla="*/ 21 w 42"/>
                <a:gd name="T9" fmla="*/ 20 h 42"/>
                <a:gd name="T10" fmla="*/ 21 w 42"/>
                <a:gd name="T11" fmla="*/ 41 h 42"/>
                <a:gd name="T12" fmla="*/ 21 w 42"/>
                <a:gd name="T13" fmla="*/ 41 h 42"/>
                <a:gd name="T14" fmla="*/ 41 w 42"/>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1" y="20"/>
                  </a:moveTo>
                  <a:lnTo>
                    <a:pt x="41" y="20"/>
                  </a:lnTo>
                  <a:lnTo>
                    <a:pt x="41" y="0"/>
                  </a:lnTo>
                  <a:cubicBezTo>
                    <a:pt x="21" y="0"/>
                    <a:pt x="21" y="0"/>
                    <a:pt x="21" y="20"/>
                  </a:cubicBezTo>
                  <a:lnTo>
                    <a:pt x="21" y="20"/>
                  </a:lnTo>
                  <a:cubicBezTo>
                    <a:pt x="21" y="20"/>
                    <a:pt x="0" y="41"/>
                    <a:pt x="21" y="41"/>
                  </a:cubicBezTo>
                  <a:lnTo>
                    <a:pt x="21" y="41"/>
                  </a:lnTo>
                  <a:cubicBezTo>
                    <a:pt x="21" y="41"/>
                    <a:pt x="41" y="41"/>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 name="Freeform 18">
              <a:extLst>
                <a:ext uri="{FF2B5EF4-FFF2-40B4-BE49-F238E27FC236}">
                  <a16:creationId xmlns:a16="http://schemas.microsoft.com/office/drawing/2014/main" id="{7C0F1A02-7384-624B-A47A-B0F610143924}"/>
                </a:ext>
              </a:extLst>
            </p:cNvPr>
            <p:cNvSpPr>
              <a:spLocks noChangeArrowheads="1"/>
            </p:cNvSpPr>
            <p:nvPr/>
          </p:nvSpPr>
          <p:spPr bwMode="auto">
            <a:xfrm>
              <a:off x="1179513" y="6573838"/>
              <a:ext cx="15875" cy="15875"/>
            </a:xfrm>
            <a:custGeom>
              <a:avLst/>
              <a:gdLst>
                <a:gd name="T0" fmla="*/ 21 w 42"/>
                <a:gd name="T1" fmla="*/ 41 h 42"/>
                <a:gd name="T2" fmla="*/ 21 w 42"/>
                <a:gd name="T3" fmla="*/ 41 h 42"/>
                <a:gd name="T4" fmla="*/ 41 w 42"/>
                <a:gd name="T5" fmla="*/ 21 h 42"/>
                <a:gd name="T6" fmla="*/ 21 w 42"/>
                <a:gd name="T7" fmla="*/ 0 h 42"/>
                <a:gd name="T8" fmla="*/ 0 w 42"/>
                <a:gd name="T9" fmla="*/ 21 h 42"/>
                <a:gd name="T10" fmla="*/ 0 w 42"/>
                <a:gd name="T11" fmla="*/ 41 h 42"/>
                <a:gd name="T12" fmla="*/ 21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1" y="41"/>
                  </a:moveTo>
                  <a:lnTo>
                    <a:pt x="21" y="41"/>
                  </a:lnTo>
                  <a:lnTo>
                    <a:pt x="41" y="21"/>
                  </a:lnTo>
                  <a:cubicBezTo>
                    <a:pt x="21" y="21"/>
                    <a:pt x="21" y="0"/>
                    <a:pt x="21" y="0"/>
                  </a:cubicBezTo>
                  <a:cubicBezTo>
                    <a:pt x="0" y="0"/>
                    <a:pt x="0" y="21"/>
                    <a:pt x="0" y="21"/>
                  </a:cubicBezTo>
                  <a:cubicBezTo>
                    <a:pt x="0" y="21"/>
                    <a:pt x="0" y="21"/>
                    <a:pt x="0" y="41"/>
                  </a:cubicBezTo>
                  <a:cubicBezTo>
                    <a:pt x="21" y="41"/>
                    <a:pt x="21" y="41"/>
                    <a:pt x="2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 name="Freeform 19">
              <a:extLst>
                <a:ext uri="{FF2B5EF4-FFF2-40B4-BE49-F238E27FC236}">
                  <a16:creationId xmlns:a16="http://schemas.microsoft.com/office/drawing/2014/main" id="{E00127A4-2A00-234F-883C-D5ABBDE4302E}"/>
                </a:ext>
              </a:extLst>
            </p:cNvPr>
            <p:cNvSpPr>
              <a:spLocks noChangeArrowheads="1"/>
            </p:cNvSpPr>
            <p:nvPr/>
          </p:nvSpPr>
          <p:spPr bwMode="auto">
            <a:xfrm>
              <a:off x="1179513" y="6596063"/>
              <a:ext cx="7937" cy="15875"/>
            </a:xfrm>
            <a:custGeom>
              <a:avLst/>
              <a:gdLst>
                <a:gd name="T0" fmla="*/ 21 w 22"/>
                <a:gd name="T1" fmla="*/ 0 h 42"/>
                <a:gd name="T2" fmla="*/ 21 w 22"/>
                <a:gd name="T3" fmla="*/ 0 h 42"/>
                <a:gd name="T4" fmla="*/ 0 w 22"/>
                <a:gd name="T5" fmla="*/ 0 h 42"/>
                <a:gd name="T6" fmla="*/ 0 w 22"/>
                <a:gd name="T7" fmla="*/ 20 h 42"/>
                <a:gd name="T8" fmla="*/ 21 w 22"/>
                <a:gd name="T9" fmla="*/ 41 h 42"/>
                <a:gd name="T10" fmla="*/ 21 w 22"/>
                <a:gd name="T11" fmla="*/ 20 h 42"/>
                <a:gd name="T12" fmla="*/ 21 w 2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21" y="0"/>
                  </a:moveTo>
                  <a:lnTo>
                    <a:pt x="21" y="0"/>
                  </a:lnTo>
                  <a:cubicBezTo>
                    <a:pt x="21" y="0"/>
                    <a:pt x="21" y="0"/>
                    <a:pt x="0" y="0"/>
                  </a:cubicBezTo>
                  <a:cubicBezTo>
                    <a:pt x="0" y="20"/>
                    <a:pt x="0" y="20"/>
                    <a:pt x="0" y="20"/>
                  </a:cubicBezTo>
                  <a:lnTo>
                    <a:pt x="21" y="41"/>
                  </a:lnTo>
                  <a:cubicBezTo>
                    <a:pt x="21" y="20"/>
                    <a:pt x="21" y="20"/>
                    <a:pt x="21" y="2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 name="Freeform 20">
              <a:extLst>
                <a:ext uri="{FF2B5EF4-FFF2-40B4-BE49-F238E27FC236}">
                  <a16:creationId xmlns:a16="http://schemas.microsoft.com/office/drawing/2014/main" id="{9DFDB429-EE68-DE4E-8B58-70E0DF2C8938}"/>
                </a:ext>
              </a:extLst>
            </p:cNvPr>
            <p:cNvSpPr>
              <a:spLocks noChangeArrowheads="1"/>
            </p:cNvSpPr>
            <p:nvPr/>
          </p:nvSpPr>
          <p:spPr bwMode="auto">
            <a:xfrm>
              <a:off x="1163638" y="6515100"/>
              <a:ext cx="7937" cy="7938"/>
            </a:xfrm>
            <a:custGeom>
              <a:avLst/>
              <a:gdLst>
                <a:gd name="T0" fmla="*/ 21 w 22"/>
                <a:gd name="T1" fmla="*/ 21 h 22"/>
                <a:gd name="T2" fmla="*/ 21 w 22"/>
                <a:gd name="T3" fmla="*/ 21 h 22"/>
                <a:gd name="T4" fmla="*/ 0 w 22"/>
                <a:gd name="T5" fmla="*/ 21 h 22"/>
                <a:gd name="T6" fmla="*/ 0 w 22"/>
                <a:gd name="T7" fmla="*/ 21 h 22"/>
                <a:gd name="T8" fmla="*/ 0 w 22"/>
                <a:gd name="T9" fmla="*/ 0 h 22"/>
                <a:gd name="T10" fmla="*/ 21 w 22"/>
                <a:gd name="T11" fmla="*/ 0 h 22"/>
                <a:gd name="T12" fmla="*/ 21 w 22"/>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21" y="21"/>
                  </a:moveTo>
                  <a:lnTo>
                    <a:pt x="21" y="21"/>
                  </a:lnTo>
                  <a:cubicBezTo>
                    <a:pt x="21" y="21"/>
                    <a:pt x="21" y="21"/>
                    <a:pt x="0" y="21"/>
                  </a:cubicBezTo>
                  <a:lnTo>
                    <a:pt x="0" y="21"/>
                  </a:lnTo>
                  <a:lnTo>
                    <a:pt x="0" y="0"/>
                  </a:lnTo>
                  <a:lnTo>
                    <a:pt x="21" y="0"/>
                  </a:lnTo>
                  <a:lnTo>
                    <a:pt x="2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 name="Freeform 21">
              <a:extLst>
                <a:ext uri="{FF2B5EF4-FFF2-40B4-BE49-F238E27FC236}">
                  <a16:creationId xmlns:a16="http://schemas.microsoft.com/office/drawing/2014/main" id="{06F09A67-4E73-654B-88A5-14AA988BCC6A}"/>
                </a:ext>
              </a:extLst>
            </p:cNvPr>
            <p:cNvSpPr>
              <a:spLocks noChangeArrowheads="1"/>
            </p:cNvSpPr>
            <p:nvPr/>
          </p:nvSpPr>
          <p:spPr bwMode="auto">
            <a:xfrm>
              <a:off x="1179513" y="6545263"/>
              <a:ext cx="7937" cy="7937"/>
            </a:xfrm>
            <a:custGeom>
              <a:avLst/>
              <a:gdLst>
                <a:gd name="T0" fmla="*/ 0 w 22"/>
                <a:gd name="T1" fmla="*/ 0 h 22"/>
                <a:gd name="T2" fmla="*/ 0 w 22"/>
                <a:gd name="T3" fmla="*/ 0 h 22"/>
                <a:gd name="T4" fmla="*/ 0 w 22"/>
                <a:gd name="T5" fmla="*/ 21 h 22"/>
                <a:gd name="T6" fmla="*/ 0 w 22"/>
                <a:gd name="T7" fmla="*/ 21 h 22"/>
                <a:gd name="T8" fmla="*/ 0 w 22"/>
                <a:gd name="T9" fmla="*/ 21 h 22"/>
                <a:gd name="T10" fmla="*/ 21 w 22"/>
                <a:gd name="T11" fmla="*/ 21 h 22"/>
                <a:gd name="T12" fmla="*/ 21 w 22"/>
                <a:gd name="T13" fmla="*/ 21 h 22"/>
                <a:gd name="T14" fmla="*/ 0 w 22"/>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0" y="0"/>
                  </a:moveTo>
                  <a:lnTo>
                    <a:pt x="0" y="0"/>
                  </a:lnTo>
                  <a:cubicBezTo>
                    <a:pt x="0" y="0"/>
                    <a:pt x="0" y="0"/>
                    <a:pt x="0" y="21"/>
                  </a:cubicBezTo>
                  <a:lnTo>
                    <a:pt x="0" y="21"/>
                  </a:lnTo>
                  <a:lnTo>
                    <a:pt x="0" y="21"/>
                  </a:lnTo>
                  <a:cubicBezTo>
                    <a:pt x="21" y="21"/>
                    <a:pt x="21" y="21"/>
                    <a:pt x="21" y="21"/>
                  </a:cubicBezTo>
                  <a:lnTo>
                    <a:pt x="21" y="21"/>
                  </a:lnTo>
                  <a:cubicBezTo>
                    <a:pt x="21" y="0"/>
                    <a:pt x="21"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 name="Freeform 22">
              <a:extLst>
                <a:ext uri="{FF2B5EF4-FFF2-40B4-BE49-F238E27FC236}">
                  <a16:creationId xmlns:a16="http://schemas.microsoft.com/office/drawing/2014/main" id="{E30C5C78-921C-2F4C-BA0E-2F36D6BEB93F}"/>
                </a:ext>
              </a:extLst>
            </p:cNvPr>
            <p:cNvSpPr>
              <a:spLocks noChangeArrowheads="1"/>
            </p:cNvSpPr>
            <p:nvPr/>
          </p:nvSpPr>
          <p:spPr bwMode="auto">
            <a:xfrm>
              <a:off x="1185863" y="6567488"/>
              <a:ext cx="7937" cy="7937"/>
            </a:xfrm>
            <a:custGeom>
              <a:avLst/>
              <a:gdLst>
                <a:gd name="T0" fmla="*/ 20 w 21"/>
                <a:gd name="T1" fmla="*/ 0 h 21"/>
                <a:gd name="T2" fmla="*/ 20 w 21"/>
                <a:gd name="T3" fmla="*/ 0 h 21"/>
                <a:gd name="T4" fmla="*/ 0 w 21"/>
                <a:gd name="T5" fmla="*/ 0 h 21"/>
                <a:gd name="T6" fmla="*/ 0 w 21"/>
                <a:gd name="T7" fmla="*/ 0 h 21"/>
                <a:gd name="T8" fmla="*/ 20 w 21"/>
                <a:gd name="T9" fmla="*/ 20 h 21"/>
                <a:gd name="T10" fmla="*/ 20 w 21"/>
                <a:gd name="T11" fmla="*/ 0 h 21"/>
              </a:gdLst>
              <a:ahLst/>
              <a:cxnLst>
                <a:cxn ang="0">
                  <a:pos x="T0" y="T1"/>
                </a:cxn>
                <a:cxn ang="0">
                  <a:pos x="T2" y="T3"/>
                </a:cxn>
                <a:cxn ang="0">
                  <a:pos x="T4" y="T5"/>
                </a:cxn>
                <a:cxn ang="0">
                  <a:pos x="T6" y="T7"/>
                </a:cxn>
                <a:cxn ang="0">
                  <a:pos x="T8" y="T9"/>
                </a:cxn>
                <a:cxn ang="0">
                  <a:pos x="T10" y="T11"/>
                </a:cxn>
              </a:cxnLst>
              <a:rect l="0" t="0" r="r" b="b"/>
              <a:pathLst>
                <a:path w="21" h="21">
                  <a:moveTo>
                    <a:pt x="20" y="0"/>
                  </a:moveTo>
                  <a:lnTo>
                    <a:pt x="20" y="0"/>
                  </a:lnTo>
                  <a:cubicBezTo>
                    <a:pt x="20" y="0"/>
                    <a:pt x="20" y="0"/>
                    <a:pt x="0" y="0"/>
                  </a:cubicBezTo>
                  <a:lnTo>
                    <a:pt x="0" y="0"/>
                  </a:lnTo>
                  <a:cubicBezTo>
                    <a:pt x="20" y="20"/>
                    <a:pt x="20" y="20"/>
                    <a:pt x="20" y="20"/>
                  </a:cubicBezTo>
                  <a:cubicBezTo>
                    <a:pt x="20" y="20"/>
                    <a:pt x="20" y="2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 name="Freeform 23">
              <a:extLst>
                <a:ext uri="{FF2B5EF4-FFF2-40B4-BE49-F238E27FC236}">
                  <a16:creationId xmlns:a16="http://schemas.microsoft.com/office/drawing/2014/main" id="{65F5A2F7-626E-5348-9FB4-1835467C084D}"/>
                </a:ext>
              </a:extLst>
            </p:cNvPr>
            <p:cNvSpPr>
              <a:spLocks noChangeArrowheads="1"/>
            </p:cNvSpPr>
            <p:nvPr/>
          </p:nvSpPr>
          <p:spPr bwMode="auto">
            <a:xfrm>
              <a:off x="1673225" y="5865813"/>
              <a:ext cx="15875" cy="7937"/>
            </a:xfrm>
            <a:custGeom>
              <a:avLst/>
              <a:gdLst>
                <a:gd name="T0" fmla="*/ 41 w 42"/>
                <a:gd name="T1" fmla="*/ 21 h 22"/>
                <a:gd name="T2" fmla="*/ 41 w 42"/>
                <a:gd name="T3" fmla="*/ 21 h 22"/>
                <a:gd name="T4" fmla="*/ 20 w 42"/>
                <a:gd name="T5" fmla="*/ 21 h 22"/>
                <a:gd name="T6" fmla="*/ 0 w 42"/>
                <a:gd name="T7" fmla="*/ 21 h 22"/>
                <a:gd name="T8" fmla="*/ 0 w 42"/>
                <a:gd name="T9" fmla="*/ 21 h 22"/>
                <a:gd name="T10" fmla="*/ 0 w 42"/>
                <a:gd name="T11" fmla="*/ 0 h 22"/>
                <a:gd name="T12" fmla="*/ 20 w 42"/>
                <a:gd name="T13" fmla="*/ 0 h 22"/>
                <a:gd name="T14" fmla="*/ 41 w 42"/>
                <a:gd name="T15" fmla="*/ 0 h 22"/>
                <a:gd name="T16" fmla="*/ 41 w 42"/>
                <a:gd name="T17"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2">
                  <a:moveTo>
                    <a:pt x="41" y="21"/>
                  </a:moveTo>
                  <a:lnTo>
                    <a:pt x="41" y="21"/>
                  </a:lnTo>
                  <a:lnTo>
                    <a:pt x="20" y="21"/>
                  </a:lnTo>
                  <a:lnTo>
                    <a:pt x="0" y="21"/>
                  </a:lnTo>
                  <a:lnTo>
                    <a:pt x="0" y="21"/>
                  </a:lnTo>
                  <a:lnTo>
                    <a:pt x="0" y="0"/>
                  </a:lnTo>
                  <a:lnTo>
                    <a:pt x="20" y="0"/>
                  </a:lnTo>
                  <a:cubicBezTo>
                    <a:pt x="20" y="0"/>
                    <a:pt x="20" y="0"/>
                    <a:pt x="41" y="0"/>
                  </a:cubicBezTo>
                  <a:cubicBezTo>
                    <a:pt x="41" y="21"/>
                    <a:pt x="41" y="21"/>
                    <a:pt x="4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 name="Freeform 24">
              <a:extLst>
                <a:ext uri="{FF2B5EF4-FFF2-40B4-BE49-F238E27FC236}">
                  <a16:creationId xmlns:a16="http://schemas.microsoft.com/office/drawing/2014/main" id="{DE1896BE-2B95-A640-A0C8-4FCA5A422576}"/>
                </a:ext>
              </a:extLst>
            </p:cNvPr>
            <p:cNvSpPr>
              <a:spLocks noChangeArrowheads="1"/>
            </p:cNvSpPr>
            <p:nvPr/>
          </p:nvSpPr>
          <p:spPr bwMode="auto">
            <a:xfrm>
              <a:off x="1703388" y="5873750"/>
              <a:ext cx="7937" cy="7938"/>
            </a:xfrm>
            <a:custGeom>
              <a:avLst/>
              <a:gdLst>
                <a:gd name="T0" fmla="*/ 0 w 21"/>
                <a:gd name="T1" fmla="*/ 0 h 21"/>
                <a:gd name="T2" fmla="*/ 0 w 21"/>
                <a:gd name="T3" fmla="*/ 0 h 21"/>
                <a:gd name="T4" fmla="*/ 0 w 21"/>
                <a:gd name="T5" fmla="*/ 0 h 21"/>
                <a:gd name="T6" fmla="*/ 0 w 21"/>
                <a:gd name="T7" fmla="*/ 0 h 21"/>
                <a:gd name="T8" fmla="*/ 0 w 21"/>
                <a:gd name="T9" fmla="*/ 20 h 21"/>
                <a:gd name="T10" fmla="*/ 20 w 21"/>
                <a:gd name="T11" fmla="*/ 20 h 21"/>
                <a:gd name="T12" fmla="*/ 20 w 21"/>
                <a:gd name="T13" fmla="*/ 20 h 21"/>
                <a:gd name="T14" fmla="*/ 20 w 21"/>
                <a:gd name="T15" fmla="*/ 0 h 21"/>
                <a:gd name="T16" fmla="*/ 0 w 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0" y="0"/>
                  </a:moveTo>
                  <a:lnTo>
                    <a:pt x="0" y="0"/>
                  </a:lnTo>
                  <a:lnTo>
                    <a:pt x="0" y="0"/>
                  </a:lnTo>
                  <a:lnTo>
                    <a:pt x="0" y="0"/>
                  </a:lnTo>
                  <a:cubicBezTo>
                    <a:pt x="0" y="20"/>
                    <a:pt x="0" y="20"/>
                    <a:pt x="0" y="20"/>
                  </a:cubicBezTo>
                  <a:lnTo>
                    <a:pt x="20" y="20"/>
                  </a:lnTo>
                  <a:lnTo>
                    <a:pt x="20" y="20"/>
                  </a:lnTo>
                  <a:cubicBezTo>
                    <a:pt x="20" y="0"/>
                    <a:pt x="20" y="0"/>
                    <a:pt x="20" y="0"/>
                  </a:cubicBezTo>
                  <a:cubicBezTo>
                    <a:pt x="20" y="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 name="Freeform 25">
              <a:extLst>
                <a:ext uri="{FF2B5EF4-FFF2-40B4-BE49-F238E27FC236}">
                  <a16:creationId xmlns:a16="http://schemas.microsoft.com/office/drawing/2014/main" id="{0E1B69C1-F643-8548-BD07-A68CC9E81F46}"/>
                </a:ext>
              </a:extLst>
            </p:cNvPr>
            <p:cNvSpPr>
              <a:spLocks noChangeArrowheads="1"/>
            </p:cNvSpPr>
            <p:nvPr/>
          </p:nvSpPr>
          <p:spPr bwMode="auto">
            <a:xfrm>
              <a:off x="1695450" y="5859463"/>
              <a:ext cx="14288" cy="7937"/>
            </a:xfrm>
            <a:custGeom>
              <a:avLst/>
              <a:gdLst>
                <a:gd name="T0" fmla="*/ 20 w 41"/>
                <a:gd name="T1" fmla="*/ 0 h 21"/>
                <a:gd name="T2" fmla="*/ 20 w 41"/>
                <a:gd name="T3" fmla="*/ 0 h 21"/>
                <a:gd name="T4" fmla="*/ 20 w 41"/>
                <a:gd name="T5" fmla="*/ 0 h 21"/>
                <a:gd name="T6" fmla="*/ 0 w 41"/>
                <a:gd name="T7" fmla="*/ 20 h 21"/>
                <a:gd name="T8" fmla="*/ 20 w 41"/>
                <a:gd name="T9" fmla="*/ 20 h 21"/>
                <a:gd name="T10" fmla="*/ 20 w 41"/>
                <a:gd name="T11" fmla="*/ 20 h 21"/>
                <a:gd name="T12" fmla="*/ 40 w 41"/>
                <a:gd name="T13" fmla="*/ 20 h 21"/>
                <a:gd name="T14" fmla="*/ 20 w 4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21">
                  <a:moveTo>
                    <a:pt x="20" y="0"/>
                  </a:moveTo>
                  <a:lnTo>
                    <a:pt x="20" y="0"/>
                  </a:lnTo>
                  <a:lnTo>
                    <a:pt x="20" y="0"/>
                  </a:lnTo>
                  <a:lnTo>
                    <a:pt x="0" y="20"/>
                  </a:lnTo>
                  <a:lnTo>
                    <a:pt x="20" y="20"/>
                  </a:lnTo>
                  <a:lnTo>
                    <a:pt x="20" y="20"/>
                  </a:lnTo>
                  <a:cubicBezTo>
                    <a:pt x="40" y="20"/>
                    <a:pt x="40" y="20"/>
                    <a:pt x="40" y="20"/>
                  </a:cubicBezTo>
                  <a:cubicBezTo>
                    <a:pt x="20" y="0"/>
                    <a:pt x="2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 name="Freeform 26">
              <a:extLst>
                <a:ext uri="{FF2B5EF4-FFF2-40B4-BE49-F238E27FC236}">
                  <a16:creationId xmlns:a16="http://schemas.microsoft.com/office/drawing/2014/main" id="{CDA8A526-E533-8D43-9ACF-3FDCF9A9C774}"/>
                </a:ext>
              </a:extLst>
            </p:cNvPr>
            <p:cNvSpPr>
              <a:spLocks noChangeArrowheads="1"/>
            </p:cNvSpPr>
            <p:nvPr/>
          </p:nvSpPr>
          <p:spPr bwMode="auto">
            <a:xfrm>
              <a:off x="1695450" y="5843588"/>
              <a:ext cx="7938" cy="7937"/>
            </a:xfrm>
            <a:custGeom>
              <a:avLst/>
              <a:gdLst>
                <a:gd name="T0" fmla="*/ 20 w 21"/>
                <a:gd name="T1" fmla="*/ 20 h 21"/>
                <a:gd name="T2" fmla="*/ 20 w 21"/>
                <a:gd name="T3" fmla="*/ 20 h 21"/>
                <a:gd name="T4" fmla="*/ 0 w 21"/>
                <a:gd name="T5" fmla="*/ 0 h 21"/>
                <a:gd name="T6" fmla="*/ 0 w 21"/>
                <a:gd name="T7" fmla="*/ 0 h 21"/>
                <a:gd name="T8" fmla="*/ 20 w 21"/>
                <a:gd name="T9" fmla="*/ 0 h 21"/>
                <a:gd name="T10" fmla="*/ 20 w 21"/>
                <a:gd name="T11" fmla="*/ 0 h 21"/>
                <a:gd name="T12" fmla="*/ 2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20"/>
                  </a:moveTo>
                  <a:lnTo>
                    <a:pt x="20" y="20"/>
                  </a:lnTo>
                  <a:cubicBezTo>
                    <a:pt x="0" y="20"/>
                    <a:pt x="0" y="20"/>
                    <a:pt x="0" y="0"/>
                  </a:cubicBezTo>
                  <a:lnTo>
                    <a:pt x="0" y="0"/>
                  </a:lnTo>
                  <a:cubicBezTo>
                    <a:pt x="0" y="0"/>
                    <a:pt x="0" y="0"/>
                    <a:pt x="20" y="0"/>
                  </a:cubicBezTo>
                  <a:lnTo>
                    <a:pt x="20" y="0"/>
                  </a:lnTo>
                  <a:cubicBezTo>
                    <a:pt x="20" y="20"/>
                    <a:pt x="20"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 name="Freeform 27">
              <a:extLst>
                <a:ext uri="{FF2B5EF4-FFF2-40B4-BE49-F238E27FC236}">
                  <a16:creationId xmlns:a16="http://schemas.microsoft.com/office/drawing/2014/main" id="{5E2FB3FA-678D-864E-84DF-9756F6EDC383}"/>
                </a:ext>
              </a:extLst>
            </p:cNvPr>
            <p:cNvSpPr>
              <a:spLocks noChangeArrowheads="1"/>
            </p:cNvSpPr>
            <p:nvPr/>
          </p:nvSpPr>
          <p:spPr bwMode="auto">
            <a:xfrm>
              <a:off x="1687513" y="5829300"/>
              <a:ext cx="7937" cy="7938"/>
            </a:xfrm>
            <a:custGeom>
              <a:avLst/>
              <a:gdLst>
                <a:gd name="T0" fmla="*/ 0 w 22"/>
                <a:gd name="T1" fmla="*/ 20 h 21"/>
                <a:gd name="T2" fmla="*/ 0 w 22"/>
                <a:gd name="T3" fmla="*/ 20 h 21"/>
                <a:gd name="T4" fmla="*/ 0 w 22"/>
                <a:gd name="T5" fmla="*/ 20 h 21"/>
                <a:gd name="T6" fmla="*/ 0 w 22"/>
                <a:gd name="T7" fmla="*/ 0 h 21"/>
                <a:gd name="T8" fmla="*/ 0 w 22"/>
                <a:gd name="T9" fmla="*/ 0 h 21"/>
                <a:gd name="T10" fmla="*/ 21 w 22"/>
                <a:gd name="T11" fmla="*/ 0 h 21"/>
                <a:gd name="T12" fmla="*/ 21 w 22"/>
                <a:gd name="T13" fmla="*/ 20 h 21"/>
                <a:gd name="T14" fmla="*/ 0 w 22"/>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0" y="20"/>
                  </a:moveTo>
                  <a:lnTo>
                    <a:pt x="0" y="20"/>
                  </a:lnTo>
                  <a:lnTo>
                    <a:pt x="0" y="20"/>
                  </a:lnTo>
                  <a:cubicBezTo>
                    <a:pt x="0" y="20"/>
                    <a:pt x="0" y="20"/>
                    <a:pt x="0" y="0"/>
                  </a:cubicBezTo>
                  <a:lnTo>
                    <a:pt x="0" y="0"/>
                  </a:lnTo>
                  <a:lnTo>
                    <a:pt x="21" y="0"/>
                  </a:lnTo>
                  <a:lnTo>
                    <a:pt x="21" y="20"/>
                  </a:lnTo>
                  <a:cubicBezTo>
                    <a:pt x="21" y="20"/>
                    <a:pt x="21" y="20"/>
                    <a:pt x="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 name="Freeform 28">
              <a:extLst>
                <a:ext uri="{FF2B5EF4-FFF2-40B4-BE49-F238E27FC236}">
                  <a16:creationId xmlns:a16="http://schemas.microsoft.com/office/drawing/2014/main" id="{E0D28AD0-EDC6-E148-8457-3C3B77C8CE37}"/>
                </a:ext>
              </a:extLst>
            </p:cNvPr>
            <p:cNvSpPr>
              <a:spLocks noChangeArrowheads="1"/>
            </p:cNvSpPr>
            <p:nvPr/>
          </p:nvSpPr>
          <p:spPr bwMode="auto">
            <a:xfrm>
              <a:off x="803275" y="5475288"/>
              <a:ext cx="1270000" cy="1284287"/>
            </a:xfrm>
            <a:custGeom>
              <a:avLst/>
              <a:gdLst>
                <a:gd name="T0" fmla="*/ 3258 w 3526"/>
                <a:gd name="T1" fmla="*/ 2685 h 3567"/>
                <a:gd name="T2" fmla="*/ 2029 w 3526"/>
                <a:gd name="T3" fmla="*/ 3504 h 3567"/>
                <a:gd name="T4" fmla="*/ 1701 w 3526"/>
                <a:gd name="T5" fmla="*/ 3299 h 3567"/>
                <a:gd name="T6" fmla="*/ 1537 w 3526"/>
                <a:gd name="T7" fmla="*/ 3279 h 3567"/>
                <a:gd name="T8" fmla="*/ 1476 w 3526"/>
                <a:gd name="T9" fmla="*/ 3217 h 3567"/>
                <a:gd name="T10" fmla="*/ 1394 w 3526"/>
                <a:gd name="T11" fmla="*/ 3279 h 3567"/>
                <a:gd name="T12" fmla="*/ 1414 w 3526"/>
                <a:gd name="T13" fmla="*/ 3381 h 3567"/>
                <a:gd name="T14" fmla="*/ 1373 w 3526"/>
                <a:gd name="T15" fmla="*/ 3443 h 3567"/>
                <a:gd name="T16" fmla="*/ 1312 w 3526"/>
                <a:gd name="T17" fmla="*/ 3463 h 3567"/>
                <a:gd name="T18" fmla="*/ 1250 w 3526"/>
                <a:gd name="T19" fmla="*/ 3279 h 3567"/>
                <a:gd name="T20" fmla="*/ 1168 w 3526"/>
                <a:gd name="T21" fmla="*/ 3115 h 3567"/>
                <a:gd name="T22" fmla="*/ 1086 w 3526"/>
                <a:gd name="T23" fmla="*/ 2930 h 3567"/>
                <a:gd name="T24" fmla="*/ 984 w 3526"/>
                <a:gd name="T25" fmla="*/ 2685 h 3567"/>
                <a:gd name="T26" fmla="*/ 861 w 3526"/>
                <a:gd name="T27" fmla="*/ 2582 h 3567"/>
                <a:gd name="T28" fmla="*/ 799 w 3526"/>
                <a:gd name="T29" fmla="*/ 2479 h 3567"/>
                <a:gd name="T30" fmla="*/ 738 w 3526"/>
                <a:gd name="T31" fmla="*/ 2315 h 3567"/>
                <a:gd name="T32" fmla="*/ 676 w 3526"/>
                <a:gd name="T33" fmla="*/ 2131 h 3567"/>
                <a:gd name="T34" fmla="*/ 656 w 3526"/>
                <a:gd name="T35" fmla="*/ 1967 h 3567"/>
                <a:gd name="T36" fmla="*/ 553 w 3526"/>
                <a:gd name="T37" fmla="*/ 1824 h 3567"/>
                <a:gd name="T38" fmla="*/ 471 w 3526"/>
                <a:gd name="T39" fmla="*/ 1763 h 3567"/>
                <a:gd name="T40" fmla="*/ 410 w 3526"/>
                <a:gd name="T41" fmla="*/ 1599 h 3567"/>
                <a:gd name="T42" fmla="*/ 287 w 3526"/>
                <a:gd name="T43" fmla="*/ 1353 h 3567"/>
                <a:gd name="T44" fmla="*/ 205 w 3526"/>
                <a:gd name="T45" fmla="*/ 1189 h 3567"/>
                <a:gd name="T46" fmla="*/ 123 w 3526"/>
                <a:gd name="T47" fmla="*/ 984 h 3567"/>
                <a:gd name="T48" fmla="*/ 41 w 3526"/>
                <a:gd name="T49" fmla="*/ 963 h 3567"/>
                <a:gd name="T50" fmla="*/ 21 w 3526"/>
                <a:gd name="T51" fmla="*/ 922 h 3567"/>
                <a:gd name="T52" fmla="*/ 21 w 3526"/>
                <a:gd name="T53" fmla="*/ 758 h 3567"/>
                <a:gd name="T54" fmla="*/ 164 w 3526"/>
                <a:gd name="T55" fmla="*/ 718 h 3567"/>
                <a:gd name="T56" fmla="*/ 267 w 3526"/>
                <a:gd name="T57" fmla="*/ 594 h 3567"/>
                <a:gd name="T58" fmla="*/ 410 w 3526"/>
                <a:gd name="T59" fmla="*/ 554 h 3567"/>
                <a:gd name="T60" fmla="*/ 513 w 3526"/>
                <a:gd name="T61" fmla="*/ 492 h 3567"/>
                <a:gd name="T62" fmla="*/ 635 w 3526"/>
                <a:gd name="T63" fmla="*/ 124 h 3567"/>
                <a:gd name="T64" fmla="*/ 779 w 3526"/>
                <a:gd name="T65" fmla="*/ 0 h 3567"/>
                <a:gd name="T66" fmla="*/ 943 w 3526"/>
                <a:gd name="T67" fmla="*/ 124 h 3567"/>
                <a:gd name="T68" fmla="*/ 1107 w 3526"/>
                <a:gd name="T69" fmla="*/ 266 h 3567"/>
                <a:gd name="T70" fmla="*/ 1332 w 3526"/>
                <a:gd name="T71" fmla="*/ 451 h 3567"/>
                <a:gd name="T72" fmla="*/ 1680 w 3526"/>
                <a:gd name="T73" fmla="*/ 697 h 3567"/>
                <a:gd name="T74" fmla="*/ 2008 w 3526"/>
                <a:gd name="T75" fmla="*/ 697 h 3567"/>
                <a:gd name="T76" fmla="*/ 2111 w 3526"/>
                <a:gd name="T77" fmla="*/ 779 h 3567"/>
                <a:gd name="T78" fmla="*/ 2172 w 3526"/>
                <a:gd name="T79" fmla="*/ 881 h 3567"/>
                <a:gd name="T80" fmla="*/ 2274 w 3526"/>
                <a:gd name="T81" fmla="*/ 840 h 3567"/>
                <a:gd name="T82" fmla="*/ 2316 w 3526"/>
                <a:gd name="T83" fmla="*/ 984 h 3567"/>
                <a:gd name="T84" fmla="*/ 2377 w 3526"/>
                <a:gd name="T85" fmla="*/ 1086 h 3567"/>
                <a:gd name="T86" fmla="*/ 2438 w 3526"/>
                <a:gd name="T87" fmla="*/ 1148 h 3567"/>
                <a:gd name="T88" fmla="*/ 2520 w 3526"/>
                <a:gd name="T89" fmla="*/ 1230 h 3567"/>
                <a:gd name="T90" fmla="*/ 2562 w 3526"/>
                <a:gd name="T91" fmla="*/ 1373 h 3567"/>
                <a:gd name="T92" fmla="*/ 2562 w 3526"/>
                <a:gd name="T93" fmla="*/ 1496 h 3567"/>
                <a:gd name="T94" fmla="*/ 2602 w 3526"/>
                <a:gd name="T95" fmla="*/ 1537 h 3567"/>
                <a:gd name="T96" fmla="*/ 2664 w 3526"/>
                <a:gd name="T97" fmla="*/ 1681 h 3567"/>
                <a:gd name="T98" fmla="*/ 2766 w 3526"/>
                <a:gd name="T99" fmla="*/ 1763 h 3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26" h="3567">
                  <a:moveTo>
                    <a:pt x="3443" y="2091"/>
                  </a:moveTo>
                  <a:lnTo>
                    <a:pt x="3443" y="2091"/>
                  </a:lnTo>
                  <a:cubicBezTo>
                    <a:pt x="3525" y="2254"/>
                    <a:pt x="3525" y="2254"/>
                    <a:pt x="3525" y="2254"/>
                  </a:cubicBezTo>
                  <a:cubicBezTo>
                    <a:pt x="3258" y="2685"/>
                    <a:pt x="3258" y="2685"/>
                    <a:pt x="3258" y="2685"/>
                  </a:cubicBezTo>
                  <a:cubicBezTo>
                    <a:pt x="2910" y="2869"/>
                    <a:pt x="2910" y="2869"/>
                    <a:pt x="2910" y="2869"/>
                  </a:cubicBezTo>
                  <a:cubicBezTo>
                    <a:pt x="2398" y="2889"/>
                    <a:pt x="2398" y="2889"/>
                    <a:pt x="2398" y="2889"/>
                  </a:cubicBezTo>
                  <a:cubicBezTo>
                    <a:pt x="2070" y="3566"/>
                    <a:pt x="2070" y="3566"/>
                    <a:pt x="2070" y="3566"/>
                  </a:cubicBezTo>
                  <a:cubicBezTo>
                    <a:pt x="2070" y="3566"/>
                    <a:pt x="2029" y="3525"/>
                    <a:pt x="2029" y="3504"/>
                  </a:cubicBezTo>
                  <a:cubicBezTo>
                    <a:pt x="2029" y="3484"/>
                    <a:pt x="2029" y="3443"/>
                    <a:pt x="2008" y="3443"/>
                  </a:cubicBezTo>
                  <a:cubicBezTo>
                    <a:pt x="1988" y="3422"/>
                    <a:pt x="1947" y="3402"/>
                    <a:pt x="1926" y="3381"/>
                  </a:cubicBezTo>
                  <a:cubicBezTo>
                    <a:pt x="1906" y="3361"/>
                    <a:pt x="1824" y="3340"/>
                    <a:pt x="1804" y="3320"/>
                  </a:cubicBezTo>
                  <a:cubicBezTo>
                    <a:pt x="1762" y="3320"/>
                    <a:pt x="1722" y="3299"/>
                    <a:pt x="1701" y="3299"/>
                  </a:cubicBezTo>
                  <a:cubicBezTo>
                    <a:pt x="1701" y="3299"/>
                    <a:pt x="1680" y="3299"/>
                    <a:pt x="1680" y="3279"/>
                  </a:cubicBezTo>
                  <a:cubicBezTo>
                    <a:pt x="1660" y="3279"/>
                    <a:pt x="1640" y="3279"/>
                    <a:pt x="1619" y="3279"/>
                  </a:cubicBezTo>
                  <a:cubicBezTo>
                    <a:pt x="1619" y="3279"/>
                    <a:pt x="1578" y="3279"/>
                    <a:pt x="1558" y="3279"/>
                  </a:cubicBezTo>
                  <a:lnTo>
                    <a:pt x="1537" y="3279"/>
                  </a:lnTo>
                  <a:cubicBezTo>
                    <a:pt x="1516" y="3279"/>
                    <a:pt x="1516" y="3258"/>
                    <a:pt x="1516" y="3258"/>
                  </a:cubicBezTo>
                  <a:lnTo>
                    <a:pt x="1496" y="3258"/>
                  </a:lnTo>
                  <a:cubicBezTo>
                    <a:pt x="1496" y="3238"/>
                    <a:pt x="1496" y="3238"/>
                    <a:pt x="1496" y="3217"/>
                  </a:cubicBezTo>
                  <a:cubicBezTo>
                    <a:pt x="1476" y="3217"/>
                    <a:pt x="1476" y="3217"/>
                    <a:pt x="1476" y="3217"/>
                  </a:cubicBezTo>
                  <a:lnTo>
                    <a:pt x="1455" y="3217"/>
                  </a:lnTo>
                  <a:cubicBezTo>
                    <a:pt x="1434" y="3217"/>
                    <a:pt x="1434" y="3238"/>
                    <a:pt x="1434" y="3238"/>
                  </a:cubicBezTo>
                  <a:cubicBezTo>
                    <a:pt x="1434" y="3258"/>
                    <a:pt x="1414" y="3258"/>
                    <a:pt x="1414" y="3258"/>
                  </a:cubicBezTo>
                  <a:cubicBezTo>
                    <a:pt x="1414" y="3279"/>
                    <a:pt x="1394" y="3279"/>
                    <a:pt x="1394" y="3279"/>
                  </a:cubicBezTo>
                  <a:cubicBezTo>
                    <a:pt x="1394" y="3279"/>
                    <a:pt x="1394" y="3299"/>
                    <a:pt x="1394" y="3320"/>
                  </a:cubicBezTo>
                  <a:cubicBezTo>
                    <a:pt x="1394" y="3320"/>
                    <a:pt x="1373" y="3340"/>
                    <a:pt x="1394" y="3340"/>
                  </a:cubicBezTo>
                  <a:cubicBezTo>
                    <a:pt x="1394" y="3361"/>
                    <a:pt x="1394" y="3361"/>
                    <a:pt x="1394" y="3381"/>
                  </a:cubicBezTo>
                  <a:lnTo>
                    <a:pt x="1414" y="3381"/>
                  </a:lnTo>
                  <a:cubicBezTo>
                    <a:pt x="1434" y="3381"/>
                    <a:pt x="1434" y="3402"/>
                    <a:pt x="1434" y="3422"/>
                  </a:cubicBezTo>
                  <a:lnTo>
                    <a:pt x="1434" y="3443"/>
                  </a:lnTo>
                  <a:cubicBezTo>
                    <a:pt x="1434" y="3443"/>
                    <a:pt x="1414" y="3443"/>
                    <a:pt x="1394" y="3443"/>
                  </a:cubicBezTo>
                  <a:lnTo>
                    <a:pt x="1373" y="3443"/>
                  </a:lnTo>
                  <a:cubicBezTo>
                    <a:pt x="1353" y="3443"/>
                    <a:pt x="1353" y="3443"/>
                    <a:pt x="1353" y="3443"/>
                  </a:cubicBezTo>
                  <a:cubicBezTo>
                    <a:pt x="1353" y="3463"/>
                    <a:pt x="1353" y="3484"/>
                    <a:pt x="1332" y="3484"/>
                  </a:cubicBezTo>
                  <a:lnTo>
                    <a:pt x="1332" y="3504"/>
                  </a:lnTo>
                  <a:cubicBezTo>
                    <a:pt x="1332" y="3484"/>
                    <a:pt x="1312" y="3484"/>
                    <a:pt x="1312" y="3463"/>
                  </a:cubicBezTo>
                  <a:cubicBezTo>
                    <a:pt x="1312" y="3443"/>
                    <a:pt x="1312" y="3422"/>
                    <a:pt x="1312" y="3402"/>
                  </a:cubicBezTo>
                  <a:cubicBezTo>
                    <a:pt x="1312" y="3381"/>
                    <a:pt x="1312" y="3361"/>
                    <a:pt x="1291" y="3361"/>
                  </a:cubicBezTo>
                  <a:cubicBezTo>
                    <a:pt x="1291" y="3340"/>
                    <a:pt x="1250" y="3320"/>
                    <a:pt x="1250" y="3320"/>
                  </a:cubicBezTo>
                  <a:cubicBezTo>
                    <a:pt x="1250" y="3299"/>
                    <a:pt x="1250" y="3299"/>
                    <a:pt x="1250" y="3279"/>
                  </a:cubicBezTo>
                  <a:lnTo>
                    <a:pt x="1230" y="3258"/>
                  </a:lnTo>
                  <a:cubicBezTo>
                    <a:pt x="1230" y="3238"/>
                    <a:pt x="1209" y="3197"/>
                    <a:pt x="1209" y="3197"/>
                  </a:cubicBezTo>
                  <a:cubicBezTo>
                    <a:pt x="1209" y="3176"/>
                    <a:pt x="1189" y="3156"/>
                    <a:pt x="1168" y="3156"/>
                  </a:cubicBezTo>
                  <a:cubicBezTo>
                    <a:pt x="1168" y="3156"/>
                    <a:pt x="1168" y="3135"/>
                    <a:pt x="1168" y="3115"/>
                  </a:cubicBezTo>
                  <a:cubicBezTo>
                    <a:pt x="1168" y="3115"/>
                    <a:pt x="1148" y="3094"/>
                    <a:pt x="1148" y="3074"/>
                  </a:cubicBezTo>
                  <a:cubicBezTo>
                    <a:pt x="1127" y="3074"/>
                    <a:pt x="1127" y="3053"/>
                    <a:pt x="1127" y="3053"/>
                  </a:cubicBezTo>
                  <a:cubicBezTo>
                    <a:pt x="1127" y="3033"/>
                    <a:pt x="1107" y="3012"/>
                    <a:pt x="1107" y="2992"/>
                  </a:cubicBezTo>
                  <a:cubicBezTo>
                    <a:pt x="1107" y="2971"/>
                    <a:pt x="1086" y="2951"/>
                    <a:pt x="1086" y="2930"/>
                  </a:cubicBezTo>
                  <a:cubicBezTo>
                    <a:pt x="1086" y="2930"/>
                    <a:pt x="1066" y="2910"/>
                    <a:pt x="1066" y="2889"/>
                  </a:cubicBezTo>
                  <a:cubicBezTo>
                    <a:pt x="1066" y="2869"/>
                    <a:pt x="1066" y="2807"/>
                    <a:pt x="1045" y="2787"/>
                  </a:cubicBezTo>
                  <a:cubicBezTo>
                    <a:pt x="1045" y="2767"/>
                    <a:pt x="1025" y="2746"/>
                    <a:pt x="1025" y="2725"/>
                  </a:cubicBezTo>
                  <a:cubicBezTo>
                    <a:pt x="1004" y="2725"/>
                    <a:pt x="1004" y="2705"/>
                    <a:pt x="984" y="2685"/>
                  </a:cubicBezTo>
                  <a:cubicBezTo>
                    <a:pt x="984" y="2685"/>
                    <a:pt x="963" y="2664"/>
                    <a:pt x="943" y="2664"/>
                  </a:cubicBezTo>
                  <a:cubicBezTo>
                    <a:pt x="943" y="2664"/>
                    <a:pt x="922" y="2643"/>
                    <a:pt x="922" y="2623"/>
                  </a:cubicBezTo>
                  <a:cubicBezTo>
                    <a:pt x="902" y="2623"/>
                    <a:pt x="902" y="2603"/>
                    <a:pt x="881" y="2603"/>
                  </a:cubicBezTo>
                  <a:cubicBezTo>
                    <a:pt x="881" y="2582"/>
                    <a:pt x="881" y="2582"/>
                    <a:pt x="861" y="2582"/>
                  </a:cubicBezTo>
                  <a:lnTo>
                    <a:pt x="840" y="2582"/>
                  </a:lnTo>
                  <a:cubicBezTo>
                    <a:pt x="840" y="2582"/>
                    <a:pt x="820" y="2561"/>
                    <a:pt x="820" y="2541"/>
                  </a:cubicBezTo>
                  <a:cubicBezTo>
                    <a:pt x="799" y="2541"/>
                    <a:pt x="799" y="2541"/>
                    <a:pt x="799" y="2521"/>
                  </a:cubicBezTo>
                  <a:cubicBezTo>
                    <a:pt x="799" y="2521"/>
                    <a:pt x="799" y="2500"/>
                    <a:pt x="799" y="2479"/>
                  </a:cubicBezTo>
                  <a:cubicBezTo>
                    <a:pt x="779" y="2479"/>
                    <a:pt x="779" y="2459"/>
                    <a:pt x="779" y="2459"/>
                  </a:cubicBezTo>
                  <a:cubicBezTo>
                    <a:pt x="758" y="2439"/>
                    <a:pt x="758" y="2418"/>
                    <a:pt x="738" y="2397"/>
                  </a:cubicBezTo>
                  <a:cubicBezTo>
                    <a:pt x="738" y="2377"/>
                    <a:pt x="738" y="2357"/>
                    <a:pt x="738" y="2336"/>
                  </a:cubicBezTo>
                  <a:lnTo>
                    <a:pt x="738" y="2315"/>
                  </a:lnTo>
                  <a:cubicBezTo>
                    <a:pt x="717" y="2295"/>
                    <a:pt x="717" y="2275"/>
                    <a:pt x="717" y="2275"/>
                  </a:cubicBezTo>
                  <a:cubicBezTo>
                    <a:pt x="717" y="2254"/>
                    <a:pt x="717" y="2233"/>
                    <a:pt x="717" y="2233"/>
                  </a:cubicBezTo>
                  <a:cubicBezTo>
                    <a:pt x="717" y="2213"/>
                    <a:pt x="717" y="2193"/>
                    <a:pt x="697" y="2193"/>
                  </a:cubicBezTo>
                  <a:cubicBezTo>
                    <a:pt x="697" y="2173"/>
                    <a:pt x="676" y="2152"/>
                    <a:pt x="676" y="2131"/>
                  </a:cubicBezTo>
                  <a:lnTo>
                    <a:pt x="676" y="2091"/>
                  </a:lnTo>
                  <a:cubicBezTo>
                    <a:pt x="676" y="2070"/>
                    <a:pt x="676" y="2049"/>
                    <a:pt x="676" y="2049"/>
                  </a:cubicBezTo>
                  <a:cubicBezTo>
                    <a:pt x="676" y="2029"/>
                    <a:pt x="676" y="2029"/>
                    <a:pt x="676" y="2009"/>
                  </a:cubicBezTo>
                  <a:cubicBezTo>
                    <a:pt x="656" y="2009"/>
                    <a:pt x="656" y="1967"/>
                    <a:pt x="656" y="1967"/>
                  </a:cubicBezTo>
                  <a:cubicBezTo>
                    <a:pt x="656" y="1967"/>
                    <a:pt x="635" y="1947"/>
                    <a:pt x="615" y="1947"/>
                  </a:cubicBezTo>
                  <a:cubicBezTo>
                    <a:pt x="615" y="1947"/>
                    <a:pt x="615" y="1927"/>
                    <a:pt x="595" y="1906"/>
                  </a:cubicBezTo>
                  <a:cubicBezTo>
                    <a:pt x="595" y="1885"/>
                    <a:pt x="595" y="1865"/>
                    <a:pt x="595" y="1865"/>
                  </a:cubicBezTo>
                  <a:cubicBezTo>
                    <a:pt x="595" y="1845"/>
                    <a:pt x="574" y="1845"/>
                    <a:pt x="553" y="1824"/>
                  </a:cubicBezTo>
                  <a:lnTo>
                    <a:pt x="533" y="1824"/>
                  </a:lnTo>
                  <a:cubicBezTo>
                    <a:pt x="513" y="1824"/>
                    <a:pt x="513" y="1824"/>
                    <a:pt x="513" y="1824"/>
                  </a:cubicBezTo>
                  <a:cubicBezTo>
                    <a:pt x="492" y="1803"/>
                    <a:pt x="513" y="1803"/>
                    <a:pt x="492" y="1783"/>
                  </a:cubicBezTo>
                  <a:cubicBezTo>
                    <a:pt x="492" y="1783"/>
                    <a:pt x="471" y="1783"/>
                    <a:pt x="471" y="1763"/>
                  </a:cubicBezTo>
                  <a:cubicBezTo>
                    <a:pt x="451" y="1763"/>
                    <a:pt x="451" y="1742"/>
                    <a:pt x="451" y="1742"/>
                  </a:cubicBezTo>
                  <a:cubicBezTo>
                    <a:pt x="451" y="1721"/>
                    <a:pt x="451" y="1701"/>
                    <a:pt x="431" y="1681"/>
                  </a:cubicBezTo>
                  <a:cubicBezTo>
                    <a:pt x="431" y="1681"/>
                    <a:pt x="410" y="1660"/>
                    <a:pt x="410" y="1639"/>
                  </a:cubicBezTo>
                  <a:lnTo>
                    <a:pt x="410" y="1599"/>
                  </a:lnTo>
                  <a:cubicBezTo>
                    <a:pt x="410" y="1578"/>
                    <a:pt x="410" y="1578"/>
                    <a:pt x="410" y="1557"/>
                  </a:cubicBezTo>
                  <a:cubicBezTo>
                    <a:pt x="389" y="1537"/>
                    <a:pt x="369" y="1517"/>
                    <a:pt x="369" y="1496"/>
                  </a:cubicBezTo>
                  <a:cubicBezTo>
                    <a:pt x="349" y="1476"/>
                    <a:pt x="328" y="1455"/>
                    <a:pt x="328" y="1435"/>
                  </a:cubicBezTo>
                  <a:cubicBezTo>
                    <a:pt x="307" y="1414"/>
                    <a:pt x="307" y="1373"/>
                    <a:pt x="287" y="1353"/>
                  </a:cubicBezTo>
                  <a:cubicBezTo>
                    <a:pt x="287" y="1332"/>
                    <a:pt x="267" y="1312"/>
                    <a:pt x="267" y="1291"/>
                  </a:cubicBezTo>
                  <a:cubicBezTo>
                    <a:pt x="246" y="1291"/>
                    <a:pt x="246" y="1250"/>
                    <a:pt x="246" y="1230"/>
                  </a:cubicBezTo>
                  <a:lnTo>
                    <a:pt x="225" y="1209"/>
                  </a:lnTo>
                  <a:cubicBezTo>
                    <a:pt x="205" y="1209"/>
                    <a:pt x="205" y="1189"/>
                    <a:pt x="205" y="1189"/>
                  </a:cubicBezTo>
                  <a:cubicBezTo>
                    <a:pt x="185" y="1168"/>
                    <a:pt x="185" y="1148"/>
                    <a:pt x="164" y="1127"/>
                  </a:cubicBezTo>
                  <a:cubicBezTo>
                    <a:pt x="164" y="1107"/>
                    <a:pt x="143" y="1086"/>
                    <a:pt x="143" y="1086"/>
                  </a:cubicBezTo>
                  <a:cubicBezTo>
                    <a:pt x="143" y="1066"/>
                    <a:pt x="123" y="1045"/>
                    <a:pt x="123" y="1045"/>
                  </a:cubicBezTo>
                  <a:cubicBezTo>
                    <a:pt x="123" y="1025"/>
                    <a:pt x="123" y="1004"/>
                    <a:pt x="123" y="984"/>
                  </a:cubicBezTo>
                  <a:lnTo>
                    <a:pt x="123" y="963"/>
                  </a:lnTo>
                  <a:cubicBezTo>
                    <a:pt x="103" y="963"/>
                    <a:pt x="103" y="963"/>
                    <a:pt x="82" y="963"/>
                  </a:cubicBezTo>
                  <a:lnTo>
                    <a:pt x="61" y="963"/>
                  </a:lnTo>
                  <a:lnTo>
                    <a:pt x="41" y="963"/>
                  </a:lnTo>
                  <a:cubicBezTo>
                    <a:pt x="41" y="963"/>
                    <a:pt x="41" y="963"/>
                    <a:pt x="21" y="963"/>
                  </a:cubicBezTo>
                  <a:cubicBezTo>
                    <a:pt x="21" y="984"/>
                    <a:pt x="21" y="984"/>
                    <a:pt x="21" y="984"/>
                  </a:cubicBezTo>
                  <a:cubicBezTo>
                    <a:pt x="0" y="984"/>
                    <a:pt x="0" y="963"/>
                    <a:pt x="0" y="943"/>
                  </a:cubicBezTo>
                  <a:lnTo>
                    <a:pt x="21" y="922"/>
                  </a:lnTo>
                  <a:cubicBezTo>
                    <a:pt x="21" y="922"/>
                    <a:pt x="21" y="902"/>
                    <a:pt x="21" y="881"/>
                  </a:cubicBezTo>
                  <a:cubicBezTo>
                    <a:pt x="41" y="881"/>
                    <a:pt x="41" y="861"/>
                    <a:pt x="41" y="840"/>
                  </a:cubicBezTo>
                  <a:cubicBezTo>
                    <a:pt x="41" y="840"/>
                    <a:pt x="41" y="820"/>
                    <a:pt x="41" y="800"/>
                  </a:cubicBezTo>
                  <a:cubicBezTo>
                    <a:pt x="41" y="800"/>
                    <a:pt x="21" y="779"/>
                    <a:pt x="21" y="758"/>
                  </a:cubicBezTo>
                  <a:cubicBezTo>
                    <a:pt x="41" y="758"/>
                    <a:pt x="41" y="738"/>
                    <a:pt x="61" y="738"/>
                  </a:cubicBezTo>
                  <a:cubicBezTo>
                    <a:pt x="61" y="718"/>
                    <a:pt x="61" y="718"/>
                    <a:pt x="61" y="697"/>
                  </a:cubicBezTo>
                  <a:cubicBezTo>
                    <a:pt x="82" y="718"/>
                    <a:pt x="82" y="718"/>
                    <a:pt x="82" y="718"/>
                  </a:cubicBezTo>
                  <a:cubicBezTo>
                    <a:pt x="164" y="718"/>
                    <a:pt x="164" y="718"/>
                    <a:pt x="164" y="718"/>
                  </a:cubicBezTo>
                  <a:cubicBezTo>
                    <a:pt x="205" y="676"/>
                    <a:pt x="205" y="676"/>
                    <a:pt x="205" y="676"/>
                  </a:cubicBezTo>
                  <a:cubicBezTo>
                    <a:pt x="225" y="656"/>
                    <a:pt x="225" y="656"/>
                    <a:pt x="225" y="656"/>
                  </a:cubicBezTo>
                  <a:cubicBezTo>
                    <a:pt x="246" y="615"/>
                    <a:pt x="246" y="615"/>
                    <a:pt x="246" y="615"/>
                  </a:cubicBezTo>
                  <a:cubicBezTo>
                    <a:pt x="267" y="594"/>
                    <a:pt x="267" y="594"/>
                    <a:pt x="267" y="594"/>
                  </a:cubicBezTo>
                  <a:cubicBezTo>
                    <a:pt x="307" y="574"/>
                    <a:pt x="307" y="574"/>
                    <a:pt x="307" y="574"/>
                  </a:cubicBezTo>
                  <a:cubicBezTo>
                    <a:pt x="349" y="554"/>
                    <a:pt x="349" y="554"/>
                    <a:pt x="349" y="554"/>
                  </a:cubicBezTo>
                  <a:cubicBezTo>
                    <a:pt x="389" y="554"/>
                    <a:pt x="389" y="554"/>
                    <a:pt x="389" y="554"/>
                  </a:cubicBezTo>
                  <a:cubicBezTo>
                    <a:pt x="410" y="554"/>
                    <a:pt x="410" y="554"/>
                    <a:pt x="410" y="554"/>
                  </a:cubicBezTo>
                  <a:cubicBezTo>
                    <a:pt x="431" y="533"/>
                    <a:pt x="431" y="533"/>
                    <a:pt x="431" y="533"/>
                  </a:cubicBezTo>
                  <a:cubicBezTo>
                    <a:pt x="451" y="512"/>
                    <a:pt x="451" y="512"/>
                    <a:pt x="451" y="512"/>
                  </a:cubicBezTo>
                  <a:cubicBezTo>
                    <a:pt x="492" y="512"/>
                    <a:pt x="492" y="512"/>
                    <a:pt x="492" y="512"/>
                  </a:cubicBezTo>
                  <a:cubicBezTo>
                    <a:pt x="513" y="492"/>
                    <a:pt x="513" y="492"/>
                    <a:pt x="513" y="492"/>
                  </a:cubicBezTo>
                  <a:cubicBezTo>
                    <a:pt x="513" y="451"/>
                    <a:pt x="513" y="451"/>
                    <a:pt x="513" y="451"/>
                  </a:cubicBezTo>
                  <a:cubicBezTo>
                    <a:pt x="389" y="205"/>
                    <a:pt x="389" y="205"/>
                    <a:pt x="389" y="205"/>
                  </a:cubicBezTo>
                  <a:cubicBezTo>
                    <a:pt x="389" y="205"/>
                    <a:pt x="451" y="184"/>
                    <a:pt x="471" y="164"/>
                  </a:cubicBezTo>
                  <a:cubicBezTo>
                    <a:pt x="513" y="144"/>
                    <a:pt x="595" y="124"/>
                    <a:pt x="635" y="124"/>
                  </a:cubicBezTo>
                  <a:cubicBezTo>
                    <a:pt x="635" y="103"/>
                    <a:pt x="676" y="103"/>
                    <a:pt x="697" y="82"/>
                  </a:cubicBezTo>
                  <a:cubicBezTo>
                    <a:pt x="717" y="82"/>
                    <a:pt x="738" y="82"/>
                    <a:pt x="758" y="62"/>
                  </a:cubicBezTo>
                  <a:cubicBezTo>
                    <a:pt x="758" y="62"/>
                    <a:pt x="758" y="21"/>
                    <a:pt x="779" y="21"/>
                  </a:cubicBezTo>
                  <a:cubicBezTo>
                    <a:pt x="779" y="0"/>
                    <a:pt x="779" y="0"/>
                    <a:pt x="779" y="0"/>
                  </a:cubicBezTo>
                  <a:cubicBezTo>
                    <a:pt x="779" y="0"/>
                    <a:pt x="799" y="42"/>
                    <a:pt x="820" y="62"/>
                  </a:cubicBezTo>
                  <a:lnTo>
                    <a:pt x="840" y="82"/>
                  </a:lnTo>
                  <a:cubicBezTo>
                    <a:pt x="861" y="103"/>
                    <a:pt x="881" y="103"/>
                    <a:pt x="881" y="103"/>
                  </a:cubicBezTo>
                  <a:cubicBezTo>
                    <a:pt x="902" y="103"/>
                    <a:pt x="922" y="103"/>
                    <a:pt x="943" y="124"/>
                  </a:cubicBezTo>
                  <a:cubicBezTo>
                    <a:pt x="943" y="124"/>
                    <a:pt x="963" y="124"/>
                    <a:pt x="984" y="144"/>
                  </a:cubicBezTo>
                  <a:cubicBezTo>
                    <a:pt x="984" y="144"/>
                    <a:pt x="1004" y="184"/>
                    <a:pt x="1025" y="184"/>
                  </a:cubicBezTo>
                  <a:cubicBezTo>
                    <a:pt x="1025" y="205"/>
                    <a:pt x="1045" y="226"/>
                    <a:pt x="1066" y="226"/>
                  </a:cubicBezTo>
                  <a:cubicBezTo>
                    <a:pt x="1066" y="246"/>
                    <a:pt x="1086" y="266"/>
                    <a:pt x="1107" y="266"/>
                  </a:cubicBezTo>
                  <a:cubicBezTo>
                    <a:pt x="1107" y="266"/>
                    <a:pt x="1148" y="287"/>
                    <a:pt x="1168" y="287"/>
                  </a:cubicBezTo>
                  <a:cubicBezTo>
                    <a:pt x="1168" y="308"/>
                    <a:pt x="1209" y="328"/>
                    <a:pt x="1209" y="328"/>
                  </a:cubicBezTo>
                  <a:cubicBezTo>
                    <a:pt x="1230" y="328"/>
                    <a:pt x="1250" y="348"/>
                    <a:pt x="1250" y="369"/>
                  </a:cubicBezTo>
                  <a:cubicBezTo>
                    <a:pt x="1271" y="390"/>
                    <a:pt x="1312" y="430"/>
                    <a:pt x="1332" y="451"/>
                  </a:cubicBezTo>
                  <a:cubicBezTo>
                    <a:pt x="1373" y="472"/>
                    <a:pt x="1414" y="512"/>
                    <a:pt x="1434" y="533"/>
                  </a:cubicBezTo>
                  <a:cubicBezTo>
                    <a:pt x="1476" y="554"/>
                    <a:pt x="1516" y="615"/>
                    <a:pt x="1558" y="636"/>
                  </a:cubicBezTo>
                  <a:cubicBezTo>
                    <a:pt x="1558" y="656"/>
                    <a:pt x="1598" y="676"/>
                    <a:pt x="1619" y="676"/>
                  </a:cubicBezTo>
                  <a:cubicBezTo>
                    <a:pt x="1619" y="697"/>
                    <a:pt x="1660" y="697"/>
                    <a:pt x="1680" y="697"/>
                  </a:cubicBezTo>
                  <a:cubicBezTo>
                    <a:pt x="1701" y="697"/>
                    <a:pt x="1762" y="718"/>
                    <a:pt x="1783" y="718"/>
                  </a:cubicBezTo>
                  <a:cubicBezTo>
                    <a:pt x="1824" y="718"/>
                    <a:pt x="1886" y="718"/>
                    <a:pt x="1906" y="718"/>
                  </a:cubicBezTo>
                  <a:cubicBezTo>
                    <a:pt x="1926" y="718"/>
                    <a:pt x="1968" y="718"/>
                    <a:pt x="1988" y="718"/>
                  </a:cubicBezTo>
                  <a:cubicBezTo>
                    <a:pt x="1988" y="697"/>
                    <a:pt x="1988" y="697"/>
                    <a:pt x="2008" y="697"/>
                  </a:cubicBezTo>
                  <a:cubicBezTo>
                    <a:pt x="2008" y="697"/>
                    <a:pt x="2029" y="697"/>
                    <a:pt x="2029" y="718"/>
                  </a:cubicBezTo>
                  <a:lnTo>
                    <a:pt x="2049" y="738"/>
                  </a:lnTo>
                  <a:cubicBezTo>
                    <a:pt x="2049" y="758"/>
                    <a:pt x="2070" y="758"/>
                    <a:pt x="2070" y="758"/>
                  </a:cubicBezTo>
                  <a:cubicBezTo>
                    <a:pt x="2090" y="758"/>
                    <a:pt x="2111" y="758"/>
                    <a:pt x="2111" y="779"/>
                  </a:cubicBezTo>
                  <a:cubicBezTo>
                    <a:pt x="2111" y="779"/>
                    <a:pt x="2111" y="800"/>
                    <a:pt x="2111" y="820"/>
                  </a:cubicBezTo>
                  <a:cubicBezTo>
                    <a:pt x="2111" y="820"/>
                    <a:pt x="2111" y="840"/>
                    <a:pt x="2111" y="861"/>
                  </a:cubicBezTo>
                  <a:cubicBezTo>
                    <a:pt x="2111" y="861"/>
                    <a:pt x="2132" y="861"/>
                    <a:pt x="2152" y="861"/>
                  </a:cubicBezTo>
                  <a:lnTo>
                    <a:pt x="2172" y="881"/>
                  </a:lnTo>
                  <a:cubicBezTo>
                    <a:pt x="2192" y="861"/>
                    <a:pt x="2192" y="861"/>
                    <a:pt x="2213" y="861"/>
                  </a:cubicBezTo>
                  <a:cubicBezTo>
                    <a:pt x="2213" y="861"/>
                    <a:pt x="2234" y="861"/>
                    <a:pt x="2254" y="840"/>
                  </a:cubicBezTo>
                  <a:lnTo>
                    <a:pt x="2274" y="840"/>
                  </a:lnTo>
                  <a:lnTo>
                    <a:pt x="2274" y="840"/>
                  </a:lnTo>
                  <a:cubicBezTo>
                    <a:pt x="2274" y="861"/>
                    <a:pt x="2274" y="881"/>
                    <a:pt x="2274" y="881"/>
                  </a:cubicBezTo>
                  <a:cubicBezTo>
                    <a:pt x="2274" y="902"/>
                    <a:pt x="2274" y="922"/>
                    <a:pt x="2274" y="922"/>
                  </a:cubicBezTo>
                  <a:cubicBezTo>
                    <a:pt x="2274" y="922"/>
                    <a:pt x="2295" y="943"/>
                    <a:pt x="2295" y="963"/>
                  </a:cubicBezTo>
                  <a:cubicBezTo>
                    <a:pt x="2295" y="963"/>
                    <a:pt x="2295" y="984"/>
                    <a:pt x="2316" y="984"/>
                  </a:cubicBezTo>
                  <a:cubicBezTo>
                    <a:pt x="2316" y="1004"/>
                    <a:pt x="2295" y="1025"/>
                    <a:pt x="2295" y="1025"/>
                  </a:cubicBezTo>
                  <a:cubicBezTo>
                    <a:pt x="2316" y="1045"/>
                    <a:pt x="2316" y="1045"/>
                    <a:pt x="2316" y="1045"/>
                  </a:cubicBezTo>
                  <a:lnTo>
                    <a:pt x="2336" y="1066"/>
                  </a:lnTo>
                  <a:cubicBezTo>
                    <a:pt x="2356" y="1066"/>
                    <a:pt x="2377" y="1086"/>
                    <a:pt x="2377" y="1086"/>
                  </a:cubicBezTo>
                  <a:cubicBezTo>
                    <a:pt x="2377" y="1086"/>
                    <a:pt x="2377" y="1127"/>
                    <a:pt x="2398" y="1127"/>
                  </a:cubicBezTo>
                  <a:cubicBezTo>
                    <a:pt x="2398" y="1127"/>
                    <a:pt x="2398" y="1148"/>
                    <a:pt x="2418" y="1148"/>
                  </a:cubicBezTo>
                  <a:lnTo>
                    <a:pt x="2438" y="1148"/>
                  </a:lnTo>
                  <a:lnTo>
                    <a:pt x="2438" y="1148"/>
                  </a:lnTo>
                  <a:cubicBezTo>
                    <a:pt x="2459" y="1148"/>
                    <a:pt x="2459" y="1148"/>
                    <a:pt x="2480" y="1148"/>
                  </a:cubicBezTo>
                  <a:cubicBezTo>
                    <a:pt x="2480" y="1168"/>
                    <a:pt x="2480" y="1168"/>
                    <a:pt x="2500" y="1189"/>
                  </a:cubicBezTo>
                  <a:cubicBezTo>
                    <a:pt x="2500" y="1189"/>
                    <a:pt x="2500" y="1189"/>
                    <a:pt x="2520" y="1189"/>
                  </a:cubicBezTo>
                  <a:cubicBezTo>
                    <a:pt x="2520" y="1209"/>
                    <a:pt x="2520" y="1230"/>
                    <a:pt x="2520" y="1230"/>
                  </a:cubicBezTo>
                  <a:cubicBezTo>
                    <a:pt x="2520" y="1250"/>
                    <a:pt x="2520" y="1271"/>
                    <a:pt x="2520" y="1271"/>
                  </a:cubicBezTo>
                  <a:cubicBezTo>
                    <a:pt x="2520" y="1291"/>
                    <a:pt x="2520" y="1312"/>
                    <a:pt x="2520" y="1312"/>
                  </a:cubicBezTo>
                  <a:cubicBezTo>
                    <a:pt x="2520" y="1332"/>
                    <a:pt x="2541" y="1332"/>
                    <a:pt x="2541" y="1353"/>
                  </a:cubicBezTo>
                  <a:lnTo>
                    <a:pt x="2562" y="1373"/>
                  </a:lnTo>
                  <a:cubicBezTo>
                    <a:pt x="2562" y="1394"/>
                    <a:pt x="2562" y="1394"/>
                    <a:pt x="2562" y="1414"/>
                  </a:cubicBezTo>
                  <a:lnTo>
                    <a:pt x="2562" y="1435"/>
                  </a:lnTo>
                  <a:cubicBezTo>
                    <a:pt x="2562" y="1435"/>
                    <a:pt x="2562" y="1455"/>
                    <a:pt x="2562" y="1476"/>
                  </a:cubicBezTo>
                  <a:lnTo>
                    <a:pt x="2562" y="1496"/>
                  </a:lnTo>
                  <a:cubicBezTo>
                    <a:pt x="2562" y="1517"/>
                    <a:pt x="2562" y="1517"/>
                    <a:pt x="2562" y="1517"/>
                  </a:cubicBezTo>
                  <a:lnTo>
                    <a:pt x="2582" y="1537"/>
                  </a:lnTo>
                  <a:lnTo>
                    <a:pt x="2602" y="1517"/>
                  </a:lnTo>
                  <a:lnTo>
                    <a:pt x="2602" y="1537"/>
                  </a:lnTo>
                  <a:cubicBezTo>
                    <a:pt x="2602" y="1537"/>
                    <a:pt x="2602" y="1557"/>
                    <a:pt x="2602" y="1578"/>
                  </a:cubicBezTo>
                  <a:cubicBezTo>
                    <a:pt x="2623" y="1578"/>
                    <a:pt x="2623" y="1599"/>
                    <a:pt x="2623" y="1599"/>
                  </a:cubicBezTo>
                  <a:cubicBezTo>
                    <a:pt x="2623" y="1599"/>
                    <a:pt x="2644" y="1619"/>
                    <a:pt x="2644" y="1639"/>
                  </a:cubicBezTo>
                  <a:cubicBezTo>
                    <a:pt x="2644" y="1639"/>
                    <a:pt x="2644" y="1660"/>
                    <a:pt x="2664" y="1681"/>
                  </a:cubicBezTo>
                  <a:cubicBezTo>
                    <a:pt x="2664" y="1681"/>
                    <a:pt x="2664" y="1681"/>
                    <a:pt x="2684" y="1681"/>
                  </a:cubicBezTo>
                  <a:cubicBezTo>
                    <a:pt x="2787" y="1701"/>
                    <a:pt x="2787" y="1701"/>
                    <a:pt x="2787" y="1701"/>
                  </a:cubicBezTo>
                  <a:lnTo>
                    <a:pt x="2766" y="1721"/>
                  </a:lnTo>
                  <a:cubicBezTo>
                    <a:pt x="2766" y="1721"/>
                    <a:pt x="2766" y="1742"/>
                    <a:pt x="2766" y="1763"/>
                  </a:cubicBezTo>
                  <a:lnTo>
                    <a:pt x="2766" y="1763"/>
                  </a:lnTo>
                  <a:cubicBezTo>
                    <a:pt x="2910" y="2009"/>
                    <a:pt x="2910" y="2009"/>
                    <a:pt x="2910" y="2009"/>
                  </a:cubicBezTo>
                  <a:lnTo>
                    <a:pt x="3443" y="209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 name="Freeform 29">
              <a:extLst>
                <a:ext uri="{FF2B5EF4-FFF2-40B4-BE49-F238E27FC236}">
                  <a16:creationId xmlns:a16="http://schemas.microsoft.com/office/drawing/2014/main" id="{CDEB403E-FD80-2A46-AA85-1921F934347A}"/>
                </a:ext>
              </a:extLst>
            </p:cNvPr>
            <p:cNvSpPr>
              <a:spLocks noChangeArrowheads="1"/>
            </p:cNvSpPr>
            <p:nvPr/>
          </p:nvSpPr>
          <p:spPr bwMode="auto">
            <a:xfrm>
              <a:off x="839788" y="5859463"/>
              <a:ext cx="7937" cy="7937"/>
            </a:xfrm>
            <a:custGeom>
              <a:avLst/>
              <a:gdLst>
                <a:gd name="T0" fmla="*/ 0 w 21"/>
                <a:gd name="T1" fmla="*/ 20 h 21"/>
                <a:gd name="T2" fmla="*/ 0 w 21"/>
                <a:gd name="T3" fmla="*/ 20 h 21"/>
                <a:gd name="T4" fmla="*/ 20 w 21"/>
                <a:gd name="T5" fmla="*/ 0 h 21"/>
                <a:gd name="T6" fmla="*/ 0 w 21"/>
                <a:gd name="T7" fmla="*/ 0 h 21"/>
                <a:gd name="T8" fmla="*/ 0 w 21"/>
                <a:gd name="T9" fmla="*/ 0 h 21"/>
                <a:gd name="T10" fmla="*/ 0 w 21"/>
                <a:gd name="T11" fmla="*/ 0 h 21"/>
                <a:gd name="T12" fmla="*/ 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20"/>
                  </a:moveTo>
                  <a:lnTo>
                    <a:pt x="0" y="20"/>
                  </a:lnTo>
                  <a:lnTo>
                    <a:pt x="20" y="0"/>
                  </a:lnTo>
                  <a:cubicBezTo>
                    <a:pt x="20" y="0"/>
                    <a:pt x="20" y="0"/>
                    <a:pt x="0" y="0"/>
                  </a:cubicBezTo>
                  <a:lnTo>
                    <a:pt x="0" y="0"/>
                  </a:lnTo>
                  <a:lnTo>
                    <a:pt x="0" y="0"/>
                  </a:lnTo>
                  <a:cubicBezTo>
                    <a:pt x="0" y="0"/>
                    <a:pt x="0" y="0"/>
                    <a:pt x="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 name="Freeform 30">
              <a:extLst>
                <a:ext uri="{FF2B5EF4-FFF2-40B4-BE49-F238E27FC236}">
                  <a16:creationId xmlns:a16="http://schemas.microsoft.com/office/drawing/2014/main" id="{265D48F4-4E90-EE4B-B074-CDD8F474A475}"/>
                </a:ext>
              </a:extLst>
            </p:cNvPr>
            <p:cNvSpPr>
              <a:spLocks noChangeArrowheads="1"/>
            </p:cNvSpPr>
            <p:nvPr/>
          </p:nvSpPr>
          <p:spPr bwMode="auto">
            <a:xfrm>
              <a:off x="825500" y="5851525"/>
              <a:ext cx="7938" cy="7938"/>
            </a:xfrm>
            <a:custGeom>
              <a:avLst/>
              <a:gdLst>
                <a:gd name="T0" fmla="*/ 21 w 22"/>
                <a:gd name="T1" fmla="*/ 0 h 22"/>
                <a:gd name="T2" fmla="*/ 21 w 22"/>
                <a:gd name="T3" fmla="*/ 0 h 22"/>
                <a:gd name="T4" fmla="*/ 0 w 22"/>
                <a:gd name="T5" fmla="*/ 0 h 22"/>
                <a:gd name="T6" fmla="*/ 0 w 22"/>
                <a:gd name="T7" fmla="*/ 21 h 22"/>
                <a:gd name="T8" fmla="*/ 21 w 22"/>
                <a:gd name="T9" fmla="*/ 21 h 22"/>
                <a:gd name="T10" fmla="*/ 21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1" y="0"/>
                  </a:moveTo>
                  <a:lnTo>
                    <a:pt x="21" y="0"/>
                  </a:lnTo>
                  <a:lnTo>
                    <a:pt x="0" y="0"/>
                  </a:lnTo>
                  <a:cubicBezTo>
                    <a:pt x="0" y="0"/>
                    <a:pt x="0" y="0"/>
                    <a:pt x="0" y="21"/>
                  </a:cubicBezTo>
                  <a:cubicBezTo>
                    <a:pt x="0" y="21"/>
                    <a:pt x="0" y="21"/>
                    <a:pt x="21" y="21"/>
                  </a:cubicBezTo>
                  <a:cubicBezTo>
                    <a:pt x="21" y="21"/>
                    <a:pt x="21" y="21"/>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 name="Freeform 31">
              <a:extLst>
                <a:ext uri="{FF2B5EF4-FFF2-40B4-BE49-F238E27FC236}">
                  <a16:creationId xmlns:a16="http://schemas.microsoft.com/office/drawing/2014/main" id="{7FB91880-4B65-2B4E-A4F8-75C9741E0147}"/>
                </a:ext>
              </a:extLst>
            </p:cNvPr>
            <p:cNvSpPr>
              <a:spLocks noChangeArrowheads="1"/>
            </p:cNvSpPr>
            <p:nvPr/>
          </p:nvSpPr>
          <p:spPr bwMode="auto">
            <a:xfrm>
              <a:off x="809625" y="5829300"/>
              <a:ext cx="14288" cy="7938"/>
            </a:xfrm>
            <a:custGeom>
              <a:avLst/>
              <a:gdLst>
                <a:gd name="T0" fmla="*/ 40 w 41"/>
                <a:gd name="T1" fmla="*/ 0 h 21"/>
                <a:gd name="T2" fmla="*/ 40 w 41"/>
                <a:gd name="T3" fmla="*/ 0 h 21"/>
                <a:gd name="T4" fmla="*/ 20 w 41"/>
                <a:gd name="T5" fmla="*/ 20 h 21"/>
                <a:gd name="T6" fmla="*/ 0 w 41"/>
                <a:gd name="T7" fmla="*/ 20 h 21"/>
                <a:gd name="T8" fmla="*/ 0 w 41"/>
                <a:gd name="T9" fmla="*/ 0 h 21"/>
                <a:gd name="T10" fmla="*/ 20 w 41"/>
                <a:gd name="T11" fmla="*/ 0 h 21"/>
                <a:gd name="T12" fmla="*/ 20 w 41"/>
                <a:gd name="T13" fmla="*/ 0 h 21"/>
                <a:gd name="T14" fmla="*/ 40 w 4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21">
                  <a:moveTo>
                    <a:pt x="40" y="0"/>
                  </a:moveTo>
                  <a:lnTo>
                    <a:pt x="40" y="0"/>
                  </a:lnTo>
                  <a:cubicBezTo>
                    <a:pt x="20" y="20"/>
                    <a:pt x="20" y="20"/>
                    <a:pt x="20" y="20"/>
                  </a:cubicBezTo>
                  <a:cubicBezTo>
                    <a:pt x="20" y="20"/>
                    <a:pt x="20" y="20"/>
                    <a:pt x="0" y="20"/>
                  </a:cubicBezTo>
                  <a:cubicBezTo>
                    <a:pt x="0" y="20"/>
                    <a:pt x="0" y="20"/>
                    <a:pt x="0" y="0"/>
                  </a:cubicBezTo>
                  <a:lnTo>
                    <a:pt x="20" y="0"/>
                  </a:lnTo>
                  <a:lnTo>
                    <a:pt x="20" y="0"/>
                  </a:lnTo>
                  <a:lnTo>
                    <a:pt x="4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 name="Freeform 32">
              <a:extLst>
                <a:ext uri="{FF2B5EF4-FFF2-40B4-BE49-F238E27FC236}">
                  <a16:creationId xmlns:a16="http://schemas.microsoft.com/office/drawing/2014/main" id="{EC7A6DFD-BE67-C347-A4BE-45946AFF264E}"/>
                </a:ext>
              </a:extLst>
            </p:cNvPr>
            <p:cNvSpPr>
              <a:spLocks noChangeArrowheads="1"/>
            </p:cNvSpPr>
            <p:nvPr/>
          </p:nvSpPr>
          <p:spPr bwMode="auto">
            <a:xfrm>
              <a:off x="825500" y="5829300"/>
              <a:ext cx="15875" cy="7938"/>
            </a:xfrm>
            <a:custGeom>
              <a:avLst/>
              <a:gdLst>
                <a:gd name="T0" fmla="*/ 21 w 43"/>
                <a:gd name="T1" fmla="*/ 20 h 21"/>
                <a:gd name="T2" fmla="*/ 21 w 43"/>
                <a:gd name="T3" fmla="*/ 20 h 21"/>
                <a:gd name="T4" fmla="*/ 42 w 43"/>
                <a:gd name="T5" fmla="*/ 0 h 21"/>
                <a:gd name="T6" fmla="*/ 21 w 43"/>
                <a:gd name="T7" fmla="*/ 0 h 21"/>
                <a:gd name="T8" fmla="*/ 0 w 43"/>
                <a:gd name="T9" fmla="*/ 0 h 21"/>
                <a:gd name="T10" fmla="*/ 21 w 43"/>
                <a:gd name="T11" fmla="*/ 20 h 21"/>
              </a:gdLst>
              <a:ahLst/>
              <a:cxnLst>
                <a:cxn ang="0">
                  <a:pos x="T0" y="T1"/>
                </a:cxn>
                <a:cxn ang="0">
                  <a:pos x="T2" y="T3"/>
                </a:cxn>
                <a:cxn ang="0">
                  <a:pos x="T4" y="T5"/>
                </a:cxn>
                <a:cxn ang="0">
                  <a:pos x="T6" y="T7"/>
                </a:cxn>
                <a:cxn ang="0">
                  <a:pos x="T8" y="T9"/>
                </a:cxn>
                <a:cxn ang="0">
                  <a:pos x="T10" y="T11"/>
                </a:cxn>
              </a:cxnLst>
              <a:rect l="0" t="0" r="r" b="b"/>
              <a:pathLst>
                <a:path w="43" h="21">
                  <a:moveTo>
                    <a:pt x="21" y="20"/>
                  </a:moveTo>
                  <a:lnTo>
                    <a:pt x="21" y="20"/>
                  </a:lnTo>
                  <a:cubicBezTo>
                    <a:pt x="21" y="0"/>
                    <a:pt x="42" y="0"/>
                    <a:pt x="42" y="0"/>
                  </a:cubicBezTo>
                  <a:lnTo>
                    <a:pt x="21" y="0"/>
                  </a:lnTo>
                  <a:cubicBezTo>
                    <a:pt x="21" y="0"/>
                    <a:pt x="21" y="0"/>
                    <a:pt x="0" y="0"/>
                  </a:cubicBezTo>
                  <a:cubicBezTo>
                    <a:pt x="0" y="20"/>
                    <a:pt x="21" y="2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 name="Freeform 33">
              <a:extLst>
                <a:ext uri="{FF2B5EF4-FFF2-40B4-BE49-F238E27FC236}">
                  <a16:creationId xmlns:a16="http://schemas.microsoft.com/office/drawing/2014/main" id="{B2148E87-C7B6-B04F-94C7-32267C70576E}"/>
                </a:ext>
              </a:extLst>
            </p:cNvPr>
            <p:cNvSpPr>
              <a:spLocks noChangeArrowheads="1"/>
            </p:cNvSpPr>
            <p:nvPr/>
          </p:nvSpPr>
          <p:spPr bwMode="auto">
            <a:xfrm>
              <a:off x="669925" y="5556250"/>
              <a:ext cx="147638" cy="295275"/>
            </a:xfrm>
            <a:custGeom>
              <a:avLst/>
              <a:gdLst>
                <a:gd name="T0" fmla="*/ 348 w 411"/>
                <a:gd name="T1" fmla="*/ 40 h 820"/>
                <a:gd name="T2" fmla="*/ 348 w 411"/>
                <a:gd name="T3" fmla="*/ 40 h 820"/>
                <a:gd name="T4" fmla="*/ 348 w 411"/>
                <a:gd name="T5" fmla="*/ 61 h 820"/>
                <a:gd name="T6" fmla="*/ 369 w 411"/>
                <a:gd name="T7" fmla="*/ 82 h 820"/>
                <a:gd name="T8" fmla="*/ 369 w 411"/>
                <a:gd name="T9" fmla="*/ 122 h 820"/>
                <a:gd name="T10" fmla="*/ 369 w 411"/>
                <a:gd name="T11" fmla="*/ 143 h 820"/>
                <a:gd name="T12" fmla="*/ 390 w 411"/>
                <a:gd name="T13" fmla="*/ 184 h 820"/>
                <a:gd name="T14" fmla="*/ 390 w 411"/>
                <a:gd name="T15" fmla="*/ 204 h 820"/>
                <a:gd name="T16" fmla="*/ 390 w 411"/>
                <a:gd name="T17" fmla="*/ 225 h 820"/>
                <a:gd name="T18" fmla="*/ 410 w 411"/>
                <a:gd name="T19" fmla="*/ 246 h 820"/>
                <a:gd name="T20" fmla="*/ 410 w 411"/>
                <a:gd name="T21" fmla="*/ 266 h 820"/>
                <a:gd name="T22" fmla="*/ 390 w 411"/>
                <a:gd name="T23" fmla="*/ 307 h 820"/>
                <a:gd name="T24" fmla="*/ 390 w 411"/>
                <a:gd name="T25" fmla="*/ 328 h 820"/>
                <a:gd name="T26" fmla="*/ 410 w 411"/>
                <a:gd name="T27" fmla="*/ 348 h 820"/>
                <a:gd name="T28" fmla="*/ 410 w 411"/>
                <a:gd name="T29" fmla="*/ 389 h 820"/>
                <a:gd name="T30" fmla="*/ 410 w 411"/>
                <a:gd name="T31" fmla="*/ 430 h 820"/>
                <a:gd name="T32" fmla="*/ 410 w 411"/>
                <a:gd name="T33" fmla="*/ 450 h 820"/>
                <a:gd name="T34" fmla="*/ 410 w 411"/>
                <a:gd name="T35" fmla="*/ 450 h 820"/>
                <a:gd name="T36" fmla="*/ 390 w 411"/>
                <a:gd name="T37" fmla="*/ 471 h 820"/>
                <a:gd name="T38" fmla="*/ 390 w 411"/>
                <a:gd name="T39" fmla="*/ 492 h 820"/>
                <a:gd name="T40" fmla="*/ 369 w 411"/>
                <a:gd name="T41" fmla="*/ 532 h 820"/>
                <a:gd name="T42" fmla="*/ 390 w 411"/>
                <a:gd name="T43" fmla="*/ 594 h 820"/>
                <a:gd name="T44" fmla="*/ 369 w 411"/>
                <a:gd name="T45" fmla="*/ 635 h 820"/>
                <a:gd name="T46" fmla="*/ 348 w 411"/>
                <a:gd name="T47" fmla="*/ 676 h 820"/>
                <a:gd name="T48" fmla="*/ 328 w 411"/>
                <a:gd name="T49" fmla="*/ 696 h 820"/>
                <a:gd name="T50" fmla="*/ 328 w 411"/>
                <a:gd name="T51" fmla="*/ 717 h 820"/>
                <a:gd name="T52" fmla="*/ 348 w 411"/>
                <a:gd name="T53" fmla="*/ 737 h 820"/>
                <a:gd name="T54" fmla="*/ 328 w 411"/>
                <a:gd name="T55" fmla="*/ 758 h 820"/>
                <a:gd name="T56" fmla="*/ 328 w 411"/>
                <a:gd name="T57" fmla="*/ 799 h 820"/>
                <a:gd name="T58" fmla="*/ 328 w 411"/>
                <a:gd name="T59" fmla="*/ 819 h 820"/>
                <a:gd name="T60" fmla="*/ 308 w 411"/>
                <a:gd name="T61" fmla="*/ 819 h 820"/>
                <a:gd name="T62" fmla="*/ 267 w 411"/>
                <a:gd name="T63" fmla="*/ 778 h 820"/>
                <a:gd name="T64" fmla="*/ 246 w 411"/>
                <a:gd name="T65" fmla="*/ 737 h 820"/>
                <a:gd name="T66" fmla="*/ 226 w 411"/>
                <a:gd name="T67" fmla="*/ 696 h 820"/>
                <a:gd name="T68" fmla="*/ 185 w 411"/>
                <a:gd name="T69" fmla="*/ 676 h 820"/>
                <a:gd name="T70" fmla="*/ 144 w 411"/>
                <a:gd name="T71" fmla="*/ 635 h 820"/>
                <a:gd name="T72" fmla="*/ 124 w 411"/>
                <a:gd name="T73" fmla="*/ 594 h 820"/>
                <a:gd name="T74" fmla="*/ 124 w 411"/>
                <a:gd name="T75" fmla="*/ 532 h 820"/>
                <a:gd name="T76" fmla="*/ 103 w 411"/>
                <a:gd name="T77" fmla="*/ 492 h 820"/>
                <a:gd name="T78" fmla="*/ 82 w 411"/>
                <a:gd name="T79" fmla="*/ 450 h 820"/>
                <a:gd name="T80" fmla="*/ 42 w 411"/>
                <a:gd name="T81" fmla="*/ 389 h 820"/>
                <a:gd name="T82" fmla="*/ 42 w 411"/>
                <a:gd name="T83" fmla="*/ 348 h 820"/>
                <a:gd name="T84" fmla="*/ 42 w 411"/>
                <a:gd name="T85" fmla="*/ 328 h 820"/>
                <a:gd name="T86" fmla="*/ 42 w 411"/>
                <a:gd name="T87" fmla="*/ 307 h 820"/>
                <a:gd name="T88" fmla="*/ 21 w 411"/>
                <a:gd name="T89" fmla="*/ 225 h 820"/>
                <a:gd name="T90" fmla="*/ 0 w 411"/>
                <a:gd name="T91" fmla="*/ 164 h 820"/>
                <a:gd name="T92" fmla="*/ 21 w 411"/>
                <a:gd name="T93" fmla="*/ 102 h 820"/>
                <a:gd name="T94" fmla="*/ 42 w 411"/>
                <a:gd name="T95" fmla="*/ 40 h 820"/>
                <a:gd name="T96" fmla="*/ 62 w 411"/>
                <a:gd name="T97" fmla="*/ 40 h 820"/>
                <a:gd name="T98" fmla="*/ 82 w 411"/>
                <a:gd name="T99" fmla="*/ 40 h 820"/>
                <a:gd name="T100" fmla="*/ 124 w 411"/>
                <a:gd name="T101" fmla="*/ 61 h 820"/>
                <a:gd name="T102" fmla="*/ 144 w 411"/>
                <a:gd name="T103" fmla="*/ 61 h 820"/>
                <a:gd name="T104" fmla="*/ 185 w 411"/>
                <a:gd name="T105" fmla="*/ 61 h 820"/>
                <a:gd name="T106" fmla="*/ 226 w 411"/>
                <a:gd name="T107" fmla="*/ 40 h 820"/>
                <a:gd name="T108" fmla="*/ 267 w 411"/>
                <a:gd name="T109" fmla="*/ 20 h 820"/>
                <a:gd name="T110" fmla="*/ 308 w 411"/>
                <a:gd name="T111" fmla="*/ 0 h 820"/>
                <a:gd name="T112" fmla="*/ 328 w 411"/>
                <a:gd name="T113" fmla="*/ 20 h 820"/>
                <a:gd name="T114" fmla="*/ 348 w 411"/>
                <a:gd name="T115" fmla="*/ 40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1" h="820">
                  <a:moveTo>
                    <a:pt x="348" y="40"/>
                  </a:moveTo>
                  <a:lnTo>
                    <a:pt x="348" y="40"/>
                  </a:lnTo>
                  <a:cubicBezTo>
                    <a:pt x="348" y="61"/>
                    <a:pt x="348" y="61"/>
                    <a:pt x="348" y="61"/>
                  </a:cubicBezTo>
                  <a:cubicBezTo>
                    <a:pt x="348" y="61"/>
                    <a:pt x="348" y="82"/>
                    <a:pt x="369" y="82"/>
                  </a:cubicBezTo>
                  <a:cubicBezTo>
                    <a:pt x="369" y="102"/>
                    <a:pt x="369" y="122"/>
                    <a:pt x="369" y="122"/>
                  </a:cubicBezTo>
                  <a:lnTo>
                    <a:pt x="369" y="143"/>
                  </a:lnTo>
                  <a:cubicBezTo>
                    <a:pt x="369" y="164"/>
                    <a:pt x="390" y="184"/>
                    <a:pt x="390" y="184"/>
                  </a:cubicBezTo>
                  <a:lnTo>
                    <a:pt x="390" y="204"/>
                  </a:lnTo>
                  <a:lnTo>
                    <a:pt x="390" y="225"/>
                  </a:lnTo>
                  <a:cubicBezTo>
                    <a:pt x="410" y="225"/>
                    <a:pt x="410" y="246"/>
                    <a:pt x="410" y="246"/>
                  </a:cubicBezTo>
                  <a:lnTo>
                    <a:pt x="410" y="266"/>
                  </a:lnTo>
                  <a:cubicBezTo>
                    <a:pt x="410" y="286"/>
                    <a:pt x="390" y="286"/>
                    <a:pt x="390" y="307"/>
                  </a:cubicBezTo>
                  <a:lnTo>
                    <a:pt x="390" y="328"/>
                  </a:lnTo>
                  <a:lnTo>
                    <a:pt x="410" y="348"/>
                  </a:lnTo>
                  <a:cubicBezTo>
                    <a:pt x="410" y="368"/>
                    <a:pt x="410" y="368"/>
                    <a:pt x="410" y="389"/>
                  </a:cubicBezTo>
                  <a:cubicBezTo>
                    <a:pt x="410" y="389"/>
                    <a:pt x="410" y="410"/>
                    <a:pt x="410" y="430"/>
                  </a:cubicBezTo>
                  <a:cubicBezTo>
                    <a:pt x="410" y="430"/>
                    <a:pt x="410" y="430"/>
                    <a:pt x="410" y="450"/>
                  </a:cubicBezTo>
                  <a:lnTo>
                    <a:pt x="410" y="450"/>
                  </a:lnTo>
                  <a:cubicBezTo>
                    <a:pt x="410" y="450"/>
                    <a:pt x="410" y="450"/>
                    <a:pt x="390" y="471"/>
                  </a:cubicBezTo>
                  <a:lnTo>
                    <a:pt x="390" y="492"/>
                  </a:lnTo>
                  <a:cubicBezTo>
                    <a:pt x="390" y="492"/>
                    <a:pt x="390" y="512"/>
                    <a:pt x="369" y="532"/>
                  </a:cubicBezTo>
                  <a:cubicBezTo>
                    <a:pt x="369" y="532"/>
                    <a:pt x="390" y="574"/>
                    <a:pt x="390" y="594"/>
                  </a:cubicBezTo>
                  <a:cubicBezTo>
                    <a:pt x="369" y="594"/>
                    <a:pt x="369" y="635"/>
                    <a:pt x="369" y="635"/>
                  </a:cubicBezTo>
                  <a:cubicBezTo>
                    <a:pt x="369" y="655"/>
                    <a:pt x="348" y="655"/>
                    <a:pt x="348" y="676"/>
                  </a:cubicBezTo>
                  <a:cubicBezTo>
                    <a:pt x="348" y="676"/>
                    <a:pt x="328" y="676"/>
                    <a:pt x="328" y="696"/>
                  </a:cubicBezTo>
                  <a:lnTo>
                    <a:pt x="328" y="717"/>
                  </a:lnTo>
                  <a:lnTo>
                    <a:pt x="348" y="737"/>
                  </a:lnTo>
                  <a:cubicBezTo>
                    <a:pt x="328" y="758"/>
                    <a:pt x="328" y="758"/>
                    <a:pt x="328" y="758"/>
                  </a:cubicBezTo>
                  <a:cubicBezTo>
                    <a:pt x="328" y="778"/>
                    <a:pt x="328" y="778"/>
                    <a:pt x="328" y="799"/>
                  </a:cubicBezTo>
                  <a:lnTo>
                    <a:pt x="328" y="819"/>
                  </a:lnTo>
                  <a:lnTo>
                    <a:pt x="308" y="819"/>
                  </a:lnTo>
                  <a:cubicBezTo>
                    <a:pt x="287" y="799"/>
                    <a:pt x="287" y="778"/>
                    <a:pt x="267" y="778"/>
                  </a:cubicBezTo>
                  <a:cubicBezTo>
                    <a:pt x="267" y="758"/>
                    <a:pt x="246" y="737"/>
                    <a:pt x="246" y="737"/>
                  </a:cubicBezTo>
                  <a:cubicBezTo>
                    <a:pt x="246" y="717"/>
                    <a:pt x="226" y="717"/>
                    <a:pt x="226" y="696"/>
                  </a:cubicBezTo>
                  <a:cubicBezTo>
                    <a:pt x="206" y="696"/>
                    <a:pt x="206" y="676"/>
                    <a:pt x="185" y="676"/>
                  </a:cubicBezTo>
                  <a:cubicBezTo>
                    <a:pt x="185" y="655"/>
                    <a:pt x="164" y="635"/>
                    <a:pt x="144" y="635"/>
                  </a:cubicBezTo>
                  <a:cubicBezTo>
                    <a:pt x="144" y="614"/>
                    <a:pt x="144" y="594"/>
                    <a:pt x="124" y="594"/>
                  </a:cubicBezTo>
                  <a:cubicBezTo>
                    <a:pt x="124" y="574"/>
                    <a:pt x="124" y="553"/>
                    <a:pt x="124" y="532"/>
                  </a:cubicBezTo>
                  <a:cubicBezTo>
                    <a:pt x="124" y="532"/>
                    <a:pt x="103" y="512"/>
                    <a:pt x="103" y="492"/>
                  </a:cubicBezTo>
                  <a:lnTo>
                    <a:pt x="82" y="450"/>
                  </a:lnTo>
                  <a:cubicBezTo>
                    <a:pt x="62" y="430"/>
                    <a:pt x="62" y="389"/>
                    <a:pt x="42" y="389"/>
                  </a:cubicBezTo>
                  <a:cubicBezTo>
                    <a:pt x="42" y="368"/>
                    <a:pt x="42" y="348"/>
                    <a:pt x="42" y="348"/>
                  </a:cubicBezTo>
                  <a:lnTo>
                    <a:pt x="42" y="328"/>
                  </a:lnTo>
                  <a:lnTo>
                    <a:pt x="42" y="307"/>
                  </a:lnTo>
                  <a:cubicBezTo>
                    <a:pt x="42" y="286"/>
                    <a:pt x="21" y="246"/>
                    <a:pt x="21" y="225"/>
                  </a:cubicBezTo>
                  <a:cubicBezTo>
                    <a:pt x="21" y="204"/>
                    <a:pt x="0" y="184"/>
                    <a:pt x="0" y="164"/>
                  </a:cubicBezTo>
                  <a:cubicBezTo>
                    <a:pt x="0" y="143"/>
                    <a:pt x="21" y="122"/>
                    <a:pt x="21" y="102"/>
                  </a:cubicBezTo>
                  <a:cubicBezTo>
                    <a:pt x="21" y="82"/>
                    <a:pt x="21" y="61"/>
                    <a:pt x="42" y="40"/>
                  </a:cubicBezTo>
                  <a:lnTo>
                    <a:pt x="62" y="40"/>
                  </a:lnTo>
                  <a:lnTo>
                    <a:pt x="82" y="40"/>
                  </a:lnTo>
                  <a:cubicBezTo>
                    <a:pt x="82" y="40"/>
                    <a:pt x="103" y="40"/>
                    <a:pt x="124" y="61"/>
                  </a:cubicBezTo>
                  <a:lnTo>
                    <a:pt x="144" y="61"/>
                  </a:lnTo>
                  <a:cubicBezTo>
                    <a:pt x="164" y="61"/>
                    <a:pt x="185" y="61"/>
                    <a:pt x="185" y="61"/>
                  </a:cubicBezTo>
                  <a:cubicBezTo>
                    <a:pt x="185" y="61"/>
                    <a:pt x="206" y="40"/>
                    <a:pt x="226" y="40"/>
                  </a:cubicBezTo>
                  <a:cubicBezTo>
                    <a:pt x="226" y="20"/>
                    <a:pt x="267" y="20"/>
                    <a:pt x="267" y="20"/>
                  </a:cubicBezTo>
                  <a:cubicBezTo>
                    <a:pt x="287" y="20"/>
                    <a:pt x="308" y="20"/>
                    <a:pt x="308" y="0"/>
                  </a:cubicBezTo>
                  <a:cubicBezTo>
                    <a:pt x="328" y="20"/>
                    <a:pt x="328" y="20"/>
                    <a:pt x="328" y="20"/>
                  </a:cubicBezTo>
                  <a:lnTo>
                    <a:pt x="348"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 name="Freeform 34">
              <a:extLst>
                <a:ext uri="{FF2B5EF4-FFF2-40B4-BE49-F238E27FC236}">
                  <a16:creationId xmlns:a16="http://schemas.microsoft.com/office/drawing/2014/main" id="{66820273-C662-F042-BB81-8143A3A21767}"/>
                </a:ext>
              </a:extLst>
            </p:cNvPr>
            <p:cNvSpPr>
              <a:spLocks noChangeArrowheads="1"/>
            </p:cNvSpPr>
            <p:nvPr/>
          </p:nvSpPr>
          <p:spPr bwMode="auto">
            <a:xfrm>
              <a:off x="1319213" y="4760913"/>
              <a:ext cx="222250" cy="192087"/>
            </a:xfrm>
            <a:custGeom>
              <a:avLst/>
              <a:gdLst>
                <a:gd name="T0" fmla="*/ 595 w 616"/>
                <a:gd name="T1" fmla="*/ 471 h 533"/>
                <a:gd name="T2" fmla="*/ 595 w 616"/>
                <a:gd name="T3" fmla="*/ 471 h 533"/>
                <a:gd name="T4" fmla="*/ 615 w 616"/>
                <a:gd name="T5" fmla="*/ 512 h 533"/>
                <a:gd name="T6" fmla="*/ 595 w 616"/>
                <a:gd name="T7" fmla="*/ 512 h 533"/>
                <a:gd name="T8" fmla="*/ 534 w 616"/>
                <a:gd name="T9" fmla="*/ 532 h 533"/>
                <a:gd name="T10" fmla="*/ 513 w 616"/>
                <a:gd name="T11" fmla="*/ 532 h 533"/>
                <a:gd name="T12" fmla="*/ 492 w 616"/>
                <a:gd name="T13" fmla="*/ 512 h 533"/>
                <a:gd name="T14" fmla="*/ 492 w 616"/>
                <a:gd name="T15" fmla="*/ 512 h 533"/>
                <a:gd name="T16" fmla="*/ 513 w 616"/>
                <a:gd name="T17" fmla="*/ 492 h 533"/>
                <a:gd name="T18" fmla="*/ 534 w 616"/>
                <a:gd name="T19" fmla="*/ 471 h 533"/>
                <a:gd name="T20" fmla="*/ 513 w 616"/>
                <a:gd name="T21" fmla="*/ 450 h 533"/>
                <a:gd name="T22" fmla="*/ 472 w 616"/>
                <a:gd name="T23" fmla="*/ 430 h 533"/>
                <a:gd name="T24" fmla="*/ 431 w 616"/>
                <a:gd name="T25" fmla="*/ 430 h 533"/>
                <a:gd name="T26" fmla="*/ 410 w 616"/>
                <a:gd name="T27" fmla="*/ 430 h 533"/>
                <a:gd name="T28" fmla="*/ 390 w 616"/>
                <a:gd name="T29" fmla="*/ 389 h 533"/>
                <a:gd name="T30" fmla="*/ 370 w 616"/>
                <a:gd name="T31" fmla="*/ 368 h 533"/>
                <a:gd name="T32" fmla="*/ 349 w 616"/>
                <a:gd name="T33" fmla="*/ 348 h 533"/>
                <a:gd name="T34" fmla="*/ 308 w 616"/>
                <a:gd name="T35" fmla="*/ 328 h 533"/>
                <a:gd name="T36" fmla="*/ 267 w 616"/>
                <a:gd name="T37" fmla="*/ 348 h 533"/>
                <a:gd name="T38" fmla="*/ 246 w 616"/>
                <a:gd name="T39" fmla="*/ 328 h 533"/>
                <a:gd name="T40" fmla="*/ 226 w 616"/>
                <a:gd name="T41" fmla="*/ 368 h 533"/>
                <a:gd name="T42" fmla="*/ 206 w 616"/>
                <a:gd name="T43" fmla="*/ 368 h 533"/>
                <a:gd name="T44" fmla="*/ 206 w 616"/>
                <a:gd name="T45" fmla="*/ 368 h 533"/>
                <a:gd name="T46" fmla="*/ 124 w 616"/>
                <a:gd name="T47" fmla="*/ 328 h 533"/>
                <a:gd name="T48" fmla="*/ 82 w 616"/>
                <a:gd name="T49" fmla="*/ 328 h 533"/>
                <a:gd name="T50" fmla="*/ 42 w 616"/>
                <a:gd name="T51" fmla="*/ 307 h 533"/>
                <a:gd name="T52" fmla="*/ 21 w 616"/>
                <a:gd name="T53" fmla="*/ 286 h 533"/>
                <a:gd name="T54" fmla="*/ 0 w 616"/>
                <a:gd name="T55" fmla="*/ 246 h 533"/>
                <a:gd name="T56" fmla="*/ 0 w 616"/>
                <a:gd name="T57" fmla="*/ 204 h 533"/>
                <a:gd name="T58" fmla="*/ 21 w 616"/>
                <a:gd name="T59" fmla="*/ 164 h 533"/>
                <a:gd name="T60" fmla="*/ 0 w 616"/>
                <a:gd name="T61" fmla="*/ 102 h 533"/>
                <a:gd name="T62" fmla="*/ 0 w 616"/>
                <a:gd name="T63" fmla="*/ 82 h 533"/>
                <a:gd name="T64" fmla="*/ 42 w 616"/>
                <a:gd name="T65" fmla="*/ 82 h 533"/>
                <a:gd name="T66" fmla="*/ 103 w 616"/>
                <a:gd name="T67" fmla="*/ 62 h 533"/>
                <a:gd name="T68" fmla="*/ 144 w 616"/>
                <a:gd name="T69" fmla="*/ 62 h 533"/>
                <a:gd name="T70" fmla="*/ 185 w 616"/>
                <a:gd name="T71" fmla="*/ 41 h 533"/>
                <a:gd name="T72" fmla="*/ 226 w 616"/>
                <a:gd name="T73" fmla="*/ 41 h 533"/>
                <a:gd name="T74" fmla="*/ 246 w 616"/>
                <a:gd name="T75" fmla="*/ 20 h 533"/>
                <a:gd name="T76" fmla="*/ 267 w 616"/>
                <a:gd name="T77" fmla="*/ 0 h 533"/>
                <a:gd name="T78" fmla="*/ 328 w 616"/>
                <a:gd name="T79" fmla="*/ 0 h 533"/>
                <a:gd name="T80" fmla="*/ 349 w 616"/>
                <a:gd name="T81" fmla="*/ 41 h 533"/>
                <a:gd name="T82" fmla="*/ 390 w 616"/>
                <a:gd name="T83" fmla="*/ 41 h 533"/>
                <a:gd name="T84" fmla="*/ 410 w 616"/>
                <a:gd name="T85" fmla="*/ 62 h 533"/>
                <a:gd name="T86" fmla="*/ 431 w 616"/>
                <a:gd name="T87" fmla="*/ 82 h 533"/>
                <a:gd name="T88" fmla="*/ 410 w 616"/>
                <a:gd name="T89" fmla="*/ 82 h 533"/>
                <a:gd name="T90" fmla="*/ 410 w 616"/>
                <a:gd name="T91" fmla="*/ 122 h 533"/>
                <a:gd name="T92" fmla="*/ 390 w 616"/>
                <a:gd name="T93" fmla="*/ 143 h 533"/>
                <a:gd name="T94" fmla="*/ 390 w 616"/>
                <a:gd name="T95" fmla="*/ 164 h 533"/>
                <a:gd name="T96" fmla="*/ 410 w 616"/>
                <a:gd name="T97" fmla="*/ 204 h 533"/>
                <a:gd name="T98" fmla="*/ 390 w 616"/>
                <a:gd name="T99" fmla="*/ 225 h 533"/>
                <a:gd name="T100" fmla="*/ 390 w 616"/>
                <a:gd name="T101" fmla="*/ 266 h 533"/>
                <a:gd name="T102" fmla="*/ 349 w 616"/>
                <a:gd name="T103" fmla="*/ 286 h 533"/>
                <a:gd name="T104" fmla="*/ 349 w 616"/>
                <a:gd name="T105" fmla="*/ 328 h 533"/>
                <a:gd name="T106" fmla="*/ 410 w 616"/>
                <a:gd name="T107" fmla="*/ 348 h 533"/>
                <a:gd name="T108" fmla="*/ 452 w 616"/>
                <a:gd name="T109" fmla="*/ 368 h 533"/>
                <a:gd name="T110" fmla="*/ 534 w 616"/>
                <a:gd name="T111" fmla="*/ 389 h 533"/>
                <a:gd name="T112" fmla="*/ 574 w 616"/>
                <a:gd name="T113" fmla="*/ 410 h 533"/>
                <a:gd name="T114" fmla="*/ 595 w 616"/>
                <a:gd name="T115" fmla="*/ 471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16" h="533">
                  <a:moveTo>
                    <a:pt x="595" y="471"/>
                  </a:moveTo>
                  <a:lnTo>
                    <a:pt x="595" y="471"/>
                  </a:lnTo>
                  <a:cubicBezTo>
                    <a:pt x="615" y="471"/>
                    <a:pt x="615" y="492"/>
                    <a:pt x="615" y="512"/>
                  </a:cubicBezTo>
                  <a:cubicBezTo>
                    <a:pt x="595" y="512"/>
                    <a:pt x="595" y="512"/>
                    <a:pt x="595" y="512"/>
                  </a:cubicBezTo>
                  <a:cubicBezTo>
                    <a:pt x="574" y="532"/>
                    <a:pt x="554" y="532"/>
                    <a:pt x="534" y="532"/>
                  </a:cubicBezTo>
                  <a:lnTo>
                    <a:pt x="513" y="532"/>
                  </a:lnTo>
                  <a:lnTo>
                    <a:pt x="492" y="512"/>
                  </a:lnTo>
                  <a:lnTo>
                    <a:pt x="492" y="512"/>
                  </a:lnTo>
                  <a:cubicBezTo>
                    <a:pt x="492" y="492"/>
                    <a:pt x="513" y="512"/>
                    <a:pt x="513" y="492"/>
                  </a:cubicBezTo>
                  <a:cubicBezTo>
                    <a:pt x="534" y="492"/>
                    <a:pt x="534" y="471"/>
                    <a:pt x="534" y="471"/>
                  </a:cubicBezTo>
                  <a:cubicBezTo>
                    <a:pt x="534" y="450"/>
                    <a:pt x="513" y="450"/>
                    <a:pt x="513" y="450"/>
                  </a:cubicBezTo>
                  <a:cubicBezTo>
                    <a:pt x="513" y="430"/>
                    <a:pt x="492" y="430"/>
                    <a:pt x="472" y="430"/>
                  </a:cubicBezTo>
                  <a:cubicBezTo>
                    <a:pt x="472" y="430"/>
                    <a:pt x="452" y="430"/>
                    <a:pt x="431" y="430"/>
                  </a:cubicBezTo>
                  <a:lnTo>
                    <a:pt x="410" y="430"/>
                  </a:lnTo>
                  <a:cubicBezTo>
                    <a:pt x="410" y="410"/>
                    <a:pt x="390" y="410"/>
                    <a:pt x="390" y="389"/>
                  </a:cubicBezTo>
                  <a:cubicBezTo>
                    <a:pt x="370" y="389"/>
                    <a:pt x="370" y="389"/>
                    <a:pt x="370" y="368"/>
                  </a:cubicBezTo>
                  <a:cubicBezTo>
                    <a:pt x="349" y="368"/>
                    <a:pt x="349" y="348"/>
                    <a:pt x="349" y="348"/>
                  </a:cubicBezTo>
                  <a:cubicBezTo>
                    <a:pt x="328" y="348"/>
                    <a:pt x="308" y="328"/>
                    <a:pt x="308" y="328"/>
                  </a:cubicBezTo>
                  <a:cubicBezTo>
                    <a:pt x="288" y="328"/>
                    <a:pt x="288" y="348"/>
                    <a:pt x="267" y="348"/>
                  </a:cubicBezTo>
                  <a:lnTo>
                    <a:pt x="246" y="328"/>
                  </a:lnTo>
                  <a:cubicBezTo>
                    <a:pt x="246" y="328"/>
                    <a:pt x="226" y="348"/>
                    <a:pt x="226" y="368"/>
                  </a:cubicBezTo>
                  <a:lnTo>
                    <a:pt x="206" y="368"/>
                  </a:lnTo>
                  <a:lnTo>
                    <a:pt x="206" y="368"/>
                  </a:lnTo>
                  <a:cubicBezTo>
                    <a:pt x="185" y="348"/>
                    <a:pt x="144" y="328"/>
                    <a:pt x="124" y="328"/>
                  </a:cubicBezTo>
                  <a:cubicBezTo>
                    <a:pt x="103" y="328"/>
                    <a:pt x="82" y="328"/>
                    <a:pt x="82" y="328"/>
                  </a:cubicBezTo>
                  <a:cubicBezTo>
                    <a:pt x="62" y="328"/>
                    <a:pt x="42" y="328"/>
                    <a:pt x="42" y="307"/>
                  </a:cubicBezTo>
                  <a:cubicBezTo>
                    <a:pt x="21" y="307"/>
                    <a:pt x="21" y="286"/>
                    <a:pt x="21" y="286"/>
                  </a:cubicBezTo>
                  <a:cubicBezTo>
                    <a:pt x="21" y="266"/>
                    <a:pt x="0" y="266"/>
                    <a:pt x="0" y="246"/>
                  </a:cubicBezTo>
                  <a:cubicBezTo>
                    <a:pt x="0" y="246"/>
                    <a:pt x="0" y="225"/>
                    <a:pt x="0" y="204"/>
                  </a:cubicBezTo>
                  <a:cubicBezTo>
                    <a:pt x="0" y="204"/>
                    <a:pt x="21" y="184"/>
                    <a:pt x="21" y="164"/>
                  </a:cubicBezTo>
                  <a:cubicBezTo>
                    <a:pt x="21" y="164"/>
                    <a:pt x="21" y="122"/>
                    <a:pt x="0" y="102"/>
                  </a:cubicBezTo>
                  <a:cubicBezTo>
                    <a:pt x="0" y="102"/>
                    <a:pt x="0" y="102"/>
                    <a:pt x="0" y="82"/>
                  </a:cubicBezTo>
                  <a:cubicBezTo>
                    <a:pt x="21" y="82"/>
                    <a:pt x="42" y="82"/>
                    <a:pt x="42" y="82"/>
                  </a:cubicBezTo>
                  <a:cubicBezTo>
                    <a:pt x="62" y="82"/>
                    <a:pt x="82" y="62"/>
                    <a:pt x="103" y="62"/>
                  </a:cubicBezTo>
                  <a:lnTo>
                    <a:pt x="144" y="62"/>
                  </a:lnTo>
                  <a:cubicBezTo>
                    <a:pt x="164" y="62"/>
                    <a:pt x="185" y="41"/>
                    <a:pt x="185" y="41"/>
                  </a:cubicBezTo>
                  <a:cubicBezTo>
                    <a:pt x="206" y="41"/>
                    <a:pt x="226" y="41"/>
                    <a:pt x="226" y="41"/>
                  </a:cubicBezTo>
                  <a:cubicBezTo>
                    <a:pt x="226" y="41"/>
                    <a:pt x="226" y="20"/>
                    <a:pt x="246" y="20"/>
                  </a:cubicBezTo>
                  <a:lnTo>
                    <a:pt x="267" y="0"/>
                  </a:lnTo>
                  <a:cubicBezTo>
                    <a:pt x="288" y="0"/>
                    <a:pt x="328" y="0"/>
                    <a:pt x="328" y="0"/>
                  </a:cubicBezTo>
                  <a:cubicBezTo>
                    <a:pt x="349" y="20"/>
                    <a:pt x="349" y="41"/>
                    <a:pt x="349" y="41"/>
                  </a:cubicBezTo>
                  <a:cubicBezTo>
                    <a:pt x="349" y="41"/>
                    <a:pt x="370" y="41"/>
                    <a:pt x="390" y="41"/>
                  </a:cubicBezTo>
                  <a:cubicBezTo>
                    <a:pt x="390" y="62"/>
                    <a:pt x="410" y="62"/>
                    <a:pt x="410" y="62"/>
                  </a:cubicBezTo>
                  <a:cubicBezTo>
                    <a:pt x="410" y="62"/>
                    <a:pt x="410" y="82"/>
                    <a:pt x="431" y="82"/>
                  </a:cubicBezTo>
                  <a:lnTo>
                    <a:pt x="410" y="82"/>
                  </a:lnTo>
                  <a:cubicBezTo>
                    <a:pt x="410" y="102"/>
                    <a:pt x="410" y="102"/>
                    <a:pt x="410" y="122"/>
                  </a:cubicBezTo>
                  <a:cubicBezTo>
                    <a:pt x="410" y="122"/>
                    <a:pt x="390" y="122"/>
                    <a:pt x="390" y="143"/>
                  </a:cubicBezTo>
                  <a:cubicBezTo>
                    <a:pt x="370" y="143"/>
                    <a:pt x="370" y="164"/>
                    <a:pt x="390" y="164"/>
                  </a:cubicBezTo>
                  <a:cubicBezTo>
                    <a:pt x="390" y="184"/>
                    <a:pt x="390" y="184"/>
                    <a:pt x="410" y="204"/>
                  </a:cubicBezTo>
                  <a:lnTo>
                    <a:pt x="390" y="225"/>
                  </a:lnTo>
                  <a:cubicBezTo>
                    <a:pt x="390" y="246"/>
                    <a:pt x="390" y="266"/>
                    <a:pt x="390" y="266"/>
                  </a:cubicBezTo>
                  <a:cubicBezTo>
                    <a:pt x="370" y="286"/>
                    <a:pt x="349" y="286"/>
                    <a:pt x="349" y="286"/>
                  </a:cubicBezTo>
                  <a:cubicBezTo>
                    <a:pt x="349" y="307"/>
                    <a:pt x="349" y="307"/>
                    <a:pt x="349" y="328"/>
                  </a:cubicBezTo>
                  <a:cubicBezTo>
                    <a:pt x="370" y="328"/>
                    <a:pt x="390" y="348"/>
                    <a:pt x="410" y="348"/>
                  </a:cubicBezTo>
                  <a:cubicBezTo>
                    <a:pt x="410" y="348"/>
                    <a:pt x="431" y="348"/>
                    <a:pt x="452" y="368"/>
                  </a:cubicBezTo>
                  <a:cubicBezTo>
                    <a:pt x="472" y="368"/>
                    <a:pt x="513" y="368"/>
                    <a:pt x="534" y="389"/>
                  </a:cubicBezTo>
                  <a:lnTo>
                    <a:pt x="574" y="410"/>
                  </a:lnTo>
                  <a:cubicBezTo>
                    <a:pt x="595" y="430"/>
                    <a:pt x="595" y="450"/>
                    <a:pt x="595" y="47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 name="Freeform 35">
              <a:extLst>
                <a:ext uri="{FF2B5EF4-FFF2-40B4-BE49-F238E27FC236}">
                  <a16:creationId xmlns:a16="http://schemas.microsoft.com/office/drawing/2014/main" id="{3E65BC7F-49C8-F543-9483-F60907B1070F}"/>
                </a:ext>
              </a:extLst>
            </p:cNvPr>
            <p:cNvSpPr>
              <a:spLocks noChangeArrowheads="1"/>
            </p:cNvSpPr>
            <p:nvPr/>
          </p:nvSpPr>
          <p:spPr bwMode="auto">
            <a:xfrm>
              <a:off x="2249488" y="6397625"/>
              <a:ext cx="22225" cy="38100"/>
            </a:xfrm>
            <a:custGeom>
              <a:avLst/>
              <a:gdLst>
                <a:gd name="T0" fmla="*/ 40 w 62"/>
                <a:gd name="T1" fmla="*/ 42 h 104"/>
                <a:gd name="T2" fmla="*/ 40 w 62"/>
                <a:gd name="T3" fmla="*/ 42 h 104"/>
                <a:gd name="T4" fmla="*/ 61 w 62"/>
                <a:gd name="T5" fmla="*/ 21 h 104"/>
                <a:gd name="T6" fmla="*/ 40 w 62"/>
                <a:gd name="T7" fmla="*/ 0 h 104"/>
                <a:gd name="T8" fmla="*/ 20 w 62"/>
                <a:gd name="T9" fmla="*/ 21 h 104"/>
                <a:gd name="T10" fmla="*/ 20 w 62"/>
                <a:gd name="T11" fmla="*/ 42 h 104"/>
                <a:gd name="T12" fmla="*/ 0 w 62"/>
                <a:gd name="T13" fmla="*/ 42 h 104"/>
                <a:gd name="T14" fmla="*/ 0 w 62"/>
                <a:gd name="T15" fmla="*/ 62 h 104"/>
                <a:gd name="T16" fmla="*/ 0 w 62"/>
                <a:gd name="T17" fmla="*/ 82 h 104"/>
                <a:gd name="T18" fmla="*/ 40 w 62"/>
                <a:gd name="T19" fmla="*/ 82 h 104"/>
                <a:gd name="T20" fmla="*/ 40 w 62"/>
                <a:gd name="T21" fmla="*/ 62 h 104"/>
                <a:gd name="T22" fmla="*/ 40 w 62"/>
                <a:gd name="T23" fmla="*/ 4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104">
                  <a:moveTo>
                    <a:pt x="40" y="42"/>
                  </a:moveTo>
                  <a:lnTo>
                    <a:pt x="40" y="42"/>
                  </a:lnTo>
                  <a:lnTo>
                    <a:pt x="61" y="21"/>
                  </a:lnTo>
                  <a:lnTo>
                    <a:pt x="40" y="0"/>
                  </a:lnTo>
                  <a:cubicBezTo>
                    <a:pt x="40" y="0"/>
                    <a:pt x="40" y="21"/>
                    <a:pt x="20" y="21"/>
                  </a:cubicBezTo>
                  <a:cubicBezTo>
                    <a:pt x="20" y="21"/>
                    <a:pt x="20" y="21"/>
                    <a:pt x="20" y="42"/>
                  </a:cubicBezTo>
                  <a:lnTo>
                    <a:pt x="0" y="42"/>
                  </a:lnTo>
                  <a:cubicBezTo>
                    <a:pt x="0" y="62"/>
                    <a:pt x="0" y="62"/>
                    <a:pt x="0" y="62"/>
                  </a:cubicBezTo>
                  <a:cubicBezTo>
                    <a:pt x="0" y="82"/>
                    <a:pt x="0" y="82"/>
                    <a:pt x="0" y="82"/>
                  </a:cubicBezTo>
                  <a:cubicBezTo>
                    <a:pt x="20" y="103"/>
                    <a:pt x="20" y="82"/>
                    <a:pt x="40" y="82"/>
                  </a:cubicBezTo>
                  <a:lnTo>
                    <a:pt x="40" y="62"/>
                  </a:lnTo>
                  <a:cubicBezTo>
                    <a:pt x="40" y="62"/>
                    <a:pt x="40" y="62"/>
                    <a:pt x="40"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 name="Freeform 36">
              <a:extLst>
                <a:ext uri="{FF2B5EF4-FFF2-40B4-BE49-F238E27FC236}">
                  <a16:creationId xmlns:a16="http://schemas.microsoft.com/office/drawing/2014/main" id="{4B7F8518-60F7-EC46-956A-83E9B65E68CA}"/>
                </a:ext>
              </a:extLst>
            </p:cNvPr>
            <p:cNvSpPr>
              <a:spLocks noChangeArrowheads="1"/>
            </p:cNvSpPr>
            <p:nvPr/>
          </p:nvSpPr>
          <p:spPr bwMode="auto">
            <a:xfrm>
              <a:off x="1851025" y="6051550"/>
              <a:ext cx="457200" cy="657225"/>
            </a:xfrm>
            <a:custGeom>
              <a:avLst/>
              <a:gdLst>
                <a:gd name="T0" fmla="*/ 1271 w 1272"/>
                <a:gd name="T1" fmla="*/ 553 h 1824"/>
                <a:gd name="T2" fmla="*/ 1271 w 1272"/>
                <a:gd name="T3" fmla="*/ 614 h 1824"/>
                <a:gd name="T4" fmla="*/ 1229 w 1272"/>
                <a:gd name="T5" fmla="*/ 696 h 1824"/>
                <a:gd name="T6" fmla="*/ 1189 w 1272"/>
                <a:gd name="T7" fmla="*/ 778 h 1824"/>
                <a:gd name="T8" fmla="*/ 1127 w 1272"/>
                <a:gd name="T9" fmla="*/ 840 h 1824"/>
                <a:gd name="T10" fmla="*/ 1107 w 1272"/>
                <a:gd name="T11" fmla="*/ 922 h 1824"/>
                <a:gd name="T12" fmla="*/ 1065 w 1272"/>
                <a:gd name="T13" fmla="*/ 983 h 1824"/>
                <a:gd name="T14" fmla="*/ 1045 w 1272"/>
                <a:gd name="T15" fmla="*/ 983 h 1824"/>
                <a:gd name="T16" fmla="*/ 1045 w 1272"/>
                <a:gd name="T17" fmla="*/ 942 h 1824"/>
                <a:gd name="T18" fmla="*/ 1025 w 1272"/>
                <a:gd name="T19" fmla="*/ 962 h 1824"/>
                <a:gd name="T20" fmla="*/ 983 w 1272"/>
                <a:gd name="T21" fmla="*/ 1044 h 1824"/>
                <a:gd name="T22" fmla="*/ 943 w 1272"/>
                <a:gd name="T23" fmla="*/ 1188 h 1824"/>
                <a:gd name="T24" fmla="*/ 943 w 1272"/>
                <a:gd name="T25" fmla="*/ 1290 h 1824"/>
                <a:gd name="T26" fmla="*/ 901 w 1272"/>
                <a:gd name="T27" fmla="*/ 1331 h 1824"/>
                <a:gd name="T28" fmla="*/ 799 w 1272"/>
                <a:gd name="T29" fmla="*/ 1393 h 1824"/>
                <a:gd name="T30" fmla="*/ 758 w 1272"/>
                <a:gd name="T31" fmla="*/ 1475 h 1824"/>
                <a:gd name="T32" fmla="*/ 717 w 1272"/>
                <a:gd name="T33" fmla="*/ 1557 h 1824"/>
                <a:gd name="T34" fmla="*/ 676 w 1272"/>
                <a:gd name="T35" fmla="*/ 1557 h 1824"/>
                <a:gd name="T36" fmla="*/ 635 w 1272"/>
                <a:gd name="T37" fmla="*/ 1557 h 1824"/>
                <a:gd name="T38" fmla="*/ 533 w 1272"/>
                <a:gd name="T39" fmla="*/ 1598 h 1824"/>
                <a:gd name="T40" fmla="*/ 533 w 1272"/>
                <a:gd name="T41" fmla="*/ 1659 h 1824"/>
                <a:gd name="T42" fmla="*/ 512 w 1272"/>
                <a:gd name="T43" fmla="*/ 1721 h 1824"/>
                <a:gd name="T44" fmla="*/ 451 w 1272"/>
                <a:gd name="T45" fmla="*/ 1762 h 1824"/>
                <a:gd name="T46" fmla="*/ 389 w 1272"/>
                <a:gd name="T47" fmla="*/ 1762 h 1824"/>
                <a:gd name="T48" fmla="*/ 328 w 1272"/>
                <a:gd name="T49" fmla="*/ 1762 h 1824"/>
                <a:gd name="T50" fmla="*/ 246 w 1272"/>
                <a:gd name="T51" fmla="*/ 1803 h 1824"/>
                <a:gd name="T52" fmla="*/ 164 w 1272"/>
                <a:gd name="T53" fmla="*/ 1721 h 1824"/>
                <a:gd name="T54" fmla="*/ 143 w 1272"/>
                <a:gd name="T55" fmla="*/ 1700 h 1824"/>
                <a:gd name="T56" fmla="*/ 123 w 1272"/>
                <a:gd name="T57" fmla="*/ 1639 h 1824"/>
                <a:gd name="T58" fmla="*/ 348 w 1272"/>
                <a:gd name="T59" fmla="*/ 1086 h 1824"/>
                <a:gd name="T60" fmla="*/ 533 w 1272"/>
                <a:gd name="T61" fmla="*/ 492 h 1824"/>
                <a:gd name="T62" fmla="*/ 574 w 1272"/>
                <a:gd name="T63" fmla="*/ 286 h 1824"/>
                <a:gd name="T64" fmla="*/ 615 w 1272"/>
                <a:gd name="T65" fmla="*/ 225 h 1824"/>
                <a:gd name="T66" fmla="*/ 594 w 1272"/>
                <a:gd name="T67" fmla="*/ 164 h 1824"/>
                <a:gd name="T68" fmla="*/ 594 w 1272"/>
                <a:gd name="T69" fmla="*/ 82 h 1824"/>
                <a:gd name="T70" fmla="*/ 656 w 1272"/>
                <a:gd name="T71" fmla="*/ 40 h 1824"/>
                <a:gd name="T72" fmla="*/ 676 w 1272"/>
                <a:gd name="T73" fmla="*/ 0 h 1824"/>
                <a:gd name="T74" fmla="*/ 717 w 1272"/>
                <a:gd name="T75" fmla="*/ 82 h 1824"/>
                <a:gd name="T76" fmla="*/ 758 w 1272"/>
                <a:gd name="T77" fmla="*/ 143 h 1824"/>
                <a:gd name="T78" fmla="*/ 819 w 1272"/>
                <a:gd name="T79" fmla="*/ 204 h 1824"/>
                <a:gd name="T80" fmla="*/ 901 w 1272"/>
                <a:gd name="T81" fmla="*/ 246 h 1824"/>
                <a:gd name="T82" fmla="*/ 983 w 1272"/>
                <a:gd name="T83" fmla="*/ 286 h 1824"/>
                <a:gd name="T84" fmla="*/ 1045 w 1272"/>
                <a:gd name="T85" fmla="*/ 286 h 1824"/>
                <a:gd name="T86" fmla="*/ 1086 w 1272"/>
                <a:gd name="T87" fmla="*/ 307 h 1824"/>
                <a:gd name="T88" fmla="*/ 1127 w 1272"/>
                <a:gd name="T89" fmla="*/ 389 h 1824"/>
                <a:gd name="T90" fmla="*/ 1189 w 1272"/>
                <a:gd name="T91" fmla="*/ 450 h 1824"/>
                <a:gd name="T92" fmla="*/ 1229 w 1272"/>
                <a:gd name="T93" fmla="*/ 512 h 1824"/>
                <a:gd name="T94" fmla="*/ 1250 w 1272"/>
                <a:gd name="T95" fmla="*/ 553 h 1824"/>
                <a:gd name="T96" fmla="*/ 1271 w 1272"/>
                <a:gd name="T97" fmla="*/ 553 h 1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72" h="1824">
                  <a:moveTo>
                    <a:pt x="1271" y="553"/>
                  </a:moveTo>
                  <a:lnTo>
                    <a:pt x="1271" y="553"/>
                  </a:lnTo>
                  <a:cubicBezTo>
                    <a:pt x="1271" y="553"/>
                    <a:pt x="1271" y="553"/>
                    <a:pt x="1271" y="574"/>
                  </a:cubicBezTo>
                  <a:cubicBezTo>
                    <a:pt x="1271" y="574"/>
                    <a:pt x="1271" y="594"/>
                    <a:pt x="1271" y="614"/>
                  </a:cubicBezTo>
                  <a:cubicBezTo>
                    <a:pt x="1271" y="614"/>
                    <a:pt x="1250" y="634"/>
                    <a:pt x="1250" y="655"/>
                  </a:cubicBezTo>
                  <a:cubicBezTo>
                    <a:pt x="1250" y="676"/>
                    <a:pt x="1229" y="696"/>
                    <a:pt x="1229" y="696"/>
                  </a:cubicBezTo>
                  <a:cubicBezTo>
                    <a:pt x="1209" y="716"/>
                    <a:pt x="1209" y="737"/>
                    <a:pt x="1209" y="737"/>
                  </a:cubicBezTo>
                  <a:cubicBezTo>
                    <a:pt x="1209" y="758"/>
                    <a:pt x="1189" y="778"/>
                    <a:pt x="1189" y="778"/>
                  </a:cubicBezTo>
                  <a:cubicBezTo>
                    <a:pt x="1189" y="798"/>
                    <a:pt x="1168" y="798"/>
                    <a:pt x="1168" y="798"/>
                  </a:cubicBezTo>
                  <a:cubicBezTo>
                    <a:pt x="1147" y="819"/>
                    <a:pt x="1127" y="840"/>
                    <a:pt x="1127" y="840"/>
                  </a:cubicBezTo>
                  <a:cubicBezTo>
                    <a:pt x="1127" y="860"/>
                    <a:pt x="1107" y="860"/>
                    <a:pt x="1107" y="880"/>
                  </a:cubicBezTo>
                  <a:cubicBezTo>
                    <a:pt x="1107" y="880"/>
                    <a:pt x="1127" y="901"/>
                    <a:pt x="1107" y="922"/>
                  </a:cubicBezTo>
                  <a:cubicBezTo>
                    <a:pt x="1107" y="942"/>
                    <a:pt x="1086" y="942"/>
                    <a:pt x="1086" y="962"/>
                  </a:cubicBezTo>
                  <a:cubicBezTo>
                    <a:pt x="1086" y="962"/>
                    <a:pt x="1086" y="983"/>
                    <a:pt x="1065" y="983"/>
                  </a:cubicBezTo>
                  <a:cubicBezTo>
                    <a:pt x="1065" y="1004"/>
                    <a:pt x="1065" y="1004"/>
                    <a:pt x="1045" y="1004"/>
                  </a:cubicBezTo>
                  <a:lnTo>
                    <a:pt x="1045" y="983"/>
                  </a:lnTo>
                  <a:cubicBezTo>
                    <a:pt x="1045" y="983"/>
                    <a:pt x="1045" y="983"/>
                    <a:pt x="1045" y="962"/>
                  </a:cubicBezTo>
                  <a:cubicBezTo>
                    <a:pt x="1045" y="962"/>
                    <a:pt x="1045" y="962"/>
                    <a:pt x="1045" y="942"/>
                  </a:cubicBezTo>
                  <a:lnTo>
                    <a:pt x="1045" y="942"/>
                  </a:lnTo>
                  <a:cubicBezTo>
                    <a:pt x="1025" y="942"/>
                    <a:pt x="1025" y="962"/>
                    <a:pt x="1025" y="962"/>
                  </a:cubicBezTo>
                  <a:lnTo>
                    <a:pt x="1004" y="983"/>
                  </a:lnTo>
                  <a:cubicBezTo>
                    <a:pt x="1004" y="1004"/>
                    <a:pt x="983" y="1024"/>
                    <a:pt x="983" y="1044"/>
                  </a:cubicBezTo>
                  <a:cubicBezTo>
                    <a:pt x="983" y="1065"/>
                    <a:pt x="963" y="1086"/>
                    <a:pt x="943" y="1106"/>
                  </a:cubicBezTo>
                  <a:cubicBezTo>
                    <a:pt x="943" y="1126"/>
                    <a:pt x="943" y="1168"/>
                    <a:pt x="943" y="1188"/>
                  </a:cubicBezTo>
                  <a:cubicBezTo>
                    <a:pt x="943" y="1208"/>
                    <a:pt x="943" y="1229"/>
                    <a:pt x="943" y="1250"/>
                  </a:cubicBezTo>
                  <a:cubicBezTo>
                    <a:pt x="963" y="1270"/>
                    <a:pt x="943" y="1290"/>
                    <a:pt x="943" y="1290"/>
                  </a:cubicBezTo>
                  <a:cubicBezTo>
                    <a:pt x="943" y="1311"/>
                    <a:pt x="943" y="1311"/>
                    <a:pt x="943" y="1311"/>
                  </a:cubicBezTo>
                  <a:cubicBezTo>
                    <a:pt x="922" y="1331"/>
                    <a:pt x="901" y="1331"/>
                    <a:pt x="901" y="1331"/>
                  </a:cubicBezTo>
                  <a:cubicBezTo>
                    <a:pt x="881" y="1331"/>
                    <a:pt x="861" y="1352"/>
                    <a:pt x="840" y="1352"/>
                  </a:cubicBezTo>
                  <a:cubicBezTo>
                    <a:pt x="840" y="1372"/>
                    <a:pt x="799" y="1393"/>
                    <a:pt x="799" y="1393"/>
                  </a:cubicBezTo>
                  <a:cubicBezTo>
                    <a:pt x="779" y="1393"/>
                    <a:pt x="758" y="1413"/>
                    <a:pt x="758" y="1434"/>
                  </a:cubicBezTo>
                  <a:cubicBezTo>
                    <a:pt x="758" y="1434"/>
                    <a:pt x="758" y="1454"/>
                    <a:pt x="758" y="1475"/>
                  </a:cubicBezTo>
                  <a:cubicBezTo>
                    <a:pt x="758" y="1475"/>
                    <a:pt x="758" y="1495"/>
                    <a:pt x="758" y="1516"/>
                  </a:cubicBezTo>
                  <a:cubicBezTo>
                    <a:pt x="758" y="1516"/>
                    <a:pt x="738" y="1536"/>
                    <a:pt x="717" y="1557"/>
                  </a:cubicBezTo>
                  <a:cubicBezTo>
                    <a:pt x="717" y="1557"/>
                    <a:pt x="717" y="1577"/>
                    <a:pt x="697" y="1577"/>
                  </a:cubicBezTo>
                  <a:cubicBezTo>
                    <a:pt x="697" y="1577"/>
                    <a:pt x="697" y="1557"/>
                    <a:pt x="676" y="1557"/>
                  </a:cubicBezTo>
                  <a:lnTo>
                    <a:pt x="676" y="1557"/>
                  </a:lnTo>
                  <a:cubicBezTo>
                    <a:pt x="656" y="1536"/>
                    <a:pt x="656" y="1557"/>
                    <a:pt x="635" y="1557"/>
                  </a:cubicBezTo>
                  <a:lnTo>
                    <a:pt x="594" y="1557"/>
                  </a:lnTo>
                  <a:cubicBezTo>
                    <a:pt x="574" y="1577"/>
                    <a:pt x="553" y="1577"/>
                    <a:pt x="533" y="1598"/>
                  </a:cubicBezTo>
                  <a:cubicBezTo>
                    <a:pt x="533" y="1598"/>
                    <a:pt x="512" y="1618"/>
                    <a:pt x="512" y="1639"/>
                  </a:cubicBezTo>
                  <a:lnTo>
                    <a:pt x="533" y="1659"/>
                  </a:lnTo>
                  <a:cubicBezTo>
                    <a:pt x="533" y="1680"/>
                    <a:pt x="533" y="1700"/>
                    <a:pt x="533" y="1700"/>
                  </a:cubicBezTo>
                  <a:cubicBezTo>
                    <a:pt x="512" y="1700"/>
                    <a:pt x="512" y="1721"/>
                    <a:pt x="512" y="1721"/>
                  </a:cubicBezTo>
                  <a:cubicBezTo>
                    <a:pt x="492" y="1721"/>
                    <a:pt x="471" y="1721"/>
                    <a:pt x="471" y="1721"/>
                  </a:cubicBezTo>
                  <a:cubicBezTo>
                    <a:pt x="471" y="1721"/>
                    <a:pt x="451" y="1741"/>
                    <a:pt x="451" y="1762"/>
                  </a:cubicBezTo>
                  <a:lnTo>
                    <a:pt x="430" y="1762"/>
                  </a:lnTo>
                  <a:cubicBezTo>
                    <a:pt x="430" y="1762"/>
                    <a:pt x="410" y="1762"/>
                    <a:pt x="389" y="1762"/>
                  </a:cubicBezTo>
                  <a:lnTo>
                    <a:pt x="368" y="1762"/>
                  </a:lnTo>
                  <a:cubicBezTo>
                    <a:pt x="368" y="1762"/>
                    <a:pt x="348" y="1762"/>
                    <a:pt x="328" y="1762"/>
                  </a:cubicBezTo>
                  <a:cubicBezTo>
                    <a:pt x="328" y="1762"/>
                    <a:pt x="307" y="1782"/>
                    <a:pt x="287" y="1782"/>
                  </a:cubicBezTo>
                  <a:cubicBezTo>
                    <a:pt x="266" y="1782"/>
                    <a:pt x="246" y="1803"/>
                    <a:pt x="246" y="1803"/>
                  </a:cubicBezTo>
                  <a:cubicBezTo>
                    <a:pt x="225" y="1803"/>
                    <a:pt x="225" y="1803"/>
                    <a:pt x="205" y="1823"/>
                  </a:cubicBezTo>
                  <a:cubicBezTo>
                    <a:pt x="164" y="1721"/>
                    <a:pt x="164" y="1721"/>
                    <a:pt x="164" y="1721"/>
                  </a:cubicBezTo>
                  <a:lnTo>
                    <a:pt x="164" y="1721"/>
                  </a:lnTo>
                  <a:lnTo>
                    <a:pt x="143" y="1700"/>
                  </a:lnTo>
                  <a:cubicBezTo>
                    <a:pt x="143" y="1700"/>
                    <a:pt x="123" y="1680"/>
                    <a:pt x="123" y="1659"/>
                  </a:cubicBezTo>
                  <a:lnTo>
                    <a:pt x="123" y="1639"/>
                  </a:lnTo>
                  <a:cubicBezTo>
                    <a:pt x="0" y="1270"/>
                    <a:pt x="0" y="1270"/>
                    <a:pt x="0" y="1270"/>
                  </a:cubicBezTo>
                  <a:cubicBezTo>
                    <a:pt x="348" y="1086"/>
                    <a:pt x="348" y="1086"/>
                    <a:pt x="348" y="1086"/>
                  </a:cubicBezTo>
                  <a:cubicBezTo>
                    <a:pt x="615" y="655"/>
                    <a:pt x="615" y="655"/>
                    <a:pt x="615" y="655"/>
                  </a:cubicBezTo>
                  <a:cubicBezTo>
                    <a:pt x="533" y="492"/>
                    <a:pt x="533" y="492"/>
                    <a:pt x="533" y="492"/>
                  </a:cubicBezTo>
                  <a:cubicBezTo>
                    <a:pt x="553" y="286"/>
                    <a:pt x="553" y="286"/>
                    <a:pt x="553" y="286"/>
                  </a:cubicBezTo>
                  <a:lnTo>
                    <a:pt x="574" y="286"/>
                  </a:lnTo>
                  <a:cubicBezTo>
                    <a:pt x="594" y="286"/>
                    <a:pt x="594" y="266"/>
                    <a:pt x="615" y="266"/>
                  </a:cubicBezTo>
                  <a:cubicBezTo>
                    <a:pt x="615" y="246"/>
                    <a:pt x="615" y="225"/>
                    <a:pt x="615" y="225"/>
                  </a:cubicBezTo>
                  <a:cubicBezTo>
                    <a:pt x="615" y="204"/>
                    <a:pt x="594" y="204"/>
                    <a:pt x="594" y="184"/>
                  </a:cubicBezTo>
                  <a:lnTo>
                    <a:pt x="594" y="164"/>
                  </a:lnTo>
                  <a:cubicBezTo>
                    <a:pt x="574" y="143"/>
                    <a:pt x="574" y="122"/>
                    <a:pt x="574" y="122"/>
                  </a:cubicBezTo>
                  <a:cubicBezTo>
                    <a:pt x="594" y="122"/>
                    <a:pt x="594" y="102"/>
                    <a:pt x="594" y="82"/>
                  </a:cubicBezTo>
                  <a:lnTo>
                    <a:pt x="615" y="61"/>
                  </a:lnTo>
                  <a:cubicBezTo>
                    <a:pt x="635" y="61"/>
                    <a:pt x="656" y="40"/>
                    <a:pt x="656" y="40"/>
                  </a:cubicBezTo>
                  <a:cubicBezTo>
                    <a:pt x="656" y="40"/>
                    <a:pt x="656" y="20"/>
                    <a:pt x="676" y="20"/>
                  </a:cubicBezTo>
                  <a:cubicBezTo>
                    <a:pt x="676" y="20"/>
                    <a:pt x="676" y="20"/>
                    <a:pt x="676" y="0"/>
                  </a:cubicBezTo>
                  <a:cubicBezTo>
                    <a:pt x="676" y="20"/>
                    <a:pt x="697" y="20"/>
                    <a:pt x="697" y="40"/>
                  </a:cubicBezTo>
                  <a:cubicBezTo>
                    <a:pt x="697" y="40"/>
                    <a:pt x="697" y="61"/>
                    <a:pt x="717" y="82"/>
                  </a:cubicBezTo>
                  <a:cubicBezTo>
                    <a:pt x="717" y="82"/>
                    <a:pt x="717" y="102"/>
                    <a:pt x="738" y="102"/>
                  </a:cubicBezTo>
                  <a:cubicBezTo>
                    <a:pt x="738" y="122"/>
                    <a:pt x="758" y="122"/>
                    <a:pt x="758" y="143"/>
                  </a:cubicBezTo>
                  <a:cubicBezTo>
                    <a:pt x="758" y="143"/>
                    <a:pt x="779" y="164"/>
                    <a:pt x="799" y="164"/>
                  </a:cubicBezTo>
                  <a:cubicBezTo>
                    <a:pt x="799" y="184"/>
                    <a:pt x="799" y="204"/>
                    <a:pt x="819" y="204"/>
                  </a:cubicBezTo>
                  <a:cubicBezTo>
                    <a:pt x="819" y="225"/>
                    <a:pt x="840" y="225"/>
                    <a:pt x="840" y="225"/>
                  </a:cubicBezTo>
                  <a:cubicBezTo>
                    <a:pt x="861" y="246"/>
                    <a:pt x="881" y="246"/>
                    <a:pt x="901" y="246"/>
                  </a:cubicBezTo>
                  <a:cubicBezTo>
                    <a:pt x="901" y="246"/>
                    <a:pt x="922" y="266"/>
                    <a:pt x="943" y="266"/>
                  </a:cubicBezTo>
                  <a:cubicBezTo>
                    <a:pt x="943" y="266"/>
                    <a:pt x="963" y="286"/>
                    <a:pt x="983" y="286"/>
                  </a:cubicBezTo>
                  <a:lnTo>
                    <a:pt x="1004" y="286"/>
                  </a:lnTo>
                  <a:cubicBezTo>
                    <a:pt x="1004" y="307"/>
                    <a:pt x="1025" y="286"/>
                    <a:pt x="1045" y="286"/>
                  </a:cubicBezTo>
                  <a:cubicBezTo>
                    <a:pt x="1045" y="286"/>
                    <a:pt x="1045" y="286"/>
                    <a:pt x="1065" y="286"/>
                  </a:cubicBezTo>
                  <a:lnTo>
                    <a:pt x="1086" y="307"/>
                  </a:lnTo>
                  <a:cubicBezTo>
                    <a:pt x="1086" y="307"/>
                    <a:pt x="1107" y="328"/>
                    <a:pt x="1107" y="348"/>
                  </a:cubicBezTo>
                  <a:lnTo>
                    <a:pt x="1127" y="389"/>
                  </a:lnTo>
                  <a:cubicBezTo>
                    <a:pt x="1147" y="410"/>
                    <a:pt x="1147" y="410"/>
                    <a:pt x="1147" y="430"/>
                  </a:cubicBezTo>
                  <a:cubicBezTo>
                    <a:pt x="1168" y="430"/>
                    <a:pt x="1168" y="430"/>
                    <a:pt x="1189" y="450"/>
                  </a:cubicBezTo>
                  <a:lnTo>
                    <a:pt x="1209" y="471"/>
                  </a:lnTo>
                  <a:cubicBezTo>
                    <a:pt x="1209" y="492"/>
                    <a:pt x="1229" y="512"/>
                    <a:pt x="1229" y="512"/>
                  </a:cubicBezTo>
                  <a:cubicBezTo>
                    <a:pt x="1229" y="532"/>
                    <a:pt x="1229" y="532"/>
                    <a:pt x="1229" y="553"/>
                  </a:cubicBezTo>
                  <a:lnTo>
                    <a:pt x="1250" y="553"/>
                  </a:lnTo>
                  <a:lnTo>
                    <a:pt x="1271" y="532"/>
                  </a:lnTo>
                  <a:cubicBezTo>
                    <a:pt x="1271" y="532"/>
                    <a:pt x="1271" y="532"/>
                    <a:pt x="1271" y="55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 name="Freeform 37">
              <a:extLst>
                <a:ext uri="{FF2B5EF4-FFF2-40B4-BE49-F238E27FC236}">
                  <a16:creationId xmlns:a16="http://schemas.microsoft.com/office/drawing/2014/main" id="{8CBB1854-1EDB-D047-8F70-C73C9F6336CE}"/>
                </a:ext>
              </a:extLst>
            </p:cNvPr>
            <p:cNvSpPr>
              <a:spLocks noChangeArrowheads="1"/>
            </p:cNvSpPr>
            <p:nvPr/>
          </p:nvSpPr>
          <p:spPr bwMode="auto">
            <a:xfrm>
              <a:off x="2071688" y="5946775"/>
              <a:ext cx="30162" cy="52388"/>
            </a:xfrm>
            <a:custGeom>
              <a:avLst/>
              <a:gdLst>
                <a:gd name="T0" fmla="*/ 82 w 83"/>
                <a:gd name="T1" fmla="*/ 41 h 144"/>
                <a:gd name="T2" fmla="*/ 82 w 83"/>
                <a:gd name="T3" fmla="*/ 41 h 144"/>
                <a:gd name="T4" fmla="*/ 61 w 83"/>
                <a:gd name="T5" fmla="*/ 82 h 144"/>
                <a:gd name="T6" fmla="*/ 61 w 83"/>
                <a:gd name="T7" fmla="*/ 123 h 144"/>
                <a:gd name="T8" fmla="*/ 41 w 83"/>
                <a:gd name="T9" fmla="*/ 143 h 144"/>
                <a:gd name="T10" fmla="*/ 0 w 83"/>
                <a:gd name="T11" fmla="*/ 41 h 144"/>
                <a:gd name="T12" fmla="*/ 0 w 83"/>
                <a:gd name="T13" fmla="*/ 41 h 144"/>
                <a:gd name="T14" fmla="*/ 20 w 83"/>
                <a:gd name="T15" fmla="*/ 20 h 144"/>
                <a:gd name="T16" fmla="*/ 41 w 83"/>
                <a:gd name="T17" fmla="*/ 0 h 144"/>
                <a:gd name="T18" fmla="*/ 61 w 83"/>
                <a:gd name="T19" fmla="*/ 20 h 144"/>
                <a:gd name="T20" fmla="*/ 82 w 83"/>
                <a:gd name="T21" fmla="*/ 41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44">
                  <a:moveTo>
                    <a:pt x="82" y="41"/>
                  </a:moveTo>
                  <a:lnTo>
                    <a:pt x="82" y="41"/>
                  </a:lnTo>
                  <a:cubicBezTo>
                    <a:pt x="82" y="41"/>
                    <a:pt x="82" y="82"/>
                    <a:pt x="61" y="82"/>
                  </a:cubicBezTo>
                  <a:cubicBezTo>
                    <a:pt x="61" y="82"/>
                    <a:pt x="61" y="102"/>
                    <a:pt x="61" y="123"/>
                  </a:cubicBezTo>
                  <a:cubicBezTo>
                    <a:pt x="61" y="123"/>
                    <a:pt x="41" y="123"/>
                    <a:pt x="41" y="143"/>
                  </a:cubicBezTo>
                  <a:cubicBezTo>
                    <a:pt x="0" y="41"/>
                    <a:pt x="0" y="41"/>
                    <a:pt x="0" y="41"/>
                  </a:cubicBezTo>
                  <a:lnTo>
                    <a:pt x="0" y="41"/>
                  </a:lnTo>
                  <a:cubicBezTo>
                    <a:pt x="20" y="41"/>
                    <a:pt x="20" y="20"/>
                    <a:pt x="20" y="20"/>
                  </a:cubicBezTo>
                  <a:cubicBezTo>
                    <a:pt x="41" y="20"/>
                    <a:pt x="41" y="0"/>
                    <a:pt x="41" y="0"/>
                  </a:cubicBezTo>
                  <a:cubicBezTo>
                    <a:pt x="41" y="0"/>
                    <a:pt x="61" y="0"/>
                    <a:pt x="61" y="20"/>
                  </a:cubicBezTo>
                  <a:lnTo>
                    <a:pt x="82"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 name="Freeform 38">
              <a:extLst>
                <a:ext uri="{FF2B5EF4-FFF2-40B4-BE49-F238E27FC236}">
                  <a16:creationId xmlns:a16="http://schemas.microsoft.com/office/drawing/2014/main" id="{10299BE8-C4AF-9044-9FCC-21BAFC6CE28D}"/>
                </a:ext>
              </a:extLst>
            </p:cNvPr>
            <p:cNvSpPr>
              <a:spLocks noChangeArrowheads="1"/>
            </p:cNvSpPr>
            <p:nvPr/>
          </p:nvSpPr>
          <p:spPr bwMode="auto">
            <a:xfrm>
              <a:off x="2005013" y="5976938"/>
              <a:ext cx="15875" cy="7937"/>
            </a:xfrm>
            <a:custGeom>
              <a:avLst/>
              <a:gdLst>
                <a:gd name="T0" fmla="*/ 41 w 42"/>
                <a:gd name="T1" fmla="*/ 20 h 21"/>
                <a:gd name="T2" fmla="*/ 41 w 42"/>
                <a:gd name="T3" fmla="*/ 20 h 21"/>
                <a:gd name="T4" fmla="*/ 41 w 42"/>
                <a:gd name="T5" fmla="*/ 20 h 21"/>
                <a:gd name="T6" fmla="*/ 21 w 42"/>
                <a:gd name="T7" fmla="*/ 20 h 21"/>
                <a:gd name="T8" fmla="*/ 0 w 42"/>
                <a:gd name="T9" fmla="*/ 0 h 21"/>
                <a:gd name="T10" fmla="*/ 21 w 42"/>
                <a:gd name="T11" fmla="*/ 0 h 21"/>
                <a:gd name="T12" fmla="*/ 21 w 42"/>
                <a:gd name="T13" fmla="*/ 0 h 21"/>
                <a:gd name="T14" fmla="*/ 41 w 42"/>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1">
                  <a:moveTo>
                    <a:pt x="41" y="20"/>
                  </a:moveTo>
                  <a:lnTo>
                    <a:pt x="41" y="20"/>
                  </a:lnTo>
                  <a:lnTo>
                    <a:pt x="41" y="20"/>
                  </a:lnTo>
                  <a:cubicBezTo>
                    <a:pt x="21" y="20"/>
                    <a:pt x="21" y="20"/>
                    <a:pt x="21" y="20"/>
                  </a:cubicBezTo>
                  <a:cubicBezTo>
                    <a:pt x="21" y="20"/>
                    <a:pt x="0" y="20"/>
                    <a:pt x="0" y="0"/>
                  </a:cubicBezTo>
                  <a:cubicBezTo>
                    <a:pt x="21" y="0"/>
                    <a:pt x="21" y="0"/>
                    <a:pt x="21" y="0"/>
                  </a:cubicBezTo>
                  <a:lnTo>
                    <a:pt x="21" y="0"/>
                  </a:lnTo>
                  <a:cubicBezTo>
                    <a:pt x="41" y="0"/>
                    <a:pt x="41" y="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 name="Freeform 39">
              <a:extLst>
                <a:ext uri="{FF2B5EF4-FFF2-40B4-BE49-F238E27FC236}">
                  <a16:creationId xmlns:a16="http://schemas.microsoft.com/office/drawing/2014/main" id="{DBEA1A67-0D2F-C04C-874C-063A4D0F6738}"/>
                </a:ext>
              </a:extLst>
            </p:cNvPr>
            <p:cNvSpPr>
              <a:spLocks noChangeArrowheads="1"/>
            </p:cNvSpPr>
            <p:nvPr/>
          </p:nvSpPr>
          <p:spPr bwMode="auto">
            <a:xfrm>
              <a:off x="2027238" y="5999163"/>
              <a:ext cx="15875" cy="15875"/>
            </a:xfrm>
            <a:custGeom>
              <a:avLst/>
              <a:gdLst>
                <a:gd name="T0" fmla="*/ 20 w 42"/>
                <a:gd name="T1" fmla="*/ 41 h 42"/>
                <a:gd name="T2" fmla="*/ 20 w 42"/>
                <a:gd name="T3" fmla="*/ 41 h 42"/>
                <a:gd name="T4" fmla="*/ 41 w 42"/>
                <a:gd name="T5" fmla="*/ 21 h 42"/>
                <a:gd name="T6" fmla="*/ 20 w 42"/>
                <a:gd name="T7" fmla="*/ 21 h 42"/>
                <a:gd name="T8" fmla="*/ 20 w 42"/>
                <a:gd name="T9" fmla="*/ 0 h 42"/>
                <a:gd name="T10" fmla="*/ 0 w 42"/>
                <a:gd name="T11" fmla="*/ 21 h 42"/>
                <a:gd name="T12" fmla="*/ 20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1"/>
                  </a:moveTo>
                  <a:lnTo>
                    <a:pt x="20" y="41"/>
                  </a:lnTo>
                  <a:lnTo>
                    <a:pt x="41" y="21"/>
                  </a:lnTo>
                  <a:lnTo>
                    <a:pt x="20" y="21"/>
                  </a:lnTo>
                  <a:lnTo>
                    <a:pt x="20" y="0"/>
                  </a:lnTo>
                  <a:cubicBezTo>
                    <a:pt x="20" y="21"/>
                    <a:pt x="0" y="21"/>
                    <a:pt x="0" y="21"/>
                  </a:cubicBezTo>
                  <a:cubicBezTo>
                    <a:pt x="0" y="21"/>
                    <a:pt x="0" y="2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 name="Freeform 40">
              <a:extLst>
                <a:ext uri="{FF2B5EF4-FFF2-40B4-BE49-F238E27FC236}">
                  <a16:creationId xmlns:a16="http://schemas.microsoft.com/office/drawing/2014/main" id="{7E1666C9-E4EF-6C48-929F-F7679E900EAE}"/>
                </a:ext>
              </a:extLst>
            </p:cNvPr>
            <p:cNvSpPr>
              <a:spLocks noChangeArrowheads="1"/>
            </p:cNvSpPr>
            <p:nvPr/>
          </p:nvSpPr>
          <p:spPr bwMode="auto">
            <a:xfrm>
              <a:off x="1931988" y="6110288"/>
              <a:ext cx="15875" cy="7937"/>
            </a:xfrm>
            <a:custGeom>
              <a:avLst/>
              <a:gdLst>
                <a:gd name="T0" fmla="*/ 41 w 42"/>
                <a:gd name="T1" fmla="*/ 20 h 21"/>
                <a:gd name="T2" fmla="*/ 41 w 42"/>
                <a:gd name="T3" fmla="*/ 20 h 21"/>
                <a:gd name="T4" fmla="*/ 41 w 42"/>
                <a:gd name="T5" fmla="*/ 20 h 21"/>
                <a:gd name="T6" fmla="*/ 21 w 42"/>
                <a:gd name="T7" fmla="*/ 20 h 21"/>
                <a:gd name="T8" fmla="*/ 0 w 42"/>
                <a:gd name="T9" fmla="*/ 20 h 21"/>
                <a:gd name="T10" fmla="*/ 0 w 42"/>
                <a:gd name="T11" fmla="*/ 0 h 21"/>
                <a:gd name="T12" fmla="*/ 21 w 42"/>
                <a:gd name="T13" fmla="*/ 0 h 21"/>
                <a:gd name="T14" fmla="*/ 41 w 42"/>
                <a:gd name="T15" fmla="*/ 0 h 21"/>
                <a:gd name="T16" fmla="*/ 41 w 42"/>
                <a:gd name="T17" fmla="*/ 0 h 21"/>
                <a:gd name="T18" fmla="*/ 41 w 42"/>
                <a:gd name="T19"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1">
                  <a:moveTo>
                    <a:pt x="41" y="20"/>
                  </a:moveTo>
                  <a:lnTo>
                    <a:pt x="41" y="20"/>
                  </a:lnTo>
                  <a:lnTo>
                    <a:pt x="41" y="20"/>
                  </a:lnTo>
                  <a:cubicBezTo>
                    <a:pt x="21" y="20"/>
                    <a:pt x="21" y="20"/>
                    <a:pt x="21" y="20"/>
                  </a:cubicBezTo>
                  <a:lnTo>
                    <a:pt x="0" y="20"/>
                  </a:lnTo>
                  <a:lnTo>
                    <a:pt x="0" y="0"/>
                  </a:lnTo>
                  <a:lnTo>
                    <a:pt x="21" y="0"/>
                  </a:lnTo>
                  <a:cubicBezTo>
                    <a:pt x="21" y="0"/>
                    <a:pt x="21" y="0"/>
                    <a:pt x="41" y="0"/>
                  </a:cubicBezTo>
                  <a:lnTo>
                    <a:pt x="41" y="0"/>
                  </a:lnTo>
                  <a:lnTo>
                    <a:pt x="4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 name="Freeform 41">
              <a:extLst>
                <a:ext uri="{FF2B5EF4-FFF2-40B4-BE49-F238E27FC236}">
                  <a16:creationId xmlns:a16="http://schemas.microsoft.com/office/drawing/2014/main" id="{639FF891-E663-F840-AE2C-C391FC170895}"/>
                </a:ext>
              </a:extLst>
            </p:cNvPr>
            <p:cNvSpPr>
              <a:spLocks noChangeArrowheads="1"/>
            </p:cNvSpPr>
            <p:nvPr/>
          </p:nvSpPr>
          <p:spPr bwMode="auto">
            <a:xfrm>
              <a:off x="1954213" y="6102350"/>
              <a:ext cx="7937" cy="15875"/>
            </a:xfrm>
            <a:custGeom>
              <a:avLst/>
              <a:gdLst>
                <a:gd name="T0" fmla="*/ 20 w 21"/>
                <a:gd name="T1" fmla="*/ 0 h 42"/>
                <a:gd name="T2" fmla="*/ 20 w 21"/>
                <a:gd name="T3" fmla="*/ 0 h 42"/>
                <a:gd name="T4" fmla="*/ 20 w 21"/>
                <a:gd name="T5" fmla="*/ 0 h 42"/>
                <a:gd name="T6" fmla="*/ 20 w 21"/>
                <a:gd name="T7" fmla="*/ 0 h 42"/>
                <a:gd name="T8" fmla="*/ 20 w 21"/>
                <a:gd name="T9" fmla="*/ 21 h 42"/>
                <a:gd name="T10" fmla="*/ 0 w 21"/>
                <a:gd name="T11" fmla="*/ 21 h 42"/>
                <a:gd name="T12" fmla="*/ 0 w 21"/>
                <a:gd name="T13" fmla="*/ 41 h 42"/>
                <a:gd name="T14" fmla="*/ 20 w 21"/>
                <a:gd name="T15" fmla="*/ 41 h 42"/>
                <a:gd name="T16" fmla="*/ 20 w 21"/>
                <a:gd name="T17" fmla="*/ 41 h 42"/>
                <a:gd name="T18" fmla="*/ 20 w 21"/>
                <a:gd name="T19" fmla="*/ 21 h 42"/>
                <a:gd name="T20" fmla="*/ 20 w 21"/>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42">
                  <a:moveTo>
                    <a:pt x="20" y="0"/>
                  </a:moveTo>
                  <a:lnTo>
                    <a:pt x="20" y="0"/>
                  </a:lnTo>
                  <a:lnTo>
                    <a:pt x="20" y="0"/>
                  </a:lnTo>
                  <a:lnTo>
                    <a:pt x="20" y="0"/>
                  </a:lnTo>
                  <a:cubicBezTo>
                    <a:pt x="20" y="21"/>
                    <a:pt x="20" y="21"/>
                    <a:pt x="20" y="21"/>
                  </a:cubicBezTo>
                  <a:cubicBezTo>
                    <a:pt x="0" y="21"/>
                    <a:pt x="0" y="21"/>
                    <a:pt x="0" y="21"/>
                  </a:cubicBezTo>
                  <a:lnTo>
                    <a:pt x="0" y="41"/>
                  </a:lnTo>
                  <a:lnTo>
                    <a:pt x="20" y="41"/>
                  </a:lnTo>
                  <a:lnTo>
                    <a:pt x="20" y="41"/>
                  </a:lnTo>
                  <a:lnTo>
                    <a:pt x="20" y="21"/>
                  </a:lnTo>
                  <a:cubicBezTo>
                    <a:pt x="20" y="21"/>
                    <a:pt x="20" y="21"/>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 name="Freeform 42">
              <a:extLst>
                <a:ext uri="{FF2B5EF4-FFF2-40B4-BE49-F238E27FC236}">
                  <a16:creationId xmlns:a16="http://schemas.microsoft.com/office/drawing/2014/main" id="{B19DF300-7E3B-4B4C-A852-3E65608F700B}"/>
                </a:ext>
              </a:extLst>
            </p:cNvPr>
            <p:cNvSpPr>
              <a:spLocks noChangeArrowheads="1"/>
            </p:cNvSpPr>
            <p:nvPr/>
          </p:nvSpPr>
          <p:spPr bwMode="auto">
            <a:xfrm>
              <a:off x="1968500" y="6065838"/>
              <a:ext cx="14288" cy="15875"/>
            </a:xfrm>
            <a:custGeom>
              <a:avLst/>
              <a:gdLst>
                <a:gd name="T0" fmla="*/ 20 w 41"/>
                <a:gd name="T1" fmla="*/ 21 h 43"/>
                <a:gd name="T2" fmla="*/ 20 w 41"/>
                <a:gd name="T3" fmla="*/ 21 h 43"/>
                <a:gd name="T4" fmla="*/ 20 w 41"/>
                <a:gd name="T5" fmla="*/ 42 h 43"/>
                <a:gd name="T6" fmla="*/ 0 w 41"/>
                <a:gd name="T7" fmla="*/ 21 h 43"/>
                <a:gd name="T8" fmla="*/ 20 w 41"/>
                <a:gd name="T9" fmla="*/ 0 h 43"/>
                <a:gd name="T10" fmla="*/ 20 w 41"/>
                <a:gd name="T11" fmla="*/ 0 h 43"/>
                <a:gd name="T12" fmla="*/ 20 w 41"/>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41" h="43">
                  <a:moveTo>
                    <a:pt x="20" y="21"/>
                  </a:moveTo>
                  <a:lnTo>
                    <a:pt x="20" y="21"/>
                  </a:lnTo>
                  <a:cubicBezTo>
                    <a:pt x="20" y="42"/>
                    <a:pt x="20" y="42"/>
                    <a:pt x="20" y="42"/>
                  </a:cubicBezTo>
                  <a:cubicBezTo>
                    <a:pt x="0" y="42"/>
                    <a:pt x="0" y="21"/>
                    <a:pt x="0" y="21"/>
                  </a:cubicBezTo>
                  <a:cubicBezTo>
                    <a:pt x="0" y="21"/>
                    <a:pt x="0" y="0"/>
                    <a:pt x="20" y="0"/>
                  </a:cubicBezTo>
                  <a:lnTo>
                    <a:pt x="20" y="0"/>
                  </a:lnTo>
                  <a:cubicBezTo>
                    <a:pt x="40" y="21"/>
                    <a:pt x="20"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 name="Freeform 43">
              <a:extLst>
                <a:ext uri="{FF2B5EF4-FFF2-40B4-BE49-F238E27FC236}">
                  <a16:creationId xmlns:a16="http://schemas.microsoft.com/office/drawing/2014/main" id="{48A09CD6-5A2A-F04B-A45C-25B361F3B8CF}"/>
                </a:ext>
              </a:extLst>
            </p:cNvPr>
            <p:cNvSpPr>
              <a:spLocks noChangeArrowheads="1"/>
            </p:cNvSpPr>
            <p:nvPr/>
          </p:nvSpPr>
          <p:spPr bwMode="auto">
            <a:xfrm>
              <a:off x="1851025" y="6088063"/>
              <a:ext cx="7938" cy="7937"/>
            </a:xfrm>
            <a:custGeom>
              <a:avLst/>
              <a:gdLst>
                <a:gd name="T0" fmla="*/ 20 w 21"/>
                <a:gd name="T1" fmla="*/ 20 h 21"/>
                <a:gd name="T2" fmla="*/ 20 w 21"/>
                <a:gd name="T3" fmla="*/ 20 h 21"/>
                <a:gd name="T4" fmla="*/ 20 w 21"/>
                <a:gd name="T5" fmla="*/ 20 h 21"/>
                <a:gd name="T6" fmla="*/ 0 w 21"/>
                <a:gd name="T7" fmla="*/ 20 h 21"/>
                <a:gd name="T8" fmla="*/ 0 w 21"/>
                <a:gd name="T9" fmla="*/ 0 h 21"/>
                <a:gd name="T10" fmla="*/ 20 w 21"/>
                <a:gd name="T11" fmla="*/ 0 h 21"/>
                <a:gd name="T12" fmla="*/ 20 w 21"/>
                <a:gd name="T13" fmla="*/ 0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lnTo>
                    <a:pt x="20" y="20"/>
                  </a:lnTo>
                  <a:lnTo>
                    <a:pt x="20" y="20"/>
                  </a:lnTo>
                  <a:cubicBezTo>
                    <a:pt x="0" y="20"/>
                    <a:pt x="0" y="20"/>
                    <a:pt x="0" y="20"/>
                  </a:cubicBezTo>
                  <a:lnTo>
                    <a:pt x="0" y="0"/>
                  </a:lnTo>
                  <a:cubicBezTo>
                    <a:pt x="0" y="0"/>
                    <a:pt x="0" y="0"/>
                    <a:pt x="20" y="0"/>
                  </a:cubicBezTo>
                  <a:lnTo>
                    <a:pt x="20" y="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 name="Freeform 44">
              <a:extLst>
                <a:ext uri="{FF2B5EF4-FFF2-40B4-BE49-F238E27FC236}">
                  <a16:creationId xmlns:a16="http://schemas.microsoft.com/office/drawing/2014/main" id="{C95A7252-85F3-5F44-A1A1-EAC39EF16419}"/>
                </a:ext>
              </a:extLst>
            </p:cNvPr>
            <p:cNvSpPr>
              <a:spLocks noChangeArrowheads="1"/>
            </p:cNvSpPr>
            <p:nvPr/>
          </p:nvSpPr>
          <p:spPr bwMode="auto">
            <a:xfrm>
              <a:off x="1820863" y="6094413"/>
              <a:ext cx="15875" cy="7937"/>
            </a:xfrm>
            <a:custGeom>
              <a:avLst/>
              <a:gdLst>
                <a:gd name="T0" fmla="*/ 41 w 42"/>
                <a:gd name="T1" fmla="*/ 21 h 22"/>
                <a:gd name="T2" fmla="*/ 41 w 42"/>
                <a:gd name="T3" fmla="*/ 21 h 22"/>
                <a:gd name="T4" fmla="*/ 20 w 42"/>
                <a:gd name="T5" fmla="*/ 21 h 22"/>
                <a:gd name="T6" fmla="*/ 20 w 42"/>
                <a:gd name="T7" fmla="*/ 21 h 22"/>
                <a:gd name="T8" fmla="*/ 20 w 42"/>
                <a:gd name="T9" fmla="*/ 0 h 22"/>
                <a:gd name="T10" fmla="*/ 20 w 42"/>
                <a:gd name="T11" fmla="*/ 0 h 22"/>
                <a:gd name="T12" fmla="*/ 41 w 42"/>
                <a:gd name="T13" fmla="*/ 0 h 22"/>
                <a:gd name="T14" fmla="*/ 41 w 42"/>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41" y="21"/>
                  </a:moveTo>
                  <a:lnTo>
                    <a:pt x="41" y="21"/>
                  </a:lnTo>
                  <a:lnTo>
                    <a:pt x="20" y="21"/>
                  </a:lnTo>
                  <a:lnTo>
                    <a:pt x="20" y="21"/>
                  </a:lnTo>
                  <a:cubicBezTo>
                    <a:pt x="0" y="21"/>
                    <a:pt x="0" y="0"/>
                    <a:pt x="20" y="0"/>
                  </a:cubicBezTo>
                  <a:lnTo>
                    <a:pt x="20" y="0"/>
                  </a:lnTo>
                  <a:lnTo>
                    <a:pt x="41" y="0"/>
                  </a:lnTo>
                  <a:lnTo>
                    <a:pt x="4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 name="Freeform 45">
              <a:extLst>
                <a:ext uri="{FF2B5EF4-FFF2-40B4-BE49-F238E27FC236}">
                  <a16:creationId xmlns:a16="http://schemas.microsoft.com/office/drawing/2014/main" id="{CE8F3723-9C39-934A-969C-31C77DCB5345}"/>
                </a:ext>
              </a:extLst>
            </p:cNvPr>
            <p:cNvSpPr>
              <a:spLocks noChangeArrowheads="1"/>
            </p:cNvSpPr>
            <p:nvPr/>
          </p:nvSpPr>
          <p:spPr bwMode="auto">
            <a:xfrm>
              <a:off x="1931988" y="5991225"/>
              <a:ext cx="7937" cy="7938"/>
            </a:xfrm>
            <a:custGeom>
              <a:avLst/>
              <a:gdLst>
                <a:gd name="T0" fmla="*/ 21 w 22"/>
                <a:gd name="T1" fmla="*/ 20 h 21"/>
                <a:gd name="T2" fmla="*/ 21 w 22"/>
                <a:gd name="T3" fmla="*/ 20 h 21"/>
                <a:gd name="T4" fmla="*/ 21 w 22"/>
                <a:gd name="T5" fmla="*/ 20 h 21"/>
                <a:gd name="T6" fmla="*/ 0 w 22"/>
                <a:gd name="T7" fmla="*/ 20 h 21"/>
                <a:gd name="T8" fmla="*/ 0 w 22"/>
                <a:gd name="T9" fmla="*/ 0 h 21"/>
                <a:gd name="T10" fmla="*/ 21 w 22"/>
                <a:gd name="T11" fmla="*/ 0 h 21"/>
                <a:gd name="T12" fmla="*/ 21 w 22"/>
                <a:gd name="T13" fmla="*/ 0 h 21"/>
                <a:gd name="T14" fmla="*/ 21 w 22"/>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21" y="20"/>
                  </a:moveTo>
                  <a:lnTo>
                    <a:pt x="21" y="20"/>
                  </a:lnTo>
                  <a:lnTo>
                    <a:pt x="21" y="20"/>
                  </a:lnTo>
                  <a:lnTo>
                    <a:pt x="0" y="20"/>
                  </a:lnTo>
                  <a:cubicBezTo>
                    <a:pt x="0" y="0"/>
                    <a:pt x="0" y="0"/>
                    <a:pt x="0" y="0"/>
                  </a:cubicBezTo>
                  <a:lnTo>
                    <a:pt x="21" y="0"/>
                  </a:lnTo>
                  <a:lnTo>
                    <a:pt x="21" y="0"/>
                  </a:lnTo>
                  <a:cubicBezTo>
                    <a:pt x="21" y="0"/>
                    <a:pt x="21" y="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 name="Freeform 46">
              <a:extLst>
                <a:ext uri="{FF2B5EF4-FFF2-40B4-BE49-F238E27FC236}">
                  <a16:creationId xmlns:a16="http://schemas.microsoft.com/office/drawing/2014/main" id="{5AE18E33-E1BB-3C42-AB31-C39C49ED68B9}"/>
                </a:ext>
              </a:extLst>
            </p:cNvPr>
            <p:cNvSpPr>
              <a:spLocks noChangeArrowheads="1"/>
            </p:cNvSpPr>
            <p:nvPr/>
          </p:nvSpPr>
          <p:spPr bwMode="auto">
            <a:xfrm>
              <a:off x="1851025" y="5991225"/>
              <a:ext cx="15875" cy="15875"/>
            </a:xfrm>
            <a:custGeom>
              <a:avLst/>
              <a:gdLst>
                <a:gd name="T0" fmla="*/ 20 w 42"/>
                <a:gd name="T1" fmla="*/ 20 h 42"/>
                <a:gd name="T2" fmla="*/ 20 w 42"/>
                <a:gd name="T3" fmla="*/ 20 h 42"/>
                <a:gd name="T4" fmla="*/ 20 w 42"/>
                <a:gd name="T5" fmla="*/ 20 h 42"/>
                <a:gd name="T6" fmla="*/ 0 w 42"/>
                <a:gd name="T7" fmla="*/ 20 h 42"/>
                <a:gd name="T8" fmla="*/ 20 w 42"/>
                <a:gd name="T9" fmla="*/ 0 h 42"/>
                <a:gd name="T10" fmla="*/ 41 w 42"/>
                <a:gd name="T11" fmla="*/ 0 h 42"/>
                <a:gd name="T12" fmla="*/ 41 w 42"/>
                <a:gd name="T13" fmla="*/ 20 h 42"/>
                <a:gd name="T14" fmla="*/ 20 w 42"/>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0" y="20"/>
                  </a:moveTo>
                  <a:lnTo>
                    <a:pt x="20" y="20"/>
                  </a:lnTo>
                  <a:cubicBezTo>
                    <a:pt x="20" y="41"/>
                    <a:pt x="20" y="41"/>
                    <a:pt x="20" y="20"/>
                  </a:cubicBezTo>
                  <a:lnTo>
                    <a:pt x="0" y="20"/>
                  </a:lnTo>
                  <a:cubicBezTo>
                    <a:pt x="0" y="0"/>
                    <a:pt x="20" y="0"/>
                    <a:pt x="20" y="0"/>
                  </a:cubicBezTo>
                  <a:lnTo>
                    <a:pt x="41" y="0"/>
                  </a:lnTo>
                  <a:lnTo>
                    <a:pt x="41" y="20"/>
                  </a:lnTo>
                  <a:cubicBezTo>
                    <a:pt x="41" y="20"/>
                    <a:pt x="41"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 name="Freeform 47">
              <a:extLst>
                <a:ext uri="{FF2B5EF4-FFF2-40B4-BE49-F238E27FC236}">
                  <a16:creationId xmlns:a16="http://schemas.microsoft.com/office/drawing/2014/main" id="{8C90A7DB-1DAA-FD49-8A44-72AFDFB7DE7F}"/>
                </a:ext>
              </a:extLst>
            </p:cNvPr>
            <p:cNvSpPr>
              <a:spLocks noChangeArrowheads="1"/>
            </p:cNvSpPr>
            <p:nvPr/>
          </p:nvSpPr>
          <p:spPr bwMode="auto">
            <a:xfrm>
              <a:off x="1798638" y="5962650"/>
              <a:ext cx="295275" cy="266700"/>
            </a:xfrm>
            <a:custGeom>
              <a:avLst/>
              <a:gdLst>
                <a:gd name="T0" fmla="*/ 820 w 821"/>
                <a:gd name="T1" fmla="*/ 184 h 739"/>
                <a:gd name="T2" fmla="*/ 820 w 821"/>
                <a:gd name="T3" fmla="*/ 184 h 739"/>
                <a:gd name="T4" fmla="*/ 820 w 821"/>
                <a:gd name="T5" fmla="*/ 246 h 739"/>
                <a:gd name="T6" fmla="*/ 820 w 821"/>
                <a:gd name="T7" fmla="*/ 246 h 739"/>
                <a:gd name="T8" fmla="*/ 820 w 821"/>
                <a:gd name="T9" fmla="*/ 266 h 739"/>
                <a:gd name="T10" fmla="*/ 800 w 821"/>
                <a:gd name="T11" fmla="*/ 286 h 739"/>
                <a:gd name="T12" fmla="*/ 759 w 821"/>
                <a:gd name="T13" fmla="*/ 307 h 739"/>
                <a:gd name="T14" fmla="*/ 738 w 821"/>
                <a:gd name="T15" fmla="*/ 328 h 739"/>
                <a:gd name="T16" fmla="*/ 718 w 821"/>
                <a:gd name="T17" fmla="*/ 368 h 739"/>
                <a:gd name="T18" fmla="*/ 738 w 821"/>
                <a:gd name="T19" fmla="*/ 410 h 739"/>
                <a:gd name="T20" fmla="*/ 738 w 821"/>
                <a:gd name="T21" fmla="*/ 430 h 739"/>
                <a:gd name="T22" fmla="*/ 759 w 821"/>
                <a:gd name="T23" fmla="*/ 471 h 739"/>
                <a:gd name="T24" fmla="*/ 759 w 821"/>
                <a:gd name="T25" fmla="*/ 512 h 739"/>
                <a:gd name="T26" fmla="*/ 718 w 821"/>
                <a:gd name="T27" fmla="*/ 532 h 739"/>
                <a:gd name="T28" fmla="*/ 697 w 821"/>
                <a:gd name="T29" fmla="*/ 532 h 739"/>
                <a:gd name="T30" fmla="*/ 677 w 821"/>
                <a:gd name="T31" fmla="*/ 738 h 739"/>
                <a:gd name="T32" fmla="*/ 144 w 821"/>
                <a:gd name="T33" fmla="*/ 656 h 739"/>
                <a:gd name="T34" fmla="*/ 0 w 821"/>
                <a:gd name="T35" fmla="*/ 410 h 739"/>
                <a:gd name="T36" fmla="*/ 0 w 821"/>
                <a:gd name="T37" fmla="*/ 410 h 739"/>
                <a:gd name="T38" fmla="*/ 42 w 821"/>
                <a:gd name="T39" fmla="*/ 410 h 739"/>
                <a:gd name="T40" fmla="*/ 62 w 821"/>
                <a:gd name="T41" fmla="*/ 430 h 739"/>
                <a:gd name="T42" fmla="*/ 82 w 821"/>
                <a:gd name="T43" fmla="*/ 430 h 739"/>
                <a:gd name="T44" fmla="*/ 82 w 821"/>
                <a:gd name="T45" fmla="*/ 471 h 739"/>
                <a:gd name="T46" fmla="*/ 103 w 821"/>
                <a:gd name="T47" fmla="*/ 471 h 739"/>
                <a:gd name="T48" fmla="*/ 144 w 821"/>
                <a:gd name="T49" fmla="*/ 471 h 739"/>
                <a:gd name="T50" fmla="*/ 164 w 821"/>
                <a:gd name="T51" fmla="*/ 450 h 739"/>
                <a:gd name="T52" fmla="*/ 185 w 821"/>
                <a:gd name="T53" fmla="*/ 450 h 739"/>
                <a:gd name="T54" fmla="*/ 205 w 821"/>
                <a:gd name="T55" fmla="*/ 450 h 739"/>
                <a:gd name="T56" fmla="*/ 246 w 821"/>
                <a:gd name="T57" fmla="*/ 450 h 739"/>
                <a:gd name="T58" fmla="*/ 287 w 821"/>
                <a:gd name="T59" fmla="*/ 450 h 739"/>
                <a:gd name="T60" fmla="*/ 328 w 821"/>
                <a:gd name="T61" fmla="*/ 450 h 739"/>
                <a:gd name="T62" fmla="*/ 410 w 821"/>
                <a:gd name="T63" fmla="*/ 450 h 739"/>
                <a:gd name="T64" fmla="*/ 472 w 821"/>
                <a:gd name="T65" fmla="*/ 450 h 739"/>
                <a:gd name="T66" fmla="*/ 492 w 821"/>
                <a:gd name="T67" fmla="*/ 430 h 739"/>
                <a:gd name="T68" fmla="*/ 512 w 821"/>
                <a:gd name="T69" fmla="*/ 389 h 739"/>
                <a:gd name="T70" fmla="*/ 533 w 821"/>
                <a:gd name="T71" fmla="*/ 348 h 739"/>
                <a:gd name="T72" fmla="*/ 533 w 821"/>
                <a:gd name="T73" fmla="*/ 328 h 739"/>
                <a:gd name="T74" fmla="*/ 554 w 821"/>
                <a:gd name="T75" fmla="*/ 307 h 739"/>
                <a:gd name="T76" fmla="*/ 574 w 821"/>
                <a:gd name="T77" fmla="*/ 266 h 739"/>
                <a:gd name="T78" fmla="*/ 595 w 821"/>
                <a:gd name="T79" fmla="*/ 246 h 739"/>
                <a:gd name="T80" fmla="*/ 615 w 821"/>
                <a:gd name="T81" fmla="*/ 204 h 739"/>
                <a:gd name="T82" fmla="*/ 656 w 821"/>
                <a:gd name="T83" fmla="*/ 164 h 739"/>
                <a:gd name="T84" fmla="*/ 677 w 821"/>
                <a:gd name="T85" fmla="*/ 143 h 739"/>
                <a:gd name="T86" fmla="*/ 697 w 821"/>
                <a:gd name="T87" fmla="*/ 123 h 739"/>
                <a:gd name="T88" fmla="*/ 718 w 821"/>
                <a:gd name="T89" fmla="*/ 102 h 739"/>
                <a:gd name="T90" fmla="*/ 738 w 821"/>
                <a:gd name="T91" fmla="*/ 61 h 739"/>
                <a:gd name="T92" fmla="*/ 759 w 821"/>
                <a:gd name="T93" fmla="*/ 41 h 739"/>
                <a:gd name="T94" fmla="*/ 759 w 821"/>
                <a:gd name="T95" fmla="*/ 0 h 739"/>
                <a:gd name="T96" fmla="*/ 800 w 821"/>
                <a:gd name="T97" fmla="*/ 102 h 739"/>
                <a:gd name="T98" fmla="*/ 800 w 821"/>
                <a:gd name="T99" fmla="*/ 102 h 739"/>
                <a:gd name="T100" fmla="*/ 820 w 821"/>
                <a:gd name="T101" fmla="*/ 143 h 739"/>
                <a:gd name="T102" fmla="*/ 820 w 821"/>
                <a:gd name="T103" fmla="*/ 184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21" h="739">
                  <a:moveTo>
                    <a:pt x="820" y="184"/>
                  </a:moveTo>
                  <a:lnTo>
                    <a:pt x="820" y="184"/>
                  </a:lnTo>
                  <a:cubicBezTo>
                    <a:pt x="820" y="204"/>
                    <a:pt x="820" y="225"/>
                    <a:pt x="820" y="246"/>
                  </a:cubicBezTo>
                  <a:lnTo>
                    <a:pt x="820" y="246"/>
                  </a:lnTo>
                  <a:cubicBezTo>
                    <a:pt x="820" y="266"/>
                    <a:pt x="820" y="266"/>
                    <a:pt x="820" y="266"/>
                  </a:cubicBezTo>
                  <a:cubicBezTo>
                    <a:pt x="800" y="266"/>
                    <a:pt x="800" y="286"/>
                    <a:pt x="800" y="286"/>
                  </a:cubicBezTo>
                  <a:cubicBezTo>
                    <a:pt x="800" y="286"/>
                    <a:pt x="779" y="307"/>
                    <a:pt x="759" y="307"/>
                  </a:cubicBezTo>
                  <a:lnTo>
                    <a:pt x="738" y="328"/>
                  </a:lnTo>
                  <a:cubicBezTo>
                    <a:pt x="738" y="348"/>
                    <a:pt x="738" y="368"/>
                    <a:pt x="718" y="368"/>
                  </a:cubicBezTo>
                  <a:cubicBezTo>
                    <a:pt x="718" y="368"/>
                    <a:pt x="718" y="389"/>
                    <a:pt x="738" y="410"/>
                  </a:cubicBezTo>
                  <a:lnTo>
                    <a:pt x="738" y="430"/>
                  </a:lnTo>
                  <a:cubicBezTo>
                    <a:pt x="738" y="450"/>
                    <a:pt x="759" y="450"/>
                    <a:pt x="759" y="471"/>
                  </a:cubicBezTo>
                  <a:cubicBezTo>
                    <a:pt x="759" y="471"/>
                    <a:pt x="759" y="492"/>
                    <a:pt x="759" y="512"/>
                  </a:cubicBezTo>
                  <a:cubicBezTo>
                    <a:pt x="738" y="512"/>
                    <a:pt x="738" y="532"/>
                    <a:pt x="718" y="532"/>
                  </a:cubicBezTo>
                  <a:lnTo>
                    <a:pt x="697" y="532"/>
                  </a:lnTo>
                  <a:cubicBezTo>
                    <a:pt x="677" y="738"/>
                    <a:pt x="677" y="738"/>
                    <a:pt x="677" y="738"/>
                  </a:cubicBezTo>
                  <a:cubicBezTo>
                    <a:pt x="144" y="656"/>
                    <a:pt x="144" y="656"/>
                    <a:pt x="144" y="656"/>
                  </a:cubicBezTo>
                  <a:cubicBezTo>
                    <a:pt x="0" y="410"/>
                    <a:pt x="0" y="410"/>
                    <a:pt x="0" y="410"/>
                  </a:cubicBezTo>
                  <a:lnTo>
                    <a:pt x="0" y="410"/>
                  </a:lnTo>
                  <a:cubicBezTo>
                    <a:pt x="21" y="410"/>
                    <a:pt x="21" y="410"/>
                    <a:pt x="42" y="410"/>
                  </a:cubicBezTo>
                  <a:cubicBezTo>
                    <a:pt x="42" y="430"/>
                    <a:pt x="62" y="430"/>
                    <a:pt x="62" y="430"/>
                  </a:cubicBezTo>
                  <a:lnTo>
                    <a:pt x="82" y="430"/>
                  </a:lnTo>
                  <a:cubicBezTo>
                    <a:pt x="82" y="450"/>
                    <a:pt x="82" y="471"/>
                    <a:pt x="82" y="471"/>
                  </a:cubicBezTo>
                  <a:lnTo>
                    <a:pt x="103" y="471"/>
                  </a:lnTo>
                  <a:cubicBezTo>
                    <a:pt x="124" y="471"/>
                    <a:pt x="124" y="471"/>
                    <a:pt x="144" y="471"/>
                  </a:cubicBezTo>
                  <a:cubicBezTo>
                    <a:pt x="144" y="471"/>
                    <a:pt x="164" y="471"/>
                    <a:pt x="164" y="450"/>
                  </a:cubicBezTo>
                  <a:lnTo>
                    <a:pt x="185" y="450"/>
                  </a:lnTo>
                  <a:cubicBezTo>
                    <a:pt x="185" y="430"/>
                    <a:pt x="205" y="450"/>
                    <a:pt x="205" y="450"/>
                  </a:cubicBezTo>
                  <a:cubicBezTo>
                    <a:pt x="226" y="450"/>
                    <a:pt x="246" y="430"/>
                    <a:pt x="246" y="450"/>
                  </a:cubicBezTo>
                  <a:cubicBezTo>
                    <a:pt x="267" y="450"/>
                    <a:pt x="287" y="450"/>
                    <a:pt x="287" y="450"/>
                  </a:cubicBezTo>
                  <a:cubicBezTo>
                    <a:pt x="308" y="450"/>
                    <a:pt x="328" y="450"/>
                    <a:pt x="328" y="450"/>
                  </a:cubicBezTo>
                  <a:cubicBezTo>
                    <a:pt x="349" y="450"/>
                    <a:pt x="390" y="471"/>
                    <a:pt x="410" y="450"/>
                  </a:cubicBezTo>
                  <a:cubicBezTo>
                    <a:pt x="431" y="450"/>
                    <a:pt x="451" y="450"/>
                    <a:pt x="472" y="450"/>
                  </a:cubicBezTo>
                  <a:lnTo>
                    <a:pt x="492" y="430"/>
                  </a:lnTo>
                  <a:cubicBezTo>
                    <a:pt x="492" y="410"/>
                    <a:pt x="492" y="389"/>
                    <a:pt x="512" y="389"/>
                  </a:cubicBezTo>
                  <a:cubicBezTo>
                    <a:pt x="512" y="368"/>
                    <a:pt x="512" y="368"/>
                    <a:pt x="533" y="348"/>
                  </a:cubicBezTo>
                  <a:lnTo>
                    <a:pt x="533" y="328"/>
                  </a:lnTo>
                  <a:cubicBezTo>
                    <a:pt x="533" y="307"/>
                    <a:pt x="533" y="307"/>
                    <a:pt x="554" y="307"/>
                  </a:cubicBezTo>
                  <a:cubicBezTo>
                    <a:pt x="554" y="286"/>
                    <a:pt x="554" y="286"/>
                    <a:pt x="574" y="266"/>
                  </a:cubicBezTo>
                  <a:cubicBezTo>
                    <a:pt x="574" y="266"/>
                    <a:pt x="574" y="246"/>
                    <a:pt x="595" y="246"/>
                  </a:cubicBezTo>
                  <a:cubicBezTo>
                    <a:pt x="595" y="225"/>
                    <a:pt x="615" y="204"/>
                    <a:pt x="615" y="204"/>
                  </a:cubicBezTo>
                  <a:cubicBezTo>
                    <a:pt x="615" y="184"/>
                    <a:pt x="636" y="184"/>
                    <a:pt x="656" y="164"/>
                  </a:cubicBezTo>
                  <a:cubicBezTo>
                    <a:pt x="656" y="164"/>
                    <a:pt x="677" y="164"/>
                    <a:pt x="677" y="143"/>
                  </a:cubicBezTo>
                  <a:lnTo>
                    <a:pt x="697" y="123"/>
                  </a:lnTo>
                  <a:cubicBezTo>
                    <a:pt x="718" y="123"/>
                    <a:pt x="718" y="102"/>
                    <a:pt x="718" y="102"/>
                  </a:cubicBezTo>
                  <a:cubicBezTo>
                    <a:pt x="738" y="82"/>
                    <a:pt x="738" y="82"/>
                    <a:pt x="738" y="61"/>
                  </a:cubicBezTo>
                  <a:lnTo>
                    <a:pt x="759" y="41"/>
                  </a:lnTo>
                  <a:cubicBezTo>
                    <a:pt x="759" y="20"/>
                    <a:pt x="759" y="20"/>
                    <a:pt x="759" y="0"/>
                  </a:cubicBezTo>
                  <a:cubicBezTo>
                    <a:pt x="800" y="102"/>
                    <a:pt x="800" y="102"/>
                    <a:pt x="800" y="102"/>
                  </a:cubicBezTo>
                  <a:lnTo>
                    <a:pt x="800" y="102"/>
                  </a:lnTo>
                  <a:cubicBezTo>
                    <a:pt x="800" y="102"/>
                    <a:pt x="820" y="123"/>
                    <a:pt x="820" y="143"/>
                  </a:cubicBezTo>
                  <a:cubicBezTo>
                    <a:pt x="820" y="143"/>
                    <a:pt x="820" y="164"/>
                    <a:pt x="820" y="18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 name="Freeform 48">
              <a:extLst>
                <a:ext uri="{FF2B5EF4-FFF2-40B4-BE49-F238E27FC236}">
                  <a16:creationId xmlns:a16="http://schemas.microsoft.com/office/drawing/2014/main" id="{52B64F7E-67EF-EA4E-9511-312699ADCA89}"/>
                </a:ext>
              </a:extLst>
            </p:cNvPr>
            <p:cNvSpPr>
              <a:spLocks noChangeArrowheads="1"/>
            </p:cNvSpPr>
            <p:nvPr/>
          </p:nvSpPr>
          <p:spPr bwMode="auto">
            <a:xfrm>
              <a:off x="1060450" y="5076825"/>
              <a:ext cx="554038" cy="657225"/>
            </a:xfrm>
            <a:custGeom>
              <a:avLst/>
              <a:gdLst>
                <a:gd name="T0" fmla="*/ 62 w 1538"/>
                <a:gd name="T1" fmla="*/ 1106 h 1825"/>
                <a:gd name="T2" fmla="*/ 21 w 1538"/>
                <a:gd name="T3" fmla="*/ 963 h 1825"/>
                <a:gd name="T4" fmla="*/ 369 w 1538"/>
                <a:gd name="T5" fmla="*/ 614 h 1825"/>
                <a:gd name="T6" fmla="*/ 390 w 1538"/>
                <a:gd name="T7" fmla="*/ 307 h 1825"/>
                <a:gd name="T8" fmla="*/ 410 w 1538"/>
                <a:gd name="T9" fmla="*/ 184 h 1825"/>
                <a:gd name="T10" fmla="*/ 513 w 1538"/>
                <a:gd name="T11" fmla="*/ 164 h 1825"/>
                <a:gd name="T12" fmla="*/ 595 w 1538"/>
                <a:gd name="T13" fmla="*/ 61 h 1825"/>
                <a:gd name="T14" fmla="*/ 656 w 1538"/>
                <a:gd name="T15" fmla="*/ 20 h 1825"/>
                <a:gd name="T16" fmla="*/ 799 w 1538"/>
                <a:gd name="T17" fmla="*/ 20 h 1825"/>
                <a:gd name="T18" fmla="*/ 861 w 1538"/>
                <a:gd name="T19" fmla="*/ 61 h 1825"/>
                <a:gd name="T20" fmla="*/ 923 w 1538"/>
                <a:gd name="T21" fmla="*/ 41 h 1825"/>
                <a:gd name="T22" fmla="*/ 943 w 1538"/>
                <a:gd name="T23" fmla="*/ 82 h 1825"/>
                <a:gd name="T24" fmla="*/ 963 w 1538"/>
                <a:gd name="T25" fmla="*/ 205 h 1825"/>
                <a:gd name="T26" fmla="*/ 1045 w 1538"/>
                <a:gd name="T27" fmla="*/ 287 h 1825"/>
                <a:gd name="T28" fmla="*/ 1127 w 1538"/>
                <a:gd name="T29" fmla="*/ 348 h 1825"/>
                <a:gd name="T30" fmla="*/ 1189 w 1538"/>
                <a:gd name="T31" fmla="*/ 369 h 1825"/>
                <a:gd name="T32" fmla="*/ 1127 w 1538"/>
                <a:gd name="T33" fmla="*/ 410 h 1825"/>
                <a:gd name="T34" fmla="*/ 1127 w 1538"/>
                <a:gd name="T35" fmla="*/ 512 h 1825"/>
                <a:gd name="T36" fmla="*/ 1087 w 1538"/>
                <a:gd name="T37" fmla="*/ 594 h 1825"/>
                <a:gd name="T38" fmla="*/ 1087 w 1538"/>
                <a:gd name="T39" fmla="*/ 676 h 1825"/>
                <a:gd name="T40" fmla="*/ 1087 w 1538"/>
                <a:gd name="T41" fmla="*/ 799 h 1825"/>
                <a:gd name="T42" fmla="*/ 1148 w 1538"/>
                <a:gd name="T43" fmla="*/ 902 h 1825"/>
                <a:gd name="T44" fmla="*/ 1209 w 1538"/>
                <a:gd name="T45" fmla="*/ 984 h 1825"/>
                <a:gd name="T46" fmla="*/ 1271 w 1538"/>
                <a:gd name="T47" fmla="*/ 1045 h 1825"/>
                <a:gd name="T48" fmla="*/ 1353 w 1538"/>
                <a:gd name="T49" fmla="*/ 1106 h 1825"/>
                <a:gd name="T50" fmla="*/ 1394 w 1538"/>
                <a:gd name="T51" fmla="*/ 1188 h 1825"/>
                <a:gd name="T52" fmla="*/ 1435 w 1538"/>
                <a:gd name="T53" fmla="*/ 1270 h 1825"/>
                <a:gd name="T54" fmla="*/ 1415 w 1538"/>
                <a:gd name="T55" fmla="*/ 1393 h 1825"/>
                <a:gd name="T56" fmla="*/ 1455 w 1538"/>
                <a:gd name="T57" fmla="*/ 1475 h 1825"/>
                <a:gd name="T58" fmla="*/ 1496 w 1538"/>
                <a:gd name="T59" fmla="*/ 1516 h 1825"/>
                <a:gd name="T60" fmla="*/ 1517 w 1538"/>
                <a:gd name="T61" fmla="*/ 1557 h 1825"/>
                <a:gd name="T62" fmla="*/ 1537 w 1538"/>
                <a:gd name="T63" fmla="*/ 1639 h 1825"/>
                <a:gd name="T64" fmla="*/ 1517 w 1538"/>
                <a:gd name="T65" fmla="*/ 1618 h 1825"/>
                <a:gd name="T66" fmla="*/ 1475 w 1538"/>
                <a:gd name="T67" fmla="*/ 1598 h 1825"/>
                <a:gd name="T68" fmla="*/ 1435 w 1538"/>
                <a:gd name="T69" fmla="*/ 1618 h 1825"/>
                <a:gd name="T70" fmla="*/ 1353 w 1538"/>
                <a:gd name="T71" fmla="*/ 1618 h 1825"/>
                <a:gd name="T72" fmla="*/ 1312 w 1538"/>
                <a:gd name="T73" fmla="*/ 1700 h 1825"/>
                <a:gd name="T74" fmla="*/ 1271 w 1538"/>
                <a:gd name="T75" fmla="*/ 1762 h 1825"/>
                <a:gd name="T76" fmla="*/ 1271 w 1538"/>
                <a:gd name="T77" fmla="*/ 1824 h 1825"/>
                <a:gd name="T78" fmla="*/ 963 w 1538"/>
                <a:gd name="T79" fmla="*/ 1803 h 1825"/>
                <a:gd name="T80" fmla="*/ 717 w 1538"/>
                <a:gd name="T81" fmla="*/ 1639 h 1825"/>
                <a:gd name="T82" fmla="*/ 492 w 1538"/>
                <a:gd name="T83" fmla="*/ 1434 h 1825"/>
                <a:gd name="T84" fmla="*/ 349 w 1538"/>
                <a:gd name="T85" fmla="*/ 1332 h 1825"/>
                <a:gd name="T86" fmla="*/ 226 w 1538"/>
                <a:gd name="T87" fmla="*/ 1230 h 1825"/>
                <a:gd name="T88" fmla="*/ 103 w 1538"/>
                <a:gd name="T89" fmla="*/ 1168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38" h="1825">
                  <a:moveTo>
                    <a:pt x="62" y="1106"/>
                  </a:moveTo>
                  <a:lnTo>
                    <a:pt x="62" y="1106"/>
                  </a:lnTo>
                  <a:lnTo>
                    <a:pt x="62" y="1106"/>
                  </a:lnTo>
                  <a:cubicBezTo>
                    <a:pt x="62" y="1086"/>
                    <a:pt x="41" y="1045"/>
                    <a:pt x="41" y="1045"/>
                  </a:cubicBezTo>
                  <a:cubicBezTo>
                    <a:pt x="41" y="1024"/>
                    <a:pt x="41" y="1004"/>
                    <a:pt x="41" y="1004"/>
                  </a:cubicBezTo>
                  <a:cubicBezTo>
                    <a:pt x="21" y="984"/>
                    <a:pt x="21" y="963"/>
                    <a:pt x="21" y="963"/>
                  </a:cubicBezTo>
                  <a:cubicBezTo>
                    <a:pt x="21" y="942"/>
                    <a:pt x="0" y="922"/>
                    <a:pt x="0" y="922"/>
                  </a:cubicBezTo>
                  <a:cubicBezTo>
                    <a:pt x="328" y="676"/>
                    <a:pt x="328" y="676"/>
                    <a:pt x="328" y="676"/>
                  </a:cubicBezTo>
                  <a:lnTo>
                    <a:pt x="369" y="614"/>
                  </a:lnTo>
                  <a:cubicBezTo>
                    <a:pt x="369" y="594"/>
                    <a:pt x="369" y="533"/>
                    <a:pt x="390" y="512"/>
                  </a:cubicBezTo>
                  <a:cubicBezTo>
                    <a:pt x="390" y="492"/>
                    <a:pt x="390" y="430"/>
                    <a:pt x="390" y="410"/>
                  </a:cubicBezTo>
                  <a:cubicBezTo>
                    <a:pt x="390" y="369"/>
                    <a:pt x="390" y="328"/>
                    <a:pt x="390" y="307"/>
                  </a:cubicBezTo>
                  <a:cubicBezTo>
                    <a:pt x="390" y="287"/>
                    <a:pt x="369" y="266"/>
                    <a:pt x="369" y="246"/>
                  </a:cubicBezTo>
                  <a:cubicBezTo>
                    <a:pt x="369" y="246"/>
                    <a:pt x="390" y="225"/>
                    <a:pt x="390" y="205"/>
                  </a:cubicBezTo>
                  <a:lnTo>
                    <a:pt x="410" y="184"/>
                  </a:lnTo>
                  <a:cubicBezTo>
                    <a:pt x="431" y="184"/>
                    <a:pt x="431" y="184"/>
                    <a:pt x="431" y="164"/>
                  </a:cubicBezTo>
                  <a:cubicBezTo>
                    <a:pt x="451" y="164"/>
                    <a:pt x="472" y="164"/>
                    <a:pt x="472" y="164"/>
                  </a:cubicBezTo>
                  <a:cubicBezTo>
                    <a:pt x="492" y="164"/>
                    <a:pt x="513" y="164"/>
                    <a:pt x="513" y="164"/>
                  </a:cubicBezTo>
                  <a:cubicBezTo>
                    <a:pt x="533" y="143"/>
                    <a:pt x="533" y="143"/>
                    <a:pt x="554" y="143"/>
                  </a:cubicBezTo>
                  <a:cubicBezTo>
                    <a:pt x="554" y="123"/>
                    <a:pt x="574" y="123"/>
                    <a:pt x="574" y="102"/>
                  </a:cubicBezTo>
                  <a:cubicBezTo>
                    <a:pt x="595" y="102"/>
                    <a:pt x="595" y="82"/>
                    <a:pt x="595" y="61"/>
                  </a:cubicBezTo>
                  <a:cubicBezTo>
                    <a:pt x="615" y="61"/>
                    <a:pt x="636" y="41"/>
                    <a:pt x="636" y="41"/>
                  </a:cubicBezTo>
                  <a:lnTo>
                    <a:pt x="636" y="41"/>
                  </a:lnTo>
                  <a:cubicBezTo>
                    <a:pt x="636" y="41"/>
                    <a:pt x="636" y="20"/>
                    <a:pt x="656" y="20"/>
                  </a:cubicBezTo>
                  <a:cubicBezTo>
                    <a:pt x="656" y="0"/>
                    <a:pt x="677" y="0"/>
                    <a:pt x="697" y="0"/>
                  </a:cubicBezTo>
                  <a:cubicBezTo>
                    <a:pt x="697" y="0"/>
                    <a:pt x="738" y="0"/>
                    <a:pt x="738" y="20"/>
                  </a:cubicBezTo>
                  <a:cubicBezTo>
                    <a:pt x="759" y="20"/>
                    <a:pt x="779" y="20"/>
                    <a:pt x="799" y="20"/>
                  </a:cubicBezTo>
                  <a:cubicBezTo>
                    <a:pt x="799" y="20"/>
                    <a:pt x="820" y="20"/>
                    <a:pt x="841" y="20"/>
                  </a:cubicBezTo>
                  <a:cubicBezTo>
                    <a:pt x="841" y="20"/>
                    <a:pt x="841" y="20"/>
                    <a:pt x="861" y="20"/>
                  </a:cubicBezTo>
                  <a:cubicBezTo>
                    <a:pt x="861" y="41"/>
                    <a:pt x="841" y="41"/>
                    <a:pt x="861" y="61"/>
                  </a:cubicBezTo>
                  <a:lnTo>
                    <a:pt x="861" y="61"/>
                  </a:lnTo>
                  <a:cubicBezTo>
                    <a:pt x="881" y="82"/>
                    <a:pt x="902" y="82"/>
                    <a:pt x="902" y="61"/>
                  </a:cubicBezTo>
                  <a:cubicBezTo>
                    <a:pt x="923" y="61"/>
                    <a:pt x="923" y="41"/>
                    <a:pt x="923" y="41"/>
                  </a:cubicBezTo>
                  <a:cubicBezTo>
                    <a:pt x="923" y="41"/>
                    <a:pt x="923" y="41"/>
                    <a:pt x="923" y="20"/>
                  </a:cubicBezTo>
                  <a:lnTo>
                    <a:pt x="943" y="41"/>
                  </a:lnTo>
                  <a:cubicBezTo>
                    <a:pt x="943" y="41"/>
                    <a:pt x="943" y="61"/>
                    <a:pt x="943" y="82"/>
                  </a:cubicBezTo>
                  <a:cubicBezTo>
                    <a:pt x="943" y="82"/>
                    <a:pt x="943" y="102"/>
                    <a:pt x="943" y="123"/>
                  </a:cubicBezTo>
                  <a:cubicBezTo>
                    <a:pt x="943" y="123"/>
                    <a:pt x="943" y="143"/>
                    <a:pt x="943" y="164"/>
                  </a:cubicBezTo>
                  <a:cubicBezTo>
                    <a:pt x="963" y="164"/>
                    <a:pt x="963" y="184"/>
                    <a:pt x="963" y="205"/>
                  </a:cubicBezTo>
                  <a:cubicBezTo>
                    <a:pt x="963" y="225"/>
                    <a:pt x="963" y="246"/>
                    <a:pt x="963" y="246"/>
                  </a:cubicBezTo>
                  <a:cubicBezTo>
                    <a:pt x="984" y="266"/>
                    <a:pt x="1005" y="266"/>
                    <a:pt x="1005" y="266"/>
                  </a:cubicBezTo>
                  <a:cubicBezTo>
                    <a:pt x="1005" y="266"/>
                    <a:pt x="1025" y="266"/>
                    <a:pt x="1045" y="287"/>
                  </a:cubicBezTo>
                  <a:cubicBezTo>
                    <a:pt x="1045" y="287"/>
                    <a:pt x="1045" y="307"/>
                    <a:pt x="1066" y="328"/>
                  </a:cubicBezTo>
                  <a:cubicBezTo>
                    <a:pt x="1066" y="328"/>
                    <a:pt x="1066" y="348"/>
                    <a:pt x="1087" y="348"/>
                  </a:cubicBezTo>
                  <a:cubicBezTo>
                    <a:pt x="1087" y="348"/>
                    <a:pt x="1107" y="369"/>
                    <a:pt x="1127" y="348"/>
                  </a:cubicBezTo>
                  <a:lnTo>
                    <a:pt x="1127" y="348"/>
                  </a:lnTo>
                  <a:cubicBezTo>
                    <a:pt x="1148" y="348"/>
                    <a:pt x="1148" y="348"/>
                    <a:pt x="1169" y="348"/>
                  </a:cubicBezTo>
                  <a:lnTo>
                    <a:pt x="1189" y="369"/>
                  </a:lnTo>
                  <a:cubicBezTo>
                    <a:pt x="1189" y="369"/>
                    <a:pt x="1189" y="389"/>
                    <a:pt x="1169" y="389"/>
                  </a:cubicBezTo>
                  <a:lnTo>
                    <a:pt x="1148" y="389"/>
                  </a:lnTo>
                  <a:cubicBezTo>
                    <a:pt x="1148" y="389"/>
                    <a:pt x="1148" y="410"/>
                    <a:pt x="1127" y="410"/>
                  </a:cubicBezTo>
                  <a:cubicBezTo>
                    <a:pt x="1127" y="430"/>
                    <a:pt x="1148" y="451"/>
                    <a:pt x="1148" y="451"/>
                  </a:cubicBezTo>
                  <a:cubicBezTo>
                    <a:pt x="1148" y="471"/>
                    <a:pt x="1127" y="471"/>
                    <a:pt x="1127" y="492"/>
                  </a:cubicBezTo>
                  <a:lnTo>
                    <a:pt x="1127" y="512"/>
                  </a:lnTo>
                  <a:lnTo>
                    <a:pt x="1127" y="533"/>
                  </a:lnTo>
                  <a:cubicBezTo>
                    <a:pt x="1107" y="553"/>
                    <a:pt x="1107" y="574"/>
                    <a:pt x="1107" y="574"/>
                  </a:cubicBezTo>
                  <a:lnTo>
                    <a:pt x="1087" y="594"/>
                  </a:lnTo>
                  <a:lnTo>
                    <a:pt x="1087" y="614"/>
                  </a:lnTo>
                  <a:lnTo>
                    <a:pt x="1087" y="635"/>
                  </a:lnTo>
                  <a:cubicBezTo>
                    <a:pt x="1087" y="656"/>
                    <a:pt x="1087" y="676"/>
                    <a:pt x="1087" y="676"/>
                  </a:cubicBezTo>
                  <a:cubicBezTo>
                    <a:pt x="1087" y="696"/>
                    <a:pt x="1087" y="717"/>
                    <a:pt x="1066" y="717"/>
                  </a:cubicBezTo>
                  <a:cubicBezTo>
                    <a:pt x="1066" y="738"/>
                    <a:pt x="1066" y="738"/>
                    <a:pt x="1066" y="758"/>
                  </a:cubicBezTo>
                  <a:cubicBezTo>
                    <a:pt x="1066" y="758"/>
                    <a:pt x="1066" y="778"/>
                    <a:pt x="1087" y="799"/>
                  </a:cubicBezTo>
                  <a:cubicBezTo>
                    <a:pt x="1087" y="799"/>
                    <a:pt x="1087" y="820"/>
                    <a:pt x="1107" y="820"/>
                  </a:cubicBezTo>
                  <a:cubicBezTo>
                    <a:pt x="1107" y="840"/>
                    <a:pt x="1127" y="840"/>
                    <a:pt x="1127" y="860"/>
                  </a:cubicBezTo>
                  <a:cubicBezTo>
                    <a:pt x="1127" y="860"/>
                    <a:pt x="1148" y="881"/>
                    <a:pt x="1148" y="902"/>
                  </a:cubicBezTo>
                  <a:cubicBezTo>
                    <a:pt x="1148" y="902"/>
                    <a:pt x="1148" y="922"/>
                    <a:pt x="1169" y="942"/>
                  </a:cubicBezTo>
                  <a:cubicBezTo>
                    <a:pt x="1169" y="942"/>
                    <a:pt x="1169" y="963"/>
                    <a:pt x="1169" y="984"/>
                  </a:cubicBezTo>
                  <a:cubicBezTo>
                    <a:pt x="1169" y="984"/>
                    <a:pt x="1189" y="984"/>
                    <a:pt x="1209" y="984"/>
                  </a:cubicBezTo>
                  <a:lnTo>
                    <a:pt x="1230" y="984"/>
                  </a:lnTo>
                  <a:lnTo>
                    <a:pt x="1251" y="1004"/>
                  </a:lnTo>
                  <a:cubicBezTo>
                    <a:pt x="1251" y="1004"/>
                    <a:pt x="1271" y="1024"/>
                    <a:pt x="1271" y="1045"/>
                  </a:cubicBezTo>
                  <a:cubicBezTo>
                    <a:pt x="1271" y="1045"/>
                    <a:pt x="1291" y="1066"/>
                    <a:pt x="1312" y="1066"/>
                  </a:cubicBezTo>
                  <a:cubicBezTo>
                    <a:pt x="1312" y="1086"/>
                    <a:pt x="1332" y="1086"/>
                    <a:pt x="1332" y="1086"/>
                  </a:cubicBezTo>
                  <a:lnTo>
                    <a:pt x="1353" y="1106"/>
                  </a:lnTo>
                  <a:cubicBezTo>
                    <a:pt x="1353" y="1106"/>
                    <a:pt x="1373" y="1106"/>
                    <a:pt x="1373" y="1127"/>
                  </a:cubicBezTo>
                  <a:cubicBezTo>
                    <a:pt x="1373" y="1127"/>
                    <a:pt x="1373" y="1148"/>
                    <a:pt x="1373" y="1168"/>
                  </a:cubicBezTo>
                  <a:lnTo>
                    <a:pt x="1394" y="1188"/>
                  </a:lnTo>
                  <a:lnTo>
                    <a:pt x="1415" y="1209"/>
                  </a:lnTo>
                  <a:cubicBezTo>
                    <a:pt x="1415" y="1209"/>
                    <a:pt x="1415" y="1230"/>
                    <a:pt x="1435" y="1230"/>
                  </a:cubicBezTo>
                  <a:cubicBezTo>
                    <a:pt x="1435" y="1250"/>
                    <a:pt x="1435" y="1270"/>
                    <a:pt x="1435" y="1270"/>
                  </a:cubicBezTo>
                  <a:cubicBezTo>
                    <a:pt x="1435" y="1290"/>
                    <a:pt x="1415" y="1290"/>
                    <a:pt x="1415" y="1311"/>
                  </a:cubicBezTo>
                  <a:cubicBezTo>
                    <a:pt x="1415" y="1311"/>
                    <a:pt x="1415" y="1332"/>
                    <a:pt x="1415" y="1352"/>
                  </a:cubicBezTo>
                  <a:lnTo>
                    <a:pt x="1415" y="1393"/>
                  </a:lnTo>
                  <a:cubicBezTo>
                    <a:pt x="1415" y="1414"/>
                    <a:pt x="1435" y="1414"/>
                    <a:pt x="1435" y="1414"/>
                  </a:cubicBezTo>
                  <a:cubicBezTo>
                    <a:pt x="1435" y="1434"/>
                    <a:pt x="1435" y="1434"/>
                    <a:pt x="1455" y="1454"/>
                  </a:cubicBezTo>
                  <a:cubicBezTo>
                    <a:pt x="1455" y="1454"/>
                    <a:pt x="1455" y="1454"/>
                    <a:pt x="1455" y="1475"/>
                  </a:cubicBezTo>
                  <a:cubicBezTo>
                    <a:pt x="1455" y="1475"/>
                    <a:pt x="1455" y="1475"/>
                    <a:pt x="1475" y="1496"/>
                  </a:cubicBezTo>
                  <a:lnTo>
                    <a:pt x="1475" y="1496"/>
                  </a:lnTo>
                  <a:cubicBezTo>
                    <a:pt x="1496" y="1516"/>
                    <a:pt x="1496" y="1516"/>
                    <a:pt x="1496" y="1516"/>
                  </a:cubicBezTo>
                  <a:cubicBezTo>
                    <a:pt x="1496" y="1536"/>
                    <a:pt x="1496" y="1536"/>
                    <a:pt x="1496" y="1536"/>
                  </a:cubicBezTo>
                  <a:lnTo>
                    <a:pt x="1496" y="1557"/>
                  </a:lnTo>
                  <a:lnTo>
                    <a:pt x="1517" y="1557"/>
                  </a:lnTo>
                  <a:cubicBezTo>
                    <a:pt x="1517" y="1578"/>
                    <a:pt x="1517" y="1598"/>
                    <a:pt x="1517" y="1598"/>
                  </a:cubicBezTo>
                  <a:lnTo>
                    <a:pt x="1537" y="1618"/>
                  </a:lnTo>
                  <a:lnTo>
                    <a:pt x="1537" y="1639"/>
                  </a:lnTo>
                  <a:lnTo>
                    <a:pt x="1537" y="1660"/>
                  </a:lnTo>
                  <a:cubicBezTo>
                    <a:pt x="1517" y="1660"/>
                    <a:pt x="1517" y="1639"/>
                    <a:pt x="1517" y="1639"/>
                  </a:cubicBezTo>
                  <a:lnTo>
                    <a:pt x="1517" y="1618"/>
                  </a:lnTo>
                  <a:cubicBezTo>
                    <a:pt x="1517" y="1618"/>
                    <a:pt x="1496" y="1618"/>
                    <a:pt x="1496" y="1598"/>
                  </a:cubicBezTo>
                  <a:lnTo>
                    <a:pt x="1475" y="1598"/>
                  </a:lnTo>
                  <a:lnTo>
                    <a:pt x="1475" y="1598"/>
                  </a:lnTo>
                  <a:cubicBezTo>
                    <a:pt x="1455" y="1598"/>
                    <a:pt x="1455" y="1598"/>
                    <a:pt x="1455" y="1598"/>
                  </a:cubicBezTo>
                  <a:lnTo>
                    <a:pt x="1435" y="1598"/>
                  </a:lnTo>
                  <a:cubicBezTo>
                    <a:pt x="1435" y="1618"/>
                    <a:pt x="1435" y="1618"/>
                    <a:pt x="1435" y="1618"/>
                  </a:cubicBezTo>
                  <a:cubicBezTo>
                    <a:pt x="1435" y="1598"/>
                    <a:pt x="1415" y="1598"/>
                    <a:pt x="1415" y="1598"/>
                  </a:cubicBezTo>
                  <a:lnTo>
                    <a:pt x="1394" y="1598"/>
                  </a:lnTo>
                  <a:cubicBezTo>
                    <a:pt x="1373" y="1598"/>
                    <a:pt x="1373" y="1618"/>
                    <a:pt x="1353" y="1618"/>
                  </a:cubicBezTo>
                  <a:lnTo>
                    <a:pt x="1353" y="1639"/>
                  </a:lnTo>
                  <a:cubicBezTo>
                    <a:pt x="1332" y="1660"/>
                    <a:pt x="1332" y="1660"/>
                    <a:pt x="1312" y="1680"/>
                  </a:cubicBezTo>
                  <a:lnTo>
                    <a:pt x="1312" y="1700"/>
                  </a:lnTo>
                  <a:lnTo>
                    <a:pt x="1312" y="1721"/>
                  </a:lnTo>
                  <a:lnTo>
                    <a:pt x="1291" y="1742"/>
                  </a:lnTo>
                  <a:lnTo>
                    <a:pt x="1271" y="1762"/>
                  </a:lnTo>
                  <a:cubicBezTo>
                    <a:pt x="1271" y="1762"/>
                    <a:pt x="1271" y="1782"/>
                    <a:pt x="1291" y="1803"/>
                  </a:cubicBezTo>
                  <a:lnTo>
                    <a:pt x="1291" y="1803"/>
                  </a:lnTo>
                  <a:cubicBezTo>
                    <a:pt x="1271" y="1803"/>
                    <a:pt x="1271" y="1803"/>
                    <a:pt x="1271" y="1824"/>
                  </a:cubicBezTo>
                  <a:cubicBezTo>
                    <a:pt x="1251" y="1824"/>
                    <a:pt x="1209" y="1824"/>
                    <a:pt x="1189" y="1824"/>
                  </a:cubicBezTo>
                  <a:cubicBezTo>
                    <a:pt x="1169" y="1824"/>
                    <a:pt x="1107" y="1824"/>
                    <a:pt x="1066" y="1824"/>
                  </a:cubicBezTo>
                  <a:cubicBezTo>
                    <a:pt x="1045" y="1824"/>
                    <a:pt x="984" y="1803"/>
                    <a:pt x="963" y="1803"/>
                  </a:cubicBezTo>
                  <a:cubicBezTo>
                    <a:pt x="943" y="1803"/>
                    <a:pt x="902" y="1803"/>
                    <a:pt x="902" y="1782"/>
                  </a:cubicBezTo>
                  <a:cubicBezTo>
                    <a:pt x="881" y="1782"/>
                    <a:pt x="841" y="1762"/>
                    <a:pt x="841" y="1742"/>
                  </a:cubicBezTo>
                  <a:cubicBezTo>
                    <a:pt x="799" y="1721"/>
                    <a:pt x="759" y="1660"/>
                    <a:pt x="717" y="1639"/>
                  </a:cubicBezTo>
                  <a:cubicBezTo>
                    <a:pt x="697" y="1618"/>
                    <a:pt x="656" y="1578"/>
                    <a:pt x="615" y="1557"/>
                  </a:cubicBezTo>
                  <a:cubicBezTo>
                    <a:pt x="595" y="1536"/>
                    <a:pt x="554" y="1496"/>
                    <a:pt x="533" y="1475"/>
                  </a:cubicBezTo>
                  <a:cubicBezTo>
                    <a:pt x="533" y="1454"/>
                    <a:pt x="513" y="1434"/>
                    <a:pt x="492" y="1434"/>
                  </a:cubicBezTo>
                  <a:cubicBezTo>
                    <a:pt x="492" y="1434"/>
                    <a:pt x="451" y="1414"/>
                    <a:pt x="451" y="1393"/>
                  </a:cubicBezTo>
                  <a:cubicBezTo>
                    <a:pt x="431" y="1393"/>
                    <a:pt x="390" y="1372"/>
                    <a:pt x="390" y="1372"/>
                  </a:cubicBezTo>
                  <a:cubicBezTo>
                    <a:pt x="369" y="1372"/>
                    <a:pt x="349" y="1352"/>
                    <a:pt x="349" y="1332"/>
                  </a:cubicBezTo>
                  <a:cubicBezTo>
                    <a:pt x="328" y="1332"/>
                    <a:pt x="308" y="1311"/>
                    <a:pt x="308" y="1290"/>
                  </a:cubicBezTo>
                  <a:cubicBezTo>
                    <a:pt x="287" y="1290"/>
                    <a:pt x="267" y="1250"/>
                    <a:pt x="267" y="1250"/>
                  </a:cubicBezTo>
                  <a:cubicBezTo>
                    <a:pt x="246" y="1230"/>
                    <a:pt x="226" y="1230"/>
                    <a:pt x="226" y="1230"/>
                  </a:cubicBezTo>
                  <a:cubicBezTo>
                    <a:pt x="205" y="1209"/>
                    <a:pt x="185" y="1209"/>
                    <a:pt x="164" y="1209"/>
                  </a:cubicBezTo>
                  <a:cubicBezTo>
                    <a:pt x="164" y="1209"/>
                    <a:pt x="144" y="1209"/>
                    <a:pt x="123" y="1188"/>
                  </a:cubicBezTo>
                  <a:lnTo>
                    <a:pt x="103" y="1168"/>
                  </a:lnTo>
                  <a:cubicBezTo>
                    <a:pt x="82" y="1148"/>
                    <a:pt x="62" y="1106"/>
                    <a:pt x="62" y="1106"/>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 name="Freeform 49">
              <a:extLst>
                <a:ext uri="{FF2B5EF4-FFF2-40B4-BE49-F238E27FC236}">
                  <a16:creationId xmlns:a16="http://schemas.microsoft.com/office/drawing/2014/main" id="{DBBFDABB-5C4C-4E43-BF32-F3097C8FC3F7}"/>
                </a:ext>
              </a:extLst>
            </p:cNvPr>
            <p:cNvSpPr>
              <a:spLocks noChangeArrowheads="1"/>
            </p:cNvSpPr>
            <p:nvPr/>
          </p:nvSpPr>
          <p:spPr bwMode="auto">
            <a:xfrm>
              <a:off x="2019300" y="5895975"/>
              <a:ext cx="58738" cy="38100"/>
            </a:xfrm>
            <a:custGeom>
              <a:avLst/>
              <a:gdLst>
                <a:gd name="T0" fmla="*/ 144 w 165"/>
                <a:gd name="T1" fmla="*/ 41 h 104"/>
                <a:gd name="T2" fmla="*/ 144 w 165"/>
                <a:gd name="T3" fmla="*/ 41 h 104"/>
                <a:gd name="T4" fmla="*/ 144 w 165"/>
                <a:gd name="T5" fmla="*/ 21 h 104"/>
                <a:gd name="T6" fmla="*/ 164 w 165"/>
                <a:gd name="T7" fmla="*/ 21 h 104"/>
                <a:gd name="T8" fmla="*/ 164 w 165"/>
                <a:gd name="T9" fmla="*/ 0 h 104"/>
                <a:gd name="T10" fmla="*/ 164 w 165"/>
                <a:gd name="T11" fmla="*/ 0 h 104"/>
                <a:gd name="T12" fmla="*/ 144 w 165"/>
                <a:gd name="T13" fmla="*/ 0 h 104"/>
                <a:gd name="T14" fmla="*/ 144 w 165"/>
                <a:gd name="T15" fmla="*/ 0 h 104"/>
                <a:gd name="T16" fmla="*/ 123 w 165"/>
                <a:gd name="T17" fmla="*/ 21 h 104"/>
                <a:gd name="T18" fmla="*/ 103 w 165"/>
                <a:gd name="T19" fmla="*/ 21 h 104"/>
                <a:gd name="T20" fmla="*/ 82 w 165"/>
                <a:gd name="T21" fmla="*/ 21 h 104"/>
                <a:gd name="T22" fmla="*/ 82 w 165"/>
                <a:gd name="T23" fmla="*/ 41 h 104"/>
                <a:gd name="T24" fmla="*/ 62 w 165"/>
                <a:gd name="T25" fmla="*/ 41 h 104"/>
                <a:gd name="T26" fmla="*/ 41 w 165"/>
                <a:gd name="T27" fmla="*/ 62 h 104"/>
                <a:gd name="T28" fmla="*/ 41 w 165"/>
                <a:gd name="T29" fmla="*/ 62 h 104"/>
                <a:gd name="T30" fmla="*/ 21 w 165"/>
                <a:gd name="T31" fmla="*/ 62 h 104"/>
                <a:gd name="T32" fmla="*/ 0 w 165"/>
                <a:gd name="T33" fmla="*/ 82 h 104"/>
                <a:gd name="T34" fmla="*/ 21 w 165"/>
                <a:gd name="T35" fmla="*/ 82 h 104"/>
                <a:gd name="T36" fmla="*/ 21 w 165"/>
                <a:gd name="T37" fmla="*/ 103 h 104"/>
                <a:gd name="T38" fmla="*/ 41 w 165"/>
                <a:gd name="T39" fmla="*/ 82 h 104"/>
                <a:gd name="T40" fmla="*/ 62 w 165"/>
                <a:gd name="T41" fmla="*/ 82 h 104"/>
                <a:gd name="T42" fmla="*/ 62 w 165"/>
                <a:gd name="T43" fmla="*/ 62 h 104"/>
                <a:gd name="T44" fmla="*/ 82 w 165"/>
                <a:gd name="T45" fmla="*/ 62 h 104"/>
                <a:gd name="T46" fmla="*/ 103 w 165"/>
                <a:gd name="T47" fmla="*/ 62 h 104"/>
                <a:gd name="T48" fmla="*/ 123 w 165"/>
                <a:gd name="T49" fmla="*/ 62 h 104"/>
                <a:gd name="T50" fmla="*/ 144 w 165"/>
                <a:gd name="T51"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04">
                  <a:moveTo>
                    <a:pt x="144" y="41"/>
                  </a:moveTo>
                  <a:lnTo>
                    <a:pt x="144" y="41"/>
                  </a:lnTo>
                  <a:cubicBezTo>
                    <a:pt x="144" y="41"/>
                    <a:pt x="144" y="41"/>
                    <a:pt x="144" y="21"/>
                  </a:cubicBezTo>
                  <a:lnTo>
                    <a:pt x="164" y="21"/>
                  </a:lnTo>
                  <a:cubicBezTo>
                    <a:pt x="164" y="21"/>
                    <a:pt x="164" y="21"/>
                    <a:pt x="164" y="0"/>
                  </a:cubicBezTo>
                  <a:lnTo>
                    <a:pt x="164" y="0"/>
                  </a:lnTo>
                  <a:cubicBezTo>
                    <a:pt x="164" y="0"/>
                    <a:pt x="164" y="0"/>
                    <a:pt x="144" y="0"/>
                  </a:cubicBezTo>
                  <a:lnTo>
                    <a:pt x="144" y="0"/>
                  </a:lnTo>
                  <a:lnTo>
                    <a:pt x="123" y="21"/>
                  </a:lnTo>
                  <a:lnTo>
                    <a:pt x="103" y="21"/>
                  </a:lnTo>
                  <a:lnTo>
                    <a:pt x="82" y="21"/>
                  </a:lnTo>
                  <a:cubicBezTo>
                    <a:pt x="82" y="21"/>
                    <a:pt x="82" y="21"/>
                    <a:pt x="82" y="41"/>
                  </a:cubicBezTo>
                  <a:cubicBezTo>
                    <a:pt x="62" y="41"/>
                    <a:pt x="62" y="41"/>
                    <a:pt x="62" y="41"/>
                  </a:cubicBezTo>
                  <a:cubicBezTo>
                    <a:pt x="62" y="41"/>
                    <a:pt x="62" y="62"/>
                    <a:pt x="41" y="62"/>
                  </a:cubicBezTo>
                  <a:lnTo>
                    <a:pt x="41" y="62"/>
                  </a:lnTo>
                  <a:cubicBezTo>
                    <a:pt x="21" y="62"/>
                    <a:pt x="21" y="62"/>
                    <a:pt x="21" y="62"/>
                  </a:cubicBezTo>
                  <a:cubicBezTo>
                    <a:pt x="21" y="62"/>
                    <a:pt x="0" y="62"/>
                    <a:pt x="0" y="82"/>
                  </a:cubicBezTo>
                  <a:cubicBezTo>
                    <a:pt x="0" y="82"/>
                    <a:pt x="0" y="82"/>
                    <a:pt x="21" y="82"/>
                  </a:cubicBezTo>
                  <a:lnTo>
                    <a:pt x="21" y="103"/>
                  </a:lnTo>
                  <a:lnTo>
                    <a:pt x="41" y="82"/>
                  </a:lnTo>
                  <a:cubicBezTo>
                    <a:pt x="41" y="82"/>
                    <a:pt x="41" y="82"/>
                    <a:pt x="62" y="82"/>
                  </a:cubicBezTo>
                  <a:lnTo>
                    <a:pt x="62" y="62"/>
                  </a:lnTo>
                  <a:cubicBezTo>
                    <a:pt x="82" y="62"/>
                    <a:pt x="82" y="62"/>
                    <a:pt x="82" y="62"/>
                  </a:cubicBezTo>
                  <a:cubicBezTo>
                    <a:pt x="103" y="62"/>
                    <a:pt x="103" y="62"/>
                    <a:pt x="103" y="62"/>
                  </a:cubicBezTo>
                  <a:cubicBezTo>
                    <a:pt x="123" y="62"/>
                    <a:pt x="123" y="62"/>
                    <a:pt x="123" y="62"/>
                  </a:cubicBezTo>
                  <a:cubicBezTo>
                    <a:pt x="123" y="62"/>
                    <a:pt x="144" y="62"/>
                    <a:pt x="144"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 name="Freeform 50">
              <a:extLst>
                <a:ext uri="{FF2B5EF4-FFF2-40B4-BE49-F238E27FC236}">
                  <a16:creationId xmlns:a16="http://schemas.microsoft.com/office/drawing/2014/main" id="{19604D28-71EB-1249-9A41-741096942043}"/>
                </a:ext>
              </a:extLst>
            </p:cNvPr>
            <p:cNvSpPr>
              <a:spLocks noChangeArrowheads="1"/>
            </p:cNvSpPr>
            <p:nvPr/>
          </p:nvSpPr>
          <p:spPr bwMode="auto">
            <a:xfrm>
              <a:off x="1968500" y="5962650"/>
              <a:ext cx="7938" cy="7938"/>
            </a:xfrm>
            <a:custGeom>
              <a:avLst/>
              <a:gdLst>
                <a:gd name="T0" fmla="*/ 20 w 21"/>
                <a:gd name="T1" fmla="*/ 20 h 21"/>
                <a:gd name="T2" fmla="*/ 20 w 21"/>
                <a:gd name="T3" fmla="*/ 20 h 21"/>
                <a:gd name="T4" fmla="*/ 20 w 21"/>
                <a:gd name="T5" fmla="*/ 20 h 21"/>
                <a:gd name="T6" fmla="*/ 0 w 21"/>
                <a:gd name="T7" fmla="*/ 20 h 21"/>
                <a:gd name="T8" fmla="*/ 0 w 21"/>
                <a:gd name="T9" fmla="*/ 0 h 21"/>
                <a:gd name="T10" fmla="*/ 20 w 21"/>
                <a:gd name="T11" fmla="*/ 0 h 21"/>
                <a:gd name="T12" fmla="*/ 20 w 21"/>
                <a:gd name="T13" fmla="*/ 0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lnTo>
                    <a:pt x="20" y="20"/>
                  </a:lnTo>
                  <a:lnTo>
                    <a:pt x="20" y="20"/>
                  </a:lnTo>
                  <a:lnTo>
                    <a:pt x="0" y="20"/>
                  </a:lnTo>
                  <a:lnTo>
                    <a:pt x="0" y="0"/>
                  </a:lnTo>
                  <a:lnTo>
                    <a:pt x="20" y="0"/>
                  </a:lnTo>
                  <a:lnTo>
                    <a:pt x="20" y="0"/>
                  </a:lnTo>
                  <a:cubicBezTo>
                    <a:pt x="20" y="0"/>
                    <a:pt x="20" y="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 name="Freeform 51">
              <a:extLst>
                <a:ext uri="{FF2B5EF4-FFF2-40B4-BE49-F238E27FC236}">
                  <a16:creationId xmlns:a16="http://schemas.microsoft.com/office/drawing/2014/main" id="{EFD37505-B220-8642-8544-4A2DF681D648}"/>
                </a:ext>
              </a:extLst>
            </p:cNvPr>
            <p:cNvSpPr>
              <a:spLocks noChangeArrowheads="1"/>
            </p:cNvSpPr>
            <p:nvPr/>
          </p:nvSpPr>
          <p:spPr bwMode="auto">
            <a:xfrm>
              <a:off x="1976438" y="5946775"/>
              <a:ext cx="15875" cy="7938"/>
            </a:xfrm>
            <a:custGeom>
              <a:avLst/>
              <a:gdLst>
                <a:gd name="T0" fmla="*/ 20 w 42"/>
                <a:gd name="T1" fmla="*/ 20 h 21"/>
                <a:gd name="T2" fmla="*/ 20 w 42"/>
                <a:gd name="T3" fmla="*/ 20 h 21"/>
                <a:gd name="T4" fmla="*/ 0 w 42"/>
                <a:gd name="T5" fmla="*/ 20 h 21"/>
                <a:gd name="T6" fmla="*/ 0 w 42"/>
                <a:gd name="T7" fmla="*/ 0 h 21"/>
                <a:gd name="T8" fmla="*/ 20 w 42"/>
                <a:gd name="T9" fmla="*/ 0 h 21"/>
                <a:gd name="T10" fmla="*/ 20 w 42"/>
                <a:gd name="T11" fmla="*/ 0 h 21"/>
                <a:gd name="T12" fmla="*/ 41 w 42"/>
                <a:gd name="T13" fmla="*/ 0 h 21"/>
                <a:gd name="T14" fmla="*/ 41 w 42"/>
                <a:gd name="T15" fmla="*/ 20 h 21"/>
                <a:gd name="T16" fmla="*/ 20 w 4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1">
                  <a:moveTo>
                    <a:pt x="20" y="20"/>
                  </a:moveTo>
                  <a:lnTo>
                    <a:pt x="20" y="20"/>
                  </a:lnTo>
                  <a:cubicBezTo>
                    <a:pt x="20" y="20"/>
                    <a:pt x="20" y="20"/>
                    <a:pt x="0" y="20"/>
                  </a:cubicBezTo>
                  <a:lnTo>
                    <a:pt x="0" y="0"/>
                  </a:lnTo>
                  <a:lnTo>
                    <a:pt x="20" y="0"/>
                  </a:lnTo>
                  <a:lnTo>
                    <a:pt x="20" y="0"/>
                  </a:lnTo>
                  <a:lnTo>
                    <a:pt x="41" y="0"/>
                  </a:lnTo>
                  <a:lnTo>
                    <a:pt x="41" y="20"/>
                  </a:lnTo>
                  <a:cubicBezTo>
                    <a:pt x="20" y="20"/>
                    <a:pt x="20"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 name="Freeform 52">
              <a:extLst>
                <a:ext uri="{FF2B5EF4-FFF2-40B4-BE49-F238E27FC236}">
                  <a16:creationId xmlns:a16="http://schemas.microsoft.com/office/drawing/2014/main" id="{FE603781-6911-9943-A04A-32EA97151BAA}"/>
                </a:ext>
              </a:extLst>
            </p:cNvPr>
            <p:cNvSpPr>
              <a:spLocks noChangeArrowheads="1"/>
            </p:cNvSpPr>
            <p:nvPr/>
          </p:nvSpPr>
          <p:spPr bwMode="auto">
            <a:xfrm>
              <a:off x="2085975" y="5903913"/>
              <a:ext cx="7938" cy="7937"/>
            </a:xfrm>
            <a:custGeom>
              <a:avLst/>
              <a:gdLst>
                <a:gd name="T0" fmla="*/ 20 w 21"/>
                <a:gd name="T1" fmla="*/ 0 h 21"/>
                <a:gd name="T2" fmla="*/ 20 w 21"/>
                <a:gd name="T3" fmla="*/ 0 h 21"/>
                <a:gd name="T4" fmla="*/ 0 w 21"/>
                <a:gd name="T5" fmla="*/ 20 h 21"/>
                <a:gd name="T6" fmla="*/ 0 w 21"/>
                <a:gd name="T7" fmla="*/ 0 h 21"/>
                <a:gd name="T8" fmla="*/ 0 w 21"/>
                <a:gd name="T9" fmla="*/ 0 h 21"/>
                <a:gd name="T10" fmla="*/ 20 w 21"/>
                <a:gd name="T11" fmla="*/ 0 h 21"/>
              </a:gdLst>
              <a:ahLst/>
              <a:cxnLst>
                <a:cxn ang="0">
                  <a:pos x="T0" y="T1"/>
                </a:cxn>
                <a:cxn ang="0">
                  <a:pos x="T2" y="T3"/>
                </a:cxn>
                <a:cxn ang="0">
                  <a:pos x="T4" y="T5"/>
                </a:cxn>
                <a:cxn ang="0">
                  <a:pos x="T6" y="T7"/>
                </a:cxn>
                <a:cxn ang="0">
                  <a:pos x="T8" y="T9"/>
                </a:cxn>
                <a:cxn ang="0">
                  <a:pos x="T10" y="T11"/>
                </a:cxn>
              </a:cxnLst>
              <a:rect l="0" t="0" r="r" b="b"/>
              <a:pathLst>
                <a:path w="21" h="21">
                  <a:moveTo>
                    <a:pt x="20" y="0"/>
                  </a:moveTo>
                  <a:lnTo>
                    <a:pt x="20" y="0"/>
                  </a:lnTo>
                  <a:cubicBezTo>
                    <a:pt x="20" y="20"/>
                    <a:pt x="0" y="20"/>
                    <a:pt x="0" y="20"/>
                  </a:cubicBezTo>
                  <a:cubicBezTo>
                    <a:pt x="0" y="0"/>
                    <a:pt x="0" y="0"/>
                    <a:pt x="0" y="0"/>
                  </a:cubicBezTo>
                  <a:lnTo>
                    <a:pt x="0" y="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 name="Freeform 53">
              <a:extLst>
                <a:ext uri="{FF2B5EF4-FFF2-40B4-BE49-F238E27FC236}">
                  <a16:creationId xmlns:a16="http://schemas.microsoft.com/office/drawing/2014/main" id="{9404C700-E8AE-D14E-B496-067404DE9D17}"/>
                </a:ext>
              </a:extLst>
            </p:cNvPr>
            <p:cNvSpPr>
              <a:spLocks noChangeArrowheads="1"/>
            </p:cNvSpPr>
            <p:nvPr/>
          </p:nvSpPr>
          <p:spPr bwMode="auto">
            <a:xfrm>
              <a:off x="1371600" y="4900613"/>
              <a:ext cx="1128713" cy="1150937"/>
            </a:xfrm>
            <a:custGeom>
              <a:avLst/>
              <a:gdLst>
                <a:gd name="T0" fmla="*/ 471 w 3136"/>
                <a:gd name="T1" fmla="*/ 103 h 3197"/>
                <a:gd name="T2" fmla="*/ 574 w 3136"/>
                <a:gd name="T3" fmla="*/ 103 h 3197"/>
                <a:gd name="T4" fmla="*/ 676 w 3136"/>
                <a:gd name="T5" fmla="*/ 287 h 3197"/>
                <a:gd name="T6" fmla="*/ 799 w 3136"/>
                <a:gd name="T7" fmla="*/ 450 h 3197"/>
                <a:gd name="T8" fmla="*/ 1127 w 3136"/>
                <a:gd name="T9" fmla="*/ 675 h 3197"/>
                <a:gd name="T10" fmla="*/ 1475 w 3136"/>
                <a:gd name="T11" fmla="*/ 614 h 3197"/>
                <a:gd name="T12" fmla="*/ 1516 w 3136"/>
                <a:gd name="T13" fmla="*/ 634 h 3197"/>
                <a:gd name="T14" fmla="*/ 1537 w 3136"/>
                <a:gd name="T15" fmla="*/ 532 h 3197"/>
                <a:gd name="T16" fmla="*/ 1639 w 3136"/>
                <a:gd name="T17" fmla="*/ 388 h 3197"/>
                <a:gd name="T18" fmla="*/ 1885 w 3136"/>
                <a:gd name="T19" fmla="*/ 307 h 3197"/>
                <a:gd name="T20" fmla="*/ 2029 w 3136"/>
                <a:gd name="T21" fmla="*/ 388 h 3197"/>
                <a:gd name="T22" fmla="*/ 2213 w 3136"/>
                <a:gd name="T23" fmla="*/ 450 h 3197"/>
                <a:gd name="T24" fmla="*/ 2418 w 3136"/>
                <a:gd name="T25" fmla="*/ 552 h 3197"/>
                <a:gd name="T26" fmla="*/ 2582 w 3136"/>
                <a:gd name="T27" fmla="*/ 655 h 3197"/>
                <a:gd name="T28" fmla="*/ 2664 w 3136"/>
                <a:gd name="T29" fmla="*/ 860 h 3197"/>
                <a:gd name="T30" fmla="*/ 2664 w 3136"/>
                <a:gd name="T31" fmla="*/ 1085 h 3197"/>
                <a:gd name="T32" fmla="*/ 2603 w 3136"/>
                <a:gd name="T33" fmla="*/ 1290 h 3197"/>
                <a:gd name="T34" fmla="*/ 2603 w 3136"/>
                <a:gd name="T35" fmla="*/ 1433 h 3197"/>
                <a:gd name="T36" fmla="*/ 2685 w 3136"/>
                <a:gd name="T37" fmla="*/ 1761 h 3197"/>
                <a:gd name="T38" fmla="*/ 2828 w 3136"/>
                <a:gd name="T39" fmla="*/ 1945 h 3197"/>
                <a:gd name="T40" fmla="*/ 2725 w 3136"/>
                <a:gd name="T41" fmla="*/ 2151 h 3197"/>
                <a:gd name="T42" fmla="*/ 2828 w 3136"/>
                <a:gd name="T43" fmla="*/ 2335 h 3197"/>
                <a:gd name="T44" fmla="*/ 3012 w 3136"/>
                <a:gd name="T45" fmla="*/ 2478 h 3197"/>
                <a:gd name="T46" fmla="*/ 3033 w 3136"/>
                <a:gd name="T47" fmla="*/ 2704 h 3197"/>
                <a:gd name="T48" fmla="*/ 3135 w 3136"/>
                <a:gd name="T49" fmla="*/ 2786 h 3197"/>
                <a:gd name="T50" fmla="*/ 2991 w 3136"/>
                <a:gd name="T51" fmla="*/ 2868 h 3197"/>
                <a:gd name="T52" fmla="*/ 2889 w 3136"/>
                <a:gd name="T53" fmla="*/ 2991 h 3197"/>
                <a:gd name="T54" fmla="*/ 2869 w 3136"/>
                <a:gd name="T55" fmla="*/ 3154 h 3197"/>
                <a:gd name="T56" fmla="*/ 2725 w 3136"/>
                <a:gd name="T57" fmla="*/ 3134 h 3197"/>
                <a:gd name="T58" fmla="*/ 2603 w 3136"/>
                <a:gd name="T59" fmla="*/ 3114 h 3197"/>
                <a:gd name="T60" fmla="*/ 2479 w 3136"/>
                <a:gd name="T61" fmla="*/ 3093 h 3197"/>
                <a:gd name="T62" fmla="*/ 2336 w 3136"/>
                <a:gd name="T63" fmla="*/ 3052 h 3197"/>
                <a:gd name="T64" fmla="*/ 2193 w 3136"/>
                <a:gd name="T65" fmla="*/ 3011 h 3197"/>
                <a:gd name="T66" fmla="*/ 2111 w 3136"/>
                <a:gd name="T67" fmla="*/ 2847 h 3197"/>
                <a:gd name="T68" fmla="*/ 2008 w 3136"/>
                <a:gd name="T69" fmla="*/ 2724 h 3197"/>
                <a:gd name="T70" fmla="*/ 1947 w 3136"/>
                <a:gd name="T71" fmla="*/ 2745 h 3197"/>
                <a:gd name="T72" fmla="*/ 1844 w 3136"/>
                <a:gd name="T73" fmla="*/ 2786 h 3197"/>
                <a:gd name="T74" fmla="*/ 1762 w 3136"/>
                <a:gd name="T75" fmla="*/ 2847 h 3197"/>
                <a:gd name="T76" fmla="*/ 1639 w 3136"/>
                <a:gd name="T77" fmla="*/ 2827 h 3197"/>
                <a:gd name="T78" fmla="*/ 1496 w 3136"/>
                <a:gd name="T79" fmla="*/ 2765 h 3197"/>
                <a:gd name="T80" fmla="*/ 1352 w 3136"/>
                <a:gd name="T81" fmla="*/ 2704 h 3197"/>
                <a:gd name="T82" fmla="*/ 1291 w 3136"/>
                <a:gd name="T83" fmla="*/ 2601 h 3197"/>
                <a:gd name="T84" fmla="*/ 1148 w 3136"/>
                <a:gd name="T85" fmla="*/ 2499 h 3197"/>
                <a:gd name="T86" fmla="*/ 1066 w 3136"/>
                <a:gd name="T87" fmla="*/ 2335 h 3197"/>
                <a:gd name="T88" fmla="*/ 984 w 3136"/>
                <a:gd name="T89" fmla="*/ 2191 h 3197"/>
                <a:gd name="T90" fmla="*/ 902 w 3136"/>
                <a:gd name="T91" fmla="*/ 2109 h 3197"/>
                <a:gd name="T92" fmla="*/ 738 w 3136"/>
                <a:gd name="T93" fmla="*/ 2109 h 3197"/>
                <a:gd name="T94" fmla="*/ 676 w 3136"/>
                <a:gd name="T95" fmla="*/ 2130 h 3197"/>
                <a:gd name="T96" fmla="*/ 635 w 3136"/>
                <a:gd name="T97" fmla="*/ 2007 h 3197"/>
                <a:gd name="T98" fmla="*/ 554 w 3136"/>
                <a:gd name="T99" fmla="*/ 1884 h 3197"/>
                <a:gd name="T100" fmla="*/ 533 w 3136"/>
                <a:gd name="T101" fmla="*/ 1679 h 3197"/>
                <a:gd name="T102" fmla="*/ 410 w 3136"/>
                <a:gd name="T103" fmla="*/ 1536 h 3197"/>
                <a:gd name="T104" fmla="*/ 287 w 3136"/>
                <a:gd name="T105" fmla="*/ 1393 h 3197"/>
                <a:gd name="T106" fmla="*/ 226 w 3136"/>
                <a:gd name="T107" fmla="*/ 1167 h 3197"/>
                <a:gd name="T108" fmla="*/ 266 w 3136"/>
                <a:gd name="T109" fmla="*/ 1003 h 3197"/>
                <a:gd name="T110" fmla="*/ 328 w 3136"/>
                <a:gd name="T111" fmla="*/ 860 h 3197"/>
                <a:gd name="T112" fmla="*/ 184 w 3136"/>
                <a:gd name="T113" fmla="*/ 778 h 3197"/>
                <a:gd name="T114" fmla="*/ 82 w 3136"/>
                <a:gd name="T115" fmla="*/ 573 h 3197"/>
                <a:gd name="T116" fmla="*/ 20 w 3136"/>
                <a:gd name="T117" fmla="*/ 429 h 3197"/>
                <a:gd name="T118" fmla="*/ 20 w 3136"/>
                <a:gd name="T119" fmla="*/ 205 h 3197"/>
                <a:gd name="T120" fmla="*/ 41 w 3136"/>
                <a:gd name="T121" fmla="*/ 21 h 3197"/>
                <a:gd name="T122" fmla="*/ 184 w 3136"/>
                <a:gd name="T123" fmla="*/ 82 h 3197"/>
                <a:gd name="T124" fmla="*/ 348 w 3136"/>
                <a:gd name="T125" fmla="*/ 143 h 3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6" h="3197">
                  <a:moveTo>
                    <a:pt x="348" y="123"/>
                  </a:moveTo>
                  <a:lnTo>
                    <a:pt x="348" y="123"/>
                  </a:lnTo>
                  <a:lnTo>
                    <a:pt x="369" y="143"/>
                  </a:lnTo>
                  <a:lnTo>
                    <a:pt x="390" y="143"/>
                  </a:lnTo>
                  <a:cubicBezTo>
                    <a:pt x="410" y="143"/>
                    <a:pt x="430" y="143"/>
                    <a:pt x="451" y="123"/>
                  </a:cubicBezTo>
                  <a:lnTo>
                    <a:pt x="471" y="103"/>
                  </a:lnTo>
                  <a:cubicBezTo>
                    <a:pt x="492" y="103"/>
                    <a:pt x="492" y="82"/>
                    <a:pt x="492" y="61"/>
                  </a:cubicBezTo>
                  <a:lnTo>
                    <a:pt x="512" y="41"/>
                  </a:lnTo>
                  <a:cubicBezTo>
                    <a:pt x="533" y="41"/>
                    <a:pt x="533" y="21"/>
                    <a:pt x="554" y="21"/>
                  </a:cubicBezTo>
                  <a:lnTo>
                    <a:pt x="574" y="21"/>
                  </a:lnTo>
                  <a:cubicBezTo>
                    <a:pt x="574" y="41"/>
                    <a:pt x="574" y="61"/>
                    <a:pt x="574" y="61"/>
                  </a:cubicBezTo>
                  <a:cubicBezTo>
                    <a:pt x="574" y="82"/>
                    <a:pt x="574" y="103"/>
                    <a:pt x="574" y="103"/>
                  </a:cubicBezTo>
                  <a:cubicBezTo>
                    <a:pt x="594" y="123"/>
                    <a:pt x="594" y="143"/>
                    <a:pt x="574" y="143"/>
                  </a:cubicBezTo>
                  <a:cubicBezTo>
                    <a:pt x="574" y="164"/>
                    <a:pt x="574" y="164"/>
                    <a:pt x="574" y="185"/>
                  </a:cubicBezTo>
                  <a:cubicBezTo>
                    <a:pt x="554" y="185"/>
                    <a:pt x="574" y="205"/>
                    <a:pt x="574" y="205"/>
                  </a:cubicBezTo>
                  <a:cubicBezTo>
                    <a:pt x="574" y="225"/>
                    <a:pt x="574" y="225"/>
                    <a:pt x="594" y="246"/>
                  </a:cubicBezTo>
                  <a:cubicBezTo>
                    <a:pt x="594" y="246"/>
                    <a:pt x="614" y="267"/>
                    <a:pt x="635" y="287"/>
                  </a:cubicBezTo>
                  <a:cubicBezTo>
                    <a:pt x="635" y="287"/>
                    <a:pt x="656" y="287"/>
                    <a:pt x="676" y="287"/>
                  </a:cubicBezTo>
                  <a:lnTo>
                    <a:pt x="696" y="287"/>
                  </a:lnTo>
                  <a:lnTo>
                    <a:pt x="717" y="287"/>
                  </a:lnTo>
                  <a:lnTo>
                    <a:pt x="717" y="287"/>
                  </a:lnTo>
                  <a:lnTo>
                    <a:pt x="717" y="328"/>
                  </a:lnTo>
                  <a:cubicBezTo>
                    <a:pt x="717" y="349"/>
                    <a:pt x="717" y="388"/>
                    <a:pt x="738" y="409"/>
                  </a:cubicBezTo>
                  <a:cubicBezTo>
                    <a:pt x="738" y="409"/>
                    <a:pt x="778" y="450"/>
                    <a:pt x="799" y="450"/>
                  </a:cubicBezTo>
                  <a:cubicBezTo>
                    <a:pt x="799" y="450"/>
                    <a:pt x="820" y="450"/>
                    <a:pt x="840" y="470"/>
                  </a:cubicBezTo>
                  <a:cubicBezTo>
                    <a:pt x="860" y="470"/>
                    <a:pt x="881" y="491"/>
                    <a:pt x="881" y="491"/>
                  </a:cubicBezTo>
                  <a:cubicBezTo>
                    <a:pt x="902" y="511"/>
                    <a:pt x="942" y="552"/>
                    <a:pt x="963" y="552"/>
                  </a:cubicBezTo>
                  <a:cubicBezTo>
                    <a:pt x="963" y="573"/>
                    <a:pt x="1004" y="593"/>
                    <a:pt x="1024" y="614"/>
                  </a:cubicBezTo>
                  <a:cubicBezTo>
                    <a:pt x="1045" y="614"/>
                    <a:pt x="1066" y="634"/>
                    <a:pt x="1066" y="655"/>
                  </a:cubicBezTo>
                  <a:cubicBezTo>
                    <a:pt x="1086" y="655"/>
                    <a:pt x="1106" y="675"/>
                    <a:pt x="1127" y="675"/>
                  </a:cubicBezTo>
                  <a:cubicBezTo>
                    <a:pt x="1127" y="675"/>
                    <a:pt x="1148" y="675"/>
                    <a:pt x="1168" y="675"/>
                  </a:cubicBezTo>
                  <a:cubicBezTo>
                    <a:pt x="1168" y="675"/>
                    <a:pt x="1188" y="655"/>
                    <a:pt x="1209" y="655"/>
                  </a:cubicBezTo>
                  <a:cubicBezTo>
                    <a:pt x="1230" y="655"/>
                    <a:pt x="1250" y="634"/>
                    <a:pt x="1270" y="634"/>
                  </a:cubicBezTo>
                  <a:cubicBezTo>
                    <a:pt x="1291" y="634"/>
                    <a:pt x="1312" y="614"/>
                    <a:pt x="1332" y="614"/>
                  </a:cubicBezTo>
                  <a:cubicBezTo>
                    <a:pt x="1352" y="614"/>
                    <a:pt x="1393" y="614"/>
                    <a:pt x="1434" y="614"/>
                  </a:cubicBezTo>
                  <a:cubicBezTo>
                    <a:pt x="1434" y="614"/>
                    <a:pt x="1475" y="593"/>
                    <a:pt x="1475" y="614"/>
                  </a:cubicBezTo>
                  <a:lnTo>
                    <a:pt x="1475" y="614"/>
                  </a:lnTo>
                  <a:cubicBezTo>
                    <a:pt x="1475" y="634"/>
                    <a:pt x="1455" y="634"/>
                    <a:pt x="1455" y="634"/>
                  </a:cubicBezTo>
                  <a:lnTo>
                    <a:pt x="1434" y="634"/>
                  </a:lnTo>
                  <a:cubicBezTo>
                    <a:pt x="1434" y="634"/>
                    <a:pt x="1434" y="655"/>
                    <a:pt x="1455" y="655"/>
                  </a:cubicBezTo>
                  <a:lnTo>
                    <a:pt x="1475" y="655"/>
                  </a:lnTo>
                  <a:cubicBezTo>
                    <a:pt x="1496" y="655"/>
                    <a:pt x="1496" y="655"/>
                    <a:pt x="1516" y="634"/>
                  </a:cubicBezTo>
                  <a:lnTo>
                    <a:pt x="1516" y="614"/>
                  </a:lnTo>
                  <a:cubicBezTo>
                    <a:pt x="1516" y="614"/>
                    <a:pt x="1496" y="593"/>
                    <a:pt x="1496" y="573"/>
                  </a:cubicBezTo>
                  <a:lnTo>
                    <a:pt x="1496" y="552"/>
                  </a:lnTo>
                  <a:lnTo>
                    <a:pt x="1496" y="532"/>
                  </a:lnTo>
                  <a:lnTo>
                    <a:pt x="1516" y="532"/>
                  </a:lnTo>
                  <a:cubicBezTo>
                    <a:pt x="1516" y="532"/>
                    <a:pt x="1516" y="532"/>
                    <a:pt x="1537" y="532"/>
                  </a:cubicBezTo>
                  <a:lnTo>
                    <a:pt x="1557" y="532"/>
                  </a:lnTo>
                  <a:lnTo>
                    <a:pt x="1578" y="511"/>
                  </a:lnTo>
                  <a:cubicBezTo>
                    <a:pt x="1578" y="491"/>
                    <a:pt x="1598" y="491"/>
                    <a:pt x="1598" y="491"/>
                  </a:cubicBezTo>
                  <a:cubicBezTo>
                    <a:pt x="1598" y="470"/>
                    <a:pt x="1619" y="450"/>
                    <a:pt x="1619" y="450"/>
                  </a:cubicBezTo>
                  <a:lnTo>
                    <a:pt x="1619" y="429"/>
                  </a:lnTo>
                  <a:cubicBezTo>
                    <a:pt x="1639" y="409"/>
                    <a:pt x="1639" y="388"/>
                    <a:pt x="1639" y="388"/>
                  </a:cubicBezTo>
                  <a:cubicBezTo>
                    <a:pt x="1660" y="388"/>
                    <a:pt x="1680" y="368"/>
                    <a:pt x="1680" y="368"/>
                  </a:cubicBezTo>
                  <a:cubicBezTo>
                    <a:pt x="1700" y="368"/>
                    <a:pt x="1721" y="349"/>
                    <a:pt x="1721" y="349"/>
                  </a:cubicBezTo>
                  <a:cubicBezTo>
                    <a:pt x="1742" y="349"/>
                    <a:pt x="1762" y="349"/>
                    <a:pt x="1783" y="349"/>
                  </a:cubicBezTo>
                  <a:lnTo>
                    <a:pt x="1824" y="349"/>
                  </a:lnTo>
                  <a:cubicBezTo>
                    <a:pt x="1824" y="349"/>
                    <a:pt x="1844" y="349"/>
                    <a:pt x="1844" y="328"/>
                  </a:cubicBezTo>
                  <a:cubicBezTo>
                    <a:pt x="1865" y="328"/>
                    <a:pt x="1865" y="307"/>
                    <a:pt x="1885" y="307"/>
                  </a:cubicBezTo>
                  <a:lnTo>
                    <a:pt x="1906" y="307"/>
                  </a:lnTo>
                  <a:cubicBezTo>
                    <a:pt x="1906" y="307"/>
                    <a:pt x="1926" y="328"/>
                    <a:pt x="1947" y="328"/>
                  </a:cubicBezTo>
                  <a:cubicBezTo>
                    <a:pt x="1947" y="328"/>
                    <a:pt x="1947" y="307"/>
                    <a:pt x="1967" y="307"/>
                  </a:cubicBezTo>
                  <a:lnTo>
                    <a:pt x="1988" y="328"/>
                  </a:lnTo>
                  <a:cubicBezTo>
                    <a:pt x="2008" y="349"/>
                    <a:pt x="2008" y="349"/>
                    <a:pt x="2008" y="368"/>
                  </a:cubicBezTo>
                  <a:lnTo>
                    <a:pt x="2029" y="388"/>
                  </a:lnTo>
                  <a:cubicBezTo>
                    <a:pt x="2049" y="388"/>
                    <a:pt x="2070" y="388"/>
                    <a:pt x="2070" y="388"/>
                  </a:cubicBezTo>
                  <a:cubicBezTo>
                    <a:pt x="2090" y="409"/>
                    <a:pt x="2111" y="429"/>
                    <a:pt x="2111" y="429"/>
                  </a:cubicBezTo>
                  <a:cubicBezTo>
                    <a:pt x="2111" y="450"/>
                    <a:pt x="2111" y="470"/>
                    <a:pt x="2131" y="470"/>
                  </a:cubicBezTo>
                  <a:lnTo>
                    <a:pt x="2151" y="470"/>
                  </a:lnTo>
                  <a:lnTo>
                    <a:pt x="2172" y="450"/>
                  </a:lnTo>
                  <a:cubicBezTo>
                    <a:pt x="2193" y="450"/>
                    <a:pt x="2213" y="450"/>
                    <a:pt x="2213" y="450"/>
                  </a:cubicBezTo>
                  <a:cubicBezTo>
                    <a:pt x="2233" y="450"/>
                    <a:pt x="2233" y="450"/>
                    <a:pt x="2254" y="450"/>
                  </a:cubicBezTo>
                  <a:lnTo>
                    <a:pt x="2275" y="470"/>
                  </a:lnTo>
                  <a:cubicBezTo>
                    <a:pt x="2295" y="470"/>
                    <a:pt x="2315" y="470"/>
                    <a:pt x="2315" y="491"/>
                  </a:cubicBezTo>
                  <a:cubicBezTo>
                    <a:pt x="2315" y="491"/>
                    <a:pt x="2336" y="511"/>
                    <a:pt x="2336" y="532"/>
                  </a:cubicBezTo>
                  <a:lnTo>
                    <a:pt x="2357" y="573"/>
                  </a:lnTo>
                  <a:cubicBezTo>
                    <a:pt x="2377" y="573"/>
                    <a:pt x="2397" y="552"/>
                    <a:pt x="2418" y="552"/>
                  </a:cubicBezTo>
                  <a:cubicBezTo>
                    <a:pt x="2418" y="552"/>
                    <a:pt x="2439" y="573"/>
                    <a:pt x="2459" y="573"/>
                  </a:cubicBezTo>
                  <a:cubicBezTo>
                    <a:pt x="2459" y="593"/>
                    <a:pt x="2479" y="614"/>
                    <a:pt x="2479" y="614"/>
                  </a:cubicBezTo>
                  <a:lnTo>
                    <a:pt x="2479" y="634"/>
                  </a:lnTo>
                  <a:cubicBezTo>
                    <a:pt x="2500" y="655"/>
                    <a:pt x="2521" y="655"/>
                    <a:pt x="2541" y="655"/>
                  </a:cubicBezTo>
                  <a:lnTo>
                    <a:pt x="2561" y="655"/>
                  </a:lnTo>
                  <a:cubicBezTo>
                    <a:pt x="2582" y="655"/>
                    <a:pt x="2582" y="655"/>
                    <a:pt x="2582" y="655"/>
                  </a:cubicBezTo>
                  <a:cubicBezTo>
                    <a:pt x="2603" y="675"/>
                    <a:pt x="2603" y="675"/>
                    <a:pt x="2603" y="696"/>
                  </a:cubicBezTo>
                  <a:cubicBezTo>
                    <a:pt x="2603" y="696"/>
                    <a:pt x="2603" y="716"/>
                    <a:pt x="2603" y="737"/>
                  </a:cubicBezTo>
                  <a:cubicBezTo>
                    <a:pt x="2623" y="737"/>
                    <a:pt x="2623" y="757"/>
                    <a:pt x="2623" y="757"/>
                  </a:cubicBezTo>
                  <a:cubicBezTo>
                    <a:pt x="2643" y="778"/>
                    <a:pt x="2643" y="798"/>
                    <a:pt x="2643" y="798"/>
                  </a:cubicBezTo>
                  <a:cubicBezTo>
                    <a:pt x="2664" y="819"/>
                    <a:pt x="2664" y="839"/>
                    <a:pt x="2664" y="860"/>
                  </a:cubicBezTo>
                  <a:lnTo>
                    <a:pt x="2664" y="860"/>
                  </a:lnTo>
                  <a:lnTo>
                    <a:pt x="2643" y="901"/>
                  </a:lnTo>
                  <a:cubicBezTo>
                    <a:pt x="2643" y="921"/>
                    <a:pt x="2664" y="942"/>
                    <a:pt x="2664" y="962"/>
                  </a:cubicBezTo>
                  <a:cubicBezTo>
                    <a:pt x="2664" y="962"/>
                    <a:pt x="2664" y="983"/>
                    <a:pt x="2664" y="1003"/>
                  </a:cubicBezTo>
                  <a:cubicBezTo>
                    <a:pt x="2685" y="1003"/>
                    <a:pt x="2685" y="1024"/>
                    <a:pt x="2685" y="1044"/>
                  </a:cubicBezTo>
                  <a:cubicBezTo>
                    <a:pt x="2685" y="1044"/>
                    <a:pt x="2685" y="1065"/>
                    <a:pt x="2685" y="1085"/>
                  </a:cubicBezTo>
                  <a:lnTo>
                    <a:pt x="2664" y="1085"/>
                  </a:lnTo>
                  <a:cubicBezTo>
                    <a:pt x="2664" y="1105"/>
                    <a:pt x="2643" y="1105"/>
                    <a:pt x="2643" y="1105"/>
                  </a:cubicBezTo>
                  <a:cubicBezTo>
                    <a:pt x="2623" y="1105"/>
                    <a:pt x="2623" y="1105"/>
                    <a:pt x="2623" y="1126"/>
                  </a:cubicBezTo>
                  <a:lnTo>
                    <a:pt x="2623" y="1147"/>
                  </a:lnTo>
                  <a:cubicBezTo>
                    <a:pt x="2623" y="1167"/>
                    <a:pt x="2603" y="1167"/>
                    <a:pt x="2603" y="1167"/>
                  </a:cubicBezTo>
                  <a:cubicBezTo>
                    <a:pt x="2582" y="1187"/>
                    <a:pt x="2582" y="1208"/>
                    <a:pt x="2582" y="1229"/>
                  </a:cubicBezTo>
                  <a:cubicBezTo>
                    <a:pt x="2582" y="1229"/>
                    <a:pt x="2603" y="1269"/>
                    <a:pt x="2603" y="1290"/>
                  </a:cubicBezTo>
                  <a:cubicBezTo>
                    <a:pt x="2603" y="1290"/>
                    <a:pt x="2623" y="1290"/>
                    <a:pt x="2623" y="1311"/>
                  </a:cubicBezTo>
                  <a:lnTo>
                    <a:pt x="2643" y="1311"/>
                  </a:lnTo>
                  <a:cubicBezTo>
                    <a:pt x="2643" y="1331"/>
                    <a:pt x="2643" y="1351"/>
                    <a:pt x="2643" y="1351"/>
                  </a:cubicBezTo>
                  <a:lnTo>
                    <a:pt x="2623" y="1372"/>
                  </a:lnTo>
                  <a:cubicBezTo>
                    <a:pt x="2623" y="1393"/>
                    <a:pt x="2603" y="1393"/>
                    <a:pt x="2603" y="1393"/>
                  </a:cubicBezTo>
                  <a:cubicBezTo>
                    <a:pt x="2603" y="1413"/>
                    <a:pt x="2603" y="1433"/>
                    <a:pt x="2603" y="1433"/>
                  </a:cubicBezTo>
                  <a:cubicBezTo>
                    <a:pt x="2603" y="1433"/>
                    <a:pt x="2603" y="1454"/>
                    <a:pt x="2603" y="1475"/>
                  </a:cubicBezTo>
                  <a:cubicBezTo>
                    <a:pt x="2623" y="1495"/>
                    <a:pt x="2623" y="1515"/>
                    <a:pt x="2623" y="1515"/>
                  </a:cubicBezTo>
                  <a:cubicBezTo>
                    <a:pt x="2643" y="1536"/>
                    <a:pt x="2643" y="1557"/>
                    <a:pt x="2643" y="1577"/>
                  </a:cubicBezTo>
                  <a:cubicBezTo>
                    <a:pt x="2643" y="1597"/>
                    <a:pt x="2643" y="1639"/>
                    <a:pt x="2643" y="1639"/>
                  </a:cubicBezTo>
                  <a:cubicBezTo>
                    <a:pt x="2643" y="1659"/>
                    <a:pt x="2664" y="1700"/>
                    <a:pt x="2664" y="1700"/>
                  </a:cubicBezTo>
                  <a:cubicBezTo>
                    <a:pt x="2664" y="1721"/>
                    <a:pt x="2685" y="1741"/>
                    <a:pt x="2685" y="1761"/>
                  </a:cubicBezTo>
                  <a:cubicBezTo>
                    <a:pt x="2685" y="1761"/>
                    <a:pt x="2705" y="1761"/>
                    <a:pt x="2725" y="1761"/>
                  </a:cubicBezTo>
                  <a:cubicBezTo>
                    <a:pt x="2725" y="1761"/>
                    <a:pt x="2767" y="1761"/>
                    <a:pt x="2787" y="1781"/>
                  </a:cubicBezTo>
                  <a:cubicBezTo>
                    <a:pt x="2807" y="1781"/>
                    <a:pt x="2828" y="1802"/>
                    <a:pt x="2828" y="1802"/>
                  </a:cubicBezTo>
                  <a:lnTo>
                    <a:pt x="2849" y="1843"/>
                  </a:lnTo>
                  <a:cubicBezTo>
                    <a:pt x="2849" y="1863"/>
                    <a:pt x="2849" y="1884"/>
                    <a:pt x="2849" y="1905"/>
                  </a:cubicBezTo>
                  <a:cubicBezTo>
                    <a:pt x="2849" y="1925"/>
                    <a:pt x="2828" y="1945"/>
                    <a:pt x="2828" y="1945"/>
                  </a:cubicBezTo>
                  <a:cubicBezTo>
                    <a:pt x="2828" y="1966"/>
                    <a:pt x="2807" y="2007"/>
                    <a:pt x="2787" y="2007"/>
                  </a:cubicBezTo>
                  <a:cubicBezTo>
                    <a:pt x="2787" y="2027"/>
                    <a:pt x="2746" y="2048"/>
                    <a:pt x="2725" y="2069"/>
                  </a:cubicBezTo>
                  <a:cubicBezTo>
                    <a:pt x="2725" y="2069"/>
                    <a:pt x="2725" y="2089"/>
                    <a:pt x="2705" y="2089"/>
                  </a:cubicBezTo>
                  <a:cubicBezTo>
                    <a:pt x="2705" y="2109"/>
                    <a:pt x="2705" y="2109"/>
                    <a:pt x="2705" y="2109"/>
                  </a:cubicBezTo>
                  <a:cubicBezTo>
                    <a:pt x="2705" y="2130"/>
                    <a:pt x="2705" y="2130"/>
                    <a:pt x="2725" y="2151"/>
                  </a:cubicBezTo>
                  <a:lnTo>
                    <a:pt x="2725" y="2151"/>
                  </a:lnTo>
                  <a:lnTo>
                    <a:pt x="2725" y="2171"/>
                  </a:lnTo>
                  <a:cubicBezTo>
                    <a:pt x="2746" y="2191"/>
                    <a:pt x="2746" y="2191"/>
                    <a:pt x="2767" y="2212"/>
                  </a:cubicBezTo>
                  <a:cubicBezTo>
                    <a:pt x="2767" y="2212"/>
                    <a:pt x="2787" y="2233"/>
                    <a:pt x="2807" y="2253"/>
                  </a:cubicBezTo>
                  <a:cubicBezTo>
                    <a:pt x="2807" y="2253"/>
                    <a:pt x="2807" y="2253"/>
                    <a:pt x="2828" y="2273"/>
                  </a:cubicBezTo>
                  <a:lnTo>
                    <a:pt x="2828" y="2294"/>
                  </a:lnTo>
                  <a:cubicBezTo>
                    <a:pt x="2828" y="2294"/>
                    <a:pt x="2828" y="2315"/>
                    <a:pt x="2828" y="2335"/>
                  </a:cubicBezTo>
                  <a:cubicBezTo>
                    <a:pt x="2828" y="2335"/>
                    <a:pt x="2849" y="2355"/>
                    <a:pt x="2849" y="2376"/>
                  </a:cubicBezTo>
                  <a:cubicBezTo>
                    <a:pt x="2849" y="2376"/>
                    <a:pt x="2849" y="2376"/>
                    <a:pt x="2869" y="2376"/>
                  </a:cubicBezTo>
                  <a:cubicBezTo>
                    <a:pt x="2869" y="2397"/>
                    <a:pt x="2889" y="2417"/>
                    <a:pt x="2909" y="2417"/>
                  </a:cubicBezTo>
                  <a:cubicBezTo>
                    <a:pt x="2909" y="2437"/>
                    <a:pt x="2930" y="2458"/>
                    <a:pt x="2930" y="2458"/>
                  </a:cubicBezTo>
                  <a:cubicBezTo>
                    <a:pt x="2951" y="2458"/>
                    <a:pt x="2951" y="2478"/>
                    <a:pt x="2951" y="2478"/>
                  </a:cubicBezTo>
                  <a:cubicBezTo>
                    <a:pt x="2971" y="2478"/>
                    <a:pt x="2991" y="2478"/>
                    <a:pt x="3012" y="2478"/>
                  </a:cubicBezTo>
                  <a:lnTo>
                    <a:pt x="3033" y="2478"/>
                  </a:lnTo>
                  <a:cubicBezTo>
                    <a:pt x="3033" y="2499"/>
                    <a:pt x="3033" y="2519"/>
                    <a:pt x="3033" y="2519"/>
                  </a:cubicBezTo>
                  <a:cubicBezTo>
                    <a:pt x="3033" y="2540"/>
                    <a:pt x="3033" y="2560"/>
                    <a:pt x="3033" y="2581"/>
                  </a:cubicBezTo>
                  <a:cubicBezTo>
                    <a:pt x="3033" y="2601"/>
                    <a:pt x="3033" y="2622"/>
                    <a:pt x="3033" y="2622"/>
                  </a:cubicBezTo>
                  <a:cubicBezTo>
                    <a:pt x="3033" y="2642"/>
                    <a:pt x="3033" y="2663"/>
                    <a:pt x="3033" y="2663"/>
                  </a:cubicBezTo>
                  <a:cubicBezTo>
                    <a:pt x="3033" y="2663"/>
                    <a:pt x="3033" y="2683"/>
                    <a:pt x="3033" y="2704"/>
                  </a:cubicBezTo>
                  <a:lnTo>
                    <a:pt x="3053" y="2704"/>
                  </a:lnTo>
                  <a:lnTo>
                    <a:pt x="3073" y="2704"/>
                  </a:lnTo>
                  <a:cubicBezTo>
                    <a:pt x="3094" y="2704"/>
                    <a:pt x="3115" y="2704"/>
                    <a:pt x="3115" y="2704"/>
                  </a:cubicBezTo>
                  <a:cubicBezTo>
                    <a:pt x="3115" y="2704"/>
                    <a:pt x="3115" y="2724"/>
                    <a:pt x="3115" y="2745"/>
                  </a:cubicBezTo>
                  <a:cubicBezTo>
                    <a:pt x="3135" y="2745"/>
                    <a:pt x="3135" y="2765"/>
                    <a:pt x="3135" y="2765"/>
                  </a:cubicBezTo>
                  <a:lnTo>
                    <a:pt x="3135" y="2786"/>
                  </a:lnTo>
                  <a:cubicBezTo>
                    <a:pt x="3135" y="2806"/>
                    <a:pt x="3135" y="2806"/>
                    <a:pt x="3135" y="2806"/>
                  </a:cubicBezTo>
                  <a:cubicBezTo>
                    <a:pt x="3135" y="2827"/>
                    <a:pt x="3115" y="2827"/>
                    <a:pt x="3094" y="2827"/>
                  </a:cubicBezTo>
                  <a:lnTo>
                    <a:pt x="3073" y="2847"/>
                  </a:lnTo>
                  <a:cubicBezTo>
                    <a:pt x="3073" y="2847"/>
                    <a:pt x="3053" y="2847"/>
                    <a:pt x="3033" y="2847"/>
                  </a:cubicBezTo>
                  <a:lnTo>
                    <a:pt x="3012" y="2847"/>
                  </a:lnTo>
                  <a:cubicBezTo>
                    <a:pt x="2991" y="2868"/>
                    <a:pt x="2991" y="2868"/>
                    <a:pt x="2991" y="2868"/>
                  </a:cubicBezTo>
                  <a:lnTo>
                    <a:pt x="2971" y="2888"/>
                  </a:lnTo>
                  <a:lnTo>
                    <a:pt x="2951" y="2888"/>
                  </a:lnTo>
                  <a:cubicBezTo>
                    <a:pt x="2930" y="2888"/>
                    <a:pt x="2930" y="2888"/>
                    <a:pt x="2930" y="2888"/>
                  </a:cubicBezTo>
                  <a:cubicBezTo>
                    <a:pt x="2909" y="2909"/>
                    <a:pt x="2909" y="2909"/>
                    <a:pt x="2909" y="2929"/>
                  </a:cubicBezTo>
                  <a:lnTo>
                    <a:pt x="2909" y="2950"/>
                  </a:lnTo>
                  <a:cubicBezTo>
                    <a:pt x="2909" y="2970"/>
                    <a:pt x="2889" y="2991"/>
                    <a:pt x="2889" y="2991"/>
                  </a:cubicBezTo>
                  <a:cubicBezTo>
                    <a:pt x="2889" y="3011"/>
                    <a:pt x="2889" y="3032"/>
                    <a:pt x="2889" y="3032"/>
                  </a:cubicBezTo>
                  <a:cubicBezTo>
                    <a:pt x="2889" y="3052"/>
                    <a:pt x="2889" y="3073"/>
                    <a:pt x="2889" y="3073"/>
                  </a:cubicBezTo>
                  <a:cubicBezTo>
                    <a:pt x="2889" y="3093"/>
                    <a:pt x="2889" y="3114"/>
                    <a:pt x="2889" y="3134"/>
                  </a:cubicBezTo>
                  <a:cubicBezTo>
                    <a:pt x="2889" y="3134"/>
                    <a:pt x="2889" y="3134"/>
                    <a:pt x="2889" y="3154"/>
                  </a:cubicBezTo>
                  <a:cubicBezTo>
                    <a:pt x="2869" y="3154"/>
                    <a:pt x="2869" y="3154"/>
                    <a:pt x="2869" y="3154"/>
                  </a:cubicBezTo>
                  <a:lnTo>
                    <a:pt x="2869" y="3154"/>
                  </a:lnTo>
                  <a:cubicBezTo>
                    <a:pt x="2849" y="3175"/>
                    <a:pt x="2849" y="3175"/>
                    <a:pt x="2849" y="3175"/>
                  </a:cubicBezTo>
                  <a:cubicBezTo>
                    <a:pt x="2849" y="3196"/>
                    <a:pt x="2828" y="3196"/>
                    <a:pt x="2807" y="3196"/>
                  </a:cubicBezTo>
                  <a:cubicBezTo>
                    <a:pt x="2807" y="3175"/>
                    <a:pt x="2807" y="3175"/>
                    <a:pt x="2787" y="3154"/>
                  </a:cubicBezTo>
                  <a:cubicBezTo>
                    <a:pt x="2787" y="3154"/>
                    <a:pt x="2767" y="3154"/>
                    <a:pt x="2767" y="3134"/>
                  </a:cubicBezTo>
                  <a:cubicBezTo>
                    <a:pt x="2767" y="3134"/>
                    <a:pt x="2746" y="3134"/>
                    <a:pt x="2725" y="3134"/>
                  </a:cubicBezTo>
                  <a:lnTo>
                    <a:pt x="2725" y="3134"/>
                  </a:lnTo>
                  <a:cubicBezTo>
                    <a:pt x="2705" y="3134"/>
                    <a:pt x="2705" y="3114"/>
                    <a:pt x="2705" y="3114"/>
                  </a:cubicBezTo>
                  <a:lnTo>
                    <a:pt x="2685" y="3114"/>
                  </a:lnTo>
                  <a:lnTo>
                    <a:pt x="2664" y="3114"/>
                  </a:lnTo>
                  <a:lnTo>
                    <a:pt x="2643" y="3114"/>
                  </a:lnTo>
                  <a:lnTo>
                    <a:pt x="2623" y="3114"/>
                  </a:lnTo>
                  <a:cubicBezTo>
                    <a:pt x="2623" y="3114"/>
                    <a:pt x="2623" y="3114"/>
                    <a:pt x="2603" y="3114"/>
                  </a:cubicBezTo>
                  <a:lnTo>
                    <a:pt x="2603" y="3093"/>
                  </a:lnTo>
                  <a:cubicBezTo>
                    <a:pt x="2582" y="3093"/>
                    <a:pt x="2582" y="3093"/>
                    <a:pt x="2561" y="3093"/>
                  </a:cubicBezTo>
                  <a:lnTo>
                    <a:pt x="2561" y="3114"/>
                  </a:lnTo>
                  <a:cubicBezTo>
                    <a:pt x="2541" y="3114"/>
                    <a:pt x="2541" y="3093"/>
                    <a:pt x="2541" y="3093"/>
                  </a:cubicBezTo>
                  <a:cubicBezTo>
                    <a:pt x="2521" y="3093"/>
                    <a:pt x="2521" y="3093"/>
                    <a:pt x="2500" y="3093"/>
                  </a:cubicBezTo>
                  <a:lnTo>
                    <a:pt x="2479" y="3093"/>
                  </a:lnTo>
                  <a:cubicBezTo>
                    <a:pt x="2459" y="3093"/>
                    <a:pt x="2459" y="3093"/>
                    <a:pt x="2459" y="3093"/>
                  </a:cubicBezTo>
                  <a:lnTo>
                    <a:pt x="2439" y="3093"/>
                  </a:lnTo>
                  <a:lnTo>
                    <a:pt x="2418" y="3093"/>
                  </a:lnTo>
                  <a:cubicBezTo>
                    <a:pt x="2397" y="3073"/>
                    <a:pt x="2397" y="3073"/>
                    <a:pt x="2397" y="3073"/>
                  </a:cubicBezTo>
                  <a:cubicBezTo>
                    <a:pt x="2397" y="3052"/>
                    <a:pt x="2377" y="3052"/>
                    <a:pt x="2377" y="3052"/>
                  </a:cubicBezTo>
                  <a:cubicBezTo>
                    <a:pt x="2357" y="3052"/>
                    <a:pt x="2336" y="3052"/>
                    <a:pt x="2336" y="3052"/>
                  </a:cubicBezTo>
                  <a:lnTo>
                    <a:pt x="2315" y="3052"/>
                  </a:lnTo>
                  <a:cubicBezTo>
                    <a:pt x="2295" y="3052"/>
                    <a:pt x="2295" y="3073"/>
                    <a:pt x="2275" y="3073"/>
                  </a:cubicBezTo>
                  <a:lnTo>
                    <a:pt x="2275" y="3052"/>
                  </a:lnTo>
                  <a:cubicBezTo>
                    <a:pt x="2254" y="3052"/>
                    <a:pt x="2254" y="3052"/>
                    <a:pt x="2233" y="3052"/>
                  </a:cubicBezTo>
                  <a:cubicBezTo>
                    <a:pt x="2233" y="3032"/>
                    <a:pt x="2213" y="3032"/>
                    <a:pt x="2213" y="3032"/>
                  </a:cubicBezTo>
                  <a:lnTo>
                    <a:pt x="2193" y="3011"/>
                  </a:lnTo>
                  <a:cubicBezTo>
                    <a:pt x="2193" y="2991"/>
                    <a:pt x="2172" y="3011"/>
                    <a:pt x="2172" y="2991"/>
                  </a:cubicBezTo>
                  <a:lnTo>
                    <a:pt x="2151" y="2991"/>
                  </a:lnTo>
                  <a:cubicBezTo>
                    <a:pt x="2131" y="2991"/>
                    <a:pt x="2131" y="2970"/>
                    <a:pt x="2131" y="2970"/>
                  </a:cubicBezTo>
                  <a:cubicBezTo>
                    <a:pt x="2131" y="2950"/>
                    <a:pt x="2111" y="2950"/>
                    <a:pt x="2111" y="2929"/>
                  </a:cubicBezTo>
                  <a:lnTo>
                    <a:pt x="2111" y="2888"/>
                  </a:lnTo>
                  <a:cubicBezTo>
                    <a:pt x="2111" y="2868"/>
                    <a:pt x="2111" y="2868"/>
                    <a:pt x="2111" y="2847"/>
                  </a:cubicBezTo>
                  <a:cubicBezTo>
                    <a:pt x="2111" y="2847"/>
                    <a:pt x="2090" y="2827"/>
                    <a:pt x="2090" y="2806"/>
                  </a:cubicBezTo>
                  <a:cubicBezTo>
                    <a:pt x="2090" y="2806"/>
                    <a:pt x="2090" y="2786"/>
                    <a:pt x="2090" y="2765"/>
                  </a:cubicBezTo>
                  <a:cubicBezTo>
                    <a:pt x="2090" y="2765"/>
                    <a:pt x="2070" y="2765"/>
                    <a:pt x="2070" y="2745"/>
                  </a:cubicBezTo>
                  <a:lnTo>
                    <a:pt x="2070" y="2745"/>
                  </a:lnTo>
                  <a:cubicBezTo>
                    <a:pt x="2070" y="2724"/>
                    <a:pt x="2049" y="2724"/>
                    <a:pt x="2049" y="2724"/>
                  </a:cubicBezTo>
                  <a:cubicBezTo>
                    <a:pt x="2049" y="2724"/>
                    <a:pt x="2029" y="2724"/>
                    <a:pt x="2008" y="2724"/>
                  </a:cubicBezTo>
                  <a:lnTo>
                    <a:pt x="1988" y="2724"/>
                  </a:lnTo>
                  <a:lnTo>
                    <a:pt x="1967" y="2724"/>
                  </a:lnTo>
                  <a:lnTo>
                    <a:pt x="1947" y="2724"/>
                  </a:lnTo>
                  <a:cubicBezTo>
                    <a:pt x="1947" y="2704"/>
                    <a:pt x="1926" y="2704"/>
                    <a:pt x="1926" y="2724"/>
                  </a:cubicBezTo>
                  <a:lnTo>
                    <a:pt x="1926" y="2724"/>
                  </a:lnTo>
                  <a:cubicBezTo>
                    <a:pt x="1947" y="2724"/>
                    <a:pt x="1947" y="2724"/>
                    <a:pt x="1947" y="2745"/>
                  </a:cubicBezTo>
                  <a:lnTo>
                    <a:pt x="1947" y="2745"/>
                  </a:lnTo>
                  <a:lnTo>
                    <a:pt x="1926" y="2745"/>
                  </a:lnTo>
                  <a:lnTo>
                    <a:pt x="1906" y="2765"/>
                  </a:lnTo>
                  <a:lnTo>
                    <a:pt x="1885" y="2765"/>
                  </a:lnTo>
                  <a:lnTo>
                    <a:pt x="1865" y="2765"/>
                  </a:lnTo>
                  <a:cubicBezTo>
                    <a:pt x="1865" y="2786"/>
                    <a:pt x="1865" y="2786"/>
                    <a:pt x="1844" y="2786"/>
                  </a:cubicBezTo>
                  <a:cubicBezTo>
                    <a:pt x="1844" y="2806"/>
                    <a:pt x="1844" y="2806"/>
                    <a:pt x="1844" y="2806"/>
                  </a:cubicBezTo>
                  <a:cubicBezTo>
                    <a:pt x="1824" y="2806"/>
                    <a:pt x="1824" y="2806"/>
                    <a:pt x="1824" y="2806"/>
                  </a:cubicBezTo>
                  <a:cubicBezTo>
                    <a:pt x="1803" y="2806"/>
                    <a:pt x="1803" y="2806"/>
                    <a:pt x="1803" y="2827"/>
                  </a:cubicBezTo>
                  <a:lnTo>
                    <a:pt x="1783" y="2827"/>
                  </a:lnTo>
                  <a:lnTo>
                    <a:pt x="1783" y="2827"/>
                  </a:lnTo>
                  <a:cubicBezTo>
                    <a:pt x="1762" y="2827"/>
                    <a:pt x="1762" y="2847"/>
                    <a:pt x="1762" y="2847"/>
                  </a:cubicBezTo>
                  <a:cubicBezTo>
                    <a:pt x="1762" y="2847"/>
                    <a:pt x="1742" y="2847"/>
                    <a:pt x="1742" y="2868"/>
                  </a:cubicBezTo>
                  <a:lnTo>
                    <a:pt x="1721" y="2868"/>
                  </a:lnTo>
                  <a:cubicBezTo>
                    <a:pt x="1721" y="2888"/>
                    <a:pt x="1721" y="2888"/>
                    <a:pt x="1700" y="2888"/>
                  </a:cubicBezTo>
                  <a:lnTo>
                    <a:pt x="1680" y="2868"/>
                  </a:lnTo>
                  <a:cubicBezTo>
                    <a:pt x="1680" y="2847"/>
                    <a:pt x="1660" y="2847"/>
                    <a:pt x="1660" y="2827"/>
                  </a:cubicBezTo>
                  <a:lnTo>
                    <a:pt x="1639" y="2827"/>
                  </a:lnTo>
                  <a:cubicBezTo>
                    <a:pt x="1639" y="2827"/>
                    <a:pt x="1619" y="2827"/>
                    <a:pt x="1598" y="2827"/>
                  </a:cubicBezTo>
                  <a:lnTo>
                    <a:pt x="1578" y="2827"/>
                  </a:lnTo>
                  <a:cubicBezTo>
                    <a:pt x="1557" y="2827"/>
                    <a:pt x="1557" y="2827"/>
                    <a:pt x="1537" y="2827"/>
                  </a:cubicBezTo>
                  <a:cubicBezTo>
                    <a:pt x="1537" y="2806"/>
                    <a:pt x="1516" y="2806"/>
                    <a:pt x="1516" y="2786"/>
                  </a:cubicBezTo>
                  <a:lnTo>
                    <a:pt x="1516" y="2786"/>
                  </a:lnTo>
                  <a:cubicBezTo>
                    <a:pt x="1516" y="2765"/>
                    <a:pt x="1496" y="2765"/>
                    <a:pt x="1496" y="2765"/>
                  </a:cubicBezTo>
                  <a:cubicBezTo>
                    <a:pt x="1475" y="2765"/>
                    <a:pt x="1475" y="2765"/>
                    <a:pt x="1455" y="2765"/>
                  </a:cubicBezTo>
                  <a:cubicBezTo>
                    <a:pt x="1455" y="2765"/>
                    <a:pt x="1455" y="2765"/>
                    <a:pt x="1434" y="2765"/>
                  </a:cubicBezTo>
                  <a:cubicBezTo>
                    <a:pt x="1434" y="2765"/>
                    <a:pt x="1434" y="2765"/>
                    <a:pt x="1414" y="2765"/>
                  </a:cubicBezTo>
                  <a:cubicBezTo>
                    <a:pt x="1414" y="2745"/>
                    <a:pt x="1414" y="2745"/>
                    <a:pt x="1414" y="2745"/>
                  </a:cubicBezTo>
                  <a:cubicBezTo>
                    <a:pt x="1393" y="2724"/>
                    <a:pt x="1393" y="2724"/>
                    <a:pt x="1373" y="2724"/>
                  </a:cubicBezTo>
                  <a:lnTo>
                    <a:pt x="1352" y="2704"/>
                  </a:lnTo>
                  <a:lnTo>
                    <a:pt x="1352" y="2704"/>
                  </a:lnTo>
                  <a:cubicBezTo>
                    <a:pt x="1352" y="2683"/>
                    <a:pt x="1352" y="2683"/>
                    <a:pt x="1352" y="2683"/>
                  </a:cubicBezTo>
                  <a:cubicBezTo>
                    <a:pt x="1352" y="2683"/>
                    <a:pt x="1352" y="2683"/>
                    <a:pt x="1352" y="2663"/>
                  </a:cubicBezTo>
                  <a:cubicBezTo>
                    <a:pt x="1373" y="2663"/>
                    <a:pt x="1373" y="2663"/>
                    <a:pt x="1373" y="2663"/>
                  </a:cubicBezTo>
                  <a:cubicBezTo>
                    <a:pt x="1352" y="2642"/>
                    <a:pt x="1332" y="2642"/>
                    <a:pt x="1332" y="2622"/>
                  </a:cubicBezTo>
                  <a:cubicBezTo>
                    <a:pt x="1312" y="2622"/>
                    <a:pt x="1312" y="2622"/>
                    <a:pt x="1291" y="2601"/>
                  </a:cubicBezTo>
                  <a:cubicBezTo>
                    <a:pt x="1291" y="2601"/>
                    <a:pt x="1270" y="2601"/>
                    <a:pt x="1270" y="2581"/>
                  </a:cubicBezTo>
                  <a:lnTo>
                    <a:pt x="1230" y="2581"/>
                  </a:lnTo>
                  <a:cubicBezTo>
                    <a:pt x="1209" y="2581"/>
                    <a:pt x="1209" y="2581"/>
                    <a:pt x="1188" y="2581"/>
                  </a:cubicBezTo>
                  <a:cubicBezTo>
                    <a:pt x="1188" y="2581"/>
                    <a:pt x="1168" y="2581"/>
                    <a:pt x="1168" y="2560"/>
                  </a:cubicBezTo>
                  <a:cubicBezTo>
                    <a:pt x="1168" y="2560"/>
                    <a:pt x="1148" y="2560"/>
                    <a:pt x="1148" y="2540"/>
                  </a:cubicBezTo>
                  <a:cubicBezTo>
                    <a:pt x="1148" y="2540"/>
                    <a:pt x="1148" y="2519"/>
                    <a:pt x="1148" y="2499"/>
                  </a:cubicBezTo>
                  <a:cubicBezTo>
                    <a:pt x="1127" y="2499"/>
                    <a:pt x="1148" y="2478"/>
                    <a:pt x="1148" y="2478"/>
                  </a:cubicBezTo>
                  <a:cubicBezTo>
                    <a:pt x="1148" y="2458"/>
                    <a:pt x="1127" y="2458"/>
                    <a:pt x="1106" y="2437"/>
                  </a:cubicBezTo>
                  <a:cubicBezTo>
                    <a:pt x="1106" y="2437"/>
                    <a:pt x="1106" y="2437"/>
                    <a:pt x="1106" y="2417"/>
                  </a:cubicBezTo>
                  <a:lnTo>
                    <a:pt x="1086" y="2397"/>
                  </a:lnTo>
                  <a:cubicBezTo>
                    <a:pt x="1086" y="2376"/>
                    <a:pt x="1066" y="2376"/>
                    <a:pt x="1066" y="2355"/>
                  </a:cubicBezTo>
                  <a:lnTo>
                    <a:pt x="1066" y="2335"/>
                  </a:lnTo>
                  <a:cubicBezTo>
                    <a:pt x="1066" y="2335"/>
                    <a:pt x="1086" y="2315"/>
                    <a:pt x="1066" y="2315"/>
                  </a:cubicBezTo>
                  <a:cubicBezTo>
                    <a:pt x="1066" y="2315"/>
                    <a:pt x="1066" y="2294"/>
                    <a:pt x="1045" y="2294"/>
                  </a:cubicBezTo>
                  <a:lnTo>
                    <a:pt x="1024" y="2294"/>
                  </a:lnTo>
                  <a:cubicBezTo>
                    <a:pt x="1024" y="2273"/>
                    <a:pt x="1024" y="2253"/>
                    <a:pt x="1024" y="2253"/>
                  </a:cubicBezTo>
                  <a:cubicBezTo>
                    <a:pt x="1024" y="2233"/>
                    <a:pt x="1024" y="2233"/>
                    <a:pt x="1024" y="2212"/>
                  </a:cubicBezTo>
                  <a:cubicBezTo>
                    <a:pt x="1004" y="2212"/>
                    <a:pt x="1004" y="2191"/>
                    <a:pt x="984" y="2191"/>
                  </a:cubicBezTo>
                  <a:cubicBezTo>
                    <a:pt x="984" y="2171"/>
                    <a:pt x="963" y="2171"/>
                    <a:pt x="963" y="2171"/>
                  </a:cubicBezTo>
                  <a:lnTo>
                    <a:pt x="963" y="2151"/>
                  </a:lnTo>
                  <a:cubicBezTo>
                    <a:pt x="963" y="2130"/>
                    <a:pt x="942" y="2130"/>
                    <a:pt x="942" y="2130"/>
                  </a:cubicBezTo>
                  <a:lnTo>
                    <a:pt x="942" y="2109"/>
                  </a:lnTo>
                  <a:lnTo>
                    <a:pt x="922" y="2109"/>
                  </a:lnTo>
                  <a:lnTo>
                    <a:pt x="902" y="2109"/>
                  </a:lnTo>
                  <a:lnTo>
                    <a:pt x="881" y="2109"/>
                  </a:lnTo>
                  <a:cubicBezTo>
                    <a:pt x="860" y="2109"/>
                    <a:pt x="840" y="2109"/>
                    <a:pt x="840" y="2109"/>
                  </a:cubicBezTo>
                  <a:lnTo>
                    <a:pt x="820" y="2109"/>
                  </a:lnTo>
                  <a:cubicBezTo>
                    <a:pt x="820" y="2109"/>
                    <a:pt x="799" y="2089"/>
                    <a:pt x="778" y="2089"/>
                  </a:cubicBezTo>
                  <a:cubicBezTo>
                    <a:pt x="778" y="2089"/>
                    <a:pt x="778" y="2089"/>
                    <a:pt x="758" y="2089"/>
                  </a:cubicBezTo>
                  <a:cubicBezTo>
                    <a:pt x="758" y="2089"/>
                    <a:pt x="738" y="2089"/>
                    <a:pt x="738" y="2109"/>
                  </a:cubicBezTo>
                  <a:lnTo>
                    <a:pt x="717" y="2109"/>
                  </a:lnTo>
                  <a:cubicBezTo>
                    <a:pt x="717" y="2109"/>
                    <a:pt x="696" y="2109"/>
                    <a:pt x="696" y="2130"/>
                  </a:cubicBezTo>
                  <a:cubicBezTo>
                    <a:pt x="696" y="2130"/>
                    <a:pt x="696" y="2130"/>
                    <a:pt x="696" y="2151"/>
                  </a:cubicBezTo>
                  <a:lnTo>
                    <a:pt x="676" y="2151"/>
                  </a:lnTo>
                  <a:lnTo>
                    <a:pt x="676" y="2151"/>
                  </a:lnTo>
                  <a:lnTo>
                    <a:pt x="676" y="2130"/>
                  </a:lnTo>
                  <a:lnTo>
                    <a:pt x="676" y="2109"/>
                  </a:lnTo>
                  <a:lnTo>
                    <a:pt x="656" y="2089"/>
                  </a:lnTo>
                  <a:cubicBezTo>
                    <a:pt x="656" y="2089"/>
                    <a:pt x="656" y="2069"/>
                    <a:pt x="656" y="2048"/>
                  </a:cubicBezTo>
                  <a:lnTo>
                    <a:pt x="635" y="2048"/>
                  </a:lnTo>
                  <a:lnTo>
                    <a:pt x="635" y="2027"/>
                  </a:lnTo>
                  <a:cubicBezTo>
                    <a:pt x="635" y="2027"/>
                    <a:pt x="635" y="2027"/>
                    <a:pt x="635" y="2007"/>
                  </a:cubicBezTo>
                  <a:cubicBezTo>
                    <a:pt x="635" y="2007"/>
                    <a:pt x="635" y="2007"/>
                    <a:pt x="614" y="1987"/>
                  </a:cubicBezTo>
                  <a:lnTo>
                    <a:pt x="614" y="1987"/>
                  </a:lnTo>
                  <a:cubicBezTo>
                    <a:pt x="594" y="1966"/>
                    <a:pt x="594" y="1966"/>
                    <a:pt x="594" y="1966"/>
                  </a:cubicBezTo>
                  <a:cubicBezTo>
                    <a:pt x="594" y="1945"/>
                    <a:pt x="594" y="1945"/>
                    <a:pt x="594" y="1945"/>
                  </a:cubicBezTo>
                  <a:cubicBezTo>
                    <a:pt x="574" y="1925"/>
                    <a:pt x="574" y="1925"/>
                    <a:pt x="574" y="1905"/>
                  </a:cubicBezTo>
                  <a:cubicBezTo>
                    <a:pt x="574" y="1905"/>
                    <a:pt x="554" y="1905"/>
                    <a:pt x="554" y="1884"/>
                  </a:cubicBezTo>
                  <a:lnTo>
                    <a:pt x="554" y="1843"/>
                  </a:lnTo>
                  <a:cubicBezTo>
                    <a:pt x="554" y="1823"/>
                    <a:pt x="554" y="1802"/>
                    <a:pt x="554" y="1802"/>
                  </a:cubicBezTo>
                  <a:cubicBezTo>
                    <a:pt x="554" y="1781"/>
                    <a:pt x="574" y="1781"/>
                    <a:pt x="574" y="1761"/>
                  </a:cubicBezTo>
                  <a:cubicBezTo>
                    <a:pt x="574" y="1761"/>
                    <a:pt x="574" y="1741"/>
                    <a:pt x="574" y="1721"/>
                  </a:cubicBezTo>
                  <a:cubicBezTo>
                    <a:pt x="554" y="1721"/>
                    <a:pt x="554" y="1700"/>
                    <a:pt x="554" y="1700"/>
                  </a:cubicBezTo>
                  <a:lnTo>
                    <a:pt x="533" y="1679"/>
                  </a:lnTo>
                  <a:lnTo>
                    <a:pt x="512" y="1659"/>
                  </a:lnTo>
                  <a:cubicBezTo>
                    <a:pt x="512" y="1639"/>
                    <a:pt x="512" y="1618"/>
                    <a:pt x="512" y="1618"/>
                  </a:cubicBezTo>
                  <a:cubicBezTo>
                    <a:pt x="512" y="1597"/>
                    <a:pt x="492" y="1597"/>
                    <a:pt x="492" y="1597"/>
                  </a:cubicBezTo>
                  <a:lnTo>
                    <a:pt x="471" y="1577"/>
                  </a:lnTo>
                  <a:cubicBezTo>
                    <a:pt x="471" y="1577"/>
                    <a:pt x="451" y="1577"/>
                    <a:pt x="451" y="1557"/>
                  </a:cubicBezTo>
                  <a:cubicBezTo>
                    <a:pt x="430" y="1557"/>
                    <a:pt x="410" y="1536"/>
                    <a:pt x="410" y="1536"/>
                  </a:cubicBezTo>
                  <a:cubicBezTo>
                    <a:pt x="410" y="1515"/>
                    <a:pt x="390" y="1495"/>
                    <a:pt x="390" y="1495"/>
                  </a:cubicBezTo>
                  <a:lnTo>
                    <a:pt x="369" y="1475"/>
                  </a:lnTo>
                  <a:lnTo>
                    <a:pt x="348" y="1475"/>
                  </a:lnTo>
                  <a:cubicBezTo>
                    <a:pt x="328" y="1475"/>
                    <a:pt x="308" y="1475"/>
                    <a:pt x="308" y="1475"/>
                  </a:cubicBezTo>
                  <a:cubicBezTo>
                    <a:pt x="308" y="1454"/>
                    <a:pt x="308" y="1433"/>
                    <a:pt x="308" y="1433"/>
                  </a:cubicBezTo>
                  <a:cubicBezTo>
                    <a:pt x="287" y="1413"/>
                    <a:pt x="287" y="1393"/>
                    <a:pt x="287" y="1393"/>
                  </a:cubicBezTo>
                  <a:cubicBezTo>
                    <a:pt x="287" y="1372"/>
                    <a:pt x="266" y="1351"/>
                    <a:pt x="266" y="1351"/>
                  </a:cubicBezTo>
                  <a:cubicBezTo>
                    <a:pt x="266" y="1331"/>
                    <a:pt x="246" y="1331"/>
                    <a:pt x="246" y="1311"/>
                  </a:cubicBezTo>
                  <a:cubicBezTo>
                    <a:pt x="226" y="1311"/>
                    <a:pt x="226" y="1290"/>
                    <a:pt x="226" y="1290"/>
                  </a:cubicBezTo>
                  <a:cubicBezTo>
                    <a:pt x="205" y="1269"/>
                    <a:pt x="205" y="1249"/>
                    <a:pt x="205" y="1249"/>
                  </a:cubicBezTo>
                  <a:cubicBezTo>
                    <a:pt x="205" y="1229"/>
                    <a:pt x="205" y="1229"/>
                    <a:pt x="205" y="1208"/>
                  </a:cubicBezTo>
                  <a:cubicBezTo>
                    <a:pt x="226" y="1208"/>
                    <a:pt x="226" y="1187"/>
                    <a:pt x="226" y="1167"/>
                  </a:cubicBezTo>
                  <a:cubicBezTo>
                    <a:pt x="226" y="1167"/>
                    <a:pt x="226" y="1147"/>
                    <a:pt x="226" y="1126"/>
                  </a:cubicBezTo>
                  <a:lnTo>
                    <a:pt x="226" y="1105"/>
                  </a:lnTo>
                  <a:lnTo>
                    <a:pt x="226" y="1085"/>
                  </a:lnTo>
                  <a:lnTo>
                    <a:pt x="246" y="1065"/>
                  </a:lnTo>
                  <a:cubicBezTo>
                    <a:pt x="246" y="1065"/>
                    <a:pt x="246" y="1044"/>
                    <a:pt x="266" y="1024"/>
                  </a:cubicBezTo>
                  <a:lnTo>
                    <a:pt x="266" y="1003"/>
                  </a:lnTo>
                  <a:lnTo>
                    <a:pt x="266" y="983"/>
                  </a:lnTo>
                  <a:cubicBezTo>
                    <a:pt x="266" y="962"/>
                    <a:pt x="287" y="962"/>
                    <a:pt x="287" y="942"/>
                  </a:cubicBezTo>
                  <a:cubicBezTo>
                    <a:pt x="287" y="942"/>
                    <a:pt x="266" y="921"/>
                    <a:pt x="266" y="901"/>
                  </a:cubicBezTo>
                  <a:cubicBezTo>
                    <a:pt x="287" y="901"/>
                    <a:pt x="287" y="880"/>
                    <a:pt x="287" y="880"/>
                  </a:cubicBezTo>
                  <a:lnTo>
                    <a:pt x="308" y="880"/>
                  </a:lnTo>
                  <a:cubicBezTo>
                    <a:pt x="328" y="880"/>
                    <a:pt x="328" y="860"/>
                    <a:pt x="328" y="860"/>
                  </a:cubicBezTo>
                  <a:lnTo>
                    <a:pt x="308" y="839"/>
                  </a:lnTo>
                  <a:cubicBezTo>
                    <a:pt x="287" y="839"/>
                    <a:pt x="287" y="839"/>
                    <a:pt x="266" y="839"/>
                  </a:cubicBezTo>
                  <a:lnTo>
                    <a:pt x="266" y="839"/>
                  </a:lnTo>
                  <a:cubicBezTo>
                    <a:pt x="246" y="860"/>
                    <a:pt x="226" y="839"/>
                    <a:pt x="226" y="839"/>
                  </a:cubicBezTo>
                  <a:cubicBezTo>
                    <a:pt x="205" y="839"/>
                    <a:pt x="205" y="819"/>
                    <a:pt x="205" y="819"/>
                  </a:cubicBezTo>
                  <a:cubicBezTo>
                    <a:pt x="184" y="798"/>
                    <a:pt x="184" y="778"/>
                    <a:pt x="184" y="778"/>
                  </a:cubicBezTo>
                  <a:cubicBezTo>
                    <a:pt x="164" y="757"/>
                    <a:pt x="144" y="757"/>
                    <a:pt x="144" y="757"/>
                  </a:cubicBezTo>
                  <a:cubicBezTo>
                    <a:pt x="144" y="757"/>
                    <a:pt x="123" y="757"/>
                    <a:pt x="102" y="737"/>
                  </a:cubicBezTo>
                  <a:cubicBezTo>
                    <a:pt x="102" y="737"/>
                    <a:pt x="102" y="716"/>
                    <a:pt x="102" y="696"/>
                  </a:cubicBezTo>
                  <a:cubicBezTo>
                    <a:pt x="102" y="675"/>
                    <a:pt x="102" y="655"/>
                    <a:pt x="82" y="655"/>
                  </a:cubicBezTo>
                  <a:cubicBezTo>
                    <a:pt x="82" y="634"/>
                    <a:pt x="82" y="614"/>
                    <a:pt x="82" y="614"/>
                  </a:cubicBezTo>
                  <a:cubicBezTo>
                    <a:pt x="82" y="593"/>
                    <a:pt x="82" y="573"/>
                    <a:pt x="82" y="573"/>
                  </a:cubicBezTo>
                  <a:cubicBezTo>
                    <a:pt x="82" y="552"/>
                    <a:pt x="82" y="532"/>
                    <a:pt x="82" y="532"/>
                  </a:cubicBezTo>
                  <a:lnTo>
                    <a:pt x="62" y="511"/>
                  </a:lnTo>
                  <a:lnTo>
                    <a:pt x="62" y="491"/>
                  </a:lnTo>
                  <a:lnTo>
                    <a:pt x="62" y="470"/>
                  </a:lnTo>
                  <a:cubicBezTo>
                    <a:pt x="62" y="450"/>
                    <a:pt x="41" y="450"/>
                    <a:pt x="41" y="450"/>
                  </a:cubicBezTo>
                  <a:cubicBezTo>
                    <a:pt x="41" y="429"/>
                    <a:pt x="20" y="429"/>
                    <a:pt x="20" y="429"/>
                  </a:cubicBezTo>
                  <a:cubicBezTo>
                    <a:pt x="20" y="409"/>
                    <a:pt x="0" y="409"/>
                    <a:pt x="0" y="388"/>
                  </a:cubicBezTo>
                  <a:cubicBezTo>
                    <a:pt x="0" y="388"/>
                    <a:pt x="0" y="388"/>
                    <a:pt x="0" y="368"/>
                  </a:cubicBezTo>
                  <a:cubicBezTo>
                    <a:pt x="20" y="368"/>
                    <a:pt x="41" y="349"/>
                    <a:pt x="41" y="349"/>
                  </a:cubicBezTo>
                  <a:cubicBezTo>
                    <a:pt x="41" y="349"/>
                    <a:pt x="41" y="328"/>
                    <a:pt x="41" y="307"/>
                  </a:cubicBezTo>
                  <a:cubicBezTo>
                    <a:pt x="41" y="287"/>
                    <a:pt x="20" y="267"/>
                    <a:pt x="20" y="246"/>
                  </a:cubicBezTo>
                  <a:cubicBezTo>
                    <a:pt x="20" y="246"/>
                    <a:pt x="20" y="225"/>
                    <a:pt x="20" y="205"/>
                  </a:cubicBezTo>
                  <a:cubicBezTo>
                    <a:pt x="0" y="205"/>
                    <a:pt x="20" y="185"/>
                    <a:pt x="20" y="164"/>
                  </a:cubicBezTo>
                  <a:cubicBezTo>
                    <a:pt x="20" y="164"/>
                    <a:pt x="0" y="143"/>
                    <a:pt x="0" y="123"/>
                  </a:cubicBezTo>
                  <a:cubicBezTo>
                    <a:pt x="0" y="103"/>
                    <a:pt x="0" y="82"/>
                    <a:pt x="0" y="82"/>
                  </a:cubicBezTo>
                  <a:lnTo>
                    <a:pt x="0" y="61"/>
                  </a:lnTo>
                  <a:cubicBezTo>
                    <a:pt x="0" y="41"/>
                    <a:pt x="20" y="41"/>
                    <a:pt x="20" y="41"/>
                  </a:cubicBezTo>
                  <a:cubicBezTo>
                    <a:pt x="20" y="21"/>
                    <a:pt x="41" y="21"/>
                    <a:pt x="41" y="21"/>
                  </a:cubicBezTo>
                  <a:cubicBezTo>
                    <a:pt x="62" y="21"/>
                    <a:pt x="62" y="21"/>
                    <a:pt x="62" y="0"/>
                  </a:cubicBezTo>
                  <a:cubicBezTo>
                    <a:pt x="82" y="0"/>
                    <a:pt x="82" y="0"/>
                    <a:pt x="82" y="0"/>
                  </a:cubicBezTo>
                  <a:lnTo>
                    <a:pt x="82" y="21"/>
                  </a:lnTo>
                  <a:cubicBezTo>
                    <a:pt x="102" y="41"/>
                    <a:pt x="123" y="61"/>
                    <a:pt x="123" y="61"/>
                  </a:cubicBezTo>
                  <a:cubicBezTo>
                    <a:pt x="144" y="61"/>
                    <a:pt x="144" y="61"/>
                    <a:pt x="164" y="61"/>
                  </a:cubicBezTo>
                  <a:cubicBezTo>
                    <a:pt x="164" y="82"/>
                    <a:pt x="184" y="82"/>
                    <a:pt x="184" y="82"/>
                  </a:cubicBezTo>
                  <a:cubicBezTo>
                    <a:pt x="184" y="103"/>
                    <a:pt x="205" y="103"/>
                    <a:pt x="226" y="103"/>
                  </a:cubicBezTo>
                  <a:cubicBezTo>
                    <a:pt x="226" y="103"/>
                    <a:pt x="246" y="103"/>
                    <a:pt x="266" y="103"/>
                  </a:cubicBezTo>
                  <a:cubicBezTo>
                    <a:pt x="266" y="103"/>
                    <a:pt x="287" y="123"/>
                    <a:pt x="287" y="143"/>
                  </a:cubicBezTo>
                  <a:cubicBezTo>
                    <a:pt x="287" y="143"/>
                    <a:pt x="287" y="164"/>
                    <a:pt x="308" y="164"/>
                  </a:cubicBezTo>
                  <a:lnTo>
                    <a:pt x="328" y="164"/>
                  </a:lnTo>
                  <a:cubicBezTo>
                    <a:pt x="328" y="143"/>
                    <a:pt x="328" y="143"/>
                    <a:pt x="348" y="143"/>
                  </a:cubicBezTo>
                  <a:lnTo>
                    <a:pt x="348" y="123"/>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 name="Freeform 54">
              <a:extLst>
                <a:ext uri="{FF2B5EF4-FFF2-40B4-BE49-F238E27FC236}">
                  <a16:creationId xmlns:a16="http://schemas.microsoft.com/office/drawing/2014/main" id="{8A618EB0-13B8-4947-B33B-4DF5094A927A}"/>
                </a:ext>
              </a:extLst>
            </p:cNvPr>
            <p:cNvSpPr>
              <a:spLocks noChangeArrowheads="1"/>
            </p:cNvSpPr>
            <p:nvPr/>
          </p:nvSpPr>
          <p:spPr bwMode="auto">
            <a:xfrm>
              <a:off x="825500" y="5408613"/>
              <a:ext cx="258763" cy="325437"/>
            </a:xfrm>
            <a:custGeom>
              <a:avLst/>
              <a:gdLst>
                <a:gd name="T0" fmla="*/ 718 w 719"/>
                <a:gd name="T1" fmla="*/ 184 h 903"/>
                <a:gd name="T2" fmla="*/ 718 w 719"/>
                <a:gd name="T3" fmla="*/ 205 h 903"/>
                <a:gd name="T4" fmla="*/ 636 w 719"/>
                <a:gd name="T5" fmla="*/ 266 h 903"/>
                <a:gd name="T6" fmla="*/ 410 w 719"/>
                <a:gd name="T7" fmla="*/ 348 h 903"/>
                <a:gd name="T8" fmla="*/ 452 w 719"/>
                <a:gd name="T9" fmla="*/ 635 h 903"/>
                <a:gd name="T10" fmla="*/ 431 w 719"/>
                <a:gd name="T11" fmla="*/ 696 h 903"/>
                <a:gd name="T12" fmla="*/ 370 w 719"/>
                <a:gd name="T13" fmla="*/ 717 h 903"/>
                <a:gd name="T14" fmla="*/ 328 w 719"/>
                <a:gd name="T15" fmla="*/ 738 h 903"/>
                <a:gd name="T16" fmla="*/ 246 w 719"/>
                <a:gd name="T17" fmla="*/ 758 h 903"/>
                <a:gd name="T18" fmla="*/ 185 w 719"/>
                <a:gd name="T19" fmla="*/ 799 h 903"/>
                <a:gd name="T20" fmla="*/ 144 w 719"/>
                <a:gd name="T21" fmla="*/ 860 h 903"/>
                <a:gd name="T22" fmla="*/ 21 w 719"/>
                <a:gd name="T23" fmla="*/ 902 h 903"/>
                <a:gd name="T24" fmla="*/ 0 w 719"/>
                <a:gd name="T25" fmla="*/ 881 h 903"/>
                <a:gd name="T26" fmla="*/ 0 w 719"/>
                <a:gd name="T27" fmla="*/ 860 h 903"/>
                <a:gd name="T28" fmla="*/ 42 w 719"/>
                <a:gd name="T29" fmla="*/ 820 h 903"/>
                <a:gd name="T30" fmla="*/ 42 w 719"/>
                <a:gd name="T31" fmla="*/ 778 h 903"/>
                <a:gd name="T32" fmla="*/ 42 w 719"/>
                <a:gd name="T33" fmla="*/ 717 h 903"/>
                <a:gd name="T34" fmla="*/ 42 w 719"/>
                <a:gd name="T35" fmla="*/ 676 h 903"/>
                <a:gd name="T36" fmla="*/ 42 w 719"/>
                <a:gd name="T37" fmla="*/ 656 h 903"/>
                <a:gd name="T38" fmla="*/ 62 w 719"/>
                <a:gd name="T39" fmla="*/ 594 h 903"/>
                <a:gd name="T40" fmla="*/ 82 w 719"/>
                <a:gd name="T41" fmla="*/ 574 h 903"/>
                <a:gd name="T42" fmla="*/ 103 w 719"/>
                <a:gd name="T43" fmla="*/ 532 h 903"/>
                <a:gd name="T44" fmla="*/ 103 w 719"/>
                <a:gd name="T45" fmla="*/ 471 h 903"/>
                <a:gd name="T46" fmla="*/ 103 w 719"/>
                <a:gd name="T47" fmla="*/ 430 h 903"/>
                <a:gd name="T48" fmla="*/ 124 w 719"/>
                <a:gd name="T49" fmla="*/ 328 h 903"/>
                <a:gd name="T50" fmla="*/ 124 w 719"/>
                <a:gd name="T51" fmla="*/ 266 h 903"/>
                <a:gd name="T52" fmla="*/ 124 w 719"/>
                <a:gd name="T53" fmla="*/ 184 h 903"/>
                <a:gd name="T54" fmla="*/ 124 w 719"/>
                <a:gd name="T55" fmla="*/ 123 h 903"/>
                <a:gd name="T56" fmla="*/ 185 w 719"/>
                <a:gd name="T57" fmla="*/ 123 h 903"/>
                <a:gd name="T58" fmla="*/ 246 w 719"/>
                <a:gd name="T59" fmla="*/ 164 h 903"/>
                <a:gd name="T60" fmla="*/ 328 w 719"/>
                <a:gd name="T61" fmla="*/ 226 h 903"/>
                <a:gd name="T62" fmla="*/ 656 w 719"/>
                <a:gd name="T63" fmla="*/ 0 h 903"/>
                <a:gd name="T64" fmla="*/ 697 w 719"/>
                <a:gd name="T65" fmla="*/ 82 h 903"/>
                <a:gd name="T66" fmla="*/ 718 w 719"/>
                <a:gd name="T67" fmla="*/ 184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19" h="903">
                  <a:moveTo>
                    <a:pt x="718" y="184"/>
                  </a:moveTo>
                  <a:lnTo>
                    <a:pt x="718" y="184"/>
                  </a:lnTo>
                  <a:lnTo>
                    <a:pt x="718" y="184"/>
                  </a:lnTo>
                  <a:cubicBezTo>
                    <a:pt x="718" y="184"/>
                    <a:pt x="718" y="184"/>
                    <a:pt x="718" y="205"/>
                  </a:cubicBezTo>
                  <a:cubicBezTo>
                    <a:pt x="697" y="205"/>
                    <a:pt x="697" y="246"/>
                    <a:pt x="697" y="246"/>
                  </a:cubicBezTo>
                  <a:cubicBezTo>
                    <a:pt x="677" y="266"/>
                    <a:pt x="656" y="266"/>
                    <a:pt x="636" y="266"/>
                  </a:cubicBezTo>
                  <a:cubicBezTo>
                    <a:pt x="615" y="287"/>
                    <a:pt x="574" y="287"/>
                    <a:pt x="574" y="308"/>
                  </a:cubicBezTo>
                  <a:cubicBezTo>
                    <a:pt x="534" y="308"/>
                    <a:pt x="452" y="328"/>
                    <a:pt x="410" y="348"/>
                  </a:cubicBezTo>
                  <a:cubicBezTo>
                    <a:pt x="390" y="368"/>
                    <a:pt x="328" y="389"/>
                    <a:pt x="328" y="389"/>
                  </a:cubicBezTo>
                  <a:cubicBezTo>
                    <a:pt x="452" y="635"/>
                    <a:pt x="452" y="635"/>
                    <a:pt x="452" y="635"/>
                  </a:cubicBezTo>
                  <a:cubicBezTo>
                    <a:pt x="452" y="676"/>
                    <a:pt x="452" y="676"/>
                    <a:pt x="452" y="676"/>
                  </a:cubicBezTo>
                  <a:cubicBezTo>
                    <a:pt x="431" y="696"/>
                    <a:pt x="431" y="696"/>
                    <a:pt x="431" y="696"/>
                  </a:cubicBezTo>
                  <a:cubicBezTo>
                    <a:pt x="390" y="696"/>
                    <a:pt x="390" y="696"/>
                    <a:pt x="390" y="696"/>
                  </a:cubicBezTo>
                  <a:cubicBezTo>
                    <a:pt x="370" y="717"/>
                    <a:pt x="370" y="717"/>
                    <a:pt x="370" y="717"/>
                  </a:cubicBezTo>
                  <a:cubicBezTo>
                    <a:pt x="349" y="738"/>
                    <a:pt x="349" y="738"/>
                    <a:pt x="349" y="738"/>
                  </a:cubicBezTo>
                  <a:cubicBezTo>
                    <a:pt x="328" y="738"/>
                    <a:pt x="328" y="738"/>
                    <a:pt x="328" y="738"/>
                  </a:cubicBezTo>
                  <a:cubicBezTo>
                    <a:pt x="288" y="738"/>
                    <a:pt x="288" y="738"/>
                    <a:pt x="288" y="738"/>
                  </a:cubicBezTo>
                  <a:cubicBezTo>
                    <a:pt x="246" y="758"/>
                    <a:pt x="246" y="758"/>
                    <a:pt x="246" y="758"/>
                  </a:cubicBezTo>
                  <a:cubicBezTo>
                    <a:pt x="206" y="778"/>
                    <a:pt x="206" y="778"/>
                    <a:pt x="206" y="778"/>
                  </a:cubicBezTo>
                  <a:cubicBezTo>
                    <a:pt x="185" y="799"/>
                    <a:pt x="185" y="799"/>
                    <a:pt x="185" y="799"/>
                  </a:cubicBezTo>
                  <a:cubicBezTo>
                    <a:pt x="164" y="840"/>
                    <a:pt x="164" y="840"/>
                    <a:pt x="164" y="840"/>
                  </a:cubicBezTo>
                  <a:cubicBezTo>
                    <a:pt x="144" y="860"/>
                    <a:pt x="144" y="860"/>
                    <a:pt x="144" y="860"/>
                  </a:cubicBezTo>
                  <a:cubicBezTo>
                    <a:pt x="103" y="902"/>
                    <a:pt x="103" y="902"/>
                    <a:pt x="103" y="902"/>
                  </a:cubicBezTo>
                  <a:cubicBezTo>
                    <a:pt x="21" y="902"/>
                    <a:pt x="21" y="902"/>
                    <a:pt x="21" y="902"/>
                  </a:cubicBezTo>
                  <a:cubicBezTo>
                    <a:pt x="0" y="881"/>
                    <a:pt x="0" y="881"/>
                    <a:pt x="0" y="881"/>
                  </a:cubicBezTo>
                  <a:lnTo>
                    <a:pt x="0" y="881"/>
                  </a:lnTo>
                  <a:cubicBezTo>
                    <a:pt x="0" y="881"/>
                    <a:pt x="0" y="881"/>
                    <a:pt x="0" y="860"/>
                  </a:cubicBezTo>
                  <a:lnTo>
                    <a:pt x="0" y="860"/>
                  </a:lnTo>
                  <a:cubicBezTo>
                    <a:pt x="0" y="860"/>
                    <a:pt x="0" y="840"/>
                    <a:pt x="21" y="840"/>
                  </a:cubicBezTo>
                  <a:cubicBezTo>
                    <a:pt x="21" y="840"/>
                    <a:pt x="21" y="840"/>
                    <a:pt x="42" y="820"/>
                  </a:cubicBezTo>
                  <a:lnTo>
                    <a:pt x="42" y="799"/>
                  </a:lnTo>
                  <a:lnTo>
                    <a:pt x="42" y="778"/>
                  </a:lnTo>
                  <a:cubicBezTo>
                    <a:pt x="42" y="758"/>
                    <a:pt x="42" y="758"/>
                    <a:pt x="42" y="738"/>
                  </a:cubicBezTo>
                  <a:lnTo>
                    <a:pt x="42" y="717"/>
                  </a:lnTo>
                  <a:lnTo>
                    <a:pt x="42" y="696"/>
                  </a:lnTo>
                  <a:cubicBezTo>
                    <a:pt x="42" y="696"/>
                    <a:pt x="21" y="676"/>
                    <a:pt x="42" y="676"/>
                  </a:cubicBezTo>
                  <a:lnTo>
                    <a:pt x="42" y="656"/>
                  </a:lnTo>
                  <a:lnTo>
                    <a:pt x="42" y="656"/>
                  </a:lnTo>
                  <a:cubicBezTo>
                    <a:pt x="62" y="635"/>
                    <a:pt x="62" y="635"/>
                    <a:pt x="62" y="635"/>
                  </a:cubicBezTo>
                  <a:cubicBezTo>
                    <a:pt x="62" y="614"/>
                    <a:pt x="62" y="614"/>
                    <a:pt x="62" y="594"/>
                  </a:cubicBezTo>
                  <a:lnTo>
                    <a:pt x="82" y="594"/>
                  </a:lnTo>
                  <a:lnTo>
                    <a:pt x="82" y="574"/>
                  </a:lnTo>
                  <a:lnTo>
                    <a:pt x="103" y="553"/>
                  </a:lnTo>
                  <a:lnTo>
                    <a:pt x="103" y="532"/>
                  </a:lnTo>
                  <a:cubicBezTo>
                    <a:pt x="103" y="512"/>
                    <a:pt x="103" y="512"/>
                    <a:pt x="103" y="492"/>
                  </a:cubicBezTo>
                  <a:lnTo>
                    <a:pt x="103" y="471"/>
                  </a:lnTo>
                  <a:lnTo>
                    <a:pt x="103" y="471"/>
                  </a:lnTo>
                  <a:cubicBezTo>
                    <a:pt x="103" y="450"/>
                    <a:pt x="103" y="430"/>
                    <a:pt x="103" y="430"/>
                  </a:cubicBezTo>
                  <a:cubicBezTo>
                    <a:pt x="103" y="410"/>
                    <a:pt x="124" y="389"/>
                    <a:pt x="124" y="389"/>
                  </a:cubicBezTo>
                  <a:cubicBezTo>
                    <a:pt x="124" y="368"/>
                    <a:pt x="124" y="348"/>
                    <a:pt x="124" y="328"/>
                  </a:cubicBezTo>
                  <a:lnTo>
                    <a:pt x="103" y="287"/>
                  </a:lnTo>
                  <a:cubicBezTo>
                    <a:pt x="103" y="266"/>
                    <a:pt x="124" y="266"/>
                    <a:pt x="124" y="266"/>
                  </a:cubicBezTo>
                  <a:cubicBezTo>
                    <a:pt x="124" y="246"/>
                    <a:pt x="124" y="246"/>
                    <a:pt x="124" y="246"/>
                  </a:cubicBezTo>
                  <a:cubicBezTo>
                    <a:pt x="124" y="226"/>
                    <a:pt x="124" y="184"/>
                    <a:pt x="124" y="184"/>
                  </a:cubicBezTo>
                  <a:cubicBezTo>
                    <a:pt x="124" y="164"/>
                    <a:pt x="124" y="144"/>
                    <a:pt x="124" y="123"/>
                  </a:cubicBezTo>
                  <a:lnTo>
                    <a:pt x="124" y="123"/>
                  </a:lnTo>
                  <a:lnTo>
                    <a:pt x="144" y="123"/>
                  </a:lnTo>
                  <a:cubicBezTo>
                    <a:pt x="144" y="123"/>
                    <a:pt x="164" y="123"/>
                    <a:pt x="185" y="123"/>
                  </a:cubicBezTo>
                  <a:cubicBezTo>
                    <a:pt x="185" y="123"/>
                    <a:pt x="206" y="123"/>
                    <a:pt x="206" y="144"/>
                  </a:cubicBezTo>
                  <a:cubicBezTo>
                    <a:pt x="226" y="144"/>
                    <a:pt x="226" y="164"/>
                    <a:pt x="246" y="164"/>
                  </a:cubicBezTo>
                  <a:cubicBezTo>
                    <a:pt x="246" y="184"/>
                    <a:pt x="267" y="205"/>
                    <a:pt x="288" y="205"/>
                  </a:cubicBezTo>
                  <a:cubicBezTo>
                    <a:pt x="288" y="226"/>
                    <a:pt x="308" y="226"/>
                    <a:pt x="328" y="226"/>
                  </a:cubicBezTo>
                  <a:lnTo>
                    <a:pt x="370" y="205"/>
                  </a:lnTo>
                  <a:cubicBezTo>
                    <a:pt x="656" y="0"/>
                    <a:pt x="656" y="0"/>
                    <a:pt x="656" y="0"/>
                  </a:cubicBezTo>
                  <a:cubicBezTo>
                    <a:pt x="656" y="0"/>
                    <a:pt x="677" y="20"/>
                    <a:pt x="677" y="41"/>
                  </a:cubicBezTo>
                  <a:cubicBezTo>
                    <a:pt x="677" y="41"/>
                    <a:pt x="677" y="62"/>
                    <a:pt x="697" y="82"/>
                  </a:cubicBezTo>
                  <a:cubicBezTo>
                    <a:pt x="697" y="82"/>
                    <a:pt x="697" y="102"/>
                    <a:pt x="697" y="123"/>
                  </a:cubicBezTo>
                  <a:cubicBezTo>
                    <a:pt x="697" y="123"/>
                    <a:pt x="718" y="164"/>
                    <a:pt x="718" y="18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 name="Freeform 55">
              <a:extLst>
                <a:ext uri="{FF2B5EF4-FFF2-40B4-BE49-F238E27FC236}">
                  <a16:creationId xmlns:a16="http://schemas.microsoft.com/office/drawing/2014/main" id="{1CC0E8EF-60F7-724E-9409-9355297FC1CD}"/>
                </a:ext>
              </a:extLst>
            </p:cNvPr>
            <p:cNvSpPr>
              <a:spLocks noChangeArrowheads="1"/>
            </p:cNvSpPr>
            <p:nvPr/>
          </p:nvSpPr>
          <p:spPr bwMode="auto">
            <a:xfrm>
              <a:off x="869950" y="5091113"/>
              <a:ext cx="420688" cy="398462"/>
            </a:xfrm>
            <a:custGeom>
              <a:avLst/>
              <a:gdLst>
                <a:gd name="T0" fmla="*/ 1127 w 1169"/>
                <a:gd name="T1" fmla="*/ 0 h 1108"/>
                <a:gd name="T2" fmla="*/ 1127 w 1169"/>
                <a:gd name="T3" fmla="*/ 20 h 1108"/>
                <a:gd name="T4" fmla="*/ 1086 w 1169"/>
                <a:gd name="T5" fmla="*/ 102 h 1108"/>
                <a:gd name="T6" fmla="*/ 1004 w 1169"/>
                <a:gd name="T7" fmla="*/ 123 h 1108"/>
                <a:gd name="T8" fmla="*/ 942 w 1169"/>
                <a:gd name="T9" fmla="*/ 143 h 1108"/>
                <a:gd name="T10" fmla="*/ 901 w 1169"/>
                <a:gd name="T11" fmla="*/ 205 h 1108"/>
                <a:gd name="T12" fmla="*/ 922 w 1169"/>
                <a:gd name="T13" fmla="*/ 369 h 1108"/>
                <a:gd name="T14" fmla="*/ 901 w 1169"/>
                <a:gd name="T15" fmla="*/ 573 h 1108"/>
                <a:gd name="T16" fmla="*/ 532 w 1169"/>
                <a:gd name="T17" fmla="*/ 881 h 1108"/>
                <a:gd name="T18" fmla="*/ 204 w 1169"/>
                <a:gd name="T19" fmla="*/ 1107 h 1108"/>
                <a:gd name="T20" fmla="*/ 122 w 1169"/>
                <a:gd name="T21" fmla="*/ 1045 h 1108"/>
                <a:gd name="T22" fmla="*/ 61 w 1169"/>
                <a:gd name="T23" fmla="*/ 1004 h 1108"/>
                <a:gd name="T24" fmla="*/ 0 w 1169"/>
                <a:gd name="T25" fmla="*/ 1004 h 1108"/>
                <a:gd name="T26" fmla="*/ 0 w 1169"/>
                <a:gd name="T27" fmla="*/ 922 h 1108"/>
                <a:gd name="T28" fmla="*/ 40 w 1169"/>
                <a:gd name="T29" fmla="*/ 881 h 1108"/>
                <a:gd name="T30" fmla="*/ 82 w 1169"/>
                <a:gd name="T31" fmla="*/ 819 h 1108"/>
                <a:gd name="T32" fmla="*/ 122 w 1169"/>
                <a:gd name="T33" fmla="*/ 758 h 1108"/>
                <a:gd name="T34" fmla="*/ 164 w 1169"/>
                <a:gd name="T35" fmla="*/ 717 h 1108"/>
                <a:gd name="T36" fmla="*/ 184 w 1169"/>
                <a:gd name="T37" fmla="*/ 676 h 1108"/>
                <a:gd name="T38" fmla="*/ 143 w 1169"/>
                <a:gd name="T39" fmla="*/ 635 h 1108"/>
                <a:gd name="T40" fmla="*/ 82 w 1169"/>
                <a:gd name="T41" fmla="*/ 615 h 1108"/>
                <a:gd name="T42" fmla="*/ 61 w 1169"/>
                <a:gd name="T43" fmla="*/ 573 h 1108"/>
                <a:gd name="T44" fmla="*/ 40 w 1169"/>
                <a:gd name="T45" fmla="*/ 573 h 1108"/>
                <a:gd name="T46" fmla="*/ 20 w 1169"/>
                <a:gd name="T47" fmla="*/ 348 h 1108"/>
                <a:gd name="T48" fmla="*/ 40 w 1169"/>
                <a:gd name="T49" fmla="*/ 287 h 1108"/>
                <a:gd name="T50" fmla="*/ 82 w 1169"/>
                <a:gd name="T51" fmla="*/ 266 h 1108"/>
                <a:gd name="T52" fmla="*/ 122 w 1169"/>
                <a:gd name="T53" fmla="*/ 307 h 1108"/>
                <a:gd name="T54" fmla="*/ 164 w 1169"/>
                <a:gd name="T55" fmla="*/ 287 h 1108"/>
                <a:gd name="T56" fmla="*/ 204 w 1169"/>
                <a:gd name="T57" fmla="*/ 205 h 1108"/>
                <a:gd name="T58" fmla="*/ 204 w 1169"/>
                <a:gd name="T59" fmla="*/ 123 h 1108"/>
                <a:gd name="T60" fmla="*/ 246 w 1169"/>
                <a:gd name="T61" fmla="*/ 123 h 1108"/>
                <a:gd name="T62" fmla="*/ 328 w 1169"/>
                <a:gd name="T63" fmla="*/ 164 h 1108"/>
                <a:gd name="T64" fmla="*/ 430 w 1169"/>
                <a:gd name="T65" fmla="*/ 123 h 1108"/>
                <a:gd name="T66" fmla="*/ 491 w 1169"/>
                <a:gd name="T67" fmla="*/ 102 h 1108"/>
                <a:gd name="T68" fmla="*/ 614 w 1169"/>
                <a:gd name="T69" fmla="*/ 123 h 1108"/>
                <a:gd name="T70" fmla="*/ 758 w 1169"/>
                <a:gd name="T71" fmla="*/ 82 h 1108"/>
                <a:gd name="T72" fmla="*/ 881 w 1169"/>
                <a:gd name="T73" fmla="*/ 41 h 1108"/>
                <a:gd name="T74" fmla="*/ 1024 w 1169"/>
                <a:gd name="T75" fmla="*/ 20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9" h="1108">
                  <a:moveTo>
                    <a:pt x="1127" y="0"/>
                  </a:moveTo>
                  <a:lnTo>
                    <a:pt x="1127" y="0"/>
                  </a:lnTo>
                  <a:cubicBezTo>
                    <a:pt x="1127" y="0"/>
                    <a:pt x="1147" y="0"/>
                    <a:pt x="1168" y="0"/>
                  </a:cubicBezTo>
                  <a:cubicBezTo>
                    <a:pt x="1168" y="0"/>
                    <a:pt x="1147" y="20"/>
                    <a:pt x="1127" y="20"/>
                  </a:cubicBezTo>
                  <a:cubicBezTo>
                    <a:pt x="1127" y="41"/>
                    <a:pt x="1127" y="61"/>
                    <a:pt x="1106" y="61"/>
                  </a:cubicBezTo>
                  <a:cubicBezTo>
                    <a:pt x="1106" y="82"/>
                    <a:pt x="1086" y="82"/>
                    <a:pt x="1086" y="102"/>
                  </a:cubicBezTo>
                  <a:cubicBezTo>
                    <a:pt x="1065" y="102"/>
                    <a:pt x="1065" y="102"/>
                    <a:pt x="1045" y="123"/>
                  </a:cubicBezTo>
                  <a:cubicBezTo>
                    <a:pt x="1045" y="123"/>
                    <a:pt x="1024" y="123"/>
                    <a:pt x="1004" y="123"/>
                  </a:cubicBezTo>
                  <a:cubicBezTo>
                    <a:pt x="1004" y="123"/>
                    <a:pt x="983" y="123"/>
                    <a:pt x="963" y="123"/>
                  </a:cubicBezTo>
                  <a:cubicBezTo>
                    <a:pt x="963" y="143"/>
                    <a:pt x="963" y="143"/>
                    <a:pt x="942" y="143"/>
                  </a:cubicBezTo>
                  <a:lnTo>
                    <a:pt x="922" y="164"/>
                  </a:lnTo>
                  <a:cubicBezTo>
                    <a:pt x="922" y="184"/>
                    <a:pt x="901" y="205"/>
                    <a:pt x="901" y="205"/>
                  </a:cubicBezTo>
                  <a:cubicBezTo>
                    <a:pt x="901" y="225"/>
                    <a:pt x="922" y="246"/>
                    <a:pt x="922" y="266"/>
                  </a:cubicBezTo>
                  <a:cubicBezTo>
                    <a:pt x="922" y="287"/>
                    <a:pt x="922" y="328"/>
                    <a:pt x="922" y="369"/>
                  </a:cubicBezTo>
                  <a:cubicBezTo>
                    <a:pt x="922" y="389"/>
                    <a:pt x="922" y="451"/>
                    <a:pt x="922" y="471"/>
                  </a:cubicBezTo>
                  <a:cubicBezTo>
                    <a:pt x="901" y="492"/>
                    <a:pt x="901" y="553"/>
                    <a:pt x="901" y="573"/>
                  </a:cubicBezTo>
                  <a:lnTo>
                    <a:pt x="860" y="635"/>
                  </a:lnTo>
                  <a:cubicBezTo>
                    <a:pt x="532" y="881"/>
                    <a:pt x="532" y="881"/>
                    <a:pt x="532" y="881"/>
                  </a:cubicBezTo>
                  <a:cubicBezTo>
                    <a:pt x="246" y="1086"/>
                    <a:pt x="246" y="1086"/>
                    <a:pt x="246" y="1086"/>
                  </a:cubicBezTo>
                  <a:lnTo>
                    <a:pt x="204" y="1107"/>
                  </a:lnTo>
                  <a:cubicBezTo>
                    <a:pt x="184" y="1107"/>
                    <a:pt x="164" y="1107"/>
                    <a:pt x="164" y="1086"/>
                  </a:cubicBezTo>
                  <a:cubicBezTo>
                    <a:pt x="143" y="1086"/>
                    <a:pt x="122" y="1065"/>
                    <a:pt x="122" y="1045"/>
                  </a:cubicBezTo>
                  <a:cubicBezTo>
                    <a:pt x="102" y="1045"/>
                    <a:pt x="102" y="1025"/>
                    <a:pt x="82" y="1025"/>
                  </a:cubicBezTo>
                  <a:cubicBezTo>
                    <a:pt x="82" y="1004"/>
                    <a:pt x="61" y="1004"/>
                    <a:pt x="61" y="1004"/>
                  </a:cubicBezTo>
                  <a:cubicBezTo>
                    <a:pt x="40" y="1004"/>
                    <a:pt x="20" y="1004"/>
                    <a:pt x="20" y="1004"/>
                  </a:cubicBezTo>
                  <a:lnTo>
                    <a:pt x="0" y="1004"/>
                  </a:lnTo>
                  <a:lnTo>
                    <a:pt x="0" y="963"/>
                  </a:lnTo>
                  <a:cubicBezTo>
                    <a:pt x="0" y="943"/>
                    <a:pt x="0" y="943"/>
                    <a:pt x="0" y="922"/>
                  </a:cubicBezTo>
                  <a:cubicBezTo>
                    <a:pt x="0" y="922"/>
                    <a:pt x="20" y="922"/>
                    <a:pt x="20" y="901"/>
                  </a:cubicBezTo>
                  <a:lnTo>
                    <a:pt x="40" y="881"/>
                  </a:lnTo>
                  <a:cubicBezTo>
                    <a:pt x="40" y="881"/>
                    <a:pt x="61" y="861"/>
                    <a:pt x="61" y="840"/>
                  </a:cubicBezTo>
                  <a:cubicBezTo>
                    <a:pt x="61" y="840"/>
                    <a:pt x="61" y="819"/>
                    <a:pt x="82" y="819"/>
                  </a:cubicBezTo>
                  <a:cubicBezTo>
                    <a:pt x="82" y="799"/>
                    <a:pt x="82" y="799"/>
                    <a:pt x="102" y="799"/>
                  </a:cubicBezTo>
                  <a:cubicBezTo>
                    <a:pt x="102" y="779"/>
                    <a:pt x="122" y="779"/>
                    <a:pt x="122" y="758"/>
                  </a:cubicBezTo>
                  <a:cubicBezTo>
                    <a:pt x="122" y="758"/>
                    <a:pt x="122" y="737"/>
                    <a:pt x="143" y="737"/>
                  </a:cubicBezTo>
                  <a:cubicBezTo>
                    <a:pt x="143" y="737"/>
                    <a:pt x="143" y="717"/>
                    <a:pt x="164" y="717"/>
                  </a:cubicBezTo>
                  <a:lnTo>
                    <a:pt x="184" y="717"/>
                  </a:lnTo>
                  <a:cubicBezTo>
                    <a:pt x="184" y="697"/>
                    <a:pt x="184" y="697"/>
                    <a:pt x="184" y="676"/>
                  </a:cubicBezTo>
                  <a:lnTo>
                    <a:pt x="164" y="655"/>
                  </a:lnTo>
                  <a:cubicBezTo>
                    <a:pt x="164" y="635"/>
                    <a:pt x="143" y="635"/>
                    <a:pt x="143" y="635"/>
                  </a:cubicBezTo>
                  <a:cubicBezTo>
                    <a:pt x="143" y="615"/>
                    <a:pt x="122" y="615"/>
                    <a:pt x="122" y="615"/>
                  </a:cubicBezTo>
                  <a:cubicBezTo>
                    <a:pt x="102" y="615"/>
                    <a:pt x="102" y="615"/>
                    <a:pt x="82" y="615"/>
                  </a:cubicBezTo>
                  <a:lnTo>
                    <a:pt x="82" y="594"/>
                  </a:lnTo>
                  <a:cubicBezTo>
                    <a:pt x="61" y="594"/>
                    <a:pt x="61" y="573"/>
                    <a:pt x="61" y="573"/>
                  </a:cubicBezTo>
                  <a:lnTo>
                    <a:pt x="40" y="573"/>
                  </a:lnTo>
                  <a:lnTo>
                    <a:pt x="40" y="573"/>
                  </a:lnTo>
                  <a:cubicBezTo>
                    <a:pt x="40" y="533"/>
                    <a:pt x="61" y="492"/>
                    <a:pt x="40" y="451"/>
                  </a:cubicBezTo>
                  <a:cubicBezTo>
                    <a:pt x="40" y="430"/>
                    <a:pt x="20" y="369"/>
                    <a:pt x="20" y="348"/>
                  </a:cubicBezTo>
                  <a:cubicBezTo>
                    <a:pt x="20" y="328"/>
                    <a:pt x="20" y="307"/>
                    <a:pt x="20" y="307"/>
                  </a:cubicBezTo>
                  <a:lnTo>
                    <a:pt x="40" y="287"/>
                  </a:lnTo>
                  <a:cubicBezTo>
                    <a:pt x="40" y="266"/>
                    <a:pt x="40" y="266"/>
                    <a:pt x="40" y="246"/>
                  </a:cubicBezTo>
                  <a:cubicBezTo>
                    <a:pt x="61" y="266"/>
                    <a:pt x="61" y="266"/>
                    <a:pt x="82" y="266"/>
                  </a:cubicBezTo>
                  <a:cubicBezTo>
                    <a:pt x="82" y="266"/>
                    <a:pt x="82" y="287"/>
                    <a:pt x="82" y="307"/>
                  </a:cubicBezTo>
                  <a:cubicBezTo>
                    <a:pt x="102" y="307"/>
                    <a:pt x="122" y="307"/>
                    <a:pt x="122" y="307"/>
                  </a:cubicBezTo>
                  <a:cubicBezTo>
                    <a:pt x="143" y="307"/>
                    <a:pt x="143" y="287"/>
                    <a:pt x="143" y="287"/>
                  </a:cubicBezTo>
                  <a:cubicBezTo>
                    <a:pt x="143" y="266"/>
                    <a:pt x="164" y="287"/>
                    <a:pt x="164" y="287"/>
                  </a:cubicBezTo>
                  <a:cubicBezTo>
                    <a:pt x="184" y="287"/>
                    <a:pt x="184" y="266"/>
                    <a:pt x="204" y="266"/>
                  </a:cubicBezTo>
                  <a:cubicBezTo>
                    <a:pt x="204" y="246"/>
                    <a:pt x="204" y="225"/>
                    <a:pt x="204" y="205"/>
                  </a:cubicBezTo>
                  <a:lnTo>
                    <a:pt x="184" y="184"/>
                  </a:lnTo>
                  <a:cubicBezTo>
                    <a:pt x="184" y="164"/>
                    <a:pt x="184" y="123"/>
                    <a:pt x="204" y="123"/>
                  </a:cubicBezTo>
                  <a:cubicBezTo>
                    <a:pt x="204" y="102"/>
                    <a:pt x="225" y="102"/>
                    <a:pt x="225" y="102"/>
                  </a:cubicBezTo>
                  <a:cubicBezTo>
                    <a:pt x="246" y="102"/>
                    <a:pt x="246" y="102"/>
                    <a:pt x="246" y="123"/>
                  </a:cubicBezTo>
                  <a:cubicBezTo>
                    <a:pt x="266" y="123"/>
                    <a:pt x="266" y="143"/>
                    <a:pt x="286" y="164"/>
                  </a:cubicBezTo>
                  <a:cubicBezTo>
                    <a:pt x="286" y="164"/>
                    <a:pt x="307" y="164"/>
                    <a:pt x="328" y="164"/>
                  </a:cubicBezTo>
                  <a:cubicBezTo>
                    <a:pt x="328" y="164"/>
                    <a:pt x="348" y="143"/>
                    <a:pt x="368" y="143"/>
                  </a:cubicBezTo>
                  <a:cubicBezTo>
                    <a:pt x="389" y="143"/>
                    <a:pt x="410" y="123"/>
                    <a:pt x="430" y="123"/>
                  </a:cubicBezTo>
                  <a:cubicBezTo>
                    <a:pt x="430" y="102"/>
                    <a:pt x="450" y="102"/>
                    <a:pt x="450" y="102"/>
                  </a:cubicBezTo>
                  <a:cubicBezTo>
                    <a:pt x="471" y="82"/>
                    <a:pt x="491" y="102"/>
                    <a:pt x="491" y="102"/>
                  </a:cubicBezTo>
                  <a:cubicBezTo>
                    <a:pt x="512" y="102"/>
                    <a:pt x="553" y="123"/>
                    <a:pt x="553" y="123"/>
                  </a:cubicBezTo>
                  <a:cubicBezTo>
                    <a:pt x="573" y="123"/>
                    <a:pt x="594" y="123"/>
                    <a:pt x="614" y="123"/>
                  </a:cubicBezTo>
                  <a:cubicBezTo>
                    <a:pt x="614" y="123"/>
                    <a:pt x="655" y="123"/>
                    <a:pt x="676" y="123"/>
                  </a:cubicBezTo>
                  <a:cubicBezTo>
                    <a:pt x="696" y="123"/>
                    <a:pt x="737" y="102"/>
                    <a:pt x="758" y="82"/>
                  </a:cubicBezTo>
                  <a:cubicBezTo>
                    <a:pt x="758" y="82"/>
                    <a:pt x="799" y="61"/>
                    <a:pt x="819" y="61"/>
                  </a:cubicBezTo>
                  <a:cubicBezTo>
                    <a:pt x="819" y="41"/>
                    <a:pt x="860" y="41"/>
                    <a:pt x="881" y="41"/>
                  </a:cubicBezTo>
                  <a:cubicBezTo>
                    <a:pt x="901" y="20"/>
                    <a:pt x="963" y="41"/>
                    <a:pt x="983" y="41"/>
                  </a:cubicBezTo>
                  <a:cubicBezTo>
                    <a:pt x="983" y="20"/>
                    <a:pt x="1024" y="20"/>
                    <a:pt x="1024" y="20"/>
                  </a:cubicBezTo>
                  <a:cubicBezTo>
                    <a:pt x="1045" y="0"/>
                    <a:pt x="1106" y="0"/>
                    <a:pt x="1127"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 name="Freeform 56">
              <a:extLst>
                <a:ext uri="{FF2B5EF4-FFF2-40B4-BE49-F238E27FC236}">
                  <a16:creationId xmlns:a16="http://schemas.microsoft.com/office/drawing/2014/main" id="{98F71A17-4453-5C42-8792-A71D5DD63A30}"/>
                </a:ext>
              </a:extLst>
            </p:cNvPr>
            <p:cNvSpPr>
              <a:spLocks noChangeArrowheads="1"/>
            </p:cNvSpPr>
            <p:nvPr/>
          </p:nvSpPr>
          <p:spPr bwMode="auto">
            <a:xfrm>
              <a:off x="1600200" y="5689600"/>
              <a:ext cx="7938" cy="15875"/>
            </a:xfrm>
            <a:custGeom>
              <a:avLst/>
              <a:gdLst>
                <a:gd name="T0" fmla="*/ 21 w 22"/>
                <a:gd name="T1" fmla="*/ 42 h 43"/>
                <a:gd name="T2" fmla="*/ 21 w 22"/>
                <a:gd name="T3" fmla="*/ 42 h 43"/>
                <a:gd name="T4" fmla="*/ 21 w 22"/>
                <a:gd name="T5" fmla="*/ 21 h 43"/>
                <a:gd name="T6" fmla="*/ 0 w 22"/>
                <a:gd name="T7" fmla="*/ 21 h 43"/>
                <a:gd name="T8" fmla="*/ 21 w 22"/>
                <a:gd name="T9" fmla="*/ 21 h 43"/>
                <a:gd name="T10" fmla="*/ 21 w 22"/>
                <a:gd name="T11" fmla="*/ 21 h 43"/>
                <a:gd name="T12" fmla="*/ 21 w 22"/>
                <a:gd name="T13" fmla="*/ 21 h 43"/>
                <a:gd name="T14" fmla="*/ 21 w 22"/>
                <a:gd name="T15" fmla="*/ 4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3">
                  <a:moveTo>
                    <a:pt x="21" y="42"/>
                  </a:moveTo>
                  <a:lnTo>
                    <a:pt x="21" y="42"/>
                  </a:lnTo>
                  <a:cubicBezTo>
                    <a:pt x="21" y="42"/>
                    <a:pt x="21" y="42"/>
                    <a:pt x="21" y="21"/>
                  </a:cubicBezTo>
                  <a:cubicBezTo>
                    <a:pt x="0" y="21"/>
                    <a:pt x="0" y="21"/>
                    <a:pt x="0" y="21"/>
                  </a:cubicBezTo>
                  <a:cubicBezTo>
                    <a:pt x="0" y="21"/>
                    <a:pt x="0" y="21"/>
                    <a:pt x="21" y="21"/>
                  </a:cubicBezTo>
                  <a:cubicBezTo>
                    <a:pt x="21" y="0"/>
                    <a:pt x="21" y="0"/>
                    <a:pt x="21" y="21"/>
                  </a:cubicBezTo>
                  <a:lnTo>
                    <a:pt x="21" y="21"/>
                  </a:lnTo>
                  <a:cubicBezTo>
                    <a:pt x="21" y="21"/>
                    <a:pt x="21" y="21"/>
                    <a:pt x="21"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 name="Freeform 57">
              <a:extLst>
                <a:ext uri="{FF2B5EF4-FFF2-40B4-BE49-F238E27FC236}">
                  <a16:creationId xmlns:a16="http://schemas.microsoft.com/office/drawing/2014/main" id="{D551AAC7-32FA-0D4F-8600-47007291D02E}"/>
                </a:ext>
              </a:extLst>
            </p:cNvPr>
            <p:cNvSpPr>
              <a:spLocks noChangeArrowheads="1"/>
            </p:cNvSpPr>
            <p:nvPr/>
          </p:nvSpPr>
          <p:spPr bwMode="auto">
            <a:xfrm>
              <a:off x="1519238" y="5653088"/>
              <a:ext cx="103187" cy="139700"/>
            </a:xfrm>
            <a:custGeom>
              <a:avLst/>
              <a:gdLst>
                <a:gd name="T0" fmla="*/ 20 w 287"/>
                <a:gd name="T1" fmla="*/ 205 h 390"/>
                <a:gd name="T2" fmla="*/ 20 w 287"/>
                <a:gd name="T3" fmla="*/ 205 h 390"/>
                <a:gd name="T4" fmla="*/ 20 w 287"/>
                <a:gd name="T5" fmla="*/ 205 h 390"/>
                <a:gd name="T6" fmla="*/ 0 w 287"/>
                <a:gd name="T7" fmla="*/ 164 h 390"/>
                <a:gd name="T8" fmla="*/ 20 w 287"/>
                <a:gd name="T9" fmla="*/ 144 h 390"/>
                <a:gd name="T10" fmla="*/ 41 w 287"/>
                <a:gd name="T11" fmla="*/ 123 h 390"/>
                <a:gd name="T12" fmla="*/ 41 w 287"/>
                <a:gd name="T13" fmla="*/ 102 h 390"/>
                <a:gd name="T14" fmla="*/ 41 w 287"/>
                <a:gd name="T15" fmla="*/ 82 h 390"/>
                <a:gd name="T16" fmla="*/ 82 w 287"/>
                <a:gd name="T17" fmla="*/ 41 h 390"/>
                <a:gd name="T18" fmla="*/ 82 w 287"/>
                <a:gd name="T19" fmla="*/ 20 h 390"/>
                <a:gd name="T20" fmla="*/ 123 w 287"/>
                <a:gd name="T21" fmla="*/ 0 h 390"/>
                <a:gd name="T22" fmla="*/ 144 w 287"/>
                <a:gd name="T23" fmla="*/ 0 h 390"/>
                <a:gd name="T24" fmla="*/ 164 w 287"/>
                <a:gd name="T25" fmla="*/ 20 h 390"/>
                <a:gd name="T26" fmla="*/ 184 w 287"/>
                <a:gd name="T27" fmla="*/ 20 h 390"/>
                <a:gd name="T28" fmla="*/ 204 w 287"/>
                <a:gd name="T29" fmla="*/ 41 h 390"/>
                <a:gd name="T30" fmla="*/ 225 w 287"/>
                <a:gd name="T31" fmla="*/ 62 h 390"/>
                <a:gd name="T32" fmla="*/ 225 w 287"/>
                <a:gd name="T33" fmla="*/ 82 h 390"/>
                <a:gd name="T34" fmla="*/ 204 w 287"/>
                <a:gd name="T35" fmla="*/ 102 h 390"/>
                <a:gd name="T36" fmla="*/ 204 w 287"/>
                <a:gd name="T37" fmla="*/ 102 h 390"/>
                <a:gd name="T38" fmla="*/ 184 w 287"/>
                <a:gd name="T39" fmla="*/ 123 h 390"/>
                <a:gd name="T40" fmla="*/ 164 w 287"/>
                <a:gd name="T41" fmla="*/ 123 h 390"/>
                <a:gd name="T42" fmla="*/ 144 w 287"/>
                <a:gd name="T43" fmla="*/ 144 h 390"/>
                <a:gd name="T44" fmla="*/ 164 w 287"/>
                <a:gd name="T45" fmla="*/ 164 h 390"/>
                <a:gd name="T46" fmla="*/ 164 w 287"/>
                <a:gd name="T47" fmla="*/ 205 h 390"/>
                <a:gd name="T48" fmla="*/ 184 w 287"/>
                <a:gd name="T49" fmla="*/ 226 h 390"/>
                <a:gd name="T50" fmla="*/ 204 w 287"/>
                <a:gd name="T51" fmla="*/ 226 h 390"/>
                <a:gd name="T52" fmla="*/ 225 w 287"/>
                <a:gd name="T53" fmla="*/ 246 h 390"/>
                <a:gd name="T54" fmla="*/ 246 w 287"/>
                <a:gd name="T55" fmla="*/ 287 h 390"/>
                <a:gd name="T56" fmla="*/ 246 w 287"/>
                <a:gd name="T57" fmla="*/ 308 h 390"/>
                <a:gd name="T58" fmla="*/ 266 w 287"/>
                <a:gd name="T59" fmla="*/ 328 h 390"/>
                <a:gd name="T60" fmla="*/ 286 w 287"/>
                <a:gd name="T61" fmla="*/ 348 h 390"/>
                <a:gd name="T62" fmla="*/ 266 w 287"/>
                <a:gd name="T63" fmla="*/ 348 h 390"/>
                <a:gd name="T64" fmla="*/ 225 w 287"/>
                <a:gd name="T65" fmla="*/ 369 h 390"/>
                <a:gd name="T66" fmla="*/ 184 w 287"/>
                <a:gd name="T67" fmla="*/ 389 h 390"/>
                <a:gd name="T68" fmla="*/ 164 w 287"/>
                <a:gd name="T69" fmla="*/ 369 h 390"/>
                <a:gd name="T70" fmla="*/ 123 w 287"/>
                <a:gd name="T71" fmla="*/ 369 h 390"/>
                <a:gd name="T72" fmla="*/ 123 w 287"/>
                <a:gd name="T73" fmla="*/ 328 h 390"/>
                <a:gd name="T74" fmla="*/ 123 w 287"/>
                <a:gd name="T75" fmla="*/ 287 h 390"/>
                <a:gd name="T76" fmla="*/ 82 w 287"/>
                <a:gd name="T77" fmla="*/ 266 h 390"/>
                <a:gd name="T78" fmla="*/ 61 w 287"/>
                <a:gd name="T79" fmla="*/ 246 h 390"/>
                <a:gd name="T80" fmla="*/ 41 w 287"/>
                <a:gd name="T81" fmla="*/ 226 h 390"/>
                <a:gd name="T82" fmla="*/ 20 w 287"/>
                <a:gd name="T83" fmla="*/ 20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7" h="390">
                  <a:moveTo>
                    <a:pt x="20" y="205"/>
                  </a:moveTo>
                  <a:lnTo>
                    <a:pt x="20" y="205"/>
                  </a:lnTo>
                  <a:lnTo>
                    <a:pt x="20" y="205"/>
                  </a:lnTo>
                  <a:cubicBezTo>
                    <a:pt x="0" y="184"/>
                    <a:pt x="0" y="164"/>
                    <a:pt x="0" y="164"/>
                  </a:cubicBezTo>
                  <a:lnTo>
                    <a:pt x="20" y="144"/>
                  </a:lnTo>
                  <a:lnTo>
                    <a:pt x="41" y="123"/>
                  </a:lnTo>
                  <a:lnTo>
                    <a:pt x="41" y="102"/>
                  </a:lnTo>
                  <a:lnTo>
                    <a:pt x="41" y="82"/>
                  </a:lnTo>
                  <a:cubicBezTo>
                    <a:pt x="61" y="62"/>
                    <a:pt x="61" y="62"/>
                    <a:pt x="82" y="41"/>
                  </a:cubicBezTo>
                  <a:lnTo>
                    <a:pt x="82" y="20"/>
                  </a:lnTo>
                  <a:cubicBezTo>
                    <a:pt x="102" y="20"/>
                    <a:pt x="102" y="0"/>
                    <a:pt x="123" y="0"/>
                  </a:cubicBezTo>
                  <a:lnTo>
                    <a:pt x="144" y="0"/>
                  </a:lnTo>
                  <a:cubicBezTo>
                    <a:pt x="144" y="0"/>
                    <a:pt x="164" y="0"/>
                    <a:pt x="164" y="20"/>
                  </a:cubicBezTo>
                  <a:lnTo>
                    <a:pt x="184" y="20"/>
                  </a:lnTo>
                  <a:cubicBezTo>
                    <a:pt x="184" y="41"/>
                    <a:pt x="204" y="41"/>
                    <a:pt x="204" y="41"/>
                  </a:cubicBezTo>
                  <a:lnTo>
                    <a:pt x="225" y="62"/>
                  </a:lnTo>
                  <a:lnTo>
                    <a:pt x="225" y="82"/>
                  </a:lnTo>
                  <a:lnTo>
                    <a:pt x="204" y="102"/>
                  </a:lnTo>
                  <a:lnTo>
                    <a:pt x="204" y="102"/>
                  </a:lnTo>
                  <a:lnTo>
                    <a:pt x="184" y="123"/>
                  </a:lnTo>
                  <a:lnTo>
                    <a:pt x="164" y="123"/>
                  </a:lnTo>
                  <a:lnTo>
                    <a:pt x="144" y="144"/>
                  </a:lnTo>
                  <a:lnTo>
                    <a:pt x="164" y="164"/>
                  </a:lnTo>
                  <a:cubicBezTo>
                    <a:pt x="164" y="184"/>
                    <a:pt x="164" y="184"/>
                    <a:pt x="164" y="205"/>
                  </a:cubicBezTo>
                  <a:cubicBezTo>
                    <a:pt x="184" y="205"/>
                    <a:pt x="184" y="226"/>
                    <a:pt x="184" y="226"/>
                  </a:cubicBezTo>
                  <a:lnTo>
                    <a:pt x="204" y="226"/>
                  </a:lnTo>
                  <a:cubicBezTo>
                    <a:pt x="225" y="246"/>
                    <a:pt x="225" y="246"/>
                    <a:pt x="225" y="246"/>
                  </a:cubicBezTo>
                  <a:cubicBezTo>
                    <a:pt x="225" y="266"/>
                    <a:pt x="246" y="266"/>
                    <a:pt x="246" y="287"/>
                  </a:cubicBezTo>
                  <a:lnTo>
                    <a:pt x="246" y="308"/>
                  </a:lnTo>
                  <a:cubicBezTo>
                    <a:pt x="266" y="308"/>
                    <a:pt x="266" y="328"/>
                    <a:pt x="266" y="328"/>
                  </a:cubicBezTo>
                  <a:cubicBezTo>
                    <a:pt x="286" y="328"/>
                    <a:pt x="286" y="348"/>
                    <a:pt x="286" y="348"/>
                  </a:cubicBezTo>
                  <a:lnTo>
                    <a:pt x="266" y="348"/>
                  </a:lnTo>
                  <a:cubicBezTo>
                    <a:pt x="246" y="369"/>
                    <a:pt x="225" y="369"/>
                    <a:pt x="225" y="369"/>
                  </a:cubicBezTo>
                  <a:cubicBezTo>
                    <a:pt x="204" y="369"/>
                    <a:pt x="204" y="369"/>
                    <a:pt x="184" y="389"/>
                  </a:cubicBezTo>
                  <a:lnTo>
                    <a:pt x="164" y="369"/>
                  </a:lnTo>
                  <a:cubicBezTo>
                    <a:pt x="144" y="369"/>
                    <a:pt x="123" y="369"/>
                    <a:pt x="123" y="369"/>
                  </a:cubicBezTo>
                  <a:cubicBezTo>
                    <a:pt x="123" y="348"/>
                    <a:pt x="123" y="328"/>
                    <a:pt x="123" y="328"/>
                  </a:cubicBezTo>
                  <a:cubicBezTo>
                    <a:pt x="123" y="308"/>
                    <a:pt x="123" y="287"/>
                    <a:pt x="123" y="287"/>
                  </a:cubicBezTo>
                  <a:cubicBezTo>
                    <a:pt x="123" y="266"/>
                    <a:pt x="102" y="266"/>
                    <a:pt x="82" y="266"/>
                  </a:cubicBezTo>
                  <a:cubicBezTo>
                    <a:pt x="82" y="266"/>
                    <a:pt x="61" y="266"/>
                    <a:pt x="61" y="246"/>
                  </a:cubicBezTo>
                  <a:lnTo>
                    <a:pt x="41" y="226"/>
                  </a:lnTo>
                  <a:cubicBezTo>
                    <a:pt x="41" y="205"/>
                    <a:pt x="20" y="205"/>
                    <a:pt x="20" y="20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 name="Freeform 58">
              <a:extLst>
                <a:ext uri="{FF2B5EF4-FFF2-40B4-BE49-F238E27FC236}">
                  <a16:creationId xmlns:a16="http://schemas.microsoft.com/office/drawing/2014/main" id="{49BFBE5C-DE47-474E-8EAD-CB3E53926C3E}"/>
                </a:ext>
              </a:extLst>
            </p:cNvPr>
            <p:cNvSpPr>
              <a:spLocks noChangeArrowheads="1"/>
            </p:cNvSpPr>
            <p:nvPr/>
          </p:nvSpPr>
          <p:spPr bwMode="auto">
            <a:xfrm>
              <a:off x="685800" y="5216525"/>
              <a:ext cx="139700" cy="96838"/>
            </a:xfrm>
            <a:custGeom>
              <a:avLst/>
              <a:gdLst>
                <a:gd name="T0" fmla="*/ 204 w 389"/>
                <a:gd name="T1" fmla="*/ 225 h 268"/>
                <a:gd name="T2" fmla="*/ 204 w 389"/>
                <a:gd name="T3" fmla="*/ 225 h 268"/>
                <a:gd name="T4" fmla="*/ 184 w 389"/>
                <a:gd name="T5" fmla="*/ 205 h 268"/>
                <a:gd name="T6" fmla="*/ 164 w 389"/>
                <a:gd name="T7" fmla="*/ 205 h 268"/>
                <a:gd name="T8" fmla="*/ 164 w 389"/>
                <a:gd name="T9" fmla="*/ 246 h 268"/>
                <a:gd name="T10" fmla="*/ 143 w 389"/>
                <a:gd name="T11" fmla="*/ 267 h 268"/>
                <a:gd name="T12" fmla="*/ 102 w 389"/>
                <a:gd name="T13" fmla="*/ 246 h 268"/>
                <a:gd name="T14" fmla="*/ 61 w 389"/>
                <a:gd name="T15" fmla="*/ 246 h 268"/>
                <a:gd name="T16" fmla="*/ 40 w 389"/>
                <a:gd name="T17" fmla="*/ 225 h 268"/>
                <a:gd name="T18" fmla="*/ 0 w 389"/>
                <a:gd name="T19" fmla="*/ 205 h 268"/>
                <a:gd name="T20" fmla="*/ 0 w 389"/>
                <a:gd name="T21" fmla="*/ 185 h 268"/>
                <a:gd name="T22" fmla="*/ 20 w 389"/>
                <a:gd name="T23" fmla="*/ 144 h 268"/>
                <a:gd name="T24" fmla="*/ 61 w 389"/>
                <a:gd name="T25" fmla="*/ 144 h 268"/>
                <a:gd name="T26" fmla="*/ 102 w 389"/>
                <a:gd name="T27" fmla="*/ 123 h 268"/>
                <a:gd name="T28" fmla="*/ 102 w 389"/>
                <a:gd name="T29" fmla="*/ 103 h 268"/>
                <a:gd name="T30" fmla="*/ 143 w 389"/>
                <a:gd name="T31" fmla="*/ 82 h 268"/>
                <a:gd name="T32" fmla="*/ 204 w 389"/>
                <a:gd name="T33" fmla="*/ 103 h 268"/>
                <a:gd name="T34" fmla="*/ 245 w 389"/>
                <a:gd name="T35" fmla="*/ 82 h 268"/>
                <a:gd name="T36" fmla="*/ 266 w 389"/>
                <a:gd name="T37" fmla="*/ 82 h 268"/>
                <a:gd name="T38" fmla="*/ 306 w 389"/>
                <a:gd name="T39" fmla="*/ 62 h 268"/>
                <a:gd name="T40" fmla="*/ 327 w 389"/>
                <a:gd name="T41" fmla="*/ 41 h 268"/>
                <a:gd name="T42" fmla="*/ 348 w 389"/>
                <a:gd name="T43" fmla="*/ 21 h 268"/>
                <a:gd name="T44" fmla="*/ 368 w 389"/>
                <a:gd name="T45" fmla="*/ 0 h 268"/>
                <a:gd name="T46" fmla="*/ 388 w 389"/>
                <a:gd name="T47" fmla="*/ 21 h 268"/>
                <a:gd name="T48" fmla="*/ 368 w 389"/>
                <a:gd name="T49" fmla="*/ 41 h 268"/>
                <a:gd name="T50" fmla="*/ 348 w 389"/>
                <a:gd name="T51" fmla="*/ 62 h 268"/>
                <a:gd name="T52" fmla="*/ 348 w 389"/>
                <a:gd name="T53" fmla="*/ 82 h 268"/>
                <a:gd name="T54" fmla="*/ 306 w 389"/>
                <a:gd name="T55" fmla="*/ 103 h 268"/>
                <a:gd name="T56" fmla="*/ 286 w 389"/>
                <a:gd name="T57" fmla="*/ 103 h 268"/>
                <a:gd name="T58" fmla="*/ 286 w 389"/>
                <a:gd name="T59" fmla="*/ 123 h 268"/>
                <a:gd name="T60" fmla="*/ 286 w 389"/>
                <a:gd name="T61" fmla="*/ 164 h 268"/>
                <a:gd name="T62" fmla="*/ 286 w 389"/>
                <a:gd name="T63" fmla="*/ 185 h 268"/>
                <a:gd name="T64" fmla="*/ 266 w 389"/>
                <a:gd name="T65" fmla="*/ 185 h 268"/>
                <a:gd name="T66" fmla="*/ 245 w 389"/>
                <a:gd name="T67" fmla="*/ 185 h 268"/>
                <a:gd name="T68" fmla="*/ 245 w 389"/>
                <a:gd name="T69" fmla="*/ 185 h 268"/>
                <a:gd name="T70" fmla="*/ 225 w 389"/>
                <a:gd name="T71" fmla="*/ 205 h 268"/>
                <a:gd name="T72" fmla="*/ 204 w 389"/>
                <a:gd name="T73" fmla="*/ 225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9" h="268">
                  <a:moveTo>
                    <a:pt x="204" y="225"/>
                  </a:moveTo>
                  <a:lnTo>
                    <a:pt x="204" y="225"/>
                  </a:lnTo>
                  <a:cubicBezTo>
                    <a:pt x="204" y="205"/>
                    <a:pt x="184" y="205"/>
                    <a:pt x="184" y="205"/>
                  </a:cubicBezTo>
                  <a:lnTo>
                    <a:pt x="164" y="205"/>
                  </a:lnTo>
                  <a:cubicBezTo>
                    <a:pt x="164" y="225"/>
                    <a:pt x="164" y="246"/>
                    <a:pt x="164" y="246"/>
                  </a:cubicBezTo>
                  <a:lnTo>
                    <a:pt x="143" y="267"/>
                  </a:lnTo>
                  <a:cubicBezTo>
                    <a:pt x="122" y="267"/>
                    <a:pt x="102" y="267"/>
                    <a:pt x="102" y="246"/>
                  </a:cubicBezTo>
                  <a:cubicBezTo>
                    <a:pt x="82" y="246"/>
                    <a:pt x="82" y="246"/>
                    <a:pt x="61" y="246"/>
                  </a:cubicBezTo>
                  <a:cubicBezTo>
                    <a:pt x="61" y="225"/>
                    <a:pt x="40" y="225"/>
                    <a:pt x="40" y="225"/>
                  </a:cubicBezTo>
                  <a:cubicBezTo>
                    <a:pt x="20" y="225"/>
                    <a:pt x="20" y="205"/>
                    <a:pt x="0" y="205"/>
                  </a:cubicBezTo>
                  <a:lnTo>
                    <a:pt x="0" y="185"/>
                  </a:lnTo>
                  <a:cubicBezTo>
                    <a:pt x="0" y="164"/>
                    <a:pt x="0" y="144"/>
                    <a:pt x="20" y="144"/>
                  </a:cubicBezTo>
                  <a:cubicBezTo>
                    <a:pt x="20" y="123"/>
                    <a:pt x="40" y="144"/>
                    <a:pt x="61" y="144"/>
                  </a:cubicBezTo>
                  <a:cubicBezTo>
                    <a:pt x="61" y="123"/>
                    <a:pt x="82" y="144"/>
                    <a:pt x="102" y="123"/>
                  </a:cubicBezTo>
                  <a:lnTo>
                    <a:pt x="102" y="103"/>
                  </a:lnTo>
                  <a:cubicBezTo>
                    <a:pt x="122" y="103"/>
                    <a:pt x="143" y="82"/>
                    <a:pt x="143" y="82"/>
                  </a:cubicBezTo>
                  <a:cubicBezTo>
                    <a:pt x="164" y="82"/>
                    <a:pt x="184" y="103"/>
                    <a:pt x="204" y="103"/>
                  </a:cubicBezTo>
                  <a:cubicBezTo>
                    <a:pt x="204" y="103"/>
                    <a:pt x="225" y="82"/>
                    <a:pt x="245" y="82"/>
                  </a:cubicBezTo>
                  <a:lnTo>
                    <a:pt x="266" y="82"/>
                  </a:lnTo>
                  <a:cubicBezTo>
                    <a:pt x="286" y="62"/>
                    <a:pt x="306" y="62"/>
                    <a:pt x="306" y="62"/>
                  </a:cubicBezTo>
                  <a:lnTo>
                    <a:pt x="327" y="41"/>
                  </a:lnTo>
                  <a:cubicBezTo>
                    <a:pt x="348" y="41"/>
                    <a:pt x="348" y="21"/>
                    <a:pt x="348" y="21"/>
                  </a:cubicBezTo>
                  <a:cubicBezTo>
                    <a:pt x="368" y="21"/>
                    <a:pt x="368" y="0"/>
                    <a:pt x="368" y="0"/>
                  </a:cubicBezTo>
                  <a:cubicBezTo>
                    <a:pt x="368" y="0"/>
                    <a:pt x="388" y="0"/>
                    <a:pt x="388" y="21"/>
                  </a:cubicBezTo>
                  <a:lnTo>
                    <a:pt x="368" y="41"/>
                  </a:lnTo>
                  <a:cubicBezTo>
                    <a:pt x="368" y="41"/>
                    <a:pt x="368" y="62"/>
                    <a:pt x="348" y="62"/>
                  </a:cubicBezTo>
                  <a:lnTo>
                    <a:pt x="348" y="82"/>
                  </a:lnTo>
                  <a:cubicBezTo>
                    <a:pt x="327" y="82"/>
                    <a:pt x="327" y="82"/>
                    <a:pt x="306" y="103"/>
                  </a:cubicBezTo>
                  <a:cubicBezTo>
                    <a:pt x="306" y="103"/>
                    <a:pt x="306" y="103"/>
                    <a:pt x="286" y="103"/>
                  </a:cubicBezTo>
                  <a:lnTo>
                    <a:pt x="286" y="123"/>
                  </a:lnTo>
                  <a:cubicBezTo>
                    <a:pt x="286" y="144"/>
                    <a:pt x="286" y="144"/>
                    <a:pt x="286" y="164"/>
                  </a:cubicBezTo>
                  <a:cubicBezTo>
                    <a:pt x="286" y="164"/>
                    <a:pt x="306" y="185"/>
                    <a:pt x="286" y="185"/>
                  </a:cubicBezTo>
                  <a:cubicBezTo>
                    <a:pt x="286" y="185"/>
                    <a:pt x="286" y="185"/>
                    <a:pt x="266" y="185"/>
                  </a:cubicBezTo>
                  <a:lnTo>
                    <a:pt x="245" y="185"/>
                  </a:lnTo>
                  <a:lnTo>
                    <a:pt x="245" y="185"/>
                  </a:lnTo>
                  <a:cubicBezTo>
                    <a:pt x="225" y="205"/>
                    <a:pt x="225" y="205"/>
                    <a:pt x="225" y="205"/>
                  </a:cubicBezTo>
                  <a:lnTo>
                    <a:pt x="204" y="225"/>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 name="Freeform 59">
              <a:extLst>
                <a:ext uri="{FF2B5EF4-FFF2-40B4-BE49-F238E27FC236}">
                  <a16:creationId xmlns:a16="http://schemas.microsoft.com/office/drawing/2014/main" id="{AC487E25-25CC-5C41-9F0A-7D169DFD51F3}"/>
                </a:ext>
              </a:extLst>
            </p:cNvPr>
            <p:cNvSpPr>
              <a:spLocks noChangeArrowheads="1"/>
            </p:cNvSpPr>
            <p:nvPr/>
          </p:nvSpPr>
          <p:spPr bwMode="auto">
            <a:xfrm>
              <a:off x="360363" y="4700588"/>
              <a:ext cx="1041400" cy="501650"/>
            </a:xfrm>
            <a:custGeom>
              <a:avLst/>
              <a:gdLst>
                <a:gd name="T0" fmla="*/ 2664 w 2891"/>
                <a:gd name="T1" fmla="*/ 368 h 1393"/>
                <a:gd name="T2" fmla="*/ 2788 w 2891"/>
                <a:gd name="T3" fmla="*/ 492 h 1393"/>
                <a:gd name="T4" fmla="*/ 2870 w 2891"/>
                <a:gd name="T5" fmla="*/ 553 h 1393"/>
                <a:gd name="T6" fmla="*/ 2808 w 2891"/>
                <a:gd name="T7" fmla="*/ 676 h 1393"/>
                <a:gd name="T8" fmla="*/ 2849 w 2891"/>
                <a:gd name="T9" fmla="*/ 902 h 1393"/>
                <a:gd name="T10" fmla="*/ 2870 w 2891"/>
                <a:gd name="T11" fmla="*/ 1023 h 1393"/>
                <a:gd name="T12" fmla="*/ 2808 w 2891"/>
                <a:gd name="T13" fmla="*/ 1105 h 1393"/>
                <a:gd name="T14" fmla="*/ 2685 w 2891"/>
                <a:gd name="T15" fmla="*/ 1064 h 1393"/>
                <a:gd name="T16" fmla="*/ 2542 w 2891"/>
                <a:gd name="T17" fmla="*/ 1085 h 1393"/>
                <a:gd name="T18" fmla="*/ 2173 w 2891"/>
                <a:gd name="T19" fmla="*/ 1167 h 1393"/>
                <a:gd name="T20" fmla="*/ 1865 w 2891"/>
                <a:gd name="T21" fmla="*/ 1187 h 1393"/>
                <a:gd name="T22" fmla="*/ 1661 w 2891"/>
                <a:gd name="T23" fmla="*/ 1208 h 1393"/>
                <a:gd name="T24" fmla="*/ 1619 w 2891"/>
                <a:gd name="T25" fmla="*/ 1351 h 1393"/>
                <a:gd name="T26" fmla="*/ 1497 w 2891"/>
                <a:gd name="T27" fmla="*/ 1351 h 1393"/>
                <a:gd name="T28" fmla="*/ 1476 w 2891"/>
                <a:gd name="T29" fmla="*/ 1249 h 1393"/>
                <a:gd name="T30" fmla="*/ 1455 w 2891"/>
                <a:gd name="T31" fmla="*/ 1187 h 1393"/>
                <a:gd name="T32" fmla="*/ 1353 w 2891"/>
                <a:gd name="T33" fmla="*/ 1228 h 1393"/>
                <a:gd name="T34" fmla="*/ 1230 w 2891"/>
                <a:gd name="T35" fmla="*/ 1228 h 1393"/>
                <a:gd name="T36" fmla="*/ 1087 w 2891"/>
                <a:gd name="T37" fmla="*/ 1310 h 1393"/>
                <a:gd name="T38" fmla="*/ 861 w 2891"/>
                <a:gd name="T39" fmla="*/ 1208 h 1393"/>
                <a:gd name="T40" fmla="*/ 636 w 2891"/>
                <a:gd name="T41" fmla="*/ 1208 h 1393"/>
                <a:gd name="T42" fmla="*/ 575 w 2891"/>
                <a:gd name="T43" fmla="*/ 1249 h 1393"/>
                <a:gd name="T44" fmla="*/ 431 w 2891"/>
                <a:gd name="T45" fmla="*/ 1228 h 1393"/>
                <a:gd name="T46" fmla="*/ 329 w 2891"/>
                <a:gd name="T47" fmla="*/ 1187 h 1393"/>
                <a:gd name="T48" fmla="*/ 247 w 2891"/>
                <a:gd name="T49" fmla="*/ 1187 h 1393"/>
                <a:gd name="T50" fmla="*/ 247 w 2891"/>
                <a:gd name="T51" fmla="*/ 1146 h 1393"/>
                <a:gd name="T52" fmla="*/ 185 w 2891"/>
                <a:gd name="T53" fmla="*/ 1105 h 1393"/>
                <a:gd name="T54" fmla="*/ 165 w 2891"/>
                <a:gd name="T55" fmla="*/ 1044 h 1393"/>
                <a:gd name="T56" fmla="*/ 124 w 2891"/>
                <a:gd name="T57" fmla="*/ 881 h 1393"/>
                <a:gd name="T58" fmla="*/ 21 w 2891"/>
                <a:gd name="T59" fmla="*/ 820 h 1393"/>
                <a:gd name="T60" fmla="*/ 83 w 2891"/>
                <a:gd name="T61" fmla="*/ 820 h 1393"/>
                <a:gd name="T62" fmla="*/ 83 w 2891"/>
                <a:gd name="T63" fmla="*/ 738 h 1393"/>
                <a:gd name="T64" fmla="*/ 103 w 2891"/>
                <a:gd name="T65" fmla="*/ 553 h 1393"/>
                <a:gd name="T66" fmla="*/ 0 w 2891"/>
                <a:gd name="T67" fmla="*/ 512 h 1393"/>
                <a:gd name="T68" fmla="*/ 144 w 2891"/>
                <a:gd name="T69" fmla="*/ 348 h 1393"/>
                <a:gd name="T70" fmla="*/ 247 w 2891"/>
                <a:gd name="T71" fmla="*/ 348 h 1393"/>
                <a:gd name="T72" fmla="*/ 411 w 2891"/>
                <a:gd name="T73" fmla="*/ 368 h 1393"/>
                <a:gd name="T74" fmla="*/ 472 w 2891"/>
                <a:gd name="T75" fmla="*/ 348 h 1393"/>
                <a:gd name="T76" fmla="*/ 533 w 2891"/>
                <a:gd name="T77" fmla="*/ 307 h 1393"/>
                <a:gd name="T78" fmla="*/ 513 w 2891"/>
                <a:gd name="T79" fmla="*/ 246 h 1393"/>
                <a:gd name="T80" fmla="*/ 636 w 2891"/>
                <a:gd name="T81" fmla="*/ 205 h 1393"/>
                <a:gd name="T82" fmla="*/ 800 w 2891"/>
                <a:gd name="T83" fmla="*/ 205 h 1393"/>
                <a:gd name="T84" fmla="*/ 964 w 2891"/>
                <a:gd name="T85" fmla="*/ 102 h 1393"/>
                <a:gd name="T86" fmla="*/ 1230 w 2891"/>
                <a:gd name="T87" fmla="*/ 41 h 1393"/>
                <a:gd name="T88" fmla="*/ 1435 w 2891"/>
                <a:gd name="T89" fmla="*/ 20 h 1393"/>
                <a:gd name="T90" fmla="*/ 1517 w 2891"/>
                <a:gd name="T91" fmla="*/ 102 h 1393"/>
                <a:gd name="T92" fmla="*/ 1619 w 2891"/>
                <a:gd name="T93" fmla="*/ 205 h 1393"/>
                <a:gd name="T94" fmla="*/ 1845 w 2891"/>
                <a:gd name="T95" fmla="*/ 246 h 1393"/>
                <a:gd name="T96" fmla="*/ 2091 w 2891"/>
                <a:gd name="T97" fmla="*/ 246 h 1393"/>
                <a:gd name="T98" fmla="*/ 2337 w 2891"/>
                <a:gd name="T99" fmla="*/ 164 h 1393"/>
                <a:gd name="T100" fmla="*/ 2542 w 2891"/>
                <a:gd name="T101" fmla="*/ 102 h 1393"/>
                <a:gd name="T102" fmla="*/ 2664 w 2891"/>
                <a:gd name="T103" fmla="*/ 246 h 1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91" h="1393">
                  <a:moveTo>
                    <a:pt x="2664" y="246"/>
                  </a:moveTo>
                  <a:lnTo>
                    <a:pt x="2664" y="246"/>
                  </a:lnTo>
                  <a:cubicBezTo>
                    <a:pt x="2664" y="266"/>
                    <a:pt x="2664" y="266"/>
                    <a:pt x="2664" y="266"/>
                  </a:cubicBezTo>
                  <a:cubicBezTo>
                    <a:pt x="2685" y="286"/>
                    <a:pt x="2685" y="328"/>
                    <a:pt x="2685" y="328"/>
                  </a:cubicBezTo>
                  <a:cubicBezTo>
                    <a:pt x="2685" y="348"/>
                    <a:pt x="2664" y="368"/>
                    <a:pt x="2664" y="368"/>
                  </a:cubicBezTo>
                  <a:cubicBezTo>
                    <a:pt x="2664" y="389"/>
                    <a:pt x="2664" y="410"/>
                    <a:pt x="2664" y="410"/>
                  </a:cubicBezTo>
                  <a:cubicBezTo>
                    <a:pt x="2664" y="430"/>
                    <a:pt x="2685" y="430"/>
                    <a:pt x="2685" y="450"/>
                  </a:cubicBezTo>
                  <a:cubicBezTo>
                    <a:pt x="2685" y="450"/>
                    <a:pt x="2685" y="471"/>
                    <a:pt x="2706" y="471"/>
                  </a:cubicBezTo>
                  <a:cubicBezTo>
                    <a:pt x="2706" y="492"/>
                    <a:pt x="2726" y="492"/>
                    <a:pt x="2746" y="492"/>
                  </a:cubicBezTo>
                  <a:cubicBezTo>
                    <a:pt x="2746" y="492"/>
                    <a:pt x="2767" y="492"/>
                    <a:pt x="2788" y="492"/>
                  </a:cubicBezTo>
                  <a:cubicBezTo>
                    <a:pt x="2808" y="492"/>
                    <a:pt x="2849" y="512"/>
                    <a:pt x="2870" y="532"/>
                  </a:cubicBezTo>
                  <a:lnTo>
                    <a:pt x="2870" y="532"/>
                  </a:lnTo>
                  <a:lnTo>
                    <a:pt x="2890" y="532"/>
                  </a:lnTo>
                  <a:cubicBezTo>
                    <a:pt x="2890" y="553"/>
                    <a:pt x="2890" y="553"/>
                    <a:pt x="2890" y="553"/>
                  </a:cubicBezTo>
                  <a:cubicBezTo>
                    <a:pt x="2890" y="553"/>
                    <a:pt x="2890" y="553"/>
                    <a:pt x="2870" y="553"/>
                  </a:cubicBezTo>
                  <a:cubicBezTo>
                    <a:pt x="2870" y="574"/>
                    <a:pt x="2870" y="574"/>
                    <a:pt x="2849" y="574"/>
                  </a:cubicBezTo>
                  <a:cubicBezTo>
                    <a:pt x="2849" y="574"/>
                    <a:pt x="2828" y="574"/>
                    <a:pt x="2828" y="594"/>
                  </a:cubicBezTo>
                  <a:cubicBezTo>
                    <a:pt x="2828" y="594"/>
                    <a:pt x="2808" y="594"/>
                    <a:pt x="2808" y="614"/>
                  </a:cubicBezTo>
                  <a:lnTo>
                    <a:pt x="2808" y="635"/>
                  </a:lnTo>
                  <a:cubicBezTo>
                    <a:pt x="2808" y="635"/>
                    <a:pt x="2808" y="656"/>
                    <a:pt x="2808" y="676"/>
                  </a:cubicBezTo>
                  <a:cubicBezTo>
                    <a:pt x="2808" y="696"/>
                    <a:pt x="2828" y="717"/>
                    <a:pt x="2828" y="717"/>
                  </a:cubicBezTo>
                  <a:cubicBezTo>
                    <a:pt x="2828" y="738"/>
                    <a:pt x="2808" y="758"/>
                    <a:pt x="2828" y="758"/>
                  </a:cubicBezTo>
                  <a:cubicBezTo>
                    <a:pt x="2828" y="778"/>
                    <a:pt x="2828" y="799"/>
                    <a:pt x="2828" y="799"/>
                  </a:cubicBezTo>
                  <a:cubicBezTo>
                    <a:pt x="2828" y="820"/>
                    <a:pt x="2849" y="840"/>
                    <a:pt x="2849" y="860"/>
                  </a:cubicBezTo>
                  <a:cubicBezTo>
                    <a:pt x="2849" y="881"/>
                    <a:pt x="2849" y="902"/>
                    <a:pt x="2849" y="902"/>
                  </a:cubicBezTo>
                  <a:cubicBezTo>
                    <a:pt x="2849" y="902"/>
                    <a:pt x="2828" y="921"/>
                    <a:pt x="2808" y="921"/>
                  </a:cubicBezTo>
                  <a:cubicBezTo>
                    <a:pt x="2808" y="941"/>
                    <a:pt x="2808" y="941"/>
                    <a:pt x="2808" y="941"/>
                  </a:cubicBezTo>
                  <a:cubicBezTo>
                    <a:pt x="2808" y="962"/>
                    <a:pt x="2828" y="962"/>
                    <a:pt x="2828" y="982"/>
                  </a:cubicBezTo>
                  <a:cubicBezTo>
                    <a:pt x="2828" y="982"/>
                    <a:pt x="2849" y="982"/>
                    <a:pt x="2849" y="1003"/>
                  </a:cubicBezTo>
                  <a:cubicBezTo>
                    <a:pt x="2849" y="1003"/>
                    <a:pt x="2870" y="1003"/>
                    <a:pt x="2870" y="1023"/>
                  </a:cubicBezTo>
                  <a:lnTo>
                    <a:pt x="2870" y="1044"/>
                  </a:lnTo>
                  <a:lnTo>
                    <a:pt x="2870" y="1064"/>
                  </a:lnTo>
                  <a:cubicBezTo>
                    <a:pt x="2870" y="1085"/>
                    <a:pt x="2870" y="1085"/>
                    <a:pt x="2870" y="1085"/>
                  </a:cubicBezTo>
                  <a:cubicBezTo>
                    <a:pt x="2870" y="1085"/>
                    <a:pt x="2870" y="1105"/>
                    <a:pt x="2849" y="1105"/>
                  </a:cubicBezTo>
                  <a:cubicBezTo>
                    <a:pt x="2849" y="1126"/>
                    <a:pt x="2828" y="1126"/>
                    <a:pt x="2808" y="1105"/>
                  </a:cubicBezTo>
                  <a:lnTo>
                    <a:pt x="2808" y="1105"/>
                  </a:lnTo>
                  <a:cubicBezTo>
                    <a:pt x="2788" y="1085"/>
                    <a:pt x="2808" y="1085"/>
                    <a:pt x="2808" y="1064"/>
                  </a:cubicBezTo>
                  <a:cubicBezTo>
                    <a:pt x="2788" y="1064"/>
                    <a:pt x="2788" y="1064"/>
                    <a:pt x="2788" y="1064"/>
                  </a:cubicBezTo>
                  <a:cubicBezTo>
                    <a:pt x="2767" y="1064"/>
                    <a:pt x="2746" y="1064"/>
                    <a:pt x="2746" y="1064"/>
                  </a:cubicBezTo>
                  <a:cubicBezTo>
                    <a:pt x="2726" y="1064"/>
                    <a:pt x="2706" y="1064"/>
                    <a:pt x="2685" y="1064"/>
                  </a:cubicBezTo>
                  <a:cubicBezTo>
                    <a:pt x="2685" y="1044"/>
                    <a:pt x="2644" y="1044"/>
                    <a:pt x="2644" y="1044"/>
                  </a:cubicBezTo>
                  <a:cubicBezTo>
                    <a:pt x="2624" y="1044"/>
                    <a:pt x="2603" y="1044"/>
                    <a:pt x="2603" y="1064"/>
                  </a:cubicBezTo>
                  <a:cubicBezTo>
                    <a:pt x="2583" y="1064"/>
                    <a:pt x="2583" y="1085"/>
                    <a:pt x="2583" y="1085"/>
                  </a:cubicBezTo>
                  <a:lnTo>
                    <a:pt x="2583" y="1085"/>
                  </a:lnTo>
                  <a:cubicBezTo>
                    <a:pt x="2562" y="1085"/>
                    <a:pt x="2542" y="1085"/>
                    <a:pt x="2542" y="1085"/>
                  </a:cubicBezTo>
                  <a:cubicBezTo>
                    <a:pt x="2521" y="1085"/>
                    <a:pt x="2460" y="1085"/>
                    <a:pt x="2439" y="1105"/>
                  </a:cubicBezTo>
                  <a:cubicBezTo>
                    <a:pt x="2439" y="1105"/>
                    <a:pt x="2398" y="1105"/>
                    <a:pt x="2398" y="1126"/>
                  </a:cubicBezTo>
                  <a:cubicBezTo>
                    <a:pt x="2378" y="1126"/>
                    <a:pt x="2316" y="1105"/>
                    <a:pt x="2296" y="1126"/>
                  </a:cubicBezTo>
                  <a:cubicBezTo>
                    <a:pt x="2275" y="1126"/>
                    <a:pt x="2234" y="1126"/>
                    <a:pt x="2234" y="1146"/>
                  </a:cubicBezTo>
                  <a:cubicBezTo>
                    <a:pt x="2214" y="1146"/>
                    <a:pt x="2173" y="1167"/>
                    <a:pt x="2173" y="1167"/>
                  </a:cubicBezTo>
                  <a:cubicBezTo>
                    <a:pt x="2152" y="1187"/>
                    <a:pt x="2111" y="1208"/>
                    <a:pt x="2091" y="1208"/>
                  </a:cubicBezTo>
                  <a:cubicBezTo>
                    <a:pt x="2070" y="1208"/>
                    <a:pt x="2029" y="1208"/>
                    <a:pt x="2029" y="1208"/>
                  </a:cubicBezTo>
                  <a:cubicBezTo>
                    <a:pt x="2009" y="1208"/>
                    <a:pt x="1988" y="1208"/>
                    <a:pt x="1968" y="1208"/>
                  </a:cubicBezTo>
                  <a:cubicBezTo>
                    <a:pt x="1968" y="1208"/>
                    <a:pt x="1927" y="1187"/>
                    <a:pt x="1906" y="1187"/>
                  </a:cubicBezTo>
                  <a:cubicBezTo>
                    <a:pt x="1906" y="1187"/>
                    <a:pt x="1886" y="1167"/>
                    <a:pt x="1865" y="1187"/>
                  </a:cubicBezTo>
                  <a:cubicBezTo>
                    <a:pt x="1865" y="1187"/>
                    <a:pt x="1845" y="1187"/>
                    <a:pt x="1845" y="1208"/>
                  </a:cubicBezTo>
                  <a:cubicBezTo>
                    <a:pt x="1825" y="1208"/>
                    <a:pt x="1804" y="1228"/>
                    <a:pt x="1783" y="1228"/>
                  </a:cubicBezTo>
                  <a:cubicBezTo>
                    <a:pt x="1763" y="1228"/>
                    <a:pt x="1743" y="1249"/>
                    <a:pt x="1743" y="1249"/>
                  </a:cubicBezTo>
                  <a:cubicBezTo>
                    <a:pt x="1722" y="1249"/>
                    <a:pt x="1701" y="1249"/>
                    <a:pt x="1701" y="1249"/>
                  </a:cubicBezTo>
                  <a:cubicBezTo>
                    <a:pt x="1681" y="1228"/>
                    <a:pt x="1681" y="1208"/>
                    <a:pt x="1661" y="1208"/>
                  </a:cubicBezTo>
                  <a:cubicBezTo>
                    <a:pt x="1661" y="1187"/>
                    <a:pt x="1661" y="1187"/>
                    <a:pt x="1640" y="1187"/>
                  </a:cubicBezTo>
                  <a:cubicBezTo>
                    <a:pt x="1640" y="1187"/>
                    <a:pt x="1619" y="1187"/>
                    <a:pt x="1619" y="1208"/>
                  </a:cubicBezTo>
                  <a:cubicBezTo>
                    <a:pt x="1599" y="1208"/>
                    <a:pt x="1599" y="1249"/>
                    <a:pt x="1599" y="1269"/>
                  </a:cubicBezTo>
                  <a:lnTo>
                    <a:pt x="1619" y="1290"/>
                  </a:lnTo>
                  <a:cubicBezTo>
                    <a:pt x="1619" y="1310"/>
                    <a:pt x="1619" y="1331"/>
                    <a:pt x="1619" y="1351"/>
                  </a:cubicBezTo>
                  <a:cubicBezTo>
                    <a:pt x="1599" y="1351"/>
                    <a:pt x="1599" y="1372"/>
                    <a:pt x="1579" y="1372"/>
                  </a:cubicBezTo>
                  <a:cubicBezTo>
                    <a:pt x="1579" y="1372"/>
                    <a:pt x="1558" y="1351"/>
                    <a:pt x="1558" y="1372"/>
                  </a:cubicBezTo>
                  <a:cubicBezTo>
                    <a:pt x="1558" y="1372"/>
                    <a:pt x="1558" y="1392"/>
                    <a:pt x="1537" y="1392"/>
                  </a:cubicBezTo>
                  <a:cubicBezTo>
                    <a:pt x="1537" y="1392"/>
                    <a:pt x="1517" y="1392"/>
                    <a:pt x="1497" y="1392"/>
                  </a:cubicBezTo>
                  <a:cubicBezTo>
                    <a:pt x="1497" y="1372"/>
                    <a:pt x="1497" y="1351"/>
                    <a:pt x="1497" y="1351"/>
                  </a:cubicBezTo>
                  <a:cubicBezTo>
                    <a:pt x="1476" y="1351"/>
                    <a:pt x="1476" y="1351"/>
                    <a:pt x="1455" y="1331"/>
                  </a:cubicBezTo>
                  <a:cubicBezTo>
                    <a:pt x="1455" y="1331"/>
                    <a:pt x="1455" y="1331"/>
                    <a:pt x="1476" y="1331"/>
                  </a:cubicBezTo>
                  <a:cubicBezTo>
                    <a:pt x="1476" y="1331"/>
                    <a:pt x="1476" y="1310"/>
                    <a:pt x="1476" y="1290"/>
                  </a:cubicBezTo>
                  <a:cubicBezTo>
                    <a:pt x="1455" y="1290"/>
                    <a:pt x="1455" y="1290"/>
                    <a:pt x="1455" y="1269"/>
                  </a:cubicBezTo>
                  <a:cubicBezTo>
                    <a:pt x="1455" y="1269"/>
                    <a:pt x="1455" y="1269"/>
                    <a:pt x="1476" y="1249"/>
                  </a:cubicBezTo>
                  <a:cubicBezTo>
                    <a:pt x="1476" y="1249"/>
                    <a:pt x="1476" y="1249"/>
                    <a:pt x="1497" y="1249"/>
                  </a:cubicBezTo>
                  <a:cubicBezTo>
                    <a:pt x="1497" y="1228"/>
                    <a:pt x="1497" y="1228"/>
                    <a:pt x="1497" y="1228"/>
                  </a:cubicBezTo>
                  <a:cubicBezTo>
                    <a:pt x="1517" y="1208"/>
                    <a:pt x="1497" y="1187"/>
                    <a:pt x="1497" y="1187"/>
                  </a:cubicBezTo>
                  <a:cubicBezTo>
                    <a:pt x="1497" y="1187"/>
                    <a:pt x="1497" y="1187"/>
                    <a:pt x="1476" y="1187"/>
                  </a:cubicBezTo>
                  <a:lnTo>
                    <a:pt x="1455" y="1187"/>
                  </a:lnTo>
                  <a:cubicBezTo>
                    <a:pt x="1455" y="1208"/>
                    <a:pt x="1455" y="1228"/>
                    <a:pt x="1455" y="1228"/>
                  </a:cubicBezTo>
                  <a:lnTo>
                    <a:pt x="1455" y="1249"/>
                  </a:lnTo>
                  <a:cubicBezTo>
                    <a:pt x="1435" y="1249"/>
                    <a:pt x="1435" y="1249"/>
                    <a:pt x="1415" y="1249"/>
                  </a:cubicBezTo>
                  <a:lnTo>
                    <a:pt x="1394" y="1249"/>
                  </a:lnTo>
                  <a:cubicBezTo>
                    <a:pt x="1373" y="1228"/>
                    <a:pt x="1373" y="1228"/>
                    <a:pt x="1353" y="1228"/>
                  </a:cubicBezTo>
                  <a:cubicBezTo>
                    <a:pt x="1353" y="1208"/>
                    <a:pt x="1353" y="1208"/>
                    <a:pt x="1353" y="1208"/>
                  </a:cubicBezTo>
                  <a:cubicBezTo>
                    <a:pt x="1353" y="1187"/>
                    <a:pt x="1333" y="1187"/>
                    <a:pt x="1312" y="1187"/>
                  </a:cubicBezTo>
                  <a:lnTo>
                    <a:pt x="1291" y="1208"/>
                  </a:lnTo>
                  <a:cubicBezTo>
                    <a:pt x="1291" y="1208"/>
                    <a:pt x="1271" y="1208"/>
                    <a:pt x="1271" y="1228"/>
                  </a:cubicBezTo>
                  <a:cubicBezTo>
                    <a:pt x="1251" y="1228"/>
                    <a:pt x="1230" y="1228"/>
                    <a:pt x="1230" y="1228"/>
                  </a:cubicBezTo>
                  <a:lnTo>
                    <a:pt x="1230" y="1249"/>
                  </a:lnTo>
                  <a:cubicBezTo>
                    <a:pt x="1209" y="1269"/>
                    <a:pt x="1209" y="1290"/>
                    <a:pt x="1189" y="1290"/>
                  </a:cubicBezTo>
                  <a:lnTo>
                    <a:pt x="1169" y="1290"/>
                  </a:lnTo>
                  <a:cubicBezTo>
                    <a:pt x="1169" y="1290"/>
                    <a:pt x="1148" y="1310"/>
                    <a:pt x="1128" y="1310"/>
                  </a:cubicBezTo>
                  <a:lnTo>
                    <a:pt x="1087" y="1310"/>
                  </a:lnTo>
                  <a:cubicBezTo>
                    <a:pt x="1067" y="1310"/>
                    <a:pt x="1046" y="1331"/>
                    <a:pt x="1025" y="1331"/>
                  </a:cubicBezTo>
                  <a:cubicBezTo>
                    <a:pt x="1005" y="1331"/>
                    <a:pt x="985" y="1331"/>
                    <a:pt x="964" y="1310"/>
                  </a:cubicBezTo>
                  <a:lnTo>
                    <a:pt x="943" y="1290"/>
                  </a:lnTo>
                  <a:cubicBezTo>
                    <a:pt x="923" y="1269"/>
                    <a:pt x="903" y="1249"/>
                    <a:pt x="903" y="1249"/>
                  </a:cubicBezTo>
                  <a:cubicBezTo>
                    <a:pt x="903" y="1249"/>
                    <a:pt x="882" y="1228"/>
                    <a:pt x="861" y="1208"/>
                  </a:cubicBezTo>
                  <a:cubicBezTo>
                    <a:pt x="861" y="1208"/>
                    <a:pt x="821" y="1208"/>
                    <a:pt x="800" y="1208"/>
                  </a:cubicBezTo>
                  <a:cubicBezTo>
                    <a:pt x="800" y="1208"/>
                    <a:pt x="779" y="1187"/>
                    <a:pt x="759" y="1187"/>
                  </a:cubicBezTo>
                  <a:cubicBezTo>
                    <a:pt x="739" y="1187"/>
                    <a:pt x="718" y="1167"/>
                    <a:pt x="697" y="1167"/>
                  </a:cubicBezTo>
                  <a:cubicBezTo>
                    <a:pt x="677" y="1167"/>
                    <a:pt x="657" y="1167"/>
                    <a:pt x="657" y="1187"/>
                  </a:cubicBezTo>
                  <a:lnTo>
                    <a:pt x="636" y="1208"/>
                  </a:lnTo>
                  <a:lnTo>
                    <a:pt x="636" y="1249"/>
                  </a:lnTo>
                  <a:cubicBezTo>
                    <a:pt x="636" y="1269"/>
                    <a:pt x="636" y="1290"/>
                    <a:pt x="615" y="1290"/>
                  </a:cubicBezTo>
                  <a:lnTo>
                    <a:pt x="595" y="1290"/>
                  </a:lnTo>
                  <a:lnTo>
                    <a:pt x="595" y="1269"/>
                  </a:lnTo>
                  <a:lnTo>
                    <a:pt x="575" y="1249"/>
                  </a:lnTo>
                  <a:cubicBezTo>
                    <a:pt x="575" y="1249"/>
                    <a:pt x="554" y="1290"/>
                    <a:pt x="533" y="1290"/>
                  </a:cubicBezTo>
                  <a:cubicBezTo>
                    <a:pt x="533" y="1290"/>
                    <a:pt x="513" y="1290"/>
                    <a:pt x="493" y="1290"/>
                  </a:cubicBezTo>
                  <a:cubicBezTo>
                    <a:pt x="493" y="1290"/>
                    <a:pt x="472" y="1290"/>
                    <a:pt x="451" y="1290"/>
                  </a:cubicBezTo>
                  <a:lnTo>
                    <a:pt x="431" y="1269"/>
                  </a:lnTo>
                  <a:cubicBezTo>
                    <a:pt x="431" y="1249"/>
                    <a:pt x="451" y="1249"/>
                    <a:pt x="431" y="1228"/>
                  </a:cubicBezTo>
                  <a:cubicBezTo>
                    <a:pt x="431" y="1228"/>
                    <a:pt x="431" y="1208"/>
                    <a:pt x="411" y="1187"/>
                  </a:cubicBezTo>
                  <a:cubicBezTo>
                    <a:pt x="411" y="1187"/>
                    <a:pt x="390" y="1167"/>
                    <a:pt x="390" y="1187"/>
                  </a:cubicBezTo>
                  <a:cubicBezTo>
                    <a:pt x="370" y="1187"/>
                    <a:pt x="390" y="1208"/>
                    <a:pt x="370" y="1208"/>
                  </a:cubicBezTo>
                  <a:lnTo>
                    <a:pt x="349" y="1208"/>
                  </a:lnTo>
                  <a:lnTo>
                    <a:pt x="329" y="1187"/>
                  </a:lnTo>
                  <a:cubicBezTo>
                    <a:pt x="329" y="1187"/>
                    <a:pt x="329" y="1167"/>
                    <a:pt x="308" y="1167"/>
                  </a:cubicBezTo>
                  <a:lnTo>
                    <a:pt x="288" y="1187"/>
                  </a:lnTo>
                  <a:lnTo>
                    <a:pt x="267" y="1187"/>
                  </a:lnTo>
                  <a:cubicBezTo>
                    <a:pt x="247" y="1208"/>
                    <a:pt x="247" y="1208"/>
                    <a:pt x="247" y="1187"/>
                  </a:cubicBezTo>
                  <a:cubicBezTo>
                    <a:pt x="226" y="1187"/>
                    <a:pt x="247" y="1187"/>
                    <a:pt x="247" y="1187"/>
                  </a:cubicBezTo>
                  <a:cubicBezTo>
                    <a:pt x="247" y="1167"/>
                    <a:pt x="226" y="1187"/>
                    <a:pt x="206" y="1187"/>
                  </a:cubicBezTo>
                  <a:lnTo>
                    <a:pt x="185" y="1187"/>
                  </a:lnTo>
                  <a:cubicBezTo>
                    <a:pt x="165" y="1187"/>
                    <a:pt x="185" y="1167"/>
                    <a:pt x="185" y="1167"/>
                  </a:cubicBezTo>
                  <a:cubicBezTo>
                    <a:pt x="185" y="1146"/>
                    <a:pt x="206" y="1146"/>
                    <a:pt x="226" y="1146"/>
                  </a:cubicBezTo>
                  <a:lnTo>
                    <a:pt x="247" y="1146"/>
                  </a:lnTo>
                  <a:cubicBezTo>
                    <a:pt x="267" y="1146"/>
                    <a:pt x="267" y="1126"/>
                    <a:pt x="267" y="1126"/>
                  </a:cubicBezTo>
                  <a:cubicBezTo>
                    <a:pt x="267" y="1126"/>
                    <a:pt x="288" y="1105"/>
                    <a:pt x="267" y="1105"/>
                  </a:cubicBezTo>
                  <a:cubicBezTo>
                    <a:pt x="267" y="1085"/>
                    <a:pt x="267" y="1105"/>
                    <a:pt x="247" y="1105"/>
                  </a:cubicBezTo>
                  <a:lnTo>
                    <a:pt x="226" y="1105"/>
                  </a:lnTo>
                  <a:cubicBezTo>
                    <a:pt x="206" y="1105"/>
                    <a:pt x="206" y="1105"/>
                    <a:pt x="185" y="1105"/>
                  </a:cubicBezTo>
                  <a:lnTo>
                    <a:pt x="165" y="1105"/>
                  </a:lnTo>
                  <a:cubicBezTo>
                    <a:pt x="165" y="1105"/>
                    <a:pt x="165" y="1085"/>
                    <a:pt x="185" y="1085"/>
                  </a:cubicBezTo>
                  <a:lnTo>
                    <a:pt x="206" y="1085"/>
                  </a:lnTo>
                  <a:cubicBezTo>
                    <a:pt x="206" y="1064"/>
                    <a:pt x="226" y="1064"/>
                    <a:pt x="206" y="1064"/>
                  </a:cubicBezTo>
                  <a:cubicBezTo>
                    <a:pt x="206" y="1044"/>
                    <a:pt x="185" y="1044"/>
                    <a:pt x="165" y="1044"/>
                  </a:cubicBezTo>
                  <a:cubicBezTo>
                    <a:pt x="165" y="1044"/>
                    <a:pt x="144" y="1044"/>
                    <a:pt x="124" y="1023"/>
                  </a:cubicBezTo>
                  <a:lnTo>
                    <a:pt x="124" y="982"/>
                  </a:lnTo>
                  <a:cubicBezTo>
                    <a:pt x="124" y="962"/>
                    <a:pt x="124" y="962"/>
                    <a:pt x="124" y="962"/>
                  </a:cubicBezTo>
                  <a:cubicBezTo>
                    <a:pt x="144" y="941"/>
                    <a:pt x="124" y="941"/>
                    <a:pt x="124" y="921"/>
                  </a:cubicBezTo>
                  <a:cubicBezTo>
                    <a:pt x="124" y="921"/>
                    <a:pt x="124" y="902"/>
                    <a:pt x="124" y="881"/>
                  </a:cubicBezTo>
                  <a:cubicBezTo>
                    <a:pt x="103" y="881"/>
                    <a:pt x="83" y="881"/>
                    <a:pt x="62" y="881"/>
                  </a:cubicBezTo>
                  <a:cubicBezTo>
                    <a:pt x="42" y="881"/>
                    <a:pt x="21" y="881"/>
                    <a:pt x="21" y="881"/>
                  </a:cubicBezTo>
                  <a:lnTo>
                    <a:pt x="0" y="860"/>
                  </a:lnTo>
                  <a:cubicBezTo>
                    <a:pt x="0" y="860"/>
                    <a:pt x="0" y="840"/>
                    <a:pt x="0" y="820"/>
                  </a:cubicBezTo>
                  <a:lnTo>
                    <a:pt x="21" y="820"/>
                  </a:lnTo>
                  <a:cubicBezTo>
                    <a:pt x="21" y="820"/>
                    <a:pt x="0" y="799"/>
                    <a:pt x="21" y="778"/>
                  </a:cubicBezTo>
                  <a:lnTo>
                    <a:pt x="21" y="758"/>
                  </a:lnTo>
                  <a:cubicBezTo>
                    <a:pt x="42" y="758"/>
                    <a:pt x="42" y="778"/>
                    <a:pt x="42" y="778"/>
                  </a:cubicBezTo>
                  <a:cubicBezTo>
                    <a:pt x="42" y="778"/>
                    <a:pt x="42" y="799"/>
                    <a:pt x="42" y="820"/>
                  </a:cubicBezTo>
                  <a:cubicBezTo>
                    <a:pt x="62" y="820"/>
                    <a:pt x="62" y="820"/>
                    <a:pt x="83" y="820"/>
                  </a:cubicBezTo>
                  <a:lnTo>
                    <a:pt x="83" y="799"/>
                  </a:lnTo>
                  <a:cubicBezTo>
                    <a:pt x="103" y="799"/>
                    <a:pt x="103" y="799"/>
                    <a:pt x="103" y="799"/>
                  </a:cubicBezTo>
                  <a:cubicBezTo>
                    <a:pt x="124" y="799"/>
                    <a:pt x="124" y="778"/>
                    <a:pt x="124" y="778"/>
                  </a:cubicBezTo>
                  <a:cubicBezTo>
                    <a:pt x="124" y="778"/>
                    <a:pt x="103" y="778"/>
                    <a:pt x="83" y="778"/>
                  </a:cubicBezTo>
                  <a:cubicBezTo>
                    <a:pt x="83" y="758"/>
                    <a:pt x="83" y="758"/>
                    <a:pt x="83" y="738"/>
                  </a:cubicBezTo>
                  <a:lnTo>
                    <a:pt x="83" y="717"/>
                  </a:lnTo>
                  <a:lnTo>
                    <a:pt x="83" y="676"/>
                  </a:lnTo>
                  <a:cubicBezTo>
                    <a:pt x="83" y="656"/>
                    <a:pt x="83" y="635"/>
                    <a:pt x="83" y="635"/>
                  </a:cubicBezTo>
                  <a:cubicBezTo>
                    <a:pt x="83" y="635"/>
                    <a:pt x="83" y="614"/>
                    <a:pt x="83" y="594"/>
                  </a:cubicBezTo>
                  <a:cubicBezTo>
                    <a:pt x="83" y="594"/>
                    <a:pt x="103" y="574"/>
                    <a:pt x="103" y="553"/>
                  </a:cubicBezTo>
                  <a:cubicBezTo>
                    <a:pt x="103" y="553"/>
                    <a:pt x="103" y="553"/>
                    <a:pt x="103" y="532"/>
                  </a:cubicBezTo>
                  <a:cubicBezTo>
                    <a:pt x="83" y="532"/>
                    <a:pt x="83" y="532"/>
                    <a:pt x="83" y="532"/>
                  </a:cubicBezTo>
                  <a:cubicBezTo>
                    <a:pt x="62" y="532"/>
                    <a:pt x="62" y="553"/>
                    <a:pt x="42" y="553"/>
                  </a:cubicBezTo>
                  <a:cubicBezTo>
                    <a:pt x="42" y="553"/>
                    <a:pt x="21" y="553"/>
                    <a:pt x="21" y="532"/>
                  </a:cubicBezTo>
                  <a:cubicBezTo>
                    <a:pt x="0" y="532"/>
                    <a:pt x="0" y="512"/>
                    <a:pt x="0" y="512"/>
                  </a:cubicBezTo>
                  <a:cubicBezTo>
                    <a:pt x="0" y="512"/>
                    <a:pt x="21" y="492"/>
                    <a:pt x="21" y="471"/>
                  </a:cubicBezTo>
                  <a:cubicBezTo>
                    <a:pt x="21" y="471"/>
                    <a:pt x="21" y="450"/>
                    <a:pt x="21" y="430"/>
                  </a:cubicBezTo>
                  <a:cubicBezTo>
                    <a:pt x="42" y="430"/>
                    <a:pt x="42" y="410"/>
                    <a:pt x="62" y="410"/>
                  </a:cubicBezTo>
                  <a:cubicBezTo>
                    <a:pt x="62" y="410"/>
                    <a:pt x="83" y="389"/>
                    <a:pt x="103" y="389"/>
                  </a:cubicBezTo>
                  <a:cubicBezTo>
                    <a:pt x="103" y="389"/>
                    <a:pt x="124" y="368"/>
                    <a:pt x="144" y="348"/>
                  </a:cubicBezTo>
                  <a:cubicBezTo>
                    <a:pt x="144" y="348"/>
                    <a:pt x="165" y="348"/>
                    <a:pt x="185" y="348"/>
                  </a:cubicBezTo>
                  <a:lnTo>
                    <a:pt x="226" y="368"/>
                  </a:lnTo>
                  <a:lnTo>
                    <a:pt x="247" y="368"/>
                  </a:lnTo>
                  <a:cubicBezTo>
                    <a:pt x="267" y="368"/>
                    <a:pt x="267" y="368"/>
                    <a:pt x="267" y="368"/>
                  </a:cubicBezTo>
                  <a:cubicBezTo>
                    <a:pt x="267" y="348"/>
                    <a:pt x="247" y="348"/>
                    <a:pt x="247" y="348"/>
                  </a:cubicBezTo>
                  <a:lnTo>
                    <a:pt x="267" y="348"/>
                  </a:lnTo>
                  <a:cubicBezTo>
                    <a:pt x="288" y="348"/>
                    <a:pt x="308" y="348"/>
                    <a:pt x="308" y="348"/>
                  </a:cubicBezTo>
                  <a:lnTo>
                    <a:pt x="329" y="368"/>
                  </a:lnTo>
                  <a:cubicBezTo>
                    <a:pt x="349" y="368"/>
                    <a:pt x="370" y="368"/>
                    <a:pt x="370" y="368"/>
                  </a:cubicBezTo>
                  <a:cubicBezTo>
                    <a:pt x="390" y="368"/>
                    <a:pt x="411" y="368"/>
                    <a:pt x="411" y="368"/>
                  </a:cubicBezTo>
                  <a:cubicBezTo>
                    <a:pt x="411" y="368"/>
                    <a:pt x="431" y="368"/>
                    <a:pt x="451" y="368"/>
                  </a:cubicBezTo>
                  <a:cubicBezTo>
                    <a:pt x="451" y="368"/>
                    <a:pt x="472" y="389"/>
                    <a:pt x="472" y="368"/>
                  </a:cubicBezTo>
                  <a:lnTo>
                    <a:pt x="493" y="368"/>
                  </a:lnTo>
                  <a:lnTo>
                    <a:pt x="493" y="348"/>
                  </a:lnTo>
                  <a:lnTo>
                    <a:pt x="472" y="348"/>
                  </a:lnTo>
                  <a:cubicBezTo>
                    <a:pt x="451" y="348"/>
                    <a:pt x="451" y="348"/>
                    <a:pt x="451" y="348"/>
                  </a:cubicBezTo>
                  <a:cubicBezTo>
                    <a:pt x="451" y="328"/>
                    <a:pt x="431" y="328"/>
                    <a:pt x="451" y="328"/>
                  </a:cubicBezTo>
                  <a:cubicBezTo>
                    <a:pt x="451" y="307"/>
                    <a:pt x="451" y="307"/>
                    <a:pt x="451" y="307"/>
                  </a:cubicBezTo>
                  <a:cubicBezTo>
                    <a:pt x="451" y="307"/>
                    <a:pt x="472" y="307"/>
                    <a:pt x="493" y="307"/>
                  </a:cubicBezTo>
                  <a:cubicBezTo>
                    <a:pt x="493" y="307"/>
                    <a:pt x="513" y="307"/>
                    <a:pt x="533" y="307"/>
                  </a:cubicBezTo>
                  <a:cubicBezTo>
                    <a:pt x="533" y="307"/>
                    <a:pt x="575" y="307"/>
                    <a:pt x="575" y="286"/>
                  </a:cubicBezTo>
                  <a:lnTo>
                    <a:pt x="575" y="266"/>
                  </a:lnTo>
                  <a:lnTo>
                    <a:pt x="554" y="266"/>
                  </a:lnTo>
                  <a:lnTo>
                    <a:pt x="533" y="266"/>
                  </a:lnTo>
                  <a:cubicBezTo>
                    <a:pt x="533" y="266"/>
                    <a:pt x="513" y="266"/>
                    <a:pt x="513" y="246"/>
                  </a:cubicBezTo>
                  <a:cubicBezTo>
                    <a:pt x="493" y="246"/>
                    <a:pt x="493" y="226"/>
                    <a:pt x="513" y="205"/>
                  </a:cubicBezTo>
                  <a:cubicBezTo>
                    <a:pt x="513" y="205"/>
                    <a:pt x="513" y="205"/>
                    <a:pt x="513" y="184"/>
                  </a:cubicBezTo>
                  <a:cubicBezTo>
                    <a:pt x="533" y="184"/>
                    <a:pt x="554" y="205"/>
                    <a:pt x="554" y="205"/>
                  </a:cubicBezTo>
                  <a:cubicBezTo>
                    <a:pt x="575" y="205"/>
                    <a:pt x="595" y="205"/>
                    <a:pt x="595" y="205"/>
                  </a:cubicBezTo>
                  <a:cubicBezTo>
                    <a:pt x="615" y="205"/>
                    <a:pt x="636" y="205"/>
                    <a:pt x="636" y="205"/>
                  </a:cubicBezTo>
                  <a:lnTo>
                    <a:pt x="657" y="184"/>
                  </a:lnTo>
                  <a:cubicBezTo>
                    <a:pt x="677" y="184"/>
                    <a:pt x="677" y="184"/>
                    <a:pt x="697" y="184"/>
                  </a:cubicBezTo>
                  <a:lnTo>
                    <a:pt x="718" y="205"/>
                  </a:lnTo>
                  <a:cubicBezTo>
                    <a:pt x="739" y="205"/>
                    <a:pt x="759" y="226"/>
                    <a:pt x="759" y="226"/>
                  </a:cubicBezTo>
                  <a:cubicBezTo>
                    <a:pt x="779" y="226"/>
                    <a:pt x="779" y="205"/>
                    <a:pt x="800" y="205"/>
                  </a:cubicBezTo>
                  <a:lnTo>
                    <a:pt x="821" y="184"/>
                  </a:lnTo>
                  <a:cubicBezTo>
                    <a:pt x="821" y="164"/>
                    <a:pt x="841" y="164"/>
                    <a:pt x="841" y="144"/>
                  </a:cubicBezTo>
                  <a:cubicBezTo>
                    <a:pt x="841" y="144"/>
                    <a:pt x="841" y="123"/>
                    <a:pt x="861" y="123"/>
                  </a:cubicBezTo>
                  <a:cubicBezTo>
                    <a:pt x="861" y="102"/>
                    <a:pt x="882" y="102"/>
                    <a:pt x="882" y="102"/>
                  </a:cubicBezTo>
                  <a:cubicBezTo>
                    <a:pt x="903" y="102"/>
                    <a:pt x="943" y="102"/>
                    <a:pt x="964" y="102"/>
                  </a:cubicBezTo>
                  <a:cubicBezTo>
                    <a:pt x="964" y="82"/>
                    <a:pt x="1005" y="82"/>
                    <a:pt x="1005" y="82"/>
                  </a:cubicBezTo>
                  <a:cubicBezTo>
                    <a:pt x="1025" y="62"/>
                    <a:pt x="1067" y="41"/>
                    <a:pt x="1087" y="41"/>
                  </a:cubicBezTo>
                  <a:cubicBezTo>
                    <a:pt x="1087" y="41"/>
                    <a:pt x="1128" y="41"/>
                    <a:pt x="1148" y="20"/>
                  </a:cubicBezTo>
                  <a:cubicBezTo>
                    <a:pt x="1148" y="20"/>
                    <a:pt x="1169" y="20"/>
                    <a:pt x="1189" y="20"/>
                  </a:cubicBezTo>
                  <a:cubicBezTo>
                    <a:pt x="1209" y="41"/>
                    <a:pt x="1230" y="41"/>
                    <a:pt x="1230" y="41"/>
                  </a:cubicBezTo>
                  <a:cubicBezTo>
                    <a:pt x="1251" y="41"/>
                    <a:pt x="1291" y="41"/>
                    <a:pt x="1312" y="41"/>
                  </a:cubicBezTo>
                  <a:cubicBezTo>
                    <a:pt x="1333" y="41"/>
                    <a:pt x="1353" y="41"/>
                    <a:pt x="1353" y="41"/>
                  </a:cubicBezTo>
                  <a:cubicBezTo>
                    <a:pt x="1353" y="41"/>
                    <a:pt x="1353" y="20"/>
                    <a:pt x="1373" y="20"/>
                  </a:cubicBezTo>
                  <a:cubicBezTo>
                    <a:pt x="1373" y="0"/>
                    <a:pt x="1373" y="0"/>
                    <a:pt x="1394" y="0"/>
                  </a:cubicBezTo>
                  <a:cubicBezTo>
                    <a:pt x="1394" y="0"/>
                    <a:pt x="1415" y="20"/>
                    <a:pt x="1435" y="20"/>
                  </a:cubicBezTo>
                  <a:cubicBezTo>
                    <a:pt x="1435" y="20"/>
                    <a:pt x="1435" y="20"/>
                    <a:pt x="1455" y="41"/>
                  </a:cubicBezTo>
                  <a:lnTo>
                    <a:pt x="1435" y="62"/>
                  </a:lnTo>
                  <a:lnTo>
                    <a:pt x="1455" y="82"/>
                  </a:lnTo>
                  <a:cubicBezTo>
                    <a:pt x="1455" y="102"/>
                    <a:pt x="1476" y="102"/>
                    <a:pt x="1497" y="102"/>
                  </a:cubicBezTo>
                  <a:lnTo>
                    <a:pt x="1517" y="102"/>
                  </a:lnTo>
                  <a:cubicBezTo>
                    <a:pt x="1537" y="102"/>
                    <a:pt x="1537" y="102"/>
                    <a:pt x="1537" y="102"/>
                  </a:cubicBezTo>
                  <a:cubicBezTo>
                    <a:pt x="1558" y="102"/>
                    <a:pt x="1558" y="102"/>
                    <a:pt x="1558" y="123"/>
                  </a:cubicBezTo>
                  <a:cubicBezTo>
                    <a:pt x="1558" y="123"/>
                    <a:pt x="1558" y="144"/>
                    <a:pt x="1558" y="164"/>
                  </a:cubicBezTo>
                  <a:lnTo>
                    <a:pt x="1579" y="184"/>
                  </a:lnTo>
                  <a:cubicBezTo>
                    <a:pt x="1599" y="184"/>
                    <a:pt x="1619" y="205"/>
                    <a:pt x="1619" y="205"/>
                  </a:cubicBezTo>
                  <a:cubicBezTo>
                    <a:pt x="1640" y="205"/>
                    <a:pt x="1640" y="205"/>
                    <a:pt x="1661" y="205"/>
                  </a:cubicBezTo>
                  <a:lnTo>
                    <a:pt x="1701" y="226"/>
                  </a:lnTo>
                  <a:cubicBezTo>
                    <a:pt x="1722" y="226"/>
                    <a:pt x="1722" y="246"/>
                    <a:pt x="1743" y="246"/>
                  </a:cubicBezTo>
                  <a:cubicBezTo>
                    <a:pt x="1743" y="266"/>
                    <a:pt x="1783" y="246"/>
                    <a:pt x="1804" y="246"/>
                  </a:cubicBezTo>
                  <a:cubicBezTo>
                    <a:pt x="1825" y="246"/>
                    <a:pt x="1845" y="246"/>
                    <a:pt x="1845" y="246"/>
                  </a:cubicBezTo>
                  <a:cubicBezTo>
                    <a:pt x="1865" y="266"/>
                    <a:pt x="1865" y="266"/>
                    <a:pt x="1865" y="286"/>
                  </a:cubicBezTo>
                  <a:cubicBezTo>
                    <a:pt x="1886" y="286"/>
                    <a:pt x="1906" y="266"/>
                    <a:pt x="1927" y="266"/>
                  </a:cubicBezTo>
                  <a:cubicBezTo>
                    <a:pt x="1947" y="266"/>
                    <a:pt x="1968" y="246"/>
                    <a:pt x="1968" y="246"/>
                  </a:cubicBezTo>
                  <a:cubicBezTo>
                    <a:pt x="1988" y="246"/>
                    <a:pt x="2029" y="246"/>
                    <a:pt x="2050" y="246"/>
                  </a:cubicBezTo>
                  <a:cubicBezTo>
                    <a:pt x="2050" y="226"/>
                    <a:pt x="2070" y="226"/>
                    <a:pt x="2091" y="246"/>
                  </a:cubicBezTo>
                  <a:cubicBezTo>
                    <a:pt x="2111" y="246"/>
                    <a:pt x="2132" y="246"/>
                    <a:pt x="2132" y="246"/>
                  </a:cubicBezTo>
                  <a:cubicBezTo>
                    <a:pt x="2152" y="246"/>
                    <a:pt x="2173" y="246"/>
                    <a:pt x="2193" y="226"/>
                  </a:cubicBezTo>
                  <a:cubicBezTo>
                    <a:pt x="2193" y="226"/>
                    <a:pt x="2214" y="226"/>
                    <a:pt x="2234" y="226"/>
                  </a:cubicBezTo>
                  <a:cubicBezTo>
                    <a:pt x="2234" y="205"/>
                    <a:pt x="2275" y="205"/>
                    <a:pt x="2275" y="184"/>
                  </a:cubicBezTo>
                  <a:cubicBezTo>
                    <a:pt x="2296" y="184"/>
                    <a:pt x="2337" y="184"/>
                    <a:pt x="2337" y="164"/>
                  </a:cubicBezTo>
                  <a:cubicBezTo>
                    <a:pt x="2337" y="164"/>
                    <a:pt x="2357" y="164"/>
                    <a:pt x="2357" y="144"/>
                  </a:cubicBezTo>
                  <a:cubicBezTo>
                    <a:pt x="2357" y="144"/>
                    <a:pt x="2378" y="144"/>
                    <a:pt x="2398" y="144"/>
                  </a:cubicBezTo>
                  <a:cubicBezTo>
                    <a:pt x="2398" y="144"/>
                    <a:pt x="2439" y="164"/>
                    <a:pt x="2460" y="144"/>
                  </a:cubicBezTo>
                  <a:cubicBezTo>
                    <a:pt x="2460" y="144"/>
                    <a:pt x="2480" y="123"/>
                    <a:pt x="2501" y="123"/>
                  </a:cubicBezTo>
                  <a:cubicBezTo>
                    <a:pt x="2501" y="123"/>
                    <a:pt x="2521" y="102"/>
                    <a:pt x="2542" y="102"/>
                  </a:cubicBezTo>
                  <a:lnTo>
                    <a:pt x="2562" y="123"/>
                  </a:lnTo>
                  <a:cubicBezTo>
                    <a:pt x="2583" y="123"/>
                    <a:pt x="2583" y="144"/>
                    <a:pt x="2583" y="164"/>
                  </a:cubicBezTo>
                  <a:lnTo>
                    <a:pt x="2603" y="184"/>
                  </a:lnTo>
                  <a:cubicBezTo>
                    <a:pt x="2603" y="205"/>
                    <a:pt x="2624" y="205"/>
                    <a:pt x="2644" y="205"/>
                  </a:cubicBezTo>
                  <a:cubicBezTo>
                    <a:pt x="2644" y="205"/>
                    <a:pt x="2644" y="226"/>
                    <a:pt x="2664" y="246"/>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 name="Freeform 60">
              <a:extLst>
                <a:ext uri="{FF2B5EF4-FFF2-40B4-BE49-F238E27FC236}">
                  <a16:creationId xmlns:a16="http://schemas.microsoft.com/office/drawing/2014/main" id="{694CB21F-E5C3-0B4A-929B-E3A02D260890}"/>
                </a:ext>
              </a:extLst>
            </p:cNvPr>
            <p:cNvSpPr>
              <a:spLocks noChangeArrowheads="1"/>
            </p:cNvSpPr>
            <p:nvPr/>
          </p:nvSpPr>
          <p:spPr bwMode="auto">
            <a:xfrm>
              <a:off x="1754188" y="5962650"/>
              <a:ext cx="66675" cy="125413"/>
            </a:xfrm>
            <a:custGeom>
              <a:avLst/>
              <a:gdLst>
                <a:gd name="T0" fmla="*/ 184 w 185"/>
                <a:gd name="T1" fmla="*/ 184 h 349"/>
                <a:gd name="T2" fmla="*/ 184 w 185"/>
                <a:gd name="T3" fmla="*/ 184 h 349"/>
                <a:gd name="T4" fmla="*/ 164 w 185"/>
                <a:gd name="T5" fmla="*/ 225 h 349"/>
                <a:gd name="T6" fmla="*/ 164 w 185"/>
                <a:gd name="T7" fmla="*/ 266 h 349"/>
                <a:gd name="T8" fmla="*/ 143 w 185"/>
                <a:gd name="T9" fmla="*/ 307 h 349"/>
                <a:gd name="T10" fmla="*/ 143 w 185"/>
                <a:gd name="T11" fmla="*/ 328 h 349"/>
                <a:gd name="T12" fmla="*/ 143 w 185"/>
                <a:gd name="T13" fmla="*/ 348 h 349"/>
                <a:gd name="T14" fmla="*/ 40 w 185"/>
                <a:gd name="T15" fmla="*/ 328 h 349"/>
                <a:gd name="T16" fmla="*/ 40 w 185"/>
                <a:gd name="T17" fmla="*/ 328 h 349"/>
                <a:gd name="T18" fmla="*/ 40 w 185"/>
                <a:gd name="T19" fmla="*/ 307 h 349"/>
                <a:gd name="T20" fmla="*/ 20 w 185"/>
                <a:gd name="T21" fmla="*/ 266 h 349"/>
                <a:gd name="T22" fmla="*/ 20 w 185"/>
                <a:gd name="T23" fmla="*/ 225 h 349"/>
                <a:gd name="T24" fmla="*/ 0 w 185"/>
                <a:gd name="T25" fmla="*/ 204 h 349"/>
                <a:gd name="T26" fmla="*/ 20 w 185"/>
                <a:gd name="T27" fmla="*/ 164 h 349"/>
                <a:gd name="T28" fmla="*/ 20 w 185"/>
                <a:gd name="T29" fmla="*/ 123 h 349"/>
                <a:gd name="T30" fmla="*/ 20 w 185"/>
                <a:gd name="T31" fmla="*/ 102 h 349"/>
                <a:gd name="T32" fmla="*/ 40 w 185"/>
                <a:gd name="T33" fmla="*/ 82 h 349"/>
                <a:gd name="T34" fmla="*/ 40 w 185"/>
                <a:gd name="T35" fmla="*/ 61 h 349"/>
                <a:gd name="T36" fmla="*/ 61 w 185"/>
                <a:gd name="T37" fmla="*/ 41 h 349"/>
                <a:gd name="T38" fmla="*/ 82 w 185"/>
                <a:gd name="T39" fmla="*/ 20 h 349"/>
                <a:gd name="T40" fmla="*/ 82 w 185"/>
                <a:gd name="T41" fmla="*/ 0 h 349"/>
                <a:gd name="T42" fmla="*/ 102 w 185"/>
                <a:gd name="T43" fmla="*/ 0 h 349"/>
                <a:gd name="T44" fmla="*/ 122 w 185"/>
                <a:gd name="T45" fmla="*/ 41 h 349"/>
                <a:gd name="T46" fmla="*/ 143 w 185"/>
                <a:gd name="T47" fmla="*/ 61 h 349"/>
                <a:gd name="T48" fmla="*/ 143 w 185"/>
                <a:gd name="T49" fmla="*/ 123 h 349"/>
                <a:gd name="T50" fmla="*/ 164 w 185"/>
                <a:gd name="T51" fmla="*/ 164 h 349"/>
                <a:gd name="T52" fmla="*/ 184 w 185"/>
                <a:gd name="T53" fmla="*/ 184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5" h="349">
                  <a:moveTo>
                    <a:pt x="184" y="184"/>
                  </a:moveTo>
                  <a:lnTo>
                    <a:pt x="184" y="184"/>
                  </a:lnTo>
                  <a:cubicBezTo>
                    <a:pt x="184" y="204"/>
                    <a:pt x="184" y="225"/>
                    <a:pt x="164" y="225"/>
                  </a:cubicBezTo>
                  <a:cubicBezTo>
                    <a:pt x="164" y="246"/>
                    <a:pt x="164" y="266"/>
                    <a:pt x="164" y="266"/>
                  </a:cubicBezTo>
                  <a:cubicBezTo>
                    <a:pt x="164" y="286"/>
                    <a:pt x="143" y="307"/>
                    <a:pt x="143" y="307"/>
                  </a:cubicBezTo>
                  <a:lnTo>
                    <a:pt x="143" y="328"/>
                  </a:lnTo>
                  <a:cubicBezTo>
                    <a:pt x="143" y="348"/>
                    <a:pt x="143" y="348"/>
                    <a:pt x="143" y="348"/>
                  </a:cubicBezTo>
                  <a:cubicBezTo>
                    <a:pt x="40" y="328"/>
                    <a:pt x="40" y="328"/>
                    <a:pt x="40" y="328"/>
                  </a:cubicBezTo>
                  <a:lnTo>
                    <a:pt x="40" y="328"/>
                  </a:lnTo>
                  <a:lnTo>
                    <a:pt x="40" y="307"/>
                  </a:lnTo>
                  <a:cubicBezTo>
                    <a:pt x="40" y="286"/>
                    <a:pt x="20" y="266"/>
                    <a:pt x="20" y="266"/>
                  </a:cubicBezTo>
                  <a:cubicBezTo>
                    <a:pt x="20" y="266"/>
                    <a:pt x="20" y="246"/>
                    <a:pt x="20" y="225"/>
                  </a:cubicBezTo>
                  <a:cubicBezTo>
                    <a:pt x="20" y="225"/>
                    <a:pt x="20" y="204"/>
                    <a:pt x="0" y="204"/>
                  </a:cubicBezTo>
                  <a:cubicBezTo>
                    <a:pt x="0" y="184"/>
                    <a:pt x="0" y="164"/>
                    <a:pt x="20" y="164"/>
                  </a:cubicBezTo>
                  <a:cubicBezTo>
                    <a:pt x="20" y="143"/>
                    <a:pt x="20" y="143"/>
                    <a:pt x="20" y="123"/>
                  </a:cubicBezTo>
                  <a:lnTo>
                    <a:pt x="20" y="102"/>
                  </a:lnTo>
                  <a:lnTo>
                    <a:pt x="40" y="82"/>
                  </a:lnTo>
                  <a:lnTo>
                    <a:pt x="40" y="61"/>
                  </a:lnTo>
                  <a:cubicBezTo>
                    <a:pt x="40" y="41"/>
                    <a:pt x="61" y="41"/>
                    <a:pt x="61" y="41"/>
                  </a:cubicBezTo>
                  <a:cubicBezTo>
                    <a:pt x="61" y="20"/>
                    <a:pt x="61" y="20"/>
                    <a:pt x="82" y="20"/>
                  </a:cubicBezTo>
                  <a:lnTo>
                    <a:pt x="82" y="0"/>
                  </a:lnTo>
                  <a:lnTo>
                    <a:pt x="102" y="0"/>
                  </a:lnTo>
                  <a:cubicBezTo>
                    <a:pt x="102" y="20"/>
                    <a:pt x="122" y="20"/>
                    <a:pt x="122" y="41"/>
                  </a:cubicBezTo>
                  <a:cubicBezTo>
                    <a:pt x="143" y="41"/>
                    <a:pt x="143" y="61"/>
                    <a:pt x="143" y="61"/>
                  </a:cubicBezTo>
                  <a:cubicBezTo>
                    <a:pt x="164" y="82"/>
                    <a:pt x="143" y="123"/>
                    <a:pt x="143" y="123"/>
                  </a:cubicBezTo>
                  <a:cubicBezTo>
                    <a:pt x="143" y="143"/>
                    <a:pt x="164" y="164"/>
                    <a:pt x="164" y="164"/>
                  </a:cubicBezTo>
                  <a:lnTo>
                    <a:pt x="184" y="184"/>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 name="Freeform 61">
              <a:extLst>
                <a:ext uri="{FF2B5EF4-FFF2-40B4-BE49-F238E27FC236}">
                  <a16:creationId xmlns:a16="http://schemas.microsoft.com/office/drawing/2014/main" id="{9B7508E8-2E37-7E43-8E7B-7FCC5A7C535D}"/>
                </a:ext>
              </a:extLst>
            </p:cNvPr>
            <p:cNvSpPr>
              <a:spLocks noChangeArrowheads="1"/>
            </p:cNvSpPr>
            <p:nvPr/>
          </p:nvSpPr>
          <p:spPr bwMode="auto">
            <a:xfrm>
              <a:off x="1798638" y="4649788"/>
              <a:ext cx="827087" cy="604837"/>
            </a:xfrm>
            <a:custGeom>
              <a:avLst/>
              <a:gdLst>
                <a:gd name="T0" fmla="*/ 636 w 2296"/>
                <a:gd name="T1" fmla="*/ 328 h 1681"/>
                <a:gd name="T2" fmla="*/ 697 w 2296"/>
                <a:gd name="T3" fmla="*/ 267 h 1681"/>
                <a:gd name="T4" fmla="*/ 738 w 2296"/>
                <a:gd name="T5" fmla="*/ 164 h 1681"/>
                <a:gd name="T6" fmla="*/ 861 w 2296"/>
                <a:gd name="T7" fmla="*/ 124 h 1681"/>
                <a:gd name="T8" fmla="*/ 902 w 2296"/>
                <a:gd name="T9" fmla="*/ 124 h 1681"/>
                <a:gd name="T10" fmla="*/ 902 w 2296"/>
                <a:gd name="T11" fmla="*/ 42 h 1681"/>
                <a:gd name="T12" fmla="*/ 984 w 2296"/>
                <a:gd name="T13" fmla="*/ 0 h 1681"/>
                <a:gd name="T14" fmla="*/ 1087 w 2296"/>
                <a:gd name="T15" fmla="*/ 103 h 1681"/>
                <a:gd name="T16" fmla="*/ 1230 w 2296"/>
                <a:gd name="T17" fmla="*/ 185 h 1681"/>
                <a:gd name="T18" fmla="*/ 1333 w 2296"/>
                <a:gd name="T19" fmla="*/ 308 h 1681"/>
                <a:gd name="T20" fmla="*/ 1435 w 2296"/>
                <a:gd name="T21" fmla="*/ 349 h 1681"/>
                <a:gd name="T22" fmla="*/ 1517 w 2296"/>
                <a:gd name="T23" fmla="*/ 492 h 1681"/>
                <a:gd name="T24" fmla="*/ 1579 w 2296"/>
                <a:gd name="T25" fmla="*/ 594 h 1681"/>
                <a:gd name="T26" fmla="*/ 2070 w 2296"/>
                <a:gd name="T27" fmla="*/ 964 h 1681"/>
                <a:gd name="T28" fmla="*/ 2295 w 2296"/>
                <a:gd name="T29" fmla="*/ 1046 h 1681"/>
                <a:gd name="T30" fmla="*/ 2152 w 2296"/>
                <a:gd name="T31" fmla="*/ 1147 h 1681"/>
                <a:gd name="T32" fmla="*/ 2029 w 2296"/>
                <a:gd name="T33" fmla="*/ 1208 h 1681"/>
                <a:gd name="T34" fmla="*/ 1988 w 2296"/>
                <a:gd name="T35" fmla="*/ 1331 h 1681"/>
                <a:gd name="T36" fmla="*/ 1947 w 2296"/>
                <a:gd name="T37" fmla="*/ 1454 h 1681"/>
                <a:gd name="T38" fmla="*/ 1803 w 2296"/>
                <a:gd name="T39" fmla="*/ 1516 h 1681"/>
                <a:gd name="T40" fmla="*/ 1742 w 2296"/>
                <a:gd name="T41" fmla="*/ 1618 h 1681"/>
                <a:gd name="T42" fmla="*/ 1661 w 2296"/>
                <a:gd name="T43" fmla="*/ 1680 h 1681"/>
                <a:gd name="T44" fmla="*/ 1599 w 2296"/>
                <a:gd name="T45" fmla="*/ 1618 h 1681"/>
                <a:gd name="T46" fmla="*/ 1497 w 2296"/>
                <a:gd name="T47" fmla="*/ 1598 h 1681"/>
                <a:gd name="T48" fmla="*/ 1435 w 2296"/>
                <a:gd name="T49" fmla="*/ 1454 h 1681"/>
                <a:gd name="T50" fmla="*/ 1373 w 2296"/>
                <a:gd name="T51" fmla="*/ 1352 h 1681"/>
                <a:gd name="T52" fmla="*/ 1271 w 2296"/>
                <a:gd name="T53" fmla="*/ 1270 h 1681"/>
                <a:gd name="T54" fmla="*/ 1127 w 2296"/>
                <a:gd name="T55" fmla="*/ 1188 h 1681"/>
                <a:gd name="T56" fmla="*/ 984 w 2296"/>
                <a:gd name="T57" fmla="*/ 1147 h 1681"/>
                <a:gd name="T58" fmla="*/ 882 w 2296"/>
                <a:gd name="T59" fmla="*/ 1085 h 1681"/>
                <a:gd name="T60" fmla="*/ 779 w 2296"/>
                <a:gd name="T61" fmla="*/ 1004 h 1681"/>
                <a:gd name="T62" fmla="*/ 656 w 2296"/>
                <a:gd name="T63" fmla="*/ 1025 h 1681"/>
                <a:gd name="T64" fmla="*/ 492 w 2296"/>
                <a:gd name="T65" fmla="*/ 1065 h 1681"/>
                <a:gd name="T66" fmla="*/ 410 w 2296"/>
                <a:gd name="T67" fmla="*/ 1188 h 1681"/>
                <a:gd name="T68" fmla="*/ 328 w 2296"/>
                <a:gd name="T69" fmla="*/ 1229 h 1681"/>
                <a:gd name="T70" fmla="*/ 287 w 2296"/>
                <a:gd name="T71" fmla="*/ 1126 h 1681"/>
                <a:gd name="T72" fmla="*/ 267 w 2296"/>
                <a:gd name="T73" fmla="*/ 943 h 1681"/>
                <a:gd name="T74" fmla="*/ 226 w 2296"/>
                <a:gd name="T75" fmla="*/ 820 h 1681"/>
                <a:gd name="T76" fmla="*/ 164 w 2296"/>
                <a:gd name="T77" fmla="*/ 779 h 1681"/>
                <a:gd name="T78" fmla="*/ 164 w 2296"/>
                <a:gd name="T79" fmla="*/ 718 h 1681"/>
                <a:gd name="T80" fmla="*/ 226 w 2296"/>
                <a:gd name="T81" fmla="*/ 697 h 1681"/>
                <a:gd name="T82" fmla="*/ 205 w 2296"/>
                <a:gd name="T83" fmla="*/ 636 h 1681"/>
                <a:gd name="T84" fmla="*/ 164 w 2296"/>
                <a:gd name="T85" fmla="*/ 636 h 1681"/>
                <a:gd name="T86" fmla="*/ 103 w 2296"/>
                <a:gd name="T87" fmla="*/ 554 h 1681"/>
                <a:gd name="T88" fmla="*/ 124 w 2296"/>
                <a:gd name="T89" fmla="*/ 390 h 1681"/>
                <a:gd name="T90" fmla="*/ 226 w 2296"/>
                <a:gd name="T91" fmla="*/ 390 h 1681"/>
                <a:gd name="T92" fmla="*/ 246 w 2296"/>
                <a:gd name="T93" fmla="*/ 308 h 1681"/>
                <a:gd name="T94" fmla="*/ 124 w 2296"/>
                <a:gd name="T95" fmla="*/ 308 h 1681"/>
                <a:gd name="T96" fmla="*/ 21 w 2296"/>
                <a:gd name="T97" fmla="*/ 308 h 1681"/>
                <a:gd name="T98" fmla="*/ 82 w 2296"/>
                <a:gd name="T99" fmla="*/ 164 h 1681"/>
                <a:gd name="T100" fmla="*/ 246 w 2296"/>
                <a:gd name="T101" fmla="*/ 103 h 1681"/>
                <a:gd name="T102" fmla="*/ 451 w 2296"/>
                <a:gd name="T103" fmla="*/ 308 h 1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96" h="1681">
                  <a:moveTo>
                    <a:pt x="554" y="328"/>
                  </a:moveTo>
                  <a:lnTo>
                    <a:pt x="554" y="328"/>
                  </a:lnTo>
                  <a:cubicBezTo>
                    <a:pt x="574" y="328"/>
                    <a:pt x="574" y="328"/>
                    <a:pt x="595" y="328"/>
                  </a:cubicBezTo>
                  <a:cubicBezTo>
                    <a:pt x="595" y="328"/>
                    <a:pt x="615" y="328"/>
                    <a:pt x="636" y="328"/>
                  </a:cubicBezTo>
                  <a:cubicBezTo>
                    <a:pt x="636" y="328"/>
                    <a:pt x="656" y="328"/>
                    <a:pt x="677" y="328"/>
                  </a:cubicBezTo>
                  <a:lnTo>
                    <a:pt x="697" y="328"/>
                  </a:lnTo>
                  <a:cubicBezTo>
                    <a:pt x="718" y="308"/>
                    <a:pt x="718" y="288"/>
                    <a:pt x="718" y="288"/>
                  </a:cubicBezTo>
                  <a:cubicBezTo>
                    <a:pt x="718" y="288"/>
                    <a:pt x="697" y="288"/>
                    <a:pt x="697" y="267"/>
                  </a:cubicBezTo>
                  <a:lnTo>
                    <a:pt x="677" y="246"/>
                  </a:lnTo>
                  <a:cubicBezTo>
                    <a:pt x="677" y="246"/>
                    <a:pt x="697" y="226"/>
                    <a:pt x="697" y="206"/>
                  </a:cubicBezTo>
                  <a:cubicBezTo>
                    <a:pt x="697" y="206"/>
                    <a:pt x="718" y="185"/>
                    <a:pt x="718" y="164"/>
                  </a:cubicBezTo>
                  <a:cubicBezTo>
                    <a:pt x="738" y="164"/>
                    <a:pt x="738" y="164"/>
                    <a:pt x="738" y="164"/>
                  </a:cubicBezTo>
                  <a:cubicBezTo>
                    <a:pt x="738" y="144"/>
                    <a:pt x="759" y="144"/>
                    <a:pt x="759" y="144"/>
                  </a:cubicBezTo>
                  <a:cubicBezTo>
                    <a:pt x="779" y="144"/>
                    <a:pt x="800" y="144"/>
                    <a:pt x="820" y="144"/>
                  </a:cubicBezTo>
                  <a:lnTo>
                    <a:pt x="841" y="144"/>
                  </a:lnTo>
                  <a:cubicBezTo>
                    <a:pt x="841" y="144"/>
                    <a:pt x="841" y="124"/>
                    <a:pt x="861" y="124"/>
                  </a:cubicBezTo>
                  <a:cubicBezTo>
                    <a:pt x="861" y="124"/>
                    <a:pt x="841" y="103"/>
                    <a:pt x="861" y="103"/>
                  </a:cubicBezTo>
                  <a:cubicBezTo>
                    <a:pt x="861" y="103"/>
                    <a:pt x="861" y="103"/>
                    <a:pt x="882" y="103"/>
                  </a:cubicBezTo>
                  <a:cubicBezTo>
                    <a:pt x="882" y="103"/>
                    <a:pt x="882" y="103"/>
                    <a:pt x="902" y="103"/>
                  </a:cubicBezTo>
                  <a:lnTo>
                    <a:pt x="902" y="124"/>
                  </a:lnTo>
                  <a:cubicBezTo>
                    <a:pt x="923" y="124"/>
                    <a:pt x="923" y="124"/>
                    <a:pt x="923" y="124"/>
                  </a:cubicBezTo>
                  <a:lnTo>
                    <a:pt x="943" y="103"/>
                  </a:lnTo>
                  <a:lnTo>
                    <a:pt x="923" y="82"/>
                  </a:lnTo>
                  <a:cubicBezTo>
                    <a:pt x="923" y="62"/>
                    <a:pt x="902" y="62"/>
                    <a:pt x="902" y="42"/>
                  </a:cubicBezTo>
                  <a:lnTo>
                    <a:pt x="902" y="42"/>
                  </a:lnTo>
                  <a:cubicBezTo>
                    <a:pt x="902" y="21"/>
                    <a:pt x="902" y="21"/>
                    <a:pt x="923" y="21"/>
                  </a:cubicBezTo>
                  <a:cubicBezTo>
                    <a:pt x="923" y="0"/>
                    <a:pt x="943" y="0"/>
                    <a:pt x="943" y="0"/>
                  </a:cubicBezTo>
                  <a:cubicBezTo>
                    <a:pt x="963" y="0"/>
                    <a:pt x="963" y="0"/>
                    <a:pt x="984" y="0"/>
                  </a:cubicBezTo>
                  <a:cubicBezTo>
                    <a:pt x="984" y="0"/>
                    <a:pt x="1005" y="21"/>
                    <a:pt x="1005" y="42"/>
                  </a:cubicBezTo>
                  <a:lnTo>
                    <a:pt x="1025" y="82"/>
                  </a:lnTo>
                  <a:lnTo>
                    <a:pt x="1045" y="103"/>
                  </a:lnTo>
                  <a:cubicBezTo>
                    <a:pt x="1066" y="124"/>
                    <a:pt x="1087" y="103"/>
                    <a:pt x="1087" y="103"/>
                  </a:cubicBezTo>
                  <a:cubicBezTo>
                    <a:pt x="1107" y="103"/>
                    <a:pt x="1107" y="103"/>
                    <a:pt x="1107" y="103"/>
                  </a:cubicBezTo>
                  <a:cubicBezTo>
                    <a:pt x="1127" y="103"/>
                    <a:pt x="1148" y="103"/>
                    <a:pt x="1169" y="103"/>
                  </a:cubicBezTo>
                  <a:cubicBezTo>
                    <a:pt x="1169" y="124"/>
                    <a:pt x="1209" y="124"/>
                    <a:pt x="1209" y="144"/>
                  </a:cubicBezTo>
                  <a:cubicBezTo>
                    <a:pt x="1230" y="144"/>
                    <a:pt x="1230" y="164"/>
                    <a:pt x="1230" y="185"/>
                  </a:cubicBezTo>
                  <a:cubicBezTo>
                    <a:pt x="1251" y="185"/>
                    <a:pt x="1251" y="206"/>
                    <a:pt x="1271" y="226"/>
                  </a:cubicBezTo>
                  <a:cubicBezTo>
                    <a:pt x="1271" y="226"/>
                    <a:pt x="1291" y="226"/>
                    <a:pt x="1312" y="246"/>
                  </a:cubicBezTo>
                  <a:cubicBezTo>
                    <a:pt x="1312" y="246"/>
                    <a:pt x="1312" y="267"/>
                    <a:pt x="1333" y="267"/>
                  </a:cubicBezTo>
                  <a:cubicBezTo>
                    <a:pt x="1333" y="267"/>
                    <a:pt x="1333" y="288"/>
                    <a:pt x="1333" y="308"/>
                  </a:cubicBezTo>
                  <a:cubicBezTo>
                    <a:pt x="1353" y="308"/>
                    <a:pt x="1373" y="308"/>
                    <a:pt x="1373" y="308"/>
                  </a:cubicBezTo>
                  <a:cubicBezTo>
                    <a:pt x="1394" y="308"/>
                    <a:pt x="1394" y="308"/>
                    <a:pt x="1415" y="328"/>
                  </a:cubicBezTo>
                  <a:cubicBezTo>
                    <a:pt x="1415" y="328"/>
                    <a:pt x="1415" y="328"/>
                    <a:pt x="1435" y="328"/>
                  </a:cubicBezTo>
                  <a:cubicBezTo>
                    <a:pt x="1435" y="349"/>
                    <a:pt x="1435" y="349"/>
                    <a:pt x="1435" y="349"/>
                  </a:cubicBezTo>
                  <a:cubicBezTo>
                    <a:pt x="1455" y="349"/>
                    <a:pt x="1476" y="349"/>
                    <a:pt x="1476" y="370"/>
                  </a:cubicBezTo>
                  <a:lnTo>
                    <a:pt x="1497" y="390"/>
                  </a:lnTo>
                  <a:cubicBezTo>
                    <a:pt x="1497" y="410"/>
                    <a:pt x="1497" y="430"/>
                    <a:pt x="1497" y="451"/>
                  </a:cubicBezTo>
                  <a:cubicBezTo>
                    <a:pt x="1517" y="451"/>
                    <a:pt x="1517" y="472"/>
                    <a:pt x="1517" y="492"/>
                  </a:cubicBezTo>
                  <a:lnTo>
                    <a:pt x="1537" y="492"/>
                  </a:lnTo>
                  <a:cubicBezTo>
                    <a:pt x="1558" y="492"/>
                    <a:pt x="1558" y="512"/>
                    <a:pt x="1558" y="512"/>
                  </a:cubicBezTo>
                  <a:cubicBezTo>
                    <a:pt x="1579" y="512"/>
                    <a:pt x="1579" y="533"/>
                    <a:pt x="1579" y="554"/>
                  </a:cubicBezTo>
                  <a:lnTo>
                    <a:pt x="1579" y="594"/>
                  </a:lnTo>
                  <a:cubicBezTo>
                    <a:pt x="1661" y="697"/>
                    <a:pt x="1947" y="800"/>
                    <a:pt x="2029" y="902"/>
                  </a:cubicBezTo>
                  <a:lnTo>
                    <a:pt x="2049" y="922"/>
                  </a:lnTo>
                  <a:cubicBezTo>
                    <a:pt x="2049" y="922"/>
                    <a:pt x="2049" y="943"/>
                    <a:pt x="2049" y="964"/>
                  </a:cubicBezTo>
                  <a:cubicBezTo>
                    <a:pt x="2070" y="964"/>
                    <a:pt x="2070" y="964"/>
                    <a:pt x="2070" y="964"/>
                  </a:cubicBezTo>
                  <a:cubicBezTo>
                    <a:pt x="2091" y="964"/>
                    <a:pt x="2111" y="964"/>
                    <a:pt x="2111" y="964"/>
                  </a:cubicBezTo>
                  <a:lnTo>
                    <a:pt x="2131" y="943"/>
                  </a:lnTo>
                  <a:lnTo>
                    <a:pt x="2173" y="943"/>
                  </a:lnTo>
                  <a:cubicBezTo>
                    <a:pt x="2295" y="1046"/>
                    <a:pt x="2295" y="1046"/>
                    <a:pt x="2295" y="1046"/>
                  </a:cubicBezTo>
                  <a:cubicBezTo>
                    <a:pt x="2255" y="1147"/>
                    <a:pt x="2255" y="1147"/>
                    <a:pt x="2255" y="1147"/>
                  </a:cubicBezTo>
                  <a:lnTo>
                    <a:pt x="2234" y="1147"/>
                  </a:lnTo>
                  <a:lnTo>
                    <a:pt x="2193" y="1147"/>
                  </a:lnTo>
                  <a:cubicBezTo>
                    <a:pt x="2173" y="1147"/>
                    <a:pt x="2173" y="1147"/>
                    <a:pt x="2152" y="1147"/>
                  </a:cubicBezTo>
                  <a:lnTo>
                    <a:pt x="2131" y="1167"/>
                  </a:lnTo>
                  <a:cubicBezTo>
                    <a:pt x="2131" y="1188"/>
                    <a:pt x="2111" y="1188"/>
                    <a:pt x="2111" y="1208"/>
                  </a:cubicBezTo>
                  <a:cubicBezTo>
                    <a:pt x="2091" y="1208"/>
                    <a:pt x="2091" y="1208"/>
                    <a:pt x="2070" y="1208"/>
                  </a:cubicBezTo>
                  <a:cubicBezTo>
                    <a:pt x="2070" y="1229"/>
                    <a:pt x="2049" y="1208"/>
                    <a:pt x="2029" y="1208"/>
                  </a:cubicBezTo>
                  <a:cubicBezTo>
                    <a:pt x="2029" y="1229"/>
                    <a:pt x="2009" y="1229"/>
                    <a:pt x="2009" y="1229"/>
                  </a:cubicBezTo>
                  <a:cubicBezTo>
                    <a:pt x="2009" y="1229"/>
                    <a:pt x="2009" y="1249"/>
                    <a:pt x="2009" y="1270"/>
                  </a:cubicBezTo>
                  <a:cubicBezTo>
                    <a:pt x="2009" y="1270"/>
                    <a:pt x="1988" y="1290"/>
                    <a:pt x="1988" y="1311"/>
                  </a:cubicBezTo>
                  <a:lnTo>
                    <a:pt x="1988" y="1331"/>
                  </a:lnTo>
                  <a:cubicBezTo>
                    <a:pt x="1988" y="1352"/>
                    <a:pt x="1988" y="1372"/>
                    <a:pt x="1988" y="1372"/>
                  </a:cubicBezTo>
                  <a:cubicBezTo>
                    <a:pt x="1967" y="1393"/>
                    <a:pt x="1967" y="1393"/>
                    <a:pt x="1967" y="1413"/>
                  </a:cubicBezTo>
                  <a:cubicBezTo>
                    <a:pt x="1967" y="1413"/>
                    <a:pt x="1967" y="1413"/>
                    <a:pt x="1967" y="1434"/>
                  </a:cubicBezTo>
                  <a:cubicBezTo>
                    <a:pt x="1967" y="1434"/>
                    <a:pt x="1947" y="1434"/>
                    <a:pt x="1947" y="1454"/>
                  </a:cubicBezTo>
                  <a:cubicBezTo>
                    <a:pt x="1947" y="1454"/>
                    <a:pt x="1927" y="1475"/>
                    <a:pt x="1906" y="1475"/>
                  </a:cubicBezTo>
                  <a:cubicBezTo>
                    <a:pt x="1906" y="1475"/>
                    <a:pt x="1885" y="1475"/>
                    <a:pt x="1865" y="1475"/>
                  </a:cubicBezTo>
                  <a:lnTo>
                    <a:pt x="1845" y="1495"/>
                  </a:lnTo>
                  <a:cubicBezTo>
                    <a:pt x="1824" y="1495"/>
                    <a:pt x="1803" y="1516"/>
                    <a:pt x="1803" y="1516"/>
                  </a:cubicBezTo>
                  <a:cubicBezTo>
                    <a:pt x="1783" y="1516"/>
                    <a:pt x="1783" y="1516"/>
                    <a:pt x="1783" y="1516"/>
                  </a:cubicBezTo>
                  <a:cubicBezTo>
                    <a:pt x="1763" y="1516"/>
                    <a:pt x="1763" y="1536"/>
                    <a:pt x="1763" y="1557"/>
                  </a:cubicBezTo>
                  <a:cubicBezTo>
                    <a:pt x="1742" y="1557"/>
                    <a:pt x="1763" y="1577"/>
                    <a:pt x="1763" y="1577"/>
                  </a:cubicBezTo>
                  <a:cubicBezTo>
                    <a:pt x="1742" y="1598"/>
                    <a:pt x="1742" y="1618"/>
                    <a:pt x="1742" y="1618"/>
                  </a:cubicBezTo>
                  <a:cubicBezTo>
                    <a:pt x="1742" y="1618"/>
                    <a:pt x="1742" y="1639"/>
                    <a:pt x="1721" y="1639"/>
                  </a:cubicBezTo>
                  <a:lnTo>
                    <a:pt x="1701" y="1659"/>
                  </a:lnTo>
                  <a:lnTo>
                    <a:pt x="1681" y="1659"/>
                  </a:lnTo>
                  <a:cubicBezTo>
                    <a:pt x="1681" y="1659"/>
                    <a:pt x="1681" y="1680"/>
                    <a:pt x="1661" y="1680"/>
                  </a:cubicBezTo>
                  <a:lnTo>
                    <a:pt x="1640" y="1680"/>
                  </a:lnTo>
                  <a:cubicBezTo>
                    <a:pt x="1640" y="1680"/>
                    <a:pt x="1619" y="1680"/>
                    <a:pt x="1619" y="1659"/>
                  </a:cubicBezTo>
                  <a:lnTo>
                    <a:pt x="1619" y="1639"/>
                  </a:lnTo>
                  <a:lnTo>
                    <a:pt x="1599" y="1618"/>
                  </a:lnTo>
                  <a:lnTo>
                    <a:pt x="1579" y="1618"/>
                  </a:lnTo>
                  <a:lnTo>
                    <a:pt x="1558" y="1618"/>
                  </a:lnTo>
                  <a:cubicBezTo>
                    <a:pt x="1537" y="1618"/>
                    <a:pt x="1537" y="1598"/>
                    <a:pt x="1517" y="1598"/>
                  </a:cubicBezTo>
                  <a:lnTo>
                    <a:pt x="1497" y="1598"/>
                  </a:lnTo>
                  <a:cubicBezTo>
                    <a:pt x="1497" y="1577"/>
                    <a:pt x="1497" y="1557"/>
                    <a:pt x="1476" y="1557"/>
                  </a:cubicBezTo>
                  <a:lnTo>
                    <a:pt x="1476" y="1557"/>
                  </a:lnTo>
                  <a:cubicBezTo>
                    <a:pt x="1476" y="1536"/>
                    <a:pt x="1476" y="1516"/>
                    <a:pt x="1455" y="1495"/>
                  </a:cubicBezTo>
                  <a:cubicBezTo>
                    <a:pt x="1455" y="1495"/>
                    <a:pt x="1455" y="1475"/>
                    <a:pt x="1435" y="1454"/>
                  </a:cubicBezTo>
                  <a:cubicBezTo>
                    <a:pt x="1435" y="1454"/>
                    <a:pt x="1435" y="1434"/>
                    <a:pt x="1415" y="1434"/>
                  </a:cubicBezTo>
                  <a:cubicBezTo>
                    <a:pt x="1415" y="1413"/>
                    <a:pt x="1415" y="1393"/>
                    <a:pt x="1415" y="1393"/>
                  </a:cubicBezTo>
                  <a:cubicBezTo>
                    <a:pt x="1415" y="1372"/>
                    <a:pt x="1415" y="1372"/>
                    <a:pt x="1394" y="1352"/>
                  </a:cubicBezTo>
                  <a:cubicBezTo>
                    <a:pt x="1394" y="1352"/>
                    <a:pt x="1394" y="1352"/>
                    <a:pt x="1373" y="1352"/>
                  </a:cubicBezTo>
                  <a:lnTo>
                    <a:pt x="1353" y="1352"/>
                  </a:lnTo>
                  <a:cubicBezTo>
                    <a:pt x="1333" y="1352"/>
                    <a:pt x="1312" y="1352"/>
                    <a:pt x="1291" y="1331"/>
                  </a:cubicBezTo>
                  <a:lnTo>
                    <a:pt x="1291" y="1311"/>
                  </a:lnTo>
                  <a:cubicBezTo>
                    <a:pt x="1291" y="1311"/>
                    <a:pt x="1271" y="1290"/>
                    <a:pt x="1271" y="1270"/>
                  </a:cubicBezTo>
                  <a:cubicBezTo>
                    <a:pt x="1251" y="1270"/>
                    <a:pt x="1230" y="1249"/>
                    <a:pt x="1230" y="1249"/>
                  </a:cubicBezTo>
                  <a:cubicBezTo>
                    <a:pt x="1209" y="1249"/>
                    <a:pt x="1189" y="1270"/>
                    <a:pt x="1169" y="1270"/>
                  </a:cubicBezTo>
                  <a:lnTo>
                    <a:pt x="1148" y="1229"/>
                  </a:lnTo>
                  <a:cubicBezTo>
                    <a:pt x="1148" y="1208"/>
                    <a:pt x="1127" y="1188"/>
                    <a:pt x="1127" y="1188"/>
                  </a:cubicBezTo>
                  <a:cubicBezTo>
                    <a:pt x="1127" y="1167"/>
                    <a:pt x="1107" y="1167"/>
                    <a:pt x="1087" y="1167"/>
                  </a:cubicBezTo>
                  <a:lnTo>
                    <a:pt x="1066" y="1147"/>
                  </a:lnTo>
                  <a:cubicBezTo>
                    <a:pt x="1045" y="1147"/>
                    <a:pt x="1045" y="1147"/>
                    <a:pt x="1025" y="1147"/>
                  </a:cubicBezTo>
                  <a:cubicBezTo>
                    <a:pt x="1025" y="1147"/>
                    <a:pt x="1005" y="1147"/>
                    <a:pt x="984" y="1147"/>
                  </a:cubicBezTo>
                  <a:lnTo>
                    <a:pt x="963" y="1167"/>
                  </a:lnTo>
                  <a:lnTo>
                    <a:pt x="943" y="1167"/>
                  </a:lnTo>
                  <a:cubicBezTo>
                    <a:pt x="923" y="1167"/>
                    <a:pt x="923" y="1147"/>
                    <a:pt x="923" y="1126"/>
                  </a:cubicBezTo>
                  <a:cubicBezTo>
                    <a:pt x="923" y="1126"/>
                    <a:pt x="902" y="1106"/>
                    <a:pt x="882" y="1085"/>
                  </a:cubicBezTo>
                  <a:cubicBezTo>
                    <a:pt x="882" y="1085"/>
                    <a:pt x="861" y="1085"/>
                    <a:pt x="841" y="1085"/>
                  </a:cubicBezTo>
                  <a:lnTo>
                    <a:pt x="820" y="1065"/>
                  </a:lnTo>
                  <a:cubicBezTo>
                    <a:pt x="820" y="1046"/>
                    <a:pt x="820" y="1046"/>
                    <a:pt x="800" y="1025"/>
                  </a:cubicBezTo>
                  <a:lnTo>
                    <a:pt x="779" y="1004"/>
                  </a:lnTo>
                  <a:cubicBezTo>
                    <a:pt x="759" y="1004"/>
                    <a:pt x="759" y="1025"/>
                    <a:pt x="759" y="1025"/>
                  </a:cubicBezTo>
                  <a:cubicBezTo>
                    <a:pt x="738" y="1025"/>
                    <a:pt x="718" y="1004"/>
                    <a:pt x="718" y="1004"/>
                  </a:cubicBezTo>
                  <a:lnTo>
                    <a:pt x="697" y="1004"/>
                  </a:lnTo>
                  <a:cubicBezTo>
                    <a:pt x="677" y="1004"/>
                    <a:pt x="677" y="1025"/>
                    <a:pt x="656" y="1025"/>
                  </a:cubicBezTo>
                  <a:cubicBezTo>
                    <a:pt x="656" y="1046"/>
                    <a:pt x="636" y="1046"/>
                    <a:pt x="636" y="1046"/>
                  </a:cubicBezTo>
                  <a:lnTo>
                    <a:pt x="595" y="1046"/>
                  </a:lnTo>
                  <a:cubicBezTo>
                    <a:pt x="574" y="1046"/>
                    <a:pt x="554" y="1046"/>
                    <a:pt x="533" y="1046"/>
                  </a:cubicBezTo>
                  <a:cubicBezTo>
                    <a:pt x="533" y="1046"/>
                    <a:pt x="512" y="1065"/>
                    <a:pt x="492" y="1065"/>
                  </a:cubicBezTo>
                  <a:cubicBezTo>
                    <a:pt x="492" y="1065"/>
                    <a:pt x="472" y="1085"/>
                    <a:pt x="451" y="1085"/>
                  </a:cubicBezTo>
                  <a:cubicBezTo>
                    <a:pt x="451" y="1085"/>
                    <a:pt x="451" y="1106"/>
                    <a:pt x="431" y="1126"/>
                  </a:cubicBezTo>
                  <a:lnTo>
                    <a:pt x="431" y="1147"/>
                  </a:lnTo>
                  <a:cubicBezTo>
                    <a:pt x="431" y="1147"/>
                    <a:pt x="410" y="1167"/>
                    <a:pt x="410" y="1188"/>
                  </a:cubicBezTo>
                  <a:cubicBezTo>
                    <a:pt x="410" y="1188"/>
                    <a:pt x="390" y="1188"/>
                    <a:pt x="390" y="1208"/>
                  </a:cubicBezTo>
                  <a:lnTo>
                    <a:pt x="369" y="1229"/>
                  </a:lnTo>
                  <a:lnTo>
                    <a:pt x="349" y="1229"/>
                  </a:lnTo>
                  <a:cubicBezTo>
                    <a:pt x="328" y="1229"/>
                    <a:pt x="328" y="1229"/>
                    <a:pt x="328" y="1229"/>
                  </a:cubicBezTo>
                  <a:lnTo>
                    <a:pt x="308" y="1229"/>
                  </a:lnTo>
                  <a:lnTo>
                    <a:pt x="308" y="1229"/>
                  </a:lnTo>
                  <a:cubicBezTo>
                    <a:pt x="308" y="1208"/>
                    <a:pt x="287" y="1188"/>
                    <a:pt x="287" y="1167"/>
                  </a:cubicBezTo>
                  <a:cubicBezTo>
                    <a:pt x="287" y="1167"/>
                    <a:pt x="287" y="1147"/>
                    <a:pt x="287" y="1126"/>
                  </a:cubicBezTo>
                  <a:cubicBezTo>
                    <a:pt x="267" y="1126"/>
                    <a:pt x="287" y="1106"/>
                    <a:pt x="287" y="1085"/>
                  </a:cubicBezTo>
                  <a:cubicBezTo>
                    <a:pt x="287" y="1065"/>
                    <a:pt x="287" y="1046"/>
                    <a:pt x="287" y="1046"/>
                  </a:cubicBezTo>
                  <a:cubicBezTo>
                    <a:pt x="287" y="1025"/>
                    <a:pt x="267" y="1004"/>
                    <a:pt x="267" y="984"/>
                  </a:cubicBezTo>
                  <a:lnTo>
                    <a:pt x="267" y="943"/>
                  </a:lnTo>
                  <a:cubicBezTo>
                    <a:pt x="267" y="922"/>
                    <a:pt x="287" y="922"/>
                    <a:pt x="287" y="902"/>
                  </a:cubicBezTo>
                  <a:cubicBezTo>
                    <a:pt x="287" y="902"/>
                    <a:pt x="287" y="861"/>
                    <a:pt x="287" y="840"/>
                  </a:cubicBezTo>
                  <a:cubicBezTo>
                    <a:pt x="267" y="840"/>
                    <a:pt x="267" y="840"/>
                    <a:pt x="267" y="840"/>
                  </a:cubicBezTo>
                  <a:cubicBezTo>
                    <a:pt x="246" y="840"/>
                    <a:pt x="226" y="820"/>
                    <a:pt x="226" y="820"/>
                  </a:cubicBezTo>
                  <a:cubicBezTo>
                    <a:pt x="226" y="820"/>
                    <a:pt x="226" y="800"/>
                    <a:pt x="205" y="800"/>
                  </a:cubicBezTo>
                  <a:lnTo>
                    <a:pt x="205" y="779"/>
                  </a:lnTo>
                  <a:lnTo>
                    <a:pt x="185" y="779"/>
                  </a:lnTo>
                  <a:cubicBezTo>
                    <a:pt x="185" y="779"/>
                    <a:pt x="185" y="779"/>
                    <a:pt x="164" y="779"/>
                  </a:cubicBezTo>
                  <a:lnTo>
                    <a:pt x="164" y="779"/>
                  </a:lnTo>
                  <a:cubicBezTo>
                    <a:pt x="144" y="758"/>
                    <a:pt x="144" y="758"/>
                    <a:pt x="144" y="758"/>
                  </a:cubicBezTo>
                  <a:cubicBezTo>
                    <a:pt x="144" y="738"/>
                    <a:pt x="144" y="738"/>
                    <a:pt x="144" y="738"/>
                  </a:cubicBezTo>
                  <a:cubicBezTo>
                    <a:pt x="144" y="718"/>
                    <a:pt x="164" y="718"/>
                    <a:pt x="164" y="718"/>
                  </a:cubicBezTo>
                  <a:cubicBezTo>
                    <a:pt x="164" y="718"/>
                    <a:pt x="164" y="697"/>
                    <a:pt x="185" y="697"/>
                  </a:cubicBezTo>
                  <a:lnTo>
                    <a:pt x="185" y="718"/>
                  </a:lnTo>
                  <a:cubicBezTo>
                    <a:pt x="205" y="718"/>
                    <a:pt x="226" y="718"/>
                    <a:pt x="226" y="718"/>
                  </a:cubicBezTo>
                  <a:cubicBezTo>
                    <a:pt x="226" y="718"/>
                    <a:pt x="226" y="718"/>
                    <a:pt x="226" y="697"/>
                  </a:cubicBezTo>
                  <a:cubicBezTo>
                    <a:pt x="246" y="697"/>
                    <a:pt x="226" y="697"/>
                    <a:pt x="226" y="697"/>
                  </a:cubicBezTo>
                  <a:cubicBezTo>
                    <a:pt x="226" y="676"/>
                    <a:pt x="226" y="676"/>
                    <a:pt x="205" y="676"/>
                  </a:cubicBezTo>
                  <a:lnTo>
                    <a:pt x="205" y="676"/>
                  </a:lnTo>
                  <a:cubicBezTo>
                    <a:pt x="205" y="656"/>
                    <a:pt x="205" y="656"/>
                    <a:pt x="205" y="636"/>
                  </a:cubicBezTo>
                  <a:lnTo>
                    <a:pt x="226" y="636"/>
                  </a:lnTo>
                  <a:lnTo>
                    <a:pt x="226" y="615"/>
                  </a:lnTo>
                  <a:lnTo>
                    <a:pt x="185" y="615"/>
                  </a:lnTo>
                  <a:lnTo>
                    <a:pt x="164" y="636"/>
                  </a:lnTo>
                  <a:cubicBezTo>
                    <a:pt x="144" y="636"/>
                    <a:pt x="144" y="636"/>
                    <a:pt x="124" y="636"/>
                  </a:cubicBezTo>
                  <a:cubicBezTo>
                    <a:pt x="124" y="636"/>
                    <a:pt x="103" y="636"/>
                    <a:pt x="103" y="615"/>
                  </a:cubicBezTo>
                  <a:lnTo>
                    <a:pt x="103" y="594"/>
                  </a:lnTo>
                  <a:cubicBezTo>
                    <a:pt x="103" y="574"/>
                    <a:pt x="103" y="554"/>
                    <a:pt x="103" y="554"/>
                  </a:cubicBezTo>
                  <a:cubicBezTo>
                    <a:pt x="103" y="533"/>
                    <a:pt x="103" y="512"/>
                    <a:pt x="103" y="512"/>
                  </a:cubicBezTo>
                  <a:cubicBezTo>
                    <a:pt x="103" y="492"/>
                    <a:pt x="124" y="492"/>
                    <a:pt x="124" y="472"/>
                  </a:cubicBezTo>
                  <a:cubicBezTo>
                    <a:pt x="124" y="451"/>
                    <a:pt x="124" y="430"/>
                    <a:pt x="124" y="430"/>
                  </a:cubicBezTo>
                  <a:cubicBezTo>
                    <a:pt x="124" y="410"/>
                    <a:pt x="124" y="390"/>
                    <a:pt x="124" y="390"/>
                  </a:cubicBezTo>
                  <a:cubicBezTo>
                    <a:pt x="144" y="390"/>
                    <a:pt x="144" y="370"/>
                    <a:pt x="164" y="370"/>
                  </a:cubicBezTo>
                  <a:lnTo>
                    <a:pt x="164" y="410"/>
                  </a:lnTo>
                  <a:lnTo>
                    <a:pt x="185" y="410"/>
                  </a:lnTo>
                  <a:cubicBezTo>
                    <a:pt x="205" y="410"/>
                    <a:pt x="205" y="390"/>
                    <a:pt x="226" y="390"/>
                  </a:cubicBezTo>
                  <a:lnTo>
                    <a:pt x="246" y="390"/>
                  </a:lnTo>
                  <a:lnTo>
                    <a:pt x="267" y="390"/>
                  </a:lnTo>
                  <a:cubicBezTo>
                    <a:pt x="267" y="370"/>
                    <a:pt x="267" y="349"/>
                    <a:pt x="267" y="328"/>
                  </a:cubicBezTo>
                  <a:cubicBezTo>
                    <a:pt x="246" y="328"/>
                    <a:pt x="246" y="308"/>
                    <a:pt x="246" y="308"/>
                  </a:cubicBezTo>
                  <a:cubicBezTo>
                    <a:pt x="226" y="308"/>
                    <a:pt x="226" y="288"/>
                    <a:pt x="205" y="288"/>
                  </a:cubicBezTo>
                  <a:lnTo>
                    <a:pt x="185" y="288"/>
                  </a:lnTo>
                  <a:cubicBezTo>
                    <a:pt x="164" y="288"/>
                    <a:pt x="164" y="288"/>
                    <a:pt x="144" y="288"/>
                  </a:cubicBezTo>
                  <a:lnTo>
                    <a:pt x="124" y="308"/>
                  </a:lnTo>
                  <a:cubicBezTo>
                    <a:pt x="124" y="328"/>
                    <a:pt x="103" y="349"/>
                    <a:pt x="103" y="349"/>
                  </a:cubicBezTo>
                  <a:cubicBezTo>
                    <a:pt x="103" y="370"/>
                    <a:pt x="82" y="370"/>
                    <a:pt x="82" y="370"/>
                  </a:cubicBezTo>
                  <a:cubicBezTo>
                    <a:pt x="62" y="370"/>
                    <a:pt x="62" y="349"/>
                    <a:pt x="62" y="328"/>
                  </a:cubicBezTo>
                  <a:cubicBezTo>
                    <a:pt x="42" y="328"/>
                    <a:pt x="21" y="308"/>
                    <a:pt x="21" y="308"/>
                  </a:cubicBezTo>
                  <a:cubicBezTo>
                    <a:pt x="21" y="288"/>
                    <a:pt x="21" y="288"/>
                    <a:pt x="0" y="267"/>
                  </a:cubicBezTo>
                  <a:cubicBezTo>
                    <a:pt x="21" y="267"/>
                    <a:pt x="21" y="246"/>
                    <a:pt x="21" y="246"/>
                  </a:cubicBezTo>
                  <a:cubicBezTo>
                    <a:pt x="21" y="226"/>
                    <a:pt x="42" y="206"/>
                    <a:pt x="42" y="206"/>
                  </a:cubicBezTo>
                  <a:cubicBezTo>
                    <a:pt x="42" y="185"/>
                    <a:pt x="62" y="185"/>
                    <a:pt x="82" y="164"/>
                  </a:cubicBezTo>
                  <a:cubicBezTo>
                    <a:pt x="82" y="164"/>
                    <a:pt x="103" y="164"/>
                    <a:pt x="124" y="144"/>
                  </a:cubicBezTo>
                  <a:cubicBezTo>
                    <a:pt x="124" y="144"/>
                    <a:pt x="144" y="144"/>
                    <a:pt x="164" y="144"/>
                  </a:cubicBezTo>
                  <a:cubicBezTo>
                    <a:pt x="164" y="144"/>
                    <a:pt x="185" y="124"/>
                    <a:pt x="205" y="124"/>
                  </a:cubicBezTo>
                  <a:cubicBezTo>
                    <a:pt x="205" y="124"/>
                    <a:pt x="226" y="103"/>
                    <a:pt x="246" y="103"/>
                  </a:cubicBezTo>
                  <a:cubicBezTo>
                    <a:pt x="267" y="103"/>
                    <a:pt x="308" y="103"/>
                    <a:pt x="308" y="103"/>
                  </a:cubicBezTo>
                  <a:cubicBezTo>
                    <a:pt x="328" y="124"/>
                    <a:pt x="328" y="144"/>
                    <a:pt x="349" y="164"/>
                  </a:cubicBezTo>
                  <a:cubicBezTo>
                    <a:pt x="349" y="164"/>
                    <a:pt x="390" y="206"/>
                    <a:pt x="390" y="226"/>
                  </a:cubicBezTo>
                  <a:cubicBezTo>
                    <a:pt x="410" y="246"/>
                    <a:pt x="431" y="288"/>
                    <a:pt x="451" y="308"/>
                  </a:cubicBezTo>
                  <a:cubicBezTo>
                    <a:pt x="451" y="308"/>
                    <a:pt x="472" y="328"/>
                    <a:pt x="492" y="328"/>
                  </a:cubicBezTo>
                  <a:lnTo>
                    <a:pt x="512" y="328"/>
                  </a:lnTo>
                  <a:cubicBezTo>
                    <a:pt x="533" y="328"/>
                    <a:pt x="533" y="328"/>
                    <a:pt x="554" y="328"/>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 name="Freeform 62">
              <a:extLst>
                <a:ext uri="{FF2B5EF4-FFF2-40B4-BE49-F238E27FC236}">
                  <a16:creationId xmlns:a16="http://schemas.microsoft.com/office/drawing/2014/main" id="{72E6CF24-BEC9-954F-A7BB-A221E5727060}"/>
                </a:ext>
              </a:extLst>
            </p:cNvPr>
            <p:cNvSpPr>
              <a:spLocks noChangeArrowheads="1"/>
            </p:cNvSpPr>
            <p:nvPr/>
          </p:nvSpPr>
          <p:spPr bwMode="auto">
            <a:xfrm>
              <a:off x="2751138" y="4583113"/>
              <a:ext cx="568325" cy="317500"/>
            </a:xfrm>
            <a:custGeom>
              <a:avLst/>
              <a:gdLst>
                <a:gd name="T0" fmla="*/ 1557 w 1579"/>
                <a:gd name="T1" fmla="*/ 184 h 882"/>
                <a:gd name="T2" fmla="*/ 1578 w 1579"/>
                <a:gd name="T3" fmla="*/ 226 h 882"/>
                <a:gd name="T4" fmla="*/ 1536 w 1579"/>
                <a:gd name="T5" fmla="*/ 266 h 882"/>
                <a:gd name="T6" fmla="*/ 1475 w 1579"/>
                <a:gd name="T7" fmla="*/ 328 h 882"/>
                <a:gd name="T8" fmla="*/ 1352 w 1579"/>
                <a:gd name="T9" fmla="*/ 348 h 882"/>
                <a:gd name="T10" fmla="*/ 1332 w 1579"/>
                <a:gd name="T11" fmla="*/ 430 h 882"/>
                <a:gd name="T12" fmla="*/ 1291 w 1579"/>
                <a:gd name="T13" fmla="*/ 492 h 882"/>
                <a:gd name="T14" fmla="*/ 1209 w 1579"/>
                <a:gd name="T15" fmla="*/ 472 h 882"/>
                <a:gd name="T16" fmla="*/ 1127 w 1579"/>
                <a:gd name="T17" fmla="*/ 492 h 882"/>
                <a:gd name="T18" fmla="*/ 1086 w 1579"/>
                <a:gd name="T19" fmla="*/ 533 h 882"/>
                <a:gd name="T20" fmla="*/ 1086 w 1579"/>
                <a:gd name="T21" fmla="*/ 614 h 882"/>
                <a:gd name="T22" fmla="*/ 1004 w 1579"/>
                <a:gd name="T23" fmla="*/ 656 h 882"/>
                <a:gd name="T24" fmla="*/ 963 w 1579"/>
                <a:gd name="T25" fmla="*/ 656 h 882"/>
                <a:gd name="T26" fmla="*/ 922 w 1579"/>
                <a:gd name="T27" fmla="*/ 594 h 882"/>
                <a:gd name="T28" fmla="*/ 840 w 1579"/>
                <a:gd name="T29" fmla="*/ 614 h 882"/>
                <a:gd name="T30" fmla="*/ 820 w 1579"/>
                <a:gd name="T31" fmla="*/ 676 h 882"/>
                <a:gd name="T32" fmla="*/ 717 w 1579"/>
                <a:gd name="T33" fmla="*/ 717 h 882"/>
                <a:gd name="T34" fmla="*/ 676 w 1579"/>
                <a:gd name="T35" fmla="*/ 778 h 882"/>
                <a:gd name="T36" fmla="*/ 676 w 1579"/>
                <a:gd name="T37" fmla="*/ 840 h 882"/>
                <a:gd name="T38" fmla="*/ 594 w 1579"/>
                <a:gd name="T39" fmla="*/ 860 h 882"/>
                <a:gd name="T40" fmla="*/ 512 w 1579"/>
                <a:gd name="T41" fmla="*/ 881 h 882"/>
                <a:gd name="T42" fmla="*/ 389 w 1579"/>
                <a:gd name="T43" fmla="*/ 881 h 882"/>
                <a:gd name="T44" fmla="*/ 328 w 1579"/>
                <a:gd name="T45" fmla="*/ 820 h 882"/>
                <a:gd name="T46" fmla="*/ 225 w 1579"/>
                <a:gd name="T47" fmla="*/ 840 h 882"/>
                <a:gd name="T48" fmla="*/ 102 w 1579"/>
                <a:gd name="T49" fmla="*/ 840 h 882"/>
                <a:gd name="T50" fmla="*/ 0 w 1579"/>
                <a:gd name="T51" fmla="*/ 840 h 882"/>
                <a:gd name="T52" fmla="*/ 20 w 1579"/>
                <a:gd name="T53" fmla="*/ 758 h 882"/>
                <a:gd name="T54" fmla="*/ 123 w 1579"/>
                <a:gd name="T55" fmla="*/ 738 h 882"/>
                <a:gd name="T56" fmla="*/ 205 w 1579"/>
                <a:gd name="T57" fmla="*/ 758 h 882"/>
                <a:gd name="T58" fmla="*/ 266 w 1579"/>
                <a:gd name="T59" fmla="*/ 758 h 882"/>
                <a:gd name="T60" fmla="*/ 246 w 1579"/>
                <a:gd name="T61" fmla="*/ 696 h 882"/>
                <a:gd name="T62" fmla="*/ 287 w 1579"/>
                <a:gd name="T63" fmla="*/ 656 h 882"/>
                <a:gd name="T64" fmla="*/ 369 w 1579"/>
                <a:gd name="T65" fmla="*/ 696 h 882"/>
                <a:gd name="T66" fmla="*/ 471 w 1579"/>
                <a:gd name="T67" fmla="*/ 635 h 882"/>
                <a:gd name="T68" fmla="*/ 492 w 1579"/>
                <a:gd name="T69" fmla="*/ 594 h 882"/>
                <a:gd name="T70" fmla="*/ 512 w 1579"/>
                <a:gd name="T71" fmla="*/ 512 h 882"/>
                <a:gd name="T72" fmla="*/ 389 w 1579"/>
                <a:gd name="T73" fmla="*/ 492 h 882"/>
                <a:gd name="T74" fmla="*/ 328 w 1579"/>
                <a:gd name="T75" fmla="*/ 430 h 882"/>
                <a:gd name="T76" fmla="*/ 246 w 1579"/>
                <a:gd name="T77" fmla="*/ 492 h 882"/>
                <a:gd name="T78" fmla="*/ 164 w 1579"/>
                <a:gd name="T79" fmla="*/ 430 h 882"/>
                <a:gd name="T80" fmla="*/ 143 w 1579"/>
                <a:gd name="T81" fmla="*/ 348 h 882"/>
                <a:gd name="T82" fmla="*/ 246 w 1579"/>
                <a:gd name="T83" fmla="*/ 266 h 882"/>
                <a:gd name="T84" fmla="*/ 205 w 1579"/>
                <a:gd name="T85" fmla="*/ 226 h 882"/>
                <a:gd name="T86" fmla="*/ 164 w 1579"/>
                <a:gd name="T87" fmla="*/ 226 h 882"/>
                <a:gd name="T88" fmla="*/ 225 w 1579"/>
                <a:gd name="T89" fmla="*/ 144 h 882"/>
                <a:gd name="T90" fmla="*/ 410 w 1579"/>
                <a:gd name="T91" fmla="*/ 123 h 882"/>
                <a:gd name="T92" fmla="*/ 533 w 1579"/>
                <a:gd name="T93" fmla="*/ 164 h 882"/>
                <a:gd name="T94" fmla="*/ 574 w 1579"/>
                <a:gd name="T95" fmla="*/ 20 h 882"/>
                <a:gd name="T96" fmla="*/ 696 w 1579"/>
                <a:gd name="T97" fmla="*/ 41 h 882"/>
                <a:gd name="T98" fmla="*/ 860 w 1579"/>
                <a:gd name="T99" fmla="*/ 102 h 882"/>
                <a:gd name="T100" fmla="*/ 1024 w 1579"/>
                <a:gd name="T101" fmla="*/ 62 h 882"/>
                <a:gd name="T102" fmla="*/ 1188 w 1579"/>
                <a:gd name="T103" fmla="*/ 62 h 882"/>
                <a:gd name="T104" fmla="*/ 1372 w 1579"/>
                <a:gd name="T105" fmla="*/ 102 h 882"/>
                <a:gd name="T106" fmla="*/ 1475 w 1579"/>
                <a:gd name="T107" fmla="*/ 144 h 882"/>
                <a:gd name="T108" fmla="*/ 1230 w 1579"/>
                <a:gd name="T109" fmla="*/ 164 h 882"/>
                <a:gd name="T110" fmla="*/ 1209 w 1579"/>
                <a:gd name="T111" fmla="*/ 123 h 882"/>
                <a:gd name="T112" fmla="*/ 1106 w 1579"/>
                <a:gd name="T113" fmla="*/ 144 h 882"/>
                <a:gd name="T114" fmla="*/ 984 w 1579"/>
                <a:gd name="T115" fmla="*/ 184 h 882"/>
                <a:gd name="T116" fmla="*/ 1045 w 1579"/>
                <a:gd name="T117" fmla="*/ 226 h 882"/>
                <a:gd name="T118" fmla="*/ 1168 w 1579"/>
                <a:gd name="T119" fmla="*/ 226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9" h="882">
                  <a:moveTo>
                    <a:pt x="1557" y="164"/>
                  </a:moveTo>
                  <a:lnTo>
                    <a:pt x="1557" y="164"/>
                  </a:lnTo>
                  <a:lnTo>
                    <a:pt x="1557" y="184"/>
                  </a:lnTo>
                  <a:lnTo>
                    <a:pt x="1557" y="205"/>
                  </a:lnTo>
                  <a:lnTo>
                    <a:pt x="1578" y="205"/>
                  </a:lnTo>
                  <a:cubicBezTo>
                    <a:pt x="1578" y="226"/>
                    <a:pt x="1578" y="226"/>
                    <a:pt x="1578" y="226"/>
                  </a:cubicBezTo>
                  <a:cubicBezTo>
                    <a:pt x="1578" y="246"/>
                    <a:pt x="1578" y="246"/>
                    <a:pt x="1578" y="246"/>
                  </a:cubicBezTo>
                  <a:lnTo>
                    <a:pt x="1557" y="246"/>
                  </a:lnTo>
                  <a:cubicBezTo>
                    <a:pt x="1557" y="246"/>
                    <a:pt x="1536" y="246"/>
                    <a:pt x="1536" y="266"/>
                  </a:cubicBezTo>
                  <a:cubicBezTo>
                    <a:pt x="1536" y="266"/>
                    <a:pt x="1536" y="266"/>
                    <a:pt x="1536" y="287"/>
                  </a:cubicBezTo>
                  <a:lnTo>
                    <a:pt x="1516" y="308"/>
                  </a:lnTo>
                  <a:cubicBezTo>
                    <a:pt x="1496" y="308"/>
                    <a:pt x="1475" y="328"/>
                    <a:pt x="1475" y="328"/>
                  </a:cubicBezTo>
                  <a:cubicBezTo>
                    <a:pt x="1454" y="328"/>
                    <a:pt x="1454" y="328"/>
                    <a:pt x="1434" y="328"/>
                  </a:cubicBezTo>
                  <a:cubicBezTo>
                    <a:pt x="1414" y="328"/>
                    <a:pt x="1393" y="328"/>
                    <a:pt x="1393" y="328"/>
                  </a:cubicBezTo>
                  <a:cubicBezTo>
                    <a:pt x="1372" y="348"/>
                    <a:pt x="1372" y="348"/>
                    <a:pt x="1352" y="348"/>
                  </a:cubicBezTo>
                  <a:lnTo>
                    <a:pt x="1332" y="369"/>
                  </a:lnTo>
                  <a:cubicBezTo>
                    <a:pt x="1311" y="390"/>
                    <a:pt x="1332" y="390"/>
                    <a:pt x="1332" y="390"/>
                  </a:cubicBezTo>
                  <a:cubicBezTo>
                    <a:pt x="1332" y="410"/>
                    <a:pt x="1332" y="430"/>
                    <a:pt x="1332" y="430"/>
                  </a:cubicBezTo>
                  <a:cubicBezTo>
                    <a:pt x="1332" y="451"/>
                    <a:pt x="1332" y="451"/>
                    <a:pt x="1332" y="472"/>
                  </a:cubicBezTo>
                  <a:cubicBezTo>
                    <a:pt x="1332" y="472"/>
                    <a:pt x="1332" y="492"/>
                    <a:pt x="1311" y="492"/>
                  </a:cubicBezTo>
                  <a:lnTo>
                    <a:pt x="1291" y="492"/>
                  </a:lnTo>
                  <a:lnTo>
                    <a:pt x="1270" y="472"/>
                  </a:lnTo>
                  <a:lnTo>
                    <a:pt x="1250" y="472"/>
                  </a:lnTo>
                  <a:cubicBezTo>
                    <a:pt x="1230" y="472"/>
                    <a:pt x="1230" y="472"/>
                    <a:pt x="1209" y="472"/>
                  </a:cubicBezTo>
                  <a:lnTo>
                    <a:pt x="1188" y="472"/>
                  </a:lnTo>
                  <a:cubicBezTo>
                    <a:pt x="1168" y="472"/>
                    <a:pt x="1148" y="472"/>
                    <a:pt x="1148" y="472"/>
                  </a:cubicBezTo>
                  <a:lnTo>
                    <a:pt x="1127" y="492"/>
                  </a:lnTo>
                  <a:cubicBezTo>
                    <a:pt x="1127" y="492"/>
                    <a:pt x="1106" y="472"/>
                    <a:pt x="1086" y="492"/>
                  </a:cubicBezTo>
                  <a:lnTo>
                    <a:pt x="1086" y="492"/>
                  </a:lnTo>
                  <a:cubicBezTo>
                    <a:pt x="1086" y="512"/>
                    <a:pt x="1086" y="512"/>
                    <a:pt x="1086" y="533"/>
                  </a:cubicBezTo>
                  <a:cubicBezTo>
                    <a:pt x="1086" y="533"/>
                    <a:pt x="1086" y="533"/>
                    <a:pt x="1086" y="554"/>
                  </a:cubicBezTo>
                  <a:lnTo>
                    <a:pt x="1086" y="574"/>
                  </a:lnTo>
                  <a:cubicBezTo>
                    <a:pt x="1086" y="594"/>
                    <a:pt x="1086" y="614"/>
                    <a:pt x="1086" y="614"/>
                  </a:cubicBezTo>
                  <a:cubicBezTo>
                    <a:pt x="1086" y="635"/>
                    <a:pt x="1066" y="635"/>
                    <a:pt x="1066" y="635"/>
                  </a:cubicBezTo>
                  <a:cubicBezTo>
                    <a:pt x="1045" y="635"/>
                    <a:pt x="1045" y="635"/>
                    <a:pt x="1024" y="635"/>
                  </a:cubicBezTo>
                  <a:lnTo>
                    <a:pt x="1004" y="656"/>
                  </a:lnTo>
                  <a:lnTo>
                    <a:pt x="1004" y="676"/>
                  </a:lnTo>
                  <a:cubicBezTo>
                    <a:pt x="984" y="676"/>
                    <a:pt x="963" y="676"/>
                    <a:pt x="963" y="676"/>
                  </a:cubicBezTo>
                  <a:cubicBezTo>
                    <a:pt x="963" y="656"/>
                    <a:pt x="963" y="656"/>
                    <a:pt x="963" y="656"/>
                  </a:cubicBezTo>
                  <a:cubicBezTo>
                    <a:pt x="963" y="635"/>
                    <a:pt x="963" y="635"/>
                    <a:pt x="963" y="614"/>
                  </a:cubicBezTo>
                  <a:cubicBezTo>
                    <a:pt x="963" y="614"/>
                    <a:pt x="963" y="614"/>
                    <a:pt x="942" y="594"/>
                  </a:cubicBezTo>
                  <a:lnTo>
                    <a:pt x="922" y="594"/>
                  </a:lnTo>
                  <a:cubicBezTo>
                    <a:pt x="922" y="594"/>
                    <a:pt x="922" y="614"/>
                    <a:pt x="902" y="614"/>
                  </a:cubicBezTo>
                  <a:cubicBezTo>
                    <a:pt x="902" y="614"/>
                    <a:pt x="881" y="614"/>
                    <a:pt x="860" y="614"/>
                  </a:cubicBezTo>
                  <a:cubicBezTo>
                    <a:pt x="860" y="614"/>
                    <a:pt x="860" y="614"/>
                    <a:pt x="840" y="614"/>
                  </a:cubicBezTo>
                  <a:lnTo>
                    <a:pt x="840" y="614"/>
                  </a:lnTo>
                  <a:lnTo>
                    <a:pt x="840" y="635"/>
                  </a:lnTo>
                  <a:cubicBezTo>
                    <a:pt x="840" y="656"/>
                    <a:pt x="840" y="656"/>
                    <a:pt x="820" y="676"/>
                  </a:cubicBezTo>
                  <a:cubicBezTo>
                    <a:pt x="820" y="676"/>
                    <a:pt x="778" y="676"/>
                    <a:pt x="778" y="696"/>
                  </a:cubicBezTo>
                  <a:cubicBezTo>
                    <a:pt x="758" y="696"/>
                    <a:pt x="758" y="676"/>
                    <a:pt x="738" y="696"/>
                  </a:cubicBezTo>
                  <a:cubicBezTo>
                    <a:pt x="738" y="696"/>
                    <a:pt x="738" y="696"/>
                    <a:pt x="717" y="717"/>
                  </a:cubicBezTo>
                  <a:lnTo>
                    <a:pt x="696" y="717"/>
                  </a:lnTo>
                  <a:cubicBezTo>
                    <a:pt x="696" y="738"/>
                    <a:pt x="676" y="738"/>
                    <a:pt x="676" y="738"/>
                  </a:cubicBezTo>
                  <a:cubicBezTo>
                    <a:pt x="676" y="758"/>
                    <a:pt x="676" y="758"/>
                    <a:pt x="676" y="778"/>
                  </a:cubicBezTo>
                  <a:cubicBezTo>
                    <a:pt x="676" y="778"/>
                    <a:pt x="696" y="778"/>
                    <a:pt x="696" y="799"/>
                  </a:cubicBezTo>
                  <a:lnTo>
                    <a:pt x="696" y="820"/>
                  </a:lnTo>
                  <a:lnTo>
                    <a:pt x="676" y="840"/>
                  </a:lnTo>
                  <a:lnTo>
                    <a:pt x="676" y="840"/>
                  </a:lnTo>
                  <a:cubicBezTo>
                    <a:pt x="656" y="840"/>
                    <a:pt x="635" y="860"/>
                    <a:pt x="635" y="860"/>
                  </a:cubicBezTo>
                  <a:cubicBezTo>
                    <a:pt x="635" y="860"/>
                    <a:pt x="614" y="860"/>
                    <a:pt x="594" y="860"/>
                  </a:cubicBezTo>
                  <a:cubicBezTo>
                    <a:pt x="594" y="860"/>
                    <a:pt x="574" y="860"/>
                    <a:pt x="553" y="860"/>
                  </a:cubicBezTo>
                  <a:cubicBezTo>
                    <a:pt x="553" y="860"/>
                    <a:pt x="553" y="860"/>
                    <a:pt x="533" y="881"/>
                  </a:cubicBezTo>
                  <a:lnTo>
                    <a:pt x="512" y="881"/>
                  </a:lnTo>
                  <a:cubicBezTo>
                    <a:pt x="492" y="881"/>
                    <a:pt x="471" y="860"/>
                    <a:pt x="451" y="881"/>
                  </a:cubicBezTo>
                  <a:lnTo>
                    <a:pt x="430" y="881"/>
                  </a:lnTo>
                  <a:cubicBezTo>
                    <a:pt x="410" y="881"/>
                    <a:pt x="389" y="881"/>
                    <a:pt x="389" y="881"/>
                  </a:cubicBezTo>
                  <a:lnTo>
                    <a:pt x="389" y="860"/>
                  </a:lnTo>
                  <a:cubicBezTo>
                    <a:pt x="369" y="860"/>
                    <a:pt x="369" y="840"/>
                    <a:pt x="369" y="840"/>
                  </a:cubicBezTo>
                  <a:cubicBezTo>
                    <a:pt x="369" y="840"/>
                    <a:pt x="348" y="820"/>
                    <a:pt x="328" y="820"/>
                  </a:cubicBezTo>
                  <a:lnTo>
                    <a:pt x="307" y="820"/>
                  </a:lnTo>
                  <a:cubicBezTo>
                    <a:pt x="287" y="820"/>
                    <a:pt x="266" y="820"/>
                    <a:pt x="266" y="820"/>
                  </a:cubicBezTo>
                  <a:cubicBezTo>
                    <a:pt x="246" y="820"/>
                    <a:pt x="225" y="840"/>
                    <a:pt x="225" y="840"/>
                  </a:cubicBezTo>
                  <a:lnTo>
                    <a:pt x="184" y="840"/>
                  </a:lnTo>
                  <a:cubicBezTo>
                    <a:pt x="164" y="840"/>
                    <a:pt x="164" y="840"/>
                    <a:pt x="143" y="840"/>
                  </a:cubicBezTo>
                  <a:cubicBezTo>
                    <a:pt x="143" y="840"/>
                    <a:pt x="123" y="840"/>
                    <a:pt x="102" y="840"/>
                  </a:cubicBezTo>
                  <a:lnTo>
                    <a:pt x="82" y="840"/>
                  </a:lnTo>
                  <a:lnTo>
                    <a:pt x="61" y="840"/>
                  </a:lnTo>
                  <a:cubicBezTo>
                    <a:pt x="41" y="840"/>
                    <a:pt x="20" y="840"/>
                    <a:pt x="0" y="840"/>
                  </a:cubicBezTo>
                  <a:cubicBezTo>
                    <a:pt x="0" y="820"/>
                    <a:pt x="0" y="820"/>
                    <a:pt x="0" y="799"/>
                  </a:cubicBezTo>
                  <a:cubicBezTo>
                    <a:pt x="0" y="799"/>
                    <a:pt x="0" y="799"/>
                    <a:pt x="0" y="778"/>
                  </a:cubicBezTo>
                  <a:cubicBezTo>
                    <a:pt x="20" y="778"/>
                    <a:pt x="20" y="758"/>
                    <a:pt x="20" y="758"/>
                  </a:cubicBezTo>
                  <a:lnTo>
                    <a:pt x="41" y="738"/>
                  </a:lnTo>
                  <a:cubicBezTo>
                    <a:pt x="41" y="738"/>
                    <a:pt x="61" y="738"/>
                    <a:pt x="82" y="717"/>
                  </a:cubicBezTo>
                  <a:cubicBezTo>
                    <a:pt x="82" y="717"/>
                    <a:pt x="102" y="738"/>
                    <a:pt x="123" y="738"/>
                  </a:cubicBezTo>
                  <a:lnTo>
                    <a:pt x="143" y="738"/>
                  </a:lnTo>
                  <a:cubicBezTo>
                    <a:pt x="164" y="738"/>
                    <a:pt x="164" y="758"/>
                    <a:pt x="164" y="758"/>
                  </a:cubicBezTo>
                  <a:cubicBezTo>
                    <a:pt x="184" y="758"/>
                    <a:pt x="205" y="758"/>
                    <a:pt x="205" y="758"/>
                  </a:cubicBezTo>
                  <a:lnTo>
                    <a:pt x="205" y="738"/>
                  </a:lnTo>
                  <a:cubicBezTo>
                    <a:pt x="225" y="738"/>
                    <a:pt x="246" y="738"/>
                    <a:pt x="246" y="758"/>
                  </a:cubicBezTo>
                  <a:lnTo>
                    <a:pt x="266" y="758"/>
                  </a:lnTo>
                  <a:lnTo>
                    <a:pt x="287" y="738"/>
                  </a:lnTo>
                  <a:lnTo>
                    <a:pt x="266" y="717"/>
                  </a:lnTo>
                  <a:lnTo>
                    <a:pt x="246" y="696"/>
                  </a:lnTo>
                  <a:cubicBezTo>
                    <a:pt x="246" y="696"/>
                    <a:pt x="246" y="696"/>
                    <a:pt x="246" y="676"/>
                  </a:cubicBezTo>
                  <a:lnTo>
                    <a:pt x="266" y="676"/>
                  </a:lnTo>
                  <a:cubicBezTo>
                    <a:pt x="266" y="676"/>
                    <a:pt x="266" y="656"/>
                    <a:pt x="287" y="656"/>
                  </a:cubicBezTo>
                  <a:cubicBezTo>
                    <a:pt x="287" y="656"/>
                    <a:pt x="307" y="656"/>
                    <a:pt x="307" y="676"/>
                  </a:cubicBezTo>
                  <a:cubicBezTo>
                    <a:pt x="328" y="676"/>
                    <a:pt x="328" y="676"/>
                    <a:pt x="328" y="676"/>
                  </a:cubicBezTo>
                  <a:cubicBezTo>
                    <a:pt x="348" y="696"/>
                    <a:pt x="369" y="696"/>
                    <a:pt x="369" y="696"/>
                  </a:cubicBezTo>
                  <a:cubicBezTo>
                    <a:pt x="369" y="696"/>
                    <a:pt x="389" y="696"/>
                    <a:pt x="410" y="676"/>
                  </a:cubicBezTo>
                  <a:cubicBezTo>
                    <a:pt x="410" y="676"/>
                    <a:pt x="410" y="656"/>
                    <a:pt x="430" y="656"/>
                  </a:cubicBezTo>
                  <a:cubicBezTo>
                    <a:pt x="430" y="635"/>
                    <a:pt x="451" y="635"/>
                    <a:pt x="471" y="635"/>
                  </a:cubicBezTo>
                  <a:cubicBezTo>
                    <a:pt x="471" y="635"/>
                    <a:pt x="471" y="635"/>
                    <a:pt x="492" y="635"/>
                  </a:cubicBezTo>
                  <a:lnTo>
                    <a:pt x="492" y="614"/>
                  </a:lnTo>
                  <a:lnTo>
                    <a:pt x="492" y="594"/>
                  </a:lnTo>
                  <a:cubicBezTo>
                    <a:pt x="492" y="574"/>
                    <a:pt x="533" y="574"/>
                    <a:pt x="533" y="574"/>
                  </a:cubicBezTo>
                  <a:lnTo>
                    <a:pt x="533" y="554"/>
                  </a:lnTo>
                  <a:cubicBezTo>
                    <a:pt x="533" y="533"/>
                    <a:pt x="512" y="512"/>
                    <a:pt x="512" y="512"/>
                  </a:cubicBezTo>
                  <a:lnTo>
                    <a:pt x="492" y="512"/>
                  </a:lnTo>
                  <a:cubicBezTo>
                    <a:pt x="471" y="512"/>
                    <a:pt x="451" y="512"/>
                    <a:pt x="430" y="492"/>
                  </a:cubicBezTo>
                  <a:cubicBezTo>
                    <a:pt x="430" y="492"/>
                    <a:pt x="410" y="492"/>
                    <a:pt x="389" y="492"/>
                  </a:cubicBezTo>
                  <a:cubicBezTo>
                    <a:pt x="389" y="472"/>
                    <a:pt x="369" y="472"/>
                    <a:pt x="369" y="451"/>
                  </a:cubicBezTo>
                  <a:lnTo>
                    <a:pt x="348" y="430"/>
                  </a:lnTo>
                  <a:cubicBezTo>
                    <a:pt x="328" y="430"/>
                    <a:pt x="328" y="430"/>
                    <a:pt x="328" y="430"/>
                  </a:cubicBezTo>
                  <a:cubicBezTo>
                    <a:pt x="307" y="430"/>
                    <a:pt x="307" y="451"/>
                    <a:pt x="287" y="451"/>
                  </a:cubicBezTo>
                  <a:lnTo>
                    <a:pt x="287" y="472"/>
                  </a:lnTo>
                  <a:cubicBezTo>
                    <a:pt x="266" y="492"/>
                    <a:pt x="266" y="492"/>
                    <a:pt x="246" y="492"/>
                  </a:cubicBezTo>
                  <a:cubicBezTo>
                    <a:pt x="246" y="492"/>
                    <a:pt x="225" y="492"/>
                    <a:pt x="205" y="492"/>
                  </a:cubicBezTo>
                  <a:cubicBezTo>
                    <a:pt x="205" y="472"/>
                    <a:pt x="205" y="472"/>
                    <a:pt x="205" y="451"/>
                  </a:cubicBezTo>
                  <a:cubicBezTo>
                    <a:pt x="184" y="451"/>
                    <a:pt x="184" y="430"/>
                    <a:pt x="164" y="430"/>
                  </a:cubicBezTo>
                  <a:cubicBezTo>
                    <a:pt x="164" y="430"/>
                    <a:pt x="123" y="430"/>
                    <a:pt x="123" y="410"/>
                  </a:cubicBezTo>
                  <a:cubicBezTo>
                    <a:pt x="123" y="410"/>
                    <a:pt x="102" y="390"/>
                    <a:pt x="102" y="369"/>
                  </a:cubicBezTo>
                  <a:lnTo>
                    <a:pt x="143" y="348"/>
                  </a:lnTo>
                  <a:cubicBezTo>
                    <a:pt x="143" y="328"/>
                    <a:pt x="164" y="308"/>
                    <a:pt x="184" y="308"/>
                  </a:cubicBezTo>
                  <a:cubicBezTo>
                    <a:pt x="184" y="287"/>
                    <a:pt x="205" y="287"/>
                    <a:pt x="205" y="287"/>
                  </a:cubicBezTo>
                  <a:cubicBezTo>
                    <a:pt x="225" y="266"/>
                    <a:pt x="246" y="266"/>
                    <a:pt x="246" y="266"/>
                  </a:cubicBezTo>
                  <a:lnTo>
                    <a:pt x="225" y="246"/>
                  </a:lnTo>
                  <a:lnTo>
                    <a:pt x="225" y="226"/>
                  </a:lnTo>
                  <a:lnTo>
                    <a:pt x="205" y="226"/>
                  </a:lnTo>
                  <a:lnTo>
                    <a:pt x="184" y="226"/>
                  </a:lnTo>
                  <a:lnTo>
                    <a:pt x="164" y="226"/>
                  </a:lnTo>
                  <a:lnTo>
                    <a:pt x="164" y="226"/>
                  </a:lnTo>
                  <a:lnTo>
                    <a:pt x="164" y="226"/>
                  </a:lnTo>
                  <a:cubicBezTo>
                    <a:pt x="164" y="205"/>
                    <a:pt x="164" y="205"/>
                    <a:pt x="164" y="205"/>
                  </a:cubicBezTo>
                  <a:cubicBezTo>
                    <a:pt x="184" y="184"/>
                    <a:pt x="205" y="164"/>
                    <a:pt x="225" y="144"/>
                  </a:cubicBezTo>
                  <a:cubicBezTo>
                    <a:pt x="246" y="144"/>
                    <a:pt x="266" y="123"/>
                    <a:pt x="287" y="123"/>
                  </a:cubicBezTo>
                  <a:cubicBezTo>
                    <a:pt x="307" y="102"/>
                    <a:pt x="348" y="123"/>
                    <a:pt x="369" y="123"/>
                  </a:cubicBezTo>
                  <a:cubicBezTo>
                    <a:pt x="389" y="123"/>
                    <a:pt x="410" y="123"/>
                    <a:pt x="410" y="123"/>
                  </a:cubicBezTo>
                  <a:cubicBezTo>
                    <a:pt x="430" y="123"/>
                    <a:pt x="451" y="144"/>
                    <a:pt x="471" y="144"/>
                  </a:cubicBezTo>
                  <a:cubicBezTo>
                    <a:pt x="471" y="164"/>
                    <a:pt x="492" y="184"/>
                    <a:pt x="492" y="184"/>
                  </a:cubicBezTo>
                  <a:cubicBezTo>
                    <a:pt x="512" y="184"/>
                    <a:pt x="533" y="164"/>
                    <a:pt x="533" y="164"/>
                  </a:cubicBezTo>
                  <a:cubicBezTo>
                    <a:pt x="553" y="144"/>
                    <a:pt x="553" y="123"/>
                    <a:pt x="553" y="102"/>
                  </a:cubicBezTo>
                  <a:cubicBezTo>
                    <a:pt x="553" y="102"/>
                    <a:pt x="553" y="82"/>
                    <a:pt x="553" y="62"/>
                  </a:cubicBezTo>
                  <a:lnTo>
                    <a:pt x="574" y="20"/>
                  </a:lnTo>
                  <a:cubicBezTo>
                    <a:pt x="594" y="0"/>
                    <a:pt x="614" y="20"/>
                    <a:pt x="635" y="20"/>
                  </a:cubicBezTo>
                  <a:cubicBezTo>
                    <a:pt x="635" y="20"/>
                    <a:pt x="676" y="0"/>
                    <a:pt x="696" y="20"/>
                  </a:cubicBezTo>
                  <a:lnTo>
                    <a:pt x="696" y="41"/>
                  </a:lnTo>
                  <a:cubicBezTo>
                    <a:pt x="717" y="41"/>
                    <a:pt x="738" y="62"/>
                    <a:pt x="738" y="62"/>
                  </a:cubicBezTo>
                  <a:cubicBezTo>
                    <a:pt x="758" y="62"/>
                    <a:pt x="778" y="82"/>
                    <a:pt x="799" y="82"/>
                  </a:cubicBezTo>
                  <a:cubicBezTo>
                    <a:pt x="820" y="82"/>
                    <a:pt x="840" y="102"/>
                    <a:pt x="860" y="102"/>
                  </a:cubicBezTo>
                  <a:cubicBezTo>
                    <a:pt x="881" y="102"/>
                    <a:pt x="902" y="82"/>
                    <a:pt x="922" y="62"/>
                  </a:cubicBezTo>
                  <a:cubicBezTo>
                    <a:pt x="922" y="62"/>
                    <a:pt x="963" y="82"/>
                    <a:pt x="984" y="62"/>
                  </a:cubicBezTo>
                  <a:cubicBezTo>
                    <a:pt x="984" y="62"/>
                    <a:pt x="1004" y="62"/>
                    <a:pt x="1024" y="62"/>
                  </a:cubicBezTo>
                  <a:cubicBezTo>
                    <a:pt x="1024" y="41"/>
                    <a:pt x="1066" y="41"/>
                    <a:pt x="1066" y="41"/>
                  </a:cubicBezTo>
                  <a:cubicBezTo>
                    <a:pt x="1086" y="41"/>
                    <a:pt x="1106" y="41"/>
                    <a:pt x="1127" y="41"/>
                  </a:cubicBezTo>
                  <a:cubicBezTo>
                    <a:pt x="1148" y="41"/>
                    <a:pt x="1168" y="41"/>
                    <a:pt x="1188" y="62"/>
                  </a:cubicBezTo>
                  <a:lnTo>
                    <a:pt x="1209" y="82"/>
                  </a:lnTo>
                  <a:cubicBezTo>
                    <a:pt x="1230" y="82"/>
                    <a:pt x="1270" y="82"/>
                    <a:pt x="1291" y="82"/>
                  </a:cubicBezTo>
                  <a:cubicBezTo>
                    <a:pt x="1311" y="82"/>
                    <a:pt x="1352" y="102"/>
                    <a:pt x="1372" y="102"/>
                  </a:cubicBezTo>
                  <a:cubicBezTo>
                    <a:pt x="1393" y="102"/>
                    <a:pt x="1414" y="82"/>
                    <a:pt x="1434" y="82"/>
                  </a:cubicBezTo>
                  <a:cubicBezTo>
                    <a:pt x="1434" y="102"/>
                    <a:pt x="1434" y="102"/>
                    <a:pt x="1434" y="123"/>
                  </a:cubicBezTo>
                  <a:cubicBezTo>
                    <a:pt x="1454" y="123"/>
                    <a:pt x="1454" y="144"/>
                    <a:pt x="1475" y="144"/>
                  </a:cubicBezTo>
                  <a:cubicBezTo>
                    <a:pt x="1475" y="144"/>
                    <a:pt x="1496" y="144"/>
                    <a:pt x="1516" y="144"/>
                  </a:cubicBezTo>
                  <a:lnTo>
                    <a:pt x="1557" y="164"/>
                  </a:lnTo>
                  <a:close/>
                  <a:moveTo>
                    <a:pt x="1230" y="164"/>
                  </a:moveTo>
                  <a:lnTo>
                    <a:pt x="1230" y="164"/>
                  </a:lnTo>
                  <a:cubicBezTo>
                    <a:pt x="1230" y="164"/>
                    <a:pt x="1250" y="144"/>
                    <a:pt x="1250" y="123"/>
                  </a:cubicBezTo>
                  <a:cubicBezTo>
                    <a:pt x="1230" y="123"/>
                    <a:pt x="1209" y="123"/>
                    <a:pt x="1209" y="123"/>
                  </a:cubicBezTo>
                  <a:cubicBezTo>
                    <a:pt x="1188" y="102"/>
                    <a:pt x="1168" y="123"/>
                    <a:pt x="1168" y="123"/>
                  </a:cubicBezTo>
                  <a:lnTo>
                    <a:pt x="1148" y="144"/>
                  </a:lnTo>
                  <a:cubicBezTo>
                    <a:pt x="1127" y="144"/>
                    <a:pt x="1106" y="144"/>
                    <a:pt x="1106" y="144"/>
                  </a:cubicBezTo>
                  <a:cubicBezTo>
                    <a:pt x="1086" y="144"/>
                    <a:pt x="1066" y="144"/>
                    <a:pt x="1066" y="144"/>
                  </a:cubicBezTo>
                  <a:cubicBezTo>
                    <a:pt x="1045" y="144"/>
                    <a:pt x="1024" y="164"/>
                    <a:pt x="1024" y="164"/>
                  </a:cubicBezTo>
                  <a:cubicBezTo>
                    <a:pt x="1004" y="164"/>
                    <a:pt x="984" y="164"/>
                    <a:pt x="984" y="184"/>
                  </a:cubicBezTo>
                  <a:cubicBezTo>
                    <a:pt x="984" y="184"/>
                    <a:pt x="984" y="184"/>
                    <a:pt x="984" y="205"/>
                  </a:cubicBezTo>
                  <a:cubicBezTo>
                    <a:pt x="984" y="205"/>
                    <a:pt x="1004" y="205"/>
                    <a:pt x="1004" y="226"/>
                  </a:cubicBezTo>
                  <a:cubicBezTo>
                    <a:pt x="1024" y="226"/>
                    <a:pt x="1045" y="226"/>
                    <a:pt x="1045" y="226"/>
                  </a:cubicBezTo>
                  <a:cubicBezTo>
                    <a:pt x="1066" y="226"/>
                    <a:pt x="1066" y="226"/>
                    <a:pt x="1086" y="226"/>
                  </a:cubicBezTo>
                  <a:cubicBezTo>
                    <a:pt x="1086" y="226"/>
                    <a:pt x="1106" y="226"/>
                    <a:pt x="1127" y="226"/>
                  </a:cubicBezTo>
                  <a:cubicBezTo>
                    <a:pt x="1127" y="226"/>
                    <a:pt x="1148" y="226"/>
                    <a:pt x="1168" y="226"/>
                  </a:cubicBezTo>
                  <a:lnTo>
                    <a:pt x="1209" y="205"/>
                  </a:lnTo>
                  <a:cubicBezTo>
                    <a:pt x="1230" y="184"/>
                    <a:pt x="1230" y="164"/>
                    <a:pt x="1230" y="164"/>
                  </a:cubicBezTo>
                  <a:close/>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 name="Freeform 63">
              <a:extLst>
                <a:ext uri="{FF2B5EF4-FFF2-40B4-BE49-F238E27FC236}">
                  <a16:creationId xmlns:a16="http://schemas.microsoft.com/office/drawing/2014/main" id="{77FAECFE-B531-2F4D-98DC-4DF53BE922FE}"/>
                </a:ext>
              </a:extLst>
            </p:cNvPr>
            <p:cNvSpPr>
              <a:spLocks noChangeArrowheads="1"/>
            </p:cNvSpPr>
            <p:nvPr/>
          </p:nvSpPr>
          <p:spPr bwMode="auto">
            <a:xfrm>
              <a:off x="2646363" y="4767263"/>
              <a:ext cx="442912" cy="354012"/>
            </a:xfrm>
            <a:custGeom>
              <a:avLst/>
              <a:gdLst>
                <a:gd name="T0" fmla="*/ 1168 w 1230"/>
                <a:gd name="T1" fmla="*/ 819 h 984"/>
                <a:gd name="T2" fmla="*/ 1147 w 1230"/>
                <a:gd name="T3" fmla="*/ 798 h 984"/>
                <a:gd name="T4" fmla="*/ 1065 w 1230"/>
                <a:gd name="T5" fmla="*/ 839 h 984"/>
                <a:gd name="T6" fmla="*/ 1004 w 1230"/>
                <a:gd name="T7" fmla="*/ 798 h 984"/>
                <a:gd name="T8" fmla="*/ 922 w 1230"/>
                <a:gd name="T9" fmla="*/ 798 h 984"/>
                <a:gd name="T10" fmla="*/ 861 w 1230"/>
                <a:gd name="T11" fmla="*/ 901 h 984"/>
                <a:gd name="T12" fmla="*/ 738 w 1230"/>
                <a:gd name="T13" fmla="*/ 962 h 984"/>
                <a:gd name="T14" fmla="*/ 676 w 1230"/>
                <a:gd name="T15" fmla="*/ 921 h 984"/>
                <a:gd name="T16" fmla="*/ 656 w 1230"/>
                <a:gd name="T17" fmla="*/ 819 h 984"/>
                <a:gd name="T18" fmla="*/ 676 w 1230"/>
                <a:gd name="T19" fmla="*/ 737 h 984"/>
                <a:gd name="T20" fmla="*/ 635 w 1230"/>
                <a:gd name="T21" fmla="*/ 656 h 984"/>
                <a:gd name="T22" fmla="*/ 574 w 1230"/>
                <a:gd name="T23" fmla="*/ 574 h 984"/>
                <a:gd name="T24" fmla="*/ 471 w 1230"/>
                <a:gd name="T25" fmla="*/ 636 h 984"/>
                <a:gd name="T26" fmla="*/ 471 w 1230"/>
                <a:gd name="T27" fmla="*/ 757 h 984"/>
                <a:gd name="T28" fmla="*/ 410 w 1230"/>
                <a:gd name="T29" fmla="*/ 778 h 984"/>
                <a:gd name="T30" fmla="*/ 389 w 1230"/>
                <a:gd name="T31" fmla="*/ 860 h 984"/>
                <a:gd name="T32" fmla="*/ 328 w 1230"/>
                <a:gd name="T33" fmla="*/ 901 h 984"/>
                <a:gd name="T34" fmla="*/ 246 w 1230"/>
                <a:gd name="T35" fmla="*/ 880 h 984"/>
                <a:gd name="T36" fmla="*/ 164 w 1230"/>
                <a:gd name="T37" fmla="*/ 921 h 984"/>
                <a:gd name="T38" fmla="*/ 143 w 1230"/>
                <a:gd name="T39" fmla="*/ 839 h 984"/>
                <a:gd name="T40" fmla="*/ 184 w 1230"/>
                <a:gd name="T41" fmla="*/ 676 h 984"/>
                <a:gd name="T42" fmla="*/ 143 w 1230"/>
                <a:gd name="T43" fmla="*/ 574 h 984"/>
                <a:gd name="T44" fmla="*/ 123 w 1230"/>
                <a:gd name="T45" fmla="*/ 472 h 984"/>
                <a:gd name="T46" fmla="*/ 0 w 1230"/>
                <a:gd name="T47" fmla="*/ 410 h 984"/>
                <a:gd name="T48" fmla="*/ 62 w 1230"/>
                <a:gd name="T49" fmla="*/ 328 h 984"/>
                <a:gd name="T50" fmla="*/ 225 w 1230"/>
                <a:gd name="T51" fmla="*/ 328 h 984"/>
                <a:gd name="T52" fmla="*/ 205 w 1230"/>
                <a:gd name="T53" fmla="*/ 226 h 984"/>
                <a:gd name="T54" fmla="*/ 246 w 1230"/>
                <a:gd name="T55" fmla="*/ 184 h 984"/>
                <a:gd name="T56" fmla="*/ 287 w 1230"/>
                <a:gd name="T57" fmla="*/ 123 h 984"/>
                <a:gd name="T58" fmla="*/ 328 w 1230"/>
                <a:gd name="T59" fmla="*/ 82 h 984"/>
                <a:gd name="T60" fmla="*/ 410 w 1230"/>
                <a:gd name="T61" fmla="*/ 42 h 984"/>
                <a:gd name="T62" fmla="*/ 451 w 1230"/>
                <a:gd name="T63" fmla="*/ 21 h 984"/>
                <a:gd name="T64" fmla="*/ 492 w 1230"/>
                <a:gd name="T65" fmla="*/ 82 h 984"/>
                <a:gd name="T66" fmla="*/ 471 w 1230"/>
                <a:gd name="T67" fmla="*/ 164 h 984"/>
                <a:gd name="T68" fmla="*/ 533 w 1230"/>
                <a:gd name="T69" fmla="*/ 184 h 984"/>
                <a:gd name="T70" fmla="*/ 553 w 1230"/>
                <a:gd name="T71" fmla="*/ 246 h 984"/>
                <a:gd name="T72" fmla="*/ 492 w 1230"/>
                <a:gd name="T73" fmla="*/ 246 h 984"/>
                <a:gd name="T74" fmla="*/ 410 w 1230"/>
                <a:gd name="T75" fmla="*/ 226 h 984"/>
                <a:gd name="T76" fmla="*/ 307 w 1230"/>
                <a:gd name="T77" fmla="*/ 246 h 984"/>
                <a:gd name="T78" fmla="*/ 287 w 1230"/>
                <a:gd name="T79" fmla="*/ 328 h 984"/>
                <a:gd name="T80" fmla="*/ 389 w 1230"/>
                <a:gd name="T81" fmla="*/ 328 h 984"/>
                <a:gd name="T82" fmla="*/ 512 w 1230"/>
                <a:gd name="T83" fmla="*/ 328 h 984"/>
                <a:gd name="T84" fmla="*/ 615 w 1230"/>
                <a:gd name="T85" fmla="*/ 308 h 984"/>
                <a:gd name="T86" fmla="*/ 676 w 1230"/>
                <a:gd name="T87" fmla="*/ 369 h 984"/>
                <a:gd name="T88" fmla="*/ 799 w 1230"/>
                <a:gd name="T89" fmla="*/ 369 h 984"/>
                <a:gd name="T90" fmla="*/ 881 w 1230"/>
                <a:gd name="T91" fmla="*/ 348 h 984"/>
                <a:gd name="T92" fmla="*/ 963 w 1230"/>
                <a:gd name="T93" fmla="*/ 348 h 984"/>
                <a:gd name="T94" fmla="*/ 1025 w 1230"/>
                <a:gd name="T95" fmla="*/ 430 h 984"/>
                <a:gd name="T96" fmla="*/ 1025 w 1230"/>
                <a:gd name="T97" fmla="*/ 533 h 984"/>
                <a:gd name="T98" fmla="*/ 1107 w 1230"/>
                <a:gd name="T99" fmla="*/ 512 h 984"/>
                <a:gd name="T100" fmla="*/ 1168 w 1230"/>
                <a:gd name="T101" fmla="*/ 574 h 984"/>
                <a:gd name="T102" fmla="*/ 1189 w 1230"/>
                <a:gd name="T103" fmla="*/ 676 h 984"/>
                <a:gd name="T104" fmla="*/ 1209 w 1230"/>
                <a:gd name="T105" fmla="*/ 819 h 9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30" h="984">
                  <a:moveTo>
                    <a:pt x="1189" y="819"/>
                  </a:moveTo>
                  <a:lnTo>
                    <a:pt x="1189" y="819"/>
                  </a:lnTo>
                  <a:cubicBezTo>
                    <a:pt x="1189" y="819"/>
                    <a:pt x="1189" y="819"/>
                    <a:pt x="1168" y="819"/>
                  </a:cubicBezTo>
                  <a:lnTo>
                    <a:pt x="1168" y="819"/>
                  </a:lnTo>
                  <a:lnTo>
                    <a:pt x="1168" y="798"/>
                  </a:lnTo>
                  <a:cubicBezTo>
                    <a:pt x="1147" y="798"/>
                    <a:pt x="1147" y="798"/>
                    <a:pt x="1147" y="798"/>
                  </a:cubicBezTo>
                  <a:lnTo>
                    <a:pt x="1127" y="798"/>
                  </a:lnTo>
                  <a:cubicBezTo>
                    <a:pt x="1107" y="798"/>
                    <a:pt x="1107" y="819"/>
                    <a:pt x="1107" y="819"/>
                  </a:cubicBezTo>
                  <a:cubicBezTo>
                    <a:pt x="1086" y="819"/>
                    <a:pt x="1086" y="839"/>
                    <a:pt x="1065" y="839"/>
                  </a:cubicBezTo>
                  <a:cubicBezTo>
                    <a:pt x="1065" y="839"/>
                    <a:pt x="1045" y="839"/>
                    <a:pt x="1025" y="839"/>
                  </a:cubicBezTo>
                  <a:cubicBezTo>
                    <a:pt x="1025" y="819"/>
                    <a:pt x="1004" y="819"/>
                    <a:pt x="1004" y="819"/>
                  </a:cubicBezTo>
                  <a:cubicBezTo>
                    <a:pt x="1004" y="798"/>
                    <a:pt x="1004" y="798"/>
                    <a:pt x="1004" y="798"/>
                  </a:cubicBezTo>
                  <a:cubicBezTo>
                    <a:pt x="1004" y="778"/>
                    <a:pt x="1004" y="778"/>
                    <a:pt x="1004" y="778"/>
                  </a:cubicBezTo>
                  <a:lnTo>
                    <a:pt x="983" y="778"/>
                  </a:lnTo>
                  <a:cubicBezTo>
                    <a:pt x="963" y="778"/>
                    <a:pt x="943" y="778"/>
                    <a:pt x="922" y="798"/>
                  </a:cubicBezTo>
                  <a:cubicBezTo>
                    <a:pt x="922" y="798"/>
                    <a:pt x="922" y="819"/>
                    <a:pt x="901" y="819"/>
                  </a:cubicBezTo>
                  <a:cubicBezTo>
                    <a:pt x="901" y="839"/>
                    <a:pt x="901" y="860"/>
                    <a:pt x="881" y="860"/>
                  </a:cubicBezTo>
                  <a:cubicBezTo>
                    <a:pt x="881" y="880"/>
                    <a:pt x="861" y="901"/>
                    <a:pt x="861" y="901"/>
                  </a:cubicBezTo>
                  <a:cubicBezTo>
                    <a:pt x="840" y="921"/>
                    <a:pt x="840" y="921"/>
                    <a:pt x="820" y="942"/>
                  </a:cubicBezTo>
                  <a:cubicBezTo>
                    <a:pt x="820" y="942"/>
                    <a:pt x="799" y="942"/>
                    <a:pt x="779" y="942"/>
                  </a:cubicBezTo>
                  <a:cubicBezTo>
                    <a:pt x="779" y="962"/>
                    <a:pt x="758" y="962"/>
                    <a:pt x="738" y="962"/>
                  </a:cubicBezTo>
                  <a:cubicBezTo>
                    <a:pt x="738" y="962"/>
                    <a:pt x="717" y="983"/>
                    <a:pt x="697" y="983"/>
                  </a:cubicBezTo>
                  <a:cubicBezTo>
                    <a:pt x="697" y="962"/>
                    <a:pt x="676" y="962"/>
                    <a:pt x="676" y="962"/>
                  </a:cubicBezTo>
                  <a:cubicBezTo>
                    <a:pt x="676" y="942"/>
                    <a:pt x="676" y="921"/>
                    <a:pt x="676" y="921"/>
                  </a:cubicBezTo>
                  <a:lnTo>
                    <a:pt x="676" y="880"/>
                  </a:lnTo>
                  <a:lnTo>
                    <a:pt x="676" y="860"/>
                  </a:lnTo>
                  <a:cubicBezTo>
                    <a:pt x="676" y="839"/>
                    <a:pt x="656" y="819"/>
                    <a:pt x="656" y="819"/>
                  </a:cubicBezTo>
                  <a:lnTo>
                    <a:pt x="676" y="798"/>
                  </a:lnTo>
                  <a:cubicBezTo>
                    <a:pt x="676" y="778"/>
                    <a:pt x="676" y="778"/>
                    <a:pt x="676" y="757"/>
                  </a:cubicBezTo>
                  <a:lnTo>
                    <a:pt x="676" y="737"/>
                  </a:lnTo>
                  <a:cubicBezTo>
                    <a:pt x="676" y="718"/>
                    <a:pt x="656" y="718"/>
                    <a:pt x="656" y="697"/>
                  </a:cubicBezTo>
                  <a:lnTo>
                    <a:pt x="635" y="697"/>
                  </a:lnTo>
                  <a:cubicBezTo>
                    <a:pt x="615" y="676"/>
                    <a:pt x="635" y="656"/>
                    <a:pt x="635" y="656"/>
                  </a:cubicBezTo>
                  <a:cubicBezTo>
                    <a:pt x="635" y="636"/>
                    <a:pt x="615" y="636"/>
                    <a:pt x="615" y="636"/>
                  </a:cubicBezTo>
                  <a:cubicBezTo>
                    <a:pt x="594" y="615"/>
                    <a:pt x="615" y="594"/>
                    <a:pt x="615" y="594"/>
                  </a:cubicBezTo>
                  <a:cubicBezTo>
                    <a:pt x="594" y="594"/>
                    <a:pt x="574" y="574"/>
                    <a:pt x="574" y="574"/>
                  </a:cubicBezTo>
                  <a:cubicBezTo>
                    <a:pt x="553" y="574"/>
                    <a:pt x="533" y="574"/>
                    <a:pt x="512" y="594"/>
                  </a:cubicBezTo>
                  <a:cubicBezTo>
                    <a:pt x="512" y="594"/>
                    <a:pt x="512" y="615"/>
                    <a:pt x="492" y="615"/>
                  </a:cubicBezTo>
                  <a:cubicBezTo>
                    <a:pt x="492" y="636"/>
                    <a:pt x="471" y="636"/>
                    <a:pt x="471" y="636"/>
                  </a:cubicBezTo>
                  <a:lnTo>
                    <a:pt x="471" y="676"/>
                  </a:lnTo>
                  <a:cubicBezTo>
                    <a:pt x="471" y="697"/>
                    <a:pt x="492" y="718"/>
                    <a:pt x="492" y="737"/>
                  </a:cubicBezTo>
                  <a:lnTo>
                    <a:pt x="471" y="757"/>
                  </a:lnTo>
                  <a:cubicBezTo>
                    <a:pt x="471" y="778"/>
                    <a:pt x="471" y="778"/>
                    <a:pt x="451" y="778"/>
                  </a:cubicBezTo>
                  <a:cubicBezTo>
                    <a:pt x="451" y="798"/>
                    <a:pt x="430" y="798"/>
                    <a:pt x="430" y="778"/>
                  </a:cubicBezTo>
                  <a:lnTo>
                    <a:pt x="410" y="778"/>
                  </a:lnTo>
                  <a:lnTo>
                    <a:pt x="389" y="778"/>
                  </a:lnTo>
                  <a:cubicBezTo>
                    <a:pt x="389" y="798"/>
                    <a:pt x="389" y="819"/>
                    <a:pt x="389" y="819"/>
                  </a:cubicBezTo>
                  <a:cubicBezTo>
                    <a:pt x="389" y="839"/>
                    <a:pt x="389" y="860"/>
                    <a:pt x="389" y="860"/>
                  </a:cubicBezTo>
                  <a:cubicBezTo>
                    <a:pt x="389" y="880"/>
                    <a:pt x="389" y="880"/>
                    <a:pt x="389" y="901"/>
                  </a:cubicBezTo>
                  <a:lnTo>
                    <a:pt x="369" y="901"/>
                  </a:lnTo>
                  <a:cubicBezTo>
                    <a:pt x="348" y="901"/>
                    <a:pt x="348" y="901"/>
                    <a:pt x="328" y="901"/>
                  </a:cubicBezTo>
                  <a:lnTo>
                    <a:pt x="328" y="880"/>
                  </a:lnTo>
                  <a:cubicBezTo>
                    <a:pt x="307" y="860"/>
                    <a:pt x="287" y="860"/>
                    <a:pt x="287" y="860"/>
                  </a:cubicBezTo>
                  <a:cubicBezTo>
                    <a:pt x="266" y="860"/>
                    <a:pt x="246" y="880"/>
                    <a:pt x="246" y="880"/>
                  </a:cubicBezTo>
                  <a:cubicBezTo>
                    <a:pt x="246" y="901"/>
                    <a:pt x="225" y="901"/>
                    <a:pt x="225" y="901"/>
                  </a:cubicBezTo>
                  <a:cubicBezTo>
                    <a:pt x="225" y="921"/>
                    <a:pt x="205" y="921"/>
                    <a:pt x="184" y="921"/>
                  </a:cubicBezTo>
                  <a:lnTo>
                    <a:pt x="164" y="921"/>
                  </a:lnTo>
                  <a:cubicBezTo>
                    <a:pt x="164" y="921"/>
                    <a:pt x="164" y="901"/>
                    <a:pt x="143" y="901"/>
                  </a:cubicBezTo>
                  <a:cubicBezTo>
                    <a:pt x="143" y="901"/>
                    <a:pt x="123" y="901"/>
                    <a:pt x="123" y="880"/>
                  </a:cubicBezTo>
                  <a:cubicBezTo>
                    <a:pt x="123" y="880"/>
                    <a:pt x="123" y="839"/>
                    <a:pt x="143" y="839"/>
                  </a:cubicBezTo>
                  <a:cubicBezTo>
                    <a:pt x="143" y="819"/>
                    <a:pt x="143" y="778"/>
                    <a:pt x="143" y="778"/>
                  </a:cubicBezTo>
                  <a:cubicBezTo>
                    <a:pt x="164" y="757"/>
                    <a:pt x="184" y="737"/>
                    <a:pt x="184" y="737"/>
                  </a:cubicBezTo>
                  <a:cubicBezTo>
                    <a:pt x="184" y="718"/>
                    <a:pt x="184" y="697"/>
                    <a:pt x="184" y="676"/>
                  </a:cubicBezTo>
                  <a:cubicBezTo>
                    <a:pt x="205" y="676"/>
                    <a:pt x="205" y="656"/>
                    <a:pt x="184" y="636"/>
                  </a:cubicBezTo>
                  <a:cubicBezTo>
                    <a:pt x="184" y="636"/>
                    <a:pt x="184" y="615"/>
                    <a:pt x="164" y="615"/>
                  </a:cubicBezTo>
                  <a:cubicBezTo>
                    <a:pt x="164" y="594"/>
                    <a:pt x="143" y="574"/>
                    <a:pt x="143" y="574"/>
                  </a:cubicBezTo>
                  <a:cubicBezTo>
                    <a:pt x="143" y="554"/>
                    <a:pt x="143" y="533"/>
                    <a:pt x="143" y="533"/>
                  </a:cubicBezTo>
                  <a:cubicBezTo>
                    <a:pt x="143" y="533"/>
                    <a:pt x="164" y="512"/>
                    <a:pt x="143" y="492"/>
                  </a:cubicBezTo>
                  <a:cubicBezTo>
                    <a:pt x="143" y="492"/>
                    <a:pt x="143" y="472"/>
                    <a:pt x="123" y="472"/>
                  </a:cubicBezTo>
                  <a:cubicBezTo>
                    <a:pt x="123" y="451"/>
                    <a:pt x="82" y="451"/>
                    <a:pt x="82" y="451"/>
                  </a:cubicBezTo>
                  <a:cubicBezTo>
                    <a:pt x="62" y="451"/>
                    <a:pt x="41" y="430"/>
                    <a:pt x="20" y="430"/>
                  </a:cubicBezTo>
                  <a:lnTo>
                    <a:pt x="0" y="410"/>
                  </a:lnTo>
                  <a:cubicBezTo>
                    <a:pt x="0" y="390"/>
                    <a:pt x="0" y="369"/>
                    <a:pt x="0" y="348"/>
                  </a:cubicBezTo>
                  <a:lnTo>
                    <a:pt x="20" y="328"/>
                  </a:lnTo>
                  <a:cubicBezTo>
                    <a:pt x="41" y="308"/>
                    <a:pt x="62" y="328"/>
                    <a:pt x="62" y="328"/>
                  </a:cubicBezTo>
                  <a:cubicBezTo>
                    <a:pt x="82" y="328"/>
                    <a:pt x="102" y="308"/>
                    <a:pt x="123" y="328"/>
                  </a:cubicBezTo>
                  <a:cubicBezTo>
                    <a:pt x="143" y="328"/>
                    <a:pt x="164" y="328"/>
                    <a:pt x="184" y="328"/>
                  </a:cubicBezTo>
                  <a:lnTo>
                    <a:pt x="225" y="328"/>
                  </a:lnTo>
                  <a:cubicBezTo>
                    <a:pt x="225" y="308"/>
                    <a:pt x="225" y="287"/>
                    <a:pt x="225" y="287"/>
                  </a:cubicBezTo>
                  <a:cubicBezTo>
                    <a:pt x="225" y="287"/>
                    <a:pt x="225" y="266"/>
                    <a:pt x="225" y="246"/>
                  </a:cubicBezTo>
                  <a:cubicBezTo>
                    <a:pt x="225" y="246"/>
                    <a:pt x="205" y="246"/>
                    <a:pt x="205" y="226"/>
                  </a:cubicBezTo>
                  <a:lnTo>
                    <a:pt x="205" y="205"/>
                  </a:lnTo>
                  <a:cubicBezTo>
                    <a:pt x="205" y="205"/>
                    <a:pt x="205" y="205"/>
                    <a:pt x="225" y="184"/>
                  </a:cubicBezTo>
                  <a:lnTo>
                    <a:pt x="246" y="184"/>
                  </a:lnTo>
                  <a:lnTo>
                    <a:pt x="266" y="184"/>
                  </a:lnTo>
                  <a:cubicBezTo>
                    <a:pt x="287" y="184"/>
                    <a:pt x="287" y="164"/>
                    <a:pt x="287" y="164"/>
                  </a:cubicBezTo>
                  <a:cubicBezTo>
                    <a:pt x="287" y="144"/>
                    <a:pt x="287" y="123"/>
                    <a:pt x="287" y="123"/>
                  </a:cubicBezTo>
                  <a:cubicBezTo>
                    <a:pt x="287" y="102"/>
                    <a:pt x="287" y="82"/>
                    <a:pt x="287" y="82"/>
                  </a:cubicBezTo>
                  <a:lnTo>
                    <a:pt x="307" y="82"/>
                  </a:lnTo>
                  <a:cubicBezTo>
                    <a:pt x="328" y="62"/>
                    <a:pt x="328" y="82"/>
                    <a:pt x="328" y="82"/>
                  </a:cubicBezTo>
                  <a:cubicBezTo>
                    <a:pt x="348" y="62"/>
                    <a:pt x="348" y="62"/>
                    <a:pt x="348" y="62"/>
                  </a:cubicBezTo>
                  <a:lnTo>
                    <a:pt x="369" y="42"/>
                  </a:lnTo>
                  <a:cubicBezTo>
                    <a:pt x="369" y="42"/>
                    <a:pt x="389" y="42"/>
                    <a:pt x="410" y="42"/>
                  </a:cubicBezTo>
                  <a:lnTo>
                    <a:pt x="430" y="42"/>
                  </a:lnTo>
                  <a:lnTo>
                    <a:pt x="430" y="21"/>
                  </a:lnTo>
                  <a:cubicBezTo>
                    <a:pt x="430" y="0"/>
                    <a:pt x="451" y="21"/>
                    <a:pt x="451" y="21"/>
                  </a:cubicBezTo>
                  <a:lnTo>
                    <a:pt x="471" y="21"/>
                  </a:lnTo>
                  <a:cubicBezTo>
                    <a:pt x="492" y="21"/>
                    <a:pt x="492" y="42"/>
                    <a:pt x="492" y="62"/>
                  </a:cubicBezTo>
                  <a:lnTo>
                    <a:pt x="492" y="82"/>
                  </a:lnTo>
                  <a:cubicBezTo>
                    <a:pt x="492" y="102"/>
                    <a:pt x="471" y="102"/>
                    <a:pt x="471" y="123"/>
                  </a:cubicBezTo>
                  <a:cubicBezTo>
                    <a:pt x="471" y="123"/>
                    <a:pt x="471" y="123"/>
                    <a:pt x="471" y="144"/>
                  </a:cubicBezTo>
                  <a:lnTo>
                    <a:pt x="471" y="164"/>
                  </a:lnTo>
                  <a:cubicBezTo>
                    <a:pt x="492" y="164"/>
                    <a:pt x="512" y="164"/>
                    <a:pt x="512" y="184"/>
                  </a:cubicBezTo>
                  <a:cubicBezTo>
                    <a:pt x="512" y="184"/>
                    <a:pt x="512" y="184"/>
                    <a:pt x="533" y="164"/>
                  </a:cubicBezTo>
                  <a:cubicBezTo>
                    <a:pt x="533" y="184"/>
                    <a:pt x="533" y="184"/>
                    <a:pt x="533" y="184"/>
                  </a:cubicBezTo>
                  <a:lnTo>
                    <a:pt x="553" y="205"/>
                  </a:lnTo>
                  <a:lnTo>
                    <a:pt x="574" y="226"/>
                  </a:lnTo>
                  <a:lnTo>
                    <a:pt x="553" y="246"/>
                  </a:lnTo>
                  <a:lnTo>
                    <a:pt x="533" y="246"/>
                  </a:lnTo>
                  <a:cubicBezTo>
                    <a:pt x="533" y="226"/>
                    <a:pt x="512" y="226"/>
                    <a:pt x="492" y="226"/>
                  </a:cubicBezTo>
                  <a:lnTo>
                    <a:pt x="492" y="246"/>
                  </a:lnTo>
                  <a:cubicBezTo>
                    <a:pt x="492" y="246"/>
                    <a:pt x="471" y="246"/>
                    <a:pt x="451" y="246"/>
                  </a:cubicBezTo>
                  <a:cubicBezTo>
                    <a:pt x="451" y="246"/>
                    <a:pt x="451" y="226"/>
                    <a:pt x="430" y="226"/>
                  </a:cubicBezTo>
                  <a:lnTo>
                    <a:pt x="410" y="226"/>
                  </a:lnTo>
                  <a:cubicBezTo>
                    <a:pt x="389" y="226"/>
                    <a:pt x="369" y="205"/>
                    <a:pt x="369" y="205"/>
                  </a:cubicBezTo>
                  <a:cubicBezTo>
                    <a:pt x="348" y="226"/>
                    <a:pt x="328" y="226"/>
                    <a:pt x="328" y="226"/>
                  </a:cubicBezTo>
                  <a:lnTo>
                    <a:pt x="307" y="246"/>
                  </a:lnTo>
                  <a:cubicBezTo>
                    <a:pt x="307" y="246"/>
                    <a:pt x="307" y="266"/>
                    <a:pt x="287" y="266"/>
                  </a:cubicBezTo>
                  <a:cubicBezTo>
                    <a:pt x="287" y="287"/>
                    <a:pt x="287" y="287"/>
                    <a:pt x="287" y="287"/>
                  </a:cubicBezTo>
                  <a:cubicBezTo>
                    <a:pt x="287" y="308"/>
                    <a:pt x="287" y="308"/>
                    <a:pt x="287" y="328"/>
                  </a:cubicBezTo>
                  <a:cubicBezTo>
                    <a:pt x="307" y="328"/>
                    <a:pt x="328" y="328"/>
                    <a:pt x="348" y="328"/>
                  </a:cubicBezTo>
                  <a:lnTo>
                    <a:pt x="369" y="328"/>
                  </a:lnTo>
                  <a:lnTo>
                    <a:pt x="389" y="328"/>
                  </a:lnTo>
                  <a:cubicBezTo>
                    <a:pt x="410" y="328"/>
                    <a:pt x="430" y="328"/>
                    <a:pt x="430" y="328"/>
                  </a:cubicBezTo>
                  <a:cubicBezTo>
                    <a:pt x="451" y="328"/>
                    <a:pt x="451" y="328"/>
                    <a:pt x="471" y="328"/>
                  </a:cubicBezTo>
                  <a:lnTo>
                    <a:pt x="512" y="328"/>
                  </a:lnTo>
                  <a:cubicBezTo>
                    <a:pt x="512" y="328"/>
                    <a:pt x="533" y="308"/>
                    <a:pt x="553" y="308"/>
                  </a:cubicBezTo>
                  <a:cubicBezTo>
                    <a:pt x="553" y="308"/>
                    <a:pt x="574" y="308"/>
                    <a:pt x="594" y="308"/>
                  </a:cubicBezTo>
                  <a:lnTo>
                    <a:pt x="615" y="308"/>
                  </a:lnTo>
                  <a:cubicBezTo>
                    <a:pt x="635" y="308"/>
                    <a:pt x="656" y="328"/>
                    <a:pt x="656" y="328"/>
                  </a:cubicBezTo>
                  <a:cubicBezTo>
                    <a:pt x="656" y="328"/>
                    <a:pt x="656" y="348"/>
                    <a:pt x="676" y="348"/>
                  </a:cubicBezTo>
                  <a:lnTo>
                    <a:pt x="676" y="369"/>
                  </a:lnTo>
                  <a:cubicBezTo>
                    <a:pt x="676" y="369"/>
                    <a:pt x="697" y="369"/>
                    <a:pt x="717" y="369"/>
                  </a:cubicBezTo>
                  <a:lnTo>
                    <a:pt x="738" y="369"/>
                  </a:lnTo>
                  <a:cubicBezTo>
                    <a:pt x="758" y="348"/>
                    <a:pt x="779" y="369"/>
                    <a:pt x="799" y="369"/>
                  </a:cubicBezTo>
                  <a:lnTo>
                    <a:pt x="820" y="369"/>
                  </a:lnTo>
                  <a:cubicBezTo>
                    <a:pt x="840" y="348"/>
                    <a:pt x="840" y="348"/>
                    <a:pt x="840" y="348"/>
                  </a:cubicBezTo>
                  <a:cubicBezTo>
                    <a:pt x="861" y="348"/>
                    <a:pt x="881" y="348"/>
                    <a:pt x="881" y="348"/>
                  </a:cubicBezTo>
                  <a:cubicBezTo>
                    <a:pt x="901" y="348"/>
                    <a:pt x="922" y="348"/>
                    <a:pt x="922" y="348"/>
                  </a:cubicBezTo>
                  <a:cubicBezTo>
                    <a:pt x="922" y="348"/>
                    <a:pt x="943" y="328"/>
                    <a:pt x="963" y="328"/>
                  </a:cubicBezTo>
                  <a:cubicBezTo>
                    <a:pt x="963" y="348"/>
                    <a:pt x="963" y="348"/>
                    <a:pt x="963" y="348"/>
                  </a:cubicBezTo>
                  <a:cubicBezTo>
                    <a:pt x="963" y="369"/>
                    <a:pt x="963" y="369"/>
                    <a:pt x="963" y="390"/>
                  </a:cubicBezTo>
                  <a:cubicBezTo>
                    <a:pt x="963" y="390"/>
                    <a:pt x="983" y="390"/>
                    <a:pt x="983" y="410"/>
                  </a:cubicBezTo>
                  <a:cubicBezTo>
                    <a:pt x="983" y="410"/>
                    <a:pt x="1004" y="430"/>
                    <a:pt x="1025" y="430"/>
                  </a:cubicBezTo>
                  <a:lnTo>
                    <a:pt x="1025" y="451"/>
                  </a:lnTo>
                  <a:cubicBezTo>
                    <a:pt x="1025" y="472"/>
                    <a:pt x="1004" y="492"/>
                    <a:pt x="1004" y="492"/>
                  </a:cubicBezTo>
                  <a:cubicBezTo>
                    <a:pt x="1004" y="512"/>
                    <a:pt x="1004" y="512"/>
                    <a:pt x="1025" y="533"/>
                  </a:cubicBezTo>
                  <a:lnTo>
                    <a:pt x="1045" y="533"/>
                  </a:lnTo>
                  <a:cubicBezTo>
                    <a:pt x="1045" y="533"/>
                    <a:pt x="1045" y="533"/>
                    <a:pt x="1045" y="512"/>
                  </a:cubicBezTo>
                  <a:cubicBezTo>
                    <a:pt x="1065" y="512"/>
                    <a:pt x="1086" y="512"/>
                    <a:pt x="1107" y="512"/>
                  </a:cubicBezTo>
                  <a:cubicBezTo>
                    <a:pt x="1107" y="533"/>
                    <a:pt x="1107" y="533"/>
                    <a:pt x="1127" y="533"/>
                  </a:cubicBezTo>
                  <a:lnTo>
                    <a:pt x="1147" y="533"/>
                  </a:lnTo>
                  <a:cubicBezTo>
                    <a:pt x="1168" y="533"/>
                    <a:pt x="1168" y="554"/>
                    <a:pt x="1168" y="574"/>
                  </a:cubicBezTo>
                  <a:lnTo>
                    <a:pt x="1168" y="594"/>
                  </a:lnTo>
                  <a:cubicBezTo>
                    <a:pt x="1168" y="594"/>
                    <a:pt x="1189" y="615"/>
                    <a:pt x="1189" y="636"/>
                  </a:cubicBezTo>
                  <a:lnTo>
                    <a:pt x="1189" y="676"/>
                  </a:lnTo>
                  <a:cubicBezTo>
                    <a:pt x="1189" y="697"/>
                    <a:pt x="1209" y="718"/>
                    <a:pt x="1209" y="737"/>
                  </a:cubicBezTo>
                  <a:cubicBezTo>
                    <a:pt x="1229" y="757"/>
                    <a:pt x="1229" y="778"/>
                    <a:pt x="1229" y="798"/>
                  </a:cubicBezTo>
                  <a:lnTo>
                    <a:pt x="1209" y="819"/>
                  </a:lnTo>
                  <a:lnTo>
                    <a:pt x="1189" y="819"/>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7" name="Freeform 64">
              <a:extLst>
                <a:ext uri="{FF2B5EF4-FFF2-40B4-BE49-F238E27FC236}">
                  <a16:creationId xmlns:a16="http://schemas.microsoft.com/office/drawing/2014/main" id="{785513D9-BB62-8448-8BE4-7C853CDF5B71}"/>
                </a:ext>
              </a:extLst>
            </p:cNvPr>
            <p:cNvSpPr>
              <a:spLocks noChangeArrowheads="1"/>
            </p:cNvSpPr>
            <p:nvPr/>
          </p:nvSpPr>
          <p:spPr bwMode="auto">
            <a:xfrm>
              <a:off x="2130425" y="4443413"/>
              <a:ext cx="30163" cy="58737"/>
            </a:xfrm>
            <a:custGeom>
              <a:avLst/>
              <a:gdLst>
                <a:gd name="T0" fmla="*/ 82 w 83"/>
                <a:gd name="T1" fmla="*/ 41 h 165"/>
                <a:gd name="T2" fmla="*/ 82 w 83"/>
                <a:gd name="T3" fmla="*/ 41 h 165"/>
                <a:gd name="T4" fmla="*/ 82 w 83"/>
                <a:gd name="T5" fmla="*/ 61 h 165"/>
                <a:gd name="T6" fmla="*/ 61 w 83"/>
                <a:gd name="T7" fmla="*/ 102 h 165"/>
                <a:gd name="T8" fmla="*/ 40 w 83"/>
                <a:gd name="T9" fmla="*/ 123 h 165"/>
                <a:gd name="T10" fmla="*/ 40 w 83"/>
                <a:gd name="T11" fmla="*/ 143 h 165"/>
                <a:gd name="T12" fmla="*/ 20 w 83"/>
                <a:gd name="T13" fmla="*/ 164 h 165"/>
                <a:gd name="T14" fmla="*/ 20 w 83"/>
                <a:gd name="T15" fmla="*/ 143 h 165"/>
                <a:gd name="T16" fmla="*/ 0 w 83"/>
                <a:gd name="T17" fmla="*/ 123 h 165"/>
                <a:gd name="T18" fmla="*/ 0 w 83"/>
                <a:gd name="T19" fmla="*/ 82 h 165"/>
                <a:gd name="T20" fmla="*/ 20 w 83"/>
                <a:gd name="T21" fmla="*/ 61 h 165"/>
                <a:gd name="T22" fmla="*/ 20 w 83"/>
                <a:gd name="T23" fmla="*/ 20 h 165"/>
                <a:gd name="T24" fmla="*/ 40 w 83"/>
                <a:gd name="T25" fmla="*/ 20 h 165"/>
                <a:gd name="T26" fmla="*/ 82 w 83"/>
                <a:gd name="T27" fmla="*/ 20 h 165"/>
                <a:gd name="T28" fmla="*/ 82 w 83"/>
                <a:gd name="T29" fmla="*/ 41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165">
                  <a:moveTo>
                    <a:pt x="82" y="41"/>
                  </a:moveTo>
                  <a:lnTo>
                    <a:pt x="82" y="41"/>
                  </a:lnTo>
                  <a:lnTo>
                    <a:pt x="82" y="61"/>
                  </a:lnTo>
                  <a:cubicBezTo>
                    <a:pt x="61" y="61"/>
                    <a:pt x="61" y="82"/>
                    <a:pt x="61" y="102"/>
                  </a:cubicBezTo>
                  <a:cubicBezTo>
                    <a:pt x="61" y="102"/>
                    <a:pt x="61" y="123"/>
                    <a:pt x="40" y="123"/>
                  </a:cubicBezTo>
                  <a:lnTo>
                    <a:pt x="40" y="143"/>
                  </a:lnTo>
                  <a:cubicBezTo>
                    <a:pt x="40" y="143"/>
                    <a:pt x="40" y="164"/>
                    <a:pt x="20" y="164"/>
                  </a:cubicBezTo>
                  <a:lnTo>
                    <a:pt x="20" y="143"/>
                  </a:lnTo>
                  <a:cubicBezTo>
                    <a:pt x="20" y="123"/>
                    <a:pt x="0" y="123"/>
                    <a:pt x="0" y="123"/>
                  </a:cubicBezTo>
                  <a:cubicBezTo>
                    <a:pt x="0" y="102"/>
                    <a:pt x="0" y="102"/>
                    <a:pt x="0" y="82"/>
                  </a:cubicBezTo>
                  <a:lnTo>
                    <a:pt x="20" y="61"/>
                  </a:lnTo>
                  <a:cubicBezTo>
                    <a:pt x="20" y="41"/>
                    <a:pt x="0" y="20"/>
                    <a:pt x="20" y="20"/>
                  </a:cubicBezTo>
                  <a:cubicBezTo>
                    <a:pt x="20" y="20"/>
                    <a:pt x="20" y="20"/>
                    <a:pt x="40" y="20"/>
                  </a:cubicBezTo>
                  <a:cubicBezTo>
                    <a:pt x="40" y="20"/>
                    <a:pt x="61" y="0"/>
                    <a:pt x="82" y="20"/>
                  </a:cubicBezTo>
                  <a:cubicBezTo>
                    <a:pt x="82" y="20"/>
                    <a:pt x="82" y="20"/>
                    <a:pt x="82"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8" name="Freeform 65">
              <a:extLst>
                <a:ext uri="{FF2B5EF4-FFF2-40B4-BE49-F238E27FC236}">
                  <a16:creationId xmlns:a16="http://schemas.microsoft.com/office/drawing/2014/main" id="{7BC8992D-9BFA-D241-B14B-14E1C026E1A1}"/>
                </a:ext>
              </a:extLst>
            </p:cNvPr>
            <p:cNvSpPr>
              <a:spLocks noChangeArrowheads="1"/>
            </p:cNvSpPr>
            <p:nvPr/>
          </p:nvSpPr>
          <p:spPr bwMode="auto">
            <a:xfrm>
              <a:off x="1976438" y="4413250"/>
              <a:ext cx="966787" cy="671513"/>
            </a:xfrm>
            <a:custGeom>
              <a:avLst/>
              <a:gdLst>
                <a:gd name="T0" fmla="*/ 2336 w 2686"/>
                <a:gd name="T1" fmla="*/ 1147 h 1864"/>
                <a:gd name="T2" fmla="*/ 2357 w 2686"/>
                <a:gd name="T3" fmla="*/ 1045 h 1864"/>
                <a:gd name="T4" fmla="*/ 2295 w 2686"/>
                <a:gd name="T5" fmla="*/ 1025 h 1864"/>
                <a:gd name="T6" fmla="*/ 2193 w 2686"/>
                <a:gd name="T7" fmla="*/ 1065 h 1864"/>
                <a:gd name="T8" fmla="*/ 2152 w 2686"/>
                <a:gd name="T9" fmla="*/ 1147 h 1864"/>
                <a:gd name="T10" fmla="*/ 2070 w 2686"/>
                <a:gd name="T11" fmla="*/ 1188 h 1864"/>
                <a:gd name="T12" fmla="*/ 2090 w 2686"/>
                <a:gd name="T13" fmla="*/ 1311 h 1864"/>
                <a:gd name="T14" fmla="*/ 1885 w 2686"/>
                <a:gd name="T15" fmla="*/ 1311 h 1864"/>
                <a:gd name="T16" fmla="*/ 1947 w 2686"/>
                <a:gd name="T17" fmla="*/ 1434 h 1864"/>
                <a:gd name="T18" fmla="*/ 2008 w 2686"/>
                <a:gd name="T19" fmla="*/ 1557 h 1864"/>
                <a:gd name="T20" fmla="*/ 2049 w 2686"/>
                <a:gd name="T21" fmla="*/ 1720 h 1864"/>
                <a:gd name="T22" fmla="*/ 1988 w 2686"/>
                <a:gd name="T23" fmla="*/ 1863 h 1864"/>
                <a:gd name="T24" fmla="*/ 1865 w 2686"/>
                <a:gd name="T25" fmla="*/ 1843 h 1864"/>
                <a:gd name="T26" fmla="*/ 1803 w 2686"/>
                <a:gd name="T27" fmla="*/ 1701 h 1864"/>
                <a:gd name="T28" fmla="*/ 1578 w 2686"/>
                <a:gd name="T29" fmla="*/ 1619 h 1864"/>
                <a:gd name="T30" fmla="*/ 1087 w 2686"/>
                <a:gd name="T31" fmla="*/ 1249 h 1864"/>
                <a:gd name="T32" fmla="*/ 1025 w 2686"/>
                <a:gd name="T33" fmla="*/ 1147 h 1864"/>
                <a:gd name="T34" fmla="*/ 943 w 2686"/>
                <a:gd name="T35" fmla="*/ 1004 h 1864"/>
                <a:gd name="T36" fmla="*/ 841 w 2686"/>
                <a:gd name="T37" fmla="*/ 963 h 1864"/>
                <a:gd name="T38" fmla="*/ 738 w 2686"/>
                <a:gd name="T39" fmla="*/ 840 h 1864"/>
                <a:gd name="T40" fmla="*/ 595 w 2686"/>
                <a:gd name="T41" fmla="*/ 758 h 1864"/>
                <a:gd name="T42" fmla="*/ 492 w 2686"/>
                <a:gd name="T43" fmla="*/ 655 h 1864"/>
                <a:gd name="T44" fmla="*/ 410 w 2686"/>
                <a:gd name="T45" fmla="*/ 697 h 1864"/>
                <a:gd name="T46" fmla="*/ 410 w 2686"/>
                <a:gd name="T47" fmla="*/ 779 h 1864"/>
                <a:gd name="T48" fmla="*/ 369 w 2686"/>
                <a:gd name="T49" fmla="*/ 779 h 1864"/>
                <a:gd name="T50" fmla="*/ 246 w 2686"/>
                <a:gd name="T51" fmla="*/ 819 h 1864"/>
                <a:gd name="T52" fmla="*/ 205 w 2686"/>
                <a:gd name="T53" fmla="*/ 922 h 1864"/>
                <a:gd name="T54" fmla="*/ 144 w 2686"/>
                <a:gd name="T55" fmla="*/ 983 h 1864"/>
                <a:gd name="T56" fmla="*/ 0 w 2686"/>
                <a:gd name="T57" fmla="*/ 184 h 1864"/>
                <a:gd name="T58" fmla="*/ 349 w 2686"/>
                <a:gd name="T59" fmla="*/ 143 h 1864"/>
                <a:gd name="T60" fmla="*/ 451 w 2686"/>
                <a:gd name="T61" fmla="*/ 369 h 1864"/>
                <a:gd name="T62" fmla="*/ 697 w 2686"/>
                <a:gd name="T63" fmla="*/ 287 h 1864"/>
                <a:gd name="T64" fmla="*/ 799 w 2686"/>
                <a:gd name="T65" fmla="*/ 348 h 1864"/>
                <a:gd name="T66" fmla="*/ 943 w 2686"/>
                <a:gd name="T67" fmla="*/ 471 h 1864"/>
                <a:gd name="T68" fmla="*/ 1229 w 2686"/>
                <a:gd name="T69" fmla="*/ 430 h 1864"/>
                <a:gd name="T70" fmla="*/ 1393 w 2686"/>
                <a:gd name="T71" fmla="*/ 430 h 1864"/>
                <a:gd name="T72" fmla="*/ 1537 w 2686"/>
                <a:gd name="T73" fmla="*/ 615 h 1864"/>
                <a:gd name="T74" fmla="*/ 1701 w 2686"/>
                <a:gd name="T75" fmla="*/ 840 h 1864"/>
                <a:gd name="T76" fmla="*/ 1763 w 2686"/>
                <a:gd name="T77" fmla="*/ 943 h 1864"/>
                <a:gd name="T78" fmla="*/ 2049 w 2686"/>
                <a:gd name="T79" fmla="*/ 943 h 1864"/>
                <a:gd name="T80" fmla="*/ 2193 w 2686"/>
                <a:gd name="T81" fmla="*/ 819 h 1864"/>
                <a:gd name="T82" fmla="*/ 2316 w 2686"/>
                <a:gd name="T83" fmla="*/ 697 h 1864"/>
                <a:gd name="T84" fmla="*/ 2377 w 2686"/>
                <a:gd name="T85" fmla="*/ 717 h 1864"/>
                <a:gd name="T86" fmla="*/ 2295 w 2686"/>
                <a:gd name="T87" fmla="*/ 819 h 1864"/>
                <a:gd name="T88" fmla="*/ 2357 w 2686"/>
                <a:gd name="T89" fmla="*/ 922 h 1864"/>
                <a:gd name="T90" fmla="*/ 2439 w 2686"/>
                <a:gd name="T91" fmla="*/ 922 h 1864"/>
                <a:gd name="T92" fmla="*/ 2541 w 2686"/>
                <a:gd name="T93" fmla="*/ 963 h 1864"/>
                <a:gd name="T94" fmla="*/ 2685 w 2686"/>
                <a:gd name="T95" fmla="*/ 1025 h 1864"/>
                <a:gd name="T96" fmla="*/ 2644 w 2686"/>
                <a:gd name="T97" fmla="*/ 1106 h 1864"/>
                <a:gd name="T98" fmla="*/ 2521 w 2686"/>
                <a:gd name="T99" fmla="*/ 1167 h 1864"/>
                <a:gd name="T100" fmla="*/ 2418 w 2686"/>
                <a:gd name="T101" fmla="*/ 1147 h 1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86" h="1864">
                  <a:moveTo>
                    <a:pt x="2398" y="1147"/>
                  </a:moveTo>
                  <a:lnTo>
                    <a:pt x="2398" y="1147"/>
                  </a:lnTo>
                  <a:cubicBezTo>
                    <a:pt x="2377" y="1167"/>
                    <a:pt x="2377" y="1167"/>
                    <a:pt x="2377" y="1167"/>
                  </a:cubicBezTo>
                  <a:cubicBezTo>
                    <a:pt x="2377" y="1147"/>
                    <a:pt x="2357" y="1147"/>
                    <a:pt x="2336" y="1147"/>
                  </a:cubicBezTo>
                  <a:lnTo>
                    <a:pt x="2336" y="1127"/>
                  </a:lnTo>
                  <a:cubicBezTo>
                    <a:pt x="2336" y="1106"/>
                    <a:pt x="2336" y="1106"/>
                    <a:pt x="2336" y="1106"/>
                  </a:cubicBezTo>
                  <a:cubicBezTo>
                    <a:pt x="2336" y="1085"/>
                    <a:pt x="2357" y="1085"/>
                    <a:pt x="2357" y="1065"/>
                  </a:cubicBezTo>
                  <a:lnTo>
                    <a:pt x="2357" y="1045"/>
                  </a:lnTo>
                  <a:cubicBezTo>
                    <a:pt x="2357" y="1025"/>
                    <a:pt x="2357" y="1004"/>
                    <a:pt x="2336" y="1004"/>
                  </a:cubicBezTo>
                  <a:lnTo>
                    <a:pt x="2316" y="1004"/>
                  </a:lnTo>
                  <a:cubicBezTo>
                    <a:pt x="2316" y="1004"/>
                    <a:pt x="2295" y="983"/>
                    <a:pt x="2295" y="1004"/>
                  </a:cubicBezTo>
                  <a:lnTo>
                    <a:pt x="2295" y="1025"/>
                  </a:lnTo>
                  <a:lnTo>
                    <a:pt x="2275" y="1025"/>
                  </a:lnTo>
                  <a:cubicBezTo>
                    <a:pt x="2254" y="1025"/>
                    <a:pt x="2234" y="1025"/>
                    <a:pt x="2234" y="1025"/>
                  </a:cubicBezTo>
                  <a:lnTo>
                    <a:pt x="2213" y="1045"/>
                  </a:lnTo>
                  <a:cubicBezTo>
                    <a:pt x="2213" y="1045"/>
                    <a:pt x="2213" y="1045"/>
                    <a:pt x="2193" y="1065"/>
                  </a:cubicBezTo>
                  <a:cubicBezTo>
                    <a:pt x="2193" y="1065"/>
                    <a:pt x="2193" y="1045"/>
                    <a:pt x="2172" y="1065"/>
                  </a:cubicBezTo>
                  <a:lnTo>
                    <a:pt x="2152" y="1065"/>
                  </a:lnTo>
                  <a:cubicBezTo>
                    <a:pt x="2152" y="1065"/>
                    <a:pt x="2152" y="1085"/>
                    <a:pt x="2152" y="1106"/>
                  </a:cubicBezTo>
                  <a:cubicBezTo>
                    <a:pt x="2152" y="1106"/>
                    <a:pt x="2152" y="1127"/>
                    <a:pt x="2152" y="1147"/>
                  </a:cubicBezTo>
                  <a:cubicBezTo>
                    <a:pt x="2152" y="1147"/>
                    <a:pt x="2152" y="1167"/>
                    <a:pt x="2131" y="1167"/>
                  </a:cubicBezTo>
                  <a:lnTo>
                    <a:pt x="2111" y="1167"/>
                  </a:lnTo>
                  <a:lnTo>
                    <a:pt x="2090" y="1167"/>
                  </a:lnTo>
                  <a:cubicBezTo>
                    <a:pt x="2070" y="1188"/>
                    <a:pt x="2070" y="1188"/>
                    <a:pt x="2070" y="1188"/>
                  </a:cubicBezTo>
                  <a:lnTo>
                    <a:pt x="2070" y="1209"/>
                  </a:lnTo>
                  <a:cubicBezTo>
                    <a:pt x="2070" y="1229"/>
                    <a:pt x="2090" y="1229"/>
                    <a:pt x="2090" y="1229"/>
                  </a:cubicBezTo>
                  <a:cubicBezTo>
                    <a:pt x="2090" y="1249"/>
                    <a:pt x="2090" y="1270"/>
                    <a:pt x="2090" y="1270"/>
                  </a:cubicBezTo>
                  <a:cubicBezTo>
                    <a:pt x="2090" y="1270"/>
                    <a:pt x="2090" y="1291"/>
                    <a:pt x="2090" y="1311"/>
                  </a:cubicBezTo>
                  <a:lnTo>
                    <a:pt x="2049" y="1311"/>
                  </a:lnTo>
                  <a:cubicBezTo>
                    <a:pt x="2029" y="1311"/>
                    <a:pt x="2008" y="1311"/>
                    <a:pt x="1988" y="1311"/>
                  </a:cubicBezTo>
                  <a:cubicBezTo>
                    <a:pt x="1967" y="1291"/>
                    <a:pt x="1947" y="1311"/>
                    <a:pt x="1927" y="1311"/>
                  </a:cubicBezTo>
                  <a:cubicBezTo>
                    <a:pt x="1927" y="1311"/>
                    <a:pt x="1906" y="1291"/>
                    <a:pt x="1885" y="1311"/>
                  </a:cubicBezTo>
                  <a:lnTo>
                    <a:pt x="1865" y="1331"/>
                  </a:lnTo>
                  <a:cubicBezTo>
                    <a:pt x="1865" y="1352"/>
                    <a:pt x="1865" y="1373"/>
                    <a:pt x="1865" y="1393"/>
                  </a:cubicBezTo>
                  <a:lnTo>
                    <a:pt x="1885" y="1413"/>
                  </a:lnTo>
                  <a:cubicBezTo>
                    <a:pt x="1906" y="1413"/>
                    <a:pt x="1927" y="1434"/>
                    <a:pt x="1947" y="1434"/>
                  </a:cubicBezTo>
                  <a:cubicBezTo>
                    <a:pt x="1947" y="1434"/>
                    <a:pt x="1988" y="1434"/>
                    <a:pt x="1988" y="1455"/>
                  </a:cubicBezTo>
                  <a:cubicBezTo>
                    <a:pt x="2008" y="1455"/>
                    <a:pt x="2008" y="1475"/>
                    <a:pt x="2008" y="1475"/>
                  </a:cubicBezTo>
                  <a:cubicBezTo>
                    <a:pt x="2029" y="1495"/>
                    <a:pt x="2008" y="1516"/>
                    <a:pt x="2008" y="1516"/>
                  </a:cubicBezTo>
                  <a:cubicBezTo>
                    <a:pt x="2008" y="1516"/>
                    <a:pt x="2008" y="1537"/>
                    <a:pt x="2008" y="1557"/>
                  </a:cubicBezTo>
                  <a:cubicBezTo>
                    <a:pt x="2008" y="1557"/>
                    <a:pt x="2029" y="1577"/>
                    <a:pt x="2029" y="1598"/>
                  </a:cubicBezTo>
                  <a:cubicBezTo>
                    <a:pt x="2049" y="1598"/>
                    <a:pt x="2049" y="1619"/>
                    <a:pt x="2049" y="1619"/>
                  </a:cubicBezTo>
                  <a:cubicBezTo>
                    <a:pt x="2070" y="1639"/>
                    <a:pt x="2070" y="1659"/>
                    <a:pt x="2049" y="1659"/>
                  </a:cubicBezTo>
                  <a:cubicBezTo>
                    <a:pt x="2049" y="1680"/>
                    <a:pt x="2049" y="1701"/>
                    <a:pt x="2049" y="1720"/>
                  </a:cubicBezTo>
                  <a:cubicBezTo>
                    <a:pt x="2049" y="1720"/>
                    <a:pt x="2029" y="1740"/>
                    <a:pt x="2008" y="1761"/>
                  </a:cubicBezTo>
                  <a:cubicBezTo>
                    <a:pt x="2008" y="1761"/>
                    <a:pt x="2008" y="1802"/>
                    <a:pt x="2008" y="1822"/>
                  </a:cubicBezTo>
                  <a:cubicBezTo>
                    <a:pt x="1988" y="1822"/>
                    <a:pt x="1988" y="1863"/>
                    <a:pt x="1988" y="1863"/>
                  </a:cubicBezTo>
                  <a:lnTo>
                    <a:pt x="1988" y="1863"/>
                  </a:lnTo>
                  <a:lnTo>
                    <a:pt x="1967" y="1843"/>
                  </a:lnTo>
                  <a:cubicBezTo>
                    <a:pt x="1967" y="1843"/>
                    <a:pt x="1947" y="1863"/>
                    <a:pt x="1927" y="1863"/>
                  </a:cubicBezTo>
                  <a:cubicBezTo>
                    <a:pt x="1927" y="1863"/>
                    <a:pt x="1906" y="1863"/>
                    <a:pt x="1885" y="1863"/>
                  </a:cubicBezTo>
                  <a:lnTo>
                    <a:pt x="1865" y="1843"/>
                  </a:lnTo>
                  <a:cubicBezTo>
                    <a:pt x="1845" y="1843"/>
                    <a:pt x="1845" y="1843"/>
                    <a:pt x="1824" y="1843"/>
                  </a:cubicBezTo>
                  <a:lnTo>
                    <a:pt x="1783" y="1822"/>
                  </a:lnTo>
                  <a:lnTo>
                    <a:pt x="1763" y="1802"/>
                  </a:lnTo>
                  <a:cubicBezTo>
                    <a:pt x="1803" y="1701"/>
                    <a:pt x="1803" y="1701"/>
                    <a:pt x="1803" y="1701"/>
                  </a:cubicBezTo>
                  <a:cubicBezTo>
                    <a:pt x="1681" y="1598"/>
                    <a:pt x="1681" y="1598"/>
                    <a:pt x="1681" y="1598"/>
                  </a:cubicBezTo>
                  <a:lnTo>
                    <a:pt x="1639" y="1598"/>
                  </a:lnTo>
                  <a:lnTo>
                    <a:pt x="1619" y="1619"/>
                  </a:lnTo>
                  <a:cubicBezTo>
                    <a:pt x="1619" y="1619"/>
                    <a:pt x="1599" y="1619"/>
                    <a:pt x="1578" y="1619"/>
                  </a:cubicBezTo>
                  <a:cubicBezTo>
                    <a:pt x="1578" y="1619"/>
                    <a:pt x="1578" y="1619"/>
                    <a:pt x="1557" y="1619"/>
                  </a:cubicBezTo>
                  <a:cubicBezTo>
                    <a:pt x="1557" y="1598"/>
                    <a:pt x="1557" y="1577"/>
                    <a:pt x="1557" y="1577"/>
                  </a:cubicBezTo>
                  <a:lnTo>
                    <a:pt x="1537" y="1557"/>
                  </a:lnTo>
                  <a:cubicBezTo>
                    <a:pt x="1455" y="1455"/>
                    <a:pt x="1169" y="1352"/>
                    <a:pt x="1087" y="1249"/>
                  </a:cubicBezTo>
                  <a:lnTo>
                    <a:pt x="1087" y="1209"/>
                  </a:lnTo>
                  <a:cubicBezTo>
                    <a:pt x="1087" y="1188"/>
                    <a:pt x="1087" y="1167"/>
                    <a:pt x="1066" y="1167"/>
                  </a:cubicBezTo>
                  <a:cubicBezTo>
                    <a:pt x="1066" y="1167"/>
                    <a:pt x="1066" y="1147"/>
                    <a:pt x="1045" y="1147"/>
                  </a:cubicBezTo>
                  <a:lnTo>
                    <a:pt x="1025" y="1147"/>
                  </a:lnTo>
                  <a:cubicBezTo>
                    <a:pt x="1025" y="1127"/>
                    <a:pt x="1025" y="1106"/>
                    <a:pt x="1005" y="1106"/>
                  </a:cubicBezTo>
                  <a:cubicBezTo>
                    <a:pt x="1005" y="1085"/>
                    <a:pt x="1005" y="1065"/>
                    <a:pt x="1005" y="1045"/>
                  </a:cubicBezTo>
                  <a:lnTo>
                    <a:pt x="984" y="1025"/>
                  </a:lnTo>
                  <a:cubicBezTo>
                    <a:pt x="984" y="1004"/>
                    <a:pt x="963" y="1004"/>
                    <a:pt x="943" y="1004"/>
                  </a:cubicBezTo>
                  <a:cubicBezTo>
                    <a:pt x="943" y="1004"/>
                    <a:pt x="943" y="1004"/>
                    <a:pt x="943" y="983"/>
                  </a:cubicBezTo>
                  <a:cubicBezTo>
                    <a:pt x="923" y="983"/>
                    <a:pt x="923" y="983"/>
                    <a:pt x="923" y="983"/>
                  </a:cubicBezTo>
                  <a:cubicBezTo>
                    <a:pt x="902" y="963"/>
                    <a:pt x="902" y="963"/>
                    <a:pt x="881" y="963"/>
                  </a:cubicBezTo>
                  <a:cubicBezTo>
                    <a:pt x="881" y="963"/>
                    <a:pt x="861" y="963"/>
                    <a:pt x="841" y="963"/>
                  </a:cubicBezTo>
                  <a:cubicBezTo>
                    <a:pt x="841" y="943"/>
                    <a:pt x="841" y="922"/>
                    <a:pt x="841" y="922"/>
                  </a:cubicBezTo>
                  <a:cubicBezTo>
                    <a:pt x="820" y="922"/>
                    <a:pt x="820" y="901"/>
                    <a:pt x="820" y="901"/>
                  </a:cubicBezTo>
                  <a:cubicBezTo>
                    <a:pt x="799" y="881"/>
                    <a:pt x="779" y="881"/>
                    <a:pt x="779" y="881"/>
                  </a:cubicBezTo>
                  <a:cubicBezTo>
                    <a:pt x="759" y="861"/>
                    <a:pt x="759" y="840"/>
                    <a:pt x="738" y="840"/>
                  </a:cubicBezTo>
                  <a:cubicBezTo>
                    <a:pt x="738" y="819"/>
                    <a:pt x="738" y="799"/>
                    <a:pt x="717" y="799"/>
                  </a:cubicBezTo>
                  <a:cubicBezTo>
                    <a:pt x="717" y="779"/>
                    <a:pt x="677" y="779"/>
                    <a:pt x="677" y="758"/>
                  </a:cubicBezTo>
                  <a:cubicBezTo>
                    <a:pt x="656" y="758"/>
                    <a:pt x="635" y="758"/>
                    <a:pt x="615" y="758"/>
                  </a:cubicBezTo>
                  <a:cubicBezTo>
                    <a:pt x="615" y="758"/>
                    <a:pt x="615" y="758"/>
                    <a:pt x="595" y="758"/>
                  </a:cubicBezTo>
                  <a:cubicBezTo>
                    <a:pt x="595" y="758"/>
                    <a:pt x="574" y="779"/>
                    <a:pt x="553" y="758"/>
                  </a:cubicBezTo>
                  <a:lnTo>
                    <a:pt x="533" y="737"/>
                  </a:lnTo>
                  <a:lnTo>
                    <a:pt x="513" y="697"/>
                  </a:lnTo>
                  <a:cubicBezTo>
                    <a:pt x="513" y="676"/>
                    <a:pt x="492" y="655"/>
                    <a:pt x="492" y="655"/>
                  </a:cubicBezTo>
                  <a:cubicBezTo>
                    <a:pt x="471" y="655"/>
                    <a:pt x="471" y="655"/>
                    <a:pt x="451" y="655"/>
                  </a:cubicBezTo>
                  <a:cubicBezTo>
                    <a:pt x="451" y="655"/>
                    <a:pt x="431" y="655"/>
                    <a:pt x="431" y="676"/>
                  </a:cubicBezTo>
                  <a:cubicBezTo>
                    <a:pt x="410" y="676"/>
                    <a:pt x="410" y="676"/>
                    <a:pt x="410" y="697"/>
                  </a:cubicBezTo>
                  <a:lnTo>
                    <a:pt x="410" y="697"/>
                  </a:lnTo>
                  <a:cubicBezTo>
                    <a:pt x="410" y="717"/>
                    <a:pt x="431" y="717"/>
                    <a:pt x="431" y="737"/>
                  </a:cubicBezTo>
                  <a:lnTo>
                    <a:pt x="451" y="758"/>
                  </a:lnTo>
                  <a:lnTo>
                    <a:pt x="431" y="779"/>
                  </a:lnTo>
                  <a:cubicBezTo>
                    <a:pt x="431" y="779"/>
                    <a:pt x="431" y="779"/>
                    <a:pt x="410" y="779"/>
                  </a:cubicBezTo>
                  <a:lnTo>
                    <a:pt x="410" y="758"/>
                  </a:lnTo>
                  <a:cubicBezTo>
                    <a:pt x="390" y="758"/>
                    <a:pt x="390" y="758"/>
                    <a:pt x="390" y="758"/>
                  </a:cubicBezTo>
                  <a:cubicBezTo>
                    <a:pt x="369" y="758"/>
                    <a:pt x="369" y="758"/>
                    <a:pt x="369" y="758"/>
                  </a:cubicBezTo>
                  <a:cubicBezTo>
                    <a:pt x="349" y="758"/>
                    <a:pt x="369" y="779"/>
                    <a:pt x="369" y="779"/>
                  </a:cubicBezTo>
                  <a:cubicBezTo>
                    <a:pt x="349" y="779"/>
                    <a:pt x="349" y="799"/>
                    <a:pt x="349" y="799"/>
                  </a:cubicBezTo>
                  <a:lnTo>
                    <a:pt x="328" y="799"/>
                  </a:lnTo>
                  <a:cubicBezTo>
                    <a:pt x="308" y="799"/>
                    <a:pt x="287" y="799"/>
                    <a:pt x="267" y="799"/>
                  </a:cubicBezTo>
                  <a:cubicBezTo>
                    <a:pt x="267" y="799"/>
                    <a:pt x="246" y="799"/>
                    <a:pt x="246" y="819"/>
                  </a:cubicBezTo>
                  <a:cubicBezTo>
                    <a:pt x="246" y="819"/>
                    <a:pt x="246" y="819"/>
                    <a:pt x="226" y="819"/>
                  </a:cubicBezTo>
                  <a:cubicBezTo>
                    <a:pt x="226" y="840"/>
                    <a:pt x="205" y="861"/>
                    <a:pt x="205" y="861"/>
                  </a:cubicBezTo>
                  <a:cubicBezTo>
                    <a:pt x="205" y="881"/>
                    <a:pt x="185" y="901"/>
                    <a:pt x="185" y="901"/>
                  </a:cubicBezTo>
                  <a:lnTo>
                    <a:pt x="205" y="922"/>
                  </a:lnTo>
                  <a:cubicBezTo>
                    <a:pt x="205" y="943"/>
                    <a:pt x="226" y="943"/>
                    <a:pt x="226" y="943"/>
                  </a:cubicBezTo>
                  <a:cubicBezTo>
                    <a:pt x="226" y="943"/>
                    <a:pt x="226" y="963"/>
                    <a:pt x="205" y="983"/>
                  </a:cubicBezTo>
                  <a:lnTo>
                    <a:pt x="185" y="983"/>
                  </a:lnTo>
                  <a:cubicBezTo>
                    <a:pt x="164" y="983"/>
                    <a:pt x="144" y="983"/>
                    <a:pt x="144" y="983"/>
                  </a:cubicBezTo>
                  <a:cubicBezTo>
                    <a:pt x="123" y="983"/>
                    <a:pt x="103" y="983"/>
                    <a:pt x="103" y="983"/>
                  </a:cubicBezTo>
                  <a:cubicBezTo>
                    <a:pt x="82" y="983"/>
                    <a:pt x="82" y="983"/>
                    <a:pt x="62" y="983"/>
                  </a:cubicBezTo>
                  <a:cubicBezTo>
                    <a:pt x="20" y="635"/>
                    <a:pt x="20" y="635"/>
                    <a:pt x="20" y="635"/>
                  </a:cubicBezTo>
                  <a:cubicBezTo>
                    <a:pt x="0" y="184"/>
                    <a:pt x="0" y="184"/>
                    <a:pt x="0" y="184"/>
                  </a:cubicBezTo>
                  <a:cubicBezTo>
                    <a:pt x="410" y="0"/>
                    <a:pt x="410" y="0"/>
                    <a:pt x="410" y="0"/>
                  </a:cubicBezTo>
                  <a:lnTo>
                    <a:pt x="410" y="20"/>
                  </a:lnTo>
                  <a:cubicBezTo>
                    <a:pt x="410" y="20"/>
                    <a:pt x="390" y="41"/>
                    <a:pt x="369" y="61"/>
                  </a:cubicBezTo>
                  <a:cubicBezTo>
                    <a:pt x="369" y="82"/>
                    <a:pt x="349" y="123"/>
                    <a:pt x="349" y="143"/>
                  </a:cubicBezTo>
                  <a:cubicBezTo>
                    <a:pt x="349" y="164"/>
                    <a:pt x="349" y="184"/>
                    <a:pt x="349" y="205"/>
                  </a:cubicBezTo>
                  <a:cubicBezTo>
                    <a:pt x="349" y="225"/>
                    <a:pt x="349" y="287"/>
                    <a:pt x="369" y="307"/>
                  </a:cubicBezTo>
                  <a:lnTo>
                    <a:pt x="390" y="328"/>
                  </a:lnTo>
                  <a:cubicBezTo>
                    <a:pt x="410" y="348"/>
                    <a:pt x="451" y="348"/>
                    <a:pt x="451" y="369"/>
                  </a:cubicBezTo>
                  <a:cubicBezTo>
                    <a:pt x="471" y="369"/>
                    <a:pt x="513" y="369"/>
                    <a:pt x="533" y="369"/>
                  </a:cubicBezTo>
                  <a:cubicBezTo>
                    <a:pt x="553" y="369"/>
                    <a:pt x="595" y="369"/>
                    <a:pt x="615" y="369"/>
                  </a:cubicBezTo>
                  <a:cubicBezTo>
                    <a:pt x="635" y="348"/>
                    <a:pt x="656" y="328"/>
                    <a:pt x="656" y="307"/>
                  </a:cubicBezTo>
                  <a:cubicBezTo>
                    <a:pt x="656" y="307"/>
                    <a:pt x="677" y="307"/>
                    <a:pt x="697" y="287"/>
                  </a:cubicBezTo>
                  <a:cubicBezTo>
                    <a:pt x="697" y="287"/>
                    <a:pt x="697" y="287"/>
                    <a:pt x="717" y="266"/>
                  </a:cubicBezTo>
                  <a:lnTo>
                    <a:pt x="717" y="266"/>
                  </a:lnTo>
                  <a:cubicBezTo>
                    <a:pt x="717" y="266"/>
                    <a:pt x="779" y="287"/>
                    <a:pt x="779" y="307"/>
                  </a:cubicBezTo>
                  <a:cubicBezTo>
                    <a:pt x="799" y="307"/>
                    <a:pt x="799" y="348"/>
                    <a:pt x="799" y="348"/>
                  </a:cubicBezTo>
                  <a:cubicBezTo>
                    <a:pt x="820" y="369"/>
                    <a:pt x="841" y="389"/>
                    <a:pt x="841" y="389"/>
                  </a:cubicBezTo>
                  <a:cubicBezTo>
                    <a:pt x="861" y="409"/>
                    <a:pt x="861" y="430"/>
                    <a:pt x="861" y="430"/>
                  </a:cubicBezTo>
                  <a:cubicBezTo>
                    <a:pt x="881" y="451"/>
                    <a:pt x="881" y="451"/>
                    <a:pt x="902" y="471"/>
                  </a:cubicBezTo>
                  <a:lnTo>
                    <a:pt x="943" y="471"/>
                  </a:lnTo>
                  <a:cubicBezTo>
                    <a:pt x="963" y="471"/>
                    <a:pt x="1005" y="451"/>
                    <a:pt x="1005" y="451"/>
                  </a:cubicBezTo>
                  <a:cubicBezTo>
                    <a:pt x="1025" y="451"/>
                    <a:pt x="1066" y="451"/>
                    <a:pt x="1087" y="451"/>
                  </a:cubicBezTo>
                  <a:cubicBezTo>
                    <a:pt x="1107" y="430"/>
                    <a:pt x="1148" y="430"/>
                    <a:pt x="1148" y="430"/>
                  </a:cubicBezTo>
                  <a:cubicBezTo>
                    <a:pt x="1169" y="430"/>
                    <a:pt x="1209" y="430"/>
                    <a:pt x="1229" y="430"/>
                  </a:cubicBezTo>
                  <a:cubicBezTo>
                    <a:pt x="1250" y="430"/>
                    <a:pt x="1271" y="451"/>
                    <a:pt x="1271" y="451"/>
                  </a:cubicBezTo>
                  <a:cubicBezTo>
                    <a:pt x="1291" y="451"/>
                    <a:pt x="1311" y="451"/>
                    <a:pt x="1332" y="451"/>
                  </a:cubicBezTo>
                  <a:lnTo>
                    <a:pt x="1353" y="430"/>
                  </a:lnTo>
                  <a:cubicBezTo>
                    <a:pt x="1373" y="430"/>
                    <a:pt x="1393" y="430"/>
                    <a:pt x="1393" y="430"/>
                  </a:cubicBezTo>
                  <a:cubicBezTo>
                    <a:pt x="1414" y="451"/>
                    <a:pt x="1435" y="471"/>
                    <a:pt x="1435" y="491"/>
                  </a:cubicBezTo>
                  <a:cubicBezTo>
                    <a:pt x="1455" y="491"/>
                    <a:pt x="1475" y="512"/>
                    <a:pt x="1475" y="533"/>
                  </a:cubicBezTo>
                  <a:cubicBezTo>
                    <a:pt x="1496" y="533"/>
                    <a:pt x="1496" y="573"/>
                    <a:pt x="1517" y="573"/>
                  </a:cubicBezTo>
                  <a:cubicBezTo>
                    <a:pt x="1517" y="573"/>
                    <a:pt x="1517" y="594"/>
                    <a:pt x="1537" y="615"/>
                  </a:cubicBezTo>
                  <a:cubicBezTo>
                    <a:pt x="1537" y="615"/>
                    <a:pt x="1578" y="635"/>
                    <a:pt x="1578" y="655"/>
                  </a:cubicBezTo>
                  <a:cubicBezTo>
                    <a:pt x="1599" y="676"/>
                    <a:pt x="1599" y="717"/>
                    <a:pt x="1619" y="737"/>
                  </a:cubicBezTo>
                  <a:cubicBezTo>
                    <a:pt x="1619" y="758"/>
                    <a:pt x="1681" y="737"/>
                    <a:pt x="1701" y="758"/>
                  </a:cubicBezTo>
                  <a:cubicBezTo>
                    <a:pt x="1701" y="779"/>
                    <a:pt x="1701" y="819"/>
                    <a:pt x="1701" y="840"/>
                  </a:cubicBezTo>
                  <a:cubicBezTo>
                    <a:pt x="1701" y="840"/>
                    <a:pt x="1681" y="861"/>
                    <a:pt x="1681" y="881"/>
                  </a:cubicBezTo>
                  <a:cubicBezTo>
                    <a:pt x="1681" y="881"/>
                    <a:pt x="1681" y="901"/>
                    <a:pt x="1681" y="922"/>
                  </a:cubicBezTo>
                  <a:lnTo>
                    <a:pt x="1701" y="943"/>
                  </a:lnTo>
                  <a:cubicBezTo>
                    <a:pt x="1721" y="963"/>
                    <a:pt x="1742" y="963"/>
                    <a:pt x="1763" y="943"/>
                  </a:cubicBezTo>
                  <a:cubicBezTo>
                    <a:pt x="1783" y="943"/>
                    <a:pt x="1824" y="943"/>
                    <a:pt x="1845" y="943"/>
                  </a:cubicBezTo>
                  <a:cubicBezTo>
                    <a:pt x="1885" y="922"/>
                    <a:pt x="1927" y="922"/>
                    <a:pt x="1947" y="922"/>
                  </a:cubicBezTo>
                  <a:cubicBezTo>
                    <a:pt x="1967" y="922"/>
                    <a:pt x="1988" y="922"/>
                    <a:pt x="2008" y="943"/>
                  </a:cubicBezTo>
                  <a:lnTo>
                    <a:pt x="2049" y="943"/>
                  </a:lnTo>
                  <a:cubicBezTo>
                    <a:pt x="2070" y="922"/>
                    <a:pt x="2070" y="901"/>
                    <a:pt x="2070" y="901"/>
                  </a:cubicBezTo>
                  <a:cubicBezTo>
                    <a:pt x="2070" y="881"/>
                    <a:pt x="2111" y="881"/>
                    <a:pt x="2111" y="881"/>
                  </a:cubicBezTo>
                  <a:cubicBezTo>
                    <a:pt x="2131" y="861"/>
                    <a:pt x="2152" y="861"/>
                    <a:pt x="2152" y="840"/>
                  </a:cubicBezTo>
                  <a:cubicBezTo>
                    <a:pt x="2172" y="840"/>
                    <a:pt x="2193" y="819"/>
                    <a:pt x="2193" y="819"/>
                  </a:cubicBezTo>
                  <a:cubicBezTo>
                    <a:pt x="2213" y="799"/>
                    <a:pt x="2234" y="779"/>
                    <a:pt x="2234" y="779"/>
                  </a:cubicBezTo>
                  <a:cubicBezTo>
                    <a:pt x="2254" y="758"/>
                    <a:pt x="2275" y="737"/>
                    <a:pt x="2275" y="717"/>
                  </a:cubicBezTo>
                  <a:cubicBezTo>
                    <a:pt x="2295" y="717"/>
                    <a:pt x="2295" y="697"/>
                    <a:pt x="2316" y="697"/>
                  </a:cubicBezTo>
                  <a:lnTo>
                    <a:pt x="2316" y="697"/>
                  </a:lnTo>
                  <a:lnTo>
                    <a:pt x="2336" y="697"/>
                  </a:lnTo>
                  <a:lnTo>
                    <a:pt x="2357" y="697"/>
                  </a:lnTo>
                  <a:lnTo>
                    <a:pt x="2377" y="697"/>
                  </a:lnTo>
                  <a:lnTo>
                    <a:pt x="2377" y="717"/>
                  </a:lnTo>
                  <a:lnTo>
                    <a:pt x="2398" y="737"/>
                  </a:lnTo>
                  <a:cubicBezTo>
                    <a:pt x="2398" y="737"/>
                    <a:pt x="2377" y="737"/>
                    <a:pt x="2357" y="758"/>
                  </a:cubicBezTo>
                  <a:cubicBezTo>
                    <a:pt x="2357" y="758"/>
                    <a:pt x="2336" y="758"/>
                    <a:pt x="2336" y="779"/>
                  </a:cubicBezTo>
                  <a:cubicBezTo>
                    <a:pt x="2316" y="779"/>
                    <a:pt x="2295" y="799"/>
                    <a:pt x="2295" y="819"/>
                  </a:cubicBezTo>
                  <a:lnTo>
                    <a:pt x="2254" y="840"/>
                  </a:lnTo>
                  <a:cubicBezTo>
                    <a:pt x="2254" y="861"/>
                    <a:pt x="2275" y="881"/>
                    <a:pt x="2275" y="881"/>
                  </a:cubicBezTo>
                  <a:cubicBezTo>
                    <a:pt x="2275" y="901"/>
                    <a:pt x="2316" y="901"/>
                    <a:pt x="2316" y="901"/>
                  </a:cubicBezTo>
                  <a:cubicBezTo>
                    <a:pt x="2336" y="901"/>
                    <a:pt x="2336" y="922"/>
                    <a:pt x="2357" y="922"/>
                  </a:cubicBezTo>
                  <a:cubicBezTo>
                    <a:pt x="2357" y="943"/>
                    <a:pt x="2357" y="943"/>
                    <a:pt x="2357" y="963"/>
                  </a:cubicBezTo>
                  <a:cubicBezTo>
                    <a:pt x="2377" y="963"/>
                    <a:pt x="2398" y="963"/>
                    <a:pt x="2398" y="963"/>
                  </a:cubicBezTo>
                  <a:cubicBezTo>
                    <a:pt x="2418" y="963"/>
                    <a:pt x="2418" y="963"/>
                    <a:pt x="2439" y="943"/>
                  </a:cubicBezTo>
                  <a:lnTo>
                    <a:pt x="2439" y="922"/>
                  </a:lnTo>
                  <a:cubicBezTo>
                    <a:pt x="2459" y="922"/>
                    <a:pt x="2459" y="901"/>
                    <a:pt x="2480" y="901"/>
                  </a:cubicBezTo>
                  <a:cubicBezTo>
                    <a:pt x="2480" y="901"/>
                    <a:pt x="2480" y="901"/>
                    <a:pt x="2500" y="901"/>
                  </a:cubicBezTo>
                  <a:lnTo>
                    <a:pt x="2521" y="922"/>
                  </a:lnTo>
                  <a:cubicBezTo>
                    <a:pt x="2521" y="943"/>
                    <a:pt x="2541" y="943"/>
                    <a:pt x="2541" y="963"/>
                  </a:cubicBezTo>
                  <a:cubicBezTo>
                    <a:pt x="2562" y="963"/>
                    <a:pt x="2582" y="963"/>
                    <a:pt x="2582" y="963"/>
                  </a:cubicBezTo>
                  <a:cubicBezTo>
                    <a:pt x="2603" y="983"/>
                    <a:pt x="2623" y="983"/>
                    <a:pt x="2644" y="983"/>
                  </a:cubicBezTo>
                  <a:lnTo>
                    <a:pt x="2664" y="983"/>
                  </a:lnTo>
                  <a:cubicBezTo>
                    <a:pt x="2664" y="983"/>
                    <a:pt x="2685" y="1004"/>
                    <a:pt x="2685" y="1025"/>
                  </a:cubicBezTo>
                  <a:lnTo>
                    <a:pt x="2685" y="1045"/>
                  </a:lnTo>
                  <a:cubicBezTo>
                    <a:pt x="2685" y="1045"/>
                    <a:pt x="2644" y="1045"/>
                    <a:pt x="2644" y="1065"/>
                  </a:cubicBezTo>
                  <a:lnTo>
                    <a:pt x="2644" y="1085"/>
                  </a:lnTo>
                  <a:lnTo>
                    <a:pt x="2644" y="1106"/>
                  </a:lnTo>
                  <a:cubicBezTo>
                    <a:pt x="2623" y="1106"/>
                    <a:pt x="2623" y="1106"/>
                    <a:pt x="2623" y="1106"/>
                  </a:cubicBezTo>
                  <a:cubicBezTo>
                    <a:pt x="2603" y="1106"/>
                    <a:pt x="2582" y="1106"/>
                    <a:pt x="2582" y="1127"/>
                  </a:cubicBezTo>
                  <a:cubicBezTo>
                    <a:pt x="2562" y="1127"/>
                    <a:pt x="2562" y="1147"/>
                    <a:pt x="2562" y="1147"/>
                  </a:cubicBezTo>
                  <a:cubicBezTo>
                    <a:pt x="2541" y="1167"/>
                    <a:pt x="2521" y="1167"/>
                    <a:pt x="2521" y="1167"/>
                  </a:cubicBezTo>
                  <a:cubicBezTo>
                    <a:pt x="2521" y="1167"/>
                    <a:pt x="2500" y="1167"/>
                    <a:pt x="2480" y="1147"/>
                  </a:cubicBezTo>
                  <a:cubicBezTo>
                    <a:pt x="2480" y="1147"/>
                    <a:pt x="2480" y="1147"/>
                    <a:pt x="2459" y="1147"/>
                  </a:cubicBezTo>
                  <a:cubicBezTo>
                    <a:pt x="2459" y="1127"/>
                    <a:pt x="2439" y="1127"/>
                    <a:pt x="2439" y="1127"/>
                  </a:cubicBezTo>
                  <a:cubicBezTo>
                    <a:pt x="2418" y="1127"/>
                    <a:pt x="2418" y="1147"/>
                    <a:pt x="2418" y="1147"/>
                  </a:cubicBezTo>
                  <a:lnTo>
                    <a:pt x="2398" y="1147"/>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9" name="Freeform 66">
              <a:extLst>
                <a:ext uri="{FF2B5EF4-FFF2-40B4-BE49-F238E27FC236}">
                  <a16:creationId xmlns:a16="http://schemas.microsoft.com/office/drawing/2014/main" id="{45E24BA3-4B74-2945-BFB1-87A8FD1702E4}"/>
                </a:ext>
              </a:extLst>
            </p:cNvPr>
            <p:cNvSpPr>
              <a:spLocks noChangeArrowheads="1"/>
            </p:cNvSpPr>
            <p:nvPr/>
          </p:nvSpPr>
          <p:spPr bwMode="auto">
            <a:xfrm>
              <a:off x="1481138" y="3579813"/>
              <a:ext cx="2073275" cy="1187450"/>
            </a:xfrm>
            <a:custGeom>
              <a:avLst/>
              <a:gdLst>
                <a:gd name="T0" fmla="*/ 3483 w 5758"/>
                <a:gd name="T1" fmla="*/ 3197 h 3300"/>
                <a:gd name="T2" fmla="*/ 3053 w 5758"/>
                <a:gd name="T3" fmla="*/ 3238 h 3300"/>
                <a:gd name="T4" fmla="*/ 2847 w 5758"/>
                <a:gd name="T5" fmla="*/ 2849 h 3300"/>
                <a:gd name="T6" fmla="*/ 2459 w 5758"/>
                <a:gd name="T7" fmla="*/ 2767 h 3300"/>
                <a:gd name="T8" fmla="*/ 2089 w 5758"/>
                <a:gd name="T9" fmla="*/ 2582 h 3300"/>
                <a:gd name="T10" fmla="*/ 2110 w 5758"/>
                <a:gd name="T11" fmla="*/ 2193 h 3300"/>
                <a:gd name="T12" fmla="*/ 2089 w 5758"/>
                <a:gd name="T13" fmla="*/ 2070 h 3300"/>
                <a:gd name="T14" fmla="*/ 2049 w 5758"/>
                <a:gd name="T15" fmla="*/ 2172 h 3300"/>
                <a:gd name="T16" fmla="*/ 1823 w 5758"/>
                <a:gd name="T17" fmla="*/ 2275 h 3300"/>
                <a:gd name="T18" fmla="*/ 1331 w 5758"/>
                <a:gd name="T19" fmla="*/ 3279 h 3300"/>
                <a:gd name="T20" fmla="*/ 962 w 5758"/>
                <a:gd name="T21" fmla="*/ 3135 h 3300"/>
                <a:gd name="T22" fmla="*/ 901 w 5758"/>
                <a:gd name="T23" fmla="*/ 3013 h 3300"/>
                <a:gd name="T24" fmla="*/ 634 w 5758"/>
                <a:gd name="T25" fmla="*/ 2685 h 3300"/>
                <a:gd name="T26" fmla="*/ 737 w 5758"/>
                <a:gd name="T27" fmla="*/ 2603 h 3300"/>
                <a:gd name="T28" fmla="*/ 778 w 5758"/>
                <a:gd name="T29" fmla="*/ 2418 h 3300"/>
                <a:gd name="T30" fmla="*/ 1106 w 5758"/>
                <a:gd name="T31" fmla="*/ 2439 h 3300"/>
                <a:gd name="T32" fmla="*/ 922 w 5758"/>
                <a:gd name="T33" fmla="*/ 2295 h 3300"/>
                <a:gd name="T34" fmla="*/ 840 w 5758"/>
                <a:gd name="T35" fmla="*/ 2070 h 3300"/>
                <a:gd name="T36" fmla="*/ 532 w 5758"/>
                <a:gd name="T37" fmla="*/ 2090 h 3300"/>
                <a:gd name="T38" fmla="*/ 327 w 5758"/>
                <a:gd name="T39" fmla="*/ 1988 h 3300"/>
                <a:gd name="T40" fmla="*/ 82 w 5758"/>
                <a:gd name="T41" fmla="*/ 1783 h 3300"/>
                <a:gd name="T42" fmla="*/ 40 w 5758"/>
                <a:gd name="T43" fmla="*/ 1455 h 3300"/>
                <a:gd name="T44" fmla="*/ 163 w 5758"/>
                <a:gd name="T45" fmla="*/ 1291 h 3300"/>
                <a:gd name="T46" fmla="*/ 286 w 5758"/>
                <a:gd name="T47" fmla="*/ 1210 h 3300"/>
                <a:gd name="T48" fmla="*/ 552 w 5758"/>
                <a:gd name="T49" fmla="*/ 1004 h 3300"/>
                <a:gd name="T50" fmla="*/ 798 w 5758"/>
                <a:gd name="T51" fmla="*/ 964 h 3300"/>
                <a:gd name="T52" fmla="*/ 1065 w 5758"/>
                <a:gd name="T53" fmla="*/ 1148 h 3300"/>
                <a:gd name="T54" fmla="*/ 1147 w 5758"/>
                <a:gd name="T55" fmla="*/ 1107 h 3300"/>
                <a:gd name="T56" fmla="*/ 1352 w 5758"/>
                <a:gd name="T57" fmla="*/ 1128 h 3300"/>
                <a:gd name="T58" fmla="*/ 1557 w 5758"/>
                <a:gd name="T59" fmla="*/ 1086 h 3300"/>
                <a:gd name="T60" fmla="*/ 1803 w 5758"/>
                <a:gd name="T61" fmla="*/ 1189 h 3300"/>
                <a:gd name="T62" fmla="*/ 1967 w 5758"/>
                <a:gd name="T63" fmla="*/ 1168 h 3300"/>
                <a:gd name="T64" fmla="*/ 1885 w 5758"/>
                <a:gd name="T65" fmla="*/ 922 h 3300"/>
                <a:gd name="T66" fmla="*/ 1925 w 5758"/>
                <a:gd name="T67" fmla="*/ 718 h 3300"/>
                <a:gd name="T68" fmla="*/ 2007 w 5758"/>
                <a:gd name="T69" fmla="*/ 595 h 3300"/>
                <a:gd name="T70" fmla="*/ 1905 w 5758"/>
                <a:gd name="T71" fmla="*/ 513 h 3300"/>
                <a:gd name="T72" fmla="*/ 2110 w 5758"/>
                <a:gd name="T73" fmla="*/ 431 h 3300"/>
                <a:gd name="T74" fmla="*/ 2417 w 5758"/>
                <a:gd name="T75" fmla="*/ 308 h 3300"/>
                <a:gd name="T76" fmla="*/ 2807 w 5758"/>
                <a:gd name="T77" fmla="*/ 164 h 3300"/>
                <a:gd name="T78" fmla="*/ 2971 w 5758"/>
                <a:gd name="T79" fmla="*/ 21 h 3300"/>
                <a:gd name="T80" fmla="*/ 3175 w 5758"/>
                <a:gd name="T81" fmla="*/ 41 h 3300"/>
                <a:gd name="T82" fmla="*/ 3278 w 5758"/>
                <a:gd name="T83" fmla="*/ 267 h 3300"/>
                <a:gd name="T84" fmla="*/ 3524 w 5758"/>
                <a:gd name="T85" fmla="*/ 308 h 3300"/>
                <a:gd name="T86" fmla="*/ 3606 w 5758"/>
                <a:gd name="T87" fmla="*/ 431 h 3300"/>
                <a:gd name="T88" fmla="*/ 3811 w 5758"/>
                <a:gd name="T89" fmla="*/ 349 h 3300"/>
                <a:gd name="T90" fmla="*/ 4036 w 5758"/>
                <a:gd name="T91" fmla="*/ 205 h 3300"/>
                <a:gd name="T92" fmla="*/ 4241 w 5758"/>
                <a:gd name="T93" fmla="*/ 451 h 3300"/>
                <a:gd name="T94" fmla="*/ 4712 w 5758"/>
                <a:gd name="T95" fmla="*/ 1004 h 3300"/>
                <a:gd name="T96" fmla="*/ 5020 w 5758"/>
                <a:gd name="T97" fmla="*/ 1004 h 3300"/>
                <a:gd name="T98" fmla="*/ 5430 w 5758"/>
                <a:gd name="T99" fmla="*/ 1189 h 3300"/>
                <a:gd name="T100" fmla="*/ 5737 w 5758"/>
                <a:gd name="T101" fmla="*/ 1312 h 3300"/>
                <a:gd name="T102" fmla="*/ 5614 w 5758"/>
                <a:gd name="T103" fmla="*/ 1537 h 3300"/>
                <a:gd name="T104" fmla="*/ 5470 w 5758"/>
                <a:gd name="T105" fmla="*/ 1865 h 3300"/>
                <a:gd name="T106" fmla="*/ 5266 w 5758"/>
                <a:gd name="T107" fmla="*/ 2090 h 3300"/>
                <a:gd name="T108" fmla="*/ 5184 w 5758"/>
                <a:gd name="T109" fmla="*/ 2254 h 3300"/>
                <a:gd name="T110" fmla="*/ 4978 w 5758"/>
                <a:gd name="T111" fmla="*/ 2336 h 3300"/>
                <a:gd name="T112" fmla="*/ 5102 w 5758"/>
                <a:gd name="T113" fmla="*/ 2725 h 3300"/>
                <a:gd name="T114" fmla="*/ 5081 w 5758"/>
                <a:gd name="T115" fmla="*/ 2910 h 3300"/>
                <a:gd name="T116" fmla="*/ 4815 w 5758"/>
                <a:gd name="T117" fmla="*/ 2869 h 3300"/>
                <a:gd name="T118" fmla="*/ 4384 w 5758"/>
                <a:gd name="T119" fmla="*/ 2889 h 3300"/>
                <a:gd name="T120" fmla="*/ 4077 w 5758"/>
                <a:gd name="T121" fmla="*/ 2889 h 3300"/>
                <a:gd name="T122" fmla="*/ 3688 w 5758"/>
                <a:gd name="T123" fmla="*/ 2992 h 3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58" h="3300">
                  <a:moveTo>
                    <a:pt x="3688" y="3013"/>
                  </a:moveTo>
                  <a:lnTo>
                    <a:pt x="3688" y="3013"/>
                  </a:lnTo>
                  <a:lnTo>
                    <a:pt x="3688" y="3013"/>
                  </a:lnTo>
                  <a:cubicBezTo>
                    <a:pt x="3667" y="3013"/>
                    <a:pt x="3667" y="3033"/>
                    <a:pt x="3647" y="3033"/>
                  </a:cubicBezTo>
                  <a:cubicBezTo>
                    <a:pt x="3647" y="3053"/>
                    <a:pt x="3626" y="3074"/>
                    <a:pt x="3606" y="3095"/>
                  </a:cubicBezTo>
                  <a:cubicBezTo>
                    <a:pt x="3606" y="3095"/>
                    <a:pt x="3585" y="3115"/>
                    <a:pt x="3565" y="3135"/>
                  </a:cubicBezTo>
                  <a:cubicBezTo>
                    <a:pt x="3565" y="3135"/>
                    <a:pt x="3544" y="3156"/>
                    <a:pt x="3524" y="3156"/>
                  </a:cubicBezTo>
                  <a:cubicBezTo>
                    <a:pt x="3524" y="3177"/>
                    <a:pt x="3503" y="3177"/>
                    <a:pt x="3483" y="3197"/>
                  </a:cubicBezTo>
                  <a:cubicBezTo>
                    <a:pt x="3483" y="3197"/>
                    <a:pt x="3442" y="3197"/>
                    <a:pt x="3442" y="3217"/>
                  </a:cubicBezTo>
                  <a:cubicBezTo>
                    <a:pt x="3442" y="3217"/>
                    <a:pt x="3442" y="3238"/>
                    <a:pt x="3421" y="3259"/>
                  </a:cubicBezTo>
                  <a:lnTo>
                    <a:pt x="3380" y="3259"/>
                  </a:lnTo>
                  <a:cubicBezTo>
                    <a:pt x="3360" y="3238"/>
                    <a:pt x="3339" y="3238"/>
                    <a:pt x="3319" y="3238"/>
                  </a:cubicBezTo>
                  <a:cubicBezTo>
                    <a:pt x="3299" y="3238"/>
                    <a:pt x="3257" y="3238"/>
                    <a:pt x="3217" y="3259"/>
                  </a:cubicBezTo>
                  <a:cubicBezTo>
                    <a:pt x="3196" y="3259"/>
                    <a:pt x="3155" y="3259"/>
                    <a:pt x="3135" y="3259"/>
                  </a:cubicBezTo>
                  <a:cubicBezTo>
                    <a:pt x="3114" y="3279"/>
                    <a:pt x="3093" y="3279"/>
                    <a:pt x="3073" y="3259"/>
                  </a:cubicBezTo>
                  <a:lnTo>
                    <a:pt x="3053" y="3238"/>
                  </a:lnTo>
                  <a:cubicBezTo>
                    <a:pt x="3053" y="3217"/>
                    <a:pt x="3053" y="3197"/>
                    <a:pt x="3053" y="3197"/>
                  </a:cubicBezTo>
                  <a:cubicBezTo>
                    <a:pt x="3053" y="3177"/>
                    <a:pt x="3073" y="3156"/>
                    <a:pt x="3073" y="3156"/>
                  </a:cubicBezTo>
                  <a:cubicBezTo>
                    <a:pt x="3073" y="3135"/>
                    <a:pt x="3073" y="3095"/>
                    <a:pt x="3073" y="3074"/>
                  </a:cubicBezTo>
                  <a:cubicBezTo>
                    <a:pt x="3053" y="3053"/>
                    <a:pt x="2991" y="3074"/>
                    <a:pt x="2991" y="3053"/>
                  </a:cubicBezTo>
                  <a:cubicBezTo>
                    <a:pt x="2971" y="3033"/>
                    <a:pt x="2971" y="2992"/>
                    <a:pt x="2950" y="2971"/>
                  </a:cubicBezTo>
                  <a:cubicBezTo>
                    <a:pt x="2950" y="2951"/>
                    <a:pt x="2909" y="2931"/>
                    <a:pt x="2909" y="2931"/>
                  </a:cubicBezTo>
                  <a:cubicBezTo>
                    <a:pt x="2889" y="2910"/>
                    <a:pt x="2889" y="2889"/>
                    <a:pt x="2889" y="2889"/>
                  </a:cubicBezTo>
                  <a:cubicBezTo>
                    <a:pt x="2868" y="2889"/>
                    <a:pt x="2868" y="2849"/>
                    <a:pt x="2847" y="2849"/>
                  </a:cubicBezTo>
                  <a:cubicBezTo>
                    <a:pt x="2847" y="2828"/>
                    <a:pt x="2827" y="2807"/>
                    <a:pt x="2807" y="2807"/>
                  </a:cubicBezTo>
                  <a:cubicBezTo>
                    <a:pt x="2807" y="2787"/>
                    <a:pt x="2786" y="2767"/>
                    <a:pt x="2765" y="2746"/>
                  </a:cubicBezTo>
                  <a:cubicBezTo>
                    <a:pt x="2765" y="2746"/>
                    <a:pt x="2745" y="2746"/>
                    <a:pt x="2725" y="2746"/>
                  </a:cubicBezTo>
                  <a:lnTo>
                    <a:pt x="2704" y="2767"/>
                  </a:lnTo>
                  <a:cubicBezTo>
                    <a:pt x="2683" y="2767"/>
                    <a:pt x="2663" y="2767"/>
                    <a:pt x="2643" y="2767"/>
                  </a:cubicBezTo>
                  <a:cubicBezTo>
                    <a:pt x="2643" y="2767"/>
                    <a:pt x="2622" y="2746"/>
                    <a:pt x="2601" y="2746"/>
                  </a:cubicBezTo>
                  <a:cubicBezTo>
                    <a:pt x="2581" y="2746"/>
                    <a:pt x="2541" y="2746"/>
                    <a:pt x="2520" y="2746"/>
                  </a:cubicBezTo>
                  <a:cubicBezTo>
                    <a:pt x="2520" y="2746"/>
                    <a:pt x="2479" y="2746"/>
                    <a:pt x="2459" y="2767"/>
                  </a:cubicBezTo>
                  <a:cubicBezTo>
                    <a:pt x="2438" y="2767"/>
                    <a:pt x="2397" y="2767"/>
                    <a:pt x="2377" y="2767"/>
                  </a:cubicBezTo>
                  <a:cubicBezTo>
                    <a:pt x="2377" y="2767"/>
                    <a:pt x="2335" y="2787"/>
                    <a:pt x="2315" y="2787"/>
                  </a:cubicBezTo>
                  <a:lnTo>
                    <a:pt x="2274" y="2787"/>
                  </a:lnTo>
                  <a:cubicBezTo>
                    <a:pt x="2253" y="2767"/>
                    <a:pt x="2253" y="2767"/>
                    <a:pt x="2233" y="2746"/>
                  </a:cubicBezTo>
                  <a:cubicBezTo>
                    <a:pt x="2233" y="2746"/>
                    <a:pt x="2233" y="2725"/>
                    <a:pt x="2213" y="2705"/>
                  </a:cubicBezTo>
                  <a:cubicBezTo>
                    <a:pt x="2213" y="2705"/>
                    <a:pt x="2192" y="2685"/>
                    <a:pt x="2171" y="2664"/>
                  </a:cubicBezTo>
                  <a:cubicBezTo>
                    <a:pt x="2171" y="2664"/>
                    <a:pt x="2171" y="2623"/>
                    <a:pt x="2151" y="2623"/>
                  </a:cubicBezTo>
                  <a:cubicBezTo>
                    <a:pt x="2151" y="2603"/>
                    <a:pt x="2089" y="2582"/>
                    <a:pt x="2089" y="2582"/>
                  </a:cubicBezTo>
                  <a:cubicBezTo>
                    <a:pt x="2089" y="2562"/>
                    <a:pt x="2089" y="2562"/>
                    <a:pt x="2089" y="2562"/>
                  </a:cubicBezTo>
                  <a:cubicBezTo>
                    <a:pt x="2110" y="2562"/>
                    <a:pt x="2110" y="2541"/>
                    <a:pt x="2110" y="2521"/>
                  </a:cubicBezTo>
                  <a:lnTo>
                    <a:pt x="2110" y="2480"/>
                  </a:lnTo>
                  <a:cubicBezTo>
                    <a:pt x="2110" y="2459"/>
                    <a:pt x="2110" y="2418"/>
                    <a:pt x="2089" y="2398"/>
                  </a:cubicBezTo>
                  <a:cubicBezTo>
                    <a:pt x="2089" y="2377"/>
                    <a:pt x="2089" y="2357"/>
                    <a:pt x="2089" y="2336"/>
                  </a:cubicBezTo>
                  <a:cubicBezTo>
                    <a:pt x="2110" y="2316"/>
                    <a:pt x="2110" y="2295"/>
                    <a:pt x="2110" y="2275"/>
                  </a:cubicBezTo>
                  <a:cubicBezTo>
                    <a:pt x="2110" y="2254"/>
                    <a:pt x="2110" y="2234"/>
                    <a:pt x="2110" y="2234"/>
                  </a:cubicBezTo>
                  <a:cubicBezTo>
                    <a:pt x="2110" y="2213"/>
                    <a:pt x="2089" y="2193"/>
                    <a:pt x="2110" y="2193"/>
                  </a:cubicBezTo>
                  <a:cubicBezTo>
                    <a:pt x="2110" y="2172"/>
                    <a:pt x="2131" y="2193"/>
                    <a:pt x="2151" y="2193"/>
                  </a:cubicBezTo>
                  <a:cubicBezTo>
                    <a:pt x="2151" y="2172"/>
                    <a:pt x="2131" y="2152"/>
                    <a:pt x="2151" y="2152"/>
                  </a:cubicBezTo>
                  <a:lnTo>
                    <a:pt x="2151" y="2152"/>
                  </a:lnTo>
                  <a:cubicBezTo>
                    <a:pt x="2151" y="2152"/>
                    <a:pt x="2171" y="2152"/>
                    <a:pt x="2192" y="2152"/>
                  </a:cubicBezTo>
                  <a:cubicBezTo>
                    <a:pt x="2192" y="2131"/>
                    <a:pt x="2192" y="2111"/>
                    <a:pt x="2192" y="2111"/>
                  </a:cubicBezTo>
                  <a:lnTo>
                    <a:pt x="2171" y="2090"/>
                  </a:lnTo>
                  <a:cubicBezTo>
                    <a:pt x="2151" y="2090"/>
                    <a:pt x="2131" y="2090"/>
                    <a:pt x="2131" y="2090"/>
                  </a:cubicBezTo>
                  <a:cubicBezTo>
                    <a:pt x="2110" y="2090"/>
                    <a:pt x="2089" y="2070"/>
                    <a:pt x="2089" y="2070"/>
                  </a:cubicBezTo>
                  <a:cubicBezTo>
                    <a:pt x="2069" y="2070"/>
                    <a:pt x="2049" y="2070"/>
                    <a:pt x="2049" y="2070"/>
                  </a:cubicBezTo>
                  <a:cubicBezTo>
                    <a:pt x="2028" y="2070"/>
                    <a:pt x="2007" y="2070"/>
                    <a:pt x="1987" y="2070"/>
                  </a:cubicBezTo>
                  <a:lnTo>
                    <a:pt x="1967" y="2090"/>
                  </a:lnTo>
                  <a:lnTo>
                    <a:pt x="1967" y="2111"/>
                  </a:lnTo>
                  <a:cubicBezTo>
                    <a:pt x="1967" y="2131"/>
                    <a:pt x="1987" y="2131"/>
                    <a:pt x="2007" y="2131"/>
                  </a:cubicBezTo>
                  <a:lnTo>
                    <a:pt x="2028" y="2131"/>
                  </a:lnTo>
                  <a:lnTo>
                    <a:pt x="2049" y="2152"/>
                  </a:lnTo>
                  <a:lnTo>
                    <a:pt x="2049" y="2172"/>
                  </a:lnTo>
                  <a:lnTo>
                    <a:pt x="2028" y="2172"/>
                  </a:lnTo>
                  <a:cubicBezTo>
                    <a:pt x="2028" y="2193"/>
                    <a:pt x="2007" y="2193"/>
                    <a:pt x="2007" y="2193"/>
                  </a:cubicBezTo>
                  <a:cubicBezTo>
                    <a:pt x="1987" y="2193"/>
                    <a:pt x="1987" y="2193"/>
                    <a:pt x="1967" y="2193"/>
                  </a:cubicBezTo>
                  <a:lnTo>
                    <a:pt x="1946" y="2172"/>
                  </a:lnTo>
                  <a:cubicBezTo>
                    <a:pt x="1925" y="2193"/>
                    <a:pt x="1925" y="2193"/>
                    <a:pt x="1905" y="2213"/>
                  </a:cubicBezTo>
                  <a:lnTo>
                    <a:pt x="1885" y="2213"/>
                  </a:lnTo>
                  <a:cubicBezTo>
                    <a:pt x="1864" y="2234"/>
                    <a:pt x="1843" y="2213"/>
                    <a:pt x="1823" y="2234"/>
                  </a:cubicBezTo>
                  <a:lnTo>
                    <a:pt x="1823" y="2275"/>
                  </a:lnTo>
                  <a:cubicBezTo>
                    <a:pt x="1803" y="2295"/>
                    <a:pt x="1782" y="2275"/>
                    <a:pt x="1782" y="2295"/>
                  </a:cubicBezTo>
                  <a:cubicBezTo>
                    <a:pt x="1782" y="2295"/>
                    <a:pt x="1782" y="2295"/>
                    <a:pt x="1782" y="2316"/>
                  </a:cubicBezTo>
                  <a:cubicBezTo>
                    <a:pt x="1372" y="2500"/>
                    <a:pt x="1372" y="2500"/>
                    <a:pt x="1372" y="2500"/>
                  </a:cubicBezTo>
                  <a:cubicBezTo>
                    <a:pt x="1392" y="2951"/>
                    <a:pt x="1392" y="2951"/>
                    <a:pt x="1392" y="2951"/>
                  </a:cubicBezTo>
                  <a:cubicBezTo>
                    <a:pt x="1434" y="3299"/>
                    <a:pt x="1434" y="3299"/>
                    <a:pt x="1434" y="3299"/>
                  </a:cubicBezTo>
                  <a:cubicBezTo>
                    <a:pt x="1413" y="3299"/>
                    <a:pt x="1413" y="3299"/>
                    <a:pt x="1392" y="3299"/>
                  </a:cubicBezTo>
                  <a:lnTo>
                    <a:pt x="1372" y="3299"/>
                  </a:lnTo>
                  <a:cubicBezTo>
                    <a:pt x="1352" y="3299"/>
                    <a:pt x="1331" y="3279"/>
                    <a:pt x="1331" y="3279"/>
                  </a:cubicBezTo>
                  <a:cubicBezTo>
                    <a:pt x="1311" y="3259"/>
                    <a:pt x="1290" y="3217"/>
                    <a:pt x="1270" y="3197"/>
                  </a:cubicBezTo>
                  <a:cubicBezTo>
                    <a:pt x="1270" y="3177"/>
                    <a:pt x="1229" y="3135"/>
                    <a:pt x="1229" y="3135"/>
                  </a:cubicBezTo>
                  <a:cubicBezTo>
                    <a:pt x="1208" y="3115"/>
                    <a:pt x="1208" y="3095"/>
                    <a:pt x="1188" y="3074"/>
                  </a:cubicBezTo>
                  <a:cubicBezTo>
                    <a:pt x="1188" y="3074"/>
                    <a:pt x="1147" y="3074"/>
                    <a:pt x="1126" y="3074"/>
                  </a:cubicBezTo>
                  <a:cubicBezTo>
                    <a:pt x="1106" y="3074"/>
                    <a:pt x="1085" y="3095"/>
                    <a:pt x="1085" y="3095"/>
                  </a:cubicBezTo>
                  <a:cubicBezTo>
                    <a:pt x="1065" y="3095"/>
                    <a:pt x="1044" y="3115"/>
                    <a:pt x="1044" y="3115"/>
                  </a:cubicBezTo>
                  <a:cubicBezTo>
                    <a:pt x="1024" y="3115"/>
                    <a:pt x="1004" y="3115"/>
                    <a:pt x="1004" y="3115"/>
                  </a:cubicBezTo>
                  <a:cubicBezTo>
                    <a:pt x="983" y="3135"/>
                    <a:pt x="962" y="3135"/>
                    <a:pt x="962" y="3135"/>
                  </a:cubicBezTo>
                  <a:cubicBezTo>
                    <a:pt x="942" y="3156"/>
                    <a:pt x="922" y="3156"/>
                    <a:pt x="922" y="3177"/>
                  </a:cubicBezTo>
                  <a:cubicBezTo>
                    <a:pt x="922" y="3177"/>
                    <a:pt x="901" y="3197"/>
                    <a:pt x="901" y="3217"/>
                  </a:cubicBezTo>
                  <a:cubicBezTo>
                    <a:pt x="901" y="3217"/>
                    <a:pt x="901" y="3238"/>
                    <a:pt x="880" y="3238"/>
                  </a:cubicBezTo>
                  <a:cubicBezTo>
                    <a:pt x="880" y="3238"/>
                    <a:pt x="880" y="3217"/>
                    <a:pt x="880" y="3197"/>
                  </a:cubicBezTo>
                  <a:cubicBezTo>
                    <a:pt x="880" y="3197"/>
                    <a:pt x="880" y="3156"/>
                    <a:pt x="880" y="3135"/>
                  </a:cubicBezTo>
                  <a:cubicBezTo>
                    <a:pt x="880" y="3135"/>
                    <a:pt x="880" y="3115"/>
                    <a:pt x="880" y="3095"/>
                  </a:cubicBezTo>
                  <a:lnTo>
                    <a:pt x="901" y="3053"/>
                  </a:lnTo>
                  <a:cubicBezTo>
                    <a:pt x="901" y="3033"/>
                    <a:pt x="901" y="3013"/>
                    <a:pt x="901" y="3013"/>
                  </a:cubicBezTo>
                  <a:cubicBezTo>
                    <a:pt x="901" y="2992"/>
                    <a:pt x="880" y="2992"/>
                    <a:pt x="860" y="2992"/>
                  </a:cubicBezTo>
                  <a:lnTo>
                    <a:pt x="840" y="2992"/>
                  </a:lnTo>
                  <a:cubicBezTo>
                    <a:pt x="819" y="2971"/>
                    <a:pt x="798" y="2971"/>
                    <a:pt x="798" y="2971"/>
                  </a:cubicBezTo>
                  <a:cubicBezTo>
                    <a:pt x="778" y="2971"/>
                    <a:pt x="778" y="2951"/>
                    <a:pt x="758" y="2931"/>
                  </a:cubicBezTo>
                  <a:cubicBezTo>
                    <a:pt x="758" y="2931"/>
                    <a:pt x="737" y="2910"/>
                    <a:pt x="716" y="2910"/>
                  </a:cubicBezTo>
                  <a:cubicBezTo>
                    <a:pt x="696" y="2889"/>
                    <a:pt x="676" y="2849"/>
                    <a:pt x="676" y="2828"/>
                  </a:cubicBezTo>
                  <a:cubicBezTo>
                    <a:pt x="676" y="2807"/>
                    <a:pt x="655" y="2767"/>
                    <a:pt x="655" y="2746"/>
                  </a:cubicBezTo>
                  <a:cubicBezTo>
                    <a:pt x="655" y="2725"/>
                    <a:pt x="655" y="2685"/>
                    <a:pt x="634" y="2685"/>
                  </a:cubicBezTo>
                  <a:cubicBezTo>
                    <a:pt x="634" y="2664"/>
                    <a:pt x="614" y="2664"/>
                    <a:pt x="614" y="2664"/>
                  </a:cubicBezTo>
                  <a:cubicBezTo>
                    <a:pt x="594" y="2664"/>
                    <a:pt x="573" y="2664"/>
                    <a:pt x="573" y="2644"/>
                  </a:cubicBezTo>
                  <a:cubicBezTo>
                    <a:pt x="573" y="2644"/>
                    <a:pt x="552" y="2623"/>
                    <a:pt x="573" y="2603"/>
                  </a:cubicBezTo>
                  <a:lnTo>
                    <a:pt x="594" y="2582"/>
                  </a:lnTo>
                  <a:cubicBezTo>
                    <a:pt x="594" y="2582"/>
                    <a:pt x="614" y="2582"/>
                    <a:pt x="634" y="2603"/>
                  </a:cubicBezTo>
                  <a:cubicBezTo>
                    <a:pt x="634" y="2603"/>
                    <a:pt x="634" y="2623"/>
                    <a:pt x="655" y="2623"/>
                  </a:cubicBezTo>
                  <a:cubicBezTo>
                    <a:pt x="655" y="2623"/>
                    <a:pt x="676" y="2623"/>
                    <a:pt x="696" y="2623"/>
                  </a:cubicBezTo>
                  <a:cubicBezTo>
                    <a:pt x="696" y="2623"/>
                    <a:pt x="737" y="2623"/>
                    <a:pt x="737" y="2603"/>
                  </a:cubicBezTo>
                  <a:lnTo>
                    <a:pt x="737" y="2582"/>
                  </a:lnTo>
                  <a:cubicBezTo>
                    <a:pt x="737" y="2562"/>
                    <a:pt x="716" y="2562"/>
                    <a:pt x="716" y="2562"/>
                  </a:cubicBezTo>
                  <a:cubicBezTo>
                    <a:pt x="696" y="2562"/>
                    <a:pt x="696" y="2562"/>
                    <a:pt x="696" y="2562"/>
                  </a:cubicBezTo>
                  <a:cubicBezTo>
                    <a:pt x="676" y="2562"/>
                    <a:pt x="655" y="2562"/>
                    <a:pt x="655" y="2541"/>
                  </a:cubicBezTo>
                  <a:lnTo>
                    <a:pt x="634" y="2521"/>
                  </a:lnTo>
                  <a:cubicBezTo>
                    <a:pt x="634" y="2521"/>
                    <a:pt x="634" y="2500"/>
                    <a:pt x="655" y="2500"/>
                  </a:cubicBezTo>
                  <a:cubicBezTo>
                    <a:pt x="655" y="2480"/>
                    <a:pt x="696" y="2439"/>
                    <a:pt x="716" y="2439"/>
                  </a:cubicBezTo>
                  <a:cubicBezTo>
                    <a:pt x="737" y="2439"/>
                    <a:pt x="758" y="2418"/>
                    <a:pt x="778" y="2418"/>
                  </a:cubicBezTo>
                  <a:cubicBezTo>
                    <a:pt x="798" y="2418"/>
                    <a:pt x="840" y="2418"/>
                    <a:pt x="840" y="2439"/>
                  </a:cubicBezTo>
                  <a:cubicBezTo>
                    <a:pt x="860" y="2439"/>
                    <a:pt x="880" y="2439"/>
                    <a:pt x="880" y="2439"/>
                  </a:cubicBezTo>
                  <a:cubicBezTo>
                    <a:pt x="901" y="2439"/>
                    <a:pt x="942" y="2439"/>
                    <a:pt x="962" y="2439"/>
                  </a:cubicBezTo>
                  <a:cubicBezTo>
                    <a:pt x="962" y="2439"/>
                    <a:pt x="983" y="2439"/>
                    <a:pt x="1004" y="2439"/>
                  </a:cubicBezTo>
                  <a:lnTo>
                    <a:pt x="1024" y="2439"/>
                  </a:lnTo>
                  <a:cubicBezTo>
                    <a:pt x="1044" y="2439"/>
                    <a:pt x="1065" y="2439"/>
                    <a:pt x="1065" y="2459"/>
                  </a:cubicBezTo>
                  <a:lnTo>
                    <a:pt x="1085" y="2459"/>
                  </a:lnTo>
                  <a:cubicBezTo>
                    <a:pt x="1106" y="2459"/>
                    <a:pt x="1106" y="2439"/>
                    <a:pt x="1106" y="2439"/>
                  </a:cubicBezTo>
                  <a:cubicBezTo>
                    <a:pt x="1106" y="2418"/>
                    <a:pt x="1106" y="2418"/>
                    <a:pt x="1085" y="2398"/>
                  </a:cubicBezTo>
                  <a:cubicBezTo>
                    <a:pt x="1085" y="2398"/>
                    <a:pt x="1085" y="2377"/>
                    <a:pt x="1065" y="2377"/>
                  </a:cubicBezTo>
                  <a:lnTo>
                    <a:pt x="1044" y="2398"/>
                  </a:lnTo>
                  <a:cubicBezTo>
                    <a:pt x="1024" y="2398"/>
                    <a:pt x="1024" y="2398"/>
                    <a:pt x="1004" y="2398"/>
                  </a:cubicBezTo>
                  <a:cubicBezTo>
                    <a:pt x="1004" y="2377"/>
                    <a:pt x="983" y="2377"/>
                    <a:pt x="962" y="2377"/>
                  </a:cubicBezTo>
                  <a:cubicBezTo>
                    <a:pt x="962" y="2377"/>
                    <a:pt x="942" y="2357"/>
                    <a:pt x="922" y="2357"/>
                  </a:cubicBezTo>
                  <a:cubicBezTo>
                    <a:pt x="922" y="2357"/>
                    <a:pt x="922" y="2336"/>
                    <a:pt x="922" y="2316"/>
                  </a:cubicBezTo>
                  <a:lnTo>
                    <a:pt x="922" y="2295"/>
                  </a:lnTo>
                  <a:cubicBezTo>
                    <a:pt x="922" y="2295"/>
                    <a:pt x="942" y="2295"/>
                    <a:pt x="962" y="2275"/>
                  </a:cubicBezTo>
                  <a:cubicBezTo>
                    <a:pt x="962" y="2275"/>
                    <a:pt x="962" y="2254"/>
                    <a:pt x="962" y="2234"/>
                  </a:cubicBezTo>
                  <a:cubicBezTo>
                    <a:pt x="962" y="2213"/>
                    <a:pt x="942" y="2193"/>
                    <a:pt x="942" y="2172"/>
                  </a:cubicBezTo>
                  <a:cubicBezTo>
                    <a:pt x="942" y="2152"/>
                    <a:pt x="942" y="2131"/>
                    <a:pt x="942" y="2111"/>
                  </a:cubicBezTo>
                  <a:cubicBezTo>
                    <a:pt x="942" y="2111"/>
                    <a:pt x="942" y="2070"/>
                    <a:pt x="922" y="2070"/>
                  </a:cubicBezTo>
                  <a:lnTo>
                    <a:pt x="922" y="2049"/>
                  </a:lnTo>
                  <a:cubicBezTo>
                    <a:pt x="901" y="2049"/>
                    <a:pt x="880" y="2049"/>
                    <a:pt x="860" y="2049"/>
                  </a:cubicBezTo>
                  <a:cubicBezTo>
                    <a:pt x="860" y="2049"/>
                    <a:pt x="840" y="2049"/>
                    <a:pt x="840" y="2070"/>
                  </a:cubicBezTo>
                  <a:cubicBezTo>
                    <a:pt x="819" y="2070"/>
                    <a:pt x="798" y="2070"/>
                    <a:pt x="778" y="2070"/>
                  </a:cubicBezTo>
                  <a:lnTo>
                    <a:pt x="758" y="2070"/>
                  </a:lnTo>
                  <a:cubicBezTo>
                    <a:pt x="758" y="2049"/>
                    <a:pt x="737" y="2049"/>
                    <a:pt x="716" y="2049"/>
                  </a:cubicBezTo>
                  <a:lnTo>
                    <a:pt x="696" y="2049"/>
                  </a:lnTo>
                  <a:cubicBezTo>
                    <a:pt x="676" y="2049"/>
                    <a:pt x="676" y="2049"/>
                    <a:pt x="655" y="2049"/>
                  </a:cubicBezTo>
                  <a:lnTo>
                    <a:pt x="634" y="2049"/>
                  </a:lnTo>
                  <a:cubicBezTo>
                    <a:pt x="614" y="2049"/>
                    <a:pt x="594" y="2049"/>
                    <a:pt x="594" y="2070"/>
                  </a:cubicBezTo>
                  <a:cubicBezTo>
                    <a:pt x="573" y="2070"/>
                    <a:pt x="552" y="2070"/>
                    <a:pt x="532" y="2090"/>
                  </a:cubicBezTo>
                  <a:cubicBezTo>
                    <a:pt x="532" y="2090"/>
                    <a:pt x="512" y="2111"/>
                    <a:pt x="512" y="2131"/>
                  </a:cubicBezTo>
                  <a:cubicBezTo>
                    <a:pt x="491" y="2131"/>
                    <a:pt x="470" y="2152"/>
                    <a:pt x="470" y="2172"/>
                  </a:cubicBezTo>
                  <a:cubicBezTo>
                    <a:pt x="470" y="2172"/>
                    <a:pt x="450" y="2172"/>
                    <a:pt x="430" y="2172"/>
                  </a:cubicBezTo>
                  <a:cubicBezTo>
                    <a:pt x="430" y="2172"/>
                    <a:pt x="409" y="2172"/>
                    <a:pt x="388" y="2152"/>
                  </a:cubicBezTo>
                  <a:lnTo>
                    <a:pt x="388" y="2152"/>
                  </a:lnTo>
                  <a:cubicBezTo>
                    <a:pt x="388" y="2131"/>
                    <a:pt x="368" y="2111"/>
                    <a:pt x="368" y="2111"/>
                  </a:cubicBezTo>
                  <a:cubicBezTo>
                    <a:pt x="368" y="2090"/>
                    <a:pt x="368" y="2049"/>
                    <a:pt x="348" y="2029"/>
                  </a:cubicBezTo>
                  <a:cubicBezTo>
                    <a:pt x="348" y="2029"/>
                    <a:pt x="327" y="2008"/>
                    <a:pt x="327" y="1988"/>
                  </a:cubicBezTo>
                  <a:cubicBezTo>
                    <a:pt x="306" y="1968"/>
                    <a:pt x="286" y="1947"/>
                    <a:pt x="286" y="1926"/>
                  </a:cubicBezTo>
                  <a:cubicBezTo>
                    <a:pt x="266" y="1926"/>
                    <a:pt x="266" y="1886"/>
                    <a:pt x="246" y="1886"/>
                  </a:cubicBezTo>
                  <a:cubicBezTo>
                    <a:pt x="246" y="1865"/>
                    <a:pt x="225" y="1844"/>
                    <a:pt x="225" y="1844"/>
                  </a:cubicBezTo>
                  <a:lnTo>
                    <a:pt x="184" y="1844"/>
                  </a:lnTo>
                  <a:cubicBezTo>
                    <a:pt x="163" y="1844"/>
                    <a:pt x="163" y="1844"/>
                    <a:pt x="143" y="1824"/>
                  </a:cubicBezTo>
                  <a:cubicBezTo>
                    <a:pt x="143" y="1824"/>
                    <a:pt x="122" y="1844"/>
                    <a:pt x="102" y="1824"/>
                  </a:cubicBezTo>
                  <a:lnTo>
                    <a:pt x="82" y="1824"/>
                  </a:lnTo>
                  <a:cubicBezTo>
                    <a:pt x="61" y="1804"/>
                    <a:pt x="82" y="1783"/>
                    <a:pt x="82" y="1783"/>
                  </a:cubicBezTo>
                  <a:cubicBezTo>
                    <a:pt x="82" y="1762"/>
                    <a:pt x="82" y="1742"/>
                    <a:pt x="61" y="1742"/>
                  </a:cubicBezTo>
                  <a:lnTo>
                    <a:pt x="40" y="1722"/>
                  </a:lnTo>
                  <a:cubicBezTo>
                    <a:pt x="40" y="1722"/>
                    <a:pt x="20" y="1701"/>
                    <a:pt x="0" y="1701"/>
                  </a:cubicBezTo>
                  <a:cubicBezTo>
                    <a:pt x="0" y="1701"/>
                    <a:pt x="0" y="1680"/>
                    <a:pt x="0" y="1660"/>
                  </a:cubicBezTo>
                  <a:cubicBezTo>
                    <a:pt x="0" y="1660"/>
                    <a:pt x="0" y="1640"/>
                    <a:pt x="0" y="1619"/>
                  </a:cubicBezTo>
                  <a:cubicBezTo>
                    <a:pt x="0" y="1598"/>
                    <a:pt x="20" y="1578"/>
                    <a:pt x="20" y="1578"/>
                  </a:cubicBezTo>
                  <a:cubicBezTo>
                    <a:pt x="20" y="1558"/>
                    <a:pt x="20" y="1516"/>
                    <a:pt x="20" y="1496"/>
                  </a:cubicBezTo>
                  <a:cubicBezTo>
                    <a:pt x="20" y="1476"/>
                    <a:pt x="40" y="1476"/>
                    <a:pt x="40" y="1455"/>
                  </a:cubicBezTo>
                  <a:lnTo>
                    <a:pt x="40" y="1434"/>
                  </a:lnTo>
                  <a:cubicBezTo>
                    <a:pt x="40" y="1414"/>
                    <a:pt x="40" y="1394"/>
                    <a:pt x="61" y="1394"/>
                  </a:cubicBezTo>
                  <a:cubicBezTo>
                    <a:pt x="61" y="1373"/>
                    <a:pt x="82" y="1373"/>
                    <a:pt x="82" y="1373"/>
                  </a:cubicBezTo>
                  <a:cubicBezTo>
                    <a:pt x="102" y="1352"/>
                    <a:pt x="102" y="1332"/>
                    <a:pt x="102" y="1312"/>
                  </a:cubicBezTo>
                  <a:cubicBezTo>
                    <a:pt x="102" y="1291"/>
                    <a:pt x="102" y="1271"/>
                    <a:pt x="102" y="1271"/>
                  </a:cubicBezTo>
                  <a:cubicBezTo>
                    <a:pt x="102" y="1250"/>
                    <a:pt x="122" y="1250"/>
                    <a:pt x="122" y="1250"/>
                  </a:cubicBezTo>
                  <a:cubicBezTo>
                    <a:pt x="122" y="1250"/>
                    <a:pt x="143" y="1250"/>
                    <a:pt x="163" y="1250"/>
                  </a:cubicBezTo>
                  <a:cubicBezTo>
                    <a:pt x="163" y="1271"/>
                    <a:pt x="163" y="1291"/>
                    <a:pt x="163" y="1291"/>
                  </a:cubicBezTo>
                  <a:lnTo>
                    <a:pt x="184" y="1332"/>
                  </a:lnTo>
                  <a:lnTo>
                    <a:pt x="204" y="1352"/>
                  </a:lnTo>
                  <a:cubicBezTo>
                    <a:pt x="225" y="1352"/>
                    <a:pt x="225" y="1373"/>
                    <a:pt x="246" y="1373"/>
                  </a:cubicBezTo>
                  <a:cubicBezTo>
                    <a:pt x="246" y="1394"/>
                    <a:pt x="286" y="1394"/>
                    <a:pt x="286" y="1373"/>
                  </a:cubicBezTo>
                  <a:lnTo>
                    <a:pt x="306" y="1352"/>
                  </a:lnTo>
                  <a:cubicBezTo>
                    <a:pt x="306" y="1332"/>
                    <a:pt x="306" y="1312"/>
                    <a:pt x="306" y="1312"/>
                  </a:cubicBezTo>
                  <a:cubicBezTo>
                    <a:pt x="286" y="1291"/>
                    <a:pt x="286" y="1271"/>
                    <a:pt x="286" y="1250"/>
                  </a:cubicBezTo>
                  <a:cubicBezTo>
                    <a:pt x="286" y="1250"/>
                    <a:pt x="266" y="1230"/>
                    <a:pt x="286" y="1210"/>
                  </a:cubicBezTo>
                  <a:lnTo>
                    <a:pt x="327" y="1210"/>
                  </a:lnTo>
                  <a:cubicBezTo>
                    <a:pt x="348" y="1210"/>
                    <a:pt x="348" y="1189"/>
                    <a:pt x="368" y="1168"/>
                  </a:cubicBezTo>
                  <a:lnTo>
                    <a:pt x="388" y="1148"/>
                  </a:lnTo>
                  <a:cubicBezTo>
                    <a:pt x="409" y="1148"/>
                    <a:pt x="409" y="1107"/>
                    <a:pt x="409" y="1107"/>
                  </a:cubicBezTo>
                  <a:lnTo>
                    <a:pt x="430" y="1086"/>
                  </a:lnTo>
                  <a:cubicBezTo>
                    <a:pt x="450" y="1086"/>
                    <a:pt x="470" y="1066"/>
                    <a:pt x="491" y="1066"/>
                  </a:cubicBezTo>
                  <a:cubicBezTo>
                    <a:pt x="491" y="1066"/>
                    <a:pt x="512" y="1046"/>
                    <a:pt x="532" y="1046"/>
                  </a:cubicBezTo>
                  <a:cubicBezTo>
                    <a:pt x="532" y="1046"/>
                    <a:pt x="552" y="1025"/>
                    <a:pt x="552" y="1004"/>
                  </a:cubicBezTo>
                  <a:cubicBezTo>
                    <a:pt x="552" y="1004"/>
                    <a:pt x="573" y="984"/>
                    <a:pt x="573" y="964"/>
                  </a:cubicBezTo>
                  <a:cubicBezTo>
                    <a:pt x="594" y="964"/>
                    <a:pt x="614" y="964"/>
                    <a:pt x="634" y="964"/>
                  </a:cubicBezTo>
                  <a:cubicBezTo>
                    <a:pt x="634" y="984"/>
                    <a:pt x="655" y="1004"/>
                    <a:pt x="655" y="1004"/>
                  </a:cubicBezTo>
                  <a:lnTo>
                    <a:pt x="676" y="1004"/>
                  </a:lnTo>
                  <a:cubicBezTo>
                    <a:pt x="676" y="1004"/>
                    <a:pt x="696" y="1004"/>
                    <a:pt x="716" y="1004"/>
                  </a:cubicBezTo>
                  <a:lnTo>
                    <a:pt x="737" y="984"/>
                  </a:lnTo>
                  <a:cubicBezTo>
                    <a:pt x="737" y="964"/>
                    <a:pt x="758" y="964"/>
                    <a:pt x="778" y="964"/>
                  </a:cubicBezTo>
                  <a:lnTo>
                    <a:pt x="798" y="964"/>
                  </a:lnTo>
                  <a:lnTo>
                    <a:pt x="819" y="984"/>
                  </a:lnTo>
                  <a:cubicBezTo>
                    <a:pt x="819" y="984"/>
                    <a:pt x="840" y="984"/>
                    <a:pt x="860" y="984"/>
                  </a:cubicBezTo>
                  <a:cubicBezTo>
                    <a:pt x="860" y="984"/>
                    <a:pt x="880" y="984"/>
                    <a:pt x="901" y="984"/>
                  </a:cubicBezTo>
                  <a:cubicBezTo>
                    <a:pt x="901" y="1004"/>
                    <a:pt x="922" y="1025"/>
                    <a:pt x="922" y="1025"/>
                  </a:cubicBezTo>
                  <a:cubicBezTo>
                    <a:pt x="942" y="1025"/>
                    <a:pt x="942" y="1066"/>
                    <a:pt x="962" y="1066"/>
                  </a:cubicBezTo>
                  <a:cubicBezTo>
                    <a:pt x="962" y="1066"/>
                    <a:pt x="983" y="1066"/>
                    <a:pt x="1004" y="1086"/>
                  </a:cubicBezTo>
                  <a:lnTo>
                    <a:pt x="1024" y="1107"/>
                  </a:lnTo>
                  <a:cubicBezTo>
                    <a:pt x="1024" y="1128"/>
                    <a:pt x="1065" y="1128"/>
                    <a:pt x="1065" y="1148"/>
                  </a:cubicBezTo>
                  <a:cubicBezTo>
                    <a:pt x="1085" y="1148"/>
                    <a:pt x="1085" y="1168"/>
                    <a:pt x="1085" y="1168"/>
                  </a:cubicBezTo>
                  <a:cubicBezTo>
                    <a:pt x="1085" y="1189"/>
                    <a:pt x="1085" y="1210"/>
                    <a:pt x="1085" y="1210"/>
                  </a:cubicBezTo>
                  <a:cubicBezTo>
                    <a:pt x="1085" y="1230"/>
                    <a:pt x="1106" y="1230"/>
                    <a:pt x="1106" y="1230"/>
                  </a:cubicBezTo>
                  <a:lnTo>
                    <a:pt x="1126" y="1210"/>
                  </a:lnTo>
                  <a:lnTo>
                    <a:pt x="1126" y="1189"/>
                  </a:lnTo>
                  <a:lnTo>
                    <a:pt x="1126" y="1148"/>
                  </a:lnTo>
                  <a:lnTo>
                    <a:pt x="1126" y="1128"/>
                  </a:lnTo>
                  <a:lnTo>
                    <a:pt x="1147" y="1107"/>
                  </a:lnTo>
                  <a:lnTo>
                    <a:pt x="1167" y="1128"/>
                  </a:lnTo>
                  <a:cubicBezTo>
                    <a:pt x="1188" y="1148"/>
                    <a:pt x="1167" y="1148"/>
                    <a:pt x="1188" y="1168"/>
                  </a:cubicBezTo>
                  <a:lnTo>
                    <a:pt x="1208" y="1189"/>
                  </a:lnTo>
                  <a:cubicBezTo>
                    <a:pt x="1208" y="1210"/>
                    <a:pt x="1229" y="1210"/>
                    <a:pt x="1249" y="1210"/>
                  </a:cubicBezTo>
                  <a:cubicBezTo>
                    <a:pt x="1249" y="1210"/>
                    <a:pt x="1270" y="1210"/>
                    <a:pt x="1290" y="1210"/>
                  </a:cubicBezTo>
                  <a:cubicBezTo>
                    <a:pt x="1290" y="1210"/>
                    <a:pt x="1311" y="1210"/>
                    <a:pt x="1331" y="1189"/>
                  </a:cubicBezTo>
                  <a:cubicBezTo>
                    <a:pt x="1331" y="1189"/>
                    <a:pt x="1331" y="1168"/>
                    <a:pt x="1331" y="1148"/>
                  </a:cubicBezTo>
                  <a:cubicBezTo>
                    <a:pt x="1331" y="1148"/>
                    <a:pt x="1331" y="1128"/>
                    <a:pt x="1352" y="1128"/>
                  </a:cubicBezTo>
                  <a:cubicBezTo>
                    <a:pt x="1352" y="1128"/>
                    <a:pt x="1352" y="1107"/>
                    <a:pt x="1372" y="1107"/>
                  </a:cubicBezTo>
                  <a:cubicBezTo>
                    <a:pt x="1372" y="1107"/>
                    <a:pt x="1392" y="1107"/>
                    <a:pt x="1413" y="1086"/>
                  </a:cubicBezTo>
                  <a:cubicBezTo>
                    <a:pt x="1434" y="1086"/>
                    <a:pt x="1454" y="1086"/>
                    <a:pt x="1454" y="1086"/>
                  </a:cubicBezTo>
                  <a:cubicBezTo>
                    <a:pt x="1475" y="1107"/>
                    <a:pt x="1475" y="1107"/>
                    <a:pt x="1475" y="1107"/>
                  </a:cubicBezTo>
                  <a:cubicBezTo>
                    <a:pt x="1475" y="1107"/>
                    <a:pt x="1495" y="1128"/>
                    <a:pt x="1495" y="1148"/>
                  </a:cubicBezTo>
                  <a:cubicBezTo>
                    <a:pt x="1495" y="1148"/>
                    <a:pt x="1516" y="1148"/>
                    <a:pt x="1536" y="1148"/>
                  </a:cubicBezTo>
                  <a:lnTo>
                    <a:pt x="1557" y="1128"/>
                  </a:lnTo>
                  <a:cubicBezTo>
                    <a:pt x="1557" y="1107"/>
                    <a:pt x="1557" y="1086"/>
                    <a:pt x="1557" y="1086"/>
                  </a:cubicBezTo>
                  <a:cubicBezTo>
                    <a:pt x="1557" y="1086"/>
                    <a:pt x="1577" y="1086"/>
                    <a:pt x="1598" y="1086"/>
                  </a:cubicBezTo>
                  <a:cubicBezTo>
                    <a:pt x="1598" y="1086"/>
                    <a:pt x="1618" y="1086"/>
                    <a:pt x="1639" y="1086"/>
                  </a:cubicBezTo>
                  <a:cubicBezTo>
                    <a:pt x="1639" y="1086"/>
                    <a:pt x="1659" y="1107"/>
                    <a:pt x="1659" y="1128"/>
                  </a:cubicBezTo>
                  <a:cubicBezTo>
                    <a:pt x="1680" y="1128"/>
                    <a:pt x="1680" y="1148"/>
                    <a:pt x="1700" y="1148"/>
                  </a:cubicBezTo>
                  <a:cubicBezTo>
                    <a:pt x="1700" y="1168"/>
                    <a:pt x="1721" y="1168"/>
                    <a:pt x="1741" y="1168"/>
                  </a:cubicBezTo>
                  <a:cubicBezTo>
                    <a:pt x="1741" y="1168"/>
                    <a:pt x="1762" y="1168"/>
                    <a:pt x="1782" y="1168"/>
                  </a:cubicBezTo>
                  <a:cubicBezTo>
                    <a:pt x="1782" y="1168"/>
                    <a:pt x="1782" y="1168"/>
                    <a:pt x="1803" y="1168"/>
                  </a:cubicBezTo>
                  <a:lnTo>
                    <a:pt x="1803" y="1189"/>
                  </a:lnTo>
                  <a:cubicBezTo>
                    <a:pt x="1823" y="1189"/>
                    <a:pt x="1823" y="1210"/>
                    <a:pt x="1843" y="1210"/>
                  </a:cubicBezTo>
                  <a:lnTo>
                    <a:pt x="1843" y="1189"/>
                  </a:lnTo>
                  <a:cubicBezTo>
                    <a:pt x="1843" y="1168"/>
                    <a:pt x="1843" y="1148"/>
                    <a:pt x="1843" y="1148"/>
                  </a:cubicBezTo>
                  <a:cubicBezTo>
                    <a:pt x="1843" y="1148"/>
                    <a:pt x="1843" y="1128"/>
                    <a:pt x="1864" y="1128"/>
                  </a:cubicBezTo>
                  <a:cubicBezTo>
                    <a:pt x="1864" y="1128"/>
                    <a:pt x="1864" y="1128"/>
                    <a:pt x="1885" y="1128"/>
                  </a:cubicBezTo>
                  <a:cubicBezTo>
                    <a:pt x="1885" y="1128"/>
                    <a:pt x="1885" y="1148"/>
                    <a:pt x="1905" y="1148"/>
                  </a:cubicBezTo>
                  <a:lnTo>
                    <a:pt x="1925" y="1168"/>
                  </a:lnTo>
                  <a:lnTo>
                    <a:pt x="1967" y="1168"/>
                  </a:lnTo>
                  <a:cubicBezTo>
                    <a:pt x="1987" y="1168"/>
                    <a:pt x="2007" y="1148"/>
                    <a:pt x="2028" y="1148"/>
                  </a:cubicBezTo>
                  <a:cubicBezTo>
                    <a:pt x="2028" y="1128"/>
                    <a:pt x="2049" y="1107"/>
                    <a:pt x="2049" y="1107"/>
                  </a:cubicBezTo>
                  <a:cubicBezTo>
                    <a:pt x="2049" y="1086"/>
                    <a:pt x="2049" y="1046"/>
                    <a:pt x="2049" y="1046"/>
                  </a:cubicBezTo>
                  <a:cubicBezTo>
                    <a:pt x="2049" y="1025"/>
                    <a:pt x="2049" y="1004"/>
                    <a:pt x="2049" y="984"/>
                  </a:cubicBezTo>
                  <a:cubicBezTo>
                    <a:pt x="2028" y="984"/>
                    <a:pt x="2007" y="1004"/>
                    <a:pt x="1987" y="984"/>
                  </a:cubicBezTo>
                  <a:lnTo>
                    <a:pt x="1967" y="984"/>
                  </a:lnTo>
                  <a:cubicBezTo>
                    <a:pt x="1967" y="964"/>
                    <a:pt x="1967" y="964"/>
                    <a:pt x="1967" y="943"/>
                  </a:cubicBezTo>
                  <a:cubicBezTo>
                    <a:pt x="1946" y="943"/>
                    <a:pt x="1905" y="922"/>
                    <a:pt x="1885" y="922"/>
                  </a:cubicBezTo>
                  <a:cubicBezTo>
                    <a:pt x="1885" y="902"/>
                    <a:pt x="1864" y="922"/>
                    <a:pt x="1864" y="902"/>
                  </a:cubicBezTo>
                  <a:lnTo>
                    <a:pt x="1843" y="902"/>
                  </a:lnTo>
                  <a:cubicBezTo>
                    <a:pt x="1843" y="882"/>
                    <a:pt x="1843" y="861"/>
                    <a:pt x="1843" y="861"/>
                  </a:cubicBezTo>
                  <a:cubicBezTo>
                    <a:pt x="1843" y="861"/>
                    <a:pt x="1864" y="861"/>
                    <a:pt x="1885" y="840"/>
                  </a:cubicBezTo>
                  <a:cubicBezTo>
                    <a:pt x="1885" y="840"/>
                    <a:pt x="1905" y="840"/>
                    <a:pt x="1925" y="840"/>
                  </a:cubicBezTo>
                  <a:cubicBezTo>
                    <a:pt x="1925" y="840"/>
                    <a:pt x="1946" y="820"/>
                    <a:pt x="1946" y="800"/>
                  </a:cubicBezTo>
                  <a:cubicBezTo>
                    <a:pt x="1946" y="800"/>
                    <a:pt x="1946" y="779"/>
                    <a:pt x="1946" y="758"/>
                  </a:cubicBezTo>
                  <a:cubicBezTo>
                    <a:pt x="1946" y="758"/>
                    <a:pt x="1925" y="738"/>
                    <a:pt x="1925" y="718"/>
                  </a:cubicBezTo>
                  <a:lnTo>
                    <a:pt x="1925" y="697"/>
                  </a:lnTo>
                  <a:cubicBezTo>
                    <a:pt x="1946" y="676"/>
                    <a:pt x="1946" y="656"/>
                    <a:pt x="1967" y="656"/>
                  </a:cubicBezTo>
                  <a:cubicBezTo>
                    <a:pt x="1967" y="656"/>
                    <a:pt x="2007" y="656"/>
                    <a:pt x="2028" y="656"/>
                  </a:cubicBezTo>
                  <a:lnTo>
                    <a:pt x="2049" y="656"/>
                  </a:lnTo>
                  <a:cubicBezTo>
                    <a:pt x="2069" y="656"/>
                    <a:pt x="2069" y="636"/>
                    <a:pt x="2069" y="615"/>
                  </a:cubicBezTo>
                  <a:lnTo>
                    <a:pt x="2069" y="595"/>
                  </a:lnTo>
                  <a:cubicBezTo>
                    <a:pt x="2049" y="595"/>
                    <a:pt x="2049" y="595"/>
                    <a:pt x="2049" y="574"/>
                  </a:cubicBezTo>
                  <a:cubicBezTo>
                    <a:pt x="2028" y="574"/>
                    <a:pt x="2007" y="595"/>
                    <a:pt x="2007" y="595"/>
                  </a:cubicBezTo>
                  <a:cubicBezTo>
                    <a:pt x="1987" y="595"/>
                    <a:pt x="1967" y="595"/>
                    <a:pt x="1967" y="574"/>
                  </a:cubicBezTo>
                  <a:lnTo>
                    <a:pt x="1946" y="554"/>
                  </a:lnTo>
                  <a:cubicBezTo>
                    <a:pt x="1967" y="554"/>
                    <a:pt x="1987" y="533"/>
                    <a:pt x="1987" y="533"/>
                  </a:cubicBezTo>
                  <a:lnTo>
                    <a:pt x="1987" y="533"/>
                  </a:lnTo>
                  <a:cubicBezTo>
                    <a:pt x="2007" y="533"/>
                    <a:pt x="1987" y="513"/>
                    <a:pt x="1987" y="513"/>
                  </a:cubicBezTo>
                  <a:lnTo>
                    <a:pt x="1967" y="513"/>
                  </a:lnTo>
                  <a:cubicBezTo>
                    <a:pt x="1946" y="513"/>
                    <a:pt x="1946" y="513"/>
                    <a:pt x="1925" y="513"/>
                  </a:cubicBezTo>
                  <a:lnTo>
                    <a:pt x="1905" y="513"/>
                  </a:lnTo>
                  <a:cubicBezTo>
                    <a:pt x="1885" y="513"/>
                    <a:pt x="1905" y="492"/>
                    <a:pt x="1905" y="472"/>
                  </a:cubicBezTo>
                  <a:lnTo>
                    <a:pt x="1925" y="472"/>
                  </a:lnTo>
                  <a:cubicBezTo>
                    <a:pt x="1925" y="451"/>
                    <a:pt x="1946" y="431"/>
                    <a:pt x="1946" y="431"/>
                  </a:cubicBezTo>
                  <a:cubicBezTo>
                    <a:pt x="1946" y="410"/>
                    <a:pt x="1946" y="390"/>
                    <a:pt x="1946" y="390"/>
                  </a:cubicBezTo>
                  <a:cubicBezTo>
                    <a:pt x="1946" y="390"/>
                    <a:pt x="1987" y="390"/>
                    <a:pt x="1987" y="369"/>
                  </a:cubicBezTo>
                  <a:cubicBezTo>
                    <a:pt x="2007" y="369"/>
                    <a:pt x="2028" y="369"/>
                    <a:pt x="2049" y="390"/>
                  </a:cubicBezTo>
                  <a:cubicBezTo>
                    <a:pt x="2049" y="390"/>
                    <a:pt x="2089" y="390"/>
                    <a:pt x="2089" y="410"/>
                  </a:cubicBezTo>
                  <a:lnTo>
                    <a:pt x="2110" y="431"/>
                  </a:lnTo>
                  <a:lnTo>
                    <a:pt x="2131" y="451"/>
                  </a:lnTo>
                  <a:cubicBezTo>
                    <a:pt x="2151" y="431"/>
                    <a:pt x="2151" y="410"/>
                    <a:pt x="2151" y="410"/>
                  </a:cubicBezTo>
                  <a:cubicBezTo>
                    <a:pt x="2171" y="410"/>
                    <a:pt x="2171" y="390"/>
                    <a:pt x="2171" y="369"/>
                  </a:cubicBezTo>
                  <a:cubicBezTo>
                    <a:pt x="2192" y="369"/>
                    <a:pt x="2213" y="369"/>
                    <a:pt x="2233" y="369"/>
                  </a:cubicBezTo>
                  <a:cubicBezTo>
                    <a:pt x="2233" y="349"/>
                    <a:pt x="2274" y="349"/>
                    <a:pt x="2274" y="349"/>
                  </a:cubicBezTo>
                  <a:cubicBezTo>
                    <a:pt x="2295" y="349"/>
                    <a:pt x="2315" y="328"/>
                    <a:pt x="2335" y="328"/>
                  </a:cubicBezTo>
                  <a:cubicBezTo>
                    <a:pt x="2356" y="328"/>
                    <a:pt x="2377" y="328"/>
                    <a:pt x="2377" y="328"/>
                  </a:cubicBezTo>
                  <a:cubicBezTo>
                    <a:pt x="2397" y="308"/>
                    <a:pt x="2417" y="308"/>
                    <a:pt x="2417" y="308"/>
                  </a:cubicBezTo>
                  <a:cubicBezTo>
                    <a:pt x="2438" y="308"/>
                    <a:pt x="2459" y="328"/>
                    <a:pt x="2459" y="308"/>
                  </a:cubicBezTo>
                  <a:cubicBezTo>
                    <a:pt x="2479" y="308"/>
                    <a:pt x="2479" y="287"/>
                    <a:pt x="2479" y="287"/>
                  </a:cubicBezTo>
                  <a:cubicBezTo>
                    <a:pt x="2479" y="267"/>
                    <a:pt x="2499" y="246"/>
                    <a:pt x="2499" y="246"/>
                  </a:cubicBezTo>
                  <a:cubicBezTo>
                    <a:pt x="2499" y="246"/>
                    <a:pt x="2520" y="226"/>
                    <a:pt x="2541" y="226"/>
                  </a:cubicBezTo>
                  <a:lnTo>
                    <a:pt x="2581" y="246"/>
                  </a:lnTo>
                  <a:cubicBezTo>
                    <a:pt x="2601" y="246"/>
                    <a:pt x="2643" y="226"/>
                    <a:pt x="2643" y="226"/>
                  </a:cubicBezTo>
                  <a:cubicBezTo>
                    <a:pt x="2663" y="226"/>
                    <a:pt x="2725" y="205"/>
                    <a:pt x="2745" y="185"/>
                  </a:cubicBezTo>
                  <a:cubicBezTo>
                    <a:pt x="2765" y="185"/>
                    <a:pt x="2786" y="185"/>
                    <a:pt x="2807" y="164"/>
                  </a:cubicBezTo>
                  <a:cubicBezTo>
                    <a:pt x="2827" y="164"/>
                    <a:pt x="2847" y="164"/>
                    <a:pt x="2868" y="144"/>
                  </a:cubicBezTo>
                  <a:lnTo>
                    <a:pt x="2868" y="123"/>
                  </a:lnTo>
                  <a:cubicBezTo>
                    <a:pt x="2868" y="123"/>
                    <a:pt x="2868" y="103"/>
                    <a:pt x="2889" y="82"/>
                  </a:cubicBezTo>
                  <a:cubicBezTo>
                    <a:pt x="2889" y="82"/>
                    <a:pt x="2929" y="82"/>
                    <a:pt x="2929" y="62"/>
                  </a:cubicBezTo>
                  <a:cubicBezTo>
                    <a:pt x="2950" y="62"/>
                    <a:pt x="2950" y="62"/>
                    <a:pt x="2950" y="41"/>
                  </a:cubicBezTo>
                  <a:cubicBezTo>
                    <a:pt x="2950" y="41"/>
                    <a:pt x="2950" y="41"/>
                    <a:pt x="2950" y="21"/>
                  </a:cubicBezTo>
                  <a:lnTo>
                    <a:pt x="2950" y="21"/>
                  </a:lnTo>
                  <a:cubicBezTo>
                    <a:pt x="2950" y="0"/>
                    <a:pt x="2971" y="21"/>
                    <a:pt x="2971" y="21"/>
                  </a:cubicBezTo>
                  <a:cubicBezTo>
                    <a:pt x="2971" y="21"/>
                    <a:pt x="2991" y="21"/>
                    <a:pt x="2991" y="41"/>
                  </a:cubicBezTo>
                  <a:lnTo>
                    <a:pt x="3011" y="41"/>
                  </a:lnTo>
                  <a:cubicBezTo>
                    <a:pt x="3032" y="41"/>
                    <a:pt x="3032" y="21"/>
                    <a:pt x="3053" y="21"/>
                  </a:cubicBezTo>
                  <a:cubicBezTo>
                    <a:pt x="3053" y="21"/>
                    <a:pt x="3073" y="41"/>
                    <a:pt x="3073" y="62"/>
                  </a:cubicBezTo>
                  <a:cubicBezTo>
                    <a:pt x="3093" y="62"/>
                    <a:pt x="3093" y="62"/>
                    <a:pt x="3114" y="62"/>
                  </a:cubicBezTo>
                  <a:lnTo>
                    <a:pt x="3135" y="62"/>
                  </a:lnTo>
                  <a:lnTo>
                    <a:pt x="3155" y="41"/>
                  </a:lnTo>
                  <a:lnTo>
                    <a:pt x="3175" y="41"/>
                  </a:lnTo>
                  <a:cubicBezTo>
                    <a:pt x="3196" y="41"/>
                    <a:pt x="3217" y="62"/>
                    <a:pt x="3217" y="62"/>
                  </a:cubicBezTo>
                  <a:cubicBezTo>
                    <a:pt x="3217" y="82"/>
                    <a:pt x="3217" y="103"/>
                    <a:pt x="3217" y="103"/>
                  </a:cubicBezTo>
                  <a:cubicBezTo>
                    <a:pt x="3217" y="123"/>
                    <a:pt x="3217" y="144"/>
                    <a:pt x="3217" y="144"/>
                  </a:cubicBezTo>
                  <a:cubicBezTo>
                    <a:pt x="3217" y="164"/>
                    <a:pt x="3237" y="164"/>
                    <a:pt x="3257" y="185"/>
                  </a:cubicBezTo>
                  <a:lnTo>
                    <a:pt x="3278" y="185"/>
                  </a:lnTo>
                  <a:lnTo>
                    <a:pt x="3299" y="205"/>
                  </a:lnTo>
                  <a:lnTo>
                    <a:pt x="3278" y="226"/>
                  </a:lnTo>
                  <a:cubicBezTo>
                    <a:pt x="3278" y="246"/>
                    <a:pt x="3278" y="267"/>
                    <a:pt x="3278" y="267"/>
                  </a:cubicBezTo>
                  <a:cubicBezTo>
                    <a:pt x="3278" y="287"/>
                    <a:pt x="3278" y="287"/>
                    <a:pt x="3299" y="308"/>
                  </a:cubicBezTo>
                  <a:cubicBezTo>
                    <a:pt x="3299" y="308"/>
                    <a:pt x="3319" y="308"/>
                    <a:pt x="3339" y="308"/>
                  </a:cubicBezTo>
                  <a:cubicBezTo>
                    <a:pt x="3339" y="287"/>
                    <a:pt x="3360" y="287"/>
                    <a:pt x="3360" y="287"/>
                  </a:cubicBezTo>
                  <a:cubicBezTo>
                    <a:pt x="3380" y="287"/>
                    <a:pt x="3421" y="267"/>
                    <a:pt x="3421" y="287"/>
                  </a:cubicBezTo>
                  <a:cubicBezTo>
                    <a:pt x="3442" y="287"/>
                    <a:pt x="3442" y="287"/>
                    <a:pt x="3462" y="308"/>
                  </a:cubicBezTo>
                  <a:cubicBezTo>
                    <a:pt x="3462" y="308"/>
                    <a:pt x="3483" y="308"/>
                    <a:pt x="3483" y="328"/>
                  </a:cubicBezTo>
                  <a:lnTo>
                    <a:pt x="3503" y="328"/>
                  </a:lnTo>
                  <a:cubicBezTo>
                    <a:pt x="3503" y="308"/>
                    <a:pt x="3524" y="308"/>
                    <a:pt x="3524" y="308"/>
                  </a:cubicBezTo>
                  <a:cubicBezTo>
                    <a:pt x="3524" y="308"/>
                    <a:pt x="3544" y="328"/>
                    <a:pt x="3565" y="328"/>
                  </a:cubicBezTo>
                  <a:lnTo>
                    <a:pt x="3585" y="328"/>
                  </a:lnTo>
                  <a:cubicBezTo>
                    <a:pt x="3606" y="328"/>
                    <a:pt x="3606" y="308"/>
                    <a:pt x="3626" y="308"/>
                  </a:cubicBezTo>
                  <a:lnTo>
                    <a:pt x="3647" y="308"/>
                  </a:lnTo>
                  <a:cubicBezTo>
                    <a:pt x="3647" y="328"/>
                    <a:pt x="3647" y="349"/>
                    <a:pt x="3647" y="349"/>
                  </a:cubicBezTo>
                  <a:lnTo>
                    <a:pt x="3626" y="369"/>
                  </a:lnTo>
                  <a:cubicBezTo>
                    <a:pt x="3606" y="369"/>
                    <a:pt x="3606" y="390"/>
                    <a:pt x="3606" y="390"/>
                  </a:cubicBezTo>
                  <a:cubicBezTo>
                    <a:pt x="3606" y="410"/>
                    <a:pt x="3606" y="410"/>
                    <a:pt x="3606" y="431"/>
                  </a:cubicBezTo>
                  <a:lnTo>
                    <a:pt x="3626" y="431"/>
                  </a:lnTo>
                  <a:cubicBezTo>
                    <a:pt x="3647" y="431"/>
                    <a:pt x="3647" y="410"/>
                    <a:pt x="3667" y="410"/>
                  </a:cubicBezTo>
                  <a:cubicBezTo>
                    <a:pt x="3667" y="410"/>
                    <a:pt x="3688" y="410"/>
                    <a:pt x="3708" y="410"/>
                  </a:cubicBezTo>
                  <a:lnTo>
                    <a:pt x="3729" y="431"/>
                  </a:lnTo>
                  <a:cubicBezTo>
                    <a:pt x="3749" y="431"/>
                    <a:pt x="3770" y="451"/>
                    <a:pt x="3770" y="451"/>
                  </a:cubicBezTo>
                  <a:cubicBezTo>
                    <a:pt x="3790" y="451"/>
                    <a:pt x="3790" y="431"/>
                    <a:pt x="3790" y="410"/>
                  </a:cubicBezTo>
                  <a:lnTo>
                    <a:pt x="3790" y="390"/>
                  </a:lnTo>
                  <a:cubicBezTo>
                    <a:pt x="3790" y="369"/>
                    <a:pt x="3790" y="369"/>
                    <a:pt x="3811" y="349"/>
                  </a:cubicBezTo>
                  <a:cubicBezTo>
                    <a:pt x="3811" y="349"/>
                    <a:pt x="3811" y="349"/>
                    <a:pt x="3831" y="349"/>
                  </a:cubicBezTo>
                  <a:cubicBezTo>
                    <a:pt x="3831" y="328"/>
                    <a:pt x="3852" y="328"/>
                    <a:pt x="3852" y="328"/>
                  </a:cubicBezTo>
                  <a:cubicBezTo>
                    <a:pt x="3872" y="328"/>
                    <a:pt x="3872" y="308"/>
                    <a:pt x="3893" y="308"/>
                  </a:cubicBezTo>
                  <a:lnTo>
                    <a:pt x="3893" y="287"/>
                  </a:lnTo>
                  <a:cubicBezTo>
                    <a:pt x="3893" y="287"/>
                    <a:pt x="3913" y="267"/>
                    <a:pt x="3934" y="267"/>
                  </a:cubicBezTo>
                  <a:cubicBezTo>
                    <a:pt x="3934" y="267"/>
                    <a:pt x="3954" y="246"/>
                    <a:pt x="3975" y="246"/>
                  </a:cubicBezTo>
                  <a:cubicBezTo>
                    <a:pt x="3975" y="246"/>
                    <a:pt x="3995" y="226"/>
                    <a:pt x="3995" y="205"/>
                  </a:cubicBezTo>
                  <a:cubicBezTo>
                    <a:pt x="4016" y="205"/>
                    <a:pt x="4036" y="205"/>
                    <a:pt x="4036" y="205"/>
                  </a:cubicBezTo>
                  <a:lnTo>
                    <a:pt x="4057" y="226"/>
                  </a:lnTo>
                  <a:cubicBezTo>
                    <a:pt x="4057" y="226"/>
                    <a:pt x="4057" y="246"/>
                    <a:pt x="4057" y="267"/>
                  </a:cubicBezTo>
                  <a:lnTo>
                    <a:pt x="4036" y="287"/>
                  </a:lnTo>
                  <a:cubicBezTo>
                    <a:pt x="4036" y="308"/>
                    <a:pt x="4057" y="328"/>
                    <a:pt x="4057" y="328"/>
                  </a:cubicBezTo>
                  <a:cubicBezTo>
                    <a:pt x="4057" y="349"/>
                    <a:pt x="4077" y="369"/>
                    <a:pt x="4077" y="369"/>
                  </a:cubicBezTo>
                  <a:cubicBezTo>
                    <a:pt x="4098" y="369"/>
                    <a:pt x="4118" y="369"/>
                    <a:pt x="4118" y="390"/>
                  </a:cubicBezTo>
                  <a:cubicBezTo>
                    <a:pt x="4138" y="390"/>
                    <a:pt x="4159" y="410"/>
                    <a:pt x="4180" y="431"/>
                  </a:cubicBezTo>
                  <a:cubicBezTo>
                    <a:pt x="4180" y="431"/>
                    <a:pt x="4220" y="431"/>
                    <a:pt x="4241" y="451"/>
                  </a:cubicBezTo>
                  <a:cubicBezTo>
                    <a:pt x="4262" y="472"/>
                    <a:pt x="4282" y="513"/>
                    <a:pt x="4302" y="533"/>
                  </a:cubicBezTo>
                  <a:cubicBezTo>
                    <a:pt x="4323" y="554"/>
                    <a:pt x="4364" y="615"/>
                    <a:pt x="4384" y="636"/>
                  </a:cubicBezTo>
                  <a:cubicBezTo>
                    <a:pt x="4426" y="676"/>
                    <a:pt x="4487" y="738"/>
                    <a:pt x="4508" y="779"/>
                  </a:cubicBezTo>
                  <a:cubicBezTo>
                    <a:pt x="4528" y="800"/>
                    <a:pt x="4569" y="861"/>
                    <a:pt x="4590" y="882"/>
                  </a:cubicBezTo>
                  <a:cubicBezTo>
                    <a:pt x="4590" y="902"/>
                    <a:pt x="4610" y="922"/>
                    <a:pt x="4610" y="943"/>
                  </a:cubicBezTo>
                  <a:cubicBezTo>
                    <a:pt x="4630" y="943"/>
                    <a:pt x="4651" y="984"/>
                    <a:pt x="4651" y="984"/>
                  </a:cubicBezTo>
                  <a:cubicBezTo>
                    <a:pt x="4672" y="984"/>
                    <a:pt x="4672" y="1004"/>
                    <a:pt x="4692" y="1004"/>
                  </a:cubicBezTo>
                  <a:lnTo>
                    <a:pt x="4712" y="1004"/>
                  </a:lnTo>
                  <a:cubicBezTo>
                    <a:pt x="4733" y="1004"/>
                    <a:pt x="4733" y="984"/>
                    <a:pt x="4733" y="964"/>
                  </a:cubicBezTo>
                  <a:cubicBezTo>
                    <a:pt x="4733" y="964"/>
                    <a:pt x="4733" y="922"/>
                    <a:pt x="4733" y="902"/>
                  </a:cubicBezTo>
                  <a:lnTo>
                    <a:pt x="4754" y="902"/>
                  </a:lnTo>
                  <a:cubicBezTo>
                    <a:pt x="4774" y="902"/>
                    <a:pt x="4774" y="922"/>
                    <a:pt x="4794" y="922"/>
                  </a:cubicBezTo>
                  <a:cubicBezTo>
                    <a:pt x="4794" y="922"/>
                    <a:pt x="4835" y="943"/>
                    <a:pt x="4835" y="964"/>
                  </a:cubicBezTo>
                  <a:cubicBezTo>
                    <a:pt x="4856" y="964"/>
                    <a:pt x="4856" y="1004"/>
                    <a:pt x="4876" y="1004"/>
                  </a:cubicBezTo>
                  <a:cubicBezTo>
                    <a:pt x="4876" y="1025"/>
                    <a:pt x="4917" y="1025"/>
                    <a:pt x="4938" y="1025"/>
                  </a:cubicBezTo>
                  <a:cubicBezTo>
                    <a:pt x="4958" y="1025"/>
                    <a:pt x="4999" y="1025"/>
                    <a:pt x="5020" y="1004"/>
                  </a:cubicBezTo>
                  <a:cubicBezTo>
                    <a:pt x="5040" y="1004"/>
                    <a:pt x="5060" y="1004"/>
                    <a:pt x="5081" y="984"/>
                  </a:cubicBezTo>
                  <a:cubicBezTo>
                    <a:pt x="5081" y="984"/>
                    <a:pt x="5081" y="964"/>
                    <a:pt x="5102" y="964"/>
                  </a:cubicBezTo>
                  <a:cubicBezTo>
                    <a:pt x="5102" y="943"/>
                    <a:pt x="5142" y="964"/>
                    <a:pt x="5163" y="964"/>
                  </a:cubicBezTo>
                  <a:lnTo>
                    <a:pt x="5204" y="984"/>
                  </a:lnTo>
                  <a:cubicBezTo>
                    <a:pt x="5224" y="984"/>
                    <a:pt x="5245" y="1004"/>
                    <a:pt x="5266" y="1025"/>
                  </a:cubicBezTo>
                  <a:cubicBezTo>
                    <a:pt x="5266" y="1046"/>
                    <a:pt x="5306" y="1086"/>
                    <a:pt x="5306" y="1107"/>
                  </a:cubicBezTo>
                  <a:cubicBezTo>
                    <a:pt x="5327" y="1107"/>
                    <a:pt x="5348" y="1128"/>
                    <a:pt x="5368" y="1148"/>
                  </a:cubicBezTo>
                  <a:cubicBezTo>
                    <a:pt x="5388" y="1148"/>
                    <a:pt x="5409" y="1168"/>
                    <a:pt x="5430" y="1189"/>
                  </a:cubicBezTo>
                  <a:cubicBezTo>
                    <a:pt x="5450" y="1189"/>
                    <a:pt x="5450" y="1230"/>
                    <a:pt x="5470" y="1250"/>
                  </a:cubicBezTo>
                  <a:cubicBezTo>
                    <a:pt x="5491" y="1250"/>
                    <a:pt x="5532" y="1271"/>
                    <a:pt x="5552" y="1271"/>
                  </a:cubicBezTo>
                  <a:cubicBezTo>
                    <a:pt x="5552" y="1291"/>
                    <a:pt x="5593" y="1291"/>
                    <a:pt x="5593" y="1271"/>
                  </a:cubicBezTo>
                  <a:cubicBezTo>
                    <a:pt x="5614" y="1271"/>
                    <a:pt x="5614" y="1271"/>
                    <a:pt x="5634" y="1250"/>
                  </a:cubicBezTo>
                  <a:lnTo>
                    <a:pt x="5655" y="1230"/>
                  </a:lnTo>
                  <a:cubicBezTo>
                    <a:pt x="5675" y="1230"/>
                    <a:pt x="5696" y="1250"/>
                    <a:pt x="5696" y="1250"/>
                  </a:cubicBezTo>
                  <a:cubicBezTo>
                    <a:pt x="5696" y="1271"/>
                    <a:pt x="5716" y="1271"/>
                    <a:pt x="5716" y="1291"/>
                  </a:cubicBezTo>
                  <a:cubicBezTo>
                    <a:pt x="5716" y="1291"/>
                    <a:pt x="5716" y="1312"/>
                    <a:pt x="5737" y="1312"/>
                  </a:cubicBezTo>
                  <a:cubicBezTo>
                    <a:pt x="5737" y="1332"/>
                    <a:pt x="5757" y="1332"/>
                    <a:pt x="5757" y="1332"/>
                  </a:cubicBezTo>
                  <a:cubicBezTo>
                    <a:pt x="5757" y="1352"/>
                    <a:pt x="5757" y="1352"/>
                    <a:pt x="5737" y="1373"/>
                  </a:cubicBezTo>
                  <a:lnTo>
                    <a:pt x="5737" y="1394"/>
                  </a:lnTo>
                  <a:cubicBezTo>
                    <a:pt x="5737" y="1414"/>
                    <a:pt x="5737" y="1434"/>
                    <a:pt x="5737" y="1455"/>
                  </a:cubicBezTo>
                  <a:lnTo>
                    <a:pt x="5716" y="1476"/>
                  </a:lnTo>
                  <a:cubicBezTo>
                    <a:pt x="5696" y="1496"/>
                    <a:pt x="5675" y="1496"/>
                    <a:pt x="5655" y="1516"/>
                  </a:cubicBezTo>
                  <a:cubicBezTo>
                    <a:pt x="5655" y="1516"/>
                    <a:pt x="5634" y="1516"/>
                    <a:pt x="5614" y="1516"/>
                  </a:cubicBezTo>
                  <a:lnTo>
                    <a:pt x="5614" y="1537"/>
                  </a:lnTo>
                  <a:cubicBezTo>
                    <a:pt x="5593" y="1558"/>
                    <a:pt x="5593" y="1578"/>
                    <a:pt x="5593" y="1578"/>
                  </a:cubicBezTo>
                  <a:cubicBezTo>
                    <a:pt x="5593" y="1598"/>
                    <a:pt x="5614" y="1619"/>
                    <a:pt x="5614" y="1640"/>
                  </a:cubicBezTo>
                  <a:cubicBezTo>
                    <a:pt x="5614" y="1660"/>
                    <a:pt x="5634" y="1701"/>
                    <a:pt x="5634" y="1722"/>
                  </a:cubicBezTo>
                  <a:cubicBezTo>
                    <a:pt x="5655" y="1722"/>
                    <a:pt x="5655" y="1762"/>
                    <a:pt x="5655" y="1762"/>
                  </a:cubicBezTo>
                  <a:cubicBezTo>
                    <a:pt x="5655" y="1783"/>
                    <a:pt x="5655" y="1804"/>
                    <a:pt x="5655" y="1824"/>
                  </a:cubicBezTo>
                  <a:cubicBezTo>
                    <a:pt x="5634" y="1824"/>
                    <a:pt x="5634" y="1844"/>
                    <a:pt x="5614" y="1844"/>
                  </a:cubicBezTo>
                  <a:cubicBezTo>
                    <a:pt x="5593" y="1844"/>
                    <a:pt x="5573" y="1865"/>
                    <a:pt x="5552" y="1865"/>
                  </a:cubicBezTo>
                  <a:cubicBezTo>
                    <a:pt x="5532" y="1865"/>
                    <a:pt x="5491" y="1865"/>
                    <a:pt x="5470" y="1865"/>
                  </a:cubicBezTo>
                  <a:lnTo>
                    <a:pt x="5430" y="1865"/>
                  </a:lnTo>
                  <a:cubicBezTo>
                    <a:pt x="5409" y="1844"/>
                    <a:pt x="5368" y="1844"/>
                    <a:pt x="5368" y="1824"/>
                  </a:cubicBezTo>
                  <a:cubicBezTo>
                    <a:pt x="5348" y="1824"/>
                    <a:pt x="5327" y="1824"/>
                    <a:pt x="5306" y="1824"/>
                  </a:cubicBezTo>
                  <a:cubicBezTo>
                    <a:pt x="5306" y="1824"/>
                    <a:pt x="5306" y="1844"/>
                    <a:pt x="5286" y="1844"/>
                  </a:cubicBezTo>
                  <a:lnTo>
                    <a:pt x="5286" y="1865"/>
                  </a:lnTo>
                  <a:cubicBezTo>
                    <a:pt x="5286" y="1906"/>
                    <a:pt x="5286" y="1947"/>
                    <a:pt x="5286" y="1968"/>
                  </a:cubicBezTo>
                  <a:cubicBezTo>
                    <a:pt x="5286" y="1988"/>
                    <a:pt x="5266" y="2008"/>
                    <a:pt x="5266" y="2029"/>
                  </a:cubicBezTo>
                  <a:cubicBezTo>
                    <a:pt x="5266" y="2049"/>
                    <a:pt x="5266" y="2070"/>
                    <a:pt x="5266" y="2090"/>
                  </a:cubicBezTo>
                  <a:cubicBezTo>
                    <a:pt x="5286" y="2111"/>
                    <a:pt x="5286" y="2131"/>
                    <a:pt x="5286" y="2152"/>
                  </a:cubicBezTo>
                  <a:cubicBezTo>
                    <a:pt x="5286" y="2152"/>
                    <a:pt x="5306" y="2193"/>
                    <a:pt x="5327" y="2193"/>
                  </a:cubicBezTo>
                  <a:lnTo>
                    <a:pt x="5348" y="2213"/>
                  </a:lnTo>
                  <a:cubicBezTo>
                    <a:pt x="5368" y="2234"/>
                    <a:pt x="5368" y="2234"/>
                    <a:pt x="5348" y="2254"/>
                  </a:cubicBezTo>
                  <a:cubicBezTo>
                    <a:pt x="5348" y="2254"/>
                    <a:pt x="5348" y="2275"/>
                    <a:pt x="5327" y="2275"/>
                  </a:cubicBezTo>
                  <a:cubicBezTo>
                    <a:pt x="5327" y="2295"/>
                    <a:pt x="5306" y="2275"/>
                    <a:pt x="5286" y="2275"/>
                  </a:cubicBezTo>
                  <a:lnTo>
                    <a:pt x="5245" y="2275"/>
                  </a:lnTo>
                  <a:cubicBezTo>
                    <a:pt x="5224" y="2275"/>
                    <a:pt x="5204" y="2254"/>
                    <a:pt x="5184" y="2254"/>
                  </a:cubicBezTo>
                  <a:cubicBezTo>
                    <a:pt x="5163" y="2254"/>
                    <a:pt x="5142" y="2275"/>
                    <a:pt x="5142" y="2275"/>
                  </a:cubicBezTo>
                  <a:cubicBezTo>
                    <a:pt x="5122" y="2275"/>
                    <a:pt x="5102" y="2275"/>
                    <a:pt x="5081" y="2275"/>
                  </a:cubicBezTo>
                  <a:cubicBezTo>
                    <a:pt x="5060" y="2275"/>
                    <a:pt x="5040" y="2254"/>
                    <a:pt x="5020" y="2254"/>
                  </a:cubicBezTo>
                  <a:cubicBezTo>
                    <a:pt x="5020" y="2234"/>
                    <a:pt x="4978" y="2234"/>
                    <a:pt x="4978" y="2254"/>
                  </a:cubicBezTo>
                  <a:cubicBezTo>
                    <a:pt x="4958" y="2254"/>
                    <a:pt x="4938" y="2254"/>
                    <a:pt x="4938" y="2275"/>
                  </a:cubicBezTo>
                  <a:lnTo>
                    <a:pt x="4917" y="2295"/>
                  </a:lnTo>
                  <a:cubicBezTo>
                    <a:pt x="4917" y="2316"/>
                    <a:pt x="4917" y="2316"/>
                    <a:pt x="4917" y="2336"/>
                  </a:cubicBezTo>
                  <a:cubicBezTo>
                    <a:pt x="4938" y="2336"/>
                    <a:pt x="4958" y="2316"/>
                    <a:pt x="4978" y="2336"/>
                  </a:cubicBezTo>
                  <a:cubicBezTo>
                    <a:pt x="4978" y="2336"/>
                    <a:pt x="4999" y="2357"/>
                    <a:pt x="4999" y="2377"/>
                  </a:cubicBezTo>
                  <a:cubicBezTo>
                    <a:pt x="5020" y="2377"/>
                    <a:pt x="5020" y="2398"/>
                    <a:pt x="5020" y="2418"/>
                  </a:cubicBezTo>
                  <a:cubicBezTo>
                    <a:pt x="5020" y="2439"/>
                    <a:pt x="5020" y="2459"/>
                    <a:pt x="5020" y="2480"/>
                  </a:cubicBezTo>
                  <a:cubicBezTo>
                    <a:pt x="5020" y="2500"/>
                    <a:pt x="5040" y="2541"/>
                    <a:pt x="5060" y="2562"/>
                  </a:cubicBezTo>
                  <a:lnTo>
                    <a:pt x="5081" y="2582"/>
                  </a:lnTo>
                  <a:cubicBezTo>
                    <a:pt x="5081" y="2603"/>
                    <a:pt x="5060" y="2603"/>
                    <a:pt x="5060" y="2623"/>
                  </a:cubicBezTo>
                  <a:cubicBezTo>
                    <a:pt x="5060" y="2623"/>
                    <a:pt x="5081" y="2644"/>
                    <a:pt x="5081" y="2664"/>
                  </a:cubicBezTo>
                  <a:cubicBezTo>
                    <a:pt x="5081" y="2685"/>
                    <a:pt x="5102" y="2705"/>
                    <a:pt x="5102" y="2725"/>
                  </a:cubicBezTo>
                  <a:lnTo>
                    <a:pt x="5142" y="2746"/>
                  </a:lnTo>
                  <a:cubicBezTo>
                    <a:pt x="5142" y="2767"/>
                    <a:pt x="5142" y="2787"/>
                    <a:pt x="5142" y="2787"/>
                  </a:cubicBezTo>
                  <a:cubicBezTo>
                    <a:pt x="5142" y="2807"/>
                    <a:pt x="5122" y="2787"/>
                    <a:pt x="5102" y="2807"/>
                  </a:cubicBezTo>
                  <a:cubicBezTo>
                    <a:pt x="5102" y="2807"/>
                    <a:pt x="5081" y="2807"/>
                    <a:pt x="5081" y="2828"/>
                  </a:cubicBezTo>
                  <a:lnTo>
                    <a:pt x="5081" y="2849"/>
                  </a:lnTo>
                  <a:lnTo>
                    <a:pt x="5081" y="2869"/>
                  </a:lnTo>
                  <a:lnTo>
                    <a:pt x="5081" y="2889"/>
                  </a:lnTo>
                  <a:lnTo>
                    <a:pt x="5081" y="2910"/>
                  </a:lnTo>
                  <a:lnTo>
                    <a:pt x="5081" y="2931"/>
                  </a:lnTo>
                  <a:lnTo>
                    <a:pt x="5081" y="2951"/>
                  </a:lnTo>
                  <a:lnTo>
                    <a:pt x="5040" y="2931"/>
                  </a:lnTo>
                  <a:cubicBezTo>
                    <a:pt x="5020" y="2931"/>
                    <a:pt x="4999" y="2931"/>
                    <a:pt x="4999" y="2931"/>
                  </a:cubicBezTo>
                  <a:cubicBezTo>
                    <a:pt x="4978" y="2931"/>
                    <a:pt x="4978" y="2910"/>
                    <a:pt x="4958" y="2910"/>
                  </a:cubicBezTo>
                  <a:cubicBezTo>
                    <a:pt x="4958" y="2889"/>
                    <a:pt x="4958" y="2889"/>
                    <a:pt x="4958" y="2869"/>
                  </a:cubicBezTo>
                  <a:cubicBezTo>
                    <a:pt x="4938" y="2869"/>
                    <a:pt x="4917" y="2889"/>
                    <a:pt x="4896" y="2889"/>
                  </a:cubicBezTo>
                  <a:cubicBezTo>
                    <a:pt x="4876" y="2889"/>
                    <a:pt x="4835" y="2869"/>
                    <a:pt x="4815" y="2869"/>
                  </a:cubicBezTo>
                  <a:cubicBezTo>
                    <a:pt x="4794" y="2869"/>
                    <a:pt x="4754" y="2869"/>
                    <a:pt x="4733" y="2869"/>
                  </a:cubicBezTo>
                  <a:lnTo>
                    <a:pt x="4712" y="2849"/>
                  </a:lnTo>
                  <a:cubicBezTo>
                    <a:pt x="4692" y="2828"/>
                    <a:pt x="4672" y="2828"/>
                    <a:pt x="4651" y="2828"/>
                  </a:cubicBezTo>
                  <a:cubicBezTo>
                    <a:pt x="4630" y="2828"/>
                    <a:pt x="4610" y="2828"/>
                    <a:pt x="4590" y="2828"/>
                  </a:cubicBezTo>
                  <a:cubicBezTo>
                    <a:pt x="4590" y="2828"/>
                    <a:pt x="4548" y="2828"/>
                    <a:pt x="4548" y="2849"/>
                  </a:cubicBezTo>
                  <a:cubicBezTo>
                    <a:pt x="4528" y="2849"/>
                    <a:pt x="4508" y="2849"/>
                    <a:pt x="4508" y="2849"/>
                  </a:cubicBezTo>
                  <a:cubicBezTo>
                    <a:pt x="4487" y="2869"/>
                    <a:pt x="4446" y="2849"/>
                    <a:pt x="4446" y="2849"/>
                  </a:cubicBezTo>
                  <a:cubicBezTo>
                    <a:pt x="4426" y="2869"/>
                    <a:pt x="4405" y="2889"/>
                    <a:pt x="4384" y="2889"/>
                  </a:cubicBezTo>
                  <a:cubicBezTo>
                    <a:pt x="4364" y="2889"/>
                    <a:pt x="4344" y="2869"/>
                    <a:pt x="4323" y="2869"/>
                  </a:cubicBezTo>
                  <a:cubicBezTo>
                    <a:pt x="4302" y="2869"/>
                    <a:pt x="4282" y="2849"/>
                    <a:pt x="4262" y="2849"/>
                  </a:cubicBezTo>
                  <a:cubicBezTo>
                    <a:pt x="4262" y="2849"/>
                    <a:pt x="4241" y="2828"/>
                    <a:pt x="4220" y="2828"/>
                  </a:cubicBezTo>
                  <a:lnTo>
                    <a:pt x="4220" y="2807"/>
                  </a:lnTo>
                  <a:cubicBezTo>
                    <a:pt x="4200" y="2787"/>
                    <a:pt x="4159" y="2807"/>
                    <a:pt x="4159" y="2807"/>
                  </a:cubicBezTo>
                  <a:cubicBezTo>
                    <a:pt x="4138" y="2807"/>
                    <a:pt x="4118" y="2787"/>
                    <a:pt x="4098" y="2807"/>
                  </a:cubicBezTo>
                  <a:lnTo>
                    <a:pt x="4077" y="2849"/>
                  </a:lnTo>
                  <a:cubicBezTo>
                    <a:pt x="4077" y="2869"/>
                    <a:pt x="4077" y="2889"/>
                    <a:pt x="4077" y="2889"/>
                  </a:cubicBezTo>
                  <a:cubicBezTo>
                    <a:pt x="4077" y="2910"/>
                    <a:pt x="4077" y="2931"/>
                    <a:pt x="4057" y="2951"/>
                  </a:cubicBezTo>
                  <a:cubicBezTo>
                    <a:pt x="4057" y="2951"/>
                    <a:pt x="4036" y="2971"/>
                    <a:pt x="4016" y="2971"/>
                  </a:cubicBezTo>
                  <a:cubicBezTo>
                    <a:pt x="4016" y="2971"/>
                    <a:pt x="3995" y="2951"/>
                    <a:pt x="3995" y="2931"/>
                  </a:cubicBezTo>
                  <a:cubicBezTo>
                    <a:pt x="3975" y="2931"/>
                    <a:pt x="3954" y="2910"/>
                    <a:pt x="3934" y="2910"/>
                  </a:cubicBezTo>
                  <a:cubicBezTo>
                    <a:pt x="3934" y="2910"/>
                    <a:pt x="3913" y="2910"/>
                    <a:pt x="3893" y="2910"/>
                  </a:cubicBezTo>
                  <a:cubicBezTo>
                    <a:pt x="3872" y="2910"/>
                    <a:pt x="3831" y="2889"/>
                    <a:pt x="3811" y="2910"/>
                  </a:cubicBezTo>
                  <a:cubicBezTo>
                    <a:pt x="3790" y="2910"/>
                    <a:pt x="3770" y="2931"/>
                    <a:pt x="3749" y="2931"/>
                  </a:cubicBezTo>
                  <a:cubicBezTo>
                    <a:pt x="3729" y="2951"/>
                    <a:pt x="3708" y="2971"/>
                    <a:pt x="3688" y="2992"/>
                  </a:cubicBezTo>
                  <a:cubicBezTo>
                    <a:pt x="3688" y="2992"/>
                    <a:pt x="3688" y="2992"/>
                    <a:pt x="3688" y="301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0" name="Freeform 67">
              <a:extLst>
                <a:ext uri="{FF2B5EF4-FFF2-40B4-BE49-F238E27FC236}">
                  <a16:creationId xmlns:a16="http://schemas.microsoft.com/office/drawing/2014/main" id="{7ADB665B-E93F-A24F-8588-B3AFA3E9997F}"/>
                </a:ext>
              </a:extLst>
            </p:cNvPr>
            <p:cNvSpPr>
              <a:spLocks noChangeArrowheads="1"/>
            </p:cNvSpPr>
            <p:nvPr/>
          </p:nvSpPr>
          <p:spPr bwMode="auto">
            <a:xfrm>
              <a:off x="5294313" y="6353175"/>
              <a:ext cx="147637" cy="169863"/>
            </a:xfrm>
            <a:custGeom>
              <a:avLst/>
              <a:gdLst>
                <a:gd name="T0" fmla="*/ 287 w 411"/>
                <a:gd name="T1" fmla="*/ 389 h 472"/>
                <a:gd name="T2" fmla="*/ 287 w 411"/>
                <a:gd name="T3" fmla="*/ 389 h 472"/>
                <a:gd name="T4" fmla="*/ 287 w 411"/>
                <a:gd name="T5" fmla="*/ 368 h 472"/>
                <a:gd name="T6" fmla="*/ 308 w 411"/>
                <a:gd name="T7" fmla="*/ 348 h 472"/>
                <a:gd name="T8" fmla="*/ 308 w 411"/>
                <a:gd name="T9" fmla="*/ 348 h 472"/>
                <a:gd name="T10" fmla="*/ 328 w 411"/>
                <a:gd name="T11" fmla="*/ 328 h 472"/>
                <a:gd name="T12" fmla="*/ 348 w 411"/>
                <a:gd name="T13" fmla="*/ 307 h 472"/>
                <a:gd name="T14" fmla="*/ 348 w 411"/>
                <a:gd name="T15" fmla="*/ 286 h 472"/>
                <a:gd name="T16" fmla="*/ 328 w 411"/>
                <a:gd name="T17" fmla="*/ 286 h 472"/>
                <a:gd name="T18" fmla="*/ 328 w 411"/>
                <a:gd name="T19" fmla="*/ 266 h 472"/>
                <a:gd name="T20" fmla="*/ 348 w 411"/>
                <a:gd name="T21" fmla="*/ 225 h 472"/>
                <a:gd name="T22" fmla="*/ 369 w 411"/>
                <a:gd name="T23" fmla="*/ 184 h 472"/>
                <a:gd name="T24" fmla="*/ 369 w 411"/>
                <a:gd name="T25" fmla="*/ 164 h 472"/>
                <a:gd name="T26" fmla="*/ 390 w 411"/>
                <a:gd name="T27" fmla="*/ 122 h 472"/>
                <a:gd name="T28" fmla="*/ 410 w 411"/>
                <a:gd name="T29" fmla="*/ 143 h 472"/>
                <a:gd name="T30" fmla="*/ 410 w 411"/>
                <a:gd name="T31" fmla="*/ 122 h 472"/>
                <a:gd name="T32" fmla="*/ 410 w 411"/>
                <a:gd name="T33" fmla="*/ 82 h 472"/>
                <a:gd name="T34" fmla="*/ 390 w 411"/>
                <a:gd name="T35" fmla="*/ 61 h 472"/>
                <a:gd name="T36" fmla="*/ 369 w 411"/>
                <a:gd name="T37" fmla="*/ 20 h 472"/>
                <a:gd name="T38" fmla="*/ 348 w 411"/>
                <a:gd name="T39" fmla="*/ 0 h 472"/>
                <a:gd name="T40" fmla="*/ 328 w 411"/>
                <a:gd name="T41" fmla="*/ 0 h 472"/>
                <a:gd name="T42" fmla="*/ 308 w 411"/>
                <a:gd name="T43" fmla="*/ 20 h 472"/>
                <a:gd name="T44" fmla="*/ 287 w 411"/>
                <a:gd name="T45" fmla="*/ 40 h 472"/>
                <a:gd name="T46" fmla="*/ 266 w 411"/>
                <a:gd name="T47" fmla="*/ 40 h 472"/>
                <a:gd name="T48" fmla="*/ 205 w 411"/>
                <a:gd name="T49" fmla="*/ 40 h 472"/>
                <a:gd name="T50" fmla="*/ 164 w 411"/>
                <a:gd name="T51" fmla="*/ 40 h 472"/>
                <a:gd name="T52" fmla="*/ 123 w 411"/>
                <a:gd name="T53" fmla="*/ 40 h 472"/>
                <a:gd name="T54" fmla="*/ 103 w 411"/>
                <a:gd name="T55" fmla="*/ 61 h 472"/>
                <a:gd name="T56" fmla="*/ 82 w 411"/>
                <a:gd name="T57" fmla="*/ 82 h 472"/>
                <a:gd name="T58" fmla="*/ 82 w 411"/>
                <a:gd name="T59" fmla="*/ 82 h 472"/>
                <a:gd name="T60" fmla="*/ 103 w 411"/>
                <a:gd name="T61" fmla="*/ 102 h 472"/>
                <a:gd name="T62" fmla="*/ 82 w 411"/>
                <a:gd name="T63" fmla="*/ 122 h 472"/>
                <a:gd name="T64" fmla="*/ 62 w 411"/>
                <a:gd name="T65" fmla="*/ 143 h 472"/>
                <a:gd name="T66" fmla="*/ 41 w 411"/>
                <a:gd name="T67" fmla="*/ 164 h 472"/>
                <a:gd name="T68" fmla="*/ 21 w 411"/>
                <a:gd name="T69" fmla="*/ 164 h 472"/>
                <a:gd name="T70" fmla="*/ 0 w 411"/>
                <a:gd name="T71" fmla="*/ 204 h 472"/>
                <a:gd name="T72" fmla="*/ 0 w 411"/>
                <a:gd name="T73" fmla="*/ 246 h 472"/>
                <a:gd name="T74" fmla="*/ 0 w 411"/>
                <a:gd name="T75" fmla="*/ 307 h 472"/>
                <a:gd name="T76" fmla="*/ 0 w 411"/>
                <a:gd name="T77" fmla="*/ 348 h 472"/>
                <a:gd name="T78" fmla="*/ 0 w 411"/>
                <a:gd name="T79" fmla="*/ 368 h 472"/>
                <a:gd name="T80" fmla="*/ 41 w 411"/>
                <a:gd name="T81" fmla="*/ 389 h 472"/>
                <a:gd name="T82" fmla="*/ 62 w 411"/>
                <a:gd name="T83" fmla="*/ 389 h 472"/>
                <a:gd name="T84" fmla="*/ 82 w 411"/>
                <a:gd name="T85" fmla="*/ 389 h 472"/>
                <a:gd name="T86" fmla="*/ 103 w 411"/>
                <a:gd name="T87" fmla="*/ 410 h 472"/>
                <a:gd name="T88" fmla="*/ 123 w 411"/>
                <a:gd name="T89" fmla="*/ 430 h 472"/>
                <a:gd name="T90" fmla="*/ 144 w 411"/>
                <a:gd name="T91" fmla="*/ 430 h 472"/>
                <a:gd name="T92" fmla="*/ 164 w 411"/>
                <a:gd name="T93" fmla="*/ 450 h 472"/>
                <a:gd name="T94" fmla="*/ 185 w 411"/>
                <a:gd name="T95" fmla="*/ 471 h 472"/>
                <a:gd name="T96" fmla="*/ 205 w 411"/>
                <a:gd name="T97" fmla="*/ 471 h 472"/>
                <a:gd name="T98" fmla="*/ 246 w 411"/>
                <a:gd name="T99" fmla="*/ 450 h 472"/>
                <a:gd name="T100" fmla="*/ 246 w 411"/>
                <a:gd name="T101" fmla="*/ 430 h 472"/>
                <a:gd name="T102" fmla="*/ 246 w 411"/>
                <a:gd name="T103" fmla="*/ 410 h 472"/>
                <a:gd name="T104" fmla="*/ 246 w 411"/>
                <a:gd name="T105" fmla="*/ 389 h 472"/>
                <a:gd name="T106" fmla="*/ 246 w 411"/>
                <a:gd name="T107" fmla="*/ 389 h 472"/>
                <a:gd name="T108" fmla="*/ 266 w 411"/>
                <a:gd name="T109" fmla="*/ 410 h 472"/>
                <a:gd name="T110" fmla="*/ 287 w 411"/>
                <a:gd name="T111" fmla="*/ 389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11" h="472">
                  <a:moveTo>
                    <a:pt x="287" y="389"/>
                  </a:moveTo>
                  <a:lnTo>
                    <a:pt x="287" y="389"/>
                  </a:lnTo>
                  <a:lnTo>
                    <a:pt x="287" y="368"/>
                  </a:lnTo>
                  <a:cubicBezTo>
                    <a:pt x="308" y="368"/>
                    <a:pt x="287" y="368"/>
                    <a:pt x="308" y="348"/>
                  </a:cubicBezTo>
                  <a:lnTo>
                    <a:pt x="308" y="348"/>
                  </a:lnTo>
                  <a:cubicBezTo>
                    <a:pt x="328" y="348"/>
                    <a:pt x="328" y="328"/>
                    <a:pt x="328" y="328"/>
                  </a:cubicBezTo>
                  <a:cubicBezTo>
                    <a:pt x="328" y="328"/>
                    <a:pt x="348" y="328"/>
                    <a:pt x="348" y="307"/>
                  </a:cubicBezTo>
                  <a:lnTo>
                    <a:pt x="348" y="286"/>
                  </a:lnTo>
                  <a:cubicBezTo>
                    <a:pt x="328" y="286"/>
                    <a:pt x="328" y="286"/>
                    <a:pt x="328" y="286"/>
                  </a:cubicBezTo>
                  <a:cubicBezTo>
                    <a:pt x="308" y="286"/>
                    <a:pt x="328" y="266"/>
                    <a:pt x="328" y="266"/>
                  </a:cubicBezTo>
                  <a:cubicBezTo>
                    <a:pt x="328" y="246"/>
                    <a:pt x="348" y="246"/>
                    <a:pt x="348" y="225"/>
                  </a:cubicBezTo>
                  <a:cubicBezTo>
                    <a:pt x="348" y="225"/>
                    <a:pt x="369" y="204"/>
                    <a:pt x="369" y="184"/>
                  </a:cubicBezTo>
                  <a:lnTo>
                    <a:pt x="369" y="164"/>
                  </a:lnTo>
                  <a:cubicBezTo>
                    <a:pt x="369" y="143"/>
                    <a:pt x="390" y="122"/>
                    <a:pt x="390" y="122"/>
                  </a:cubicBezTo>
                  <a:cubicBezTo>
                    <a:pt x="390" y="122"/>
                    <a:pt x="390" y="143"/>
                    <a:pt x="410" y="143"/>
                  </a:cubicBezTo>
                  <a:lnTo>
                    <a:pt x="410" y="122"/>
                  </a:lnTo>
                  <a:cubicBezTo>
                    <a:pt x="410" y="122"/>
                    <a:pt x="410" y="102"/>
                    <a:pt x="410" y="82"/>
                  </a:cubicBezTo>
                  <a:lnTo>
                    <a:pt x="390" y="61"/>
                  </a:lnTo>
                  <a:cubicBezTo>
                    <a:pt x="369" y="40"/>
                    <a:pt x="369" y="40"/>
                    <a:pt x="369" y="20"/>
                  </a:cubicBezTo>
                  <a:cubicBezTo>
                    <a:pt x="348" y="20"/>
                    <a:pt x="348" y="20"/>
                    <a:pt x="348" y="0"/>
                  </a:cubicBezTo>
                  <a:cubicBezTo>
                    <a:pt x="328" y="0"/>
                    <a:pt x="328" y="0"/>
                    <a:pt x="328" y="0"/>
                  </a:cubicBezTo>
                  <a:cubicBezTo>
                    <a:pt x="328" y="20"/>
                    <a:pt x="308" y="20"/>
                    <a:pt x="308" y="20"/>
                  </a:cubicBezTo>
                  <a:cubicBezTo>
                    <a:pt x="308" y="40"/>
                    <a:pt x="308" y="40"/>
                    <a:pt x="287" y="40"/>
                  </a:cubicBezTo>
                  <a:lnTo>
                    <a:pt x="266" y="40"/>
                  </a:lnTo>
                  <a:cubicBezTo>
                    <a:pt x="246" y="40"/>
                    <a:pt x="226" y="40"/>
                    <a:pt x="205" y="40"/>
                  </a:cubicBezTo>
                  <a:lnTo>
                    <a:pt x="164" y="40"/>
                  </a:lnTo>
                  <a:cubicBezTo>
                    <a:pt x="144" y="40"/>
                    <a:pt x="144" y="40"/>
                    <a:pt x="123" y="40"/>
                  </a:cubicBezTo>
                  <a:lnTo>
                    <a:pt x="103" y="61"/>
                  </a:lnTo>
                  <a:cubicBezTo>
                    <a:pt x="103" y="61"/>
                    <a:pt x="82" y="61"/>
                    <a:pt x="82" y="82"/>
                  </a:cubicBezTo>
                  <a:lnTo>
                    <a:pt x="82" y="82"/>
                  </a:lnTo>
                  <a:cubicBezTo>
                    <a:pt x="82" y="102"/>
                    <a:pt x="82" y="102"/>
                    <a:pt x="103" y="102"/>
                  </a:cubicBezTo>
                  <a:lnTo>
                    <a:pt x="82" y="122"/>
                  </a:lnTo>
                  <a:cubicBezTo>
                    <a:pt x="82" y="143"/>
                    <a:pt x="62" y="143"/>
                    <a:pt x="62" y="143"/>
                  </a:cubicBezTo>
                  <a:cubicBezTo>
                    <a:pt x="41" y="143"/>
                    <a:pt x="41" y="143"/>
                    <a:pt x="41" y="164"/>
                  </a:cubicBezTo>
                  <a:cubicBezTo>
                    <a:pt x="21" y="164"/>
                    <a:pt x="21" y="164"/>
                    <a:pt x="21" y="164"/>
                  </a:cubicBezTo>
                  <a:cubicBezTo>
                    <a:pt x="0" y="184"/>
                    <a:pt x="0" y="204"/>
                    <a:pt x="0" y="204"/>
                  </a:cubicBezTo>
                  <a:cubicBezTo>
                    <a:pt x="0" y="225"/>
                    <a:pt x="0" y="246"/>
                    <a:pt x="0" y="246"/>
                  </a:cubicBezTo>
                  <a:cubicBezTo>
                    <a:pt x="0" y="266"/>
                    <a:pt x="0" y="286"/>
                    <a:pt x="0" y="307"/>
                  </a:cubicBezTo>
                  <a:cubicBezTo>
                    <a:pt x="0" y="307"/>
                    <a:pt x="0" y="328"/>
                    <a:pt x="0" y="348"/>
                  </a:cubicBezTo>
                  <a:lnTo>
                    <a:pt x="0" y="368"/>
                  </a:lnTo>
                  <a:cubicBezTo>
                    <a:pt x="21" y="368"/>
                    <a:pt x="21" y="389"/>
                    <a:pt x="41" y="389"/>
                  </a:cubicBezTo>
                  <a:lnTo>
                    <a:pt x="62" y="389"/>
                  </a:lnTo>
                  <a:lnTo>
                    <a:pt x="82" y="389"/>
                  </a:lnTo>
                  <a:cubicBezTo>
                    <a:pt x="82" y="410"/>
                    <a:pt x="103" y="410"/>
                    <a:pt x="103" y="410"/>
                  </a:cubicBezTo>
                  <a:cubicBezTo>
                    <a:pt x="103" y="430"/>
                    <a:pt x="123" y="410"/>
                    <a:pt x="123" y="430"/>
                  </a:cubicBezTo>
                  <a:cubicBezTo>
                    <a:pt x="144" y="430"/>
                    <a:pt x="144" y="430"/>
                    <a:pt x="144" y="430"/>
                  </a:cubicBezTo>
                  <a:cubicBezTo>
                    <a:pt x="144" y="430"/>
                    <a:pt x="144" y="450"/>
                    <a:pt x="164" y="450"/>
                  </a:cubicBezTo>
                  <a:cubicBezTo>
                    <a:pt x="164" y="450"/>
                    <a:pt x="164" y="450"/>
                    <a:pt x="185" y="471"/>
                  </a:cubicBezTo>
                  <a:lnTo>
                    <a:pt x="205" y="471"/>
                  </a:lnTo>
                  <a:cubicBezTo>
                    <a:pt x="226" y="450"/>
                    <a:pt x="226" y="450"/>
                    <a:pt x="246" y="450"/>
                  </a:cubicBezTo>
                  <a:lnTo>
                    <a:pt x="246" y="430"/>
                  </a:lnTo>
                  <a:lnTo>
                    <a:pt x="246" y="410"/>
                  </a:lnTo>
                  <a:cubicBezTo>
                    <a:pt x="246" y="410"/>
                    <a:pt x="226" y="410"/>
                    <a:pt x="246" y="389"/>
                  </a:cubicBezTo>
                  <a:lnTo>
                    <a:pt x="246" y="389"/>
                  </a:lnTo>
                  <a:cubicBezTo>
                    <a:pt x="266" y="389"/>
                    <a:pt x="266" y="410"/>
                    <a:pt x="266" y="410"/>
                  </a:cubicBezTo>
                  <a:cubicBezTo>
                    <a:pt x="287" y="410"/>
                    <a:pt x="287" y="389"/>
                    <a:pt x="287" y="389"/>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1" name="Freeform 68">
              <a:extLst>
                <a:ext uri="{FF2B5EF4-FFF2-40B4-BE49-F238E27FC236}">
                  <a16:creationId xmlns:a16="http://schemas.microsoft.com/office/drawing/2014/main" id="{0C0C4E43-3A1D-F24E-A6EE-1A01CC28582F}"/>
                </a:ext>
              </a:extLst>
            </p:cNvPr>
            <p:cNvSpPr>
              <a:spLocks noChangeArrowheads="1"/>
            </p:cNvSpPr>
            <p:nvPr/>
          </p:nvSpPr>
          <p:spPr bwMode="auto">
            <a:xfrm>
              <a:off x="2994025" y="3549650"/>
              <a:ext cx="3090863" cy="2795588"/>
            </a:xfrm>
            <a:custGeom>
              <a:avLst/>
              <a:gdLst>
                <a:gd name="T0" fmla="*/ 287 w 8586"/>
                <a:gd name="T1" fmla="*/ 3545 h 7766"/>
                <a:gd name="T2" fmla="*/ 656 w 8586"/>
                <a:gd name="T3" fmla="*/ 3238 h 7766"/>
                <a:gd name="T4" fmla="*/ 902 w 8586"/>
                <a:gd name="T5" fmla="*/ 2889 h 7766"/>
                <a:gd name="T6" fmla="*/ 1127 w 8586"/>
                <a:gd name="T7" fmla="*/ 2357 h 7766"/>
                <a:gd name="T8" fmla="*/ 1414 w 8586"/>
                <a:gd name="T9" fmla="*/ 1598 h 7766"/>
                <a:gd name="T10" fmla="*/ 2111 w 8586"/>
                <a:gd name="T11" fmla="*/ 1701 h 7766"/>
                <a:gd name="T12" fmla="*/ 2888 w 8586"/>
                <a:gd name="T13" fmla="*/ 2377 h 7766"/>
                <a:gd name="T14" fmla="*/ 4056 w 8586"/>
                <a:gd name="T15" fmla="*/ 2828 h 7766"/>
                <a:gd name="T16" fmla="*/ 5306 w 8586"/>
                <a:gd name="T17" fmla="*/ 2767 h 7766"/>
                <a:gd name="T18" fmla="*/ 5613 w 8586"/>
                <a:gd name="T19" fmla="*/ 2193 h 7766"/>
                <a:gd name="T20" fmla="*/ 6064 w 8586"/>
                <a:gd name="T21" fmla="*/ 1762 h 7766"/>
                <a:gd name="T22" fmla="*/ 6269 w 8586"/>
                <a:gd name="T23" fmla="*/ 1455 h 7766"/>
                <a:gd name="T24" fmla="*/ 5777 w 8586"/>
                <a:gd name="T25" fmla="*/ 1496 h 7766"/>
                <a:gd name="T26" fmla="*/ 5859 w 8586"/>
                <a:gd name="T27" fmla="*/ 1025 h 7766"/>
                <a:gd name="T28" fmla="*/ 5859 w 8586"/>
                <a:gd name="T29" fmla="*/ 205 h 7766"/>
                <a:gd name="T30" fmla="*/ 6638 w 8586"/>
                <a:gd name="T31" fmla="*/ 103 h 7766"/>
                <a:gd name="T32" fmla="*/ 7130 w 8586"/>
                <a:gd name="T33" fmla="*/ 636 h 7766"/>
                <a:gd name="T34" fmla="*/ 7908 w 8586"/>
                <a:gd name="T35" fmla="*/ 1148 h 7766"/>
                <a:gd name="T36" fmla="*/ 8482 w 8586"/>
                <a:gd name="T37" fmla="*/ 1332 h 7766"/>
                <a:gd name="T38" fmla="*/ 8339 w 8586"/>
                <a:gd name="T39" fmla="*/ 1968 h 7766"/>
                <a:gd name="T40" fmla="*/ 8339 w 8586"/>
                <a:gd name="T41" fmla="*/ 2480 h 7766"/>
                <a:gd name="T42" fmla="*/ 7950 w 8586"/>
                <a:gd name="T43" fmla="*/ 2787 h 7766"/>
                <a:gd name="T44" fmla="*/ 7622 w 8586"/>
                <a:gd name="T45" fmla="*/ 3217 h 7766"/>
                <a:gd name="T46" fmla="*/ 7396 w 8586"/>
                <a:gd name="T47" fmla="*/ 3402 h 7766"/>
                <a:gd name="T48" fmla="*/ 7171 w 8586"/>
                <a:gd name="T49" fmla="*/ 3033 h 7766"/>
                <a:gd name="T50" fmla="*/ 6802 w 8586"/>
                <a:gd name="T51" fmla="*/ 3463 h 7766"/>
                <a:gd name="T52" fmla="*/ 7232 w 8586"/>
                <a:gd name="T53" fmla="*/ 3873 h 7766"/>
                <a:gd name="T54" fmla="*/ 7622 w 8586"/>
                <a:gd name="T55" fmla="*/ 3750 h 7766"/>
                <a:gd name="T56" fmla="*/ 7519 w 8586"/>
                <a:gd name="T57" fmla="*/ 3975 h 7766"/>
                <a:gd name="T58" fmla="*/ 7376 w 8586"/>
                <a:gd name="T59" fmla="*/ 4364 h 7766"/>
                <a:gd name="T60" fmla="*/ 7765 w 8586"/>
                <a:gd name="T61" fmla="*/ 4855 h 7766"/>
                <a:gd name="T62" fmla="*/ 7929 w 8586"/>
                <a:gd name="T63" fmla="*/ 5081 h 7766"/>
                <a:gd name="T64" fmla="*/ 7601 w 8586"/>
                <a:gd name="T65" fmla="*/ 5040 h 7766"/>
                <a:gd name="T66" fmla="*/ 8032 w 8586"/>
                <a:gd name="T67" fmla="*/ 5286 h 7766"/>
                <a:gd name="T68" fmla="*/ 7888 w 8586"/>
                <a:gd name="T69" fmla="*/ 5450 h 7766"/>
                <a:gd name="T70" fmla="*/ 8093 w 8586"/>
                <a:gd name="T71" fmla="*/ 5655 h 7766"/>
                <a:gd name="T72" fmla="*/ 8052 w 8586"/>
                <a:gd name="T73" fmla="*/ 5941 h 7766"/>
                <a:gd name="T74" fmla="*/ 7970 w 8586"/>
                <a:gd name="T75" fmla="*/ 6269 h 7766"/>
                <a:gd name="T76" fmla="*/ 7970 w 8586"/>
                <a:gd name="T77" fmla="*/ 6454 h 7766"/>
                <a:gd name="T78" fmla="*/ 7868 w 8586"/>
                <a:gd name="T79" fmla="*/ 6679 h 7766"/>
                <a:gd name="T80" fmla="*/ 7765 w 8586"/>
                <a:gd name="T81" fmla="*/ 6843 h 7766"/>
                <a:gd name="T82" fmla="*/ 7519 w 8586"/>
                <a:gd name="T83" fmla="*/ 7171 h 7766"/>
                <a:gd name="T84" fmla="*/ 7274 w 8586"/>
                <a:gd name="T85" fmla="*/ 7192 h 7766"/>
                <a:gd name="T86" fmla="*/ 7068 w 8586"/>
                <a:gd name="T87" fmla="*/ 7335 h 7766"/>
                <a:gd name="T88" fmla="*/ 6884 w 8586"/>
                <a:gd name="T89" fmla="*/ 7458 h 7766"/>
                <a:gd name="T90" fmla="*/ 6618 w 8586"/>
                <a:gd name="T91" fmla="*/ 7622 h 7766"/>
                <a:gd name="T92" fmla="*/ 6515 w 8586"/>
                <a:gd name="T93" fmla="*/ 7622 h 7766"/>
                <a:gd name="T94" fmla="*/ 6290 w 8586"/>
                <a:gd name="T95" fmla="*/ 7438 h 7766"/>
                <a:gd name="T96" fmla="*/ 5819 w 8586"/>
                <a:gd name="T97" fmla="*/ 7192 h 7766"/>
                <a:gd name="T98" fmla="*/ 5265 w 8586"/>
                <a:gd name="T99" fmla="*/ 7294 h 7766"/>
                <a:gd name="T100" fmla="*/ 5142 w 8586"/>
                <a:gd name="T101" fmla="*/ 7622 h 7766"/>
                <a:gd name="T102" fmla="*/ 4712 w 8586"/>
                <a:gd name="T103" fmla="*/ 7274 h 7766"/>
                <a:gd name="T104" fmla="*/ 4364 w 8586"/>
                <a:gd name="T105" fmla="*/ 7007 h 7766"/>
                <a:gd name="T106" fmla="*/ 4364 w 8586"/>
                <a:gd name="T107" fmla="*/ 6249 h 7766"/>
                <a:gd name="T108" fmla="*/ 3954 w 8586"/>
                <a:gd name="T109" fmla="*/ 5880 h 7766"/>
                <a:gd name="T110" fmla="*/ 3257 w 8586"/>
                <a:gd name="T111" fmla="*/ 6126 h 7766"/>
                <a:gd name="T112" fmla="*/ 2766 w 8586"/>
                <a:gd name="T113" fmla="*/ 6167 h 7766"/>
                <a:gd name="T114" fmla="*/ 1988 w 8586"/>
                <a:gd name="T115" fmla="*/ 5941 h 7766"/>
                <a:gd name="T116" fmla="*/ 1434 w 8586"/>
                <a:gd name="T117" fmla="*/ 5737 h 7766"/>
                <a:gd name="T118" fmla="*/ 963 w 8586"/>
                <a:gd name="T119" fmla="*/ 5286 h 7766"/>
                <a:gd name="T120" fmla="*/ 1066 w 8586"/>
                <a:gd name="T121" fmla="*/ 4876 h 7766"/>
                <a:gd name="T122" fmla="*/ 410 w 8586"/>
                <a:gd name="T123" fmla="*/ 4466 h 7766"/>
                <a:gd name="T124" fmla="*/ 184 w 8586"/>
                <a:gd name="T125" fmla="*/ 3914 h 7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586" h="7766">
                  <a:moveTo>
                    <a:pt x="0" y="3709"/>
                  </a:moveTo>
                  <a:lnTo>
                    <a:pt x="0" y="3709"/>
                  </a:lnTo>
                  <a:lnTo>
                    <a:pt x="0" y="3709"/>
                  </a:lnTo>
                  <a:lnTo>
                    <a:pt x="20" y="3689"/>
                  </a:lnTo>
                  <a:lnTo>
                    <a:pt x="20" y="3668"/>
                  </a:lnTo>
                  <a:cubicBezTo>
                    <a:pt x="20" y="3647"/>
                    <a:pt x="0" y="3647"/>
                    <a:pt x="0" y="3647"/>
                  </a:cubicBezTo>
                  <a:cubicBezTo>
                    <a:pt x="0" y="3627"/>
                    <a:pt x="0" y="3627"/>
                    <a:pt x="0" y="3607"/>
                  </a:cubicBezTo>
                  <a:cubicBezTo>
                    <a:pt x="0" y="3607"/>
                    <a:pt x="20" y="3607"/>
                    <a:pt x="20" y="3586"/>
                  </a:cubicBezTo>
                  <a:lnTo>
                    <a:pt x="41" y="3586"/>
                  </a:lnTo>
                  <a:cubicBezTo>
                    <a:pt x="62" y="3565"/>
                    <a:pt x="62" y="3565"/>
                    <a:pt x="62" y="3565"/>
                  </a:cubicBezTo>
                  <a:cubicBezTo>
                    <a:pt x="82" y="3545"/>
                    <a:pt x="82" y="3565"/>
                    <a:pt x="102" y="3565"/>
                  </a:cubicBezTo>
                  <a:cubicBezTo>
                    <a:pt x="102" y="3545"/>
                    <a:pt x="144" y="3545"/>
                    <a:pt x="144" y="3545"/>
                  </a:cubicBezTo>
                  <a:cubicBezTo>
                    <a:pt x="164" y="3525"/>
                    <a:pt x="164" y="3525"/>
                    <a:pt x="164" y="3504"/>
                  </a:cubicBezTo>
                  <a:lnTo>
                    <a:pt x="164" y="3483"/>
                  </a:lnTo>
                  <a:lnTo>
                    <a:pt x="164" y="3483"/>
                  </a:lnTo>
                  <a:cubicBezTo>
                    <a:pt x="184" y="3483"/>
                    <a:pt x="184" y="3483"/>
                    <a:pt x="184" y="3483"/>
                  </a:cubicBezTo>
                  <a:cubicBezTo>
                    <a:pt x="205" y="3483"/>
                    <a:pt x="226" y="3483"/>
                    <a:pt x="226" y="3483"/>
                  </a:cubicBezTo>
                  <a:cubicBezTo>
                    <a:pt x="246" y="3483"/>
                    <a:pt x="246" y="3463"/>
                    <a:pt x="246" y="3463"/>
                  </a:cubicBezTo>
                  <a:lnTo>
                    <a:pt x="266" y="3463"/>
                  </a:lnTo>
                  <a:cubicBezTo>
                    <a:pt x="287" y="3483"/>
                    <a:pt x="287" y="3483"/>
                    <a:pt x="287" y="3483"/>
                  </a:cubicBezTo>
                  <a:cubicBezTo>
                    <a:pt x="287" y="3504"/>
                    <a:pt x="287" y="3504"/>
                    <a:pt x="287" y="3525"/>
                  </a:cubicBezTo>
                  <a:cubicBezTo>
                    <a:pt x="287" y="3525"/>
                    <a:pt x="287" y="3525"/>
                    <a:pt x="287" y="3545"/>
                  </a:cubicBezTo>
                  <a:cubicBezTo>
                    <a:pt x="287" y="3545"/>
                    <a:pt x="308" y="3545"/>
                    <a:pt x="328" y="3545"/>
                  </a:cubicBezTo>
                  <a:lnTo>
                    <a:pt x="328" y="3525"/>
                  </a:lnTo>
                  <a:lnTo>
                    <a:pt x="348" y="3504"/>
                  </a:lnTo>
                  <a:cubicBezTo>
                    <a:pt x="369" y="3504"/>
                    <a:pt x="369" y="3504"/>
                    <a:pt x="390" y="3504"/>
                  </a:cubicBezTo>
                  <a:cubicBezTo>
                    <a:pt x="390" y="3504"/>
                    <a:pt x="410" y="3504"/>
                    <a:pt x="410" y="3483"/>
                  </a:cubicBezTo>
                  <a:cubicBezTo>
                    <a:pt x="410" y="3483"/>
                    <a:pt x="410" y="3463"/>
                    <a:pt x="410" y="3443"/>
                  </a:cubicBezTo>
                  <a:lnTo>
                    <a:pt x="410" y="3423"/>
                  </a:lnTo>
                  <a:cubicBezTo>
                    <a:pt x="410" y="3402"/>
                    <a:pt x="410" y="3402"/>
                    <a:pt x="410" y="3402"/>
                  </a:cubicBezTo>
                  <a:cubicBezTo>
                    <a:pt x="410" y="3381"/>
                    <a:pt x="410" y="3381"/>
                    <a:pt x="410" y="3361"/>
                  </a:cubicBezTo>
                  <a:lnTo>
                    <a:pt x="410" y="3361"/>
                  </a:lnTo>
                  <a:cubicBezTo>
                    <a:pt x="430" y="3341"/>
                    <a:pt x="451" y="3361"/>
                    <a:pt x="451" y="3361"/>
                  </a:cubicBezTo>
                  <a:lnTo>
                    <a:pt x="472" y="3341"/>
                  </a:lnTo>
                  <a:cubicBezTo>
                    <a:pt x="472" y="3341"/>
                    <a:pt x="492" y="3341"/>
                    <a:pt x="512" y="3341"/>
                  </a:cubicBezTo>
                  <a:lnTo>
                    <a:pt x="533" y="3341"/>
                  </a:lnTo>
                  <a:cubicBezTo>
                    <a:pt x="554" y="3341"/>
                    <a:pt x="554" y="3341"/>
                    <a:pt x="574" y="3341"/>
                  </a:cubicBezTo>
                  <a:lnTo>
                    <a:pt x="594" y="3341"/>
                  </a:lnTo>
                  <a:lnTo>
                    <a:pt x="615" y="3361"/>
                  </a:lnTo>
                  <a:lnTo>
                    <a:pt x="635" y="3361"/>
                  </a:lnTo>
                  <a:cubicBezTo>
                    <a:pt x="656" y="3361"/>
                    <a:pt x="656" y="3341"/>
                    <a:pt x="656" y="3341"/>
                  </a:cubicBezTo>
                  <a:cubicBezTo>
                    <a:pt x="656" y="3320"/>
                    <a:pt x="656" y="3320"/>
                    <a:pt x="656" y="3299"/>
                  </a:cubicBezTo>
                  <a:cubicBezTo>
                    <a:pt x="656" y="3299"/>
                    <a:pt x="656" y="3279"/>
                    <a:pt x="656" y="3259"/>
                  </a:cubicBezTo>
                  <a:cubicBezTo>
                    <a:pt x="656" y="3259"/>
                    <a:pt x="635" y="3259"/>
                    <a:pt x="656" y="3238"/>
                  </a:cubicBezTo>
                  <a:lnTo>
                    <a:pt x="676" y="3217"/>
                  </a:lnTo>
                  <a:cubicBezTo>
                    <a:pt x="696" y="3217"/>
                    <a:pt x="696" y="3217"/>
                    <a:pt x="717" y="3197"/>
                  </a:cubicBezTo>
                  <a:cubicBezTo>
                    <a:pt x="717" y="3197"/>
                    <a:pt x="738" y="3197"/>
                    <a:pt x="758" y="3197"/>
                  </a:cubicBezTo>
                  <a:cubicBezTo>
                    <a:pt x="778" y="3197"/>
                    <a:pt x="778" y="3197"/>
                    <a:pt x="799" y="3197"/>
                  </a:cubicBezTo>
                  <a:cubicBezTo>
                    <a:pt x="799" y="3197"/>
                    <a:pt x="820" y="3177"/>
                    <a:pt x="840" y="3177"/>
                  </a:cubicBezTo>
                  <a:lnTo>
                    <a:pt x="860" y="3156"/>
                  </a:lnTo>
                  <a:cubicBezTo>
                    <a:pt x="860" y="3135"/>
                    <a:pt x="860" y="3135"/>
                    <a:pt x="860" y="3135"/>
                  </a:cubicBezTo>
                  <a:cubicBezTo>
                    <a:pt x="860" y="3115"/>
                    <a:pt x="881" y="3115"/>
                    <a:pt x="881" y="3115"/>
                  </a:cubicBezTo>
                  <a:lnTo>
                    <a:pt x="902" y="3115"/>
                  </a:lnTo>
                  <a:cubicBezTo>
                    <a:pt x="902" y="3115"/>
                    <a:pt x="902" y="3115"/>
                    <a:pt x="902" y="3095"/>
                  </a:cubicBezTo>
                  <a:cubicBezTo>
                    <a:pt x="902" y="3095"/>
                    <a:pt x="902" y="3095"/>
                    <a:pt x="902" y="3074"/>
                  </a:cubicBezTo>
                  <a:lnTo>
                    <a:pt x="881" y="3074"/>
                  </a:lnTo>
                  <a:lnTo>
                    <a:pt x="881" y="3053"/>
                  </a:lnTo>
                  <a:lnTo>
                    <a:pt x="881" y="3033"/>
                  </a:lnTo>
                  <a:lnTo>
                    <a:pt x="881" y="3033"/>
                  </a:lnTo>
                  <a:lnTo>
                    <a:pt x="881" y="3013"/>
                  </a:lnTo>
                  <a:lnTo>
                    <a:pt x="881" y="2992"/>
                  </a:lnTo>
                  <a:lnTo>
                    <a:pt x="881" y="2971"/>
                  </a:lnTo>
                  <a:lnTo>
                    <a:pt x="881" y="2951"/>
                  </a:lnTo>
                  <a:lnTo>
                    <a:pt x="881" y="2931"/>
                  </a:lnTo>
                  <a:lnTo>
                    <a:pt x="881" y="2910"/>
                  </a:lnTo>
                  <a:cubicBezTo>
                    <a:pt x="881" y="2889"/>
                    <a:pt x="902" y="2889"/>
                    <a:pt x="902" y="2889"/>
                  </a:cubicBezTo>
                  <a:cubicBezTo>
                    <a:pt x="922" y="2869"/>
                    <a:pt x="942" y="2889"/>
                    <a:pt x="942" y="2869"/>
                  </a:cubicBezTo>
                  <a:cubicBezTo>
                    <a:pt x="942" y="2869"/>
                    <a:pt x="942" y="2849"/>
                    <a:pt x="942" y="2828"/>
                  </a:cubicBezTo>
                  <a:lnTo>
                    <a:pt x="902" y="2807"/>
                  </a:lnTo>
                  <a:cubicBezTo>
                    <a:pt x="902" y="2787"/>
                    <a:pt x="881" y="2767"/>
                    <a:pt x="881" y="2746"/>
                  </a:cubicBezTo>
                  <a:cubicBezTo>
                    <a:pt x="881" y="2726"/>
                    <a:pt x="860" y="2705"/>
                    <a:pt x="860" y="2705"/>
                  </a:cubicBezTo>
                  <a:cubicBezTo>
                    <a:pt x="860" y="2685"/>
                    <a:pt x="881" y="2685"/>
                    <a:pt x="881" y="2664"/>
                  </a:cubicBezTo>
                  <a:lnTo>
                    <a:pt x="860" y="2644"/>
                  </a:lnTo>
                  <a:cubicBezTo>
                    <a:pt x="840" y="2623"/>
                    <a:pt x="820" y="2582"/>
                    <a:pt x="820" y="2562"/>
                  </a:cubicBezTo>
                  <a:cubicBezTo>
                    <a:pt x="820" y="2541"/>
                    <a:pt x="820" y="2521"/>
                    <a:pt x="820" y="2500"/>
                  </a:cubicBezTo>
                  <a:cubicBezTo>
                    <a:pt x="820" y="2480"/>
                    <a:pt x="820" y="2459"/>
                    <a:pt x="799" y="2459"/>
                  </a:cubicBezTo>
                  <a:cubicBezTo>
                    <a:pt x="799" y="2439"/>
                    <a:pt x="778" y="2418"/>
                    <a:pt x="778" y="2418"/>
                  </a:cubicBezTo>
                  <a:cubicBezTo>
                    <a:pt x="758" y="2398"/>
                    <a:pt x="738" y="2418"/>
                    <a:pt x="717" y="2418"/>
                  </a:cubicBezTo>
                  <a:cubicBezTo>
                    <a:pt x="717" y="2398"/>
                    <a:pt x="717" y="2398"/>
                    <a:pt x="717" y="2377"/>
                  </a:cubicBezTo>
                  <a:lnTo>
                    <a:pt x="738" y="2357"/>
                  </a:lnTo>
                  <a:cubicBezTo>
                    <a:pt x="738" y="2336"/>
                    <a:pt x="758" y="2336"/>
                    <a:pt x="778" y="2336"/>
                  </a:cubicBezTo>
                  <a:cubicBezTo>
                    <a:pt x="778" y="2316"/>
                    <a:pt x="820" y="2316"/>
                    <a:pt x="820" y="2336"/>
                  </a:cubicBezTo>
                  <a:cubicBezTo>
                    <a:pt x="840" y="2336"/>
                    <a:pt x="860" y="2357"/>
                    <a:pt x="881" y="2357"/>
                  </a:cubicBezTo>
                  <a:cubicBezTo>
                    <a:pt x="902" y="2357"/>
                    <a:pt x="922" y="2357"/>
                    <a:pt x="942" y="2357"/>
                  </a:cubicBezTo>
                  <a:cubicBezTo>
                    <a:pt x="942" y="2357"/>
                    <a:pt x="963" y="2336"/>
                    <a:pt x="984" y="2336"/>
                  </a:cubicBezTo>
                  <a:cubicBezTo>
                    <a:pt x="1004" y="2336"/>
                    <a:pt x="1024" y="2357"/>
                    <a:pt x="1045" y="2357"/>
                  </a:cubicBezTo>
                  <a:lnTo>
                    <a:pt x="1086" y="2357"/>
                  </a:lnTo>
                  <a:cubicBezTo>
                    <a:pt x="1106" y="2357"/>
                    <a:pt x="1127" y="2377"/>
                    <a:pt x="1127" y="2357"/>
                  </a:cubicBezTo>
                  <a:cubicBezTo>
                    <a:pt x="1148" y="2357"/>
                    <a:pt x="1148" y="2336"/>
                    <a:pt x="1148" y="2336"/>
                  </a:cubicBezTo>
                  <a:cubicBezTo>
                    <a:pt x="1168" y="2316"/>
                    <a:pt x="1168" y="2316"/>
                    <a:pt x="1148" y="2295"/>
                  </a:cubicBezTo>
                  <a:lnTo>
                    <a:pt x="1127" y="2275"/>
                  </a:lnTo>
                  <a:cubicBezTo>
                    <a:pt x="1106" y="2275"/>
                    <a:pt x="1086" y="2234"/>
                    <a:pt x="1086" y="2234"/>
                  </a:cubicBezTo>
                  <a:cubicBezTo>
                    <a:pt x="1086" y="2213"/>
                    <a:pt x="1086" y="2193"/>
                    <a:pt x="1066" y="2172"/>
                  </a:cubicBezTo>
                  <a:cubicBezTo>
                    <a:pt x="1066" y="2152"/>
                    <a:pt x="1066" y="2131"/>
                    <a:pt x="1066" y="2111"/>
                  </a:cubicBezTo>
                  <a:cubicBezTo>
                    <a:pt x="1066" y="2090"/>
                    <a:pt x="1086" y="2070"/>
                    <a:pt x="1086" y="2050"/>
                  </a:cubicBezTo>
                  <a:cubicBezTo>
                    <a:pt x="1086" y="2029"/>
                    <a:pt x="1086" y="1988"/>
                    <a:pt x="1086" y="1947"/>
                  </a:cubicBezTo>
                  <a:lnTo>
                    <a:pt x="1086" y="1926"/>
                  </a:lnTo>
                  <a:cubicBezTo>
                    <a:pt x="1106" y="1926"/>
                    <a:pt x="1106" y="1906"/>
                    <a:pt x="1106" y="1906"/>
                  </a:cubicBezTo>
                  <a:cubicBezTo>
                    <a:pt x="1127" y="1906"/>
                    <a:pt x="1148" y="1906"/>
                    <a:pt x="1168" y="1906"/>
                  </a:cubicBezTo>
                  <a:cubicBezTo>
                    <a:pt x="1168" y="1926"/>
                    <a:pt x="1209" y="1926"/>
                    <a:pt x="1230" y="1947"/>
                  </a:cubicBezTo>
                  <a:lnTo>
                    <a:pt x="1270" y="1947"/>
                  </a:lnTo>
                  <a:cubicBezTo>
                    <a:pt x="1291" y="1947"/>
                    <a:pt x="1332" y="1947"/>
                    <a:pt x="1352" y="1947"/>
                  </a:cubicBezTo>
                  <a:cubicBezTo>
                    <a:pt x="1373" y="1947"/>
                    <a:pt x="1393" y="1926"/>
                    <a:pt x="1414" y="1926"/>
                  </a:cubicBezTo>
                  <a:cubicBezTo>
                    <a:pt x="1434" y="1926"/>
                    <a:pt x="1434" y="1906"/>
                    <a:pt x="1455" y="1906"/>
                  </a:cubicBezTo>
                  <a:cubicBezTo>
                    <a:pt x="1455" y="1886"/>
                    <a:pt x="1455" y="1865"/>
                    <a:pt x="1455" y="1844"/>
                  </a:cubicBezTo>
                  <a:cubicBezTo>
                    <a:pt x="1455" y="1844"/>
                    <a:pt x="1455" y="1804"/>
                    <a:pt x="1434" y="1804"/>
                  </a:cubicBezTo>
                  <a:cubicBezTo>
                    <a:pt x="1434" y="1783"/>
                    <a:pt x="1414" y="1742"/>
                    <a:pt x="1414" y="1722"/>
                  </a:cubicBezTo>
                  <a:cubicBezTo>
                    <a:pt x="1414" y="1701"/>
                    <a:pt x="1393" y="1680"/>
                    <a:pt x="1393" y="1660"/>
                  </a:cubicBezTo>
                  <a:cubicBezTo>
                    <a:pt x="1393" y="1660"/>
                    <a:pt x="1393" y="1640"/>
                    <a:pt x="1414" y="1619"/>
                  </a:cubicBezTo>
                  <a:lnTo>
                    <a:pt x="1414" y="1598"/>
                  </a:lnTo>
                  <a:cubicBezTo>
                    <a:pt x="1434" y="1598"/>
                    <a:pt x="1455" y="1598"/>
                    <a:pt x="1455" y="1598"/>
                  </a:cubicBezTo>
                  <a:cubicBezTo>
                    <a:pt x="1475" y="1578"/>
                    <a:pt x="1496" y="1578"/>
                    <a:pt x="1516" y="1558"/>
                  </a:cubicBezTo>
                  <a:lnTo>
                    <a:pt x="1537" y="1537"/>
                  </a:lnTo>
                  <a:cubicBezTo>
                    <a:pt x="1537" y="1516"/>
                    <a:pt x="1537" y="1496"/>
                    <a:pt x="1537" y="1476"/>
                  </a:cubicBezTo>
                  <a:lnTo>
                    <a:pt x="1537" y="1455"/>
                  </a:lnTo>
                  <a:cubicBezTo>
                    <a:pt x="1557" y="1434"/>
                    <a:pt x="1557" y="1434"/>
                    <a:pt x="1557" y="1414"/>
                  </a:cubicBezTo>
                  <a:cubicBezTo>
                    <a:pt x="1578" y="1414"/>
                    <a:pt x="1578" y="1414"/>
                    <a:pt x="1598" y="1414"/>
                  </a:cubicBezTo>
                  <a:cubicBezTo>
                    <a:pt x="1598" y="1414"/>
                    <a:pt x="1619" y="1414"/>
                    <a:pt x="1639" y="1414"/>
                  </a:cubicBezTo>
                  <a:lnTo>
                    <a:pt x="1680" y="1414"/>
                  </a:lnTo>
                  <a:cubicBezTo>
                    <a:pt x="1701" y="1414"/>
                    <a:pt x="1701" y="1414"/>
                    <a:pt x="1701" y="1414"/>
                  </a:cubicBezTo>
                  <a:cubicBezTo>
                    <a:pt x="1701" y="1434"/>
                    <a:pt x="1701" y="1455"/>
                    <a:pt x="1701" y="1455"/>
                  </a:cubicBezTo>
                  <a:cubicBezTo>
                    <a:pt x="1701" y="1476"/>
                    <a:pt x="1721" y="1476"/>
                    <a:pt x="1721" y="1496"/>
                  </a:cubicBezTo>
                  <a:cubicBezTo>
                    <a:pt x="1721" y="1496"/>
                    <a:pt x="1701" y="1516"/>
                    <a:pt x="1701" y="1537"/>
                  </a:cubicBezTo>
                  <a:cubicBezTo>
                    <a:pt x="1721" y="1537"/>
                    <a:pt x="1742" y="1578"/>
                    <a:pt x="1742" y="1578"/>
                  </a:cubicBezTo>
                  <a:cubicBezTo>
                    <a:pt x="1762" y="1598"/>
                    <a:pt x="1783" y="1598"/>
                    <a:pt x="1803" y="1598"/>
                  </a:cubicBezTo>
                  <a:cubicBezTo>
                    <a:pt x="1824" y="1598"/>
                    <a:pt x="1844" y="1619"/>
                    <a:pt x="1844" y="1619"/>
                  </a:cubicBezTo>
                  <a:cubicBezTo>
                    <a:pt x="1865" y="1619"/>
                    <a:pt x="1885" y="1640"/>
                    <a:pt x="1885" y="1660"/>
                  </a:cubicBezTo>
                  <a:cubicBezTo>
                    <a:pt x="1906" y="1660"/>
                    <a:pt x="1926" y="1660"/>
                    <a:pt x="1926" y="1680"/>
                  </a:cubicBezTo>
                  <a:cubicBezTo>
                    <a:pt x="1947" y="1680"/>
                    <a:pt x="1967" y="1680"/>
                    <a:pt x="1988" y="1680"/>
                  </a:cubicBezTo>
                  <a:cubicBezTo>
                    <a:pt x="1988" y="1680"/>
                    <a:pt x="2029" y="1660"/>
                    <a:pt x="2049" y="1680"/>
                  </a:cubicBezTo>
                  <a:lnTo>
                    <a:pt x="2070" y="1680"/>
                  </a:lnTo>
                  <a:cubicBezTo>
                    <a:pt x="2090" y="1701"/>
                    <a:pt x="2090" y="1701"/>
                    <a:pt x="2111" y="1701"/>
                  </a:cubicBezTo>
                  <a:cubicBezTo>
                    <a:pt x="2131" y="1701"/>
                    <a:pt x="2151" y="1701"/>
                    <a:pt x="2172" y="1701"/>
                  </a:cubicBezTo>
                  <a:cubicBezTo>
                    <a:pt x="2172" y="1722"/>
                    <a:pt x="2172" y="1742"/>
                    <a:pt x="2172" y="1762"/>
                  </a:cubicBezTo>
                  <a:cubicBezTo>
                    <a:pt x="2172" y="1762"/>
                    <a:pt x="2172" y="1783"/>
                    <a:pt x="2151" y="1804"/>
                  </a:cubicBezTo>
                  <a:cubicBezTo>
                    <a:pt x="2151" y="1804"/>
                    <a:pt x="2151" y="1824"/>
                    <a:pt x="2151" y="1844"/>
                  </a:cubicBezTo>
                  <a:cubicBezTo>
                    <a:pt x="2172" y="1865"/>
                    <a:pt x="2193" y="1886"/>
                    <a:pt x="2213" y="1886"/>
                  </a:cubicBezTo>
                  <a:cubicBezTo>
                    <a:pt x="2213" y="1886"/>
                    <a:pt x="2233" y="1906"/>
                    <a:pt x="2254" y="1906"/>
                  </a:cubicBezTo>
                  <a:cubicBezTo>
                    <a:pt x="2275" y="1926"/>
                    <a:pt x="2295" y="1947"/>
                    <a:pt x="2315" y="1968"/>
                  </a:cubicBezTo>
                  <a:cubicBezTo>
                    <a:pt x="2315" y="1988"/>
                    <a:pt x="2295" y="2008"/>
                    <a:pt x="2295" y="2029"/>
                  </a:cubicBezTo>
                  <a:cubicBezTo>
                    <a:pt x="2295" y="2050"/>
                    <a:pt x="2315" y="2090"/>
                    <a:pt x="2295" y="2111"/>
                  </a:cubicBezTo>
                  <a:cubicBezTo>
                    <a:pt x="2295" y="2111"/>
                    <a:pt x="2295" y="2131"/>
                    <a:pt x="2295" y="2152"/>
                  </a:cubicBezTo>
                  <a:cubicBezTo>
                    <a:pt x="2295" y="2172"/>
                    <a:pt x="2295" y="2193"/>
                    <a:pt x="2295" y="2193"/>
                  </a:cubicBezTo>
                  <a:cubicBezTo>
                    <a:pt x="2295" y="2193"/>
                    <a:pt x="2295" y="2213"/>
                    <a:pt x="2315" y="2234"/>
                  </a:cubicBezTo>
                  <a:cubicBezTo>
                    <a:pt x="2315" y="2234"/>
                    <a:pt x="2357" y="2254"/>
                    <a:pt x="2377" y="2275"/>
                  </a:cubicBezTo>
                  <a:cubicBezTo>
                    <a:pt x="2397" y="2275"/>
                    <a:pt x="2439" y="2275"/>
                    <a:pt x="2459" y="2275"/>
                  </a:cubicBezTo>
                  <a:cubicBezTo>
                    <a:pt x="2499" y="2275"/>
                    <a:pt x="2540" y="2275"/>
                    <a:pt x="2581" y="2275"/>
                  </a:cubicBezTo>
                  <a:cubicBezTo>
                    <a:pt x="2602" y="2275"/>
                    <a:pt x="2663" y="2254"/>
                    <a:pt x="2684" y="2254"/>
                  </a:cubicBezTo>
                  <a:cubicBezTo>
                    <a:pt x="2704" y="2254"/>
                    <a:pt x="2724" y="2275"/>
                    <a:pt x="2724" y="2275"/>
                  </a:cubicBezTo>
                  <a:cubicBezTo>
                    <a:pt x="2766" y="2295"/>
                    <a:pt x="2786" y="2336"/>
                    <a:pt x="2806" y="2336"/>
                  </a:cubicBezTo>
                  <a:cubicBezTo>
                    <a:pt x="2827" y="2336"/>
                    <a:pt x="2868" y="2336"/>
                    <a:pt x="2888" y="2336"/>
                  </a:cubicBezTo>
                  <a:lnTo>
                    <a:pt x="2908" y="2357"/>
                  </a:lnTo>
                  <a:cubicBezTo>
                    <a:pt x="2908" y="2377"/>
                    <a:pt x="2908" y="2377"/>
                    <a:pt x="2908" y="2377"/>
                  </a:cubicBezTo>
                  <a:lnTo>
                    <a:pt x="2888" y="2377"/>
                  </a:lnTo>
                  <a:cubicBezTo>
                    <a:pt x="2888" y="2398"/>
                    <a:pt x="2908" y="2418"/>
                    <a:pt x="2908" y="2418"/>
                  </a:cubicBezTo>
                  <a:cubicBezTo>
                    <a:pt x="2929" y="2418"/>
                    <a:pt x="2950" y="2418"/>
                    <a:pt x="2970" y="2418"/>
                  </a:cubicBezTo>
                  <a:cubicBezTo>
                    <a:pt x="2970" y="2439"/>
                    <a:pt x="3011" y="2418"/>
                    <a:pt x="3011" y="2418"/>
                  </a:cubicBezTo>
                  <a:cubicBezTo>
                    <a:pt x="3011" y="2439"/>
                    <a:pt x="3032" y="2439"/>
                    <a:pt x="3032" y="2439"/>
                  </a:cubicBezTo>
                  <a:lnTo>
                    <a:pt x="3052" y="2459"/>
                  </a:lnTo>
                  <a:cubicBezTo>
                    <a:pt x="3052" y="2480"/>
                    <a:pt x="3093" y="2500"/>
                    <a:pt x="3093" y="2500"/>
                  </a:cubicBezTo>
                  <a:cubicBezTo>
                    <a:pt x="3093" y="2521"/>
                    <a:pt x="3114" y="2562"/>
                    <a:pt x="3114" y="2582"/>
                  </a:cubicBezTo>
                  <a:cubicBezTo>
                    <a:pt x="3134" y="2603"/>
                    <a:pt x="3134" y="2623"/>
                    <a:pt x="3154" y="2644"/>
                  </a:cubicBezTo>
                  <a:cubicBezTo>
                    <a:pt x="3154" y="2664"/>
                    <a:pt x="3175" y="2685"/>
                    <a:pt x="3196" y="2685"/>
                  </a:cubicBezTo>
                  <a:cubicBezTo>
                    <a:pt x="3196" y="2705"/>
                    <a:pt x="3196" y="2726"/>
                    <a:pt x="3196" y="2746"/>
                  </a:cubicBezTo>
                  <a:cubicBezTo>
                    <a:pt x="3216" y="2767"/>
                    <a:pt x="3257" y="2767"/>
                    <a:pt x="3278" y="2787"/>
                  </a:cubicBezTo>
                  <a:cubicBezTo>
                    <a:pt x="3278" y="2787"/>
                    <a:pt x="3318" y="2807"/>
                    <a:pt x="3318" y="2828"/>
                  </a:cubicBezTo>
                  <a:cubicBezTo>
                    <a:pt x="3339" y="2828"/>
                    <a:pt x="3360" y="2828"/>
                    <a:pt x="3360" y="2828"/>
                  </a:cubicBezTo>
                  <a:cubicBezTo>
                    <a:pt x="3380" y="2828"/>
                    <a:pt x="3400" y="2828"/>
                    <a:pt x="3400" y="2828"/>
                  </a:cubicBezTo>
                  <a:cubicBezTo>
                    <a:pt x="3421" y="2828"/>
                    <a:pt x="3442" y="2828"/>
                    <a:pt x="3462" y="2828"/>
                  </a:cubicBezTo>
                  <a:cubicBezTo>
                    <a:pt x="3482" y="2828"/>
                    <a:pt x="3544" y="2828"/>
                    <a:pt x="3564" y="2828"/>
                  </a:cubicBezTo>
                  <a:cubicBezTo>
                    <a:pt x="3585" y="2828"/>
                    <a:pt x="3646" y="2849"/>
                    <a:pt x="3667" y="2849"/>
                  </a:cubicBezTo>
                  <a:cubicBezTo>
                    <a:pt x="3687" y="2869"/>
                    <a:pt x="3728" y="2849"/>
                    <a:pt x="3728" y="2849"/>
                  </a:cubicBezTo>
                  <a:cubicBezTo>
                    <a:pt x="3749" y="2849"/>
                    <a:pt x="3790" y="2828"/>
                    <a:pt x="3810" y="2828"/>
                  </a:cubicBezTo>
                  <a:cubicBezTo>
                    <a:pt x="3831" y="2828"/>
                    <a:pt x="3851" y="2807"/>
                    <a:pt x="3872" y="2807"/>
                  </a:cubicBezTo>
                  <a:cubicBezTo>
                    <a:pt x="3913" y="2807"/>
                    <a:pt x="3954" y="2807"/>
                    <a:pt x="3974" y="2807"/>
                  </a:cubicBezTo>
                  <a:cubicBezTo>
                    <a:pt x="3995" y="2807"/>
                    <a:pt x="4036" y="2828"/>
                    <a:pt x="4056" y="2828"/>
                  </a:cubicBezTo>
                  <a:cubicBezTo>
                    <a:pt x="4077" y="2828"/>
                    <a:pt x="4118" y="2828"/>
                    <a:pt x="4118" y="2849"/>
                  </a:cubicBezTo>
                  <a:cubicBezTo>
                    <a:pt x="4138" y="2849"/>
                    <a:pt x="4179" y="2889"/>
                    <a:pt x="4200" y="2889"/>
                  </a:cubicBezTo>
                  <a:cubicBezTo>
                    <a:pt x="4220" y="2889"/>
                    <a:pt x="4261" y="2910"/>
                    <a:pt x="4282" y="2910"/>
                  </a:cubicBezTo>
                  <a:cubicBezTo>
                    <a:pt x="4282" y="2910"/>
                    <a:pt x="4302" y="2931"/>
                    <a:pt x="4323" y="2931"/>
                  </a:cubicBezTo>
                  <a:cubicBezTo>
                    <a:pt x="4323" y="2931"/>
                    <a:pt x="4364" y="2951"/>
                    <a:pt x="4384" y="2951"/>
                  </a:cubicBezTo>
                  <a:cubicBezTo>
                    <a:pt x="4405" y="2951"/>
                    <a:pt x="4445" y="2971"/>
                    <a:pt x="4466" y="2971"/>
                  </a:cubicBezTo>
                  <a:lnTo>
                    <a:pt x="4507" y="2951"/>
                  </a:lnTo>
                  <a:cubicBezTo>
                    <a:pt x="4527" y="2951"/>
                    <a:pt x="4548" y="2951"/>
                    <a:pt x="4569" y="2951"/>
                  </a:cubicBezTo>
                  <a:cubicBezTo>
                    <a:pt x="4569" y="2951"/>
                    <a:pt x="4589" y="2971"/>
                    <a:pt x="4609" y="2971"/>
                  </a:cubicBezTo>
                  <a:cubicBezTo>
                    <a:pt x="4609" y="2992"/>
                    <a:pt x="4651" y="3013"/>
                    <a:pt x="4671" y="2992"/>
                  </a:cubicBezTo>
                  <a:cubicBezTo>
                    <a:pt x="4671" y="2992"/>
                    <a:pt x="4691" y="2992"/>
                    <a:pt x="4691" y="2971"/>
                  </a:cubicBezTo>
                  <a:cubicBezTo>
                    <a:pt x="4691" y="2971"/>
                    <a:pt x="4712" y="2951"/>
                    <a:pt x="4733" y="2951"/>
                  </a:cubicBezTo>
                  <a:cubicBezTo>
                    <a:pt x="4733" y="2931"/>
                    <a:pt x="4773" y="2910"/>
                    <a:pt x="4794" y="2889"/>
                  </a:cubicBezTo>
                  <a:cubicBezTo>
                    <a:pt x="4815" y="2889"/>
                    <a:pt x="4855" y="2869"/>
                    <a:pt x="4855" y="2849"/>
                  </a:cubicBezTo>
                  <a:cubicBezTo>
                    <a:pt x="4876" y="2849"/>
                    <a:pt x="4917" y="2828"/>
                    <a:pt x="4937" y="2828"/>
                  </a:cubicBezTo>
                  <a:cubicBezTo>
                    <a:pt x="4958" y="2828"/>
                    <a:pt x="4979" y="2828"/>
                    <a:pt x="4979" y="2807"/>
                  </a:cubicBezTo>
                  <a:cubicBezTo>
                    <a:pt x="4999" y="2807"/>
                    <a:pt x="5019" y="2807"/>
                    <a:pt x="5040" y="2807"/>
                  </a:cubicBezTo>
                  <a:cubicBezTo>
                    <a:pt x="5040" y="2787"/>
                    <a:pt x="5081" y="2787"/>
                    <a:pt x="5081" y="2787"/>
                  </a:cubicBezTo>
                  <a:cubicBezTo>
                    <a:pt x="5101" y="2787"/>
                    <a:pt x="5122" y="2787"/>
                    <a:pt x="5142" y="2787"/>
                  </a:cubicBezTo>
                  <a:cubicBezTo>
                    <a:pt x="5142" y="2787"/>
                    <a:pt x="5183" y="2807"/>
                    <a:pt x="5203" y="2807"/>
                  </a:cubicBezTo>
                  <a:lnTo>
                    <a:pt x="5245" y="2807"/>
                  </a:lnTo>
                  <a:cubicBezTo>
                    <a:pt x="5265" y="2787"/>
                    <a:pt x="5285" y="2787"/>
                    <a:pt x="5306" y="2767"/>
                  </a:cubicBezTo>
                  <a:cubicBezTo>
                    <a:pt x="5306" y="2767"/>
                    <a:pt x="5327" y="2746"/>
                    <a:pt x="5347" y="2726"/>
                  </a:cubicBezTo>
                  <a:cubicBezTo>
                    <a:pt x="5347" y="2726"/>
                    <a:pt x="5367" y="2705"/>
                    <a:pt x="5388" y="2705"/>
                  </a:cubicBezTo>
                  <a:cubicBezTo>
                    <a:pt x="5388" y="2705"/>
                    <a:pt x="5409" y="2705"/>
                    <a:pt x="5429" y="2685"/>
                  </a:cubicBezTo>
                  <a:cubicBezTo>
                    <a:pt x="5429" y="2685"/>
                    <a:pt x="5429" y="2685"/>
                    <a:pt x="5429" y="2664"/>
                  </a:cubicBezTo>
                  <a:cubicBezTo>
                    <a:pt x="5429" y="2664"/>
                    <a:pt x="5429" y="2623"/>
                    <a:pt x="5429" y="2603"/>
                  </a:cubicBezTo>
                  <a:cubicBezTo>
                    <a:pt x="5429" y="2603"/>
                    <a:pt x="5449" y="2562"/>
                    <a:pt x="5470" y="2562"/>
                  </a:cubicBezTo>
                  <a:cubicBezTo>
                    <a:pt x="5470" y="2562"/>
                    <a:pt x="5470" y="2541"/>
                    <a:pt x="5491" y="2541"/>
                  </a:cubicBezTo>
                  <a:cubicBezTo>
                    <a:pt x="5491" y="2541"/>
                    <a:pt x="5511" y="2521"/>
                    <a:pt x="5531" y="2521"/>
                  </a:cubicBezTo>
                  <a:cubicBezTo>
                    <a:pt x="5531" y="2500"/>
                    <a:pt x="5552" y="2480"/>
                    <a:pt x="5552" y="2480"/>
                  </a:cubicBezTo>
                  <a:cubicBezTo>
                    <a:pt x="5552" y="2459"/>
                    <a:pt x="5552" y="2439"/>
                    <a:pt x="5531" y="2439"/>
                  </a:cubicBezTo>
                  <a:cubicBezTo>
                    <a:pt x="5531" y="2418"/>
                    <a:pt x="5511" y="2398"/>
                    <a:pt x="5511" y="2377"/>
                  </a:cubicBezTo>
                  <a:cubicBezTo>
                    <a:pt x="5511" y="2377"/>
                    <a:pt x="5470" y="2377"/>
                    <a:pt x="5470" y="2357"/>
                  </a:cubicBezTo>
                  <a:lnTo>
                    <a:pt x="5449" y="2336"/>
                  </a:lnTo>
                  <a:cubicBezTo>
                    <a:pt x="5449" y="2316"/>
                    <a:pt x="5429" y="2295"/>
                    <a:pt x="5429" y="2275"/>
                  </a:cubicBezTo>
                  <a:cubicBezTo>
                    <a:pt x="5429" y="2254"/>
                    <a:pt x="5449" y="2213"/>
                    <a:pt x="5449" y="2193"/>
                  </a:cubicBezTo>
                  <a:cubicBezTo>
                    <a:pt x="5449" y="2172"/>
                    <a:pt x="5429" y="2152"/>
                    <a:pt x="5429" y="2131"/>
                  </a:cubicBezTo>
                  <a:cubicBezTo>
                    <a:pt x="5449" y="2131"/>
                    <a:pt x="5449" y="2111"/>
                    <a:pt x="5470" y="2111"/>
                  </a:cubicBezTo>
                  <a:lnTo>
                    <a:pt x="5491" y="2111"/>
                  </a:lnTo>
                  <a:cubicBezTo>
                    <a:pt x="5511" y="2111"/>
                    <a:pt x="5531" y="2111"/>
                    <a:pt x="5531" y="2111"/>
                  </a:cubicBezTo>
                  <a:cubicBezTo>
                    <a:pt x="5552" y="2111"/>
                    <a:pt x="5531" y="2131"/>
                    <a:pt x="5531" y="2131"/>
                  </a:cubicBezTo>
                  <a:cubicBezTo>
                    <a:pt x="5552" y="2152"/>
                    <a:pt x="5552" y="2172"/>
                    <a:pt x="5552" y="2172"/>
                  </a:cubicBezTo>
                  <a:cubicBezTo>
                    <a:pt x="5573" y="2193"/>
                    <a:pt x="5593" y="2193"/>
                    <a:pt x="5613" y="2193"/>
                  </a:cubicBezTo>
                  <a:cubicBezTo>
                    <a:pt x="5613" y="2193"/>
                    <a:pt x="5634" y="2193"/>
                    <a:pt x="5655" y="2193"/>
                  </a:cubicBezTo>
                  <a:cubicBezTo>
                    <a:pt x="5655" y="2193"/>
                    <a:pt x="5655" y="2193"/>
                    <a:pt x="5675" y="2213"/>
                  </a:cubicBezTo>
                  <a:cubicBezTo>
                    <a:pt x="5675" y="2213"/>
                    <a:pt x="5695" y="2213"/>
                    <a:pt x="5695" y="2193"/>
                  </a:cubicBezTo>
                  <a:lnTo>
                    <a:pt x="5716" y="2193"/>
                  </a:lnTo>
                  <a:cubicBezTo>
                    <a:pt x="5737" y="2172"/>
                    <a:pt x="5737" y="2172"/>
                    <a:pt x="5757" y="2152"/>
                  </a:cubicBezTo>
                  <a:lnTo>
                    <a:pt x="5757" y="2131"/>
                  </a:lnTo>
                  <a:cubicBezTo>
                    <a:pt x="5777" y="2131"/>
                    <a:pt x="5777" y="2111"/>
                    <a:pt x="5777" y="2111"/>
                  </a:cubicBezTo>
                  <a:lnTo>
                    <a:pt x="5798" y="2090"/>
                  </a:lnTo>
                  <a:lnTo>
                    <a:pt x="5798" y="2070"/>
                  </a:lnTo>
                  <a:cubicBezTo>
                    <a:pt x="5798" y="2050"/>
                    <a:pt x="5819" y="2029"/>
                    <a:pt x="5819" y="2029"/>
                  </a:cubicBezTo>
                  <a:cubicBezTo>
                    <a:pt x="5839" y="2029"/>
                    <a:pt x="5859" y="2029"/>
                    <a:pt x="5859" y="2029"/>
                  </a:cubicBezTo>
                  <a:cubicBezTo>
                    <a:pt x="5880" y="2029"/>
                    <a:pt x="5880" y="2008"/>
                    <a:pt x="5900" y="2008"/>
                  </a:cubicBezTo>
                  <a:lnTo>
                    <a:pt x="5921" y="2008"/>
                  </a:lnTo>
                  <a:cubicBezTo>
                    <a:pt x="5941" y="1988"/>
                    <a:pt x="5941" y="1968"/>
                    <a:pt x="5941" y="1968"/>
                  </a:cubicBezTo>
                  <a:cubicBezTo>
                    <a:pt x="5941" y="1968"/>
                    <a:pt x="5962" y="1968"/>
                    <a:pt x="5962" y="1947"/>
                  </a:cubicBezTo>
                  <a:lnTo>
                    <a:pt x="5982" y="1947"/>
                  </a:lnTo>
                  <a:cubicBezTo>
                    <a:pt x="6003" y="1926"/>
                    <a:pt x="5982" y="1906"/>
                    <a:pt x="5982" y="1906"/>
                  </a:cubicBezTo>
                  <a:cubicBezTo>
                    <a:pt x="5982" y="1906"/>
                    <a:pt x="5982" y="1886"/>
                    <a:pt x="5982" y="1865"/>
                  </a:cubicBezTo>
                  <a:cubicBezTo>
                    <a:pt x="5982" y="1865"/>
                    <a:pt x="5982" y="1844"/>
                    <a:pt x="5982" y="1824"/>
                  </a:cubicBezTo>
                  <a:cubicBezTo>
                    <a:pt x="5982" y="1804"/>
                    <a:pt x="6003" y="1783"/>
                    <a:pt x="6003" y="1762"/>
                  </a:cubicBezTo>
                  <a:cubicBezTo>
                    <a:pt x="6023" y="1762"/>
                    <a:pt x="6044" y="1762"/>
                    <a:pt x="6044" y="1762"/>
                  </a:cubicBezTo>
                  <a:lnTo>
                    <a:pt x="6064" y="1762"/>
                  </a:lnTo>
                  <a:cubicBezTo>
                    <a:pt x="6085" y="1762"/>
                    <a:pt x="6085" y="1762"/>
                    <a:pt x="6085" y="1742"/>
                  </a:cubicBezTo>
                  <a:lnTo>
                    <a:pt x="6085" y="1722"/>
                  </a:lnTo>
                  <a:cubicBezTo>
                    <a:pt x="6085" y="1722"/>
                    <a:pt x="6085" y="1701"/>
                    <a:pt x="6105" y="1680"/>
                  </a:cubicBezTo>
                  <a:cubicBezTo>
                    <a:pt x="6105" y="1680"/>
                    <a:pt x="6105" y="1680"/>
                    <a:pt x="6126" y="1701"/>
                  </a:cubicBezTo>
                  <a:lnTo>
                    <a:pt x="6126" y="1701"/>
                  </a:lnTo>
                  <a:cubicBezTo>
                    <a:pt x="6146" y="1722"/>
                    <a:pt x="6167" y="1722"/>
                    <a:pt x="6167" y="1722"/>
                  </a:cubicBezTo>
                  <a:lnTo>
                    <a:pt x="6187" y="1701"/>
                  </a:lnTo>
                  <a:cubicBezTo>
                    <a:pt x="6187" y="1701"/>
                    <a:pt x="6187" y="1680"/>
                    <a:pt x="6187" y="1660"/>
                  </a:cubicBezTo>
                  <a:lnTo>
                    <a:pt x="6208" y="1660"/>
                  </a:lnTo>
                  <a:lnTo>
                    <a:pt x="6228" y="1640"/>
                  </a:lnTo>
                  <a:lnTo>
                    <a:pt x="6249" y="1640"/>
                  </a:lnTo>
                  <a:lnTo>
                    <a:pt x="6269" y="1640"/>
                  </a:lnTo>
                  <a:cubicBezTo>
                    <a:pt x="6290" y="1640"/>
                    <a:pt x="6290" y="1640"/>
                    <a:pt x="6310" y="1640"/>
                  </a:cubicBezTo>
                  <a:cubicBezTo>
                    <a:pt x="6310" y="1660"/>
                    <a:pt x="6331" y="1660"/>
                    <a:pt x="6331" y="1660"/>
                  </a:cubicBezTo>
                  <a:cubicBezTo>
                    <a:pt x="6331" y="1660"/>
                    <a:pt x="6351" y="1680"/>
                    <a:pt x="6372" y="1680"/>
                  </a:cubicBezTo>
                  <a:cubicBezTo>
                    <a:pt x="6372" y="1680"/>
                    <a:pt x="6413" y="1680"/>
                    <a:pt x="6413" y="1660"/>
                  </a:cubicBezTo>
                  <a:cubicBezTo>
                    <a:pt x="6433" y="1660"/>
                    <a:pt x="6413" y="1640"/>
                    <a:pt x="6413" y="1619"/>
                  </a:cubicBezTo>
                  <a:cubicBezTo>
                    <a:pt x="6413" y="1619"/>
                    <a:pt x="6413" y="1598"/>
                    <a:pt x="6392" y="1578"/>
                  </a:cubicBezTo>
                  <a:lnTo>
                    <a:pt x="6372" y="1558"/>
                  </a:lnTo>
                  <a:cubicBezTo>
                    <a:pt x="6372" y="1558"/>
                    <a:pt x="6351" y="1537"/>
                    <a:pt x="6351" y="1516"/>
                  </a:cubicBezTo>
                  <a:cubicBezTo>
                    <a:pt x="6331" y="1516"/>
                    <a:pt x="6310" y="1496"/>
                    <a:pt x="6290" y="1496"/>
                  </a:cubicBezTo>
                  <a:cubicBezTo>
                    <a:pt x="6290" y="1476"/>
                    <a:pt x="6290" y="1455"/>
                    <a:pt x="6269" y="1455"/>
                  </a:cubicBezTo>
                  <a:cubicBezTo>
                    <a:pt x="6269" y="1455"/>
                    <a:pt x="6249" y="1434"/>
                    <a:pt x="6228" y="1434"/>
                  </a:cubicBezTo>
                  <a:cubicBezTo>
                    <a:pt x="6228" y="1434"/>
                    <a:pt x="6208" y="1414"/>
                    <a:pt x="6187" y="1414"/>
                  </a:cubicBezTo>
                  <a:lnTo>
                    <a:pt x="6167" y="1414"/>
                  </a:lnTo>
                  <a:cubicBezTo>
                    <a:pt x="6167" y="1394"/>
                    <a:pt x="6167" y="1394"/>
                    <a:pt x="6146" y="1373"/>
                  </a:cubicBezTo>
                  <a:cubicBezTo>
                    <a:pt x="6146" y="1373"/>
                    <a:pt x="6126" y="1353"/>
                    <a:pt x="6105" y="1353"/>
                  </a:cubicBezTo>
                  <a:lnTo>
                    <a:pt x="6085" y="1353"/>
                  </a:lnTo>
                  <a:cubicBezTo>
                    <a:pt x="6064" y="1353"/>
                    <a:pt x="6044" y="1353"/>
                    <a:pt x="6044" y="1353"/>
                  </a:cubicBezTo>
                  <a:lnTo>
                    <a:pt x="6023" y="1373"/>
                  </a:lnTo>
                  <a:cubicBezTo>
                    <a:pt x="6003" y="1394"/>
                    <a:pt x="6003" y="1394"/>
                    <a:pt x="6003" y="1414"/>
                  </a:cubicBezTo>
                  <a:lnTo>
                    <a:pt x="6003" y="1434"/>
                  </a:lnTo>
                  <a:cubicBezTo>
                    <a:pt x="6003" y="1434"/>
                    <a:pt x="6003" y="1455"/>
                    <a:pt x="5982" y="1455"/>
                  </a:cubicBezTo>
                  <a:cubicBezTo>
                    <a:pt x="5982" y="1455"/>
                    <a:pt x="5982" y="1455"/>
                    <a:pt x="5962" y="1455"/>
                  </a:cubicBezTo>
                  <a:cubicBezTo>
                    <a:pt x="5962" y="1455"/>
                    <a:pt x="5962" y="1434"/>
                    <a:pt x="5941" y="1414"/>
                  </a:cubicBezTo>
                  <a:lnTo>
                    <a:pt x="5921" y="1414"/>
                  </a:lnTo>
                  <a:lnTo>
                    <a:pt x="5900" y="1414"/>
                  </a:lnTo>
                  <a:lnTo>
                    <a:pt x="5880" y="1434"/>
                  </a:lnTo>
                  <a:lnTo>
                    <a:pt x="5859" y="1434"/>
                  </a:lnTo>
                  <a:cubicBezTo>
                    <a:pt x="5839" y="1434"/>
                    <a:pt x="5839" y="1434"/>
                    <a:pt x="5839" y="1434"/>
                  </a:cubicBezTo>
                  <a:cubicBezTo>
                    <a:pt x="5819" y="1434"/>
                    <a:pt x="5819" y="1455"/>
                    <a:pt x="5819" y="1455"/>
                  </a:cubicBezTo>
                  <a:lnTo>
                    <a:pt x="5819" y="1476"/>
                  </a:lnTo>
                  <a:lnTo>
                    <a:pt x="5798" y="1496"/>
                  </a:lnTo>
                  <a:cubicBezTo>
                    <a:pt x="5777" y="1496"/>
                    <a:pt x="5777" y="1496"/>
                    <a:pt x="5777" y="1496"/>
                  </a:cubicBezTo>
                  <a:cubicBezTo>
                    <a:pt x="5757" y="1496"/>
                    <a:pt x="5757" y="1476"/>
                    <a:pt x="5737" y="1455"/>
                  </a:cubicBezTo>
                  <a:lnTo>
                    <a:pt x="5737" y="1455"/>
                  </a:lnTo>
                  <a:cubicBezTo>
                    <a:pt x="5716" y="1455"/>
                    <a:pt x="5716" y="1455"/>
                    <a:pt x="5695" y="1434"/>
                  </a:cubicBezTo>
                  <a:lnTo>
                    <a:pt x="5695" y="1414"/>
                  </a:lnTo>
                  <a:cubicBezTo>
                    <a:pt x="5695" y="1394"/>
                    <a:pt x="5695" y="1353"/>
                    <a:pt x="5695" y="1353"/>
                  </a:cubicBezTo>
                  <a:cubicBezTo>
                    <a:pt x="5695" y="1332"/>
                    <a:pt x="5675" y="1312"/>
                    <a:pt x="5675" y="1312"/>
                  </a:cubicBezTo>
                  <a:cubicBezTo>
                    <a:pt x="5675" y="1292"/>
                    <a:pt x="5675" y="1271"/>
                    <a:pt x="5695" y="1250"/>
                  </a:cubicBezTo>
                  <a:cubicBezTo>
                    <a:pt x="5695" y="1250"/>
                    <a:pt x="5695" y="1250"/>
                    <a:pt x="5716" y="1250"/>
                  </a:cubicBezTo>
                  <a:cubicBezTo>
                    <a:pt x="5716" y="1230"/>
                    <a:pt x="5716" y="1250"/>
                    <a:pt x="5716" y="1250"/>
                  </a:cubicBezTo>
                  <a:cubicBezTo>
                    <a:pt x="5737" y="1230"/>
                    <a:pt x="5737" y="1230"/>
                    <a:pt x="5716" y="1210"/>
                  </a:cubicBezTo>
                  <a:lnTo>
                    <a:pt x="5716" y="1210"/>
                  </a:lnTo>
                  <a:cubicBezTo>
                    <a:pt x="5695" y="1189"/>
                    <a:pt x="5695" y="1210"/>
                    <a:pt x="5675" y="1189"/>
                  </a:cubicBezTo>
                  <a:lnTo>
                    <a:pt x="5675" y="1168"/>
                  </a:lnTo>
                  <a:cubicBezTo>
                    <a:pt x="5675" y="1168"/>
                    <a:pt x="5695" y="1148"/>
                    <a:pt x="5695" y="1128"/>
                  </a:cubicBezTo>
                  <a:lnTo>
                    <a:pt x="5695" y="1086"/>
                  </a:lnTo>
                  <a:cubicBezTo>
                    <a:pt x="5695" y="1066"/>
                    <a:pt x="5695" y="1066"/>
                    <a:pt x="5695" y="1046"/>
                  </a:cubicBezTo>
                  <a:lnTo>
                    <a:pt x="5695" y="1004"/>
                  </a:lnTo>
                  <a:cubicBezTo>
                    <a:pt x="5695" y="1004"/>
                    <a:pt x="5695" y="984"/>
                    <a:pt x="5716" y="984"/>
                  </a:cubicBezTo>
                  <a:cubicBezTo>
                    <a:pt x="5716" y="984"/>
                    <a:pt x="5737" y="1004"/>
                    <a:pt x="5757" y="1004"/>
                  </a:cubicBezTo>
                  <a:cubicBezTo>
                    <a:pt x="5757" y="1004"/>
                    <a:pt x="5777" y="1025"/>
                    <a:pt x="5798" y="1025"/>
                  </a:cubicBezTo>
                  <a:cubicBezTo>
                    <a:pt x="5798" y="1025"/>
                    <a:pt x="5819" y="1025"/>
                    <a:pt x="5839" y="1025"/>
                  </a:cubicBezTo>
                  <a:lnTo>
                    <a:pt x="5859" y="1025"/>
                  </a:lnTo>
                  <a:lnTo>
                    <a:pt x="5880" y="1025"/>
                  </a:lnTo>
                  <a:cubicBezTo>
                    <a:pt x="5900" y="1046"/>
                    <a:pt x="5900" y="1046"/>
                    <a:pt x="5900" y="1025"/>
                  </a:cubicBezTo>
                  <a:cubicBezTo>
                    <a:pt x="5921" y="1025"/>
                    <a:pt x="5921" y="1004"/>
                    <a:pt x="5921" y="1004"/>
                  </a:cubicBezTo>
                  <a:cubicBezTo>
                    <a:pt x="5921" y="984"/>
                    <a:pt x="5921" y="964"/>
                    <a:pt x="5921" y="964"/>
                  </a:cubicBezTo>
                  <a:cubicBezTo>
                    <a:pt x="5921" y="943"/>
                    <a:pt x="5941" y="922"/>
                    <a:pt x="5941" y="922"/>
                  </a:cubicBezTo>
                  <a:lnTo>
                    <a:pt x="5962" y="902"/>
                  </a:lnTo>
                  <a:cubicBezTo>
                    <a:pt x="5962" y="902"/>
                    <a:pt x="6003" y="902"/>
                    <a:pt x="6003" y="882"/>
                  </a:cubicBezTo>
                  <a:cubicBezTo>
                    <a:pt x="6023" y="882"/>
                    <a:pt x="6023" y="861"/>
                    <a:pt x="6023" y="840"/>
                  </a:cubicBezTo>
                  <a:cubicBezTo>
                    <a:pt x="6023" y="840"/>
                    <a:pt x="6003" y="820"/>
                    <a:pt x="5982" y="820"/>
                  </a:cubicBezTo>
                  <a:cubicBezTo>
                    <a:pt x="5982" y="800"/>
                    <a:pt x="5962" y="779"/>
                    <a:pt x="5962" y="779"/>
                  </a:cubicBezTo>
                  <a:cubicBezTo>
                    <a:pt x="5962" y="758"/>
                    <a:pt x="5962" y="718"/>
                    <a:pt x="5962" y="718"/>
                  </a:cubicBezTo>
                  <a:cubicBezTo>
                    <a:pt x="5962" y="677"/>
                    <a:pt x="5962" y="615"/>
                    <a:pt x="5962" y="595"/>
                  </a:cubicBezTo>
                  <a:cubicBezTo>
                    <a:pt x="5962" y="574"/>
                    <a:pt x="5962" y="513"/>
                    <a:pt x="5982" y="492"/>
                  </a:cubicBezTo>
                  <a:cubicBezTo>
                    <a:pt x="5982" y="472"/>
                    <a:pt x="5982" y="431"/>
                    <a:pt x="6003" y="410"/>
                  </a:cubicBezTo>
                  <a:cubicBezTo>
                    <a:pt x="6003" y="410"/>
                    <a:pt x="6003" y="369"/>
                    <a:pt x="6003" y="349"/>
                  </a:cubicBezTo>
                  <a:cubicBezTo>
                    <a:pt x="6003" y="328"/>
                    <a:pt x="5962" y="328"/>
                    <a:pt x="5962" y="328"/>
                  </a:cubicBezTo>
                  <a:cubicBezTo>
                    <a:pt x="5962" y="308"/>
                    <a:pt x="5962" y="287"/>
                    <a:pt x="5962" y="267"/>
                  </a:cubicBezTo>
                  <a:lnTo>
                    <a:pt x="5962" y="246"/>
                  </a:lnTo>
                  <a:lnTo>
                    <a:pt x="5921" y="226"/>
                  </a:lnTo>
                  <a:cubicBezTo>
                    <a:pt x="5900" y="226"/>
                    <a:pt x="5900" y="246"/>
                    <a:pt x="5900" y="246"/>
                  </a:cubicBezTo>
                  <a:cubicBezTo>
                    <a:pt x="5900" y="246"/>
                    <a:pt x="5880" y="246"/>
                    <a:pt x="5859" y="246"/>
                  </a:cubicBezTo>
                  <a:cubicBezTo>
                    <a:pt x="5859" y="226"/>
                    <a:pt x="5859" y="205"/>
                    <a:pt x="5859" y="205"/>
                  </a:cubicBezTo>
                  <a:cubicBezTo>
                    <a:pt x="5859" y="185"/>
                    <a:pt x="5880" y="185"/>
                    <a:pt x="5880" y="164"/>
                  </a:cubicBezTo>
                  <a:cubicBezTo>
                    <a:pt x="5880" y="164"/>
                    <a:pt x="5880" y="144"/>
                    <a:pt x="5900" y="144"/>
                  </a:cubicBezTo>
                  <a:cubicBezTo>
                    <a:pt x="5900" y="123"/>
                    <a:pt x="5900" y="103"/>
                    <a:pt x="5900" y="82"/>
                  </a:cubicBezTo>
                  <a:cubicBezTo>
                    <a:pt x="5921" y="82"/>
                    <a:pt x="5941" y="82"/>
                    <a:pt x="5941" y="82"/>
                  </a:cubicBezTo>
                  <a:cubicBezTo>
                    <a:pt x="5962" y="62"/>
                    <a:pt x="5982" y="62"/>
                    <a:pt x="6003" y="62"/>
                  </a:cubicBezTo>
                  <a:cubicBezTo>
                    <a:pt x="6003" y="62"/>
                    <a:pt x="6023" y="62"/>
                    <a:pt x="6023" y="41"/>
                  </a:cubicBezTo>
                  <a:cubicBezTo>
                    <a:pt x="6023" y="41"/>
                    <a:pt x="6044" y="41"/>
                    <a:pt x="6044" y="21"/>
                  </a:cubicBezTo>
                  <a:cubicBezTo>
                    <a:pt x="6064" y="21"/>
                    <a:pt x="6085" y="21"/>
                    <a:pt x="6105" y="21"/>
                  </a:cubicBezTo>
                  <a:lnTo>
                    <a:pt x="6126" y="21"/>
                  </a:lnTo>
                  <a:cubicBezTo>
                    <a:pt x="6146" y="0"/>
                    <a:pt x="6167" y="0"/>
                    <a:pt x="6187" y="0"/>
                  </a:cubicBezTo>
                  <a:cubicBezTo>
                    <a:pt x="6208" y="0"/>
                    <a:pt x="6249" y="21"/>
                    <a:pt x="6269" y="21"/>
                  </a:cubicBezTo>
                  <a:cubicBezTo>
                    <a:pt x="6290" y="21"/>
                    <a:pt x="6331" y="21"/>
                    <a:pt x="6351" y="41"/>
                  </a:cubicBezTo>
                  <a:cubicBezTo>
                    <a:pt x="6351" y="41"/>
                    <a:pt x="6372" y="62"/>
                    <a:pt x="6392" y="62"/>
                  </a:cubicBezTo>
                  <a:lnTo>
                    <a:pt x="6413" y="82"/>
                  </a:lnTo>
                  <a:cubicBezTo>
                    <a:pt x="6433" y="82"/>
                    <a:pt x="6454" y="82"/>
                    <a:pt x="6474" y="82"/>
                  </a:cubicBezTo>
                  <a:lnTo>
                    <a:pt x="6495" y="62"/>
                  </a:lnTo>
                  <a:lnTo>
                    <a:pt x="6515" y="62"/>
                  </a:lnTo>
                  <a:cubicBezTo>
                    <a:pt x="6536" y="62"/>
                    <a:pt x="6556" y="62"/>
                    <a:pt x="6556" y="82"/>
                  </a:cubicBezTo>
                  <a:cubicBezTo>
                    <a:pt x="6556" y="82"/>
                    <a:pt x="6577" y="82"/>
                    <a:pt x="6577" y="103"/>
                  </a:cubicBezTo>
                  <a:cubicBezTo>
                    <a:pt x="6577" y="103"/>
                    <a:pt x="6597" y="103"/>
                    <a:pt x="6597" y="123"/>
                  </a:cubicBezTo>
                  <a:cubicBezTo>
                    <a:pt x="6618" y="123"/>
                    <a:pt x="6618" y="123"/>
                    <a:pt x="6638" y="123"/>
                  </a:cubicBezTo>
                  <a:cubicBezTo>
                    <a:pt x="6638" y="103"/>
                    <a:pt x="6638" y="103"/>
                    <a:pt x="6638" y="103"/>
                  </a:cubicBezTo>
                  <a:cubicBezTo>
                    <a:pt x="6658" y="103"/>
                    <a:pt x="6658" y="82"/>
                    <a:pt x="6679" y="82"/>
                  </a:cubicBezTo>
                  <a:lnTo>
                    <a:pt x="6700" y="103"/>
                  </a:lnTo>
                  <a:cubicBezTo>
                    <a:pt x="6700" y="123"/>
                    <a:pt x="6679" y="144"/>
                    <a:pt x="6679" y="144"/>
                  </a:cubicBezTo>
                  <a:lnTo>
                    <a:pt x="6700" y="164"/>
                  </a:lnTo>
                  <a:cubicBezTo>
                    <a:pt x="6720" y="164"/>
                    <a:pt x="6740" y="185"/>
                    <a:pt x="6740" y="185"/>
                  </a:cubicBezTo>
                  <a:lnTo>
                    <a:pt x="6761" y="205"/>
                  </a:lnTo>
                  <a:cubicBezTo>
                    <a:pt x="6782" y="205"/>
                    <a:pt x="6782" y="226"/>
                    <a:pt x="6782" y="246"/>
                  </a:cubicBezTo>
                  <a:lnTo>
                    <a:pt x="6802" y="267"/>
                  </a:lnTo>
                  <a:cubicBezTo>
                    <a:pt x="6802" y="267"/>
                    <a:pt x="6822" y="287"/>
                    <a:pt x="6843" y="287"/>
                  </a:cubicBezTo>
                  <a:cubicBezTo>
                    <a:pt x="6843" y="308"/>
                    <a:pt x="6864" y="308"/>
                    <a:pt x="6884" y="308"/>
                  </a:cubicBezTo>
                  <a:cubicBezTo>
                    <a:pt x="6884" y="328"/>
                    <a:pt x="6884" y="349"/>
                    <a:pt x="6884" y="369"/>
                  </a:cubicBezTo>
                  <a:cubicBezTo>
                    <a:pt x="6884" y="369"/>
                    <a:pt x="6884" y="390"/>
                    <a:pt x="6884" y="410"/>
                  </a:cubicBezTo>
                  <a:cubicBezTo>
                    <a:pt x="6884" y="410"/>
                    <a:pt x="6904" y="410"/>
                    <a:pt x="6925" y="431"/>
                  </a:cubicBezTo>
                  <a:cubicBezTo>
                    <a:pt x="6925" y="431"/>
                    <a:pt x="6946" y="451"/>
                    <a:pt x="6946" y="472"/>
                  </a:cubicBezTo>
                  <a:cubicBezTo>
                    <a:pt x="6966" y="472"/>
                    <a:pt x="6966" y="492"/>
                    <a:pt x="6966" y="492"/>
                  </a:cubicBezTo>
                  <a:cubicBezTo>
                    <a:pt x="6966" y="513"/>
                    <a:pt x="6966" y="513"/>
                    <a:pt x="6986" y="533"/>
                  </a:cubicBezTo>
                  <a:lnTo>
                    <a:pt x="7007" y="533"/>
                  </a:lnTo>
                  <a:cubicBezTo>
                    <a:pt x="7028" y="533"/>
                    <a:pt x="7028" y="533"/>
                    <a:pt x="7048" y="533"/>
                  </a:cubicBezTo>
                  <a:lnTo>
                    <a:pt x="7048" y="554"/>
                  </a:lnTo>
                  <a:cubicBezTo>
                    <a:pt x="7068" y="574"/>
                    <a:pt x="7068" y="595"/>
                    <a:pt x="7068" y="595"/>
                  </a:cubicBezTo>
                  <a:cubicBezTo>
                    <a:pt x="7089" y="595"/>
                    <a:pt x="7089" y="595"/>
                    <a:pt x="7110" y="615"/>
                  </a:cubicBezTo>
                  <a:lnTo>
                    <a:pt x="7130" y="636"/>
                  </a:lnTo>
                  <a:cubicBezTo>
                    <a:pt x="7130" y="656"/>
                    <a:pt x="7171" y="677"/>
                    <a:pt x="7171" y="697"/>
                  </a:cubicBezTo>
                  <a:cubicBezTo>
                    <a:pt x="7192" y="697"/>
                    <a:pt x="7192" y="718"/>
                    <a:pt x="7192" y="718"/>
                  </a:cubicBezTo>
                  <a:cubicBezTo>
                    <a:pt x="7212" y="738"/>
                    <a:pt x="7212" y="758"/>
                    <a:pt x="7212" y="779"/>
                  </a:cubicBezTo>
                  <a:cubicBezTo>
                    <a:pt x="7212" y="779"/>
                    <a:pt x="7232" y="800"/>
                    <a:pt x="7232" y="820"/>
                  </a:cubicBezTo>
                  <a:cubicBezTo>
                    <a:pt x="7253" y="820"/>
                    <a:pt x="7274" y="840"/>
                    <a:pt x="7294" y="840"/>
                  </a:cubicBezTo>
                  <a:cubicBezTo>
                    <a:pt x="7294" y="861"/>
                    <a:pt x="7314" y="861"/>
                    <a:pt x="7335" y="861"/>
                  </a:cubicBezTo>
                  <a:cubicBezTo>
                    <a:pt x="7356" y="861"/>
                    <a:pt x="7376" y="861"/>
                    <a:pt x="7396" y="840"/>
                  </a:cubicBezTo>
                  <a:lnTo>
                    <a:pt x="7416" y="840"/>
                  </a:lnTo>
                  <a:cubicBezTo>
                    <a:pt x="7437" y="861"/>
                    <a:pt x="7458" y="882"/>
                    <a:pt x="7458" y="902"/>
                  </a:cubicBezTo>
                  <a:cubicBezTo>
                    <a:pt x="7478" y="902"/>
                    <a:pt x="7519" y="902"/>
                    <a:pt x="7519" y="902"/>
                  </a:cubicBezTo>
                  <a:cubicBezTo>
                    <a:pt x="7540" y="902"/>
                    <a:pt x="7540" y="902"/>
                    <a:pt x="7560" y="902"/>
                  </a:cubicBezTo>
                  <a:lnTo>
                    <a:pt x="7580" y="922"/>
                  </a:lnTo>
                  <a:cubicBezTo>
                    <a:pt x="7580" y="922"/>
                    <a:pt x="7601" y="922"/>
                    <a:pt x="7622" y="943"/>
                  </a:cubicBezTo>
                  <a:lnTo>
                    <a:pt x="7642" y="964"/>
                  </a:lnTo>
                  <a:cubicBezTo>
                    <a:pt x="7662" y="964"/>
                    <a:pt x="7683" y="984"/>
                    <a:pt x="7683" y="984"/>
                  </a:cubicBezTo>
                  <a:cubicBezTo>
                    <a:pt x="7704" y="984"/>
                    <a:pt x="7765" y="984"/>
                    <a:pt x="7786" y="984"/>
                  </a:cubicBezTo>
                  <a:cubicBezTo>
                    <a:pt x="7786" y="984"/>
                    <a:pt x="7786" y="1004"/>
                    <a:pt x="7806" y="1004"/>
                  </a:cubicBezTo>
                  <a:lnTo>
                    <a:pt x="7806" y="1025"/>
                  </a:lnTo>
                  <a:cubicBezTo>
                    <a:pt x="7826" y="1046"/>
                    <a:pt x="7826" y="1066"/>
                    <a:pt x="7826" y="1066"/>
                  </a:cubicBezTo>
                  <a:cubicBezTo>
                    <a:pt x="7847" y="1066"/>
                    <a:pt x="7847" y="1066"/>
                    <a:pt x="7868" y="1086"/>
                  </a:cubicBezTo>
                  <a:lnTo>
                    <a:pt x="7888" y="1086"/>
                  </a:lnTo>
                  <a:cubicBezTo>
                    <a:pt x="7888" y="1107"/>
                    <a:pt x="7908" y="1128"/>
                    <a:pt x="7908" y="1148"/>
                  </a:cubicBezTo>
                  <a:lnTo>
                    <a:pt x="7908" y="1168"/>
                  </a:lnTo>
                  <a:cubicBezTo>
                    <a:pt x="7908" y="1189"/>
                    <a:pt x="7908" y="1210"/>
                    <a:pt x="7929" y="1210"/>
                  </a:cubicBezTo>
                  <a:cubicBezTo>
                    <a:pt x="7929" y="1210"/>
                    <a:pt x="7950" y="1230"/>
                    <a:pt x="7970" y="1230"/>
                  </a:cubicBezTo>
                  <a:cubicBezTo>
                    <a:pt x="7990" y="1230"/>
                    <a:pt x="8011" y="1230"/>
                    <a:pt x="8032" y="1230"/>
                  </a:cubicBezTo>
                  <a:cubicBezTo>
                    <a:pt x="8032" y="1230"/>
                    <a:pt x="8052" y="1210"/>
                    <a:pt x="8072" y="1210"/>
                  </a:cubicBezTo>
                  <a:cubicBezTo>
                    <a:pt x="8093" y="1210"/>
                    <a:pt x="8114" y="1230"/>
                    <a:pt x="8134" y="1230"/>
                  </a:cubicBezTo>
                  <a:cubicBezTo>
                    <a:pt x="8154" y="1230"/>
                    <a:pt x="8175" y="1230"/>
                    <a:pt x="8195" y="1210"/>
                  </a:cubicBezTo>
                  <a:cubicBezTo>
                    <a:pt x="8216" y="1210"/>
                    <a:pt x="8216" y="1189"/>
                    <a:pt x="8216" y="1168"/>
                  </a:cubicBezTo>
                  <a:cubicBezTo>
                    <a:pt x="8216" y="1168"/>
                    <a:pt x="8236" y="1148"/>
                    <a:pt x="8257" y="1148"/>
                  </a:cubicBezTo>
                  <a:lnTo>
                    <a:pt x="8277" y="1148"/>
                  </a:lnTo>
                  <a:cubicBezTo>
                    <a:pt x="8298" y="1128"/>
                    <a:pt x="8298" y="1128"/>
                    <a:pt x="8318" y="1107"/>
                  </a:cubicBezTo>
                  <a:cubicBezTo>
                    <a:pt x="8318" y="1107"/>
                    <a:pt x="8339" y="1086"/>
                    <a:pt x="8359" y="1086"/>
                  </a:cubicBezTo>
                  <a:cubicBezTo>
                    <a:pt x="8359" y="1066"/>
                    <a:pt x="8400" y="1086"/>
                    <a:pt x="8400" y="1066"/>
                  </a:cubicBezTo>
                  <a:cubicBezTo>
                    <a:pt x="8421" y="1066"/>
                    <a:pt x="8421" y="1046"/>
                    <a:pt x="8441" y="1046"/>
                  </a:cubicBezTo>
                  <a:lnTo>
                    <a:pt x="8462" y="1086"/>
                  </a:lnTo>
                  <a:cubicBezTo>
                    <a:pt x="8462" y="1107"/>
                    <a:pt x="8441" y="1128"/>
                    <a:pt x="8441" y="1128"/>
                  </a:cubicBezTo>
                  <a:cubicBezTo>
                    <a:pt x="8441" y="1148"/>
                    <a:pt x="8462" y="1148"/>
                    <a:pt x="8462" y="1148"/>
                  </a:cubicBezTo>
                  <a:cubicBezTo>
                    <a:pt x="8462" y="1168"/>
                    <a:pt x="8482" y="1168"/>
                    <a:pt x="8482" y="1168"/>
                  </a:cubicBezTo>
                  <a:cubicBezTo>
                    <a:pt x="8503" y="1189"/>
                    <a:pt x="8503" y="1210"/>
                    <a:pt x="8503" y="1210"/>
                  </a:cubicBezTo>
                  <a:cubicBezTo>
                    <a:pt x="8503" y="1230"/>
                    <a:pt x="8523" y="1250"/>
                    <a:pt x="8503" y="1271"/>
                  </a:cubicBezTo>
                  <a:cubicBezTo>
                    <a:pt x="8503" y="1271"/>
                    <a:pt x="8503" y="1292"/>
                    <a:pt x="8482" y="1292"/>
                  </a:cubicBezTo>
                  <a:cubicBezTo>
                    <a:pt x="8482" y="1292"/>
                    <a:pt x="8482" y="1312"/>
                    <a:pt x="8482" y="1332"/>
                  </a:cubicBezTo>
                  <a:lnTo>
                    <a:pt x="8482" y="1353"/>
                  </a:lnTo>
                  <a:cubicBezTo>
                    <a:pt x="8482" y="1373"/>
                    <a:pt x="8503" y="1373"/>
                    <a:pt x="8523" y="1373"/>
                  </a:cubicBezTo>
                  <a:cubicBezTo>
                    <a:pt x="8523" y="1373"/>
                    <a:pt x="8523" y="1414"/>
                    <a:pt x="8544" y="1414"/>
                  </a:cubicBezTo>
                  <a:cubicBezTo>
                    <a:pt x="8544" y="1434"/>
                    <a:pt x="8523" y="1455"/>
                    <a:pt x="8544" y="1476"/>
                  </a:cubicBezTo>
                  <a:lnTo>
                    <a:pt x="8544" y="1496"/>
                  </a:lnTo>
                  <a:cubicBezTo>
                    <a:pt x="8564" y="1516"/>
                    <a:pt x="8564" y="1558"/>
                    <a:pt x="8564" y="1578"/>
                  </a:cubicBezTo>
                  <a:cubicBezTo>
                    <a:pt x="8564" y="1578"/>
                    <a:pt x="8564" y="1619"/>
                    <a:pt x="8564" y="1640"/>
                  </a:cubicBezTo>
                  <a:cubicBezTo>
                    <a:pt x="8564" y="1660"/>
                    <a:pt x="8564" y="1701"/>
                    <a:pt x="8564" y="1722"/>
                  </a:cubicBezTo>
                  <a:cubicBezTo>
                    <a:pt x="8564" y="1742"/>
                    <a:pt x="8544" y="1783"/>
                    <a:pt x="8564" y="1783"/>
                  </a:cubicBezTo>
                  <a:cubicBezTo>
                    <a:pt x="8564" y="1804"/>
                    <a:pt x="8585" y="1804"/>
                    <a:pt x="8585" y="1824"/>
                  </a:cubicBezTo>
                  <a:cubicBezTo>
                    <a:pt x="8585" y="1824"/>
                    <a:pt x="8585" y="1844"/>
                    <a:pt x="8564" y="1844"/>
                  </a:cubicBezTo>
                  <a:cubicBezTo>
                    <a:pt x="8564" y="1865"/>
                    <a:pt x="8544" y="1844"/>
                    <a:pt x="8544" y="1844"/>
                  </a:cubicBezTo>
                  <a:cubicBezTo>
                    <a:pt x="8544" y="1844"/>
                    <a:pt x="8544" y="1865"/>
                    <a:pt x="8523" y="1865"/>
                  </a:cubicBezTo>
                  <a:lnTo>
                    <a:pt x="8482" y="1844"/>
                  </a:lnTo>
                  <a:cubicBezTo>
                    <a:pt x="8462" y="1824"/>
                    <a:pt x="8441" y="1824"/>
                    <a:pt x="8441" y="1824"/>
                  </a:cubicBezTo>
                  <a:cubicBezTo>
                    <a:pt x="8421" y="1824"/>
                    <a:pt x="8421" y="1804"/>
                    <a:pt x="8400" y="1804"/>
                  </a:cubicBezTo>
                  <a:lnTo>
                    <a:pt x="8380" y="1804"/>
                  </a:lnTo>
                  <a:cubicBezTo>
                    <a:pt x="8359" y="1804"/>
                    <a:pt x="8339" y="1804"/>
                    <a:pt x="8339" y="1824"/>
                  </a:cubicBezTo>
                  <a:lnTo>
                    <a:pt x="8339" y="1844"/>
                  </a:lnTo>
                  <a:cubicBezTo>
                    <a:pt x="8339" y="1865"/>
                    <a:pt x="8339" y="1886"/>
                    <a:pt x="8339" y="1886"/>
                  </a:cubicBezTo>
                  <a:cubicBezTo>
                    <a:pt x="8339" y="1906"/>
                    <a:pt x="8318" y="1926"/>
                    <a:pt x="8318" y="1947"/>
                  </a:cubicBezTo>
                  <a:cubicBezTo>
                    <a:pt x="8318" y="1947"/>
                    <a:pt x="8339" y="1947"/>
                    <a:pt x="8339" y="1968"/>
                  </a:cubicBezTo>
                  <a:lnTo>
                    <a:pt x="8359" y="1988"/>
                  </a:lnTo>
                  <a:cubicBezTo>
                    <a:pt x="8359" y="1988"/>
                    <a:pt x="8380" y="1988"/>
                    <a:pt x="8380" y="2008"/>
                  </a:cubicBezTo>
                  <a:lnTo>
                    <a:pt x="8400" y="2029"/>
                  </a:lnTo>
                  <a:cubicBezTo>
                    <a:pt x="8400" y="2050"/>
                    <a:pt x="8400" y="2070"/>
                    <a:pt x="8400" y="2070"/>
                  </a:cubicBezTo>
                  <a:cubicBezTo>
                    <a:pt x="8421" y="2090"/>
                    <a:pt x="8421" y="2131"/>
                    <a:pt x="8441" y="2131"/>
                  </a:cubicBezTo>
                  <a:cubicBezTo>
                    <a:pt x="8441" y="2152"/>
                    <a:pt x="8441" y="2172"/>
                    <a:pt x="8441" y="2193"/>
                  </a:cubicBezTo>
                  <a:lnTo>
                    <a:pt x="8462" y="2213"/>
                  </a:lnTo>
                  <a:cubicBezTo>
                    <a:pt x="8482" y="2234"/>
                    <a:pt x="8482" y="2254"/>
                    <a:pt x="8482" y="2254"/>
                  </a:cubicBezTo>
                  <a:cubicBezTo>
                    <a:pt x="8482" y="2275"/>
                    <a:pt x="8482" y="2295"/>
                    <a:pt x="8482" y="2316"/>
                  </a:cubicBezTo>
                  <a:cubicBezTo>
                    <a:pt x="8482" y="2336"/>
                    <a:pt x="8482" y="2357"/>
                    <a:pt x="8482" y="2357"/>
                  </a:cubicBezTo>
                  <a:cubicBezTo>
                    <a:pt x="8482" y="2377"/>
                    <a:pt x="8462" y="2398"/>
                    <a:pt x="8462" y="2398"/>
                  </a:cubicBezTo>
                  <a:cubicBezTo>
                    <a:pt x="8462" y="2398"/>
                    <a:pt x="8462" y="2418"/>
                    <a:pt x="8441" y="2439"/>
                  </a:cubicBezTo>
                  <a:cubicBezTo>
                    <a:pt x="8441" y="2418"/>
                    <a:pt x="8441" y="2418"/>
                    <a:pt x="8441" y="2418"/>
                  </a:cubicBezTo>
                  <a:cubicBezTo>
                    <a:pt x="8441" y="2418"/>
                    <a:pt x="8421" y="2418"/>
                    <a:pt x="8400" y="2418"/>
                  </a:cubicBezTo>
                  <a:cubicBezTo>
                    <a:pt x="8400" y="2418"/>
                    <a:pt x="8400" y="2418"/>
                    <a:pt x="8380" y="2418"/>
                  </a:cubicBezTo>
                  <a:lnTo>
                    <a:pt x="8380" y="2398"/>
                  </a:lnTo>
                  <a:lnTo>
                    <a:pt x="8359" y="2377"/>
                  </a:lnTo>
                  <a:cubicBezTo>
                    <a:pt x="8339" y="2377"/>
                    <a:pt x="8339" y="2377"/>
                    <a:pt x="8318" y="2377"/>
                  </a:cubicBezTo>
                  <a:cubicBezTo>
                    <a:pt x="8318" y="2398"/>
                    <a:pt x="8318" y="2398"/>
                    <a:pt x="8318" y="2398"/>
                  </a:cubicBezTo>
                  <a:cubicBezTo>
                    <a:pt x="8318" y="2418"/>
                    <a:pt x="8318" y="2418"/>
                    <a:pt x="8318" y="2418"/>
                  </a:cubicBezTo>
                  <a:cubicBezTo>
                    <a:pt x="8339" y="2439"/>
                    <a:pt x="8339" y="2439"/>
                    <a:pt x="8339" y="2459"/>
                  </a:cubicBezTo>
                  <a:lnTo>
                    <a:pt x="8339" y="2480"/>
                  </a:lnTo>
                  <a:lnTo>
                    <a:pt x="8318" y="2500"/>
                  </a:lnTo>
                  <a:cubicBezTo>
                    <a:pt x="8298" y="2500"/>
                    <a:pt x="8298" y="2500"/>
                    <a:pt x="8277" y="2521"/>
                  </a:cubicBezTo>
                  <a:lnTo>
                    <a:pt x="8277" y="2541"/>
                  </a:lnTo>
                  <a:cubicBezTo>
                    <a:pt x="8277" y="2562"/>
                    <a:pt x="8277" y="2562"/>
                    <a:pt x="8277" y="2582"/>
                  </a:cubicBezTo>
                  <a:cubicBezTo>
                    <a:pt x="8277" y="2582"/>
                    <a:pt x="8257" y="2582"/>
                    <a:pt x="8257" y="2603"/>
                  </a:cubicBezTo>
                  <a:cubicBezTo>
                    <a:pt x="8236" y="2603"/>
                    <a:pt x="8236" y="2623"/>
                    <a:pt x="8216" y="2623"/>
                  </a:cubicBezTo>
                  <a:lnTo>
                    <a:pt x="8195" y="2623"/>
                  </a:lnTo>
                  <a:cubicBezTo>
                    <a:pt x="8175" y="2623"/>
                    <a:pt x="8154" y="2603"/>
                    <a:pt x="8154" y="2623"/>
                  </a:cubicBezTo>
                  <a:lnTo>
                    <a:pt x="8134" y="2623"/>
                  </a:lnTo>
                  <a:cubicBezTo>
                    <a:pt x="8134" y="2644"/>
                    <a:pt x="8134" y="2644"/>
                    <a:pt x="8134" y="2644"/>
                  </a:cubicBezTo>
                  <a:cubicBezTo>
                    <a:pt x="8154" y="2664"/>
                    <a:pt x="8154" y="2664"/>
                    <a:pt x="8154" y="2664"/>
                  </a:cubicBezTo>
                  <a:cubicBezTo>
                    <a:pt x="8154" y="2685"/>
                    <a:pt x="8175" y="2685"/>
                    <a:pt x="8175" y="2685"/>
                  </a:cubicBezTo>
                  <a:lnTo>
                    <a:pt x="8195" y="2705"/>
                  </a:lnTo>
                  <a:cubicBezTo>
                    <a:pt x="8195" y="2705"/>
                    <a:pt x="8195" y="2726"/>
                    <a:pt x="8195" y="2746"/>
                  </a:cubicBezTo>
                  <a:cubicBezTo>
                    <a:pt x="8175" y="2746"/>
                    <a:pt x="8175" y="2746"/>
                    <a:pt x="8154" y="2746"/>
                  </a:cubicBezTo>
                  <a:cubicBezTo>
                    <a:pt x="8154" y="2767"/>
                    <a:pt x="8134" y="2767"/>
                    <a:pt x="8114" y="2767"/>
                  </a:cubicBezTo>
                  <a:cubicBezTo>
                    <a:pt x="8093" y="2767"/>
                    <a:pt x="8072" y="2767"/>
                    <a:pt x="8052" y="2767"/>
                  </a:cubicBezTo>
                  <a:lnTo>
                    <a:pt x="8032" y="2767"/>
                  </a:lnTo>
                  <a:cubicBezTo>
                    <a:pt x="8011" y="2767"/>
                    <a:pt x="8011" y="2746"/>
                    <a:pt x="7990" y="2746"/>
                  </a:cubicBezTo>
                  <a:cubicBezTo>
                    <a:pt x="7990" y="2746"/>
                    <a:pt x="7970" y="2746"/>
                    <a:pt x="7950" y="2746"/>
                  </a:cubicBezTo>
                  <a:lnTo>
                    <a:pt x="7950" y="2767"/>
                  </a:lnTo>
                  <a:lnTo>
                    <a:pt x="7950" y="2787"/>
                  </a:lnTo>
                  <a:cubicBezTo>
                    <a:pt x="7950" y="2807"/>
                    <a:pt x="7929" y="2807"/>
                    <a:pt x="7929" y="2828"/>
                  </a:cubicBezTo>
                  <a:lnTo>
                    <a:pt x="7929" y="2828"/>
                  </a:lnTo>
                  <a:cubicBezTo>
                    <a:pt x="7908" y="2828"/>
                    <a:pt x="7908" y="2849"/>
                    <a:pt x="7908" y="2849"/>
                  </a:cubicBezTo>
                  <a:cubicBezTo>
                    <a:pt x="7908" y="2849"/>
                    <a:pt x="7908" y="2869"/>
                    <a:pt x="7908" y="2889"/>
                  </a:cubicBezTo>
                  <a:cubicBezTo>
                    <a:pt x="7908" y="2889"/>
                    <a:pt x="7908" y="2910"/>
                    <a:pt x="7888" y="2931"/>
                  </a:cubicBezTo>
                  <a:cubicBezTo>
                    <a:pt x="7888" y="2931"/>
                    <a:pt x="7888" y="2931"/>
                    <a:pt x="7868" y="2951"/>
                  </a:cubicBezTo>
                  <a:lnTo>
                    <a:pt x="7847" y="2951"/>
                  </a:lnTo>
                  <a:cubicBezTo>
                    <a:pt x="7847" y="2951"/>
                    <a:pt x="7847" y="2971"/>
                    <a:pt x="7847" y="2992"/>
                  </a:cubicBezTo>
                  <a:cubicBezTo>
                    <a:pt x="7826" y="2992"/>
                    <a:pt x="7826" y="2992"/>
                    <a:pt x="7806" y="2992"/>
                  </a:cubicBezTo>
                  <a:cubicBezTo>
                    <a:pt x="7806" y="3013"/>
                    <a:pt x="7806" y="3013"/>
                    <a:pt x="7786" y="3033"/>
                  </a:cubicBezTo>
                  <a:cubicBezTo>
                    <a:pt x="7786" y="3053"/>
                    <a:pt x="7786" y="3074"/>
                    <a:pt x="7765" y="3095"/>
                  </a:cubicBezTo>
                  <a:lnTo>
                    <a:pt x="7744" y="3095"/>
                  </a:lnTo>
                  <a:cubicBezTo>
                    <a:pt x="7744" y="3115"/>
                    <a:pt x="7744" y="3135"/>
                    <a:pt x="7744" y="3135"/>
                  </a:cubicBezTo>
                  <a:lnTo>
                    <a:pt x="7724" y="3156"/>
                  </a:lnTo>
                  <a:lnTo>
                    <a:pt x="7724" y="3177"/>
                  </a:lnTo>
                  <a:lnTo>
                    <a:pt x="7724" y="3177"/>
                  </a:lnTo>
                  <a:lnTo>
                    <a:pt x="7724" y="3197"/>
                  </a:lnTo>
                  <a:cubicBezTo>
                    <a:pt x="7724" y="3197"/>
                    <a:pt x="7724" y="3197"/>
                    <a:pt x="7704" y="3197"/>
                  </a:cubicBezTo>
                  <a:cubicBezTo>
                    <a:pt x="7704" y="3197"/>
                    <a:pt x="7704" y="3197"/>
                    <a:pt x="7704" y="3217"/>
                  </a:cubicBezTo>
                  <a:cubicBezTo>
                    <a:pt x="7683" y="3217"/>
                    <a:pt x="7683" y="3217"/>
                    <a:pt x="7662" y="3217"/>
                  </a:cubicBezTo>
                  <a:lnTo>
                    <a:pt x="7662" y="3197"/>
                  </a:lnTo>
                  <a:cubicBezTo>
                    <a:pt x="7642" y="3217"/>
                    <a:pt x="7642" y="3217"/>
                    <a:pt x="7622" y="3217"/>
                  </a:cubicBezTo>
                  <a:cubicBezTo>
                    <a:pt x="7622" y="3238"/>
                    <a:pt x="7601" y="3217"/>
                    <a:pt x="7601" y="3217"/>
                  </a:cubicBezTo>
                  <a:cubicBezTo>
                    <a:pt x="7601" y="3238"/>
                    <a:pt x="7601" y="3238"/>
                    <a:pt x="7601" y="3238"/>
                  </a:cubicBezTo>
                  <a:cubicBezTo>
                    <a:pt x="7601" y="3259"/>
                    <a:pt x="7580" y="3259"/>
                    <a:pt x="7580" y="3259"/>
                  </a:cubicBezTo>
                  <a:cubicBezTo>
                    <a:pt x="7560" y="3259"/>
                    <a:pt x="7560" y="3279"/>
                    <a:pt x="7540" y="3279"/>
                  </a:cubicBezTo>
                  <a:cubicBezTo>
                    <a:pt x="7540" y="3299"/>
                    <a:pt x="7560" y="3299"/>
                    <a:pt x="7560" y="3320"/>
                  </a:cubicBezTo>
                  <a:cubicBezTo>
                    <a:pt x="7560" y="3320"/>
                    <a:pt x="7560" y="3320"/>
                    <a:pt x="7540" y="3341"/>
                  </a:cubicBezTo>
                  <a:cubicBezTo>
                    <a:pt x="7540" y="3341"/>
                    <a:pt x="7540" y="3341"/>
                    <a:pt x="7519" y="3341"/>
                  </a:cubicBezTo>
                  <a:lnTo>
                    <a:pt x="7519" y="3341"/>
                  </a:lnTo>
                  <a:cubicBezTo>
                    <a:pt x="7498" y="3341"/>
                    <a:pt x="7478" y="3361"/>
                    <a:pt x="7478" y="3361"/>
                  </a:cubicBezTo>
                  <a:cubicBezTo>
                    <a:pt x="7458" y="3381"/>
                    <a:pt x="7458" y="3381"/>
                    <a:pt x="7458" y="3381"/>
                  </a:cubicBezTo>
                  <a:cubicBezTo>
                    <a:pt x="7437" y="3402"/>
                    <a:pt x="7437" y="3423"/>
                    <a:pt x="7437" y="3423"/>
                  </a:cubicBezTo>
                  <a:cubicBezTo>
                    <a:pt x="7416" y="3443"/>
                    <a:pt x="7416" y="3463"/>
                    <a:pt x="7416" y="3463"/>
                  </a:cubicBezTo>
                  <a:lnTo>
                    <a:pt x="7396" y="3483"/>
                  </a:lnTo>
                  <a:lnTo>
                    <a:pt x="7376" y="3504"/>
                  </a:lnTo>
                  <a:cubicBezTo>
                    <a:pt x="7356" y="3504"/>
                    <a:pt x="7356" y="3504"/>
                    <a:pt x="7335" y="3504"/>
                  </a:cubicBezTo>
                  <a:cubicBezTo>
                    <a:pt x="7335" y="3483"/>
                    <a:pt x="7314" y="3483"/>
                    <a:pt x="7314" y="3483"/>
                  </a:cubicBezTo>
                  <a:cubicBezTo>
                    <a:pt x="7314" y="3463"/>
                    <a:pt x="7294" y="3463"/>
                    <a:pt x="7314" y="3443"/>
                  </a:cubicBezTo>
                  <a:lnTo>
                    <a:pt x="7314" y="3423"/>
                  </a:lnTo>
                  <a:cubicBezTo>
                    <a:pt x="7335" y="3423"/>
                    <a:pt x="7335" y="3423"/>
                    <a:pt x="7356" y="3423"/>
                  </a:cubicBezTo>
                  <a:lnTo>
                    <a:pt x="7376" y="3423"/>
                  </a:lnTo>
                  <a:lnTo>
                    <a:pt x="7396" y="3423"/>
                  </a:lnTo>
                  <a:lnTo>
                    <a:pt x="7396" y="3402"/>
                  </a:lnTo>
                  <a:cubicBezTo>
                    <a:pt x="7396" y="3381"/>
                    <a:pt x="7376" y="3381"/>
                    <a:pt x="7376" y="3361"/>
                  </a:cubicBezTo>
                  <a:cubicBezTo>
                    <a:pt x="7376" y="3361"/>
                    <a:pt x="7376" y="3361"/>
                    <a:pt x="7356" y="3361"/>
                  </a:cubicBezTo>
                  <a:cubicBezTo>
                    <a:pt x="7356" y="3341"/>
                    <a:pt x="7356" y="3341"/>
                    <a:pt x="7356" y="3320"/>
                  </a:cubicBezTo>
                  <a:lnTo>
                    <a:pt x="7356" y="3299"/>
                  </a:lnTo>
                  <a:lnTo>
                    <a:pt x="7356" y="3279"/>
                  </a:lnTo>
                  <a:lnTo>
                    <a:pt x="7335" y="3259"/>
                  </a:lnTo>
                  <a:lnTo>
                    <a:pt x="7335" y="3238"/>
                  </a:lnTo>
                  <a:cubicBezTo>
                    <a:pt x="7335" y="3217"/>
                    <a:pt x="7356" y="3217"/>
                    <a:pt x="7356" y="3217"/>
                  </a:cubicBezTo>
                  <a:cubicBezTo>
                    <a:pt x="7356" y="3197"/>
                    <a:pt x="7356" y="3156"/>
                    <a:pt x="7356" y="3135"/>
                  </a:cubicBezTo>
                  <a:cubicBezTo>
                    <a:pt x="7376" y="3135"/>
                    <a:pt x="7376" y="3115"/>
                    <a:pt x="7376" y="3095"/>
                  </a:cubicBezTo>
                  <a:cubicBezTo>
                    <a:pt x="7376" y="3095"/>
                    <a:pt x="7396" y="3074"/>
                    <a:pt x="7396" y="3053"/>
                  </a:cubicBezTo>
                  <a:cubicBezTo>
                    <a:pt x="7396" y="3053"/>
                    <a:pt x="7376" y="3053"/>
                    <a:pt x="7376" y="3033"/>
                  </a:cubicBezTo>
                  <a:cubicBezTo>
                    <a:pt x="7356" y="3033"/>
                    <a:pt x="7335" y="3033"/>
                    <a:pt x="7335" y="3013"/>
                  </a:cubicBezTo>
                  <a:cubicBezTo>
                    <a:pt x="7335" y="3013"/>
                    <a:pt x="7314" y="3013"/>
                    <a:pt x="7294" y="3013"/>
                  </a:cubicBezTo>
                  <a:lnTo>
                    <a:pt x="7294" y="2992"/>
                  </a:lnTo>
                  <a:cubicBezTo>
                    <a:pt x="7274" y="2971"/>
                    <a:pt x="7274" y="2971"/>
                    <a:pt x="7274" y="2951"/>
                  </a:cubicBezTo>
                  <a:lnTo>
                    <a:pt x="7253" y="2951"/>
                  </a:lnTo>
                  <a:cubicBezTo>
                    <a:pt x="7253" y="2971"/>
                    <a:pt x="7253" y="2971"/>
                    <a:pt x="7253" y="2971"/>
                  </a:cubicBezTo>
                  <a:cubicBezTo>
                    <a:pt x="7232" y="2992"/>
                    <a:pt x="7232" y="2992"/>
                    <a:pt x="7232" y="2992"/>
                  </a:cubicBezTo>
                  <a:cubicBezTo>
                    <a:pt x="7212" y="2992"/>
                    <a:pt x="7212" y="2971"/>
                    <a:pt x="7192" y="2971"/>
                  </a:cubicBezTo>
                  <a:cubicBezTo>
                    <a:pt x="7192" y="2992"/>
                    <a:pt x="7171" y="2992"/>
                    <a:pt x="7171" y="2992"/>
                  </a:cubicBezTo>
                  <a:cubicBezTo>
                    <a:pt x="7171" y="3013"/>
                    <a:pt x="7171" y="3013"/>
                    <a:pt x="7171" y="3033"/>
                  </a:cubicBezTo>
                  <a:cubicBezTo>
                    <a:pt x="7150" y="3033"/>
                    <a:pt x="7171" y="3053"/>
                    <a:pt x="7150" y="3074"/>
                  </a:cubicBezTo>
                  <a:lnTo>
                    <a:pt x="7150" y="3095"/>
                  </a:lnTo>
                  <a:lnTo>
                    <a:pt x="7150" y="3135"/>
                  </a:lnTo>
                  <a:cubicBezTo>
                    <a:pt x="7150" y="3156"/>
                    <a:pt x="7130" y="3156"/>
                    <a:pt x="7130" y="3177"/>
                  </a:cubicBezTo>
                  <a:cubicBezTo>
                    <a:pt x="7110" y="3177"/>
                    <a:pt x="7089" y="3197"/>
                    <a:pt x="7089" y="3217"/>
                  </a:cubicBezTo>
                  <a:cubicBezTo>
                    <a:pt x="7068" y="3217"/>
                    <a:pt x="7068" y="3238"/>
                    <a:pt x="7048" y="3238"/>
                  </a:cubicBezTo>
                  <a:cubicBezTo>
                    <a:pt x="7048" y="3259"/>
                    <a:pt x="7028" y="3259"/>
                    <a:pt x="7028" y="3259"/>
                  </a:cubicBezTo>
                  <a:cubicBezTo>
                    <a:pt x="7007" y="3259"/>
                    <a:pt x="7007" y="3279"/>
                    <a:pt x="7007" y="3299"/>
                  </a:cubicBezTo>
                  <a:cubicBezTo>
                    <a:pt x="7007" y="3299"/>
                    <a:pt x="7028" y="3320"/>
                    <a:pt x="7028" y="3341"/>
                  </a:cubicBezTo>
                  <a:cubicBezTo>
                    <a:pt x="7028" y="3361"/>
                    <a:pt x="7028" y="3381"/>
                    <a:pt x="7007" y="3402"/>
                  </a:cubicBezTo>
                  <a:cubicBezTo>
                    <a:pt x="7007" y="3402"/>
                    <a:pt x="7007" y="3402"/>
                    <a:pt x="7007" y="3423"/>
                  </a:cubicBezTo>
                  <a:lnTo>
                    <a:pt x="6986" y="3423"/>
                  </a:lnTo>
                  <a:lnTo>
                    <a:pt x="6966" y="3443"/>
                  </a:lnTo>
                  <a:cubicBezTo>
                    <a:pt x="6946" y="3443"/>
                    <a:pt x="6946" y="3423"/>
                    <a:pt x="6946" y="3423"/>
                  </a:cubicBezTo>
                  <a:cubicBezTo>
                    <a:pt x="6925" y="3423"/>
                    <a:pt x="6925" y="3423"/>
                    <a:pt x="6904" y="3423"/>
                  </a:cubicBezTo>
                  <a:cubicBezTo>
                    <a:pt x="6904" y="3443"/>
                    <a:pt x="6904" y="3443"/>
                    <a:pt x="6904" y="3463"/>
                  </a:cubicBezTo>
                  <a:cubicBezTo>
                    <a:pt x="6884" y="3463"/>
                    <a:pt x="6884" y="3463"/>
                    <a:pt x="6884" y="3463"/>
                  </a:cubicBezTo>
                  <a:cubicBezTo>
                    <a:pt x="6884" y="3463"/>
                    <a:pt x="6884" y="3443"/>
                    <a:pt x="6864" y="3443"/>
                  </a:cubicBezTo>
                  <a:lnTo>
                    <a:pt x="6864" y="3423"/>
                  </a:lnTo>
                  <a:cubicBezTo>
                    <a:pt x="6843" y="3423"/>
                    <a:pt x="6843" y="3423"/>
                    <a:pt x="6822" y="3423"/>
                  </a:cubicBezTo>
                  <a:lnTo>
                    <a:pt x="6822" y="3443"/>
                  </a:lnTo>
                  <a:cubicBezTo>
                    <a:pt x="6822" y="3443"/>
                    <a:pt x="6802" y="3443"/>
                    <a:pt x="6802" y="3463"/>
                  </a:cubicBezTo>
                  <a:lnTo>
                    <a:pt x="6822" y="3483"/>
                  </a:lnTo>
                  <a:cubicBezTo>
                    <a:pt x="6822" y="3483"/>
                    <a:pt x="6822" y="3504"/>
                    <a:pt x="6822" y="3525"/>
                  </a:cubicBezTo>
                  <a:cubicBezTo>
                    <a:pt x="6822" y="3525"/>
                    <a:pt x="6822" y="3545"/>
                    <a:pt x="6822" y="3565"/>
                  </a:cubicBezTo>
                  <a:cubicBezTo>
                    <a:pt x="6822" y="3565"/>
                    <a:pt x="6843" y="3586"/>
                    <a:pt x="6864" y="3586"/>
                  </a:cubicBezTo>
                  <a:cubicBezTo>
                    <a:pt x="6864" y="3607"/>
                    <a:pt x="6864" y="3607"/>
                    <a:pt x="6864" y="3607"/>
                  </a:cubicBezTo>
                  <a:cubicBezTo>
                    <a:pt x="6884" y="3627"/>
                    <a:pt x="6884" y="3627"/>
                    <a:pt x="6884" y="3627"/>
                  </a:cubicBezTo>
                  <a:cubicBezTo>
                    <a:pt x="6884" y="3647"/>
                    <a:pt x="6904" y="3647"/>
                    <a:pt x="6904" y="3647"/>
                  </a:cubicBezTo>
                  <a:lnTo>
                    <a:pt x="6925" y="3647"/>
                  </a:lnTo>
                  <a:cubicBezTo>
                    <a:pt x="6925" y="3668"/>
                    <a:pt x="6946" y="3668"/>
                    <a:pt x="6946" y="3689"/>
                  </a:cubicBezTo>
                  <a:cubicBezTo>
                    <a:pt x="6966" y="3689"/>
                    <a:pt x="6966" y="3689"/>
                    <a:pt x="6986" y="3689"/>
                  </a:cubicBezTo>
                  <a:lnTo>
                    <a:pt x="7007" y="3689"/>
                  </a:lnTo>
                  <a:lnTo>
                    <a:pt x="7028" y="3668"/>
                  </a:lnTo>
                  <a:cubicBezTo>
                    <a:pt x="7048" y="3668"/>
                    <a:pt x="7048" y="3689"/>
                    <a:pt x="7068" y="3689"/>
                  </a:cubicBezTo>
                  <a:cubicBezTo>
                    <a:pt x="7068" y="3689"/>
                    <a:pt x="7089" y="3709"/>
                    <a:pt x="7110" y="3709"/>
                  </a:cubicBezTo>
                  <a:cubicBezTo>
                    <a:pt x="7110" y="3729"/>
                    <a:pt x="7130" y="3750"/>
                    <a:pt x="7130" y="3750"/>
                  </a:cubicBezTo>
                  <a:lnTo>
                    <a:pt x="7130" y="3771"/>
                  </a:lnTo>
                  <a:cubicBezTo>
                    <a:pt x="7130" y="3791"/>
                    <a:pt x="7110" y="3811"/>
                    <a:pt x="7130" y="3811"/>
                  </a:cubicBezTo>
                  <a:lnTo>
                    <a:pt x="7130" y="3832"/>
                  </a:lnTo>
                  <a:lnTo>
                    <a:pt x="7150" y="3853"/>
                  </a:lnTo>
                  <a:lnTo>
                    <a:pt x="7171" y="3873"/>
                  </a:lnTo>
                  <a:lnTo>
                    <a:pt x="7192" y="3873"/>
                  </a:lnTo>
                  <a:cubicBezTo>
                    <a:pt x="7212" y="3873"/>
                    <a:pt x="7212" y="3873"/>
                    <a:pt x="7232" y="3873"/>
                  </a:cubicBezTo>
                  <a:lnTo>
                    <a:pt x="7253" y="3853"/>
                  </a:lnTo>
                  <a:cubicBezTo>
                    <a:pt x="7274" y="3853"/>
                    <a:pt x="7274" y="3832"/>
                    <a:pt x="7274" y="3832"/>
                  </a:cubicBezTo>
                  <a:cubicBezTo>
                    <a:pt x="7274" y="3811"/>
                    <a:pt x="7274" y="3811"/>
                    <a:pt x="7274" y="3791"/>
                  </a:cubicBezTo>
                  <a:cubicBezTo>
                    <a:pt x="7274" y="3791"/>
                    <a:pt x="7274" y="3791"/>
                    <a:pt x="7294" y="3791"/>
                  </a:cubicBezTo>
                  <a:cubicBezTo>
                    <a:pt x="7294" y="3771"/>
                    <a:pt x="7294" y="3771"/>
                    <a:pt x="7294" y="3750"/>
                  </a:cubicBezTo>
                  <a:cubicBezTo>
                    <a:pt x="7294" y="3750"/>
                    <a:pt x="7294" y="3750"/>
                    <a:pt x="7314" y="3729"/>
                  </a:cubicBezTo>
                  <a:cubicBezTo>
                    <a:pt x="7314" y="3729"/>
                    <a:pt x="7314" y="3729"/>
                    <a:pt x="7335" y="3729"/>
                  </a:cubicBezTo>
                  <a:cubicBezTo>
                    <a:pt x="7335" y="3729"/>
                    <a:pt x="7335" y="3729"/>
                    <a:pt x="7356" y="3729"/>
                  </a:cubicBezTo>
                  <a:lnTo>
                    <a:pt x="7356" y="3709"/>
                  </a:lnTo>
                  <a:cubicBezTo>
                    <a:pt x="7376" y="3709"/>
                    <a:pt x="7396" y="3709"/>
                    <a:pt x="7396" y="3709"/>
                  </a:cubicBezTo>
                  <a:lnTo>
                    <a:pt x="7416" y="3729"/>
                  </a:lnTo>
                  <a:cubicBezTo>
                    <a:pt x="7416" y="3729"/>
                    <a:pt x="7416" y="3750"/>
                    <a:pt x="7437" y="3750"/>
                  </a:cubicBezTo>
                  <a:cubicBezTo>
                    <a:pt x="7437" y="3771"/>
                    <a:pt x="7458" y="3750"/>
                    <a:pt x="7478" y="3750"/>
                  </a:cubicBezTo>
                  <a:lnTo>
                    <a:pt x="7478" y="3750"/>
                  </a:lnTo>
                  <a:lnTo>
                    <a:pt x="7498" y="3750"/>
                  </a:lnTo>
                  <a:cubicBezTo>
                    <a:pt x="7498" y="3771"/>
                    <a:pt x="7498" y="3771"/>
                    <a:pt x="7498" y="3771"/>
                  </a:cubicBezTo>
                  <a:cubicBezTo>
                    <a:pt x="7498" y="3791"/>
                    <a:pt x="7519" y="3791"/>
                    <a:pt x="7519" y="3791"/>
                  </a:cubicBezTo>
                  <a:cubicBezTo>
                    <a:pt x="7540" y="3791"/>
                    <a:pt x="7560" y="3791"/>
                    <a:pt x="7560" y="3791"/>
                  </a:cubicBezTo>
                  <a:lnTo>
                    <a:pt x="7580" y="3771"/>
                  </a:lnTo>
                  <a:lnTo>
                    <a:pt x="7580" y="3750"/>
                  </a:lnTo>
                  <a:lnTo>
                    <a:pt x="7601" y="3750"/>
                  </a:lnTo>
                  <a:lnTo>
                    <a:pt x="7622" y="3750"/>
                  </a:lnTo>
                  <a:cubicBezTo>
                    <a:pt x="7642" y="3750"/>
                    <a:pt x="7642" y="3771"/>
                    <a:pt x="7642" y="3791"/>
                  </a:cubicBezTo>
                  <a:lnTo>
                    <a:pt x="7662" y="3771"/>
                  </a:lnTo>
                  <a:cubicBezTo>
                    <a:pt x="7662" y="3771"/>
                    <a:pt x="7662" y="3771"/>
                    <a:pt x="7683" y="3771"/>
                  </a:cubicBezTo>
                  <a:cubicBezTo>
                    <a:pt x="7683" y="3750"/>
                    <a:pt x="7704" y="3771"/>
                    <a:pt x="7704" y="3771"/>
                  </a:cubicBezTo>
                  <a:lnTo>
                    <a:pt x="7704" y="3791"/>
                  </a:lnTo>
                  <a:lnTo>
                    <a:pt x="7683" y="3811"/>
                  </a:lnTo>
                  <a:cubicBezTo>
                    <a:pt x="7683" y="3811"/>
                    <a:pt x="7704" y="3811"/>
                    <a:pt x="7704" y="3832"/>
                  </a:cubicBezTo>
                  <a:lnTo>
                    <a:pt x="7704" y="3832"/>
                  </a:lnTo>
                  <a:cubicBezTo>
                    <a:pt x="7704" y="3853"/>
                    <a:pt x="7704" y="3853"/>
                    <a:pt x="7704" y="3873"/>
                  </a:cubicBezTo>
                  <a:lnTo>
                    <a:pt x="7704" y="3893"/>
                  </a:lnTo>
                  <a:cubicBezTo>
                    <a:pt x="7683" y="3893"/>
                    <a:pt x="7683" y="3914"/>
                    <a:pt x="7683" y="3914"/>
                  </a:cubicBezTo>
                  <a:cubicBezTo>
                    <a:pt x="7662" y="3914"/>
                    <a:pt x="7662" y="3914"/>
                    <a:pt x="7662" y="3914"/>
                  </a:cubicBezTo>
                  <a:lnTo>
                    <a:pt x="7642" y="3914"/>
                  </a:lnTo>
                  <a:cubicBezTo>
                    <a:pt x="7642" y="3893"/>
                    <a:pt x="7642" y="3893"/>
                    <a:pt x="7642" y="3893"/>
                  </a:cubicBezTo>
                  <a:lnTo>
                    <a:pt x="7622" y="3873"/>
                  </a:lnTo>
                  <a:lnTo>
                    <a:pt x="7622" y="3893"/>
                  </a:lnTo>
                  <a:cubicBezTo>
                    <a:pt x="7622" y="3893"/>
                    <a:pt x="7622" y="3893"/>
                    <a:pt x="7601" y="3914"/>
                  </a:cubicBezTo>
                  <a:cubicBezTo>
                    <a:pt x="7601" y="3914"/>
                    <a:pt x="7601" y="3914"/>
                    <a:pt x="7580" y="3914"/>
                  </a:cubicBezTo>
                  <a:lnTo>
                    <a:pt x="7580" y="3935"/>
                  </a:lnTo>
                  <a:lnTo>
                    <a:pt x="7560" y="3935"/>
                  </a:lnTo>
                  <a:lnTo>
                    <a:pt x="7560" y="3955"/>
                  </a:lnTo>
                  <a:cubicBezTo>
                    <a:pt x="7540" y="3955"/>
                    <a:pt x="7540" y="3975"/>
                    <a:pt x="7519" y="3975"/>
                  </a:cubicBezTo>
                  <a:cubicBezTo>
                    <a:pt x="7519" y="3975"/>
                    <a:pt x="7519" y="3975"/>
                    <a:pt x="7498" y="3975"/>
                  </a:cubicBezTo>
                  <a:lnTo>
                    <a:pt x="7478" y="3975"/>
                  </a:lnTo>
                  <a:cubicBezTo>
                    <a:pt x="7478" y="3975"/>
                    <a:pt x="7478" y="3975"/>
                    <a:pt x="7478" y="3996"/>
                  </a:cubicBezTo>
                  <a:lnTo>
                    <a:pt x="7498" y="3996"/>
                  </a:lnTo>
                  <a:lnTo>
                    <a:pt x="7498" y="4017"/>
                  </a:lnTo>
                  <a:cubicBezTo>
                    <a:pt x="7498" y="4017"/>
                    <a:pt x="7478" y="4017"/>
                    <a:pt x="7478" y="4037"/>
                  </a:cubicBezTo>
                  <a:lnTo>
                    <a:pt x="7478" y="4057"/>
                  </a:lnTo>
                  <a:cubicBezTo>
                    <a:pt x="7458" y="4057"/>
                    <a:pt x="7458" y="4057"/>
                    <a:pt x="7458" y="4057"/>
                  </a:cubicBezTo>
                  <a:cubicBezTo>
                    <a:pt x="7437" y="4057"/>
                    <a:pt x="7416" y="4057"/>
                    <a:pt x="7416" y="4057"/>
                  </a:cubicBezTo>
                  <a:cubicBezTo>
                    <a:pt x="7416" y="4057"/>
                    <a:pt x="7416" y="4057"/>
                    <a:pt x="7396" y="4057"/>
                  </a:cubicBezTo>
                  <a:cubicBezTo>
                    <a:pt x="7396" y="4078"/>
                    <a:pt x="7396" y="4078"/>
                    <a:pt x="7396" y="4078"/>
                  </a:cubicBezTo>
                  <a:cubicBezTo>
                    <a:pt x="7376" y="4078"/>
                    <a:pt x="7376" y="4078"/>
                    <a:pt x="7376" y="4078"/>
                  </a:cubicBezTo>
                  <a:cubicBezTo>
                    <a:pt x="7376" y="4099"/>
                    <a:pt x="7396" y="4099"/>
                    <a:pt x="7396" y="4099"/>
                  </a:cubicBezTo>
                  <a:lnTo>
                    <a:pt x="7416" y="4118"/>
                  </a:lnTo>
                  <a:cubicBezTo>
                    <a:pt x="7416" y="4118"/>
                    <a:pt x="7437" y="4118"/>
                    <a:pt x="7437" y="4138"/>
                  </a:cubicBezTo>
                  <a:cubicBezTo>
                    <a:pt x="7437" y="4138"/>
                    <a:pt x="7416" y="4138"/>
                    <a:pt x="7416" y="4159"/>
                  </a:cubicBezTo>
                  <a:lnTo>
                    <a:pt x="7396" y="4179"/>
                  </a:lnTo>
                  <a:cubicBezTo>
                    <a:pt x="7396" y="4179"/>
                    <a:pt x="7396" y="4200"/>
                    <a:pt x="7396" y="4220"/>
                  </a:cubicBezTo>
                  <a:cubicBezTo>
                    <a:pt x="7376" y="4220"/>
                    <a:pt x="7376" y="4241"/>
                    <a:pt x="7376" y="4261"/>
                  </a:cubicBezTo>
                  <a:cubicBezTo>
                    <a:pt x="7376" y="4261"/>
                    <a:pt x="7376" y="4282"/>
                    <a:pt x="7376" y="4302"/>
                  </a:cubicBezTo>
                  <a:cubicBezTo>
                    <a:pt x="7376" y="4302"/>
                    <a:pt x="7376" y="4323"/>
                    <a:pt x="7376" y="4343"/>
                  </a:cubicBezTo>
                  <a:lnTo>
                    <a:pt x="7376" y="4364"/>
                  </a:lnTo>
                  <a:cubicBezTo>
                    <a:pt x="7356" y="4364"/>
                    <a:pt x="7356" y="4384"/>
                    <a:pt x="7376" y="4384"/>
                  </a:cubicBezTo>
                  <a:lnTo>
                    <a:pt x="7376" y="4405"/>
                  </a:lnTo>
                  <a:cubicBezTo>
                    <a:pt x="7396" y="4405"/>
                    <a:pt x="7396" y="4405"/>
                    <a:pt x="7396" y="4405"/>
                  </a:cubicBezTo>
                  <a:cubicBezTo>
                    <a:pt x="7416" y="4405"/>
                    <a:pt x="7416" y="4405"/>
                    <a:pt x="7437" y="4405"/>
                  </a:cubicBezTo>
                  <a:cubicBezTo>
                    <a:pt x="7437" y="4405"/>
                    <a:pt x="7437" y="4425"/>
                    <a:pt x="7458" y="4446"/>
                  </a:cubicBezTo>
                  <a:cubicBezTo>
                    <a:pt x="7458" y="4446"/>
                    <a:pt x="7458" y="4466"/>
                    <a:pt x="7478" y="4466"/>
                  </a:cubicBezTo>
                  <a:lnTo>
                    <a:pt x="7498" y="4487"/>
                  </a:lnTo>
                  <a:cubicBezTo>
                    <a:pt x="7519" y="4487"/>
                    <a:pt x="7540" y="4507"/>
                    <a:pt x="7540" y="4528"/>
                  </a:cubicBezTo>
                  <a:cubicBezTo>
                    <a:pt x="7540" y="4528"/>
                    <a:pt x="7560" y="4528"/>
                    <a:pt x="7560" y="4548"/>
                  </a:cubicBezTo>
                  <a:lnTo>
                    <a:pt x="7560" y="4569"/>
                  </a:lnTo>
                  <a:cubicBezTo>
                    <a:pt x="7580" y="4569"/>
                    <a:pt x="7580" y="4589"/>
                    <a:pt x="7601" y="4589"/>
                  </a:cubicBezTo>
                  <a:lnTo>
                    <a:pt x="7622" y="4610"/>
                  </a:lnTo>
                  <a:cubicBezTo>
                    <a:pt x="7622" y="4610"/>
                    <a:pt x="7642" y="4630"/>
                    <a:pt x="7642" y="4651"/>
                  </a:cubicBezTo>
                  <a:lnTo>
                    <a:pt x="7662" y="4671"/>
                  </a:lnTo>
                  <a:cubicBezTo>
                    <a:pt x="7662" y="4671"/>
                    <a:pt x="7662" y="4692"/>
                    <a:pt x="7683" y="4712"/>
                  </a:cubicBezTo>
                  <a:cubicBezTo>
                    <a:pt x="7683" y="4712"/>
                    <a:pt x="7683" y="4712"/>
                    <a:pt x="7704" y="4733"/>
                  </a:cubicBezTo>
                  <a:cubicBezTo>
                    <a:pt x="7704" y="4733"/>
                    <a:pt x="7704" y="4753"/>
                    <a:pt x="7724" y="4774"/>
                  </a:cubicBezTo>
                  <a:lnTo>
                    <a:pt x="7744" y="4774"/>
                  </a:lnTo>
                  <a:cubicBezTo>
                    <a:pt x="7744" y="4794"/>
                    <a:pt x="7744" y="4794"/>
                    <a:pt x="7765" y="4815"/>
                  </a:cubicBezTo>
                  <a:cubicBezTo>
                    <a:pt x="7765" y="4815"/>
                    <a:pt x="7765" y="4815"/>
                    <a:pt x="7765" y="4835"/>
                  </a:cubicBezTo>
                  <a:lnTo>
                    <a:pt x="7765" y="4835"/>
                  </a:lnTo>
                  <a:cubicBezTo>
                    <a:pt x="7765" y="4855"/>
                    <a:pt x="7765" y="4855"/>
                    <a:pt x="7765" y="4855"/>
                  </a:cubicBezTo>
                  <a:lnTo>
                    <a:pt x="7765" y="4876"/>
                  </a:lnTo>
                  <a:lnTo>
                    <a:pt x="7786" y="4876"/>
                  </a:lnTo>
                  <a:lnTo>
                    <a:pt x="7806" y="4876"/>
                  </a:lnTo>
                  <a:lnTo>
                    <a:pt x="7806" y="4876"/>
                  </a:lnTo>
                  <a:cubicBezTo>
                    <a:pt x="7826" y="4855"/>
                    <a:pt x="7826" y="4855"/>
                    <a:pt x="7826" y="4876"/>
                  </a:cubicBezTo>
                  <a:cubicBezTo>
                    <a:pt x="7826" y="4876"/>
                    <a:pt x="7826" y="4876"/>
                    <a:pt x="7847" y="4876"/>
                  </a:cubicBezTo>
                  <a:lnTo>
                    <a:pt x="7826" y="4897"/>
                  </a:lnTo>
                  <a:cubicBezTo>
                    <a:pt x="7826" y="4917"/>
                    <a:pt x="7847" y="4917"/>
                    <a:pt x="7847" y="4917"/>
                  </a:cubicBezTo>
                  <a:lnTo>
                    <a:pt x="7868" y="4937"/>
                  </a:lnTo>
                  <a:lnTo>
                    <a:pt x="7888" y="4958"/>
                  </a:lnTo>
                  <a:cubicBezTo>
                    <a:pt x="7888" y="4979"/>
                    <a:pt x="7888" y="4979"/>
                    <a:pt x="7888" y="4979"/>
                  </a:cubicBezTo>
                  <a:cubicBezTo>
                    <a:pt x="7888" y="4999"/>
                    <a:pt x="7908" y="4999"/>
                    <a:pt x="7908" y="4999"/>
                  </a:cubicBezTo>
                  <a:lnTo>
                    <a:pt x="7929" y="4999"/>
                  </a:lnTo>
                  <a:lnTo>
                    <a:pt x="7950" y="5019"/>
                  </a:lnTo>
                  <a:lnTo>
                    <a:pt x="7970" y="5040"/>
                  </a:lnTo>
                  <a:cubicBezTo>
                    <a:pt x="7970" y="5061"/>
                    <a:pt x="7990" y="5061"/>
                    <a:pt x="7990" y="5061"/>
                  </a:cubicBezTo>
                  <a:cubicBezTo>
                    <a:pt x="7990" y="5081"/>
                    <a:pt x="7990" y="5081"/>
                    <a:pt x="7990" y="5101"/>
                  </a:cubicBezTo>
                  <a:cubicBezTo>
                    <a:pt x="7990" y="5101"/>
                    <a:pt x="7990" y="5101"/>
                    <a:pt x="7970" y="5101"/>
                  </a:cubicBezTo>
                  <a:lnTo>
                    <a:pt x="7970" y="5101"/>
                  </a:lnTo>
                  <a:cubicBezTo>
                    <a:pt x="7950" y="5101"/>
                    <a:pt x="7950" y="5101"/>
                    <a:pt x="7950" y="5101"/>
                  </a:cubicBezTo>
                  <a:lnTo>
                    <a:pt x="7950" y="5081"/>
                  </a:lnTo>
                  <a:cubicBezTo>
                    <a:pt x="7929" y="5081"/>
                    <a:pt x="7929" y="5081"/>
                    <a:pt x="7929" y="5081"/>
                  </a:cubicBezTo>
                  <a:lnTo>
                    <a:pt x="7908" y="5081"/>
                  </a:lnTo>
                  <a:lnTo>
                    <a:pt x="7908" y="5101"/>
                  </a:lnTo>
                  <a:lnTo>
                    <a:pt x="7908" y="5122"/>
                  </a:lnTo>
                  <a:lnTo>
                    <a:pt x="7888" y="5122"/>
                  </a:lnTo>
                  <a:cubicBezTo>
                    <a:pt x="7888" y="5101"/>
                    <a:pt x="7888" y="5101"/>
                    <a:pt x="7888" y="5101"/>
                  </a:cubicBezTo>
                  <a:cubicBezTo>
                    <a:pt x="7888" y="5081"/>
                    <a:pt x="7888" y="5081"/>
                    <a:pt x="7868" y="5081"/>
                  </a:cubicBezTo>
                  <a:lnTo>
                    <a:pt x="7847" y="5061"/>
                  </a:lnTo>
                  <a:lnTo>
                    <a:pt x="7826" y="5061"/>
                  </a:lnTo>
                  <a:lnTo>
                    <a:pt x="7806" y="5040"/>
                  </a:lnTo>
                  <a:lnTo>
                    <a:pt x="7786" y="5040"/>
                  </a:lnTo>
                  <a:lnTo>
                    <a:pt x="7765" y="5040"/>
                  </a:lnTo>
                  <a:cubicBezTo>
                    <a:pt x="7765" y="5019"/>
                    <a:pt x="7765" y="5019"/>
                    <a:pt x="7744" y="5019"/>
                  </a:cubicBezTo>
                  <a:lnTo>
                    <a:pt x="7744" y="5019"/>
                  </a:lnTo>
                  <a:cubicBezTo>
                    <a:pt x="7724" y="5019"/>
                    <a:pt x="7724" y="5019"/>
                    <a:pt x="7704" y="5040"/>
                  </a:cubicBezTo>
                  <a:lnTo>
                    <a:pt x="7704" y="5040"/>
                  </a:lnTo>
                  <a:cubicBezTo>
                    <a:pt x="7683" y="5040"/>
                    <a:pt x="7683" y="5040"/>
                    <a:pt x="7662" y="5040"/>
                  </a:cubicBezTo>
                  <a:lnTo>
                    <a:pt x="7642" y="5019"/>
                  </a:lnTo>
                  <a:lnTo>
                    <a:pt x="7622" y="5019"/>
                  </a:lnTo>
                  <a:lnTo>
                    <a:pt x="7601" y="5019"/>
                  </a:lnTo>
                  <a:cubicBezTo>
                    <a:pt x="7601" y="5019"/>
                    <a:pt x="7601" y="5019"/>
                    <a:pt x="7580" y="5019"/>
                  </a:cubicBezTo>
                  <a:cubicBezTo>
                    <a:pt x="7580" y="5019"/>
                    <a:pt x="7580" y="5019"/>
                    <a:pt x="7580" y="5040"/>
                  </a:cubicBezTo>
                  <a:lnTo>
                    <a:pt x="7601" y="5040"/>
                  </a:lnTo>
                  <a:cubicBezTo>
                    <a:pt x="7622" y="5040"/>
                    <a:pt x="7622" y="5040"/>
                    <a:pt x="7622" y="5040"/>
                  </a:cubicBezTo>
                  <a:cubicBezTo>
                    <a:pt x="7642" y="5040"/>
                    <a:pt x="7642" y="5040"/>
                    <a:pt x="7662" y="5061"/>
                  </a:cubicBezTo>
                  <a:cubicBezTo>
                    <a:pt x="7662" y="5061"/>
                    <a:pt x="7662" y="5061"/>
                    <a:pt x="7662" y="5081"/>
                  </a:cubicBezTo>
                  <a:cubicBezTo>
                    <a:pt x="7683" y="5081"/>
                    <a:pt x="7704" y="5081"/>
                    <a:pt x="7704" y="5081"/>
                  </a:cubicBezTo>
                  <a:cubicBezTo>
                    <a:pt x="7704" y="5081"/>
                    <a:pt x="7724" y="5081"/>
                    <a:pt x="7744" y="5061"/>
                  </a:cubicBezTo>
                  <a:lnTo>
                    <a:pt x="7765" y="5061"/>
                  </a:lnTo>
                  <a:lnTo>
                    <a:pt x="7786" y="5081"/>
                  </a:lnTo>
                  <a:lnTo>
                    <a:pt x="7806" y="5101"/>
                  </a:lnTo>
                  <a:cubicBezTo>
                    <a:pt x="7806" y="5101"/>
                    <a:pt x="7806" y="5101"/>
                    <a:pt x="7806" y="5122"/>
                  </a:cubicBezTo>
                  <a:cubicBezTo>
                    <a:pt x="7826" y="5122"/>
                    <a:pt x="7826" y="5122"/>
                    <a:pt x="7826" y="5122"/>
                  </a:cubicBezTo>
                  <a:lnTo>
                    <a:pt x="7847" y="5122"/>
                  </a:lnTo>
                  <a:cubicBezTo>
                    <a:pt x="7847" y="5122"/>
                    <a:pt x="7847" y="5122"/>
                    <a:pt x="7868" y="5122"/>
                  </a:cubicBezTo>
                  <a:lnTo>
                    <a:pt x="7868" y="5122"/>
                  </a:lnTo>
                  <a:lnTo>
                    <a:pt x="7888" y="5143"/>
                  </a:lnTo>
                  <a:lnTo>
                    <a:pt x="7908" y="5163"/>
                  </a:lnTo>
                  <a:cubicBezTo>
                    <a:pt x="7929" y="5163"/>
                    <a:pt x="7929" y="5163"/>
                    <a:pt x="7950" y="5183"/>
                  </a:cubicBezTo>
                  <a:lnTo>
                    <a:pt x="7970" y="5183"/>
                  </a:lnTo>
                  <a:cubicBezTo>
                    <a:pt x="7970" y="5204"/>
                    <a:pt x="7990" y="5204"/>
                    <a:pt x="7990" y="5204"/>
                  </a:cubicBezTo>
                  <a:lnTo>
                    <a:pt x="8011" y="5225"/>
                  </a:lnTo>
                  <a:cubicBezTo>
                    <a:pt x="8011" y="5245"/>
                    <a:pt x="8011" y="5245"/>
                    <a:pt x="8011" y="5245"/>
                  </a:cubicBezTo>
                  <a:cubicBezTo>
                    <a:pt x="8011" y="5245"/>
                    <a:pt x="8032" y="5245"/>
                    <a:pt x="8032" y="5265"/>
                  </a:cubicBezTo>
                  <a:lnTo>
                    <a:pt x="8032" y="5286"/>
                  </a:lnTo>
                  <a:lnTo>
                    <a:pt x="8011" y="5286"/>
                  </a:lnTo>
                  <a:lnTo>
                    <a:pt x="7990" y="5286"/>
                  </a:lnTo>
                  <a:lnTo>
                    <a:pt x="7970" y="5286"/>
                  </a:lnTo>
                  <a:cubicBezTo>
                    <a:pt x="7970" y="5286"/>
                    <a:pt x="7970" y="5286"/>
                    <a:pt x="7970" y="5307"/>
                  </a:cubicBezTo>
                  <a:lnTo>
                    <a:pt x="7950" y="5307"/>
                  </a:lnTo>
                  <a:cubicBezTo>
                    <a:pt x="7950" y="5327"/>
                    <a:pt x="7950" y="5327"/>
                    <a:pt x="7950" y="5327"/>
                  </a:cubicBezTo>
                  <a:cubicBezTo>
                    <a:pt x="7950" y="5347"/>
                    <a:pt x="7929" y="5347"/>
                    <a:pt x="7929" y="5347"/>
                  </a:cubicBezTo>
                  <a:cubicBezTo>
                    <a:pt x="7929" y="5368"/>
                    <a:pt x="7908" y="5368"/>
                    <a:pt x="7908" y="5389"/>
                  </a:cubicBezTo>
                  <a:lnTo>
                    <a:pt x="7908" y="5409"/>
                  </a:lnTo>
                  <a:cubicBezTo>
                    <a:pt x="7908" y="5409"/>
                    <a:pt x="7888" y="5429"/>
                    <a:pt x="7888" y="5409"/>
                  </a:cubicBezTo>
                  <a:cubicBezTo>
                    <a:pt x="7888" y="5409"/>
                    <a:pt x="7868" y="5409"/>
                    <a:pt x="7868" y="5389"/>
                  </a:cubicBezTo>
                  <a:lnTo>
                    <a:pt x="7847" y="5389"/>
                  </a:lnTo>
                  <a:lnTo>
                    <a:pt x="7826" y="5389"/>
                  </a:lnTo>
                  <a:cubicBezTo>
                    <a:pt x="7826" y="5409"/>
                    <a:pt x="7806" y="5409"/>
                    <a:pt x="7806" y="5409"/>
                  </a:cubicBezTo>
                  <a:cubicBezTo>
                    <a:pt x="7806" y="5409"/>
                    <a:pt x="7786" y="5409"/>
                    <a:pt x="7786" y="5429"/>
                  </a:cubicBezTo>
                  <a:lnTo>
                    <a:pt x="7786" y="5429"/>
                  </a:lnTo>
                  <a:lnTo>
                    <a:pt x="7786" y="5450"/>
                  </a:lnTo>
                  <a:cubicBezTo>
                    <a:pt x="7806" y="5450"/>
                    <a:pt x="7826" y="5429"/>
                    <a:pt x="7826" y="5429"/>
                  </a:cubicBezTo>
                  <a:lnTo>
                    <a:pt x="7847" y="5429"/>
                  </a:lnTo>
                  <a:cubicBezTo>
                    <a:pt x="7847" y="5429"/>
                    <a:pt x="7847" y="5450"/>
                    <a:pt x="7868" y="5450"/>
                  </a:cubicBezTo>
                  <a:lnTo>
                    <a:pt x="7868" y="5450"/>
                  </a:lnTo>
                  <a:cubicBezTo>
                    <a:pt x="7888" y="5450"/>
                    <a:pt x="7888" y="5450"/>
                    <a:pt x="7888" y="5450"/>
                  </a:cubicBezTo>
                  <a:cubicBezTo>
                    <a:pt x="7908" y="5450"/>
                    <a:pt x="7908" y="5450"/>
                    <a:pt x="7908" y="5429"/>
                  </a:cubicBezTo>
                  <a:lnTo>
                    <a:pt x="7929" y="5429"/>
                  </a:lnTo>
                  <a:cubicBezTo>
                    <a:pt x="7950" y="5409"/>
                    <a:pt x="7970" y="5429"/>
                    <a:pt x="7970" y="5429"/>
                  </a:cubicBezTo>
                  <a:lnTo>
                    <a:pt x="7990" y="5429"/>
                  </a:lnTo>
                  <a:cubicBezTo>
                    <a:pt x="7990" y="5450"/>
                    <a:pt x="8011" y="5450"/>
                    <a:pt x="8011" y="5450"/>
                  </a:cubicBezTo>
                  <a:cubicBezTo>
                    <a:pt x="8032" y="5471"/>
                    <a:pt x="8032" y="5471"/>
                    <a:pt x="8052" y="5491"/>
                  </a:cubicBezTo>
                  <a:lnTo>
                    <a:pt x="8052" y="5491"/>
                  </a:lnTo>
                  <a:cubicBezTo>
                    <a:pt x="8072" y="5491"/>
                    <a:pt x="8072" y="5491"/>
                    <a:pt x="8093" y="5511"/>
                  </a:cubicBezTo>
                  <a:cubicBezTo>
                    <a:pt x="8093" y="5511"/>
                    <a:pt x="8093" y="5511"/>
                    <a:pt x="8114" y="5511"/>
                  </a:cubicBezTo>
                  <a:lnTo>
                    <a:pt x="8114" y="5531"/>
                  </a:lnTo>
                  <a:cubicBezTo>
                    <a:pt x="8114" y="5531"/>
                    <a:pt x="8093" y="5531"/>
                    <a:pt x="8093" y="5552"/>
                  </a:cubicBezTo>
                  <a:lnTo>
                    <a:pt x="8114" y="5552"/>
                  </a:lnTo>
                  <a:lnTo>
                    <a:pt x="8114" y="5573"/>
                  </a:lnTo>
                  <a:lnTo>
                    <a:pt x="8134" y="5593"/>
                  </a:lnTo>
                  <a:lnTo>
                    <a:pt x="8134" y="5613"/>
                  </a:lnTo>
                  <a:cubicBezTo>
                    <a:pt x="8134" y="5634"/>
                    <a:pt x="8134" y="5634"/>
                    <a:pt x="8134" y="5655"/>
                  </a:cubicBezTo>
                  <a:lnTo>
                    <a:pt x="8134" y="5675"/>
                  </a:lnTo>
                  <a:cubicBezTo>
                    <a:pt x="8114" y="5675"/>
                    <a:pt x="8114" y="5655"/>
                    <a:pt x="8114" y="5655"/>
                  </a:cubicBezTo>
                  <a:lnTo>
                    <a:pt x="8114" y="5634"/>
                  </a:lnTo>
                  <a:lnTo>
                    <a:pt x="8114" y="5634"/>
                  </a:lnTo>
                  <a:lnTo>
                    <a:pt x="8093" y="5634"/>
                  </a:lnTo>
                  <a:cubicBezTo>
                    <a:pt x="8093" y="5634"/>
                    <a:pt x="8093" y="5634"/>
                    <a:pt x="8093" y="5655"/>
                  </a:cubicBezTo>
                  <a:lnTo>
                    <a:pt x="8072" y="5655"/>
                  </a:lnTo>
                  <a:cubicBezTo>
                    <a:pt x="8072" y="5675"/>
                    <a:pt x="8072" y="5675"/>
                    <a:pt x="8072" y="5675"/>
                  </a:cubicBezTo>
                  <a:cubicBezTo>
                    <a:pt x="8072" y="5695"/>
                    <a:pt x="8072" y="5695"/>
                    <a:pt x="8072" y="5695"/>
                  </a:cubicBezTo>
                  <a:lnTo>
                    <a:pt x="8093" y="5716"/>
                  </a:lnTo>
                  <a:lnTo>
                    <a:pt x="8114" y="5737"/>
                  </a:lnTo>
                  <a:cubicBezTo>
                    <a:pt x="8114" y="5757"/>
                    <a:pt x="8114" y="5777"/>
                    <a:pt x="8114" y="5798"/>
                  </a:cubicBezTo>
                  <a:cubicBezTo>
                    <a:pt x="8114" y="5819"/>
                    <a:pt x="8114" y="5819"/>
                    <a:pt x="8114" y="5839"/>
                  </a:cubicBezTo>
                  <a:cubicBezTo>
                    <a:pt x="8114" y="5839"/>
                    <a:pt x="8134" y="5839"/>
                    <a:pt x="8134" y="5859"/>
                  </a:cubicBezTo>
                  <a:cubicBezTo>
                    <a:pt x="8134" y="5859"/>
                    <a:pt x="8154" y="5859"/>
                    <a:pt x="8154" y="5880"/>
                  </a:cubicBezTo>
                  <a:cubicBezTo>
                    <a:pt x="8134" y="5880"/>
                    <a:pt x="8134" y="5880"/>
                    <a:pt x="8134" y="5880"/>
                  </a:cubicBezTo>
                  <a:lnTo>
                    <a:pt x="8114" y="5880"/>
                  </a:lnTo>
                  <a:cubicBezTo>
                    <a:pt x="8114" y="5901"/>
                    <a:pt x="8114" y="5901"/>
                    <a:pt x="8114" y="5901"/>
                  </a:cubicBezTo>
                  <a:cubicBezTo>
                    <a:pt x="8093" y="5901"/>
                    <a:pt x="8093" y="5921"/>
                    <a:pt x="8093" y="5921"/>
                  </a:cubicBezTo>
                  <a:lnTo>
                    <a:pt x="8093" y="5901"/>
                  </a:lnTo>
                  <a:cubicBezTo>
                    <a:pt x="8072" y="5901"/>
                    <a:pt x="8093" y="5880"/>
                    <a:pt x="8093" y="5880"/>
                  </a:cubicBezTo>
                  <a:cubicBezTo>
                    <a:pt x="8093" y="5880"/>
                    <a:pt x="8093" y="5880"/>
                    <a:pt x="8072" y="5859"/>
                  </a:cubicBezTo>
                  <a:lnTo>
                    <a:pt x="8072" y="5859"/>
                  </a:lnTo>
                  <a:cubicBezTo>
                    <a:pt x="8072" y="5859"/>
                    <a:pt x="8072" y="5859"/>
                    <a:pt x="8052" y="5859"/>
                  </a:cubicBezTo>
                  <a:cubicBezTo>
                    <a:pt x="8052" y="5880"/>
                    <a:pt x="8052" y="5880"/>
                    <a:pt x="8052" y="5880"/>
                  </a:cubicBezTo>
                  <a:cubicBezTo>
                    <a:pt x="8072" y="5901"/>
                    <a:pt x="8072" y="5901"/>
                    <a:pt x="8072" y="5901"/>
                  </a:cubicBezTo>
                  <a:cubicBezTo>
                    <a:pt x="8072" y="5921"/>
                    <a:pt x="8072" y="5921"/>
                    <a:pt x="8072" y="5921"/>
                  </a:cubicBezTo>
                  <a:cubicBezTo>
                    <a:pt x="8052" y="5941"/>
                    <a:pt x="8052" y="5941"/>
                    <a:pt x="8052" y="5941"/>
                  </a:cubicBezTo>
                  <a:cubicBezTo>
                    <a:pt x="8052" y="5962"/>
                    <a:pt x="8032" y="5962"/>
                    <a:pt x="8032" y="5962"/>
                  </a:cubicBezTo>
                  <a:lnTo>
                    <a:pt x="8032" y="5983"/>
                  </a:lnTo>
                  <a:cubicBezTo>
                    <a:pt x="8032" y="5983"/>
                    <a:pt x="8032" y="5983"/>
                    <a:pt x="8032" y="6003"/>
                  </a:cubicBezTo>
                  <a:cubicBezTo>
                    <a:pt x="8032" y="6003"/>
                    <a:pt x="8032" y="6003"/>
                    <a:pt x="8032" y="6023"/>
                  </a:cubicBezTo>
                  <a:cubicBezTo>
                    <a:pt x="8032" y="6023"/>
                    <a:pt x="8032" y="6023"/>
                    <a:pt x="8032" y="6044"/>
                  </a:cubicBezTo>
                  <a:cubicBezTo>
                    <a:pt x="8032" y="6044"/>
                    <a:pt x="8011" y="6044"/>
                    <a:pt x="8011" y="6065"/>
                  </a:cubicBezTo>
                  <a:cubicBezTo>
                    <a:pt x="8011" y="6065"/>
                    <a:pt x="8011" y="6065"/>
                    <a:pt x="8032" y="6085"/>
                  </a:cubicBezTo>
                  <a:lnTo>
                    <a:pt x="8032" y="6085"/>
                  </a:lnTo>
                  <a:cubicBezTo>
                    <a:pt x="8052" y="6085"/>
                    <a:pt x="8052" y="6105"/>
                    <a:pt x="8052" y="6105"/>
                  </a:cubicBezTo>
                  <a:cubicBezTo>
                    <a:pt x="8032" y="6126"/>
                    <a:pt x="8032" y="6126"/>
                    <a:pt x="8032" y="6147"/>
                  </a:cubicBezTo>
                  <a:cubicBezTo>
                    <a:pt x="8032" y="6147"/>
                    <a:pt x="8032" y="6147"/>
                    <a:pt x="8011" y="6147"/>
                  </a:cubicBezTo>
                  <a:cubicBezTo>
                    <a:pt x="8011" y="6147"/>
                    <a:pt x="8011" y="6147"/>
                    <a:pt x="7990" y="6147"/>
                  </a:cubicBezTo>
                  <a:lnTo>
                    <a:pt x="7990" y="6126"/>
                  </a:lnTo>
                  <a:cubicBezTo>
                    <a:pt x="7990" y="6126"/>
                    <a:pt x="7990" y="6126"/>
                    <a:pt x="7970" y="6126"/>
                  </a:cubicBezTo>
                  <a:lnTo>
                    <a:pt x="7970" y="6147"/>
                  </a:lnTo>
                  <a:lnTo>
                    <a:pt x="7990" y="6167"/>
                  </a:lnTo>
                  <a:cubicBezTo>
                    <a:pt x="7990" y="6167"/>
                    <a:pt x="7970" y="6167"/>
                    <a:pt x="7970" y="6187"/>
                  </a:cubicBezTo>
                  <a:lnTo>
                    <a:pt x="7970" y="6208"/>
                  </a:lnTo>
                  <a:lnTo>
                    <a:pt x="7990" y="6228"/>
                  </a:lnTo>
                  <a:lnTo>
                    <a:pt x="7990" y="6249"/>
                  </a:lnTo>
                  <a:cubicBezTo>
                    <a:pt x="7990" y="6249"/>
                    <a:pt x="7990" y="6269"/>
                    <a:pt x="7970" y="6269"/>
                  </a:cubicBezTo>
                  <a:lnTo>
                    <a:pt x="7970" y="6269"/>
                  </a:lnTo>
                  <a:cubicBezTo>
                    <a:pt x="7950" y="6269"/>
                    <a:pt x="7950" y="6269"/>
                    <a:pt x="7950" y="6249"/>
                  </a:cubicBezTo>
                  <a:lnTo>
                    <a:pt x="7950" y="6249"/>
                  </a:lnTo>
                  <a:lnTo>
                    <a:pt x="7950" y="6228"/>
                  </a:lnTo>
                  <a:cubicBezTo>
                    <a:pt x="7929" y="6228"/>
                    <a:pt x="7929" y="6228"/>
                    <a:pt x="7929" y="6228"/>
                  </a:cubicBezTo>
                  <a:cubicBezTo>
                    <a:pt x="7929" y="6228"/>
                    <a:pt x="7908" y="6228"/>
                    <a:pt x="7908" y="6249"/>
                  </a:cubicBezTo>
                  <a:lnTo>
                    <a:pt x="7908" y="6249"/>
                  </a:lnTo>
                  <a:lnTo>
                    <a:pt x="7908" y="6269"/>
                  </a:lnTo>
                  <a:cubicBezTo>
                    <a:pt x="7908" y="6269"/>
                    <a:pt x="7929" y="6269"/>
                    <a:pt x="7929" y="6290"/>
                  </a:cubicBezTo>
                  <a:lnTo>
                    <a:pt x="7929" y="6310"/>
                  </a:lnTo>
                  <a:lnTo>
                    <a:pt x="7950" y="6331"/>
                  </a:lnTo>
                  <a:lnTo>
                    <a:pt x="7970" y="6331"/>
                  </a:lnTo>
                  <a:lnTo>
                    <a:pt x="7970" y="6351"/>
                  </a:lnTo>
                  <a:lnTo>
                    <a:pt x="7970" y="6351"/>
                  </a:lnTo>
                  <a:cubicBezTo>
                    <a:pt x="7970" y="6372"/>
                    <a:pt x="7970" y="6372"/>
                    <a:pt x="7950" y="6351"/>
                  </a:cubicBezTo>
                  <a:lnTo>
                    <a:pt x="7950" y="6351"/>
                  </a:lnTo>
                  <a:cubicBezTo>
                    <a:pt x="7950" y="6351"/>
                    <a:pt x="7950" y="6351"/>
                    <a:pt x="7929" y="6351"/>
                  </a:cubicBezTo>
                  <a:lnTo>
                    <a:pt x="7929" y="6372"/>
                  </a:lnTo>
                  <a:cubicBezTo>
                    <a:pt x="7929" y="6372"/>
                    <a:pt x="7929" y="6392"/>
                    <a:pt x="7908" y="6392"/>
                  </a:cubicBezTo>
                  <a:lnTo>
                    <a:pt x="7908" y="6413"/>
                  </a:lnTo>
                  <a:lnTo>
                    <a:pt x="7929" y="6413"/>
                  </a:lnTo>
                  <a:lnTo>
                    <a:pt x="7950" y="6433"/>
                  </a:lnTo>
                  <a:lnTo>
                    <a:pt x="7970" y="6454"/>
                  </a:lnTo>
                  <a:cubicBezTo>
                    <a:pt x="7950" y="6454"/>
                    <a:pt x="7950" y="6474"/>
                    <a:pt x="7950" y="6474"/>
                  </a:cubicBezTo>
                  <a:lnTo>
                    <a:pt x="7929" y="6474"/>
                  </a:lnTo>
                  <a:lnTo>
                    <a:pt x="7929" y="6495"/>
                  </a:lnTo>
                  <a:cubicBezTo>
                    <a:pt x="7929" y="6495"/>
                    <a:pt x="7950" y="6495"/>
                    <a:pt x="7950" y="6515"/>
                  </a:cubicBezTo>
                  <a:lnTo>
                    <a:pt x="7970" y="6515"/>
                  </a:lnTo>
                  <a:cubicBezTo>
                    <a:pt x="7970" y="6515"/>
                    <a:pt x="7970" y="6536"/>
                    <a:pt x="7950" y="6536"/>
                  </a:cubicBezTo>
                  <a:lnTo>
                    <a:pt x="7950" y="6536"/>
                  </a:lnTo>
                  <a:cubicBezTo>
                    <a:pt x="7929" y="6536"/>
                    <a:pt x="7950" y="6536"/>
                    <a:pt x="7929" y="6515"/>
                  </a:cubicBezTo>
                  <a:lnTo>
                    <a:pt x="7908" y="6515"/>
                  </a:lnTo>
                  <a:cubicBezTo>
                    <a:pt x="7908" y="6536"/>
                    <a:pt x="7908" y="6536"/>
                    <a:pt x="7908" y="6536"/>
                  </a:cubicBezTo>
                  <a:cubicBezTo>
                    <a:pt x="7908" y="6556"/>
                    <a:pt x="7908" y="6556"/>
                    <a:pt x="7908" y="6577"/>
                  </a:cubicBezTo>
                  <a:lnTo>
                    <a:pt x="7929" y="6577"/>
                  </a:lnTo>
                  <a:cubicBezTo>
                    <a:pt x="7929" y="6577"/>
                    <a:pt x="7929" y="6577"/>
                    <a:pt x="7929" y="6597"/>
                  </a:cubicBezTo>
                  <a:cubicBezTo>
                    <a:pt x="7908" y="6597"/>
                    <a:pt x="7908" y="6597"/>
                    <a:pt x="7908" y="6597"/>
                  </a:cubicBezTo>
                  <a:lnTo>
                    <a:pt x="7888" y="6597"/>
                  </a:lnTo>
                  <a:lnTo>
                    <a:pt x="7868" y="6597"/>
                  </a:lnTo>
                  <a:lnTo>
                    <a:pt x="7868" y="6618"/>
                  </a:lnTo>
                  <a:cubicBezTo>
                    <a:pt x="7868" y="6618"/>
                    <a:pt x="7888" y="6618"/>
                    <a:pt x="7888" y="6638"/>
                  </a:cubicBezTo>
                  <a:lnTo>
                    <a:pt x="7888" y="6638"/>
                  </a:lnTo>
                  <a:lnTo>
                    <a:pt x="7888" y="6659"/>
                  </a:lnTo>
                  <a:lnTo>
                    <a:pt x="7888" y="6679"/>
                  </a:lnTo>
                  <a:lnTo>
                    <a:pt x="7868" y="6679"/>
                  </a:lnTo>
                  <a:cubicBezTo>
                    <a:pt x="7868" y="6700"/>
                    <a:pt x="7847" y="6679"/>
                    <a:pt x="7847" y="6679"/>
                  </a:cubicBezTo>
                  <a:lnTo>
                    <a:pt x="7847" y="6700"/>
                  </a:lnTo>
                  <a:cubicBezTo>
                    <a:pt x="7847" y="6700"/>
                    <a:pt x="7847" y="6700"/>
                    <a:pt x="7868" y="6720"/>
                  </a:cubicBezTo>
                  <a:lnTo>
                    <a:pt x="7868" y="6720"/>
                  </a:lnTo>
                  <a:cubicBezTo>
                    <a:pt x="7868" y="6741"/>
                    <a:pt x="7868" y="6741"/>
                    <a:pt x="7847" y="6741"/>
                  </a:cubicBezTo>
                  <a:cubicBezTo>
                    <a:pt x="7847" y="6761"/>
                    <a:pt x="7847" y="6761"/>
                    <a:pt x="7847" y="6761"/>
                  </a:cubicBezTo>
                  <a:cubicBezTo>
                    <a:pt x="7826" y="6782"/>
                    <a:pt x="7826" y="6761"/>
                    <a:pt x="7826" y="6761"/>
                  </a:cubicBezTo>
                  <a:cubicBezTo>
                    <a:pt x="7826" y="6761"/>
                    <a:pt x="7826" y="6741"/>
                    <a:pt x="7806" y="6741"/>
                  </a:cubicBezTo>
                  <a:lnTo>
                    <a:pt x="7806" y="6741"/>
                  </a:lnTo>
                  <a:cubicBezTo>
                    <a:pt x="7806" y="6720"/>
                    <a:pt x="7806" y="6720"/>
                    <a:pt x="7806" y="6720"/>
                  </a:cubicBezTo>
                  <a:cubicBezTo>
                    <a:pt x="7806" y="6720"/>
                    <a:pt x="7806" y="6741"/>
                    <a:pt x="7786" y="6741"/>
                  </a:cubicBezTo>
                  <a:cubicBezTo>
                    <a:pt x="7786" y="6741"/>
                    <a:pt x="7786" y="6741"/>
                    <a:pt x="7765" y="6741"/>
                  </a:cubicBezTo>
                  <a:lnTo>
                    <a:pt x="7765" y="6761"/>
                  </a:lnTo>
                  <a:cubicBezTo>
                    <a:pt x="7765" y="6761"/>
                    <a:pt x="7744" y="6761"/>
                    <a:pt x="7744" y="6782"/>
                  </a:cubicBezTo>
                  <a:lnTo>
                    <a:pt x="7724" y="6782"/>
                  </a:lnTo>
                  <a:lnTo>
                    <a:pt x="7724" y="6802"/>
                  </a:lnTo>
                  <a:lnTo>
                    <a:pt x="7724" y="6802"/>
                  </a:lnTo>
                  <a:cubicBezTo>
                    <a:pt x="7724" y="6802"/>
                    <a:pt x="7744" y="6802"/>
                    <a:pt x="7765" y="6802"/>
                  </a:cubicBezTo>
                  <a:lnTo>
                    <a:pt x="7765" y="6802"/>
                  </a:lnTo>
                  <a:cubicBezTo>
                    <a:pt x="7786" y="6802"/>
                    <a:pt x="7786" y="6823"/>
                    <a:pt x="7786" y="6823"/>
                  </a:cubicBezTo>
                  <a:cubicBezTo>
                    <a:pt x="7786" y="6823"/>
                    <a:pt x="7786" y="6823"/>
                    <a:pt x="7786" y="6843"/>
                  </a:cubicBezTo>
                  <a:lnTo>
                    <a:pt x="7765" y="6843"/>
                  </a:lnTo>
                  <a:cubicBezTo>
                    <a:pt x="7765" y="6843"/>
                    <a:pt x="7765" y="6864"/>
                    <a:pt x="7744" y="6864"/>
                  </a:cubicBezTo>
                  <a:cubicBezTo>
                    <a:pt x="7744" y="6884"/>
                    <a:pt x="7744" y="6884"/>
                    <a:pt x="7744" y="6884"/>
                  </a:cubicBezTo>
                  <a:cubicBezTo>
                    <a:pt x="7724" y="6884"/>
                    <a:pt x="7724" y="6904"/>
                    <a:pt x="7724" y="6904"/>
                  </a:cubicBezTo>
                  <a:lnTo>
                    <a:pt x="7704" y="6904"/>
                  </a:lnTo>
                  <a:cubicBezTo>
                    <a:pt x="7704" y="6925"/>
                    <a:pt x="7704" y="6925"/>
                    <a:pt x="7683" y="6946"/>
                  </a:cubicBezTo>
                  <a:lnTo>
                    <a:pt x="7683" y="6966"/>
                  </a:lnTo>
                  <a:cubicBezTo>
                    <a:pt x="7683" y="6966"/>
                    <a:pt x="7662" y="6966"/>
                    <a:pt x="7662" y="6986"/>
                  </a:cubicBezTo>
                  <a:lnTo>
                    <a:pt x="7642" y="6986"/>
                  </a:lnTo>
                  <a:lnTo>
                    <a:pt x="7622" y="6986"/>
                  </a:lnTo>
                  <a:lnTo>
                    <a:pt x="7622" y="6986"/>
                  </a:lnTo>
                  <a:cubicBezTo>
                    <a:pt x="7622" y="7007"/>
                    <a:pt x="7622" y="7007"/>
                    <a:pt x="7622" y="7007"/>
                  </a:cubicBezTo>
                  <a:cubicBezTo>
                    <a:pt x="7622" y="7028"/>
                    <a:pt x="7601" y="7028"/>
                    <a:pt x="7601" y="7048"/>
                  </a:cubicBezTo>
                  <a:lnTo>
                    <a:pt x="7601" y="7048"/>
                  </a:lnTo>
                  <a:cubicBezTo>
                    <a:pt x="7580" y="7048"/>
                    <a:pt x="7580" y="7068"/>
                    <a:pt x="7580" y="7068"/>
                  </a:cubicBezTo>
                  <a:cubicBezTo>
                    <a:pt x="7580" y="7089"/>
                    <a:pt x="7580" y="7089"/>
                    <a:pt x="7580" y="7110"/>
                  </a:cubicBezTo>
                  <a:lnTo>
                    <a:pt x="7580" y="7130"/>
                  </a:lnTo>
                  <a:lnTo>
                    <a:pt x="7560" y="7150"/>
                  </a:lnTo>
                  <a:lnTo>
                    <a:pt x="7560" y="7130"/>
                  </a:lnTo>
                  <a:lnTo>
                    <a:pt x="7540" y="7130"/>
                  </a:lnTo>
                  <a:lnTo>
                    <a:pt x="7540" y="7130"/>
                  </a:lnTo>
                  <a:lnTo>
                    <a:pt x="7540" y="7150"/>
                  </a:lnTo>
                  <a:lnTo>
                    <a:pt x="7519" y="7171"/>
                  </a:lnTo>
                  <a:cubicBezTo>
                    <a:pt x="7519" y="7171"/>
                    <a:pt x="7519" y="7171"/>
                    <a:pt x="7498" y="7171"/>
                  </a:cubicBezTo>
                  <a:lnTo>
                    <a:pt x="7478" y="7171"/>
                  </a:lnTo>
                  <a:cubicBezTo>
                    <a:pt x="7458" y="7171"/>
                    <a:pt x="7458" y="7171"/>
                    <a:pt x="7458" y="7171"/>
                  </a:cubicBezTo>
                  <a:lnTo>
                    <a:pt x="7458" y="7150"/>
                  </a:lnTo>
                  <a:cubicBezTo>
                    <a:pt x="7437" y="7150"/>
                    <a:pt x="7437" y="7150"/>
                    <a:pt x="7437" y="7171"/>
                  </a:cubicBezTo>
                  <a:lnTo>
                    <a:pt x="7437" y="7171"/>
                  </a:lnTo>
                  <a:lnTo>
                    <a:pt x="7416" y="7192"/>
                  </a:lnTo>
                  <a:cubicBezTo>
                    <a:pt x="7416" y="7192"/>
                    <a:pt x="7416" y="7192"/>
                    <a:pt x="7396" y="7192"/>
                  </a:cubicBezTo>
                  <a:lnTo>
                    <a:pt x="7396" y="7192"/>
                  </a:lnTo>
                  <a:lnTo>
                    <a:pt x="7396" y="7171"/>
                  </a:lnTo>
                  <a:lnTo>
                    <a:pt x="7376" y="7171"/>
                  </a:lnTo>
                  <a:lnTo>
                    <a:pt x="7356" y="7171"/>
                  </a:lnTo>
                  <a:cubicBezTo>
                    <a:pt x="7356" y="7192"/>
                    <a:pt x="7335" y="7192"/>
                    <a:pt x="7335" y="7192"/>
                  </a:cubicBezTo>
                  <a:lnTo>
                    <a:pt x="7335" y="7212"/>
                  </a:lnTo>
                  <a:lnTo>
                    <a:pt x="7314" y="7212"/>
                  </a:lnTo>
                  <a:lnTo>
                    <a:pt x="7314" y="7212"/>
                  </a:lnTo>
                  <a:cubicBezTo>
                    <a:pt x="7294" y="7212"/>
                    <a:pt x="7314" y="7192"/>
                    <a:pt x="7294" y="7192"/>
                  </a:cubicBezTo>
                  <a:cubicBezTo>
                    <a:pt x="7294" y="7192"/>
                    <a:pt x="7294" y="7192"/>
                    <a:pt x="7294" y="7171"/>
                  </a:cubicBezTo>
                  <a:lnTo>
                    <a:pt x="7294" y="7171"/>
                  </a:lnTo>
                  <a:cubicBezTo>
                    <a:pt x="7274" y="7171"/>
                    <a:pt x="7274" y="7171"/>
                    <a:pt x="7274" y="7171"/>
                  </a:cubicBezTo>
                  <a:lnTo>
                    <a:pt x="7253" y="7192"/>
                  </a:lnTo>
                  <a:cubicBezTo>
                    <a:pt x="7274" y="7192"/>
                    <a:pt x="7274" y="7192"/>
                    <a:pt x="7274" y="7192"/>
                  </a:cubicBezTo>
                  <a:lnTo>
                    <a:pt x="7294" y="7212"/>
                  </a:lnTo>
                  <a:lnTo>
                    <a:pt x="7294" y="7232"/>
                  </a:lnTo>
                  <a:lnTo>
                    <a:pt x="7274" y="7232"/>
                  </a:lnTo>
                  <a:cubicBezTo>
                    <a:pt x="7274" y="7253"/>
                    <a:pt x="7274" y="7253"/>
                    <a:pt x="7274" y="7253"/>
                  </a:cubicBezTo>
                  <a:lnTo>
                    <a:pt x="7253" y="7232"/>
                  </a:lnTo>
                  <a:cubicBezTo>
                    <a:pt x="7253" y="7232"/>
                    <a:pt x="7253" y="7212"/>
                    <a:pt x="7232" y="7212"/>
                  </a:cubicBezTo>
                  <a:cubicBezTo>
                    <a:pt x="7232" y="7212"/>
                    <a:pt x="7232" y="7212"/>
                    <a:pt x="7212" y="7212"/>
                  </a:cubicBezTo>
                  <a:cubicBezTo>
                    <a:pt x="7212" y="7212"/>
                    <a:pt x="7212" y="7212"/>
                    <a:pt x="7192" y="7212"/>
                  </a:cubicBezTo>
                  <a:lnTo>
                    <a:pt x="7192" y="7212"/>
                  </a:lnTo>
                  <a:cubicBezTo>
                    <a:pt x="7192" y="7232"/>
                    <a:pt x="7171" y="7232"/>
                    <a:pt x="7171" y="7232"/>
                  </a:cubicBezTo>
                  <a:cubicBezTo>
                    <a:pt x="7150" y="7212"/>
                    <a:pt x="7150" y="7212"/>
                    <a:pt x="7150" y="7192"/>
                  </a:cubicBezTo>
                  <a:cubicBezTo>
                    <a:pt x="7150" y="7192"/>
                    <a:pt x="7130" y="7192"/>
                    <a:pt x="7130" y="7171"/>
                  </a:cubicBezTo>
                  <a:cubicBezTo>
                    <a:pt x="7130" y="7171"/>
                    <a:pt x="7130" y="7171"/>
                    <a:pt x="7110" y="7171"/>
                  </a:cubicBezTo>
                  <a:lnTo>
                    <a:pt x="7110" y="7150"/>
                  </a:lnTo>
                  <a:lnTo>
                    <a:pt x="7089" y="7150"/>
                  </a:lnTo>
                  <a:lnTo>
                    <a:pt x="7089" y="7171"/>
                  </a:lnTo>
                  <a:cubicBezTo>
                    <a:pt x="7089" y="7192"/>
                    <a:pt x="7089" y="7192"/>
                    <a:pt x="7089" y="7212"/>
                  </a:cubicBezTo>
                  <a:cubicBezTo>
                    <a:pt x="7110" y="7212"/>
                    <a:pt x="7110" y="7232"/>
                    <a:pt x="7110" y="7232"/>
                  </a:cubicBezTo>
                  <a:cubicBezTo>
                    <a:pt x="7110" y="7253"/>
                    <a:pt x="7130" y="7253"/>
                    <a:pt x="7130" y="7274"/>
                  </a:cubicBezTo>
                  <a:cubicBezTo>
                    <a:pt x="7110" y="7274"/>
                    <a:pt x="7110" y="7314"/>
                    <a:pt x="7110" y="7314"/>
                  </a:cubicBezTo>
                  <a:cubicBezTo>
                    <a:pt x="7089" y="7314"/>
                    <a:pt x="7089" y="7314"/>
                    <a:pt x="7089" y="7314"/>
                  </a:cubicBezTo>
                  <a:cubicBezTo>
                    <a:pt x="7068" y="7314"/>
                    <a:pt x="7089" y="7335"/>
                    <a:pt x="7068" y="7335"/>
                  </a:cubicBezTo>
                  <a:lnTo>
                    <a:pt x="7068" y="7335"/>
                  </a:lnTo>
                  <a:lnTo>
                    <a:pt x="7068" y="7314"/>
                  </a:lnTo>
                  <a:cubicBezTo>
                    <a:pt x="7048" y="7314"/>
                    <a:pt x="7048" y="7314"/>
                    <a:pt x="7048" y="7314"/>
                  </a:cubicBezTo>
                  <a:lnTo>
                    <a:pt x="7028" y="7314"/>
                  </a:lnTo>
                  <a:lnTo>
                    <a:pt x="7028" y="7335"/>
                  </a:lnTo>
                  <a:lnTo>
                    <a:pt x="7028" y="7356"/>
                  </a:lnTo>
                  <a:lnTo>
                    <a:pt x="7028" y="7376"/>
                  </a:lnTo>
                  <a:lnTo>
                    <a:pt x="7007" y="7396"/>
                  </a:lnTo>
                  <a:lnTo>
                    <a:pt x="6986" y="7396"/>
                  </a:lnTo>
                  <a:cubicBezTo>
                    <a:pt x="6966" y="7396"/>
                    <a:pt x="6966" y="7396"/>
                    <a:pt x="6966" y="7396"/>
                  </a:cubicBezTo>
                  <a:cubicBezTo>
                    <a:pt x="6966" y="7376"/>
                    <a:pt x="6966" y="7376"/>
                    <a:pt x="6966" y="7376"/>
                  </a:cubicBezTo>
                  <a:cubicBezTo>
                    <a:pt x="6966" y="7356"/>
                    <a:pt x="6946" y="7356"/>
                    <a:pt x="6946" y="7356"/>
                  </a:cubicBezTo>
                  <a:cubicBezTo>
                    <a:pt x="6946" y="7356"/>
                    <a:pt x="6946" y="7335"/>
                    <a:pt x="6925" y="7356"/>
                  </a:cubicBezTo>
                  <a:lnTo>
                    <a:pt x="6925" y="7356"/>
                  </a:lnTo>
                  <a:lnTo>
                    <a:pt x="6946" y="7376"/>
                  </a:lnTo>
                  <a:lnTo>
                    <a:pt x="6946" y="7396"/>
                  </a:lnTo>
                  <a:cubicBezTo>
                    <a:pt x="6946" y="7396"/>
                    <a:pt x="6946" y="7417"/>
                    <a:pt x="6925" y="7417"/>
                  </a:cubicBezTo>
                  <a:lnTo>
                    <a:pt x="6925" y="7417"/>
                  </a:lnTo>
                  <a:lnTo>
                    <a:pt x="6904" y="7417"/>
                  </a:lnTo>
                  <a:lnTo>
                    <a:pt x="6884" y="7417"/>
                  </a:lnTo>
                  <a:lnTo>
                    <a:pt x="6884" y="7438"/>
                  </a:lnTo>
                  <a:lnTo>
                    <a:pt x="6884" y="7458"/>
                  </a:lnTo>
                  <a:lnTo>
                    <a:pt x="6884" y="7458"/>
                  </a:lnTo>
                  <a:lnTo>
                    <a:pt x="6864" y="7458"/>
                  </a:lnTo>
                  <a:lnTo>
                    <a:pt x="6864" y="7438"/>
                  </a:lnTo>
                  <a:lnTo>
                    <a:pt x="6864" y="7417"/>
                  </a:lnTo>
                  <a:lnTo>
                    <a:pt x="6843" y="7396"/>
                  </a:lnTo>
                  <a:lnTo>
                    <a:pt x="6843" y="7417"/>
                  </a:lnTo>
                  <a:lnTo>
                    <a:pt x="6843" y="7438"/>
                  </a:lnTo>
                  <a:lnTo>
                    <a:pt x="6843" y="7458"/>
                  </a:lnTo>
                  <a:cubicBezTo>
                    <a:pt x="6843" y="7458"/>
                    <a:pt x="6822" y="7458"/>
                    <a:pt x="6822" y="7478"/>
                  </a:cubicBezTo>
                  <a:lnTo>
                    <a:pt x="6802" y="7478"/>
                  </a:lnTo>
                  <a:lnTo>
                    <a:pt x="6782" y="7478"/>
                  </a:lnTo>
                  <a:cubicBezTo>
                    <a:pt x="6761" y="7478"/>
                    <a:pt x="6761" y="7478"/>
                    <a:pt x="6761" y="7478"/>
                  </a:cubicBezTo>
                  <a:cubicBezTo>
                    <a:pt x="6740" y="7478"/>
                    <a:pt x="6740" y="7478"/>
                    <a:pt x="6720" y="7478"/>
                  </a:cubicBezTo>
                  <a:lnTo>
                    <a:pt x="6700" y="7499"/>
                  </a:lnTo>
                  <a:lnTo>
                    <a:pt x="6679" y="7520"/>
                  </a:lnTo>
                  <a:cubicBezTo>
                    <a:pt x="6679" y="7520"/>
                    <a:pt x="6658" y="7520"/>
                    <a:pt x="6638" y="7540"/>
                  </a:cubicBezTo>
                  <a:lnTo>
                    <a:pt x="6638" y="7540"/>
                  </a:lnTo>
                  <a:cubicBezTo>
                    <a:pt x="6618" y="7540"/>
                    <a:pt x="6618" y="7560"/>
                    <a:pt x="6618" y="7560"/>
                  </a:cubicBezTo>
                  <a:cubicBezTo>
                    <a:pt x="6618" y="7580"/>
                    <a:pt x="6618" y="7580"/>
                    <a:pt x="6597" y="7580"/>
                  </a:cubicBezTo>
                  <a:lnTo>
                    <a:pt x="6597" y="7601"/>
                  </a:lnTo>
                  <a:lnTo>
                    <a:pt x="6597" y="7601"/>
                  </a:lnTo>
                  <a:cubicBezTo>
                    <a:pt x="6597" y="7622"/>
                    <a:pt x="6597" y="7622"/>
                    <a:pt x="6618" y="7622"/>
                  </a:cubicBezTo>
                  <a:cubicBezTo>
                    <a:pt x="6618" y="7622"/>
                    <a:pt x="6618" y="7622"/>
                    <a:pt x="6638" y="7642"/>
                  </a:cubicBezTo>
                  <a:cubicBezTo>
                    <a:pt x="6638" y="7642"/>
                    <a:pt x="6638" y="7642"/>
                    <a:pt x="6658" y="7642"/>
                  </a:cubicBezTo>
                  <a:lnTo>
                    <a:pt x="6658" y="7662"/>
                  </a:lnTo>
                  <a:lnTo>
                    <a:pt x="6638" y="7662"/>
                  </a:lnTo>
                  <a:lnTo>
                    <a:pt x="6658" y="7683"/>
                  </a:lnTo>
                  <a:cubicBezTo>
                    <a:pt x="6658" y="7683"/>
                    <a:pt x="6658" y="7683"/>
                    <a:pt x="6658" y="7704"/>
                  </a:cubicBezTo>
                  <a:lnTo>
                    <a:pt x="6679" y="7704"/>
                  </a:lnTo>
                  <a:lnTo>
                    <a:pt x="6658" y="7724"/>
                  </a:lnTo>
                  <a:lnTo>
                    <a:pt x="6658" y="7744"/>
                  </a:lnTo>
                  <a:lnTo>
                    <a:pt x="6658" y="7765"/>
                  </a:lnTo>
                  <a:lnTo>
                    <a:pt x="6638" y="7765"/>
                  </a:lnTo>
                  <a:cubicBezTo>
                    <a:pt x="6618" y="7765"/>
                    <a:pt x="6618" y="7765"/>
                    <a:pt x="6618" y="7765"/>
                  </a:cubicBezTo>
                  <a:cubicBezTo>
                    <a:pt x="6597" y="7765"/>
                    <a:pt x="6597" y="7765"/>
                    <a:pt x="6597" y="7765"/>
                  </a:cubicBezTo>
                  <a:cubicBezTo>
                    <a:pt x="6577" y="7765"/>
                    <a:pt x="6577" y="7765"/>
                    <a:pt x="6556" y="7765"/>
                  </a:cubicBezTo>
                  <a:lnTo>
                    <a:pt x="6556" y="7744"/>
                  </a:lnTo>
                  <a:cubicBezTo>
                    <a:pt x="6577" y="7744"/>
                    <a:pt x="6577" y="7744"/>
                    <a:pt x="6577" y="7744"/>
                  </a:cubicBezTo>
                  <a:lnTo>
                    <a:pt x="6577" y="7724"/>
                  </a:lnTo>
                  <a:cubicBezTo>
                    <a:pt x="6577" y="7724"/>
                    <a:pt x="6577" y="7724"/>
                    <a:pt x="6577" y="7704"/>
                  </a:cubicBezTo>
                  <a:lnTo>
                    <a:pt x="6556" y="7704"/>
                  </a:lnTo>
                  <a:lnTo>
                    <a:pt x="6536" y="7683"/>
                  </a:lnTo>
                  <a:lnTo>
                    <a:pt x="6536" y="7642"/>
                  </a:lnTo>
                  <a:lnTo>
                    <a:pt x="6515" y="7622"/>
                  </a:lnTo>
                  <a:cubicBezTo>
                    <a:pt x="6515" y="7601"/>
                    <a:pt x="6515" y="7601"/>
                    <a:pt x="6495" y="7580"/>
                  </a:cubicBezTo>
                  <a:cubicBezTo>
                    <a:pt x="6495" y="7580"/>
                    <a:pt x="6515" y="7560"/>
                    <a:pt x="6515" y="7540"/>
                  </a:cubicBezTo>
                  <a:lnTo>
                    <a:pt x="6515" y="7520"/>
                  </a:lnTo>
                  <a:lnTo>
                    <a:pt x="6515" y="7499"/>
                  </a:lnTo>
                  <a:lnTo>
                    <a:pt x="6515" y="7499"/>
                  </a:lnTo>
                  <a:cubicBezTo>
                    <a:pt x="6515" y="7478"/>
                    <a:pt x="6495" y="7499"/>
                    <a:pt x="6495" y="7499"/>
                  </a:cubicBezTo>
                  <a:lnTo>
                    <a:pt x="6474" y="7478"/>
                  </a:lnTo>
                  <a:lnTo>
                    <a:pt x="6474" y="7458"/>
                  </a:lnTo>
                  <a:lnTo>
                    <a:pt x="6474" y="7438"/>
                  </a:lnTo>
                  <a:lnTo>
                    <a:pt x="6454" y="7438"/>
                  </a:lnTo>
                  <a:cubicBezTo>
                    <a:pt x="6454" y="7458"/>
                    <a:pt x="6454" y="7458"/>
                    <a:pt x="6454" y="7458"/>
                  </a:cubicBezTo>
                  <a:cubicBezTo>
                    <a:pt x="6454" y="7478"/>
                    <a:pt x="6454" y="7478"/>
                    <a:pt x="6454" y="7478"/>
                  </a:cubicBezTo>
                  <a:lnTo>
                    <a:pt x="6454" y="7499"/>
                  </a:lnTo>
                  <a:cubicBezTo>
                    <a:pt x="6433" y="7499"/>
                    <a:pt x="6433" y="7520"/>
                    <a:pt x="6433" y="7520"/>
                  </a:cubicBezTo>
                  <a:cubicBezTo>
                    <a:pt x="6413" y="7520"/>
                    <a:pt x="6413" y="7520"/>
                    <a:pt x="6413" y="7520"/>
                  </a:cubicBezTo>
                  <a:cubicBezTo>
                    <a:pt x="6392" y="7520"/>
                    <a:pt x="6392" y="7499"/>
                    <a:pt x="6392" y="7499"/>
                  </a:cubicBezTo>
                  <a:lnTo>
                    <a:pt x="6372" y="7478"/>
                  </a:lnTo>
                  <a:lnTo>
                    <a:pt x="6351" y="7478"/>
                  </a:lnTo>
                  <a:lnTo>
                    <a:pt x="6331" y="7478"/>
                  </a:lnTo>
                  <a:cubicBezTo>
                    <a:pt x="6331" y="7478"/>
                    <a:pt x="6310" y="7478"/>
                    <a:pt x="6310" y="7458"/>
                  </a:cubicBezTo>
                  <a:cubicBezTo>
                    <a:pt x="6310" y="7458"/>
                    <a:pt x="6310" y="7458"/>
                    <a:pt x="6310" y="7438"/>
                  </a:cubicBezTo>
                  <a:lnTo>
                    <a:pt x="6290" y="7438"/>
                  </a:lnTo>
                  <a:lnTo>
                    <a:pt x="6290" y="7438"/>
                  </a:lnTo>
                  <a:lnTo>
                    <a:pt x="6290" y="7458"/>
                  </a:lnTo>
                  <a:lnTo>
                    <a:pt x="6290" y="7478"/>
                  </a:lnTo>
                  <a:lnTo>
                    <a:pt x="6269" y="7478"/>
                  </a:lnTo>
                  <a:cubicBezTo>
                    <a:pt x="6249" y="7478"/>
                    <a:pt x="6249" y="7478"/>
                    <a:pt x="6228" y="7499"/>
                  </a:cubicBezTo>
                  <a:lnTo>
                    <a:pt x="6228" y="7499"/>
                  </a:lnTo>
                  <a:lnTo>
                    <a:pt x="6228" y="7499"/>
                  </a:lnTo>
                  <a:cubicBezTo>
                    <a:pt x="6208" y="7499"/>
                    <a:pt x="6208" y="7499"/>
                    <a:pt x="6187" y="7499"/>
                  </a:cubicBezTo>
                  <a:cubicBezTo>
                    <a:pt x="6187" y="7478"/>
                    <a:pt x="6167" y="7499"/>
                    <a:pt x="6146" y="7478"/>
                  </a:cubicBezTo>
                  <a:lnTo>
                    <a:pt x="6105" y="7478"/>
                  </a:lnTo>
                  <a:lnTo>
                    <a:pt x="6085" y="7478"/>
                  </a:lnTo>
                  <a:cubicBezTo>
                    <a:pt x="6085" y="7458"/>
                    <a:pt x="6064" y="7458"/>
                    <a:pt x="6044" y="7438"/>
                  </a:cubicBezTo>
                  <a:lnTo>
                    <a:pt x="6023" y="7417"/>
                  </a:lnTo>
                  <a:cubicBezTo>
                    <a:pt x="6023" y="7417"/>
                    <a:pt x="6003" y="7417"/>
                    <a:pt x="5982" y="7396"/>
                  </a:cubicBezTo>
                  <a:lnTo>
                    <a:pt x="5962" y="7396"/>
                  </a:lnTo>
                  <a:cubicBezTo>
                    <a:pt x="5941" y="7376"/>
                    <a:pt x="5941" y="7356"/>
                    <a:pt x="5941" y="7356"/>
                  </a:cubicBezTo>
                  <a:cubicBezTo>
                    <a:pt x="5921" y="7335"/>
                    <a:pt x="5921" y="7314"/>
                    <a:pt x="5941" y="7314"/>
                  </a:cubicBezTo>
                  <a:cubicBezTo>
                    <a:pt x="5941" y="7294"/>
                    <a:pt x="5941" y="7294"/>
                    <a:pt x="5941" y="7274"/>
                  </a:cubicBezTo>
                  <a:cubicBezTo>
                    <a:pt x="5962" y="7274"/>
                    <a:pt x="5962" y="7253"/>
                    <a:pt x="5962" y="7253"/>
                  </a:cubicBezTo>
                  <a:cubicBezTo>
                    <a:pt x="5962" y="7253"/>
                    <a:pt x="5941" y="7232"/>
                    <a:pt x="5941" y="7212"/>
                  </a:cubicBezTo>
                  <a:cubicBezTo>
                    <a:pt x="5921" y="7212"/>
                    <a:pt x="5880" y="7212"/>
                    <a:pt x="5880" y="7212"/>
                  </a:cubicBezTo>
                  <a:cubicBezTo>
                    <a:pt x="5859" y="7212"/>
                    <a:pt x="5839" y="7212"/>
                    <a:pt x="5819" y="7192"/>
                  </a:cubicBezTo>
                  <a:lnTo>
                    <a:pt x="5798" y="7192"/>
                  </a:lnTo>
                  <a:cubicBezTo>
                    <a:pt x="5798" y="7192"/>
                    <a:pt x="5757" y="7192"/>
                    <a:pt x="5757" y="7171"/>
                  </a:cubicBezTo>
                  <a:cubicBezTo>
                    <a:pt x="5737" y="7171"/>
                    <a:pt x="5716" y="7150"/>
                    <a:pt x="5695" y="7130"/>
                  </a:cubicBezTo>
                  <a:cubicBezTo>
                    <a:pt x="5695" y="7130"/>
                    <a:pt x="5675" y="7110"/>
                    <a:pt x="5655" y="7110"/>
                  </a:cubicBezTo>
                  <a:cubicBezTo>
                    <a:pt x="5655" y="7110"/>
                    <a:pt x="5634" y="7130"/>
                    <a:pt x="5613" y="7130"/>
                  </a:cubicBezTo>
                  <a:cubicBezTo>
                    <a:pt x="5613" y="7150"/>
                    <a:pt x="5613" y="7171"/>
                    <a:pt x="5613" y="7171"/>
                  </a:cubicBezTo>
                  <a:lnTo>
                    <a:pt x="5613" y="7192"/>
                  </a:lnTo>
                  <a:cubicBezTo>
                    <a:pt x="5613" y="7212"/>
                    <a:pt x="5613" y="7212"/>
                    <a:pt x="5593" y="7212"/>
                  </a:cubicBezTo>
                  <a:cubicBezTo>
                    <a:pt x="5593" y="7232"/>
                    <a:pt x="5573" y="7232"/>
                    <a:pt x="5552" y="7232"/>
                  </a:cubicBezTo>
                  <a:lnTo>
                    <a:pt x="5531" y="7253"/>
                  </a:lnTo>
                  <a:lnTo>
                    <a:pt x="5511" y="7253"/>
                  </a:lnTo>
                  <a:cubicBezTo>
                    <a:pt x="5491" y="7232"/>
                    <a:pt x="5491" y="7232"/>
                    <a:pt x="5491" y="7232"/>
                  </a:cubicBezTo>
                  <a:cubicBezTo>
                    <a:pt x="5470" y="7232"/>
                    <a:pt x="5470" y="7232"/>
                    <a:pt x="5449" y="7253"/>
                  </a:cubicBezTo>
                  <a:cubicBezTo>
                    <a:pt x="5449" y="7253"/>
                    <a:pt x="5449" y="7253"/>
                    <a:pt x="5429" y="7253"/>
                  </a:cubicBezTo>
                  <a:lnTo>
                    <a:pt x="5409" y="7274"/>
                  </a:lnTo>
                  <a:cubicBezTo>
                    <a:pt x="5409" y="7274"/>
                    <a:pt x="5388" y="7253"/>
                    <a:pt x="5367" y="7253"/>
                  </a:cubicBezTo>
                  <a:lnTo>
                    <a:pt x="5347" y="7253"/>
                  </a:lnTo>
                  <a:cubicBezTo>
                    <a:pt x="5347" y="7253"/>
                    <a:pt x="5347" y="7274"/>
                    <a:pt x="5327" y="7274"/>
                  </a:cubicBezTo>
                  <a:cubicBezTo>
                    <a:pt x="5327" y="7294"/>
                    <a:pt x="5347" y="7294"/>
                    <a:pt x="5327" y="7294"/>
                  </a:cubicBezTo>
                  <a:lnTo>
                    <a:pt x="5327" y="7314"/>
                  </a:lnTo>
                  <a:cubicBezTo>
                    <a:pt x="5306" y="7314"/>
                    <a:pt x="5285" y="7335"/>
                    <a:pt x="5285" y="7314"/>
                  </a:cubicBezTo>
                  <a:cubicBezTo>
                    <a:pt x="5265" y="7314"/>
                    <a:pt x="5265" y="7294"/>
                    <a:pt x="5265" y="7294"/>
                  </a:cubicBezTo>
                  <a:lnTo>
                    <a:pt x="5245" y="7274"/>
                  </a:lnTo>
                  <a:lnTo>
                    <a:pt x="5224" y="7274"/>
                  </a:lnTo>
                  <a:lnTo>
                    <a:pt x="5203" y="7274"/>
                  </a:lnTo>
                  <a:cubicBezTo>
                    <a:pt x="5203" y="7294"/>
                    <a:pt x="5203" y="7314"/>
                    <a:pt x="5203" y="7314"/>
                  </a:cubicBezTo>
                  <a:cubicBezTo>
                    <a:pt x="5203" y="7314"/>
                    <a:pt x="5203" y="7335"/>
                    <a:pt x="5183" y="7335"/>
                  </a:cubicBezTo>
                  <a:lnTo>
                    <a:pt x="5183" y="7335"/>
                  </a:lnTo>
                  <a:cubicBezTo>
                    <a:pt x="5183" y="7356"/>
                    <a:pt x="5183" y="7356"/>
                    <a:pt x="5183" y="7356"/>
                  </a:cubicBezTo>
                  <a:cubicBezTo>
                    <a:pt x="5163" y="7356"/>
                    <a:pt x="5163" y="7356"/>
                    <a:pt x="5142" y="7356"/>
                  </a:cubicBezTo>
                  <a:lnTo>
                    <a:pt x="5122" y="7335"/>
                  </a:lnTo>
                  <a:lnTo>
                    <a:pt x="5101" y="7314"/>
                  </a:lnTo>
                  <a:cubicBezTo>
                    <a:pt x="5101" y="7314"/>
                    <a:pt x="5081" y="7314"/>
                    <a:pt x="5081" y="7335"/>
                  </a:cubicBezTo>
                  <a:lnTo>
                    <a:pt x="5081" y="7356"/>
                  </a:lnTo>
                  <a:cubicBezTo>
                    <a:pt x="5081" y="7376"/>
                    <a:pt x="5081" y="7396"/>
                    <a:pt x="5081" y="7396"/>
                  </a:cubicBezTo>
                  <a:cubicBezTo>
                    <a:pt x="5081" y="7396"/>
                    <a:pt x="5081" y="7417"/>
                    <a:pt x="5081" y="7438"/>
                  </a:cubicBezTo>
                  <a:cubicBezTo>
                    <a:pt x="5081" y="7438"/>
                    <a:pt x="5101" y="7438"/>
                    <a:pt x="5101" y="7458"/>
                  </a:cubicBezTo>
                  <a:cubicBezTo>
                    <a:pt x="5122" y="7458"/>
                    <a:pt x="5122" y="7478"/>
                    <a:pt x="5122" y="7478"/>
                  </a:cubicBezTo>
                  <a:cubicBezTo>
                    <a:pt x="5122" y="7478"/>
                    <a:pt x="5122" y="7499"/>
                    <a:pt x="5142" y="7499"/>
                  </a:cubicBezTo>
                  <a:lnTo>
                    <a:pt x="5142" y="7520"/>
                  </a:lnTo>
                  <a:lnTo>
                    <a:pt x="5122" y="7540"/>
                  </a:lnTo>
                  <a:cubicBezTo>
                    <a:pt x="5122" y="7560"/>
                    <a:pt x="5122" y="7560"/>
                    <a:pt x="5122" y="7580"/>
                  </a:cubicBezTo>
                  <a:lnTo>
                    <a:pt x="5142" y="7601"/>
                  </a:lnTo>
                  <a:lnTo>
                    <a:pt x="5142" y="7622"/>
                  </a:lnTo>
                  <a:cubicBezTo>
                    <a:pt x="5142" y="7622"/>
                    <a:pt x="5122" y="7622"/>
                    <a:pt x="5101" y="7622"/>
                  </a:cubicBezTo>
                  <a:lnTo>
                    <a:pt x="5081" y="7622"/>
                  </a:lnTo>
                  <a:cubicBezTo>
                    <a:pt x="5061" y="7601"/>
                    <a:pt x="5061" y="7580"/>
                    <a:pt x="5040" y="7560"/>
                  </a:cubicBezTo>
                  <a:lnTo>
                    <a:pt x="5040" y="7560"/>
                  </a:lnTo>
                  <a:cubicBezTo>
                    <a:pt x="5019" y="7560"/>
                    <a:pt x="5019" y="7560"/>
                    <a:pt x="5019" y="7540"/>
                  </a:cubicBezTo>
                  <a:lnTo>
                    <a:pt x="5019" y="7520"/>
                  </a:lnTo>
                  <a:lnTo>
                    <a:pt x="5019" y="7499"/>
                  </a:lnTo>
                  <a:cubicBezTo>
                    <a:pt x="4999" y="7499"/>
                    <a:pt x="4999" y="7499"/>
                    <a:pt x="4979" y="7499"/>
                  </a:cubicBezTo>
                  <a:lnTo>
                    <a:pt x="4958" y="7520"/>
                  </a:lnTo>
                  <a:lnTo>
                    <a:pt x="4958" y="7540"/>
                  </a:lnTo>
                  <a:cubicBezTo>
                    <a:pt x="4937" y="7540"/>
                    <a:pt x="4937" y="7540"/>
                    <a:pt x="4917" y="7540"/>
                  </a:cubicBezTo>
                  <a:cubicBezTo>
                    <a:pt x="4917" y="7540"/>
                    <a:pt x="4897" y="7540"/>
                    <a:pt x="4876" y="7540"/>
                  </a:cubicBezTo>
                  <a:cubicBezTo>
                    <a:pt x="4876" y="7540"/>
                    <a:pt x="4876" y="7540"/>
                    <a:pt x="4855" y="7540"/>
                  </a:cubicBezTo>
                  <a:cubicBezTo>
                    <a:pt x="4855" y="7520"/>
                    <a:pt x="4835" y="7520"/>
                    <a:pt x="4835" y="7499"/>
                  </a:cubicBezTo>
                  <a:lnTo>
                    <a:pt x="4835" y="7478"/>
                  </a:lnTo>
                  <a:lnTo>
                    <a:pt x="4815" y="7458"/>
                  </a:lnTo>
                  <a:cubicBezTo>
                    <a:pt x="4815" y="7438"/>
                    <a:pt x="4794" y="7438"/>
                    <a:pt x="4794" y="7417"/>
                  </a:cubicBezTo>
                  <a:cubicBezTo>
                    <a:pt x="4773" y="7417"/>
                    <a:pt x="4753" y="7438"/>
                    <a:pt x="4753" y="7417"/>
                  </a:cubicBezTo>
                  <a:cubicBezTo>
                    <a:pt x="4733" y="7417"/>
                    <a:pt x="4733" y="7396"/>
                    <a:pt x="4733" y="7396"/>
                  </a:cubicBezTo>
                  <a:cubicBezTo>
                    <a:pt x="4733" y="7376"/>
                    <a:pt x="4712" y="7356"/>
                    <a:pt x="4712" y="7335"/>
                  </a:cubicBezTo>
                  <a:lnTo>
                    <a:pt x="4733" y="7314"/>
                  </a:lnTo>
                  <a:cubicBezTo>
                    <a:pt x="4733" y="7294"/>
                    <a:pt x="4712" y="7274"/>
                    <a:pt x="4712" y="7274"/>
                  </a:cubicBezTo>
                  <a:cubicBezTo>
                    <a:pt x="4712" y="7253"/>
                    <a:pt x="4712" y="7253"/>
                    <a:pt x="4712" y="7253"/>
                  </a:cubicBezTo>
                  <a:cubicBezTo>
                    <a:pt x="4733" y="7232"/>
                    <a:pt x="4733" y="7232"/>
                    <a:pt x="4733" y="7212"/>
                  </a:cubicBezTo>
                  <a:lnTo>
                    <a:pt x="4712" y="7212"/>
                  </a:lnTo>
                  <a:cubicBezTo>
                    <a:pt x="4691" y="7192"/>
                    <a:pt x="4671" y="7192"/>
                    <a:pt x="4671" y="7192"/>
                  </a:cubicBezTo>
                  <a:cubicBezTo>
                    <a:pt x="4651" y="7192"/>
                    <a:pt x="4609" y="7192"/>
                    <a:pt x="4609" y="7171"/>
                  </a:cubicBezTo>
                  <a:lnTo>
                    <a:pt x="4589" y="7150"/>
                  </a:lnTo>
                  <a:lnTo>
                    <a:pt x="4609" y="7130"/>
                  </a:lnTo>
                  <a:cubicBezTo>
                    <a:pt x="4609" y="7110"/>
                    <a:pt x="4609" y="7089"/>
                    <a:pt x="4589" y="7089"/>
                  </a:cubicBezTo>
                  <a:lnTo>
                    <a:pt x="4589" y="7068"/>
                  </a:lnTo>
                  <a:cubicBezTo>
                    <a:pt x="4589" y="7048"/>
                    <a:pt x="4569" y="7048"/>
                    <a:pt x="4569" y="7048"/>
                  </a:cubicBezTo>
                  <a:cubicBezTo>
                    <a:pt x="4548" y="7048"/>
                    <a:pt x="4548" y="7028"/>
                    <a:pt x="4548" y="7028"/>
                  </a:cubicBezTo>
                  <a:cubicBezTo>
                    <a:pt x="4548" y="7007"/>
                    <a:pt x="4548" y="6986"/>
                    <a:pt x="4548" y="6986"/>
                  </a:cubicBezTo>
                  <a:cubicBezTo>
                    <a:pt x="4569" y="6986"/>
                    <a:pt x="4569" y="6986"/>
                    <a:pt x="4589" y="6986"/>
                  </a:cubicBezTo>
                  <a:lnTo>
                    <a:pt x="4609" y="6986"/>
                  </a:lnTo>
                  <a:cubicBezTo>
                    <a:pt x="4609" y="6966"/>
                    <a:pt x="4609" y="6966"/>
                    <a:pt x="4609" y="6946"/>
                  </a:cubicBezTo>
                  <a:lnTo>
                    <a:pt x="4589" y="6946"/>
                  </a:lnTo>
                  <a:cubicBezTo>
                    <a:pt x="4569" y="6966"/>
                    <a:pt x="4569" y="6966"/>
                    <a:pt x="4548" y="6966"/>
                  </a:cubicBezTo>
                  <a:lnTo>
                    <a:pt x="4527" y="6986"/>
                  </a:lnTo>
                  <a:cubicBezTo>
                    <a:pt x="4507" y="6986"/>
                    <a:pt x="4487" y="6986"/>
                    <a:pt x="4466" y="6986"/>
                  </a:cubicBezTo>
                  <a:lnTo>
                    <a:pt x="4445" y="6986"/>
                  </a:lnTo>
                  <a:cubicBezTo>
                    <a:pt x="4425" y="7007"/>
                    <a:pt x="4405" y="7007"/>
                    <a:pt x="4405" y="7007"/>
                  </a:cubicBezTo>
                  <a:cubicBezTo>
                    <a:pt x="4384" y="7007"/>
                    <a:pt x="4364" y="7007"/>
                    <a:pt x="4364" y="7007"/>
                  </a:cubicBezTo>
                  <a:cubicBezTo>
                    <a:pt x="4364" y="6986"/>
                    <a:pt x="4364" y="6966"/>
                    <a:pt x="4364" y="6966"/>
                  </a:cubicBezTo>
                  <a:cubicBezTo>
                    <a:pt x="4384" y="6966"/>
                    <a:pt x="4384" y="6946"/>
                    <a:pt x="4384" y="6946"/>
                  </a:cubicBezTo>
                  <a:cubicBezTo>
                    <a:pt x="4384" y="6925"/>
                    <a:pt x="4364" y="6904"/>
                    <a:pt x="4364" y="6904"/>
                  </a:cubicBezTo>
                  <a:cubicBezTo>
                    <a:pt x="4364" y="6884"/>
                    <a:pt x="4343" y="6864"/>
                    <a:pt x="4343" y="6864"/>
                  </a:cubicBezTo>
                  <a:cubicBezTo>
                    <a:pt x="4343" y="6864"/>
                    <a:pt x="4343" y="6843"/>
                    <a:pt x="4343" y="6823"/>
                  </a:cubicBezTo>
                  <a:lnTo>
                    <a:pt x="4364" y="6802"/>
                  </a:lnTo>
                  <a:cubicBezTo>
                    <a:pt x="4364" y="6782"/>
                    <a:pt x="4343" y="6761"/>
                    <a:pt x="4343" y="6761"/>
                  </a:cubicBezTo>
                  <a:cubicBezTo>
                    <a:pt x="4343" y="6741"/>
                    <a:pt x="4343" y="6720"/>
                    <a:pt x="4364" y="6720"/>
                  </a:cubicBezTo>
                  <a:lnTo>
                    <a:pt x="4384" y="6720"/>
                  </a:lnTo>
                  <a:cubicBezTo>
                    <a:pt x="4405" y="6720"/>
                    <a:pt x="4405" y="6720"/>
                    <a:pt x="4405" y="6720"/>
                  </a:cubicBezTo>
                  <a:cubicBezTo>
                    <a:pt x="4425" y="6700"/>
                    <a:pt x="4425" y="6679"/>
                    <a:pt x="4425" y="6679"/>
                  </a:cubicBezTo>
                  <a:cubicBezTo>
                    <a:pt x="4425" y="6659"/>
                    <a:pt x="4445" y="6638"/>
                    <a:pt x="4445" y="6638"/>
                  </a:cubicBezTo>
                  <a:cubicBezTo>
                    <a:pt x="4445" y="6618"/>
                    <a:pt x="4466" y="6618"/>
                    <a:pt x="4466" y="6597"/>
                  </a:cubicBezTo>
                  <a:cubicBezTo>
                    <a:pt x="4466" y="6577"/>
                    <a:pt x="4466" y="6556"/>
                    <a:pt x="4466" y="6556"/>
                  </a:cubicBezTo>
                  <a:cubicBezTo>
                    <a:pt x="4466" y="6536"/>
                    <a:pt x="4466" y="6515"/>
                    <a:pt x="4466" y="6515"/>
                  </a:cubicBezTo>
                  <a:cubicBezTo>
                    <a:pt x="4466" y="6495"/>
                    <a:pt x="4466" y="6474"/>
                    <a:pt x="4466" y="6454"/>
                  </a:cubicBezTo>
                  <a:cubicBezTo>
                    <a:pt x="4466" y="6454"/>
                    <a:pt x="4466" y="6413"/>
                    <a:pt x="4445" y="6392"/>
                  </a:cubicBezTo>
                  <a:cubicBezTo>
                    <a:pt x="4445" y="6392"/>
                    <a:pt x="4445" y="6372"/>
                    <a:pt x="4445" y="6351"/>
                  </a:cubicBezTo>
                  <a:cubicBezTo>
                    <a:pt x="4445" y="6351"/>
                    <a:pt x="4425" y="6331"/>
                    <a:pt x="4425" y="6310"/>
                  </a:cubicBezTo>
                  <a:cubicBezTo>
                    <a:pt x="4405" y="6290"/>
                    <a:pt x="4425" y="6269"/>
                    <a:pt x="4425" y="6269"/>
                  </a:cubicBezTo>
                  <a:cubicBezTo>
                    <a:pt x="4405" y="6249"/>
                    <a:pt x="4405" y="6249"/>
                    <a:pt x="4384" y="6249"/>
                  </a:cubicBezTo>
                  <a:lnTo>
                    <a:pt x="4364" y="6249"/>
                  </a:lnTo>
                  <a:cubicBezTo>
                    <a:pt x="4343" y="6228"/>
                    <a:pt x="4343" y="6208"/>
                    <a:pt x="4343" y="6208"/>
                  </a:cubicBezTo>
                  <a:cubicBezTo>
                    <a:pt x="4343" y="6187"/>
                    <a:pt x="4323" y="6187"/>
                    <a:pt x="4323" y="6167"/>
                  </a:cubicBezTo>
                  <a:cubicBezTo>
                    <a:pt x="4323" y="6147"/>
                    <a:pt x="4323" y="6126"/>
                    <a:pt x="4323" y="6105"/>
                  </a:cubicBezTo>
                  <a:cubicBezTo>
                    <a:pt x="4302" y="6105"/>
                    <a:pt x="4302" y="6065"/>
                    <a:pt x="4282" y="6065"/>
                  </a:cubicBezTo>
                  <a:cubicBezTo>
                    <a:pt x="4282" y="6044"/>
                    <a:pt x="4261" y="6044"/>
                    <a:pt x="4241" y="6023"/>
                  </a:cubicBezTo>
                  <a:lnTo>
                    <a:pt x="4220" y="6023"/>
                  </a:lnTo>
                  <a:cubicBezTo>
                    <a:pt x="4200" y="6023"/>
                    <a:pt x="4200" y="6023"/>
                    <a:pt x="4179" y="6023"/>
                  </a:cubicBezTo>
                  <a:cubicBezTo>
                    <a:pt x="4179" y="6044"/>
                    <a:pt x="4179" y="6065"/>
                    <a:pt x="4179" y="6065"/>
                  </a:cubicBezTo>
                  <a:lnTo>
                    <a:pt x="4179" y="6085"/>
                  </a:lnTo>
                  <a:cubicBezTo>
                    <a:pt x="4159" y="6085"/>
                    <a:pt x="4138" y="6085"/>
                    <a:pt x="4138" y="6085"/>
                  </a:cubicBezTo>
                  <a:cubicBezTo>
                    <a:pt x="4118" y="6085"/>
                    <a:pt x="4118" y="6065"/>
                    <a:pt x="4097" y="6044"/>
                  </a:cubicBezTo>
                  <a:lnTo>
                    <a:pt x="4077" y="6023"/>
                  </a:lnTo>
                  <a:lnTo>
                    <a:pt x="4056" y="6044"/>
                  </a:lnTo>
                  <a:cubicBezTo>
                    <a:pt x="4036" y="6044"/>
                    <a:pt x="4036" y="6044"/>
                    <a:pt x="4015" y="6023"/>
                  </a:cubicBezTo>
                  <a:lnTo>
                    <a:pt x="4015" y="6003"/>
                  </a:lnTo>
                  <a:cubicBezTo>
                    <a:pt x="4036" y="6003"/>
                    <a:pt x="4036" y="6003"/>
                    <a:pt x="4036" y="5983"/>
                  </a:cubicBezTo>
                  <a:cubicBezTo>
                    <a:pt x="4056" y="5983"/>
                    <a:pt x="4056" y="5983"/>
                    <a:pt x="4056" y="5962"/>
                  </a:cubicBezTo>
                  <a:lnTo>
                    <a:pt x="4056" y="5941"/>
                  </a:lnTo>
                  <a:cubicBezTo>
                    <a:pt x="4036" y="5941"/>
                    <a:pt x="4015" y="5941"/>
                    <a:pt x="3995" y="5921"/>
                  </a:cubicBezTo>
                  <a:cubicBezTo>
                    <a:pt x="3995" y="5921"/>
                    <a:pt x="3974" y="5941"/>
                    <a:pt x="3974" y="5921"/>
                  </a:cubicBezTo>
                  <a:lnTo>
                    <a:pt x="3974" y="5901"/>
                  </a:lnTo>
                  <a:cubicBezTo>
                    <a:pt x="3974" y="5901"/>
                    <a:pt x="3974" y="5880"/>
                    <a:pt x="3954" y="5880"/>
                  </a:cubicBezTo>
                  <a:cubicBezTo>
                    <a:pt x="3954" y="5859"/>
                    <a:pt x="3933" y="5859"/>
                    <a:pt x="3933" y="5859"/>
                  </a:cubicBezTo>
                  <a:cubicBezTo>
                    <a:pt x="3913" y="5859"/>
                    <a:pt x="3892" y="5859"/>
                    <a:pt x="3892" y="5859"/>
                  </a:cubicBezTo>
                  <a:cubicBezTo>
                    <a:pt x="3872" y="5859"/>
                    <a:pt x="3872" y="5880"/>
                    <a:pt x="3851" y="5901"/>
                  </a:cubicBezTo>
                  <a:lnTo>
                    <a:pt x="3810" y="5901"/>
                  </a:lnTo>
                  <a:cubicBezTo>
                    <a:pt x="3790" y="5901"/>
                    <a:pt x="3749" y="5901"/>
                    <a:pt x="3749" y="5901"/>
                  </a:cubicBezTo>
                  <a:cubicBezTo>
                    <a:pt x="3728" y="5901"/>
                    <a:pt x="3749" y="5859"/>
                    <a:pt x="3728" y="5859"/>
                  </a:cubicBezTo>
                  <a:lnTo>
                    <a:pt x="3708" y="5859"/>
                  </a:lnTo>
                  <a:cubicBezTo>
                    <a:pt x="3708" y="5859"/>
                    <a:pt x="3687" y="5880"/>
                    <a:pt x="3667" y="5901"/>
                  </a:cubicBezTo>
                  <a:lnTo>
                    <a:pt x="3626" y="5921"/>
                  </a:lnTo>
                  <a:cubicBezTo>
                    <a:pt x="3606" y="5941"/>
                    <a:pt x="3606" y="5962"/>
                    <a:pt x="3585" y="5962"/>
                  </a:cubicBezTo>
                  <a:cubicBezTo>
                    <a:pt x="3585" y="5962"/>
                    <a:pt x="3564" y="5962"/>
                    <a:pt x="3544" y="5983"/>
                  </a:cubicBezTo>
                  <a:cubicBezTo>
                    <a:pt x="3544" y="5983"/>
                    <a:pt x="3524" y="5983"/>
                    <a:pt x="3524" y="6003"/>
                  </a:cubicBezTo>
                  <a:lnTo>
                    <a:pt x="3524" y="6023"/>
                  </a:lnTo>
                  <a:cubicBezTo>
                    <a:pt x="3503" y="6044"/>
                    <a:pt x="3482" y="6044"/>
                    <a:pt x="3482" y="6044"/>
                  </a:cubicBezTo>
                  <a:cubicBezTo>
                    <a:pt x="3482" y="6044"/>
                    <a:pt x="3482" y="6065"/>
                    <a:pt x="3482" y="6085"/>
                  </a:cubicBezTo>
                  <a:cubicBezTo>
                    <a:pt x="3462" y="6085"/>
                    <a:pt x="3442" y="6105"/>
                    <a:pt x="3442" y="6105"/>
                  </a:cubicBezTo>
                  <a:cubicBezTo>
                    <a:pt x="3421" y="6105"/>
                    <a:pt x="3421" y="6147"/>
                    <a:pt x="3400" y="6147"/>
                  </a:cubicBezTo>
                  <a:cubicBezTo>
                    <a:pt x="3400" y="6167"/>
                    <a:pt x="3360" y="6167"/>
                    <a:pt x="3360" y="6167"/>
                  </a:cubicBezTo>
                  <a:lnTo>
                    <a:pt x="3339" y="6167"/>
                  </a:lnTo>
                  <a:cubicBezTo>
                    <a:pt x="3339" y="6187"/>
                    <a:pt x="3318" y="6187"/>
                    <a:pt x="3318" y="6187"/>
                  </a:cubicBezTo>
                  <a:cubicBezTo>
                    <a:pt x="3318" y="6167"/>
                    <a:pt x="3298" y="6147"/>
                    <a:pt x="3298" y="6147"/>
                  </a:cubicBezTo>
                  <a:cubicBezTo>
                    <a:pt x="3298" y="6147"/>
                    <a:pt x="3278" y="6147"/>
                    <a:pt x="3257" y="6126"/>
                  </a:cubicBezTo>
                  <a:cubicBezTo>
                    <a:pt x="3257" y="6126"/>
                    <a:pt x="3236" y="6126"/>
                    <a:pt x="3216" y="6126"/>
                  </a:cubicBezTo>
                  <a:cubicBezTo>
                    <a:pt x="3216" y="6126"/>
                    <a:pt x="3175" y="6147"/>
                    <a:pt x="3154" y="6147"/>
                  </a:cubicBezTo>
                  <a:lnTo>
                    <a:pt x="3134" y="6147"/>
                  </a:lnTo>
                  <a:lnTo>
                    <a:pt x="3134" y="6167"/>
                  </a:lnTo>
                  <a:lnTo>
                    <a:pt x="3114" y="6167"/>
                  </a:lnTo>
                  <a:cubicBezTo>
                    <a:pt x="3093" y="6167"/>
                    <a:pt x="3093" y="6167"/>
                    <a:pt x="3093" y="6167"/>
                  </a:cubicBezTo>
                  <a:lnTo>
                    <a:pt x="3072" y="6167"/>
                  </a:lnTo>
                  <a:cubicBezTo>
                    <a:pt x="3052" y="6167"/>
                    <a:pt x="3052" y="6167"/>
                    <a:pt x="3052" y="6167"/>
                  </a:cubicBezTo>
                  <a:cubicBezTo>
                    <a:pt x="3032" y="6147"/>
                    <a:pt x="3032" y="6126"/>
                    <a:pt x="3032" y="6126"/>
                  </a:cubicBezTo>
                  <a:cubicBezTo>
                    <a:pt x="3011" y="6126"/>
                    <a:pt x="3011" y="6126"/>
                    <a:pt x="3011" y="6126"/>
                  </a:cubicBezTo>
                  <a:cubicBezTo>
                    <a:pt x="2990" y="6105"/>
                    <a:pt x="2970" y="6105"/>
                    <a:pt x="2950" y="6126"/>
                  </a:cubicBezTo>
                  <a:cubicBezTo>
                    <a:pt x="2950" y="6126"/>
                    <a:pt x="2929" y="6126"/>
                    <a:pt x="2908" y="6147"/>
                  </a:cubicBezTo>
                  <a:cubicBezTo>
                    <a:pt x="2908" y="6147"/>
                    <a:pt x="2888" y="6147"/>
                    <a:pt x="2888" y="6167"/>
                  </a:cubicBezTo>
                  <a:cubicBezTo>
                    <a:pt x="2888" y="6167"/>
                    <a:pt x="2888" y="6208"/>
                    <a:pt x="2868" y="6208"/>
                  </a:cubicBezTo>
                  <a:cubicBezTo>
                    <a:pt x="2868" y="6228"/>
                    <a:pt x="2868" y="6228"/>
                    <a:pt x="2848" y="6249"/>
                  </a:cubicBezTo>
                  <a:cubicBezTo>
                    <a:pt x="2848" y="6249"/>
                    <a:pt x="2848" y="6269"/>
                    <a:pt x="2848" y="6290"/>
                  </a:cubicBezTo>
                  <a:cubicBezTo>
                    <a:pt x="2848" y="6290"/>
                    <a:pt x="2848" y="6290"/>
                    <a:pt x="2827" y="6290"/>
                  </a:cubicBezTo>
                  <a:lnTo>
                    <a:pt x="2806" y="6290"/>
                  </a:lnTo>
                  <a:cubicBezTo>
                    <a:pt x="2806" y="6269"/>
                    <a:pt x="2806" y="6249"/>
                    <a:pt x="2806" y="6249"/>
                  </a:cubicBezTo>
                  <a:cubicBezTo>
                    <a:pt x="2806" y="6249"/>
                    <a:pt x="2786" y="6228"/>
                    <a:pt x="2806" y="6208"/>
                  </a:cubicBezTo>
                  <a:cubicBezTo>
                    <a:pt x="2806" y="6208"/>
                    <a:pt x="2827" y="6187"/>
                    <a:pt x="2806" y="6187"/>
                  </a:cubicBezTo>
                  <a:cubicBezTo>
                    <a:pt x="2806" y="6167"/>
                    <a:pt x="2786" y="6167"/>
                    <a:pt x="2766" y="6167"/>
                  </a:cubicBezTo>
                  <a:cubicBezTo>
                    <a:pt x="2745" y="6167"/>
                    <a:pt x="2724" y="6167"/>
                    <a:pt x="2704" y="6167"/>
                  </a:cubicBezTo>
                  <a:lnTo>
                    <a:pt x="2684" y="6167"/>
                  </a:lnTo>
                  <a:cubicBezTo>
                    <a:pt x="2663" y="6187"/>
                    <a:pt x="2642" y="6187"/>
                    <a:pt x="2642" y="6187"/>
                  </a:cubicBezTo>
                  <a:lnTo>
                    <a:pt x="2622" y="6187"/>
                  </a:lnTo>
                  <a:cubicBezTo>
                    <a:pt x="2622" y="6187"/>
                    <a:pt x="2602" y="6208"/>
                    <a:pt x="2581" y="6208"/>
                  </a:cubicBezTo>
                  <a:lnTo>
                    <a:pt x="2540" y="6208"/>
                  </a:lnTo>
                  <a:cubicBezTo>
                    <a:pt x="2520" y="6208"/>
                    <a:pt x="2499" y="6208"/>
                    <a:pt x="2499" y="6208"/>
                  </a:cubicBezTo>
                  <a:cubicBezTo>
                    <a:pt x="2479" y="6208"/>
                    <a:pt x="2459" y="6187"/>
                    <a:pt x="2439" y="6187"/>
                  </a:cubicBezTo>
                  <a:cubicBezTo>
                    <a:pt x="2418" y="6187"/>
                    <a:pt x="2397" y="6187"/>
                    <a:pt x="2377" y="6187"/>
                  </a:cubicBezTo>
                  <a:cubicBezTo>
                    <a:pt x="2357" y="6187"/>
                    <a:pt x="2315" y="6187"/>
                    <a:pt x="2275" y="6187"/>
                  </a:cubicBezTo>
                  <a:cubicBezTo>
                    <a:pt x="2254" y="6187"/>
                    <a:pt x="2213" y="6187"/>
                    <a:pt x="2193" y="6187"/>
                  </a:cubicBezTo>
                  <a:cubicBezTo>
                    <a:pt x="2193" y="6167"/>
                    <a:pt x="2193" y="6147"/>
                    <a:pt x="2172" y="6147"/>
                  </a:cubicBezTo>
                  <a:cubicBezTo>
                    <a:pt x="2172" y="6126"/>
                    <a:pt x="2172" y="6105"/>
                    <a:pt x="2172" y="6105"/>
                  </a:cubicBezTo>
                  <a:cubicBezTo>
                    <a:pt x="2172" y="6105"/>
                    <a:pt x="2172" y="6085"/>
                    <a:pt x="2172" y="6065"/>
                  </a:cubicBezTo>
                  <a:cubicBezTo>
                    <a:pt x="2172" y="6065"/>
                    <a:pt x="2151" y="6044"/>
                    <a:pt x="2131" y="6044"/>
                  </a:cubicBezTo>
                  <a:lnTo>
                    <a:pt x="2111" y="6023"/>
                  </a:lnTo>
                  <a:lnTo>
                    <a:pt x="2090" y="6023"/>
                  </a:lnTo>
                  <a:cubicBezTo>
                    <a:pt x="2070" y="6023"/>
                    <a:pt x="2070" y="6044"/>
                    <a:pt x="2070" y="6044"/>
                  </a:cubicBezTo>
                  <a:cubicBezTo>
                    <a:pt x="2070" y="6044"/>
                    <a:pt x="2049" y="6044"/>
                    <a:pt x="2029" y="6023"/>
                  </a:cubicBezTo>
                  <a:lnTo>
                    <a:pt x="2008" y="6023"/>
                  </a:lnTo>
                  <a:cubicBezTo>
                    <a:pt x="2008" y="6003"/>
                    <a:pt x="1988" y="5983"/>
                    <a:pt x="1988" y="5983"/>
                  </a:cubicBezTo>
                  <a:cubicBezTo>
                    <a:pt x="1988" y="5983"/>
                    <a:pt x="1988" y="5962"/>
                    <a:pt x="1988" y="5941"/>
                  </a:cubicBezTo>
                  <a:lnTo>
                    <a:pt x="1967" y="5921"/>
                  </a:lnTo>
                  <a:cubicBezTo>
                    <a:pt x="1947" y="5921"/>
                    <a:pt x="1947" y="5901"/>
                    <a:pt x="1947" y="5901"/>
                  </a:cubicBezTo>
                  <a:cubicBezTo>
                    <a:pt x="1926" y="5901"/>
                    <a:pt x="1926" y="5921"/>
                    <a:pt x="1926" y="5921"/>
                  </a:cubicBezTo>
                  <a:lnTo>
                    <a:pt x="1926" y="5941"/>
                  </a:lnTo>
                  <a:lnTo>
                    <a:pt x="1906" y="5962"/>
                  </a:lnTo>
                  <a:lnTo>
                    <a:pt x="1885" y="5941"/>
                  </a:lnTo>
                  <a:lnTo>
                    <a:pt x="1865" y="5921"/>
                  </a:lnTo>
                  <a:lnTo>
                    <a:pt x="1885" y="5901"/>
                  </a:lnTo>
                  <a:cubicBezTo>
                    <a:pt x="1885" y="5880"/>
                    <a:pt x="1865" y="5880"/>
                    <a:pt x="1844" y="5880"/>
                  </a:cubicBezTo>
                  <a:cubicBezTo>
                    <a:pt x="1844" y="5859"/>
                    <a:pt x="1824" y="5859"/>
                    <a:pt x="1824" y="5859"/>
                  </a:cubicBezTo>
                  <a:cubicBezTo>
                    <a:pt x="1824" y="5839"/>
                    <a:pt x="1783" y="5839"/>
                    <a:pt x="1783" y="5819"/>
                  </a:cubicBezTo>
                  <a:cubicBezTo>
                    <a:pt x="1783" y="5819"/>
                    <a:pt x="1762" y="5798"/>
                    <a:pt x="1742" y="5798"/>
                  </a:cubicBezTo>
                  <a:lnTo>
                    <a:pt x="1721" y="5798"/>
                  </a:lnTo>
                  <a:cubicBezTo>
                    <a:pt x="1701" y="5777"/>
                    <a:pt x="1680" y="5777"/>
                    <a:pt x="1680" y="5777"/>
                  </a:cubicBezTo>
                  <a:cubicBezTo>
                    <a:pt x="1660" y="5777"/>
                    <a:pt x="1639" y="5757"/>
                    <a:pt x="1639" y="5757"/>
                  </a:cubicBezTo>
                  <a:cubicBezTo>
                    <a:pt x="1639" y="5757"/>
                    <a:pt x="1619" y="5757"/>
                    <a:pt x="1598" y="5737"/>
                  </a:cubicBezTo>
                  <a:lnTo>
                    <a:pt x="1578" y="5716"/>
                  </a:lnTo>
                  <a:lnTo>
                    <a:pt x="1557" y="5695"/>
                  </a:lnTo>
                  <a:cubicBezTo>
                    <a:pt x="1537" y="5695"/>
                    <a:pt x="1516" y="5716"/>
                    <a:pt x="1516" y="5716"/>
                  </a:cubicBezTo>
                  <a:cubicBezTo>
                    <a:pt x="1516" y="5716"/>
                    <a:pt x="1516" y="5737"/>
                    <a:pt x="1496" y="5757"/>
                  </a:cubicBezTo>
                  <a:cubicBezTo>
                    <a:pt x="1496" y="5757"/>
                    <a:pt x="1475" y="5757"/>
                    <a:pt x="1455" y="5757"/>
                  </a:cubicBezTo>
                  <a:lnTo>
                    <a:pt x="1434" y="5737"/>
                  </a:lnTo>
                  <a:lnTo>
                    <a:pt x="1434" y="5737"/>
                  </a:lnTo>
                  <a:cubicBezTo>
                    <a:pt x="1414" y="5737"/>
                    <a:pt x="1414" y="5716"/>
                    <a:pt x="1414" y="5716"/>
                  </a:cubicBezTo>
                  <a:lnTo>
                    <a:pt x="1393" y="5695"/>
                  </a:lnTo>
                  <a:cubicBezTo>
                    <a:pt x="1373" y="5695"/>
                    <a:pt x="1373" y="5675"/>
                    <a:pt x="1373" y="5675"/>
                  </a:cubicBezTo>
                  <a:cubicBezTo>
                    <a:pt x="1352" y="5675"/>
                    <a:pt x="1352" y="5675"/>
                    <a:pt x="1352" y="5655"/>
                  </a:cubicBezTo>
                  <a:cubicBezTo>
                    <a:pt x="1332" y="5655"/>
                    <a:pt x="1312" y="5655"/>
                    <a:pt x="1312" y="5655"/>
                  </a:cubicBezTo>
                  <a:cubicBezTo>
                    <a:pt x="1312" y="5655"/>
                    <a:pt x="1312" y="5634"/>
                    <a:pt x="1291" y="5634"/>
                  </a:cubicBezTo>
                  <a:cubicBezTo>
                    <a:pt x="1291" y="5634"/>
                    <a:pt x="1291" y="5613"/>
                    <a:pt x="1291" y="5593"/>
                  </a:cubicBezTo>
                  <a:cubicBezTo>
                    <a:pt x="1291" y="5593"/>
                    <a:pt x="1270" y="5573"/>
                    <a:pt x="1250" y="5573"/>
                  </a:cubicBezTo>
                  <a:lnTo>
                    <a:pt x="1230" y="5573"/>
                  </a:lnTo>
                  <a:cubicBezTo>
                    <a:pt x="1209" y="5573"/>
                    <a:pt x="1209" y="5552"/>
                    <a:pt x="1188" y="5552"/>
                  </a:cubicBezTo>
                  <a:cubicBezTo>
                    <a:pt x="1188" y="5552"/>
                    <a:pt x="1168" y="5552"/>
                    <a:pt x="1168" y="5531"/>
                  </a:cubicBezTo>
                  <a:cubicBezTo>
                    <a:pt x="1168" y="5531"/>
                    <a:pt x="1168" y="5511"/>
                    <a:pt x="1148" y="5511"/>
                  </a:cubicBezTo>
                  <a:lnTo>
                    <a:pt x="1127" y="5511"/>
                  </a:lnTo>
                  <a:cubicBezTo>
                    <a:pt x="1106" y="5511"/>
                    <a:pt x="1086" y="5511"/>
                    <a:pt x="1086" y="5511"/>
                  </a:cubicBezTo>
                  <a:cubicBezTo>
                    <a:pt x="1066" y="5491"/>
                    <a:pt x="1066" y="5491"/>
                    <a:pt x="1066" y="5471"/>
                  </a:cubicBezTo>
                  <a:lnTo>
                    <a:pt x="1045" y="5429"/>
                  </a:lnTo>
                  <a:cubicBezTo>
                    <a:pt x="1045" y="5409"/>
                    <a:pt x="1045" y="5389"/>
                    <a:pt x="1045" y="5389"/>
                  </a:cubicBezTo>
                  <a:cubicBezTo>
                    <a:pt x="1045" y="5368"/>
                    <a:pt x="1045" y="5347"/>
                    <a:pt x="1045" y="5347"/>
                  </a:cubicBezTo>
                  <a:cubicBezTo>
                    <a:pt x="1045" y="5347"/>
                    <a:pt x="1024" y="5327"/>
                    <a:pt x="1004" y="5327"/>
                  </a:cubicBezTo>
                  <a:cubicBezTo>
                    <a:pt x="1004" y="5307"/>
                    <a:pt x="984" y="5307"/>
                    <a:pt x="963" y="5307"/>
                  </a:cubicBezTo>
                  <a:lnTo>
                    <a:pt x="963" y="5286"/>
                  </a:lnTo>
                  <a:cubicBezTo>
                    <a:pt x="963" y="5265"/>
                    <a:pt x="963" y="5245"/>
                    <a:pt x="963" y="5245"/>
                  </a:cubicBezTo>
                  <a:cubicBezTo>
                    <a:pt x="963" y="5245"/>
                    <a:pt x="963" y="5225"/>
                    <a:pt x="984" y="5225"/>
                  </a:cubicBezTo>
                  <a:lnTo>
                    <a:pt x="1004" y="5225"/>
                  </a:lnTo>
                  <a:cubicBezTo>
                    <a:pt x="1004" y="5245"/>
                    <a:pt x="1024" y="5265"/>
                    <a:pt x="1024" y="5265"/>
                  </a:cubicBezTo>
                  <a:lnTo>
                    <a:pt x="1045" y="5286"/>
                  </a:lnTo>
                  <a:cubicBezTo>
                    <a:pt x="1066" y="5286"/>
                    <a:pt x="1086" y="5286"/>
                    <a:pt x="1086" y="5286"/>
                  </a:cubicBezTo>
                  <a:cubicBezTo>
                    <a:pt x="1086" y="5286"/>
                    <a:pt x="1106" y="5265"/>
                    <a:pt x="1106" y="5245"/>
                  </a:cubicBezTo>
                  <a:cubicBezTo>
                    <a:pt x="1106" y="5245"/>
                    <a:pt x="1106" y="5225"/>
                    <a:pt x="1106" y="5204"/>
                  </a:cubicBezTo>
                  <a:cubicBezTo>
                    <a:pt x="1106" y="5204"/>
                    <a:pt x="1106" y="5183"/>
                    <a:pt x="1086" y="5183"/>
                  </a:cubicBezTo>
                  <a:cubicBezTo>
                    <a:pt x="1086" y="5163"/>
                    <a:pt x="1066" y="5163"/>
                    <a:pt x="1066" y="5163"/>
                  </a:cubicBezTo>
                  <a:cubicBezTo>
                    <a:pt x="1066" y="5163"/>
                    <a:pt x="1066" y="5143"/>
                    <a:pt x="1066" y="5122"/>
                  </a:cubicBezTo>
                  <a:lnTo>
                    <a:pt x="1066" y="5101"/>
                  </a:lnTo>
                  <a:cubicBezTo>
                    <a:pt x="1045" y="5081"/>
                    <a:pt x="1024" y="5081"/>
                    <a:pt x="1004" y="5081"/>
                  </a:cubicBezTo>
                  <a:cubicBezTo>
                    <a:pt x="1004" y="5061"/>
                    <a:pt x="1004" y="5061"/>
                    <a:pt x="1004" y="5040"/>
                  </a:cubicBezTo>
                  <a:lnTo>
                    <a:pt x="1004" y="5019"/>
                  </a:lnTo>
                  <a:cubicBezTo>
                    <a:pt x="1024" y="4999"/>
                    <a:pt x="1024" y="4979"/>
                    <a:pt x="1024" y="4979"/>
                  </a:cubicBezTo>
                  <a:cubicBezTo>
                    <a:pt x="1004" y="4958"/>
                    <a:pt x="984" y="4958"/>
                    <a:pt x="963" y="4958"/>
                  </a:cubicBezTo>
                  <a:cubicBezTo>
                    <a:pt x="963" y="4937"/>
                    <a:pt x="963" y="4917"/>
                    <a:pt x="963" y="4917"/>
                  </a:cubicBezTo>
                  <a:cubicBezTo>
                    <a:pt x="963" y="4917"/>
                    <a:pt x="963" y="4897"/>
                    <a:pt x="984" y="4897"/>
                  </a:cubicBezTo>
                  <a:cubicBezTo>
                    <a:pt x="984" y="4897"/>
                    <a:pt x="1004" y="4897"/>
                    <a:pt x="1024" y="4897"/>
                  </a:cubicBezTo>
                  <a:cubicBezTo>
                    <a:pt x="1024" y="4897"/>
                    <a:pt x="1045" y="4917"/>
                    <a:pt x="1066" y="4917"/>
                  </a:cubicBezTo>
                  <a:cubicBezTo>
                    <a:pt x="1066" y="4897"/>
                    <a:pt x="1066" y="4897"/>
                    <a:pt x="1066" y="4876"/>
                  </a:cubicBezTo>
                  <a:cubicBezTo>
                    <a:pt x="1066" y="4876"/>
                    <a:pt x="1066" y="4876"/>
                    <a:pt x="1066" y="4855"/>
                  </a:cubicBezTo>
                  <a:cubicBezTo>
                    <a:pt x="1045" y="4855"/>
                    <a:pt x="1024" y="4835"/>
                    <a:pt x="1024" y="4835"/>
                  </a:cubicBezTo>
                  <a:cubicBezTo>
                    <a:pt x="1004" y="4835"/>
                    <a:pt x="984" y="4815"/>
                    <a:pt x="963" y="4815"/>
                  </a:cubicBezTo>
                  <a:cubicBezTo>
                    <a:pt x="942" y="4794"/>
                    <a:pt x="922" y="4753"/>
                    <a:pt x="902" y="4733"/>
                  </a:cubicBezTo>
                  <a:lnTo>
                    <a:pt x="902" y="4712"/>
                  </a:lnTo>
                  <a:cubicBezTo>
                    <a:pt x="902" y="4692"/>
                    <a:pt x="881" y="4671"/>
                    <a:pt x="881" y="4671"/>
                  </a:cubicBezTo>
                  <a:lnTo>
                    <a:pt x="881" y="4651"/>
                  </a:lnTo>
                  <a:cubicBezTo>
                    <a:pt x="881" y="4651"/>
                    <a:pt x="860" y="4630"/>
                    <a:pt x="840" y="4610"/>
                  </a:cubicBezTo>
                  <a:lnTo>
                    <a:pt x="820" y="4610"/>
                  </a:lnTo>
                  <a:cubicBezTo>
                    <a:pt x="799" y="4610"/>
                    <a:pt x="778" y="4610"/>
                    <a:pt x="778" y="4610"/>
                  </a:cubicBezTo>
                  <a:cubicBezTo>
                    <a:pt x="758" y="4589"/>
                    <a:pt x="738" y="4589"/>
                    <a:pt x="717" y="4610"/>
                  </a:cubicBezTo>
                  <a:lnTo>
                    <a:pt x="696" y="4630"/>
                  </a:lnTo>
                  <a:cubicBezTo>
                    <a:pt x="676" y="4630"/>
                    <a:pt x="656" y="4630"/>
                    <a:pt x="635" y="4630"/>
                  </a:cubicBezTo>
                  <a:cubicBezTo>
                    <a:pt x="635" y="4610"/>
                    <a:pt x="615" y="4610"/>
                    <a:pt x="615" y="4610"/>
                  </a:cubicBezTo>
                  <a:cubicBezTo>
                    <a:pt x="615" y="4589"/>
                    <a:pt x="615" y="4569"/>
                    <a:pt x="615" y="4569"/>
                  </a:cubicBezTo>
                  <a:lnTo>
                    <a:pt x="594" y="4548"/>
                  </a:lnTo>
                  <a:cubicBezTo>
                    <a:pt x="574" y="4528"/>
                    <a:pt x="554" y="4528"/>
                    <a:pt x="554" y="4528"/>
                  </a:cubicBezTo>
                  <a:cubicBezTo>
                    <a:pt x="533" y="4528"/>
                    <a:pt x="512" y="4528"/>
                    <a:pt x="492" y="4528"/>
                  </a:cubicBezTo>
                  <a:lnTo>
                    <a:pt x="472" y="4528"/>
                  </a:lnTo>
                  <a:cubicBezTo>
                    <a:pt x="451" y="4528"/>
                    <a:pt x="451" y="4507"/>
                    <a:pt x="451" y="4507"/>
                  </a:cubicBezTo>
                  <a:cubicBezTo>
                    <a:pt x="451" y="4507"/>
                    <a:pt x="430" y="4507"/>
                    <a:pt x="410" y="4487"/>
                  </a:cubicBezTo>
                  <a:lnTo>
                    <a:pt x="410" y="4466"/>
                  </a:lnTo>
                  <a:lnTo>
                    <a:pt x="430" y="4446"/>
                  </a:lnTo>
                  <a:cubicBezTo>
                    <a:pt x="430" y="4425"/>
                    <a:pt x="451" y="4425"/>
                    <a:pt x="430" y="4425"/>
                  </a:cubicBezTo>
                  <a:cubicBezTo>
                    <a:pt x="430" y="4405"/>
                    <a:pt x="430" y="4384"/>
                    <a:pt x="430" y="4364"/>
                  </a:cubicBezTo>
                  <a:cubicBezTo>
                    <a:pt x="410" y="4343"/>
                    <a:pt x="410" y="4343"/>
                    <a:pt x="390" y="4323"/>
                  </a:cubicBezTo>
                  <a:cubicBezTo>
                    <a:pt x="390" y="4323"/>
                    <a:pt x="369" y="4302"/>
                    <a:pt x="369" y="4282"/>
                  </a:cubicBezTo>
                  <a:cubicBezTo>
                    <a:pt x="348" y="4282"/>
                    <a:pt x="348" y="4261"/>
                    <a:pt x="328" y="4261"/>
                  </a:cubicBezTo>
                  <a:cubicBezTo>
                    <a:pt x="308" y="4261"/>
                    <a:pt x="287" y="4261"/>
                    <a:pt x="266" y="4261"/>
                  </a:cubicBezTo>
                  <a:cubicBezTo>
                    <a:pt x="246" y="4261"/>
                    <a:pt x="226" y="4261"/>
                    <a:pt x="205" y="4261"/>
                  </a:cubicBezTo>
                  <a:lnTo>
                    <a:pt x="205" y="4261"/>
                  </a:lnTo>
                  <a:cubicBezTo>
                    <a:pt x="184" y="4261"/>
                    <a:pt x="184" y="4261"/>
                    <a:pt x="164" y="4261"/>
                  </a:cubicBezTo>
                  <a:cubicBezTo>
                    <a:pt x="164" y="4241"/>
                    <a:pt x="164" y="4220"/>
                    <a:pt x="164" y="4220"/>
                  </a:cubicBezTo>
                  <a:lnTo>
                    <a:pt x="184" y="4200"/>
                  </a:lnTo>
                  <a:cubicBezTo>
                    <a:pt x="205" y="4200"/>
                    <a:pt x="205" y="4200"/>
                    <a:pt x="205" y="4200"/>
                  </a:cubicBezTo>
                  <a:cubicBezTo>
                    <a:pt x="226" y="4200"/>
                    <a:pt x="226" y="4200"/>
                    <a:pt x="226" y="4200"/>
                  </a:cubicBezTo>
                  <a:lnTo>
                    <a:pt x="246" y="4200"/>
                  </a:lnTo>
                  <a:lnTo>
                    <a:pt x="266" y="4179"/>
                  </a:lnTo>
                  <a:cubicBezTo>
                    <a:pt x="266" y="4159"/>
                    <a:pt x="266" y="4138"/>
                    <a:pt x="246" y="4118"/>
                  </a:cubicBezTo>
                  <a:cubicBezTo>
                    <a:pt x="246" y="4099"/>
                    <a:pt x="226" y="4078"/>
                    <a:pt x="226" y="4057"/>
                  </a:cubicBezTo>
                  <a:lnTo>
                    <a:pt x="226" y="4017"/>
                  </a:lnTo>
                  <a:cubicBezTo>
                    <a:pt x="226" y="3996"/>
                    <a:pt x="205" y="3975"/>
                    <a:pt x="205" y="3975"/>
                  </a:cubicBezTo>
                  <a:lnTo>
                    <a:pt x="205" y="3955"/>
                  </a:lnTo>
                  <a:cubicBezTo>
                    <a:pt x="205" y="3935"/>
                    <a:pt x="205" y="3914"/>
                    <a:pt x="184" y="3914"/>
                  </a:cubicBezTo>
                  <a:lnTo>
                    <a:pt x="164" y="3914"/>
                  </a:lnTo>
                  <a:cubicBezTo>
                    <a:pt x="144" y="3914"/>
                    <a:pt x="144" y="3914"/>
                    <a:pt x="144" y="3893"/>
                  </a:cubicBezTo>
                  <a:cubicBezTo>
                    <a:pt x="123" y="3893"/>
                    <a:pt x="102" y="3893"/>
                    <a:pt x="82" y="3893"/>
                  </a:cubicBezTo>
                  <a:cubicBezTo>
                    <a:pt x="82" y="3914"/>
                    <a:pt x="82" y="3914"/>
                    <a:pt x="82" y="3914"/>
                  </a:cubicBezTo>
                  <a:lnTo>
                    <a:pt x="62" y="3914"/>
                  </a:lnTo>
                  <a:cubicBezTo>
                    <a:pt x="41" y="3893"/>
                    <a:pt x="41" y="3893"/>
                    <a:pt x="41" y="3873"/>
                  </a:cubicBezTo>
                  <a:cubicBezTo>
                    <a:pt x="41" y="3873"/>
                    <a:pt x="62" y="3853"/>
                    <a:pt x="62" y="3832"/>
                  </a:cubicBezTo>
                  <a:lnTo>
                    <a:pt x="62" y="3811"/>
                  </a:lnTo>
                  <a:cubicBezTo>
                    <a:pt x="41" y="3811"/>
                    <a:pt x="20" y="3791"/>
                    <a:pt x="20" y="3791"/>
                  </a:cubicBezTo>
                  <a:cubicBezTo>
                    <a:pt x="20" y="3771"/>
                    <a:pt x="0" y="3771"/>
                    <a:pt x="0" y="3771"/>
                  </a:cubicBezTo>
                  <a:cubicBezTo>
                    <a:pt x="0" y="3750"/>
                    <a:pt x="0" y="3750"/>
                    <a:pt x="0" y="3729"/>
                  </a:cubicBezTo>
                  <a:cubicBezTo>
                    <a:pt x="0" y="3729"/>
                    <a:pt x="0" y="3729"/>
                    <a:pt x="0" y="3709"/>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2" name="Freeform 69">
              <a:extLst>
                <a:ext uri="{FF2B5EF4-FFF2-40B4-BE49-F238E27FC236}">
                  <a16:creationId xmlns:a16="http://schemas.microsoft.com/office/drawing/2014/main" id="{497892EA-C947-6D45-AD9E-C55BF01CE22A}"/>
                </a:ext>
              </a:extLst>
            </p:cNvPr>
            <p:cNvSpPr>
              <a:spLocks noChangeArrowheads="1"/>
            </p:cNvSpPr>
            <p:nvPr/>
          </p:nvSpPr>
          <p:spPr bwMode="auto">
            <a:xfrm>
              <a:off x="5921375" y="5903913"/>
              <a:ext cx="96838" cy="287337"/>
            </a:xfrm>
            <a:custGeom>
              <a:avLst/>
              <a:gdLst>
                <a:gd name="T0" fmla="*/ 205 w 267"/>
                <a:gd name="T1" fmla="*/ 799 h 800"/>
                <a:gd name="T2" fmla="*/ 205 w 267"/>
                <a:gd name="T3" fmla="*/ 799 h 800"/>
                <a:gd name="T4" fmla="*/ 205 w 267"/>
                <a:gd name="T5" fmla="*/ 738 h 800"/>
                <a:gd name="T6" fmla="*/ 205 w 267"/>
                <a:gd name="T7" fmla="*/ 676 h 800"/>
                <a:gd name="T8" fmla="*/ 225 w 267"/>
                <a:gd name="T9" fmla="*/ 614 h 800"/>
                <a:gd name="T10" fmla="*/ 225 w 267"/>
                <a:gd name="T11" fmla="*/ 574 h 800"/>
                <a:gd name="T12" fmla="*/ 246 w 267"/>
                <a:gd name="T13" fmla="*/ 512 h 800"/>
                <a:gd name="T14" fmla="*/ 246 w 267"/>
                <a:gd name="T15" fmla="*/ 471 h 800"/>
                <a:gd name="T16" fmla="*/ 246 w 267"/>
                <a:gd name="T17" fmla="*/ 410 h 800"/>
                <a:gd name="T18" fmla="*/ 246 w 267"/>
                <a:gd name="T19" fmla="*/ 328 h 800"/>
                <a:gd name="T20" fmla="*/ 246 w 267"/>
                <a:gd name="T21" fmla="*/ 246 h 800"/>
                <a:gd name="T22" fmla="*/ 246 w 267"/>
                <a:gd name="T23" fmla="*/ 184 h 800"/>
                <a:gd name="T24" fmla="*/ 246 w 267"/>
                <a:gd name="T25" fmla="*/ 143 h 800"/>
                <a:gd name="T26" fmla="*/ 246 w 267"/>
                <a:gd name="T27" fmla="*/ 102 h 800"/>
                <a:gd name="T28" fmla="*/ 246 w 267"/>
                <a:gd name="T29" fmla="*/ 82 h 800"/>
                <a:gd name="T30" fmla="*/ 205 w 267"/>
                <a:gd name="T31" fmla="*/ 61 h 800"/>
                <a:gd name="T32" fmla="*/ 184 w 267"/>
                <a:gd name="T33" fmla="*/ 20 h 800"/>
                <a:gd name="T34" fmla="*/ 164 w 267"/>
                <a:gd name="T35" fmla="*/ 20 h 800"/>
                <a:gd name="T36" fmla="*/ 143 w 267"/>
                <a:gd name="T37" fmla="*/ 20 h 800"/>
                <a:gd name="T38" fmla="*/ 123 w 267"/>
                <a:gd name="T39" fmla="*/ 41 h 800"/>
                <a:gd name="T40" fmla="*/ 102 w 267"/>
                <a:gd name="T41" fmla="*/ 61 h 800"/>
                <a:gd name="T42" fmla="*/ 61 w 267"/>
                <a:gd name="T43" fmla="*/ 102 h 800"/>
                <a:gd name="T44" fmla="*/ 41 w 267"/>
                <a:gd name="T45" fmla="*/ 143 h 800"/>
                <a:gd name="T46" fmla="*/ 41 w 267"/>
                <a:gd name="T47" fmla="*/ 205 h 800"/>
                <a:gd name="T48" fmla="*/ 20 w 267"/>
                <a:gd name="T49" fmla="*/ 266 h 800"/>
                <a:gd name="T50" fmla="*/ 20 w 267"/>
                <a:gd name="T51" fmla="*/ 328 h 800"/>
                <a:gd name="T52" fmla="*/ 20 w 267"/>
                <a:gd name="T53" fmla="*/ 410 h 800"/>
                <a:gd name="T54" fmla="*/ 20 w 267"/>
                <a:gd name="T55" fmla="*/ 492 h 800"/>
                <a:gd name="T56" fmla="*/ 20 w 267"/>
                <a:gd name="T57" fmla="*/ 532 h 800"/>
                <a:gd name="T58" fmla="*/ 41 w 267"/>
                <a:gd name="T59" fmla="*/ 614 h 800"/>
                <a:gd name="T60" fmla="*/ 82 w 267"/>
                <a:gd name="T61" fmla="*/ 656 h 800"/>
                <a:gd name="T62" fmla="*/ 143 w 267"/>
                <a:gd name="T63" fmla="*/ 676 h 800"/>
                <a:gd name="T64" fmla="*/ 164 w 267"/>
                <a:gd name="T65" fmla="*/ 717 h 800"/>
                <a:gd name="T66" fmla="*/ 164 w 267"/>
                <a:gd name="T67" fmla="*/ 758 h 800"/>
                <a:gd name="T68" fmla="*/ 164 w 267"/>
                <a:gd name="T69" fmla="*/ 778 h 800"/>
                <a:gd name="T70" fmla="*/ 184 w 267"/>
                <a:gd name="T71" fmla="*/ 799 h 800"/>
                <a:gd name="T72" fmla="*/ 205 w 267"/>
                <a:gd name="T73" fmla="*/ 799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7" h="800">
                  <a:moveTo>
                    <a:pt x="205" y="799"/>
                  </a:moveTo>
                  <a:lnTo>
                    <a:pt x="205" y="799"/>
                  </a:lnTo>
                  <a:cubicBezTo>
                    <a:pt x="225" y="799"/>
                    <a:pt x="205" y="758"/>
                    <a:pt x="205" y="738"/>
                  </a:cubicBezTo>
                  <a:cubicBezTo>
                    <a:pt x="205" y="717"/>
                    <a:pt x="205" y="696"/>
                    <a:pt x="205" y="676"/>
                  </a:cubicBezTo>
                  <a:cubicBezTo>
                    <a:pt x="205" y="656"/>
                    <a:pt x="225" y="635"/>
                    <a:pt x="225" y="614"/>
                  </a:cubicBezTo>
                  <a:cubicBezTo>
                    <a:pt x="225" y="594"/>
                    <a:pt x="225" y="574"/>
                    <a:pt x="225" y="574"/>
                  </a:cubicBezTo>
                  <a:cubicBezTo>
                    <a:pt x="225" y="553"/>
                    <a:pt x="246" y="532"/>
                    <a:pt x="246" y="512"/>
                  </a:cubicBezTo>
                  <a:lnTo>
                    <a:pt x="246" y="471"/>
                  </a:lnTo>
                  <a:cubicBezTo>
                    <a:pt x="246" y="450"/>
                    <a:pt x="246" y="430"/>
                    <a:pt x="246" y="410"/>
                  </a:cubicBezTo>
                  <a:cubicBezTo>
                    <a:pt x="246" y="389"/>
                    <a:pt x="246" y="348"/>
                    <a:pt x="246" y="328"/>
                  </a:cubicBezTo>
                  <a:cubicBezTo>
                    <a:pt x="246" y="307"/>
                    <a:pt x="246" y="266"/>
                    <a:pt x="246" y="246"/>
                  </a:cubicBezTo>
                  <a:cubicBezTo>
                    <a:pt x="246" y="225"/>
                    <a:pt x="246" y="205"/>
                    <a:pt x="246" y="184"/>
                  </a:cubicBezTo>
                  <a:cubicBezTo>
                    <a:pt x="246" y="164"/>
                    <a:pt x="246" y="143"/>
                    <a:pt x="246" y="143"/>
                  </a:cubicBezTo>
                  <a:cubicBezTo>
                    <a:pt x="246" y="143"/>
                    <a:pt x="246" y="123"/>
                    <a:pt x="246" y="102"/>
                  </a:cubicBezTo>
                  <a:cubicBezTo>
                    <a:pt x="246" y="102"/>
                    <a:pt x="266" y="82"/>
                    <a:pt x="246" y="82"/>
                  </a:cubicBezTo>
                  <a:cubicBezTo>
                    <a:pt x="246" y="82"/>
                    <a:pt x="225" y="61"/>
                    <a:pt x="205" y="61"/>
                  </a:cubicBezTo>
                  <a:cubicBezTo>
                    <a:pt x="205" y="41"/>
                    <a:pt x="205" y="41"/>
                    <a:pt x="184" y="20"/>
                  </a:cubicBezTo>
                  <a:lnTo>
                    <a:pt x="164" y="20"/>
                  </a:lnTo>
                  <a:cubicBezTo>
                    <a:pt x="164" y="0"/>
                    <a:pt x="143" y="20"/>
                    <a:pt x="143" y="20"/>
                  </a:cubicBezTo>
                  <a:cubicBezTo>
                    <a:pt x="143" y="20"/>
                    <a:pt x="123" y="20"/>
                    <a:pt x="123" y="41"/>
                  </a:cubicBezTo>
                  <a:lnTo>
                    <a:pt x="102" y="61"/>
                  </a:lnTo>
                  <a:cubicBezTo>
                    <a:pt x="82" y="82"/>
                    <a:pt x="82" y="102"/>
                    <a:pt x="61" y="102"/>
                  </a:cubicBezTo>
                  <a:cubicBezTo>
                    <a:pt x="61" y="123"/>
                    <a:pt x="61" y="143"/>
                    <a:pt x="41" y="143"/>
                  </a:cubicBezTo>
                  <a:cubicBezTo>
                    <a:pt x="41" y="164"/>
                    <a:pt x="41" y="205"/>
                    <a:pt x="41" y="205"/>
                  </a:cubicBezTo>
                  <a:cubicBezTo>
                    <a:pt x="20" y="225"/>
                    <a:pt x="20" y="246"/>
                    <a:pt x="20" y="266"/>
                  </a:cubicBezTo>
                  <a:cubicBezTo>
                    <a:pt x="20" y="287"/>
                    <a:pt x="20" y="307"/>
                    <a:pt x="20" y="328"/>
                  </a:cubicBezTo>
                  <a:cubicBezTo>
                    <a:pt x="20" y="348"/>
                    <a:pt x="20" y="389"/>
                    <a:pt x="20" y="410"/>
                  </a:cubicBezTo>
                  <a:cubicBezTo>
                    <a:pt x="0" y="430"/>
                    <a:pt x="0" y="471"/>
                    <a:pt x="20" y="492"/>
                  </a:cubicBezTo>
                  <a:lnTo>
                    <a:pt x="20" y="532"/>
                  </a:lnTo>
                  <a:cubicBezTo>
                    <a:pt x="20" y="553"/>
                    <a:pt x="41" y="614"/>
                    <a:pt x="41" y="614"/>
                  </a:cubicBezTo>
                  <a:cubicBezTo>
                    <a:pt x="61" y="635"/>
                    <a:pt x="82" y="656"/>
                    <a:pt x="82" y="656"/>
                  </a:cubicBezTo>
                  <a:cubicBezTo>
                    <a:pt x="102" y="676"/>
                    <a:pt x="123" y="676"/>
                    <a:pt x="143" y="676"/>
                  </a:cubicBezTo>
                  <a:cubicBezTo>
                    <a:pt x="143" y="696"/>
                    <a:pt x="164" y="696"/>
                    <a:pt x="164" y="717"/>
                  </a:cubicBezTo>
                  <a:cubicBezTo>
                    <a:pt x="164" y="717"/>
                    <a:pt x="164" y="738"/>
                    <a:pt x="164" y="758"/>
                  </a:cubicBezTo>
                  <a:lnTo>
                    <a:pt x="164" y="778"/>
                  </a:lnTo>
                  <a:cubicBezTo>
                    <a:pt x="164" y="799"/>
                    <a:pt x="184" y="799"/>
                    <a:pt x="184" y="799"/>
                  </a:cubicBezTo>
                  <a:lnTo>
                    <a:pt x="205" y="799"/>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3" name="Freeform 70">
              <a:extLst>
                <a:ext uri="{FF2B5EF4-FFF2-40B4-BE49-F238E27FC236}">
                  <a16:creationId xmlns:a16="http://schemas.microsoft.com/office/drawing/2014/main" id="{09694BC5-01AE-104B-B176-F6997D8FE5A6}"/>
                </a:ext>
              </a:extLst>
            </p:cNvPr>
            <p:cNvSpPr>
              <a:spLocks noChangeArrowheads="1"/>
            </p:cNvSpPr>
            <p:nvPr/>
          </p:nvSpPr>
          <p:spPr bwMode="auto">
            <a:xfrm>
              <a:off x="6121400" y="5984875"/>
              <a:ext cx="15875" cy="15875"/>
            </a:xfrm>
            <a:custGeom>
              <a:avLst/>
              <a:gdLst>
                <a:gd name="T0" fmla="*/ 41 w 42"/>
                <a:gd name="T1" fmla="*/ 21 h 42"/>
                <a:gd name="T2" fmla="*/ 41 w 42"/>
                <a:gd name="T3" fmla="*/ 21 h 42"/>
                <a:gd name="T4" fmla="*/ 21 w 42"/>
                <a:gd name="T5" fmla="*/ 0 h 42"/>
                <a:gd name="T6" fmla="*/ 0 w 42"/>
                <a:gd name="T7" fmla="*/ 0 h 42"/>
                <a:gd name="T8" fmla="*/ 0 w 42"/>
                <a:gd name="T9" fmla="*/ 21 h 42"/>
                <a:gd name="T10" fmla="*/ 21 w 42"/>
                <a:gd name="T11" fmla="*/ 21 h 42"/>
                <a:gd name="T12" fmla="*/ 41 w 42"/>
                <a:gd name="T13" fmla="*/ 41 h 42"/>
                <a:gd name="T14" fmla="*/ 41 w 42"/>
                <a:gd name="T15" fmla="*/ 2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1" y="21"/>
                  </a:moveTo>
                  <a:lnTo>
                    <a:pt x="41" y="21"/>
                  </a:lnTo>
                  <a:lnTo>
                    <a:pt x="21" y="0"/>
                  </a:lnTo>
                  <a:lnTo>
                    <a:pt x="0" y="0"/>
                  </a:lnTo>
                  <a:lnTo>
                    <a:pt x="0" y="21"/>
                  </a:lnTo>
                  <a:cubicBezTo>
                    <a:pt x="21" y="21"/>
                    <a:pt x="21" y="21"/>
                    <a:pt x="21" y="21"/>
                  </a:cubicBezTo>
                  <a:lnTo>
                    <a:pt x="41" y="41"/>
                  </a:lnTo>
                  <a:cubicBezTo>
                    <a:pt x="41" y="41"/>
                    <a:pt x="41" y="41"/>
                    <a:pt x="4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4" name="Freeform 71">
              <a:extLst>
                <a:ext uri="{FF2B5EF4-FFF2-40B4-BE49-F238E27FC236}">
                  <a16:creationId xmlns:a16="http://schemas.microsoft.com/office/drawing/2014/main" id="{7277F6CC-D218-8741-AFBF-C257011BAB4B}"/>
                </a:ext>
              </a:extLst>
            </p:cNvPr>
            <p:cNvSpPr>
              <a:spLocks noChangeArrowheads="1"/>
            </p:cNvSpPr>
            <p:nvPr/>
          </p:nvSpPr>
          <p:spPr bwMode="auto">
            <a:xfrm>
              <a:off x="6143625" y="5969000"/>
              <a:ext cx="22225" cy="22225"/>
            </a:xfrm>
            <a:custGeom>
              <a:avLst/>
              <a:gdLst>
                <a:gd name="T0" fmla="*/ 20 w 62"/>
                <a:gd name="T1" fmla="*/ 62 h 63"/>
                <a:gd name="T2" fmla="*/ 20 w 62"/>
                <a:gd name="T3" fmla="*/ 62 h 63"/>
                <a:gd name="T4" fmla="*/ 41 w 62"/>
                <a:gd name="T5" fmla="*/ 41 h 63"/>
                <a:gd name="T6" fmla="*/ 41 w 62"/>
                <a:gd name="T7" fmla="*/ 21 h 63"/>
                <a:gd name="T8" fmla="*/ 41 w 62"/>
                <a:gd name="T9" fmla="*/ 0 h 63"/>
                <a:gd name="T10" fmla="*/ 41 w 62"/>
                <a:gd name="T11" fmla="*/ 0 h 63"/>
                <a:gd name="T12" fmla="*/ 20 w 62"/>
                <a:gd name="T13" fmla="*/ 0 h 63"/>
                <a:gd name="T14" fmla="*/ 20 w 62"/>
                <a:gd name="T15" fmla="*/ 0 h 63"/>
                <a:gd name="T16" fmla="*/ 20 w 62"/>
                <a:gd name="T17" fmla="*/ 21 h 63"/>
                <a:gd name="T18" fmla="*/ 20 w 62"/>
                <a:gd name="T19" fmla="*/ 21 h 63"/>
                <a:gd name="T20" fmla="*/ 41 w 62"/>
                <a:gd name="T21" fmla="*/ 21 h 63"/>
                <a:gd name="T22" fmla="*/ 20 w 62"/>
                <a:gd name="T23" fmla="*/ 41 h 63"/>
                <a:gd name="T24" fmla="*/ 20 w 62"/>
                <a:gd name="T2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3">
                  <a:moveTo>
                    <a:pt x="20" y="62"/>
                  </a:moveTo>
                  <a:lnTo>
                    <a:pt x="20" y="62"/>
                  </a:lnTo>
                  <a:lnTo>
                    <a:pt x="41" y="41"/>
                  </a:lnTo>
                  <a:lnTo>
                    <a:pt x="41" y="21"/>
                  </a:lnTo>
                  <a:cubicBezTo>
                    <a:pt x="61" y="21"/>
                    <a:pt x="61" y="0"/>
                    <a:pt x="41" y="0"/>
                  </a:cubicBezTo>
                  <a:lnTo>
                    <a:pt x="41" y="0"/>
                  </a:lnTo>
                  <a:lnTo>
                    <a:pt x="20" y="0"/>
                  </a:lnTo>
                  <a:lnTo>
                    <a:pt x="20" y="0"/>
                  </a:lnTo>
                  <a:cubicBezTo>
                    <a:pt x="20" y="0"/>
                    <a:pt x="0" y="21"/>
                    <a:pt x="20" y="21"/>
                  </a:cubicBezTo>
                  <a:lnTo>
                    <a:pt x="20" y="21"/>
                  </a:lnTo>
                  <a:cubicBezTo>
                    <a:pt x="41" y="21"/>
                    <a:pt x="41" y="21"/>
                    <a:pt x="41" y="21"/>
                  </a:cubicBezTo>
                  <a:cubicBezTo>
                    <a:pt x="20" y="41"/>
                    <a:pt x="20" y="41"/>
                    <a:pt x="20" y="41"/>
                  </a:cubicBezTo>
                  <a:lnTo>
                    <a:pt x="20"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5" name="Freeform 72">
              <a:extLst>
                <a:ext uri="{FF2B5EF4-FFF2-40B4-BE49-F238E27FC236}">
                  <a16:creationId xmlns:a16="http://schemas.microsoft.com/office/drawing/2014/main" id="{77BBB465-EF26-3F42-AE51-470D89A7E9FE}"/>
                </a:ext>
              </a:extLst>
            </p:cNvPr>
            <p:cNvSpPr>
              <a:spLocks noChangeArrowheads="1"/>
            </p:cNvSpPr>
            <p:nvPr/>
          </p:nvSpPr>
          <p:spPr bwMode="auto">
            <a:xfrm>
              <a:off x="6076950" y="5962650"/>
              <a:ext cx="15875" cy="15875"/>
            </a:xfrm>
            <a:custGeom>
              <a:avLst/>
              <a:gdLst>
                <a:gd name="T0" fmla="*/ 21 w 42"/>
                <a:gd name="T1" fmla="*/ 41 h 42"/>
                <a:gd name="T2" fmla="*/ 21 w 42"/>
                <a:gd name="T3" fmla="*/ 41 h 42"/>
                <a:gd name="T4" fmla="*/ 0 w 42"/>
                <a:gd name="T5" fmla="*/ 41 h 42"/>
                <a:gd name="T6" fmla="*/ 0 w 42"/>
                <a:gd name="T7" fmla="*/ 20 h 42"/>
                <a:gd name="T8" fmla="*/ 21 w 42"/>
                <a:gd name="T9" fmla="*/ 20 h 42"/>
                <a:gd name="T10" fmla="*/ 41 w 42"/>
                <a:gd name="T11" fmla="*/ 20 h 42"/>
                <a:gd name="T12" fmla="*/ 41 w 42"/>
                <a:gd name="T13" fmla="*/ 41 h 42"/>
                <a:gd name="T14" fmla="*/ 21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1" y="41"/>
                  </a:moveTo>
                  <a:lnTo>
                    <a:pt x="21" y="41"/>
                  </a:lnTo>
                  <a:lnTo>
                    <a:pt x="0" y="41"/>
                  </a:lnTo>
                  <a:cubicBezTo>
                    <a:pt x="0" y="20"/>
                    <a:pt x="0" y="20"/>
                    <a:pt x="0" y="20"/>
                  </a:cubicBezTo>
                  <a:cubicBezTo>
                    <a:pt x="0" y="0"/>
                    <a:pt x="21" y="20"/>
                    <a:pt x="21" y="20"/>
                  </a:cubicBezTo>
                  <a:cubicBezTo>
                    <a:pt x="21" y="20"/>
                    <a:pt x="21" y="20"/>
                    <a:pt x="41" y="20"/>
                  </a:cubicBezTo>
                  <a:lnTo>
                    <a:pt x="41" y="41"/>
                  </a:lnTo>
                  <a:lnTo>
                    <a:pt x="2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6" name="Freeform 73">
              <a:extLst>
                <a:ext uri="{FF2B5EF4-FFF2-40B4-BE49-F238E27FC236}">
                  <a16:creationId xmlns:a16="http://schemas.microsoft.com/office/drawing/2014/main" id="{13BF27AC-E57A-3B4A-9067-C49469574723}"/>
                </a:ext>
              </a:extLst>
            </p:cNvPr>
            <p:cNvSpPr>
              <a:spLocks noChangeArrowheads="1"/>
            </p:cNvSpPr>
            <p:nvPr/>
          </p:nvSpPr>
          <p:spPr bwMode="auto">
            <a:xfrm>
              <a:off x="6202363" y="5932488"/>
              <a:ext cx="22225" cy="15875"/>
            </a:xfrm>
            <a:custGeom>
              <a:avLst/>
              <a:gdLst>
                <a:gd name="T0" fmla="*/ 20 w 62"/>
                <a:gd name="T1" fmla="*/ 41 h 42"/>
                <a:gd name="T2" fmla="*/ 20 w 62"/>
                <a:gd name="T3" fmla="*/ 41 h 42"/>
                <a:gd name="T4" fmla="*/ 0 w 62"/>
                <a:gd name="T5" fmla="*/ 20 h 42"/>
                <a:gd name="T6" fmla="*/ 0 w 62"/>
                <a:gd name="T7" fmla="*/ 0 h 42"/>
                <a:gd name="T8" fmla="*/ 20 w 62"/>
                <a:gd name="T9" fmla="*/ 0 h 42"/>
                <a:gd name="T10" fmla="*/ 40 w 62"/>
                <a:gd name="T11" fmla="*/ 0 h 42"/>
                <a:gd name="T12" fmla="*/ 40 w 62"/>
                <a:gd name="T13" fmla="*/ 20 h 42"/>
                <a:gd name="T14" fmla="*/ 20 w 6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 h="42">
                  <a:moveTo>
                    <a:pt x="20" y="41"/>
                  </a:moveTo>
                  <a:lnTo>
                    <a:pt x="20" y="41"/>
                  </a:lnTo>
                  <a:cubicBezTo>
                    <a:pt x="20" y="41"/>
                    <a:pt x="20" y="20"/>
                    <a:pt x="0" y="20"/>
                  </a:cubicBezTo>
                  <a:lnTo>
                    <a:pt x="0" y="0"/>
                  </a:lnTo>
                  <a:cubicBezTo>
                    <a:pt x="20" y="0"/>
                    <a:pt x="20" y="0"/>
                    <a:pt x="20" y="0"/>
                  </a:cubicBezTo>
                  <a:lnTo>
                    <a:pt x="40" y="0"/>
                  </a:lnTo>
                  <a:cubicBezTo>
                    <a:pt x="40" y="20"/>
                    <a:pt x="61" y="20"/>
                    <a:pt x="40" y="20"/>
                  </a:cubicBezTo>
                  <a:cubicBezTo>
                    <a:pt x="40" y="41"/>
                    <a:pt x="40"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7" name="Freeform 74">
              <a:extLst>
                <a:ext uri="{FF2B5EF4-FFF2-40B4-BE49-F238E27FC236}">
                  <a16:creationId xmlns:a16="http://schemas.microsoft.com/office/drawing/2014/main" id="{58D8BF4A-049D-8A4B-AD88-4E50217641EB}"/>
                </a:ext>
              </a:extLst>
            </p:cNvPr>
            <p:cNvSpPr>
              <a:spLocks noChangeArrowheads="1"/>
            </p:cNvSpPr>
            <p:nvPr/>
          </p:nvSpPr>
          <p:spPr bwMode="auto">
            <a:xfrm>
              <a:off x="6313488" y="5762625"/>
              <a:ext cx="44450" cy="66675"/>
            </a:xfrm>
            <a:custGeom>
              <a:avLst/>
              <a:gdLst>
                <a:gd name="T0" fmla="*/ 103 w 124"/>
                <a:gd name="T1" fmla="*/ 102 h 185"/>
                <a:gd name="T2" fmla="*/ 103 w 124"/>
                <a:gd name="T3" fmla="*/ 102 h 185"/>
                <a:gd name="T4" fmla="*/ 103 w 124"/>
                <a:gd name="T5" fmla="*/ 81 h 185"/>
                <a:gd name="T6" fmla="*/ 103 w 124"/>
                <a:gd name="T7" fmla="*/ 61 h 185"/>
                <a:gd name="T8" fmla="*/ 123 w 124"/>
                <a:gd name="T9" fmla="*/ 40 h 185"/>
                <a:gd name="T10" fmla="*/ 123 w 124"/>
                <a:gd name="T11" fmla="*/ 20 h 185"/>
                <a:gd name="T12" fmla="*/ 123 w 124"/>
                <a:gd name="T13" fmla="*/ 0 h 185"/>
                <a:gd name="T14" fmla="*/ 103 w 124"/>
                <a:gd name="T15" fmla="*/ 0 h 185"/>
                <a:gd name="T16" fmla="*/ 103 w 124"/>
                <a:gd name="T17" fmla="*/ 0 h 185"/>
                <a:gd name="T18" fmla="*/ 82 w 124"/>
                <a:gd name="T19" fmla="*/ 40 h 185"/>
                <a:gd name="T20" fmla="*/ 61 w 124"/>
                <a:gd name="T21" fmla="*/ 40 h 185"/>
                <a:gd name="T22" fmla="*/ 41 w 124"/>
                <a:gd name="T23" fmla="*/ 40 h 185"/>
                <a:gd name="T24" fmla="*/ 41 w 124"/>
                <a:gd name="T25" fmla="*/ 40 h 185"/>
                <a:gd name="T26" fmla="*/ 41 w 124"/>
                <a:gd name="T27" fmla="*/ 61 h 185"/>
                <a:gd name="T28" fmla="*/ 41 w 124"/>
                <a:gd name="T29" fmla="*/ 81 h 185"/>
                <a:gd name="T30" fmla="*/ 21 w 124"/>
                <a:gd name="T31" fmla="*/ 81 h 185"/>
                <a:gd name="T32" fmla="*/ 0 w 124"/>
                <a:gd name="T33" fmla="*/ 102 h 185"/>
                <a:gd name="T34" fmla="*/ 0 w 124"/>
                <a:gd name="T35" fmla="*/ 122 h 185"/>
                <a:gd name="T36" fmla="*/ 21 w 124"/>
                <a:gd name="T37" fmla="*/ 143 h 185"/>
                <a:gd name="T38" fmla="*/ 21 w 124"/>
                <a:gd name="T39" fmla="*/ 163 h 185"/>
                <a:gd name="T40" fmla="*/ 61 w 124"/>
                <a:gd name="T41" fmla="*/ 184 h 185"/>
                <a:gd name="T42" fmla="*/ 61 w 124"/>
                <a:gd name="T43" fmla="*/ 163 h 185"/>
                <a:gd name="T44" fmla="*/ 61 w 124"/>
                <a:gd name="T45" fmla="*/ 143 h 185"/>
                <a:gd name="T46" fmla="*/ 82 w 124"/>
                <a:gd name="T47" fmla="*/ 122 h 185"/>
                <a:gd name="T48" fmla="*/ 103 w 124"/>
                <a:gd name="T49" fmla="*/ 10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185">
                  <a:moveTo>
                    <a:pt x="103" y="102"/>
                  </a:moveTo>
                  <a:lnTo>
                    <a:pt x="103" y="102"/>
                  </a:lnTo>
                  <a:lnTo>
                    <a:pt x="103" y="81"/>
                  </a:lnTo>
                  <a:lnTo>
                    <a:pt x="103" y="61"/>
                  </a:lnTo>
                  <a:cubicBezTo>
                    <a:pt x="103" y="40"/>
                    <a:pt x="123" y="40"/>
                    <a:pt x="123" y="40"/>
                  </a:cubicBezTo>
                  <a:lnTo>
                    <a:pt x="123" y="20"/>
                  </a:lnTo>
                  <a:lnTo>
                    <a:pt x="123" y="0"/>
                  </a:lnTo>
                  <a:lnTo>
                    <a:pt x="103" y="0"/>
                  </a:lnTo>
                  <a:lnTo>
                    <a:pt x="103" y="0"/>
                  </a:lnTo>
                  <a:cubicBezTo>
                    <a:pt x="82" y="20"/>
                    <a:pt x="103" y="20"/>
                    <a:pt x="82" y="40"/>
                  </a:cubicBezTo>
                  <a:cubicBezTo>
                    <a:pt x="82" y="40"/>
                    <a:pt x="82" y="40"/>
                    <a:pt x="61" y="40"/>
                  </a:cubicBezTo>
                  <a:cubicBezTo>
                    <a:pt x="61" y="40"/>
                    <a:pt x="61" y="40"/>
                    <a:pt x="41" y="40"/>
                  </a:cubicBezTo>
                  <a:lnTo>
                    <a:pt x="41" y="40"/>
                  </a:lnTo>
                  <a:lnTo>
                    <a:pt x="41" y="61"/>
                  </a:lnTo>
                  <a:lnTo>
                    <a:pt x="41" y="81"/>
                  </a:lnTo>
                  <a:lnTo>
                    <a:pt x="21" y="81"/>
                  </a:lnTo>
                  <a:cubicBezTo>
                    <a:pt x="21" y="102"/>
                    <a:pt x="0" y="102"/>
                    <a:pt x="0" y="102"/>
                  </a:cubicBezTo>
                  <a:cubicBezTo>
                    <a:pt x="0" y="122"/>
                    <a:pt x="0" y="122"/>
                    <a:pt x="0" y="122"/>
                  </a:cubicBezTo>
                  <a:cubicBezTo>
                    <a:pt x="0" y="143"/>
                    <a:pt x="21" y="143"/>
                    <a:pt x="21" y="143"/>
                  </a:cubicBezTo>
                  <a:lnTo>
                    <a:pt x="21" y="163"/>
                  </a:lnTo>
                  <a:cubicBezTo>
                    <a:pt x="41" y="163"/>
                    <a:pt x="41" y="184"/>
                    <a:pt x="61" y="184"/>
                  </a:cubicBezTo>
                  <a:cubicBezTo>
                    <a:pt x="61" y="163"/>
                    <a:pt x="61" y="163"/>
                    <a:pt x="61" y="163"/>
                  </a:cubicBezTo>
                  <a:lnTo>
                    <a:pt x="61" y="143"/>
                  </a:lnTo>
                  <a:cubicBezTo>
                    <a:pt x="82" y="122"/>
                    <a:pt x="82" y="122"/>
                    <a:pt x="82" y="122"/>
                  </a:cubicBezTo>
                  <a:cubicBezTo>
                    <a:pt x="82" y="102"/>
                    <a:pt x="82" y="102"/>
                    <a:pt x="103" y="10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8" name="Freeform 75">
              <a:extLst>
                <a:ext uri="{FF2B5EF4-FFF2-40B4-BE49-F238E27FC236}">
                  <a16:creationId xmlns:a16="http://schemas.microsoft.com/office/drawing/2014/main" id="{98A3BDC0-A367-3C42-9914-E049EFF4A675}"/>
                </a:ext>
              </a:extLst>
            </p:cNvPr>
            <p:cNvSpPr>
              <a:spLocks noChangeArrowheads="1"/>
            </p:cNvSpPr>
            <p:nvPr/>
          </p:nvSpPr>
          <p:spPr bwMode="auto">
            <a:xfrm>
              <a:off x="6386513" y="5726113"/>
              <a:ext cx="7937" cy="15875"/>
            </a:xfrm>
            <a:custGeom>
              <a:avLst/>
              <a:gdLst>
                <a:gd name="T0" fmla="*/ 20 w 21"/>
                <a:gd name="T1" fmla="*/ 0 h 42"/>
                <a:gd name="T2" fmla="*/ 20 w 21"/>
                <a:gd name="T3" fmla="*/ 0 h 42"/>
                <a:gd name="T4" fmla="*/ 0 w 21"/>
                <a:gd name="T5" fmla="*/ 0 h 42"/>
                <a:gd name="T6" fmla="*/ 0 w 21"/>
                <a:gd name="T7" fmla="*/ 21 h 42"/>
                <a:gd name="T8" fmla="*/ 0 w 21"/>
                <a:gd name="T9" fmla="*/ 41 h 42"/>
                <a:gd name="T10" fmla="*/ 20 w 21"/>
                <a:gd name="T11" fmla="*/ 21 h 42"/>
                <a:gd name="T12" fmla="*/ 20 w 21"/>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0"/>
                  </a:moveTo>
                  <a:lnTo>
                    <a:pt x="20" y="0"/>
                  </a:lnTo>
                  <a:lnTo>
                    <a:pt x="0" y="0"/>
                  </a:lnTo>
                  <a:lnTo>
                    <a:pt x="0" y="21"/>
                  </a:lnTo>
                  <a:lnTo>
                    <a:pt x="0" y="41"/>
                  </a:lnTo>
                  <a:cubicBezTo>
                    <a:pt x="20" y="41"/>
                    <a:pt x="20" y="41"/>
                    <a:pt x="20" y="21"/>
                  </a:cubicBez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79" name="Freeform 76">
              <a:extLst>
                <a:ext uri="{FF2B5EF4-FFF2-40B4-BE49-F238E27FC236}">
                  <a16:creationId xmlns:a16="http://schemas.microsoft.com/office/drawing/2014/main" id="{3A19263D-5C37-314B-8B28-E84FEBE35FD3}"/>
                </a:ext>
              </a:extLst>
            </p:cNvPr>
            <p:cNvSpPr>
              <a:spLocks noChangeArrowheads="1"/>
            </p:cNvSpPr>
            <p:nvPr/>
          </p:nvSpPr>
          <p:spPr bwMode="auto">
            <a:xfrm>
              <a:off x="6350000" y="5711825"/>
              <a:ext cx="22225" cy="15875"/>
            </a:xfrm>
            <a:custGeom>
              <a:avLst/>
              <a:gdLst>
                <a:gd name="T0" fmla="*/ 40 w 62"/>
                <a:gd name="T1" fmla="*/ 20 h 42"/>
                <a:gd name="T2" fmla="*/ 40 w 62"/>
                <a:gd name="T3" fmla="*/ 20 h 42"/>
                <a:gd name="T4" fmla="*/ 40 w 62"/>
                <a:gd name="T5" fmla="*/ 0 h 42"/>
                <a:gd name="T6" fmla="*/ 40 w 62"/>
                <a:gd name="T7" fmla="*/ 0 h 42"/>
                <a:gd name="T8" fmla="*/ 20 w 62"/>
                <a:gd name="T9" fmla="*/ 20 h 42"/>
                <a:gd name="T10" fmla="*/ 0 w 62"/>
                <a:gd name="T11" fmla="*/ 20 h 42"/>
                <a:gd name="T12" fmla="*/ 0 w 62"/>
                <a:gd name="T13" fmla="*/ 41 h 42"/>
                <a:gd name="T14" fmla="*/ 40 w 62"/>
                <a:gd name="T15" fmla="*/ 41 h 42"/>
                <a:gd name="T16" fmla="*/ 40 w 62"/>
                <a:gd name="T17"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42">
                  <a:moveTo>
                    <a:pt x="40" y="20"/>
                  </a:moveTo>
                  <a:lnTo>
                    <a:pt x="40" y="20"/>
                  </a:lnTo>
                  <a:cubicBezTo>
                    <a:pt x="40" y="20"/>
                    <a:pt x="61" y="20"/>
                    <a:pt x="40" y="0"/>
                  </a:cubicBezTo>
                  <a:lnTo>
                    <a:pt x="40" y="0"/>
                  </a:lnTo>
                  <a:cubicBezTo>
                    <a:pt x="20" y="0"/>
                    <a:pt x="20" y="20"/>
                    <a:pt x="20" y="20"/>
                  </a:cubicBezTo>
                  <a:cubicBezTo>
                    <a:pt x="20" y="20"/>
                    <a:pt x="0" y="0"/>
                    <a:pt x="0" y="20"/>
                  </a:cubicBezTo>
                  <a:cubicBezTo>
                    <a:pt x="0" y="20"/>
                    <a:pt x="0" y="20"/>
                    <a:pt x="0" y="41"/>
                  </a:cubicBezTo>
                  <a:cubicBezTo>
                    <a:pt x="0" y="41"/>
                    <a:pt x="20" y="41"/>
                    <a:pt x="40" y="41"/>
                  </a:cubicBezTo>
                  <a:cubicBezTo>
                    <a:pt x="40" y="41"/>
                    <a:pt x="40" y="41"/>
                    <a:pt x="4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0" name="Freeform 77">
              <a:extLst>
                <a:ext uri="{FF2B5EF4-FFF2-40B4-BE49-F238E27FC236}">
                  <a16:creationId xmlns:a16="http://schemas.microsoft.com/office/drawing/2014/main" id="{AF2757D8-B122-9348-AABE-84047510B180}"/>
                </a:ext>
              </a:extLst>
            </p:cNvPr>
            <p:cNvSpPr>
              <a:spLocks noChangeArrowheads="1"/>
            </p:cNvSpPr>
            <p:nvPr/>
          </p:nvSpPr>
          <p:spPr bwMode="auto">
            <a:xfrm>
              <a:off x="6327775" y="5740400"/>
              <a:ext cx="7938" cy="7938"/>
            </a:xfrm>
            <a:custGeom>
              <a:avLst/>
              <a:gdLst>
                <a:gd name="T0" fmla="*/ 0 w 21"/>
                <a:gd name="T1" fmla="*/ 0 h 21"/>
                <a:gd name="T2" fmla="*/ 0 w 21"/>
                <a:gd name="T3" fmla="*/ 0 h 21"/>
                <a:gd name="T4" fmla="*/ 0 w 21"/>
                <a:gd name="T5" fmla="*/ 0 h 21"/>
                <a:gd name="T6" fmla="*/ 0 w 21"/>
                <a:gd name="T7" fmla="*/ 20 h 21"/>
                <a:gd name="T8" fmla="*/ 20 w 21"/>
                <a:gd name="T9" fmla="*/ 20 h 21"/>
                <a:gd name="T10" fmla="*/ 20 w 21"/>
                <a:gd name="T11" fmla="*/ 0 h 21"/>
                <a:gd name="T12" fmla="*/ 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0"/>
                  </a:moveTo>
                  <a:lnTo>
                    <a:pt x="0" y="0"/>
                  </a:lnTo>
                  <a:lnTo>
                    <a:pt x="0" y="0"/>
                  </a:lnTo>
                  <a:cubicBezTo>
                    <a:pt x="0" y="20"/>
                    <a:pt x="0" y="20"/>
                    <a:pt x="0" y="20"/>
                  </a:cubicBezTo>
                  <a:cubicBezTo>
                    <a:pt x="20" y="20"/>
                    <a:pt x="20" y="20"/>
                    <a:pt x="20" y="20"/>
                  </a:cubicBezTo>
                  <a:lnTo>
                    <a:pt x="20" y="0"/>
                  </a:ln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1" name="Freeform 78">
              <a:extLst>
                <a:ext uri="{FF2B5EF4-FFF2-40B4-BE49-F238E27FC236}">
                  <a16:creationId xmlns:a16="http://schemas.microsoft.com/office/drawing/2014/main" id="{5721A003-1614-0843-ACD3-B4D7310F7C76}"/>
                </a:ext>
              </a:extLst>
            </p:cNvPr>
            <p:cNvSpPr>
              <a:spLocks noChangeArrowheads="1"/>
            </p:cNvSpPr>
            <p:nvPr/>
          </p:nvSpPr>
          <p:spPr bwMode="auto">
            <a:xfrm>
              <a:off x="6357938" y="5667375"/>
              <a:ext cx="15875" cy="22225"/>
            </a:xfrm>
            <a:custGeom>
              <a:avLst/>
              <a:gdLst>
                <a:gd name="T0" fmla="*/ 41 w 42"/>
                <a:gd name="T1" fmla="*/ 61 h 62"/>
                <a:gd name="T2" fmla="*/ 41 w 42"/>
                <a:gd name="T3" fmla="*/ 61 h 62"/>
                <a:gd name="T4" fmla="*/ 20 w 42"/>
                <a:gd name="T5" fmla="*/ 41 h 62"/>
                <a:gd name="T6" fmla="*/ 0 w 42"/>
                <a:gd name="T7" fmla="*/ 21 h 62"/>
                <a:gd name="T8" fmla="*/ 20 w 42"/>
                <a:gd name="T9" fmla="*/ 0 h 62"/>
                <a:gd name="T10" fmla="*/ 41 w 42"/>
                <a:gd name="T11" fmla="*/ 21 h 62"/>
                <a:gd name="T12" fmla="*/ 41 w 42"/>
                <a:gd name="T13" fmla="*/ 41 h 62"/>
                <a:gd name="T14" fmla="*/ 41 w 42"/>
                <a:gd name="T15" fmla="*/ 61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62">
                  <a:moveTo>
                    <a:pt x="41" y="61"/>
                  </a:moveTo>
                  <a:lnTo>
                    <a:pt x="41" y="61"/>
                  </a:lnTo>
                  <a:cubicBezTo>
                    <a:pt x="20" y="61"/>
                    <a:pt x="20" y="61"/>
                    <a:pt x="20" y="41"/>
                  </a:cubicBezTo>
                  <a:lnTo>
                    <a:pt x="0" y="21"/>
                  </a:lnTo>
                  <a:cubicBezTo>
                    <a:pt x="20" y="21"/>
                    <a:pt x="20" y="0"/>
                    <a:pt x="20" y="0"/>
                  </a:cubicBezTo>
                  <a:cubicBezTo>
                    <a:pt x="20" y="0"/>
                    <a:pt x="41" y="0"/>
                    <a:pt x="41" y="21"/>
                  </a:cubicBezTo>
                  <a:cubicBezTo>
                    <a:pt x="41" y="21"/>
                    <a:pt x="41" y="21"/>
                    <a:pt x="41" y="41"/>
                  </a:cubicBezTo>
                  <a:lnTo>
                    <a:pt x="41" y="6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2" name="Freeform 79">
              <a:extLst>
                <a:ext uri="{FF2B5EF4-FFF2-40B4-BE49-F238E27FC236}">
                  <a16:creationId xmlns:a16="http://schemas.microsoft.com/office/drawing/2014/main" id="{564B0C09-844E-AA4A-AD3C-3A27EE7352EA}"/>
                </a:ext>
              </a:extLst>
            </p:cNvPr>
            <p:cNvSpPr>
              <a:spLocks noChangeArrowheads="1"/>
            </p:cNvSpPr>
            <p:nvPr/>
          </p:nvSpPr>
          <p:spPr bwMode="auto">
            <a:xfrm>
              <a:off x="6372225" y="5622925"/>
              <a:ext cx="30163" cy="36513"/>
            </a:xfrm>
            <a:custGeom>
              <a:avLst/>
              <a:gdLst>
                <a:gd name="T0" fmla="*/ 41 w 83"/>
                <a:gd name="T1" fmla="*/ 102 h 103"/>
                <a:gd name="T2" fmla="*/ 41 w 83"/>
                <a:gd name="T3" fmla="*/ 102 h 103"/>
                <a:gd name="T4" fmla="*/ 21 w 83"/>
                <a:gd name="T5" fmla="*/ 62 h 103"/>
                <a:gd name="T6" fmla="*/ 0 w 83"/>
                <a:gd name="T7" fmla="*/ 62 h 103"/>
                <a:gd name="T8" fmla="*/ 0 w 83"/>
                <a:gd name="T9" fmla="*/ 41 h 103"/>
                <a:gd name="T10" fmla="*/ 21 w 83"/>
                <a:gd name="T11" fmla="*/ 20 h 103"/>
                <a:gd name="T12" fmla="*/ 41 w 83"/>
                <a:gd name="T13" fmla="*/ 0 h 103"/>
                <a:gd name="T14" fmla="*/ 61 w 83"/>
                <a:gd name="T15" fmla="*/ 0 h 103"/>
                <a:gd name="T16" fmla="*/ 82 w 83"/>
                <a:gd name="T17" fmla="*/ 0 h 103"/>
                <a:gd name="T18" fmla="*/ 82 w 83"/>
                <a:gd name="T19" fmla="*/ 0 h 103"/>
                <a:gd name="T20" fmla="*/ 82 w 83"/>
                <a:gd name="T21" fmla="*/ 41 h 103"/>
                <a:gd name="T22" fmla="*/ 61 w 83"/>
                <a:gd name="T23" fmla="*/ 41 h 103"/>
                <a:gd name="T24" fmla="*/ 61 w 83"/>
                <a:gd name="T25" fmla="*/ 62 h 103"/>
                <a:gd name="T26" fmla="*/ 61 w 83"/>
                <a:gd name="T27" fmla="*/ 82 h 103"/>
                <a:gd name="T28" fmla="*/ 41 w 83"/>
                <a:gd name="T29" fmla="*/ 10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103">
                  <a:moveTo>
                    <a:pt x="41" y="102"/>
                  </a:moveTo>
                  <a:lnTo>
                    <a:pt x="41" y="102"/>
                  </a:lnTo>
                  <a:cubicBezTo>
                    <a:pt x="41" y="102"/>
                    <a:pt x="41" y="82"/>
                    <a:pt x="21" y="62"/>
                  </a:cubicBezTo>
                  <a:cubicBezTo>
                    <a:pt x="21" y="62"/>
                    <a:pt x="21" y="62"/>
                    <a:pt x="0" y="62"/>
                  </a:cubicBezTo>
                  <a:lnTo>
                    <a:pt x="0" y="41"/>
                  </a:lnTo>
                  <a:lnTo>
                    <a:pt x="21" y="20"/>
                  </a:lnTo>
                  <a:lnTo>
                    <a:pt x="41" y="0"/>
                  </a:lnTo>
                  <a:lnTo>
                    <a:pt x="61" y="0"/>
                  </a:lnTo>
                  <a:lnTo>
                    <a:pt x="82" y="0"/>
                  </a:lnTo>
                  <a:lnTo>
                    <a:pt x="82" y="0"/>
                  </a:lnTo>
                  <a:cubicBezTo>
                    <a:pt x="82" y="20"/>
                    <a:pt x="82" y="20"/>
                    <a:pt x="82" y="41"/>
                  </a:cubicBezTo>
                  <a:lnTo>
                    <a:pt x="61" y="41"/>
                  </a:lnTo>
                  <a:lnTo>
                    <a:pt x="61" y="62"/>
                  </a:lnTo>
                  <a:lnTo>
                    <a:pt x="61" y="82"/>
                  </a:lnTo>
                  <a:cubicBezTo>
                    <a:pt x="61" y="82"/>
                    <a:pt x="61" y="102"/>
                    <a:pt x="41" y="10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3" name="Freeform 80">
              <a:extLst>
                <a:ext uri="{FF2B5EF4-FFF2-40B4-BE49-F238E27FC236}">
                  <a16:creationId xmlns:a16="http://schemas.microsoft.com/office/drawing/2014/main" id="{737BB744-DD62-F342-84A7-566CCF6148E0}"/>
                </a:ext>
              </a:extLst>
            </p:cNvPr>
            <p:cNvSpPr>
              <a:spLocks noChangeArrowheads="1"/>
            </p:cNvSpPr>
            <p:nvPr/>
          </p:nvSpPr>
          <p:spPr bwMode="auto">
            <a:xfrm>
              <a:off x="6394450" y="5461000"/>
              <a:ext cx="15875" cy="14288"/>
            </a:xfrm>
            <a:custGeom>
              <a:avLst/>
              <a:gdLst>
                <a:gd name="T0" fmla="*/ 42 w 43"/>
                <a:gd name="T1" fmla="*/ 40 h 41"/>
                <a:gd name="T2" fmla="*/ 42 w 43"/>
                <a:gd name="T3" fmla="*/ 40 h 41"/>
                <a:gd name="T4" fmla="*/ 42 w 43"/>
                <a:gd name="T5" fmla="*/ 20 h 41"/>
                <a:gd name="T6" fmla="*/ 42 w 43"/>
                <a:gd name="T7" fmla="*/ 0 h 41"/>
                <a:gd name="T8" fmla="*/ 21 w 43"/>
                <a:gd name="T9" fmla="*/ 0 h 41"/>
                <a:gd name="T10" fmla="*/ 21 w 43"/>
                <a:gd name="T11" fmla="*/ 0 h 41"/>
                <a:gd name="T12" fmla="*/ 0 w 43"/>
                <a:gd name="T13" fmla="*/ 0 h 41"/>
                <a:gd name="T14" fmla="*/ 0 w 43"/>
                <a:gd name="T15" fmla="*/ 20 h 41"/>
                <a:gd name="T16" fmla="*/ 0 w 43"/>
                <a:gd name="T17" fmla="*/ 20 h 41"/>
                <a:gd name="T18" fmla="*/ 21 w 43"/>
                <a:gd name="T19" fmla="*/ 40 h 41"/>
                <a:gd name="T20" fmla="*/ 42 w 43"/>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41">
                  <a:moveTo>
                    <a:pt x="42" y="40"/>
                  </a:moveTo>
                  <a:lnTo>
                    <a:pt x="42" y="40"/>
                  </a:lnTo>
                  <a:lnTo>
                    <a:pt x="42" y="20"/>
                  </a:lnTo>
                  <a:lnTo>
                    <a:pt x="42" y="0"/>
                  </a:lnTo>
                  <a:lnTo>
                    <a:pt x="21" y="0"/>
                  </a:lnTo>
                  <a:lnTo>
                    <a:pt x="21" y="0"/>
                  </a:lnTo>
                  <a:cubicBezTo>
                    <a:pt x="0" y="0"/>
                    <a:pt x="0" y="0"/>
                    <a:pt x="0" y="0"/>
                  </a:cubicBezTo>
                  <a:lnTo>
                    <a:pt x="0" y="20"/>
                  </a:lnTo>
                  <a:lnTo>
                    <a:pt x="0" y="20"/>
                  </a:lnTo>
                  <a:cubicBezTo>
                    <a:pt x="21" y="20"/>
                    <a:pt x="21" y="40"/>
                    <a:pt x="21" y="40"/>
                  </a:cubicBezTo>
                  <a:cubicBezTo>
                    <a:pt x="21" y="40"/>
                    <a:pt x="21" y="40"/>
                    <a:pt x="42"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4" name="Freeform 81">
              <a:extLst>
                <a:ext uri="{FF2B5EF4-FFF2-40B4-BE49-F238E27FC236}">
                  <a16:creationId xmlns:a16="http://schemas.microsoft.com/office/drawing/2014/main" id="{08D549EF-9F1F-0740-98B9-746D488F0B5F}"/>
                </a:ext>
              </a:extLst>
            </p:cNvPr>
            <p:cNvSpPr>
              <a:spLocks noChangeArrowheads="1"/>
            </p:cNvSpPr>
            <p:nvPr/>
          </p:nvSpPr>
          <p:spPr bwMode="auto">
            <a:xfrm>
              <a:off x="6416675" y="5424488"/>
              <a:ext cx="15875" cy="38100"/>
            </a:xfrm>
            <a:custGeom>
              <a:avLst/>
              <a:gdLst>
                <a:gd name="T0" fmla="*/ 20 w 42"/>
                <a:gd name="T1" fmla="*/ 103 h 104"/>
                <a:gd name="T2" fmla="*/ 20 w 42"/>
                <a:gd name="T3" fmla="*/ 103 h 104"/>
                <a:gd name="T4" fmla="*/ 0 w 42"/>
                <a:gd name="T5" fmla="*/ 61 h 104"/>
                <a:gd name="T6" fmla="*/ 20 w 42"/>
                <a:gd name="T7" fmla="*/ 41 h 104"/>
                <a:gd name="T8" fmla="*/ 20 w 42"/>
                <a:gd name="T9" fmla="*/ 0 h 104"/>
                <a:gd name="T10" fmla="*/ 20 w 42"/>
                <a:gd name="T11" fmla="*/ 0 h 104"/>
                <a:gd name="T12" fmla="*/ 41 w 42"/>
                <a:gd name="T13" fmla="*/ 21 h 104"/>
                <a:gd name="T14" fmla="*/ 41 w 42"/>
                <a:gd name="T15" fmla="*/ 41 h 104"/>
                <a:gd name="T16" fmla="*/ 41 w 42"/>
                <a:gd name="T17" fmla="*/ 61 h 104"/>
                <a:gd name="T18" fmla="*/ 41 w 42"/>
                <a:gd name="T19" fmla="*/ 82 h 104"/>
                <a:gd name="T20" fmla="*/ 20 w 42"/>
                <a:gd name="T21"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04">
                  <a:moveTo>
                    <a:pt x="20" y="103"/>
                  </a:moveTo>
                  <a:lnTo>
                    <a:pt x="20" y="103"/>
                  </a:lnTo>
                  <a:cubicBezTo>
                    <a:pt x="0" y="103"/>
                    <a:pt x="0" y="82"/>
                    <a:pt x="0" y="61"/>
                  </a:cubicBezTo>
                  <a:lnTo>
                    <a:pt x="20" y="41"/>
                  </a:lnTo>
                  <a:cubicBezTo>
                    <a:pt x="20" y="41"/>
                    <a:pt x="20" y="21"/>
                    <a:pt x="20" y="0"/>
                  </a:cubicBezTo>
                  <a:lnTo>
                    <a:pt x="20" y="0"/>
                  </a:lnTo>
                  <a:cubicBezTo>
                    <a:pt x="41" y="0"/>
                    <a:pt x="41" y="0"/>
                    <a:pt x="41" y="21"/>
                  </a:cubicBezTo>
                  <a:cubicBezTo>
                    <a:pt x="41" y="21"/>
                    <a:pt x="41" y="21"/>
                    <a:pt x="41" y="41"/>
                  </a:cubicBezTo>
                  <a:lnTo>
                    <a:pt x="41" y="61"/>
                  </a:lnTo>
                  <a:lnTo>
                    <a:pt x="41" y="82"/>
                  </a:lnTo>
                  <a:lnTo>
                    <a:pt x="20" y="103"/>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5" name="Freeform 82">
              <a:extLst>
                <a:ext uri="{FF2B5EF4-FFF2-40B4-BE49-F238E27FC236}">
                  <a16:creationId xmlns:a16="http://schemas.microsoft.com/office/drawing/2014/main" id="{E22F603A-CB9D-8C40-A952-F2B44F7D5D58}"/>
                </a:ext>
              </a:extLst>
            </p:cNvPr>
            <p:cNvSpPr>
              <a:spLocks noChangeArrowheads="1"/>
            </p:cNvSpPr>
            <p:nvPr/>
          </p:nvSpPr>
          <p:spPr bwMode="auto">
            <a:xfrm>
              <a:off x="6372225" y="5424488"/>
              <a:ext cx="7938" cy="22225"/>
            </a:xfrm>
            <a:custGeom>
              <a:avLst/>
              <a:gdLst>
                <a:gd name="T0" fmla="*/ 21 w 22"/>
                <a:gd name="T1" fmla="*/ 61 h 62"/>
                <a:gd name="T2" fmla="*/ 21 w 22"/>
                <a:gd name="T3" fmla="*/ 61 h 62"/>
                <a:gd name="T4" fmla="*/ 0 w 22"/>
                <a:gd name="T5" fmla="*/ 41 h 62"/>
                <a:gd name="T6" fmla="*/ 21 w 22"/>
                <a:gd name="T7" fmla="*/ 21 h 62"/>
                <a:gd name="T8" fmla="*/ 21 w 22"/>
                <a:gd name="T9" fmla="*/ 21 h 62"/>
                <a:gd name="T10" fmla="*/ 21 w 22"/>
                <a:gd name="T11" fmla="*/ 41 h 62"/>
                <a:gd name="T12" fmla="*/ 21 w 22"/>
                <a:gd name="T13" fmla="*/ 61 h 62"/>
              </a:gdLst>
              <a:ahLst/>
              <a:cxnLst>
                <a:cxn ang="0">
                  <a:pos x="T0" y="T1"/>
                </a:cxn>
                <a:cxn ang="0">
                  <a:pos x="T2" y="T3"/>
                </a:cxn>
                <a:cxn ang="0">
                  <a:pos x="T4" y="T5"/>
                </a:cxn>
                <a:cxn ang="0">
                  <a:pos x="T6" y="T7"/>
                </a:cxn>
                <a:cxn ang="0">
                  <a:pos x="T8" y="T9"/>
                </a:cxn>
                <a:cxn ang="0">
                  <a:pos x="T10" y="T11"/>
                </a:cxn>
                <a:cxn ang="0">
                  <a:pos x="T12" y="T13"/>
                </a:cxn>
              </a:cxnLst>
              <a:rect l="0" t="0" r="r" b="b"/>
              <a:pathLst>
                <a:path w="22" h="62">
                  <a:moveTo>
                    <a:pt x="21" y="61"/>
                  </a:moveTo>
                  <a:lnTo>
                    <a:pt x="21" y="61"/>
                  </a:lnTo>
                  <a:lnTo>
                    <a:pt x="0" y="41"/>
                  </a:lnTo>
                  <a:cubicBezTo>
                    <a:pt x="0" y="21"/>
                    <a:pt x="0" y="21"/>
                    <a:pt x="21" y="21"/>
                  </a:cubicBezTo>
                  <a:cubicBezTo>
                    <a:pt x="21" y="0"/>
                    <a:pt x="21" y="21"/>
                    <a:pt x="21" y="21"/>
                  </a:cubicBezTo>
                  <a:lnTo>
                    <a:pt x="21" y="41"/>
                  </a:lnTo>
                  <a:lnTo>
                    <a:pt x="21" y="6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6" name="Freeform 83">
              <a:extLst>
                <a:ext uri="{FF2B5EF4-FFF2-40B4-BE49-F238E27FC236}">
                  <a16:creationId xmlns:a16="http://schemas.microsoft.com/office/drawing/2014/main" id="{55A2EB8A-5891-4043-A87B-5953786DBBA2}"/>
                </a:ext>
              </a:extLst>
            </p:cNvPr>
            <p:cNvSpPr>
              <a:spLocks noChangeArrowheads="1"/>
            </p:cNvSpPr>
            <p:nvPr/>
          </p:nvSpPr>
          <p:spPr bwMode="auto">
            <a:xfrm>
              <a:off x="6372225" y="5453063"/>
              <a:ext cx="15875" cy="7937"/>
            </a:xfrm>
            <a:custGeom>
              <a:avLst/>
              <a:gdLst>
                <a:gd name="T0" fmla="*/ 21 w 42"/>
                <a:gd name="T1" fmla="*/ 0 h 22"/>
                <a:gd name="T2" fmla="*/ 21 w 42"/>
                <a:gd name="T3" fmla="*/ 0 h 22"/>
                <a:gd name="T4" fmla="*/ 0 w 42"/>
                <a:gd name="T5" fmla="*/ 0 h 22"/>
                <a:gd name="T6" fmla="*/ 21 w 42"/>
                <a:gd name="T7" fmla="*/ 21 h 22"/>
                <a:gd name="T8" fmla="*/ 21 w 42"/>
                <a:gd name="T9" fmla="*/ 21 h 22"/>
                <a:gd name="T10" fmla="*/ 41 w 42"/>
                <a:gd name="T11" fmla="*/ 21 h 22"/>
                <a:gd name="T12" fmla="*/ 41 w 42"/>
                <a:gd name="T13" fmla="*/ 0 h 22"/>
                <a:gd name="T14" fmla="*/ 21 w 42"/>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21" y="0"/>
                  </a:moveTo>
                  <a:lnTo>
                    <a:pt x="21" y="0"/>
                  </a:lnTo>
                  <a:lnTo>
                    <a:pt x="0" y="0"/>
                  </a:lnTo>
                  <a:cubicBezTo>
                    <a:pt x="0" y="21"/>
                    <a:pt x="21" y="21"/>
                    <a:pt x="21" y="21"/>
                  </a:cubicBezTo>
                  <a:lnTo>
                    <a:pt x="21" y="21"/>
                  </a:lnTo>
                  <a:cubicBezTo>
                    <a:pt x="41" y="21"/>
                    <a:pt x="41" y="21"/>
                    <a:pt x="41" y="21"/>
                  </a:cubicBezTo>
                  <a:cubicBezTo>
                    <a:pt x="41" y="0"/>
                    <a:pt x="41" y="0"/>
                    <a:pt x="41" y="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7" name="Freeform 84">
              <a:extLst>
                <a:ext uri="{FF2B5EF4-FFF2-40B4-BE49-F238E27FC236}">
                  <a16:creationId xmlns:a16="http://schemas.microsoft.com/office/drawing/2014/main" id="{FBEA916B-69B2-A04C-BFF4-85CCDE2AB150}"/>
                </a:ext>
              </a:extLst>
            </p:cNvPr>
            <p:cNvSpPr>
              <a:spLocks noChangeArrowheads="1"/>
            </p:cNvSpPr>
            <p:nvPr/>
          </p:nvSpPr>
          <p:spPr bwMode="auto">
            <a:xfrm>
              <a:off x="6224588" y="5106988"/>
              <a:ext cx="7937" cy="30162"/>
            </a:xfrm>
            <a:custGeom>
              <a:avLst/>
              <a:gdLst>
                <a:gd name="T0" fmla="*/ 0 w 22"/>
                <a:gd name="T1" fmla="*/ 61 h 83"/>
                <a:gd name="T2" fmla="*/ 0 w 22"/>
                <a:gd name="T3" fmla="*/ 61 h 83"/>
                <a:gd name="T4" fmla="*/ 21 w 22"/>
                <a:gd name="T5" fmla="*/ 61 h 83"/>
                <a:gd name="T6" fmla="*/ 21 w 22"/>
                <a:gd name="T7" fmla="*/ 41 h 83"/>
                <a:gd name="T8" fmla="*/ 21 w 22"/>
                <a:gd name="T9" fmla="*/ 20 h 83"/>
                <a:gd name="T10" fmla="*/ 21 w 22"/>
                <a:gd name="T11" fmla="*/ 0 h 83"/>
                <a:gd name="T12" fmla="*/ 0 w 22"/>
                <a:gd name="T13" fmla="*/ 20 h 83"/>
                <a:gd name="T14" fmla="*/ 0 w 22"/>
                <a:gd name="T15" fmla="*/ 41 h 83"/>
                <a:gd name="T16" fmla="*/ 0 w 22"/>
                <a:gd name="T17" fmla="*/ 6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83">
                  <a:moveTo>
                    <a:pt x="0" y="61"/>
                  </a:moveTo>
                  <a:lnTo>
                    <a:pt x="0" y="61"/>
                  </a:lnTo>
                  <a:cubicBezTo>
                    <a:pt x="21" y="61"/>
                    <a:pt x="21" y="61"/>
                    <a:pt x="21" y="61"/>
                  </a:cubicBezTo>
                  <a:cubicBezTo>
                    <a:pt x="21" y="41"/>
                    <a:pt x="21" y="41"/>
                    <a:pt x="21" y="41"/>
                  </a:cubicBezTo>
                  <a:lnTo>
                    <a:pt x="21" y="20"/>
                  </a:lnTo>
                  <a:lnTo>
                    <a:pt x="21" y="0"/>
                  </a:lnTo>
                  <a:cubicBezTo>
                    <a:pt x="0" y="20"/>
                    <a:pt x="0" y="20"/>
                    <a:pt x="0" y="20"/>
                  </a:cubicBezTo>
                  <a:lnTo>
                    <a:pt x="0" y="41"/>
                  </a:lnTo>
                  <a:cubicBezTo>
                    <a:pt x="0" y="41"/>
                    <a:pt x="0" y="82"/>
                    <a:pt x="0"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8" name="Freeform 85">
              <a:extLst>
                <a:ext uri="{FF2B5EF4-FFF2-40B4-BE49-F238E27FC236}">
                  <a16:creationId xmlns:a16="http://schemas.microsoft.com/office/drawing/2014/main" id="{F26B052D-E62B-3444-B46E-D65C5747A53F}"/>
                </a:ext>
              </a:extLst>
            </p:cNvPr>
            <p:cNvSpPr>
              <a:spLocks noChangeArrowheads="1"/>
            </p:cNvSpPr>
            <p:nvPr/>
          </p:nvSpPr>
          <p:spPr bwMode="auto">
            <a:xfrm>
              <a:off x="6216650" y="5135563"/>
              <a:ext cx="15875" cy="22225"/>
            </a:xfrm>
            <a:custGeom>
              <a:avLst/>
              <a:gdLst>
                <a:gd name="T0" fmla="*/ 21 w 43"/>
                <a:gd name="T1" fmla="*/ 0 h 62"/>
                <a:gd name="T2" fmla="*/ 21 w 43"/>
                <a:gd name="T3" fmla="*/ 0 h 62"/>
                <a:gd name="T4" fmla="*/ 21 w 43"/>
                <a:gd name="T5" fmla="*/ 0 h 62"/>
                <a:gd name="T6" fmla="*/ 0 w 43"/>
                <a:gd name="T7" fmla="*/ 20 h 62"/>
                <a:gd name="T8" fmla="*/ 21 w 43"/>
                <a:gd name="T9" fmla="*/ 41 h 62"/>
                <a:gd name="T10" fmla="*/ 21 w 43"/>
                <a:gd name="T11" fmla="*/ 61 h 62"/>
                <a:gd name="T12" fmla="*/ 42 w 43"/>
                <a:gd name="T13" fmla="*/ 41 h 62"/>
                <a:gd name="T14" fmla="*/ 42 w 43"/>
                <a:gd name="T15" fmla="*/ 20 h 62"/>
                <a:gd name="T16" fmla="*/ 21 w 43"/>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62">
                  <a:moveTo>
                    <a:pt x="21" y="0"/>
                  </a:moveTo>
                  <a:lnTo>
                    <a:pt x="21" y="0"/>
                  </a:lnTo>
                  <a:lnTo>
                    <a:pt x="21" y="0"/>
                  </a:lnTo>
                  <a:cubicBezTo>
                    <a:pt x="0" y="20"/>
                    <a:pt x="0" y="20"/>
                    <a:pt x="0" y="20"/>
                  </a:cubicBezTo>
                  <a:lnTo>
                    <a:pt x="21" y="41"/>
                  </a:lnTo>
                  <a:lnTo>
                    <a:pt x="21" y="61"/>
                  </a:lnTo>
                  <a:cubicBezTo>
                    <a:pt x="21" y="61"/>
                    <a:pt x="42" y="61"/>
                    <a:pt x="42" y="41"/>
                  </a:cubicBezTo>
                  <a:lnTo>
                    <a:pt x="42" y="20"/>
                  </a:lnTo>
                  <a:cubicBezTo>
                    <a:pt x="42" y="20"/>
                    <a:pt x="42"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89" name="Freeform 86">
              <a:extLst>
                <a:ext uri="{FF2B5EF4-FFF2-40B4-BE49-F238E27FC236}">
                  <a16:creationId xmlns:a16="http://schemas.microsoft.com/office/drawing/2014/main" id="{958A5538-D3F1-1045-B43B-503DC18C4439}"/>
                </a:ext>
              </a:extLst>
            </p:cNvPr>
            <p:cNvSpPr>
              <a:spLocks noChangeArrowheads="1"/>
            </p:cNvSpPr>
            <p:nvPr/>
          </p:nvSpPr>
          <p:spPr bwMode="auto">
            <a:xfrm>
              <a:off x="6400800" y="4951413"/>
              <a:ext cx="7938" cy="15875"/>
            </a:xfrm>
            <a:custGeom>
              <a:avLst/>
              <a:gdLst>
                <a:gd name="T0" fmla="*/ 0 w 22"/>
                <a:gd name="T1" fmla="*/ 42 h 43"/>
                <a:gd name="T2" fmla="*/ 0 w 22"/>
                <a:gd name="T3" fmla="*/ 42 h 43"/>
                <a:gd name="T4" fmla="*/ 0 w 22"/>
                <a:gd name="T5" fmla="*/ 42 h 43"/>
                <a:gd name="T6" fmla="*/ 0 w 22"/>
                <a:gd name="T7" fmla="*/ 21 h 43"/>
                <a:gd name="T8" fmla="*/ 0 w 22"/>
                <a:gd name="T9" fmla="*/ 0 h 43"/>
                <a:gd name="T10" fmla="*/ 21 w 22"/>
                <a:gd name="T11" fmla="*/ 0 h 43"/>
                <a:gd name="T12" fmla="*/ 21 w 22"/>
                <a:gd name="T13" fmla="*/ 21 h 43"/>
                <a:gd name="T14" fmla="*/ 21 w 22"/>
                <a:gd name="T15" fmla="*/ 42 h 43"/>
                <a:gd name="T16" fmla="*/ 0 w 22"/>
                <a:gd name="T1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43">
                  <a:moveTo>
                    <a:pt x="0" y="42"/>
                  </a:moveTo>
                  <a:lnTo>
                    <a:pt x="0" y="42"/>
                  </a:lnTo>
                  <a:lnTo>
                    <a:pt x="0" y="42"/>
                  </a:lnTo>
                  <a:lnTo>
                    <a:pt x="0" y="21"/>
                  </a:lnTo>
                  <a:lnTo>
                    <a:pt x="0" y="0"/>
                  </a:lnTo>
                  <a:lnTo>
                    <a:pt x="21" y="0"/>
                  </a:lnTo>
                  <a:lnTo>
                    <a:pt x="21" y="21"/>
                  </a:lnTo>
                  <a:lnTo>
                    <a:pt x="21" y="42"/>
                  </a:lnTo>
                  <a:cubicBezTo>
                    <a:pt x="21" y="42"/>
                    <a:pt x="21" y="42"/>
                    <a:pt x="0"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0" name="Freeform 87">
              <a:extLst>
                <a:ext uri="{FF2B5EF4-FFF2-40B4-BE49-F238E27FC236}">
                  <a16:creationId xmlns:a16="http://schemas.microsoft.com/office/drawing/2014/main" id="{20A1B2E7-031C-B545-954B-A0EC2DAEE07E}"/>
                </a:ext>
              </a:extLst>
            </p:cNvPr>
            <p:cNvSpPr>
              <a:spLocks noChangeArrowheads="1"/>
            </p:cNvSpPr>
            <p:nvPr/>
          </p:nvSpPr>
          <p:spPr bwMode="auto">
            <a:xfrm>
              <a:off x="6394450" y="4973638"/>
              <a:ext cx="15875" cy="15875"/>
            </a:xfrm>
            <a:custGeom>
              <a:avLst/>
              <a:gdLst>
                <a:gd name="T0" fmla="*/ 21 w 43"/>
                <a:gd name="T1" fmla="*/ 0 h 42"/>
                <a:gd name="T2" fmla="*/ 21 w 43"/>
                <a:gd name="T3" fmla="*/ 0 h 42"/>
                <a:gd name="T4" fmla="*/ 21 w 43"/>
                <a:gd name="T5" fmla="*/ 0 h 42"/>
                <a:gd name="T6" fmla="*/ 0 w 43"/>
                <a:gd name="T7" fmla="*/ 20 h 42"/>
                <a:gd name="T8" fmla="*/ 21 w 43"/>
                <a:gd name="T9" fmla="*/ 41 h 42"/>
                <a:gd name="T10" fmla="*/ 42 w 43"/>
                <a:gd name="T11" fmla="*/ 20 h 42"/>
                <a:gd name="T12" fmla="*/ 21 w 43"/>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3" h="42">
                  <a:moveTo>
                    <a:pt x="21" y="0"/>
                  </a:moveTo>
                  <a:lnTo>
                    <a:pt x="21" y="0"/>
                  </a:lnTo>
                  <a:lnTo>
                    <a:pt x="21" y="0"/>
                  </a:lnTo>
                  <a:cubicBezTo>
                    <a:pt x="0" y="0"/>
                    <a:pt x="0" y="20"/>
                    <a:pt x="0" y="20"/>
                  </a:cubicBezTo>
                  <a:lnTo>
                    <a:pt x="21" y="41"/>
                  </a:lnTo>
                  <a:cubicBezTo>
                    <a:pt x="21" y="41"/>
                    <a:pt x="21" y="20"/>
                    <a:pt x="42" y="2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1" name="Freeform 88">
              <a:extLst>
                <a:ext uri="{FF2B5EF4-FFF2-40B4-BE49-F238E27FC236}">
                  <a16:creationId xmlns:a16="http://schemas.microsoft.com/office/drawing/2014/main" id="{B625F338-8F0F-844C-9632-44C4B170B7B7}"/>
                </a:ext>
              </a:extLst>
            </p:cNvPr>
            <p:cNvSpPr>
              <a:spLocks noChangeArrowheads="1"/>
            </p:cNvSpPr>
            <p:nvPr/>
          </p:nvSpPr>
          <p:spPr bwMode="auto">
            <a:xfrm>
              <a:off x="6386513" y="4967288"/>
              <a:ext cx="7937" cy="7937"/>
            </a:xfrm>
            <a:custGeom>
              <a:avLst/>
              <a:gdLst>
                <a:gd name="T0" fmla="*/ 0 w 21"/>
                <a:gd name="T1" fmla="*/ 20 h 21"/>
                <a:gd name="T2" fmla="*/ 0 w 21"/>
                <a:gd name="T3" fmla="*/ 20 h 21"/>
                <a:gd name="T4" fmla="*/ 0 w 21"/>
                <a:gd name="T5" fmla="*/ 0 h 21"/>
                <a:gd name="T6" fmla="*/ 0 w 21"/>
                <a:gd name="T7" fmla="*/ 0 h 21"/>
                <a:gd name="T8" fmla="*/ 20 w 21"/>
                <a:gd name="T9" fmla="*/ 0 h 21"/>
                <a:gd name="T10" fmla="*/ 20 w 21"/>
                <a:gd name="T11" fmla="*/ 20 h 21"/>
                <a:gd name="T12" fmla="*/ 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20"/>
                  </a:moveTo>
                  <a:lnTo>
                    <a:pt x="0" y="20"/>
                  </a:lnTo>
                  <a:lnTo>
                    <a:pt x="0" y="0"/>
                  </a:lnTo>
                  <a:lnTo>
                    <a:pt x="0" y="0"/>
                  </a:lnTo>
                  <a:lnTo>
                    <a:pt x="20" y="0"/>
                  </a:lnTo>
                  <a:lnTo>
                    <a:pt x="20" y="20"/>
                  </a:ln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2" name="Freeform 89">
              <a:extLst>
                <a:ext uri="{FF2B5EF4-FFF2-40B4-BE49-F238E27FC236}">
                  <a16:creationId xmlns:a16="http://schemas.microsoft.com/office/drawing/2014/main" id="{369C2545-39DE-2840-96EF-99B88D50AF28}"/>
                </a:ext>
              </a:extLst>
            </p:cNvPr>
            <p:cNvSpPr>
              <a:spLocks noChangeArrowheads="1"/>
            </p:cNvSpPr>
            <p:nvPr/>
          </p:nvSpPr>
          <p:spPr bwMode="auto">
            <a:xfrm>
              <a:off x="6253163" y="5246688"/>
              <a:ext cx="15875" cy="15875"/>
            </a:xfrm>
            <a:custGeom>
              <a:avLst/>
              <a:gdLst>
                <a:gd name="T0" fmla="*/ 0 w 42"/>
                <a:gd name="T1" fmla="*/ 41 h 42"/>
                <a:gd name="T2" fmla="*/ 0 w 42"/>
                <a:gd name="T3" fmla="*/ 41 h 42"/>
                <a:gd name="T4" fmla="*/ 0 w 42"/>
                <a:gd name="T5" fmla="*/ 21 h 42"/>
                <a:gd name="T6" fmla="*/ 0 w 42"/>
                <a:gd name="T7" fmla="*/ 0 h 42"/>
                <a:gd name="T8" fmla="*/ 21 w 42"/>
                <a:gd name="T9" fmla="*/ 0 h 42"/>
                <a:gd name="T10" fmla="*/ 21 w 42"/>
                <a:gd name="T11" fmla="*/ 0 h 42"/>
                <a:gd name="T12" fmla="*/ 41 w 42"/>
                <a:gd name="T13" fmla="*/ 21 h 42"/>
                <a:gd name="T14" fmla="*/ 21 w 42"/>
                <a:gd name="T15" fmla="*/ 41 h 42"/>
                <a:gd name="T16" fmla="*/ 0 w 42"/>
                <a:gd name="T1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0" y="41"/>
                  </a:moveTo>
                  <a:lnTo>
                    <a:pt x="0" y="41"/>
                  </a:lnTo>
                  <a:lnTo>
                    <a:pt x="0" y="21"/>
                  </a:lnTo>
                  <a:lnTo>
                    <a:pt x="0" y="0"/>
                  </a:lnTo>
                  <a:lnTo>
                    <a:pt x="21" y="0"/>
                  </a:lnTo>
                  <a:lnTo>
                    <a:pt x="21" y="0"/>
                  </a:lnTo>
                  <a:cubicBezTo>
                    <a:pt x="41" y="21"/>
                    <a:pt x="41" y="21"/>
                    <a:pt x="41" y="21"/>
                  </a:cubicBezTo>
                  <a:lnTo>
                    <a:pt x="21" y="41"/>
                  </a:lnTo>
                  <a:cubicBezTo>
                    <a:pt x="21" y="41"/>
                    <a:pt x="21" y="41"/>
                    <a:pt x="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3" name="Freeform 90">
              <a:extLst>
                <a:ext uri="{FF2B5EF4-FFF2-40B4-BE49-F238E27FC236}">
                  <a16:creationId xmlns:a16="http://schemas.microsoft.com/office/drawing/2014/main" id="{38502AF6-694F-7148-B777-F94F64C4AEE5}"/>
                </a:ext>
              </a:extLst>
            </p:cNvPr>
            <p:cNvSpPr>
              <a:spLocks noChangeArrowheads="1"/>
            </p:cNvSpPr>
            <p:nvPr/>
          </p:nvSpPr>
          <p:spPr bwMode="auto">
            <a:xfrm>
              <a:off x="6238875" y="5276850"/>
              <a:ext cx="15875" cy="15875"/>
            </a:xfrm>
            <a:custGeom>
              <a:avLst/>
              <a:gdLst>
                <a:gd name="T0" fmla="*/ 20 w 42"/>
                <a:gd name="T1" fmla="*/ 0 h 42"/>
                <a:gd name="T2" fmla="*/ 20 w 42"/>
                <a:gd name="T3" fmla="*/ 0 h 42"/>
                <a:gd name="T4" fmla="*/ 0 w 42"/>
                <a:gd name="T5" fmla="*/ 0 h 42"/>
                <a:gd name="T6" fmla="*/ 0 w 42"/>
                <a:gd name="T7" fmla="*/ 21 h 42"/>
                <a:gd name="T8" fmla="*/ 0 w 42"/>
                <a:gd name="T9" fmla="*/ 41 h 42"/>
                <a:gd name="T10" fmla="*/ 20 w 42"/>
                <a:gd name="T11" fmla="*/ 41 h 42"/>
                <a:gd name="T12" fmla="*/ 41 w 42"/>
                <a:gd name="T13" fmla="*/ 21 h 42"/>
                <a:gd name="T14" fmla="*/ 20 w 42"/>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0" y="0"/>
                  </a:moveTo>
                  <a:lnTo>
                    <a:pt x="20" y="0"/>
                  </a:lnTo>
                  <a:cubicBezTo>
                    <a:pt x="20" y="0"/>
                    <a:pt x="20" y="0"/>
                    <a:pt x="0" y="0"/>
                  </a:cubicBezTo>
                  <a:lnTo>
                    <a:pt x="0" y="21"/>
                  </a:lnTo>
                  <a:lnTo>
                    <a:pt x="0" y="41"/>
                  </a:lnTo>
                  <a:lnTo>
                    <a:pt x="20" y="41"/>
                  </a:lnTo>
                  <a:lnTo>
                    <a:pt x="41" y="21"/>
                  </a:lnTo>
                  <a:cubicBezTo>
                    <a:pt x="41" y="21"/>
                    <a:pt x="41"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4" name="Freeform 91">
              <a:extLst>
                <a:ext uri="{FF2B5EF4-FFF2-40B4-BE49-F238E27FC236}">
                  <a16:creationId xmlns:a16="http://schemas.microsoft.com/office/drawing/2014/main" id="{6C6E1E97-07A4-E140-87C2-B335E4D8DA66}"/>
                </a:ext>
              </a:extLst>
            </p:cNvPr>
            <p:cNvSpPr>
              <a:spLocks noChangeArrowheads="1"/>
            </p:cNvSpPr>
            <p:nvPr/>
          </p:nvSpPr>
          <p:spPr bwMode="auto">
            <a:xfrm>
              <a:off x="6283325" y="5364163"/>
              <a:ext cx="15875" cy="7937"/>
            </a:xfrm>
            <a:custGeom>
              <a:avLst/>
              <a:gdLst>
                <a:gd name="T0" fmla="*/ 41 w 42"/>
                <a:gd name="T1" fmla="*/ 0 h 22"/>
                <a:gd name="T2" fmla="*/ 41 w 42"/>
                <a:gd name="T3" fmla="*/ 0 h 22"/>
                <a:gd name="T4" fmla="*/ 0 w 42"/>
                <a:gd name="T5" fmla="*/ 0 h 22"/>
                <a:gd name="T6" fmla="*/ 0 w 42"/>
                <a:gd name="T7" fmla="*/ 21 h 22"/>
                <a:gd name="T8" fmla="*/ 21 w 42"/>
                <a:gd name="T9" fmla="*/ 21 h 22"/>
                <a:gd name="T10" fmla="*/ 41 w 42"/>
                <a:gd name="T11" fmla="*/ 21 h 22"/>
                <a:gd name="T12" fmla="*/ 41 w 4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1" y="0"/>
                  </a:moveTo>
                  <a:lnTo>
                    <a:pt x="41" y="0"/>
                  </a:lnTo>
                  <a:cubicBezTo>
                    <a:pt x="41" y="0"/>
                    <a:pt x="21" y="0"/>
                    <a:pt x="0" y="0"/>
                  </a:cubicBezTo>
                  <a:cubicBezTo>
                    <a:pt x="0" y="0"/>
                    <a:pt x="0" y="0"/>
                    <a:pt x="0" y="21"/>
                  </a:cubicBezTo>
                  <a:lnTo>
                    <a:pt x="21" y="21"/>
                  </a:lnTo>
                  <a:lnTo>
                    <a:pt x="41" y="21"/>
                  </a:lnTo>
                  <a:lnTo>
                    <a:pt x="4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5" name="Freeform 92">
              <a:extLst>
                <a:ext uri="{FF2B5EF4-FFF2-40B4-BE49-F238E27FC236}">
                  <a16:creationId xmlns:a16="http://schemas.microsoft.com/office/drawing/2014/main" id="{436B695A-6453-DC43-B32A-38765EF87EF8}"/>
                </a:ext>
              </a:extLst>
            </p:cNvPr>
            <p:cNvSpPr>
              <a:spLocks noChangeArrowheads="1"/>
            </p:cNvSpPr>
            <p:nvPr/>
          </p:nvSpPr>
          <p:spPr bwMode="auto">
            <a:xfrm>
              <a:off x="6327775" y="5291138"/>
              <a:ext cx="7938" cy="22225"/>
            </a:xfrm>
            <a:custGeom>
              <a:avLst/>
              <a:gdLst>
                <a:gd name="T0" fmla="*/ 20 w 21"/>
                <a:gd name="T1" fmla="*/ 62 h 63"/>
                <a:gd name="T2" fmla="*/ 20 w 21"/>
                <a:gd name="T3" fmla="*/ 62 h 63"/>
                <a:gd name="T4" fmla="*/ 20 w 21"/>
                <a:gd name="T5" fmla="*/ 41 h 63"/>
                <a:gd name="T6" fmla="*/ 20 w 21"/>
                <a:gd name="T7" fmla="*/ 20 h 63"/>
                <a:gd name="T8" fmla="*/ 0 w 21"/>
                <a:gd name="T9" fmla="*/ 0 h 63"/>
                <a:gd name="T10" fmla="*/ 0 w 21"/>
                <a:gd name="T11" fmla="*/ 0 h 63"/>
                <a:gd name="T12" fmla="*/ 0 w 21"/>
                <a:gd name="T13" fmla="*/ 20 h 63"/>
                <a:gd name="T14" fmla="*/ 0 w 21"/>
                <a:gd name="T15" fmla="*/ 62 h 63"/>
                <a:gd name="T16" fmla="*/ 20 w 21"/>
                <a:gd name="T1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3">
                  <a:moveTo>
                    <a:pt x="20" y="62"/>
                  </a:moveTo>
                  <a:lnTo>
                    <a:pt x="20" y="62"/>
                  </a:lnTo>
                  <a:lnTo>
                    <a:pt x="20" y="41"/>
                  </a:lnTo>
                  <a:lnTo>
                    <a:pt x="20" y="20"/>
                  </a:lnTo>
                  <a:cubicBezTo>
                    <a:pt x="20" y="20"/>
                    <a:pt x="20" y="0"/>
                    <a:pt x="0" y="0"/>
                  </a:cubicBezTo>
                  <a:lnTo>
                    <a:pt x="0" y="0"/>
                  </a:lnTo>
                  <a:lnTo>
                    <a:pt x="0" y="20"/>
                  </a:lnTo>
                  <a:cubicBezTo>
                    <a:pt x="0" y="41"/>
                    <a:pt x="0" y="41"/>
                    <a:pt x="0" y="62"/>
                  </a:cubicBezTo>
                  <a:cubicBezTo>
                    <a:pt x="0" y="62"/>
                    <a:pt x="0" y="62"/>
                    <a:pt x="20"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6" name="Freeform 93">
              <a:extLst>
                <a:ext uri="{FF2B5EF4-FFF2-40B4-BE49-F238E27FC236}">
                  <a16:creationId xmlns:a16="http://schemas.microsoft.com/office/drawing/2014/main" id="{E2115ECA-1E93-6D4F-BD5B-7DB80CE53859}"/>
                </a:ext>
              </a:extLst>
            </p:cNvPr>
            <p:cNvSpPr>
              <a:spLocks noChangeArrowheads="1"/>
            </p:cNvSpPr>
            <p:nvPr/>
          </p:nvSpPr>
          <p:spPr bwMode="auto">
            <a:xfrm>
              <a:off x="6261100" y="5224463"/>
              <a:ext cx="7938" cy="7937"/>
            </a:xfrm>
            <a:custGeom>
              <a:avLst/>
              <a:gdLst>
                <a:gd name="T0" fmla="*/ 0 w 21"/>
                <a:gd name="T1" fmla="*/ 20 h 21"/>
                <a:gd name="T2" fmla="*/ 0 w 21"/>
                <a:gd name="T3" fmla="*/ 20 h 21"/>
                <a:gd name="T4" fmla="*/ 0 w 21"/>
                <a:gd name="T5" fmla="*/ 0 h 21"/>
                <a:gd name="T6" fmla="*/ 0 w 21"/>
                <a:gd name="T7" fmla="*/ 0 h 21"/>
                <a:gd name="T8" fmla="*/ 20 w 21"/>
                <a:gd name="T9" fmla="*/ 0 h 21"/>
                <a:gd name="T10" fmla="*/ 20 w 21"/>
                <a:gd name="T11" fmla="*/ 0 h 21"/>
                <a:gd name="T12" fmla="*/ 20 w 21"/>
                <a:gd name="T13" fmla="*/ 20 h 21"/>
                <a:gd name="T14" fmla="*/ 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20"/>
                  </a:moveTo>
                  <a:lnTo>
                    <a:pt x="0" y="20"/>
                  </a:lnTo>
                  <a:cubicBezTo>
                    <a:pt x="0" y="20"/>
                    <a:pt x="0" y="20"/>
                    <a:pt x="0" y="0"/>
                  </a:cubicBezTo>
                  <a:lnTo>
                    <a:pt x="0" y="0"/>
                  </a:lnTo>
                  <a:cubicBezTo>
                    <a:pt x="0" y="0"/>
                    <a:pt x="0" y="0"/>
                    <a:pt x="20" y="0"/>
                  </a:cubicBezTo>
                  <a:lnTo>
                    <a:pt x="20" y="0"/>
                  </a:lnTo>
                  <a:cubicBezTo>
                    <a:pt x="20" y="20"/>
                    <a:pt x="20" y="20"/>
                    <a:pt x="20" y="20"/>
                  </a:cubicBezTo>
                  <a:cubicBezTo>
                    <a:pt x="20" y="20"/>
                    <a:pt x="20" y="20"/>
                    <a:pt x="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7" name="Freeform 94">
              <a:extLst>
                <a:ext uri="{FF2B5EF4-FFF2-40B4-BE49-F238E27FC236}">
                  <a16:creationId xmlns:a16="http://schemas.microsoft.com/office/drawing/2014/main" id="{7C50C500-570C-0E4B-9DE0-CE31954C6763}"/>
                </a:ext>
              </a:extLst>
            </p:cNvPr>
            <p:cNvSpPr>
              <a:spLocks noChangeArrowheads="1"/>
            </p:cNvSpPr>
            <p:nvPr/>
          </p:nvSpPr>
          <p:spPr bwMode="auto">
            <a:xfrm>
              <a:off x="6246813" y="5224463"/>
              <a:ext cx="7937" cy="7937"/>
            </a:xfrm>
            <a:custGeom>
              <a:avLst/>
              <a:gdLst>
                <a:gd name="T0" fmla="*/ 21 w 22"/>
                <a:gd name="T1" fmla="*/ 20 h 21"/>
                <a:gd name="T2" fmla="*/ 21 w 22"/>
                <a:gd name="T3" fmla="*/ 20 h 21"/>
                <a:gd name="T4" fmla="*/ 0 w 22"/>
                <a:gd name="T5" fmla="*/ 20 h 21"/>
                <a:gd name="T6" fmla="*/ 0 w 22"/>
                <a:gd name="T7" fmla="*/ 0 h 21"/>
                <a:gd name="T8" fmla="*/ 21 w 22"/>
                <a:gd name="T9" fmla="*/ 0 h 21"/>
                <a:gd name="T10" fmla="*/ 21 w 22"/>
                <a:gd name="T11" fmla="*/ 0 h 21"/>
                <a:gd name="T12" fmla="*/ 21 w 2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20"/>
                  </a:moveTo>
                  <a:lnTo>
                    <a:pt x="21" y="20"/>
                  </a:lnTo>
                  <a:lnTo>
                    <a:pt x="0" y="20"/>
                  </a:lnTo>
                  <a:lnTo>
                    <a:pt x="0" y="0"/>
                  </a:lnTo>
                  <a:lnTo>
                    <a:pt x="21" y="0"/>
                  </a:lnTo>
                  <a:lnTo>
                    <a:pt x="21" y="0"/>
                  </a:ln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8" name="Freeform 95">
              <a:extLst>
                <a:ext uri="{FF2B5EF4-FFF2-40B4-BE49-F238E27FC236}">
                  <a16:creationId xmlns:a16="http://schemas.microsoft.com/office/drawing/2014/main" id="{2008C18D-C929-484B-8258-8C52468925CC}"/>
                </a:ext>
              </a:extLst>
            </p:cNvPr>
            <p:cNvSpPr>
              <a:spLocks noChangeArrowheads="1"/>
            </p:cNvSpPr>
            <p:nvPr/>
          </p:nvSpPr>
          <p:spPr bwMode="auto">
            <a:xfrm>
              <a:off x="6297613" y="5151438"/>
              <a:ext cx="7937" cy="7937"/>
            </a:xfrm>
            <a:custGeom>
              <a:avLst/>
              <a:gdLst>
                <a:gd name="T0" fmla="*/ 20 w 21"/>
                <a:gd name="T1" fmla="*/ 0 h 21"/>
                <a:gd name="T2" fmla="*/ 20 w 21"/>
                <a:gd name="T3" fmla="*/ 0 h 21"/>
                <a:gd name="T4" fmla="*/ 0 w 21"/>
                <a:gd name="T5" fmla="*/ 0 h 21"/>
                <a:gd name="T6" fmla="*/ 0 w 21"/>
                <a:gd name="T7" fmla="*/ 20 h 21"/>
                <a:gd name="T8" fmla="*/ 20 w 21"/>
                <a:gd name="T9" fmla="*/ 20 h 21"/>
                <a:gd name="T10" fmla="*/ 20 w 21"/>
                <a:gd name="T11" fmla="*/ 20 h 21"/>
                <a:gd name="T12" fmla="*/ 2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0"/>
                  </a:moveTo>
                  <a:lnTo>
                    <a:pt x="20" y="0"/>
                  </a:lnTo>
                  <a:lnTo>
                    <a:pt x="0" y="0"/>
                  </a:lnTo>
                  <a:lnTo>
                    <a:pt x="0" y="20"/>
                  </a:lnTo>
                  <a:lnTo>
                    <a:pt x="20" y="20"/>
                  </a:lnTo>
                  <a:lnTo>
                    <a:pt x="20" y="2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99" name="Freeform 96">
              <a:extLst>
                <a:ext uri="{FF2B5EF4-FFF2-40B4-BE49-F238E27FC236}">
                  <a16:creationId xmlns:a16="http://schemas.microsoft.com/office/drawing/2014/main" id="{D5C5A2F0-8953-AF40-8DE2-F228087299A3}"/>
                </a:ext>
              </a:extLst>
            </p:cNvPr>
            <p:cNvSpPr>
              <a:spLocks noChangeArrowheads="1"/>
            </p:cNvSpPr>
            <p:nvPr/>
          </p:nvSpPr>
          <p:spPr bwMode="auto">
            <a:xfrm>
              <a:off x="6615113" y="4767263"/>
              <a:ext cx="30162" cy="52387"/>
            </a:xfrm>
            <a:custGeom>
              <a:avLst/>
              <a:gdLst>
                <a:gd name="T0" fmla="*/ 61 w 83"/>
                <a:gd name="T1" fmla="*/ 102 h 145"/>
                <a:gd name="T2" fmla="*/ 61 w 83"/>
                <a:gd name="T3" fmla="*/ 102 h 145"/>
                <a:gd name="T4" fmla="*/ 82 w 83"/>
                <a:gd name="T5" fmla="*/ 62 h 145"/>
                <a:gd name="T6" fmla="*/ 61 w 83"/>
                <a:gd name="T7" fmla="*/ 42 h 145"/>
                <a:gd name="T8" fmla="*/ 61 w 83"/>
                <a:gd name="T9" fmla="*/ 42 h 145"/>
                <a:gd name="T10" fmla="*/ 41 w 83"/>
                <a:gd name="T11" fmla="*/ 21 h 145"/>
                <a:gd name="T12" fmla="*/ 41 w 83"/>
                <a:gd name="T13" fmla="*/ 0 h 145"/>
                <a:gd name="T14" fmla="*/ 21 w 83"/>
                <a:gd name="T15" fmla="*/ 0 h 145"/>
                <a:gd name="T16" fmla="*/ 21 w 83"/>
                <a:gd name="T17" fmla="*/ 21 h 145"/>
                <a:gd name="T18" fmla="*/ 0 w 83"/>
                <a:gd name="T19" fmla="*/ 42 h 145"/>
                <a:gd name="T20" fmla="*/ 0 w 83"/>
                <a:gd name="T21" fmla="*/ 62 h 145"/>
                <a:gd name="T22" fmla="*/ 0 w 83"/>
                <a:gd name="T23" fmla="*/ 62 h 145"/>
                <a:gd name="T24" fmla="*/ 0 w 83"/>
                <a:gd name="T25" fmla="*/ 82 h 145"/>
                <a:gd name="T26" fmla="*/ 21 w 83"/>
                <a:gd name="T27" fmla="*/ 82 h 145"/>
                <a:gd name="T28" fmla="*/ 21 w 83"/>
                <a:gd name="T29" fmla="*/ 102 h 145"/>
                <a:gd name="T30" fmla="*/ 41 w 83"/>
                <a:gd name="T31" fmla="*/ 123 h 145"/>
                <a:gd name="T32" fmla="*/ 41 w 83"/>
                <a:gd name="T33" fmla="*/ 144 h 145"/>
                <a:gd name="T34" fmla="*/ 61 w 83"/>
                <a:gd name="T35" fmla="*/ 123 h 145"/>
                <a:gd name="T36" fmla="*/ 61 w 83"/>
                <a:gd name="T37" fmla="*/ 10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45">
                  <a:moveTo>
                    <a:pt x="61" y="102"/>
                  </a:moveTo>
                  <a:lnTo>
                    <a:pt x="61" y="102"/>
                  </a:lnTo>
                  <a:cubicBezTo>
                    <a:pt x="61" y="82"/>
                    <a:pt x="82" y="82"/>
                    <a:pt x="82" y="62"/>
                  </a:cubicBezTo>
                  <a:cubicBezTo>
                    <a:pt x="82" y="62"/>
                    <a:pt x="61" y="62"/>
                    <a:pt x="61" y="42"/>
                  </a:cubicBezTo>
                  <a:lnTo>
                    <a:pt x="61" y="42"/>
                  </a:lnTo>
                  <a:cubicBezTo>
                    <a:pt x="61" y="42"/>
                    <a:pt x="61" y="21"/>
                    <a:pt x="41" y="21"/>
                  </a:cubicBezTo>
                  <a:lnTo>
                    <a:pt x="41" y="0"/>
                  </a:lnTo>
                  <a:lnTo>
                    <a:pt x="21" y="0"/>
                  </a:lnTo>
                  <a:lnTo>
                    <a:pt x="21" y="21"/>
                  </a:lnTo>
                  <a:cubicBezTo>
                    <a:pt x="21" y="21"/>
                    <a:pt x="21" y="42"/>
                    <a:pt x="0" y="42"/>
                  </a:cubicBezTo>
                  <a:cubicBezTo>
                    <a:pt x="0" y="42"/>
                    <a:pt x="0" y="42"/>
                    <a:pt x="0" y="62"/>
                  </a:cubicBezTo>
                  <a:lnTo>
                    <a:pt x="0" y="62"/>
                  </a:lnTo>
                  <a:cubicBezTo>
                    <a:pt x="0" y="82"/>
                    <a:pt x="0" y="82"/>
                    <a:pt x="0" y="82"/>
                  </a:cubicBezTo>
                  <a:cubicBezTo>
                    <a:pt x="21" y="82"/>
                    <a:pt x="21" y="82"/>
                    <a:pt x="21" y="82"/>
                  </a:cubicBezTo>
                  <a:cubicBezTo>
                    <a:pt x="21" y="102"/>
                    <a:pt x="21" y="102"/>
                    <a:pt x="21" y="102"/>
                  </a:cubicBezTo>
                  <a:cubicBezTo>
                    <a:pt x="21" y="102"/>
                    <a:pt x="21" y="123"/>
                    <a:pt x="41" y="123"/>
                  </a:cubicBezTo>
                  <a:lnTo>
                    <a:pt x="41" y="144"/>
                  </a:lnTo>
                  <a:cubicBezTo>
                    <a:pt x="61" y="123"/>
                    <a:pt x="61" y="123"/>
                    <a:pt x="61" y="123"/>
                  </a:cubicBezTo>
                  <a:cubicBezTo>
                    <a:pt x="61" y="102"/>
                    <a:pt x="61" y="102"/>
                    <a:pt x="61" y="10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0" name="Freeform 97">
              <a:extLst>
                <a:ext uri="{FF2B5EF4-FFF2-40B4-BE49-F238E27FC236}">
                  <a16:creationId xmlns:a16="http://schemas.microsoft.com/office/drawing/2014/main" id="{349D364E-EFF6-B440-8C2A-B7FDE1E3AF11}"/>
                </a:ext>
              </a:extLst>
            </p:cNvPr>
            <p:cNvSpPr>
              <a:spLocks noChangeArrowheads="1"/>
            </p:cNvSpPr>
            <p:nvPr/>
          </p:nvSpPr>
          <p:spPr bwMode="auto">
            <a:xfrm>
              <a:off x="6645275" y="4738688"/>
              <a:ext cx="7938" cy="15875"/>
            </a:xfrm>
            <a:custGeom>
              <a:avLst/>
              <a:gdLst>
                <a:gd name="T0" fmla="*/ 21 w 22"/>
                <a:gd name="T1" fmla="*/ 42 h 43"/>
                <a:gd name="T2" fmla="*/ 21 w 22"/>
                <a:gd name="T3" fmla="*/ 42 h 43"/>
                <a:gd name="T4" fmla="*/ 0 w 22"/>
                <a:gd name="T5" fmla="*/ 21 h 43"/>
                <a:gd name="T6" fmla="*/ 0 w 22"/>
                <a:gd name="T7" fmla="*/ 0 h 43"/>
                <a:gd name="T8" fmla="*/ 21 w 22"/>
                <a:gd name="T9" fmla="*/ 0 h 43"/>
                <a:gd name="T10" fmla="*/ 21 w 22"/>
                <a:gd name="T11" fmla="*/ 21 h 43"/>
                <a:gd name="T12" fmla="*/ 21 w 22"/>
                <a:gd name="T13" fmla="*/ 42 h 43"/>
              </a:gdLst>
              <a:ahLst/>
              <a:cxnLst>
                <a:cxn ang="0">
                  <a:pos x="T0" y="T1"/>
                </a:cxn>
                <a:cxn ang="0">
                  <a:pos x="T2" y="T3"/>
                </a:cxn>
                <a:cxn ang="0">
                  <a:pos x="T4" y="T5"/>
                </a:cxn>
                <a:cxn ang="0">
                  <a:pos x="T6" y="T7"/>
                </a:cxn>
                <a:cxn ang="0">
                  <a:pos x="T8" y="T9"/>
                </a:cxn>
                <a:cxn ang="0">
                  <a:pos x="T10" y="T11"/>
                </a:cxn>
                <a:cxn ang="0">
                  <a:pos x="T12" y="T13"/>
                </a:cxn>
              </a:cxnLst>
              <a:rect l="0" t="0" r="r" b="b"/>
              <a:pathLst>
                <a:path w="22" h="43">
                  <a:moveTo>
                    <a:pt x="21" y="42"/>
                  </a:moveTo>
                  <a:lnTo>
                    <a:pt x="21" y="42"/>
                  </a:lnTo>
                  <a:cubicBezTo>
                    <a:pt x="21" y="42"/>
                    <a:pt x="0" y="42"/>
                    <a:pt x="0" y="21"/>
                  </a:cubicBezTo>
                  <a:cubicBezTo>
                    <a:pt x="0" y="21"/>
                    <a:pt x="0" y="21"/>
                    <a:pt x="0" y="0"/>
                  </a:cubicBezTo>
                  <a:cubicBezTo>
                    <a:pt x="0" y="0"/>
                    <a:pt x="0" y="0"/>
                    <a:pt x="21" y="0"/>
                  </a:cubicBezTo>
                  <a:lnTo>
                    <a:pt x="21" y="21"/>
                  </a:lnTo>
                  <a:lnTo>
                    <a:pt x="21" y="4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1" name="Freeform 98">
              <a:extLst>
                <a:ext uri="{FF2B5EF4-FFF2-40B4-BE49-F238E27FC236}">
                  <a16:creationId xmlns:a16="http://schemas.microsoft.com/office/drawing/2014/main" id="{C65C12D9-03E9-1C46-8DAC-B488777662AC}"/>
                </a:ext>
              </a:extLst>
            </p:cNvPr>
            <p:cNvSpPr>
              <a:spLocks noChangeArrowheads="1"/>
            </p:cNvSpPr>
            <p:nvPr/>
          </p:nvSpPr>
          <p:spPr bwMode="auto">
            <a:xfrm>
              <a:off x="6629400" y="4672013"/>
              <a:ext cx="7938" cy="15875"/>
            </a:xfrm>
            <a:custGeom>
              <a:avLst/>
              <a:gdLst>
                <a:gd name="T0" fmla="*/ 20 w 21"/>
                <a:gd name="T1" fmla="*/ 41 h 42"/>
                <a:gd name="T2" fmla="*/ 20 w 21"/>
                <a:gd name="T3" fmla="*/ 41 h 42"/>
                <a:gd name="T4" fmla="*/ 20 w 21"/>
                <a:gd name="T5" fmla="*/ 20 h 42"/>
                <a:gd name="T6" fmla="*/ 20 w 21"/>
                <a:gd name="T7" fmla="*/ 0 h 42"/>
                <a:gd name="T8" fmla="*/ 0 w 21"/>
                <a:gd name="T9" fmla="*/ 0 h 42"/>
                <a:gd name="T10" fmla="*/ 0 w 21"/>
                <a:gd name="T11" fmla="*/ 20 h 42"/>
                <a:gd name="T12" fmla="*/ 0 w 21"/>
                <a:gd name="T13" fmla="*/ 41 h 42"/>
                <a:gd name="T14" fmla="*/ 20 w 21"/>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41"/>
                  </a:moveTo>
                  <a:lnTo>
                    <a:pt x="20" y="41"/>
                  </a:lnTo>
                  <a:lnTo>
                    <a:pt x="20" y="20"/>
                  </a:lnTo>
                  <a:lnTo>
                    <a:pt x="20" y="0"/>
                  </a:lnTo>
                  <a:lnTo>
                    <a:pt x="0" y="0"/>
                  </a:lnTo>
                  <a:cubicBezTo>
                    <a:pt x="0" y="20"/>
                    <a:pt x="0" y="20"/>
                    <a:pt x="0" y="20"/>
                  </a:cubicBezTo>
                  <a:lnTo>
                    <a:pt x="0" y="41"/>
                  </a:lnTo>
                  <a:cubicBezTo>
                    <a:pt x="20" y="41"/>
                    <a:pt x="20"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2" name="Freeform 99">
              <a:extLst>
                <a:ext uri="{FF2B5EF4-FFF2-40B4-BE49-F238E27FC236}">
                  <a16:creationId xmlns:a16="http://schemas.microsoft.com/office/drawing/2014/main" id="{3F26D794-A32C-3B4A-A815-11AB129086D4}"/>
                </a:ext>
              </a:extLst>
            </p:cNvPr>
            <p:cNvSpPr>
              <a:spLocks noChangeArrowheads="1"/>
            </p:cNvSpPr>
            <p:nvPr/>
          </p:nvSpPr>
          <p:spPr bwMode="auto">
            <a:xfrm>
              <a:off x="6784975" y="5048250"/>
              <a:ext cx="15875" cy="22225"/>
            </a:xfrm>
            <a:custGeom>
              <a:avLst/>
              <a:gdLst>
                <a:gd name="T0" fmla="*/ 41 w 42"/>
                <a:gd name="T1" fmla="*/ 41 h 62"/>
                <a:gd name="T2" fmla="*/ 41 w 42"/>
                <a:gd name="T3" fmla="*/ 41 h 62"/>
                <a:gd name="T4" fmla="*/ 21 w 42"/>
                <a:gd name="T5" fmla="*/ 41 h 62"/>
                <a:gd name="T6" fmla="*/ 21 w 42"/>
                <a:gd name="T7" fmla="*/ 0 h 62"/>
                <a:gd name="T8" fmla="*/ 41 w 42"/>
                <a:gd name="T9" fmla="*/ 0 h 62"/>
                <a:gd name="T10" fmla="*/ 41 w 42"/>
                <a:gd name="T11" fmla="*/ 20 h 62"/>
                <a:gd name="T12" fmla="*/ 41 w 42"/>
                <a:gd name="T13" fmla="*/ 41 h 62"/>
              </a:gdLst>
              <a:ahLst/>
              <a:cxnLst>
                <a:cxn ang="0">
                  <a:pos x="T0" y="T1"/>
                </a:cxn>
                <a:cxn ang="0">
                  <a:pos x="T2" y="T3"/>
                </a:cxn>
                <a:cxn ang="0">
                  <a:pos x="T4" y="T5"/>
                </a:cxn>
                <a:cxn ang="0">
                  <a:pos x="T6" y="T7"/>
                </a:cxn>
                <a:cxn ang="0">
                  <a:pos x="T8" y="T9"/>
                </a:cxn>
                <a:cxn ang="0">
                  <a:pos x="T10" y="T11"/>
                </a:cxn>
                <a:cxn ang="0">
                  <a:pos x="T12" y="T13"/>
                </a:cxn>
              </a:cxnLst>
              <a:rect l="0" t="0" r="r" b="b"/>
              <a:pathLst>
                <a:path w="42" h="62">
                  <a:moveTo>
                    <a:pt x="41" y="41"/>
                  </a:moveTo>
                  <a:lnTo>
                    <a:pt x="41" y="41"/>
                  </a:lnTo>
                  <a:cubicBezTo>
                    <a:pt x="41" y="61"/>
                    <a:pt x="21" y="41"/>
                    <a:pt x="21" y="41"/>
                  </a:cubicBezTo>
                  <a:cubicBezTo>
                    <a:pt x="21" y="20"/>
                    <a:pt x="0" y="0"/>
                    <a:pt x="21" y="0"/>
                  </a:cubicBezTo>
                  <a:lnTo>
                    <a:pt x="41" y="0"/>
                  </a:lnTo>
                  <a:lnTo>
                    <a:pt x="41" y="20"/>
                  </a:lnTo>
                  <a:lnTo>
                    <a:pt x="4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3" name="Freeform 100">
              <a:extLst>
                <a:ext uri="{FF2B5EF4-FFF2-40B4-BE49-F238E27FC236}">
                  <a16:creationId xmlns:a16="http://schemas.microsoft.com/office/drawing/2014/main" id="{338FE713-1E85-524E-9AF2-FC74E1B1F22C}"/>
                </a:ext>
              </a:extLst>
            </p:cNvPr>
            <p:cNvSpPr>
              <a:spLocks noChangeArrowheads="1"/>
            </p:cNvSpPr>
            <p:nvPr/>
          </p:nvSpPr>
          <p:spPr bwMode="auto">
            <a:xfrm>
              <a:off x="6792913" y="5084763"/>
              <a:ext cx="15875" cy="15875"/>
            </a:xfrm>
            <a:custGeom>
              <a:avLst/>
              <a:gdLst>
                <a:gd name="T0" fmla="*/ 20 w 42"/>
                <a:gd name="T1" fmla="*/ 0 h 42"/>
                <a:gd name="T2" fmla="*/ 20 w 42"/>
                <a:gd name="T3" fmla="*/ 0 h 42"/>
                <a:gd name="T4" fmla="*/ 0 w 42"/>
                <a:gd name="T5" fmla="*/ 0 h 42"/>
                <a:gd name="T6" fmla="*/ 0 w 42"/>
                <a:gd name="T7" fmla="*/ 21 h 42"/>
                <a:gd name="T8" fmla="*/ 20 w 42"/>
                <a:gd name="T9" fmla="*/ 41 h 42"/>
                <a:gd name="T10" fmla="*/ 41 w 42"/>
                <a:gd name="T11" fmla="*/ 21 h 42"/>
                <a:gd name="T12" fmla="*/ 20 w 4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0"/>
                  </a:moveTo>
                  <a:lnTo>
                    <a:pt x="20" y="0"/>
                  </a:lnTo>
                  <a:lnTo>
                    <a:pt x="0" y="0"/>
                  </a:lnTo>
                  <a:lnTo>
                    <a:pt x="0" y="21"/>
                  </a:lnTo>
                  <a:lnTo>
                    <a:pt x="20" y="41"/>
                  </a:lnTo>
                  <a:lnTo>
                    <a:pt x="41" y="21"/>
                  </a:lnTo>
                  <a:cubicBezTo>
                    <a:pt x="20" y="0"/>
                    <a:pt x="2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4" name="Freeform 101">
              <a:extLst>
                <a:ext uri="{FF2B5EF4-FFF2-40B4-BE49-F238E27FC236}">
                  <a16:creationId xmlns:a16="http://schemas.microsoft.com/office/drawing/2014/main" id="{CF99F1F5-BF7A-BD47-9345-4FE78F7F1B73}"/>
                </a:ext>
              </a:extLst>
            </p:cNvPr>
            <p:cNvSpPr>
              <a:spLocks noChangeArrowheads="1"/>
            </p:cNvSpPr>
            <p:nvPr/>
          </p:nvSpPr>
          <p:spPr bwMode="auto">
            <a:xfrm>
              <a:off x="6815138" y="5099050"/>
              <a:ext cx="7937" cy="15875"/>
            </a:xfrm>
            <a:custGeom>
              <a:avLst/>
              <a:gdLst>
                <a:gd name="T0" fmla="*/ 0 w 22"/>
                <a:gd name="T1" fmla="*/ 0 h 42"/>
                <a:gd name="T2" fmla="*/ 0 w 22"/>
                <a:gd name="T3" fmla="*/ 0 h 42"/>
                <a:gd name="T4" fmla="*/ 0 w 22"/>
                <a:gd name="T5" fmla="*/ 21 h 42"/>
                <a:gd name="T6" fmla="*/ 21 w 22"/>
                <a:gd name="T7" fmla="*/ 41 h 42"/>
                <a:gd name="T8" fmla="*/ 21 w 22"/>
                <a:gd name="T9" fmla="*/ 21 h 42"/>
                <a:gd name="T10" fmla="*/ 21 w 22"/>
                <a:gd name="T11" fmla="*/ 21 h 42"/>
                <a:gd name="T12" fmla="*/ 0 w 2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0" y="0"/>
                  </a:moveTo>
                  <a:lnTo>
                    <a:pt x="0" y="0"/>
                  </a:lnTo>
                  <a:lnTo>
                    <a:pt x="0" y="21"/>
                  </a:lnTo>
                  <a:lnTo>
                    <a:pt x="21" y="41"/>
                  </a:lnTo>
                  <a:cubicBezTo>
                    <a:pt x="21" y="41"/>
                    <a:pt x="21" y="41"/>
                    <a:pt x="21" y="21"/>
                  </a:cubicBezTo>
                  <a:lnTo>
                    <a:pt x="21" y="21"/>
                  </a:lnTo>
                  <a:cubicBezTo>
                    <a:pt x="21"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5" name="Freeform 102">
              <a:extLst>
                <a:ext uri="{FF2B5EF4-FFF2-40B4-BE49-F238E27FC236}">
                  <a16:creationId xmlns:a16="http://schemas.microsoft.com/office/drawing/2014/main" id="{1667F7A1-9A40-CA4D-8262-7F7D1605F2CA}"/>
                </a:ext>
              </a:extLst>
            </p:cNvPr>
            <p:cNvSpPr>
              <a:spLocks noChangeArrowheads="1"/>
            </p:cNvSpPr>
            <p:nvPr/>
          </p:nvSpPr>
          <p:spPr bwMode="auto">
            <a:xfrm>
              <a:off x="6505575" y="4125913"/>
              <a:ext cx="317500" cy="361950"/>
            </a:xfrm>
            <a:custGeom>
              <a:avLst/>
              <a:gdLst>
                <a:gd name="T0" fmla="*/ 328 w 882"/>
                <a:gd name="T1" fmla="*/ 902 h 1006"/>
                <a:gd name="T2" fmla="*/ 286 w 882"/>
                <a:gd name="T3" fmla="*/ 964 h 1006"/>
                <a:gd name="T4" fmla="*/ 246 w 882"/>
                <a:gd name="T5" fmla="*/ 1005 h 1006"/>
                <a:gd name="T6" fmla="*/ 184 w 882"/>
                <a:gd name="T7" fmla="*/ 943 h 1006"/>
                <a:gd name="T8" fmla="*/ 204 w 882"/>
                <a:gd name="T9" fmla="*/ 902 h 1006"/>
                <a:gd name="T10" fmla="*/ 225 w 882"/>
                <a:gd name="T11" fmla="*/ 882 h 1006"/>
                <a:gd name="T12" fmla="*/ 164 w 882"/>
                <a:gd name="T13" fmla="*/ 820 h 1006"/>
                <a:gd name="T14" fmla="*/ 102 w 882"/>
                <a:gd name="T15" fmla="*/ 759 h 1006"/>
                <a:gd name="T16" fmla="*/ 82 w 882"/>
                <a:gd name="T17" fmla="*/ 718 h 1006"/>
                <a:gd name="T18" fmla="*/ 143 w 882"/>
                <a:gd name="T19" fmla="*/ 656 h 1006"/>
                <a:gd name="T20" fmla="*/ 102 w 882"/>
                <a:gd name="T21" fmla="*/ 574 h 1006"/>
                <a:gd name="T22" fmla="*/ 122 w 882"/>
                <a:gd name="T23" fmla="*/ 533 h 1006"/>
                <a:gd name="T24" fmla="*/ 184 w 882"/>
                <a:gd name="T25" fmla="*/ 574 h 1006"/>
                <a:gd name="T26" fmla="*/ 246 w 882"/>
                <a:gd name="T27" fmla="*/ 533 h 1006"/>
                <a:gd name="T28" fmla="*/ 204 w 882"/>
                <a:gd name="T29" fmla="*/ 472 h 1006"/>
                <a:gd name="T30" fmla="*/ 164 w 882"/>
                <a:gd name="T31" fmla="*/ 308 h 1006"/>
                <a:gd name="T32" fmla="*/ 102 w 882"/>
                <a:gd name="T33" fmla="*/ 185 h 1006"/>
                <a:gd name="T34" fmla="*/ 20 w 882"/>
                <a:gd name="T35" fmla="*/ 82 h 1006"/>
                <a:gd name="T36" fmla="*/ 0 w 882"/>
                <a:gd name="T37" fmla="*/ 21 h 1006"/>
                <a:gd name="T38" fmla="*/ 82 w 882"/>
                <a:gd name="T39" fmla="*/ 21 h 1006"/>
                <a:gd name="T40" fmla="*/ 143 w 882"/>
                <a:gd name="T41" fmla="*/ 62 h 1006"/>
                <a:gd name="T42" fmla="*/ 225 w 882"/>
                <a:gd name="T43" fmla="*/ 124 h 1006"/>
                <a:gd name="T44" fmla="*/ 328 w 882"/>
                <a:gd name="T45" fmla="*/ 206 h 1006"/>
                <a:gd name="T46" fmla="*/ 410 w 882"/>
                <a:gd name="T47" fmla="*/ 246 h 1006"/>
                <a:gd name="T48" fmla="*/ 492 w 882"/>
                <a:gd name="T49" fmla="*/ 288 h 1006"/>
                <a:gd name="T50" fmla="*/ 532 w 882"/>
                <a:gd name="T51" fmla="*/ 288 h 1006"/>
                <a:gd name="T52" fmla="*/ 574 w 882"/>
                <a:gd name="T53" fmla="*/ 267 h 1006"/>
                <a:gd name="T54" fmla="*/ 594 w 882"/>
                <a:gd name="T55" fmla="*/ 328 h 1006"/>
                <a:gd name="T56" fmla="*/ 656 w 882"/>
                <a:gd name="T57" fmla="*/ 328 h 1006"/>
                <a:gd name="T58" fmla="*/ 696 w 882"/>
                <a:gd name="T59" fmla="*/ 267 h 1006"/>
                <a:gd name="T60" fmla="*/ 717 w 882"/>
                <a:gd name="T61" fmla="*/ 267 h 1006"/>
                <a:gd name="T62" fmla="*/ 737 w 882"/>
                <a:gd name="T63" fmla="*/ 349 h 1006"/>
                <a:gd name="T64" fmla="*/ 778 w 882"/>
                <a:gd name="T65" fmla="*/ 431 h 1006"/>
                <a:gd name="T66" fmla="*/ 819 w 882"/>
                <a:gd name="T67" fmla="*/ 472 h 1006"/>
                <a:gd name="T68" fmla="*/ 860 w 882"/>
                <a:gd name="T69" fmla="*/ 452 h 1006"/>
                <a:gd name="T70" fmla="*/ 860 w 882"/>
                <a:gd name="T71" fmla="*/ 513 h 1006"/>
                <a:gd name="T72" fmla="*/ 819 w 882"/>
                <a:gd name="T73" fmla="*/ 554 h 1006"/>
                <a:gd name="T74" fmla="*/ 778 w 882"/>
                <a:gd name="T75" fmla="*/ 574 h 1006"/>
                <a:gd name="T76" fmla="*/ 717 w 882"/>
                <a:gd name="T77" fmla="*/ 574 h 1006"/>
                <a:gd name="T78" fmla="*/ 656 w 882"/>
                <a:gd name="T79" fmla="*/ 615 h 1006"/>
                <a:gd name="T80" fmla="*/ 656 w 882"/>
                <a:gd name="T81" fmla="*/ 656 h 1006"/>
                <a:gd name="T82" fmla="*/ 656 w 882"/>
                <a:gd name="T83" fmla="*/ 738 h 1006"/>
                <a:gd name="T84" fmla="*/ 696 w 882"/>
                <a:gd name="T85" fmla="*/ 820 h 1006"/>
                <a:gd name="T86" fmla="*/ 635 w 882"/>
                <a:gd name="T87" fmla="*/ 841 h 1006"/>
                <a:gd name="T88" fmla="*/ 553 w 882"/>
                <a:gd name="T89" fmla="*/ 800 h 1006"/>
                <a:gd name="T90" fmla="*/ 471 w 882"/>
                <a:gd name="T91" fmla="*/ 738 h 1006"/>
                <a:gd name="T92" fmla="*/ 368 w 882"/>
                <a:gd name="T93" fmla="*/ 718 h 1006"/>
                <a:gd name="T94" fmla="*/ 307 w 882"/>
                <a:gd name="T95" fmla="*/ 759 h 1006"/>
                <a:gd name="T96" fmla="*/ 225 w 882"/>
                <a:gd name="T97" fmla="*/ 738 h 1006"/>
                <a:gd name="T98" fmla="*/ 204 w 882"/>
                <a:gd name="T99" fmla="*/ 800 h 1006"/>
                <a:gd name="T100" fmla="*/ 307 w 882"/>
                <a:gd name="T101" fmla="*/ 820 h 1006"/>
                <a:gd name="T102" fmla="*/ 368 w 882"/>
                <a:gd name="T103" fmla="*/ 882 h 10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2" h="1006">
                  <a:moveTo>
                    <a:pt x="368" y="902"/>
                  </a:moveTo>
                  <a:lnTo>
                    <a:pt x="368" y="902"/>
                  </a:lnTo>
                  <a:cubicBezTo>
                    <a:pt x="348" y="902"/>
                    <a:pt x="348" y="902"/>
                    <a:pt x="328" y="902"/>
                  </a:cubicBezTo>
                  <a:lnTo>
                    <a:pt x="307" y="923"/>
                  </a:lnTo>
                  <a:lnTo>
                    <a:pt x="286" y="943"/>
                  </a:lnTo>
                  <a:lnTo>
                    <a:pt x="286" y="964"/>
                  </a:lnTo>
                  <a:cubicBezTo>
                    <a:pt x="286" y="984"/>
                    <a:pt x="286" y="984"/>
                    <a:pt x="286" y="984"/>
                  </a:cubicBezTo>
                  <a:cubicBezTo>
                    <a:pt x="266" y="984"/>
                    <a:pt x="266" y="1005"/>
                    <a:pt x="266" y="1005"/>
                  </a:cubicBezTo>
                  <a:lnTo>
                    <a:pt x="246" y="1005"/>
                  </a:lnTo>
                  <a:cubicBezTo>
                    <a:pt x="246" y="1005"/>
                    <a:pt x="246" y="984"/>
                    <a:pt x="246" y="964"/>
                  </a:cubicBezTo>
                  <a:cubicBezTo>
                    <a:pt x="225" y="964"/>
                    <a:pt x="225" y="964"/>
                    <a:pt x="204" y="964"/>
                  </a:cubicBezTo>
                  <a:cubicBezTo>
                    <a:pt x="204" y="943"/>
                    <a:pt x="184" y="943"/>
                    <a:pt x="184" y="943"/>
                  </a:cubicBezTo>
                  <a:lnTo>
                    <a:pt x="184" y="923"/>
                  </a:lnTo>
                  <a:lnTo>
                    <a:pt x="184" y="902"/>
                  </a:lnTo>
                  <a:lnTo>
                    <a:pt x="204" y="902"/>
                  </a:lnTo>
                  <a:lnTo>
                    <a:pt x="225" y="902"/>
                  </a:lnTo>
                  <a:lnTo>
                    <a:pt x="246" y="902"/>
                  </a:lnTo>
                  <a:cubicBezTo>
                    <a:pt x="246" y="902"/>
                    <a:pt x="246" y="882"/>
                    <a:pt x="225" y="882"/>
                  </a:cubicBezTo>
                  <a:cubicBezTo>
                    <a:pt x="225" y="882"/>
                    <a:pt x="225" y="861"/>
                    <a:pt x="204" y="861"/>
                  </a:cubicBezTo>
                  <a:lnTo>
                    <a:pt x="184" y="841"/>
                  </a:lnTo>
                  <a:cubicBezTo>
                    <a:pt x="184" y="820"/>
                    <a:pt x="164" y="820"/>
                    <a:pt x="164" y="820"/>
                  </a:cubicBezTo>
                  <a:cubicBezTo>
                    <a:pt x="143" y="820"/>
                    <a:pt x="143" y="820"/>
                    <a:pt x="122" y="820"/>
                  </a:cubicBezTo>
                  <a:cubicBezTo>
                    <a:pt x="122" y="800"/>
                    <a:pt x="122" y="800"/>
                    <a:pt x="122" y="779"/>
                  </a:cubicBezTo>
                  <a:lnTo>
                    <a:pt x="102" y="759"/>
                  </a:lnTo>
                  <a:cubicBezTo>
                    <a:pt x="102" y="759"/>
                    <a:pt x="82" y="759"/>
                    <a:pt x="82" y="738"/>
                  </a:cubicBezTo>
                  <a:cubicBezTo>
                    <a:pt x="82" y="738"/>
                    <a:pt x="82" y="738"/>
                    <a:pt x="82" y="718"/>
                  </a:cubicBezTo>
                  <a:lnTo>
                    <a:pt x="82" y="718"/>
                  </a:lnTo>
                  <a:cubicBezTo>
                    <a:pt x="102" y="718"/>
                    <a:pt x="102" y="718"/>
                    <a:pt x="102" y="718"/>
                  </a:cubicBezTo>
                  <a:cubicBezTo>
                    <a:pt x="122" y="718"/>
                    <a:pt x="122" y="697"/>
                    <a:pt x="122" y="677"/>
                  </a:cubicBezTo>
                  <a:cubicBezTo>
                    <a:pt x="122" y="677"/>
                    <a:pt x="143" y="677"/>
                    <a:pt x="143" y="656"/>
                  </a:cubicBezTo>
                  <a:lnTo>
                    <a:pt x="143" y="636"/>
                  </a:lnTo>
                  <a:cubicBezTo>
                    <a:pt x="143" y="615"/>
                    <a:pt x="122" y="615"/>
                    <a:pt x="122" y="595"/>
                  </a:cubicBezTo>
                  <a:cubicBezTo>
                    <a:pt x="122" y="595"/>
                    <a:pt x="102" y="595"/>
                    <a:pt x="102" y="574"/>
                  </a:cubicBezTo>
                  <a:cubicBezTo>
                    <a:pt x="102" y="574"/>
                    <a:pt x="102" y="574"/>
                    <a:pt x="102" y="554"/>
                  </a:cubicBezTo>
                  <a:lnTo>
                    <a:pt x="102" y="533"/>
                  </a:lnTo>
                  <a:lnTo>
                    <a:pt x="122" y="533"/>
                  </a:lnTo>
                  <a:cubicBezTo>
                    <a:pt x="122" y="533"/>
                    <a:pt x="143" y="533"/>
                    <a:pt x="143" y="554"/>
                  </a:cubicBezTo>
                  <a:cubicBezTo>
                    <a:pt x="143" y="554"/>
                    <a:pt x="164" y="554"/>
                    <a:pt x="164" y="574"/>
                  </a:cubicBezTo>
                  <a:lnTo>
                    <a:pt x="184" y="574"/>
                  </a:lnTo>
                  <a:cubicBezTo>
                    <a:pt x="184" y="574"/>
                    <a:pt x="184" y="554"/>
                    <a:pt x="204" y="554"/>
                  </a:cubicBezTo>
                  <a:lnTo>
                    <a:pt x="225" y="554"/>
                  </a:lnTo>
                  <a:cubicBezTo>
                    <a:pt x="225" y="554"/>
                    <a:pt x="246" y="554"/>
                    <a:pt x="246" y="533"/>
                  </a:cubicBezTo>
                  <a:lnTo>
                    <a:pt x="225" y="513"/>
                  </a:lnTo>
                  <a:cubicBezTo>
                    <a:pt x="225" y="513"/>
                    <a:pt x="204" y="513"/>
                    <a:pt x="204" y="492"/>
                  </a:cubicBezTo>
                  <a:lnTo>
                    <a:pt x="204" y="472"/>
                  </a:lnTo>
                  <a:cubicBezTo>
                    <a:pt x="184" y="452"/>
                    <a:pt x="204" y="410"/>
                    <a:pt x="204" y="410"/>
                  </a:cubicBezTo>
                  <a:cubicBezTo>
                    <a:pt x="204" y="390"/>
                    <a:pt x="184" y="370"/>
                    <a:pt x="184" y="370"/>
                  </a:cubicBezTo>
                  <a:cubicBezTo>
                    <a:pt x="184" y="349"/>
                    <a:pt x="164" y="328"/>
                    <a:pt x="164" y="308"/>
                  </a:cubicBezTo>
                  <a:lnTo>
                    <a:pt x="143" y="267"/>
                  </a:lnTo>
                  <a:cubicBezTo>
                    <a:pt x="143" y="246"/>
                    <a:pt x="143" y="226"/>
                    <a:pt x="122" y="226"/>
                  </a:cubicBezTo>
                  <a:cubicBezTo>
                    <a:pt x="122" y="206"/>
                    <a:pt x="102" y="185"/>
                    <a:pt x="102" y="185"/>
                  </a:cubicBezTo>
                  <a:cubicBezTo>
                    <a:pt x="102" y="164"/>
                    <a:pt x="82" y="144"/>
                    <a:pt x="82" y="144"/>
                  </a:cubicBezTo>
                  <a:cubicBezTo>
                    <a:pt x="61" y="124"/>
                    <a:pt x="61" y="103"/>
                    <a:pt x="40" y="103"/>
                  </a:cubicBezTo>
                  <a:cubicBezTo>
                    <a:pt x="40" y="82"/>
                    <a:pt x="20" y="82"/>
                    <a:pt x="20" y="82"/>
                  </a:cubicBezTo>
                  <a:cubicBezTo>
                    <a:pt x="20" y="82"/>
                    <a:pt x="0" y="82"/>
                    <a:pt x="0" y="62"/>
                  </a:cubicBezTo>
                  <a:lnTo>
                    <a:pt x="0" y="42"/>
                  </a:lnTo>
                  <a:lnTo>
                    <a:pt x="0" y="21"/>
                  </a:lnTo>
                  <a:cubicBezTo>
                    <a:pt x="20" y="21"/>
                    <a:pt x="20" y="0"/>
                    <a:pt x="20" y="0"/>
                  </a:cubicBezTo>
                  <a:cubicBezTo>
                    <a:pt x="40" y="0"/>
                    <a:pt x="61" y="0"/>
                    <a:pt x="61" y="0"/>
                  </a:cubicBezTo>
                  <a:cubicBezTo>
                    <a:pt x="82" y="0"/>
                    <a:pt x="82" y="21"/>
                    <a:pt x="82" y="21"/>
                  </a:cubicBezTo>
                  <a:lnTo>
                    <a:pt x="102" y="42"/>
                  </a:lnTo>
                  <a:cubicBezTo>
                    <a:pt x="102" y="62"/>
                    <a:pt x="102" y="62"/>
                    <a:pt x="102" y="62"/>
                  </a:cubicBezTo>
                  <a:cubicBezTo>
                    <a:pt x="122" y="62"/>
                    <a:pt x="122" y="62"/>
                    <a:pt x="143" y="62"/>
                  </a:cubicBezTo>
                  <a:cubicBezTo>
                    <a:pt x="143" y="82"/>
                    <a:pt x="164" y="82"/>
                    <a:pt x="184" y="82"/>
                  </a:cubicBezTo>
                  <a:cubicBezTo>
                    <a:pt x="184" y="82"/>
                    <a:pt x="204" y="82"/>
                    <a:pt x="204" y="103"/>
                  </a:cubicBezTo>
                  <a:cubicBezTo>
                    <a:pt x="225" y="103"/>
                    <a:pt x="225" y="103"/>
                    <a:pt x="225" y="124"/>
                  </a:cubicBezTo>
                  <a:cubicBezTo>
                    <a:pt x="246" y="124"/>
                    <a:pt x="266" y="144"/>
                    <a:pt x="266" y="144"/>
                  </a:cubicBezTo>
                  <a:cubicBezTo>
                    <a:pt x="286" y="164"/>
                    <a:pt x="307" y="185"/>
                    <a:pt x="307" y="185"/>
                  </a:cubicBezTo>
                  <a:cubicBezTo>
                    <a:pt x="307" y="185"/>
                    <a:pt x="307" y="206"/>
                    <a:pt x="328" y="206"/>
                  </a:cubicBezTo>
                  <a:lnTo>
                    <a:pt x="348" y="226"/>
                  </a:lnTo>
                  <a:cubicBezTo>
                    <a:pt x="348" y="226"/>
                    <a:pt x="368" y="226"/>
                    <a:pt x="389" y="226"/>
                  </a:cubicBezTo>
                  <a:cubicBezTo>
                    <a:pt x="389" y="246"/>
                    <a:pt x="410" y="246"/>
                    <a:pt x="410" y="246"/>
                  </a:cubicBezTo>
                  <a:lnTo>
                    <a:pt x="430" y="267"/>
                  </a:lnTo>
                  <a:cubicBezTo>
                    <a:pt x="450" y="267"/>
                    <a:pt x="450" y="267"/>
                    <a:pt x="471" y="267"/>
                  </a:cubicBezTo>
                  <a:cubicBezTo>
                    <a:pt x="471" y="267"/>
                    <a:pt x="492" y="267"/>
                    <a:pt x="492" y="288"/>
                  </a:cubicBezTo>
                  <a:lnTo>
                    <a:pt x="512" y="288"/>
                  </a:lnTo>
                  <a:lnTo>
                    <a:pt x="512" y="288"/>
                  </a:lnTo>
                  <a:cubicBezTo>
                    <a:pt x="512" y="308"/>
                    <a:pt x="532" y="308"/>
                    <a:pt x="532" y="288"/>
                  </a:cubicBezTo>
                  <a:lnTo>
                    <a:pt x="532" y="288"/>
                  </a:lnTo>
                  <a:lnTo>
                    <a:pt x="553" y="267"/>
                  </a:lnTo>
                  <a:cubicBezTo>
                    <a:pt x="553" y="267"/>
                    <a:pt x="553" y="267"/>
                    <a:pt x="574" y="267"/>
                  </a:cubicBezTo>
                  <a:lnTo>
                    <a:pt x="574" y="288"/>
                  </a:lnTo>
                  <a:cubicBezTo>
                    <a:pt x="594" y="288"/>
                    <a:pt x="594" y="288"/>
                    <a:pt x="594" y="308"/>
                  </a:cubicBezTo>
                  <a:lnTo>
                    <a:pt x="594" y="328"/>
                  </a:lnTo>
                  <a:cubicBezTo>
                    <a:pt x="614" y="328"/>
                    <a:pt x="614" y="349"/>
                    <a:pt x="614" y="349"/>
                  </a:cubicBezTo>
                  <a:cubicBezTo>
                    <a:pt x="635" y="349"/>
                    <a:pt x="635" y="328"/>
                    <a:pt x="635" y="328"/>
                  </a:cubicBezTo>
                  <a:lnTo>
                    <a:pt x="656" y="328"/>
                  </a:lnTo>
                  <a:cubicBezTo>
                    <a:pt x="656" y="308"/>
                    <a:pt x="676" y="308"/>
                    <a:pt x="676" y="308"/>
                  </a:cubicBezTo>
                  <a:cubicBezTo>
                    <a:pt x="696" y="288"/>
                    <a:pt x="696" y="288"/>
                    <a:pt x="696" y="288"/>
                  </a:cubicBezTo>
                  <a:cubicBezTo>
                    <a:pt x="696" y="267"/>
                    <a:pt x="696" y="267"/>
                    <a:pt x="696" y="267"/>
                  </a:cubicBezTo>
                  <a:cubicBezTo>
                    <a:pt x="696" y="246"/>
                    <a:pt x="696" y="246"/>
                    <a:pt x="696" y="246"/>
                  </a:cubicBezTo>
                  <a:lnTo>
                    <a:pt x="696" y="246"/>
                  </a:lnTo>
                  <a:cubicBezTo>
                    <a:pt x="717" y="246"/>
                    <a:pt x="717" y="246"/>
                    <a:pt x="717" y="267"/>
                  </a:cubicBezTo>
                  <a:cubicBezTo>
                    <a:pt x="717" y="267"/>
                    <a:pt x="717" y="267"/>
                    <a:pt x="717" y="288"/>
                  </a:cubicBezTo>
                  <a:lnTo>
                    <a:pt x="737" y="308"/>
                  </a:lnTo>
                  <a:cubicBezTo>
                    <a:pt x="737" y="328"/>
                    <a:pt x="737" y="349"/>
                    <a:pt x="737" y="349"/>
                  </a:cubicBezTo>
                  <a:cubicBezTo>
                    <a:pt x="737" y="370"/>
                    <a:pt x="737" y="370"/>
                    <a:pt x="737" y="370"/>
                  </a:cubicBezTo>
                  <a:cubicBezTo>
                    <a:pt x="758" y="390"/>
                    <a:pt x="758" y="390"/>
                    <a:pt x="758" y="390"/>
                  </a:cubicBezTo>
                  <a:cubicBezTo>
                    <a:pt x="758" y="410"/>
                    <a:pt x="778" y="431"/>
                    <a:pt x="778" y="431"/>
                  </a:cubicBezTo>
                  <a:lnTo>
                    <a:pt x="799" y="452"/>
                  </a:lnTo>
                  <a:lnTo>
                    <a:pt x="799" y="472"/>
                  </a:lnTo>
                  <a:cubicBezTo>
                    <a:pt x="819" y="472"/>
                    <a:pt x="819" y="472"/>
                    <a:pt x="819" y="472"/>
                  </a:cubicBezTo>
                  <a:cubicBezTo>
                    <a:pt x="819" y="472"/>
                    <a:pt x="819" y="472"/>
                    <a:pt x="840" y="452"/>
                  </a:cubicBezTo>
                  <a:lnTo>
                    <a:pt x="840" y="452"/>
                  </a:lnTo>
                  <a:lnTo>
                    <a:pt x="860" y="452"/>
                  </a:lnTo>
                  <a:cubicBezTo>
                    <a:pt x="860" y="472"/>
                    <a:pt x="881" y="472"/>
                    <a:pt x="881" y="492"/>
                  </a:cubicBezTo>
                  <a:cubicBezTo>
                    <a:pt x="881" y="492"/>
                    <a:pt x="881" y="492"/>
                    <a:pt x="860" y="513"/>
                  </a:cubicBezTo>
                  <a:lnTo>
                    <a:pt x="860" y="513"/>
                  </a:lnTo>
                  <a:lnTo>
                    <a:pt x="840" y="513"/>
                  </a:lnTo>
                  <a:cubicBezTo>
                    <a:pt x="840" y="513"/>
                    <a:pt x="819" y="513"/>
                    <a:pt x="819" y="533"/>
                  </a:cubicBezTo>
                  <a:cubicBezTo>
                    <a:pt x="819" y="533"/>
                    <a:pt x="819" y="533"/>
                    <a:pt x="819" y="554"/>
                  </a:cubicBezTo>
                  <a:lnTo>
                    <a:pt x="819" y="554"/>
                  </a:lnTo>
                  <a:lnTo>
                    <a:pt x="799" y="554"/>
                  </a:lnTo>
                  <a:cubicBezTo>
                    <a:pt x="799" y="554"/>
                    <a:pt x="778" y="554"/>
                    <a:pt x="778" y="574"/>
                  </a:cubicBezTo>
                  <a:lnTo>
                    <a:pt x="778" y="574"/>
                  </a:lnTo>
                  <a:cubicBezTo>
                    <a:pt x="778" y="595"/>
                    <a:pt x="758" y="595"/>
                    <a:pt x="758" y="595"/>
                  </a:cubicBezTo>
                  <a:cubicBezTo>
                    <a:pt x="737" y="595"/>
                    <a:pt x="737" y="574"/>
                    <a:pt x="717" y="574"/>
                  </a:cubicBezTo>
                  <a:cubicBezTo>
                    <a:pt x="717" y="574"/>
                    <a:pt x="717" y="574"/>
                    <a:pt x="696" y="595"/>
                  </a:cubicBezTo>
                  <a:lnTo>
                    <a:pt x="676" y="595"/>
                  </a:lnTo>
                  <a:cubicBezTo>
                    <a:pt x="676" y="615"/>
                    <a:pt x="656" y="615"/>
                    <a:pt x="656" y="615"/>
                  </a:cubicBezTo>
                  <a:cubicBezTo>
                    <a:pt x="656" y="615"/>
                    <a:pt x="635" y="595"/>
                    <a:pt x="635" y="615"/>
                  </a:cubicBezTo>
                  <a:lnTo>
                    <a:pt x="635" y="615"/>
                  </a:lnTo>
                  <a:cubicBezTo>
                    <a:pt x="635" y="636"/>
                    <a:pt x="635" y="636"/>
                    <a:pt x="656" y="656"/>
                  </a:cubicBezTo>
                  <a:cubicBezTo>
                    <a:pt x="656" y="656"/>
                    <a:pt x="656" y="677"/>
                    <a:pt x="656" y="697"/>
                  </a:cubicBezTo>
                  <a:lnTo>
                    <a:pt x="656" y="718"/>
                  </a:lnTo>
                  <a:cubicBezTo>
                    <a:pt x="656" y="738"/>
                    <a:pt x="656" y="738"/>
                    <a:pt x="656" y="738"/>
                  </a:cubicBezTo>
                  <a:cubicBezTo>
                    <a:pt x="656" y="759"/>
                    <a:pt x="656" y="779"/>
                    <a:pt x="656" y="779"/>
                  </a:cubicBezTo>
                  <a:cubicBezTo>
                    <a:pt x="656" y="800"/>
                    <a:pt x="676" y="800"/>
                    <a:pt x="676" y="800"/>
                  </a:cubicBezTo>
                  <a:cubicBezTo>
                    <a:pt x="696" y="800"/>
                    <a:pt x="696" y="820"/>
                    <a:pt x="696" y="820"/>
                  </a:cubicBezTo>
                  <a:cubicBezTo>
                    <a:pt x="696" y="841"/>
                    <a:pt x="696" y="841"/>
                    <a:pt x="696" y="861"/>
                  </a:cubicBezTo>
                  <a:lnTo>
                    <a:pt x="676" y="861"/>
                  </a:lnTo>
                  <a:cubicBezTo>
                    <a:pt x="656" y="861"/>
                    <a:pt x="656" y="861"/>
                    <a:pt x="635" y="841"/>
                  </a:cubicBezTo>
                  <a:lnTo>
                    <a:pt x="614" y="820"/>
                  </a:lnTo>
                  <a:cubicBezTo>
                    <a:pt x="594" y="820"/>
                    <a:pt x="594" y="820"/>
                    <a:pt x="574" y="820"/>
                  </a:cubicBezTo>
                  <a:lnTo>
                    <a:pt x="553" y="800"/>
                  </a:lnTo>
                  <a:lnTo>
                    <a:pt x="532" y="779"/>
                  </a:lnTo>
                  <a:cubicBezTo>
                    <a:pt x="512" y="779"/>
                    <a:pt x="512" y="759"/>
                    <a:pt x="492" y="759"/>
                  </a:cubicBezTo>
                  <a:lnTo>
                    <a:pt x="471" y="738"/>
                  </a:lnTo>
                  <a:cubicBezTo>
                    <a:pt x="450" y="738"/>
                    <a:pt x="430" y="738"/>
                    <a:pt x="430" y="738"/>
                  </a:cubicBezTo>
                  <a:lnTo>
                    <a:pt x="410" y="718"/>
                  </a:lnTo>
                  <a:cubicBezTo>
                    <a:pt x="389" y="718"/>
                    <a:pt x="389" y="718"/>
                    <a:pt x="368" y="718"/>
                  </a:cubicBezTo>
                  <a:lnTo>
                    <a:pt x="348" y="718"/>
                  </a:lnTo>
                  <a:lnTo>
                    <a:pt x="328" y="738"/>
                  </a:lnTo>
                  <a:lnTo>
                    <a:pt x="307" y="759"/>
                  </a:lnTo>
                  <a:cubicBezTo>
                    <a:pt x="286" y="759"/>
                    <a:pt x="266" y="759"/>
                    <a:pt x="266" y="759"/>
                  </a:cubicBezTo>
                  <a:cubicBezTo>
                    <a:pt x="246" y="759"/>
                    <a:pt x="246" y="738"/>
                    <a:pt x="246" y="738"/>
                  </a:cubicBezTo>
                  <a:cubicBezTo>
                    <a:pt x="225" y="738"/>
                    <a:pt x="225" y="738"/>
                    <a:pt x="225" y="738"/>
                  </a:cubicBezTo>
                  <a:cubicBezTo>
                    <a:pt x="204" y="738"/>
                    <a:pt x="204" y="738"/>
                    <a:pt x="204" y="759"/>
                  </a:cubicBezTo>
                  <a:lnTo>
                    <a:pt x="204" y="779"/>
                  </a:lnTo>
                  <a:lnTo>
                    <a:pt x="204" y="800"/>
                  </a:lnTo>
                  <a:cubicBezTo>
                    <a:pt x="225" y="800"/>
                    <a:pt x="225" y="800"/>
                    <a:pt x="246" y="800"/>
                  </a:cubicBezTo>
                  <a:cubicBezTo>
                    <a:pt x="246" y="820"/>
                    <a:pt x="266" y="820"/>
                    <a:pt x="266" y="820"/>
                  </a:cubicBezTo>
                  <a:cubicBezTo>
                    <a:pt x="286" y="820"/>
                    <a:pt x="307" y="820"/>
                    <a:pt x="307" y="820"/>
                  </a:cubicBezTo>
                  <a:cubicBezTo>
                    <a:pt x="307" y="841"/>
                    <a:pt x="328" y="841"/>
                    <a:pt x="348" y="841"/>
                  </a:cubicBezTo>
                  <a:cubicBezTo>
                    <a:pt x="348" y="861"/>
                    <a:pt x="368" y="861"/>
                    <a:pt x="368" y="861"/>
                  </a:cubicBezTo>
                  <a:cubicBezTo>
                    <a:pt x="368" y="882"/>
                    <a:pt x="368" y="882"/>
                    <a:pt x="368" y="882"/>
                  </a:cubicBezTo>
                  <a:lnTo>
                    <a:pt x="368" y="90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6" name="Freeform 103">
              <a:extLst>
                <a:ext uri="{FF2B5EF4-FFF2-40B4-BE49-F238E27FC236}">
                  <a16:creationId xmlns:a16="http://schemas.microsoft.com/office/drawing/2014/main" id="{244DC3DD-707C-924F-A851-46562EC3E8BD}"/>
                </a:ext>
              </a:extLst>
            </p:cNvPr>
            <p:cNvSpPr>
              <a:spLocks noChangeArrowheads="1"/>
            </p:cNvSpPr>
            <p:nvPr/>
          </p:nvSpPr>
          <p:spPr bwMode="auto">
            <a:xfrm>
              <a:off x="6467475" y="4133850"/>
              <a:ext cx="22225" cy="22225"/>
            </a:xfrm>
            <a:custGeom>
              <a:avLst/>
              <a:gdLst>
                <a:gd name="T0" fmla="*/ 40 w 61"/>
                <a:gd name="T1" fmla="*/ 61 h 62"/>
                <a:gd name="T2" fmla="*/ 40 w 61"/>
                <a:gd name="T3" fmla="*/ 61 h 62"/>
                <a:gd name="T4" fmla="*/ 20 w 61"/>
                <a:gd name="T5" fmla="*/ 41 h 62"/>
                <a:gd name="T6" fmla="*/ 20 w 61"/>
                <a:gd name="T7" fmla="*/ 21 h 62"/>
                <a:gd name="T8" fmla="*/ 0 w 61"/>
                <a:gd name="T9" fmla="*/ 0 h 62"/>
                <a:gd name="T10" fmla="*/ 20 w 61"/>
                <a:gd name="T11" fmla="*/ 0 h 62"/>
                <a:gd name="T12" fmla="*/ 40 w 61"/>
                <a:gd name="T13" fmla="*/ 0 h 62"/>
                <a:gd name="T14" fmla="*/ 60 w 61"/>
                <a:gd name="T15" fmla="*/ 21 h 62"/>
                <a:gd name="T16" fmla="*/ 60 w 61"/>
                <a:gd name="T17" fmla="*/ 41 h 62"/>
                <a:gd name="T18" fmla="*/ 40 w 61"/>
                <a:gd name="T19"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2">
                  <a:moveTo>
                    <a:pt x="40" y="61"/>
                  </a:moveTo>
                  <a:lnTo>
                    <a:pt x="40" y="61"/>
                  </a:lnTo>
                  <a:cubicBezTo>
                    <a:pt x="40" y="61"/>
                    <a:pt x="40" y="41"/>
                    <a:pt x="20" y="41"/>
                  </a:cubicBezTo>
                  <a:lnTo>
                    <a:pt x="20" y="21"/>
                  </a:lnTo>
                  <a:cubicBezTo>
                    <a:pt x="20" y="21"/>
                    <a:pt x="0" y="21"/>
                    <a:pt x="0" y="0"/>
                  </a:cubicBezTo>
                  <a:lnTo>
                    <a:pt x="20" y="0"/>
                  </a:lnTo>
                  <a:lnTo>
                    <a:pt x="40" y="0"/>
                  </a:lnTo>
                  <a:cubicBezTo>
                    <a:pt x="40" y="0"/>
                    <a:pt x="40" y="21"/>
                    <a:pt x="60" y="21"/>
                  </a:cubicBezTo>
                  <a:lnTo>
                    <a:pt x="60" y="41"/>
                  </a:lnTo>
                  <a:cubicBezTo>
                    <a:pt x="60" y="41"/>
                    <a:pt x="60" y="61"/>
                    <a:pt x="40"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7" name="Freeform 104">
              <a:extLst>
                <a:ext uri="{FF2B5EF4-FFF2-40B4-BE49-F238E27FC236}">
                  <a16:creationId xmlns:a16="http://schemas.microsoft.com/office/drawing/2014/main" id="{6A450D46-D8A4-DF4A-A8BC-CA4C751C29C0}"/>
                </a:ext>
              </a:extLst>
            </p:cNvPr>
            <p:cNvSpPr>
              <a:spLocks noChangeArrowheads="1"/>
            </p:cNvSpPr>
            <p:nvPr/>
          </p:nvSpPr>
          <p:spPr bwMode="auto">
            <a:xfrm>
              <a:off x="6497638" y="4162425"/>
              <a:ext cx="15875" cy="7938"/>
            </a:xfrm>
            <a:custGeom>
              <a:avLst/>
              <a:gdLst>
                <a:gd name="T0" fmla="*/ 21 w 42"/>
                <a:gd name="T1" fmla="*/ 0 h 22"/>
                <a:gd name="T2" fmla="*/ 21 w 42"/>
                <a:gd name="T3" fmla="*/ 0 h 22"/>
                <a:gd name="T4" fmla="*/ 0 w 42"/>
                <a:gd name="T5" fmla="*/ 0 h 22"/>
                <a:gd name="T6" fmla="*/ 41 w 42"/>
                <a:gd name="T7" fmla="*/ 21 h 22"/>
                <a:gd name="T8" fmla="*/ 41 w 42"/>
                <a:gd name="T9" fmla="*/ 21 h 22"/>
                <a:gd name="T10" fmla="*/ 41 w 42"/>
                <a:gd name="T11" fmla="*/ 0 h 22"/>
                <a:gd name="T12" fmla="*/ 21 w 4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21" y="0"/>
                  </a:moveTo>
                  <a:lnTo>
                    <a:pt x="21" y="0"/>
                  </a:lnTo>
                  <a:cubicBezTo>
                    <a:pt x="0" y="0"/>
                    <a:pt x="0" y="0"/>
                    <a:pt x="0" y="0"/>
                  </a:cubicBezTo>
                  <a:cubicBezTo>
                    <a:pt x="21" y="21"/>
                    <a:pt x="21" y="21"/>
                    <a:pt x="41" y="21"/>
                  </a:cubicBezTo>
                  <a:lnTo>
                    <a:pt x="41" y="21"/>
                  </a:lnTo>
                  <a:lnTo>
                    <a:pt x="41" y="0"/>
                  </a:lnTo>
                  <a:cubicBezTo>
                    <a:pt x="41" y="0"/>
                    <a:pt x="4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8" name="Freeform 105">
              <a:extLst>
                <a:ext uri="{FF2B5EF4-FFF2-40B4-BE49-F238E27FC236}">
                  <a16:creationId xmlns:a16="http://schemas.microsoft.com/office/drawing/2014/main" id="{B3D6F18A-4031-094E-8C4A-4F0BAD644756}"/>
                </a:ext>
              </a:extLst>
            </p:cNvPr>
            <p:cNvSpPr>
              <a:spLocks noChangeArrowheads="1"/>
            </p:cNvSpPr>
            <p:nvPr/>
          </p:nvSpPr>
          <p:spPr bwMode="auto">
            <a:xfrm>
              <a:off x="6269038" y="4465638"/>
              <a:ext cx="576262" cy="950912"/>
            </a:xfrm>
            <a:custGeom>
              <a:avLst/>
              <a:gdLst>
                <a:gd name="T0" fmla="*/ 451 w 1599"/>
                <a:gd name="T1" fmla="*/ 2540 h 2643"/>
                <a:gd name="T2" fmla="*/ 410 w 1599"/>
                <a:gd name="T3" fmla="*/ 2602 h 2643"/>
                <a:gd name="T4" fmla="*/ 348 w 1599"/>
                <a:gd name="T5" fmla="*/ 2540 h 2643"/>
                <a:gd name="T6" fmla="*/ 328 w 1599"/>
                <a:gd name="T7" fmla="*/ 2458 h 2643"/>
                <a:gd name="T8" fmla="*/ 328 w 1599"/>
                <a:gd name="T9" fmla="*/ 2602 h 2643"/>
                <a:gd name="T10" fmla="*/ 246 w 1599"/>
                <a:gd name="T11" fmla="*/ 2581 h 2643"/>
                <a:gd name="T12" fmla="*/ 226 w 1599"/>
                <a:gd name="T13" fmla="*/ 2417 h 2643"/>
                <a:gd name="T14" fmla="*/ 328 w 1599"/>
                <a:gd name="T15" fmla="*/ 2335 h 2643"/>
                <a:gd name="T16" fmla="*/ 287 w 1599"/>
                <a:gd name="T17" fmla="*/ 2274 h 2643"/>
                <a:gd name="T18" fmla="*/ 184 w 1599"/>
                <a:gd name="T19" fmla="*/ 2192 h 2643"/>
                <a:gd name="T20" fmla="*/ 164 w 1599"/>
                <a:gd name="T21" fmla="*/ 2192 h 2643"/>
                <a:gd name="T22" fmla="*/ 144 w 1599"/>
                <a:gd name="T23" fmla="*/ 2233 h 2643"/>
                <a:gd name="T24" fmla="*/ 62 w 1599"/>
                <a:gd name="T25" fmla="*/ 2212 h 2643"/>
                <a:gd name="T26" fmla="*/ 41 w 1599"/>
                <a:gd name="T27" fmla="*/ 2130 h 2643"/>
                <a:gd name="T28" fmla="*/ 82 w 1599"/>
                <a:gd name="T29" fmla="*/ 2028 h 2643"/>
                <a:gd name="T30" fmla="*/ 102 w 1599"/>
                <a:gd name="T31" fmla="*/ 1864 h 2643"/>
                <a:gd name="T32" fmla="*/ 226 w 1599"/>
                <a:gd name="T33" fmla="*/ 1782 h 2643"/>
                <a:gd name="T34" fmla="*/ 328 w 1599"/>
                <a:gd name="T35" fmla="*/ 1577 h 2643"/>
                <a:gd name="T36" fmla="*/ 492 w 1599"/>
                <a:gd name="T37" fmla="*/ 1516 h 2643"/>
                <a:gd name="T38" fmla="*/ 656 w 1599"/>
                <a:gd name="T39" fmla="*/ 1496 h 2643"/>
                <a:gd name="T40" fmla="*/ 820 w 1599"/>
                <a:gd name="T41" fmla="*/ 1476 h 2643"/>
                <a:gd name="T42" fmla="*/ 840 w 1599"/>
                <a:gd name="T43" fmla="*/ 1250 h 2643"/>
                <a:gd name="T44" fmla="*/ 799 w 1599"/>
                <a:gd name="T45" fmla="*/ 1066 h 2643"/>
                <a:gd name="T46" fmla="*/ 860 w 1599"/>
                <a:gd name="T47" fmla="*/ 1086 h 2643"/>
                <a:gd name="T48" fmla="*/ 902 w 1599"/>
                <a:gd name="T49" fmla="*/ 1188 h 2643"/>
                <a:gd name="T50" fmla="*/ 1086 w 1599"/>
                <a:gd name="T51" fmla="*/ 1024 h 2643"/>
                <a:gd name="T52" fmla="*/ 1127 w 1599"/>
                <a:gd name="T53" fmla="*/ 861 h 2643"/>
                <a:gd name="T54" fmla="*/ 1086 w 1599"/>
                <a:gd name="T55" fmla="*/ 574 h 2643"/>
                <a:gd name="T56" fmla="*/ 1066 w 1599"/>
                <a:gd name="T57" fmla="*/ 390 h 2643"/>
                <a:gd name="T58" fmla="*/ 1024 w 1599"/>
                <a:gd name="T59" fmla="*/ 369 h 2643"/>
                <a:gd name="T60" fmla="*/ 963 w 1599"/>
                <a:gd name="T61" fmla="*/ 164 h 2643"/>
                <a:gd name="T62" fmla="*/ 1045 w 1599"/>
                <a:gd name="T63" fmla="*/ 144 h 2643"/>
                <a:gd name="T64" fmla="*/ 1127 w 1599"/>
                <a:gd name="T65" fmla="*/ 144 h 2643"/>
                <a:gd name="T66" fmla="*/ 1024 w 1599"/>
                <a:gd name="T67" fmla="*/ 41 h 2643"/>
                <a:gd name="T68" fmla="*/ 1106 w 1599"/>
                <a:gd name="T69" fmla="*/ 21 h 2643"/>
                <a:gd name="T70" fmla="*/ 1352 w 1599"/>
                <a:gd name="T71" fmla="*/ 369 h 2643"/>
                <a:gd name="T72" fmla="*/ 1434 w 1599"/>
                <a:gd name="T73" fmla="*/ 533 h 2643"/>
                <a:gd name="T74" fmla="*/ 1434 w 1599"/>
                <a:gd name="T75" fmla="*/ 697 h 2643"/>
                <a:gd name="T76" fmla="*/ 1475 w 1599"/>
                <a:gd name="T77" fmla="*/ 1004 h 2643"/>
                <a:gd name="T78" fmla="*/ 1598 w 1599"/>
                <a:gd name="T79" fmla="*/ 1373 h 2643"/>
                <a:gd name="T80" fmla="*/ 1557 w 1599"/>
                <a:gd name="T81" fmla="*/ 1537 h 2643"/>
                <a:gd name="T82" fmla="*/ 1455 w 1599"/>
                <a:gd name="T83" fmla="*/ 1476 h 2643"/>
                <a:gd name="T84" fmla="*/ 1393 w 1599"/>
                <a:gd name="T85" fmla="*/ 1679 h 2643"/>
                <a:gd name="T86" fmla="*/ 1312 w 1599"/>
                <a:gd name="T87" fmla="*/ 1558 h 2643"/>
                <a:gd name="T88" fmla="*/ 1250 w 1599"/>
                <a:gd name="T89" fmla="*/ 1700 h 2643"/>
                <a:gd name="T90" fmla="*/ 1066 w 1599"/>
                <a:gd name="T91" fmla="*/ 1679 h 2643"/>
                <a:gd name="T92" fmla="*/ 1045 w 1599"/>
                <a:gd name="T93" fmla="*/ 1597 h 2643"/>
                <a:gd name="T94" fmla="*/ 1066 w 1599"/>
                <a:gd name="T95" fmla="*/ 1761 h 2643"/>
                <a:gd name="T96" fmla="*/ 984 w 1599"/>
                <a:gd name="T97" fmla="*/ 1987 h 2643"/>
                <a:gd name="T98" fmla="*/ 840 w 1599"/>
                <a:gd name="T99" fmla="*/ 1884 h 2643"/>
                <a:gd name="T100" fmla="*/ 840 w 1599"/>
                <a:gd name="T101" fmla="*/ 1700 h 2643"/>
                <a:gd name="T102" fmla="*/ 533 w 1599"/>
                <a:gd name="T103" fmla="*/ 1802 h 2643"/>
                <a:gd name="T104" fmla="*/ 287 w 1599"/>
                <a:gd name="T105" fmla="*/ 1905 h 2643"/>
                <a:gd name="T106" fmla="*/ 348 w 1599"/>
                <a:gd name="T107" fmla="*/ 2007 h 2643"/>
                <a:gd name="T108" fmla="*/ 430 w 1599"/>
                <a:gd name="T109" fmla="*/ 2130 h 2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99" h="2643">
                  <a:moveTo>
                    <a:pt x="430" y="2376"/>
                  </a:moveTo>
                  <a:lnTo>
                    <a:pt x="430" y="2376"/>
                  </a:lnTo>
                  <a:cubicBezTo>
                    <a:pt x="430" y="2376"/>
                    <a:pt x="410" y="2417"/>
                    <a:pt x="430" y="2417"/>
                  </a:cubicBezTo>
                  <a:cubicBezTo>
                    <a:pt x="430" y="2438"/>
                    <a:pt x="430" y="2458"/>
                    <a:pt x="430" y="2458"/>
                  </a:cubicBezTo>
                  <a:cubicBezTo>
                    <a:pt x="451" y="2478"/>
                    <a:pt x="451" y="2499"/>
                    <a:pt x="451" y="2499"/>
                  </a:cubicBezTo>
                  <a:cubicBezTo>
                    <a:pt x="451" y="2520"/>
                    <a:pt x="451" y="2540"/>
                    <a:pt x="451" y="2540"/>
                  </a:cubicBezTo>
                  <a:cubicBezTo>
                    <a:pt x="451" y="2540"/>
                    <a:pt x="430" y="2560"/>
                    <a:pt x="430" y="2540"/>
                  </a:cubicBezTo>
                  <a:cubicBezTo>
                    <a:pt x="430" y="2540"/>
                    <a:pt x="430" y="2540"/>
                    <a:pt x="410" y="2540"/>
                  </a:cubicBezTo>
                  <a:cubicBezTo>
                    <a:pt x="410" y="2520"/>
                    <a:pt x="410" y="2540"/>
                    <a:pt x="410" y="2540"/>
                  </a:cubicBezTo>
                  <a:cubicBezTo>
                    <a:pt x="390" y="2540"/>
                    <a:pt x="390" y="2540"/>
                    <a:pt x="390" y="2560"/>
                  </a:cubicBezTo>
                  <a:lnTo>
                    <a:pt x="410" y="2560"/>
                  </a:lnTo>
                  <a:cubicBezTo>
                    <a:pt x="410" y="2581"/>
                    <a:pt x="410" y="2581"/>
                    <a:pt x="410" y="2602"/>
                  </a:cubicBezTo>
                  <a:cubicBezTo>
                    <a:pt x="410" y="2602"/>
                    <a:pt x="390" y="2602"/>
                    <a:pt x="390" y="2622"/>
                  </a:cubicBezTo>
                  <a:cubicBezTo>
                    <a:pt x="390" y="2622"/>
                    <a:pt x="390" y="2622"/>
                    <a:pt x="369" y="2642"/>
                  </a:cubicBezTo>
                  <a:cubicBezTo>
                    <a:pt x="369" y="2642"/>
                    <a:pt x="369" y="2642"/>
                    <a:pt x="369" y="2622"/>
                  </a:cubicBezTo>
                  <a:cubicBezTo>
                    <a:pt x="348" y="2622"/>
                    <a:pt x="348" y="2602"/>
                    <a:pt x="348" y="2602"/>
                  </a:cubicBezTo>
                  <a:cubicBezTo>
                    <a:pt x="348" y="2602"/>
                    <a:pt x="369" y="2581"/>
                    <a:pt x="348" y="2560"/>
                  </a:cubicBezTo>
                  <a:cubicBezTo>
                    <a:pt x="348" y="2560"/>
                    <a:pt x="348" y="2560"/>
                    <a:pt x="348" y="2540"/>
                  </a:cubicBezTo>
                  <a:cubicBezTo>
                    <a:pt x="348" y="2540"/>
                    <a:pt x="328" y="2540"/>
                    <a:pt x="328" y="2520"/>
                  </a:cubicBezTo>
                  <a:lnTo>
                    <a:pt x="328" y="2499"/>
                  </a:lnTo>
                  <a:lnTo>
                    <a:pt x="348" y="2478"/>
                  </a:lnTo>
                  <a:lnTo>
                    <a:pt x="348" y="2458"/>
                  </a:lnTo>
                  <a:lnTo>
                    <a:pt x="348" y="2438"/>
                  </a:lnTo>
                  <a:cubicBezTo>
                    <a:pt x="328" y="2438"/>
                    <a:pt x="328" y="2458"/>
                    <a:pt x="328" y="2458"/>
                  </a:cubicBezTo>
                  <a:lnTo>
                    <a:pt x="308" y="2458"/>
                  </a:lnTo>
                  <a:cubicBezTo>
                    <a:pt x="287" y="2458"/>
                    <a:pt x="287" y="2478"/>
                    <a:pt x="287" y="2499"/>
                  </a:cubicBezTo>
                  <a:lnTo>
                    <a:pt x="308" y="2520"/>
                  </a:lnTo>
                  <a:lnTo>
                    <a:pt x="328" y="2540"/>
                  </a:lnTo>
                  <a:cubicBezTo>
                    <a:pt x="328" y="2560"/>
                    <a:pt x="328" y="2560"/>
                    <a:pt x="328" y="2581"/>
                  </a:cubicBezTo>
                  <a:cubicBezTo>
                    <a:pt x="328" y="2581"/>
                    <a:pt x="328" y="2581"/>
                    <a:pt x="328" y="2602"/>
                  </a:cubicBezTo>
                  <a:cubicBezTo>
                    <a:pt x="328" y="2602"/>
                    <a:pt x="328" y="2622"/>
                    <a:pt x="308" y="2622"/>
                  </a:cubicBezTo>
                  <a:lnTo>
                    <a:pt x="308" y="2602"/>
                  </a:lnTo>
                  <a:cubicBezTo>
                    <a:pt x="287" y="2602"/>
                    <a:pt x="287" y="2581"/>
                    <a:pt x="287" y="2581"/>
                  </a:cubicBezTo>
                  <a:lnTo>
                    <a:pt x="266" y="2581"/>
                  </a:lnTo>
                  <a:cubicBezTo>
                    <a:pt x="266" y="2581"/>
                    <a:pt x="266" y="2581"/>
                    <a:pt x="246" y="2581"/>
                  </a:cubicBezTo>
                  <a:lnTo>
                    <a:pt x="246" y="2581"/>
                  </a:lnTo>
                  <a:cubicBezTo>
                    <a:pt x="246" y="2560"/>
                    <a:pt x="226" y="2560"/>
                    <a:pt x="226" y="2540"/>
                  </a:cubicBezTo>
                  <a:cubicBezTo>
                    <a:pt x="226" y="2540"/>
                    <a:pt x="246" y="2540"/>
                    <a:pt x="246" y="2520"/>
                  </a:cubicBezTo>
                  <a:lnTo>
                    <a:pt x="246" y="2499"/>
                  </a:lnTo>
                  <a:lnTo>
                    <a:pt x="226" y="2478"/>
                  </a:lnTo>
                  <a:cubicBezTo>
                    <a:pt x="226" y="2478"/>
                    <a:pt x="226" y="2458"/>
                    <a:pt x="226" y="2438"/>
                  </a:cubicBezTo>
                  <a:cubicBezTo>
                    <a:pt x="205" y="2438"/>
                    <a:pt x="226" y="2417"/>
                    <a:pt x="226" y="2417"/>
                  </a:cubicBezTo>
                  <a:cubicBezTo>
                    <a:pt x="205" y="2396"/>
                    <a:pt x="205" y="2396"/>
                    <a:pt x="205" y="2396"/>
                  </a:cubicBezTo>
                  <a:cubicBezTo>
                    <a:pt x="205" y="2396"/>
                    <a:pt x="205" y="2376"/>
                    <a:pt x="226" y="2376"/>
                  </a:cubicBezTo>
                  <a:lnTo>
                    <a:pt x="226" y="2356"/>
                  </a:lnTo>
                  <a:cubicBezTo>
                    <a:pt x="246" y="2356"/>
                    <a:pt x="266" y="2356"/>
                    <a:pt x="266" y="2356"/>
                  </a:cubicBezTo>
                  <a:cubicBezTo>
                    <a:pt x="287" y="2356"/>
                    <a:pt x="287" y="2335"/>
                    <a:pt x="308" y="2335"/>
                  </a:cubicBezTo>
                  <a:lnTo>
                    <a:pt x="328" y="2335"/>
                  </a:lnTo>
                  <a:lnTo>
                    <a:pt x="348" y="2335"/>
                  </a:lnTo>
                  <a:cubicBezTo>
                    <a:pt x="369" y="2335"/>
                    <a:pt x="369" y="2314"/>
                    <a:pt x="369" y="2314"/>
                  </a:cubicBezTo>
                  <a:cubicBezTo>
                    <a:pt x="348" y="2294"/>
                    <a:pt x="348" y="2294"/>
                    <a:pt x="348" y="2294"/>
                  </a:cubicBezTo>
                  <a:lnTo>
                    <a:pt x="328" y="2274"/>
                  </a:lnTo>
                  <a:lnTo>
                    <a:pt x="308" y="2274"/>
                  </a:lnTo>
                  <a:lnTo>
                    <a:pt x="287" y="2274"/>
                  </a:lnTo>
                  <a:cubicBezTo>
                    <a:pt x="266" y="2274"/>
                    <a:pt x="266" y="2294"/>
                    <a:pt x="266" y="2294"/>
                  </a:cubicBezTo>
                  <a:lnTo>
                    <a:pt x="246" y="2294"/>
                  </a:lnTo>
                  <a:lnTo>
                    <a:pt x="226" y="2274"/>
                  </a:lnTo>
                  <a:lnTo>
                    <a:pt x="205" y="2253"/>
                  </a:lnTo>
                  <a:lnTo>
                    <a:pt x="205" y="2212"/>
                  </a:lnTo>
                  <a:lnTo>
                    <a:pt x="184" y="2192"/>
                  </a:lnTo>
                  <a:cubicBezTo>
                    <a:pt x="184" y="2171"/>
                    <a:pt x="164" y="2171"/>
                    <a:pt x="164" y="2151"/>
                  </a:cubicBezTo>
                  <a:cubicBezTo>
                    <a:pt x="164" y="2151"/>
                    <a:pt x="164" y="2130"/>
                    <a:pt x="144" y="2130"/>
                  </a:cubicBezTo>
                  <a:lnTo>
                    <a:pt x="144" y="2130"/>
                  </a:lnTo>
                  <a:cubicBezTo>
                    <a:pt x="144" y="2151"/>
                    <a:pt x="144" y="2171"/>
                    <a:pt x="144" y="2171"/>
                  </a:cubicBezTo>
                  <a:lnTo>
                    <a:pt x="144" y="2192"/>
                  </a:lnTo>
                  <a:lnTo>
                    <a:pt x="164" y="2192"/>
                  </a:lnTo>
                  <a:cubicBezTo>
                    <a:pt x="164" y="2212"/>
                    <a:pt x="164" y="2212"/>
                    <a:pt x="164" y="2212"/>
                  </a:cubicBezTo>
                  <a:cubicBezTo>
                    <a:pt x="184" y="2212"/>
                    <a:pt x="184" y="2212"/>
                    <a:pt x="184" y="2212"/>
                  </a:cubicBezTo>
                  <a:cubicBezTo>
                    <a:pt x="184" y="2233"/>
                    <a:pt x="184" y="2233"/>
                    <a:pt x="184" y="2253"/>
                  </a:cubicBezTo>
                  <a:lnTo>
                    <a:pt x="164" y="2253"/>
                  </a:lnTo>
                  <a:cubicBezTo>
                    <a:pt x="164" y="2274"/>
                    <a:pt x="164" y="2274"/>
                    <a:pt x="144" y="2274"/>
                  </a:cubicBezTo>
                  <a:cubicBezTo>
                    <a:pt x="144" y="2253"/>
                    <a:pt x="144" y="2233"/>
                    <a:pt x="144" y="2233"/>
                  </a:cubicBezTo>
                  <a:lnTo>
                    <a:pt x="144" y="2253"/>
                  </a:lnTo>
                  <a:cubicBezTo>
                    <a:pt x="144" y="2274"/>
                    <a:pt x="123" y="2274"/>
                    <a:pt x="123" y="2274"/>
                  </a:cubicBezTo>
                  <a:cubicBezTo>
                    <a:pt x="123" y="2274"/>
                    <a:pt x="123" y="2274"/>
                    <a:pt x="102" y="2274"/>
                  </a:cubicBezTo>
                  <a:lnTo>
                    <a:pt x="82" y="2274"/>
                  </a:lnTo>
                  <a:cubicBezTo>
                    <a:pt x="82" y="2253"/>
                    <a:pt x="82" y="2233"/>
                    <a:pt x="82" y="2233"/>
                  </a:cubicBezTo>
                  <a:cubicBezTo>
                    <a:pt x="62" y="2212"/>
                    <a:pt x="62" y="2212"/>
                    <a:pt x="62" y="2212"/>
                  </a:cubicBezTo>
                  <a:cubicBezTo>
                    <a:pt x="41" y="2212"/>
                    <a:pt x="41" y="2192"/>
                    <a:pt x="41" y="2192"/>
                  </a:cubicBezTo>
                  <a:cubicBezTo>
                    <a:pt x="41" y="2192"/>
                    <a:pt x="41" y="2171"/>
                    <a:pt x="62" y="2171"/>
                  </a:cubicBezTo>
                  <a:cubicBezTo>
                    <a:pt x="62" y="2171"/>
                    <a:pt x="62" y="2192"/>
                    <a:pt x="82" y="2192"/>
                  </a:cubicBezTo>
                  <a:lnTo>
                    <a:pt x="82" y="2171"/>
                  </a:lnTo>
                  <a:cubicBezTo>
                    <a:pt x="82" y="2151"/>
                    <a:pt x="62" y="2151"/>
                    <a:pt x="62" y="2130"/>
                  </a:cubicBezTo>
                  <a:cubicBezTo>
                    <a:pt x="62" y="2130"/>
                    <a:pt x="62" y="2130"/>
                    <a:pt x="41" y="2130"/>
                  </a:cubicBezTo>
                  <a:cubicBezTo>
                    <a:pt x="41" y="2110"/>
                    <a:pt x="20" y="2110"/>
                    <a:pt x="20" y="2110"/>
                  </a:cubicBezTo>
                  <a:lnTo>
                    <a:pt x="20" y="2089"/>
                  </a:lnTo>
                  <a:cubicBezTo>
                    <a:pt x="0" y="2069"/>
                    <a:pt x="0" y="2069"/>
                    <a:pt x="20" y="2048"/>
                  </a:cubicBezTo>
                  <a:lnTo>
                    <a:pt x="20" y="2028"/>
                  </a:lnTo>
                  <a:cubicBezTo>
                    <a:pt x="41" y="2028"/>
                    <a:pt x="41" y="2028"/>
                    <a:pt x="62" y="2028"/>
                  </a:cubicBezTo>
                  <a:cubicBezTo>
                    <a:pt x="62" y="2028"/>
                    <a:pt x="62" y="2028"/>
                    <a:pt x="82" y="2028"/>
                  </a:cubicBezTo>
                  <a:cubicBezTo>
                    <a:pt x="82" y="2007"/>
                    <a:pt x="82" y="1987"/>
                    <a:pt x="102" y="1966"/>
                  </a:cubicBezTo>
                  <a:cubicBezTo>
                    <a:pt x="102" y="1966"/>
                    <a:pt x="123" y="1966"/>
                    <a:pt x="123" y="1946"/>
                  </a:cubicBezTo>
                  <a:cubicBezTo>
                    <a:pt x="123" y="1946"/>
                    <a:pt x="123" y="1946"/>
                    <a:pt x="144" y="1925"/>
                  </a:cubicBezTo>
                  <a:cubicBezTo>
                    <a:pt x="144" y="1925"/>
                    <a:pt x="144" y="1925"/>
                    <a:pt x="144" y="1905"/>
                  </a:cubicBezTo>
                  <a:cubicBezTo>
                    <a:pt x="123" y="1905"/>
                    <a:pt x="123" y="1905"/>
                    <a:pt x="123" y="1884"/>
                  </a:cubicBezTo>
                  <a:cubicBezTo>
                    <a:pt x="123" y="1884"/>
                    <a:pt x="102" y="1884"/>
                    <a:pt x="102" y="1864"/>
                  </a:cubicBezTo>
                  <a:lnTo>
                    <a:pt x="123" y="1843"/>
                  </a:lnTo>
                  <a:lnTo>
                    <a:pt x="123" y="1823"/>
                  </a:lnTo>
                  <a:cubicBezTo>
                    <a:pt x="123" y="1823"/>
                    <a:pt x="144" y="1823"/>
                    <a:pt x="164" y="1823"/>
                  </a:cubicBezTo>
                  <a:lnTo>
                    <a:pt x="184" y="1823"/>
                  </a:lnTo>
                  <a:cubicBezTo>
                    <a:pt x="205" y="1823"/>
                    <a:pt x="205" y="1823"/>
                    <a:pt x="205" y="1823"/>
                  </a:cubicBezTo>
                  <a:cubicBezTo>
                    <a:pt x="205" y="1802"/>
                    <a:pt x="205" y="1782"/>
                    <a:pt x="226" y="1782"/>
                  </a:cubicBezTo>
                  <a:cubicBezTo>
                    <a:pt x="226" y="1761"/>
                    <a:pt x="246" y="1761"/>
                    <a:pt x="246" y="1741"/>
                  </a:cubicBezTo>
                  <a:cubicBezTo>
                    <a:pt x="246" y="1741"/>
                    <a:pt x="266" y="1720"/>
                    <a:pt x="287" y="1720"/>
                  </a:cubicBezTo>
                  <a:cubicBezTo>
                    <a:pt x="287" y="1700"/>
                    <a:pt x="287" y="1659"/>
                    <a:pt x="287" y="1638"/>
                  </a:cubicBezTo>
                  <a:cubicBezTo>
                    <a:pt x="287" y="1638"/>
                    <a:pt x="308" y="1638"/>
                    <a:pt x="328" y="1638"/>
                  </a:cubicBezTo>
                  <a:cubicBezTo>
                    <a:pt x="328" y="1618"/>
                    <a:pt x="328" y="1618"/>
                    <a:pt x="328" y="1618"/>
                  </a:cubicBezTo>
                  <a:cubicBezTo>
                    <a:pt x="328" y="1597"/>
                    <a:pt x="328" y="1597"/>
                    <a:pt x="328" y="1577"/>
                  </a:cubicBezTo>
                  <a:lnTo>
                    <a:pt x="348" y="1577"/>
                  </a:lnTo>
                  <a:cubicBezTo>
                    <a:pt x="348" y="1577"/>
                    <a:pt x="348" y="1558"/>
                    <a:pt x="369" y="1558"/>
                  </a:cubicBezTo>
                  <a:lnTo>
                    <a:pt x="390" y="1537"/>
                  </a:lnTo>
                  <a:cubicBezTo>
                    <a:pt x="410" y="1516"/>
                    <a:pt x="410" y="1516"/>
                    <a:pt x="430" y="1516"/>
                  </a:cubicBezTo>
                  <a:lnTo>
                    <a:pt x="451" y="1537"/>
                  </a:lnTo>
                  <a:cubicBezTo>
                    <a:pt x="451" y="1537"/>
                    <a:pt x="472" y="1516"/>
                    <a:pt x="492" y="1516"/>
                  </a:cubicBezTo>
                  <a:lnTo>
                    <a:pt x="512" y="1516"/>
                  </a:lnTo>
                  <a:cubicBezTo>
                    <a:pt x="512" y="1516"/>
                    <a:pt x="533" y="1516"/>
                    <a:pt x="554" y="1516"/>
                  </a:cubicBezTo>
                  <a:lnTo>
                    <a:pt x="574" y="1516"/>
                  </a:lnTo>
                  <a:cubicBezTo>
                    <a:pt x="574" y="1516"/>
                    <a:pt x="594" y="1516"/>
                    <a:pt x="594" y="1496"/>
                  </a:cubicBezTo>
                  <a:cubicBezTo>
                    <a:pt x="594" y="1496"/>
                    <a:pt x="614" y="1496"/>
                    <a:pt x="635" y="1496"/>
                  </a:cubicBezTo>
                  <a:cubicBezTo>
                    <a:pt x="635" y="1476"/>
                    <a:pt x="656" y="1496"/>
                    <a:pt x="656" y="1496"/>
                  </a:cubicBezTo>
                  <a:cubicBezTo>
                    <a:pt x="676" y="1496"/>
                    <a:pt x="676" y="1496"/>
                    <a:pt x="696" y="1496"/>
                  </a:cubicBezTo>
                  <a:cubicBezTo>
                    <a:pt x="696" y="1476"/>
                    <a:pt x="717" y="1496"/>
                    <a:pt x="717" y="1496"/>
                  </a:cubicBezTo>
                  <a:cubicBezTo>
                    <a:pt x="717" y="1496"/>
                    <a:pt x="738" y="1516"/>
                    <a:pt x="758" y="1516"/>
                  </a:cubicBezTo>
                  <a:lnTo>
                    <a:pt x="778" y="1516"/>
                  </a:lnTo>
                  <a:cubicBezTo>
                    <a:pt x="799" y="1496"/>
                    <a:pt x="799" y="1496"/>
                    <a:pt x="799" y="1496"/>
                  </a:cubicBezTo>
                  <a:cubicBezTo>
                    <a:pt x="799" y="1476"/>
                    <a:pt x="820" y="1476"/>
                    <a:pt x="820" y="1476"/>
                  </a:cubicBezTo>
                  <a:lnTo>
                    <a:pt x="820" y="1455"/>
                  </a:lnTo>
                  <a:cubicBezTo>
                    <a:pt x="820" y="1434"/>
                    <a:pt x="820" y="1414"/>
                    <a:pt x="799" y="1414"/>
                  </a:cubicBezTo>
                  <a:cubicBezTo>
                    <a:pt x="799" y="1394"/>
                    <a:pt x="799" y="1373"/>
                    <a:pt x="799" y="1373"/>
                  </a:cubicBezTo>
                  <a:cubicBezTo>
                    <a:pt x="820" y="1352"/>
                    <a:pt x="820" y="1352"/>
                    <a:pt x="820" y="1332"/>
                  </a:cubicBezTo>
                  <a:lnTo>
                    <a:pt x="840" y="1312"/>
                  </a:lnTo>
                  <a:cubicBezTo>
                    <a:pt x="840" y="1291"/>
                    <a:pt x="840" y="1270"/>
                    <a:pt x="840" y="1250"/>
                  </a:cubicBezTo>
                  <a:lnTo>
                    <a:pt x="840" y="1230"/>
                  </a:lnTo>
                  <a:cubicBezTo>
                    <a:pt x="840" y="1230"/>
                    <a:pt x="860" y="1209"/>
                    <a:pt x="860" y="1188"/>
                  </a:cubicBezTo>
                  <a:cubicBezTo>
                    <a:pt x="840" y="1188"/>
                    <a:pt x="840" y="1188"/>
                    <a:pt x="840" y="1188"/>
                  </a:cubicBezTo>
                  <a:cubicBezTo>
                    <a:pt x="820" y="1168"/>
                    <a:pt x="840" y="1148"/>
                    <a:pt x="820" y="1148"/>
                  </a:cubicBezTo>
                  <a:cubicBezTo>
                    <a:pt x="820" y="1127"/>
                    <a:pt x="799" y="1127"/>
                    <a:pt x="799" y="1106"/>
                  </a:cubicBezTo>
                  <a:cubicBezTo>
                    <a:pt x="799" y="1106"/>
                    <a:pt x="799" y="1086"/>
                    <a:pt x="799" y="1066"/>
                  </a:cubicBezTo>
                  <a:lnTo>
                    <a:pt x="820" y="1045"/>
                  </a:lnTo>
                  <a:cubicBezTo>
                    <a:pt x="840" y="1045"/>
                    <a:pt x="840" y="1024"/>
                    <a:pt x="860" y="1024"/>
                  </a:cubicBezTo>
                  <a:cubicBezTo>
                    <a:pt x="860" y="1024"/>
                    <a:pt x="881" y="1024"/>
                    <a:pt x="881" y="1045"/>
                  </a:cubicBezTo>
                  <a:lnTo>
                    <a:pt x="881" y="1045"/>
                  </a:lnTo>
                  <a:cubicBezTo>
                    <a:pt x="881" y="1066"/>
                    <a:pt x="881" y="1066"/>
                    <a:pt x="881" y="1086"/>
                  </a:cubicBezTo>
                  <a:cubicBezTo>
                    <a:pt x="881" y="1086"/>
                    <a:pt x="881" y="1086"/>
                    <a:pt x="860" y="1086"/>
                  </a:cubicBezTo>
                  <a:lnTo>
                    <a:pt x="860" y="1106"/>
                  </a:lnTo>
                  <a:cubicBezTo>
                    <a:pt x="860" y="1106"/>
                    <a:pt x="860" y="1127"/>
                    <a:pt x="881" y="1127"/>
                  </a:cubicBezTo>
                  <a:lnTo>
                    <a:pt x="881" y="1127"/>
                  </a:lnTo>
                  <a:cubicBezTo>
                    <a:pt x="902" y="1148"/>
                    <a:pt x="902" y="1148"/>
                    <a:pt x="902" y="1148"/>
                  </a:cubicBezTo>
                  <a:lnTo>
                    <a:pt x="902" y="1168"/>
                  </a:lnTo>
                  <a:lnTo>
                    <a:pt x="902" y="1188"/>
                  </a:lnTo>
                  <a:cubicBezTo>
                    <a:pt x="902" y="1188"/>
                    <a:pt x="922" y="1188"/>
                    <a:pt x="942" y="1188"/>
                  </a:cubicBezTo>
                  <a:cubicBezTo>
                    <a:pt x="942" y="1168"/>
                    <a:pt x="963" y="1168"/>
                    <a:pt x="963" y="1148"/>
                  </a:cubicBezTo>
                  <a:cubicBezTo>
                    <a:pt x="984" y="1148"/>
                    <a:pt x="1004" y="1127"/>
                    <a:pt x="1004" y="1127"/>
                  </a:cubicBezTo>
                  <a:cubicBezTo>
                    <a:pt x="1024" y="1106"/>
                    <a:pt x="1024" y="1106"/>
                    <a:pt x="1045" y="1086"/>
                  </a:cubicBezTo>
                  <a:lnTo>
                    <a:pt x="1066" y="1066"/>
                  </a:lnTo>
                  <a:cubicBezTo>
                    <a:pt x="1066" y="1066"/>
                    <a:pt x="1086" y="1045"/>
                    <a:pt x="1086" y="1024"/>
                  </a:cubicBezTo>
                  <a:cubicBezTo>
                    <a:pt x="1086" y="1024"/>
                    <a:pt x="1086" y="1004"/>
                    <a:pt x="1086" y="984"/>
                  </a:cubicBezTo>
                  <a:lnTo>
                    <a:pt x="1086" y="963"/>
                  </a:lnTo>
                  <a:cubicBezTo>
                    <a:pt x="1086" y="963"/>
                    <a:pt x="1106" y="963"/>
                    <a:pt x="1127" y="942"/>
                  </a:cubicBezTo>
                  <a:lnTo>
                    <a:pt x="1127" y="922"/>
                  </a:lnTo>
                  <a:cubicBezTo>
                    <a:pt x="1127" y="902"/>
                    <a:pt x="1127" y="902"/>
                    <a:pt x="1127" y="902"/>
                  </a:cubicBezTo>
                  <a:cubicBezTo>
                    <a:pt x="1127" y="882"/>
                    <a:pt x="1127" y="861"/>
                    <a:pt x="1127" y="861"/>
                  </a:cubicBezTo>
                  <a:cubicBezTo>
                    <a:pt x="1127" y="840"/>
                    <a:pt x="1127" y="820"/>
                    <a:pt x="1127" y="820"/>
                  </a:cubicBezTo>
                  <a:cubicBezTo>
                    <a:pt x="1127" y="800"/>
                    <a:pt x="1127" y="779"/>
                    <a:pt x="1106" y="758"/>
                  </a:cubicBezTo>
                  <a:lnTo>
                    <a:pt x="1106" y="738"/>
                  </a:lnTo>
                  <a:cubicBezTo>
                    <a:pt x="1106" y="718"/>
                    <a:pt x="1106" y="697"/>
                    <a:pt x="1106" y="676"/>
                  </a:cubicBezTo>
                  <a:cubicBezTo>
                    <a:pt x="1106" y="656"/>
                    <a:pt x="1106" y="636"/>
                    <a:pt x="1106" y="615"/>
                  </a:cubicBezTo>
                  <a:cubicBezTo>
                    <a:pt x="1106" y="615"/>
                    <a:pt x="1086" y="594"/>
                    <a:pt x="1086" y="574"/>
                  </a:cubicBezTo>
                  <a:cubicBezTo>
                    <a:pt x="1086" y="574"/>
                    <a:pt x="1086" y="554"/>
                    <a:pt x="1086" y="533"/>
                  </a:cubicBezTo>
                  <a:lnTo>
                    <a:pt x="1086" y="512"/>
                  </a:lnTo>
                  <a:cubicBezTo>
                    <a:pt x="1086" y="492"/>
                    <a:pt x="1066" y="492"/>
                    <a:pt x="1066" y="472"/>
                  </a:cubicBezTo>
                  <a:lnTo>
                    <a:pt x="1066" y="451"/>
                  </a:lnTo>
                  <a:cubicBezTo>
                    <a:pt x="1086" y="430"/>
                    <a:pt x="1086" y="430"/>
                    <a:pt x="1086" y="410"/>
                  </a:cubicBezTo>
                  <a:lnTo>
                    <a:pt x="1066" y="390"/>
                  </a:lnTo>
                  <a:cubicBezTo>
                    <a:pt x="1066" y="390"/>
                    <a:pt x="1066" y="390"/>
                    <a:pt x="1045" y="390"/>
                  </a:cubicBezTo>
                  <a:cubicBezTo>
                    <a:pt x="1045" y="410"/>
                    <a:pt x="1045" y="430"/>
                    <a:pt x="1045" y="430"/>
                  </a:cubicBezTo>
                  <a:lnTo>
                    <a:pt x="1045" y="430"/>
                  </a:lnTo>
                  <a:cubicBezTo>
                    <a:pt x="1024" y="430"/>
                    <a:pt x="1024" y="430"/>
                    <a:pt x="1024" y="410"/>
                  </a:cubicBezTo>
                  <a:cubicBezTo>
                    <a:pt x="1004" y="410"/>
                    <a:pt x="1024" y="390"/>
                    <a:pt x="1024" y="390"/>
                  </a:cubicBezTo>
                  <a:cubicBezTo>
                    <a:pt x="1045" y="369"/>
                    <a:pt x="1024" y="369"/>
                    <a:pt x="1024" y="369"/>
                  </a:cubicBezTo>
                  <a:cubicBezTo>
                    <a:pt x="1024" y="348"/>
                    <a:pt x="984" y="348"/>
                    <a:pt x="984" y="328"/>
                  </a:cubicBezTo>
                  <a:cubicBezTo>
                    <a:pt x="984" y="328"/>
                    <a:pt x="984" y="308"/>
                    <a:pt x="984" y="287"/>
                  </a:cubicBezTo>
                  <a:lnTo>
                    <a:pt x="984" y="266"/>
                  </a:lnTo>
                  <a:cubicBezTo>
                    <a:pt x="984" y="246"/>
                    <a:pt x="984" y="246"/>
                    <a:pt x="984" y="246"/>
                  </a:cubicBezTo>
                  <a:cubicBezTo>
                    <a:pt x="984" y="226"/>
                    <a:pt x="984" y="205"/>
                    <a:pt x="984" y="205"/>
                  </a:cubicBezTo>
                  <a:cubicBezTo>
                    <a:pt x="984" y="185"/>
                    <a:pt x="963" y="164"/>
                    <a:pt x="963" y="164"/>
                  </a:cubicBezTo>
                  <a:cubicBezTo>
                    <a:pt x="963" y="144"/>
                    <a:pt x="984" y="144"/>
                    <a:pt x="984" y="123"/>
                  </a:cubicBezTo>
                  <a:lnTo>
                    <a:pt x="963" y="103"/>
                  </a:lnTo>
                  <a:lnTo>
                    <a:pt x="984" y="82"/>
                  </a:lnTo>
                  <a:cubicBezTo>
                    <a:pt x="1004" y="82"/>
                    <a:pt x="1004" y="82"/>
                    <a:pt x="1004" y="103"/>
                  </a:cubicBezTo>
                  <a:cubicBezTo>
                    <a:pt x="1024" y="103"/>
                    <a:pt x="1045" y="103"/>
                    <a:pt x="1045" y="123"/>
                  </a:cubicBezTo>
                  <a:cubicBezTo>
                    <a:pt x="1045" y="123"/>
                    <a:pt x="1024" y="144"/>
                    <a:pt x="1045" y="144"/>
                  </a:cubicBezTo>
                  <a:lnTo>
                    <a:pt x="1066" y="164"/>
                  </a:lnTo>
                  <a:cubicBezTo>
                    <a:pt x="1066" y="164"/>
                    <a:pt x="1045" y="185"/>
                    <a:pt x="1066" y="185"/>
                  </a:cubicBezTo>
                  <a:lnTo>
                    <a:pt x="1086" y="185"/>
                  </a:lnTo>
                  <a:lnTo>
                    <a:pt x="1086" y="164"/>
                  </a:lnTo>
                  <a:cubicBezTo>
                    <a:pt x="1086" y="144"/>
                    <a:pt x="1106" y="164"/>
                    <a:pt x="1127" y="164"/>
                  </a:cubicBezTo>
                  <a:lnTo>
                    <a:pt x="1127" y="144"/>
                  </a:lnTo>
                  <a:cubicBezTo>
                    <a:pt x="1106" y="123"/>
                    <a:pt x="1086" y="123"/>
                    <a:pt x="1086" y="103"/>
                  </a:cubicBezTo>
                  <a:cubicBezTo>
                    <a:pt x="1086" y="103"/>
                    <a:pt x="1086" y="82"/>
                    <a:pt x="1086" y="62"/>
                  </a:cubicBezTo>
                  <a:lnTo>
                    <a:pt x="1066" y="62"/>
                  </a:lnTo>
                  <a:cubicBezTo>
                    <a:pt x="1066" y="82"/>
                    <a:pt x="1066" y="103"/>
                    <a:pt x="1045" y="103"/>
                  </a:cubicBezTo>
                  <a:cubicBezTo>
                    <a:pt x="1045" y="103"/>
                    <a:pt x="1024" y="82"/>
                    <a:pt x="1024" y="62"/>
                  </a:cubicBezTo>
                  <a:cubicBezTo>
                    <a:pt x="1024" y="62"/>
                    <a:pt x="1045" y="41"/>
                    <a:pt x="1024" y="41"/>
                  </a:cubicBezTo>
                  <a:lnTo>
                    <a:pt x="1024" y="21"/>
                  </a:lnTo>
                  <a:lnTo>
                    <a:pt x="1024" y="0"/>
                  </a:lnTo>
                  <a:lnTo>
                    <a:pt x="1045" y="0"/>
                  </a:lnTo>
                  <a:lnTo>
                    <a:pt x="1045" y="21"/>
                  </a:lnTo>
                  <a:lnTo>
                    <a:pt x="1066" y="21"/>
                  </a:lnTo>
                  <a:cubicBezTo>
                    <a:pt x="1086" y="21"/>
                    <a:pt x="1086" y="21"/>
                    <a:pt x="1106" y="21"/>
                  </a:cubicBezTo>
                  <a:lnTo>
                    <a:pt x="1127" y="21"/>
                  </a:lnTo>
                  <a:cubicBezTo>
                    <a:pt x="1127" y="41"/>
                    <a:pt x="1127" y="62"/>
                    <a:pt x="1127" y="82"/>
                  </a:cubicBezTo>
                  <a:cubicBezTo>
                    <a:pt x="1127" y="103"/>
                    <a:pt x="1168" y="144"/>
                    <a:pt x="1168" y="164"/>
                  </a:cubicBezTo>
                  <a:cubicBezTo>
                    <a:pt x="1188" y="164"/>
                    <a:pt x="1209" y="205"/>
                    <a:pt x="1230" y="226"/>
                  </a:cubicBezTo>
                  <a:cubicBezTo>
                    <a:pt x="1250" y="246"/>
                    <a:pt x="1270" y="287"/>
                    <a:pt x="1291" y="308"/>
                  </a:cubicBezTo>
                  <a:cubicBezTo>
                    <a:pt x="1312" y="328"/>
                    <a:pt x="1332" y="348"/>
                    <a:pt x="1352" y="369"/>
                  </a:cubicBezTo>
                  <a:cubicBezTo>
                    <a:pt x="1352" y="369"/>
                    <a:pt x="1352" y="390"/>
                    <a:pt x="1352" y="410"/>
                  </a:cubicBezTo>
                  <a:cubicBezTo>
                    <a:pt x="1373" y="430"/>
                    <a:pt x="1373" y="451"/>
                    <a:pt x="1373" y="451"/>
                  </a:cubicBezTo>
                  <a:lnTo>
                    <a:pt x="1393" y="451"/>
                  </a:lnTo>
                  <a:lnTo>
                    <a:pt x="1414" y="472"/>
                  </a:lnTo>
                  <a:cubicBezTo>
                    <a:pt x="1414" y="472"/>
                    <a:pt x="1414" y="472"/>
                    <a:pt x="1434" y="492"/>
                  </a:cubicBezTo>
                  <a:cubicBezTo>
                    <a:pt x="1434" y="492"/>
                    <a:pt x="1434" y="512"/>
                    <a:pt x="1434" y="533"/>
                  </a:cubicBezTo>
                  <a:lnTo>
                    <a:pt x="1434" y="554"/>
                  </a:lnTo>
                  <a:cubicBezTo>
                    <a:pt x="1434" y="574"/>
                    <a:pt x="1434" y="574"/>
                    <a:pt x="1414" y="594"/>
                  </a:cubicBezTo>
                  <a:cubicBezTo>
                    <a:pt x="1414" y="594"/>
                    <a:pt x="1393" y="594"/>
                    <a:pt x="1414" y="615"/>
                  </a:cubicBezTo>
                  <a:cubicBezTo>
                    <a:pt x="1414" y="615"/>
                    <a:pt x="1414" y="615"/>
                    <a:pt x="1434" y="615"/>
                  </a:cubicBezTo>
                  <a:cubicBezTo>
                    <a:pt x="1434" y="636"/>
                    <a:pt x="1414" y="656"/>
                    <a:pt x="1414" y="656"/>
                  </a:cubicBezTo>
                  <a:cubicBezTo>
                    <a:pt x="1414" y="676"/>
                    <a:pt x="1434" y="697"/>
                    <a:pt x="1434" y="697"/>
                  </a:cubicBezTo>
                  <a:cubicBezTo>
                    <a:pt x="1434" y="718"/>
                    <a:pt x="1434" y="738"/>
                    <a:pt x="1434" y="758"/>
                  </a:cubicBezTo>
                  <a:cubicBezTo>
                    <a:pt x="1414" y="758"/>
                    <a:pt x="1393" y="758"/>
                    <a:pt x="1393" y="758"/>
                  </a:cubicBezTo>
                  <a:cubicBezTo>
                    <a:pt x="1393" y="779"/>
                    <a:pt x="1393" y="800"/>
                    <a:pt x="1414" y="820"/>
                  </a:cubicBezTo>
                  <a:cubicBezTo>
                    <a:pt x="1414" y="840"/>
                    <a:pt x="1414" y="861"/>
                    <a:pt x="1414" y="882"/>
                  </a:cubicBezTo>
                  <a:cubicBezTo>
                    <a:pt x="1434" y="882"/>
                    <a:pt x="1434" y="922"/>
                    <a:pt x="1455" y="922"/>
                  </a:cubicBezTo>
                  <a:cubicBezTo>
                    <a:pt x="1455" y="942"/>
                    <a:pt x="1455" y="984"/>
                    <a:pt x="1475" y="1004"/>
                  </a:cubicBezTo>
                  <a:cubicBezTo>
                    <a:pt x="1475" y="1024"/>
                    <a:pt x="1496" y="1024"/>
                    <a:pt x="1496" y="1045"/>
                  </a:cubicBezTo>
                  <a:cubicBezTo>
                    <a:pt x="1496" y="1066"/>
                    <a:pt x="1516" y="1086"/>
                    <a:pt x="1516" y="1086"/>
                  </a:cubicBezTo>
                  <a:cubicBezTo>
                    <a:pt x="1516" y="1106"/>
                    <a:pt x="1496" y="1127"/>
                    <a:pt x="1496" y="1148"/>
                  </a:cubicBezTo>
                  <a:cubicBezTo>
                    <a:pt x="1496" y="1168"/>
                    <a:pt x="1496" y="1209"/>
                    <a:pt x="1516" y="1209"/>
                  </a:cubicBezTo>
                  <a:cubicBezTo>
                    <a:pt x="1516" y="1250"/>
                    <a:pt x="1537" y="1291"/>
                    <a:pt x="1537" y="1312"/>
                  </a:cubicBezTo>
                  <a:cubicBezTo>
                    <a:pt x="1557" y="1332"/>
                    <a:pt x="1598" y="1352"/>
                    <a:pt x="1598" y="1373"/>
                  </a:cubicBezTo>
                  <a:cubicBezTo>
                    <a:pt x="1598" y="1394"/>
                    <a:pt x="1578" y="1414"/>
                    <a:pt x="1578" y="1414"/>
                  </a:cubicBezTo>
                  <a:cubicBezTo>
                    <a:pt x="1557" y="1414"/>
                    <a:pt x="1557" y="1434"/>
                    <a:pt x="1557" y="1455"/>
                  </a:cubicBezTo>
                  <a:cubicBezTo>
                    <a:pt x="1537" y="1455"/>
                    <a:pt x="1537" y="1476"/>
                    <a:pt x="1557" y="1496"/>
                  </a:cubicBezTo>
                  <a:lnTo>
                    <a:pt x="1578" y="1496"/>
                  </a:lnTo>
                  <a:cubicBezTo>
                    <a:pt x="1578" y="1516"/>
                    <a:pt x="1578" y="1516"/>
                    <a:pt x="1578" y="1537"/>
                  </a:cubicBezTo>
                  <a:cubicBezTo>
                    <a:pt x="1557" y="1537"/>
                    <a:pt x="1557" y="1537"/>
                    <a:pt x="1557" y="1537"/>
                  </a:cubicBezTo>
                  <a:cubicBezTo>
                    <a:pt x="1537" y="1537"/>
                    <a:pt x="1537" y="1558"/>
                    <a:pt x="1537" y="1577"/>
                  </a:cubicBezTo>
                  <a:lnTo>
                    <a:pt x="1516" y="1577"/>
                  </a:lnTo>
                  <a:cubicBezTo>
                    <a:pt x="1496" y="1577"/>
                    <a:pt x="1496" y="1558"/>
                    <a:pt x="1496" y="1537"/>
                  </a:cubicBezTo>
                  <a:lnTo>
                    <a:pt x="1496" y="1516"/>
                  </a:lnTo>
                  <a:cubicBezTo>
                    <a:pt x="1496" y="1516"/>
                    <a:pt x="1496" y="1496"/>
                    <a:pt x="1475" y="1476"/>
                  </a:cubicBezTo>
                  <a:lnTo>
                    <a:pt x="1455" y="1476"/>
                  </a:lnTo>
                  <a:cubicBezTo>
                    <a:pt x="1455" y="1496"/>
                    <a:pt x="1434" y="1496"/>
                    <a:pt x="1434" y="1516"/>
                  </a:cubicBezTo>
                  <a:lnTo>
                    <a:pt x="1414" y="1516"/>
                  </a:lnTo>
                  <a:lnTo>
                    <a:pt x="1393" y="1537"/>
                  </a:lnTo>
                  <a:cubicBezTo>
                    <a:pt x="1393" y="1558"/>
                    <a:pt x="1393" y="1577"/>
                    <a:pt x="1393" y="1577"/>
                  </a:cubicBezTo>
                  <a:cubicBezTo>
                    <a:pt x="1393" y="1597"/>
                    <a:pt x="1393" y="1618"/>
                    <a:pt x="1393" y="1618"/>
                  </a:cubicBezTo>
                  <a:cubicBezTo>
                    <a:pt x="1393" y="1638"/>
                    <a:pt x="1393" y="1659"/>
                    <a:pt x="1393" y="1679"/>
                  </a:cubicBezTo>
                  <a:cubicBezTo>
                    <a:pt x="1393" y="1679"/>
                    <a:pt x="1373" y="1679"/>
                    <a:pt x="1352" y="1679"/>
                  </a:cubicBezTo>
                  <a:cubicBezTo>
                    <a:pt x="1352" y="1679"/>
                    <a:pt x="1352" y="1659"/>
                    <a:pt x="1352" y="1638"/>
                  </a:cubicBezTo>
                  <a:cubicBezTo>
                    <a:pt x="1352" y="1638"/>
                    <a:pt x="1352" y="1618"/>
                    <a:pt x="1352" y="1597"/>
                  </a:cubicBezTo>
                  <a:lnTo>
                    <a:pt x="1352" y="1577"/>
                  </a:lnTo>
                  <a:cubicBezTo>
                    <a:pt x="1352" y="1577"/>
                    <a:pt x="1352" y="1558"/>
                    <a:pt x="1332" y="1558"/>
                  </a:cubicBezTo>
                  <a:cubicBezTo>
                    <a:pt x="1332" y="1558"/>
                    <a:pt x="1332" y="1558"/>
                    <a:pt x="1312" y="1558"/>
                  </a:cubicBezTo>
                  <a:lnTo>
                    <a:pt x="1312" y="1577"/>
                  </a:lnTo>
                  <a:cubicBezTo>
                    <a:pt x="1291" y="1577"/>
                    <a:pt x="1312" y="1597"/>
                    <a:pt x="1312" y="1618"/>
                  </a:cubicBezTo>
                  <a:cubicBezTo>
                    <a:pt x="1312" y="1618"/>
                    <a:pt x="1291" y="1618"/>
                    <a:pt x="1291" y="1638"/>
                  </a:cubicBezTo>
                  <a:lnTo>
                    <a:pt x="1291" y="1659"/>
                  </a:lnTo>
                  <a:cubicBezTo>
                    <a:pt x="1291" y="1679"/>
                    <a:pt x="1291" y="1679"/>
                    <a:pt x="1291" y="1700"/>
                  </a:cubicBezTo>
                  <a:cubicBezTo>
                    <a:pt x="1291" y="1700"/>
                    <a:pt x="1270" y="1700"/>
                    <a:pt x="1250" y="1700"/>
                  </a:cubicBezTo>
                  <a:cubicBezTo>
                    <a:pt x="1250" y="1700"/>
                    <a:pt x="1230" y="1700"/>
                    <a:pt x="1209" y="1700"/>
                  </a:cubicBezTo>
                  <a:cubicBezTo>
                    <a:pt x="1209" y="1700"/>
                    <a:pt x="1168" y="1700"/>
                    <a:pt x="1148" y="1700"/>
                  </a:cubicBezTo>
                  <a:lnTo>
                    <a:pt x="1127" y="1679"/>
                  </a:lnTo>
                  <a:lnTo>
                    <a:pt x="1106" y="1659"/>
                  </a:lnTo>
                  <a:cubicBezTo>
                    <a:pt x="1106" y="1638"/>
                    <a:pt x="1086" y="1638"/>
                    <a:pt x="1066" y="1638"/>
                  </a:cubicBezTo>
                  <a:cubicBezTo>
                    <a:pt x="1066" y="1659"/>
                    <a:pt x="1066" y="1659"/>
                    <a:pt x="1066" y="1679"/>
                  </a:cubicBezTo>
                  <a:lnTo>
                    <a:pt x="1066" y="1679"/>
                  </a:lnTo>
                  <a:cubicBezTo>
                    <a:pt x="1066" y="1700"/>
                    <a:pt x="1066" y="1700"/>
                    <a:pt x="1066" y="1700"/>
                  </a:cubicBezTo>
                  <a:cubicBezTo>
                    <a:pt x="1045" y="1700"/>
                    <a:pt x="1045" y="1700"/>
                    <a:pt x="1045" y="1679"/>
                  </a:cubicBezTo>
                  <a:cubicBezTo>
                    <a:pt x="1024" y="1679"/>
                    <a:pt x="1024" y="1659"/>
                    <a:pt x="1045" y="1659"/>
                  </a:cubicBezTo>
                  <a:cubicBezTo>
                    <a:pt x="1045" y="1638"/>
                    <a:pt x="1045" y="1618"/>
                    <a:pt x="1045" y="1618"/>
                  </a:cubicBezTo>
                  <a:lnTo>
                    <a:pt x="1045" y="1597"/>
                  </a:lnTo>
                  <a:cubicBezTo>
                    <a:pt x="1024" y="1597"/>
                    <a:pt x="1024" y="1597"/>
                    <a:pt x="1024" y="1618"/>
                  </a:cubicBezTo>
                  <a:cubicBezTo>
                    <a:pt x="1004" y="1618"/>
                    <a:pt x="1004" y="1638"/>
                    <a:pt x="1004" y="1638"/>
                  </a:cubicBezTo>
                  <a:cubicBezTo>
                    <a:pt x="1004" y="1659"/>
                    <a:pt x="1004" y="1679"/>
                    <a:pt x="1004" y="1700"/>
                  </a:cubicBezTo>
                  <a:lnTo>
                    <a:pt x="1024" y="1720"/>
                  </a:lnTo>
                  <a:cubicBezTo>
                    <a:pt x="1045" y="1741"/>
                    <a:pt x="1066" y="1741"/>
                    <a:pt x="1066" y="1741"/>
                  </a:cubicBezTo>
                  <a:lnTo>
                    <a:pt x="1066" y="1761"/>
                  </a:lnTo>
                  <a:cubicBezTo>
                    <a:pt x="1066" y="1782"/>
                    <a:pt x="1045" y="1782"/>
                    <a:pt x="1045" y="1782"/>
                  </a:cubicBezTo>
                  <a:cubicBezTo>
                    <a:pt x="1045" y="1782"/>
                    <a:pt x="1024" y="1802"/>
                    <a:pt x="1024" y="1823"/>
                  </a:cubicBezTo>
                  <a:lnTo>
                    <a:pt x="1024" y="1864"/>
                  </a:lnTo>
                  <a:cubicBezTo>
                    <a:pt x="1024" y="1884"/>
                    <a:pt x="1024" y="1905"/>
                    <a:pt x="1024" y="1905"/>
                  </a:cubicBezTo>
                  <a:cubicBezTo>
                    <a:pt x="1024" y="1925"/>
                    <a:pt x="1024" y="1966"/>
                    <a:pt x="1024" y="1987"/>
                  </a:cubicBezTo>
                  <a:cubicBezTo>
                    <a:pt x="1004" y="1987"/>
                    <a:pt x="1004" y="1987"/>
                    <a:pt x="984" y="1987"/>
                  </a:cubicBezTo>
                  <a:lnTo>
                    <a:pt x="963" y="1987"/>
                  </a:lnTo>
                  <a:cubicBezTo>
                    <a:pt x="942" y="1966"/>
                    <a:pt x="942" y="1987"/>
                    <a:pt x="942" y="1987"/>
                  </a:cubicBezTo>
                  <a:cubicBezTo>
                    <a:pt x="942" y="1987"/>
                    <a:pt x="922" y="1987"/>
                    <a:pt x="902" y="1987"/>
                  </a:cubicBezTo>
                  <a:cubicBezTo>
                    <a:pt x="902" y="1966"/>
                    <a:pt x="902" y="1925"/>
                    <a:pt x="902" y="1925"/>
                  </a:cubicBezTo>
                  <a:cubicBezTo>
                    <a:pt x="881" y="1905"/>
                    <a:pt x="860" y="1925"/>
                    <a:pt x="860" y="1905"/>
                  </a:cubicBezTo>
                  <a:cubicBezTo>
                    <a:pt x="860" y="1905"/>
                    <a:pt x="860" y="1884"/>
                    <a:pt x="840" y="1884"/>
                  </a:cubicBezTo>
                  <a:cubicBezTo>
                    <a:pt x="840" y="1864"/>
                    <a:pt x="820" y="1864"/>
                    <a:pt x="820" y="1843"/>
                  </a:cubicBezTo>
                  <a:lnTo>
                    <a:pt x="820" y="1823"/>
                  </a:lnTo>
                  <a:lnTo>
                    <a:pt x="799" y="1802"/>
                  </a:lnTo>
                  <a:lnTo>
                    <a:pt x="799" y="1782"/>
                  </a:lnTo>
                  <a:cubicBezTo>
                    <a:pt x="799" y="1761"/>
                    <a:pt x="820" y="1761"/>
                    <a:pt x="820" y="1761"/>
                  </a:cubicBezTo>
                  <a:cubicBezTo>
                    <a:pt x="840" y="1741"/>
                    <a:pt x="840" y="1700"/>
                    <a:pt x="840" y="1700"/>
                  </a:cubicBezTo>
                  <a:cubicBezTo>
                    <a:pt x="840" y="1679"/>
                    <a:pt x="820" y="1679"/>
                    <a:pt x="820" y="1679"/>
                  </a:cubicBezTo>
                  <a:cubicBezTo>
                    <a:pt x="799" y="1679"/>
                    <a:pt x="778" y="1720"/>
                    <a:pt x="758" y="1720"/>
                  </a:cubicBezTo>
                  <a:cubicBezTo>
                    <a:pt x="738" y="1720"/>
                    <a:pt x="696" y="1700"/>
                    <a:pt x="676" y="1700"/>
                  </a:cubicBezTo>
                  <a:lnTo>
                    <a:pt x="635" y="1720"/>
                  </a:lnTo>
                  <a:cubicBezTo>
                    <a:pt x="614" y="1720"/>
                    <a:pt x="594" y="1761"/>
                    <a:pt x="574" y="1761"/>
                  </a:cubicBezTo>
                  <a:cubicBezTo>
                    <a:pt x="574" y="1782"/>
                    <a:pt x="554" y="1802"/>
                    <a:pt x="533" y="1802"/>
                  </a:cubicBezTo>
                  <a:cubicBezTo>
                    <a:pt x="512" y="1802"/>
                    <a:pt x="492" y="1823"/>
                    <a:pt x="472" y="1823"/>
                  </a:cubicBezTo>
                  <a:cubicBezTo>
                    <a:pt x="451" y="1843"/>
                    <a:pt x="430" y="1843"/>
                    <a:pt x="410" y="1843"/>
                  </a:cubicBezTo>
                  <a:cubicBezTo>
                    <a:pt x="410" y="1843"/>
                    <a:pt x="390" y="1843"/>
                    <a:pt x="369" y="1843"/>
                  </a:cubicBezTo>
                  <a:cubicBezTo>
                    <a:pt x="369" y="1864"/>
                    <a:pt x="369" y="1905"/>
                    <a:pt x="369" y="1905"/>
                  </a:cubicBezTo>
                  <a:lnTo>
                    <a:pt x="348" y="1925"/>
                  </a:lnTo>
                  <a:cubicBezTo>
                    <a:pt x="328" y="1925"/>
                    <a:pt x="308" y="1905"/>
                    <a:pt x="287" y="1905"/>
                  </a:cubicBezTo>
                  <a:cubicBezTo>
                    <a:pt x="287" y="1905"/>
                    <a:pt x="266" y="1905"/>
                    <a:pt x="246" y="1925"/>
                  </a:cubicBezTo>
                  <a:lnTo>
                    <a:pt x="226" y="1946"/>
                  </a:lnTo>
                  <a:cubicBezTo>
                    <a:pt x="226" y="1966"/>
                    <a:pt x="226" y="1987"/>
                    <a:pt x="246" y="1987"/>
                  </a:cubicBezTo>
                  <a:cubicBezTo>
                    <a:pt x="246" y="1987"/>
                    <a:pt x="266" y="2007"/>
                    <a:pt x="287" y="2007"/>
                  </a:cubicBezTo>
                  <a:cubicBezTo>
                    <a:pt x="287" y="2007"/>
                    <a:pt x="308" y="1987"/>
                    <a:pt x="328" y="1987"/>
                  </a:cubicBezTo>
                  <a:cubicBezTo>
                    <a:pt x="328" y="1987"/>
                    <a:pt x="328" y="2007"/>
                    <a:pt x="348" y="2007"/>
                  </a:cubicBezTo>
                  <a:lnTo>
                    <a:pt x="348" y="2028"/>
                  </a:lnTo>
                  <a:lnTo>
                    <a:pt x="328" y="2048"/>
                  </a:lnTo>
                  <a:cubicBezTo>
                    <a:pt x="328" y="2069"/>
                    <a:pt x="348" y="2069"/>
                    <a:pt x="348" y="2089"/>
                  </a:cubicBezTo>
                  <a:cubicBezTo>
                    <a:pt x="369" y="2089"/>
                    <a:pt x="369" y="2089"/>
                    <a:pt x="369" y="2089"/>
                  </a:cubicBezTo>
                  <a:cubicBezTo>
                    <a:pt x="390" y="2089"/>
                    <a:pt x="369" y="2110"/>
                    <a:pt x="390" y="2110"/>
                  </a:cubicBezTo>
                  <a:cubicBezTo>
                    <a:pt x="390" y="2130"/>
                    <a:pt x="410" y="2110"/>
                    <a:pt x="430" y="2130"/>
                  </a:cubicBezTo>
                  <a:cubicBezTo>
                    <a:pt x="430" y="2130"/>
                    <a:pt x="451" y="2171"/>
                    <a:pt x="451" y="2192"/>
                  </a:cubicBezTo>
                  <a:cubicBezTo>
                    <a:pt x="451" y="2192"/>
                    <a:pt x="410" y="2212"/>
                    <a:pt x="410" y="2233"/>
                  </a:cubicBezTo>
                  <a:lnTo>
                    <a:pt x="430" y="2253"/>
                  </a:lnTo>
                  <a:cubicBezTo>
                    <a:pt x="430" y="2274"/>
                    <a:pt x="410" y="2294"/>
                    <a:pt x="410" y="2314"/>
                  </a:cubicBezTo>
                  <a:cubicBezTo>
                    <a:pt x="410" y="2314"/>
                    <a:pt x="410" y="2356"/>
                    <a:pt x="430" y="2376"/>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09" name="Freeform 106">
              <a:extLst>
                <a:ext uri="{FF2B5EF4-FFF2-40B4-BE49-F238E27FC236}">
                  <a16:creationId xmlns:a16="http://schemas.microsoft.com/office/drawing/2014/main" id="{31DA450B-39D2-FC4F-A5A3-C18A7D82090E}"/>
                </a:ext>
              </a:extLst>
            </p:cNvPr>
            <p:cNvSpPr>
              <a:spLocks noChangeArrowheads="1"/>
            </p:cNvSpPr>
            <p:nvPr/>
          </p:nvSpPr>
          <p:spPr bwMode="auto">
            <a:xfrm>
              <a:off x="6423025" y="5106988"/>
              <a:ext cx="141288" cy="147637"/>
            </a:xfrm>
            <a:custGeom>
              <a:avLst/>
              <a:gdLst>
                <a:gd name="T0" fmla="*/ 164 w 391"/>
                <a:gd name="T1" fmla="*/ 389 h 411"/>
                <a:gd name="T2" fmla="*/ 164 w 391"/>
                <a:gd name="T3" fmla="*/ 389 h 411"/>
                <a:gd name="T4" fmla="*/ 164 w 391"/>
                <a:gd name="T5" fmla="*/ 348 h 411"/>
                <a:gd name="T6" fmla="*/ 184 w 391"/>
                <a:gd name="T7" fmla="*/ 307 h 411"/>
                <a:gd name="T8" fmla="*/ 184 w 391"/>
                <a:gd name="T9" fmla="*/ 266 h 411"/>
                <a:gd name="T10" fmla="*/ 205 w 391"/>
                <a:gd name="T11" fmla="*/ 246 h 411"/>
                <a:gd name="T12" fmla="*/ 246 w 391"/>
                <a:gd name="T13" fmla="*/ 225 h 411"/>
                <a:gd name="T14" fmla="*/ 266 w 391"/>
                <a:gd name="T15" fmla="*/ 225 h 411"/>
                <a:gd name="T16" fmla="*/ 287 w 391"/>
                <a:gd name="T17" fmla="*/ 266 h 411"/>
                <a:gd name="T18" fmla="*/ 308 w 391"/>
                <a:gd name="T19" fmla="*/ 287 h 411"/>
                <a:gd name="T20" fmla="*/ 348 w 391"/>
                <a:gd name="T21" fmla="*/ 266 h 411"/>
                <a:gd name="T22" fmla="*/ 328 w 391"/>
                <a:gd name="T23" fmla="*/ 225 h 411"/>
                <a:gd name="T24" fmla="*/ 348 w 391"/>
                <a:gd name="T25" fmla="*/ 184 h 411"/>
                <a:gd name="T26" fmla="*/ 369 w 391"/>
                <a:gd name="T27" fmla="*/ 164 h 411"/>
                <a:gd name="T28" fmla="*/ 369 w 391"/>
                <a:gd name="T29" fmla="*/ 123 h 411"/>
                <a:gd name="T30" fmla="*/ 328 w 391"/>
                <a:gd name="T31" fmla="*/ 102 h 411"/>
                <a:gd name="T32" fmla="*/ 328 w 391"/>
                <a:gd name="T33" fmla="*/ 61 h 411"/>
                <a:gd name="T34" fmla="*/ 266 w 391"/>
                <a:gd name="T35" fmla="*/ 41 h 411"/>
                <a:gd name="T36" fmla="*/ 266 w 391"/>
                <a:gd name="T37" fmla="*/ 20 h 411"/>
                <a:gd name="T38" fmla="*/ 205 w 391"/>
                <a:gd name="T39" fmla="*/ 20 h 411"/>
                <a:gd name="T40" fmla="*/ 164 w 391"/>
                <a:gd name="T41" fmla="*/ 41 h 411"/>
                <a:gd name="T42" fmla="*/ 124 w 391"/>
                <a:gd name="T43" fmla="*/ 82 h 411"/>
                <a:gd name="T44" fmla="*/ 103 w 391"/>
                <a:gd name="T45" fmla="*/ 82 h 411"/>
                <a:gd name="T46" fmla="*/ 62 w 391"/>
                <a:gd name="T47" fmla="*/ 102 h 411"/>
                <a:gd name="T48" fmla="*/ 42 w 391"/>
                <a:gd name="T49" fmla="*/ 143 h 411"/>
                <a:gd name="T50" fmla="*/ 42 w 391"/>
                <a:gd name="T51" fmla="*/ 184 h 411"/>
                <a:gd name="T52" fmla="*/ 21 w 391"/>
                <a:gd name="T53" fmla="*/ 205 h 411"/>
                <a:gd name="T54" fmla="*/ 0 w 391"/>
                <a:gd name="T55" fmla="*/ 225 h 411"/>
                <a:gd name="T56" fmla="*/ 0 w 391"/>
                <a:gd name="T57" fmla="*/ 266 h 411"/>
                <a:gd name="T58" fmla="*/ 21 w 391"/>
                <a:gd name="T59" fmla="*/ 266 h 411"/>
                <a:gd name="T60" fmla="*/ 42 w 391"/>
                <a:gd name="T61" fmla="*/ 266 h 411"/>
                <a:gd name="T62" fmla="*/ 42 w 391"/>
                <a:gd name="T63" fmla="*/ 287 h 411"/>
                <a:gd name="T64" fmla="*/ 42 w 391"/>
                <a:gd name="T65" fmla="*/ 307 h 411"/>
                <a:gd name="T66" fmla="*/ 21 w 391"/>
                <a:gd name="T67" fmla="*/ 307 h 411"/>
                <a:gd name="T68" fmla="*/ 21 w 391"/>
                <a:gd name="T69" fmla="*/ 328 h 411"/>
                <a:gd name="T70" fmla="*/ 42 w 391"/>
                <a:gd name="T71" fmla="*/ 348 h 411"/>
                <a:gd name="T72" fmla="*/ 62 w 391"/>
                <a:gd name="T73" fmla="*/ 348 h 411"/>
                <a:gd name="T74" fmla="*/ 62 w 391"/>
                <a:gd name="T75" fmla="*/ 369 h 411"/>
                <a:gd name="T76" fmla="*/ 103 w 391"/>
                <a:gd name="T77" fmla="*/ 369 h 411"/>
                <a:gd name="T78" fmla="*/ 82 w 391"/>
                <a:gd name="T79" fmla="*/ 410 h 411"/>
                <a:gd name="T80" fmla="*/ 103 w 391"/>
                <a:gd name="T81" fmla="*/ 410 h 411"/>
                <a:gd name="T82" fmla="*/ 144 w 391"/>
                <a:gd name="T83" fmla="*/ 410 h 411"/>
                <a:gd name="T84" fmla="*/ 164 w 391"/>
                <a:gd name="T85" fmla="*/ 389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411">
                  <a:moveTo>
                    <a:pt x="164" y="389"/>
                  </a:moveTo>
                  <a:lnTo>
                    <a:pt x="164" y="389"/>
                  </a:lnTo>
                  <a:cubicBezTo>
                    <a:pt x="164" y="389"/>
                    <a:pt x="164" y="369"/>
                    <a:pt x="164" y="348"/>
                  </a:cubicBezTo>
                  <a:cubicBezTo>
                    <a:pt x="164" y="348"/>
                    <a:pt x="184" y="328"/>
                    <a:pt x="184" y="307"/>
                  </a:cubicBezTo>
                  <a:cubicBezTo>
                    <a:pt x="184" y="307"/>
                    <a:pt x="184" y="287"/>
                    <a:pt x="184" y="266"/>
                  </a:cubicBezTo>
                  <a:lnTo>
                    <a:pt x="205" y="246"/>
                  </a:lnTo>
                  <a:cubicBezTo>
                    <a:pt x="205" y="225"/>
                    <a:pt x="226" y="225"/>
                    <a:pt x="246" y="225"/>
                  </a:cubicBezTo>
                  <a:lnTo>
                    <a:pt x="266" y="225"/>
                  </a:lnTo>
                  <a:cubicBezTo>
                    <a:pt x="287" y="246"/>
                    <a:pt x="287" y="266"/>
                    <a:pt x="287" y="266"/>
                  </a:cubicBezTo>
                  <a:lnTo>
                    <a:pt x="308" y="287"/>
                  </a:lnTo>
                  <a:cubicBezTo>
                    <a:pt x="328" y="287"/>
                    <a:pt x="348" y="287"/>
                    <a:pt x="348" y="266"/>
                  </a:cubicBezTo>
                  <a:cubicBezTo>
                    <a:pt x="348" y="266"/>
                    <a:pt x="328" y="246"/>
                    <a:pt x="328" y="225"/>
                  </a:cubicBezTo>
                  <a:cubicBezTo>
                    <a:pt x="328" y="225"/>
                    <a:pt x="328" y="205"/>
                    <a:pt x="348" y="184"/>
                  </a:cubicBezTo>
                  <a:lnTo>
                    <a:pt x="369" y="164"/>
                  </a:lnTo>
                  <a:cubicBezTo>
                    <a:pt x="390" y="164"/>
                    <a:pt x="369" y="143"/>
                    <a:pt x="369" y="123"/>
                  </a:cubicBezTo>
                  <a:cubicBezTo>
                    <a:pt x="369" y="123"/>
                    <a:pt x="348" y="102"/>
                    <a:pt x="328" y="102"/>
                  </a:cubicBezTo>
                  <a:cubicBezTo>
                    <a:pt x="328" y="82"/>
                    <a:pt x="328" y="61"/>
                    <a:pt x="328" y="61"/>
                  </a:cubicBezTo>
                  <a:cubicBezTo>
                    <a:pt x="308" y="61"/>
                    <a:pt x="287" y="41"/>
                    <a:pt x="266" y="41"/>
                  </a:cubicBezTo>
                  <a:lnTo>
                    <a:pt x="266" y="20"/>
                  </a:lnTo>
                  <a:cubicBezTo>
                    <a:pt x="246" y="0"/>
                    <a:pt x="226" y="0"/>
                    <a:pt x="205" y="20"/>
                  </a:cubicBezTo>
                  <a:cubicBezTo>
                    <a:pt x="184" y="20"/>
                    <a:pt x="184" y="41"/>
                    <a:pt x="164" y="41"/>
                  </a:cubicBezTo>
                  <a:cubicBezTo>
                    <a:pt x="164" y="41"/>
                    <a:pt x="144" y="61"/>
                    <a:pt x="124" y="82"/>
                  </a:cubicBezTo>
                  <a:lnTo>
                    <a:pt x="103" y="82"/>
                  </a:lnTo>
                  <a:cubicBezTo>
                    <a:pt x="82" y="82"/>
                    <a:pt x="62" y="102"/>
                    <a:pt x="62" y="102"/>
                  </a:cubicBezTo>
                  <a:cubicBezTo>
                    <a:pt x="42" y="102"/>
                    <a:pt x="42" y="123"/>
                    <a:pt x="42" y="143"/>
                  </a:cubicBezTo>
                  <a:lnTo>
                    <a:pt x="42" y="184"/>
                  </a:lnTo>
                  <a:cubicBezTo>
                    <a:pt x="42" y="205"/>
                    <a:pt x="21" y="205"/>
                    <a:pt x="21" y="205"/>
                  </a:cubicBezTo>
                  <a:lnTo>
                    <a:pt x="0" y="225"/>
                  </a:lnTo>
                  <a:cubicBezTo>
                    <a:pt x="0" y="246"/>
                    <a:pt x="0" y="246"/>
                    <a:pt x="0" y="266"/>
                  </a:cubicBezTo>
                  <a:lnTo>
                    <a:pt x="21" y="266"/>
                  </a:lnTo>
                  <a:lnTo>
                    <a:pt x="42" y="266"/>
                  </a:lnTo>
                  <a:cubicBezTo>
                    <a:pt x="42" y="266"/>
                    <a:pt x="62" y="287"/>
                    <a:pt x="42" y="287"/>
                  </a:cubicBezTo>
                  <a:cubicBezTo>
                    <a:pt x="42" y="287"/>
                    <a:pt x="42" y="287"/>
                    <a:pt x="42" y="307"/>
                  </a:cubicBezTo>
                  <a:lnTo>
                    <a:pt x="21" y="307"/>
                  </a:lnTo>
                  <a:cubicBezTo>
                    <a:pt x="21" y="307"/>
                    <a:pt x="21" y="307"/>
                    <a:pt x="21" y="328"/>
                  </a:cubicBezTo>
                  <a:cubicBezTo>
                    <a:pt x="21" y="328"/>
                    <a:pt x="42" y="328"/>
                    <a:pt x="42" y="348"/>
                  </a:cubicBezTo>
                  <a:cubicBezTo>
                    <a:pt x="42" y="348"/>
                    <a:pt x="42" y="328"/>
                    <a:pt x="62" y="348"/>
                  </a:cubicBezTo>
                  <a:lnTo>
                    <a:pt x="62" y="369"/>
                  </a:lnTo>
                  <a:cubicBezTo>
                    <a:pt x="82" y="369"/>
                    <a:pt x="103" y="369"/>
                    <a:pt x="103" y="369"/>
                  </a:cubicBezTo>
                  <a:cubicBezTo>
                    <a:pt x="103" y="389"/>
                    <a:pt x="82" y="389"/>
                    <a:pt x="82" y="410"/>
                  </a:cubicBezTo>
                  <a:lnTo>
                    <a:pt x="103" y="410"/>
                  </a:lnTo>
                  <a:cubicBezTo>
                    <a:pt x="124" y="410"/>
                    <a:pt x="144" y="410"/>
                    <a:pt x="144" y="410"/>
                  </a:cubicBezTo>
                  <a:cubicBezTo>
                    <a:pt x="144" y="410"/>
                    <a:pt x="164" y="410"/>
                    <a:pt x="164" y="389"/>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0" name="Freeform 107">
              <a:extLst>
                <a:ext uri="{FF2B5EF4-FFF2-40B4-BE49-F238E27FC236}">
                  <a16:creationId xmlns:a16="http://schemas.microsoft.com/office/drawing/2014/main" id="{CF86E8C9-0938-0A40-B02A-F0141DCCB5DB}"/>
                </a:ext>
              </a:extLst>
            </p:cNvPr>
            <p:cNvSpPr>
              <a:spLocks noChangeArrowheads="1"/>
            </p:cNvSpPr>
            <p:nvPr/>
          </p:nvSpPr>
          <p:spPr bwMode="auto">
            <a:xfrm>
              <a:off x="5773738" y="4405313"/>
              <a:ext cx="280987" cy="465137"/>
            </a:xfrm>
            <a:custGeom>
              <a:avLst/>
              <a:gdLst>
                <a:gd name="T0" fmla="*/ 738 w 780"/>
                <a:gd name="T1" fmla="*/ 62 h 1292"/>
                <a:gd name="T2" fmla="*/ 758 w 780"/>
                <a:gd name="T3" fmla="*/ 103 h 1292"/>
                <a:gd name="T4" fmla="*/ 779 w 780"/>
                <a:gd name="T5" fmla="*/ 123 h 1292"/>
                <a:gd name="T6" fmla="*/ 738 w 780"/>
                <a:gd name="T7" fmla="*/ 164 h 1292"/>
                <a:gd name="T8" fmla="*/ 697 w 780"/>
                <a:gd name="T9" fmla="*/ 246 h 1292"/>
                <a:gd name="T10" fmla="*/ 738 w 780"/>
                <a:gd name="T11" fmla="*/ 390 h 1292"/>
                <a:gd name="T12" fmla="*/ 758 w 780"/>
                <a:gd name="T13" fmla="*/ 492 h 1292"/>
                <a:gd name="T14" fmla="*/ 676 w 780"/>
                <a:gd name="T15" fmla="*/ 615 h 1292"/>
                <a:gd name="T16" fmla="*/ 635 w 780"/>
                <a:gd name="T17" fmla="*/ 697 h 1292"/>
                <a:gd name="T18" fmla="*/ 594 w 780"/>
                <a:gd name="T19" fmla="*/ 718 h 1292"/>
                <a:gd name="T20" fmla="*/ 553 w 780"/>
                <a:gd name="T21" fmla="*/ 758 h 1292"/>
                <a:gd name="T22" fmla="*/ 492 w 780"/>
                <a:gd name="T23" fmla="*/ 758 h 1292"/>
                <a:gd name="T24" fmla="*/ 533 w 780"/>
                <a:gd name="T25" fmla="*/ 800 h 1292"/>
                <a:gd name="T26" fmla="*/ 574 w 780"/>
                <a:gd name="T27" fmla="*/ 882 h 1292"/>
                <a:gd name="T28" fmla="*/ 533 w 780"/>
                <a:gd name="T29" fmla="*/ 902 h 1292"/>
                <a:gd name="T30" fmla="*/ 574 w 780"/>
                <a:gd name="T31" fmla="*/ 902 h 1292"/>
                <a:gd name="T32" fmla="*/ 635 w 780"/>
                <a:gd name="T33" fmla="*/ 922 h 1292"/>
                <a:gd name="T34" fmla="*/ 738 w 780"/>
                <a:gd name="T35" fmla="*/ 1004 h 1292"/>
                <a:gd name="T36" fmla="*/ 758 w 780"/>
                <a:gd name="T37" fmla="*/ 1086 h 1292"/>
                <a:gd name="T38" fmla="*/ 717 w 780"/>
                <a:gd name="T39" fmla="*/ 1127 h 1292"/>
                <a:gd name="T40" fmla="*/ 635 w 780"/>
                <a:gd name="T41" fmla="*/ 1127 h 1292"/>
                <a:gd name="T42" fmla="*/ 574 w 780"/>
                <a:gd name="T43" fmla="*/ 1168 h 1292"/>
                <a:gd name="T44" fmla="*/ 533 w 780"/>
                <a:gd name="T45" fmla="*/ 1250 h 1292"/>
                <a:gd name="T46" fmla="*/ 471 w 780"/>
                <a:gd name="T47" fmla="*/ 1270 h 1292"/>
                <a:gd name="T48" fmla="*/ 390 w 780"/>
                <a:gd name="T49" fmla="*/ 1250 h 1292"/>
                <a:gd name="T50" fmla="*/ 369 w 780"/>
                <a:gd name="T51" fmla="*/ 1291 h 1292"/>
                <a:gd name="T52" fmla="*/ 308 w 780"/>
                <a:gd name="T53" fmla="*/ 1270 h 1292"/>
                <a:gd name="T54" fmla="*/ 287 w 780"/>
                <a:gd name="T55" fmla="*/ 1230 h 1292"/>
                <a:gd name="T56" fmla="*/ 226 w 780"/>
                <a:gd name="T57" fmla="*/ 1250 h 1292"/>
                <a:gd name="T58" fmla="*/ 246 w 780"/>
                <a:gd name="T59" fmla="*/ 1168 h 1292"/>
                <a:gd name="T60" fmla="*/ 226 w 780"/>
                <a:gd name="T61" fmla="*/ 1106 h 1292"/>
                <a:gd name="T62" fmla="*/ 246 w 780"/>
                <a:gd name="T63" fmla="*/ 1046 h 1292"/>
                <a:gd name="T64" fmla="*/ 226 w 780"/>
                <a:gd name="T65" fmla="*/ 984 h 1292"/>
                <a:gd name="T66" fmla="*/ 205 w 780"/>
                <a:gd name="T67" fmla="*/ 902 h 1292"/>
                <a:gd name="T68" fmla="*/ 164 w 780"/>
                <a:gd name="T69" fmla="*/ 882 h 1292"/>
                <a:gd name="T70" fmla="*/ 144 w 780"/>
                <a:gd name="T71" fmla="*/ 820 h 1292"/>
                <a:gd name="T72" fmla="*/ 102 w 780"/>
                <a:gd name="T73" fmla="*/ 840 h 1292"/>
                <a:gd name="T74" fmla="*/ 62 w 780"/>
                <a:gd name="T75" fmla="*/ 820 h 1292"/>
                <a:gd name="T76" fmla="*/ 0 w 780"/>
                <a:gd name="T77" fmla="*/ 800 h 1292"/>
                <a:gd name="T78" fmla="*/ 20 w 780"/>
                <a:gd name="T79" fmla="*/ 718 h 1292"/>
                <a:gd name="T80" fmla="*/ 82 w 780"/>
                <a:gd name="T81" fmla="*/ 615 h 1292"/>
                <a:gd name="T82" fmla="*/ 144 w 780"/>
                <a:gd name="T83" fmla="*/ 574 h 1292"/>
                <a:gd name="T84" fmla="*/ 184 w 780"/>
                <a:gd name="T85" fmla="*/ 472 h 1292"/>
                <a:gd name="T86" fmla="*/ 226 w 780"/>
                <a:gd name="T87" fmla="*/ 410 h 1292"/>
                <a:gd name="T88" fmla="*/ 266 w 780"/>
                <a:gd name="T89" fmla="*/ 369 h 1292"/>
                <a:gd name="T90" fmla="*/ 390 w 780"/>
                <a:gd name="T91" fmla="*/ 390 h 1292"/>
                <a:gd name="T92" fmla="*/ 471 w 780"/>
                <a:gd name="T93" fmla="*/ 328 h 1292"/>
                <a:gd name="T94" fmla="*/ 410 w 780"/>
                <a:gd name="T95" fmla="*/ 267 h 1292"/>
                <a:gd name="T96" fmla="*/ 471 w 780"/>
                <a:gd name="T97" fmla="*/ 246 h 1292"/>
                <a:gd name="T98" fmla="*/ 553 w 780"/>
                <a:gd name="T99" fmla="*/ 205 h 1292"/>
                <a:gd name="T100" fmla="*/ 594 w 780"/>
                <a:gd name="T101" fmla="*/ 123 h 1292"/>
                <a:gd name="T102" fmla="*/ 594 w 780"/>
                <a:gd name="T103" fmla="*/ 41 h 1292"/>
                <a:gd name="T104" fmla="*/ 635 w 780"/>
                <a:gd name="T105" fmla="*/ 0 h 1292"/>
                <a:gd name="T106" fmla="*/ 676 w 780"/>
                <a:gd name="T107" fmla="*/ 41 h 1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0" h="1292">
                  <a:moveTo>
                    <a:pt x="717" y="62"/>
                  </a:moveTo>
                  <a:lnTo>
                    <a:pt x="717" y="62"/>
                  </a:lnTo>
                  <a:cubicBezTo>
                    <a:pt x="738" y="62"/>
                    <a:pt x="738" y="62"/>
                    <a:pt x="738" y="62"/>
                  </a:cubicBezTo>
                  <a:cubicBezTo>
                    <a:pt x="738" y="82"/>
                    <a:pt x="717" y="82"/>
                    <a:pt x="717" y="103"/>
                  </a:cubicBezTo>
                  <a:cubicBezTo>
                    <a:pt x="738" y="103"/>
                    <a:pt x="738" y="103"/>
                    <a:pt x="738" y="103"/>
                  </a:cubicBezTo>
                  <a:lnTo>
                    <a:pt x="758" y="103"/>
                  </a:lnTo>
                  <a:lnTo>
                    <a:pt x="758" y="103"/>
                  </a:lnTo>
                  <a:lnTo>
                    <a:pt x="779" y="103"/>
                  </a:lnTo>
                  <a:lnTo>
                    <a:pt x="779" y="123"/>
                  </a:lnTo>
                  <a:lnTo>
                    <a:pt x="779" y="144"/>
                  </a:lnTo>
                  <a:lnTo>
                    <a:pt x="758" y="164"/>
                  </a:lnTo>
                  <a:lnTo>
                    <a:pt x="738" y="164"/>
                  </a:lnTo>
                  <a:cubicBezTo>
                    <a:pt x="738" y="185"/>
                    <a:pt x="717" y="185"/>
                    <a:pt x="717" y="185"/>
                  </a:cubicBezTo>
                  <a:cubicBezTo>
                    <a:pt x="717" y="185"/>
                    <a:pt x="697" y="185"/>
                    <a:pt x="697" y="205"/>
                  </a:cubicBezTo>
                  <a:cubicBezTo>
                    <a:pt x="697" y="205"/>
                    <a:pt x="697" y="226"/>
                    <a:pt x="697" y="246"/>
                  </a:cubicBezTo>
                  <a:cubicBezTo>
                    <a:pt x="697" y="246"/>
                    <a:pt x="697" y="267"/>
                    <a:pt x="697" y="287"/>
                  </a:cubicBezTo>
                  <a:cubicBezTo>
                    <a:pt x="697" y="308"/>
                    <a:pt x="717" y="328"/>
                    <a:pt x="717" y="349"/>
                  </a:cubicBezTo>
                  <a:cubicBezTo>
                    <a:pt x="717" y="349"/>
                    <a:pt x="738" y="369"/>
                    <a:pt x="738" y="390"/>
                  </a:cubicBezTo>
                  <a:cubicBezTo>
                    <a:pt x="738" y="390"/>
                    <a:pt x="758" y="410"/>
                    <a:pt x="758" y="430"/>
                  </a:cubicBezTo>
                  <a:lnTo>
                    <a:pt x="758" y="451"/>
                  </a:lnTo>
                  <a:cubicBezTo>
                    <a:pt x="758" y="472"/>
                    <a:pt x="758" y="492"/>
                    <a:pt x="758" y="492"/>
                  </a:cubicBezTo>
                  <a:cubicBezTo>
                    <a:pt x="738" y="512"/>
                    <a:pt x="717" y="533"/>
                    <a:pt x="717" y="533"/>
                  </a:cubicBezTo>
                  <a:cubicBezTo>
                    <a:pt x="717" y="554"/>
                    <a:pt x="697" y="574"/>
                    <a:pt x="697" y="594"/>
                  </a:cubicBezTo>
                  <a:lnTo>
                    <a:pt x="676" y="615"/>
                  </a:lnTo>
                  <a:cubicBezTo>
                    <a:pt x="676" y="636"/>
                    <a:pt x="676" y="656"/>
                    <a:pt x="676" y="676"/>
                  </a:cubicBezTo>
                  <a:lnTo>
                    <a:pt x="656" y="676"/>
                  </a:lnTo>
                  <a:cubicBezTo>
                    <a:pt x="656" y="697"/>
                    <a:pt x="635" y="697"/>
                    <a:pt x="635" y="697"/>
                  </a:cubicBezTo>
                  <a:cubicBezTo>
                    <a:pt x="635" y="697"/>
                    <a:pt x="635" y="697"/>
                    <a:pt x="615" y="697"/>
                  </a:cubicBezTo>
                  <a:lnTo>
                    <a:pt x="615" y="718"/>
                  </a:lnTo>
                  <a:lnTo>
                    <a:pt x="594" y="718"/>
                  </a:lnTo>
                  <a:lnTo>
                    <a:pt x="574" y="738"/>
                  </a:lnTo>
                  <a:cubicBezTo>
                    <a:pt x="574" y="738"/>
                    <a:pt x="574" y="738"/>
                    <a:pt x="574" y="758"/>
                  </a:cubicBezTo>
                  <a:cubicBezTo>
                    <a:pt x="574" y="758"/>
                    <a:pt x="574" y="758"/>
                    <a:pt x="553" y="758"/>
                  </a:cubicBezTo>
                  <a:lnTo>
                    <a:pt x="533" y="758"/>
                  </a:lnTo>
                  <a:cubicBezTo>
                    <a:pt x="512" y="758"/>
                    <a:pt x="512" y="738"/>
                    <a:pt x="512" y="738"/>
                  </a:cubicBezTo>
                  <a:cubicBezTo>
                    <a:pt x="492" y="758"/>
                    <a:pt x="492" y="758"/>
                    <a:pt x="492" y="758"/>
                  </a:cubicBezTo>
                  <a:cubicBezTo>
                    <a:pt x="492" y="758"/>
                    <a:pt x="512" y="758"/>
                    <a:pt x="512" y="779"/>
                  </a:cubicBezTo>
                  <a:lnTo>
                    <a:pt x="533" y="779"/>
                  </a:lnTo>
                  <a:lnTo>
                    <a:pt x="533" y="800"/>
                  </a:lnTo>
                  <a:cubicBezTo>
                    <a:pt x="553" y="800"/>
                    <a:pt x="553" y="820"/>
                    <a:pt x="574" y="820"/>
                  </a:cubicBezTo>
                  <a:cubicBezTo>
                    <a:pt x="574" y="820"/>
                    <a:pt x="574" y="840"/>
                    <a:pt x="574" y="861"/>
                  </a:cubicBezTo>
                  <a:cubicBezTo>
                    <a:pt x="574" y="861"/>
                    <a:pt x="574" y="861"/>
                    <a:pt x="574" y="882"/>
                  </a:cubicBezTo>
                  <a:cubicBezTo>
                    <a:pt x="574" y="882"/>
                    <a:pt x="574" y="902"/>
                    <a:pt x="553" y="902"/>
                  </a:cubicBezTo>
                  <a:lnTo>
                    <a:pt x="553" y="902"/>
                  </a:lnTo>
                  <a:cubicBezTo>
                    <a:pt x="533" y="902"/>
                    <a:pt x="533" y="902"/>
                    <a:pt x="533" y="902"/>
                  </a:cubicBezTo>
                  <a:lnTo>
                    <a:pt x="533" y="922"/>
                  </a:lnTo>
                  <a:cubicBezTo>
                    <a:pt x="533" y="922"/>
                    <a:pt x="533" y="922"/>
                    <a:pt x="553" y="922"/>
                  </a:cubicBezTo>
                  <a:cubicBezTo>
                    <a:pt x="553" y="922"/>
                    <a:pt x="553" y="922"/>
                    <a:pt x="574" y="902"/>
                  </a:cubicBezTo>
                  <a:cubicBezTo>
                    <a:pt x="574" y="902"/>
                    <a:pt x="574" y="902"/>
                    <a:pt x="594" y="902"/>
                  </a:cubicBezTo>
                  <a:lnTo>
                    <a:pt x="615" y="922"/>
                  </a:lnTo>
                  <a:lnTo>
                    <a:pt x="635" y="922"/>
                  </a:lnTo>
                  <a:cubicBezTo>
                    <a:pt x="635" y="943"/>
                    <a:pt x="656" y="943"/>
                    <a:pt x="676" y="943"/>
                  </a:cubicBezTo>
                  <a:cubicBezTo>
                    <a:pt x="676" y="964"/>
                    <a:pt x="697" y="964"/>
                    <a:pt x="697" y="964"/>
                  </a:cubicBezTo>
                  <a:cubicBezTo>
                    <a:pt x="717" y="984"/>
                    <a:pt x="738" y="1004"/>
                    <a:pt x="738" y="1004"/>
                  </a:cubicBezTo>
                  <a:cubicBezTo>
                    <a:pt x="758" y="1025"/>
                    <a:pt x="758" y="1046"/>
                    <a:pt x="779" y="1066"/>
                  </a:cubicBezTo>
                  <a:lnTo>
                    <a:pt x="779" y="1066"/>
                  </a:lnTo>
                  <a:cubicBezTo>
                    <a:pt x="758" y="1086"/>
                    <a:pt x="758" y="1086"/>
                    <a:pt x="758" y="1086"/>
                  </a:cubicBezTo>
                  <a:lnTo>
                    <a:pt x="758" y="1106"/>
                  </a:lnTo>
                  <a:lnTo>
                    <a:pt x="738" y="1106"/>
                  </a:lnTo>
                  <a:cubicBezTo>
                    <a:pt x="738" y="1127"/>
                    <a:pt x="717" y="1127"/>
                    <a:pt x="717" y="1127"/>
                  </a:cubicBezTo>
                  <a:cubicBezTo>
                    <a:pt x="717" y="1127"/>
                    <a:pt x="717" y="1127"/>
                    <a:pt x="697" y="1127"/>
                  </a:cubicBezTo>
                  <a:cubicBezTo>
                    <a:pt x="697" y="1148"/>
                    <a:pt x="676" y="1127"/>
                    <a:pt x="676" y="1127"/>
                  </a:cubicBezTo>
                  <a:cubicBezTo>
                    <a:pt x="676" y="1127"/>
                    <a:pt x="656" y="1127"/>
                    <a:pt x="635" y="1127"/>
                  </a:cubicBezTo>
                  <a:lnTo>
                    <a:pt x="615" y="1148"/>
                  </a:lnTo>
                  <a:lnTo>
                    <a:pt x="594" y="1148"/>
                  </a:lnTo>
                  <a:lnTo>
                    <a:pt x="574" y="1168"/>
                  </a:lnTo>
                  <a:lnTo>
                    <a:pt x="574" y="1188"/>
                  </a:lnTo>
                  <a:cubicBezTo>
                    <a:pt x="574" y="1209"/>
                    <a:pt x="553" y="1209"/>
                    <a:pt x="553" y="1230"/>
                  </a:cubicBezTo>
                  <a:cubicBezTo>
                    <a:pt x="533" y="1230"/>
                    <a:pt x="533" y="1250"/>
                    <a:pt x="533" y="1250"/>
                  </a:cubicBezTo>
                  <a:cubicBezTo>
                    <a:pt x="533" y="1250"/>
                    <a:pt x="533" y="1250"/>
                    <a:pt x="512" y="1250"/>
                  </a:cubicBezTo>
                  <a:lnTo>
                    <a:pt x="512" y="1250"/>
                  </a:lnTo>
                  <a:cubicBezTo>
                    <a:pt x="492" y="1250"/>
                    <a:pt x="492" y="1270"/>
                    <a:pt x="471" y="1270"/>
                  </a:cubicBezTo>
                  <a:cubicBezTo>
                    <a:pt x="471" y="1270"/>
                    <a:pt x="430" y="1270"/>
                    <a:pt x="430" y="1250"/>
                  </a:cubicBezTo>
                  <a:cubicBezTo>
                    <a:pt x="410" y="1250"/>
                    <a:pt x="430" y="1250"/>
                    <a:pt x="410" y="1250"/>
                  </a:cubicBezTo>
                  <a:cubicBezTo>
                    <a:pt x="410" y="1230"/>
                    <a:pt x="410" y="1250"/>
                    <a:pt x="390" y="1250"/>
                  </a:cubicBezTo>
                  <a:lnTo>
                    <a:pt x="390" y="1250"/>
                  </a:lnTo>
                  <a:cubicBezTo>
                    <a:pt x="390" y="1270"/>
                    <a:pt x="390" y="1270"/>
                    <a:pt x="390" y="1270"/>
                  </a:cubicBezTo>
                  <a:cubicBezTo>
                    <a:pt x="390" y="1291"/>
                    <a:pt x="369" y="1291"/>
                    <a:pt x="369" y="1291"/>
                  </a:cubicBezTo>
                  <a:lnTo>
                    <a:pt x="348" y="1270"/>
                  </a:lnTo>
                  <a:lnTo>
                    <a:pt x="348" y="1250"/>
                  </a:lnTo>
                  <a:cubicBezTo>
                    <a:pt x="328" y="1250"/>
                    <a:pt x="328" y="1270"/>
                    <a:pt x="308" y="1270"/>
                  </a:cubicBezTo>
                  <a:lnTo>
                    <a:pt x="287" y="1270"/>
                  </a:lnTo>
                  <a:cubicBezTo>
                    <a:pt x="287" y="1250"/>
                    <a:pt x="287" y="1250"/>
                    <a:pt x="287" y="1250"/>
                  </a:cubicBezTo>
                  <a:lnTo>
                    <a:pt x="287" y="1230"/>
                  </a:lnTo>
                  <a:lnTo>
                    <a:pt x="266" y="1230"/>
                  </a:lnTo>
                  <a:cubicBezTo>
                    <a:pt x="266" y="1230"/>
                    <a:pt x="266" y="1250"/>
                    <a:pt x="246" y="1250"/>
                  </a:cubicBezTo>
                  <a:cubicBezTo>
                    <a:pt x="246" y="1250"/>
                    <a:pt x="246" y="1250"/>
                    <a:pt x="226" y="1250"/>
                  </a:cubicBezTo>
                  <a:cubicBezTo>
                    <a:pt x="226" y="1250"/>
                    <a:pt x="205" y="1230"/>
                    <a:pt x="226" y="1230"/>
                  </a:cubicBezTo>
                  <a:cubicBezTo>
                    <a:pt x="226" y="1209"/>
                    <a:pt x="226" y="1209"/>
                    <a:pt x="246" y="1188"/>
                  </a:cubicBezTo>
                  <a:cubicBezTo>
                    <a:pt x="246" y="1188"/>
                    <a:pt x="246" y="1188"/>
                    <a:pt x="246" y="1168"/>
                  </a:cubicBezTo>
                  <a:cubicBezTo>
                    <a:pt x="246" y="1168"/>
                    <a:pt x="246" y="1168"/>
                    <a:pt x="246" y="1148"/>
                  </a:cubicBezTo>
                  <a:lnTo>
                    <a:pt x="226" y="1127"/>
                  </a:lnTo>
                  <a:lnTo>
                    <a:pt x="226" y="1106"/>
                  </a:lnTo>
                  <a:lnTo>
                    <a:pt x="246" y="1086"/>
                  </a:lnTo>
                  <a:cubicBezTo>
                    <a:pt x="246" y="1086"/>
                    <a:pt x="246" y="1066"/>
                    <a:pt x="266" y="1066"/>
                  </a:cubicBezTo>
                  <a:cubicBezTo>
                    <a:pt x="266" y="1066"/>
                    <a:pt x="266" y="1046"/>
                    <a:pt x="246" y="1046"/>
                  </a:cubicBezTo>
                  <a:cubicBezTo>
                    <a:pt x="246" y="1025"/>
                    <a:pt x="226" y="1046"/>
                    <a:pt x="226" y="1025"/>
                  </a:cubicBezTo>
                  <a:lnTo>
                    <a:pt x="226" y="1004"/>
                  </a:lnTo>
                  <a:lnTo>
                    <a:pt x="226" y="984"/>
                  </a:lnTo>
                  <a:cubicBezTo>
                    <a:pt x="226" y="964"/>
                    <a:pt x="246" y="943"/>
                    <a:pt x="226" y="943"/>
                  </a:cubicBezTo>
                  <a:cubicBezTo>
                    <a:pt x="226" y="922"/>
                    <a:pt x="226" y="922"/>
                    <a:pt x="226" y="922"/>
                  </a:cubicBezTo>
                  <a:cubicBezTo>
                    <a:pt x="226" y="902"/>
                    <a:pt x="226" y="902"/>
                    <a:pt x="205" y="902"/>
                  </a:cubicBezTo>
                  <a:cubicBezTo>
                    <a:pt x="205" y="902"/>
                    <a:pt x="226" y="861"/>
                    <a:pt x="205" y="861"/>
                  </a:cubicBezTo>
                  <a:cubicBezTo>
                    <a:pt x="205" y="861"/>
                    <a:pt x="205" y="861"/>
                    <a:pt x="184" y="861"/>
                  </a:cubicBezTo>
                  <a:cubicBezTo>
                    <a:pt x="184" y="861"/>
                    <a:pt x="184" y="882"/>
                    <a:pt x="164" y="882"/>
                  </a:cubicBezTo>
                  <a:lnTo>
                    <a:pt x="164" y="882"/>
                  </a:lnTo>
                  <a:cubicBezTo>
                    <a:pt x="144" y="882"/>
                    <a:pt x="164" y="861"/>
                    <a:pt x="144" y="840"/>
                  </a:cubicBezTo>
                  <a:lnTo>
                    <a:pt x="144" y="820"/>
                  </a:lnTo>
                  <a:lnTo>
                    <a:pt x="123" y="820"/>
                  </a:lnTo>
                  <a:cubicBezTo>
                    <a:pt x="123" y="800"/>
                    <a:pt x="102" y="820"/>
                    <a:pt x="102" y="820"/>
                  </a:cubicBezTo>
                  <a:lnTo>
                    <a:pt x="102" y="840"/>
                  </a:lnTo>
                  <a:lnTo>
                    <a:pt x="102" y="861"/>
                  </a:lnTo>
                  <a:lnTo>
                    <a:pt x="82" y="861"/>
                  </a:lnTo>
                  <a:cubicBezTo>
                    <a:pt x="82" y="840"/>
                    <a:pt x="82" y="820"/>
                    <a:pt x="62" y="820"/>
                  </a:cubicBezTo>
                  <a:lnTo>
                    <a:pt x="62" y="820"/>
                  </a:lnTo>
                  <a:cubicBezTo>
                    <a:pt x="41" y="820"/>
                    <a:pt x="41" y="800"/>
                    <a:pt x="20" y="800"/>
                  </a:cubicBezTo>
                  <a:cubicBezTo>
                    <a:pt x="20" y="800"/>
                    <a:pt x="20" y="800"/>
                    <a:pt x="0" y="800"/>
                  </a:cubicBezTo>
                  <a:lnTo>
                    <a:pt x="0" y="779"/>
                  </a:lnTo>
                  <a:lnTo>
                    <a:pt x="20" y="758"/>
                  </a:lnTo>
                  <a:cubicBezTo>
                    <a:pt x="20" y="758"/>
                    <a:pt x="20" y="738"/>
                    <a:pt x="20" y="718"/>
                  </a:cubicBezTo>
                  <a:lnTo>
                    <a:pt x="41" y="718"/>
                  </a:lnTo>
                  <a:cubicBezTo>
                    <a:pt x="62" y="697"/>
                    <a:pt x="62" y="676"/>
                    <a:pt x="62" y="656"/>
                  </a:cubicBezTo>
                  <a:cubicBezTo>
                    <a:pt x="82" y="636"/>
                    <a:pt x="82" y="636"/>
                    <a:pt x="82" y="615"/>
                  </a:cubicBezTo>
                  <a:cubicBezTo>
                    <a:pt x="102" y="615"/>
                    <a:pt x="102" y="615"/>
                    <a:pt x="123" y="615"/>
                  </a:cubicBezTo>
                  <a:cubicBezTo>
                    <a:pt x="123" y="594"/>
                    <a:pt x="123" y="574"/>
                    <a:pt x="123" y="574"/>
                  </a:cubicBezTo>
                  <a:lnTo>
                    <a:pt x="144" y="574"/>
                  </a:lnTo>
                  <a:cubicBezTo>
                    <a:pt x="164" y="554"/>
                    <a:pt x="164" y="554"/>
                    <a:pt x="164" y="554"/>
                  </a:cubicBezTo>
                  <a:cubicBezTo>
                    <a:pt x="184" y="533"/>
                    <a:pt x="184" y="512"/>
                    <a:pt x="184" y="512"/>
                  </a:cubicBezTo>
                  <a:cubicBezTo>
                    <a:pt x="184" y="492"/>
                    <a:pt x="184" y="472"/>
                    <a:pt x="184" y="472"/>
                  </a:cubicBezTo>
                  <a:cubicBezTo>
                    <a:pt x="184" y="472"/>
                    <a:pt x="184" y="451"/>
                    <a:pt x="205" y="451"/>
                  </a:cubicBezTo>
                  <a:lnTo>
                    <a:pt x="205" y="451"/>
                  </a:lnTo>
                  <a:cubicBezTo>
                    <a:pt x="205" y="430"/>
                    <a:pt x="226" y="430"/>
                    <a:pt x="226" y="410"/>
                  </a:cubicBezTo>
                  <a:lnTo>
                    <a:pt x="226" y="390"/>
                  </a:lnTo>
                  <a:lnTo>
                    <a:pt x="226" y="369"/>
                  </a:lnTo>
                  <a:cubicBezTo>
                    <a:pt x="246" y="369"/>
                    <a:pt x="266" y="369"/>
                    <a:pt x="266" y="369"/>
                  </a:cubicBezTo>
                  <a:cubicBezTo>
                    <a:pt x="287" y="369"/>
                    <a:pt x="287" y="390"/>
                    <a:pt x="308" y="390"/>
                  </a:cubicBezTo>
                  <a:lnTo>
                    <a:pt x="328" y="390"/>
                  </a:lnTo>
                  <a:cubicBezTo>
                    <a:pt x="348" y="390"/>
                    <a:pt x="369" y="390"/>
                    <a:pt x="390" y="390"/>
                  </a:cubicBezTo>
                  <a:cubicBezTo>
                    <a:pt x="410" y="390"/>
                    <a:pt x="430" y="390"/>
                    <a:pt x="430" y="369"/>
                  </a:cubicBezTo>
                  <a:cubicBezTo>
                    <a:pt x="451" y="369"/>
                    <a:pt x="451" y="369"/>
                    <a:pt x="471" y="369"/>
                  </a:cubicBezTo>
                  <a:cubicBezTo>
                    <a:pt x="471" y="349"/>
                    <a:pt x="471" y="328"/>
                    <a:pt x="471" y="328"/>
                  </a:cubicBezTo>
                  <a:lnTo>
                    <a:pt x="451" y="308"/>
                  </a:lnTo>
                  <a:cubicBezTo>
                    <a:pt x="451" y="308"/>
                    <a:pt x="430" y="308"/>
                    <a:pt x="430" y="287"/>
                  </a:cubicBezTo>
                  <a:cubicBezTo>
                    <a:pt x="430" y="287"/>
                    <a:pt x="430" y="287"/>
                    <a:pt x="410" y="267"/>
                  </a:cubicBezTo>
                  <a:cubicBezTo>
                    <a:pt x="410" y="267"/>
                    <a:pt x="410" y="267"/>
                    <a:pt x="410" y="246"/>
                  </a:cubicBezTo>
                  <a:lnTo>
                    <a:pt x="430" y="246"/>
                  </a:lnTo>
                  <a:cubicBezTo>
                    <a:pt x="430" y="226"/>
                    <a:pt x="451" y="246"/>
                    <a:pt x="471" y="246"/>
                  </a:cubicBezTo>
                  <a:lnTo>
                    <a:pt x="492" y="246"/>
                  </a:lnTo>
                  <a:cubicBezTo>
                    <a:pt x="512" y="246"/>
                    <a:pt x="512" y="226"/>
                    <a:pt x="533" y="226"/>
                  </a:cubicBezTo>
                  <a:cubicBezTo>
                    <a:pt x="533" y="205"/>
                    <a:pt x="553" y="205"/>
                    <a:pt x="553" y="205"/>
                  </a:cubicBezTo>
                  <a:cubicBezTo>
                    <a:pt x="553" y="185"/>
                    <a:pt x="553" y="185"/>
                    <a:pt x="553" y="164"/>
                  </a:cubicBezTo>
                  <a:lnTo>
                    <a:pt x="553" y="144"/>
                  </a:lnTo>
                  <a:cubicBezTo>
                    <a:pt x="574" y="123"/>
                    <a:pt x="574" y="123"/>
                    <a:pt x="594" y="123"/>
                  </a:cubicBezTo>
                  <a:lnTo>
                    <a:pt x="615" y="103"/>
                  </a:lnTo>
                  <a:lnTo>
                    <a:pt x="615" y="82"/>
                  </a:lnTo>
                  <a:cubicBezTo>
                    <a:pt x="615" y="62"/>
                    <a:pt x="615" y="62"/>
                    <a:pt x="594" y="41"/>
                  </a:cubicBezTo>
                  <a:cubicBezTo>
                    <a:pt x="594" y="41"/>
                    <a:pt x="594" y="41"/>
                    <a:pt x="594" y="21"/>
                  </a:cubicBezTo>
                  <a:cubicBezTo>
                    <a:pt x="594" y="21"/>
                    <a:pt x="594" y="21"/>
                    <a:pt x="594" y="0"/>
                  </a:cubicBezTo>
                  <a:cubicBezTo>
                    <a:pt x="615" y="0"/>
                    <a:pt x="615" y="0"/>
                    <a:pt x="635" y="0"/>
                  </a:cubicBezTo>
                  <a:lnTo>
                    <a:pt x="656" y="21"/>
                  </a:lnTo>
                  <a:lnTo>
                    <a:pt x="656" y="41"/>
                  </a:lnTo>
                  <a:cubicBezTo>
                    <a:pt x="676" y="41"/>
                    <a:pt x="676" y="41"/>
                    <a:pt x="676" y="41"/>
                  </a:cubicBezTo>
                  <a:cubicBezTo>
                    <a:pt x="697" y="41"/>
                    <a:pt x="717" y="41"/>
                    <a:pt x="717" y="41"/>
                  </a:cubicBezTo>
                  <a:cubicBezTo>
                    <a:pt x="717" y="41"/>
                    <a:pt x="717" y="41"/>
                    <a:pt x="717"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1" name="Freeform 108">
              <a:extLst>
                <a:ext uri="{FF2B5EF4-FFF2-40B4-BE49-F238E27FC236}">
                  <a16:creationId xmlns:a16="http://schemas.microsoft.com/office/drawing/2014/main" id="{2F9C80E6-6947-2242-9623-80FFA4D20AC9}"/>
                </a:ext>
              </a:extLst>
            </p:cNvPr>
            <p:cNvSpPr>
              <a:spLocks noChangeArrowheads="1"/>
            </p:cNvSpPr>
            <p:nvPr/>
          </p:nvSpPr>
          <p:spPr bwMode="auto">
            <a:xfrm>
              <a:off x="6076950" y="5210175"/>
              <a:ext cx="38100" cy="36513"/>
            </a:xfrm>
            <a:custGeom>
              <a:avLst/>
              <a:gdLst>
                <a:gd name="T0" fmla="*/ 103 w 104"/>
                <a:gd name="T1" fmla="*/ 61 h 103"/>
                <a:gd name="T2" fmla="*/ 103 w 104"/>
                <a:gd name="T3" fmla="*/ 61 h 103"/>
                <a:gd name="T4" fmla="*/ 103 w 104"/>
                <a:gd name="T5" fmla="*/ 41 h 103"/>
                <a:gd name="T6" fmla="*/ 103 w 104"/>
                <a:gd name="T7" fmla="*/ 20 h 103"/>
                <a:gd name="T8" fmla="*/ 82 w 104"/>
                <a:gd name="T9" fmla="*/ 20 h 103"/>
                <a:gd name="T10" fmla="*/ 62 w 104"/>
                <a:gd name="T11" fmla="*/ 20 h 103"/>
                <a:gd name="T12" fmla="*/ 41 w 104"/>
                <a:gd name="T13" fmla="*/ 0 h 103"/>
                <a:gd name="T14" fmla="*/ 21 w 104"/>
                <a:gd name="T15" fmla="*/ 0 h 103"/>
                <a:gd name="T16" fmla="*/ 21 w 104"/>
                <a:gd name="T17" fmla="*/ 20 h 103"/>
                <a:gd name="T18" fmla="*/ 0 w 104"/>
                <a:gd name="T19" fmla="*/ 41 h 103"/>
                <a:gd name="T20" fmla="*/ 0 w 104"/>
                <a:gd name="T21" fmla="*/ 61 h 103"/>
                <a:gd name="T22" fmla="*/ 0 w 104"/>
                <a:gd name="T23" fmla="*/ 82 h 103"/>
                <a:gd name="T24" fmla="*/ 21 w 104"/>
                <a:gd name="T25" fmla="*/ 102 h 103"/>
                <a:gd name="T26" fmla="*/ 41 w 104"/>
                <a:gd name="T27" fmla="*/ 82 h 103"/>
                <a:gd name="T28" fmla="*/ 62 w 104"/>
                <a:gd name="T29" fmla="*/ 82 h 103"/>
                <a:gd name="T30" fmla="*/ 82 w 104"/>
                <a:gd name="T31" fmla="*/ 82 h 103"/>
                <a:gd name="T32" fmla="*/ 103 w 104"/>
                <a:gd name="T33" fmla="*/ 6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03">
                  <a:moveTo>
                    <a:pt x="103" y="61"/>
                  </a:moveTo>
                  <a:lnTo>
                    <a:pt x="103" y="61"/>
                  </a:lnTo>
                  <a:cubicBezTo>
                    <a:pt x="103" y="61"/>
                    <a:pt x="103" y="61"/>
                    <a:pt x="103" y="41"/>
                  </a:cubicBezTo>
                  <a:lnTo>
                    <a:pt x="103" y="20"/>
                  </a:lnTo>
                  <a:lnTo>
                    <a:pt x="82" y="20"/>
                  </a:lnTo>
                  <a:cubicBezTo>
                    <a:pt x="82" y="20"/>
                    <a:pt x="82" y="20"/>
                    <a:pt x="62" y="20"/>
                  </a:cubicBezTo>
                  <a:cubicBezTo>
                    <a:pt x="62" y="20"/>
                    <a:pt x="62" y="0"/>
                    <a:pt x="41" y="0"/>
                  </a:cubicBezTo>
                  <a:lnTo>
                    <a:pt x="21" y="0"/>
                  </a:lnTo>
                  <a:cubicBezTo>
                    <a:pt x="21" y="20"/>
                    <a:pt x="21" y="20"/>
                    <a:pt x="21" y="20"/>
                  </a:cubicBezTo>
                  <a:cubicBezTo>
                    <a:pt x="21" y="41"/>
                    <a:pt x="0" y="41"/>
                    <a:pt x="0" y="41"/>
                  </a:cubicBezTo>
                  <a:lnTo>
                    <a:pt x="0" y="61"/>
                  </a:lnTo>
                  <a:lnTo>
                    <a:pt x="0" y="82"/>
                  </a:lnTo>
                  <a:cubicBezTo>
                    <a:pt x="0" y="102"/>
                    <a:pt x="21" y="102"/>
                    <a:pt x="21" y="102"/>
                  </a:cubicBezTo>
                  <a:lnTo>
                    <a:pt x="41" y="82"/>
                  </a:lnTo>
                  <a:lnTo>
                    <a:pt x="62" y="82"/>
                  </a:lnTo>
                  <a:lnTo>
                    <a:pt x="82" y="82"/>
                  </a:lnTo>
                  <a:lnTo>
                    <a:pt x="103" y="6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2" name="Freeform 109">
              <a:extLst>
                <a:ext uri="{FF2B5EF4-FFF2-40B4-BE49-F238E27FC236}">
                  <a16:creationId xmlns:a16="http://schemas.microsoft.com/office/drawing/2014/main" id="{9BFD19E2-19A8-2644-8E11-776F4FB78DF6}"/>
                </a:ext>
              </a:extLst>
            </p:cNvPr>
            <p:cNvSpPr>
              <a:spLocks noChangeArrowheads="1"/>
            </p:cNvSpPr>
            <p:nvPr/>
          </p:nvSpPr>
          <p:spPr bwMode="auto">
            <a:xfrm>
              <a:off x="6135688" y="5099050"/>
              <a:ext cx="7937" cy="15875"/>
            </a:xfrm>
            <a:custGeom>
              <a:avLst/>
              <a:gdLst>
                <a:gd name="T0" fmla="*/ 21 w 22"/>
                <a:gd name="T1" fmla="*/ 41 h 42"/>
                <a:gd name="T2" fmla="*/ 21 w 22"/>
                <a:gd name="T3" fmla="*/ 41 h 42"/>
                <a:gd name="T4" fmla="*/ 0 w 22"/>
                <a:gd name="T5" fmla="*/ 41 h 42"/>
                <a:gd name="T6" fmla="*/ 0 w 22"/>
                <a:gd name="T7" fmla="*/ 21 h 42"/>
                <a:gd name="T8" fmla="*/ 0 w 22"/>
                <a:gd name="T9" fmla="*/ 0 h 42"/>
                <a:gd name="T10" fmla="*/ 21 w 22"/>
                <a:gd name="T11" fmla="*/ 21 h 42"/>
                <a:gd name="T12" fmla="*/ 21 w 22"/>
                <a:gd name="T13" fmla="*/ 21 h 42"/>
                <a:gd name="T14" fmla="*/ 21 w 2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21" y="41"/>
                  </a:moveTo>
                  <a:lnTo>
                    <a:pt x="21" y="41"/>
                  </a:lnTo>
                  <a:cubicBezTo>
                    <a:pt x="0" y="41"/>
                    <a:pt x="0" y="41"/>
                    <a:pt x="0" y="41"/>
                  </a:cubicBezTo>
                  <a:lnTo>
                    <a:pt x="0" y="21"/>
                  </a:lnTo>
                  <a:lnTo>
                    <a:pt x="0" y="0"/>
                  </a:lnTo>
                  <a:cubicBezTo>
                    <a:pt x="0" y="0"/>
                    <a:pt x="0" y="0"/>
                    <a:pt x="21" y="21"/>
                  </a:cubicBezTo>
                  <a:lnTo>
                    <a:pt x="21" y="21"/>
                  </a:lnTo>
                  <a:lnTo>
                    <a:pt x="2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3" name="Freeform 110">
              <a:extLst>
                <a:ext uri="{FF2B5EF4-FFF2-40B4-BE49-F238E27FC236}">
                  <a16:creationId xmlns:a16="http://schemas.microsoft.com/office/drawing/2014/main" id="{D54F887A-2088-D54A-9E4A-7F3B963E7A3C}"/>
                </a:ext>
              </a:extLst>
            </p:cNvPr>
            <p:cNvSpPr>
              <a:spLocks noChangeArrowheads="1"/>
            </p:cNvSpPr>
            <p:nvPr/>
          </p:nvSpPr>
          <p:spPr bwMode="auto">
            <a:xfrm>
              <a:off x="6113463" y="5151438"/>
              <a:ext cx="7937" cy="7937"/>
            </a:xfrm>
            <a:custGeom>
              <a:avLst/>
              <a:gdLst>
                <a:gd name="T0" fmla="*/ 0 w 21"/>
                <a:gd name="T1" fmla="*/ 20 h 21"/>
                <a:gd name="T2" fmla="*/ 0 w 21"/>
                <a:gd name="T3" fmla="*/ 20 h 21"/>
                <a:gd name="T4" fmla="*/ 20 w 21"/>
                <a:gd name="T5" fmla="*/ 0 h 21"/>
                <a:gd name="T6" fmla="*/ 0 w 21"/>
                <a:gd name="T7" fmla="*/ 0 h 21"/>
                <a:gd name="T8" fmla="*/ 0 w 21"/>
                <a:gd name="T9" fmla="*/ 0 h 21"/>
                <a:gd name="T10" fmla="*/ 0 w 21"/>
                <a:gd name="T11" fmla="*/ 20 h 21"/>
              </a:gdLst>
              <a:ahLst/>
              <a:cxnLst>
                <a:cxn ang="0">
                  <a:pos x="T0" y="T1"/>
                </a:cxn>
                <a:cxn ang="0">
                  <a:pos x="T2" y="T3"/>
                </a:cxn>
                <a:cxn ang="0">
                  <a:pos x="T4" y="T5"/>
                </a:cxn>
                <a:cxn ang="0">
                  <a:pos x="T6" y="T7"/>
                </a:cxn>
                <a:cxn ang="0">
                  <a:pos x="T8" y="T9"/>
                </a:cxn>
                <a:cxn ang="0">
                  <a:pos x="T10" y="T11"/>
                </a:cxn>
              </a:cxnLst>
              <a:rect l="0" t="0" r="r" b="b"/>
              <a:pathLst>
                <a:path w="21" h="21">
                  <a:moveTo>
                    <a:pt x="0" y="20"/>
                  </a:moveTo>
                  <a:lnTo>
                    <a:pt x="0" y="20"/>
                  </a:lnTo>
                  <a:lnTo>
                    <a:pt x="20" y="0"/>
                  </a:lnTo>
                  <a:lnTo>
                    <a:pt x="0" y="0"/>
                  </a:lnTo>
                  <a:lnTo>
                    <a:pt x="0" y="0"/>
                  </a:ln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4" name="Freeform 111">
              <a:extLst>
                <a:ext uri="{FF2B5EF4-FFF2-40B4-BE49-F238E27FC236}">
                  <a16:creationId xmlns:a16="http://schemas.microsoft.com/office/drawing/2014/main" id="{CC788D12-C7AD-AB4A-87B8-53706E830A27}"/>
                </a:ext>
              </a:extLst>
            </p:cNvPr>
            <p:cNvSpPr>
              <a:spLocks noChangeArrowheads="1"/>
            </p:cNvSpPr>
            <p:nvPr/>
          </p:nvSpPr>
          <p:spPr bwMode="auto">
            <a:xfrm>
              <a:off x="6135688" y="5121275"/>
              <a:ext cx="7937" cy="15875"/>
            </a:xfrm>
            <a:custGeom>
              <a:avLst/>
              <a:gdLst>
                <a:gd name="T0" fmla="*/ 21 w 22"/>
                <a:gd name="T1" fmla="*/ 41 h 42"/>
                <a:gd name="T2" fmla="*/ 21 w 22"/>
                <a:gd name="T3" fmla="*/ 41 h 42"/>
                <a:gd name="T4" fmla="*/ 0 w 22"/>
                <a:gd name="T5" fmla="*/ 20 h 42"/>
                <a:gd name="T6" fmla="*/ 0 w 22"/>
                <a:gd name="T7" fmla="*/ 0 h 42"/>
                <a:gd name="T8" fmla="*/ 21 w 22"/>
                <a:gd name="T9" fmla="*/ 20 h 42"/>
                <a:gd name="T10" fmla="*/ 21 w 22"/>
                <a:gd name="T11" fmla="*/ 20 h 42"/>
                <a:gd name="T12" fmla="*/ 21 w 2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21" y="41"/>
                  </a:moveTo>
                  <a:lnTo>
                    <a:pt x="21" y="41"/>
                  </a:lnTo>
                  <a:cubicBezTo>
                    <a:pt x="0" y="41"/>
                    <a:pt x="0" y="20"/>
                    <a:pt x="0" y="20"/>
                  </a:cubicBezTo>
                  <a:cubicBezTo>
                    <a:pt x="0" y="20"/>
                    <a:pt x="0" y="20"/>
                    <a:pt x="0" y="0"/>
                  </a:cubicBezTo>
                  <a:cubicBezTo>
                    <a:pt x="0" y="0"/>
                    <a:pt x="21" y="0"/>
                    <a:pt x="21" y="20"/>
                  </a:cubicBezTo>
                  <a:lnTo>
                    <a:pt x="21" y="20"/>
                  </a:lnTo>
                  <a:lnTo>
                    <a:pt x="2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5" name="Freeform 112">
              <a:extLst>
                <a:ext uri="{FF2B5EF4-FFF2-40B4-BE49-F238E27FC236}">
                  <a16:creationId xmlns:a16="http://schemas.microsoft.com/office/drawing/2014/main" id="{1938D07B-914E-8D41-979D-BB388DDB3686}"/>
                </a:ext>
              </a:extLst>
            </p:cNvPr>
            <p:cNvSpPr>
              <a:spLocks noChangeArrowheads="1"/>
            </p:cNvSpPr>
            <p:nvPr/>
          </p:nvSpPr>
          <p:spPr bwMode="auto">
            <a:xfrm>
              <a:off x="6121400" y="5157788"/>
              <a:ext cx="7938" cy="15875"/>
            </a:xfrm>
            <a:custGeom>
              <a:avLst/>
              <a:gdLst>
                <a:gd name="T0" fmla="*/ 21 w 22"/>
                <a:gd name="T1" fmla="*/ 0 h 42"/>
                <a:gd name="T2" fmla="*/ 21 w 22"/>
                <a:gd name="T3" fmla="*/ 0 h 42"/>
                <a:gd name="T4" fmla="*/ 0 w 22"/>
                <a:gd name="T5" fmla="*/ 21 h 42"/>
                <a:gd name="T6" fmla="*/ 0 w 22"/>
                <a:gd name="T7" fmla="*/ 21 h 42"/>
                <a:gd name="T8" fmla="*/ 21 w 22"/>
                <a:gd name="T9" fmla="*/ 21 h 42"/>
                <a:gd name="T10" fmla="*/ 21 w 22"/>
                <a:gd name="T11" fmla="*/ 0 h 42"/>
              </a:gdLst>
              <a:ahLst/>
              <a:cxnLst>
                <a:cxn ang="0">
                  <a:pos x="T0" y="T1"/>
                </a:cxn>
                <a:cxn ang="0">
                  <a:pos x="T2" y="T3"/>
                </a:cxn>
                <a:cxn ang="0">
                  <a:pos x="T4" y="T5"/>
                </a:cxn>
                <a:cxn ang="0">
                  <a:pos x="T6" y="T7"/>
                </a:cxn>
                <a:cxn ang="0">
                  <a:pos x="T8" y="T9"/>
                </a:cxn>
                <a:cxn ang="0">
                  <a:pos x="T10" y="T11"/>
                </a:cxn>
              </a:cxnLst>
              <a:rect l="0" t="0" r="r" b="b"/>
              <a:pathLst>
                <a:path w="22" h="42">
                  <a:moveTo>
                    <a:pt x="21" y="0"/>
                  </a:moveTo>
                  <a:lnTo>
                    <a:pt x="21" y="0"/>
                  </a:lnTo>
                  <a:cubicBezTo>
                    <a:pt x="21" y="0"/>
                    <a:pt x="0" y="0"/>
                    <a:pt x="0" y="21"/>
                  </a:cubicBezTo>
                  <a:lnTo>
                    <a:pt x="0" y="21"/>
                  </a:lnTo>
                  <a:cubicBezTo>
                    <a:pt x="0" y="41"/>
                    <a:pt x="21" y="21"/>
                    <a:pt x="21" y="21"/>
                  </a:cubicBezTo>
                  <a:cubicBezTo>
                    <a:pt x="21" y="21"/>
                    <a:pt x="21" y="21"/>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6" name="Freeform 113">
              <a:extLst>
                <a:ext uri="{FF2B5EF4-FFF2-40B4-BE49-F238E27FC236}">
                  <a16:creationId xmlns:a16="http://schemas.microsoft.com/office/drawing/2014/main" id="{E9369541-ED29-D94B-9E53-8BEA43D205CF}"/>
                </a:ext>
              </a:extLst>
            </p:cNvPr>
            <p:cNvSpPr>
              <a:spLocks noChangeArrowheads="1"/>
            </p:cNvSpPr>
            <p:nvPr/>
          </p:nvSpPr>
          <p:spPr bwMode="auto">
            <a:xfrm>
              <a:off x="5995988" y="5172075"/>
              <a:ext cx="7937" cy="7938"/>
            </a:xfrm>
            <a:custGeom>
              <a:avLst/>
              <a:gdLst>
                <a:gd name="T0" fmla="*/ 0 w 21"/>
                <a:gd name="T1" fmla="*/ 21 h 22"/>
                <a:gd name="T2" fmla="*/ 0 w 21"/>
                <a:gd name="T3" fmla="*/ 21 h 22"/>
                <a:gd name="T4" fmla="*/ 0 w 21"/>
                <a:gd name="T5" fmla="*/ 21 h 22"/>
                <a:gd name="T6" fmla="*/ 0 w 21"/>
                <a:gd name="T7" fmla="*/ 0 h 22"/>
                <a:gd name="T8" fmla="*/ 0 w 21"/>
                <a:gd name="T9" fmla="*/ 0 h 22"/>
                <a:gd name="T10" fmla="*/ 20 w 21"/>
                <a:gd name="T11" fmla="*/ 0 h 22"/>
                <a:gd name="T12" fmla="*/ 20 w 21"/>
                <a:gd name="T13" fmla="*/ 21 h 22"/>
                <a:gd name="T14" fmla="*/ 0 w 21"/>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2">
                  <a:moveTo>
                    <a:pt x="0" y="21"/>
                  </a:moveTo>
                  <a:lnTo>
                    <a:pt x="0" y="21"/>
                  </a:lnTo>
                  <a:lnTo>
                    <a:pt x="0" y="21"/>
                  </a:lnTo>
                  <a:lnTo>
                    <a:pt x="0" y="0"/>
                  </a:lnTo>
                  <a:lnTo>
                    <a:pt x="0" y="0"/>
                  </a:lnTo>
                  <a:cubicBezTo>
                    <a:pt x="20" y="0"/>
                    <a:pt x="20" y="0"/>
                    <a:pt x="20" y="0"/>
                  </a:cubicBezTo>
                  <a:lnTo>
                    <a:pt x="20" y="21"/>
                  </a:lnTo>
                  <a:lnTo>
                    <a:pt x="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7" name="Freeform 114">
              <a:extLst>
                <a:ext uri="{FF2B5EF4-FFF2-40B4-BE49-F238E27FC236}">
                  <a16:creationId xmlns:a16="http://schemas.microsoft.com/office/drawing/2014/main" id="{4BA3EC8C-A776-3042-BFA5-0CEDAE65FDAB}"/>
                </a:ext>
              </a:extLst>
            </p:cNvPr>
            <p:cNvSpPr>
              <a:spLocks noChangeArrowheads="1"/>
            </p:cNvSpPr>
            <p:nvPr/>
          </p:nvSpPr>
          <p:spPr bwMode="auto">
            <a:xfrm>
              <a:off x="6040438" y="5135563"/>
              <a:ext cx="15875" cy="15875"/>
            </a:xfrm>
            <a:custGeom>
              <a:avLst/>
              <a:gdLst>
                <a:gd name="T0" fmla="*/ 20 w 42"/>
                <a:gd name="T1" fmla="*/ 41 h 42"/>
                <a:gd name="T2" fmla="*/ 20 w 42"/>
                <a:gd name="T3" fmla="*/ 41 h 42"/>
                <a:gd name="T4" fmla="*/ 0 w 42"/>
                <a:gd name="T5" fmla="*/ 20 h 42"/>
                <a:gd name="T6" fmla="*/ 20 w 42"/>
                <a:gd name="T7" fmla="*/ 0 h 42"/>
                <a:gd name="T8" fmla="*/ 20 w 42"/>
                <a:gd name="T9" fmla="*/ 0 h 42"/>
                <a:gd name="T10" fmla="*/ 20 w 42"/>
                <a:gd name="T11" fmla="*/ 0 h 42"/>
                <a:gd name="T12" fmla="*/ 41 w 42"/>
                <a:gd name="T13" fmla="*/ 20 h 42"/>
                <a:gd name="T14" fmla="*/ 20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0" y="41"/>
                  </a:moveTo>
                  <a:lnTo>
                    <a:pt x="20" y="41"/>
                  </a:lnTo>
                  <a:lnTo>
                    <a:pt x="0" y="20"/>
                  </a:lnTo>
                  <a:cubicBezTo>
                    <a:pt x="0" y="20"/>
                    <a:pt x="0" y="0"/>
                    <a:pt x="20" y="0"/>
                  </a:cubicBezTo>
                  <a:lnTo>
                    <a:pt x="20" y="0"/>
                  </a:lnTo>
                  <a:lnTo>
                    <a:pt x="20" y="0"/>
                  </a:lnTo>
                  <a:cubicBezTo>
                    <a:pt x="41" y="20"/>
                    <a:pt x="41" y="20"/>
                    <a:pt x="41" y="20"/>
                  </a:cubicBez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8" name="Freeform 115">
              <a:extLst>
                <a:ext uri="{FF2B5EF4-FFF2-40B4-BE49-F238E27FC236}">
                  <a16:creationId xmlns:a16="http://schemas.microsoft.com/office/drawing/2014/main" id="{8DD8EE31-9C9C-E34A-B83C-BCAFAC7F171F}"/>
                </a:ext>
              </a:extLst>
            </p:cNvPr>
            <p:cNvSpPr>
              <a:spLocks noChangeArrowheads="1"/>
            </p:cNvSpPr>
            <p:nvPr/>
          </p:nvSpPr>
          <p:spPr bwMode="auto">
            <a:xfrm>
              <a:off x="6046788" y="5151438"/>
              <a:ext cx="7937" cy="7937"/>
            </a:xfrm>
            <a:custGeom>
              <a:avLst/>
              <a:gdLst>
                <a:gd name="T0" fmla="*/ 0 w 22"/>
                <a:gd name="T1" fmla="*/ 0 h 21"/>
                <a:gd name="T2" fmla="*/ 0 w 22"/>
                <a:gd name="T3" fmla="*/ 0 h 21"/>
                <a:gd name="T4" fmla="*/ 0 w 22"/>
                <a:gd name="T5" fmla="*/ 20 h 21"/>
                <a:gd name="T6" fmla="*/ 0 w 22"/>
                <a:gd name="T7" fmla="*/ 20 h 21"/>
                <a:gd name="T8" fmla="*/ 0 w 22"/>
                <a:gd name="T9" fmla="*/ 20 h 21"/>
                <a:gd name="T10" fmla="*/ 21 w 22"/>
                <a:gd name="T11" fmla="*/ 20 h 21"/>
                <a:gd name="T12" fmla="*/ 0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0" y="0"/>
                  </a:moveTo>
                  <a:lnTo>
                    <a:pt x="0" y="0"/>
                  </a:lnTo>
                  <a:lnTo>
                    <a:pt x="0" y="20"/>
                  </a:lnTo>
                  <a:lnTo>
                    <a:pt x="0" y="20"/>
                  </a:lnTo>
                  <a:lnTo>
                    <a:pt x="0" y="20"/>
                  </a:lnTo>
                  <a:cubicBezTo>
                    <a:pt x="21" y="20"/>
                    <a:pt x="21" y="20"/>
                    <a:pt x="21" y="20"/>
                  </a:cubicBezTo>
                  <a:cubicBezTo>
                    <a:pt x="21"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19" name="Freeform 116">
              <a:extLst>
                <a:ext uri="{FF2B5EF4-FFF2-40B4-BE49-F238E27FC236}">
                  <a16:creationId xmlns:a16="http://schemas.microsoft.com/office/drawing/2014/main" id="{F310D094-A9C8-934C-A0AA-C97FC2DE1A5F}"/>
                </a:ext>
              </a:extLst>
            </p:cNvPr>
            <p:cNvSpPr>
              <a:spLocks noChangeArrowheads="1"/>
            </p:cNvSpPr>
            <p:nvPr/>
          </p:nvSpPr>
          <p:spPr bwMode="auto">
            <a:xfrm>
              <a:off x="6018213" y="5129213"/>
              <a:ext cx="7937" cy="15875"/>
            </a:xfrm>
            <a:custGeom>
              <a:avLst/>
              <a:gdLst>
                <a:gd name="T0" fmla="*/ 21 w 22"/>
                <a:gd name="T1" fmla="*/ 41 h 42"/>
                <a:gd name="T2" fmla="*/ 21 w 22"/>
                <a:gd name="T3" fmla="*/ 41 h 42"/>
                <a:gd name="T4" fmla="*/ 0 w 22"/>
                <a:gd name="T5" fmla="*/ 21 h 42"/>
                <a:gd name="T6" fmla="*/ 0 w 22"/>
                <a:gd name="T7" fmla="*/ 21 h 42"/>
                <a:gd name="T8" fmla="*/ 21 w 22"/>
                <a:gd name="T9" fmla="*/ 0 h 42"/>
                <a:gd name="T10" fmla="*/ 21 w 22"/>
                <a:gd name="T11" fmla="*/ 21 h 42"/>
                <a:gd name="T12" fmla="*/ 21 w 2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21" y="41"/>
                  </a:moveTo>
                  <a:lnTo>
                    <a:pt x="21" y="41"/>
                  </a:lnTo>
                  <a:lnTo>
                    <a:pt x="0" y="21"/>
                  </a:lnTo>
                  <a:lnTo>
                    <a:pt x="0" y="21"/>
                  </a:lnTo>
                  <a:cubicBezTo>
                    <a:pt x="0" y="0"/>
                    <a:pt x="21" y="0"/>
                    <a:pt x="21" y="0"/>
                  </a:cubicBezTo>
                  <a:lnTo>
                    <a:pt x="21" y="21"/>
                  </a:lnTo>
                  <a:cubicBezTo>
                    <a:pt x="21" y="21"/>
                    <a:pt x="21" y="21"/>
                    <a:pt x="2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0" name="Freeform 117">
              <a:extLst>
                <a:ext uri="{FF2B5EF4-FFF2-40B4-BE49-F238E27FC236}">
                  <a16:creationId xmlns:a16="http://schemas.microsoft.com/office/drawing/2014/main" id="{838A10AD-5E35-B144-B672-252936F513A7}"/>
                </a:ext>
              </a:extLst>
            </p:cNvPr>
            <p:cNvSpPr>
              <a:spLocks noChangeArrowheads="1"/>
            </p:cNvSpPr>
            <p:nvPr/>
          </p:nvSpPr>
          <p:spPr bwMode="auto">
            <a:xfrm>
              <a:off x="5988050" y="4967288"/>
              <a:ext cx="7938" cy="7937"/>
            </a:xfrm>
            <a:custGeom>
              <a:avLst/>
              <a:gdLst>
                <a:gd name="T0" fmla="*/ 21 w 22"/>
                <a:gd name="T1" fmla="*/ 20 h 21"/>
                <a:gd name="T2" fmla="*/ 21 w 22"/>
                <a:gd name="T3" fmla="*/ 20 h 21"/>
                <a:gd name="T4" fmla="*/ 21 w 22"/>
                <a:gd name="T5" fmla="*/ 0 h 21"/>
                <a:gd name="T6" fmla="*/ 21 w 22"/>
                <a:gd name="T7" fmla="*/ 0 h 21"/>
                <a:gd name="T8" fmla="*/ 21 w 22"/>
                <a:gd name="T9" fmla="*/ 0 h 21"/>
                <a:gd name="T10" fmla="*/ 0 w 22"/>
                <a:gd name="T11" fmla="*/ 20 h 21"/>
                <a:gd name="T12" fmla="*/ 21 w 2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20"/>
                  </a:moveTo>
                  <a:lnTo>
                    <a:pt x="21" y="20"/>
                  </a:lnTo>
                  <a:lnTo>
                    <a:pt x="21" y="0"/>
                  </a:lnTo>
                  <a:lnTo>
                    <a:pt x="21" y="0"/>
                  </a:lnTo>
                  <a:lnTo>
                    <a:pt x="21" y="0"/>
                  </a:lnTo>
                  <a:cubicBezTo>
                    <a:pt x="0" y="0"/>
                    <a:pt x="0" y="0"/>
                    <a:pt x="0" y="20"/>
                  </a:cubicBez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1" name="Freeform 118">
              <a:extLst>
                <a:ext uri="{FF2B5EF4-FFF2-40B4-BE49-F238E27FC236}">
                  <a16:creationId xmlns:a16="http://schemas.microsoft.com/office/drawing/2014/main" id="{24D679A8-B89D-E045-B9C5-BF09774E2097}"/>
                </a:ext>
              </a:extLst>
            </p:cNvPr>
            <p:cNvSpPr>
              <a:spLocks noChangeArrowheads="1"/>
            </p:cNvSpPr>
            <p:nvPr/>
          </p:nvSpPr>
          <p:spPr bwMode="auto">
            <a:xfrm>
              <a:off x="5965825" y="4789488"/>
              <a:ext cx="236538" cy="361950"/>
            </a:xfrm>
            <a:custGeom>
              <a:avLst/>
              <a:gdLst>
                <a:gd name="T0" fmla="*/ 656 w 657"/>
                <a:gd name="T1" fmla="*/ 695 h 1004"/>
                <a:gd name="T2" fmla="*/ 656 w 657"/>
                <a:gd name="T3" fmla="*/ 798 h 1004"/>
                <a:gd name="T4" fmla="*/ 635 w 657"/>
                <a:gd name="T5" fmla="*/ 798 h 1004"/>
                <a:gd name="T6" fmla="*/ 594 w 657"/>
                <a:gd name="T7" fmla="*/ 798 h 1004"/>
                <a:gd name="T8" fmla="*/ 553 w 657"/>
                <a:gd name="T9" fmla="*/ 777 h 1004"/>
                <a:gd name="T10" fmla="*/ 553 w 657"/>
                <a:gd name="T11" fmla="*/ 818 h 1004"/>
                <a:gd name="T12" fmla="*/ 553 w 657"/>
                <a:gd name="T13" fmla="*/ 859 h 1004"/>
                <a:gd name="T14" fmla="*/ 512 w 657"/>
                <a:gd name="T15" fmla="*/ 839 h 1004"/>
                <a:gd name="T16" fmla="*/ 492 w 657"/>
                <a:gd name="T17" fmla="*/ 818 h 1004"/>
                <a:gd name="T18" fmla="*/ 451 w 657"/>
                <a:gd name="T19" fmla="*/ 818 h 1004"/>
                <a:gd name="T20" fmla="*/ 430 w 657"/>
                <a:gd name="T21" fmla="*/ 839 h 1004"/>
                <a:gd name="T22" fmla="*/ 430 w 657"/>
                <a:gd name="T23" fmla="*/ 859 h 1004"/>
                <a:gd name="T24" fmla="*/ 430 w 657"/>
                <a:gd name="T25" fmla="*/ 900 h 1004"/>
                <a:gd name="T26" fmla="*/ 410 w 657"/>
                <a:gd name="T27" fmla="*/ 880 h 1004"/>
                <a:gd name="T28" fmla="*/ 430 w 657"/>
                <a:gd name="T29" fmla="*/ 900 h 1004"/>
                <a:gd name="T30" fmla="*/ 389 w 657"/>
                <a:gd name="T31" fmla="*/ 941 h 1004"/>
                <a:gd name="T32" fmla="*/ 369 w 657"/>
                <a:gd name="T33" fmla="*/ 900 h 1004"/>
                <a:gd name="T34" fmla="*/ 348 w 657"/>
                <a:gd name="T35" fmla="*/ 900 h 1004"/>
                <a:gd name="T36" fmla="*/ 348 w 657"/>
                <a:gd name="T37" fmla="*/ 941 h 1004"/>
                <a:gd name="T38" fmla="*/ 307 w 657"/>
                <a:gd name="T39" fmla="*/ 962 h 1004"/>
                <a:gd name="T40" fmla="*/ 287 w 657"/>
                <a:gd name="T41" fmla="*/ 1003 h 1004"/>
                <a:gd name="T42" fmla="*/ 266 w 657"/>
                <a:gd name="T43" fmla="*/ 962 h 1004"/>
                <a:gd name="T44" fmla="*/ 246 w 657"/>
                <a:gd name="T45" fmla="*/ 921 h 1004"/>
                <a:gd name="T46" fmla="*/ 266 w 657"/>
                <a:gd name="T47" fmla="*/ 900 h 1004"/>
                <a:gd name="T48" fmla="*/ 246 w 657"/>
                <a:gd name="T49" fmla="*/ 859 h 1004"/>
                <a:gd name="T50" fmla="*/ 205 w 657"/>
                <a:gd name="T51" fmla="*/ 839 h 1004"/>
                <a:gd name="T52" fmla="*/ 184 w 657"/>
                <a:gd name="T53" fmla="*/ 777 h 1004"/>
                <a:gd name="T54" fmla="*/ 184 w 657"/>
                <a:gd name="T55" fmla="*/ 757 h 1004"/>
                <a:gd name="T56" fmla="*/ 205 w 657"/>
                <a:gd name="T57" fmla="*/ 695 h 1004"/>
                <a:gd name="T58" fmla="*/ 205 w 657"/>
                <a:gd name="T59" fmla="*/ 656 h 1004"/>
                <a:gd name="T60" fmla="*/ 246 w 657"/>
                <a:gd name="T61" fmla="*/ 656 h 1004"/>
                <a:gd name="T62" fmla="*/ 225 w 657"/>
                <a:gd name="T63" fmla="*/ 635 h 1004"/>
                <a:gd name="T64" fmla="*/ 164 w 657"/>
                <a:gd name="T65" fmla="*/ 614 h 1004"/>
                <a:gd name="T66" fmla="*/ 143 w 657"/>
                <a:gd name="T67" fmla="*/ 532 h 1004"/>
                <a:gd name="T68" fmla="*/ 102 w 657"/>
                <a:gd name="T69" fmla="*/ 450 h 1004"/>
                <a:gd name="T70" fmla="*/ 41 w 657"/>
                <a:gd name="T71" fmla="*/ 430 h 1004"/>
                <a:gd name="T72" fmla="*/ 41 w 657"/>
                <a:gd name="T73" fmla="*/ 389 h 1004"/>
                <a:gd name="T74" fmla="*/ 123 w 657"/>
                <a:gd name="T75" fmla="*/ 410 h 1004"/>
                <a:gd name="T76" fmla="*/ 143 w 657"/>
                <a:gd name="T77" fmla="*/ 368 h 1004"/>
                <a:gd name="T78" fmla="*/ 102 w 657"/>
                <a:gd name="T79" fmla="*/ 348 h 1004"/>
                <a:gd name="T80" fmla="*/ 82 w 657"/>
                <a:gd name="T81" fmla="*/ 307 h 1004"/>
                <a:gd name="T82" fmla="*/ 0 w 657"/>
                <a:gd name="T83" fmla="*/ 225 h 1004"/>
                <a:gd name="T84" fmla="*/ 20 w 657"/>
                <a:gd name="T85" fmla="*/ 225 h 1004"/>
                <a:gd name="T86" fmla="*/ 0 w 657"/>
                <a:gd name="T87" fmla="*/ 184 h 1004"/>
                <a:gd name="T88" fmla="*/ 41 w 657"/>
                <a:gd name="T89" fmla="*/ 122 h 1004"/>
                <a:gd name="T90" fmla="*/ 61 w 657"/>
                <a:gd name="T91" fmla="*/ 82 h 1004"/>
                <a:gd name="T92" fmla="*/ 102 w 657"/>
                <a:gd name="T93" fmla="*/ 61 h 1004"/>
                <a:gd name="T94" fmla="*/ 164 w 657"/>
                <a:gd name="T95" fmla="*/ 61 h 1004"/>
                <a:gd name="T96" fmla="*/ 205 w 657"/>
                <a:gd name="T97" fmla="*/ 40 h 1004"/>
                <a:gd name="T98" fmla="*/ 225 w 657"/>
                <a:gd name="T99" fmla="*/ 20 h 1004"/>
                <a:gd name="T100" fmla="*/ 246 w 657"/>
                <a:gd name="T101" fmla="*/ 0 h 1004"/>
                <a:gd name="T102" fmla="*/ 307 w 657"/>
                <a:gd name="T103" fmla="*/ 61 h 1004"/>
                <a:gd name="T104" fmla="*/ 369 w 657"/>
                <a:gd name="T105" fmla="*/ 143 h 1004"/>
                <a:gd name="T106" fmla="*/ 451 w 657"/>
                <a:gd name="T107" fmla="*/ 184 h 1004"/>
                <a:gd name="T108" fmla="*/ 492 w 657"/>
                <a:gd name="T109" fmla="*/ 246 h 1004"/>
                <a:gd name="T110" fmla="*/ 533 w 657"/>
                <a:gd name="T111" fmla="*/ 286 h 1004"/>
                <a:gd name="T112" fmla="*/ 553 w 657"/>
                <a:gd name="T113" fmla="*/ 348 h 1004"/>
                <a:gd name="T114" fmla="*/ 533 w 657"/>
                <a:gd name="T115" fmla="*/ 430 h 1004"/>
                <a:gd name="T116" fmla="*/ 574 w 657"/>
                <a:gd name="T117" fmla="*/ 471 h 1004"/>
                <a:gd name="T118" fmla="*/ 574 w 657"/>
                <a:gd name="T119" fmla="*/ 532 h 1004"/>
                <a:gd name="T120" fmla="*/ 594 w 657"/>
                <a:gd name="T121" fmla="*/ 553 h 1004"/>
                <a:gd name="T122" fmla="*/ 635 w 657"/>
                <a:gd name="T123" fmla="*/ 63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7" h="1004">
                  <a:moveTo>
                    <a:pt x="656" y="695"/>
                  </a:moveTo>
                  <a:lnTo>
                    <a:pt x="656" y="695"/>
                  </a:lnTo>
                  <a:cubicBezTo>
                    <a:pt x="656" y="695"/>
                    <a:pt x="656" y="736"/>
                    <a:pt x="656" y="757"/>
                  </a:cubicBezTo>
                  <a:cubicBezTo>
                    <a:pt x="656" y="777"/>
                    <a:pt x="656" y="777"/>
                    <a:pt x="656" y="798"/>
                  </a:cubicBezTo>
                  <a:cubicBezTo>
                    <a:pt x="656" y="798"/>
                    <a:pt x="656" y="798"/>
                    <a:pt x="635" y="798"/>
                  </a:cubicBezTo>
                  <a:cubicBezTo>
                    <a:pt x="635" y="818"/>
                    <a:pt x="635" y="818"/>
                    <a:pt x="635" y="798"/>
                  </a:cubicBezTo>
                  <a:cubicBezTo>
                    <a:pt x="615" y="798"/>
                    <a:pt x="615" y="798"/>
                    <a:pt x="615" y="798"/>
                  </a:cubicBezTo>
                  <a:lnTo>
                    <a:pt x="594" y="798"/>
                  </a:lnTo>
                  <a:cubicBezTo>
                    <a:pt x="594" y="798"/>
                    <a:pt x="594" y="777"/>
                    <a:pt x="574" y="777"/>
                  </a:cubicBezTo>
                  <a:cubicBezTo>
                    <a:pt x="574" y="777"/>
                    <a:pt x="574" y="777"/>
                    <a:pt x="553" y="777"/>
                  </a:cubicBezTo>
                  <a:lnTo>
                    <a:pt x="553" y="798"/>
                  </a:lnTo>
                  <a:lnTo>
                    <a:pt x="553" y="818"/>
                  </a:lnTo>
                  <a:cubicBezTo>
                    <a:pt x="553" y="818"/>
                    <a:pt x="574" y="839"/>
                    <a:pt x="553" y="839"/>
                  </a:cubicBezTo>
                  <a:cubicBezTo>
                    <a:pt x="553" y="859"/>
                    <a:pt x="553" y="859"/>
                    <a:pt x="553" y="859"/>
                  </a:cubicBezTo>
                  <a:cubicBezTo>
                    <a:pt x="533" y="859"/>
                    <a:pt x="533" y="859"/>
                    <a:pt x="533" y="859"/>
                  </a:cubicBezTo>
                  <a:cubicBezTo>
                    <a:pt x="512" y="859"/>
                    <a:pt x="512" y="859"/>
                    <a:pt x="512" y="839"/>
                  </a:cubicBezTo>
                  <a:lnTo>
                    <a:pt x="492" y="839"/>
                  </a:lnTo>
                  <a:lnTo>
                    <a:pt x="492" y="818"/>
                  </a:lnTo>
                  <a:cubicBezTo>
                    <a:pt x="471" y="818"/>
                    <a:pt x="471" y="818"/>
                    <a:pt x="451" y="818"/>
                  </a:cubicBezTo>
                  <a:lnTo>
                    <a:pt x="451" y="818"/>
                  </a:lnTo>
                  <a:lnTo>
                    <a:pt x="430" y="839"/>
                  </a:lnTo>
                  <a:lnTo>
                    <a:pt x="430" y="839"/>
                  </a:lnTo>
                  <a:cubicBezTo>
                    <a:pt x="410" y="839"/>
                    <a:pt x="410" y="859"/>
                    <a:pt x="410" y="859"/>
                  </a:cubicBezTo>
                  <a:cubicBezTo>
                    <a:pt x="430" y="859"/>
                    <a:pt x="430" y="859"/>
                    <a:pt x="430" y="859"/>
                  </a:cubicBezTo>
                  <a:cubicBezTo>
                    <a:pt x="430" y="859"/>
                    <a:pt x="430" y="880"/>
                    <a:pt x="451" y="880"/>
                  </a:cubicBezTo>
                  <a:cubicBezTo>
                    <a:pt x="451" y="880"/>
                    <a:pt x="430" y="880"/>
                    <a:pt x="430" y="900"/>
                  </a:cubicBezTo>
                  <a:lnTo>
                    <a:pt x="430" y="880"/>
                  </a:lnTo>
                  <a:cubicBezTo>
                    <a:pt x="410" y="880"/>
                    <a:pt x="410" y="880"/>
                    <a:pt x="410" y="880"/>
                  </a:cubicBezTo>
                  <a:lnTo>
                    <a:pt x="410" y="900"/>
                  </a:lnTo>
                  <a:lnTo>
                    <a:pt x="430" y="900"/>
                  </a:lnTo>
                  <a:cubicBezTo>
                    <a:pt x="430" y="921"/>
                    <a:pt x="410" y="941"/>
                    <a:pt x="410" y="941"/>
                  </a:cubicBezTo>
                  <a:lnTo>
                    <a:pt x="389" y="941"/>
                  </a:lnTo>
                  <a:cubicBezTo>
                    <a:pt x="389" y="941"/>
                    <a:pt x="369" y="941"/>
                    <a:pt x="369" y="921"/>
                  </a:cubicBezTo>
                  <a:cubicBezTo>
                    <a:pt x="369" y="921"/>
                    <a:pt x="369" y="921"/>
                    <a:pt x="369" y="900"/>
                  </a:cubicBezTo>
                  <a:cubicBezTo>
                    <a:pt x="389" y="900"/>
                    <a:pt x="389" y="900"/>
                    <a:pt x="369" y="900"/>
                  </a:cubicBezTo>
                  <a:lnTo>
                    <a:pt x="348" y="900"/>
                  </a:lnTo>
                  <a:cubicBezTo>
                    <a:pt x="348" y="900"/>
                    <a:pt x="348" y="900"/>
                    <a:pt x="348" y="921"/>
                  </a:cubicBezTo>
                  <a:cubicBezTo>
                    <a:pt x="348" y="921"/>
                    <a:pt x="348" y="921"/>
                    <a:pt x="348" y="941"/>
                  </a:cubicBezTo>
                  <a:lnTo>
                    <a:pt x="328" y="941"/>
                  </a:lnTo>
                  <a:cubicBezTo>
                    <a:pt x="328" y="941"/>
                    <a:pt x="328" y="962"/>
                    <a:pt x="307" y="962"/>
                  </a:cubicBezTo>
                  <a:lnTo>
                    <a:pt x="307" y="982"/>
                  </a:lnTo>
                  <a:lnTo>
                    <a:pt x="287" y="1003"/>
                  </a:lnTo>
                  <a:lnTo>
                    <a:pt x="266" y="982"/>
                  </a:lnTo>
                  <a:lnTo>
                    <a:pt x="266" y="962"/>
                  </a:lnTo>
                  <a:cubicBezTo>
                    <a:pt x="246" y="941"/>
                    <a:pt x="246" y="941"/>
                    <a:pt x="246" y="941"/>
                  </a:cubicBezTo>
                  <a:lnTo>
                    <a:pt x="246" y="921"/>
                  </a:lnTo>
                  <a:lnTo>
                    <a:pt x="266" y="921"/>
                  </a:lnTo>
                  <a:cubicBezTo>
                    <a:pt x="266" y="921"/>
                    <a:pt x="266" y="921"/>
                    <a:pt x="266" y="900"/>
                  </a:cubicBezTo>
                  <a:cubicBezTo>
                    <a:pt x="266" y="900"/>
                    <a:pt x="266" y="900"/>
                    <a:pt x="246" y="900"/>
                  </a:cubicBezTo>
                  <a:cubicBezTo>
                    <a:pt x="246" y="900"/>
                    <a:pt x="246" y="880"/>
                    <a:pt x="246" y="859"/>
                  </a:cubicBezTo>
                  <a:cubicBezTo>
                    <a:pt x="225" y="859"/>
                    <a:pt x="225" y="859"/>
                    <a:pt x="225" y="839"/>
                  </a:cubicBezTo>
                  <a:cubicBezTo>
                    <a:pt x="205" y="839"/>
                    <a:pt x="205" y="839"/>
                    <a:pt x="205" y="839"/>
                  </a:cubicBezTo>
                  <a:cubicBezTo>
                    <a:pt x="184" y="839"/>
                    <a:pt x="184" y="818"/>
                    <a:pt x="184" y="818"/>
                  </a:cubicBezTo>
                  <a:cubicBezTo>
                    <a:pt x="184" y="798"/>
                    <a:pt x="184" y="798"/>
                    <a:pt x="184" y="777"/>
                  </a:cubicBezTo>
                  <a:lnTo>
                    <a:pt x="184" y="777"/>
                  </a:lnTo>
                  <a:cubicBezTo>
                    <a:pt x="184" y="757"/>
                    <a:pt x="184" y="757"/>
                    <a:pt x="184" y="757"/>
                  </a:cubicBezTo>
                  <a:cubicBezTo>
                    <a:pt x="184" y="736"/>
                    <a:pt x="205" y="736"/>
                    <a:pt x="205" y="736"/>
                  </a:cubicBezTo>
                  <a:cubicBezTo>
                    <a:pt x="205" y="716"/>
                    <a:pt x="205" y="716"/>
                    <a:pt x="205" y="695"/>
                  </a:cubicBezTo>
                  <a:cubicBezTo>
                    <a:pt x="205" y="695"/>
                    <a:pt x="184" y="695"/>
                    <a:pt x="184" y="675"/>
                  </a:cubicBezTo>
                  <a:cubicBezTo>
                    <a:pt x="184" y="675"/>
                    <a:pt x="184" y="656"/>
                    <a:pt x="205" y="656"/>
                  </a:cubicBezTo>
                  <a:lnTo>
                    <a:pt x="225" y="656"/>
                  </a:lnTo>
                  <a:lnTo>
                    <a:pt x="246" y="656"/>
                  </a:lnTo>
                  <a:cubicBezTo>
                    <a:pt x="246" y="656"/>
                    <a:pt x="246" y="656"/>
                    <a:pt x="246" y="635"/>
                  </a:cubicBezTo>
                  <a:lnTo>
                    <a:pt x="225" y="635"/>
                  </a:lnTo>
                  <a:cubicBezTo>
                    <a:pt x="225" y="635"/>
                    <a:pt x="205" y="635"/>
                    <a:pt x="184" y="635"/>
                  </a:cubicBezTo>
                  <a:cubicBezTo>
                    <a:pt x="184" y="635"/>
                    <a:pt x="184" y="614"/>
                    <a:pt x="164" y="614"/>
                  </a:cubicBezTo>
                  <a:cubicBezTo>
                    <a:pt x="164" y="594"/>
                    <a:pt x="143" y="594"/>
                    <a:pt x="143" y="574"/>
                  </a:cubicBezTo>
                  <a:cubicBezTo>
                    <a:pt x="143" y="574"/>
                    <a:pt x="143" y="553"/>
                    <a:pt x="143" y="532"/>
                  </a:cubicBezTo>
                  <a:cubicBezTo>
                    <a:pt x="123" y="532"/>
                    <a:pt x="123" y="512"/>
                    <a:pt x="123" y="492"/>
                  </a:cubicBezTo>
                  <a:cubicBezTo>
                    <a:pt x="123" y="492"/>
                    <a:pt x="102" y="471"/>
                    <a:pt x="102" y="450"/>
                  </a:cubicBezTo>
                  <a:cubicBezTo>
                    <a:pt x="82" y="450"/>
                    <a:pt x="61" y="450"/>
                    <a:pt x="61" y="450"/>
                  </a:cubicBezTo>
                  <a:lnTo>
                    <a:pt x="41" y="430"/>
                  </a:lnTo>
                  <a:lnTo>
                    <a:pt x="41" y="410"/>
                  </a:lnTo>
                  <a:cubicBezTo>
                    <a:pt x="41" y="389"/>
                    <a:pt x="41" y="389"/>
                    <a:pt x="41" y="389"/>
                  </a:cubicBezTo>
                  <a:cubicBezTo>
                    <a:pt x="61" y="389"/>
                    <a:pt x="82" y="389"/>
                    <a:pt x="82" y="389"/>
                  </a:cubicBezTo>
                  <a:cubicBezTo>
                    <a:pt x="102" y="389"/>
                    <a:pt x="102" y="410"/>
                    <a:pt x="123" y="410"/>
                  </a:cubicBezTo>
                  <a:cubicBezTo>
                    <a:pt x="123" y="410"/>
                    <a:pt x="143" y="410"/>
                    <a:pt x="143" y="389"/>
                  </a:cubicBezTo>
                  <a:lnTo>
                    <a:pt x="143" y="368"/>
                  </a:lnTo>
                  <a:cubicBezTo>
                    <a:pt x="143" y="368"/>
                    <a:pt x="123" y="368"/>
                    <a:pt x="102" y="368"/>
                  </a:cubicBezTo>
                  <a:cubicBezTo>
                    <a:pt x="102" y="348"/>
                    <a:pt x="102" y="348"/>
                    <a:pt x="102" y="348"/>
                  </a:cubicBezTo>
                  <a:cubicBezTo>
                    <a:pt x="102" y="328"/>
                    <a:pt x="82" y="328"/>
                    <a:pt x="82" y="328"/>
                  </a:cubicBezTo>
                  <a:lnTo>
                    <a:pt x="82" y="307"/>
                  </a:lnTo>
                  <a:cubicBezTo>
                    <a:pt x="61" y="286"/>
                    <a:pt x="41" y="286"/>
                    <a:pt x="20" y="266"/>
                  </a:cubicBezTo>
                  <a:cubicBezTo>
                    <a:pt x="20" y="266"/>
                    <a:pt x="0" y="246"/>
                    <a:pt x="0" y="225"/>
                  </a:cubicBezTo>
                  <a:lnTo>
                    <a:pt x="0" y="204"/>
                  </a:lnTo>
                  <a:lnTo>
                    <a:pt x="20" y="225"/>
                  </a:lnTo>
                  <a:lnTo>
                    <a:pt x="20" y="204"/>
                  </a:lnTo>
                  <a:cubicBezTo>
                    <a:pt x="20" y="204"/>
                    <a:pt x="0" y="204"/>
                    <a:pt x="0" y="184"/>
                  </a:cubicBezTo>
                  <a:cubicBezTo>
                    <a:pt x="0" y="184"/>
                    <a:pt x="0" y="164"/>
                    <a:pt x="20" y="164"/>
                  </a:cubicBezTo>
                  <a:cubicBezTo>
                    <a:pt x="20" y="143"/>
                    <a:pt x="41" y="143"/>
                    <a:pt x="41" y="122"/>
                  </a:cubicBezTo>
                  <a:lnTo>
                    <a:pt x="41" y="102"/>
                  </a:lnTo>
                  <a:lnTo>
                    <a:pt x="61" y="82"/>
                  </a:lnTo>
                  <a:lnTo>
                    <a:pt x="82" y="82"/>
                  </a:lnTo>
                  <a:lnTo>
                    <a:pt x="102" y="61"/>
                  </a:lnTo>
                  <a:cubicBezTo>
                    <a:pt x="123" y="61"/>
                    <a:pt x="143" y="61"/>
                    <a:pt x="143" y="61"/>
                  </a:cubicBezTo>
                  <a:cubicBezTo>
                    <a:pt x="143" y="61"/>
                    <a:pt x="164" y="82"/>
                    <a:pt x="164" y="61"/>
                  </a:cubicBezTo>
                  <a:cubicBezTo>
                    <a:pt x="184" y="61"/>
                    <a:pt x="184" y="61"/>
                    <a:pt x="184" y="61"/>
                  </a:cubicBezTo>
                  <a:cubicBezTo>
                    <a:pt x="184" y="61"/>
                    <a:pt x="205" y="61"/>
                    <a:pt x="205" y="40"/>
                  </a:cubicBezTo>
                  <a:lnTo>
                    <a:pt x="225" y="40"/>
                  </a:lnTo>
                  <a:lnTo>
                    <a:pt x="225" y="20"/>
                  </a:lnTo>
                  <a:cubicBezTo>
                    <a:pt x="225" y="20"/>
                    <a:pt x="225" y="20"/>
                    <a:pt x="246" y="0"/>
                  </a:cubicBezTo>
                  <a:lnTo>
                    <a:pt x="246" y="0"/>
                  </a:lnTo>
                  <a:cubicBezTo>
                    <a:pt x="266" y="20"/>
                    <a:pt x="266" y="20"/>
                    <a:pt x="287" y="40"/>
                  </a:cubicBezTo>
                  <a:lnTo>
                    <a:pt x="307" y="61"/>
                  </a:lnTo>
                  <a:cubicBezTo>
                    <a:pt x="307" y="82"/>
                    <a:pt x="328" y="102"/>
                    <a:pt x="328" y="102"/>
                  </a:cubicBezTo>
                  <a:cubicBezTo>
                    <a:pt x="328" y="102"/>
                    <a:pt x="348" y="122"/>
                    <a:pt x="369" y="143"/>
                  </a:cubicBezTo>
                  <a:lnTo>
                    <a:pt x="410" y="164"/>
                  </a:lnTo>
                  <a:cubicBezTo>
                    <a:pt x="430" y="164"/>
                    <a:pt x="430" y="184"/>
                    <a:pt x="451" y="184"/>
                  </a:cubicBezTo>
                  <a:cubicBezTo>
                    <a:pt x="451" y="204"/>
                    <a:pt x="451" y="225"/>
                    <a:pt x="471" y="225"/>
                  </a:cubicBezTo>
                  <a:cubicBezTo>
                    <a:pt x="471" y="246"/>
                    <a:pt x="471" y="246"/>
                    <a:pt x="492" y="246"/>
                  </a:cubicBezTo>
                  <a:cubicBezTo>
                    <a:pt x="492" y="246"/>
                    <a:pt x="492" y="246"/>
                    <a:pt x="512" y="246"/>
                  </a:cubicBezTo>
                  <a:cubicBezTo>
                    <a:pt x="512" y="266"/>
                    <a:pt x="533" y="266"/>
                    <a:pt x="533" y="286"/>
                  </a:cubicBezTo>
                  <a:cubicBezTo>
                    <a:pt x="533" y="286"/>
                    <a:pt x="533" y="307"/>
                    <a:pt x="553" y="307"/>
                  </a:cubicBezTo>
                  <a:cubicBezTo>
                    <a:pt x="553" y="328"/>
                    <a:pt x="553" y="328"/>
                    <a:pt x="553" y="348"/>
                  </a:cubicBezTo>
                  <a:lnTo>
                    <a:pt x="533" y="368"/>
                  </a:lnTo>
                  <a:cubicBezTo>
                    <a:pt x="533" y="389"/>
                    <a:pt x="533" y="410"/>
                    <a:pt x="533" y="430"/>
                  </a:cubicBezTo>
                  <a:lnTo>
                    <a:pt x="553" y="450"/>
                  </a:lnTo>
                  <a:cubicBezTo>
                    <a:pt x="553" y="450"/>
                    <a:pt x="574" y="450"/>
                    <a:pt x="574" y="471"/>
                  </a:cubicBezTo>
                  <a:lnTo>
                    <a:pt x="574" y="492"/>
                  </a:lnTo>
                  <a:cubicBezTo>
                    <a:pt x="574" y="492"/>
                    <a:pt x="574" y="512"/>
                    <a:pt x="574" y="532"/>
                  </a:cubicBezTo>
                  <a:cubicBezTo>
                    <a:pt x="574" y="532"/>
                    <a:pt x="574" y="532"/>
                    <a:pt x="574" y="553"/>
                  </a:cubicBezTo>
                  <a:lnTo>
                    <a:pt x="594" y="553"/>
                  </a:lnTo>
                  <a:lnTo>
                    <a:pt x="594" y="574"/>
                  </a:lnTo>
                  <a:cubicBezTo>
                    <a:pt x="615" y="574"/>
                    <a:pt x="635" y="614"/>
                    <a:pt x="635" y="635"/>
                  </a:cubicBezTo>
                  <a:cubicBezTo>
                    <a:pt x="635" y="635"/>
                    <a:pt x="656" y="675"/>
                    <a:pt x="656" y="69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2" name="Freeform 119">
              <a:extLst>
                <a:ext uri="{FF2B5EF4-FFF2-40B4-BE49-F238E27FC236}">
                  <a16:creationId xmlns:a16="http://schemas.microsoft.com/office/drawing/2014/main" id="{A9CC931C-87A1-2B48-9D19-54AF56960FDE}"/>
                </a:ext>
              </a:extLst>
            </p:cNvPr>
            <p:cNvSpPr>
              <a:spLocks noChangeArrowheads="1"/>
            </p:cNvSpPr>
            <p:nvPr/>
          </p:nvSpPr>
          <p:spPr bwMode="auto">
            <a:xfrm>
              <a:off x="3606800" y="3786188"/>
              <a:ext cx="1703388" cy="849312"/>
            </a:xfrm>
            <a:custGeom>
              <a:avLst/>
              <a:gdLst>
                <a:gd name="T0" fmla="*/ 41 w 4733"/>
                <a:gd name="T1" fmla="*/ 676 h 2358"/>
                <a:gd name="T2" fmla="*/ 225 w 4733"/>
                <a:gd name="T3" fmla="*/ 615 h 2358"/>
                <a:gd name="T4" fmla="*/ 266 w 4733"/>
                <a:gd name="T5" fmla="*/ 554 h 2358"/>
                <a:gd name="T6" fmla="*/ 389 w 4733"/>
                <a:gd name="T7" fmla="*/ 410 h 2358"/>
                <a:gd name="T8" fmla="*/ 553 w 4733"/>
                <a:gd name="T9" fmla="*/ 348 h 2358"/>
                <a:gd name="T10" fmla="*/ 717 w 4733"/>
                <a:gd name="T11" fmla="*/ 390 h 2358"/>
                <a:gd name="T12" fmla="*/ 921 w 4733"/>
                <a:gd name="T13" fmla="*/ 512 h 2358"/>
                <a:gd name="T14" fmla="*/ 1167 w 4733"/>
                <a:gd name="T15" fmla="*/ 492 h 2358"/>
                <a:gd name="T16" fmla="*/ 1351 w 4733"/>
                <a:gd name="T17" fmla="*/ 492 h 2358"/>
                <a:gd name="T18" fmla="*/ 1351 w 4733"/>
                <a:gd name="T19" fmla="*/ 348 h 2358"/>
                <a:gd name="T20" fmla="*/ 1249 w 4733"/>
                <a:gd name="T21" fmla="*/ 205 h 2358"/>
                <a:gd name="T22" fmla="*/ 1289 w 4733"/>
                <a:gd name="T23" fmla="*/ 82 h 2358"/>
                <a:gd name="T24" fmla="*/ 1433 w 4733"/>
                <a:gd name="T25" fmla="*/ 41 h 2358"/>
                <a:gd name="T26" fmla="*/ 1720 w 4733"/>
                <a:gd name="T27" fmla="*/ 102 h 2358"/>
                <a:gd name="T28" fmla="*/ 1884 w 4733"/>
                <a:gd name="T29" fmla="*/ 226 h 2358"/>
                <a:gd name="T30" fmla="*/ 2130 w 4733"/>
                <a:gd name="T31" fmla="*/ 369 h 2358"/>
                <a:gd name="T32" fmla="*/ 2355 w 4733"/>
                <a:gd name="T33" fmla="*/ 308 h 2358"/>
                <a:gd name="T34" fmla="*/ 2622 w 4733"/>
                <a:gd name="T35" fmla="*/ 348 h 2358"/>
                <a:gd name="T36" fmla="*/ 2786 w 4733"/>
                <a:gd name="T37" fmla="*/ 410 h 2358"/>
                <a:gd name="T38" fmla="*/ 2970 w 4733"/>
                <a:gd name="T39" fmla="*/ 512 h 2358"/>
                <a:gd name="T40" fmla="*/ 3257 w 4733"/>
                <a:gd name="T41" fmla="*/ 512 h 2358"/>
                <a:gd name="T42" fmla="*/ 3441 w 4733"/>
                <a:gd name="T43" fmla="*/ 410 h 2358"/>
                <a:gd name="T44" fmla="*/ 3544 w 4733"/>
                <a:gd name="T45" fmla="*/ 328 h 2358"/>
                <a:gd name="T46" fmla="*/ 3728 w 4733"/>
                <a:gd name="T47" fmla="*/ 246 h 2358"/>
                <a:gd name="T48" fmla="*/ 3872 w 4733"/>
                <a:gd name="T49" fmla="*/ 287 h 2358"/>
                <a:gd name="T50" fmla="*/ 4015 w 4733"/>
                <a:gd name="T51" fmla="*/ 328 h 2358"/>
                <a:gd name="T52" fmla="*/ 3974 w 4733"/>
                <a:gd name="T53" fmla="*/ 512 h 2358"/>
                <a:gd name="T54" fmla="*/ 4015 w 4733"/>
                <a:gd name="T55" fmla="*/ 594 h 2358"/>
                <a:gd name="T56" fmla="*/ 3994 w 4733"/>
                <a:gd name="T57" fmla="*/ 778 h 2358"/>
                <a:gd name="T58" fmla="*/ 4118 w 4733"/>
                <a:gd name="T59" fmla="*/ 820 h 2358"/>
                <a:gd name="T60" fmla="*/ 4199 w 4733"/>
                <a:gd name="T61" fmla="*/ 758 h 2358"/>
                <a:gd name="T62" fmla="*/ 4302 w 4733"/>
                <a:gd name="T63" fmla="*/ 778 h 2358"/>
                <a:gd name="T64" fmla="*/ 4404 w 4733"/>
                <a:gd name="T65" fmla="*/ 697 h 2358"/>
                <a:gd name="T66" fmla="*/ 4568 w 4733"/>
                <a:gd name="T67" fmla="*/ 799 h 2358"/>
                <a:gd name="T68" fmla="*/ 4712 w 4733"/>
                <a:gd name="T69" fmla="*/ 963 h 2358"/>
                <a:gd name="T70" fmla="*/ 4568 w 4733"/>
                <a:gd name="T71" fmla="*/ 984 h 2358"/>
                <a:gd name="T72" fmla="*/ 4486 w 4733"/>
                <a:gd name="T73" fmla="*/ 1045 h 2358"/>
                <a:gd name="T74" fmla="*/ 4384 w 4733"/>
                <a:gd name="T75" fmla="*/ 1066 h 2358"/>
                <a:gd name="T76" fmla="*/ 4281 w 4733"/>
                <a:gd name="T77" fmla="*/ 1168 h 2358"/>
                <a:gd name="T78" fmla="*/ 4240 w 4733"/>
                <a:gd name="T79" fmla="*/ 1312 h 2358"/>
                <a:gd name="T80" fmla="*/ 4097 w 4733"/>
                <a:gd name="T81" fmla="*/ 1414 h 2358"/>
                <a:gd name="T82" fmla="*/ 4015 w 4733"/>
                <a:gd name="T83" fmla="*/ 1537 h 2358"/>
                <a:gd name="T84" fmla="*/ 3851 w 4733"/>
                <a:gd name="T85" fmla="*/ 1516 h 2358"/>
                <a:gd name="T86" fmla="*/ 3728 w 4733"/>
                <a:gd name="T87" fmla="*/ 1475 h 2358"/>
                <a:gd name="T88" fmla="*/ 3810 w 4733"/>
                <a:gd name="T89" fmla="*/ 1721 h 2358"/>
                <a:gd name="T90" fmla="*/ 3769 w 4733"/>
                <a:gd name="T91" fmla="*/ 1906 h 2358"/>
                <a:gd name="T92" fmla="*/ 3646 w 4733"/>
                <a:gd name="T93" fmla="*/ 2070 h 2358"/>
                <a:gd name="T94" fmla="*/ 3380 w 4733"/>
                <a:gd name="T95" fmla="*/ 2131 h 2358"/>
                <a:gd name="T96" fmla="*/ 3093 w 4733"/>
                <a:gd name="T97" fmla="*/ 2233 h 2358"/>
                <a:gd name="T98" fmla="*/ 2868 w 4733"/>
                <a:gd name="T99" fmla="*/ 2295 h 2358"/>
                <a:gd name="T100" fmla="*/ 2581 w 4733"/>
                <a:gd name="T101" fmla="*/ 2254 h 2358"/>
                <a:gd name="T102" fmla="*/ 2171 w 4733"/>
                <a:gd name="T103" fmla="*/ 2151 h 2358"/>
                <a:gd name="T104" fmla="*/ 1761 w 4733"/>
                <a:gd name="T105" fmla="*/ 2172 h 2358"/>
                <a:gd name="T106" fmla="*/ 1495 w 4733"/>
                <a:gd name="T107" fmla="*/ 2090 h 2358"/>
                <a:gd name="T108" fmla="*/ 1351 w 4733"/>
                <a:gd name="T109" fmla="*/ 1803 h 2358"/>
                <a:gd name="T110" fmla="*/ 1187 w 4733"/>
                <a:gd name="T111" fmla="*/ 1721 h 2358"/>
                <a:gd name="T112" fmla="*/ 1023 w 4733"/>
                <a:gd name="T113" fmla="*/ 1619 h 2358"/>
                <a:gd name="T114" fmla="*/ 614 w 4733"/>
                <a:gd name="T115" fmla="*/ 1578 h 2358"/>
                <a:gd name="T116" fmla="*/ 614 w 4733"/>
                <a:gd name="T117" fmla="*/ 1312 h 2358"/>
                <a:gd name="T118" fmla="*/ 471 w 4733"/>
                <a:gd name="T119" fmla="*/ 1106 h 2358"/>
                <a:gd name="T120" fmla="*/ 287 w 4733"/>
                <a:gd name="T121" fmla="*/ 1024 h 2358"/>
                <a:gd name="T122" fmla="*/ 41 w 4733"/>
                <a:gd name="T123" fmla="*/ 922 h 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33" h="2358">
                  <a:moveTo>
                    <a:pt x="0" y="758"/>
                  </a:moveTo>
                  <a:lnTo>
                    <a:pt x="0" y="758"/>
                  </a:lnTo>
                  <a:cubicBezTo>
                    <a:pt x="0" y="738"/>
                    <a:pt x="0" y="738"/>
                    <a:pt x="0" y="738"/>
                  </a:cubicBezTo>
                  <a:cubicBezTo>
                    <a:pt x="0" y="717"/>
                    <a:pt x="20" y="697"/>
                    <a:pt x="20" y="697"/>
                  </a:cubicBezTo>
                  <a:cubicBezTo>
                    <a:pt x="20" y="697"/>
                    <a:pt x="41" y="697"/>
                    <a:pt x="41" y="676"/>
                  </a:cubicBezTo>
                  <a:cubicBezTo>
                    <a:pt x="61" y="676"/>
                    <a:pt x="82" y="697"/>
                    <a:pt x="102" y="697"/>
                  </a:cubicBezTo>
                  <a:lnTo>
                    <a:pt x="123" y="676"/>
                  </a:lnTo>
                  <a:lnTo>
                    <a:pt x="143" y="656"/>
                  </a:lnTo>
                  <a:cubicBezTo>
                    <a:pt x="143" y="636"/>
                    <a:pt x="164" y="636"/>
                    <a:pt x="184" y="636"/>
                  </a:cubicBezTo>
                  <a:cubicBezTo>
                    <a:pt x="184" y="636"/>
                    <a:pt x="205" y="636"/>
                    <a:pt x="225" y="615"/>
                  </a:cubicBezTo>
                  <a:lnTo>
                    <a:pt x="225" y="594"/>
                  </a:lnTo>
                  <a:cubicBezTo>
                    <a:pt x="225" y="574"/>
                    <a:pt x="205" y="554"/>
                    <a:pt x="205" y="533"/>
                  </a:cubicBezTo>
                  <a:lnTo>
                    <a:pt x="205" y="512"/>
                  </a:lnTo>
                  <a:cubicBezTo>
                    <a:pt x="225" y="512"/>
                    <a:pt x="246" y="512"/>
                    <a:pt x="246" y="512"/>
                  </a:cubicBezTo>
                  <a:cubicBezTo>
                    <a:pt x="266" y="512"/>
                    <a:pt x="266" y="554"/>
                    <a:pt x="266" y="554"/>
                  </a:cubicBezTo>
                  <a:cubicBezTo>
                    <a:pt x="287" y="554"/>
                    <a:pt x="287" y="554"/>
                    <a:pt x="307" y="533"/>
                  </a:cubicBezTo>
                  <a:cubicBezTo>
                    <a:pt x="307" y="533"/>
                    <a:pt x="307" y="492"/>
                    <a:pt x="307" y="472"/>
                  </a:cubicBezTo>
                  <a:lnTo>
                    <a:pt x="307" y="451"/>
                  </a:lnTo>
                  <a:cubicBezTo>
                    <a:pt x="328" y="430"/>
                    <a:pt x="348" y="430"/>
                    <a:pt x="348" y="430"/>
                  </a:cubicBezTo>
                  <a:cubicBezTo>
                    <a:pt x="369" y="430"/>
                    <a:pt x="389" y="430"/>
                    <a:pt x="389" y="410"/>
                  </a:cubicBezTo>
                  <a:cubicBezTo>
                    <a:pt x="410" y="410"/>
                    <a:pt x="410" y="390"/>
                    <a:pt x="410" y="390"/>
                  </a:cubicBezTo>
                  <a:cubicBezTo>
                    <a:pt x="430" y="390"/>
                    <a:pt x="450" y="369"/>
                    <a:pt x="471" y="369"/>
                  </a:cubicBezTo>
                  <a:cubicBezTo>
                    <a:pt x="471" y="369"/>
                    <a:pt x="492" y="369"/>
                    <a:pt x="512" y="369"/>
                  </a:cubicBezTo>
                  <a:lnTo>
                    <a:pt x="553" y="369"/>
                  </a:lnTo>
                  <a:lnTo>
                    <a:pt x="553" y="348"/>
                  </a:lnTo>
                  <a:lnTo>
                    <a:pt x="574" y="328"/>
                  </a:lnTo>
                  <a:cubicBezTo>
                    <a:pt x="594" y="348"/>
                    <a:pt x="594" y="348"/>
                    <a:pt x="614" y="348"/>
                  </a:cubicBezTo>
                  <a:cubicBezTo>
                    <a:pt x="614" y="369"/>
                    <a:pt x="614" y="369"/>
                    <a:pt x="635" y="390"/>
                  </a:cubicBezTo>
                  <a:lnTo>
                    <a:pt x="656" y="390"/>
                  </a:lnTo>
                  <a:cubicBezTo>
                    <a:pt x="676" y="390"/>
                    <a:pt x="696" y="390"/>
                    <a:pt x="717" y="390"/>
                  </a:cubicBezTo>
                  <a:cubicBezTo>
                    <a:pt x="717" y="390"/>
                    <a:pt x="738" y="369"/>
                    <a:pt x="758" y="369"/>
                  </a:cubicBezTo>
                  <a:cubicBezTo>
                    <a:pt x="758" y="369"/>
                    <a:pt x="798" y="369"/>
                    <a:pt x="798" y="390"/>
                  </a:cubicBezTo>
                  <a:cubicBezTo>
                    <a:pt x="819" y="390"/>
                    <a:pt x="819" y="430"/>
                    <a:pt x="839" y="430"/>
                  </a:cubicBezTo>
                  <a:cubicBezTo>
                    <a:pt x="839" y="451"/>
                    <a:pt x="859" y="451"/>
                    <a:pt x="859" y="472"/>
                  </a:cubicBezTo>
                  <a:cubicBezTo>
                    <a:pt x="880" y="472"/>
                    <a:pt x="901" y="512"/>
                    <a:pt x="921" y="512"/>
                  </a:cubicBezTo>
                  <a:lnTo>
                    <a:pt x="962" y="533"/>
                  </a:lnTo>
                  <a:cubicBezTo>
                    <a:pt x="983" y="533"/>
                    <a:pt x="1023" y="533"/>
                    <a:pt x="1044" y="533"/>
                  </a:cubicBezTo>
                  <a:cubicBezTo>
                    <a:pt x="1044" y="533"/>
                    <a:pt x="1065" y="533"/>
                    <a:pt x="1085" y="533"/>
                  </a:cubicBezTo>
                  <a:cubicBezTo>
                    <a:pt x="1085" y="533"/>
                    <a:pt x="1105" y="512"/>
                    <a:pt x="1105" y="492"/>
                  </a:cubicBezTo>
                  <a:cubicBezTo>
                    <a:pt x="1105" y="492"/>
                    <a:pt x="1147" y="492"/>
                    <a:pt x="1167" y="492"/>
                  </a:cubicBezTo>
                  <a:cubicBezTo>
                    <a:pt x="1167" y="492"/>
                    <a:pt x="1187" y="512"/>
                    <a:pt x="1207" y="512"/>
                  </a:cubicBezTo>
                  <a:cubicBezTo>
                    <a:pt x="1207" y="512"/>
                    <a:pt x="1228" y="533"/>
                    <a:pt x="1249" y="533"/>
                  </a:cubicBezTo>
                  <a:cubicBezTo>
                    <a:pt x="1249" y="533"/>
                    <a:pt x="1269" y="533"/>
                    <a:pt x="1289" y="533"/>
                  </a:cubicBezTo>
                  <a:cubicBezTo>
                    <a:pt x="1289" y="533"/>
                    <a:pt x="1310" y="512"/>
                    <a:pt x="1331" y="512"/>
                  </a:cubicBezTo>
                  <a:cubicBezTo>
                    <a:pt x="1331" y="492"/>
                    <a:pt x="1351" y="492"/>
                    <a:pt x="1351" y="492"/>
                  </a:cubicBezTo>
                  <a:cubicBezTo>
                    <a:pt x="1351" y="472"/>
                    <a:pt x="1371" y="472"/>
                    <a:pt x="1371" y="451"/>
                  </a:cubicBezTo>
                  <a:lnTo>
                    <a:pt x="1371" y="430"/>
                  </a:lnTo>
                  <a:cubicBezTo>
                    <a:pt x="1371" y="410"/>
                    <a:pt x="1371" y="410"/>
                    <a:pt x="1371" y="410"/>
                  </a:cubicBezTo>
                  <a:cubicBezTo>
                    <a:pt x="1371" y="390"/>
                    <a:pt x="1371" y="369"/>
                    <a:pt x="1371" y="369"/>
                  </a:cubicBezTo>
                  <a:cubicBezTo>
                    <a:pt x="1351" y="369"/>
                    <a:pt x="1351" y="348"/>
                    <a:pt x="1351" y="348"/>
                  </a:cubicBezTo>
                  <a:lnTo>
                    <a:pt x="1331" y="328"/>
                  </a:lnTo>
                  <a:cubicBezTo>
                    <a:pt x="1331" y="328"/>
                    <a:pt x="1310" y="308"/>
                    <a:pt x="1310" y="287"/>
                  </a:cubicBezTo>
                  <a:lnTo>
                    <a:pt x="1289" y="266"/>
                  </a:lnTo>
                  <a:cubicBezTo>
                    <a:pt x="1289" y="246"/>
                    <a:pt x="1289" y="226"/>
                    <a:pt x="1269" y="226"/>
                  </a:cubicBezTo>
                  <a:cubicBezTo>
                    <a:pt x="1269" y="205"/>
                    <a:pt x="1269" y="205"/>
                    <a:pt x="1249" y="205"/>
                  </a:cubicBezTo>
                  <a:lnTo>
                    <a:pt x="1269" y="184"/>
                  </a:lnTo>
                  <a:lnTo>
                    <a:pt x="1269" y="164"/>
                  </a:lnTo>
                  <a:lnTo>
                    <a:pt x="1269" y="144"/>
                  </a:lnTo>
                  <a:cubicBezTo>
                    <a:pt x="1289" y="144"/>
                    <a:pt x="1289" y="123"/>
                    <a:pt x="1289" y="123"/>
                  </a:cubicBezTo>
                  <a:cubicBezTo>
                    <a:pt x="1289" y="102"/>
                    <a:pt x="1289" y="82"/>
                    <a:pt x="1289" y="82"/>
                  </a:cubicBezTo>
                  <a:cubicBezTo>
                    <a:pt x="1289" y="82"/>
                    <a:pt x="1310" y="62"/>
                    <a:pt x="1331" y="62"/>
                  </a:cubicBezTo>
                  <a:cubicBezTo>
                    <a:pt x="1331" y="41"/>
                    <a:pt x="1331" y="41"/>
                    <a:pt x="1351" y="21"/>
                  </a:cubicBezTo>
                  <a:cubicBezTo>
                    <a:pt x="1351" y="21"/>
                    <a:pt x="1331" y="0"/>
                    <a:pt x="1351" y="0"/>
                  </a:cubicBezTo>
                  <a:cubicBezTo>
                    <a:pt x="1351" y="0"/>
                    <a:pt x="1371" y="21"/>
                    <a:pt x="1392" y="21"/>
                  </a:cubicBezTo>
                  <a:lnTo>
                    <a:pt x="1433" y="41"/>
                  </a:lnTo>
                  <a:cubicBezTo>
                    <a:pt x="1453" y="41"/>
                    <a:pt x="1474" y="62"/>
                    <a:pt x="1474" y="82"/>
                  </a:cubicBezTo>
                  <a:cubicBezTo>
                    <a:pt x="1495" y="82"/>
                    <a:pt x="1515" y="62"/>
                    <a:pt x="1535" y="62"/>
                  </a:cubicBezTo>
                  <a:cubicBezTo>
                    <a:pt x="1556" y="62"/>
                    <a:pt x="1597" y="62"/>
                    <a:pt x="1597" y="62"/>
                  </a:cubicBezTo>
                  <a:cubicBezTo>
                    <a:pt x="1617" y="62"/>
                    <a:pt x="1638" y="82"/>
                    <a:pt x="1638" y="82"/>
                  </a:cubicBezTo>
                  <a:cubicBezTo>
                    <a:pt x="1659" y="82"/>
                    <a:pt x="1699" y="102"/>
                    <a:pt x="1720" y="102"/>
                  </a:cubicBezTo>
                  <a:cubicBezTo>
                    <a:pt x="1720" y="102"/>
                    <a:pt x="1761" y="102"/>
                    <a:pt x="1781" y="102"/>
                  </a:cubicBezTo>
                  <a:cubicBezTo>
                    <a:pt x="1781" y="102"/>
                    <a:pt x="1802" y="102"/>
                    <a:pt x="1823" y="123"/>
                  </a:cubicBezTo>
                  <a:lnTo>
                    <a:pt x="1843" y="144"/>
                  </a:lnTo>
                  <a:cubicBezTo>
                    <a:pt x="1843" y="164"/>
                    <a:pt x="1843" y="184"/>
                    <a:pt x="1843" y="205"/>
                  </a:cubicBezTo>
                  <a:cubicBezTo>
                    <a:pt x="1843" y="205"/>
                    <a:pt x="1863" y="226"/>
                    <a:pt x="1884" y="226"/>
                  </a:cubicBezTo>
                  <a:cubicBezTo>
                    <a:pt x="1884" y="246"/>
                    <a:pt x="1905" y="266"/>
                    <a:pt x="1905" y="287"/>
                  </a:cubicBezTo>
                  <a:cubicBezTo>
                    <a:pt x="1925" y="308"/>
                    <a:pt x="1945" y="328"/>
                    <a:pt x="1966" y="348"/>
                  </a:cubicBezTo>
                  <a:lnTo>
                    <a:pt x="2007" y="348"/>
                  </a:lnTo>
                  <a:cubicBezTo>
                    <a:pt x="2027" y="348"/>
                    <a:pt x="2048" y="348"/>
                    <a:pt x="2068" y="348"/>
                  </a:cubicBezTo>
                  <a:cubicBezTo>
                    <a:pt x="2089" y="348"/>
                    <a:pt x="2109" y="369"/>
                    <a:pt x="2130" y="369"/>
                  </a:cubicBezTo>
                  <a:cubicBezTo>
                    <a:pt x="2150" y="390"/>
                    <a:pt x="2171" y="390"/>
                    <a:pt x="2171" y="390"/>
                  </a:cubicBezTo>
                  <a:cubicBezTo>
                    <a:pt x="2191" y="390"/>
                    <a:pt x="2212" y="390"/>
                    <a:pt x="2232" y="390"/>
                  </a:cubicBezTo>
                  <a:cubicBezTo>
                    <a:pt x="2253" y="390"/>
                    <a:pt x="2253" y="348"/>
                    <a:pt x="2253" y="348"/>
                  </a:cubicBezTo>
                  <a:cubicBezTo>
                    <a:pt x="2273" y="348"/>
                    <a:pt x="2273" y="328"/>
                    <a:pt x="2294" y="328"/>
                  </a:cubicBezTo>
                  <a:cubicBezTo>
                    <a:pt x="2314" y="328"/>
                    <a:pt x="2335" y="308"/>
                    <a:pt x="2355" y="308"/>
                  </a:cubicBezTo>
                  <a:cubicBezTo>
                    <a:pt x="2376" y="308"/>
                    <a:pt x="2376" y="308"/>
                    <a:pt x="2396" y="308"/>
                  </a:cubicBezTo>
                  <a:cubicBezTo>
                    <a:pt x="2417" y="308"/>
                    <a:pt x="2437" y="308"/>
                    <a:pt x="2458" y="308"/>
                  </a:cubicBezTo>
                  <a:cubicBezTo>
                    <a:pt x="2478" y="308"/>
                    <a:pt x="2499" y="308"/>
                    <a:pt x="2499" y="308"/>
                  </a:cubicBezTo>
                  <a:cubicBezTo>
                    <a:pt x="2519" y="308"/>
                    <a:pt x="2540" y="328"/>
                    <a:pt x="2540" y="328"/>
                  </a:cubicBezTo>
                  <a:cubicBezTo>
                    <a:pt x="2560" y="348"/>
                    <a:pt x="2601" y="328"/>
                    <a:pt x="2622" y="348"/>
                  </a:cubicBezTo>
                  <a:cubicBezTo>
                    <a:pt x="2622" y="348"/>
                    <a:pt x="2642" y="348"/>
                    <a:pt x="2663" y="348"/>
                  </a:cubicBezTo>
                  <a:lnTo>
                    <a:pt x="2683" y="369"/>
                  </a:lnTo>
                  <a:cubicBezTo>
                    <a:pt x="2683" y="390"/>
                    <a:pt x="2704" y="390"/>
                    <a:pt x="2704" y="390"/>
                  </a:cubicBezTo>
                  <a:cubicBezTo>
                    <a:pt x="2724" y="390"/>
                    <a:pt x="2744" y="390"/>
                    <a:pt x="2744" y="390"/>
                  </a:cubicBezTo>
                  <a:cubicBezTo>
                    <a:pt x="2744" y="410"/>
                    <a:pt x="2765" y="410"/>
                    <a:pt x="2786" y="410"/>
                  </a:cubicBezTo>
                  <a:cubicBezTo>
                    <a:pt x="2786" y="430"/>
                    <a:pt x="2786" y="451"/>
                    <a:pt x="2806" y="451"/>
                  </a:cubicBezTo>
                  <a:cubicBezTo>
                    <a:pt x="2806" y="472"/>
                    <a:pt x="2826" y="472"/>
                    <a:pt x="2847" y="472"/>
                  </a:cubicBezTo>
                  <a:lnTo>
                    <a:pt x="2868" y="492"/>
                  </a:lnTo>
                  <a:cubicBezTo>
                    <a:pt x="2888" y="512"/>
                    <a:pt x="2929" y="512"/>
                    <a:pt x="2929" y="512"/>
                  </a:cubicBezTo>
                  <a:cubicBezTo>
                    <a:pt x="2950" y="512"/>
                    <a:pt x="2970" y="512"/>
                    <a:pt x="2970" y="512"/>
                  </a:cubicBezTo>
                  <a:cubicBezTo>
                    <a:pt x="2990" y="512"/>
                    <a:pt x="3011" y="512"/>
                    <a:pt x="3011" y="512"/>
                  </a:cubicBezTo>
                  <a:cubicBezTo>
                    <a:pt x="3032" y="512"/>
                    <a:pt x="3052" y="512"/>
                    <a:pt x="3052" y="533"/>
                  </a:cubicBezTo>
                  <a:cubicBezTo>
                    <a:pt x="3072" y="533"/>
                    <a:pt x="3114" y="533"/>
                    <a:pt x="3134" y="533"/>
                  </a:cubicBezTo>
                  <a:cubicBezTo>
                    <a:pt x="3154" y="533"/>
                    <a:pt x="3175" y="533"/>
                    <a:pt x="3196" y="533"/>
                  </a:cubicBezTo>
                  <a:cubicBezTo>
                    <a:pt x="3216" y="533"/>
                    <a:pt x="3236" y="512"/>
                    <a:pt x="3257" y="512"/>
                  </a:cubicBezTo>
                  <a:lnTo>
                    <a:pt x="3278" y="492"/>
                  </a:lnTo>
                  <a:cubicBezTo>
                    <a:pt x="3278" y="472"/>
                    <a:pt x="3298" y="472"/>
                    <a:pt x="3318" y="451"/>
                  </a:cubicBezTo>
                  <a:cubicBezTo>
                    <a:pt x="3318" y="451"/>
                    <a:pt x="3339" y="451"/>
                    <a:pt x="3360" y="451"/>
                  </a:cubicBezTo>
                  <a:cubicBezTo>
                    <a:pt x="3360" y="451"/>
                    <a:pt x="3380" y="451"/>
                    <a:pt x="3400" y="451"/>
                  </a:cubicBezTo>
                  <a:cubicBezTo>
                    <a:pt x="3400" y="430"/>
                    <a:pt x="3421" y="430"/>
                    <a:pt x="3441" y="410"/>
                  </a:cubicBezTo>
                  <a:lnTo>
                    <a:pt x="3441" y="390"/>
                  </a:lnTo>
                  <a:cubicBezTo>
                    <a:pt x="3462" y="390"/>
                    <a:pt x="3482" y="410"/>
                    <a:pt x="3502" y="410"/>
                  </a:cubicBezTo>
                  <a:cubicBezTo>
                    <a:pt x="3502" y="410"/>
                    <a:pt x="3523" y="410"/>
                    <a:pt x="3544" y="410"/>
                  </a:cubicBezTo>
                  <a:cubicBezTo>
                    <a:pt x="3544" y="390"/>
                    <a:pt x="3544" y="369"/>
                    <a:pt x="3544" y="369"/>
                  </a:cubicBezTo>
                  <a:cubicBezTo>
                    <a:pt x="3544" y="348"/>
                    <a:pt x="3544" y="328"/>
                    <a:pt x="3544" y="328"/>
                  </a:cubicBezTo>
                  <a:cubicBezTo>
                    <a:pt x="3544" y="308"/>
                    <a:pt x="3544" y="308"/>
                    <a:pt x="3564" y="287"/>
                  </a:cubicBezTo>
                  <a:cubicBezTo>
                    <a:pt x="3564" y="287"/>
                    <a:pt x="3584" y="266"/>
                    <a:pt x="3605" y="266"/>
                  </a:cubicBezTo>
                  <a:cubicBezTo>
                    <a:pt x="3605" y="246"/>
                    <a:pt x="3646" y="246"/>
                    <a:pt x="3666" y="226"/>
                  </a:cubicBezTo>
                  <a:lnTo>
                    <a:pt x="3687" y="226"/>
                  </a:lnTo>
                  <a:cubicBezTo>
                    <a:pt x="3708" y="226"/>
                    <a:pt x="3728" y="226"/>
                    <a:pt x="3728" y="246"/>
                  </a:cubicBezTo>
                  <a:lnTo>
                    <a:pt x="3728" y="266"/>
                  </a:lnTo>
                  <a:cubicBezTo>
                    <a:pt x="3748" y="266"/>
                    <a:pt x="3769" y="287"/>
                    <a:pt x="3769" y="287"/>
                  </a:cubicBezTo>
                  <a:cubicBezTo>
                    <a:pt x="3790" y="308"/>
                    <a:pt x="3810" y="308"/>
                    <a:pt x="3810" y="308"/>
                  </a:cubicBezTo>
                  <a:cubicBezTo>
                    <a:pt x="3830" y="308"/>
                    <a:pt x="3851" y="328"/>
                    <a:pt x="3851" y="308"/>
                  </a:cubicBezTo>
                  <a:cubicBezTo>
                    <a:pt x="3851" y="308"/>
                    <a:pt x="3872" y="308"/>
                    <a:pt x="3872" y="287"/>
                  </a:cubicBezTo>
                  <a:cubicBezTo>
                    <a:pt x="3892" y="287"/>
                    <a:pt x="3912" y="266"/>
                    <a:pt x="3912" y="266"/>
                  </a:cubicBezTo>
                  <a:cubicBezTo>
                    <a:pt x="3912" y="266"/>
                    <a:pt x="3933" y="266"/>
                    <a:pt x="3954" y="266"/>
                  </a:cubicBezTo>
                  <a:cubicBezTo>
                    <a:pt x="3954" y="266"/>
                    <a:pt x="3974" y="287"/>
                    <a:pt x="3974" y="308"/>
                  </a:cubicBezTo>
                  <a:cubicBezTo>
                    <a:pt x="3994" y="308"/>
                    <a:pt x="3994" y="328"/>
                    <a:pt x="4015" y="328"/>
                  </a:cubicBezTo>
                  <a:lnTo>
                    <a:pt x="4015" y="328"/>
                  </a:lnTo>
                  <a:cubicBezTo>
                    <a:pt x="3994" y="328"/>
                    <a:pt x="3994" y="348"/>
                    <a:pt x="3994" y="348"/>
                  </a:cubicBezTo>
                  <a:lnTo>
                    <a:pt x="3994" y="390"/>
                  </a:lnTo>
                  <a:cubicBezTo>
                    <a:pt x="3994" y="410"/>
                    <a:pt x="3994" y="410"/>
                    <a:pt x="3994" y="430"/>
                  </a:cubicBezTo>
                  <a:lnTo>
                    <a:pt x="3994" y="472"/>
                  </a:lnTo>
                  <a:cubicBezTo>
                    <a:pt x="3994" y="492"/>
                    <a:pt x="3974" y="512"/>
                    <a:pt x="3974" y="512"/>
                  </a:cubicBezTo>
                  <a:lnTo>
                    <a:pt x="3974" y="533"/>
                  </a:lnTo>
                  <a:cubicBezTo>
                    <a:pt x="3994" y="554"/>
                    <a:pt x="3994" y="533"/>
                    <a:pt x="4015" y="554"/>
                  </a:cubicBezTo>
                  <a:lnTo>
                    <a:pt x="4015" y="554"/>
                  </a:lnTo>
                  <a:cubicBezTo>
                    <a:pt x="4036" y="574"/>
                    <a:pt x="4036" y="574"/>
                    <a:pt x="4015" y="594"/>
                  </a:cubicBezTo>
                  <a:cubicBezTo>
                    <a:pt x="4015" y="594"/>
                    <a:pt x="4015" y="574"/>
                    <a:pt x="4015" y="594"/>
                  </a:cubicBezTo>
                  <a:cubicBezTo>
                    <a:pt x="3994" y="594"/>
                    <a:pt x="3994" y="594"/>
                    <a:pt x="3994" y="594"/>
                  </a:cubicBezTo>
                  <a:cubicBezTo>
                    <a:pt x="3974" y="615"/>
                    <a:pt x="3974" y="636"/>
                    <a:pt x="3974" y="656"/>
                  </a:cubicBezTo>
                  <a:cubicBezTo>
                    <a:pt x="3974" y="656"/>
                    <a:pt x="3994" y="676"/>
                    <a:pt x="3994" y="697"/>
                  </a:cubicBezTo>
                  <a:cubicBezTo>
                    <a:pt x="3994" y="697"/>
                    <a:pt x="3994" y="738"/>
                    <a:pt x="3994" y="758"/>
                  </a:cubicBezTo>
                  <a:lnTo>
                    <a:pt x="3994" y="778"/>
                  </a:lnTo>
                  <a:cubicBezTo>
                    <a:pt x="4015" y="799"/>
                    <a:pt x="4015" y="799"/>
                    <a:pt x="4036" y="799"/>
                  </a:cubicBezTo>
                  <a:lnTo>
                    <a:pt x="4036" y="799"/>
                  </a:lnTo>
                  <a:cubicBezTo>
                    <a:pt x="4056" y="820"/>
                    <a:pt x="4056" y="840"/>
                    <a:pt x="4076" y="840"/>
                  </a:cubicBezTo>
                  <a:cubicBezTo>
                    <a:pt x="4076" y="840"/>
                    <a:pt x="4076" y="840"/>
                    <a:pt x="4097" y="840"/>
                  </a:cubicBezTo>
                  <a:lnTo>
                    <a:pt x="4118" y="820"/>
                  </a:lnTo>
                  <a:lnTo>
                    <a:pt x="4118" y="799"/>
                  </a:lnTo>
                  <a:cubicBezTo>
                    <a:pt x="4118" y="799"/>
                    <a:pt x="4118" y="778"/>
                    <a:pt x="4138" y="778"/>
                  </a:cubicBezTo>
                  <a:cubicBezTo>
                    <a:pt x="4138" y="778"/>
                    <a:pt x="4138" y="778"/>
                    <a:pt x="4158" y="778"/>
                  </a:cubicBezTo>
                  <a:lnTo>
                    <a:pt x="4179" y="778"/>
                  </a:lnTo>
                  <a:lnTo>
                    <a:pt x="4199" y="758"/>
                  </a:lnTo>
                  <a:lnTo>
                    <a:pt x="4220" y="758"/>
                  </a:lnTo>
                  <a:lnTo>
                    <a:pt x="4240" y="758"/>
                  </a:lnTo>
                  <a:cubicBezTo>
                    <a:pt x="4261" y="778"/>
                    <a:pt x="4261" y="799"/>
                    <a:pt x="4261" y="799"/>
                  </a:cubicBezTo>
                  <a:cubicBezTo>
                    <a:pt x="4281" y="799"/>
                    <a:pt x="4281" y="799"/>
                    <a:pt x="4281" y="799"/>
                  </a:cubicBezTo>
                  <a:cubicBezTo>
                    <a:pt x="4302" y="799"/>
                    <a:pt x="4302" y="778"/>
                    <a:pt x="4302" y="778"/>
                  </a:cubicBezTo>
                  <a:lnTo>
                    <a:pt x="4302" y="758"/>
                  </a:lnTo>
                  <a:cubicBezTo>
                    <a:pt x="4302" y="738"/>
                    <a:pt x="4302" y="738"/>
                    <a:pt x="4322" y="717"/>
                  </a:cubicBezTo>
                  <a:lnTo>
                    <a:pt x="4343" y="697"/>
                  </a:lnTo>
                  <a:cubicBezTo>
                    <a:pt x="4343" y="697"/>
                    <a:pt x="4363" y="697"/>
                    <a:pt x="4384" y="697"/>
                  </a:cubicBezTo>
                  <a:lnTo>
                    <a:pt x="4404" y="697"/>
                  </a:lnTo>
                  <a:cubicBezTo>
                    <a:pt x="4425" y="697"/>
                    <a:pt x="4445" y="717"/>
                    <a:pt x="4445" y="717"/>
                  </a:cubicBezTo>
                  <a:cubicBezTo>
                    <a:pt x="4466" y="738"/>
                    <a:pt x="4466" y="738"/>
                    <a:pt x="4466" y="758"/>
                  </a:cubicBezTo>
                  <a:lnTo>
                    <a:pt x="4486" y="758"/>
                  </a:lnTo>
                  <a:cubicBezTo>
                    <a:pt x="4507" y="758"/>
                    <a:pt x="4527" y="778"/>
                    <a:pt x="4527" y="778"/>
                  </a:cubicBezTo>
                  <a:cubicBezTo>
                    <a:pt x="4548" y="778"/>
                    <a:pt x="4568" y="799"/>
                    <a:pt x="4568" y="799"/>
                  </a:cubicBezTo>
                  <a:cubicBezTo>
                    <a:pt x="4589" y="799"/>
                    <a:pt x="4589" y="820"/>
                    <a:pt x="4589" y="840"/>
                  </a:cubicBezTo>
                  <a:cubicBezTo>
                    <a:pt x="4609" y="840"/>
                    <a:pt x="4630" y="860"/>
                    <a:pt x="4650" y="860"/>
                  </a:cubicBezTo>
                  <a:cubicBezTo>
                    <a:pt x="4650" y="881"/>
                    <a:pt x="4671" y="902"/>
                    <a:pt x="4671" y="902"/>
                  </a:cubicBezTo>
                  <a:lnTo>
                    <a:pt x="4691" y="922"/>
                  </a:lnTo>
                  <a:cubicBezTo>
                    <a:pt x="4712" y="942"/>
                    <a:pt x="4712" y="963"/>
                    <a:pt x="4712" y="963"/>
                  </a:cubicBezTo>
                  <a:cubicBezTo>
                    <a:pt x="4712" y="984"/>
                    <a:pt x="4732" y="1004"/>
                    <a:pt x="4712" y="1004"/>
                  </a:cubicBezTo>
                  <a:cubicBezTo>
                    <a:pt x="4712" y="1024"/>
                    <a:pt x="4671" y="1024"/>
                    <a:pt x="4671" y="1024"/>
                  </a:cubicBezTo>
                  <a:cubicBezTo>
                    <a:pt x="4650" y="1024"/>
                    <a:pt x="4630" y="1004"/>
                    <a:pt x="4630" y="1004"/>
                  </a:cubicBezTo>
                  <a:cubicBezTo>
                    <a:pt x="4630" y="1004"/>
                    <a:pt x="4609" y="1004"/>
                    <a:pt x="4609" y="984"/>
                  </a:cubicBezTo>
                  <a:cubicBezTo>
                    <a:pt x="4589" y="984"/>
                    <a:pt x="4589" y="984"/>
                    <a:pt x="4568" y="984"/>
                  </a:cubicBezTo>
                  <a:lnTo>
                    <a:pt x="4548" y="984"/>
                  </a:lnTo>
                  <a:lnTo>
                    <a:pt x="4527" y="984"/>
                  </a:lnTo>
                  <a:lnTo>
                    <a:pt x="4507" y="1004"/>
                  </a:lnTo>
                  <a:lnTo>
                    <a:pt x="4486" y="1004"/>
                  </a:lnTo>
                  <a:cubicBezTo>
                    <a:pt x="4486" y="1024"/>
                    <a:pt x="4486" y="1045"/>
                    <a:pt x="4486" y="1045"/>
                  </a:cubicBezTo>
                  <a:lnTo>
                    <a:pt x="4466" y="1066"/>
                  </a:lnTo>
                  <a:cubicBezTo>
                    <a:pt x="4466" y="1066"/>
                    <a:pt x="4445" y="1066"/>
                    <a:pt x="4425" y="1045"/>
                  </a:cubicBezTo>
                  <a:lnTo>
                    <a:pt x="4425" y="1045"/>
                  </a:lnTo>
                  <a:cubicBezTo>
                    <a:pt x="4404" y="1024"/>
                    <a:pt x="4404" y="1024"/>
                    <a:pt x="4404" y="1024"/>
                  </a:cubicBezTo>
                  <a:cubicBezTo>
                    <a:pt x="4384" y="1045"/>
                    <a:pt x="4384" y="1066"/>
                    <a:pt x="4384" y="1066"/>
                  </a:cubicBezTo>
                  <a:lnTo>
                    <a:pt x="4384" y="1086"/>
                  </a:lnTo>
                  <a:cubicBezTo>
                    <a:pt x="4384" y="1106"/>
                    <a:pt x="4384" y="1106"/>
                    <a:pt x="4363" y="1106"/>
                  </a:cubicBezTo>
                  <a:lnTo>
                    <a:pt x="4343" y="1106"/>
                  </a:lnTo>
                  <a:cubicBezTo>
                    <a:pt x="4343" y="1106"/>
                    <a:pt x="4322" y="1106"/>
                    <a:pt x="4302" y="1106"/>
                  </a:cubicBezTo>
                  <a:cubicBezTo>
                    <a:pt x="4302" y="1127"/>
                    <a:pt x="4281" y="1148"/>
                    <a:pt x="4281" y="1168"/>
                  </a:cubicBezTo>
                  <a:cubicBezTo>
                    <a:pt x="4281" y="1188"/>
                    <a:pt x="4281" y="1209"/>
                    <a:pt x="4281" y="1209"/>
                  </a:cubicBezTo>
                  <a:cubicBezTo>
                    <a:pt x="4281" y="1230"/>
                    <a:pt x="4281" y="1250"/>
                    <a:pt x="4281" y="1250"/>
                  </a:cubicBezTo>
                  <a:cubicBezTo>
                    <a:pt x="4281" y="1250"/>
                    <a:pt x="4302" y="1270"/>
                    <a:pt x="4281" y="1291"/>
                  </a:cubicBezTo>
                  <a:lnTo>
                    <a:pt x="4261" y="1291"/>
                  </a:lnTo>
                  <a:cubicBezTo>
                    <a:pt x="4261" y="1312"/>
                    <a:pt x="4240" y="1312"/>
                    <a:pt x="4240" y="1312"/>
                  </a:cubicBezTo>
                  <a:cubicBezTo>
                    <a:pt x="4240" y="1312"/>
                    <a:pt x="4240" y="1332"/>
                    <a:pt x="4220" y="1352"/>
                  </a:cubicBezTo>
                  <a:lnTo>
                    <a:pt x="4199" y="1352"/>
                  </a:lnTo>
                  <a:cubicBezTo>
                    <a:pt x="4179" y="1352"/>
                    <a:pt x="4179" y="1373"/>
                    <a:pt x="4158" y="1373"/>
                  </a:cubicBezTo>
                  <a:cubicBezTo>
                    <a:pt x="4158" y="1373"/>
                    <a:pt x="4138" y="1373"/>
                    <a:pt x="4118" y="1373"/>
                  </a:cubicBezTo>
                  <a:cubicBezTo>
                    <a:pt x="4118" y="1373"/>
                    <a:pt x="4097" y="1394"/>
                    <a:pt x="4097" y="1414"/>
                  </a:cubicBezTo>
                  <a:lnTo>
                    <a:pt x="4097" y="1434"/>
                  </a:lnTo>
                  <a:lnTo>
                    <a:pt x="4076" y="1455"/>
                  </a:lnTo>
                  <a:cubicBezTo>
                    <a:pt x="4076" y="1455"/>
                    <a:pt x="4076" y="1475"/>
                    <a:pt x="4056" y="1475"/>
                  </a:cubicBezTo>
                  <a:lnTo>
                    <a:pt x="4056" y="1496"/>
                  </a:lnTo>
                  <a:cubicBezTo>
                    <a:pt x="4036" y="1516"/>
                    <a:pt x="4036" y="1516"/>
                    <a:pt x="4015" y="1537"/>
                  </a:cubicBezTo>
                  <a:lnTo>
                    <a:pt x="3994" y="1537"/>
                  </a:lnTo>
                  <a:cubicBezTo>
                    <a:pt x="3994" y="1557"/>
                    <a:pt x="3974" y="1557"/>
                    <a:pt x="3974" y="1557"/>
                  </a:cubicBezTo>
                  <a:cubicBezTo>
                    <a:pt x="3954" y="1537"/>
                    <a:pt x="3954" y="1537"/>
                    <a:pt x="3954" y="1537"/>
                  </a:cubicBezTo>
                  <a:cubicBezTo>
                    <a:pt x="3933" y="1537"/>
                    <a:pt x="3912" y="1537"/>
                    <a:pt x="3912" y="1537"/>
                  </a:cubicBezTo>
                  <a:cubicBezTo>
                    <a:pt x="3892" y="1537"/>
                    <a:pt x="3872" y="1537"/>
                    <a:pt x="3851" y="1516"/>
                  </a:cubicBezTo>
                  <a:cubicBezTo>
                    <a:pt x="3851" y="1516"/>
                    <a:pt x="3851" y="1496"/>
                    <a:pt x="3830" y="1475"/>
                  </a:cubicBezTo>
                  <a:cubicBezTo>
                    <a:pt x="3830" y="1475"/>
                    <a:pt x="3851" y="1455"/>
                    <a:pt x="3830" y="1455"/>
                  </a:cubicBezTo>
                  <a:cubicBezTo>
                    <a:pt x="3830" y="1455"/>
                    <a:pt x="3810" y="1455"/>
                    <a:pt x="3790" y="1455"/>
                  </a:cubicBezTo>
                  <a:lnTo>
                    <a:pt x="3769" y="1455"/>
                  </a:lnTo>
                  <a:cubicBezTo>
                    <a:pt x="3748" y="1455"/>
                    <a:pt x="3748" y="1475"/>
                    <a:pt x="3728" y="1475"/>
                  </a:cubicBezTo>
                  <a:cubicBezTo>
                    <a:pt x="3728" y="1496"/>
                    <a:pt x="3748" y="1516"/>
                    <a:pt x="3748" y="1537"/>
                  </a:cubicBezTo>
                  <a:cubicBezTo>
                    <a:pt x="3748" y="1557"/>
                    <a:pt x="3728" y="1598"/>
                    <a:pt x="3728" y="1619"/>
                  </a:cubicBezTo>
                  <a:cubicBezTo>
                    <a:pt x="3728" y="1639"/>
                    <a:pt x="3748" y="1660"/>
                    <a:pt x="3748" y="1680"/>
                  </a:cubicBezTo>
                  <a:lnTo>
                    <a:pt x="3769" y="1701"/>
                  </a:lnTo>
                  <a:cubicBezTo>
                    <a:pt x="3769" y="1721"/>
                    <a:pt x="3810" y="1721"/>
                    <a:pt x="3810" y="1721"/>
                  </a:cubicBezTo>
                  <a:cubicBezTo>
                    <a:pt x="3810" y="1742"/>
                    <a:pt x="3830" y="1762"/>
                    <a:pt x="3830" y="1783"/>
                  </a:cubicBezTo>
                  <a:cubicBezTo>
                    <a:pt x="3851" y="1783"/>
                    <a:pt x="3851" y="1803"/>
                    <a:pt x="3851" y="1824"/>
                  </a:cubicBezTo>
                  <a:cubicBezTo>
                    <a:pt x="3851" y="1824"/>
                    <a:pt x="3830" y="1844"/>
                    <a:pt x="3830" y="1865"/>
                  </a:cubicBezTo>
                  <a:cubicBezTo>
                    <a:pt x="3810" y="1865"/>
                    <a:pt x="3790" y="1885"/>
                    <a:pt x="3790" y="1885"/>
                  </a:cubicBezTo>
                  <a:cubicBezTo>
                    <a:pt x="3769" y="1885"/>
                    <a:pt x="3769" y="1906"/>
                    <a:pt x="3769" y="1906"/>
                  </a:cubicBezTo>
                  <a:cubicBezTo>
                    <a:pt x="3748" y="1906"/>
                    <a:pt x="3728" y="1947"/>
                    <a:pt x="3728" y="1947"/>
                  </a:cubicBezTo>
                  <a:cubicBezTo>
                    <a:pt x="3728" y="1967"/>
                    <a:pt x="3728" y="2008"/>
                    <a:pt x="3728" y="2008"/>
                  </a:cubicBezTo>
                  <a:cubicBezTo>
                    <a:pt x="3728" y="2029"/>
                    <a:pt x="3728" y="2029"/>
                    <a:pt x="3728" y="2029"/>
                  </a:cubicBezTo>
                  <a:cubicBezTo>
                    <a:pt x="3708" y="2049"/>
                    <a:pt x="3687" y="2049"/>
                    <a:pt x="3687" y="2049"/>
                  </a:cubicBezTo>
                  <a:cubicBezTo>
                    <a:pt x="3666" y="2049"/>
                    <a:pt x="3646" y="2070"/>
                    <a:pt x="3646" y="2070"/>
                  </a:cubicBezTo>
                  <a:cubicBezTo>
                    <a:pt x="3626" y="2090"/>
                    <a:pt x="3605" y="2111"/>
                    <a:pt x="3605" y="2111"/>
                  </a:cubicBezTo>
                  <a:cubicBezTo>
                    <a:pt x="3584" y="2131"/>
                    <a:pt x="3564" y="2131"/>
                    <a:pt x="3544" y="2151"/>
                  </a:cubicBezTo>
                  <a:lnTo>
                    <a:pt x="3502" y="2151"/>
                  </a:lnTo>
                  <a:cubicBezTo>
                    <a:pt x="3482" y="2151"/>
                    <a:pt x="3441" y="2131"/>
                    <a:pt x="3441" y="2131"/>
                  </a:cubicBezTo>
                  <a:cubicBezTo>
                    <a:pt x="3421" y="2131"/>
                    <a:pt x="3400" y="2131"/>
                    <a:pt x="3380" y="2131"/>
                  </a:cubicBezTo>
                  <a:cubicBezTo>
                    <a:pt x="3380" y="2131"/>
                    <a:pt x="3339" y="2131"/>
                    <a:pt x="3339" y="2151"/>
                  </a:cubicBezTo>
                  <a:cubicBezTo>
                    <a:pt x="3318" y="2151"/>
                    <a:pt x="3298" y="2151"/>
                    <a:pt x="3278" y="2151"/>
                  </a:cubicBezTo>
                  <a:cubicBezTo>
                    <a:pt x="3278" y="2172"/>
                    <a:pt x="3257" y="2172"/>
                    <a:pt x="3236" y="2172"/>
                  </a:cubicBezTo>
                  <a:cubicBezTo>
                    <a:pt x="3216" y="2172"/>
                    <a:pt x="3175" y="2193"/>
                    <a:pt x="3154" y="2193"/>
                  </a:cubicBezTo>
                  <a:cubicBezTo>
                    <a:pt x="3154" y="2213"/>
                    <a:pt x="3114" y="2233"/>
                    <a:pt x="3093" y="2233"/>
                  </a:cubicBezTo>
                  <a:cubicBezTo>
                    <a:pt x="3072" y="2254"/>
                    <a:pt x="3032" y="2275"/>
                    <a:pt x="3032" y="2295"/>
                  </a:cubicBezTo>
                  <a:cubicBezTo>
                    <a:pt x="3011" y="2295"/>
                    <a:pt x="2990" y="2315"/>
                    <a:pt x="2990" y="2315"/>
                  </a:cubicBezTo>
                  <a:cubicBezTo>
                    <a:pt x="2990" y="2336"/>
                    <a:pt x="2970" y="2336"/>
                    <a:pt x="2970" y="2336"/>
                  </a:cubicBezTo>
                  <a:cubicBezTo>
                    <a:pt x="2950" y="2357"/>
                    <a:pt x="2908" y="2336"/>
                    <a:pt x="2908" y="2315"/>
                  </a:cubicBezTo>
                  <a:cubicBezTo>
                    <a:pt x="2888" y="2315"/>
                    <a:pt x="2868" y="2295"/>
                    <a:pt x="2868" y="2295"/>
                  </a:cubicBezTo>
                  <a:cubicBezTo>
                    <a:pt x="2847" y="2295"/>
                    <a:pt x="2826" y="2295"/>
                    <a:pt x="2806" y="2295"/>
                  </a:cubicBezTo>
                  <a:lnTo>
                    <a:pt x="2765" y="2315"/>
                  </a:lnTo>
                  <a:cubicBezTo>
                    <a:pt x="2744" y="2315"/>
                    <a:pt x="2704" y="2295"/>
                    <a:pt x="2683" y="2295"/>
                  </a:cubicBezTo>
                  <a:cubicBezTo>
                    <a:pt x="2663" y="2295"/>
                    <a:pt x="2622" y="2275"/>
                    <a:pt x="2622" y="2275"/>
                  </a:cubicBezTo>
                  <a:cubicBezTo>
                    <a:pt x="2601" y="2275"/>
                    <a:pt x="2581" y="2254"/>
                    <a:pt x="2581" y="2254"/>
                  </a:cubicBezTo>
                  <a:cubicBezTo>
                    <a:pt x="2560" y="2254"/>
                    <a:pt x="2519" y="2233"/>
                    <a:pt x="2499" y="2233"/>
                  </a:cubicBezTo>
                  <a:cubicBezTo>
                    <a:pt x="2478" y="2233"/>
                    <a:pt x="2437" y="2193"/>
                    <a:pt x="2417" y="2193"/>
                  </a:cubicBezTo>
                  <a:cubicBezTo>
                    <a:pt x="2417" y="2172"/>
                    <a:pt x="2376" y="2172"/>
                    <a:pt x="2355" y="2172"/>
                  </a:cubicBezTo>
                  <a:cubicBezTo>
                    <a:pt x="2335" y="2172"/>
                    <a:pt x="2294" y="2151"/>
                    <a:pt x="2273" y="2151"/>
                  </a:cubicBezTo>
                  <a:cubicBezTo>
                    <a:pt x="2253" y="2151"/>
                    <a:pt x="2212" y="2151"/>
                    <a:pt x="2171" y="2151"/>
                  </a:cubicBezTo>
                  <a:cubicBezTo>
                    <a:pt x="2150" y="2151"/>
                    <a:pt x="2130" y="2172"/>
                    <a:pt x="2109" y="2172"/>
                  </a:cubicBezTo>
                  <a:cubicBezTo>
                    <a:pt x="2089" y="2172"/>
                    <a:pt x="2048" y="2193"/>
                    <a:pt x="2027" y="2193"/>
                  </a:cubicBezTo>
                  <a:cubicBezTo>
                    <a:pt x="2027" y="2193"/>
                    <a:pt x="1986" y="2213"/>
                    <a:pt x="1966" y="2193"/>
                  </a:cubicBezTo>
                  <a:cubicBezTo>
                    <a:pt x="1945" y="2193"/>
                    <a:pt x="1884" y="2172"/>
                    <a:pt x="1863" y="2172"/>
                  </a:cubicBezTo>
                  <a:cubicBezTo>
                    <a:pt x="1843" y="2172"/>
                    <a:pt x="1781" y="2172"/>
                    <a:pt x="1761" y="2172"/>
                  </a:cubicBezTo>
                  <a:cubicBezTo>
                    <a:pt x="1741" y="2172"/>
                    <a:pt x="1720" y="2172"/>
                    <a:pt x="1699" y="2172"/>
                  </a:cubicBezTo>
                  <a:cubicBezTo>
                    <a:pt x="1699" y="2172"/>
                    <a:pt x="1679" y="2172"/>
                    <a:pt x="1659" y="2172"/>
                  </a:cubicBezTo>
                  <a:cubicBezTo>
                    <a:pt x="1659" y="2172"/>
                    <a:pt x="1638" y="2172"/>
                    <a:pt x="1617" y="2172"/>
                  </a:cubicBezTo>
                  <a:cubicBezTo>
                    <a:pt x="1617" y="2151"/>
                    <a:pt x="1577" y="2131"/>
                    <a:pt x="1577" y="2131"/>
                  </a:cubicBezTo>
                  <a:cubicBezTo>
                    <a:pt x="1556" y="2111"/>
                    <a:pt x="1515" y="2111"/>
                    <a:pt x="1495" y="2090"/>
                  </a:cubicBezTo>
                  <a:cubicBezTo>
                    <a:pt x="1495" y="2070"/>
                    <a:pt x="1495" y="2049"/>
                    <a:pt x="1495" y="2029"/>
                  </a:cubicBezTo>
                  <a:cubicBezTo>
                    <a:pt x="1474" y="2029"/>
                    <a:pt x="1453" y="2008"/>
                    <a:pt x="1453" y="1988"/>
                  </a:cubicBezTo>
                  <a:cubicBezTo>
                    <a:pt x="1433" y="1967"/>
                    <a:pt x="1433" y="1947"/>
                    <a:pt x="1413" y="1926"/>
                  </a:cubicBezTo>
                  <a:cubicBezTo>
                    <a:pt x="1413" y="1906"/>
                    <a:pt x="1392" y="1865"/>
                    <a:pt x="1392" y="1844"/>
                  </a:cubicBezTo>
                  <a:cubicBezTo>
                    <a:pt x="1392" y="1844"/>
                    <a:pt x="1351" y="1824"/>
                    <a:pt x="1351" y="1803"/>
                  </a:cubicBezTo>
                  <a:lnTo>
                    <a:pt x="1331" y="1783"/>
                  </a:lnTo>
                  <a:cubicBezTo>
                    <a:pt x="1331" y="1783"/>
                    <a:pt x="1310" y="1783"/>
                    <a:pt x="1310" y="1762"/>
                  </a:cubicBezTo>
                  <a:cubicBezTo>
                    <a:pt x="1310" y="1762"/>
                    <a:pt x="1269" y="1783"/>
                    <a:pt x="1269" y="1762"/>
                  </a:cubicBezTo>
                  <a:cubicBezTo>
                    <a:pt x="1249" y="1762"/>
                    <a:pt x="1228" y="1762"/>
                    <a:pt x="1207" y="1762"/>
                  </a:cubicBezTo>
                  <a:cubicBezTo>
                    <a:pt x="1207" y="1762"/>
                    <a:pt x="1187" y="1742"/>
                    <a:pt x="1187" y="1721"/>
                  </a:cubicBezTo>
                  <a:lnTo>
                    <a:pt x="1207" y="1721"/>
                  </a:lnTo>
                  <a:cubicBezTo>
                    <a:pt x="1207" y="1721"/>
                    <a:pt x="1207" y="1721"/>
                    <a:pt x="1207" y="1701"/>
                  </a:cubicBezTo>
                  <a:lnTo>
                    <a:pt x="1187" y="1680"/>
                  </a:lnTo>
                  <a:cubicBezTo>
                    <a:pt x="1167" y="1680"/>
                    <a:pt x="1126" y="1680"/>
                    <a:pt x="1105" y="1680"/>
                  </a:cubicBezTo>
                  <a:cubicBezTo>
                    <a:pt x="1085" y="1680"/>
                    <a:pt x="1065" y="1639"/>
                    <a:pt x="1023" y="1619"/>
                  </a:cubicBezTo>
                  <a:cubicBezTo>
                    <a:pt x="1023" y="1619"/>
                    <a:pt x="1003" y="1598"/>
                    <a:pt x="983" y="1598"/>
                  </a:cubicBezTo>
                  <a:cubicBezTo>
                    <a:pt x="962" y="1598"/>
                    <a:pt x="901" y="1619"/>
                    <a:pt x="880" y="1619"/>
                  </a:cubicBezTo>
                  <a:cubicBezTo>
                    <a:pt x="839" y="1619"/>
                    <a:pt x="798" y="1619"/>
                    <a:pt x="758" y="1619"/>
                  </a:cubicBezTo>
                  <a:cubicBezTo>
                    <a:pt x="738" y="1619"/>
                    <a:pt x="696" y="1619"/>
                    <a:pt x="676" y="1619"/>
                  </a:cubicBezTo>
                  <a:cubicBezTo>
                    <a:pt x="656" y="1598"/>
                    <a:pt x="614" y="1578"/>
                    <a:pt x="614" y="1578"/>
                  </a:cubicBezTo>
                  <a:cubicBezTo>
                    <a:pt x="594" y="1557"/>
                    <a:pt x="594" y="1537"/>
                    <a:pt x="594" y="1537"/>
                  </a:cubicBezTo>
                  <a:cubicBezTo>
                    <a:pt x="594" y="1537"/>
                    <a:pt x="594" y="1516"/>
                    <a:pt x="594" y="1496"/>
                  </a:cubicBezTo>
                  <a:cubicBezTo>
                    <a:pt x="594" y="1475"/>
                    <a:pt x="594" y="1455"/>
                    <a:pt x="594" y="1455"/>
                  </a:cubicBezTo>
                  <a:cubicBezTo>
                    <a:pt x="614" y="1434"/>
                    <a:pt x="594" y="1394"/>
                    <a:pt x="594" y="1373"/>
                  </a:cubicBezTo>
                  <a:cubicBezTo>
                    <a:pt x="594" y="1352"/>
                    <a:pt x="614" y="1332"/>
                    <a:pt x="614" y="1312"/>
                  </a:cubicBezTo>
                  <a:cubicBezTo>
                    <a:pt x="594" y="1291"/>
                    <a:pt x="574" y="1270"/>
                    <a:pt x="553" y="1250"/>
                  </a:cubicBezTo>
                  <a:cubicBezTo>
                    <a:pt x="532" y="1250"/>
                    <a:pt x="512" y="1230"/>
                    <a:pt x="512" y="1230"/>
                  </a:cubicBezTo>
                  <a:cubicBezTo>
                    <a:pt x="492" y="1230"/>
                    <a:pt x="471" y="1209"/>
                    <a:pt x="450" y="1188"/>
                  </a:cubicBezTo>
                  <a:cubicBezTo>
                    <a:pt x="450" y="1168"/>
                    <a:pt x="450" y="1148"/>
                    <a:pt x="450" y="1148"/>
                  </a:cubicBezTo>
                  <a:cubicBezTo>
                    <a:pt x="471" y="1127"/>
                    <a:pt x="471" y="1106"/>
                    <a:pt x="471" y="1106"/>
                  </a:cubicBezTo>
                  <a:cubicBezTo>
                    <a:pt x="471" y="1086"/>
                    <a:pt x="471" y="1066"/>
                    <a:pt x="471" y="1045"/>
                  </a:cubicBezTo>
                  <a:cubicBezTo>
                    <a:pt x="450" y="1045"/>
                    <a:pt x="430" y="1045"/>
                    <a:pt x="410" y="1045"/>
                  </a:cubicBezTo>
                  <a:cubicBezTo>
                    <a:pt x="389" y="1045"/>
                    <a:pt x="389" y="1045"/>
                    <a:pt x="369" y="1024"/>
                  </a:cubicBezTo>
                  <a:lnTo>
                    <a:pt x="348" y="1024"/>
                  </a:lnTo>
                  <a:cubicBezTo>
                    <a:pt x="328" y="1004"/>
                    <a:pt x="287" y="1024"/>
                    <a:pt x="287" y="1024"/>
                  </a:cubicBezTo>
                  <a:cubicBezTo>
                    <a:pt x="266" y="1024"/>
                    <a:pt x="246" y="1024"/>
                    <a:pt x="225" y="1024"/>
                  </a:cubicBezTo>
                  <a:cubicBezTo>
                    <a:pt x="225" y="1004"/>
                    <a:pt x="205" y="1004"/>
                    <a:pt x="184" y="1004"/>
                  </a:cubicBezTo>
                  <a:cubicBezTo>
                    <a:pt x="184" y="984"/>
                    <a:pt x="164" y="963"/>
                    <a:pt x="143" y="963"/>
                  </a:cubicBezTo>
                  <a:cubicBezTo>
                    <a:pt x="143" y="963"/>
                    <a:pt x="123" y="942"/>
                    <a:pt x="102" y="942"/>
                  </a:cubicBezTo>
                  <a:cubicBezTo>
                    <a:pt x="82" y="942"/>
                    <a:pt x="61" y="942"/>
                    <a:pt x="41" y="922"/>
                  </a:cubicBezTo>
                  <a:cubicBezTo>
                    <a:pt x="41" y="922"/>
                    <a:pt x="20" y="881"/>
                    <a:pt x="0" y="881"/>
                  </a:cubicBezTo>
                  <a:cubicBezTo>
                    <a:pt x="0" y="860"/>
                    <a:pt x="20" y="840"/>
                    <a:pt x="20" y="840"/>
                  </a:cubicBezTo>
                  <a:cubicBezTo>
                    <a:pt x="20" y="820"/>
                    <a:pt x="0" y="820"/>
                    <a:pt x="0" y="799"/>
                  </a:cubicBezTo>
                  <a:cubicBezTo>
                    <a:pt x="0" y="799"/>
                    <a:pt x="0" y="778"/>
                    <a:pt x="0" y="758"/>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3" name="Freeform 120">
              <a:extLst>
                <a:ext uri="{FF2B5EF4-FFF2-40B4-BE49-F238E27FC236}">
                  <a16:creationId xmlns:a16="http://schemas.microsoft.com/office/drawing/2014/main" id="{BE56A945-7961-C044-8CB5-3CF51A9059CA}"/>
                </a:ext>
              </a:extLst>
            </p:cNvPr>
            <p:cNvSpPr>
              <a:spLocks noChangeArrowheads="1"/>
            </p:cNvSpPr>
            <p:nvPr/>
          </p:nvSpPr>
          <p:spPr bwMode="auto">
            <a:xfrm>
              <a:off x="6777038" y="4176713"/>
              <a:ext cx="44450" cy="80962"/>
            </a:xfrm>
            <a:custGeom>
              <a:avLst/>
              <a:gdLst>
                <a:gd name="T0" fmla="*/ 61 w 124"/>
                <a:gd name="T1" fmla="*/ 164 h 227"/>
                <a:gd name="T2" fmla="*/ 61 w 124"/>
                <a:gd name="T3" fmla="*/ 164 h 227"/>
                <a:gd name="T4" fmla="*/ 61 w 124"/>
                <a:gd name="T5" fmla="*/ 123 h 227"/>
                <a:gd name="T6" fmla="*/ 102 w 124"/>
                <a:gd name="T7" fmla="*/ 82 h 227"/>
                <a:gd name="T8" fmla="*/ 123 w 124"/>
                <a:gd name="T9" fmla="*/ 62 h 227"/>
                <a:gd name="T10" fmla="*/ 123 w 124"/>
                <a:gd name="T11" fmla="*/ 20 h 227"/>
                <a:gd name="T12" fmla="*/ 82 w 124"/>
                <a:gd name="T13" fmla="*/ 20 h 227"/>
                <a:gd name="T14" fmla="*/ 61 w 124"/>
                <a:gd name="T15" fmla="*/ 20 h 227"/>
                <a:gd name="T16" fmla="*/ 61 w 124"/>
                <a:gd name="T17" fmla="*/ 62 h 227"/>
                <a:gd name="T18" fmla="*/ 41 w 124"/>
                <a:gd name="T19" fmla="*/ 62 h 227"/>
                <a:gd name="T20" fmla="*/ 20 w 124"/>
                <a:gd name="T21" fmla="*/ 102 h 227"/>
                <a:gd name="T22" fmla="*/ 20 w 124"/>
                <a:gd name="T23" fmla="*/ 144 h 227"/>
                <a:gd name="T24" fmla="*/ 20 w 124"/>
                <a:gd name="T25" fmla="*/ 205 h 227"/>
                <a:gd name="T26" fmla="*/ 41 w 124"/>
                <a:gd name="T27" fmla="*/ 226 h 227"/>
                <a:gd name="T28" fmla="*/ 61 w 124"/>
                <a:gd name="T29" fmla="*/ 205 h 227"/>
                <a:gd name="T30" fmla="*/ 61 w 124"/>
                <a:gd name="T31" fmla="*/ 184 h 227"/>
                <a:gd name="T32" fmla="*/ 61 w 124"/>
                <a:gd name="T33" fmla="*/ 16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4" h="227">
                  <a:moveTo>
                    <a:pt x="61" y="164"/>
                  </a:moveTo>
                  <a:lnTo>
                    <a:pt x="61" y="164"/>
                  </a:lnTo>
                  <a:lnTo>
                    <a:pt x="61" y="123"/>
                  </a:lnTo>
                  <a:cubicBezTo>
                    <a:pt x="82" y="102"/>
                    <a:pt x="82" y="82"/>
                    <a:pt x="102" y="82"/>
                  </a:cubicBezTo>
                  <a:cubicBezTo>
                    <a:pt x="102" y="62"/>
                    <a:pt x="102" y="62"/>
                    <a:pt x="123" y="62"/>
                  </a:cubicBezTo>
                  <a:cubicBezTo>
                    <a:pt x="123" y="41"/>
                    <a:pt x="123" y="41"/>
                    <a:pt x="123" y="20"/>
                  </a:cubicBezTo>
                  <a:cubicBezTo>
                    <a:pt x="102" y="20"/>
                    <a:pt x="102" y="20"/>
                    <a:pt x="82" y="20"/>
                  </a:cubicBezTo>
                  <a:cubicBezTo>
                    <a:pt x="82" y="0"/>
                    <a:pt x="61" y="20"/>
                    <a:pt x="61" y="20"/>
                  </a:cubicBezTo>
                  <a:cubicBezTo>
                    <a:pt x="41" y="41"/>
                    <a:pt x="61" y="41"/>
                    <a:pt x="61" y="62"/>
                  </a:cubicBezTo>
                  <a:lnTo>
                    <a:pt x="41" y="62"/>
                  </a:lnTo>
                  <a:cubicBezTo>
                    <a:pt x="41" y="82"/>
                    <a:pt x="20" y="102"/>
                    <a:pt x="20" y="102"/>
                  </a:cubicBezTo>
                  <a:cubicBezTo>
                    <a:pt x="0" y="123"/>
                    <a:pt x="20" y="144"/>
                    <a:pt x="20" y="144"/>
                  </a:cubicBezTo>
                  <a:cubicBezTo>
                    <a:pt x="20" y="164"/>
                    <a:pt x="20" y="184"/>
                    <a:pt x="20" y="205"/>
                  </a:cubicBezTo>
                  <a:lnTo>
                    <a:pt x="41" y="226"/>
                  </a:lnTo>
                  <a:cubicBezTo>
                    <a:pt x="61" y="226"/>
                    <a:pt x="61" y="226"/>
                    <a:pt x="61" y="205"/>
                  </a:cubicBezTo>
                  <a:lnTo>
                    <a:pt x="61" y="184"/>
                  </a:lnTo>
                  <a:lnTo>
                    <a:pt x="61" y="164"/>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4" name="Freeform 121">
              <a:extLst>
                <a:ext uri="{FF2B5EF4-FFF2-40B4-BE49-F238E27FC236}">
                  <a16:creationId xmlns:a16="http://schemas.microsoft.com/office/drawing/2014/main" id="{7BA9FEAB-394A-904B-97CB-2234C37D3FE3}"/>
                </a:ext>
              </a:extLst>
            </p:cNvPr>
            <p:cNvSpPr>
              <a:spLocks noChangeArrowheads="1"/>
            </p:cNvSpPr>
            <p:nvPr/>
          </p:nvSpPr>
          <p:spPr bwMode="auto">
            <a:xfrm>
              <a:off x="6829425" y="4081463"/>
              <a:ext cx="80963" cy="103187"/>
            </a:xfrm>
            <a:custGeom>
              <a:avLst/>
              <a:gdLst>
                <a:gd name="T0" fmla="*/ 41 w 227"/>
                <a:gd name="T1" fmla="*/ 286 h 287"/>
                <a:gd name="T2" fmla="*/ 41 w 227"/>
                <a:gd name="T3" fmla="*/ 286 h 287"/>
                <a:gd name="T4" fmla="*/ 41 w 227"/>
                <a:gd name="T5" fmla="*/ 266 h 287"/>
                <a:gd name="T6" fmla="*/ 62 w 227"/>
                <a:gd name="T7" fmla="*/ 266 h 287"/>
                <a:gd name="T8" fmla="*/ 82 w 227"/>
                <a:gd name="T9" fmla="*/ 225 h 287"/>
                <a:gd name="T10" fmla="*/ 82 w 227"/>
                <a:gd name="T11" fmla="*/ 184 h 287"/>
                <a:gd name="T12" fmla="*/ 82 w 227"/>
                <a:gd name="T13" fmla="*/ 164 h 287"/>
                <a:gd name="T14" fmla="*/ 82 w 227"/>
                <a:gd name="T15" fmla="*/ 122 h 287"/>
                <a:gd name="T16" fmla="*/ 103 w 227"/>
                <a:gd name="T17" fmla="*/ 143 h 287"/>
                <a:gd name="T18" fmla="*/ 123 w 227"/>
                <a:gd name="T19" fmla="*/ 122 h 287"/>
                <a:gd name="T20" fmla="*/ 144 w 227"/>
                <a:gd name="T21" fmla="*/ 102 h 287"/>
                <a:gd name="T22" fmla="*/ 164 w 227"/>
                <a:gd name="T23" fmla="*/ 82 h 287"/>
                <a:gd name="T24" fmla="*/ 205 w 227"/>
                <a:gd name="T25" fmla="*/ 61 h 287"/>
                <a:gd name="T26" fmla="*/ 226 w 227"/>
                <a:gd name="T27" fmla="*/ 61 h 287"/>
                <a:gd name="T28" fmla="*/ 205 w 227"/>
                <a:gd name="T29" fmla="*/ 20 h 287"/>
                <a:gd name="T30" fmla="*/ 205 w 227"/>
                <a:gd name="T31" fmla="*/ 0 h 287"/>
                <a:gd name="T32" fmla="*/ 164 w 227"/>
                <a:gd name="T33" fmla="*/ 0 h 287"/>
                <a:gd name="T34" fmla="*/ 164 w 227"/>
                <a:gd name="T35" fmla="*/ 20 h 287"/>
                <a:gd name="T36" fmla="*/ 144 w 227"/>
                <a:gd name="T37" fmla="*/ 40 h 287"/>
                <a:gd name="T38" fmla="*/ 144 w 227"/>
                <a:gd name="T39" fmla="*/ 61 h 287"/>
                <a:gd name="T40" fmla="*/ 103 w 227"/>
                <a:gd name="T41" fmla="*/ 61 h 287"/>
                <a:gd name="T42" fmla="*/ 62 w 227"/>
                <a:gd name="T43" fmla="*/ 61 h 287"/>
                <a:gd name="T44" fmla="*/ 62 w 227"/>
                <a:gd name="T45" fmla="*/ 82 h 287"/>
                <a:gd name="T46" fmla="*/ 41 w 227"/>
                <a:gd name="T47" fmla="*/ 102 h 287"/>
                <a:gd name="T48" fmla="*/ 41 w 227"/>
                <a:gd name="T49" fmla="*/ 102 h 287"/>
                <a:gd name="T50" fmla="*/ 41 w 227"/>
                <a:gd name="T51" fmla="*/ 122 h 287"/>
                <a:gd name="T52" fmla="*/ 41 w 227"/>
                <a:gd name="T53" fmla="*/ 143 h 287"/>
                <a:gd name="T54" fmla="*/ 41 w 227"/>
                <a:gd name="T55" fmla="*/ 184 h 287"/>
                <a:gd name="T56" fmla="*/ 21 w 227"/>
                <a:gd name="T57" fmla="*/ 184 h 287"/>
                <a:gd name="T58" fmla="*/ 41 w 227"/>
                <a:gd name="T59" fmla="*/ 204 h 287"/>
                <a:gd name="T60" fmla="*/ 21 w 227"/>
                <a:gd name="T61" fmla="*/ 246 h 287"/>
                <a:gd name="T62" fmla="*/ 0 w 227"/>
                <a:gd name="T63" fmla="*/ 266 h 287"/>
                <a:gd name="T64" fmla="*/ 21 w 227"/>
                <a:gd name="T65" fmla="*/ 286 h 287"/>
                <a:gd name="T66" fmla="*/ 41 w 227"/>
                <a:gd name="T67" fmla="*/ 28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7" h="287">
                  <a:moveTo>
                    <a:pt x="41" y="286"/>
                  </a:moveTo>
                  <a:lnTo>
                    <a:pt x="41" y="286"/>
                  </a:lnTo>
                  <a:lnTo>
                    <a:pt x="41" y="266"/>
                  </a:lnTo>
                  <a:lnTo>
                    <a:pt x="62" y="266"/>
                  </a:lnTo>
                  <a:cubicBezTo>
                    <a:pt x="82" y="246"/>
                    <a:pt x="82" y="225"/>
                    <a:pt x="82" y="225"/>
                  </a:cubicBezTo>
                  <a:cubicBezTo>
                    <a:pt x="82" y="225"/>
                    <a:pt x="82" y="204"/>
                    <a:pt x="82" y="184"/>
                  </a:cubicBezTo>
                  <a:lnTo>
                    <a:pt x="82" y="164"/>
                  </a:lnTo>
                  <a:cubicBezTo>
                    <a:pt x="82" y="143"/>
                    <a:pt x="82" y="143"/>
                    <a:pt x="82" y="122"/>
                  </a:cubicBezTo>
                  <a:lnTo>
                    <a:pt x="103" y="143"/>
                  </a:lnTo>
                  <a:cubicBezTo>
                    <a:pt x="123" y="143"/>
                    <a:pt x="123" y="143"/>
                    <a:pt x="123" y="122"/>
                  </a:cubicBezTo>
                  <a:cubicBezTo>
                    <a:pt x="144" y="122"/>
                    <a:pt x="144" y="122"/>
                    <a:pt x="144" y="102"/>
                  </a:cubicBezTo>
                  <a:lnTo>
                    <a:pt x="164" y="82"/>
                  </a:lnTo>
                  <a:cubicBezTo>
                    <a:pt x="185" y="82"/>
                    <a:pt x="185" y="61"/>
                    <a:pt x="205" y="61"/>
                  </a:cubicBezTo>
                  <a:cubicBezTo>
                    <a:pt x="205" y="61"/>
                    <a:pt x="205" y="61"/>
                    <a:pt x="226" y="61"/>
                  </a:cubicBezTo>
                  <a:cubicBezTo>
                    <a:pt x="226" y="40"/>
                    <a:pt x="226" y="20"/>
                    <a:pt x="205" y="20"/>
                  </a:cubicBezTo>
                  <a:lnTo>
                    <a:pt x="205" y="0"/>
                  </a:lnTo>
                  <a:cubicBezTo>
                    <a:pt x="185" y="0"/>
                    <a:pt x="185" y="0"/>
                    <a:pt x="164" y="0"/>
                  </a:cubicBezTo>
                  <a:lnTo>
                    <a:pt x="164" y="20"/>
                  </a:lnTo>
                  <a:cubicBezTo>
                    <a:pt x="144" y="20"/>
                    <a:pt x="164" y="40"/>
                    <a:pt x="144" y="40"/>
                  </a:cubicBezTo>
                  <a:cubicBezTo>
                    <a:pt x="144" y="61"/>
                    <a:pt x="144" y="61"/>
                    <a:pt x="144" y="61"/>
                  </a:cubicBezTo>
                  <a:cubicBezTo>
                    <a:pt x="123" y="61"/>
                    <a:pt x="103" y="61"/>
                    <a:pt x="103" y="61"/>
                  </a:cubicBezTo>
                  <a:cubicBezTo>
                    <a:pt x="82" y="61"/>
                    <a:pt x="82" y="61"/>
                    <a:pt x="62" y="61"/>
                  </a:cubicBezTo>
                  <a:lnTo>
                    <a:pt x="62" y="82"/>
                  </a:lnTo>
                  <a:cubicBezTo>
                    <a:pt x="62" y="82"/>
                    <a:pt x="62" y="102"/>
                    <a:pt x="41" y="102"/>
                  </a:cubicBezTo>
                  <a:lnTo>
                    <a:pt x="41" y="102"/>
                  </a:lnTo>
                  <a:lnTo>
                    <a:pt x="41" y="122"/>
                  </a:lnTo>
                  <a:lnTo>
                    <a:pt x="41" y="143"/>
                  </a:lnTo>
                  <a:cubicBezTo>
                    <a:pt x="41" y="143"/>
                    <a:pt x="41" y="164"/>
                    <a:pt x="41" y="184"/>
                  </a:cubicBezTo>
                  <a:lnTo>
                    <a:pt x="21" y="184"/>
                  </a:lnTo>
                  <a:cubicBezTo>
                    <a:pt x="21" y="204"/>
                    <a:pt x="41" y="204"/>
                    <a:pt x="41" y="204"/>
                  </a:cubicBezTo>
                  <a:cubicBezTo>
                    <a:pt x="41" y="225"/>
                    <a:pt x="21" y="225"/>
                    <a:pt x="21" y="246"/>
                  </a:cubicBezTo>
                  <a:lnTo>
                    <a:pt x="0" y="266"/>
                  </a:lnTo>
                  <a:cubicBezTo>
                    <a:pt x="21" y="266"/>
                    <a:pt x="21" y="286"/>
                    <a:pt x="21" y="286"/>
                  </a:cubicBezTo>
                  <a:lnTo>
                    <a:pt x="41" y="286"/>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5" name="Freeform 122">
              <a:extLst>
                <a:ext uri="{FF2B5EF4-FFF2-40B4-BE49-F238E27FC236}">
                  <a16:creationId xmlns:a16="http://schemas.microsoft.com/office/drawing/2014/main" id="{204250FF-B3F5-AA49-9840-5B750380BBE7}"/>
                </a:ext>
              </a:extLst>
            </p:cNvPr>
            <p:cNvSpPr>
              <a:spLocks noChangeArrowheads="1"/>
            </p:cNvSpPr>
            <p:nvPr/>
          </p:nvSpPr>
          <p:spPr bwMode="auto">
            <a:xfrm>
              <a:off x="6918325" y="4008438"/>
              <a:ext cx="38100" cy="74612"/>
            </a:xfrm>
            <a:custGeom>
              <a:avLst/>
              <a:gdLst>
                <a:gd name="T0" fmla="*/ 82 w 104"/>
                <a:gd name="T1" fmla="*/ 102 h 206"/>
                <a:gd name="T2" fmla="*/ 82 w 104"/>
                <a:gd name="T3" fmla="*/ 102 h 206"/>
                <a:gd name="T4" fmla="*/ 82 w 104"/>
                <a:gd name="T5" fmla="*/ 82 h 206"/>
                <a:gd name="T6" fmla="*/ 82 w 104"/>
                <a:gd name="T7" fmla="*/ 61 h 206"/>
                <a:gd name="T8" fmla="*/ 103 w 104"/>
                <a:gd name="T9" fmla="*/ 41 h 206"/>
                <a:gd name="T10" fmla="*/ 103 w 104"/>
                <a:gd name="T11" fmla="*/ 0 h 206"/>
                <a:gd name="T12" fmla="*/ 82 w 104"/>
                <a:gd name="T13" fmla="*/ 0 h 206"/>
                <a:gd name="T14" fmla="*/ 62 w 104"/>
                <a:gd name="T15" fmla="*/ 21 h 206"/>
                <a:gd name="T16" fmla="*/ 41 w 104"/>
                <a:gd name="T17" fmla="*/ 41 h 206"/>
                <a:gd name="T18" fmla="*/ 21 w 104"/>
                <a:gd name="T19" fmla="*/ 61 h 206"/>
                <a:gd name="T20" fmla="*/ 21 w 104"/>
                <a:gd name="T21" fmla="*/ 102 h 206"/>
                <a:gd name="T22" fmla="*/ 21 w 104"/>
                <a:gd name="T23" fmla="*/ 123 h 206"/>
                <a:gd name="T24" fmla="*/ 0 w 104"/>
                <a:gd name="T25" fmla="*/ 143 h 206"/>
                <a:gd name="T26" fmla="*/ 0 w 104"/>
                <a:gd name="T27" fmla="*/ 163 h 206"/>
                <a:gd name="T28" fmla="*/ 0 w 104"/>
                <a:gd name="T29" fmla="*/ 205 h 206"/>
                <a:gd name="T30" fmla="*/ 21 w 104"/>
                <a:gd name="T31" fmla="*/ 205 h 206"/>
                <a:gd name="T32" fmla="*/ 41 w 104"/>
                <a:gd name="T33" fmla="*/ 184 h 206"/>
                <a:gd name="T34" fmla="*/ 41 w 104"/>
                <a:gd name="T35" fmla="*/ 143 h 206"/>
                <a:gd name="T36" fmla="*/ 41 w 104"/>
                <a:gd name="T37" fmla="*/ 143 h 206"/>
                <a:gd name="T38" fmla="*/ 62 w 104"/>
                <a:gd name="T39" fmla="*/ 123 h 206"/>
                <a:gd name="T40" fmla="*/ 82 w 104"/>
                <a:gd name="T41" fmla="*/ 102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4" h="206">
                  <a:moveTo>
                    <a:pt x="82" y="102"/>
                  </a:moveTo>
                  <a:lnTo>
                    <a:pt x="82" y="102"/>
                  </a:lnTo>
                  <a:cubicBezTo>
                    <a:pt x="82" y="82"/>
                    <a:pt x="82" y="82"/>
                    <a:pt x="82" y="82"/>
                  </a:cubicBezTo>
                  <a:cubicBezTo>
                    <a:pt x="82" y="61"/>
                    <a:pt x="82" y="61"/>
                    <a:pt x="82" y="61"/>
                  </a:cubicBezTo>
                  <a:cubicBezTo>
                    <a:pt x="82" y="41"/>
                    <a:pt x="103" y="41"/>
                    <a:pt x="103" y="41"/>
                  </a:cubicBezTo>
                  <a:cubicBezTo>
                    <a:pt x="103" y="21"/>
                    <a:pt x="103" y="21"/>
                    <a:pt x="103" y="0"/>
                  </a:cubicBezTo>
                  <a:lnTo>
                    <a:pt x="82" y="0"/>
                  </a:lnTo>
                  <a:cubicBezTo>
                    <a:pt x="82" y="0"/>
                    <a:pt x="62" y="0"/>
                    <a:pt x="62" y="21"/>
                  </a:cubicBezTo>
                  <a:cubicBezTo>
                    <a:pt x="62" y="21"/>
                    <a:pt x="41" y="21"/>
                    <a:pt x="41" y="41"/>
                  </a:cubicBezTo>
                  <a:cubicBezTo>
                    <a:pt x="41" y="41"/>
                    <a:pt x="41" y="61"/>
                    <a:pt x="21" y="61"/>
                  </a:cubicBezTo>
                  <a:cubicBezTo>
                    <a:pt x="21" y="61"/>
                    <a:pt x="41" y="82"/>
                    <a:pt x="21" y="102"/>
                  </a:cubicBezTo>
                  <a:lnTo>
                    <a:pt x="21" y="123"/>
                  </a:lnTo>
                  <a:lnTo>
                    <a:pt x="0" y="143"/>
                  </a:lnTo>
                  <a:lnTo>
                    <a:pt x="0" y="163"/>
                  </a:lnTo>
                  <a:cubicBezTo>
                    <a:pt x="0" y="184"/>
                    <a:pt x="0" y="184"/>
                    <a:pt x="0" y="205"/>
                  </a:cubicBezTo>
                  <a:cubicBezTo>
                    <a:pt x="21" y="205"/>
                    <a:pt x="21" y="205"/>
                    <a:pt x="21" y="205"/>
                  </a:cubicBezTo>
                  <a:cubicBezTo>
                    <a:pt x="41" y="205"/>
                    <a:pt x="41" y="184"/>
                    <a:pt x="41" y="184"/>
                  </a:cubicBezTo>
                  <a:cubicBezTo>
                    <a:pt x="41" y="163"/>
                    <a:pt x="41" y="163"/>
                    <a:pt x="41" y="143"/>
                  </a:cubicBezTo>
                  <a:lnTo>
                    <a:pt x="41" y="143"/>
                  </a:lnTo>
                  <a:cubicBezTo>
                    <a:pt x="62" y="123"/>
                    <a:pt x="62" y="123"/>
                    <a:pt x="62" y="123"/>
                  </a:cubicBezTo>
                  <a:cubicBezTo>
                    <a:pt x="82" y="123"/>
                    <a:pt x="82" y="102"/>
                    <a:pt x="82" y="10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6" name="Freeform 123">
              <a:extLst>
                <a:ext uri="{FF2B5EF4-FFF2-40B4-BE49-F238E27FC236}">
                  <a16:creationId xmlns:a16="http://schemas.microsoft.com/office/drawing/2014/main" id="{B2DF5CF8-76F3-444E-AC48-56F1560EA5DA}"/>
                </a:ext>
              </a:extLst>
            </p:cNvPr>
            <p:cNvSpPr>
              <a:spLocks noChangeArrowheads="1"/>
            </p:cNvSpPr>
            <p:nvPr/>
          </p:nvSpPr>
          <p:spPr bwMode="auto">
            <a:xfrm>
              <a:off x="6977063" y="3919538"/>
              <a:ext cx="22225" cy="38100"/>
            </a:xfrm>
            <a:custGeom>
              <a:avLst/>
              <a:gdLst>
                <a:gd name="T0" fmla="*/ 41 w 63"/>
                <a:gd name="T1" fmla="*/ 103 h 104"/>
                <a:gd name="T2" fmla="*/ 41 w 63"/>
                <a:gd name="T3" fmla="*/ 103 h 104"/>
                <a:gd name="T4" fmla="*/ 41 w 63"/>
                <a:gd name="T5" fmla="*/ 61 h 104"/>
                <a:gd name="T6" fmla="*/ 62 w 63"/>
                <a:gd name="T7" fmla="*/ 21 h 104"/>
                <a:gd name="T8" fmla="*/ 62 w 63"/>
                <a:gd name="T9" fmla="*/ 0 h 104"/>
                <a:gd name="T10" fmla="*/ 41 w 63"/>
                <a:gd name="T11" fmla="*/ 21 h 104"/>
                <a:gd name="T12" fmla="*/ 21 w 63"/>
                <a:gd name="T13" fmla="*/ 41 h 104"/>
                <a:gd name="T14" fmla="*/ 21 w 63"/>
                <a:gd name="T15" fmla="*/ 41 h 104"/>
                <a:gd name="T16" fmla="*/ 0 w 63"/>
                <a:gd name="T17" fmla="*/ 82 h 104"/>
                <a:gd name="T18" fmla="*/ 21 w 63"/>
                <a:gd name="T19" fmla="*/ 103 h 104"/>
                <a:gd name="T20" fmla="*/ 41 w 63"/>
                <a:gd name="T21"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104">
                  <a:moveTo>
                    <a:pt x="41" y="103"/>
                  </a:moveTo>
                  <a:lnTo>
                    <a:pt x="41" y="103"/>
                  </a:lnTo>
                  <a:cubicBezTo>
                    <a:pt x="41" y="103"/>
                    <a:pt x="41" y="82"/>
                    <a:pt x="41" y="61"/>
                  </a:cubicBezTo>
                  <a:cubicBezTo>
                    <a:pt x="41" y="61"/>
                    <a:pt x="62" y="41"/>
                    <a:pt x="62" y="21"/>
                  </a:cubicBezTo>
                  <a:lnTo>
                    <a:pt x="62" y="0"/>
                  </a:lnTo>
                  <a:cubicBezTo>
                    <a:pt x="41" y="0"/>
                    <a:pt x="41" y="21"/>
                    <a:pt x="41" y="21"/>
                  </a:cubicBezTo>
                  <a:lnTo>
                    <a:pt x="21" y="41"/>
                  </a:lnTo>
                  <a:lnTo>
                    <a:pt x="21" y="41"/>
                  </a:lnTo>
                  <a:cubicBezTo>
                    <a:pt x="21" y="61"/>
                    <a:pt x="0" y="61"/>
                    <a:pt x="0" y="82"/>
                  </a:cubicBezTo>
                  <a:cubicBezTo>
                    <a:pt x="0" y="82"/>
                    <a:pt x="0" y="103"/>
                    <a:pt x="21" y="103"/>
                  </a:cubicBezTo>
                  <a:lnTo>
                    <a:pt x="41" y="103"/>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7" name="Freeform 124">
              <a:extLst>
                <a:ext uri="{FF2B5EF4-FFF2-40B4-BE49-F238E27FC236}">
                  <a16:creationId xmlns:a16="http://schemas.microsoft.com/office/drawing/2014/main" id="{EC953FBE-AE44-D14A-9247-1BCA8A3580BA}"/>
                </a:ext>
              </a:extLst>
            </p:cNvPr>
            <p:cNvSpPr>
              <a:spLocks noChangeArrowheads="1"/>
            </p:cNvSpPr>
            <p:nvPr/>
          </p:nvSpPr>
          <p:spPr bwMode="auto">
            <a:xfrm>
              <a:off x="6991350" y="3860800"/>
              <a:ext cx="15875" cy="30163"/>
            </a:xfrm>
            <a:custGeom>
              <a:avLst/>
              <a:gdLst>
                <a:gd name="T0" fmla="*/ 41 w 42"/>
                <a:gd name="T1" fmla="*/ 82 h 83"/>
                <a:gd name="T2" fmla="*/ 41 w 42"/>
                <a:gd name="T3" fmla="*/ 82 h 83"/>
                <a:gd name="T4" fmla="*/ 21 w 42"/>
                <a:gd name="T5" fmla="*/ 61 h 83"/>
                <a:gd name="T6" fmla="*/ 21 w 42"/>
                <a:gd name="T7" fmla="*/ 21 h 83"/>
                <a:gd name="T8" fmla="*/ 21 w 42"/>
                <a:gd name="T9" fmla="*/ 0 h 83"/>
                <a:gd name="T10" fmla="*/ 41 w 42"/>
                <a:gd name="T11" fmla="*/ 21 h 83"/>
                <a:gd name="T12" fmla="*/ 41 w 42"/>
                <a:gd name="T13" fmla="*/ 41 h 83"/>
                <a:gd name="T14" fmla="*/ 41 w 42"/>
                <a:gd name="T15" fmla="*/ 8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83">
                  <a:moveTo>
                    <a:pt x="41" y="82"/>
                  </a:moveTo>
                  <a:lnTo>
                    <a:pt x="41" y="82"/>
                  </a:lnTo>
                  <a:cubicBezTo>
                    <a:pt x="21" y="82"/>
                    <a:pt x="21" y="61"/>
                    <a:pt x="21" y="61"/>
                  </a:cubicBezTo>
                  <a:cubicBezTo>
                    <a:pt x="21" y="41"/>
                    <a:pt x="0" y="21"/>
                    <a:pt x="21" y="21"/>
                  </a:cubicBezTo>
                  <a:lnTo>
                    <a:pt x="21" y="0"/>
                  </a:lnTo>
                  <a:cubicBezTo>
                    <a:pt x="21" y="0"/>
                    <a:pt x="21" y="21"/>
                    <a:pt x="41" y="21"/>
                  </a:cubicBezTo>
                  <a:cubicBezTo>
                    <a:pt x="41" y="41"/>
                    <a:pt x="41" y="41"/>
                    <a:pt x="41" y="41"/>
                  </a:cubicBezTo>
                  <a:cubicBezTo>
                    <a:pt x="41" y="61"/>
                    <a:pt x="41" y="61"/>
                    <a:pt x="41"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8" name="Freeform 125">
              <a:extLst>
                <a:ext uri="{FF2B5EF4-FFF2-40B4-BE49-F238E27FC236}">
                  <a16:creationId xmlns:a16="http://schemas.microsoft.com/office/drawing/2014/main" id="{7F975E43-C2AE-8042-9960-A14964785E7D}"/>
                </a:ext>
              </a:extLst>
            </p:cNvPr>
            <p:cNvSpPr>
              <a:spLocks noChangeArrowheads="1"/>
            </p:cNvSpPr>
            <p:nvPr/>
          </p:nvSpPr>
          <p:spPr bwMode="auto">
            <a:xfrm>
              <a:off x="6991350" y="3741738"/>
              <a:ext cx="15875" cy="30162"/>
            </a:xfrm>
            <a:custGeom>
              <a:avLst/>
              <a:gdLst>
                <a:gd name="T0" fmla="*/ 21 w 42"/>
                <a:gd name="T1" fmla="*/ 82 h 83"/>
                <a:gd name="T2" fmla="*/ 21 w 42"/>
                <a:gd name="T3" fmla="*/ 82 h 83"/>
                <a:gd name="T4" fmla="*/ 41 w 42"/>
                <a:gd name="T5" fmla="*/ 41 h 83"/>
                <a:gd name="T6" fmla="*/ 41 w 42"/>
                <a:gd name="T7" fmla="*/ 21 h 83"/>
                <a:gd name="T8" fmla="*/ 21 w 42"/>
                <a:gd name="T9" fmla="*/ 0 h 83"/>
                <a:gd name="T10" fmla="*/ 21 w 42"/>
                <a:gd name="T11" fmla="*/ 21 h 83"/>
                <a:gd name="T12" fmla="*/ 21 w 42"/>
                <a:gd name="T13" fmla="*/ 62 h 83"/>
                <a:gd name="T14" fmla="*/ 21 w 42"/>
                <a:gd name="T15" fmla="*/ 8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83">
                  <a:moveTo>
                    <a:pt x="21" y="82"/>
                  </a:moveTo>
                  <a:lnTo>
                    <a:pt x="21" y="82"/>
                  </a:lnTo>
                  <a:cubicBezTo>
                    <a:pt x="21" y="82"/>
                    <a:pt x="41" y="62"/>
                    <a:pt x="41" y="41"/>
                  </a:cubicBezTo>
                  <a:lnTo>
                    <a:pt x="41" y="21"/>
                  </a:lnTo>
                  <a:cubicBezTo>
                    <a:pt x="41" y="0"/>
                    <a:pt x="21" y="0"/>
                    <a:pt x="21" y="0"/>
                  </a:cubicBezTo>
                  <a:lnTo>
                    <a:pt x="21" y="21"/>
                  </a:lnTo>
                  <a:cubicBezTo>
                    <a:pt x="0" y="21"/>
                    <a:pt x="0" y="41"/>
                    <a:pt x="21" y="62"/>
                  </a:cubicBezTo>
                  <a:lnTo>
                    <a:pt x="21"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29" name="Freeform 126">
              <a:extLst>
                <a:ext uri="{FF2B5EF4-FFF2-40B4-BE49-F238E27FC236}">
                  <a16:creationId xmlns:a16="http://schemas.microsoft.com/office/drawing/2014/main" id="{6A50C099-4D93-AC48-8857-ABD447CD824B}"/>
                </a:ext>
              </a:extLst>
            </p:cNvPr>
            <p:cNvSpPr>
              <a:spLocks noChangeArrowheads="1"/>
            </p:cNvSpPr>
            <p:nvPr/>
          </p:nvSpPr>
          <p:spPr bwMode="auto">
            <a:xfrm>
              <a:off x="6999288" y="3719513"/>
              <a:ext cx="7937" cy="7937"/>
            </a:xfrm>
            <a:custGeom>
              <a:avLst/>
              <a:gdLst>
                <a:gd name="T0" fmla="*/ 0 w 21"/>
                <a:gd name="T1" fmla="*/ 0 h 21"/>
                <a:gd name="T2" fmla="*/ 0 w 21"/>
                <a:gd name="T3" fmla="*/ 0 h 21"/>
                <a:gd name="T4" fmla="*/ 0 w 21"/>
                <a:gd name="T5" fmla="*/ 0 h 21"/>
                <a:gd name="T6" fmla="*/ 0 w 21"/>
                <a:gd name="T7" fmla="*/ 20 h 21"/>
                <a:gd name="T8" fmla="*/ 0 w 21"/>
                <a:gd name="T9" fmla="*/ 20 h 21"/>
                <a:gd name="T10" fmla="*/ 20 w 21"/>
                <a:gd name="T11" fmla="*/ 20 h 21"/>
                <a:gd name="T12" fmla="*/ 20 w 21"/>
                <a:gd name="T13" fmla="*/ 0 h 21"/>
                <a:gd name="T14" fmla="*/ 0 w 2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0"/>
                  </a:moveTo>
                  <a:lnTo>
                    <a:pt x="0" y="0"/>
                  </a:lnTo>
                  <a:lnTo>
                    <a:pt x="0" y="0"/>
                  </a:lnTo>
                  <a:cubicBezTo>
                    <a:pt x="0" y="20"/>
                    <a:pt x="0" y="20"/>
                    <a:pt x="0" y="20"/>
                  </a:cubicBezTo>
                  <a:lnTo>
                    <a:pt x="0" y="20"/>
                  </a:lnTo>
                  <a:lnTo>
                    <a:pt x="20" y="20"/>
                  </a:lnTo>
                  <a:lnTo>
                    <a:pt x="20" y="0"/>
                  </a:ln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0" name="Freeform 127">
              <a:extLst>
                <a:ext uri="{FF2B5EF4-FFF2-40B4-BE49-F238E27FC236}">
                  <a16:creationId xmlns:a16="http://schemas.microsoft.com/office/drawing/2014/main" id="{66B357FB-0CCB-C649-95F8-506D46B215CB}"/>
                </a:ext>
              </a:extLst>
            </p:cNvPr>
            <p:cNvSpPr>
              <a:spLocks noChangeArrowheads="1"/>
            </p:cNvSpPr>
            <p:nvPr/>
          </p:nvSpPr>
          <p:spPr bwMode="auto">
            <a:xfrm>
              <a:off x="6985000" y="3683000"/>
              <a:ext cx="15875" cy="22225"/>
            </a:xfrm>
            <a:custGeom>
              <a:avLst/>
              <a:gdLst>
                <a:gd name="T0" fmla="*/ 41 w 42"/>
                <a:gd name="T1" fmla="*/ 41 h 63"/>
                <a:gd name="T2" fmla="*/ 41 w 42"/>
                <a:gd name="T3" fmla="*/ 41 h 63"/>
                <a:gd name="T4" fmla="*/ 20 w 42"/>
                <a:gd name="T5" fmla="*/ 41 h 63"/>
                <a:gd name="T6" fmla="*/ 20 w 42"/>
                <a:gd name="T7" fmla="*/ 21 h 63"/>
                <a:gd name="T8" fmla="*/ 41 w 42"/>
                <a:gd name="T9" fmla="*/ 0 h 63"/>
                <a:gd name="T10" fmla="*/ 41 w 42"/>
                <a:gd name="T11" fmla="*/ 21 h 63"/>
                <a:gd name="T12" fmla="*/ 41 w 42"/>
                <a:gd name="T13" fmla="*/ 41 h 63"/>
              </a:gdLst>
              <a:ahLst/>
              <a:cxnLst>
                <a:cxn ang="0">
                  <a:pos x="T0" y="T1"/>
                </a:cxn>
                <a:cxn ang="0">
                  <a:pos x="T2" y="T3"/>
                </a:cxn>
                <a:cxn ang="0">
                  <a:pos x="T4" y="T5"/>
                </a:cxn>
                <a:cxn ang="0">
                  <a:pos x="T6" y="T7"/>
                </a:cxn>
                <a:cxn ang="0">
                  <a:pos x="T8" y="T9"/>
                </a:cxn>
                <a:cxn ang="0">
                  <a:pos x="T10" y="T11"/>
                </a:cxn>
                <a:cxn ang="0">
                  <a:pos x="T12" y="T13"/>
                </a:cxn>
              </a:cxnLst>
              <a:rect l="0" t="0" r="r" b="b"/>
              <a:pathLst>
                <a:path w="42" h="63">
                  <a:moveTo>
                    <a:pt x="41" y="41"/>
                  </a:moveTo>
                  <a:lnTo>
                    <a:pt x="41" y="41"/>
                  </a:lnTo>
                  <a:cubicBezTo>
                    <a:pt x="41" y="62"/>
                    <a:pt x="20" y="41"/>
                    <a:pt x="20" y="41"/>
                  </a:cubicBezTo>
                  <a:cubicBezTo>
                    <a:pt x="20" y="41"/>
                    <a:pt x="0" y="21"/>
                    <a:pt x="20" y="21"/>
                  </a:cubicBezTo>
                  <a:cubicBezTo>
                    <a:pt x="20" y="21"/>
                    <a:pt x="20" y="0"/>
                    <a:pt x="41" y="0"/>
                  </a:cubicBezTo>
                  <a:lnTo>
                    <a:pt x="41" y="21"/>
                  </a:lnTo>
                  <a:lnTo>
                    <a:pt x="4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1" name="Freeform 128">
              <a:extLst>
                <a:ext uri="{FF2B5EF4-FFF2-40B4-BE49-F238E27FC236}">
                  <a16:creationId xmlns:a16="http://schemas.microsoft.com/office/drawing/2014/main" id="{847868A8-500A-7243-A4A1-FF2CC615483D}"/>
                </a:ext>
              </a:extLst>
            </p:cNvPr>
            <p:cNvSpPr>
              <a:spLocks noChangeArrowheads="1"/>
            </p:cNvSpPr>
            <p:nvPr/>
          </p:nvSpPr>
          <p:spPr bwMode="auto">
            <a:xfrm>
              <a:off x="6991350" y="3897313"/>
              <a:ext cx="15875" cy="14287"/>
            </a:xfrm>
            <a:custGeom>
              <a:avLst/>
              <a:gdLst>
                <a:gd name="T0" fmla="*/ 21 w 42"/>
                <a:gd name="T1" fmla="*/ 0 h 41"/>
                <a:gd name="T2" fmla="*/ 21 w 42"/>
                <a:gd name="T3" fmla="*/ 0 h 41"/>
                <a:gd name="T4" fmla="*/ 0 w 42"/>
                <a:gd name="T5" fmla="*/ 20 h 41"/>
                <a:gd name="T6" fmla="*/ 21 w 42"/>
                <a:gd name="T7" fmla="*/ 40 h 41"/>
                <a:gd name="T8" fmla="*/ 21 w 42"/>
                <a:gd name="T9" fmla="*/ 20 h 41"/>
                <a:gd name="T10" fmla="*/ 21 w 42"/>
                <a:gd name="T11" fmla="*/ 0 h 41"/>
              </a:gdLst>
              <a:ahLst/>
              <a:cxnLst>
                <a:cxn ang="0">
                  <a:pos x="T0" y="T1"/>
                </a:cxn>
                <a:cxn ang="0">
                  <a:pos x="T2" y="T3"/>
                </a:cxn>
                <a:cxn ang="0">
                  <a:pos x="T4" y="T5"/>
                </a:cxn>
                <a:cxn ang="0">
                  <a:pos x="T6" y="T7"/>
                </a:cxn>
                <a:cxn ang="0">
                  <a:pos x="T8" y="T9"/>
                </a:cxn>
                <a:cxn ang="0">
                  <a:pos x="T10" y="T11"/>
                </a:cxn>
              </a:cxnLst>
              <a:rect l="0" t="0" r="r" b="b"/>
              <a:pathLst>
                <a:path w="42" h="41">
                  <a:moveTo>
                    <a:pt x="21" y="0"/>
                  </a:moveTo>
                  <a:lnTo>
                    <a:pt x="21" y="0"/>
                  </a:lnTo>
                  <a:lnTo>
                    <a:pt x="0" y="20"/>
                  </a:lnTo>
                  <a:cubicBezTo>
                    <a:pt x="0" y="20"/>
                    <a:pt x="0" y="40"/>
                    <a:pt x="21" y="40"/>
                  </a:cubicBezTo>
                  <a:cubicBezTo>
                    <a:pt x="21" y="40"/>
                    <a:pt x="21" y="40"/>
                    <a:pt x="21" y="20"/>
                  </a:cubicBezTo>
                  <a:cubicBezTo>
                    <a:pt x="21" y="20"/>
                    <a:pt x="41" y="2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2" name="Freeform 129">
              <a:extLst>
                <a:ext uri="{FF2B5EF4-FFF2-40B4-BE49-F238E27FC236}">
                  <a16:creationId xmlns:a16="http://schemas.microsoft.com/office/drawing/2014/main" id="{B0607FA4-C777-9A43-93D2-07560BB1334D}"/>
                </a:ext>
              </a:extLst>
            </p:cNvPr>
            <p:cNvSpPr>
              <a:spLocks noChangeArrowheads="1"/>
            </p:cNvSpPr>
            <p:nvPr/>
          </p:nvSpPr>
          <p:spPr bwMode="auto">
            <a:xfrm>
              <a:off x="6977063" y="3571875"/>
              <a:ext cx="30162" cy="74613"/>
            </a:xfrm>
            <a:custGeom>
              <a:avLst/>
              <a:gdLst>
                <a:gd name="T0" fmla="*/ 62 w 83"/>
                <a:gd name="T1" fmla="*/ 184 h 206"/>
                <a:gd name="T2" fmla="*/ 62 w 83"/>
                <a:gd name="T3" fmla="*/ 184 h 206"/>
                <a:gd name="T4" fmla="*/ 62 w 83"/>
                <a:gd name="T5" fmla="*/ 164 h 206"/>
                <a:gd name="T6" fmla="*/ 82 w 83"/>
                <a:gd name="T7" fmla="*/ 123 h 206"/>
                <a:gd name="T8" fmla="*/ 82 w 83"/>
                <a:gd name="T9" fmla="*/ 82 h 206"/>
                <a:gd name="T10" fmla="*/ 62 w 83"/>
                <a:gd name="T11" fmla="*/ 41 h 206"/>
                <a:gd name="T12" fmla="*/ 62 w 83"/>
                <a:gd name="T13" fmla="*/ 20 h 206"/>
                <a:gd name="T14" fmla="*/ 41 w 83"/>
                <a:gd name="T15" fmla="*/ 0 h 206"/>
                <a:gd name="T16" fmla="*/ 21 w 83"/>
                <a:gd name="T17" fmla="*/ 20 h 206"/>
                <a:gd name="T18" fmla="*/ 41 w 83"/>
                <a:gd name="T19" fmla="*/ 61 h 206"/>
                <a:gd name="T20" fmla="*/ 41 w 83"/>
                <a:gd name="T21" fmla="*/ 82 h 206"/>
                <a:gd name="T22" fmla="*/ 21 w 83"/>
                <a:gd name="T23" fmla="*/ 102 h 206"/>
                <a:gd name="T24" fmla="*/ 0 w 83"/>
                <a:gd name="T25" fmla="*/ 123 h 206"/>
                <a:gd name="T26" fmla="*/ 0 w 83"/>
                <a:gd name="T27" fmla="*/ 143 h 206"/>
                <a:gd name="T28" fmla="*/ 21 w 83"/>
                <a:gd name="T29" fmla="*/ 184 h 206"/>
                <a:gd name="T30" fmla="*/ 41 w 83"/>
                <a:gd name="T31" fmla="*/ 205 h 206"/>
                <a:gd name="T32" fmla="*/ 41 w 83"/>
                <a:gd name="T33" fmla="*/ 205 h 206"/>
                <a:gd name="T34" fmla="*/ 62 w 83"/>
                <a:gd name="T35" fmla="*/ 18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206">
                  <a:moveTo>
                    <a:pt x="62" y="184"/>
                  </a:moveTo>
                  <a:lnTo>
                    <a:pt x="62" y="184"/>
                  </a:lnTo>
                  <a:cubicBezTo>
                    <a:pt x="82" y="184"/>
                    <a:pt x="62" y="164"/>
                    <a:pt x="62" y="164"/>
                  </a:cubicBezTo>
                  <a:cubicBezTo>
                    <a:pt x="62" y="143"/>
                    <a:pt x="82" y="143"/>
                    <a:pt x="82" y="123"/>
                  </a:cubicBezTo>
                  <a:cubicBezTo>
                    <a:pt x="82" y="123"/>
                    <a:pt x="82" y="102"/>
                    <a:pt x="82" y="82"/>
                  </a:cubicBezTo>
                  <a:cubicBezTo>
                    <a:pt x="82" y="82"/>
                    <a:pt x="82" y="41"/>
                    <a:pt x="62" y="41"/>
                  </a:cubicBezTo>
                  <a:cubicBezTo>
                    <a:pt x="62" y="20"/>
                    <a:pt x="62" y="20"/>
                    <a:pt x="62" y="20"/>
                  </a:cubicBezTo>
                  <a:cubicBezTo>
                    <a:pt x="62" y="0"/>
                    <a:pt x="41" y="0"/>
                    <a:pt x="41" y="0"/>
                  </a:cubicBezTo>
                  <a:cubicBezTo>
                    <a:pt x="41" y="0"/>
                    <a:pt x="41" y="20"/>
                    <a:pt x="21" y="20"/>
                  </a:cubicBezTo>
                  <a:cubicBezTo>
                    <a:pt x="21" y="20"/>
                    <a:pt x="41" y="41"/>
                    <a:pt x="41" y="61"/>
                  </a:cubicBezTo>
                  <a:lnTo>
                    <a:pt x="41" y="82"/>
                  </a:lnTo>
                  <a:cubicBezTo>
                    <a:pt x="21" y="82"/>
                    <a:pt x="21" y="102"/>
                    <a:pt x="21" y="102"/>
                  </a:cubicBezTo>
                  <a:cubicBezTo>
                    <a:pt x="0" y="102"/>
                    <a:pt x="0" y="123"/>
                    <a:pt x="0" y="123"/>
                  </a:cubicBezTo>
                  <a:lnTo>
                    <a:pt x="0" y="143"/>
                  </a:lnTo>
                  <a:cubicBezTo>
                    <a:pt x="0" y="164"/>
                    <a:pt x="21" y="164"/>
                    <a:pt x="21" y="184"/>
                  </a:cubicBezTo>
                  <a:cubicBezTo>
                    <a:pt x="21" y="184"/>
                    <a:pt x="21" y="205"/>
                    <a:pt x="41" y="205"/>
                  </a:cubicBezTo>
                  <a:lnTo>
                    <a:pt x="41" y="205"/>
                  </a:lnTo>
                  <a:cubicBezTo>
                    <a:pt x="62" y="205"/>
                    <a:pt x="62" y="205"/>
                    <a:pt x="62" y="18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3" name="Freeform 130">
              <a:extLst>
                <a:ext uri="{FF2B5EF4-FFF2-40B4-BE49-F238E27FC236}">
                  <a16:creationId xmlns:a16="http://schemas.microsoft.com/office/drawing/2014/main" id="{6B52CDD2-89C0-C445-AC05-10EEF5C9AF95}"/>
                </a:ext>
              </a:extLst>
            </p:cNvPr>
            <p:cNvSpPr>
              <a:spLocks noChangeArrowheads="1"/>
            </p:cNvSpPr>
            <p:nvPr/>
          </p:nvSpPr>
          <p:spPr bwMode="auto">
            <a:xfrm>
              <a:off x="6954838" y="3565525"/>
              <a:ext cx="7937" cy="7938"/>
            </a:xfrm>
            <a:custGeom>
              <a:avLst/>
              <a:gdLst>
                <a:gd name="T0" fmla="*/ 20 w 21"/>
                <a:gd name="T1" fmla="*/ 21 h 22"/>
                <a:gd name="T2" fmla="*/ 20 w 21"/>
                <a:gd name="T3" fmla="*/ 21 h 22"/>
                <a:gd name="T4" fmla="*/ 0 w 21"/>
                <a:gd name="T5" fmla="*/ 21 h 22"/>
                <a:gd name="T6" fmla="*/ 0 w 21"/>
                <a:gd name="T7" fmla="*/ 21 h 22"/>
                <a:gd name="T8" fmla="*/ 0 w 21"/>
                <a:gd name="T9" fmla="*/ 0 h 22"/>
                <a:gd name="T10" fmla="*/ 0 w 21"/>
                <a:gd name="T11" fmla="*/ 0 h 22"/>
                <a:gd name="T12" fmla="*/ 20 w 21"/>
                <a:gd name="T13" fmla="*/ 0 h 22"/>
                <a:gd name="T14" fmla="*/ 20 w 21"/>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2">
                  <a:moveTo>
                    <a:pt x="20" y="21"/>
                  </a:moveTo>
                  <a:lnTo>
                    <a:pt x="20" y="21"/>
                  </a:lnTo>
                  <a:lnTo>
                    <a:pt x="0" y="21"/>
                  </a:lnTo>
                  <a:lnTo>
                    <a:pt x="0" y="21"/>
                  </a:lnTo>
                  <a:cubicBezTo>
                    <a:pt x="0" y="0"/>
                    <a:pt x="0" y="0"/>
                    <a:pt x="0" y="0"/>
                  </a:cubicBezTo>
                  <a:lnTo>
                    <a:pt x="0" y="0"/>
                  </a:lnTo>
                  <a:cubicBezTo>
                    <a:pt x="20" y="0"/>
                    <a:pt x="20" y="0"/>
                    <a:pt x="20" y="0"/>
                  </a:cubicBez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4" name="Freeform 131">
              <a:extLst>
                <a:ext uri="{FF2B5EF4-FFF2-40B4-BE49-F238E27FC236}">
                  <a16:creationId xmlns:a16="http://schemas.microsoft.com/office/drawing/2014/main" id="{4D968EC2-9A69-CB4F-B285-611867E3A5E1}"/>
                </a:ext>
              </a:extLst>
            </p:cNvPr>
            <p:cNvSpPr>
              <a:spLocks noChangeArrowheads="1"/>
            </p:cNvSpPr>
            <p:nvPr/>
          </p:nvSpPr>
          <p:spPr bwMode="auto">
            <a:xfrm>
              <a:off x="6999288" y="3557588"/>
              <a:ext cx="15875" cy="15875"/>
            </a:xfrm>
            <a:custGeom>
              <a:avLst/>
              <a:gdLst>
                <a:gd name="T0" fmla="*/ 20 w 42"/>
                <a:gd name="T1" fmla="*/ 41 h 42"/>
                <a:gd name="T2" fmla="*/ 20 w 42"/>
                <a:gd name="T3" fmla="*/ 41 h 42"/>
                <a:gd name="T4" fmla="*/ 20 w 42"/>
                <a:gd name="T5" fmla="*/ 41 h 42"/>
                <a:gd name="T6" fmla="*/ 0 w 42"/>
                <a:gd name="T7" fmla="*/ 20 h 42"/>
                <a:gd name="T8" fmla="*/ 20 w 42"/>
                <a:gd name="T9" fmla="*/ 0 h 42"/>
                <a:gd name="T10" fmla="*/ 20 w 42"/>
                <a:gd name="T11" fmla="*/ 0 h 42"/>
                <a:gd name="T12" fmla="*/ 41 w 42"/>
                <a:gd name="T13" fmla="*/ 20 h 42"/>
                <a:gd name="T14" fmla="*/ 41 w 42"/>
                <a:gd name="T15" fmla="*/ 41 h 42"/>
                <a:gd name="T16" fmla="*/ 20 w 42"/>
                <a:gd name="T1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20" y="41"/>
                  </a:moveTo>
                  <a:lnTo>
                    <a:pt x="20" y="41"/>
                  </a:lnTo>
                  <a:lnTo>
                    <a:pt x="20" y="41"/>
                  </a:lnTo>
                  <a:lnTo>
                    <a:pt x="0" y="20"/>
                  </a:lnTo>
                  <a:lnTo>
                    <a:pt x="20" y="0"/>
                  </a:lnTo>
                  <a:lnTo>
                    <a:pt x="20" y="0"/>
                  </a:lnTo>
                  <a:cubicBezTo>
                    <a:pt x="41" y="0"/>
                    <a:pt x="41" y="20"/>
                    <a:pt x="41" y="20"/>
                  </a:cubicBezTo>
                  <a:lnTo>
                    <a:pt x="41" y="41"/>
                  </a:lnTo>
                  <a:cubicBezTo>
                    <a:pt x="41" y="41"/>
                    <a:pt x="41"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5" name="Freeform 132">
              <a:extLst>
                <a:ext uri="{FF2B5EF4-FFF2-40B4-BE49-F238E27FC236}">
                  <a16:creationId xmlns:a16="http://schemas.microsoft.com/office/drawing/2014/main" id="{A85B986C-AE78-D64F-A2BD-6C426D41A69B}"/>
                </a:ext>
              </a:extLst>
            </p:cNvPr>
            <p:cNvSpPr>
              <a:spLocks noChangeArrowheads="1"/>
            </p:cNvSpPr>
            <p:nvPr/>
          </p:nvSpPr>
          <p:spPr bwMode="auto">
            <a:xfrm>
              <a:off x="6121400" y="3351213"/>
              <a:ext cx="465138" cy="738187"/>
            </a:xfrm>
            <a:custGeom>
              <a:avLst/>
              <a:gdLst>
                <a:gd name="T0" fmla="*/ 1291 w 1292"/>
                <a:gd name="T1" fmla="*/ 1987 h 2050"/>
                <a:gd name="T2" fmla="*/ 1250 w 1292"/>
                <a:gd name="T3" fmla="*/ 1885 h 2050"/>
                <a:gd name="T4" fmla="*/ 1188 w 1292"/>
                <a:gd name="T5" fmla="*/ 1824 h 2050"/>
                <a:gd name="T6" fmla="*/ 1066 w 1292"/>
                <a:gd name="T7" fmla="*/ 1721 h 2050"/>
                <a:gd name="T8" fmla="*/ 964 w 1292"/>
                <a:gd name="T9" fmla="*/ 1599 h 2050"/>
                <a:gd name="T10" fmla="*/ 861 w 1292"/>
                <a:gd name="T11" fmla="*/ 1311 h 2050"/>
                <a:gd name="T12" fmla="*/ 882 w 1292"/>
                <a:gd name="T13" fmla="*/ 1209 h 2050"/>
                <a:gd name="T14" fmla="*/ 964 w 1292"/>
                <a:gd name="T15" fmla="*/ 1209 h 2050"/>
                <a:gd name="T16" fmla="*/ 1024 w 1292"/>
                <a:gd name="T17" fmla="*/ 1271 h 2050"/>
                <a:gd name="T18" fmla="*/ 1086 w 1292"/>
                <a:gd name="T19" fmla="*/ 1332 h 2050"/>
                <a:gd name="T20" fmla="*/ 1086 w 1292"/>
                <a:gd name="T21" fmla="*/ 1291 h 2050"/>
                <a:gd name="T22" fmla="*/ 1004 w 1292"/>
                <a:gd name="T23" fmla="*/ 1209 h 2050"/>
                <a:gd name="T24" fmla="*/ 922 w 1292"/>
                <a:gd name="T25" fmla="*/ 1127 h 2050"/>
                <a:gd name="T26" fmla="*/ 738 w 1292"/>
                <a:gd name="T27" fmla="*/ 902 h 2050"/>
                <a:gd name="T28" fmla="*/ 615 w 1292"/>
                <a:gd name="T29" fmla="*/ 758 h 2050"/>
                <a:gd name="T30" fmla="*/ 512 w 1292"/>
                <a:gd name="T31" fmla="*/ 656 h 2050"/>
                <a:gd name="T32" fmla="*/ 410 w 1292"/>
                <a:gd name="T33" fmla="*/ 574 h 2050"/>
                <a:gd name="T34" fmla="*/ 430 w 1292"/>
                <a:gd name="T35" fmla="*/ 533 h 2050"/>
                <a:gd name="T36" fmla="*/ 369 w 1292"/>
                <a:gd name="T37" fmla="*/ 472 h 2050"/>
                <a:gd name="T38" fmla="*/ 410 w 1292"/>
                <a:gd name="T39" fmla="*/ 451 h 2050"/>
                <a:gd name="T40" fmla="*/ 328 w 1292"/>
                <a:gd name="T41" fmla="*/ 369 h 2050"/>
                <a:gd name="T42" fmla="*/ 246 w 1292"/>
                <a:gd name="T43" fmla="*/ 287 h 2050"/>
                <a:gd name="T44" fmla="*/ 226 w 1292"/>
                <a:gd name="T45" fmla="*/ 184 h 2050"/>
                <a:gd name="T46" fmla="*/ 123 w 1292"/>
                <a:gd name="T47" fmla="*/ 82 h 2050"/>
                <a:gd name="T48" fmla="*/ 41 w 1292"/>
                <a:gd name="T49" fmla="*/ 0 h 2050"/>
                <a:gd name="T50" fmla="*/ 21 w 1292"/>
                <a:gd name="T51" fmla="*/ 62 h 2050"/>
                <a:gd name="T52" fmla="*/ 103 w 1292"/>
                <a:gd name="T53" fmla="*/ 123 h 2050"/>
                <a:gd name="T54" fmla="*/ 144 w 1292"/>
                <a:gd name="T55" fmla="*/ 205 h 2050"/>
                <a:gd name="T56" fmla="*/ 123 w 1292"/>
                <a:gd name="T57" fmla="*/ 266 h 2050"/>
                <a:gd name="T58" fmla="*/ 62 w 1292"/>
                <a:gd name="T59" fmla="*/ 246 h 2050"/>
                <a:gd name="T60" fmla="*/ 123 w 1292"/>
                <a:gd name="T61" fmla="*/ 348 h 2050"/>
                <a:gd name="T62" fmla="*/ 144 w 1292"/>
                <a:gd name="T63" fmla="*/ 430 h 2050"/>
                <a:gd name="T64" fmla="*/ 185 w 1292"/>
                <a:gd name="T65" fmla="*/ 533 h 2050"/>
                <a:gd name="T66" fmla="*/ 246 w 1292"/>
                <a:gd name="T67" fmla="*/ 615 h 2050"/>
                <a:gd name="T68" fmla="*/ 308 w 1292"/>
                <a:gd name="T69" fmla="*/ 697 h 2050"/>
                <a:gd name="T70" fmla="*/ 430 w 1292"/>
                <a:gd name="T71" fmla="*/ 820 h 2050"/>
                <a:gd name="T72" fmla="*/ 512 w 1292"/>
                <a:gd name="T73" fmla="*/ 963 h 2050"/>
                <a:gd name="T74" fmla="*/ 594 w 1292"/>
                <a:gd name="T75" fmla="*/ 1086 h 2050"/>
                <a:gd name="T76" fmla="*/ 656 w 1292"/>
                <a:gd name="T77" fmla="*/ 1230 h 2050"/>
                <a:gd name="T78" fmla="*/ 697 w 1292"/>
                <a:gd name="T79" fmla="*/ 1373 h 2050"/>
                <a:gd name="T80" fmla="*/ 820 w 1292"/>
                <a:gd name="T81" fmla="*/ 1517 h 2050"/>
                <a:gd name="T82" fmla="*/ 861 w 1292"/>
                <a:gd name="T83" fmla="*/ 1681 h 2050"/>
                <a:gd name="T84" fmla="*/ 943 w 1292"/>
                <a:gd name="T85" fmla="*/ 1803 h 2050"/>
                <a:gd name="T86" fmla="*/ 1004 w 1292"/>
                <a:gd name="T87" fmla="*/ 1947 h 2050"/>
                <a:gd name="T88" fmla="*/ 1086 w 1292"/>
                <a:gd name="T89" fmla="*/ 2049 h 2050"/>
                <a:gd name="T90" fmla="*/ 1086 w 1292"/>
                <a:gd name="T91" fmla="*/ 1967 h 2050"/>
                <a:gd name="T92" fmla="*/ 1066 w 1292"/>
                <a:gd name="T93" fmla="*/ 1885 h 2050"/>
                <a:gd name="T94" fmla="*/ 1168 w 1292"/>
                <a:gd name="T95" fmla="*/ 1885 h 2050"/>
                <a:gd name="T96" fmla="*/ 1230 w 1292"/>
                <a:gd name="T97" fmla="*/ 1947 h 2050"/>
                <a:gd name="T98" fmla="*/ 1270 w 1292"/>
                <a:gd name="T99" fmla="*/ 2029 h 2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92" h="2050">
                  <a:moveTo>
                    <a:pt x="1291" y="2029"/>
                  </a:moveTo>
                  <a:lnTo>
                    <a:pt x="1291" y="2029"/>
                  </a:lnTo>
                  <a:cubicBezTo>
                    <a:pt x="1291" y="2008"/>
                    <a:pt x="1291" y="2008"/>
                    <a:pt x="1291" y="1987"/>
                  </a:cubicBezTo>
                  <a:lnTo>
                    <a:pt x="1270" y="1967"/>
                  </a:lnTo>
                  <a:cubicBezTo>
                    <a:pt x="1270" y="1947"/>
                    <a:pt x="1270" y="1926"/>
                    <a:pt x="1270" y="1926"/>
                  </a:cubicBezTo>
                  <a:cubicBezTo>
                    <a:pt x="1270" y="1906"/>
                    <a:pt x="1250" y="1906"/>
                    <a:pt x="1250" y="1885"/>
                  </a:cubicBezTo>
                  <a:lnTo>
                    <a:pt x="1230" y="1865"/>
                  </a:lnTo>
                  <a:lnTo>
                    <a:pt x="1209" y="1845"/>
                  </a:lnTo>
                  <a:cubicBezTo>
                    <a:pt x="1209" y="1824"/>
                    <a:pt x="1188" y="1824"/>
                    <a:pt x="1188" y="1824"/>
                  </a:cubicBezTo>
                  <a:cubicBezTo>
                    <a:pt x="1188" y="1803"/>
                    <a:pt x="1168" y="1803"/>
                    <a:pt x="1148" y="1803"/>
                  </a:cubicBezTo>
                  <a:cubicBezTo>
                    <a:pt x="1127" y="1783"/>
                    <a:pt x="1106" y="1783"/>
                    <a:pt x="1106" y="1763"/>
                  </a:cubicBezTo>
                  <a:cubicBezTo>
                    <a:pt x="1086" y="1763"/>
                    <a:pt x="1086" y="1742"/>
                    <a:pt x="1066" y="1721"/>
                  </a:cubicBezTo>
                  <a:lnTo>
                    <a:pt x="1045" y="1701"/>
                  </a:lnTo>
                  <a:cubicBezTo>
                    <a:pt x="1024" y="1701"/>
                    <a:pt x="1004" y="1681"/>
                    <a:pt x="1004" y="1660"/>
                  </a:cubicBezTo>
                  <a:cubicBezTo>
                    <a:pt x="984" y="1660"/>
                    <a:pt x="964" y="1619"/>
                    <a:pt x="964" y="1599"/>
                  </a:cubicBezTo>
                  <a:cubicBezTo>
                    <a:pt x="943" y="1578"/>
                    <a:pt x="922" y="1537"/>
                    <a:pt x="922" y="1517"/>
                  </a:cubicBezTo>
                  <a:cubicBezTo>
                    <a:pt x="902" y="1496"/>
                    <a:pt x="882" y="1414"/>
                    <a:pt x="882" y="1373"/>
                  </a:cubicBezTo>
                  <a:cubicBezTo>
                    <a:pt x="882" y="1353"/>
                    <a:pt x="861" y="1332"/>
                    <a:pt x="861" y="1311"/>
                  </a:cubicBezTo>
                  <a:cubicBezTo>
                    <a:pt x="840" y="1291"/>
                    <a:pt x="840" y="1271"/>
                    <a:pt x="840" y="1271"/>
                  </a:cubicBezTo>
                  <a:cubicBezTo>
                    <a:pt x="840" y="1250"/>
                    <a:pt x="840" y="1230"/>
                    <a:pt x="840" y="1209"/>
                  </a:cubicBezTo>
                  <a:lnTo>
                    <a:pt x="882" y="1209"/>
                  </a:lnTo>
                  <a:lnTo>
                    <a:pt x="902" y="1209"/>
                  </a:lnTo>
                  <a:cubicBezTo>
                    <a:pt x="922" y="1209"/>
                    <a:pt x="943" y="1209"/>
                    <a:pt x="943" y="1209"/>
                  </a:cubicBezTo>
                  <a:lnTo>
                    <a:pt x="964" y="1209"/>
                  </a:lnTo>
                  <a:cubicBezTo>
                    <a:pt x="964" y="1209"/>
                    <a:pt x="964" y="1209"/>
                    <a:pt x="984" y="1230"/>
                  </a:cubicBezTo>
                  <a:cubicBezTo>
                    <a:pt x="984" y="1230"/>
                    <a:pt x="984" y="1230"/>
                    <a:pt x="1004" y="1230"/>
                  </a:cubicBezTo>
                  <a:cubicBezTo>
                    <a:pt x="1004" y="1250"/>
                    <a:pt x="1004" y="1250"/>
                    <a:pt x="1024" y="1271"/>
                  </a:cubicBezTo>
                  <a:lnTo>
                    <a:pt x="1045" y="1271"/>
                  </a:lnTo>
                  <a:cubicBezTo>
                    <a:pt x="1045" y="1291"/>
                    <a:pt x="1066" y="1291"/>
                    <a:pt x="1066" y="1311"/>
                  </a:cubicBezTo>
                  <a:cubicBezTo>
                    <a:pt x="1066" y="1311"/>
                    <a:pt x="1086" y="1311"/>
                    <a:pt x="1086" y="1332"/>
                  </a:cubicBezTo>
                  <a:cubicBezTo>
                    <a:pt x="1086" y="1332"/>
                    <a:pt x="1086" y="1332"/>
                    <a:pt x="1106" y="1332"/>
                  </a:cubicBezTo>
                  <a:lnTo>
                    <a:pt x="1106" y="1332"/>
                  </a:lnTo>
                  <a:cubicBezTo>
                    <a:pt x="1106" y="1311"/>
                    <a:pt x="1106" y="1291"/>
                    <a:pt x="1086" y="1291"/>
                  </a:cubicBezTo>
                  <a:cubicBezTo>
                    <a:pt x="1086" y="1271"/>
                    <a:pt x="1066" y="1250"/>
                    <a:pt x="1066" y="1250"/>
                  </a:cubicBezTo>
                  <a:cubicBezTo>
                    <a:pt x="1066" y="1250"/>
                    <a:pt x="1045" y="1230"/>
                    <a:pt x="1024" y="1230"/>
                  </a:cubicBezTo>
                  <a:cubicBezTo>
                    <a:pt x="1024" y="1230"/>
                    <a:pt x="1024" y="1230"/>
                    <a:pt x="1004" y="1209"/>
                  </a:cubicBezTo>
                  <a:cubicBezTo>
                    <a:pt x="1004" y="1209"/>
                    <a:pt x="1004" y="1209"/>
                    <a:pt x="1004" y="1189"/>
                  </a:cubicBezTo>
                  <a:cubicBezTo>
                    <a:pt x="984" y="1189"/>
                    <a:pt x="984" y="1168"/>
                    <a:pt x="984" y="1168"/>
                  </a:cubicBezTo>
                  <a:cubicBezTo>
                    <a:pt x="964" y="1148"/>
                    <a:pt x="943" y="1127"/>
                    <a:pt x="922" y="1127"/>
                  </a:cubicBezTo>
                  <a:cubicBezTo>
                    <a:pt x="902" y="1107"/>
                    <a:pt x="882" y="1066"/>
                    <a:pt x="861" y="1045"/>
                  </a:cubicBezTo>
                  <a:cubicBezTo>
                    <a:pt x="861" y="1025"/>
                    <a:pt x="820" y="984"/>
                    <a:pt x="800" y="963"/>
                  </a:cubicBezTo>
                  <a:cubicBezTo>
                    <a:pt x="779" y="943"/>
                    <a:pt x="738" y="922"/>
                    <a:pt x="738" y="902"/>
                  </a:cubicBezTo>
                  <a:cubicBezTo>
                    <a:pt x="718" y="881"/>
                    <a:pt x="697" y="861"/>
                    <a:pt x="697" y="840"/>
                  </a:cubicBezTo>
                  <a:cubicBezTo>
                    <a:pt x="676" y="840"/>
                    <a:pt x="676" y="820"/>
                    <a:pt x="656" y="799"/>
                  </a:cubicBezTo>
                  <a:cubicBezTo>
                    <a:pt x="656" y="799"/>
                    <a:pt x="636" y="779"/>
                    <a:pt x="615" y="758"/>
                  </a:cubicBezTo>
                  <a:lnTo>
                    <a:pt x="594" y="738"/>
                  </a:lnTo>
                  <a:cubicBezTo>
                    <a:pt x="574" y="717"/>
                    <a:pt x="554" y="697"/>
                    <a:pt x="554" y="697"/>
                  </a:cubicBezTo>
                  <a:cubicBezTo>
                    <a:pt x="533" y="676"/>
                    <a:pt x="512" y="656"/>
                    <a:pt x="512" y="656"/>
                  </a:cubicBezTo>
                  <a:cubicBezTo>
                    <a:pt x="492" y="635"/>
                    <a:pt x="472" y="615"/>
                    <a:pt x="472" y="615"/>
                  </a:cubicBezTo>
                  <a:lnTo>
                    <a:pt x="451" y="594"/>
                  </a:lnTo>
                  <a:cubicBezTo>
                    <a:pt x="430" y="594"/>
                    <a:pt x="430" y="594"/>
                    <a:pt x="410" y="574"/>
                  </a:cubicBezTo>
                  <a:cubicBezTo>
                    <a:pt x="410" y="574"/>
                    <a:pt x="410" y="574"/>
                    <a:pt x="410" y="553"/>
                  </a:cubicBezTo>
                  <a:lnTo>
                    <a:pt x="430" y="553"/>
                  </a:lnTo>
                  <a:lnTo>
                    <a:pt x="430" y="533"/>
                  </a:lnTo>
                  <a:cubicBezTo>
                    <a:pt x="430" y="512"/>
                    <a:pt x="410" y="512"/>
                    <a:pt x="410" y="512"/>
                  </a:cubicBezTo>
                  <a:cubicBezTo>
                    <a:pt x="410" y="492"/>
                    <a:pt x="390" y="492"/>
                    <a:pt x="390" y="492"/>
                  </a:cubicBezTo>
                  <a:lnTo>
                    <a:pt x="369" y="472"/>
                  </a:lnTo>
                  <a:cubicBezTo>
                    <a:pt x="369" y="472"/>
                    <a:pt x="369" y="451"/>
                    <a:pt x="390" y="451"/>
                  </a:cubicBezTo>
                  <a:cubicBezTo>
                    <a:pt x="390" y="451"/>
                    <a:pt x="390" y="472"/>
                    <a:pt x="410" y="472"/>
                  </a:cubicBezTo>
                  <a:cubicBezTo>
                    <a:pt x="410" y="451"/>
                    <a:pt x="410" y="451"/>
                    <a:pt x="410" y="451"/>
                  </a:cubicBezTo>
                  <a:cubicBezTo>
                    <a:pt x="410" y="430"/>
                    <a:pt x="390" y="430"/>
                    <a:pt x="390" y="410"/>
                  </a:cubicBezTo>
                  <a:cubicBezTo>
                    <a:pt x="390" y="410"/>
                    <a:pt x="369" y="390"/>
                    <a:pt x="348" y="390"/>
                  </a:cubicBezTo>
                  <a:lnTo>
                    <a:pt x="328" y="369"/>
                  </a:lnTo>
                  <a:cubicBezTo>
                    <a:pt x="308" y="369"/>
                    <a:pt x="308" y="348"/>
                    <a:pt x="308" y="348"/>
                  </a:cubicBezTo>
                  <a:cubicBezTo>
                    <a:pt x="308" y="328"/>
                    <a:pt x="287" y="328"/>
                    <a:pt x="266" y="328"/>
                  </a:cubicBezTo>
                  <a:cubicBezTo>
                    <a:pt x="266" y="308"/>
                    <a:pt x="246" y="308"/>
                    <a:pt x="246" y="287"/>
                  </a:cubicBezTo>
                  <a:cubicBezTo>
                    <a:pt x="246" y="287"/>
                    <a:pt x="246" y="287"/>
                    <a:pt x="246" y="266"/>
                  </a:cubicBezTo>
                  <a:lnTo>
                    <a:pt x="246" y="246"/>
                  </a:lnTo>
                  <a:cubicBezTo>
                    <a:pt x="226" y="226"/>
                    <a:pt x="226" y="205"/>
                    <a:pt x="226" y="184"/>
                  </a:cubicBezTo>
                  <a:cubicBezTo>
                    <a:pt x="205" y="184"/>
                    <a:pt x="205" y="164"/>
                    <a:pt x="185" y="164"/>
                  </a:cubicBezTo>
                  <a:cubicBezTo>
                    <a:pt x="185" y="144"/>
                    <a:pt x="164" y="144"/>
                    <a:pt x="164" y="123"/>
                  </a:cubicBezTo>
                  <a:cubicBezTo>
                    <a:pt x="164" y="123"/>
                    <a:pt x="144" y="102"/>
                    <a:pt x="123" y="82"/>
                  </a:cubicBezTo>
                  <a:cubicBezTo>
                    <a:pt x="123" y="82"/>
                    <a:pt x="103" y="62"/>
                    <a:pt x="82" y="41"/>
                  </a:cubicBezTo>
                  <a:lnTo>
                    <a:pt x="62" y="20"/>
                  </a:lnTo>
                  <a:lnTo>
                    <a:pt x="41" y="0"/>
                  </a:lnTo>
                  <a:lnTo>
                    <a:pt x="21" y="0"/>
                  </a:lnTo>
                  <a:cubicBezTo>
                    <a:pt x="21" y="20"/>
                    <a:pt x="21" y="20"/>
                    <a:pt x="21" y="20"/>
                  </a:cubicBezTo>
                  <a:cubicBezTo>
                    <a:pt x="0" y="41"/>
                    <a:pt x="0" y="62"/>
                    <a:pt x="21" y="62"/>
                  </a:cubicBezTo>
                  <a:cubicBezTo>
                    <a:pt x="21" y="62"/>
                    <a:pt x="21" y="82"/>
                    <a:pt x="41" y="82"/>
                  </a:cubicBezTo>
                  <a:lnTo>
                    <a:pt x="62" y="102"/>
                  </a:lnTo>
                  <a:cubicBezTo>
                    <a:pt x="82" y="102"/>
                    <a:pt x="82" y="123"/>
                    <a:pt x="103" y="123"/>
                  </a:cubicBezTo>
                  <a:cubicBezTo>
                    <a:pt x="103" y="144"/>
                    <a:pt x="103" y="144"/>
                    <a:pt x="123" y="164"/>
                  </a:cubicBezTo>
                  <a:lnTo>
                    <a:pt x="123" y="184"/>
                  </a:lnTo>
                  <a:lnTo>
                    <a:pt x="144" y="205"/>
                  </a:lnTo>
                  <a:cubicBezTo>
                    <a:pt x="144" y="226"/>
                    <a:pt x="144" y="226"/>
                    <a:pt x="144" y="246"/>
                  </a:cubicBezTo>
                  <a:cubicBezTo>
                    <a:pt x="144" y="246"/>
                    <a:pt x="144" y="246"/>
                    <a:pt x="123" y="246"/>
                  </a:cubicBezTo>
                  <a:cubicBezTo>
                    <a:pt x="123" y="246"/>
                    <a:pt x="123" y="246"/>
                    <a:pt x="123" y="266"/>
                  </a:cubicBezTo>
                  <a:lnTo>
                    <a:pt x="103" y="266"/>
                  </a:lnTo>
                  <a:lnTo>
                    <a:pt x="82" y="246"/>
                  </a:lnTo>
                  <a:cubicBezTo>
                    <a:pt x="82" y="246"/>
                    <a:pt x="82" y="246"/>
                    <a:pt x="62" y="246"/>
                  </a:cubicBezTo>
                  <a:lnTo>
                    <a:pt x="62" y="266"/>
                  </a:lnTo>
                  <a:cubicBezTo>
                    <a:pt x="62" y="287"/>
                    <a:pt x="82" y="308"/>
                    <a:pt x="82" y="308"/>
                  </a:cubicBezTo>
                  <a:cubicBezTo>
                    <a:pt x="103" y="328"/>
                    <a:pt x="123" y="328"/>
                    <a:pt x="123" y="348"/>
                  </a:cubicBezTo>
                  <a:cubicBezTo>
                    <a:pt x="123" y="348"/>
                    <a:pt x="123" y="369"/>
                    <a:pt x="123" y="390"/>
                  </a:cubicBezTo>
                  <a:cubicBezTo>
                    <a:pt x="123" y="390"/>
                    <a:pt x="123" y="410"/>
                    <a:pt x="144" y="410"/>
                  </a:cubicBezTo>
                  <a:lnTo>
                    <a:pt x="144" y="430"/>
                  </a:lnTo>
                  <a:cubicBezTo>
                    <a:pt x="164" y="430"/>
                    <a:pt x="164" y="451"/>
                    <a:pt x="164" y="472"/>
                  </a:cubicBezTo>
                  <a:lnTo>
                    <a:pt x="164" y="492"/>
                  </a:lnTo>
                  <a:cubicBezTo>
                    <a:pt x="185" y="512"/>
                    <a:pt x="185" y="512"/>
                    <a:pt x="185" y="533"/>
                  </a:cubicBezTo>
                  <a:cubicBezTo>
                    <a:pt x="205" y="533"/>
                    <a:pt x="226" y="553"/>
                    <a:pt x="226" y="574"/>
                  </a:cubicBezTo>
                  <a:cubicBezTo>
                    <a:pt x="226" y="574"/>
                    <a:pt x="226" y="594"/>
                    <a:pt x="246" y="615"/>
                  </a:cubicBezTo>
                  <a:lnTo>
                    <a:pt x="246" y="615"/>
                  </a:lnTo>
                  <a:cubicBezTo>
                    <a:pt x="266" y="635"/>
                    <a:pt x="287" y="635"/>
                    <a:pt x="287" y="635"/>
                  </a:cubicBezTo>
                  <a:cubicBezTo>
                    <a:pt x="287" y="656"/>
                    <a:pt x="287" y="676"/>
                    <a:pt x="308" y="676"/>
                  </a:cubicBezTo>
                  <a:lnTo>
                    <a:pt x="308" y="697"/>
                  </a:lnTo>
                  <a:cubicBezTo>
                    <a:pt x="328" y="697"/>
                    <a:pt x="348" y="717"/>
                    <a:pt x="348" y="717"/>
                  </a:cubicBezTo>
                  <a:cubicBezTo>
                    <a:pt x="369" y="738"/>
                    <a:pt x="390" y="758"/>
                    <a:pt x="410" y="779"/>
                  </a:cubicBezTo>
                  <a:cubicBezTo>
                    <a:pt x="410" y="799"/>
                    <a:pt x="430" y="799"/>
                    <a:pt x="430" y="820"/>
                  </a:cubicBezTo>
                  <a:cubicBezTo>
                    <a:pt x="430" y="820"/>
                    <a:pt x="430" y="840"/>
                    <a:pt x="430" y="861"/>
                  </a:cubicBezTo>
                  <a:cubicBezTo>
                    <a:pt x="451" y="881"/>
                    <a:pt x="472" y="922"/>
                    <a:pt x="472" y="922"/>
                  </a:cubicBezTo>
                  <a:cubicBezTo>
                    <a:pt x="492" y="943"/>
                    <a:pt x="512" y="963"/>
                    <a:pt x="512" y="963"/>
                  </a:cubicBezTo>
                  <a:cubicBezTo>
                    <a:pt x="533" y="984"/>
                    <a:pt x="554" y="1004"/>
                    <a:pt x="554" y="1004"/>
                  </a:cubicBezTo>
                  <a:cubicBezTo>
                    <a:pt x="554" y="1025"/>
                    <a:pt x="574" y="1045"/>
                    <a:pt x="574" y="1066"/>
                  </a:cubicBezTo>
                  <a:lnTo>
                    <a:pt x="594" y="1086"/>
                  </a:lnTo>
                  <a:cubicBezTo>
                    <a:pt x="594" y="1107"/>
                    <a:pt x="636" y="1148"/>
                    <a:pt x="636" y="1148"/>
                  </a:cubicBezTo>
                  <a:cubicBezTo>
                    <a:pt x="636" y="1148"/>
                    <a:pt x="656" y="1168"/>
                    <a:pt x="656" y="1189"/>
                  </a:cubicBezTo>
                  <a:cubicBezTo>
                    <a:pt x="656" y="1189"/>
                    <a:pt x="656" y="1209"/>
                    <a:pt x="656" y="1230"/>
                  </a:cubicBezTo>
                  <a:cubicBezTo>
                    <a:pt x="676" y="1250"/>
                    <a:pt x="656" y="1271"/>
                    <a:pt x="656" y="1291"/>
                  </a:cubicBezTo>
                  <a:cubicBezTo>
                    <a:pt x="676" y="1291"/>
                    <a:pt x="656" y="1311"/>
                    <a:pt x="676" y="1332"/>
                  </a:cubicBezTo>
                  <a:cubicBezTo>
                    <a:pt x="676" y="1332"/>
                    <a:pt x="697" y="1353"/>
                    <a:pt x="697" y="1373"/>
                  </a:cubicBezTo>
                  <a:lnTo>
                    <a:pt x="718" y="1393"/>
                  </a:lnTo>
                  <a:cubicBezTo>
                    <a:pt x="718" y="1414"/>
                    <a:pt x="738" y="1435"/>
                    <a:pt x="758" y="1455"/>
                  </a:cubicBezTo>
                  <a:cubicBezTo>
                    <a:pt x="758" y="1475"/>
                    <a:pt x="800" y="1496"/>
                    <a:pt x="820" y="1517"/>
                  </a:cubicBezTo>
                  <a:cubicBezTo>
                    <a:pt x="820" y="1537"/>
                    <a:pt x="840" y="1557"/>
                    <a:pt x="840" y="1578"/>
                  </a:cubicBezTo>
                  <a:cubicBezTo>
                    <a:pt x="861" y="1599"/>
                    <a:pt x="861" y="1639"/>
                    <a:pt x="861" y="1639"/>
                  </a:cubicBezTo>
                  <a:cubicBezTo>
                    <a:pt x="861" y="1660"/>
                    <a:pt x="861" y="1681"/>
                    <a:pt x="861" y="1681"/>
                  </a:cubicBezTo>
                  <a:cubicBezTo>
                    <a:pt x="861" y="1701"/>
                    <a:pt x="882" y="1701"/>
                    <a:pt x="902" y="1721"/>
                  </a:cubicBezTo>
                  <a:cubicBezTo>
                    <a:pt x="902" y="1721"/>
                    <a:pt x="902" y="1742"/>
                    <a:pt x="922" y="1763"/>
                  </a:cubicBezTo>
                  <a:cubicBezTo>
                    <a:pt x="922" y="1763"/>
                    <a:pt x="943" y="1783"/>
                    <a:pt x="943" y="1803"/>
                  </a:cubicBezTo>
                  <a:cubicBezTo>
                    <a:pt x="943" y="1803"/>
                    <a:pt x="943" y="1824"/>
                    <a:pt x="964" y="1845"/>
                  </a:cubicBezTo>
                  <a:lnTo>
                    <a:pt x="964" y="1885"/>
                  </a:lnTo>
                  <a:cubicBezTo>
                    <a:pt x="964" y="1906"/>
                    <a:pt x="984" y="1926"/>
                    <a:pt x="1004" y="1947"/>
                  </a:cubicBezTo>
                  <a:cubicBezTo>
                    <a:pt x="1004" y="1947"/>
                    <a:pt x="1004" y="1987"/>
                    <a:pt x="1024" y="1987"/>
                  </a:cubicBezTo>
                  <a:cubicBezTo>
                    <a:pt x="1024" y="2008"/>
                    <a:pt x="1045" y="2029"/>
                    <a:pt x="1066" y="2049"/>
                  </a:cubicBezTo>
                  <a:cubicBezTo>
                    <a:pt x="1066" y="2049"/>
                    <a:pt x="1066" y="2049"/>
                    <a:pt x="1086" y="2049"/>
                  </a:cubicBezTo>
                  <a:lnTo>
                    <a:pt x="1086" y="2049"/>
                  </a:lnTo>
                  <a:cubicBezTo>
                    <a:pt x="1086" y="2029"/>
                    <a:pt x="1086" y="2029"/>
                    <a:pt x="1086" y="2008"/>
                  </a:cubicBezTo>
                  <a:lnTo>
                    <a:pt x="1086" y="1967"/>
                  </a:lnTo>
                  <a:cubicBezTo>
                    <a:pt x="1066" y="1967"/>
                    <a:pt x="1066" y="1947"/>
                    <a:pt x="1066" y="1947"/>
                  </a:cubicBezTo>
                  <a:cubicBezTo>
                    <a:pt x="1066" y="1926"/>
                    <a:pt x="1045" y="1926"/>
                    <a:pt x="1045" y="1906"/>
                  </a:cubicBezTo>
                  <a:lnTo>
                    <a:pt x="1066" y="1885"/>
                  </a:lnTo>
                  <a:lnTo>
                    <a:pt x="1086" y="1885"/>
                  </a:lnTo>
                  <a:cubicBezTo>
                    <a:pt x="1086" y="1885"/>
                    <a:pt x="1106" y="1885"/>
                    <a:pt x="1127" y="1885"/>
                  </a:cubicBezTo>
                  <a:cubicBezTo>
                    <a:pt x="1127" y="1885"/>
                    <a:pt x="1148" y="1885"/>
                    <a:pt x="1168" y="1885"/>
                  </a:cubicBezTo>
                  <a:lnTo>
                    <a:pt x="1188" y="1885"/>
                  </a:lnTo>
                  <a:cubicBezTo>
                    <a:pt x="1188" y="1906"/>
                    <a:pt x="1209" y="1906"/>
                    <a:pt x="1209" y="1926"/>
                  </a:cubicBezTo>
                  <a:cubicBezTo>
                    <a:pt x="1230" y="1926"/>
                    <a:pt x="1230" y="1947"/>
                    <a:pt x="1230" y="1947"/>
                  </a:cubicBezTo>
                  <a:cubicBezTo>
                    <a:pt x="1230" y="1967"/>
                    <a:pt x="1230" y="1987"/>
                    <a:pt x="1230" y="1987"/>
                  </a:cubicBezTo>
                  <a:lnTo>
                    <a:pt x="1250" y="2008"/>
                  </a:lnTo>
                  <a:lnTo>
                    <a:pt x="1270" y="2029"/>
                  </a:lnTo>
                  <a:lnTo>
                    <a:pt x="1291" y="2029"/>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6" name="Freeform 133">
              <a:extLst>
                <a:ext uri="{FF2B5EF4-FFF2-40B4-BE49-F238E27FC236}">
                  <a16:creationId xmlns:a16="http://schemas.microsoft.com/office/drawing/2014/main" id="{B336021C-7AE5-1946-8E77-DB8708717577}"/>
                </a:ext>
              </a:extLst>
            </p:cNvPr>
            <p:cNvSpPr>
              <a:spLocks noChangeArrowheads="1"/>
            </p:cNvSpPr>
            <p:nvPr/>
          </p:nvSpPr>
          <p:spPr bwMode="auto">
            <a:xfrm>
              <a:off x="7294563" y="3114675"/>
              <a:ext cx="58737" cy="38100"/>
            </a:xfrm>
            <a:custGeom>
              <a:avLst/>
              <a:gdLst>
                <a:gd name="T0" fmla="*/ 143 w 165"/>
                <a:gd name="T1" fmla="*/ 103 h 104"/>
                <a:gd name="T2" fmla="*/ 143 w 165"/>
                <a:gd name="T3" fmla="*/ 103 h 104"/>
                <a:gd name="T4" fmla="*/ 103 w 165"/>
                <a:gd name="T5" fmla="*/ 82 h 104"/>
                <a:gd name="T6" fmla="*/ 82 w 165"/>
                <a:gd name="T7" fmla="*/ 62 h 104"/>
                <a:gd name="T8" fmla="*/ 61 w 165"/>
                <a:gd name="T9" fmla="*/ 62 h 104"/>
                <a:gd name="T10" fmla="*/ 21 w 165"/>
                <a:gd name="T11" fmla="*/ 42 h 104"/>
                <a:gd name="T12" fmla="*/ 21 w 165"/>
                <a:gd name="T13" fmla="*/ 42 h 104"/>
                <a:gd name="T14" fmla="*/ 0 w 165"/>
                <a:gd name="T15" fmla="*/ 21 h 104"/>
                <a:gd name="T16" fmla="*/ 0 w 165"/>
                <a:gd name="T17" fmla="*/ 21 h 104"/>
                <a:gd name="T18" fmla="*/ 21 w 165"/>
                <a:gd name="T19" fmla="*/ 0 h 104"/>
                <a:gd name="T20" fmla="*/ 41 w 165"/>
                <a:gd name="T21" fmla="*/ 21 h 104"/>
                <a:gd name="T22" fmla="*/ 61 w 165"/>
                <a:gd name="T23" fmla="*/ 42 h 104"/>
                <a:gd name="T24" fmla="*/ 82 w 165"/>
                <a:gd name="T25" fmla="*/ 42 h 104"/>
                <a:gd name="T26" fmla="*/ 103 w 165"/>
                <a:gd name="T27" fmla="*/ 42 h 104"/>
                <a:gd name="T28" fmla="*/ 123 w 165"/>
                <a:gd name="T29" fmla="*/ 62 h 104"/>
                <a:gd name="T30" fmla="*/ 143 w 165"/>
                <a:gd name="T31" fmla="*/ 62 h 104"/>
                <a:gd name="T32" fmla="*/ 164 w 165"/>
                <a:gd name="T33" fmla="*/ 82 h 104"/>
                <a:gd name="T34" fmla="*/ 143 w 165"/>
                <a:gd name="T35"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104">
                  <a:moveTo>
                    <a:pt x="143" y="103"/>
                  </a:moveTo>
                  <a:lnTo>
                    <a:pt x="143" y="103"/>
                  </a:lnTo>
                  <a:cubicBezTo>
                    <a:pt x="123" y="103"/>
                    <a:pt x="103" y="82"/>
                    <a:pt x="103" y="82"/>
                  </a:cubicBezTo>
                  <a:lnTo>
                    <a:pt x="82" y="62"/>
                  </a:lnTo>
                  <a:lnTo>
                    <a:pt x="61" y="62"/>
                  </a:lnTo>
                  <a:cubicBezTo>
                    <a:pt x="41" y="62"/>
                    <a:pt x="41" y="42"/>
                    <a:pt x="21" y="42"/>
                  </a:cubicBezTo>
                  <a:lnTo>
                    <a:pt x="21" y="42"/>
                  </a:lnTo>
                  <a:lnTo>
                    <a:pt x="0" y="21"/>
                  </a:lnTo>
                  <a:lnTo>
                    <a:pt x="0" y="21"/>
                  </a:lnTo>
                  <a:cubicBezTo>
                    <a:pt x="0" y="0"/>
                    <a:pt x="21" y="0"/>
                    <a:pt x="21" y="0"/>
                  </a:cubicBezTo>
                  <a:lnTo>
                    <a:pt x="41" y="21"/>
                  </a:lnTo>
                  <a:cubicBezTo>
                    <a:pt x="41" y="21"/>
                    <a:pt x="61" y="21"/>
                    <a:pt x="61" y="42"/>
                  </a:cubicBezTo>
                  <a:cubicBezTo>
                    <a:pt x="61" y="42"/>
                    <a:pt x="82" y="21"/>
                    <a:pt x="82" y="42"/>
                  </a:cubicBezTo>
                  <a:cubicBezTo>
                    <a:pt x="103" y="42"/>
                    <a:pt x="103" y="42"/>
                    <a:pt x="103" y="42"/>
                  </a:cubicBezTo>
                  <a:lnTo>
                    <a:pt x="123" y="62"/>
                  </a:lnTo>
                  <a:lnTo>
                    <a:pt x="143" y="62"/>
                  </a:lnTo>
                  <a:cubicBezTo>
                    <a:pt x="143" y="82"/>
                    <a:pt x="164" y="82"/>
                    <a:pt x="164" y="82"/>
                  </a:cubicBezTo>
                  <a:cubicBezTo>
                    <a:pt x="143" y="82"/>
                    <a:pt x="143" y="103"/>
                    <a:pt x="143" y="10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7" name="Freeform 134">
              <a:extLst>
                <a:ext uri="{FF2B5EF4-FFF2-40B4-BE49-F238E27FC236}">
                  <a16:creationId xmlns:a16="http://schemas.microsoft.com/office/drawing/2014/main" id="{FB4AD1EB-6C95-4848-A317-4662F6A97C0A}"/>
                </a:ext>
              </a:extLst>
            </p:cNvPr>
            <p:cNvSpPr>
              <a:spLocks noChangeArrowheads="1"/>
            </p:cNvSpPr>
            <p:nvPr/>
          </p:nvSpPr>
          <p:spPr bwMode="auto">
            <a:xfrm>
              <a:off x="7183438" y="3092450"/>
              <a:ext cx="80962" cy="44450"/>
            </a:xfrm>
            <a:custGeom>
              <a:avLst/>
              <a:gdLst>
                <a:gd name="T0" fmla="*/ 226 w 227"/>
                <a:gd name="T1" fmla="*/ 123 h 124"/>
                <a:gd name="T2" fmla="*/ 226 w 227"/>
                <a:gd name="T3" fmla="*/ 123 h 124"/>
                <a:gd name="T4" fmla="*/ 226 w 227"/>
                <a:gd name="T5" fmla="*/ 103 h 124"/>
                <a:gd name="T6" fmla="*/ 205 w 227"/>
                <a:gd name="T7" fmla="*/ 82 h 124"/>
                <a:gd name="T8" fmla="*/ 164 w 227"/>
                <a:gd name="T9" fmla="*/ 82 h 124"/>
                <a:gd name="T10" fmla="*/ 144 w 227"/>
                <a:gd name="T11" fmla="*/ 61 h 124"/>
                <a:gd name="T12" fmla="*/ 123 w 227"/>
                <a:gd name="T13" fmla="*/ 41 h 124"/>
                <a:gd name="T14" fmla="*/ 123 w 227"/>
                <a:gd name="T15" fmla="*/ 21 h 124"/>
                <a:gd name="T16" fmla="*/ 82 w 227"/>
                <a:gd name="T17" fmla="*/ 0 h 124"/>
                <a:gd name="T18" fmla="*/ 41 w 227"/>
                <a:gd name="T19" fmla="*/ 0 h 124"/>
                <a:gd name="T20" fmla="*/ 20 w 227"/>
                <a:gd name="T21" fmla="*/ 0 h 124"/>
                <a:gd name="T22" fmla="*/ 0 w 227"/>
                <a:gd name="T23" fmla="*/ 21 h 124"/>
                <a:gd name="T24" fmla="*/ 20 w 227"/>
                <a:gd name="T25" fmla="*/ 41 h 124"/>
                <a:gd name="T26" fmla="*/ 41 w 227"/>
                <a:gd name="T27" fmla="*/ 61 h 124"/>
                <a:gd name="T28" fmla="*/ 62 w 227"/>
                <a:gd name="T29" fmla="*/ 61 h 124"/>
                <a:gd name="T30" fmla="*/ 82 w 227"/>
                <a:gd name="T31" fmla="*/ 61 h 124"/>
                <a:gd name="T32" fmla="*/ 82 w 227"/>
                <a:gd name="T33" fmla="*/ 82 h 124"/>
                <a:gd name="T34" fmla="*/ 102 w 227"/>
                <a:gd name="T35" fmla="*/ 103 h 124"/>
                <a:gd name="T36" fmla="*/ 123 w 227"/>
                <a:gd name="T37" fmla="*/ 103 h 124"/>
                <a:gd name="T38" fmla="*/ 144 w 227"/>
                <a:gd name="T39" fmla="*/ 123 h 124"/>
                <a:gd name="T40" fmla="*/ 164 w 227"/>
                <a:gd name="T41" fmla="*/ 123 h 124"/>
                <a:gd name="T42" fmla="*/ 184 w 227"/>
                <a:gd name="T43" fmla="*/ 123 h 124"/>
                <a:gd name="T44" fmla="*/ 226 w 227"/>
                <a:gd name="T45" fmla="*/ 12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124">
                  <a:moveTo>
                    <a:pt x="226" y="123"/>
                  </a:moveTo>
                  <a:lnTo>
                    <a:pt x="226" y="123"/>
                  </a:lnTo>
                  <a:lnTo>
                    <a:pt x="226" y="103"/>
                  </a:lnTo>
                  <a:lnTo>
                    <a:pt x="205" y="82"/>
                  </a:lnTo>
                  <a:cubicBezTo>
                    <a:pt x="205" y="82"/>
                    <a:pt x="184" y="82"/>
                    <a:pt x="164" y="82"/>
                  </a:cubicBezTo>
                  <a:cubicBezTo>
                    <a:pt x="164" y="61"/>
                    <a:pt x="144" y="61"/>
                    <a:pt x="144" y="61"/>
                  </a:cubicBezTo>
                  <a:cubicBezTo>
                    <a:pt x="144" y="41"/>
                    <a:pt x="144" y="41"/>
                    <a:pt x="123" y="41"/>
                  </a:cubicBezTo>
                  <a:cubicBezTo>
                    <a:pt x="123" y="21"/>
                    <a:pt x="123" y="21"/>
                    <a:pt x="123" y="21"/>
                  </a:cubicBezTo>
                  <a:cubicBezTo>
                    <a:pt x="102" y="0"/>
                    <a:pt x="82" y="0"/>
                    <a:pt x="82" y="0"/>
                  </a:cubicBezTo>
                  <a:cubicBezTo>
                    <a:pt x="62" y="0"/>
                    <a:pt x="41" y="0"/>
                    <a:pt x="41" y="0"/>
                  </a:cubicBezTo>
                  <a:lnTo>
                    <a:pt x="20" y="0"/>
                  </a:lnTo>
                  <a:lnTo>
                    <a:pt x="0" y="21"/>
                  </a:lnTo>
                  <a:cubicBezTo>
                    <a:pt x="0" y="21"/>
                    <a:pt x="0" y="41"/>
                    <a:pt x="20" y="41"/>
                  </a:cubicBezTo>
                  <a:cubicBezTo>
                    <a:pt x="20" y="61"/>
                    <a:pt x="41" y="61"/>
                    <a:pt x="41" y="61"/>
                  </a:cubicBezTo>
                  <a:cubicBezTo>
                    <a:pt x="41" y="61"/>
                    <a:pt x="62" y="41"/>
                    <a:pt x="62" y="61"/>
                  </a:cubicBezTo>
                  <a:cubicBezTo>
                    <a:pt x="82" y="61"/>
                    <a:pt x="82" y="61"/>
                    <a:pt x="82" y="61"/>
                  </a:cubicBezTo>
                  <a:lnTo>
                    <a:pt x="82" y="82"/>
                  </a:lnTo>
                  <a:lnTo>
                    <a:pt x="102" y="103"/>
                  </a:lnTo>
                  <a:lnTo>
                    <a:pt x="123" y="103"/>
                  </a:lnTo>
                  <a:lnTo>
                    <a:pt x="144" y="123"/>
                  </a:lnTo>
                  <a:lnTo>
                    <a:pt x="164" y="123"/>
                  </a:lnTo>
                  <a:cubicBezTo>
                    <a:pt x="184" y="123"/>
                    <a:pt x="184" y="123"/>
                    <a:pt x="184" y="123"/>
                  </a:cubicBezTo>
                  <a:cubicBezTo>
                    <a:pt x="205" y="123"/>
                    <a:pt x="205" y="123"/>
                    <a:pt x="226" y="12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8" name="Freeform 135">
              <a:extLst>
                <a:ext uri="{FF2B5EF4-FFF2-40B4-BE49-F238E27FC236}">
                  <a16:creationId xmlns:a16="http://schemas.microsoft.com/office/drawing/2014/main" id="{8E865297-7F48-AD43-A2B5-CF1121BCC8E8}"/>
                </a:ext>
              </a:extLst>
            </p:cNvPr>
            <p:cNvSpPr>
              <a:spLocks noChangeArrowheads="1"/>
            </p:cNvSpPr>
            <p:nvPr/>
          </p:nvSpPr>
          <p:spPr bwMode="auto">
            <a:xfrm>
              <a:off x="6829425" y="2776538"/>
              <a:ext cx="44450" cy="74612"/>
            </a:xfrm>
            <a:custGeom>
              <a:avLst/>
              <a:gdLst>
                <a:gd name="T0" fmla="*/ 82 w 124"/>
                <a:gd name="T1" fmla="*/ 205 h 206"/>
                <a:gd name="T2" fmla="*/ 82 w 124"/>
                <a:gd name="T3" fmla="*/ 205 h 206"/>
                <a:gd name="T4" fmla="*/ 62 w 124"/>
                <a:gd name="T5" fmla="*/ 184 h 206"/>
                <a:gd name="T6" fmla="*/ 62 w 124"/>
                <a:gd name="T7" fmla="*/ 143 h 206"/>
                <a:gd name="T8" fmla="*/ 41 w 124"/>
                <a:gd name="T9" fmla="*/ 123 h 206"/>
                <a:gd name="T10" fmla="*/ 41 w 124"/>
                <a:gd name="T11" fmla="*/ 102 h 206"/>
                <a:gd name="T12" fmla="*/ 21 w 124"/>
                <a:gd name="T13" fmla="*/ 61 h 206"/>
                <a:gd name="T14" fmla="*/ 21 w 124"/>
                <a:gd name="T15" fmla="*/ 61 h 206"/>
                <a:gd name="T16" fmla="*/ 21 w 124"/>
                <a:gd name="T17" fmla="*/ 41 h 206"/>
                <a:gd name="T18" fmla="*/ 21 w 124"/>
                <a:gd name="T19" fmla="*/ 41 h 206"/>
                <a:gd name="T20" fmla="*/ 41 w 124"/>
                <a:gd name="T21" fmla="*/ 21 h 206"/>
                <a:gd name="T22" fmla="*/ 41 w 124"/>
                <a:gd name="T23" fmla="*/ 0 h 206"/>
                <a:gd name="T24" fmla="*/ 82 w 124"/>
                <a:gd name="T25" fmla="*/ 0 h 206"/>
                <a:gd name="T26" fmla="*/ 82 w 124"/>
                <a:gd name="T27" fmla="*/ 0 h 206"/>
                <a:gd name="T28" fmla="*/ 103 w 124"/>
                <a:gd name="T29" fmla="*/ 21 h 206"/>
                <a:gd name="T30" fmla="*/ 123 w 124"/>
                <a:gd name="T31" fmla="*/ 41 h 206"/>
                <a:gd name="T32" fmla="*/ 123 w 124"/>
                <a:gd name="T33" fmla="*/ 61 h 206"/>
                <a:gd name="T34" fmla="*/ 103 w 124"/>
                <a:gd name="T35" fmla="*/ 82 h 206"/>
                <a:gd name="T36" fmla="*/ 82 w 124"/>
                <a:gd name="T37" fmla="*/ 102 h 206"/>
                <a:gd name="T38" fmla="*/ 82 w 124"/>
                <a:gd name="T39" fmla="*/ 123 h 206"/>
                <a:gd name="T40" fmla="*/ 82 w 124"/>
                <a:gd name="T41" fmla="*/ 143 h 206"/>
                <a:gd name="T42" fmla="*/ 82 w 124"/>
                <a:gd name="T43" fmla="*/ 184 h 206"/>
                <a:gd name="T44" fmla="*/ 82 w 124"/>
                <a:gd name="T45" fmla="*/ 205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206">
                  <a:moveTo>
                    <a:pt x="82" y="205"/>
                  </a:moveTo>
                  <a:lnTo>
                    <a:pt x="82" y="205"/>
                  </a:lnTo>
                  <a:cubicBezTo>
                    <a:pt x="62" y="205"/>
                    <a:pt x="62" y="184"/>
                    <a:pt x="62" y="184"/>
                  </a:cubicBezTo>
                  <a:cubicBezTo>
                    <a:pt x="62" y="164"/>
                    <a:pt x="62" y="143"/>
                    <a:pt x="62" y="143"/>
                  </a:cubicBezTo>
                  <a:cubicBezTo>
                    <a:pt x="41" y="143"/>
                    <a:pt x="41" y="123"/>
                    <a:pt x="41" y="123"/>
                  </a:cubicBezTo>
                  <a:lnTo>
                    <a:pt x="41" y="102"/>
                  </a:lnTo>
                  <a:cubicBezTo>
                    <a:pt x="41" y="82"/>
                    <a:pt x="41" y="82"/>
                    <a:pt x="21" y="61"/>
                  </a:cubicBezTo>
                  <a:lnTo>
                    <a:pt x="21" y="61"/>
                  </a:lnTo>
                  <a:cubicBezTo>
                    <a:pt x="0" y="61"/>
                    <a:pt x="0" y="41"/>
                    <a:pt x="21" y="41"/>
                  </a:cubicBezTo>
                  <a:lnTo>
                    <a:pt x="21" y="41"/>
                  </a:lnTo>
                  <a:cubicBezTo>
                    <a:pt x="21" y="21"/>
                    <a:pt x="41" y="21"/>
                    <a:pt x="41" y="21"/>
                  </a:cubicBezTo>
                  <a:cubicBezTo>
                    <a:pt x="41" y="0"/>
                    <a:pt x="41" y="0"/>
                    <a:pt x="41" y="0"/>
                  </a:cubicBezTo>
                  <a:cubicBezTo>
                    <a:pt x="62" y="0"/>
                    <a:pt x="62" y="0"/>
                    <a:pt x="82" y="0"/>
                  </a:cubicBezTo>
                  <a:lnTo>
                    <a:pt x="82" y="0"/>
                  </a:lnTo>
                  <a:cubicBezTo>
                    <a:pt x="82" y="0"/>
                    <a:pt x="103" y="0"/>
                    <a:pt x="103" y="21"/>
                  </a:cubicBezTo>
                  <a:cubicBezTo>
                    <a:pt x="103" y="21"/>
                    <a:pt x="123" y="21"/>
                    <a:pt x="123" y="41"/>
                  </a:cubicBezTo>
                  <a:lnTo>
                    <a:pt x="123" y="61"/>
                  </a:lnTo>
                  <a:cubicBezTo>
                    <a:pt x="123" y="61"/>
                    <a:pt x="103" y="61"/>
                    <a:pt x="103" y="82"/>
                  </a:cubicBezTo>
                  <a:cubicBezTo>
                    <a:pt x="103" y="82"/>
                    <a:pt x="82" y="82"/>
                    <a:pt x="82" y="102"/>
                  </a:cubicBezTo>
                  <a:cubicBezTo>
                    <a:pt x="82" y="102"/>
                    <a:pt x="82" y="102"/>
                    <a:pt x="82" y="123"/>
                  </a:cubicBezTo>
                  <a:lnTo>
                    <a:pt x="82" y="143"/>
                  </a:lnTo>
                  <a:cubicBezTo>
                    <a:pt x="82" y="143"/>
                    <a:pt x="82" y="164"/>
                    <a:pt x="82" y="184"/>
                  </a:cubicBezTo>
                  <a:lnTo>
                    <a:pt x="82" y="205"/>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39" name="Freeform 136">
              <a:extLst>
                <a:ext uri="{FF2B5EF4-FFF2-40B4-BE49-F238E27FC236}">
                  <a16:creationId xmlns:a16="http://schemas.microsoft.com/office/drawing/2014/main" id="{55970D3C-7AA7-5B4A-A4CA-E81ADB996186}"/>
                </a:ext>
              </a:extLst>
            </p:cNvPr>
            <p:cNvSpPr>
              <a:spLocks noChangeArrowheads="1"/>
            </p:cNvSpPr>
            <p:nvPr/>
          </p:nvSpPr>
          <p:spPr bwMode="auto">
            <a:xfrm>
              <a:off x="7361238" y="2060575"/>
              <a:ext cx="14287" cy="15875"/>
            </a:xfrm>
            <a:custGeom>
              <a:avLst/>
              <a:gdLst>
                <a:gd name="T0" fmla="*/ 20 w 41"/>
                <a:gd name="T1" fmla="*/ 21 h 42"/>
                <a:gd name="T2" fmla="*/ 20 w 41"/>
                <a:gd name="T3" fmla="*/ 21 h 42"/>
                <a:gd name="T4" fmla="*/ 40 w 41"/>
                <a:gd name="T5" fmla="*/ 21 h 42"/>
                <a:gd name="T6" fmla="*/ 40 w 41"/>
                <a:gd name="T7" fmla="*/ 0 h 42"/>
                <a:gd name="T8" fmla="*/ 20 w 41"/>
                <a:gd name="T9" fmla="*/ 0 h 42"/>
                <a:gd name="T10" fmla="*/ 0 w 41"/>
                <a:gd name="T11" fmla="*/ 0 h 42"/>
                <a:gd name="T12" fmla="*/ 0 w 41"/>
                <a:gd name="T13" fmla="*/ 21 h 42"/>
                <a:gd name="T14" fmla="*/ 0 w 41"/>
                <a:gd name="T15" fmla="*/ 21 h 42"/>
                <a:gd name="T16" fmla="*/ 20 w 41"/>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20" y="21"/>
                  </a:moveTo>
                  <a:lnTo>
                    <a:pt x="20" y="21"/>
                  </a:lnTo>
                  <a:lnTo>
                    <a:pt x="40" y="21"/>
                  </a:lnTo>
                  <a:lnTo>
                    <a:pt x="40" y="0"/>
                  </a:lnTo>
                  <a:lnTo>
                    <a:pt x="20" y="0"/>
                  </a:lnTo>
                  <a:lnTo>
                    <a:pt x="0" y="0"/>
                  </a:lnTo>
                  <a:lnTo>
                    <a:pt x="0" y="21"/>
                  </a:lnTo>
                  <a:lnTo>
                    <a:pt x="0" y="21"/>
                  </a:lnTo>
                  <a:cubicBezTo>
                    <a:pt x="0" y="41"/>
                    <a:pt x="20"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0" name="Freeform 137">
              <a:extLst>
                <a:ext uri="{FF2B5EF4-FFF2-40B4-BE49-F238E27FC236}">
                  <a16:creationId xmlns:a16="http://schemas.microsoft.com/office/drawing/2014/main" id="{8903DD86-00FA-1F4F-AA8D-2297E31F5689}"/>
                </a:ext>
              </a:extLst>
            </p:cNvPr>
            <p:cNvSpPr>
              <a:spLocks noChangeArrowheads="1"/>
            </p:cNvSpPr>
            <p:nvPr/>
          </p:nvSpPr>
          <p:spPr bwMode="auto">
            <a:xfrm>
              <a:off x="7367588" y="2089150"/>
              <a:ext cx="44450" cy="38100"/>
            </a:xfrm>
            <a:custGeom>
              <a:avLst/>
              <a:gdLst>
                <a:gd name="T0" fmla="*/ 82 w 124"/>
                <a:gd name="T1" fmla="*/ 41 h 104"/>
                <a:gd name="T2" fmla="*/ 82 w 124"/>
                <a:gd name="T3" fmla="*/ 41 h 104"/>
                <a:gd name="T4" fmla="*/ 82 w 124"/>
                <a:gd name="T5" fmla="*/ 41 h 104"/>
                <a:gd name="T6" fmla="*/ 102 w 124"/>
                <a:gd name="T7" fmla="*/ 41 h 104"/>
                <a:gd name="T8" fmla="*/ 123 w 124"/>
                <a:gd name="T9" fmla="*/ 21 h 104"/>
                <a:gd name="T10" fmla="*/ 102 w 124"/>
                <a:gd name="T11" fmla="*/ 0 h 104"/>
                <a:gd name="T12" fmla="*/ 82 w 124"/>
                <a:gd name="T13" fmla="*/ 0 h 104"/>
                <a:gd name="T14" fmla="*/ 62 w 124"/>
                <a:gd name="T15" fmla="*/ 0 h 104"/>
                <a:gd name="T16" fmla="*/ 41 w 124"/>
                <a:gd name="T17" fmla="*/ 0 h 104"/>
                <a:gd name="T18" fmla="*/ 0 w 124"/>
                <a:gd name="T19" fmla="*/ 0 h 104"/>
                <a:gd name="T20" fmla="*/ 0 w 124"/>
                <a:gd name="T21" fmla="*/ 21 h 104"/>
                <a:gd name="T22" fmla="*/ 0 w 124"/>
                <a:gd name="T23" fmla="*/ 41 h 104"/>
                <a:gd name="T24" fmla="*/ 0 w 124"/>
                <a:gd name="T25" fmla="*/ 62 h 104"/>
                <a:gd name="T26" fmla="*/ 0 w 124"/>
                <a:gd name="T27" fmla="*/ 82 h 104"/>
                <a:gd name="T28" fmla="*/ 20 w 124"/>
                <a:gd name="T29" fmla="*/ 103 h 104"/>
                <a:gd name="T30" fmla="*/ 41 w 124"/>
                <a:gd name="T31" fmla="*/ 103 h 104"/>
                <a:gd name="T32" fmla="*/ 62 w 124"/>
                <a:gd name="T33" fmla="*/ 82 h 104"/>
                <a:gd name="T34" fmla="*/ 62 w 124"/>
                <a:gd name="T35" fmla="*/ 62 h 104"/>
                <a:gd name="T36" fmla="*/ 82 w 124"/>
                <a:gd name="T37" fmla="*/ 4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4" h="104">
                  <a:moveTo>
                    <a:pt x="82" y="41"/>
                  </a:moveTo>
                  <a:lnTo>
                    <a:pt x="82" y="41"/>
                  </a:lnTo>
                  <a:lnTo>
                    <a:pt x="82" y="41"/>
                  </a:lnTo>
                  <a:lnTo>
                    <a:pt x="102" y="41"/>
                  </a:lnTo>
                  <a:cubicBezTo>
                    <a:pt x="123" y="41"/>
                    <a:pt x="123" y="21"/>
                    <a:pt x="123" y="21"/>
                  </a:cubicBezTo>
                  <a:cubicBezTo>
                    <a:pt x="123" y="21"/>
                    <a:pt x="123" y="0"/>
                    <a:pt x="102" y="0"/>
                  </a:cubicBezTo>
                  <a:lnTo>
                    <a:pt x="82" y="0"/>
                  </a:lnTo>
                  <a:lnTo>
                    <a:pt x="62" y="0"/>
                  </a:lnTo>
                  <a:cubicBezTo>
                    <a:pt x="41" y="0"/>
                    <a:pt x="41" y="0"/>
                    <a:pt x="41" y="0"/>
                  </a:cubicBezTo>
                  <a:cubicBezTo>
                    <a:pt x="20" y="21"/>
                    <a:pt x="20" y="0"/>
                    <a:pt x="0" y="0"/>
                  </a:cubicBezTo>
                  <a:cubicBezTo>
                    <a:pt x="0" y="21"/>
                    <a:pt x="0" y="21"/>
                    <a:pt x="0" y="21"/>
                  </a:cubicBezTo>
                  <a:lnTo>
                    <a:pt x="0" y="41"/>
                  </a:lnTo>
                  <a:lnTo>
                    <a:pt x="0" y="62"/>
                  </a:lnTo>
                  <a:lnTo>
                    <a:pt x="0" y="82"/>
                  </a:lnTo>
                  <a:lnTo>
                    <a:pt x="20" y="103"/>
                  </a:lnTo>
                  <a:lnTo>
                    <a:pt x="41" y="103"/>
                  </a:lnTo>
                  <a:lnTo>
                    <a:pt x="62" y="82"/>
                  </a:lnTo>
                  <a:lnTo>
                    <a:pt x="62" y="62"/>
                  </a:lnTo>
                  <a:cubicBezTo>
                    <a:pt x="62" y="62"/>
                    <a:pt x="82" y="62"/>
                    <a:pt x="82"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1" name="Freeform 138">
              <a:extLst>
                <a:ext uri="{FF2B5EF4-FFF2-40B4-BE49-F238E27FC236}">
                  <a16:creationId xmlns:a16="http://schemas.microsoft.com/office/drawing/2014/main" id="{CA26A769-1B24-7B43-9406-2D7B34B22C80}"/>
                </a:ext>
              </a:extLst>
            </p:cNvPr>
            <p:cNvSpPr>
              <a:spLocks noChangeArrowheads="1"/>
            </p:cNvSpPr>
            <p:nvPr/>
          </p:nvSpPr>
          <p:spPr bwMode="auto">
            <a:xfrm>
              <a:off x="6091238" y="1779588"/>
              <a:ext cx="74612" cy="36512"/>
            </a:xfrm>
            <a:custGeom>
              <a:avLst/>
              <a:gdLst>
                <a:gd name="T0" fmla="*/ 123 w 206"/>
                <a:gd name="T1" fmla="*/ 102 h 103"/>
                <a:gd name="T2" fmla="*/ 123 w 206"/>
                <a:gd name="T3" fmla="*/ 102 h 103"/>
                <a:gd name="T4" fmla="*/ 82 w 206"/>
                <a:gd name="T5" fmla="*/ 82 h 103"/>
                <a:gd name="T6" fmla="*/ 41 w 206"/>
                <a:gd name="T7" fmla="*/ 82 h 103"/>
                <a:gd name="T8" fmla="*/ 21 w 206"/>
                <a:gd name="T9" fmla="*/ 82 h 103"/>
                <a:gd name="T10" fmla="*/ 0 w 206"/>
                <a:gd name="T11" fmla="*/ 62 h 103"/>
                <a:gd name="T12" fmla="*/ 0 w 206"/>
                <a:gd name="T13" fmla="*/ 20 h 103"/>
                <a:gd name="T14" fmla="*/ 21 w 206"/>
                <a:gd name="T15" fmla="*/ 20 h 103"/>
                <a:gd name="T16" fmla="*/ 41 w 206"/>
                <a:gd name="T17" fmla="*/ 0 h 103"/>
                <a:gd name="T18" fmla="*/ 82 w 206"/>
                <a:gd name="T19" fmla="*/ 20 h 103"/>
                <a:gd name="T20" fmla="*/ 123 w 206"/>
                <a:gd name="T21" fmla="*/ 20 h 103"/>
                <a:gd name="T22" fmla="*/ 144 w 206"/>
                <a:gd name="T23" fmla="*/ 41 h 103"/>
                <a:gd name="T24" fmla="*/ 164 w 206"/>
                <a:gd name="T25" fmla="*/ 62 h 103"/>
                <a:gd name="T26" fmla="*/ 205 w 206"/>
                <a:gd name="T27" fmla="*/ 82 h 103"/>
                <a:gd name="T28" fmla="*/ 205 w 206"/>
                <a:gd name="T29" fmla="*/ 82 h 103"/>
                <a:gd name="T30" fmla="*/ 185 w 206"/>
                <a:gd name="T31" fmla="*/ 102 h 103"/>
                <a:gd name="T32" fmla="*/ 164 w 206"/>
                <a:gd name="T33" fmla="*/ 102 h 103"/>
                <a:gd name="T34" fmla="*/ 123 w 206"/>
                <a:gd name="T35" fmla="*/ 10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03">
                  <a:moveTo>
                    <a:pt x="123" y="102"/>
                  </a:moveTo>
                  <a:lnTo>
                    <a:pt x="123" y="102"/>
                  </a:lnTo>
                  <a:cubicBezTo>
                    <a:pt x="103" y="102"/>
                    <a:pt x="103" y="102"/>
                    <a:pt x="82" y="82"/>
                  </a:cubicBezTo>
                  <a:lnTo>
                    <a:pt x="41" y="82"/>
                  </a:lnTo>
                  <a:lnTo>
                    <a:pt x="21" y="82"/>
                  </a:lnTo>
                  <a:cubicBezTo>
                    <a:pt x="0" y="82"/>
                    <a:pt x="0" y="62"/>
                    <a:pt x="0" y="62"/>
                  </a:cubicBezTo>
                  <a:cubicBezTo>
                    <a:pt x="0" y="41"/>
                    <a:pt x="0" y="20"/>
                    <a:pt x="0" y="20"/>
                  </a:cubicBezTo>
                  <a:cubicBezTo>
                    <a:pt x="21" y="20"/>
                    <a:pt x="21" y="20"/>
                    <a:pt x="21" y="20"/>
                  </a:cubicBezTo>
                  <a:cubicBezTo>
                    <a:pt x="41" y="0"/>
                    <a:pt x="41" y="0"/>
                    <a:pt x="41" y="0"/>
                  </a:cubicBezTo>
                  <a:cubicBezTo>
                    <a:pt x="62" y="0"/>
                    <a:pt x="82" y="20"/>
                    <a:pt x="82" y="20"/>
                  </a:cubicBezTo>
                  <a:cubicBezTo>
                    <a:pt x="82" y="20"/>
                    <a:pt x="103" y="20"/>
                    <a:pt x="123" y="20"/>
                  </a:cubicBezTo>
                  <a:cubicBezTo>
                    <a:pt x="123" y="20"/>
                    <a:pt x="144" y="20"/>
                    <a:pt x="144" y="41"/>
                  </a:cubicBezTo>
                  <a:cubicBezTo>
                    <a:pt x="164" y="41"/>
                    <a:pt x="164" y="41"/>
                    <a:pt x="164" y="62"/>
                  </a:cubicBezTo>
                  <a:cubicBezTo>
                    <a:pt x="185" y="62"/>
                    <a:pt x="185" y="62"/>
                    <a:pt x="205" y="82"/>
                  </a:cubicBezTo>
                  <a:lnTo>
                    <a:pt x="205" y="82"/>
                  </a:lnTo>
                  <a:cubicBezTo>
                    <a:pt x="205" y="82"/>
                    <a:pt x="205" y="102"/>
                    <a:pt x="185" y="102"/>
                  </a:cubicBezTo>
                  <a:lnTo>
                    <a:pt x="164" y="102"/>
                  </a:lnTo>
                  <a:cubicBezTo>
                    <a:pt x="144" y="102"/>
                    <a:pt x="123" y="102"/>
                    <a:pt x="123" y="10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2" name="Freeform 139">
              <a:extLst>
                <a:ext uri="{FF2B5EF4-FFF2-40B4-BE49-F238E27FC236}">
                  <a16:creationId xmlns:a16="http://schemas.microsoft.com/office/drawing/2014/main" id="{DFAE97DE-E424-4F4A-A07F-1122F76A7BFB}"/>
                </a:ext>
              </a:extLst>
            </p:cNvPr>
            <p:cNvSpPr>
              <a:spLocks noChangeArrowheads="1"/>
            </p:cNvSpPr>
            <p:nvPr/>
          </p:nvSpPr>
          <p:spPr bwMode="auto">
            <a:xfrm>
              <a:off x="6364288" y="1536700"/>
              <a:ext cx="147637" cy="103188"/>
            </a:xfrm>
            <a:custGeom>
              <a:avLst/>
              <a:gdLst>
                <a:gd name="T0" fmla="*/ 226 w 411"/>
                <a:gd name="T1" fmla="*/ 204 h 287"/>
                <a:gd name="T2" fmla="*/ 226 w 411"/>
                <a:gd name="T3" fmla="*/ 204 h 287"/>
                <a:gd name="T4" fmla="*/ 267 w 411"/>
                <a:gd name="T5" fmla="*/ 204 h 287"/>
                <a:gd name="T6" fmla="*/ 288 w 411"/>
                <a:gd name="T7" fmla="*/ 204 h 287"/>
                <a:gd name="T8" fmla="*/ 328 w 411"/>
                <a:gd name="T9" fmla="*/ 164 h 287"/>
                <a:gd name="T10" fmla="*/ 369 w 411"/>
                <a:gd name="T11" fmla="*/ 143 h 287"/>
                <a:gd name="T12" fmla="*/ 390 w 411"/>
                <a:gd name="T13" fmla="*/ 122 h 287"/>
                <a:gd name="T14" fmla="*/ 410 w 411"/>
                <a:gd name="T15" fmla="*/ 102 h 287"/>
                <a:gd name="T16" fmla="*/ 410 w 411"/>
                <a:gd name="T17" fmla="*/ 82 h 287"/>
                <a:gd name="T18" fmla="*/ 369 w 411"/>
                <a:gd name="T19" fmla="*/ 61 h 287"/>
                <a:gd name="T20" fmla="*/ 308 w 411"/>
                <a:gd name="T21" fmla="*/ 41 h 287"/>
                <a:gd name="T22" fmla="*/ 288 w 411"/>
                <a:gd name="T23" fmla="*/ 20 h 287"/>
                <a:gd name="T24" fmla="*/ 226 w 411"/>
                <a:gd name="T25" fmla="*/ 0 h 287"/>
                <a:gd name="T26" fmla="*/ 185 w 411"/>
                <a:gd name="T27" fmla="*/ 0 h 287"/>
                <a:gd name="T28" fmla="*/ 164 w 411"/>
                <a:gd name="T29" fmla="*/ 20 h 287"/>
                <a:gd name="T30" fmla="*/ 124 w 411"/>
                <a:gd name="T31" fmla="*/ 20 h 287"/>
                <a:gd name="T32" fmla="*/ 82 w 411"/>
                <a:gd name="T33" fmla="*/ 20 h 287"/>
                <a:gd name="T34" fmla="*/ 62 w 411"/>
                <a:gd name="T35" fmla="*/ 41 h 287"/>
                <a:gd name="T36" fmla="*/ 62 w 411"/>
                <a:gd name="T37" fmla="*/ 61 h 287"/>
                <a:gd name="T38" fmla="*/ 42 w 411"/>
                <a:gd name="T39" fmla="*/ 102 h 287"/>
                <a:gd name="T40" fmla="*/ 21 w 411"/>
                <a:gd name="T41" fmla="*/ 122 h 287"/>
                <a:gd name="T42" fmla="*/ 21 w 411"/>
                <a:gd name="T43" fmla="*/ 143 h 287"/>
                <a:gd name="T44" fmla="*/ 21 w 411"/>
                <a:gd name="T45" fmla="*/ 164 h 287"/>
                <a:gd name="T46" fmla="*/ 42 w 411"/>
                <a:gd name="T47" fmla="*/ 204 h 287"/>
                <a:gd name="T48" fmla="*/ 82 w 411"/>
                <a:gd name="T49" fmla="*/ 246 h 287"/>
                <a:gd name="T50" fmla="*/ 103 w 411"/>
                <a:gd name="T51" fmla="*/ 266 h 287"/>
                <a:gd name="T52" fmla="*/ 124 w 411"/>
                <a:gd name="T53" fmla="*/ 266 h 287"/>
                <a:gd name="T54" fmla="*/ 144 w 411"/>
                <a:gd name="T55" fmla="*/ 246 h 287"/>
                <a:gd name="T56" fmla="*/ 164 w 411"/>
                <a:gd name="T57" fmla="*/ 225 h 287"/>
                <a:gd name="T58" fmla="*/ 206 w 411"/>
                <a:gd name="T59" fmla="*/ 225 h 287"/>
                <a:gd name="T60" fmla="*/ 226 w 411"/>
                <a:gd name="T61" fmla="*/ 20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1" h="287">
                  <a:moveTo>
                    <a:pt x="226" y="204"/>
                  </a:moveTo>
                  <a:lnTo>
                    <a:pt x="226" y="204"/>
                  </a:lnTo>
                  <a:cubicBezTo>
                    <a:pt x="246" y="204"/>
                    <a:pt x="267" y="204"/>
                    <a:pt x="267" y="204"/>
                  </a:cubicBezTo>
                  <a:lnTo>
                    <a:pt x="288" y="204"/>
                  </a:lnTo>
                  <a:cubicBezTo>
                    <a:pt x="308" y="184"/>
                    <a:pt x="328" y="164"/>
                    <a:pt x="328" y="164"/>
                  </a:cubicBezTo>
                  <a:cubicBezTo>
                    <a:pt x="348" y="164"/>
                    <a:pt x="369" y="143"/>
                    <a:pt x="369" y="143"/>
                  </a:cubicBezTo>
                  <a:cubicBezTo>
                    <a:pt x="390" y="143"/>
                    <a:pt x="390" y="122"/>
                    <a:pt x="390" y="122"/>
                  </a:cubicBezTo>
                  <a:cubicBezTo>
                    <a:pt x="390" y="122"/>
                    <a:pt x="410" y="122"/>
                    <a:pt x="410" y="102"/>
                  </a:cubicBezTo>
                  <a:lnTo>
                    <a:pt x="410" y="82"/>
                  </a:lnTo>
                  <a:cubicBezTo>
                    <a:pt x="410" y="61"/>
                    <a:pt x="369" y="61"/>
                    <a:pt x="369" y="61"/>
                  </a:cubicBezTo>
                  <a:cubicBezTo>
                    <a:pt x="348" y="61"/>
                    <a:pt x="328" y="41"/>
                    <a:pt x="308" y="41"/>
                  </a:cubicBezTo>
                  <a:lnTo>
                    <a:pt x="288" y="20"/>
                  </a:lnTo>
                  <a:cubicBezTo>
                    <a:pt x="267" y="20"/>
                    <a:pt x="246" y="20"/>
                    <a:pt x="226" y="0"/>
                  </a:cubicBezTo>
                  <a:lnTo>
                    <a:pt x="185" y="0"/>
                  </a:lnTo>
                  <a:cubicBezTo>
                    <a:pt x="164" y="20"/>
                    <a:pt x="164" y="20"/>
                    <a:pt x="164" y="20"/>
                  </a:cubicBezTo>
                  <a:cubicBezTo>
                    <a:pt x="144" y="20"/>
                    <a:pt x="124" y="20"/>
                    <a:pt x="124" y="20"/>
                  </a:cubicBezTo>
                  <a:cubicBezTo>
                    <a:pt x="124" y="20"/>
                    <a:pt x="103" y="20"/>
                    <a:pt x="82" y="20"/>
                  </a:cubicBezTo>
                  <a:cubicBezTo>
                    <a:pt x="82" y="20"/>
                    <a:pt x="82" y="41"/>
                    <a:pt x="62" y="41"/>
                  </a:cubicBezTo>
                  <a:lnTo>
                    <a:pt x="62" y="61"/>
                  </a:lnTo>
                  <a:cubicBezTo>
                    <a:pt x="42" y="61"/>
                    <a:pt x="42" y="82"/>
                    <a:pt x="42" y="102"/>
                  </a:cubicBezTo>
                  <a:lnTo>
                    <a:pt x="21" y="122"/>
                  </a:lnTo>
                  <a:lnTo>
                    <a:pt x="21" y="143"/>
                  </a:lnTo>
                  <a:cubicBezTo>
                    <a:pt x="0" y="143"/>
                    <a:pt x="0" y="164"/>
                    <a:pt x="21" y="164"/>
                  </a:cubicBezTo>
                  <a:cubicBezTo>
                    <a:pt x="21" y="184"/>
                    <a:pt x="21" y="204"/>
                    <a:pt x="42" y="204"/>
                  </a:cubicBezTo>
                  <a:cubicBezTo>
                    <a:pt x="42" y="225"/>
                    <a:pt x="82" y="225"/>
                    <a:pt x="82" y="246"/>
                  </a:cubicBezTo>
                  <a:cubicBezTo>
                    <a:pt x="103" y="246"/>
                    <a:pt x="82" y="266"/>
                    <a:pt x="103" y="266"/>
                  </a:cubicBezTo>
                  <a:cubicBezTo>
                    <a:pt x="103" y="286"/>
                    <a:pt x="103" y="266"/>
                    <a:pt x="124" y="266"/>
                  </a:cubicBezTo>
                  <a:lnTo>
                    <a:pt x="144" y="246"/>
                  </a:lnTo>
                  <a:lnTo>
                    <a:pt x="164" y="225"/>
                  </a:lnTo>
                  <a:cubicBezTo>
                    <a:pt x="185" y="225"/>
                    <a:pt x="206" y="225"/>
                    <a:pt x="206" y="225"/>
                  </a:cubicBezTo>
                  <a:lnTo>
                    <a:pt x="226" y="204"/>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3" name="Freeform 140">
              <a:extLst>
                <a:ext uri="{FF2B5EF4-FFF2-40B4-BE49-F238E27FC236}">
                  <a16:creationId xmlns:a16="http://schemas.microsoft.com/office/drawing/2014/main" id="{1FB6E28B-D9E7-5C42-9166-EA4E39A73CF1}"/>
                </a:ext>
              </a:extLst>
            </p:cNvPr>
            <p:cNvSpPr>
              <a:spLocks noChangeArrowheads="1"/>
            </p:cNvSpPr>
            <p:nvPr/>
          </p:nvSpPr>
          <p:spPr bwMode="auto">
            <a:xfrm>
              <a:off x="4808538" y="1876425"/>
              <a:ext cx="22225" cy="15875"/>
            </a:xfrm>
            <a:custGeom>
              <a:avLst/>
              <a:gdLst>
                <a:gd name="T0" fmla="*/ 61 w 62"/>
                <a:gd name="T1" fmla="*/ 0 h 42"/>
                <a:gd name="T2" fmla="*/ 61 w 62"/>
                <a:gd name="T3" fmla="*/ 0 h 42"/>
                <a:gd name="T4" fmla="*/ 21 w 62"/>
                <a:gd name="T5" fmla="*/ 0 h 42"/>
                <a:gd name="T6" fmla="*/ 21 w 62"/>
                <a:gd name="T7" fmla="*/ 0 h 42"/>
                <a:gd name="T8" fmla="*/ 0 w 62"/>
                <a:gd name="T9" fmla="*/ 0 h 42"/>
                <a:gd name="T10" fmla="*/ 0 w 62"/>
                <a:gd name="T11" fmla="*/ 20 h 42"/>
                <a:gd name="T12" fmla="*/ 0 w 62"/>
                <a:gd name="T13" fmla="*/ 20 h 42"/>
                <a:gd name="T14" fmla="*/ 21 w 62"/>
                <a:gd name="T15" fmla="*/ 20 h 42"/>
                <a:gd name="T16" fmla="*/ 21 w 62"/>
                <a:gd name="T17" fmla="*/ 41 h 42"/>
                <a:gd name="T18" fmla="*/ 41 w 62"/>
                <a:gd name="T19" fmla="*/ 20 h 42"/>
                <a:gd name="T20" fmla="*/ 61 w 6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2">
                  <a:moveTo>
                    <a:pt x="61" y="0"/>
                  </a:moveTo>
                  <a:lnTo>
                    <a:pt x="61" y="0"/>
                  </a:lnTo>
                  <a:cubicBezTo>
                    <a:pt x="41" y="0"/>
                    <a:pt x="41" y="0"/>
                    <a:pt x="21" y="0"/>
                  </a:cubicBezTo>
                  <a:lnTo>
                    <a:pt x="21" y="0"/>
                  </a:lnTo>
                  <a:cubicBezTo>
                    <a:pt x="0" y="0"/>
                    <a:pt x="0" y="0"/>
                    <a:pt x="0" y="0"/>
                  </a:cubicBezTo>
                  <a:lnTo>
                    <a:pt x="0" y="20"/>
                  </a:lnTo>
                  <a:lnTo>
                    <a:pt x="0" y="20"/>
                  </a:lnTo>
                  <a:cubicBezTo>
                    <a:pt x="21" y="20"/>
                    <a:pt x="21" y="20"/>
                    <a:pt x="21" y="20"/>
                  </a:cubicBezTo>
                  <a:cubicBezTo>
                    <a:pt x="21" y="41"/>
                    <a:pt x="21" y="41"/>
                    <a:pt x="21" y="41"/>
                  </a:cubicBezTo>
                  <a:cubicBezTo>
                    <a:pt x="41" y="20"/>
                    <a:pt x="41" y="20"/>
                    <a:pt x="41" y="20"/>
                  </a:cubicBezTo>
                  <a:cubicBezTo>
                    <a:pt x="41" y="20"/>
                    <a:pt x="61" y="20"/>
                    <a:pt x="6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4" name="Freeform 141">
              <a:extLst>
                <a:ext uri="{FF2B5EF4-FFF2-40B4-BE49-F238E27FC236}">
                  <a16:creationId xmlns:a16="http://schemas.microsoft.com/office/drawing/2014/main" id="{8AB09E97-FEDC-174E-ABF4-BF23A5A73BA1}"/>
                </a:ext>
              </a:extLst>
            </p:cNvPr>
            <p:cNvSpPr>
              <a:spLocks noChangeArrowheads="1"/>
            </p:cNvSpPr>
            <p:nvPr/>
          </p:nvSpPr>
          <p:spPr bwMode="auto">
            <a:xfrm>
              <a:off x="4764088" y="1639888"/>
              <a:ext cx="147637" cy="58737"/>
            </a:xfrm>
            <a:custGeom>
              <a:avLst/>
              <a:gdLst>
                <a:gd name="T0" fmla="*/ 410 w 411"/>
                <a:gd name="T1" fmla="*/ 144 h 165"/>
                <a:gd name="T2" fmla="*/ 410 w 411"/>
                <a:gd name="T3" fmla="*/ 144 h 165"/>
                <a:gd name="T4" fmla="*/ 389 w 411"/>
                <a:gd name="T5" fmla="*/ 124 h 165"/>
                <a:gd name="T6" fmla="*/ 348 w 411"/>
                <a:gd name="T7" fmla="*/ 103 h 165"/>
                <a:gd name="T8" fmla="*/ 328 w 411"/>
                <a:gd name="T9" fmla="*/ 82 h 165"/>
                <a:gd name="T10" fmla="*/ 307 w 411"/>
                <a:gd name="T11" fmla="*/ 62 h 165"/>
                <a:gd name="T12" fmla="*/ 246 w 411"/>
                <a:gd name="T13" fmla="*/ 42 h 165"/>
                <a:gd name="T14" fmla="*/ 164 w 411"/>
                <a:gd name="T15" fmla="*/ 21 h 165"/>
                <a:gd name="T16" fmla="*/ 102 w 411"/>
                <a:gd name="T17" fmla="*/ 0 h 165"/>
                <a:gd name="T18" fmla="*/ 41 w 411"/>
                <a:gd name="T19" fmla="*/ 0 h 165"/>
                <a:gd name="T20" fmla="*/ 0 w 411"/>
                <a:gd name="T21" fmla="*/ 21 h 165"/>
                <a:gd name="T22" fmla="*/ 0 w 411"/>
                <a:gd name="T23" fmla="*/ 62 h 165"/>
                <a:gd name="T24" fmla="*/ 0 w 411"/>
                <a:gd name="T25" fmla="*/ 124 h 165"/>
                <a:gd name="T26" fmla="*/ 41 w 411"/>
                <a:gd name="T27" fmla="*/ 144 h 165"/>
                <a:gd name="T28" fmla="*/ 102 w 411"/>
                <a:gd name="T29" fmla="*/ 144 h 165"/>
                <a:gd name="T30" fmla="*/ 205 w 411"/>
                <a:gd name="T31" fmla="*/ 144 h 165"/>
                <a:gd name="T32" fmla="*/ 266 w 411"/>
                <a:gd name="T33" fmla="*/ 164 h 165"/>
                <a:gd name="T34" fmla="*/ 328 w 411"/>
                <a:gd name="T35" fmla="*/ 164 h 165"/>
                <a:gd name="T36" fmla="*/ 389 w 411"/>
                <a:gd name="T37" fmla="*/ 144 h 165"/>
                <a:gd name="T38" fmla="*/ 410 w 411"/>
                <a:gd name="T39" fmla="*/ 14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1" h="165">
                  <a:moveTo>
                    <a:pt x="410" y="144"/>
                  </a:moveTo>
                  <a:lnTo>
                    <a:pt x="410" y="144"/>
                  </a:lnTo>
                  <a:lnTo>
                    <a:pt x="389" y="124"/>
                  </a:lnTo>
                  <a:cubicBezTo>
                    <a:pt x="368" y="124"/>
                    <a:pt x="368" y="103"/>
                    <a:pt x="348" y="103"/>
                  </a:cubicBezTo>
                  <a:lnTo>
                    <a:pt x="328" y="82"/>
                  </a:lnTo>
                  <a:cubicBezTo>
                    <a:pt x="307" y="82"/>
                    <a:pt x="307" y="62"/>
                    <a:pt x="307" y="62"/>
                  </a:cubicBezTo>
                  <a:cubicBezTo>
                    <a:pt x="286" y="42"/>
                    <a:pt x="266" y="42"/>
                    <a:pt x="246" y="42"/>
                  </a:cubicBezTo>
                  <a:cubicBezTo>
                    <a:pt x="225" y="42"/>
                    <a:pt x="184" y="42"/>
                    <a:pt x="164" y="21"/>
                  </a:cubicBezTo>
                  <a:cubicBezTo>
                    <a:pt x="144" y="21"/>
                    <a:pt x="102" y="0"/>
                    <a:pt x="102" y="0"/>
                  </a:cubicBezTo>
                  <a:cubicBezTo>
                    <a:pt x="82" y="0"/>
                    <a:pt x="62" y="0"/>
                    <a:pt x="41" y="0"/>
                  </a:cubicBezTo>
                  <a:cubicBezTo>
                    <a:pt x="41" y="0"/>
                    <a:pt x="20" y="21"/>
                    <a:pt x="0" y="21"/>
                  </a:cubicBezTo>
                  <a:cubicBezTo>
                    <a:pt x="0" y="42"/>
                    <a:pt x="0" y="62"/>
                    <a:pt x="0" y="62"/>
                  </a:cubicBezTo>
                  <a:cubicBezTo>
                    <a:pt x="0" y="82"/>
                    <a:pt x="0" y="103"/>
                    <a:pt x="0" y="124"/>
                  </a:cubicBezTo>
                  <a:cubicBezTo>
                    <a:pt x="20" y="124"/>
                    <a:pt x="41" y="144"/>
                    <a:pt x="41" y="144"/>
                  </a:cubicBezTo>
                  <a:cubicBezTo>
                    <a:pt x="62" y="144"/>
                    <a:pt x="82" y="144"/>
                    <a:pt x="102" y="144"/>
                  </a:cubicBezTo>
                  <a:cubicBezTo>
                    <a:pt x="123" y="144"/>
                    <a:pt x="184" y="144"/>
                    <a:pt x="205" y="144"/>
                  </a:cubicBezTo>
                  <a:cubicBezTo>
                    <a:pt x="225" y="144"/>
                    <a:pt x="246" y="164"/>
                    <a:pt x="266" y="164"/>
                  </a:cubicBezTo>
                  <a:cubicBezTo>
                    <a:pt x="266" y="164"/>
                    <a:pt x="307" y="164"/>
                    <a:pt x="328" y="164"/>
                  </a:cubicBezTo>
                  <a:cubicBezTo>
                    <a:pt x="328" y="164"/>
                    <a:pt x="368" y="164"/>
                    <a:pt x="389" y="144"/>
                  </a:cubicBezTo>
                  <a:lnTo>
                    <a:pt x="410" y="144"/>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5" name="Freeform 142">
              <a:extLst>
                <a:ext uri="{FF2B5EF4-FFF2-40B4-BE49-F238E27FC236}">
                  <a16:creationId xmlns:a16="http://schemas.microsoft.com/office/drawing/2014/main" id="{AECA24C2-AF4E-D444-B468-A042E088FADE}"/>
                </a:ext>
              </a:extLst>
            </p:cNvPr>
            <p:cNvSpPr>
              <a:spLocks noChangeArrowheads="1"/>
            </p:cNvSpPr>
            <p:nvPr/>
          </p:nvSpPr>
          <p:spPr bwMode="auto">
            <a:xfrm>
              <a:off x="4705350" y="1609725"/>
              <a:ext cx="44450" cy="38100"/>
            </a:xfrm>
            <a:custGeom>
              <a:avLst/>
              <a:gdLst>
                <a:gd name="T0" fmla="*/ 102 w 124"/>
                <a:gd name="T1" fmla="*/ 82 h 104"/>
                <a:gd name="T2" fmla="*/ 102 w 124"/>
                <a:gd name="T3" fmla="*/ 82 h 104"/>
                <a:gd name="T4" fmla="*/ 82 w 124"/>
                <a:gd name="T5" fmla="*/ 103 h 104"/>
                <a:gd name="T6" fmla="*/ 41 w 124"/>
                <a:gd name="T7" fmla="*/ 82 h 104"/>
                <a:gd name="T8" fmla="*/ 41 w 124"/>
                <a:gd name="T9" fmla="*/ 62 h 104"/>
                <a:gd name="T10" fmla="*/ 0 w 124"/>
                <a:gd name="T11" fmla="*/ 42 h 104"/>
                <a:gd name="T12" fmla="*/ 0 w 124"/>
                <a:gd name="T13" fmla="*/ 21 h 104"/>
                <a:gd name="T14" fmla="*/ 20 w 124"/>
                <a:gd name="T15" fmla="*/ 21 h 104"/>
                <a:gd name="T16" fmla="*/ 41 w 124"/>
                <a:gd name="T17" fmla="*/ 0 h 104"/>
                <a:gd name="T18" fmla="*/ 62 w 124"/>
                <a:gd name="T19" fmla="*/ 0 h 104"/>
                <a:gd name="T20" fmla="*/ 62 w 124"/>
                <a:gd name="T21" fmla="*/ 42 h 104"/>
                <a:gd name="T22" fmla="*/ 102 w 124"/>
                <a:gd name="T23" fmla="*/ 62 h 104"/>
                <a:gd name="T24" fmla="*/ 123 w 124"/>
                <a:gd name="T25" fmla="*/ 62 h 104"/>
                <a:gd name="T26" fmla="*/ 102 w 124"/>
                <a:gd name="T27" fmla="*/ 8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104">
                  <a:moveTo>
                    <a:pt x="102" y="82"/>
                  </a:moveTo>
                  <a:lnTo>
                    <a:pt x="102" y="82"/>
                  </a:lnTo>
                  <a:cubicBezTo>
                    <a:pt x="102" y="103"/>
                    <a:pt x="82" y="103"/>
                    <a:pt x="82" y="103"/>
                  </a:cubicBezTo>
                  <a:cubicBezTo>
                    <a:pt x="82" y="103"/>
                    <a:pt x="62" y="103"/>
                    <a:pt x="41" y="82"/>
                  </a:cubicBezTo>
                  <a:lnTo>
                    <a:pt x="41" y="62"/>
                  </a:lnTo>
                  <a:cubicBezTo>
                    <a:pt x="20" y="62"/>
                    <a:pt x="0" y="62"/>
                    <a:pt x="0" y="42"/>
                  </a:cubicBezTo>
                  <a:lnTo>
                    <a:pt x="0" y="21"/>
                  </a:lnTo>
                  <a:cubicBezTo>
                    <a:pt x="0" y="21"/>
                    <a:pt x="0" y="21"/>
                    <a:pt x="20" y="21"/>
                  </a:cubicBezTo>
                  <a:cubicBezTo>
                    <a:pt x="20" y="21"/>
                    <a:pt x="20" y="0"/>
                    <a:pt x="41" y="0"/>
                  </a:cubicBezTo>
                  <a:cubicBezTo>
                    <a:pt x="41" y="0"/>
                    <a:pt x="41" y="0"/>
                    <a:pt x="62" y="0"/>
                  </a:cubicBezTo>
                  <a:cubicBezTo>
                    <a:pt x="62" y="0"/>
                    <a:pt x="62" y="21"/>
                    <a:pt x="62" y="42"/>
                  </a:cubicBezTo>
                  <a:cubicBezTo>
                    <a:pt x="82" y="42"/>
                    <a:pt x="102" y="62"/>
                    <a:pt x="102" y="62"/>
                  </a:cubicBezTo>
                  <a:lnTo>
                    <a:pt x="123" y="62"/>
                  </a:lnTo>
                  <a:cubicBezTo>
                    <a:pt x="123" y="82"/>
                    <a:pt x="102" y="82"/>
                    <a:pt x="102"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6" name="Freeform 143">
              <a:extLst>
                <a:ext uri="{FF2B5EF4-FFF2-40B4-BE49-F238E27FC236}">
                  <a16:creationId xmlns:a16="http://schemas.microsoft.com/office/drawing/2014/main" id="{1D273816-8D41-1541-9658-99C66A89B46B}"/>
                </a:ext>
              </a:extLst>
            </p:cNvPr>
            <p:cNvSpPr>
              <a:spLocks noChangeArrowheads="1"/>
            </p:cNvSpPr>
            <p:nvPr/>
          </p:nvSpPr>
          <p:spPr bwMode="auto">
            <a:xfrm>
              <a:off x="4535488" y="1647825"/>
              <a:ext cx="44450" cy="38100"/>
            </a:xfrm>
            <a:custGeom>
              <a:avLst/>
              <a:gdLst>
                <a:gd name="T0" fmla="*/ 102 w 124"/>
                <a:gd name="T1" fmla="*/ 103 h 104"/>
                <a:gd name="T2" fmla="*/ 102 w 124"/>
                <a:gd name="T3" fmla="*/ 103 h 104"/>
                <a:gd name="T4" fmla="*/ 61 w 124"/>
                <a:gd name="T5" fmla="*/ 82 h 104"/>
                <a:gd name="T6" fmla="*/ 41 w 124"/>
                <a:gd name="T7" fmla="*/ 61 h 104"/>
                <a:gd name="T8" fmla="*/ 0 w 124"/>
                <a:gd name="T9" fmla="*/ 61 h 104"/>
                <a:gd name="T10" fmla="*/ 0 w 124"/>
                <a:gd name="T11" fmla="*/ 41 h 104"/>
                <a:gd name="T12" fmla="*/ 0 w 124"/>
                <a:gd name="T13" fmla="*/ 21 h 104"/>
                <a:gd name="T14" fmla="*/ 41 w 124"/>
                <a:gd name="T15" fmla="*/ 21 h 104"/>
                <a:gd name="T16" fmla="*/ 61 w 124"/>
                <a:gd name="T17" fmla="*/ 21 h 104"/>
                <a:gd name="T18" fmla="*/ 102 w 124"/>
                <a:gd name="T19" fmla="*/ 61 h 104"/>
                <a:gd name="T20" fmla="*/ 123 w 124"/>
                <a:gd name="T21" fmla="*/ 103 h 104"/>
                <a:gd name="T22" fmla="*/ 102 w 124"/>
                <a:gd name="T23"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4" h="104">
                  <a:moveTo>
                    <a:pt x="102" y="103"/>
                  </a:moveTo>
                  <a:lnTo>
                    <a:pt x="102" y="103"/>
                  </a:lnTo>
                  <a:cubicBezTo>
                    <a:pt x="82" y="103"/>
                    <a:pt x="82" y="82"/>
                    <a:pt x="61" y="82"/>
                  </a:cubicBezTo>
                  <a:cubicBezTo>
                    <a:pt x="61" y="61"/>
                    <a:pt x="41" y="61"/>
                    <a:pt x="41" y="61"/>
                  </a:cubicBezTo>
                  <a:cubicBezTo>
                    <a:pt x="41" y="61"/>
                    <a:pt x="20" y="61"/>
                    <a:pt x="0" y="61"/>
                  </a:cubicBezTo>
                  <a:cubicBezTo>
                    <a:pt x="0" y="41"/>
                    <a:pt x="0" y="41"/>
                    <a:pt x="0" y="41"/>
                  </a:cubicBezTo>
                  <a:cubicBezTo>
                    <a:pt x="0" y="21"/>
                    <a:pt x="0" y="21"/>
                    <a:pt x="0" y="21"/>
                  </a:cubicBezTo>
                  <a:cubicBezTo>
                    <a:pt x="20" y="0"/>
                    <a:pt x="20" y="21"/>
                    <a:pt x="41" y="21"/>
                  </a:cubicBezTo>
                  <a:lnTo>
                    <a:pt x="61" y="21"/>
                  </a:lnTo>
                  <a:cubicBezTo>
                    <a:pt x="82" y="21"/>
                    <a:pt x="102" y="41"/>
                    <a:pt x="102" y="61"/>
                  </a:cubicBezTo>
                  <a:cubicBezTo>
                    <a:pt x="102" y="61"/>
                    <a:pt x="123" y="82"/>
                    <a:pt x="123" y="103"/>
                  </a:cubicBezTo>
                  <a:lnTo>
                    <a:pt x="102" y="103"/>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7" name="Freeform 144">
              <a:extLst>
                <a:ext uri="{FF2B5EF4-FFF2-40B4-BE49-F238E27FC236}">
                  <a16:creationId xmlns:a16="http://schemas.microsoft.com/office/drawing/2014/main" id="{A574311E-2087-1542-A95B-6516E5D24C1B}"/>
                </a:ext>
              </a:extLst>
            </p:cNvPr>
            <p:cNvSpPr>
              <a:spLocks noChangeArrowheads="1"/>
            </p:cNvSpPr>
            <p:nvPr/>
          </p:nvSpPr>
          <p:spPr bwMode="auto">
            <a:xfrm>
              <a:off x="4416425" y="1506538"/>
              <a:ext cx="44450" cy="52387"/>
            </a:xfrm>
            <a:custGeom>
              <a:avLst/>
              <a:gdLst>
                <a:gd name="T0" fmla="*/ 102 w 124"/>
                <a:gd name="T1" fmla="*/ 143 h 144"/>
                <a:gd name="T2" fmla="*/ 102 w 124"/>
                <a:gd name="T3" fmla="*/ 143 h 144"/>
                <a:gd name="T4" fmla="*/ 82 w 124"/>
                <a:gd name="T5" fmla="*/ 82 h 144"/>
                <a:gd name="T6" fmla="*/ 41 w 124"/>
                <a:gd name="T7" fmla="*/ 61 h 144"/>
                <a:gd name="T8" fmla="*/ 20 w 124"/>
                <a:gd name="T9" fmla="*/ 41 h 144"/>
                <a:gd name="T10" fmla="*/ 0 w 124"/>
                <a:gd name="T11" fmla="*/ 20 h 144"/>
                <a:gd name="T12" fmla="*/ 0 w 124"/>
                <a:gd name="T13" fmla="*/ 0 h 144"/>
                <a:gd name="T14" fmla="*/ 41 w 124"/>
                <a:gd name="T15" fmla="*/ 0 h 144"/>
                <a:gd name="T16" fmla="*/ 61 w 124"/>
                <a:gd name="T17" fmla="*/ 20 h 144"/>
                <a:gd name="T18" fmla="*/ 61 w 124"/>
                <a:gd name="T19" fmla="*/ 20 h 144"/>
                <a:gd name="T20" fmla="*/ 102 w 124"/>
                <a:gd name="T21" fmla="*/ 20 h 144"/>
                <a:gd name="T22" fmla="*/ 123 w 124"/>
                <a:gd name="T23" fmla="*/ 61 h 144"/>
                <a:gd name="T24" fmla="*/ 123 w 124"/>
                <a:gd name="T25" fmla="*/ 82 h 144"/>
                <a:gd name="T26" fmla="*/ 123 w 124"/>
                <a:gd name="T27" fmla="*/ 123 h 144"/>
                <a:gd name="T28" fmla="*/ 102 w 124"/>
                <a:gd name="T29" fmla="*/ 14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4" h="144">
                  <a:moveTo>
                    <a:pt x="102" y="143"/>
                  </a:moveTo>
                  <a:lnTo>
                    <a:pt x="102" y="143"/>
                  </a:lnTo>
                  <a:cubicBezTo>
                    <a:pt x="102" y="143"/>
                    <a:pt x="82" y="102"/>
                    <a:pt x="82" y="82"/>
                  </a:cubicBezTo>
                  <a:cubicBezTo>
                    <a:pt x="82" y="82"/>
                    <a:pt x="61" y="61"/>
                    <a:pt x="41" y="61"/>
                  </a:cubicBezTo>
                  <a:lnTo>
                    <a:pt x="20" y="41"/>
                  </a:lnTo>
                  <a:lnTo>
                    <a:pt x="0" y="20"/>
                  </a:lnTo>
                  <a:lnTo>
                    <a:pt x="0" y="0"/>
                  </a:lnTo>
                  <a:cubicBezTo>
                    <a:pt x="20" y="0"/>
                    <a:pt x="41" y="0"/>
                    <a:pt x="41" y="0"/>
                  </a:cubicBezTo>
                  <a:cubicBezTo>
                    <a:pt x="41" y="20"/>
                    <a:pt x="41" y="20"/>
                    <a:pt x="61" y="20"/>
                  </a:cubicBezTo>
                  <a:lnTo>
                    <a:pt x="61" y="20"/>
                  </a:lnTo>
                  <a:cubicBezTo>
                    <a:pt x="82" y="41"/>
                    <a:pt x="102" y="20"/>
                    <a:pt x="102" y="20"/>
                  </a:cubicBezTo>
                  <a:cubicBezTo>
                    <a:pt x="123" y="41"/>
                    <a:pt x="123" y="61"/>
                    <a:pt x="123" y="61"/>
                  </a:cubicBezTo>
                  <a:lnTo>
                    <a:pt x="123" y="82"/>
                  </a:lnTo>
                  <a:cubicBezTo>
                    <a:pt x="123" y="102"/>
                    <a:pt x="123" y="123"/>
                    <a:pt x="123" y="123"/>
                  </a:cubicBezTo>
                  <a:cubicBezTo>
                    <a:pt x="123" y="123"/>
                    <a:pt x="123" y="143"/>
                    <a:pt x="102" y="14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8" name="Freeform 145">
              <a:extLst>
                <a:ext uri="{FF2B5EF4-FFF2-40B4-BE49-F238E27FC236}">
                  <a16:creationId xmlns:a16="http://schemas.microsoft.com/office/drawing/2014/main" id="{3B78E8C3-0497-AE4D-93B1-7FE3275C3562}"/>
                </a:ext>
              </a:extLst>
            </p:cNvPr>
            <p:cNvSpPr>
              <a:spLocks noChangeArrowheads="1"/>
            </p:cNvSpPr>
            <p:nvPr/>
          </p:nvSpPr>
          <p:spPr bwMode="auto">
            <a:xfrm>
              <a:off x="4476750" y="1441450"/>
              <a:ext cx="317500" cy="155575"/>
            </a:xfrm>
            <a:custGeom>
              <a:avLst/>
              <a:gdLst>
                <a:gd name="T0" fmla="*/ 82 w 882"/>
                <a:gd name="T1" fmla="*/ 328 h 432"/>
                <a:gd name="T2" fmla="*/ 41 w 882"/>
                <a:gd name="T3" fmla="*/ 226 h 432"/>
                <a:gd name="T4" fmla="*/ 41 w 882"/>
                <a:gd name="T5" fmla="*/ 185 h 432"/>
                <a:gd name="T6" fmla="*/ 0 w 882"/>
                <a:gd name="T7" fmla="*/ 164 h 432"/>
                <a:gd name="T8" fmla="*/ 20 w 882"/>
                <a:gd name="T9" fmla="*/ 123 h 432"/>
                <a:gd name="T10" fmla="*/ 41 w 882"/>
                <a:gd name="T11" fmla="*/ 103 h 432"/>
                <a:gd name="T12" fmla="*/ 61 w 882"/>
                <a:gd name="T13" fmla="*/ 62 h 432"/>
                <a:gd name="T14" fmla="*/ 123 w 882"/>
                <a:gd name="T15" fmla="*/ 62 h 432"/>
                <a:gd name="T16" fmla="*/ 184 w 882"/>
                <a:gd name="T17" fmla="*/ 82 h 432"/>
                <a:gd name="T18" fmla="*/ 225 w 882"/>
                <a:gd name="T19" fmla="*/ 123 h 432"/>
                <a:gd name="T20" fmla="*/ 307 w 882"/>
                <a:gd name="T21" fmla="*/ 144 h 432"/>
                <a:gd name="T22" fmla="*/ 369 w 882"/>
                <a:gd name="T23" fmla="*/ 185 h 432"/>
                <a:gd name="T24" fmla="*/ 389 w 882"/>
                <a:gd name="T25" fmla="*/ 144 h 432"/>
                <a:gd name="T26" fmla="*/ 327 w 882"/>
                <a:gd name="T27" fmla="*/ 103 h 432"/>
                <a:gd name="T28" fmla="*/ 307 w 882"/>
                <a:gd name="T29" fmla="*/ 62 h 432"/>
                <a:gd name="T30" fmla="*/ 348 w 882"/>
                <a:gd name="T31" fmla="*/ 82 h 432"/>
                <a:gd name="T32" fmla="*/ 369 w 882"/>
                <a:gd name="T33" fmla="*/ 62 h 432"/>
                <a:gd name="T34" fmla="*/ 327 w 882"/>
                <a:gd name="T35" fmla="*/ 41 h 432"/>
                <a:gd name="T36" fmla="*/ 348 w 882"/>
                <a:gd name="T37" fmla="*/ 21 h 432"/>
                <a:gd name="T38" fmla="*/ 409 w 882"/>
                <a:gd name="T39" fmla="*/ 41 h 432"/>
                <a:gd name="T40" fmla="*/ 553 w 882"/>
                <a:gd name="T41" fmla="*/ 103 h 432"/>
                <a:gd name="T42" fmla="*/ 737 w 882"/>
                <a:gd name="T43" fmla="*/ 62 h 432"/>
                <a:gd name="T44" fmla="*/ 819 w 882"/>
                <a:gd name="T45" fmla="*/ 103 h 432"/>
                <a:gd name="T46" fmla="*/ 881 w 882"/>
                <a:gd name="T47" fmla="*/ 103 h 432"/>
                <a:gd name="T48" fmla="*/ 840 w 882"/>
                <a:gd name="T49" fmla="*/ 144 h 432"/>
                <a:gd name="T50" fmla="*/ 861 w 882"/>
                <a:gd name="T51" fmla="*/ 205 h 432"/>
                <a:gd name="T52" fmla="*/ 779 w 882"/>
                <a:gd name="T53" fmla="*/ 246 h 432"/>
                <a:gd name="T54" fmla="*/ 635 w 882"/>
                <a:gd name="T55" fmla="*/ 185 h 432"/>
                <a:gd name="T56" fmla="*/ 594 w 882"/>
                <a:gd name="T57" fmla="*/ 144 h 432"/>
                <a:gd name="T58" fmla="*/ 615 w 882"/>
                <a:gd name="T59" fmla="*/ 246 h 432"/>
                <a:gd name="T60" fmla="*/ 717 w 882"/>
                <a:gd name="T61" fmla="*/ 287 h 432"/>
                <a:gd name="T62" fmla="*/ 799 w 882"/>
                <a:gd name="T63" fmla="*/ 287 h 432"/>
                <a:gd name="T64" fmla="*/ 737 w 882"/>
                <a:gd name="T65" fmla="*/ 328 h 432"/>
                <a:gd name="T66" fmla="*/ 676 w 882"/>
                <a:gd name="T67" fmla="*/ 328 h 432"/>
                <a:gd name="T68" fmla="*/ 655 w 882"/>
                <a:gd name="T69" fmla="*/ 308 h 432"/>
                <a:gd name="T70" fmla="*/ 594 w 882"/>
                <a:gd name="T71" fmla="*/ 328 h 432"/>
                <a:gd name="T72" fmla="*/ 512 w 882"/>
                <a:gd name="T73" fmla="*/ 369 h 432"/>
                <a:gd name="T74" fmla="*/ 471 w 882"/>
                <a:gd name="T75" fmla="*/ 389 h 432"/>
                <a:gd name="T76" fmla="*/ 451 w 882"/>
                <a:gd name="T77" fmla="*/ 349 h 432"/>
                <a:gd name="T78" fmla="*/ 451 w 882"/>
                <a:gd name="T79" fmla="*/ 389 h 432"/>
                <a:gd name="T80" fmla="*/ 430 w 882"/>
                <a:gd name="T81" fmla="*/ 431 h 432"/>
                <a:gd name="T82" fmla="*/ 307 w 882"/>
                <a:gd name="T83" fmla="*/ 431 h 432"/>
                <a:gd name="T84" fmla="*/ 184 w 882"/>
                <a:gd name="T85" fmla="*/ 369 h 432"/>
                <a:gd name="T86" fmla="*/ 102 w 882"/>
                <a:gd name="T87" fmla="*/ 34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2" h="432">
                  <a:moveTo>
                    <a:pt x="82" y="328"/>
                  </a:moveTo>
                  <a:lnTo>
                    <a:pt x="82" y="328"/>
                  </a:lnTo>
                  <a:cubicBezTo>
                    <a:pt x="82" y="308"/>
                    <a:pt x="82" y="287"/>
                    <a:pt x="61" y="267"/>
                  </a:cubicBezTo>
                  <a:cubicBezTo>
                    <a:pt x="61" y="267"/>
                    <a:pt x="61" y="226"/>
                    <a:pt x="41" y="226"/>
                  </a:cubicBezTo>
                  <a:lnTo>
                    <a:pt x="41" y="205"/>
                  </a:lnTo>
                  <a:lnTo>
                    <a:pt x="41" y="185"/>
                  </a:lnTo>
                  <a:cubicBezTo>
                    <a:pt x="41" y="164"/>
                    <a:pt x="20" y="164"/>
                    <a:pt x="20" y="164"/>
                  </a:cubicBezTo>
                  <a:lnTo>
                    <a:pt x="0" y="164"/>
                  </a:lnTo>
                  <a:cubicBezTo>
                    <a:pt x="0" y="144"/>
                    <a:pt x="0" y="144"/>
                    <a:pt x="0" y="123"/>
                  </a:cubicBezTo>
                  <a:lnTo>
                    <a:pt x="20" y="123"/>
                  </a:lnTo>
                  <a:lnTo>
                    <a:pt x="41" y="123"/>
                  </a:lnTo>
                  <a:lnTo>
                    <a:pt x="41" y="103"/>
                  </a:lnTo>
                  <a:lnTo>
                    <a:pt x="41" y="82"/>
                  </a:lnTo>
                  <a:cubicBezTo>
                    <a:pt x="41" y="62"/>
                    <a:pt x="61" y="62"/>
                    <a:pt x="61" y="62"/>
                  </a:cubicBezTo>
                  <a:cubicBezTo>
                    <a:pt x="82" y="62"/>
                    <a:pt x="82" y="62"/>
                    <a:pt x="102" y="62"/>
                  </a:cubicBezTo>
                  <a:lnTo>
                    <a:pt x="123" y="62"/>
                  </a:lnTo>
                  <a:cubicBezTo>
                    <a:pt x="123" y="82"/>
                    <a:pt x="143" y="62"/>
                    <a:pt x="164" y="82"/>
                  </a:cubicBezTo>
                  <a:cubicBezTo>
                    <a:pt x="164" y="82"/>
                    <a:pt x="164" y="82"/>
                    <a:pt x="184" y="82"/>
                  </a:cubicBezTo>
                  <a:cubicBezTo>
                    <a:pt x="184" y="82"/>
                    <a:pt x="205" y="82"/>
                    <a:pt x="205" y="103"/>
                  </a:cubicBezTo>
                  <a:lnTo>
                    <a:pt x="225" y="123"/>
                  </a:lnTo>
                  <a:cubicBezTo>
                    <a:pt x="246" y="123"/>
                    <a:pt x="246" y="123"/>
                    <a:pt x="246" y="144"/>
                  </a:cubicBezTo>
                  <a:cubicBezTo>
                    <a:pt x="266" y="144"/>
                    <a:pt x="287" y="144"/>
                    <a:pt x="307" y="144"/>
                  </a:cubicBezTo>
                  <a:lnTo>
                    <a:pt x="327" y="164"/>
                  </a:lnTo>
                  <a:cubicBezTo>
                    <a:pt x="348" y="164"/>
                    <a:pt x="348" y="185"/>
                    <a:pt x="369" y="185"/>
                  </a:cubicBezTo>
                  <a:cubicBezTo>
                    <a:pt x="369" y="185"/>
                    <a:pt x="369" y="185"/>
                    <a:pt x="389" y="185"/>
                  </a:cubicBezTo>
                  <a:cubicBezTo>
                    <a:pt x="389" y="185"/>
                    <a:pt x="389" y="164"/>
                    <a:pt x="389" y="144"/>
                  </a:cubicBezTo>
                  <a:lnTo>
                    <a:pt x="369" y="123"/>
                  </a:lnTo>
                  <a:cubicBezTo>
                    <a:pt x="348" y="123"/>
                    <a:pt x="327" y="103"/>
                    <a:pt x="327" y="103"/>
                  </a:cubicBezTo>
                  <a:cubicBezTo>
                    <a:pt x="327" y="103"/>
                    <a:pt x="307" y="103"/>
                    <a:pt x="307" y="82"/>
                  </a:cubicBezTo>
                  <a:lnTo>
                    <a:pt x="307" y="62"/>
                  </a:lnTo>
                  <a:lnTo>
                    <a:pt x="327" y="62"/>
                  </a:lnTo>
                  <a:cubicBezTo>
                    <a:pt x="348" y="62"/>
                    <a:pt x="348" y="62"/>
                    <a:pt x="348" y="82"/>
                  </a:cubicBezTo>
                  <a:lnTo>
                    <a:pt x="369" y="82"/>
                  </a:lnTo>
                  <a:cubicBezTo>
                    <a:pt x="369" y="62"/>
                    <a:pt x="369" y="62"/>
                    <a:pt x="369" y="62"/>
                  </a:cubicBezTo>
                  <a:cubicBezTo>
                    <a:pt x="369" y="41"/>
                    <a:pt x="348" y="41"/>
                    <a:pt x="348" y="41"/>
                  </a:cubicBezTo>
                  <a:lnTo>
                    <a:pt x="327" y="41"/>
                  </a:lnTo>
                  <a:cubicBezTo>
                    <a:pt x="327" y="21"/>
                    <a:pt x="327" y="21"/>
                    <a:pt x="327" y="21"/>
                  </a:cubicBezTo>
                  <a:cubicBezTo>
                    <a:pt x="327" y="0"/>
                    <a:pt x="348" y="21"/>
                    <a:pt x="348" y="21"/>
                  </a:cubicBezTo>
                  <a:cubicBezTo>
                    <a:pt x="369" y="21"/>
                    <a:pt x="389" y="21"/>
                    <a:pt x="389" y="21"/>
                  </a:cubicBezTo>
                  <a:cubicBezTo>
                    <a:pt x="409" y="21"/>
                    <a:pt x="409" y="41"/>
                    <a:pt x="409" y="41"/>
                  </a:cubicBezTo>
                  <a:cubicBezTo>
                    <a:pt x="430" y="41"/>
                    <a:pt x="451" y="62"/>
                    <a:pt x="451" y="62"/>
                  </a:cubicBezTo>
                  <a:cubicBezTo>
                    <a:pt x="471" y="82"/>
                    <a:pt x="512" y="82"/>
                    <a:pt x="553" y="103"/>
                  </a:cubicBezTo>
                  <a:cubicBezTo>
                    <a:pt x="573" y="103"/>
                    <a:pt x="615" y="82"/>
                    <a:pt x="655" y="82"/>
                  </a:cubicBezTo>
                  <a:cubicBezTo>
                    <a:pt x="676" y="82"/>
                    <a:pt x="717" y="62"/>
                    <a:pt x="737" y="62"/>
                  </a:cubicBezTo>
                  <a:cubicBezTo>
                    <a:pt x="758" y="62"/>
                    <a:pt x="779" y="82"/>
                    <a:pt x="779" y="82"/>
                  </a:cubicBezTo>
                  <a:cubicBezTo>
                    <a:pt x="799" y="103"/>
                    <a:pt x="819" y="103"/>
                    <a:pt x="819" y="103"/>
                  </a:cubicBezTo>
                  <a:cubicBezTo>
                    <a:pt x="840" y="103"/>
                    <a:pt x="861" y="103"/>
                    <a:pt x="861" y="103"/>
                  </a:cubicBezTo>
                  <a:cubicBezTo>
                    <a:pt x="881" y="103"/>
                    <a:pt x="881" y="103"/>
                    <a:pt x="881" y="103"/>
                  </a:cubicBezTo>
                  <a:cubicBezTo>
                    <a:pt x="881" y="123"/>
                    <a:pt x="881" y="123"/>
                    <a:pt x="881" y="123"/>
                  </a:cubicBezTo>
                  <a:cubicBezTo>
                    <a:pt x="861" y="144"/>
                    <a:pt x="861" y="144"/>
                    <a:pt x="840" y="144"/>
                  </a:cubicBezTo>
                  <a:lnTo>
                    <a:pt x="840" y="164"/>
                  </a:lnTo>
                  <a:cubicBezTo>
                    <a:pt x="840" y="185"/>
                    <a:pt x="861" y="185"/>
                    <a:pt x="861" y="205"/>
                  </a:cubicBezTo>
                  <a:cubicBezTo>
                    <a:pt x="861" y="205"/>
                    <a:pt x="861" y="226"/>
                    <a:pt x="840" y="246"/>
                  </a:cubicBezTo>
                  <a:cubicBezTo>
                    <a:pt x="840" y="246"/>
                    <a:pt x="799" y="246"/>
                    <a:pt x="779" y="246"/>
                  </a:cubicBezTo>
                  <a:cubicBezTo>
                    <a:pt x="758" y="246"/>
                    <a:pt x="697" y="226"/>
                    <a:pt x="676" y="226"/>
                  </a:cubicBezTo>
                  <a:cubicBezTo>
                    <a:pt x="676" y="226"/>
                    <a:pt x="635" y="205"/>
                    <a:pt x="635" y="185"/>
                  </a:cubicBezTo>
                  <a:cubicBezTo>
                    <a:pt x="615" y="185"/>
                    <a:pt x="615" y="164"/>
                    <a:pt x="615" y="144"/>
                  </a:cubicBezTo>
                  <a:lnTo>
                    <a:pt x="594" y="144"/>
                  </a:lnTo>
                  <a:lnTo>
                    <a:pt x="594" y="164"/>
                  </a:lnTo>
                  <a:cubicBezTo>
                    <a:pt x="594" y="185"/>
                    <a:pt x="615" y="226"/>
                    <a:pt x="615" y="246"/>
                  </a:cubicBezTo>
                  <a:cubicBezTo>
                    <a:pt x="635" y="246"/>
                    <a:pt x="655" y="267"/>
                    <a:pt x="676" y="267"/>
                  </a:cubicBezTo>
                  <a:lnTo>
                    <a:pt x="717" y="287"/>
                  </a:lnTo>
                  <a:cubicBezTo>
                    <a:pt x="737" y="287"/>
                    <a:pt x="758" y="287"/>
                    <a:pt x="758" y="287"/>
                  </a:cubicBezTo>
                  <a:cubicBezTo>
                    <a:pt x="779" y="287"/>
                    <a:pt x="799" y="267"/>
                    <a:pt x="799" y="287"/>
                  </a:cubicBezTo>
                  <a:lnTo>
                    <a:pt x="779" y="308"/>
                  </a:lnTo>
                  <a:cubicBezTo>
                    <a:pt x="779" y="308"/>
                    <a:pt x="758" y="328"/>
                    <a:pt x="737" y="328"/>
                  </a:cubicBezTo>
                  <a:lnTo>
                    <a:pt x="717" y="328"/>
                  </a:lnTo>
                  <a:cubicBezTo>
                    <a:pt x="697" y="328"/>
                    <a:pt x="676" y="328"/>
                    <a:pt x="676" y="328"/>
                  </a:cubicBezTo>
                  <a:lnTo>
                    <a:pt x="676" y="308"/>
                  </a:lnTo>
                  <a:lnTo>
                    <a:pt x="655" y="308"/>
                  </a:lnTo>
                  <a:cubicBezTo>
                    <a:pt x="655" y="308"/>
                    <a:pt x="635" y="308"/>
                    <a:pt x="615" y="308"/>
                  </a:cubicBezTo>
                  <a:lnTo>
                    <a:pt x="594" y="328"/>
                  </a:lnTo>
                  <a:cubicBezTo>
                    <a:pt x="573" y="328"/>
                    <a:pt x="553" y="349"/>
                    <a:pt x="533" y="369"/>
                  </a:cubicBezTo>
                  <a:lnTo>
                    <a:pt x="512" y="369"/>
                  </a:lnTo>
                  <a:cubicBezTo>
                    <a:pt x="512" y="389"/>
                    <a:pt x="491" y="410"/>
                    <a:pt x="491" y="410"/>
                  </a:cubicBezTo>
                  <a:lnTo>
                    <a:pt x="471" y="389"/>
                  </a:lnTo>
                  <a:cubicBezTo>
                    <a:pt x="471" y="369"/>
                    <a:pt x="471" y="369"/>
                    <a:pt x="471" y="349"/>
                  </a:cubicBezTo>
                  <a:lnTo>
                    <a:pt x="451" y="349"/>
                  </a:lnTo>
                  <a:lnTo>
                    <a:pt x="451" y="369"/>
                  </a:lnTo>
                  <a:lnTo>
                    <a:pt x="451" y="389"/>
                  </a:lnTo>
                  <a:cubicBezTo>
                    <a:pt x="451" y="389"/>
                    <a:pt x="451" y="410"/>
                    <a:pt x="451" y="431"/>
                  </a:cubicBezTo>
                  <a:cubicBezTo>
                    <a:pt x="430" y="431"/>
                    <a:pt x="430" y="431"/>
                    <a:pt x="430" y="431"/>
                  </a:cubicBezTo>
                  <a:cubicBezTo>
                    <a:pt x="409" y="431"/>
                    <a:pt x="389" y="431"/>
                    <a:pt x="369" y="431"/>
                  </a:cubicBezTo>
                  <a:cubicBezTo>
                    <a:pt x="348" y="431"/>
                    <a:pt x="327" y="431"/>
                    <a:pt x="307" y="431"/>
                  </a:cubicBezTo>
                  <a:cubicBezTo>
                    <a:pt x="287" y="431"/>
                    <a:pt x="287" y="410"/>
                    <a:pt x="266" y="389"/>
                  </a:cubicBezTo>
                  <a:cubicBezTo>
                    <a:pt x="246" y="389"/>
                    <a:pt x="205" y="369"/>
                    <a:pt x="184" y="369"/>
                  </a:cubicBezTo>
                  <a:cubicBezTo>
                    <a:pt x="184" y="349"/>
                    <a:pt x="143" y="349"/>
                    <a:pt x="123" y="349"/>
                  </a:cubicBezTo>
                  <a:lnTo>
                    <a:pt x="102" y="349"/>
                  </a:lnTo>
                  <a:cubicBezTo>
                    <a:pt x="102" y="328"/>
                    <a:pt x="102" y="328"/>
                    <a:pt x="82" y="328"/>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49" name="Freeform 146">
              <a:extLst>
                <a:ext uri="{FF2B5EF4-FFF2-40B4-BE49-F238E27FC236}">
                  <a16:creationId xmlns:a16="http://schemas.microsoft.com/office/drawing/2014/main" id="{A545A9A2-6BA2-F24C-A2DB-25DD229DF881}"/>
                </a:ext>
              </a:extLst>
            </p:cNvPr>
            <p:cNvSpPr>
              <a:spLocks noChangeArrowheads="1"/>
            </p:cNvSpPr>
            <p:nvPr/>
          </p:nvSpPr>
          <p:spPr bwMode="auto">
            <a:xfrm>
              <a:off x="4808538" y="1463675"/>
              <a:ext cx="206375" cy="66675"/>
            </a:xfrm>
            <a:custGeom>
              <a:avLst/>
              <a:gdLst>
                <a:gd name="T0" fmla="*/ 389 w 574"/>
                <a:gd name="T1" fmla="*/ 164 h 185"/>
                <a:gd name="T2" fmla="*/ 389 w 574"/>
                <a:gd name="T3" fmla="*/ 164 h 185"/>
                <a:gd name="T4" fmla="*/ 409 w 574"/>
                <a:gd name="T5" fmla="*/ 143 h 185"/>
                <a:gd name="T6" fmla="*/ 451 w 574"/>
                <a:gd name="T7" fmla="*/ 123 h 185"/>
                <a:gd name="T8" fmla="*/ 471 w 574"/>
                <a:gd name="T9" fmla="*/ 123 h 185"/>
                <a:gd name="T10" fmla="*/ 491 w 574"/>
                <a:gd name="T11" fmla="*/ 143 h 185"/>
                <a:gd name="T12" fmla="*/ 533 w 574"/>
                <a:gd name="T13" fmla="*/ 143 h 185"/>
                <a:gd name="T14" fmla="*/ 533 w 574"/>
                <a:gd name="T15" fmla="*/ 102 h 185"/>
                <a:gd name="T16" fmla="*/ 573 w 574"/>
                <a:gd name="T17" fmla="*/ 82 h 185"/>
                <a:gd name="T18" fmla="*/ 553 w 574"/>
                <a:gd name="T19" fmla="*/ 41 h 185"/>
                <a:gd name="T20" fmla="*/ 553 w 574"/>
                <a:gd name="T21" fmla="*/ 41 h 185"/>
                <a:gd name="T22" fmla="*/ 533 w 574"/>
                <a:gd name="T23" fmla="*/ 0 h 185"/>
                <a:gd name="T24" fmla="*/ 512 w 574"/>
                <a:gd name="T25" fmla="*/ 0 h 185"/>
                <a:gd name="T26" fmla="*/ 512 w 574"/>
                <a:gd name="T27" fmla="*/ 0 h 185"/>
                <a:gd name="T28" fmla="*/ 451 w 574"/>
                <a:gd name="T29" fmla="*/ 20 h 185"/>
                <a:gd name="T30" fmla="*/ 430 w 574"/>
                <a:gd name="T31" fmla="*/ 0 h 185"/>
                <a:gd name="T32" fmla="*/ 430 w 574"/>
                <a:gd name="T33" fmla="*/ 20 h 185"/>
                <a:gd name="T34" fmla="*/ 409 w 574"/>
                <a:gd name="T35" fmla="*/ 20 h 185"/>
                <a:gd name="T36" fmla="*/ 369 w 574"/>
                <a:gd name="T37" fmla="*/ 20 h 185"/>
                <a:gd name="T38" fmla="*/ 327 w 574"/>
                <a:gd name="T39" fmla="*/ 20 h 185"/>
                <a:gd name="T40" fmla="*/ 327 w 574"/>
                <a:gd name="T41" fmla="*/ 61 h 185"/>
                <a:gd name="T42" fmla="*/ 287 w 574"/>
                <a:gd name="T43" fmla="*/ 61 h 185"/>
                <a:gd name="T44" fmla="*/ 245 w 574"/>
                <a:gd name="T45" fmla="*/ 41 h 185"/>
                <a:gd name="T46" fmla="*/ 225 w 574"/>
                <a:gd name="T47" fmla="*/ 20 h 185"/>
                <a:gd name="T48" fmla="*/ 184 w 574"/>
                <a:gd name="T49" fmla="*/ 41 h 185"/>
                <a:gd name="T50" fmla="*/ 143 w 574"/>
                <a:gd name="T51" fmla="*/ 41 h 185"/>
                <a:gd name="T52" fmla="*/ 123 w 574"/>
                <a:gd name="T53" fmla="*/ 61 h 185"/>
                <a:gd name="T54" fmla="*/ 143 w 574"/>
                <a:gd name="T55" fmla="*/ 61 h 185"/>
                <a:gd name="T56" fmla="*/ 143 w 574"/>
                <a:gd name="T57" fmla="*/ 82 h 185"/>
                <a:gd name="T58" fmla="*/ 123 w 574"/>
                <a:gd name="T59" fmla="*/ 82 h 185"/>
                <a:gd name="T60" fmla="*/ 82 w 574"/>
                <a:gd name="T61" fmla="*/ 82 h 185"/>
                <a:gd name="T62" fmla="*/ 61 w 574"/>
                <a:gd name="T63" fmla="*/ 82 h 185"/>
                <a:gd name="T64" fmla="*/ 61 w 574"/>
                <a:gd name="T65" fmla="*/ 41 h 185"/>
                <a:gd name="T66" fmla="*/ 41 w 574"/>
                <a:gd name="T67" fmla="*/ 20 h 185"/>
                <a:gd name="T68" fmla="*/ 21 w 574"/>
                <a:gd name="T69" fmla="*/ 0 h 185"/>
                <a:gd name="T70" fmla="*/ 0 w 574"/>
                <a:gd name="T71" fmla="*/ 20 h 185"/>
                <a:gd name="T72" fmla="*/ 0 w 574"/>
                <a:gd name="T73" fmla="*/ 61 h 185"/>
                <a:gd name="T74" fmla="*/ 41 w 574"/>
                <a:gd name="T75" fmla="*/ 102 h 185"/>
                <a:gd name="T76" fmla="*/ 41 w 574"/>
                <a:gd name="T77" fmla="*/ 123 h 185"/>
                <a:gd name="T78" fmla="*/ 102 w 574"/>
                <a:gd name="T79" fmla="*/ 143 h 185"/>
                <a:gd name="T80" fmla="*/ 163 w 574"/>
                <a:gd name="T81" fmla="*/ 143 h 185"/>
                <a:gd name="T82" fmla="*/ 266 w 574"/>
                <a:gd name="T83" fmla="*/ 164 h 185"/>
                <a:gd name="T84" fmla="*/ 307 w 574"/>
                <a:gd name="T85" fmla="*/ 184 h 185"/>
                <a:gd name="T86" fmla="*/ 389 w 574"/>
                <a:gd name="T87" fmla="*/ 16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4" h="185">
                  <a:moveTo>
                    <a:pt x="389" y="164"/>
                  </a:moveTo>
                  <a:lnTo>
                    <a:pt x="389" y="164"/>
                  </a:lnTo>
                  <a:lnTo>
                    <a:pt x="409" y="143"/>
                  </a:lnTo>
                  <a:cubicBezTo>
                    <a:pt x="430" y="143"/>
                    <a:pt x="451" y="123"/>
                    <a:pt x="451" y="123"/>
                  </a:cubicBezTo>
                  <a:lnTo>
                    <a:pt x="471" y="123"/>
                  </a:lnTo>
                  <a:cubicBezTo>
                    <a:pt x="491" y="123"/>
                    <a:pt x="491" y="143"/>
                    <a:pt x="491" y="143"/>
                  </a:cubicBezTo>
                  <a:cubicBezTo>
                    <a:pt x="512" y="143"/>
                    <a:pt x="512" y="143"/>
                    <a:pt x="533" y="143"/>
                  </a:cubicBezTo>
                  <a:cubicBezTo>
                    <a:pt x="533" y="143"/>
                    <a:pt x="533" y="123"/>
                    <a:pt x="533" y="102"/>
                  </a:cubicBezTo>
                  <a:cubicBezTo>
                    <a:pt x="533" y="102"/>
                    <a:pt x="553" y="102"/>
                    <a:pt x="573" y="82"/>
                  </a:cubicBezTo>
                  <a:cubicBezTo>
                    <a:pt x="573" y="82"/>
                    <a:pt x="553" y="61"/>
                    <a:pt x="553" y="41"/>
                  </a:cubicBezTo>
                  <a:lnTo>
                    <a:pt x="553" y="41"/>
                  </a:lnTo>
                  <a:cubicBezTo>
                    <a:pt x="533" y="20"/>
                    <a:pt x="533" y="20"/>
                    <a:pt x="533" y="0"/>
                  </a:cubicBezTo>
                  <a:cubicBezTo>
                    <a:pt x="533" y="0"/>
                    <a:pt x="533" y="0"/>
                    <a:pt x="512" y="0"/>
                  </a:cubicBezTo>
                  <a:lnTo>
                    <a:pt x="512" y="0"/>
                  </a:lnTo>
                  <a:cubicBezTo>
                    <a:pt x="491" y="0"/>
                    <a:pt x="471" y="20"/>
                    <a:pt x="451" y="20"/>
                  </a:cubicBezTo>
                  <a:cubicBezTo>
                    <a:pt x="451" y="20"/>
                    <a:pt x="451" y="0"/>
                    <a:pt x="430" y="0"/>
                  </a:cubicBezTo>
                  <a:lnTo>
                    <a:pt x="430" y="20"/>
                  </a:lnTo>
                  <a:cubicBezTo>
                    <a:pt x="409" y="20"/>
                    <a:pt x="409" y="20"/>
                    <a:pt x="409" y="20"/>
                  </a:cubicBezTo>
                  <a:cubicBezTo>
                    <a:pt x="389" y="20"/>
                    <a:pt x="369" y="20"/>
                    <a:pt x="369" y="20"/>
                  </a:cubicBezTo>
                  <a:cubicBezTo>
                    <a:pt x="348" y="20"/>
                    <a:pt x="348" y="20"/>
                    <a:pt x="327" y="20"/>
                  </a:cubicBezTo>
                  <a:cubicBezTo>
                    <a:pt x="327" y="20"/>
                    <a:pt x="327" y="41"/>
                    <a:pt x="327" y="61"/>
                  </a:cubicBezTo>
                  <a:cubicBezTo>
                    <a:pt x="307" y="61"/>
                    <a:pt x="287" y="61"/>
                    <a:pt x="287" y="61"/>
                  </a:cubicBezTo>
                  <a:cubicBezTo>
                    <a:pt x="266" y="61"/>
                    <a:pt x="266" y="41"/>
                    <a:pt x="245" y="41"/>
                  </a:cubicBezTo>
                  <a:cubicBezTo>
                    <a:pt x="245" y="20"/>
                    <a:pt x="225" y="20"/>
                    <a:pt x="225" y="20"/>
                  </a:cubicBezTo>
                  <a:cubicBezTo>
                    <a:pt x="205" y="20"/>
                    <a:pt x="205" y="41"/>
                    <a:pt x="184" y="41"/>
                  </a:cubicBezTo>
                  <a:cubicBezTo>
                    <a:pt x="163" y="41"/>
                    <a:pt x="143" y="41"/>
                    <a:pt x="143" y="41"/>
                  </a:cubicBezTo>
                  <a:cubicBezTo>
                    <a:pt x="143" y="41"/>
                    <a:pt x="123" y="41"/>
                    <a:pt x="123" y="61"/>
                  </a:cubicBezTo>
                  <a:lnTo>
                    <a:pt x="143" y="61"/>
                  </a:lnTo>
                  <a:cubicBezTo>
                    <a:pt x="163" y="61"/>
                    <a:pt x="143" y="82"/>
                    <a:pt x="143" y="82"/>
                  </a:cubicBezTo>
                  <a:lnTo>
                    <a:pt x="123" y="82"/>
                  </a:lnTo>
                  <a:cubicBezTo>
                    <a:pt x="102" y="82"/>
                    <a:pt x="102" y="82"/>
                    <a:pt x="82" y="82"/>
                  </a:cubicBezTo>
                  <a:cubicBezTo>
                    <a:pt x="82" y="82"/>
                    <a:pt x="82" y="82"/>
                    <a:pt x="61" y="82"/>
                  </a:cubicBezTo>
                  <a:cubicBezTo>
                    <a:pt x="61" y="61"/>
                    <a:pt x="61" y="61"/>
                    <a:pt x="61" y="41"/>
                  </a:cubicBezTo>
                  <a:cubicBezTo>
                    <a:pt x="41" y="41"/>
                    <a:pt x="41" y="20"/>
                    <a:pt x="41" y="20"/>
                  </a:cubicBezTo>
                  <a:cubicBezTo>
                    <a:pt x="21" y="0"/>
                    <a:pt x="21" y="0"/>
                    <a:pt x="21" y="0"/>
                  </a:cubicBezTo>
                  <a:cubicBezTo>
                    <a:pt x="0" y="0"/>
                    <a:pt x="0" y="20"/>
                    <a:pt x="0" y="20"/>
                  </a:cubicBezTo>
                  <a:cubicBezTo>
                    <a:pt x="0" y="41"/>
                    <a:pt x="0" y="61"/>
                    <a:pt x="0" y="61"/>
                  </a:cubicBezTo>
                  <a:cubicBezTo>
                    <a:pt x="21" y="61"/>
                    <a:pt x="21" y="82"/>
                    <a:pt x="41" y="102"/>
                  </a:cubicBezTo>
                  <a:lnTo>
                    <a:pt x="41" y="123"/>
                  </a:lnTo>
                  <a:cubicBezTo>
                    <a:pt x="61" y="143"/>
                    <a:pt x="102" y="123"/>
                    <a:pt x="102" y="143"/>
                  </a:cubicBezTo>
                  <a:cubicBezTo>
                    <a:pt x="123" y="143"/>
                    <a:pt x="143" y="143"/>
                    <a:pt x="163" y="143"/>
                  </a:cubicBezTo>
                  <a:cubicBezTo>
                    <a:pt x="184" y="143"/>
                    <a:pt x="225" y="164"/>
                    <a:pt x="266" y="164"/>
                  </a:cubicBezTo>
                  <a:lnTo>
                    <a:pt x="307" y="184"/>
                  </a:lnTo>
                  <a:cubicBezTo>
                    <a:pt x="327" y="184"/>
                    <a:pt x="369" y="184"/>
                    <a:pt x="389" y="16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0" name="Freeform 147">
              <a:extLst>
                <a:ext uri="{FF2B5EF4-FFF2-40B4-BE49-F238E27FC236}">
                  <a16:creationId xmlns:a16="http://schemas.microsoft.com/office/drawing/2014/main" id="{CDAD978E-CEC2-6248-833C-A637B01D1303}"/>
                </a:ext>
              </a:extLst>
            </p:cNvPr>
            <p:cNvSpPr>
              <a:spLocks noChangeArrowheads="1"/>
            </p:cNvSpPr>
            <p:nvPr/>
          </p:nvSpPr>
          <p:spPr bwMode="auto">
            <a:xfrm>
              <a:off x="4151313" y="1735138"/>
              <a:ext cx="22225" cy="22225"/>
            </a:xfrm>
            <a:custGeom>
              <a:avLst/>
              <a:gdLst>
                <a:gd name="T0" fmla="*/ 41 w 63"/>
                <a:gd name="T1" fmla="*/ 41 h 62"/>
                <a:gd name="T2" fmla="*/ 41 w 63"/>
                <a:gd name="T3" fmla="*/ 41 h 62"/>
                <a:gd name="T4" fmla="*/ 20 w 63"/>
                <a:gd name="T5" fmla="*/ 61 h 62"/>
                <a:gd name="T6" fmla="*/ 20 w 63"/>
                <a:gd name="T7" fmla="*/ 61 h 62"/>
                <a:gd name="T8" fmla="*/ 0 w 63"/>
                <a:gd name="T9" fmla="*/ 21 h 62"/>
                <a:gd name="T10" fmla="*/ 20 w 63"/>
                <a:gd name="T11" fmla="*/ 21 h 62"/>
                <a:gd name="T12" fmla="*/ 20 w 63"/>
                <a:gd name="T13" fmla="*/ 0 h 62"/>
                <a:gd name="T14" fmla="*/ 20 w 63"/>
                <a:gd name="T15" fmla="*/ 0 h 62"/>
                <a:gd name="T16" fmla="*/ 41 w 63"/>
                <a:gd name="T17" fmla="*/ 0 h 62"/>
                <a:gd name="T18" fmla="*/ 62 w 63"/>
                <a:gd name="T19" fmla="*/ 0 h 62"/>
                <a:gd name="T20" fmla="*/ 41 w 63"/>
                <a:gd name="T21" fmla="*/ 21 h 62"/>
                <a:gd name="T22" fmla="*/ 41 w 63"/>
                <a:gd name="T23"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62">
                  <a:moveTo>
                    <a:pt x="41" y="41"/>
                  </a:moveTo>
                  <a:lnTo>
                    <a:pt x="41" y="41"/>
                  </a:lnTo>
                  <a:cubicBezTo>
                    <a:pt x="41" y="41"/>
                    <a:pt x="41" y="41"/>
                    <a:pt x="20" y="61"/>
                  </a:cubicBezTo>
                  <a:lnTo>
                    <a:pt x="20" y="61"/>
                  </a:lnTo>
                  <a:cubicBezTo>
                    <a:pt x="20" y="41"/>
                    <a:pt x="0" y="41"/>
                    <a:pt x="0" y="21"/>
                  </a:cubicBezTo>
                  <a:lnTo>
                    <a:pt x="20" y="21"/>
                  </a:lnTo>
                  <a:cubicBezTo>
                    <a:pt x="20" y="0"/>
                    <a:pt x="20" y="0"/>
                    <a:pt x="20" y="0"/>
                  </a:cubicBezTo>
                  <a:lnTo>
                    <a:pt x="20" y="0"/>
                  </a:lnTo>
                  <a:cubicBezTo>
                    <a:pt x="41" y="0"/>
                    <a:pt x="41" y="0"/>
                    <a:pt x="41" y="0"/>
                  </a:cubicBezTo>
                  <a:lnTo>
                    <a:pt x="62" y="0"/>
                  </a:lnTo>
                  <a:cubicBezTo>
                    <a:pt x="62" y="0"/>
                    <a:pt x="62" y="21"/>
                    <a:pt x="41" y="21"/>
                  </a:cubicBezTo>
                  <a:cubicBezTo>
                    <a:pt x="41" y="21"/>
                    <a:pt x="41" y="21"/>
                    <a:pt x="4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1" name="Freeform 148">
              <a:extLst>
                <a:ext uri="{FF2B5EF4-FFF2-40B4-BE49-F238E27FC236}">
                  <a16:creationId xmlns:a16="http://schemas.microsoft.com/office/drawing/2014/main" id="{2013EFE0-FF80-F048-A867-6C42E581E41D}"/>
                </a:ext>
              </a:extLst>
            </p:cNvPr>
            <p:cNvSpPr>
              <a:spLocks noChangeArrowheads="1"/>
            </p:cNvSpPr>
            <p:nvPr/>
          </p:nvSpPr>
          <p:spPr bwMode="auto">
            <a:xfrm>
              <a:off x="3687763" y="1743075"/>
              <a:ext cx="52387" cy="44450"/>
            </a:xfrm>
            <a:custGeom>
              <a:avLst/>
              <a:gdLst>
                <a:gd name="T0" fmla="*/ 123 w 145"/>
                <a:gd name="T1" fmla="*/ 102 h 123"/>
                <a:gd name="T2" fmla="*/ 123 w 145"/>
                <a:gd name="T3" fmla="*/ 102 h 123"/>
                <a:gd name="T4" fmla="*/ 123 w 145"/>
                <a:gd name="T5" fmla="*/ 82 h 123"/>
                <a:gd name="T6" fmla="*/ 123 w 145"/>
                <a:gd name="T7" fmla="*/ 61 h 123"/>
                <a:gd name="T8" fmla="*/ 123 w 145"/>
                <a:gd name="T9" fmla="*/ 40 h 123"/>
                <a:gd name="T10" fmla="*/ 103 w 145"/>
                <a:gd name="T11" fmla="*/ 20 h 123"/>
                <a:gd name="T12" fmla="*/ 62 w 145"/>
                <a:gd name="T13" fmla="*/ 20 h 123"/>
                <a:gd name="T14" fmla="*/ 41 w 145"/>
                <a:gd name="T15" fmla="*/ 20 h 123"/>
                <a:gd name="T16" fmla="*/ 0 w 145"/>
                <a:gd name="T17" fmla="*/ 20 h 123"/>
                <a:gd name="T18" fmla="*/ 0 w 145"/>
                <a:gd name="T19" fmla="*/ 20 h 123"/>
                <a:gd name="T20" fmla="*/ 0 w 145"/>
                <a:gd name="T21" fmla="*/ 40 h 123"/>
                <a:gd name="T22" fmla="*/ 0 w 145"/>
                <a:gd name="T23" fmla="*/ 61 h 123"/>
                <a:gd name="T24" fmla="*/ 0 w 145"/>
                <a:gd name="T25" fmla="*/ 82 h 123"/>
                <a:gd name="T26" fmla="*/ 21 w 145"/>
                <a:gd name="T27" fmla="*/ 102 h 123"/>
                <a:gd name="T28" fmla="*/ 41 w 145"/>
                <a:gd name="T29" fmla="*/ 122 h 123"/>
                <a:gd name="T30" fmla="*/ 62 w 145"/>
                <a:gd name="T31" fmla="*/ 122 h 123"/>
                <a:gd name="T32" fmla="*/ 103 w 145"/>
                <a:gd name="T33" fmla="*/ 122 h 123"/>
                <a:gd name="T34" fmla="*/ 123 w 145"/>
                <a:gd name="T35" fmla="*/ 10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123">
                  <a:moveTo>
                    <a:pt x="123" y="102"/>
                  </a:moveTo>
                  <a:lnTo>
                    <a:pt x="123" y="102"/>
                  </a:lnTo>
                  <a:cubicBezTo>
                    <a:pt x="144" y="102"/>
                    <a:pt x="123" y="82"/>
                    <a:pt x="123" y="82"/>
                  </a:cubicBezTo>
                  <a:lnTo>
                    <a:pt x="123" y="61"/>
                  </a:lnTo>
                  <a:cubicBezTo>
                    <a:pt x="123" y="40"/>
                    <a:pt x="123" y="40"/>
                    <a:pt x="123" y="40"/>
                  </a:cubicBezTo>
                  <a:cubicBezTo>
                    <a:pt x="103" y="20"/>
                    <a:pt x="103" y="20"/>
                    <a:pt x="103" y="20"/>
                  </a:cubicBezTo>
                  <a:cubicBezTo>
                    <a:pt x="82" y="0"/>
                    <a:pt x="82" y="20"/>
                    <a:pt x="62" y="20"/>
                  </a:cubicBezTo>
                  <a:lnTo>
                    <a:pt x="41" y="20"/>
                  </a:lnTo>
                  <a:cubicBezTo>
                    <a:pt x="41" y="20"/>
                    <a:pt x="21" y="0"/>
                    <a:pt x="0" y="20"/>
                  </a:cubicBezTo>
                  <a:lnTo>
                    <a:pt x="0" y="20"/>
                  </a:lnTo>
                  <a:lnTo>
                    <a:pt x="0" y="40"/>
                  </a:lnTo>
                  <a:lnTo>
                    <a:pt x="0" y="61"/>
                  </a:lnTo>
                  <a:lnTo>
                    <a:pt x="0" y="82"/>
                  </a:lnTo>
                  <a:lnTo>
                    <a:pt x="21" y="102"/>
                  </a:lnTo>
                  <a:cubicBezTo>
                    <a:pt x="21" y="102"/>
                    <a:pt x="41" y="102"/>
                    <a:pt x="41" y="122"/>
                  </a:cubicBezTo>
                  <a:lnTo>
                    <a:pt x="62" y="122"/>
                  </a:lnTo>
                  <a:cubicBezTo>
                    <a:pt x="82" y="122"/>
                    <a:pt x="103" y="122"/>
                    <a:pt x="103" y="122"/>
                  </a:cubicBezTo>
                  <a:cubicBezTo>
                    <a:pt x="123" y="122"/>
                    <a:pt x="123" y="102"/>
                    <a:pt x="123" y="10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2" name="Freeform 149">
              <a:extLst>
                <a:ext uri="{FF2B5EF4-FFF2-40B4-BE49-F238E27FC236}">
                  <a16:creationId xmlns:a16="http://schemas.microsoft.com/office/drawing/2014/main" id="{B46025C2-B7AB-7D4E-AC3E-9CE4C0FED677}"/>
                </a:ext>
              </a:extLst>
            </p:cNvPr>
            <p:cNvSpPr>
              <a:spLocks noChangeArrowheads="1"/>
            </p:cNvSpPr>
            <p:nvPr/>
          </p:nvSpPr>
          <p:spPr bwMode="auto">
            <a:xfrm>
              <a:off x="2514600" y="2052638"/>
              <a:ext cx="52388" cy="36512"/>
            </a:xfrm>
            <a:custGeom>
              <a:avLst/>
              <a:gdLst>
                <a:gd name="T0" fmla="*/ 143 w 144"/>
                <a:gd name="T1" fmla="*/ 61 h 103"/>
                <a:gd name="T2" fmla="*/ 143 w 144"/>
                <a:gd name="T3" fmla="*/ 61 h 103"/>
                <a:gd name="T4" fmla="*/ 143 w 144"/>
                <a:gd name="T5" fmla="*/ 20 h 103"/>
                <a:gd name="T6" fmla="*/ 103 w 144"/>
                <a:gd name="T7" fmla="*/ 0 h 103"/>
                <a:gd name="T8" fmla="*/ 61 w 144"/>
                <a:gd name="T9" fmla="*/ 0 h 103"/>
                <a:gd name="T10" fmla="*/ 41 w 144"/>
                <a:gd name="T11" fmla="*/ 20 h 103"/>
                <a:gd name="T12" fmla="*/ 21 w 144"/>
                <a:gd name="T13" fmla="*/ 41 h 103"/>
                <a:gd name="T14" fmla="*/ 21 w 144"/>
                <a:gd name="T15" fmla="*/ 61 h 103"/>
                <a:gd name="T16" fmla="*/ 21 w 144"/>
                <a:gd name="T17" fmla="*/ 82 h 103"/>
                <a:gd name="T18" fmla="*/ 41 w 144"/>
                <a:gd name="T19" fmla="*/ 102 h 103"/>
                <a:gd name="T20" fmla="*/ 61 w 144"/>
                <a:gd name="T21" fmla="*/ 102 h 103"/>
                <a:gd name="T22" fmla="*/ 82 w 144"/>
                <a:gd name="T23" fmla="*/ 82 h 103"/>
                <a:gd name="T24" fmla="*/ 103 w 144"/>
                <a:gd name="T25" fmla="*/ 82 h 103"/>
                <a:gd name="T26" fmla="*/ 123 w 144"/>
                <a:gd name="T27" fmla="*/ 61 h 103"/>
                <a:gd name="T28" fmla="*/ 143 w 144"/>
                <a:gd name="T29" fmla="*/ 61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03">
                  <a:moveTo>
                    <a:pt x="143" y="61"/>
                  </a:moveTo>
                  <a:lnTo>
                    <a:pt x="143" y="61"/>
                  </a:lnTo>
                  <a:cubicBezTo>
                    <a:pt x="143" y="41"/>
                    <a:pt x="143" y="20"/>
                    <a:pt x="143" y="20"/>
                  </a:cubicBezTo>
                  <a:cubicBezTo>
                    <a:pt x="123" y="20"/>
                    <a:pt x="123" y="0"/>
                    <a:pt x="103" y="0"/>
                  </a:cubicBezTo>
                  <a:cubicBezTo>
                    <a:pt x="103" y="0"/>
                    <a:pt x="82" y="0"/>
                    <a:pt x="61" y="0"/>
                  </a:cubicBezTo>
                  <a:cubicBezTo>
                    <a:pt x="61" y="20"/>
                    <a:pt x="61" y="20"/>
                    <a:pt x="41" y="20"/>
                  </a:cubicBezTo>
                  <a:cubicBezTo>
                    <a:pt x="41" y="20"/>
                    <a:pt x="41" y="41"/>
                    <a:pt x="21" y="41"/>
                  </a:cubicBezTo>
                  <a:lnTo>
                    <a:pt x="21" y="61"/>
                  </a:lnTo>
                  <a:cubicBezTo>
                    <a:pt x="0" y="61"/>
                    <a:pt x="21" y="82"/>
                    <a:pt x="21" y="82"/>
                  </a:cubicBezTo>
                  <a:cubicBezTo>
                    <a:pt x="21" y="82"/>
                    <a:pt x="21" y="102"/>
                    <a:pt x="41" y="102"/>
                  </a:cubicBezTo>
                  <a:lnTo>
                    <a:pt x="61" y="102"/>
                  </a:lnTo>
                  <a:lnTo>
                    <a:pt x="82" y="82"/>
                  </a:lnTo>
                  <a:lnTo>
                    <a:pt x="103" y="82"/>
                  </a:lnTo>
                  <a:cubicBezTo>
                    <a:pt x="123" y="82"/>
                    <a:pt x="123" y="61"/>
                    <a:pt x="123" y="61"/>
                  </a:cubicBezTo>
                  <a:cubicBezTo>
                    <a:pt x="143" y="61"/>
                    <a:pt x="143" y="61"/>
                    <a:pt x="143"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3" name="Freeform 150">
              <a:extLst>
                <a:ext uri="{FF2B5EF4-FFF2-40B4-BE49-F238E27FC236}">
                  <a16:creationId xmlns:a16="http://schemas.microsoft.com/office/drawing/2014/main" id="{2F6587D5-EBCE-A546-9A36-4B7CD2627E6E}"/>
                </a:ext>
              </a:extLst>
            </p:cNvPr>
            <p:cNvSpPr>
              <a:spLocks noChangeArrowheads="1"/>
            </p:cNvSpPr>
            <p:nvPr/>
          </p:nvSpPr>
          <p:spPr bwMode="auto">
            <a:xfrm>
              <a:off x="2581275" y="2024063"/>
              <a:ext cx="30163" cy="30162"/>
            </a:xfrm>
            <a:custGeom>
              <a:avLst/>
              <a:gdLst>
                <a:gd name="T0" fmla="*/ 61 w 83"/>
                <a:gd name="T1" fmla="*/ 82 h 83"/>
                <a:gd name="T2" fmla="*/ 61 w 83"/>
                <a:gd name="T3" fmla="*/ 82 h 83"/>
                <a:gd name="T4" fmla="*/ 40 w 83"/>
                <a:gd name="T5" fmla="*/ 62 h 83"/>
                <a:gd name="T6" fmla="*/ 0 w 83"/>
                <a:gd name="T7" fmla="*/ 62 h 83"/>
                <a:gd name="T8" fmla="*/ 0 w 83"/>
                <a:gd name="T9" fmla="*/ 41 h 83"/>
                <a:gd name="T10" fmla="*/ 0 w 83"/>
                <a:gd name="T11" fmla="*/ 0 h 83"/>
                <a:gd name="T12" fmla="*/ 40 w 83"/>
                <a:gd name="T13" fmla="*/ 0 h 83"/>
                <a:gd name="T14" fmla="*/ 61 w 83"/>
                <a:gd name="T15" fmla="*/ 0 h 83"/>
                <a:gd name="T16" fmla="*/ 82 w 83"/>
                <a:gd name="T17" fmla="*/ 20 h 83"/>
                <a:gd name="T18" fmla="*/ 82 w 83"/>
                <a:gd name="T19" fmla="*/ 41 h 83"/>
                <a:gd name="T20" fmla="*/ 82 w 83"/>
                <a:gd name="T21" fmla="*/ 62 h 83"/>
                <a:gd name="T22" fmla="*/ 61 w 83"/>
                <a:gd name="T23"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3">
                  <a:moveTo>
                    <a:pt x="61" y="82"/>
                  </a:moveTo>
                  <a:lnTo>
                    <a:pt x="61" y="82"/>
                  </a:lnTo>
                  <a:cubicBezTo>
                    <a:pt x="40" y="82"/>
                    <a:pt x="40" y="62"/>
                    <a:pt x="40" y="62"/>
                  </a:cubicBezTo>
                  <a:cubicBezTo>
                    <a:pt x="20" y="62"/>
                    <a:pt x="20" y="62"/>
                    <a:pt x="0" y="62"/>
                  </a:cubicBezTo>
                  <a:cubicBezTo>
                    <a:pt x="0" y="41"/>
                    <a:pt x="0" y="41"/>
                    <a:pt x="0" y="41"/>
                  </a:cubicBezTo>
                  <a:cubicBezTo>
                    <a:pt x="0" y="20"/>
                    <a:pt x="0" y="20"/>
                    <a:pt x="0" y="0"/>
                  </a:cubicBezTo>
                  <a:cubicBezTo>
                    <a:pt x="0" y="0"/>
                    <a:pt x="20" y="0"/>
                    <a:pt x="40" y="0"/>
                  </a:cubicBezTo>
                  <a:lnTo>
                    <a:pt x="61" y="0"/>
                  </a:lnTo>
                  <a:lnTo>
                    <a:pt x="82" y="20"/>
                  </a:lnTo>
                  <a:lnTo>
                    <a:pt x="82" y="41"/>
                  </a:lnTo>
                  <a:lnTo>
                    <a:pt x="82" y="62"/>
                  </a:lnTo>
                  <a:lnTo>
                    <a:pt x="61"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4" name="Freeform 151">
              <a:extLst>
                <a:ext uri="{FF2B5EF4-FFF2-40B4-BE49-F238E27FC236}">
                  <a16:creationId xmlns:a16="http://schemas.microsoft.com/office/drawing/2014/main" id="{6431D0EF-72C4-7142-B3E0-BB528E0B8959}"/>
                </a:ext>
              </a:extLst>
            </p:cNvPr>
            <p:cNvSpPr>
              <a:spLocks noChangeArrowheads="1"/>
            </p:cNvSpPr>
            <p:nvPr/>
          </p:nvSpPr>
          <p:spPr bwMode="auto">
            <a:xfrm>
              <a:off x="2603500" y="1779588"/>
              <a:ext cx="22225" cy="30162"/>
            </a:xfrm>
            <a:custGeom>
              <a:avLst/>
              <a:gdLst>
                <a:gd name="T0" fmla="*/ 41 w 62"/>
                <a:gd name="T1" fmla="*/ 62 h 83"/>
                <a:gd name="T2" fmla="*/ 41 w 62"/>
                <a:gd name="T3" fmla="*/ 62 h 83"/>
                <a:gd name="T4" fmla="*/ 61 w 62"/>
                <a:gd name="T5" fmla="*/ 20 h 83"/>
                <a:gd name="T6" fmla="*/ 41 w 62"/>
                <a:gd name="T7" fmla="*/ 0 h 83"/>
                <a:gd name="T8" fmla="*/ 21 w 62"/>
                <a:gd name="T9" fmla="*/ 0 h 83"/>
                <a:gd name="T10" fmla="*/ 21 w 62"/>
                <a:gd name="T11" fmla="*/ 20 h 83"/>
                <a:gd name="T12" fmla="*/ 0 w 62"/>
                <a:gd name="T13" fmla="*/ 20 h 83"/>
                <a:gd name="T14" fmla="*/ 0 w 62"/>
                <a:gd name="T15" fmla="*/ 41 h 83"/>
                <a:gd name="T16" fmla="*/ 0 w 62"/>
                <a:gd name="T17" fmla="*/ 62 h 83"/>
                <a:gd name="T18" fmla="*/ 21 w 62"/>
                <a:gd name="T19" fmla="*/ 82 h 83"/>
                <a:gd name="T20" fmla="*/ 41 w 62"/>
                <a:gd name="T21"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41" y="62"/>
                  </a:moveTo>
                  <a:lnTo>
                    <a:pt x="41" y="62"/>
                  </a:lnTo>
                  <a:cubicBezTo>
                    <a:pt x="41" y="41"/>
                    <a:pt x="61" y="41"/>
                    <a:pt x="61" y="20"/>
                  </a:cubicBezTo>
                  <a:cubicBezTo>
                    <a:pt x="61" y="20"/>
                    <a:pt x="61" y="0"/>
                    <a:pt x="41" y="0"/>
                  </a:cubicBezTo>
                  <a:cubicBezTo>
                    <a:pt x="41" y="0"/>
                    <a:pt x="41" y="0"/>
                    <a:pt x="21" y="0"/>
                  </a:cubicBezTo>
                  <a:cubicBezTo>
                    <a:pt x="21" y="0"/>
                    <a:pt x="21" y="0"/>
                    <a:pt x="21" y="20"/>
                  </a:cubicBezTo>
                  <a:lnTo>
                    <a:pt x="0" y="20"/>
                  </a:lnTo>
                  <a:lnTo>
                    <a:pt x="0" y="41"/>
                  </a:lnTo>
                  <a:lnTo>
                    <a:pt x="0" y="62"/>
                  </a:lnTo>
                  <a:cubicBezTo>
                    <a:pt x="21" y="62"/>
                    <a:pt x="21" y="82"/>
                    <a:pt x="21" y="82"/>
                  </a:cubicBezTo>
                  <a:lnTo>
                    <a:pt x="41"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5" name="Freeform 152">
              <a:extLst>
                <a:ext uri="{FF2B5EF4-FFF2-40B4-BE49-F238E27FC236}">
                  <a16:creationId xmlns:a16="http://schemas.microsoft.com/office/drawing/2014/main" id="{F9E4BB15-22B2-9E43-BAF7-0ACD49014B60}"/>
                </a:ext>
              </a:extLst>
            </p:cNvPr>
            <p:cNvSpPr>
              <a:spLocks noChangeArrowheads="1"/>
            </p:cNvSpPr>
            <p:nvPr/>
          </p:nvSpPr>
          <p:spPr bwMode="auto">
            <a:xfrm>
              <a:off x="3038475" y="1662113"/>
              <a:ext cx="30163" cy="22225"/>
            </a:xfrm>
            <a:custGeom>
              <a:avLst/>
              <a:gdLst>
                <a:gd name="T0" fmla="*/ 61 w 83"/>
                <a:gd name="T1" fmla="*/ 20 h 63"/>
                <a:gd name="T2" fmla="*/ 61 w 83"/>
                <a:gd name="T3" fmla="*/ 20 h 63"/>
                <a:gd name="T4" fmla="*/ 82 w 83"/>
                <a:gd name="T5" fmla="*/ 62 h 63"/>
                <a:gd name="T6" fmla="*/ 41 w 83"/>
                <a:gd name="T7" fmla="*/ 41 h 63"/>
                <a:gd name="T8" fmla="*/ 21 w 83"/>
                <a:gd name="T9" fmla="*/ 41 h 63"/>
                <a:gd name="T10" fmla="*/ 0 w 83"/>
                <a:gd name="T11" fmla="*/ 20 h 63"/>
                <a:gd name="T12" fmla="*/ 21 w 83"/>
                <a:gd name="T13" fmla="*/ 0 h 63"/>
                <a:gd name="T14" fmla="*/ 41 w 83"/>
                <a:gd name="T15" fmla="*/ 0 h 63"/>
                <a:gd name="T16" fmla="*/ 41 w 83"/>
                <a:gd name="T17" fmla="*/ 20 h 63"/>
                <a:gd name="T18" fmla="*/ 61 w 83"/>
                <a:gd name="T19"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63">
                  <a:moveTo>
                    <a:pt x="61" y="20"/>
                  </a:moveTo>
                  <a:lnTo>
                    <a:pt x="61" y="20"/>
                  </a:lnTo>
                  <a:cubicBezTo>
                    <a:pt x="82" y="41"/>
                    <a:pt x="82" y="41"/>
                    <a:pt x="82" y="62"/>
                  </a:cubicBezTo>
                  <a:cubicBezTo>
                    <a:pt x="61" y="62"/>
                    <a:pt x="61" y="41"/>
                    <a:pt x="41" y="41"/>
                  </a:cubicBezTo>
                  <a:lnTo>
                    <a:pt x="21" y="41"/>
                  </a:lnTo>
                  <a:lnTo>
                    <a:pt x="0" y="20"/>
                  </a:lnTo>
                  <a:lnTo>
                    <a:pt x="21" y="0"/>
                  </a:lnTo>
                  <a:lnTo>
                    <a:pt x="41" y="0"/>
                  </a:lnTo>
                  <a:lnTo>
                    <a:pt x="41" y="20"/>
                  </a:lnTo>
                  <a:lnTo>
                    <a:pt x="6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6" name="Freeform 153">
              <a:extLst>
                <a:ext uri="{FF2B5EF4-FFF2-40B4-BE49-F238E27FC236}">
                  <a16:creationId xmlns:a16="http://schemas.microsoft.com/office/drawing/2014/main" id="{FF7730B5-279A-ED43-AF83-8688113B7B4E}"/>
                </a:ext>
              </a:extLst>
            </p:cNvPr>
            <p:cNvSpPr>
              <a:spLocks noChangeArrowheads="1"/>
            </p:cNvSpPr>
            <p:nvPr/>
          </p:nvSpPr>
          <p:spPr bwMode="auto">
            <a:xfrm>
              <a:off x="3038475" y="1631950"/>
              <a:ext cx="15875" cy="7938"/>
            </a:xfrm>
            <a:custGeom>
              <a:avLst/>
              <a:gdLst>
                <a:gd name="T0" fmla="*/ 41 w 42"/>
                <a:gd name="T1" fmla="*/ 0 h 21"/>
                <a:gd name="T2" fmla="*/ 41 w 42"/>
                <a:gd name="T3" fmla="*/ 0 h 21"/>
                <a:gd name="T4" fmla="*/ 21 w 42"/>
                <a:gd name="T5" fmla="*/ 20 h 21"/>
                <a:gd name="T6" fmla="*/ 0 w 42"/>
                <a:gd name="T7" fmla="*/ 20 h 21"/>
                <a:gd name="T8" fmla="*/ 0 w 42"/>
                <a:gd name="T9" fmla="*/ 0 h 21"/>
                <a:gd name="T10" fmla="*/ 21 w 42"/>
                <a:gd name="T11" fmla="*/ 0 h 21"/>
                <a:gd name="T12" fmla="*/ 41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41" y="0"/>
                  </a:moveTo>
                  <a:lnTo>
                    <a:pt x="41" y="0"/>
                  </a:lnTo>
                  <a:cubicBezTo>
                    <a:pt x="41" y="20"/>
                    <a:pt x="41" y="20"/>
                    <a:pt x="21" y="20"/>
                  </a:cubicBezTo>
                  <a:cubicBezTo>
                    <a:pt x="21" y="20"/>
                    <a:pt x="21" y="20"/>
                    <a:pt x="0" y="20"/>
                  </a:cubicBezTo>
                  <a:lnTo>
                    <a:pt x="0" y="0"/>
                  </a:lnTo>
                  <a:cubicBezTo>
                    <a:pt x="21" y="0"/>
                    <a:pt x="21" y="0"/>
                    <a:pt x="21" y="0"/>
                  </a:cubicBezTo>
                  <a:lnTo>
                    <a:pt x="4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7" name="Freeform 154">
              <a:extLst>
                <a:ext uri="{FF2B5EF4-FFF2-40B4-BE49-F238E27FC236}">
                  <a16:creationId xmlns:a16="http://schemas.microsoft.com/office/drawing/2014/main" id="{39C8129A-863C-004A-B60D-1566E4B45921}"/>
                </a:ext>
              </a:extLst>
            </p:cNvPr>
            <p:cNvSpPr>
              <a:spLocks noChangeArrowheads="1"/>
            </p:cNvSpPr>
            <p:nvPr/>
          </p:nvSpPr>
          <p:spPr bwMode="auto">
            <a:xfrm>
              <a:off x="3016250" y="1625600"/>
              <a:ext cx="14288" cy="14288"/>
            </a:xfrm>
            <a:custGeom>
              <a:avLst/>
              <a:gdLst>
                <a:gd name="T0" fmla="*/ 40 w 41"/>
                <a:gd name="T1" fmla="*/ 40 h 41"/>
                <a:gd name="T2" fmla="*/ 40 w 41"/>
                <a:gd name="T3" fmla="*/ 40 h 41"/>
                <a:gd name="T4" fmla="*/ 20 w 41"/>
                <a:gd name="T5" fmla="*/ 20 h 41"/>
                <a:gd name="T6" fmla="*/ 0 w 41"/>
                <a:gd name="T7" fmla="*/ 0 h 41"/>
                <a:gd name="T8" fmla="*/ 20 w 41"/>
                <a:gd name="T9" fmla="*/ 0 h 41"/>
                <a:gd name="T10" fmla="*/ 40 w 41"/>
                <a:gd name="T11" fmla="*/ 0 h 41"/>
                <a:gd name="T12" fmla="*/ 40 w 41"/>
                <a:gd name="T13" fmla="*/ 20 h 41"/>
                <a:gd name="T14" fmla="*/ 40 w 41"/>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40" y="40"/>
                  </a:moveTo>
                  <a:lnTo>
                    <a:pt x="40" y="40"/>
                  </a:lnTo>
                  <a:lnTo>
                    <a:pt x="20" y="20"/>
                  </a:lnTo>
                  <a:cubicBezTo>
                    <a:pt x="20" y="20"/>
                    <a:pt x="0" y="20"/>
                    <a:pt x="0" y="0"/>
                  </a:cubicBezTo>
                  <a:lnTo>
                    <a:pt x="20" y="0"/>
                  </a:lnTo>
                  <a:lnTo>
                    <a:pt x="40" y="0"/>
                  </a:lnTo>
                  <a:lnTo>
                    <a:pt x="40" y="20"/>
                  </a:lnTo>
                  <a:lnTo>
                    <a:pt x="40"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8" name="Freeform 155">
              <a:extLst>
                <a:ext uri="{FF2B5EF4-FFF2-40B4-BE49-F238E27FC236}">
                  <a16:creationId xmlns:a16="http://schemas.microsoft.com/office/drawing/2014/main" id="{6EA8DAB2-00AD-A540-86A5-2D6E15AEBAA3}"/>
                </a:ext>
              </a:extLst>
            </p:cNvPr>
            <p:cNvSpPr>
              <a:spLocks noChangeArrowheads="1"/>
            </p:cNvSpPr>
            <p:nvPr/>
          </p:nvSpPr>
          <p:spPr bwMode="auto">
            <a:xfrm>
              <a:off x="3000375" y="1589088"/>
              <a:ext cx="38100" cy="30162"/>
            </a:xfrm>
            <a:custGeom>
              <a:avLst/>
              <a:gdLst>
                <a:gd name="T0" fmla="*/ 62 w 104"/>
                <a:gd name="T1" fmla="*/ 82 h 83"/>
                <a:gd name="T2" fmla="*/ 62 w 104"/>
                <a:gd name="T3" fmla="*/ 82 h 83"/>
                <a:gd name="T4" fmla="*/ 62 w 104"/>
                <a:gd name="T5" fmla="*/ 61 h 83"/>
                <a:gd name="T6" fmla="*/ 82 w 104"/>
                <a:gd name="T7" fmla="*/ 41 h 83"/>
                <a:gd name="T8" fmla="*/ 103 w 104"/>
                <a:gd name="T9" fmla="*/ 21 h 83"/>
                <a:gd name="T10" fmla="*/ 103 w 104"/>
                <a:gd name="T11" fmla="*/ 0 h 83"/>
                <a:gd name="T12" fmla="*/ 62 w 104"/>
                <a:gd name="T13" fmla="*/ 0 h 83"/>
                <a:gd name="T14" fmla="*/ 42 w 104"/>
                <a:gd name="T15" fmla="*/ 0 h 83"/>
                <a:gd name="T16" fmla="*/ 21 w 104"/>
                <a:gd name="T17" fmla="*/ 21 h 83"/>
                <a:gd name="T18" fmla="*/ 0 w 104"/>
                <a:gd name="T19" fmla="*/ 41 h 83"/>
                <a:gd name="T20" fmla="*/ 0 w 104"/>
                <a:gd name="T21" fmla="*/ 61 h 83"/>
                <a:gd name="T22" fmla="*/ 21 w 104"/>
                <a:gd name="T23" fmla="*/ 61 h 83"/>
                <a:gd name="T24" fmla="*/ 42 w 104"/>
                <a:gd name="T25" fmla="*/ 61 h 83"/>
                <a:gd name="T26" fmla="*/ 42 w 104"/>
                <a:gd name="T27" fmla="*/ 82 h 83"/>
                <a:gd name="T28" fmla="*/ 62 w 104"/>
                <a:gd name="T29"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83">
                  <a:moveTo>
                    <a:pt x="62" y="82"/>
                  </a:moveTo>
                  <a:lnTo>
                    <a:pt x="62" y="82"/>
                  </a:lnTo>
                  <a:lnTo>
                    <a:pt x="62" y="61"/>
                  </a:lnTo>
                  <a:lnTo>
                    <a:pt x="82" y="41"/>
                  </a:lnTo>
                  <a:cubicBezTo>
                    <a:pt x="82" y="41"/>
                    <a:pt x="103" y="41"/>
                    <a:pt x="103" y="21"/>
                  </a:cubicBezTo>
                  <a:cubicBezTo>
                    <a:pt x="103" y="21"/>
                    <a:pt x="103" y="21"/>
                    <a:pt x="103" y="0"/>
                  </a:cubicBezTo>
                  <a:cubicBezTo>
                    <a:pt x="103" y="0"/>
                    <a:pt x="82" y="0"/>
                    <a:pt x="62" y="0"/>
                  </a:cubicBezTo>
                  <a:lnTo>
                    <a:pt x="42" y="0"/>
                  </a:lnTo>
                  <a:cubicBezTo>
                    <a:pt x="42" y="21"/>
                    <a:pt x="21" y="21"/>
                    <a:pt x="21" y="21"/>
                  </a:cubicBezTo>
                  <a:lnTo>
                    <a:pt x="0" y="41"/>
                  </a:lnTo>
                  <a:lnTo>
                    <a:pt x="0" y="61"/>
                  </a:lnTo>
                  <a:lnTo>
                    <a:pt x="21" y="61"/>
                  </a:lnTo>
                  <a:lnTo>
                    <a:pt x="42" y="61"/>
                  </a:lnTo>
                  <a:lnTo>
                    <a:pt x="42" y="82"/>
                  </a:lnTo>
                  <a:lnTo>
                    <a:pt x="62"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59" name="Freeform 156">
              <a:extLst>
                <a:ext uri="{FF2B5EF4-FFF2-40B4-BE49-F238E27FC236}">
                  <a16:creationId xmlns:a16="http://schemas.microsoft.com/office/drawing/2014/main" id="{2049B360-E720-0745-8D63-0BCB311B7B76}"/>
                </a:ext>
              </a:extLst>
            </p:cNvPr>
            <p:cNvSpPr>
              <a:spLocks noChangeArrowheads="1"/>
            </p:cNvSpPr>
            <p:nvPr/>
          </p:nvSpPr>
          <p:spPr bwMode="auto">
            <a:xfrm>
              <a:off x="3000375" y="1631950"/>
              <a:ext cx="15875" cy="15875"/>
            </a:xfrm>
            <a:custGeom>
              <a:avLst/>
              <a:gdLst>
                <a:gd name="T0" fmla="*/ 42 w 43"/>
                <a:gd name="T1" fmla="*/ 20 h 42"/>
                <a:gd name="T2" fmla="*/ 42 w 43"/>
                <a:gd name="T3" fmla="*/ 20 h 42"/>
                <a:gd name="T4" fmla="*/ 0 w 43"/>
                <a:gd name="T5" fmla="*/ 41 h 42"/>
                <a:gd name="T6" fmla="*/ 0 w 43"/>
                <a:gd name="T7" fmla="*/ 20 h 42"/>
                <a:gd name="T8" fmla="*/ 0 w 43"/>
                <a:gd name="T9" fmla="*/ 0 h 42"/>
                <a:gd name="T10" fmla="*/ 21 w 43"/>
                <a:gd name="T11" fmla="*/ 0 h 42"/>
                <a:gd name="T12" fmla="*/ 21 w 43"/>
                <a:gd name="T13" fmla="*/ 20 h 42"/>
                <a:gd name="T14" fmla="*/ 42 w 43"/>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2">
                  <a:moveTo>
                    <a:pt x="42" y="20"/>
                  </a:moveTo>
                  <a:lnTo>
                    <a:pt x="42" y="20"/>
                  </a:lnTo>
                  <a:cubicBezTo>
                    <a:pt x="21" y="41"/>
                    <a:pt x="21" y="41"/>
                    <a:pt x="0" y="41"/>
                  </a:cubicBezTo>
                  <a:lnTo>
                    <a:pt x="0" y="20"/>
                  </a:lnTo>
                  <a:lnTo>
                    <a:pt x="0" y="0"/>
                  </a:lnTo>
                  <a:cubicBezTo>
                    <a:pt x="0" y="0"/>
                    <a:pt x="0" y="0"/>
                    <a:pt x="21" y="0"/>
                  </a:cubicBezTo>
                  <a:cubicBezTo>
                    <a:pt x="21" y="0"/>
                    <a:pt x="21" y="0"/>
                    <a:pt x="21" y="20"/>
                  </a:cubicBezTo>
                  <a:lnTo>
                    <a:pt x="42"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0" name="Freeform 157">
              <a:extLst>
                <a:ext uri="{FF2B5EF4-FFF2-40B4-BE49-F238E27FC236}">
                  <a16:creationId xmlns:a16="http://schemas.microsoft.com/office/drawing/2014/main" id="{E2D4F857-DCF5-C24C-9891-9333803CBB0B}"/>
                </a:ext>
              </a:extLst>
            </p:cNvPr>
            <p:cNvSpPr>
              <a:spLocks noChangeArrowheads="1"/>
            </p:cNvSpPr>
            <p:nvPr/>
          </p:nvSpPr>
          <p:spPr bwMode="auto">
            <a:xfrm>
              <a:off x="3082925" y="1617663"/>
              <a:ext cx="7938" cy="22225"/>
            </a:xfrm>
            <a:custGeom>
              <a:avLst/>
              <a:gdLst>
                <a:gd name="T0" fmla="*/ 20 w 21"/>
                <a:gd name="T1" fmla="*/ 61 h 62"/>
                <a:gd name="T2" fmla="*/ 20 w 21"/>
                <a:gd name="T3" fmla="*/ 61 h 62"/>
                <a:gd name="T4" fmla="*/ 20 w 21"/>
                <a:gd name="T5" fmla="*/ 21 h 62"/>
                <a:gd name="T6" fmla="*/ 20 w 21"/>
                <a:gd name="T7" fmla="*/ 0 h 62"/>
                <a:gd name="T8" fmla="*/ 0 w 21"/>
                <a:gd name="T9" fmla="*/ 21 h 62"/>
                <a:gd name="T10" fmla="*/ 0 w 21"/>
                <a:gd name="T11" fmla="*/ 41 h 62"/>
                <a:gd name="T12" fmla="*/ 20 w 21"/>
                <a:gd name="T13" fmla="*/ 61 h 62"/>
              </a:gdLst>
              <a:ahLst/>
              <a:cxnLst>
                <a:cxn ang="0">
                  <a:pos x="T0" y="T1"/>
                </a:cxn>
                <a:cxn ang="0">
                  <a:pos x="T2" y="T3"/>
                </a:cxn>
                <a:cxn ang="0">
                  <a:pos x="T4" y="T5"/>
                </a:cxn>
                <a:cxn ang="0">
                  <a:pos x="T6" y="T7"/>
                </a:cxn>
                <a:cxn ang="0">
                  <a:pos x="T8" y="T9"/>
                </a:cxn>
                <a:cxn ang="0">
                  <a:pos x="T10" y="T11"/>
                </a:cxn>
                <a:cxn ang="0">
                  <a:pos x="T12" y="T13"/>
                </a:cxn>
              </a:cxnLst>
              <a:rect l="0" t="0" r="r" b="b"/>
              <a:pathLst>
                <a:path w="21" h="62">
                  <a:moveTo>
                    <a:pt x="20" y="61"/>
                  </a:moveTo>
                  <a:lnTo>
                    <a:pt x="20" y="61"/>
                  </a:lnTo>
                  <a:cubicBezTo>
                    <a:pt x="20" y="41"/>
                    <a:pt x="20" y="41"/>
                    <a:pt x="20" y="21"/>
                  </a:cubicBezTo>
                  <a:lnTo>
                    <a:pt x="20" y="0"/>
                  </a:lnTo>
                  <a:cubicBezTo>
                    <a:pt x="0" y="0"/>
                    <a:pt x="0" y="21"/>
                    <a:pt x="0" y="21"/>
                  </a:cubicBezTo>
                  <a:lnTo>
                    <a:pt x="0" y="41"/>
                  </a:lnTo>
                  <a:cubicBezTo>
                    <a:pt x="0" y="61"/>
                    <a:pt x="0" y="61"/>
                    <a:pt x="20"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1" name="Freeform 158">
              <a:extLst>
                <a:ext uri="{FF2B5EF4-FFF2-40B4-BE49-F238E27FC236}">
                  <a16:creationId xmlns:a16="http://schemas.microsoft.com/office/drawing/2014/main" id="{D66B2AB0-6E4F-BF4B-9BB3-E29E8EE81E12}"/>
                </a:ext>
              </a:extLst>
            </p:cNvPr>
            <p:cNvSpPr>
              <a:spLocks noChangeArrowheads="1"/>
            </p:cNvSpPr>
            <p:nvPr/>
          </p:nvSpPr>
          <p:spPr bwMode="auto">
            <a:xfrm>
              <a:off x="3074988" y="1654175"/>
              <a:ext cx="14287" cy="14288"/>
            </a:xfrm>
            <a:custGeom>
              <a:avLst/>
              <a:gdLst>
                <a:gd name="T0" fmla="*/ 40 w 41"/>
                <a:gd name="T1" fmla="*/ 0 h 41"/>
                <a:gd name="T2" fmla="*/ 40 w 41"/>
                <a:gd name="T3" fmla="*/ 0 h 41"/>
                <a:gd name="T4" fmla="*/ 20 w 41"/>
                <a:gd name="T5" fmla="*/ 20 h 41"/>
                <a:gd name="T6" fmla="*/ 20 w 41"/>
                <a:gd name="T7" fmla="*/ 40 h 41"/>
                <a:gd name="T8" fmla="*/ 20 w 41"/>
                <a:gd name="T9" fmla="*/ 40 h 41"/>
                <a:gd name="T10" fmla="*/ 40 w 41"/>
                <a:gd name="T11" fmla="*/ 20 h 41"/>
                <a:gd name="T12" fmla="*/ 40 w 41"/>
                <a:gd name="T13" fmla="*/ 20 h 41"/>
                <a:gd name="T14" fmla="*/ 40 w 41"/>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40" y="0"/>
                  </a:moveTo>
                  <a:lnTo>
                    <a:pt x="40" y="0"/>
                  </a:lnTo>
                  <a:cubicBezTo>
                    <a:pt x="20" y="0"/>
                    <a:pt x="20" y="0"/>
                    <a:pt x="20" y="20"/>
                  </a:cubicBezTo>
                  <a:cubicBezTo>
                    <a:pt x="0" y="20"/>
                    <a:pt x="20" y="20"/>
                    <a:pt x="20" y="40"/>
                  </a:cubicBezTo>
                  <a:lnTo>
                    <a:pt x="20" y="40"/>
                  </a:lnTo>
                  <a:cubicBezTo>
                    <a:pt x="40" y="40"/>
                    <a:pt x="40" y="40"/>
                    <a:pt x="40" y="20"/>
                  </a:cubicBezTo>
                  <a:lnTo>
                    <a:pt x="40" y="20"/>
                  </a:lnTo>
                  <a:cubicBezTo>
                    <a:pt x="40" y="0"/>
                    <a:pt x="40" y="0"/>
                    <a:pt x="4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2" name="Freeform 159">
              <a:extLst>
                <a:ext uri="{FF2B5EF4-FFF2-40B4-BE49-F238E27FC236}">
                  <a16:creationId xmlns:a16="http://schemas.microsoft.com/office/drawing/2014/main" id="{F1E58B01-B155-FD48-A575-16206C8F36B3}"/>
                </a:ext>
              </a:extLst>
            </p:cNvPr>
            <p:cNvSpPr>
              <a:spLocks noChangeArrowheads="1"/>
            </p:cNvSpPr>
            <p:nvPr/>
          </p:nvSpPr>
          <p:spPr bwMode="auto">
            <a:xfrm>
              <a:off x="2609850" y="1817688"/>
              <a:ext cx="14288" cy="15875"/>
            </a:xfrm>
            <a:custGeom>
              <a:avLst/>
              <a:gdLst>
                <a:gd name="T0" fmla="*/ 20 w 41"/>
                <a:gd name="T1" fmla="*/ 0 h 42"/>
                <a:gd name="T2" fmla="*/ 20 w 41"/>
                <a:gd name="T3" fmla="*/ 0 h 42"/>
                <a:gd name="T4" fmla="*/ 0 w 41"/>
                <a:gd name="T5" fmla="*/ 0 h 42"/>
                <a:gd name="T6" fmla="*/ 0 w 41"/>
                <a:gd name="T7" fmla="*/ 20 h 42"/>
                <a:gd name="T8" fmla="*/ 20 w 41"/>
                <a:gd name="T9" fmla="*/ 41 h 42"/>
                <a:gd name="T10" fmla="*/ 20 w 41"/>
                <a:gd name="T11" fmla="*/ 20 h 42"/>
                <a:gd name="T12" fmla="*/ 20 w 41"/>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1" h="42">
                  <a:moveTo>
                    <a:pt x="20" y="0"/>
                  </a:moveTo>
                  <a:lnTo>
                    <a:pt x="20" y="0"/>
                  </a:lnTo>
                  <a:cubicBezTo>
                    <a:pt x="20" y="0"/>
                    <a:pt x="20" y="0"/>
                    <a:pt x="0" y="0"/>
                  </a:cubicBezTo>
                  <a:lnTo>
                    <a:pt x="0" y="20"/>
                  </a:lnTo>
                  <a:lnTo>
                    <a:pt x="20" y="41"/>
                  </a:lnTo>
                  <a:cubicBezTo>
                    <a:pt x="20" y="41"/>
                    <a:pt x="20" y="41"/>
                    <a:pt x="20" y="20"/>
                  </a:cubicBezTo>
                  <a:cubicBezTo>
                    <a:pt x="20" y="20"/>
                    <a:pt x="4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3" name="Freeform 160">
              <a:extLst>
                <a:ext uri="{FF2B5EF4-FFF2-40B4-BE49-F238E27FC236}">
                  <a16:creationId xmlns:a16="http://schemas.microsoft.com/office/drawing/2014/main" id="{3D5273FC-702C-5A4F-9174-E842A0464D69}"/>
                </a:ext>
              </a:extLst>
            </p:cNvPr>
            <p:cNvSpPr>
              <a:spLocks noChangeArrowheads="1"/>
            </p:cNvSpPr>
            <p:nvPr/>
          </p:nvSpPr>
          <p:spPr bwMode="auto">
            <a:xfrm>
              <a:off x="2654300" y="1882775"/>
              <a:ext cx="22225" cy="30163"/>
            </a:xfrm>
            <a:custGeom>
              <a:avLst/>
              <a:gdLst>
                <a:gd name="T0" fmla="*/ 42 w 63"/>
                <a:gd name="T1" fmla="*/ 62 h 83"/>
                <a:gd name="T2" fmla="*/ 42 w 63"/>
                <a:gd name="T3" fmla="*/ 62 h 83"/>
                <a:gd name="T4" fmla="*/ 42 w 63"/>
                <a:gd name="T5" fmla="*/ 21 h 83"/>
                <a:gd name="T6" fmla="*/ 21 w 63"/>
                <a:gd name="T7" fmla="*/ 21 h 83"/>
                <a:gd name="T8" fmla="*/ 21 w 63"/>
                <a:gd name="T9" fmla="*/ 62 h 83"/>
                <a:gd name="T10" fmla="*/ 42 w 63"/>
                <a:gd name="T11" fmla="*/ 82 h 83"/>
                <a:gd name="T12" fmla="*/ 62 w 63"/>
                <a:gd name="T13" fmla="*/ 82 h 83"/>
                <a:gd name="T14" fmla="*/ 42 w 63"/>
                <a:gd name="T15" fmla="*/ 6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83">
                  <a:moveTo>
                    <a:pt x="42" y="62"/>
                  </a:moveTo>
                  <a:lnTo>
                    <a:pt x="42" y="62"/>
                  </a:lnTo>
                  <a:cubicBezTo>
                    <a:pt x="42" y="42"/>
                    <a:pt x="62" y="21"/>
                    <a:pt x="42" y="21"/>
                  </a:cubicBezTo>
                  <a:cubicBezTo>
                    <a:pt x="42" y="0"/>
                    <a:pt x="21" y="21"/>
                    <a:pt x="21" y="21"/>
                  </a:cubicBezTo>
                  <a:cubicBezTo>
                    <a:pt x="0" y="42"/>
                    <a:pt x="21" y="42"/>
                    <a:pt x="21" y="62"/>
                  </a:cubicBezTo>
                  <a:cubicBezTo>
                    <a:pt x="21" y="62"/>
                    <a:pt x="21" y="82"/>
                    <a:pt x="42" y="82"/>
                  </a:cubicBezTo>
                  <a:lnTo>
                    <a:pt x="62" y="82"/>
                  </a:lnTo>
                  <a:cubicBezTo>
                    <a:pt x="62" y="62"/>
                    <a:pt x="42" y="62"/>
                    <a:pt x="42"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4" name="Freeform 161">
              <a:extLst>
                <a:ext uri="{FF2B5EF4-FFF2-40B4-BE49-F238E27FC236}">
                  <a16:creationId xmlns:a16="http://schemas.microsoft.com/office/drawing/2014/main" id="{D68B25F8-290F-9C49-B46C-5F16D181F7A9}"/>
                </a:ext>
              </a:extLst>
            </p:cNvPr>
            <p:cNvSpPr>
              <a:spLocks noChangeArrowheads="1"/>
            </p:cNvSpPr>
            <p:nvPr/>
          </p:nvSpPr>
          <p:spPr bwMode="auto">
            <a:xfrm>
              <a:off x="2720975" y="1898650"/>
              <a:ext cx="15875" cy="22225"/>
            </a:xfrm>
            <a:custGeom>
              <a:avLst/>
              <a:gdLst>
                <a:gd name="T0" fmla="*/ 0 w 42"/>
                <a:gd name="T1" fmla="*/ 40 h 62"/>
                <a:gd name="T2" fmla="*/ 0 w 42"/>
                <a:gd name="T3" fmla="*/ 40 h 62"/>
                <a:gd name="T4" fmla="*/ 0 w 42"/>
                <a:gd name="T5" fmla="*/ 20 h 62"/>
                <a:gd name="T6" fmla="*/ 20 w 42"/>
                <a:gd name="T7" fmla="*/ 20 h 62"/>
                <a:gd name="T8" fmla="*/ 41 w 42"/>
                <a:gd name="T9" fmla="*/ 40 h 62"/>
                <a:gd name="T10" fmla="*/ 20 w 42"/>
                <a:gd name="T11" fmla="*/ 40 h 62"/>
                <a:gd name="T12" fmla="*/ 0 w 42"/>
                <a:gd name="T13" fmla="*/ 40 h 62"/>
              </a:gdLst>
              <a:ahLst/>
              <a:cxnLst>
                <a:cxn ang="0">
                  <a:pos x="T0" y="T1"/>
                </a:cxn>
                <a:cxn ang="0">
                  <a:pos x="T2" y="T3"/>
                </a:cxn>
                <a:cxn ang="0">
                  <a:pos x="T4" y="T5"/>
                </a:cxn>
                <a:cxn ang="0">
                  <a:pos x="T6" y="T7"/>
                </a:cxn>
                <a:cxn ang="0">
                  <a:pos x="T8" y="T9"/>
                </a:cxn>
                <a:cxn ang="0">
                  <a:pos x="T10" y="T11"/>
                </a:cxn>
                <a:cxn ang="0">
                  <a:pos x="T12" y="T13"/>
                </a:cxn>
              </a:cxnLst>
              <a:rect l="0" t="0" r="r" b="b"/>
              <a:pathLst>
                <a:path w="42" h="62">
                  <a:moveTo>
                    <a:pt x="0" y="40"/>
                  </a:moveTo>
                  <a:lnTo>
                    <a:pt x="0" y="40"/>
                  </a:lnTo>
                  <a:lnTo>
                    <a:pt x="0" y="20"/>
                  </a:lnTo>
                  <a:cubicBezTo>
                    <a:pt x="0" y="20"/>
                    <a:pt x="20" y="0"/>
                    <a:pt x="20" y="20"/>
                  </a:cubicBezTo>
                  <a:cubicBezTo>
                    <a:pt x="41" y="20"/>
                    <a:pt x="41" y="20"/>
                    <a:pt x="41" y="40"/>
                  </a:cubicBezTo>
                  <a:cubicBezTo>
                    <a:pt x="41" y="40"/>
                    <a:pt x="41" y="40"/>
                    <a:pt x="20" y="40"/>
                  </a:cubicBezTo>
                  <a:cubicBezTo>
                    <a:pt x="20" y="61"/>
                    <a:pt x="0" y="40"/>
                    <a:pt x="0"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5" name="Freeform 162">
              <a:extLst>
                <a:ext uri="{FF2B5EF4-FFF2-40B4-BE49-F238E27FC236}">
                  <a16:creationId xmlns:a16="http://schemas.microsoft.com/office/drawing/2014/main" id="{22CA1F86-667A-DE4C-AD87-384AA77E4D80}"/>
                </a:ext>
              </a:extLst>
            </p:cNvPr>
            <p:cNvSpPr>
              <a:spLocks noChangeArrowheads="1"/>
            </p:cNvSpPr>
            <p:nvPr/>
          </p:nvSpPr>
          <p:spPr bwMode="auto">
            <a:xfrm>
              <a:off x="2757488" y="1882775"/>
              <a:ext cx="15875" cy="15875"/>
            </a:xfrm>
            <a:custGeom>
              <a:avLst/>
              <a:gdLst>
                <a:gd name="T0" fmla="*/ 0 w 42"/>
                <a:gd name="T1" fmla="*/ 21 h 43"/>
                <a:gd name="T2" fmla="*/ 0 w 42"/>
                <a:gd name="T3" fmla="*/ 21 h 43"/>
                <a:gd name="T4" fmla="*/ 21 w 42"/>
                <a:gd name="T5" fmla="*/ 42 h 43"/>
                <a:gd name="T6" fmla="*/ 21 w 42"/>
                <a:gd name="T7" fmla="*/ 42 h 43"/>
                <a:gd name="T8" fmla="*/ 41 w 42"/>
                <a:gd name="T9" fmla="*/ 42 h 43"/>
                <a:gd name="T10" fmla="*/ 41 w 42"/>
                <a:gd name="T11" fmla="*/ 21 h 43"/>
                <a:gd name="T12" fmla="*/ 21 w 42"/>
                <a:gd name="T13" fmla="*/ 0 h 43"/>
                <a:gd name="T14" fmla="*/ 0 w 42"/>
                <a:gd name="T15" fmla="*/ 21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0" y="21"/>
                  </a:moveTo>
                  <a:lnTo>
                    <a:pt x="0" y="21"/>
                  </a:lnTo>
                  <a:cubicBezTo>
                    <a:pt x="0" y="21"/>
                    <a:pt x="0" y="42"/>
                    <a:pt x="21" y="42"/>
                  </a:cubicBezTo>
                  <a:lnTo>
                    <a:pt x="21" y="42"/>
                  </a:lnTo>
                  <a:cubicBezTo>
                    <a:pt x="41" y="42"/>
                    <a:pt x="41" y="42"/>
                    <a:pt x="41" y="42"/>
                  </a:cubicBezTo>
                  <a:lnTo>
                    <a:pt x="41" y="21"/>
                  </a:lnTo>
                  <a:cubicBezTo>
                    <a:pt x="41" y="21"/>
                    <a:pt x="41" y="0"/>
                    <a:pt x="21" y="0"/>
                  </a:cubicBezTo>
                  <a:cubicBezTo>
                    <a:pt x="21" y="0"/>
                    <a:pt x="21" y="21"/>
                    <a:pt x="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6" name="Freeform 163">
              <a:extLst>
                <a:ext uri="{FF2B5EF4-FFF2-40B4-BE49-F238E27FC236}">
                  <a16:creationId xmlns:a16="http://schemas.microsoft.com/office/drawing/2014/main" id="{5E643214-E22E-0240-88BB-0C4A2C1E39A9}"/>
                </a:ext>
              </a:extLst>
            </p:cNvPr>
            <p:cNvSpPr>
              <a:spLocks noChangeArrowheads="1"/>
            </p:cNvSpPr>
            <p:nvPr/>
          </p:nvSpPr>
          <p:spPr bwMode="auto">
            <a:xfrm>
              <a:off x="2779713" y="1809750"/>
              <a:ext cx="15875" cy="14288"/>
            </a:xfrm>
            <a:custGeom>
              <a:avLst/>
              <a:gdLst>
                <a:gd name="T0" fmla="*/ 41 w 42"/>
                <a:gd name="T1" fmla="*/ 20 h 41"/>
                <a:gd name="T2" fmla="*/ 41 w 42"/>
                <a:gd name="T3" fmla="*/ 20 h 41"/>
                <a:gd name="T4" fmla="*/ 20 w 42"/>
                <a:gd name="T5" fmla="*/ 40 h 41"/>
                <a:gd name="T6" fmla="*/ 20 w 42"/>
                <a:gd name="T7" fmla="*/ 40 h 41"/>
                <a:gd name="T8" fmla="*/ 20 w 42"/>
                <a:gd name="T9" fmla="*/ 20 h 41"/>
                <a:gd name="T10" fmla="*/ 20 w 42"/>
                <a:gd name="T11" fmla="*/ 0 h 41"/>
                <a:gd name="T12" fmla="*/ 20 w 42"/>
                <a:gd name="T13" fmla="*/ 0 h 41"/>
                <a:gd name="T14" fmla="*/ 41 w 42"/>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41" y="20"/>
                  </a:moveTo>
                  <a:lnTo>
                    <a:pt x="41" y="20"/>
                  </a:lnTo>
                  <a:cubicBezTo>
                    <a:pt x="41" y="20"/>
                    <a:pt x="41" y="40"/>
                    <a:pt x="20" y="40"/>
                  </a:cubicBezTo>
                  <a:lnTo>
                    <a:pt x="20" y="40"/>
                  </a:lnTo>
                  <a:cubicBezTo>
                    <a:pt x="20" y="20"/>
                    <a:pt x="0" y="20"/>
                    <a:pt x="20" y="20"/>
                  </a:cubicBezTo>
                  <a:lnTo>
                    <a:pt x="20" y="0"/>
                  </a:lnTo>
                  <a:lnTo>
                    <a:pt x="20" y="0"/>
                  </a:lnTo>
                  <a:cubicBezTo>
                    <a:pt x="41" y="0"/>
                    <a:pt x="41" y="2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7" name="Freeform 164">
              <a:extLst>
                <a:ext uri="{FF2B5EF4-FFF2-40B4-BE49-F238E27FC236}">
                  <a16:creationId xmlns:a16="http://schemas.microsoft.com/office/drawing/2014/main" id="{ACC3B798-7CE0-6E4F-980C-7B8AB446E59D}"/>
                </a:ext>
              </a:extLst>
            </p:cNvPr>
            <p:cNvSpPr>
              <a:spLocks noChangeArrowheads="1"/>
            </p:cNvSpPr>
            <p:nvPr/>
          </p:nvSpPr>
          <p:spPr bwMode="auto">
            <a:xfrm>
              <a:off x="3311525" y="1447800"/>
              <a:ext cx="30163" cy="22225"/>
            </a:xfrm>
            <a:custGeom>
              <a:avLst/>
              <a:gdLst>
                <a:gd name="T0" fmla="*/ 61 w 83"/>
                <a:gd name="T1" fmla="*/ 61 h 62"/>
                <a:gd name="T2" fmla="*/ 61 w 83"/>
                <a:gd name="T3" fmla="*/ 61 h 62"/>
                <a:gd name="T4" fmla="*/ 41 w 83"/>
                <a:gd name="T5" fmla="*/ 41 h 62"/>
                <a:gd name="T6" fmla="*/ 21 w 83"/>
                <a:gd name="T7" fmla="*/ 41 h 62"/>
                <a:gd name="T8" fmla="*/ 0 w 83"/>
                <a:gd name="T9" fmla="*/ 41 h 62"/>
                <a:gd name="T10" fmla="*/ 0 w 83"/>
                <a:gd name="T11" fmla="*/ 20 h 62"/>
                <a:gd name="T12" fmla="*/ 21 w 83"/>
                <a:gd name="T13" fmla="*/ 20 h 62"/>
                <a:gd name="T14" fmla="*/ 41 w 83"/>
                <a:gd name="T15" fmla="*/ 0 h 62"/>
                <a:gd name="T16" fmla="*/ 82 w 83"/>
                <a:gd name="T17" fmla="*/ 0 h 62"/>
                <a:gd name="T18" fmla="*/ 82 w 83"/>
                <a:gd name="T19" fmla="*/ 20 h 62"/>
                <a:gd name="T20" fmla="*/ 82 w 83"/>
                <a:gd name="T21" fmla="*/ 61 h 62"/>
                <a:gd name="T22" fmla="*/ 61 w 83"/>
                <a:gd name="T2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62">
                  <a:moveTo>
                    <a:pt x="61" y="61"/>
                  </a:moveTo>
                  <a:lnTo>
                    <a:pt x="61" y="61"/>
                  </a:lnTo>
                  <a:cubicBezTo>
                    <a:pt x="61" y="41"/>
                    <a:pt x="41" y="41"/>
                    <a:pt x="41" y="41"/>
                  </a:cubicBezTo>
                  <a:lnTo>
                    <a:pt x="21" y="41"/>
                  </a:lnTo>
                  <a:cubicBezTo>
                    <a:pt x="0" y="41"/>
                    <a:pt x="0" y="41"/>
                    <a:pt x="0" y="41"/>
                  </a:cubicBezTo>
                  <a:lnTo>
                    <a:pt x="0" y="20"/>
                  </a:lnTo>
                  <a:lnTo>
                    <a:pt x="21" y="20"/>
                  </a:lnTo>
                  <a:cubicBezTo>
                    <a:pt x="41" y="0"/>
                    <a:pt x="41" y="0"/>
                    <a:pt x="41" y="0"/>
                  </a:cubicBezTo>
                  <a:cubicBezTo>
                    <a:pt x="41" y="0"/>
                    <a:pt x="61" y="0"/>
                    <a:pt x="82" y="0"/>
                  </a:cubicBezTo>
                  <a:lnTo>
                    <a:pt x="82" y="20"/>
                  </a:lnTo>
                  <a:cubicBezTo>
                    <a:pt x="82" y="41"/>
                    <a:pt x="82" y="41"/>
                    <a:pt x="82" y="61"/>
                  </a:cubicBezTo>
                  <a:lnTo>
                    <a:pt x="61" y="6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8" name="Freeform 165">
              <a:extLst>
                <a:ext uri="{FF2B5EF4-FFF2-40B4-BE49-F238E27FC236}">
                  <a16:creationId xmlns:a16="http://schemas.microsoft.com/office/drawing/2014/main" id="{ACC72BC4-BD55-A34C-877B-2581C27DA4F9}"/>
                </a:ext>
              </a:extLst>
            </p:cNvPr>
            <p:cNvSpPr>
              <a:spLocks noChangeArrowheads="1"/>
            </p:cNvSpPr>
            <p:nvPr/>
          </p:nvSpPr>
          <p:spPr bwMode="auto">
            <a:xfrm>
              <a:off x="3295650" y="1433513"/>
              <a:ext cx="22225" cy="15875"/>
            </a:xfrm>
            <a:custGeom>
              <a:avLst/>
              <a:gdLst>
                <a:gd name="T0" fmla="*/ 20 w 63"/>
                <a:gd name="T1" fmla="*/ 20 h 42"/>
                <a:gd name="T2" fmla="*/ 20 w 63"/>
                <a:gd name="T3" fmla="*/ 20 h 42"/>
                <a:gd name="T4" fmla="*/ 0 w 63"/>
                <a:gd name="T5" fmla="*/ 41 h 42"/>
                <a:gd name="T6" fmla="*/ 0 w 63"/>
                <a:gd name="T7" fmla="*/ 41 h 42"/>
                <a:gd name="T8" fmla="*/ 0 w 63"/>
                <a:gd name="T9" fmla="*/ 20 h 42"/>
                <a:gd name="T10" fmla="*/ 20 w 63"/>
                <a:gd name="T11" fmla="*/ 0 h 42"/>
                <a:gd name="T12" fmla="*/ 41 w 63"/>
                <a:gd name="T13" fmla="*/ 0 h 42"/>
                <a:gd name="T14" fmla="*/ 62 w 63"/>
                <a:gd name="T15" fmla="*/ 20 h 42"/>
                <a:gd name="T16" fmla="*/ 41 w 63"/>
                <a:gd name="T17" fmla="*/ 20 h 42"/>
                <a:gd name="T18" fmla="*/ 20 w 63"/>
                <a:gd name="T19"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2">
                  <a:moveTo>
                    <a:pt x="20" y="20"/>
                  </a:moveTo>
                  <a:lnTo>
                    <a:pt x="20" y="20"/>
                  </a:lnTo>
                  <a:cubicBezTo>
                    <a:pt x="20" y="41"/>
                    <a:pt x="20" y="41"/>
                    <a:pt x="0" y="41"/>
                  </a:cubicBezTo>
                  <a:lnTo>
                    <a:pt x="0" y="41"/>
                  </a:lnTo>
                  <a:lnTo>
                    <a:pt x="0" y="20"/>
                  </a:lnTo>
                  <a:cubicBezTo>
                    <a:pt x="0" y="20"/>
                    <a:pt x="0" y="0"/>
                    <a:pt x="20" y="0"/>
                  </a:cubicBezTo>
                  <a:lnTo>
                    <a:pt x="41" y="0"/>
                  </a:lnTo>
                  <a:cubicBezTo>
                    <a:pt x="41" y="0"/>
                    <a:pt x="62" y="0"/>
                    <a:pt x="62" y="20"/>
                  </a:cubicBezTo>
                  <a:cubicBezTo>
                    <a:pt x="62" y="20"/>
                    <a:pt x="62" y="20"/>
                    <a:pt x="41" y="20"/>
                  </a:cubicBezTo>
                  <a:cubicBezTo>
                    <a:pt x="41" y="20"/>
                    <a:pt x="41"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69" name="Freeform 166">
              <a:extLst>
                <a:ext uri="{FF2B5EF4-FFF2-40B4-BE49-F238E27FC236}">
                  <a16:creationId xmlns:a16="http://schemas.microsoft.com/office/drawing/2014/main" id="{42B0E671-A69A-3E40-B0F7-5C95CFE249E0}"/>
                </a:ext>
              </a:extLst>
            </p:cNvPr>
            <p:cNvSpPr>
              <a:spLocks noChangeArrowheads="1"/>
            </p:cNvSpPr>
            <p:nvPr/>
          </p:nvSpPr>
          <p:spPr bwMode="auto">
            <a:xfrm>
              <a:off x="3082925" y="1366838"/>
              <a:ext cx="169863" cy="147637"/>
            </a:xfrm>
            <a:custGeom>
              <a:avLst/>
              <a:gdLst>
                <a:gd name="T0" fmla="*/ 471 w 472"/>
                <a:gd name="T1" fmla="*/ 226 h 411"/>
                <a:gd name="T2" fmla="*/ 471 w 472"/>
                <a:gd name="T3" fmla="*/ 226 h 411"/>
                <a:gd name="T4" fmla="*/ 450 w 472"/>
                <a:gd name="T5" fmla="*/ 205 h 411"/>
                <a:gd name="T6" fmla="*/ 450 w 472"/>
                <a:gd name="T7" fmla="*/ 164 h 411"/>
                <a:gd name="T8" fmla="*/ 450 w 472"/>
                <a:gd name="T9" fmla="*/ 123 h 411"/>
                <a:gd name="T10" fmla="*/ 410 w 472"/>
                <a:gd name="T11" fmla="*/ 123 h 411"/>
                <a:gd name="T12" fmla="*/ 389 w 472"/>
                <a:gd name="T13" fmla="*/ 103 h 411"/>
                <a:gd name="T14" fmla="*/ 389 w 472"/>
                <a:gd name="T15" fmla="*/ 82 h 411"/>
                <a:gd name="T16" fmla="*/ 348 w 472"/>
                <a:gd name="T17" fmla="*/ 82 h 411"/>
                <a:gd name="T18" fmla="*/ 348 w 472"/>
                <a:gd name="T19" fmla="*/ 103 h 411"/>
                <a:gd name="T20" fmla="*/ 348 w 472"/>
                <a:gd name="T21" fmla="*/ 123 h 411"/>
                <a:gd name="T22" fmla="*/ 348 w 472"/>
                <a:gd name="T23" fmla="*/ 144 h 411"/>
                <a:gd name="T24" fmla="*/ 308 w 472"/>
                <a:gd name="T25" fmla="*/ 103 h 411"/>
                <a:gd name="T26" fmla="*/ 287 w 472"/>
                <a:gd name="T27" fmla="*/ 62 h 411"/>
                <a:gd name="T28" fmla="*/ 266 w 472"/>
                <a:gd name="T29" fmla="*/ 41 h 411"/>
                <a:gd name="T30" fmla="*/ 246 w 472"/>
                <a:gd name="T31" fmla="*/ 21 h 411"/>
                <a:gd name="T32" fmla="*/ 205 w 472"/>
                <a:gd name="T33" fmla="*/ 21 h 411"/>
                <a:gd name="T34" fmla="*/ 184 w 472"/>
                <a:gd name="T35" fmla="*/ 41 h 411"/>
                <a:gd name="T36" fmla="*/ 164 w 472"/>
                <a:gd name="T37" fmla="*/ 62 h 411"/>
                <a:gd name="T38" fmla="*/ 164 w 472"/>
                <a:gd name="T39" fmla="*/ 103 h 411"/>
                <a:gd name="T40" fmla="*/ 164 w 472"/>
                <a:gd name="T41" fmla="*/ 123 h 411"/>
                <a:gd name="T42" fmla="*/ 164 w 472"/>
                <a:gd name="T43" fmla="*/ 144 h 411"/>
                <a:gd name="T44" fmla="*/ 144 w 472"/>
                <a:gd name="T45" fmla="*/ 144 h 411"/>
                <a:gd name="T46" fmla="*/ 144 w 472"/>
                <a:gd name="T47" fmla="*/ 103 h 411"/>
                <a:gd name="T48" fmla="*/ 123 w 472"/>
                <a:gd name="T49" fmla="*/ 82 h 411"/>
                <a:gd name="T50" fmla="*/ 123 w 472"/>
                <a:gd name="T51" fmla="*/ 41 h 411"/>
                <a:gd name="T52" fmla="*/ 123 w 472"/>
                <a:gd name="T53" fmla="*/ 21 h 411"/>
                <a:gd name="T54" fmla="*/ 102 w 472"/>
                <a:gd name="T55" fmla="*/ 0 h 411"/>
                <a:gd name="T56" fmla="*/ 82 w 472"/>
                <a:gd name="T57" fmla="*/ 0 h 411"/>
                <a:gd name="T58" fmla="*/ 82 w 472"/>
                <a:gd name="T59" fmla="*/ 21 h 411"/>
                <a:gd name="T60" fmla="*/ 62 w 472"/>
                <a:gd name="T61" fmla="*/ 41 h 411"/>
                <a:gd name="T62" fmla="*/ 41 w 472"/>
                <a:gd name="T63" fmla="*/ 21 h 411"/>
                <a:gd name="T64" fmla="*/ 20 w 472"/>
                <a:gd name="T65" fmla="*/ 0 h 411"/>
                <a:gd name="T66" fmla="*/ 20 w 472"/>
                <a:gd name="T67" fmla="*/ 0 h 411"/>
                <a:gd name="T68" fmla="*/ 0 w 472"/>
                <a:gd name="T69" fmla="*/ 41 h 411"/>
                <a:gd name="T70" fmla="*/ 0 w 472"/>
                <a:gd name="T71" fmla="*/ 82 h 411"/>
                <a:gd name="T72" fmla="*/ 20 w 472"/>
                <a:gd name="T73" fmla="*/ 103 h 411"/>
                <a:gd name="T74" fmla="*/ 0 w 472"/>
                <a:gd name="T75" fmla="*/ 144 h 411"/>
                <a:gd name="T76" fmla="*/ 0 w 472"/>
                <a:gd name="T77" fmla="*/ 205 h 411"/>
                <a:gd name="T78" fmla="*/ 0 w 472"/>
                <a:gd name="T79" fmla="*/ 246 h 411"/>
                <a:gd name="T80" fmla="*/ 0 w 472"/>
                <a:gd name="T81" fmla="*/ 287 h 411"/>
                <a:gd name="T82" fmla="*/ 0 w 472"/>
                <a:gd name="T83" fmla="*/ 328 h 411"/>
                <a:gd name="T84" fmla="*/ 0 w 472"/>
                <a:gd name="T85" fmla="*/ 369 h 411"/>
                <a:gd name="T86" fmla="*/ 20 w 472"/>
                <a:gd name="T87" fmla="*/ 410 h 411"/>
                <a:gd name="T88" fmla="*/ 41 w 472"/>
                <a:gd name="T89" fmla="*/ 410 h 411"/>
                <a:gd name="T90" fmla="*/ 62 w 472"/>
                <a:gd name="T91" fmla="*/ 390 h 411"/>
                <a:gd name="T92" fmla="*/ 82 w 472"/>
                <a:gd name="T93" fmla="*/ 369 h 411"/>
                <a:gd name="T94" fmla="*/ 102 w 472"/>
                <a:gd name="T95" fmla="*/ 349 h 411"/>
                <a:gd name="T96" fmla="*/ 144 w 472"/>
                <a:gd name="T97" fmla="*/ 328 h 411"/>
                <a:gd name="T98" fmla="*/ 164 w 472"/>
                <a:gd name="T99" fmla="*/ 308 h 411"/>
                <a:gd name="T100" fmla="*/ 205 w 472"/>
                <a:gd name="T101" fmla="*/ 308 h 411"/>
                <a:gd name="T102" fmla="*/ 246 w 472"/>
                <a:gd name="T103" fmla="*/ 287 h 411"/>
                <a:gd name="T104" fmla="*/ 266 w 472"/>
                <a:gd name="T105" fmla="*/ 308 h 411"/>
                <a:gd name="T106" fmla="*/ 308 w 472"/>
                <a:gd name="T107" fmla="*/ 287 h 411"/>
                <a:gd name="T108" fmla="*/ 348 w 472"/>
                <a:gd name="T109" fmla="*/ 267 h 411"/>
                <a:gd name="T110" fmla="*/ 410 w 472"/>
                <a:gd name="T111" fmla="*/ 267 h 411"/>
                <a:gd name="T112" fmla="*/ 430 w 472"/>
                <a:gd name="T113" fmla="*/ 267 h 411"/>
                <a:gd name="T114" fmla="*/ 450 w 472"/>
                <a:gd name="T115" fmla="*/ 267 h 411"/>
                <a:gd name="T116" fmla="*/ 471 w 472"/>
                <a:gd name="T117" fmla="*/ 246 h 411"/>
                <a:gd name="T118" fmla="*/ 471 w 472"/>
                <a:gd name="T119" fmla="*/ 226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2" h="411">
                  <a:moveTo>
                    <a:pt x="471" y="226"/>
                  </a:moveTo>
                  <a:lnTo>
                    <a:pt x="471" y="226"/>
                  </a:lnTo>
                  <a:cubicBezTo>
                    <a:pt x="471" y="205"/>
                    <a:pt x="450" y="205"/>
                    <a:pt x="450" y="205"/>
                  </a:cubicBezTo>
                  <a:cubicBezTo>
                    <a:pt x="450" y="185"/>
                    <a:pt x="471" y="164"/>
                    <a:pt x="450" y="164"/>
                  </a:cubicBezTo>
                  <a:cubicBezTo>
                    <a:pt x="450" y="144"/>
                    <a:pt x="450" y="144"/>
                    <a:pt x="450" y="123"/>
                  </a:cubicBezTo>
                  <a:cubicBezTo>
                    <a:pt x="430" y="123"/>
                    <a:pt x="410" y="123"/>
                    <a:pt x="410" y="123"/>
                  </a:cubicBezTo>
                  <a:cubicBezTo>
                    <a:pt x="410" y="123"/>
                    <a:pt x="410" y="103"/>
                    <a:pt x="389" y="103"/>
                  </a:cubicBezTo>
                  <a:lnTo>
                    <a:pt x="389" y="82"/>
                  </a:lnTo>
                  <a:cubicBezTo>
                    <a:pt x="369" y="82"/>
                    <a:pt x="369" y="82"/>
                    <a:pt x="348" y="82"/>
                  </a:cubicBezTo>
                  <a:lnTo>
                    <a:pt x="348" y="103"/>
                  </a:lnTo>
                  <a:lnTo>
                    <a:pt x="348" y="123"/>
                  </a:lnTo>
                  <a:cubicBezTo>
                    <a:pt x="348" y="144"/>
                    <a:pt x="348" y="144"/>
                    <a:pt x="348" y="144"/>
                  </a:cubicBezTo>
                  <a:cubicBezTo>
                    <a:pt x="328" y="144"/>
                    <a:pt x="308" y="103"/>
                    <a:pt x="308" y="103"/>
                  </a:cubicBezTo>
                  <a:cubicBezTo>
                    <a:pt x="308" y="82"/>
                    <a:pt x="287" y="62"/>
                    <a:pt x="287" y="62"/>
                  </a:cubicBezTo>
                  <a:lnTo>
                    <a:pt x="266" y="41"/>
                  </a:lnTo>
                  <a:lnTo>
                    <a:pt x="246" y="21"/>
                  </a:lnTo>
                  <a:cubicBezTo>
                    <a:pt x="226" y="21"/>
                    <a:pt x="205" y="21"/>
                    <a:pt x="205" y="21"/>
                  </a:cubicBezTo>
                  <a:lnTo>
                    <a:pt x="184" y="41"/>
                  </a:lnTo>
                  <a:lnTo>
                    <a:pt x="164" y="62"/>
                  </a:lnTo>
                  <a:cubicBezTo>
                    <a:pt x="164" y="62"/>
                    <a:pt x="164" y="82"/>
                    <a:pt x="164" y="103"/>
                  </a:cubicBezTo>
                  <a:lnTo>
                    <a:pt x="164" y="123"/>
                  </a:lnTo>
                  <a:lnTo>
                    <a:pt x="164" y="144"/>
                  </a:lnTo>
                  <a:cubicBezTo>
                    <a:pt x="164" y="144"/>
                    <a:pt x="164" y="144"/>
                    <a:pt x="144" y="144"/>
                  </a:cubicBezTo>
                  <a:lnTo>
                    <a:pt x="144" y="103"/>
                  </a:lnTo>
                  <a:lnTo>
                    <a:pt x="123" y="82"/>
                  </a:lnTo>
                  <a:cubicBezTo>
                    <a:pt x="123" y="62"/>
                    <a:pt x="123" y="62"/>
                    <a:pt x="123" y="41"/>
                  </a:cubicBezTo>
                  <a:cubicBezTo>
                    <a:pt x="123" y="41"/>
                    <a:pt x="144" y="21"/>
                    <a:pt x="123" y="21"/>
                  </a:cubicBezTo>
                  <a:lnTo>
                    <a:pt x="102" y="0"/>
                  </a:lnTo>
                  <a:lnTo>
                    <a:pt x="82" y="0"/>
                  </a:lnTo>
                  <a:lnTo>
                    <a:pt x="82" y="21"/>
                  </a:lnTo>
                  <a:cubicBezTo>
                    <a:pt x="82" y="41"/>
                    <a:pt x="62" y="41"/>
                    <a:pt x="62" y="41"/>
                  </a:cubicBezTo>
                  <a:cubicBezTo>
                    <a:pt x="62" y="41"/>
                    <a:pt x="41" y="41"/>
                    <a:pt x="41" y="21"/>
                  </a:cubicBezTo>
                  <a:cubicBezTo>
                    <a:pt x="41" y="21"/>
                    <a:pt x="41" y="21"/>
                    <a:pt x="20" y="0"/>
                  </a:cubicBezTo>
                  <a:lnTo>
                    <a:pt x="20" y="0"/>
                  </a:lnTo>
                  <a:cubicBezTo>
                    <a:pt x="0" y="21"/>
                    <a:pt x="0" y="21"/>
                    <a:pt x="0" y="41"/>
                  </a:cubicBezTo>
                  <a:cubicBezTo>
                    <a:pt x="0" y="41"/>
                    <a:pt x="0" y="62"/>
                    <a:pt x="0" y="82"/>
                  </a:cubicBezTo>
                  <a:lnTo>
                    <a:pt x="20" y="103"/>
                  </a:lnTo>
                  <a:cubicBezTo>
                    <a:pt x="20" y="123"/>
                    <a:pt x="0" y="144"/>
                    <a:pt x="0" y="144"/>
                  </a:cubicBezTo>
                  <a:cubicBezTo>
                    <a:pt x="0" y="164"/>
                    <a:pt x="0" y="185"/>
                    <a:pt x="0" y="205"/>
                  </a:cubicBezTo>
                  <a:cubicBezTo>
                    <a:pt x="0" y="205"/>
                    <a:pt x="0" y="226"/>
                    <a:pt x="0" y="246"/>
                  </a:cubicBezTo>
                  <a:cubicBezTo>
                    <a:pt x="0" y="246"/>
                    <a:pt x="0" y="267"/>
                    <a:pt x="0" y="287"/>
                  </a:cubicBezTo>
                  <a:cubicBezTo>
                    <a:pt x="0" y="287"/>
                    <a:pt x="0" y="308"/>
                    <a:pt x="0" y="328"/>
                  </a:cubicBezTo>
                  <a:cubicBezTo>
                    <a:pt x="0" y="328"/>
                    <a:pt x="0" y="349"/>
                    <a:pt x="0" y="369"/>
                  </a:cubicBezTo>
                  <a:cubicBezTo>
                    <a:pt x="0" y="369"/>
                    <a:pt x="0" y="390"/>
                    <a:pt x="20" y="410"/>
                  </a:cubicBezTo>
                  <a:cubicBezTo>
                    <a:pt x="20" y="410"/>
                    <a:pt x="20" y="410"/>
                    <a:pt x="41" y="410"/>
                  </a:cubicBezTo>
                  <a:cubicBezTo>
                    <a:pt x="41" y="410"/>
                    <a:pt x="41" y="390"/>
                    <a:pt x="62" y="390"/>
                  </a:cubicBezTo>
                  <a:cubicBezTo>
                    <a:pt x="62" y="369"/>
                    <a:pt x="82" y="369"/>
                    <a:pt x="82" y="369"/>
                  </a:cubicBezTo>
                  <a:cubicBezTo>
                    <a:pt x="82" y="349"/>
                    <a:pt x="102" y="349"/>
                    <a:pt x="102" y="349"/>
                  </a:cubicBezTo>
                  <a:cubicBezTo>
                    <a:pt x="123" y="349"/>
                    <a:pt x="123" y="328"/>
                    <a:pt x="144" y="328"/>
                  </a:cubicBezTo>
                  <a:lnTo>
                    <a:pt x="164" y="308"/>
                  </a:lnTo>
                  <a:cubicBezTo>
                    <a:pt x="184" y="308"/>
                    <a:pt x="205" y="308"/>
                    <a:pt x="205" y="308"/>
                  </a:cubicBezTo>
                  <a:cubicBezTo>
                    <a:pt x="226" y="308"/>
                    <a:pt x="246" y="287"/>
                    <a:pt x="246" y="287"/>
                  </a:cubicBezTo>
                  <a:lnTo>
                    <a:pt x="266" y="308"/>
                  </a:lnTo>
                  <a:cubicBezTo>
                    <a:pt x="287" y="287"/>
                    <a:pt x="308" y="287"/>
                    <a:pt x="308" y="287"/>
                  </a:cubicBezTo>
                  <a:cubicBezTo>
                    <a:pt x="308" y="287"/>
                    <a:pt x="328" y="267"/>
                    <a:pt x="348" y="267"/>
                  </a:cubicBezTo>
                  <a:cubicBezTo>
                    <a:pt x="348" y="267"/>
                    <a:pt x="389" y="267"/>
                    <a:pt x="410" y="267"/>
                  </a:cubicBezTo>
                  <a:cubicBezTo>
                    <a:pt x="410" y="267"/>
                    <a:pt x="410" y="267"/>
                    <a:pt x="430" y="267"/>
                  </a:cubicBezTo>
                  <a:lnTo>
                    <a:pt x="450" y="267"/>
                  </a:lnTo>
                  <a:cubicBezTo>
                    <a:pt x="471" y="267"/>
                    <a:pt x="471" y="246"/>
                    <a:pt x="471" y="246"/>
                  </a:cubicBezTo>
                  <a:lnTo>
                    <a:pt x="471" y="226"/>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0" name="Freeform 167">
              <a:extLst>
                <a:ext uri="{FF2B5EF4-FFF2-40B4-BE49-F238E27FC236}">
                  <a16:creationId xmlns:a16="http://schemas.microsoft.com/office/drawing/2014/main" id="{C5D9A313-8DD7-A04F-9343-6F6DFC0FBBB7}"/>
                </a:ext>
              </a:extLst>
            </p:cNvPr>
            <p:cNvSpPr>
              <a:spLocks noChangeArrowheads="1"/>
            </p:cNvSpPr>
            <p:nvPr/>
          </p:nvSpPr>
          <p:spPr bwMode="auto">
            <a:xfrm>
              <a:off x="2816225" y="1308100"/>
              <a:ext cx="236538" cy="139700"/>
            </a:xfrm>
            <a:custGeom>
              <a:avLst/>
              <a:gdLst>
                <a:gd name="T0" fmla="*/ 554 w 657"/>
                <a:gd name="T1" fmla="*/ 368 h 390"/>
                <a:gd name="T2" fmla="*/ 554 w 657"/>
                <a:gd name="T3" fmla="*/ 368 h 390"/>
                <a:gd name="T4" fmla="*/ 492 w 657"/>
                <a:gd name="T5" fmla="*/ 389 h 390"/>
                <a:gd name="T6" fmla="*/ 451 w 657"/>
                <a:gd name="T7" fmla="*/ 389 h 390"/>
                <a:gd name="T8" fmla="*/ 410 w 657"/>
                <a:gd name="T9" fmla="*/ 368 h 390"/>
                <a:gd name="T10" fmla="*/ 390 w 657"/>
                <a:gd name="T11" fmla="*/ 348 h 390"/>
                <a:gd name="T12" fmla="*/ 369 w 657"/>
                <a:gd name="T13" fmla="*/ 327 h 390"/>
                <a:gd name="T14" fmla="*/ 308 w 657"/>
                <a:gd name="T15" fmla="*/ 327 h 390"/>
                <a:gd name="T16" fmla="*/ 267 w 657"/>
                <a:gd name="T17" fmla="*/ 307 h 390"/>
                <a:gd name="T18" fmla="*/ 205 w 657"/>
                <a:gd name="T19" fmla="*/ 307 h 390"/>
                <a:gd name="T20" fmla="*/ 144 w 657"/>
                <a:gd name="T21" fmla="*/ 286 h 390"/>
                <a:gd name="T22" fmla="*/ 103 w 657"/>
                <a:gd name="T23" fmla="*/ 245 h 390"/>
                <a:gd name="T24" fmla="*/ 82 w 657"/>
                <a:gd name="T25" fmla="*/ 225 h 390"/>
                <a:gd name="T26" fmla="*/ 62 w 657"/>
                <a:gd name="T27" fmla="*/ 225 h 390"/>
                <a:gd name="T28" fmla="*/ 41 w 657"/>
                <a:gd name="T29" fmla="*/ 204 h 390"/>
                <a:gd name="T30" fmla="*/ 21 w 657"/>
                <a:gd name="T31" fmla="*/ 225 h 390"/>
                <a:gd name="T32" fmla="*/ 0 w 657"/>
                <a:gd name="T33" fmla="*/ 204 h 390"/>
                <a:gd name="T34" fmla="*/ 0 w 657"/>
                <a:gd name="T35" fmla="*/ 143 h 390"/>
                <a:gd name="T36" fmla="*/ 41 w 657"/>
                <a:gd name="T37" fmla="*/ 122 h 390"/>
                <a:gd name="T38" fmla="*/ 41 w 657"/>
                <a:gd name="T39" fmla="*/ 102 h 390"/>
                <a:gd name="T40" fmla="*/ 62 w 657"/>
                <a:gd name="T41" fmla="*/ 61 h 390"/>
                <a:gd name="T42" fmla="*/ 103 w 657"/>
                <a:gd name="T43" fmla="*/ 61 h 390"/>
                <a:gd name="T44" fmla="*/ 144 w 657"/>
                <a:gd name="T45" fmla="*/ 61 h 390"/>
                <a:gd name="T46" fmla="*/ 185 w 657"/>
                <a:gd name="T47" fmla="*/ 40 h 390"/>
                <a:gd name="T48" fmla="*/ 226 w 657"/>
                <a:gd name="T49" fmla="*/ 0 h 390"/>
                <a:gd name="T50" fmla="*/ 267 w 657"/>
                <a:gd name="T51" fmla="*/ 0 h 390"/>
                <a:gd name="T52" fmla="*/ 308 w 657"/>
                <a:gd name="T53" fmla="*/ 20 h 390"/>
                <a:gd name="T54" fmla="*/ 308 w 657"/>
                <a:gd name="T55" fmla="*/ 40 h 390"/>
                <a:gd name="T56" fmla="*/ 287 w 657"/>
                <a:gd name="T57" fmla="*/ 81 h 390"/>
                <a:gd name="T58" fmla="*/ 287 w 657"/>
                <a:gd name="T59" fmla="*/ 122 h 390"/>
                <a:gd name="T60" fmla="*/ 328 w 657"/>
                <a:gd name="T61" fmla="*/ 102 h 390"/>
                <a:gd name="T62" fmla="*/ 328 w 657"/>
                <a:gd name="T63" fmla="*/ 40 h 390"/>
                <a:gd name="T64" fmla="*/ 369 w 657"/>
                <a:gd name="T65" fmla="*/ 40 h 390"/>
                <a:gd name="T66" fmla="*/ 410 w 657"/>
                <a:gd name="T67" fmla="*/ 0 h 390"/>
                <a:gd name="T68" fmla="*/ 451 w 657"/>
                <a:gd name="T69" fmla="*/ 0 h 390"/>
                <a:gd name="T70" fmla="*/ 512 w 657"/>
                <a:gd name="T71" fmla="*/ 40 h 390"/>
                <a:gd name="T72" fmla="*/ 533 w 657"/>
                <a:gd name="T73" fmla="*/ 81 h 390"/>
                <a:gd name="T74" fmla="*/ 533 w 657"/>
                <a:gd name="T75" fmla="*/ 122 h 390"/>
                <a:gd name="T76" fmla="*/ 554 w 657"/>
                <a:gd name="T77" fmla="*/ 163 h 390"/>
                <a:gd name="T78" fmla="*/ 574 w 657"/>
                <a:gd name="T79" fmla="*/ 184 h 390"/>
                <a:gd name="T80" fmla="*/ 574 w 657"/>
                <a:gd name="T81" fmla="*/ 225 h 390"/>
                <a:gd name="T82" fmla="*/ 594 w 657"/>
                <a:gd name="T83" fmla="*/ 245 h 390"/>
                <a:gd name="T84" fmla="*/ 615 w 657"/>
                <a:gd name="T85" fmla="*/ 245 h 390"/>
                <a:gd name="T86" fmla="*/ 656 w 657"/>
                <a:gd name="T87" fmla="*/ 266 h 390"/>
                <a:gd name="T88" fmla="*/ 656 w 657"/>
                <a:gd name="T89" fmla="*/ 307 h 390"/>
                <a:gd name="T90" fmla="*/ 636 w 657"/>
                <a:gd name="T91" fmla="*/ 348 h 390"/>
                <a:gd name="T92" fmla="*/ 594 w 657"/>
                <a:gd name="T93" fmla="*/ 368 h 390"/>
                <a:gd name="T94" fmla="*/ 554 w 657"/>
                <a:gd name="T95" fmla="*/ 36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57" h="390">
                  <a:moveTo>
                    <a:pt x="554" y="368"/>
                  </a:moveTo>
                  <a:lnTo>
                    <a:pt x="554" y="368"/>
                  </a:lnTo>
                  <a:cubicBezTo>
                    <a:pt x="533" y="389"/>
                    <a:pt x="512" y="389"/>
                    <a:pt x="492" y="389"/>
                  </a:cubicBezTo>
                  <a:cubicBezTo>
                    <a:pt x="472" y="389"/>
                    <a:pt x="451" y="389"/>
                    <a:pt x="451" y="389"/>
                  </a:cubicBezTo>
                  <a:cubicBezTo>
                    <a:pt x="430" y="389"/>
                    <a:pt x="410" y="368"/>
                    <a:pt x="410" y="368"/>
                  </a:cubicBezTo>
                  <a:cubicBezTo>
                    <a:pt x="410" y="368"/>
                    <a:pt x="410" y="348"/>
                    <a:pt x="390" y="348"/>
                  </a:cubicBezTo>
                  <a:cubicBezTo>
                    <a:pt x="390" y="327"/>
                    <a:pt x="369" y="327"/>
                    <a:pt x="369" y="327"/>
                  </a:cubicBezTo>
                  <a:cubicBezTo>
                    <a:pt x="349" y="327"/>
                    <a:pt x="328" y="327"/>
                    <a:pt x="308" y="327"/>
                  </a:cubicBezTo>
                  <a:cubicBezTo>
                    <a:pt x="308" y="327"/>
                    <a:pt x="267" y="327"/>
                    <a:pt x="267" y="307"/>
                  </a:cubicBezTo>
                  <a:cubicBezTo>
                    <a:pt x="246" y="307"/>
                    <a:pt x="226" y="327"/>
                    <a:pt x="205" y="307"/>
                  </a:cubicBezTo>
                  <a:cubicBezTo>
                    <a:pt x="185" y="307"/>
                    <a:pt x="164" y="286"/>
                    <a:pt x="144" y="286"/>
                  </a:cubicBezTo>
                  <a:cubicBezTo>
                    <a:pt x="144" y="286"/>
                    <a:pt x="123" y="266"/>
                    <a:pt x="103" y="245"/>
                  </a:cubicBezTo>
                  <a:cubicBezTo>
                    <a:pt x="103" y="245"/>
                    <a:pt x="103" y="225"/>
                    <a:pt x="82" y="225"/>
                  </a:cubicBezTo>
                  <a:lnTo>
                    <a:pt x="62" y="225"/>
                  </a:lnTo>
                  <a:cubicBezTo>
                    <a:pt x="62" y="225"/>
                    <a:pt x="62" y="204"/>
                    <a:pt x="41" y="204"/>
                  </a:cubicBezTo>
                  <a:lnTo>
                    <a:pt x="21" y="225"/>
                  </a:lnTo>
                  <a:cubicBezTo>
                    <a:pt x="0" y="225"/>
                    <a:pt x="0" y="204"/>
                    <a:pt x="0" y="204"/>
                  </a:cubicBezTo>
                  <a:cubicBezTo>
                    <a:pt x="0" y="184"/>
                    <a:pt x="0" y="163"/>
                    <a:pt x="0" y="143"/>
                  </a:cubicBezTo>
                  <a:cubicBezTo>
                    <a:pt x="0" y="143"/>
                    <a:pt x="21" y="143"/>
                    <a:pt x="41" y="122"/>
                  </a:cubicBezTo>
                  <a:cubicBezTo>
                    <a:pt x="41" y="122"/>
                    <a:pt x="21" y="102"/>
                    <a:pt x="41" y="102"/>
                  </a:cubicBezTo>
                  <a:cubicBezTo>
                    <a:pt x="41" y="81"/>
                    <a:pt x="41" y="81"/>
                    <a:pt x="62" y="61"/>
                  </a:cubicBezTo>
                  <a:cubicBezTo>
                    <a:pt x="62" y="61"/>
                    <a:pt x="82" y="61"/>
                    <a:pt x="103" y="61"/>
                  </a:cubicBezTo>
                  <a:lnTo>
                    <a:pt x="144" y="61"/>
                  </a:lnTo>
                  <a:cubicBezTo>
                    <a:pt x="164" y="61"/>
                    <a:pt x="164" y="40"/>
                    <a:pt x="185" y="40"/>
                  </a:cubicBezTo>
                  <a:cubicBezTo>
                    <a:pt x="185" y="40"/>
                    <a:pt x="205" y="0"/>
                    <a:pt x="226" y="0"/>
                  </a:cubicBezTo>
                  <a:cubicBezTo>
                    <a:pt x="246" y="0"/>
                    <a:pt x="267" y="0"/>
                    <a:pt x="267" y="0"/>
                  </a:cubicBezTo>
                  <a:cubicBezTo>
                    <a:pt x="287" y="0"/>
                    <a:pt x="287" y="20"/>
                    <a:pt x="308" y="20"/>
                  </a:cubicBezTo>
                  <a:lnTo>
                    <a:pt x="308" y="40"/>
                  </a:lnTo>
                  <a:cubicBezTo>
                    <a:pt x="308" y="61"/>
                    <a:pt x="287" y="61"/>
                    <a:pt x="287" y="81"/>
                  </a:cubicBezTo>
                  <a:lnTo>
                    <a:pt x="287" y="122"/>
                  </a:lnTo>
                  <a:cubicBezTo>
                    <a:pt x="308" y="122"/>
                    <a:pt x="328" y="102"/>
                    <a:pt x="328" y="102"/>
                  </a:cubicBezTo>
                  <a:cubicBezTo>
                    <a:pt x="328" y="81"/>
                    <a:pt x="328" y="61"/>
                    <a:pt x="328" y="40"/>
                  </a:cubicBezTo>
                  <a:cubicBezTo>
                    <a:pt x="349" y="40"/>
                    <a:pt x="349" y="40"/>
                    <a:pt x="369" y="40"/>
                  </a:cubicBezTo>
                  <a:cubicBezTo>
                    <a:pt x="369" y="20"/>
                    <a:pt x="390" y="20"/>
                    <a:pt x="410" y="0"/>
                  </a:cubicBezTo>
                  <a:lnTo>
                    <a:pt x="451" y="0"/>
                  </a:lnTo>
                  <a:cubicBezTo>
                    <a:pt x="472" y="20"/>
                    <a:pt x="492" y="20"/>
                    <a:pt x="512" y="40"/>
                  </a:cubicBezTo>
                  <a:cubicBezTo>
                    <a:pt x="512" y="40"/>
                    <a:pt x="533" y="61"/>
                    <a:pt x="533" y="81"/>
                  </a:cubicBezTo>
                  <a:cubicBezTo>
                    <a:pt x="533" y="102"/>
                    <a:pt x="533" y="122"/>
                    <a:pt x="533" y="122"/>
                  </a:cubicBezTo>
                  <a:cubicBezTo>
                    <a:pt x="533" y="122"/>
                    <a:pt x="554" y="143"/>
                    <a:pt x="554" y="163"/>
                  </a:cubicBezTo>
                  <a:cubicBezTo>
                    <a:pt x="554" y="163"/>
                    <a:pt x="574" y="163"/>
                    <a:pt x="574" y="184"/>
                  </a:cubicBezTo>
                  <a:cubicBezTo>
                    <a:pt x="574" y="184"/>
                    <a:pt x="574" y="204"/>
                    <a:pt x="574" y="225"/>
                  </a:cubicBezTo>
                  <a:cubicBezTo>
                    <a:pt x="574" y="225"/>
                    <a:pt x="574" y="245"/>
                    <a:pt x="594" y="245"/>
                  </a:cubicBezTo>
                  <a:lnTo>
                    <a:pt x="615" y="245"/>
                  </a:lnTo>
                  <a:cubicBezTo>
                    <a:pt x="636" y="245"/>
                    <a:pt x="656" y="266"/>
                    <a:pt x="656" y="266"/>
                  </a:cubicBezTo>
                  <a:cubicBezTo>
                    <a:pt x="656" y="266"/>
                    <a:pt x="656" y="286"/>
                    <a:pt x="656" y="307"/>
                  </a:cubicBezTo>
                  <a:cubicBezTo>
                    <a:pt x="656" y="307"/>
                    <a:pt x="656" y="327"/>
                    <a:pt x="636" y="348"/>
                  </a:cubicBezTo>
                  <a:lnTo>
                    <a:pt x="594" y="368"/>
                  </a:lnTo>
                  <a:cubicBezTo>
                    <a:pt x="574" y="368"/>
                    <a:pt x="574" y="368"/>
                    <a:pt x="554" y="368"/>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1" name="Freeform 168">
              <a:extLst>
                <a:ext uri="{FF2B5EF4-FFF2-40B4-BE49-F238E27FC236}">
                  <a16:creationId xmlns:a16="http://schemas.microsoft.com/office/drawing/2014/main" id="{858A0EBB-2C56-6043-AA55-165F7CD87F51}"/>
                </a:ext>
              </a:extLst>
            </p:cNvPr>
            <p:cNvSpPr>
              <a:spLocks noChangeArrowheads="1"/>
            </p:cNvSpPr>
            <p:nvPr/>
          </p:nvSpPr>
          <p:spPr bwMode="auto">
            <a:xfrm>
              <a:off x="2720975" y="1336675"/>
              <a:ext cx="80963" cy="38100"/>
            </a:xfrm>
            <a:custGeom>
              <a:avLst/>
              <a:gdLst>
                <a:gd name="T0" fmla="*/ 143 w 226"/>
                <a:gd name="T1" fmla="*/ 103 h 104"/>
                <a:gd name="T2" fmla="*/ 143 w 226"/>
                <a:gd name="T3" fmla="*/ 103 h 104"/>
                <a:gd name="T4" fmla="*/ 123 w 226"/>
                <a:gd name="T5" fmla="*/ 82 h 104"/>
                <a:gd name="T6" fmla="*/ 102 w 226"/>
                <a:gd name="T7" fmla="*/ 62 h 104"/>
                <a:gd name="T8" fmla="*/ 61 w 226"/>
                <a:gd name="T9" fmla="*/ 62 h 104"/>
                <a:gd name="T10" fmla="*/ 20 w 226"/>
                <a:gd name="T11" fmla="*/ 62 h 104"/>
                <a:gd name="T12" fmla="*/ 0 w 226"/>
                <a:gd name="T13" fmla="*/ 21 h 104"/>
                <a:gd name="T14" fmla="*/ 41 w 226"/>
                <a:gd name="T15" fmla="*/ 0 h 104"/>
                <a:gd name="T16" fmla="*/ 82 w 226"/>
                <a:gd name="T17" fmla="*/ 0 h 104"/>
                <a:gd name="T18" fmla="*/ 123 w 226"/>
                <a:gd name="T19" fmla="*/ 21 h 104"/>
                <a:gd name="T20" fmla="*/ 184 w 226"/>
                <a:gd name="T21" fmla="*/ 21 h 104"/>
                <a:gd name="T22" fmla="*/ 205 w 226"/>
                <a:gd name="T23" fmla="*/ 21 h 104"/>
                <a:gd name="T24" fmla="*/ 225 w 226"/>
                <a:gd name="T25" fmla="*/ 21 h 104"/>
                <a:gd name="T26" fmla="*/ 225 w 226"/>
                <a:gd name="T27" fmla="*/ 62 h 104"/>
                <a:gd name="T28" fmla="*/ 184 w 226"/>
                <a:gd name="T29" fmla="*/ 82 h 104"/>
                <a:gd name="T30" fmla="*/ 143 w 226"/>
                <a:gd name="T31"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6" h="104">
                  <a:moveTo>
                    <a:pt x="143" y="103"/>
                  </a:moveTo>
                  <a:lnTo>
                    <a:pt x="143" y="103"/>
                  </a:lnTo>
                  <a:cubicBezTo>
                    <a:pt x="143" y="103"/>
                    <a:pt x="123" y="103"/>
                    <a:pt x="123" y="82"/>
                  </a:cubicBezTo>
                  <a:cubicBezTo>
                    <a:pt x="102" y="82"/>
                    <a:pt x="102" y="62"/>
                    <a:pt x="102" y="62"/>
                  </a:cubicBezTo>
                  <a:cubicBezTo>
                    <a:pt x="82" y="62"/>
                    <a:pt x="82" y="62"/>
                    <a:pt x="61" y="62"/>
                  </a:cubicBezTo>
                  <a:lnTo>
                    <a:pt x="20" y="62"/>
                  </a:lnTo>
                  <a:cubicBezTo>
                    <a:pt x="0" y="41"/>
                    <a:pt x="0" y="21"/>
                    <a:pt x="0" y="21"/>
                  </a:cubicBezTo>
                  <a:cubicBezTo>
                    <a:pt x="0" y="0"/>
                    <a:pt x="41" y="0"/>
                    <a:pt x="41" y="0"/>
                  </a:cubicBezTo>
                  <a:cubicBezTo>
                    <a:pt x="61" y="0"/>
                    <a:pt x="82" y="0"/>
                    <a:pt x="82" y="0"/>
                  </a:cubicBezTo>
                  <a:cubicBezTo>
                    <a:pt x="102" y="21"/>
                    <a:pt x="123" y="21"/>
                    <a:pt x="123" y="21"/>
                  </a:cubicBezTo>
                  <a:cubicBezTo>
                    <a:pt x="143" y="21"/>
                    <a:pt x="164" y="21"/>
                    <a:pt x="184" y="21"/>
                  </a:cubicBezTo>
                  <a:lnTo>
                    <a:pt x="205" y="21"/>
                  </a:lnTo>
                  <a:lnTo>
                    <a:pt x="225" y="21"/>
                  </a:lnTo>
                  <a:cubicBezTo>
                    <a:pt x="225" y="41"/>
                    <a:pt x="225" y="62"/>
                    <a:pt x="225" y="62"/>
                  </a:cubicBezTo>
                  <a:cubicBezTo>
                    <a:pt x="205" y="82"/>
                    <a:pt x="184" y="82"/>
                    <a:pt x="184" y="82"/>
                  </a:cubicBezTo>
                  <a:cubicBezTo>
                    <a:pt x="164" y="82"/>
                    <a:pt x="164" y="103"/>
                    <a:pt x="143" y="10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2" name="Freeform 169">
              <a:extLst>
                <a:ext uri="{FF2B5EF4-FFF2-40B4-BE49-F238E27FC236}">
                  <a16:creationId xmlns:a16="http://schemas.microsoft.com/office/drawing/2014/main" id="{E138470F-EF5C-DE41-8533-D53A123C5830}"/>
                </a:ext>
              </a:extLst>
            </p:cNvPr>
            <p:cNvSpPr>
              <a:spLocks noChangeArrowheads="1"/>
            </p:cNvSpPr>
            <p:nvPr/>
          </p:nvSpPr>
          <p:spPr bwMode="auto">
            <a:xfrm>
              <a:off x="2713038" y="1196975"/>
              <a:ext cx="200025" cy="139700"/>
            </a:xfrm>
            <a:custGeom>
              <a:avLst/>
              <a:gdLst>
                <a:gd name="T0" fmla="*/ 103 w 555"/>
                <a:gd name="T1" fmla="*/ 348 h 390"/>
                <a:gd name="T2" fmla="*/ 103 w 555"/>
                <a:gd name="T3" fmla="*/ 348 h 390"/>
                <a:gd name="T4" fmla="*/ 82 w 555"/>
                <a:gd name="T5" fmla="*/ 328 h 390"/>
                <a:gd name="T6" fmla="*/ 41 w 555"/>
                <a:gd name="T7" fmla="*/ 348 h 390"/>
                <a:gd name="T8" fmla="*/ 21 w 555"/>
                <a:gd name="T9" fmla="*/ 328 h 390"/>
                <a:gd name="T10" fmla="*/ 0 w 555"/>
                <a:gd name="T11" fmla="*/ 328 h 390"/>
                <a:gd name="T12" fmla="*/ 21 w 555"/>
                <a:gd name="T13" fmla="*/ 308 h 390"/>
                <a:gd name="T14" fmla="*/ 41 w 555"/>
                <a:gd name="T15" fmla="*/ 287 h 390"/>
                <a:gd name="T16" fmla="*/ 62 w 555"/>
                <a:gd name="T17" fmla="*/ 266 h 390"/>
                <a:gd name="T18" fmla="*/ 82 w 555"/>
                <a:gd name="T19" fmla="*/ 226 h 390"/>
                <a:gd name="T20" fmla="*/ 62 w 555"/>
                <a:gd name="T21" fmla="*/ 226 h 390"/>
                <a:gd name="T22" fmla="*/ 41 w 555"/>
                <a:gd name="T23" fmla="*/ 246 h 390"/>
                <a:gd name="T24" fmla="*/ 21 w 555"/>
                <a:gd name="T25" fmla="*/ 246 h 390"/>
                <a:gd name="T26" fmla="*/ 21 w 555"/>
                <a:gd name="T27" fmla="*/ 226 h 390"/>
                <a:gd name="T28" fmla="*/ 62 w 555"/>
                <a:gd name="T29" fmla="*/ 184 h 390"/>
                <a:gd name="T30" fmla="*/ 82 w 555"/>
                <a:gd name="T31" fmla="*/ 164 h 390"/>
                <a:gd name="T32" fmla="*/ 123 w 555"/>
                <a:gd name="T33" fmla="*/ 144 h 390"/>
                <a:gd name="T34" fmla="*/ 185 w 555"/>
                <a:gd name="T35" fmla="*/ 144 h 390"/>
                <a:gd name="T36" fmla="*/ 185 w 555"/>
                <a:gd name="T37" fmla="*/ 123 h 390"/>
                <a:gd name="T38" fmla="*/ 164 w 555"/>
                <a:gd name="T39" fmla="*/ 102 h 390"/>
                <a:gd name="T40" fmla="*/ 185 w 555"/>
                <a:gd name="T41" fmla="*/ 82 h 390"/>
                <a:gd name="T42" fmla="*/ 205 w 555"/>
                <a:gd name="T43" fmla="*/ 41 h 390"/>
                <a:gd name="T44" fmla="*/ 226 w 555"/>
                <a:gd name="T45" fmla="*/ 20 h 390"/>
                <a:gd name="T46" fmla="*/ 246 w 555"/>
                <a:gd name="T47" fmla="*/ 0 h 390"/>
                <a:gd name="T48" fmla="*/ 308 w 555"/>
                <a:gd name="T49" fmla="*/ 20 h 390"/>
                <a:gd name="T50" fmla="*/ 308 w 555"/>
                <a:gd name="T51" fmla="*/ 41 h 390"/>
                <a:gd name="T52" fmla="*/ 349 w 555"/>
                <a:gd name="T53" fmla="*/ 62 h 390"/>
                <a:gd name="T54" fmla="*/ 390 w 555"/>
                <a:gd name="T55" fmla="*/ 82 h 390"/>
                <a:gd name="T56" fmla="*/ 431 w 555"/>
                <a:gd name="T57" fmla="*/ 82 h 390"/>
                <a:gd name="T58" fmla="*/ 431 w 555"/>
                <a:gd name="T59" fmla="*/ 102 h 390"/>
                <a:gd name="T60" fmla="*/ 431 w 555"/>
                <a:gd name="T61" fmla="*/ 144 h 390"/>
                <a:gd name="T62" fmla="*/ 451 w 555"/>
                <a:gd name="T63" fmla="*/ 144 h 390"/>
                <a:gd name="T64" fmla="*/ 472 w 555"/>
                <a:gd name="T65" fmla="*/ 144 h 390"/>
                <a:gd name="T66" fmla="*/ 513 w 555"/>
                <a:gd name="T67" fmla="*/ 144 h 390"/>
                <a:gd name="T68" fmla="*/ 513 w 555"/>
                <a:gd name="T69" fmla="*/ 164 h 390"/>
                <a:gd name="T70" fmla="*/ 492 w 555"/>
                <a:gd name="T71" fmla="*/ 164 h 390"/>
                <a:gd name="T72" fmla="*/ 492 w 555"/>
                <a:gd name="T73" fmla="*/ 205 h 390"/>
                <a:gd name="T74" fmla="*/ 492 w 555"/>
                <a:gd name="T75" fmla="*/ 226 h 390"/>
                <a:gd name="T76" fmla="*/ 533 w 555"/>
                <a:gd name="T77" fmla="*/ 226 h 390"/>
                <a:gd name="T78" fmla="*/ 533 w 555"/>
                <a:gd name="T79" fmla="*/ 246 h 390"/>
                <a:gd name="T80" fmla="*/ 533 w 555"/>
                <a:gd name="T81" fmla="*/ 266 h 390"/>
                <a:gd name="T82" fmla="*/ 513 w 555"/>
                <a:gd name="T83" fmla="*/ 287 h 390"/>
                <a:gd name="T84" fmla="*/ 451 w 555"/>
                <a:gd name="T85" fmla="*/ 266 h 390"/>
                <a:gd name="T86" fmla="*/ 410 w 555"/>
                <a:gd name="T87" fmla="*/ 266 h 390"/>
                <a:gd name="T88" fmla="*/ 369 w 555"/>
                <a:gd name="T89" fmla="*/ 287 h 390"/>
                <a:gd name="T90" fmla="*/ 328 w 555"/>
                <a:gd name="T91" fmla="*/ 308 h 390"/>
                <a:gd name="T92" fmla="*/ 308 w 555"/>
                <a:gd name="T93" fmla="*/ 328 h 390"/>
                <a:gd name="T94" fmla="*/ 287 w 555"/>
                <a:gd name="T95" fmla="*/ 369 h 390"/>
                <a:gd name="T96" fmla="*/ 246 w 555"/>
                <a:gd name="T97" fmla="*/ 389 h 390"/>
                <a:gd name="T98" fmla="*/ 226 w 555"/>
                <a:gd name="T99" fmla="*/ 369 h 390"/>
                <a:gd name="T100" fmla="*/ 205 w 555"/>
                <a:gd name="T101" fmla="*/ 369 h 390"/>
                <a:gd name="T102" fmla="*/ 164 w 555"/>
                <a:gd name="T103" fmla="*/ 369 h 390"/>
                <a:gd name="T104" fmla="*/ 123 w 555"/>
                <a:gd name="T105" fmla="*/ 369 h 390"/>
                <a:gd name="T106" fmla="*/ 103 w 555"/>
                <a:gd name="T107" fmla="*/ 34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5" h="390">
                  <a:moveTo>
                    <a:pt x="103" y="348"/>
                  </a:moveTo>
                  <a:lnTo>
                    <a:pt x="103" y="348"/>
                  </a:lnTo>
                  <a:cubicBezTo>
                    <a:pt x="82" y="348"/>
                    <a:pt x="82" y="348"/>
                    <a:pt x="82" y="328"/>
                  </a:cubicBezTo>
                  <a:cubicBezTo>
                    <a:pt x="62" y="328"/>
                    <a:pt x="41" y="348"/>
                    <a:pt x="41" y="348"/>
                  </a:cubicBezTo>
                  <a:cubicBezTo>
                    <a:pt x="41" y="348"/>
                    <a:pt x="21" y="348"/>
                    <a:pt x="21" y="328"/>
                  </a:cubicBezTo>
                  <a:cubicBezTo>
                    <a:pt x="0" y="328"/>
                    <a:pt x="0" y="328"/>
                    <a:pt x="0" y="328"/>
                  </a:cubicBezTo>
                  <a:cubicBezTo>
                    <a:pt x="0" y="328"/>
                    <a:pt x="0" y="308"/>
                    <a:pt x="21" y="308"/>
                  </a:cubicBezTo>
                  <a:cubicBezTo>
                    <a:pt x="21" y="287"/>
                    <a:pt x="41" y="287"/>
                    <a:pt x="41" y="287"/>
                  </a:cubicBezTo>
                  <a:lnTo>
                    <a:pt x="62" y="266"/>
                  </a:lnTo>
                  <a:cubicBezTo>
                    <a:pt x="82" y="246"/>
                    <a:pt x="82" y="246"/>
                    <a:pt x="82" y="226"/>
                  </a:cubicBezTo>
                  <a:lnTo>
                    <a:pt x="62" y="226"/>
                  </a:lnTo>
                  <a:cubicBezTo>
                    <a:pt x="62" y="226"/>
                    <a:pt x="41" y="226"/>
                    <a:pt x="41" y="246"/>
                  </a:cubicBezTo>
                  <a:lnTo>
                    <a:pt x="21" y="246"/>
                  </a:lnTo>
                  <a:cubicBezTo>
                    <a:pt x="0" y="246"/>
                    <a:pt x="0" y="226"/>
                    <a:pt x="21" y="226"/>
                  </a:cubicBezTo>
                  <a:cubicBezTo>
                    <a:pt x="21" y="205"/>
                    <a:pt x="41" y="184"/>
                    <a:pt x="62" y="184"/>
                  </a:cubicBezTo>
                  <a:cubicBezTo>
                    <a:pt x="62" y="164"/>
                    <a:pt x="82" y="164"/>
                    <a:pt x="82" y="164"/>
                  </a:cubicBezTo>
                  <a:cubicBezTo>
                    <a:pt x="103" y="144"/>
                    <a:pt x="123" y="144"/>
                    <a:pt x="123" y="144"/>
                  </a:cubicBezTo>
                  <a:cubicBezTo>
                    <a:pt x="144" y="144"/>
                    <a:pt x="185" y="144"/>
                    <a:pt x="185" y="144"/>
                  </a:cubicBezTo>
                  <a:cubicBezTo>
                    <a:pt x="205" y="144"/>
                    <a:pt x="205" y="123"/>
                    <a:pt x="185" y="123"/>
                  </a:cubicBezTo>
                  <a:lnTo>
                    <a:pt x="164" y="102"/>
                  </a:lnTo>
                  <a:cubicBezTo>
                    <a:pt x="164" y="82"/>
                    <a:pt x="185" y="82"/>
                    <a:pt x="185" y="82"/>
                  </a:cubicBezTo>
                  <a:cubicBezTo>
                    <a:pt x="185" y="62"/>
                    <a:pt x="205" y="62"/>
                    <a:pt x="205" y="41"/>
                  </a:cubicBezTo>
                  <a:cubicBezTo>
                    <a:pt x="226" y="41"/>
                    <a:pt x="226" y="20"/>
                    <a:pt x="226" y="20"/>
                  </a:cubicBezTo>
                  <a:cubicBezTo>
                    <a:pt x="226" y="0"/>
                    <a:pt x="246" y="0"/>
                    <a:pt x="246" y="0"/>
                  </a:cubicBezTo>
                  <a:cubicBezTo>
                    <a:pt x="267" y="0"/>
                    <a:pt x="287" y="20"/>
                    <a:pt x="308" y="20"/>
                  </a:cubicBezTo>
                  <a:lnTo>
                    <a:pt x="308" y="41"/>
                  </a:lnTo>
                  <a:cubicBezTo>
                    <a:pt x="328" y="62"/>
                    <a:pt x="349" y="62"/>
                    <a:pt x="349" y="62"/>
                  </a:cubicBezTo>
                  <a:cubicBezTo>
                    <a:pt x="369" y="62"/>
                    <a:pt x="390" y="82"/>
                    <a:pt x="390" y="82"/>
                  </a:cubicBezTo>
                  <a:cubicBezTo>
                    <a:pt x="410" y="82"/>
                    <a:pt x="410" y="82"/>
                    <a:pt x="431" y="82"/>
                  </a:cubicBezTo>
                  <a:lnTo>
                    <a:pt x="431" y="102"/>
                  </a:lnTo>
                  <a:cubicBezTo>
                    <a:pt x="431" y="102"/>
                    <a:pt x="410" y="123"/>
                    <a:pt x="431" y="144"/>
                  </a:cubicBezTo>
                  <a:lnTo>
                    <a:pt x="451" y="144"/>
                  </a:lnTo>
                  <a:cubicBezTo>
                    <a:pt x="472" y="144"/>
                    <a:pt x="472" y="144"/>
                    <a:pt x="472" y="144"/>
                  </a:cubicBezTo>
                  <a:cubicBezTo>
                    <a:pt x="492" y="144"/>
                    <a:pt x="513" y="144"/>
                    <a:pt x="513" y="144"/>
                  </a:cubicBezTo>
                  <a:lnTo>
                    <a:pt x="513" y="164"/>
                  </a:lnTo>
                  <a:lnTo>
                    <a:pt x="492" y="164"/>
                  </a:lnTo>
                  <a:cubicBezTo>
                    <a:pt x="492" y="184"/>
                    <a:pt x="492" y="184"/>
                    <a:pt x="492" y="205"/>
                  </a:cubicBezTo>
                  <a:lnTo>
                    <a:pt x="492" y="226"/>
                  </a:lnTo>
                  <a:cubicBezTo>
                    <a:pt x="513" y="226"/>
                    <a:pt x="533" y="226"/>
                    <a:pt x="533" y="226"/>
                  </a:cubicBezTo>
                  <a:lnTo>
                    <a:pt x="533" y="246"/>
                  </a:lnTo>
                  <a:cubicBezTo>
                    <a:pt x="554" y="246"/>
                    <a:pt x="533" y="266"/>
                    <a:pt x="533" y="266"/>
                  </a:cubicBezTo>
                  <a:cubicBezTo>
                    <a:pt x="533" y="266"/>
                    <a:pt x="513" y="266"/>
                    <a:pt x="513" y="287"/>
                  </a:cubicBezTo>
                  <a:cubicBezTo>
                    <a:pt x="492" y="287"/>
                    <a:pt x="472" y="266"/>
                    <a:pt x="451" y="266"/>
                  </a:cubicBezTo>
                  <a:cubicBezTo>
                    <a:pt x="451" y="266"/>
                    <a:pt x="431" y="266"/>
                    <a:pt x="410" y="266"/>
                  </a:cubicBezTo>
                  <a:cubicBezTo>
                    <a:pt x="410" y="287"/>
                    <a:pt x="390" y="287"/>
                    <a:pt x="369" y="287"/>
                  </a:cubicBezTo>
                  <a:cubicBezTo>
                    <a:pt x="369" y="287"/>
                    <a:pt x="349" y="308"/>
                    <a:pt x="328" y="308"/>
                  </a:cubicBezTo>
                  <a:lnTo>
                    <a:pt x="308" y="328"/>
                  </a:lnTo>
                  <a:cubicBezTo>
                    <a:pt x="308" y="348"/>
                    <a:pt x="287" y="369"/>
                    <a:pt x="287" y="369"/>
                  </a:cubicBezTo>
                  <a:cubicBezTo>
                    <a:pt x="287" y="369"/>
                    <a:pt x="267" y="389"/>
                    <a:pt x="246" y="389"/>
                  </a:cubicBezTo>
                  <a:cubicBezTo>
                    <a:pt x="246" y="369"/>
                    <a:pt x="246" y="369"/>
                    <a:pt x="226" y="369"/>
                  </a:cubicBezTo>
                  <a:lnTo>
                    <a:pt x="205" y="369"/>
                  </a:lnTo>
                  <a:lnTo>
                    <a:pt x="164" y="369"/>
                  </a:lnTo>
                  <a:cubicBezTo>
                    <a:pt x="144" y="369"/>
                    <a:pt x="144" y="369"/>
                    <a:pt x="123" y="369"/>
                  </a:cubicBezTo>
                  <a:cubicBezTo>
                    <a:pt x="123" y="369"/>
                    <a:pt x="103" y="369"/>
                    <a:pt x="103" y="348"/>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3" name="Freeform 170">
              <a:extLst>
                <a:ext uri="{FF2B5EF4-FFF2-40B4-BE49-F238E27FC236}">
                  <a16:creationId xmlns:a16="http://schemas.microsoft.com/office/drawing/2014/main" id="{9134DC6B-710D-564E-9A04-C7A2E3D86E1E}"/>
                </a:ext>
              </a:extLst>
            </p:cNvPr>
            <p:cNvSpPr>
              <a:spLocks noChangeArrowheads="1"/>
            </p:cNvSpPr>
            <p:nvPr/>
          </p:nvSpPr>
          <p:spPr bwMode="auto">
            <a:xfrm>
              <a:off x="2646363" y="1227138"/>
              <a:ext cx="30162" cy="22225"/>
            </a:xfrm>
            <a:custGeom>
              <a:avLst/>
              <a:gdLst>
                <a:gd name="T0" fmla="*/ 62 w 83"/>
                <a:gd name="T1" fmla="*/ 62 h 63"/>
                <a:gd name="T2" fmla="*/ 62 w 83"/>
                <a:gd name="T3" fmla="*/ 62 h 63"/>
                <a:gd name="T4" fmla="*/ 20 w 83"/>
                <a:gd name="T5" fmla="*/ 62 h 63"/>
                <a:gd name="T6" fmla="*/ 0 w 83"/>
                <a:gd name="T7" fmla="*/ 62 h 63"/>
                <a:gd name="T8" fmla="*/ 0 w 83"/>
                <a:gd name="T9" fmla="*/ 41 h 63"/>
                <a:gd name="T10" fmla="*/ 20 w 83"/>
                <a:gd name="T11" fmla="*/ 20 h 63"/>
                <a:gd name="T12" fmla="*/ 41 w 83"/>
                <a:gd name="T13" fmla="*/ 20 h 63"/>
                <a:gd name="T14" fmla="*/ 41 w 83"/>
                <a:gd name="T15" fmla="*/ 20 h 63"/>
                <a:gd name="T16" fmla="*/ 62 w 83"/>
                <a:gd name="T17" fmla="*/ 0 h 63"/>
                <a:gd name="T18" fmla="*/ 82 w 83"/>
                <a:gd name="T19" fmla="*/ 20 h 63"/>
                <a:gd name="T20" fmla="*/ 82 w 83"/>
                <a:gd name="T21" fmla="*/ 41 h 63"/>
                <a:gd name="T22" fmla="*/ 82 w 83"/>
                <a:gd name="T23" fmla="*/ 62 h 63"/>
                <a:gd name="T24" fmla="*/ 62 w 83"/>
                <a:gd name="T2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63">
                  <a:moveTo>
                    <a:pt x="62" y="62"/>
                  </a:moveTo>
                  <a:lnTo>
                    <a:pt x="62" y="62"/>
                  </a:lnTo>
                  <a:cubicBezTo>
                    <a:pt x="41" y="62"/>
                    <a:pt x="41" y="62"/>
                    <a:pt x="20" y="62"/>
                  </a:cubicBezTo>
                  <a:lnTo>
                    <a:pt x="0" y="62"/>
                  </a:lnTo>
                  <a:lnTo>
                    <a:pt x="0" y="41"/>
                  </a:lnTo>
                  <a:cubicBezTo>
                    <a:pt x="0" y="41"/>
                    <a:pt x="0" y="20"/>
                    <a:pt x="20" y="20"/>
                  </a:cubicBezTo>
                  <a:cubicBezTo>
                    <a:pt x="20" y="20"/>
                    <a:pt x="20" y="20"/>
                    <a:pt x="41" y="20"/>
                  </a:cubicBezTo>
                  <a:lnTo>
                    <a:pt x="41" y="20"/>
                  </a:lnTo>
                  <a:cubicBezTo>
                    <a:pt x="62" y="0"/>
                    <a:pt x="62" y="0"/>
                    <a:pt x="62" y="0"/>
                  </a:cubicBezTo>
                  <a:cubicBezTo>
                    <a:pt x="82" y="0"/>
                    <a:pt x="82" y="20"/>
                    <a:pt x="82" y="20"/>
                  </a:cubicBezTo>
                  <a:lnTo>
                    <a:pt x="82" y="41"/>
                  </a:lnTo>
                  <a:lnTo>
                    <a:pt x="82" y="62"/>
                  </a:lnTo>
                  <a:cubicBezTo>
                    <a:pt x="62" y="62"/>
                    <a:pt x="62" y="62"/>
                    <a:pt x="62"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4" name="Freeform 171">
              <a:extLst>
                <a:ext uri="{FF2B5EF4-FFF2-40B4-BE49-F238E27FC236}">
                  <a16:creationId xmlns:a16="http://schemas.microsoft.com/office/drawing/2014/main" id="{E0974E6E-C51F-5140-B274-2DB344E72D32}"/>
                </a:ext>
              </a:extLst>
            </p:cNvPr>
            <p:cNvSpPr>
              <a:spLocks noChangeArrowheads="1"/>
            </p:cNvSpPr>
            <p:nvPr/>
          </p:nvSpPr>
          <p:spPr bwMode="auto">
            <a:xfrm>
              <a:off x="2727325" y="1366838"/>
              <a:ext cx="22225" cy="15875"/>
            </a:xfrm>
            <a:custGeom>
              <a:avLst/>
              <a:gdLst>
                <a:gd name="T0" fmla="*/ 62 w 63"/>
                <a:gd name="T1" fmla="*/ 21 h 42"/>
                <a:gd name="T2" fmla="*/ 62 w 63"/>
                <a:gd name="T3" fmla="*/ 21 h 42"/>
                <a:gd name="T4" fmla="*/ 21 w 63"/>
                <a:gd name="T5" fmla="*/ 41 h 42"/>
                <a:gd name="T6" fmla="*/ 21 w 63"/>
                <a:gd name="T7" fmla="*/ 21 h 42"/>
                <a:gd name="T8" fmla="*/ 21 w 63"/>
                <a:gd name="T9" fmla="*/ 0 h 42"/>
                <a:gd name="T10" fmla="*/ 41 w 63"/>
                <a:gd name="T11" fmla="*/ 0 h 42"/>
                <a:gd name="T12" fmla="*/ 62 w 63"/>
                <a:gd name="T13" fmla="*/ 21 h 42"/>
              </a:gdLst>
              <a:ahLst/>
              <a:cxnLst>
                <a:cxn ang="0">
                  <a:pos x="T0" y="T1"/>
                </a:cxn>
                <a:cxn ang="0">
                  <a:pos x="T2" y="T3"/>
                </a:cxn>
                <a:cxn ang="0">
                  <a:pos x="T4" y="T5"/>
                </a:cxn>
                <a:cxn ang="0">
                  <a:pos x="T6" y="T7"/>
                </a:cxn>
                <a:cxn ang="0">
                  <a:pos x="T8" y="T9"/>
                </a:cxn>
                <a:cxn ang="0">
                  <a:pos x="T10" y="T11"/>
                </a:cxn>
                <a:cxn ang="0">
                  <a:pos x="T12" y="T13"/>
                </a:cxn>
              </a:cxnLst>
              <a:rect l="0" t="0" r="r" b="b"/>
              <a:pathLst>
                <a:path w="63" h="42">
                  <a:moveTo>
                    <a:pt x="62" y="21"/>
                  </a:moveTo>
                  <a:lnTo>
                    <a:pt x="62" y="21"/>
                  </a:lnTo>
                  <a:cubicBezTo>
                    <a:pt x="41" y="41"/>
                    <a:pt x="41" y="41"/>
                    <a:pt x="21" y="41"/>
                  </a:cubicBezTo>
                  <a:cubicBezTo>
                    <a:pt x="21" y="21"/>
                    <a:pt x="21" y="21"/>
                    <a:pt x="21" y="21"/>
                  </a:cubicBezTo>
                  <a:cubicBezTo>
                    <a:pt x="0" y="21"/>
                    <a:pt x="0" y="21"/>
                    <a:pt x="21" y="0"/>
                  </a:cubicBezTo>
                  <a:cubicBezTo>
                    <a:pt x="21" y="0"/>
                    <a:pt x="21" y="0"/>
                    <a:pt x="41" y="0"/>
                  </a:cubicBezTo>
                  <a:cubicBezTo>
                    <a:pt x="41" y="0"/>
                    <a:pt x="62" y="0"/>
                    <a:pt x="62"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5" name="Freeform 172">
              <a:extLst>
                <a:ext uri="{FF2B5EF4-FFF2-40B4-BE49-F238E27FC236}">
                  <a16:creationId xmlns:a16="http://schemas.microsoft.com/office/drawing/2014/main" id="{3E815FE5-6542-F048-8957-4A0DB2A35C96}"/>
                </a:ext>
              </a:extLst>
            </p:cNvPr>
            <p:cNvSpPr>
              <a:spLocks noChangeArrowheads="1"/>
            </p:cNvSpPr>
            <p:nvPr/>
          </p:nvSpPr>
          <p:spPr bwMode="auto">
            <a:xfrm>
              <a:off x="2771775" y="1397000"/>
              <a:ext cx="15875" cy="22225"/>
            </a:xfrm>
            <a:custGeom>
              <a:avLst/>
              <a:gdLst>
                <a:gd name="T0" fmla="*/ 21 w 42"/>
                <a:gd name="T1" fmla="*/ 0 h 63"/>
                <a:gd name="T2" fmla="*/ 21 w 42"/>
                <a:gd name="T3" fmla="*/ 0 h 63"/>
                <a:gd name="T4" fmla="*/ 0 w 42"/>
                <a:gd name="T5" fmla="*/ 21 h 63"/>
                <a:gd name="T6" fmla="*/ 0 w 42"/>
                <a:gd name="T7" fmla="*/ 62 h 63"/>
                <a:gd name="T8" fmla="*/ 41 w 42"/>
                <a:gd name="T9" fmla="*/ 62 h 63"/>
                <a:gd name="T10" fmla="*/ 41 w 42"/>
                <a:gd name="T11" fmla="*/ 41 h 63"/>
                <a:gd name="T12" fmla="*/ 41 w 42"/>
                <a:gd name="T13" fmla="*/ 0 h 63"/>
                <a:gd name="T14" fmla="*/ 21 w 42"/>
                <a:gd name="T15" fmla="*/ 0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63">
                  <a:moveTo>
                    <a:pt x="21" y="0"/>
                  </a:moveTo>
                  <a:lnTo>
                    <a:pt x="21" y="0"/>
                  </a:lnTo>
                  <a:cubicBezTo>
                    <a:pt x="0" y="0"/>
                    <a:pt x="0" y="21"/>
                    <a:pt x="0" y="21"/>
                  </a:cubicBezTo>
                  <a:cubicBezTo>
                    <a:pt x="0" y="41"/>
                    <a:pt x="0" y="41"/>
                    <a:pt x="0" y="62"/>
                  </a:cubicBezTo>
                  <a:cubicBezTo>
                    <a:pt x="21" y="62"/>
                    <a:pt x="41" y="62"/>
                    <a:pt x="41" y="62"/>
                  </a:cubicBezTo>
                  <a:lnTo>
                    <a:pt x="41" y="41"/>
                  </a:lnTo>
                  <a:cubicBezTo>
                    <a:pt x="41" y="41"/>
                    <a:pt x="41" y="21"/>
                    <a:pt x="41" y="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6" name="Freeform 173">
              <a:extLst>
                <a:ext uri="{FF2B5EF4-FFF2-40B4-BE49-F238E27FC236}">
                  <a16:creationId xmlns:a16="http://schemas.microsoft.com/office/drawing/2014/main" id="{6D7A671A-60B2-3348-956A-5A1B6390ED39}"/>
                </a:ext>
              </a:extLst>
            </p:cNvPr>
            <p:cNvSpPr>
              <a:spLocks noChangeArrowheads="1"/>
            </p:cNvSpPr>
            <p:nvPr/>
          </p:nvSpPr>
          <p:spPr bwMode="auto">
            <a:xfrm>
              <a:off x="2397125" y="2008188"/>
              <a:ext cx="30163" cy="38100"/>
            </a:xfrm>
            <a:custGeom>
              <a:avLst/>
              <a:gdLst>
                <a:gd name="T0" fmla="*/ 60 w 82"/>
                <a:gd name="T1" fmla="*/ 103 h 104"/>
                <a:gd name="T2" fmla="*/ 60 w 82"/>
                <a:gd name="T3" fmla="*/ 103 h 104"/>
                <a:gd name="T4" fmla="*/ 20 w 82"/>
                <a:gd name="T5" fmla="*/ 82 h 104"/>
                <a:gd name="T6" fmla="*/ 20 w 82"/>
                <a:gd name="T7" fmla="*/ 61 h 104"/>
                <a:gd name="T8" fmla="*/ 0 w 82"/>
                <a:gd name="T9" fmla="*/ 41 h 104"/>
                <a:gd name="T10" fmla="*/ 0 w 82"/>
                <a:gd name="T11" fmla="*/ 21 h 104"/>
                <a:gd name="T12" fmla="*/ 20 w 82"/>
                <a:gd name="T13" fmla="*/ 0 h 104"/>
                <a:gd name="T14" fmla="*/ 40 w 82"/>
                <a:gd name="T15" fmla="*/ 21 h 104"/>
                <a:gd name="T16" fmla="*/ 60 w 82"/>
                <a:gd name="T17" fmla="*/ 21 h 104"/>
                <a:gd name="T18" fmla="*/ 81 w 82"/>
                <a:gd name="T19" fmla="*/ 41 h 104"/>
                <a:gd name="T20" fmla="*/ 60 w 82"/>
                <a:gd name="T21" fmla="*/ 61 h 104"/>
                <a:gd name="T22" fmla="*/ 81 w 82"/>
                <a:gd name="T23" fmla="*/ 82 h 104"/>
                <a:gd name="T24" fmla="*/ 60 w 82"/>
                <a:gd name="T25"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104">
                  <a:moveTo>
                    <a:pt x="60" y="103"/>
                  </a:moveTo>
                  <a:lnTo>
                    <a:pt x="60" y="103"/>
                  </a:lnTo>
                  <a:cubicBezTo>
                    <a:pt x="60" y="103"/>
                    <a:pt x="40" y="103"/>
                    <a:pt x="20" y="82"/>
                  </a:cubicBezTo>
                  <a:lnTo>
                    <a:pt x="20" y="61"/>
                  </a:lnTo>
                  <a:cubicBezTo>
                    <a:pt x="20" y="61"/>
                    <a:pt x="0" y="61"/>
                    <a:pt x="0" y="41"/>
                  </a:cubicBezTo>
                  <a:lnTo>
                    <a:pt x="0" y="21"/>
                  </a:lnTo>
                  <a:lnTo>
                    <a:pt x="20" y="0"/>
                  </a:lnTo>
                  <a:lnTo>
                    <a:pt x="40" y="21"/>
                  </a:lnTo>
                  <a:lnTo>
                    <a:pt x="60" y="21"/>
                  </a:lnTo>
                  <a:cubicBezTo>
                    <a:pt x="81" y="21"/>
                    <a:pt x="81" y="41"/>
                    <a:pt x="81" y="41"/>
                  </a:cubicBezTo>
                  <a:lnTo>
                    <a:pt x="60" y="61"/>
                  </a:lnTo>
                  <a:lnTo>
                    <a:pt x="81" y="82"/>
                  </a:lnTo>
                  <a:lnTo>
                    <a:pt x="60" y="103"/>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7" name="Freeform 174">
              <a:extLst>
                <a:ext uri="{FF2B5EF4-FFF2-40B4-BE49-F238E27FC236}">
                  <a16:creationId xmlns:a16="http://schemas.microsoft.com/office/drawing/2014/main" id="{F72C9AC7-B397-2140-AAF6-CA66D34BE962}"/>
                </a:ext>
              </a:extLst>
            </p:cNvPr>
            <p:cNvSpPr>
              <a:spLocks noChangeArrowheads="1"/>
            </p:cNvSpPr>
            <p:nvPr/>
          </p:nvSpPr>
          <p:spPr bwMode="auto">
            <a:xfrm>
              <a:off x="2433638" y="1971675"/>
              <a:ext cx="22225" cy="22225"/>
            </a:xfrm>
            <a:custGeom>
              <a:avLst/>
              <a:gdLst>
                <a:gd name="T0" fmla="*/ 40 w 62"/>
                <a:gd name="T1" fmla="*/ 62 h 63"/>
                <a:gd name="T2" fmla="*/ 40 w 62"/>
                <a:gd name="T3" fmla="*/ 62 h 63"/>
                <a:gd name="T4" fmla="*/ 20 w 62"/>
                <a:gd name="T5" fmla="*/ 42 h 63"/>
                <a:gd name="T6" fmla="*/ 0 w 62"/>
                <a:gd name="T7" fmla="*/ 42 h 63"/>
                <a:gd name="T8" fmla="*/ 0 w 62"/>
                <a:gd name="T9" fmla="*/ 21 h 63"/>
                <a:gd name="T10" fmla="*/ 0 w 62"/>
                <a:gd name="T11" fmla="*/ 0 h 63"/>
                <a:gd name="T12" fmla="*/ 40 w 62"/>
                <a:gd name="T13" fmla="*/ 0 h 63"/>
                <a:gd name="T14" fmla="*/ 40 w 62"/>
                <a:gd name="T15" fmla="*/ 0 h 63"/>
                <a:gd name="T16" fmla="*/ 61 w 62"/>
                <a:gd name="T17" fmla="*/ 0 h 63"/>
                <a:gd name="T18" fmla="*/ 61 w 62"/>
                <a:gd name="T19" fmla="*/ 21 h 63"/>
                <a:gd name="T20" fmla="*/ 61 w 62"/>
                <a:gd name="T21" fmla="*/ 42 h 63"/>
                <a:gd name="T22" fmla="*/ 40 w 62"/>
                <a:gd name="T23"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40" y="62"/>
                  </a:moveTo>
                  <a:lnTo>
                    <a:pt x="40" y="62"/>
                  </a:lnTo>
                  <a:lnTo>
                    <a:pt x="20" y="42"/>
                  </a:lnTo>
                  <a:lnTo>
                    <a:pt x="0" y="42"/>
                  </a:lnTo>
                  <a:lnTo>
                    <a:pt x="0" y="21"/>
                  </a:lnTo>
                  <a:lnTo>
                    <a:pt x="0" y="0"/>
                  </a:lnTo>
                  <a:cubicBezTo>
                    <a:pt x="20" y="0"/>
                    <a:pt x="20" y="0"/>
                    <a:pt x="40" y="0"/>
                  </a:cubicBezTo>
                  <a:lnTo>
                    <a:pt x="40" y="0"/>
                  </a:lnTo>
                  <a:lnTo>
                    <a:pt x="61" y="0"/>
                  </a:lnTo>
                  <a:lnTo>
                    <a:pt x="61" y="21"/>
                  </a:lnTo>
                  <a:cubicBezTo>
                    <a:pt x="61" y="42"/>
                    <a:pt x="61" y="42"/>
                    <a:pt x="61" y="42"/>
                  </a:cubicBezTo>
                  <a:cubicBezTo>
                    <a:pt x="61" y="62"/>
                    <a:pt x="40" y="62"/>
                    <a:pt x="40"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8" name="Freeform 175">
              <a:extLst>
                <a:ext uri="{FF2B5EF4-FFF2-40B4-BE49-F238E27FC236}">
                  <a16:creationId xmlns:a16="http://schemas.microsoft.com/office/drawing/2014/main" id="{489E2A5F-B1EC-1746-879E-8DC5FE340848}"/>
                </a:ext>
              </a:extLst>
            </p:cNvPr>
            <p:cNvSpPr>
              <a:spLocks noChangeArrowheads="1"/>
            </p:cNvSpPr>
            <p:nvPr/>
          </p:nvSpPr>
          <p:spPr bwMode="auto">
            <a:xfrm>
              <a:off x="2233613" y="1987550"/>
              <a:ext cx="74612" cy="44450"/>
            </a:xfrm>
            <a:custGeom>
              <a:avLst/>
              <a:gdLst>
                <a:gd name="T0" fmla="*/ 144 w 207"/>
                <a:gd name="T1" fmla="*/ 102 h 123"/>
                <a:gd name="T2" fmla="*/ 144 w 207"/>
                <a:gd name="T3" fmla="*/ 102 h 123"/>
                <a:gd name="T4" fmla="*/ 103 w 207"/>
                <a:gd name="T5" fmla="*/ 102 h 123"/>
                <a:gd name="T6" fmla="*/ 82 w 207"/>
                <a:gd name="T7" fmla="*/ 122 h 123"/>
                <a:gd name="T8" fmla="*/ 62 w 207"/>
                <a:gd name="T9" fmla="*/ 122 h 123"/>
                <a:gd name="T10" fmla="*/ 42 w 207"/>
                <a:gd name="T11" fmla="*/ 122 h 123"/>
                <a:gd name="T12" fmla="*/ 21 w 207"/>
                <a:gd name="T13" fmla="*/ 122 h 123"/>
                <a:gd name="T14" fmla="*/ 21 w 207"/>
                <a:gd name="T15" fmla="*/ 82 h 123"/>
                <a:gd name="T16" fmla="*/ 42 w 207"/>
                <a:gd name="T17" fmla="*/ 61 h 123"/>
                <a:gd name="T18" fmla="*/ 42 w 207"/>
                <a:gd name="T19" fmla="*/ 20 h 123"/>
                <a:gd name="T20" fmla="*/ 62 w 207"/>
                <a:gd name="T21" fmla="*/ 0 h 123"/>
                <a:gd name="T22" fmla="*/ 103 w 207"/>
                <a:gd name="T23" fmla="*/ 0 h 123"/>
                <a:gd name="T24" fmla="*/ 124 w 207"/>
                <a:gd name="T25" fmla="*/ 20 h 123"/>
                <a:gd name="T26" fmla="*/ 144 w 207"/>
                <a:gd name="T27" fmla="*/ 20 h 123"/>
                <a:gd name="T28" fmla="*/ 185 w 207"/>
                <a:gd name="T29" fmla="*/ 20 h 123"/>
                <a:gd name="T30" fmla="*/ 206 w 207"/>
                <a:gd name="T31" fmla="*/ 40 h 123"/>
                <a:gd name="T32" fmla="*/ 206 w 207"/>
                <a:gd name="T33" fmla="*/ 82 h 123"/>
                <a:gd name="T34" fmla="*/ 164 w 207"/>
                <a:gd name="T35" fmla="*/ 102 h 123"/>
                <a:gd name="T36" fmla="*/ 144 w 207"/>
                <a:gd name="T37" fmla="*/ 10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7" h="123">
                  <a:moveTo>
                    <a:pt x="144" y="102"/>
                  </a:moveTo>
                  <a:lnTo>
                    <a:pt x="144" y="102"/>
                  </a:lnTo>
                  <a:cubicBezTo>
                    <a:pt x="124" y="122"/>
                    <a:pt x="103" y="102"/>
                    <a:pt x="103" y="102"/>
                  </a:cubicBezTo>
                  <a:cubicBezTo>
                    <a:pt x="103" y="122"/>
                    <a:pt x="82" y="122"/>
                    <a:pt x="82" y="122"/>
                  </a:cubicBezTo>
                  <a:lnTo>
                    <a:pt x="62" y="122"/>
                  </a:lnTo>
                  <a:cubicBezTo>
                    <a:pt x="62" y="122"/>
                    <a:pt x="62" y="122"/>
                    <a:pt x="42" y="122"/>
                  </a:cubicBezTo>
                  <a:lnTo>
                    <a:pt x="21" y="122"/>
                  </a:lnTo>
                  <a:cubicBezTo>
                    <a:pt x="0" y="122"/>
                    <a:pt x="0" y="102"/>
                    <a:pt x="21" y="82"/>
                  </a:cubicBezTo>
                  <a:cubicBezTo>
                    <a:pt x="21" y="82"/>
                    <a:pt x="21" y="82"/>
                    <a:pt x="42" y="61"/>
                  </a:cubicBezTo>
                  <a:cubicBezTo>
                    <a:pt x="42" y="61"/>
                    <a:pt x="42" y="40"/>
                    <a:pt x="42" y="20"/>
                  </a:cubicBezTo>
                  <a:lnTo>
                    <a:pt x="62" y="0"/>
                  </a:lnTo>
                  <a:lnTo>
                    <a:pt x="103" y="0"/>
                  </a:lnTo>
                  <a:cubicBezTo>
                    <a:pt x="124" y="0"/>
                    <a:pt x="124" y="20"/>
                    <a:pt x="124" y="20"/>
                  </a:cubicBezTo>
                  <a:lnTo>
                    <a:pt x="144" y="20"/>
                  </a:lnTo>
                  <a:cubicBezTo>
                    <a:pt x="144" y="20"/>
                    <a:pt x="164" y="20"/>
                    <a:pt x="185" y="20"/>
                  </a:cubicBezTo>
                  <a:cubicBezTo>
                    <a:pt x="185" y="40"/>
                    <a:pt x="206" y="40"/>
                    <a:pt x="206" y="40"/>
                  </a:cubicBezTo>
                  <a:cubicBezTo>
                    <a:pt x="206" y="61"/>
                    <a:pt x="206" y="82"/>
                    <a:pt x="206" y="82"/>
                  </a:cubicBezTo>
                  <a:cubicBezTo>
                    <a:pt x="206" y="102"/>
                    <a:pt x="185" y="102"/>
                    <a:pt x="164" y="102"/>
                  </a:cubicBezTo>
                  <a:lnTo>
                    <a:pt x="144" y="10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79" name="Freeform 176">
              <a:extLst>
                <a:ext uri="{FF2B5EF4-FFF2-40B4-BE49-F238E27FC236}">
                  <a16:creationId xmlns:a16="http://schemas.microsoft.com/office/drawing/2014/main" id="{583F4B58-1F48-9A4D-BBC2-B1BDD83FBB61}"/>
                </a:ext>
              </a:extLst>
            </p:cNvPr>
            <p:cNvSpPr>
              <a:spLocks noChangeArrowheads="1"/>
            </p:cNvSpPr>
            <p:nvPr/>
          </p:nvSpPr>
          <p:spPr bwMode="auto">
            <a:xfrm>
              <a:off x="1865313" y="2281238"/>
              <a:ext cx="88900" cy="74612"/>
            </a:xfrm>
            <a:custGeom>
              <a:avLst/>
              <a:gdLst>
                <a:gd name="T0" fmla="*/ 225 w 247"/>
                <a:gd name="T1" fmla="*/ 184 h 206"/>
                <a:gd name="T2" fmla="*/ 225 w 247"/>
                <a:gd name="T3" fmla="*/ 184 h 206"/>
                <a:gd name="T4" fmla="*/ 225 w 247"/>
                <a:gd name="T5" fmla="*/ 144 h 206"/>
                <a:gd name="T6" fmla="*/ 225 w 247"/>
                <a:gd name="T7" fmla="*/ 123 h 206"/>
                <a:gd name="T8" fmla="*/ 184 w 247"/>
                <a:gd name="T9" fmla="*/ 102 h 206"/>
                <a:gd name="T10" fmla="*/ 143 w 247"/>
                <a:gd name="T11" fmla="*/ 82 h 206"/>
                <a:gd name="T12" fmla="*/ 102 w 247"/>
                <a:gd name="T13" fmla="*/ 41 h 206"/>
                <a:gd name="T14" fmla="*/ 82 w 247"/>
                <a:gd name="T15" fmla="*/ 21 h 206"/>
                <a:gd name="T16" fmla="*/ 41 w 247"/>
                <a:gd name="T17" fmla="*/ 0 h 206"/>
                <a:gd name="T18" fmla="*/ 20 w 247"/>
                <a:gd name="T19" fmla="*/ 21 h 206"/>
                <a:gd name="T20" fmla="*/ 20 w 247"/>
                <a:gd name="T21" fmla="*/ 62 h 206"/>
                <a:gd name="T22" fmla="*/ 0 w 247"/>
                <a:gd name="T23" fmla="*/ 62 h 206"/>
                <a:gd name="T24" fmla="*/ 0 w 247"/>
                <a:gd name="T25" fmla="*/ 82 h 206"/>
                <a:gd name="T26" fmla="*/ 41 w 247"/>
                <a:gd name="T27" fmla="*/ 102 h 206"/>
                <a:gd name="T28" fmla="*/ 41 w 247"/>
                <a:gd name="T29" fmla="*/ 123 h 206"/>
                <a:gd name="T30" fmla="*/ 61 w 247"/>
                <a:gd name="T31" fmla="*/ 144 h 206"/>
                <a:gd name="T32" fmla="*/ 102 w 247"/>
                <a:gd name="T33" fmla="*/ 144 h 206"/>
                <a:gd name="T34" fmla="*/ 123 w 247"/>
                <a:gd name="T35" fmla="*/ 164 h 206"/>
                <a:gd name="T36" fmla="*/ 123 w 247"/>
                <a:gd name="T37" fmla="*/ 184 h 206"/>
                <a:gd name="T38" fmla="*/ 143 w 247"/>
                <a:gd name="T39" fmla="*/ 205 h 206"/>
                <a:gd name="T40" fmla="*/ 164 w 247"/>
                <a:gd name="T41" fmla="*/ 205 h 206"/>
                <a:gd name="T42" fmla="*/ 205 w 247"/>
                <a:gd name="T43" fmla="*/ 205 h 206"/>
                <a:gd name="T44" fmla="*/ 225 w 247"/>
                <a:gd name="T45" fmla="*/ 184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7" h="206">
                  <a:moveTo>
                    <a:pt x="225" y="184"/>
                  </a:moveTo>
                  <a:lnTo>
                    <a:pt x="225" y="184"/>
                  </a:lnTo>
                  <a:cubicBezTo>
                    <a:pt x="246" y="164"/>
                    <a:pt x="225" y="164"/>
                    <a:pt x="225" y="144"/>
                  </a:cubicBezTo>
                  <a:lnTo>
                    <a:pt x="225" y="123"/>
                  </a:lnTo>
                  <a:cubicBezTo>
                    <a:pt x="205" y="102"/>
                    <a:pt x="205" y="102"/>
                    <a:pt x="184" y="102"/>
                  </a:cubicBezTo>
                  <a:cubicBezTo>
                    <a:pt x="184" y="102"/>
                    <a:pt x="164" y="82"/>
                    <a:pt x="143" y="82"/>
                  </a:cubicBezTo>
                  <a:cubicBezTo>
                    <a:pt x="143" y="82"/>
                    <a:pt x="123" y="62"/>
                    <a:pt x="102" y="41"/>
                  </a:cubicBezTo>
                  <a:lnTo>
                    <a:pt x="82" y="21"/>
                  </a:lnTo>
                  <a:cubicBezTo>
                    <a:pt x="61" y="0"/>
                    <a:pt x="41" y="0"/>
                    <a:pt x="41" y="0"/>
                  </a:cubicBezTo>
                  <a:cubicBezTo>
                    <a:pt x="41" y="21"/>
                    <a:pt x="20" y="21"/>
                    <a:pt x="20" y="21"/>
                  </a:cubicBezTo>
                  <a:cubicBezTo>
                    <a:pt x="20" y="41"/>
                    <a:pt x="20" y="62"/>
                    <a:pt x="20" y="62"/>
                  </a:cubicBezTo>
                  <a:cubicBezTo>
                    <a:pt x="20" y="62"/>
                    <a:pt x="20" y="62"/>
                    <a:pt x="0" y="62"/>
                  </a:cubicBezTo>
                  <a:lnTo>
                    <a:pt x="0" y="82"/>
                  </a:lnTo>
                  <a:cubicBezTo>
                    <a:pt x="20" y="102"/>
                    <a:pt x="20" y="102"/>
                    <a:pt x="41" y="102"/>
                  </a:cubicBezTo>
                  <a:lnTo>
                    <a:pt x="41" y="123"/>
                  </a:lnTo>
                  <a:cubicBezTo>
                    <a:pt x="41" y="144"/>
                    <a:pt x="61" y="144"/>
                    <a:pt x="61" y="144"/>
                  </a:cubicBezTo>
                  <a:cubicBezTo>
                    <a:pt x="61" y="144"/>
                    <a:pt x="82" y="144"/>
                    <a:pt x="102" y="144"/>
                  </a:cubicBezTo>
                  <a:cubicBezTo>
                    <a:pt x="102" y="144"/>
                    <a:pt x="123" y="144"/>
                    <a:pt x="123" y="164"/>
                  </a:cubicBezTo>
                  <a:cubicBezTo>
                    <a:pt x="123" y="164"/>
                    <a:pt x="123" y="164"/>
                    <a:pt x="123" y="184"/>
                  </a:cubicBezTo>
                  <a:cubicBezTo>
                    <a:pt x="143" y="184"/>
                    <a:pt x="143" y="205"/>
                    <a:pt x="143" y="205"/>
                  </a:cubicBezTo>
                  <a:lnTo>
                    <a:pt x="164" y="205"/>
                  </a:lnTo>
                  <a:cubicBezTo>
                    <a:pt x="184" y="205"/>
                    <a:pt x="184" y="205"/>
                    <a:pt x="205" y="205"/>
                  </a:cubicBezTo>
                  <a:cubicBezTo>
                    <a:pt x="205" y="205"/>
                    <a:pt x="205" y="184"/>
                    <a:pt x="225" y="18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0" name="Freeform 177">
              <a:extLst>
                <a:ext uri="{FF2B5EF4-FFF2-40B4-BE49-F238E27FC236}">
                  <a16:creationId xmlns:a16="http://schemas.microsoft.com/office/drawing/2014/main" id="{8F45A394-A3D0-9742-A844-8B4B861D9E4A}"/>
                </a:ext>
              </a:extLst>
            </p:cNvPr>
            <p:cNvSpPr>
              <a:spLocks noChangeArrowheads="1"/>
            </p:cNvSpPr>
            <p:nvPr/>
          </p:nvSpPr>
          <p:spPr bwMode="auto">
            <a:xfrm>
              <a:off x="1474788" y="2384425"/>
              <a:ext cx="88900" cy="58738"/>
            </a:xfrm>
            <a:custGeom>
              <a:avLst/>
              <a:gdLst>
                <a:gd name="T0" fmla="*/ 123 w 247"/>
                <a:gd name="T1" fmla="*/ 143 h 165"/>
                <a:gd name="T2" fmla="*/ 123 w 247"/>
                <a:gd name="T3" fmla="*/ 143 h 165"/>
                <a:gd name="T4" fmla="*/ 82 w 247"/>
                <a:gd name="T5" fmla="*/ 164 h 165"/>
                <a:gd name="T6" fmla="*/ 21 w 247"/>
                <a:gd name="T7" fmla="*/ 164 h 165"/>
                <a:gd name="T8" fmla="*/ 21 w 247"/>
                <a:gd name="T9" fmla="*/ 123 h 165"/>
                <a:gd name="T10" fmla="*/ 0 w 247"/>
                <a:gd name="T11" fmla="*/ 82 h 165"/>
                <a:gd name="T12" fmla="*/ 21 w 247"/>
                <a:gd name="T13" fmla="*/ 41 h 165"/>
                <a:gd name="T14" fmla="*/ 41 w 247"/>
                <a:gd name="T15" fmla="*/ 21 h 165"/>
                <a:gd name="T16" fmla="*/ 61 w 247"/>
                <a:gd name="T17" fmla="*/ 0 h 165"/>
                <a:gd name="T18" fmla="*/ 103 w 247"/>
                <a:gd name="T19" fmla="*/ 0 h 165"/>
                <a:gd name="T20" fmla="*/ 123 w 247"/>
                <a:gd name="T21" fmla="*/ 21 h 165"/>
                <a:gd name="T22" fmla="*/ 164 w 247"/>
                <a:gd name="T23" fmla="*/ 41 h 165"/>
                <a:gd name="T24" fmla="*/ 184 w 247"/>
                <a:gd name="T25" fmla="*/ 41 h 165"/>
                <a:gd name="T26" fmla="*/ 225 w 247"/>
                <a:gd name="T27" fmla="*/ 41 h 165"/>
                <a:gd name="T28" fmla="*/ 246 w 247"/>
                <a:gd name="T29" fmla="*/ 61 h 165"/>
                <a:gd name="T30" fmla="*/ 246 w 247"/>
                <a:gd name="T31" fmla="*/ 103 h 165"/>
                <a:gd name="T32" fmla="*/ 205 w 247"/>
                <a:gd name="T33" fmla="*/ 123 h 165"/>
                <a:gd name="T34" fmla="*/ 205 w 247"/>
                <a:gd name="T35" fmla="*/ 103 h 165"/>
                <a:gd name="T36" fmla="*/ 184 w 247"/>
                <a:gd name="T37" fmla="*/ 103 h 165"/>
                <a:gd name="T38" fmla="*/ 164 w 247"/>
                <a:gd name="T39" fmla="*/ 143 h 165"/>
                <a:gd name="T40" fmla="*/ 123 w 247"/>
                <a:gd name="T41" fmla="*/ 14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7" h="165">
                  <a:moveTo>
                    <a:pt x="123" y="143"/>
                  </a:moveTo>
                  <a:lnTo>
                    <a:pt x="123" y="143"/>
                  </a:lnTo>
                  <a:cubicBezTo>
                    <a:pt x="123" y="143"/>
                    <a:pt x="103" y="164"/>
                    <a:pt x="82" y="164"/>
                  </a:cubicBezTo>
                  <a:cubicBezTo>
                    <a:pt x="82" y="164"/>
                    <a:pt x="41" y="164"/>
                    <a:pt x="21" y="164"/>
                  </a:cubicBezTo>
                  <a:cubicBezTo>
                    <a:pt x="21" y="164"/>
                    <a:pt x="21" y="143"/>
                    <a:pt x="21" y="123"/>
                  </a:cubicBezTo>
                  <a:cubicBezTo>
                    <a:pt x="0" y="123"/>
                    <a:pt x="0" y="82"/>
                    <a:pt x="0" y="82"/>
                  </a:cubicBezTo>
                  <a:cubicBezTo>
                    <a:pt x="0" y="61"/>
                    <a:pt x="0" y="41"/>
                    <a:pt x="21" y="41"/>
                  </a:cubicBezTo>
                  <a:cubicBezTo>
                    <a:pt x="21" y="41"/>
                    <a:pt x="21" y="21"/>
                    <a:pt x="41" y="21"/>
                  </a:cubicBezTo>
                  <a:lnTo>
                    <a:pt x="61" y="0"/>
                  </a:lnTo>
                  <a:cubicBezTo>
                    <a:pt x="82" y="0"/>
                    <a:pt x="103" y="0"/>
                    <a:pt x="103" y="0"/>
                  </a:cubicBezTo>
                  <a:cubicBezTo>
                    <a:pt x="103" y="0"/>
                    <a:pt x="123" y="0"/>
                    <a:pt x="123" y="21"/>
                  </a:cubicBezTo>
                  <a:cubicBezTo>
                    <a:pt x="143" y="21"/>
                    <a:pt x="143" y="41"/>
                    <a:pt x="164" y="41"/>
                  </a:cubicBezTo>
                  <a:lnTo>
                    <a:pt x="184" y="41"/>
                  </a:lnTo>
                  <a:lnTo>
                    <a:pt x="225" y="41"/>
                  </a:lnTo>
                  <a:lnTo>
                    <a:pt x="246" y="61"/>
                  </a:lnTo>
                  <a:cubicBezTo>
                    <a:pt x="246" y="82"/>
                    <a:pt x="246" y="103"/>
                    <a:pt x="246" y="103"/>
                  </a:cubicBezTo>
                  <a:cubicBezTo>
                    <a:pt x="225" y="123"/>
                    <a:pt x="225" y="123"/>
                    <a:pt x="205" y="123"/>
                  </a:cubicBezTo>
                  <a:cubicBezTo>
                    <a:pt x="205" y="103"/>
                    <a:pt x="205" y="103"/>
                    <a:pt x="205" y="103"/>
                  </a:cubicBezTo>
                  <a:cubicBezTo>
                    <a:pt x="184" y="103"/>
                    <a:pt x="184" y="103"/>
                    <a:pt x="184" y="103"/>
                  </a:cubicBezTo>
                  <a:cubicBezTo>
                    <a:pt x="184" y="123"/>
                    <a:pt x="164" y="143"/>
                    <a:pt x="164" y="143"/>
                  </a:cubicBezTo>
                  <a:cubicBezTo>
                    <a:pt x="143" y="143"/>
                    <a:pt x="143" y="143"/>
                    <a:pt x="123" y="14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1" name="Freeform 178">
              <a:extLst>
                <a:ext uri="{FF2B5EF4-FFF2-40B4-BE49-F238E27FC236}">
                  <a16:creationId xmlns:a16="http://schemas.microsoft.com/office/drawing/2014/main" id="{B6BC46CB-F1E0-1B4E-904B-B2C9505C2E7F}"/>
                </a:ext>
              </a:extLst>
            </p:cNvPr>
            <p:cNvSpPr>
              <a:spLocks noChangeArrowheads="1"/>
            </p:cNvSpPr>
            <p:nvPr/>
          </p:nvSpPr>
          <p:spPr bwMode="auto">
            <a:xfrm>
              <a:off x="1252538" y="2620963"/>
              <a:ext cx="22225" cy="22225"/>
            </a:xfrm>
            <a:custGeom>
              <a:avLst/>
              <a:gdLst>
                <a:gd name="T0" fmla="*/ 41 w 63"/>
                <a:gd name="T1" fmla="*/ 62 h 63"/>
                <a:gd name="T2" fmla="*/ 41 w 63"/>
                <a:gd name="T3" fmla="*/ 62 h 63"/>
                <a:gd name="T4" fmla="*/ 21 w 63"/>
                <a:gd name="T5" fmla="*/ 42 h 63"/>
                <a:gd name="T6" fmla="*/ 0 w 63"/>
                <a:gd name="T7" fmla="*/ 21 h 63"/>
                <a:gd name="T8" fmla="*/ 21 w 63"/>
                <a:gd name="T9" fmla="*/ 0 h 63"/>
                <a:gd name="T10" fmla="*/ 41 w 63"/>
                <a:gd name="T11" fmla="*/ 0 h 63"/>
                <a:gd name="T12" fmla="*/ 41 w 63"/>
                <a:gd name="T13" fmla="*/ 21 h 63"/>
                <a:gd name="T14" fmla="*/ 41 w 63"/>
                <a:gd name="T15" fmla="*/ 42 h 63"/>
                <a:gd name="T16" fmla="*/ 41 w 63"/>
                <a:gd name="T1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3">
                  <a:moveTo>
                    <a:pt x="41" y="62"/>
                  </a:moveTo>
                  <a:lnTo>
                    <a:pt x="41" y="62"/>
                  </a:lnTo>
                  <a:cubicBezTo>
                    <a:pt x="21" y="62"/>
                    <a:pt x="21" y="42"/>
                    <a:pt x="21" y="42"/>
                  </a:cubicBezTo>
                  <a:cubicBezTo>
                    <a:pt x="0" y="42"/>
                    <a:pt x="0" y="21"/>
                    <a:pt x="0" y="21"/>
                  </a:cubicBezTo>
                  <a:lnTo>
                    <a:pt x="21" y="0"/>
                  </a:lnTo>
                  <a:lnTo>
                    <a:pt x="41" y="0"/>
                  </a:lnTo>
                  <a:cubicBezTo>
                    <a:pt x="41" y="21"/>
                    <a:pt x="41" y="21"/>
                    <a:pt x="41" y="21"/>
                  </a:cubicBezTo>
                  <a:cubicBezTo>
                    <a:pt x="62" y="42"/>
                    <a:pt x="62" y="42"/>
                    <a:pt x="41" y="42"/>
                  </a:cubicBezTo>
                  <a:cubicBezTo>
                    <a:pt x="41" y="62"/>
                    <a:pt x="41" y="62"/>
                    <a:pt x="41"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2" name="Freeform 179">
              <a:extLst>
                <a:ext uri="{FF2B5EF4-FFF2-40B4-BE49-F238E27FC236}">
                  <a16:creationId xmlns:a16="http://schemas.microsoft.com/office/drawing/2014/main" id="{7FD9DAFB-44E1-3143-81CC-CB8D8316224E}"/>
                </a:ext>
              </a:extLst>
            </p:cNvPr>
            <p:cNvSpPr>
              <a:spLocks noChangeArrowheads="1"/>
            </p:cNvSpPr>
            <p:nvPr/>
          </p:nvSpPr>
          <p:spPr bwMode="auto">
            <a:xfrm>
              <a:off x="1606550" y="2208213"/>
              <a:ext cx="36513" cy="30162"/>
            </a:xfrm>
            <a:custGeom>
              <a:avLst/>
              <a:gdLst>
                <a:gd name="T0" fmla="*/ 61 w 103"/>
                <a:gd name="T1" fmla="*/ 82 h 83"/>
                <a:gd name="T2" fmla="*/ 61 w 103"/>
                <a:gd name="T3" fmla="*/ 82 h 83"/>
                <a:gd name="T4" fmla="*/ 61 w 103"/>
                <a:gd name="T5" fmla="*/ 62 h 83"/>
                <a:gd name="T6" fmla="*/ 20 w 103"/>
                <a:gd name="T7" fmla="*/ 41 h 83"/>
                <a:gd name="T8" fmla="*/ 0 w 103"/>
                <a:gd name="T9" fmla="*/ 41 h 83"/>
                <a:gd name="T10" fmla="*/ 0 w 103"/>
                <a:gd name="T11" fmla="*/ 21 h 83"/>
                <a:gd name="T12" fmla="*/ 20 w 103"/>
                <a:gd name="T13" fmla="*/ 0 h 83"/>
                <a:gd name="T14" fmla="*/ 61 w 103"/>
                <a:gd name="T15" fmla="*/ 0 h 83"/>
                <a:gd name="T16" fmla="*/ 61 w 103"/>
                <a:gd name="T17" fmla="*/ 0 h 83"/>
                <a:gd name="T18" fmla="*/ 61 w 103"/>
                <a:gd name="T19" fmla="*/ 21 h 83"/>
                <a:gd name="T20" fmla="*/ 82 w 103"/>
                <a:gd name="T21" fmla="*/ 21 h 83"/>
                <a:gd name="T22" fmla="*/ 102 w 103"/>
                <a:gd name="T23" fmla="*/ 21 h 83"/>
                <a:gd name="T24" fmla="*/ 102 w 103"/>
                <a:gd name="T25" fmla="*/ 41 h 83"/>
                <a:gd name="T26" fmla="*/ 102 w 103"/>
                <a:gd name="T27" fmla="*/ 62 h 83"/>
                <a:gd name="T28" fmla="*/ 82 w 103"/>
                <a:gd name="T29" fmla="*/ 82 h 83"/>
                <a:gd name="T30" fmla="*/ 61 w 103"/>
                <a:gd name="T31"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3" h="83">
                  <a:moveTo>
                    <a:pt x="61" y="82"/>
                  </a:moveTo>
                  <a:lnTo>
                    <a:pt x="61" y="82"/>
                  </a:lnTo>
                  <a:lnTo>
                    <a:pt x="61" y="62"/>
                  </a:lnTo>
                  <a:cubicBezTo>
                    <a:pt x="40" y="41"/>
                    <a:pt x="40" y="41"/>
                    <a:pt x="20" y="41"/>
                  </a:cubicBezTo>
                  <a:cubicBezTo>
                    <a:pt x="20" y="41"/>
                    <a:pt x="20" y="41"/>
                    <a:pt x="0" y="41"/>
                  </a:cubicBezTo>
                  <a:lnTo>
                    <a:pt x="0" y="21"/>
                  </a:lnTo>
                  <a:cubicBezTo>
                    <a:pt x="0" y="0"/>
                    <a:pt x="20" y="0"/>
                    <a:pt x="20" y="0"/>
                  </a:cubicBezTo>
                  <a:cubicBezTo>
                    <a:pt x="40" y="0"/>
                    <a:pt x="61" y="0"/>
                    <a:pt x="61" y="0"/>
                  </a:cubicBezTo>
                  <a:lnTo>
                    <a:pt x="61" y="0"/>
                  </a:lnTo>
                  <a:cubicBezTo>
                    <a:pt x="61" y="21"/>
                    <a:pt x="61" y="21"/>
                    <a:pt x="61" y="21"/>
                  </a:cubicBezTo>
                  <a:lnTo>
                    <a:pt x="82" y="21"/>
                  </a:lnTo>
                  <a:lnTo>
                    <a:pt x="102" y="21"/>
                  </a:lnTo>
                  <a:lnTo>
                    <a:pt x="102" y="41"/>
                  </a:lnTo>
                  <a:lnTo>
                    <a:pt x="102" y="62"/>
                  </a:lnTo>
                  <a:cubicBezTo>
                    <a:pt x="102" y="62"/>
                    <a:pt x="102" y="82"/>
                    <a:pt x="82" y="82"/>
                  </a:cubicBezTo>
                  <a:cubicBezTo>
                    <a:pt x="82" y="82"/>
                    <a:pt x="82" y="82"/>
                    <a:pt x="61"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3" name="Freeform 180">
              <a:extLst>
                <a:ext uri="{FF2B5EF4-FFF2-40B4-BE49-F238E27FC236}">
                  <a16:creationId xmlns:a16="http://schemas.microsoft.com/office/drawing/2014/main" id="{5A3EFCF9-EFE8-0D43-BCAC-0BD9568100E5}"/>
                </a:ext>
              </a:extLst>
            </p:cNvPr>
            <p:cNvSpPr>
              <a:spLocks noChangeArrowheads="1"/>
            </p:cNvSpPr>
            <p:nvPr/>
          </p:nvSpPr>
          <p:spPr bwMode="auto">
            <a:xfrm>
              <a:off x="1570038" y="2024063"/>
              <a:ext cx="244475" cy="250825"/>
            </a:xfrm>
            <a:custGeom>
              <a:avLst/>
              <a:gdLst>
                <a:gd name="T0" fmla="*/ 573 w 677"/>
                <a:gd name="T1" fmla="*/ 676 h 698"/>
                <a:gd name="T2" fmla="*/ 614 w 677"/>
                <a:gd name="T3" fmla="*/ 676 h 698"/>
                <a:gd name="T4" fmla="*/ 676 w 677"/>
                <a:gd name="T5" fmla="*/ 676 h 698"/>
                <a:gd name="T6" fmla="*/ 634 w 677"/>
                <a:gd name="T7" fmla="*/ 615 h 698"/>
                <a:gd name="T8" fmla="*/ 552 w 677"/>
                <a:gd name="T9" fmla="*/ 533 h 698"/>
                <a:gd name="T10" fmla="*/ 470 w 677"/>
                <a:gd name="T11" fmla="*/ 430 h 698"/>
                <a:gd name="T12" fmla="*/ 430 w 677"/>
                <a:gd name="T13" fmla="*/ 348 h 698"/>
                <a:gd name="T14" fmla="*/ 430 w 677"/>
                <a:gd name="T15" fmla="*/ 266 h 698"/>
                <a:gd name="T16" fmla="*/ 409 w 677"/>
                <a:gd name="T17" fmla="*/ 205 h 698"/>
                <a:gd name="T18" fmla="*/ 430 w 677"/>
                <a:gd name="T19" fmla="*/ 143 h 698"/>
                <a:gd name="T20" fmla="*/ 470 w 677"/>
                <a:gd name="T21" fmla="*/ 82 h 698"/>
                <a:gd name="T22" fmla="*/ 470 w 677"/>
                <a:gd name="T23" fmla="*/ 41 h 698"/>
                <a:gd name="T24" fmla="*/ 409 w 677"/>
                <a:gd name="T25" fmla="*/ 20 h 698"/>
                <a:gd name="T26" fmla="*/ 286 w 677"/>
                <a:gd name="T27" fmla="*/ 20 h 698"/>
                <a:gd name="T28" fmla="*/ 184 w 677"/>
                <a:gd name="T29" fmla="*/ 20 h 698"/>
                <a:gd name="T30" fmla="*/ 142 w 677"/>
                <a:gd name="T31" fmla="*/ 62 h 698"/>
                <a:gd name="T32" fmla="*/ 142 w 677"/>
                <a:gd name="T33" fmla="*/ 102 h 698"/>
                <a:gd name="T34" fmla="*/ 102 w 677"/>
                <a:gd name="T35" fmla="*/ 143 h 698"/>
                <a:gd name="T36" fmla="*/ 142 w 677"/>
                <a:gd name="T37" fmla="*/ 164 h 698"/>
                <a:gd name="T38" fmla="*/ 142 w 677"/>
                <a:gd name="T39" fmla="*/ 205 h 698"/>
                <a:gd name="T40" fmla="*/ 102 w 677"/>
                <a:gd name="T41" fmla="*/ 266 h 698"/>
                <a:gd name="T42" fmla="*/ 102 w 677"/>
                <a:gd name="T43" fmla="*/ 328 h 698"/>
                <a:gd name="T44" fmla="*/ 60 w 677"/>
                <a:gd name="T45" fmla="*/ 307 h 698"/>
                <a:gd name="T46" fmla="*/ 20 w 677"/>
                <a:gd name="T47" fmla="*/ 348 h 698"/>
                <a:gd name="T48" fmla="*/ 0 w 677"/>
                <a:gd name="T49" fmla="*/ 410 h 698"/>
                <a:gd name="T50" fmla="*/ 60 w 677"/>
                <a:gd name="T51" fmla="*/ 451 h 698"/>
                <a:gd name="T52" fmla="*/ 102 w 677"/>
                <a:gd name="T53" fmla="*/ 451 h 698"/>
                <a:gd name="T54" fmla="*/ 142 w 677"/>
                <a:gd name="T55" fmla="*/ 430 h 698"/>
                <a:gd name="T56" fmla="*/ 163 w 677"/>
                <a:gd name="T57" fmla="*/ 410 h 698"/>
                <a:gd name="T58" fmla="*/ 163 w 677"/>
                <a:gd name="T59" fmla="*/ 451 h 698"/>
                <a:gd name="T60" fmla="*/ 224 w 677"/>
                <a:gd name="T61" fmla="*/ 471 h 698"/>
                <a:gd name="T62" fmla="*/ 245 w 677"/>
                <a:gd name="T63" fmla="*/ 512 h 698"/>
                <a:gd name="T64" fmla="*/ 266 w 677"/>
                <a:gd name="T65" fmla="*/ 533 h 698"/>
                <a:gd name="T66" fmla="*/ 306 w 677"/>
                <a:gd name="T67" fmla="*/ 553 h 698"/>
                <a:gd name="T68" fmla="*/ 286 w 677"/>
                <a:gd name="T69" fmla="*/ 574 h 698"/>
                <a:gd name="T70" fmla="*/ 245 w 677"/>
                <a:gd name="T71" fmla="*/ 594 h 698"/>
                <a:gd name="T72" fmla="*/ 266 w 677"/>
                <a:gd name="T73" fmla="*/ 635 h 698"/>
                <a:gd name="T74" fmla="*/ 327 w 677"/>
                <a:gd name="T75" fmla="*/ 676 h 698"/>
                <a:gd name="T76" fmla="*/ 409 w 677"/>
                <a:gd name="T77" fmla="*/ 676 h 698"/>
                <a:gd name="T78" fmla="*/ 450 w 677"/>
                <a:gd name="T79" fmla="*/ 697 h 698"/>
                <a:gd name="T80" fmla="*/ 491 w 677"/>
                <a:gd name="T81" fmla="*/ 676 h 698"/>
                <a:gd name="T82" fmla="*/ 552 w 677"/>
                <a:gd name="T83" fmla="*/ 697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7" h="698">
                  <a:moveTo>
                    <a:pt x="573" y="676"/>
                  </a:moveTo>
                  <a:lnTo>
                    <a:pt x="573" y="676"/>
                  </a:lnTo>
                  <a:lnTo>
                    <a:pt x="573" y="676"/>
                  </a:lnTo>
                  <a:cubicBezTo>
                    <a:pt x="594" y="676"/>
                    <a:pt x="594" y="676"/>
                    <a:pt x="614" y="676"/>
                  </a:cubicBezTo>
                  <a:cubicBezTo>
                    <a:pt x="614" y="676"/>
                    <a:pt x="634" y="676"/>
                    <a:pt x="655" y="676"/>
                  </a:cubicBezTo>
                  <a:lnTo>
                    <a:pt x="676" y="676"/>
                  </a:lnTo>
                  <a:cubicBezTo>
                    <a:pt x="676" y="656"/>
                    <a:pt x="676" y="656"/>
                    <a:pt x="676" y="635"/>
                  </a:cubicBezTo>
                  <a:cubicBezTo>
                    <a:pt x="655" y="635"/>
                    <a:pt x="634" y="635"/>
                    <a:pt x="634" y="615"/>
                  </a:cubicBezTo>
                  <a:cubicBezTo>
                    <a:pt x="614" y="615"/>
                    <a:pt x="594" y="594"/>
                    <a:pt x="594" y="574"/>
                  </a:cubicBezTo>
                  <a:cubicBezTo>
                    <a:pt x="594" y="553"/>
                    <a:pt x="573" y="533"/>
                    <a:pt x="552" y="533"/>
                  </a:cubicBezTo>
                  <a:cubicBezTo>
                    <a:pt x="552" y="512"/>
                    <a:pt x="512" y="471"/>
                    <a:pt x="512" y="471"/>
                  </a:cubicBezTo>
                  <a:cubicBezTo>
                    <a:pt x="491" y="451"/>
                    <a:pt x="470" y="430"/>
                    <a:pt x="470" y="430"/>
                  </a:cubicBezTo>
                  <a:cubicBezTo>
                    <a:pt x="450" y="410"/>
                    <a:pt x="450" y="389"/>
                    <a:pt x="450" y="389"/>
                  </a:cubicBezTo>
                  <a:cubicBezTo>
                    <a:pt x="450" y="369"/>
                    <a:pt x="430" y="348"/>
                    <a:pt x="430" y="348"/>
                  </a:cubicBezTo>
                  <a:cubicBezTo>
                    <a:pt x="430" y="328"/>
                    <a:pt x="430" y="307"/>
                    <a:pt x="430" y="307"/>
                  </a:cubicBezTo>
                  <a:cubicBezTo>
                    <a:pt x="430" y="307"/>
                    <a:pt x="430" y="287"/>
                    <a:pt x="430" y="266"/>
                  </a:cubicBezTo>
                  <a:cubicBezTo>
                    <a:pt x="409" y="266"/>
                    <a:pt x="409" y="246"/>
                    <a:pt x="409" y="225"/>
                  </a:cubicBezTo>
                  <a:lnTo>
                    <a:pt x="409" y="205"/>
                  </a:lnTo>
                  <a:cubicBezTo>
                    <a:pt x="430" y="184"/>
                    <a:pt x="430" y="184"/>
                    <a:pt x="430" y="164"/>
                  </a:cubicBezTo>
                  <a:lnTo>
                    <a:pt x="430" y="143"/>
                  </a:lnTo>
                  <a:cubicBezTo>
                    <a:pt x="450" y="143"/>
                    <a:pt x="450" y="123"/>
                    <a:pt x="450" y="123"/>
                  </a:cubicBezTo>
                  <a:cubicBezTo>
                    <a:pt x="470" y="123"/>
                    <a:pt x="470" y="102"/>
                    <a:pt x="470" y="82"/>
                  </a:cubicBezTo>
                  <a:cubicBezTo>
                    <a:pt x="470" y="82"/>
                    <a:pt x="450" y="82"/>
                    <a:pt x="450" y="62"/>
                  </a:cubicBezTo>
                  <a:cubicBezTo>
                    <a:pt x="450" y="62"/>
                    <a:pt x="470" y="62"/>
                    <a:pt x="470" y="41"/>
                  </a:cubicBezTo>
                  <a:cubicBezTo>
                    <a:pt x="470" y="41"/>
                    <a:pt x="450" y="41"/>
                    <a:pt x="450" y="20"/>
                  </a:cubicBezTo>
                  <a:lnTo>
                    <a:pt x="409" y="20"/>
                  </a:lnTo>
                  <a:cubicBezTo>
                    <a:pt x="388" y="20"/>
                    <a:pt x="348" y="0"/>
                    <a:pt x="348" y="0"/>
                  </a:cubicBezTo>
                  <a:cubicBezTo>
                    <a:pt x="327" y="0"/>
                    <a:pt x="306" y="20"/>
                    <a:pt x="286" y="20"/>
                  </a:cubicBezTo>
                  <a:cubicBezTo>
                    <a:pt x="266" y="20"/>
                    <a:pt x="245" y="20"/>
                    <a:pt x="245" y="20"/>
                  </a:cubicBezTo>
                  <a:cubicBezTo>
                    <a:pt x="224" y="41"/>
                    <a:pt x="204" y="20"/>
                    <a:pt x="184" y="20"/>
                  </a:cubicBezTo>
                  <a:cubicBezTo>
                    <a:pt x="184" y="20"/>
                    <a:pt x="163" y="20"/>
                    <a:pt x="163" y="41"/>
                  </a:cubicBezTo>
                  <a:cubicBezTo>
                    <a:pt x="142" y="41"/>
                    <a:pt x="142" y="62"/>
                    <a:pt x="142" y="62"/>
                  </a:cubicBezTo>
                  <a:cubicBezTo>
                    <a:pt x="142" y="62"/>
                    <a:pt x="163" y="82"/>
                    <a:pt x="163" y="102"/>
                  </a:cubicBezTo>
                  <a:lnTo>
                    <a:pt x="142" y="102"/>
                  </a:lnTo>
                  <a:cubicBezTo>
                    <a:pt x="122" y="123"/>
                    <a:pt x="122" y="123"/>
                    <a:pt x="102" y="123"/>
                  </a:cubicBezTo>
                  <a:lnTo>
                    <a:pt x="102" y="143"/>
                  </a:lnTo>
                  <a:lnTo>
                    <a:pt x="102" y="143"/>
                  </a:lnTo>
                  <a:cubicBezTo>
                    <a:pt x="122" y="164"/>
                    <a:pt x="122" y="143"/>
                    <a:pt x="142" y="164"/>
                  </a:cubicBezTo>
                  <a:cubicBezTo>
                    <a:pt x="142" y="164"/>
                    <a:pt x="142" y="164"/>
                    <a:pt x="142" y="184"/>
                  </a:cubicBezTo>
                  <a:lnTo>
                    <a:pt x="142" y="205"/>
                  </a:lnTo>
                  <a:cubicBezTo>
                    <a:pt x="142" y="225"/>
                    <a:pt x="122" y="246"/>
                    <a:pt x="122" y="246"/>
                  </a:cubicBezTo>
                  <a:lnTo>
                    <a:pt x="102" y="266"/>
                  </a:lnTo>
                  <a:cubicBezTo>
                    <a:pt x="102" y="287"/>
                    <a:pt x="102" y="287"/>
                    <a:pt x="102" y="307"/>
                  </a:cubicBezTo>
                  <a:lnTo>
                    <a:pt x="102" y="328"/>
                  </a:lnTo>
                  <a:lnTo>
                    <a:pt x="81" y="328"/>
                  </a:lnTo>
                  <a:cubicBezTo>
                    <a:pt x="60" y="307"/>
                    <a:pt x="60" y="307"/>
                    <a:pt x="60" y="307"/>
                  </a:cubicBezTo>
                  <a:cubicBezTo>
                    <a:pt x="60" y="287"/>
                    <a:pt x="40" y="287"/>
                    <a:pt x="40" y="287"/>
                  </a:cubicBezTo>
                  <a:cubicBezTo>
                    <a:pt x="40" y="307"/>
                    <a:pt x="20" y="328"/>
                    <a:pt x="20" y="348"/>
                  </a:cubicBezTo>
                  <a:cubicBezTo>
                    <a:pt x="0" y="348"/>
                    <a:pt x="0" y="369"/>
                    <a:pt x="0" y="369"/>
                  </a:cubicBezTo>
                  <a:cubicBezTo>
                    <a:pt x="0" y="389"/>
                    <a:pt x="0" y="410"/>
                    <a:pt x="0" y="410"/>
                  </a:cubicBezTo>
                  <a:cubicBezTo>
                    <a:pt x="20" y="410"/>
                    <a:pt x="20" y="430"/>
                    <a:pt x="40" y="430"/>
                  </a:cubicBezTo>
                  <a:cubicBezTo>
                    <a:pt x="40" y="451"/>
                    <a:pt x="40" y="451"/>
                    <a:pt x="60" y="451"/>
                  </a:cubicBezTo>
                  <a:lnTo>
                    <a:pt x="81" y="471"/>
                  </a:lnTo>
                  <a:cubicBezTo>
                    <a:pt x="81" y="471"/>
                    <a:pt x="102" y="471"/>
                    <a:pt x="102" y="451"/>
                  </a:cubicBezTo>
                  <a:lnTo>
                    <a:pt x="102" y="430"/>
                  </a:lnTo>
                  <a:cubicBezTo>
                    <a:pt x="122" y="430"/>
                    <a:pt x="122" y="430"/>
                    <a:pt x="142" y="430"/>
                  </a:cubicBezTo>
                  <a:lnTo>
                    <a:pt x="142" y="410"/>
                  </a:lnTo>
                  <a:lnTo>
                    <a:pt x="163" y="410"/>
                  </a:lnTo>
                  <a:lnTo>
                    <a:pt x="163" y="430"/>
                  </a:lnTo>
                  <a:cubicBezTo>
                    <a:pt x="163" y="451"/>
                    <a:pt x="163" y="451"/>
                    <a:pt x="163" y="451"/>
                  </a:cubicBezTo>
                  <a:cubicBezTo>
                    <a:pt x="163" y="471"/>
                    <a:pt x="184" y="471"/>
                    <a:pt x="184" y="471"/>
                  </a:cubicBezTo>
                  <a:cubicBezTo>
                    <a:pt x="184" y="471"/>
                    <a:pt x="204" y="471"/>
                    <a:pt x="224" y="471"/>
                  </a:cubicBezTo>
                  <a:cubicBezTo>
                    <a:pt x="224" y="471"/>
                    <a:pt x="224" y="471"/>
                    <a:pt x="224" y="492"/>
                  </a:cubicBezTo>
                  <a:cubicBezTo>
                    <a:pt x="224" y="492"/>
                    <a:pt x="224" y="512"/>
                    <a:pt x="245" y="512"/>
                  </a:cubicBezTo>
                  <a:cubicBezTo>
                    <a:pt x="245" y="533"/>
                    <a:pt x="245" y="533"/>
                    <a:pt x="245" y="533"/>
                  </a:cubicBezTo>
                  <a:lnTo>
                    <a:pt x="266" y="533"/>
                  </a:lnTo>
                  <a:cubicBezTo>
                    <a:pt x="286" y="533"/>
                    <a:pt x="286" y="533"/>
                    <a:pt x="286" y="553"/>
                  </a:cubicBezTo>
                  <a:cubicBezTo>
                    <a:pt x="306" y="553"/>
                    <a:pt x="306" y="553"/>
                    <a:pt x="306" y="553"/>
                  </a:cubicBezTo>
                  <a:cubicBezTo>
                    <a:pt x="306" y="553"/>
                    <a:pt x="306" y="574"/>
                    <a:pt x="286" y="574"/>
                  </a:cubicBezTo>
                  <a:lnTo>
                    <a:pt x="286" y="574"/>
                  </a:lnTo>
                  <a:cubicBezTo>
                    <a:pt x="286" y="594"/>
                    <a:pt x="266" y="574"/>
                    <a:pt x="266" y="574"/>
                  </a:cubicBezTo>
                  <a:cubicBezTo>
                    <a:pt x="245" y="574"/>
                    <a:pt x="245" y="594"/>
                    <a:pt x="245" y="594"/>
                  </a:cubicBezTo>
                  <a:cubicBezTo>
                    <a:pt x="224" y="594"/>
                    <a:pt x="224" y="615"/>
                    <a:pt x="224" y="615"/>
                  </a:cubicBezTo>
                  <a:cubicBezTo>
                    <a:pt x="245" y="635"/>
                    <a:pt x="266" y="635"/>
                    <a:pt x="266" y="635"/>
                  </a:cubicBezTo>
                  <a:cubicBezTo>
                    <a:pt x="266" y="635"/>
                    <a:pt x="306" y="635"/>
                    <a:pt x="306" y="656"/>
                  </a:cubicBezTo>
                  <a:cubicBezTo>
                    <a:pt x="306" y="656"/>
                    <a:pt x="306" y="656"/>
                    <a:pt x="327" y="676"/>
                  </a:cubicBezTo>
                  <a:cubicBezTo>
                    <a:pt x="327" y="676"/>
                    <a:pt x="348" y="676"/>
                    <a:pt x="368" y="676"/>
                  </a:cubicBezTo>
                  <a:cubicBezTo>
                    <a:pt x="368" y="676"/>
                    <a:pt x="388" y="676"/>
                    <a:pt x="409" y="676"/>
                  </a:cubicBezTo>
                  <a:lnTo>
                    <a:pt x="430" y="676"/>
                  </a:lnTo>
                  <a:cubicBezTo>
                    <a:pt x="430" y="676"/>
                    <a:pt x="430" y="697"/>
                    <a:pt x="450" y="697"/>
                  </a:cubicBezTo>
                  <a:cubicBezTo>
                    <a:pt x="450" y="697"/>
                    <a:pt x="450" y="676"/>
                    <a:pt x="470" y="676"/>
                  </a:cubicBezTo>
                  <a:cubicBezTo>
                    <a:pt x="470" y="676"/>
                    <a:pt x="470" y="676"/>
                    <a:pt x="491" y="676"/>
                  </a:cubicBezTo>
                  <a:cubicBezTo>
                    <a:pt x="491" y="676"/>
                    <a:pt x="512" y="676"/>
                    <a:pt x="512" y="697"/>
                  </a:cubicBezTo>
                  <a:cubicBezTo>
                    <a:pt x="532" y="697"/>
                    <a:pt x="532" y="697"/>
                    <a:pt x="552" y="697"/>
                  </a:cubicBezTo>
                  <a:cubicBezTo>
                    <a:pt x="552" y="697"/>
                    <a:pt x="573" y="697"/>
                    <a:pt x="573" y="676"/>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4" name="Freeform 181">
              <a:extLst>
                <a:ext uri="{FF2B5EF4-FFF2-40B4-BE49-F238E27FC236}">
                  <a16:creationId xmlns:a16="http://schemas.microsoft.com/office/drawing/2014/main" id="{204BD952-44C6-6149-8B63-1BE94A022A99}"/>
                </a:ext>
              </a:extLst>
            </p:cNvPr>
            <p:cNvSpPr>
              <a:spLocks noChangeArrowheads="1"/>
            </p:cNvSpPr>
            <p:nvPr/>
          </p:nvSpPr>
          <p:spPr bwMode="auto">
            <a:xfrm>
              <a:off x="1643063" y="1676400"/>
              <a:ext cx="479425" cy="347663"/>
            </a:xfrm>
            <a:custGeom>
              <a:avLst/>
              <a:gdLst>
                <a:gd name="T0" fmla="*/ 348 w 1333"/>
                <a:gd name="T1" fmla="*/ 922 h 964"/>
                <a:gd name="T2" fmla="*/ 226 w 1333"/>
                <a:gd name="T3" fmla="*/ 943 h 964"/>
                <a:gd name="T4" fmla="*/ 123 w 1333"/>
                <a:gd name="T5" fmla="*/ 943 h 964"/>
                <a:gd name="T6" fmla="*/ 62 w 1333"/>
                <a:gd name="T7" fmla="*/ 922 h 964"/>
                <a:gd name="T8" fmla="*/ 144 w 1333"/>
                <a:gd name="T9" fmla="*/ 881 h 964"/>
                <a:gd name="T10" fmla="*/ 102 w 1333"/>
                <a:gd name="T11" fmla="*/ 840 h 964"/>
                <a:gd name="T12" fmla="*/ 41 w 1333"/>
                <a:gd name="T13" fmla="*/ 901 h 964"/>
                <a:gd name="T14" fmla="*/ 20 w 1333"/>
                <a:gd name="T15" fmla="*/ 840 h 964"/>
                <a:gd name="T16" fmla="*/ 123 w 1333"/>
                <a:gd name="T17" fmla="*/ 799 h 964"/>
                <a:gd name="T18" fmla="*/ 205 w 1333"/>
                <a:gd name="T19" fmla="*/ 779 h 964"/>
                <a:gd name="T20" fmla="*/ 102 w 1333"/>
                <a:gd name="T21" fmla="*/ 737 h 964"/>
                <a:gd name="T22" fmla="*/ 144 w 1333"/>
                <a:gd name="T23" fmla="*/ 717 h 964"/>
                <a:gd name="T24" fmla="*/ 144 w 1333"/>
                <a:gd name="T25" fmla="*/ 676 h 964"/>
                <a:gd name="T26" fmla="*/ 144 w 1333"/>
                <a:gd name="T27" fmla="*/ 635 h 964"/>
                <a:gd name="T28" fmla="*/ 226 w 1333"/>
                <a:gd name="T29" fmla="*/ 635 h 964"/>
                <a:gd name="T30" fmla="*/ 184 w 1333"/>
                <a:gd name="T31" fmla="*/ 594 h 964"/>
                <a:gd name="T32" fmla="*/ 164 w 1333"/>
                <a:gd name="T33" fmla="*/ 553 h 964"/>
                <a:gd name="T34" fmla="*/ 226 w 1333"/>
                <a:gd name="T35" fmla="*/ 512 h 964"/>
                <a:gd name="T36" fmla="*/ 287 w 1333"/>
                <a:gd name="T37" fmla="*/ 451 h 964"/>
                <a:gd name="T38" fmla="*/ 348 w 1333"/>
                <a:gd name="T39" fmla="*/ 430 h 964"/>
                <a:gd name="T40" fmla="*/ 451 w 1333"/>
                <a:gd name="T41" fmla="*/ 328 h 964"/>
                <a:gd name="T42" fmla="*/ 554 w 1333"/>
                <a:gd name="T43" fmla="*/ 246 h 964"/>
                <a:gd name="T44" fmla="*/ 594 w 1333"/>
                <a:gd name="T45" fmla="*/ 267 h 964"/>
                <a:gd name="T46" fmla="*/ 635 w 1333"/>
                <a:gd name="T47" fmla="*/ 185 h 964"/>
                <a:gd name="T48" fmla="*/ 738 w 1333"/>
                <a:gd name="T49" fmla="*/ 225 h 964"/>
                <a:gd name="T50" fmla="*/ 881 w 1333"/>
                <a:gd name="T51" fmla="*/ 164 h 964"/>
                <a:gd name="T52" fmla="*/ 1004 w 1333"/>
                <a:gd name="T53" fmla="*/ 164 h 964"/>
                <a:gd name="T54" fmla="*/ 1045 w 1333"/>
                <a:gd name="T55" fmla="*/ 82 h 964"/>
                <a:gd name="T56" fmla="*/ 1148 w 1333"/>
                <a:gd name="T57" fmla="*/ 21 h 964"/>
                <a:gd name="T58" fmla="*/ 1312 w 1333"/>
                <a:gd name="T59" fmla="*/ 41 h 964"/>
                <a:gd name="T60" fmla="*/ 1291 w 1333"/>
                <a:gd name="T61" fmla="*/ 164 h 964"/>
                <a:gd name="T62" fmla="*/ 1066 w 1333"/>
                <a:gd name="T63" fmla="*/ 287 h 964"/>
                <a:gd name="T64" fmla="*/ 922 w 1333"/>
                <a:gd name="T65" fmla="*/ 328 h 964"/>
                <a:gd name="T66" fmla="*/ 840 w 1333"/>
                <a:gd name="T67" fmla="*/ 389 h 964"/>
                <a:gd name="T68" fmla="*/ 738 w 1333"/>
                <a:gd name="T69" fmla="*/ 430 h 964"/>
                <a:gd name="T70" fmla="*/ 676 w 1333"/>
                <a:gd name="T71" fmla="*/ 512 h 964"/>
                <a:gd name="T72" fmla="*/ 574 w 1333"/>
                <a:gd name="T73" fmla="*/ 533 h 964"/>
                <a:gd name="T74" fmla="*/ 635 w 1333"/>
                <a:gd name="T75" fmla="*/ 553 h 964"/>
                <a:gd name="T76" fmla="*/ 574 w 1333"/>
                <a:gd name="T77" fmla="*/ 615 h 964"/>
                <a:gd name="T78" fmla="*/ 512 w 1333"/>
                <a:gd name="T79" fmla="*/ 635 h 964"/>
                <a:gd name="T80" fmla="*/ 472 w 1333"/>
                <a:gd name="T81" fmla="*/ 655 h 964"/>
                <a:gd name="T82" fmla="*/ 472 w 1333"/>
                <a:gd name="T83" fmla="*/ 697 h 964"/>
                <a:gd name="T84" fmla="*/ 430 w 1333"/>
                <a:gd name="T85" fmla="*/ 799 h 964"/>
                <a:gd name="T86" fmla="*/ 390 w 1333"/>
                <a:gd name="T87" fmla="*/ 779 h 964"/>
                <a:gd name="T88" fmla="*/ 369 w 1333"/>
                <a:gd name="T89" fmla="*/ 881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33" h="964">
                  <a:moveTo>
                    <a:pt x="328" y="901"/>
                  </a:moveTo>
                  <a:lnTo>
                    <a:pt x="328" y="901"/>
                  </a:lnTo>
                  <a:lnTo>
                    <a:pt x="348" y="922"/>
                  </a:lnTo>
                  <a:cubicBezTo>
                    <a:pt x="348" y="943"/>
                    <a:pt x="328" y="963"/>
                    <a:pt x="328" y="963"/>
                  </a:cubicBezTo>
                  <a:cubicBezTo>
                    <a:pt x="308" y="963"/>
                    <a:pt x="287" y="963"/>
                    <a:pt x="287" y="963"/>
                  </a:cubicBezTo>
                  <a:cubicBezTo>
                    <a:pt x="266" y="963"/>
                    <a:pt x="246" y="943"/>
                    <a:pt x="226" y="943"/>
                  </a:cubicBezTo>
                  <a:cubicBezTo>
                    <a:pt x="226" y="943"/>
                    <a:pt x="205" y="943"/>
                    <a:pt x="184" y="943"/>
                  </a:cubicBezTo>
                  <a:lnTo>
                    <a:pt x="164" y="943"/>
                  </a:lnTo>
                  <a:cubicBezTo>
                    <a:pt x="144" y="943"/>
                    <a:pt x="123" y="943"/>
                    <a:pt x="123" y="943"/>
                  </a:cubicBezTo>
                  <a:cubicBezTo>
                    <a:pt x="102" y="943"/>
                    <a:pt x="82" y="943"/>
                    <a:pt x="62" y="943"/>
                  </a:cubicBezTo>
                  <a:cubicBezTo>
                    <a:pt x="62" y="943"/>
                    <a:pt x="62" y="943"/>
                    <a:pt x="41" y="943"/>
                  </a:cubicBezTo>
                  <a:cubicBezTo>
                    <a:pt x="41" y="922"/>
                    <a:pt x="41" y="922"/>
                    <a:pt x="62" y="922"/>
                  </a:cubicBezTo>
                  <a:cubicBezTo>
                    <a:pt x="62" y="901"/>
                    <a:pt x="62" y="901"/>
                    <a:pt x="62" y="901"/>
                  </a:cubicBezTo>
                  <a:cubicBezTo>
                    <a:pt x="82" y="901"/>
                    <a:pt x="82" y="881"/>
                    <a:pt x="102" y="881"/>
                  </a:cubicBezTo>
                  <a:lnTo>
                    <a:pt x="144" y="881"/>
                  </a:lnTo>
                  <a:lnTo>
                    <a:pt x="144" y="861"/>
                  </a:lnTo>
                  <a:lnTo>
                    <a:pt x="123" y="840"/>
                  </a:lnTo>
                  <a:lnTo>
                    <a:pt x="102" y="840"/>
                  </a:lnTo>
                  <a:cubicBezTo>
                    <a:pt x="102" y="861"/>
                    <a:pt x="82" y="861"/>
                    <a:pt x="62" y="861"/>
                  </a:cubicBezTo>
                  <a:cubicBezTo>
                    <a:pt x="62" y="881"/>
                    <a:pt x="41" y="881"/>
                    <a:pt x="41" y="881"/>
                  </a:cubicBezTo>
                  <a:lnTo>
                    <a:pt x="41" y="901"/>
                  </a:lnTo>
                  <a:cubicBezTo>
                    <a:pt x="20" y="901"/>
                    <a:pt x="20" y="901"/>
                    <a:pt x="20" y="901"/>
                  </a:cubicBezTo>
                  <a:cubicBezTo>
                    <a:pt x="0" y="881"/>
                    <a:pt x="0" y="881"/>
                    <a:pt x="0" y="861"/>
                  </a:cubicBezTo>
                  <a:lnTo>
                    <a:pt x="20" y="840"/>
                  </a:lnTo>
                  <a:cubicBezTo>
                    <a:pt x="41" y="819"/>
                    <a:pt x="41" y="819"/>
                    <a:pt x="62" y="819"/>
                  </a:cubicBezTo>
                  <a:cubicBezTo>
                    <a:pt x="62" y="799"/>
                    <a:pt x="82" y="799"/>
                    <a:pt x="82" y="799"/>
                  </a:cubicBezTo>
                  <a:cubicBezTo>
                    <a:pt x="102" y="799"/>
                    <a:pt x="102" y="799"/>
                    <a:pt x="123" y="799"/>
                  </a:cubicBezTo>
                  <a:cubicBezTo>
                    <a:pt x="123" y="799"/>
                    <a:pt x="144" y="799"/>
                    <a:pt x="164" y="799"/>
                  </a:cubicBezTo>
                  <a:lnTo>
                    <a:pt x="184" y="799"/>
                  </a:lnTo>
                  <a:cubicBezTo>
                    <a:pt x="184" y="799"/>
                    <a:pt x="205" y="799"/>
                    <a:pt x="205" y="779"/>
                  </a:cubicBezTo>
                  <a:cubicBezTo>
                    <a:pt x="184" y="779"/>
                    <a:pt x="184" y="779"/>
                    <a:pt x="164" y="779"/>
                  </a:cubicBezTo>
                  <a:lnTo>
                    <a:pt x="144" y="758"/>
                  </a:lnTo>
                  <a:cubicBezTo>
                    <a:pt x="144" y="737"/>
                    <a:pt x="102" y="758"/>
                    <a:pt x="102" y="737"/>
                  </a:cubicBezTo>
                  <a:lnTo>
                    <a:pt x="102" y="717"/>
                  </a:lnTo>
                  <a:cubicBezTo>
                    <a:pt x="102" y="717"/>
                    <a:pt x="102" y="717"/>
                    <a:pt x="123" y="717"/>
                  </a:cubicBezTo>
                  <a:cubicBezTo>
                    <a:pt x="123" y="697"/>
                    <a:pt x="123" y="717"/>
                    <a:pt x="144" y="717"/>
                  </a:cubicBezTo>
                  <a:lnTo>
                    <a:pt x="164" y="717"/>
                  </a:lnTo>
                  <a:cubicBezTo>
                    <a:pt x="164" y="717"/>
                    <a:pt x="164" y="717"/>
                    <a:pt x="164" y="697"/>
                  </a:cubicBezTo>
                  <a:cubicBezTo>
                    <a:pt x="164" y="697"/>
                    <a:pt x="144" y="697"/>
                    <a:pt x="144" y="676"/>
                  </a:cubicBezTo>
                  <a:lnTo>
                    <a:pt x="123" y="676"/>
                  </a:lnTo>
                  <a:lnTo>
                    <a:pt x="123" y="655"/>
                  </a:lnTo>
                  <a:cubicBezTo>
                    <a:pt x="123" y="655"/>
                    <a:pt x="123" y="635"/>
                    <a:pt x="144" y="635"/>
                  </a:cubicBezTo>
                  <a:cubicBezTo>
                    <a:pt x="144" y="635"/>
                    <a:pt x="164" y="635"/>
                    <a:pt x="184" y="635"/>
                  </a:cubicBezTo>
                  <a:lnTo>
                    <a:pt x="205" y="635"/>
                  </a:lnTo>
                  <a:lnTo>
                    <a:pt x="226" y="635"/>
                  </a:lnTo>
                  <a:lnTo>
                    <a:pt x="226" y="615"/>
                  </a:lnTo>
                  <a:lnTo>
                    <a:pt x="205" y="615"/>
                  </a:lnTo>
                  <a:cubicBezTo>
                    <a:pt x="205" y="615"/>
                    <a:pt x="184" y="615"/>
                    <a:pt x="184" y="594"/>
                  </a:cubicBezTo>
                  <a:cubicBezTo>
                    <a:pt x="184" y="594"/>
                    <a:pt x="184" y="594"/>
                    <a:pt x="184" y="573"/>
                  </a:cubicBezTo>
                  <a:cubicBezTo>
                    <a:pt x="184" y="573"/>
                    <a:pt x="184" y="573"/>
                    <a:pt x="184" y="553"/>
                  </a:cubicBezTo>
                  <a:lnTo>
                    <a:pt x="164" y="553"/>
                  </a:lnTo>
                  <a:cubicBezTo>
                    <a:pt x="164" y="553"/>
                    <a:pt x="164" y="533"/>
                    <a:pt x="184" y="512"/>
                  </a:cubicBezTo>
                  <a:cubicBezTo>
                    <a:pt x="184" y="512"/>
                    <a:pt x="184" y="512"/>
                    <a:pt x="205" y="512"/>
                  </a:cubicBezTo>
                  <a:lnTo>
                    <a:pt x="226" y="512"/>
                  </a:lnTo>
                  <a:cubicBezTo>
                    <a:pt x="226" y="491"/>
                    <a:pt x="226" y="471"/>
                    <a:pt x="246" y="471"/>
                  </a:cubicBezTo>
                  <a:cubicBezTo>
                    <a:pt x="246" y="471"/>
                    <a:pt x="266" y="471"/>
                    <a:pt x="266" y="451"/>
                  </a:cubicBezTo>
                  <a:lnTo>
                    <a:pt x="287" y="451"/>
                  </a:lnTo>
                  <a:cubicBezTo>
                    <a:pt x="287" y="451"/>
                    <a:pt x="287" y="471"/>
                    <a:pt x="308" y="471"/>
                  </a:cubicBezTo>
                  <a:lnTo>
                    <a:pt x="328" y="471"/>
                  </a:lnTo>
                  <a:cubicBezTo>
                    <a:pt x="328" y="471"/>
                    <a:pt x="348" y="451"/>
                    <a:pt x="348" y="430"/>
                  </a:cubicBezTo>
                  <a:cubicBezTo>
                    <a:pt x="348" y="409"/>
                    <a:pt x="348" y="389"/>
                    <a:pt x="369" y="369"/>
                  </a:cubicBezTo>
                  <a:cubicBezTo>
                    <a:pt x="369" y="369"/>
                    <a:pt x="390" y="369"/>
                    <a:pt x="390" y="349"/>
                  </a:cubicBezTo>
                  <a:cubicBezTo>
                    <a:pt x="410" y="349"/>
                    <a:pt x="451" y="349"/>
                    <a:pt x="451" y="328"/>
                  </a:cubicBezTo>
                  <a:cubicBezTo>
                    <a:pt x="472" y="328"/>
                    <a:pt x="492" y="307"/>
                    <a:pt x="492" y="307"/>
                  </a:cubicBezTo>
                  <a:cubicBezTo>
                    <a:pt x="512" y="287"/>
                    <a:pt x="512" y="267"/>
                    <a:pt x="512" y="267"/>
                  </a:cubicBezTo>
                  <a:cubicBezTo>
                    <a:pt x="533" y="267"/>
                    <a:pt x="533" y="246"/>
                    <a:pt x="554" y="246"/>
                  </a:cubicBezTo>
                  <a:lnTo>
                    <a:pt x="554" y="225"/>
                  </a:lnTo>
                  <a:cubicBezTo>
                    <a:pt x="574" y="246"/>
                    <a:pt x="554" y="246"/>
                    <a:pt x="574" y="267"/>
                  </a:cubicBezTo>
                  <a:cubicBezTo>
                    <a:pt x="574" y="267"/>
                    <a:pt x="574" y="267"/>
                    <a:pt x="594" y="267"/>
                  </a:cubicBezTo>
                  <a:lnTo>
                    <a:pt x="594" y="267"/>
                  </a:lnTo>
                  <a:cubicBezTo>
                    <a:pt x="615" y="246"/>
                    <a:pt x="615" y="225"/>
                    <a:pt x="615" y="225"/>
                  </a:cubicBezTo>
                  <a:cubicBezTo>
                    <a:pt x="615" y="205"/>
                    <a:pt x="635" y="205"/>
                    <a:pt x="635" y="185"/>
                  </a:cubicBezTo>
                  <a:cubicBezTo>
                    <a:pt x="635" y="185"/>
                    <a:pt x="656" y="185"/>
                    <a:pt x="676" y="185"/>
                  </a:cubicBezTo>
                  <a:cubicBezTo>
                    <a:pt x="676" y="185"/>
                    <a:pt x="676" y="205"/>
                    <a:pt x="697" y="205"/>
                  </a:cubicBezTo>
                  <a:cubicBezTo>
                    <a:pt x="697" y="225"/>
                    <a:pt x="717" y="225"/>
                    <a:pt x="738" y="225"/>
                  </a:cubicBezTo>
                  <a:cubicBezTo>
                    <a:pt x="738" y="225"/>
                    <a:pt x="758" y="205"/>
                    <a:pt x="779" y="205"/>
                  </a:cubicBezTo>
                  <a:cubicBezTo>
                    <a:pt x="779" y="205"/>
                    <a:pt x="820" y="205"/>
                    <a:pt x="840" y="205"/>
                  </a:cubicBezTo>
                  <a:cubicBezTo>
                    <a:pt x="840" y="185"/>
                    <a:pt x="881" y="185"/>
                    <a:pt x="881" y="164"/>
                  </a:cubicBezTo>
                  <a:cubicBezTo>
                    <a:pt x="902" y="164"/>
                    <a:pt x="902" y="164"/>
                    <a:pt x="922" y="164"/>
                  </a:cubicBezTo>
                  <a:cubicBezTo>
                    <a:pt x="922" y="164"/>
                    <a:pt x="942" y="164"/>
                    <a:pt x="963" y="164"/>
                  </a:cubicBezTo>
                  <a:cubicBezTo>
                    <a:pt x="963" y="164"/>
                    <a:pt x="984" y="164"/>
                    <a:pt x="1004" y="164"/>
                  </a:cubicBezTo>
                  <a:cubicBezTo>
                    <a:pt x="1004" y="143"/>
                    <a:pt x="1025" y="143"/>
                    <a:pt x="1045" y="143"/>
                  </a:cubicBezTo>
                  <a:cubicBezTo>
                    <a:pt x="1045" y="143"/>
                    <a:pt x="1045" y="123"/>
                    <a:pt x="1066" y="123"/>
                  </a:cubicBezTo>
                  <a:cubicBezTo>
                    <a:pt x="1066" y="123"/>
                    <a:pt x="1045" y="103"/>
                    <a:pt x="1045" y="82"/>
                  </a:cubicBezTo>
                  <a:cubicBezTo>
                    <a:pt x="1045" y="82"/>
                    <a:pt x="1045" y="61"/>
                    <a:pt x="1066" y="61"/>
                  </a:cubicBezTo>
                  <a:cubicBezTo>
                    <a:pt x="1066" y="61"/>
                    <a:pt x="1086" y="41"/>
                    <a:pt x="1107" y="41"/>
                  </a:cubicBezTo>
                  <a:lnTo>
                    <a:pt x="1148" y="21"/>
                  </a:lnTo>
                  <a:cubicBezTo>
                    <a:pt x="1168" y="21"/>
                    <a:pt x="1189" y="21"/>
                    <a:pt x="1189" y="0"/>
                  </a:cubicBezTo>
                  <a:cubicBezTo>
                    <a:pt x="1209" y="0"/>
                    <a:pt x="1230" y="21"/>
                    <a:pt x="1250" y="21"/>
                  </a:cubicBezTo>
                  <a:cubicBezTo>
                    <a:pt x="1271" y="21"/>
                    <a:pt x="1291" y="41"/>
                    <a:pt x="1312" y="41"/>
                  </a:cubicBezTo>
                  <a:cubicBezTo>
                    <a:pt x="1312" y="41"/>
                    <a:pt x="1312" y="61"/>
                    <a:pt x="1332" y="82"/>
                  </a:cubicBezTo>
                  <a:lnTo>
                    <a:pt x="1332" y="103"/>
                  </a:lnTo>
                  <a:cubicBezTo>
                    <a:pt x="1312" y="123"/>
                    <a:pt x="1312" y="164"/>
                    <a:pt x="1291" y="164"/>
                  </a:cubicBezTo>
                  <a:cubicBezTo>
                    <a:pt x="1291" y="185"/>
                    <a:pt x="1250" y="205"/>
                    <a:pt x="1230" y="205"/>
                  </a:cubicBezTo>
                  <a:cubicBezTo>
                    <a:pt x="1209" y="225"/>
                    <a:pt x="1189" y="246"/>
                    <a:pt x="1168" y="246"/>
                  </a:cubicBezTo>
                  <a:cubicBezTo>
                    <a:pt x="1148" y="267"/>
                    <a:pt x="1086" y="287"/>
                    <a:pt x="1066" y="287"/>
                  </a:cubicBezTo>
                  <a:cubicBezTo>
                    <a:pt x="1045" y="287"/>
                    <a:pt x="1004" y="287"/>
                    <a:pt x="984" y="307"/>
                  </a:cubicBezTo>
                  <a:cubicBezTo>
                    <a:pt x="984" y="307"/>
                    <a:pt x="984" y="328"/>
                    <a:pt x="963" y="328"/>
                  </a:cubicBezTo>
                  <a:cubicBezTo>
                    <a:pt x="963" y="328"/>
                    <a:pt x="942" y="328"/>
                    <a:pt x="922" y="328"/>
                  </a:cubicBezTo>
                  <a:cubicBezTo>
                    <a:pt x="902" y="349"/>
                    <a:pt x="881" y="349"/>
                    <a:pt x="881" y="349"/>
                  </a:cubicBezTo>
                  <a:lnTo>
                    <a:pt x="861" y="369"/>
                  </a:lnTo>
                  <a:lnTo>
                    <a:pt x="840" y="389"/>
                  </a:lnTo>
                  <a:cubicBezTo>
                    <a:pt x="840" y="409"/>
                    <a:pt x="820" y="409"/>
                    <a:pt x="820" y="409"/>
                  </a:cubicBezTo>
                  <a:cubicBezTo>
                    <a:pt x="799" y="409"/>
                    <a:pt x="779" y="430"/>
                    <a:pt x="779" y="430"/>
                  </a:cubicBezTo>
                  <a:cubicBezTo>
                    <a:pt x="758" y="430"/>
                    <a:pt x="758" y="430"/>
                    <a:pt x="738" y="430"/>
                  </a:cubicBezTo>
                  <a:cubicBezTo>
                    <a:pt x="738" y="430"/>
                    <a:pt x="717" y="430"/>
                    <a:pt x="717" y="451"/>
                  </a:cubicBezTo>
                  <a:cubicBezTo>
                    <a:pt x="697" y="451"/>
                    <a:pt x="697" y="471"/>
                    <a:pt x="697" y="471"/>
                  </a:cubicBezTo>
                  <a:cubicBezTo>
                    <a:pt x="697" y="491"/>
                    <a:pt x="676" y="512"/>
                    <a:pt x="676" y="512"/>
                  </a:cubicBezTo>
                  <a:cubicBezTo>
                    <a:pt x="656" y="512"/>
                    <a:pt x="635" y="512"/>
                    <a:pt x="635" y="512"/>
                  </a:cubicBezTo>
                  <a:cubicBezTo>
                    <a:pt x="615" y="512"/>
                    <a:pt x="594" y="512"/>
                    <a:pt x="594" y="512"/>
                  </a:cubicBezTo>
                  <a:lnTo>
                    <a:pt x="574" y="533"/>
                  </a:lnTo>
                  <a:lnTo>
                    <a:pt x="594" y="553"/>
                  </a:lnTo>
                  <a:cubicBezTo>
                    <a:pt x="594" y="553"/>
                    <a:pt x="594" y="553"/>
                    <a:pt x="615" y="553"/>
                  </a:cubicBezTo>
                  <a:lnTo>
                    <a:pt x="635" y="553"/>
                  </a:lnTo>
                  <a:cubicBezTo>
                    <a:pt x="635" y="553"/>
                    <a:pt x="635" y="553"/>
                    <a:pt x="635" y="573"/>
                  </a:cubicBezTo>
                  <a:lnTo>
                    <a:pt x="615" y="594"/>
                  </a:lnTo>
                  <a:cubicBezTo>
                    <a:pt x="594" y="594"/>
                    <a:pt x="594" y="615"/>
                    <a:pt x="574" y="615"/>
                  </a:cubicBezTo>
                  <a:cubicBezTo>
                    <a:pt x="574" y="615"/>
                    <a:pt x="554" y="635"/>
                    <a:pt x="533" y="635"/>
                  </a:cubicBezTo>
                  <a:cubicBezTo>
                    <a:pt x="533" y="635"/>
                    <a:pt x="533" y="615"/>
                    <a:pt x="512" y="615"/>
                  </a:cubicBezTo>
                  <a:lnTo>
                    <a:pt x="512" y="635"/>
                  </a:lnTo>
                  <a:lnTo>
                    <a:pt x="512" y="655"/>
                  </a:lnTo>
                  <a:lnTo>
                    <a:pt x="492" y="655"/>
                  </a:lnTo>
                  <a:lnTo>
                    <a:pt x="472" y="655"/>
                  </a:lnTo>
                  <a:lnTo>
                    <a:pt x="451" y="655"/>
                  </a:lnTo>
                  <a:cubicBezTo>
                    <a:pt x="451" y="676"/>
                    <a:pt x="430" y="697"/>
                    <a:pt x="430" y="697"/>
                  </a:cubicBezTo>
                  <a:cubicBezTo>
                    <a:pt x="451" y="697"/>
                    <a:pt x="472" y="697"/>
                    <a:pt x="472" y="697"/>
                  </a:cubicBezTo>
                  <a:lnTo>
                    <a:pt x="472" y="717"/>
                  </a:lnTo>
                  <a:cubicBezTo>
                    <a:pt x="472" y="737"/>
                    <a:pt x="472" y="758"/>
                    <a:pt x="451" y="758"/>
                  </a:cubicBezTo>
                  <a:cubicBezTo>
                    <a:pt x="451" y="779"/>
                    <a:pt x="451" y="779"/>
                    <a:pt x="430" y="799"/>
                  </a:cubicBezTo>
                  <a:lnTo>
                    <a:pt x="430" y="819"/>
                  </a:lnTo>
                  <a:cubicBezTo>
                    <a:pt x="410" y="819"/>
                    <a:pt x="410" y="799"/>
                    <a:pt x="410" y="799"/>
                  </a:cubicBezTo>
                  <a:cubicBezTo>
                    <a:pt x="410" y="799"/>
                    <a:pt x="410" y="779"/>
                    <a:pt x="390" y="779"/>
                  </a:cubicBezTo>
                  <a:lnTo>
                    <a:pt x="390" y="799"/>
                  </a:lnTo>
                  <a:cubicBezTo>
                    <a:pt x="369" y="819"/>
                    <a:pt x="390" y="840"/>
                    <a:pt x="369" y="840"/>
                  </a:cubicBezTo>
                  <a:cubicBezTo>
                    <a:pt x="369" y="861"/>
                    <a:pt x="369" y="861"/>
                    <a:pt x="369" y="881"/>
                  </a:cubicBezTo>
                  <a:cubicBezTo>
                    <a:pt x="348" y="881"/>
                    <a:pt x="348" y="881"/>
                    <a:pt x="348" y="881"/>
                  </a:cubicBezTo>
                  <a:lnTo>
                    <a:pt x="328" y="90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5" name="Freeform 182">
              <a:extLst>
                <a:ext uri="{FF2B5EF4-FFF2-40B4-BE49-F238E27FC236}">
                  <a16:creationId xmlns:a16="http://schemas.microsoft.com/office/drawing/2014/main" id="{202066AE-1D0C-1A4B-BDBE-68780D195FCC}"/>
                </a:ext>
              </a:extLst>
            </p:cNvPr>
            <p:cNvSpPr>
              <a:spLocks noChangeArrowheads="1"/>
            </p:cNvSpPr>
            <p:nvPr/>
          </p:nvSpPr>
          <p:spPr bwMode="auto">
            <a:xfrm>
              <a:off x="2286000" y="1411288"/>
              <a:ext cx="22225" cy="15875"/>
            </a:xfrm>
            <a:custGeom>
              <a:avLst/>
              <a:gdLst>
                <a:gd name="T0" fmla="*/ 62 w 63"/>
                <a:gd name="T1" fmla="*/ 21 h 42"/>
                <a:gd name="T2" fmla="*/ 62 w 63"/>
                <a:gd name="T3" fmla="*/ 21 h 42"/>
                <a:gd name="T4" fmla="*/ 41 w 63"/>
                <a:gd name="T5" fmla="*/ 41 h 42"/>
                <a:gd name="T6" fmla="*/ 0 w 63"/>
                <a:gd name="T7" fmla="*/ 41 h 42"/>
                <a:gd name="T8" fmla="*/ 0 w 63"/>
                <a:gd name="T9" fmla="*/ 21 h 42"/>
                <a:gd name="T10" fmla="*/ 20 w 63"/>
                <a:gd name="T11" fmla="*/ 0 h 42"/>
                <a:gd name="T12" fmla="*/ 41 w 63"/>
                <a:gd name="T13" fmla="*/ 0 h 42"/>
                <a:gd name="T14" fmla="*/ 62 w 63"/>
                <a:gd name="T15" fmla="*/ 2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42">
                  <a:moveTo>
                    <a:pt x="62" y="21"/>
                  </a:moveTo>
                  <a:lnTo>
                    <a:pt x="62" y="21"/>
                  </a:lnTo>
                  <a:cubicBezTo>
                    <a:pt x="62" y="41"/>
                    <a:pt x="41" y="41"/>
                    <a:pt x="41" y="41"/>
                  </a:cubicBezTo>
                  <a:cubicBezTo>
                    <a:pt x="20" y="41"/>
                    <a:pt x="0" y="41"/>
                    <a:pt x="0" y="41"/>
                  </a:cubicBezTo>
                  <a:lnTo>
                    <a:pt x="0" y="21"/>
                  </a:lnTo>
                  <a:cubicBezTo>
                    <a:pt x="0" y="21"/>
                    <a:pt x="0" y="0"/>
                    <a:pt x="20" y="0"/>
                  </a:cubicBezTo>
                  <a:lnTo>
                    <a:pt x="41" y="0"/>
                  </a:lnTo>
                  <a:cubicBezTo>
                    <a:pt x="62" y="0"/>
                    <a:pt x="62" y="21"/>
                    <a:pt x="62"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6" name="Freeform 183">
              <a:extLst>
                <a:ext uri="{FF2B5EF4-FFF2-40B4-BE49-F238E27FC236}">
                  <a16:creationId xmlns:a16="http://schemas.microsoft.com/office/drawing/2014/main" id="{9055800A-7E03-F94E-BB39-3583ED685C74}"/>
                </a:ext>
              </a:extLst>
            </p:cNvPr>
            <p:cNvSpPr>
              <a:spLocks noChangeArrowheads="1"/>
            </p:cNvSpPr>
            <p:nvPr/>
          </p:nvSpPr>
          <p:spPr bwMode="auto">
            <a:xfrm>
              <a:off x="2336800" y="1293813"/>
              <a:ext cx="30163" cy="22225"/>
            </a:xfrm>
            <a:custGeom>
              <a:avLst/>
              <a:gdLst>
                <a:gd name="T0" fmla="*/ 61 w 83"/>
                <a:gd name="T1" fmla="*/ 62 h 63"/>
                <a:gd name="T2" fmla="*/ 61 w 83"/>
                <a:gd name="T3" fmla="*/ 62 h 63"/>
                <a:gd name="T4" fmla="*/ 20 w 83"/>
                <a:gd name="T5" fmla="*/ 42 h 63"/>
                <a:gd name="T6" fmla="*/ 0 w 83"/>
                <a:gd name="T7" fmla="*/ 21 h 63"/>
                <a:gd name="T8" fmla="*/ 40 w 83"/>
                <a:gd name="T9" fmla="*/ 0 h 63"/>
                <a:gd name="T10" fmla="*/ 61 w 83"/>
                <a:gd name="T11" fmla="*/ 0 h 63"/>
                <a:gd name="T12" fmla="*/ 82 w 83"/>
                <a:gd name="T13" fmla="*/ 21 h 63"/>
                <a:gd name="T14" fmla="*/ 61 w 83"/>
                <a:gd name="T15" fmla="*/ 6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63">
                  <a:moveTo>
                    <a:pt x="61" y="62"/>
                  </a:moveTo>
                  <a:lnTo>
                    <a:pt x="61" y="62"/>
                  </a:lnTo>
                  <a:cubicBezTo>
                    <a:pt x="61" y="62"/>
                    <a:pt x="40" y="62"/>
                    <a:pt x="20" y="42"/>
                  </a:cubicBezTo>
                  <a:lnTo>
                    <a:pt x="0" y="21"/>
                  </a:lnTo>
                  <a:cubicBezTo>
                    <a:pt x="20" y="21"/>
                    <a:pt x="20" y="0"/>
                    <a:pt x="40" y="0"/>
                  </a:cubicBezTo>
                  <a:lnTo>
                    <a:pt x="61" y="0"/>
                  </a:lnTo>
                  <a:lnTo>
                    <a:pt x="82" y="21"/>
                  </a:lnTo>
                  <a:cubicBezTo>
                    <a:pt x="82" y="42"/>
                    <a:pt x="61" y="42"/>
                    <a:pt x="61"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7" name="Freeform 184">
              <a:extLst>
                <a:ext uri="{FF2B5EF4-FFF2-40B4-BE49-F238E27FC236}">
                  <a16:creationId xmlns:a16="http://schemas.microsoft.com/office/drawing/2014/main" id="{FDD82D55-C80F-6244-91D8-19C7DFECE2B8}"/>
                </a:ext>
              </a:extLst>
            </p:cNvPr>
            <p:cNvSpPr>
              <a:spLocks noChangeArrowheads="1"/>
            </p:cNvSpPr>
            <p:nvPr/>
          </p:nvSpPr>
          <p:spPr bwMode="auto">
            <a:xfrm>
              <a:off x="1319213" y="1308100"/>
              <a:ext cx="104775" cy="52388"/>
            </a:xfrm>
            <a:custGeom>
              <a:avLst/>
              <a:gdLst>
                <a:gd name="T0" fmla="*/ 164 w 289"/>
                <a:gd name="T1" fmla="*/ 102 h 144"/>
                <a:gd name="T2" fmla="*/ 164 w 289"/>
                <a:gd name="T3" fmla="*/ 102 h 144"/>
                <a:gd name="T4" fmla="*/ 164 w 289"/>
                <a:gd name="T5" fmla="*/ 102 h 144"/>
                <a:gd name="T6" fmla="*/ 185 w 289"/>
                <a:gd name="T7" fmla="*/ 81 h 144"/>
                <a:gd name="T8" fmla="*/ 226 w 289"/>
                <a:gd name="T9" fmla="*/ 81 h 144"/>
                <a:gd name="T10" fmla="*/ 267 w 289"/>
                <a:gd name="T11" fmla="*/ 102 h 144"/>
                <a:gd name="T12" fmla="*/ 288 w 289"/>
                <a:gd name="T13" fmla="*/ 102 h 144"/>
                <a:gd name="T14" fmla="*/ 267 w 289"/>
                <a:gd name="T15" fmla="*/ 61 h 144"/>
                <a:gd name="T16" fmla="*/ 246 w 289"/>
                <a:gd name="T17" fmla="*/ 61 h 144"/>
                <a:gd name="T18" fmla="*/ 226 w 289"/>
                <a:gd name="T19" fmla="*/ 40 h 144"/>
                <a:gd name="T20" fmla="*/ 226 w 289"/>
                <a:gd name="T21" fmla="*/ 20 h 144"/>
                <a:gd name="T22" fmla="*/ 206 w 289"/>
                <a:gd name="T23" fmla="*/ 0 h 144"/>
                <a:gd name="T24" fmla="*/ 185 w 289"/>
                <a:gd name="T25" fmla="*/ 20 h 144"/>
                <a:gd name="T26" fmla="*/ 144 w 289"/>
                <a:gd name="T27" fmla="*/ 61 h 144"/>
                <a:gd name="T28" fmla="*/ 124 w 289"/>
                <a:gd name="T29" fmla="*/ 81 h 144"/>
                <a:gd name="T30" fmla="*/ 62 w 289"/>
                <a:gd name="T31" fmla="*/ 81 h 144"/>
                <a:gd name="T32" fmla="*/ 21 w 289"/>
                <a:gd name="T33" fmla="*/ 61 h 144"/>
                <a:gd name="T34" fmla="*/ 0 w 289"/>
                <a:gd name="T35" fmla="*/ 81 h 144"/>
                <a:gd name="T36" fmla="*/ 0 w 289"/>
                <a:gd name="T37" fmla="*/ 102 h 144"/>
                <a:gd name="T38" fmla="*/ 42 w 289"/>
                <a:gd name="T39" fmla="*/ 122 h 144"/>
                <a:gd name="T40" fmla="*/ 62 w 289"/>
                <a:gd name="T41" fmla="*/ 122 h 144"/>
                <a:gd name="T42" fmla="*/ 62 w 289"/>
                <a:gd name="T43" fmla="*/ 143 h 144"/>
                <a:gd name="T44" fmla="*/ 82 w 289"/>
                <a:gd name="T45" fmla="*/ 143 h 144"/>
                <a:gd name="T46" fmla="*/ 124 w 289"/>
                <a:gd name="T47" fmla="*/ 143 h 144"/>
                <a:gd name="T48" fmla="*/ 124 w 289"/>
                <a:gd name="T49" fmla="*/ 122 h 144"/>
                <a:gd name="T50" fmla="*/ 164 w 289"/>
                <a:gd name="T51" fmla="*/ 10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9" h="144">
                  <a:moveTo>
                    <a:pt x="164" y="102"/>
                  </a:moveTo>
                  <a:lnTo>
                    <a:pt x="164" y="102"/>
                  </a:lnTo>
                  <a:lnTo>
                    <a:pt x="164" y="102"/>
                  </a:lnTo>
                  <a:cubicBezTo>
                    <a:pt x="185" y="81"/>
                    <a:pt x="185" y="81"/>
                    <a:pt x="185" y="81"/>
                  </a:cubicBezTo>
                  <a:cubicBezTo>
                    <a:pt x="206" y="81"/>
                    <a:pt x="226" y="81"/>
                    <a:pt x="226" y="81"/>
                  </a:cubicBezTo>
                  <a:cubicBezTo>
                    <a:pt x="226" y="81"/>
                    <a:pt x="246" y="102"/>
                    <a:pt x="267" y="102"/>
                  </a:cubicBezTo>
                  <a:lnTo>
                    <a:pt x="288" y="102"/>
                  </a:lnTo>
                  <a:cubicBezTo>
                    <a:pt x="288" y="102"/>
                    <a:pt x="288" y="81"/>
                    <a:pt x="267" y="61"/>
                  </a:cubicBezTo>
                  <a:cubicBezTo>
                    <a:pt x="267" y="61"/>
                    <a:pt x="267" y="61"/>
                    <a:pt x="246" y="61"/>
                  </a:cubicBezTo>
                  <a:cubicBezTo>
                    <a:pt x="246" y="40"/>
                    <a:pt x="246" y="40"/>
                    <a:pt x="226" y="40"/>
                  </a:cubicBezTo>
                  <a:lnTo>
                    <a:pt x="226" y="20"/>
                  </a:lnTo>
                  <a:lnTo>
                    <a:pt x="206" y="0"/>
                  </a:lnTo>
                  <a:cubicBezTo>
                    <a:pt x="185" y="0"/>
                    <a:pt x="185" y="20"/>
                    <a:pt x="185" y="20"/>
                  </a:cubicBezTo>
                  <a:cubicBezTo>
                    <a:pt x="185" y="40"/>
                    <a:pt x="164" y="61"/>
                    <a:pt x="144" y="61"/>
                  </a:cubicBezTo>
                  <a:lnTo>
                    <a:pt x="124" y="81"/>
                  </a:lnTo>
                  <a:cubicBezTo>
                    <a:pt x="103" y="81"/>
                    <a:pt x="62" y="81"/>
                    <a:pt x="62" y="81"/>
                  </a:cubicBezTo>
                  <a:cubicBezTo>
                    <a:pt x="42" y="81"/>
                    <a:pt x="21" y="61"/>
                    <a:pt x="21" y="61"/>
                  </a:cubicBezTo>
                  <a:cubicBezTo>
                    <a:pt x="0" y="61"/>
                    <a:pt x="0" y="81"/>
                    <a:pt x="0" y="81"/>
                  </a:cubicBezTo>
                  <a:lnTo>
                    <a:pt x="0" y="102"/>
                  </a:lnTo>
                  <a:cubicBezTo>
                    <a:pt x="0" y="122"/>
                    <a:pt x="21" y="122"/>
                    <a:pt x="42" y="122"/>
                  </a:cubicBezTo>
                  <a:cubicBezTo>
                    <a:pt x="42" y="122"/>
                    <a:pt x="62" y="102"/>
                    <a:pt x="62" y="122"/>
                  </a:cubicBezTo>
                  <a:cubicBezTo>
                    <a:pt x="62" y="122"/>
                    <a:pt x="62" y="122"/>
                    <a:pt x="62" y="143"/>
                  </a:cubicBezTo>
                  <a:lnTo>
                    <a:pt x="82" y="143"/>
                  </a:lnTo>
                  <a:cubicBezTo>
                    <a:pt x="103" y="143"/>
                    <a:pt x="124" y="143"/>
                    <a:pt x="124" y="143"/>
                  </a:cubicBezTo>
                  <a:cubicBezTo>
                    <a:pt x="144" y="143"/>
                    <a:pt x="124" y="122"/>
                    <a:pt x="124" y="122"/>
                  </a:cubicBezTo>
                  <a:cubicBezTo>
                    <a:pt x="144" y="122"/>
                    <a:pt x="164" y="122"/>
                    <a:pt x="164" y="10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8" name="Freeform 185">
              <a:extLst>
                <a:ext uri="{FF2B5EF4-FFF2-40B4-BE49-F238E27FC236}">
                  <a16:creationId xmlns:a16="http://schemas.microsoft.com/office/drawing/2014/main" id="{A838C71C-2BA8-2A4E-990D-F547566B5DC1}"/>
                </a:ext>
              </a:extLst>
            </p:cNvPr>
            <p:cNvSpPr>
              <a:spLocks noChangeArrowheads="1"/>
            </p:cNvSpPr>
            <p:nvPr/>
          </p:nvSpPr>
          <p:spPr bwMode="auto">
            <a:xfrm>
              <a:off x="1371600" y="1316038"/>
              <a:ext cx="141288" cy="80962"/>
            </a:xfrm>
            <a:custGeom>
              <a:avLst/>
              <a:gdLst>
                <a:gd name="T0" fmla="*/ 82 w 391"/>
                <a:gd name="T1" fmla="*/ 102 h 226"/>
                <a:gd name="T2" fmla="*/ 82 w 391"/>
                <a:gd name="T3" fmla="*/ 102 h 226"/>
                <a:gd name="T4" fmla="*/ 82 w 391"/>
                <a:gd name="T5" fmla="*/ 143 h 226"/>
                <a:gd name="T6" fmla="*/ 62 w 391"/>
                <a:gd name="T7" fmla="*/ 164 h 226"/>
                <a:gd name="T8" fmla="*/ 41 w 391"/>
                <a:gd name="T9" fmla="*/ 164 h 226"/>
                <a:gd name="T10" fmla="*/ 20 w 391"/>
                <a:gd name="T11" fmla="*/ 143 h 226"/>
                <a:gd name="T12" fmla="*/ 0 w 391"/>
                <a:gd name="T13" fmla="*/ 143 h 226"/>
                <a:gd name="T14" fmla="*/ 0 w 391"/>
                <a:gd name="T15" fmla="*/ 184 h 226"/>
                <a:gd name="T16" fmla="*/ 20 w 391"/>
                <a:gd name="T17" fmla="*/ 184 h 226"/>
                <a:gd name="T18" fmla="*/ 41 w 391"/>
                <a:gd name="T19" fmla="*/ 205 h 226"/>
                <a:gd name="T20" fmla="*/ 82 w 391"/>
                <a:gd name="T21" fmla="*/ 225 h 226"/>
                <a:gd name="T22" fmla="*/ 102 w 391"/>
                <a:gd name="T23" fmla="*/ 225 h 226"/>
                <a:gd name="T24" fmla="*/ 144 w 391"/>
                <a:gd name="T25" fmla="*/ 225 h 226"/>
                <a:gd name="T26" fmla="*/ 164 w 391"/>
                <a:gd name="T27" fmla="*/ 205 h 226"/>
                <a:gd name="T28" fmla="*/ 164 w 391"/>
                <a:gd name="T29" fmla="*/ 164 h 226"/>
                <a:gd name="T30" fmla="*/ 184 w 391"/>
                <a:gd name="T31" fmla="*/ 143 h 226"/>
                <a:gd name="T32" fmla="*/ 184 w 391"/>
                <a:gd name="T33" fmla="*/ 143 h 226"/>
                <a:gd name="T34" fmla="*/ 226 w 391"/>
                <a:gd name="T35" fmla="*/ 143 h 226"/>
                <a:gd name="T36" fmla="*/ 246 w 391"/>
                <a:gd name="T37" fmla="*/ 123 h 226"/>
                <a:gd name="T38" fmla="*/ 266 w 391"/>
                <a:gd name="T39" fmla="*/ 102 h 226"/>
                <a:gd name="T40" fmla="*/ 287 w 391"/>
                <a:gd name="T41" fmla="*/ 102 h 226"/>
                <a:gd name="T42" fmla="*/ 328 w 391"/>
                <a:gd name="T43" fmla="*/ 102 h 226"/>
                <a:gd name="T44" fmla="*/ 348 w 391"/>
                <a:gd name="T45" fmla="*/ 61 h 226"/>
                <a:gd name="T46" fmla="*/ 390 w 391"/>
                <a:gd name="T47" fmla="*/ 61 h 226"/>
                <a:gd name="T48" fmla="*/ 390 w 391"/>
                <a:gd name="T49" fmla="*/ 41 h 226"/>
                <a:gd name="T50" fmla="*/ 369 w 391"/>
                <a:gd name="T51" fmla="*/ 20 h 226"/>
                <a:gd name="T52" fmla="*/ 348 w 391"/>
                <a:gd name="T53" fmla="*/ 41 h 226"/>
                <a:gd name="T54" fmla="*/ 308 w 391"/>
                <a:gd name="T55" fmla="*/ 20 h 226"/>
                <a:gd name="T56" fmla="*/ 287 w 391"/>
                <a:gd name="T57" fmla="*/ 20 h 226"/>
                <a:gd name="T58" fmla="*/ 266 w 391"/>
                <a:gd name="T59" fmla="*/ 20 h 226"/>
                <a:gd name="T60" fmla="*/ 246 w 391"/>
                <a:gd name="T61" fmla="*/ 0 h 226"/>
                <a:gd name="T62" fmla="*/ 226 w 391"/>
                <a:gd name="T63" fmla="*/ 0 h 226"/>
                <a:gd name="T64" fmla="*/ 226 w 391"/>
                <a:gd name="T65" fmla="*/ 20 h 226"/>
                <a:gd name="T66" fmla="*/ 205 w 391"/>
                <a:gd name="T67" fmla="*/ 20 h 226"/>
                <a:gd name="T68" fmla="*/ 184 w 391"/>
                <a:gd name="T69" fmla="*/ 41 h 226"/>
                <a:gd name="T70" fmla="*/ 226 w 391"/>
                <a:gd name="T71" fmla="*/ 61 h 226"/>
                <a:gd name="T72" fmla="*/ 226 w 391"/>
                <a:gd name="T73" fmla="*/ 82 h 226"/>
                <a:gd name="T74" fmla="*/ 205 w 391"/>
                <a:gd name="T75" fmla="*/ 82 h 226"/>
                <a:gd name="T76" fmla="*/ 184 w 391"/>
                <a:gd name="T77" fmla="*/ 82 h 226"/>
                <a:gd name="T78" fmla="*/ 164 w 391"/>
                <a:gd name="T79" fmla="*/ 102 h 226"/>
                <a:gd name="T80" fmla="*/ 144 w 391"/>
                <a:gd name="T81" fmla="*/ 102 h 226"/>
                <a:gd name="T82" fmla="*/ 123 w 391"/>
                <a:gd name="T83" fmla="*/ 102 h 226"/>
                <a:gd name="T84" fmla="*/ 82 w 391"/>
                <a:gd name="T85" fmla="*/ 10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1" h="226">
                  <a:moveTo>
                    <a:pt x="82" y="102"/>
                  </a:moveTo>
                  <a:lnTo>
                    <a:pt x="82" y="102"/>
                  </a:lnTo>
                  <a:cubicBezTo>
                    <a:pt x="82" y="123"/>
                    <a:pt x="82" y="123"/>
                    <a:pt x="82" y="143"/>
                  </a:cubicBezTo>
                  <a:cubicBezTo>
                    <a:pt x="82" y="143"/>
                    <a:pt x="82" y="164"/>
                    <a:pt x="62" y="164"/>
                  </a:cubicBezTo>
                  <a:lnTo>
                    <a:pt x="41" y="164"/>
                  </a:lnTo>
                  <a:lnTo>
                    <a:pt x="20" y="143"/>
                  </a:lnTo>
                  <a:lnTo>
                    <a:pt x="0" y="143"/>
                  </a:lnTo>
                  <a:cubicBezTo>
                    <a:pt x="0" y="164"/>
                    <a:pt x="0" y="164"/>
                    <a:pt x="0" y="184"/>
                  </a:cubicBezTo>
                  <a:lnTo>
                    <a:pt x="20" y="184"/>
                  </a:lnTo>
                  <a:cubicBezTo>
                    <a:pt x="20" y="205"/>
                    <a:pt x="41" y="205"/>
                    <a:pt x="41" y="205"/>
                  </a:cubicBezTo>
                  <a:cubicBezTo>
                    <a:pt x="62" y="205"/>
                    <a:pt x="62" y="225"/>
                    <a:pt x="82" y="225"/>
                  </a:cubicBezTo>
                  <a:lnTo>
                    <a:pt x="102" y="225"/>
                  </a:lnTo>
                  <a:cubicBezTo>
                    <a:pt x="123" y="225"/>
                    <a:pt x="144" y="225"/>
                    <a:pt x="144" y="225"/>
                  </a:cubicBezTo>
                  <a:lnTo>
                    <a:pt x="164" y="205"/>
                  </a:lnTo>
                  <a:cubicBezTo>
                    <a:pt x="164" y="184"/>
                    <a:pt x="164" y="184"/>
                    <a:pt x="164" y="164"/>
                  </a:cubicBezTo>
                  <a:cubicBezTo>
                    <a:pt x="164" y="164"/>
                    <a:pt x="164" y="143"/>
                    <a:pt x="184" y="143"/>
                  </a:cubicBezTo>
                  <a:lnTo>
                    <a:pt x="184" y="143"/>
                  </a:lnTo>
                  <a:cubicBezTo>
                    <a:pt x="205" y="143"/>
                    <a:pt x="226" y="143"/>
                    <a:pt x="226" y="143"/>
                  </a:cubicBezTo>
                  <a:lnTo>
                    <a:pt x="246" y="123"/>
                  </a:lnTo>
                  <a:lnTo>
                    <a:pt x="266" y="102"/>
                  </a:lnTo>
                  <a:lnTo>
                    <a:pt x="287" y="102"/>
                  </a:lnTo>
                  <a:cubicBezTo>
                    <a:pt x="308" y="102"/>
                    <a:pt x="328" y="102"/>
                    <a:pt x="328" y="102"/>
                  </a:cubicBezTo>
                  <a:cubicBezTo>
                    <a:pt x="328" y="82"/>
                    <a:pt x="348" y="82"/>
                    <a:pt x="348" y="61"/>
                  </a:cubicBezTo>
                  <a:cubicBezTo>
                    <a:pt x="369" y="61"/>
                    <a:pt x="369" y="61"/>
                    <a:pt x="390" y="61"/>
                  </a:cubicBezTo>
                  <a:lnTo>
                    <a:pt x="390" y="41"/>
                  </a:lnTo>
                  <a:lnTo>
                    <a:pt x="369" y="20"/>
                  </a:lnTo>
                  <a:lnTo>
                    <a:pt x="348" y="41"/>
                  </a:lnTo>
                  <a:cubicBezTo>
                    <a:pt x="328" y="41"/>
                    <a:pt x="308" y="20"/>
                    <a:pt x="308" y="20"/>
                  </a:cubicBezTo>
                  <a:cubicBezTo>
                    <a:pt x="308" y="20"/>
                    <a:pt x="308" y="20"/>
                    <a:pt x="287" y="20"/>
                  </a:cubicBezTo>
                  <a:lnTo>
                    <a:pt x="266" y="20"/>
                  </a:lnTo>
                  <a:cubicBezTo>
                    <a:pt x="266" y="20"/>
                    <a:pt x="266" y="0"/>
                    <a:pt x="246" y="0"/>
                  </a:cubicBezTo>
                  <a:lnTo>
                    <a:pt x="226" y="0"/>
                  </a:lnTo>
                  <a:lnTo>
                    <a:pt x="226" y="20"/>
                  </a:lnTo>
                  <a:lnTo>
                    <a:pt x="205" y="20"/>
                  </a:lnTo>
                  <a:lnTo>
                    <a:pt x="184" y="41"/>
                  </a:lnTo>
                  <a:cubicBezTo>
                    <a:pt x="205" y="61"/>
                    <a:pt x="226" y="61"/>
                    <a:pt x="226" y="61"/>
                  </a:cubicBezTo>
                  <a:lnTo>
                    <a:pt x="226" y="82"/>
                  </a:lnTo>
                  <a:lnTo>
                    <a:pt x="205" y="82"/>
                  </a:lnTo>
                  <a:cubicBezTo>
                    <a:pt x="184" y="82"/>
                    <a:pt x="184" y="82"/>
                    <a:pt x="184" y="82"/>
                  </a:cubicBezTo>
                  <a:cubicBezTo>
                    <a:pt x="164" y="102"/>
                    <a:pt x="164" y="102"/>
                    <a:pt x="164" y="102"/>
                  </a:cubicBezTo>
                  <a:lnTo>
                    <a:pt x="144" y="102"/>
                  </a:lnTo>
                  <a:cubicBezTo>
                    <a:pt x="123" y="102"/>
                    <a:pt x="123" y="102"/>
                    <a:pt x="123" y="102"/>
                  </a:cubicBezTo>
                  <a:cubicBezTo>
                    <a:pt x="102" y="102"/>
                    <a:pt x="102" y="102"/>
                    <a:pt x="82" y="10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89" name="Freeform 186">
              <a:extLst>
                <a:ext uri="{FF2B5EF4-FFF2-40B4-BE49-F238E27FC236}">
                  <a16:creationId xmlns:a16="http://schemas.microsoft.com/office/drawing/2014/main" id="{6BA79648-2F06-384B-BC65-C79D2A980B91}"/>
                </a:ext>
              </a:extLst>
            </p:cNvPr>
            <p:cNvSpPr>
              <a:spLocks noChangeArrowheads="1"/>
            </p:cNvSpPr>
            <p:nvPr/>
          </p:nvSpPr>
          <p:spPr bwMode="auto">
            <a:xfrm>
              <a:off x="1466850" y="1285875"/>
              <a:ext cx="15875" cy="22225"/>
            </a:xfrm>
            <a:custGeom>
              <a:avLst/>
              <a:gdLst>
                <a:gd name="T0" fmla="*/ 42 w 43"/>
                <a:gd name="T1" fmla="*/ 62 h 63"/>
                <a:gd name="T2" fmla="*/ 42 w 43"/>
                <a:gd name="T3" fmla="*/ 62 h 63"/>
                <a:gd name="T4" fmla="*/ 42 w 43"/>
                <a:gd name="T5" fmla="*/ 41 h 63"/>
                <a:gd name="T6" fmla="*/ 42 w 43"/>
                <a:gd name="T7" fmla="*/ 0 h 63"/>
                <a:gd name="T8" fmla="*/ 21 w 43"/>
                <a:gd name="T9" fmla="*/ 0 h 63"/>
                <a:gd name="T10" fmla="*/ 0 w 43"/>
                <a:gd name="T11" fmla="*/ 0 h 63"/>
                <a:gd name="T12" fmla="*/ 0 w 43"/>
                <a:gd name="T13" fmla="*/ 20 h 63"/>
                <a:gd name="T14" fmla="*/ 0 w 43"/>
                <a:gd name="T15" fmla="*/ 41 h 63"/>
                <a:gd name="T16" fmla="*/ 21 w 43"/>
                <a:gd name="T17" fmla="*/ 41 h 63"/>
                <a:gd name="T18" fmla="*/ 42 w 43"/>
                <a:gd name="T19"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63">
                  <a:moveTo>
                    <a:pt x="42" y="62"/>
                  </a:moveTo>
                  <a:lnTo>
                    <a:pt x="42" y="62"/>
                  </a:lnTo>
                  <a:cubicBezTo>
                    <a:pt x="42" y="41"/>
                    <a:pt x="42" y="41"/>
                    <a:pt x="42" y="41"/>
                  </a:cubicBezTo>
                  <a:cubicBezTo>
                    <a:pt x="42" y="20"/>
                    <a:pt x="42" y="0"/>
                    <a:pt x="42" y="0"/>
                  </a:cubicBezTo>
                  <a:lnTo>
                    <a:pt x="21" y="0"/>
                  </a:lnTo>
                  <a:lnTo>
                    <a:pt x="0" y="0"/>
                  </a:lnTo>
                  <a:lnTo>
                    <a:pt x="0" y="20"/>
                  </a:lnTo>
                  <a:lnTo>
                    <a:pt x="0" y="41"/>
                  </a:lnTo>
                  <a:lnTo>
                    <a:pt x="21" y="41"/>
                  </a:lnTo>
                  <a:cubicBezTo>
                    <a:pt x="21" y="62"/>
                    <a:pt x="21" y="62"/>
                    <a:pt x="42"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0" name="Freeform 187">
              <a:extLst>
                <a:ext uri="{FF2B5EF4-FFF2-40B4-BE49-F238E27FC236}">
                  <a16:creationId xmlns:a16="http://schemas.microsoft.com/office/drawing/2014/main" id="{B4D6CF72-8F5C-1646-8530-440C62092A67}"/>
                </a:ext>
              </a:extLst>
            </p:cNvPr>
            <p:cNvSpPr>
              <a:spLocks noChangeArrowheads="1"/>
            </p:cNvSpPr>
            <p:nvPr/>
          </p:nvSpPr>
          <p:spPr bwMode="auto">
            <a:xfrm>
              <a:off x="1444625" y="1381125"/>
              <a:ext cx="30163" cy="30163"/>
            </a:xfrm>
            <a:custGeom>
              <a:avLst/>
              <a:gdLst>
                <a:gd name="T0" fmla="*/ 61 w 83"/>
                <a:gd name="T1" fmla="*/ 41 h 83"/>
                <a:gd name="T2" fmla="*/ 61 w 83"/>
                <a:gd name="T3" fmla="*/ 41 h 83"/>
                <a:gd name="T4" fmla="*/ 82 w 83"/>
                <a:gd name="T5" fmla="*/ 41 h 83"/>
                <a:gd name="T6" fmla="*/ 61 w 83"/>
                <a:gd name="T7" fmla="*/ 21 h 83"/>
                <a:gd name="T8" fmla="*/ 41 w 83"/>
                <a:gd name="T9" fmla="*/ 0 h 83"/>
                <a:gd name="T10" fmla="*/ 41 w 83"/>
                <a:gd name="T11" fmla="*/ 21 h 83"/>
                <a:gd name="T12" fmla="*/ 21 w 83"/>
                <a:gd name="T13" fmla="*/ 21 h 83"/>
                <a:gd name="T14" fmla="*/ 0 w 83"/>
                <a:gd name="T15" fmla="*/ 41 h 83"/>
                <a:gd name="T16" fmla="*/ 0 w 83"/>
                <a:gd name="T17" fmla="*/ 62 h 83"/>
                <a:gd name="T18" fmla="*/ 21 w 83"/>
                <a:gd name="T19" fmla="*/ 82 h 83"/>
                <a:gd name="T20" fmla="*/ 41 w 83"/>
                <a:gd name="T21" fmla="*/ 82 h 83"/>
                <a:gd name="T22" fmla="*/ 41 w 83"/>
                <a:gd name="T23" fmla="*/ 62 h 83"/>
                <a:gd name="T24" fmla="*/ 61 w 83"/>
                <a:gd name="T25"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83">
                  <a:moveTo>
                    <a:pt x="61" y="41"/>
                  </a:moveTo>
                  <a:lnTo>
                    <a:pt x="61" y="41"/>
                  </a:lnTo>
                  <a:lnTo>
                    <a:pt x="82" y="41"/>
                  </a:lnTo>
                  <a:cubicBezTo>
                    <a:pt x="82" y="21"/>
                    <a:pt x="61" y="21"/>
                    <a:pt x="61" y="21"/>
                  </a:cubicBezTo>
                  <a:cubicBezTo>
                    <a:pt x="61" y="0"/>
                    <a:pt x="41" y="0"/>
                    <a:pt x="41" y="0"/>
                  </a:cubicBezTo>
                  <a:cubicBezTo>
                    <a:pt x="41" y="21"/>
                    <a:pt x="41" y="21"/>
                    <a:pt x="41" y="21"/>
                  </a:cubicBezTo>
                  <a:cubicBezTo>
                    <a:pt x="41" y="41"/>
                    <a:pt x="21" y="21"/>
                    <a:pt x="21" y="21"/>
                  </a:cubicBezTo>
                  <a:cubicBezTo>
                    <a:pt x="21" y="41"/>
                    <a:pt x="0" y="41"/>
                    <a:pt x="0" y="41"/>
                  </a:cubicBezTo>
                  <a:lnTo>
                    <a:pt x="0" y="62"/>
                  </a:lnTo>
                  <a:cubicBezTo>
                    <a:pt x="0" y="82"/>
                    <a:pt x="21" y="82"/>
                    <a:pt x="21" y="82"/>
                  </a:cubicBezTo>
                  <a:lnTo>
                    <a:pt x="41" y="82"/>
                  </a:lnTo>
                  <a:cubicBezTo>
                    <a:pt x="41" y="62"/>
                    <a:pt x="41" y="62"/>
                    <a:pt x="41" y="62"/>
                  </a:cubicBezTo>
                  <a:lnTo>
                    <a:pt x="6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1" name="Freeform 188">
              <a:extLst>
                <a:ext uri="{FF2B5EF4-FFF2-40B4-BE49-F238E27FC236}">
                  <a16:creationId xmlns:a16="http://schemas.microsoft.com/office/drawing/2014/main" id="{65A25DF7-A8E0-3C4D-8BA3-A8F6063D76E8}"/>
                </a:ext>
              </a:extLst>
            </p:cNvPr>
            <p:cNvSpPr>
              <a:spLocks noChangeArrowheads="1"/>
            </p:cNvSpPr>
            <p:nvPr/>
          </p:nvSpPr>
          <p:spPr bwMode="auto">
            <a:xfrm>
              <a:off x="1474788" y="1389063"/>
              <a:ext cx="38100" cy="30162"/>
            </a:xfrm>
            <a:custGeom>
              <a:avLst/>
              <a:gdLst>
                <a:gd name="T0" fmla="*/ 103 w 104"/>
                <a:gd name="T1" fmla="*/ 41 h 83"/>
                <a:gd name="T2" fmla="*/ 103 w 104"/>
                <a:gd name="T3" fmla="*/ 41 h 83"/>
                <a:gd name="T4" fmla="*/ 82 w 104"/>
                <a:gd name="T5" fmla="*/ 20 h 83"/>
                <a:gd name="T6" fmla="*/ 41 w 104"/>
                <a:gd name="T7" fmla="*/ 0 h 83"/>
                <a:gd name="T8" fmla="*/ 21 w 104"/>
                <a:gd name="T9" fmla="*/ 0 h 83"/>
                <a:gd name="T10" fmla="*/ 21 w 104"/>
                <a:gd name="T11" fmla="*/ 41 h 83"/>
                <a:gd name="T12" fmla="*/ 0 w 104"/>
                <a:gd name="T13" fmla="*/ 41 h 83"/>
                <a:gd name="T14" fmla="*/ 0 w 104"/>
                <a:gd name="T15" fmla="*/ 61 h 83"/>
                <a:gd name="T16" fmla="*/ 0 w 104"/>
                <a:gd name="T17" fmla="*/ 82 h 83"/>
                <a:gd name="T18" fmla="*/ 41 w 104"/>
                <a:gd name="T19" fmla="*/ 82 h 83"/>
                <a:gd name="T20" fmla="*/ 82 w 104"/>
                <a:gd name="T21" fmla="*/ 82 h 83"/>
                <a:gd name="T22" fmla="*/ 103 w 104"/>
                <a:gd name="T23" fmla="*/ 61 h 83"/>
                <a:gd name="T24" fmla="*/ 103 w 104"/>
                <a:gd name="T25"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83">
                  <a:moveTo>
                    <a:pt x="103" y="41"/>
                  </a:moveTo>
                  <a:lnTo>
                    <a:pt x="103" y="41"/>
                  </a:lnTo>
                  <a:cubicBezTo>
                    <a:pt x="103" y="20"/>
                    <a:pt x="82" y="20"/>
                    <a:pt x="82" y="20"/>
                  </a:cubicBezTo>
                  <a:cubicBezTo>
                    <a:pt x="61" y="0"/>
                    <a:pt x="61" y="0"/>
                    <a:pt x="41" y="0"/>
                  </a:cubicBezTo>
                  <a:cubicBezTo>
                    <a:pt x="41" y="0"/>
                    <a:pt x="41" y="0"/>
                    <a:pt x="21" y="0"/>
                  </a:cubicBezTo>
                  <a:cubicBezTo>
                    <a:pt x="21" y="0"/>
                    <a:pt x="21" y="20"/>
                    <a:pt x="21" y="41"/>
                  </a:cubicBezTo>
                  <a:lnTo>
                    <a:pt x="0" y="41"/>
                  </a:lnTo>
                  <a:lnTo>
                    <a:pt x="0" y="61"/>
                  </a:lnTo>
                  <a:lnTo>
                    <a:pt x="0" y="82"/>
                  </a:lnTo>
                  <a:cubicBezTo>
                    <a:pt x="21" y="82"/>
                    <a:pt x="21" y="82"/>
                    <a:pt x="41" y="82"/>
                  </a:cubicBezTo>
                  <a:cubicBezTo>
                    <a:pt x="41" y="82"/>
                    <a:pt x="61" y="82"/>
                    <a:pt x="82" y="82"/>
                  </a:cubicBezTo>
                  <a:cubicBezTo>
                    <a:pt x="82" y="82"/>
                    <a:pt x="103" y="82"/>
                    <a:pt x="103" y="61"/>
                  </a:cubicBezTo>
                  <a:lnTo>
                    <a:pt x="103"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2" name="Freeform 189">
              <a:extLst>
                <a:ext uri="{FF2B5EF4-FFF2-40B4-BE49-F238E27FC236}">
                  <a16:creationId xmlns:a16="http://schemas.microsoft.com/office/drawing/2014/main" id="{6C7B56CD-32A5-5447-B357-60D92C87897B}"/>
                </a:ext>
              </a:extLst>
            </p:cNvPr>
            <p:cNvSpPr>
              <a:spLocks noChangeArrowheads="1"/>
            </p:cNvSpPr>
            <p:nvPr/>
          </p:nvSpPr>
          <p:spPr bwMode="auto">
            <a:xfrm>
              <a:off x="1525588" y="1360488"/>
              <a:ext cx="44450" cy="36512"/>
            </a:xfrm>
            <a:custGeom>
              <a:avLst/>
              <a:gdLst>
                <a:gd name="T0" fmla="*/ 82 w 125"/>
                <a:gd name="T1" fmla="*/ 82 h 103"/>
                <a:gd name="T2" fmla="*/ 82 w 125"/>
                <a:gd name="T3" fmla="*/ 82 h 103"/>
                <a:gd name="T4" fmla="*/ 124 w 125"/>
                <a:gd name="T5" fmla="*/ 82 h 103"/>
                <a:gd name="T6" fmla="*/ 124 w 125"/>
                <a:gd name="T7" fmla="*/ 41 h 103"/>
                <a:gd name="T8" fmla="*/ 103 w 125"/>
                <a:gd name="T9" fmla="*/ 41 h 103"/>
                <a:gd name="T10" fmla="*/ 82 w 125"/>
                <a:gd name="T11" fmla="*/ 20 h 103"/>
                <a:gd name="T12" fmla="*/ 62 w 125"/>
                <a:gd name="T13" fmla="*/ 20 h 103"/>
                <a:gd name="T14" fmla="*/ 62 w 125"/>
                <a:gd name="T15" fmla="*/ 20 h 103"/>
                <a:gd name="T16" fmla="*/ 41 w 125"/>
                <a:gd name="T17" fmla="*/ 41 h 103"/>
                <a:gd name="T18" fmla="*/ 21 w 125"/>
                <a:gd name="T19" fmla="*/ 20 h 103"/>
                <a:gd name="T20" fmla="*/ 0 w 125"/>
                <a:gd name="T21" fmla="*/ 61 h 103"/>
                <a:gd name="T22" fmla="*/ 0 w 125"/>
                <a:gd name="T23" fmla="*/ 61 h 103"/>
                <a:gd name="T24" fmla="*/ 21 w 125"/>
                <a:gd name="T25" fmla="*/ 102 h 103"/>
                <a:gd name="T26" fmla="*/ 21 w 125"/>
                <a:gd name="T27" fmla="*/ 102 h 103"/>
                <a:gd name="T28" fmla="*/ 41 w 125"/>
                <a:gd name="T29" fmla="*/ 102 h 103"/>
                <a:gd name="T30" fmla="*/ 82 w 125"/>
                <a:gd name="T31" fmla="*/ 102 h 103"/>
                <a:gd name="T32" fmla="*/ 82 w 125"/>
                <a:gd name="T33" fmla="*/ 8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03">
                  <a:moveTo>
                    <a:pt x="82" y="82"/>
                  </a:moveTo>
                  <a:lnTo>
                    <a:pt x="82" y="82"/>
                  </a:lnTo>
                  <a:cubicBezTo>
                    <a:pt x="103" y="82"/>
                    <a:pt x="124" y="102"/>
                    <a:pt x="124" y="82"/>
                  </a:cubicBezTo>
                  <a:cubicBezTo>
                    <a:pt x="124" y="82"/>
                    <a:pt x="124" y="61"/>
                    <a:pt x="124" y="41"/>
                  </a:cubicBezTo>
                  <a:lnTo>
                    <a:pt x="103" y="41"/>
                  </a:lnTo>
                  <a:cubicBezTo>
                    <a:pt x="103" y="20"/>
                    <a:pt x="103" y="20"/>
                    <a:pt x="82" y="20"/>
                  </a:cubicBezTo>
                  <a:cubicBezTo>
                    <a:pt x="82" y="0"/>
                    <a:pt x="82" y="0"/>
                    <a:pt x="62" y="20"/>
                  </a:cubicBezTo>
                  <a:lnTo>
                    <a:pt x="62" y="20"/>
                  </a:lnTo>
                  <a:lnTo>
                    <a:pt x="41" y="41"/>
                  </a:lnTo>
                  <a:lnTo>
                    <a:pt x="21" y="20"/>
                  </a:lnTo>
                  <a:cubicBezTo>
                    <a:pt x="0" y="20"/>
                    <a:pt x="21" y="41"/>
                    <a:pt x="0" y="61"/>
                  </a:cubicBezTo>
                  <a:lnTo>
                    <a:pt x="0" y="61"/>
                  </a:lnTo>
                  <a:cubicBezTo>
                    <a:pt x="0" y="61"/>
                    <a:pt x="0" y="82"/>
                    <a:pt x="21" y="102"/>
                  </a:cubicBezTo>
                  <a:lnTo>
                    <a:pt x="21" y="102"/>
                  </a:lnTo>
                  <a:cubicBezTo>
                    <a:pt x="41" y="102"/>
                    <a:pt x="41" y="102"/>
                    <a:pt x="41" y="102"/>
                  </a:cubicBezTo>
                  <a:cubicBezTo>
                    <a:pt x="41" y="102"/>
                    <a:pt x="62" y="102"/>
                    <a:pt x="82" y="102"/>
                  </a:cubicBezTo>
                  <a:lnTo>
                    <a:pt x="82"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3" name="Freeform 190">
              <a:extLst>
                <a:ext uri="{FF2B5EF4-FFF2-40B4-BE49-F238E27FC236}">
                  <a16:creationId xmlns:a16="http://schemas.microsoft.com/office/drawing/2014/main" id="{0BA0207F-BEB7-C04E-BDB6-A92A0EF0B447}"/>
                </a:ext>
              </a:extLst>
            </p:cNvPr>
            <p:cNvSpPr>
              <a:spLocks noChangeArrowheads="1"/>
            </p:cNvSpPr>
            <p:nvPr/>
          </p:nvSpPr>
          <p:spPr bwMode="auto">
            <a:xfrm>
              <a:off x="1651000" y="1374775"/>
              <a:ext cx="30163" cy="30163"/>
            </a:xfrm>
            <a:custGeom>
              <a:avLst/>
              <a:gdLst>
                <a:gd name="T0" fmla="*/ 62 w 83"/>
                <a:gd name="T1" fmla="*/ 61 h 83"/>
                <a:gd name="T2" fmla="*/ 62 w 83"/>
                <a:gd name="T3" fmla="*/ 61 h 83"/>
                <a:gd name="T4" fmla="*/ 82 w 83"/>
                <a:gd name="T5" fmla="*/ 61 h 83"/>
                <a:gd name="T6" fmla="*/ 82 w 83"/>
                <a:gd name="T7" fmla="*/ 41 h 83"/>
                <a:gd name="T8" fmla="*/ 62 w 83"/>
                <a:gd name="T9" fmla="*/ 20 h 83"/>
                <a:gd name="T10" fmla="*/ 42 w 83"/>
                <a:gd name="T11" fmla="*/ 0 h 83"/>
                <a:gd name="T12" fmla="*/ 42 w 83"/>
                <a:gd name="T13" fmla="*/ 20 h 83"/>
                <a:gd name="T14" fmla="*/ 21 w 83"/>
                <a:gd name="T15" fmla="*/ 20 h 83"/>
                <a:gd name="T16" fmla="*/ 0 w 83"/>
                <a:gd name="T17" fmla="*/ 20 h 83"/>
                <a:gd name="T18" fmla="*/ 0 w 83"/>
                <a:gd name="T19" fmla="*/ 41 h 83"/>
                <a:gd name="T20" fmla="*/ 21 w 83"/>
                <a:gd name="T21" fmla="*/ 41 h 83"/>
                <a:gd name="T22" fmla="*/ 21 w 83"/>
                <a:gd name="T23" fmla="*/ 61 h 83"/>
                <a:gd name="T24" fmla="*/ 21 w 83"/>
                <a:gd name="T25" fmla="*/ 82 h 83"/>
                <a:gd name="T26" fmla="*/ 42 w 83"/>
                <a:gd name="T27" fmla="*/ 82 h 83"/>
                <a:gd name="T28" fmla="*/ 62 w 83"/>
                <a:gd name="T29" fmla="*/ 6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83">
                  <a:moveTo>
                    <a:pt x="62" y="61"/>
                  </a:moveTo>
                  <a:lnTo>
                    <a:pt x="62" y="61"/>
                  </a:lnTo>
                  <a:lnTo>
                    <a:pt x="82" y="61"/>
                  </a:lnTo>
                  <a:lnTo>
                    <a:pt x="82" y="41"/>
                  </a:lnTo>
                  <a:lnTo>
                    <a:pt x="62" y="20"/>
                  </a:lnTo>
                  <a:cubicBezTo>
                    <a:pt x="62" y="0"/>
                    <a:pt x="42" y="0"/>
                    <a:pt x="42" y="0"/>
                  </a:cubicBezTo>
                  <a:lnTo>
                    <a:pt x="42" y="20"/>
                  </a:lnTo>
                  <a:cubicBezTo>
                    <a:pt x="21" y="20"/>
                    <a:pt x="21" y="0"/>
                    <a:pt x="21" y="20"/>
                  </a:cubicBezTo>
                  <a:lnTo>
                    <a:pt x="0" y="20"/>
                  </a:lnTo>
                  <a:lnTo>
                    <a:pt x="0" y="41"/>
                  </a:lnTo>
                  <a:lnTo>
                    <a:pt x="21" y="41"/>
                  </a:lnTo>
                  <a:lnTo>
                    <a:pt x="21" y="61"/>
                  </a:lnTo>
                  <a:cubicBezTo>
                    <a:pt x="0" y="61"/>
                    <a:pt x="21" y="82"/>
                    <a:pt x="21" y="82"/>
                  </a:cubicBezTo>
                  <a:cubicBezTo>
                    <a:pt x="21" y="82"/>
                    <a:pt x="21" y="82"/>
                    <a:pt x="42" y="82"/>
                  </a:cubicBezTo>
                  <a:cubicBezTo>
                    <a:pt x="42" y="82"/>
                    <a:pt x="62" y="82"/>
                    <a:pt x="62"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4" name="Freeform 191">
              <a:extLst>
                <a:ext uri="{FF2B5EF4-FFF2-40B4-BE49-F238E27FC236}">
                  <a16:creationId xmlns:a16="http://schemas.microsoft.com/office/drawing/2014/main" id="{516E5822-B76C-9D41-BDB2-5599CA9D9216}"/>
                </a:ext>
              </a:extLst>
            </p:cNvPr>
            <p:cNvSpPr>
              <a:spLocks noChangeArrowheads="1"/>
            </p:cNvSpPr>
            <p:nvPr/>
          </p:nvSpPr>
          <p:spPr bwMode="auto">
            <a:xfrm>
              <a:off x="1600200" y="1352550"/>
              <a:ext cx="15875" cy="15875"/>
            </a:xfrm>
            <a:custGeom>
              <a:avLst/>
              <a:gdLst>
                <a:gd name="T0" fmla="*/ 41 w 42"/>
                <a:gd name="T1" fmla="*/ 41 h 42"/>
                <a:gd name="T2" fmla="*/ 41 w 42"/>
                <a:gd name="T3" fmla="*/ 41 h 42"/>
                <a:gd name="T4" fmla="*/ 41 w 42"/>
                <a:gd name="T5" fmla="*/ 41 h 42"/>
                <a:gd name="T6" fmla="*/ 21 w 42"/>
                <a:gd name="T7" fmla="*/ 41 h 42"/>
                <a:gd name="T8" fmla="*/ 0 w 42"/>
                <a:gd name="T9" fmla="*/ 21 h 42"/>
                <a:gd name="T10" fmla="*/ 0 w 42"/>
                <a:gd name="T11" fmla="*/ 0 h 42"/>
                <a:gd name="T12" fmla="*/ 21 w 42"/>
                <a:gd name="T13" fmla="*/ 0 h 42"/>
                <a:gd name="T14" fmla="*/ 41 w 42"/>
                <a:gd name="T15" fmla="*/ 0 h 42"/>
                <a:gd name="T16" fmla="*/ 41 w 42"/>
                <a:gd name="T17" fmla="*/ 21 h 42"/>
                <a:gd name="T18" fmla="*/ 41 w 42"/>
                <a:gd name="T19"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41" y="41"/>
                  </a:moveTo>
                  <a:lnTo>
                    <a:pt x="41" y="41"/>
                  </a:lnTo>
                  <a:lnTo>
                    <a:pt x="41" y="41"/>
                  </a:lnTo>
                  <a:cubicBezTo>
                    <a:pt x="21" y="41"/>
                    <a:pt x="21" y="41"/>
                    <a:pt x="21" y="41"/>
                  </a:cubicBezTo>
                  <a:cubicBezTo>
                    <a:pt x="21" y="21"/>
                    <a:pt x="0" y="21"/>
                    <a:pt x="0" y="21"/>
                  </a:cubicBezTo>
                  <a:cubicBezTo>
                    <a:pt x="0" y="21"/>
                    <a:pt x="0" y="21"/>
                    <a:pt x="0" y="0"/>
                  </a:cubicBezTo>
                  <a:lnTo>
                    <a:pt x="21" y="0"/>
                  </a:lnTo>
                  <a:lnTo>
                    <a:pt x="41" y="0"/>
                  </a:lnTo>
                  <a:lnTo>
                    <a:pt x="41" y="21"/>
                  </a:lnTo>
                  <a:cubicBezTo>
                    <a:pt x="41" y="21"/>
                    <a:pt x="41" y="21"/>
                    <a:pt x="4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5" name="Freeform 192">
              <a:extLst>
                <a:ext uri="{FF2B5EF4-FFF2-40B4-BE49-F238E27FC236}">
                  <a16:creationId xmlns:a16="http://schemas.microsoft.com/office/drawing/2014/main" id="{F4B4BCBC-9EB8-F84F-9691-424EBF02979D}"/>
                </a:ext>
              </a:extLst>
            </p:cNvPr>
            <p:cNvSpPr>
              <a:spLocks noChangeArrowheads="1"/>
            </p:cNvSpPr>
            <p:nvPr/>
          </p:nvSpPr>
          <p:spPr bwMode="auto">
            <a:xfrm>
              <a:off x="1570038" y="1344613"/>
              <a:ext cx="22225" cy="22225"/>
            </a:xfrm>
            <a:custGeom>
              <a:avLst/>
              <a:gdLst>
                <a:gd name="T0" fmla="*/ 40 w 61"/>
                <a:gd name="T1" fmla="*/ 61 h 62"/>
                <a:gd name="T2" fmla="*/ 40 w 61"/>
                <a:gd name="T3" fmla="*/ 61 h 62"/>
                <a:gd name="T4" fmla="*/ 20 w 61"/>
                <a:gd name="T5" fmla="*/ 41 h 62"/>
                <a:gd name="T6" fmla="*/ 20 w 61"/>
                <a:gd name="T7" fmla="*/ 20 h 62"/>
                <a:gd name="T8" fmla="*/ 0 w 61"/>
                <a:gd name="T9" fmla="*/ 20 h 62"/>
                <a:gd name="T10" fmla="*/ 0 w 61"/>
                <a:gd name="T11" fmla="*/ 0 h 62"/>
                <a:gd name="T12" fmla="*/ 20 w 61"/>
                <a:gd name="T13" fmla="*/ 0 h 62"/>
                <a:gd name="T14" fmla="*/ 40 w 61"/>
                <a:gd name="T15" fmla="*/ 20 h 62"/>
                <a:gd name="T16" fmla="*/ 40 w 61"/>
                <a:gd name="T17" fmla="*/ 20 h 62"/>
                <a:gd name="T18" fmla="*/ 60 w 61"/>
                <a:gd name="T19" fmla="*/ 41 h 62"/>
                <a:gd name="T20" fmla="*/ 40 w 61"/>
                <a:gd name="T2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2">
                  <a:moveTo>
                    <a:pt x="40" y="61"/>
                  </a:moveTo>
                  <a:lnTo>
                    <a:pt x="40" y="61"/>
                  </a:lnTo>
                  <a:lnTo>
                    <a:pt x="20" y="41"/>
                  </a:lnTo>
                  <a:cubicBezTo>
                    <a:pt x="20" y="41"/>
                    <a:pt x="20" y="41"/>
                    <a:pt x="20" y="20"/>
                  </a:cubicBezTo>
                  <a:lnTo>
                    <a:pt x="0" y="20"/>
                  </a:lnTo>
                  <a:cubicBezTo>
                    <a:pt x="0" y="20"/>
                    <a:pt x="0" y="20"/>
                    <a:pt x="0" y="0"/>
                  </a:cubicBezTo>
                  <a:cubicBezTo>
                    <a:pt x="20" y="0"/>
                    <a:pt x="20" y="0"/>
                    <a:pt x="20" y="0"/>
                  </a:cubicBezTo>
                  <a:cubicBezTo>
                    <a:pt x="40" y="0"/>
                    <a:pt x="40" y="20"/>
                    <a:pt x="40" y="20"/>
                  </a:cubicBezTo>
                  <a:lnTo>
                    <a:pt x="40" y="20"/>
                  </a:lnTo>
                  <a:lnTo>
                    <a:pt x="60" y="41"/>
                  </a:lnTo>
                  <a:cubicBezTo>
                    <a:pt x="60" y="41"/>
                    <a:pt x="60" y="61"/>
                    <a:pt x="40"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6" name="Freeform 193">
              <a:extLst>
                <a:ext uri="{FF2B5EF4-FFF2-40B4-BE49-F238E27FC236}">
                  <a16:creationId xmlns:a16="http://schemas.microsoft.com/office/drawing/2014/main" id="{50968CC3-404E-0641-9178-04761F360075}"/>
                </a:ext>
              </a:extLst>
            </p:cNvPr>
            <p:cNvSpPr>
              <a:spLocks noChangeArrowheads="1"/>
            </p:cNvSpPr>
            <p:nvPr/>
          </p:nvSpPr>
          <p:spPr bwMode="auto">
            <a:xfrm>
              <a:off x="1584325" y="1374775"/>
              <a:ext cx="15875" cy="22225"/>
            </a:xfrm>
            <a:custGeom>
              <a:avLst/>
              <a:gdLst>
                <a:gd name="T0" fmla="*/ 20 w 42"/>
                <a:gd name="T1" fmla="*/ 0 h 62"/>
                <a:gd name="T2" fmla="*/ 20 w 42"/>
                <a:gd name="T3" fmla="*/ 0 h 62"/>
                <a:gd name="T4" fmla="*/ 20 w 42"/>
                <a:gd name="T5" fmla="*/ 20 h 62"/>
                <a:gd name="T6" fmla="*/ 20 w 42"/>
                <a:gd name="T7" fmla="*/ 20 h 62"/>
                <a:gd name="T8" fmla="*/ 0 w 42"/>
                <a:gd name="T9" fmla="*/ 41 h 62"/>
                <a:gd name="T10" fmla="*/ 0 w 42"/>
                <a:gd name="T11" fmla="*/ 41 h 62"/>
                <a:gd name="T12" fmla="*/ 20 w 42"/>
                <a:gd name="T13" fmla="*/ 61 h 62"/>
                <a:gd name="T14" fmla="*/ 20 w 42"/>
                <a:gd name="T15" fmla="*/ 41 h 62"/>
                <a:gd name="T16" fmla="*/ 41 w 42"/>
                <a:gd name="T17" fmla="*/ 20 h 62"/>
                <a:gd name="T18" fmla="*/ 41 w 42"/>
                <a:gd name="T19" fmla="*/ 0 h 62"/>
                <a:gd name="T20" fmla="*/ 20 w 42"/>
                <a:gd name="T2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62">
                  <a:moveTo>
                    <a:pt x="20" y="0"/>
                  </a:moveTo>
                  <a:lnTo>
                    <a:pt x="20" y="0"/>
                  </a:lnTo>
                  <a:lnTo>
                    <a:pt x="20" y="20"/>
                  </a:lnTo>
                  <a:lnTo>
                    <a:pt x="20" y="20"/>
                  </a:lnTo>
                  <a:cubicBezTo>
                    <a:pt x="0" y="20"/>
                    <a:pt x="0" y="20"/>
                    <a:pt x="0" y="41"/>
                  </a:cubicBezTo>
                  <a:lnTo>
                    <a:pt x="0" y="41"/>
                  </a:lnTo>
                  <a:cubicBezTo>
                    <a:pt x="0" y="61"/>
                    <a:pt x="20" y="61"/>
                    <a:pt x="20" y="61"/>
                  </a:cubicBezTo>
                  <a:cubicBezTo>
                    <a:pt x="20" y="41"/>
                    <a:pt x="20" y="41"/>
                    <a:pt x="20" y="41"/>
                  </a:cubicBezTo>
                  <a:lnTo>
                    <a:pt x="41" y="20"/>
                  </a:lnTo>
                  <a:lnTo>
                    <a:pt x="41" y="0"/>
                  </a:lnTo>
                  <a:cubicBezTo>
                    <a:pt x="41" y="0"/>
                    <a:pt x="41"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7" name="Freeform 194">
              <a:extLst>
                <a:ext uri="{FF2B5EF4-FFF2-40B4-BE49-F238E27FC236}">
                  <a16:creationId xmlns:a16="http://schemas.microsoft.com/office/drawing/2014/main" id="{6238539B-E826-1C4B-988F-3829964B0650}"/>
                </a:ext>
              </a:extLst>
            </p:cNvPr>
            <p:cNvSpPr>
              <a:spLocks noChangeArrowheads="1"/>
            </p:cNvSpPr>
            <p:nvPr/>
          </p:nvSpPr>
          <p:spPr bwMode="auto">
            <a:xfrm>
              <a:off x="1555750" y="1336675"/>
              <a:ext cx="15875" cy="22225"/>
            </a:xfrm>
            <a:custGeom>
              <a:avLst/>
              <a:gdLst>
                <a:gd name="T0" fmla="*/ 21 w 43"/>
                <a:gd name="T1" fmla="*/ 41 h 63"/>
                <a:gd name="T2" fmla="*/ 21 w 43"/>
                <a:gd name="T3" fmla="*/ 41 h 63"/>
                <a:gd name="T4" fmla="*/ 21 w 43"/>
                <a:gd name="T5" fmla="*/ 21 h 63"/>
                <a:gd name="T6" fmla="*/ 21 w 43"/>
                <a:gd name="T7" fmla="*/ 0 h 63"/>
                <a:gd name="T8" fmla="*/ 0 w 43"/>
                <a:gd name="T9" fmla="*/ 0 h 63"/>
                <a:gd name="T10" fmla="*/ 0 w 43"/>
                <a:gd name="T11" fmla="*/ 21 h 63"/>
                <a:gd name="T12" fmla="*/ 21 w 43"/>
                <a:gd name="T13" fmla="*/ 41 h 63"/>
                <a:gd name="T14" fmla="*/ 21 w 43"/>
                <a:gd name="T15" fmla="*/ 62 h 63"/>
                <a:gd name="T16" fmla="*/ 42 w 43"/>
                <a:gd name="T17" fmla="*/ 62 h 63"/>
                <a:gd name="T18" fmla="*/ 42 w 43"/>
                <a:gd name="T19" fmla="*/ 41 h 63"/>
                <a:gd name="T20" fmla="*/ 21 w 43"/>
                <a:gd name="T2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63">
                  <a:moveTo>
                    <a:pt x="21" y="41"/>
                  </a:moveTo>
                  <a:lnTo>
                    <a:pt x="21" y="41"/>
                  </a:lnTo>
                  <a:lnTo>
                    <a:pt x="21" y="21"/>
                  </a:lnTo>
                  <a:lnTo>
                    <a:pt x="21" y="0"/>
                  </a:lnTo>
                  <a:lnTo>
                    <a:pt x="0" y="0"/>
                  </a:lnTo>
                  <a:cubicBezTo>
                    <a:pt x="0" y="21"/>
                    <a:pt x="0" y="21"/>
                    <a:pt x="0" y="21"/>
                  </a:cubicBezTo>
                  <a:cubicBezTo>
                    <a:pt x="0" y="41"/>
                    <a:pt x="21" y="41"/>
                    <a:pt x="21" y="41"/>
                  </a:cubicBezTo>
                  <a:lnTo>
                    <a:pt x="21" y="62"/>
                  </a:lnTo>
                  <a:cubicBezTo>
                    <a:pt x="21" y="62"/>
                    <a:pt x="21" y="62"/>
                    <a:pt x="42" y="62"/>
                  </a:cubicBezTo>
                  <a:cubicBezTo>
                    <a:pt x="42" y="62"/>
                    <a:pt x="42" y="62"/>
                    <a:pt x="42" y="41"/>
                  </a:cubicBezTo>
                  <a:lnTo>
                    <a:pt x="2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8" name="Freeform 195">
              <a:extLst>
                <a:ext uri="{FF2B5EF4-FFF2-40B4-BE49-F238E27FC236}">
                  <a16:creationId xmlns:a16="http://schemas.microsoft.com/office/drawing/2014/main" id="{39FFAE02-7B74-B94A-B75B-6CE6D9742E7D}"/>
                </a:ext>
              </a:extLst>
            </p:cNvPr>
            <p:cNvSpPr>
              <a:spLocks noChangeArrowheads="1"/>
            </p:cNvSpPr>
            <p:nvPr/>
          </p:nvSpPr>
          <p:spPr bwMode="auto">
            <a:xfrm>
              <a:off x="1643063" y="1360488"/>
              <a:ext cx="15875" cy="7937"/>
            </a:xfrm>
            <a:custGeom>
              <a:avLst/>
              <a:gdLst>
                <a:gd name="T0" fmla="*/ 41 w 42"/>
                <a:gd name="T1" fmla="*/ 20 h 21"/>
                <a:gd name="T2" fmla="*/ 41 w 42"/>
                <a:gd name="T3" fmla="*/ 20 h 21"/>
                <a:gd name="T4" fmla="*/ 20 w 42"/>
                <a:gd name="T5" fmla="*/ 20 h 21"/>
                <a:gd name="T6" fmla="*/ 20 w 42"/>
                <a:gd name="T7" fmla="*/ 20 h 21"/>
                <a:gd name="T8" fmla="*/ 20 w 42"/>
                <a:gd name="T9" fmla="*/ 0 h 21"/>
                <a:gd name="T10" fmla="*/ 41 w 42"/>
                <a:gd name="T11" fmla="*/ 0 h 21"/>
                <a:gd name="T12" fmla="*/ 41 w 42"/>
                <a:gd name="T13" fmla="*/ 0 h 21"/>
                <a:gd name="T14" fmla="*/ 41 w 42"/>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1">
                  <a:moveTo>
                    <a:pt x="41" y="20"/>
                  </a:moveTo>
                  <a:lnTo>
                    <a:pt x="41" y="20"/>
                  </a:lnTo>
                  <a:cubicBezTo>
                    <a:pt x="41" y="20"/>
                    <a:pt x="41" y="20"/>
                    <a:pt x="20" y="20"/>
                  </a:cubicBezTo>
                  <a:lnTo>
                    <a:pt x="20" y="20"/>
                  </a:lnTo>
                  <a:cubicBezTo>
                    <a:pt x="0" y="20"/>
                    <a:pt x="20" y="0"/>
                    <a:pt x="20" y="0"/>
                  </a:cubicBezTo>
                  <a:lnTo>
                    <a:pt x="41" y="0"/>
                  </a:lnTo>
                  <a:lnTo>
                    <a:pt x="41" y="0"/>
                  </a:lnTo>
                  <a:lnTo>
                    <a:pt x="4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199" name="Freeform 196">
              <a:extLst>
                <a:ext uri="{FF2B5EF4-FFF2-40B4-BE49-F238E27FC236}">
                  <a16:creationId xmlns:a16="http://schemas.microsoft.com/office/drawing/2014/main" id="{D9AC9C23-B871-BA40-91BB-3518FB4B8E47}"/>
                </a:ext>
              </a:extLst>
            </p:cNvPr>
            <p:cNvSpPr>
              <a:spLocks noChangeArrowheads="1"/>
            </p:cNvSpPr>
            <p:nvPr/>
          </p:nvSpPr>
          <p:spPr bwMode="auto">
            <a:xfrm>
              <a:off x="1606550" y="1374775"/>
              <a:ext cx="36513" cy="22225"/>
            </a:xfrm>
            <a:custGeom>
              <a:avLst/>
              <a:gdLst>
                <a:gd name="T0" fmla="*/ 82 w 103"/>
                <a:gd name="T1" fmla="*/ 20 h 62"/>
                <a:gd name="T2" fmla="*/ 82 w 103"/>
                <a:gd name="T3" fmla="*/ 20 h 62"/>
                <a:gd name="T4" fmla="*/ 61 w 103"/>
                <a:gd name="T5" fmla="*/ 20 h 62"/>
                <a:gd name="T6" fmla="*/ 40 w 103"/>
                <a:gd name="T7" fmla="*/ 20 h 62"/>
                <a:gd name="T8" fmla="*/ 20 w 103"/>
                <a:gd name="T9" fmla="*/ 0 h 62"/>
                <a:gd name="T10" fmla="*/ 0 w 103"/>
                <a:gd name="T11" fmla="*/ 20 h 62"/>
                <a:gd name="T12" fmla="*/ 20 w 103"/>
                <a:gd name="T13" fmla="*/ 41 h 62"/>
                <a:gd name="T14" fmla="*/ 20 w 103"/>
                <a:gd name="T15" fmla="*/ 41 h 62"/>
                <a:gd name="T16" fmla="*/ 40 w 103"/>
                <a:gd name="T17" fmla="*/ 61 h 62"/>
                <a:gd name="T18" fmla="*/ 61 w 103"/>
                <a:gd name="T19" fmla="*/ 61 h 62"/>
                <a:gd name="T20" fmla="*/ 82 w 103"/>
                <a:gd name="T21" fmla="*/ 61 h 62"/>
                <a:gd name="T22" fmla="*/ 102 w 103"/>
                <a:gd name="T23" fmla="*/ 41 h 62"/>
                <a:gd name="T24" fmla="*/ 102 w 103"/>
                <a:gd name="T25" fmla="*/ 20 h 62"/>
                <a:gd name="T26" fmla="*/ 82 w 103"/>
                <a:gd name="T27"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3" h="62">
                  <a:moveTo>
                    <a:pt x="82" y="20"/>
                  </a:moveTo>
                  <a:lnTo>
                    <a:pt x="82" y="20"/>
                  </a:lnTo>
                  <a:cubicBezTo>
                    <a:pt x="61" y="20"/>
                    <a:pt x="61" y="20"/>
                    <a:pt x="61" y="20"/>
                  </a:cubicBezTo>
                  <a:cubicBezTo>
                    <a:pt x="40" y="20"/>
                    <a:pt x="40" y="20"/>
                    <a:pt x="40" y="20"/>
                  </a:cubicBezTo>
                  <a:cubicBezTo>
                    <a:pt x="20" y="20"/>
                    <a:pt x="20" y="0"/>
                    <a:pt x="20" y="0"/>
                  </a:cubicBezTo>
                  <a:cubicBezTo>
                    <a:pt x="20" y="0"/>
                    <a:pt x="20" y="20"/>
                    <a:pt x="0" y="20"/>
                  </a:cubicBezTo>
                  <a:cubicBezTo>
                    <a:pt x="0" y="20"/>
                    <a:pt x="0" y="20"/>
                    <a:pt x="20" y="41"/>
                  </a:cubicBezTo>
                  <a:lnTo>
                    <a:pt x="20" y="41"/>
                  </a:lnTo>
                  <a:lnTo>
                    <a:pt x="40" y="61"/>
                  </a:lnTo>
                  <a:lnTo>
                    <a:pt x="61" y="61"/>
                  </a:lnTo>
                  <a:lnTo>
                    <a:pt x="82" y="61"/>
                  </a:lnTo>
                  <a:cubicBezTo>
                    <a:pt x="82" y="41"/>
                    <a:pt x="102" y="41"/>
                    <a:pt x="102" y="41"/>
                  </a:cubicBezTo>
                  <a:lnTo>
                    <a:pt x="102" y="20"/>
                  </a:lnTo>
                  <a:lnTo>
                    <a:pt x="82"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0" name="Freeform 197">
              <a:extLst>
                <a:ext uri="{FF2B5EF4-FFF2-40B4-BE49-F238E27FC236}">
                  <a16:creationId xmlns:a16="http://schemas.microsoft.com/office/drawing/2014/main" id="{C260DEBF-BFB5-F54F-8F0A-D18A8CEB34DF}"/>
                </a:ext>
              </a:extLst>
            </p:cNvPr>
            <p:cNvSpPr>
              <a:spLocks noChangeArrowheads="1"/>
            </p:cNvSpPr>
            <p:nvPr/>
          </p:nvSpPr>
          <p:spPr bwMode="auto">
            <a:xfrm>
              <a:off x="1584325" y="1322388"/>
              <a:ext cx="44450" cy="15875"/>
            </a:xfrm>
            <a:custGeom>
              <a:avLst/>
              <a:gdLst>
                <a:gd name="T0" fmla="*/ 123 w 124"/>
                <a:gd name="T1" fmla="*/ 21 h 42"/>
                <a:gd name="T2" fmla="*/ 123 w 124"/>
                <a:gd name="T3" fmla="*/ 21 h 42"/>
                <a:gd name="T4" fmla="*/ 82 w 124"/>
                <a:gd name="T5" fmla="*/ 41 h 42"/>
                <a:gd name="T6" fmla="*/ 41 w 124"/>
                <a:gd name="T7" fmla="*/ 41 h 42"/>
                <a:gd name="T8" fmla="*/ 20 w 124"/>
                <a:gd name="T9" fmla="*/ 21 h 42"/>
                <a:gd name="T10" fmla="*/ 0 w 124"/>
                <a:gd name="T11" fmla="*/ 21 h 42"/>
                <a:gd name="T12" fmla="*/ 20 w 124"/>
                <a:gd name="T13" fmla="*/ 0 h 42"/>
                <a:gd name="T14" fmla="*/ 41 w 124"/>
                <a:gd name="T15" fmla="*/ 0 h 42"/>
                <a:gd name="T16" fmla="*/ 82 w 124"/>
                <a:gd name="T17" fmla="*/ 0 h 42"/>
                <a:gd name="T18" fmla="*/ 102 w 124"/>
                <a:gd name="T19" fmla="*/ 0 h 42"/>
                <a:gd name="T20" fmla="*/ 123 w 124"/>
                <a:gd name="T21"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42">
                  <a:moveTo>
                    <a:pt x="123" y="21"/>
                  </a:moveTo>
                  <a:lnTo>
                    <a:pt x="123" y="21"/>
                  </a:lnTo>
                  <a:cubicBezTo>
                    <a:pt x="123" y="41"/>
                    <a:pt x="102" y="41"/>
                    <a:pt x="82" y="41"/>
                  </a:cubicBezTo>
                  <a:cubicBezTo>
                    <a:pt x="82" y="41"/>
                    <a:pt x="62" y="41"/>
                    <a:pt x="41" y="41"/>
                  </a:cubicBezTo>
                  <a:cubicBezTo>
                    <a:pt x="41" y="21"/>
                    <a:pt x="20" y="21"/>
                    <a:pt x="20" y="21"/>
                  </a:cubicBezTo>
                  <a:lnTo>
                    <a:pt x="0" y="21"/>
                  </a:lnTo>
                  <a:cubicBezTo>
                    <a:pt x="0" y="0"/>
                    <a:pt x="20" y="0"/>
                    <a:pt x="20" y="0"/>
                  </a:cubicBezTo>
                  <a:lnTo>
                    <a:pt x="41" y="0"/>
                  </a:lnTo>
                  <a:cubicBezTo>
                    <a:pt x="62" y="0"/>
                    <a:pt x="82" y="0"/>
                    <a:pt x="82" y="0"/>
                  </a:cubicBezTo>
                  <a:lnTo>
                    <a:pt x="102" y="0"/>
                  </a:lnTo>
                  <a:cubicBezTo>
                    <a:pt x="123" y="0"/>
                    <a:pt x="123" y="21"/>
                    <a:pt x="123"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1" name="Freeform 198">
              <a:extLst>
                <a:ext uri="{FF2B5EF4-FFF2-40B4-BE49-F238E27FC236}">
                  <a16:creationId xmlns:a16="http://schemas.microsoft.com/office/drawing/2014/main" id="{56C674BD-0BBE-2643-9C94-2E030F947EBF}"/>
                </a:ext>
              </a:extLst>
            </p:cNvPr>
            <p:cNvSpPr>
              <a:spLocks noChangeArrowheads="1"/>
            </p:cNvSpPr>
            <p:nvPr/>
          </p:nvSpPr>
          <p:spPr bwMode="auto">
            <a:xfrm>
              <a:off x="1584325" y="1293813"/>
              <a:ext cx="96838" cy="44450"/>
            </a:xfrm>
            <a:custGeom>
              <a:avLst/>
              <a:gdLst>
                <a:gd name="T0" fmla="*/ 266 w 267"/>
                <a:gd name="T1" fmla="*/ 123 h 124"/>
                <a:gd name="T2" fmla="*/ 266 w 267"/>
                <a:gd name="T3" fmla="*/ 123 h 124"/>
                <a:gd name="T4" fmla="*/ 246 w 267"/>
                <a:gd name="T5" fmla="*/ 123 h 124"/>
                <a:gd name="T6" fmla="*/ 205 w 267"/>
                <a:gd name="T7" fmla="*/ 103 h 124"/>
                <a:gd name="T8" fmla="*/ 184 w 267"/>
                <a:gd name="T9" fmla="*/ 82 h 124"/>
                <a:gd name="T10" fmla="*/ 164 w 267"/>
                <a:gd name="T11" fmla="*/ 82 h 124"/>
                <a:gd name="T12" fmla="*/ 123 w 267"/>
                <a:gd name="T13" fmla="*/ 62 h 124"/>
                <a:gd name="T14" fmla="*/ 102 w 267"/>
                <a:gd name="T15" fmla="*/ 42 h 124"/>
                <a:gd name="T16" fmla="*/ 62 w 267"/>
                <a:gd name="T17" fmla="*/ 42 h 124"/>
                <a:gd name="T18" fmla="*/ 41 w 267"/>
                <a:gd name="T19" fmla="*/ 42 h 124"/>
                <a:gd name="T20" fmla="*/ 20 w 267"/>
                <a:gd name="T21" fmla="*/ 42 h 124"/>
                <a:gd name="T22" fmla="*/ 0 w 267"/>
                <a:gd name="T23" fmla="*/ 21 h 124"/>
                <a:gd name="T24" fmla="*/ 0 w 267"/>
                <a:gd name="T25" fmla="*/ 0 h 124"/>
                <a:gd name="T26" fmla="*/ 20 w 267"/>
                <a:gd name="T27" fmla="*/ 0 h 124"/>
                <a:gd name="T28" fmla="*/ 41 w 267"/>
                <a:gd name="T29" fmla="*/ 0 h 124"/>
                <a:gd name="T30" fmla="*/ 62 w 267"/>
                <a:gd name="T31" fmla="*/ 0 h 124"/>
                <a:gd name="T32" fmla="*/ 102 w 267"/>
                <a:gd name="T33" fmla="*/ 21 h 124"/>
                <a:gd name="T34" fmla="*/ 123 w 267"/>
                <a:gd name="T35" fmla="*/ 21 h 124"/>
                <a:gd name="T36" fmla="*/ 144 w 267"/>
                <a:gd name="T37" fmla="*/ 42 h 124"/>
                <a:gd name="T38" fmla="*/ 164 w 267"/>
                <a:gd name="T39" fmla="*/ 42 h 124"/>
                <a:gd name="T40" fmla="*/ 184 w 267"/>
                <a:gd name="T41" fmla="*/ 62 h 124"/>
                <a:gd name="T42" fmla="*/ 205 w 267"/>
                <a:gd name="T43" fmla="*/ 82 h 124"/>
                <a:gd name="T44" fmla="*/ 246 w 267"/>
                <a:gd name="T45" fmla="*/ 62 h 124"/>
                <a:gd name="T46" fmla="*/ 266 w 267"/>
                <a:gd name="T47" fmla="*/ 82 h 124"/>
                <a:gd name="T48" fmla="*/ 266 w 267"/>
                <a:gd name="T49" fmla="*/ 103 h 124"/>
                <a:gd name="T50" fmla="*/ 266 w 267"/>
                <a:gd name="T51" fmla="*/ 12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7" h="124">
                  <a:moveTo>
                    <a:pt x="266" y="123"/>
                  </a:moveTo>
                  <a:lnTo>
                    <a:pt x="266" y="123"/>
                  </a:lnTo>
                  <a:lnTo>
                    <a:pt x="246" y="123"/>
                  </a:lnTo>
                  <a:cubicBezTo>
                    <a:pt x="226" y="103"/>
                    <a:pt x="205" y="103"/>
                    <a:pt x="205" y="103"/>
                  </a:cubicBezTo>
                  <a:lnTo>
                    <a:pt x="184" y="82"/>
                  </a:lnTo>
                  <a:lnTo>
                    <a:pt x="164" y="82"/>
                  </a:lnTo>
                  <a:cubicBezTo>
                    <a:pt x="144" y="82"/>
                    <a:pt x="144" y="62"/>
                    <a:pt x="123" y="62"/>
                  </a:cubicBezTo>
                  <a:cubicBezTo>
                    <a:pt x="123" y="62"/>
                    <a:pt x="102" y="62"/>
                    <a:pt x="102" y="42"/>
                  </a:cubicBezTo>
                  <a:cubicBezTo>
                    <a:pt x="82" y="42"/>
                    <a:pt x="82" y="42"/>
                    <a:pt x="62" y="42"/>
                  </a:cubicBezTo>
                  <a:lnTo>
                    <a:pt x="41" y="42"/>
                  </a:lnTo>
                  <a:cubicBezTo>
                    <a:pt x="20" y="42"/>
                    <a:pt x="20" y="42"/>
                    <a:pt x="20" y="42"/>
                  </a:cubicBezTo>
                  <a:cubicBezTo>
                    <a:pt x="0" y="21"/>
                    <a:pt x="0" y="21"/>
                    <a:pt x="0" y="21"/>
                  </a:cubicBezTo>
                  <a:lnTo>
                    <a:pt x="0" y="0"/>
                  </a:lnTo>
                  <a:lnTo>
                    <a:pt x="20" y="0"/>
                  </a:lnTo>
                  <a:lnTo>
                    <a:pt x="41" y="0"/>
                  </a:lnTo>
                  <a:lnTo>
                    <a:pt x="62" y="0"/>
                  </a:lnTo>
                  <a:cubicBezTo>
                    <a:pt x="82" y="21"/>
                    <a:pt x="82" y="21"/>
                    <a:pt x="102" y="21"/>
                  </a:cubicBezTo>
                  <a:lnTo>
                    <a:pt x="123" y="21"/>
                  </a:lnTo>
                  <a:cubicBezTo>
                    <a:pt x="144" y="21"/>
                    <a:pt x="144" y="42"/>
                    <a:pt x="144" y="42"/>
                  </a:cubicBezTo>
                  <a:cubicBezTo>
                    <a:pt x="164" y="42"/>
                    <a:pt x="164" y="42"/>
                    <a:pt x="164" y="42"/>
                  </a:cubicBezTo>
                  <a:cubicBezTo>
                    <a:pt x="184" y="62"/>
                    <a:pt x="184" y="62"/>
                    <a:pt x="184" y="62"/>
                  </a:cubicBezTo>
                  <a:cubicBezTo>
                    <a:pt x="205" y="82"/>
                    <a:pt x="205" y="82"/>
                    <a:pt x="205" y="82"/>
                  </a:cubicBezTo>
                  <a:cubicBezTo>
                    <a:pt x="226" y="82"/>
                    <a:pt x="226" y="62"/>
                    <a:pt x="246" y="62"/>
                  </a:cubicBezTo>
                  <a:cubicBezTo>
                    <a:pt x="246" y="82"/>
                    <a:pt x="266" y="82"/>
                    <a:pt x="266" y="82"/>
                  </a:cubicBezTo>
                  <a:cubicBezTo>
                    <a:pt x="266" y="82"/>
                    <a:pt x="266" y="82"/>
                    <a:pt x="266" y="103"/>
                  </a:cubicBezTo>
                  <a:cubicBezTo>
                    <a:pt x="266" y="103"/>
                    <a:pt x="266" y="103"/>
                    <a:pt x="266" y="12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2" name="Freeform 199">
              <a:extLst>
                <a:ext uri="{FF2B5EF4-FFF2-40B4-BE49-F238E27FC236}">
                  <a16:creationId xmlns:a16="http://schemas.microsoft.com/office/drawing/2014/main" id="{7A8897DE-9AA0-3B4E-B13C-2108D3808D79}"/>
                </a:ext>
              </a:extLst>
            </p:cNvPr>
            <p:cNvSpPr>
              <a:spLocks noChangeArrowheads="1"/>
            </p:cNvSpPr>
            <p:nvPr/>
          </p:nvSpPr>
          <p:spPr bwMode="auto">
            <a:xfrm>
              <a:off x="1636713" y="1336675"/>
              <a:ext cx="30162" cy="15875"/>
            </a:xfrm>
            <a:custGeom>
              <a:avLst/>
              <a:gdLst>
                <a:gd name="T0" fmla="*/ 82 w 83"/>
                <a:gd name="T1" fmla="*/ 21 h 42"/>
                <a:gd name="T2" fmla="*/ 82 w 83"/>
                <a:gd name="T3" fmla="*/ 21 h 42"/>
                <a:gd name="T4" fmla="*/ 40 w 83"/>
                <a:gd name="T5" fmla="*/ 21 h 42"/>
                <a:gd name="T6" fmla="*/ 20 w 83"/>
                <a:gd name="T7" fmla="*/ 41 h 42"/>
                <a:gd name="T8" fmla="*/ 0 w 83"/>
                <a:gd name="T9" fmla="*/ 21 h 42"/>
                <a:gd name="T10" fmla="*/ 0 w 83"/>
                <a:gd name="T11" fmla="*/ 0 h 42"/>
                <a:gd name="T12" fmla="*/ 20 w 83"/>
                <a:gd name="T13" fmla="*/ 0 h 42"/>
                <a:gd name="T14" fmla="*/ 40 w 83"/>
                <a:gd name="T15" fmla="*/ 0 h 42"/>
                <a:gd name="T16" fmla="*/ 82 w 83"/>
                <a:gd name="T17" fmla="*/ 0 h 42"/>
                <a:gd name="T18" fmla="*/ 82 w 83"/>
                <a:gd name="T19"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42">
                  <a:moveTo>
                    <a:pt x="82" y="21"/>
                  </a:moveTo>
                  <a:lnTo>
                    <a:pt x="82" y="21"/>
                  </a:lnTo>
                  <a:cubicBezTo>
                    <a:pt x="61" y="21"/>
                    <a:pt x="40" y="21"/>
                    <a:pt x="40" y="21"/>
                  </a:cubicBezTo>
                  <a:cubicBezTo>
                    <a:pt x="40" y="21"/>
                    <a:pt x="20" y="21"/>
                    <a:pt x="20" y="41"/>
                  </a:cubicBezTo>
                  <a:lnTo>
                    <a:pt x="0" y="21"/>
                  </a:lnTo>
                  <a:cubicBezTo>
                    <a:pt x="0" y="21"/>
                    <a:pt x="0" y="21"/>
                    <a:pt x="0" y="0"/>
                  </a:cubicBezTo>
                  <a:lnTo>
                    <a:pt x="20" y="0"/>
                  </a:lnTo>
                  <a:cubicBezTo>
                    <a:pt x="40" y="0"/>
                    <a:pt x="40" y="0"/>
                    <a:pt x="40" y="0"/>
                  </a:cubicBezTo>
                  <a:cubicBezTo>
                    <a:pt x="61" y="0"/>
                    <a:pt x="61" y="0"/>
                    <a:pt x="82" y="0"/>
                  </a:cubicBezTo>
                  <a:lnTo>
                    <a:pt x="82"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3" name="Freeform 200">
              <a:extLst>
                <a:ext uri="{FF2B5EF4-FFF2-40B4-BE49-F238E27FC236}">
                  <a16:creationId xmlns:a16="http://schemas.microsoft.com/office/drawing/2014/main" id="{FAECBD0E-4019-0F46-BCD8-C71CE4409A88}"/>
                </a:ext>
              </a:extLst>
            </p:cNvPr>
            <p:cNvSpPr>
              <a:spLocks noChangeArrowheads="1"/>
            </p:cNvSpPr>
            <p:nvPr/>
          </p:nvSpPr>
          <p:spPr bwMode="auto">
            <a:xfrm>
              <a:off x="1658938" y="1300163"/>
              <a:ext cx="30162" cy="15875"/>
            </a:xfrm>
            <a:custGeom>
              <a:avLst/>
              <a:gdLst>
                <a:gd name="T0" fmla="*/ 82 w 83"/>
                <a:gd name="T1" fmla="*/ 41 h 42"/>
                <a:gd name="T2" fmla="*/ 82 w 83"/>
                <a:gd name="T3" fmla="*/ 41 h 42"/>
                <a:gd name="T4" fmla="*/ 61 w 83"/>
                <a:gd name="T5" fmla="*/ 21 h 42"/>
                <a:gd name="T6" fmla="*/ 41 w 83"/>
                <a:gd name="T7" fmla="*/ 0 h 42"/>
                <a:gd name="T8" fmla="*/ 21 w 83"/>
                <a:gd name="T9" fmla="*/ 0 h 42"/>
                <a:gd name="T10" fmla="*/ 0 w 83"/>
                <a:gd name="T11" fmla="*/ 0 h 42"/>
                <a:gd name="T12" fmla="*/ 0 w 83"/>
                <a:gd name="T13" fmla="*/ 21 h 42"/>
                <a:gd name="T14" fmla="*/ 21 w 83"/>
                <a:gd name="T15" fmla="*/ 41 h 42"/>
                <a:gd name="T16" fmla="*/ 41 w 83"/>
                <a:gd name="T17" fmla="*/ 41 h 42"/>
                <a:gd name="T18" fmla="*/ 61 w 83"/>
                <a:gd name="T19" fmla="*/ 41 h 42"/>
                <a:gd name="T20" fmla="*/ 82 w 83"/>
                <a:gd name="T21"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42">
                  <a:moveTo>
                    <a:pt x="82" y="41"/>
                  </a:moveTo>
                  <a:lnTo>
                    <a:pt x="82" y="41"/>
                  </a:lnTo>
                  <a:cubicBezTo>
                    <a:pt x="82" y="21"/>
                    <a:pt x="61" y="21"/>
                    <a:pt x="61" y="21"/>
                  </a:cubicBezTo>
                  <a:lnTo>
                    <a:pt x="41" y="0"/>
                  </a:lnTo>
                  <a:lnTo>
                    <a:pt x="21" y="0"/>
                  </a:lnTo>
                  <a:lnTo>
                    <a:pt x="0" y="0"/>
                  </a:lnTo>
                  <a:lnTo>
                    <a:pt x="0" y="21"/>
                  </a:lnTo>
                  <a:cubicBezTo>
                    <a:pt x="0" y="21"/>
                    <a:pt x="0" y="21"/>
                    <a:pt x="21" y="41"/>
                  </a:cubicBezTo>
                  <a:cubicBezTo>
                    <a:pt x="21" y="41"/>
                    <a:pt x="21" y="41"/>
                    <a:pt x="41" y="41"/>
                  </a:cubicBezTo>
                  <a:cubicBezTo>
                    <a:pt x="41" y="41"/>
                    <a:pt x="41" y="41"/>
                    <a:pt x="61" y="41"/>
                  </a:cubicBezTo>
                  <a:cubicBezTo>
                    <a:pt x="61" y="41"/>
                    <a:pt x="61" y="41"/>
                    <a:pt x="82"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4" name="Freeform 201">
              <a:extLst>
                <a:ext uri="{FF2B5EF4-FFF2-40B4-BE49-F238E27FC236}">
                  <a16:creationId xmlns:a16="http://schemas.microsoft.com/office/drawing/2014/main" id="{C6942B58-25DC-4D4D-97EB-D9E5C7FE019C}"/>
                </a:ext>
              </a:extLst>
            </p:cNvPr>
            <p:cNvSpPr>
              <a:spLocks noChangeArrowheads="1"/>
            </p:cNvSpPr>
            <p:nvPr/>
          </p:nvSpPr>
          <p:spPr bwMode="auto">
            <a:xfrm>
              <a:off x="1620838" y="1271588"/>
              <a:ext cx="52387" cy="22225"/>
            </a:xfrm>
            <a:custGeom>
              <a:avLst/>
              <a:gdLst>
                <a:gd name="T0" fmla="*/ 144 w 145"/>
                <a:gd name="T1" fmla="*/ 41 h 62"/>
                <a:gd name="T2" fmla="*/ 144 w 145"/>
                <a:gd name="T3" fmla="*/ 41 h 62"/>
                <a:gd name="T4" fmla="*/ 124 w 145"/>
                <a:gd name="T5" fmla="*/ 41 h 62"/>
                <a:gd name="T6" fmla="*/ 103 w 145"/>
                <a:gd name="T7" fmla="*/ 61 h 62"/>
                <a:gd name="T8" fmla="*/ 82 w 145"/>
                <a:gd name="T9" fmla="*/ 61 h 62"/>
                <a:gd name="T10" fmla="*/ 42 w 145"/>
                <a:gd name="T11" fmla="*/ 61 h 62"/>
                <a:gd name="T12" fmla="*/ 21 w 145"/>
                <a:gd name="T13" fmla="*/ 61 h 62"/>
                <a:gd name="T14" fmla="*/ 0 w 145"/>
                <a:gd name="T15" fmla="*/ 61 h 62"/>
                <a:gd name="T16" fmla="*/ 0 w 145"/>
                <a:gd name="T17" fmla="*/ 41 h 62"/>
                <a:gd name="T18" fmla="*/ 0 w 145"/>
                <a:gd name="T19" fmla="*/ 21 h 62"/>
                <a:gd name="T20" fmla="*/ 21 w 145"/>
                <a:gd name="T21" fmla="*/ 41 h 62"/>
                <a:gd name="T22" fmla="*/ 62 w 145"/>
                <a:gd name="T23" fmla="*/ 21 h 62"/>
                <a:gd name="T24" fmla="*/ 62 w 145"/>
                <a:gd name="T25" fmla="*/ 0 h 62"/>
                <a:gd name="T26" fmla="*/ 82 w 145"/>
                <a:gd name="T27" fmla="*/ 0 h 62"/>
                <a:gd name="T28" fmla="*/ 103 w 145"/>
                <a:gd name="T29" fmla="*/ 0 h 62"/>
                <a:gd name="T30" fmla="*/ 124 w 145"/>
                <a:gd name="T31" fmla="*/ 21 h 62"/>
                <a:gd name="T32" fmla="*/ 124 w 145"/>
                <a:gd name="T33" fmla="*/ 21 h 62"/>
                <a:gd name="T34" fmla="*/ 144 w 145"/>
                <a:gd name="T35"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5" h="62">
                  <a:moveTo>
                    <a:pt x="144" y="41"/>
                  </a:moveTo>
                  <a:lnTo>
                    <a:pt x="144" y="41"/>
                  </a:lnTo>
                  <a:lnTo>
                    <a:pt x="124" y="41"/>
                  </a:lnTo>
                  <a:lnTo>
                    <a:pt x="103" y="61"/>
                  </a:lnTo>
                  <a:lnTo>
                    <a:pt x="82" y="61"/>
                  </a:lnTo>
                  <a:cubicBezTo>
                    <a:pt x="82" y="61"/>
                    <a:pt x="62" y="61"/>
                    <a:pt x="42" y="61"/>
                  </a:cubicBezTo>
                  <a:cubicBezTo>
                    <a:pt x="42" y="61"/>
                    <a:pt x="42" y="61"/>
                    <a:pt x="21" y="61"/>
                  </a:cubicBezTo>
                  <a:cubicBezTo>
                    <a:pt x="21" y="61"/>
                    <a:pt x="21" y="61"/>
                    <a:pt x="0" y="61"/>
                  </a:cubicBezTo>
                  <a:lnTo>
                    <a:pt x="0" y="41"/>
                  </a:lnTo>
                  <a:cubicBezTo>
                    <a:pt x="0" y="41"/>
                    <a:pt x="0" y="41"/>
                    <a:pt x="0" y="21"/>
                  </a:cubicBezTo>
                  <a:cubicBezTo>
                    <a:pt x="21" y="21"/>
                    <a:pt x="21" y="41"/>
                    <a:pt x="21" y="41"/>
                  </a:cubicBezTo>
                  <a:cubicBezTo>
                    <a:pt x="42" y="41"/>
                    <a:pt x="42" y="21"/>
                    <a:pt x="62" y="21"/>
                  </a:cubicBezTo>
                  <a:cubicBezTo>
                    <a:pt x="62" y="21"/>
                    <a:pt x="62" y="21"/>
                    <a:pt x="62" y="0"/>
                  </a:cubicBezTo>
                  <a:lnTo>
                    <a:pt x="82" y="0"/>
                  </a:lnTo>
                  <a:lnTo>
                    <a:pt x="103" y="0"/>
                  </a:lnTo>
                  <a:cubicBezTo>
                    <a:pt x="103" y="0"/>
                    <a:pt x="103" y="0"/>
                    <a:pt x="124" y="21"/>
                  </a:cubicBezTo>
                  <a:lnTo>
                    <a:pt x="124" y="21"/>
                  </a:lnTo>
                  <a:cubicBezTo>
                    <a:pt x="144" y="21"/>
                    <a:pt x="144" y="41"/>
                    <a:pt x="144"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5" name="Freeform 202">
              <a:extLst>
                <a:ext uri="{FF2B5EF4-FFF2-40B4-BE49-F238E27FC236}">
                  <a16:creationId xmlns:a16="http://schemas.microsoft.com/office/drawing/2014/main" id="{6905B1F1-CB9E-4B48-B682-E393840ADEDE}"/>
                </a:ext>
              </a:extLst>
            </p:cNvPr>
            <p:cNvSpPr>
              <a:spLocks noChangeArrowheads="1"/>
            </p:cNvSpPr>
            <p:nvPr/>
          </p:nvSpPr>
          <p:spPr bwMode="auto">
            <a:xfrm>
              <a:off x="1658938" y="1249363"/>
              <a:ext cx="44450" cy="30162"/>
            </a:xfrm>
            <a:custGeom>
              <a:avLst/>
              <a:gdLst>
                <a:gd name="T0" fmla="*/ 82 w 124"/>
                <a:gd name="T1" fmla="*/ 82 h 83"/>
                <a:gd name="T2" fmla="*/ 82 w 124"/>
                <a:gd name="T3" fmla="*/ 82 h 83"/>
                <a:gd name="T4" fmla="*/ 82 w 124"/>
                <a:gd name="T5" fmla="*/ 61 h 83"/>
                <a:gd name="T6" fmla="*/ 41 w 124"/>
                <a:gd name="T7" fmla="*/ 61 h 83"/>
                <a:gd name="T8" fmla="*/ 21 w 124"/>
                <a:gd name="T9" fmla="*/ 61 h 83"/>
                <a:gd name="T10" fmla="*/ 0 w 124"/>
                <a:gd name="T11" fmla="*/ 40 h 83"/>
                <a:gd name="T12" fmla="*/ 0 w 124"/>
                <a:gd name="T13" fmla="*/ 20 h 83"/>
                <a:gd name="T14" fmla="*/ 21 w 124"/>
                <a:gd name="T15" fmla="*/ 20 h 83"/>
                <a:gd name="T16" fmla="*/ 41 w 124"/>
                <a:gd name="T17" fmla="*/ 0 h 83"/>
                <a:gd name="T18" fmla="*/ 61 w 124"/>
                <a:gd name="T19" fmla="*/ 20 h 83"/>
                <a:gd name="T20" fmla="*/ 82 w 124"/>
                <a:gd name="T21" fmla="*/ 40 h 83"/>
                <a:gd name="T22" fmla="*/ 82 w 124"/>
                <a:gd name="T23" fmla="*/ 40 h 83"/>
                <a:gd name="T24" fmla="*/ 103 w 124"/>
                <a:gd name="T25" fmla="*/ 61 h 83"/>
                <a:gd name="T26" fmla="*/ 123 w 124"/>
                <a:gd name="T27" fmla="*/ 61 h 83"/>
                <a:gd name="T28" fmla="*/ 103 w 124"/>
                <a:gd name="T29" fmla="*/ 82 h 83"/>
                <a:gd name="T30" fmla="*/ 82 w 124"/>
                <a:gd name="T31"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4" h="83">
                  <a:moveTo>
                    <a:pt x="82" y="82"/>
                  </a:moveTo>
                  <a:lnTo>
                    <a:pt x="82" y="82"/>
                  </a:lnTo>
                  <a:lnTo>
                    <a:pt x="82" y="61"/>
                  </a:lnTo>
                  <a:cubicBezTo>
                    <a:pt x="61" y="61"/>
                    <a:pt x="61" y="61"/>
                    <a:pt x="41" y="61"/>
                  </a:cubicBezTo>
                  <a:lnTo>
                    <a:pt x="21" y="61"/>
                  </a:lnTo>
                  <a:cubicBezTo>
                    <a:pt x="21" y="40"/>
                    <a:pt x="0" y="40"/>
                    <a:pt x="0" y="40"/>
                  </a:cubicBezTo>
                  <a:lnTo>
                    <a:pt x="0" y="20"/>
                  </a:lnTo>
                  <a:lnTo>
                    <a:pt x="21" y="20"/>
                  </a:lnTo>
                  <a:lnTo>
                    <a:pt x="41" y="0"/>
                  </a:lnTo>
                  <a:lnTo>
                    <a:pt x="61" y="20"/>
                  </a:lnTo>
                  <a:cubicBezTo>
                    <a:pt x="61" y="20"/>
                    <a:pt x="61" y="20"/>
                    <a:pt x="82" y="40"/>
                  </a:cubicBezTo>
                  <a:lnTo>
                    <a:pt x="82" y="40"/>
                  </a:lnTo>
                  <a:cubicBezTo>
                    <a:pt x="103" y="40"/>
                    <a:pt x="103" y="40"/>
                    <a:pt x="103" y="61"/>
                  </a:cubicBezTo>
                  <a:lnTo>
                    <a:pt x="123" y="61"/>
                  </a:lnTo>
                  <a:cubicBezTo>
                    <a:pt x="123" y="61"/>
                    <a:pt x="123" y="82"/>
                    <a:pt x="103" y="82"/>
                  </a:cubicBezTo>
                  <a:cubicBezTo>
                    <a:pt x="103" y="82"/>
                    <a:pt x="103" y="82"/>
                    <a:pt x="82"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6" name="Freeform 203">
              <a:extLst>
                <a:ext uri="{FF2B5EF4-FFF2-40B4-BE49-F238E27FC236}">
                  <a16:creationId xmlns:a16="http://schemas.microsoft.com/office/drawing/2014/main" id="{12C3E655-9863-4745-8711-0A8E73C8AA67}"/>
                </a:ext>
              </a:extLst>
            </p:cNvPr>
            <p:cNvSpPr>
              <a:spLocks noChangeArrowheads="1"/>
            </p:cNvSpPr>
            <p:nvPr/>
          </p:nvSpPr>
          <p:spPr bwMode="auto">
            <a:xfrm>
              <a:off x="1673225" y="1285875"/>
              <a:ext cx="22225" cy="15875"/>
            </a:xfrm>
            <a:custGeom>
              <a:avLst/>
              <a:gdLst>
                <a:gd name="T0" fmla="*/ 62 w 63"/>
                <a:gd name="T1" fmla="*/ 0 h 42"/>
                <a:gd name="T2" fmla="*/ 62 w 63"/>
                <a:gd name="T3" fmla="*/ 0 h 42"/>
                <a:gd name="T4" fmla="*/ 41 w 63"/>
                <a:gd name="T5" fmla="*/ 0 h 42"/>
                <a:gd name="T6" fmla="*/ 20 w 63"/>
                <a:gd name="T7" fmla="*/ 0 h 42"/>
                <a:gd name="T8" fmla="*/ 0 w 63"/>
                <a:gd name="T9" fmla="*/ 20 h 42"/>
                <a:gd name="T10" fmla="*/ 20 w 63"/>
                <a:gd name="T11" fmla="*/ 41 h 42"/>
                <a:gd name="T12" fmla="*/ 41 w 63"/>
                <a:gd name="T13" fmla="*/ 41 h 42"/>
                <a:gd name="T14" fmla="*/ 62 w 63"/>
                <a:gd name="T15" fmla="*/ 20 h 42"/>
                <a:gd name="T16" fmla="*/ 62 w 63"/>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2">
                  <a:moveTo>
                    <a:pt x="62" y="0"/>
                  </a:moveTo>
                  <a:lnTo>
                    <a:pt x="62" y="0"/>
                  </a:lnTo>
                  <a:lnTo>
                    <a:pt x="41" y="0"/>
                  </a:lnTo>
                  <a:lnTo>
                    <a:pt x="20" y="0"/>
                  </a:lnTo>
                  <a:cubicBezTo>
                    <a:pt x="20" y="0"/>
                    <a:pt x="0" y="0"/>
                    <a:pt x="0" y="20"/>
                  </a:cubicBezTo>
                  <a:cubicBezTo>
                    <a:pt x="0" y="20"/>
                    <a:pt x="20" y="20"/>
                    <a:pt x="20" y="41"/>
                  </a:cubicBezTo>
                  <a:lnTo>
                    <a:pt x="41" y="41"/>
                  </a:lnTo>
                  <a:cubicBezTo>
                    <a:pt x="62" y="20"/>
                    <a:pt x="62" y="20"/>
                    <a:pt x="62" y="20"/>
                  </a:cubicBezTo>
                  <a:lnTo>
                    <a:pt x="62"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7" name="Freeform 204">
              <a:extLst>
                <a:ext uri="{FF2B5EF4-FFF2-40B4-BE49-F238E27FC236}">
                  <a16:creationId xmlns:a16="http://schemas.microsoft.com/office/drawing/2014/main" id="{3806EF90-612E-7447-9C16-0ABF6A241FAC}"/>
                </a:ext>
              </a:extLst>
            </p:cNvPr>
            <p:cNvSpPr>
              <a:spLocks noChangeArrowheads="1"/>
            </p:cNvSpPr>
            <p:nvPr/>
          </p:nvSpPr>
          <p:spPr bwMode="auto">
            <a:xfrm>
              <a:off x="1695450" y="1300163"/>
              <a:ext cx="14288" cy="7937"/>
            </a:xfrm>
            <a:custGeom>
              <a:avLst/>
              <a:gdLst>
                <a:gd name="T0" fmla="*/ 40 w 41"/>
                <a:gd name="T1" fmla="*/ 0 h 22"/>
                <a:gd name="T2" fmla="*/ 40 w 41"/>
                <a:gd name="T3" fmla="*/ 0 h 22"/>
                <a:gd name="T4" fmla="*/ 20 w 41"/>
                <a:gd name="T5" fmla="*/ 0 h 22"/>
                <a:gd name="T6" fmla="*/ 20 w 41"/>
                <a:gd name="T7" fmla="*/ 21 h 22"/>
                <a:gd name="T8" fmla="*/ 20 w 41"/>
                <a:gd name="T9" fmla="*/ 21 h 22"/>
                <a:gd name="T10" fmla="*/ 40 w 41"/>
                <a:gd name="T11" fmla="*/ 0 h 22"/>
              </a:gdLst>
              <a:ahLst/>
              <a:cxnLst>
                <a:cxn ang="0">
                  <a:pos x="T0" y="T1"/>
                </a:cxn>
                <a:cxn ang="0">
                  <a:pos x="T2" y="T3"/>
                </a:cxn>
                <a:cxn ang="0">
                  <a:pos x="T4" y="T5"/>
                </a:cxn>
                <a:cxn ang="0">
                  <a:pos x="T6" y="T7"/>
                </a:cxn>
                <a:cxn ang="0">
                  <a:pos x="T8" y="T9"/>
                </a:cxn>
                <a:cxn ang="0">
                  <a:pos x="T10" y="T11"/>
                </a:cxn>
              </a:cxnLst>
              <a:rect l="0" t="0" r="r" b="b"/>
              <a:pathLst>
                <a:path w="41" h="22">
                  <a:moveTo>
                    <a:pt x="40" y="0"/>
                  </a:moveTo>
                  <a:lnTo>
                    <a:pt x="40" y="0"/>
                  </a:lnTo>
                  <a:lnTo>
                    <a:pt x="20" y="0"/>
                  </a:lnTo>
                  <a:cubicBezTo>
                    <a:pt x="20" y="0"/>
                    <a:pt x="0" y="0"/>
                    <a:pt x="20" y="21"/>
                  </a:cubicBezTo>
                  <a:lnTo>
                    <a:pt x="20" y="21"/>
                  </a:lnTo>
                  <a:cubicBezTo>
                    <a:pt x="40" y="21"/>
                    <a:pt x="40" y="0"/>
                    <a:pt x="4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8" name="Freeform 205">
              <a:extLst>
                <a:ext uri="{FF2B5EF4-FFF2-40B4-BE49-F238E27FC236}">
                  <a16:creationId xmlns:a16="http://schemas.microsoft.com/office/drawing/2014/main" id="{59A32AD0-7E89-5043-A45B-BFAB59DEC0E2}"/>
                </a:ext>
              </a:extLst>
            </p:cNvPr>
            <p:cNvSpPr>
              <a:spLocks noChangeArrowheads="1"/>
            </p:cNvSpPr>
            <p:nvPr/>
          </p:nvSpPr>
          <p:spPr bwMode="auto">
            <a:xfrm>
              <a:off x="1703388" y="1316038"/>
              <a:ext cx="15875" cy="7937"/>
            </a:xfrm>
            <a:custGeom>
              <a:avLst/>
              <a:gdLst>
                <a:gd name="T0" fmla="*/ 41 w 42"/>
                <a:gd name="T1" fmla="*/ 0 h 21"/>
                <a:gd name="T2" fmla="*/ 41 w 42"/>
                <a:gd name="T3" fmla="*/ 0 h 21"/>
                <a:gd name="T4" fmla="*/ 20 w 42"/>
                <a:gd name="T5" fmla="*/ 0 h 21"/>
                <a:gd name="T6" fmla="*/ 0 w 42"/>
                <a:gd name="T7" fmla="*/ 20 h 21"/>
                <a:gd name="T8" fmla="*/ 20 w 42"/>
                <a:gd name="T9" fmla="*/ 20 h 21"/>
                <a:gd name="T10" fmla="*/ 41 w 42"/>
                <a:gd name="T11" fmla="*/ 20 h 21"/>
                <a:gd name="T12" fmla="*/ 41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41" y="0"/>
                  </a:moveTo>
                  <a:lnTo>
                    <a:pt x="41" y="0"/>
                  </a:lnTo>
                  <a:lnTo>
                    <a:pt x="20" y="0"/>
                  </a:lnTo>
                  <a:lnTo>
                    <a:pt x="0" y="20"/>
                  </a:lnTo>
                  <a:lnTo>
                    <a:pt x="20" y="20"/>
                  </a:lnTo>
                  <a:lnTo>
                    <a:pt x="41" y="20"/>
                  </a:lnTo>
                  <a:lnTo>
                    <a:pt x="4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09" name="Freeform 206">
              <a:extLst>
                <a:ext uri="{FF2B5EF4-FFF2-40B4-BE49-F238E27FC236}">
                  <a16:creationId xmlns:a16="http://schemas.microsoft.com/office/drawing/2014/main" id="{D6269EAD-E0FC-264D-9354-08691D8D25CA}"/>
                </a:ext>
              </a:extLst>
            </p:cNvPr>
            <p:cNvSpPr>
              <a:spLocks noChangeArrowheads="1"/>
            </p:cNvSpPr>
            <p:nvPr/>
          </p:nvSpPr>
          <p:spPr bwMode="auto">
            <a:xfrm>
              <a:off x="1717675" y="1330325"/>
              <a:ext cx="7938" cy="15875"/>
            </a:xfrm>
            <a:custGeom>
              <a:avLst/>
              <a:gdLst>
                <a:gd name="T0" fmla="*/ 21 w 22"/>
                <a:gd name="T1" fmla="*/ 0 h 42"/>
                <a:gd name="T2" fmla="*/ 21 w 22"/>
                <a:gd name="T3" fmla="*/ 0 h 42"/>
                <a:gd name="T4" fmla="*/ 0 w 22"/>
                <a:gd name="T5" fmla="*/ 20 h 42"/>
                <a:gd name="T6" fmla="*/ 0 w 22"/>
                <a:gd name="T7" fmla="*/ 41 h 42"/>
                <a:gd name="T8" fmla="*/ 0 w 22"/>
                <a:gd name="T9" fmla="*/ 41 h 42"/>
                <a:gd name="T10" fmla="*/ 21 w 22"/>
                <a:gd name="T11" fmla="*/ 20 h 42"/>
                <a:gd name="T12" fmla="*/ 21 w 2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21" y="0"/>
                  </a:moveTo>
                  <a:lnTo>
                    <a:pt x="21" y="0"/>
                  </a:lnTo>
                  <a:cubicBezTo>
                    <a:pt x="21" y="0"/>
                    <a:pt x="0" y="0"/>
                    <a:pt x="0" y="20"/>
                  </a:cubicBezTo>
                  <a:cubicBezTo>
                    <a:pt x="0" y="20"/>
                    <a:pt x="0" y="20"/>
                    <a:pt x="0" y="41"/>
                  </a:cubicBezTo>
                  <a:lnTo>
                    <a:pt x="0" y="41"/>
                  </a:lnTo>
                  <a:cubicBezTo>
                    <a:pt x="21" y="41"/>
                    <a:pt x="21" y="20"/>
                    <a:pt x="21" y="2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0" name="Freeform 207">
              <a:extLst>
                <a:ext uri="{FF2B5EF4-FFF2-40B4-BE49-F238E27FC236}">
                  <a16:creationId xmlns:a16="http://schemas.microsoft.com/office/drawing/2014/main" id="{CC7FDD6B-9167-F843-B5E6-7ED760C85800}"/>
                </a:ext>
              </a:extLst>
            </p:cNvPr>
            <p:cNvSpPr>
              <a:spLocks noChangeArrowheads="1"/>
            </p:cNvSpPr>
            <p:nvPr/>
          </p:nvSpPr>
          <p:spPr bwMode="auto">
            <a:xfrm>
              <a:off x="1703388" y="1285875"/>
              <a:ext cx="22225" cy="7938"/>
            </a:xfrm>
            <a:custGeom>
              <a:avLst/>
              <a:gdLst>
                <a:gd name="T0" fmla="*/ 62 w 63"/>
                <a:gd name="T1" fmla="*/ 20 h 21"/>
                <a:gd name="T2" fmla="*/ 62 w 63"/>
                <a:gd name="T3" fmla="*/ 20 h 21"/>
                <a:gd name="T4" fmla="*/ 41 w 63"/>
                <a:gd name="T5" fmla="*/ 0 h 21"/>
                <a:gd name="T6" fmla="*/ 20 w 63"/>
                <a:gd name="T7" fmla="*/ 0 h 21"/>
                <a:gd name="T8" fmla="*/ 0 w 63"/>
                <a:gd name="T9" fmla="*/ 0 h 21"/>
                <a:gd name="T10" fmla="*/ 20 w 63"/>
                <a:gd name="T11" fmla="*/ 20 h 21"/>
                <a:gd name="T12" fmla="*/ 41 w 63"/>
                <a:gd name="T13" fmla="*/ 20 h 21"/>
                <a:gd name="T14" fmla="*/ 41 w 63"/>
                <a:gd name="T15" fmla="*/ 20 h 21"/>
                <a:gd name="T16" fmla="*/ 62 w 63"/>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21">
                  <a:moveTo>
                    <a:pt x="62" y="20"/>
                  </a:moveTo>
                  <a:lnTo>
                    <a:pt x="62" y="20"/>
                  </a:lnTo>
                  <a:lnTo>
                    <a:pt x="41" y="0"/>
                  </a:lnTo>
                  <a:lnTo>
                    <a:pt x="20" y="0"/>
                  </a:lnTo>
                  <a:lnTo>
                    <a:pt x="0" y="0"/>
                  </a:lnTo>
                  <a:lnTo>
                    <a:pt x="20" y="20"/>
                  </a:lnTo>
                  <a:lnTo>
                    <a:pt x="41" y="20"/>
                  </a:lnTo>
                  <a:lnTo>
                    <a:pt x="41" y="20"/>
                  </a:lnTo>
                  <a:cubicBezTo>
                    <a:pt x="62" y="20"/>
                    <a:pt x="62" y="20"/>
                    <a:pt x="62"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1" name="Freeform 208">
              <a:extLst>
                <a:ext uri="{FF2B5EF4-FFF2-40B4-BE49-F238E27FC236}">
                  <a16:creationId xmlns:a16="http://schemas.microsoft.com/office/drawing/2014/main" id="{B240B65A-09F0-AA45-B627-84F30C8DD849}"/>
                </a:ext>
              </a:extLst>
            </p:cNvPr>
            <p:cNvSpPr>
              <a:spLocks noChangeArrowheads="1"/>
            </p:cNvSpPr>
            <p:nvPr/>
          </p:nvSpPr>
          <p:spPr bwMode="auto">
            <a:xfrm>
              <a:off x="1687513" y="1227138"/>
              <a:ext cx="30162" cy="15875"/>
            </a:xfrm>
            <a:custGeom>
              <a:avLst/>
              <a:gdLst>
                <a:gd name="T0" fmla="*/ 61 w 83"/>
                <a:gd name="T1" fmla="*/ 41 h 42"/>
                <a:gd name="T2" fmla="*/ 61 w 83"/>
                <a:gd name="T3" fmla="*/ 41 h 42"/>
                <a:gd name="T4" fmla="*/ 82 w 83"/>
                <a:gd name="T5" fmla="*/ 41 h 42"/>
                <a:gd name="T6" fmla="*/ 82 w 83"/>
                <a:gd name="T7" fmla="*/ 0 h 42"/>
                <a:gd name="T8" fmla="*/ 61 w 83"/>
                <a:gd name="T9" fmla="*/ 0 h 42"/>
                <a:gd name="T10" fmla="*/ 41 w 83"/>
                <a:gd name="T11" fmla="*/ 0 h 42"/>
                <a:gd name="T12" fmla="*/ 21 w 83"/>
                <a:gd name="T13" fmla="*/ 20 h 42"/>
                <a:gd name="T14" fmla="*/ 0 w 83"/>
                <a:gd name="T15" fmla="*/ 20 h 42"/>
                <a:gd name="T16" fmla="*/ 21 w 83"/>
                <a:gd name="T17" fmla="*/ 41 h 42"/>
                <a:gd name="T18" fmla="*/ 61 w 83"/>
                <a:gd name="T19"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42">
                  <a:moveTo>
                    <a:pt x="61" y="41"/>
                  </a:moveTo>
                  <a:lnTo>
                    <a:pt x="61" y="41"/>
                  </a:lnTo>
                  <a:lnTo>
                    <a:pt x="82" y="41"/>
                  </a:lnTo>
                  <a:cubicBezTo>
                    <a:pt x="82" y="20"/>
                    <a:pt x="82" y="20"/>
                    <a:pt x="82" y="0"/>
                  </a:cubicBezTo>
                  <a:lnTo>
                    <a:pt x="61" y="0"/>
                  </a:lnTo>
                  <a:cubicBezTo>
                    <a:pt x="61" y="0"/>
                    <a:pt x="61" y="0"/>
                    <a:pt x="41" y="0"/>
                  </a:cubicBezTo>
                  <a:cubicBezTo>
                    <a:pt x="41" y="20"/>
                    <a:pt x="21" y="0"/>
                    <a:pt x="21" y="20"/>
                  </a:cubicBezTo>
                  <a:lnTo>
                    <a:pt x="0" y="20"/>
                  </a:lnTo>
                  <a:cubicBezTo>
                    <a:pt x="0" y="41"/>
                    <a:pt x="21" y="41"/>
                    <a:pt x="21" y="41"/>
                  </a:cubicBezTo>
                  <a:cubicBezTo>
                    <a:pt x="21" y="41"/>
                    <a:pt x="41" y="41"/>
                    <a:pt x="6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2" name="Freeform 209">
              <a:extLst>
                <a:ext uri="{FF2B5EF4-FFF2-40B4-BE49-F238E27FC236}">
                  <a16:creationId xmlns:a16="http://schemas.microsoft.com/office/drawing/2014/main" id="{9361DE1C-1330-CC45-8291-77B0EC73DE7B}"/>
                </a:ext>
              </a:extLst>
            </p:cNvPr>
            <p:cNvSpPr>
              <a:spLocks noChangeArrowheads="1"/>
            </p:cNvSpPr>
            <p:nvPr/>
          </p:nvSpPr>
          <p:spPr bwMode="auto">
            <a:xfrm>
              <a:off x="1806575" y="1227138"/>
              <a:ext cx="44450" cy="22225"/>
            </a:xfrm>
            <a:custGeom>
              <a:avLst/>
              <a:gdLst>
                <a:gd name="T0" fmla="*/ 61 w 124"/>
                <a:gd name="T1" fmla="*/ 62 h 63"/>
                <a:gd name="T2" fmla="*/ 61 w 124"/>
                <a:gd name="T3" fmla="*/ 62 h 63"/>
                <a:gd name="T4" fmla="*/ 41 w 124"/>
                <a:gd name="T5" fmla="*/ 41 h 63"/>
                <a:gd name="T6" fmla="*/ 21 w 124"/>
                <a:gd name="T7" fmla="*/ 41 h 63"/>
                <a:gd name="T8" fmla="*/ 0 w 124"/>
                <a:gd name="T9" fmla="*/ 41 h 63"/>
                <a:gd name="T10" fmla="*/ 0 w 124"/>
                <a:gd name="T11" fmla="*/ 0 h 63"/>
                <a:gd name="T12" fmla="*/ 41 w 124"/>
                <a:gd name="T13" fmla="*/ 0 h 63"/>
                <a:gd name="T14" fmla="*/ 61 w 124"/>
                <a:gd name="T15" fmla="*/ 0 h 63"/>
                <a:gd name="T16" fmla="*/ 103 w 124"/>
                <a:gd name="T17" fmla="*/ 0 h 63"/>
                <a:gd name="T18" fmla="*/ 103 w 124"/>
                <a:gd name="T19" fmla="*/ 0 h 63"/>
                <a:gd name="T20" fmla="*/ 123 w 124"/>
                <a:gd name="T21" fmla="*/ 20 h 63"/>
                <a:gd name="T22" fmla="*/ 103 w 124"/>
                <a:gd name="T23" fmla="*/ 62 h 63"/>
                <a:gd name="T24" fmla="*/ 82 w 124"/>
                <a:gd name="T25" fmla="*/ 62 h 63"/>
                <a:gd name="T26" fmla="*/ 61 w 124"/>
                <a:gd name="T2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4" h="63">
                  <a:moveTo>
                    <a:pt x="61" y="62"/>
                  </a:moveTo>
                  <a:lnTo>
                    <a:pt x="61" y="62"/>
                  </a:lnTo>
                  <a:cubicBezTo>
                    <a:pt x="41" y="62"/>
                    <a:pt x="41" y="41"/>
                    <a:pt x="41" y="41"/>
                  </a:cubicBezTo>
                  <a:lnTo>
                    <a:pt x="21" y="41"/>
                  </a:lnTo>
                  <a:lnTo>
                    <a:pt x="0" y="41"/>
                  </a:lnTo>
                  <a:cubicBezTo>
                    <a:pt x="0" y="20"/>
                    <a:pt x="0" y="0"/>
                    <a:pt x="0" y="0"/>
                  </a:cubicBezTo>
                  <a:cubicBezTo>
                    <a:pt x="21" y="0"/>
                    <a:pt x="21" y="0"/>
                    <a:pt x="41" y="0"/>
                  </a:cubicBezTo>
                  <a:lnTo>
                    <a:pt x="61" y="0"/>
                  </a:lnTo>
                  <a:cubicBezTo>
                    <a:pt x="61" y="0"/>
                    <a:pt x="82" y="0"/>
                    <a:pt x="103" y="0"/>
                  </a:cubicBezTo>
                  <a:lnTo>
                    <a:pt x="103" y="0"/>
                  </a:lnTo>
                  <a:cubicBezTo>
                    <a:pt x="123" y="0"/>
                    <a:pt x="123" y="20"/>
                    <a:pt x="123" y="20"/>
                  </a:cubicBezTo>
                  <a:cubicBezTo>
                    <a:pt x="123" y="41"/>
                    <a:pt x="123" y="41"/>
                    <a:pt x="103" y="62"/>
                  </a:cubicBezTo>
                  <a:lnTo>
                    <a:pt x="82" y="62"/>
                  </a:lnTo>
                  <a:lnTo>
                    <a:pt x="61"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3" name="Freeform 210">
              <a:extLst>
                <a:ext uri="{FF2B5EF4-FFF2-40B4-BE49-F238E27FC236}">
                  <a16:creationId xmlns:a16="http://schemas.microsoft.com/office/drawing/2014/main" id="{522D154C-3CBC-A546-BA95-E4BC58348821}"/>
                </a:ext>
              </a:extLst>
            </p:cNvPr>
            <p:cNvSpPr>
              <a:spLocks noChangeArrowheads="1"/>
            </p:cNvSpPr>
            <p:nvPr/>
          </p:nvSpPr>
          <p:spPr bwMode="auto">
            <a:xfrm>
              <a:off x="1681163" y="1344613"/>
              <a:ext cx="44450" cy="52387"/>
            </a:xfrm>
            <a:custGeom>
              <a:avLst/>
              <a:gdLst>
                <a:gd name="T0" fmla="*/ 103 w 125"/>
                <a:gd name="T1" fmla="*/ 82 h 144"/>
                <a:gd name="T2" fmla="*/ 103 w 125"/>
                <a:gd name="T3" fmla="*/ 82 h 144"/>
                <a:gd name="T4" fmla="*/ 124 w 125"/>
                <a:gd name="T5" fmla="*/ 82 h 144"/>
                <a:gd name="T6" fmla="*/ 124 w 125"/>
                <a:gd name="T7" fmla="*/ 61 h 144"/>
                <a:gd name="T8" fmla="*/ 103 w 125"/>
                <a:gd name="T9" fmla="*/ 41 h 144"/>
                <a:gd name="T10" fmla="*/ 82 w 125"/>
                <a:gd name="T11" fmla="*/ 41 h 144"/>
                <a:gd name="T12" fmla="*/ 82 w 125"/>
                <a:gd name="T13" fmla="*/ 20 h 144"/>
                <a:gd name="T14" fmla="*/ 62 w 125"/>
                <a:gd name="T15" fmla="*/ 0 h 144"/>
                <a:gd name="T16" fmla="*/ 42 w 125"/>
                <a:gd name="T17" fmla="*/ 0 h 144"/>
                <a:gd name="T18" fmla="*/ 42 w 125"/>
                <a:gd name="T19" fmla="*/ 20 h 144"/>
                <a:gd name="T20" fmla="*/ 21 w 125"/>
                <a:gd name="T21" fmla="*/ 41 h 144"/>
                <a:gd name="T22" fmla="*/ 0 w 125"/>
                <a:gd name="T23" fmla="*/ 61 h 144"/>
                <a:gd name="T24" fmla="*/ 42 w 125"/>
                <a:gd name="T25" fmla="*/ 82 h 144"/>
                <a:gd name="T26" fmla="*/ 42 w 125"/>
                <a:gd name="T27" fmla="*/ 102 h 144"/>
                <a:gd name="T28" fmla="*/ 42 w 125"/>
                <a:gd name="T29" fmla="*/ 123 h 144"/>
                <a:gd name="T30" fmla="*/ 62 w 125"/>
                <a:gd name="T31" fmla="*/ 143 h 144"/>
                <a:gd name="T32" fmla="*/ 103 w 125"/>
                <a:gd name="T33" fmla="*/ 123 h 144"/>
                <a:gd name="T34" fmla="*/ 103 w 125"/>
                <a:gd name="T35" fmla="*/ 8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5" h="144">
                  <a:moveTo>
                    <a:pt x="103" y="82"/>
                  </a:moveTo>
                  <a:lnTo>
                    <a:pt x="103" y="82"/>
                  </a:lnTo>
                  <a:lnTo>
                    <a:pt x="124" y="82"/>
                  </a:lnTo>
                  <a:lnTo>
                    <a:pt x="124" y="61"/>
                  </a:lnTo>
                  <a:cubicBezTo>
                    <a:pt x="124" y="41"/>
                    <a:pt x="103" y="41"/>
                    <a:pt x="103" y="41"/>
                  </a:cubicBezTo>
                  <a:lnTo>
                    <a:pt x="82" y="41"/>
                  </a:lnTo>
                  <a:cubicBezTo>
                    <a:pt x="82" y="20"/>
                    <a:pt x="82" y="20"/>
                    <a:pt x="82" y="20"/>
                  </a:cubicBezTo>
                  <a:cubicBezTo>
                    <a:pt x="62" y="0"/>
                    <a:pt x="62" y="0"/>
                    <a:pt x="62" y="0"/>
                  </a:cubicBezTo>
                  <a:cubicBezTo>
                    <a:pt x="42" y="0"/>
                    <a:pt x="42" y="0"/>
                    <a:pt x="42" y="0"/>
                  </a:cubicBezTo>
                  <a:lnTo>
                    <a:pt x="42" y="20"/>
                  </a:lnTo>
                  <a:cubicBezTo>
                    <a:pt x="42" y="41"/>
                    <a:pt x="21" y="20"/>
                    <a:pt x="21" y="41"/>
                  </a:cubicBezTo>
                  <a:cubicBezTo>
                    <a:pt x="21" y="41"/>
                    <a:pt x="0" y="41"/>
                    <a:pt x="0" y="61"/>
                  </a:cubicBezTo>
                  <a:cubicBezTo>
                    <a:pt x="0" y="61"/>
                    <a:pt x="42" y="61"/>
                    <a:pt x="42" y="82"/>
                  </a:cubicBezTo>
                  <a:cubicBezTo>
                    <a:pt x="42" y="82"/>
                    <a:pt x="42" y="82"/>
                    <a:pt x="42" y="102"/>
                  </a:cubicBezTo>
                  <a:lnTo>
                    <a:pt x="42" y="123"/>
                  </a:lnTo>
                  <a:cubicBezTo>
                    <a:pt x="62" y="123"/>
                    <a:pt x="62" y="143"/>
                    <a:pt x="62" y="143"/>
                  </a:cubicBezTo>
                  <a:cubicBezTo>
                    <a:pt x="82" y="143"/>
                    <a:pt x="82" y="123"/>
                    <a:pt x="103" y="123"/>
                  </a:cubicBezTo>
                  <a:cubicBezTo>
                    <a:pt x="103" y="102"/>
                    <a:pt x="103" y="82"/>
                    <a:pt x="103"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4" name="Freeform 211">
              <a:extLst>
                <a:ext uri="{FF2B5EF4-FFF2-40B4-BE49-F238E27FC236}">
                  <a16:creationId xmlns:a16="http://schemas.microsoft.com/office/drawing/2014/main" id="{F0EEBB00-0108-6D43-81F9-DBC0D46BE8E6}"/>
                </a:ext>
              </a:extLst>
            </p:cNvPr>
            <p:cNvSpPr>
              <a:spLocks noChangeArrowheads="1"/>
            </p:cNvSpPr>
            <p:nvPr/>
          </p:nvSpPr>
          <p:spPr bwMode="auto">
            <a:xfrm>
              <a:off x="1731963" y="1389063"/>
              <a:ext cx="30162" cy="30162"/>
            </a:xfrm>
            <a:custGeom>
              <a:avLst/>
              <a:gdLst>
                <a:gd name="T0" fmla="*/ 62 w 83"/>
                <a:gd name="T1" fmla="*/ 61 h 83"/>
                <a:gd name="T2" fmla="*/ 62 w 83"/>
                <a:gd name="T3" fmla="*/ 61 h 83"/>
                <a:gd name="T4" fmla="*/ 82 w 83"/>
                <a:gd name="T5" fmla="*/ 41 h 83"/>
                <a:gd name="T6" fmla="*/ 82 w 83"/>
                <a:gd name="T7" fmla="*/ 0 h 83"/>
                <a:gd name="T8" fmla="*/ 62 w 83"/>
                <a:gd name="T9" fmla="*/ 0 h 83"/>
                <a:gd name="T10" fmla="*/ 20 w 83"/>
                <a:gd name="T11" fmla="*/ 0 h 83"/>
                <a:gd name="T12" fmla="*/ 0 w 83"/>
                <a:gd name="T13" fmla="*/ 20 h 83"/>
                <a:gd name="T14" fmla="*/ 0 w 83"/>
                <a:gd name="T15" fmla="*/ 61 h 83"/>
                <a:gd name="T16" fmla="*/ 20 w 83"/>
                <a:gd name="T17" fmla="*/ 82 h 83"/>
                <a:gd name="T18" fmla="*/ 62 w 83"/>
                <a:gd name="T19" fmla="*/ 82 h 83"/>
                <a:gd name="T20" fmla="*/ 62 w 83"/>
                <a:gd name="T21" fmla="*/ 6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83">
                  <a:moveTo>
                    <a:pt x="62" y="61"/>
                  </a:moveTo>
                  <a:lnTo>
                    <a:pt x="62" y="61"/>
                  </a:lnTo>
                  <a:lnTo>
                    <a:pt x="82" y="41"/>
                  </a:lnTo>
                  <a:cubicBezTo>
                    <a:pt x="82" y="41"/>
                    <a:pt x="82" y="20"/>
                    <a:pt x="82" y="0"/>
                  </a:cubicBezTo>
                  <a:lnTo>
                    <a:pt x="62" y="0"/>
                  </a:lnTo>
                  <a:cubicBezTo>
                    <a:pt x="41" y="0"/>
                    <a:pt x="20" y="0"/>
                    <a:pt x="20" y="0"/>
                  </a:cubicBezTo>
                  <a:cubicBezTo>
                    <a:pt x="20" y="0"/>
                    <a:pt x="20" y="20"/>
                    <a:pt x="0" y="20"/>
                  </a:cubicBezTo>
                  <a:cubicBezTo>
                    <a:pt x="0" y="41"/>
                    <a:pt x="0" y="41"/>
                    <a:pt x="0" y="61"/>
                  </a:cubicBezTo>
                  <a:cubicBezTo>
                    <a:pt x="20" y="61"/>
                    <a:pt x="20" y="82"/>
                    <a:pt x="20" y="82"/>
                  </a:cubicBezTo>
                  <a:cubicBezTo>
                    <a:pt x="41" y="82"/>
                    <a:pt x="41" y="82"/>
                    <a:pt x="62" y="82"/>
                  </a:cubicBezTo>
                  <a:lnTo>
                    <a:pt x="62" y="6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5" name="Freeform 212">
              <a:extLst>
                <a:ext uri="{FF2B5EF4-FFF2-40B4-BE49-F238E27FC236}">
                  <a16:creationId xmlns:a16="http://schemas.microsoft.com/office/drawing/2014/main" id="{64AAAFF7-CA65-EA40-9C8F-BCAF49EC2897}"/>
                </a:ext>
              </a:extLst>
            </p:cNvPr>
            <p:cNvSpPr>
              <a:spLocks noChangeArrowheads="1"/>
            </p:cNvSpPr>
            <p:nvPr/>
          </p:nvSpPr>
          <p:spPr bwMode="auto">
            <a:xfrm>
              <a:off x="1739900" y="1308100"/>
              <a:ext cx="80963" cy="58738"/>
            </a:xfrm>
            <a:custGeom>
              <a:avLst/>
              <a:gdLst>
                <a:gd name="T0" fmla="*/ 103 w 227"/>
                <a:gd name="T1" fmla="*/ 143 h 164"/>
                <a:gd name="T2" fmla="*/ 103 w 227"/>
                <a:gd name="T3" fmla="*/ 143 h 164"/>
                <a:gd name="T4" fmla="*/ 82 w 227"/>
                <a:gd name="T5" fmla="*/ 143 h 164"/>
                <a:gd name="T6" fmla="*/ 62 w 227"/>
                <a:gd name="T7" fmla="*/ 143 h 164"/>
                <a:gd name="T8" fmla="*/ 21 w 227"/>
                <a:gd name="T9" fmla="*/ 122 h 164"/>
                <a:gd name="T10" fmla="*/ 0 w 227"/>
                <a:gd name="T11" fmla="*/ 81 h 164"/>
                <a:gd name="T12" fmla="*/ 0 w 227"/>
                <a:gd name="T13" fmla="*/ 40 h 164"/>
                <a:gd name="T14" fmla="*/ 21 w 227"/>
                <a:gd name="T15" fmla="*/ 20 h 164"/>
                <a:gd name="T16" fmla="*/ 62 w 227"/>
                <a:gd name="T17" fmla="*/ 20 h 164"/>
                <a:gd name="T18" fmla="*/ 103 w 227"/>
                <a:gd name="T19" fmla="*/ 20 h 164"/>
                <a:gd name="T20" fmla="*/ 144 w 227"/>
                <a:gd name="T21" fmla="*/ 0 h 164"/>
                <a:gd name="T22" fmla="*/ 164 w 227"/>
                <a:gd name="T23" fmla="*/ 0 h 164"/>
                <a:gd name="T24" fmla="*/ 185 w 227"/>
                <a:gd name="T25" fmla="*/ 20 h 164"/>
                <a:gd name="T26" fmla="*/ 206 w 227"/>
                <a:gd name="T27" fmla="*/ 40 h 164"/>
                <a:gd name="T28" fmla="*/ 226 w 227"/>
                <a:gd name="T29" fmla="*/ 81 h 164"/>
                <a:gd name="T30" fmla="*/ 206 w 227"/>
                <a:gd name="T31" fmla="*/ 143 h 164"/>
                <a:gd name="T32" fmla="*/ 164 w 227"/>
                <a:gd name="T33" fmla="*/ 163 h 164"/>
                <a:gd name="T34" fmla="*/ 124 w 227"/>
                <a:gd name="T35" fmla="*/ 163 h 164"/>
                <a:gd name="T36" fmla="*/ 103 w 227"/>
                <a:gd name="T37" fmla="*/ 143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7" h="164">
                  <a:moveTo>
                    <a:pt x="103" y="143"/>
                  </a:moveTo>
                  <a:lnTo>
                    <a:pt x="103" y="143"/>
                  </a:lnTo>
                  <a:lnTo>
                    <a:pt x="82" y="143"/>
                  </a:lnTo>
                  <a:lnTo>
                    <a:pt x="62" y="143"/>
                  </a:lnTo>
                  <a:cubicBezTo>
                    <a:pt x="42" y="143"/>
                    <a:pt x="21" y="122"/>
                    <a:pt x="21" y="122"/>
                  </a:cubicBezTo>
                  <a:cubicBezTo>
                    <a:pt x="21" y="122"/>
                    <a:pt x="0" y="102"/>
                    <a:pt x="0" y="81"/>
                  </a:cubicBezTo>
                  <a:cubicBezTo>
                    <a:pt x="0" y="81"/>
                    <a:pt x="0" y="61"/>
                    <a:pt x="0" y="40"/>
                  </a:cubicBezTo>
                  <a:cubicBezTo>
                    <a:pt x="21" y="40"/>
                    <a:pt x="21" y="20"/>
                    <a:pt x="21" y="20"/>
                  </a:cubicBezTo>
                  <a:cubicBezTo>
                    <a:pt x="42" y="20"/>
                    <a:pt x="62" y="20"/>
                    <a:pt x="62" y="20"/>
                  </a:cubicBezTo>
                  <a:cubicBezTo>
                    <a:pt x="82" y="20"/>
                    <a:pt x="103" y="40"/>
                    <a:pt x="103" y="20"/>
                  </a:cubicBezTo>
                  <a:cubicBezTo>
                    <a:pt x="124" y="20"/>
                    <a:pt x="124" y="20"/>
                    <a:pt x="144" y="0"/>
                  </a:cubicBezTo>
                  <a:cubicBezTo>
                    <a:pt x="144" y="0"/>
                    <a:pt x="144" y="0"/>
                    <a:pt x="164" y="0"/>
                  </a:cubicBezTo>
                  <a:cubicBezTo>
                    <a:pt x="164" y="0"/>
                    <a:pt x="185" y="0"/>
                    <a:pt x="185" y="20"/>
                  </a:cubicBezTo>
                  <a:cubicBezTo>
                    <a:pt x="206" y="20"/>
                    <a:pt x="206" y="40"/>
                    <a:pt x="206" y="40"/>
                  </a:cubicBezTo>
                  <a:cubicBezTo>
                    <a:pt x="226" y="61"/>
                    <a:pt x="226" y="81"/>
                    <a:pt x="226" y="81"/>
                  </a:cubicBezTo>
                  <a:cubicBezTo>
                    <a:pt x="226" y="102"/>
                    <a:pt x="206" y="122"/>
                    <a:pt x="206" y="143"/>
                  </a:cubicBezTo>
                  <a:cubicBezTo>
                    <a:pt x="206" y="143"/>
                    <a:pt x="185" y="163"/>
                    <a:pt x="164" y="163"/>
                  </a:cubicBezTo>
                  <a:cubicBezTo>
                    <a:pt x="164" y="163"/>
                    <a:pt x="144" y="163"/>
                    <a:pt x="124" y="163"/>
                  </a:cubicBezTo>
                  <a:lnTo>
                    <a:pt x="103" y="143"/>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6" name="Freeform 213">
              <a:extLst>
                <a:ext uri="{FF2B5EF4-FFF2-40B4-BE49-F238E27FC236}">
                  <a16:creationId xmlns:a16="http://schemas.microsoft.com/office/drawing/2014/main" id="{C2A57006-2221-9546-A21E-38A084766F26}"/>
                </a:ext>
              </a:extLst>
            </p:cNvPr>
            <p:cNvSpPr>
              <a:spLocks noChangeArrowheads="1"/>
            </p:cNvSpPr>
            <p:nvPr/>
          </p:nvSpPr>
          <p:spPr bwMode="auto">
            <a:xfrm>
              <a:off x="1747838" y="1271588"/>
              <a:ext cx="30162" cy="15875"/>
            </a:xfrm>
            <a:custGeom>
              <a:avLst/>
              <a:gdLst>
                <a:gd name="T0" fmla="*/ 61 w 83"/>
                <a:gd name="T1" fmla="*/ 41 h 42"/>
                <a:gd name="T2" fmla="*/ 61 w 83"/>
                <a:gd name="T3" fmla="*/ 41 h 42"/>
                <a:gd name="T4" fmla="*/ 21 w 83"/>
                <a:gd name="T5" fmla="*/ 41 h 42"/>
                <a:gd name="T6" fmla="*/ 0 w 83"/>
                <a:gd name="T7" fmla="*/ 41 h 42"/>
                <a:gd name="T8" fmla="*/ 0 w 83"/>
                <a:gd name="T9" fmla="*/ 0 h 42"/>
                <a:gd name="T10" fmla="*/ 41 w 83"/>
                <a:gd name="T11" fmla="*/ 0 h 42"/>
                <a:gd name="T12" fmla="*/ 61 w 83"/>
                <a:gd name="T13" fmla="*/ 0 h 42"/>
                <a:gd name="T14" fmla="*/ 82 w 83"/>
                <a:gd name="T15" fmla="*/ 21 h 42"/>
                <a:gd name="T16" fmla="*/ 61 w 83"/>
                <a:gd name="T1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42">
                  <a:moveTo>
                    <a:pt x="61" y="41"/>
                  </a:moveTo>
                  <a:lnTo>
                    <a:pt x="61" y="41"/>
                  </a:lnTo>
                  <a:cubicBezTo>
                    <a:pt x="41" y="41"/>
                    <a:pt x="41" y="41"/>
                    <a:pt x="21" y="41"/>
                  </a:cubicBezTo>
                  <a:lnTo>
                    <a:pt x="0" y="41"/>
                  </a:lnTo>
                  <a:cubicBezTo>
                    <a:pt x="0" y="21"/>
                    <a:pt x="0" y="21"/>
                    <a:pt x="0" y="0"/>
                  </a:cubicBezTo>
                  <a:cubicBezTo>
                    <a:pt x="21" y="0"/>
                    <a:pt x="41" y="0"/>
                    <a:pt x="41" y="0"/>
                  </a:cubicBezTo>
                  <a:lnTo>
                    <a:pt x="61" y="0"/>
                  </a:lnTo>
                  <a:lnTo>
                    <a:pt x="82" y="21"/>
                  </a:lnTo>
                  <a:cubicBezTo>
                    <a:pt x="82" y="41"/>
                    <a:pt x="61" y="41"/>
                    <a:pt x="6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7" name="Freeform 214">
              <a:extLst>
                <a:ext uri="{FF2B5EF4-FFF2-40B4-BE49-F238E27FC236}">
                  <a16:creationId xmlns:a16="http://schemas.microsoft.com/office/drawing/2014/main" id="{28179B95-5CA9-6942-A75E-C5A64F342DCB}"/>
                </a:ext>
              </a:extLst>
            </p:cNvPr>
            <p:cNvSpPr>
              <a:spLocks noChangeArrowheads="1"/>
            </p:cNvSpPr>
            <p:nvPr/>
          </p:nvSpPr>
          <p:spPr bwMode="auto">
            <a:xfrm>
              <a:off x="1754188" y="1285875"/>
              <a:ext cx="44450" cy="22225"/>
            </a:xfrm>
            <a:custGeom>
              <a:avLst/>
              <a:gdLst>
                <a:gd name="T0" fmla="*/ 82 w 123"/>
                <a:gd name="T1" fmla="*/ 41 h 63"/>
                <a:gd name="T2" fmla="*/ 82 w 123"/>
                <a:gd name="T3" fmla="*/ 41 h 63"/>
                <a:gd name="T4" fmla="*/ 122 w 123"/>
                <a:gd name="T5" fmla="*/ 20 h 63"/>
                <a:gd name="T6" fmla="*/ 102 w 123"/>
                <a:gd name="T7" fmla="*/ 0 h 63"/>
                <a:gd name="T8" fmla="*/ 82 w 123"/>
                <a:gd name="T9" fmla="*/ 20 h 63"/>
                <a:gd name="T10" fmla="*/ 61 w 123"/>
                <a:gd name="T11" fmla="*/ 20 h 63"/>
                <a:gd name="T12" fmla="*/ 40 w 123"/>
                <a:gd name="T13" fmla="*/ 41 h 63"/>
                <a:gd name="T14" fmla="*/ 20 w 123"/>
                <a:gd name="T15" fmla="*/ 41 h 63"/>
                <a:gd name="T16" fmla="*/ 20 w 123"/>
                <a:gd name="T17" fmla="*/ 62 h 63"/>
                <a:gd name="T18" fmla="*/ 40 w 123"/>
                <a:gd name="T19" fmla="*/ 62 h 63"/>
                <a:gd name="T20" fmla="*/ 61 w 123"/>
                <a:gd name="T21" fmla="*/ 62 h 63"/>
                <a:gd name="T22" fmla="*/ 82 w 123"/>
                <a:gd name="T23"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3" h="63">
                  <a:moveTo>
                    <a:pt x="82" y="41"/>
                  </a:moveTo>
                  <a:lnTo>
                    <a:pt x="82" y="41"/>
                  </a:lnTo>
                  <a:cubicBezTo>
                    <a:pt x="102" y="41"/>
                    <a:pt x="122" y="41"/>
                    <a:pt x="122" y="20"/>
                  </a:cubicBezTo>
                  <a:cubicBezTo>
                    <a:pt x="122" y="20"/>
                    <a:pt x="122" y="0"/>
                    <a:pt x="102" y="0"/>
                  </a:cubicBezTo>
                  <a:cubicBezTo>
                    <a:pt x="102" y="0"/>
                    <a:pt x="102" y="0"/>
                    <a:pt x="82" y="20"/>
                  </a:cubicBezTo>
                  <a:cubicBezTo>
                    <a:pt x="82" y="20"/>
                    <a:pt x="82" y="20"/>
                    <a:pt x="61" y="20"/>
                  </a:cubicBezTo>
                  <a:cubicBezTo>
                    <a:pt x="61" y="41"/>
                    <a:pt x="40" y="41"/>
                    <a:pt x="40" y="41"/>
                  </a:cubicBezTo>
                  <a:lnTo>
                    <a:pt x="20" y="41"/>
                  </a:lnTo>
                  <a:cubicBezTo>
                    <a:pt x="0" y="41"/>
                    <a:pt x="20" y="41"/>
                    <a:pt x="20" y="62"/>
                  </a:cubicBezTo>
                  <a:lnTo>
                    <a:pt x="40" y="62"/>
                  </a:lnTo>
                  <a:lnTo>
                    <a:pt x="61" y="62"/>
                  </a:lnTo>
                  <a:cubicBezTo>
                    <a:pt x="82" y="62"/>
                    <a:pt x="82" y="62"/>
                    <a:pt x="82"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8" name="Freeform 215">
              <a:extLst>
                <a:ext uri="{FF2B5EF4-FFF2-40B4-BE49-F238E27FC236}">
                  <a16:creationId xmlns:a16="http://schemas.microsoft.com/office/drawing/2014/main" id="{C3320BA1-98E6-9648-91CA-64A85C06BBFC}"/>
                </a:ext>
              </a:extLst>
            </p:cNvPr>
            <p:cNvSpPr>
              <a:spLocks noChangeArrowheads="1"/>
            </p:cNvSpPr>
            <p:nvPr/>
          </p:nvSpPr>
          <p:spPr bwMode="auto">
            <a:xfrm>
              <a:off x="1843088" y="1285875"/>
              <a:ext cx="58737" cy="66675"/>
            </a:xfrm>
            <a:custGeom>
              <a:avLst/>
              <a:gdLst>
                <a:gd name="T0" fmla="*/ 81 w 164"/>
                <a:gd name="T1" fmla="*/ 143 h 185"/>
                <a:gd name="T2" fmla="*/ 81 w 164"/>
                <a:gd name="T3" fmla="*/ 143 h 185"/>
                <a:gd name="T4" fmla="*/ 61 w 164"/>
                <a:gd name="T5" fmla="*/ 164 h 185"/>
                <a:gd name="T6" fmla="*/ 20 w 164"/>
                <a:gd name="T7" fmla="*/ 184 h 185"/>
                <a:gd name="T8" fmla="*/ 0 w 164"/>
                <a:gd name="T9" fmla="*/ 164 h 185"/>
                <a:gd name="T10" fmla="*/ 0 w 164"/>
                <a:gd name="T11" fmla="*/ 123 h 185"/>
                <a:gd name="T12" fmla="*/ 20 w 164"/>
                <a:gd name="T13" fmla="*/ 82 h 185"/>
                <a:gd name="T14" fmla="*/ 40 w 164"/>
                <a:gd name="T15" fmla="*/ 62 h 185"/>
                <a:gd name="T16" fmla="*/ 81 w 164"/>
                <a:gd name="T17" fmla="*/ 62 h 185"/>
                <a:gd name="T18" fmla="*/ 81 w 164"/>
                <a:gd name="T19" fmla="*/ 41 h 185"/>
                <a:gd name="T20" fmla="*/ 81 w 164"/>
                <a:gd name="T21" fmla="*/ 20 h 185"/>
                <a:gd name="T22" fmla="*/ 102 w 164"/>
                <a:gd name="T23" fmla="*/ 0 h 185"/>
                <a:gd name="T24" fmla="*/ 122 w 164"/>
                <a:gd name="T25" fmla="*/ 0 h 185"/>
                <a:gd name="T26" fmla="*/ 163 w 164"/>
                <a:gd name="T27" fmla="*/ 41 h 185"/>
                <a:gd name="T28" fmla="*/ 163 w 164"/>
                <a:gd name="T29" fmla="*/ 82 h 185"/>
                <a:gd name="T30" fmla="*/ 163 w 164"/>
                <a:gd name="T31" fmla="*/ 123 h 185"/>
                <a:gd name="T32" fmla="*/ 122 w 164"/>
                <a:gd name="T33" fmla="*/ 143 h 185"/>
                <a:gd name="T34" fmla="*/ 81 w 164"/>
                <a:gd name="T35" fmla="*/ 143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4" h="185">
                  <a:moveTo>
                    <a:pt x="81" y="143"/>
                  </a:moveTo>
                  <a:lnTo>
                    <a:pt x="81" y="143"/>
                  </a:lnTo>
                  <a:cubicBezTo>
                    <a:pt x="81" y="143"/>
                    <a:pt x="81" y="164"/>
                    <a:pt x="61" y="164"/>
                  </a:cubicBezTo>
                  <a:cubicBezTo>
                    <a:pt x="61" y="164"/>
                    <a:pt x="40" y="184"/>
                    <a:pt x="20" y="184"/>
                  </a:cubicBezTo>
                  <a:lnTo>
                    <a:pt x="0" y="164"/>
                  </a:lnTo>
                  <a:cubicBezTo>
                    <a:pt x="0" y="164"/>
                    <a:pt x="0" y="143"/>
                    <a:pt x="0" y="123"/>
                  </a:cubicBezTo>
                  <a:cubicBezTo>
                    <a:pt x="0" y="123"/>
                    <a:pt x="0" y="102"/>
                    <a:pt x="20" y="82"/>
                  </a:cubicBezTo>
                  <a:lnTo>
                    <a:pt x="40" y="62"/>
                  </a:lnTo>
                  <a:cubicBezTo>
                    <a:pt x="61" y="62"/>
                    <a:pt x="61" y="62"/>
                    <a:pt x="81" y="62"/>
                  </a:cubicBezTo>
                  <a:lnTo>
                    <a:pt x="81" y="41"/>
                  </a:lnTo>
                  <a:cubicBezTo>
                    <a:pt x="102" y="41"/>
                    <a:pt x="81" y="20"/>
                    <a:pt x="81" y="20"/>
                  </a:cubicBezTo>
                  <a:lnTo>
                    <a:pt x="102" y="0"/>
                  </a:lnTo>
                  <a:lnTo>
                    <a:pt x="122" y="0"/>
                  </a:lnTo>
                  <a:cubicBezTo>
                    <a:pt x="143" y="20"/>
                    <a:pt x="143" y="41"/>
                    <a:pt x="163" y="41"/>
                  </a:cubicBezTo>
                  <a:cubicBezTo>
                    <a:pt x="163" y="62"/>
                    <a:pt x="163" y="82"/>
                    <a:pt x="163" y="82"/>
                  </a:cubicBezTo>
                  <a:cubicBezTo>
                    <a:pt x="163" y="102"/>
                    <a:pt x="163" y="123"/>
                    <a:pt x="163" y="123"/>
                  </a:cubicBezTo>
                  <a:cubicBezTo>
                    <a:pt x="143" y="123"/>
                    <a:pt x="122" y="143"/>
                    <a:pt x="122" y="143"/>
                  </a:cubicBezTo>
                  <a:cubicBezTo>
                    <a:pt x="122" y="143"/>
                    <a:pt x="102" y="143"/>
                    <a:pt x="81" y="14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19" name="Freeform 216">
              <a:extLst>
                <a:ext uri="{FF2B5EF4-FFF2-40B4-BE49-F238E27FC236}">
                  <a16:creationId xmlns:a16="http://schemas.microsoft.com/office/drawing/2014/main" id="{82574D66-73AD-ED4E-863C-C6CBEDA1BB1A}"/>
                </a:ext>
              </a:extLst>
            </p:cNvPr>
            <p:cNvSpPr>
              <a:spLocks noChangeArrowheads="1"/>
            </p:cNvSpPr>
            <p:nvPr/>
          </p:nvSpPr>
          <p:spPr bwMode="auto">
            <a:xfrm>
              <a:off x="558800" y="1500188"/>
              <a:ext cx="6800850" cy="3275012"/>
            </a:xfrm>
            <a:custGeom>
              <a:avLst/>
              <a:gdLst>
                <a:gd name="T0" fmla="*/ 1352 w 18893"/>
                <a:gd name="T1" fmla="*/ 8012 h 9099"/>
                <a:gd name="T2" fmla="*/ 1229 w 18893"/>
                <a:gd name="T3" fmla="*/ 7028 h 9099"/>
                <a:gd name="T4" fmla="*/ 267 w 18893"/>
                <a:gd name="T5" fmla="*/ 5819 h 9099"/>
                <a:gd name="T6" fmla="*/ 349 w 18893"/>
                <a:gd name="T7" fmla="*/ 4775 h 9099"/>
                <a:gd name="T8" fmla="*/ 431 w 18893"/>
                <a:gd name="T9" fmla="*/ 3217 h 9099"/>
                <a:gd name="T10" fmla="*/ 901 w 18893"/>
                <a:gd name="T11" fmla="*/ 2500 h 9099"/>
                <a:gd name="T12" fmla="*/ 881 w 18893"/>
                <a:gd name="T13" fmla="*/ 3094 h 9099"/>
                <a:gd name="T14" fmla="*/ 1250 w 18893"/>
                <a:gd name="T15" fmla="*/ 3627 h 9099"/>
                <a:gd name="T16" fmla="*/ 2110 w 18893"/>
                <a:gd name="T17" fmla="*/ 3217 h 9099"/>
                <a:gd name="T18" fmla="*/ 2500 w 18893"/>
                <a:gd name="T19" fmla="*/ 3074 h 9099"/>
                <a:gd name="T20" fmla="*/ 3278 w 18893"/>
                <a:gd name="T21" fmla="*/ 2787 h 9099"/>
                <a:gd name="T22" fmla="*/ 4385 w 18893"/>
                <a:gd name="T23" fmla="*/ 2459 h 9099"/>
                <a:gd name="T24" fmla="*/ 4467 w 18893"/>
                <a:gd name="T25" fmla="*/ 1988 h 9099"/>
                <a:gd name="T26" fmla="*/ 5307 w 18893"/>
                <a:gd name="T27" fmla="*/ 2869 h 9099"/>
                <a:gd name="T28" fmla="*/ 5348 w 18893"/>
                <a:gd name="T29" fmla="*/ 3074 h 9099"/>
                <a:gd name="T30" fmla="*/ 5881 w 18893"/>
                <a:gd name="T31" fmla="*/ 2602 h 9099"/>
                <a:gd name="T32" fmla="*/ 5348 w 18893"/>
                <a:gd name="T33" fmla="*/ 1680 h 9099"/>
                <a:gd name="T34" fmla="*/ 5676 w 18893"/>
                <a:gd name="T35" fmla="*/ 1578 h 9099"/>
                <a:gd name="T36" fmla="*/ 6311 w 18893"/>
                <a:gd name="T37" fmla="*/ 2070 h 9099"/>
                <a:gd name="T38" fmla="*/ 6229 w 18893"/>
                <a:gd name="T39" fmla="*/ 1025 h 9099"/>
                <a:gd name="T40" fmla="*/ 6824 w 18893"/>
                <a:gd name="T41" fmla="*/ 492 h 9099"/>
                <a:gd name="T42" fmla="*/ 7356 w 18893"/>
                <a:gd name="T43" fmla="*/ 103 h 9099"/>
                <a:gd name="T44" fmla="*/ 8299 w 18893"/>
                <a:gd name="T45" fmla="*/ 164 h 9099"/>
                <a:gd name="T46" fmla="*/ 8483 w 18893"/>
                <a:gd name="T47" fmla="*/ 901 h 9099"/>
                <a:gd name="T48" fmla="*/ 8832 w 18893"/>
                <a:gd name="T49" fmla="*/ 922 h 9099"/>
                <a:gd name="T50" fmla="*/ 9773 w 18893"/>
                <a:gd name="T51" fmla="*/ 983 h 9099"/>
                <a:gd name="T52" fmla="*/ 10716 w 18893"/>
                <a:gd name="T53" fmla="*/ 901 h 9099"/>
                <a:gd name="T54" fmla="*/ 11351 w 18893"/>
                <a:gd name="T55" fmla="*/ 1107 h 9099"/>
                <a:gd name="T56" fmla="*/ 11945 w 18893"/>
                <a:gd name="T57" fmla="*/ 717 h 9099"/>
                <a:gd name="T58" fmla="*/ 12621 w 18893"/>
                <a:gd name="T59" fmla="*/ 841 h 9099"/>
                <a:gd name="T60" fmla="*/ 14548 w 18893"/>
                <a:gd name="T61" fmla="*/ 1045 h 9099"/>
                <a:gd name="T62" fmla="*/ 15757 w 18893"/>
                <a:gd name="T63" fmla="*/ 861 h 9099"/>
                <a:gd name="T64" fmla="*/ 17334 w 18893"/>
                <a:gd name="T65" fmla="*/ 861 h 9099"/>
                <a:gd name="T66" fmla="*/ 18216 w 18893"/>
                <a:gd name="T67" fmla="*/ 1168 h 9099"/>
                <a:gd name="T68" fmla="*/ 18830 w 18893"/>
                <a:gd name="T69" fmla="*/ 1393 h 9099"/>
                <a:gd name="T70" fmla="*/ 18154 w 18893"/>
                <a:gd name="T71" fmla="*/ 1557 h 9099"/>
                <a:gd name="T72" fmla="*/ 17703 w 18893"/>
                <a:gd name="T73" fmla="*/ 1803 h 9099"/>
                <a:gd name="T74" fmla="*/ 18277 w 18893"/>
                <a:gd name="T75" fmla="*/ 2131 h 9099"/>
                <a:gd name="T76" fmla="*/ 18031 w 18893"/>
                <a:gd name="T77" fmla="*/ 3217 h 9099"/>
                <a:gd name="T78" fmla="*/ 17211 w 18893"/>
                <a:gd name="T79" fmla="*/ 3340 h 9099"/>
                <a:gd name="T80" fmla="*/ 17847 w 18893"/>
                <a:gd name="T81" fmla="*/ 4180 h 9099"/>
                <a:gd name="T82" fmla="*/ 17970 w 18893"/>
                <a:gd name="T83" fmla="*/ 5102 h 9099"/>
                <a:gd name="T84" fmla="*/ 16843 w 18893"/>
                <a:gd name="T85" fmla="*/ 4283 h 9099"/>
                <a:gd name="T86" fmla="*/ 16781 w 18893"/>
                <a:gd name="T87" fmla="*/ 2705 h 9099"/>
                <a:gd name="T88" fmla="*/ 16413 w 18893"/>
                <a:gd name="T89" fmla="*/ 3012 h 9099"/>
                <a:gd name="T90" fmla="*/ 16207 w 18893"/>
                <a:gd name="T91" fmla="*/ 3750 h 9099"/>
                <a:gd name="T92" fmla="*/ 15224 w 18893"/>
                <a:gd name="T93" fmla="*/ 3873 h 9099"/>
                <a:gd name="T94" fmla="*/ 14548 w 18893"/>
                <a:gd name="T95" fmla="*/ 5205 h 9099"/>
                <a:gd name="T96" fmla="*/ 15162 w 18893"/>
                <a:gd name="T97" fmla="*/ 5287 h 9099"/>
                <a:gd name="T98" fmla="*/ 15859 w 18893"/>
                <a:gd name="T99" fmla="*/ 7582 h 9099"/>
                <a:gd name="T100" fmla="*/ 15244 w 18893"/>
                <a:gd name="T101" fmla="*/ 8053 h 9099"/>
                <a:gd name="T102" fmla="*/ 14588 w 18893"/>
                <a:gd name="T103" fmla="*/ 6762 h 9099"/>
                <a:gd name="T104" fmla="*/ 12785 w 18893"/>
                <a:gd name="T105" fmla="*/ 5737 h 9099"/>
                <a:gd name="T106" fmla="*/ 11720 w 18893"/>
                <a:gd name="T107" fmla="*/ 6864 h 9099"/>
                <a:gd name="T108" fmla="*/ 9834 w 18893"/>
                <a:gd name="T109" fmla="*/ 6762 h 9099"/>
                <a:gd name="T110" fmla="*/ 8114 w 18893"/>
                <a:gd name="T111" fmla="*/ 7049 h 9099"/>
                <a:gd name="T112" fmla="*/ 6127 w 18893"/>
                <a:gd name="T113" fmla="*/ 6106 h 9099"/>
                <a:gd name="T114" fmla="*/ 4467 w 18893"/>
                <a:gd name="T115" fmla="*/ 6291 h 9099"/>
                <a:gd name="T116" fmla="*/ 3893 w 18893"/>
                <a:gd name="T117" fmla="*/ 6926 h 9099"/>
                <a:gd name="T118" fmla="*/ 2582 w 18893"/>
                <a:gd name="T119" fmla="*/ 7356 h 9099"/>
                <a:gd name="T120" fmla="*/ 2746 w 18893"/>
                <a:gd name="T121" fmla="*/ 9098 h 9099"/>
                <a:gd name="T122" fmla="*/ 10613 w 18893"/>
                <a:gd name="T123" fmla="*/ 6311 h 9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893" h="9099">
                  <a:moveTo>
                    <a:pt x="2644" y="8995"/>
                  </a:moveTo>
                  <a:lnTo>
                    <a:pt x="2644" y="8995"/>
                  </a:lnTo>
                  <a:cubicBezTo>
                    <a:pt x="2623" y="8995"/>
                    <a:pt x="2623" y="8975"/>
                    <a:pt x="2623" y="8975"/>
                  </a:cubicBezTo>
                  <a:cubicBezTo>
                    <a:pt x="2602" y="8975"/>
                    <a:pt x="2562" y="8975"/>
                    <a:pt x="2562" y="8955"/>
                  </a:cubicBezTo>
                  <a:cubicBezTo>
                    <a:pt x="2541" y="8955"/>
                    <a:pt x="2520" y="8934"/>
                    <a:pt x="2500" y="8913"/>
                  </a:cubicBezTo>
                  <a:cubicBezTo>
                    <a:pt x="2500" y="8913"/>
                    <a:pt x="2480" y="8893"/>
                    <a:pt x="2480" y="8873"/>
                  </a:cubicBezTo>
                  <a:cubicBezTo>
                    <a:pt x="2459" y="8873"/>
                    <a:pt x="2459" y="8852"/>
                    <a:pt x="2438" y="8831"/>
                  </a:cubicBezTo>
                  <a:lnTo>
                    <a:pt x="2418" y="8811"/>
                  </a:lnTo>
                  <a:cubicBezTo>
                    <a:pt x="2398" y="8791"/>
                    <a:pt x="2377" y="8770"/>
                    <a:pt x="2377" y="8770"/>
                  </a:cubicBezTo>
                  <a:cubicBezTo>
                    <a:pt x="2356" y="8770"/>
                    <a:pt x="2356" y="8770"/>
                    <a:pt x="2336" y="8770"/>
                  </a:cubicBezTo>
                  <a:cubicBezTo>
                    <a:pt x="2336" y="8770"/>
                    <a:pt x="2316" y="8770"/>
                    <a:pt x="2295" y="8770"/>
                  </a:cubicBezTo>
                  <a:lnTo>
                    <a:pt x="2274" y="8770"/>
                  </a:lnTo>
                  <a:cubicBezTo>
                    <a:pt x="2254" y="8770"/>
                    <a:pt x="2254" y="8791"/>
                    <a:pt x="2254" y="8791"/>
                  </a:cubicBezTo>
                  <a:cubicBezTo>
                    <a:pt x="2254" y="8791"/>
                    <a:pt x="2234" y="8791"/>
                    <a:pt x="2213" y="8811"/>
                  </a:cubicBezTo>
                  <a:cubicBezTo>
                    <a:pt x="2213" y="8811"/>
                    <a:pt x="2213" y="8811"/>
                    <a:pt x="2192" y="8811"/>
                  </a:cubicBezTo>
                  <a:cubicBezTo>
                    <a:pt x="2192" y="8811"/>
                    <a:pt x="2152" y="8791"/>
                    <a:pt x="2152" y="8770"/>
                  </a:cubicBezTo>
                  <a:cubicBezTo>
                    <a:pt x="2131" y="8770"/>
                    <a:pt x="2131" y="8749"/>
                    <a:pt x="2131" y="8749"/>
                  </a:cubicBezTo>
                  <a:cubicBezTo>
                    <a:pt x="2110" y="8729"/>
                    <a:pt x="2090" y="8709"/>
                    <a:pt x="2090" y="8709"/>
                  </a:cubicBezTo>
                  <a:cubicBezTo>
                    <a:pt x="2070" y="8709"/>
                    <a:pt x="2049" y="8688"/>
                    <a:pt x="2049" y="8688"/>
                  </a:cubicBezTo>
                  <a:cubicBezTo>
                    <a:pt x="2029" y="8667"/>
                    <a:pt x="2008" y="8667"/>
                    <a:pt x="1988" y="8667"/>
                  </a:cubicBezTo>
                  <a:lnTo>
                    <a:pt x="1967" y="8667"/>
                  </a:lnTo>
                  <a:cubicBezTo>
                    <a:pt x="1947" y="8667"/>
                    <a:pt x="1906" y="8667"/>
                    <a:pt x="1885" y="8667"/>
                  </a:cubicBezTo>
                  <a:cubicBezTo>
                    <a:pt x="1865" y="8667"/>
                    <a:pt x="1844" y="8647"/>
                    <a:pt x="1824" y="8647"/>
                  </a:cubicBezTo>
                  <a:cubicBezTo>
                    <a:pt x="1803" y="8647"/>
                    <a:pt x="1803" y="8647"/>
                    <a:pt x="1783" y="8627"/>
                  </a:cubicBezTo>
                  <a:cubicBezTo>
                    <a:pt x="1783" y="8627"/>
                    <a:pt x="1742" y="8627"/>
                    <a:pt x="1742" y="8606"/>
                  </a:cubicBezTo>
                  <a:cubicBezTo>
                    <a:pt x="1721" y="8606"/>
                    <a:pt x="1721" y="8585"/>
                    <a:pt x="1701" y="8585"/>
                  </a:cubicBezTo>
                  <a:lnTo>
                    <a:pt x="1680" y="8585"/>
                  </a:lnTo>
                  <a:cubicBezTo>
                    <a:pt x="1660" y="8585"/>
                    <a:pt x="1660" y="8585"/>
                    <a:pt x="1639" y="8585"/>
                  </a:cubicBezTo>
                  <a:cubicBezTo>
                    <a:pt x="1639" y="8585"/>
                    <a:pt x="1639" y="8606"/>
                    <a:pt x="1619" y="8606"/>
                  </a:cubicBezTo>
                  <a:lnTo>
                    <a:pt x="1619" y="8627"/>
                  </a:lnTo>
                  <a:cubicBezTo>
                    <a:pt x="1598" y="8647"/>
                    <a:pt x="1598" y="8647"/>
                    <a:pt x="1598" y="8647"/>
                  </a:cubicBezTo>
                  <a:cubicBezTo>
                    <a:pt x="1557" y="8627"/>
                    <a:pt x="1496" y="8545"/>
                    <a:pt x="1475" y="8524"/>
                  </a:cubicBezTo>
                  <a:cubicBezTo>
                    <a:pt x="1455" y="8503"/>
                    <a:pt x="1434" y="8463"/>
                    <a:pt x="1414" y="8442"/>
                  </a:cubicBezTo>
                  <a:cubicBezTo>
                    <a:pt x="1414" y="8442"/>
                    <a:pt x="1393" y="8422"/>
                    <a:pt x="1373" y="8422"/>
                  </a:cubicBezTo>
                  <a:cubicBezTo>
                    <a:pt x="1373" y="8401"/>
                    <a:pt x="1352" y="8401"/>
                    <a:pt x="1352" y="8401"/>
                  </a:cubicBezTo>
                  <a:cubicBezTo>
                    <a:pt x="1352" y="8381"/>
                    <a:pt x="1311" y="8381"/>
                    <a:pt x="1311" y="8381"/>
                  </a:cubicBezTo>
                  <a:cubicBezTo>
                    <a:pt x="1291" y="8360"/>
                    <a:pt x="1291" y="8340"/>
                    <a:pt x="1271" y="8340"/>
                  </a:cubicBezTo>
                  <a:cubicBezTo>
                    <a:pt x="1271" y="8319"/>
                    <a:pt x="1250" y="8319"/>
                    <a:pt x="1229" y="8319"/>
                  </a:cubicBezTo>
                  <a:lnTo>
                    <a:pt x="1209" y="8319"/>
                  </a:lnTo>
                  <a:cubicBezTo>
                    <a:pt x="1189" y="8299"/>
                    <a:pt x="1189" y="8299"/>
                    <a:pt x="1168" y="8299"/>
                  </a:cubicBezTo>
                  <a:cubicBezTo>
                    <a:pt x="1168" y="8299"/>
                    <a:pt x="1168" y="8278"/>
                    <a:pt x="1168" y="8258"/>
                  </a:cubicBezTo>
                  <a:lnTo>
                    <a:pt x="1147" y="8237"/>
                  </a:lnTo>
                  <a:cubicBezTo>
                    <a:pt x="1147" y="8237"/>
                    <a:pt x="1127" y="8217"/>
                    <a:pt x="1127" y="8196"/>
                  </a:cubicBezTo>
                  <a:lnTo>
                    <a:pt x="1127" y="8176"/>
                  </a:lnTo>
                  <a:cubicBezTo>
                    <a:pt x="1127" y="8155"/>
                    <a:pt x="1127" y="8135"/>
                    <a:pt x="1127" y="8135"/>
                  </a:cubicBezTo>
                  <a:lnTo>
                    <a:pt x="1147" y="8155"/>
                  </a:lnTo>
                  <a:lnTo>
                    <a:pt x="1168" y="8155"/>
                  </a:lnTo>
                  <a:lnTo>
                    <a:pt x="1168" y="8176"/>
                  </a:lnTo>
                  <a:lnTo>
                    <a:pt x="1189" y="8176"/>
                  </a:lnTo>
                  <a:cubicBezTo>
                    <a:pt x="1189" y="8176"/>
                    <a:pt x="1189" y="8176"/>
                    <a:pt x="1189" y="8155"/>
                  </a:cubicBezTo>
                  <a:cubicBezTo>
                    <a:pt x="1209" y="8155"/>
                    <a:pt x="1209" y="8155"/>
                    <a:pt x="1229" y="8155"/>
                  </a:cubicBezTo>
                  <a:cubicBezTo>
                    <a:pt x="1229" y="8135"/>
                    <a:pt x="1229" y="8135"/>
                    <a:pt x="1229" y="8114"/>
                  </a:cubicBezTo>
                  <a:lnTo>
                    <a:pt x="1229" y="8094"/>
                  </a:lnTo>
                  <a:cubicBezTo>
                    <a:pt x="1250" y="8073"/>
                    <a:pt x="1250" y="8073"/>
                    <a:pt x="1250" y="8053"/>
                  </a:cubicBezTo>
                  <a:cubicBezTo>
                    <a:pt x="1271" y="8053"/>
                    <a:pt x="1291" y="8053"/>
                    <a:pt x="1291" y="8053"/>
                  </a:cubicBezTo>
                  <a:cubicBezTo>
                    <a:pt x="1311" y="8032"/>
                    <a:pt x="1311" y="8012"/>
                    <a:pt x="1332" y="8012"/>
                  </a:cubicBezTo>
                  <a:cubicBezTo>
                    <a:pt x="1332" y="8012"/>
                    <a:pt x="1332" y="8012"/>
                    <a:pt x="1352" y="8012"/>
                  </a:cubicBezTo>
                  <a:cubicBezTo>
                    <a:pt x="1352" y="7991"/>
                    <a:pt x="1352" y="7991"/>
                    <a:pt x="1352" y="7971"/>
                  </a:cubicBezTo>
                  <a:cubicBezTo>
                    <a:pt x="1373" y="7971"/>
                    <a:pt x="1393" y="7991"/>
                    <a:pt x="1393" y="7971"/>
                  </a:cubicBezTo>
                  <a:lnTo>
                    <a:pt x="1393" y="7950"/>
                  </a:lnTo>
                  <a:lnTo>
                    <a:pt x="1373" y="7930"/>
                  </a:lnTo>
                  <a:lnTo>
                    <a:pt x="1352" y="7930"/>
                  </a:lnTo>
                  <a:cubicBezTo>
                    <a:pt x="1332" y="7909"/>
                    <a:pt x="1311" y="7909"/>
                    <a:pt x="1311" y="7889"/>
                  </a:cubicBezTo>
                  <a:lnTo>
                    <a:pt x="1311" y="7868"/>
                  </a:lnTo>
                  <a:cubicBezTo>
                    <a:pt x="1311" y="7848"/>
                    <a:pt x="1332" y="7848"/>
                    <a:pt x="1332" y="7848"/>
                  </a:cubicBezTo>
                  <a:lnTo>
                    <a:pt x="1373" y="7848"/>
                  </a:lnTo>
                  <a:lnTo>
                    <a:pt x="1393" y="7848"/>
                  </a:lnTo>
                  <a:cubicBezTo>
                    <a:pt x="1414" y="7848"/>
                    <a:pt x="1414" y="7827"/>
                    <a:pt x="1414" y="7827"/>
                  </a:cubicBezTo>
                  <a:lnTo>
                    <a:pt x="1414" y="7807"/>
                  </a:lnTo>
                  <a:cubicBezTo>
                    <a:pt x="1414" y="7786"/>
                    <a:pt x="1434" y="7807"/>
                    <a:pt x="1434" y="7807"/>
                  </a:cubicBezTo>
                  <a:cubicBezTo>
                    <a:pt x="1455" y="7807"/>
                    <a:pt x="1475" y="7786"/>
                    <a:pt x="1475" y="7786"/>
                  </a:cubicBezTo>
                  <a:lnTo>
                    <a:pt x="1496" y="7786"/>
                  </a:lnTo>
                  <a:cubicBezTo>
                    <a:pt x="1516" y="7786"/>
                    <a:pt x="1516" y="7766"/>
                    <a:pt x="1516" y="7766"/>
                  </a:cubicBezTo>
                  <a:cubicBezTo>
                    <a:pt x="1516" y="7746"/>
                    <a:pt x="1516" y="7746"/>
                    <a:pt x="1516" y="7746"/>
                  </a:cubicBezTo>
                  <a:cubicBezTo>
                    <a:pt x="1496" y="7746"/>
                    <a:pt x="1496" y="7746"/>
                    <a:pt x="1496" y="7746"/>
                  </a:cubicBezTo>
                  <a:cubicBezTo>
                    <a:pt x="1475" y="7746"/>
                    <a:pt x="1455" y="7746"/>
                    <a:pt x="1455" y="7766"/>
                  </a:cubicBezTo>
                  <a:cubicBezTo>
                    <a:pt x="1434" y="7766"/>
                    <a:pt x="1434" y="7766"/>
                    <a:pt x="1434" y="7766"/>
                  </a:cubicBezTo>
                  <a:cubicBezTo>
                    <a:pt x="1414" y="7786"/>
                    <a:pt x="1393" y="7766"/>
                    <a:pt x="1373" y="7766"/>
                  </a:cubicBezTo>
                  <a:lnTo>
                    <a:pt x="1352" y="7766"/>
                  </a:lnTo>
                  <a:lnTo>
                    <a:pt x="1352" y="7746"/>
                  </a:lnTo>
                  <a:cubicBezTo>
                    <a:pt x="1352" y="7725"/>
                    <a:pt x="1352" y="7704"/>
                    <a:pt x="1352" y="7704"/>
                  </a:cubicBezTo>
                  <a:cubicBezTo>
                    <a:pt x="1352" y="7684"/>
                    <a:pt x="1373" y="7684"/>
                    <a:pt x="1373" y="7664"/>
                  </a:cubicBezTo>
                  <a:lnTo>
                    <a:pt x="1393" y="7643"/>
                  </a:lnTo>
                  <a:cubicBezTo>
                    <a:pt x="1414" y="7622"/>
                    <a:pt x="1434" y="7622"/>
                    <a:pt x="1434" y="7602"/>
                  </a:cubicBezTo>
                  <a:cubicBezTo>
                    <a:pt x="1455" y="7602"/>
                    <a:pt x="1475" y="7602"/>
                    <a:pt x="1475" y="7602"/>
                  </a:cubicBezTo>
                  <a:lnTo>
                    <a:pt x="1496" y="7582"/>
                  </a:lnTo>
                  <a:cubicBezTo>
                    <a:pt x="1516" y="7582"/>
                    <a:pt x="1537" y="7582"/>
                    <a:pt x="1557" y="7582"/>
                  </a:cubicBezTo>
                  <a:lnTo>
                    <a:pt x="1578" y="7582"/>
                  </a:lnTo>
                  <a:cubicBezTo>
                    <a:pt x="1598" y="7582"/>
                    <a:pt x="1598" y="7561"/>
                    <a:pt x="1619" y="7561"/>
                  </a:cubicBezTo>
                  <a:cubicBezTo>
                    <a:pt x="1619" y="7561"/>
                    <a:pt x="1619" y="7540"/>
                    <a:pt x="1619" y="7520"/>
                  </a:cubicBezTo>
                  <a:lnTo>
                    <a:pt x="1619" y="7500"/>
                  </a:lnTo>
                  <a:cubicBezTo>
                    <a:pt x="1598" y="7479"/>
                    <a:pt x="1598" y="7458"/>
                    <a:pt x="1598" y="7438"/>
                  </a:cubicBezTo>
                  <a:lnTo>
                    <a:pt x="1578" y="7418"/>
                  </a:lnTo>
                  <a:lnTo>
                    <a:pt x="1578" y="7376"/>
                  </a:lnTo>
                  <a:lnTo>
                    <a:pt x="1578" y="7356"/>
                  </a:lnTo>
                  <a:cubicBezTo>
                    <a:pt x="1598" y="7336"/>
                    <a:pt x="1598" y="7315"/>
                    <a:pt x="1598" y="7315"/>
                  </a:cubicBezTo>
                  <a:lnTo>
                    <a:pt x="1619" y="7315"/>
                  </a:lnTo>
                  <a:cubicBezTo>
                    <a:pt x="1639" y="7294"/>
                    <a:pt x="1639" y="7294"/>
                    <a:pt x="1639" y="7294"/>
                  </a:cubicBezTo>
                  <a:cubicBezTo>
                    <a:pt x="1639" y="7274"/>
                    <a:pt x="1639" y="7254"/>
                    <a:pt x="1639" y="7254"/>
                  </a:cubicBezTo>
                  <a:cubicBezTo>
                    <a:pt x="1619" y="7254"/>
                    <a:pt x="1619" y="7233"/>
                    <a:pt x="1619" y="7233"/>
                  </a:cubicBezTo>
                  <a:cubicBezTo>
                    <a:pt x="1598" y="7233"/>
                    <a:pt x="1578" y="7233"/>
                    <a:pt x="1578" y="7233"/>
                  </a:cubicBezTo>
                  <a:cubicBezTo>
                    <a:pt x="1557" y="7233"/>
                    <a:pt x="1557" y="7212"/>
                    <a:pt x="1557" y="7192"/>
                  </a:cubicBezTo>
                  <a:lnTo>
                    <a:pt x="1537" y="7192"/>
                  </a:lnTo>
                  <a:cubicBezTo>
                    <a:pt x="1516" y="7192"/>
                    <a:pt x="1496" y="7192"/>
                    <a:pt x="1475" y="7172"/>
                  </a:cubicBezTo>
                  <a:cubicBezTo>
                    <a:pt x="1475" y="7172"/>
                    <a:pt x="1475" y="7130"/>
                    <a:pt x="1455" y="7130"/>
                  </a:cubicBezTo>
                  <a:lnTo>
                    <a:pt x="1434" y="7130"/>
                  </a:lnTo>
                  <a:cubicBezTo>
                    <a:pt x="1414" y="7130"/>
                    <a:pt x="1393" y="7110"/>
                    <a:pt x="1393" y="7130"/>
                  </a:cubicBezTo>
                  <a:cubicBezTo>
                    <a:pt x="1373" y="7130"/>
                    <a:pt x="1373" y="7130"/>
                    <a:pt x="1373" y="7130"/>
                  </a:cubicBezTo>
                  <a:cubicBezTo>
                    <a:pt x="1373" y="7151"/>
                    <a:pt x="1352" y="7130"/>
                    <a:pt x="1332" y="7130"/>
                  </a:cubicBezTo>
                  <a:lnTo>
                    <a:pt x="1332" y="7110"/>
                  </a:lnTo>
                  <a:cubicBezTo>
                    <a:pt x="1311" y="7110"/>
                    <a:pt x="1311" y="7090"/>
                    <a:pt x="1311" y="7090"/>
                  </a:cubicBezTo>
                  <a:cubicBezTo>
                    <a:pt x="1291" y="7090"/>
                    <a:pt x="1291" y="7069"/>
                    <a:pt x="1291" y="7049"/>
                  </a:cubicBezTo>
                  <a:lnTo>
                    <a:pt x="1271" y="7028"/>
                  </a:lnTo>
                  <a:cubicBezTo>
                    <a:pt x="1250" y="7028"/>
                    <a:pt x="1250" y="7028"/>
                    <a:pt x="1229" y="7028"/>
                  </a:cubicBezTo>
                  <a:cubicBezTo>
                    <a:pt x="1229" y="7028"/>
                    <a:pt x="1209" y="7049"/>
                    <a:pt x="1189" y="7049"/>
                  </a:cubicBezTo>
                  <a:cubicBezTo>
                    <a:pt x="1189" y="7049"/>
                    <a:pt x="1147" y="7049"/>
                    <a:pt x="1147" y="7028"/>
                  </a:cubicBezTo>
                  <a:cubicBezTo>
                    <a:pt x="1127" y="7028"/>
                    <a:pt x="1107" y="7028"/>
                    <a:pt x="1107" y="7028"/>
                  </a:cubicBezTo>
                  <a:cubicBezTo>
                    <a:pt x="1086" y="7028"/>
                    <a:pt x="1065" y="7028"/>
                    <a:pt x="1065" y="7028"/>
                  </a:cubicBezTo>
                  <a:cubicBezTo>
                    <a:pt x="1045" y="7008"/>
                    <a:pt x="1045" y="7008"/>
                    <a:pt x="1025" y="7008"/>
                  </a:cubicBezTo>
                  <a:cubicBezTo>
                    <a:pt x="1025" y="7008"/>
                    <a:pt x="1004" y="6988"/>
                    <a:pt x="983" y="6988"/>
                  </a:cubicBezTo>
                  <a:cubicBezTo>
                    <a:pt x="983" y="6967"/>
                    <a:pt x="983" y="6926"/>
                    <a:pt x="983" y="6926"/>
                  </a:cubicBezTo>
                  <a:cubicBezTo>
                    <a:pt x="983" y="6906"/>
                    <a:pt x="983" y="6906"/>
                    <a:pt x="983" y="6906"/>
                  </a:cubicBezTo>
                  <a:cubicBezTo>
                    <a:pt x="983" y="6885"/>
                    <a:pt x="963" y="6864"/>
                    <a:pt x="943" y="6864"/>
                  </a:cubicBezTo>
                  <a:cubicBezTo>
                    <a:pt x="943" y="6864"/>
                    <a:pt x="901" y="6844"/>
                    <a:pt x="881" y="6844"/>
                  </a:cubicBezTo>
                  <a:cubicBezTo>
                    <a:pt x="861" y="6844"/>
                    <a:pt x="840" y="6824"/>
                    <a:pt x="840" y="6824"/>
                  </a:cubicBezTo>
                  <a:lnTo>
                    <a:pt x="840" y="6803"/>
                  </a:lnTo>
                  <a:cubicBezTo>
                    <a:pt x="819" y="6782"/>
                    <a:pt x="840" y="6762"/>
                    <a:pt x="840" y="6762"/>
                  </a:cubicBezTo>
                  <a:cubicBezTo>
                    <a:pt x="840" y="6742"/>
                    <a:pt x="840" y="6721"/>
                    <a:pt x="840" y="6721"/>
                  </a:cubicBezTo>
                  <a:cubicBezTo>
                    <a:pt x="840" y="6700"/>
                    <a:pt x="840" y="6700"/>
                    <a:pt x="840" y="6700"/>
                  </a:cubicBezTo>
                  <a:cubicBezTo>
                    <a:pt x="840" y="6680"/>
                    <a:pt x="819" y="6680"/>
                    <a:pt x="819" y="6680"/>
                  </a:cubicBezTo>
                  <a:cubicBezTo>
                    <a:pt x="819" y="6660"/>
                    <a:pt x="819" y="6660"/>
                    <a:pt x="819" y="6639"/>
                  </a:cubicBezTo>
                  <a:cubicBezTo>
                    <a:pt x="819" y="6639"/>
                    <a:pt x="799" y="6618"/>
                    <a:pt x="799" y="6598"/>
                  </a:cubicBezTo>
                  <a:cubicBezTo>
                    <a:pt x="779" y="6598"/>
                    <a:pt x="758" y="6598"/>
                    <a:pt x="758" y="6598"/>
                  </a:cubicBezTo>
                  <a:cubicBezTo>
                    <a:pt x="737" y="6598"/>
                    <a:pt x="717" y="6598"/>
                    <a:pt x="697" y="6598"/>
                  </a:cubicBezTo>
                  <a:lnTo>
                    <a:pt x="676" y="6618"/>
                  </a:lnTo>
                  <a:cubicBezTo>
                    <a:pt x="655" y="6618"/>
                    <a:pt x="655" y="6618"/>
                    <a:pt x="635" y="6598"/>
                  </a:cubicBezTo>
                  <a:lnTo>
                    <a:pt x="594" y="6598"/>
                  </a:lnTo>
                  <a:cubicBezTo>
                    <a:pt x="574" y="6598"/>
                    <a:pt x="574" y="6598"/>
                    <a:pt x="553" y="6598"/>
                  </a:cubicBezTo>
                  <a:cubicBezTo>
                    <a:pt x="553" y="6598"/>
                    <a:pt x="533" y="6618"/>
                    <a:pt x="513" y="6618"/>
                  </a:cubicBezTo>
                  <a:lnTo>
                    <a:pt x="492" y="6618"/>
                  </a:lnTo>
                  <a:cubicBezTo>
                    <a:pt x="492" y="6618"/>
                    <a:pt x="471" y="6639"/>
                    <a:pt x="471" y="6618"/>
                  </a:cubicBezTo>
                  <a:cubicBezTo>
                    <a:pt x="451" y="6618"/>
                    <a:pt x="451" y="6557"/>
                    <a:pt x="451" y="6536"/>
                  </a:cubicBezTo>
                  <a:lnTo>
                    <a:pt x="451" y="6516"/>
                  </a:lnTo>
                  <a:cubicBezTo>
                    <a:pt x="451" y="6496"/>
                    <a:pt x="451" y="6475"/>
                    <a:pt x="451" y="6475"/>
                  </a:cubicBezTo>
                  <a:lnTo>
                    <a:pt x="451" y="6454"/>
                  </a:lnTo>
                  <a:cubicBezTo>
                    <a:pt x="451" y="6434"/>
                    <a:pt x="451" y="6414"/>
                    <a:pt x="451" y="6393"/>
                  </a:cubicBezTo>
                  <a:cubicBezTo>
                    <a:pt x="471" y="6393"/>
                    <a:pt x="471" y="6393"/>
                    <a:pt x="492" y="6373"/>
                  </a:cubicBezTo>
                  <a:cubicBezTo>
                    <a:pt x="513" y="6373"/>
                    <a:pt x="533" y="6373"/>
                    <a:pt x="553" y="6373"/>
                  </a:cubicBezTo>
                  <a:cubicBezTo>
                    <a:pt x="553" y="6373"/>
                    <a:pt x="574" y="6373"/>
                    <a:pt x="594" y="6373"/>
                  </a:cubicBezTo>
                  <a:cubicBezTo>
                    <a:pt x="594" y="6373"/>
                    <a:pt x="635" y="6373"/>
                    <a:pt x="635" y="6352"/>
                  </a:cubicBezTo>
                  <a:lnTo>
                    <a:pt x="635" y="6311"/>
                  </a:lnTo>
                  <a:cubicBezTo>
                    <a:pt x="635" y="6291"/>
                    <a:pt x="635" y="6270"/>
                    <a:pt x="635" y="6270"/>
                  </a:cubicBezTo>
                  <a:cubicBezTo>
                    <a:pt x="635" y="6250"/>
                    <a:pt x="615" y="6250"/>
                    <a:pt x="615" y="6229"/>
                  </a:cubicBezTo>
                  <a:cubicBezTo>
                    <a:pt x="594" y="6229"/>
                    <a:pt x="574" y="6229"/>
                    <a:pt x="574" y="6229"/>
                  </a:cubicBezTo>
                  <a:cubicBezTo>
                    <a:pt x="553" y="6229"/>
                    <a:pt x="533" y="6229"/>
                    <a:pt x="533" y="6209"/>
                  </a:cubicBezTo>
                  <a:cubicBezTo>
                    <a:pt x="533" y="6209"/>
                    <a:pt x="513" y="6188"/>
                    <a:pt x="513" y="6168"/>
                  </a:cubicBezTo>
                  <a:cubicBezTo>
                    <a:pt x="513" y="6147"/>
                    <a:pt x="513" y="6127"/>
                    <a:pt x="513" y="6127"/>
                  </a:cubicBezTo>
                  <a:cubicBezTo>
                    <a:pt x="513" y="6106"/>
                    <a:pt x="513" y="6086"/>
                    <a:pt x="513" y="6086"/>
                  </a:cubicBezTo>
                  <a:cubicBezTo>
                    <a:pt x="513" y="6065"/>
                    <a:pt x="513" y="6065"/>
                    <a:pt x="492" y="6045"/>
                  </a:cubicBezTo>
                  <a:lnTo>
                    <a:pt x="492" y="6045"/>
                  </a:lnTo>
                  <a:cubicBezTo>
                    <a:pt x="471" y="6024"/>
                    <a:pt x="451" y="6045"/>
                    <a:pt x="451" y="6045"/>
                  </a:cubicBezTo>
                  <a:cubicBezTo>
                    <a:pt x="451" y="6045"/>
                    <a:pt x="431" y="6045"/>
                    <a:pt x="431" y="6024"/>
                  </a:cubicBezTo>
                  <a:cubicBezTo>
                    <a:pt x="431" y="6024"/>
                    <a:pt x="431" y="6004"/>
                    <a:pt x="410" y="5983"/>
                  </a:cubicBezTo>
                  <a:cubicBezTo>
                    <a:pt x="410" y="5983"/>
                    <a:pt x="410" y="5963"/>
                    <a:pt x="431" y="5942"/>
                  </a:cubicBezTo>
                  <a:cubicBezTo>
                    <a:pt x="431" y="5942"/>
                    <a:pt x="431" y="5922"/>
                    <a:pt x="431" y="5901"/>
                  </a:cubicBezTo>
                  <a:cubicBezTo>
                    <a:pt x="431" y="5901"/>
                    <a:pt x="451" y="5881"/>
                    <a:pt x="451" y="5860"/>
                  </a:cubicBezTo>
                  <a:lnTo>
                    <a:pt x="431" y="5840"/>
                  </a:lnTo>
                  <a:cubicBezTo>
                    <a:pt x="410" y="5819"/>
                    <a:pt x="389" y="5819"/>
                    <a:pt x="389" y="5819"/>
                  </a:cubicBezTo>
                  <a:cubicBezTo>
                    <a:pt x="369" y="5819"/>
                    <a:pt x="349" y="5799"/>
                    <a:pt x="328" y="5799"/>
                  </a:cubicBezTo>
                  <a:cubicBezTo>
                    <a:pt x="307" y="5799"/>
                    <a:pt x="307" y="5799"/>
                    <a:pt x="287" y="5799"/>
                  </a:cubicBezTo>
                  <a:lnTo>
                    <a:pt x="267" y="5819"/>
                  </a:lnTo>
                  <a:cubicBezTo>
                    <a:pt x="246" y="5819"/>
                    <a:pt x="246" y="5819"/>
                    <a:pt x="225" y="5819"/>
                  </a:cubicBezTo>
                  <a:cubicBezTo>
                    <a:pt x="225" y="5799"/>
                    <a:pt x="225" y="5799"/>
                    <a:pt x="225" y="5778"/>
                  </a:cubicBezTo>
                  <a:cubicBezTo>
                    <a:pt x="225" y="5778"/>
                    <a:pt x="225" y="5758"/>
                    <a:pt x="205" y="5758"/>
                  </a:cubicBezTo>
                  <a:lnTo>
                    <a:pt x="205" y="5737"/>
                  </a:lnTo>
                  <a:lnTo>
                    <a:pt x="185" y="5717"/>
                  </a:lnTo>
                  <a:cubicBezTo>
                    <a:pt x="185" y="5737"/>
                    <a:pt x="185" y="5737"/>
                    <a:pt x="164" y="5737"/>
                  </a:cubicBezTo>
                  <a:cubicBezTo>
                    <a:pt x="164" y="5758"/>
                    <a:pt x="143" y="5737"/>
                    <a:pt x="143" y="5737"/>
                  </a:cubicBezTo>
                  <a:lnTo>
                    <a:pt x="123" y="5717"/>
                  </a:lnTo>
                  <a:cubicBezTo>
                    <a:pt x="103" y="5717"/>
                    <a:pt x="103" y="5696"/>
                    <a:pt x="103" y="5696"/>
                  </a:cubicBezTo>
                  <a:cubicBezTo>
                    <a:pt x="82" y="5696"/>
                    <a:pt x="61" y="5676"/>
                    <a:pt x="61" y="5676"/>
                  </a:cubicBezTo>
                  <a:lnTo>
                    <a:pt x="61" y="5655"/>
                  </a:lnTo>
                  <a:cubicBezTo>
                    <a:pt x="61" y="5635"/>
                    <a:pt x="82" y="5615"/>
                    <a:pt x="82" y="5615"/>
                  </a:cubicBezTo>
                  <a:cubicBezTo>
                    <a:pt x="82" y="5594"/>
                    <a:pt x="61" y="5573"/>
                    <a:pt x="61" y="5573"/>
                  </a:cubicBezTo>
                  <a:cubicBezTo>
                    <a:pt x="61" y="5553"/>
                    <a:pt x="41" y="5553"/>
                    <a:pt x="41" y="5553"/>
                  </a:cubicBezTo>
                  <a:cubicBezTo>
                    <a:pt x="21" y="5533"/>
                    <a:pt x="21" y="5512"/>
                    <a:pt x="21" y="5512"/>
                  </a:cubicBezTo>
                  <a:cubicBezTo>
                    <a:pt x="21" y="5491"/>
                    <a:pt x="21" y="5491"/>
                    <a:pt x="41" y="5471"/>
                  </a:cubicBezTo>
                  <a:lnTo>
                    <a:pt x="41" y="5451"/>
                  </a:lnTo>
                  <a:cubicBezTo>
                    <a:pt x="41" y="5430"/>
                    <a:pt x="41" y="5409"/>
                    <a:pt x="41" y="5389"/>
                  </a:cubicBezTo>
                  <a:lnTo>
                    <a:pt x="21" y="5369"/>
                  </a:lnTo>
                  <a:cubicBezTo>
                    <a:pt x="0" y="5348"/>
                    <a:pt x="21" y="5327"/>
                    <a:pt x="21" y="5327"/>
                  </a:cubicBezTo>
                  <a:lnTo>
                    <a:pt x="41" y="5307"/>
                  </a:lnTo>
                  <a:cubicBezTo>
                    <a:pt x="41" y="5307"/>
                    <a:pt x="41" y="5307"/>
                    <a:pt x="61" y="5307"/>
                  </a:cubicBezTo>
                  <a:cubicBezTo>
                    <a:pt x="61" y="5307"/>
                    <a:pt x="61" y="5307"/>
                    <a:pt x="82" y="5307"/>
                  </a:cubicBezTo>
                  <a:lnTo>
                    <a:pt x="103" y="5307"/>
                  </a:lnTo>
                  <a:lnTo>
                    <a:pt x="103" y="5287"/>
                  </a:lnTo>
                  <a:cubicBezTo>
                    <a:pt x="103" y="5287"/>
                    <a:pt x="103" y="5266"/>
                    <a:pt x="82" y="5245"/>
                  </a:cubicBezTo>
                  <a:cubicBezTo>
                    <a:pt x="82" y="5245"/>
                    <a:pt x="82" y="5245"/>
                    <a:pt x="61" y="5245"/>
                  </a:cubicBezTo>
                  <a:lnTo>
                    <a:pt x="61" y="5245"/>
                  </a:lnTo>
                  <a:cubicBezTo>
                    <a:pt x="41" y="5245"/>
                    <a:pt x="41" y="5245"/>
                    <a:pt x="41" y="5245"/>
                  </a:cubicBezTo>
                  <a:cubicBezTo>
                    <a:pt x="41" y="5225"/>
                    <a:pt x="41" y="5225"/>
                    <a:pt x="41" y="5205"/>
                  </a:cubicBezTo>
                  <a:lnTo>
                    <a:pt x="41" y="5184"/>
                  </a:lnTo>
                  <a:cubicBezTo>
                    <a:pt x="61" y="5184"/>
                    <a:pt x="61" y="5163"/>
                    <a:pt x="61" y="5163"/>
                  </a:cubicBezTo>
                  <a:lnTo>
                    <a:pt x="82" y="5143"/>
                  </a:lnTo>
                  <a:lnTo>
                    <a:pt x="82" y="5123"/>
                  </a:lnTo>
                  <a:cubicBezTo>
                    <a:pt x="82" y="5102"/>
                    <a:pt x="61" y="5081"/>
                    <a:pt x="61" y="5081"/>
                  </a:cubicBezTo>
                  <a:lnTo>
                    <a:pt x="61" y="5061"/>
                  </a:lnTo>
                  <a:cubicBezTo>
                    <a:pt x="82" y="5041"/>
                    <a:pt x="82" y="5041"/>
                    <a:pt x="82" y="5020"/>
                  </a:cubicBezTo>
                  <a:cubicBezTo>
                    <a:pt x="103" y="5020"/>
                    <a:pt x="103" y="5000"/>
                    <a:pt x="103" y="5000"/>
                  </a:cubicBezTo>
                  <a:cubicBezTo>
                    <a:pt x="103" y="4979"/>
                    <a:pt x="103" y="4959"/>
                    <a:pt x="103" y="4939"/>
                  </a:cubicBezTo>
                  <a:cubicBezTo>
                    <a:pt x="103" y="4939"/>
                    <a:pt x="103" y="4939"/>
                    <a:pt x="103" y="4918"/>
                  </a:cubicBezTo>
                  <a:lnTo>
                    <a:pt x="103" y="4897"/>
                  </a:lnTo>
                  <a:cubicBezTo>
                    <a:pt x="103" y="4897"/>
                    <a:pt x="103" y="4877"/>
                    <a:pt x="123" y="4877"/>
                  </a:cubicBezTo>
                  <a:lnTo>
                    <a:pt x="123" y="4877"/>
                  </a:lnTo>
                  <a:cubicBezTo>
                    <a:pt x="143" y="4897"/>
                    <a:pt x="143" y="4897"/>
                    <a:pt x="143" y="4897"/>
                  </a:cubicBezTo>
                  <a:cubicBezTo>
                    <a:pt x="143" y="4897"/>
                    <a:pt x="164" y="4897"/>
                    <a:pt x="164" y="4877"/>
                  </a:cubicBezTo>
                  <a:lnTo>
                    <a:pt x="164" y="4877"/>
                  </a:lnTo>
                  <a:cubicBezTo>
                    <a:pt x="164" y="4857"/>
                    <a:pt x="185" y="4857"/>
                    <a:pt x="185" y="4857"/>
                  </a:cubicBezTo>
                  <a:lnTo>
                    <a:pt x="205" y="4877"/>
                  </a:lnTo>
                  <a:cubicBezTo>
                    <a:pt x="225" y="4877"/>
                    <a:pt x="225" y="4857"/>
                    <a:pt x="246" y="4857"/>
                  </a:cubicBezTo>
                  <a:cubicBezTo>
                    <a:pt x="246" y="4857"/>
                    <a:pt x="246" y="4836"/>
                    <a:pt x="267" y="4836"/>
                  </a:cubicBezTo>
                  <a:cubicBezTo>
                    <a:pt x="267" y="4836"/>
                    <a:pt x="287" y="4836"/>
                    <a:pt x="307" y="4836"/>
                  </a:cubicBezTo>
                  <a:cubicBezTo>
                    <a:pt x="307" y="4836"/>
                    <a:pt x="307" y="4857"/>
                    <a:pt x="328" y="4857"/>
                  </a:cubicBezTo>
                  <a:cubicBezTo>
                    <a:pt x="328" y="4857"/>
                    <a:pt x="369" y="4857"/>
                    <a:pt x="389" y="4857"/>
                  </a:cubicBezTo>
                  <a:cubicBezTo>
                    <a:pt x="389" y="4857"/>
                    <a:pt x="410" y="4857"/>
                    <a:pt x="410" y="4836"/>
                  </a:cubicBezTo>
                  <a:cubicBezTo>
                    <a:pt x="410" y="4836"/>
                    <a:pt x="410" y="4836"/>
                    <a:pt x="410" y="4815"/>
                  </a:cubicBezTo>
                  <a:cubicBezTo>
                    <a:pt x="389" y="4815"/>
                    <a:pt x="369" y="4815"/>
                    <a:pt x="349" y="4795"/>
                  </a:cubicBezTo>
                  <a:lnTo>
                    <a:pt x="349" y="4775"/>
                  </a:lnTo>
                  <a:lnTo>
                    <a:pt x="328" y="4775"/>
                  </a:lnTo>
                  <a:cubicBezTo>
                    <a:pt x="328" y="4754"/>
                    <a:pt x="307" y="4754"/>
                    <a:pt x="287" y="4754"/>
                  </a:cubicBezTo>
                  <a:cubicBezTo>
                    <a:pt x="287" y="4775"/>
                    <a:pt x="287" y="4775"/>
                    <a:pt x="267" y="4775"/>
                  </a:cubicBezTo>
                  <a:lnTo>
                    <a:pt x="246" y="4775"/>
                  </a:lnTo>
                  <a:cubicBezTo>
                    <a:pt x="246" y="4775"/>
                    <a:pt x="225" y="4754"/>
                    <a:pt x="205" y="4754"/>
                  </a:cubicBezTo>
                  <a:lnTo>
                    <a:pt x="185" y="4733"/>
                  </a:lnTo>
                  <a:lnTo>
                    <a:pt x="164" y="4713"/>
                  </a:lnTo>
                  <a:lnTo>
                    <a:pt x="185" y="4713"/>
                  </a:lnTo>
                  <a:lnTo>
                    <a:pt x="205" y="4693"/>
                  </a:lnTo>
                  <a:lnTo>
                    <a:pt x="185" y="4693"/>
                  </a:lnTo>
                  <a:lnTo>
                    <a:pt x="205" y="4693"/>
                  </a:lnTo>
                  <a:lnTo>
                    <a:pt x="205" y="4672"/>
                  </a:lnTo>
                  <a:lnTo>
                    <a:pt x="205" y="4651"/>
                  </a:lnTo>
                  <a:lnTo>
                    <a:pt x="185" y="4631"/>
                  </a:lnTo>
                  <a:lnTo>
                    <a:pt x="164" y="4651"/>
                  </a:lnTo>
                  <a:cubicBezTo>
                    <a:pt x="143" y="4651"/>
                    <a:pt x="143" y="4672"/>
                    <a:pt x="143" y="4672"/>
                  </a:cubicBezTo>
                  <a:cubicBezTo>
                    <a:pt x="123" y="4672"/>
                    <a:pt x="123" y="4672"/>
                    <a:pt x="123" y="4672"/>
                  </a:cubicBezTo>
                  <a:cubicBezTo>
                    <a:pt x="103" y="4672"/>
                    <a:pt x="82" y="4693"/>
                    <a:pt x="82" y="4672"/>
                  </a:cubicBezTo>
                  <a:cubicBezTo>
                    <a:pt x="82" y="4672"/>
                    <a:pt x="82" y="4672"/>
                    <a:pt x="82" y="4651"/>
                  </a:cubicBezTo>
                  <a:lnTo>
                    <a:pt x="103" y="4631"/>
                  </a:lnTo>
                  <a:cubicBezTo>
                    <a:pt x="123" y="4631"/>
                    <a:pt x="123" y="4611"/>
                    <a:pt x="143" y="4611"/>
                  </a:cubicBezTo>
                  <a:lnTo>
                    <a:pt x="164" y="4590"/>
                  </a:lnTo>
                  <a:cubicBezTo>
                    <a:pt x="185" y="4569"/>
                    <a:pt x="185" y="4569"/>
                    <a:pt x="205" y="4549"/>
                  </a:cubicBezTo>
                  <a:cubicBezTo>
                    <a:pt x="205" y="4549"/>
                    <a:pt x="225" y="4529"/>
                    <a:pt x="246" y="4508"/>
                  </a:cubicBezTo>
                  <a:lnTo>
                    <a:pt x="267" y="4487"/>
                  </a:lnTo>
                  <a:cubicBezTo>
                    <a:pt x="287" y="4467"/>
                    <a:pt x="307" y="4447"/>
                    <a:pt x="328" y="4447"/>
                  </a:cubicBezTo>
                  <a:cubicBezTo>
                    <a:pt x="328" y="4426"/>
                    <a:pt x="349" y="4405"/>
                    <a:pt x="349" y="4385"/>
                  </a:cubicBezTo>
                  <a:cubicBezTo>
                    <a:pt x="369" y="4385"/>
                    <a:pt x="410" y="4365"/>
                    <a:pt x="410" y="4344"/>
                  </a:cubicBezTo>
                  <a:cubicBezTo>
                    <a:pt x="431" y="4323"/>
                    <a:pt x="451" y="4303"/>
                    <a:pt x="471" y="4283"/>
                  </a:cubicBezTo>
                  <a:cubicBezTo>
                    <a:pt x="492" y="4262"/>
                    <a:pt x="513" y="4242"/>
                    <a:pt x="513" y="4221"/>
                  </a:cubicBezTo>
                  <a:cubicBezTo>
                    <a:pt x="533" y="4201"/>
                    <a:pt x="533" y="4180"/>
                    <a:pt x="553" y="4180"/>
                  </a:cubicBezTo>
                  <a:cubicBezTo>
                    <a:pt x="553" y="4160"/>
                    <a:pt x="574" y="4139"/>
                    <a:pt x="574" y="4119"/>
                  </a:cubicBezTo>
                  <a:lnTo>
                    <a:pt x="594" y="4098"/>
                  </a:lnTo>
                  <a:cubicBezTo>
                    <a:pt x="594" y="4078"/>
                    <a:pt x="574" y="4078"/>
                    <a:pt x="574" y="4057"/>
                  </a:cubicBezTo>
                  <a:cubicBezTo>
                    <a:pt x="574" y="4037"/>
                    <a:pt x="533" y="4016"/>
                    <a:pt x="533" y="3996"/>
                  </a:cubicBezTo>
                  <a:cubicBezTo>
                    <a:pt x="513" y="3996"/>
                    <a:pt x="492" y="3975"/>
                    <a:pt x="492" y="3955"/>
                  </a:cubicBezTo>
                  <a:cubicBezTo>
                    <a:pt x="492" y="3955"/>
                    <a:pt x="451" y="3934"/>
                    <a:pt x="451" y="3914"/>
                  </a:cubicBezTo>
                  <a:cubicBezTo>
                    <a:pt x="451" y="3914"/>
                    <a:pt x="431" y="3893"/>
                    <a:pt x="431" y="3873"/>
                  </a:cubicBezTo>
                  <a:cubicBezTo>
                    <a:pt x="431" y="3873"/>
                    <a:pt x="451" y="3852"/>
                    <a:pt x="451" y="3832"/>
                  </a:cubicBezTo>
                  <a:lnTo>
                    <a:pt x="471" y="3811"/>
                  </a:lnTo>
                  <a:cubicBezTo>
                    <a:pt x="471" y="3791"/>
                    <a:pt x="492" y="3770"/>
                    <a:pt x="492" y="3770"/>
                  </a:cubicBezTo>
                  <a:cubicBezTo>
                    <a:pt x="492" y="3750"/>
                    <a:pt x="471" y="3750"/>
                    <a:pt x="451" y="3729"/>
                  </a:cubicBezTo>
                  <a:cubicBezTo>
                    <a:pt x="451" y="3729"/>
                    <a:pt x="451" y="3729"/>
                    <a:pt x="451" y="3709"/>
                  </a:cubicBezTo>
                  <a:lnTo>
                    <a:pt x="431" y="3688"/>
                  </a:lnTo>
                  <a:cubicBezTo>
                    <a:pt x="451" y="3688"/>
                    <a:pt x="451" y="3668"/>
                    <a:pt x="451" y="3668"/>
                  </a:cubicBezTo>
                  <a:cubicBezTo>
                    <a:pt x="451" y="3647"/>
                    <a:pt x="451" y="3647"/>
                    <a:pt x="431" y="3647"/>
                  </a:cubicBezTo>
                  <a:cubicBezTo>
                    <a:pt x="431" y="3627"/>
                    <a:pt x="410" y="3627"/>
                    <a:pt x="410" y="3627"/>
                  </a:cubicBezTo>
                  <a:cubicBezTo>
                    <a:pt x="410" y="3627"/>
                    <a:pt x="410" y="3606"/>
                    <a:pt x="410" y="3586"/>
                  </a:cubicBezTo>
                  <a:lnTo>
                    <a:pt x="431" y="3566"/>
                  </a:lnTo>
                  <a:cubicBezTo>
                    <a:pt x="431" y="3566"/>
                    <a:pt x="431" y="3545"/>
                    <a:pt x="451" y="3524"/>
                  </a:cubicBezTo>
                  <a:cubicBezTo>
                    <a:pt x="451" y="3524"/>
                    <a:pt x="431" y="3504"/>
                    <a:pt x="431" y="3484"/>
                  </a:cubicBezTo>
                  <a:lnTo>
                    <a:pt x="431" y="3442"/>
                  </a:lnTo>
                  <a:cubicBezTo>
                    <a:pt x="451" y="3422"/>
                    <a:pt x="451" y="3402"/>
                    <a:pt x="451" y="3402"/>
                  </a:cubicBezTo>
                  <a:cubicBezTo>
                    <a:pt x="471" y="3402"/>
                    <a:pt x="492" y="3381"/>
                    <a:pt x="492" y="3381"/>
                  </a:cubicBezTo>
                  <a:cubicBezTo>
                    <a:pt x="492" y="3360"/>
                    <a:pt x="492" y="3340"/>
                    <a:pt x="492" y="3320"/>
                  </a:cubicBezTo>
                  <a:cubicBezTo>
                    <a:pt x="471" y="3320"/>
                    <a:pt x="471" y="3299"/>
                    <a:pt x="471" y="3278"/>
                  </a:cubicBezTo>
                  <a:cubicBezTo>
                    <a:pt x="451" y="3258"/>
                    <a:pt x="451" y="3217"/>
                    <a:pt x="431" y="3217"/>
                  </a:cubicBezTo>
                  <a:cubicBezTo>
                    <a:pt x="431" y="3196"/>
                    <a:pt x="410" y="3176"/>
                    <a:pt x="410" y="3156"/>
                  </a:cubicBezTo>
                  <a:cubicBezTo>
                    <a:pt x="410" y="3135"/>
                    <a:pt x="389" y="3114"/>
                    <a:pt x="389" y="3094"/>
                  </a:cubicBezTo>
                  <a:cubicBezTo>
                    <a:pt x="389" y="3094"/>
                    <a:pt x="389" y="3074"/>
                    <a:pt x="410" y="3053"/>
                  </a:cubicBezTo>
                  <a:cubicBezTo>
                    <a:pt x="410" y="3053"/>
                    <a:pt x="431" y="3032"/>
                    <a:pt x="431" y="3012"/>
                  </a:cubicBezTo>
                  <a:cubicBezTo>
                    <a:pt x="451" y="2992"/>
                    <a:pt x="471" y="2992"/>
                    <a:pt x="471" y="2971"/>
                  </a:cubicBezTo>
                  <a:cubicBezTo>
                    <a:pt x="492" y="2950"/>
                    <a:pt x="513" y="2930"/>
                    <a:pt x="492" y="2910"/>
                  </a:cubicBezTo>
                  <a:cubicBezTo>
                    <a:pt x="492" y="2890"/>
                    <a:pt x="471" y="2890"/>
                    <a:pt x="471" y="2869"/>
                  </a:cubicBezTo>
                  <a:cubicBezTo>
                    <a:pt x="451" y="2869"/>
                    <a:pt x="451" y="2848"/>
                    <a:pt x="451" y="2848"/>
                  </a:cubicBezTo>
                  <a:cubicBezTo>
                    <a:pt x="431" y="2848"/>
                    <a:pt x="431" y="2828"/>
                    <a:pt x="410" y="2828"/>
                  </a:cubicBezTo>
                  <a:cubicBezTo>
                    <a:pt x="410" y="2808"/>
                    <a:pt x="389" y="2828"/>
                    <a:pt x="389" y="2808"/>
                  </a:cubicBezTo>
                  <a:lnTo>
                    <a:pt x="369" y="2808"/>
                  </a:lnTo>
                  <a:cubicBezTo>
                    <a:pt x="349" y="2787"/>
                    <a:pt x="369" y="2766"/>
                    <a:pt x="369" y="2766"/>
                  </a:cubicBezTo>
                  <a:cubicBezTo>
                    <a:pt x="369" y="2746"/>
                    <a:pt x="369" y="2746"/>
                    <a:pt x="369" y="2726"/>
                  </a:cubicBezTo>
                  <a:lnTo>
                    <a:pt x="369" y="2705"/>
                  </a:lnTo>
                  <a:lnTo>
                    <a:pt x="389" y="2684"/>
                  </a:lnTo>
                  <a:cubicBezTo>
                    <a:pt x="389" y="2664"/>
                    <a:pt x="389" y="2664"/>
                    <a:pt x="389" y="2644"/>
                  </a:cubicBezTo>
                  <a:lnTo>
                    <a:pt x="369" y="2623"/>
                  </a:lnTo>
                  <a:cubicBezTo>
                    <a:pt x="369" y="2602"/>
                    <a:pt x="389" y="2602"/>
                    <a:pt x="389" y="2602"/>
                  </a:cubicBezTo>
                  <a:cubicBezTo>
                    <a:pt x="389" y="2582"/>
                    <a:pt x="410" y="2582"/>
                    <a:pt x="410" y="2582"/>
                  </a:cubicBezTo>
                  <a:cubicBezTo>
                    <a:pt x="431" y="2582"/>
                    <a:pt x="431" y="2582"/>
                    <a:pt x="431" y="2582"/>
                  </a:cubicBezTo>
                  <a:cubicBezTo>
                    <a:pt x="451" y="2582"/>
                    <a:pt x="471" y="2582"/>
                    <a:pt x="471" y="2582"/>
                  </a:cubicBezTo>
                  <a:cubicBezTo>
                    <a:pt x="492" y="2562"/>
                    <a:pt x="492" y="2541"/>
                    <a:pt x="492" y="2541"/>
                  </a:cubicBezTo>
                  <a:cubicBezTo>
                    <a:pt x="492" y="2520"/>
                    <a:pt x="513" y="2500"/>
                    <a:pt x="513" y="2500"/>
                  </a:cubicBezTo>
                  <a:cubicBezTo>
                    <a:pt x="533" y="2500"/>
                    <a:pt x="533" y="2480"/>
                    <a:pt x="553" y="2480"/>
                  </a:cubicBezTo>
                  <a:lnTo>
                    <a:pt x="574" y="2480"/>
                  </a:lnTo>
                  <a:cubicBezTo>
                    <a:pt x="574" y="2480"/>
                    <a:pt x="594" y="2480"/>
                    <a:pt x="615" y="2480"/>
                  </a:cubicBezTo>
                  <a:lnTo>
                    <a:pt x="615" y="2459"/>
                  </a:lnTo>
                  <a:cubicBezTo>
                    <a:pt x="635" y="2438"/>
                    <a:pt x="615" y="2418"/>
                    <a:pt x="615" y="2418"/>
                  </a:cubicBezTo>
                  <a:cubicBezTo>
                    <a:pt x="615" y="2398"/>
                    <a:pt x="635" y="2377"/>
                    <a:pt x="635" y="2377"/>
                  </a:cubicBezTo>
                  <a:lnTo>
                    <a:pt x="655" y="2377"/>
                  </a:lnTo>
                  <a:cubicBezTo>
                    <a:pt x="676" y="2377"/>
                    <a:pt x="697" y="2377"/>
                    <a:pt x="697" y="2377"/>
                  </a:cubicBezTo>
                  <a:cubicBezTo>
                    <a:pt x="697" y="2377"/>
                    <a:pt x="717" y="2377"/>
                    <a:pt x="717" y="2398"/>
                  </a:cubicBezTo>
                  <a:lnTo>
                    <a:pt x="717" y="2418"/>
                  </a:lnTo>
                  <a:lnTo>
                    <a:pt x="737" y="2418"/>
                  </a:lnTo>
                  <a:lnTo>
                    <a:pt x="737" y="2398"/>
                  </a:lnTo>
                  <a:cubicBezTo>
                    <a:pt x="737" y="2398"/>
                    <a:pt x="737" y="2398"/>
                    <a:pt x="737" y="2377"/>
                  </a:cubicBezTo>
                  <a:cubicBezTo>
                    <a:pt x="758" y="2377"/>
                    <a:pt x="758" y="2377"/>
                    <a:pt x="758" y="2377"/>
                  </a:cubicBezTo>
                  <a:cubicBezTo>
                    <a:pt x="758" y="2356"/>
                    <a:pt x="758" y="2356"/>
                    <a:pt x="758" y="2336"/>
                  </a:cubicBezTo>
                  <a:cubicBezTo>
                    <a:pt x="779" y="2336"/>
                    <a:pt x="799" y="2336"/>
                    <a:pt x="799" y="2336"/>
                  </a:cubicBezTo>
                  <a:lnTo>
                    <a:pt x="799" y="2336"/>
                  </a:lnTo>
                  <a:cubicBezTo>
                    <a:pt x="819" y="2356"/>
                    <a:pt x="819" y="2356"/>
                    <a:pt x="840" y="2356"/>
                  </a:cubicBezTo>
                  <a:cubicBezTo>
                    <a:pt x="840" y="2356"/>
                    <a:pt x="840" y="2377"/>
                    <a:pt x="861" y="2377"/>
                  </a:cubicBezTo>
                  <a:lnTo>
                    <a:pt x="881" y="2377"/>
                  </a:lnTo>
                  <a:lnTo>
                    <a:pt x="881" y="2398"/>
                  </a:lnTo>
                  <a:cubicBezTo>
                    <a:pt x="881" y="2398"/>
                    <a:pt x="881" y="2398"/>
                    <a:pt x="881" y="2418"/>
                  </a:cubicBezTo>
                  <a:lnTo>
                    <a:pt x="881" y="2438"/>
                  </a:lnTo>
                  <a:cubicBezTo>
                    <a:pt x="881" y="2438"/>
                    <a:pt x="861" y="2438"/>
                    <a:pt x="840" y="2438"/>
                  </a:cubicBezTo>
                  <a:lnTo>
                    <a:pt x="819" y="2418"/>
                  </a:lnTo>
                  <a:lnTo>
                    <a:pt x="799" y="2438"/>
                  </a:lnTo>
                  <a:lnTo>
                    <a:pt x="799" y="2438"/>
                  </a:lnTo>
                  <a:lnTo>
                    <a:pt x="819" y="2459"/>
                  </a:lnTo>
                  <a:lnTo>
                    <a:pt x="819" y="2480"/>
                  </a:lnTo>
                  <a:cubicBezTo>
                    <a:pt x="819" y="2500"/>
                    <a:pt x="840" y="2480"/>
                    <a:pt x="840" y="2480"/>
                  </a:cubicBezTo>
                  <a:lnTo>
                    <a:pt x="861" y="2480"/>
                  </a:lnTo>
                  <a:lnTo>
                    <a:pt x="881" y="2480"/>
                  </a:lnTo>
                  <a:lnTo>
                    <a:pt x="881" y="2500"/>
                  </a:lnTo>
                  <a:cubicBezTo>
                    <a:pt x="901" y="2500"/>
                    <a:pt x="901" y="2500"/>
                    <a:pt x="901" y="2500"/>
                  </a:cubicBezTo>
                  <a:lnTo>
                    <a:pt x="922" y="2500"/>
                  </a:lnTo>
                  <a:cubicBezTo>
                    <a:pt x="922" y="2500"/>
                    <a:pt x="922" y="2520"/>
                    <a:pt x="922" y="2541"/>
                  </a:cubicBezTo>
                  <a:cubicBezTo>
                    <a:pt x="922" y="2541"/>
                    <a:pt x="901" y="2541"/>
                    <a:pt x="901" y="2562"/>
                  </a:cubicBezTo>
                  <a:lnTo>
                    <a:pt x="901" y="2582"/>
                  </a:lnTo>
                  <a:cubicBezTo>
                    <a:pt x="922" y="2582"/>
                    <a:pt x="922" y="2562"/>
                    <a:pt x="922" y="2562"/>
                  </a:cubicBezTo>
                  <a:cubicBezTo>
                    <a:pt x="922" y="2562"/>
                    <a:pt x="943" y="2562"/>
                    <a:pt x="943" y="2541"/>
                  </a:cubicBezTo>
                  <a:cubicBezTo>
                    <a:pt x="943" y="2541"/>
                    <a:pt x="963" y="2541"/>
                    <a:pt x="963" y="2520"/>
                  </a:cubicBezTo>
                  <a:cubicBezTo>
                    <a:pt x="983" y="2520"/>
                    <a:pt x="1004" y="2520"/>
                    <a:pt x="1004" y="2520"/>
                  </a:cubicBezTo>
                  <a:cubicBezTo>
                    <a:pt x="1025" y="2520"/>
                    <a:pt x="1045" y="2541"/>
                    <a:pt x="1045" y="2541"/>
                  </a:cubicBezTo>
                  <a:cubicBezTo>
                    <a:pt x="1065" y="2541"/>
                    <a:pt x="1086" y="2520"/>
                    <a:pt x="1107" y="2520"/>
                  </a:cubicBezTo>
                  <a:cubicBezTo>
                    <a:pt x="1107" y="2520"/>
                    <a:pt x="1127" y="2541"/>
                    <a:pt x="1147" y="2541"/>
                  </a:cubicBezTo>
                  <a:cubicBezTo>
                    <a:pt x="1168" y="2541"/>
                    <a:pt x="1189" y="2562"/>
                    <a:pt x="1209" y="2562"/>
                  </a:cubicBezTo>
                  <a:cubicBezTo>
                    <a:pt x="1209" y="2562"/>
                    <a:pt x="1229" y="2582"/>
                    <a:pt x="1250" y="2582"/>
                  </a:cubicBezTo>
                  <a:lnTo>
                    <a:pt x="1271" y="2602"/>
                  </a:lnTo>
                  <a:cubicBezTo>
                    <a:pt x="1291" y="2602"/>
                    <a:pt x="1311" y="2623"/>
                    <a:pt x="1311" y="2623"/>
                  </a:cubicBezTo>
                  <a:cubicBezTo>
                    <a:pt x="1311" y="2644"/>
                    <a:pt x="1332" y="2644"/>
                    <a:pt x="1332" y="2664"/>
                  </a:cubicBezTo>
                  <a:cubicBezTo>
                    <a:pt x="1352" y="2664"/>
                    <a:pt x="1373" y="2664"/>
                    <a:pt x="1373" y="2684"/>
                  </a:cubicBezTo>
                  <a:cubicBezTo>
                    <a:pt x="1393" y="2684"/>
                    <a:pt x="1414" y="2726"/>
                    <a:pt x="1434" y="2726"/>
                  </a:cubicBezTo>
                  <a:cubicBezTo>
                    <a:pt x="1434" y="2746"/>
                    <a:pt x="1455" y="2766"/>
                    <a:pt x="1455" y="2766"/>
                  </a:cubicBezTo>
                  <a:cubicBezTo>
                    <a:pt x="1455" y="2766"/>
                    <a:pt x="1475" y="2766"/>
                    <a:pt x="1496" y="2787"/>
                  </a:cubicBezTo>
                  <a:cubicBezTo>
                    <a:pt x="1496" y="2787"/>
                    <a:pt x="1516" y="2787"/>
                    <a:pt x="1537" y="2787"/>
                  </a:cubicBezTo>
                  <a:cubicBezTo>
                    <a:pt x="1537" y="2787"/>
                    <a:pt x="1537" y="2787"/>
                    <a:pt x="1557" y="2787"/>
                  </a:cubicBezTo>
                  <a:cubicBezTo>
                    <a:pt x="1557" y="2787"/>
                    <a:pt x="1578" y="2787"/>
                    <a:pt x="1578" y="2808"/>
                  </a:cubicBezTo>
                  <a:cubicBezTo>
                    <a:pt x="1598" y="2808"/>
                    <a:pt x="1619" y="2808"/>
                    <a:pt x="1619" y="2808"/>
                  </a:cubicBezTo>
                  <a:lnTo>
                    <a:pt x="1639" y="2828"/>
                  </a:lnTo>
                  <a:cubicBezTo>
                    <a:pt x="1660" y="2828"/>
                    <a:pt x="1660" y="2848"/>
                    <a:pt x="1680" y="2848"/>
                  </a:cubicBezTo>
                  <a:lnTo>
                    <a:pt x="1701" y="2869"/>
                  </a:lnTo>
                  <a:lnTo>
                    <a:pt x="1721" y="2869"/>
                  </a:lnTo>
                  <a:cubicBezTo>
                    <a:pt x="1742" y="2869"/>
                    <a:pt x="1742" y="2890"/>
                    <a:pt x="1762" y="2890"/>
                  </a:cubicBezTo>
                  <a:cubicBezTo>
                    <a:pt x="1762" y="2910"/>
                    <a:pt x="1762" y="2930"/>
                    <a:pt x="1762" y="2930"/>
                  </a:cubicBezTo>
                  <a:lnTo>
                    <a:pt x="1783" y="2950"/>
                  </a:lnTo>
                  <a:cubicBezTo>
                    <a:pt x="1783" y="2971"/>
                    <a:pt x="1783" y="2992"/>
                    <a:pt x="1803" y="2992"/>
                  </a:cubicBezTo>
                  <a:cubicBezTo>
                    <a:pt x="1803" y="3012"/>
                    <a:pt x="1803" y="3032"/>
                    <a:pt x="1803" y="3053"/>
                  </a:cubicBezTo>
                  <a:lnTo>
                    <a:pt x="1824" y="3074"/>
                  </a:lnTo>
                  <a:cubicBezTo>
                    <a:pt x="1824" y="3094"/>
                    <a:pt x="1824" y="3094"/>
                    <a:pt x="1824" y="3114"/>
                  </a:cubicBezTo>
                  <a:cubicBezTo>
                    <a:pt x="1824" y="3114"/>
                    <a:pt x="1803" y="3114"/>
                    <a:pt x="1803" y="3135"/>
                  </a:cubicBezTo>
                  <a:cubicBezTo>
                    <a:pt x="1803" y="3135"/>
                    <a:pt x="1783" y="3156"/>
                    <a:pt x="1762" y="3156"/>
                  </a:cubicBezTo>
                  <a:cubicBezTo>
                    <a:pt x="1762" y="3176"/>
                    <a:pt x="1762" y="3196"/>
                    <a:pt x="1762" y="3196"/>
                  </a:cubicBezTo>
                  <a:cubicBezTo>
                    <a:pt x="1742" y="3217"/>
                    <a:pt x="1721" y="3217"/>
                    <a:pt x="1701" y="3238"/>
                  </a:cubicBezTo>
                  <a:cubicBezTo>
                    <a:pt x="1680" y="3238"/>
                    <a:pt x="1639" y="3258"/>
                    <a:pt x="1619" y="3278"/>
                  </a:cubicBezTo>
                  <a:cubicBezTo>
                    <a:pt x="1598" y="3278"/>
                    <a:pt x="1578" y="3299"/>
                    <a:pt x="1578" y="3299"/>
                  </a:cubicBezTo>
                  <a:cubicBezTo>
                    <a:pt x="1557" y="3299"/>
                    <a:pt x="1537" y="3320"/>
                    <a:pt x="1516" y="3320"/>
                  </a:cubicBezTo>
                  <a:lnTo>
                    <a:pt x="1475" y="3320"/>
                  </a:lnTo>
                  <a:cubicBezTo>
                    <a:pt x="1455" y="3320"/>
                    <a:pt x="1414" y="3299"/>
                    <a:pt x="1393" y="3299"/>
                  </a:cubicBezTo>
                  <a:cubicBezTo>
                    <a:pt x="1393" y="3278"/>
                    <a:pt x="1352" y="3278"/>
                    <a:pt x="1332" y="3278"/>
                  </a:cubicBezTo>
                  <a:cubicBezTo>
                    <a:pt x="1311" y="3278"/>
                    <a:pt x="1250" y="3258"/>
                    <a:pt x="1209" y="3258"/>
                  </a:cubicBezTo>
                  <a:cubicBezTo>
                    <a:pt x="1189" y="3258"/>
                    <a:pt x="1168" y="3238"/>
                    <a:pt x="1147" y="3238"/>
                  </a:cubicBezTo>
                  <a:cubicBezTo>
                    <a:pt x="1127" y="3238"/>
                    <a:pt x="1107" y="3217"/>
                    <a:pt x="1107" y="3217"/>
                  </a:cubicBezTo>
                  <a:lnTo>
                    <a:pt x="1086" y="3196"/>
                  </a:lnTo>
                  <a:cubicBezTo>
                    <a:pt x="1065" y="3196"/>
                    <a:pt x="1045" y="3196"/>
                    <a:pt x="1045" y="3196"/>
                  </a:cubicBezTo>
                  <a:cubicBezTo>
                    <a:pt x="1045" y="3196"/>
                    <a:pt x="1025" y="3196"/>
                    <a:pt x="1004" y="3196"/>
                  </a:cubicBezTo>
                  <a:cubicBezTo>
                    <a:pt x="1004" y="3196"/>
                    <a:pt x="1004" y="3176"/>
                    <a:pt x="983" y="3176"/>
                  </a:cubicBezTo>
                  <a:lnTo>
                    <a:pt x="983" y="3156"/>
                  </a:lnTo>
                  <a:lnTo>
                    <a:pt x="963" y="3135"/>
                  </a:lnTo>
                  <a:cubicBezTo>
                    <a:pt x="963" y="3135"/>
                    <a:pt x="943" y="3135"/>
                    <a:pt x="922" y="3135"/>
                  </a:cubicBezTo>
                  <a:cubicBezTo>
                    <a:pt x="922" y="3135"/>
                    <a:pt x="901" y="3135"/>
                    <a:pt x="901" y="3114"/>
                  </a:cubicBezTo>
                  <a:cubicBezTo>
                    <a:pt x="901" y="3114"/>
                    <a:pt x="901" y="3114"/>
                    <a:pt x="881" y="3094"/>
                  </a:cubicBezTo>
                  <a:lnTo>
                    <a:pt x="861" y="3094"/>
                  </a:lnTo>
                  <a:cubicBezTo>
                    <a:pt x="861" y="3094"/>
                    <a:pt x="840" y="3094"/>
                    <a:pt x="840" y="3074"/>
                  </a:cubicBezTo>
                  <a:cubicBezTo>
                    <a:pt x="840" y="3074"/>
                    <a:pt x="819" y="3074"/>
                    <a:pt x="819" y="3053"/>
                  </a:cubicBezTo>
                  <a:lnTo>
                    <a:pt x="799" y="3053"/>
                  </a:lnTo>
                  <a:lnTo>
                    <a:pt x="779" y="3053"/>
                  </a:lnTo>
                  <a:lnTo>
                    <a:pt x="779" y="3074"/>
                  </a:lnTo>
                  <a:lnTo>
                    <a:pt x="799" y="3094"/>
                  </a:lnTo>
                  <a:lnTo>
                    <a:pt x="799" y="3114"/>
                  </a:lnTo>
                  <a:lnTo>
                    <a:pt x="799" y="3135"/>
                  </a:lnTo>
                  <a:lnTo>
                    <a:pt x="799" y="3156"/>
                  </a:lnTo>
                  <a:lnTo>
                    <a:pt x="779" y="3156"/>
                  </a:lnTo>
                  <a:lnTo>
                    <a:pt x="758" y="3156"/>
                  </a:lnTo>
                  <a:lnTo>
                    <a:pt x="758" y="3176"/>
                  </a:lnTo>
                  <a:cubicBezTo>
                    <a:pt x="758" y="3176"/>
                    <a:pt x="779" y="3176"/>
                    <a:pt x="779" y="3196"/>
                  </a:cubicBezTo>
                  <a:cubicBezTo>
                    <a:pt x="779" y="3196"/>
                    <a:pt x="799" y="3196"/>
                    <a:pt x="799" y="3176"/>
                  </a:cubicBezTo>
                  <a:lnTo>
                    <a:pt x="819" y="3176"/>
                  </a:lnTo>
                  <a:cubicBezTo>
                    <a:pt x="819" y="3176"/>
                    <a:pt x="840" y="3176"/>
                    <a:pt x="861" y="3176"/>
                  </a:cubicBezTo>
                  <a:cubicBezTo>
                    <a:pt x="861" y="3196"/>
                    <a:pt x="881" y="3196"/>
                    <a:pt x="881" y="3196"/>
                  </a:cubicBezTo>
                  <a:cubicBezTo>
                    <a:pt x="881" y="3217"/>
                    <a:pt x="881" y="3217"/>
                    <a:pt x="881" y="3238"/>
                  </a:cubicBezTo>
                  <a:lnTo>
                    <a:pt x="840" y="3238"/>
                  </a:lnTo>
                  <a:cubicBezTo>
                    <a:pt x="840" y="3238"/>
                    <a:pt x="819" y="3258"/>
                    <a:pt x="840" y="3278"/>
                  </a:cubicBezTo>
                  <a:lnTo>
                    <a:pt x="861" y="3278"/>
                  </a:lnTo>
                  <a:cubicBezTo>
                    <a:pt x="861" y="3258"/>
                    <a:pt x="881" y="3258"/>
                    <a:pt x="881" y="3258"/>
                  </a:cubicBezTo>
                  <a:cubicBezTo>
                    <a:pt x="901" y="3258"/>
                    <a:pt x="922" y="3278"/>
                    <a:pt x="922" y="3278"/>
                  </a:cubicBezTo>
                  <a:cubicBezTo>
                    <a:pt x="943" y="3278"/>
                    <a:pt x="963" y="3299"/>
                    <a:pt x="963" y="3299"/>
                  </a:cubicBezTo>
                  <a:cubicBezTo>
                    <a:pt x="983" y="3320"/>
                    <a:pt x="983" y="3320"/>
                    <a:pt x="983" y="3340"/>
                  </a:cubicBezTo>
                  <a:cubicBezTo>
                    <a:pt x="1004" y="3340"/>
                    <a:pt x="1025" y="3340"/>
                    <a:pt x="1025" y="3360"/>
                  </a:cubicBezTo>
                  <a:lnTo>
                    <a:pt x="1045" y="3381"/>
                  </a:lnTo>
                  <a:lnTo>
                    <a:pt x="1025" y="3402"/>
                  </a:lnTo>
                  <a:cubicBezTo>
                    <a:pt x="1025" y="3422"/>
                    <a:pt x="1025" y="3442"/>
                    <a:pt x="1025" y="3463"/>
                  </a:cubicBezTo>
                  <a:cubicBezTo>
                    <a:pt x="1025" y="3463"/>
                    <a:pt x="1004" y="3484"/>
                    <a:pt x="983" y="3484"/>
                  </a:cubicBezTo>
                  <a:lnTo>
                    <a:pt x="983" y="3504"/>
                  </a:lnTo>
                  <a:cubicBezTo>
                    <a:pt x="983" y="3524"/>
                    <a:pt x="1025" y="3524"/>
                    <a:pt x="1025" y="3545"/>
                  </a:cubicBezTo>
                  <a:cubicBezTo>
                    <a:pt x="1025" y="3545"/>
                    <a:pt x="1025" y="3586"/>
                    <a:pt x="1025" y="3606"/>
                  </a:cubicBezTo>
                  <a:cubicBezTo>
                    <a:pt x="1025" y="3627"/>
                    <a:pt x="1025" y="3647"/>
                    <a:pt x="1045" y="3647"/>
                  </a:cubicBezTo>
                  <a:cubicBezTo>
                    <a:pt x="1045" y="3668"/>
                    <a:pt x="1045" y="3688"/>
                    <a:pt x="1065" y="3688"/>
                  </a:cubicBezTo>
                  <a:cubicBezTo>
                    <a:pt x="1065" y="3709"/>
                    <a:pt x="1065" y="3729"/>
                    <a:pt x="1086" y="3729"/>
                  </a:cubicBezTo>
                  <a:lnTo>
                    <a:pt x="1107" y="3750"/>
                  </a:lnTo>
                  <a:lnTo>
                    <a:pt x="1147" y="3750"/>
                  </a:lnTo>
                  <a:lnTo>
                    <a:pt x="1168" y="3770"/>
                  </a:lnTo>
                  <a:lnTo>
                    <a:pt x="1189" y="3791"/>
                  </a:lnTo>
                  <a:lnTo>
                    <a:pt x="1209" y="3811"/>
                  </a:lnTo>
                  <a:cubicBezTo>
                    <a:pt x="1229" y="3811"/>
                    <a:pt x="1229" y="3832"/>
                    <a:pt x="1250" y="3832"/>
                  </a:cubicBezTo>
                  <a:cubicBezTo>
                    <a:pt x="1271" y="3832"/>
                    <a:pt x="1291" y="3852"/>
                    <a:pt x="1311" y="3852"/>
                  </a:cubicBezTo>
                  <a:cubicBezTo>
                    <a:pt x="1311" y="3852"/>
                    <a:pt x="1332" y="3852"/>
                    <a:pt x="1352" y="3852"/>
                  </a:cubicBezTo>
                  <a:cubicBezTo>
                    <a:pt x="1373" y="3852"/>
                    <a:pt x="1393" y="3852"/>
                    <a:pt x="1393" y="3832"/>
                  </a:cubicBezTo>
                  <a:lnTo>
                    <a:pt x="1393" y="3811"/>
                  </a:lnTo>
                  <a:cubicBezTo>
                    <a:pt x="1414" y="3811"/>
                    <a:pt x="1414" y="3791"/>
                    <a:pt x="1414" y="3791"/>
                  </a:cubicBezTo>
                  <a:cubicBezTo>
                    <a:pt x="1414" y="3770"/>
                    <a:pt x="1414" y="3770"/>
                    <a:pt x="1414" y="3770"/>
                  </a:cubicBezTo>
                  <a:cubicBezTo>
                    <a:pt x="1414" y="3750"/>
                    <a:pt x="1414" y="3750"/>
                    <a:pt x="1393" y="3750"/>
                  </a:cubicBezTo>
                  <a:cubicBezTo>
                    <a:pt x="1393" y="3750"/>
                    <a:pt x="1373" y="3750"/>
                    <a:pt x="1373" y="3729"/>
                  </a:cubicBezTo>
                  <a:lnTo>
                    <a:pt x="1373" y="3709"/>
                  </a:lnTo>
                  <a:cubicBezTo>
                    <a:pt x="1373" y="3688"/>
                    <a:pt x="1373" y="3688"/>
                    <a:pt x="1373" y="3688"/>
                  </a:cubicBezTo>
                  <a:cubicBezTo>
                    <a:pt x="1352" y="3668"/>
                    <a:pt x="1332" y="3668"/>
                    <a:pt x="1332" y="3668"/>
                  </a:cubicBezTo>
                  <a:cubicBezTo>
                    <a:pt x="1311" y="3668"/>
                    <a:pt x="1311" y="3668"/>
                    <a:pt x="1291" y="3668"/>
                  </a:cubicBezTo>
                  <a:lnTo>
                    <a:pt x="1271" y="3647"/>
                  </a:lnTo>
                  <a:lnTo>
                    <a:pt x="1250" y="3627"/>
                  </a:lnTo>
                  <a:cubicBezTo>
                    <a:pt x="1250" y="3606"/>
                    <a:pt x="1250" y="3586"/>
                    <a:pt x="1250" y="3586"/>
                  </a:cubicBezTo>
                  <a:lnTo>
                    <a:pt x="1250" y="3566"/>
                  </a:lnTo>
                  <a:lnTo>
                    <a:pt x="1271" y="3566"/>
                  </a:lnTo>
                  <a:lnTo>
                    <a:pt x="1271" y="3545"/>
                  </a:lnTo>
                  <a:cubicBezTo>
                    <a:pt x="1271" y="3545"/>
                    <a:pt x="1271" y="3524"/>
                    <a:pt x="1291" y="3524"/>
                  </a:cubicBezTo>
                  <a:cubicBezTo>
                    <a:pt x="1291" y="3524"/>
                    <a:pt x="1311" y="3524"/>
                    <a:pt x="1311" y="3545"/>
                  </a:cubicBezTo>
                  <a:cubicBezTo>
                    <a:pt x="1311" y="3545"/>
                    <a:pt x="1332" y="3545"/>
                    <a:pt x="1332" y="3566"/>
                  </a:cubicBezTo>
                  <a:cubicBezTo>
                    <a:pt x="1352" y="3566"/>
                    <a:pt x="1373" y="3566"/>
                    <a:pt x="1373" y="3566"/>
                  </a:cubicBezTo>
                  <a:cubicBezTo>
                    <a:pt x="1393" y="3586"/>
                    <a:pt x="1414" y="3586"/>
                    <a:pt x="1414" y="3586"/>
                  </a:cubicBezTo>
                  <a:cubicBezTo>
                    <a:pt x="1414" y="3586"/>
                    <a:pt x="1434" y="3586"/>
                    <a:pt x="1434" y="3606"/>
                  </a:cubicBezTo>
                  <a:lnTo>
                    <a:pt x="1434" y="3627"/>
                  </a:lnTo>
                  <a:lnTo>
                    <a:pt x="1434" y="3647"/>
                  </a:lnTo>
                  <a:lnTo>
                    <a:pt x="1455" y="3647"/>
                  </a:lnTo>
                  <a:lnTo>
                    <a:pt x="1475" y="3627"/>
                  </a:lnTo>
                  <a:lnTo>
                    <a:pt x="1496" y="3627"/>
                  </a:lnTo>
                  <a:cubicBezTo>
                    <a:pt x="1516" y="3627"/>
                    <a:pt x="1537" y="3627"/>
                    <a:pt x="1537" y="3627"/>
                  </a:cubicBezTo>
                  <a:cubicBezTo>
                    <a:pt x="1557" y="3647"/>
                    <a:pt x="1557" y="3647"/>
                    <a:pt x="1557" y="3668"/>
                  </a:cubicBezTo>
                  <a:cubicBezTo>
                    <a:pt x="1578" y="3668"/>
                    <a:pt x="1598" y="3688"/>
                    <a:pt x="1598" y="3688"/>
                  </a:cubicBezTo>
                  <a:lnTo>
                    <a:pt x="1619" y="3688"/>
                  </a:lnTo>
                  <a:cubicBezTo>
                    <a:pt x="1639" y="3668"/>
                    <a:pt x="1639" y="3647"/>
                    <a:pt x="1639" y="3647"/>
                  </a:cubicBezTo>
                  <a:cubicBezTo>
                    <a:pt x="1639" y="3647"/>
                    <a:pt x="1639" y="3627"/>
                    <a:pt x="1660" y="3627"/>
                  </a:cubicBezTo>
                  <a:lnTo>
                    <a:pt x="1680" y="3627"/>
                  </a:lnTo>
                  <a:lnTo>
                    <a:pt x="1701" y="3627"/>
                  </a:lnTo>
                  <a:cubicBezTo>
                    <a:pt x="1721" y="3606"/>
                    <a:pt x="1721" y="3606"/>
                    <a:pt x="1721" y="3586"/>
                  </a:cubicBezTo>
                  <a:lnTo>
                    <a:pt x="1721" y="3566"/>
                  </a:lnTo>
                  <a:cubicBezTo>
                    <a:pt x="1701" y="3545"/>
                    <a:pt x="1680" y="3545"/>
                    <a:pt x="1680" y="3524"/>
                  </a:cubicBezTo>
                  <a:cubicBezTo>
                    <a:pt x="1660" y="3524"/>
                    <a:pt x="1639" y="3524"/>
                    <a:pt x="1639" y="3504"/>
                  </a:cubicBezTo>
                  <a:lnTo>
                    <a:pt x="1639" y="3484"/>
                  </a:lnTo>
                  <a:cubicBezTo>
                    <a:pt x="1639" y="3463"/>
                    <a:pt x="1639" y="3463"/>
                    <a:pt x="1639" y="3442"/>
                  </a:cubicBezTo>
                  <a:lnTo>
                    <a:pt x="1639" y="3422"/>
                  </a:lnTo>
                  <a:cubicBezTo>
                    <a:pt x="1639" y="3402"/>
                    <a:pt x="1660" y="3402"/>
                    <a:pt x="1660" y="3402"/>
                  </a:cubicBezTo>
                  <a:cubicBezTo>
                    <a:pt x="1680" y="3402"/>
                    <a:pt x="1701" y="3402"/>
                    <a:pt x="1701" y="3402"/>
                  </a:cubicBezTo>
                  <a:cubicBezTo>
                    <a:pt x="1701" y="3381"/>
                    <a:pt x="1721" y="3381"/>
                    <a:pt x="1721" y="3381"/>
                  </a:cubicBezTo>
                  <a:cubicBezTo>
                    <a:pt x="1721" y="3381"/>
                    <a:pt x="1742" y="3360"/>
                    <a:pt x="1742" y="3340"/>
                  </a:cubicBezTo>
                  <a:cubicBezTo>
                    <a:pt x="1742" y="3340"/>
                    <a:pt x="1762" y="3320"/>
                    <a:pt x="1783" y="3320"/>
                  </a:cubicBezTo>
                  <a:lnTo>
                    <a:pt x="1824" y="3299"/>
                  </a:lnTo>
                  <a:cubicBezTo>
                    <a:pt x="1844" y="3278"/>
                    <a:pt x="1844" y="3258"/>
                    <a:pt x="1865" y="3238"/>
                  </a:cubicBezTo>
                  <a:lnTo>
                    <a:pt x="1885" y="3217"/>
                  </a:lnTo>
                  <a:cubicBezTo>
                    <a:pt x="1906" y="3217"/>
                    <a:pt x="1906" y="3196"/>
                    <a:pt x="1926" y="3196"/>
                  </a:cubicBezTo>
                  <a:lnTo>
                    <a:pt x="1947" y="3196"/>
                  </a:lnTo>
                  <a:cubicBezTo>
                    <a:pt x="1947" y="3196"/>
                    <a:pt x="1967" y="3217"/>
                    <a:pt x="1988" y="3217"/>
                  </a:cubicBezTo>
                  <a:cubicBezTo>
                    <a:pt x="1988" y="3217"/>
                    <a:pt x="2008" y="3217"/>
                    <a:pt x="2029" y="3217"/>
                  </a:cubicBezTo>
                  <a:cubicBezTo>
                    <a:pt x="2029" y="3217"/>
                    <a:pt x="2049" y="3217"/>
                    <a:pt x="2049" y="3238"/>
                  </a:cubicBezTo>
                  <a:lnTo>
                    <a:pt x="2049" y="3258"/>
                  </a:lnTo>
                  <a:cubicBezTo>
                    <a:pt x="2049" y="3258"/>
                    <a:pt x="2049" y="3258"/>
                    <a:pt x="2049" y="3278"/>
                  </a:cubicBezTo>
                  <a:cubicBezTo>
                    <a:pt x="2029" y="3278"/>
                    <a:pt x="2029" y="3299"/>
                    <a:pt x="2029" y="3299"/>
                  </a:cubicBezTo>
                  <a:lnTo>
                    <a:pt x="2049" y="3299"/>
                  </a:lnTo>
                  <a:cubicBezTo>
                    <a:pt x="2049" y="3299"/>
                    <a:pt x="2070" y="3299"/>
                    <a:pt x="2070" y="3278"/>
                  </a:cubicBezTo>
                  <a:lnTo>
                    <a:pt x="2070" y="3278"/>
                  </a:lnTo>
                  <a:cubicBezTo>
                    <a:pt x="2090" y="3278"/>
                    <a:pt x="2090" y="3278"/>
                    <a:pt x="2090" y="3278"/>
                  </a:cubicBezTo>
                  <a:cubicBezTo>
                    <a:pt x="2090" y="3299"/>
                    <a:pt x="2090" y="3299"/>
                    <a:pt x="2110" y="3320"/>
                  </a:cubicBezTo>
                  <a:lnTo>
                    <a:pt x="2110" y="3320"/>
                  </a:lnTo>
                  <a:cubicBezTo>
                    <a:pt x="2110" y="3340"/>
                    <a:pt x="2110" y="3340"/>
                    <a:pt x="2110" y="3340"/>
                  </a:cubicBezTo>
                  <a:cubicBezTo>
                    <a:pt x="2131" y="3340"/>
                    <a:pt x="2131" y="3320"/>
                    <a:pt x="2131" y="3320"/>
                  </a:cubicBezTo>
                  <a:cubicBezTo>
                    <a:pt x="2131" y="3299"/>
                    <a:pt x="2131" y="3278"/>
                    <a:pt x="2131" y="3278"/>
                  </a:cubicBezTo>
                  <a:cubicBezTo>
                    <a:pt x="2131" y="3278"/>
                    <a:pt x="2110" y="3258"/>
                    <a:pt x="2110" y="3238"/>
                  </a:cubicBezTo>
                  <a:lnTo>
                    <a:pt x="2110" y="3217"/>
                  </a:lnTo>
                  <a:cubicBezTo>
                    <a:pt x="2110" y="3217"/>
                    <a:pt x="2131" y="3196"/>
                    <a:pt x="2131" y="3176"/>
                  </a:cubicBezTo>
                  <a:lnTo>
                    <a:pt x="2152" y="3156"/>
                  </a:lnTo>
                  <a:cubicBezTo>
                    <a:pt x="2152" y="3135"/>
                    <a:pt x="2152" y="3135"/>
                    <a:pt x="2152" y="3114"/>
                  </a:cubicBezTo>
                  <a:cubicBezTo>
                    <a:pt x="2152" y="3114"/>
                    <a:pt x="2131" y="3094"/>
                    <a:pt x="2110" y="3074"/>
                  </a:cubicBezTo>
                  <a:cubicBezTo>
                    <a:pt x="2110" y="3074"/>
                    <a:pt x="2110" y="3053"/>
                    <a:pt x="2090" y="3053"/>
                  </a:cubicBezTo>
                  <a:cubicBezTo>
                    <a:pt x="2090" y="3032"/>
                    <a:pt x="2070" y="3032"/>
                    <a:pt x="2070" y="3032"/>
                  </a:cubicBezTo>
                  <a:cubicBezTo>
                    <a:pt x="2070" y="3032"/>
                    <a:pt x="2049" y="3032"/>
                    <a:pt x="2049" y="3012"/>
                  </a:cubicBezTo>
                  <a:cubicBezTo>
                    <a:pt x="2049" y="3012"/>
                    <a:pt x="2049" y="2992"/>
                    <a:pt x="2049" y="2971"/>
                  </a:cubicBezTo>
                  <a:lnTo>
                    <a:pt x="2070" y="2950"/>
                  </a:lnTo>
                  <a:cubicBezTo>
                    <a:pt x="2070" y="2930"/>
                    <a:pt x="2070" y="2910"/>
                    <a:pt x="2070" y="2890"/>
                  </a:cubicBezTo>
                  <a:cubicBezTo>
                    <a:pt x="2090" y="2890"/>
                    <a:pt x="2090" y="2890"/>
                    <a:pt x="2090" y="2890"/>
                  </a:cubicBezTo>
                  <a:cubicBezTo>
                    <a:pt x="2090" y="2869"/>
                    <a:pt x="2110" y="2848"/>
                    <a:pt x="2110" y="2848"/>
                  </a:cubicBezTo>
                  <a:cubicBezTo>
                    <a:pt x="2110" y="2848"/>
                    <a:pt x="2090" y="2828"/>
                    <a:pt x="2090" y="2808"/>
                  </a:cubicBezTo>
                  <a:lnTo>
                    <a:pt x="2090" y="2787"/>
                  </a:lnTo>
                  <a:cubicBezTo>
                    <a:pt x="2090" y="2766"/>
                    <a:pt x="2090" y="2746"/>
                    <a:pt x="2090" y="2726"/>
                  </a:cubicBezTo>
                  <a:lnTo>
                    <a:pt x="2070" y="2726"/>
                  </a:lnTo>
                  <a:cubicBezTo>
                    <a:pt x="2049" y="2705"/>
                    <a:pt x="2029" y="2705"/>
                    <a:pt x="2029" y="2705"/>
                  </a:cubicBezTo>
                  <a:cubicBezTo>
                    <a:pt x="2008" y="2705"/>
                    <a:pt x="2008" y="2684"/>
                    <a:pt x="1988" y="2684"/>
                  </a:cubicBezTo>
                  <a:cubicBezTo>
                    <a:pt x="1988" y="2684"/>
                    <a:pt x="1988" y="2684"/>
                    <a:pt x="1988" y="2664"/>
                  </a:cubicBezTo>
                  <a:cubicBezTo>
                    <a:pt x="1988" y="2664"/>
                    <a:pt x="1988" y="2664"/>
                    <a:pt x="1988" y="2644"/>
                  </a:cubicBezTo>
                  <a:lnTo>
                    <a:pt x="2008" y="2644"/>
                  </a:lnTo>
                  <a:cubicBezTo>
                    <a:pt x="2029" y="2644"/>
                    <a:pt x="2029" y="2644"/>
                    <a:pt x="2029" y="2664"/>
                  </a:cubicBezTo>
                  <a:cubicBezTo>
                    <a:pt x="2049" y="2664"/>
                    <a:pt x="2070" y="2664"/>
                    <a:pt x="2070" y="2684"/>
                  </a:cubicBezTo>
                  <a:cubicBezTo>
                    <a:pt x="2070" y="2684"/>
                    <a:pt x="2090" y="2684"/>
                    <a:pt x="2110" y="2684"/>
                  </a:cubicBezTo>
                  <a:lnTo>
                    <a:pt x="2152" y="2684"/>
                  </a:lnTo>
                  <a:cubicBezTo>
                    <a:pt x="2172" y="2684"/>
                    <a:pt x="2172" y="2664"/>
                    <a:pt x="2192" y="2664"/>
                  </a:cubicBezTo>
                  <a:lnTo>
                    <a:pt x="2213" y="2664"/>
                  </a:lnTo>
                  <a:cubicBezTo>
                    <a:pt x="2213" y="2664"/>
                    <a:pt x="2234" y="2664"/>
                    <a:pt x="2234" y="2684"/>
                  </a:cubicBezTo>
                  <a:cubicBezTo>
                    <a:pt x="2254" y="2684"/>
                    <a:pt x="2254" y="2684"/>
                    <a:pt x="2274" y="2705"/>
                  </a:cubicBezTo>
                  <a:lnTo>
                    <a:pt x="2295" y="2726"/>
                  </a:lnTo>
                  <a:cubicBezTo>
                    <a:pt x="2316" y="2726"/>
                    <a:pt x="2316" y="2746"/>
                    <a:pt x="2316" y="2746"/>
                  </a:cubicBezTo>
                  <a:cubicBezTo>
                    <a:pt x="2316" y="2766"/>
                    <a:pt x="2336" y="2766"/>
                    <a:pt x="2336" y="2766"/>
                  </a:cubicBezTo>
                  <a:cubicBezTo>
                    <a:pt x="2356" y="2766"/>
                    <a:pt x="2356" y="2787"/>
                    <a:pt x="2356" y="2787"/>
                  </a:cubicBezTo>
                  <a:cubicBezTo>
                    <a:pt x="2356" y="2808"/>
                    <a:pt x="2356" y="2808"/>
                    <a:pt x="2356" y="2828"/>
                  </a:cubicBezTo>
                  <a:cubicBezTo>
                    <a:pt x="2356" y="2828"/>
                    <a:pt x="2377" y="2828"/>
                    <a:pt x="2377" y="2848"/>
                  </a:cubicBezTo>
                  <a:lnTo>
                    <a:pt x="2377" y="2869"/>
                  </a:lnTo>
                  <a:lnTo>
                    <a:pt x="2356" y="2869"/>
                  </a:lnTo>
                  <a:lnTo>
                    <a:pt x="2336" y="2869"/>
                  </a:lnTo>
                  <a:cubicBezTo>
                    <a:pt x="2316" y="2869"/>
                    <a:pt x="2316" y="2869"/>
                    <a:pt x="2295" y="2869"/>
                  </a:cubicBezTo>
                  <a:cubicBezTo>
                    <a:pt x="2295" y="2869"/>
                    <a:pt x="2295" y="2890"/>
                    <a:pt x="2274" y="2890"/>
                  </a:cubicBezTo>
                  <a:lnTo>
                    <a:pt x="2254" y="2890"/>
                  </a:lnTo>
                  <a:cubicBezTo>
                    <a:pt x="2234" y="2890"/>
                    <a:pt x="2234" y="2910"/>
                    <a:pt x="2234" y="2930"/>
                  </a:cubicBezTo>
                  <a:cubicBezTo>
                    <a:pt x="2234" y="2930"/>
                    <a:pt x="2213" y="2930"/>
                    <a:pt x="2213" y="2950"/>
                  </a:cubicBezTo>
                  <a:lnTo>
                    <a:pt x="2192" y="2971"/>
                  </a:lnTo>
                  <a:cubicBezTo>
                    <a:pt x="2192" y="2971"/>
                    <a:pt x="2192" y="2992"/>
                    <a:pt x="2213" y="2992"/>
                  </a:cubicBezTo>
                  <a:cubicBezTo>
                    <a:pt x="2213" y="3012"/>
                    <a:pt x="2213" y="3012"/>
                    <a:pt x="2234" y="3012"/>
                  </a:cubicBezTo>
                  <a:lnTo>
                    <a:pt x="2254" y="3032"/>
                  </a:lnTo>
                  <a:cubicBezTo>
                    <a:pt x="2254" y="3053"/>
                    <a:pt x="2274" y="3074"/>
                    <a:pt x="2274" y="3074"/>
                  </a:cubicBezTo>
                  <a:cubicBezTo>
                    <a:pt x="2295" y="3074"/>
                    <a:pt x="2295" y="3114"/>
                    <a:pt x="2295" y="3114"/>
                  </a:cubicBezTo>
                  <a:lnTo>
                    <a:pt x="2316" y="3114"/>
                  </a:lnTo>
                  <a:cubicBezTo>
                    <a:pt x="2336" y="3135"/>
                    <a:pt x="2356" y="3114"/>
                    <a:pt x="2356" y="3114"/>
                  </a:cubicBezTo>
                  <a:cubicBezTo>
                    <a:pt x="2377" y="3114"/>
                    <a:pt x="2377" y="3135"/>
                    <a:pt x="2377" y="3135"/>
                  </a:cubicBezTo>
                  <a:cubicBezTo>
                    <a:pt x="2398" y="3135"/>
                    <a:pt x="2398" y="3135"/>
                    <a:pt x="2418" y="3135"/>
                  </a:cubicBezTo>
                  <a:cubicBezTo>
                    <a:pt x="2418" y="3135"/>
                    <a:pt x="2418" y="3114"/>
                    <a:pt x="2438" y="3114"/>
                  </a:cubicBezTo>
                  <a:lnTo>
                    <a:pt x="2459" y="3114"/>
                  </a:lnTo>
                  <a:cubicBezTo>
                    <a:pt x="2480" y="3114"/>
                    <a:pt x="2480" y="3114"/>
                    <a:pt x="2500" y="3114"/>
                  </a:cubicBezTo>
                  <a:cubicBezTo>
                    <a:pt x="2500" y="3094"/>
                    <a:pt x="2500" y="3094"/>
                    <a:pt x="2500" y="3074"/>
                  </a:cubicBezTo>
                  <a:cubicBezTo>
                    <a:pt x="2500" y="3074"/>
                    <a:pt x="2500" y="3074"/>
                    <a:pt x="2480" y="3053"/>
                  </a:cubicBezTo>
                  <a:lnTo>
                    <a:pt x="2480" y="3053"/>
                  </a:lnTo>
                  <a:cubicBezTo>
                    <a:pt x="2480" y="3032"/>
                    <a:pt x="2500" y="3032"/>
                    <a:pt x="2500" y="3012"/>
                  </a:cubicBezTo>
                  <a:cubicBezTo>
                    <a:pt x="2500" y="3012"/>
                    <a:pt x="2500" y="3012"/>
                    <a:pt x="2520" y="2992"/>
                  </a:cubicBezTo>
                  <a:cubicBezTo>
                    <a:pt x="2520" y="2992"/>
                    <a:pt x="2520" y="2971"/>
                    <a:pt x="2520" y="2950"/>
                  </a:cubicBezTo>
                  <a:lnTo>
                    <a:pt x="2520" y="2930"/>
                  </a:lnTo>
                  <a:cubicBezTo>
                    <a:pt x="2520" y="2930"/>
                    <a:pt x="2520" y="2910"/>
                    <a:pt x="2541" y="2910"/>
                  </a:cubicBezTo>
                  <a:lnTo>
                    <a:pt x="2562" y="2910"/>
                  </a:lnTo>
                  <a:cubicBezTo>
                    <a:pt x="2582" y="2910"/>
                    <a:pt x="2582" y="2910"/>
                    <a:pt x="2602" y="2910"/>
                  </a:cubicBezTo>
                  <a:lnTo>
                    <a:pt x="2623" y="2910"/>
                  </a:lnTo>
                  <a:lnTo>
                    <a:pt x="2623" y="2890"/>
                  </a:lnTo>
                  <a:lnTo>
                    <a:pt x="2623" y="2890"/>
                  </a:lnTo>
                  <a:cubicBezTo>
                    <a:pt x="2623" y="2869"/>
                    <a:pt x="2602" y="2869"/>
                    <a:pt x="2602" y="2848"/>
                  </a:cubicBezTo>
                  <a:lnTo>
                    <a:pt x="2602" y="2828"/>
                  </a:lnTo>
                  <a:lnTo>
                    <a:pt x="2623" y="2828"/>
                  </a:lnTo>
                  <a:cubicBezTo>
                    <a:pt x="2644" y="2828"/>
                    <a:pt x="2644" y="2848"/>
                    <a:pt x="2664" y="2848"/>
                  </a:cubicBezTo>
                  <a:lnTo>
                    <a:pt x="2684" y="2848"/>
                  </a:lnTo>
                  <a:cubicBezTo>
                    <a:pt x="2705" y="2848"/>
                    <a:pt x="2725" y="2848"/>
                    <a:pt x="2725" y="2848"/>
                  </a:cubicBezTo>
                  <a:lnTo>
                    <a:pt x="2746" y="2828"/>
                  </a:lnTo>
                  <a:cubicBezTo>
                    <a:pt x="2766" y="2808"/>
                    <a:pt x="2766" y="2787"/>
                    <a:pt x="2787" y="2787"/>
                  </a:cubicBezTo>
                  <a:cubicBezTo>
                    <a:pt x="2787" y="2766"/>
                    <a:pt x="2808" y="2766"/>
                    <a:pt x="2828" y="2746"/>
                  </a:cubicBezTo>
                  <a:lnTo>
                    <a:pt x="2848" y="2746"/>
                  </a:lnTo>
                  <a:cubicBezTo>
                    <a:pt x="2868" y="2726"/>
                    <a:pt x="2889" y="2726"/>
                    <a:pt x="2889" y="2726"/>
                  </a:cubicBezTo>
                  <a:cubicBezTo>
                    <a:pt x="2910" y="2726"/>
                    <a:pt x="2910" y="2726"/>
                    <a:pt x="2910" y="2726"/>
                  </a:cubicBezTo>
                  <a:cubicBezTo>
                    <a:pt x="2930" y="2726"/>
                    <a:pt x="2930" y="2705"/>
                    <a:pt x="2930" y="2705"/>
                  </a:cubicBezTo>
                  <a:cubicBezTo>
                    <a:pt x="2950" y="2705"/>
                    <a:pt x="2971" y="2705"/>
                    <a:pt x="2971" y="2705"/>
                  </a:cubicBezTo>
                  <a:lnTo>
                    <a:pt x="2992" y="2705"/>
                  </a:lnTo>
                  <a:cubicBezTo>
                    <a:pt x="3012" y="2705"/>
                    <a:pt x="3012" y="2726"/>
                    <a:pt x="3012" y="2726"/>
                  </a:cubicBezTo>
                  <a:cubicBezTo>
                    <a:pt x="3012" y="2746"/>
                    <a:pt x="3032" y="2746"/>
                    <a:pt x="3032" y="2746"/>
                  </a:cubicBezTo>
                  <a:lnTo>
                    <a:pt x="3053" y="2726"/>
                  </a:lnTo>
                  <a:lnTo>
                    <a:pt x="3053" y="2705"/>
                  </a:lnTo>
                  <a:lnTo>
                    <a:pt x="3032" y="2705"/>
                  </a:lnTo>
                  <a:cubicBezTo>
                    <a:pt x="3032" y="2705"/>
                    <a:pt x="3012" y="2705"/>
                    <a:pt x="3012" y="2684"/>
                  </a:cubicBezTo>
                  <a:cubicBezTo>
                    <a:pt x="3012" y="2684"/>
                    <a:pt x="3012" y="2684"/>
                    <a:pt x="3012" y="2664"/>
                  </a:cubicBezTo>
                  <a:cubicBezTo>
                    <a:pt x="3012" y="2664"/>
                    <a:pt x="3012" y="2664"/>
                    <a:pt x="3012" y="2644"/>
                  </a:cubicBezTo>
                  <a:cubicBezTo>
                    <a:pt x="3032" y="2644"/>
                    <a:pt x="3053" y="2644"/>
                    <a:pt x="3053" y="2644"/>
                  </a:cubicBezTo>
                  <a:lnTo>
                    <a:pt x="3074" y="2644"/>
                  </a:lnTo>
                  <a:cubicBezTo>
                    <a:pt x="3094" y="2644"/>
                    <a:pt x="3094" y="2623"/>
                    <a:pt x="3114" y="2623"/>
                  </a:cubicBezTo>
                  <a:cubicBezTo>
                    <a:pt x="3114" y="2602"/>
                    <a:pt x="3135" y="2602"/>
                    <a:pt x="3135" y="2582"/>
                  </a:cubicBezTo>
                  <a:cubicBezTo>
                    <a:pt x="3135" y="2582"/>
                    <a:pt x="3156" y="2562"/>
                    <a:pt x="3176" y="2562"/>
                  </a:cubicBezTo>
                  <a:lnTo>
                    <a:pt x="3196" y="2562"/>
                  </a:lnTo>
                  <a:lnTo>
                    <a:pt x="3217" y="2582"/>
                  </a:lnTo>
                  <a:lnTo>
                    <a:pt x="3196" y="2602"/>
                  </a:lnTo>
                  <a:lnTo>
                    <a:pt x="3176" y="2602"/>
                  </a:lnTo>
                  <a:lnTo>
                    <a:pt x="3156" y="2623"/>
                  </a:lnTo>
                  <a:cubicBezTo>
                    <a:pt x="3176" y="2623"/>
                    <a:pt x="3176" y="2623"/>
                    <a:pt x="3176" y="2644"/>
                  </a:cubicBezTo>
                  <a:cubicBezTo>
                    <a:pt x="3196" y="2644"/>
                    <a:pt x="3176" y="2664"/>
                    <a:pt x="3176" y="2684"/>
                  </a:cubicBezTo>
                  <a:cubicBezTo>
                    <a:pt x="3196" y="2684"/>
                    <a:pt x="3196" y="2705"/>
                    <a:pt x="3196" y="2726"/>
                  </a:cubicBezTo>
                  <a:lnTo>
                    <a:pt x="3176" y="2746"/>
                  </a:lnTo>
                  <a:lnTo>
                    <a:pt x="3156" y="2746"/>
                  </a:lnTo>
                  <a:lnTo>
                    <a:pt x="3156" y="2766"/>
                  </a:lnTo>
                  <a:lnTo>
                    <a:pt x="3176" y="2766"/>
                  </a:lnTo>
                  <a:lnTo>
                    <a:pt x="3196" y="2787"/>
                  </a:lnTo>
                  <a:cubicBezTo>
                    <a:pt x="3196" y="2787"/>
                    <a:pt x="3217" y="2787"/>
                    <a:pt x="3217" y="2766"/>
                  </a:cubicBezTo>
                  <a:cubicBezTo>
                    <a:pt x="3238" y="2766"/>
                    <a:pt x="3238" y="2766"/>
                    <a:pt x="3238" y="2766"/>
                  </a:cubicBezTo>
                  <a:cubicBezTo>
                    <a:pt x="3238" y="2746"/>
                    <a:pt x="3258" y="2766"/>
                    <a:pt x="3258" y="2766"/>
                  </a:cubicBezTo>
                  <a:cubicBezTo>
                    <a:pt x="3258" y="2766"/>
                    <a:pt x="3258" y="2787"/>
                    <a:pt x="3278" y="2787"/>
                  </a:cubicBezTo>
                  <a:lnTo>
                    <a:pt x="3278" y="2808"/>
                  </a:lnTo>
                  <a:cubicBezTo>
                    <a:pt x="3299" y="2808"/>
                    <a:pt x="3299" y="2787"/>
                    <a:pt x="3299" y="2787"/>
                  </a:cubicBezTo>
                  <a:cubicBezTo>
                    <a:pt x="3299" y="2766"/>
                    <a:pt x="3299" y="2766"/>
                    <a:pt x="3299" y="2746"/>
                  </a:cubicBezTo>
                  <a:cubicBezTo>
                    <a:pt x="3299" y="2746"/>
                    <a:pt x="3299" y="2746"/>
                    <a:pt x="3299" y="2726"/>
                  </a:cubicBezTo>
                  <a:cubicBezTo>
                    <a:pt x="3278" y="2726"/>
                    <a:pt x="3299" y="2705"/>
                    <a:pt x="3299" y="2705"/>
                  </a:cubicBezTo>
                  <a:lnTo>
                    <a:pt x="3299" y="2684"/>
                  </a:lnTo>
                  <a:cubicBezTo>
                    <a:pt x="3320" y="2684"/>
                    <a:pt x="3320" y="2684"/>
                    <a:pt x="3320" y="2664"/>
                  </a:cubicBezTo>
                  <a:cubicBezTo>
                    <a:pt x="3340" y="2664"/>
                    <a:pt x="3360" y="2684"/>
                    <a:pt x="3360" y="2664"/>
                  </a:cubicBezTo>
                  <a:lnTo>
                    <a:pt x="3381" y="2664"/>
                  </a:lnTo>
                  <a:cubicBezTo>
                    <a:pt x="3381" y="2664"/>
                    <a:pt x="3402" y="2664"/>
                    <a:pt x="3402" y="2644"/>
                  </a:cubicBezTo>
                  <a:cubicBezTo>
                    <a:pt x="3402" y="2644"/>
                    <a:pt x="3422" y="2644"/>
                    <a:pt x="3442" y="2644"/>
                  </a:cubicBezTo>
                  <a:cubicBezTo>
                    <a:pt x="3442" y="2644"/>
                    <a:pt x="3442" y="2664"/>
                    <a:pt x="3463" y="2664"/>
                  </a:cubicBezTo>
                  <a:cubicBezTo>
                    <a:pt x="3463" y="2664"/>
                    <a:pt x="3484" y="2664"/>
                    <a:pt x="3504" y="2664"/>
                  </a:cubicBezTo>
                  <a:cubicBezTo>
                    <a:pt x="3504" y="2684"/>
                    <a:pt x="3524" y="2664"/>
                    <a:pt x="3545" y="2664"/>
                  </a:cubicBezTo>
                  <a:lnTo>
                    <a:pt x="3566" y="2664"/>
                  </a:lnTo>
                  <a:cubicBezTo>
                    <a:pt x="3586" y="2644"/>
                    <a:pt x="3586" y="2644"/>
                    <a:pt x="3606" y="2623"/>
                  </a:cubicBezTo>
                  <a:cubicBezTo>
                    <a:pt x="3606" y="2623"/>
                    <a:pt x="3606" y="2602"/>
                    <a:pt x="3627" y="2602"/>
                  </a:cubicBezTo>
                  <a:cubicBezTo>
                    <a:pt x="3627" y="2602"/>
                    <a:pt x="3647" y="2602"/>
                    <a:pt x="3647" y="2582"/>
                  </a:cubicBezTo>
                  <a:cubicBezTo>
                    <a:pt x="3647" y="2582"/>
                    <a:pt x="3668" y="2582"/>
                    <a:pt x="3668" y="2562"/>
                  </a:cubicBezTo>
                  <a:cubicBezTo>
                    <a:pt x="3668" y="2562"/>
                    <a:pt x="3688" y="2562"/>
                    <a:pt x="3709" y="2562"/>
                  </a:cubicBezTo>
                  <a:lnTo>
                    <a:pt x="3729" y="2562"/>
                  </a:lnTo>
                  <a:cubicBezTo>
                    <a:pt x="3729" y="2562"/>
                    <a:pt x="3729" y="2562"/>
                    <a:pt x="3750" y="2582"/>
                  </a:cubicBezTo>
                  <a:lnTo>
                    <a:pt x="3750" y="2582"/>
                  </a:lnTo>
                  <a:cubicBezTo>
                    <a:pt x="3770" y="2582"/>
                    <a:pt x="3770" y="2602"/>
                    <a:pt x="3770" y="2602"/>
                  </a:cubicBezTo>
                  <a:lnTo>
                    <a:pt x="3770" y="2623"/>
                  </a:lnTo>
                  <a:cubicBezTo>
                    <a:pt x="3770" y="2644"/>
                    <a:pt x="3770" y="2644"/>
                    <a:pt x="3770" y="2644"/>
                  </a:cubicBezTo>
                  <a:cubicBezTo>
                    <a:pt x="3750" y="2644"/>
                    <a:pt x="3750" y="2644"/>
                    <a:pt x="3750" y="2644"/>
                  </a:cubicBezTo>
                  <a:cubicBezTo>
                    <a:pt x="3750" y="2644"/>
                    <a:pt x="3750" y="2644"/>
                    <a:pt x="3750" y="2664"/>
                  </a:cubicBezTo>
                  <a:cubicBezTo>
                    <a:pt x="3750" y="2664"/>
                    <a:pt x="3750" y="2664"/>
                    <a:pt x="3750" y="2684"/>
                  </a:cubicBezTo>
                  <a:cubicBezTo>
                    <a:pt x="3770" y="2684"/>
                    <a:pt x="3750" y="2705"/>
                    <a:pt x="3770" y="2705"/>
                  </a:cubicBezTo>
                  <a:lnTo>
                    <a:pt x="3791" y="2705"/>
                  </a:lnTo>
                  <a:cubicBezTo>
                    <a:pt x="3811" y="2705"/>
                    <a:pt x="3811" y="2684"/>
                    <a:pt x="3811" y="2684"/>
                  </a:cubicBezTo>
                  <a:cubicBezTo>
                    <a:pt x="3811" y="2664"/>
                    <a:pt x="3832" y="2664"/>
                    <a:pt x="3832" y="2644"/>
                  </a:cubicBezTo>
                  <a:lnTo>
                    <a:pt x="3811" y="2623"/>
                  </a:lnTo>
                  <a:cubicBezTo>
                    <a:pt x="3832" y="2623"/>
                    <a:pt x="3832" y="2602"/>
                    <a:pt x="3852" y="2602"/>
                  </a:cubicBezTo>
                  <a:cubicBezTo>
                    <a:pt x="3852" y="2602"/>
                    <a:pt x="3873" y="2623"/>
                    <a:pt x="3893" y="2623"/>
                  </a:cubicBezTo>
                  <a:lnTo>
                    <a:pt x="3914" y="2602"/>
                  </a:lnTo>
                  <a:cubicBezTo>
                    <a:pt x="3914" y="2602"/>
                    <a:pt x="3934" y="2582"/>
                    <a:pt x="3934" y="2562"/>
                  </a:cubicBezTo>
                  <a:lnTo>
                    <a:pt x="3934" y="2520"/>
                  </a:lnTo>
                  <a:cubicBezTo>
                    <a:pt x="3914" y="2520"/>
                    <a:pt x="3914" y="2520"/>
                    <a:pt x="3893" y="2520"/>
                  </a:cubicBezTo>
                  <a:lnTo>
                    <a:pt x="3893" y="2500"/>
                  </a:lnTo>
                  <a:cubicBezTo>
                    <a:pt x="3893" y="2480"/>
                    <a:pt x="3893" y="2480"/>
                    <a:pt x="3893" y="2459"/>
                  </a:cubicBezTo>
                  <a:lnTo>
                    <a:pt x="3873" y="2438"/>
                  </a:lnTo>
                  <a:cubicBezTo>
                    <a:pt x="3873" y="2438"/>
                    <a:pt x="3852" y="2418"/>
                    <a:pt x="3852" y="2398"/>
                  </a:cubicBezTo>
                  <a:lnTo>
                    <a:pt x="3873" y="2377"/>
                  </a:lnTo>
                  <a:lnTo>
                    <a:pt x="3893" y="2356"/>
                  </a:lnTo>
                  <a:cubicBezTo>
                    <a:pt x="3893" y="2356"/>
                    <a:pt x="3893" y="2336"/>
                    <a:pt x="3914" y="2336"/>
                  </a:cubicBezTo>
                  <a:cubicBezTo>
                    <a:pt x="3914" y="2316"/>
                    <a:pt x="3934" y="2316"/>
                    <a:pt x="3954" y="2316"/>
                  </a:cubicBezTo>
                  <a:lnTo>
                    <a:pt x="3975" y="2336"/>
                  </a:lnTo>
                  <a:cubicBezTo>
                    <a:pt x="3996" y="2336"/>
                    <a:pt x="3996" y="2336"/>
                    <a:pt x="4016" y="2336"/>
                  </a:cubicBezTo>
                  <a:cubicBezTo>
                    <a:pt x="4016" y="2336"/>
                    <a:pt x="4037" y="2336"/>
                    <a:pt x="4057" y="2336"/>
                  </a:cubicBezTo>
                  <a:cubicBezTo>
                    <a:pt x="4057" y="2356"/>
                    <a:pt x="4098" y="2356"/>
                    <a:pt x="4119" y="2356"/>
                  </a:cubicBezTo>
                  <a:cubicBezTo>
                    <a:pt x="4119" y="2356"/>
                    <a:pt x="4160" y="2356"/>
                    <a:pt x="4180" y="2356"/>
                  </a:cubicBezTo>
                  <a:cubicBezTo>
                    <a:pt x="4180" y="2377"/>
                    <a:pt x="4221" y="2377"/>
                    <a:pt x="4242" y="2398"/>
                  </a:cubicBezTo>
                  <a:cubicBezTo>
                    <a:pt x="4242" y="2398"/>
                    <a:pt x="4262" y="2418"/>
                    <a:pt x="4283" y="2418"/>
                  </a:cubicBezTo>
                  <a:cubicBezTo>
                    <a:pt x="4283" y="2418"/>
                    <a:pt x="4303" y="2438"/>
                    <a:pt x="4324" y="2438"/>
                  </a:cubicBezTo>
                  <a:cubicBezTo>
                    <a:pt x="4324" y="2438"/>
                    <a:pt x="4365" y="2459"/>
                    <a:pt x="4385" y="2459"/>
                  </a:cubicBezTo>
                  <a:lnTo>
                    <a:pt x="4405" y="2459"/>
                  </a:lnTo>
                  <a:lnTo>
                    <a:pt x="4426" y="2480"/>
                  </a:lnTo>
                  <a:cubicBezTo>
                    <a:pt x="4447" y="2500"/>
                    <a:pt x="4487" y="2500"/>
                    <a:pt x="4487" y="2520"/>
                  </a:cubicBezTo>
                  <a:cubicBezTo>
                    <a:pt x="4508" y="2520"/>
                    <a:pt x="4529" y="2520"/>
                    <a:pt x="4529" y="2520"/>
                  </a:cubicBezTo>
                  <a:cubicBezTo>
                    <a:pt x="4549" y="2520"/>
                    <a:pt x="4549" y="2520"/>
                    <a:pt x="4569" y="2520"/>
                  </a:cubicBezTo>
                  <a:cubicBezTo>
                    <a:pt x="4569" y="2541"/>
                    <a:pt x="4569" y="2541"/>
                    <a:pt x="4569" y="2541"/>
                  </a:cubicBezTo>
                  <a:cubicBezTo>
                    <a:pt x="4590" y="2541"/>
                    <a:pt x="4590" y="2562"/>
                    <a:pt x="4590" y="2562"/>
                  </a:cubicBezTo>
                  <a:cubicBezTo>
                    <a:pt x="4611" y="2562"/>
                    <a:pt x="4631" y="2562"/>
                    <a:pt x="4631" y="2562"/>
                  </a:cubicBezTo>
                  <a:lnTo>
                    <a:pt x="4651" y="2582"/>
                  </a:lnTo>
                  <a:lnTo>
                    <a:pt x="4672" y="2602"/>
                  </a:lnTo>
                  <a:cubicBezTo>
                    <a:pt x="4672" y="2623"/>
                    <a:pt x="4693" y="2623"/>
                    <a:pt x="4713" y="2623"/>
                  </a:cubicBezTo>
                  <a:cubicBezTo>
                    <a:pt x="4713" y="2644"/>
                    <a:pt x="4733" y="2644"/>
                    <a:pt x="4733" y="2664"/>
                  </a:cubicBezTo>
                  <a:cubicBezTo>
                    <a:pt x="4733" y="2664"/>
                    <a:pt x="4733" y="2684"/>
                    <a:pt x="4733" y="2705"/>
                  </a:cubicBezTo>
                  <a:cubicBezTo>
                    <a:pt x="4754" y="2705"/>
                    <a:pt x="4754" y="2705"/>
                    <a:pt x="4754" y="2705"/>
                  </a:cubicBezTo>
                  <a:lnTo>
                    <a:pt x="4775" y="2684"/>
                  </a:lnTo>
                  <a:cubicBezTo>
                    <a:pt x="4775" y="2684"/>
                    <a:pt x="4775" y="2664"/>
                    <a:pt x="4775" y="2644"/>
                  </a:cubicBezTo>
                  <a:lnTo>
                    <a:pt x="4795" y="2623"/>
                  </a:lnTo>
                  <a:cubicBezTo>
                    <a:pt x="4795" y="2602"/>
                    <a:pt x="4795" y="2602"/>
                    <a:pt x="4795" y="2582"/>
                  </a:cubicBezTo>
                  <a:cubicBezTo>
                    <a:pt x="4795" y="2582"/>
                    <a:pt x="4795" y="2562"/>
                    <a:pt x="4795" y="2541"/>
                  </a:cubicBezTo>
                  <a:cubicBezTo>
                    <a:pt x="4795" y="2541"/>
                    <a:pt x="4795" y="2541"/>
                    <a:pt x="4795" y="2520"/>
                  </a:cubicBezTo>
                  <a:cubicBezTo>
                    <a:pt x="4795" y="2520"/>
                    <a:pt x="4815" y="2500"/>
                    <a:pt x="4795" y="2500"/>
                  </a:cubicBezTo>
                  <a:cubicBezTo>
                    <a:pt x="4795" y="2480"/>
                    <a:pt x="4775" y="2500"/>
                    <a:pt x="4754" y="2500"/>
                  </a:cubicBezTo>
                  <a:lnTo>
                    <a:pt x="4733" y="2500"/>
                  </a:lnTo>
                  <a:lnTo>
                    <a:pt x="4733" y="2480"/>
                  </a:lnTo>
                  <a:cubicBezTo>
                    <a:pt x="4713" y="2480"/>
                    <a:pt x="4693" y="2459"/>
                    <a:pt x="4693" y="2459"/>
                  </a:cubicBezTo>
                  <a:cubicBezTo>
                    <a:pt x="4672" y="2438"/>
                    <a:pt x="4672" y="2418"/>
                    <a:pt x="4672" y="2398"/>
                  </a:cubicBezTo>
                  <a:cubicBezTo>
                    <a:pt x="4651" y="2398"/>
                    <a:pt x="4672" y="2398"/>
                    <a:pt x="4672" y="2398"/>
                  </a:cubicBezTo>
                  <a:cubicBezTo>
                    <a:pt x="4651" y="2377"/>
                    <a:pt x="4651" y="2377"/>
                    <a:pt x="4631" y="2377"/>
                  </a:cubicBezTo>
                  <a:lnTo>
                    <a:pt x="4611" y="2377"/>
                  </a:lnTo>
                  <a:cubicBezTo>
                    <a:pt x="4590" y="2377"/>
                    <a:pt x="4590" y="2356"/>
                    <a:pt x="4590" y="2356"/>
                  </a:cubicBezTo>
                  <a:cubicBezTo>
                    <a:pt x="4569" y="2356"/>
                    <a:pt x="4569" y="2356"/>
                    <a:pt x="4569" y="2356"/>
                  </a:cubicBezTo>
                  <a:lnTo>
                    <a:pt x="4549" y="2356"/>
                  </a:lnTo>
                  <a:lnTo>
                    <a:pt x="4529" y="2377"/>
                  </a:lnTo>
                  <a:lnTo>
                    <a:pt x="4529" y="2398"/>
                  </a:lnTo>
                  <a:cubicBezTo>
                    <a:pt x="4508" y="2398"/>
                    <a:pt x="4508" y="2377"/>
                    <a:pt x="4508" y="2377"/>
                  </a:cubicBezTo>
                  <a:cubicBezTo>
                    <a:pt x="4508" y="2356"/>
                    <a:pt x="4508" y="2336"/>
                    <a:pt x="4508" y="2336"/>
                  </a:cubicBezTo>
                  <a:cubicBezTo>
                    <a:pt x="4508" y="2316"/>
                    <a:pt x="4508" y="2316"/>
                    <a:pt x="4508" y="2295"/>
                  </a:cubicBezTo>
                  <a:cubicBezTo>
                    <a:pt x="4508" y="2295"/>
                    <a:pt x="4508" y="2274"/>
                    <a:pt x="4529" y="2274"/>
                  </a:cubicBezTo>
                  <a:cubicBezTo>
                    <a:pt x="4529" y="2274"/>
                    <a:pt x="4549" y="2274"/>
                    <a:pt x="4549" y="2254"/>
                  </a:cubicBezTo>
                  <a:lnTo>
                    <a:pt x="4569" y="2254"/>
                  </a:lnTo>
                  <a:cubicBezTo>
                    <a:pt x="4569" y="2234"/>
                    <a:pt x="4569" y="2213"/>
                    <a:pt x="4569" y="2193"/>
                  </a:cubicBezTo>
                  <a:lnTo>
                    <a:pt x="4549" y="2152"/>
                  </a:lnTo>
                  <a:cubicBezTo>
                    <a:pt x="4549" y="2131"/>
                    <a:pt x="4549" y="2111"/>
                    <a:pt x="4549" y="2111"/>
                  </a:cubicBezTo>
                  <a:cubicBezTo>
                    <a:pt x="4549" y="2090"/>
                    <a:pt x="4549" y="2070"/>
                    <a:pt x="4549" y="2070"/>
                  </a:cubicBezTo>
                  <a:lnTo>
                    <a:pt x="4529" y="2070"/>
                  </a:lnTo>
                  <a:lnTo>
                    <a:pt x="4508" y="2090"/>
                  </a:lnTo>
                  <a:cubicBezTo>
                    <a:pt x="4487" y="2090"/>
                    <a:pt x="4487" y="2090"/>
                    <a:pt x="4487" y="2090"/>
                  </a:cubicBezTo>
                  <a:cubicBezTo>
                    <a:pt x="4467" y="2090"/>
                    <a:pt x="4467" y="2090"/>
                    <a:pt x="4467" y="2090"/>
                  </a:cubicBezTo>
                  <a:lnTo>
                    <a:pt x="4467" y="2070"/>
                  </a:lnTo>
                  <a:cubicBezTo>
                    <a:pt x="4467" y="2070"/>
                    <a:pt x="4487" y="2070"/>
                    <a:pt x="4487" y="2049"/>
                  </a:cubicBezTo>
                  <a:cubicBezTo>
                    <a:pt x="4487" y="2049"/>
                    <a:pt x="4487" y="2049"/>
                    <a:pt x="4487" y="2029"/>
                  </a:cubicBezTo>
                  <a:cubicBezTo>
                    <a:pt x="4487" y="2029"/>
                    <a:pt x="4487" y="2029"/>
                    <a:pt x="4487" y="2008"/>
                  </a:cubicBezTo>
                  <a:lnTo>
                    <a:pt x="4487" y="2008"/>
                  </a:lnTo>
                  <a:cubicBezTo>
                    <a:pt x="4467" y="2008"/>
                    <a:pt x="4467" y="2029"/>
                    <a:pt x="4467" y="2029"/>
                  </a:cubicBezTo>
                  <a:cubicBezTo>
                    <a:pt x="4467" y="2029"/>
                    <a:pt x="4467" y="2029"/>
                    <a:pt x="4447" y="2029"/>
                  </a:cubicBezTo>
                  <a:lnTo>
                    <a:pt x="4447" y="2008"/>
                  </a:lnTo>
                  <a:lnTo>
                    <a:pt x="4467" y="1988"/>
                  </a:lnTo>
                  <a:cubicBezTo>
                    <a:pt x="4467" y="1967"/>
                    <a:pt x="4487" y="1967"/>
                    <a:pt x="4508" y="1947"/>
                  </a:cubicBezTo>
                  <a:cubicBezTo>
                    <a:pt x="4508" y="1947"/>
                    <a:pt x="4529" y="1926"/>
                    <a:pt x="4549" y="1906"/>
                  </a:cubicBezTo>
                  <a:cubicBezTo>
                    <a:pt x="4549" y="1885"/>
                    <a:pt x="4569" y="1865"/>
                    <a:pt x="4569" y="1844"/>
                  </a:cubicBezTo>
                  <a:cubicBezTo>
                    <a:pt x="4569" y="1844"/>
                    <a:pt x="4590" y="1803"/>
                    <a:pt x="4590" y="1783"/>
                  </a:cubicBezTo>
                  <a:cubicBezTo>
                    <a:pt x="4590" y="1762"/>
                    <a:pt x="4590" y="1721"/>
                    <a:pt x="4590" y="1701"/>
                  </a:cubicBezTo>
                  <a:cubicBezTo>
                    <a:pt x="4590" y="1660"/>
                    <a:pt x="4590" y="1619"/>
                    <a:pt x="4590" y="1598"/>
                  </a:cubicBezTo>
                  <a:cubicBezTo>
                    <a:pt x="4590" y="1578"/>
                    <a:pt x="4611" y="1557"/>
                    <a:pt x="4611" y="1537"/>
                  </a:cubicBezTo>
                  <a:lnTo>
                    <a:pt x="4611" y="1517"/>
                  </a:lnTo>
                  <a:cubicBezTo>
                    <a:pt x="4631" y="1517"/>
                    <a:pt x="4631" y="1496"/>
                    <a:pt x="4631" y="1496"/>
                  </a:cubicBezTo>
                  <a:cubicBezTo>
                    <a:pt x="4651" y="1496"/>
                    <a:pt x="4651" y="1517"/>
                    <a:pt x="4651" y="1517"/>
                  </a:cubicBezTo>
                  <a:cubicBezTo>
                    <a:pt x="4672" y="1517"/>
                    <a:pt x="4672" y="1517"/>
                    <a:pt x="4672" y="1537"/>
                  </a:cubicBezTo>
                  <a:cubicBezTo>
                    <a:pt x="4693" y="1537"/>
                    <a:pt x="4713" y="1537"/>
                    <a:pt x="4713" y="1517"/>
                  </a:cubicBezTo>
                  <a:cubicBezTo>
                    <a:pt x="4733" y="1517"/>
                    <a:pt x="4733" y="1517"/>
                    <a:pt x="4754" y="1517"/>
                  </a:cubicBezTo>
                  <a:cubicBezTo>
                    <a:pt x="4754" y="1517"/>
                    <a:pt x="4795" y="1517"/>
                    <a:pt x="4815" y="1517"/>
                  </a:cubicBezTo>
                  <a:cubicBezTo>
                    <a:pt x="4836" y="1517"/>
                    <a:pt x="4857" y="1517"/>
                    <a:pt x="4877" y="1517"/>
                  </a:cubicBezTo>
                  <a:lnTo>
                    <a:pt x="4897" y="1537"/>
                  </a:lnTo>
                  <a:cubicBezTo>
                    <a:pt x="4918" y="1537"/>
                    <a:pt x="4918" y="1517"/>
                    <a:pt x="4939" y="1517"/>
                  </a:cubicBezTo>
                  <a:cubicBezTo>
                    <a:pt x="4939" y="1517"/>
                    <a:pt x="4939" y="1517"/>
                    <a:pt x="4959" y="1517"/>
                  </a:cubicBezTo>
                  <a:lnTo>
                    <a:pt x="4979" y="1537"/>
                  </a:lnTo>
                  <a:cubicBezTo>
                    <a:pt x="4979" y="1557"/>
                    <a:pt x="4979" y="1578"/>
                    <a:pt x="4979" y="1578"/>
                  </a:cubicBezTo>
                  <a:cubicBezTo>
                    <a:pt x="5000" y="1598"/>
                    <a:pt x="5000" y="1598"/>
                    <a:pt x="5021" y="1598"/>
                  </a:cubicBezTo>
                  <a:lnTo>
                    <a:pt x="5021" y="1619"/>
                  </a:lnTo>
                  <a:cubicBezTo>
                    <a:pt x="5021" y="1639"/>
                    <a:pt x="5021" y="1660"/>
                    <a:pt x="5021" y="1680"/>
                  </a:cubicBezTo>
                  <a:cubicBezTo>
                    <a:pt x="5021" y="1680"/>
                    <a:pt x="5041" y="1701"/>
                    <a:pt x="5041" y="1721"/>
                  </a:cubicBezTo>
                  <a:lnTo>
                    <a:pt x="5041" y="1742"/>
                  </a:lnTo>
                  <a:cubicBezTo>
                    <a:pt x="5041" y="1762"/>
                    <a:pt x="5021" y="1783"/>
                    <a:pt x="5021" y="1783"/>
                  </a:cubicBezTo>
                  <a:cubicBezTo>
                    <a:pt x="5021" y="1803"/>
                    <a:pt x="5021" y="1844"/>
                    <a:pt x="5021" y="1865"/>
                  </a:cubicBezTo>
                  <a:lnTo>
                    <a:pt x="5000" y="1885"/>
                  </a:lnTo>
                  <a:cubicBezTo>
                    <a:pt x="5021" y="1906"/>
                    <a:pt x="5041" y="1906"/>
                    <a:pt x="5041" y="1906"/>
                  </a:cubicBezTo>
                  <a:cubicBezTo>
                    <a:pt x="5041" y="1926"/>
                    <a:pt x="5061" y="1926"/>
                    <a:pt x="5061" y="1947"/>
                  </a:cubicBezTo>
                  <a:lnTo>
                    <a:pt x="5082" y="1967"/>
                  </a:lnTo>
                  <a:cubicBezTo>
                    <a:pt x="5082" y="1988"/>
                    <a:pt x="5103" y="1988"/>
                    <a:pt x="5103" y="1988"/>
                  </a:cubicBezTo>
                  <a:cubicBezTo>
                    <a:pt x="5103" y="2008"/>
                    <a:pt x="5123" y="2029"/>
                    <a:pt x="5123" y="2029"/>
                  </a:cubicBezTo>
                  <a:cubicBezTo>
                    <a:pt x="5123" y="2049"/>
                    <a:pt x="5123" y="2090"/>
                    <a:pt x="5123" y="2111"/>
                  </a:cubicBezTo>
                  <a:cubicBezTo>
                    <a:pt x="5123" y="2131"/>
                    <a:pt x="5123" y="2152"/>
                    <a:pt x="5123" y="2172"/>
                  </a:cubicBezTo>
                  <a:cubicBezTo>
                    <a:pt x="5123" y="2193"/>
                    <a:pt x="5143" y="2193"/>
                    <a:pt x="5143" y="2213"/>
                  </a:cubicBezTo>
                  <a:cubicBezTo>
                    <a:pt x="5163" y="2234"/>
                    <a:pt x="5163" y="2254"/>
                    <a:pt x="5163" y="2254"/>
                  </a:cubicBezTo>
                  <a:cubicBezTo>
                    <a:pt x="5163" y="2274"/>
                    <a:pt x="5163" y="2295"/>
                    <a:pt x="5163" y="2316"/>
                  </a:cubicBezTo>
                  <a:lnTo>
                    <a:pt x="5184" y="2336"/>
                  </a:lnTo>
                  <a:cubicBezTo>
                    <a:pt x="5184" y="2356"/>
                    <a:pt x="5184" y="2377"/>
                    <a:pt x="5184" y="2377"/>
                  </a:cubicBezTo>
                  <a:cubicBezTo>
                    <a:pt x="5184" y="2398"/>
                    <a:pt x="5184" y="2418"/>
                    <a:pt x="5205" y="2438"/>
                  </a:cubicBezTo>
                  <a:lnTo>
                    <a:pt x="5205" y="2459"/>
                  </a:lnTo>
                  <a:cubicBezTo>
                    <a:pt x="5225" y="2459"/>
                    <a:pt x="5245" y="2480"/>
                    <a:pt x="5245" y="2500"/>
                  </a:cubicBezTo>
                  <a:cubicBezTo>
                    <a:pt x="5245" y="2500"/>
                    <a:pt x="5266" y="2520"/>
                    <a:pt x="5287" y="2520"/>
                  </a:cubicBezTo>
                  <a:cubicBezTo>
                    <a:pt x="5307" y="2541"/>
                    <a:pt x="5327" y="2520"/>
                    <a:pt x="5327" y="2520"/>
                  </a:cubicBezTo>
                  <a:cubicBezTo>
                    <a:pt x="5348" y="2541"/>
                    <a:pt x="5348" y="2562"/>
                    <a:pt x="5369" y="2562"/>
                  </a:cubicBezTo>
                  <a:cubicBezTo>
                    <a:pt x="5369" y="2582"/>
                    <a:pt x="5369" y="2582"/>
                    <a:pt x="5369" y="2602"/>
                  </a:cubicBezTo>
                  <a:cubicBezTo>
                    <a:pt x="5348" y="2602"/>
                    <a:pt x="5348" y="2623"/>
                    <a:pt x="5348" y="2644"/>
                  </a:cubicBezTo>
                  <a:lnTo>
                    <a:pt x="5327" y="2664"/>
                  </a:lnTo>
                  <a:cubicBezTo>
                    <a:pt x="5327" y="2684"/>
                    <a:pt x="5348" y="2684"/>
                    <a:pt x="5348" y="2705"/>
                  </a:cubicBezTo>
                  <a:cubicBezTo>
                    <a:pt x="5348" y="2705"/>
                    <a:pt x="5369" y="2705"/>
                    <a:pt x="5369" y="2726"/>
                  </a:cubicBezTo>
                  <a:cubicBezTo>
                    <a:pt x="5389" y="2726"/>
                    <a:pt x="5369" y="2746"/>
                    <a:pt x="5369" y="2746"/>
                  </a:cubicBezTo>
                  <a:lnTo>
                    <a:pt x="5369" y="2766"/>
                  </a:lnTo>
                  <a:cubicBezTo>
                    <a:pt x="5369" y="2787"/>
                    <a:pt x="5348" y="2766"/>
                    <a:pt x="5327" y="2787"/>
                  </a:cubicBezTo>
                  <a:cubicBezTo>
                    <a:pt x="5327" y="2787"/>
                    <a:pt x="5327" y="2787"/>
                    <a:pt x="5327" y="2808"/>
                  </a:cubicBezTo>
                  <a:cubicBezTo>
                    <a:pt x="5327" y="2808"/>
                    <a:pt x="5327" y="2828"/>
                    <a:pt x="5327" y="2848"/>
                  </a:cubicBezTo>
                  <a:cubicBezTo>
                    <a:pt x="5327" y="2848"/>
                    <a:pt x="5327" y="2869"/>
                    <a:pt x="5307" y="2869"/>
                  </a:cubicBezTo>
                  <a:lnTo>
                    <a:pt x="5287" y="2869"/>
                  </a:lnTo>
                  <a:cubicBezTo>
                    <a:pt x="5287" y="2869"/>
                    <a:pt x="5266" y="2869"/>
                    <a:pt x="5266" y="2890"/>
                  </a:cubicBezTo>
                  <a:lnTo>
                    <a:pt x="5287" y="2890"/>
                  </a:lnTo>
                  <a:lnTo>
                    <a:pt x="5287" y="2910"/>
                  </a:lnTo>
                  <a:cubicBezTo>
                    <a:pt x="5287" y="2930"/>
                    <a:pt x="5266" y="2930"/>
                    <a:pt x="5266" y="2930"/>
                  </a:cubicBezTo>
                  <a:cubicBezTo>
                    <a:pt x="5266" y="2930"/>
                    <a:pt x="5266" y="2950"/>
                    <a:pt x="5266" y="2971"/>
                  </a:cubicBezTo>
                  <a:cubicBezTo>
                    <a:pt x="5266" y="2971"/>
                    <a:pt x="5266" y="2971"/>
                    <a:pt x="5245" y="2971"/>
                  </a:cubicBezTo>
                  <a:cubicBezTo>
                    <a:pt x="5245" y="2992"/>
                    <a:pt x="5225" y="2992"/>
                    <a:pt x="5225" y="2992"/>
                  </a:cubicBezTo>
                  <a:cubicBezTo>
                    <a:pt x="5225" y="2971"/>
                    <a:pt x="5205" y="2971"/>
                    <a:pt x="5205" y="2971"/>
                  </a:cubicBezTo>
                  <a:cubicBezTo>
                    <a:pt x="5205" y="2971"/>
                    <a:pt x="5184" y="2950"/>
                    <a:pt x="5184" y="2971"/>
                  </a:cubicBezTo>
                  <a:cubicBezTo>
                    <a:pt x="5184" y="2971"/>
                    <a:pt x="5184" y="2971"/>
                    <a:pt x="5205" y="2992"/>
                  </a:cubicBezTo>
                  <a:cubicBezTo>
                    <a:pt x="5205" y="2992"/>
                    <a:pt x="5205" y="2992"/>
                    <a:pt x="5205" y="3012"/>
                  </a:cubicBezTo>
                  <a:lnTo>
                    <a:pt x="5225" y="3012"/>
                  </a:lnTo>
                  <a:cubicBezTo>
                    <a:pt x="5225" y="3032"/>
                    <a:pt x="5245" y="3032"/>
                    <a:pt x="5245" y="3032"/>
                  </a:cubicBezTo>
                  <a:lnTo>
                    <a:pt x="5245" y="3053"/>
                  </a:lnTo>
                  <a:cubicBezTo>
                    <a:pt x="5245" y="3053"/>
                    <a:pt x="5225" y="3053"/>
                    <a:pt x="5205" y="3053"/>
                  </a:cubicBezTo>
                  <a:cubicBezTo>
                    <a:pt x="5205" y="3053"/>
                    <a:pt x="5205" y="3053"/>
                    <a:pt x="5184" y="3074"/>
                  </a:cubicBezTo>
                  <a:lnTo>
                    <a:pt x="5184" y="3094"/>
                  </a:lnTo>
                  <a:lnTo>
                    <a:pt x="5163" y="3094"/>
                  </a:lnTo>
                  <a:lnTo>
                    <a:pt x="5143" y="3074"/>
                  </a:lnTo>
                  <a:lnTo>
                    <a:pt x="5143" y="3094"/>
                  </a:lnTo>
                  <a:lnTo>
                    <a:pt x="5123" y="3094"/>
                  </a:lnTo>
                  <a:lnTo>
                    <a:pt x="5103" y="3094"/>
                  </a:lnTo>
                  <a:lnTo>
                    <a:pt x="5103" y="3074"/>
                  </a:lnTo>
                  <a:lnTo>
                    <a:pt x="5082" y="3053"/>
                  </a:lnTo>
                  <a:lnTo>
                    <a:pt x="5103" y="3053"/>
                  </a:lnTo>
                  <a:cubicBezTo>
                    <a:pt x="5103" y="3053"/>
                    <a:pt x="5103" y="3053"/>
                    <a:pt x="5123" y="3053"/>
                  </a:cubicBezTo>
                  <a:cubicBezTo>
                    <a:pt x="5123" y="3032"/>
                    <a:pt x="5123" y="3032"/>
                    <a:pt x="5123" y="3032"/>
                  </a:cubicBezTo>
                  <a:cubicBezTo>
                    <a:pt x="5103" y="3012"/>
                    <a:pt x="5103" y="3032"/>
                    <a:pt x="5082" y="3032"/>
                  </a:cubicBezTo>
                  <a:lnTo>
                    <a:pt x="5082" y="3032"/>
                  </a:lnTo>
                  <a:lnTo>
                    <a:pt x="5061" y="3032"/>
                  </a:lnTo>
                  <a:lnTo>
                    <a:pt x="5041" y="3032"/>
                  </a:lnTo>
                  <a:cubicBezTo>
                    <a:pt x="5021" y="3032"/>
                    <a:pt x="5021" y="3012"/>
                    <a:pt x="5021" y="3012"/>
                  </a:cubicBezTo>
                  <a:cubicBezTo>
                    <a:pt x="5000" y="3012"/>
                    <a:pt x="5000" y="3012"/>
                    <a:pt x="4979" y="3032"/>
                  </a:cubicBezTo>
                  <a:cubicBezTo>
                    <a:pt x="4979" y="3032"/>
                    <a:pt x="4979" y="3032"/>
                    <a:pt x="4959" y="3032"/>
                  </a:cubicBezTo>
                  <a:lnTo>
                    <a:pt x="4939" y="3032"/>
                  </a:lnTo>
                  <a:cubicBezTo>
                    <a:pt x="4918" y="3032"/>
                    <a:pt x="4918" y="3032"/>
                    <a:pt x="4897" y="3032"/>
                  </a:cubicBezTo>
                  <a:cubicBezTo>
                    <a:pt x="4897" y="3032"/>
                    <a:pt x="4897" y="3032"/>
                    <a:pt x="4877" y="3032"/>
                  </a:cubicBezTo>
                  <a:lnTo>
                    <a:pt x="4857" y="3032"/>
                  </a:lnTo>
                  <a:cubicBezTo>
                    <a:pt x="4857" y="3053"/>
                    <a:pt x="4857" y="3053"/>
                    <a:pt x="4857" y="3074"/>
                  </a:cubicBezTo>
                  <a:lnTo>
                    <a:pt x="4877" y="3074"/>
                  </a:lnTo>
                  <a:lnTo>
                    <a:pt x="4897" y="3053"/>
                  </a:lnTo>
                  <a:cubicBezTo>
                    <a:pt x="4897" y="3053"/>
                    <a:pt x="4918" y="3053"/>
                    <a:pt x="4918" y="3074"/>
                  </a:cubicBezTo>
                  <a:lnTo>
                    <a:pt x="4939" y="3094"/>
                  </a:lnTo>
                  <a:cubicBezTo>
                    <a:pt x="4939" y="3094"/>
                    <a:pt x="4939" y="3094"/>
                    <a:pt x="4959" y="3094"/>
                  </a:cubicBezTo>
                  <a:lnTo>
                    <a:pt x="4979" y="3094"/>
                  </a:lnTo>
                  <a:lnTo>
                    <a:pt x="5000" y="3094"/>
                  </a:lnTo>
                  <a:cubicBezTo>
                    <a:pt x="5021" y="3114"/>
                    <a:pt x="5021" y="3114"/>
                    <a:pt x="5021" y="3114"/>
                  </a:cubicBezTo>
                  <a:cubicBezTo>
                    <a:pt x="5041" y="3135"/>
                    <a:pt x="5061" y="3135"/>
                    <a:pt x="5061" y="3135"/>
                  </a:cubicBezTo>
                  <a:cubicBezTo>
                    <a:pt x="5082" y="3156"/>
                    <a:pt x="5103" y="3156"/>
                    <a:pt x="5123" y="3156"/>
                  </a:cubicBezTo>
                  <a:lnTo>
                    <a:pt x="5163" y="3135"/>
                  </a:lnTo>
                  <a:cubicBezTo>
                    <a:pt x="5184" y="3135"/>
                    <a:pt x="5205" y="3135"/>
                    <a:pt x="5225" y="3114"/>
                  </a:cubicBezTo>
                  <a:cubicBezTo>
                    <a:pt x="5225" y="3114"/>
                    <a:pt x="5245" y="3114"/>
                    <a:pt x="5266" y="3114"/>
                  </a:cubicBezTo>
                  <a:cubicBezTo>
                    <a:pt x="5266" y="3135"/>
                    <a:pt x="5287" y="3135"/>
                    <a:pt x="5287" y="3135"/>
                  </a:cubicBezTo>
                  <a:cubicBezTo>
                    <a:pt x="5307" y="3135"/>
                    <a:pt x="5307" y="3135"/>
                    <a:pt x="5327" y="3135"/>
                  </a:cubicBezTo>
                  <a:cubicBezTo>
                    <a:pt x="5327" y="3135"/>
                    <a:pt x="5327" y="3114"/>
                    <a:pt x="5348" y="3114"/>
                  </a:cubicBezTo>
                  <a:cubicBezTo>
                    <a:pt x="5348" y="3114"/>
                    <a:pt x="5348" y="3094"/>
                    <a:pt x="5348" y="3074"/>
                  </a:cubicBezTo>
                  <a:lnTo>
                    <a:pt x="5327" y="3074"/>
                  </a:lnTo>
                  <a:cubicBezTo>
                    <a:pt x="5327" y="3053"/>
                    <a:pt x="5327" y="3053"/>
                    <a:pt x="5348" y="3053"/>
                  </a:cubicBezTo>
                  <a:cubicBezTo>
                    <a:pt x="5348" y="3032"/>
                    <a:pt x="5348" y="3032"/>
                    <a:pt x="5348" y="3032"/>
                  </a:cubicBezTo>
                  <a:cubicBezTo>
                    <a:pt x="5369" y="3032"/>
                    <a:pt x="5389" y="3032"/>
                    <a:pt x="5389" y="3032"/>
                  </a:cubicBezTo>
                  <a:lnTo>
                    <a:pt x="5409" y="3012"/>
                  </a:lnTo>
                  <a:cubicBezTo>
                    <a:pt x="5409" y="2992"/>
                    <a:pt x="5409" y="2992"/>
                    <a:pt x="5409" y="2971"/>
                  </a:cubicBezTo>
                  <a:cubicBezTo>
                    <a:pt x="5430" y="2971"/>
                    <a:pt x="5451" y="2971"/>
                    <a:pt x="5451" y="2950"/>
                  </a:cubicBezTo>
                  <a:cubicBezTo>
                    <a:pt x="5451" y="2950"/>
                    <a:pt x="5471" y="2950"/>
                    <a:pt x="5471" y="2930"/>
                  </a:cubicBezTo>
                  <a:lnTo>
                    <a:pt x="5491" y="2910"/>
                  </a:lnTo>
                  <a:cubicBezTo>
                    <a:pt x="5491" y="2890"/>
                    <a:pt x="5491" y="2869"/>
                    <a:pt x="5491" y="2869"/>
                  </a:cubicBezTo>
                  <a:cubicBezTo>
                    <a:pt x="5491" y="2848"/>
                    <a:pt x="5491" y="2828"/>
                    <a:pt x="5491" y="2828"/>
                  </a:cubicBezTo>
                  <a:lnTo>
                    <a:pt x="5512" y="2808"/>
                  </a:lnTo>
                  <a:lnTo>
                    <a:pt x="5533" y="2787"/>
                  </a:lnTo>
                  <a:cubicBezTo>
                    <a:pt x="5533" y="2787"/>
                    <a:pt x="5533" y="2766"/>
                    <a:pt x="5533" y="2746"/>
                  </a:cubicBezTo>
                  <a:lnTo>
                    <a:pt x="5533" y="2726"/>
                  </a:lnTo>
                  <a:cubicBezTo>
                    <a:pt x="5533" y="2705"/>
                    <a:pt x="5533" y="2684"/>
                    <a:pt x="5512" y="2684"/>
                  </a:cubicBezTo>
                  <a:lnTo>
                    <a:pt x="5491" y="2664"/>
                  </a:lnTo>
                  <a:cubicBezTo>
                    <a:pt x="5491" y="2644"/>
                    <a:pt x="5471" y="2644"/>
                    <a:pt x="5471" y="2623"/>
                  </a:cubicBezTo>
                  <a:cubicBezTo>
                    <a:pt x="5471" y="2623"/>
                    <a:pt x="5451" y="2602"/>
                    <a:pt x="5451" y="2582"/>
                  </a:cubicBezTo>
                  <a:lnTo>
                    <a:pt x="5451" y="2562"/>
                  </a:lnTo>
                  <a:cubicBezTo>
                    <a:pt x="5451" y="2541"/>
                    <a:pt x="5451" y="2541"/>
                    <a:pt x="5451" y="2520"/>
                  </a:cubicBezTo>
                  <a:lnTo>
                    <a:pt x="5471" y="2500"/>
                  </a:lnTo>
                  <a:cubicBezTo>
                    <a:pt x="5471" y="2500"/>
                    <a:pt x="5491" y="2500"/>
                    <a:pt x="5512" y="2500"/>
                  </a:cubicBezTo>
                  <a:cubicBezTo>
                    <a:pt x="5512" y="2500"/>
                    <a:pt x="5533" y="2500"/>
                    <a:pt x="5533" y="2480"/>
                  </a:cubicBezTo>
                  <a:cubicBezTo>
                    <a:pt x="5553" y="2480"/>
                    <a:pt x="5573" y="2480"/>
                    <a:pt x="5594" y="2480"/>
                  </a:cubicBezTo>
                  <a:cubicBezTo>
                    <a:pt x="5594" y="2480"/>
                    <a:pt x="5615" y="2480"/>
                    <a:pt x="5635" y="2480"/>
                  </a:cubicBezTo>
                  <a:cubicBezTo>
                    <a:pt x="5635" y="2459"/>
                    <a:pt x="5655" y="2459"/>
                    <a:pt x="5655" y="2459"/>
                  </a:cubicBezTo>
                  <a:cubicBezTo>
                    <a:pt x="5676" y="2459"/>
                    <a:pt x="5676" y="2480"/>
                    <a:pt x="5676" y="2480"/>
                  </a:cubicBezTo>
                  <a:cubicBezTo>
                    <a:pt x="5697" y="2500"/>
                    <a:pt x="5717" y="2500"/>
                    <a:pt x="5717" y="2520"/>
                  </a:cubicBezTo>
                  <a:lnTo>
                    <a:pt x="5737" y="2541"/>
                  </a:lnTo>
                  <a:lnTo>
                    <a:pt x="5758" y="2541"/>
                  </a:lnTo>
                  <a:cubicBezTo>
                    <a:pt x="5779" y="2562"/>
                    <a:pt x="5779" y="2562"/>
                    <a:pt x="5779" y="2582"/>
                  </a:cubicBezTo>
                  <a:lnTo>
                    <a:pt x="5779" y="2602"/>
                  </a:lnTo>
                  <a:cubicBezTo>
                    <a:pt x="5799" y="2623"/>
                    <a:pt x="5779" y="2644"/>
                    <a:pt x="5779" y="2644"/>
                  </a:cubicBezTo>
                  <a:cubicBezTo>
                    <a:pt x="5779" y="2664"/>
                    <a:pt x="5799" y="2664"/>
                    <a:pt x="5799" y="2684"/>
                  </a:cubicBezTo>
                  <a:lnTo>
                    <a:pt x="5799" y="2705"/>
                  </a:lnTo>
                  <a:lnTo>
                    <a:pt x="5799" y="2726"/>
                  </a:lnTo>
                  <a:lnTo>
                    <a:pt x="5799" y="2746"/>
                  </a:lnTo>
                  <a:lnTo>
                    <a:pt x="5819" y="2746"/>
                  </a:lnTo>
                  <a:cubicBezTo>
                    <a:pt x="5819" y="2766"/>
                    <a:pt x="5840" y="2766"/>
                    <a:pt x="5840" y="2787"/>
                  </a:cubicBezTo>
                  <a:cubicBezTo>
                    <a:pt x="5840" y="2787"/>
                    <a:pt x="5861" y="2787"/>
                    <a:pt x="5861" y="2808"/>
                  </a:cubicBezTo>
                  <a:cubicBezTo>
                    <a:pt x="5881" y="2808"/>
                    <a:pt x="5901" y="2808"/>
                    <a:pt x="5901" y="2808"/>
                  </a:cubicBezTo>
                  <a:cubicBezTo>
                    <a:pt x="5922" y="2808"/>
                    <a:pt x="5942" y="2808"/>
                    <a:pt x="5942" y="2808"/>
                  </a:cubicBezTo>
                  <a:cubicBezTo>
                    <a:pt x="5963" y="2808"/>
                    <a:pt x="5983" y="2808"/>
                    <a:pt x="6004" y="2808"/>
                  </a:cubicBezTo>
                  <a:lnTo>
                    <a:pt x="6004" y="2787"/>
                  </a:lnTo>
                  <a:lnTo>
                    <a:pt x="6004" y="2787"/>
                  </a:lnTo>
                  <a:cubicBezTo>
                    <a:pt x="5983" y="2766"/>
                    <a:pt x="5963" y="2766"/>
                    <a:pt x="5963" y="2766"/>
                  </a:cubicBezTo>
                  <a:cubicBezTo>
                    <a:pt x="5963" y="2766"/>
                    <a:pt x="5942" y="2766"/>
                    <a:pt x="5922" y="2766"/>
                  </a:cubicBezTo>
                  <a:cubicBezTo>
                    <a:pt x="5922" y="2766"/>
                    <a:pt x="5901" y="2787"/>
                    <a:pt x="5901" y="2766"/>
                  </a:cubicBezTo>
                  <a:cubicBezTo>
                    <a:pt x="5901" y="2766"/>
                    <a:pt x="5901" y="2746"/>
                    <a:pt x="5881" y="2746"/>
                  </a:cubicBezTo>
                  <a:lnTo>
                    <a:pt x="5861" y="2746"/>
                  </a:lnTo>
                  <a:cubicBezTo>
                    <a:pt x="5840" y="2726"/>
                    <a:pt x="5840" y="2726"/>
                    <a:pt x="5840" y="2705"/>
                  </a:cubicBezTo>
                  <a:cubicBezTo>
                    <a:pt x="5840" y="2705"/>
                    <a:pt x="5819" y="2684"/>
                    <a:pt x="5819" y="2664"/>
                  </a:cubicBezTo>
                  <a:lnTo>
                    <a:pt x="5840" y="2644"/>
                  </a:lnTo>
                  <a:cubicBezTo>
                    <a:pt x="5840" y="2623"/>
                    <a:pt x="5840" y="2623"/>
                    <a:pt x="5840" y="2623"/>
                  </a:cubicBezTo>
                  <a:cubicBezTo>
                    <a:pt x="5840" y="2623"/>
                    <a:pt x="5861" y="2623"/>
                    <a:pt x="5861" y="2602"/>
                  </a:cubicBezTo>
                  <a:lnTo>
                    <a:pt x="5881" y="2602"/>
                  </a:lnTo>
                  <a:cubicBezTo>
                    <a:pt x="5881" y="2602"/>
                    <a:pt x="5881" y="2582"/>
                    <a:pt x="5861" y="2582"/>
                  </a:cubicBezTo>
                  <a:cubicBezTo>
                    <a:pt x="5861" y="2562"/>
                    <a:pt x="5861" y="2562"/>
                    <a:pt x="5840" y="2562"/>
                  </a:cubicBezTo>
                  <a:cubicBezTo>
                    <a:pt x="5840" y="2541"/>
                    <a:pt x="5819" y="2541"/>
                    <a:pt x="5819" y="2520"/>
                  </a:cubicBezTo>
                  <a:cubicBezTo>
                    <a:pt x="5819" y="2520"/>
                    <a:pt x="5799" y="2500"/>
                    <a:pt x="5799" y="2480"/>
                  </a:cubicBezTo>
                  <a:lnTo>
                    <a:pt x="5819" y="2459"/>
                  </a:lnTo>
                  <a:cubicBezTo>
                    <a:pt x="5799" y="2459"/>
                    <a:pt x="5779" y="2459"/>
                    <a:pt x="5779" y="2459"/>
                  </a:cubicBezTo>
                  <a:cubicBezTo>
                    <a:pt x="5779" y="2459"/>
                    <a:pt x="5758" y="2459"/>
                    <a:pt x="5737" y="2459"/>
                  </a:cubicBezTo>
                  <a:cubicBezTo>
                    <a:pt x="5737" y="2459"/>
                    <a:pt x="5717" y="2459"/>
                    <a:pt x="5697" y="2459"/>
                  </a:cubicBezTo>
                  <a:cubicBezTo>
                    <a:pt x="5697" y="2438"/>
                    <a:pt x="5655" y="2438"/>
                    <a:pt x="5655" y="2418"/>
                  </a:cubicBezTo>
                  <a:cubicBezTo>
                    <a:pt x="5635" y="2418"/>
                    <a:pt x="5635" y="2398"/>
                    <a:pt x="5635" y="2398"/>
                  </a:cubicBezTo>
                  <a:cubicBezTo>
                    <a:pt x="5615" y="2398"/>
                    <a:pt x="5594" y="2398"/>
                    <a:pt x="5573" y="2398"/>
                  </a:cubicBezTo>
                  <a:cubicBezTo>
                    <a:pt x="5553" y="2398"/>
                    <a:pt x="5533" y="2398"/>
                    <a:pt x="5512" y="2398"/>
                  </a:cubicBezTo>
                  <a:cubicBezTo>
                    <a:pt x="5512" y="2418"/>
                    <a:pt x="5491" y="2418"/>
                    <a:pt x="5471" y="2438"/>
                  </a:cubicBezTo>
                  <a:cubicBezTo>
                    <a:pt x="5471" y="2438"/>
                    <a:pt x="5451" y="2438"/>
                    <a:pt x="5430" y="2438"/>
                  </a:cubicBezTo>
                  <a:lnTo>
                    <a:pt x="5409" y="2438"/>
                  </a:lnTo>
                  <a:cubicBezTo>
                    <a:pt x="5389" y="2438"/>
                    <a:pt x="5369" y="2438"/>
                    <a:pt x="5369" y="2438"/>
                  </a:cubicBezTo>
                  <a:lnTo>
                    <a:pt x="5348" y="2418"/>
                  </a:lnTo>
                  <a:cubicBezTo>
                    <a:pt x="5348" y="2398"/>
                    <a:pt x="5348" y="2398"/>
                    <a:pt x="5348" y="2377"/>
                  </a:cubicBezTo>
                  <a:cubicBezTo>
                    <a:pt x="5348" y="2377"/>
                    <a:pt x="5348" y="2377"/>
                    <a:pt x="5348" y="2356"/>
                  </a:cubicBezTo>
                  <a:lnTo>
                    <a:pt x="5348" y="2336"/>
                  </a:lnTo>
                  <a:lnTo>
                    <a:pt x="5327" y="2316"/>
                  </a:lnTo>
                  <a:cubicBezTo>
                    <a:pt x="5327" y="2295"/>
                    <a:pt x="5307" y="2295"/>
                    <a:pt x="5307" y="2295"/>
                  </a:cubicBezTo>
                  <a:cubicBezTo>
                    <a:pt x="5307" y="2274"/>
                    <a:pt x="5307" y="2274"/>
                    <a:pt x="5307" y="2254"/>
                  </a:cubicBezTo>
                  <a:cubicBezTo>
                    <a:pt x="5307" y="2254"/>
                    <a:pt x="5327" y="2254"/>
                    <a:pt x="5327" y="2234"/>
                  </a:cubicBezTo>
                  <a:lnTo>
                    <a:pt x="5327" y="2213"/>
                  </a:lnTo>
                  <a:cubicBezTo>
                    <a:pt x="5307" y="2193"/>
                    <a:pt x="5307" y="2193"/>
                    <a:pt x="5307" y="2172"/>
                  </a:cubicBezTo>
                  <a:lnTo>
                    <a:pt x="5307" y="2152"/>
                  </a:lnTo>
                  <a:cubicBezTo>
                    <a:pt x="5307" y="2152"/>
                    <a:pt x="5307" y="2131"/>
                    <a:pt x="5307" y="2111"/>
                  </a:cubicBezTo>
                  <a:cubicBezTo>
                    <a:pt x="5307" y="2111"/>
                    <a:pt x="5307" y="2090"/>
                    <a:pt x="5287" y="2070"/>
                  </a:cubicBezTo>
                  <a:lnTo>
                    <a:pt x="5266" y="2049"/>
                  </a:lnTo>
                  <a:cubicBezTo>
                    <a:pt x="5245" y="2049"/>
                    <a:pt x="5245" y="2029"/>
                    <a:pt x="5245" y="2008"/>
                  </a:cubicBezTo>
                  <a:cubicBezTo>
                    <a:pt x="5225" y="2008"/>
                    <a:pt x="5225" y="1988"/>
                    <a:pt x="5225" y="1967"/>
                  </a:cubicBezTo>
                  <a:cubicBezTo>
                    <a:pt x="5225" y="1967"/>
                    <a:pt x="5225" y="1947"/>
                    <a:pt x="5205" y="1926"/>
                  </a:cubicBezTo>
                  <a:cubicBezTo>
                    <a:pt x="5205" y="1926"/>
                    <a:pt x="5205" y="1926"/>
                    <a:pt x="5184" y="1926"/>
                  </a:cubicBezTo>
                  <a:cubicBezTo>
                    <a:pt x="5184" y="1906"/>
                    <a:pt x="5163" y="1885"/>
                    <a:pt x="5163" y="1885"/>
                  </a:cubicBezTo>
                  <a:cubicBezTo>
                    <a:pt x="5143" y="1865"/>
                    <a:pt x="5143" y="1824"/>
                    <a:pt x="5143" y="1803"/>
                  </a:cubicBezTo>
                  <a:cubicBezTo>
                    <a:pt x="5143" y="1783"/>
                    <a:pt x="5163" y="1762"/>
                    <a:pt x="5163" y="1762"/>
                  </a:cubicBezTo>
                  <a:cubicBezTo>
                    <a:pt x="5163" y="1742"/>
                    <a:pt x="5184" y="1721"/>
                    <a:pt x="5184" y="1721"/>
                  </a:cubicBezTo>
                  <a:cubicBezTo>
                    <a:pt x="5184" y="1721"/>
                    <a:pt x="5205" y="1721"/>
                    <a:pt x="5225" y="1721"/>
                  </a:cubicBezTo>
                  <a:lnTo>
                    <a:pt x="5245" y="1721"/>
                  </a:lnTo>
                  <a:cubicBezTo>
                    <a:pt x="5245" y="1701"/>
                    <a:pt x="5266" y="1701"/>
                    <a:pt x="5266" y="1680"/>
                  </a:cubicBezTo>
                  <a:lnTo>
                    <a:pt x="5266" y="1660"/>
                  </a:lnTo>
                  <a:cubicBezTo>
                    <a:pt x="5266" y="1639"/>
                    <a:pt x="5245" y="1639"/>
                    <a:pt x="5245" y="1619"/>
                  </a:cubicBezTo>
                  <a:lnTo>
                    <a:pt x="5245" y="1598"/>
                  </a:lnTo>
                  <a:lnTo>
                    <a:pt x="5245" y="1578"/>
                  </a:lnTo>
                  <a:cubicBezTo>
                    <a:pt x="5245" y="1557"/>
                    <a:pt x="5245" y="1557"/>
                    <a:pt x="5225" y="1557"/>
                  </a:cubicBezTo>
                  <a:cubicBezTo>
                    <a:pt x="5225" y="1537"/>
                    <a:pt x="5225" y="1537"/>
                    <a:pt x="5225" y="1537"/>
                  </a:cubicBezTo>
                  <a:cubicBezTo>
                    <a:pt x="5225" y="1517"/>
                    <a:pt x="5225" y="1517"/>
                    <a:pt x="5225" y="1496"/>
                  </a:cubicBezTo>
                  <a:cubicBezTo>
                    <a:pt x="5225" y="1496"/>
                    <a:pt x="5225" y="1496"/>
                    <a:pt x="5245" y="1496"/>
                  </a:cubicBezTo>
                  <a:lnTo>
                    <a:pt x="5266" y="1496"/>
                  </a:lnTo>
                  <a:cubicBezTo>
                    <a:pt x="5266" y="1496"/>
                    <a:pt x="5266" y="1517"/>
                    <a:pt x="5287" y="1537"/>
                  </a:cubicBezTo>
                  <a:cubicBezTo>
                    <a:pt x="5287" y="1537"/>
                    <a:pt x="5287" y="1537"/>
                    <a:pt x="5287" y="1557"/>
                  </a:cubicBezTo>
                  <a:cubicBezTo>
                    <a:pt x="5307" y="1557"/>
                    <a:pt x="5307" y="1557"/>
                    <a:pt x="5327" y="1557"/>
                  </a:cubicBezTo>
                  <a:cubicBezTo>
                    <a:pt x="5327" y="1557"/>
                    <a:pt x="5307" y="1578"/>
                    <a:pt x="5327" y="1598"/>
                  </a:cubicBezTo>
                  <a:lnTo>
                    <a:pt x="5327" y="1619"/>
                  </a:lnTo>
                  <a:cubicBezTo>
                    <a:pt x="5348" y="1619"/>
                    <a:pt x="5348" y="1639"/>
                    <a:pt x="5348" y="1660"/>
                  </a:cubicBezTo>
                  <a:lnTo>
                    <a:pt x="5348" y="1680"/>
                  </a:lnTo>
                  <a:cubicBezTo>
                    <a:pt x="5348" y="1701"/>
                    <a:pt x="5327" y="1701"/>
                    <a:pt x="5327" y="1701"/>
                  </a:cubicBezTo>
                  <a:cubicBezTo>
                    <a:pt x="5327" y="1721"/>
                    <a:pt x="5307" y="1721"/>
                    <a:pt x="5307" y="1742"/>
                  </a:cubicBezTo>
                  <a:lnTo>
                    <a:pt x="5327" y="1762"/>
                  </a:lnTo>
                  <a:cubicBezTo>
                    <a:pt x="5327" y="1762"/>
                    <a:pt x="5327" y="1783"/>
                    <a:pt x="5348" y="1783"/>
                  </a:cubicBezTo>
                  <a:lnTo>
                    <a:pt x="5348" y="1803"/>
                  </a:lnTo>
                  <a:lnTo>
                    <a:pt x="5348" y="1824"/>
                  </a:lnTo>
                  <a:cubicBezTo>
                    <a:pt x="5348" y="1844"/>
                    <a:pt x="5348" y="1844"/>
                    <a:pt x="5348" y="1865"/>
                  </a:cubicBezTo>
                  <a:lnTo>
                    <a:pt x="5348" y="1885"/>
                  </a:lnTo>
                  <a:lnTo>
                    <a:pt x="5369" y="1885"/>
                  </a:lnTo>
                  <a:cubicBezTo>
                    <a:pt x="5369" y="1885"/>
                    <a:pt x="5389" y="1885"/>
                    <a:pt x="5409" y="1885"/>
                  </a:cubicBezTo>
                  <a:lnTo>
                    <a:pt x="5430" y="1885"/>
                  </a:lnTo>
                  <a:cubicBezTo>
                    <a:pt x="5451" y="1885"/>
                    <a:pt x="5471" y="1885"/>
                    <a:pt x="5491" y="1885"/>
                  </a:cubicBezTo>
                  <a:cubicBezTo>
                    <a:pt x="5512" y="1885"/>
                    <a:pt x="5512" y="1885"/>
                    <a:pt x="5533" y="1906"/>
                  </a:cubicBezTo>
                  <a:lnTo>
                    <a:pt x="5553" y="1906"/>
                  </a:lnTo>
                  <a:cubicBezTo>
                    <a:pt x="5553" y="1885"/>
                    <a:pt x="5553" y="1885"/>
                    <a:pt x="5573" y="1885"/>
                  </a:cubicBezTo>
                  <a:lnTo>
                    <a:pt x="5594" y="1885"/>
                  </a:lnTo>
                  <a:lnTo>
                    <a:pt x="5615" y="1885"/>
                  </a:lnTo>
                  <a:cubicBezTo>
                    <a:pt x="5635" y="1885"/>
                    <a:pt x="5635" y="1906"/>
                    <a:pt x="5655" y="1906"/>
                  </a:cubicBezTo>
                  <a:cubicBezTo>
                    <a:pt x="5655" y="1926"/>
                    <a:pt x="5676" y="1926"/>
                    <a:pt x="5676" y="1926"/>
                  </a:cubicBezTo>
                  <a:cubicBezTo>
                    <a:pt x="5697" y="1926"/>
                    <a:pt x="5717" y="1926"/>
                    <a:pt x="5717" y="1947"/>
                  </a:cubicBezTo>
                  <a:cubicBezTo>
                    <a:pt x="5717" y="1947"/>
                    <a:pt x="5737" y="1947"/>
                    <a:pt x="5758" y="1947"/>
                  </a:cubicBezTo>
                  <a:cubicBezTo>
                    <a:pt x="5758" y="1947"/>
                    <a:pt x="5758" y="1947"/>
                    <a:pt x="5779" y="1926"/>
                  </a:cubicBezTo>
                  <a:cubicBezTo>
                    <a:pt x="5779" y="1926"/>
                    <a:pt x="5779" y="1926"/>
                    <a:pt x="5779" y="1906"/>
                  </a:cubicBezTo>
                  <a:cubicBezTo>
                    <a:pt x="5758" y="1906"/>
                    <a:pt x="5758" y="1906"/>
                    <a:pt x="5737" y="1906"/>
                  </a:cubicBezTo>
                  <a:cubicBezTo>
                    <a:pt x="5737" y="1906"/>
                    <a:pt x="5717" y="1906"/>
                    <a:pt x="5717" y="1885"/>
                  </a:cubicBezTo>
                  <a:cubicBezTo>
                    <a:pt x="5697" y="1885"/>
                    <a:pt x="5676" y="1885"/>
                    <a:pt x="5676" y="1885"/>
                  </a:cubicBezTo>
                  <a:cubicBezTo>
                    <a:pt x="5655" y="1885"/>
                    <a:pt x="5655" y="1885"/>
                    <a:pt x="5655" y="1885"/>
                  </a:cubicBezTo>
                  <a:cubicBezTo>
                    <a:pt x="5655" y="1865"/>
                    <a:pt x="5635" y="1844"/>
                    <a:pt x="5635" y="1844"/>
                  </a:cubicBezTo>
                  <a:cubicBezTo>
                    <a:pt x="5635" y="1844"/>
                    <a:pt x="5635" y="1824"/>
                    <a:pt x="5615" y="1824"/>
                  </a:cubicBezTo>
                  <a:cubicBezTo>
                    <a:pt x="5615" y="1824"/>
                    <a:pt x="5615" y="1824"/>
                    <a:pt x="5594" y="1844"/>
                  </a:cubicBezTo>
                  <a:lnTo>
                    <a:pt x="5594" y="1844"/>
                  </a:lnTo>
                  <a:cubicBezTo>
                    <a:pt x="5573" y="1844"/>
                    <a:pt x="5553" y="1865"/>
                    <a:pt x="5553" y="1844"/>
                  </a:cubicBezTo>
                  <a:lnTo>
                    <a:pt x="5533" y="1844"/>
                  </a:lnTo>
                  <a:cubicBezTo>
                    <a:pt x="5512" y="1824"/>
                    <a:pt x="5491" y="1803"/>
                    <a:pt x="5471" y="1803"/>
                  </a:cubicBezTo>
                  <a:lnTo>
                    <a:pt x="5451" y="1783"/>
                  </a:lnTo>
                  <a:cubicBezTo>
                    <a:pt x="5451" y="1762"/>
                    <a:pt x="5430" y="1742"/>
                    <a:pt x="5430" y="1742"/>
                  </a:cubicBezTo>
                  <a:cubicBezTo>
                    <a:pt x="5430" y="1742"/>
                    <a:pt x="5409" y="1721"/>
                    <a:pt x="5409" y="1701"/>
                  </a:cubicBezTo>
                  <a:lnTo>
                    <a:pt x="5430" y="1680"/>
                  </a:lnTo>
                  <a:lnTo>
                    <a:pt x="5451" y="1660"/>
                  </a:lnTo>
                  <a:cubicBezTo>
                    <a:pt x="5471" y="1660"/>
                    <a:pt x="5471" y="1660"/>
                    <a:pt x="5491" y="1680"/>
                  </a:cubicBezTo>
                  <a:lnTo>
                    <a:pt x="5512" y="1701"/>
                  </a:lnTo>
                  <a:cubicBezTo>
                    <a:pt x="5533" y="1701"/>
                    <a:pt x="5533" y="1721"/>
                    <a:pt x="5553" y="1721"/>
                  </a:cubicBezTo>
                  <a:cubicBezTo>
                    <a:pt x="5553" y="1742"/>
                    <a:pt x="5573" y="1742"/>
                    <a:pt x="5573" y="1742"/>
                  </a:cubicBezTo>
                  <a:cubicBezTo>
                    <a:pt x="5594" y="1742"/>
                    <a:pt x="5594" y="1742"/>
                    <a:pt x="5615" y="1742"/>
                  </a:cubicBezTo>
                  <a:lnTo>
                    <a:pt x="5615" y="1721"/>
                  </a:lnTo>
                  <a:lnTo>
                    <a:pt x="5594" y="1701"/>
                  </a:lnTo>
                  <a:cubicBezTo>
                    <a:pt x="5594" y="1680"/>
                    <a:pt x="5594" y="1680"/>
                    <a:pt x="5594" y="1680"/>
                  </a:cubicBezTo>
                  <a:cubicBezTo>
                    <a:pt x="5594" y="1660"/>
                    <a:pt x="5594" y="1660"/>
                    <a:pt x="5594" y="1660"/>
                  </a:cubicBezTo>
                  <a:cubicBezTo>
                    <a:pt x="5573" y="1660"/>
                    <a:pt x="5573" y="1660"/>
                    <a:pt x="5553" y="1660"/>
                  </a:cubicBezTo>
                  <a:lnTo>
                    <a:pt x="5533" y="1660"/>
                  </a:lnTo>
                  <a:cubicBezTo>
                    <a:pt x="5533" y="1639"/>
                    <a:pt x="5533" y="1639"/>
                    <a:pt x="5533" y="1639"/>
                  </a:cubicBezTo>
                  <a:cubicBezTo>
                    <a:pt x="5553" y="1639"/>
                    <a:pt x="5553" y="1639"/>
                    <a:pt x="5573" y="1619"/>
                  </a:cubicBezTo>
                  <a:cubicBezTo>
                    <a:pt x="5573" y="1619"/>
                    <a:pt x="5594" y="1619"/>
                    <a:pt x="5594" y="1598"/>
                  </a:cubicBezTo>
                  <a:cubicBezTo>
                    <a:pt x="5594" y="1598"/>
                    <a:pt x="5594" y="1598"/>
                    <a:pt x="5615" y="1598"/>
                  </a:cubicBezTo>
                  <a:cubicBezTo>
                    <a:pt x="5615" y="1578"/>
                    <a:pt x="5615" y="1578"/>
                    <a:pt x="5635" y="1578"/>
                  </a:cubicBezTo>
                  <a:lnTo>
                    <a:pt x="5655" y="1578"/>
                  </a:lnTo>
                  <a:lnTo>
                    <a:pt x="5676" y="1578"/>
                  </a:lnTo>
                  <a:cubicBezTo>
                    <a:pt x="5697" y="1578"/>
                    <a:pt x="5717" y="1578"/>
                    <a:pt x="5717" y="1598"/>
                  </a:cubicBezTo>
                  <a:cubicBezTo>
                    <a:pt x="5717" y="1598"/>
                    <a:pt x="5737" y="1598"/>
                    <a:pt x="5758" y="1598"/>
                  </a:cubicBezTo>
                  <a:cubicBezTo>
                    <a:pt x="5758" y="1619"/>
                    <a:pt x="5779" y="1619"/>
                    <a:pt x="5779" y="1619"/>
                  </a:cubicBezTo>
                  <a:cubicBezTo>
                    <a:pt x="5799" y="1619"/>
                    <a:pt x="5799" y="1639"/>
                    <a:pt x="5819" y="1639"/>
                  </a:cubicBezTo>
                  <a:cubicBezTo>
                    <a:pt x="5819" y="1660"/>
                    <a:pt x="5840" y="1660"/>
                    <a:pt x="5861" y="1660"/>
                  </a:cubicBezTo>
                  <a:lnTo>
                    <a:pt x="5881" y="1660"/>
                  </a:lnTo>
                  <a:cubicBezTo>
                    <a:pt x="5901" y="1680"/>
                    <a:pt x="5901" y="1680"/>
                    <a:pt x="5922" y="1701"/>
                  </a:cubicBezTo>
                  <a:cubicBezTo>
                    <a:pt x="5922" y="1701"/>
                    <a:pt x="5942" y="1721"/>
                    <a:pt x="5963" y="1721"/>
                  </a:cubicBezTo>
                  <a:lnTo>
                    <a:pt x="6004" y="1721"/>
                  </a:lnTo>
                  <a:cubicBezTo>
                    <a:pt x="6024" y="1721"/>
                    <a:pt x="6024" y="1701"/>
                    <a:pt x="6045" y="1701"/>
                  </a:cubicBezTo>
                  <a:cubicBezTo>
                    <a:pt x="6045" y="1701"/>
                    <a:pt x="6065" y="1701"/>
                    <a:pt x="6086" y="1701"/>
                  </a:cubicBezTo>
                  <a:lnTo>
                    <a:pt x="6106" y="1701"/>
                  </a:lnTo>
                  <a:cubicBezTo>
                    <a:pt x="6106" y="1721"/>
                    <a:pt x="6127" y="1721"/>
                    <a:pt x="6127" y="1721"/>
                  </a:cubicBezTo>
                  <a:cubicBezTo>
                    <a:pt x="6127" y="1742"/>
                    <a:pt x="6127" y="1762"/>
                    <a:pt x="6127" y="1762"/>
                  </a:cubicBezTo>
                  <a:lnTo>
                    <a:pt x="6127" y="1783"/>
                  </a:lnTo>
                  <a:cubicBezTo>
                    <a:pt x="6127" y="1803"/>
                    <a:pt x="6127" y="1824"/>
                    <a:pt x="6106" y="1824"/>
                  </a:cubicBezTo>
                  <a:lnTo>
                    <a:pt x="6086" y="1824"/>
                  </a:lnTo>
                  <a:lnTo>
                    <a:pt x="6065" y="1824"/>
                  </a:lnTo>
                  <a:cubicBezTo>
                    <a:pt x="6065" y="1844"/>
                    <a:pt x="6065" y="1844"/>
                    <a:pt x="6086" y="1865"/>
                  </a:cubicBezTo>
                  <a:cubicBezTo>
                    <a:pt x="6086" y="1865"/>
                    <a:pt x="6086" y="1865"/>
                    <a:pt x="6106" y="1885"/>
                  </a:cubicBezTo>
                  <a:lnTo>
                    <a:pt x="6106" y="1926"/>
                  </a:lnTo>
                  <a:cubicBezTo>
                    <a:pt x="6106" y="1947"/>
                    <a:pt x="6127" y="1947"/>
                    <a:pt x="6127" y="1967"/>
                  </a:cubicBezTo>
                  <a:lnTo>
                    <a:pt x="6147" y="1967"/>
                  </a:lnTo>
                  <a:lnTo>
                    <a:pt x="6147" y="1947"/>
                  </a:lnTo>
                  <a:lnTo>
                    <a:pt x="6147" y="1926"/>
                  </a:lnTo>
                  <a:lnTo>
                    <a:pt x="6168" y="1926"/>
                  </a:lnTo>
                  <a:cubicBezTo>
                    <a:pt x="6168" y="1926"/>
                    <a:pt x="6188" y="1926"/>
                    <a:pt x="6188" y="1947"/>
                  </a:cubicBezTo>
                  <a:cubicBezTo>
                    <a:pt x="6188" y="1947"/>
                    <a:pt x="6209" y="1947"/>
                    <a:pt x="6209" y="1967"/>
                  </a:cubicBezTo>
                  <a:cubicBezTo>
                    <a:pt x="6229" y="1967"/>
                    <a:pt x="6250" y="1967"/>
                    <a:pt x="6250" y="1967"/>
                  </a:cubicBezTo>
                  <a:cubicBezTo>
                    <a:pt x="6250" y="1988"/>
                    <a:pt x="6250" y="2008"/>
                    <a:pt x="6270" y="2008"/>
                  </a:cubicBezTo>
                  <a:cubicBezTo>
                    <a:pt x="6270" y="2008"/>
                    <a:pt x="6270" y="2008"/>
                    <a:pt x="6270" y="2029"/>
                  </a:cubicBezTo>
                  <a:cubicBezTo>
                    <a:pt x="6291" y="2029"/>
                    <a:pt x="6291" y="2049"/>
                    <a:pt x="6270" y="2049"/>
                  </a:cubicBezTo>
                  <a:cubicBezTo>
                    <a:pt x="6270" y="2049"/>
                    <a:pt x="6270" y="2049"/>
                    <a:pt x="6250" y="2049"/>
                  </a:cubicBezTo>
                  <a:lnTo>
                    <a:pt x="6250" y="2049"/>
                  </a:lnTo>
                  <a:cubicBezTo>
                    <a:pt x="6229" y="2049"/>
                    <a:pt x="6229" y="2070"/>
                    <a:pt x="6229" y="2090"/>
                  </a:cubicBezTo>
                  <a:cubicBezTo>
                    <a:pt x="6229" y="2090"/>
                    <a:pt x="6229" y="2111"/>
                    <a:pt x="6250" y="2131"/>
                  </a:cubicBezTo>
                  <a:lnTo>
                    <a:pt x="6250" y="2131"/>
                  </a:lnTo>
                  <a:cubicBezTo>
                    <a:pt x="6270" y="2131"/>
                    <a:pt x="6291" y="2131"/>
                    <a:pt x="6291" y="2131"/>
                  </a:cubicBezTo>
                  <a:cubicBezTo>
                    <a:pt x="6291" y="2131"/>
                    <a:pt x="6311" y="2131"/>
                    <a:pt x="6311" y="2152"/>
                  </a:cubicBezTo>
                  <a:cubicBezTo>
                    <a:pt x="6311" y="2152"/>
                    <a:pt x="6332" y="2152"/>
                    <a:pt x="6332" y="2172"/>
                  </a:cubicBezTo>
                  <a:lnTo>
                    <a:pt x="6352" y="2193"/>
                  </a:lnTo>
                  <a:cubicBezTo>
                    <a:pt x="6352" y="2193"/>
                    <a:pt x="6373" y="2193"/>
                    <a:pt x="6393" y="2193"/>
                  </a:cubicBezTo>
                  <a:cubicBezTo>
                    <a:pt x="6393" y="2213"/>
                    <a:pt x="6414" y="2213"/>
                    <a:pt x="6414" y="2213"/>
                  </a:cubicBezTo>
                  <a:cubicBezTo>
                    <a:pt x="6414" y="2213"/>
                    <a:pt x="6414" y="2213"/>
                    <a:pt x="6434" y="2234"/>
                  </a:cubicBezTo>
                  <a:cubicBezTo>
                    <a:pt x="6434" y="2234"/>
                    <a:pt x="6434" y="2234"/>
                    <a:pt x="6455" y="2254"/>
                  </a:cubicBezTo>
                  <a:cubicBezTo>
                    <a:pt x="6455" y="2254"/>
                    <a:pt x="6475" y="2254"/>
                    <a:pt x="6475" y="2234"/>
                  </a:cubicBezTo>
                  <a:cubicBezTo>
                    <a:pt x="6475" y="2234"/>
                    <a:pt x="6475" y="2234"/>
                    <a:pt x="6475" y="2213"/>
                  </a:cubicBezTo>
                  <a:cubicBezTo>
                    <a:pt x="6475" y="2213"/>
                    <a:pt x="6455" y="2213"/>
                    <a:pt x="6455" y="2193"/>
                  </a:cubicBezTo>
                  <a:cubicBezTo>
                    <a:pt x="6455" y="2193"/>
                    <a:pt x="6434" y="2193"/>
                    <a:pt x="6414" y="2193"/>
                  </a:cubicBezTo>
                  <a:cubicBezTo>
                    <a:pt x="6414" y="2172"/>
                    <a:pt x="6393" y="2172"/>
                    <a:pt x="6393" y="2172"/>
                  </a:cubicBezTo>
                  <a:cubicBezTo>
                    <a:pt x="6393" y="2172"/>
                    <a:pt x="6373" y="2172"/>
                    <a:pt x="6373" y="2152"/>
                  </a:cubicBezTo>
                  <a:lnTo>
                    <a:pt x="6373" y="2152"/>
                  </a:lnTo>
                  <a:cubicBezTo>
                    <a:pt x="6373" y="2131"/>
                    <a:pt x="6352" y="2131"/>
                    <a:pt x="6332" y="2131"/>
                  </a:cubicBezTo>
                  <a:cubicBezTo>
                    <a:pt x="6332" y="2111"/>
                    <a:pt x="6311" y="2111"/>
                    <a:pt x="6311" y="2111"/>
                  </a:cubicBezTo>
                  <a:cubicBezTo>
                    <a:pt x="6311" y="2111"/>
                    <a:pt x="6291" y="2111"/>
                    <a:pt x="6291" y="2090"/>
                  </a:cubicBezTo>
                  <a:lnTo>
                    <a:pt x="6291" y="2070"/>
                  </a:lnTo>
                  <a:lnTo>
                    <a:pt x="6311" y="2070"/>
                  </a:lnTo>
                  <a:cubicBezTo>
                    <a:pt x="6332" y="2070"/>
                    <a:pt x="6332" y="2049"/>
                    <a:pt x="6332" y="2049"/>
                  </a:cubicBezTo>
                  <a:cubicBezTo>
                    <a:pt x="6332" y="2029"/>
                    <a:pt x="6332" y="2029"/>
                    <a:pt x="6311" y="2008"/>
                  </a:cubicBezTo>
                  <a:lnTo>
                    <a:pt x="6291" y="1988"/>
                  </a:lnTo>
                  <a:cubicBezTo>
                    <a:pt x="6291" y="1988"/>
                    <a:pt x="6291" y="1967"/>
                    <a:pt x="6270" y="1967"/>
                  </a:cubicBezTo>
                  <a:cubicBezTo>
                    <a:pt x="6270" y="1947"/>
                    <a:pt x="6270" y="1926"/>
                    <a:pt x="6270" y="1926"/>
                  </a:cubicBezTo>
                  <a:cubicBezTo>
                    <a:pt x="6250" y="1906"/>
                    <a:pt x="6229" y="1885"/>
                    <a:pt x="6209" y="1885"/>
                  </a:cubicBezTo>
                  <a:cubicBezTo>
                    <a:pt x="6209" y="1865"/>
                    <a:pt x="6188" y="1865"/>
                    <a:pt x="6188" y="1865"/>
                  </a:cubicBezTo>
                  <a:lnTo>
                    <a:pt x="6188" y="1844"/>
                  </a:lnTo>
                  <a:cubicBezTo>
                    <a:pt x="6188" y="1824"/>
                    <a:pt x="6188" y="1803"/>
                    <a:pt x="6188" y="1803"/>
                  </a:cubicBezTo>
                  <a:cubicBezTo>
                    <a:pt x="6188" y="1803"/>
                    <a:pt x="6168" y="1783"/>
                    <a:pt x="6168" y="1762"/>
                  </a:cubicBezTo>
                  <a:lnTo>
                    <a:pt x="6188" y="1742"/>
                  </a:lnTo>
                  <a:lnTo>
                    <a:pt x="6188" y="1721"/>
                  </a:lnTo>
                  <a:lnTo>
                    <a:pt x="6168" y="1701"/>
                  </a:lnTo>
                  <a:cubicBezTo>
                    <a:pt x="6168" y="1680"/>
                    <a:pt x="6147" y="1680"/>
                    <a:pt x="6147" y="1660"/>
                  </a:cubicBezTo>
                  <a:cubicBezTo>
                    <a:pt x="6127" y="1660"/>
                    <a:pt x="6106" y="1660"/>
                    <a:pt x="6106" y="1660"/>
                  </a:cubicBezTo>
                  <a:cubicBezTo>
                    <a:pt x="6106" y="1660"/>
                    <a:pt x="6086" y="1660"/>
                    <a:pt x="6065" y="1660"/>
                  </a:cubicBezTo>
                  <a:cubicBezTo>
                    <a:pt x="6065" y="1660"/>
                    <a:pt x="6045" y="1660"/>
                    <a:pt x="6024" y="1639"/>
                  </a:cubicBezTo>
                  <a:lnTo>
                    <a:pt x="6004" y="1639"/>
                  </a:lnTo>
                  <a:cubicBezTo>
                    <a:pt x="5983" y="1619"/>
                    <a:pt x="5983" y="1619"/>
                    <a:pt x="5963" y="1598"/>
                  </a:cubicBezTo>
                  <a:cubicBezTo>
                    <a:pt x="5963" y="1598"/>
                    <a:pt x="5963" y="1578"/>
                    <a:pt x="5942" y="1578"/>
                  </a:cubicBezTo>
                  <a:cubicBezTo>
                    <a:pt x="5942" y="1557"/>
                    <a:pt x="5942" y="1557"/>
                    <a:pt x="5922" y="1557"/>
                  </a:cubicBezTo>
                  <a:lnTo>
                    <a:pt x="5881" y="1557"/>
                  </a:lnTo>
                  <a:cubicBezTo>
                    <a:pt x="5861" y="1557"/>
                    <a:pt x="5861" y="1557"/>
                    <a:pt x="5840" y="1557"/>
                  </a:cubicBezTo>
                  <a:lnTo>
                    <a:pt x="5819" y="1537"/>
                  </a:lnTo>
                  <a:cubicBezTo>
                    <a:pt x="5819" y="1517"/>
                    <a:pt x="5799" y="1496"/>
                    <a:pt x="5799" y="1496"/>
                  </a:cubicBezTo>
                  <a:cubicBezTo>
                    <a:pt x="5799" y="1496"/>
                    <a:pt x="5799" y="1475"/>
                    <a:pt x="5799" y="1455"/>
                  </a:cubicBezTo>
                  <a:lnTo>
                    <a:pt x="5779" y="1435"/>
                  </a:lnTo>
                  <a:cubicBezTo>
                    <a:pt x="5758" y="1414"/>
                    <a:pt x="5758" y="1393"/>
                    <a:pt x="5737" y="1373"/>
                  </a:cubicBezTo>
                  <a:cubicBezTo>
                    <a:pt x="5737" y="1373"/>
                    <a:pt x="5737" y="1353"/>
                    <a:pt x="5737" y="1332"/>
                  </a:cubicBezTo>
                  <a:cubicBezTo>
                    <a:pt x="5737" y="1332"/>
                    <a:pt x="5737" y="1311"/>
                    <a:pt x="5737" y="1291"/>
                  </a:cubicBezTo>
                  <a:cubicBezTo>
                    <a:pt x="5737" y="1291"/>
                    <a:pt x="5737" y="1271"/>
                    <a:pt x="5737" y="1250"/>
                  </a:cubicBezTo>
                  <a:cubicBezTo>
                    <a:pt x="5758" y="1250"/>
                    <a:pt x="5758" y="1250"/>
                    <a:pt x="5779" y="1229"/>
                  </a:cubicBezTo>
                  <a:lnTo>
                    <a:pt x="5799" y="1229"/>
                  </a:lnTo>
                  <a:cubicBezTo>
                    <a:pt x="5819" y="1229"/>
                    <a:pt x="5840" y="1229"/>
                    <a:pt x="5861" y="1229"/>
                  </a:cubicBezTo>
                  <a:cubicBezTo>
                    <a:pt x="5861" y="1229"/>
                    <a:pt x="5881" y="1250"/>
                    <a:pt x="5901" y="1250"/>
                  </a:cubicBezTo>
                  <a:cubicBezTo>
                    <a:pt x="5922" y="1250"/>
                    <a:pt x="5963" y="1250"/>
                    <a:pt x="5963" y="1229"/>
                  </a:cubicBezTo>
                  <a:cubicBezTo>
                    <a:pt x="5983" y="1229"/>
                    <a:pt x="6024" y="1209"/>
                    <a:pt x="6045" y="1209"/>
                  </a:cubicBezTo>
                  <a:cubicBezTo>
                    <a:pt x="6045" y="1209"/>
                    <a:pt x="6065" y="1209"/>
                    <a:pt x="6086" y="1189"/>
                  </a:cubicBezTo>
                  <a:lnTo>
                    <a:pt x="6106" y="1189"/>
                  </a:lnTo>
                  <a:cubicBezTo>
                    <a:pt x="6127" y="1189"/>
                    <a:pt x="6147" y="1209"/>
                    <a:pt x="6147" y="1209"/>
                  </a:cubicBezTo>
                  <a:cubicBezTo>
                    <a:pt x="6168" y="1209"/>
                    <a:pt x="6168" y="1189"/>
                    <a:pt x="6188" y="1189"/>
                  </a:cubicBezTo>
                  <a:cubicBezTo>
                    <a:pt x="6188" y="1189"/>
                    <a:pt x="6209" y="1168"/>
                    <a:pt x="6229" y="1168"/>
                  </a:cubicBezTo>
                  <a:cubicBezTo>
                    <a:pt x="6229" y="1168"/>
                    <a:pt x="6250" y="1168"/>
                    <a:pt x="6270" y="1168"/>
                  </a:cubicBezTo>
                  <a:cubicBezTo>
                    <a:pt x="6291" y="1168"/>
                    <a:pt x="6311" y="1189"/>
                    <a:pt x="6332" y="1168"/>
                  </a:cubicBezTo>
                  <a:lnTo>
                    <a:pt x="6352" y="1168"/>
                  </a:lnTo>
                  <a:lnTo>
                    <a:pt x="6352" y="1147"/>
                  </a:lnTo>
                  <a:cubicBezTo>
                    <a:pt x="6352" y="1127"/>
                    <a:pt x="6332" y="1127"/>
                    <a:pt x="6332" y="1127"/>
                  </a:cubicBezTo>
                  <a:lnTo>
                    <a:pt x="6311" y="1127"/>
                  </a:lnTo>
                  <a:cubicBezTo>
                    <a:pt x="6311" y="1127"/>
                    <a:pt x="6311" y="1107"/>
                    <a:pt x="6291" y="1107"/>
                  </a:cubicBezTo>
                  <a:lnTo>
                    <a:pt x="6270" y="1086"/>
                  </a:lnTo>
                  <a:lnTo>
                    <a:pt x="6270" y="1065"/>
                  </a:lnTo>
                  <a:cubicBezTo>
                    <a:pt x="6270" y="1065"/>
                    <a:pt x="6250" y="1065"/>
                    <a:pt x="6250" y="1045"/>
                  </a:cubicBezTo>
                  <a:cubicBezTo>
                    <a:pt x="6229" y="1045"/>
                    <a:pt x="6229" y="1065"/>
                    <a:pt x="6209" y="1045"/>
                  </a:cubicBezTo>
                  <a:cubicBezTo>
                    <a:pt x="6209" y="1045"/>
                    <a:pt x="6209" y="1045"/>
                    <a:pt x="6188" y="1045"/>
                  </a:cubicBezTo>
                  <a:cubicBezTo>
                    <a:pt x="6188" y="1025"/>
                    <a:pt x="6188" y="1025"/>
                    <a:pt x="6188" y="1004"/>
                  </a:cubicBezTo>
                  <a:lnTo>
                    <a:pt x="6188" y="1004"/>
                  </a:lnTo>
                  <a:cubicBezTo>
                    <a:pt x="6209" y="1004"/>
                    <a:pt x="6209" y="1025"/>
                    <a:pt x="6229" y="1025"/>
                  </a:cubicBezTo>
                  <a:lnTo>
                    <a:pt x="6229" y="1025"/>
                  </a:lnTo>
                  <a:cubicBezTo>
                    <a:pt x="6250" y="1025"/>
                    <a:pt x="6270" y="1025"/>
                    <a:pt x="6270" y="1025"/>
                  </a:cubicBezTo>
                  <a:lnTo>
                    <a:pt x="6270" y="1004"/>
                  </a:lnTo>
                  <a:cubicBezTo>
                    <a:pt x="6270" y="983"/>
                    <a:pt x="6250" y="1004"/>
                    <a:pt x="6229" y="1004"/>
                  </a:cubicBezTo>
                  <a:lnTo>
                    <a:pt x="6209" y="983"/>
                  </a:lnTo>
                  <a:cubicBezTo>
                    <a:pt x="6188" y="983"/>
                    <a:pt x="6188" y="963"/>
                    <a:pt x="6188" y="963"/>
                  </a:cubicBezTo>
                  <a:lnTo>
                    <a:pt x="6168" y="963"/>
                  </a:lnTo>
                  <a:lnTo>
                    <a:pt x="6147" y="963"/>
                  </a:lnTo>
                  <a:cubicBezTo>
                    <a:pt x="6127" y="943"/>
                    <a:pt x="6127" y="943"/>
                    <a:pt x="6127" y="922"/>
                  </a:cubicBezTo>
                  <a:cubicBezTo>
                    <a:pt x="6127" y="922"/>
                    <a:pt x="6127" y="901"/>
                    <a:pt x="6147" y="901"/>
                  </a:cubicBezTo>
                  <a:cubicBezTo>
                    <a:pt x="6147" y="901"/>
                    <a:pt x="6147" y="901"/>
                    <a:pt x="6168" y="901"/>
                  </a:cubicBezTo>
                  <a:cubicBezTo>
                    <a:pt x="6168" y="901"/>
                    <a:pt x="6168" y="922"/>
                    <a:pt x="6188" y="922"/>
                  </a:cubicBezTo>
                  <a:lnTo>
                    <a:pt x="6188" y="943"/>
                  </a:lnTo>
                  <a:cubicBezTo>
                    <a:pt x="6209" y="943"/>
                    <a:pt x="6209" y="943"/>
                    <a:pt x="6209" y="943"/>
                  </a:cubicBezTo>
                  <a:cubicBezTo>
                    <a:pt x="6229" y="943"/>
                    <a:pt x="6229" y="922"/>
                    <a:pt x="6229" y="922"/>
                  </a:cubicBezTo>
                  <a:lnTo>
                    <a:pt x="6250" y="922"/>
                  </a:lnTo>
                  <a:cubicBezTo>
                    <a:pt x="6250" y="901"/>
                    <a:pt x="6250" y="901"/>
                    <a:pt x="6250" y="881"/>
                  </a:cubicBezTo>
                  <a:cubicBezTo>
                    <a:pt x="6250" y="881"/>
                    <a:pt x="6250" y="881"/>
                    <a:pt x="6250" y="861"/>
                  </a:cubicBezTo>
                  <a:lnTo>
                    <a:pt x="6270" y="861"/>
                  </a:lnTo>
                  <a:lnTo>
                    <a:pt x="6270" y="841"/>
                  </a:lnTo>
                  <a:lnTo>
                    <a:pt x="6250" y="841"/>
                  </a:lnTo>
                  <a:lnTo>
                    <a:pt x="6229" y="841"/>
                  </a:lnTo>
                  <a:cubicBezTo>
                    <a:pt x="6229" y="841"/>
                    <a:pt x="6209" y="841"/>
                    <a:pt x="6209" y="820"/>
                  </a:cubicBezTo>
                  <a:lnTo>
                    <a:pt x="6209" y="820"/>
                  </a:lnTo>
                  <a:cubicBezTo>
                    <a:pt x="6229" y="820"/>
                    <a:pt x="6229" y="820"/>
                    <a:pt x="6250" y="820"/>
                  </a:cubicBezTo>
                  <a:lnTo>
                    <a:pt x="6270" y="799"/>
                  </a:lnTo>
                  <a:lnTo>
                    <a:pt x="6291" y="820"/>
                  </a:lnTo>
                  <a:lnTo>
                    <a:pt x="6291" y="799"/>
                  </a:lnTo>
                  <a:cubicBezTo>
                    <a:pt x="6311" y="799"/>
                    <a:pt x="6311" y="779"/>
                    <a:pt x="6311" y="779"/>
                  </a:cubicBezTo>
                  <a:cubicBezTo>
                    <a:pt x="6332" y="759"/>
                    <a:pt x="6332" y="738"/>
                    <a:pt x="6332" y="717"/>
                  </a:cubicBezTo>
                  <a:cubicBezTo>
                    <a:pt x="6332" y="717"/>
                    <a:pt x="6352" y="717"/>
                    <a:pt x="6373" y="717"/>
                  </a:cubicBezTo>
                  <a:cubicBezTo>
                    <a:pt x="6373" y="697"/>
                    <a:pt x="6393" y="697"/>
                    <a:pt x="6393" y="697"/>
                  </a:cubicBezTo>
                  <a:cubicBezTo>
                    <a:pt x="6414" y="697"/>
                    <a:pt x="6414" y="697"/>
                    <a:pt x="6434" y="697"/>
                  </a:cubicBezTo>
                  <a:cubicBezTo>
                    <a:pt x="6434" y="677"/>
                    <a:pt x="6455" y="677"/>
                    <a:pt x="6455" y="656"/>
                  </a:cubicBezTo>
                  <a:lnTo>
                    <a:pt x="6475" y="656"/>
                  </a:lnTo>
                  <a:cubicBezTo>
                    <a:pt x="6496" y="656"/>
                    <a:pt x="6516" y="635"/>
                    <a:pt x="6537" y="635"/>
                  </a:cubicBezTo>
                  <a:lnTo>
                    <a:pt x="6557" y="615"/>
                  </a:lnTo>
                  <a:cubicBezTo>
                    <a:pt x="6578" y="615"/>
                    <a:pt x="6598" y="615"/>
                    <a:pt x="6598" y="615"/>
                  </a:cubicBezTo>
                  <a:cubicBezTo>
                    <a:pt x="6619" y="615"/>
                    <a:pt x="6639" y="635"/>
                    <a:pt x="6639" y="635"/>
                  </a:cubicBezTo>
                  <a:cubicBezTo>
                    <a:pt x="6660" y="635"/>
                    <a:pt x="6660" y="615"/>
                    <a:pt x="6680" y="615"/>
                  </a:cubicBezTo>
                  <a:cubicBezTo>
                    <a:pt x="6700" y="615"/>
                    <a:pt x="6742" y="615"/>
                    <a:pt x="6742" y="595"/>
                  </a:cubicBezTo>
                  <a:lnTo>
                    <a:pt x="6762" y="595"/>
                  </a:lnTo>
                  <a:cubicBezTo>
                    <a:pt x="6762" y="574"/>
                    <a:pt x="6762" y="574"/>
                    <a:pt x="6762" y="574"/>
                  </a:cubicBezTo>
                  <a:cubicBezTo>
                    <a:pt x="6762" y="553"/>
                    <a:pt x="6742" y="574"/>
                    <a:pt x="6742" y="574"/>
                  </a:cubicBezTo>
                  <a:cubicBezTo>
                    <a:pt x="6721" y="574"/>
                    <a:pt x="6721" y="574"/>
                    <a:pt x="6700" y="574"/>
                  </a:cubicBezTo>
                  <a:lnTo>
                    <a:pt x="6680" y="574"/>
                  </a:lnTo>
                  <a:cubicBezTo>
                    <a:pt x="6680" y="574"/>
                    <a:pt x="6660" y="574"/>
                    <a:pt x="6660" y="553"/>
                  </a:cubicBezTo>
                  <a:lnTo>
                    <a:pt x="6660" y="533"/>
                  </a:lnTo>
                  <a:lnTo>
                    <a:pt x="6660" y="533"/>
                  </a:lnTo>
                  <a:cubicBezTo>
                    <a:pt x="6680" y="513"/>
                    <a:pt x="6660" y="513"/>
                    <a:pt x="6660" y="513"/>
                  </a:cubicBezTo>
                  <a:cubicBezTo>
                    <a:pt x="6660" y="492"/>
                    <a:pt x="6680" y="492"/>
                    <a:pt x="6680" y="492"/>
                  </a:cubicBezTo>
                  <a:lnTo>
                    <a:pt x="6700" y="492"/>
                  </a:lnTo>
                  <a:cubicBezTo>
                    <a:pt x="6700" y="513"/>
                    <a:pt x="6700" y="513"/>
                    <a:pt x="6721" y="513"/>
                  </a:cubicBezTo>
                  <a:cubicBezTo>
                    <a:pt x="6721" y="533"/>
                    <a:pt x="6742" y="533"/>
                    <a:pt x="6742" y="513"/>
                  </a:cubicBezTo>
                  <a:cubicBezTo>
                    <a:pt x="6742" y="513"/>
                    <a:pt x="6742" y="513"/>
                    <a:pt x="6762" y="513"/>
                  </a:cubicBezTo>
                  <a:cubicBezTo>
                    <a:pt x="6762" y="492"/>
                    <a:pt x="6782" y="513"/>
                    <a:pt x="6803" y="492"/>
                  </a:cubicBezTo>
                  <a:lnTo>
                    <a:pt x="6824" y="492"/>
                  </a:lnTo>
                  <a:cubicBezTo>
                    <a:pt x="6824" y="492"/>
                    <a:pt x="6844" y="471"/>
                    <a:pt x="6844" y="492"/>
                  </a:cubicBezTo>
                  <a:cubicBezTo>
                    <a:pt x="6864" y="492"/>
                    <a:pt x="6885" y="513"/>
                    <a:pt x="6885" y="513"/>
                  </a:cubicBezTo>
                  <a:cubicBezTo>
                    <a:pt x="6906" y="513"/>
                    <a:pt x="6906" y="513"/>
                    <a:pt x="6926" y="513"/>
                  </a:cubicBezTo>
                  <a:cubicBezTo>
                    <a:pt x="6926" y="533"/>
                    <a:pt x="6946" y="513"/>
                    <a:pt x="6946" y="533"/>
                  </a:cubicBezTo>
                  <a:lnTo>
                    <a:pt x="6967" y="533"/>
                  </a:lnTo>
                  <a:lnTo>
                    <a:pt x="6988" y="553"/>
                  </a:lnTo>
                  <a:cubicBezTo>
                    <a:pt x="6988" y="574"/>
                    <a:pt x="7028" y="553"/>
                    <a:pt x="7028" y="553"/>
                  </a:cubicBezTo>
                  <a:cubicBezTo>
                    <a:pt x="7028" y="553"/>
                    <a:pt x="7028" y="574"/>
                    <a:pt x="7049" y="574"/>
                  </a:cubicBezTo>
                  <a:cubicBezTo>
                    <a:pt x="7049" y="574"/>
                    <a:pt x="7049" y="553"/>
                    <a:pt x="7070" y="553"/>
                  </a:cubicBezTo>
                  <a:cubicBezTo>
                    <a:pt x="7070" y="533"/>
                    <a:pt x="7070" y="533"/>
                    <a:pt x="7070" y="533"/>
                  </a:cubicBezTo>
                  <a:cubicBezTo>
                    <a:pt x="7090" y="533"/>
                    <a:pt x="7090" y="533"/>
                    <a:pt x="7090" y="533"/>
                  </a:cubicBezTo>
                  <a:lnTo>
                    <a:pt x="7110" y="533"/>
                  </a:lnTo>
                  <a:cubicBezTo>
                    <a:pt x="7110" y="553"/>
                    <a:pt x="7131" y="553"/>
                    <a:pt x="7131" y="533"/>
                  </a:cubicBezTo>
                  <a:lnTo>
                    <a:pt x="7131" y="533"/>
                  </a:lnTo>
                  <a:cubicBezTo>
                    <a:pt x="7131" y="513"/>
                    <a:pt x="7131" y="513"/>
                    <a:pt x="7131" y="513"/>
                  </a:cubicBezTo>
                  <a:cubicBezTo>
                    <a:pt x="7131" y="492"/>
                    <a:pt x="7152" y="492"/>
                    <a:pt x="7152" y="492"/>
                  </a:cubicBezTo>
                  <a:lnTo>
                    <a:pt x="7172" y="492"/>
                  </a:lnTo>
                  <a:cubicBezTo>
                    <a:pt x="7192" y="492"/>
                    <a:pt x="7213" y="471"/>
                    <a:pt x="7213" y="471"/>
                  </a:cubicBezTo>
                  <a:cubicBezTo>
                    <a:pt x="7234" y="471"/>
                    <a:pt x="7234" y="451"/>
                    <a:pt x="7234" y="451"/>
                  </a:cubicBezTo>
                  <a:cubicBezTo>
                    <a:pt x="7254" y="451"/>
                    <a:pt x="7254" y="451"/>
                    <a:pt x="7254" y="451"/>
                  </a:cubicBezTo>
                  <a:cubicBezTo>
                    <a:pt x="7274" y="451"/>
                    <a:pt x="7274" y="471"/>
                    <a:pt x="7274" y="471"/>
                  </a:cubicBezTo>
                  <a:lnTo>
                    <a:pt x="7295" y="492"/>
                  </a:lnTo>
                  <a:lnTo>
                    <a:pt x="7295" y="513"/>
                  </a:lnTo>
                  <a:cubicBezTo>
                    <a:pt x="7316" y="513"/>
                    <a:pt x="7316" y="492"/>
                    <a:pt x="7316" y="471"/>
                  </a:cubicBezTo>
                  <a:lnTo>
                    <a:pt x="7295" y="451"/>
                  </a:lnTo>
                  <a:cubicBezTo>
                    <a:pt x="7295" y="451"/>
                    <a:pt x="7295" y="431"/>
                    <a:pt x="7274" y="431"/>
                  </a:cubicBezTo>
                  <a:cubicBezTo>
                    <a:pt x="7274" y="431"/>
                    <a:pt x="7254" y="431"/>
                    <a:pt x="7234" y="410"/>
                  </a:cubicBezTo>
                  <a:lnTo>
                    <a:pt x="7213" y="410"/>
                  </a:lnTo>
                  <a:lnTo>
                    <a:pt x="7192" y="410"/>
                  </a:lnTo>
                  <a:cubicBezTo>
                    <a:pt x="7192" y="389"/>
                    <a:pt x="7192" y="389"/>
                    <a:pt x="7192" y="369"/>
                  </a:cubicBezTo>
                  <a:lnTo>
                    <a:pt x="7213" y="389"/>
                  </a:lnTo>
                  <a:cubicBezTo>
                    <a:pt x="7234" y="389"/>
                    <a:pt x="7234" y="389"/>
                    <a:pt x="7234" y="389"/>
                  </a:cubicBezTo>
                  <a:cubicBezTo>
                    <a:pt x="7254" y="389"/>
                    <a:pt x="7254" y="389"/>
                    <a:pt x="7274" y="389"/>
                  </a:cubicBezTo>
                  <a:cubicBezTo>
                    <a:pt x="7274" y="389"/>
                    <a:pt x="7295" y="389"/>
                    <a:pt x="7316" y="389"/>
                  </a:cubicBezTo>
                  <a:cubicBezTo>
                    <a:pt x="7316" y="389"/>
                    <a:pt x="7316" y="389"/>
                    <a:pt x="7336" y="369"/>
                  </a:cubicBezTo>
                  <a:cubicBezTo>
                    <a:pt x="7336" y="369"/>
                    <a:pt x="7356" y="369"/>
                    <a:pt x="7356" y="389"/>
                  </a:cubicBezTo>
                  <a:cubicBezTo>
                    <a:pt x="7377" y="389"/>
                    <a:pt x="7397" y="389"/>
                    <a:pt x="7397" y="389"/>
                  </a:cubicBezTo>
                  <a:cubicBezTo>
                    <a:pt x="7418" y="389"/>
                    <a:pt x="7438" y="389"/>
                    <a:pt x="7458" y="389"/>
                  </a:cubicBezTo>
                  <a:cubicBezTo>
                    <a:pt x="7479" y="389"/>
                    <a:pt x="7500" y="389"/>
                    <a:pt x="7500" y="389"/>
                  </a:cubicBezTo>
                  <a:lnTo>
                    <a:pt x="7520" y="369"/>
                  </a:lnTo>
                  <a:lnTo>
                    <a:pt x="7500" y="369"/>
                  </a:lnTo>
                  <a:cubicBezTo>
                    <a:pt x="7479" y="369"/>
                    <a:pt x="7479" y="369"/>
                    <a:pt x="7479" y="369"/>
                  </a:cubicBezTo>
                  <a:cubicBezTo>
                    <a:pt x="7458" y="369"/>
                    <a:pt x="7458" y="369"/>
                    <a:pt x="7438" y="369"/>
                  </a:cubicBezTo>
                  <a:lnTo>
                    <a:pt x="7438" y="349"/>
                  </a:lnTo>
                  <a:cubicBezTo>
                    <a:pt x="7418" y="349"/>
                    <a:pt x="7418" y="349"/>
                    <a:pt x="7418" y="349"/>
                  </a:cubicBezTo>
                  <a:cubicBezTo>
                    <a:pt x="7397" y="349"/>
                    <a:pt x="7377" y="349"/>
                    <a:pt x="7377" y="349"/>
                  </a:cubicBezTo>
                  <a:lnTo>
                    <a:pt x="7356" y="349"/>
                  </a:lnTo>
                  <a:lnTo>
                    <a:pt x="7336" y="349"/>
                  </a:lnTo>
                  <a:cubicBezTo>
                    <a:pt x="7336" y="328"/>
                    <a:pt x="7336" y="328"/>
                    <a:pt x="7336" y="328"/>
                  </a:cubicBezTo>
                  <a:lnTo>
                    <a:pt x="7336" y="307"/>
                  </a:lnTo>
                  <a:lnTo>
                    <a:pt x="7316" y="307"/>
                  </a:lnTo>
                  <a:lnTo>
                    <a:pt x="7295" y="287"/>
                  </a:lnTo>
                  <a:cubicBezTo>
                    <a:pt x="7295" y="267"/>
                    <a:pt x="7295" y="246"/>
                    <a:pt x="7295" y="246"/>
                  </a:cubicBezTo>
                  <a:cubicBezTo>
                    <a:pt x="7295" y="225"/>
                    <a:pt x="7295" y="205"/>
                    <a:pt x="7295" y="185"/>
                  </a:cubicBezTo>
                  <a:cubicBezTo>
                    <a:pt x="7295" y="185"/>
                    <a:pt x="7295" y="164"/>
                    <a:pt x="7316" y="164"/>
                  </a:cubicBezTo>
                  <a:cubicBezTo>
                    <a:pt x="7316" y="144"/>
                    <a:pt x="7316" y="144"/>
                    <a:pt x="7336" y="123"/>
                  </a:cubicBezTo>
                  <a:lnTo>
                    <a:pt x="7356" y="103"/>
                  </a:lnTo>
                  <a:cubicBezTo>
                    <a:pt x="7356" y="103"/>
                    <a:pt x="7377" y="82"/>
                    <a:pt x="7397" y="82"/>
                  </a:cubicBezTo>
                  <a:cubicBezTo>
                    <a:pt x="7397" y="82"/>
                    <a:pt x="7418" y="41"/>
                    <a:pt x="7438" y="41"/>
                  </a:cubicBezTo>
                  <a:lnTo>
                    <a:pt x="7458" y="0"/>
                  </a:lnTo>
                  <a:cubicBezTo>
                    <a:pt x="7479" y="0"/>
                    <a:pt x="7500" y="0"/>
                    <a:pt x="7520" y="0"/>
                  </a:cubicBezTo>
                  <a:cubicBezTo>
                    <a:pt x="7520" y="0"/>
                    <a:pt x="7540" y="0"/>
                    <a:pt x="7540" y="21"/>
                  </a:cubicBezTo>
                  <a:cubicBezTo>
                    <a:pt x="7561" y="21"/>
                    <a:pt x="7561" y="21"/>
                    <a:pt x="7582" y="21"/>
                  </a:cubicBezTo>
                  <a:lnTo>
                    <a:pt x="7602" y="41"/>
                  </a:lnTo>
                  <a:lnTo>
                    <a:pt x="7622" y="21"/>
                  </a:lnTo>
                  <a:cubicBezTo>
                    <a:pt x="7643" y="21"/>
                    <a:pt x="7643" y="21"/>
                    <a:pt x="7643" y="21"/>
                  </a:cubicBezTo>
                  <a:lnTo>
                    <a:pt x="7664" y="21"/>
                  </a:lnTo>
                  <a:cubicBezTo>
                    <a:pt x="7664" y="21"/>
                    <a:pt x="7664" y="41"/>
                    <a:pt x="7684" y="41"/>
                  </a:cubicBezTo>
                  <a:cubicBezTo>
                    <a:pt x="7684" y="62"/>
                    <a:pt x="7704" y="62"/>
                    <a:pt x="7704" y="62"/>
                  </a:cubicBezTo>
                  <a:cubicBezTo>
                    <a:pt x="7704" y="82"/>
                    <a:pt x="7725" y="82"/>
                    <a:pt x="7704" y="82"/>
                  </a:cubicBezTo>
                  <a:cubicBezTo>
                    <a:pt x="7704" y="103"/>
                    <a:pt x="7704" y="103"/>
                    <a:pt x="7684" y="123"/>
                  </a:cubicBezTo>
                  <a:cubicBezTo>
                    <a:pt x="7684" y="123"/>
                    <a:pt x="7664" y="123"/>
                    <a:pt x="7664" y="144"/>
                  </a:cubicBezTo>
                  <a:lnTo>
                    <a:pt x="7643" y="144"/>
                  </a:lnTo>
                  <a:cubicBezTo>
                    <a:pt x="7622" y="144"/>
                    <a:pt x="7622" y="144"/>
                    <a:pt x="7602" y="144"/>
                  </a:cubicBezTo>
                  <a:lnTo>
                    <a:pt x="7602" y="164"/>
                  </a:lnTo>
                  <a:lnTo>
                    <a:pt x="7602" y="185"/>
                  </a:lnTo>
                  <a:lnTo>
                    <a:pt x="7622" y="185"/>
                  </a:lnTo>
                  <a:cubicBezTo>
                    <a:pt x="7622" y="185"/>
                    <a:pt x="7643" y="185"/>
                    <a:pt x="7643" y="164"/>
                  </a:cubicBezTo>
                  <a:cubicBezTo>
                    <a:pt x="7664" y="164"/>
                    <a:pt x="7664" y="164"/>
                    <a:pt x="7664" y="144"/>
                  </a:cubicBezTo>
                  <a:cubicBezTo>
                    <a:pt x="7684" y="144"/>
                    <a:pt x="7684" y="144"/>
                    <a:pt x="7704" y="144"/>
                  </a:cubicBezTo>
                  <a:lnTo>
                    <a:pt x="7725" y="144"/>
                  </a:lnTo>
                  <a:cubicBezTo>
                    <a:pt x="7746" y="164"/>
                    <a:pt x="7746" y="164"/>
                    <a:pt x="7746" y="185"/>
                  </a:cubicBezTo>
                  <a:lnTo>
                    <a:pt x="7746" y="185"/>
                  </a:lnTo>
                  <a:cubicBezTo>
                    <a:pt x="7746" y="205"/>
                    <a:pt x="7766" y="185"/>
                    <a:pt x="7766" y="185"/>
                  </a:cubicBezTo>
                  <a:lnTo>
                    <a:pt x="7786" y="185"/>
                  </a:lnTo>
                  <a:cubicBezTo>
                    <a:pt x="7807" y="185"/>
                    <a:pt x="7807" y="185"/>
                    <a:pt x="7828" y="164"/>
                  </a:cubicBezTo>
                  <a:lnTo>
                    <a:pt x="7828" y="164"/>
                  </a:lnTo>
                  <a:cubicBezTo>
                    <a:pt x="7828" y="164"/>
                    <a:pt x="7848" y="144"/>
                    <a:pt x="7848" y="164"/>
                  </a:cubicBezTo>
                  <a:cubicBezTo>
                    <a:pt x="7848" y="164"/>
                    <a:pt x="7848" y="164"/>
                    <a:pt x="7848" y="185"/>
                  </a:cubicBezTo>
                  <a:cubicBezTo>
                    <a:pt x="7868" y="185"/>
                    <a:pt x="7868" y="185"/>
                    <a:pt x="7889" y="185"/>
                  </a:cubicBezTo>
                  <a:cubicBezTo>
                    <a:pt x="7889" y="185"/>
                    <a:pt x="7868" y="205"/>
                    <a:pt x="7889" y="225"/>
                  </a:cubicBezTo>
                  <a:lnTo>
                    <a:pt x="7889" y="246"/>
                  </a:lnTo>
                  <a:lnTo>
                    <a:pt x="7889" y="267"/>
                  </a:lnTo>
                  <a:lnTo>
                    <a:pt x="7868" y="267"/>
                  </a:lnTo>
                  <a:lnTo>
                    <a:pt x="7848" y="267"/>
                  </a:lnTo>
                  <a:lnTo>
                    <a:pt x="7848" y="267"/>
                  </a:lnTo>
                  <a:cubicBezTo>
                    <a:pt x="7848" y="287"/>
                    <a:pt x="7848" y="287"/>
                    <a:pt x="7848" y="287"/>
                  </a:cubicBezTo>
                  <a:cubicBezTo>
                    <a:pt x="7868" y="287"/>
                    <a:pt x="7889" y="287"/>
                    <a:pt x="7889" y="287"/>
                  </a:cubicBezTo>
                  <a:lnTo>
                    <a:pt x="7910" y="287"/>
                  </a:lnTo>
                  <a:cubicBezTo>
                    <a:pt x="7910" y="287"/>
                    <a:pt x="7930" y="287"/>
                    <a:pt x="7930" y="267"/>
                  </a:cubicBezTo>
                  <a:cubicBezTo>
                    <a:pt x="7950" y="267"/>
                    <a:pt x="7950" y="267"/>
                    <a:pt x="7950" y="267"/>
                  </a:cubicBezTo>
                  <a:cubicBezTo>
                    <a:pt x="7971" y="267"/>
                    <a:pt x="7971" y="267"/>
                    <a:pt x="7992" y="267"/>
                  </a:cubicBezTo>
                  <a:lnTo>
                    <a:pt x="8012" y="267"/>
                  </a:lnTo>
                  <a:cubicBezTo>
                    <a:pt x="8012" y="246"/>
                    <a:pt x="8012" y="246"/>
                    <a:pt x="8012" y="225"/>
                  </a:cubicBezTo>
                  <a:cubicBezTo>
                    <a:pt x="7992" y="225"/>
                    <a:pt x="7992" y="225"/>
                    <a:pt x="7992" y="205"/>
                  </a:cubicBezTo>
                  <a:cubicBezTo>
                    <a:pt x="7992" y="205"/>
                    <a:pt x="7992" y="205"/>
                    <a:pt x="7992" y="185"/>
                  </a:cubicBezTo>
                  <a:lnTo>
                    <a:pt x="8012" y="185"/>
                  </a:lnTo>
                  <a:cubicBezTo>
                    <a:pt x="8012" y="185"/>
                    <a:pt x="8032" y="185"/>
                    <a:pt x="8053" y="185"/>
                  </a:cubicBezTo>
                  <a:cubicBezTo>
                    <a:pt x="8053" y="164"/>
                    <a:pt x="8074" y="164"/>
                    <a:pt x="8094" y="164"/>
                  </a:cubicBezTo>
                  <a:cubicBezTo>
                    <a:pt x="8094" y="164"/>
                    <a:pt x="8114" y="185"/>
                    <a:pt x="8135" y="185"/>
                  </a:cubicBezTo>
                  <a:lnTo>
                    <a:pt x="8176" y="185"/>
                  </a:lnTo>
                  <a:cubicBezTo>
                    <a:pt x="8196" y="164"/>
                    <a:pt x="8217" y="164"/>
                    <a:pt x="8217" y="164"/>
                  </a:cubicBezTo>
                  <a:cubicBezTo>
                    <a:pt x="8237" y="164"/>
                    <a:pt x="8258" y="164"/>
                    <a:pt x="8258" y="164"/>
                  </a:cubicBezTo>
                  <a:cubicBezTo>
                    <a:pt x="8278" y="164"/>
                    <a:pt x="8299" y="164"/>
                    <a:pt x="8299" y="164"/>
                  </a:cubicBezTo>
                  <a:cubicBezTo>
                    <a:pt x="8319" y="164"/>
                    <a:pt x="8319" y="185"/>
                    <a:pt x="8319" y="185"/>
                  </a:cubicBezTo>
                  <a:cubicBezTo>
                    <a:pt x="8340" y="185"/>
                    <a:pt x="8360" y="185"/>
                    <a:pt x="8360" y="185"/>
                  </a:cubicBezTo>
                  <a:cubicBezTo>
                    <a:pt x="8381" y="185"/>
                    <a:pt x="8401" y="205"/>
                    <a:pt x="8422" y="225"/>
                  </a:cubicBezTo>
                  <a:cubicBezTo>
                    <a:pt x="8422" y="225"/>
                    <a:pt x="8442" y="225"/>
                    <a:pt x="8463" y="225"/>
                  </a:cubicBezTo>
                  <a:lnTo>
                    <a:pt x="8483" y="225"/>
                  </a:lnTo>
                  <a:cubicBezTo>
                    <a:pt x="8483" y="246"/>
                    <a:pt x="8483" y="246"/>
                    <a:pt x="8483" y="267"/>
                  </a:cubicBezTo>
                  <a:cubicBezTo>
                    <a:pt x="8504" y="267"/>
                    <a:pt x="8504" y="267"/>
                    <a:pt x="8504" y="267"/>
                  </a:cubicBezTo>
                  <a:cubicBezTo>
                    <a:pt x="8524" y="287"/>
                    <a:pt x="8524" y="307"/>
                    <a:pt x="8524" y="307"/>
                  </a:cubicBezTo>
                  <a:lnTo>
                    <a:pt x="8545" y="328"/>
                  </a:lnTo>
                  <a:lnTo>
                    <a:pt x="8545" y="307"/>
                  </a:lnTo>
                  <a:cubicBezTo>
                    <a:pt x="8545" y="287"/>
                    <a:pt x="8545" y="287"/>
                    <a:pt x="8545" y="287"/>
                  </a:cubicBezTo>
                  <a:lnTo>
                    <a:pt x="8545" y="267"/>
                  </a:lnTo>
                  <a:lnTo>
                    <a:pt x="8545" y="246"/>
                  </a:lnTo>
                  <a:lnTo>
                    <a:pt x="8565" y="246"/>
                  </a:lnTo>
                  <a:lnTo>
                    <a:pt x="8586" y="267"/>
                  </a:lnTo>
                  <a:cubicBezTo>
                    <a:pt x="8586" y="267"/>
                    <a:pt x="8606" y="287"/>
                    <a:pt x="8606" y="307"/>
                  </a:cubicBezTo>
                  <a:lnTo>
                    <a:pt x="8627" y="328"/>
                  </a:lnTo>
                  <a:cubicBezTo>
                    <a:pt x="8627" y="328"/>
                    <a:pt x="8647" y="349"/>
                    <a:pt x="8668" y="349"/>
                  </a:cubicBezTo>
                  <a:lnTo>
                    <a:pt x="8688" y="369"/>
                  </a:lnTo>
                  <a:cubicBezTo>
                    <a:pt x="8688" y="389"/>
                    <a:pt x="8688" y="389"/>
                    <a:pt x="8688" y="389"/>
                  </a:cubicBezTo>
                  <a:cubicBezTo>
                    <a:pt x="8709" y="389"/>
                    <a:pt x="8709" y="410"/>
                    <a:pt x="8709" y="410"/>
                  </a:cubicBezTo>
                  <a:cubicBezTo>
                    <a:pt x="8688" y="431"/>
                    <a:pt x="8688" y="410"/>
                    <a:pt x="8688" y="410"/>
                  </a:cubicBezTo>
                  <a:cubicBezTo>
                    <a:pt x="8668" y="410"/>
                    <a:pt x="8668" y="389"/>
                    <a:pt x="8668" y="389"/>
                  </a:cubicBezTo>
                  <a:cubicBezTo>
                    <a:pt x="8647" y="389"/>
                    <a:pt x="8647" y="389"/>
                    <a:pt x="8627" y="389"/>
                  </a:cubicBezTo>
                  <a:lnTo>
                    <a:pt x="8606" y="389"/>
                  </a:lnTo>
                  <a:cubicBezTo>
                    <a:pt x="8606" y="389"/>
                    <a:pt x="8586" y="389"/>
                    <a:pt x="8586" y="369"/>
                  </a:cubicBezTo>
                  <a:lnTo>
                    <a:pt x="8565" y="369"/>
                  </a:lnTo>
                  <a:cubicBezTo>
                    <a:pt x="8565" y="389"/>
                    <a:pt x="8565" y="389"/>
                    <a:pt x="8565" y="389"/>
                  </a:cubicBezTo>
                  <a:cubicBezTo>
                    <a:pt x="8565" y="389"/>
                    <a:pt x="8586" y="389"/>
                    <a:pt x="8586" y="410"/>
                  </a:cubicBezTo>
                  <a:lnTo>
                    <a:pt x="8586" y="410"/>
                  </a:lnTo>
                  <a:cubicBezTo>
                    <a:pt x="8606" y="431"/>
                    <a:pt x="8586" y="451"/>
                    <a:pt x="8606" y="451"/>
                  </a:cubicBezTo>
                  <a:lnTo>
                    <a:pt x="8606" y="451"/>
                  </a:lnTo>
                  <a:cubicBezTo>
                    <a:pt x="8627" y="451"/>
                    <a:pt x="8627" y="431"/>
                    <a:pt x="8627" y="431"/>
                  </a:cubicBezTo>
                  <a:lnTo>
                    <a:pt x="8627" y="410"/>
                  </a:lnTo>
                  <a:cubicBezTo>
                    <a:pt x="8647" y="410"/>
                    <a:pt x="8647" y="431"/>
                    <a:pt x="8647" y="431"/>
                  </a:cubicBezTo>
                  <a:cubicBezTo>
                    <a:pt x="8647" y="431"/>
                    <a:pt x="8668" y="431"/>
                    <a:pt x="8668" y="451"/>
                  </a:cubicBezTo>
                  <a:lnTo>
                    <a:pt x="8688" y="451"/>
                  </a:lnTo>
                  <a:cubicBezTo>
                    <a:pt x="8688" y="451"/>
                    <a:pt x="8688" y="471"/>
                    <a:pt x="8709" y="471"/>
                  </a:cubicBezTo>
                  <a:lnTo>
                    <a:pt x="8729" y="492"/>
                  </a:lnTo>
                  <a:cubicBezTo>
                    <a:pt x="8729" y="492"/>
                    <a:pt x="8729" y="513"/>
                    <a:pt x="8729" y="533"/>
                  </a:cubicBezTo>
                  <a:lnTo>
                    <a:pt x="8709" y="553"/>
                  </a:lnTo>
                  <a:lnTo>
                    <a:pt x="8688" y="574"/>
                  </a:lnTo>
                  <a:cubicBezTo>
                    <a:pt x="8688" y="595"/>
                    <a:pt x="8668" y="615"/>
                    <a:pt x="8668" y="635"/>
                  </a:cubicBezTo>
                  <a:lnTo>
                    <a:pt x="8627" y="656"/>
                  </a:lnTo>
                  <a:cubicBezTo>
                    <a:pt x="8627" y="677"/>
                    <a:pt x="8627" y="697"/>
                    <a:pt x="8606" y="717"/>
                  </a:cubicBezTo>
                  <a:cubicBezTo>
                    <a:pt x="8606" y="717"/>
                    <a:pt x="8586" y="738"/>
                    <a:pt x="8565" y="738"/>
                  </a:cubicBezTo>
                  <a:cubicBezTo>
                    <a:pt x="8565" y="759"/>
                    <a:pt x="8545" y="759"/>
                    <a:pt x="8545" y="759"/>
                  </a:cubicBezTo>
                  <a:cubicBezTo>
                    <a:pt x="8545" y="759"/>
                    <a:pt x="8524" y="759"/>
                    <a:pt x="8504" y="759"/>
                  </a:cubicBezTo>
                  <a:lnTo>
                    <a:pt x="8504" y="779"/>
                  </a:lnTo>
                  <a:cubicBezTo>
                    <a:pt x="8483" y="779"/>
                    <a:pt x="8483" y="799"/>
                    <a:pt x="8483" y="799"/>
                  </a:cubicBezTo>
                  <a:cubicBezTo>
                    <a:pt x="8504" y="799"/>
                    <a:pt x="8504" y="799"/>
                    <a:pt x="8504" y="799"/>
                  </a:cubicBezTo>
                  <a:lnTo>
                    <a:pt x="8524" y="779"/>
                  </a:lnTo>
                  <a:cubicBezTo>
                    <a:pt x="8524" y="779"/>
                    <a:pt x="8545" y="779"/>
                    <a:pt x="8545" y="799"/>
                  </a:cubicBezTo>
                  <a:cubicBezTo>
                    <a:pt x="8545" y="799"/>
                    <a:pt x="8545" y="799"/>
                    <a:pt x="8545" y="820"/>
                  </a:cubicBezTo>
                  <a:lnTo>
                    <a:pt x="8524" y="841"/>
                  </a:lnTo>
                  <a:lnTo>
                    <a:pt x="8504" y="861"/>
                  </a:lnTo>
                  <a:cubicBezTo>
                    <a:pt x="8483" y="861"/>
                    <a:pt x="8483" y="881"/>
                    <a:pt x="8483" y="901"/>
                  </a:cubicBezTo>
                  <a:lnTo>
                    <a:pt x="8483" y="922"/>
                  </a:lnTo>
                  <a:cubicBezTo>
                    <a:pt x="8463" y="943"/>
                    <a:pt x="8463" y="943"/>
                    <a:pt x="8463" y="963"/>
                  </a:cubicBezTo>
                  <a:cubicBezTo>
                    <a:pt x="8442" y="963"/>
                    <a:pt x="8401" y="983"/>
                    <a:pt x="8401" y="983"/>
                  </a:cubicBezTo>
                  <a:cubicBezTo>
                    <a:pt x="8381" y="1004"/>
                    <a:pt x="8381" y="1004"/>
                    <a:pt x="8360" y="1004"/>
                  </a:cubicBezTo>
                  <a:cubicBezTo>
                    <a:pt x="8360" y="1025"/>
                    <a:pt x="8360" y="1045"/>
                    <a:pt x="8360" y="1045"/>
                  </a:cubicBezTo>
                  <a:cubicBezTo>
                    <a:pt x="8340" y="1065"/>
                    <a:pt x="8340" y="1086"/>
                    <a:pt x="8340" y="1086"/>
                  </a:cubicBezTo>
                  <a:lnTo>
                    <a:pt x="8319" y="1107"/>
                  </a:lnTo>
                  <a:lnTo>
                    <a:pt x="8319" y="1147"/>
                  </a:lnTo>
                  <a:cubicBezTo>
                    <a:pt x="8319" y="1168"/>
                    <a:pt x="8319" y="1168"/>
                    <a:pt x="8299" y="1189"/>
                  </a:cubicBezTo>
                  <a:cubicBezTo>
                    <a:pt x="8299" y="1189"/>
                    <a:pt x="8299" y="1189"/>
                    <a:pt x="8299" y="1209"/>
                  </a:cubicBezTo>
                  <a:cubicBezTo>
                    <a:pt x="8278" y="1209"/>
                    <a:pt x="8278" y="1209"/>
                    <a:pt x="8258" y="1229"/>
                  </a:cubicBezTo>
                  <a:cubicBezTo>
                    <a:pt x="8258" y="1229"/>
                    <a:pt x="8258" y="1250"/>
                    <a:pt x="8237" y="1250"/>
                  </a:cubicBezTo>
                  <a:lnTo>
                    <a:pt x="8237" y="1271"/>
                  </a:lnTo>
                  <a:lnTo>
                    <a:pt x="8258" y="1271"/>
                  </a:lnTo>
                  <a:cubicBezTo>
                    <a:pt x="8278" y="1271"/>
                    <a:pt x="8278" y="1250"/>
                    <a:pt x="8299" y="1229"/>
                  </a:cubicBezTo>
                  <a:lnTo>
                    <a:pt x="8319" y="1209"/>
                  </a:lnTo>
                  <a:lnTo>
                    <a:pt x="8340" y="1189"/>
                  </a:lnTo>
                  <a:cubicBezTo>
                    <a:pt x="8360" y="1189"/>
                    <a:pt x="8360" y="1168"/>
                    <a:pt x="8360" y="1168"/>
                  </a:cubicBezTo>
                  <a:cubicBezTo>
                    <a:pt x="8381" y="1147"/>
                    <a:pt x="8381" y="1127"/>
                    <a:pt x="8381" y="1127"/>
                  </a:cubicBezTo>
                  <a:cubicBezTo>
                    <a:pt x="8381" y="1107"/>
                    <a:pt x="8401" y="1127"/>
                    <a:pt x="8401" y="1107"/>
                  </a:cubicBezTo>
                  <a:cubicBezTo>
                    <a:pt x="8422" y="1107"/>
                    <a:pt x="8422" y="1107"/>
                    <a:pt x="8422" y="1107"/>
                  </a:cubicBezTo>
                  <a:cubicBezTo>
                    <a:pt x="8442" y="1107"/>
                    <a:pt x="8442" y="1107"/>
                    <a:pt x="8442" y="1107"/>
                  </a:cubicBezTo>
                  <a:cubicBezTo>
                    <a:pt x="8463" y="1107"/>
                    <a:pt x="8483" y="1086"/>
                    <a:pt x="8483" y="1086"/>
                  </a:cubicBezTo>
                  <a:cubicBezTo>
                    <a:pt x="8504" y="1086"/>
                    <a:pt x="8524" y="1086"/>
                    <a:pt x="8524" y="1086"/>
                  </a:cubicBezTo>
                  <a:cubicBezTo>
                    <a:pt x="8545" y="1086"/>
                    <a:pt x="8545" y="1086"/>
                    <a:pt x="8545" y="1086"/>
                  </a:cubicBezTo>
                  <a:cubicBezTo>
                    <a:pt x="8565" y="1086"/>
                    <a:pt x="8565" y="1065"/>
                    <a:pt x="8565" y="1065"/>
                  </a:cubicBezTo>
                  <a:lnTo>
                    <a:pt x="8565" y="1045"/>
                  </a:lnTo>
                  <a:cubicBezTo>
                    <a:pt x="8565" y="1025"/>
                    <a:pt x="8586" y="1025"/>
                    <a:pt x="8586" y="1025"/>
                  </a:cubicBezTo>
                  <a:cubicBezTo>
                    <a:pt x="8586" y="1025"/>
                    <a:pt x="8606" y="1025"/>
                    <a:pt x="8606" y="1004"/>
                  </a:cubicBezTo>
                  <a:lnTo>
                    <a:pt x="8606" y="983"/>
                  </a:lnTo>
                  <a:lnTo>
                    <a:pt x="8606" y="963"/>
                  </a:lnTo>
                  <a:cubicBezTo>
                    <a:pt x="8627" y="963"/>
                    <a:pt x="8627" y="983"/>
                    <a:pt x="8627" y="983"/>
                  </a:cubicBezTo>
                  <a:lnTo>
                    <a:pt x="8647" y="983"/>
                  </a:lnTo>
                  <a:lnTo>
                    <a:pt x="8647" y="983"/>
                  </a:lnTo>
                  <a:cubicBezTo>
                    <a:pt x="8647" y="963"/>
                    <a:pt x="8647" y="963"/>
                    <a:pt x="8647" y="943"/>
                  </a:cubicBezTo>
                  <a:lnTo>
                    <a:pt x="8647" y="943"/>
                  </a:lnTo>
                  <a:cubicBezTo>
                    <a:pt x="8668" y="922"/>
                    <a:pt x="8668" y="943"/>
                    <a:pt x="8668" y="922"/>
                  </a:cubicBezTo>
                  <a:cubicBezTo>
                    <a:pt x="8688" y="922"/>
                    <a:pt x="8688" y="922"/>
                    <a:pt x="8688" y="922"/>
                  </a:cubicBezTo>
                  <a:lnTo>
                    <a:pt x="8688" y="901"/>
                  </a:lnTo>
                  <a:cubicBezTo>
                    <a:pt x="8668" y="901"/>
                    <a:pt x="8668" y="901"/>
                    <a:pt x="8668" y="901"/>
                  </a:cubicBezTo>
                  <a:cubicBezTo>
                    <a:pt x="8647" y="901"/>
                    <a:pt x="8647" y="901"/>
                    <a:pt x="8627" y="901"/>
                  </a:cubicBezTo>
                  <a:cubicBezTo>
                    <a:pt x="8627" y="922"/>
                    <a:pt x="8627" y="943"/>
                    <a:pt x="8606" y="943"/>
                  </a:cubicBezTo>
                  <a:lnTo>
                    <a:pt x="8586" y="943"/>
                  </a:lnTo>
                  <a:cubicBezTo>
                    <a:pt x="8565" y="943"/>
                    <a:pt x="8565" y="922"/>
                    <a:pt x="8565" y="922"/>
                  </a:cubicBezTo>
                  <a:cubicBezTo>
                    <a:pt x="8565" y="901"/>
                    <a:pt x="8586" y="901"/>
                    <a:pt x="8586" y="901"/>
                  </a:cubicBezTo>
                  <a:cubicBezTo>
                    <a:pt x="8586" y="881"/>
                    <a:pt x="8565" y="881"/>
                    <a:pt x="8565" y="861"/>
                  </a:cubicBezTo>
                  <a:cubicBezTo>
                    <a:pt x="8565" y="861"/>
                    <a:pt x="8565" y="861"/>
                    <a:pt x="8565" y="841"/>
                  </a:cubicBezTo>
                  <a:lnTo>
                    <a:pt x="8586" y="841"/>
                  </a:lnTo>
                  <a:cubicBezTo>
                    <a:pt x="8606" y="841"/>
                    <a:pt x="8627" y="841"/>
                    <a:pt x="8627" y="841"/>
                  </a:cubicBezTo>
                  <a:cubicBezTo>
                    <a:pt x="8647" y="841"/>
                    <a:pt x="8647" y="861"/>
                    <a:pt x="8668" y="861"/>
                  </a:cubicBezTo>
                  <a:cubicBezTo>
                    <a:pt x="8668" y="861"/>
                    <a:pt x="8668" y="861"/>
                    <a:pt x="8668" y="841"/>
                  </a:cubicBezTo>
                  <a:lnTo>
                    <a:pt x="8688" y="841"/>
                  </a:lnTo>
                  <a:cubicBezTo>
                    <a:pt x="8709" y="841"/>
                    <a:pt x="8709" y="861"/>
                    <a:pt x="8709" y="861"/>
                  </a:cubicBezTo>
                  <a:cubicBezTo>
                    <a:pt x="8709" y="881"/>
                    <a:pt x="8729" y="881"/>
                    <a:pt x="8729" y="901"/>
                  </a:cubicBezTo>
                  <a:cubicBezTo>
                    <a:pt x="8729" y="901"/>
                    <a:pt x="8750" y="901"/>
                    <a:pt x="8770" y="901"/>
                  </a:cubicBezTo>
                  <a:lnTo>
                    <a:pt x="8791" y="901"/>
                  </a:lnTo>
                  <a:cubicBezTo>
                    <a:pt x="8811" y="901"/>
                    <a:pt x="8811" y="922"/>
                    <a:pt x="8832" y="922"/>
                  </a:cubicBezTo>
                  <a:lnTo>
                    <a:pt x="8873" y="922"/>
                  </a:lnTo>
                  <a:cubicBezTo>
                    <a:pt x="8893" y="922"/>
                    <a:pt x="8893" y="901"/>
                    <a:pt x="8893" y="901"/>
                  </a:cubicBezTo>
                  <a:lnTo>
                    <a:pt x="8893" y="881"/>
                  </a:lnTo>
                  <a:cubicBezTo>
                    <a:pt x="8893" y="861"/>
                    <a:pt x="8873" y="861"/>
                    <a:pt x="8873" y="861"/>
                  </a:cubicBezTo>
                  <a:cubicBezTo>
                    <a:pt x="8873" y="841"/>
                    <a:pt x="8852" y="841"/>
                    <a:pt x="8852" y="820"/>
                  </a:cubicBezTo>
                  <a:cubicBezTo>
                    <a:pt x="8873" y="820"/>
                    <a:pt x="8873" y="799"/>
                    <a:pt x="8873" y="799"/>
                  </a:cubicBezTo>
                  <a:cubicBezTo>
                    <a:pt x="8873" y="799"/>
                    <a:pt x="8873" y="820"/>
                    <a:pt x="8893" y="820"/>
                  </a:cubicBezTo>
                  <a:cubicBezTo>
                    <a:pt x="8893" y="820"/>
                    <a:pt x="8893" y="841"/>
                    <a:pt x="8913" y="841"/>
                  </a:cubicBezTo>
                  <a:cubicBezTo>
                    <a:pt x="8913" y="861"/>
                    <a:pt x="8934" y="861"/>
                    <a:pt x="8934" y="881"/>
                  </a:cubicBezTo>
                  <a:lnTo>
                    <a:pt x="8955" y="881"/>
                  </a:lnTo>
                  <a:cubicBezTo>
                    <a:pt x="8955" y="901"/>
                    <a:pt x="8955" y="922"/>
                    <a:pt x="8975" y="922"/>
                  </a:cubicBezTo>
                  <a:cubicBezTo>
                    <a:pt x="8975" y="943"/>
                    <a:pt x="8995" y="943"/>
                    <a:pt x="8995" y="943"/>
                  </a:cubicBezTo>
                  <a:cubicBezTo>
                    <a:pt x="8995" y="963"/>
                    <a:pt x="8995" y="963"/>
                    <a:pt x="8995" y="963"/>
                  </a:cubicBezTo>
                  <a:cubicBezTo>
                    <a:pt x="8995" y="983"/>
                    <a:pt x="8975" y="983"/>
                    <a:pt x="8975" y="983"/>
                  </a:cubicBezTo>
                  <a:lnTo>
                    <a:pt x="8975" y="1004"/>
                  </a:lnTo>
                  <a:lnTo>
                    <a:pt x="8995" y="1004"/>
                  </a:lnTo>
                  <a:lnTo>
                    <a:pt x="9016" y="1004"/>
                  </a:lnTo>
                  <a:lnTo>
                    <a:pt x="9037" y="1025"/>
                  </a:lnTo>
                  <a:lnTo>
                    <a:pt x="9057" y="1045"/>
                  </a:lnTo>
                  <a:lnTo>
                    <a:pt x="9077" y="1045"/>
                  </a:lnTo>
                  <a:lnTo>
                    <a:pt x="9077" y="1025"/>
                  </a:lnTo>
                  <a:lnTo>
                    <a:pt x="9057" y="1004"/>
                  </a:lnTo>
                  <a:cubicBezTo>
                    <a:pt x="9057" y="1004"/>
                    <a:pt x="9037" y="1004"/>
                    <a:pt x="9037" y="983"/>
                  </a:cubicBezTo>
                  <a:cubicBezTo>
                    <a:pt x="9037" y="983"/>
                    <a:pt x="9037" y="963"/>
                    <a:pt x="9057" y="963"/>
                  </a:cubicBezTo>
                  <a:lnTo>
                    <a:pt x="9057" y="963"/>
                  </a:lnTo>
                  <a:lnTo>
                    <a:pt x="9077" y="963"/>
                  </a:lnTo>
                  <a:cubicBezTo>
                    <a:pt x="9077" y="943"/>
                    <a:pt x="9077" y="943"/>
                    <a:pt x="9077" y="943"/>
                  </a:cubicBezTo>
                  <a:cubicBezTo>
                    <a:pt x="9057" y="943"/>
                    <a:pt x="9057" y="943"/>
                    <a:pt x="9057" y="943"/>
                  </a:cubicBezTo>
                  <a:cubicBezTo>
                    <a:pt x="9037" y="943"/>
                    <a:pt x="9037" y="943"/>
                    <a:pt x="9016" y="943"/>
                  </a:cubicBezTo>
                  <a:lnTo>
                    <a:pt x="9016" y="922"/>
                  </a:lnTo>
                  <a:lnTo>
                    <a:pt x="9016" y="901"/>
                  </a:lnTo>
                  <a:cubicBezTo>
                    <a:pt x="9016" y="901"/>
                    <a:pt x="9037" y="901"/>
                    <a:pt x="9037" y="881"/>
                  </a:cubicBezTo>
                  <a:cubicBezTo>
                    <a:pt x="9057" y="881"/>
                    <a:pt x="9077" y="881"/>
                    <a:pt x="9077" y="881"/>
                  </a:cubicBezTo>
                  <a:cubicBezTo>
                    <a:pt x="9098" y="881"/>
                    <a:pt x="9119" y="881"/>
                    <a:pt x="9139" y="861"/>
                  </a:cubicBezTo>
                  <a:cubicBezTo>
                    <a:pt x="9139" y="861"/>
                    <a:pt x="9159" y="861"/>
                    <a:pt x="9180" y="861"/>
                  </a:cubicBezTo>
                  <a:cubicBezTo>
                    <a:pt x="9180" y="841"/>
                    <a:pt x="9221" y="841"/>
                    <a:pt x="9221" y="841"/>
                  </a:cubicBezTo>
                  <a:cubicBezTo>
                    <a:pt x="9241" y="841"/>
                    <a:pt x="9282" y="841"/>
                    <a:pt x="9282" y="841"/>
                  </a:cubicBezTo>
                  <a:cubicBezTo>
                    <a:pt x="9302" y="841"/>
                    <a:pt x="9343" y="841"/>
                    <a:pt x="9364" y="841"/>
                  </a:cubicBezTo>
                  <a:cubicBezTo>
                    <a:pt x="9384" y="841"/>
                    <a:pt x="9404" y="820"/>
                    <a:pt x="9404" y="820"/>
                  </a:cubicBezTo>
                  <a:cubicBezTo>
                    <a:pt x="9425" y="820"/>
                    <a:pt x="9446" y="820"/>
                    <a:pt x="9466" y="820"/>
                  </a:cubicBezTo>
                  <a:cubicBezTo>
                    <a:pt x="9486" y="820"/>
                    <a:pt x="9507" y="820"/>
                    <a:pt x="9507" y="841"/>
                  </a:cubicBezTo>
                  <a:lnTo>
                    <a:pt x="9528" y="841"/>
                  </a:lnTo>
                  <a:cubicBezTo>
                    <a:pt x="9548" y="841"/>
                    <a:pt x="9548" y="861"/>
                    <a:pt x="9548" y="861"/>
                  </a:cubicBezTo>
                  <a:cubicBezTo>
                    <a:pt x="9548" y="881"/>
                    <a:pt x="9528" y="861"/>
                    <a:pt x="9528" y="861"/>
                  </a:cubicBezTo>
                  <a:cubicBezTo>
                    <a:pt x="9528" y="861"/>
                    <a:pt x="9507" y="861"/>
                    <a:pt x="9486" y="861"/>
                  </a:cubicBezTo>
                  <a:lnTo>
                    <a:pt x="9486" y="881"/>
                  </a:lnTo>
                  <a:cubicBezTo>
                    <a:pt x="9486" y="901"/>
                    <a:pt x="9507" y="901"/>
                    <a:pt x="9507" y="922"/>
                  </a:cubicBezTo>
                  <a:lnTo>
                    <a:pt x="9528" y="943"/>
                  </a:lnTo>
                  <a:cubicBezTo>
                    <a:pt x="9548" y="943"/>
                    <a:pt x="9568" y="943"/>
                    <a:pt x="9568" y="943"/>
                  </a:cubicBezTo>
                  <a:cubicBezTo>
                    <a:pt x="9589" y="943"/>
                    <a:pt x="9610" y="943"/>
                    <a:pt x="9630" y="943"/>
                  </a:cubicBezTo>
                  <a:cubicBezTo>
                    <a:pt x="9650" y="963"/>
                    <a:pt x="9670" y="963"/>
                    <a:pt x="9691" y="963"/>
                  </a:cubicBezTo>
                  <a:cubicBezTo>
                    <a:pt x="9712" y="963"/>
                    <a:pt x="9712" y="963"/>
                    <a:pt x="9712" y="963"/>
                  </a:cubicBezTo>
                  <a:cubicBezTo>
                    <a:pt x="9712" y="943"/>
                    <a:pt x="9712" y="943"/>
                    <a:pt x="9712" y="943"/>
                  </a:cubicBezTo>
                  <a:cubicBezTo>
                    <a:pt x="9712" y="922"/>
                    <a:pt x="9712" y="922"/>
                    <a:pt x="9712" y="922"/>
                  </a:cubicBezTo>
                  <a:lnTo>
                    <a:pt x="9732" y="922"/>
                  </a:lnTo>
                  <a:cubicBezTo>
                    <a:pt x="9752" y="922"/>
                    <a:pt x="9752" y="943"/>
                    <a:pt x="9752" y="943"/>
                  </a:cubicBezTo>
                  <a:cubicBezTo>
                    <a:pt x="9752" y="943"/>
                    <a:pt x="9752" y="963"/>
                    <a:pt x="9773" y="983"/>
                  </a:cubicBezTo>
                  <a:lnTo>
                    <a:pt x="9773" y="983"/>
                  </a:lnTo>
                  <a:cubicBezTo>
                    <a:pt x="9794" y="983"/>
                    <a:pt x="9834" y="983"/>
                    <a:pt x="9834" y="983"/>
                  </a:cubicBezTo>
                  <a:cubicBezTo>
                    <a:pt x="9855" y="983"/>
                    <a:pt x="9876" y="983"/>
                    <a:pt x="9896" y="963"/>
                  </a:cubicBezTo>
                  <a:cubicBezTo>
                    <a:pt x="9896" y="963"/>
                    <a:pt x="9896" y="943"/>
                    <a:pt x="9916" y="943"/>
                  </a:cubicBezTo>
                  <a:cubicBezTo>
                    <a:pt x="9916" y="943"/>
                    <a:pt x="9958" y="963"/>
                    <a:pt x="9978" y="963"/>
                  </a:cubicBezTo>
                  <a:lnTo>
                    <a:pt x="9998" y="943"/>
                  </a:lnTo>
                  <a:cubicBezTo>
                    <a:pt x="9998" y="943"/>
                    <a:pt x="10019" y="922"/>
                    <a:pt x="10040" y="922"/>
                  </a:cubicBezTo>
                  <a:cubicBezTo>
                    <a:pt x="10040" y="922"/>
                    <a:pt x="10040" y="922"/>
                    <a:pt x="10060" y="922"/>
                  </a:cubicBezTo>
                  <a:cubicBezTo>
                    <a:pt x="10060" y="922"/>
                    <a:pt x="10060" y="922"/>
                    <a:pt x="10080" y="922"/>
                  </a:cubicBezTo>
                  <a:cubicBezTo>
                    <a:pt x="10080" y="922"/>
                    <a:pt x="10080" y="943"/>
                    <a:pt x="10101" y="922"/>
                  </a:cubicBezTo>
                  <a:cubicBezTo>
                    <a:pt x="10101" y="922"/>
                    <a:pt x="10080" y="922"/>
                    <a:pt x="10080" y="901"/>
                  </a:cubicBezTo>
                  <a:lnTo>
                    <a:pt x="10060" y="901"/>
                  </a:lnTo>
                  <a:cubicBezTo>
                    <a:pt x="10060" y="881"/>
                    <a:pt x="10060" y="881"/>
                    <a:pt x="10060" y="881"/>
                  </a:cubicBezTo>
                  <a:cubicBezTo>
                    <a:pt x="10060" y="861"/>
                    <a:pt x="10040" y="861"/>
                    <a:pt x="10040" y="861"/>
                  </a:cubicBezTo>
                  <a:cubicBezTo>
                    <a:pt x="10040" y="841"/>
                    <a:pt x="10040" y="841"/>
                    <a:pt x="10040" y="820"/>
                  </a:cubicBezTo>
                  <a:lnTo>
                    <a:pt x="10019" y="820"/>
                  </a:lnTo>
                  <a:lnTo>
                    <a:pt x="9998" y="820"/>
                  </a:lnTo>
                  <a:cubicBezTo>
                    <a:pt x="9998" y="799"/>
                    <a:pt x="9978" y="779"/>
                    <a:pt x="9978" y="779"/>
                  </a:cubicBezTo>
                  <a:lnTo>
                    <a:pt x="9998" y="779"/>
                  </a:lnTo>
                  <a:lnTo>
                    <a:pt x="10019" y="779"/>
                  </a:lnTo>
                  <a:cubicBezTo>
                    <a:pt x="10040" y="779"/>
                    <a:pt x="10040" y="759"/>
                    <a:pt x="10040" y="738"/>
                  </a:cubicBezTo>
                  <a:lnTo>
                    <a:pt x="10040" y="717"/>
                  </a:lnTo>
                  <a:cubicBezTo>
                    <a:pt x="10040" y="697"/>
                    <a:pt x="10040" y="697"/>
                    <a:pt x="10040" y="697"/>
                  </a:cubicBezTo>
                  <a:cubicBezTo>
                    <a:pt x="10040" y="697"/>
                    <a:pt x="10060" y="697"/>
                    <a:pt x="10080" y="697"/>
                  </a:cubicBezTo>
                  <a:lnTo>
                    <a:pt x="10101" y="697"/>
                  </a:lnTo>
                  <a:lnTo>
                    <a:pt x="10122" y="717"/>
                  </a:lnTo>
                  <a:lnTo>
                    <a:pt x="10142" y="738"/>
                  </a:lnTo>
                  <a:lnTo>
                    <a:pt x="10162" y="738"/>
                  </a:lnTo>
                  <a:cubicBezTo>
                    <a:pt x="10183" y="738"/>
                    <a:pt x="10183" y="738"/>
                    <a:pt x="10204" y="738"/>
                  </a:cubicBezTo>
                  <a:lnTo>
                    <a:pt x="10224" y="759"/>
                  </a:lnTo>
                  <a:cubicBezTo>
                    <a:pt x="10224" y="759"/>
                    <a:pt x="10224" y="779"/>
                    <a:pt x="10244" y="779"/>
                  </a:cubicBezTo>
                  <a:cubicBezTo>
                    <a:pt x="10244" y="799"/>
                    <a:pt x="10244" y="799"/>
                    <a:pt x="10244" y="799"/>
                  </a:cubicBezTo>
                  <a:cubicBezTo>
                    <a:pt x="10265" y="779"/>
                    <a:pt x="10244" y="779"/>
                    <a:pt x="10265" y="779"/>
                  </a:cubicBezTo>
                  <a:cubicBezTo>
                    <a:pt x="10265" y="759"/>
                    <a:pt x="10265" y="759"/>
                    <a:pt x="10265" y="759"/>
                  </a:cubicBezTo>
                  <a:cubicBezTo>
                    <a:pt x="10265" y="738"/>
                    <a:pt x="10265" y="738"/>
                    <a:pt x="10286" y="738"/>
                  </a:cubicBezTo>
                  <a:lnTo>
                    <a:pt x="10306" y="738"/>
                  </a:lnTo>
                  <a:lnTo>
                    <a:pt x="10326" y="759"/>
                  </a:lnTo>
                  <a:lnTo>
                    <a:pt x="10347" y="759"/>
                  </a:lnTo>
                  <a:lnTo>
                    <a:pt x="10347" y="738"/>
                  </a:lnTo>
                  <a:cubicBezTo>
                    <a:pt x="10347" y="717"/>
                    <a:pt x="10347" y="717"/>
                    <a:pt x="10368" y="717"/>
                  </a:cubicBezTo>
                  <a:cubicBezTo>
                    <a:pt x="10368" y="717"/>
                    <a:pt x="10388" y="717"/>
                    <a:pt x="10408" y="717"/>
                  </a:cubicBezTo>
                  <a:cubicBezTo>
                    <a:pt x="10408" y="717"/>
                    <a:pt x="10429" y="717"/>
                    <a:pt x="10449" y="717"/>
                  </a:cubicBezTo>
                  <a:cubicBezTo>
                    <a:pt x="10449" y="717"/>
                    <a:pt x="10449" y="738"/>
                    <a:pt x="10470" y="738"/>
                  </a:cubicBezTo>
                  <a:cubicBezTo>
                    <a:pt x="10470" y="738"/>
                    <a:pt x="10470" y="738"/>
                    <a:pt x="10490" y="738"/>
                  </a:cubicBezTo>
                  <a:cubicBezTo>
                    <a:pt x="10490" y="738"/>
                    <a:pt x="10490" y="738"/>
                    <a:pt x="10511" y="738"/>
                  </a:cubicBezTo>
                  <a:lnTo>
                    <a:pt x="10531" y="738"/>
                  </a:lnTo>
                  <a:cubicBezTo>
                    <a:pt x="10531" y="738"/>
                    <a:pt x="10531" y="759"/>
                    <a:pt x="10552" y="759"/>
                  </a:cubicBezTo>
                  <a:cubicBezTo>
                    <a:pt x="10552" y="779"/>
                    <a:pt x="10572" y="779"/>
                    <a:pt x="10572" y="779"/>
                  </a:cubicBezTo>
                  <a:lnTo>
                    <a:pt x="10593" y="799"/>
                  </a:lnTo>
                  <a:cubicBezTo>
                    <a:pt x="10613" y="799"/>
                    <a:pt x="10613" y="820"/>
                    <a:pt x="10613" y="820"/>
                  </a:cubicBezTo>
                  <a:lnTo>
                    <a:pt x="10634" y="799"/>
                  </a:lnTo>
                  <a:lnTo>
                    <a:pt x="10654" y="799"/>
                  </a:lnTo>
                  <a:cubicBezTo>
                    <a:pt x="10675" y="799"/>
                    <a:pt x="10675" y="820"/>
                    <a:pt x="10675" y="841"/>
                  </a:cubicBezTo>
                  <a:lnTo>
                    <a:pt x="10654" y="861"/>
                  </a:lnTo>
                  <a:cubicBezTo>
                    <a:pt x="10654" y="881"/>
                    <a:pt x="10654" y="881"/>
                    <a:pt x="10675" y="901"/>
                  </a:cubicBezTo>
                  <a:lnTo>
                    <a:pt x="10695" y="901"/>
                  </a:lnTo>
                  <a:lnTo>
                    <a:pt x="10716" y="901"/>
                  </a:lnTo>
                  <a:lnTo>
                    <a:pt x="10736" y="901"/>
                  </a:lnTo>
                  <a:cubicBezTo>
                    <a:pt x="10736" y="922"/>
                    <a:pt x="10736" y="922"/>
                    <a:pt x="10736" y="922"/>
                  </a:cubicBezTo>
                  <a:cubicBezTo>
                    <a:pt x="10736" y="943"/>
                    <a:pt x="10736" y="922"/>
                    <a:pt x="10736" y="922"/>
                  </a:cubicBezTo>
                  <a:cubicBezTo>
                    <a:pt x="10716" y="943"/>
                    <a:pt x="10716" y="943"/>
                    <a:pt x="10716" y="943"/>
                  </a:cubicBezTo>
                  <a:cubicBezTo>
                    <a:pt x="10716" y="943"/>
                    <a:pt x="10695" y="943"/>
                    <a:pt x="10716" y="963"/>
                  </a:cubicBezTo>
                  <a:lnTo>
                    <a:pt x="10716" y="963"/>
                  </a:lnTo>
                  <a:cubicBezTo>
                    <a:pt x="10736" y="963"/>
                    <a:pt x="10736" y="963"/>
                    <a:pt x="10736" y="963"/>
                  </a:cubicBezTo>
                  <a:lnTo>
                    <a:pt x="10757" y="963"/>
                  </a:lnTo>
                  <a:cubicBezTo>
                    <a:pt x="10757" y="983"/>
                    <a:pt x="10736" y="983"/>
                    <a:pt x="10736" y="983"/>
                  </a:cubicBezTo>
                  <a:lnTo>
                    <a:pt x="10757" y="983"/>
                  </a:lnTo>
                  <a:lnTo>
                    <a:pt x="10777" y="983"/>
                  </a:lnTo>
                  <a:cubicBezTo>
                    <a:pt x="10798" y="983"/>
                    <a:pt x="10818" y="983"/>
                    <a:pt x="10818" y="983"/>
                  </a:cubicBezTo>
                  <a:cubicBezTo>
                    <a:pt x="10818" y="983"/>
                    <a:pt x="10839" y="983"/>
                    <a:pt x="10839" y="1004"/>
                  </a:cubicBezTo>
                  <a:lnTo>
                    <a:pt x="10818" y="1004"/>
                  </a:lnTo>
                  <a:cubicBezTo>
                    <a:pt x="10818" y="1025"/>
                    <a:pt x="10798" y="1025"/>
                    <a:pt x="10798" y="1025"/>
                  </a:cubicBezTo>
                  <a:lnTo>
                    <a:pt x="10798" y="1045"/>
                  </a:lnTo>
                  <a:cubicBezTo>
                    <a:pt x="10798" y="1045"/>
                    <a:pt x="10818" y="1045"/>
                    <a:pt x="10818" y="1065"/>
                  </a:cubicBezTo>
                  <a:lnTo>
                    <a:pt x="10839" y="1065"/>
                  </a:lnTo>
                  <a:cubicBezTo>
                    <a:pt x="10839" y="1045"/>
                    <a:pt x="10839" y="1045"/>
                    <a:pt x="10839" y="1025"/>
                  </a:cubicBezTo>
                  <a:lnTo>
                    <a:pt x="10859" y="1025"/>
                  </a:lnTo>
                  <a:cubicBezTo>
                    <a:pt x="10880" y="1025"/>
                    <a:pt x="10880" y="1045"/>
                    <a:pt x="10900" y="1045"/>
                  </a:cubicBezTo>
                  <a:lnTo>
                    <a:pt x="10921" y="1065"/>
                  </a:lnTo>
                  <a:cubicBezTo>
                    <a:pt x="10921" y="1065"/>
                    <a:pt x="10941" y="1086"/>
                    <a:pt x="10941" y="1107"/>
                  </a:cubicBezTo>
                  <a:lnTo>
                    <a:pt x="10941" y="1127"/>
                  </a:lnTo>
                  <a:cubicBezTo>
                    <a:pt x="10941" y="1147"/>
                    <a:pt x="10921" y="1147"/>
                    <a:pt x="10921" y="1168"/>
                  </a:cubicBezTo>
                  <a:lnTo>
                    <a:pt x="10900" y="1168"/>
                  </a:lnTo>
                  <a:lnTo>
                    <a:pt x="10900" y="1189"/>
                  </a:lnTo>
                  <a:cubicBezTo>
                    <a:pt x="10921" y="1189"/>
                    <a:pt x="10921" y="1189"/>
                    <a:pt x="10941" y="1189"/>
                  </a:cubicBezTo>
                  <a:cubicBezTo>
                    <a:pt x="10941" y="1189"/>
                    <a:pt x="10962" y="1189"/>
                    <a:pt x="10962" y="1209"/>
                  </a:cubicBezTo>
                  <a:cubicBezTo>
                    <a:pt x="10982" y="1209"/>
                    <a:pt x="10982" y="1229"/>
                    <a:pt x="10982" y="1229"/>
                  </a:cubicBezTo>
                  <a:cubicBezTo>
                    <a:pt x="11003" y="1250"/>
                    <a:pt x="11003" y="1250"/>
                    <a:pt x="11023" y="1250"/>
                  </a:cubicBezTo>
                  <a:lnTo>
                    <a:pt x="11044" y="1250"/>
                  </a:lnTo>
                  <a:cubicBezTo>
                    <a:pt x="11044" y="1250"/>
                    <a:pt x="11044" y="1271"/>
                    <a:pt x="11064" y="1271"/>
                  </a:cubicBezTo>
                  <a:cubicBezTo>
                    <a:pt x="11064" y="1291"/>
                    <a:pt x="11085" y="1291"/>
                    <a:pt x="11085" y="1291"/>
                  </a:cubicBezTo>
                  <a:lnTo>
                    <a:pt x="11126" y="1291"/>
                  </a:lnTo>
                  <a:cubicBezTo>
                    <a:pt x="11126" y="1291"/>
                    <a:pt x="11146" y="1311"/>
                    <a:pt x="11167" y="1311"/>
                  </a:cubicBezTo>
                  <a:lnTo>
                    <a:pt x="11187" y="1332"/>
                  </a:lnTo>
                  <a:lnTo>
                    <a:pt x="11207" y="1311"/>
                  </a:lnTo>
                  <a:lnTo>
                    <a:pt x="11228" y="1311"/>
                  </a:lnTo>
                  <a:cubicBezTo>
                    <a:pt x="11228" y="1311"/>
                    <a:pt x="11249" y="1311"/>
                    <a:pt x="11249" y="1332"/>
                  </a:cubicBezTo>
                  <a:cubicBezTo>
                    <a:pt x="11249" y="1332"/>
                    <a:pt x="11249" y="1353"/>
                    <a:pt x="11269" y="1353"/>
                  </a:cubicBezTo>
                  <a:cubicBezTo>
                    <a:pt x="11269" y="1353"/>
                    <a:pt x="11269" y="1353"/>
                    <a:pt x="11289" y="1353"/>
                  </a:cubicBezTo>
                  <a:lnTo>
                    <a:pt x="11310" y="1353"/>
                  </a:lnTo>
                  <a:cubicBezTo>
                    <a:pt x="11310" y="1332"/>
                    <a:pt x="11310" y="1311"/>
                    <a:pt x="11310" y="1311"/>
                  </a:cubicBezTo>
                  <a:cubicBezTo>
                    <a:pt x="11310" y="1291"/>
                    <a:pt x="11310" y="1271"/>
                    <a:pt x="11310" y="1250"/>
                  </a:cubicBezTo>
                  <a:lnTo>
                    <a:pt x="11289" y="1229"/>
                  </a:lnTo>
                  <a:cubicBezTo>
                    <a:pt x="11289" y="1209"/>
                    <a:pt x="11269" y="1189"/>
                    <a:pt x="11269" y="1189"/>
                  </a:cubicBezTo>
                  <a:cubicBezTo>
                    <a:pt x="11249" y="1189"/>
                    <a:pt x="11269" y="1147"/>
                    <a:pt x="11249" y="1147"/>
                  </a:cubicBezTo>
                  <a:cubicBezTo>
                    <a:pt x="11249" y="1147"/>
                    <a:pt x="11249" y="1127"/>
                    <a:pt x="11249" y="1107"/>
                  </a:cubicBezTo>
                  <a:lnTo>
                    <a:pt x="11228" y="1086"/>
                  </a:lnTo>
                  <a:cubicBezTo>
                    <a:pt x="11228" y="1065"/>
                    <a:pt x="11207" y="1065"/>
                    <a:pt x="11207" y="1045"/>
                  </a:cubicBezTo>
                  <a:lnTo>
                    <a:pt x="11207" y="1025"/>
                  </a:lnTo>
                  <a:lnTo>
                    <a:pt x="11228" y="1025"/>
                  </a:lnTo>
                  <a:cubicBezTo>
                    <a:pt x="11249" y="1045"/>
                    <a:pt x="11249" y="1045"/>
                    <a:pt x="11249" y="1045"/>
                  </a:cubicBezTo>
                  <a:cubicBezTo>
                    <a:pt x="11269" y="1065"/>
                    <a:pt x="11269" y="1086"/>
                    <a:pt x="11289" y="1086"/>
                  </a:cubicBezTo>
                  <a:lnTo>
                    <a:pt x="11310" y="1107"/>
                  </a:lnTo>
                  <a:cubicBezTo>
                    <a:pt x="11310" y="1107"/>
                    <a:pt x="11331" y="1107"/>
                    <a:pt x="11351" y="1107"/>
                  </a:cubicBezTo>
                  <a:cubicBezTo>
                    <a:pt x="11371" y="1127"/>
                    <a:pt x="11392" y="1127"/>
                    <a:pt x="11413" y="1127"/>
                  </a:cubicBezTo>
                  <a:cubicBezTo>
                    <a:pt x="11433" y="1127"/>
                    <a:pt x="11474" y="1147"/>
                    <a:pt x="11474" y="1127"/>
                  </a:cubicBezTo>
                  <a:cubicBezTo>
                    <a:pt x="11495" y="1127"/>
                    <a:pt x="11515" y="1127"/>
                    <a:pt x="11515" y="1127"/>
                  </a:cubicBezTo>
                  <a:cubicBezTo>
                    <a:pt x="11535" y="1127"/>
                    <a:pt x="11535" y="1107"/>
                    <a:pt x="11535" y="1107"/>
                  </a:cubicBezTo>
                  <a:cubicBezTo>
                    <a:pt x="11535" y="1086"/>
                    <a:pt x="11556" y="1086"/>
                    <a:pt x="11556" y="1086"/>
                  </a:cubicBezTo>
                  <a:cubicBezTo>
                    <a:pt x="11556" y="1086"/>
                    <a:pt x="11577" y="1086"/>
                    <a:pt x="11597" y="1086"/>
                  </a:cubicBezTo>
                  <a:cubicBezTo>
                    <a:pt x="11597" y="1086"/>
                    <a:pt x="11617" y="1065"/>
                    <a:pt x="11638" y="1065"/>
                  </a:cubicBezTo>
                  <a:cubicBezTo>
                    <a:pt x="11638" y="1045"/>
                    <a:pt x="11659" y="1045"/>
                    <a:pt x="11679" y="1045"/>
                  </a:cubicBezTo>
                  <a:cubicBezTo>
                    <a:pt x="11679" y="1045"/>
                    <a:pt x="11720" y="1065"/>
                    <a:pt x="11741" y="1065"/>
                  </a:cubicBezTo>
                  <a:cubicBezTo>
                    <a:pt x="11761" y="1086"/>
                    <a:pt x="11802" y="1107"/>
                    <a:pt x="11823" y="1107"/>
                  </a:cubicBezTo>
                  <a:cubicBezTo>
                    <a:pt x="11843" y="1127"/>
                    <a:pt x="11884" y="1147"/>
                    <a:pt x="11904" y="1147"/>
                  </a:cubicBezTo>
                  <a:lnTo>
                    <a:pt x="11925" y="1168"/>
                  </a:lnTo>
                  <a:lnTo>
                    <a:pt x="11945" y="1168"/>
                  </a:lnTo>
                  <a:lnTo>
                    <a:pt x="11945" y="1147"/>
                  </a:lnTo>
                  <a:cubicBezTo>
                    <a:pt x="11945" y="1147"/>
                    <a:pt x="11945" y="1147"/>
                    <a:pt x="11945" y="1127"/>
                  </a:cubicBezTo>
                  <a:cubicBezTo>
                    <a:pt x="11945" y="1127"/>
                    <a:pt x="11945" y="1127"/>
                    <a:pt x="11945" y="1107"/>
                  </a:cubicBezTo>
                  <a:lnTo>
                    <a:pt x="11945" y="1107"/>
                  </a:lnTo>
                  <a:cubicBezTo>
                    <a:pt x="11965" y="1107"/>
                    <a:pt x="11965" y="1086"/>
                    <a:pt x="11945" y="1086"/>
                  </a:cubicBezTo>
                  <a:lnTo>
                    <a:pt x="11945" y="1086"/>
                  </a:lnTo>
                  <a:cubicBezTo>
                    <a:pt x="11925" y="1086"/>
                    <a:pt x="11925" y="1086"/>
                    <a:pt x="11904" y="1086"/>
                  </a:cubicBezTo>
                  <a:lnTo>
                    <a:pt x="11904" y="1065"/>
                  </a:lnTo>
                  <a:lnTo>
                    <a:pt x="11904" y="1045"/>
                  </a:lnTo>
                  <a:cubicBezTo>
                    <a:pt x="11904" y="1045"/>
                    <a:pt x="11904" y="1025"/>
                    <a:pt x="11925" y="1025"/>
                  </a:cubicBezTo>
                  <a:cubicBezTo>
                    <a:pt x="11925" y="1025"/>
                    <a:pt x="11945" y="1004"/>
                    <a:pt x="11965" y="1004"/>
                  </a:cubicBezTo>
                  <a:lnTo>
                    <a:pt x="11986" y="1004"/>
                  </a:lnTo>
                  <a:cubicBezTo>
                    <a:pt x="11986" y="1025"/>
                    <a:pt x="11986" y="1025"/>
                    <a:pt x="12007" y="1025"/>
                  </a:cubicBezTo>
                  <a:cubicBezTo>
                    <a:pt x="12007" y="1045"/>
                    <a:pt x="12027" y="1045"/>
                    <a:pt x="12027" y="1045"/>
                  </a:cubicBezTo>
                  <a:lnTo>
                    <a:pt x="12047" y="1045"/>
                  </a:lnTo>
                  <a:cubicBezTo>
                    <a:pt x="12068" y="1045"/>
                    <a:pt x="12068" y="1025"/>
                    <a:pt x="12068" y="1025"/>
                  </a:cubicBezTo>
                  <a:lnTo>
                    <a:pt x="12089" y="1025"/>
                  </a:lnTo>
                  <a:cubicBezTo>
                    <a:pt x="12109" y="1025"/>
                    <a:pt x="12109" y="1025"/>
                    <a:pt x="12109" y="1025"/>
                  </a:cubicBezTo>
                  <a:cubicBezTo>
                    <a:pt x="12109" y="1025"/>
                    <a:pt x="12109" y="1004"/>
                    <a:pt x="12109" y="983"/>
                  </a:cubicBezTo>
                  <a:cubicBezTo>
                    <a:pt x="12109" y="983"/>
                    <a:pt x="12089" y="983"/>
                    <a:pt x="12068" y="983"/>
                  </a:cubicBezTo>
                  <a:lnTo>
                    <a:pt x="12047" y="983"/>
                  </a:lnTo>
                  <a:cubicBezTo>
                    <a:pt x="12027" y="983"/>
                    <a:pt x="12007" y="983"/>
                    <a:pt x="12007" y="983"/>
                  </a:cubicBezTo>
                  <a:lnTo>
                    <a:pt x="12007" y="963"/>
                  </a:lnTo>
                  <a:cubicBezTo>
                    <a:pt x="12007" y="963"/>
                    <a:pt x="11986" y="963"/>
                    <a:pt x="11986" y="943"/>
                  </a:cubicBezTo>
                  <a:lnTo>
                    <a:pt x="11986" y="922"/>
                  </a:lnTo>
                  <a:cubicBezTo>
                    <a:pt x="11965" y="901"/>
                    <a:pt x="11945" y="922"/>
                    <a:pt x="11945" y="901"/>
                  </a:cubicBezTo>
                  <a:lnTo>
                    <a:pt x="11925" y="901"/>
                  </a:lnTo>
                  <a:cubicBezTo>
                    <a:pt x="11925" y="881"/>
                    <a:pt x="11925" y="881"/>
                    <a:pt x="11925" y="861"/>
                  </a:cubicBezTo>
                  <a:lnTo>
                    <a:pt x="11945" y="841"/>
                  </a:lnTo>
                  <a:cubicBezTo>
                    <a:pt x="11945" y="841"/>
                    <a:pt x="11965" y="841"/>
                    <a:pt x="11965" y="820"/>
                  </a:cubicBezTo>
                  <a:lnTo>
                    <a:pt x="11965" y="799"/>
                  </a:lnTo>
                  <a:lnTo>
                    <a:pt x="11945" y="799"/>
                  </a:lnTo>
                  <a:lnTo>
                    <a:pt x="11925" y="820"/>
                  </a:lnTo>
                  <a:lnTo>
                    <a:pt x="11904" y="820"/>
                  </a:lnTo>
                  <a:lnTo>
                    <a:pt x="11884" y="841"/>
                  </a:lnTo>
                  <a:cubicBezTo>
                    <a:pt x="11884" y="861"/>
                    <a:pt x="11863" y="861"/>
                    <a:pt x="11843" y="861"/>
                  </a:cubicBezTo>
                  <a:lnTo>
                    <a:pt x="11823" y="841"/>
                  </a:lnTo>
                  <a:lnTo>
                    <a:pt x="11823" y="820"/>
                  </a:lnTo>
                  <a:cubicBezTo>
                    <a:pt x="11823" y="799"/>
                    <a:pt x="11843" y="779"/>
                    <a:pt x="11843" y="779"/>
                  </a:cubicBezTo>
                  <a:cubicBezTo>
                    <a:pt x="11843" y="779"/>
                    <a:pt x="11863" y="759"/>
                    <a:pt x="11884" y="759"/>
                  </a:cubicBezTo>
                  <a:cubicBezTo>
                    <a:pt x="11884" y="759"/>
                    <a:pt x="11904" y="759"/>
                    <a:pt x="11925" y="759"/>
                  </a:cubicBezTo>
                  <a:lnTo>
                    <a:pt x="11945" y="759"/>
                  </a:lnTo>
                  <a:lnTo>
                    <a:pt x="11945" y="738"/>
                  </a:lnTo>
                  <a:cubicBezTo>
                    <a:pt x="11945" y="738"/>
                    <a:pt x="11965" y="717"/>
                    <a:pt x="11945" y="717"/>
                  </a:cubicBezTo>
                  <a:lnTo>
                    <a:pt x="11945" y="717"/>
                  </a:lnTo>
                  <a:cubicBezTo>
                    <a:pt x="11925" y="717"/>
                    <a:pt x="11925" y="717"/>
                    <a:pt x="11904" y="717"/>
                  </a:cubicBezTo>
                  <a:cubicBezTo>
                    <a:pt x="11904" y="697"/>
                    <a:pt x="11904" y="697"/>
                    <a:pt x="11884" y="697"/>
                  </a:cubicBezTo>
                  <a:cubicBezTo>
                    <a:pt x="11884" y="677"/>
                    <a:pt x="11884" y="677"/>
                    <a:pt x="11884" y="656"/>
                  </a:cubicBezTo>
                  <a:cubicBezTo>
                    <a:pt x="11884" y="656"/>
                    <a:pt x="11884" y="656"/>
                    <a:pt x="11884" y="635"/>
                  </a:cubicBezTo>
                  <a:lnTo>
                    <a:pt x="11904" y="635"/>
                  </a:lnTo>
                  <a:lnTo>
                    <a:pt x="11925" y="635"/>
                  </a:lnTo>
                  <a:cubicBezTo>
                    <a:pt x="11945" y="656"/>
                    <a:pt x="11945" y="656"/>
                    <a:pt x="11965" y="656"/>
                  </a:cubicBezTo>
                  <a:cubicBezTo>
                    <a:pt x="11965" y="677"/>
                    <a:pt x="12007" y="677"/>
                    <a:pt x="12007" y="677"/>
                  </a:cubicBezTo>
                  <a:cubicBezTo>
                    <a:pt x="12027" y="677"/>
                    <a:pt x="12089" y="677"/>
                    <a:pt x="12109" y="677"/>
                  </a:cubicBezTo>
                  <a:cubicBezTo>
                    <a:pt x="12129" y="677"/>
                    <a:pt x="12171" y="697"/>
                    <a:pt x="12191" y="677"/>
                  </a:cubicBezTo>
                  <a:lnTo>
                    <a:pt x="12211" y="677"/>
                  </a:lnTo>
                  <a:cubicBezTo>
                    <a:pt x="12232" y="677"/>
                    <a:pt x="12273" y="677"/>
                    <a:pt x="12293" y="677"/>
                  </a:cubicBezTo>
                  <a:cubicBezTo>
                    <a:pt x="12314" y="677"/>
                    <a:pt x="12335" y="677"/>
                    <a:pt x="12335" y="677"/>
                  </a:cubicBezTo>
                  <a:cubicBezTo>
                    <a:pt x="12355" y="677"/>
                    <a:pt x="12375" y="677"/>
                    <a:pt x="12396" y="677"/>
                  </a:cubicBezTo>
                  <a:cubicBezTo>
                    <a:pt x="12417" y="677"/>
                    <a:pt x="12437" y="677"/>
                    <a:pt x="12437" y="677"/>
                  </a:cubicBezTo>
                  <a:cubicBezTo>
                    <a:pt x="12457" y="677"/>
                    <a:pt x="12499" y="677"/>
                    <a:pt x="12519" y="677"/>
                  </a:cubicBezTo>
                  <a:cubicBezTo>
                    <a:pt x="12519" y="677"/>
                    <a:pt x="12539" y="677"/>
                    <a:pt x="12539" y="697"/>
                  </a:cubicBezTo>
                  <a:cubicBezTo>
                    <a:pt x="12539" y="697"/>
                    <a:pt x="12539" y="697"/>
                    <a:pt x="12519" y="697"/>
                  </a:cubicBezTo>
                  <a:lnTo>
                    <a:pt x="12499" y="697"/>
                  </a:lnTo>
                  <a:lnTo>
                    <a:pt x="12478" y="697"/>
                  </a:lnTo>
                  <a:cubicBezTo>
                    <a:pt x="12457" y="697"/>
                    <a:pt x="12437" y="697"/>
                    <a:pt x="12437" y="697"/>
                  </a:cubicBezTo>
                  <a:lnTo>
                    <a:pt x="12417" y="697"/>
                  </a:lnTo>
                  <a:cubicBezTo>
                    <a:pt x="12417" y="717"/>
                    <a:pt x="12396" y="717"/>
                    <a:pt x="12396" y="717"/>
                  </a:cubicBezTo>
                  <a:cubicBezTo>
                    <a:pt x="12396" y="717"/>
                    <a:pt x="12396" y="738"/>
                    <a:pt x="12375" y="738"/>
                  </a:cubicBezTo>
                  <a:lnTo>
                    <a:pt x="12375" y="759"/>
                  </a:lnTo>
                  <a:lnTo>
                    <a:pt x="12396" y="779"/>
                  </a:lnTo>
                  <a:cubicBezTo>
                    <a:pt x="12417" y="779"/>
                    <a:pt x="12417" y="759"/>
                    <a:pt x="12437" y="759"/>
                  </a:cubicBezTo>
                  <a:lnTo>
                    <a:pt x="12457" y="738"/>
                  </a:lnTo>
                  <a:cubicBezTo>
                    <a:pt x="12478" y="738"/>
                    <a:pt x="12499" y="738"/>
                    <a:pt x="12519" y="717"/>
                  </a:cubicBezTo>
                  <a:lnTo>
                    <a:pt x="12560" y="717"/>
                  </a:lnTo>
                  <a:lnTo>
                    <a:pt x="12581" y="717"/>
                  </a:lnTo>
                  <a:cubicBezTo>
                    <a:pt x="12601" y="717"/>
                    <a:pt x="12601" y="738"/>
                    <a:pt x="12601" y="738"/>
                  </a:cubicBezTo>
                  <a:lnTo>
                    <a:pt x="12601" y="759"/>
                  </a:lnTo>
                  <a:cubicBezTo>
                    <a:pt x="12601" y="779"/>
                    <a:pt x="12601" y="799"/>
                    <a:pt x="12601" y="799"/>
                  </a:cubicBezTo>
                  <a:cubicBezTo>
                    <a:pt x="12581" y="799"/>
                    <a:pt x="12581" y="820"/>
                    <a:pt x="12581" y="820"/>
                  </a:cubicBezTo>
                  <a:cubicBezTo>
                    <a:pt x="12560" y="799"/>
                    <a:pt x="12560" y="799"/>
                    <a:pt x="12560" y="799"/>
                  </a:cubicBezTo>
                  <a:cubicBezTo>
                    <a:pt x="12560" y="779"/>
                    <a:pt x="12581" y="779"/>
                    <a:pt x="12581" y="759"/>
                  </a:cubicBezTo>
                  <a:cubicBezTo>
                    <a:pt x="12581" y="759"/>
                    <a:pt x="12581" y="759"/>
                    <a:pt x="12560" y="759"/>
                  </a:cubicBezTo>
                  <a:lnTo>
                    <a:pt x="12560" y="759"/>
                  </a:lnTo>
                  <a:lnTo>
                    <a:pt x="12539" y="759"/>
                  </a:lnTo>
                  <a:lnTo>
                    <a:pt x="12539" y="779"/>
                  </a:lnTo>
                  <a:lnTo>
                    <a:pt x="12539" y="799"/>
                  </a:lnTo>
                  <a:cubicBezTo>
                    <a:pt x="12560" y="799"/>
                    <a:pt x="12560" y="820"/>
                    <a:pt x="12560" y="820"/>
                  </a:cubicBezTo>
                  <a:lnTo>
                    <a:pt x="12539" y="841"/>
                  </a:lnTo>
                  <a:lnTo>
                    <a:pt x="12519" y="820"/>
                  </a:lnTo>
                  <a:cubicBezTo>
                    <a:pt x="12519" y="820"/>
                    <a:pt x="12519" y="820"/>
                    <a:pt x="12519" y="841"/>
                  </a:cubicBezTo>
                  <a:cubicBezTo>
                    <a:pt x="12519" y="841"/>
                    <a:pt x="12499" y="841"/>
                    <a:pt x="12499" y="861"/>
                  </a:cubicBezTo>
                  <a:cubicBezTo>
                    <a:pt x="12519" y="861"/>
                    <a:pt x="12519" y="861"/>
                    <a:pt x="12539" y="861"/>
                  </a:cubicBezTo>
                  <a:cubicBezTo>
                    <a:pt x="12539" y="861"/>
                    <a:pt x="12539" y="861"/>
                    <a:pt x="12539" y="881"/>
                  </a:cubicBezTo>
                  <a:cubicBezTo>
                    <a:pt x="12539" y="881"/>
                    <a:pt x="12539" y="881"/>
                    <a:pt x="12519" y="901"/>
                  </a:cubicBezTo>
                  <a:lnTo>
                    <a:pt x="12539" y="901"/>
                  </a:lnTo>
                  <a:cubicBezTo>
                    <a:pt x="12539" y="922"/>
                    <a:pt x="12539" y="901"/>
                    <a:pt x="12560" y="901"/>
                  </a:cubicBezTo>
                  <a:lnTo>
                    <a:pt x="12560" y="901"/>
                  </a:lnTo>
                  <a:lnTo>
                    <a:pt x="12581" y="881"/>
                  </a:lnTo>
                  <a:lnTo>
                    <a:pt x="12601" y="881"/>
                  </a:lnTo>
                  <a:cubicBezTo>
                    <a:pt x="12621" y="881"/>
                    <a:pt x="12621" y="841"/>
                    <a:pt x="12621" y="841"/>
                  </a:cubicBezTo>
                  <a:cubicBezTo>
                    <a:pt x="12621" y="820"/>
                    <a:pt x="12621" y="820"/>
                    <a:pt x="12621" y="820"/>
                  </a:cubicBezTo>
                  <a:cubicBezTo>
                    <a:pt x="12621" y="799"/>
                    <a:pt x="12621" y="799"/>
                    <a:pt x="12621" y="799"/>
                  </a:cubicBezTo>
                  <a:cubicBezTo>
                    <a:pt x="12642" y="799"/>
                    <a:pt x="12642" y="779"/>
                    <a:pt x="12642" y="779"/>
                  </a:cubicBezTo>
                  <a:cubicBezTo>
                    <a:pt x="12642" y="779"/>
                    <a:pt x="12642" y="759"/>
                    <a:pt x="12642" y="738"/>
                  </a:cubicBezTo>
                  <a:cubicBezTo>
                    <a:pt x="12642" y="738"/>
                    <a:pt x="12642" y="717"/>
                    <a:pt x="12621" y="717"/>
                  </a:cubicBezTo>
                  <a:cubicBezTo>
                    <a:pt x="12621" y="717"/>
                    <a:pt x="12621" y="697"/>
                    <a:pt x="12621" y="677"/>
                  </a:cubicBezTo>
                  <a:cubicBezTo>
                    <a:pt x="12601" y="677"/>
                    <a:pt x="12601" y="656"/>
                    <a:pt x="12621" y="656"/>
                  </a:cubicBezTo>
                  <a:lnTo>
                    <a:pt x="12642" y="656"/>
                  </a:lnTo>
                  <a:cubicBezTo>
                    <a:pt x="12662" y="656"/>
                    <a:pt x="12662" y="656"/>
                    <a:pt x="12683" y="656"/>
                  </a:cubicBezTo>
                  <a:cubicBezTo>
                    <a:pt x="12683" y="656"/>
                    <a:pt x="12703" y="635"/>
                    <a:pt x="12724" y="635"/>
                  </a:cubicBezTo>
                  <a:cubicBezTo>
                    <a:pt x="12724" y="635"/>
                    <a:pt x="12744" y="635"/>
                    <a:pt x="12765" y="635"/>
                  </a:cubicBezTo>
                  <a:cubicBezTo>
                    <a:pt x="12785" y="615"/>
                    <a:pt x="12826" y="635"/>
                    <a:pt x="12847" y="635"/>
                  </a:cubicBezTo>
                  <a:cubicBezTo>
                    <a:pt x="12867" y="635"/>
                    <a:pt x="12888" y="635"/>
                    <a:pt x="12908" y="656"/>
                  </a:cubicBezTo>
                  <a:cubicBezTo>
                    <a:pt x="12929" y="656"/>
                    <a:pt x="12949" y="677"/>
                    <a:pt x="12970" y="677"/>
                  </a:cubicBezTo>
                  <a:cubicBezTo>
                    <a:pt x="12970" y="677"/>
                    <a:pt x="12990" y="697"/>
                    <a:pt x="13011" y="697"/>
                  </a:cubicBezTo>
                  <a:cubicBezTo>
                    <a:pt x="13011" y="717"/>
                    <a:pt x="13031" y="717"/>
                    <a:pt x="13031" y="738"/>
                  </a:cubicBezTo>
                  <a:lnTo>
                    <a:pt x="13011" y="738"/>
                  </a:lnTo>
                  <a:lnTo>
                    <a:pt x="12990" y="738"/>
                  </a:lnTo>
                  <a:cubicBezTo>
                    <a:pt x="12990" y="738"/>
                    <a:pt x="12990" y="738"/>
                    <a:pt x="12970" y="738"/>
                  </a:cubicBezTo>
                  <a:lnTo>
                    <a:pt x="12970" y="738"/>
                  </a:lnTo>
                  <a:cubicBezTo>
                    <a:pt x="12970" y="759"/>
                    <a:pt x="12970" y="779"/>
                    <a:pt x="12970" y="779"/>
                  </a:cubicBezTo>
                  <a:lnTo>
                    <a:pt x="12970" y="799"/>
                  </a:lnTo>
                  <a:cubicBezTo>
                    <a:pt x="12970" y="799"/>
                    <a:pt x="12990" y="799"/>
                    <a:pt x="13011" y="799"/>
                  </a:cubicBezTo>
                  <a:cubicBezTo>
                    <a:pt x="13011" y="799"/>
                    <a:pt x="13031" y="779"/>
                    <a:pt x="13052" y="779"/>
                  </a:cubicBezTo>
                  <a:cubicBezTo>
                    <a:pt x="13052" y="779"/>
                    <a:pt x="13072" y="779"/>
                    <a:pt x="13093" y="779"/>
                  </a:cubicBezTo>
                  <a:cubicBezTo>
                    <a:pt x="13093" y="779"/>
                    <a:pt x="13113" y="799"/>
                    <a:pt x="13113" y="820"/>
                  </a:cubicBezTo>
                  <a:cubicBezTo>
                    <a:pt x="13134" y="820"/>
                    <a:pt x="13154" y="799"/>
                    <a:pt x="13154" y="799"/>
                  </a:cubicBezTo>
                  <a:cubicBezTo>
                    <a:pt x="13175" y="820"/>
                    <a:pt x="13175" y="820"/>
                    <a:pt x="13175" y="820"/>
                  </a:cubicBezTo>
                  <a:cubicBezTo>
                    <a:pt x="13195" y="841"/>
                    <a:pt x="13195" y="820"/>
                    <a:pt x="13216" y="820"/>
                  </a:cubicBezTo>
                  <a:lnTo>
                    <a:pt x="13236" y="799"/>
                  </a:lnTo>
                  <a:cubicBezTo>
                    <a:pt x="13257" y="799"/>
                    <a:pt x="13277" y="799"/>
                    <a:pt x="13277" y="820"/>
                  </a:cubicBezTo>
                  <a:cubicBezTo>
                    <a:pt x="13298" y="820"/>
                    <a:pt x="13318" y="820"/>
                    <a:pt x="13339" y="820"/>
                  </a:cubicBezTo>
                  <a:cubicBezTo>
                    <a:pt x="13339" y="820"/>
                    <a:pt x="13359" y="841"/>
                    <a:pt x="13380" y="841"/>
                  </a:cubicBezTo>
                  <a:cubicBezTo>
                    <a:pt x="13380" y="841"/>
                    <a:pt x="13420" y="861"/>
                    <a:pt x="13420" y="881"/>
                  </a:cubicBezTo>
                  <a:lnTo>
                    <a:pt x="13420" y="901"/>
                  </a:lnTo>
                  <a:lnTo>
                    <a:pt x="13400" y="901"/>
                  </a:lnTo>
                  <a:cubicBezTo>
                    <a:pt x="13400" y="922"/>
                    <a:pt x="13400" y="922"/>
                    <a:pt x="13400" y="922"/>
                  </a:cubicBezTo>
                  <a:cubicBezTo>
                    <a:pt x="13420" y="922"/>
                    <a:pt x="13420" y="922"/>
                    <a:pt x="13441" y="922"/>
                  </a:cubicBezTo>
                  <a:cubicBezTo>
                    <a:pt x="13441" y="922"/>
                    <a:pt x="13462" y="922"/>
                    <a:pt x="13482" y="901"/>
                  </a:cubicBezTo>
                  <a:cubicBezTo>
                    <a:pt x="13482" y="901"/>
                    <a:pt x="13502" y="901"/>
                    <a:pt x="13523" y="901"/>
                  </a:cubicBezTo>
                  <a:cubicBezTo>
                    <a:pt x="13523" y="901"/>
                    <a:pt x="13544" y="881"/>
                    <a:pt x="13564" y="881"/>
                  </a:cubicBezTo>
                  <a:cubicBezTo>
                    <a:pt x="13584" y="861"/>
                    <a:pt x="13626" y="861"/>
                    <a:pt x="13646" y="861"/>
                  </a:cubicBezTo>
                  <a:cubicBezTo>
                    <a:pt x="13666" y="841"/>
                    <a:pt x="13748" y="820"/>
                    <a:pt x="13790" y="799"/>
                  </a:cubicBezTo>
                  <a:cubicBezTo>
                    <a:pt x="13810" y="799"/>
                    <a:pt x="13830" y="779"/>
                    <a:pt x="13851" y="779"/>
                  </a:cubicBezTo>
                  <a:cubicBezTo>
                    <a:pt x="13872" y="779"/>
                    <a:pt x="13892" y="779"/>
                    <a:pt x="13912" y="779"/>
                  </a:cubicBezTo>
                  <a:cubicBezTo>
                    <a:pt x="13933" y="779"/>
                    <a:pt x="13974" y="779"/>
                    <a:pt x="13994" y="779"/>
                  </a:cubicBezTo>
                  <a:cubicBezTo>
                    <a:pt x="14015" y="779"/>
                    <a:pt x="14076" y="779"/>
                    <a:pt x="14097" y="779"/>
                  </a:cubicBezTo>
                  <a:cubicBezTo>
                    <a:pt x="14118" y="779"/>
                    <a:pt x="14158" y="779"/>
                    <a:pt x="14178" y="779"/>
                  </a:cubicBezTo>
                  <a:cubicBezTo>
                    <a:pt x="14199" y="779"/>
                    <a:pt x="14220" y="779"/>
                    <a:pt x="14240" y="779"/>
                  </a:cubicBezTo>
                  <a:cubicBezTo>
                    <a:pt x="14260" y="799"/>
                    <a:pt x="14302" y="820"/>
                    <a:pt x="14322" y="820"/>
                  </a:cubicBezTo>
                  <a:cubicBezTo>
                    <a:pt x="14322" y="820"/>
                    <a:pt x="14342" y="841"/>
                    <a:pt x="14363" y="861"/>
                  </a:cubicBezTo>
                  <a:cubicBezTo>
                    <a:pt x="14384" y="861"/>
                    <a:pt x="14384" y="861"/>
                    <a:pt x="14404" y="881"/>
                  </a:cubicBezTo>
                  <a:cubicBezTo>
                    <a:pt x="14404" y="881"/>
                    <a:pt x="14424" y="881"/>
                    <a:pt x="14424" y="901"/>
                  </a:cubicBezTo>
                  <a:cubicBezTo>
                    <a:pt x="14445" y="901"/>
                    <a:pt x="14466" y="922"/>
                    <a:pt x="14466" y="943"/>
                  </a:cubicBezTo>
                  <a:cubicBezTo>
                    <a:pt x="14466" y="943"/>
                    <a:pt x="14466" y="983"/>
                    <a:pt x="14486" y="1004"/>
                  </a:cubicBezTo>
                  <a:cubicBezTo>
                    <a:pt x="14486" y="1004"/>
                    <a:pt x="14506" y="1025"/>
                    <a:pt x="14527" y="1025"/>
                  </a:cubicBezTo>
                  <a:cubicBezTo>
                    <a:pt x="14527" y="1045"/>
                    <a:pt x="14548" y="1045"/>
                    <a:pt x="14548" y="1045"/>
                  </a:cubicBezTo>
                  <a:cubicBezTo>
                    <a:pt x="14568" y="1045"/>
                    <a:pt x="14568" y="1045"/>
                    <a:pt x="14588" y="1045"/>
                  </a:cubicBezTo>
                  <a:cubicBezTo>
                    <a:pt x="14588" y="1045"/>
                    <a:pt x="14588" y="1065"/>
                    <a:pt x="14609" y="1065"/>
                  </a:cubicBezTo>
                  <a:lnTo>
                    <a:pt x="14630" y="1065"/>
                  </a:lnTo>
                  <a:cubicBezTo>
                    <a:pt x="14650" y="1065"/>
                    <a:pt x="14650" y="1045"/>
                    <a:pt x="14670" y="1045"/>
                  </a:cubicBezTo>
                  <a:lnTo>
                    <a:pt x="14691" y="1065"/>
                  </a:lnTo>
                  <a:cubicBezTo>
                    <a:pt x="14712" y="1065"/>
                    <a:pt x="14712" y="1086"/>
                    <a:pt x="14712" y="1086"/>
                  </a:cubicBezTo>
                  <a:cubicBezTo>
                    <a:pt x="14732" y="1086"/>
                    <a:pt x="14732" y="1086"/>
                    <a:pt x="14752" y="1086"/>
                  </a:cubicBezTo>
                  <a:lnTo>
                    <a:pt x="14752" y="1065"/>
                  </a:lnTo>
                  <a:lnTo>
                    <a:pt x="14752" y="1045"/>
                  </a:lnTo>
                  <a:cubicBezTo>
                    <a:pt x="14773" y="1045"/>
                    <a:pt x="14773" y="1045"/>
                    <a:pt x="14794" y="1045"/>
                  </a:cubicBezTo>
                  <a:lnTo>
                    <a:pt x="14814" y="1045"/>
                  </a:lnTo>
                  <a:cubicBezTo>
                    <a:pt x="14814" y="1045"/>
                    <a:pt x="14814" y="1045"/>
                    <a:pt x="14814" y="1025"/>
                  </a:cubicBezTo>
                  <a:cubicBezTo>
                    <a:pt x="14834" y="1025"/>
                    <a:pt x="14834" y="1004"/>
                    <a:pt x="14855" y="1004"/>
                  </a:cubicBezTo>
                  <a:lnTo>
                    <a:pt x="14876" y="1004"/>
                  </a:lnTo>
                  <a:cubicBezTo>
                    <a:pt x="14896" y="1004"/>
                    <a:pt x="14896" y="1004"/>
                    <a:pt x="14916" y="1004"/>
                  </a:cubicBezTo>
                  <a:lnTo>
                    <a:pt x="14937" y="983"/>
                  </a:lnTo>
                  <a:lnTo>
                    <a:pt x="14978" y="983"/>
                  </a:lnTo>
                  <a:lnTo>
                    <a:pt x="14998" y="963"/>
                  </a:lnTo>
                  <a:cubicBezTo>
                    <a:pt x="14998" y="963"/>
                    <a:pt x="15019" y="943"/>
                    <a:pt x="15019" y="963"/>
                  </a:cubicBezTo>
                  <a:cubicBezTo>
                    <a:pt x="15039" y="963"/>
                    <a:pt x="15039" y="963"/>
                    <a:pt x="15039" y="963"/>
                  </a:cubicBezTo>
                  <a:cubicBezTo>
                    <a:pt x="15060" y="963"/>
                    <a:pt x="15060" y="963"/>
                    <a:pt x="15080" y="963"/>
                  </a:cubicBezTo>
                  <a:lnTo>
                    <a:pt x="15121" y="963"/>
                  </a:lnTo>
                  <a:cubicBezTo>
                    <a:pt x="15142" y="943"/>
                    <a:pt x="15183" y="943"/>
                    <a:pt x="15203" y="943"/>
                  </a:cubicBezTo>
                  <a:cubicBezTo>
                    <a:pt x="15203" y="943"/>
                    <a:pt x="15244" y="943"/>
                    <a:pt x="15265" y="943"/>
                  </a:cubicBezTo>
                  <a:cubicBezTo>
                    <a:pt x="15285" y="943"/>
                    <a:pt x="15326" y="943"/>
                    <a:pt x="15347" y="943"/>
                  </a:cubicBezTo>
                  <a:cubicBezTo>
                    <a:pt x="15347" y="943"/>
                    <a:pt x="15347" y="943"/>
                    <a:pt x="15367" y="943"/>
                  </a:cubicBezTo>
                  <a:lnTo>
                    <a:pt x="15367" y="922"/>
                  </a:lnTo>
                  <a:lnTo>
                    <a:pt x="15388" y="901"/>
                  </a:lnTo>
                  <a:cubicBezTo>
                    <a:pt x="15388" y="901"/>
                    <a:pt x="15388" y="901"/>
                    <a:pt x="15408" y="901"/>
                  </a:cubicBezTo>
                  <a:cubicBezTo>
                    <a:pt x="15408" y="881"/>
                    <a:pt x="15429" y="901"/>
                    <a:pt x="15429" y="901"/>
                  </a:cubicBezTo>
                  <a:lnTo>
                    <a:pt x="15449" y="901"/>
                  </a:lnTo>
                  <a:cubicBezTo>
                    <a:pt x="15470" y="922"/>
                    <a:pt x="15490" y="922"/>
                    <a:pt x="15490" y="922"/>
                  </a:cubicBezTo>
                  <a:cubicBezTo>
                    <a:pt x="15511" y="922"/>
                    <a:pt x="15511" y="922"/>
                    <a:pt x="15531" y="943"/>
                  </a:cubicBezTo>
                  <a:cubicBezTo>
                    <a:pt x="15531" y="943"/>
                    <a:pt x="15531" y="963"/>
                    <a:pt x="15552" y="963"/>
                  </a:cubicBezTo>
                  <a:cubicBezTo>
                    <a:pt x="15552" y="963"/>
                    <a:pt x="15552" y="963"/>
                    <a:pt x="15572" y="963"/>
                  </a:cubicBezTo>
                  <a:lnTo>
                    <a:pt x="15593" y="963"/>
                  </a:lnTo>
                  <a:lnTo>
                    <a:pt x="15613" y="963"/>
                  </a:lnTo>
                  <a:cubicBezTo>
                    <a:pt x="15634" y="983"/>
                    <a:pt x="15634" y="983"/>
                    <a:pt x="15654" y="983"/>
                  </a:cubicBezTo>
                  <a:lnTo>
                    <a:pt x="15675" y="983"/>
                  </a:lnTo>
                  <a:lnTo>
                    <a:pt x="15695" y="983"/>
                  </a:lnTo>
                  <a:cubicBezTo>
                    <a:pt x="15695" y="983"/>
                    <a:pt x="15715" y="983"/>
                    <a:pt x="15736" y="983"/>
                  </a:cubicBezTo>
                  <a:cubicBezTo>
                    <a:pt x="15736" y="983"/>
                    <a:pt x="15736" y="1004"/>
                    <a:pt x="15757" y="1004"/>
                  </a:cubicBezTo>
                  <a:cubicBezTo>
                    <a:pt x="15757" y="1004"/>
                    <a:pt x="15757" y="1025"/>
                    <a:pt x="15777" y="1025"/>
                  </a:cubicBezTo>
                  <a:cubicBezTo>
                    <a:pt x="15777" y="1025"/>
                    <a:pt x="15777" y="1045"/>
                    <a:pt x="15797" y="1045"/>
                  </a:cubicBezTo>
                  <a:lnTo>
                    <a:pt x="15818" y="1045"/>
                  </a:lnTo>
                  <a:cubicBezTo>
                    <a:pt x="15818" y="1045"/>
                    <a:pt x="15818" y="1025"/>
                    <a:pt x="15839" y="1025"/>
                  </a:cubicBezTo>
                  <a:lnTo>
                    <a:pt x="15859" y="1025"/>
                  </a:lnTo>
                  <a:cubicBezTo>
                    <a:pt x="15879" y="1025"/>
                    <a:pt x="15879" y="1045"/>
                    <a:pt x="15879" y="1045"/>
                  </a:cubicBezTo>
                  <a:cubicBezTo>
                    <a:pt x="15900" y="1045"/>
                    <a:pt x="15900" y="1045"/>
                    <a:pt x="15921" y="1025"/>
                  </a:cubicBezTo>
                  <a:lnTo>
                    <a:pt x="15921" y="1025"/>
                  </a:lnTo>
                  <a:cubicBezTo>
                    <a:pt x="15921" y="1025"/>
                    <a:pt x="15921" y="1004"/>
                    <a:pt x="15900" y="1004"/>
                  </a:cubicBezTo>
                  <a:cubicBezTo>
                    <a:pt x="15900" y="1004"/>
                    <a:pt x="15900" y="1004"/>
                    <a:pt x="15879" y="983"/>
                  </a:cubicBezTo>
                  <a:lnTo>
                    <a:pt x="15879" y="963"/>
                  </a:lnTo>
                  <a:cubicBezTo>
                    <a:pt x="15879" y="963"/>
                    <a:pt x="15879" y="943"/>
                    <a:pt x="15879" y="922"/>
                  </a:cubicBezTo>
                  <a:cubicBezTo>
                    <a:pt x="15879" y="922"/>
                    <a:pt x="15859" y="922"/>
                    <a:pt x="15839" y="922"/>
                  </a:cubicBezTo>
                  <a:cubicBezTo>
                    <a:pt x="15818" y="922"/>
                    <a:pt x="15797" y="901"/>
                    <a:pt x="15797" y="901"/>
                  </a:cubicBezTo>
                  <a:cubicBezTo>
                    <a:pt x="15777" y="881"/>
                    <a:pt x="15757" y="881"/>
                    <a:pt x="15757" y="861"/>
                  </a:cubicBezTo>
                  <a:cubicBezTo>
                    <a:pt x="15757" y="861"/>
                    <a:pt x="15757" y="841"/>
                    <a:pt x="15736" y="841"/>
                  </a:cubicBezTo>
                  <a:lnTo>
                    <a:pt x="15715" y="841"/>
                  </a:lnTo>
                  <a:lnTo>
                    <a:pt x="15715" y="861"/>
                  </a:lnTo>
                  <a:cubicBezTo>
                    <a:pt x="15695" y="861"/>
                    <a:pt x="15695" y="861"/>
                    <a:pt x="15675" y="861"/>
                  </a:cubicBezTo>
                  <a:lnTo>
                    <a:pt x="15675" y="861"/>
                  </a:lnTo>
                  <a:cubicBezTo>
                    <a:pt x="15675" y="841"/>
                    <a:pt x="15675" y="820"/>
                    <a:pt x="15675" y="820"/>
                  </a:cubicBezTo>
                  <a:lnTo>
                    <a:pt x="15695" y="820"/>
                  </a:lnTo>
                  <a:cubicBezTo>
                    <a:pt x="15695" y="799"/>
                    <a:pt x="15675" y="799"/>
                    <a:pt x="15675" y="779"/>
                  </a:cubicBezTo>
                  <a:cubicBezTo>
                    <a:pt x="15675" y="779"/>
                    <a:pt x="15675" y="759"/>
                    <a:pt x="15654" y="759"/>
                  </a:cubicBezTo>
                  <a:lnTo>
                    <a:pt x="15634" y="738"/>
                  </a:lnTo>
                  <a:cubicBezTo>
                    <a:pt x="15613" y="717"/>
                    <a:pt x="15613" y="717"/>
                    <a:pt x="15613" y="697"/>
                  </a:cubicBezTo>
                  <a:cubicBezTo>
                    <a:pt x="15593" y="697"/>
                    <a:pt x="15593" y="677"/>
                    <a:pt x="15613" y="677"/>
                  </a:cubicBezTo>
                  <a:cubicBezTo>
                    <a:pt x="15613" y="677"/>
                    <a:pt x="15613" y="677"/>
                    <a:pt x="15634" y="677"/>
                  </a:cubicBezTo>
                  <a:lnTo>
                    <a:pt x="15654" y="677"/>
                  </a:lnTo>
                  <a:cubicBezTo>
                    <a:pt x="15654" y="697"/>
                    <a:pt x="15675" y="677"/>
                    <a:pt x="15695" y="677"/>
                  </a:cubicBezTo>
                  <a:lnTo>
                    <a:pt x="15736" y="697"/>
                  </a:lnTo>
                  <a:cubicBezTo>
                    <a:pt x="15757" y="697"/>
                    <a:pt x="15777" y="697"/>
                    <a:pt x="15797" y="717"/>
                  </a:cubicBezTo>
                  <a:lnTo>
                    <a:pt x="15818" y="717"/>
                  </a:lnTo>
                  <a:cubicBezTo>
                    <a:pt x="15839" y="717"/>
                    <a:pt x="15839" y="717"/>
                    <a:pt x="15859" y="717"/>
                  </a:cubicBezTo>
                  <a:lnTo>
                    <a:pt x="15859" y="697"/>
                  </a:lnTo>
                  <a:cubicBezTo>
                    <a:pt x="15859" y="697"/>
                    <a:pt x="15859" y="677"/>
                    <a:pt x="15879" y="677"/>
                  </a:cubicBezTo>
                  <a:cubicBezTo>
                    <a:pt x="15879" y="677"/>
                    <a:pt x="15879" y="677"/>
                    <a:pt x="15879" y="697"/>
                  </a:cubicBezTo>
                  <a:cubicBezTo>
                    <a:pt x="15900" y="697"/>
                    <a:pt x="15900" y="697"/>
                    <a:pt x="15921" y="717"/>
                  </a:cubicBezTo>
                  <a:cubicBezTo>
                    <a:pt x="15921" y="717"/>
                    <a:pt x="15921" y="717"/>
                    <a:pt x="15941" y="717"/>
                  </a:cubicBezTo>
                  <a:cubicBezTo>
                    <a:pt x="15941" y="717"/>
                    <a:pt x="15941" y="738"/>
                    <a:pt x="15961" y="738"/>
                  </a:cubicBezTo>
                  <a:lnTo>
                    <a:pt x="15961" y="717"/>
                  </a:lnTo>
                  <a:cubicBezTo>
                    <a:pt x="15941" y="717"/>
                    <a:pt x="15941" y="697"/>
                    <a:pt x="15941" y="697"/>
                  </a:cubicBezTo>
                  <a:cubicBezTo>
                    <a:pt x="15941" y="697"/>
                    <a:pt x="15941" y="677"/>
                    <a:pt x="15961" y="677"/>
                  </a:cubicBezTo>
                  <a:lnTo>
                    <a:pt x="15961" y="677"/>
                  </a:lnTo>
                  <a:cubicBezTo>
                    <a:pt x="15982" y="677"/>
                    <a:pt x="15982" y="677"/>
                    <a:pt x="16003" y="677"/>
                  </a:cubicBezTo>
                  <a:cubicBezTo>
                    <a:pt x="16003" y="677"/>
                    <a:pt x="16023" y="677"/>
                    <a:pt x="16043" y="677"/>
                  </a:cubicBezTo>
                  <a:cubicBezTo>
                    <a:pt x="16064" y="677"/>
                    <a:pt x="16085" y="677"/>
                    <a:pt x="16085" y="677"/>
                  </a:cubicBezTo>
                  <a:cubicBezTo>
                    <a:pt x="16105" y="677"/>
                    <a:pt x="16125" y="656"/>
                    <a:pt x="16146" y="656"/>
                  </a:cubicBezTo>
                  <a:cubicBezTo>
                    <a:pt x="16167" y="656"/>
                    <a:pt x="16207" y="656"/>
                    <a:pt x="16228" y="656"/>
                  </a:cubicBezTo>
                  <a:cubicBezTo>
                    <a:pt x="16228" y="635"/>
                    <a:pt x="16269" y="635"/>
                    <a:pt x="16289" y="635"/>
                  </a:cubicBezTo>
                  <a:cubicBezTo>
                    <a:pt x="16289" y="635"/>
                    <a:pt x="16310" y="635"/>
                    <a:pt x="16310" y="656"/>
                  </a:cubicBezTo>
                  <a:cubicBezTo>
                    <a:pt x="16331" y="656"/>
                    <a:pt x="16351" y="656"/>
                    <a:pt x="16351" y="656"/>
                  </a:cubicBezTo>
                  <a:lnTo>
                    <a:pt x="16392" y="656"/>
                  </a:lnTo>
                  <a:cubicBezTo>
                    <a:pt x="16413" y="656"/>
                    <a:pt x="16433" y="677"/>
                    <a:pt x="16453" y="677"/>
                  </a:cubicBezTo>
                  <a:cubicBezTo>
                    <a:pt x="16453" y="677"/>
                    <a:pt x="16473" y="697"/>
                    <a:pt x="16494" y="697"/>
                  </a:cubicBezTo>
                  <a:cubicBezTo>
                    <a:pt x="16515" y="697"/>
                    <a:pt x="16535" y="697"/>
                    <a:pt x="16555" y="697"/>
                  </a:cubicBezTo>
                  <a:cubicBezTo>
                    <a:pt x="16576" y="697"/>
                    <a:pt x="16597" y="697"/>
                    <a:pt x="16617" y="697"/>
                  </a:cubicBezTo>
                  <a:cubicBezTo>
                    <a:pt x="16637" y="697"/>
                    <a:pt x="16658" y="677"/>
                    <a:pt x="16679" y="697"/>
                  </a:cubicBezTo>
                  <a:lnTo>
                    <a:pt x="16699" y="697"/>
                  </a:lnTo>
                  <a:lnTo>
                    <a:pt x="16699" y="717"/>
                  </a:lnTo>
                  <a:cubicBezTo>
                    <a:pt x="16699" y="738"/>
                    <a:pt x="16719" y="717"/>
                    <a:pt x="16719" y="717"/>
                  </a:cubicBezTo>
                  <a:cubicBezTo>
                    <a:pt x="16740" y="738"/>
                    <a:pt x="16761" y="717"/>
                    <a:pt x="16761" y="738"/>
                  </a:cubicBezTo>
                  <a:cubicBezTo>
                    <a:pt x="16781" y="738"/>
                    <a:pt x="16801" y="738"/>
                    <a:pt x="16822" y="738"/>
                  </a:cubicBezTo>
                  <a:cubicBezTo>
                    <a:pt x="16843" y="759"/>
                    <a:pt x="16863" y="759"/>
                    <a:pt x="16883" y="759"/>
                  </a:cubicBezTo>
                  <a:cubicBezTo>
                    <a:pt x="16883" y="779"/>
                    <a:pt x="16904" y="779"/>
                    <a:pt x="16904" y="779"/>
                  </a:cubicBezTo>
                  <a:cubicBezTo>
                    <a:pt x="16925" y="779"/>
                    <a:pt x="16945" y="779"/>
                    <a:pt x="16945" y="779"/>
                  </a:cubicBezTo>
                  <a:cubicBezTo>
                    <a:pt x="16965" y="779"/>
                    <a:pt x="16986" y="759"/>
                    <a:pt x="16986" y="759"/>
                  </a:cubicBezTo>
                  <a:cubicBezTo>
                    <a:pt x="17007" y="759"/>
                    <a:pt x="17027" y="759"/>
                    <a:pt x="17047" y="759"/>
                  </a:cubicBezTo>
                  <a:cubicBezTo>
                    <a:pt x="17068" y="779"/>
                    <a:pt x="17109" y="779"/>
                    <a:pt x="17129" y="799"/>
                  </a:cubicBezTo>
                  <a:cubicBezTo>
                    <a:pt x="17150" y="799"/>
                    <a:pt x="17191" y="820"/>
                    <a:pt x="17211" y="820"/>
                  </a:cubicBezTo>
                  <a:cubicBezTo>
                    <a:pt x="17211" y="820"/>
                    <a:pt x="17252" y="841"/>
                    <a:pt x="17273" y="841"/>
                  </a:cubicBezTo>
                  <a:cubicBezTo>
                    <a:pt x="17293" y="861"/>
                    <a:pt x="17334" y="861"/>
                    <a:pt x="17334" y="861"/>
                  </a:cubicBezTo>
                  <a:cubicBezTo>
                    <a:pt x="17355" y="881"/>
                    <a:pt x="17396" y="901"/>
                    <a:pt x="17416" y="901"/>
                  </a:cubicBezTo>
                  <a:lnTo>
                    <a:pt x="17437" y="881"/>
                  </a:lnTo>
                  <a:lnTo>
                    <a:pt x="17457" y="861"/>
                  </a:lnTo>
                  <a:cubicBezTo>
                    <a:pt x="17457" y="881"/>
                    <a:pt x="17478" y="881"/>
                    <a:pt x="17478" y="881"/>
                  </a:cubicBezTo>
                  <a:cubicBezTo>
                    <a:pt x="17478" y="881"/>
                    <a:pt x="17498" y="881"/>
                    <a:pt x="17519" y="881"/>
                  </a:cubicBezTo>
                  <a:cubicBezTo>
                    <a:pt x="17519" y="881"/>
                    <a:pt x="17519" y="881"/>
                    <a:pt x="17539" y="881"/>
                  </a:cubicBezTo>
                  <a:cubicBezTo>
                    <a:pt x="17539" y="901"/>
                    <a:pt x="17539" y="922"/>
                    <a:pt x="17560" y="922"/>
                  </a:cubicBezTo>
                  <a:cubicBezTo>
                    <a:pt x="17560" y="922"/>
                    <a:pt x="17560" y="922"/>
                    <a:pt x="17580" y="922"/>
                  </a:cubicBezTo>
                  <a:lnTo>
                    <a:pt x="17580" y="901"/>
                  </a:lnTo>
                  <a:lnTo>
                    <a:pt x="17601" y="901"/>
                  </a:lnTo>
                  <a:lnTo>
                    <a:pt x="17621" y="901"/>
                  </a:lnTo>
                  <a:cubicBezTo>
                    <a:pt x="17621" y="922"/>
                    <a:pt x="17642" y="922"/>
                    <a:pt x="17642" y="922"/>
                  </a:cubicBezTo>
                  <a:cubicBezTo>
                    <a:pt x="17662" y="922"/>
                    <a:pt x="17662" y="963"/>
                    <a:pt x="17662" y="963"/>
                  </a:cubicBezTo>
                  <a:lnTo>
                    <a:pt x="17683" y="983"/>
                  </a:lnTo>
                  <a:cubicBezTo>
                    <a:pt x="17683" y="983"/>
                    <a:pt x="17703" y="983"/>
                    <a:pt x="17724" y="983"/>
                  </a:cubicBezTo>
                  <a:cubicBezTo>
                    <a:pt x="17724" y="983"/>
                    <a:pt x="17724" y="983"/>
                    <a:pt x="17744" y="983"/>
                  </a:cubicBezTo>
                  <a:lnTo>
                    <a:pt x="17744" y="963"/>
                  </a:lnTo>
                  <a:lnTo>
                    <a:pt x="17724" y="943"/>
                  </a:lnTo>
                  <a:lnTo>
                    <a:pt x="17724" y="922"/>
                  </a:lnTo>
                  <a:cubicBezTo>
                    <a:pt x="17744" y="922"/>
                    <a:pt x="17744" y="922"/>
                    <a:pt x="17744" y="922"/>
                  </a:cubicBezTo>
                  <a:cubicBezTo>
                    <a:pt x="17765" y="943"/>
                    <a:pt x="17765" y="943"/>
                    <a:pt x="17765" y="943"/>
                  </a:cubicBezTo>
                  <a:cubicBezTo>
                    <a:pt x="17785" y="943"/>
                    <a:pt x="17785" y="943"/>
                    <a:pt x="17806" y="943"/>
                  </a:cubicBezTo>
                  <a:cubicBezTo>
                    <a:pt x="17806" y="943"/>
                    <a:pt x="17806" y="963"/>
                    <a:pt x="17826" y="963"/>
                  </a:cubicBezTo>
                  <a:cubicBezTo>
                    <a:pt x="17826" y="983"/>
                    <a:pt x="17847" y="983"/>
                    <a:pt x="17847" y="1004"/>
                  </a:cubicBezTo>
                  <a:cubicBezTo>
                    <a:pt x="17847" y="1004"/>
                    <a:pt x="17867" y="1004"/>
                    <a:pt x="17867" y="1025"/>
                  </a:cubicBezTo>
                  <a:lnTo>
                    <a:pt x="17888" y="1045"/>
                  </a:lnTo>
                  <a:cubicBezTo>
                    <a:pt x="17908" y="1045"/>
                    <a:pt x="17908" y="1045"/>
                    <a:pt x="17908" y="1025"/>
                  </a:cubicBezTo>
                  <a:cubicBezTo>
                    <a:pt x="17908" y="1025"/>
                    <a:pt x="17908" y="1025"/>
                    <a:pt x="17929" y="1004"/>
                  </a:cubicBezTo>
                  <a:lnTo>
                    <a:pt x="17949" y="1004"/>
                  </a:lnTo>
                  <a:lnTo>
                    <a:pt x="17970" y="1025"/>
                  </a:lnTo>
                  <a:cubicBezTo>
                    <a:pt x="17970" y="1045"/>
                    <a:pt x="17990" y="1065"/>
                    <a:pt x="17990" y="1065"/>
                  </a:cubicBezTo>
                  <a:cubicBezTo>
                    <a:pt x="17990" y="1065"/>
                    <a:pt x="18010" y="1086"/>
                    <a:pt x="18010" y="1107"/>
                  </a:cubicBezTo>
                  <a:cubicBezTo>
                    <a:pt x="18031" y="1107"/>
                    <a:pt x="18031" y="1127"/>
                    <a:pt x="18031" y="1127"/>
                  </a:cubicBezTo>
                  <a:cubicBezTo>
                    <a:pt x="18052" y="1127"/>
                    <a:pt x="18072" y="1127"/>
                    <a:pt x="18072" y="1147"/>
                  </a:cubicBezTo>
                  <a:cubicBezTo>
                    <a:pt x="18072" y="1147"/>
                    <a:pt x="18092" y="1147"/>
                    <a:pt x="18092" y="1168"/>
                  </a:cubicBezTo>
                  <a:cubicBezTo>
                    <a:pt x="18092" y="1168"/>
                    <a:pt x="18092" y="1189"/>
                    <a:pt x="18113" y="1189"/>
                  </a:cubicBezTo>
                  <a:cubicBezTo>
                    <a:pt x="18113" y="1209"/>
                    <a:pt x="18113" y="1209"/>
                    <a:pt x="18113" y="1209"/>
                  </a:cubicBezTo>
                  <a:cubicBezTo>
                    <a:pt x="18134" y="1209"/>
                    <a:pt x="18134" y="1209"/>
                    <a:pt x="18134" y="1209"/>
                  </a:cubicBezTo>
                  <a:cubicBezTo>
                    <a:pt x="18154" y="1209"/>
                    <a:pt x="18174" y="1209"/>
                    <a:pt x="18174" y="1209"/>
                  </a:cubicBezTo>
                  <a:lnTo>
                    <a:pt x="18195" y="1229"/>
                  </a:lnTo>
                  <a:cubicBezTo>
                    <a:pt x="18195" y="1229"/>
                    <a:pt x="18216" y="1229"/>
                    <a:pt x="18216" y="1250"/>
                  </a:cubicBezTo>
                  <a:cubicBezTo>
                    <a:pt x="18236" y="1250"/>
                    <a:pt x="18236" y="1250"/>
                    <a:pt x="18236" y="1271"/>
                  </a:cubicBezTo>
                  <a:lnTo>
                    <a:pt x="18256" y="1271"/>
                  </a:lnTo>
                  <a:lnTo>
                    <a:pt x="18277" y="1271"/>
                  </a:lnTo>
                  <a:lnTo>
                    <a:pt x="18277" y="1250"/>
                  </a:lnTo>
                  <a:cubicBezTo>
                    <a:pt x="18277" y="1250"/>
                    <a:pt x="18256" y="1250"/>
                    <a:pt x="18256" y="1229"/>
                  </a:cubicBezTo>
                  <a:cubicBezTo>
                    <a:pt x="18256" y="1229"/>
                    <a:pt x="18256" y="1229"/>
                    <a:pt x="18256" y="1209"/>
                  </a:cubicBezTo>
                  <a:lnTo>
                    <a:pt x="18277" y="1209"/>
                  </a:lnTo>
                  <a:cubicBezTo>
                    <a:pt x="18277" y="1229"/>
                    <a:pt x="18298" y="1229"/>
                    <a:pt x="18298" y="1229"/>
                  </a:cubicBezTo>
                  <a:lnTo>
                    <a:pt x="18298" y="1250"/>
                  </a:lnTo>
                  <a:cubicBezTo>
                    <a:pt x="18318" y="1250"/>
                    <a:pt x="18318" y="1250"/>
                    <a:pt x="18318" y="1250"/>
                  </a:cubicBezTo>
                  <a:cubicBezTo>
                    <a:pt x="18318" y="1250"/>
                    <a:pt x="18318" y="1229"/>
                    <a:pt x="18318" y="1209"/>
                  </a:cubicBezTo>
                  <a:lnTo>
                    <a:pt x="18298" y="1189"/>
                  </a:lnTo>
                  <a:lnTo>
                    <a:pt x="18298" y="1189"/>
                  </a:lnTo>
                  <a:cubicBezTo>
                    <a:pt x="18277" y="1189"/>
                    <a:pt x="18277" y="1168"/>
                    <a:pt x="18277" y="1168"/>
                  </a:cubicBezTo>
                  <a:lnTo>
                    <a:pt x="18256" y="1168"/>
                  </a:lnTo>
                  <a:cubicBezTo>
                    <a:pt x="18236" y="1168"/>
                    <a:pt x="18216" y="1168"/>
                    <a:pt x="18216" y="1168"/>
                  </a:cubicBezTo>
                  <a:lnTo>
                    <a:pt x="18195" y="1147"/>
                  </a:lnTo>
                  <a:cubicBezTo>
                    <a:pt x="18195" y="1127"/>
                    <a:pt x="18174" y="1127"/>
                    <a:pt x="18174" y="1127"/>
                  </a:cubicBezTo>
                  <a:cubicBezTo>
                    <a:pt x="18154" y="1107"/>
                    <a:pt x="18154" y="1107"/>
                    <a:pt x="18134" y="1107"/>
                  </a:cubicBezTo>
                  <a:cubicBezTo>
                    <a:pt x="18134" y="1107"/>
                    <a:pt x="18113" y="1107"/>
                    <a:pt x="18092" y="1107"/>
                  </a:cubicBezTo>
                  <a:lnTo>
                    <a:pt x="18092" y="1086"/>
                  </a:lnTo>
                  <a:cubicBezTo>
                    <a:pt x="18092" y="1086"/>
                    <a:pt x="18072" y="1065"/>
                    <a:pt x="18092" y="1065"/>
                  </a:cubicBezTo>
                  <a:cubicBezTo>
                    <a:pt x="18092" y="1065"/>
                    <a:pt x="18092" y="1065"/>
                    <a:pt x="18113" y="1065"/>
                  </a:cubicBezTo>
                  <a:cubicBezTo>
                    <a:pt x="18113" y="1065"/>
                    <a:pt x="18134" y="1065"/>
                    <a:pt x="18154" y="1065"/>
                  </a:cubicBezTo>
                  <a:cubicBezTo>
                    <a:pt x="18154" y="1065"/>
                    <a:pt x="18174" y="1065"/>
                    <a:pt x="18174" y="1045"/>
                  </a:cubicBezTo>
                  <a:lnTo>
                    <a:pt x="18195" y="1065"/>
                  </a:lnTo>
                  <a:lnTo>
                    <a:pt x="18216" y="1065"/>
                  </a:lnTo>
                  <a:lnTo>
                    <a:pt x="18216" y="1086"/>
                  </a:lnTo>
                  <a:cubicBezTo>
                    <a:pt x="18236" y="1086"/>
                    <a:pt x="18236" y="1086"/>
                    <a:pt x="18256" y="1086"/>
                  </a:cubicBezTo>
                  <a:lnTo>
                    <a:pt x="18277" y="1086"/>
                  </a:lnTo>
                  <a:cubicBezTo>
                    <a:pt x="18277" y="1086"/>
                    <a:pt x="18277" y="1086"/>
                    <a:pt x="18277" y="1065"/>
                  </a:cubicBezTo>
                  <a:lnTo>
                    <a:pt x="18277" y="1065"/>
                  </a:lnTo>
                  <a:lnTo>
                    <a:pt x="18256" y="1065"/>
                  </a:lnTo>
                  <a:lnTo>
                    <a:pt x="18256" y="1045"/>
                  </a:lnTo>
                  <a:cubicBezTo>
                    <a:pt x="18256" y="1045"/>
                    <a:pt x="18256" y="1045"/>
                    <a:pt x="18256" y="1025"/>
                  </a:cubicBezTo>
                  <a:cubicBezTo>
                    <a:pt x="18256" y="1025"/>
                    <a:pt x="18277" y="1025"/>
                    <a:pt x="18298" y="1025"/>
                  </a:cubicBezTo>
                  <a:lnTo>
                    <a:pt x="18318" y="1045"/>
                  </a:lnTo>
                  <a:lnTo>
                    <a:pt x="18338" y="1045"/>
                  </a:lnTo>
                  <a:cubicBezTo>
                    <a:pt x="18359" y="1025"/>
                    <a:pt x="18380" y="1025"/>
                    <a:pt x="18380" y="1025"/>
                  </a:cubicBezTo>
                  <a:cubicBezTo>
                    <a:pt x="18400" y="1045"/>
                    <a:pt x="18420" y="1045"/>
                    <a:pt x="18441" y="1045"/>
                  </a:cubicBezTo>
                  <a:lnTo>
                    <a:pt x="18462" y="1065"/>
                  </a:lnTo>
                  <a:cubicBezTo>
                    <a:pt x="18482" y="1065"/>
                    <a:pt x="18482" y="1086"/>
                    <a:pt x="18502" y="1107"/>
                  </a:cubicBezTo>
                  <a:cubicBezTo>
                    <a:pt x="18502" y="1107"/>
                    <a:pt x="18544" y="1107"/>
                    <a:pt x="18544" y="1127"/>
                  </a:cubicBezTo>
                  <a:cubicBezTo>
                    <a:pt x="18564" y="1127"/>
                    <a:pt x="18605" y="1127"/>
                    <a:pt x="18605" y="1147"/>
                  </a:cubicBezTo>
                  <a:cubicBezTo>
                    <a:pt x="18626" y="1147"/>
                    <a:pt x="18646" y="1147"/>
                    <a:pt x="18646" y="1147"/>
                  </a:cubicBezTo>
                  <a:cubicBezTo>
                    <a:pt x="18666" y="1147"/>
                    <a:pt x="18687" y="1147"/>
                    <a:pt x="18687" y="1147"/>
                  </a:cubicBezTo>
                  <a:cubicBezTo>
                    <a:pt x="18707" y="1168"/>
                    <a:pt x="18728" y="1168"/>
                    <a:pt x="18728" y="1189"/>
                  </a:cubicBezTo>
                  <a:cubicBezTo>
                    <a:pt x="18748" y="1189"/>
                    <a:pt x="18768" y="1189"/>
                    <a:pt x="18768" y="1189"/>
                  </a:cubicBezTo>
                  <a:cubicBezTo>
                    <a:pt x="18768" y="1189"/>
                    <a:pt x="18789" y="1189"/>
                    <a:pt x="18810" y="1189"/>
                  </a:cubicBezTo>
                  <a:cubicBezTo>
                    <a:pt x="18810" y="1189"/>
                    <a:pt x="18810" y="1168"/>
                    <a:pt x="18830" y="1168"/>
                  </a:cubicBezTo>
                  <a:lnTo>
                    <a:pt x="18850" y="1168"/>
                  </a:lnTo>
                  <a:cubicBezTo>
                    <a:pt x="18871" y="1168"/>
                    <a:pt x="18892" y="1168"/>
                    <a:pt x="18892" y="1189"/>
                  </a:cubicBezTo>
                  <a:cubicBezTo>
                    <a:pt x="18892" y="1189"/>
                    <a:pt x="18892" y="1189"/>
                    <a:pt x="18892" y="1209"/>
                  </a:cubicBezTo>
                  <a:lnTo>
                    <a:pt x="18892" y="1209"/>
                  </a:lnTo>
                  <a:lnTo>
                    <a:pt x="18871" y="1229"/>
                  </a:lnTo>
                  <a:cubicBezTo>
                    <a:pt x="18871" y="1229"/>
                    <a:pt x="18850" y="1209"/>
                    <a:pt x="18850" y="1229"/>
                  </a:cubicBezTo>
                  <a:lnTo>
                    <a:pt x="18830" y="1229"/>
                  </a:lnTo>
                  <a:lnTo>
                    <a:pt x="18830" y="1250"/>
                  </a:lnTo>
                  <a:cubicBezTo>
                    <a:pt x="18830" y="1250"/>
                    <a:pt x="18850" y="1250"/>
                    <a:pt x="18850" y="1271"/>
                  </a:cubicBezTo>
                  <a:cubicBezTo>
                    <a:pt x="18850" y="1271"/>
                    <a:pt x="18850" y="1271"/>
                    <a:pt x="18850" y="1291"/>
                  </a:cubicBezTo>
                  <a:cubicBezTo>
                    <a:pt x="18871" y="1291"/>
                    <a:pt x="18871" y="1311"/>
                    <a:pt x="18871" y="1311"/>
                  </a:cubicBezTo>
                  <a:lnTo>
                    <a:pt x="18871" y="1332"/>
                  </a:lnTo>
                  <a:cubicBezTo>
                    <a:pt x="18850" y="1332"/>
                    <a:pt x="18850" y="1332"/>
                    <a:pt x="18830" y="1332"/>
                  </a:cubicBezTo>
                  <a:lnTo>
                    <a:pt x="18810" y="1332"/>
                  </a:lnTo>
                  <a:lnTo>
                    <a:pt x="18789" y="1311"/>
                  </a:lnTo>
                  <a:lnTo>
                    <a:pt x="18768" y="1311"/>
                  </a:lnTo>
                  <a:lnTo>
                    <a:pt x="18748" y="1311"/>
                  </a:lnTo>
                  <a:cubicBezTo>
                    <a:pt x="18748" y="1311"/>
                    <a:pt x="18748" y="1311"/>
                    <a:pt x="18748" y="1332"/>
                  </a:cubicBezTo>
                  <a:lnTo>
                    <a:pt x="18768" y="1332"/>
                  </a:lnTo>
                  <a:lnTo>
                    <a:pt x="18789" y="1332"/>
                  </a:lnTo>
                  <a:cubicBezTo>
                    <a:pt x="18789" y="1353"/>
                    <a:pt x="18810" y="1353"/>
                    <a:pt x="18810" y="1353"/>
                  </a:cubicBezTo>
                  <a:cubicBezTo>
                    <a:pt x="18810" y="1353"/>
                    <a:pt x="18830" y="1353"/>
                    <a:pt x="18830" y="1373"/>
                  </a:cubicBezTo>
                  <a:lnTo>
                    <a:pt x="18830" y="1393"/>
                  </a:lnTo>
                  <a:cubicBezTo>
                    <a:pt x="18830" y="1393"/>
                    <a:pt x="18830" y="1393"/>
                    <a:pt x="18810" y="1414"/>
                  </a:cubicBezTo>
                  <a:lnTo>
                    <a:pt x="18789" y="1414"/>
                  </a:lnTo>
                  <a:lnTo>
                    <a:pt x="18768" y="1393"/>
                  </a:lnTo>
                  <a:cubicBezTo>
                    <a:pt x="18748" y="1393"/>
                    <a:pt x="18748" y="1373"/>
                    <a:pt x="18728" y="1373"/>
                  </a:cubicBezTo>
                  <a:lnTo>
                    <a:pt x="18728" y="1373"/>
                  </a:lnTo>
                  <a:cubicBezTo>
                    <a:pt x="18707" y="1373"/>
                    <a:pt x="18687" y="1373"/>
                    <a:pt x="18687" y="1373"/>
                  </a:cubicBezTo>
                  <a:lnTo>
                    <a:pt x="18666" y="1393"/>
                  </a:lnTo>
                  <a:lnTo>
                    <a:pt x="18687" y="1393"/>
                  </a:lnTo>
                  <a:lnTo>
                    <a:pt x="18707" y="1393"/>
                  </a:lnTo>
                  <a:cubicBezTo>
                    <a:pt x="18707" y="1414"/>
                    <a:pt x="18728" y="1393"/>
                    <a:pt x="18728" y="1414"/>
                  </a:cubicBezTo>
                  <a:lnTo>
                    <a:pt x="18748" y="1414"/>
                  </a:lnTo>
                  <a:cubicBezTo>
                    <a:pt x="18748" y="1435"/>
                    <a:pt x="18768" y="1435"/>
                    <a:pt x="18768" y="1435"/>
                  </a:cubicBezTo>
                  <a:cubicBezTo>
                    <a:pt x="18768" y="1455"/>
                    <a:pt x="18768" y="1455"/>
                    <a:pt x="18789" y="1475"/>
                  </a:cubicBezTo>
                  <a:lnTo>
                    <a:pt x="18789" y="1475"/>
                  </a:lnTo>
                  <a:cubicBezTo>
                    <a:pt x="18789" y="1496"/>
                    <a:pt x="18789" y="1496"/>
                    <a:pt x="18789" y="1496"/>
                  </a:cubicBezTo>
                  <a:cubicBezTo>
                    <a:pt x="18810" y="1496"/>
                    <a:pt x="18810" y="1496"/>
                    <a:pt x="18830" y="1496"/>
                  </a:cubicBezTo>
                  <a:lnTo>
                    <a:pt x="18830" y="1496"/>
                  </a:lnTo>
                  <a:cubicBezTo>
                    <a:pt x="18850" y="1496"/>
                    <a:pt x="18850" y="1517"/>
                    <a:pt x="18850" y="1537"/>
                  </a:cubicBezTo>
                  <a:lnTo>
                    <a:pt x="18850" y="1537"/>
                  </a:lnTo>
                  <a:cubicBezTo>
                    <a:pt x="18830" y="1557"/>
                    <a:pt x="18830" y="1557"/>
                    <a:pt x="18810" y="1557"/>
                  </a:cubicBezTo>
                  <a:lnTo>
                    <a:pt x="18810" y="1578"/>
                  </a:lnTo>
                  <a:cubicBezTo>
                    <a:pt x="18789" y="1578"/>
                    <a:pt x="18810" y="1598"/>
                    <a:pt x="18810" y="1598"/>
                  </a:cubicBezTo>
                  <a:lnTo>
                    <a:pt x="18830" y="1598"/>
                  </a:lnTo>
                  <a:cubicBezTo>
                    <a:pt x="18830" y="1598"/>
                    <a:pt x="18830" y="1578"/>
                    <a:pt x="18850" y="1578"/>
                  </a:cubicBezTo>
                  <a:cubicBezTo>
                    <a:pt x="18850" y="1578"/>
                    <a:pt x="18850" y="1578"/>
                    <a:pt x="18850" y="1598"/>
                  </a:cubicBezTo>
                  <a:cubicBezTo>
                    <a:pt x="18871" y="1598"/>
                    <a:pt x="18871" y="1598"/>
                    <a:pt x="18871" y="1619"/>
                  </a:cubicBezTo>
                  <a:lnTo>
                    <a:pt x="18871" y="1639"/>
                  </a:lnTo>
                  <a:cubicBezTo>
                    <a:pt x="18871" y="1660"/>
                    <a:pt x="18871" y="1660"/>
                    <a:pt x="18871" y="1660"/>
                  </a:cubicBezTo>
                  <a:lnTo>
                    <a:pt x="18871" y="1680"/>
                  </a:lnTo>
                  <a:lnTo>
                    <a:pt x="18871" y="1701"/>
                  </a:lnTo>
                  <a:cubicBezTo>
                    <a:pt x="18892" y="1701"/>
                    <a:pt x="18892" y="1721"/>
                    <a:pt x="18892" y="1721"/>
                  </a:cubicBezTo>
                  <a:lnTo>
                    <a:pt x="18892" y="1742"/>
                  </a:lnTo>
                  <a:cubicBezTo>
                    <a:pt x="18871" y="1762"/>
                    <a:pt x="18850" y="1742"/>
                    <a:pt x="18850" y="1742"/>
                  </a:cubicBezTo>
                  <a:cubicBezTo>
                    <a:pt x="18830" y="1742"/>
                    <a:pt x="18810" y="1742"/>
                    <a:pt x="18810" y="1742"/>
                  </a:cubicBezTo>
                  <a:cubicBezTo>
                    <a:pt x="18810" y="1721"/>
                    <a:pt x="18789" y="1721"/>
                    <a:pt x="18789" y="1701"/>
                  </a:cubicBezTo>
                  <a:cubicBezTo>
                    <a:pt x="18789" y="1701"/>
                    <a:pt x="18768" y="1701"/>
                    <a:pt x="18768" y="1680"/>
                  </a:cubicBezTo>
                  <a:cubicBezTo>
                    <a:pt x="18748" y="1680"/>
                    <a:pt x="18728" y="1680"/>
                    <a:pt x="18728" y="1680"/>
                  </a:cubicBezTo>
                  <a:cubicBezTo>
                    <a:pt x="18728" y="1680"/>
                    <a:pt x="18707" y="1680"/>
                    <a:pt x="18687" y="1680"/>
                  </a:cubicBezTo>
                  <a:lnTo>
                    <a:pt x="18666" y="1680"/>
                  </a:lnTo>
                  <a:lnTo>
                    <a:pt x="18646" y="1680"/>
                  </a:lnTo>
                  <a:lnTo>
                    <a:pt x="18626" y="1660"/>
                  </a:lnTo>
                  <a:lnTo>
                    <a:pt x="18605" y="1660"/>
                  </a:lnTo>
                  <a:cubicBezTo>
                    <a:pt x="18584" y="1660"/>
                    <a:pt x="18584" y="1660"/>
                    <a:pt x="18564" y="1660"/>
                  </a:cubicBezTo>
                  <a:cubicBezTo>
                    <a:pt x="18564" y="1660"/>
                    <a:pt x="18564" y="1660"/>
                    <a:pt x="18544" y="1660"/>
                  </a:cubicBezTo>
                  <a:cubicBezTo>
                    <a:pt x="18544" y="1660"/>
                    <a:pt x="18523" y="1660"/>
                    <a:pt x="18502" y="1660"/>
                  </a:cubicBezTo>
                  <a:lnTo>
                    <a:pt x="18462" y="1660"/>
                  </a:lnTo>
                  <a:cubicBezTo>
                    <a:pt x="18441" y="1660"/>
                    <a:pt x="18420" y="1639"/>
                    <a:pt x="18420" y="1619"/>
                  </a:cubicBezTo>
                  <a:cubicBezTo>
                    <a:pt x="18400" y="1619"/>
                    <a:pt x="18380" y="1578"/>
                    <a:pt x="18380" y="1578"/>
                  </a:cubicBezTo>
                  <a:cubicBezTo>
                    <a:pt x="18359" y="1578"/>
                    <a:pt x="18359" y="1557"/>
                    <a:pt x="18338" y="1537"/>
                  </a:cubicBezTo>
                  <a:lnTo>
                    <a:pt x="18318" y="1537"/>
                  </a:lnTo>
                  <a:lnTo>
                    <a:pt x="18298" y="1537"/>
                  </a:lnTo>
                  <a:lnTo>
                    <a:pt x="18277" y="1537"/>
                  </a:lnTo>
                  <a:cubicBezTo>
                    <a:pt x="18256" y="1537"/>
                    <a:pt x="18256" y="1517"/>
                    <a:pt x="18256" y="1517"/>
                  </a:cubicBezTo>
                  <a:cubicBezTo>
                    <a:pt x="18236" y="1517"/>
                    <a:pt x="18216" y="1517"/>
                    <a:pt x="18195" y="1517"/>
                  </a:cubicBezTo>
                  <a:lnTo>
                    <a:pt x="18174" y="1517"/>
                  </a:lnTo>
                  <a:lnTo>
                    <a:pt x="18174" y="1537"/>
                  </a:lnTo>
                  <a:lnTo>
                    <a:pt x="18154" y="1557"/>
                  </a:lnTo>
                  <a:cubicBezTo>
                    <a:pt x="18134" y="1557"/>
                    <a:pt x="18113" y="1557"/>
                    <a:pt x="18092" y="1557"/>
                  </a:cubicBezTo>
                  <a:lnTo>
                    <a:pt x="18092" y="1578"/>
                  </a:lnTo>
                  <a:cubicBezTo>
                    <a:pt x="18072" y="1578"/>
                    <a:pt x="18072" y="1578"/>
                    <a:pt x="18052" y="1578"/>
                  </a:cubicBezTo>
                  <a:lnTo>
                    <a:pt x="18031" y="1578"/>
                  </a:lnTo>
                  <a:cubicBezTo>
                    <a:pt x="18031" y="1578"/>
                    <a:pt x="18010" y="1557"/>
                    <a:pt x="18010" y="1537"/>
                  </a:cubicBezTo>
                  <a:cubicBezTo>
                    <a:pt x="18010" y="1537"/>
                    <a:pt x="18010" y="1537"/>
                    <a:pt x="18010" y="1517"/>
                  </a:cubicBezTo>
                  <a:cubicBezTo>
                    <a:pt x="17990" y="1517"/>
                    <a:pt x="17990" y="1517"/>
                    <a:pt x="17990" y="1517"/>
                  </a:cubicBezTo>
                  <a:cubicBezTo>
                    <a:pt x="17990" y="1537"/>
                    <a:pt x="17970" y="1537"/>
                    <a:pt x="17970" y="1537"/>
                  </a:cubicBezTo>
                  <a:lnTo>
                    <a:pt x="17970" y="1537"/>
                  </a:lnTo>
                  <a:cubicBezTo>
                    <a:pt x="17949" y="1537"/>
                    <a:pt x="17949" y="1517"/>
                    <a:pt x="17949" y="1517"/>
                  </a:cubicBezTo>
                  <a:cubicBezTo>
                    <a:pt x="17949" y="1496"/>
                    <a:pt x="17929" y="1496"/>
                    <a:pt x="17929" y="1496"/>
                  </a:cubicBezTo>
                  <a:cubicBezTo>
                    <a:pt x="17929" y="1496"/>
                    <a:pt x="17908" y="1496"/>
                    <a:pt x="17888" y="1496"/>
                  </a:cubicBezTo>
                  <a:lnTo>
                    <a:pt x="17867" y="1496"/>
                  </a:lnTo>
                  <a:cubicBezTo>
                    <a:pt x="17867" y="1475"/>
                    <a:pt x="17847" y="1475"/>
                    <a:pt x="17847" y="1455"/>
                  </a:cubicBezTo>
                  <a:lnTo>
                    <a:pt x="17867" y="1455"/>
                  </a:lnTo>
                  <a:cubicBezTo>
                    <a:pt x="17867" y="1455"/>
                    <a:pt x="17867" y="1455"/>
                    <a:pt x="17888" y="1455"/>
                  </a:cubicBezTo>
                  <a:lnTo>
                    <a:pt x="17888" y="1435"/>
                  </a:lnTo>
                  <a:lnTo>
                    <a:pt x="17867" y="1414"/>
                  </a:lnTo>
                  <a:lnTo>
                    <a:pt x="17847" y="1414"/>
                  </a:lnTo>
                  <a:lnTo>
                    <a:pt x="17826" y="1393"/>
                  </a:lnTo>
                  <a:cubicBezTo>
                    <a:pt x="17826" y="1393"/>
                    <a:pt x="17826" y="1373"/>
                    <a:pt x="17826" y="1353"/>
                  </a:cubicBezTo>
                  <a:lnTo>
                    <a:pt x="17806" y="1353"/>
                  </a:lnTo>
                  <a:lnTo>
                    <a:pt x="17806" y="1373"/>
                  </a:lnTo>
                  <a:lnTo>
                    <a:pt x="17806" y="1393"/>
                  </a:lnTo>
                  <a:cubicBezTo>
                    <a:pt x="17806" y="1414"/>
                    <a:pt x="17806" y="1414"/>
                    <a:pt x="17806" y="1435"/>
                  </a:cubicBezTo>
                  <a:cubicBezTo>
                    <a:pt x="17806" y="1435"/>
                    <a:pt x="17785" y="1435"/>
                    <a:pt x="17785" y="1455"/>
                  </a:cubicBezTo>
                  <a:lnTo>
                    <a:pt x="17765" y="1455"/>
                  </a:lnTo>
                  <a:cubicBezTo>
                    <a:pt x="17765" y="1435"/>
                    <a:pt x="17765" y="1435"/>
                    <a:pt x="17765" y="1435"/>
                  </a:cubicBezTo>
                  <a:cubicBezTo>
                    <a:pt x="17765" y="1414"/>
                    <a:pt x="17744" y="1414"/>
                    <a:pt x="17744" y="1414"/>
                  </a:cubicBezTo>
                  <a:lnTo>
                    <a:pt x="17724" y="1414"/>
                  </a:lnTo>
                  <a:cubicBezTo>
                    <a:pt x="17724" y="1414"/>
                    <a:pt x="17724" y="1414"/>
                    <a:pt x="17724" y="1435"/>
                  </a:cubicBezTo>
                  <a:lnTo>
                    <a:pt x="17744" y="1435"/>
                  </a:lnTo>
                  <a:cubicBezTo>
                    <a:pt x="17744" y="1455"/>
                    <a:pt x="17744" y="1455"/>
                    <a:pt x="17744" y="1455"/>
                  </a:cubicBezTo>
                  <a:cubicBezTo>
                    <a:pt x="17724" y="1455"/>
                    <a:pt x="17724" y="1455"/>
                    <a:pt x="17724" y="1455"/>
                  </a:cubicBezTo>
                  <a:cubicBezTo>
                    <a:pt x="17703" y="1455"/>
                    <a:pt x="17703" y="1455"/>
                    <a:pt x="17703" y="1475"/>
                  </a:cubicBezTo>
                  <a:lnTo>
                    <a:pt x="17703" y="1475"/>
                  </a:lnTo>
                  <a:lnTo>
                    <a:pt x="17724" y="1475"/>
                  </a:lnTo>
                  <a:lnTo>
                    <a:pt x="17744" y="1496"/>
                  </a:lnTo>
                  <a:cubicBezTo>
                    <a:pt x="17765" y="1496"/>
                    <a:pt x="17765" y="1496"/>
                    <a:pt x="17785" y="1517"/>
                  </a:cubicBezTo>
                  <a:lnTo>
                    <a:pt x="17806" y="1537"/>
                  </a:lnTo>
                  <a:cubicBezTo>
                    <a:pt x="17826" y="1537"/>
                    <a:pt x="17826" y="1557"/>
                    <a:pt x="17826" y="1557"/>
                  </a:cubicBezTo>
                  <a:cubicBezTo>
                    <a:pt x="17847" y="1578"/>
                    <a:pt x="17867" y="1578"/>
                    <a:pt x="17867" y="1578"/>
                  </a:cubicBezTo>
                  <a:cubicBezTo>
                    <a:pt x="17888" y="1578"/>
                    <a:pt x="17888" y="1557"/>
                    <a:pt x="17908" y="1557"/>
                  </a:cubicBezTo>
                  <a:cubicBezTo>
                    <a:pt x="17908" y="1557"/>
                    <a:pt x="17929" y="1578"/>
                    <a:pt x="17949" y="1578"/>
                  </a:cubicBezTo>
                  <a:lnTo>
                    <a:pt x="17970" y="1598"/>
                  </a:lnTo>
                  <a:cubicBezTo>
                    <a:pt x="17970" y="1619"/>
                    <a:pt x="17970" y="1660"/>
                    <a:pt x="17970" y="1660"/>
                  </a:cubicBezTo>
                  <a:cubicBezTo>
                    <a:pt x="17970" y="1680"/>
                    <a:pt x="17990" y="1721"/>
                    <a:pt x="17990" y="1742"/>
                  </a:cubicBezTo>
                  <a:cubicBezTo>
                    <a:pt x="17990" y="1742"/>
                    <a:pt x="17970" y="1762"/>
                    <a:pt x="17970" y="1783"/>
                  </a:cubicBezTo>
                  <a:lnTo>
                    <a:pt x="17949" y="1783"/>
                  </a:lnTo>
                  <a:cubicBezTo>
                    <a:pt x="17929" y="1803"/>
                    <a:pt x="17949" y="1803"/>
                    <a:pt x="17929" y="1824"/>
                  </a:cubicBezTo>
                  <a:lnTo>
                    <a:pt x="17929" y="1844"/>
                  </a:lnTo>
                  <a:cubicBezTo>
                    <a:pt x="17908" y="1844"/>
                    <a:pt x="17888" y="1844"/>
                    <a:pt x="17867" y="1844"/>
                  </a:cubicBezTo>
                  <a:cubicBezTo>
                    <a:pt x="17867" y="1865"/>
                    <a:pt x="17847" y="1865"/>
                    <a:pt x="17826" y="1865"/>
                  </a:cubicBezTo>
                  <a:cubicBezTo>
                    <a:pt x="17806" y="1865"/>
                    <a:pt x="17785" y="1865"/>
                    <a:pt x="17785" y="1865"/>
                  </a:cubicBezTo>
                  <a:cubicBezTo>
                    <a:pt x="17765" y="1865"/>
                    <a:pt x="17744" y="1844"/>
                    <a:pt x="17744" y="1844"/>
                  </a:cubicBezTo>
                  <a:lnTo>
                    <a:pt x="17724" y="1824"/>
                  </a:lnTo>
                  <a:cubicBezTo>
                    <a:pt x="17703" y="1824"/>
                    <a:pt x="17703" y="1803"/>
                    <a:pt x="17703" y="1803"/>
                  </a:cubicBezTo>
                  <a:cubicBezTo>
                    <a:pt x="17683" y="1803"/>
                    <a:pt x="17662" y="1803"/>
                    <a:pt x="17662" y="1803"/>
                  </a:cubicBezTo>
                  <a:cubicBezTo>
                    <a:pt x="17642" y="1803"/>
                    <a:pt x="17621" y="1803"/>
                    <a:pt x="17621" y="1803"/>
                  </a:cubicBezTo>
                  <a:cubicBezTo>
                    <a:pt x="17601" y="1803"/>
                    <a:pt x="17601" y="1803"/>
                    <a:pt x="17601" y="1803"/>
                  </a:cubicBezTo>
                  <a:cubicBezTo>
                    <a:pt x="17580" y="1803"/>
                    <a:pt x="17580" y="1824"/>
                    <a:pt x="17580" y="1824"/>
                  </a:cubicBezTo>
                  <a:cubicBezTo>
                    <a:pt x="17580" y="1824"/>
                    <a:pt x="17580" y="1824"/>
                    <a:pt x="17580" y="1844"/>
                  </a:cubicBezTo>
                  <a:lnTo>
                    <a:pt x="17601" y="1844"/>
                  </a:lnTo>
                  <a:cubicBezTo>
                    <a:pt x="17601" y="1844"/>
                    <a:pt x="17621" y="1824"/>
                    <a:pt x="17642" y="1824"/>
                  </a:cubicBezTo>
                  <a:lnTo>
                    <a:pt x="17662" y="1824"/>
                  </a:lnTo>
                  <a:cubicBezTo>
                    <a:pt x="17683" y="1824"/>
                    <a:pt x="17683" y="1844"/>
                    <a:pt x="17703" y="1844"/>
                  </a:cubicBezTo>
                  <a:lnTo>
                    <a:pt x="17703" y="1865"/>
                  </a:lnTo>
                  <a:lnTo>
                    <a:pt x="17703" y="1885"/>
                  </a:lnTo>
                  <a:lnTo>
                    <a:pt x="17683" y="1885"/>
                  </a:lnTo>
                  <a:cubicBezTo>
                    <a:pt x="17683" y="1865"/>
                    <a:pt x="17662" y="1865"/>
                    <a:pt x="17662" y="1865"/>
                  </a:cubicBezTo>
                  <a:cubicBezTo>
                    <a:pt x="17662" y="1865"/>
                    <a:pt x="17642" y="1865"/>
                    <a:pt x="17621" y="1865"/>
                  </a:cubicBezTo>
                  <a:lnTo>
                    <a:pt x="17621" y="1865"/>
                  </a:lnTo>
                  <a:cubicBezTo>
                    <a:pt x="17621" y="1885"/>
                    <a:pt x="17621" y="1885"/>
                    <a:pt x="17621" y="1885"/>
                  </a:cubicBezTo>
                  <a:cubicBezTo>
                    <a:pt x="17621" y="1885"/>
                    <a:pt x="17642" y="1885"/>
                    <a:pt x="17662" y="1885"/>
                  </a:cubicBezTo>
                  <a:cubicBezTo>
                    <a:pt x="17662" y="1906"/>
                    <a:pt x="17662" y="1906"/>
                    <a:pt x="17662" y="1926"/>
                  </a:cubicBezTo>
                  <a:cubicBezTo>
                    <a:pt x="17662" y="1926"/>
                    <a:pt x="17662" y="1926"/>
                    <a:pt x="17662" y="1947"/>
                  </a:cubicBezTo>
                  <a:cubicBezTo>
                    <a:pt x="17662" y="1947"/>
                    <a:pt x="17662" y="1947"/>
                    <a:pt x="17662" y="1967"/>
                  </a:cubicBezTo>
                  <a:lnTo>
                    <a:pt x="17683" y="1988"/>
                  </a:lnTo>
                  <a:cubicBezTo>
                    <a:pt x="17683" y="1967"/>
                    <a:pt x="17683" y="1967"/>
                    <a:pt x="17683" y="1967"/>
                  </a:cubicBezTo>
                  <a:cubicBezTo>
                    <a:pt x="17683" y="1947"/>
                    <a:pt x="17683" y="1947"/>
                    <a:pt x="17683" y="1947"/>
                  </a:cubicBezTo>
                  <a:cubicBezTo>
                    <a:pt x="17683" y="1926"/>
                    <a:pt x="17703" y="1926"/>
                    <a:pt x="17703" y="1926"/>
                  </a:cubicBezTo>
                  <a:lnTo>
                    <a:pt x="17703" y="1906"/>
                  </a:lnTo>
                  <a:cubicBezTo>
                    <a:pt x="17703" y="1906"/>
                    <a:pt x="17703" y="1906"/>
                    <a:pt x="17724" y="1906"/>
                  </a:cubicBezTo>
                  <a:lnTo>
                    <a:pt x="17724" y="1926"/>
                  </a:lnTo>
                  <a:cubicBezTo>
                    <a:pt x="17744" y="1926"/>
                    <a:pt x="17744" y="1926"/>
                    <a:pt x="17744" y="1906"/>
                  </a:cubicBezTo>
                  <a:lnTo>
                    <a:pt x="17765" y="1906"/>
                  </a:lnTo>
                  <a:cubicBezTo>
                    <a:pt x="17765" y="1885"/>
                    <a:pt x="17765" y="1885"/>
                    <a:pt x="17765" y="1885"/>
                  </a:cubicBezTo>
                  <a:lnTo>
                    <a:pt x="17785" y="1885"/>
                  </a:lnTo>
                  <a:cubicBezTo>
                    <a:pt x="17806" y="1885"/>
                    <a:pt x="17806" y="1885"/>
                    <a:pt x="17806" y="1906"/>
                  </a:cubicBezTo>
                  <a:cubicBezTo>
                    <a:pt x="17826" y="1906"/>
                    <a:pt x="17826" y="1906"/>
                    <a:pt x="17847" y="1926"/>
                  </a:cubicBezTo>
                  <a:lnTo>
                    <a:pt x="17867" y="1947"/>
                  </a:lnTo>
                  <a:cubicBezTo>
                    <a:pt x="17888" y="1947"/>
                    <a:pt x="17888" y="1967"/>
                    <a:pt x="17908" y="1967"/>
                  </a:cubicBezTo>
                  <a:lnTo>
                    <a:pt x="17929" y="1988"/>
                  </a:lnTo>
                  <a:cubicBezTo>
                    <a:pt x="17949" y="1988"/>
                    <a:pt x="17949" y="1988"/>
                    <a:pt x="17949" y="1988"/>
                  </a:cubicBezTo>
                  <a:cubicBezTo>
                    <a:pt x="17949" y="1967"/>
                    <a:pt x="17949" y="1967"/>
                    <a:pt x="17949" y="1967"/>
                  </a:cubicBezTo>
                  <a:lnTo>
                    <a:pt x="17949" y="1947"/>
                  </a:lnTo>
                  <a:cubicBezTo>
                    <a:pt x="17949" y="1947"/>
                    <a:pt x="17929" y="1947"/>
                    <a:pt x="17929" y="1926"/>
                  </a:cubicBezTo>
                  <a:lnTo>
                    <a:pt x="17929" y="1926"/>
                  </a:lnTo>
                  <a:cubicBezTo>
                    <a:pt x="17929" y="1906"/>
                    <a:pt x="17949" y="1906"/>
                    <a:pt x="17949" y="1906"/>
                  </a:cubicBezTo>
                  <a:lnTo>
                    <a:pt x="17970" y="1926"/>
                  </a:lnTo>
                  <a:lnTo>
                    <a:pt x="17990" y="1947"/>
                  </a:lnTo>
                  <a:lnTo>
                    <a:pt x="18010" y="1967"/>
                  </a:lnTo>
                  <a:lnTo>
                    <a:pt x="18031" y="1988"/>
                  </a:lnTo>
                  <a:lnTo>
                    <a:pt x="18052" y="2008"/>
                  </a:lnTo>
                  <a:cubicBezTo>
                    <a:pt x="18052" y="2008"/>
                    <a:pt x="18052" y="2008"/>
                    <a:pt x="18072" y="2008"/>
                  </a:cubicBezTo>
                  <a:cubicBezTo>
                    <a:pt x="18072" y="2008"/>
                    <a:pt x="18072" y="2008"/>
                    <a:pt x="18092" y="2008"/>
                  </a:cubicBezTo>
                  <a:lnTo>
                    <a:pt x="18113" y="2029"/>
                  </a:lnTo>
                  <a:lnTo>
                    <a:pt x="18134" y="2049"/>
                  </a:lnTo>
                  <a:cubicBezTo>
                    <a:pt x="18154" y="2070"/>
                    <a:pt x="18154" y="2070"/>
                    <a:pt x="18174" y="2090"/>
                  </a:cubicBezTo>
                  <a:lnTo>
                    <a:pt x="18174" y="2111"/>
                  </a:lnTo>
                  <a:lnTo>
                    <a:pt x="18195" y="2111"/>
                  </a:lnTo>
                  <a:lnTo>
                    <a:pt x="18216" y="2111"/>
                  </a:lnTo>
                  <a:lnTo>
                    <a:pt x="18236" y="2111"/>
                  </a:lnTo>
                  <a:cubicBezTo>
                    <a:pt x="18256" y="2111"/>
                    <a:pt x="18256" y="2131"/>
                    <a:pt x="18277" y="2131"/>
                  </a:cubicBezTo>
                  <a:lnTo>
                    <a:pt x="18298" y="2152"/>
                  </a:lnTo>
                  <a:cubicBezTo>
                    <a:pt x="18298" y="2152"/>
                    <a:pt x="18318" y="2172"/>
                    <a:pt x="18338" y="2172"/>
                  </a:cubicBezTo>
                  <a:cubicBezTo>
                    <a:pt x="18338" y="2172"/>
                    <a:pt x="18359" y="2172"/>
                    <a:pt x="18380" y="2172"/>
                  </a:cubicBezTo>
                  <a:cubicBezTo>
                    <a:pt x="18380" y="2193"/>
                    <a:pt x="18400" y="2213"/>
                    <a:pt x="18400" y="2234"/>
                  </a:cubicBezTo>
                  <a:cubicBezTo>
                    <a:pt x="18420" y="2234"/>
                    <a:pt x="18420" y="2254"/>
                    <a:pt x="18441" y="2254"/>
                  </a:cubicBezTo>
                  <a:lnTo>
                    <a:pt x="18462" y="2254"/>
                  </a:lnTo>
                  <a:cubicBezTo>
                    <a:pt x="18462" y="2254"/>
                    <a:pt x="18482" y="2254"/>
                    <a:pt x="18482" y="2274"/>
                  </a:cubicBezTo>
                  <a:cubicBezTo>
                    <a:pt x="18502" y="2274"/>
                    <a:pt x="18502" y="2274"/>
                    <a:pt x="18502" y="2295"/>
                  </a:cubicBezTo>
                  <a:lnTo>
                    <a:pt x="18523" y="2316"/>
                  </a:lnTo>
                  <a:cubicBezTo>
                    <a:pt x="18523" y="2336"/>
                    <a:pt x="18523" y="2336"/>
                    <a:pt x="18523" y="2336"/>
                  </a:cubicBezTo>
                  <a:cubicBezTo>
                    <a:pt x="18523" y="2356"/>
                    <a:pt x="18502" y="2356"/>
                    <a:pt x="18502" y="2356"/>
                  </a:cubicBezTo>
                  <a:cubicBezTo>
                    <a:pt x="18502" y="2356"/>
                    <a:pt x="18523" y="2377"/>
                    <a:pt x="18544" y="2377"/>
                  </a:cubicBezTo>
                  <a:lnTo>
                    <a:pt x="18544" y="2398"/>
                  </a:lnTo>
                  <a:cubicBezTo>
                    <a:pt x="18544" y="2418"/>
                    <a:pt x="18564" y="2438"/>
                    <a:pt x="18544" y="2438"/>
                  </a:cubicBezTo>
                  <a:lnTo>
                    <a:pt x="18523" y="2438"/>
                  </a:lnTo>
                  <a:cubicBezTo>
                    <a:pt x="18502" y="2438"/>
                    <a:pt x="18502" y="2418"/>
                    <a:pt x="18482" y="2418"/>
                  </a:cubicBezTo>
                  <a:lnTo>
                    <a:pt x="18462" y="2398"/>
                  </a:lnTo>
                  <a:cubicBezTo>
                    <a:pt x="18441" y="2398"/>
                    <a:pt x="18420" y="2377"/>
                    <a:pt x="18420" y="2377"/>
                  </a:cubicBezTo>
                  <a:cubicBezTo>
                    <a:pt x="18400" y="2377"/>
                    <a:pt x="18359" y="2398"/>
                    <a:pt x="18359" y="2398"/>
                  </a:cubicBezTo>
                  <a:cubicBezTo>
                    <a:pt x="18338" y="2398"/>
                    <a:pt x="18318" y="2398"/>
                    <a:pt x="18298" y="2398"/>
                  </a:cubicBezTo>
                  <a:cubicBezTo>
                    <a:pt x="18298" y="2398"/>
                    <a:pt x="18277" y="2398"/>
                    <a:pt x="18277" y="2377"/>
                  </a:cubicBezTo>
                  <a:lnTo>
                    <a:pt x="18256" y="2377"/>
                  </a:lnTo>
                  <a:cubicBezTo>
                    <a:pt x="18236" y="2377"/>
                    <a:pt x="18216" y="2377"/>
                    <a:pt x="18216" y="2377"/>
                  </a:cubicBezTo>
                  <a:lnTo>
                    <a:pt x="18236" y="2398"/>
                  </a:lnTo>
                  <a:cubicBezTo>
                    <a:pt x="18236" y="2398"/>
                    <a:pt x="18256" y="2398"/>
                    <a:pt x="18256" y="2418"/>
                  </a:cubicBezTo>
                  <a:lnTo>
                    <a:pt x="18256" y="2438"/>
                  </a:lnTo>
                  <a:lnTo>
                    <a:pt x="18236" y="2459"/>
                  </a:lnTo>
                  <a:cubicBezTo>
                    <a:pt x="18236" y="2459"/>
                    <a:pt x="18216" y="2459"/>
                    <a:pt x="18216" y="2480"/>
                  </a:cubicBezTo>
                  <a:cubicBezTo>
                    <a:pt x="18216" y="2480"/>
                    <a:pt x="18216" y="2500"/>
                    <a:pt x="18195" y="2500"/>
                  </a:cubicBezTo>
                  <a:cubicBezTo>
                    <a:pt x="18195" y="2520"/>
                    <a:pt x="18195" y="2541"/>
                    <a:pt x="18195" y="2541"/>
                  </a:cubicBezTo>
                  <a:cubicBezTo>
                    <a:pt x="18195" y="2562"/>
                    <a:pt x="18174" y="2562"/>
                    <a:pt x="18174" y="2582"/>
                  </a:cubicBezTo>
                  <a:lnTo>
                    <a:pt x="18154" y="2602"/>
                  </a:lnTo>
                  <a:lnTo>
                    <a:pt x="18134" y="2602"/>
                  </a:lnTo>
                  <a:cubicBezTo>
                    <a:pt x="18134" y="2623"/>
                    <a:pt x="18134" y="2644"/>
                    <a:pt x="18113" y="2644"/>
                  </a:cubicBezTo>
                  <a:cubicBezTo>
                    <a:pt x="18113" y="2644"/>
                    <a:pt x="18113" y="2664"/>
                    <a:pt x="18113" y="2684"/>
                  </a:cubicBezTo>
                  <a:cubicBezTo>
                    <a:pt x="18092" y="2684"/>
                    <a:pt x="18092" y="2705"/>
                    <a:pt x="18092" y="2705"/>
                  </a:cubicBezTo>
                  <a:cubicBezTo>
                    <a:pt x="18072" y="2705"/>
                    <a:pt x="18072" y="2705"/>
                    <a:pt x="18052" y="2705"/>
                  </a:cubicBezTo>
                  <a:lnTo>
                    <a:pt x="18052" y="2726"/>
                  </a:lnTo>
                  <a:cubicBezTo>
                    <a:pt x="18052" y="2726"/>
                    <a:pt x="18052" y="2746"/>
                    <a:pt x="18072" y="2746"/>
                  </a:cubicBezTo>
                  <a:cubicBezTo>
                    <a:pt x="18072" y="2766"/>
                    <a:pt x="18072" y="2787"/>
                    <a:pt x="18072" y="2787"/>
                  </a:cubicBezTo>
                  <a:cubicBezTo>
                    <a:pt x="18072" y="2787"/>
                    <a:pt x="18052" y="2808"/>
                    <a:pt x="18052" y="2828"/>
                  </a:cubicBezTo>
                  <a:cubicBezTo>
                    <a:pt x="18052" y="2828"/>
                    <a:pt x="18052" y="2828"/>
                    <a:pt x="18052" y="2848"/>
                  </a:cubicBezTo>
                  <a:cubicBezTo>
                    <a:pt x="18031" y="2848"/>
                    <a:pt x="18052" y="2869"/>
                    <a:pt x="18052" y="2869"/>
                  </a:cubicBezTo>
                  <a:cubicBezTo>
                    <a:pt x="18052" y="2869"/>
                    <a:pt x="18052" y="2869"/>
                    <a:pt x="18052" y="2890"/>
                  </a:cubicBezTo>
                  <a:cubicBezTo>
                    <a:pt x="18052" y="2890"/>
                    <a:pt x="18052" y="2890"/>
                    <a:pt x="18052" y="2910"/>
                  </a:cubicBezTo>
                  <a:lnTo>
                    <a:pt x="18052" y="2930"/>
                  </a:lnTo>
                  <a:cubicBezTo>
                    <a:pt x="18052" y="2930"/>
                    <a:pt x="18031" y="2930"/>
                    <a:pt x="18031" y="2950"/>
                  </a:cubicBezTo>
                  <a:lnTo>
                    <a:pt x="18010" y="2950"/>
                  </a:lnTo>
                  <a:lnTo>
                    <a:pt x="18010" y="2971"/>
                  </a:lnTo>
                  <a:cubicBezTo>
                    <a:pt x="18010" y="2992"/>
                    <a:pt x="18010" y="2992"/>
                    <a:pt x="18010" y="3012"/>
                  </a:cubicBezTo>
                  <a:lnTo>
                    <a:pt x="18031" y="3032"/>
                  </a:lnTo>
                  <a:cubicBezTo>
                    <a:pt x="18010" y="3053"/>
                    <a:pt x="18010" y="3053"/>
                    <a:pt x="18010" y="3074"/>
                  </a:cubicBezTo>
                  <a:lnTo>
                    <a:pt x="17990" y="3094"/>
                  </a:lnTo>
                  <a:cubicBezTo>
                    <a:pt x="18010" y="3094"/>
                    <a:pt x="18010" y="3114"/>
                    <a:pt x="18010" y="3114"/>
                  </a:cubicBezTo>
                  <a:cubicBezTo>
                    <a:pt x="18031" y="3135"/>
                    <a:pt x="18031" y="3156"/>
                    <a:pt x="18031" y="3176"/>
                  </a:cubicBezTo>
                  <a:lnTo>
                    <a:pt x="18031" y="3196"/>
                  </a:lnTo>
                  <a:cubicBezTo>
                    <a:pt x="18031" y="3217"/>
                    <a:pt x="18031" y="3217"/>
                    <a:pt x="18031" y="3217"/>
                  </a:cubicBezTo>
                  <a:cubicBezTo>
                    <a:pt x="18010" y="3217"/>
                    <a:pt x="18010" y="3217"/>
                    <a:pt x="18010" y="3217"/>
                  </a:cubicBezTo>
                  <a:cubicBezTo>
                    <a:pt x="17990" y="3217"/>
                    <a:pt x="17970" y="3196"/>
                    <a:pt x="17970" y="3196"/>
                  </a:cubicBezTo>
                  <a:lnTo>
                    <a:pt x="17949" y="3196"/>
                  </a:lnTo>
                  <a:lnTo>
                    <a:pt x="17929" y="3176"/>
                  </a:lnTo>
                  <a:lnTo>
                    <a:pt x="17929" y="3156"/>
                  </a:lnTo>
                  <a:lnTo>
                    <a:pt x="17908" y="3156"/>
                  </a:lnTo>
                  <a:lnTo>
                    <a:pt x="17888" y="3156"/>
                  </a:lnTo>
                  <a:cubicBezTo>
                    <a:pt x="17888" y="3156"/>
                    <a:pt x="17867" y="3156"/>
                    <a:pt x="17867" y="3135"/>
                  </a:cubicBezTo>
                  <a:cubicBezTo>
                    <a:pt x="17867" y="3135"/>
                    <a:pt x="17847" y="3135"/>
                    <a:pt x="17847" y="3114"/>
                  </a:cubicBezTo>
                  <a:lnTo>
                    <a:pt x="17826" y="3094"/>
                  </a:lnTo>
                  <a:lnTo>
                    <a:pt x="17806" y="3094"/>
                  </a:lnTo>
                  <a:lnTo>
                    <a:pt x="17785" y="3094"/>
                  </a:lnTo>
                  <a:lnTo>
                    <a:pt x="17765" y="3094"/>
                  </a:lnTo>
                  <a:lnTo>
                    <a:pt x="17765" y="3074"/>
                  </a:lnTo>
                  <a:cubicBezTo>
                    <a:pt x="17744" y="3074"/>
                    <a:pt x="17744" y="3074"/>
                    <a:pt x="17744" y="3074"/>
                  </a:cubicBezTo>
                  <a:cubicBezTo>
                    <a:pt x="17724" y="3074"/>
                    <a:pt x="17724" y="3074"/>
                    <a:pt x="17724" y="3074"/>
                  </a:cubicBezTo>
                  <a:cubicBezTo>
                    <a:pt x="17703" y="3074"/>
                    <a:pt x="17683" y="3074"/>
                    <a:pt x="17683" y="3074"/>
                  </a:cubicBezTo>
                  <a:lnTo>
                    <a:pt x="17662" y="3094"/>
                  </a:lnTo>
                  <a:lnTo>
                    <a:pt x="17642" y="3114"/>
                  </a:lnTo>
                  <a:lnTo>
                    <a:pt x="17621" y="3114"/>
                  </a:lnTo>
                  <a:cubicBezTo>
                    <a:pt x="17621" y="3135"/>
                    <a:pt x="17601" y="3135"/>
                    <a:pt x="17601" y="3156"/>
                  </a:cubicBezTo>
                  <a:lnTo>
                    <a:pt x="17580" y="3176"/>
                  </a:lnTo>
                  <a:cubicBezTo>
                    <a:pt x="17580" y="3176"/>
                    <a:pt x="17560" y="3176"/>
                    <a:pt x="17539" y="3176"/>
                  </a:cubicBezTo>
                  <a:cubicBezTo>
                    <a:pt x="17539" y="3196"/>
                    <a:pt x="17539" y="3196"/>
                    <a:pt x="17539" y="3196"/>
                  </a:cubicBezTo>
                  <a:cubicBezTo>
                    <a:pt x="17539" y="3217"/>
                    <a:pt x="17560" y="3217"/>
                    <a:pt x="17560" y="3217"/>
                  </a:cubicBezTo>
                  <a:cubicBezTo>
                    <a:pt x="17560" y="3238"/>
                    <a:pt x="17560" y="3238"/>
                    <a:pt x="17560" y="3238"/>
                  </a:cubicBezTo>
                  <a:cubicBezTo>
                    <a:pt x="17580" y="3258"/>
                    <a:pt x="17580" y="3278"/>
                    <a:pt x="17580" y="3299"/>
                  </a:cubicBezTo>
                  <a:cubicBezTo>
                    <a:pt x="17580" y="3299"/>
                    <a:pt x="17580" y="3340"/>
                    <a:pt x="17560" y="3360"/>
                  </a:cubicBezTo>
                  <a:lnTo>
                    <a:pt x="17560" y="3381"/>
                  </a:lnTo>
                  <a:lnTo>
                    <a:pt x="17539" y="3360"/>
                  </a:lnTo>
                  <a:cubicBezTo>
                    <a:pt x="17539" y="3360"/>
                    <a:pt x="17539" y="3340"/>
                    <a:pt x="17519" y="3340"/>
                  </a:cubicBezTo>
                  <a:cubicBezTo>
                    <a:pt x="17519" y="3320"/>
                    <a:pt x="17519" y="3320"/>
                    <a:pt x="17519" y="3299"/>
                  </a:cubicBezTo>
                  <a:lnTo>
                    <a:pt x="17519" y="3278"/>
                  </a:lnTo>
                  <a:cubicBezTo>
                    <a:pt x="17519" y="3278"/>
                    <a:pt x="17519" y="3258"/>
                    <a:pt x="17498" y="3238"/>
                  </a:cubicBezTo>
                  <a:lnTo>
                    <a:pt x="17498" y="3217"/>
                  </a:lnTo>
                  <a:cubicBezTo>
                    <a:pt x="17478" y="3217"/>
                    <a:pt x="17478" y="3217"/>
                    <a:pt x="17457" y="3196"/>
                  </a:cubicBezTo>
                  <a:cubicBezTo>
                    <a:pt x="17457" y="3196"/>
                    <a:pt x="17457" y="3196"/>
                    <a:pt x="17437" y="3196"/>
                  </a:cubicBezTo>
                  <a:lnTo>
                    <a:pt x="17437" y="3217"/>
                  </a:lnTo>
                  <a:cubicBezTo>
                    <a:pt x="17437" y="3238"/>
                    <a:pt x="17437" y="3238"/>
                    <a:pt x="17437" y="3238"/>
                  </a:cubicBezTo>
                  <a:cubicBezTo>
                    <a:pt x="17437" y="3258"/>
                    <a:pt x="17416" y="3258"/>
                    <a:pt x="17396" y="3258"/>
                  </a:cubicBezTo>
                  <a:lnTo>
                    <a:pt x="17375" y="3258"/>
                  </a:lnTo>
                  <a:cubicBezTo>
                    <a:pt x="17375" y="3278"/>
                    <a:pt x="17355" y="3278"/>
                    <a:pt x="17355" y="3299"/>
                  </a:cubicBezTo>
                  <a:lnTo>
                    <a:pt x="17355" y="3299"/>
                  </a:lnTo>
                  <a:cubicBezTo>
                    <a:pt x="17375" y="3299"/>
                    <a:pt x="17375" y="3320"/>
                    <a:pt x="17375" y="3320"/>
                  </a:cubicBezTo>
                  <a:lnTo>
                    <a:pt x="17396" y="3320"/>
                  </a:lnTo>
                  <a:lnTo>
                    <a:pt x="17416" y="3320"/>
                  </a:lnTo>
                  <a:cubicBezTo>
                    <a:pt x="17416" y="3340"/>
                    <a:pt x="17416" y="3340"/>
                    <a:pt x="17416" y="3340"/>
                  </a:cubicBezTo>
                  <a:cubicBezTo>
                    <a:pt x="17396" y="3360"/>
                    <a:pt x="17396" y="3360"/>
                    <a:pt x="17396" y="3360"/>
                  </a:cubicBezTo>
                  <a:lnTo>
                    <a:pt x="17396" y="3381"/>
                  </a:lnTo>
                  <a:lnTo>
                    <a:pt x="17375" y="3402"/>
                  </a:lnTo>
                  <a:cubicBezTo>
                    <a:pt x="17355" y="3402"/>
                    <a:pt x="17355" y="3381"/>
                    <a:pt x="17334" y="3381"/>
                  </a:cubicBezTo>
                  <a:cubicBezTo>
                    <a:pt x="17334" y="3381"/>
                    <a:pt x="17334" y="3360"/>
                    <a:pt x="17314" y="3360"/>
                  </a:cubicBezTo>
                  <a:lnTo>
                    <a:pt x="17314" y="3340"/>
                  </a:lnTo>
                  <a:cubicBezTo>
                    <a:pt x="17293" y="3340"/>
                    <a:pt x="17293" y="3340"/>
                    <a:pt x="17273" y="3340"/>
                  </a:cubicBezTo>
                  <a:lnTo>
                    <a:pt x="17273" y="3340"/>
                  </a:lnTo>
                  <a:cubicBezTo>
                    <a:pt x="17252" y="3360"/>
                    <a:pt x="17252" y="3340"/>
                    <a:pt x="17232" y="3340"/>
                  </a:cubicBezTo>
                  <a:lnTo>
                    <a:pt x="17211" y="3340"/>
                  </a:lnTo>
                  <a:lnTo>
                    <a:pt x="17191" y="3340"/>
                  </a:lnTo>
                  <a:cubicBezTo>
                    <a:pt x="17191" y="3360"/>
                    <a:pt x="17191" y="3360"/>
                    <a:pt x="17191" y="3360"/>
                  </a:cubicBezTo>
                  <a:cubicBezTo>
                    <a:pt x="17191" y="3381"/>
                    <a:pt x="17211" y="3381"/>
                    <a:pt x="17211" y="3381"/>
                  </a:cubicBezTo>
                  <a:cubicBezTo>
                    <a:pt x="17211" y="3381"/>
                    <a:pt x="17211" y="3402"/>
                    <a:pt x="17211" y="3422"/>
                  </a:cubicBezTo>
                  <a:lnTo>
                    <a:pt x="17211" y="3422"/>
                  </a:lnTo>
                  <a:cubicBezTo>
                    <a:pt x="17211" y="3442"/>
                    <a:pt x="17232" y="3442"/>
                    <a:pt x="17232" y="3442"/>
                  </a:cubicBezTo>
                  <a:lnTo>
                    <a:pt x="17252" y="3463"/>
                  </a:lnTo>
                  <a:cubicBezTo>
                    <a:pt x="17252" y="3463"/>
                    <a:pt x="17273" y="3484"/>
                    <a:pt x="17293" y="3484"/>
                  </a:cubicBezTo>
                  <a:lnTo>
                    <a:pt x="17293" y="3504"/>
                  </a:lnTo>
                  <a:cubicBezTo>
                    <a:pt x="17293" y="3524"/>
                    <a:pt x="17293" y="3524"/>
                    <a:pt x="17293" y="3545"/>
                  </a:cubicBezTo>
                  <a:lnTo>
                    <a:pt x="17293" y="3545"/>
                  </a:lnTo>
                  <a:cubicBezTo>
                    <a:pt x="17314" y="3566"/>
                    <a:pt x="17314" y="3566"/>
                    <a:pt x="17314" y="3566"/>
                  </a:cubicBezTo>
                  <a:cubicBezTo>
                    <a:pt x="17334" y="3566"/>
                    <a:pt x="17334" y="3586"/>
                    <a:pt x="17334" y="3586"/>
                  </a:cubicBezTo>
                  <a:lnTo>
                    <a:pt x="17334" y="3606"/>
                  </a:lnTo>
                  <a:lnTo>
                    <a:pt x="17314" y="3606"/>
                  </a:lnTo>
                  <a:lnTo>
                    <a:pt x="17314" y="3627"/>
                  </a:lnTo>
                  <a:lnTo>
                    <a:pt x="17334" y="3627"/>
                  </a:lnTo>
                  <a:cubicBezTo>
                    <a:pt x="17334" y="3647"/>
                    <a:pt x="17334" y="3647"/>
                    <a:pt x="17334" y="3668"/>
                  </a:cubicBezTo>
                  <a:lnTo>
                    <a:pt x="17314" y="3688"/>
                  </a:lnTo>
                  <a:cubicBezTo>
                    <a:pt x="17314" y="3709"/>
                    <a:pt x="17314" y="3729"/>
                    <a:pt x="17314" y="3729"/>
                  </a:cubicBezTo>
                  <a:cubicBezTo>
                    <a:pt x="17314" y="3750"/>
                    <a:pt x="17314" y="3750"/>
                    <a:pt x="17334" y="3750"/>
                  </a:cubicBezTo>
                  <a:cubicBezTo>
                    <a:pt x="17334" y="3770"/>
                    <a:pt x="17334" y="3791"/>
                    <a:pt x="17334" y="3791"/>
                  </a:cubicBezTo>
                  <a:cubicBezTo>
                    <a:pt x="17355" y="3791"/>
                    <a:pt x="17355" y="3811"/>
                    <a:pt x="17355" y="3811"/>
                  </a:cubicBezTo>
                  <a:cubicBezTo>
                    <a:pt x="17375" y="3811"/>
                    <a:pt x="17375" y="3832"/>
                    <a:pt x="17375" y="3852"/>
                  </a:cubicBezTo>
                  <a:cubicBezTo>
                    <a:pt x="17375" y="3852"/>
                    <a:pt x="17375" y="3873"/>
                    <a:pt x="17396" y="3873"/>
                  </a:cubicBezTo>
                  <a:cubicBezTo>
                    <a:pt x="17396" y="3893"/>
                    <a:pt x="17416" y="3893"/>
                    <a:pt x="17416" y="3893"/>
                  </a:cubicBezTo>
                  <a:cubicBezTo>
                    <a:pt x="17437" y="3893"/>
                    <a:pt x="17437" y="3893"/>
                    <a:pt x="17457" y="3893"/>
                  </a:cubicBezTo>
                  <a:lnTo>
                    <a:pt x="17457" y="3914"/>
                  </a:lnTo>
                  <a:cubicBezTo>
                    <a:pt x="17478" y="3914"/>
                    <a:pt x="17478" y="3934"/>
                    <a:pt x="17478" y="3934"/>
                  </a:cubicBezTo>
                  <a:lnTo>
                    <a:pt x="17498" y="3955"/>
                  </a:lnTo>
                  <a:cubicBezTo>
                    <a:pt x="17519" y="3955"/>
                    <a:pt x="17519" y="3934"/>
                    <a:pt x="17519" y="3934"/>
                  </a:cubicBezTo>
                  <a:lnTo>
                    <a:pt x="17519" y="3914"/>
                  </a:lnTo>
                  <a:lnTo>
                    <a:pt x="17519" y="3893"/>
                  </a:lnTo>
                  <a:lnTo>
                    <a:pt x="17539" y="3893"/>
                  </a:lnTo>
                  <a:cubicBezTo>
                    <a:pt x="17560" y="3893"/>
                    <a:pt x="17560" y="3893"/>
                    <a:pt x="17560" y="3893"/>
                  </a:cubicBezTo>
                  <a:lnTo>
                    <a:pt x="17580" y="3914"/>
                  </a:lnTo>
                  <a:lnTo>
                    <a:pt x="17601" y="3914"/>
                  </a:lnTo>
                  <a:lnTo>
                    <a:pt x="17621" y="3914"/>
                  </a:lnTo>
                  <a:cubicBezTo>
                    <a:pt x="17621" y="3914"/>
                    <a:pt x="17621" y="3934"/>
                    <a:pt x="17642" y="3934"/>
                  </a:cubicBezTo>
                  <a:cubicBezTo>
                    <a:pt x="17642" y="3934"/>
                    <a:pt x="17642" y="3955"/>
                    <a:pt x="17621" y="3955"/>
                  </a:cubicBezTo>
                  <a:cubicBezTo>
                    <a:pt x="17621" y="3975"/>
                    <a:pt x="17621" y="3975"/>
                    <a:pt x="17621" y="3975"/>
                  </a:cubicBezTo>
                  <a:lnTo>
                    <a:pt x="17621" y="3996"/>
                  </a:lnTo>
                  <a:lnTo>
                    <a:pt x="17621" y="4016"/>
                  </a:lnTo>
                  <a:cubicBezTo>
                    <a:pt x="17621" y="4037"/>
                    <a:pt x="17642" y="4037"/>
                    <a:pt x="17642" y="4037"/>
                  </a:cubicBezTo>
                  <a:cubicBezTo>
                    <a:pt x="17642" y="4057"/>
                    <a:pt x="17662" y="4057"/>
                    <a:pt x="17662" y="4078"/>
                  </a:cubicBezTo>
                  <a:cubicBezTo>
                    <a:pt x="17662" y="4078"/>
                    <a:pt x="17683" y="4078"/>
                    <a:pt x="17683" y="4098"/>
                  </a:cubicBezTo>
                  <a:cubicBezTo>
                    <a:pt x="17703" y="4098"/>
                    <a:pt x="17703" y="4119"/>
                    <a:pt x="17703" y="4119"/>
                  </a:cubicBezTo>
                  <a:cubicBezTo>
                    <a:pt x="17724" y="4139"/>
                    <a:pt x="17724" y="4160"/>
                    <a:pt x="17724" y="4160"/>
                  </a:cubicBezTo>
                  <a:lnTo>
                    <a:pt x="17744" y="4180"/>
                  </a:lnTo>
                  <a:lnTo>
                    <a:pt x="17765" y="4180"/>
                  </a:lnTo>
                  <a:cubicBezTo>
                    <a:pt x="17765" y="4180"/>
                    <a:pt x="17765" y="4180"/>
                    <a:pt x="17765" y="4160"/>
                  </a:cubicBezTo>
                  <a:lnTo>
                    <a:pt x="17765" y="4139"/>
                  </a:lnTo>
                  <a:lnTo>
                    <a:pt x="17765" y="4139"/>
                  </a:lnTo>
                  <a:cubicBezTo>
                    <a:pt x="17765" y="4119"/>
                    <a:pt x="17785" y="4119"/>
                    <a:pt x="17785" y="4119"/>
                  </a:cubicBezTo>
                  <a:cubicBezTo>
                    <a:pt x="17806" y="4139"/>
                    <a:pt x="17806" y="4139"/>
                    <a:pt x="17806" y="4139"/>
                  </a:cubicBezTo>
                  <a:cubicBezTo>
                    <a:pt x="17806" y="4139"/>
                    <a:pt x="17826" y="4139"/>
                    <a:pt x="17826" y="4160"/>
                  </a:cubicBezTo>
                  <a:lnTo>
                    <a:pt x="17847" y="4180"/>
                  </a:lnTo>
                  <a:cubicBezTo>
                    <a:pt x="17847" y="4201"/>
                    <a:pt x="17847" y="4201"/>
                    <a:pt x="17847" y="4221"/>
                  </a:cubicBezTo>
                  <a:lnTo>
                    <a:pt x="17847" y="4221"/>
                  </a:lnTo>
                  <a:cubicBezTo>
                    <a:pt x="17847" y="4242"/>
                    <a:pt x="17867" y="4242"/>
                    <a:pt x="17867" y="4242"/>
                  </a:cubicBezTo>
                  <a:lnTo>
                    <a:pt x="17888" y="4262"/>
                  </a:lnTo>
                  <a:cubicBezTo>
                    <a:pt x="17888" y="4283"/>
                    <a:pt x="17888" y="4283"/>
                    <a:pt x="17888" y="4303"/>
                  </a:cubicBezTo>
                  <a:cubicBezTo>
                    <a:pt x="17888" y="4303"/>
                    <a:pt x="17888" y="4303"/>
                    <a:pt x="17888" y="4323"/>
                  </a:cubicBezTo>
                  <a:cubicBezTo>
                    <a:pt x="17867" y="4323"/>
                    <a:pt x="17867" y="4323"/>
                    <a:pt x="17867" y="4323"/>
                  </a:cubicBezTo>
                  <a:lnTo>
                    <a:pt x="17847" y="4323"/>
                  </a:lnTo>
                  <a:lnTo>
                    <a:pt x="17826" y="4303"/>
                  </a:lnTo>
                  <a:lnTo>
                    <a:pt x="17826" y="4283"/>
                  </a:lnTo>
                  <a:lnTo>
                    <a:pt x="17826" y="4262"/>
                  </a:lnTo>
                  <a:lnTo>
                    <a:pt x="17826" y="4242"/>
                  </a:lnTo>
                  <a:lnTo>
                    <a:pt x="17826" y="4221"/>
                  </a:lnTo>
                  <a:cubicBezTo>
                    <a:pt x="17806" y="4221"/>
                    <a:pt x="17806" y="4221"/>
                    <a:pt x="17806" y="4221"/>
                  </a:cubicBezTo>
                  <a:cubicBezTo>
                    <a:pt x="17785" y="4221"/>
                    <a:pt x="17785" y="4242"/>
                    <a:pt x="17785" y="4242"/>
                  </a:cubicBezTo>
                  <a:lnTo>
                    <a:pt x="17765" y="4242"/>
                  </a:lnTo>
                  <a:cubicBezTo>
                    <a:pt x="17744" y="4242"/>
                    <a:pt x="17744" y="4242"/>
                    <a:pt x="17724" y="4242"/>
                  </a:cubicBezTo>
                  <a:lnTo>
                    <a:pt x="17724" y="4262"/>
                  </a:lnTo>
                  <a:cubicBezTo>
                    <a:pt x="17724" y="4262"/>
                    <a:pt x="17724" y="4262"/>
                    <a:pt x="17724" y="4283"/>
                  </a:cubicBezTo>
                  <a:lnTo>
                    <a:pt x="17724" y="4283"/>
                  </a:lnTo>
                  <a:cubicBezTo>
                    <a:pt x="17744" y="4283"/>
                    <a:pt x="17744" y="4283"/>
                    <a:pt x="17744" y="4262"/>
                  </a:cubicBezTo>
                  <a:cubicBezTo>
                    <a:pt x="17744" y="4262"/>
                    <a:pt x="17744" y="4262"/>
                    <a:pt x="17765" y="4262"/>
                  </a:cubicBezTo>
                  <a:lnTo>
                    <a:pt x="17785" y="4262"/>
                  </a:lnTo>
                  <a:cubicBezTo>
                    <a:pt x="17785" y="4283"/>
                    <a:pt x="17806" y="4283"/>
                    <a:pt x="17806" y="4303"/>
                  </a:cubicBezTo>
                  <a:lnTo>
                    <a:pt x="17785" y="4323"/>
                  </a:lnTo>
                  <a:cubicBezTo>
                    <a:pt x="17785" y="4344"/>
                    <a:pt x="17785" y="4344"/>
                    <a:pt x="17785" y="4365"/>
                  </a:cubicBezTo>
                  <a:cubicBezTo>
                    <a:pt x="17785" y="4365"/>
                    <a:pt x="17785" y="4385"/>
                    <a:pt x="17785" y="4405"/>
                  </a:cubicBezTo>
                  <a:cubicBezTo>
                    <a:pt x="17785" y="4405"/>
                    <a:pt x="17785" y="4426"/>
                    <a:pt x="17806" y="4426"/>
                  </a:cubicBezTo>
                  <a:lnTo>
                    <a:pt x="17826" y="4447"/>
                  </a:lnTo>
                  <a:cubicBezTo>
                    <a:pt x="17826" y="4467"/>
                    <a:pt x="17847" y="4487"/>
                    <a:pt x="17847" y="4487"/>
                  </a:cubicBezTo>
                  <a:cubicBezTo>
                    <a:pt x="17867" y="4487"/>
                    <a:pt x="17867" y="4508"/>
                    <a:pt x="17888" y="4529"/>
                  </a:cubicBezTo>
                  <a:cubicBezTo>
                    <a:pt x="17888" y="4529"/>
                    <a:pt x="17888" y="4549"/>
                    <a:pt x="17908" y="4569"/>
                  </a:cubicBezTo>
                  <a:cubicBezTo>
                    <a:pt x="17908" y="4569"/>
                    <a:pt x="17929" y="4590"/>
                    <a:pt x="17929" y="4611"/>
                  </a:cubicBezTo>
                  <a:cubicBezTo>
                    <a:pt x="17929" y="4611"/>
                    <a:pt x="17949" y="4611"/>
                    <a:pt x="17949" y="4631"/>
                  </a:cubicBezTo>
                  <a:cubicBezTo>
                    <a:pt x="17970" y="4631"/>
                    <a:pt x="17970" y="4631"/>
                    <a:pt x="17990" y="4631"/>
                  </a:cubicBezTo>
                  <a:lnTo>
                    <a:pt x="18010" y="4651"/>
                  </a:lnTo>
                  <a:lnTo>
                    <a:pt x="18010" y="4693"/>
                  </a:lnTo>
                  <a:cubicBezTo>
                    <a:pt x="18010" y="4713"/>
                    <a:pt x="18010" y="4713"/>
                    <a:pt x="18010" y="4733"/>
                  </a:cubicBezTo>
                  <a:cubicBezTo>
                    <a:pt x="17990" y="4733"/>
                    <a:pt x="17990" y="4733"/>
                    <a:pt x="17970" y="4733"/>
                  </a:cubicBezTo>
                  <a:cubicBezTo>
                    <a:pt x="17970" y="4754"/>
                    <a:pt x="17949" y="4754"/>
                    <a:pt x="17949" y="4754"/>
                  </a:cubicBezTo>
                  <a:lnTo>
                    <a:pt x="17929" y="4733"/>
                  </a:lnTo>
                  <a:cubicBezTo>
                    <a:pt x="17929" y="4733"/>
                    <a:pt x="17929" y="4733"/>
                    <a:pt x="17929" y="4713"/>
                  </a:cubicBezTo>
                  <a:lnTo>
                    <a:pt x="17908" y="4713"/>
                  </a:lnTo>
                  <a:cubicBezTo>
                    <a:pt x="17908" y="4733"/>
                    <a:pt x="17908" y="4733"/>
                    <a:pt x="17908" y="4754"/>
                  </a:cubicBezTo>
                  <a:cubicBezTo>
                    <a:pt x="17888" y="4754"/>
                    <a:pt x="17888" y="4754"/>
                    <a:pt x="17867" y="4754"/>
                  </a:cubicBezTo>
                  <a:cubicBezTo>
                    <a:pt x="17867" y="4775"/>
                    <a:pt x="17847" y="4775"/>
                    <a:pt x="17847" y="4775"/>
                  </a:cubicBezTo>
                  <a:cubicBezTo>
                    <a:pt x="17826" y="4795"/>
                    <a:pt x="17826" y="4795"/>
                    <a:pt x="17826" y="4815"/>
                  </a:cubicBezTo>
                  <a:lnTo>
                    <a:pt x="17826" y="4857"/>
                  </a:lnTo>
                  <a:cubicBezTo>
                    <a:pt x="17826" y="4877"/>
                    <a:pt x="17826" y="4897"/>
                    <a:pt x="17847" y="4897"/>
                  </a:cubicBezTo>
                  <a:cubicBezTo>
                    <a:pt x="17847" y="4918"/>
                    <a:pt x="17867" y="4939"/>
                    <a:pt x="17867" y="4939"/>
                  </a:cubicBezTo>
                  <a:cubicBezTo>
                    <a:pt x="17888" y="4959"/>
                    <a:pt x="17908" y="4979"/>
                    <a:pt x="17929" y="4979"/>
                  </a:cubicBezTo>
                  <a:lnTo>
                    <a:pt x="17929" y="5000"/>
                  </a:lnTo>
                  <a:cubicBezTo>
                    <a:pt x="17949" y="5020"/>
                    <a:pt x="17949" y="5041"/>
                    <a:pt x="17949" y="5041"/>
                  </a:cubicBezTo>
                  <a:lnTo>
                    <a:pt x="17970" y="5061"/>
                  </a:lnTo>
                  <a:cubicBezTo>
                    <a:pt x="17970" y="5061"/>
                    <a:pt x="17990" y="5061"/>
                    <a:pt x="17990" y="5081"/>
                  </a:cubicBezTo>
                  <a:lnTo>
                    <a:pt x="17990" y="5102"/>
                  </a:lnTo>
                  <a:lnTo>
                    <a:pt x="17970" y="5102"/>
                  </a:lnTo>
                  <a:lnTo>
                    <a:pt x="17970" y="5081"/>
                  </a:lnTo>
                  <a:cubicBezTo>
                    <a:pt x="17949" y="5081"/>
                    <a:pt x="17949" y="5081"/>
                    <a:pt x="17949" y="5081"/>
                  </a:cubicBezTo>
                  <a:cubicBezTo>
                    <a:pt x="17929" y="5081"/>
                    <a:pt x="17929" y="5081"/>
                    <a:pt x="17908" y="5081"/>
                  </a:cubicBezTo>
                  <a:lnTo>
                    <a:pt x="17908" y="5081"/>
                  </a:lnTo>
                  <a:cubicBezTo>
                    <a:pt x="17888" y="5081"/>
                    <a:pt x="17888" y="5102"/>
                    <a:pt x="17888" y="5102"/>
                  </a:cubicBezTo>
                  <a:lnTo>
                    <a:pt x="17908" y="5123"/>
                  </a:lnTo>
                  <a:lnTo>
                    <a:pt x="17908" y="5143"/>
                  </a:lnTo>
                  <a:lnTo>
                    <a:pt x="17888" y="5163"/>
                  </a:lnTo>
                  <a:lnTo>
                    <a:pt x="17867" y="5163"/>
                  </a:lnTo>
                  <a:lnTo>
                    <a:pt x="17867" y="5184"/>
                  </a:lnTo>
                  <a:cubicBezTo>
                    <a:pt x="17847" y="5184"/>
                    <a:pt x="17847" y="5184"/>
                    <a:pt x="17847" y="5184"/>
                  </a:cubicBezTo>
                  <a:cubicBezTo>
                    <a:pt x="17847" y="5205"/>
                    <a:pt x="17847" y="5205"/>
                    <a:pt x="17847" y="5205"/>
                  </a:cubicBezTo>
                  <a:cubicBezTo>
                    <a:pt x="17847" y="5225"/>
                    <a:pt x="17867" y="5225"/>
                    <a:pt x="17867" y="5225"/>
                  </a:cubicBezTo>
                  <a:lnTo>
                    <a:pt x="17888" y="5225"/>
                  </a:lnTo>
                  <a:lnTo>
                    <a:pt x="17888" y="5245"/>
                  </a:lnTo>
                  <a:cubicBezTo>
                    <a:pt x="17908" y="5245"/>
                    <a:pt x="17908" y="5245"/>
                    <a:pt x="17908" y="5245"/>
                  </a:cubicBezTo>
                  <a:cubicBezTo>
                    <a:pt x="17929" y="5266"/>
                    <a:pt x="17929" y="5266"/>
                    <a:pt x="17929" y="5266"/>
                  </a:cubicBezTo>
                  <a:cubicBezTo>
                    <a:pt x="17929" y="5266"/>
                    <a:pt x="17908" y="5266"/>
                    <a:pt x="17908" y="5287"/>
                  </a:cubicBezTo>
                  <a:lnTo>
                    <a:pt x="17908" y="5287"/>
                  </a:lnTo>
                  <a:cubicBezTo>
                    <a:pt x="17908" y="5307"/>
                    <a:pt x="17908" y="5307"/>
                    <a:pt x="17929" y="5307"/>
                  </a:cubicBezTo>
                  <a:cubicBezTo>
                    <a:pt x="17929" y="5327"/>
                    <a:pt x="17949" y="5327"/>
                    <a:pt x="17949" y="5327"/>
                  </a:cubicBezTo>
                  <a:lnTo>
                    <a:pt x="17970" y="5348"/>
                  </a:lnTo>
                  <a:cubicBezTo>
                    <a:pt x="17970" y="5369"/>
                    <a:pt x="17970" y="5389"/>
                    <a:pt x="17970" y="5409"/>
                  </a:cubicBezTo>
                  <a:cubicBezTo>
                    <a:pt x="17970" y="5409"/>
                    <a:pt x="17970" y="5430"/>
                    <a:pt x="17970" y="5451"/>
                  </a:cubicBezTo>
                  <a:cubicBezTo>
                    <a:pt x="17970" y="5451"/>
                    <a:pt x="17990" y="5471"/>
                    <a:pt x="17990" y="5491"/>
                  </a:cubicBezTo>
                  <a:lnTo>
                    <a:pt x="17970" y="5533"/>
                  </a:lnTo>
                  <a:cubicBezTo>
                    <a:pt x="17970" y="5553"/>
                    <a:pt x="17949" y="5573"/>
                    <a:pt x="17949" y="5573"/>
                  </a:cubicBezTo>
                  <a:cubicBezTo>
                    <a:pt x="17949" y="5594"/>
                    <a:pt x="17949" y="5615"/>
                    <a:pt x="17949" y="5635"/>
                  </a:cubicBezTo>
                  <a:lnTo>
                    <a:pt x="17949" y="5676"/>
                  </a:lnTo>
                  <a:cubicBezTo>
                    <a:pt x="17949" y="5696"/>
                    <a:pt x="17949" y="5696"/>
                    <a:pt x="17949" y="5717"/>
                  </a:cubicBezTo>
                  <a:lnTo>
                    <a:pt x="17929" y="5717"/>
                  </a:lnTo>
                  <a:lnTo>
                    <a:pt x="17929" y="5696"/>
                  </a:lnTo>
                  <a:cubicBezTo>
                    <a:pt x="17908" y="5696"/>
                    <a:pt x="17908" y="5676"/>
                    <a:pt x="17888" y="5676"/>
                  </a:cubicBezTo>
                  <a:cubicBezTo>
                    <a:pt x="17888" y="5676"/>
                    <a:pt x="17867" y="5655"/>
                    <a:pt x="17867" y="5635"/>
                  </a:cubicBezTo>
                  <a:cubicBezTo>
                    <a:pt x="17847" y="5635"/>
                    <a:pt x="17847" y="5615"/>
                    <a:pt x="17826" y="5594"/>
                  </a:cubicBezTo>
                  <a:cubicBezTo>
                    <a:pt x="17826" y="5594"/>
                    <a:pt x="17806" y="5573"/>
                    <a:pt x="17785" y="5573"/>
                  </a:cubicBezTo>
                  <a:cubicBezTo>
                    <a:pt x="17785" y="5553"/>
                    <a:pt x="17765" y="5553"/>
                    <a:pt x="17765" y="5553"/>
                  </a:cubicBezTo>
                  <a:cubicBezTo>
                    <a:pt x="17744" y="5533"/>
                    <a:pt x="17744" y="5512"/>
                    <a:pt x="17744" y="5491"/>
                  </a:cubicBezTo>
                  <a:cubicBezTo>
                    <a:pt x="17744" y="5491"/>
                    <a:pt x="17744" y="5471"/>
                    <a:pt x="17744" y="5451"/>
                  </a:cubicBezTo>
                  <a:cubicBezTo>
                    <a:pt x="17724" y="5451"/>
                    <a:pt x="17703" y="5430"/>
                    <a:pt x="17683" y="5409"/>
                  </a:cubicBezTo>
                  <a:cubicBezTo>
                    <a:pt x="17662" y="5409"/>
                    <a:pt x="17642" y="5369"/>
                    <a:pt x="17621" y="5348"/>
                  </a:cubicBezTo>
                  <a:cubicBezTo>
                    <a:pt x="17601" y="5327"/>
                    <a:pt x="17539" y="5266"/>
                    <a:pt x="17519" y="5245"/>
                  </a:cubicBezTo>
                  <a:cubicBezTo>
                    <a:pt x="17498" y="5225"/>
                    <a:pt x="17478" y="5205"/>
                    <a:pt x="17478" y="5184"/>
                  </a:cubicBezTo>
                  <a:cubicBezTo>
                    <a:pt x="17457" y="5163"/>
                    <a:pt x="17437" y="5143"/>
                    <a:pt x="17416" y="5123"/>
                  </a:cubicBezTo>
                  <a:cubicBezTo>
                    <a:pt x="17396" y="5102"/>
                    <a:pt x="17355" y="5041"/>
                    <a:pt x="17334" y="5020"/>
                  </a:cubicBezTo>
                  <a:cubicBezTo>
                    <a:pt x="17334" y="5020"/>
                    <a:pt x="17314" y="5000"/>
                    <a:pt x="17293" y="4979"/>
                  </a:cubicBezTo>
                  <a:lnTo>
                    <a:pt x="17273" y="4939"/>
                  </a:lnTo>
                  <a:cubicBezTo>
                    <a:pt x="17252" y="4897"/>
                    <a:pt x="17211" y="4877"/>
                    <a:pt x="17191" y="4857"/>
                  </a:cubicBezTo>
                  <a:cubicBezTo>
                    <a:pt x="17171" y="4836"/>
                    <a:pt x="17129" y="4795"/>
                    <a:pt x="17129" y="4775"/>
                  </a:cubicBezTo>
                  <a:cubicBezTo>
                    <a:pt x="17109" y="4754"/>
                    <a:pt x="17068" y="4713"/>
                    <a:pt x="17047" y="4693"/>
                  </a:cubicBezTo>
                  <a:cubicBezTo>
                    <a:pt x="17027" y="4672"/>
                    <a:pt x="16986" y="4611"/>
                    <a:pt x="16965" y="4590"/>
                  </a:cubicBezTo>
                  <a:cubicBezTo>
                    <a:pt x="16965" y="4569"/>
                    <a:pt x="16945" y="4529"/>
                    <a:pt x="16925" y="4508"/>
                  </a:cubicBezTo>
                  <a:cubicBezTo>
                    <a:pt x="16925" y="4487"/>
                    <a:pt x="16925" y="4467"/>
                    <a:pt x="16925" y="4467"/>
                  </a:cubicBezTo>
                  <a:cubicBezTo>
                    <a:pt x="16904" y="4447"/>
                    <a:pt x="16904" y="4426"/>
                    <a:pt x="16904" y="4405"/>
                  </a:cubicBezTo>
                  <a:cubicBezTo>
                    <a:pt x="16883" y="4405"/>
                    <a:pt x="16863" y="4385"/>
                    <a:pt x="16863" y="4365"/>
                  </a:cubicBezTo>
                  <a:cubicBezTo>
                    <a:pt x="16863" y="4344"/>
                    <a:pt x="16843" y="4344"/>
                    <a:pt x="16843" y="4323"/>
                  </a:cubicBezTo>
                  <a:lnTo>
                    <a:pt x="16843" y="4283"/>
                  </a:lnTo>
                  <a:cubicBezTo>
                    <a:pt x="16843" y="4262"/>
                    <a:pt x="16843" y="4262"/>
                    <a:pt x="16843" y="4242"/>
                  </a:cubicBezTo>
                  <a:lnTo>
                    <a:pt x="16843" y="4242"/>
                  </a:lnTo>
                  <a:cubicBezTo>
                    <a:pt x="16863" y="4221"/>
                    <a:pt x="16863" y="4201"/>
                    <a:pt x="16863" y="4201"/>
                  </a:cubicBezTo>
                  <a:cubicBezTo>
                    <a:pt x="16843" y="4180"/>
                    <a:pt x="16843" y="4180"/>
                    <a:pt x="16843" y="4160"/>
                  </a:cubicBezTo>
                  <a:lnTo>
                    <a:pt x="16822" y="4119"/>
                  </a:lnTo>
                  <a:cubicBezTo>
                    <a:pt x="16822" y="4098"/>
                    <a:pt x="16801" y="4098"/>
                    <a:pt x="16801" y="4098"/>
                  </a:cubicBezTo>
                  <a:cubicBezTo>
                    <a:pt x="16801" y="4098"/>
                    <a:pt x="16781" y="4098"/>
                    <a:pt x="16781" y="4078"/>
                  </a:cubicBezTo>
                  <a:lnTo>
                    <a:pt x="16761" y="4078"/>
                  </a:lnTo>
                  <a:lnTo>
                    <a:pt x="16761" y="4057"/>
                  </a:lnTo>
                  <a:cubicBezTo>
                    <a:pt x="16781" y="4037"/>
                    <a:pt x="16781" y="4037"/>
                    <a:pt x="16781" y="4037"/>
                  </a:cubicBezTo>
                  <a:cubicBezTo>
                    <a:pt x="16801" y="4037"/>
                    <a:pt x="16801" y="4037"/>
                    <a:pt x="16822" y="4037"/>
                  </a:cubicBezTo>
                  <a:lnTo>
                    <a:pt x="16822" y="4037"/>
                  </a:lnTo>
                  <a:cubicBezTo>
                    <a:pt x="16843" y="4016"/>
                    <a:pt x="16822" y="4016"/>
                    <a:pt x="16822" y="3996"/>
                  </a:cubicBezTo>
                  <a:cubicBezTo>
                    <a:pt x="16843" y="3996"/>
                    <a:pt x="16843" y="3996"/>
                    <a:pt x="16863" y="3975"/>
                  </a:cubicBezTo>
                  <a:lnTo>
                    <a:pt x="16883" y="3975"/>
                  </a:lnTo>
                  <a:lnTo>
                    <a:pt x="16904" y="3955"/>
                  </a:lnTo>
                  <a:cubicBezTo>
                    <a:pt x="16904" y="3934"/>
                    <a:pt x="16904" y="3934"/>
                    <a:pt x="16904" y="3914"/>
                  </a:cubicBezTo>
                  <a:cubicBezTo>
                    <a:pt x="16904" y="3893"/>
                    <a:pt x="16904" y="3873"/>
                    <a:pt x="16904" y="3852"/>
                  </a:cubicBezTo>
                  <a:lnTo>
                    <a:pt x="16925" y="3832"/>
                  </a:lnTo>
                  <a:cubicBezTo>
                    <a:pt x="16925" y="3832"/>
                    <a:pt x="16925" y="3811"/>
                    <a:pt x="16925" y="3791"/>
                  </a:cubicBezTo>
                  <a:cubicBezTo>
                    <a:pt x="16904" y="3791"/>
                    <a:pt x="16904" y="3770"/>
                    <a:pt x="16904" y="3750"/>
                  </a:cubicBezTo>
                  <a:cubicBezTo>
                    <a:pt x="16904" y="3729"/>
                    <a:pt x="16904" y="3709"/>
                    <a:pt x="16904" y="3709"/>
                  </a:cubicBezTo>
                  <a:cubicBezTo>
                    <a:pt x="16904" y="3668"/>
                    <a:pt x="16904" y="3606"/>
                    <a:pt x="16904" y="3566"/>
                  </a:cubicBezTo>
                  <a:cubicBezTo>
                    <a:pt x="16904" y="3545"/>
                    <a:pt x="16925" y="3504"/>
                    <a:pt x="16925" y="3463"/>
                  </a:cubicBezTo>
                  <a:cubicBezTo>
                    <a:pt x="16925" y="3442"/>
                    <a:pt x="16904" y="3402"/>
                    <a:pt x="16904" y="3381"/>
                  </a:cubicBezTo>
                  <a:cubicBezTo>
                    <a:pt x="16904" y="3381"/>
                    <a:pt x="16904" y="3360"/>
                    <a:pt x="16904" y="3340"/>
                  </a:cubicBezTo>
                  <a:lnTo>
                    <a:pt x="16883" y="3320"/>
                  </a:lnTo>
                  <a:cubicBezTo>
                    <a:pt x="16863" y="3299"/>
                    <a:pt x="16863" y="3278"/>
                    <a:pt x="16883" y="3278"/>
                  </a:cubicBezTo>
                  <a:cubicBezTo>
                    <a:pt x="16883" y="3258"/>
                    <a:pt x="16883" y="3238"/>
                    <a:pt x="16883" y="3238"/>
                  </a:cubicBezTo>
                  <a:cubicBezTo>
                    <a:pt x="16883" y="3217"/>
                    <a:pt x="16883" y="3217"/>
                    <a:pt x="16883" y="3217"/>
                  </a:cubicBezTo>
                  <a:cubicBezTo>
                    <a:pt x="16904" y="3196"/>
                    <a:pt x="16904" y="3196"/>
                    <a:pt x="16925" y="3196"/>
                  </a:cubicBezTo>
                  <a:lnTo>
                    <a:pt x="16925" y="3176"/>
                  </a:lnTo>
                  <a:lnTo>
                    <a:pt x="16945" y="3156"/>
                  </a:lnTo>
                  <a:lnTo>
                    <a:pt x="16965" y="3156"/>
                  </a:lnTo>
                  <a:lnTo>
                    <a:pt x="16986" y="3135"/>
                  </a:lnTo>
                  <a:cubicBezTo>
                    <a:pt x="16986" y="3114"/>
                    <a:pt x="17007" y="3114"/>
                    <a:pt x="17007" y="3114"/>
                  </a:cubicBezTo>
                  <a:lnTo>
                    <a:pt x="17007" y="3094"/>
                  </a:lnTo>
                  <a:cubicBezTo>
                    <a:pt x="16986" y="3094"/>
                    <a:pt x="16986" y="3094"/>
                    <a:pt x="16965" y="3094"/>
                  </a:cubicBezTo>
                  <a:lnTo>
                    <a:pt x="16945" y="3094"/>
                  </a:lnTo>
                  <a:lnTo>
                    <a:pt x="16945" y="3074"/>
                  </a:lnTo>
                  <a:cubicBezTo>
                    <a:pt x="16945" y="3074"/>
                    <a:pt x="16945" y="3053"/>
                    <a:pt x="16945" y="3032"/>
                  </a:cubicBezTo>
                  <a:lnTo>
                    <a:pt x="16925" y="3012"/>
                  </a:lnTo>
                  <a:cubicBezTo>
                    <a:pt x="16925" y="2992"/>
                    <a:pt x="16904" y="2992"/>
                    <a:pt x="16904" y="2992"/>
                  </a:cubicBezTo>
                  <a:cubicBezTo>
                    <a:pt x="16883" y="2992"/>
                    <a:pt x="16883" y="2971"/>
                    <a:pt x="16883" y="2971"/>
                  </a:cubicBezTo>
                  <a:cubicBezTo>
                    <a:pt x="16863" y="2971"/>
                    <a:pt x="16883" y="2950"/>
                    <a:pt x="16883" y="2950"/>
                  </a:cubicBezTo>
                  <a:cubicBezTo>
                    <a:pt x="16863" y="2930"/>
                    <a:pt x="16863" y="2910"/>
                    <a:pt x="16843" y="2910"/>
                  </a:cubicBezTo>
                  <a:lnTo>
                    <a:pt x="16843" y="2890"/>
                  </a:lnTo>
                  <a:cubicBezTo>
                    <a:pt x="16843" y="2869"/>
                    <a:pt x="16822" y="2869"/>
                    <a:pt x="16822" y="2869"/>
                  </a:cubicBezTo>
                  <a:cubicBezTo>
                    <a:pt x="16801" y="2869"/>
                    <a:pt x="16801" y="2848"/>
                    <a:pt x="16801" y="2848"/>
                  </a:cubicBezTo>
                  <a:cubicBezTo>
                    <a:pt x="16781" y="2848"/>
                    <a:pt x="16781" y="2828"/>
                    <a:pt x="16781" y="2828"/>
                  </a:cubicBezTo>
                  <a:lnTo>
                    <a:pt x="16781" y="2808"/>
                  </a:lnTo>
                  <a:cubicBezTo>
                    <a:pt x="16781" y="2787"/>
                    <a:pt x="16761" y="2787"/>
                    <a:pt x="16761" y="2766"/>
                  </a:cubicBezTo>
                  <a:cubicBezTo>
                    <a:pt x="16761" y="2766"/>
                    <a:pt x="16761" y="2766"/>
                    <a:pt x="16761" y="2746"/>
                  </a:cubicBezTo>
                  <a:cubicBezTo>
                    <a:pt x="16761" y="2746"/>
                    <a:pt x="16781" y="2746"/>
                    <a:pt x="16781" y="2726"/>
                  </a:cubicBezTo>
                  <a:lnTo>
                    <a:pt x="16801" y="2726"/>
                  </a:lnTo>
                  <a:cubicBezTo>
                    <a:pt x="16801" y="2726"/>
                    <a:pt x="16822" y="2726"/>
                    <a:pt x="16822" y="2705"/>
                  </a:cubicBezTo>
                  <a:cubicBezTo>
                    <a:pt x="16801" y="2705"/>
                    <a:pt x="16781" y="2705"/>
                    <a:pt x="16781" y="2705"/>
                  </a:cubicBezTo>
                  <a:cubicBezTo>
                    <a:pt x="16761" y="2705"/>
                    <a:pt x="16740" y="2705"/>
                    <a:pt x="16740" y="2705"/>
                  </a:cubicBezTo>
                  <a:cubicBezTo>
                    <a:pt x="16719" y="2705"/>
                    <a:pt x="16719" y="2684"/>
                    <a:pt x="16699" y="2684"/>
                  </a:cubicBezTo>
                  <a:cubicBezTo>
                    <a:pt x="16699" y="2684"/>
                    <a:pt x="16699" y="2684"/>
                    <a:pt x="16679" y="2684"/>
                  </a:cubicBezTo>
                  <a:lnTo>
                    <a:pt x="16679" y="2705"/>
                  </a:lnTo>
                  <a:cubicBezTo>
                    <a:pt x="16679" y="2705"/>
                    <a:pt x="16679" y="2705"/>
                    <a:pt x="16679" y="2726"/>
                  </a:cubicBezTo>
                  <a:cubicBezTo>
                    <a:pt x="16658" y="2726"/>
                    <a:pt x="16637" y="2726"/>
                    <a:pt x="16637" y="2726"/>
                  </a:cubicBezTo>
                  <a:cubicBezTo>
                    <a:pt x="16617" y="2746"/>
                    <a:pt x="16617" y="2746"/>
                    <a:pt x="16617" y="2746"/>
                  </a:cubicBezTo>
                  <a:lnTo>
                    <a:pt x="16617" y="2766"/>
                  </a:lnTo>
                  <a:cubicBezTo>
                    <a:pt x="16617" y="2787"/>
                    <a:pt x="16617" y="2787"/>
                    <a:pt x="16617" y="2787"/>
                  </a:cubicBezTo>
                  <a:cubicBezTo>
                    <a:pt x="16637" y="2787"/>
                    <a:pt x="16637" y="2787"/>
                    <a:pt x="16637" y="2787"/>
                  </a:cubicBezTo>
                  <a:lnTo>
                    <a:pt x="16658" y="2787"/>
                  </a:lnTo>
                  <a:cubicBezTo>
                    <a:pt x="16679" y="2787"/>
                    <a:pt x="16679" y="2787"/>
                    <a:pt x="16679" y="2787"/>
                  </a:cubicBezTo>
                  <a:cubicBezTo>
                    <a:pt x="16699" y="2787"/>
                    <a:pt x="16679" y="2808"/>
                    <a:pt x="16679" y="2808"/>
                  </a:cubicBezTo>
                  <a:cubicBezTo>
                    <a:pt x="16679" y="2808"/>
                    <a:pt x="16679" y="2808"/>
                    <a:pt x="16658" y="2828"/>
                  </a:cubicBezTo>
                  <a:lnTo>
                    <a:pt x="16658" y="2828"/>
                  </a:lnTo>
                  <a:cubicBezTo>
                    <a:pt x="16658" y="2848"/>
                    <a:pt x="16658" y="2848"/>
                    <a:pt x="16679" y="2869"/>
                  </a:cubicBezTo>
                  <a:cubicBezTo>
                    <a:pt x="16679" y="2869"/>
                    <a:pt x="16679" y="2869"/>
                    <a:pt x="16699" y="2869"/>
                  </a:cubicBezTo>
                  <a:cubicBezTo>
                    <a:pt x="16699" y="2890"/>
                    <a:pt x="16699" y="2890"/>
                    <a:pt x="16699" y="2890"/>
                  </a:cubicBezTo>
                  <a:cubicBezTo>
                    <a:pt x="16699" y="2910"/>
                    <a:pt x="16719" y="2910"/>
                    <a:pt x="16719" y="2930"/>
                  </a:cubicBezTo>
                  <a:cubicBezTo>
                    <a:pt x="16719" y="2930"/>
                    <a:pt x="16740" y="2930"/>
                    <a:pt x="16761" y="2930"/>
                  </a:cubicBezTo>
                  <a:cubicBezTo>
                    <a:pt x="16761" y="2930"/>
                    <a:pt x="16781" y="2930"/>
                    <a:pt x="16781" y="2950"/>
                  </a:cubicBezTo>
                  <a:cubicBezTo>
                    <a:pt x="16781" y="2950"/>
                    <a:pt x="16781" y="2950"/>
                    <a:pt x="16781" y="2971"/>
                  </a:cubicBezTo>
                  <a:cubicBezTo>
                    <a:pt x="16781" y="2971"/>
                    <a:pt x="16781" y="2971"/>
                    <a:pt x="16761" y="2992"/>
                  </a:cubicBezTo>
                  <a:lnTo>
                    <a:pt x="16740" y="2971"/>
                  </a:lnTo>
                  <a:cubicBezTo>
                    <a:pt x="16740" y="2971"/>
                    <a:pt x="16740" y="2971"/>
                    <a:pt x="16719" y="2971"/>
                  </a:cubicBezTo>
                  <a:cubicBezTo>
                    <a:pt x="16719" y="2950"/>
                    <a:pt x="16699" y="2950"/>
                    <a:pt x="16699" y="2971"/>
                  </a:cubicBezTo>
                  <a:cubicBezTo>
                    <a:pt x="16699" y="2971"/>
                    <a:pt x="16679" y="2971"/>
                    <a:pt x="16679" y="2992"/>
                  </a:cubicBezTo>
                  <a:lnTo>
                    <a:pt x="16679" y="3012"/>
                  </a:lnTo>
                  <a:cubicBezTo>
                    <a:pt x="16679" y="3012"/>
                    <a:pt x="16699" y="3032"/>
                    <a:pt x="16699" y="3053"/>
                  </a:cubicBezTo>
                  <a:cubicBezTo>
                    <a:pt x="16699" y="3053"/>
                    <a:pt x="16699" y="3094"/>
                    <a:pt x="16699" y="3114"/>
                  </a:cubicBezTo>
                  <a:lnTo>
                    <a:pt x="16679" y="3135"/>
                  </a:lnTo>
                  <a:lnTo>
                    <a:pt x="16679" y="3156"/>
                  </a:lnTo>
                  <a:cubicBezTo>
                    <a:pt x="16679" y="3176"/>
                    <a:pt x="16679" y="3196"/>
                    <a:pt x="16679" y="3196"/>
                  </a:cubicBezTo>
                  <a:lnTo>
                    <a:pt x="16658" y="3217"/>
                  </a:lnTo>
                  <a:lnTo>
                    <a:pt x="16658" y="3238"/>
                  </a:lnTo>
                  <a:cubicBezTo>
                    <a:pt x="16658" y="3258"/>
                    <a:pt x="16637" y="3258"/>
                    <a:pt x="16637" y="3258"/>
                  </a:cubicBezTo>
                  <a:cubicBezTo>
                    <a:pt x="16637" y="3278"/>
                    <a:pt x="16617" y="3258"/>
                    <a:pt x="16617" y="3258"/>
                  </a:cubicBezTo>
                  <a:lnTo>
                    <a:pt x="16617" y="3238"/>
                  </a:lnTo>
                  <a:cubicBezTo>
                    <a:pt x="16597" y="3238"/>
                    <a:pt x="16576" y="3217"/>
                    <a:pt x="16576" y="3217"/>
                  </a:cubicBezTo>
                  <a:lnTo>
                    <a:pt x="16576" y="3196"/>
                  </a:lnTo>
                  <a:cubicBezTo>
                    <a:pt x="16576" y="3176"/>
                    <a:pt x="16576" y="3176"/>
                    <a:pt x="16576" y="3176"/>
                  </a:cubicBezTo>
                  <a:cubicBezTo>
                    <a:pt x="16576" y="3156"/>
                    <a:pt x="16555" y="3156"/>
                    <a:pt x="16555" y="3156"/>
                  </a:cubicBezTo>
                  <a:cubicBezTo>
                    <a:pt x="16535" y="3176"/>
                    <a:pt x="16535" y="3176"/>
                    <a:pt x="16535" y="3176"/>
                  </a:cubicBezTo>
                  <a:cubicBezTo>
                    <a:pt x="16535" y="3176"/>
                    <a:pt x="16535" y="3196"/>
                    <a:pt x="16515" y="3217"/>
                  </a:cubicBezTo>
                  <a:lnTo>
                    <a:pt x="16515" y="3217"/>
                  </a:lnTo>
                  <a:cubicBezTo>
                    <a:pt x="16494" y="3217"/>
                    <a:pt x="16494" y="3217"/>
                    <a:pt x="16494" y="3217"/>
                  </a:cubicBezTo>
                  <a:lnTo>
                    <a:pt x="16494" y="3196"/>
                  </a:lnTo>
                  <a:lnTo>
                    <a:pt x="16494" y="3176"/>
                  </a:lnTo>
                  <a:lnTo>
                    <a:pt x="16494" y="3156"/>
                  </a:lnTo>
                  <a:lnTo>
                    <a:pt x="16473" y="3135"/>
                  </a:lnTo>
                  <a:lnTo>
                    <a:pt x="16453" y="3135"/>
                  </a:lnTo>
                  <a:lnTo>
                    <a:pt x="16433" y="3114"/>
                  </a:lnTo>
                  <a:lnTo>
                    <a:pt x="16433" y="3094"/>
                  </a:lnTo>
                  <a:cubicBezTo>
                    <a:pt x="16433" y="3074"/>
                    <a:pt x="16453" y="3053"/>
                    <a:pt x="16433" y="3053"/>
                  </a:cubicBezTo>
                  <a:cubicBezTo>
                    <a:pt x="16433" y="3032"/>
                    <a:pt x="16433" y="3032"/>
                    <a:pt x="16433" y="3032"/>
                  </a:cubicBezTo>
                  <a:cubicBezTo>
                    <a:pt x="16433" y="3012"/>
                    <a:pt x="16413" y="3032"/>
                    <a:pt x="16413" y="3012"/>
                  </a:cubicBezTo>
                  <a:lnTo>
                    <a:pt x="16413" y="3012"/>
                  </a:lnTo>
                  <a:cubicBezTo>
                    <a:pt x="16413" y="2992"/>
                    <a:pt x="16392" y="2992"/>
                    <a:pt x="16392" y="2992"/>
                  </a:cubicBezTo>
                  <a:cubicBezTo>
                    <a:pt x="16392" y="2971"/>
                    <a:pt x="16392" y="2971"/>
                    <a:pt x="16371" y="2971"/>
                  </a:cubicBezTo>
                  <a:cubicBezTo>
                    <a:pt x="16371" y="2950"/>
                    <a:pt x="16371" y="2950"/>
                    <a:pt x="16371" y="2930"/>
                  </a:cubicBezTo>
                  <a:cubicBezTo>
                    <a:pt x="16371" y="2930"/>
                    <a:pt x="16371" y="2930"/>
                    <a:pt x="16351" y="2950"/>
                  </a:cubicBezTo>
                  <a:cubicBezTo>
                    <a:pt x="16351" y="2950"/>
                    <a:pt x="16351" y="2950"/>
                    <a:pt x="16351" y="2971"/>
                  </a:cubicBezTo>
                  <a:cubicBezTo>
                    <a:pt x="16351" y="2971"/>
                    <a:pt x="16371" y="2971"/>
                    <a:pt x="16371" y="2992"/>
                  </a:cubicBezTo>
                  <a:cubicBezTo>
                    <a:pt x="16371" y="2992"/>
                    <a:pt x="16371" y="3012"/>
                    <a:pt x="16351" y="3012"/>
                  </a:cubicBezTo>
                  <a:cubicBezTo>
                    <a:pt x="16351" y="3012"/>
                    <a:pt x="16351" y="3032"/>
                    <a:pt x="16331" y="3032"/>
                  </a:cubicBezTo>
                  <a:cubicBezTo>
                    <a:pt x="16331" y="3032"/>
                    <a:pt x="16310" y="3032"/>
                    <a:pt x="16310" y="3012"/>
                  </a:cubicBezTo>
                  <a:lnTo>
                    <a:pt x="16310" y="2992"/>
                  </a:lnTo>
                  <a:cubicBezTo>
                    <a:pt x="16310" y="2992"/>
                    <a:pt x="16310" y="2971"/>
                    <a:pt x="16289" y="2971"/>
                  </a:cubicBezTo>
                  <a:cubicBezTo>
                    <a:pt x="16289" y="2971"/>
                    <a:pt x="16289" y="2950"/>
                    <a:pt x="16269" y="2950"/>
                  </a:cubicBezTo>
                  <a:cubicBezTo>
                    <a:pt x="16269" y="2971"/>
                    <a:pt x="16269" y="2971"/>
                    <a:pt x="16269" y="2971"/>
                  </a:cubicBezTo>
                  <a:cubicBezTo>
                    <a:pt x="16249" y="2992"/>
                    <a:pt x="16228" y="2992"/>
                    <a:pt x="16207" y="2992"/>
                  </a:cubicBezTo>
                  <a:lnTo>
                    <a:pt x="16187" y="2992"/>
                  </a:lnTo>
                  <a:cubicBezTo>
                    <a:pt x="16187" y="3012"/>
                    <a:pt x="16167" y="3012"/>
                    <a:pt x="16167" y="3012"/>
                  </a:cubicBezTo>
                  <a:cubicBezTo>
                    <a:pt x="16146" y="3012"/>
                    <a:pt x="16125" y="3032"/>
                    <a:pt x="16125" y="3032"/>
                  </a:cubicBezTo>
                  <a:cubicBezTo>
                    <a:pt x="16125" y="3032"/>
                    <a:pt x="16125" y="3053"/>
                    <a:pt x="16105" y="3053"/>
                  </a:cubicBezTo>
                  <a:cubicBezTo>
                    <a:pt x="16105" y="3053"/>
                    <a:pt x="16085" y="3053"/>
                    <a:pt x="16064" y="3053"/>
                  </a:cubicBezTo>
                  <a:lnTo>
                    <a:pt x="16043" y="3074"/>
                  </a:lnTo>
                  <a:cubicBezTo>
                    <a:pt x="16043" y="3074"/>
                    <a:pt x="16043" y="3074"/>
                    <a:pt x="16043" y="3094"/>
                  </a:cubicBezTo>
                  <a:cubicBezTo>
                    <a:pt x="16023" y="3094"/>
                    <a:pt x="16023" y="3114"/>
                    <a:pt x="16023" y="3135"/>
                  </a:cubicBezTo>
                  <a:lnTo>
                    <a:pt x="16043" y="3156"/>
                  </a:lnTo>
                  <a:cubicBezTo>
                    <a:pt x="16043" y="3176"/>
                    <a:pt x="16064" y="3176"/>
                    <a:pt x="16064" y="3176"/>
                  </a:cubicBezTo>
                  <a:cubicBezTo>
                    <a:pt x="16064" y="3196"/>
                    <a:pt x="16064" y="3196"/>
                    <a:pt x="16064" y="3196"/>
                  </a:cubicBezTo>
                  <a:cubicBezTo>
                    <a:pt x="16064" y="3217"/>
                    <a:pt x="16064" y="3217"/>
                    <a:pt x="16043" y="3217"/>
                  </a:cubicBezTo>
                  <a:lnTo>
                    <a:pt x="16043" y="3217"/>
                  </a:lnTo>
                  <a:cubicBezTo>
                    <a:pt x="16023" y="3238"/>
                    <a:pt x="16043" y="3258"/>
                    <a:pt x="16043" y="3278"/>
                  </a:cubicBezTo>
                  <a:lnTo>
                    <a:pt x="16043" y="3320"/>
                  </a:lnTo>
                  <a:cubicBezTo>
                    <a:pt x="16043" y="3340"/>
                    <a:pt x="16043" y="3381"/>
                    <a:pt x="16043" y="3402"/>
                  </a:cubicBezTo>
                  <a:cubicBezTo>
                    <a:pt x="16043" y="3422"/>
                    <a:pt x="16043" y="3463"/>
                    <a:pt x="16043" y="3484"/>
                  </a:cubicBezTo>
                  <a:cubicBezTo>
                    <a:pt x="16043" y="3484"/>
                    <a:pt x="16023" y="3504"/>
                    <a:pt x="16003" y="3524"/>
                  </a:cubicBezTo>
                  <a:lnTo>
                    <a:pt x="16023" y="3545"/>
                  </a:lnTo>
                  <a:cubicBezTo>
                    <a:pt x="16023" y="3545"/>
                    <a:pt x="16043" y="3545"/>
                    <a:pt x="16043" y="3566"/>
                  </a:cubicBezTo>
                  <a:cubicBezTo>
                    <a:pt x="16064" y="3566"/>
                    <a:pt x="16043" y="3586"/>
                    <a:pt x="16043" y="3586"/>
                  </a:cubicBezTo>
                  <a:cubicBezTo>
                    <a:pt x="16043" y="3606"/>
                    <a:pt x="16043" y="3606"/>
                    <a:pt x="16043" y="3606"/>
                  </a:cubicBezTo>
                  <a:cubicBezTo>
                    <a:pt x="16064" y="3606"/>
                    <a:pt x="16064" y="3606"/>
                    <a:pt x="16085" y="3606"/>
                  </a:cubicBezTo>
                  <a:cubicBezTo>
                    <a:pt x="16085" y="3627"/>
                    <a:pt x="16105" y="3627"/>
                    <a:pt x="16105" y="3647"/>
                  </a:cubicBezTo>
                  <a:lnTo>
                    <a:pt x="16105" y="3647"/>
                  </a:lnTo>
                  <a:cubicBezTo>
                    <a:pt x="16105" y="3668"/>
                    <a:pt x="16085" y="3647"/>
                    <a:pt x="16085" y="3647"/>
                  </a:cubicBezTo>
                  <a:lnTo>
                    <a:pt x="16085" y="3668"/>
                  </a:lnTo>
                  <a:lnTo>
                    <a:pt x="16105" y="3668"/>
                  </a:lnTo>
                  <a:cubicBezTo>
                    <a:pt x="16105" y="3688"/>
                    <a:pt x="16105" y="3688"/>
                    <a:pt x="16105" y="3709"/>
                  </a:cubicBezTo>
                  <a:lnTo>
                    <a:pt x="16125" y="3709"/>
                  </a:lnTo>
                  <a:cubicBezTo>
                    <a:pt x="16146" y="3709"/>
                    <a:pt x="16146" y="3709"/>
                    <a:pt x="16146" y="3709"/>
                  </a:cubicBezTo>
                  <a:cubicBezTo>
                    <a:pt x="16167" y="3709"/>
                    <a:pt x="16167" y="3688"/>
                    <a:pt x="16167" y="3688"/>
                  </a:cubicBezTo>
                  <a:cubicBezTo>
                    <a:pt x="16167" y="3668"/>
                    <a:pt x="16167" y="3668"/>
                    <a:pt x="16167" y="3668"/>
                  </a:cubicBezTo>
                  <a:cubicBezTo>
                    <a:pt x="16167" y="3668"/>
                    <a:pt x="16167" y="3668"/>
                    <a:pt x="16187" y="3668"/>
                  </a:cubicBezTo>
                  <a:lnTo>
                    <a:pt x="16187" y="3688"/>
                  </a:lnTo>
                  <a:cubicBezTo>
                    <a:pt x="16207" y="3688"/>
                    <a:pt x="16207" y="3709"/>
                    <a:pt x="16228" y="3709"/>
                  </a:cubicBezTo>
                  <a:cubicBezTo>
                    <a:pt x="16228" y="3709"/>
                    <a:pt x="16249" y="3709"/>
                    <a:pt x="16269" y="3709"/>
                  </a:cubicBezTo>
                  <a:lnTo>
                    <a:pt x="16289" y="3729"/>
                  </a:lnTo>
                  <a:lnTo>
                    <a:pt x="16269" y="3729"/>
                  </a:lnTo>
                  <a:lnTo>
                    <a:pt x="16249" y="3750"/>
                  </a:lnTo>
                  <a:lnTo>
                    <a:pt x="16249" y="3770"/>
                  </a:lnTo>
                  <a:lnTo>
                    <a:pt x="16228" y="3770"/>
                  </a:lnTo>
                  <a:lnTo>
                    <a:pt x="16207" y="3750"/>
                  </a:lnTo>
                  <a:cubicBezTo>
                    <a:pt x="16207" y="3750"/>
                    <a:pt x="16207" y="3729"/>
                    <a:pt x="16187" y="3729"/>
                  </a:cubicBezTo>
                  <a:cubicBezTo>
                    <a:pt x="16187" y="3750"/>
                    <a:pt x="16187" y="3750"/>
                    <a:pt x="16187" y="3750"/>
                  </a:cubicBezTo>
                  <a:cubicBezTo>
                    <a:pt x="16187" y="3750"/>
                    <a:pt x="16207" y="3770"/>
                    <a:pt x="16187" y="3770"/>
                  </a:cubicBezTo>
                  <a:cubicBezTo>
                    <a:pt x="16187" y="3791"/>
                    <a:pt x="16187" y="3791"/>
                    <a:pt x="16167" y="3791"/>
                  </a:cubicBezTo>
                  <a:cubicBezTo>
                    <a:pt x="16167" y="3791"/>
                    <a:pt x="16146" y="3811"/>
                    <a:pt x="16125" y="3811"/>
                  </a:cubicBezTo>
                  <a:cubicBezTo>
                    <a:pt x="16125" y="3811"/>
                    <a:pt x="16105" y="3791"/>
                    <a:pt x="16085" y="3791"/>
                  </a:cubicBezTo>
                  <a:lnTo>
                    <a:pt x="16085" y="3770"/>
                  </a:lnTo>
                  <a:lnTo>
                    <a:pt x="16064" y="3770"/>
                  </a:lnTo>
                  <a:cubicBezTo>
                    <a:pt x="16064" y="3791"/>
                    <a:pt x="16043" y="3791"/>
                    <a:pt x="16043" y="3811"/>
                  </a:cubicBezTo>
                  <a:cubicBezTo>
                    <a:pt x="16043" y="3811"/>
                    <a:pt x="16043" y="3832"/>
                    <a:pt x="16023" y="3852"/>
                  </a:cubicBezTo>
                  <a:cubicBezTo>
                    <a:pt x="16023" y="3852"/>
                    <a:pt x="16023" y="3852"/>
                    <a:pt x="16003" y="3852"/>
                  </a:cubicBezTo>
                  <a:cubicBezTo>
                    <a:pt x="16003" y="3852"/>
                    <a:pt x="16003" y="3852"/>
                    <a:pt x="15982" y="3852"/>
                  </a:cubicBezTo>
                  <a:lnTo>
                    <a:pt x="15961" y="3852"/>
                  </a:lnTo>
                  <a:lnTo>
                    <a:pt x="15941" y="3873"/>
                  </a:lnTo>
                  <a:cubicBezTo>
                    <a:pt x="15941" y="3873"/>
                    <a:pt x="15921" y="3873"/>
                    <a:pt x="15900" y="3893"/>
                  </a:cubicBezTo>
                  <a:cubicBezTo>
                    <a:pt x="15900" y="3893"/>
                    <a:pt x="15879" y="3873"/>
                    <a:pt x="15879" y="3893"/>
                  </a:cubicBezTo>
                  <a:cubicBezTo>
                    <a:pt x="15859" y="3893"/>
                    <a:pt x="15859" y="3893"/>
                    <a:pt x="15859" y="3893"/>
                  </a:cubicBezTo>
                  <a:cubicBezTo>
                    <a:pt x="15859" y="3914"/>
                    <a:pt x="15839" y="3893"/>
                    <a:pt x="15839" y="3893"/>
                  </a:cubicBezTo>
                  <a:lnTo>
                    <a:pt x="15839" y="3893"/>
                  </a:lnTo>
                  <a:cubicBezTo>
                    <a:pt x="15818" y="3873"/>
                    <a:pt x="15818" y="3873"/>
                    <a:pt x="15818" y="3873"/>
                  </a:cubicBezTo>
                  <a:cubicBezTo>
                    <a:pt x="15818" y="3852"/>
                    <a:pt x="15797" y="3852"/>
                    <a:pt x="15797" y="3852"/>
                  </a:cubicBezTo>
                  <a:cubicBezTo>
                    <a:pt x="15797" y="3832"/>
                    <a:pt x="15797" y="3832"/>
                    <a:pt x="15797" y="3832"/>
                  </a:cubicBezTo>
                  <a:cubicBezTo>
                    <a:pt x="15797" y="3811"/>
                    <a:pt x="15818" y="3811"/>
                    <a:pt x="15839" y="3811"/>
                  </a:cubicBezTo>
                  <a:lnTo>
                    <a:pt x="15879" y="3811"/>
                  </a:lnTo>
                  <a:lnTo>
                    <a:pt x="15900" y="3791"/>
                  </a:lnTo>
                  <a:lnTo>
                    <a:pt x="15900" y="3770"/>
                  </a:lnTo>
                  <a:cubicBezTo>
                    <a:pt x="15900" y="3770"/>
                    <a:pt x="15859" y="3770"/>
                    <a:pt x="15839" y="3770"/>
                  </a:cubicBezTo>
                  <a:lnTo>
                    <a:pt x="15818" y="3770"/>
                  </a:lnTo>
                  <a:cubicBezTo>
                    <a:pt x="15797" y="3770"/>
                    <a:pt x="15797" y="3750"/>
                    <a:pt x="15797" y="3750"/>
                  </a:cubicBezTo>
                  <a:cubicBezTo>
                    <a:pt x="15777" y="3729"/>
                    <a:pt x="15757" y="3750"/>
                    <a:pt x="15736" y="3729"/>
                  </a:cubicBezTo>
                  <a:cubicBezTo>
                    <a:pt x="15715" y="3729"/>
                    <a:pt x="15695" y="3729"/>
                    <a:pt x="15675" y="3729"/>
                  </a:cubicBezTo>
                  <a:cubicBezTo>
                    <a:pt x="15654" y="3729"/>
                    <a:pt x="15634" y="3750"/>
                    <a:pt x="15613" y="3750"/>
                  </a:cubicBezTo>
                  <a:cubicBezTo>
                    <a:pt x="15613" y="3750"/>
                    <a:pt x="15593" y="3750"/>
                    <a:pt x="15572" y="3750"/>
                  </a:cubicBezTo>
                  <a:lnTo>
                    <a:pt x="15552" y="3729"/>
                  </a:lnTo>
                  <a:cubicBezTo>
                    <a:pt x="15531" y="3729"/>
                    <a:pt x="15511" y="3729"/>
                    <a:pt x="15511" y="3729"/>
                  </a:cubicBezTo>
                  <a:cubicBezTo>
                    <a:pt x="15490" y="3729"/>
                    <a:pt x="15470" y="3750"/>
                    <a:pt x="15470" y="3750"/>
                  </a:cubicBezTo>
                  <a:lnTo>
                    <a:pt x="15470" y="3750"/>
                  </a:lnTo>
                  <a:cubicBezTo>
                    <a:pt x="15470" y="3770"/>
                    <a:pt x="15490" y="3770"/>
                    <a:pt x="15490" y="3770"/>
                  </a:cubicBezTo>
                  <a:cubicBezTo>
                    <a:pt x="15490" y="3791"/>
                    <a:pt x="15490" y="3791"/>
                    <a:pt x="15490" y="3791"/>
                  </a:cubicBezTo>
                  <a:lnTo>
                    <a:pt x="15490" y="3811"/>
                  </a:lnTo>
                  <a:lnTo>
                    <a:pt x="15470" y="3811"/>
                  </a:lnTo>
                  <a:cubicBezTo>
                    <a:pt x="15470" y="3811"/>
                    <a:pt x="15449" y="3811"/>
                    <a:pt x="15449" y="3791"/>
                  </a:cubicBezTo>
                  <a:cubicBezTo>
                    <a:pt x="15449" y="3791"/>
                    <a:pt x="15429" y="3791"/>
                    <a:pt x="15429" y="3811"/>
                  </a:cubicBezTo>
                  <a:lnTo>
                    <a:pt x="15429" y="3811"/>
                  </a:lnTo>
                  <a:lnTo>
                    <a:pt x="15449" y="3832"/>
                  </a:lnTo>
                  <a:cubicBezTo>
                    <a:pt x="15449" y="3832"/>
                    <a:pt x="15470" y="3832"/>
                    <a:pt x="15470" y="3852"/>
                  </a:cubicBezTo>
                  <a:lnTo>
                    <a:pt x="15449" y="3873"/>
                  </a:lnTo>
                  <a:lnTo>
                    <a:pt x="15429" y="3873"/>
                  </a:lnTo>
                  <a:lnTo>
                    <a:pt x="15408" y="3852"/>
                  </a:lnTo>
                  <a:lnTo>
                    <a:pt x="15388" y="3852"/>
                  </a:lnTo>
                  <a:lnTo>
                    <a:pt x="15367" y="3873"/>
                  </a:lnTo>
                  <a:lnTo>
                    <a:pt x="15367" y="3893"/>
                  </a:lnTo>
                  <a:cubicBezTo>
                    <a:pt x="15347" y="3893"/>
                    <a:pt x="15347" y="3873"/>
                    <a:pt x="15326" y="3893"/>
                  </a:cubicBezTo>
                  <a:cubicBezTo>
                    <a:pt x="15326" y="3893"/>
                    <a:pt x="15326" y="3893"/>
                    <a:pt x="15306" y="3914"/>
                  </a:cubicBezTo>
                  <a:cubicBezTo>
                    <a:pt x="15306" y="3914"/>
                    <a:pt x="15285" y="3914"/>
                    <a:pt x="15285" y="3893"/>
                  </a:cubicBezTo>
                  <a:cubicBezTo>
                    <a:pt x="15285" y="3893"/>
                    <a:pt x="15285" y="3893"/>
                    <a:pt x="15265" y="3893"/>
                  </a:cubicBezTo>
                  <a:cubicBezTo>
                    <a:pt x="15265" y="3873"/>
                    <a:pt x="15224" y="3893"/>
                    <a:pt x="15224" y="3873"/>
                  </a:cubicBezTo>
                  <a:cubicBezTo>
                    <a:pt x="15203" y="3873"/>
                    <a:pt x="15203" y="3852"/>
                    <a:pt x="15183" y="3852"/>
                  </a:cubicBezTo>
                  <a:cubicBezTo>
                    <a:pt x="15183" y="3852"/>
                    <a:pt x="15162" y="3852"/>
                    <a:pt x="15162" y="3873"/>
                  </a:cubicBezTo>
                  <a:lnTo>
                    <a:pt x="15162" y="3873"/>
                  </a:lnTo>
                  <a:lnTo>
                    <a:pt x="15162" y="3893"/>
                  </a:lnTo>
                  <a:cubicBezTo>
                    <a:pt x="15162" y="3914"/>
                    <a:pt x="15162" y="3914"/>
                    <a:pt x="15162" y="3914"/>
                  </a:cubicBezTo>
                  <a:cubicBezTo>
                    <a:pt x="15142" y="3934"/>
                    <a:pt x="15142" y="3934"/>
                    <a:pt x="15121" y="3934"/>
                  </a:cubicBezTo>
                  <a:lnTo>
                    <a:pt x="15101" y="3934"/>
                  </a:lnTo>
                  <a:cubicBezTo>
                    <a:pt x="15080" y="3934"/>
                    <a:pt x="15080" y="3914"/>
                    <a:pt x="15080" y="3893"/>
                  </a:cubicBezTo>
                  <a:cubicBezTo>
                    <a:pt x="15080" y="3893"/>
                    <a:pt x="15080" y="3873"/>
                    <a:pt x="15060" y="3873"/>
                  </a:cubicBezTo>
                  <a:lnTo>
                    <a:pt x="15039" y="3873"/>
                  </a:lnTo>
                  <a:lnTo>
                    <a:pt x="15019" y="3893"/>
                  </a:lnTo>
                  <a:cubicBezTo>
                    <a:pt x="15019" y="3893"/>
                    <a:pt x="15019" y="3893"/>
                    <a:pt x="14998" y="3893"/>
                  </a:cubicBezTo>
                  <a:cubicBezTo>
                    <a:pt x="14998" y="3893"/>
                    <a:pt x="14978" y="3893"/>
                    <a:pt x="14978" y="3873"/>
                  </a:cubicBezTo>
                  <a:lnTo>
                    <a:pt x="14957" y="3893"/>
                  </a:lnTo>
                  <a:lnTo>
                    <a:pt x="14937" y="3893"/>
                  </a:lnTo>
                  <a:cubicBezTo>
                    <a:pt x="14916" y="3914"/>
                    <a:pt x="14896" y="3914"/>
                    <a:pt x="14876" y="3914"/>
                  </a:cubicBezTo>
                  <a:cubicBezTo>
                    <a:pt x="14855" y="3914"/>
                    <a:pt x="14814" y="3934"/>
                    <a:pt x="14794" y="3934"/>
                  </a:cubicBezTo>
                  <a:cubicBezTo>
                    <a:pt x="14794" y="3934"/>
                    <a:pt x="14773" y="3955"/>
                    <a:pt x="14752" y="3955"/>
                  </a:cubicBezTo>
                  <a:lnTo>
                    <a:pt x="14732" y="3955"/>
                  </a:lnTo>
                  <a:cubicBezTo>
                    <a:pt x="14732" y="3975"/>
                    <a:pt x="14712" y="3996"/>
                    <a:pt x="14712" y="3996"/>
                  </a:cubicBezTo>
                  <a:cubicBezTo>
                    <a:pt x="14712" y="4016"/>
                    <a:pt x="14691" y="4057"/>
                    <a:pt x="14691" y="4057"/>
                  </a:cubicBezTo>
                  <a:cubicBezTo>
                    <a:pt x="14670" y="4078"/>
                    <a:pt x="14670" y="4098"/>
                    <a:pt x="14670" y="4119"/>
                  </a:cubicBezTo>
                  <a:cubicBezTo>
                    <a:pt x="14670" y="4119"/>
                    <a:pt x="14670" y="4139"/>
                    <a:pt x="14670" y="4160"/>
                  </a:cubicBezTo>
                  <a:cubicBezTo>
                    <a:pt x="14650" y="4160"/>
                    <a:pt x="14650" y="4180"/>
                    <a:pt x="14650" y="4201"/>
                  </a:cubicBezTo>
                  <a:cubicBezTo>
                    <a:pt x="14630" y="4201"/>
                    <a:pt x="14630" y="4221"/>
                    <a:pt x="14630" y="4242"/>
                  </a:cubicBezTo>
                  <a:cubicBezTo>
                    <a:pt x="14630" y="4242"/>
                    <a:pt x="14630" y="4262"/>
                    <a:pt x="14650" y="4283"/>
                  </a:cubicBezTo>
                  <a:cubicBezTo>
                    <a:pt x="14650" y="4303"/>
                    <a:pt x="14630" y="4323"/>
                    <a:pt x="14630" y="4344"/>
                  </a:cubicBezTo>
                  <a:cubicBezTo>
                    <a:pt x="14630" y="4344"/>
                    <a:pt x="14630" y="4365"/>
                    <a:pt x="14630" y="4385"/>
                  </a:cubicBezTo>
                  <a:cubicBezTo>
                    <a:pt x="14630" y="4385"/>
                    <a:pt x="14609" y="4385"/>
                    <a:pt x="14609" y="4405"/>
                  </a:cubicBezTo>
                  <a:lnTo>
                    <a:pt x="14609" y="4426"/>
                  </a:lnTo>
                  <a:cubicBezTo>
                    <a:pt x="14609" y="4447"/>
                    <a:pt x="14609" y="4467"/>
                    <a:pt x="14609" y="4467"/>
                  </a:cubicBezTo>
                  <a:cubicBezTo>
                    <a:pt x="14588" y="4467"/>
                    <a:pt x="14588" y="4487"/>
                    <a:pt x="14588" y="4487"/>
                  </a:cubicBezTo>
                  <a:lnTo>
                    <a:pt x="14588" y="4508"/>
                  </a:lnTo>
                  <a:lnTo>
                    <a:pt x="14568" y="4529"/>
                  </a:lnTo>
                  <a:lnTo>
                    <a:pt x="14548" y="4549"/>
                  </a:lnTo>
                  <a:lnTo>
                    <a:pt x="14548" y="4590"/>
                  </a:lnTo>
                  <a:cubicBezTo>
                    <a:pt x="14548" y="4611"/>
                    <a:pt x="14548" y="4651"/>
                    <a:pt x="14548" y="4672"/>
                  </a:cubicBezTo>
                  <a:cubicBezTo>
                    <a:pt x="14548" y="4693"/>
                    <a:pt x="14548" y="4733"/>
                    <a:pt x="14548" y="4754"/>
                  </a:cubicBezTo>
                  <a:cubicBezTo>
                    <a:pt x="14548" y="4775"/>
                    <a:pt x="14548" y="4795"/>
                    <a:pt x="14548" y="4795"/>
                  </a:cubicBezTo>
                  <a:cubicBezTo>
                    <a:pt x="14548" y="4815"/>
                    <a:pt x="14527" y="4815"/>
                    <a:pt x="14527" y="4815"/>
                  </a:cubicBezTo>
                  <a:cubicBezTo>
                    <a:pt x="14527" y="4836"/>
                    <a:pt x="14527" y="4836"/>
                    <a:pt x="14527" y="4857"/>
                  </a:cubicBezTo>
                  <a:lnTo>
                    <a:pt x="14527" y="4877"/>
                  </a:lnTo>
                  <a:cubicBezTo>
                    <a:pt x="14506" y="4897"/>
                    <a:pt x="14506" y="4918"/>
                    <a:pt x="14486" y="4918"/>
                  </a:cubicBezTo>
                  <a:cubicBezTo>
                    <a:pt x="14486" y="4939"/>
                    <a:pt x="14486" y="4939"/>
                    <a:pt x="14486" y="4959"/>
                  </a:cubicBezTo>
                  <a:lnTo>
                    <a:pt x="14486" y="4979"/>
                  </a:lnTo>
                  <a:lnTo>
                    <a:pt x="14466" y="4979"/>
                  </a:lnTo>
                  <a:cubicBezTo>
                    <a:pt x="14445" y="4979"/>
                    <a:pt x="14445" y="5000"/>
                    <a:pt x="14445" y="5000"/>
                  </a:cubicBezTo>
                  <a:cubicBezTo>
                    <a:pt x="14445" y="5020"/>
                    <a:pt x="14466" y="5041"/>
                    <a:pt x="14466" y="5061"/>
                  </a:cubicBezTo>
                  <a:lnTo>
                    <a:pt x="14445" y="5081"/>
                  </a:lnTo>
                  <a:cubicBezTo>
                    <a:pt x="14445" y="5081"/>
                    <a:pt x="14445" y="5102"/>
                    <a:pt x="14424" y="5102"/>
                  </a:cubicBezTo>
                  <a:cubicBezTo>
                    <a:pt x="14424" y="5102"/>
                    <a:pt x="14404" y="5123"/>
                    <a:pt x="14404" y="5143"/>
                  </a:cubicBezTo>
                  <a:lnTo>
                    <a:pt x="14404" y="5163"/>
                  </a:lnTo>
                  <a:lnTo>
                    <a:pt x="14424" y="5184"/>
                  </a:lnTo>
                  <a:cubicBezTo>
                    <a:pt x="14424" y="5184"/>
                    <a:pt x="14445" y="5184"/>
                    <a:pt x="14466" y="5205"/>
                  </a:cubicBezTo>
                  <a:lnTo>
                    <a:pt x="14486" y="5205"/>
                  </a:lnTo>
                  <a:lnTo>
                    <a:pt x="14506" y="5205"/>
                  </a:lnTo>
                  <a:cubicBezTo>
                    <a:pt x="14506" y="5205"/>
                    <a:pt x="14527" y="5205"/>
                    <a:pt x="14548" y="5205"/>
                  </a:cubicBezTo>
                  <a:cubicBezTo>
                    <a:pt x="14548" y="5205"/>
                    <a:pt x="14588" y="5225"/>
                    <a:pt x="14588" y="5205"/>
                  </a:cubicBezTo>
                  <a:cubicBezTo>
                    <a:pt x="14609" y="5205"/>
                    <a:pt x="14630" y="5184"/>
                    <a:pt x="14630" y="5184"/>
                  </a:cubicBezTo>
                  <a:cubicBezTo>
                    <a:pt x="14650" y="5184"/>
                    <a:pt x="14650" y="5184"/>
                    <a:pt x="14670" y="5184"/>
                  </a:cubicBezTo>
                  <a:cubicBezTo>
                    <a:pt x="14670" y="5184"/>
                    <a:pt x="14670" y="5205"/>
                    <a:pt x="14670" y="5225"/>
                  </a:cubicBezTo>
                  <a:cubicBezTo>
                    <a:pt x="14691" y="5225"/>
                    <a:pt x="14691" y="5245"/>
                    <a:pt x="14691" y="5245"/>
                  </a:cubicBezTo>
                  <a:cubicBezTo>
                    <a:pt x="14691" y="5245"/>
                    <a:pt x="14691" y="5266"/>
                    <a:pt x="14712" y="5266"/>
                  </a:cubicBezTo>
                  <a:cubicBezTo>
                    <a:pt x="14712" y="5287"/>
                    <a:pt x="14732" y="5307"/>
                    <a:pt x="14732" y="5307"/>
                  </a:cubicBezTo>
                  <a:cubicBezTo>
                    <a:pt x="14732" y="5327"/>
                    <a:pt x="14732" y="5369"/>
                    <a:pt x="14732" y="5369"/>
                  </a:cubicBezTo>
                  <a:cubicBezTo>
                    <a:pt x="14732" y="5389"/>
                    <a:pt x="14732" y="5389"/>
                    <a:pt x="14732" y="5409"/>
                  </a:cubicBezTo>
                  <a:cubicBezTo>
                    <a:pt x="14752" y="5409"/>
                    <a:pt x="14752" y="5409"/>
                    <a:pt x="14752" y="5409"/>
                  </a:cubicBezTo>
                  <a:cubicBezTo>
                    <a:pt x="14773" y="5409"/>
                    <a:pt x="14773" y="5389"/>
                    <a:pt x="14773" y="5389"/>
                  </a:cubicBezTo>
                  <a:lnTo>
                    <a:pt x="14794" y="5389"/>
                  </a:lnTo>
                  <a:lnTo>
                    <a:pt x="14794" y="5369"/>
                  </a:lnTo>
                  <a:lnTo>
                    <a:pt x="14794" y="5348"/>
                  </a:lnTo>
                  <a:lnTo>
                    <a:pt x="14773" y="5348"/>
                  </a:lnTo>
                  <a:cubicBezTo>
                    <a:pt x="14773" y="5327"/>
                    <a:pt x="14752" y="5327"/>
                    <a:pt x="14752" y="5327"/>
                  </a:cubicBezTo>
                  <a:cubicBezTo>
                    <a:pt x="14752" y="5307"/>
                    <a:pt x="14752" y="5307"/>
                    <a:pt x="14752" y="5307"/>
                  </a:cubicBezTo>
                  <a:cubicBezTo>
                    <a:pt x="14773" y="5287"/>
                    <a:pt x="14752" y="5287"/>
                    <a:pt x="14773" y="5266"/>
                  </a:cubicBezTo>
                  <a:lnTo>
                    <a:pt x="14773" y="5266"/>
                  </a:lnTo>
                  <a:cubicBezTo>
                    <a:pt x="14794" y="5266"/>
                    <a:pt x="14794" y="5266"/>
                    <a:pt x="14814" y="5266"/>
                  </a:cubicBezTo>
                  <a:lnTo>
                    <a:pt x="14814" y="5287"/>
                  </a:lnTo>
                  <a:lnTo>
                    <a:pt x="14814" y="5307"/>
                  </a:lnTo>
                  <a:lnTo>
                    <a:pt x="14814" y="5327"/>
                  </a:lnTo>
                  <a:cubicBezTo>
                    <a:pt x="14834" y="5327"/>
                    <a:pt x="14834" y="5348"/>
                    <a:pt x="14834" y="5348"/>
                  </a:cubicBezTo>
                  <a:lnTo>
                    <a:pt x="14855" y="5348"/>
                  </a:lnTo>
                  <a:lnTo>
                    <a:pt x="14876" y="5327"/>
                  </a:lnTo>
                  <a:lnTo>
                    <a:pt x="14896" y="5327"/>
                  </a:lnTo>
                  <a:cubicBezTo>
                    <a:pt x="14896" y="5348"/>
                    <a:pt x="14896" y="5348"/>
                    <a:pt x="14896" y="5348"/>
                  </a:cubicBezTo>
                  <a:cubicBezTo>
                    <a:pt x="14896" y="5369"/>
                    <a:pt x="14896" y="5369"/>
                    <a:pt x="14896" y="5369"/>
                  </a:cubicBezTo>
                  <a:cubicBezTo>
                    <a:pt x="14896" y="5369"/>
                    <a:pt x="14876" y="5369"/>
                    <a:pt x="14876" y="5389"/>
                  </a:cubicBezTo>
                  <a:cubicBezTo>
                    <a:pt x="14855" y="5389"/>
                    <a:pt x="14876" y="5409"/>
                    <a:pt x="14855" y="5409"/>
                  </a:cubicBezTo>
                  <a:cubicBezTo>
                    <a:pt x="14855" y="5430"/>
                    <a:pt x="14855" y="5430"/>
                    <a:pt x="14855" y="5430"/>
                  </a:cubicBezTo>
                  <a:lnTo>
                    <a:pt x="14855" y="5451"/>
                  </a:lnTo>
                  <a:cubicBezTo>
                    <a:pt x="14855" y="5471"/>
                    <a:pt x="14876" y="5471"/>
                    <a:pt x="14876" y="5471"/>
                  </a:cubicBezTo>
                  <a:cubicBezTo>
                    <a:pt x="14876" y="5471"/>
                    <a:pt x="14876" y="5451"/>
                    <a:pt x="14896" y="5451"/>
                  </a:cubicBezTo>
                  <a:cubicBezTo>
                    <a:pt x="14896" y="5430"/>
                    <a:pt x="14916" y="5430"/>
                    <a:pt x="14916" y="5430"/>
                  </a:cubicBezTo>
                  <a:lnTo>
                    <a:pt x="14937" y="5409"/>
                  </a:lnTo>
                  <a:lnTo>
                    <a:pt x="14957" y="5409"/>
                  </a:lnTo>
                  <a:lnTo>
                    <a:pt x="14957" y="5409"/>
                  </a:lnTo>
                  <a:cubicBezTo>
                    <a:pt x="14957" y="5389"/>
                    <a:pt x="14957" y="5369"/>
                    <a:pt x="14957" y="5369"/>
                  </a:cubicBezTo>
                  <a:cubicBezTo>
                    <a:pt x="14957" y="5369"/>
                    <a:pt x="14978" y="5348"/>
                    <a:pt x="14978" y="5369"/>
                  </a:cubicBezTo>
                  <a:cubicBezTo>
                    <a:pt x="14978" y="5369"/>
                    <a:pt x="14978" y="5369"/>
                    <a:pt x="14978" y="5389"/>
                  </a:cubicBezTo>
                  <a:lnTo>
                    <a:pt x="14978" y="5409"/>
                  </a:lnTo>
                  <a:cubicBezTo>
                    <a:pt x="14978" y="5430"/>
                    <a:pt x="14998" y="5430"/>
                    <a:pt x="14998" y="5430"/>
                  </a:cubicBezTo>
                  <a:cubicBezTo>
                    <a:pt x="14998" y="5430"/>
                    <a:pt x="14998" y="5451"/>
                    <a:pt x="15019" y="5430"/>
                  </a:cubicBezTo>
                  <a:lnTo>
                    <a:pt x="15019" y="5409"/>
                  </a:lnTo>
                  <a:cubicBezTo>
                    <a:pt x="15019" y="5389"/>
                    <a:pt x="14998" y="5369"/>
                    <a:pt x="14998" y="5348"/>
                  </a:cubicBezTo>
                  <a:lnTo>
                    <a:pt x="15019" y="5327"/>
                  </a:lnTo>
                  <a:cubicBezTo>
                    <a:pt x="15019" y="5327"/>
                    <a:pt x="15019" y="5307"/>
                    <a:pt x="14998" y="5307"/>
                  </a:cubicBezTo>
                  <a:cubicBezTo>
                    <a:pt x="14998" y="5287"/>
                    <a:pt x="14978" y="5287"/>
                    <a:pt x="14978" y="5287"/>
                  </a:cubicBezTo>
                  <a:cubicBezTo>
                    <a:pt x="14978" y="5266"/>
                    <a:pt x="14957" y="5266"/>
                    <a:pt x="14957" y="5245"/>
                  </a:cubicBezTo>
                  <a:cubicBezTo>
                    <a:pt x="14978" y="5245"/>
                    <a:pt x="14978" y="5245"/>
                    <a:pt x="14978" y="5245"/>
                  </a:cubicBezTo>
                  <a:cubicBezTo>
                    <a:pt x="14998" y="5225"/>
                    <a:pt x="14998" y="5245"/>
                    <a:pt x="15019" y="5245"/>
                  </a:cubicBezTo>
                  <a:lnTo>
                    <a:pt x="15060" y="5245"/>
                  </a:lnTo>
                  <a:cubicBezTo>
                    <a:pt x="15080" y="5245"/>
                    <a:pt x="15101" y="5245"/>
                    <a:pt x="15101" y="5245"/>
                  </a:cubicBezTo>
                  <a:cubicBezTo>
                    <a:pt x="15121" y="5245"/>
                    <a:pt x="15121" y="5266"/>
                    <a:pt x="15142" y="5266"/>
                  </a:cubicBezTo>
                  <a:lnTo>
                    <a:pt x="15162" y="5287"/>
                  </a:lnTo>
                  <a:cubicBezTo>
                    <a:pt x="15162" y="5287"/>
                    <a:pt x="15183" y="5287"/>
                    <a:pt x="15203" y="5287"/>
                  </a:cubicBezTo>
                  <a:cubicBezTo>
                    <a:pt x="15224" y="5307"/>
                    <a:pt x="15224" y="5327"/>
                    <a:pt x="15244" y="5348"/>
                  </a:cubicBezTo>
                  <a:cubicBezTo>
                    <a:pt x="15265" y="5348"/>
                    <a:pt x="15285" y="5369"/>
                    <a:pt x="15306" y="5369"/>
                  </a:cubicBezTo>
                  <a:lnTo>
                    <a:pt x="15347" y="5389"/>
                  </a:lnTo>
                  <a:cubicBezTo>
                    <a:pt x="15367" y="5389"/>
                    <a:pt x="15388" y="5389"/>
                    <a:pt x="15388" y="5409"/>
                  </a:cubicBezTo>
                  <a:cubicBezTo>
                    <a:pt x="15388" y="5409"/>
                    <a:pt x="15388" y="5430"/>
                    <a:pt x="15408" y="5430"/>
                  </a:cubicBezTo>
                  <a:cubicBezTo>
                    <a:pt x="15408" y="5430"/>
                    <a:pt x="15408" y="5451"/>
                    <a:pt x="15429" y="5451"/>
                  </a:cubicBezTo>
                  <a:lnTo>
                    <a:pt x="15449" y="5451"/>
                  </a:lnTo>
                  <a:cubicBezTo>
                    <a:pt x="15470" y="5471"/>
                    <a:pt x="15470" y="5471"/>
                    <a:pt x="15470" y="5491"/>
                  </a:cubicBezTo>
                  <a:cubicBezTo>
                    <a:pt x="15470" y="5491"/>
                    <a:pt x="15470" y="5491"/>
                    <a:pt x="15449" y="5512"/>
                  </a:cubicBezTo>
                  <a:cubicBezTo>
                    <a:pt x="15449" y="5512"/>
                    <a:pt x="15449" y="5491"/>
                    <a:pt x="15429" y="5512"/>
                  </a:cubicBezTo>
                  <a:cubicBezTo>
                    <a:pt x="15429" y="5512"/>
                    <a:pt x="15429" y="5512"/>
                    <a:pt x="15449" y="5533"/>
                  </a:cubicBezTo>
                  <a:cubicBezTo>
                    <a:pt x="15449" y="5533"/>
                    <a:pt x="15449" y="5533"/>
                    <a:pt x="15470" y="5553"/>
                  </a:cubicBezTo>
                  <a:cubicBezTo>
                    <a:pt x="15470" y="5553"/>
                    <a:pt x="15490" y="5553"/>
                    <a:pt x="15511" y="5553"/>
                  </a:cubicBezTo>
                  <a:cubicBezTo>
                    <a:pt x="15511" y="5553"/>
                    <a:pt x="15511" y="5594"/>
                    <a:pt x="15531" y="5594"/>
                  </a:cubicBezTo>
                  <a:cubicBezTo>
                    <a:pt x="15531" y="5615"/>
                    <a:pt x="15531" y="5635"/>
                    <a:pt x="15531" y="5635"/>
                  </a:cubicBezTo>
                  <a:cubicBezTo>
                    <a:pt x="15552" y="5655"/>
                    <a:pt x="15552" y="5676"/>
                    <a:pt x="15572" y="5676"/>
                  </a:cubicBezTo>
                  <a:cubicBezTo>
                    <a:pt x="15572" y="5676"/>
                    <a:pt x="15572" y="5676"/>
                    <a:pt x="15593" y="5696"/>
                  </a:cubicBezTo>
                  <a:cubicBezTo>
                    <a:pt x="15593" y="5696"/>
                    <a:pt x="15613" y="5696"/>
                    <a:pt x="15613" y="5717"/>
                  </a:cubicBezTo>
                  <a:cubicBezTo>
                    <a:pt x="15613" y="5717"/>
                    <a:pt x="15613" y="5717"/>
                    <a:pt x="15613" y="5737"/>
                  </a:cubicBezTo>
                  <a:cubicBezTo>
                    <a:pt x="15634" y="5737"/>
                    <a:pt x="15634" y="5758"/>
                    <a:pt x="15634" y="5758"/>
                  </a:cubicBezTo>
                  <a:cubicBezTo>
                    <a:pt x="15634" y="5778"/>
                    <a:pt x="15654" y="5778"/>
                    <a:pt x="15654" y="5799"/>
                  </a:cubicBezTo>
                  <a:lnTo>
                    <a:pt x="15654" y="5819"/>
                  </a:lnTo>
                  <a:cubicBezTo>
                    <a:pt x="15634" y="5840"/>
                    <a:pt x="15654" y="5840"/>
                    <a:pt x="15654" y="5860"/>
                  </a:cubicBezTo>
                  <a:lnTo>
                    <a:pt x="15654" y="5881"/>
                  </a:lnTo>
                  <a:lnTo>
                    <a:pt x="15634" y="5901"/>
                  </a:lnTo>
                  <a:cubicBezTo>
                    <a:pt x="15634" y="5901"/>
                    <a:pt x="15634" y="5901"/>
                    <a:pt x="15634" y="5922"/>
                  </a:cubicBezTo>
                  <a:lnTo>
                    <a:pt x="15654" y="5922"/>
                  </a:lnTo>
                  <a:cubicBezTo>
                    <a:pt x="15654" y="5922"/>
                    <a:pt x="15654" y="5942"/>
                    <a:pt x="15654" y="5963"/>
                  </a:cubicBezTo>
                  <a:cubicBezTo>
                    <a:pt x="15654" y="5963"/>
                    <a:pt x="15654" y="6004"/>
                    <a:pt x="15675" y="6024"/>
                  </a:cubicBezTo>
                  <a:cubicBezTo>
                    <a:pt x="15675" y="6045"/>
                    <a:pt x="15695" y="6065"/>
                    <a:pt x="15695" y="6086"/>
                  </a:cubicBezTo>
                  <a:cubicBezTo>
                    <a:pt x="15715" y="6086"/>
                    <a:pt x="15736" y="6106"/>
                    <a:pt x="15736" y="6127"/>
                  </a:cubicBezTo>
                  <a:cubicBezTo>
                    <a:pt x="15736" y="6147"/>
                    <a:pt x="15736" y="6168"/>
                    <a:pt x="15736" y="6168"/>
                  </a:cubicBezTo>
                  <a:cubicBezTo>
                    <a:pt x="15757" y="6188"/>
                    <a:pt x="15757" y="6188"/>
                    <a:pt x="15777" y="6209"/>
                  </a:cubicBezTo>
                  <a:cubicBezTo>
                    <a:pt x="15777" y="6209"/>
                    <a:pt x="15797" y="6209"/>
                    <a:pt x="15797" y="6229"/>
                  </a:cubicBezTo>
                  <a:lnTo>
                    <a:pt x="15797" y="6250"/>
                  </a:lnTo>
                  <a:cubicBezTo>
                    <a:pt x="15797" y="6270"/>
                    <a:pt x="15797" y="6270"/>
                    <a:pt x="15797" y="6291"/>
                  </a:cubicBezTo>
                  <a:lnTo>
                    <a:pt x="15818" y="6311"/>
                  </a:lnTo>
                  <a:cubicBezTo>
                    <a:pt x="15839" y="6332"/>
                    <a:pt x="15859" y="6332"/>
                    <a:pt x="15859" y="6352"/>
                  </a:cubicBezTo>
                  <a:cubicBezTo>
                    <a:pt x="15859" y="6352"/>
                    <a:pt x="15859" y="6373"/>
                    <a:pt x="15859" y="6393"/>
                  </a:cubicBezTo>
                  <a:cubicBezTo>
                    <a:pt x="15859" y="6393"/>
                    <a:pt x="15859" y="6414"/>
                    <a:pt x="15879" y="6434"/>
                  </a:cubicBezTo>
                  <a:cubicBezTo>
                    <a:pt x="15879" y="6454"/>
                    <a:pt x="15900" y="6454"/>
                    <a:pt x="15900" y="6475"/>
                  </a:cubicBezTo>
                  <a:cubicBezTo>
                    <a:pt x="15921" y="6475"/>
                    <a:pt x="15941" y="6516"/>
                    <a:pt x="15941" y="6516"/>
                  </a:cubicBezTo>
                  <a:cubicBezTo>
                    <a:pt x="15941" y="6557"/>
                    <a:pt x="15941" y="6618"/>
                    <a:pt x="15941" y="6639"/>
                  </a:cubicBezTo>
                  <a:cubicBezTo>
                    <a:pt x="15941" y="6660"/>
                    <a:pt x="15921" y="6700"/>
                    <a:pt x="15921" y="6700"/>
                  </a:cubicBezTo>
                  <a:cubicBezTo>
                    <a:pt x="15921" y="6721"/>
                    <a:pt x="15900" y="6762"/>
                    <a:pt x="15900" y="6782"/>
                  </a:cubicBezTo>
                  <a:cubicBezTo>
                    <a:pt x="15900" y="6803"/>
                    <a:pt x="15900" y="6844"/>
                    <a:pt x="15900" y="6864"/>
                  </a:cubicBezTo>
                  <a:cubicBezTo>
                    <a:pt x="15921" y="6885"/>
                    <a:pt x="15921" y="6926"/>
                    <a:pt x="15921" y="6946"/>
                  </a:cubicBezTo>
                  <a:cubicBezTo>
                    <a:pt x="15921" y="6967"/>
                    <a:pt x="15921" y="6988"/>
                    <a:pt x="15921" y="7008"/>
                  </a:cubicBezTo>
                  <a:cubicBezTo>
                    <a:pt x="15921" y="7028"/>
                    <a:pt x="15900" y="7069"/>
                    <a:pt x="15921" y="7090"/>
                  </a:cubicBezTo>
                  <a:cubicBezTo>
                    <a:pt x="15921" y="7110"/>
                    <a:pt x="15941" y="7151"/>
                    <a:pt x="15941" y="7192"/>
                  </a:cubicBezTo>
                  <a:cubicBezTo>
                    <a:pt x="15941" y="7212"/>
                    <a:pt x="15941" y="7274"/>
                    <a:pt x="15941" y="7294"/>
                  </a:cubicBezTo>
                  <a:cubicBezTo>
                    <a:pt x="15941" y="7315"/>
                    <a:pt x="15921" y="7356"/>
                    <a:pt x="15921" y="7376"/>
                  </a:cubicBezTo>
                  <a:cubicBezTo>
                    <a:pt x="15921" y="7397"/>
                    <a:pt x="15900" y="7438"/>
                    <a:pt x="15900" y="7438"/>
                  </a:cubicBezTo>
                  <a:cubicBezTo>
                    <a:pt x="15900" y="7458"/>
                    <a:pt x="15879" y="7479"/>
                    <a:pt x="15859" y="7500"/>
                  </a:cubicBezTo>
                  <a:cubicBezTo>
                    <a:pt x="15859" y="7500"/>
                    <a:pt x="15859" y="7520"/>
                    <a:pt x="15859" y="7540"/>
                  </a:cubicBezTo>
                  <a:cubicBezTo>
                    <a:pt x="15859" y="7561"/>
                    <a:pt x="15859" y="7582"/>
                    <a:pt x="15859" y="7582"/>
                  </a:cubicBezTo>
                  <a:cubicBezTo>
                    <a:pt x="15859" y="7602"/>
                    <a:pt x="15859" y="7602"/>
                    <a:pt x="15859" y="7602"/>
                  </a:cubicBezTo>
                  <a:cubicBezTo>
                    <a:pt x="15859" y="7622"/>
                    <a:pt x="15839" y="7622"/>
                    <a:pt x="15839" y="7643"/>
                  </a:cubicBezTo>
                  <a:cubicBezTo>
                    <a:pt x="15839" y="7643"/>
                    <a:pt x="15818" y="7643"/>
                    <a:pt x="15818" y="7664"/>
                  </a:cubicBezTo>
                  <a:lnTo>
                    <a:pt x="15818" y="7684"/>
                  </a:lnTo>
                  <a:cubicBezTo>
                    <a:pt x="15818" y="7684"/>
                    <a:pt x="15818" y="7704"/>
                    <a:pt x="15818" y="7725"/>
                  </a:cubicBezTo>
                  <a:lnTo>
                    <a:pt x="15818" y="7746"/>
                  </a:lnTo>
                  <a:cubicBezTo>
                    <a:pt x="15839" y="7766"/>
                    <a:pt x="15859" y="7766"/>
                    <a:pt x="15859" y="7766"/>
                  </a:cubicBezTo>
                  <a:cubicBezTo>
                    <a:pt x="15859" y="7766"/>
                    <a:pt x="15859" y="7786"/>
                    <a:pt x="15859" y="7807"/>
                  </a:cubicBezTo>
                  <a:cubicBezTo>
                    <a:pt x="15859" y="7807"/>
                    <a:pt x="15839" y="7807"/>
                    <a:pt x="15839" y="7827"/>
                  </a:cubicBezTo>
                  <a:cubicBezTo>
                    <a:pt x="15818" y="7827"/>
                    <a:pt x="15818" y="7848"/>
                    <a:pt x="15818" y="7848"/>
                  </a:cubicBezTo>
                  <a:lnTo>
                    <a:pt x="15818" y="7868"/>
                  </a:lnTo>
                  <a:cubicBezTo>
                    <a:pt x="15818" y="7889"/>
                    <a:pt x="15797" y="7909"/>
                    <a:pt x="15797" y="7909"/>
                  </a:cubicBezTo>
                  <a:cubicBezTo>
                    <a:pt x="15797" y="7930"/>
                    <a:pt x="15797" y="7930"/>
                    <a:pt x="15777" y="7950"/>
                  </a:cubicBezTo>
                  <a:lnTo>
                    <a:pt x="15757" y="7971"/>
                  </a:lnTo>
                  <a:lnTo>
                    <a:pt x="15736" y="7991"/>
                  </a:lnTo>
                  <a:lnTo>
                    <a:pt x="15715" y="8012"/>
                  </a:lnTo>
                  <a:cubicBezTo>
                    <a:pt x="15715" y="8012"/>
                    <a:pt x="15715" y="8032"/>
                    <a:pt x="15695" y="8032"/>
                  </a:cubicBezTo>
                  <a:cubicBezTo>
                    <a:pt x="15695" y="8032"/>
                    <a:pt x="15695" y="8032"/>
                    <a:pt x="15695" y="8053"/>
                  </a:cubicBezTo>
                  <a:cubicBezTo>
                    <a:pt x="15675" y="8053"/>
                    <a:pt x="15675" y="8053"/>
                    <a:pt x="15675" y="8053"/>
                  </a:cubicBezTo>
                  <a:cubicBezTo>
                    <a:pt x="15675" y="8073"/>
                    <a:pt x="15675" y="8073"/>
                    <a:pt x="15675" y="8094"/>
                  </a:cubicBezTo>
                  <a:lnTo>
                    <a:pt x="15675" y="8094"/>
                  </a:lnTo>
                  <a:cubicBezTo>
                    <a:pt x="15654" y="8094"/>
                    <a:pt x="15654" y="8094"/>
                    <a:pt x="15654" y="8094"/>
                  </a:cubicBezTo>
                  <a:cubicBezTo>
                    <a:pt x="15634" y="8094"/>
                    <a:pt x="15634" y="8094"/>
                    <a:pt x="15613" y="8094"/>
                  </a:cubicBezTo>
                  <a:cubicBezTo>
                    <a:pt x="15613" y="8094"/>
                    <a:pt x="15613" y="8094"/>
                    <a:pt x="15613" y="8114"/>
                  </a:cubicBezTo>
                  <a:lnTo>
                    <a:pt x="15593" y="8135"/>
                  </a:lnTo>
                  <a:cubicBezTo>
                    <a:pt x="15572" y="8135"/>
                    <a:pt x="15572" y="8135"/>
                    <a:pt x="15572" y="8114"/>
                  </a:cubicBezTo>
                  <a:cubicBezTo>
                    <a:pt x="15552" y="8114"/>
                    <a:pt x="15552" y="8114"/>
                    <a:pt x="15552" y="8114"/>
                  </a:cubicBezTo>
                  <a:lnTo>
                    <a:pt x="15552" y="8094"/>
                  </a:lnTo>
                  <a:lnTo>
                    <a:pt x="15531" y="8094"/>
                  </a:lnTo>
                  <a:lnTo>
                    <a:pt x="15511" y="8094"/>
                  </a:lnTo>
                  <a:cubicBezTo>
                    <a:pt x="15490" y="8094"/>
                    <a:pt x="15490" y="8073"/>
                    <a:pt x="15490" y="8073"/>
                  </a:cubicBezTo>
                  <a:lnTo>
                    <a:pt x="15470" y="8073"/>
                  </a:lnTo>
                  <a:cubicBezTo>
                    <a:pt x="15449" y="8073"/>
                    <a:pt x="15449" y="8073"/>
                    <a:pt x="15449" y="8073"/>
                  </a:cubicBezTo>
                  <a:cubicBezTo>
                    <a:pt x="15449" y="8073"/>
                    <a:pt x="15449" y="8053"/>
                    <a:pt x="15429" y="8053"/>
                  </a:cubicBezTo>
                  <a:lnTo>
                    <a:pt x="15429" y="8032"/>
                  </a:lnTo>
                  <a:cubicBezTo>
                    <a:pt x="15429" y="8012"/>
                    <a:pt x="15429" y="8012"/>
                    <a:pt x="15408" y="8012"/>
                  </a:cubicBezTo>
                  <a:lnTo>
                    <a:pt x="15388" y="8012"/>
                  </a:lnTo>
                  <a:cubicBezTo>
                    <a:pt x="15388" y="8012"/>
                    <a:pt x="15388" y="8012"/>
                    <a:pt x="15388" y="8032"/>
                  </a:cubicBezTo>
                  <a:lnTo>
                    <a:pt x="15367" y="8032"/>
                  </a:lnTo>
                  <a:cubicBezTo>
                    <a:pt x="15347" y="8032"/>
                    <a:pt x="15347" y="8012"/>
                    <a:pt x="15347" y="8032"/>
                  </a:cubicBezTo>
                  <a:cubicBezTo>
                    <a:pt x="15326" y="8032"/>
                    <a:pt x="15326" y="8032"/>
                    <a:pt x="15326" y="8032"/>
                  </a:cubicBezTo>
                  <a:cubicBezTo>
                    <a:pt x="15326" y="8053"/>
                    <a:pt x="15326" y="8053"/>
                    <a:pt x="15326" y="8073"/>
                  </a:cubicBezTo>
                  <a:cubicBezTo>
                    <a:pt x="15326" y="8073"/>
                    <a:pt x="15326" y="8073"/>
                    <a:pt x="15306" y="8073"/>
                  </a:cubicBezTo>
                  <a:lnTo>
                    <a:pt x="15306" y="8094"/>
                  </a:lnTo>
                  <a:cubicBezTo>
                    <a:pt x="15306" y="8114"/>
                    <a:pt x="15326" y="8114"/>
                    <a:pt x="15326" y="8135"/>
                  </a:cubicBezTo>
                  <a:lnTo>
                    <a:pt x="15326" y="8155"/>
                  </a:lnTo>
                  <a:cubicBezTo>
                    <a:pt x="15306" y="8155"/>
                    <a:pt x="15306" y="8155"/>
                    <a:pt x="15306" y="8155"/>
                  </a:cubicBezTo>
                  <a:cubicBezTo>
                    <a:pt x="15285" y="8155"/>
                    <a:pt x="15285" y="8155"/>
                    <a:pt x="15285" y="8135"/>
                  </a:cubicBezTo>
                  <a:lnTo>
                    <a:pt x="15265" y="8135"/>
                  </a:lnTo>
                  <a:cubicBezTo>
                    <a:pt x="15265" y="8155"/>
                    <a:pt x="15244" y="8155"/>
                    <a:pt x="15244" y="8155"/>
                  </a:cubicBezTo>
                  <a:cubicBezTo>
                    <a:pt x="15244" y="8155"/>
                    <a:pt x="15244" y="8155"/>
                    <a:pt x="15244" y="8176"/>
                  </a:cubicBezTo>
                  <a:lnTo>
                    <a:pt x="15224" y="8176"/>
                  </a:lnTo>
                  <a:cubicBezTo>
                    <a:pt x="15224" y="8176"/>
                    <a:pt x="15224" y="8176"/>
                    <a:pt x="15203" y="8176"/>
                  </a:cubicBezTo>
                  <a:cubicBezTo>
                    <a:pt x="15203" y="8155"/>
                    <a:pt x="15224" y="8155"/>
                    <a:pt x="15224" y="8135"/>
                  </a:cubicBezTo>
                  <a:cubicBezTo>
                    <a:pt x="15224" y="8135"/>
                    <a:pt x="15224" y="8135"/>
                    <a:pt x="15203" y="8135"/>
                  </a:cubicBezTo>
                  <a:cubicBezTo>
                    <a:pt x="15224" y="8114"/>
                    <a:pt x="15224" y="8094"/>
                    <a:pt x="15224" y="8094"/>
                  </a:cubicBezTo>
                  <a:cubicBezTo>
                    <a:pt x="15224" y="8094"/>
                    <a:pt x="15244" y="8073"/>
                    <a:pt x="15244" y="8053"/>
                  </a:cubicBezTo>
                  <a:cubicBezTo>
                    <a:pt x="15244" y="8053"/>
                    <a:pt x="15244" y="8032"/>
                    <a:pt x="15244" y="8012"/>
                  </a:cubicBezTo>
                  <a:cubicBezTo>
                    <a:pt x="15244" y="7991"/>
                    <a:pt x="15244" y="7971"/>
                    <a:pt x="15244" y="7950"/>
                  </a:cubicBezTo>
                  <a:cubicBezTo>
                    <a:pt x="15244" y="7950"/>
                    <a:pt x="15244" y="7930"/>
                    <a:pt x="15224" y="7909"/>
                  </a:cubicBezTo>
                  <a:lnTo>
                    <a:pt x="15203" y="7889"/>
                  </a:lnTo>
                  <a:cubicBezTo>
                    <a:pt x="15203" y="7868"/>
                    <a:pt x="15203" y="7848"/>
                    <a:pt x="15203" y="7827"/>
                  </a:cubicBezTo>
                  <a:cubicBezTo>
                    <a:pt x="15183" y="7827"/>
                    <a:pt x="15183" y="7786"/>
                    <a:pt x="15162" y="7766"/>
                  </a:cubicBezTo>
                  <a:cubicBezTo>
                    <a:pt x="15162" y="7766"/>
                    <a:pt x="15162" y="7746"/>
                    <a:pt x="15162" y="7725"/>
                  </a:cubicBezTo>
                  <a:lnTo>
                    <a:pt x="15142" y="7704"/>
                  </a:lnTo>
                  <a:cubicBezTo>
                    <a:pt x="15142" y="7684"/>
                    <a:pt x="15121" y="7684"/>
                    <a:pt x="15121" y="7684"/>
                  </a:cubicBezTo>
                  <a:lnTo>
                    <a:pt x="15101" y="7664"/>
                  </a:lnTo>
                  <a:cubicBezTo>
                    <a:pt x="15101" y="7643"/>
                    <a:pt x="15080" y="7643"/>
                    <a:pt x="15080" y="7643"/>
                  </a:cubicBezTo>
                  <a:cubicBezTo>
                    <a:pt x="15080" y="7622"/>
                    <a:pt x="15101" y="7602"/>
                    <a:pt x="15101" y="7582"/>
                  </a:cubicBezTo>
                  <a:cubicBezTo>
                    <a:pt x="15101" y="7582"/>
                    <a:pt x="15101" y="7561"/>
                    <a:pt x="15101" y="7540"/>
                  </a:cubicBezTo>
                  <a:lnTo>
                    <a:pt x="15101" y="7520"/>
                  </a:lnTo>
                  <a:cubicBezTo>
                    <a:pt x="15101" y="7500"/>
                    <a:pt x="15121" y="7500"/>
                    <a:pt x="15142" y="7500"/>
                  </a:cubicBezTo>
                  <a:lnTo>
                    <a:pt x="15162" y="7500"/>
                  </a:lnTo>
                  <a:cubicBezTo>
                    <a:pt x="15183" y="7500"/>
                    <a:pt x="15183" y="7520"/>
                    <a:pt x="15203" y="7520"/>
                  </a:cubicBezTo>
                  <a:cubicBezTo>
                    <a:pt x="15203" y="7520"/>
                    <a:pt x="15224" y="7520"/>
                    <a:pt x="15244" y="7540"/>
                  </a:cubicBezTo>
                  <a:lnTo>
                    <a:pt x="15285" y="7561"/>
                  </a:lnTo>
                  <a:cubicBezTo>
                    <a:pt x="15306" y="7561"/>
                    <a:pt x="15306" y="7540"/>
                    <a:pt x="15306" y="7540"/>
                  </a:cubicBezTo>
                  <a:cubicBezTo>
                    <a:pt x="15306" y="7540"/>
                    <a:pt x="15326" y="7561"/>
                    <a:pt x="15326" y="7540"/>
                  </a:cubicBezTo>
                  <a:cubicBezTo>
                    <a:pt x="15347" y="7540"/>
                    <a:pt x="15347" y="7520"/>
                    <a:pt x="15347" y="7520"/>
                  </a:cubicBezTo>
                  <a:cubicBezTo>
                    <a:pt x="15347" y="7500"/>
                    <a:pt x="15326" y="7500"/>
                    <a:pt x="15326" y="7479"/>
                  </a:cubicBezTo>
                  <a:cubicBezTo>
                    <a:pt x="15306" y="7479"/>
                    <a:pt x="15326" y="7438"/>
                    <a:pt x="15326" y="7418"/>
                  </a:cubicBezTo>
                  <a:cubicBezTo>
                    <a:pt x="15326" y="7397"/>
                    <a:pt x="15326" y="7356"/>
                    <a:pt x="15326" y="7336"/>
                  </a:cubicBezTo>
                  <a:cubicBezTo>
                    <a:pt x="15326" y="7315"/>
                    <a:pt x="15326" y="7274"/>
                    <a:pt x="15326" y="7274"/>
                  </a:cubicBezTo>
                  <a:cubicBezTo>
                    <a:pt x="15326" y="7254"/>
                    <a:pt x="15326" y="7212"/>
                    <a:pt x="15306" y="7192"/>
                  </a:cubicBezTo>
                  <a:lnTo>
                    <a:pt x="15306" y="7172"/>
                  </a:lnTo>
                  <a:cubicBezTo>
                    <a:pt x="15285" y="7151"/>
                    <a:pt x="15306" y="7130"/>
                    <a:pt x="15306" y="7110"/>
                  </a:cubicBezTo>
                  <a:cubicBezTo>
                    <a:pt x="15285" y="7110"/>
                    <a:pt x="15285" y="7069"/>
                    <a:pt x="15285" y="7069"/>
                  </a:cubicBezTo>
                  <a:cubicBezTo>
                    <a:pt x="15265" y="7069"/>
                    <a:pt x="15244" y="7069"/>
                    <a:pt x="15244" y="7049"/>
                  </a:cubicBezTo>
                  <a:lnTo>
                    <a:pt x="15244" y="7028"/>
                  </a:lnTo>
                  <a:cubicBezTo>
                    <a:pt x="15244" y="7008"/>
                    <a:pt x="15244" y="6988"/>
                    <a:pt x="15244" y="6988"/>
                  </a:cubicBezTo>
                  <a:cubicBezTo>
                    <a:pt x="15265" y="6988"/>
                    <a:pt x="15265" y="6967"/>
                    <a:pt x="15265" y="6967"/>
                  </a:cubicBezTo>
                  <a:cubicBezTo>
                    <a:pt x="15285" y="6946"/>
                    <a:pt x="15265" y="6926"/>
                    <a:pt x="15265" y="6906"/>
                  </a:cubicBezTo>
                  <a:cubicBezTo>
                    <a:pt x="15265" y="6906"/>
                    <a:pt x="15265" y="6885"/>
                    <a:pt x="15244" y="6864"/>
                  </a:cubicBezTo>
                  <a:cubicBezTo>
                    <a:pt x="15244" y="6864"/>
                    <a:pt x="15224" y="6864"/>
                    <a:pt x="15224" y="6844"/>
                  </a:cubicBezTo>
                  <a:cubicBezTo>
                    <a:pt x="15224" y="6844"/>
                    <a:pt x="15203" y="6844"/>
                    <a:pt x="15203" y="6824"/>
                  </a:cubicBezTo>
                  <a:cubicBezTo>
                    <a:pt x="15203" y="6824"/>
                    <a:pt x="15224" y="6803"/>
                    <a:pt x="15224" y="6782"/>
                  </a:cubicBezTo>
                  <a:lnTo>
                    <a:pt x="15203" y="6742"/>
                  </a:lnTo>
                  <a:cubicBezTo>
                    <a:pt x="15183" y="6742"/>
                    <a:pt x="15183" y="6762"/>
                    <a:pt x="15162" y="6762"/>
                  </a:cubicBezTo>
                  <a:cubicBezTo>
                    <a:pt x="15162" y="6782"/>
                    <a:pt x="15121" y="6762"/>
                    <a:pt x="15121" y="6782"/>
                  </a:cubicBezTo>
                  <a:cubicBezTo>
                    <a:pt x="15101" y="6782"/>
                    <a:pt x="15080" y="6803"/>
                    <a:pt x="15080" y="6803"/>
                  </a:cubicBezTo>
                  <a:cubicBezTo>
                    <a:pt x="15060" y="6824"/>
                    <a:pt x="15060" y="6824"/>
                    <a:pt x="15039" y="6844"/>
                  </a:cubicBezTo>
                  <a:lnTo>
                    <a:pt x="15019" y="6844"/>
                  </a:lnTo>
                  <a:cubicBezTo>
                    <a:pt x="14998" y="6844"/>
                    <a:pt x="14978" y="6864"/>
                    <a:pt x="14978" y="6864"/>
                  </a:cubicBezTo>
                  <a:cubicBezTo>
                    <a:pt x="14978" y="6885"/>
                    <a:pt x="14978" y="6906"/>
                    <a:pt x="14957" y="6906"/>
                  </a:cubicBezTo>
                  <a:cubicBezTo>
                    <a:pt x="14937" y="6926"/>
                    <a:pt x="14916" y="6926"/>
                    <a:pt x="14896" y="6926"/>
                  </a:cubicBezTo>
                  <a:cubicBezTo>
                    <a:pt x="14876" y="6926"/>
                    <a:pt x="14855" y="6906"/>
                    <a:pt x="14834" y="6906"/>
                  </a:cubicBezTo>
                  <a:cubicBezTo>
                    <a:pt x="14814" y="6906"/>
                    <a:pt x="14794" y="6926"/>
                    <a:pt x="14794" y="6926"/>
                  </a:cubicBezTo>
                  <a:cubicBezTo>
                    <a:pt x="14773" y="6926"/>
                    <a:pt x="14752" y="6926"/>
                    <a:pt x="14732" y="6926"/>
                  </a:cubicBezTo>
                  <a:cubicBezTo>
                    <a:pt x="14712" y="6926"/>
                    <a:pt x="14691" y="6906"/>
                    <a:pt x="14691" y="6906"/>
                  </a:cubicBezTo>
                  <a:cubicBezTo>
                    <a:pt x="14670" y="6906"/>
                    <a:pt x="14670" y="6885"/>
                    <a:pt x="14670" y="6864"/>
                  </a:cubicBezTo>
                  <a:lnTo>
                    <a:pt x="14670" y="6844"/>
                  </a:lnTo>
                  <a:cubicBezTo>
                    <a:pt x="14670" y="6824"/>
                    <a:pt x="14650" y="6803"/>
                    <a:pt x="14650" y="6782"/>
                  </a:cubicBezTo>
                  <a:lnTo>
                    <a:pt x="14630" y="6782"/>
                  </a:lnTo>
                  <a:cubicBezTo>
                    <a:pt x="14609" y="6762"/>
                    <a:pt x="14609" y="6762"/>
                    <a:pt x="14588" y="6762"/>
                  </a:cubicBezTo>
                  <a:cubicBezTo>
                    <a:pt x="14588" y="6762"/>
                    <a:pt x="14588" y="6742"/>
                    <a:pt x="14568" y="6721"/>
                  </a:cubicBezTo>
                  <a:lnTo>
                    <a:pt x="14568" y="6700"/>
                  </a:lnTo>
                  <a:cubicBezTo>
                    <a:pt x="14548" y="6700"/>
                    <a:pt x="14548" y="6680"/>
                    <a:pt x="14548" y="6680"/>
                  </a:cubicBezTo>
                  <a:cubicBezTo>
                    <a:pt x="14527" y="6680"/>
                    <a:pt x="14466" y="6680"/>
                    <a:pt x="14445" y="6680"/>
                  </a:cubicBezTo>
                  <a:cubicBezTo>
                    <a:pt x="14445" y="6680"/>
                    <a:pt x="14424" y="6660"/>
                    <a:pt x="14404" y="6660"/>
                  </a:cubicBezTo>
                  <a:lnTo>
                    <a:pt x="14384" y="6639"/>
                  </a:lnTo>
                  <a:cubicBezTo>
                    <a:pt x="14363" y="6618"/>
                    <a:pt x="14342" y="6618"/>
                    <a:pt x="14342" y="6618"/>
                  </a:cubicBezTo>
                  <a:lnTo>
                    <a:pt x="14322" y="6598"/>
                  </a:lnTo>
                  <a:cubicBezTo>
                    <a:pt x="14302" y="6598"/>
                    <a:pt x="14302" y="6598"/>
                    <a:pt x="14281" y="6598"/>
                  </a:cubicBezTo>
                  <a:cubicBezTo>
                    <a:pt x="14281" y="6598"/>
                    <a:pt x="14240" y="6598"/>
                    <a:pt x="14220" y="6598"/>
                  </a:cubicBezTo>
                  <a:cubicBezTo>
                    <a:pt x="14220" y="6578"/>
                    <a:pt x="14199" y="6557"/>
                    <a:pt x="14178" y="6536"/>
                  </a:cubicBezTo>
                  <a:lnTo>
                    <a:pt x="14158" y="6536"/>
                  </a:lnTo>
                  <a:cubicBezTo>
                    <a:pt x="14138" y="6557"/>
                    <a:pt x="14118" y="6557"/>
                    <a:pt x="14097" y="6557"/>
                  </a:cubicBezTo>
                  <a:cubicBezTo>
                    <a:pt x="14076" y="6557"/>
                    <a:pt x="14056" y="6557"/>
                    <a:pt x="14056" y="6536"/>
                  </a:cubicBezTo>
                  <a:cubicBezTo>
                    <a:pt x="14036" y="6536"/>
                    <a:pt x="14015" y="6516"/>
                    <a:pt x="13994" y="6516"/>
                  </a:cubicBezTo>
                  <a:cubicBezTo>
                    <a:pt x="13994" y="6496"/>
                    <a:pt x="13974" y="6475"/>
                    <a:pt x="13974" y="6475"/>
                  </a:cubicBezTo>
                  <a:cubicBezTo>
                    <a:pt x="13974" y="6454"/>
                    <a:pt x="13974" y="6434"/>
                    <a:pt x="13954" y="6414"/>
                  </a:cubicBezTo>
                  <a:cubicBezTo>
                    <a:pt x="13954" y="6414"/>
                    <a:pt x="13954" y="6393"/>
                    <a:pt x="13933" y="6393"/>
                  </a:cubicBezTo>
                  <a:cubicBezTo>
                    <a:pt x="13933" y="6373"/>
                    <a:pt x="13892" y="6352"/>
                    <a:pt x="13892" y="6332"/>
                  </a:cubicBezTo>
                  <a:lnTo>
                    <a:pt x="13872" y="6311"/>
                  </a:lnTo>
                  <a:cubicBezTo>
                    <a:pt x="13851" y="6291"/>
                    <a:pt x="13851" y="6291"/>
                    <a:pt x="13830" y="6291"/>
                  </a:cubicBezTo>
                  <a:cubicBezTo>
                    <a:pt x="13830" y="6291"/>
                    <a:pt x="13830" y="6270"/>
                    <a:pt x="13810" y="6250"/>
                  </a:cubicBezTo>
                  <a:lnTo>
                    <a:pt x="13810" y="6229"/>
                  </a:lnTo>
                  <a:cubicBezTo>
                    <a:pt x="13790" y="6229"/>
                    <a:pt x="13790" y="6229"/>
                    <a:pt x="13769" y="6229"/>
                  </a:cubicBezTo>
                  <a:lnTo>
                    <a:pt x="13748" y="6229"/>
                  </a:lnTo>
                  <a:cubicBezTo>
                    <a:pt x="13728" y="6209"/>
                    <a:pt x="13728" y="6209"/>
                    <a:pt x="13728" y="6188"/>
                  </a:cubicBezTo>
                  <a:cubicBezTo>
                    <a:pt x="13728" y="6188"/>
                    <a:pt x="13728" y="6168"/>
                    <a:pt x="13708" y="6168"/>
                  </a:cubicBezTo>
                  <a:cubicBezTo>
                    <a:pt x="13708" y="6147"/>
                    <a:pt x="13687" y="6127"/>
                    <a:pt x="13687" y="6127"/>
                  </a:cubicBezTo>
                  <a:cubicBezTo>
                    <a:pt x="13666" y="6106"/>
                    <a:pt x="13646" y="6106"/>
                    <a:pt x="13646" y="6106"/>
                  </a:cubicBezTo>
                  <a:cubicBezTo>
                    <a:pt x="13646" y="6086"/>
                    <a:pt x="13646" y="6065"/>
                    <a:pt x="13646" y="6065"/>
                  </a:cubicBezTo>
                  <a:cubicBezTo>
                    <a:pt x="13646" y="6045"/>
                    <a:pt x="13646" y="6024"/>
                    <a:pt x="13646" y="6004"/>
                  </a:cubicBezTo>
                  <a:cubicBezTo>
                    <a:pt x="13626" y="6004"/>
                    <a:pt x="13605" y="6004"/>
                    <a:pt x="13605" y="5983"/>
                  </a:cubicBezTo>
                  <a:cubicBezTo>
                    <a:pt x="13584" y="5983"/>
                    <a:pt x="13564" y="5963"/>
                    <a:pt x="13564" y="5963"/>
                  </a:cubicBezTo>
                  <a:lnTo>
                    <a:pt x="13544" y="5942"/>
                  </a:lnTo>
                  <a:cubicBezTo>
                    <a:pt x="13544" y="5922"/>
                    <a:pt x="13544" y="5901"/>
                    <a:pt x="13523" y="5901"/>
                  </a:cubicBezTo>
                  <a:lnTo>
                    <a:pt x="13502" y="5881"/>
                  </a:lnTo>
                  <a:cubicBezTo>
                    <a:pt x="13502" y="5881"/>
                    <a:pt x="13482" y="5860"/>
                    <a:pt x="13462" y="5860"/>
                  </a:cubicBezTo>
                  <a:lnTo>
                    <a:pt x="13441" y="5840"/>
                  </a:lnTo>
                  <a:cubicBezTo>
                    <a:pt x="13441" y="5840"/>
                    <a:pt x="13462" y="5819"/>
                    <a:pt x="13462" y="5799"/>
                  </a:cubicBezTo>
                  <a:lnTo>
                    <a:pt x="13441" y="5778"/>
                  </a:lnTo>
                  <a:cubicBezTo>
                    <a:pt x="13420" y="5778"/>
                    <a:pt x="13420" y="5799"/>
                    <a:pt x="13400" y="5799"/>
                  </a:cubicBezTo>
                  <a:cubicBezTo>
                    <a:pt x="13400" y="5799"/>
                    <a:pt x="13400" y="5799"/>
                    <a:pt x="13400" y="5819"/>
                  </a:cubicBezTo>
                  <a:cubicBezTo>
                    <a:pt x="13380" y="5819"/>
                    <a:pt x="13380" y="5819"/>
                    <a:pt x="13359" y="5819"/>
                  </a:cubicBezTo>
                  <a:cubicBezTo>
                    <a:pt x="13359" y="5799"/>
                    <a:pt x="13339" y="5799"/>
                    <a:pt x="13339" y="5799"/>
                  </a:cubicBezTo>
                  <a:cubicBezTo>
                    <a:pt x="13339" y="5778"/>
                    <a:pt x="13318" y="5778"/>
                    <a:pt x="13318" y="5778"/>
                  </a:cubicBezTo>
                  <a:cubicBezTo>
                    <a:pt x="13318" y="5758"/>
                    <a:pt x="13298" y="5758"/>
                    <a:pt x="13277" y="5758"/>
                  </a:cubicBezTo>
                  <a:lnTo>
                    <a:pt x="13257" y="5758"/>
                  </a:lnTo>
                  <a:lnTo>
                    <a:pt x="13236" y="5778"/>
                  </a:lnTo>
                  <a:cubicBezTo>
                    <a:pt x="13216" y="5778"/>
                    <a:pt x="13195" y="5778"/>
                    <a:pt x="13175" y="5778"/>
                  </a:cubicBezTo>
                  <a:lnTo>
                    <a:pt x="13154" y="5758"/>
                  </a:lnTo>
                  <a:cubicBezTo>
                    <a:pt x="13134" y="5758"/>
                    <a:pt x="13113" y="5737"/>
                    <a:pt x="13113" y="5737"/>
                  </a:cubicBezTo>
                  <a:cubicBezTo>
                    <a:pt x="13093" y="5717"/>
                    <a:pt x="13052" y="5717"/>
                    <a:pt x="13031" y="5717"/>
                  </a:cubicBezTo>
                  <a:cubicBezTo>
                    <a:pt x="13011" y="5717"/>
                    <a:pt x="12970" y="5696"/>
                    <a:pt x="12949" y="5696"/>
                  </a:cubicBezTo>
                  <a:cubicBezTo>
                    <a:pt x="12929" y="5696"/>
                    <a:pt x="12908" y="5696"/>
                    <a:pt x="12888" y="5717"/>
                  </a:cubicBezTo>
                  <a:lnTo>
                    <a:pt x="12867" y="5717"/>
                  </a:lnTo>
                  <a:cubicBezTo>
                    <a:pt x="12847" y="5717"/>
                    <a:pt x="12826" y="5717"/>
                    <a:pt x="12806" y="5717"/>
                  </a:cubicBezTo>
                  <a:cubicBezTo>
                    <a:pt x="12806" y="5737"/>
                    <a:pt x="12785" y="5737"/>
                    <a:pt x="12785" y="5737"/>
                  </a:cubicBezTo>
                  <a:cubicBezTo>
                    <a:pt x="12785" y="5758"/>
                    <a:pt x="12765" y="5758"/>
                    <a:pt x="12765" y="5758"/>
                  </a:cubicBezTo>
                  <a:cubicBezTo>
                    <a:pt x="12744" y="5758"/>
                    <a:pt x="12724" y="5758"/>
                    <a:pt x="12703" y="5778"/>
                  </a:cubicBezTo>
                  <a:cubicBezTo>
                    <a:pt x="12703" y="5778"/>
                    <a:pt x="12683" y="5778"/>
                    <a:pt x="12662" y="5778"/>
                  </a:cubicBezTo>
                  <a:cubicBezTo>
                    <a:pt x="12662" y="5799"/>
                    <a:pt x="12662" y="5819"/>
                    <a:pt x="12662" y="5840"/>
                  </a:cubicBezTo>
                  <a:cubicBezTo>
                    <a:pt x="12642" y="5840"/>
                    <a:pt x="12642" y="5860"/>
                    <a:pt x="12642" y="5860"/>
                  </a:cubicBezTo>
                  <a:cubicBezTo>
                    <a:pt x="12642" y="5881"/>
                    <a:pt x="12621" y="5881"/>
                    <a:pt x="12621" y="5901"/>
                  </a:cubicBezTo>
                  <a:cubicBezTo>
                    <a:pt x="12621" y="5901"/>
                    <a:pt x="12621" y="5922"/>
                    <a:pt x="12621" y="5942"/>
                  </a:cubicBezTo>
                  <a:cubicBezTo>
                    <a:pt x="12642" y="5942"/>
                    <a:pt x="12662" y="5942"/>
                    <a:pt x="12662" y="5942"/>
                  </a:cubicBezTo>
                  <a:cubicBezTo>
                    <a:pt x="12662" y="5942"/>
                    <a:pt x="12662" y="5922"/>
                    <a:pt x="12683" y="5922"/>
                  </a:cubicBezTo>
                  <a:lnTo>
                    <a:pt x="12724" y="5942"/>
                  </a:lnTo>
                  <a:lnTo>
                    <a:pt x="12724" y="5963"/>
                  </a:lnTo>
                  <a:cubicBezTo>
                    <a:pt x="12724" y="5983"/>
                    <a:pt x="12724" y="6004"/>
                    <a:pt x="12724" y="6024"/>
                  </a:cubicBezTo>
                  <a:cubicBezTo>
                    <a:pt x="12724" y="6024"/>
                    <a:pt x="12765" y="6024"/>
                    <a:pt x="12765" y="6045"/>
                  </a:cubicBezTo>
                  <a:cubicBezTo>
                    <a:pt x="12765" y="6065"/>
                    <a:pt x="12765" y="6106"/>
                    <a:pt x="12765" y="6106"/>
                  </a:cubicBezTo>
                  <a:cubicBezTo>
                    <a:pt x="12744" y="6127"/>
                    <a:pt x="12744" y="6168"/>
                    <a:pt x="12744" y="6188"/>
                  </a:cubicBezTo>
                  <a:cubicBezTo>
                    <a:pt x="12724" y="6209"/>
                    <a:pt x="12724" y="6270"/>
                    <a:pt x="12724" y="6291"/>
                  </a:cubicBezTo>
                  <a:cubicBezTo>
                    <a:pt x="12724" y="6311"/>
                    <a:pt x="12724" y="6373"/>
                    <a:pt x="12724" y="6414"/>
                  </a:cubicBezTo>
                  <a:cubicBezTo>
                    <a:pt x="12724" y="6414"/>
                    <a:pt x="12724" y="6454"/>
                    <a:pt x="12724" y="6475"/>
                  </a:cubicBezTo>
                  <a:cubicBezTo>
                    <a:pt x="12724" y="6475"/>
                    <a:pt x="12744" y="6496"/>
                    <a:pt x="12744" y="6516"/>
                  </a:cubicBezTo>
                  <a:cubicBezTo>
                    <a:pt x="12765" y="6516"/>
                    <a:pt x="12785" y="6536"/>
                    <a:pt x="12785" y="6536"/>
                  </a:cubicBezTo>
                  <a:cubicBezTo>
                    <a:pt x="12785" y="6557"/>
                    <a:pt x="12785" y="6578"/>
                    <a:pt x="12765" y="6578"/>
                  </a:cubicBezTo>
                  <a:cubicBezTo>
                    <a:pt x="12765" y="6598"/>
                    <a:pt x="12724" y="6598"/>
                    <a:pt x="12724" y="6598"/>
                  </a:cubicBezTo>
                  <a:lnTo>
                    <a:pt x="12703" y="6618"/>
                  </a:lnTo>
                  <a:cubicBezTo>
                    <a:pt x="12703" y="6618"/>
                    <a:pt x="12683" y="6639"/>
                    <a:pt x="12683" y="6660"/>
                  </a:cubicBezTo>
                  <a:cubicBezTo>
                    <a:pt x="12683" y="6660"/>
                    <a:pt x="12683" y="6680"/>
                    <a:pt x="12683" y="6700"/>
                  </a:cubicBezTo>
                  <a:cubicBezTo>
                    <a:pt x="12683" y="6700"/>
                    <a:pt x="12683" y="6721"/>
                    <a:pt x="12662" y="6721"/>
                  </a:cubicBezTo>
                  <a:cubicBezTo>
                    <a:pt x="12662" y="6742"/>
                    <a:pt x="12662" y="6742"/>
                    <a:pt x="12642" y="6721"/>
                  </a:cubicBezTo>
                  <a:lnTo>
                    <a:pt x="12621" y="6721"/>
                  </a:lnTo>
                  <a:lnTo>
                    <a:pt x="12601" y="6721"/>
                  </a:lnTo>
                  <a:cubicBezTo>
                    <a:pt x="12581" y="6721"/>
                    <a:pt x="12560" y="6721"/>
                    <a:pt x="12560" y="6721"/>
                  </a:cubicBezTo>
                  <a:cubicBezTo>
                    <a:pt x="12539" y="6721"/>
                    <a:pt x="12519" y="6700"/>
                    <a:pt x="12519" y="6700"/>
                  </a:cubicBezTo>
                  <a:cubicBezTo>
                    <a:pt x="12499" y="6700"/>
                    <a:pt x="12478" y="6680"/>
                    <a:pt x="12478" y="6680"/>
                  </a:cubicBezTo>
                  <a:lnTo>
                    <a:pt x="12478" y="6680"/>
                  </a:lnTo>
                  <a:cubicBezTo>
                    <a:pt x="12457" y="6680"/>
                    <a:pt x="12457" y="6660"/>
                    <a:pt x="12437" y="6660"/>
                  </a:cubicBezTo>
                  <a:cubicBezTo>
                    <a:pt x="12437" y="6639"/>
                    <a:pt x="12417" y="6618"/>
                    <a:pt x="12417" y="6618"/>
                  </a:cubicBezTo>
                  <a:cubicBezTo>
                    <a:pt x="12396" y="6618"/>
                    <a:pt x="12375" y="6618"/>
                    <a:pt x="12375" y="6618"/>
                  </a:cubicBezTo>
                  <a:cubicBezTo>
                    <a:pt x="12375" y="6618"/>
                    <a:pt x="12355" y="6639"/>
                    <a:pt x="12335" y="6639"/>
                  </a:cubicBezTo>
                  <a:cubicBezTo>
                    <a:pt x="12335" y="6660"/>
                    <a:pt x="12314" y="6660"/>
                    <a:pt x="12314" y="6660"/>
                  </a:cubicBezTo>
                  <a:cubicBezTo>
                    <a:pt x="12314" y="6680"/>
                    <a:pt x="12293" y="6660"/>
                    <a:pt x="12273" y="6660"/>
                  </a:cubicBezTo>
                  <a:cubicBezTo>
                    <a:pt x="12273" y="6660"/>
                    <a:pt x="12253" y="6660"/>
                    <a:pt x="12232" y="6639"/>
                  </a:cubicBezTo>
                  <a:cubicBezTo>
                    <a:pt x="12232" y="6639"/>
                    <a:pt x="12211" y="6618"/>
                    <a:pt x="12191" y="6618"/>
                  </a:cubicBezTo>
                  <a:lnTo>
                    <a:pt x="12191" y="6598"/>
                  </a:lnTo>
                  <a:cubicBezTo>
                    <a:pt x="12191" y="6578"/>
                    <a:pt x="12171" y="6578"/>
                    <a:pt x="12150" y="6578"/>
                  </a:cubicBezTo>
                  <a:lnTo>
                    <a:pt x="12129" y="6578"/>
                  </a:lnTo>
                  <a:cubicBezTo>
                    <a:pt x="12109" y="6598"/>
                    <a:pt x="12068" y="6598"/>
                    <a:pt x="12068" y="6618"/>
                  </a:cubicBezTo>
                  <a:cubicBezTo>
                    <a:pt x="12047" y="6618"/>
                    <a:pt x="12027" y="6639"/>
                    <a:pt x="12027" y="6639"/>
                  </a:cubicBezTo>
                  <a:cubicBezTo>
                    <a:pt x="12007" y="6660"/>
                    <a:pt x="12007" y="6660"/>
                    <a:pt x="12007" y="6680"/>
                  </a:cubicBezTo>
                  <a:cubicBezTo>
                    <a:pt x="12007" y="6680"/>
                    <a:pt x="12007" y="6700"/>
                    <a:pt x="12007" y="6721"/>
                  </a:cubicBezTo>
                  <a:cubicBezTo>
                    <a:pt x="12007" y="6721"/>
                    <a:pt x="12007" y="6742"/>
                    <a:pt x="12007" y="6762"/>
                  </a:cubicBezTo>
                  <a:cubicBezTo>
                    <a:pt x="11986" y="6762"/>
                    <a:pt x="11965" y="6762"/>
                    <a:pt x="11965" y="6762"/>
                  </a:cubicBezTo>
                  <a:cubicBezTo>
                    <a:pt x="11945" y="6762"/>
                    <a:pt x="11925" y="6742"/>
                    <a:pt x="11904" y="6742"/>
                  </a:cubicBezTo>
                  <a:lnTo>
                    <a:pt x="11904" y="6762"/>
                  </a:lnTo>
                  <a:cubicBezTo>
                    <a:pt x="11884" y="6782"/>
                    <a:pt x="11863" y="6782"/>
                    <a:pt x="11863" y="6803"/>
                  </a:cubicBezTo>
                  <a:cubicBezTo>
                    <a:pt x="11843" y="6803"/>
                    <a:pt x="11823" y="6803"/>
                    <a:pt x="11823" y="6803"/>
                  </a:cubicBezTo>
                  <a:cubicBezTo>
                    <a:pt x="11802" y="6803"/>
                    <a:pt x="11781" y="6803"/>
                    <a:pt x="11781" y="6803"/>
                  </a:cubicBezTo>
                  <a:cubicBezTo>
                    <a:pt x="11761" y="6824"/>
                    <a:pt x="11741" y="6824"/>
                    <a:pt x="11741" y="6844"/>
                  </a:cubicBezTo>
                  <a:lnTo>
                    <a:pt x="11720" y="6864"/>
                  </a:lnTo>
                  <a:cubicBezTo>
                    <a:pt x="11699" y="6864"/>
                    <a:pt x="11679" y="6885"/>
                    <a:pt x="11659" y="6885"/>
                  </a:cubicBezTo>
                  <a:cubicBezTo>
                    <a:pt x="11638" y="6885"/>
                    <a:pt x="11617" y="6885"/>
                    <a:pt x="11597" y="6885"/>
                  </a:cubicBezTo>
                  <a:cubicBezTo>
                    <a:pt x="11577" y="6885"/>
                    <a:pt x="11535" y="6885"/>
                    <a:pt x="11515" y="6885"/>
                  </a:cubicBezTo>
                  <a:cubicBezTo>
                    <a:pt x="11515" y="6864"/>
                    <a:pt x="11495" y="6864"/>
                    <a:pt x="11474" y="6864"/>
                  </a:cubicBezTo>
                  <a:cubicBezTo>
                    <a:pt x="11474" y="6864"/>
                    <a:pt x="11453" y="6864"/>
                    <a:pt x="11433" y="6864"/>
                  </a:cubicBezTo>
                  <a:cubicBezTo>
                    <a:pt x="11433" y="6864"/>
                    <a:pt x="11413" y="6864"/>
                    <a:pt x="11392" y="6864"/>
                  </a:cubicBezTo>
                  <a:cubicBezTo>
                    <a:pt x="11392" y="6864"/>
                    <a:pt x="11351" y="6864"/>
                    <a:pt x="11331" y="6844"/>
                  </a:cubicBezTo>
                  <a:lnTo>
                    <a:pt x="11310" y="6824"/>
                  </a:lnTo>
                  <a:cubicBezTo>
                    <a:pt x="11289" y="6824"/>
                    <a:pt x="11269" y="6824"/>
                    <a:pt x="11269" y="6803"/>
                  </a:cubicBezTo>
                  <a:cubicBezTo>
                    <a:pt x="11249" y="6803"/>
                    <a:pt x="11249" y="6782"/>
                    <a:pt x="11249" y="6762"/>
                  </a:cubicBezTo>
                  <a:cubicBezTo>
                    <a:pt x="11228" y="6762"/>
                    <a:pt x="11207" y="6762"/>
                    <a:pt x="11207" y="6742"/>
                  </a:cubicBezTo>
                  <a:cubicBezTo>
                    <a:pt x="11207" y="6742"/>
                    <a:pt x="11187" y="6742"/>
                    <a:pt x="11167" y="6742"/>
                  </a:cubicBezTo>
                  <a:cubicBezTo>
                    <a:pt x="11167" y="6742"/>
                    <a:pt x="11146" y="6742"/>
                    <a:pt x="11146" y="6721"/>
                  </a:cubicBezTo>
                  <a:lnTo>
                    <a:pt x="11126" y="6700"/>
                  </a:lnTo>
                  <a:cubicBezTo>
                    <a:pt x="11105" y="6700"/>
                    <a:pt x="11085" y="6700"/>
                    <a:pt x="11085" y="6700"/>
                  </a:cubicBezTo>
                  <a:cubicBezTo>
                    <a:pt x="11064" y="6680"/>
                    <a:pt x="11023" y="6700"/>
                    <a:pt x="11003" y="6680"/>
                  </a:cubicBezTo>
                  <a:cubicBezTo>
                    <a:pt x="11003" y="6680"/>
                    <a:pt x="10982" y="6660"/>
                    <a:pt x="10962" y="6660"/>
                  </a:cubicBezTo>
                  <a:cubicBezTo>
                    <a:pt x="10962" y="6660"/>
                    <a:pt x="10941" y="6660"/>
                    <a:pt x="10921" y="6660"/>
                  </a:cubicBezTo>
                  <a:cubicBezTo>
                    <a:pt x="10900" y="6660"/>
                    <a:pt x="10880" y="6660"/>
                    <a:pt x="10859" y="6660"/>
                  </a:cubicBezTo>
                  <a:cubicBezTo>
                    <a:pt x="10839" y="6660"/>
                    <a:pt x="10839" y="6660"/>
                    <a:pt x="10818" y="6660"/>
                  </a:cubicBezTo>
                  <a:cubicBezTo>
                    <a:pt x="10798" y="6660"/>
                    <a:pt x="10777" y="6680"/>
                    <a:pt x="10757" y="6680"/>
                  </a:cubicBezTo>
                  <a:cubicBezTo>
                    <a:pt x="10736" y="6680"/>
                    <a:pt x="10736" y="6700"/>
                    <a:pt x="10716" y="6700"/>
                  </a:cubicBezTo>
                  <a:cubicBezTo>
                    <a:pt x="10716" y="6700"/>
                    <a:pt x="10716" y="6742"/>
                    <a:pt x="10695" y="6742"/>
                  </a:cubicBezTo>
                  <a:cubicBezTo>
                    <a:pt x="10675" y="6742"/>
                    <a:pt x="10654" y="6742"/>
                    <a:pt x="10634" y="6742"/>
                  </a:cubicBezTo>
                  <a:cubicBezTo>
                    <a:pt x="10634" y="6742"/>
                    <a:pt x="10613" y="6742"/>
                    <a:pt x="10593" y="6721"/>
                  </a:cubicBezTo>
                  <a:cubicBezTo>
                    <a:pt x="10572" y="6721"/>
                    <a:pt x="10552" y="6700"/>
                    <a:pt x="10531" y="6700"/>
                  </a:cubicBezTo>
                  <a:cubicBezTo>
                    <a:pt x="10511" y="6700"/>
                    <a:pt x="10490" y="6700"/>
                    <a:pt x="10470" y="6700"/>
                  </a:cubicBezTo>
                  <a:lnTo>
                    <a:pt x="10429" y="6700"/>
                  </a:lnTo>
                  <a:cubicBezTo>
                    <a:pt x="10408" y="6680"/>
                    <a:pt x="10388" y="6660"/>
                    <a:pt x="10368" y="6639"/>
                  </a:cubicBezTo>
                  <a:cubicBezTo>
                    <a:pt x="10368" y="6618"/>
                    <a:pt x="10347" y="6598"/>
                    <a:pt x="10347" y="6578"/>
                  </a:cubicBezTo>
                  <a:cubicBezTo>
                    <a:pt x="10326" y="6578"/>
                    <a:pt x="10306" y="6557"/>
                    <a:pt x="10306" y="6557"/>
                  </a:cubicBezTo>
                  <a:cubicBezTo>
                    <a:pt x="10306" y="6536"/>
                    <a:pt x="10306" y="6516"/>
                    <a:pt x="10306" y="6496"/>
                  </a:cubicBezTo>
                  <a:lnTo>
                    <a:pt x="10286" y="6475"/>
                  </a:lnTo>
                  <a:cubicBezTo>
                    <a:pt x="10265" y="6454"/>
                    <a:pt x="10244" y="6454"/>
                    <a:pt x="10244" y="6454"/>
                  </a:cubicBezTo>
                  <a:cubicBezTo>
                    <a:pt x="10224" y="6454"/>
                    <a:pt x="10183" y="6454"/>
                    <a:pt x="10183" y="6454"/>
                  </a:cubicBezTo>
                  <a:cubicBezTo>
                    <a:pt x="10162" y="6454"/>
                    <a:pt x="10122" y="6434"/>
                    <a:pt x="10101" y="6434"/>
                  </a:cubicBezTo>
                  <a:cubicBezTo>
                    <a:pt x="10101" y="6434"/>
                    <a:pt x="10080" y="6414"/>
                    <a:pt x="10060" y="6414"/>
                  </a:cubicBezTo>
                  <a:cubicBezTo>
                    <a:pt x="10060" y="6414"/>
                    <a:pt x="10019" y="6414"/>
                    <a:pt x="9998" y="6414"/>
                  </a:cubicBezTo>
                  <a:cubicBezTo>
                    <a:pt x="9978" y="6414"/>
                    <a:pt x="9958" y="6434"/>
                    <a:pt x="9937" y="6434"/>
                  </a:cubicBezTo>
                  <a:cubicBezTo>
                    <a:pt x="9937" y="6414"/>
                    <a:pt x="9916" y="6393"/>
                    <a:pt x="9896" y="6393"/>
                  </a:cubicBezTo>
                  <a:lnTo>
                    <a:pt x="9855" y="6373"/>
                  </a:lnTo>
                  <a:cubicBezTo>
                    <a:pt x="9834" y="6373"/>
                    <a:pt x="9814" y="6352"/>
                    <a:pt x="9814" y="6352"/>
                  </a:cubicBezTo>
                  <a:cubicBezTo>
                    <a:pt x="9794" y="6352"/>
                    <a:pt x="9814" y="6373"/>
                    <a:pt x="9814" y="6373"/>
                  </a:cubicBezTo>
                  <a:cubicBezTo>
                    <a:pt x="9794" y="6393"/>
                    <a:pt x="9794" y="6393"/>
                    <a:pt x="9794" y="6414"/>
                  </a:cubicBezTo>
                  <a:cubicBezTo>
                    <a:pt x="9773" y="6414"/>
                    <a:pt x="9752" y="6434"/>
                    <a:pt x="9752" y="6434"/>
                  </a:cubicBezTo>
                  <a:cubicBezTo>
                    <a:pt x="9752" y="6434"/>
                    <a:pt x="9752" y="6454"/>
                    <a:pt x="9752" y="6475"/>
                  </a:cubicBezTo>
                  <a:cubicBezTo>
                    <a:pt x="9752" y="6475"/>
                    <a:pt x="9752" y="6496"/>
                    <a:pt x="9732" y="6496"/>
                  </a:cubicBezTo>
                  <a:lnTo>
                    <a:pt x="9732" y="6516"/>
                  </a:lnTo>
                  <a:lnTo>
                    <a:pt x="9732" y="6536"/>
                  </a:lnTo>
                  <a:lnTo>
                    <a:pt x="9712" y="6557"/>
                  </a:lnTo>
                  <a:cubicBezTo>
                    <a:pt x="9732" y="6557"/>
                    <a:pt x="9732" y="6557"/>
                    <a:pt x="9732" y="6578"/>
                  </a:cubicBezTo>
                  <a:cubicBezTo>
                    <a:pt x="9752" y="6578"/>
                    <a:pt x="9752" y="6598"/>
                    <a:pt x="9752" y="6618"/>
                  </a:cubicBezTo>
                  <a:lnTo>
                    <a:pt x="9773" y="6639"/>
                  </a:lnTo>
                  <a:cubicBezTo>
                    <a:pt x="9773" y="6660"/>
                    <a:pt x="9794" y="6680"/>
                    <a:pt x="9794" y="6680"/>
                  </a:cubicBezTo>
                  <a:lnTo>
                    <a:pt x="9814" y="6700"/>
                  </a:lnTo>
                  <a:cubicBezTo>
                    <a:pt x="9814" y="6700"/>
                    <a:pt x="9814" y="6721"/>
                    <a:pt x="9834" y="6721"/>
                  </a:cubicBezTo>
                  <a:cubicBezTo>
                    <a:pt x="9834" y="6721"/>
                    <a:pt x="9834" y="6742"/>
                    <a:pt x="9834" y="6762"/>
                  </a:cubicBezTo>
                  <a:cubicBezTo>
                    <a:pt x="9834" y="6762"/>
                    <a:pt x="9834" y="6762"/>
                    <a:pt x="9834" y="6782"/>
                  </a:cubicBezTo>
                  <a:lnTo>
                    <a:pt x="9834" y="6803"/>
                  </a:lnTo>
                  <a:cubicBezTo>
                    <a:pt x="9834" y="6824"/>
                    <a:pt x="9814" y="6824"/>
                    <a:pt x="9814" y="6844"/>
                  </a:cubicBezTo>
                  <a:cubicBezTo>
                    <a:pt x="9814" y="6844"/>
                    <a:pt x="9794" y="6844"/>
                    <a:pt x="9794" y="6864"/>
                  </a:cubicBezTo>
                  <a:cubicBezTo>
                    <a:pt x="9773" y="6864"/>
                    <a:pt x="9752" y="6885"/>
                    <a:pt x="9752" y="6885"/>
                  </a:cubicBezTo>
                  <a:cubicBezTo>
                    <a:pt x="9732" y="6885"/>
                    <a:pt x="9712" y="6885"/>
                    <a:pt x="9712" y="6885"/>
                  </a:cubicBezTo>
                  <a:cubicBezTo>
                    <a:pt x="9691" y="6885"/>
                    <a:pt x="9670" y="6864"/>
                    <a:pt x="9670" y="6864"/>
                  </a:cubicBezTo>
                  <a:cubicBezTo>
                    <a:pt x="9650" y="6864"/>
                    <a:pt x="9630" y="6844"/>
                    <a:pt x="9630" y="6844"/>
                  </a:cubicBezTo>
                  <a:cubicBezTo>
                    <a:pt x="9610" y="6844"/>
                    <a:pt x="9568" y="6844"/>
                    <a:pt x="9568" y="6844"/>
                  </a:cubicBezTo>
                  <a:cubicBezTo>
                    <a:pt x="9568" y="6864"/>
                    <a:pt x="9548" y="6885"/>
                    <a:pt x="9548" y="6885"/>
                  </a:cubicBezTo>
                  <a:cubicBezTo>
                    <a:pt x="9528" y="6885"/>
                    <a:pt x="9507" y="6885"/>
                    <a:pt x="9507" y="6885"/>
                  </a:cubicBezTo>
                  <a:cubicBezTo>
                    <a:pt x="9486" y="6885"/>
                    <a:pt x="9446" y="6885"/>
                    <a:pt x="9425" y="6885"/>
                  </a:cubicBezTo>
                  <a:lnTo>
                    <a:pt x="9384" y="6864"/>
                  </a:lnTo>
                  <a:cubicBezTo>
                    <a:pt x="9364" y="6864"/>
                    <a:pt x="9343" y="6824"/>
                    <a:pt x="9322" y="6824"/>
                  </a:cubicBezTo>
                  <a:cubicBezTo>
                    <a:pt x="9322" y="6803"/>
                    <a:pt x="9302" y="6803"/>
                    <a:pt x="9302" y="6782"/>
                  </a:cubicBezTo>
                  <a:cubicBezTo>
                    <a:pt x="9282" y="6782"/>
                    <a:pt x="9282" y="6742"/>
                    <a:pt x="9261" y="6742"/>
                  </a:cubicBezTo>
                  <a:cubicBezTo>
                    <a:pt x="9261" y="6721"/>
                    <a:pt x="9221" y="6721"/>
                    <a:pt x="9221" y="6721"/>
                  </a:cubicBezTo>
                  <a:cubicBezTo>
                    <a:pt x="9201" y="6721"/>
                    <a:pt x="9180" y="6742"/>
                    <a:pt x="9180" y="6742"/>
                  </a:cubicBezTo>
                  <a:cubicBezTo>
                    <a:pt x="9159" y="6742"/>
                    <a:pt x="9139" y="6742"/>
                    <a:pt x="9119" y="6742"/>
                  </a:cubicBezTo>
                  <a:lnTo>
                    <a:pt x="9098" y="6742"/>
                  </a:lnTo>
                  <a:cubicBezTo>
                    <a:pt x="9077" y="6721"/>
                    <a:pt x="9077" y="6721"/>
                    <a:pt x="9077" y="6700"/>
                  </a:cubicBezTo>
                  <a:cubicBezTo>
                    <a:pt x="9057" y="6700"/>
                    <a:pt x="9057" y="6700"/>
                    <a:pt x="9037" y="6680"/>
                  </a:cubicBezTo>
                  <a:lnTo>
                    <a:pt x="9016" y="6700"/>
                  </a:lnTo>
                  <a:lnTo>
                    <a:pt x="9016" y="6721"/>
                  </a:lnTo>
                  <a:lnTo>
                    <a:pt x="8975" y="6721"/>
                  </a:lnTo>
                  <a:cubicBezTo>
                    <a:pt x="8955" y="6721"/>
                    <a:pt x="8934" y="6721"/>
                    <a:pt x="8934" y="6721"/>
                  </a:cubicBezTo>
                  <a:cubicBezTo>
                    <a:pt x="8913" y="6721"/>
                    <a:pt x="8893" y="6742"/>
                    <a:pt x="8873" y="6742"/>
                  </a:cubicBezTo>
                  <a:cubicBezTo>
                    <a:pt x="8873" y="6742"/>
                    <a:pt x="8873" y="6762"/>
                    <a:pt x="8852" y="6762"/>
                  </a:cubicBezTo>
                  <a:cubicBezTo>
                    <a:pt x="8852" y="6782"/>
                    <a:pt x="8832" y="6782"/>
                    <a:pt x="8811" y="6782"/>
                  </a:cubicBezTo>
                  <a:cubicBezTo>
                    <a:pt x="8811" y="6782"/>
                    <a:pt x="8791" y="6782"/>
                    <a:pt x="8770" y="6803"/>
                  </a:cubicBezTo>
                  <a:lnTo>
                    <a:pt x="8770" y="6824"/>
                  </a:lnTo>
                  <a:cubicBezTo>
                    <a:pt x="8770" y="6844"/>
                    <a:pt x="8770" y="6885"/>
                    <a:pt x="8770" y="6885"/>
                  </a:cubicBezTo>
                  <a:cubicBezTo>
                    <a:pt x="8750" y="6906"/>
                    <a:pt x="8750" y="6906"/>
                    <a:pt x="8729" y="6906"/>
                  </a:cubicBezTo>
                  <a:cubicBezTo>
                    <a:pt x="8729" y="6906"/>
                    <a:pt x="8729" y="6864"/>
                    <a:pt x="8709" y="6864"/>
                  </a:cubicBezTo>
                  <a:cubicBezTo>
                    <a:pt x="8709" y="6864"/>
                    <a:pt x="8688" y="6864"/>
                    <a:pt x="8668" y="6864"/>
                  </a:cubicBezTo>
                  <a:lnTo>
                    <a:pt x="8668" y="6885"/>
                  </a:lnTo>
                  <a:cubicBezTo>
                    <a:pt x="8668" y="6906"/>
                    <a:pt x="8688" y="6926"/>
                    <a:pt x="8688" y="6946"/>
                  </a:cubicBezTo>
                  <a:lnTo>
                    <a:pt x="8688" y="6967"/>
                  </a:lnTo>
                  <a:cubicBezTo>
                    <a:pt x="8668" y="6988"/>
                    <a:pt x="8647" y="6988"/>
                    <a:pt x="8647" y="6988"/>
                  </a:cubicBezTo>
                  <a:cubicBezTo>
                    <a:pt x="8627" y="6988"/>
                    <a:pt x="8606" y="6988"/>
                    <a:pt x="8606" y="7008"/>
                  </a:cubicBezTo>
                  <a:lnTo>
                    <a:pt x="8586" y="7028"/>
                  </a:lnTo>
                  <a:lnTo>
                    <a:pt x="8565" y="7049"/>
                  </a:lnTo>
                  <a:cubicBezTo>
                    <a:pt x="8545" y="7049"/>
                    <a:pt x="8524" y="7028"/>
                    <a:pt x="8504" y="7028"/>
                  </a:cubicBezTo>
                  <a:cubicBezTo>
                    <a:pt x="8504" y="7049"/>
                    <a:pt x="8483" y="7049"/>
                    <a:pt x="8483" y="7049"/>
                  </a:cubicBezTo>
                  <a:cubicBezTo>
                    <a:pt x="8483" y="7049"/>
                    <a:pt x="8463" y="7069"/>
                    <a:pt x="8463" y="7090"/>
                  </a:cubicBezTo>
                  <a:cubicBezTo>
                    <a:pt x="8463" y="7090"/>
                    <a:pt x="8463" y="7090"/>
                    <a:pt x="8463" y="7110"/>
                  </a:cubicBezTo>
                  <a:cubicBezTo>
                    <a:pt x="8463" y="7110"/>
                    <a:pt x="8463" y="7110"/>
                    <a:pt x="8442" y="7110"/>
                  </a:cubicBezTo>
                  <a:lnTo>
                    <a:pt x="8401" y="7110"/>
                  </a:lnTo>
                  <a:cubicBezTo>
                    <a:pt x="8381" y="7110"/>
                    <a:pt x="8360" y="7110"/>
                    <a:pt x="8360" y="7110"/>
                  </a:cubicBezTo>
                  <a:cubicBezTo>
                    <a:pt x="8340" y="7110"/>
                    <a:pt x="8340" y="7110"/>
                    <a:pt x="8319" y="7110"/>
                  </a:cubicBezTo>
                  <a:cubicBezTo>
                    <a:pt x="8319" y="7110"/>
                    <a:pt x="8299" y="7110"/>
                    <a:pt x="8299" y="7090"/>
                  </a:cubicBezTo>
                  <a:cubicBezTo>
                    <a:pt x="8278" y="7090"/>
                    <a:pt x="8278" y="7069"/>
                    <a:pt x="8278" y="7069"/>
                  </a:cubicBezTo>
                  <a:cubicBezTo>
                    <a:pt x="8278" y="7049"/>
                    <a:pt x="8258" y="7049"/>
                    <a:pt x="8258" y="7028"/>
                  </a:cubicBezTo>
                  <a:cubicBezTo>
                    <a:pt x="8258" y="7028"/>
                    <a:pt x="8237" y="7008"/>
                    <a:pt x="8217" y="7008"/>
                  </a:cubicBezTo>
                  <a:lnTo>
                    <a:pt x="8196" y="7028"/>
                  </a:lnTo>
                  <a:cubicBezTo>
                    <a:pt x="8176" y="7049"/>
                    <a:pt x="8176" y="7049"/>
                    <a:pt x="8155" y="7049"/>
                  </a:cubicBezTo>
                  <a:cubicBezTo>
                    <a:pt x="8155" y="7069"/>
                    <a:pt x="8114" y="7069"/>
                    <a:pt x="8114" y="7049"/>
                  </a:cubicBezTo>
                  <a:cubicBezTo>
                    <a:pt x="8094" y="7049"/>
                    <a:pt x="8053" y="7028"/>
                    <a:pt x="8032" y="7028"/>
                  </a:cubicBezTo>
                  <a:cubicBezTo>
                    <a:pt x="8012" y="7008"/>
                    <a:pt x="8012" y="6967"/>
                    <a:pt x="7992" y="6967"/>
                  </a:cubicBezTo>
                  <a:cubicBezTo>
                    <a:pt x="7971" y="6946"/>
                    <a:pt x="7950" y="6926"/>
                    <a:pt x="7930" y="6926"/>
                  </a:cubicBezTo>
                  <a:cubicBezTo>
                    <a:pt x="7910" y="6906"/>
                    <a:pt x="7889" y="6885"/>
                    <a:pt x="7868" y="6885"/>
                  </a:cubicBezTo>
                  <a:cubicBezTo>
                    <a:pt x="7868" y="6864"/>
                    <a:pt x="7828" y="6824"/>
                    <a:pt x="7828" y="6803"/>
                  </a:cubicBezTo>
                  <a:cubicBezTo>
                    <a:pt x="7807" y="6782"/>
                    <a:pt x="7786" y="6762"/>
                    <a:pt x="7766" y="6762"/>
                  </a:cubicBezTo>
                  <a:lnTo>
                    <a:pt x="7725" y="6742"/>
                  </a:lnTo>
                  <a:cubicBezTo>
                    <a:pt x="7704" y="6742"/>
                    <a:pt x="7664" y="6721"/>
                    <a:pt x="7664" y="6742"/>
                  </a:cubicBezTo>
                  <a:cubicBezTo>
                    <a:pt x="7643" y="6742"/>
                    <a:pt x="7643" y="6762"/>
                    <a:pt x="7643" y="6762"/>
                  </a:cubicBezTo>
                  <a:cubicBezTo>
                    <a:pt x="7622" y="6782"/>
                    <a:pt x="7602" y="6782"/>
                    <a:pt x="7582" y="6782"/>
                  </a:cubicBezTo>
                  <a:cubicBezTo>
                    <a:pt x="7561" y="6803"/>
                    <a:pt x="7520" y="6803"/>
                    <a:pt x="7500" y="6803"/>
                  </a:cubicBezTo>
                  <a:cubicBezTo>
                    <a:pt x="7479" y="6803"/>
                    <a:pt x="7438" y="6803"/>
                    <a:pt x="7438" y="6782"/>
                  </a:cubicBezTo>
                  <a:cubicBezTo>
                    <a:pt x="7418" y="6782"/>
                    <a:pt x="7418" y="6742"/>
                    <a:pt x="7397" y="6742"/>
                  </a:cubicBezTo>
                  <a:cubicBezTo>
                    <a:pt x="7397" y="6721"/>
                    <a:pt x="7356" y="6700"/>
                    <a:pt x="7356" y="6700"/>
                  </a:cubicBezTo>
                  <a:cubicBezTo>
                    <a:pt x="7336" y="6700"/>
                    <a:pt x="7336" y="6680"/>
                    <a:pt x="7316" y="6680"/>
                  </a:cubicBezTo>
                  <a:lnTo>
                    <a:pt x="7295" y="6680"/>
                  </a:lnTo>
                  <a:cubicBezTo>
                    <a:pt x="7295" y="6700"/>
                    <a:pt x="7295" y="6742"/>
                    <a:pt x="7295" y="6742"/>
                  </a:cubicBezTo>
                  <a:cubicBezTo>
                    <a:pt x="7295" y="6762"/>
                    <a:pt x="7295" y="6782"/>
                    <a:pt x="7274" y="6782"/>
                  </a:cubicBezTo>
                  <a:lnTo>
                    <a:pt x="7254" y="6782"/>
                  </a:lnTo>
                  <a:cubicBezTo>
                    <a:pt x="7234" y="6782"/>
                    <a:pt x="7234" y="6762"/>
                    <a:pt x="7213" y="6762"/>
                  </a:cubicBezTo>
                  <a:cubicBezTo>
                    <a:pt x="7213" y="6762"/>
                    <a:pt x="7192" y="6721"/>
                    <a:pt x="7172" y="6721"/>
                  </a:cubicBezTo>
                  <a:cubicBezTo>
                    <a:pt x="7172" y="6700"/>
                    <a:pt x="7152" y="6680"/>
                    <a:pt x="7152" y="6660"/>
                  </a:cubicBezTo>
                  <a:cubicBezTo>
                    <a:pt x="7131" y="6639"/>
                    <a:pt x="7090" y="6578"/>
                    <a:pt x="7070" y="6557"/>
                  </a:cubicBezTo>
                  <a:cubicBezTo>
                    <a:pt x="7049" y="6516"/>
                    <a:pt x="6988" y="6454"/>
                    <a:pt x="6946" y="6414"/>
                  </a:cubicBezTo>
                  <a:cubicBezTo>
                    <a:pt x="6926" y="6393"/>
                    <a:pt x="6885" y="6332"/>
                    <a:pt x="6864" y="6311"/>
                  </a:cubicBezTo>
                  <a:cubicBezTo>
                    <a:pt x="6844" y="6291"/>
                    <a:pt x="6824" y="6250"/>
                    <a:pt x="6803" y="6229"/>
                  </a:cubicBezTo>
                  <a:cubicBezTo>
                    <a:pt x="6782" y="6209"/>
                    <a:pt x="6742" y="6209"/>
                    <a:pt x="6742" y="6209"/>
                  </a:cubicBezTo>
                  <a:cubicBezTo>
                    <a:pt x="6721" y="6188"/>
                    <a:pt x="6700" y="6168"/>
                    <a:pt x="6680" y="6168"/>
                  </a:cubicBezTo>
                  <a:cubicBezTo>
                    <a:pt x="6680" y="6147"/>
                    <a:pt x="6660" y="6147"/>
                    <a:pt x="6639" y="6147"/>
                  </a:cubicBezTo>
                  <a:cubicBezTo>
                    <a:pt x="6639" y="6147"/>
                    <a:pt x="6619" y="6127"/>
                    <a:pt x="6619" y="6106"/>
                  </a:cubicBezTo>
                  <a:cubicBezTo>
                    <a:pt x="6619" y="6106"/>
                    <a:pt x="6598" y="6086"/>
                    <a:pt x="6598" y="6065"/>
                  </a:cubicBezTo>
                  <a:lnTo>
                    <a:pt x="6619" y="6045"/>
                  </a:lnTo>
                  <a:cubicBezTo>
                    <a:pt x="6619" y="6024"/>
                    <a:pt x="6619" y="6004"/>
                    <a:pt x="6619" y="6004"/>
                  </a:cubicBezTo>
                  <a:lnTo>
                    <a:pt x="6598" y="5983"/>
                  </a:lnTo>
                  <a:cubicBezTo>
                    <a:pt x="6598" y="5983"/>
                    <a:pt x="6578" y="5983"/>
                    <a:pt x="6557" y="5983"/>
                  </a:cubicBezTo>
                  <a:cubicBezTo>
                    <a:pt x="6557" y="6004"/>
                    <a:pt x="6537" y="6024"/>
                    <a:pt x="6537" y="6024"/>
                  </a:cubicBezTo>
                  <a:cubicBezTo>
                    <a:pt x="6516" y="6024"/>
                    <a:pt x="6496" y="6045"/>
                    <a:pt x="6496" y="6045"/>
                  </a:cubicBezTo>
                  <a:cubicBezTo>
                    <a:pt x="6475" y="6045"/>
                    <a:pt x="6455" y="6065"/>
                    <a:pt x="6455" y="6065"/>
                  </a:cubicBezTo>
                  <a:lnTo>
                    <a:pt x="6455" y="6086"/>
                  </a:lnTo>
                  <a:cubicBezTo>
                    <a:pt x="6434" y="6086"/>
                    <a:pt x="6434" y="6106"/>
                    <a:pt x="6414" y="6106"/>
                  </a:cubicBezTo>
                  <a:cubicBezTo>
                    <a:pt x="6414" y="6106"/>
                    <a:pt x="6393" y="6106"/>
                    <a:pt x="6393" y="6127"/>
                  </a:cubicBezTo>
                  <a:cubicBezTo>
                    <a:pt x="6373" y="6127"/>
                    <a:pt x="6373" y="6127"/>
                    <a:pt x="6373" y="6127"/>
                  </a:cubicBezTo>
                  <a:cubicBezTo>
                    <a:pt x="6352" y="6147"/>
                    <a:pt x="6352" y="6147"/>
                    <a:pt x="6352" y="6168"/>
                  </a:cubicBezTo>
                  <a:lnTo>
                    <a:pt x="6352" y="6188"/>
                  </a:lnTo>
                  <a:cubicBezTo>
                    <a:pt x="6352" y="6209"/>
                    <a:pt x="6352" y="6229"/>
                    <a:pt x="6332" y="6229"/>
                  </a:cubicBezTo>
                  <a:cubicBezTo>
                    <a:pt x="6332" y="6229"/>
                    <a:pt x="6311" y="6209"/>
                    <a:pt x="6291" y="6209"/>
                  </a:cubicBezTo>
                  <a:lnTo>
                    <a:pt x="6270" y="6188"/>
                  </a:lnTo>
                  <a:cubicBezTo>
                    <a:pt x="6250" y="6188"/>
                    <a:pt x="6229" y="6188"/>
                    <a:pt x="6229" y="6188"/>
                  </a:cubicBezTo>
                  <a:cubicBezTo>
                    <a:pt x="6209" y="6188"/>
                    <a:pt x="6209" y="6209"/>
                    <a:pt x="6188" y="6209"/>
                  </a:cubicBezTo>
                  <a:lnTo>
                    <a:pt x="6168" y="6209"/>
                  </a:lnTo>
                  <a:cubicBezTo>
                    <a:pt x="6168" y="6188"/>
                    <a:pt x="6168" y="6188"/>
                    <a:pt x="6168" y="6168"/>
                  </a:cubicBezTo>
                  <a:cubicBezTo>
                    <a:pt x="6168" y="6168"/>
                    <a:pt x="6168" y="6147"/>
                    <a:pt x="6188" y="6147"/>
                  </a:cubicBezTo>
                  <a:lnTo>
                    <a:pt x="6209" y="6127"/>
                  </a:lnTo>
                  <a:cubicBezTo>
                    <a:pt x="6209" y="6127"/>
                    <a:pt x="6209" y="6106"/>
                    <a:pt x="6209" y="6086"/>
                  </a:cubicBezTo>
                  <a:lnTo>
                    <a:pt x="6188" y="6086"/>
                  </a:lnTo>
                  <a:cubicBezTo>
                    <a:pt x="6168" y="6086"/>
                    <a:pt x="6168" y="6106"/>
                    <a:pt x="6147" y="6106"/>
                  </a:cubicBezTo>
                  <a:lnTo>
                    <a:pt x="6127" y="6106"/>
                  </a:lnTo>
                  <a:cubicBezTo>
                    <a:pt x="6106" y="6106"/>
                    <a:pt x="6086" y="6086"/>
                    <a:pt x="6086" y="6086"/>
                  </a:cubicBezTo>
                  <a:cubicBezTo>
                    <a:pt x="6086" y="6086"/>
                    <a:pt x="6065" y="6086"/>
                    <a:pt x="6065" y="6106"/>
                  </a:cubicBezTo>
                  <a:lnTo>
                    <a:pt x="6045" y="6106"/>
                  </a:lnTo>
                  <a:cubicBezTo>
                    <a:pt x="6045" y="6086"/>
                    <a:pt x="6024" y="6086"/>
                    <a:pt x="6024" y="6086"/>
                  </a:cubicBezTo>
                  <a:cubicBezTo>
                    <a:pt x="6004" y="6065"/>
                    <a:pt x="6004" y="6065"/>
                    <a:pt x="5983" y="6065"/>
                  </a:cubicBezTo>
                  <a:cubicBezTo>
                    <a:pt x="5983" y="6045"/>
                    <a:pt x="5942" y="6065"/>
                    <a:pt x="5922" y="6065"/>
                  </a:cubicBezTo>
                  <a:cubicBezTo>
                    <a:pt x="5922" y="6065"/>
                    <a:pt x="5901" y="6065"/>
                    <a:pt x="5901" y="6086"/>
                  </a:cubicBezTo>
                  <a:cubicBezTo>
                    <a:pt x="5881" y="6086"/>
                    <a:pt x="5861" y="6086"/>
                    <a:pt x="5861" y="6086"/>
                  </a:cubicBezTo>
                  <a:cubicBezTo>
                    <a:pt x="5840" y="6065"/>
                    <a:pt x="5840" y="6065"/>
                    <a:pt x="5840" y="6045"/>
                  </a:cubicBezTo>
                  <a:cubicBezTo>
                    <a:pt x="5840" y="6045"/>
                    <a:pt x="5840" y="6024"/>
                    <a:pt x="5840" y="6004"/>
                  </a:cubicBezTo>
                  <a:lnTo>
                    <a:pt x="5861" y="5983"/>
                  </a:lnTo>
                  <a:lnTo>
                    <a:pt x="5840" y="5963"/>
                  </a:lnTo>
                  <a:lnTo>
                    <a:pt x="5819" y="5963"/>
                  </a:lnTo>
                  <a:cubicBezTo>
                    <a:pt x="5799" y="5942"/>
                    <a:pt x="5779" y="5942"/>
                    <a:pt x="5779" y="5922"/>
                  </a:cubicBezTo>
                  <a:cubicBezTo>
                    <a:pt x="5779" y="5922"/>
                    <a:pt x="5779" y="5901"/>
                    <a:pt x="5779" y="5881"/>
                  </a:cubicBezTo>
                  <a:cubicBezTo>
                    <a:pt x="5779" y="5881"/>
                    <a:pt x="5779" y="5860"/>
                    <a:pt x="5779" y="5840"/>
                  </a:cubicBezTo>
                  <a:cubicBezTo>
                    <a:pt x="5779" y="5840"/>
                    <a:pt x="5758" y="5819"/>
                    <a:pt x="5737" y="5819"/>
                  </a:cubicBezTo>
                  <a:lnTo>
                    <a:pt x="5717" y="5819"/>
                  </a:lnTo>
                  <a:lnTo>
                    <a:pt x="5697" y="5840"/>
                  </a:lnTo>
                  <a:lnTo>
                    <a:pt x="5676" y="5840"/>
                  </a:lnTo>
                  <a:cubicBezTo>
                    <a:pt x="5655" y="5840"/>
                    <a:pt x="5655" y="5840"/>
                    <a:pt x="5635" y="5840"/>
                  </a:cubicBezTo>
                  <a:cubicBezTo>
                    <a:pt x="5635" y="5819"/>
                    <a:pt x="5615" y="5799"/>
                    <a:pt x="5615" y="5799"/>
                  </a:cubicBezTo>
                  <a:cubicBezTo>
                    <a:pt x="5594" y="5799"/>
                    <a:pt x="5594" y="5819"/>
                    <a:pt x="5573" y="5819"/>
                  </a:cubicBezTo>
                  <a:lnTo>
                    <a:pt x="5553" y="5819"/>
                  </a:lnTo>
                  <a:cubicBezTo>
                    <a:pt x="5553" y="5799"/>
                    <a:pt x="5533" y="5799"/>
                    <a:pt x="5533" y="5799"/>
                  </a:cubicBezTo>
                  <a:cubicBezTo>
                    <a:pt x="5533" y="5799"/>
                    <a:pt x="5512" y="5778"/>
                    <a:pt x="5512" y="5799"/>
                  </a:cubicBezTo>
                  <a:lnTo>
                    <a:pt x="5512" y="5799"/>
                  </a:lnTo>
                  <a:cubicBezTo>
                    <a:pt x="5512" y="5819"/>
                    <a:pt x="5512" y="5819"/>
                    <a:pt x="5512" y="5819"/>
                  </a:cubicBezTo>
                  <a:cubicBezTo>
                    <a:pt x="5512" y="5840"/>
                    <a:pt x="5512" y="5840"/>
                    <a:pt x="5491" y="5840"/>
                  </a:cubicBezTo>
                  <a:cubicBezTo>
                    <a:pt x="5491" y="5860"/>
                    <a:pt x="5451" y="5860"/>
                    <a:pt x="5451" y="5860"/>
                  </a:cubicBezTo>
                  <a:cubicBezTo>
                    <a:pt x="5430" y="5881"/>
                    <a:pt x="5430" y="5901"/>
                    <a:pt x="5430" y="5901"/>
                  </a:cubicBezTo>
                  <a:lnTo>
                    <a:pt x="5430" y="5922"/>
                  </a:lnTo>
                  <a:cubicBezTo>
                    <a:pt x="5409" y="5942"/>
                    <a:pt x="5389" y="5942"/>
                    <a:pt x="5369" y="5942"/>
                  </a:cubicBezTo>
                  <a:cubicBezTo>
                    <a:pt x="5348" y="5963"/>
                    <a:pt x="5327" y="5963"/>
                    <a:pt x="5307" y="5963"/>
                  </a:cubicBezTo>
                  <a:cubicBezTo>
                    <a:pt x="5287" y="5983"/>
                    <a:pt x="5225" y="6004"/>
                    <a:pt x="5205" y="6004"/>
                  </a:cubicBezTo>
                  <a:cubicBezTo>
                    <a:pt x="5205" y="6004"/>
                    <a:pt x="5163" y="6024"/>
                    <a:pt x="5143" y="6024"/>
                  </a:cubicBezTo>
                  <a:lnTo>
                    <a:pt x="5103" y="6004"/>
                  </a:lnTo>
                  <a:cubicBezTo>
                    <a:pt x="5082" y="6004"/>
                    <a:pt x="5061" y="6024"/>
                    <a:pt x="5061" y="6024"/>
                  </a:cubicBezTo>
                  <a:cubicBezTo>
                    <a:pt x="5061" y="6024"/>
                    <a:pt x="5041" y="6045"/>
                    <a:pt x="5041" y="6065"/>
                  </a:cubicBezTo>
                  <a:cubicBezTo>
                    <a:pt x="5041" y="6065"/>
                    <a:pt x="5041" y="6086"/>
                    <a:pt x="5021" y="6086"/>
                  </a:cubicBezTo>
                  <a:cubicBezTo>
                    <a:pt x="5021" y="6106"/>
                    <a:pt x="5000" y="6086"/>
                    <a:pt x="4979" y="6086"/>
                  </a:cubicBezTo>
                  <a:cubicBezTo>
                    <a:pt x="4979" y="6086"/>
                    <a:pt x="4959" y="6086"/>
                    <a:pt x="4939" y="6106"/>
                  </a:cubicBezTo>
                  <a:cubicBezTo>
                    <a:pt x="4939" y="6106"/>
                    <a:pt x="4918" y="6106"/>
                    <a:pt x="4897" y="6106"/>
                  </a:cubicBezTo>
                  <a:cubicBezTo>
                    <a:pt x="4877" y="6106"/>
                    <a:pt x="4857" y="6127"/>
                    <a:pt x="4836" y="6127"/>
                  </a:cubicBezTo>
                  <a:cubicBezTo>
                    <a:pt x="4836" y="6127"/>
                    <a:pt x="4795" y="6127"/>
                    <a:pt x="4795" y="6147"/>
                  </a:cubicBezTo>
                  <a:cubicBezTo>
                    <a:pt x="4775" y="6147"/>
                    <a:pt x="4754" y="6147"/>
                    <a:pt x="4733" y="6147"/>
                  </a:cubicBezTo>
                  <a:cubicBezTo>
                    <a:pt x="4733" y="6168"/>
                    <a:pt x="4733" y="6188"/>
                    <a:pt x="4713" y="6188"/>
                  </a:cubicBezTo>
                  <a:cubicBezTo>
                    <a:pt x="4713" y="6188"/>
                    <a:pt x="4713" y="6209"/>
                    <a:pt x="4693" y="6229"/>
                  </a:cubicBezTo>
                  <a:lnTo>
                    <a:pt x="4672" y="6209"/>
                  </a:lnTo>
                  <a:lnTo>
                    <a:pt x="4651" y="6188"/>
                  </a:lnTo>
                  <a:cubicBezTo>
                    <a:pt x="4651" y="6168"/>
                    <a:pt x="4611" y="6168"/>
                    <a:pt x="4611" y="6168"/>
                  </a:cubicBezTo>
                  <a:cubicBezTo>
                    <a:pt x="4590" y="6147"/>
                    <a:pt x="4569" y="6147"/>
                    <a:pt x="4549" y="6147"/>
                  </a:cubicBezTo>
                  <a:cubicBezTo>
                    <a:pt x="4549" y="6168"/>
                    <a:pt x="4508" y="6168"/>
                    <a:pt x="4508" y="6168"/>
                  </a:cubicBezTo>
                  <a:cubicBezTo>
                    <a:pt x="4508" y="6168"/>
                    <a:pt x="4508" y="6188"/>
                    <a:pt x="4508" y="6209"/>
                  </a:cubicBezTo>
                  <a:cubicBezTo>
                    <a:pt x="4508" y="6209"/>
                    <a:pt x="4487" y="6229"/>
                    <a:pt x="4487" y="6250"/>
                  </a:cubicBezTo>
                  <a:lnTo>
                    <a:pt x="4467" y="6250"/>
                  </a:lnTo>
                  <a:cubicBezTo>
                    <a:pt x="4467" y="6270"/>
                    <a:pt x="4447" y="6291"/>
                    <a:pt x="4467" y="6291"/>
                  </a:cubicBezTo>
                  <a:lnTo>
                    <a:pt x="4487" y="6291"/>
                  </a:lnTo>
                  <a:cubicBezTo>
                    <a:pt x="4508" y="6291"/>
                    <a:pt x="4508" y="6291"/>
                    <a:pt x="4529" y="6291"/>
                  </a:cubicBezTo>
                  <a:lnTo>
                    <a:pt x="4549" y="6291"/>
                  </a:lnTo>
                  <a:cubicBezTo>
                    <a:pt x="4549" y="6291"/>
                    <a:pt x="4569" y="6311"/>
                    <a:pt x="4549" y="6311"/>
                  </a:cubicBezTo>
                  <a:lnTo>
                    <a:pt x="4549" y="6311"/>
                  </a:lnTo>
                  <a:cubicBezTo>
                    <a:pt x="4549" y="6311"/>
                    <a:pt x="4529" y="6332"/>
                    <a:pt x="4508" y="6332"/>
                  </a:cubicBezTo>
                  <a:lnTo>
                    <a:pt x="4529" y="6352"/>
                  </a:lnTo>
                  <a:cubicBezTo>
                    <a:pt x="4529" y="6373"/>
                    <a:pt x="4549" y="6373"/>
                    <a:pt x="4569" y="6373"/>
                  </a:cubicBezTo>
                  <a:cubicBezTo>
                    <a:pt x="4569" y="6373"/>
                    <a:pt x="4590" y="6352"/>
                    <a:pt x="4611" y="6352"/>
                  </a:cubicBezTo>
                  <a:cubicBezTo>
                    <a:pt x="4611" y="6373"/>
                    <a:pt x="4611" y="6373"/>
                    <a:pt x="4631" y="6373"/>
                  </a:cubicBezTo>
                  <a:lnTo>
                    <a:pt x="4631" y="6393"/>
                  </a:lnTo>
                  <a:cubicBezTo>
                    <a:pt x="4631" y="6414"/>
                    <a:pt x="4631" y="6434"/>
                    <a:pt x="4611" y="6434"/>
                  </a:cubicBezTo>
                  <a:lnTo>
                    <a:pt x="4590" y="6434"/>
                  </a:lnTo>
                  <a:cubicBezTo>
                    <a:pt x="4569" y="6434"/>
                    <a:pt x="4529" y="6434"/>
                    <a:pt x="4529" y="6434"/>
                  </a:cubicBezTo>
                  <a:cubicBezTo>
                    <a:pt x="4508" y="6434"/>
                    <a:pt x="4508" y="6454"/>
                    <a:pt x="4487" y="6475"/>
                  </a:cubicBezTo>
                  <a:lnTo>
                    <a:pt x="4487" y="6496"/>
                  </a:lnTo>
                  <a:cubicBezTo>
                    <a:pt x="4487" y="6516"/>
                    <a:pt x="4508" y="6536"/>
                    <a:pt x="4508" y="6536"/>
                  </a:cubicBezTo>
                  <a:cubicBezTo>
                    <a:pt x="4508" y="6557"/>
                    <a:pt x="4508" y="6578"/>
                    <a:pt x="4508" y="6578"/>
                  </a:cubicBezTo>
                  <a:cubicBezTo>
                    <a:pt x="4508" y="6598"/>
                    <a:pt x="4487" y="6618"/>
                    <a:pt x="4487" y="6618"/>
                  </a:cubicBezTo>
                  <a:cubicBezTo>
                    <a:pt x="4467" y="6618"/>
                    <a:pt x="4447" y="6618"/>
                    <a:pt x="4447" y="6618"/>
                  </a:cubicBezTo>
                  <a:cubicBezTo>
                    <a:pt x="4426" y="6639"/>
                    <a:pt x="4405" y="6639"/>
                    <a:pt x="4405" y="6639"/>
                  </a:cubicBezTo>
                  <a:cubicBezTo>
                    <a:pt x="4405" y="6639"/>
                    <a:pt x="4405" y="6660"/>
                    <a:pt x="4405" y="6680"/>
                  </a:cubicBezTo>
                  <a:lnTo>
                    <a:pt x="4426" y="6680"/>
                  </a:lnTo>
                  <a:cubicBezTo>
                    <a:pt x="4426" y="6700"/>
                    <a:pt x="4447" y="6680"/>
                    <a:pt x="4447" y="6700"/>
                  </a:cubicBezTo>
                  <a:cubicBezTo>
                    <a:pt x="4467" y="6700"/>
                    <a:pt x="4508" y="6721"/>
                    <a:pt x="4529" y="6721"/>
                  </a:cubicBezTo>
                  <a:cubicBezTo>
                    <a:pt x="4529" y="6742"/>
                    <a:pt x="4529" y="6742"/>
                    <a:pt x="4529" y="6762"/>
                  </a:cubicBezTo>
                  <a:lnTo>
                    <a:pt x="4549" y="6762"/>
                  </a:lnTo>
                  <a:cubicBezTo>
                    <a:pt x="4569" y="6782"/>
                    <a:pt x="4590" y="6762"/>
                    <a:pt x="4611" y="6762"/>
                  </a:cubicBezTo>
                  <a:cubicBezTo>
                    <a:pt x="4611" y="6782"/>
                    <a:pt x="4611" y="6803"/>
                    <a:pt x="4611" y="6824"/>
                  </a:cubicBezTo>
                  <a:cubicBezTo>
                    <a:pt x="4611" y="6824"/>
                    <a:pt x="4611" y="6864"/>
                    <a:pt x="4611" y="6885"/>
                  </a:cubicBezTo>
                  <a:cubicBezTo>
                    <a:pt x="4611" y="6885"/>
                    <a:pt x="4590" y="6906"/>
                    <a:pt x="4590" y="6926"/>
                  </a:cubicBezTo>
                  <a:cubicBezTo>
                    <a:pt x="4569" y="6926"/>
                    <a:pt x="4549" y="6946"/>
                    <a:pt x="4529" y="6946"/>
                  </a:cubicBezTo>
                  <a:lnTo>
                    <a:pt x="4487" y="6946"/>
                  </a:lnTo>
                  <a:lnTo>
                    <a:pt x="4467" y="6926"/>
                  </a:lnTo>
                  <a:cubicBezTo>
                    <a:pt x="4447" y="6926"/>
                    <a:pt x="4447" y="6906"/>
                    <a:pt x="4447" y="6906"/>
                  </a:cubicBezTo>
                  <a:cubicBezTo>
                    <a:pt x="4426" y="6906"/>
                    <a:pt x="4426" y="6906"/>
                    <a:pt x="4426" y="6906"/>
                  </a:cubicBezTo>
                  <a:cubicBezTo>
                    <a:pt x="4405" y="6906"/>
                    <a:pt x="4405" y="6926"/>
                    <a:pt x="4405" y="6926"/>
                  </a:cubicBezTo>
                  <a:cubicBezTo>
                    <a:pt x="4405" y="6926"/>
                    <a:pt x="4405" y="6946"/>
                    <a:pt x="4405" y="6967"/>
                  </a:cubicBezTo>
                  <a:lnTo>
                    <a:pt x="4405" y="6988"/>
                  </a:lnTo>
                  <a:cubicBezTo>
                    <a:pt x="4385" y="6988"/>
                    <a:pt x="4385" y="6967"/>
                    <a:pt x="4365" y="6967"/>
                  </a:cubicBezTo>
                  <a:lnTo>
                    <a:pt x="4365" y="6946"/>
                  </a:lnTo>
                  <a:cubicBezTo>
                    <a:pt x="4344" y="6946"/>
                    <a:pt x="4344" y="6946"/>
                    <a:pt x="4344" y="6946"/>
                  </a:cubicBezTo>
                  <a:cubicBezTo>
                    <a:pt x="4324" y="6946"/>
                    <a:pt x="4303" y="6946"/>
                    <a:pt x="4303" y="6946"/>
                  </a:cubicBezTo>
                  <a:cubicBezTo>
                    <a:pt x="4283" y="6946"/>
                    <a:pt x="4262" y="6946"/>
                    <a:pt x="4262" y="6926"/>
                  </a:cubicBezTo>
                  <a:cubicBezTo>
                    <a:pt x="4242" y="6926"/>
                    <a:pt x="4242" y="6906"/>
                    <a:pt x="4221" y="6906"/>
                  </a:cubicBezTo>
                  <a:cubicBezTo>
                    <a:pt x="4221" y="6885"/>
                    <a:pt x="4201" y="6864"/>
                    <a:pt x="4201" y="6864"/>
                  </a:cubicBezTo>
                  <a:cubicBezTo>
                    <a:pt x="4180" y="6864"/>
                    <a:pt x="4160" y="6864"/>
                    <a:pt x="4160" y="6864"/>
                  </a:cubicBezTo>
                  <a:cubicBezTo>
                    <a:pt x="4139" y="6864"/>
                    <a:pt x="4119" y="6864"/>
                    <a:pt x="4119" y="6864"/>
                  </a:cubicBezTo>
                  <a:cubicBezTo>
                    <a:pt x="4119" y="6864"/>
                    <a:pt x="4119" y="6885"/>
                    <a:pt x="4119" y="6906"/>
                  </a:cubicBezTo>
                  <a:lnTo>
                    <a:pt x="4098" y="6926"/>
                  </a:lnTo>
                  <a:cubicBezTo>
                    <a:pt x="4078" y="6926"/>
                    <a:pt x="4057" y="6926"/>
                    <a:pt x="4057" y="6926"/>
                  </a:cubicBezTo>
                  <a:cubicBezTo>
                    <a:pt x="4057" y="6906"/>
                    <a:pt x="4037" y="6885"/>
                    <a:pt x="4037" y="6885"/>
                  </a:cubicBezTo>
                  <a:cubicBezTo>
                    <a:pt x="4037" y="6885"/>
                    <a:pt x="4037" y="6885"/>
                    <a:pt x="4016" y="6864"/>
                  </a:cubicBezTo>
                  <a:cubicBezTo>
                    <a:pt x="4016" y="6864"/>
                    <a:pt x="3996" y="6864"/>
                    <a:pt x="3975" y="6864"/>
                  </a:cubicBezTo>
                  <a:cubicBezTo>
                    <a:pt x="3954" y="6885"/>
                    <a:pt x="3934" y="6885"/>
                    <a:pt x="3934" y="6885"/>
                  </a:cubicBezTo>
                  <a:cubicBezTo>
                    <a:pt x="3914" y="6885"/>
                    <a:pt x="3914" y="6906"/>
                    <a:pt x="3914" y="6906"/>
                  </a:cubicBezTo>
                  <a:cubicBezTo>
                    <a:pt x="3893" y="6906"/>
                    <a:pt x="3893" y="6926"/>
                    <a:pt x="3893" y="6926"/>
                  </a:cubicBezTo>
                  <a:cubicBezTo>
                    <a:pt x="3893" y="6946"/>
                    <a:pt x="3893" y="6967"/>
                    <a:pt x="3893" y="6967"/>
                  </a:cubicBezTo>
                  <a:cubicBezTo>
                    <a:pt x="3873" y="6988"/>
                    <a:pt x="3852" y="6988"/>
                    <a:pt x="3852" y="6988"/>
                  </a:cubicBezTo>
                  <a:cubicBezTo>
                    <a:pt x="3832" y="6988"/>
                    <a:pt x="3811" y="6988"/>
                    <a:pt x="3811" y="6988"/>
                  </a:cubicBezTo>
                  <a:cubicBezTo>
                    <a:pt x="3791" y="6988"/>
                    <a:pt x="3770" y="6988"/>
                    <a:pt x="3770" y="6967"/>
                  </a:cubicBezTo>
                  <a:lnTo>
                    <a:pt x="3750" y="6946"/>
                  </a:lnTo>
                  <a:cubicBezTo>
                    <a:pt x="3729" y="6926"/>
                    <a:pt x="3750" y="6926"/>
                    <a:pt x="3729" y="6906"/>
                  </a:cubicBezTo>
                  <a:lnTo>
                    <a:pt x="3709" y="6885"/>
                  </a:lnTo>
                  <a:lnTo>
                    <a:pt x="3688" y="6906"/>
                  </a:lnTo>
                  <a:lnTo>
                    <a:pt x="3688" y="6926"/>
                  </a:lnTo>
                  <a:lnTo>
                    <a:pt x="3688" y="6967"/>
                  </a:lnTo>
                  <a:lnTo>
                    <a:pt x="3688" y="6988"/>
                  </a:lnTo>
                  <a:lnTo>
                    <a:pt x="3668" y="7008"/>
                  </a:lnTo>
                  <a:cubicBezTo>
                    <a:pt x="3668" y="7008"/>
                    <a:pt x="3647" y="7008"/>
                    <a:pt x="3647" y="6988"/>
                  </a:cubicBezTo>
                  <a:cubicBezTo>
                    <a:pt x="3647" y="6988"/>
                    <a:pt x="3647" y="6967"/>
                    <a:pt x="3647" y="6946"/>
                  </a:cubicBezTo>
                  <a:cubicBezTo>
                    <a:pt x="3647" y="6946"/>
                    <a:pt x="3647" y="6926"/>
                    <a:pt x="3627" y="6926"/>
                  </a:cubicBezTo>
                  <a:cubicBezTo>
                    <a:pt x="3627" y="6906"/>
                    <a:pt x="3586" y="6906"/>
                    <a:pt x="3586" y="6885"/>
                  </a:cubicBezTo>
                  <a:lnTo>
                    <a:pt x="3566" y="6864"/>
                  </a:lnTo>
                  <a:cubicBezTo>
                    <a:pt x="3545" y="6844"/>
                    <a:pt x="3524" y="6844"/>
                    <a:pt x="3524" y="6844"/>
                  </a:cubicBezTo>
                  <a:cubicBezTo>
                    <a:pt x="3504" y="6844"/>
                    <a:pt x="3504" y="6803"/>
                    <a:pt x="3484" y="6803"/>
                  </a:cubicBezTo>
                  <a:cubicBezTo>
                    <a:pt x="3484" y="6803"/>
                    <a:pt x="3463" y="6782"/>
                    <a:pt x="3463" y="6762"/>
                  </a:cubicBezTo>
                  <a:cubicBezTo>
                    <a:pt x="3442" y="6762"/>
                    <a:pt x="3422" y="6762"/>
                    <a:pt x="3422" y="6762"/>
                  </a:cubicBezTo>
                  <a:cubicBezTo>
                    <a:pt x="3402" y="6762"/>
                    <a:pt x="3381" y="6762"/>
                    <a:pt x="3381" y="6762"/>
                  </a:cubicBezTo>
                  <a:lnTo>
                    <a:pt x="3360" y="6742"/>
                  </a:lnTo>
                  <a:lnTo>
                    <a:pt x="3340" y="6742"/>
                  </a:lnTo>
                  <a:cubicBezTo>
                    <a:pt x="3320" y="6742"/>
                    <a:pt x="3299" y="6742"/>
                    <a:pt x="3299" y="6762"/>
                  </a:cubicBezTo>
                  <a:lnTo>
                    <a:pt x="3278" y="6782"/>
                  </a:lnTo>
                  <a:cubicBezTo>
                    <a:pt x="3258" y="6782"/>
                    <a:pt x="3238" y="6782"/>
                    <a:pt x="3238" y="6782"/>
                  </a:cubicBezTo>
                  <a:lnTo>
                    <a:pt x="3217" y="6782"/>
                  </a:lnTo>
                  <a:cubicBezTo>
                    <a:pt x="3217" y="6782"/>
                    <a:pt x="3196" y="6762"/>
                    <a:pt x="3196" y="6742"/>
                  </a:cubicBezTo>
                  <a:cubicBezTo>
                    <a:pt x="3176" y="6742"/>
                    <a:pt x="3156" y="6742"/>
                    <a:pt x="3135" y="6742"/>
                  </a:cubicBezTo>
                  <a:cubicBezTo>
                    <a:pt x="3135" y="6762"/>
                    <a:pt x="3114" y="6782"/>
                    <a:pt x="3114" y="6782"/>
                  </a:cubicBezTo>
                  <a:cubicBezTo>
                    <a:pt x="3114" y="6803"/>
                    <a:pt x="3094" y="6824"/>
                    <a:pt x="3094" y="6824"/>
                  </a:cubicBezTo>
                  <a:cubicBezTo>
                    <a:pt x="3074" y="6824"/>
                    <a:pt x="3053" y="6844"/>
                    <a:pt x="3053" y="6844"/>
                  </a:cubicBezTo>
                  <a:cubicBezTo>
                    <a:pt x="3032" y="6844"/>
                    <a:pt x="3012" y="6864"/>
                    <a:pt x="2992" y="6864"/>
                  </a:cubicBezTo>
                  <a:lnTo>
                    <a:pt x="2971" y="6885"/>
                  </a:lnTo>
                  <a:cubicBezTo>
                    <a:pt x="2971" y="6885"/>
                    <a:pt x="2971" y="6926"/>
                    <a:pt x="2950" y="6926"/>
                  </a:cubicBezTo>
                  <a:lnTo>
                    <a:pt x="2930" y="6946"/>
                  </a:lnTo>
                  <a:cubicBezTo>
                    <a:pt x="2910" y="6967"/>
                    <a:pt x="2910" y="6988"/>
                    <a:pt x="2889" y="6988"/>
                  </a:cubicBezTo>
                  <a:lnTo>
                    <a:pt x="2848" y="6988"/>
                  </a:lnTo>
                  <a:cubicBezTo>
                    <a:pt x="2828" y="7008"/>
                    <a:pt x="2848" y="7028"/>
                    <a:pt x="2848" y="7028"/>
                  </a:cubicBezTo>
                  <a:cubicBezTo>
                    <a:pt x="2848" y="7049"/>
                    <a:pt x="2848" y="7069"/>
                    <a:pt x="2868" y="7090"/>
                  </a:cubicBezTo>
                  <a:cubicBezTo>
                    <a:pt x="2868" y="7090"/>
                    <a:pt x="2868" y="7110"/>
                    <a:pt x="2868" y="7130"/>
                  </a:cubicBezTo>
                  <a:lnTo>
                    <a:pt x="2848" y="7151"/>
                  </a:lnTo>
                  <a:cubicBezTo>
                    <a:pt x="2848" y="7172"/>
                    <a:pt x="2808" y="7172"/>
                    <a:pt x="2808" y="7151"/>
                  </a:cubicBezTo>
                  <a:cubicBezTo>
                    <a:pt x="2787" y="7151"/>
                    <a:pt x="2787" y="7130"/>
                    <a:pt x="2766" y="7130"/>
                  </a:cubicBezTo>
                  <a:lnTo>
                    <a:pt x="2746" y="7110"/>
                  </a:lnTo>
                  <a:lnTo>
                    <a:pt x="2725" y="7069"/>
                  </a:lnTo>
                  <a:cubicBezTo>
                    <a:pt x="2725" y="7069"/>
                    <a:pt x="2725" y="7049"/>
                    <a:pt x="2725" y="7028"/>
                  </a:cubicBezTo>
                  <a:cubicBezTo>
                    <a:pt x="2705" y="7028"/>
                    <a:pt x="2684" y="7028"/>
                    <a:pt x="2684" y="7028"/>
                  </a:cubicBezTo>
                  <a:cubicBezTo>
                    <a:pt x="2684" y="7028"/>
                    <a:pt x="2664" y="7028"/>
                    <a:pt x="2664" y="7049"/>
                  </a:cubicBezTo>
                  <a:cubicBezTo>
                    <a:pt x="2664" y="7049"/>
                    <a:pt x="2664" y="7069"/>
                    <a:pt x="2664" y="7090"/>
                  </a:cubicBezTo>
                  <a:cubicBezTo>
                    <a:pt x="2664" y="7110"/>
                    <a:pt x="2664" y="7130"/>
                    <a:pt x="2644" y="7151"/>
                  </a:cubicBezTo>
                  <a:cubicBezTo>
                    <a:pt x="2644" y="7151"/>
                    <a:pt x="2623" y="7151"/>
                    <a:pt x="2623" y="7172"/>
                  </a:cubicBezTo>
                  <a:cubicBezTo>
                    <a:pt x="2602" y="7172"/>
                    <a:pt x="2602" y="7192"/>
                    <a:pt x="2602" y="7212"/>
                  </a:cubicBezTo>
                  <a:lnTo>
                    <a:pt x="2602" y="7233"/>
                  </a:lnTo>
                  <a:cubicBezTo>
                    <a:pt x="2602" y="7254"/>
                    <a:pt x="2582" y="7254"/>
                    <a:pt x="2582" y="7274"/>
                  </a:cubicBezTo>
                  <a:cubicBezTo>
                    <a:pt x="2582" y="7294"/>
                    <a:pt x="2582" y="7336"/>
                    <a:pt x="2582" y="7356"/>
                  </a:cubicBezTo>
                  <a:cubicBezTo>
                    <a:pt x="2582" y="7356"/>
                    <a:pt x="2562" y="7376"/>
                    <a:pt x="2562" y="7397"/>
                  </a:cubicBezTo>
                  <a:cubicBezTo>
                    <a:pt x="2562" y="7418"/>
                    <a:pt x="2562" y="7438"/>
                    <a:pt x="2562" y="7438"/>
                  </a:cubicBezTo>
                  <a:cubicBezTo>
                    <a:pt x="2562" y="7458"/>
                    <a:pt x="2562" y="7479"/>
                    <a:pt x="2562" y="7479"/>
                  </a:cubicBezTo>
                  <a:cubicBezTo>
                    <a:pt x="2582" y="7479"/>
                    <a:pt x="2602" y="7500"/>
                    <a:pt x="2602" y="7500"/>
                  </a:cubicBezTo>
                  <a:lnTo>
                    <a:pt x="2623" y="7520"/>
                  </a:lnTo>
                  <a:cubicBezTo>
                    <a:pt x="2644" y="7520"/>
                    <a:pt x="2644" y="7540"/>
                    <a:pt x="2644" y="7561"/>
                  </a:cubicBezTo>
                  <a:cubicBezTo>
                    <a:pt x="2644" y="7561"/>
                    <a:pt x="2623" y="7582"/>
                    <a:pt x="2644" y="7602"/>
                  </a:cubicBezTo>
                  <a:lnTo>
                    <a:pt x="2664" y="7602"/>
                  </a:lnTo>
                  <a:cubicBezTo>
                    <a:pt x="2684" y="7622"/>
                    <a:pt x="2705" y="7602"/>
                    <a:pt x="2705" y="7602"/>
                  </a:cubicBezTo>
                  <a:cubicBezTo>
                    <a:pt x="2725" y="7622"/>
                    <a:pt x="2725" y="7622"/>
                    <a:pt x="2746" y="7622"/>
                  </a:cubicBezTo>
                  <a:lnTo>
                    <a:pt x="2787" y="7622"/>
                  </a:lnTo>
                  <a:cubicBezTo>
                    <a:pt x="2787" y="7622"/>
                    <a:pt x="2808" y="7643"/>
                    <a:pt x="2808" y="7664"/>
                  </a:cubicBezTo>
                  <a:cubicBezTo>
                    <a:pt x="2828" y="7664"/>
                    <a:pt x="2828" y="7704"/>
                    <a:pt x="2848" y="7704"/>
                  </a:cubicBezTo>
                  <a:cubicBezTo>
                    <a:pt x="2848" y="7725"/>
                    <a:pt x="2868" y="7746"/>
                    <a:pt x="2889" y="7766"/>
                  </a:cubicBezTo>
                  <a:cubicBezTo>
                    <a:pt x="2889" y="7786"/>
                    <a:pt x="2910" y="7807"/>
                    <a:pt x="2910" y="7807"/>
                  </a:cubicBezTo>
                  <a:cubicBezTo>
                    <a:pt x="2930" y="7827"/>
                    <a:pt x="2930" y="7868"/>
                    <a:pt x="2930" y="7889"/>
                  </a:cubicBezTo>
                  <a:cubicBezTo>
                    <a:pt x="2930" y="7889"/>
                    <a:pt x="2950" y="7909"/>
                    <a:pt x="2950" y="7930"/>
                  </a:cubicBezTo>
                  <a:lnTo>
                    <a:pt x="2950" y="7930"/>
                  </a:lnTo>
                  <a:cubicBezTo>
                    <a:pt x="2950" y="7930"/>
                    <a:pt x="2930" y="7930"/>
                    <a:pt x="2930" y="7950"/>
                  </a:cubicBezTo>
                  <a:cubicBezTo>
                    <a:pt x="2930" y="7950"/>
                    <a:pt x="2930" y="7950"/>
                    <a:pt x="2930" y="7971"/>
                  </a:cubicBezTo>
                  <a:lnTo>
                    <a:pt x="2930" y="7991"/>
                  </a:lnTo>
                  <a:cubicBezTo>
                    <a:pt x="2910" y="7991"/>
                    <a:pt x="2910" y="8012"/>
                    <a:pt x="2889" y="8012"/>
                  </a:cubicBezTo>
                  <a:cubicBezTo>
                    <a:pt x="2889" y="8032"/>
                    <a:pt x="2889" y="8032"/>
                    <a:pt x="2868" y="8053"/>
                  </a:cubicBezTo>
                  <a:cubicBezTo>
                    <a:pt x="2868" y="8053"/>
                    <a:pt x="2868" y="8073"/>
                    <a:pt x="2848" y="8073"/>
                  </a:cubicBezTo>
                  <a:cubicBezTo>
                    <a:pt x="2848" y="8073"/>
                    <a:pt x="2828" y="8094"/>
                    <a:pt x="2808" y="8094"/>
                  </a:cubicBezTo>
                  <a:cubicBezTo>
                    <a:pt x="2808" y="8094"/>
                    <a:pt x="2808" y="8114"/>
                    <a:pt x="2787" y="8135"/>
                  </a:cubicBezTo>
                  <a:cubicBezTo>
                    <a:pt x="2787" y="8135"/>
                    <a:pt x="2787" y="8155"/>
                    <a:pt x="2787" y="8176"/>
                  </a:cubicBezTo>
                  <a:cubicBezTo>
                    <a:pt x="2766" y="8176"/>
                    <a:pt x="2746" y="8176"/>
                    <a:pt x="2725" y="8176"/>
                  </a:cubicBezTo>
                  <a:cubicBezTo>
                    <a:pt x="2725" y="8176"/>
                    <a:pt x="2705" y="8155"/>
                    <a:pt x="2705" y="8176"/>
                  </a:cubicBezTo>
                  <a:cubicBezTo>
                    <a:pt x="2684" y="8176"/>
                    <a:pt x="2664" y="8176"/>
                    <a:pt x="2664" y="8196"/>
                  </a:cubicBezTo>
                  <a:cubicBezTo>
                    <a:pt x="2664" y="8196"/>
                    <a:pt x="2664" y="8237"/>
                    <a:pt x="2664" y="8258"/>
                  </a:cubicBezTo>
                  <a:cubicBezTo>
                    <a:pt x="2664" y="8258"/>
                    <a:pt x="2664" y="8278"/>
                    <a:pt x="2664" y="8299"/>
                  </a:cubicBezTo>
                  <a:cubicBezTo>
                    <a:pt x="2644" y="8299"/>
                    <a:pt x="2644" y="8319"/>
                    <a:pt x="2644" y="8319"/>
                  </a:cubicBezTo>
                  <a:cubicBezTo>
                    <a:pt x="2623" y="8319"/>
                    <a:pt x="2623" y="8340"/>
                    <a:pt x="2623" y="8360"/>
                  </a:cubicBezTo>
                  <a:lnTo>
                    <a:pt x="2602" y="8381"/>
                  </a:lnTo>
                  <a:cubicBezTo>
                    <a:pt x="2602" y="8401"/>
                    <a:pt x="2623" y="8422"/>
                    <a:pt x="2623" y="8422"/>
                  </a:cubicBezTo>
                  <a:cubicBezTo>
                    <a:pt x="2623" y="8442"/>
                    <a:pt x="2644" y="8442"/>
                    <a:pt x="2644" y="8442"/>
                  </a:cubicBezTo>
                  <a:cubicBezTo>
                    <a:pt x="2644" y="8463"/>
                    <a:pt x="2664" y="8483"/>
                    <a:pt x="2664" y="8503"/>
                  </a:cubicBezTo>
                  <a:cubicBezTo>
                    <a:pt x="2664" y="8503"/>
                    <a:pt x="2684" y="8524"/>
                    <a:pt x="2684" y="8545"/>
                  </a:cubicBezTo>
                  <a:cubicBezTo>
                    <a:pt x="2684" y="8565"/>
                    <a:pt x="2705" y="8585"/>
                    <a:pt x="2705" y="8585"/>
                  </a:cubicBezTo>
                  <a:cubicBezTo>
                    <a:pt x="2725" y="8606"/>
                    <a:pt x="2725" y="8606"/>
                    <a:pt x="2725" y="8627"/>
                  </a:cubicBezTo>
                  <a:cubicBezTo>
                    <a:pt x="2746" y="8627"/>
                    <a:pt x="2746" y="8647"/>
                    <a:pt x="2746" y="8647"/>
                  </a:cubicBezTo>
                  <a:cubicBezTo>
                    <a:pt x="2746" y="8667"/>
                    <a:pt x="2725" y="8688"/>
                    <a:pt x="2725" y="8688"/>
                  </a:cubicBezTo>
                  <a:cubicBezTo>
                    <a:pt x="2725" y="8709"/>
                    <a:pt x="2746" y="8729"/>
                    <a:pt x="2746" y="8749"/>
                  </a:cubicBezTo>
                  <a:cubicBezTo>
                    <a:pt x="2746" y="8749"/>
                    <a:pt x="2746" y="8770"/>
                    <a:pt x="2766" y="8770"/>
                  </a:cubicBezTo>
                  <a:cubicBezTo>
                    <a:pt x="2766" y="8791"/>
                    <a:pt x="2766" y="8811"/>
                    <a:pt x="2787" y="8831"/>
                  </a:cubicBezTo>
                  <a:lnTo>
                    <a:pt x="2828" y="8852"/>
                  </a:lnTo>
                  <a:cubicBezTo>
                    <a:pt x="2848" y="8873"/>
                    <a:pt x="2868" y="8913"/>
                    <a:pt x="2889" y="8934"/>
                  </a:cubicBezTo>
                  <a:lnTo>
                    <a:pt x="2910" y="8975"/>
                  </a:lnTo>
                  <a:cubicBezTo>
                    <a:pt x="2910" y="8975"/>
                    <a:pt x="2910" y="8995"/>
                    <a:pt x="2930" y="9016"/>
                  </a:cubicBezTo>
                  <a:lnTo>
                    <a:pt x="2910" y="9016"/>
                  </a:lnTo>
                  <a:cubicBezTo>
                    <a:pt x="2910" y="9016"/>
                    <a:pt x="2889" y="9016"/>
                    <a:pt x="2889" y="9037"/>
                  </a:cubicBezTo>
                  <a:cubicBezTo>
                    <a:pt x="2868" y="9037"/>
                    <a:pt x="2868" y="9037"/>
                    <a:pt x="2848" y="9037"/>
                  </a:cubicBezTo>
                  <a:cubicBezTo>
                    <a:pt x="2848" y="9057"/>
                    <a:pt x="2848" y="9057"/>
                    <a:pt x="2828" y="9077"/>
                  </a:cubicBezTo>
                  <a:cubicBezTo>
                    <a:pt x="2828" y="9077"/>
                    <a:pt x="2808" y="9077"/>
                    <a:pt x="2808" y="9098"/>
                  </a:cubicBezTo>
                  <a:lnTo>
                    <a:pt x="2787" y="9098"/>
                  </a:lnTo>
                  <a:cubicBezTo>
                    <a:pt x="2766" y="9098"/>
                    <a:pt x="2746" y="9098"/>
                    <a:pt x="2746" y="9098"/>
                  </a:cubicBezTo>
                  <a:lnTo>
                    <a:pt x="2725" y="9098"/>
                  </a:lnTo>
                  <a:cubicBezTo>
                    <a:pt x="2705" y="9077"/>
                    <a:pt x="2705" y="9057"/>
                    <a:pt x="2705" y="9037"/>
                  </a:cubicBezTo>
                  <a:cubicBezTo>
                    <a:pt x="2684" y="9037"/>
                    <a:pt x="2684" y="9037"/>
                    <a:pt x="2664" y="9016"/>
                  </a:cubicBezTo>
                  <a:cubicBezTo>
                    <a:pt x="2664" y="9016"/>
                    <a:pt x="2644" y="9016"/>
                    <a:pt x="2644" y="8995"/>
                  </a:cubicBezTo>
                  <a:close/>
                  <a:moveTo>
                    <a:pt x="11044" y="5860"/>
                  </a:moveTo>
                  <a:lnTo>
                    <a:pt x="11044" y="5860"/>
                  </a:lnTo>
                  <a:lnTo>
                    <a:pt x="11044" y="5840"/>
                  </a:lnTo>
                  <a:cubicBezTo>
                    <a:pt x="11044" y="5819"/>
                    <a:pt x="11044" y="5819"/>
                    <a:pt x="11044" y="5819"/>
                  </a:cubicBezTo>
                  <a:cubicBezTo>
                    <a:pt x="11044" y="5799"/>
                    <a:pt x="11044" y="5778"/>
                    <a:pt x="11044" y="5778"/>
                  </a:cubicBezTo>
                  <a:cubicBezTo>
                    <a:pt x="11044" y="5758"/>
                    <a:pt x="11044" y="5758"/>
                    <a:pt x="11044" y="5758"/>
                  </a:cubicBezTo>
                  <a:cubicBezTo>
                    <a:pt x="11044" y="5737"/>
                    <a:pt x="11023" y="5717"/>
                    <a:pt x="11023" y="5696"/>
                  </a:cubicBezTo>
                  <a:lnTo>
                    <a:pt x="11003" y="5676"/>
                  </a:lnTo>
                  <a:cubicBezTo>
                    <a:pt x="11003" y="5655"/>
                    <a:pt x="11003" y="5635"/>
                    <a:pt x="11003" y="5615"/>
                  </a:cubicBezTo>
                  <a:cubicBezTo>
                    <a:pt x="10982" y="5594"/>
                    <a:pt x="10982" y="5573"/>
                    <a:pt x="10982" y="5553"/>
                  </a:cubicBezTo>
                  <a:cubicBezTo>
                    <a:pt x="10982" y="5533"/>
                    <a:pt x="10982" y="5512"/>
                    <a:pt x="10962" y="5491"/>
                  </a:cubicBezTo>
                  <a:cubicBezTo>
                    <a:pt x="10962" y="5471"/>
                    <a:pt x="10962" y="5471"/>
                    <a:pt x="10941" y="5451"/>
                  </a:cubicBezTo>
                  <a:cubicBezTo>
                    <a:pt x="10941" y="5451"/>
                    <a:pt x="10962" y="5430"/>
                    <a:pt x="10941" y="5409"/>
                  </a:cubicBezTo>
                  <a:lnTo>
                    <a:pt x="10941" y="5369"/>
                  </a:lnTo>
                  <a:lnTo>
                    <a:pt x="10921" y="5348"/>
                  </a:lnTo>
                  <a:lnTo>
                    <a:pt x="10900" y="5348"/>
                  </a:lnTo>
                  <a:cubicBezTo>
                    <a:pt x="10880" y="5348"/>
                    <a:pt x="10880" y="5369"/>
                    <a:pt x="10880" y="5369"/>
                  </a:cubicBezTo>
                  <a:lnTo>
                    <a:pt x="10880" y="5389"/>
                  </a:lnTo>
                  <a:lnTo>
                    <a:pt x="10880" y="5409"/>
                  </a:lnTo>
                  <a:cubicBezTo>
                    <a:pt x="10880" y="5430"/>
                    <a:pt x="10859" y="5430"/>
                    <a:pt x="10859" y="5451"/>
                  </a:cubicBezTo>
                  <a:lnTo>
                    <a:pt x="10880" y="5471"/>
                  </a:lnTo>
                  <a:lnTo>
                    <a:pt x="10880" y="5491"/>
                  </a:lnTo>
                  <a:cubicBezTo>
                    <a:pt x="10880" y="5512"/>
                    <a:pt x="10880" y="5512"/>
                    <a:pt x="10880" y="5533"/>
                  </a:cubicBezTo>
                  <a:lnTo>
                    <a:pt x="10880" y="5553"/>
                  </a:lnTo>
                  <a:cubicBezTo>
                    <a:pt x="10900" y="5573"/>
                    <a:pt x="10900" y="5573"/>
                    <a:pt x="10900" y="5573"/>
                  </a:cubicBezTo>
                  <a:cubicBezTo>
                    <a:pt x="10900" y="5594"/>
                    <a:pt x="10900" y="5615"/>
                    <a:pt x="10900" y="5635"/>
                  </a:cubicBezTo>
                  <a:cubicBezTo>
                    <a:pt x="10900" y="5635"/>
                    <a:pt x="10921" y="5655"/>
                    <a:pt x="10900" y="5676"/>
                  </a:cubicBezTo>
                  <a:cubicBezTo>
                    <a:pt x="10900" y="5696"/>
                    <a:pt x="10900" y="5717"/>
                    <a:pt x="10900" y="5717"/>
                  </a:cubicBezTo>
                  <a:cubicBezTo>
                    <a:pt x="10900" y="5737"/>
                    <a:pt x="10900" y="5758"/>
                    <a:pt x="10900" y="5758"/>
                  </a:cubicBezTo>
                  <a:cubicBezTo>
                    <a:pt x="10900" y="5778"/>
                    <a:pt x="10880" y="5778"/>
                    <a:pt x="10880" y="5799"/>
                  </a:cubicBezTo>
                  <a:lnTo>
                    <a:pt x="10880" y="5819"/>
                  </a:lnTo>
                  <a:cubicBezTo>
                    <a:pt x="10859" y="5819"/>
                    <a:pt x="10859" y="5840"/>
                    <a:pt x="10859" y="5840"/>
                  </a:cubicBezTo>
                  <a:cubicBezTo>
                    <a:pt x="10839" y="5840"/>
                    <a:pt x="10839" y="5860"/>
                    <a:pt x="10839" y="5881"/>
                  </a:cubicBezTo>
                  <a:cubicBezTo>
                    <a:pt x="10839" y="5881"/>
                    <a:pt x="10859" y="5901"/>
                    <a:pt x="10839" y="5922"/>
                  </a:cubicBezTo>
                  <a:lnTo>
                    <a:pt x="10839" y="5942"/>
                  </a:lnTo>
                  <a:lnTo>
                    <a:pt x="10818" y="5963"/>
                  </a:lnTo>
                  <a:lnTo>
                    <a:pt x="10818" y="5983"/>
                  </a:lnTo>
                  <a:cubicBezTo>
                    <a:pt x="10798" y="5983"/>
                    <a:pt x="10777" y="6004"/>
                    <a:pt x="10777" y="6004"/>
                  </a:cubicBezTo>
                  <a:lnTo>
                    <a:pt x="10777" y="6024"/>
                  </a:lnTo>
                  <a:lnTo>
                    <a:pt x="10757" y="6024"/>
                  </a:lnTo>
                  <a:cubicBezTo>
                    <a:pt x="10757" y="6045"/>
                    <a:pt x="10736" y="6045"/>
                    <a:pt x="10757" y="6065"/>
                  </a:cubicBezTo>
                  <a:lnTo>
                    <a:pt x="10757" y="6065"/>
                  </a:lnTo>
                  <a:cubicBezTo>
                    <a:pt x="10777" y="6065"/>
                    <a:pt x="10777" y="6045"/>
                    <a:pt x="10777" y="6045"/>
                  </a:cubicBezTo>
                  <a:cubicBezTo>
                    <a:pt x="10777" y="6065"/>
                    <a:pt x="10798" y="6065"/>
                    <a:pt x="10798" y="6065"/>
                  </a:cubicBezTo>
                  <a:lnTo>
                    <a:pt x="10798" y="6086"/>
                  </a:lnTo>
                  <a:cubicBezTo>
                    <a:pt x="10798" y="6106"/>
                    <a:pt x="10777" y="6106"/>
                    <a:pt x="10777" y="6127"/>
                  </a:cubicBezTo>
                  <a:cubicBezTo>
                    <a:pt x="10757" y="6127"/>
                    <a:pt x="10757" y="6168"/>
                    <a:pt x="10736" y="6168"/>
                  </a:cubicBezTo>
                  <a:cubicBezTo>
                    <a:pt x="10736" y="6188"/>
                    <a:pt x="10736" y="6209"/>
                    <a:pt x="10736" y="6209"/>
                  </a:cubicBezTo>
                  <a:cubicBezTo>
                    <a:pt x="10716" y="6229"/>
                    <a:pt x="10716" y="6250"/>
                    <a:pt x="10716" y="6250"/>
                  </a:cubicBezTo>
                  <a:cubicBezTo>
                    <a:pt x="10716" y="6270"/>
                    <a:pt x="10695" y="6270"/>
                    <a:pt x="10695" y="6291"/>
                  </a:cubicBezTo>
                  <a:lnTo>
                    <a:pt x="10675" y="6311"/>
                  </a:lnTo>
                  <a:cubicBezTo>
                    <a:pt x="10675" y="6311"/>
                    <a:pt x="10654" y="6311"/>
                    <a:pt x="10654" y="6332"/>
                  </a:cubicBezTo>
                  <a:cubicBezTo>
                    <a:pt x="10634" y="6332"/>
                    <a:pt x="10613" y="6332"/>
                    <a:pt x="10613" y="6311"/>
                  </a:cubicBezTo>
                  <a:lnTo>
                    <a:pt x="10593" y="6291"/>
                  </a:lnTo>
                  <a:lnTo>
                    <a:pt x="10572" y="6270"/>
                  </a:lnTo>
                  <a:cubicBezTo>
                    <a:pt x="10572" y="6250"/>
                    <a:pt x="10572" y="6229"/>
                    <a:pt x="10572" y="6229"/>
                  </a:cubicBezTo>
                  <a:cubicBezTo>
                    <a:pt x="10572" y="6229"/>
                    <a:pt x="10572" y="6209"/>
                    <a:pt x="10572" y="6188"/>
                  </a:cubicBezTo>
                  <a:cubicBezTo>
                    <a:pt x="10572" y="6188"/>
                    <a:pt x="10572" y="6188"/>
                    <a:pt x="10552" y="6188"/>
                  </a:cubicBezTo>
                  <a:lnTo>
                    <a:pt x="10552" y="6209"/>
                  </a:lnTo>
                  <a:cubicBezTo>
                    <a:pt x="10552" y="6229"/>
                    <a:pt x="10552" y="6250"/>
                    <a:pt x="10552" y="6250"/>
                  </a:cubicBezTo>
                  <a:cubicBezTo>
                    <a:pt x="10552" y="6270"/>
                    <a:pt x="10531" y="6270"/>
                    <a:pt x="10552" y="6291"/>
                  </a:cubicBezTo>
                  <a:lnTo>
                    <a:pt x="10552" y="6291"/>
                  </a:lnTo>
                  <a:cubicBezTo>
                    <a:pt x="10572" y="6311"/>
                    <a:pt x="10572" y="6311"/>
                    <a:pt x="10593" y="6311"/>
                  </a:cubicBezTo>
                  <a:lnTo>
                    <a:pt x="10572" y="6332"/>
                  </a:lnTo>
                  <a:cubicBezTo>
                    <a:pt x="10572" y="6352"/>
                    <a:pt x="10552" y="6332"/>
                    <a:pt x="10531" y="6332"/>
                  </a:cubicBezTo>
                  <a:cubicBezTo>
                    <a:pt x="10531" y="6352"/>
                    <a:pt x="10511" y="6352"/>
                    <a:pt x="10511" y="6352"/>
                  </a:cubicBezTo>
                  <a:lnTo>
                    <a:pt x="10511" y="6373"/>
                  </a:lnTo>
                  <a:cubicBezTo>
                    <a:pt x="10511" y="6373"/>
                    <a:pt x="10511" y="6393"/>
                    <a:pt x="10531" y="6393"/>
                  </a:cubicBezTo>
                  <a:lnTo>
                    <a:pt x="10552" y="6393"/>
                  </a:lnTo>
                  <a:lnTo>
                    <a:pt x="10572" y="6414"/>
                  </a:lnTo>
                  <a:lnTo>
                    <a:pt x="10572" y="6434"/>
                  </a:lnTo>
                  <a:lnTo>
                    <a:pt x="10593" y="6434"/>
                  </a:lnTo>
                  <a:cubicBezTo>
                    <a:pt x="10613" y="6434"/>
                    <a:pt x="10613" y="6414"/>
                    <a:pt x="10613" y="6414"/>
                  </a:cubicBezTo>
                  <a:lnTo>
                    <a:pt x="10634" y="6393"/>
                  </a:lnTo>
                  <a:cubicBezTo>
                    <a:pt x="10654" y="6393"/>
                    <a:pt x="10675" y="6393"/>
                    <a:pt x="10675" y="6393"/>
                  </a:cubicBezTo>
                  <a:cubicBezTo>
                    <a:pt x="10695" y="6393"/>
                    <a:pt x="10716" y="6393"/>
                    <a:pt x="10736" y="6393"/>
                  </a:cubicBezTo>
                  <a:cubicBezTo>
                    <a:pt x="10736" y="6373"/>
                    <a:pt x="10757" y="6373"/>
                    <a:pt x="10777" y="6352"/>
                  </a:cubicBezTo>
                  <a:cubicBezTo>
                    <a:pt x="10777" y="6352"/>
                    <a:pt x="10798" y="6332"/>
                    <a:pt x="10798" y="6311"/>
                  </a:cubicBezTo>
                  <a:cubicBezTo>
                    <a:pt x="10798" y="6311"/>
                    <a:pt x="10798" y="6291"/>
                    <a:pt x="10798" y="6270"/>
                  </a:cubicBezTo>
                  <a:cubicBezTo>
                    <a:pt x="10798" y="6270"/>
                    <a:pt x="10798" y="6250"/>
                    <a:pt x="10798" y="6229"/>
                  </a:cubicBezTo>
                  <a:lnTo>
                    <a:pt x="10798" y="6209"/>
                  </a:lnTo>
                  <a:lnTo>
                    <a:pt x="10818" y="6209"/>
                  </a:lnTo>
                  <a:cubicBezTo>
                    <a:pt x="10839" y="6209"/>
                    <a:pt x="10839" y="6209"/>
                    <a:pt x="10839" y="6209"/>
                  </a:cubicBezTo>
                  <a:lnTo>
                    <a:pt x="10839" y="6209"/>
                  </a:lnTo>
                  <a:cubicBezTo>
                    <a:pt x="10839" y="6229"/>
                    <a:pt x="10859" y="6229"/>
                    <a:pt x="10859" y="6229"/>
                  </a:cubicBezTo>
                  <a:lnTo>
                    <a:pt x="10880" y="6229"/>
                  </a:lnTo>
                  <a:cubicBezTo>
                    <a:pt x="10880" y="6209"/>
                    <a:pt x="10880" y="6188"/>
                    <a:pt x="10880" y="6188"/>
                  </a:cubicBezTo>
                  <a:cubicBezTo>
                    <a:pt x="10880" y="6168"/>
                    <a:pt x="10880" y="6168"/>
                    <a:pt x="10880" y="6147"/>
                  </a:cubicBezTo>
                  <a:cubicBezTo>
                    <a:pt x="10880" y="6147"/>
                    <a:pt x="10900" y="6127"/>
                    <a:pt x="10921" y="6127"/>
                  </a:cubicBezTo>
                  <a:cubicBezTo>
                    <a:pt x="10921" y="6106"/>
                    <a:pt x="10941" y="6106"/>
                    <a:pt x="10962" y="6106"/>
                  </a:cubicBezTo>
                  <a:cubicBezTo>
                    <a:pt x="10962" y="6086"/>
                    <a:pt x="10982" y="6086"/>
                    <a:pt x="10982" y="6065"/>
                  </a:cubicBezTo>
                  <a:lnTo>
                    <a:pt x="10982" y="6045"/>
                  </a:lnTo>
                  <a:cubicBezTo>
                    <a:pt x="10982" y="6024"/>
                    <a:pt x="10962" y="6024"/>
                    <a:pt x="10962" y="6004"/>
                  </a:cubicBezTo>
                  <a:lnTo>
                    <a:pt x="10962" y="5983"/>
                  </a:lnTo>
                  <a:cubicBezTo>
                    <a:pt x="10962" y="5963"/>
                    <a:pt x="10982" y="5963"/>
                    <a:pt x="10982" y="5963"/>
                  </a:cubicBezTo>
                  <a:lnTo>
                    <a:pt x="10982" y="5942"/>
                  </a:lnTo>
                  <a:cubicBezTo>
                    <a:pt x="11003" y="5942"/>
                    <a:pt x="11003" y="5922"/>
                    <a:pt x="11003" y="5922"/>
                  </a:cubicBezTo>
                  <a:cubicBezTo>
                    <a:pt x="11023" y="5922"/>
                    <a:pt x="11023" y="5922"/>
                    <a:pt x="11023" y="5922"/>
                  </a:cubicBezTo>
                  <a:lnTo>
                    <a:pt x="11023" y="5901"/>
                  </a:lnTo>
                  <a:lnTo>
                    <a:pt x="11003" y="5901"/>
                  </a:lnTo>
                  <a:lnTo>
                    <a:pt x="10982" y="5901"/>
                  </a:lnTo>
                  <a:cubicBezTo>
                    <a:pt x="10982" y="5901"/>
                    <a:pt x="10982" y="5901"/>
                    <a:pt x="10982" y="5881"/>
                  </a:cubicBezTo>
                  <a:lnTo>
                    <a:pt x="10982" y="5860"/>
                  </a:lnTo>
                  <a:lnTo>
                    <a:pt x="10982" y="5840"/>
                  </a:lnTo>
                  <a:cubicBezTo>
                    <a:pt x="10982" y="5819"/>
                    <a:pt x="11003" y="5819"/>
                    <a:pt x="11003" y="5819"/>
                  </a:cubicBezTo>
                  <a:cubicBezTo>
                    <a:pt x="11003" y="5819"/>
                    <a:pt x="11003" y="5819"/>
                    <a:pt x="11023" y="5840"/>
                  </a:cubicBezTo>
                  <a:lnTo>
                    <a:pt x="11023" y="5840"/>
                  </a:lnTo>
                  <a:lnTo>
                    <a:pt x="11044" y="5860"/>
                  </a:lnTo>
                  <a:close/>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0" name="Freeform 217">
              <a:extLst>
                <a:ext uri="{FF2B5EF4-FFF2-40B4-BE49-F238E27FC236}">
                  <a16:creationId xmlns:a16="http://schemas.microsoft.com/office/drawing/2014/main" id="{D2153887-B575-7B4B-94C7-16E2AC6272F0}"/>
                </a:ext>
              </a:extLst>
            </p:cNvPr>
            <p:cNvSpPr>
              <a:spLocks noChangeArrowheads="1"/>
            </p:cNvSpPr>
            <p:nvPr/>
          </p:nvSpPr>
          <p:spPr bwMode="auto">
            <a:xfrm>
              <a:off x="6113463" y="4413250"/>
              <a:ext cx="22225" cy="15875"/>
            </a:xfrm>
            <a:custGeom>
              <a:avLst/>
              <a:gdLst>
                <a:gd name="T0" fmla="*/ 20 w 62"/>
                <a:gd name="T1" fmla="*/ 41 h 42"/>
                <a:gd name="T2" fmla="*/ 20 w 62"/>
                <a:gd name="T3" fmla="*/ 41 h 42"/>
                <a:gd name="T4" fmla="*/ 0 w 62"/>
                <a:gd name="T5" fmla="*/ 41 h 42"/>
                <a:gd name="T6" fmla="*/ 0 w 62"/>
                <a:gd name="T7" fmla="*/ 20 h 42"/>
                <a:gd name="T8" fmla="*/ 20 w 62"/>
                <a:gd name="T9" fmla="*/ 0 h 42"/>
                <a:gd name="T10" fmla="*/ 41 w 62"/>
                <a:gd name="T11" fmla="*/ 20 h 42"/>
                <a:gd name="T12" fmla="*/ 61 w 62"/>
                <a:gd name="T13" fmla="*/ 20 h 42"/>
                <a:gd name="T14" fmla="*/ 41 w 62"/>
                <a:gd name="T15" fmla="*/ 41 h 42"/>
                <a:gd name="T16" fmla="*/ 41 w 62"/>
                <a:gd name="T17" fmla="*/ 41 h 42"/>
                <a:gd name="T18" fmla="*/ 20 w 62"/>
                <a:gd name="T19"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42">
                  <a:moveTo>
                    <a:pt x="20" y="41"/>
                  </a:moveTo>
                  <a:lnTo>
                    <a:pt x="20" y="41"/>
                  </a:lnTo>
                  <a:cubicBezTo>
                    <a:pt x="20" y="41"/>
                    <a:pt x="20" y="41"/>
                    <a:pt x="0" y="41"/>
                  </a:cubicBezTo>
                  <a:cubicBezTo>
                    <a:pt x="0" y="20"/>
                    <a:pt x="0" y="20"/>
                    <a:pt x="0" y="20"/>
                  </a:cubicBezTo>
                  <a:cubicBezTo>
                    <a:pt x="20" y="20"/>
                    <a:pt x="20" y="0"/>
                    <a:pt x="20" y="0"/>
                  </a:cubicBezTo>
                  <a:cubicBezTo>
                    <a:pt x="20" y="0"/>
                    <a:pt x="41" y="0"/>
                    <a:pt x="41" y="20"/>
                  </a:cubicBezTo>
                  <a:lnTo>
                    <a:pt x="61" y="20"/>
                  </a:lnTo>
                  <a:cubicBezTo>
                    <a:pt x="61" y="20"/>
                    <a:pt x="61" y="41"/>
                    <a:pt x="41" y="41"/>
                  </a:cubicBezTo>
                  <a:lnTo>
                    <a:pt x="41" y="41"/>
                  </a:ln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1" name="Freeform 218">
              <a:extLst>
                <a:ext uri="{FF2B5EF4-FFF2-40B4-BE49-F238E27FC236}">
                  <a16:creationId xmlns:a16="http://schemas.microsoft.com/office/drawing/2014/main" id="{7AF76BBB-8507-0D4F-B025-F89AAEB793C5}"/>
                </a:ext>
              </a:extLst>
            </p:cNvPr>
            <p:cNvSpPr>
              <a:spLocks noChangeArrowheads="1"/>
            </p:cNvSpPr>
            <p:nvPr/>
          </p:nvSpPr>
          <p:spPr bwMode="auto">
            <a:xfrm>
              <a:off x="5730875" y="7554913"/>
              <a:ext cx="58738" cy="73025"/>
            </a:xfrm>
            <a:custGeom>
              <a:avLst/>
              <a:gdLst>
                <a:gd name="T0" fmla="*/ 164 w 165"/>
                <a:gd name="T1" fmla="*/ 40 h 205"/>
                <a:gd name="T2" fmla="*/ 164 w 165"/>
                <a:gd name="T3" fmla="*/ 40 h 205"/>
                <a:gd name="T4" fmla="*/ 143 w 165"/>
                <a:gd name="T5" fmla="*/ 61 h 205"/>
                <a:gd name="T6" fmla="*/ 143 w 165"/>
                <a:gd name="T7" fmla="*/ 102 h 205"/>
                <a:gd name="T8" fmla="*/ 143 w 165"/>
                <a:gd name="T9" fmla="*/ 122 h 205"/>
                <a:gd name="T10" fmla="*/ 143 w 165"/>
                <a:gd name="T11" fmla="*/ 164 h 205"/>
                <a:gd name="T12" fmla="*/ 123 w 165"/>
                <a:gd name="T13" fmla="*/ 164 h 205"/>
                <a:gd name="T14" fmla="*/ 123 w 165"/>
                <a:gd name="T15" fmla="*/ 204 h 205"/>
                <a:gd name="T16" fmla="*/ 82 w 165"/>
                <a:gd name="T17" fmla="*/ 204 h 205"/>
                <a:gd name="T18" fmla="*/ 82 w 165"/>
                <a:gd name="T19" fmla="*/ 184 h 205"/>
                <a:gd name="T20" fmla="*/ 61 w 165"/>
                <a:gd name="T21" fmla="*/ 164 h 205"/>
                <a:gd name="T22" fmla="*/ 41 w 165"/>
                <a:gd name="T23" fmla="*/ 143 h 205"/>
                <a:gd name="T24" fmla="*/ 41 w 165"/>
                <a:gd name="T25" fmla="*/ 122 h 205"/>
                <a:gd name="T26" fmla="*/ 41 w 165"/>
                <a:gd name="T27" fmla="*/ 102 h 205"/>
                <a:gd name="T28" fmla="*/ 0 w 165"/>
                <a:gd name="T29" fmla="*/ 82 h 205"/>
                <a:gd name="T30" fmla="*/ 0 w 165"/>
                <a:gd name="T31" fmla="*/ 82 h 205"/>
                <a:gd name="T32" fmla="*/ 0 w 165"/>
                <a:gd name="T33" fmla="*/ 61 h 205"/>
                <a:gd name="T34" fmla="*/ 21 w 165"/>
                <a:gd name="T35" fmla="*/ 40 h 205"/>
                <a:gd name="T36" fmla="*/ 41 w 165"/>
                <a:gd name="T37" fmla="*/ 20 h 205"/>
                <a:gd name="T38" fmla="*/ 61 w 165"/>
                <a:gd name="T39" fmla="*/ 20 h 205"/>
                <a:gd name="T40" fmla="*/ 82 w 165"/>
                <a:gd name="T41" fmla="*/ 20 h 205"/>
                <a:gd name="T42" fmla="*/ 103 w 165"/>
                <a:gd name="T43" fmla="*/ 0 h 205"/>
                <a:gd name="T44" fmla="*/ 123 w 165"/>
                <a:gd name="T45" fmla="*/ 0 h 205"/>
                <a:gd name="T46" fmla="*/ 123 w 165"/>
                <a:gd name="T47" fmla="*/ 20 h 205"/>
                <a:gd name="T48" fmla="*/ 123 w 165"/>
                <a:gd name="T49" fmla="*/ 40 h 205"/>
                <a:gd name="T50" fmla="*/ 143 w 165"/>
                <a:gd name="T51" fmla="*/ 40 h 205"/>
                <a:gd name="T52" fmla="*/ 164 w 165"/>
                <a:gd name="T53" fmla="*/ 4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 h="205">
                  <a:moveTo>
                    <a:pt x="164" y="40"/>
                  </a:moveTo>
                  <a:lnTo>
                    <a:pt x="164" y="40"/>
                  </a:lnTo>
                  <a:cubicBezTo>
                    <a:pt x="164" y="61"/>
                    <a:pt x="164" y="61"/>
                    <a:pt x="143" y="61"/>
                  </a:cubicBezTo>
                  <a:cubicBezTo>
                    <a:pt x="143" y="82"/>
                    <a:pt x="143" y="82"/>
                    <a:pt x="143" y="102"/>
                  </a:cubicBezTo>
                  <a:lnTo>
                    <a:pt x="143" y="122"/>
                  </a:lnTo>
                  <a:cubicBezTo>
                    <a:pt x="143" y="143"/>
                    <a:pt x="143" y="143"/>
                    <a:pt x="143" y="164"/>
                  </a:cubicBezTo>
                  <a:lnTo>
                    <a:pt x="123" y="164"/>
                  </a:lnTo>
                  <a:cubicBezTo>
                    <a:pt x="123" y="184"/>
                    <a:pt x="123" y="184"/>
                    <a:pt x="123" y="204"/>
                  </a:cubicBezTo>
                  <a:cubicBezTo>
                    <a:pt x="103" y="204"/>
                    <a:pt x="103" y="204"/>
                    <a:pt x="82" y="204"/>
                  </a:cubicBezTo>
                  <a:lnTo>
                    <a:pt x="82" y="184"/>
                  </a:lnTo>
                  <a:lnTo>
                    <a:pt x="61" y="164"/>
                  </a:lnTo>
                  <a:cubicBezTo>
                    <a:pt x="61" y="164"/>
                    <a:pt x="61" y="143"/>
                    <a:pt x="41" y="143"/>
                  </a:cubicBezTo>
                  <a:cubicBezTo>
                    <a:pt x="41" y="122"/>
                    <a:pt x="41" y="122"/>
                    <a:pt x="41" y="122"/>
                  </a:cubicBezTo>
                  <a:cubicBezTo>
                    <a:pt x="41" y="102"/>
                    <a:pt x="41" y="102"/>
                    <a:pt x="41" y="102"/>
                  </a:cubicBezTo>
                  <a:cubicBezTo>
                    <a:pt x="41" y="82"/>
                    <a:pt x="21" y="82"/>
                    <a:pt x="0" y="82"/>
                  </a:cubicBezTo>
                  <a:lnTo>
                    <a:pt x="0" y="82"/>
                  </a:lnTo>
                  <a:cubicBezTo>
                    <a:pt x="0" y="82"/>
                    <a:pt x="0" y="82"/>
                    <a:pt x="0" y="61"/>
                  </a:cubicBezTo>
                  <a:lnTo>
                    <a:pt x="21" y="40"/>
                  </a:lnTo>
                  <a:cubicBezTo>
                    <a:pt x="21" y="40"/>
                    <a:pt x="41" y="40"/>
                    <a:pt x="41" y="20"/>
                  </a:cubicBezTo>
                  <a:lnTo>
                    <a:pt x="61" y="20"/>
                  </a:lnTo>
                  <a:cubicBezTo>
                    <a:pt x="82" y="20"/>
                    <a:pt x="82" y="20"/>
                    <a:pt x="82" y="20"/>
                  </a:cubicBezTo>
                  <a:cubicBezTo>
                    <a:pt x="103" y="20"/>
                    <a:pt x="103" y="0"/>
                    <a:pt x="103" y="0"/>
                  </a:cubicBezTo>
                  <a:lnTo>
                    <a:pt x="123" y="0"/>
                  </a:lnTo>
                  <a:cubicBezTo>
                    <a:pt x="123" y="0"/>
                    <a:pt x="123" y="0"/>
                    <a:pt x="123" y="20"/>
                  </a:cubicBezTo>
                  <a:cubicBezTo>
                    <a:pt x="123" y="20"/>
                    <a:pt x="123" y="20"/>
                    <a:pt x="123" y="40"/>
                  </a:cubicBezTo>
                  <a:lnTo>
                    <a:pt x="143" y="40"/>
                  </a:lnTo>
                  <a:cubicBezTo>
                    <a:pt x="143" y="61"/>
                    <a:pt x="143" y="61"/>
                    <a:pt x="164"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2" name="Freeform 219">
              <a:extLst>
                <a:ext uri="{FF2B5EF4-FFF2-40B4-BE49-F238E27FC236}">
                  <a16:creationId xmlns:a16="http://schemas.microsoft.com/office/drawing/2014/main" id="{DA753986-A2B9-2D4E-85BF-0D088DA666DB}"/>
                </a:ext>
              </a:extLst>
            </p:cNvPr>
            <p:cNvSpPr>
              <a:spLocks noChangeArrowheads="1"/>
            </p:cNvSpPr>
            <p:nvPr/>
          </p:nvSpPr>
          <p:spPr bwMode="auto">
            <a:xfrm>
              <a:off x="4329113" y="6411913"/>
              <a:ext cx="15875" cy="7937"/>
            </a:xfrm>
            <a:custGeom>
              <a:avLst/>
              <a:gdLst>
                <a:gd name="T0" fmla="*/ 20 w 42"/>
                <a:gd name="T1" fmla="*/ 20 h 21"/>
                <a:gd name="T2" fmla="*/ 20 w 42"/>
                <a:gd name="T3" fmla="*/ 20 h 21"/>
                <a:gd name="T4" fmla="*/ 20 w 42"/>
                <a:gd name="T5" fmla="*/ 0 h 21"/>
                <a:gd name="T6" fmla="*/ 20 w 42"/>
                <a:gd name="T7" fmla="*/ 0 h 21"/>
                <a:gd name="T8" fmla="*/ 0 w 42"/>
                <a:gd name="T9" fmla="*/ 0 h 21"/>
                <a:gd name="T10" fmla="*/ 0 w 42"/>
                <a:gd name="T11" fmla="*/ 0 h 21"/>
                <a:gd name="T12" fmla="*/ 20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0" y="20"/>
                  </a:moveTo>
                  <a:lnTo>
                    <a:pt x="20" y="20"/>
                  </a:lnTo>
                  <a:cubicBezTo>
                    <a:pt x="41" y="20"/>
                    <a:pt x="41" y="0"/>
                    <a:pt x="20" y="0"/>
                  </a:cubicBezTo>
                  <a:lnTo>
                    <a:pt x="20" y="0"/>
                  </a:lnTo>
                  <a:lnTo>
                    <a:pt x="0" y="0"/>
                  </a:lnTo>
                  <a:lnTo>
                    <a:pt x="0" y="0"/>
                  </a:lnTo>
                  <a:cubicBezTo>
                    <a:pt x="0" y="20"/>
                    <a:pt x="20"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3" name="Freeform 220">
              <a:extLst>
                <a:ext uri="{FF2B5EF4-FFF2-40B4-BE49-F238E27FC236}">
                  <a16:creationId xmlns:a16="http://schemas.microsoft.com/office/drawing/2014/main" id="{8403CB8B-0DB1-7B42-81CA-056693E454DB}"/>
                </a:ext>
              </a:extLst>
            </p:cNvPr>
            <p:cNvSpPr>
              <a:spLocks noChangeArrowheads="1"/>
            </p:cNvSpPr>
            <p:nvPr/>
          </p:nvSpPr>
          <p:spPr bwMode="auto">
            <a:xfrm>
              <a:off x="4343400" y="6397625"/>
              <a:ext cx="15875" cy="15875"/>
            </a:xfrm>
            <a:custGeom>
              <a:avLst/>
              <a:gdLst>
                <a:gd name="T0" fmla="*/ 20 w 42"/>
                <a:gd name="T1" fmla="*/ 42 h 43"/>
                <a:gd name="T2" fmla="*/ 20 w 42"/>
                <a:gd name="T3" fmla="*/ 42 h 43"/>
                <a:gd name="T4" fmla="*/ 41 w 42"/>
                <a:gd name="T5" fmla="*/ 21 h 43"/>
                <a:gd name="T6" fmla="*/ 20 w 42"/>
                <a:gd name="T7" fmla="*/ 0 h 43"/>
                <a:gd name="T8" fmla="*/ 20 w 42"/>
                <a:gd name="T9" fmla="*/ 0 h 43"/>
                <a:gd name="T10" fmla="*/ 0 w 42"/>
                <a:gd name="T11" fmla="*/ 0 h 43"/>
                <a:gd name="T12" fmla="*/ 0 w 42"/>
                <a:gd name="T13" fmla="*/ 21 h 43"/>
                <a:gd name="T14" fmla="*/ 0 w 42"/>
                <a:gd name="T15" fmla="*/ 42 h 43"/>
                <a:gd name="T16" fmla="*/ 20 w 42"/>
                <a:gd name="T1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3">
                  <a:moveTo>
                    <a:pt x="20" y="42"/>
                  </a:moveTo>
                  <a:lnTo>
                    <a:pt x="20" y="42"/>
                  </a:lnTo>
                  <a:cubicBezTo>
                    <a:pt x="20" y="42"/>
                    <a:pt x="20" y="21"/>
                    <a:pt x="41" y="21"/>
                  </a:cubicBezTo>
                  <a:cubicBezTo>
                    <a:pt x="41" y="21"/>
                    <a:pt x="41" y="0"/>
                    <a:pt x="20" y="0"/>
                  </a:cubicBezTo>
                  <a:lnTo>
                    <a:pt x="20" y="0"/>
                  </a:lnTo>
                  <a:cubicBezTo>
                    <a:pt x="0" y="0"/>
                    <a:pt x="0" y="0"/>
                    <a:pt x="0" y="0"/>
                  </a:cubicBezTo>
                  <a:lnTo>
                    <a:pt x="0" y="21"/>
                  </a:lnTo>
                  <a:lnTo>
                    <a:pt x="0" y="42"/>
                  </a:lnTo>
                  <a:cubicBezTo>
                    <a:pt x="0" y="42"/>
                    <a:pt x="0" y="42"/>
                    <a:pt x="20"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4" name="Freeform 221">
              <a:extLst>
                <a:ext uri="{FF2B5EF4-FFF2-40B4-BE49-F238E27FC236}">
                  <a16:creationId xmlns:a16="http://schemas.microsoft.com/office/drawing/2014/main" id="{8D00739A-54FD-F346-BE41-15492B7CC209}"/>
                </a:ext>
              </a:extLst>
            </p:cNvPr>
            <p:cNvSpPr>
              <a:spLocks noChangeArrowheads="1"/>
            </p:cNvSpPr>
            <p:nvPr/>
          </p:nvSpPr>
          <p:spPr bwMode="auto">
            <a:xfrm>
              <a:off x="4402138" y="6529388"/>
              <a:ext cx="15875" cy="7937"/>
            </a:xfrm>
            <a:custGeom>
              <a:avLst/>
              <a:gdLst>
                <a:gd name="T0" fmla="*/ 20 w 42"/>
                <a:gd name="T1" fmla="*/ 21 h 22"/>
                <a:gd name="T2" fmla="*/ 20 w 42"/>
                <a:gd name="T3" fmla="*/ 21 h 22"/>
                <a:gd name="T4" fmla="*/ 20 w 42"/>
                <a:gd name="T5" fmla="*/ 0 h 22"/>
                <a:gd name="T6" fmla="*/ 0 w 42"/>
                <a:gd name="T7" fmla="*/ 0 h 22"/>
                <a:gd name="T8" fmla="*/ 0 w 42"/>
                <a:gd name="T9" fmla="*/ 21 h 22"/>
                <a:gd name="T10" fmla="*/ 20 w 42"/>
                <a:gd name="T11" fmla="*/ 21 h 22"/>
              </a:gdLst>
              <a:ahLst/>
              <a:cxnLst>
                <a:cxn ang="0">
                  <a:pos x="T0" y="T1"/>
                </a:cxn>
                <a:cxn ang="0">
                  <a:pos x="T2" y="T3"/>
                </a:cxn>
                <a:cxn ang="0">
                  <a:pos x="T4" y="T5"/>
                </a:cxn>
                <a:cxn ang="0">
                  <a:pos x="T6" y="T7"/>
                </a:cxn>
                <a:cxn ang="0">
                  <a:pos x="T8" y="T9"/>
                </a:cxn>
                <a:cxn ang="0">
                  <a:pos x="T10" y="T11"/>
                </a:cxn>
              </a:cxnLst>
              <a:rect l="0" t="0" r="r" b="b"/>
              <a:pathLst>
                <a:path w="42" h="22">
                  <a:moveTo>
                    <a:pt x="20" y="21"/>
                  </a:moveTo>
                  <a:lnTo>
                    <a:pt x="20" y="21"/>
                  </a:lnTo>
                  <a:cubicBezTo>
                    <a:pt x="41" y="21"/>
                    <a:pt x="20" y="0"/>
                    <a:pt x="20" y="0"/>
                  </a:cubicBezTo>
                  <a:lnTo>
                    <a:pt x="0" y="0"/>
                  </a:lnTo>
                  <a:lnTo>
                    <a:pt x="0" y="21"/>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5" name="Freeform 222">
              <a:extLst>
                <a:ext uri="{FF2B5EF4-FFF2-40B4-BE49-F238E27FC236}">
                  <a16:creationId xmlns:a16="http://schemas.microsoft.com/office/drawing/2014/main" id="{9CC233B4-D040-D64D-8176-9E7B7086ADB8}"/>
                </a:ext>
              </a:extLst>
            </p:cNvPr>
            <p:cNvSpPr>
              <a:spLocks noChangeArrowheads="1"/>
            </p:cNvSpPr>
            <p:nvPr/>
          </p:nvSpPr>
          <p:spPr bwMode="auto">
            <a:xfrm>
              <a:off x="4416425" y="6537325"/>
              <a:ext cx="7938" cy="7938"/>
            </a:xfrm>
            <a:custGeom>
              <a:avLst/>
              <a:gdLst>
                <a:gd name="T0" fmla="*/ 20 w 21"/>
                <a:gd name="T1" fmla="*/ 20 h 21"/>
                <a:gd name="T2" fmla="*/ 20 w 21"/>
                <a:gd name="T3" fmla="*/ 20 h 21"/>
                <a:gd name="T4" fmla="*/ 20 w 21"/>
                <a:gd name="T5" fmla="*/ 20 h 21"/>
                <a:gd name="T6" fmla="*/ 0 w 21"/>
                <a:gd name="T7" fmla="*/ 0 h 21"/>
                <a:gd name="T8" fmla="*/ 0 w 21"/>
                <a:gd name="T9" fmla="*/ 20 h 21"/>
                <a:gd name="T10" fmla="*/ 0 w 21"/>
                <a:gd name="T11" fmla="*/ 20 h 21"/>
                <a:gd name="T12" fmla="*/ 2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20"/>
                  </a:moveTo>
                  <a:lnTo>
                    <a:pt x="20" y="20"/>
                  </a:lnTo>
                  <a:lnTo>
                    <a:pt x="20" y="20"/>
                  </a:lnTo>
                  <a:lnTo>
                    <a:pt x="0" y="0"/>
                  </a:lnTo>
                  <a:lnTo>
                    <a:pt x="0" y="20"/>
                  </a:lnTo>
                  <a:lnTo>
                    <a:pt x="0" y="20"/>
                  </a:lnTo>
                  <a:cubicBezTo>
                    <a:pt x="0" y="20"/>
                    <a:pt x="0"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6" name="Freeform 223">
              <a:extLst>
                <a:ext uri="{FF2B5EF4-FFF2-40B4-BE49-F238E27FC236}">
                  <a16:creationId xmlns:a16="http://schemas.microsoft.com/office/drawing/2014/main" id="{902DB550-6061-A34A-8A33-9013C78A923F}"/>
                </a:ext>
              </a:extLst>
            </p:cNvPr>
            <p:cNvSpPr>
              <a:spLocks noChangeArrowheads="1"/>
            </p:cNvSpPr>
            <p:nvPr/>
          </p:nvSpPr>
          <p:spPr bwMode="auto">
            <a:xfrm>
              <a:off x="4468813" y="6721475"/>
              <a:ext cx="7937" cy="15875"/>
            </a:xfrm>
            <a:custGeom>
              <a:avLst/>
              <a:gdLst>
                <a:gd name="T0" fmla="*/ 0 w 22"/>
                <a:gd name="T1" fmla="*/ 41 h 42"/>
                <a:gd name="T2" fmla="*/ 0 w 22"/>
                <a:gd name="T3" fmla="*/ 41 h 42"/>
                <a:gd name="T4" fmla="*/ 21 w 22"/>
                <a:gd name="T5" fmla="*/ 21 h 42"/>
                <a:gd name="T6" fmla="*/ 0 w 22"/>
                <a:gd name="T7" fmla="*/ 0 h 42"/>
                <a:gd name="T8" fmla="*/ 0 w 22"/>
                <a:gd name="T9" fmla="*/ 21 h 42"/>
                <a:gd name="T10" fmla="*/ 0 w 22"/>
                <a:gd name="T11" fmla="*/ 21 h 42"/>
                <a:gd name="T12" fmla="*/ 0 w 2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0" y="41"/>
                  </a:moveTo>
                  <a:lnTo>
                    <a:pt x="0" y="41"/>
                  </a:lnTo>
                  <a:cubicBezTo>
                    <a:pt x="21" y="41"/>
                    <a:pt x="21" y="21"/>
                    <a:pt x="21" y="21"/>
                  </a:cubicBezTo>
                  <a:lnTo>
                    <a:pt x="0" y="0"/>
                  </a:lnTo>
                  <a:lnTo>
                    <a:pt x="0" y="21"/>
                  </a:lnTo>
                  <a:lnTo>
                    <a:pt x="0" y="21"/>
                  </a:lnTo>
                  <a:cubicBezTo>
                    <a:pt x="0" y="41"/>
                    <a:pt x="0" y="41"/>
                    <a:pt x="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7" name="Freeform 224">
              <a:extLst>
                <a:ext uri="{FF2B5EF4-FFF2-40B4-BE49-F238E27FC236}">
                  <a16:creationId xmlns:a16="http://schemas.microsoft.com/office/drawing/2014/main" id="{834F33CD-CBFC-4148-816A-55FBCF940455}"/>
                </a:ext>
              </a:extLst>
            </p:cNvPr>
            <p:cNvSpPr>
              <a:spLocks noChangeArrowheads="1"/>
            </p:cNvSpPr>
            <p:nvPr/>
          </p:nvSpPr>
          <p:spPr bwMode="auto">
            <a:xfrm>
              <a:off x="4476750" y="6715125"/>
              <a:ext cx="15875" cy="15875"/>
            </a:xfrm>
            <a:custGeom>
              <a:avLst/>
              <a:gdLst>
                <a:gd name="T0" fmla="*/ 20 w 42"/>
                <a:gd name="T1" fmla="*/ 0 h 42"/>
                <a:gd name="T2" fmla="*/ 20 w 42"/>
                <a:gd name="T3" fmla="*/ 0 h 42"/>
                <a:gd name="T4" fmla="*/ 20 w 42"/>
                <a:gd name="T5" fmla="*/ 20 h 42"/>
                <a:gd name="T6" fmla="*/ 20 w 42"/>
                <a:gd name="T7" fmla="*/ 41 h 42"/>
                <a:gd name="T8" fmla="*/ 20 w 42"/>
                <a:gd name="T9" fmla="*/ 41 h 42"/>
                <a:gd name="T10" fmla="*/ 41 w 42"/>
                <a:gd name="T11" fmla="*/ 41 h 42"/>
                <a:gd name="T12" fmla="*/ 41 w 42"/>
                <a:gd name="T13" fmla="*/ 20 h 42"/>
                <a:gd name="T14" fmla="*/ 20 w 42"/>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0" y="0"/>
                  </a:moveTo>
                  <a:lnTo>
                    <a:pt x="20" y="0"/>
                  </a:lnTo>
                  <a:lnTo>
                    <a:pt x="20" y="20"/>
                  </a:lnTo>
                  <a:cubicBezTo>
                    <a:pt x="0" y="20"/>
                    <a:pt x="20" y="20"/>
                    <a:pt x="20" y="41"/>
                  </a:cubicBezTo>
                  <a:lnTo>
                    <a:pt x="20" y="41"/>
                  </a:lnTo>
                  <a:lnTo>
                    <a:pt x="41" y="41"/>
                  </a:lnTo>
                  <a:lnTo>
                    <a:pt x="41" y="2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8" name="Freeform 225">
              <a:extLst>
                <a:ext uri="{FF2B5EF4-FFF2-40B4-BE49-F238E27FC236}">
                  <a16:creationId xmlns:a16="http://schemas.microsoft.com/office/drawing/2014/main" id="{6B741E86-5134-2D40-A35E-B93E70B04675}"/>
                </a:ext>
              </a:extLst>
            </p:cNvPr>
            <p:cNvSpPr>
              <a:spLocks noChangeArrowheads="1"/>
            </p:cNvSpPr>
            <p:nvPr/>
          </p:nvSpPr>
          <p:spPr bwMode="auto">
            <a:xfrm>
              <a:off x="4541838" y="6684963"/>
              <a:ext cx="7937" cy="15875"/>
            </a:xfrm>
            <a:custGeom>
              <a:avLst/>
              <a:gdLst>
                <a:gd name="T0" fmla="*/ 21 w 22"/>
                <a:gd name="T1" fmla="*/ 41 h 42"/>
                <a:gd name="T2" fmla="*/ 21 w 22"/>
                <a:gd name="T3" fmla="*/ 41 h 42"/>
                <a:gd name="T4" fmla="*/ 21 w 22"/>
                <a:gd name="T5" fmla="*/ 20 h 42"/>
                <a:gd name="T6" fmla="*/ 0 w 22"/>
                <a:gd name="T7" fmla="*/ 20 h 42"/>
                <a:gd name="T8" fmla="*/ 0 w 22"/>
                <a:gd name="T9" fmla="*/ 20 h 42"/>
                <a:gd name="T10" fmla="*/ 0 w 22"/>
                <a:gd name="T11" fmla="*/ 41 h 42"/>
                <a:gd name="T12" fmla="*/ 21 w 2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21" y="41"/>
                  </a:moveTo>
                  <a:lnTo>
                    <a:pt x="21" y="41"/>
                  </a:lnTo>
                  <a:lnTo>
                    <a:pt x="21" y="20"/>
                  </a:lnTo>
                  <a:cubicBezTo>
                    <a:pt x="21" y="20"/>
                    <a:pt x="0" y="0"/>
                    <a:pt x="0" y="20"/>
                  </a:cubicBezTo>
                  <a:lnTo>
                    <a:pt x="0" y="20"/>
                  </a:lnTo>
                  <a:lnTo>
                    <a:pt x="0" y="41"/>
                  </a:lnTo>
                  <a:cubicBezTo>
                    <a:pt x="0" y="41"/>
                    <a:pt x="0" y="41"/>
                    <a:pt x="2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29" name="Freeform 226">
              <a:extLst>
                <a:ext uri="{FF2B5EF4-FFF2-40B4-BE49-F238E27FC236}">
                  <a16:creationId xmlns:a16="http://schemas.microsoft.com/office/drawing/2014/main" id="{30B81EFE-F4AD-944E-8235-06880B014492}"/>
                </a:ext>
              </a:extLst>
            </p:cNvPr>
            <p:cNvSpPr>
              <a:spLocks noChangeArrowheads="1"/>
            </p:cNvSpPr>
            <p:nvPr/>
          </p:nvSpPr>
          <p:spPr bwMode="auto">
            <a:xfrm>
              <a:off x="4719638" y="7156450"/>
              <a:ext cx="15875" cy="30163"/>
            </a:xfrm>
            <a:custGeom>
              <a:avLst/>
              <a:gdLst>
                <a:gd name="T0" fmla="*/ 41 w 42"/>
                <a:gd name="T1" fmla="*/ 62 h 83"/>
                <a:gd name="T2" fmla="*/ 41 w 42"/>
                <a:gd name="T3" fmla="*/ 62 h 83"/>
                <a:gd name="T4" fmla="*/ 21 w 42"/>
                <a:gd name="T5" fmla="*/ 82 h 83"/>
                <a:gd name="T6" fmla="*/ 21 w 42"/>
                <a:gd name="T7" fmla="*/ 62 h 83"/>
                <a:gd name="T8" fmla="*/ 0 w 42"/>
                <a:gd name="T9" fmla="*/ 41 h 83"/>
                <a:gd name="T10" fmla="*/ 0 w 42"/>
                <a:gd name="T11" fmla="*/ 20 h 83"/>
                <a:gd name="T12" fmla="*/ 21 w 42"/>
                <a:gd name="T13" fmla="*/ 0 h 83"/>
                <a:gd name="T14" fmla="*/ 21 w 42"/>
                <a:gd name="T15" fmla="*/ 20 h 83"/>
                <a:gd name="T16" fmla="*/ 21 w 42"/>
                <a:gd name="T17" fmla="*/ 20 h 83"/>
                <a:gd name="T18" fmla="*/ 41 w 42"/>
                <a:gd name="T19" fmla="*/ 41 h 83"/>
                <a:gd name="T20" fmla="*/ 41 w 42"/>
                <a:gd name="T21"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83">
                  <a:moveTo>
                    <a:pt x="41" y="62"/>
                  </a:moveTo>
                  <a:lnTo>
                    <a:pt x="41" y="62"/>
                  </a:lnTo>
                  <a:cubicBezTo>
                    <a:pt x="41" y="62"/>
                    <a:pt x="41" y="82"/>
                    <a:pt x="21" y="82"/>
                  </a:cubicBezTo>
                  <a:lnTo>
                    <a:pt x="21" y="62"/>
                  </a:lnTo>
                  <a:cubicBezTo>
                    <a:pt x="21" y="41"/>
                    <a:pt x="0" y="41"/>
                    <a:pt x="0" y="41"/>
                  </a:cubicBezTo>
                  <a:lnTo>
                    <a:pt x="0" y="20"/>
                  </a:lnTo>
                  <a:lnTo>
                    <a:pt x="21" y="0"/>
                  </a:lnTo>
                  <a:lnTo>
                    <a:pt x="21" y="20"/>
                  </a:lnTo>
                  <a:lnTo>
                    <a:pt x="21" y="20"/>
                  </a:lnTo>
                  <a:cubicBezTo>
                    <a:pt x="21" y="41"/>
                    <a:pt x="41" y="41"/>
                    <a:pt x="41" y="41"/>
                  </a:cubicBezTo>
                  <a:lnTo>
                    <a:pt x="41"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0" name="Freeform 227">
              <a:extLst>
                <a:ext uri="{FF2B5EF4-FFF2-40B4-BE49-F238E27FC236}">
                  <a16:creationId xmlns:a16="http://schemas.microsoft.com/office/drawing/2014/main" id="{052CD532-2BBC-1049-A29C-808098505625}"/>
                </a:ext>
              </a:extLst>
            </p:cNvPr>
            <p:cNvSpPr>
              <a:spLocks noChangeArrowheads="1"/>
            </p:cNvSpPr>
            <p:nvPr/>
          </p:nvSpPr>
          <p:spPr bwMode="auto">
            <a:xfrm>
              <a:off x="4705350" y="7150100"/>
              <a:ext cx="15875" cy="14288"/>
            </a:xfrm>
            <a:custGeom>
              <a:avLst/>
              <a:gdLst>
                <a:gd name="T0" fmla="*/ 20 w 42"/>
                <a:gd name="T1" fmla="*/ 20 h 41"/>
                <a:gd name="T2" fmla="*/ 20 w 42"/>
                <a:gd name="T3" fmla="*/ 20 h 41"/>
                <a:gd name="T4" fmla="*/ 20 w 42"/>
                <a:gd name="T5" fmla="*/ 20 h 41"/>
                <a:gd name="T6" fmla="*/ 0 w 42"/>
                <a:gd name="T7" fmla="*/ 20 h 41"/>
                <a:gd name="T8" fmla="*/ 0 w 42"/>
                <a:gd name="T9" fmla="*/ 20 h 41"/>
                <a:gd name="T10" fmla="*/ 20 w 42"/>
                <a:gd name="T11" fmla="*/ 0 h 41"/>
                <a:gd name="T12" fmla="*/ 41 w 42"/>
                <a:gd name="T13" fmla="*/ 0 h 41"/>
                <a:gd name="T14" fmla="*/ 41 w 42"/>
                <a:gd name="T15" fmla="*/ 20 h 41"/>
                <a:gd name="T16" fmla="*/ 20 w 42"/>
                <a:gd name="T17"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1">
                  <a:moveTo>
                    <a:pt x="20" y="20"/>
                  </a:moveTo>
                  <a:lnTo>
                    <a:pt x="20" y="20"/>
                  </a:lnTo>
                  <a:lnTo>
                    <a:pt x="20" y="20"/>
                  </a:lnTo>
                  <a:cubicBezTo>
                    <a:pt x="0" y="20"/>
                    <a:pt x="0" y="40"/>
                    <a:pt x="0" y="20"/>
                  </a:cubicBezTo>
                  <a:lnTo>
                    <a:pt x="0" y="20"/>
                  </a:lnTo>
                  <a:cubicBezTo>
                    <a:pt x="0" y="0"/>
                    <a:pt x="20" y="0"/>
                    <a:pt x="20" y="0"/>
                  </a:cubicBezTo>
                  <a:cubicBezTo>
                    <a:pt x="20" y="0"/>
                    <a:pt x="20" y="0"/>
                    <a:pt x="41" y="0"/>
                  </a:cubicBezTo>
                  <a:lnTo>
                    <a:pt x="41" y="2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1" name="Freeform 228">
              <a:extLst>
                <a:ext uri="{FF2B5EF4-FFF2-40B4-BE49-F238E27FC236}">
                  <a16:creationId xmlns:a16="http://schemas.microsoft.com/office/drawing/2014/main" id="{6BD5D7B0-3D5C-6B4D-BE6F-4DBC820914F2}"/>
                </a:ext>
              </a:extLst>
            </p:cNvPr>
            <p:cNvSpPr>
              <a:spLocks noChangeArrowheads="1"/>
            </p:cNvSpPr>
            <p:nvPr/>
          </p:nvSpPr>
          <p:spPr bwMode="auto">
            <a:xfrm>
              <a:off x="4719638" y="7097713"/>
              <a:ext cx="15875" cy="22225"/>
            </a:xfrm>
            <a:custGeom>
              <a:avLst/>
              <a:gdLst>
                <a:gd name="T0" fmla="*/ 21 w 42"/>
                <a:gd name="T1" fmla="*/ 62 h 63"/>
                <a:gd name="T2" fmla="*/ 21 w 42"/>
                <a:gd name="T3" fmla="*/ 62 h 63"/>
                <a:gd name="T4" fmla="*/ 21 w 42"/>
                <a:gd name="T5" fmla="*/ 62 h 63"/>
                <a:gd name="T6" fmla="*/ 21 w 42"/>
                <a:gd name="T7" fmla="*/ 20 h 63"/>
                <a:gd name="T8" fmla="*/ 21 w 42"/>
                <a:gd name="T9" fmla="*/ 0 h 63"/>
                <a:gd name="T10" fmla="*/ 0 w 42"/>
                <a:gd name="T11" fmla="*/ 0 h 63"/>
                <a:gd name="T12" fmla="*/ 0 w 42"/>
                <a:gd name="T13" fmla="*/ 0 h 63"/>
                <a:gd name="T14" fmla="*/ 0 w 42"/>
                <a:gd name="T15" fmla="*/ 20 h 63"/>
                <a:gd name="T16" fmla="*/ 0 w 42"/>
                <a:gd name="T17" fmla="*/ 41 h 63"/>
                <a:gd name="T18" fmla="*/ 0 w 42"/>
                <a:gd name="T19" fmla="*/ 62 h 63"/>
                <a:gd name="T20" fmla="*/ 21 w 42"/>
                <a:gd name="T21"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63">
                  <a:moveTo>
                    <a:pt x="21" y="62"/>
                  </a:moveTo>
                  <a:lnTo>
                    <a:pt x="21" y="62"/>
                  </a:lnTo>
                  <a:lnTo>
                    <a:pt x="21" y="62"/>
                  </a:lnTo>
                  <a:cubicBezTo>
                    <a:pt x="41" y="41"/>
                    <a:pt x="41" y="20"/>
                    <a:pt x="21" y="20"/>
                  </a:cubicBezTo>
                  <a:lnTo>
                    <a:pt x="21" y="0"/>
                  </a:lnTo>
                  <a:cubicBezTo>
                    <a:pt x="21" y="0"/>
                    <a:pt x="21" y="0"/>
                    <a:pt x="0" y="0"/>
                  </a:cubicBezTo>
                  <a:lnTo>
                    <a:pt x="0" y="0"/>
                  </a:lnTo>
                  <a:cubicBezTo>
                    <a:pt x="0" y="20"/>
                    <a:pt x="0" y="20"/>
                    <a:pt x="0" y="20"/>
                  </a:cubicBezTo>
                  <a:lnTo>
                    <a:pt x="0" y="41"/>
                  </a:lnTo>
                  <a:lnTo>
                    <a:pt x="0" y="62"/>
                  </a:lnTo>
                  <a:lnTo>
                    <a:pt x="21"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2" name="Freeform 229">
              <a:extLst>
                <a:ext uri="{FF2B5EF4-FFF2-40B4-BE49-F238E27FC236}">
                  <a16:creationId xmlns:a16="http://schemas.microsoft.com/office/drawing/2014/main" id="{C10E2E4F-C1D2-F84A-A913-ED6C2BEA60E4}"/>
                </a:ext>
              </a:extLst>
            </p:cNvPr>
            <p:cNvSpPr>
              <a:spLocks noChangeArrowheads="1"/>
            </p:cNvSpPr>
            <p:nvPr/>
          </p:nvSpPr>
          <p:spPr bwMode="auto">
            <a:xfrm>
              <a:off x="4689475" y="7105650"/>
              <a:ext cx="15875" cy="7938"/>
            </a:xfrm>
            <a:custGeom>
              <a:avLst/>
              <a:gdLst>
                <a:gd name="T0" fmla="*/ 21 w 42"/>
                <a:gd name="T1" fmla="*/ 21 h 22"/>
                <a:gd name="T2" fmla="*/ 21 w 42"/>
                <a:gd name="T3" fmla="*/ 21 h 22"/>
                <a:gd name="T4" fmla="*/ 21 w 42"/>
                <a:gd name="T5" fmla="*/ 21 h 22"/>
                <a:gd name="T6" fmla="*/ 0 w 42"/>
                <a:gd name="T7" fmla="*/ 0 h 22"/>
                <a:gd name="T8" fmla="*/ 0 w 42"/>
                <a:gd name="T9" fmla="*/ 0 h 22"/>
                <a:gd name="T10" fmla="*/ 21 w 42"/>
                <a:gd name="T11" fmla="*/ 0 h 22"/>
                <a:gd name="T12" fmla="*/ 21 w 42"/>
                <a:gd name="T13" fmla="*/ 0 h 22"/>
                <a:gd name="T14" fmla="*/ 21 w 42"/>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2">
                  <a:moveTo>
                    <a:pt x="21" y="21"/>
                  </a:moveTo>
                  <a:lnTo>
                    <a:pt x="21" y="21"/>
                  </a:lnTo>
                  <a:lnTo>
                    <a:pt x="21" y="21"/>
                  </a:lnTo>
                  <a:lnTo>
                    <a:pt x="0" y="0"/>
                  </a:lnTo>
                  <a:lnTo>
                    <a:pt x="0" y="0"/>
                  </a:lnTo>
                  <a:lnTo>
                    <a:pt x="21" y="0"/>
                  </a:lnTo>
                  <a:lnTo>
                    <a:pt x="21" y="0"/>
                  </a:lnTo>
                  <a:cubicBezTo>
                    <a:pt x="41" y="0"/>
                    <a:pt x="21" y="0"/>
                    <a:pt x="2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3" name="Freeform 230">
              <a:extLst>
                <a:ext uri="{FF2B5EF4-FFF2-40B4-BE49-F238E27FC236}">
                  <a16:creationId xmlns:a16="http://schemas.microsoft.com/office/drawing/2014/main" id="{5BC43645-39FC-7147-BB54-0C6FF29152E3}"/>
                </a:ext>
              </a:extLst>
            </p:cNvPr>
            <p:cNvSpPr>
              <a:spLocks noChangeArrowheads="1"/>
            </p:cNvSpPr>
            <p:nvPr/>
          </p:nvSpPr>
          <p:spPr bwMode="auto">
            <a:xfrm>
              <a:off x="4705350" y="7105650"/>
              <a:ext cx="7938" cy="15875"/>
            </a:xfrm>
            <a:custGeom>
              <a:avLst/>
              <a:gdLst>
                <a:gd name="T0" fmla="*/ 0 w 21"/>
                <a:gd name="T1" fmla="*/ 0 h 43"/>
                <a:gd name="T2" fmla="*/ 0 w 21"/>
                <a:gd name="T3" fmla="*/ 0 h 43"/>
                <a:gd name="T4" fmla="*/ 0 w 21"/>
                <a:gd name="T5" fmla="*/ 21 h 43"/>
                <a:gd name="T6" fmla="*/ 0 w 21"/>
                <a:gd name="T7" fmla="*/ 21 h 43"/>
                <a:gd name="T8" fmla="*/ 20 w 21"/>
                <a:gd name="T9" fmla="*/ 42 h 43"/>
                <a:gd name="T10" fmla="*/ 20 w 21"/>
                <a:gd name="T11" fmla="*/ 21 h 43"/>
                <a:gd name="T12" fmla="*/ 20 w 21"/>
                <a:gd name="T13" fmla="*/ 0 h 43"/>
                <a:gd name="T14" fmla="*/ 0 w 21"/>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3">
                  <a:moveTo>
                    <a:pt x="0" y="0"/>
                  </a:moveTo>
                  <a:lnTo>
                    <a:pt x="0" y="0"/>
                  </a:lnTo>
                  <a:lnTo>
                    <a:pt x="0" y="21"/>
                  </a:lnTo>
                  <a:lnTo>
                    <a:pt x="0" y="21"/>
                  </a:lnTo>
                  <a:lnTo>
                    <a:pt x="20" y="42"/>
                  </a:lnTo>
                  <a:cubicBezTo>
                    <a:pt x="20" y="21"/>
                    <a:pt x="20" y="21"/>
                    <a:pt x="20" y="21"/>
                  </a:cubicBezTo>
                  <a:lnTo>
                    <a:pt x="20" y="0"/>
                  </a:ln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4" name="Freeform 231">
              <a:extLst>
                <a:ext uri="{FF2B5EF4-FFF2-40B4-BE49-F238E27FC236}">
                  <a16:creationId xmlns:a16="http://schemas.microsoft.com/office/drawing/2014/main" id="{A891DE51-68CB-1A48-831A-A975B493BF95}"/>
                </a:ext>
              </a:extLst>
            </p:cNvPr>
            <p:cNvSpPr>
              <a:spLocks noChangeArrowheads="1"/>
            </p:cNvSpPr>
            <p:nvPr/>
          </p:nvSpPr>
          <p:spPr bwMode="auto">
            <a:xfrm>
              <a:off x="4719638" y="7127875"/>
              <a:ext cx="7937" cy="15875"/>
            </a:xfrm>
            <a:custGeom>
              <a:avLst/>
              <a:gdLst>
                <a:gd name="T0" fmla="*/ 0 w 22"/>
                <a:gd name="T1" fmla="*/ 0 h 42"/>
                <a:gd name="T2" fmla="*/ 0 w 22"/>
                <a:gd name="T3" fmla="*/ 0 h 42"/>
                <a:gd name="T4" fmla="*/ 0 w 22"/>
                <a:gd name="T5" fmla="*/ 20 h 42"/>
                <a:gd name="T6" fmla="*/ 0 w 22"/>
                <a:gd name="T7" fmla="*/ 20 h 42"/>
                <a:gd name="T8" fmla="*/ 0 w 22"/>
                <a:gd name="T9" fmla="*/ 41 h 42"/>
                <a:gd name="T10" fmla="*/ 21 w 22"/>
                <a:gd name="T11" fmla="*/ 20 h 42"/>
                <a:gd name="T12" fmla="*/ 21 w 22"/>
                <a:gd name="T13" fmla="*/ 0 h 42"/>
                <a:gd name="T14" fmla="*/ 0 w 22"/>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0" y="0"/>
                  </a:moveTo>
                  <a:lnTo>
                    <a:pt x="0" y="0"/>
                  </a:lnTo>
                  <a:lnTo>
                    <a:pt x="0" y="20"/>
                  </a:lnTo>
                  <a:lnTo>
                    <a:pt x="0" y="20"/>
                  </a:lnTo>
                  <a:cubicBezTo>
                    <a:pt x="0" y="41"/>
                    <a:pt x="0" y="41"/>
                    <a:pt x="0" y="41"/>
                  </a:cubicBezTo>
                  <a:cubicBezTo>
                    <a:pt x="21" y="20"/>
                    <a:pt x="21" y="20"/>
                    <a:pt x="21" y="20"/>
                  </a:cubicBezTo>
                  <a:lnTo>
                    <a:pt x="21" y="0"/>
                  </a:lnTo>
                  <a:cubicBezTo>
                    <a:pt x="0"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5" name="Freeform 232">
              <a:extLst>
                <a:ext uri="{FF2B5EF4-FFF2-40B4-BE49-F238E27FC236}">
                  <a16:creationId xmlns:a16="http://schemas.microsoft.com/office/drawing/2014/main" id="{8880AE15-9472-F84E-99B6-667340F9488D}"/>
                </a:ext>
              </a:extLst>
            </p:cNvPr>
            <p:cNvSpPr>
              <a:spLocks noChangeArrowheads="1"/>
            </p:cNvSpPr>
            <p:nvPr/>
          </p:nvSpPr>
          <p:spPr bwMode="auto">
            <a:xfrm>
              <a:off x="4733925" y="7091363"/>
              <a:ext cx="7938" cy="7937"/>
            </a:xfrm>
            <a:custGeom>
              <a:avLst/>
              <a:gdLst>
                <a:gd name="T0" fmla="*/ 20 w 21"/>
                <a:gd name="T1" fmla="*/ 0 h 21"/>
                <a:gd name="T2" fmla="*/ 20 w 21"/>
                <a:gd name="T3" fmla="*/ 0 h 21"/>
                <a:gd name="T4" fmla="*/ 0 w 21"/>
                <a:gd name="T5" fmla="*/ 0 h 21"/>
                <a:gd name="T6" fmla="*/ 0 w 21"/>
                <a:gd name="T7" fmla="*/ 20 h 21"/>
                <a:gd name="T8" fmla="*/ 20 w 21"/>
                <a:gd name="T9" fmla="*/ 20 h 21"/>
                <a:gd name="T10" fmla="*/ 20 w 21"/>
                <a:gd name="T11" fmla="*/ 20 h 21"/>
                <a:gd name="T12" fmla="*/ 2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0"/>
                  </a:moveTo>
                  <a:lnTo>
                    <a:pt x="20" y="0"/>
                  </a:lnTo>
                  <a:lnTo>
                    <a:pt x="0" y="0"/>
                  </a:lnTo>
                  <a:cubicBezTo>
                    <a:pt x="0" y="0"/>
                    <a:pt x="0" y="0"/>
                    <a:pt x="0" y="20"/>
                  </a:cubicBezTo>
                  <a:cubicBezTo>
                    <a:pt x="0" y="20"/>
                    <a:pt x="0" y="20"/>
                    <a:pt x="20" y="20"/>
                  </a:cubicBezTo>
                  <a:lnTo>
                    <a:pt x="20" y="2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6" name="Freeform 233">
              <a:extLst>
                <a:ext uri="{FF2B5EF4-FFF2-40B4-BE49-F238E27FC236}">
                  <a16:creationId xmlns:a16="http://schemas.microsoft.com/office/drawing/2014/main" id="{F1641005-D65D-5945-BD41-7AD0A86D3D21}"/>
                </a:ext>
              </a:extLst>
            </p:cNvPr>
            <p:cNvSpPr>
              <a:spLocks noChangeArrowheads="1"/>
            </p:cNvSpPr>
            <p:nvPr/>
          </p:nvSpPr>
          <p:spPr bwMode="auto">
            <a:xfrm>
              <a:off x="4705350" y="7046913"/>
              <a:ext cx="15875" cy="22225"/>
            </a:xfrm>
            <a:custGeom>
              <a:avLst/>
              <a:gdLst>
                <a:gd name="T0" fmla="*/ 41 w 42"/>
                <a:gd name="T1" fmla="*/ 42 h 63"/>
                <a:gd name="T2" fmla="*/ 41 w 42"/>
                <a:gd name="T3" fmla="*/ 42 h 63"/>
                <a:gd name="T4" fmla="*/ 20 w 42"/>
                <a:gd name="T5" fmla="*/ 62 h 63"/>
                <a:gd name="T6" fmla="*/ 0 w 42"/>
                <a:gd name="T7" fmla="*/ 42 h 63"/>
                <a:gd name="T8" fmla="*/ 20 w 42"/>
                <a:gd name="T9" fmla="*/ 21 h 63"/>
                <a:gd name="T10" fmla="*/ 20 w 42"/>
                <a:gd name="T11" fmla="*/ 21 h 63"/>
                <a:gd name="T12" fmla="*/ 20 w 42"/>
                <a:gd name="T13" fmla="*/ 0 h 63"/>
                <a:gd name="T14" fmla="*/ 41 w 42"/>
                <a:gd name="T15" fmla="*/ 0 h 63"/>
                <a:gd name="T16" fmla="*/ 41 w 42"/>
                <a:gd name="T17" fmla="*/ 21 h 63"/>
                <a:gd name="T18" fmla="*/ 41 w 42"/>
                <a:gd name="T19" fmla="*/ 21 h 63"/>
                <a:gd name="T20" fmla="*/ 41 w 42"/>
                <a:gd name="T21"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63">
                  <a:moveTo>
                    <a:pt x="41" y="42"/>
                  </a:moveTo>
                  <a:lnTo>
                    <a:pt x="41" y="42"/>
                  </a:lnTo>
                  <a:lnTo>
                    <a:pt x="20" y="62"/>
                  </a:lnTo>
                  <a:lnTo>
                    <a:pt x="0" y="42"/>
                  </a:lnTo>
                  <a:cubicBezTo>
                    <a:pt x="0" y="42"/>
                    <a:pt x="0" y="21"/>
                    <a:pt x="20" y="21"/>
                  </a:cubicBezTo>
                  <a:lnTo>
                    <a:pt x="20" y="21"/>
                  </a:lnTo>
                  <a:lnTo>
                    <a:pt x="20" y="0"/>
                  </a:lnTo>
                  <a:lnTo>
                    <a:pt x="41" y="0"/>
                  </a:lnTo>
                  <a:lnTo>
                    <a:pt x="41" y="21"/>
                  </a:lnTo>
                  <a:lnTo>
                    <a:pt x="41" y="21"/>
                  </a:lnTo>
                  <a:lnTo>
                    <a:pt x="41" y="4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7" name="Freeform 234">
              <a:extLst>
                <a:ext uri="{FF2B5EF4-FFF2-40B4-BE49-F238E27FC236}">
                  <a16:creationId xmlns:a16="http://schemas.microsoft.com/office/drawing/2014/main" id="{9869285C-8B0B-514A-AB64-195A89D2265B}"/>
                </a:ext>
              </a:extLst>
            </p:cNvPr>
            <p:cNvSpPr>
              <a:spLocks noChangeArrowheads="1"/>
            </p:cNvSpPr>
            <p:nvPr/>
          </p:nvSpPr>
          <p:spPr bwMode="auto">
            <a:xfrm>
              <a:off x="4683125" y="6980238"/>
              <a:ext cx="22225" cy="15875"/>
            </a:xfrm>
            <a:custGeom>
              <a:avLst/>
              <a:gdLst>
                <a:gd name="T0" fmla="*/ 62 w 63"/>
                <a:gd name="T1" fmla="*/ 21 h 43"/>
                <a:gd name="T2" fmla="*/ 62 w 63"/>
                <a:gd name="T3" fmla="*/ 21 h 43"/>
                <a:gd name="T4" fmla="*/ 42 w 63"/>
                <a:gd name="T5" fmla="*/ 42 h 43"/>
                <a:gd name="T6" fmla="*/ 42 w 63"/>
                <a:gd name="T7" fmla="*/ 42 h 43"/>
                <a:gd name="T8" fmla="*/ 21 w 63"/>
                <a:gd name="T9" fmla="*/ 42 h 43"/>
                <a:gd name="T10" fmla="*/ 21 w 63"/>
                <a:gd name="T11" fmla="*/ 42 h 43"/>
                <a:gd name="T12" fmla="*/ 21 w 63"/>
                <a:gd name="T13" fmla="*/ 21 h 43"/>
                <a:gd name="T14" fmla="*/ 42 w 63"/>
                <a:gd name="T15" fmla="*/ 21 h 43"/>
                <a:gd name="T16" fmla="*/ 42 w 63"/>
                <a:gd name="T17" fmla="*/ 0 h 43"/>
                <a:gd name="T18" fmla="*/ 62 w 63"/>
                <a:gd name="T19" fmla="*/ 0 h 43"/>
                <a:gd name="T20" fmla="*/ 62 w 63"/>
                <a:gd name="T21"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43">
                  <a:moveTo>
                    <a:pt x="62" y="21"/>
                  </a:moveTo>
                  <a:lnTo>
                    <a:pt x="62" y="21"/>
                  </a:lnTo>
                  <a:cubicBezTo>
                    <a:pt x="62" y="21"/>
                    <a:pt x="62" y="42"/>
                    <a:pt x="42" y="42"/>
                  </a:cubicBezTo>
                  <a:lnTo>
                    <a:pt x="42" y="42"/>
                  </a:lnTo>
                  <a:lnTo>
                    <a:pt x="21" y="42"/>
                  </a:lnTo>
                  <a:lnTo>
                    <a:pt x="21" y="42"/>
                  </a:lnTo>
                  <a:cubicBezTo>
                    <a:pt x="0" y="42"/>
                    <a:pt x="21" y="21"/>
                    <a:pt x="21" y="21"/>
                  </a:cubicBezTo>
                  <a:lnTo>
                    <a:pt x="42" y="21"/>
                  </a:lnTo>
                  <a:lnTo>
                    <a:pt x="42" y="0"/>
                  </a:lnTo>
                  <a:lnTo>
                    <a:pt x="62" y="0"/>
                  </a:lnTo>
                  <a:lnTo>
                    <a:pt x="62"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8" name="Freeform 235">
              <a:extLst>
                <a:ext uri="{FF2B5EF4-FFF2-40B4-BE49-F238E27FC236}">
                  <a16:creationId xmlns:a16="http://schemas.microsoft.com/office/drawing/2014/main" id="{21B14AD0-634F-BF46-88F8-E36263B0C7DB}"/>
                </a:ext>
              </a:extLst>
            </p:cNvPr>
            <p:cNvSpPr>
              <a:spLocks noChangeArrowheads="1"/>
            </p:cNvSpPr>
            <p:nvPr/>
          </p:nvSpPr>
          <p:spPr bwMode="auto">
            <a:xfrm>
              <a:off x="4697413" y="7002463"/>
              <a:ext cx="7937" cy="14287"/>
            </a:xfrm>
            <a:custGeom>
              <a:avLst/>
              <a:gdLst>
                <a:gd name="T0" fmla="*/ 0 w 21"/>
                <a:gd name="T1" fmla="*/ 0 h 41"/>
                <a:gd name="T2" fmla="*/ 0 w 21"/>
                <a:gd name="T3" fmla="*/ 0 h 41"/>
                <a:gd name="T4" fmla="*/ 0 w 21"/>
                <a:gd name="T5" fmla="*/ 20 h 41"/>
                <a:gd name="T6" fmla="*/ 0 w 21"/>
                <a:gd name="T7" fmla="*/ 40 h 41"/>
                <a:gd name="T8" fmla="*/ 20 w 21"/>
                <a:gd name="T9" fmla="*/ 40 h 41"/>
                <a:gd name="T10" fmla="*/ 20 w 21"/>
                <a:gd name="T11" fmla="*/ 20 h 41"/>
                <a:gd name="T12" fmla="*/ 20 w 21"/>
                <a:gd name="T13" fmla="*/ 0 h 41"/>
                <a:gd name="T14" fmla="*/ 0 w 21"/>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1">
                  <a:moveTo>
                    <a:pt x="0" y="0"/>
                  </a:moveTo>
                  <a:lnTo>
                    <a:pt x="0" y="0"/>
                  </a:lnTo>
                  <a:lnTo>
                    <a:pt x="0" y="20"/>
                  </a:lnTo>
                  <a:lnTo>
                    <a:pt x="0" y="40"/>
                  </a:lnTo>
                  <a:cubicBezTo>
                    <a:pt x="0" y="40"/>
                    <a:pt x="0" y="40"/>
                    <a:pt x="20" y="40"/>
                  </a:cubicBezTo>
                  <a:lnTo>
                    <a:pt x="20" y="20"/>
                  </a:lnTo>
                  <a:lnTo>
                    <a:pt x="20" y="0"/>
                  </a:lnTo>
                  <a:cubicBezTo>
                    <a:pt x="20" y="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39" name="Freeform 236">
              <a:extLst>
                <a:ext uri="{FF2B5EF4-FFF2-40B4-BE49-F238E27FC236}">
                  <a16:creationId xmlns:a16="http://schemas.microsoft.com/office/drawing/2014/main" id="{1C007449-A2CD-CE44-9981-B9EB50E38BE9}"/>
                </a:ext>
              </a:extLst>
            </p:cNvPr>
            <p:cNvSpPr>
              <a:spLocks noChangeArrowheads="1"/>
            </p:cNvSpPr>
            <p:nvPr/>
          </p:nvSpPr>
          <p:spPr bwMode="auto">
            <a:xfrm>
              <a:off x="4719638" y="7016750"/>
              <a:ext cx="15875" cy="15875"/>
            </a:xfrm>
            <a:custGeom>
              <a:avLst/>
              <a:gdLst>
                <a:gd name="T0" fmla="*/ 41 w 42"/>
                <a:gd name="T1" fmla="*/ 21 h 43"/>
                <a:gd name="T2" fmla="*/ 41 w 42"/>
                <a:gd name="T3" fmla="*/ 21 h 43"/>
                <a:gd name="T4" fmla="*/ 21 w 42"/>
                <a:gd name="T5" fmla="*/ 0 h 43"/>
                <a:gd name="T6" fmla="*/ 21 w 42"/>
                <a:gd name="T7" fmla="*/ 0 h 43"/>
                <a:gd name="T8" fmla="*/ 21 w 42"/>
                <a:gd name="T9" fmla="*/ 21 h 43"/>
                <a:gd name="T10" fmla="*/ 21 w 42"/>
                <a:gd name="T11" fmla="*/ 21 h 43"/>
                <a:gd name="T12" fmla="*/ 21 w 42"/>
                <a:gd name="T13" fmla="*/ 42 h 43"/>
                <a:gd name="T14" fmla="*/ 21 w 42"/>
                <a:gd name="T15" fmla="*/ 42 h 43"/>
                <a:gd name="T16" fmla="*/ 41 w 42"/>
                <a:gd name="T17"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3">
                  <a:moveTo>
                    <a:pt x="41" y="21"/>
                  </a:moveTo>
                  <a:lnTo>
                    <a:pt x="41" y="21"/>
                  </a:lnTo>
                  <a:lnTo>
                    <a:pt x="21" y="0"/>
                  </a:lnTo>
                  <a:lnTo>
                    <a:pt x="21" y="0"/>
                  </a:lnTo>
                  <a:cubicBezTo>
                    <a:pt x="21" y="0"/>
                    <a:pt x="0" y="0"/>
                    <a:pt x="21" y="21"/>
                  </a:cubicBezTo>
                  <a:lnTo>
                    <a:pt x="21" y="21"/>
                  </a:lnTo>
                  <a:lnTo>
                    <a:pt x="21" y="42"/>
                  </a:lnTo>
                  <a:lnTo>
                    <a:pt x="21" y="42"/>
                  </a:lnTo>
                  <a:lnTo>
                    <a:pt x="4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0" name="Freeform 237">
              <a:extLst>
                <a:ext uri="{FF2B5EF4-FFF2-40B4-BE49-F238E27FC236}">
                  <a16:creationId xmlns:a16="http://schemas.microsoft.com/office/drawing/2014/main" id="{C5FDF5E2-337B-6940-8D72-0AF4772D982E}"/>
                </a:ext>
              </a:extLst>
            </p:cNvPr>
            <p:cNvSpPr>
              <a:spLocks noChangeArrowheads="1"/>
            </p:cNvSpPr>
            <p:nvPr/>
          </p:nvSpPr>
          <p:spPr bwMode="auto">
            <a:xfrm>
              <a:off x="4727575" y="7038975"/>
              <a:ext cx="7938" cy="15875"/>
            </a:xfrm>
            <a:custGeom>
              <a:avLst/>
              <a:gdLst>
                <a:gd name="T0" fmla="*/ 20 w 21"/>
                <a:gd name="T1" fmla="*/ 0 h 42"/>
                <a:gd name="T2" fmla="*/ 20 w 21"/>
                <a:gd name="T3" fmla="*/ 0 h 42"/>
                <a:gd name="T4" fmla="*/ 0 w 21"/>
                <a:gd name="T5" fmla="*/ 20 h 42"/>
                <a:gd name="T6" fmla="*/ 0 w 21"/>
                <a:gd name="T7" fmla="*/ 41 h 42"/>
                <a:gd name="T8" fmla="*/ 20 w 21"/>
                <a:gd name="T9" fmla="*/ 41 h 42"/>
                <a:gd name="T10" fmla="*/ 20 w 21"/>
                <a:gd name="T11" fmla="*/ 41 h 42"/>
                <a:gd name="T12" fmla="*/ 20 w 21"/>
                <a:gd name="T13" fmla="*/ 20 h 42"/>
                <a:gd name="T14" fmla="*/ 20 w 21"/>
                <a:gd name="T15" fmla="*/ 20 h 42"/>
                <a:gd name="T16" fmla="*/ 20 w 2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42">
                  <a:moveTo>
                    <a:pt x="20" y="0"/>
                  </a:moveTo>
                  <a:lnTo>
                    <a:pt x="20" y="0"/>
                  </a:lnTo>
                  <a:cubicBezTo>
                    <a:pt x="0" y="0"/>
                    <a:pt x="0" y="20"/>
                    <a:pt x="0" y="20"/>
                  </a:cubicBezTo>
                  <a:cubicBezTo>
                    <a:pt x="0" y="20"/>
                    <a:pt x="0" y="20"/>
                    <a:pt x="0" y="41"/>
                  </a:cubicBezTo>
                  <a:lnTo>
                    <a:pt x="20" y="41"/>
                  </a:lnTo>
                  <a:lnTo>
                    <a:pt x="20" y="41"/>
                  </a:lnTo>
                  <a:lnTo>
                    <a:pt x="20" y="20"/>
                  </a:lnTo>
                  <a:lnTo>
                    <a:pt x="20" y="2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1" name="Freeform 238">
              <a:extLst>
                <a:ext uri="{FF2B5EF4-FFF2-40B4-BE49-F238E27FC236}">
                  <a16:creationId xmlns:a16="http://schemas.microsoft.com/office/drawing/2014/main" id="{2AAB6E28-07AA-B64B-B87E-48A7612D4F6D}"/>
                </a:ext>
              </a:extLst>
            </p:cNvPr>
            <p:cNvSpPr>
              <a:spLocks noChangeArrowheads="1"/>
            </p:cNvSpPr>
            <p:nvPr/>
          </p:nvSpPr>
          <p:spPr bwMode="auto">
            <a:xfrm>
              <a:off x="4697413" y="7038975"/>
              <a:ext cx="7937" cy="7938"/>
            </a:xfrm>
            <a:custGeom>
              <a:avLst/>
              <a:gdLst>
                <a:gd name="T0" fmla="*/ 20 w 21"/>
                <a:gd name="T1" fmla="*/ 20 h 21"/>
                <a:gd name="T2" fmla="*/ 20 w 21"/>
                <a:gd name="T3" fmla="*/ 20 h 21"/>
                <a:gd name="T4" fmla="*/ 20 w 21"/>
                <a:gd name="T5" fmla="*/ 0 h 21"/>
                <a:gd name="T6" fmla="*/ 0 w 21"/>
                <a:gd name="T7" fmla="*/ 0 h 21"/>
                <a:gd name="T8" fmla="*/ 0 w 21"/>
                <a:gd name="T9" fmla="*/ 0 h 21"/>
                <a:gd name="T10" fmla="*/ 0 w 21"/>
                <a:gd name="T11" fmla="*/ 20 h 21"/>
                <a:gd name="T12" fmla="*/ 0 w 21"/>
                <a:gd name="T13" fmla="*/ 20 h 21"/>
                <a:gd name="T14" fmla="*/ 0 w 21"/>
                <a:gd name="T15" fmla="*/ 20 h 21"/>
                <a:gd name="T16" fmla="*/ 20 w 21"/>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0"/>
                  </a:moveTo>
                  <a:lnTo>
                    <a:pt x="20" y="20"/>
                  </a:lnTo>
                  <a:cubicBezTo>
                    <a:pt x="20" y="20"/>
                    <a:pt x="20" y="20"/>
                    <a:pt x="20" y="0"/>
                  </a:cubicBezTo>
                  <a:lnTo>
                    <a:pt x="0" y="0"/>
                  </a:lnTo>
                  <a:lnTo>
                    <a:pt x="0" y="0"/>
                  </a:lnTo>
                  <a:lnTo>
                    <a:pt x="0" y="20"/>
                  </a:lnTo>
                  <a:lnTo>
                    <a:pt x="0" y="20"/>
                  </a:lnTo>
                  <a:lnTo>
                    <a:pt x="0" y="20"/>
                  </a:lnTo>
                  <a:cubicBezTo>
                    <a:pt x="20" y="20"/>
                    <a:pt x="20"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2" name="Freeform 239">
              <a:extLst>
                <a:ext uri="{FF2B5EF4-FFF2-40B4-BE49-F238E27FC236}">
                  <a16:creationId xmlns:a16="http://schemas.microsoft.com/office/drawing/2014/main" id="{0A7FDD7A-6E0C-E344-9F46-7B2776E95631}"/>
                </a:ext>
              </a:extLst>
            </p:cNvPr>
            <p:cNvSpPr>
              <a:spLocks noChangeArrowheads="1"/>
            </p:cNvSpPr>
            <p:nvPr/>
          </p:nvSpPr>
          <p:spPr bwMode="auto">
            <a:xfrm>
              <a:off x="4727575" y="7061200"/>
              <a:ext cx="7938" cy="14288"/>
            </a:xfrm>
            <a:custGeom>
              <a:avLst/>
              <a:gdLst>
                <a:gd name="T0" fmla="*/ 20 w 21"/>
                <a:gd name="T1" fmla="*/ 40 h 41"/>
                <a:gd name="T2" fmla="*/ 20 w 21"/>
                <a:gd name="T3" fmla="*/ 40 h 41"/>
                <a:gd name="T4" fmla="*/ 20 w 21"/>
                <a:gd name="T5" fmla="*/ 20 h 41"/>
                <a:gd name="T6" fmla="*/ 20 w 21"/>
                <a:gd name="T7" fmla="*/ 0 h 41"/>
                <a:gd name="T8" fmla="*/ 0 w 21"/>
                <a:gd name="T9" fmla="*/ 0 h 41"/>
                <a:gd name="T10" fmla="*/ 0 w 21"/>
                <a:gd name="T11" fmla="*/ 20 h 41"/>
                <a:gd name="T12" fmla="*/ 20 w 21"/>
                <a:gd name="T13" fmla="*/ 4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20" y="40"/>
                  </a:moveTo>
                  <a:lnTo>
                    <a:pt x="20" y="40"/>
                  </a:lnTo>
                  <a:lnTo>
                    <a:pt x="20" y="20"/>
                  </a:lnTo>
                  <a:cubicBezTo>
                    <a:pt x="20" y="20"/>
                    <a:pt x="20" y="20"/>
                    <a:pt x="20" y="0"/>
                  </a:cubicBezTo>
                  <a:lnTo>
                    <a:pt x="0" y="0"/>
                  </a:lnTo>
                  <a:cubicBezTo>
                    <a:pt x="0" y="20"/>
                    <a:pt x="0" y="20"/>
                    <a:pt x="0" y="20"/>
                  </a:cubicBezTo>
                  <a:cubicBezTo>
                    <a:pt x="0" y="20"/>
                    <a:pt x="0" y="40"/>
                    <a:pt x="20"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3" name="Freeform 240">
              <a:extLst>
                <a:ext uri="{FF2B5EF4-FFF2-40B4-BE49-F238E27FC236}">
                  <a16:creationId xmlns:a16="http://schemas.microsoft.com/office/drawing/2014/main" id="{52E45D94-D153-CB46-8836-BA8D3A263E19}"/>
                </a:ext>
              </a:extLst>
            </p:cNvPr>
            <p:cNvSpPr>
              <a:spLocks noChangeArrowheads="1"/>
            </p:cNvSpPr>
            <p:nvPr/>
          </p:nvSpPr>
          <p:spPr bwMode="auto">
            <a:xfrm>
              <a:off x="4733925" y="7075488"/>
              <a:ext cx="7938" cy="7937"/>
            </a:xfrm>
            <a:custGeom>
              <a:avLst/>
              <a:gdLst>
                <a:gd name="T0" fmla="*/ 0 w 21"/>
                <a:gd name="T1" fmla="*/ 0 h 22"/>
                <a:gd name="T2" fmla="*/ 0 w 21"/>
                <a:gd name="T3" fmla="*/ 0 h 22"/>
                <a:gd name="T4" fmla="*/ 0 w 21"/>
                <a:gd name="T5" fmla="*/ 21 h 22"/>
                <a:gd name="T6" fmla="*/ 0 w 21"/>
                <a:gd name="T7" fmla="*/ 21 h 22"/>
                <a:gd name="T8" fmla="*/ 20 w 21"/>
                <a:gd name="T9" fmla="*/ 21 h 22"/>
                <a:gd name="T10" fmla="*/ 20 w 21"/>
                <a:gd name="T11" fmla="*/ 0 h 22"/>
                <a:gd name="T12" fmla="*/ 20 w 21"/>
                <a:gd name="T13" fmla="*/ 0 h 22"/>
                <a:gd name="T14" fmla="*/ 0 w 2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2">
                  <a:moveTo>
                    <a:pt x="0" y="0"/>
                  </a:moveTo>
                  <a:lnTo>
                    <a:pt x="0" y="0"/>
                  </a:lnTo>
                  <a:cubicBezTo>
                    <a:pt x="0" y="0"/>
                    <a:pt x="0" y="0"/>
                    <a:pt x="0" y="21"/>
                  </a:cubicBezTo>
                  <a:lnTo>
                    <a:pt x="0" y="21"/>
                  </a:lnTo>
                  <a:cubicBezTo>
                    <a:pt x="20" y="21"/>
                    <a:pt x="20" y="21"/>
                    <a:pt x="20" y="21"/>
                  </a:cubicBezTo>
                  <a:cubicBezTo>
                    <a:pt x="20" y="21"/>
                    <a:pt x="20" y="21"/>
                    <a:pt x="20" y="0"/>
                  </a:cubicBezTo>
                  <a:lnTo>
                    <a:pt x="20" y="0"/>
                  </a:lnTo>
                  <a:cubicBezTo>
                    <a:pt x="20" y="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4" name="Freeform 241">
              <a:extLst>
                <a:ext uri="{FF2B5EF4-FFF2-40B4-BE49-F238E27FC236}">
                  <a16:creationId xmlns:a16="http://schemas.microsoft.com/office/drawing/2014/main" id="{26D01446-7ED2-6E44-A064-EC2D843E5BBF}"/>
                </a:ext>
              </a:extLst>
            </p:cNvPr>
            <p:cNvSpPr>
              <a:spLocks noChangeArrowheads="1"/>
            </p:cNvSpPr>
            <p:nvPr/>
          </p:nvSpPr>
          <p:spPr bwMode="auto">
            <a:xfrm>
              <a:off x="4705350" y="7075488"/>
              <a:ext cx="7938" cy="15875"/>
            </a:xfrm>
            <a:custGeom>
              <a:avLst/>
              <a:gdLst>
                <a:gd name="T0" fmla="*/ 20 w 21"/>
                <a:gd name="T1" fmla="*/ 21 h 43"/>
                <a:gd name="T2" fmla="*/ 20 w 21"/>
                <a:gd name="T3" fmla="*/ 21 h 43"/>
                <a:gd name="T4" fmla="*/ 20 w 21"/>
                <a:gd name="T5" fmla="*/ 21 h 43"/>
                <a:gd name="T6" fmla="*/ 0 w 21"/>
                <a:gd name="T7" fmla="*/ 21 h 43"/>
                <a:gd name="T8" fmla="*/ 0 w 21"/>
                <a:gd name="T9" fmla="*/ 21 h 43"/>
                <a:gd name="T10" fmla="*/ 0 w 21"/>
                <a:gd name="T11" fmla="*/ 42 h 43"/>
                <a:gd name="T12" fmla="*/ 20 w 21"/>
                <a:gd name="T13" fmla="*/ 42 h 43"/>
                <a:gd name="T14" fmla="*/ 20 w 21"/>
                <a:gd name="T15" fmla="*/ 21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3">
                  <a:moveTo>
                    <a:pt x="20" y="21"/>
                  </a:moveTo>
                  <a:lnTo>
                    <a:pt x="20" y="21"/>
                  </a:lnTo>
                  <a:lnTo>
                    <a:pt x="20" y="21"/>
                  </a:lnTo>
                  <a:cubicBezTo>
                    <a:pt x="20" y="0"/>
                    <a:pt x="20" y="21"/>
                    <a:pt x="0" y="21"/>
                  </a:cubicBezTo>
                  <a:lnTo>
                    <a:pt x="0" y="21"/>
                  </a:lnTo>
                  <a:lnTo>
                    <a:pt x="0" y="42"/>
                  </a:lnTo>
                  <a:lnTo>
                    <a:pt x="20" y="42"/>
                  </a:lnTo>
                  <a:cubicBezTo>
                    <a:pt x="20" y="42"/>
                    <a:pt x="20" y="42"/>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5" name="Freeform 242">
              <a:extLst>
                <a:ext uri="{FF2B5EF4-FFF2-40B4-BE49-F238E27FC236}">
                  <a16:creationId xmlns:a16="http://schemas.microsoft.com/office/drawing/2014/main" id="{E944FFCE-8EA3-8041-91B6-A1B62FBDFEE9}"/>
                </a:ext>
              </a:extLst>
            </p:cNvPr>
            <p:cNvSpPr>
              <a:spLocks noChangeArrowheads="1"/>
            </p:cNvSpPr>
            <p:nvPr/>
          </p:nvSpPr>
          <p:spPr bwMode="auto">
            <a:xfrm>
              <a:off x="4683125" y="7024688"/>
              <a:ext cx="15875" cy="7937"/>
            </a:xfrm>
            <a:custGeom>
              <a:avLst/>
              <a:gdLst>
                <a:gd name="T0" fmla="*/ 42 w 43"/>
                <a:gd name="T1" fmla="*/ 21 h 22"/>
                <a:gd name="T2" fmla="*/ 42 w 43"/>
                <a:gd name="T3" fmla="*/ 21 h 22"/>
                <a:gd name="T4" fmla="*/ 21 w 43"/>
                <a:gd name="T5" fmla="*/ 21 h 22"/>
                <a:gd name="T6" fmla="*/ 0 w 43"/>
                <a:gd name="T7" fmla="*/ 0 h 22"/>
                <a:gd name="T8" fmla="*/ 21 w 43"/>
                <a:gd name="T9" fmla="*/ 0 h 22"/>
                <a:gd name="T10" fmla="*/ 42 w 43"/>
                <a:gd name="T11" fmla="*/ 0 h 22"/>
                <a:gd name="T12" fmla="*/ 42 w 43"/>
                <a:gd name="T13" fmla="*/ 0 h 22"/>
                <a:gd name="T14" fmla="*/ 42 w 43"/>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2">
                  <a:moveTo>
                    <a:pt x="42" y="21"/>
                  </a:moveTo>
                  <a:lnTo>
                    <a:pt x="42" y="21"/>
                  </a:lnTo>
                  <a:lnTo>
                    <a:pt x="21" y="21"/>
                  </a:lnTo>
                  <a:lnTo>
                    <a:pt x="0" y="0"/>
                  </a:lnTo>
                  <a:lnTo>
                    <a:pt x="21" y="0"/>
                  </a:lnTo>
                  <a:cubicBezTo>
                    <a:pt x="21" y="0"/>
                    <a:pt x="21" y="0"/>
                    <a:pt x="42" y="0"/>
                  </a:cubicBezTo>
                  <a:lnTo>
                    <a:pt x="42" y="0"/>
                  </a:lnTo>
                  <a:lnTo>
                    <a:pt x="42"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6" name="Freeform 243">
              <a:extLst>
                <a:ext uri="{FF2B5EF4-FFF2-40B4-BE49-F238E27FC236}">
                  <a16:creationId xmlns:a16="http://schemas.microsoft.com/office/drawing/2014/main" id="{7AD963FD-B1FD-3549-9ADA-6D0718C994B6}"/>
                </a:ext>
              </a:extLst>
            </p:cNvPr>
            <p:cNvSpPr>
              <a:spLocks noChangeArrowheads="1"/>
            </p:cNvSpPr>
            <p:nvPr/>
          </p:nvSpPr>
          <p:spPr bwMode="auto">
            <a:xfrm>
              <a:off x="4711700" y="7024688"/>
              <a:ext cx="7938" cy="7937"/>
            </a:xfrm>
            <a:custGeom>
              <a:avLst/>
              <a:gdLst>
                <a:gd name="T0" fmla="*/ 0 w 22"/>
                <a:gd name="T1" fmla="*/ 21 h 22"/>
                <a:gd name="T2" fmla="*/ 0 w 22"/>
                <a:gd name="T3" fmla="*/ 21 h 22"/>
                <a:gd name="T4" fmla="*/ 0 w 22"/>
                <a:gd name="T5" fmla="*/ 0 h 22"/>
                <a:gd name="T6" fmla="*/ 0 w 22"/>
                <a:gd name="T7" fmla="*/ 0 h 22"/>
                <a:gd name="T8" fmla="*/ 0 w 22"/>
                <a:gd name="T9" fmla="*/ 0 h 22"/>
                <a:gd name="T10" fmla="*/ 21 w 22"/>
                <a:gd name="T11" fmla="*/ 0 h 22"/>
                <a:gd name="T12" fmla="*/ 21 w 22"/>
                <a:gd name="T13" fmla="*/ 21 h 22"/>
                <a:gd name="T14" fmla="*/ 0 w 22"/>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0" y="21"/>
                  </a:moveTo>
                  <a:lnTo>
                    <a:pt x="0" y="21"/>
                  </a:lnTo>
                  <a:lnTo>
                    <a:pt x="0" y="0"/>
                  </a:lnTo>
                  <a:lnTo>
                    <a:pt x="0" y="0"/>
                  </a:lnTo>
                  <a:lnTo>
                    <a:pt x="0" y="0"/>
                  </a:lnTo>
                  <a:lnTo>
                    <a:pt x="21" y="0"/>
                  </a:lnTo>
                  <a:lnTo>
                    <a:pt x="21" y="21"/>
                  </a:lnTo>
                  <a:lnTo>
                    <a:pt x="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7" name="Freeform 244">
              <a:extLst>
                <a:ext uri="{FF2B5EF4-FFF2-40B4-BE49-F238E27FC236}">
                  <a16:creationId xmlns:a16="http://schemas.microsoft.com/office/drawing/2014/main" id="{333B79BE-967F-1F42-B1C7-A62ED03572B5}"/>
                </a:ext>
              </a:extLst>
            </p:cNvPr>
            <p:cNvSpPr>
              <a:spLocks noChangeArrowheads="1"/>
            </p:cNvSpPr>
            <p:nvPr/>
          </p:nvSpPr>
          <p:spPr bwMode="auto">
            <a:xfrm>
              <a:off x="4719638" y="7002463"/>
              <a:ext cx="7937" cy="7937"/>
            </a:xfrm>
            <a:custGeom>
              <a:avLst/>
              <a:gdLst>
                <a:gd name="T0" fmla="*/ 21 w 22"/>
                <a:gd name="T1" fmla="*/ 20 h 21"/>
                <a:gd name="T2" fmla="*/ 21 w 22"/>
                <a:gd name="T3" fmla="*/ 20 h 21"/>
                <a:gd name="T4" fmla="*/ 21 w 22"/>
                <a:gd name="T5" fmla="*/ 0 h 21"/>
                <a:gd name="T6" fmla="*/ 0 w 22"/>
                <a:gd name="T7" fmla="*/ 0 h 21"/>
                <a:gd name="T8" fmla="*/ 0 w 22"/>
                <a:gd name="T9" fmla="*/ 0 h 21"/>
                <a:gd name="T10" fmla="*/ 0 w 22"/>
                <a:gd name="T11" fmla="*/ 20 h 21"/>
                <a:gd name="T12" fmla="*/ 0 w 22"/>
                <a:gd name="T13" fmla="*/ 20 h 21"/>
                <a:gd name="T14" fmla="*/ 21 w 22"/>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21" y="20"/>
                  </a:moveTo>
                  <a:lnTo>
                    <a:pt x="21" y="20"/>
                  </a:lnTo>
                  <a:lnTo>
                    <a:pt x="21" y="0"/>
                  </a:lnTo>
                  <a:cubicBezTo>
                    <a:pt x="0" y="0"/>
                    <a:pt x="0" y="0"/>
                    <a:pt x="0" y="0"/>
                  </a:cubicBezTo>
                  <a:lnTo>
                    <a:pt x="0" y="0"/>
                  </a:lnTo>
                  <a:lnTo>
                    <a:pt x="0" y="20"/>
                  </a:lnTo>
                  <a:lnTo>
                    <a:pt x="0" y="20"/>
                  </a:lnTo>
                  <a:cubicBezTo>
                    <a:pt x="21" y="20"/>
                    <a:pt x="21" y="2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8" name="Freeform 245">
              <a:extLst>
                <a:ext uri="{FF2B5EF4-FFF2-40B4-BE49-F238E27FC236}">
                  <a16:creationId xmlns:a16="http://schemas.microsoft.com/office/drawing/2014/main" id="{3D1D2AAA-35F5-D143-B921-7A8C63A63A41}"/>
                </a:ext>
              </a:extLst>
            </p:cNvPr>
            <p:cNvSpPr>
              <a:spLocks noChangeArrowheads="1"/>
            </p:cNvSpPr>
            <p:nvPr/>
          </p:nvSpPr>
          <p:spPr bwMode="auto">
            <a:xfrm>
              <a:off x="4683125" y="7002463"/>
              <a:ext cx="15875" cy="7937"/>
            </a:xfrm>
            <a:custGeom>
              <a:avLst/>
              <a:gdLst>
                <a:gd name="T0" fmla="*/ 21 w 43"/>
                <a:gd name="T1" fmla="*/ 0 h 21"/>
                <a:gd name="T2" fmla="*/ 21 w 43"/>
                <a:gd name="T3" fmla="*/ 0 h 21"/>
                <a:gd name="T4" fmla="*/ 21 w 43"/>
                <a:gd name="T5" fmla="*/ 0 h 21"/>
                <a:gd name="T6" fmla="*/ 0 w 43"/>
                <a:gd name="T7" fmla="*/ 20 h 21"/>
                <a:gd name="T8" fmla="*/ 21 w 43"/>
                <a:gd name="T9" fmla="*/ 20 h 21"/>
                <a:gd name="T10" fmla="*/ 21 w 43"/>
                <a:gd name="T11" fmla="*/ 20 h 21"/>
                <a:gd name="T12" fmla="*/ 42 w 43"/>
                <a:gd name="T13" fmla="*/ 0 h 21"/>
                <a:gd name="T14" fmla="*/ 21 w 43"/>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1">
                  <a:moveTo>
                    <a:pt x="21" y="0"/>
                  </a:moveTo>
                  <a:lnTo>
                    <a:pt x="21" y="0"/>
                  </a:lnTo>
                  <a:lnTo>
                    <a:pt x="21" y="0"/>
                  </a:lnTo>
                  <a:cubicBezTo>
                    <a:pt x="21" y="0"/>
                    <a:pt x="0" y="0"/>
                    <a:pt x="0" y="20"/>
                  </a:cubicBezTo>
                  <a:lnTo>
                    <a:pt x="21" y="20"/>
                  </a:lnTo>
                  <a:lnTo>
                    <a:pt x="21" y="20"/>
                  </a:lnTo>
                  <a:lnTo>
                    <a:pt x="42" y="0"/>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49" name="Freeform 246">
              <a:extLst>
                <a:ext uri="{FF2B5EF4-FFF2-40B4-BE49-F238E27FC236}">
                  <a16:creationId xmlns:a16="http://schemas.microsoft.com/office/drawing/2014/main" id="{60ABD05E-8AE9-BA4B-AAEF-334299989FA4}"/>
                </a:ext>
              </a:extLst>
            </p:cNvPr>
            <p:cNvSpPr>
              <a:spLocks noChangeArrowheads="1"/>
            </p:cNvSpPr>
            <p:nvPr/>
          </p:nvSpPr>
          <p:spPr bwMode="auto">
            <a:xfrm>
              <a:off x="4705350" y="6927850"/>
              <a:ext cx="15875" cy="15875"/>
            </a:xfrm>
            <a:custGeom>
              <a:avLst/>
              <a:gdLst>
                <a:gd name="T0" fmla="*/ 20 w 42"/>
                <a:gd name="T1" fmla="*/ 21 h 42"/>
                <a:gd name="T2" fmla="*/ 20 w 42"/>
                <a:gd name="T3" fmla="*/ 21 h 42"/>
                <a:gd name="T4" fmla="*/ 20 w 42"/>
                <a:gd name="T5" fmla="*/ 41 h 42"/>
                <a:gd name="T6" fmla="*/ 20 w 42"/>
                <a:gd name="T7" fmla="*/ 41 h 42"/>
                <a:gd name="T8" fmla="*/ 0 w 42"/>
                <a:gd name="T9" fmla="*/ 41 h 42"/>
                <a:gd name="T10" fmla="*/ 0 w 42"/>
                <a:gd name="T11" fmla="*/ 21 h 42"/>
                <a:gd name="T12" fmla="*/ 0 w 42"/>
                <a:gd name="T13" fmla="*/ 0 h 42"/>
                <a:gd name="T14" fmla="*/ 0 w 42"/>
                <a:gd name="T15" fmla="*/ 0 h 42"/>
                <a:gd name="T16" fmla="*/ 20 w 42"/>
                <a:gd name="T17" fmla="*/ 0 h 42"/>
                <a:gd name="T18" fmla="*/ 20 w 42"/>
                <a:gd name="T19" fmla="*/ 0 h 42"/>
                <a:gd name="T20" fmla="*/ 20 w 42"/>
                <a:gd name="T21" fmla="*/ 0 h 42"/>
                <a:gd name="T22" fmla="*/ 41 w 42"/>
                <a:gd name="T23" fmla="*/ 21 h 42"/>
                <a:gd name="T24" fmla="*/ 20 w 42"/>
                <a:gd name="T25"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0" y="21"/>
                  </a:moveTo>
                  <a:lnTo>
                    <a:pt x="20" y="21"/>
                  </a:lnTo>
                  <a:lnTo>
                    <a:pt x="20" y="41"/>
                  </a:lnTo>
                  <a:lnTo>
                    <a:pt x="20" y="41"/>
                  </a:lnTo>
                  <a:cubicBezTo>
                    <a:pt x="0" y="41"/>
                    <a:pt x="0" y="41"/>
                    <a:pt x="0" y="41"/>
                  </a:cubicBezTo>
                  <a:lnTo>
                    <a:pt x="0" y="21"/>
                  </a:lnTo>
                  <a:cubicBezTo>
                    <a:pt x="0" y="21"/>
                    <a:pt x="0" y="21"/>
                    <a:pt x="0" y="0"/>
                  </a:cubicBezTo>
                  <a:lnTo>
                    <a:pt x="0" y="0"/>
                  </a:lnTo>
                  <a:cubicBezTo>
                    <a:pt x="0" y="0"/>
                    <a:pt x="0" y="0"/>
                    <a:pt x="20" y="0"/>
                  </a:cubicBezTo>
                  <a:lnTo>
                    <a:pt x="20" y="0"/>
                  </a:lnTo>
                  <a:lnTo>
                    <a:pt x="20" y="0"/>
                  </a:lnTo>
                  <a:cubicBezTo>
                    <a:pt x="41" y="0"/>
                    <a:pt x="41" y="21"/>
                    <a:pt x="41" y="21"/>
                  </a:cubicBez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0" name="Freeform 247">
              <a:extLst>
                <a:ext uri="{FF2B5EF4-FFF2-40B4-BE49-F238E27FC236}">
                  <a16:creationId xmlns:a16="http://schemas.microsoft.com/office/drawing/2014/main" id="{A5514D76-4C1E-9646-BB7F-00650C2FA222}"/>
                </a:ext>
              </a:extLst>
            </p:cNvPr>
            <p:cNvSpPr>
              <a:spLocks noChangeArrowheads="1"/>
            </p:cNvSpPr>
            <p:nvPr/>
          </p:nvSpPr>
          <p:spPr bwMode="auto">
            <a:xfrm>
              <a:off x="4705350" y="6950075"/>
              <a:ext cx="15875" cy="15875"/>
            </a:xfrm>
            <a:custGeom>
              <a:avLst/>
              <a:gdLst>
                <a:gd name="T0" fmla="*/ 41 w 42"/>
                <a:gd name="T1" fmla="*/ 42 h 43"/>
                <a:gd name="T2" fmla="*/ 41 w 42"/>
                <a:gd name="T3" fmla="*/ 42 h 43"/>
                <a:gd name="T4" fmla="*/ 41 w 42"/>
                <a:gd name="T5" fmla="*/ 21 h 43"/>
                <a:gd name="T6" fmla="*/ 20 w 42"/>
                <a:gd name="T7" fmla="*/ 0 h 43"/>
                <a:gd name="T8" fmla="*/ 20 w 42"/>
                <a:gd name="T9" fmla="*/ 0 h 43"/>
                <a:gd name="T10" fmla="*/ 0 w 42"/>
                <a:gd name="T11" fmla="*/ 21 h 43"/>
                <a:gd name="T12" fmla="*/ 20 w 42"/>
                <a:gd name="T13" fmla="*/ 21 h 43"/>
                <a:gd name="T14" fmla="*/ 20 w 42"/>
                <a:gd name="T15" fmla="*/ 21 h 43"/>
                <a:gd name="T16" fmla="*/ 41 w 42"/>
                <a:gd name="T1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3">
                  <a:moveTo>
                    <a:pt x="41" y="42"/>
                  </a:moveTo>
                  <a:lnTo>
                    <a:pt x="41" y="42"/>
                  </a:lnTo>
                  <a:cubicBezTo>
                    <a:pt x="41" y="21"/>
                    <a:pt x="41" y="21"/>
                    <a:pt x="41" y="21"/>
                  </a:cubicBezTo>
                  <a:cubicBezTo>
                    <a:pt x="41" y="0"/>
                    <a:pt x="41" y="0"/>
                    <a:pt x="20" y="0"/>
                  </a:cubicBezTo>
                  <a:lnTo>
                    <a:pt x="20" y="0"/>
                  </a:lnTo>
                  <a:cubicBezTo>
                    <a:pt x="0" y="21"/>
                    <a:pt x="0" y="21"/>
                    <a:pt x="0" y="21"/>
                  </a:cubicBezTo>
                  <a:lnTo>
                    <a:pt x="20" y="21"/>
                  </a:lnTo>
                  <a:lnTo>
                    <a:pt x="20" y="21"/>
                  </a:lnTo>
                  <a:lnTo>
                    <a:pt x="41" y="4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1" name="Freeform 248">
              <a:extLst>
                <a:ext uri="{FF2B5EF4-FFF2-40B4-BE49-F238E27FC236}">
                  <a16:creationId xmlns:a16="http://schemas.microsoft.com/office/drawing/2014/main" id="{BC26356C-0A14-484E-8EA3-4702ABB77429}"/>
                </a:ext>
              </a:extLst>
            </p:cNvPr>
            <p:cNvSpPr>
              <a:spLocks noChangeArrowheads="1"/>
            </p:cNvSpPr>
            <p:nvPr/>
          </p:nvSpPr>
          <p:spPr bwMode="auto">
            <a:xfrm>
              <a:off x="4668838" y="6861175"/>
              <a:ext cx="7937" cy="7938"/>
            </a:xfrm>
            <a:custGeom>
              <a:avLst/>
              <a:gdLst>
                <a:gd name="T0" fmla="*/ 20 w 21"/>
                <a:gd name="T1" fmla="*/ 21 h 22"/>
                <a:gd name="T2" fmla="*/ 20 w 21"/>
                <a:gd name="T3" fmla="*/ 21 h 22"/>
                <a:gd name="T4" fmla="*/ 20 w 21"/>
                <a:gd name="T5" fmla="*/ 0 h 22"/>
                <a:gd name="T6" fmla="*/ 20 w 21"/>
                <a:gd name="T7" fmla="*/ 0 h 22"/>
                <a:gd name="T8" fmla="*/ 0 w 21"/>
                <a:gd name="T9" fmla="*/ 21 h 22"/>
                <a:gd name="T10" fmla="*/ 20 w 21"/>
                <a:gd name="T11" fmla="*/ 21 h 22"/>
              </a:gdLst>
              <a:ahLst/>
              <a:cxnLst>
                <a:cxn ang="0">
                  <a:pos x="T0" y="T1"/>
                </a:cxn>
                <a:cxn ang="0">
                  <a:pos x="T2" y="T3"/>
                </a:cxn>
                <a:cxn ang="0">
                  <a:pos x="T4" y="T5"/>
                </a:cxn>
                <a:cxn ang="0">
                  <a:pos x="T6" y="T7"/>
                </a:cxn>
                <a:cxn ang="0">
                  <a:pos x="T8" y="T9"/>
                </a:cxn>
                <a:cxn ang="0">
                  <a:pos x="T10" y="T11"/>
                </a:cxn>
              </a:cxnLst>
              <a:rect l="0" t="0" r="r" b="b"/>
              <a:pathLst>
                <a:path w="21" h="22">
                  <a:moveTo>
                    <a:pt x="20" y="21"/>
                  </a:moveTo>
                  <a:lnTo>
                    <a:pt x="20" y="21"/>
                  </a:lnTo>
                  <a:lnTo>
                    <a:pt x="20" y="0"/>
                  </a:lnTo>
                  <a:lnTo>
                    <a:pt x="20" y="0"/>
                  </a:lnTo>
                  <a:cubicBezTo>
                    <a:pt x="0" y="0"/>
                    <a:pt x="0" y="0"/>
                    <a:pt x="0" y="21"/>
                  </a:cubicBezTo>
                  <a:cubicBezTo>
                    <a:pt x="0" y="21"/>
                    <a:pt x="0"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2" name="Freeform 249">
              <a:extLst>
                <a:ext uri="{FF2B5EF4-FFF2-40B4-BE49-F238E27FC236}">
                  <a16:creationId xmlns:a16="http://schemas.microsoft.com/office/drawing/2014/main" id="{6C89E9A0-497A-3342-9ABE-6BDD88D7905E}"/>
                </a:ext>
              </a:extLst>
            </p:cNvPr>
            <p:cNvSpPr>
              <a:spLocks noChangeArrowheads="1"/>
            </p:cNvSpPr>
            <p:nvPr/>
          </p:nvSpPr>
          <p:spPr bwMode="auto">
            <a:xfrm>
              <a:off x="4668838" y="6877050"/>
              <a:ext cx="7937" cy="7938"/>
            </a:xfrm>
            <a:custGeom>
              <a:avLst/>
              <a:gdLst>
                <a:gd name="T0" fmla="*/ 20 w 21"/>
                <a:gd name="T1" fmla="*/ 0 h 21"/>
                <a:gd name="T2" fmla="*/ 20 w 21"/>
                <a:gd name="T3" fmla="*/ 0 h 21"/>
                <a:gd name="T4" fmla="*/ 0 w 21"/>
                <a:gd name="T5" fmla="*/ 20 h 21"/>
                <a:gd name="T6" fmla="*/ 0 w 21"/>
                <a:gd name="T7" fmla="*/ 20 h 21"/>
                <a:gd name="T8" fmla="*/ 20 w 21"/>
                <a:gd name="T9" fmla="*/ 20 h 21"/>
                <a:gd name="T10" fmla="*/ 20 w 21"/>
                <a:gd name="T11" fmla="*/ 20 h 21"/>
                <a:gd name="T12" fmla="*/ 2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0"/>
                  </a:moveTo>
                  <a:lnTo>
                    <a:pt x="20" y="0"/>
                  </a:lnTo>
                  <a:cubicBezTo>
                    <a:pt x="20" y="0"/>
                    <a:pt x="0" y="0"/>
                    <a:pt x="0" y="20"/>
                  </a:cubicBezTo>
                  <a:lnTo>
                    <a:pt x="0" y="20"/>
                  </a:lnTo>
                  <a:lnTo>
                    <a:pt x="20" y="20"/>
                  </a:lnTo>
                  <a:lnTo>
                    <a:pt x="20" y="20"/>
                  </a:lnTo>
                  <a:cubicBezTo>
                    <a:pt x="20" y="20"/>
                    <a:pt x="20" y="2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3" name="Freeform 250">
              <a:extLst>
                <a:ext uri="{FF2B5EF4-FFF2-40B4-BE49-F238E27FC236}">
                  <a16:creationId xmlns:a16="http://schemas.microsoft.com/office/drawing/2014/main" id="{8E201836-D996-C64C-BA00-6724E3CE96BC}"/>
                </a:ext>
              </a:extLst>
            </p:cNvPr>
            <p:cNvSpPr>
              <a:spLocks noChangeArrowheads="1"/>
            </p:cNvSpPr>
            <p:nvPr/>
          </p:nvSpPr>
          <p:spPr bwMode="auto">
            <a:xfrm>
              <a:off x="4660900" y="6818313"/>
              <a:ext cx="7938" cy="7937"/>
            </a:xfrm>
            <a:custGeom>
              <a:avLst/>
              <a:gdLst>
                <a:gd name="T0" fmla="*/ 21 w 22"/>
                <a:gd name="T1" fmla="*/ 0 h 21"/>
                <a:gd name="T2" fmla="*/ 21 w 22"/>
                <a:gd name="T3" fmla="*/ 0 h 21"/>
                <a:gd name="T4" fmla="*/ 0 w 22"/>
                <a:gd name="T5" fmla="*/ 0 h 21"/>
                <a:gd name="T6" fmla="*/ 0 w 22"/>
                <a:gd name="T7" fmla="*/ 20 h 21"/>
                <a:gd name="T8" fmla="*/ 0 w 22"/>
                <a:gd name="T9" fmla="*/ 20 h 21"/>
                <a:gd name="T10" fmla="*/ 21 w 22"/>
                <a:gd name="T11" fmla="*/ 20 h 21"/>
                <a:gd name="T12" fmla="*/ 21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0"/>
                  </a:moveTo>
                  <a:lnTo>
                    <a:pt x="21" y="0"/>
                  </a:lnTo>
                  <a:lnTo>
                    <a:pt x="0" y="0"/>
                  </a:lnTo>
                  <a:cubicBezTo>
                    <a:pt x="0" y="0"/>
                    <a:pt x="0" y="0"/>
                    <a:pt x="0" y="20"/>
                  </a:cubicBezTo>
                  <a:lnTo>
                    <a:pt x="0" y="20"/>
                  </a:lnTo>
                  <a:lnTo>
                    <a:pt x="21" y="20"/>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4" name="Freeform 251">
              <a:extLst>
                <a:ext uri="{FF2B5EF4-FFF2-40B4-BE49-F238E27FC236}">
                  <a16:creationId xmlns:a16="http://schemas.microsoft.com/office/drawing/2014/main" id="{18EE5B2C-B3C0-5E44-8247-326D6ED505F1}"/>
                </a:ext>
              </a:extLst>
            </p:cNvPr>
            <p:cNvSpPr>
              <a:spLocks noChangeArrowheads="1"/>
            </p:cNvSpPr>
            <p:nvPr/>
          </p:nvSpPr>
          <p:spPr bwMode="auto">
            <a:xfrm>
              <a:off x="4689475" y="7261225"/>
              <a:ext cx="15875" cy="15875"/>
            </a:xfrm>
            <a:custGeom>
              <a:avLst/>
              <a:gdLst>
                <a:gd name="T0" fmla="*/ 21 w 42"/>
                <a:gd name="T1" fmla="*/ 0 h 42"/>
                <a:gd name="T2" fmla="*/ 21 w 42"/>
                <a:gd name="T3" fmla="*/ 0 h 42"/>
                <a:gd name="T4" fmla="*/ 0 w 42"/>
                <a:gd name="T5" fmla="*/ 20 h 42"/>
                <a:gd name="T6" fmla="*/ 0 w 42"/>
                <a:gd name="T7" fmla="*/ 41 h 42"/>
                <a:gd name="T8" fmla="*/ 21 w 42"/>
                <a:gd name="T9" fmla="*/ 41 h 42"/>
                <a:gd name="T10" fmla="*/ 21 w 42"/>
                <a:gd name="T11" fmla="*/ 20 h 42"/>
                <a:gd name="T12" fmla="*/ 21 w 4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1" y="0"/>
                  </a:moveTo>
                  <a:lnTo>
                    <a:pt x="21" y="0"/>
                  </a:lnTo>
                  <a:cubicBezTo>
                    <a:pt x="21" y="0"/>
                    <a:pt x="0" y="0"/>
                    <a:pt x="0" y="20"/>
                  </a:cubicBezTo>
                  <a:cubicBezTo>
                    <a:pt x="0" y="20"/>
                    <a:pt x="0" y="20"/>
                    <a:pt x="0" y="41"/>
                  </a:cubicBezTo>
                  <a:lnTo>
                    <a:pt x="21" y="41"/>
                  </a:lnTo>
                  <a:cubicBezTo>
                    <a:pt x="41" y="20"/>
                    <a:pt x="41" y="20"/>
                    <a:pt x="21" y="2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5" name="Freeform 252">
              <a:extLst>
                <a:ext uri="{FF2B5EF4-FFF2-40B4-BE49-F238E27FC236}">
                  <a16:creationId xmlns:a16="http://schemas.microsoft.com/office/drawing/2014/main" id="{4429E218-075A-3042-8150-9606E569ED74}"/>
                </a:ext>
              </a:extLst>
            </p:cNvPr>
            <p:cNvSpPr>
              <a:spLocks noChangeArrowheads="1"/>
            </p:cNvSpPr>
            <p:nvPr/>
          </p:nvSpPr>
          <p:spPr bwMode="auto">
            <a:xfrm>
              <a:off x="4689475" y="7239000"/>
              <a:ext cx="7938" cy="7938"/>
            </a:xfrm>
            <a:custGeom>
              <a:avLst/>
              <a:gdLst>
                <a:gd name="T0" fmla="*/ 21 w 22"/>
                <a:gd name="T1" fmla="*/ 0 h 21"/>
                <a:gd name="T2" fmla="*/ 21 w 22"/>
                <a:gd name="T3" fmla="*/ 0 h 21"/>
                <a:gd name="T4" fmla="*/ 0 w 22"/>
                <a:gd name="T5" fmla="*/ 0 h 21"/>
                <a:gd name="T6" fmla="*/ 21 w 22"/>
                <a:gd name="T7" fmla="*/ 20 h 21"/>
                <a:gd name="T8" fmla="*/ 21 w 22"/>
                <a:gd name="T9" fmla="*/ 20 h 21"/>
                <a:gd name="T10" fmla="*/ 21 w 22"/>
                <a:gd name="T11" fmla="*/ 20 h 21"/>
                <a:gd name="T12" fmla="*/ 21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0"/>
                  </a:moveTo>
                  <a:lnTo>
                    <a:pt x="21" y="0"/>
                  </a:lnTo>
                  <a:lnTo>
                    <a:pt x="0" y="0"/>
                  </a:lnTo>
                  <a:cubicBezTo>
                    <a:pt x="0" y="20"/>
                    <a:pt x="0" y="20"/>
                    <a:pt x="21" y="20"/>
                  </a:cubicBezTo>
                  <a:lnTo>
                    <a:pt x="21" y="20"/>
                  </a:lnTo>
                  <a:lnTo>
                    <a:pt x="21" y="20"/>
                  </a:lnTo>
                  <a:cubicBezTo>
                    <a:pt x="21" y="0"/>
                    <a:pt x="2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6" name="Freeform 253">
              <a:extLst>
                <a:ext uri="{FF2B5EF4-FFF2-40B4-BE49-F238E27FC236}">
                  <a16:creationId xmlns:a16="http://schemas.microsoft.com/office/drawing/2014/main" id="{DF893487-40DB-344C-90A5-7906C5F42457}"/>
                </a:ext>
              </a:extLst>
            </p:cNvPr>
            <p:cNvSpPr>
              <a:spLocks noChangeArrowheads="1"/>
            </p:cNvSpPr>
            <p:nvPr/>
          </p:nvSpPr>
          <p:spPr bwMode="auto">
            <a:xfrm>
              <a:off x="4689475" y="7281863"/>
              <a:ext cx="7938" cy="1587"/>
            </a:xfrm>
            <a:custGeom>
              <a:avLst/>
              <a:gdLst>
                <a:gd name="T0" fmla="*/ 21 w 22"/>
                <a:gd name="T1" fmla="*/ 0 h 1"/>
                <a:gd name="T2" fmla="*/ 21 w 22"/>
                <a:gd name="T3" fmla="*/ 0 h 1"/>
                <a:gd name="T4" fmla="*/ 0 w 22"/>
                <a:gd name="T5" fmla="*/ 0 h 1"/>
                <a:gd name="T6" fmla="*/ 0 w 22"/>
                <a:gd name="T7" fmla="*/ 0 h 1"/>
                <a:gd name="T8" fmla="*/ 0 w 22"/>
                <a:gd name="T9" fmla="*/ 0 h 1"/>
                <a:gd name="T10" fmla="*/ 21 w 22"/>
                <a:gd name="T11" fmla="*/ 0 h 1"/>
              </a:gdLst>
              <a:ahLst/>
              <a:cxnLst>
                <a:cxn ang="0">
                  <a:pos x="T0" y="T1"/>
                </a:cxn>
                <a:cxn ang="0">
                  <a:pos x="T2" y="T3"/>
                </a:cxn>
                <a:cxn ang="0">
                  <a:pos x="T4" y="T5"/>
                </a:cxn>
                <a:cxn ang="0">
                  <a:pos x="T6" y="T7"/>
                </a:cxn>
                <a:cxn ang="0">
                  <a:pos x="T8" y="T9"/>
                </a:cxn>
                <a:cxn ang="0">
                  <a:pos x="T10" y="T11"/>
                </a:cxn>
              </a:cxnLst>
              <a:rect l="0" t="0" r="r" b="b"/>
              <a:pathLst>
                <a:path w="22" h="1">
                  <a:moveTo>
                    <a:pt x="21" y="0"/>
                  </a:moveTo>
                  <a:lnTo>
                    <a:pt x="21" y="0"/>
                  </a:lnTo>
                  <a:lnTo>
                    <a:pt x="0" y="0"/>
                  </a:lnTo>
                  <a:lnTo>
                    <a:pt x="0" y="0"/>
                  </a:lnTo>
                  <a:lnTo>
                    <a:pt x="0" y="0"/>
                  </a:lnTo>
                  <a:cubicBezTo>
                    <a:pt x="21" y="0"/>
                    <a:pt x="2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7" name="Freeform 254">
              <a:extLst>
                <a:ext uri="{FF2B5EF4-FFF2-40B4-BE49-F238E27FC236}">
                  <a16:creationId xmlns:a16="http://schemas.microsoft.com/office/drawing/2014/main" id="{EEF974FA-1440-D247-A2B6-23370FA3DB10}"/>
                </a:ext>
              </a:extLst>
            </p:cNvPr>
            <p:cNvSpPr>
              <a:spLocks noChangeArrowheads="1"/>
            </p:cNvSpPr>
            <p:nvPr/>
          </p:nvSpPr>
          <p:spPr bwMode="auto">
            <a:xfrm>
              <a:off x="4689475" y="7297738"/>
              <a:ext cx="7938" cy="7937"/>
            </a:xfrm>
            <a:custGeom>
              <a:avLst/>
              <a:gdLst>
                <a:gd name="T0" fmla="*/ 21 w 22"/>
                <a:gd name="T1" fmla="*/ 0 h 22"/>
                <a:gd name="T2" fmla="*/ 21 w 22"/>
                <a:gd name="T3" fmla="*/ 0 h 22"/>
                <a:gd name="T4" fmla="*/ 0 w 22"/>
                <a:gd name="T5" fmla="*/ 0 h 22"/>
                <a:gd name="T6" fmla="*/ 0 w 22"/>
                <a:gd name="T7" fmla="*/ 21 h 22"/>
                <a:gd name="T8" fmla="*/ 21 w 22"/>
                <a:gd name="T9" fmla="*/ 21 h 22"/>
                <a:gd name="T10" fmla="*/ 21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1" y="0"/>
                  </a:moveTo>
                  <a:lnTo>
                    <a:pt x="21" y="0"/>
                  </a:lnTo>
                  <a:lnTo>
                    <a:pt x="0" y="0"/>
                  </a:lnTo>
                  <a:lnTo>
                    <a:pt x="0" y="21"/>
                  </a:lnTo>
                  <a:cubicBezTo>
                    <a:pt x="21" y="21"/>
                    <a:pt x="21" y="21"/>
                    <a:pt x="21" y="21"/>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8" name="Freeform 255">
              <a:extLst>
                <a:ext uri="{FF2B5EF4-FFF2-40B4-BE49-F238E27FC236}">
                  <a16:creationId xmlns:a16="http://schemas.microsoft.com/office/drawing/2014/main" id="{ACF54593-1B46-2E47-9C8A-6D762B2B473D}"/>
                </a:ext>
              </a:extLst>
            </p:cNvPr>
            <p:cNvSpPr>
              <a:spLocks noChangeArrowheads="1"/>
            </p:cNvSpPr>
            <p:nvPr/>
          </p:nvSpPr>
          <p:spPr bwMode="auto">
            <a:xfrm>
              <a:off x="4705350" y="7200900"/>
              <a:ext cx="7938" cy="15875"/>
            </a:xfrm>
            <a:custGeom>
              <a:avLst/>
              <a:gdLst>
                <a:gd name="T0" fmla="*/ 20 w 21"/>
                <a:gd name="T1" fmla="*/ 21 h 42"/>
                <a:gd name="T2" fmla="*/ 20 w 21"/>
                <a:gd name="T3" fmla="*/ 21 h 42"/>
                <a:gd name="T4" fmla="*/ 20 w 21"/>
                <a:gd name="T5" fmla="*/ 0 h 42"/>
                <a:gd name="T6" fmla="*/ 0 w 21"/>
                <a:gd name="T7" fmla="*/ 0 h 42"/>
                <a:gd name="T8" fmla="*/ 0 w 21"/>
                <a:gd name="T9" fmla="*/ 21 h 42"/>
                <a:gd name="T10" fmla="*/ 20 w 21"/>
                <a:gd name="T11" fmla="*/ 41 h 42"/>
                <a:gd name="T12" fmla="*/ 20 w 21"/>
                <a:gd name="T13" fmla="*/ 41 h 42"/>
                <a:gd name="T14" fmla="*/ 20 w 21"/>
                <a:gd name="T15" fmla="*/ 2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21"/>
                  </a:moveTo>
                  <a:lnTo>
                    <a:pt x="20" y="21"/>
                  </a:lnTo>
                  <a:lnTo>
                    <a:pt x="20" y="0"/>
                  </a:lnTo>
                  <a:cubicBezTo>
                    <a:pt x="20" y="0"/>
                    <a:pt x="20" y="0"/>
                    <a:pt x="0" y="0"/>
                  </a:cubicBezTo>
                  <a:lnTo>
                    <a:pt x="0" y="21"/>
                  </a:lnTo>
                  <a:cubicBezTo>
                    <a:pt x="0" y="41"/>
                    <a:pt x="0" y="41"/>
                    <a:pt x="20" y="41"/>
                  </a:cubicBezTo>
                  <a:lnTo>
                    <a:pt x="20" y="41"/>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59" name="Freeform 256">
              <a:extLst>
                <a:ext uri="{FF2B5EF4-FFF2-40B4-BE49-F238E27FC236}">
                  <a16:creationId xmlns:a16="http://schemas.microsoft.com/office/drawing/2014/main" id="{E0ED667D-B1E1-E946-A0DF-C506F7BD17B8}"/>
                </a:ext>
              </a:extLst>
            </p:cNvPr>
            <p:cNvSpPr>
              <a:spLocks noChangeArrowheads="1"/>
            </p:cNvSpPr>
            <p:nvPr/>
          </p:nvSpPr>
          <p:spPr bwMode="auto">
            <a:xfrm>
              <a:off x="4697413" y="7223125"/>
              <a:ext cx="7937" cy="15875"/>
            </a:xfrm>
            <a:custGeom>
              <a:avLst/>
              <a:gdLst>
                <a:gd name="T0" fmla="*/ 20 w 21"/>
                <a:gd name="T1" fmla="*/ 0 h 43"/>
                <a:gd name="T2" fmla="*/ 20 w 21"/>
                <a:gd name="T3" fmla="*/ 0 h 43"/>
                <a:gd name="T4" fmla="*/ 0 w 21"/>
                <a:gd name="T5" fmla="*/ 0 h 43"/>
                <a:gd name="T6" fmla="*/ 0 w 21"/>
                <a:gd name="T7" fmla="*/ 21 h 43"/>
                <a:gd name="T8" fmla="*/ 0 w 21"/>
                <a:gd name="T9" fmla="*/ 42 h 43"/>
                <a:gd name="T10" fmla="*/ 20 w 21"/>
                <a:gd name="T11" fmla="*/ 21 h 43"/>
                <a:gd name="T12" fmla="*/ 20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20" y="0"/>
                  </a:moveTo>
                  <a:lnTo>
                    <a:pt x="20" y="0"/>
                  </a:lnTo>
                  <a:lnTo>
                    <a:pt x="0" y="0"/>
                  </a:lnTo>
                  <a:lnTo>
                    <a:pt x="0" y="21"/>
                  </a:lnTo>
                  <a:lnTo>
                    <a:pt x="0" y="42"/>
                  </a:lnTo>
                  <a:cubicBezTo>
                    <a:pt x="20" y="42"/>
                    <a:pt x="20" y="21"/>
                    <a:pt x="20" y="21"/>
                  </a:cubicBez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0" name="Freeform 257">
              <a:extLst>
                <a:ext uri="{FF2B5EF4-FFF2-40B4-BE49-F238E27FC236}">
                  <a16:creationId xmlns:a16="http://schemas.microsoft.com/office/drawing/2014/main" id="{42B07802-682E-244F-84E0-7CD204B6E6C5}"/>
                </a:ext>
              </a:extLst>
            </p:cNvPr>
            <p:cNvSpPr>
              <a:spLocks noChangeArrowheads="1"/>
            </p:cNvSpPr>
            <p:nvPr/>
          </p:nvSpPr>
          <p:spPr bwMode="auto">
            <a:xfrm>
              <a:off x="4379913" y="6434138"/>
              <a:ext cx="15875" cy="22225"/>
            </a:xfrm>
            <a:custGeom>
              <a:avLst/>
              <a:gdLst>
                <a:gd name="T0" fmla="*/ 21 w 42"/>
                <a:gd name="T1" fmla="*/ 61 h 62"/>
                <a:gd name="T2" fmla="*/ 21 w 42"/>
                <a:gd name="T3" fmla="*/ 61 h 62"/>
                <a:gd name="T4" fmla="*/ 21 w 42"/>
                <a:gd name="T5" fmla="*/ 41 h 62"/>
                <a:gd name="T6" fmla="*/ 21 w 42"/>
                <a:gd name="T7" fmla="*/ 21 h 62"/>
                <a:gd name="T8" fmla="*/ 0 w 42"/>
                <a:gd name="T9" fmla="*/ 0 h 62"/>
                <a:gd name="T10" fmla="*/ 0 w 42"/>
                <a:gd name="T11" fmla="*/ 21 h 62"/>
                <a:gd name="T12" fmla="*/ 0 w 42"/>
                <a:gd name="T13" fmla="*/ 41 h 62"/>
                <a:gd name="T14" fmla="*/ 21 w 42"/>
                <a:gd name="T15" fmla="*/ 61 h 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62">
                  <a:moveTo>
                    <a:pt x="21" y="61"/>
                  </a:moveTo>
                  <a:lnTo>
                    <a:pt x="21" y="61"/>
                  </a:lnTo>
                  <a:cubicBezTo>
                    <a:pt x="41" y="61"/>
                    <a:pt x="21" y="41"/>
                    <a:pt x="21" y="41"/>
                  </a:cubicBezTo>
                  <a:lnTo>
                    <a:pt x="21" y="21"/>
                  </a:lnTo>
                  <a:cubicBezTo>
                    <a:pt x="0" y="21"/>
                    <a:pt x="0" y="0"/>
                    <a:pt x="0" y="0"/>
                  </a:cubicBezTo>
                  <a:lnTo>
                    <a:pt x="0" y="21"/>
                  </a:lnTo>
                  <a:lnTo>
                    <a:pt x="0" y="41"/>
                  </a:lnTo>
                  <a:cubicBezTo>
                    <a:pt x="21" y="41"/>
                    <a:pt x="21" y="61"/>
                    <a:pt x="21"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1" name="Freeform 258">
              <a:extLst>
                <a:ext uri="{FF2B5EF4-FFF2-40B4-BE49-F238E27FC236}">
                  <a16:creationId xmlns:a16="http://schemas.microsoft.com/office/drawing/2014/main" id="{4E90A4A7-71B8-7E40-BF1A-4A9BE6BAE8F9}"/>
                </a:ext>
              </a:extLst>
            </p:cNvPr>
            <p:cNvSpPr>
              <a:spLocks noChangeArrowheads="1"/>
            </p:cNvSpPr>
            <p:nvPr/>
          </p:nvSpPr>
          <p:spPr bwMode="auto">
            <a:xfrm>
              <a:off x="4373563" y="6448425"/>
              <a:ext cx="30162" cy="44450"/>
            </a:xfrm>
            <a:custGeom>
              <a:avLst/>
              <a:gdLst>
                <a:gd name="T0" fmla="*/ 61 w 83"/>
                <a:gd name="T1" fmla="*/ 102 h 124"/>
                <a:gd name="T2" fmla="*/ 61 w 83"/>
                <a:gd name="T3" fmla="*/ 102 h 124"/>
                <a:gd name="T4" fmla="*/ 82 w 83"/>
                <a:gd name="T5" fmla="*/ 102 h 124"/>
                <a:gd name="T6" fmla="*/ 61 w 83"/>
                <a:gd name="T7" fmla="*/ 62 h 124"/>
                <a:gd name="T8" fmla="*/ 41 w 83"/>
                <a:gd name="T9" fmla="*/ 41 h 124"/>
                <a:gd name="T10" fmla="*/ 20 w 83"/>
                <a:gd name="T11" fmla="*/ 41 h 124"/>
                <a:gd name="T12" fmla="*/ 20 w 83"/>
                <a:gd name="T13" fmla="*/ 0 h 124"/>
                <a:gd name="T14" fmla="*/ 0 w 83"/>
                <a:gd name="T15" fmla="*/ 20 h 124"/>
                <a:gd name="T16" fmla="*/ 20 w 83"/>
                <a:gd name="T17" fmla="*/ 41 h 124"/>
                <a:gd name="T18" fmla="*/ 20 w 83"/>
                <a:gd name="T19" fmla="*/ 62 h 124"/>
                <a:gd name="T20" fmla="*/ 41 w 83"/>
                <a:gd name="T21" fmla="*/ 82 h 124"/>
                <a:gd name="T22" fmla="*/ 41 w 83"/>
                <a:gd name="T23" fmla="*/ 102 h 124"/>
                <a:gd name="T24" fmla="*/ 61 w 83"/>
                <a:gd name="T25" fmla="*/ 123 h 124"/>
                <a:gd name="T26" fmla="*/ 61 w 83"/>
                <a:gd name="T27" fmla="*/ 10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124">
                  <a:moveTo>
                    <a:pt x="61" y="102"/>
                  </a:moveTo>
                  <a:lnTo>
                    <a:pt x="61" y="102"/>
                  </a:lnTo>
                  <a:lnTo>
                    <a:pt x="82" y="102"/>
                  </a:lnTo>
                  <a:cubicBezTo>
                    <a:pt x="61" y="82"/>
                    <a:pt x="61" y="82"/>
                    <a:pt x="61" y="62"/>
                  </a:cubicBezTo>
                  <a:cubicBezTo>
                    <a:pt x="61" y="62"/>
                    <a:pt x="41" y="62"/>
                    <a:pt x="41" y="41"/>
                  </a:cubicBezTo>
                  <a:cubicBezTo>
                    <a:pt x="41" y="41"/>
                    <a:pt x="41" y="41"/>
                    <a:pt x="20" y="41"/>
                  </a:cubicBezTo>
                  <a:cubicBezTo>
                    <a:pt x="20" y="20"/>
                    <a:pt x="20" y="0"/>
                    <a:pt x="20" y="0"/>
                  </a:cubicBezTo>
                  <a:cubicBezTo>
                    <a:pt x="0" y="0"/>
                    <a:pt x="0" y="20"/>
                    <a:pt x="0" y="20"/>
                  </a:cubicBezTo>
                  <a:cubicBezTo>
                    <a:pt x="0" y="41"/>
                    <a:pt x="20" y="41"/>
                    <a:pt x="20" y="41"/>
                  </a:cubicBezTo>
                  <a:cubicBezTo>
                    <a:pt x="20" y="62"/>
                    <a:pt x="20" y="62"/>
                    <a:pt x="20" y="62"/>
                  </a:cubicBezTo>
                  <a:cubicBezTo>
                    <a:pt x="20" y="82"/>
                    <a:pt x="41" y="82"/>
                    <a:pt x="41" y="82"/>
                  </a:cubicBezTo>
                  <a:lnTo>
                    <a:pt x="41" y="102"/>
                  </a:lnTo>
                  <a:lnTo>
                    <a:pt x="61" y="123"/>
                  </a:lnTo>
                  <a:cubicBezTo>
                    <a:pt x="61" y="123"/>
                    <a:pt x="61" y="123"/>
                    <a:pt x="61" y="10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2" name="Freeform 259">
              <a:extLst>
                <a:ext uri="{FF2B5EF4-FFF2-40B4-BE49-F238E27FC236}">
                  <a16:creationId xmlns:a16="http://schemas.microsoft.com/office/drawing/2014/main" id="{C69F4E56-52AD-1343-9F0D-3A12DC1EB6B5}"/>
                </a:ext>
              </a:extLst>
            </p:cNvPr>
            <p:cNvSpPr>
              <a:spLocks noChangeArrowheads="1"/>
            </p:cNvSpPr>
            <p:nvPr/>
          </p:nvSpPr>
          <p:spPr bwMode="auto">
            <a:xfrm>
              <a:off x="4373563" y="6486525"/>
              <a:ext cx="15875" cy="22225"/>
            </a:xfrm>
            <a:custGeom>
              <a:avLst/>
              <a:gdLst>
                <a:gd name="T0" fmla="*/ 41 w 42"/>
                <a:gd name="T1" fmla="*/ 42 h 63"/>
                <a:gd name="T2" fmla="*/ 41 w 42"/>
                <a:gd name="T3" fmla="*/ 42 h 63"/>
                <a:gd name="T4" fmla="*/ 41 w 42"/>
                <a:gd name="T5" fmla="*/ 21 h 63"/>
                <a:gd name="T6" fmla="*/ 20 w 42"/>
                <a:gd name="T7" fmla="*/ 21 h 63"/>
                <a:gd name="T8" fmla="*/ 20 w 42"/>
                <a:gd name="T9" fmla="*/ 0 h 63"/>
                <a:gd name="T10" fmla="*/ 0 w 42"/>
                <a:gd name="T11" fmla="*/ 21 h 63"/>
                <a:gd name="T12" fmla="*/ 20 w 42"/>
                <a:gd name="T13" fmla="*/ 42 h 63"/>
                <a:gd name="T14" fmla="*/ 20 w 42"/>
                <a:gd name="T15" fmla="*/ 42 h 63"/>
                <a:gd name="T16" fmla="*/ 41 w 42"/>
                <a:gd name="T17"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63">
                  <a:moveTo>
                    <a:pt x="41" y="42"/>
                  </a:moveTo>
                  <a:lnTo>
                    <a:pt x="41" y="42"/>
                  </a:lnTo>
                  <a:cubicBezTo>
                    <a:pt x="41" y="42"/>
                    <a:pt x="41" y="42"/>
                    <a:pt x="41" y="21"/>
                  </a:cubicBezTo>
                  <a:cubicBezTo>
                    <a:pt x="41" y="21"/>
                    <a:pt x="41" y="21"/>
                    <a:pt x="20" y="21"/>
                  </a:cubicBezTo>
                  <a:cubicBezTo>
                    <a:pt x="20" y="0"/>
                    <a:pt x="20" y="0"/>
                    <a:pt x="20" y="0"/>
                  </a:cubicBezTo>
                  <a:cubicBezTo>
                    <a:pt x="0" y="0"/>
                    <a:pt x="0" y="21"/>
                    <a:pt x="0" y="21"/>
                  </a:cubicBezTo>
                  <a:cubicBezTo>
                    <a:pt x="0" y="21"/>
                    <a:pt x="20" y="21"/>
                    <a:pt x="20" y="42"/>
                  </a:cubicBezTo>
                  <a:lnTo>
                    <a:pt x="20" y="42"/>
                  </a:lnTo>
                  <a:cubicBezTo>
                    <a:pt x="20" y="62"/>
                    <a:pt x="20" y="42"/>
                    <a:pt x="41"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3" name="Freeform 260">
              <a:extLst>
                <a:ext uri="{FF2B5EF4-FFF2-40B4-BE49-F238E27FC236}">
                  <a16:creationId xmlns:a16="http://schemas.microsoft.com/office/drawing/2014/main" id="{2D7E482A-915B-C743-87A5-B4F005B04919}"/>
                </a:ext>
              </a:extLst>
            </p:cNvPr>
            <p:cNvSpPr>
              <a:spLocks noChangeArrowheads="1"/>
            </p:cNvSpPr>
            <p:nvPr/>
          </p:nvSpPr>
          <p:spPr bwMode="auto">
            <a:xfrm>
              <a:off x="4394200" y="6515100"/>
              <a:ext cx="7938" cy="15875"/>
            </a:xfrm>
            <a:custGeom>
              <a:avLst/>
              <a:gdLst>
                <a:gd name="T0" fmla="*/ 0 w 22"/>
                <a:gd name="T1" fmla="*/ 0 h 42"/>
                <a:gd name="T2" fmla="*/ 0 w 22"/>
                <a:gd name="T3" fmla="*/ 0 h 42"/>
                <a:gd name="T4" fmla="*/ 0 w 22"/>
                <a:gd name="T5" fmla="*/ 21 h 42"/>
                <a:gd name="T6" fmla="*/ 0 w 22"/>
                <a:gd name="T7" fmla="*/ 41 h 42"/>
                <a:gd name="T8" fmla="*/ 21 w 22"/>
                <a:gd name="T9" fmla="*/ 41 h 42"/>
                <a:gd name="T10" fmla="*/ 21 w 22"/>
                <a:gd name="T11" fmla="*/ 21 h 42"/>
                <a:gd name="T12" fmla="*/ 0 w 2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0" y="0"/>
                  </a:moveTo>
                  <a:lnTo>
                    <a:pt x="0" y="0"/>
                  </a:lnTo>
                  <a:lnTo>
                    <a:pt x="0" y="21"/>
                  </a:lnTo>
                  <a:lnTo>
                    <a:pt x="0" y="41"/>
                  </a:lnTo>
                  <a:lnTo>
                    <a:pt x="21" y="41"/>
                  </a:lnTo>
                  <a:lnTo>
                    <a:pt x="21" y="21"/>
                  </a:lnTo>
                  <a:cubicBezTo>
                    <a:pt x="21" y="21"/>
                    <a:pt x="21"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4" name="Freeform 261">
              <a:extLst>
                <a:ext uri="{FF2B5EF4-FFF2-40B4-BE49-F238E27FC236}">
                  <a16:creationId xmlns:a16="http://schemas.microsoft.com/office/drawing/2014/main" id="{FA5C04A3-7CB8-7F4B-A8C8-26B3AD7A8CB8}"/>
                </a:ext>
              </a:extLst>
            </p:cNvPr>
            <p:cNvSpPr>
              <a:spLocks noChangeArrowheads="1"/>
            </p:cNvSpPr>
            <p:nvPr/>
          </p:nvSpPr>
          <p:spPr bwMode="auto">
            <a:xfrm>
              <a:off x="4394200" y="6508750"/>
              <a:ext cx="7938" cy="7938"/>
            </a:xfrm>
            <a:custGeom>
              <a:avLst/>
              <a:gdLst>
                <a:gd name="T0" fmla="*/ 0 w 22"/>
                <a:gd name="T1" fmla="*/ 0 h 21"/>
                <a:gd name="T2" fmla="*/ 0 w 22"/>
                <a:gd name="T3" fmla="*/ 0 h 21"/>
                <a:gd name="T4" fmla="*/ 0 w 22"/>
                <a:gd name="T5" fmla="*/ 0 h 21"/>
                <a:gd name="T6" fmla="*/ 0 w 22"/>
                <a:gd name="T7" fmla="*/ 20 h 21"/>
                <a:gd name="T8" fmla="*/ 21 w 22"/>
                <a:gd name="T9" fmla="*/ 20 h 21"/>
                <a:gd name="T10" fmla="*/ 21 w 22"/>
                <a:gd name="T11" fmla="*/ 0 h 21"/>
                <a:gd name="T12" fmla="*/ 0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0" y="0"/>
                  </a:moveTo>
                  <a:lnTo>
                    <a:pt x="0" y="0"/>
                  </a:lnTo>
                  <a:lnTo>
                    <a:pt x="0" y="0"/>
                  </a:lnTo>
                  <a:lnTo>
                    <a:pt x="0" y="20"/>
                  </a:lnTo>
                  <a:cubicBezTo>
                    <a:pt x="0" y="20"/>
                    <a:pt x="0" y="20"/>
                    <a:pt x="21" y="20"/>
                  </a:cubicBezTo>
                  <a:cubicBezTo>
                    <a:pt x="21" y="0"/>
                    <a:pt x="21" y="0"/>
                    <a:pt x="21" y="0"/>
                  </a:cubicBez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5" name="Freeform 262">
              <a:extLst>
                <a:ext uri="{FF2B5EF4-FFF2-40B4-BE49-F238E27FC236}">
                  <a16:creationId xmlns:a16="http://schemas.microsoft.com/office/drawing/2014/main" id="{B8DBD16C-B8B7-0D43-9CC0-B3BFED51A859}"/>
                </a:ext>
              </a:extLst>
            </p:cNvPr>
            <p:cNvSpPr>
              <a:spLocks noChangeArrowheads="1"/>
            </p:cNvSpPr>
            <p:nvPr/>
          </p:nvSpPr>
          <p:spPr bwMode="auto">
            <a:xfrm>
              <a:off x="4365625" y="6426200"/>
              <a:ext cx="7938" cy="7938"/>
            </a:xfrm>
            <a:custGeom>
              <a:avLst/>
              <a:gdLst>
                <a:gd name="T0" fmla="*/ 21 w 22"/>
                <a:gd name="T1" fmla="*/ 0 h 22"/>
                <a:gd name="T2" fmla="*/ 21 w 22"/>
                <a:gd name="T3" fmla="*/ 0 h 22"/>
                <a:gd name="T4" fmla="*/ 21 w 22"/>
                <a:gd name="T5" fmla="*/ 0 h 22"/>
                <a:gd name="T6" fmla="*/ 0 w 22"/>
                <a:gd name="T7" fmla="*/ 0 h 22"/>
                <a:gd name="T8" fmla="*/ 0 w 22"/>
                <a:gd name="T9" fmla="*/ 21 h 22"/>
                <a:gd name="T10" fmla="*/ 0 w 22"/>
                <a:gd name="T11" fmla="*/ 21 h 22"/>
                <a:gd name="T12" fmla="*/ 21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21" y="0"/>
                  </a:moveTo>
                  <a:lnTo>
                    <a:pt x="21" y="0"/>
                  </a:lnTo>
                  <a:lnTo>
                    <a:pt x="21" y="0"/>
                  </a:lnTo>
                  <a:cubicBezTo>
                    <a:pt x="0" y="0"/>
                    <a:pt x="0" y="0"/>
                    <a:pt x="0" y="0"/>
                  </a:cubicBezTo>
                  <a:cubicBezTo>
                    <a:pt x="0" y="0"/>
                    <a:pt x="0" y="0"/>
                    <a:pt x="0" y="21"/>
                  </a:cubicBezTo>
                  <a:lnTo>
                    <a:pt x="0" y="21"/>
                  </a:lnTo>
                  <a:cubicBezTo>
                    <a:pt x="21" y="21"/>
                    <a:pt x="21" y="21"/>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6" name="Freeform 263">
              <a:extLst>
                <a:ext uri="{FF2B5EF4-FFF2-40B4-BE49-F238E27FC236}">
                  <a16:creationId xmlns:a16="http://schemas.microsoft.com/office/drawing/2014/main" id="{82EDD7C9-578B-3348-B6E8-DE09940D7D45}"/>
                </a:ext>
              </a:extLst>
            </p:cNvPr>
            <p:cNvSpPr>
              <a:spLocks noChangeArrowheads="1"/>
            </p:cNvSpPr>
            <p:nvPr/>
          </p:nvSpPr>
          <p:spPr bwMode="auto">
            <a:xfrm>
              <a:off x="4365625" y="6411913"/>
              <a:ext cx="7938" cy="7937"/>
            </a:xfrm>
            <a:custGeom>
              <a:avLst/>
              <a:gdLst>
                <a:gd name="T0" fmla="*/ 0 w 22"/>
                <a:gd name="T1" fmla="*/ 0 h 21"/>
                <a:gd name="T2" fmla="*/ 0 w 22"/>
                <a:gd name="T3" fmla="*/ 0 h 21"/>
                <a:gd name="T4" fmla="*/ 0 w 22"/>
                <a:gd name="T5" fmla="*/ 0 h 21"/>
                <a:gd name="T6" fmla="*/ 0 w 22"/>
                <a:gd name="T7" fmla="*/ 20 h 21"/>
                <a:gd name="T8" fmla="*/ 0 w 22"/>
                <a:gd name="T9" fmla="*/ 20 h 21"/>
                <a:gd name="T10" fmla="*/ 21 w 22"/>
                <a:gd name="T11" fmla="*/ 0 h 21"/>
                <a:gd name="T12" fmla="*/ 0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0" y="0"/>
                  </a:moveTo>
                  <a:lnTo>
                    <a:pt x="0" y="0"/>
                  </a:lnTo>
                  <a:lnTo>
                    <a:pt x="0" y="0"/>
                  </a:lnTo>
                  <a:cubicBezTo>
                    <a:pt x="0" y="0"/>
                    <a:pt x="0" y="0"/>
                    <a:pt x="0" y="20"/>
                  </a:cubicBezTo>
                  <a:lnTo>
                    <a:pt x="0" y="20"/>
                  </a:lnTo>
                  <a:cubicBezTo>
                    <a:pt x="21" y="20"/>
                    <a:pt x="21" y="0"/>
                    <a:pt x="21" y="0"/>
                  </a:cubicBezTo>
                  <a:cubicBezTo>
                    <a:pt x="21" y="0"/>
                    <a:pt x="21"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7" name="Freeform 264">
              <a:extLst>
                <a:ext uri="{FF2B5EF4-FFF2-40B4-BE49-F238E27FC236}">
                  <a16:creationId xmlns:a16="http://schemas.microsoft.com/office/drawing/2014/main" id="{B02D8204-7DB5-634F-BEDA-B8336062FE0C}"/>
                </a:ext>
              </a:extLst>
            </p:cNvPr>
            <p:cNvSpPr>
              <a:spLocks noChangeArrowheads="1"/>
            </p:cNvSpPr>
            <p:nvPr/>
          </p:nvSpPr>
          <p:spPr bwMode="auto">
            <a:xfrm>
              <a:off x="4262438" y="5718175"/>
              <a:ext cx="546100" cy="1454150"/>
            </a:xfrm>
            <a:custGeom>
              <a:avLst/>
              <a:gdLst>
                <a:gd name="T0" fmla="*/ 163 w 1517"/>
                <a:gd name="T1" fmla="*/ 1333 h 4038"/>
                <a:gd name="T2" fmla="*/ 184 w 1517"/>
                <a:gd name="T3" fmla="*/ 1107 h 4038"/>
                <a:gd name="T4" fmla="*/ 286 w 1517"/>
                <a:gd name="T5" fmla="*/ 984 h 4038"/>
                <a:gd name="T6" fmla="*/ 368 w 1517"/>
                <a:gd name="T7" fmla="*/ 636 h 4038"/>
                <a:gd name="T8" fmla="*/ 450 w 1517"/>
                <a:gd name="T9" fmla="*/ 349 h 4038"/>
                <a:gd name="T10" fmla="*/ 655 w 1517"/>
                <a:gd name="T11" fmla="*/ 308 h 4038"/>
                <a:gd name="T12" fmla="*/ 655 w 1517"/>
                <a:gd name="T13" fmla="*/ 124 h 4038"/>
                <a:gd name="T14" fmla="*/ 799 w 1517"/>
                <a:gd name="T15" fmla="*/ 82 h 4038"/>
                <a:gd name="T16" fmla="*/ 921 w 1517"/>
                <a:gd name="T17" fmla="*/ 369 h 4038"/>
                <a:gd name="T18" fmla="*/ 860 w 1517"/>
                <a:gd name="T19" fmla="*/ 697 h 4038"/>
                <a:gd name="T20" fmla="*/ 840 w 1517"/>
                <a:gd name="T21" fmla="*/ 943 h 4038"/>
                <a:gd name="T22" fmla="*/ 1085 w 1517"/>
                <a:gd name="T23" fmla="*/ 923 h 4038"/>
                <a:gd name="T24" fmla="*/ 1085 w 1517"/>
                <a:gd name="T25" fmla="*/ 1107 h 4038"/>
                <a:gd name="T26" fmla="*/ 1209 w 1517"/>
                <a:gd name="T27" fmla="*/ 1291 h 4038"/>
                <a:gd name="T28" fmla="*/ 1331 w 1517"/>
                <a:gd name="T29" fmla="*/ 1517 h 4038"/>
                <a:gd name="T30" fmla="*/ 1495 w 1517"/>
                <a:gd name="T31" fmla="*/ 1517 h 4038"/>
                <a:gd name="T32" fmla="*/ 1393 w 1517"/>
                <a:gd name="T33" fmla="*/ 1763 h 4038"/>
                <a:gd name="T34" fmla="*/ 1106 w 1517"/>
                <a:gd name="T35" fmla="*/ 1947 h 4038"/>
                <a:gd name="T36" fmla="*/ 963 w 1517"/>
                <a:gd name="T37" fmla="*/ 2213 h 4038"/>
                <a:gd name="T38" fmla="*/ 1147 w 1517"/>
                <a:gd name="T39" fmla="*/ 2521 h 4038"/>
                <a:gd name="T40" fmla="*/ 1249 w 1517"/>
                <a:gd name="T41" fmla="*/ 2808 h 4038"/>
                <a:gd name="T42" fmla="*/ 1291 w 1517"/>
                <a:gd name="T43" fmla="*/ 3094 h 4038"/>
                <a:gd name="T44" fmla="*/ 1413 w 1517"/>
                <a:gd name="T45" fmla="*/ 3422 h 4038"/>
                <a:gd name="T46" fmla="*/ 1413 w 1517"/>
                <a:gd name="T47" fmla="*/ 3812 h 4038"/>
                <a:gd name="T48" fmla="*/ 1331 w 1517"/>
                <a:gd name="T49" fmla="*/ 3996 h 4038"/>
                <a:gd name="T50" fmla="*/ 1373 w 1517"/>
                <a:gd name="T51" fmla="*/ 3791 h 4038"/>
                <a:gd name="T52" fmla="*/ 1331 w 1517"/>
                <a:gd name="T53" fmla="*/ 3668 h 4038"/>
                <a:gd name="T54" fmla="*/ 1291 w 1517"/>
                <a:gd name="T55" fmla="*/ 3525 h 4038"/>
                <a:gd name="T56" fmla="*/ 1311 w 1517"/>
                <a:gd name="T57" fmla="*/ 3464 h 4038"/>
                <a:gd name="T58" fmla="*/ 1291 w 1517"/>
                <a:gd name="T59" fmla="*/ 3402 h 4038"/>
                <a:gd name="T60" fmla="*/ 1209 w 1517"/>
                <a:gd name="T61" fmla="*/ 3258 h 4038"/>
                <a:gd name="T62" fmla="*/ 1167 w 1517"/>
                <a:gd name="T63" fmla="*/ 3136 h 4038"/>
                <a:gd name="T64" fmla="*/ 1147 w 1517"/>
                <a:gd name="T65" fmla="*/ 3033 h 4038"/>
                <a:gd name="T66" fmla="*/ 1106 w 1517"/>
                <a:gd name="T67" fmla="*/ 2890 h 4038"/>
                <a:gd name="T68" fmla="*/ 1024 w 1517"/>
                <a:gd name="T69" fmla="*/ 2685 h 4038"/>
                <a:gd name="T70" fmla="*/ 1045 w 1517"/>
                <a:gd name="T71" fmla="*/ 2623 h 4038"/>
                <a:gd name="T72" fmla="*/ 963 w 1517"/>
                <a:gd name="T73" fmla="*/ 2562 h 4038"/>
                <a:gd name="T74" fmla="*/ 901 w 1517"/>
                <a:gd name="T75" fmla="*/ 2459 h 4038"/>
                <a:gd name="T76" fmla="*/ 840 w 1517"/>
                <a:gd name="T77" fmla="*/ 2664 h 4038"/>
                <a:gd name="T78" fmla="*/ 799 w 1517"/>
                <a:gd name="T79" fmla="*/ 2562 h 4038"/>
                <a:gd name="T80" fmla="*/ 778 w 1517"/>
                <a:gd name="T81" fmla="*/ 2685 h 4038"/>
                <a:gd name="T82" fmla="*/ 737 w 1517"/>
                <a:gd name="T83" fmla="*/ 2746 h 4038"/>
                <a:gd name="T84" fmla="*/ 696 w 1517"/>
                <a:gd name="T85" fmla="*/ 2726 h 4038"/>
                <a:gd name="T86" fmla="*/ 655 w 1517"/>
                <a:gd name="T87" fmla="*/ 2808 h 4038"/>
                <a:gd name="T88" fmla="*/ 614 w 1517"/>
                <a:gd name="T89" fmla="*/ 2705 h 4038"/>
                <a:gd name="T90" fmla="*/ 553 w 1517"/>
                <a:gd name="T91" fmla="*/ 2746 h 4038"/>
                <a:gd name="T92" fmla="*/ 532 w 1517"/>
                <a:gd name="T93" fmla="*/ 2726 h 4038"/>
                <a:gd name="T94" fmla="*/ 471 w 1517"/>
                <a:gd name="T95" fmla="*/ 2644 h 4038"/>
                <a:gd name="T96" fmla="*/ 532 w 1517"/>
                <a:gd name="T97" fmla="*/ 2398 h 4038"/>
                <a:gd name="T98" fmla="*/ 450 w 1517"/>
                <a:gd name="T99" fmla="*/ 2193 h 4038"/>
                <a:gd name="T100" fmla="*/ 368 w 1517"/>
                <a:gd name="T101" fmla="*/ 2070 h 4038"/>
                <a:gd name="T102" fmla="*/ 307 w 1517"/>
                <a:gd name="T103" fmla="*/ 1906 h 4038"/>
                <a:gd name="T104" fmla="*/ 184 w 1517"/>
                <a:gd name="T105" fmla="*/ 1865 h 4038"/>
                <a:gd name="T106" fmla="*/ 143 w 1517"/>
                <a:gd name="T107" fmla="*/ 1783 h 4038"/>
                <a:gd name="T108" fmla="*/ 61 w 1517"/>
                <a:gd name="T109" fmla="*/ 1660 h 4038"/>
                <a:gd name="T110" fmla="*/ 0 w 1517"/>
                <a:gd name="T111" fmla="*/ 1599 h 4038"/>
                <a:gd name="T112" fmla="*/ 102 w 1517"/>
                <a:gd name="T113" fmla="*/ 1455 h 4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17" h="4038">
                  <a:moveTo>
                    <a:pt x="102" y="1455"/>
                  </a:moveTo>
                  <a:lnTo>
                    <a:pt x="102" y="1455"/>
                  </a:lnTo>
                  <a:cubicBezTo>
                    <a:pt x="102" y="1435"/>
                    <a:pt x="102" y="1435"/>
                    <a:pt x="102" y="1435"/>
                  </a:cubicBezTo>
                  <a:lnTo>
                    <a:pt x="122" y="1435"/>
                  </a:lnTo>
                  <a:lnTo>
                    <a:pt x="143" y="1455"/>
                  </a:lnTo>
                  <a:lnTo>
                    <a:pt x="163" y="1435"/>
                  </a:lnTo>
                  <a:cubicBezTo>
                    <a:pt x="163" y="1435"/>
                    <a:pt x="163" y="1415"/>
                    <a:pt x="163" y="1394"/>
                  </a:cubicBezTo>
                  <a:cubicBezTo>
                    <a:pt x="163" y="1373"/>
                    <a:pt x="163" y="1353"/>
                    <a:pt x="163" y="1333"/>
                  </a:cubicBezTo>
                  <a:cubicBezTo>
                    <a:pt x="163" y="1333"/>
                    <a:pt x="163" y="1312"/>
                    <a:pt x="143" y="1312"/>
                  </a:cubicBezTo>
                  <a:cubicBezTo>
                    <a:pt x="143" y="1291"/>
                    <a:pt x="143" y="1291"/>
                    <a:pt x="143" y="1271"/>
                  </a:cubicBezTo>
                  <a:lnTo>
                    <a:pt x="163" y="1271"/>
                  </a:lnTo>
                  <a:cubicBezTo>
                    <a:pt x="163" y="1271"/>
                    <a:pt x="163" y="1251"/>
                    <a:pt x="163" y="1230"/>
                  </a:cubicBezTo>
                  <a:lnTo>
                    <a:pt x="184" y="1209"/>
                  </a:lnTo>
                  <a:cubicBezTo>
                    <a:pt x="184" y="1189"/>
                    <a:pt x="184" y="1169"/>
                    <a:pt x="184" y="1148"/>
                  </a:cubicBezTo>
                  <a:lnTo>
                    <a:pt x="163" y="1127"/>
                  </a:lnTo>
                  <a:cubicBezTo>
                    <a:pt x="163" y="1107"/>
                    <a:pt x="184" y="1107"/>
                    <a:pt x="184" y="1107"/>
                  </a:cubicBezTo>
                  <a:cubicBezTo>
                    <a:pt x="184" y="1087"/>
                    <a:pt x="184" y="1066"/>
                    <a:pt x="184" y="1066"/>
                  </a:cubicBezTo>
                  <a:cubicBezTo>
                    <a:pt x="184" y="1066"/>
                    <a:pt x="163" y="1066"/>
                    <a:pt x="163" y="1045"/>
                  </a:cubicBezTo>
                  <a:cubicBezTo>
                    <a:pt x="163" y="1045"/>
                    <a:pt x="143" y="1025"/>
                    <a:pt x="163" y="1025"/>
                  </a:cubicBezTo>
                  <a:cubicBezTo>
                    <a:pt x="163" y="1025"/>
                    <a:pt x="163" y="1025"/>
                    <a:pt x="184" y="1025"/>
                  </a:cubicBezTo>
                  <a:cubicBezTo>
                    <a:pt x="184" y="1005"/>
                    <a:pt x="204" y="1005"/>
                    <a:pt x="225" y="1025"/>
                  </a:cubicBezTo>
                  <a:lnTo>
                    <a:pt x="225" y="1025"/>
                  </a:lnTo>
                  <a:cubicBezTo>
                    <a:pt x="245" y="1045"/>
                    <a:pt x="266" y="1045"/>
                    <a:pt x="266" y="1045"/>
                  </a:cubicBezTo>
                  <a:cubicBezTo>
                    <a:pt x="286" y="1045"/>
                    <a:pt x="286" y="1005"/>
                    <a:pt x="286" y="984"/>
                  </a:cubicBezTo>
                  <a:cubicBezTo>
                    <a:pt x="286" y="963"/>
                    <a:pt x="286" y="943"/>
                    <a:pt x="286" y="923"/>
                  </a:cubicBezTo>
                  <a:lnTo>
                    <a:pt x="307" y="881"/>
                  </a:lnTo>
                  <a:cubicBezTo>
                    <a:pt x="307" y="861"/>
                    <a:pt x="307" y="841"/>
                    <a:pt x="327" y="841"/>
                  </a:cubicBezTo>
                  <a:cubicBezTo>
                    <a:pt x="327" y="820"/>
                    <a:pt x="327" y="800"/>
                    <a:pt x="327" y="800"/>
                  </a:cubicBezTo>
                  <a:cubicBezTo>
                    <a:pt x="348" y="779"/>
                    <a:pt x="348" y="738"/>
                    <a:pt x="348" y="738"/>
                  </a:cubicBezTo>
                  <a:cubicBezTo>
                    <a:pt x="348" y="718"/>
                    <a:pt x="327" y="697"/>
                    <a:pt x="327" y="697"/>
                  </a:cubicBezTo>
                  <a:cubicBezTo>
                    <a:pt x="327" y="677"/>
                    <a:pt x="327" y="656"/>
                    <a:pt x="348" y="656"/>
                  </a:cubicBezTo>
                  <a:lnTo>
                    <a:pt x="368" y="636"/>
                  </a:lnTo>
                  <a:cubicBezTo>
                    <a:pt x="368" y="615"/>
                    <a:pt x="368" y="595"/>
                    <a:pt x="368" y="574"/>
                  </a:cubicBezTo>
                  <a:cubicBezTo>
                    <a:pt x="368" y="574"/>
                    <a:pt x="368" y="554"/>
                    <a:pt x="368" y="533"/>
                  </a:cubicBezTo>
                  <a:cubicBezTo>
                    <a:pt x="368" y="533"/>
                    <a:pt x="348" y="513"/>
                    <a:pt x="348" y="492"/>
                  </a:cubicBezTo>
                  <a:lnTo>
                    <a:pt x="348" y="472"/>
                  </a:lnTo>
                  <a:cubicBezTo>
                    <a:pt x="348" y="451"/>
                    <a:pt x="368" y="451"/>
                    <a:pt x="368" y="451"/>
                  </a:cubicBezTo>
                  <a:cubicBezTo>
                    <a:pt x="389" y="451"/>
                    <a:pt x="389" y="431"/>
                    <a:pt x="389" y="410"/>
                  </a:cubicBezTo>
                  <a:lnTo>
                    <a:pt x="409" y="390"/>
                  </a:lnTo>
                  <a:cubicBezTo>
                    <a:pt x="430" y="369"/>
                    <a:pt x="450" y="369"/>
                    <a:pt x="450" y="349"/>
                  </a:cubicBezTo>
                  <a:cubicBezTo>
                    <a:pt x="450" y="349"/>
                    <a:pt x="450" y="328"/>
                    <a:pt x="471" y="308"/>
                  </a:cubicBezTo>
                  <a:cubicBezTo>
                    <a:pt x="471" y="308"/>
                    <a:pt x="491" y="287"/>
                    <a:pt x="512" y="287"/>
                  </a:cubicBezTo>
                  <a:lnTo>
                    <a:pt x="532" y="267"/>
                  </a:lnTo>
                  <a:cubicBezTo>
                    <a:pt x="553" y="267"/>
                    <a:pt x="553" y="267"/>
                    <a:pt x="573" y="267"/>
                  </a:cubicBezTo>
                  <a:cubicBezTo>
                    <a:pt x="573" y="267"/>
                    <a:pt x="594" y="267"/>
                    <a:pt x="614" y="267"/>
                  </a:cubicBezTo>
                  <a:lnTo>
                    <a:pt x="614" y="267"/>
                  </a:lnTo>
                  <a:cubicBezTo>
                    <a:pt x="635" y="287"/>
                    <a:pt x="635" y="308"/>
                    <a:pt x="635" y="308"/>
                  </a:cubicBezTo>
                  <a:cubicBezTo>
                    <a:pt x="655" y="308"/>
                    <a:pt x="655" y="308"/>
                    <a:pt x="655" y="308"/>
                  </a:cubicBezTo>
                  <a:cubicBezTo>
                    <a:pt x="676" y="308"/>
                    <a:pt x="676" y="287"/>
                    <a:pt x="676" y="267"/>
                  </a:cubicBezTo>
                  <a:lnTo>
                    <a:pt x="676" y="246"/>
                  </a:lnTo>
                  <a:lnTo>
                    <a:pt x="655" y="226"/>
                  </a:lnTo>
                  <a:lnTo>
                    <a:pt x="635" y="226"/>
                  </a:lnTo>
                  <a:cubicBezTo>
                    <a:pt x="614" y="226"/>
                    <a:pt x="614" y="205"/>
                    <a:pt x="614" y="185"/>
                  </a:cubicBezTo>
                  <a:lnTo>
                    <a:pt x="614" y="164"/>
                  </a:lnTo>
                  <a:cubicBezTo>
                    <a:pt x="635" y="144"/>
                    <a:pt x="635" y="144"/>
                    <a:pt x="655" y="144"/>
                  </a:cubicBezTo>
                  <a:lnTo>
                    <a:pt x="655" y="124"/>
                  </a:lnTo>
                  <a:lnTo>
                    <a:pt x="655" y="103"/>
                  </a:lnTo>
                  <a:cubicBezTo>
                    <a:pt x="655" y="82"/>
                    <a:pt x="655" y="82"/>
                    <a:pt x="655" y="62"/>
                  </a:cubicBezTo>
                  <a:lnTo>
                    <a:pt x="655" y="42"/>
                  </a:lnTo>
                  <a:cubicBezTo>
                    <a:pt x="655" y="42"/>
                    <a:pt x="655" y="21"/>
                    <a:pt x="655" y="0"/>
                  </a:cubicBezTo>
                  <a:cubicBezTo>
                    <a:pt x="676" y="0"/>
                    <a:pt x="676" y="0"/>
                    <a:pt x="696" y="0"/>
                  </a:cubicBezTo>
                  <a:lnTo>
                    <a:pt x="717" y="0"/>
                  </a:lnTo>
                  <a:cubicBezTo>
                    <a:pt x="737" y="21"/>
                    <a:pt x="758" y="21"/>
                    <a:pt x="758" y="42"/>
                  </a:cubicBezTo>
                  <a:cubicBezTo>
                    <a:pt x="778" y="42"/>
                    <a:pt x="778" y="82"/>
                    <a:pt x="799" y="82"/>
                  </a:cubicBezTo>
                  <a:cubicBezTo>
                    <a:pt x="799" y="103"/>
                    <a:pt x="799" y="124"/>
                    <a:pt x="799" y="144"/>
                  </a:cubicBezTo>
                  <a:cubicBezTo>
                    <a:pt x="799" y="164"/>
                    <a:pt x="819" y="164"/>
                    <a:pt x="819" y="185"/>
                  </a:cubicBezTo>
                  <a:cubicBezTo>
                    <a:pt x="819" y="185"/>
                    <a:pt x="819" y="205"/>
                    <a:pt x="840" y="226"/>
                  </a:cubicBezTo>
                  <a:lnTo>
                    <a:pt x="860" y="226"/>
                  </a:lnTo>
                  <a:cubicBezTo>
                    <a:pt x="881" y="226"/>
                    <a:pt x="881" y="226"/>
                    <a:pt x="901" y="246"/>
                  </a:cubicBezTo>
                  <a:cubicBezTo>
                    <a:pt x="901" y="246"/>
                    <a:pt x="881" y="267"/>
                    <a:pt x="901" y="287"/>
                  </a:cubicBezTo>
                  <a:cubicBezTo>
                    <a:pt x="901" y="308"/>
                    <a:pt x="921" y="328"/>
                    <a:pt x="921" y="328"/>
                  </a:cubicBezTo>
                  <a:cubicBezTo>
                    <a:pt x="921" y="349"/>
                    <a:pt x="921" y="369"/>
                    <a:pt x="921" y="369"/>
                  </a:cubicBezTo>
                  <a:cubicBezTo>
                    <a:pt x="942" y="390"/>
                    <a:pt x="942" y="431"/>
                    <a:pt x="942" y="431"/>
                  </a:cubicBezTo>
                  <a:cubicBezTo>
                    <a:pt x="942" y="451"/>
                    <a:pt x="942" y="472"/>
                    <a:pt x="942" y="492"/>
                  </a:cubicBezTo>
                  <a:cubicBezTo>
                    <a:pt x="942" y="492"/>
                    <a:pt x="942" y="513"/>
                    <a:pt x="942" y="533"/>
                  </a:cubicBezTo>
                  <a:cubicBezTo>
                    <a:pt x="942" y="533"/>
                    <a:pt x="942" y="554"/>
                    <a:pt x="942" y="574"/>
                  </a:cubicBezTo>
                  <a:cubicBezTo>
                    <a:pt x="942" y="595"/>
                    <a:pt x="921" y="595"/>
                    <a:pt x="921" y="615"/>
                  </a:cubicBezTo>
                  <a:cubicBezTo>
                    <a:pt x="921" y="615"/>
                    <a:pt x="901" y="636"/>
                    <a:pt x="901" y="656"/>
                  </a:cubicBezTo>
                  <a:cubicBezTo>
                    <a:pt x="901" y="656"/>
                    <a:pt x="901" y="677"/>
                    <a:pt x="881" y="697"/>
                  </a:cubicBezTo>
                  <a:cubicBezTo>
                    <a:pt x="881" y="697"/>
                    <a:pt x="881" y="697"/>
                    <a:pt x="860" y="697"/>
                  </a:cubicBezTo>
                  <a:lnTo>
                    <a:pt x="840" y="697"/>
                  </a:lnTo>
                  <a:cubicBezTo>
                    <a:pt x="819" y="697"/>
                    <a:pt x="819" y="718"/>
                    <a:pt x="819" y="738"/>
                  </a:cubicBezTo>
                  <a:cubicBezTo>
                    <a:pt x="819" y="738"/>
                    <a:pt x="840" y="759"/>
                    <a:pt x="840" y="779"/>
                  </a:cubicBezTo>
                  <a:lnTo>
                    <a:pt x="819" y="800"/>
                  </a:lnTo>
                  <a:cubicBezTo>
                    <a:pt x="819" y="820"/>
                    <a:pt x="819" y="841"/>
                    <a:pt x="819" y="841"/>
                  </a:cubicBezTo>
                  <a:cubicBezTo>
                    <a:pt x="819" y="841"/>
                    <a:pt x="840" y="861"/>
                    <a:pt x="840" y="881"/>
                  </a:cubicBezTo>
                  <a:cubicBezTo>
                    <a:pt x="840" y="881"/>
                    <a:pt x="860" y="902"/>
                    <a:pt x="860" y="923"/>
                  </a:cubicBezTo>
                  <a:cubicBezTo>
                    <a:pt x="860" y="923"/>
                    <a:pt x="860" y="943"/>
                    <a:pt x="840" y="943"/>
                  </a:cubicBezTo>
                  <a:cubicBezTo>
                    <a:pt x="840" y="943"/>
                    <a:pt x="840" y="963"/>
                    <a:pt x="840" y="984"/>
                  </a:cubicBezTo>
                  <a:cubicBezTo>
                    <a:pt x="840" y="984"/>
                    <a:pt x="860" y="984"/>
                    <a:pt x="881" y="984"/>
                  </a:cubicBezTo>
                  <a:cubicBezTo>
                    <a:pt x="881" y="984"/>
                    <a:pt x="901" y="984"/>
                    <a:pt x="921" y="963"/>
                  </a:cubicBezTo>
                  <a:lnTo>
                    <a:pt x="942" y="963"/>
                  </a:lnTo>
                  <a:cubicBezTo>
                    <a:pt x="963" y="963"/>
                    <a:pt x="983" y="963"/>
                    <a:pt x="1003" y="963"/>
                  </a:cubicBezTo>
                  <a:lnTo>
                    <a:pt x="1024" y="943"/>
                  </a:lnTo>
                  <a:cubicBezTo>
                    <a:pt x="1045" y="943"/>
                    <a:pt x="1045" y="943"/>
                    <a:pt x="1065" y="923"/>
                  </a:cubicBezTo>
                  <a:lnTo>
                    <a:pt x="1085" y="923"/>
                  </a:lnTo>
                  <a:cubicBezTo>
                    <a:pt x="1085" y="943"/>
                    <a:pt x="1085" y="943"/>
                    <a:pt x="1085" y="963"/>
                  </a:cubicBezTo>
                  <a:lnTo>
                    <a:pt x="1065" y="963"/>
                  </a:lnTo>
                  <a:cubicBezTo>
                    <a:pt x="1045" y="963"/>
                    <a:pt x="1045" y="963"/>
                    <a:pt x="1024" y="963"/>
                  </a:cubicBezTo>
                  <a:cubicBezTo>
                    <a:pt x="1024" y="963"/>
                    <a:pt x="1024" y="984"/>
                    <a:pt x="1024" y="1005"/>
                  </a:cubicBezTo>
                  <a:cubicBezTo>
                    <a:pt x="1024" y="1005"/>
                    <a:pt x="1024" y="1025"/>
                    <a:pt x="1045" y="1025"/>
                  </a:cubicBezTo>
                  <a:cubicBezTo>
                    <a:pt x="1045" y="1025"/>
                    <a:pt x="1065" y="1025"/>
                    <a:pt x="1065" y="1045"/>
                  </a:cubicBezTo>
                  <a:lnTo>
                    <a:pt x="1065" y="1066"/>
                  </a:lnTo>
                  <a:cubicBezTo>
                    <a:pt x="1085" y="1066"/>
                    <a:pt x="1085" y="1087"/>
                    <a:pt x="1085" y="1107"/>
                  </a:cubicBezTo>
                  <a:lnTo>
                    <a:pt x="1065" y="1127"/>
                  </a:lnTo>
                  <a:lnTo>
                    <a:pt x="1085" y="1148"/>
                  </a:lnTo>
                  <a:cubicBezTo>
                    <a:pt x="1085" y="1169"/>
                    <a:pt x="1127" y="1169"/>
                    <a:pt x="1147" y="1169"/>
                  </a:cubicBezTo>
                  <a:cubicBezTo>
                    <a:pt x="1147" y="1169"/>
                    <a:pt x="1167" y="1169"/>
                    <a:pt x="1188" y="1189"/>
                  </a:cubicBezTo>
                  <a:lnTo>
                    <a:pt x="1209" y="1189"/>
                  </a:lnTo>
                  <a:cubicBezTo>
                    <a:pt x="1209" y="1209"/>
                    <a:pt x="1209" y="1209"/>
                    <a:pt x="1188" y="1230"/>
                  </a:cubicBezTo>
                  <a:cubicBezTo>
                    <a:pt x="1188" y="1230"/>
                    <a:pt x="1188" y="1230"/>
                    <a:pt x="1188" y="1251"/>
                  </a:cubicBezTo>
                  <a:cubicBezTo>
                    <a:pt x="1188" y="1251"/>
                    <a:pt x="1209" y="1271"/>
                    <a:pt x="1209" y="1291"/>
                  </a:cubicBezTo>
                  <a:lnTo>
                    <a:pt x="1188" y="1312"/>
                  </a:lnTo>
                  <a:cubicBezTo>
                    <a:pt x="1188" y="1333"/>
                    <a:pt x="1209" y="1353"/>
                    <a:pt x="1209" y="1373"/>
                  </a:cubicBezTo>
                  <a:cubicBezTo>
                    <a:pt x="1209" y="1373"/>
                    <a:pt x="1209" y="1394"/>
                    <a:pt x="1229" y="1394"/>
                  </a:cubicBezTo>
                  <a:cubicBezTo>
                    <a:pt x="1229" y="1415"/>
                    <a:pt x="1249" y="1394"/>
                    <a:pt x="1270" y="1394"/>
                  </a:cubicBezTo>
                  <a:cubicBezTo>
                    <a:pt x="1270" y="1415"/>
                    <a:pt x="1291" y="1415"/>
                    <a:pt x="1291" y="1435"/>
                  </a:cubicBezTo>
                  <a:lnTo>
                    <a:pt x="1311" y="1455"/>
                  </a:lnTo>
                  <a:lnTo>
                    <a:pt x="1311" y="1476"/>
                  </a:lnTo>
                  <a:cubicBezTo>
                    <a:pt x="1311" y="1497"/>
                    <a:pt x="1331" y="1497"/>
                    <a:pt x="1331" y="1517"/>
                  </a:cubicBezTo>
                  <a:cubicBezTo>
                    <a:pt x="1352" y="1517"/>
                    <a:pt x="1352" y="1517"/>
                    <a:pt x="1352" y="1517"/>
                  </a:cubicBezTo>
                  <a:cubicBezTo>
                    <a:pt x="1373" y="1517"/>
                    <a:pt x="1393" y="1517"/>
                    <a:pt x="1393" y="1517"/>
                  </a:cubicBezTo>
                  <a:cubicBezTo>
                    <a:pt x="1413" y="1517"/>
                    <a:pt x="1413" y="1517"/>
                    <a:pt x="1434" y="1517"/>
                  </a:cubicBezTo>
                  <a:lnTo>
                    <a:pt x="1434" y="1497"/>
                  </a:lnTo>
                  <a:lnTo>
                    <a:pt x="1455" y="1476"/>
                  </a:lnTo>
                  <a:cubicBezTo>
                    <a:pt x="1475" y="1476"/>
                    <a:pt x="1475" y="1476"/>
                    <a:pt x="1495" y="1476"/>
                  </a:cubicBezTo>
                  <a:lnTo>
                    <a:pt x="1495" y="1497"/>
                  </a:lnTo>
                  <a:lnTo>
                    <a:pt x="1495" y="1517"/>
                  </a:lnTo>
                  <a:cubicBezTo>
                    <a:pt x="1495" y="1537"/>
                    <a:pt x="1495" y="1537"/>
                    <a:pt x="1516" y="1537"/>
                  </a:cubicBezTo>
                  <a:cubicBezTo>
                    <a:pt x="1495" y="1537"/>
                    <a:pt x="1495" y="1557"/>
                    <a:pt x="1475" y="1557"/>
                  </a:cubicBezTo>
                  <a:cubicBezTo>
                    <a:pt x="1475" y="1557"/>
                    <a:pt x="1455" y="1557"/>
                    <a:pt x="1455" y="1578"/>
                  </a:cubicBezTo>
                  <a:cubicBezTo>
                    <a:pt x="1455" y="1578"/>
                    <a:pt x="1455" y="1599"/>
                    <a:pt x="1455" y="1619"/>
                  </a:cubicBezTo>
                  <a:lnTo>
                    <a:pt x="1455" y="1639"/>
                  </a:lnTo>
                  <a:cubicBezTo>
                    <a:pt x="1455" y="1660"/>
                    <a:pt x="1455" y="1681"/>
                    <a:pt x="1455" y="1681"/>
                  </a:cubicBezTo>
                  <a:cubicBezTo>
                    <a:pt x="1455" y="1701"/>
                    <a:pt x="1434" y="1701"/>
                    <a:pt x="1413" y="1701"/>
                  </a:cubicBezTo>
                  <a:cubicBezTo>
                    <a:pt x="1413" y="1721"/>
                    <a:pt x="1393" y="1742"/>
                    <a:pt x="1393" y="1763"/>
                  </a:cubicBezTo>
                  <a:cubicBezTo>
                    <a:pt x="1393" y="1763"/>
                    <a:pt x="1393" y="1763"/>
                    <a:pt x="1393" y="1783"/>
                  </a:cubicBezTo>
                  <a:lnTo>
                    <a:pt x="1393" y="1783"/>
                  </a:lnTo>
                  <a:cubicBezTo>
                    <a:pt x="1373" y="1783"/>
                    <a:pt x="1352" y="1783"/>
                    <a:pt x="1331" y="1783"/>
                  </a:cubicBezTo>
                  <a:cubicBezTo>
                    <a:pt x="1331" y="1783"/>
                    <a:pt x="1311" y="1803"/>
                    <a:pt x="1291" y="1803"/>
                  </a:cubicBezTo>
                  <a:cubicBezTo>
                    <a:pt x="1291" y="1824"/>
                    <a:pt x="1291" y="1845"/>
                    <a:pt x="1291" y="1845"/>
                  </a:cubicBezTo>
                  <a:cubicBezTo>
                    <a:pt x="1270" y="1865"/>
                    <a:pt x="1249" y="1885"/>
                    <a:pt x="1249" y="1885"/>
                  </a:cubicBezTo>
                  <a:cubicBezTo>
                    <a:pt x="1229" y="1906"/>
                    <a:pt x="1188" y="1927"/>
                    <a:pt x="1167" y="1947"/>
                  </a:cubicBezTo>
                  <a:cubicBezTo>
                    <a:pt x="1147" y="1947"/>
                    <a:pt x="1127" y="1947"/>
                    <a:pt x="1106" y="1947"/>
                  </a:cubicBezTo>
                  <a:cubicBezTo>
                    <a:pt x="1106" y="1947"/>
                    <a:pt x="1085" y="1947"/>
                    <a:pt x="1065" y="1947"/>
                  </a:cubicBezTo>
                  <a:cubicBezTo>
                    <a:pt x="1045" y="1967"/>
                    <a:pt x="1045" y="1988"/>
                    <a:pt x="1045" y="2009"/>
                  </a:cubicBezTo>
                  <a:cubicBezTo>
                    <a:pt x="1045" y="2029"/>
                    <a:pt x="1024" y="2049"/>
                    <a:pt x="1024" y="2049"/>
                  </a:cubicBezTo>
                  <a:cubicBezTo>
                    <a:pt x="1024" y="2070"/>
                    <a:pt x="1024" y="2091"/>
                    <a:pt x="1024" y="2111"/>
                  </a:cubicBezTo>
                  <a:cubicBezTo>
                    <a:pt x="1024" y="2111"/>
                    <a:pt x="1024" y="2131"/>
                    <a:pt x="1024" y="2152"/>
                  </a:cubicBezTo>
                  <a:lnTo>
                    <a:pt x="1024" y="2173"/>
                  </a:lnTo>
                  <a:cubicBezTo>
                    <a:pt x="1024" y="2193"/>
                    <a:pt x="1024" y="2193"/>
                    <a:pt x="1003" y="2213"/>
                  </a:cubicBezTo>
                  <a:cubicBezTo>
                    <a:pt x="1003" y="2213"/>
                    <a:pt x="963" y="2193"/>
                    <a:pt x="963" y="2213"/>
                  </a:cubicBezTo>
                  <a:lnTo>
                    <a:pt x="963" y="2234"/>
                  </a:lnTo>
                  <a:lnTo>
                    <a:pt x="983" y="2254"/>
                  </a:lnTo>
                  <a:cubicBezTo>
                    <a:pt x="1003" y="2254"/>
                    <a:pt x="1003" y="2275"/>
                    <a:pt x="1003" y="2295"/>
                  </a:cubicBezTo>
                  <a:cubicBezTo>
                    <a:pt x="1024" y="2295"/>
                    <a:pt x="1024" y="2336"/>
                    <a:pt x="1024" y="2357"/>
                  </a:cubicBezTo>
                  <a:cubicBezTo>
                    <a:pt x="1024" y="2357"/>
                    <a:pt x="1045" y="2357"/>
                    <a:pt x="1045" y="2377"/>
                  </a:cubicBezTo>
                  <a:cubicBezTo>
                    <a:pt x="1045" y="2377"/>
                    <a:pt x="1065" y="2377"/>
                    <a:pt x="1085" y="2398"/>
                  </a:cubicBezTo>
                  <a:cubicBezTo>
                    <a:pt x="1085" y="2398"/>
                    <a:pt x="1106" y="2439"/>
                    <a:pt x="1127" y="2459"/>
                  </a:cubicBezTo>
                  <a:cubicBezTo>
                    <a:pt x="1127" y="2480"/>
                    <a:pt x="1147" y="2500"/>
                    <a:pt x="1147" y="2521"/>
                  </a:cubicBezTo>
                  <a:cubicBezTo>
                    <a:pt x="1167" y="2541"/>
                    <a:pt x="1188" y="2562"/>
                    <a:pt x="1188" y="2582"/>
                  </a:cubicBezTo>
                  <a:cubicBezTo>
                    <a:pt x="1188" y="2582"/>
                    <a:pt x="1188" y="2623"/>
                    <a:pt x="1209" y="2623"/>
                  </a:cubicBezTo>
                  <a:cubicBezTo>
                    <a:pt x="1209" y="2644"/>
                    <a:pt x="1229" y="2644"/>
                    <a:pt x="1229" y="2644"/>
                  </a:cubicBezTo>
                  <a:cubicBezTo>
                    <a:pt x="1229" y="2644"/>
                    <a:pt x="1249" y="2664"/>
                    <a:pt x="1249" y="2685"/>
                  </a:cubicBezTo>
                  <a:cubicBezTo>
                    <a:pt x="1270" y="2685"/>
                    <a:pt x="1291" y="2705"/>
                    <a:pt x="1291" y="2726"/>
                  </a:cubicBezTo>
                  <a:cubicBezTo>
                    <a:pt x="1291" y="2746"/>
                    <a:pt x="1270" y="2746"/>
                    <a:pt x="1270" y="2746"/>
                  </a:cubicBezTo>
                  <a:cubicBezTo>
                    <a:pt x="1249" y="2767"/>
                    <a:pt x="1249" y="2767"/>
                    <a:pt x="1249" y="2767"/>
                  </a:cubicBezTo>
                  <a:cubicBezTo>
                    <a:pt x="1229" y="2787"/>
                    <a:pt x="1249" y="2808"/>
                    <a:pt x="1249" y="2808"/>
                  </a:cubicBezTo>
                  <a:cubicBezTo>
                    <a:pt x="1249" y="2828"/>
                    <a:pt x="1229" y="2849"/>
                    <a:pt x="1229" y="2849"/>
                  </a:cubicBezTo>
                  <a:cubicBezTo>
                    <a:pt x="1229" y="2869"/>
                    <a:pt x="1229" y="2890"/>
                    <a:pt x="1229" y="2890"/>
                  </a:cubicBezTo>
                  <a:lnTo>
                    <a:pt x="1209" y="2910"/>
                  </a:lnTo>
                  <a:cubicBezTo>
                    <a:pt x="1209" y="2910"/>
                    <a:pt x="1209" y="2910"/>
                    <a:pt x="1209" y="2930"/>
                  </a:cubicBezTo>
                  <a:cubicBezTo>
                    <a:pt x="1188" y="2930"/>
                    <a:pt x="1209" y="2972"/>
                    <a:pt x="1209" y="2992"/>
                  </a:cubicBezTo>
                  <a:cubicBezTo>
                    <a:pt x="1209" y="3012"/>
                    <a:pt x="1229" y="3033"/>
                    <a:pt x="1229" y="3033"/>
                  </a:cubicBezTo>
                  <a:lnTo>
                    <a:pt x="1249" y="3054"/>
                  </a:lnTo>
                  <a:cubicBezTo>
                    <a:pt x="1270" y="3074"/>
                    <a:pt x="1291" y="3094"/>
                    <a:pt x="1291" y="3094"/>
                  </a:cubicBezTo>
                  <a:cubicBezTo>
                    <a:pt x="1311" y="3115"/>
                    <a:pt x="1311" y="3136"/>
                    <a:pt x="1331" y="3136"/>
                  </a:cubicBezTo>
                  <a:cubicBezTo>
                    <a:pt x="1331" y="3156"/>
                    <a:pt x="1352" y="3156"/>
                    <a:pt x="1352" y="3176"/>
                  </a:cubicBezTo>
                  <a:cubicBezTo>
                    <a:pt x="1373" y="3176"/>
                    <a:pt x="1373" y="3218"/>
                    <a:pt x="1373" y="3218"/>
                  </a:cubicBezTo>
                  <a:cubicBezTo>
                    <a:pt x="1393" y="3238"/>
                    <a:pt x="1393" y="3279"/>
                    <a:pt x="1393" y="3279"/>
                  </a:cubicBezTo>
                  <a:cubicBezTo>
                    <a:pt x="1393" y="3300"/>
                    <a:pt x="1413" y="3320"/>
                    <a:pt x="1393" y="3340"/>
                  </a:cubicBezTo>
                  <a:lnTo>
                    <a:pt x="1373" y="3361"/>
                  </a:lnTo>
                  <a:cubicBezTo>
                    <a:pt x="1373" y="3361"/>
                    <a:pt x="1393" y="3382"/>
                    <a:pt x="1393" y="3402"/>
                  </a:cubicBezTo>
                  <a:cubicBezTo>
                    <a:pt x="1393" y="3402"/>
                    <a:pt x="1393" y="3402"/>
                    <a:pt x="1413" y="3422"/>
                  </a:cubicBezTo>
                  <a:lnTo>
                    <a:pt x="1413" y="3443"/>
                  </a:lnTo>
                  <a:cubicBezTo>
                    <a:pt x="1434" y="3443"/>
                    <a:pt x="1434" y="3464"/>
                    <a:pt x="1455" y="3484"/>
                  </a:cubicBezTo>
                  <a:cubicBezTo>
                    <a:pt x="1455" y="3504"/>
                    <a:pt x="1475" y="3525"/>
                    <a:pt x="1475" y="3546"/>
                  </a:cubicBezTo>
                  <a:cubicBezTo>
                    <a:pt x="1475" y="3566"/>
                    <a:pt x="1475" y="3606"/>
                    <a:pt x="1475" y="3627"/>
                  </a:cubicBezTo>
                  <a:cubicBezTo>
                    <a:pt x="1475" y="3648"/>
                    <a:pt x="1475" y="3668"/>
                    <a:pt x="1455" y="3688"/>
                  </a:cubicBezTo>
                  <a:lnTo>
                    <a:pt x="1455" y="3730"/>
                  </a:lnTo>
                  <a:cubicBezTo>
                    <a:pt x="1455" y="3750"/>
                    <a:pt x="1434" y="3750"/>
                    <a:pt x="1434" y="3770"/>
                  </a:cubicBezTo>
                  <a:lnTo>
                    <a:pt x="1413" y="3812"/>
                  </a:lnTo>
                  <a:cubicBezTo>
                    <a:pt x="1413" y="3832"/>
                    <a:pt x="1393" y="3852"/>
                    <a:pt x="1373" y="3873"/>
                  </a:cubicBezTo>
                  <a:lnTo>
                    <a:pt x="1373" y="3914"/>
                  </a:lnTo>
                  <a:cubicBezTo>
                    <a:pt x="1373" y="3934"/>
                    <a:pt x="1373" y="3955"/>
                    <a:pt x="1373" y="3955"/>
                  </a:cubicBezTo>
                  <a:cubicBezTo>
                    <a:pt x="1352" y="3955"/>
                    <a:pt x="1352" y="3976"/>
                    <a:pt x="1352" y="3976"/>
                  </a:cubicBezTo>
                  <a:cubicBezTo>
                    <a:pt x="1352" y="3996"/>
                    <a:pt x="1352" y="3996"/>
                    <a:pt x="1352" y="4016"/>
                  </a:cubicBezTo>
                  <a:lnTo>
                    <a:pt x="1352" y="4037"/>
                  </a:lnTo>
                  <a:cubicBezTo>
                    <a:pt x="1331" y="4037"/>
                    <a:pt x="1331" y="4016"/>
                    <a:pt x="1331" y="4016"/>
                  </a:cubicBezTo>
                  <a:lnTo>
                    <a:pt x="1331" y="3996"/>
                  </a:lnTo>
                  <a:cubicBezTo>
                    <a:pt x="1311" y="3996"/>
                    <a:pt x="1311" y="3976"/>
                    <a:pt x="1311" y="3976"/>
                  </a:cubicBezTo>
                  <a:lnTo>
                    <a:pt x="1331" y="3955"/>
                  </a:lnTo>
                  <a:cubicBezTo>
                    <a:pt x="1331" y="3955"/>
                    <a:pt x="1331" y="3934"/>
                    <a:pt x="1331" y="3914"/>
                  </a:cubicBezTo>
                  <a:lnTo>
                    <a:pt x="1331" y="3894"/>
                  </a:lnTo>
                  <a:cubicBezTo>
                    <a:pt x="1331" y="3894"/>
                    <a:pt x="1352" y="3894"/>
                    <a:pt x="1352" y="3873"/>
                  </a:cubicBezTo>
                  <a:lnTo>
                    <a:pt x="1352" y="3852"/>
                  </a:lnTo>
                  <a:cubicBezTo>
                    <a:pt x="1373" y="3852"/>
                    <a:pt x="1373" y="3832"/>
                    <a:pt x="1373" y="3832"/>
                  </a:cubicBezTo>
                  <a:cubicBezTo>
                    <a:pt x="1373" y="3832"/>
                    <a:pt x="1373" y="3812"/>
                    <a:pt x="1373" y="3791"/>
                  </a:cubicBezTo>
                  <a:lnTo>
                    <a:pt x="1373" y="3770"/>
                  </a:lnTo>
                  <a:cubicBezTo>
                    <a:pt x="1373" y="3750"/>
                    <a:pt x="1373" y="3750"/>
                    <a:pt x="1352" y="3730"/>
                  </a:cubicBezTo>
                  <a:lnTo>
                    <a:pt x="1352" y="3709"/>
                  </a:lnTo>
                  <a:cubicBezTo>
                    <a:pt x="1352" y="3688"/>
                    <a:pt x="1352" y="3688"/>
                    <a:pt x="1352" y="3688"/>
                  </a:cubicBezTo>
                  <a:cubicBezTo>
                    <a:pt x="1352" y="3668"/>
                    <a:pt x="1352" y="3668"/>
                    <a:pt x="1352" y="3668"/>
                  </a:cubicBezTo>
                  <a:lnTo>
                    <a:pt x="1352" y="3648"/>
                  </a:lnTo>
                  <a:lnTo>
                    <a:pt x="1352" y="3648"/>
                  </a:lnTo>
                  <a:cubicBezTo>
                    <a:pt x="1331" y="3648"/>
                    <a:pt x="1331" y="3668"/>
                    <a:pt x="1331" y="3668"/>
                  </a:cubicBezTo>
                  <a:cubicBezTo>
                    <a:pt x="1331" y="3668"/>
                    <a:pt x="1331" y="3668"/>
                    <a:pt x="1311" y="3668"/>
                  </a:cubicBezTo>
                  <a:lnTo>
                    <a:pt x="1311" y="3648"/>
                  </a:lnTo>
                  <a:cubicBezTo>
                    <a:pt x="1311" y="3648"/>
                    <a:pt x="1311" y="3627"/>
                    <a:pt x="1331" y="3627"/>
                  </a:cubicBezTo>
                  <a:lnTo>
                    <a:pt x="1331" y="3606"/>
                  </a:lnTo>
                  <a:cubicBezTo>
                    <a:pt x="1331" y="3606"/>
                    <a:pt x="1311" y="3606"/>
                    <a:pt x="1311" y="3586"/>
                  </a:cubicBezTo>
                  <a:lnTo>
                    <a:pt x="1311" y="3566"/>
                  </a:lnTo>
                  <a:lnTo>
                    <a:pt x="1311" y="3546"/>
                  </a:lnTo>
                  <a:lnTo>
                    <a:pt x="1291" y="3525"/>
                  </a:lnTo>
                  <a:lnTo>
                    <a:pt x="1270" y="3525"/>
                  </a:lnTo>
                  <a:lnTo>
                    <a:pt x="1249" y="3504"/>
                  </a:lnTo>
                  <a:lnTo>
                    <a:pt x="1249" y="3484"/>
                  </a:lnTo>
                  <a:cubicBezTo>
                    <a:pt x="1249" y="3464"/>
                    <a:pt x="1270" y="3464"/>
                    <a:pt x="1270" y="3464"/>
                  </a:cubicBezTo>
                  <a:lnTo>
                    <a:pt x="1270" y="3484"/>
                  </a:lnTo>
                  <a:lnTo>
                    <a:pt x="1291" y="3484"/>
                  </a:lnTo>
                  <a:lnTo>
                    <a:pt x="1311" y="3484"/>
                  </a:lnTo>
                  <a:lnTo>
                    <a:pt x="1311" y="3464"/>
                  </a:lnTo>
                  <a:lnTo>
                    <a:pt x="1331" y="3443"/>
                  </a:lnTo>
                  <a:cubicBezTo>
                    <a:pt x="1331" y="3443"/>
                    <a:pt x="1331" y="3443"/>
                    <a:pt x="1331" y="3422"/>
                  </a:cubicBezTo>
                  <a:cubicBezTo>
                    <a:pt x="1331" y="3422"/>
                    <a:pt x="1331" y="3422"/>
                    <a:pt x="1331" y="3402"/>
                  </a:cubicBezTo>
                  <a:lnTo>
                    <a:pt x="1331" y="3402"/>
                  </a:lnTo>
                  <a:cubicBezTo>
                    <a:pt x="1331" y="3402"/>
                    <a:pt x="1331" y="3402"/>
                    <a:pt x="1311" y="3402"/>
                  </a:cubicBezTo>
                  <a:cubicBezTo>
                    <a:pt x="1311" y="3422"/>
                    <a:pt x="1311" y="3422"/>
                    <a:pt x="1311" y="3422"/>
                  </a:cubicBezTo>
                  <a:lnTo>
                    <a:pt x="1291" y="3422"/>
                  </a:lnTo>
                  <a:lnTo>
                    <a:pt x="1291" y="3402"/>
                  </a:lnTo>
                  <a:lnTo>
                    <a:pt x="1291" y="3382"/>
                  </a:lnTo>
                  <a:cubicBezTo>
                    <a:pt x="1291" y="3361"/>
                    <a:pt x="1291" y="3340"/>
                    <a:pt x="1270" y="3340"/>
                  </a:cubicBezTo>
                  <a:lnTo>
                    <a:pt x="1270" y="3320"/>
                  </a:lnTo>
                  <a:lnTo>
                    <a:pt x="1249" y="3300"/>
                  </a:lnTo>
                  <a:cubicBezTo>
                    <a:pt x="1249" y="3279"/>
                    <a:pt x="1249" y="3258"/>
                    <a:pt x="1249" y="3258"/>
                  </a:cubicBezTo>
                  <a:lnTo>
                    <a:pt x="1229" y="3238"/>
                  </a:lnTo>
                  <a:lnTo>
                    <a:pt x="1229" y="3238"/>
                  </a:lnTo>
                  <a:cubicBezTo>
                    <a:pt x="1209" y="3238"/>
                    <a:pt x="1209" y="3238"/>
                    <a:pt x="1209" y="3258"/>
                  </a:cubicBezTo>
                  <a:cubicBezTo>
                    <a:pt x="1229" y="3258"/>
                    <a:pt x="1229" y="3258"/>
                    <a:pt x="1229" y="3279"/>
                  </a:cubicBezTo>
                  <a:lnTo>
                    <a:pt x="1229" y="3300"/>
                  </a:lnTo>
                  <a:lnTo>
                    <a:pt x="1209" y="3300"/>
                  </a:lnTo>
                  <a:lnTo>
                    <a:pt x="1188" y="3279"/>
                  </a:lnTo>
                  <a:lnTo>
                    <a:pt x="1188" y="3258"/>
                  </a:lnTo>
                  <a:cubicBezTo>
                    <a:pt x="1188" y="3238"/>
                    <a:pt x="1167" y="3218"/>
                    <a:pt x="1167" y="3218"/>
                  </a:cubicBezTo>
                  <a:cubicBezTo>
                    <a:pt x="1167" y="3218"/>
                    <a:pt x="1167" y="3197"/>
                    <a:pt x="1167" y="3176"/>
                  </a:cubicBezTo>
                  <a:cubicBezTo>
                    <a:pt x="1167" y="3176"/>
                    <a:pt x="1188" y="3156"/>
                    <a:pt x="1167" y="3136"/>
                  </a:cubicBezTo>
                  <a:lnTo>
                    <a:pt x="1167" y="3115"/>
                  </a:lnTo>
                  <a:cubicBezTo>
                    <a:pt x="1167" y="3094"/>
                    <a:pt x="1147" y="3074"/>
                    <a:pt x="1147" y="3074"/>
                  </a:cubicBezTo>
                  <a:lnTo>
                    <a:pt x="1147" y="3054"/>
                  </a:lnTo>
                  <a:lnTo>
                    <a:pt x="1167" y="3033"/>
                  </a:lnTo>
                  <a:lnTo>
                    <a:pt x="1167" y="3012"/>
                  </a:lnTo>
                  <a:lnTo>
                    <a:pt x="1147" y="3012"/>
                  </a:lnTo>
                  <a:lnTo>
                    <a:pt x="1147" y="3012"/>
                  </a:lnTo>
                  <a:lnTo>
                    <a:pt x="1147" y="3033"/>
                  </a:lnTo>
                  <a:cubicBezTo>
                    <a:pt x="1147" y="3033"/>
                    <a:pt x="1127" y="3033"/>
                    <a:pt x="1127" y="3012"/>
                  </a:cubicBezTo>
                  <a:cubicBezTo>
                    <a:pt x="1127" y="3012"/>
                    <a:pt x="1127" y="3012"/>
                    <a:pt x="1127" y="2992"/>
                  </a:cubicBezTo>
                  <a:cubicBezTo>
                    <a:pt x="1127" y="2992"/>
                    <a:pt x="1127" y="2992"/>
                    <a:pt x="1127" y="2972"/>
                  </a:cubicBezTo>
                  <a:lnTo>
                    <a:pt x="1127" y="2972"/>
                  </a:lnTo>
                  <a:cubicBezTo>
                    <a:pt x="1127" y="2951"/>
                    <a:pt x="1127" y="2951"/>
                    <a:pt x="1127" y="2951"/>
                  </a:cubicBezTo>
                  <a:cubicBezTo>
                    <a:pt x="1127" y="2930"/>
                    <a:pt x="1106" y="2930"/>
                    <a:pt x="1106" y="2930"/>
                  </a:cubicBezTo>
                  <a:lnTo>
                    <a:pt x="1106" y="2910"/>
                  </a:lnTo>
                  <a:lnTo>
                    <a:pt x="1106" y="2890"/>
                  </a:lnTo>
                  <a:lnTo>
                    <a:pt x="1106" y="2869"/>
                  </a:lnTo>
                  <a:cubicBezTo>
                    <a:pt x="1106" y="2849"/>
                    <a:pt x="1106" y="2828"/>
                    <a:pt x="1085" y="2828"/>
                  </a:cubicBezTo>
                  <a:cubicBezTo>
                    <a:pt x="1085" y="2808"/>
                    <a:pt x="1065" y="2787"/>
                    <a:pt x="1065" y="2787"/>
                  </a:cubicBezTo>
                  <a:cubicBezTo>
                    <a:pt x="1065" y="2767"/>
                    <a:pt x="1065" y="2767"/>
                    <a:pt x="1065" y="2746"/>
                  </a:cubicBezTo>
                  <a:lnTo>
                    <a:pt x="1065" y="2726"/>
                  </a:lnTo>
                  <a:cubicBezTo>
                    <a:pt x="1065" y="2705"/>
                    <a:pt x="1065" y="2705"/>
                    <a:pt x="1045" y="2705"/>
                  </a:cubicBezTo>
                  <a:lnTo>
                    <a:pt x="1045" y="2705"/>
                  </a:lnTo>
                  <a:cubicBezTo>
                    <a:pt x="1024" y="2705"/>
                    <a:pt x="1024" y="2685"/>
                    <a:pt x="1024" y="2685"/>
                  </a:cubicBezTo>
                  <a:lnTo>
                    <a:pt x="1024" y="2685"/>
                  </a:lnTo>
                  <a:cubicBezTo>
                    <a:pt x="1024" y="2664"/>
                    <a:pt x="1045" y="2685"/>
                    <a:pt x="1045" y="2685"/>
                  </a:cubicBezTo>
                  <a:cubicBezTo>
                    <a:pt x="1045" y="2664"/>
                    <a:pt x="1045" y="2664"/>
                    <a:pt x="1065" y="2664"/>
                  </a:cubicBezTo>
                  <a:cubicBezTo>
                    <a:pt x="1065" y="2664"/>
                    <a:pt x="1065" y="2664"/>
                    <a:pt x="1065" y="2644"/>
                  </a:cubicBezTo>
                  <a:lnTo>
                    <a:pt x="1065" y="2623"/>
                  </a:lnTo>
                  <a:cubicBezTo>
                    <a:pt x="1065" y="2623"/>
                    <a:pt x="1065" y="2623"/>
                    <a:pt x="1045" y="2603"/>
                  </a:cubicBezTo>
                  <a:lnTo>
                    <a:pt x="1045" y="2603"/>
                  </a:lnTo>
                  <a:lnTo>
                    <a:pt x="1045" y="2623"/>
                  </a:lnTo>
                  <a:lnTo>
                    <a:pt x="1045" y="2644"/>
                  </a:lnTo>
                  <a:lnTo>
                    <a:pt x="1024" y="2664"/>
                  </a:lnTo>
                  <a:lnTo>
                    <a:pt x="1003" y="2644"/>
                  </a:lnTo>
                  <a:cubicBezTo>
                    <a:pt x="1003" y="2644"/>
                    <a:pt x="1003" y="2644"/>
                    <a:pt x="1003" y="2623"/>
                  </a:cubicBezTo>
                  <a:cubicBezTo>
                    <a:pt x="1003" y="2623"/>
                    <a:pt x="1003" y="2623"/>
                    <a:pt x="1003" y="2603"/>
                  </a:cubicBezTo>
                  <a:cubicBezTo>
                    <a:pt x="1003" y="2603"/>
                    <a:pt x="1003" y="2582"/>
                    <a:pt x="983" y="2582"/>
                  </a:cubicBezTo>
                  <a:cubicBezTo>
                    <a:pt x="983" y="2562"/>
                    <a:pt x="983" y="2562"/>
                    <a:pt x="983" y="2562"/>
                  </a:cubicBezTo>
                  <a:lnTo>
                    <a:pt x="963" y="2562"/>
                  </a:lnTo>
                  <a:cubicBezTo>
                    <a:pt x="963" y="2541"/>
                    <a:pt x="963" y="2541"/>
                    <a:pt x="963" y="2521"/>
                  </a:cubicBezTo>
                  <a:cubicBezTo>
                    <a:pt x="963" y="2521"/>
                    <a:pt x="963" y="2521"/>
                    <a:pt x="963" y="2500"/>
                  </a:cubicBezTo>
                  <a:lnTo>
                    <a:pt x="942" y="2500"/>
                  </a:lnTo>
                  <a:lnTo>
                    <a:pt x="921" y="2480"/>
                  </a:lnTo>
                  <a:lnTo>
                    <a:pt x="921" y="2459"/>
                  </a:lnTo>
                  <a:lnTo>
                    <a:pt x="921" y="2439"/>
                  </a:lnTo>
                  <a:cubicBezTo>
                    <a:pt x="921" y="2439"/>
                    <a:pt x="901" y="2418"/>
                    <a:pt x="901" y="2439"/>
                  </a:cubicBezTo>
                  <a:cubicBezTo>
                    <a:pt x="901" y="2439"/>
                    <a:pt x="901" y="2439"/>
                    <a:pt x="901" y="2459"/>
                  </a:cubicBezTo>
                  <a:lnTo>
                    <a:pt x="901" y="2480"/>
                  </a:lnTo>
                  <a:cubicBezTo>
                    <a:pt x="901" y="2500"/>
                    <a:pt x="901" y="2500"/>
                    <a:pt x="901" y="2521"/>
                  </a:cubicBezTo>
                  <a:cubicBezTo>
                    <a:pt x="921" y="2521"/>
                    <a:pt x="921" y="2541"/>
                    <a:pt x="921" y="2541"/>
                  </a:cubicBezTo>
                  <a:cubicBezTo>
                    <a:pt x="921" y="2562"/>
                    <a:pt x="921" y="2562"/>
                    <a:pt x="921" y="2582"/>
                  </a:cubicBezTo>
                  <a:lnTo>
                    <a:pt x="921" y="2603"/>
                  </a:lnTo>
                  <a:cubicBezTo>
                    <a:pt x="921" y="2623"/>
                    <a:pt x="901" y="2644"/>
                    <a:pt x="901" y="2644"/>
                  </a:cubicBezTo>
                  <a:lnTo>
                    <a:pt x="881" y="2664"/>
                  </a:lnTo>
                  <a:cubicBezTo>
                    <a:pt x="860" y="2664"/>
                    <a:pt x="860" y="2664"/>
                    <a:pt x="840" y="2664"/>
                  </a:cubicBezTo>
                  <a:cubicBezTo>
                    <a:pt x="840" y="2644"/>
                    <a:pt x="840" y="2644"/>
                    <a:pt x="840" y="2644"/>
                  </a:cubicBezTo>
                  <a:cubicBezTo>
                    <a:pt x="840" y="2623"/>
                    <a:pt x="840" y="2603"/>
                    <a:pt x="840" y="2603"/>
                  </a:cubicBezTo>
                  <a:lnTo>
                    <a:pt x="840" y="2582"/>
                  </a:lnTo>
                  <a:lnTo>
                    <a:pt x="819" y="2562"/>
                  </a:lnTo>
                  <a:lnTo>
                    <a:pt x="819" y="2541"/>
                  </a:lnTo>
                  <a:cubicBezTo>
                    <a:pt x="799" y="2541"/>
                    <a:pt x="799" y="2541"/>
                    <a:pt x="799" y="2541"/>
                  </a:cubicBezTo>
                  <a:lnTo>
                    <a:pt x="799" y="2541"/>
                  </a:lnTo>
                  <a:lnTo>
                    <a:pt x="799" y="2562"/>
                  </a:lnTo>
                  <a:lnTo>
                    <a:pt x="799" y="2582"/>
                  </a:lnTo>
                  <a:lnTo>
                    <a:pt x="799" y="2603"/>
                  </a:lnTo>
                  <a:cubicBezTo>
                    <a:pt x="799" y="2603"/>
                    <a:pt x="799" y="2623"/>
                    <a:pt x="819" y="2623"/>
                  </a:cubicBezTo>
                  <a:lnTo>
                    <a:pt x="819" y="2644"/>
                  </a:lnTo>
                  <a:cubicBezTo>
                    <a:pt x="819" y="2664"/>
                    <a:pt x="819" y="2664"/>
                    <a:pt x="819" y="2664"/>
                  </a:cubicBezTo>
                  <a:cubicBezTo>
                    <a:pt x="840" y="2685"/>
                    <a:pt x="819" y="2685"/>
                    <a:pt x="819" y="2685"/>
                  </a:cubicBezTo>
                  <a:cubicBezTo>
                    <a:pt x="819" y="2685"/>
                    <a:pt x="819" y="2685"/>
                    <a:pt x="799" y="2685"/>
                  </a:cubicBezTo>
                  <a:cubicBezTo>
                    <a:pt x="799" y="2685"/>
                    <a:pt x="799" y="2685"/>
                    <a:pt x="778" y="2685"/>
                  </a:cubicBezTo>
                  <a:lnTo>
                    <a:pt x="778" y="2664"/>
                  </a:lnTo>
                  <a:cubicBezTo>
                    <a:pt x="778" y="2664"/>
                    <a:pt x="758" y="2664"/>
                    <a:pt x="758" y="2644"/>
                  </a:cubicBezTo>
                  <a:lnTo>
                    <a:pt x="737" y="2644"/>
                  </a:lnTo>
                  <a:lnTo>
                    <a:pt x="737" y="2664"/>
                  </a:lnTo>
                  <a:lnTo>
                    <a:pt x="737" y="2685"/>
                  </a:lnTo>
                  <a:cubicBezTo>
                    <a:pt x="737" y="2705"/>
                    <a:pt x="758" y="2705"/>
                    <a:pt x="758" y="2705"/>
                  </a:cubicBezTo>
                  <a:lnTo>
                    <a:pt x="737" y="2726"/>
                  </a:lnTo>
                  <a:lnTo>
                    <a:pt x="737" y="2746"/>
                  </a:lnTo>
                  <a:lnTo>
                    <a:pt x="717" y="2767"/>
                  </a:lnTo>
                  <a:lnTo>
                    <a:pt x="717" y="2787"/>
                  </a:lnTo>
                  <a:lnTo>
                    <a:pt x="696" y="2808"/>
                  </a:lnTo>
                  <a:lnTo>
                    <a:pt x="696" y="2808"/>
                  </a:lnTo>
                  <a:cubicBezTo>
                    <a:pt x="676" y="2808"/>
                    <a:pt x="676" y="2787"/>
                    <a:pt x="676" y="2787"/>
                  </a:cubicBezTo>
                  <a:cubicBezTo>
                    <a:pt x="676" y="2787"/>
                    <a:pt x="696" y="2787"/>
                    <a:pt x="696" y="2767"/>
                  </a:cubicBezTo>
                  <a:lnTo>
                    <a:pt x="696" y="2767"/>
                  </a:lnTo>
                  <a:cubicBezTo>
                    <a:pt x="696" y="2746"/>
                    <a:pt x="696" y="2746"/>
                    <a:pt x="696" y="2726"/>
                  </a:cubicBezTo>
                  <a:lnTo>
                    <a:pt x="696" y="2726"/>
                  </a:lnTo>
                  <a:lnTo>
                    <a:pt x="676" y="2705"/>
                  </a:lnTo>
                  <a:lnTo>
                    <a:pt x="676" y="2705"/>
                  </a:lnTo>
                  <a:lnTo>
                    <a:pt x="676" y="2726"/>
                  </a:lnTo>
                  <a:lnTo>
                    <a:pt x="676" y="2746"/>
                  </a:lnTo>
                  <a:cubicBezTo>
                    <a:pt x="676" y="2767"/>
                    <a:pt x="676" y="2767"/>
                    <a:pt x="676" y="2787"/>
                  </a:cubicBezTo>
                  <a:cubicBezTo>
                    <a:pt x="676" y="2787"/>
                    <a:pt x="676" y="2787"/>
                    <a:pt x="655" y="2808"/>
                  </a:cubicBezTo>
                  <a:lnTo>
                    <a:pt x="655" y="2808"/>
                  </a:lnTo>
                  <a:cubicBezTo>
                    <a:pt x="635" y="2808"/>
                    <a:pt x="635" y="2787"/>
                    <a:pt x="635" y="2787"/>
                  </a:cubicBezTo>
                  <a:lnTo>
                    <a:pt x="635" y="2767"/>
                  </a:lnTo>
                  <a:lnTo>
                    <a:pt x="635" y="2746"/>
                  </a:lnTo>
                  <a:cubicBezTo>
                    <a:pt x="635" y="2726"/>
                    <a:pt x="635" y="2726"/>
                    <a:pt x="635" y="2705"/>
                  </a:cubicBezTo>
                  <a:cubicBezTo>
                    <a:pt x="635" y="2705"/>
                    <a:pt x="635" y="2705"/>
                    <a:pt x="635" y="2685"/>
                  </a:cubicBezTo>
                  <a:lnTo>
                    <a:pt x="635" y="2685"/>
                  </a:lnTo>
                  <a:cubicBezTo>
                    <a:pt x="635" y="2685"/>
                    <a:pt x="635" y="2685"/>
                    <a:pt x="635" y="2705"/>
                  </a:cubicBezTo>
                  <a:cubicBezTo>
                    <a:pt x="614" y="2705"/>
                    <a:pt x="614" y="2705"/>
                    <a:pt x="614" y="2705"/>
                  </a:cubicBezTo>
                  <a:cubicBezTo>
                    <a:pt x="614" y="2726"/>
                    <a:pt x="614" y="2746"/>
                    <a:pt x="614" y="2746"/>
                  </a:cubicBezTo>
                  <a:lnTo>
                    <a:pt x="594" y="2767"/>
                  </a:lnTo>
                  <a:lnTo>
                    <a:pt x="594" y="2767"/>
                  </a:lnTo>
                  <a:cubicBezTo>
                    <a:pt x="573" y="2767"/>
                    <a:pt x="573" y="2767"/>
                    <a:pt x="573" y="2746"/>
                  </a:cubicBezTo>
                  <a:cubicBezTo>
                    <a:pt x="573" y="2746"/>
                    <a:pt x="573" y="2746"/>
                    <a:pt x="573" y="2726"/>
                  </a:cubicBezTo>
                  <a:lnTo>
                    <a:pt x="573" y="2726"/>
                  </a:lnTo>
                  <a:cubicBezTo>
                    <a:pt x="573" y="2726"/>
                    <a:pt x="553" y="2705"/>
                    <a:pt x="553" y="2726"/>
                  </a:cubicBezTo>
                  <a:cubicBezTo>
                    <a:pt x="553" y="2726"/>
                    <a:pt x="553" y="2726"/>
                    <a:pt x="553" y="2746"/>
                  </a:cubicBezTo>
                  <a:cubicBezTo>
                    <a:pt x="553" y="2746"/>
                    <a:pt x="553" y="2746"/>
                    <a:pt x="553" y="2767"/>
                  </a:cubicBezTo>
                  <a:cubicBezTo>
                    <a:pt x="553" y="2767"/>
                    <a:pt x="532" y="2767"/>
                    <a:pt x="532" y="2787"/>
                  </a:cubicBezTo>
                  <a:lnTo>
                    <a:pt x="532" y="2787"/>
                  </a:lnTo>
                  <a:lnTo>
                    <a:pt x="532" y="2767"/>
                  </a:lnTo>
                  <a:lnTo>
                    <a:pt x="532" y="2746"/>
                  </a:lnTo>
                  <a:lnTo>
                    <a:pt x="532" y="2746"/>
                  </a:lnTo>
                  <a:cubicBezTo>
                    <a:pt x="532" y="2726"/>
                    <a:pt x="532" y="2726"/>
                    <a:pt x="532" y="2726"/>
                  </a:cubicBezTo>
                  <a:lnTo>
                    <a:pt x="532" y="2726"/>
                  </a:lnTo>
                  <a:lnTo>
                    <a:pt x="512" y="2726"/>
                  </a:lnTo>
                  <a:lnTo>
                    <a:pt x="512" y="2746"/>
                  </a:lnTo>
                  <a:cubicBezTo>
                    <a:pt x="512" y="2746"/>
                    <a:pt x="512" y="2767"/>
                    <a:pt x="491" y="2767"/>
                  </a:cubicBezTo>
                  <a:lnTo>
                    <a:pt x="491" y="2767"/>
                  </a:lnTo>
                  <a:cubicBezTo>
                    <a:pt x="471" y="2767"/>
                    <a:pt x="471" y="2746"/>
                    <a:pt x="471" y="2746"/>
                  </a:cubicBezTo>
                  <a:cubicBezTo>
                    <a:pt x="471" y="2726"/>
                    <a:pt x="471" y="2726"/>
                    <a:pt x="471" y="2705"/>
                  </a:cubicBezTo>
                  <a:lnTo>
                    <a:pt x="471" y="2685"/>
                  </a:lnTo>
                  <a:cubicBezTo>
                    <a:pt x="471" y="2664"/>
                    <a:pt x="471" y="2664"/>
                    <a:pt x="471" y="2644"/>
                  </a:cubicBezTo>
                  <a:lnTo>
                    <a:pt x="491" y="2623"/>
                  </a:lnTo>
                  <a:cubicBezTo>
                    <a:pt x="491" y="2603"/>
                    <a:pt x="491" y="2582"/>
                    <a:pt x="491" y="2562"/>
                  </a:cubicBezTo>
                  <a:cubicBezTo>
                    <a:pt x="491" y="2562"/>
                    <a:pt x="491" y="2562"/>
                    <a:pt x="491" y="2541"/>
                  </a:cubicBezTo>
                  <a:lnTo>
                    <a:pt x="491" y="2521"/>
                  </a:lnTo>
                  <a:cubicBezTo>
                    <a:pt x="512" y="2521"/>
                    <a:pt x="512" y="2500"/>
                    <a:pt x="512" y="2500"/>
                  </a:cubicBezTo>
                  <a:cubicBezTo>
                    <a:pt x="512" y="2500"/>
                    <a:pt x="512" y="2480"/>
                    <a:pt x="532" y="2480"/>
                  </a:cubicBezTo>
                  <a:lnTo>
                    <a:pt x="532" y="2459"/>
                  </a:lnTo>
                  <a:cubicBezTo>
                    <a:pt x="532" y="2439"/>
                    <a:pt x="532" y="2418"/>
                    <a:pt x="532" y="2398"/>
                  </a:cubicBezTo>
                  <a:cubicBezTo>
                    <a:pt x="532" y="2398"/>
                    <a:pt x="512" y="2398"/>
                    <a:pt x="512" y="2377"/>
                  </a:cubicBezTo>
                  <a:lnTo>
                    <a:pt x="491" y="2357"/>
                  </a:lnTo>
                  <a:cubicBezTo>
                    <a:pt x="491" y="2357"/>
                    <a:pt x="471" y="2336"/>
                    <a:pt x="471" y="2316"/>
                  </a:cubicBezTo>
                  <a:cubicBezTo>
                    <a:pt x="471" y="2316"/>
                    <a:pt x="471" y="2316"/>
                    <a:pt x="471" y="2295"/>
                  </a:cubicBezTo>
                  <a:lnTo>
                    <a:pt x="471" y="2275"/>
                  </a:lnTo>
                  <a:lnTo>
                    <a:pt x="471" y="2254"/>
                  </a:lnTo>
                  <a:cubicBezTo>
                    <a:pt x="450" y="2234"/>
                    <a:pt x="450" y="2234"/>
                    <a:pt x="450" y="2213"/>
                  </a:cubicBezTo>
                  <a:lnTo>
                    <a:pt x="450" y="2193"/>
                  </a:lnTo>
                  <a:lnTo>
                    <a:pt x="430" y="2173"/>
                  </a:lnTo>
                  <a:cubicBezTo>
                    <a:pt x="430" y="2152"/>
                    <a:pt x="409" y="2152"/>
                    <a:pt x="409" y="2131"/>
                  </a:cubicBezTo>
                  <a:lnTo>
                    <a:pt x="409" y="2111"/>
                  </a:lnTo>
                  <a:lnTo>
                    <a:pt x="409" y="2091"/>
                  </a:lnTo>
                  <a:lnTo>
                    <a:pt x="409" y="2070"/>
                  </a:lnTo>
                  <a:cubicBezTo>
                    <a:pt x="409" y="2070"/>
                    <a:pt x="409" y="2049"/>
                    <a:pt x="389" y="2049"/>
                  </a:cubicBezTo>
                  <a:cubicBezTo>
                    <a:pt x="389" y="2070"/>
                    <a:pt x="389" y="2070"/>
                    <a:pt x="389" y="2070"/>
                  </a:cubicBezTo>
                  <a:cubicBezTo>
                    <a:pt x="389" y="2091"/>
                    <a:pt x="389" y="2070"/>
                    <a:pt x="368" y="2070"/>
                  </a:cubicBezTo>
                  <a:lnTo>
                    <a:pt x="368" y="2070"/>
                  </a:lnTo>
                  <a:cubicBezTo>
                    <a:pt x="368" y="2049"/>
                    <a:pt x="389" y="2049"/>
                    <a:pt x="389" y="2049"/>
                  </a:cubicBezTo>
                  <a:cubicBezTo>
                    <a:pt x="389" y="2029"/>
                    <a:pt x="389" y="2029"/>
                    <a:pt x="389" y="2009"/>
                  </a:cubicBezTo>
                  <a:cubicBezTo>
                    <a:pt x="368" y="2009"/>
                    <a:pt x="368" y="2009"/>
                    <a:pt x="368" y="1988"/>
                  </a:cubicBezTo>
                  <a:lnTo>
                    <a:pt x="348" y="1988"/>
                  </a:lnTo>
                  <a:cubicBezTo>
                    <a:pt x="327" y="1967"/>
                    <a:pt x="327" y="1967"/>
                    <a:pt x="327" y="1967"/>
                  </a:cubicBezTo>
                  <a:cubicBezTo>
                    <a:pt x="327" y="1947"/>
                    <a:pt x="327" y="1927"/>
                    <a:pt x="327" y="1927"/>
                  </a:cubicBezTo>
                  <a:cubicBezTo>
                    <a:pt x="327" y="1927"/>
                    <a:pt x="327" y="1906"/>
                    <a:pt x="307" y="1906"/>
                  </a:cubicBezTo>
                  <a:lnTo>
                    <a:pt x="307" y="1885"/>
                  </a:lnTo>
                  <a:cubicBezTo>
                    <a:pt x="286" y="1885"/>
                    <a:pt x="286" y="1885"/>
                    <a:pt x="266" y="1885"/>
                  </a:cubicBezTo>
                  <a:cubicBezTo>
                    <a:pt x="266" y="1865"/>
                    <a:pt x="266" y="1865"/>
                    <a:pt x="266" y="1865"/>
                  </a:cubicBezTo>
                  <a:cubicBezTo>
                    <a:pt x="266" y="1845"/>
                    <a:pt x="266" y="1845"/>
                    <a:pt x="266" y="1845"/>
                  </a:cubicBezTo>
                  <a:lnTo>
                    <a:pt x="245" y="1824"/>
                  </a:lnTo>
                  <a:lnTo>
                    <a:pt x="225" y="1845"/>
                  </a:lnTo>
                  <a:lnTo>
                    <a:pt x="204" y="1845"/>
                  </a:lnTo>
                  <a:cubicBezTo>
                    <a:pt x="204" y="1865"/>
                    <a:pt x="204" y="1865"/>
                    <a:pt x="184" y="1865"/>
                  </a:cubicBezTo>
                  <a:lnTo>
                    <a:pt x="184" y="1865"/>
                  </a:lnTo>
                  <a:cubicBezTo>
                    <a:pt x="163" y="1865"/>
                    <a:pt x="163" y="1865"/>
                    <a:pt x="163" y="1865"/>
                  </a:cubicBezTo>
                  <a:lnTo>
                    <a:pt x="163" y="1845"/>
                  </a:lnTo>
                  <a:lnTo>
                    <a:pt x="163" y="1824"/>
                  </a:lnTo>
                  <a:lnTo>
                    <a:pt x="163" y="1803"/>
                  </a:lnTo>
                  <a:lnTo>
                    <a:pt x="184" y="1783"/>
                  </a:lnTo>
                  <a:cubicBezTo>
                    <a:pt x="163" y="1783"/>
                    <a:pt x="163" y="1783"/>
                    <a:pt x="163" y="1783"/>
                  </a:cubicBezTo>
                  <a:cubicBezTo>
                    <a:pt x="143" y="1783"/>
                    <a:pt x="143" y="1783"/>
                    <a:pt x="143" y="1783"/>
                  </a:cubicBezTo>
                  <a:lnTo>
                    <a:pt x="143" y="1803"/>
                  </a:lnTo>
                  <a:lnTo>
                    <a:pt x="143" y="1803"/>
                  </a:lnTo>
                  <a:cubicBezTo>
                    <a:pt x="143" y="1824"/>
                    <a:pt x="143" y="1803"/>
                    <a:pt x="143" y="1803"/>
                  </a:cubicBezTo>
                  <a:cubicBezTo>
                    <a:pt x="122" y="1803"/>
                    <a:pt x="122" y="1783"/>
                    <a:pt x="122" y="1783"/>
                  </a:cubicBezTo>
                  <a:cubicBezTo>
                    <a:pt x="102" y="1783"/>
                    <a:pt x="102" y="1763"/>
                    <a:pt x="102" y="1763"/>
                  </a:cubicBezTo>
                  <a:cubicBezTo>
                    <a:pt x="82" y="1742"/>
                    <a:pt x="82" y="1721"/>
                    <a:pt x="82" y="1701"/>
                  </a:cubicBezTo>
                  <a:lnTo>
                    <a:pt x="61" y="1681"/>
                  </a:lnTo>
                  <a:lnTo>
                    <a:pt x="61" y="1660"/>
                  </a:lnTo>
                  <a:lnTo>
                    <a:pt x="40" y="1660"/>
                  </a:lnTo>
                  <a:lnTo>
                    <a:pt x="40" y="1681"/>
                  </a:lnTo>
                  <a:lnTo>
                    <a:pt x="40" y="1681"/>
                  </a:lnTo>
                  <a:cubicBezTo>
                    <a:pt x="40" y="1701"/>
                    <a:pt x="40" y="1701"/>
                    <a:pt x="40" y="1701"/>
                  </a:cubicBezTo>
                  <a:cubicBezTo>
                    <a:pt x="40" y="1701"/>
                    <a:pt x="40" y="1681"/>
                    <a:pt x="20" y="1681"/>
                  </a:cubicBezTo>
                  <a:cubicBezTo>
                    <a:pt x="20" y="1681"/>
                    <a:pt x="20" y="1681"/>
                    <a:pt x="20" y="1660"/>
                  </a:cubicBezTo>
                  <a:lnTo>
                    <a:pt x="20" y="1639"/>
                  </a:lnTo>
                  <a:cubicBezTo>
                    <a:pt x="20" y="1619"/>
                    <a:pt x="0" y="1599"/>
                    <a:pt x="0" y="1599"/>
                  </a:cubicBezTo>
                  <a:cubicBezTo>
                    <a:pt x="0" y="1578"/>
                    <a:pt x="20" y="1578"/>
                    <a:pt x="40" y="1578"/>
                  </a:cubicBezTo>
                  <a:cubicBezTo>
                    <a:pt x="40" y="1578"/>
                    <a:pt x="61" y="1578"/>
                    <a:pt x="61" y="1599"/>
                  </a:cubicBezTo>
                  <a:cubicBezTo>
                    <a:pt x="82" y="1599"/>
                    <a:pt x="82" y="1599"/>
                    <a:pt x="82" y="1619"/>
                  </a:cubicBezTo>
                  <a:lnTo>
                    <a:pt x="102" y="1619"/>
                  </a:lnTo>
                  <a:cubicBezTo>
                    <a:pt x="122" y="1619"/>
                    <a:pt x="102" y="1578"/>
                    <a:pt x="102" y="1557"/>
                  </a:cubicBezTo>
                  <a:cubicBezTo>
                    <a:pt x="102" y="1557"/>
                    <a:pt x="102" y="1517"/>
                    <a:pt x="102" y="1497"/>
                  </a:cubicBezTo>
                  <a:lnTo>
                    <a:pt x="82" y="1476"/>
                  </a:lnTo>
                  <a:cubicBezTo>
                    <a:pt x="82" y="1455"/>
                    <a:pt x="82" y="1455"/>
                    <a:pt x="102" y="145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8" name="Freeform 265">
              <a:extLst>
                <a:ext uri="{FF2B5EF4-FFF2-40B4-BE49-F238E27FC236}">
                  <a16:creationId xmlns:a16="http://schemas.microsoft.com/office/drawing/2014/main" id="{C74A7D39-0A52-A146-BF7D-87BCA44BE823}"/>
                </a:ext>
              </a:extLst>
            </p:cNvPr>
            <p:cNvSpPr>
              <a:spLocks noChangeArrowheads="1"/>
            </p:cNvSpPr>
            <p:nvPr/>
          </p:nvSpPr>
          <p:spPr bwMode="auto">
            <a:xfrm>
              <a:off x="5065713" y="7134225"/>
              <a:ext cx="22225" cy="30163"/>
            </a:xfrm>
            <a:custGeom>
              <a:avLst/>
              <a:gdLst>
                <a:gd name="T0" fmla="*/ 62 w 63"/>
                <a:gd name="T1" fmla="*/ 62 h 83"/>
                <a:gd name="T2" fmla="*/ 62 w 63"/>
                <a:gd name="T3" fmla="*/ 62 h 83"/>
                <a:gd name="T4" fmla="*/ 62 w 63"/>
                <a:gd name="T5" fmla="*/ 42 h 83"/>
                <a:gd name="T6" fmla="*/ 62 w 63"/>
                <a:gd name="T7" fmla="*/ 0 h 83"/>
                <a:gd name="T8" fmla="*/ 41 w 63"/>
                <a:gd name="T9" fmla="*/ 21 h 83"/>
                <a:gd name="T10" fmla="*/ 20 w 63"/>
                <a:gd name="T11" fmla="*/ 21 h 83"/>
                <a:gd name="T12" fmla="*/ 0 w 63"/>
                <a:gd name="T13" fmla="*/ 21 h 83"/>
                <a:gd name="T14" fmla="*/ 20 w 63"/>
                <a:gd name="T15" fmla="*/ 42 h 83"/>
                <a:gd name="T16" fmla="*/ 20 w 63"/>
                <a:gd name="T17" fmla="*/ 62 h 83"/>
                <a:gd name="T18" fmla="*/ 62 w 63"/>
                <a:gd name="T19"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83">
                  <a:moveTo>
                    <a:pt x="62" y="62"/>
                  </a:moveTo>
                  <a:lnTo>
                    <a:pt x="62" y="62"/>
                  </a:lnTo>
                  <a:lnTo>
                    <a:pt x="62" y="42"/>
                  </a:lnTo>
                  <a:cubicBezTo>
                    <a:pt x="62" y="42"/>
                    <a:pt x="62" y="21"/>
                    <a:pt x="62" y="0"/>
                  </a:cubicBezTo>
                  <a:lnTo>
                    <a:pt x="41" y="21"/>
                  </a:lnTo>
                  <a:cubicBezTo>
                    <a:pt x="20" y="21"/>
                    <a:pt x="20" y="0"/>
                    <a:pt x="20" y="21"/>
                  </a:cubicBezTo>
                  <a:cubicBezTo>
                    <a:pt x="0" y="21"/>
                    <a:pt x="0" y="21"/>
                    <a:pt x="0" y="21"/>
                  </a:cubicBezTo>
                  <a:cubicBezTo>
                    <a:pt x="0" y="42"/>
                    <a:pt x="20" y="42"/>
                    <a:pt x="20" y="42"/>
                  </a:cubicBezTo>
                  <a:lnTo>
                    <a:pt x="20" y="62"/>
                  </a:lnTo>
                  <a:cubicBezTo>
                    <a:pt x="41" y="62"/>
                    <a:pt x="41" y="82"/>
                    <a:pt x="62"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69" name="Freeform 266">
              <a:extLst>
                <a:ext uri="{FF2B5EF4-FFF2-40B4-BE49-F238E27FC236}">
                  <a16:creationId xmlns:a16="http://schemas.microsoft.com/office/drawing/2014/main" id="{D67597C2-58A4-3444-8148-B55D17172D6D}"/>
                </a:ext>
              </a:extLst>
            </p:cNvPr>
            <p:cNvSpPr>
              <a:spLocks noChangeArrowheads="1"/>
            </p:cNvSpPr>
            <p:nvPr/>
          </p:nvSpPr>
          <p:spPr bwMode="auto">
            <a:xfrm>
              <a:off x="4956175" y="6810375"/>
              <a:ext cx="333375" cy="325438"/>
            </a:xfrm>
            <a:custGeom>
              <a:avLst/>
              <a:gdLst>
                <a:gd name="T0" fmla="*/ 472 w 924"/>
                <a:gd name="T1" fmla="*/ 61 h 902"/>
                <a:gd name="T2" fmla="*/ 492 w 924"/>
                <a:gd name="T3" fmla="*/ 103 h 902"/>
                <a:gd name="T4" fmla="*/ 554 w 924"/>
                <a:gd name="T5" fmla="*/ 123 h 902"/>
                <a:gd name="T6" fmla="*/ 615 w 924"/>
                <a:gd name="T7" fmla="*/ 164 h 902"/>
                <a:gd name="T8" fmla="*/ 656 w 924"/>
                <a:gd name="T9" fmla="*/ 123 h 902"/>
                <a:gd name="T10" fmla="*/ 615 w 924"/>
                <a:gd name="T11" fmla="*/ 82 h 902"/>
                <a:gd name="T12" fmla="*/ 615 w 924"/>
                <a:gd name="T13" fmla="*/ 41 h 902"/>
                <a:gd name="T14" fmla="*/ 656 w 924"/>
                <a:gd name="T15" fmla="*/ 21 h 902"/>
                <a:gd name="T16" fmla="*/ 718 w 924"/>
                <a:gd name="T17" fmla="*/ 0 h 902"/>
                <a:gd name="T18" fmla="*/ 759 w 924"/>
                <a:gd name="T19" fmla="*/ 21 h 902"/>
                <a:gd name="T20" fmla="*/ 779 w 924"/>
                <a:gd name="T21" fmla="*/ 61 h 902"/>
                <a:gd name="T22" fmla="*/ 820 w 924"/>
                <a:gd name="T23" fmla="*/ 82 h 902"/>
                <a:gd name="T24" fmla="*/ 861 w 924"/>
                <a:gd name="T25" fmla="*/ 103 h 902"/>
                <a:gd name="T26" fmla="*/ 902 w 924"/>
                <a:gd name="T27" fmla="*/ 205 h 902"/>
                <a:gd name="T28" fmla="*/ 923 w 924"/>
                <a:gd name="T29" fmla="*/ 328 h 902"/>
                <a:gd name="T30" fmla="*/ 902 w 924"/>
                <a:gd name="T31" fmla="*/ 471 h 902"/>
                <a:gd name="T32" fmla="*/ 861 w 924"/>
                <a:gd name="T33" fmla="*/ 513 h 902"/>
                <a:gd name="T34" fmla="*/ 800 w 924"/>
                <a:gd name="T35" fmla="*/ 533 h 902"/>
                <a:gd name="T36" fmla="*/ 738 w 924"/>
                <a:gd name="T37" fmla="*/ 573 h 902"/>
                <a:gd name="T38" fmla="*/ 718 w 924"/>
                <a:gd name="T39" fmla="*/ 635 h 902"/>
                <a:gd name="T40" fmla="*/ 656 w 924"/>
                <a:gd name="T41" fmla="*/ 635 h 902"/>
                <a:gd name="T42" fmla="*/ 636 w 924"/>
                <a:gd name="T43" fmla="*/ 676 h 902"/>
                <a:gd name="T44" fmla="*/ 677 w 924"/>
                <a:gd name="T45" fmla="*/ 737 h 902"/>
                <a:gd name="T46" fmla="*/ 718 w 924"/>
                <a:gd name="T47" fmla="*/ 779 h 902"/>
                <a:gd name="T48" fmla="*/ 697 w 924"/>
                <a:gd name="T49" fmla="*/ 819 h 902"/>
                <a:gd name="T50" fmla="*/ 636 w 924"/>
                <a:gd name="T51" fmla="*/ 799 h 902"/>
                <a:gd name="T52" fmla="*/ 574 w 924"/>
                <a:gd name="T53" fmla="*/ 819 h 902"/>
                <a:gd name="T54" fmla="*/ 492 w 924"/>
                <a:gd name="T55" fmla="*/ 840 h 902"/>
                <a:gd name="T56" fmla="*/ 431 w 924"/>
                <a:gd name="T57" fmla="*/ 901 h 902"/>
                <a:gd name="T58" fmla="*/ 410 w 924"/>
                <a:gd name="T59" fmla="*/ 881 h 902"/>
                <a:gd name="T60" fmla="*/ 370 w 924"/>
                <a:gd name="T61" fmla="*/ 861 h 902"/>
                <a:gd name="T62" fmla="*/ 349 w 924"/>
                <a:gd name="T63" fmla="*/ 840 h 902"/>
                <a:gd name="T64" fmla="*/ 349 w 924"/>
                <a:gd name="T65" fmla="*/ 840 h 902"/>
                <a:gd name="T66" fmla="*/ 328 w 924"/>
                <a:gd name="T67" fmla="*/ 881 h 902"/>
                <a:gd name="T68" fmla="*/ 288 w 924"/>
                <a:gd name="T69" fmla="*/ 881 h 902"/>
                <a:gd name="T70" fmla="*/ 246 w 924"/>
                <a:gd name="T71" fmla="*/ 840 h 902"/>
                <a:gd name="T72" fmla="*/ 267 w 924"/>
                <a:gd name="T73" fmla="*/ 799 h 902"/>
                <a:gd name="T74" fmla="*/ 288 w 924"/>
                <a:gd name="T75" fmla="*/ 758 h 902"/>
                <a:gd name="T76" fmla="*/ 267 w 924"/>
                <a:gd name="T77" fmla="*/ 758 h 902"/>
                <a:gd name="T78" fmla="*/ 226 w 924"/>
                <a:gd name="T79" fmla="*/ 799 h 902"/>
                <a:gd name="T80" fmla="*/ 185 w 924"/>
                <a:gd name="T81" fmla="*/ 799 h 902"/>
                <a:gd name="T82" fmla="*/ 185 w 924"/>
                <a:gd name="T83" fmla="*/ 737 h 902"/>
                <a:gd name="T84" fmla="*/ 206 w 924"/>
                <a:gd name="T85" fmla="*/ 697 h 902"/>
                <a:gd name="T86" fmla="*/ 164 w 924"/>
                <a:gd name="T87" fmla="*/ 655 h 902"/>
                <a:gd name="T88" fmla="*/ 144 w 924"/>
                <a:gd name="T89" fmla="*/ 655 h 902"/>
                <a:gd name="T90" fmla="*/ 144 w 924"/>
                <a:gd name="T91" fmla="*/ 553 h 902"/>
                <a:gd name="T92" fmla="*/ 82 w 924"/>
                <a:gd name="T93" fmla="*/ 471 h 902"/>
                <a:gd name="T94" fmla="*/ 0 w 924"/>
                <a:gd name="T95" fmla="*/ 389 h 902"/>
                <a:gd name="T96" fmla="*/ 0 w 924"/>
                <a:gd name="T97" fmla="*/ 246 h 902"/>
                <a:gd name="T98" fmla="*/ 42 w 924"/>
                <a:gd name="T99" fmla="*/ 164 h 902"/>
                <a:gd name="T100" fmla="*/ 103 w 924"/>
                <a:gd name="T101" fmla="*/ 103 h 902"/>
                <a:gd name="T102" fmla="*/ 226 w 924"/>
                <a:gd name="T103" fmla="*/ 61 h 902"/>
                <a:gd name="T104" fmla="*/ 328 w 924"/>
                <a:gd name="T105" fmla="*/ 41 h 902"/>
                <a:gd name="T106" fmla="*/ 410 w 924"/>
                <a:gd name="T107" fmla="*/ 41 h 902"/>
                <a:gd name="T108" fmla="*/ 451 w 924"/>
                <a:gd name="T109" fmla="*/ 61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4" h="902">
                  <a:moveTo>
                    <a:pt x="472" y="61"/>
                  </a:moveTo>
                  <a:lnTo>
                    <a:pt x="472" y="61"/>
                  </a:lnTo>
                  <a:lnTo>
                    <a:pt x="472" y="61"/>
                  </a:lnTo>
                  <a:cubicBezTo>
                    <a:pt x="492" y="82"/>
                    <a:pt x="492" y="103"/>
                    <a:pt x="492" y="103"/>
                  </a:cubicBezTo>
                  <a:cubicBezTo>
                    <a:pt x="513" y="103"/>
                    <a:pt x="533" y="103"/>
                    <a:pt x="533" y="103"/>
                  </a:cubicBezTo>
                  <a:lnTo>
                    <a:pt x="554" y="123"/>
                  </a:lnTo>
                  <a:cubicBezTo>
                    <a:pt x="574" y="123"/>
                    <a:pt x="574" y="164"/>
                    <a:pt x="595" y="164"/>
                  </a:cubicBezTo>
                  <a:lnTo>
                    <a:pt x="615" y="164"/>
                  </a:lnTo>
                  <a:cubicBezTo>
                    <a:pt x="636" y="164"/>
                    <a:pt x="636" y="164"/>
                    <a:pt x="656" y="143"/>
                  </a:cubicBezTo>
                  <a:lnTo>
                    <a:pt x="656" y="123"/>
                  </a:lnTo>
                  <a:cubicBezTo>
                    <a:pt x="656" y="103"/>
                    <a:pt x="656" y="103"/>
                    <a:pt x="636" y="82"/>
                  </a:cubicBezTo>
                  <a:cubicBezTo>
                    <a:pt x="636" y="82"/>
                    <a:pt x="636" y="82"/>
                    <a:pt x="615" y="82"/>
                  </a:cubicBezTo>
                  <a:lnTo>
                    <a:pt x="595" y="61"/>
                  </a:lnTo>
                  <a:cubicBezTo>
                    <a:pt x="595" y="61"/>
                    <a:pt x="595" y="41"/>
                    <a:pt x="615" y="41"/>
                  </a:cubicBezTo>
                  <a:lnTo>
                    <a:pt x="615" y="21"/>
                  </a:lnTo>
                  <a:cubicBezTo>
                    <a:pt x="636" y="21"/>
                    <a:pt x="656" y="41"/>
                    <a:pt x="656" y="21"/>
                  </a:cubicBezTo>
                  <a:lnTo>
                    <a:pt x="677" y="21"/>
                  </a:lnTo>
                  <a:cubicBezTo>
                    <a:pt x="677" y="21"/>
                    <a:pt x="697" y="0"/>
                    <a:pt x="718" y="0"/>
                  </a:cubicBezTo>
                  <a:lnTo>
                    <a:pt x="738" y="0"/>
                  </a:lnTo>
                  <a:lnTo>
                    <a:pt x="759" y="21"/>
                  </a:lnTo>
                  <a:lnTo>
                    <a:pt x="738" y="41"/>
                  </a:lnTo>
                  <a:cubicBezTo>
                    <a:pt x="759" y="61"/>
                    <a:pt x="779" y="61"/>
                    <a:pt x="779" y="61"/>
                  </a:cubicBezTo>
                  <a:lnTo>
                    <a:pt x="779" y="82"/>
                  </a:lnTo>
                  <a:cubicBezTo>
                    <a:pt x="800" y="103"/>
                    <a:pt x="800" y="82"/>
                    <a:pt x="820" y="82"/>
                  </a:cubicBezTo>
                  <a:cubicBezTo>
                    <a:pt x="820" y="82"/>
                    <a:pt x="841" y="82"/>
                    <a:pt x="861" y="82"/>
                  </a:cubicBezTo>
                  <a:lnTo>
                    <a:pt x="861" y="103"/>
                  </a:lnTo>
                  <a:cubicBezTo>
                    <a:pt x="861" y="123"/>
                    <a:pt x="882" y="143"/>
                    <a:pt x="882" y="164"/>
                  </a:cubicBezTo>
                  <a:cubicBezTo>
                    <a:pt x="882" y="164"/>
                    <a:pt x="902" y="185"/>
                    <a:pt x="902" y="205"/>
                  </a:cubicBezTo>
                  <a:lnTo>
                    <a:pt x="923" y="225"/>
                  </a:lnTo>
                  <a:cubicBezTo>
                    <a:pt x="923" y="246"/>
                    <a:pt x="923" y="307"/>
                    <a:pt x="923" y="328"/>
                  </a:cubicBezTo>
                  <a:cubicBezTo>
                    <a:pt x="923" y="349"/>
                    <a:pt x="923" y="389"/>
                    <a:pt x="923" y="410"/>
                  </a:cubicBezTo>
                  <a:cubicBezTo>
                    <a:pt x="923" y="431"/>
                    <a:pt x="923" y="471"/>
                    <a:pt x="902" y="471"/>
                  </a:cubicBezTo>
                  <a:cubicBezTo>
                    <a:pt x="902" y="492"/>
                    <a:pt x="902" y="492"/>
                    <a:pt x="882" y="492"/>
                  </a:cubicBezTo>
                  <a:cubicBezTo>
                    <a:pt x="882" y="513"/>
                    <a:pt x="882" y="513"/>
                    <a:pt x="861" y="513"/>
                  </a:cubicBezTo>
                  <a:cubicBezTo>
                    <a:pt x="861" y="513"/>
                    <a:pt x="841" y="533"/>
                    <a:pt x="820" y="533"/>
                  </a:cubicBezTo>
                  <a:lnTo>
                    <a:pt x="800" y="533"/>
                  </a:lnTo>
                  <a:cubicBezTo>
                    <a:pt x="800" y="533"/>
                    <a:pt x="779" y="553"/>
                    <a:pt x="759" y="553"/>
                  </a:cubicBezTo>
                  <a:lnTo>
                    <a:pt x="738" y="573"/>
                  </a:lnTo>
                  <a:cubicBezTo>
                    <a:pt x="738" y="594"/>
                    <a:pt x="738" y="615"/>
                    <a:pt x="738" y="615"/>
                  </a:cubicBezTo>
                  <a:cubicBezTo>
                    <a:pt x="738" y="615"/>
                    <a:pt x="718" y="615"/>
                    <a:pt x="718" y="635"/>
                  </a:cubicBezTo>
                  <a:lnTo>
                    <a:pt x="697" y="635"/>
                  </a:lnTo>
                  <a:cubicBezTo>
                    <a:pt x="677" y="635"/>
                    <a:pt x="677" y="635"/>
                    <a:pt x="656" y="635"/>
                  </a:cubicBezTo>
                  <a:lnTo>
                    <a:pt x="636" y="655"/>
                  </a:lnTo>
                  <a:lnTo>
                    <a:pt x="636" y="676"/>
                  </a:lnTo>
                  <a:cubicBezTo>
                    <a:pt x="636" y="697"/>
                    <a:pt x="656" y="697"/>
                    <a:pt x="656" y="697"/>
                  </a:cubicBezTo>
                  <a:cubicBezTo>
                    <a:pt x="656" y="717"/>
                    <a:pt x="656" y="737"/>
                    <a:pt x="677" y="737"/>
                  </a:cubicBezTo>
                  <a:lnTo>
                    <a:pt x="697" y="758"/>
                  </a:lnTo>
                  <a:lnTo>
                    <a:pt x="718" y="779"/>
                  </a:lnTo>
                  <a:lnTo>
                    <a:pt x="718" y="799"/>
                  </a:lnTo>
                  <a:lnTo>
                    <a:pt x="697" y="819"/>
                  </a:lnTo>
                  <a:cubicBezTo>
                    <a:pt x="677" y="819"/>
                    <a:pt x="677" y="799"/>
                    <a:pt x="656" y="799"/>
                  </a:cubicBezTo>
                  <a:cubicBezTo>
                    <a:pt x="656" y="799"/>
                    <a:pt x="656" y="799"/>
                    <a:pt x="636" y="799"/>
                  </a:cubicBezTo>
                  <a:cubicBezTo>
                    <a:pt x="636" y="799"/>
                    <a:pt x="615" y="799"/>
                    <a:pt x="595" y="799"/>
                  </a:cubicBezTo>
                  <a:cubicBezTo>
                    <a:pt x="595" y="799"/>
                    <a:pt x="574" y="799"/>
                    <a:pt x="574" y="819"/>
                  </a:cubicBezTo>
                  <a:cubicBezTo>
                    <a:pt x="574" y="819"/>
                    <a:pt x="533" y="819"/>
                    <a:pt x="533" y="840"/>
                  </a:cubicBezTo>
                  <a:cubicBezTo>
                    <a:pt x="513" y="840"/>
                    <a:pt x="513" y="840"/>
                    <a:pt x="492" y="840"/>
                  </a:cubicBezTo>
                  <a:cubicBezTo>
                    <a:pt x="492" y="861"/>
                    <a:pt x="472" y="881"/>
                    <a:pt x="451" y="881"/>
                  </a:cubicBezTo>
                  <a:lnTo>
                    <a:pt x="431" y="901"/>
                  </a:lnTo>
                  <a:cubicBezTo>
                    <a:pt x="431" y="901"/>
                    <a:pt x="431" y="901"/>
                    <a:pt x="410" y="901"/>
                  </a:cubicBezTo>
                  <a:cubicBezTo>
                    <a:pt x="410" y="881"/>
                    <a:pt x="410" y="881"/>
                    <a:pt x="410" y="881"/>
                  </a:cubicBezTo>
                  <a:cubicBezTo>
                    <a:pt x="390" y="881"/>
                    <a:pt x="390" y="881"/>
                    <a:pt x="390" y="881"/>
                  </a:cubicBezTo>
                  <a:cubicBezTo>
                    <a:pt x="370" y="881"/>
                    <a:pt x="370" y="861"/>
                    <a:pt x="370" y="861"/>
                  </a:cubicBezTo>
                  <a:cubicBezTo>
                    <a:pt x="370" y="861"/>
                    <a:pt x="349" y="861"/>
                    <a:pt x="349" y="840"/>
                  </a:cubicBezTo>
                  <a:lnTo>
                    <a:pt x="349" y="840"/>
                  </a:lnTo>
                  <a:lnTo>
                    <a:pt x="328" y="840"/>
                  </a:lnTo>
                  <a:cubicBezTo>
                    <a:pt x="328" y="840"/>
                    <a:pt x="328" y="840"/>
                    <a:pt x="349" y="840"/>
                  </a:cubicBezTo>
                  <a:cubicBezTo>
                    <a:pt x="349" y="861"/>
                    <a:pt x="328" y="861"/>
                    <a:pt x="328" y="861"/>
                  </a:cubicBezTo>
                  <a:lnTo>
                    <a:pt x="328" y="881"/>
                  </a:lnTo>
                  <a:lnTo>
                    <a:pt x="308" y="881"/>
                  </a:lnTo>
                  <a:lnTo>
                    <a:pt x="288" y="881"/>
                  </a:lnTo>
                  <a:lnTo>
                    <a:pt x="267" y="881"/>
                  </a:lnTo>
                  <a:cubicBezTo>
                    <a:pt x="246" y="861"/>
                    <a:pt x="246" y="840"/>
                    <a:pt x="246" y="840"/>
                  </a:cubicBezTo>
                  <a:lnTo>
                    <a:pt x="267" y="819"/>
                  </a:lnTo>
                  <a:cubicBezTo>
                    <a:pt x="267" y="819"/>
                    <a:pt x="267" y="819"/>
                    <a:pt x="267" y="799"/>
                  </a:cubicBezTo>
                  <a:cubicBezTo>
                    <a:pt x="288" y="799"/>
                    <a:pt x="288" y="799"/>
                    <a:pt x="288" y="799"/>
                  </a:cubicBezTo>
                  <a:cubicBezTo>
                    <a:pt x="288" y="779"/>
                    <a:pt x="288" y="779"/>
                    <a:pt x="288" y="758"/>
                  </a:cubicBezTo>
                  <a:cubicBezTo>
                    <a:pt x="288" y="758"/>
                    <a:pt x="288" y="758"/>
                    <a:pt x="267" y="737"/>
                  </a:cubicBezTo>
                  <a:lnTo>
                    <a:pt x="267" y="758"/>
                  </a:lnTo>
                  <a:cubicBezTo>
                    <a:pt x="246" y="758"/>
                    <a:pt x="246" y="779"/>
                    <a:pt x="246" y="779"/>
                  </a:cubicBezTo>
                  <a:cubicBezTo>
                    <a:pt x="246" y="779"/>
                    <a:pt x="246" y="799"/>
                    <a:pt x="226" y="799"/>
                  </a:cubicBezTo>
                  <a:cubicBezTo>
                    <a:pt x="226" y="799"/>
                    <a:pt x="226" y="799"/>
                    <a:pt x="206" y="799"/>
                  </a:cubicBezTo>
                  <a:lnTo>
                    <a:pt x="185" y="799"/>
                  </a:lnTo>
                  <a:cubicBezTo>
                    <a:pt x="185" y="779"/>
                    <a:pt x="185" y="779"/>
                    <a:pt x="185" y="758"/>
                  </a:cubicBezTo>
                  <a:lnTo>
                    <a:pt x="185" y="737"/>
                  </a:lnTo>
                  <a:lnTo>
                    <a:pt x="185" y="717"/>
                  </a:lnTo>
                  <a:cubicBezTo>
                    <a:pt x="185" y="697"/>
                    <a:pt x="206" y="697"/>
                    <a:pt x="206" y="697"/>
                  </a:cubicBezTo>
                  <a:cubicBezTo>
                    <a:pt x="206" y="676"/>
                    <a:pt x="206" y="676"/>
                    <a:pt x="206" y="676"/>
                  </a:cubicBezTo>
                  <a:cubicBezTo>
                    <a:pt x="185" y="655"/>
                    <a:pt x="164" y="655"/>
                    <a:pt x="164" y="655"/>
                  </a:cubicBezTo>
                  <a:lnTo>
                    <a:pt x="144" y="655"/>
                  </a:lnTo>
                  <a:lnTo>
                    <a:pt x="144" y="655"/>
                  </a:lnTo>
                  <a:cubicBezTo>
                    <a:pt x="144" y="635"/>
                    <a:pt x="144" y="615"/>
                    <a:pt x="144" y="615"/>
                  </a:cubicBezTo>
                  <a:cubicBezTo>
                    <a:pt x="144" y="594"/>
                    <a:pt x="144" y="573"/>
                    <a:pt x="144" y="553"/>
                  </a:cubicBezTo>
                  <a:cubicBezTo>
                    <a:pt x="124" y="533"/>
                    <a:pt x="124" y="513"/>
                    <a:pt x="103" y="513"/>
                  </a:cubicBezTo>
                  <a:cubicBezTo>
                    <a:pt x="103" y="492"/>
                    <a:pt x="82" y="471"/>
                    <a:pt x="82" y="471"/>
                  </a:cubicBezTo>
                  <a:cubicBezTo>
                    <a:pt x="62" y="471"/>
                    <a:pt x="42" y="451"/>
                    <a:pt x="21" y="451"/>
                  </a:cubicBezTo>
                  <a:cubicBezTo>
                    <a:pt x="21" y="431"/>
                    <a:pt x="0" y="410"/>
                    <a:pt x="0" y="389"/>
                  </a:cubicBezTo>
                  <a:cubicBezTo>
                    <a:pt x="0" y="369"/>
                    <a:pt x="0" y="349"/>
                    <a:pt x="0" y="328"/>
                  </a:cubicBezTo>
                  <a:cubicBezTo>
                    <a:pt x="0" y="307"/>
                    <a:pt x="0" y="267"/>
                    <a:pt x="0" y="246"/>
                  </a:cubicBezTo>
                  <a:cubicBezTo>
                    <a:pt x="0" y="225"/>
                    <a:pt x="21" y="225"/>
                    <a:pt x="21" y="205"/>
                  </a:cubicBezTo>
                  <a:cubicBezTo>
                    <a:pt x="21" y="205"/>
                    <a:pt x="42" y="185"/>
                    <a:pt x="42" y="164"/>
                  </a:cubicBezTo>
                  <a:cubicBezTo>
                    <a:pt x="62" y="164"/>
                    <a:pt x="62" y="143"/>
                    <a:pt x="82" y="123"/>
                  </a:cubicBezTo>
                  <a:lnTo>
                    <a:pt x="103" y="103"/>
                  </a:lnTo>
                  <a:cubicBezTo>
                    <a:pt x="103" y="82"/>
                    <a:pt x="124" y="61"/>
                    <a:pt x="144" y="61"/>
                  </a:cubicBezTo>
                  <a:cubicBezTo>
                    <a:pt x="164" y="61"/>
                    <a:pt x="206" y="82"/>
                    <a:pt x="226" y="61"/>
                  </a:cubicBezTo>
                  <a:cubicBezTo>
                    <a:pt x="246" y="61"/>
                    <a:pt x="267" y="41"/>
                    <a:pt x="267" y="41"/>
                  </a:cubicBezTo>
                  <a:cubicBezTo>
                    <a:pt x="288" y="41"/>
                    <a:pt x="308" y="41"/>
                    <a:pt x="328" y="41"/>
                  </a:cubicBezTo>
                  <a:cubicBezTo>
                    <a:pt x="328" y="41"/>
                    <a:pt x="370" y="41"/>
                    <a:pt x="390" y="41"/>
                  </a:cubicBezTo>
                  <a:cubicBezTo>
                    <a:pt x="390" y="41"/>
                    <a:pt x="390" y="41"/>
                    <a:pt x="410" y="41"/>
                  </a:cubicBezTo>
                  <a:cubicBezTo>
                    <a:pt x="410" y="61"/>
                    <a:pt x="410" y="61"/>
                    <a:pt x="410" y="61"/>
                  </a:cubicBezTo>
                  <a:cubicBezTo>
                    <a:pt x="410" y="82"/>
                    <a:pt x="431" y="61"/>
                    <a:pt x="451" y="61"/>
                  </a:cubicBezTo>
                  <a:cubicBezTo>
                    <a:pt x="451" y="61"/>
                    <a:pt x="451" y="61"/>
                    <a:pt x="472"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0" name="Freeform 267">
              <a:extLst>
                <a:ext uri="{FF2B5EF4-FFF2-40B4-BE49-F238E27FC236}">
                  <a16:creationId xmlns:a16="http://schemas.microsoft.com/office/drawing/2014/main" id="{34E2BF97-C642-5345-A98A-1C22A8975561}"/>
                </a:ext>
              </a:extLst>
            </p:cNvPr>
            <p:cNvSpPr>
              <a:spLocks noChangeArrowheads="1"/>
            </p:cNvSpPr>
            <p:nvPr/>
          </p:nvSpPr>
          <p:spPr bwMode="auto">
            <a:xfrm>
              <a:off x="6380163" y="8647113"/>
              <a:ext cx="147637" cy="96837"/>
            </a:xfrm>
            <a:custGeom>
              <a:avLst/>
              <a:gdLst>
                <a:gd name="T0" fmla="*/ 388 w 410"/>
                <a:gd name="T1" fmla="*/ 21 h 268"/>
                <a:gd name="T2" fmla="*/ 388 w 410"/>
                <a:gd name="T3" fmla="*/ 21 h 268"/>
                <a:gd name="T4" fmla="*/ 409 w 410"/>
                <a:gd name="T5" fmla="*/ 41 h 268"/>
                <a:gd name="T6" fmla="*/ 388 w 410"/>
                <a:gd name="T7" fmla="*/ 82 h 268"/>
                <a:gd name="T8" fmla="*/ 348 w 410"/>
                <a:gd name="T9" fmla="*/ 103 h 268"/>
                <a:gd name="T10" fmla="*/ 286 w 410"/>
                <a:gd name="T11" fmla="*/ 123 h 268"/>
                <a:gd name="T12" fmla="*/ 246 w 410"/>
                <a:gd name="T13" fmla="*/ 164 h 268"/>
                <a:gd name="T14" fmla="*/ 164 w 410"/>
                <a:gd name="T15" fmla="*/ 185 h 268"/>
                <a:gd name="T16" fmla="*/ 102 w 410"/>
                <a:gd name="T17" fmla="*/ 205 h 268"/>
                <a:gd name="T18" fmla="*/ 61 w 410"/>
                <a:gd name="T19" fmla="*/ 246 h 268"/>
                <a:gd name="T20" fmla="*/ 40 w 410"/>
                <a:gd name="T21" fmla="*/ 267 h 268"/>
                <a:gd name="T22" fmla="*/ 40 w 410"/>
                <a:gd name="T23" fmla="*/ 246 h 268"/>
                <a:gd name="T24" fmla="*/ 20 w 410"/>
                <a:gd name="T25" fmla="*/ 225 h 268"/>
                <a:gd name="T26" fmla="*/ 40 w 410"/>
                <a:gd name="T27" fmla="*/ 205 h 268"/>
                <a:gd name="T28" fmla="*/ 61 w 410"/>
                <a:gd name="T29" fmla="*/ 185 h 268"/>
                <a:gd name="T30" fmla="*/ 61 w 410"/>
                <a:gd name="T31" fmla="*/ 164 h 268"/>
                <a:gd name="T32" fmla="*/ 40 w 410"/>
                <a:gd name="T33" fmla="*/ 164 h 268"/>
                <a:gd name="T34" fmla="*/ 20 w 410"/>
                <a:gd name="T35" fmla="*/ 143 h 268"/>
                <a:gd name="T36" fmla="*/ 20 w 410"/>
                <a:gd name="T37" fmla="*/ 123 h 268"/>
                <a:gd name="T38" fmla="*/ 0 w 410"/>
                <a:gd name="T39" fmla="*/ 103 h 268"/>
                <a:gd name="T40" fmla="*/ 0 w 410"/>
                <a:gd name="T41" fmla="*/ 103 h 268"/>
                <a:gd name="T42" fmla="*/ 40 w 410"/>
                <a:gd name="T43" fmla="*/ 82 h 268"/>
                <a:gd name="T44" fmla="*/ 61 w 410"/>
                <a:gd name="T45" fmla="*/ 41 h 268"/>
                <a:gd name="T46" fmla="*/ 82 w 410"/>
                <a:gd name="T47" fmla="*/ 41 h 268"/>
                <a:gd name="T48" fmla="*/ 122 w 410"/>
                <a:gd name="T49" fmla="*/ 21 h 268"/>
                <a:gd name="T50" fmla="*/ 164 w 410"/>
                <a:gd name="T51" fmla="*/ 0 h 268"/>
                <a:gd name="T52" fmla="*/ 204 w 410"/>
                <a:gd name="T53" fmla="*/ 0 h 268"/>
                <a:gd name="T54" fmla="*/ 246 w 410"/>
                <a:gd name="T55" fmla="*/ 21 h 268"/>
                <a:gd name="T56" fmla="*/ 306 w 410"/>
                <a:gd name="T57" fmla="*/ 0 h 268"/>
                <a:gd name="T58" fmla="*/ 348 w 410"/>
                <a:gd name="T59" fmla="*/ 0 h 268"/>
                <a:gd name="T60" fmla="*/ 388 w 410"/>
                <a:gd name="T61" fmla="*/ 21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0" h="268">
                  <a:moveTo>
                    <a:pt x="388" y="21"/>
                  </a:moveTo>
                  <a:lnTo>
                    <a:pt x="388" y="21"/>
                  </a:lnTo>
                  <a:lnTo>
                    <a:pt x="409" y="41"/>
                  </a:lnTo>
                  <a:cubicBezTo>
                    <a:pt x="409" y="61"/>
                    <a:pt x="388" y="61"/>
                    <a:pt x="388" y="82"/>
                  </a:cubicBezTo>
                  <a:cubicBezTo>
                    <a:pt x="368" y="82"/>
                    <a:pt x="348" y="82"/>
                    <a:pt x="348" y="103"/>
                  </a:cubicBezTo>
                  <a:cubicBezTo>
                    <a:pt x="327" y="103"/>
                    <a:pt x="306" y="123"/>
                    <a:pt x="286" y="123"/>
                  </a:cubicBezTo>
                  <a:cubicBezTo>
                    <a:pt x="266" y="143"/>
                    <a:pt x="246" y="164"/>
                    <a:pt x="246" y="164"/>
                  </a:cubicBezTo>
                  <a:cubicBezTo>
                    <a:pt x="225" y="164"/>
                    <a:pt x="184" y="185"/>
                    <a:pt x="164" y="185"/>
                  </a:cubicBezTo>
                  <a:cubicBezTo>
                    <a:pt x="143" y="205"/>
                    <a:pt x="122" y="205"/>
                    <a:pt x="102" y="205"/>
                  </a:cubicBezTo>
                  <a:cubicBezTo>
                    <a:pt x="102" y="205"/>
                    <a:pt x="82" y="225"/>
                    <a:pt x="61" y="246"/>
                  </a:cubicBezTo>
                  <a:cubicBezTo>
                    <a:pt x="61" y="246"/>
                    <a:pt x="40" y="246"/>
                    <a:pt x="40" y="267"/>
                  </a:cubicBezTo>
                  <a:cubicBezTo>
                    <a:pt x="40" y="267"/>
                    <a:pt x="40" y="267"/>
                    <a:pt x="40" y="246"/>
                  </a:cubicBezTo>
                  <a:cubicBezTo>
                    <a:pt x="20" y="246"/>
                    <a:pt x="20" y="225"/>
                    <a:pt x="20" y="225"/>
                  </a:cubicBezTo>
                  <a:cubicBezTo>
                    <a:pt x="20" y="205"/>
                    <a:pt x="40" y="205"/>
                    <a:pt x="40" y="205"/>
                  </a:cubicBezTo>
                  <a:cubicBezTo>
                    <a:pt x="40" y="205"/>
                    <a:pt x="61" y="205"/>
                    <a:pt x="61" y="185"/>
                  </a:cubicBezTo>
                  <a:cubicBezTo>
                    <a:pt x="61" y="185"/>
                    <a:pt x="61" y="185"/>
                    <a:pt x="61" y="164"/>
                  </a:cubicBezTo>
                  <a:cubicBezTo>
                    <a:pt x="61" y="164"/>
                    <a:pt x="61" y="164"/>
                    <a:pt x="40" y="164"/>
                  </a:cubicBezTo>
                  <a:cubicBezTo>
                    <a:pt x="40" y="143"/>
                    <a:pt x="20" y="143"/>
                    <a:pt x="20" y="143"/>
                  </a:cubicBezTo>
                  <a:lnTo>
                    <a:pt x="20" y="123"/>
                  </a:lnTo>
                  <a:cubicBezTo>
                    <a:pt x="20" y="123"/>
                    <a:pt x="0" y="123"/>
                    <a:pt x="0" y="103"/>
                  </a:cubicBezTo>
                  <a:lnTo>
                    <a:pt x="0" y="103"/>
                  </a:lnTo>
                  <a:cubicBezTo>
                    <a:pt x="20" y="103"/>
                    <a:pt x="20" y="82"/>
                    <a:pt x="40" y="82"/>
                  </a:cubicBezTo>
                  <a:cubicBezTo>
                    <a:pt x="40" y="61"/>
                    <a:pt x="40" y="61"/>
                    <a:pt x="61" y="41"/>
                  </a:cubicBezTo>
                  <a:lnTo>
                    <a:pt x="82" y="41"/>
                  </a:lnTo>
                  <a:cubicBezTo>
                    <a:pt x="102" y="21"/>
                    <a:pt x="102" y="21"/>
                    <a:pt x="122" y="21"/>
                  </a:cubicBezTo>
                  <a:cubicBezTo>
                    <a:pt x="122" y="0"/>
                    <a:pt x="143" y="0"/>
                    <a:pt x="164" y="0"/>
                  </a:cubicBezTo>
                  <a:cubicBezTo>
                    <a:pt x="164" y="0"/>
                    <a:pt x="184" y="0"/>
                    <a:pt x="204" y="0"/>
                  </a:cubicBezTo>
                  <a:lnTo>
                    <a:pt x="246" y="21"/>
                  </a:lnTo>
                  <a:cubicBezTo>
                    <a:pt x="266" y="21"/>
                    <a:pt x="286" y="21"/>
                    <a:pt x="306" y="0"/>
                  </a:cubicBezTo>
                  <a:cubicBezTo>
                    <a:pt x="327" y="0"/>
                    <a:pt x="348" y="0"/>
                    <a:pt x="348" y="0"/>
                  </a:cubicBezTo>
                  <a:cubicBezTo>
                    <a:pt x="368" y="0"/>
                    <a:pt x="388" y="21"/>
                    <a:pt x="388"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1" name="Freeform 268">
              <a:extLst>
                <a:ext uri="{FF2B5EF4-FFF2-40B4-BE49-F238E27FC236}">
                  <a16:creationId xmlns:a16="http://schemas.microsoft.com/office/drawing/2014/main" id="{70FD2A77-6F7A-4748-A222-E1A72A85F473}"/>
                </a:ext>
              </a:extLst>
            </p:cNvPr>
            <p:cNvSpPr>
              <a:spLocks noChangeArrowheads="1"/>
            </p:cNvSpPr>
            <p:nvPr/>
          </p:nvSpPr>
          <p:spPr bwMode="auto">
            <a:xfrm>
              <a:off x="6319838" y="8697913"/>
              <a:ext cx="36512" cy="38100"/>
            </a:xfrm>
            <a:custGeom>
              <a:avLst/>
              <a:gdLst>
                <a:gd name="T0" fmla="*/ 102 w 103"/>
                <a:gd name="T1" fmla="*/ 42 h 104"/>
                <a:gd name="T2" fmla="*/ 102 w 103"/>
                <a:gd name="T3" fmla="*/ 42 h 104"/>
                <a:gd name="T4" fmla="*/ 82 w 103"/>
                <a:gd name="T5" fmla="*/ 62 h 104"/>
                <a:gd name="T6" fmla="*/ 82 w 103"/>
                <a:gd name="T7" fmla="*/ 82 h 104"/>
                <a:gd name="T8" fmla="*/ 61 w 103"/>
                <a:gd name="T9" fmla="*/ 103 h 104"/>
                <a:gd name="T10" fmla="*/ 20 w 103"/>
                <a:gd name="T11" fmla="*/ 82 h 104"/>
                <a:gd name="T12" fmla="*/ 0 w 103"/>
                <a:gd name="T13" fmla="*/ 82 h 104"/>
                <a:gd name="T14" fmla="*/ 20 w 103"/>
                <a:gd name="T15" fmla="*/ 62 h 104"/>
                <a:gd name="T16" fmla="*/ 40 w 103"/>
                <a:gd name="T17" fmla="*/ 21 h 104"/>
                <a:gd name="T18" fmla="*/ 61 w 103"/>
                <a:gd name="T19" fmla="*/ 0 h 104"/>
                <a:gd name="T20" fmla="*/ 82 w 103"/>
                <a:gd name="T21" fmla="*/ 0 h 104"/>
                <a:gd name="T22" fmla="*/ 82 w 103"/>
                <a:gd name="T23" fmla="*/ 21 h 104"/>
                <a:gd name="T24" fmla="*/ 102 w 103"/>
                <a:gd name="T25" fmla="*/ 4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104">
                  <a:moveTo>
                    <a:pt x="102" y="42"/>
                  </a:moveTo>
                  <a:lnTo>
                    <a:pt x="102" y="42"/>
                  </a:lnTo>
                  <a:cubicBezTo>
                    <a:pt x="102" y="42"/>
                    <a:pt x="102" y="62"/>
                    <a:pt x="82" y="62"/>
                  </a:cubicBezTo>
                  <a:cubicBezTo>
                    <a:pt x="82" y="82"/>
                    <a:pt x="82" y="82"/>
                    <a:pt x="82" y="82"/>
                  </a:cubicBezTo>
                  <a:cubicBezTo>
                    <a:pt x="82" y="103"/>
                    <a:pt x="61" y="103"/>
                    <a:pt x="61" y="103"/>
                  </a:cubicBezTo>
                  <a:cubicBezTo>
                    <a:pt x="40" y="103"/>
                    <a:pt x="20" y="103"/>
                    <a:pt x="20" y="82"/>
                  </a:cubicBezTo>
                  <a:lnTo>
                    <a:pt x="0" y="82"/>
                  </a:lnTo>
                  <a:cubicBezTo>
                    <a:pt x="20" y="62"/>
                    <a:pt x="20" y="62"/>
                    <a:pt x="20" y="62"/>
                  </a:cubicBezTo>
                  <a:cubicBezTo>
                    <a:pt x="20" y="42"/>
                    <a:pt x="40" y="21"/>
                    <a:pt x="40" y="21"/>
                  </a:cubicBezTo>
                  <a:cubicBezTo>
                    <a:pt x="40" y="21"/>
                    <a:pt x="61" y="21"/>
                    <a:pt x="61" y="0"/>
                  </a:cubicBezTo>
                  <a:cubicBezTo>
                    <a:pt x="61" y="0"/>
                    <a:pt x="61" y="0"/>
                    <a:pt x="82" y="0"/>
                  </a:cubicBezTo>
                  <a:cubicBezTo>
                    <a:pt x="82" y="21"/>
                    <a:pt x="82" y="21"/>
                    <a:pt x="82" y="21"/>
                  </a:cubicBezTo>
                  <a:lnTo>
                    <a:pt x="102" y="4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2" name="Freeform 269">
              <a:extLst>
                <a:ext uri="{FF2B5EF4-FFF2-40B4-BE49-F238E27FC236}">
                  <a16:creationId xmlns:a16="http://schemas.microsoft.com/office/drawing/2014/main" id="{C4B491F9-1BA3-8A40-9014-945B9D99B748}"/>
                </a:ext>
              </a:extLst>
            </p:cNvPr>
            <p:cNvSpPr>
              <a:spLocks noChangeArrowheads="1"/>
            </p:cNvSpPr>
            <p:nvPr/>
          </p:nvSpPr>
          <p:spPr bwMode="auto">
            <a:xfrm>
              <a:off x="5207000" y="7710488"/>
              <a:ext cx="22225" cy="15875"/>
            </a:xfrm>
            <a:custGeom>
              <a:avLst/>
              <a:gdLst>
                <a:gd name="T0" fmla="*/ 41 w 63"/>
                <a:gd name="T1" fmla="*/ 41 h 42"/>
                <a:gd name="T2" fmla="*/ 41 w 63"/>
                <a:gd name="T3" fmla="*/ 41 h 42"/>
                <a:gd name="T4" fmla="*/ 21 w 63"/>
                <a:gd name="T5" fmla="*/ 41 h 42"/>
                <a:gd name="T6" fmla="*/ 21 w 63"/>
                <a:gd name="T7" fmla="*/ 41 h 42"/>
                <a:gd name="T8" fmla="*/ 0 w 63"/>
                <a:gd name="T9" fmla="*/ 20 h 42"/>
                <a:gd name="T10" fmla="*/ 0 w 63"/>
                <a:gd name="T11" fmla="*/ 0 h 42"/>
                <a:gd name="T12" fmla="*/ 21 w 63"/>
                <a:gd name="T13" fmla="*/ 0 h 42"/>
                <a:gd name="T14" fmla="*/ 21 w 63"/>
                <a:gd name="T15" fmla="*/ 0 h 42"/>
                <a:gd name="T16" fmla="*/ 41 w 63"/>
                <a:gd name="T17" fmla="*/ 20 h 42"/>
                <a:gd name="T18" fmla="*/ 62 w 63"/>
                <a:gd name="T19" fmla="*/ 20 h 42"/>
                <a:gd name="T20" fmla="*/ 41 w 63"/>
                <a:gd name="T21"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42">
                  <a:moveTo>
                    <a:pt x="41" y="41"/>
                  </a:moveTo>
                  <a:lnTo>
                    <a:pt x="41" y="41"/>
                  </a:lnTo>
                  <a:cubicBezTo>
                    <a:pt x="41" y="41"/>
                    <a:pt x="41" y="41"/>
                    <a:pt x="21" y="41"/>
                  </a:cubicBezTo>
                  <a:lnTo>
                    <a:pt x="21" y="41"/>
                  </a:lnTo>
                  <a:cubicBezTo>
                    <a:pt x="0" y="41"/>
                    <a:pt x="0" y="41"/>
                    <a:pt x="0" y="20"/>
                  </a:cubicBezTo>
                  <a:cubicBezTo>
                    <a:pt x="0" y="20"/>
                    <a:pt x="0" y="20"/>
                    <a:pt x="0" y="0"/>
                  </a:cubicBezTo>
                  <a:lnTo>
                    <a:pt x="21" y="0"/>
                  </a:lnTo>
                  <a:lnTo>
                    <a:pt x="21" y="0"/>
                  </a:lnTo>
                  <a:lnTo>
                    <a:pt x="41" y="20"/>
                  </a:lnTo>
                  <a:lnTo>
                    <a:pt x="62" y="20"/>
                  </a:lnTo>
                  <a:lnTo>
                    <a:pt x="4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3" name="Freeform 270">
              <a:extLst>
                <a:ext uri="{FF2B5EF4-FFF2-40B4-BE49-F238E27FC236}">
                  <a16:creationId xmlns:a16="http://schemas.microsoft.com/office/drawing/2014/main" id="{3168C726-8661-8840-AFA1-8E164F294280}"/>
                </a:ext>
              </a:extLst>
            </p:cNvPr>
            <p:cNvSpPr>
              <a:spLocks noChangeArrowheads="1"/>
            </p:cNvSpPr>
            <p:nvPr/>
          </p:nvSpPr>
          <p:spPr bwMode="auto">
            <a:xfrm>
              <a:off x="5213350" y="7761288"/>
              <a:ext cx="15875" cy="7937"/>
            </a:xfrm>
            <a:custGeom>
              <a:avLst/>
              <a:gdLst>
                <a:gd name="T0" fmla="*/ 41 w 42"/>
                <a:gd name="T1" fmla="*/ 0 h 22"/>
                <a:gd name="T2" fmla="*/ 41 w 42"/>
                <a:gd name="T3" fmla="*/ 0 h 22"/>
                <a:gd name="T4" fmla="*/ 20 w 42"/>
                <a:gd name="T5" fmla="*/ 0 h 22"/>
                <a:gd name="T6" fmla="*/ 0 w 42"/>
                <a:gd name="T7" fmla="*/ 21 h 22"/>
                <a:gd name="T8" fmla="*/ 20 w 42"/>
                <a:gd name="T9" fmla="*/ 21 h 22"/>
                <a:gd name="T10" fmla="*/ 20 w 42"/>
                <a:gd name="T11" fmla="*/ 21 h 22"/>
                <a:gd name="T12" fmla="*/ 41 w 4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1" y="0"/>
                  </a:moveTo>
                  <a:lnTo>
                    <a:pt x="41" y="0"/>
                  </a:lnTo>
                  <a:cubicBezTo>
                    <a:pt x="20" y="0"/>
                    <a:pt x="20" y="0"/>
                    <a:pt x="20" y="0"/>
                  </a:cubicBezTo>
                  <a:cubicBezTo>
                    <a:pt x="0" y="0"/>
                    <a:pt x="0" y="21"/>
                    <a:pt x="0" y="21"/>
                  </a:cubicBezTo>
                  <a:lnTo>
                    <a:pt x="20" y="21"/>
                  </a:lnTo>
                  <a:lnTo>
                    <a:pt x="20" y="21"/>
                  </a:lnTo>
                  <a:lnTo>
                    <a:pt x="4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4" name="Freeform 271">
              <a:extLst>
                <a:ext uri="{FF2B5EF4-FFF2-40B4-BE49-F238E27FC236}">
                  <a16:creationId xmlns:a16="http://schemas.microsoft.com/office/drawing/2014/main" id="{CCA4ECF1-E364-FC4D-B65B-7716535008D4}"/>
                </a:ext>
              </a:extLst>
            </p:cNvPr>
            <p:cNvSpPr>
              <a:spLocks noChangeArrowheads="1"/>
            </p:cNvSpPr>
            <p:nvPr/>
          </p:nvSpPr>
          <p:spPr bwMode="auto">
            <a:xfrm>
              <a:off x="5229225" y="7747000"/>
              <a:ext cx="7938" cy="15875"/>
            </a:xfrm>
            <a:custGeom>
              <a:avLst/>
              <a:gdLst>
                <a:gd name="T0" fmla="*/ 20 w 21"/>
                <a:gd name="T1" fmla="*/ 21 h 42"/>
                <a:gd name="T2" fmla="*/ 20 w 21"/>
                <a:gd name="T3" fmla="*/ 21 h 42"/>
                <a:gd name="T4" fmla="*/ 20 w 21"/>
                <a:gd name="T5" fmla="*/ 0 h 42"/>
                <a:gd name="T6" fmla="*/ 20 w 21"/>
                <a:gd name="T7" fmla="*/ 21 h 42"/>
                <a:gd name="T8" fmla="*/ 20 w 21"/>
                <a:gd name="T9" fmla="*/ 21 h 42"/>
                <a:gd name="T10" fmla="*/ 20 w 21"/>
                <a:gd name="T11" fmla="*/ 41 h 42"/>
                <a:gd name="T12" fmla="*/ 0 w 21"/>
                <a:gd name="T13" fmla="*/ 41 h 42"/>
                <a:gd name="T14" fmla="*/ 20 w 21"/>
                <a:gd name="T15" fmla="*/ 2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21"/>
                  </a:moveTo>
                  <a:lnTo>
                    <a:pt x="20" y="21"/>
                  </a:lnTo>
                  <a:cubicBezTo>
                    <a:pt x="20" y="21"/>
                    <a:pt x="0" y="0"/>
                    <a:pt x="20" y="0"/>
                  </a:cubicBezTo>
                  <a:cubicBezTo>
                    <a:pt x="20" y="0"/>
                    <a:pt x="20" y="0"/>
                    <a:pt x="20" y="21"/>
                  </a:cubicBezTo>
                  <a:lnTo>
                    <a:pt x="20" y="21"/>
                  </a:lnTo>
                  <a:cubicBezTo>
                    <a:pt x="20" y="41"/>
                    <a:pt x="20" y="41"/>
                    <a:pt x="20" y="41"/>
                  </a:cubicBezTo>
                  <a:lnTo>
                    <a:pt x="0" y="41"/>
                  </a:lnTo>
                  <a:cubicBezTo>
                    <a:pt x="0" y="21"/>
                    <a:pt x="20"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5" name="Freeform 272">
              <a:extLst>
                <a:ext uri="{FF2B5EF4-FFF2-40B4-BE49-F238E27FC236}">
                  <a16:creationId xmlns:a16="http://schemas.microsoft.com/office/drawing/2014/main" id="{B29F3986-1CC6-4842-933B-6D6013F2F690}"/>
                </a:ext>
              </a:extLst>
            </p:cNvPr>
            <p:cNvSpPr>
              <a:spLocks noChangeArrowheads="1"/>
            </p:cNvSpPr>
            <p:nvPr/>
          </p:nvSpPr>
          <p:spPr bwMode="auto">
            <a:xfrm>
              <a:off x="5243513" y="7724775"/>
              <a:ext cx="15875" cy="15875"/>
            </a:xfrm>
            <a:custGeom>
              <a:avLst/>
              <a:gdLst>
                <a:gd name="T0" fmla="*/ 20 w 42"/>
                <a:gd name="T1" fmla="*/ 41 h 42"/>
                <a:gd name="T2" fmla="*/ 20 w 42"/>
                <a:gd name="T3" fmla="*/ 41 h 42"/>
                <a:gd name="T4" fmla="*/ 20 w 42"/>
                <a:gd name="T5" fmla="*/ 21 h 42"/>
                <a:gd name="T6" fmla="*/ 20 w 42"/>
                <a:gd name="T7" fmla="*/ 0 h 42"/>
                <a:gd name="T8" fmla="*/ 20 w 42"/>
                <a:gd name="T9" fmla="*/ 21 h 42"/>
                <a:gd name="T10" fmla="*/ 20 w 42"/>
                <a:gd name="T11" fmla="*/ 21 h 42"/>
                <a:gd name="T12" fmla="*/ 20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1"/>
                  </a:moveTo>
                  <a:lnTo>
                    <a:pt x="20" y="41"/>
                  </a:lnTo>
                  <a:cubicBezTo>
                    <a:pt x="0" y="21"/>
                    <a:pt x="0" y="21"/>
                    <a:pt x="20" y="21"/>
                  </a:cubicBezTo>
                  <a:lnTo>
                    <a:pt x="20" y="0"/>
                  </a:lnTo>
                  <a:lnTo>
                    <a:pt x="20" y="21"/>
                  </a:lnTo>
                  <a:cubicBezTo>
                    <a:pt x="41" y="21"/>
                    <a:pt x="41" y="21"/>
                    <a:pt x="20" y="21"/>
                  </a:cubicBezTo>
                  <a:cubicBezTo>
                    <a:pt x="20" y="41"/>
                    <a:pt x="20"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6" name="Freeform 273">
              <a:extLst>
                <a:ext uri="{FF2B5EF4-FFF2-40B4-BE49-F238E27FC236}">
                  <a16:creationId xmlns:a16="http://schemas.microsoft.com/office/drawing/2014/main" id="{C9FB0EE2-84B3-DF44-B397-9F2E45F725E2}"/>
                </a:ext>
              </a:extLst>
            </p:cNvPr>
            <p:cNvSpPr>
              <a:spLocks noChangeArrowheads="1"/>
            </p:cNvSpPr>
            <p:nvPr/>
          </p:nvSpPr>
          <p:spPr bwMode="auto">
            <a:xfrm>
              <a:off x="5249863" y="7747000"/>
              <a:ext cx="7937" cy="7938"/>
            </a:xfrm>
            <a:custGeom>
              <a:avLst/>
              <a:gdLst>
                <a:gd name="T0" fmla="*/ 0 w 22"/>
                <a:gd name="T1" fmla="*/ 0 h 22"/>
                <a:gd name="T2" fmla="*/ 0 w 22"/>
                <a:gd name="T3" fmla="*/ 0 h 22"/>
                <a:gd name="T4" fmla="*/ 0 w 22"/>
                <a:gd name="T5" fmla="*/ 0 h 22"/>
                <a:gd name="T6" fmla="*/ 0 w 22"/>
                <a:gd name="T7" fmla="*/ 21 h 22"/>
                <a:gd name="T8" fmla="*/ 0 w 22"/>
                <a:gd name="T9" fmla="*/ 21 h 22"/>
                <a:gd name="T10" fmla="*/ 21 w 22"/>
                <a:gd name="T11" fmla="*/ 0 h 22"/>
                <a:gd name="T12" fmla="*/ 0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0" y="0"/>
                  </a:moveTo>
                  <a:lnTo>
                    <a:pt x="0" y="0"/>
                  </a:lnTo>
                  <a:lnTo>
                    <a:pt x="0" y="0"/>
                  </a:lnTo>
                  <a:cubicBezTo>
                    <a:pt x="0" y="0"/>
                    <a:pt x="0" y="0"/>
                    <a:pt x="0" y="21"/>
                  </a:cubicBezTo>
                  <a:lnTo>
                    <a:pt x="0" y="21"/>
                  </a:lnTo>
                  <a:cubicBezTo>
                    <a:pt x="0" y="21"/>
                    <a:pt x="21" y="21"/>
                    <a:pt x="21" y="0"/>
                  </a:cubicBez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7" name="Freeform 274">
              <a:extLst>
                <a:ext uri="{FF2B5EF4-FFF2-40B4-BE49-F238E27FC236}">
                  <a16:creationId xmlns:a16="http://schemas.microsoft.com/office/drawing/2014/main" id="{F894052A-8056-2B40-BC1C-0799C5F9A0D3}"/>
                </a:ext>
              </a:extLst>
            </p:cNvPr>
            <p:cNvSpPr>
              <a:spLocks noChangeArrowheads="1"/>
            </p:cNvSpPr>
            <p:nvPr/>
          </p:nvSpPr>
          <p:spPr bwMode="auto">
            <a:xfrm>
              <a:off x="5257800" y="7710488"/>
              <a:ext cx="7938" cy="7937"/>
            </a:xfrm>
            <a:custGeom>
              <a:avLst/>
              <a:gdLst>
                <a:gd name="T0" fmla="*/ 0 w 21"/>
                <a:gd name="T1" fmla="*/ 20 h 21"/>
                <a:gd name="T2" fmla="*/ 0 w 21"/>
                <a:gd name="T3" fmla="*/ 20 h 21"/>
                <a:gd name="T4" fmla="*/ 0 w 21"/>
                <a:gd name="T5" fmla="*/ 0 h 21"/>
                <a:gd name="T6" fmla="*/ 20 w 21"/>
                <a:gd name="T7" fmla="*/ 0 h 21"/>
                <a:gd name="T8" fmla="*/ 20 w 21"/>
                <a:gd name="T9" fmla="*/ 0 h 21"/>
                <a:gd name="T10" fmla="*/ 20 w 21"/>
                <a:gd name="T11" fmla="*/ 20 h 21"/>
                <a:gd name="T12" fmla="*/ 20 w 21"/>
                <a:gd name="T13" fmla="*/ 20 h 21"/>
                <a:gd name="T14" fmla="*/ 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20"/>
                  </a:moveTo>
                  <a:lnTo>
                    <a:pt x="0" y="20"/>
                  </a:lnTo>
                  <a:cubicBezTo>
                    <a:pt x="0" y="20"/>
                    <a:pt x="0" y="20"/>
                    <a:pt x="0" y="0"/>
                  </a:cubicBezTo>
                  <a:cubicBezTo>
                    <a:pt x="0" y="0"/>
                    <a:pt x="0" y="0"/>
                    <a:pt x="20" y="0"/>
                  </a:cubicBezTo>
                  <a:lnTo>
                    <a:pt x="20" y="0"/>
                  </a:lnTo>
                  <a:lnTo>
                    <a:pt x="20" y="20"/>
                  </a:lnTo>
                  <a:lnTo>
                    <a:pt x="20" y="20"/>
                  </a:ln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8" name="Freeform 275">
              <a:extLst>
                <a:ext uri="{FF2B5EF4-FFF2-40B4-BE49-F238E27FC236}">
                  <a16:creationId xmlns:a16="http://schemas.microsoft.com/office/drawing/2014/main" id="{A26B2172-476F-014B-BBE4-A0698A5B2E16}"/>
                </a:ext>
              </a:extLst>
            </p:cNvPr>
            <p:cNvSpPr>
              <a:spLocks noChangeArrowheads="1"/>
            </p:cNvSpPr>
            <p:nvPr/>
          </p:nvSpPr>
          <p:spPr bwMode="auto">
            <a:xfrm>
              <a:off x="5235575" y="7718425"/>
              <a:ext cx="15875" cy="7938"/>
            </a:xfrm>
            <a:custGeom>
              <a:avLst/>
              <a:gdLst>
                <a:gd name="T0" fmla="*/ 21 w 42"/>
                <a:gd name="T1" fmla="*/ 0 h 22"/>
                <a:gd name="T2" fmla="*/ 21 w 42"/>
                <a:gd name="T3" fmla="*/ 0 h 22"/>
                <a:gd name="T4" fmla="*/ 0 w 42"/>
                <a:gd name="T5" fmla="*/ 0 h 22"/>
                <a:gd name="T6" fmla="*/ 0 w 42"/>
                <a:gd name="T7" fmla="*/ 0 h 22"/>
                <a:gd name="T8" fmla="*/ 41 w 42"/>
                <a:gd name="T9" fmla="*/ 21 h 22"/>
                <a:gd name="T10" fmla="*/ 41 w 42"/>
                <a:gd name="T11" fmla="*/ 0 h 22"/>
                <a:gd name="T12" fmla="*/ 21 w 4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21" y="0"/>
                  </a:moveTo>
                  <a:lnTo>
                    <a:pt x="21" y="0"/>
                  </a:lnTo>
                  <a:lnTo>
                    <a:pt x="0" y="0"/>
                  </a:lnTo>
                  <a:lnTo>
                    <a:pt x="0" y="0"/>
                  </a:lnTo>
                  <a:cubicBezTo>
                    <a:pt x="21" y="21"/>
                    <a:pt x="21" y="21"/>
                    <a:pt x="41" y="21"/>
                  </a:cubicBezTo>
                  <a:cubicBezTo>
                    <a:pt x="41" y="0"/>
                    <a:pt x="41" y="0"/>
                    <a:pt x="41" y="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79" name="Freeform 276">
              <a:extLst>
                <a:ext uri="{FF2B5EF4-FFF2-40B4-BE49-F238E27FC236}">
                  <a16:creationId xmlns:a16="http://schemas.microsoft.com/office/drawing/2014/main" id="{53FB547E-1286-D54C-BE64-7BC6A45F7AAF}"/>
                </a:ext>
              </a:extLst>
            </p:cNvPr>
            <p:cNvSpPr>
              <a:spLocks noChangeArrowheads="1"/>
            </p:cNvSpPr>
            <p:nvPr/>
          </p:nvSpPr>
          <p:spPr bwMode="auto">
            <a:xfrm>
              <a:off x="5243513" y="7688263"/>
              <a:ext cx="7937" cy="15875"/>
            </a:xfrm>
            <a:custGeom>
              <a:avLst/>
              <a:gdLst>
                <a:gd name="T0" fmla="*/ 20 w 21"/>
                <a:gd name="T1" fmla="*/ 21 h 43"/>
                <a:gd name="T2" fmla="*/ 20 w 21"/>
                <a:gd name="T3" fmla="*/ 21 h 43"/>
                <a:gd name="T4" fmla="*/ 0 w 21"/>
                <a:gd name="T5" fmla="*/ 21 h 43"/>
                <a:gd name="T6" fmla="*/ 0 w 21"/>
                <a:gd name="T7" fmla="*/ 21 h 43"/>
                <a:gd name="T8" fmla="*/ 0 w 21"/>
                <a:gd name="T9" fmla="*/ 42 h 43"/>
                <a:gd name="T10" fmla="*/ 20 w 21"/>
                <a:gd name="T11" fmla="*/ 42 h 43"/>
                <a:gd name="T12" fmla="*/ 20 w 21"/>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20" y="21"/>
                  </a:moveTo>
                  <a:lnTo>
                    <a:pt x="20" y="21"/>
                  </a:lnTo>
                  <a:cubicBezTo>
                    <a:pt x="0" y="21"/>
                    <a:pt x="0" y="0"/>
                    <a:pt x="0" y="21"/>
                  </a:cubicBezTo>
                  <a:lnTo>
                    <a:pt x="0" y="21"/>
                  </a:lnTo>
                  <a:lnTo>
                    <a:pt x="0" y="42"/>
                  </a:lnTo>
                  <a:lnTo>
                    <a:pt x="20" y="42"/>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0" name="Freeform 277">
              <a:extLst>
                <a:ext uri="{FF2B5EF4-FFF2-40B4-BE49-F238E27FC236}">
                  <a16:creationId xmlns:a16="http://schemas.microsoft.com/office/drawing/2014/main" id="{C4887EBD-6A86-B346-9032-F75E1F6D202B}"/>
                </a:ext>
              </a:extLst>
            </p:cNvPr>
            <p:cNvSpPr>
              <a:spLocks noChangeArrowheads="1"/>
            </p:cNvSpPr>
            <p:nvPr/>
          </p:nvSpPr>
          <p:spPr bwMode="auto">
            <a:xfrm>
              <a:off x="5257800" y="7673975"/>
              <a:ext cx="7938" cy="14288"/>
            </a:xfrm>
            <a:custGeom>
              <a:avLst/>
              <a:gdLst>
                <a:gd name="T0" fmla="*/ 20 w 21"/>
                <a:gd name="T1" fmla="*/ 40 h 41"/>
                <a:gd name="T2" fmla="*/ 20 w 21"/>
                <a:gd name="T3" fmla="*/ 40 h 41"/>
                <a:gd name="T4" fmla="*/ 0 w 21"/>
                <a:gd name="T5" fmla="*/ 20 h 41"/>
                <a:gd name="T6" fmla="*/ 0 w 21"/>
                <a:gd name="T7" fmla="*/ 0 h 41"/>
                <a:gd name="T8" fmla="*/ 20 w 21"/>
                <a:gd name="T9" fmla="*/ 0 h 41"/>
                <a:gd name="T10" fmla="*/ 20 w 21"/>
                <a:gd name="T11" fmla="*/ 0 h 41"/>
                <a:gd name="T12" fmla="*/ 20 w 21"/>
                <a:gd name="T13" fmla="*/ 20 h 41"/>
                <a:gd name="T14" fmla="*/ 20 w 21"/>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1">
                  <a:moveTo>
                    <a:pt x="20" y="40"/>
                  </a:moveTo>
                  <a:lnTo>
                    <a:pt x="20" y="40"/>
                  </a:lnTo>
                  <a:lnTo>
                    <a:pt x="0" y="20"/>
                  </a:lnTo>
                  <a:lnTo>
                    <a:pt x="0" y="0"/>
                  </a:lnTo>
                  <a:lnTo>
                    <a:pt x="20" y="0"/>
                  </a:lnTo>
                  <a:lnTo>
                    <a:pt x="20" y="0"/>
                  </a:lnTo>
                  <a:lnTo>
                    <a:pt x="20" y="20"/>
                  </a:lnTo>
                  <a:cubicBezTo>
                    <a:pt x="20" y="20"/>
                    <a:pt x="20" y="20"/>
                    <a:pt x="20"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1" name="Freeform 278">
              <a:extLst>
                <a:ext uri="{FF2B5EF4-FFF2-40B4-BE49-F238E27FC236}">
                  <a16:creationId xmlns:a16="http://schemas.microsoft.com/office/drawing/2014/main" id="{7BC182DA-70B6-FC48-B868-7A67D0844F34}"/>
                </a:ext>
              </a:extLst>
            </p:cNvPr>
            <p:cNvSpPr>
              <a:spLocks noChangeArrowheads="1"/>
            </p:cNvSpPr>
            <p:nvPr/>
          </p:nvSpPr>
          <p:spPr bwMode="auto">
            <a:xfrm>
              <a:off x="5243513" y="7673975"/>
              <a:ext cx="7937" cy="14288"/>
            </a:xfrm>
            <a:custGeom>
              <a:avLst/>
              <a:gdLst>
                <a:gd name="T0" fmla="*/ 20 w 21"/>
                <a:gd name="T1" fmla="*/ 40 h 41"/>
                <a:gd name="T2" fmla="*/ 20 w 21"/>
                <a:gd name="T3" fmla="*/ 40 h 41"/>
                <a:gd name="T4" fmla="*/ 0 w 21"/>
                <a:gd name="T5" fmla="*/ 40 h 41"/>
                <a:gd name="T6" fmla="*/ 0 w 21"/>
                <a:gd name="T7" fmla="*/ 20 h 41"/>
                <a:gd name="T8" fmla="*/ 0 w 21"/>
                <a:gd name="T9" fmla="*/ 0 h 41"/>
                <a:gd name="T10" fmla="*/ 20 w 21"/>
                <a:gd name="T11" fmla="*/ 0 h 41"/>
                <a:gd name="T12" fmla="*/ 20 w 21"/>
                <a:gd name="T13" fmla="*/ 20 h 41"/>
                <a:gd name="T14" fmla="*/ 20 w 21"/>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1">
                  <a:moveTo>
                    <a:pt x="20" y="40"/>
                  </a:moveTo>
                  <a:lnTo>
                    <a:pt x="20" y="40"/>
                  </a:lnTo>
                  <a:cubicBezTo>
                    <a:pt x="20" y="40"/>
                    <a:pt x="20" y="40"/>
                    <a:pt x="0" y="40"/>
                  </a:cubicBezTo>
                  <a:cubicBezTo>
                    <a:pt x="0" y="20"/>
                    <a:pt x="0" y="20"/>
                    <a:pt x="0" y="20"/>
                  </a:cubicBezTo>
                  <a:lnTo>
                    <a:pt x="0" y="0"/>
                  </a:lnTo>
                  <a:cubicBezTo>
                    <a:pt x="20" y="0"/>
                    <a:pt x="20" y="0"/>
                    <a:pt x="20" y="0"/>
                  </a:cubicBezTo>
                  <a:lnTo>
                    <a:pt x="20" y="20"/>
                  </a:lnTo>
                  <a:lnTo>
                    <a:pt x="20"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2" name="Freeform 279">
              <a:extLst>
                <a:ext uri="{FF2B5EF4-FFF2-40B4-BE49-F238E27FC236}">
                  <a16:creationId xmlns:a16="http://schemas.microsoft.com/office/drawing/2014/main" id="{384069F2-3A5D-4144-ABCC-859E9F478609}"/>
                </a:ext>
              </a:extLst>
            </p:cNvPr>
            <p:cNvSpPr>
              <a:spLocks noChangeArrowheads="1"/>
            </p:cNvSpPr>
            <p:nvPr/>
          </p:nvSpPr>
          <p:spPr bwMode="auto">
            <a:xfrm>
              <a:off x="5338763" y="7710488"/>
              <a:ext cx="15875" cy="7937"/>
            </a:xfrm>
            <a:custGeom>
              <a:avLst/>
              <a:gdLst>
                <a:gd name="T0" fmla="*/ 21 w 42"/>
                <a:gd name="T1" fmla="*/ 20 h 21"/>
                <a:gd name="T2" fmla="*/ 21 w 42"/>
                <a:gd name="T3" fmla="*/ 20 h 21"/>
                <a:gd name="T4" fmla="*/ 0 w 42"/>
                <a:gd name="T5" fmla="*/ 20 h 21"/>
                <a:gd name="T6" fmla="*/ 0 w 42"/>
                <a:gd name="T7" fmla="*/ 0 h 21"/>
                <a:gd name="T8" fmla="*/ 21 w 42"/>
                <a:gd name="T9" fmla="*/ 0 h 21"/>
                <a:gd name="T10" fmla="*/ 21 w 42"/>
                <a:gd name="T11" fmla="*/ 0 h 21"/>
                <a:gd name="T12" fmla="*/ 21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1" y="20"/>
                  </a:moveTo>
                  <a:lnTo>
                    <a:pt x="21" y="20"/>
                  </a:lnTo>
                  <a:lnTo>
                    <a:pt x="0" y="20"/>
                  </a:lnTo>
                  <a:lnTo>
                    <a:pt x="0" y="0"/>
                  </a:lnTo>
                  <a:cubicBezTo>
                    <a:pt x="0" y="0"/>
                    <a:pt x="0" y="0"/>
                    <a:pt x="21" y="0"/>
                  </a:cubicBezTo>
                  <a:lnTo>
                    <a:pt x="21" y="0"/>
                  </a:lnTo>
                  <a:cubicBezTo>
                    <a:pt x="21" y="0"/>
                    <a:pt x="41" y="2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3" name="Freeform 280">
              <a:extLst>
                <a:ext uri="{FF2B5EF4-FFF2-40B4-BE49-F238E27FC236}">
                  <a16:creationId xmlns:a16="http://schemas.microsoft.com/office/drawing/2014/main" id="{9FBA8205-4C47-1C46-9DB2-64EC6EAB4844}"/>
                </a:ext>
              </a:extLst>
            </p:cNvPr>
            <p:cNvSpPr>
              <a:spLocks noChangeArrowheads="1"/>
            </p:cNvSpPr>
            <p:nvPr/>
          </p:nvSpPr>
          <p:spPr bwMode="auto">
            <a:xfrm>
              <a:off x="5338763" y="7680325"/>
              <a:ext cx="7937" cy="7938"/>
            </a:xfrm>
            <a:custGeom>
              <a:avLst/>
              <a:gdLst>
                <a:gd name="T0" fmla="*/ 21 w 22"/>
                <a:gd name="T1" fmla="*/ 20 h 21"/>
                <a:gd name="T2" fmla="*/ 21 w 22"/>
                <a:gd name="T3" fmla="*/ 20 h 21"/>
                <a:gd name="T4" fmla="*/ 0 w 22"/>
                <a:gd name="T5" fmla="*/ 20 h 21"/>
                <a:gd name="T6" fmla="*/ 0 w 22"/>
                <a:gd name="T7" fmla="*/ 0 h 21"/>
                <a:gd name="T8" fmla="*/ 21 w 22"/>
                <a:gd name="T9" fmla="*/ 0 h 21"/>
                <a:gd name="T10" fmla="*/ 21 w 22"/>
                <a:gd name="T11" fmla="*/ 20 h 21"/>
              </a:gdLst>
              <a:ahLst/>
              <a:cxnLst>
                <a:cxn ang="0">
                  <a:pos x="T0" y="T1"/>
                </a:cxn>
                <a:cxn ang="0">
                  <a:pos x="T2" y="T3"/>
                </a:cxn>
                <a:cxn ang="0">
                  <a:pos x="T4" y="T5"/>
                </a:cxn>
                <a:cxn ang="0">
                  <a:pos x="T6" y="T7"/>
                </a:cxn>
                <a:cxn ang="0">
                  <a:pos x="T8" y="T9"/>
                </a:cxn>
                <a:cxn ang="0">
                  <a:pos x="T10" y="T11"/>
                </a:cxn>
              </a:cxnLst>
              <a:rect l="0" t="0" r="r" b="b"/>
              <a:pathLst>
                <a:path w="22" h="21">
                  <a:moveTo>
                    <a:pt x="21" y="20"/>
                  </a:moveTo>
                  <a:lnTo>
                    <a:pt x="21" y="20"/>
                  </a:lnTo>
                  <a:cubicBezTo>
                    <a:pt x="0" y="20"/>
                    <a:pt x="0" y="20"/>
                    <a:pt x="0" y="20"/>
                  </a:cubicBezTo>
                  <a:lnTo>
                    <a:pt x="0" y="0"/>
                  </a:lnTo>
                  <a:lnTo>
                    <a:pt x="21" y="0"/>
                  </a:ln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4" name="Freeform 281">
              <a:extLst>
                <a:ext uri="{FF2B5EF4-FFF2-40B4-BE49-F238E27FC236}">
                  <a16:creationId xmlns:a16="http://schemas.microsoft.com/office/drawing/2014/main" id="{31F55BC8-55FE-8148-823D-02931D8B65FE}"/>
                </a:ext>
              </a:extLst>
            </p:cNvPr>
            <p:cNvSpPr>
              <a:spLocks noChangeArrowheads="1"/>
            </p:cNvSpPr>
            <p:nvPr/>
          </p:nvSpPr>
          <p:spPr bwMode="auto">
            <a:xfrm>
              <a:off x="5338763" y="7637463"/>
              <a:ext cx="7937" cy="7937"/>
            </a:xfrm>
            <a:custGeom>
              <a:avLst/>
              <a:gdLst>
                <a:gd name="T0" fmla="*/ 21 w 22"/>
                <a:gd name="T1" fmla="*/ 21 h 22"/>
                <a:gd name="T2" fmla="*/ 21 w 22"/>
                <a:gd name="T3" fmla="*/ 21 h 22"/>
                <a:gd name="T4" fmla="*/ 0 w 22"/>
                <a:gd name="T5" fmla="*/ 21 h 22"/>
                <a:gd name="T6" fmla="*/ 0 w 22"/>
                <a:gd name="T7" fmla="*/ 21 h 22"/>
                <a:gd name="T8" fmla="*/ 0 w 22"/>
                <a:gd name="T9" fmla="*/ 0 h 22"/>
                <a:gd name="T10" fmla="*/ 21 w 22"/>
                <a:gd name="T11" fmla="*/ 0 h 22"/>
                <a:gd name="T12" fmla="*/ 21 w 22"/>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21" y="21"/>
                  </a:moveTo>
                  <a:lnTo>
                    <a:pt x="21" y="21"/>
                  </a:lnTo>
                  <a:lnTo>
                    <a:pt x="0" y="21"/>
                  </a:lnTo>
                  <a:lnTo>
                    <a:pt x="0" y="21"/>
                  </a:lnTo>
                  <a:lnTo>
                    <a:pt x="0" y="0"/>
                  </a:lnTo>
                  <a:cubicBezTo>
                    <a:pt x="21" y="0"/>
                    <a:pt x="21" y="0"/>
                    <a:pt x="21" y="0"/>
                  </a:cubicBezTo>
                  <a:lnTo>
                    <a:pt x="2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5" name="Freeform 282">
              <a:extLst>
                <a:ext uri="{FF2B5EF4-FFF2-40B4-BE49-F238E27FC236}">
                  <a16:creationId xmlns:a16="http://schemas.microsoft.com/office/drawing/2014/main" id="{3B2A2A08-69A8-0A4F-8EB8-A1B4A43919B8}"/>
                </a:ext>
              </a:extLst>
            </p:cNvPr>
            <p:cNvSpPr>
              <a:spLocks noChangeArrowheads="1"/>
            </p:cNvSpPr>
            <p:nvPr/>
          </p:nvSpPr>
          <p:spPr bwMode="auto">
            <a:xfrm>
              <a:off x="5338763" y="7615238"/>
              <a:ext cx="7937" cy="14287"/>
            </a:xfrm>
            <a:custGeom>
              <a:avLst/>
              <a:gdLst>
                <a:gd name="T0" fmla="*/ 21 w 22"/>
                <a:gd name="T1" fmla="*/ 20 h 41"/>
                <a:gd name="T2" fmla="*/ 21 w 22"/>
                <a:gd name="T3" fmla="*/ 20 h 41"/>
                <a:gd name="T4" fmla="*/ 0 w 22"/>
                <a:gd name="T5" fmla="*/ 20 h 41"/>
                <a:gd name="T6" fmla="*/ 0 w 22"/>
                <a:gd name="T7" fmla="*/ 20 h 41"/>
                <a:gd name="T8" fmla="*/ 21 w 22"/>
                <a:gd name="T9" fmla="*/ 0 h 41"/>
                <a:gd name="T10" fmla="*/ 21 w 22"/>
                <a:gd name="T11" fmla="*/ 20 h 41"/>
              </a:gdLst>
              <a:ahLst/>
              <a:cxnLst>
                <a:cxn ang="0">
                  <a:pos x="T0" y="T1"/>
                </a:cxn>
                <a:cxn ang="0">
                  <a:pos x="T2" y="T3"/>
                </a:cxn>
                <a:cxn ang="0">
                  <a:pos x="T4" y="T5"/>
                </a:cxn>
                <a:cxn ang="0">
                  <a:pos x="T6" y="T7"/>
                </a:cxn>
                <a:cxn ang="0">
                  <a:pos x="T8" y="T9"/>
                </a:cxn>
                <a:cxn ang="0">
                  <a:pos x="T10" y="T11"/>
                </a:cxn>
              </a:cxnLst>
              <a:rect l="0" t="0" r="r" b="b"/>
              <a:pathLst>
                <a:path w="22" h="41">
                  <a:moveTo>
                    <a:pt x="21" y="20"/>
                  </a:moveTo>
                  <a:lnTo>
                    <a:pt x="21" y="20"/>
                  </a:lnTo>
                  <a:cubicBezTo>
                    <a:pt x="21" y="40"/>
                    <a:pt x="0" y="20"/>
                    <a:pt x="0" y="20"/>
                  </a:cubicBezTo>
                  <a:lnTo>
                    <a:pt x="0" y="20"/>
                  </a:lnTo>
                  <a:cubicBezTo>
                    <a:pt x="0" y="0"/>
                    <a:pt x="21" y="0"/>
                    <a:pt x="21" y="0"/>
                  </a:cubicBez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6" name="Freeform 283">
              <a:extLst>
                <a:ext uri="{FF2B5EF4-FFF2-40B4-BE49-F238E27FC236}">
                  <a16:creationId xmlns:a16="http://schemas.microsoft.com/office/drawing/2014/main" id="{90241A5A-A480-1448-96D2-6B035E4D7073}"/>
                </a:ext>
              </a:extLst>
            </p:cNvPr>
            <p:cNvSpPr>
              <a:spLocks noChangeArrowheads="1"/>
            </p:cNvSpPr>
            <p:nvPr/>
          </p:nvSpPr>
          <p:spPr bwMode="auto">
            <a:xfrm>
              <a:off x="5354638" y="7615238"/>
              <a:ext cx="30162" cy="52387"/>
            </a:xfrm>
            <a:custGeom>
              <a:avLst/>
              <a:gdLst>
                <a:gd name="T0" fmla="*/ 0 w 83"/>
                <a:gd name="T1" fmla="*/ 40 h 144"/>
                <a:gd name="T2" fmla="*/ 0 w 83"/>
                <a:gd name="T3" fmla="*/ 40 h 144"/>
                <a:gd name="T4" fmla="*/ 21 w 83"/>
                <a:gd name="T5" fmla="*/ 20 h 144"/>
                <a:gd name="T6" fmla="*/ 21 w 83"/>
                <a:gd name="T7" fmla="*/ 0 h 144"/>
                <a:gd name="T8" fmla="*/ 41 w 83"/>
                <a:gd name="T9" fmla="*/ 20 h 144"/>
                <a:gd name="T10" fmla="*/ 62 w 83"/>
                <a:gd name="T11" fmla="*/ 40 h 144"/>
                <a:gd name="T12" fmla="*/ 82 w 83"/>
                <a:gd name="T13" fmla="*/ 61 h 144"/>
                <a:gd name="T14" fmla="*/ 82 w 83"/>
                <a:gd name="T15" fmla="*/ 82 h 144"/>
                <a:gd name="T16" fmla="*/ 82 w 83"/>
                <a:gd name="T17" fmla="*/ 102 h 144"/>
                <a:gd name="T18" fmla="*/ 62 w 83"/>
                <a:gd name="T19" fmla="*/ 122 h 144"/>
                <a:gd name="T20" fmla="*/ 41 w 83"/>
                <a:gd name="T21" fmla="*/ 143 h 144"/>
                <a:gd name="T22" fmla="*/ 41 w 83"/>
                <a:gd name="T23" fmla="*/ 122 h 144"/>
                <a:gd name="T24" fmla="*/ 21 w 83"/>
                <a:gd name="T25" fmla="*/ 122 h 144"/>
                <a:gd name="T26" fmla="*/ 41 w 83"/>
                <a:gd name="T27" fmla="*/ 102 h 144"/>
                <a:gd name="T28" fmla="*/ 21 w 83"/>
                <a:gd name="T29" fmla="*/ 82 h 144"/>
                <a:gd name="T30" fmla="*/ 21 w 83"/>
                <a:gd name="T31" fmla="*/ 82 h 144"/>
                <a:gd name="T32" fmla="*/ 0 w 83"/>
                <a:gd name="T33" fmla="*/ 61 h 144"/>
                <a:gd name="T34" fmla="*/ 0 w 83"/>
                <a:gd name="T35" fmla="*/ 4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3" h="144">
                  <a:moveTo>
                    <a:pt x="0" y="40"/>
                  </a:moveTo>
                  <a:lnTo>
                    <a:pt x="0" y="40"/>
                  </a:lnTo>
                  <a:lnTo>
                    <a:pt x="21" y="20"/>
                  </a:lnTo>
                  <a:lnTo>
                    <a:pt x="21" y="0"/>
                  </a:lnTo>
                  <a:cubicBezTo>
                    <a:pt x="41" y="0"/>
                    <a:pt x="41" y="20"/>
                    <a:pt x="41" y="20"/>
                  </a:cubicBezTo>
                  <a:cubicBezTo>
                    <a:pt x="62" y="20"/>
                    <a:pt x="62" y="40"/>
                    <a:pt x="62" y="40"/>
                  </a:cubicBezTo>
                  <a:lnTo>
                    <a:pt x="82" y="61"/>
                  </a:lnTo>
                  <a:lnTo>
                    <a:pt x="82" y="82"/>
                  </a:lnTo>
                  <a:cubicBezTo>
                    <a:pt x="82" y="82"/>
                    <a:pt x="82" y="82"/>
                    <a:pt x="82" y="102"/>
                  </a:cubicBezTo>
                  <a:cubicBezTo>
                    <a:pt x="82" y="102"/>
                    <a:pt x="62" y="102"/>
                    <a:pt x="62" y="122"/>
                  </a:cubicBezTo>
                  <a:cubicBezTo>
                    <a:pt x="62" y="122"/>
                    <a:pt x="62" y="143"/>
                    <a:pt x="41" y="143"/>
                  </a:cubicBezTo>
                  <a:lnTo>
                    <a:pt x="41" y="122"/>
                  </a:lnTo>
                  <a:cubicBezTo>
                    <a:pt x="21" y="122"/>
                    <a:pt x="21" y="122"/>
                    <a:pt x="21" y="122"/>
                  </a:cubicBezTo>
                  <a:cubicBezTo>
                    <a:pt x="21" y="102"/>
                    <a:pt x="41" y="102"/>
                    <a:pt x="41" y="102"/>
                  </a:cubicBezTo>
                  <a:cubicBezTo>
                    <a:pt x="41" y="102"/>
                    <a:pt x="41" y="82"/>
                    <a:pt x="21" y="82"/>
                  </a:cubicBezTo>
                  <a:lnTo>
                    <a:pt x="21" y="82"/>
                  </a:lnTo>
                  <a:cubicBezTo>
                    <a:pt x="0" y="61"/>
                    <a:pt x="0" y="61"/>
                    <a:pt x="0" y="61"/>
                  </a:cubicBezTo>
                  <a:cubicBezTo>
                    <a:pt x="0" y="40"/>
                    <a:pt x="0" y="40"/>
                    <a:pt x="0"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7" name="Freeform 284">
              <a:extLst>
                <a:ext uri="{FF2B5EF4-FFF2-40B4-BE49-F238E27FC236}">
                  <a16:creationId xmlns:a16="http://schemas.microsoft.com/office/drawing/2014/main" id="{BA141E57-EF47-1945-BF5C-4946F6049FAF}"/>
                </a:ext>
              </a:extLst>
            </p:cNvPr>
            <p:cNvSpPr>
              <a:spLocks noChangeArrowheads="1"/>
            </p:cNvSpPr>
            <p:nvPr/>
          </p:nvSpPr>
          <p:spPr bwMode="auto">
            <a:xfrm>
              <a:off x="5419725" y="7747000"/>
              <a:ext cx="15875" cy="15875"/>
            </a:xfrm>
            <a:custGeom>
              <a:avLst/>
              <a:gdLst>
                <a:gd name="T0" fmla="*/ 21 w 43"/>
                <a:gd name="T1" fmla="*/ 21 h 42"/>
                <a:gd name="T2" fmla="*/ 21 w 43"/>
                <a:gd name="T3" fmla="*/ 21 h 42"/>
                <a:gd name="T4" fmla="*/ 0 w 43"/>
                <a:gd name="T5" fmla="*/ 21 h 42"/>
                <a:gd name="T6" fmla="*/ 0 w 43"/>
                <a:gd name="T7" fmla="*/ 21 h 42"/>
                <a:gd name="T8" fmla="*/ 0 w 43"/>
                <a:gd name="T9" fmla="*/ 0 h 42"/>
                <a:gd name="T10" fmla="*/ 21 w 43"/>
                <a:gd name="T11" fmla="*/ 0 h 42"/>
                <a:gd name="T12" fmla="*/ 42 w 43"/>
                <a:gd name="T13" fmla="*/ 0 h 42"/>
                <a:gd name="T14" fmla="*/ 42 w 43"/>
                <a:gd name="T15" fmla="*/ 21 h 42"/>
                <a:gd name="T16" fmla="*/ 21 w 43"/>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2">
                  <a:moveTo>
                    <a:pt x="21" y="21"/>
                  </a:moveTo>
                  <a:lnTo>
                    <a:pt x="21" y="21"/>
                  </a:lnTo>
                  <a:cubicBezTo>
                    <a:pt x="21" y="21"/>
                    <a:pt x="21" y="41"/>
                    <a:pt x="0" y="21"/>
                  </a:cubicBezTo>
                  <a:lnTo>
                    <a:pt x="0" y="21"/>
                  </a:lnTo>
                  <a:cubicBezTo>
                    <a:pt x="0" y="0"/>
                    <a:pt x="0" y="0"/>
                    <a:pt x="0" y="0"/>
                  </a:cubicBezTo>
                  <a:lnTo>
                    <a:pt x="21" y="0"/>
                  </a:lnTo>
                  <a:lnTo>
                    <a:pt x="42" y="0"/>
                  </a:lnTo>
                  <a:cubicBezTo>
                    <a:pt x="42" y="0"/>
                    <a:pt x="42" y="0"/>
                    <a:pt x="42" y="21"/>
                  </a:cubicBezTo>
                  <a:lnTo>
                    <a:pt x="2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8" name="Freeform 285">
              <a:extLst>
                <a:ext uri="{FF2B5EF4-FFF2-40B4-BE49-F238E27FC236}">
                  <a16:creationId xmlns:a16="http://schemas.microsoft.com/office/drawing/2014/main" id="{4494431E-6C7B-704E-9DFA-05B959F86791}"/>
                </a:ext>
              </a:extLst>
            </p:cNvPr>
            <p:cNvSpPr>
              <a:spLocks noChangeArrowheads="1"/>
            </p:cNvSpPr>
            <p:nvPr/>
          </p:nvSpPr>
          <p:spPr bwMode="auto">
            <a:xfrm>
              <a:off x="5413375" y="7710488"/>
              <a:ext cx="7938" cy="15875"/>
            </a:xfrm>
            <a:custGeom>
              <a:avLst/>
              <a:gdLst>
                <a:gd name="T0" fmla="*/ 20 w 21"/>
                <a:gd name="T1" fmla="*/ 41 h 42"/>
                <a:gd name="T2" fmla="*/ 20 w 21"/>
                <a:gd name="T3" fmla="*/ 41 h 42"/>
                <a:gd name="T4" fmla="*/ 0 w 21"/>
                <a:gd name="T5" fmla="*/ 20 h 42"/>
                <a:gd name="T6" fmla="*/ 0 w 21"/>
                <a:gd name="T7" fmla="*/ 20 h 42"/>
                <a:gd name="T8" fmla="*/ 0 w 21"/>
                <a:gd name="T9" fmla="*/ 0 h 42"/>
                <a:gd name="T10" fmla="*/ 20 w 21"/>
                <a:gd name="T11" fmla="*/ 0 h 42"/>
                <a:gd name="T12" fmla="*/ 20 w 21"/>
                <a:gd name="T13" fmla="*/ 20 h 42"/>
                <a:gd name="T14" fmla="*/ 20 w 21"/>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41"/>
                  </a:moveTo>
                  <a:lnTo>
                    <a:pt x="20" y="41"/>
                  </a:lnTo>
                  <a:cubicBezTo>
                    <a:pt x="20" y="41"/>
                    <a:pt x="0" y="41"/>
                    <a:pt x="0" y="20"/>
                  </a:cubicBezTo>
                  <a:lnTo>
                    <a:pt x="0" y="20"/>
                  </a:lnTo>
                  <a:cubicBezTo>
                    <a:pt x="0" y="0"/>
                    <a:pt x="0" y="0"/>
                    <a:pt x="0" y="0"/>
                  </a:cubicBezTo>
                  <a:lnTo>
                    <a:pt x="20" y="0"/>
                  </a:lnTo>
                  <a:lnTo>
                    <a:pt x="20" y="20"/>
                  </a:ln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89" name="Freeform 286">
              <a:extLst>
                <a:ext uri="{FF2B5EF4-FFF2-40B4-BE49-F238E27FC236}">
                  <a16:creationId xmlns:a16="http://schemas.microsoft.com/office/drawing/2014/main" id="{7B0902CA-3BAC-544F-83C5-CB85B63928CA}"/>
                </a:ext>
              </a:extLst>
            </p:cNvPr>
            <p:cNvSpPr>
              <a:spLocks noChangeArrowheads="1"/>
            </p:cNvSpPr>
            <p:nvPr/>
          </p:nvSpPr>
          <p:spPr bwMode="auto">
            <a:xfrm>
              <a:off x="5419725" y="7724775"/>
              <a:ext cx="15875" cy="15875"/>
            </a:xfrm>
            <a:custGeom>
              <a:avLst/>
              <a:gdLst>
                <a:gd name="T0" fmla="*/ 21 w 43"/>
                <a:gd name="T1" fmla="*/ 0 h 42"/>
                <a:gd name="T2" fmla="*/ 21 w 43"/>
                <a:gd name="T3" fmla="*/ 0 h 42"/>
                <a:gd name="T4" fmla="*/ 0 w 43"/>
                <a:gd name="T5" fmla="*/ 21 h 42"/>
                <a:gd name="T6" fmla="*/ 21 w 43"/>
                <a:gd name="T7" fmla="*/ 41 h 42"/>
                <a:gd name="T8" fmla="*/ 42 w 43"/>
                <a:gd name="T9" fmla="*/ 21 h 42"/>
                <a:gd name="T10" fmla="*/ 21 w 43"/>
                <a:gd name="T11" fmla="*/ 21 h 42"/>
                <a:gd name="T12" fmla="*/ 21 w 43"/>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3" h="42">
                  <a:moveTo>
                    <a:pt x="21" y="0"/>
                  </a:moveTo>
                  <a:lnTo>
                    <a:pt x="21" y="0"/>
                  </a:lnTo>
                  <a:cubicBezTo>
                    <a:pt x="0" y="21"/>
                    <a:pt x="0" y="21"/>
                    <a:pt x="0" y="21"/>
                  </a:cubicBezTo>
                  <a:cubicBezTo>
                    <a:pt x="21" y="21"/>
                    <a:pt x="21" y="41"/>
                    <a:pt x="21" y="41"/>
                  </a:cubicBezTo>
                  <a:cubicBezTo>
                    <a:pt x="42" y="41"/>
                    <a:pt x="42" y="21"/>
                    <a:pt x="42" y="21"/>
                  </a:cubicBezTo>
                  <a:lnTo>
                    <a:pt x="21" y="21"/>
                  </a:lnTo>
                  <a:cubicBezTo>
                    <a:pt x="21" y="0"/>
                    <a:pt x="2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0" name="Freeform 287">
              <a:extLst>
                <a:ext uri="{FF2B5EF4-FFF2-40B4-BE49-F238E27FC236}">
                  <a16:creationId xmlns:a16="http://schemas.microsoft.com/office/drawing/2014/main" id="{EFE50D61-1D05-E64E-AF26-362C599714BD}"/>
                </a:ext>
              </a:extLst>
            </p:cNvPr>
            <p:cNvSpPr>
              <a:spLocks noChangeArrowheads="1"/>
            </p:cNvSpPr>
            <p:nvPr/>
          </p:nvSpPr>
          <p:spPr bwMode="auto">
            <a:xfrm>
              <a:off x="5413375" y="7732713"/>
              <a:ext cx="7938" cy="7937"/>
            </a:xfrm>
            <a:custGeom>
              <a:avLst/>
              <a:gdLst>
                <a:gd name="T0" fmla="*/ 0 w 21"/>
                <a:gd name="T1" fmla="*/ 0 h 21"/>
                <a:gd name="T2" fmla="*/ 0 w 21"/>
                <a:gd name="T3" fmla="*/ 0 h 21"/>
                <a:gd name="T4" fmla="*/ 0 w 21"/>
                <a:gd name="T5" fmla="*/ 0 h 21"/>
                <a:gd name="T6" fmla="*/ 0 w 21"/>
                <a:gd name="T7" fmla="*/ 20 h 21"/>
                <a:gd name="T8" fmla="*/ 0 w 21"/>
                <a:gd name="T9" fmla="*/ 20 h 21"/>
                <a:gd name="T10" fmla="*/ 0 w 21"/>
                <a:gd name="T11" fmla="*/ 0 h 21"/>
                <a:gd name="T12" fmla="*/ 20 w 21"/>
                <a:gd name="T13" fmla="*/ 0 h 21"/>
                <a:gd name="T14" fmla="*/ 0 w 2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0"/>
                  </a:moveTo>
                  <a:lnTo>
                    <a:pt x="0" y="0"/>
                  </a:lnTo>
                  <a:lnTo>
                    <a:pt x="0" y="0"/>
                  </a:lnTo>
                  <a:lnTo>
                    <a:pt x="0" y="20"/>
                  </a:lnTo>
                  <a:lnTo>
                    <a:pt x="0" y="20"/>
                  </a:lnTo>
                  <a:cubicBezTo>
                    <a:pt x="0" y="20"/>
                    <a:pt x="0" y="20"/>
                    <a:pt x="0" y="0"/>
                  </a:cubicBezTo>
                  <a:cubicBezTo>
                    <a:pt x="20" y="0"/>
                    <a:pt x="20" y="0"/>
                    <a:pt x="20" y="0"/>
                  </a:cubicBezTo>
                  <a:cubicBezTo>
                    <a:pt x="0"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1" name="Freeform 288">
              <a:extLst>
                <a:ext uri="{FF2B5EF4-FFF2-40B4-BE49-F238E27FC236}">
                  <a16:creationId xmlns:a16="http://schemas.microsoft.com/office/drawing/2014/main" id="{117DD0E3-B671-5B4E-A0DD-6A8454CCF31D}"/>
                </a:ext>
              </a:extLst>
            </p:cNvPr>
            <p:cNvSpPr>
              <a:spLocks noChangeArrowheads="1"/>
            </p:cNvSpPr>
            <p:nvPr/>
          </p:nvSpPr>
          <p:spPr bwMode="auto">
            <a:xfrm>
              <a:off x="5354638" y="7562850"/>
              <a:ext cx="15875" cy="15875"/>
            </a:xfrm>
            <a:custGeom>
              <a:avLst/>
              <a:gdLst>
                <a:gd name="T0" fmla="*/ 41 w 42"/>
                <a:gd name="T1" fmla="*/ 20 h 42"/>
                <a:gd name="T2" fmla="*/ 41 w 42"/>
                <a:gd name="T3" fmla="*/ 20 h 42"/>
                <a:gd name="T4" fmla="*/ 21 w 42"/>
                <a:gd name="T5" fmla="*/ 41 h 42"/>
                <a:gd name="T6" fmla="*/ 0 w 42"/>
                <a:gd name="T7" fmla="*/ 20 h 42"/>
                <a:gd name="T8" fmla="*/ 0 w 42"/>
                <a:gd name="T9" fmla="*/ 0 h 42"/>
                <a:gd name="T10" fmla="*/ 21 w 42"/>
                <a:gd name="T11" fmla="*/ 0 h 42"/>
                <a:gd name="T12" fmla="*/ 41 w 42"/>
                <a:gd name="T13" fmla="*/ 0 h 42"/>
                <a:gd name="T14" fmla="*/ 41 w 42"/>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1" y="20"/>
                  </a:moveTo>
                  <a:lnTo>
                    <a:pt x="41" y="20"/>
                  </a:lnTo>
                  <a:cubicBezTo>
                    <a:pt x="41" y="41"/>
                    <a:pt x="21" y="41"/>
                    <a:pt x="21" y="41"/>
                  </a:cubicBezTo>
                  <a:cubicBezTo>
                    <a:pt x="0" y="41"/>
                    <a:pt x="0" y="41"/>
                    <a:pt x="0" y="20"/>
                  </a:cubicBezTo>
                  <a:cubicBezTo>
                    <a:pt x="0" y="20"/>
                    <a:pt x="0" y="20"/>
                    <a:pt x="0" y="0"/>
                  </a:cubicBezTo>
                  <a:lnTo>
                    <a:pt x="21" y="0"/>
                  </a:lnTo>
                  <a:cubicBezTo>
                    <a:pt x="21" y="0"/>
                    <a:pt x="21" y="0"/>
                    <a:pt x="41" y="0"/>
                  </a:cubicBezTo>
                  <a:cubicBezTo>
                    <a:pt x="41" y="20"/>
                    <a:pt x="41" y="2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2" name="Freeform 289">
              <a:extLst>
                <a:ext uri="{FF2B5EF4-FFF2-40B4-BE49-F238E27FC236}">
                  <a16:creationId xmlns:a16="http://schemas.microsoft.com/office/drawing/2014/main" id="{877055D9-4B4D-DF45-B4D7-6AD67D206AD8}"/>
                </a:ext>
              </a:extLst>
            </p:cNvPr>
            <p:cNvSpPr>
              <a:spLocks noChangeArrowheads="1"/>
            </p:cNvSpPr>
            <p:nvPr/>
          </p:nvSpPr>
          <p:spPr bwMode="auto">
            <a:xfrm>
              <a:off x="5397500" y="7888288"/>
              <a:ext cx="7938" cy="7937"/>
            </a:xfrm>
            <a:custGeom>
              <a:avLst/>
              <a:gdLst>
                <a:gd name="T0" fmla="*/ 21 w 22"/>
                <a:gd name="T1" fmla="*/ 20 h 21"/>
                <a:gd name="T2" fmla="*/ 21 w 22"/>
                <a:gd name="T3" fmla="*/ 20 h 21"/>
                <a:gd name="T4" fmla="*/ 0 w 22"/>
                <a:gd name="T5" fmla="*/ 20 h 21"/>
                <a:gd name="T6" fmla="*/ 0 w 22"/>
                <a:gd name="T7" fmla="*/ 0 h 21"/>
                <a:gd name="T8" fmla="*/ 0 w 22"/>
                <a:gd name="T9" fmla="*/ 0 h 21"/>
                <a:gd name="T10" fmla="*/ 21 w 22"/>
                <a:gd name="T11" fmla="*/ 0 h 21"/>
                <a:gd name="T12" fmla="*/ 21 w 22"/>
                <a:gd name="T13" fmla="*/ 0 h 21"/>
                <a:gd name="T14" fmla="*/ 21 w 22"/>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21" y="20"/>
                  </a:moveTo>
                  <a:lnTo>
                    <a:pt x="21" y="20"/>
                  </a:lnTo>
                  <a:lnTo>
                    <a:pt x="0" y="20"/>
                  </a:lnTo>
                  <a:cubicBezTo>
                    <a:pt x="0" y="20"/>
                    <a:pt x="0" y="20"/>
                    <a:pt x="0" y="0"/>
                  </a:cubicBezTo>
                  <a:lnTo>
                    <a:pt x="0" y="0"/>
                  </a:lnTo>
                  <a:cubicBezTo>
                    <a:pt x="0" y="0"/>
                    <a:pt x="0" y="0"/>
                    <a:pt x="21" y="0"/>
                  </a:cubicBezTo>
                  <a:lnTo>
                    <a:pt x="21" y="0"/>
                  </a:ln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3" name="Freeform 290">
              <a:extLst>
                <a:ext uri="{FF2B5EF4-FFF2-40B4-BE49-F238E27FC236}">
                  <a16:creationId xmlns:a16="http://schemas.microsoft.com/office/drawing/2014/main" id="{FAF126DD-B0AA-E342-AD78-8A7ADC0FEA1B}"/>
                </a:ext>
              </a:extLst>
            </p:cNvPr>
            <p:cNvSpPr>
              <a:spLocks noChangeArrowheads="1"/>
            </p:cNvSpPr>
            <p:nvPr/>
          </p:nvSpPr>
          <p:spPr bwMode="auto">
            <a:xfrm>
              <a:off x="5405438" y="7953375"/>
              <a:ext cx="7937" cy="7938"/>
            </a:xfrm>
            <a:custGeom>
              <a:avLst/>
              <a:gdLst>
                <a:gd name="T0" fmla="*/ 20 w 21"/>
                <a:gd name="T1" fmla="*/ 20 h 21"/>
                <a:gd name="T2" fmla="*/ 20 w 21"/>
                <a:gd name="T3" fmla="*/ 20 h 21"/>
                <a:gd name="T4" fmla="*/ 20 w 21"/>
                <a:gd name="T5" fmla="*/ 0 h 21"/>
                <a:gd name="T6" fmla="*/ 0 w 21"/>
                <a:gd name="T7" fmla="*/ 0 h 21"/>
                <a:gd name="T8" fmla="*/ 0 w 21"/>
                <a:gd name="T9" fmla="*/ 20 h 21"/>
                <a:gd name="T10" fmla="*/ 20 w 21"/>
                <a:gd name="T11" fmla="*/ 20 h 21"/>
              </a:gdLst>
              <a:ahLst/>
              <a:cxnLst>
                <a:cxn ang="0">
                  <a:pos x="T0" y="T1"/>
                </a:cxn>
                <a:cxn ang="0">
                  <a:pos x="T2" y="T3"/>
                </a:cxn>
                <a:cxn ang="0">
                  <a:pos x="T4" y="T5"/>
                </a:cxn>
                <a:cxn ang="0">
                  <a:pos x="T6" y="T7"/>
                </a:cxn>
                <a:cxn ang="0">
                  <a:pos x="T8" y="T9"/>
                </a:cxn>
                <a:cxn ang="0">
                  <a:pos x="T10" y="T11"/>
                </a:cxn>
              </a:cxnLst>
              <a:rect l="0" t="0" r="r" b="b"/>
              <a:pathLst>
                <a:path w="21" h="21">
                  <a:moveTo>
                    <a:pt x="20" y="20"/>
                  </a:moveTo>
                  <a:lnTo>
                    <a:pt x="20" y="20"/>
                  </a:lnTo>
                  <a:cubicBezTo>
                    <a:pt x="20" y="0"/>
                    <a:pt x="20" y="0"/>
                    <a:pt x="20" y="0"/>
                  </a:cubicBezTo>
                  <a:lnTo>
                    <a:pt x="0" y="0"/>
                  </a:lnTo>
                  <a:lnTo>
                    <a:pt x="0" y="2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4" name="Freeform 291">
              <a:extLst>
                <a:ext uri="{FF2B5EF4-FFF2-40B4-BE49-F238E27FC236}">
                  <a16:creationId xmlns:a16="http://schemas.microsoft.com/office/drawing/2014/main" id="{0201DAEF-9920-CA40-A4A7-AC692ED1606E}"/>
                </a:ext>
              </a:extLst>
            </p:cNvPr>
            <p:cNvSpPr>
              <a:spLocks noChangeArrowheads="1"/>
            </p:cNvSpPr>
            <p:nvPr/>
          </p:nvSpPr>
          <p:spPr bwMode="auto">
            <a:xfrm>
              <a:off x="5405438" y="8078788"/>
              <a:ext cx="14287" cy="15875"/>
            </a:xfrm>
            <a:custGeom>
              <a:avLst/>
              <a:gdLst>
                <a:gd name="T0" fmla="*/ 20 w 41"/>
                <a:gd name="T1" fmla="*/ 21 h 42"/>
                <a:gd name="T2" fmla="*/ 20 w 41"/>
                <a:gd name="T3" fmla="*/ 21 h 42"/>
                <a:gd name="T4" fmla="*/ 40 w 41"/>
                <a:gd name="T5" fmla="*/ 21 h 42"/>
                <a:gd name="T6" fmla="*/ 20 w 41"/>
                <a:gd name="T7" fmla="*/ 0 h 42"/>
                <a:gd name="T8" fmla="*/ 0 w 41"/>
                <a:gd name="T9" fmla="*/ 0 h 42"/>
                <a:gd name="T10" fmla="*/ 0 w 41"/>
                <a:gd name="T11" fmla="*/ 21 h 42"/>
                <a:gd name="T12" fmla="*/ 0 w 41"/>
                <a:gd name="T13" fmla="*/ 41 h 42"/>
                <a:gd name="T14" fmla="*/ 20 w 41"/>
                <a:gd name="T15" fmla="*/ 41 h 42"/>
                <a:gd name="T16" fmla="*/ 20 w 41"/>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20" y="21"/>
                  </a:moveTo>
                  <a:lnTo>
                    <a:pt x="20" y="21"/>
                  </a:lnTo>
                  <a:cubicBezTo>
                    <a:pt x="40" y="21"/>
                    <a:pt x="40" y="21"/>
                    <a:pt x="40" y="21"/>
                  </a:cubicBezTo>
                  <a:cubicBezTo>
                    <a:pt x="40" y="0"/>
                    <a:pt x="20" y="0"/>
                    <a:pt x="20" y="0"/>
                  </a:cubicBezTo>
                  <a:lnTo>
                    <a:pt x="0" y="0"/>
                  </a:lnTo>
                  <a:lnTo>
                    <a:pt x="0" y="21"/>
                  </a:lnTo>
                  <a:cubicBezTo>
                    <a:pt x="0" y="21"/>
                    <a:pt x="0" y="21"/>
                    <a:pt x="0" y="41"/>
                  </a:cubicBezTo>
                  <a:lnTo>
                    <a:pt x="20" y="41"/>
                  </a:lnTo>
                  <a:cubicBezTo>
                    <a:pt x="20" y="41"/>
                    <a:pt x="20" y="4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5" name="Freeform 292">
              <a:extLst>
                <a:ext uri="{FF2B5EF4-FFF2-40B4-BE49-F238E27FC236}">
                  <a16:creationId xmlns:a16="http://schemas.microsoft.com/office/drawing/2014/main" id="{061D0617-17A6-334A-A781-FBBA0CF1F4BB}"/>
                </a:ext>
              </a:extLst>
            </p:cNvPr>
            <p:cNvSpPr>
              <a:spLocks noChangeArrowheads="1"/>
            </p:cNvSpPr>
            <p:nvPr/>
          </p:nvSpPr>
          <p:spPr bwMode="auto">
            <a:xfrm>
              <a:off x="5441950" y="8072438"/>
              <a:ext cx="7938" cy="7937"/>
            </a:xfrm>
            <a:custGeom>
              <a:avLst/>
              <a:gdLst>
                <a:gd name="T0" fmla="*/ 20 w 21"/>
                <a:gd name="T1" fmla="*/ 20 h 21"/>
                <a:gd name="T2" fmla="*/ 20 w 21"/>
                <a:gd name="T3" fmla="*/ 20 h 21"/>
                <a:gd name="T4" fmla="*/ 0 w 21"/>
                <a:gd name="T5" fmla="*/ 20 h 21"/>
                <a:gd name="T6" fmla="*/ 0 w 21"/>
                <a:gd name="T7" fmla="*/ 0 h 21"/>
                <a:gd name="T8" fmla="*/ 20 w 21"/>
                <a:gd name="T9" fmla="*/ 0 h 21"/>
                <a:gd name="T10" fmla="*/ 20 w 21"/>
                <a:gd name="T11" fmla="*/ 0 h 21"/>
                <a:gd name="T12" fmla="*/ 2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20"/>
                  </a:moveTo>
                  <a:lnTo>
                    <a:pt x="20" y="20"/>
                  </a:lnTo>
                  <a:lnTo>
                    <a:pt x="0" y="20"/>
                  </a:lnTo>
                  <a:lnTo>
                    <a:pt x="0" y="0"/>
                  </a:lnTo>
                  <a:lnTo>
                    <a:pt x="20" y="0"/>
                  </a:lnTo>
                  <a:lnTo>
                    <a:pt x="20" y="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6" name="Freeform 293">
              <a:extLst>
                <a:ext uri="{FF2B5EF4-FFF2-40B4-BE49-F238E27FC236}">
                  <a16:creationId xmlns:a16="http://schemas.microsoft.com/office/drawing/2014/main" id="{0ECA490F-2E72-2D4B-BA6F-E92753E4D3DE}"/>
                </a:ext>
              </a:extLst>
            </p:cNvPr>
            <p:cNvSpPr>
              <a:spLocks noChangeArrowheads="1"/>
            </p:cNvSpPr>
            <p:nvPr/>
          </p:nvSpPr>
          <p:spPr bwMode="auto">
            <a:xfrm>
              <a:off x="5427663" y="8086725"/>
              <a:ext cx="15875" cy="7938"/>
            </a:xfrm>
            <a:custGeom>
              <a:avLst/>
              <a:gdLst>
                <a:gd name="T0" fmla="*/ 21 w 42"/>
                <a:gd name="T1" fmla="*/ 0 h 21"/>
                <a:gd name="T2" fmla="*/ 21 w 42"/>
                <a:gd name="T3" fmla="*/ 0 h 21"/>
                <a:gd name="T4" fmla="*/ 0 w 42"/>
                <a:gd name="T5" fmla="*/ 0 h 21"/>
                <a:gd name="T6" fmla="*/ 21 w 42"/>
                <a:gd name="T7" fmla="*/ 20 h 21"/>
                <a:gd name="T8" fmla="*/ 41 w 42"/>
                <a:gd name="T9" fmla="*/ 20 h 21"/>
                <a:gd name="T10" fmla="*/ 41 w 42"/>
                <a:gd name="T11" fmla="*/ 0 h 21"/>
                <a:gd name="T12" fmla="*/ 21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1" y="0"/>
                  </a:moveTo>
                  <a:lnTo>
                    <a:pt x="21" y="0"/>
                  </a:lnTo>
                  <a:lnTo>
                    <a:pt x="0" y="0"/>
                  </a:lnTo>
                  <a:cubicBezTo>
                    <a:pt x="0" y="20"/>
                    <a:pt x="21" y="20"/>
                    <a:pt x="21" y="20"/>
                  </a:cubicBezTo>
                  <a:lnTo>
                    <a:pt x="41" y="20"/>
                  </a:lnTo>
                  <a:lnTo>
                    <a:pt x="41" y="0"/>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7" name="Freeform 294">
              <a:extLst>
                <a:ext uri="{FF2B5EF4-FFF2-40B4-BE49-F238E27FC236}">
                  <a16:creationId xmlns:a16="http://schemas.microsoft.com/office/drawing/2014/main" id="{71814809-41FB-3C47-B686-1563418E9397}"/>
                </a:ext>
              </a:extLst>
            </p:cNvPr>
            <p:cNvSpPr>
              <a:spLocks noChangeArrowheads="1"/>
            </p:cNvSpPr>
            <p:nvPr/>
          </p:nvSpPr>
          <p:spPr bwMode="auto">
            <a:xfrm>
              <a:off x="5419725" y="8050213"/>
              <a:ext cx="15875" cy="22225"/>
            </a:xfrm>
            <a:custGeom>
              <a:avLst/>
              <a:gdLst>
                <a:gd name="T0" fmla="*/ 21 w 43"/>
                <a:gd name="T1" fmla="*/ 62 h 63"/>
                <a:gd name="T2" fmla="*/ 21 w 43"/>
                <a:gd name="T3" fmla="*/ 62 h 63"/>
                <a:gd name="T4" fmla="*/ 0 w 43"/>
                <a:gd name="T5" fmla="*/ 41 h 63"/>
                <a:gd name="T6" fmla="*/ 21 w 43"/>
                <a:gd name="T7" fmla="*/ 21 h 63"/>
                <a:gd name="T8" fmla="*/ 21 w 43"/>
                <a:gd name="T9" fmla="*/ 0 h 63"/>
                <a:gd name="T10" fmla="*/ 21 w 43"/>
                <a:gd name="T11" fmla="*/ 0 h 63"/>
                <a:gd name="T12" fmla="*/ 42 w 43"/>
                <a:gd name="T13" fmla="*/ 21 h 63"/>
                <a:gd name="T14" fmla="*/ 21 w 43"/>
                <a:gd name="T15" fmla="*/ 21 h 63"/>
                <a:gd name="T16" fmla="*/ 42 w 43"/>
                <a:gd name="T17" fmla="*/ 41 h 63"/>
                <a:gd name="T18" fmla="*/ 42 w 43"/>
                <a:gd name="T19" fmla="*/ 62 h 63"/>
                <a:gd name="T20" fmla="*/ 21 w 43"/>
                <a:gd name="T21"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63">
                  <a:moveTo>
                    <a:pt x="21" y="62"/>
                  </a:moveTo>
                  <a:lnTo>
                    <a:pt x="21" y="62"/>
                  </a:lnTo>
                  <a:lnTo>
                    <a:pt x="0" y="41"/>
                  </a:lnTo>
                  <a:lnTo>
                    <a:pt x="21" y="21"/>
                  </a:lnTo>
                  <a:lnTo>
                    <a:pt x="21" y="0"/>
                  </a:lnTo>
                  <a:lnTo>
                    <a:pt x="21" y="0"/>
                  </a:lnTo>
                  <a:lnTo>
                    <a:pt x="42" y="21"/>
                  </a:lnTo>
                  <a:lnTo>
                    <a:pt x="21" y="21"/>
                  </a:lnTo>
                  <a:cubicBezTo>
                    <a:pt x="21" y="41"/>
                    <a:pt x="42" y="41"/>
                    <a:pt x="42" y="41"/>
                  </a:cubicBezTo>
                  <a:lnTo>
                    <a:pt x="42" y="62"/>
                  </a:lnTo>
                  <a:cubicBezTo>
                    <a:pt x="21" y="62"/>
                    <a:pt x="21" y="62"/>
                    <a:pt x="21"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8" name="Freeform 295">
              <a:extLst>
                <a:ext uri="{FF2B5EF4-FFF2-40B4-BE49-F238E27FC236}">
                  <a16:creationId xmlns:a16="http://schemas.microsoft.com/office/drawing/2014/main" id="{551BFB04-84A8-D14E-9395-4BC532440E16}"/>
                </a:ext>
              </a:extLst>
            </p:cNvPr>
            <p:cNvSpPr>
              <a:spLocks noChangeArrowheads="1"/>
            </p:cNvSpPr>
            <p:nvPr/>
          </p:nvSpPr>
          <p:spPr bwMode="auto">
            <a:xfrm>
              <a:off x="5464175" y="8056563"/>
              <a:ext cx="7938" cy="15875"/>
            </a:xfrm>
            <a:custGeom>
              <a:avLst/>
              <a:gdLst>
                <a:gd name="T0" fmla="*/ 20 w 21"/>
                <a:gd name="T1" fmla="*/ 20 h 42"/>
                <a:gd name="T2" fmla="*/ 20 w 21"/>
                <a:gd name="T3" fmla="*/ 20 h 42"/>
                <a:gd name="T4" fmla="*/ 20 w 21"/>
                <a:gd name="T5" fmla="*/ 41 h 42"/>
                <a:gd name="T6" fmla="*/ 0 w 21"/>
                <a:gd name="T7" fmla="*/ 20 h 42"/>
                <a:gd name="T8" fmla="*/ 0 w 21"/>
                <a:gd name="T9" fmla="*/ 0 h 42"/>
                <a:gd name="T10" fmla="*/ 20 w 21"/>
                <a:gd name="T11" fmla="*/ 0 h 42"/>
                <a:gd name="T12" fmla="*/ 20 w 21"/>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20"/>
                  </a:moveTo>
                  <a:lnTo>
                    <a:pt x="20" y="20"/>
                  </a:lnTo>
                  <a:lnTo>
                    <a:pt x="20" y="41"/>
                  </a:lnTo>
                  <a:cubicBezTo>
                    <a:pt x="0" y="41"/>
                    <a:pt x="0" y="20"/>
                    <a:pt x="0" y="20"/>
                  </a:cubicBezTo>
                  <a:lnTo>
                    <a:pt x="0" y="0"/>
                  </a:lnTo>
                  <a:lnTo>
                    <a:pt x="20" y="0"/>
                  </a:lnTo>
                  <a:cubicBezTo>
                    <a:pt x="20" y="0"/>
                    <a:pt x="20" y="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299" name="Freeform 296">
              <a:extLst>
                <a:ext uri="{FF2B5EF4-FFF2-40B4-BE49-F238E27FC236}">
                  <a16:creationId xmlns:a16="http://schemas.microsoft.com/office/drawing/2014/main" id="{D6D69848-1B2C-5D40-BAFA-A91381EBA1FE}"/>
                </a:ext>
              </a:extLst>
            </p:cNvPr>
            <p:cNvSpPr>
              <a:spLocks noChangeArrowheads="1"/>
            </p:cNvSpPr>
            <p:nvPr/>
          </p:nvSpPr>
          <p:spPr bwMode="auto">
            <a:xfrm>
              <a:off x="5316538" y="7866063"/>
              <a:ext cx="15875" cy="15875"/>
            </a:xfrm>
            <a:custGeom>
              <a:avLst/>
              <a:gdLst>
                <a:gd name="T0" fmla="*/ 41 w 42"/>
                <a:gd name="T1" fmla="*/ 20 h 42"/>
                <a:gd name="T2" fmla="*/ 41 w 42"/>
                <a:gd name="T3" fmla="*/ 20 h 42"/>
                <a:gd name="T4" fmla="*/ 20 w 42"/>
                <a:gd name="T5" fmla="*/ 0 h 42"/>
                <a:gd name="T6" fmla="*/ 20 w 42"/>
                <a:gd name="T7" fmla="*/ 20 h 42"/>
                <a:gd name="T8" fmla="*/ 0 w 42"/>
                <a:gd name="T9" fmla="*/ 20 h 42"/>
                <a:gd name="T10" fmla="*/ 20 w 42"/>
                <a:gd name="T11" fmla="*/ 41 h 42"/>
                <a:gd name="T12" fmla="*/ 41 w 4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41" y="20"/>
                  </a:moveTo>
                  <a:lnTo>
                    <a:pt x="41" y="20"/>
                  </a:lnTo>
                  <a:cubicBezTo>
                    <a:pt x="41" y="0"/>
                    <a:pt x="20" y="0"/>
                    <a:pt x="20" y="0"/>
                  </a:cubicBezTo>
                  <a:cubicBezTo>
                    <a:pt x="20" y="0"/>
                    <a:pt x="20" y="0"/>
                    <a:pt x="20" y="20"/>
                  </a:cubicBezTo>
                  <a:cubicBezTo>
                    <a:pt x="0" y="20"/>
                    <a:pt x="0" y="20"/>
                    <a:pt x="0" y="20"/>
                  </a:cubicBezTo>
                  <a:cubicBezTo>
                    <a:pt x="20" y="20"/>
                    <a:pt x="20" y="41"/>
                    <a:pt x="20" y="41"/>
                  </a:cubicBezTo>
                  <a:cubicBezTo>
                    <a:pt x="20" y="41"/>
                    <a:pt x="41" y="41"/>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0" name="Freeform 297">
              <a:extLst>
                <a:ext uri="{FF2B5EF4-FFF2-40B4-BE49-F238E27FC236}">
                  <a16:creationId xmlns:a16="http://schemas.microsoft.com/office/drawing/2014/main" id="{14B51090-81F2-F648-BF60-5D89D292BDE0}"/>
                </a:ext>
              </a:extLst>
            </p:cNvPr>
            <p:cNvSpPr>
              <a:spLocks noChangeArrowheads="1"/>
            </p:cNvSpPr>
            <p:nvPr/>
          </p:nvSpPr>
          <p:spPr bwMode="auto">
            <a:xfrm>
              <a:off x="5316538" y="7850188"/>
              <a:ext cx="15875" cy="15875"/>
            </a:xfrm>
            <a:custGeom>
              <a:avLst/>
              <a:gdLst>
                <a:gd name="T0" fmla="*/ 41 w 42"/>
                <a:gd name="T1" fmla="*/ 41 h 42"/>
                <a:gd name="T2" fmla="*/ 41 w 42"/>
                <a:gd name="T3" fmla="*/ 41 h 42"/>
                <a:gd name="T4" fmla="*/ 20 w 42"/>
                <a:gd name="T5" fmla="*/ 21 h 42"/>
                <a:gd name="T6" fmla="*/ 20 w 42"/>
                <a:gd name="T7" fmla="*/ 21 h 42"/>
                <a:gd name="T8" fmla="*/ 20 w 42"/>
                <a:gd name="T9" fmla="*/ 0 h 42"/>
                <a:gd name="T10" fmla="*/ 41 w 42"/>
                <a:gd name="T11" fmla="*/ 21 h 42"/>
                <a:gd name="T12" fmla="*/ 41 w 42"/>
                <a:gd name="T13" fmla="*/ 21 h 42"/>
                <a:gd name="T14" fmla="*/ 41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1" y="41"/>
                  </a:moveTo>
                  <a:lnTo>
                    <a:pt x="41" y="41"/>
                  </a:lnTo>
                  <a:cubicBezTo>
                    <a:pt x="20" y="41"/>
                    <a:pt x="20" y="21"/>
                    <a:pt x="20" y="21"/>
                  </a:cubicBezTo>
                  <a:cubicBezTo>
                    <a:pt x="20" y="21"/>
                    <a:pt x="0" y="21"/>
                    <a:pt x="20" y="21"/>
                  </a:cubicBezTo>
                  <a:cubicBezTo>
                    <a:pt x="20" y="0"/>
                    <a:pt x="20" y="0"/>
                    <a:pt x="20" y="0"/>
                  </a:cubicBezTo>
                  <a:lnTo>
                    <a:pt x="41" y="21"/>
                  </a:lnTo>
                  <a:lnTo>
                    <a:pt x="41" y="21"/>
                  </a:lnTo>
                  <a:lnTo>
                    <a:pt x="4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1" name="Freeform 298">
              <a:extLst>
                <a:ext uri="{FF2B5EF4-FFF2-40B4-BE49-F238E27FC236}">
                  <a16:creationId xmlns:a16="http://schemas.microsoft.com/office/drawing/2014/main" id="{41FE4AA7-78C3-5B4B-BDED-AC1861FE5ED0}"/>
                </a:ext>
              </a:extLst>
            </p:cNvPr>
            <p:cNvSpPr>
              <a:spLocks noChangeArrowheads="1"/>
            </p:cNvSpPr>
            <p:nvPr/>
          </p:nvSpPr>
          <p:spPr bwMode="auto">
            <a:xfrm>
              <a:off x="5310188" y="7866063"/>
              <a:ext cx="7937" cy="15875"/>
            </a:xfrm>
            <a:custGeom>
              <a:avLst/>
              <a:gdLst>
                <a:gd name="T0" fmla="*/ 21 w 22"/>
                <a:gd name="T1" fmla="*/ 20 h 42"/>
                <a:gd name="T2" fmla="*/ 21 w 22"/>
                <a:gd name="T3" fmla="*/ 20 h 42"/>
                <a:gd name="T4" fmla="*/ 0 w 22"/>
                <a:gd name="T5" fmla="*/ 20 h 42"/>
                <a:gd name="T6" fmla="*/ 0 w 22"/>
                <a:gd name="T7" fmla="*/ 20 h 42"/>
                <a:gd name="T8" fmla="*/ 0 w 22"/>
                <a:gd name="T9" fmla="*/ 41 h 42"/>
                <a:gd name="T10" fmla="*/ 21 w 22"/>
                <a:gd name="T11" fmla="*/ 41 h 42"/>
                <a:gd name="T12" fmla="*/ 21 w 2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21" y="20"/>
                  </a:moveTo>
                  <a:lnTo>
                    <a:pt x="21" y="20"/>
                  </a:lnTo>
                  <a:cubicBezTo>
                    <a:pt x="21" y="0"/>
                    <a:pt x="0" y="20"/>
                    <a:pt x="0" y="20"/>
                  </a:cubicBezTo>
                  <a:lnTo>
                    <a:pt x="0" y="20"/>
                  </a:lnTo>
                  <a:cubicBezTo>
                    <a:pt x="0" y="41"/>
                    <a:pt x="0" y="41"/>
                    <a:pt x="0" y="41"/>
                  </a:cubicBezTo>
                  <a:lnTo>
                    <a:pt x="21" y="41"/>
                  </a:lnTo>
                  <a:cubicBezTo>
                    <a:pt x="21" y="20"/>
                    <a:pt x="21" y="2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2" name="Freeform 299">
              <a:extLst>
                <a:ext uri="{FF2B5EF4-FFF2-40B4-BE49-F238E27FC236}">
                  <a16:creationId xmlns:a16="http://schemas.microsoft.com/office/drawing/2014/main" id="{24DADB3C-6B87-1B49-BDE8-6C0E01984A4C}"/>
                </a:ext>
              </a:extLst>
            </p:cNvPr>
            <p:cNvSpPr>
              <a:spLocks noChangeArrowheads="1"/>
            </p:cNvSpPr>
            <p:nvPr/>
          </p:nvSpPr>
          <p:spPr bwMode="auto">
            <a:xfrm>
              <a:off x="5302250" y="7908925"/>
              <a:ext cx="7938" cy="7938"/>
            </a:xfrm>
            <a:custGeom>
              <a:avLst/>
              <a:gdLst>
                <a:gd name="T0" fmla="*/ 20 w 21"/>
                <a:gd name="T1" fmla="*/ 0 h 22"/>
                <a:gd name="T2" fmla="*/ 20 w 21"/>
                <a:gd name="T3" fmla="*/ 0 h 22"/>
                <a:gd name="T4" fmla="*/ 0 w 21"/>
                <a:gd name="T5" fmla="*/ 0 h 22"/>
                <a:gd name="T6" fmla="*/ 0 w 21"/>
                <a:gd name="T7" fmla="*/ 21 h 22"/>
                <a:gd name="T8" fmla="*/ 0 w 21"/>
                <a:gd name="T9" fmla="*/ 21 h 22"/>
                <a:gd name="T10" fmla="*/ 20 w 21"/>
                <a:gd name="T11" fmla="*/ 21 h 22"/>
                <a:gd name="T12" fmla="*/ 20 w 21"/>
                <a:gd name="T13" fmla="*/ 21 h 22"/>
                <a:gd name="T14" fmla="*/ 20 w 2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2">
                  <a:moveTo>
                    <a:pt x="20" y="0"/>
                  </a:moveTo>
                  <a:lnTo>
                    <a:pt x="20" y="0"/>
                  </a:lnTo>
                  <a:cubicBezTo>
                    <a:pt x="0" y="0"/>
                    <a:pt x="0" y="0"/>
                    <a:pt x="0" y="0"/>
                  </a:cubicBezTo>
                  <a:lnTo>
                    <a:pt x="0" y="21"/>
                  </a:lnTo>
                  <a:lnTo>
                    <a:pt x="0" y="21"/>
                  </a:lnTo>
                  <a:cubicBezTo>
                    <a:pt x="20" y="21"/>
                    <a:pt x="20" y="21"/>
                    <a:pt x="20" y="21"/>
                  </a:cubicBezTo>
                  <a:lnTo>
                    <a:pt x="20" y="21"/>
                  </a:lnTo>
                  <a:cubicBezTo>
                    <a:pt x="20" y="0"/>
                    <a:pt x="2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3" name="Freeform 300">
              <a:extLst>
                <a:ext uri="{FF2B5EF4-FFF2-40B4-BE49-F238E27FC236}">
                  <a16:creationId xmlns:a16="http://schemas.microsoft.com/office/drawing/2014/main" id="{0027391E-FA5A-3D49-87D1-76D5F0327B11}"/>
                </a:ext>
              </a:extLst>
            </p:cNvPr>
            <p:cNvSpPr>
              <a:spLocks noChangeArrowheads="1"/>
            </p:cNvSpPr>
            <p:nvPr/>
          </p:nvSpPr>
          <p:spPr bwMode="auto">
            <a:xfrm>
              <a:off x="5294313" y="7902575"/>
              <a:ext cx="15875" cy="7938"/>
            </a:xfrm>
            <a:custGeom>
              <a:avLst/>
              <a:gdLst>
                <a:gd name="T0" fmla="*/ 21 w 42"/>
                <a:gd name="T1" fmla="*/ 21 h 22"/>
                <a:gd name="T2" fmla="*/ 21 w 42"/>
                <a:gd name="T3" fmla="*/ 21 h 22"/>
                <a:gd name="T4" fmla="*/ 0 w 42"/>
                <a:gd name="T5" fmla="*/ 0 h 22"/>
                <a:gd name="T6" fmla="*/ 21 w 42"/>
                <a:gd name="T7" fmla="*/ 0 h 22"/>
                <a:gd name="T8" fmla="*/ 21 w 42"/>
                <a:gd name="T9" fmla="*/ 0 h 22"/>
                <a:gd name="T10" fmla="*/ 41 w 42"/>
                <a:gd name="T11" fmla="*/ 0 h 22"/>
                <a:gd name="T12" fmla="*/ 21 w 42"/>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21" y="21"/>
                  </a:moveTo>
                  <a:lnTo>
                    <a:pt x="21" y="21"/>
                  </a:lnTo>
                  <a:lnTo>
                    <a:pt x="0" y="0"/>
                  </a:lnTo>
                  <a:lnTo>
                    <a:pt x="21" y="0"/>
                  </a:lnTo>
                  <a:lnTo>
                    <a:pt x="21" y="0"/>
                  </a:lnTo>
                  <a:lnTo>
                    <a:pt x="41" y="0"/>
                  </a:lnTo>
                  <a:cubicBezTo>
                    <a:pt x="41" y="21"/>
                    <a:pt x="21" y="21"/>
                    <a:pt x="2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4" name="Freeform 301">
              <a:extLst>
                <a:ext uri="{FF2B5EF4-FFF2-40B4-BE49-F238E27FC236}">
                  <a16:creationId xmlns:a16="http://schemas.microsoft.com/office/drawing/2014/main" id="{4202EDCF-618A-804A-B7DD-4E88D5EF3B74}"/>
                </a:ext>
              </a:extLst>
            </p:cNvPr>
            <p:cNvSpPr>
              <a:spLocks noChangeArrowheads="1"/>
            </p:cNvSpPr>
            <p:nvPr/>
          </p:nvSpPr>
          <p:spPr bwMode="auto">
            <a:xfrm>
              <a:off x="5280025" y="7902575"/>
              <a:ext cx="15875" cy="15875"/>
            </a:xfrm>
            <a:custGeom>
              <a:avLst/>
              <a:gdLst>
                <a:gd name="T0" fmla="*/ 41 w 42"/>
                <a:gd name="T1" fmla="*/ 21 h 43"/>
                <a:gd name="T2" fmla="*/ 41 w 42"/>
                <a:gd name="T3" fmla="*/ 21 h 43"/>
                <a:gd name="T4" fmla="*/ 21 w 42"/>
                <a:gd name="T5" fmla="*/ 21 h 43"/>
                <a:gd name="T6" fmla="*/ 21 w 42"/>
                <a:gd name="T7" fmla="*/ 0 h 43"/>
                <a:gd name="T8" fmla="*/ 21 w 42"/>
                <a:gd name="T9" fmla="*/ 0 h 43"/>
                <a:gd name="T10" fmla="*/ 0 w 42"/>
                <a:gd name="T11" fmla="*/ 0 h 43"/>
                <a:gd name="T12" fmla="*/ 21 w 42"/>
                <a:gd name="T13" fmla="*/ 21 h 43"/>
                <a:gd name="T14" fmla="*/ 21 w 42"/>
                <a:gd name="T15" fmla="*/ 42 h 43"/>
                <a:gd name="T16" fmla="*/ 41 w 42"/>
                <a:gd name="T17" fmla="*/ 42 h 43"/>
                <a:gd name="T18" fmla="*/ 41 w 42"/>
                <a:gd name="T19" fmla="*/ 2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41" y="21"/>
                  </a:moveTo>
                  <a:lnTo>
                    <a:pt x="41" y="21"/>
                  </a:lnTo>
                  <a:lnTo>
                    <a:pt x="21" y="21"/>
                  </a:lnTo>
                  <a:lnTo>
                    <a:pt x="21" y="0"/>
                  </a:lnTo>
                  <a:lnTo>
                    <a:pt x="21" y="0"/>
                  </a:lnTo>
                  <a:lnTo>
                    <a:pt x="0" y="0"/>
                  </a:lnTo>
                  <a:lnTo>
                    <a:pt x="21" y="21"/>
                  </a:lnTo>
                  <a:lnTo>
                    <a:pt x="21" y="42"/>
                  </a:lnTo>
                  <a:lnTo>
                    <a:pt x="41" y="42"/>
                  </a:lnTo>
                  <a:lnTo>
                    <a:pt x="4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5" name="Freeform 302">
              <a:extLst>
                <a:ext uri="{FF2B5EF4-FFF2-40B4-BE49-F238E27FC236}">
                  <a16:creationId xmlns:a16="http://schemas.microsoft.com/office/drawing/2014/main" id="{6E6B90DC-A6CD-3444-A322-9F985C7DD7D2}"/>
                </a:ext>
              </a:extLst>
            </p:cNvPr>
            <p:cNvSpPr>
              <a:spLocks noChangeArrowheads="1"/>
            </p:cNvSpPr>
            <p:nvPr/>
          </p:nvSpPr>
          <p:spPr bwMode="auto">
            <a:xfrm>
              <a:off x="5126038" y="7858125"/>
              <a:ext cx="30162" cy="22225"/>
            </a:xfrm>
            <a:custGeom>
              <a:avLst/>
              <a:gdLst>
                <a:gd name="T0" fmla="*/ 82 w 83"/>
                <a:gd name="T1" fmla="*/ 40 h 62"/>
                <a:gd name="T2" fmla="*/ 82 w 83"/>
                <a:gd name="T3" fmla="*/ 40 h 62"/>
                <a:gd name="T4" fmla="*/ 61 w 83"/>
                <a:gd name="T5" fmla="*/ 20 h 62"/>
                <a:gd name="T6" fmla="*/ 41 w 83"/>
                <a:gd name="T7" fmla="*/ 0 h 62"/>
                <a:gd name="T8" fmla="*/ 20 w 83"/>
                <a:gd name="T9" fmla="*/ 0 h 62"/>
                <a:gd name="T10" fmla="*/ 0 w 83"/>
                <a:gd name="T11" fmla="*/ 20 h 62"/>
                <a:gd name="T12" fmla="*/ 0 w 83"/>
                <a:gd name="T13" fmla="*/ 20 h 62"/>
                <a:gd name="T14" fmla="*/ 0 w 83"/>
                <a:gd name="T15" fmla="*/ 40 h 62"/>
                <a:gd name="T16" fmla="*/ 20 w 83"/>
                <a:gd name="T17" fmla="*/ 40 h 62"/>
                <a:gd name="T18" fmla="*/ 41 w 83"/>
                <a:gd name="T19" fmla="*/ 61 h 62"/>
                <a:gd name="T20" fmla="*/ 61 w 83"/>
                <a:gd name="T21" fmla="*/ 61 h 62"/>
                <a:gd name="T22" fmla="*/ 82 w 83"/>
                <a:gd name="T23" fmla="*/ 4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62">
                  <a:moveTo>
                    <a:pt x="82" y="40"/>
                  </a:moveTo>
                  <a:lnTo>
                    <a:pt x="82" y="40"/>
                  </a:lnTo>
                  <a:cubicBezTo>
                    <a:pt x="82" y="40"/>
                    <a:pt x="61" y="40"/>
                    <a:pt x="61" y="20"/>
                  </a:cubicBezTo>
                  <a:cubicBezTo>
                    <a:pt x="61" y="20"/>
                    <a:pt x="61" y="0"/>
                    <a:pt x="41" y="0"/>
                  </a:cubicBezTo>
                  <a:cubicBezTo>
                    <a:pt x="41" y="0"/>
                    <a:pt x="41" y="0"/>
                    <a:pt x="20" y="0"/>
                  </a:cubicBezTo>
                  <a:cubicBezTo>
                    <a:pt x="20" y="0"/>
                    <a:pt x="0" y="0"/>
                    <a:pt x="0" y="20"/>
                  </a:cubicBezTo>
                  <a:lnTo>
                    <a:pt x="0" y="20"/>
                  </a:lnTo>
                  <a:cubicBezTo>
                    <a:pt x="0" y="40"/>
                    <a:pt x="0" y="40"/>
                    <a:pt x="0" y="40"/>
                  </a:cubicBezTo>
                  <a:lnTo>
                    <a:pt x="20" y="40"/>
                  </a:lnTo>
                  <a:cubicBezTo>
                    <a:pt x="41" y="40"/>
                    <a:pt x="41" y="61"/>
                    <a:pt x="41" y="61"/>
                  </a:cubicBezTo>
                  <a:cubicBezTo>
                    <a:pt x="41" y="61"/>
                    <a:pt x="41" y="61"/>
                    <a:pt x="61" y="61"/>
                  </a:cubicBezTo>
                  <a:cubicBezTo>
                    <a:pt x="61" y="61"/>
                    <a:pt x="82" y="61"/>
                    <a:pt x="82"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6" name="Freeform 303">
              <a:extLst>
                <a:ext uri="{FF2B5EF4-FFF2-40B4-BE49-F238E27FC236}">
                  <a16:creationId xmlns:a16="http://schemas.microsoft.com/office/drawing/2014/main" id="{A05F11AE-6A97-8E4F-BF1A-36441C09FF28}"/>
                </a:ext>
              </a:extLst>
            </p:cNvPr>
            <p:cNvSpPr>
              <a:spLocks noChangeArrowheads="1"/>
            </p:cNvSpPr>
            <p:nvPr/>
          </p:nvSpPr>
          <p:spPr bwMode="auto">
            <a:xfrm>
              <a:off x="5087938" y="7872413"/>
              <a:ext cx="14287" cy="15875"/>
            </a:xfrm>
            <a:custGeom>
              <a:avLst/>
              <a:gdLst>
                <a:gd name="T0" fmla="*/ 20 w 41"/>
                <a:gd name="T1" fmla="*/ 42 h 43"/>
                <a:gd name="T2" fmla="*/ 20 w 41"/>
                <a:gd name="T3" fmla="*/ 42 h 43"/>
                <a:gd name="T4" fmla="*/ 0 w 41"/>
                <a:gd name="T5" fmla="*/ 21 h 43"/>
                <a:gd name="T6" fmla="*/ 0 w 41"/>
                <a:gd name="T7" fmla="*/ 21 h 43"/>
                <a:gd name="T8" fmla="*/ 20 w 41"/>
                <a:gd name="T9" fmla="*/ 0 h 43"/>
                <a:gd name="T10" fmla="*/ 40 w 41"/>
                <a:gd name="T11" fmla="*/ 21 h 43"/>
                <a:gd name="T12" fmla="*/ 40 w 41"/>
                <a:gd name="T13" fmla="*/ 21 h 43"/>
                <a:gd name="T14" fmla="*/ 20 w 41"/>
                <a:gd name="T15" fmla="*/ 4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3">
                  <a:moveTo>
                    <a:pt x="20" y="42"/>
                  </a:moveTo>
                  <a:lnTo>
                    <a:pt x="20" y="42"/>
                  </a:lnTo>
                  <a:cubicBezTo>
                    <a:pt x="20" y="42"/>
                    <a:pt x="20" y="21"/>
                    <a:pt x="0" y="21"/>
                  </a:cubicBezTo>
                  <a:lnTo>
                    <a:pt x="0" y="21"/>
                  </a:lnTo>
                  <a:cubicBezTo>
                    <a:pt x="20" y="0"/>
                    <a:pt x="20" y="0"/>
                    <a:pt x="20" y="0"/>
                  </a:cubicBezTo>
                  <a:cubicBezTo>
                    <a:pt x="40" y="0"/>
                    <a:pt x="40" y="21"/>
                    <a:pt x="40" y="21"/>
                  </a:cubicBezTo>
                  <a:lnTo>
                    <a:pt x="40" y="21"/>
                  </a:lnTo>
                  <a:cubicBezTo>
                    <a:pt x="40" y="42"/>
                    <a:pt x="40" y="42"/>
                    <a:pt x="20"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7" name="Freeform 304">
              <a:extLst>
                <a:ext uri="{FF2B5EF4-FFF2-40B4-BE49-F238E27FC236}">
                  <a16:creationId xmlns:a16="http://schemas.microsoft.com/office/drawing/2014/main" id="{195750BD-46FC-5845-940C-8C0E03223B7E}"/>
                </a:ext>
              </a:extLst>
            </p:cNvPr>
            <p:cNvSpPr>
              <a:spLocks noChangeArrowheads="1"/>
            </p:cNvSpPr>
            <p:nvPr/>
          </p:nvSpPr>
          <p:spPr bwMode="auto">
            <a:xfrm>
              <a:off x="5059363" y="7866063"/>
              <a:ext cx="14287" cy="15875"/>
            </a:xfrm>
            <a:custGeom>
              <a:avLst/>
              <a:gdLst>
                <a:gd name="T0" fmla="*/ 40 w 41"/>
                <a:gd name="T1" fmla="*/ 20 h 42"/>
                <a:gd name="T2" fmla="*/ 40 w 41"/>
                <a:gd name="T3" fmla="*/ 20 h 42"/>
                <a:gd name="T4" fmla="*/ 40 w 41"/>
                <a:gd name="T5" fmla="*/ 20 h 42"/>
                <a:gd name="T6" fmla="*/ 20 w 41"/>
                <a:gd name="T7" fmla="*/ 20 h 42"/>
                <a:gd name="T8" fmla="*/ 20 w 41"/>
                <a:gd name="T9" fmla="*/ 0 h 42"/>
                <a:gd name="T10" fmla="*/ 0 w 41"/>
                <a:gd name="T11" fmla="*/ 20 h 42"/>
                <a:gd name="T12" fmla="*/ 20 w 41"/>
                <a:gd name="T13" fmla="*/ 41 h 42"/>
                <a:gd name="T14" fmla="*/ 40 w 41"/>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2">
                  <a:moveTo>
                    <a:pt x="40" y="20"/>
                  </a:moveTo>
                  <a:lnTo>
                    <a:pt x="40" y="20"/>
                  </a:lnTo>
                  <a:lnTo>
                    <a:pt x="40" y="20"/>
                  </a:lnTo>
                  <a:lnTo>
                    <a:pt x="20" y="20"/>
                  </a:lnTo>
                  <a:lnTo>
                    <a:pt x="20" y="0"/>
                  </a:lnTo>
                  <a:cubicBezTo>
                    <a:pt x="0" y="0"/>
                    <a:pt x="0" y="20"/>
                    <a:pt x="0" y="20"/>
                  </a:cubicBezTo>
                  <a:cubicBezTo>
                    <a:pt x="20" y="20"/>
                    <a:pt x="20" y="41"/>
                    <a:pt x="20" y="41"/>
                  </a:cubicBezTo>
                  <a:cubicBezTo>
                    <a:pt x="40" y="41"/>
                    <a:pt x="40" y="41"/>
                    <a:pt x="4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8" name="Freeform 305">
              <a:extLst>
                <a:ext uri="{FF2B5EF4-FFF2-40B4-BE49-F238E27FC236}">
                  <a16:creationId xmlns:a16="http://schemas.microsoft.com/office/drawing/2014/main" id="{317AAEB7-758A-AD4E-B222-03B58FF91DDC}"/>
                </a:ext>
              </a:extLst>
            </p:cNvPr>
            <p:cNvSpPr>
              <a:spLocks noChangeArrowheads="1"/>
            </p:cNvSpPr>
            <p:nvPr/>
          </p:nvSpPr>
          <p:spPr bwMode="auto">
            <a:xfrm>
              <a:off x="5081588" y="7888288"/>
              <a:ext cx="7937" cy="7937"/>
            </a:xfrm>
            <a:custGeom>
              <a:avLst/>
              <a:gdLst>
                <a:gd name="T0" fmla="*/ 21 w 22"/>
                <a:gd name="T1" fmla="*/ 0 h 21"/>
                <a:gd name="T2" fmla="*/ 21 w 22"/>
                <a:gd name="T3" fmla="*/ 0 h 21"/>
                <a:gd name="T4" fmla="*/ 0 w 22"/>
                <a:gd name="T5" fmla="*/ 20 h 21"/>
                <a:gd name="T6" fmla="*/ 21 w 22"/>
                <a:gd name="T7" fmla="*/ 20 h 21"/>
                <a:gd name="T8" fmla="*/ 21 w 22"/>
                <a:gd name="T9" fmla="*/ 20 h 21"/>
                <a:gd name="T10" fmla="*/ 21 w 22"/>
                <a:gd name="T11" fmla="*/ 20 h 21"/>
                <a:gd name="T12" fmla="*/ 21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0"/>
                  </a:moveTo>
                  <a:lnTo>
                    <a:pt x="21" y="0"/>
                  </a:lnTo>
                  <a:cubicBezTo>
                    <a:pt x="0" y="0"/>
                    <a:pt x="0" y="0"/>
                    <a:pt x="0" y="20"/>
                  </a:cubicBezTo>
                  <a:cubicBezTo>
                    <a:pt x="0" y="20"/>
                    <a:pt x="0" y="20"/>
                    <a:pt x="21" y="20"/>
                  </a:cubicBezTo>
                  <a:lnTo>
                    <a:pt x="21" y="20"/>
                  </a:lnTo>
                  <a:lnTo>
                    <a:pt x="21" y="20"/>
                  </a:lnTo>
                  <a:cubicBezTo>
                    <a:pt x="21" y="0"/>
                    <a:pt x="2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09" name="Freeform 306">
              <a:extLst>
                <a:ext uri="{FF2B5EF4-FFF2-40B4-BE49-F238E27FC236}">
                  <a16:creationId xmlns:a16="http://schemas.microsoft.com/office/drawing/2014/main" id="{828F5A95-7458-C94C-A8FD-62110674AB0B}"/>
                </a:ext>
              </a:extLst>
            </p:cNvPr>
            <p:cNvSpPr>
              <a:spLocks noChangeArrowheads="1"/>
            </p:cNvSpPr>
            <p:nvPr/>
          </p:nvSpPr>
          <p:spPr bwMode="auto">
            <a:xfrm>
              <a:off x="5073650" y="7902575"/>
              <a:ext cx="15875" cy="15875"/>
            </a:xfrm>
            <a:custGeom>
              <a:avLst/>
              <a:gdLst>
                <a:gd name="T0" fmla="*/ 21 w 43"/>
                <a:gd name="T1" fmla="*/ 0 h 43"/>
                <a:gd name="T2" fmla="*/ 21 w 43"/>
                <a:gd name="T3" fmla="*/ 0 h 43"/>
                <a:gd name="T4" fmla="*/ 0 w 43"/>
                <a:gd name="T5" fmla="*/ 21 h 43"/>
                <a:gd name="T6" fmla="*/ 0 w 43"/>
                <a:gd name="T7" fmla="*/ 42 h 43"/>
                <a:gd name="T8" fmla="*/ 21 w 43"/>
                <a:gd name="T9" fmla="*/ 42 h 43"/>
                <a:gd name="T10" fmla="*/ 42 w 43"/>
                <a:gd name="T11" fmla="*/ 42 h 43"/>
                <a:gd name="T12" fmla="*/ 42 w 43"/>
                <a:gd name="T13" fmla="*/ 21 h 43"/>
                <a:gd name="T14" fmla="*/ 42 w 43"/>
                <a:gd name="T15" fmla="*/ 0 h 43"/>
                <a:gd name="T16" fmla="*/ 21 w 43"/>
                <a:gd name="T1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3">
                  <a:moveTo>
                    <a:pt x="21" y="0"/>
                  </a:moveTo>
                  <a:lnTo>
                    <a:pt x="21" y="0"/>
                  </a:lnTo>
                  <a:cubicBezTo>
                    <a:pt x="0" y="21"/>
                    <a:pt x="0" y="21"/>
                    <a:pt x="0" y="21"/>
                  </a:cubicBezTo>
                  <a:lnTo>
                    <a:pt x="0" y="42"/>
                  </a:lnTo>
                  <a:cubicBezTo>
                    <a:pt x="21" y="42"/>
                    <a:pt x="21" y="42"/>
                    <a:pt x="21" y="42"/>
                  </a:cubicBezTo>
                  <a:lnTo>
                    <a:pt x="42" y="42"/>
                  </a:lnTo>
                  <a:lnTo>
                    <a:pt x="42" y="21"/>
                  </a:lnTo>
                  <a:cubicBezTo>
                    <a:pt x="42" y="21"/>
                    <a:pt x="42" y="21"/>
                    <a:pt x="42" y="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0" name="Freeform 307">
              <a:extLst>
                <a:ext uri="{FF2B5EF4-FFF2-40B4-BE49-F238E27FC236}">
                  <a16:creationId xmlns:a16="http://schemas.microsoft.com/office/drawing/2014/main" id="{8616B761-64FF-2647-9027-E8B0B2DCD73C}"/>
                </a:ext>
              </a:extLst>
            </p:cNvPr>
            <p:cNvSpPr>
              <a:spLocks noChangeArrowheads="1"/>
            </p:cNvSpPr>
            <p:nvPr/>
          </p:nvSpPr>
          <p:spPr bwMode="auto">
            <a:xfrm>
              <a:off x="5059363" y="7894638"/>
              <a:ext cx="7937" cy="15875"/>
            </a:xfrm>
            <a:custGeom>
              <a:avLst/>
              <a:gdLst>
                <a:gd name="T0" fmla="*/ 20 w 21"/>
                <a:gd name="T1" fmla="*/ 20 h 42"/>
                <a:gd name="T2" fmla="*/ 20 w 21"/>
                <a:gd name="T3" fmla="*/ 20 h 42"/>
                <a:gd name="T4" fmla="*/ 0 w 21"/>
                <a:gd name="T5" fmla="*/ 41 h 42"/>
                <a:gd name="T6" fmla="*/ 0 w 21"/>
                <a:gd name="T7" fmla="*/ 20 h 42"/>
                <a:gd name="T8" fmla="*/ 0 w 21"/>
                <a:gd name="T9" fmla="*/ 20 h 42"/>
                <a:gd name="T10" fmla="*/ 0 w 21"/>
                <a:gd name="T11" fmla="*/ 0 h 42"/>
                <a:gd name="T12" fmla="*/ 20 w 21"/>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20"/>
                  </a:moveTo>
                  <a:lnTo>
                    <a:pt x="20" y="20"/>
                  </a:lnTo>
                  <a:cubicBezTo>
                    <a:pt x="20" y="20"/>
                    <a:pt x="20" y="41"/>
                    <a:pt x="0" y="41"/>
                  </a:cubicBezTo>
                  <a:cubicBezTo>
                    <a:pt x="0" y="41"/>
                    <a:pt x="0" y="41"/>
                    <a:pt x="0" y="20"/>
                  </a:cubicBezTo>
                  <a:lnTo>
                    <a:pt x="0" y="20"/>
                  </a:lnTo>
                  <a:cubicBezTo>
                    <a:pt x="0" y="0"/>
                    <a:pt x="0" y="0"/>
                    <a:pt x="0" y="0"/>
                  </a:cubicBezTo>
                  <a:cubicBezTo>
                    <a:pt x="0" y="0"/>
                    <a:pt x="20" y="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1" name="Freeform 308">
              <a:extLst>
                <a:ext uri="{FF2B5EF4-FFF2-40B4-BE49-F238E27FC236}">
                  <a16:creationId xmlns:a16="http://schemas.microsoft.com/office/drawing/2014/main" id="{56C8060B-3900-4F42-9159-4A074D844F29}"/>
                </a:ext>
              </a:extLst>
            </p:cNvPr>
            <p:cNvSpPr>
              <a:spLocks noChangeArrowheads="1"/>
            </p:cNvSpPr>
            <p:nvPr/>
          </p:nvSpPr>
          <p:spPr bwMode="auto">
            <a:xfrm>
              <a:off x="5065713" y="7888288"/>
              <a:ext cx="7937" cy="14287"/>
            </a:xfrm>
            <a:custGeom>
              <a:avLst/>
              <a:gdLst>
                <a:gd name="T0" fmla="*/ 20 w 21"/>
                <a:gd name="T1" fmla="*/ 0 h 41"/>
                <a:gd name="T2" fmla="*/ 20 w 21"/>
                <a:gd name="T3" fmla="*/ 0 h 41"/>
                <a:gd name="T4" fmla="*/ 0 w 21"/>
                <a:gd name="T5" fmla="*/ 0 h 41"/>
                <a:gd name="T6" fmla="*/ 0 w 21"/>
                <a:gd name="T7" fmla="*/ 20 h 41"/>
                <a:gd name="T8" fmla="*/ 20 w 21"/>
                <a:gd name="T9" fmla="*/ 40 h 41"/>
                <a:gd name="T10" fmla="*/ 20 w 21"/>
                <a:gd name="T11" fmla="*/ 20 h 41"/>
                <a:gd name="T12" fmla="*/ 20 w 21"/>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1" h="41">
                  <a:moveTo>
                    <a:pt x="20" y="0"/>
                  </a:moveTo>
                  <a:lnTo>
                    <a:pt x="20" y="0"/>
                  </a:lnTo>
                  <a:cubicBezTo>
                    <a:pt x="0" y="0"/>
                    <a:pt x="0" y="0"/>
                    <a:pt x="0" y="0"/>
                  </a:cubicBezTo>
                  <a:lnTo>
                    <a:pt x="0" y="20"/>
                  </a:lnTo>
                  <a:cubicBezTo>
                    <a:pt x="0" y="20"/>
                    <a:pt x="0" y="40"/>
                    <a:pt x="20" y="40"/>
                  </a:cubicBezTo>
                  <a:lnTo>
                    <a:pt x="20" y="20"/>
                  </a:lnTo>
                  <a:cubicBezTo>
                    <a:pt x="20" y="20"/>
                    <a:pt x="20" y="2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2" name="Freeform 309">
              <a:extLst>
                <a:ext uri="{FF2B5EF4-FFF2-40B4-BE49-F238E27FC236}">
                  <a16:creationId xmlns:a16="http://schemas.microsoft.com/office/drawing/2014/main" id="{7D2EB40B-0643-C446-9DED-55D9B1E96793}"/>
                </a:ext>
              </a:extLst>
            </p:cNvPr>
            <p:cNvSpPr>
              <a:spLocks noChangeArrowheads="1"/>
            </p:cNvSpPr>
            <p:nvPr/>
          </p:nvSpPr>
          <p:spPr bwMode="auto">
            <a:xfrm>
              <a:off x="5118100" y="7924800"/>
              <a:ext cx="15875" cy="7938"/>
            </a:xfrm>
            <a:custGeom>
              <a:avLst/>
              <a:gdLst>
                <a:gd name="T0" fmla="*/ 41 w 42"/>
                <a:gd name="T1" fmla="*/ 20 h 21"/>
                <a:gd name="T2" fmla="*/ 41 w 42"/>
                <a:gd name="T3" fmla="*/ 20 h 21"/>
                <a:gd name="T4" fmla="*/ 21 w 42"/>
                <a:gd name="T5" fmla="*/ 20 h 21"/>
                <a:gd name="T6" fmla="*/ 0 w 42"/>
                <a:gd name="T7" fmla="*/ 0 h 21"/>
                <a:gd name="T8" fmla="*/ 21 w 42"/>
                <a:gd name="T9" fmla="*/ 0 h 21"/>
                <a:gd name="T10" fmla="*/ 41 w 42"/>
                <a:gd name="T11" fmla="*/ 0 h 21"/>
                <a:gd name="T12" fmla="*/ 41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41" y="20"/>
                  </a:moveTo>
                  <a:lnTo>
                    <a:pt x="41" y="20"/>
                  </a:lnTo>
                  <a:lnTo>
                    <a:pt x="21" y="20"/>
                  </a:lnTo>
                  <a:cubicBezTo>
                    <a:pt x="21" y="20"/>
                    <a:pt x="0" y="20"/>
                    <a:pt x="0" y="0"/>
                  </a:cubicBezTo>
                  <a:lnTo>
                    <a:pt x="21" y="0"/>
                  </a:lnTo>
                  <a:cubicBezTo>
                    <a:pt x="21" y="0"/>
                    <a:pt x="21" y="0"/>
                    <a:pt x="41" y="0"/>
                  </a:cubicBezTo>
                  <a:lnTo>
                    <a:pt x="4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3" name="Freeform 310">
              <a:extLst>
                <a:ext uri="{FF2B5EF4-FFF2-40B4-BE49-F238E27FC236}">
                  <a16:creationId xmlns:a16="http://schemas.microsoft.com/office/drawing/2014/main" id="{1C1B133F-7D0C-F14B-9BF6-BFCCEEC36225}"/>
                </a:ext>
              </a:extLst>
            </p:cNvPr>
            <p:cNvSpPr>
              <a:spLocks noChangeArrowheads="1"/>
            </p:cNvSpPr>
            <p:nvPr/>
          </p:nvSpPr>
          <p:spPr bwMode="auto">
            <a:xfrm>
              <a:off x="5132388" y="7953375"/>
              <a:ext cx="38100" cy="22225"/>
            </a:xfrm>
            <a:custGeom>
              <a:avLst/>
              <a:gdLst>
                <a:gd name="T0" fmla="*/ 62 w 104"/>
                <a:gd name="T1" fmla="*/ 0 h 63"/>
                <a:gd name="T2" fmla="*/ 62 w 104"/>
                <a:gd name="T3" fmla="*/ 0 h 63"/>
                <a:gd name="T4" fmla="*/ 62 w 104"/>
                <a:gd name="T5" fmla="*/ 20 h 63"/>
                <a:gd name="T6" fmla="*/ 21 w 104"/>
                <a:gd name="T7" fmla="*/ 0 h 63"/>
                <a:gd name="T8" fmla="*/ 21 w 104"/>
                <a:gd name="T9" fmla="*/ 0 h 63"/>
                <a:gd name="T10" fmla="*/ 0 w 104"/>
                <a:gd name="T11" fmla="*/ 20 h 63"/>
                <a:gd name="T12" fmla="*/ 0 w 104"/>
                <a:gd name="T13" fmla="*/ 41 h 63"/>
                <a:gd name="T14" fmla="*/ 21 w 104"/>
                <a:gd name="T15" fmla="*/ 41 h 63"/>
                <a:gd name="T16" fmla="*/ 41 w 104"/>
                <a:gd name="T17" fmla="*/ 62 h 63"/>
                <a:gd name="T18" fmla="*/ 82 w 104"/>
                <a:gd name="T19" fmla="*/ 62 h 63"/>
                <a:gd name="T20" fmla="*/ 82 w 104"/>
                <a:gd name="T21" fmla="*/ 41 h 63"/>
                <a:gd name="T22" fmla="*/ 82 w 104"/>
                <a:gd name="T23" fmla="*/ 41 h 63"/>
                <a:gd name="T24" fmla="*/ 82 w 104"/>
                <a:gd name="T25" fmla="*/ 20 h 63"/>
                <a:gd name="T26" fmla="*/ 62 w 104"/>
                <a:gd name="T27"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63">
                  <a:moveTo>
                    <a:pt x="62" y="0"/>
                  </a:moveTo>
                  <a:lnTo>
                    <a:pt x="62" y="0"/>
                  </a:lnTo>
                  <a:lnTo>
                    <a:pt x="62" y="20"/>
                  </a:lnTo>
                  <a:cubicBezTo>
                    <a:pt x="41" y="20"/>
                    <a:pt x="41" y="0"/>
                    <a:pt x="21" y="0"/>
                  </a:cubicBezTo>
                  <a:lnTo>
                    <a:pt x="21" y="0"/>
                  </a:lnTo>
                  <a:cubicBezTo>
                    <a:pt x="0" y="0"/>
                    <a:pt x="0" y="20"/>
                    <a:pt x="0" y="20"/>
                  </a:cubicBezTo>
                  <a:lnTo>
                    <a:pt x="0" y="41"/>
                  </a:lnTo>
                  <a:cubicBezTo>
                    <a:pt x="21" y="41"/>
                    <a:pt x="21" y="41"/>
                    <a:pt x="21" y="41"/>
                  </a:cubicBezTo>
                  <a:cubicBezTo>
                    <a:pt x="41" y="41"/>
                    <a:pt x="41" y="62"/>
                    <a:pt x="41" y="62"/>
                  </a:cubicBezTo>
                  <a:cubicBezTo>
                    <a:pt x="62" y="62"/>
                    <a:pt x="62" y="62"/>
                    <a:pt x="82" y="62"/>
                  </a:cubicBezTo>
                  <a:cubicBezTo>
                    <a:pt x="82" y="62"/>
                    <a:pt x="103" y="41"/>
                    <a:pt x="82" y="41"/>
                  </a:cubicBezTo>
                  <a:lnTo>
                    <a:pt x="82" y="41"/>
                  </a:lnTo>
                  <a:cubicBezTo>
                    <a:pt x="62" y="20"/>
                    <a:pt x="82" y="20"/>
                    <a:pt x="82" y="20"/>
                  </a:cubicBezTo>
                  <a:cubicBezTo>
                    <a:pt x="82" y="20"/>
                    <a:pt x="82" y="0"/>
                    <a:pt x="62"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4" name="Freeform 311">
              <a:extLst>
                <a:ext uri="{FF2B5EF4-FFF2-40B4-BE49-F238E27FC236}">
                  <a16:creationId xmlns:a16="http://schemas.microsoft.com/office/drawing/2014/main" id="{4278ED6F-24BD-F640-A8FE-DAA02928A2CA}"/>
                </a:ext>
              </a:extLst>
            </p:cNvPr>
            <p:cNvSpPr>
              <a:spLocks noChangeArrowheads="1"/>
            </p:cNvSpPr>
            <p:nvPr/>
          </p:nvSpPr>
          <p:spPr bwMode="auto">
            <a:xfrm>
              <a:off x="5118100" y="7983538"/>
              <a:ext cx="22225" cy="22225"/>
            </a:xfrm>
            <a:custGeom>
              <a:avLst/>
              <a:gdLst>
                <a:gd name="T0" fmla="*/ 62 w 63"/>
                <a:gd name="T1" fmla="*/ 41 h 62"/>
                <a:gd name="T2" fmla="*/ 62 w 63"/>
                <a:gd name="T3" fmla="*/ 41 h 62"/>
                <a:gd name="T4" fmla="*/ 41 w 63"/>
                <a:gd name="T5" fmla="*/ 41 h 62"/>
                <a:gd name="T6" fmla="*/ 41 w 63"/>
                <a:gd name="T7" fmla="*/ 61 h 62"/>
                <a:gd name="T8" fmla="*/ 21 w 63"/>
                <a:gd name="T9" fmla="*/ 41 h 62"/>
                <a:gd name="T10" fmla="*/ 0 w 63"/>
                <a:gd name="T11" fmla="*/ 41 h 62"/>
                <a:gd name="T12" fmla="*/ 0 w 63"/>
                <a:gd name="T13" fmla="*/ 20 h 62"/>
                <a:gd name="T14" fmla="*/ 21 w 63"/>
                <a:gd name="T15" fmla="*/ 0 h 62"/>
                <a:gd name="T16" fmla="*/ 21 w 63"/>
                <a:gd name="T17" fmla="*/ 0 h 62"/>
                <a:gd name="T18" fmla="*/ 41 w 63"/>
                <a:gd name="T19" fmla="*/ 0 h 62"/>
                <a:gd name="T20" fmla="*/ 62 w 63"/>
                <a:gd name="T21" fmla="*/ 20 h 62"/>
                <a:gd name="T22" fmla="*/ 62 w 63"/>
                <a:gd name="T23"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62">
                  <a:moveTo>
                    <a:pt x="62" y="41"/>
                  </a:moveTo>
                  <a:lnTo>
                    <a:pt x="62" y="41"/>
                  </a:lnTo>
                  <a:lnTo>
                    <a:pt x="41" y="41"/>
                  </a:lnTo>
                  <a:lnTo>
                    <a:pt x="41" y="61"/>
                  </a:lnTo>
                  <a:cubicBezTo>
                    <a:pt x="21" y="61"/>
                    <a:pt x="21" y="41"/>
                    <a:pt x="21" y="41"/>
                  </a:cubicBezTo>
                  <a:lnTo>
                    <a:pt x="0" y="41"/>
                  </a:lnTo>
                  <a:lnTo>
                    <a:pt x="0" y="20"/>
                  </a:lnTo>
                  <a:cubicBezTo>
                    <a:pt x="0" y="20"/>
                    <a:pt x="0" y="0"/>
                    <a:pt x="21" y="0"/>
                  </a:cubicBezTo>
                  <a:lnTo>
                    <a:pt x="21" y="0"/>
                  </a:lnTo>
                  <a:cubicBezTo>
                    <a:pt x="41" y="0"/>
                    <a:pt x="41" y="0"/>
                    <a:pt x="41" y="0"/>
                  </a:cubicBezTo>
                  <a:cubicBezTo>
                    <a:pt x="41" y="0"/>
                    <a:pt x="41" y="20"/>
                    <a:pt x="62" y="20"/>
                  </a:cubicBezTo>
                  <a:cubicBezTo>
                    <a:pt x="62" y="20"/>
                    <a:pt x="62" y="20"/>
                    <a:pt x="62"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5" name="Freeform 312">
              <a:extLst>
                <a:ext uri="{FF2B5EF4-FFF2-40B4-BE49-F238E27FC236}">
                  <a16:creationId xmlns:a16="http://schemas.microsoft.com/office/drawing/2014/main" id="{79E93E0A-080E-FF44-B8E4-2B7C3F11008D}"/>
                </a:ext>
              </a:extLst>
            </p:cNvPr>
            <p:cNvSpPr>
              <a:spLocks noChangeArrowheads="1"/>
            </p:cNvSpPr>
            <p:nvPr/>
          </p:nvSpPr>
          <p:spPr bwMode="auto">
            <a:xfrm>
              <a:off x="5081588" y="7961313"/>
              <a:ext cx="7937" cy="7937"/>
            </a:xfrm>
            <a:custGeom>
              <a:avLst/>
              <a:gdLst>
                <a:gd name="T0" fmla="*/ 21 w 22"/>
                <a:gd name="T1" fmla="*/ 21 h 22"/>
                <a:gd name="T2" fmla="*/ 21 w 22"/>
                <a:gd name="T3" fmla="*/ 21 h 22"/>
                <a:gd name="T4" fmla="*/ 21 w 22"/>
                <a:gd name="T5" fmla="*/ 21 h 22"/>
                <a:gd name="T6" fmla="*/ 0 w 22"/>
                <a:gd name="T7" fmla="*/ 21 h 22"/>
                <a:gd name="T8" fmla="*/ 0 w 22"/>
                <a:gd name="T9" fmla="*/ 0 h 22"/>
                <a:gd name="T10" fmla="*/ 21 w 22"/>
                <a:gd name="T11" fmla="*/ 0 h 22"/>
                <a:gd name="T12" fmla="*/ 21 w 22"/>
                <a:gd name="T13" fmla="*/ 0 h 22"/>
                <a:gd name="T14" fmla="*/ 21 w 22"/>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21" y="21"/>
                  </a:moveTo>
                  <a:lnTo>
                    <a:pt x="21" y="21"/>
                  </a:lnTo>
                  <a:lnTo>
                    <a:pt x="21" y="21"/>
                  </a:lnTo>
                  <a:cubicBezTo>
                    <a:pt x="0" y="21"/>
                    <a:pt x="0" y="21"/>
                    <a:pt x="0" y="21"/>
                  </a:cubicBezTo>
                  <a:cubicBezTo>
                    <a:pt x="0" y="0"/>
                    <a:pt x="0" y="0"/>
                    <a:pt x="0" y="0"/>
                  </a:cubicBezTo>
                  <a:cubicBezTo>
                    <a:pt x="21" y="0"/>
                    <a:pt x="21" y="0"/>
                    <a:pt x="21" y="0"/>
                  </a:cubicBezTo>
                  <a:lnTo>
                    <a:pt x="21" y="0"/>
                  </a:lnTo>
                  <a:lnTo>
                    <a:pt x="2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6" name="Freeform 313">
              <a:extLst>
                <a:ext uri="{FF2B5EF4-FFF2-40B4-BE49-F238E27FC236}">
                  <a16:creationId xmlns:a16="http://schemas.microsoft.com/office/drawing/2014/main" id="{EE896B19-A288-924B-AB99-77FDFBF89391}"/>
                </a:ext>
              </a:extLst>
            </p:cNvPr>
            <p:cNvSpPr>
              <a:spLocks noChangeArrowheads="1"/>
            </p:cNvSpPr>
            <p:nvPr/>
          </p:nvSpPr>
          <p:spPr bwMode="auto">
            <a:xfrm>
              <a:off x="5073650" y="7989888"/>
              <a:ext cx="15875" cy="7937"/>
            </a:xfrm>
            <a:custGeom>
              <a:avLst/>
              <a:gdLst>
                <a:gd name="T0" fmla="*/ 21 w 43"/>
                <a:gd name="T1" fmla="*/ 0 h 22"/>
                <a:gd name="T2" fmla="*/ 21 w 43"/>
                <a:gd name="T3" fmla="*/ 0 h 22"/>
                <a:gd name="T4" fmla="*/ 21 w 43"/>
                <a:gd name="T5" fmla="*/ 0 h 22"/>
                <a:gd name="T6" fmla="*/ 0 w 43"/>
                <a:gd name="T7" fmla="*/ 0 h 22"/>
                <a:gd name="T8" fmla="*/ 0 w 43"/>
                <a:gd name="T9" fmla="*/ 21 h 22"/>
                <a:gd name="T10" fmla="*/ 0 w 43"/>
                <a:gd name="T11" fmla="*/ 21 h 22"/>
                <a:gd name="T12" fmla="*/ 21 w 43"/>
                <a:gd name="T13" fmla="*/ 21 h 22"/>
                <a:gd name="T14" fmla="*/ 21 w 43"/>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2">
                  <a:moveTo>
                    <a:pt x="21" y="0"/>
                  </a:moveTo>
                  <a:lnTo>
                    <a:pt x="21" y="0"/>
                  </a:lnTo>
                  <a:lnTo>
                    <a:pt x="21" y="0"/>
                  </a:lnTo>
                  <a:lnTo>
                    <a:pt x="0" y="0"/>
                  </a:lnTo>
                  <a:lnTo>
                    <a:pt x="0" y="21"/>
                  </a:lnTo>
                  <a:lnTo>
                    <a:pt x="0" y="21"/>
                  </a:lnTo>
                  <a:cubicBezTo>
                    <a:pt x="21" y="21"/>
                    <a:pt x="21" y="21"/>
                    <a:pt x="21" y="21"/>
                  </a:cubicBezTo>
                  <a:cubicBezTo>
                    <a:pt x="21" y="21"/>
                    <a:pt x="42"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7" name="Freeform 314">
              <a:extLst>
                <a:ext uri="{FF2B5EF4-FFF2-40B4-BE49-F238E27FC236}">
                  <a16:creationId xmlns:a16="http://schemas.microsoft.com/office/drawing/2014/main" id="{E071DB61-9658-2C47-9869-9572A94789F5}"/>
                </a:ext>
              </a:extLst>
            </p:cNvPr>
            <p:cNvSpPr>
              <a:spLocks noChangeArrowheads="1"/>
            </p:cNvSpPr>
            <p:nvPr/>
          </p:nvSpPr>
          <p:spPr bwMode="auto">
            <a:xfrm>
              <a:off x="5081588" y="7975600"/>
              <a:ext cx="15875" cy="7938"/>
            </a:xfrm>
            <a:custGeom>
              <a:avLst/>
              <a:gdLst>
                <a:gd name="T0" fmla="*/ 21 w 42"/>
                <a:gd name="T1" fmla="*/ 20 h 21"/>
                <a:gd name="T2" fmla="*/ 21 w 42"/>
                <a:gd name="T3" fmla="*/ 20 h 21"/>
                <a:gd name="T4" fmla="*/ 0 w 42"/>
                <a:gd name="T5" fmla="*/ 20 h 21"/>
                <a:gd name="T6" fmla="*/ 0 w 42"/>
                <a:gd name="T7" fmla="*/ 0 h 21"/>
                <a:gd name="T8" fmla="*/ 21 w 42"/>
                <a:gd name="T9" fmla="*/ 0 h 21"/>
                <a:gd name="T10" fmla="*/ 41 w 42"/>
                <a:gd name="T11" fmla="*/ 0 h 21"/>
                <a:gd name="T12" fmla="*/ 21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1" y="20"/>
                  </a:moveTo>
                  <a:lnTo>
                    <a:pt x="21" y="20"/>
                  </a:lnTo>
                  <a:cubicBezTo>
                    <a:pt x="0" y="20"/>
                    <a:pt x="0" y="20"/>
                    <a:pt x="0" y="20"/>
                  </a:cubicBezTo>
                  <a:lnTo>
                    <a:pt x="0" y="0"/>
                  </a:lnTo>
                  <a:cubicBezTo>
                    <a:pt x="0" y="0"/>
                    <a:pt x="0" y="0"/>
                    <a:pt x="21" y="0"/>
                  </a:cubicBezTo>
                  <a:cubicBezTo>
                    <a:pt x="21" y="0"/>
                    <a:pt x="21" y="0"/>
                    <a:pt x="41" y="0"/>
                  </a:cubicBezTo>
                  <a:cubicBezTo>
                    <a:pt x="41" y="20"/>
                    <a:pt x="21" y="2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8" name="Freeform 315">
              <a:extLst>
                <a:ext uri="{FF2B5EF4-FFF2-40B4-BE49-F238E27FC236}">
                  <a16:creationId xmlns:a16="http://schemas.microsoft.com/office/drawing/2014/main" id="{A52AA6D0-0963-2542-BD43-992EF12F00A9}"/>
                </a:ext>
              </a:extLst>
            </p:cNvPr>
            <p:cNvSpPr>
              <a:spLocks noChangeArrowheads="1"/>
            </p:cNvSpPr>
            <p:nvPr/>
          </p:nvSpPr>
          <p:spPr bwMode="auto">
            <a:xfrm>
              <a:off x="5102225" y="7975600"/>
              <a:ext cx="15875" cy="7938"/>
            </a:xfrm>
            <a:custGeom>
              <a:avLst/>
              <a:gdLst>
                <a:gd name="T0" fmla="*/ 21 w 42"/>
                <a:gd name="T1" fmla="*/ 0 h 21"/>
                <a:gd name="T2" fmla="*/ 21 w 42"/>
                <a:gd name="T3" fmla="*/ 0 h 21"/>
                <a:gd name="T4" fmla="*/ 0 w 42"/>
                <a:gd name="T5" fmla="*/ 0 h 21"/>
                <a:gd name="T6" fmla="*/ 21 w 42"/>
                <a:gd name="T7" fmla="*/ 20 h 21"/>
                <a:gd name="T8" fmla="*/ 21 w 42"/>
                <a:gd name="T9" fmla="*/ 20 h 21"/>
                <a:gd name="T10" fmla="*/ 41 w 42"/>
                <a:gd name="T11" fmla="*/ 0 h 21"/>
                <a:gd name="T12" fmla="*/ 21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1" y="0"/>
                  </a:moveTo>
                  <a:lnTo>
                    <a:pt x="21" y="0"/>
                  </a:lnTo>
                  <a:lnTo>
                    <a:pt x="0" y="0"/>
                  </a:lnTo>
                  <a:cubicBezTo>
                    <a:pt x="0" y="20"/>
                    <a:pt x="0" y="20"/>
                    <a:pt x="21" y="20"/>
                  </a:cubicBezTo>
                  <a:lnTo>
                    <a:pt x="21" y="20"/>
                  </a:lnTo>
                  <a:cubicBezTo>
                    <a:pt x="41" y="20"/>
                    <a:pt x="41" y="0"/>
                    <a:pt x="41" y="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19" name="Freeform 316">
              <a:extLst>
                <a:ext uri="{FF2B5EF4-FFF2-40B4-BE49-F238E27FC236}">
                  <a16:creationId xmlns:a16="http://schemas.microsoft.com/office/drawing/2014/main" id="{588BBDE4-0B05-0349-A454-F8462E59A53C}"/>
                </a:ext>
              </a:extLst>
            </p:cNvPr>
            <p:cNvSpPr>
              <a:spLocks noChangeArrowheads="1"/>
            </p:cNvSpPr>
            <p:nvPr/>
          </p:nvSpPr>
          <p:spPr bwMode="auto">
            <a:xfrm>
              <a:off x="4948238" y="7783513"/>
              <a:ext cx="22225" cy="30162"/>
            </a:xfrm>
            <a:custGeom>
              <a:avLst/>
              <a:gdLst>
                <a:gd name="T0" fmla="*/ 62 w 63"/>
                <a:gd name="T1" fmla="*/ 82 h 83"/>
                <a:gd name="T2" fmla="*/ 62 w 63"/>
                <a:gd name="T3" fmla="*/ 82 h 83"/>
                <a:gd name="T4" fmla="*/ 41 w 63"/>
                <a:gd name="T5" fmla="*/ 62 h 83"/>
                <a:gd name="T6" fmla="*/ 20 w 63"/>
                <a:gd name="T7" fmla="*/ 62 h 83"/>
                <a:gd name="T8" fmla="*/ 0 w 63"/>
                <a:gd name="T9" fmla="*/ 42 h 83"/>
                <a:gd name="T10" fmla="*/ 0 w 63"/>
                <a:gd name="T11" fmla="*/ 21 h 83"/>
                <a:gd name="T12" fmla="*/ 0 w 63"/>
                <a:gd name="T13" fmla="*/ 0 h 83"/>
                <a:gd name="T14" fmla="*/ 0 w 63"/>
                <a:gd name="T15" fmla="*/ 0 h 83"/>
                <a:gd name="T16" fmla="*/ 20 w 63"/>
                <a:gd name="T17" fmla="*/ 0 h 83"/>
                <a:gd name="T18" fmla="*/ 41 w 63"/>
                <a:gd name="T19" fmla="*/ 0 h 83"/>
                <a:gd name="T20" fmla="*/ 62 w 63"/>
                <a:gd name="T21" fmla="*/ 21 h 83"/>
                <a:gd name="T22" fmla="*/ 62 w 63"/>
                <a:gd name="T23" fmla="*/ 21 h 83"/>
                <a:gd name="T24" fmla="*/ 62 w 63"/>
                <a:gd name="T25" fmla="*/ 42 h 83"/>
                <a:gd name="T26" fmla="*/ 62 w 63"/>
                <a:gd name="T27" fmla="*/ 62 h 83"/>
                <a:gd name="T28" fmla="*/ 62 w 63"/>
                <a:gd name="T29"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3" h="83">
                  <a:moveTo>
                    <a:pt x="62" y="82"/>
                  </a:moveTo>
                  <a:lnTo>
                    <a:pt x="62" y="82"/>
                  </a:lnTo>
                  <a:cubicBezTo>
                    <a:pt x="41" y="82"/>
                    <a:pt x="41" y="62"/>
                    <a:pt x="41" y="62"/>
                  </a:cubicBezTo>
                  <a:cubicBezTo>
                    <a:pt x="20" y="62"/>
                    <a:pt x="20" y="62"/>
                    <a:pt x="20" y="62"/>
                  </a:cubicBezTo>
                  <a:lnTo>
                    <a:pt x="0" y="42"/>
                  </a:lnTo>
                  <a:lnTo>
                    <a:pt x="0" y="21"/>
                  </a:lnTo>
                  <a:cubicBezTo>
                    <a:pt x="0" y="21"/>
                    <a:pt x="0" y="21"/>
                    <a:pt x="0" y="0"/>
                  </a:cubicBezTo>
                  <a:lnTo>
                    <a:pt x="0" y="0"/>
                  </a:lnTo>
                  <a:lnTo>
                    <a:pt x="20" y="0"/>
                  </a:lnTo>
                  <a:lnTo>
                    <a:pt x="41" y="0"/>
                  </a:lnTo>
                  <a:cubicBezTo>
                    <a:pt x="41" y="0"/>
                    <a:pt x="41" y="21"/>
                    <a:pt x="62" y="21"/>
                  </a:cubicBezTo>
                  <a:lnTo>
                    <a:pt x="62" y="21"/>
                  </a:lnTo>
                  <a:cubicBezTo>
                    <a:pt x="62" y="42"/>
                    <a:pt x="62" y="42"/>
                    <a:pt x="62" y="42"/>
                  </a:cubicBezTo>
                  <a:cubicBezTo>
                    <a:pt x="62" y="62"/>
                    <a:pt x="62" y="62"/>
                    <a:pt x="62" y="62"/>
                  </a:cubicBezTo>
                  <a:cubicBezTo>
                    <a:pt x="62" y="62"/>
                    <a:pt x="62" y="62"/>
                    <a:pt x="62"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0" name="Freeform 317">
              <a:extLst>
                <a:ext uri="{FF2B5EF4-FFF2-40B4-BE49-F238E27FC236}">
                  <a16:creationId xmlns:a16="http://schemas.microsoft.com/office/drawing/2014/main" id="{DA6EEEDC-278C-A641-9655-112B8BAF8AF8}"/>
                </a:ext>
              </a:extLst>
            </p:cNvPr>
            <p:cNvSpPr>
              <a:spLocks noChangeArrowheads="1"/>
            </p:cNvSpPr>
            <p:nvPr/>
          </p:nvSpPr>
          <p:spPr bwMode="auto">
            <a:xfrm>
              <a:off x="4992688" y="7827963"/>
              <a:ext cx="22225" cy="14287"/>
            </a:xfrm>
            <a:custGeom>
              <a:avLst/>
              <a:gdLst>
                <a:gd name="T0" fmla="*/ 41 w 62"/>
                <a:gd name="T1" fmla="*/ 40 h 41"/>
                <a:gd name="T2" fmla="*/ 41 w 62"/>
                <a:gd name="T3" fmla="*/ 40 h 41"/>
                <a:gd name="T4" fmla="*/ 41 w 62"/>
                <a:gd name="T5" fmla="*/ 20 h 41"/>
                <a:gd name="T6" fmla="*/ 21 w 62"/>
                <a:gd name="T7" fmla="*/ 20 h 41"/>
                <a:gd name="T8" fmla="*/ 0 w 62"/>
                <a:gd name="T9" fmla="*/ 0 h 41"/>
                <a:gd name="T10" fmla="*/ 21 w 62"/>
                <a:gd name="T11" fmla="*/ 0 h 41"/>
                <a:gd name="T12" fmla="*/ 41 w 62"/>
                <a:gd name="T13" fmla="*/ 0 h 41"/>
                <a:gd name="T14" fmla="*/ 41 w 62"/>
                <a:gd name="T15" fmla="*/ 0 h 41"/>
                <a:gd name="T16" fmla="*/ 61 w 62"/>
                <a:gd name="T17" fmla="*/ 20 h 41"/>
                <a:gd name="T18" fmla="*/ 61 w 62"/>
                <a:gd name="T19" fmla="*/ 40 h 41"/>
                <a:gd name="T20" fmla="*/ 41 w 62"/>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1">
                  <a:moveTo>
                    <a:pt x="41" y="40"/>
                  </a:moveTo>
                  <a:lnTo>
                    <a:pt x="41" y="40"/>
                  </a:lnTo>
                  <a:lnTo>
                    <a:pt x="41" y="20"/>
                  </a:lnTo>
                  <a:cubicBezTo>
                    <a:pt x="21" y="20"/>
                    <a:pt x="21" y="20"/>
                    <a:pt x="21" y="20"/>
                  </a:cubicBezTo>
                  <a:cubicBezTo>
                    <a:pt x="0" y="20"/>
                    <a:pt x="0" y="20"/>
                    <a:pt x="0" y="0"/>
                  </a:cubicBezTo>
                  <a:cubicBezTo>
                    <a:pt x="0" y="0"/>
                    <a:pt x="0" y="0"/>
                    <a:pt x="21" y="0"/>
                  </a:cubicBezTo>
                  <a:cubicBezTo>
                    <a:pt x="21" y="0"/>
                    <a:pt x="21" y="0"/>
                    <a:pt x="41" y="0"/>
                  </a:cubicBezTo>
                  <a:lnTo>
                    <a:pt x="41" y="0"/>
                  </a:lnTo>
                  <a:cubicBezTo>
                    <a:pt x="61" y="0"/>
                    <a:pt x="61" y="0"/>
                    <a:pt x="61" y="20"/>
                  </a:cubicBezTo>
                  <a:lnTo>
                    <a:pt x="61" y="40"/>
                  </a:lnTo>
                  <a:lnTo>
                    <a:pt x="41"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1" name="Freeform 318">
              <a:extLst>
                <a:ext uri="{FF2B5EF4-FFF2-40B4-BE49-F238E27FC236}">
                  <a16:creationId xmlns:a16="http://schemas.microsoft.com/office/drawing/2014/main" id="{96249604-0668-3140-97EB-7E7A64730820}"/>
                </a:ext>
              </a:extLst>
            </p:cNvPr>
            <p:cNvSpPr>
              <a:spLocks noChangeArrowheads="1"/>
            </p:cNvSpPr>
            <p:nvPr/>
          </p:nvSpPr>
          <p:spPr bwMode="auto">
            <a:xfrm>
              <a:off x="5000625" y="7850188"/>
              <a:ext cx="7938" cy="15875"/>
            </a:xfrm>
            <a:custGeom>
              <a:avLst/>
              <a:gdLst>
                <a:gd name="T0" fmla="*/ 20 w 21"/>
                <a:gd name="T1" fmla="*/ 0 h 42"/>
                <a:gd name="T2" fmla="*/ 20 w 21"/>
                <a:gd name="T3" fmla="*/ 0 h 42"/>
                <a:gd name="T4" fmla="*/ 0 w 21"/>
                <a:gd name="T5" fmla="*/ 0 h 42"/>
                <a:gd name="T6" fmla="*/ 0 w 21"/>
                <a:gd name="T7" fmla="*/ 0 h 42"/>
                <a:gd name="T8" fmla="*/ 0 w 21"/>
                <a:gd name="T9" fmla="*/ 21 h 42"/>
                <a:gd name="T10" fmla="*/ 0 w 21"/>
                <a:gd name="T11" fmla="*/ 41 h 42"/>
                <a:gd name="T12" fmla="*/ 20 w 21"/>
                <a:gd name="T13" fmla="*/ 41 h 42"/>
                <a:gd name="T14" fmla="*/ 20 w 21"/>
                <a:gd name="T15" fmla="*/ 41 h 42"/>
                <a:gd name="T16" fmla="*/ 20 w 21"/>
                <a:gd name="T17" fmla="*/ 21 h 42"/>
                <a:gd name="T18" fmla="*/ 20 w 21"/>
                <a:gd name="T1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42">
                  <a:moveTo>
                    <a:pt x="20" y="0"/>
                  </a:moveTo>
                  <a:lnTo>
                    <a:pt x="20" y="0"/>
                  </a:lnTo>
                  <a:lnTo>
                    <a:pt x="0" y="0"/>
                  </a:lnTo>
                  <a:lnTo>
                    <a:pt x="0" y="0"/>
                  </a:lnTo>
                  <a:cubicBezTo>
                    <a:pt x="0" y="21"/>
                    <a:pt x="0" y="21"/>
                    <a:pt x="0" y="21"/>
                  </a:cubicBezTo>
                  <a:lnTo>
                    <a:pt x="0" y="41"/>
                  </a:lnTo>
                  <a:cubicBezTo>
                    <a:pt x="0" y="41"/>
                    <a:pt x="0" y="41"/>
                    <a:pt x="20" y="41"/>
                  </a:cubicBezTo>
                  <a:lnTo>
                    <a:pt x="20" y="41"/>
                  </a:lnTo>
                  <a:lnTo>
                    <a:pt x="20" y="21"/>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2" name="Freeform 319">
              <a:extLst>
                <a:ext uri="{FF2B5EF4-FFF2-40B4-BE49-F238E27FC236}">
                  <a16:creationId xmlns:a16="http://schemas.microsoft.com/office/drawing/2014/main" id="{6D9B3E81-03B0-5343-B105-13E45BA4A6F5}"/>
                </a:ext>
              </a:extLst>
            </p:cNvPr>
            <p:cNvSpPr>
              <a:spLocks noChangeArrowheads="1"/>
            </p:cNvSpPr>
            <p:nvPr/>
          </p:nvSpPr>
          <p:spPr bwMode="auto">
            <a:xfrm>
              <a:off x="5014913" y="7866063"/>
              <a:ext cx="38100" cy="30162"/>
            </a:xfrm>
            <a:custGeom>
              <a:avLst/>
              <a:gdLst>
                <a:gd name="T0" fmla="*/ 103 w 104"/>
                <a:gd name="T1" fmla="*/ 41 h 83"/>
                <a:gd name="T2" fmla="*/ 103 w 104"/>
                <a:gd name="T3" fmla="*/ 41 h 83"/>
                <a:gd name="T4" fmla="*/ 82 w 104"/>
                <a:gd name="T5" fmla="*/ 20 h 83"/>
                <a:gd name="T6" fmla="*/ 82 w 104"/>
                <a:gd name="T7" fmla="*/ 0 h 83"/>
                <a:gd name="T8" fmla="*/ 62 w 104"/>
                <a:gd name="T9" fmla="*/ 0 h 83"/>
                <a:gd name="T10" fmla="*/ 21 w 104"/>
                <a:gd name="T11" fmla="*/ 0 h 83"/>
                <a:gd name="T12" fmla="*/ 21 w 104"/>
                <a:gd name="T13" fmla="*/ 0 h 83"/>
                <a:gd name="T14" fmla="*/ 0 w 104"/>
                <a:gd name="T15" fmla="*/ 20 h 83"/>
                <a:gd name="T16" fmla="*/ 0 w 104"/>
                <a:gd name="T17" fmla="*/ 41 h 83"/>
                <a:gd name="T18" fmla="*/ 21 w 104"/>
                <a:gd name="T19" fmla="*/ 62 h 83"/>
                <a:gd name="T20" fmla="*/ 42 w 104"/>
                <a:gd name="T21" fmla="*/ 62 h 83"/>
                <a:gd name="T22" fmla="*/ 42 w 104"/>
                <a:gd name="T23" fmla="*/ 62 h 83"/>
                <a:gd name="T24" fmla="*/ 62 w 104"/>
                <a:gd name="T25" fmla="*/ 82 h 83"/>
                <a:gd name="T26" fmla="*/ 82 w 104"/>
                <a:gd name="T27" fmla="*/ 82 h 83"/>
                <a:gd name="T28" fmla="*/ 82 w 104"/>
                <a:gd name="T29" fmla="*/ 62 h 83"/>
                <a:gd name="T30" fmla="*/ 103 w 104"/>
                <a:gd name="T31" fmla="*/ 62 h 83"/>
                <a:gd name="T32" fmla="*/ 103 w 104"/>
                <a:gd name="T33"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83">
                  <a:moveTo>
                    <a:pt x="103" y="41"/>
                  </a:moveTo>
                  <a:lnTo>
                    <a:pt x="103" y="41"/>
                  </a:lnTo>
                  <a:cubicBezTo>
                    <a:pt x="103" y="20"/>
                    <a:pt x="82" y="20"/>
                    <a:pt x="82" y="20"/>
                  </a:cubicBezTo>
                  <a:lnTo>
                    <a:pt x="82" y="0"/>
                  </a:lnTo>
                  <a:lnTo>
                    <a:pt x="62" y="0"/>
                  </a:lnTo>
                  <a:cubicBezTo>
                    <a:pt x="42" y="0"/>
                    <a:pt x="42" y="0"/>
                    <a:pt x="21" y="0"/>
                  </a:cubicBezTo>
                  <a:lnTo>
                    <a:pt x="21" y="0"/>
                  </a:lnTo>
                  <a:cubicBezTo>
                    <a:pt x="0" y="0"/>
                    <a:pt x="0" y="20"/>
                    <a:pt x="0" y="20"/>
                  </a:cubicBezTo>
                  <a:lnTo>
                    <a:pt x="0" y="41"/>
                  </a:lnTo>
                  <a:cubicBezTo>
                    <a:pt x="0" y="41"/>
                    <a:pt x="21" y="41"/>
                    <a:pt x="21" y="62"/>
                  </a:cubicBezTo>
                  <a:lnTo>
                    <a:pt x="42" y="62"/>
                  </a:lnTo>
                  <a:lnTo>
                    <a:pt x="42" y="62"/>
                  </a:lnTo>
                  <a:cubicBezTo>
                    <a:pt x="62" y="82"/>
                    <a:pt x="62" y="82"/>
                    <a:pt x="62" y="82"/>
                  </a:cubicBezTo>
                  <a:lnTo>
                    <a:pt x="82" y="82"/>
                  </a:lnTo>
                  <a:cubicBezTo>
                    <a:pt x="82" y="62"/>
                    <a:pt x="82" y="62"/>
                    <a:pt x="82" y="62"/>
                  </a:cubicBezTo>
                  <a:lnTo>
                    <a:pt x="103" y="62"/>
                  </a:lnTo>
                  <a:lnTo>
                    <a:pt x="103"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3" name="Freeform 320">
              <a:extLst>
                <a:ext uri="{FF2B5EF4-FFF2-40B4-BE49-F238E27FC236}">
                  <a16:creationId xmlns:a16="http://schemas.microsoft.com/office/drawing/2014/main" id="{8E680FD2-1965-4243-B2C3-7BD499A7CBDA}"/>
                </a:ext>
              </a:extLst>
            </p:cNvPr>
            <p:cNvSpPr>
              <a:spLocks noChangeArrowheads="1"/>
            </p:cNvSpPr>
            <p:nvPr/>
          </p:nvSpPr>
          <p:spPr bwMode="auto">
            <a:xfrm>
              <a:off x="5176838" y="8072438"/>
              <a:ext cx="103187" cy="133350"/>
            </a:xfrm>
            <a:custGeom>
              <a:avLst/>
              <a:gdLst>
                <a:gd name="T0" fmla="*/ 246 w 288"/>
                <a:gd name="T1" fmla="*/ 287 h 370"/>
                <a:gd name="T2" fmla="*/ 246 w 288"/>
                <a:gd name="T3" fmla="*/ 287 h 370"/>
                <a:gd name="T4" fmla="*/ 267 w 288"/>
                <a:gd name="T5" fmla="*/ 266 h 370"/>
                <a:gd name="T6" fmla="*/ 287 w 288"/>
                <a:gd name="T7" fmla="*/ 246 h 370"/>
                <a:gd name="T8" fmla="*/ 267 w 288"/>
                <a:gd name="T9" fmla="*/ 246 h 370"/>
                <a:gd name="T10" fmla="*/ 246 w 288"/>
                <a:gd name="T11" fmla="*/ 246 h 370"/>
                <a:gd name="T12" fmla="*/ 226 w 288"/>
                <a:gd name="T13" fmla="*/ 225 h 370"/>
                <a:gd name="T14" fmla="*/ 205 w 288"/>
                <a:gd name="T15" fmla="*/ 205 h 370"/>
                <a:gd name="T16" fmla="*/ 185 w 288"/>
                <a:gd name="T17" fmla="*/ 164 h 370"/>
                <a:gd name="T18" fmla="*/ 185 w 288"/>
                <a:gd name="T19" fmla="*/ 102 h 370"/>
                <a:gd name="T20" fmla="*/ 164 w 288"/>
                <a:gd name="T21" fmla="*/ 61 h 370"/>
                <a:gd name="T22" fmla="*/ 164 w 288"/>
                <a:gd name="T23" fmla="*/ 20 h 370"/>
                <a:gd name="T24" fmla="*/ 144 w 288"/>
                <a:gd name="T25" fmla="*/ 20 h 370"/>
                <a:gd name="T26" fmla="*/ 123 w 288"/>
                <a:gd name="T27" fmla="*/ 0 h 370"/>
                <a:gd name="T28" fmla="*/ 103 w 288"/>
                <a:gd name="T29" fmla="*/ 0 h 370"/>
                <a:gd name="T30" fmla="*/ 103 w 288"/>
                <a:gd name="T31" fmla="*/ 20 h 370"/>
                <a:gd name="T32" fmla="*/ 103 w 288"/>
                <a:gd name="T33" fmla="*/ 41 h 370"/>
                <a:gd name="T34" fmla="*/ 103 w 288"/>
                <a:gd name="T35" fmla="*/ 41 h 370"/>
                <a:gd name="T36" fmla="*/ 103 w 288"/>
                <a:gd name="T37" fmla="*/ 61 h 370"/>
                <a:gd name="T38" fmla="*/ 103 w 288"/>
                <a:gd name="T39" fmla="*/ 61 h 370"/>
                <a:gd name="T40" fmla="*/ 82 w 288"/>
                <a:gd name="T41" fmla="*/ 41 h 370"/>
                <a:gd name="T42" fmla="*/ 62 w 288"/>
                <a:gd name="T43" fmla="*/ 41 h 370"/>
                <a:gd name="T44" fmla="*/ 62 w 288"/>
                <a:gd name="T45" fmla="*/ 20 h 370"/>
                <a:gd name="T46" fmla="*/ 41 w 288"/>
                <a:gd name="T47" fmla="*/ 20 h 370"/>
                <a:gd name="T48" fmla="*/ 21 w 288"/>
                <a:gd name="T49" fmla="*/ 41 h 370"/>
                <a:gd name="T50" fmla="*/ 21 w 288"/>
                <a:gd name="T51" fmla="*/ 61 h 370"/>
                <a:gd name="T52" fmla="*/ 0 w 288"/>
                <a:gd name="T53" fmla="*/ 82 h 370"/>
                <a:gd name="T54" fmla="*/ 0 w 288"/>
                <a:gd name="T55" fmla="*/ 102 h 370"/>
                <a:gd name="T56" fmla="*/ 0 w 288"/>
                <a:gd name="T57" fmla="*/ 143 h 370"/>
                <a:gd name="T58" fmla="*/ 41 w 288"/>
                <a:gd name="T59" fmla="*/ 143 h 370"/>
                <a:gd name="T60" fmla="*/ 62 w 288"/>
                <a:gd name="T61" fmla="*/ 123 h 370"/>
                <a:gd name="T62" fmla="*/ 82 w 288"/>
                <a:gd name="T63" fmla="*/ 143 h 370"/>
                <a:gd name="T64" fmla="*/ 82 w 288"/>
                <a:gd name="T65" fmla="*/ 184 h 370"/>
                <a:gd name="T66" fmla="*/ 103 w 288"/>
                <a:gd name="T67" fmla="*/ 205 h 370"/>
                <a:gd name="T68" fmla="*/ 123 w 288"/>
                <a:gd name="T69" fmla="*/ 225 h 370"/>
                <a:gd name="T70" fmla="*/ 123 w 288"/>
                <a:gd name="T71" fmla="*/ 246 h 370"/>
                <a:gd name="T72" fmla="*/ 123 w 288"/>
                <a:gd name="T73" fmla="*/ 266 h 370"/>
                <a:gd name="T74" fmla="*/ 144 w 288"/>
                <a:gd name="T75" fmla="*/ 287 h 370"/>
                <a:gd name="T76" fmla="*/ 185 w 288"/>
                <a:gd name="T77" fmla="*/ 307 h 370"/>
                <a:gd name="T78" fmla="*/ 185 w 288"/>
                <a:gd name="T79" fmla="*/ 328 h 370"/>
                <a:gd name="T80" fmla="*/ 205 w 288"/>
                <a:gd name="T81" fmla="*/ 369 h 370"/>
                <a:gd name="T82" fmla="*/ 226 w 288"/>
                <a:gd name="T83" fmla="*/ 369 h 370"/>
                <a:gd name="T84" fmla="*/ 246 w 288"/>
                <a:gd name="T85" fmla="*/ 348 h 370"/>
                <a:gd name="T86" fmla="*/ 246 w 288"/>
                <a:gd name="T87" fmla="*/ 348 h 370"/>
                <a:gd name="T88" fmla="*/ 246 w 288"/>
                <a:gd name="T89" fmla="*/ 307 h 370"/>
                <a:gd name="T90" fmla="*/ 246 w 288"/>
                <a:gd name="T91" fmla="*/ 307 h 370"/>
                <a:gd name="T92" fmla="*/ 246 w 288"/>
                <a:gd name="T93" fmla="*/ 28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8" h="370">
                  <a:moveTo>
                    <a:pt x="246" y="287"/>
                  </a:moveTo>
                  <a:lnTo>
                    <a:pt x="246" y="287"/>
                  </a:lnTo>
                  <a:lnTo>
                    <a:pt x="267" y="266"/>
                  </a:lnTo>
                  <a:cubicBezTo>
                    <a:pt x="267" y="266"/>
                    <a:pt x="287" y="266"/>
                    <a:pt x="287" y="246"/>
                  </a:cubicBezTo>
                  <a:lnTo>
                    <a:pt x="267" y="246"/>
                  </a:lnTo>
                  <a:lnTo>
                    <a:pt x="246" y="246"/>
                  </a:lnTo>
                  <a:cubicBezTo>
                    <a:pt x="246" y="225"/>
                    <a:pt x="226" y="225"/>
                    <a:pt x="226" y="225"/>
                  </a:cubicBezTo>
                  <a:cubicBezTo>
                    <a:pt x="226" y="205"/>
                    <a:pt x="205" y="205"/>
                    <a:pt x="205" y="205"/>
                  </a:cubicBezTo>
                  <a:cubicBezTo>
                    <a:pt x="205" y="184"/>
                    <a:pt x="185" y="164"/>
                    <a:pt x="185" y="164"/>
                  </a:cubicBezTo>
                  <a:cubicBezTo>
                    <a:pt x="185" y="143"/>
                    <a:pt x="185" y="123"/>
                    <a:pt x="185" y="102"/>
                  </a:cubicBezTo>
                  <a:lnTo>
                    <a:pt x="164" y="61"/>
                  </a:lnTo>
                  <a:cubicBezTo>
                    <a:pt x="164" y="41"/>
                    <a:pt x="164" y="20"/>
                    <a:pt x="164" y="20"/>
                  </a:cubicBezTo>
                  <a:lnTo>
                    <a:pt x="144" y="20"/>
                  </a:lnTo>
                  <a:cubicBezTo>
                    <a:pt x="123" y="0"/>
                    <a:pt x="123" y="0"/>
                    <a:pt x="123" y="0"/>
                  </a:cubicBezTo>
                  <a:lnTo>
                    <a:pt x="103" y="0"/>
                  </a:lnTo>
                  <a:cubicBezTo>
                    <a:pt x="103" y="0"/>
                    <a:pt x="103" y="0"/>
                    <a:pt x="103" y="20"/>
                  </a:cubicBezTo>
                  <a:cubicBezTo>
                    <a:pt x="103" y="20"/>
                    <a:pt x="103" y="20"/>
                    <a:pt x="103" y="41"/>
                  </a:cubicBezTo>
                  <a:lnTo>
                    <a:pt x="103" y="41"/>
                  </a:lnTo>
                  <a:cubicBezTo>
                    <a:pt x="103" y="41"/>
                    <a:pt x="123" y="61"/>
                    <a:pt x="103" y="61"/>
                  </a:cubicBezTo>
                  <a:lnTo>
                    <a:pt x="103" y="61"/>
                  </a:lnTo>
                  <a:cubicBezTo>
                    <a:pt x="82" y="61"/>
                    <a:pt x="82" y="41"/>
                    <a:pt x="82" y="41"/>
                  </a:cubicBezTo>
                  <a:lnTo>
                    <a:pt x="62" y="41"/>
                  </a:lnTo>
                  <a:cubicBezTo>
                    <a:pt x="62" y="20"/>
                    <a:pt x="62" y="20"/>
                    <a:pt x="62" y="20"/>
                  </a:cubicBezTo>
                  <a:cubicBezTo>
                    <a:pt x="41" y="20"/>
                    <a:pt x="41" y="20"/>
                    <a:pt x="41" y="20"/>
                  </a:cubicBezTo>
                  <a:cubicBezTo>
                    <a:pt x="21" y="20"/>
                    <a:pt x="21" y="20"/>
                    <a:pt x="21" y="41"/>
                  </a:cubicBezTo>
                  <a:lnTo>
                    <a:pt x="21" y="61"/>
                  </a:lnTo>
                  <a:lnTo>
                    <a:pt x="0" y="82"/>
                  </a:lnTo>
                  <a:lnTo>
                    <a:pt x="0" y="102"/>
                  </a:lnTo>
                  <a:cubicBezTo>
                    <a:pt x="0" y="123"/>
                    <a:pt x="0" y="123"/>
                    <a:pt x="0" y="143"/>
                  </a:cubicBezTo>
                  <a:cubicBezTo>
                    <a:pt x="21" y="143"/>
                    <a:pt x="21" y="143"/>
                    <a:pt x="41" y="143"/>
                  </a:cubicBezTo>
                  <a:lnTo>
                    <a:pt x="62" y="123"/>
                  </a:lnTo>
                  <a:cubicBezTo>
                    <a:pt x="82" y="143"/>
                    <a:pt x="82" y="143"/>
                    <a:pt x="82" y="143"/>
                  </a:cubicBezTo>
                  <a:cubicBezTo>
                    <a:pt x="82" y="164"/>
                    <a:pt x="82" y="184"/>
                    <a:pt x="82" y="184"/>
                  </a:cubicBezTo>
                  <a:lnTo>
                    <a:pt x="103" y="205"/>
                  </a:lnTo>
                  <a:lnTo>
                    <a:pt x="123" y="225"/>
                  </a:lnTo>
                  <a:lnTo>
                    <a:pt x="123" y="246"/>
                  </a:lnTo>
                  <a:lnTo>
                    <a:pt x="123" y="266"/>
                  </a:lnTo>
                  <a:cubicBezTo>
                    <a:pt x="123" y="287"/>
                    <a:pt x="144" y="287"/>
                    <a:pt x="144" y="287"/>
                  </a:cubicBezTo>
                  <a:cubicBezTo>
                    <a:pt x="164" y="307"/>
                    <a:pt x="164" y="307"/>
                    <a:pt x="185" y="307"/>
                  </a:cubicBezTo>
                  <a:lnTo>
                    <a:pt x="185" y="328"/>
                  </a:lnTo>
                  <a:cubicBezTo>
                    <a:pt x="185" y="348"/>
                    <a:pt x="185" y="348"/>
                    <a:pt x="205" y="369"/>
                  </a:cubicBezTo>
                  <a:cubicBezTo>
                    <a:pt x="205" y="369"/>
                    <a:pt x="205" y="369"/>
                    <a:pt x="226" y="369"/>
                  </a:cubicBezTo>
                  <a:cubicBezTo>
                    <a:pt x="226" y="369"/>
                    <a:pt x="246" y="369"/>
                    <a:pt x="246" y="348"/>
                  </a:cubicBezTo>
                  <a:lnTo>
                    <a:pt x="246" y="348"/>
                  </a:lnTo>
                  <a:cubicBezTo>
                    <a:pt x="246" y="328"/>
                    <a:pt x="246" y="328"/>
                    <a:pt x="246" y="307"/>
                  </a:cubicBezTo>
                  <a:lnTo>
                    <a:pt x="246" y="307"/>
                  </a:lnTo>
                  <a:cubicBezTo>
                    <a:pt x="246" y="287"/>
                    <a:pt x="246" y="287"/>
                    <a:pt x="246" y="287"/>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4" name="Freeform 321">
              <a:extLst>
                <a:ext uri="{FF2B5EF4-FFF2-40B4-BE49-F238E27FC236}">
                  <a16:creationId xmlns:a16="http://schemas.microsoft.com/office/drawing/2014/main" id="{5A2EC3CA-C7C3-CF4D-B706-A52BDA30FC13}"/>
                </a:ext>
              </a:extLst>
            </p:cNvPr>
            <p:cNvSpPr>
              <a:spLocks noChangeArrowheads="1"/>
            </p:cNvSpPr>
            <p:nvPr/>
          </p:nvSpPr>
          <p:spPr bwMode="auto">
            <a:xfrm>
              <a:off x="5287963" y="8175625"/>
              <a:ext cx="15875" cy="15875"/>
            </a:xfrm>
            <a:custGeom>
              <a:avLst/>
              <a:gdLst>
                <a:gd name="T0" fmla="*/ 41 w 42"/>
                <a:gd name="T1" fmla="*/ 20 h 42"/>
                <a:gd name="T2" fmla="*/ 41 w 42"/>
                <a:gd name="T3" fmla="*/ 20 h 42"/>
                <a:gd name="T4" fmla="*/ 20 w 42"/>
                <a:gd name="T5" fmla="*/ 41 h 42"/>
                <a:gd name="T6" fmla="*/ 0 w 42"/>
                <a:gd name="T7" fmla="*/ 20 h 42"/>
                <a:gd name="T8" fmla="*/ 20 w 42"/>
                <a:gd name="T9" fmla="*/ 0 h 42"/>
                <a:gd name="T10" fmla="*/ 41 w 42"/>
                <a:gd name="T11" fmla="*/ 0 h 42"/>
                <a:gd name="T12" fmla="*/ 41 w 4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41" y="20"/>
                  </a:moveTo>
                  <a:lnTo>
                    <a:pt x="41" y="20"/>
                  </a:lnTo>
                  <a:lnTo>
                    <a:pt x="20" y="41"/>
                  </a:lnTo>
                  <a:lnTo>
                    <a:pt x="0" y="20"/>
                  </a:lnTo>
                  <a:lnTo>
                    <a:pt x="20" y="0"/>
                  </a:lnTo>
                  <a:lnTo>
                    <a:pt x="41" y="0"/>
                  </a:lnTo>
                  <a:lnTo>
                    <a:pt x="4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5" name="Freeform 322">
              <a:extLst>
                <a:ext uri="{FF2B5EF4-FFF2-40B4-BE49-F238E27FC236}">
                  <a16:creationId xmlns:a16="http://schemas.microsoft.com/office/drawing/2014/main" id="{DD68C7FE-3A9C-954E-9E34-381037BCD467}"/>
                </a:ext>
              </a:extLst>
            </p:cNvPr>
            <p:cNvSpPr>
              <a:spLocks noChangeArrowheads="1"/>
            </p:cNvSpPr>
            <p:nvPr/>
          </p:nvSpPr>
          <p:spPr bwMode="auto">
            <a:xfrm>
              <a:off x="5273675" y="8181975"/>
              <a:ext cx="15875" cy="15875"/>
            </a:xfrm>
            <a:custGeom>
              <a:avLst/>
              <a:gdLst>
                <a:gd name="T0" fmla="*/ 20 w 42"/>
                <a:gd name="T1" fmla="*/ 41 h 42"/>
                <a:gd name="T2" fmla="*/ 20 w 42"/>
                <a:gd name="T3" fmla="*/ 41 h 42"/>
                <a:gd name="T4" fmla="*/ 0 w 42"/>
                <a:gd name="T5" fmla="*/ 21 h 42"/>
                <a:gd name="T6" fmla="*/ 0 w 42"/>
                <a:gd name="T7" fmla="*/ 21 h 42"/>
                <a:gd name="T8" fmla="*/ 20 w 42"/>
                <a:gd name="T9" fmla="*/ 0 h 42"/>
                <a:gd name="T10" fmla="*/ 20 w 42"/>
                <a:gd name="T11" fmla="*/ 21 h 42"/>
                <a:gd name="T12" fmla="*/ 20 w 42"/>
                <a:gd name="T13" fmla="*/ 21 h 42"/>
                <a:gd name="T14" fmla="*/ 20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0" y="41"/>
                  </a:moveTo>
                  <a:lnTo>
                    <a:pt x="20" y="41"/>
                  </a:lnTo>
                  <a:lnTo>
                    <a:pt x="0" y="21"/>
                  </a:lnTo>
                  <a:lnTo>
                    <a:pt x="0" y="21"/>
                  </a:lnTo>
                  <a:lnTo>
                    <a:pt x="20" y="0"/>
                  </a:lnTo>
                  <a:lnTo>
                    <a:pt x="20" y="21"/>
                  </a:lnTo>
                  <a:cubicBezTo>
                    <a:pt x="20" y="21"/>
                    <a:pt x="41" y="21"/>
                    <a:pt x="20" y="21"/>
                  </a:cubicBez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6" name="Freeform 323">
              <a:extLst>
                <a:ext uri="{FF2B5EF4-FFF2-40B4-BE49-F238E27FC236}">
                  <a16:creationId xmlns:a16="http://schemas.microsoft.com/office/drawing/2014/main" id="{8F2F4753-0A27-6F48-849E-D105652617C1}"/>
                </a:ext>
              </a:extLst>
            </p:cNvPr>
            <p:cNvSpPr>
              <a:spLocks noChangeArrowheads="1"/>
            </p:cNvSpPr>
            <p:nvPr/>
          </p:nvSpPr>
          <p:spPr bwMode="auto">
            <a:xfrm>
              <a:off x="5383213" y="8234363"/>
              <a:ext cx="15875" cy="15875"/>
            </a:xfrm>
            <a:custGeom>
              <a:avLst/>
              <a:gdLst>
                <a:gd name="T0" fmla="*/ 20 w 42"/>
                <a:gd name="T1" fmla="*/ 20 h 42"/>
                <a:gd name="T2" fmla="*/ 20 w 42"/>
                <a:gd name="T3" fmla="*/ 20 h 42"/>
                <a:gd name="T4" fmla="*/ 0 w 42"/>
                <a:gd name="T5" fmla="*/ 41 h 42"/>
                <a:gd name="T6" fmla="*/ 0 w 42"/>
                <a:gd name="T7" fmla="*/ 20 h 42"/>
                <a:gd name="T8" fmla="*/ 0 w 42"/>
                <a:gd name="T9" fmla="*/ 0 h 42"/>
                <a:gd name="T10" fmla="*/ 20 w 42"/>
                <a:gd name="T11" fmla="*/ 0 h 42"/>
                <a:gd name="T12" fmla="*/ 41 w 42"/>
                <a:gd name="T13" fmla="*/ 0 h 42"/>
                <a:gd name="T14" fmla="*/ 20 w 42"/>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0" y="20"/>
                  </a:moveTo>
                  <a:lnTo>
                    <a:pt x="20" y="20"/>
                  </a:lnTo>
                  <a:cubicBezTo>
                    <a:pt x="20" y="20"/>
                    <a:pt x="20" y="41"/>
                    <a:pt x="0" y="41"/>
                  </a:cubicBezTo>
                  <a:lnTo>
                    <a:pt x="0" y="20"/>
                  </a:lnTo>
                  <a:lnTo>
                    <a:pt x="0" y="0"/>
                  </a:lnTo>
                  <a:cubicBezTo>
                    <a:pt x="0" y="0"/>
                    <a:pt x="0" y="0"/>
                    <a:pt x="20" y="0"/>
                  </a:cubicBezTo>
                  <a:cubicBezTo>
                    <a:pt x="20" y="0"/>
                    <a:pt x="20" y="0"/>
                    <a:pt x="41" y="0"/>
                  </a:cubicBezTo>
                  <a:cubicBezTo>
                    <a:pt x="41" y="0"/>
                    <a:pt x="41"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7" name="Freeform 324">
              <a:extLst>
                <a:ext uri="{FF2B5EF4-FFF2-40B4-BE49-F238E27FC236}">
                  <a16:creationId xmlns:a16="http://schemas.microsoft.com/office/drawing/2014/main" id="{E464735C-6794-0F40-A439-ABE65D54AC28}"/>
                </a:ext>
              </a:extLst>
            </p:cNvPr>
            <p:cNvSpPr>
              <a:spLocks noChangeArrowheads="1"/>
            </p:cNvSpPr>
            <p:nvPr/>
          </p:nvSpPr>
          <p:spPr bwMode="auto">
            <a:xfrm>
              <a:off x="5316538" y="8159750"/>
              <a:ext cx="58737" cy="52388"/>
            </a:xfrm>
            <a:custGeom>
              <a:avLst/>
              <a:gdLst>
                <a:gd name="T0" fmla="*/ 143 w 165"/>
                <a:gd name="T1" fmla="*/ 123 h 144"/>
                <a:gd name="T2" fmla="*/ 143 w 165"/>
                <a:gd name="T3" fmla="*/ 123 h 144"/>
                <a:gd name="T4" fmla="*/ 143 w 165"/>
                <a:gd name="T5" fmla="*/ 82 h 144"/>
                <a:gd name="T6" fmla="*/ 143 w 165"/>
                <a:gd name="T7" fmla="*/ 41 h 144"/>
                <a:gd name="T8" fmla="*/ 123 w 165"/>
                <a:gd name="T9" fmla="*/ 20 h 144"/>
                <a:gd name="T10" fmla="*/ 82 w 165"/>
                <a:gd name="T11" fmla="*/ 0 h 144"/>
                <a:gd name="T12" fmla="*/ 41 w 165"/>
                <a:gd name="T13" fmla="*/ 0 h 144"/>
                <a:gd name="T14" fmla="*/ 20 w 165"/>
                <a:gd name="T15" fmla="*/ 20 h 144"/>
                <a:gd name="T16" fmla="*/ 0 w 165"/>
                <a:gd name="T17" fmla="*/ 41 h 144"/>
                <a:gd name="T18" fmla="*/ 0 w 165"/>
                <a:gd name="T19" fmla="*/ 61 h 144"/>
                <a:gd name="T20" fmla="*/ 0 w 165"/>
                <a:gd name="T21" fmla="*/ 82 h 144"/>
                <a:gd name="T22" fmla="*/ 20 w 165"/>
                <a:gd name="T23" fmla="*/ 123 h 144"/>
                <a:gd name="T24" fmla="*/ 41 w 165"/>
                <a:gd name="T25" fmla="*/ 143 h 144"/>
                <a:gd name="T26" fmla="*/ 61 w 165"/>
                <a:gd name="T27" fmla="*/ 123 h 144"/>
                <a:gd name="T28" fmla="*/ 61 w 165"/>
                <a:gd name="T29" fmla="*/ 102 h 144"/>
                <a:gd name="T30" fmla="*/ 82 w 165"/>
                <a:gd name="T31" fmla="*/ 102 h 144"/>
                <a:gd name="T32" fmla="*/ 82 w 165"/>
                <a:gd name="T33" fmla="*/ 123 h 144"/>
                <a:gd name="T34" fmla="*/ 102 w 165"/>
                <a:gd name="T35" fmla="*/ 123 h 144"/>
                <a:gd name="T36" fmla="*/ 123 w 165"/>
                <a:gd name="T37" fmla="*/ 123 h 144"/>
                <a:gd name="T38" fmla="*/ 143 w 165"/>
                <a:gd name="T39" fmla="*/ 123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 h="144">
                  <a:moveTo>
                    <a:pt x="143" y="123"/>
                  </a:moveTo>
                  <a:lnTo>
                    <a:pt x="143" y="123"/>
                  </a:lnTo>
                  <a:cubicBezTo>
                    <a:pt x="143" y="102"/>
                    <a:pt x="143" y="102"/>
                    <a:pt x="143" y="82"/>
                  </a:cubicBezTo>
                  <a:cubicBezTo>
                    <a:pt x="143" y="82"/>
                    <a:pt x="164" y="61"/>
                    <a:pt x="143" y="41"/>
                  </a:cubicBezTo>
                  <a:cubicBezTo>
                    <a:pt x="143" y="41"/>
                    <a:pt x="143" y="20"/>
                    <a:pt x="123" y="20"/>
                  </a:cubicBezTo>
                  <a:cubicBezTo>
                    <a:pt x="123" y="20"/>
                    <a:pt x="102" y="0"/>
                    <a:pt x="82" y="0"/>
                  </a:cubicBezTo>
                  <a:cubicBezTo>
                    <a:pt x="82" y="0"/>
                    <a:pt x="61" y="0"/>
                    <a:pt x="41" y="0"/>
                  </a:cubicBezTo>
                  <a:cubicBezTo>
                    <a:pt x="41" y="0"/>
                    <a:pt x="41" y="20"/>
                    <a:pt x="20" y="20"/>
                  </a:cubicBezTo>
                  <a:cubicBezTo>
                    <a:pt x="20" y="20"/>
                    <a:pt x="20" y="41"/>
                    <a:pt x="0" y="41"/>
                  </a:cubicBezTo>
                  <a:lnTo>
                    <a:pt x="0" y="61"/>
                  </a:lnTo>
                  <a:lnTo>
                    <a:pt x="0" y="82"/>
                  </a:lnTo>
                  <a:cubicBezTo>
                    <a:pt x="0" y="102"/>
                    <a:pt x="0" y="102"/>
                    <a:pt x="20" y="123"/>
                  </a:cubicBezTo>
                  <a:cubicBezTo>
                    <a:pt x="20" y="123"/>
                    <a:pt x="20" y="143"/>
                    <a:pt x="41" y="143"/>
                  </a:cubicBezTo>
                  <a:cubicBezTo>
                    <a:pt x="41" y="143"/>
                    <a:pt x="41" y="123"/>
                    <a:pt x="61" y="123"/>
                  </a:cubicBezTo>
                  <a:lnTo>
                    <a:pt x="61" y="102"/>
                  </a:lnTo>
                  <a:lnTo>
                    <a:pt x="82" y="102"/>
                  </a:lnTo>
                  <a:lnTo>
                    <a:pt x="82" y="123"/>
                  </a:lnTo>
                  <a:lnTo>
                    <a:pt x="102" y="123"/>
                  </a:lnTo>
                  <a:lnTo>
                    <a:pt x="123" y="123"/>
                  </a:lnTo>
                  <a:lnTo>
                    <a:pt x="143" y="123"/>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8" name="Freeform 325">
              <a:extLst>
                <a:ext uri="{FF2B5EF4-FFF2-40B4-BE49-F238E27FC236}">
                  <a16:creationId xmlns:a16="http://schemas.microsoft.com/office/drawing/2014/main" id="{557CF308-53F2-A044-A674-7FACBE910845}"/>
                </a:ext>
              </a:extLst>
            </p:cNvPr>
            <p:cNvSpPr>
              <a:spLocks noChangeArrowheads="1"/>
            </p:cNvSpPr>
            <p:nvPr/>
          </p:nvSpPr>
          <p:spPr bwMode="auto">
            <a:xfrm>
              <a:off x="5383213" y="8153400"/>
              <a:ext cx="7937" cy="15875"/>
            </a:xfrm>
            <a:custGeom>
              <a:avLst/>
              <a:gdLst>
                <a:gd name="T0" fmla="*/ 20 w 21"/>
                <a:gd name="T1" fmla="*/ 41 h 42"/>
                <a:gd name="T2" fmla="*/ 20 w 21"/>
                <a:gd name="T3" fmla="*/ 41 h 42"/>
                <a:gd name="T4" fmla="*/ 0 w 21"/>
                <a:gd name="T5" fmla="*/ 21 h 42"/>
                <a:gd name="T6" fmla="*/ 0 w 21"/>
                <a:gd name="T7" fmla="*/ 0 h 42"/>
                <a:gd name="T8" fmla="*/ 20 w 21"/>
                <a:gd name="T9" fmla="*/ 0 h 42"/>
                <a:gd name="T10" fmla="*/ 20 w 21"/>
                <a:gd name="T11" fmla="*/ 21 h 42"/>
                <a:gd name="T12" fmla="*/ 20 w 21"/>
                <a:gd name="T13" fmla="*/ 21 h 42"/>
                <a:gd name="T14" fmla="*/ 20 w 21"/>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41"/>
                  </a:moveTo>
                  <a:lnTo>
                    <a:pt x="20" y="41"/>
                  </a:lnTo>
                  <a:cubicBezTo>
                    <a:pt x="0" y="41"/>
                    <a:pt x="0" y="21"/>
                    <a:pt x="0" y="21"/>
                  </a:cubicBezTo>
                  <a:lnTo>
                    <a:pt x="0" y="0"/>
                  </a:lnTo>
                  <a:lnTo>
                    <a:pt x="20" y="0"/>
                  </a:lnTo>
                  <a:lnTo>
                    <a:pt x="20" y="21"/>
                  </a:lnTo>
                  <a:lnTo>
                    <a:pt x="20" y="21"/>
                  </a:lnTo>
                  <a:cubicBezTo>
                    <a:pt x="20" y="21"/>
                    <a:pt x="20" y="2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29" name="Freeform 326">
              <a:extLst>
                <a:ext uri="{FF2B5EF4-FFF2-40B4-BE49-F238E27FC236}">
                  <a16:creationId xmlns:a16="http://schemas.microsoft.com/office/drawing/2014/main" id="{654530DA-8E4C-9640-B55E-65AB845326E6}"/>
                </a:ext>
              </a:extLst>
            </p:cNvPr>
            <p:cNvSpPr>
              <a:spLocks noChangeArrowheads="1"/>
            </p:cNvSpPr>
            <p:nvPr/>
          </p:nvSpPr>
          <p:spPr bwMode="auto">
            <a:xfrm>
              <a:off x="5376863" y="8189913"/>
              <a:ext cx="7937" cy="15875"/>
            </a:xfrm>
            <a:custGeom>
              <a:avLst/>
              <a:gdLst>
                <a:gd name="T0" fmla="*/ 20 w 21"/>
                <a:gd name="T1" fmla="*/ 0 h 42"/>
                <a:gd name="T2" fmla="*/ 20 w 21"/>
                <a:gd name="T3" fmla="*/ 0 h 42"/>
                <a:gd name="T4" fmla="*/ 0 w 21"/>
                <a:gd name="T5" fmla="*/ 20 h 42"/>
                <a:gd name="T6" fmla="*/ 0 w 21"/>
                <a:gd name="T7" fmla="*/ 41 h 42"/>
                <a:gd name="T8" fmla="*/ 20 w 21"/>
                <a:gd name="T9" fmla="*/ 41 h 42"/>
                <a:gd name="T10" fmla="*/ 20 w 21"/>
                <a:gd name="T11" fmla="*/ 20 h 42"/>
                <a:gd name="T12" fmla="*/ 20 w 21"/>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0"/>
                  </a:moveTo>
                  <a:lnTo>
                    <a:pt x="20" y="0"/>
                  </a:lnTo>
                  <a:lnTo>
                    <a:pt x="0" y="20"/>
                  </a:lnTo>
                  <a:cubicBezTo>
                    <a:pt x="0" y="20"/>
                    <a:pt x="0" y="20"/>
                    <a:pt x="0" y="41"/>
                  </a:cubicBezTo>
                  <a:cubicBezTo>
                    <a:pt x="0" y="41"/>
                    <a:pt x="0" y="41"/>
                    <a:pt x="20" y="41"/>
                  </a:cubicBezTo>
                  <a:cubicBezTo>
                    <a:pt x="20" y="41"/>
                    <a:pt x="20" y="41"/>
                    <a:pt x="20" y="20"/>
                  </a:cubicBezTo>
                  <a:cubicBezTo>
                    <a:pt x="20" y="20"/>
                    <a:pt x="20" y="2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0" name="Freeform 327">
              <a:extLst>
                <a:ext uri="{FF2B5EF4-FFF2-40B4-BE49-F238E27FC236}">
                  <a16:creationId xmlns:a16="http://schemas.microsoft.com/office/drawing/2014/main" id="{53962E99-3840-D142-88F1-6A1278B7B69C}"/>
                </a:ext>
              </a:extLst>
            </p:cNvPr>
            <p:cNvSpPr>
              <a:spLocks noChangeArrowheads="1"/>
            </p:cNvSpPr>
            <p:nvPr/>
          </p:nvSpPr>
          <p:spPr bwMode="auto">
            <a:xfrm>
              <a:off x="5302250" y="8248650"/>
              <a:ext cx="7938" cy="15875"/>
            </a:xfrm>
            <a:custGeom>
              <a:avLst/>
              <a:gdLst>
                <a:gd name="T0" fmla="*/ 20 w 21"/>
                <a:gd name="T1" fmla="*/ 20 h 42"/>
                <a:gd name="T2" fmla="*/ 20 w 21"/>
                <a:gd name="T3" fmla="*/ 20 h 42"/>
                <a:gd name="T4" fmla="*/ 0 w 21"/>
                <a:gd name="T5" fmla="*/ 20 h 42"/>
                <a:gd name="T6" fmla="*/ 0 w 21"/>
                <a:gd name="T7" fmla="*/ 41 h 42"/>
                <a:gd name="T8" fmla="*/ 20 w 21"/>
                <a:gd name="T9" fmla="*/ 41 h 42"/>
                <a:gd name="T10" fmla="*/ 20 w 21"/>
                <a:gd name="T11" fmla="*/ 41 h 42"/>
                <a:gd name="T12" fmla="*/ 20 w 21"/>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20"/>
                  </a:moveTo>
                  <a:lnTo>
                    <a:pt x="20" y="20"/>
                  </a:lnTo>
                  <a:cubicBezTo>
                    <a:pt x="20" y="0"/>
                    <a:pt x="0" y="20"/>
                    <a:pt x="0" y="20"/>
                  </a:cubicBezTo>
                  <a:cubicBezTo>
                    <a:pt x="0" y="20"/>
                    <a:pt x="0" y="20"/>
                    <a:pt x="0" y="41"/>
                  </a:cubicBezTo>
                  <a:cubicBezTo>
                    <a:pt x="0" y="41"/>
                    <a:pt x="0" y="41"/>
                    <a:pt x="20" y="41"/>
                  </a:cubicBezTo>
                  <a:lnTo>
                    <a:pt x="20" y="41"/>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1" name="Freeform 328">
              <a:extLst>
                <a:ext uri="{FF2B5EF4-FFF2-40B4-BE49-F238E27FC236}">
                  <a16:creationId xmlns:a16="http://schemas.microsoft.com/office/drawing/2014/main" id="{57005EC4-1919-6D42-8C0D-029BD2A2B787}"/>
                </a:ext>
              </a:extLst>
            </p:cNvPr>
            <p:cNvSpPr>
              <a:spLocks noChangeArrowheads="1"/>
            </p:cNvSpPr>
            <p:nvPr/>
          </p:nvSpPr>
          <p:spPr bwMode="auto">
            <a:xfrm>
              <a:off x="5243513" y="8337550"/>
              <a:ext cx="7937" cy="7938"/>
            </a:xfrm>
            <a:custGeom>
              <a:avLst/>
              <a:gdLst>
                <a:gd name="T0" fmla="*/ 20 w 21"/>
                <a:gd name="T1" fmla="*/ 21 h 22"/>
                <a:gd name="T2" fmla="*/ 20 w 21"/>
                <a:gd name="T3" fmla="*/ 21 h 22"/>
                <a:gd name="T4" fmla="*/ 0 w 21"/>
                <a:gd name="T5" fmla="*/ 21 h 22"/>
                <a:gd name="T6" fmla="*/ 0 w 21"/>
                <a:gd name="T7" fmla="*/ 0 h 22"/>
                <a:gd name="T8" fmla="*/ 20 w 21"/>
                <a:gd name="T9" fmla="*/ 0 h 22"/>
                <a:gd name="T10" fmla="*/ 20 w 21"/>
                <a:gd name="T11" fmla="*/ 0 h 22"/>
                <a:gd name="T12" fmla="*/ 20 w 21"/>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20" y="21"/>
                  </a:moveTo>
                  <a:lnTo>
                    <a:pt x="20" y="21"/>
                  </a:lnTo>
                  <a:lnTo>
                    <a:pt x="0" y="21"/>
                  </a:lnTo>
                  <a:lnTo>
                    <a:pt x="0" y="0"/>
                  </a:lnTo>
                  <a:cubicBezTo>
                    <a:pt x="0" y="0"/>
                    <a:pt x="0" y="0"/>
                    <a:pt x="20" y="0"/>
                  </a:cubicBezTo>
                  <a:lnTo>
                    <a:pt x="20" y="0"/>
                  </a:lnTo>
                  <a:cubicBezTo>
                    <a:pt x="20" y="0"/>
                    <a:pt x="20" y="0"/>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2" name="Freeform 329">
              <a:extLst>
                <a:ext uri="{FF2B5EF4-FFF2-40B4-BE49-F238E27FC236}">
                  <a16:creationId xmlns:a16="http://schemas.microsoft.com/office/drawing/2014/main" id="{4871E1C6-D256-4A4A-98C7-3FCA5F0C78C4}"/>
                </a:ext>
              </a:extLst>
            </p:cNvPr>
            <p:cNvSpPr>
              <a:spLocks noChangeArrowheads="1"/>
            </p:cNvSpPr>
            <p:nvPr/>
          </p:nvSpPr>
          <p:spPr bwMode="auto">
            <a:xfrm>
              <a:off x="5221288" y="8382000"/>
              <a:ext cx="7937" cy="14288"/>
            </a:xfrm>
            <a:custGeom>
              <a:avLst/>
              <a:gdLst>
                <a:gd name="T0" fmla="*/ 21 w 22"/>
                <a:gd name="T1" fmla="*/ 0 h 41"/>
                <a:gd name="T2" fmla="*/ 21 w 22"/>
                <a:gd name="T3" fmla="*/ 0 h 41"/>
                <a:gd name="T4" fmla="*/ 21 w 22"/>
                <a:gd name="T5" fmla="*/ 40 h 41"/>
                <a:gd name="T6" fmla="*/ 0 w 22"/>
                <a:gd name="T7" fmla="*/ 20 h 41"/>
                <a:gd name="T8" fmla="*/ 0 w 22"/>
                <a:gd name="T9" fmla="*/ 20 h 41"/>
                <a:gd name="T10" fmla="*/ 0 w 22"/>
                <a:gd name="T11" fmla="*/ 0 h 41"/>
                <a:gd name="T12" fmla="*/ 21 w 22"/>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2" h="41">
                  <a:moveTo>
                    <a:pt x="21" y="0"/>
                  </a:moveTo>
                  <a:lnTo>
                    <a:pt x="21" y="0"/>
                  </a:lnTo>
                  <a:cubicBezTo>
                    <a:pt x="21" y="20"/>
                    <a:pt x="21" y="20"/>
                    <a:pt x="21" y="40"/>
                  </a:cubicBezTo>
                  <a:cubicBezTo>
                    <a:pt x="0" y="40"/>
                    <a:pt x="0" y="40"/>
                    <a:pt x="0" y="20"/>
                  </a:cubicBezTo>
                  <a:lnTo>
                    <a:pt x="0" y="20"/>
                  </a:lnTo>
                  <a:cubicBezTo>
                    <a:pt x="0" y="0"/>
                    <a:pt x="0" y="0"/>
                    <a:pt x="0" y="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3" name="Freeform 330">
              <a:extLst>
                <a:ext uri="{FF2B5EF4-FFF2-40B4-BE49-F238E27FC236}">
                  <a16:creationId xmlns:a16="http://schemas.microsoft.com/office/drawing/2014/main" id="{30690A0A-86EA-0A4F-94C2-21925454E233}"/>
                </a:ext>
              </a:extLst>
            </p:cNvPr>
            <p:cNvSpPr>
              <a:spLocks noChangeArrowheads="1"/>
            </p:cNvSpPr>
            <p:nvPr/>
          </p:nvSpPr>
          <p:spPr bwMode="auto">
            <a:xfrm>
              <a:off x="5249863" y="8388350"/>
              <a:ext cx="7937" cy="7938"/>
            </a:xfrm>
            <a:custGeom>
              <a:avLst/>
              <a:gdLst>
                <a:gd name="T0" fmla="*/ 0 w 22"/>
                <a:gd name="T1" fmla="*/ 0 h 21"/>
                <a:gd name="T2" fmla="*/ 0 w 22"/>
                <a:gd name="T3" fmla="*/ 0 h 21"/>
                <a:gd name="T4" fmla="*/ 0 w 22"/>
                <a:gd name="T5" fmla="*/ 20 h 21"/>
                <a:gd name="T6" fmla="*/ 0 w 22"/>
                <a:gd name="T7" fmla="*/ 20 h 21"/>
                <a:gd name="T8" fmla="*/ 21 w 22"/>
                <a:gd name="T9" fmla="*/ 20 h 21"/>
                <a:gd name="T10" fmla="*/ 21 w 22"/>
                <a:gd name="T11" fmla="*/ 20 h 21"/>
                <a:gd name="T12" fmla="*/ 0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0" y="0"/>
                  </a:moveTo>
                  <a:lnTo>
                    <a:pt x="0" y="0"/>
                  </a:lnTo>
                  <a:lnTo>
                    <a:pt x="0" y="20"/>
                  </a:lnTo>
                  <a:lnTo>
                    <a:pt x="0" y="20"/>
                  </a:lnTo>
                  <a:lnTo>
                    <a:pt x="21" y="20"/>
                  </a:lnTo>
                  <a:lnTo>
                    <a:pt x="21" y="20"/>
                  </a:ln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4" name="Freeform 331">
              <a:extLst>
                <a:ext uri="{FF2B5EF4-FFF2-40B4-BE49-F238E27FC236}">
                  <a16:creationId xmlns:a16="http://schemas.microsoft.com/office/drawing/2014/main" id="{A8D4B716-0E66-374A-8AE3-0AAA90E83C4B}"/>
                </a:ext>
              </a:extLst>
            </p:cNvPr>
            <p:cNvSpPr>
              <a:spLocks noChangeArrowheads="1"/>
            </p:cNvSpPr>
            <p:nvPr/>
          </p:nvSpPr>
          <p:spPr bwMode="auto">
            <a:xfrm>
              <a:off x="5257800" y="8382000"/>
              <a:ext cx="7938" cy="7938"/>
            </a:xfrm>
            <a:custGeom>
              <a:avLst/>
              <a:gdLst>
                <a:gd name="T0" fmla="*/ 0 w 21"/>
                <a:gd name="T1" fmla="*/ 20 h 21"/>
                <a:gd name="T2" fmla="*/ 0 w 21"/>
                <a:gd name="T3" fmla="*/ 20 h 21"/>
                <a:gd name="T4" fmla="*/ 0 w 21"/>
                <a:gd name="T5" fmla="*/ 0 h 21"/>
                <a:gd name="T6" fmla="*/ 0 w 21"/>
                <a:gd name="T7" fmla="*/ 0 h 21"/>
                <a:gd name="T8" fmla="*/ 20 w 21"/>
                <a:gd name="T9" fmla="*/ 20 h 21"/>
                <a:gd name="T10" fmla="*/ 20 w 21"/>
                <a:gd name="T11" fmla="*/ 20 h 21"/>
                <a:gd name="T12" fmla="*/ 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20"/>
                  </a:moveTo>
                  <a:lnTo>
                    <a:pt x="0" y="20"/>
                  </a:lnTo>
                  <a:cubicBezTo>
                    <a:pt x="0" y="20"/>
                    <a:pt x="0" y="20"/>
                    <a:pt x="0" y="0"/>
                  </a:cubicBezTo>
                  <a:lnTo>
                    <a:pt x="0" y="0"/>
                  </a:lnTo>
                  <a:cubicBezTo>
                    <a:pt x="20" y="0"/>
                    <a:pt x="20" y="0"/>
                    <a:pt x="20" y="20"/>
                  </a:cubicBezTo>
                  <a:lnTo>
                    <a:pt x="20" y="20"/>
                  </a:ln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5" name="Freeform 332">
              <a:extLst>
                <a:ext uri="{FF2B5EF4-FFF2-40B4-BE49-F238E27FC236}">
                  <a16:creationId xmlns:a16="http://schemas.microsoft.com/office/drawing/2014/main" id="{B91B6497-5EA8-DE46-B8CD-D04B7149F3C5}"/>
                </a:ext>
              </a:extLst>
            </p:cNvPr>
            <p:cNvSpPr>
              <a:spLocks noChangeArrowheads="1"/>
            </p:cNvSpPr>
            <p:nvPr/>
          </p:nvSpPr>
          <p:spPr bwMode="auto">
            <a:xfrm>
              <a:off x="4978400" y="8359775"/>
              <a:ext cx="22225" cy="15875"/>
            </a:xfrm>
            <a:custGeom>
              <a:avLst/>
              <a:gdLst>
                <a:gd name="T0" fmla="*/ 62 w 63"/>
                <a:gd name="T1" fmla="*/ 41 h 42"/>
                <a:gd name="T2" fmla="*/ 62 w 63"/>
                <a:gd name="T3" fmla="*/ 41 h 42"/>
                <a:gd name="T4" fmla="*/ 41 w 63"/>
                <a:gd name="T5" fmla="*/ 41 h 42"/>
                <a:gd name="T6" fmla="*/ 20 w 63"/>
                <a:gd name="T7" fmla="*/ 41 h 42"/>
                <a:gd name="T8" fmla="*/ 0 w 63"/>
                <a:gd name="T9" fmla="*/ 20 h 42"/>
                <a:gd name="T10" fmla="*/ 0 w 63"/>
                <a:gd name="T11" fmla="*/ 0 h 42"/>
                <a:gd name="T12" fmla="*/ 20 w 63"/>
                <a:gd name="T13" fmla="*/ 0 h 42"/>
                <a:gd name="T14" fmla="*/ 41 w 63"/>
                <a:gd name="T15" fmla="*/ 0 h 42"/>
                <a:gd name="T16" fmla="*/ 62 w 63"/>
                <a:gd name="T1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42">
                  <a:moveTo>
                    <a:pt x="62" y="41"/>
                  </a:moveTo>
                  <a:lnTo>
                    <a:pt x="62" y="41"/>
                  </a:lnTo>
                  <a:lnTo>
                    <a:pt x="41" y="41"/>
                  </a:lnTo>
                  <a:cubicBezTo>
                    <a:pt x="20" y="41"/>
                    <a:pt x="20" y="41"/>
                    <a:pt x="20" y="41"/>
                  </a:cubicBezTo>
                  <a:cubicBezTo>
                    <a:pt x="20" y="41"/>
                    <a:pt x="0" y="41"/>
                    <a:pt x="0" y="20"/>
                  </a:cubicBezTo>
                  <a:cubicBezTo>
                    <a:pt x="0" y="20"/>
                    <a:pt x="0" y="20"/>
                    <a:pt x="0" y="0"/>
                  </a:cubicBezTo>
                  <a:lnTo>
                    <a:pt x="20" y="0"/>
                  </a:lnTo>
                  <a:lnTo>
                    <a:pt x="41" y="0"/>
                  </a:lnTo>
                  <a:cubicBezTo>
                    <a:pt x="62" y="20"/>
                    <a:pt x="62" y="41"/>
                    <a:pt x="62"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6" name="Freeform 333">
              <a:extLst>
                <a:ext uri="{FF2B5EF4-FFF2-40B4-BE49-F238E27FC236}">
                  <a16:creationId xmlns:a16="http://schemas.microsoft.com/office/drawing/2014/main" id="{6EB274B2-3EFC-7646-805A-8FDDE68A0680}"/>
                </a:ext>
              </a:extLst>
            </p:cNvPr>
            <p:cNvSpPr>
              <a:spLocks noChangeArrowheads="1"/>
            </p:cNvSpPr>
            <p:nvPr/>
          </p:nvSpPr>
          <p:spPr bwMode="auto">
            <a:xfrm>
              <a:off x="4889500" y="8220075"/>
              <a:ext cx="7938" cy="15875"/>
            </a:xfrm>
            <a:custGeom>
              <a:avLst/>
              <a:gdLst>
                <a:gd name="T0" fmla="*/ 20 w 21"/>
                <a:gd name="T1" fmla="*/ 0 h 42"/>
                <a:gd name="T2" fmla="*/ 20 w 21"/>
                <a:gd name="T3" fmla="*/ 0 h 42"/>
                <a:gd name="T4" fmla="*/ 0 w 21"/>
                <a:gd name="T5" fmla="*/ 20 h 42"/>
                <a:gd name="T6" fmla="*/ 0 w 21"/>
                <a:gd name="T7" fmla="*/ 20 h 42"/>
                <a:gd name="T8" fmla="*/ 20 w 21"/>
                <a:gd name="T9" fmla="*/ 41 h 42"/>
                <a:gd name="T10" fmla="*/ 20 w 21"/>
                <a:gd name="T11" fmla="*/ 20 h 42"/>
                <a:gd name="T12" fmla="*/ 20 w 21"/>
                <a:gd name="T13" fmla="*/ 20 h 42"/>
                <a:gd name="T14" fmla="*/ 20 w 21"/>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0"/>
                  </a:moveTo>
                  <a:lnTo>
                    <a:pt x="20" y="0"/>
                  </a:lnTo>
                  <a:cubicBezTo>
                    <a:pt x="0" y="0"/>
                    <a:pt x="0" y="0"/>
                    <a:pt x="0" y="20"/>
                  </a:cubicBezTo>
                  <a:lnTo>
                    <a:pt x="0" y="20"/>
                  </a:lnTo>
                  <a:cubicBezTo>
                    <a:pt x="0" y="41"/>
                    <a:pt x="0" y="41"/>
                    <a:pt x="20" y="41"/>
                  </a:cubicBezTo>
                  <a:cubicBezTo>
                    <a:pt x="20" y="41"/>
                    <a:pt x="20" y="41"/>
                    <a:pt x="20" y="20"/>
                  </a:cubicBezTo>
                  <a:lnTo>
                    <a:pt x="20" y="2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7" name="Freeform 334">
              <a:extLst>
                <a:ext uri="{FF2B5EF4-FFF2-40B4-BE49-F238E27FC236}">
                  <a16:creationId xmlns:a16="http://schemas.microsoft.com/office/drawing/2014/main" id="{B1CDE791-837F-DE4E-81CA-6A99C38E73FF}"/>
                </a:ext>
              </a:extLst>
            </p:cNvPr>
            <p:cNvSpPr>
              <a:spLocks noChangeArrowheads="1"/>
            </p:cNvSpPr>
            <p:nvPr/>
          </p:nvSpPr>
          <p:spPr bwMode="auto">
            <a:xfrm>
              <a:off x="4867275" y="8175625"/>
              <a:ext cx="15875" cy="36513"/>
            </a:xfrm>
            <a:custGeom>
              <a:avLst/>
              <a:gdLst>
                <a:gd name="T0" fmla="*/ 42 w 43"/>
                <a:gd name="T1" fmla="*/ 102 h 103"/>
                <a:gd name="T2" fmla="*/ 42 w 43"/>
                <a:gd name="T3" fmla="*/ 102 h 103"/>
                <a:gd name="T4" fmla="*/ 42 w 43"/>
                <a:gd name="T5" fmla="*/ 61 h 103"/>
                <a:gd name="T6" fmla="*/ 42 w 43"/>
                <a:gd name="T7" fmla="*/ 41 h 103"/>
                <a:gd name="T8" fmla="*/ 42 w 43"/>
                <a:gd name="T9" fmla="*/ 20 h 103"/>
                <a:gd name="T10" fmla="*/ 21 w 43"/>
                <a:gd name="T11" fmla="*/ 0 h 103"/>
                <a:gd name="T12" fmla="*/ 0 w 43"/>
                <a:gd name="T13" fmla="*/ 0 h 103"/>
                <a:gd name="T14" fmla="*/ 0 w 43"/>
                <a:gd name="T15" fmla="*/ 20 h 103"/>
                <a:gd name="T16" fmla="*/ 0 w 43"/>
                <a:gd name="T17" fmla="*/ 20 h 103"/>
                <a:gd name="T18" fmla="*/ 0 w 43"/>
                <a:gd name="T19" fmla="*/ 41 h 103"/>
                <a:gd name="T20" fmla="*/ 0 w 43"/>
                <a:gd name="T21" fmla="*/ 61 h 103"/>
                <a:gd name="T22" fmla="*/ 21 w 43"/>
                <a:gd name="T23" fmla="*/ 102 h 103"/>
                <a:gd name="T24" fmla="*/ 42 w 43"/>
                <a:gd name="T25" fmla="*/ 10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03">
                  <a:moveTo>
                    <a:pt x="42" y="102"/>
                  </a:moveTo>
                  <a:lnTo>
                    <a:pt x="42" y="102"/>
                  </a:lnTo>
                  <a:cubicBezTo>
                    <a:pt x="42" y="82"/>
                    <a:pt x="42" y="82"/>
                    <a:pt x="42" y="61"/>
                  </a:cubicBezTo>
                  <a:cubicBezTo>
                    <a:pt x="42" y="61"/>
                    <a:pt x="42" y="61"/>
                    <a:pt x="42" y="41"/>
                  </a:cubicBezTo>
                  <a:lnTo>
                    <a:pt x="42" y="20"/>
                  </a:lnTo>
                  <a:cubicBezTo>
                    <a:pt x="42" y="0"/>
                    <a:pt x="42" y="0"/>
                    <a:pt x="21" y="0"/>
                  </a:cubicBezTo>
                  <a:cubicBezTo>
                    <a:pt x="21" y="0"/>
                    <a:pt x="21" y="0"/>
                    <a:pt x="0" y="0"/>
                  </a:cubicBezTo>
                  <a:cubicBezTo>
                    <a:pt x="0" y="0"/>
                    <a:pt x="0" y="0"/>
                    <a:pt x="0" y="20"/>
                  </a:cubicBezTo>
                  <a:lnTo>
                    <a:pt x="0" y="20"/>
                  </a:lnTo>
                  <a:cubicBezTo>
                    <a:pt x="0" y="41"/>
                    <a:pt x="0" y="41"/>
                    <a:pt x="0" y="41"/>
                  </a:cubicBezTo>
                  <a:cubicBezTo>
                    <a:pt x="0" y="61"/>
                    <a:pt x="0" y="61"/>
                    <a:pt x="0" y="61"/>
                  </a:cubicBezTo>
                  <a:cubicBezTo>
                    <a:pt x="0" y="82"/>
                    <a:pt x="21" y="102"/>
                    <a:pt x="21" y="102"/>
                  </a:cubicBezTo>
                  <a:lnTo>
                    <a:pt x="42" y="10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8" name="Freeform 335">
              <a:extLst>
                <a:ext uri="{FF2B5EF4-FFF2-40B4-BE49-F238E27FC236}">
                  <a16:creationId xmlns:a16="http://schemas.microsoft.com/office/drawing/2014/main" id="{47F7B555-B27E-EB47-8524-62011698F492}"/>
                </a:ext>
              </a:extLst>
            </p:cNvPr>
            <p:cNvSpPr>
              <a:spLocks noChangeArrowheads="1"/>
            </p:cNvSpPr>
            <p:nvPr/>
          </p:nvSpPr>
          <p:spPr bwMode="auto">
            <a:xfrm>
              <a:off x="4845050" y="8153400"/>
              <a:ext cx="22225" cy="30163"/>
            </a:xfrm>
            <a:custGeom>
              <a:avLst/>
              <a:gdLst>
                <a:gd name="T0" fmla="*/ 41 w 62"/>
                <a:gd name="T1" fmla="*/ 62 h 83"/>
                <a:gd name="T2" fmla="*/ 41 w 62"/>
                <a:gd name="T3" fmla="*/ 62 h 83"/>
                <a:gd name="T4" fmla="*/ 61 w 62"/>
                <a:gd name="T5" fmla="*/ 41 h 83"/>
                <a:gd name="T6" fmla="*/ 41 w 62"/>
                <a:gd name="T7" fmla="*/ 21 h 83"/>
                <a:gd name="T8" fmla="*/ 21 w 62"/>
                <a:gd name="T9" fmla="*/ 0 h 83"/>
                <a:gd name="T10" fmla="*/ 21 w 62"/>
                <a:gd name="T11" fmla="*/ 0 h 83"/>
                <a:gd name="T12" fmla="*/ 0 w 62"/>
                <a:gd name="T13" fmla="*/ 21 h 83"/>
                <a:gd name="T14" fmla="*/ 21 w 62"/>
                <a:gd name="T15" fmla="*/ 41 h 83"/>
                <a:gd name="T16" fmla="*/ 21 w 62"/>
                <a:gd name="T17" fmla="*/ 82 h 83"/>
                <a:gd name="T18" fmla="*/ 41 w 62"/>
                <a:gd name="T19" fmla="*/ 82 h 83"/>
                <a:gd name="T20" fmla="*/ 41 w 62"/>
                <a:gd name="T21"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41" y="62"/>
                  </a:moveTo>
                  <a:lnTo>
                    <a:pt x="41" y="62"/>
                  </a:lnTo>
                  <a:lnTo>
                    <a:pt x="61" y="41"/>
                  </a:lnTo>
                  <a:cubicBezTo>
                    <a:pt x="61" y="21"/>
                    <a:pt x="41" y="21"/>
                    <a:pt x="41" y="21"/>
                  </a:cubicBezTo>
                  <a:cubicBezTo>
                    <a:pt x="41" y="21"/>
                    <a:pt x="41" y="0"/>
                    <a:pt x="21" y="0"/>
                  </a:cubicBezTo>
                  <a:lnTo>
                    <a:pt x="21" y="0"/>
                  </a:lnTo>
                  <a:cubicBezTo>
                    <a:pt x="0" y="0"/>
                    <a:pt x="0" y="21"/>
                    <a:pt x="0" y="21"/>
                  </a:cubicBezTo>
                  <a:cubicBezTo>
                    <a:pt x="0" y="41"/>
                    <a:pt x="21" y="41"/>
                    <a:pt x="21" y="41"/>
                  </a:cubicBezTo>
                  <a:cubicBezTo>
                    <a:pt x="21" y="62"/>
                    <a:pt x="21" y="62"/>
                    <a:pt x="21" y="82"/>
                  </a:cubicBezTo>
                  <a:lnTo>
                    <a:pt x="41" y="82"/>
                  </a:lnTo>
                  <a:lnTo>
                    <a:pt x="41"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39" name="Freeform 336">
              <a:extLst>
                <a:ext uri="{FF2B5EF4-FFF2-40B4-BE49-F238E27FC236}">
                  <a16:creationId xmlns:a16="http://schemas.microsoft.com/office/drawing/2014/main" id="{FA12440D-7ADD-7547-ADBF-33004C58D4A2}"/>
                </a:ext>
              </a:extLst>
            </p:cNvPr>
            <p:cNvSpPr>
              <a:spLocks noChangeArrowheads="1"/>
            </p:cNvSpPr>
            <p:nvPr/>
          </p:nvSpPr>
          <p:spPr bwMode="auto">
            <a:xfrm>
              <a:off x="4822825" y="8116888"/>
              <a:ext cx="22225" cy="30162"/>
            </a:xfrm>
            <a:custGeom>
              <a:avLst/>
              <a:gdLst>
                <a:gd name="T0" fmla="*/ 41 w 62"/>
                <a:gd name="T1" fmla="*/ 82 h 83"/>
                <a:gd name="T2" fmla="*/ 41 w 62"/>
                <a:gd name="T3" fmla="*/ 82 h 83"/>
                <a:gd name="T4" fmla="*/ 20 w 62"/>
                <a:gd name="T5" fmla="*/ 61 h 83"/>
                <a:gd name="T6" fmla="*/ 20 w 62"/>
                <a:gd name="T7" fmla="*/ 61 h 83"/>
                <a:gd name="T8" fmla="*/ 20 w 62"/>
                <a:gd name="T9" fmla="*/ 41 h 83"/>
                <a:gd name="T10" fmla="*/ 0 w 62"/>
                <a:gd name="T11" fmla="*/ 20 h 83"/>
                <a:gd name="T12" fmla="*/ 20 w 62"/>
                <a:gd name="T13" fmla="*/ 0 h 83"/>
                <a:gd name="T14" fmla="*/ 41 w 62"/>
                <a:gd name="T15" fmla="*/ 0 h 83"/>
                <a:gd name="T16" fmla="*/ 61 w 62"/>
                <a:gd name="T17" fmla="*/ 20 h 83"/>
                <a:gd name="T18" fmla="*/ 41 w 62"/>
                <a:gd name="T19" fmla="*/ 41 h 83"/>
                <a:gd name="T20" fmla="*/ 61 w 62"/>
                <a:gd name="T21" fmla="*/ 41 h 83"/>
                <a:gd name="T22" fmla="*/ 61 w 62"/>
                <a:gd name="T23" fmla="*/ 61 h 83"/>
                <a:gd name="T24" fmla="*/ 41 w 62"/>
                <a:gd name="T25"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83">
                  <a:moveTo>
                    <a:pt x="41" y="82"/>
                  </a:moveTo>
                  <a:lnTo>
                    <a:pt x="41" y="82"/>
                  </a:lnTo>
                  <a:cubicBezTo>
                    <a:pt x="41" y="82"/>
                    <a:pt x="20" y="82"/>
                    <a:pt x="20" y="61"/>
                  </a:cubicBezTo>
                  <a:lnTo>
                    <a:pt x="20" y="61"/>
                  </a:lnTo>
                  <a:cubicBezTo>
                    <a:pt x="20" y="41"/>
                    <a:pt x="20" y="41"/>
                    <a:pt x="20" y="41"/>
                  </a:cubicBezTo>
                  <a:lnTo>
                    <a:pt x="0" y="20"/>
                  </a:lnTo>
                  <a:cubicBezTo>
                    <a:pt x="20" y="20"/>
                    <a:pt x="20" y="0"/>
                    <a:pt x="20" y="0"/>
                  </a:cubicBezTo>
                  <a:lnTo>
                    <a:pt x="41" y="0"/>
                  </a:lnTo>
                  <a:cubicBezTo>
                    <a:pt x="41" y="0"/>
                    <a:pt x="61" y="0"/>
                    <a:pt x="61" y="20"/>
                  </a:cubicBezTo>
                  <a:cubicBezTo>
                    <a:pt x="61" y="20"/>
                    <a:pt x="41" y="20"/>
                    <a:pt x="41" y="41"/>
                  </a:cubicBezTo>
                  <a:cubicBezTo>
                    <a:pt x="61" y="41"/>
                    <a:pt x="61" y="41"/>
                    <a:pt x="61" y="41"/>
                  </a:cubicBezTo>
                  <a:lnTo>
                    <a:pt x="61" y="61"/>
                  </a:lnTo>
                  <a:cubicBezTo>
                    <a:pt x="61" y="61"/>
                    <a:pt x="61" y="61"/>
                    <a:pt x="41"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0" name="Freeform 337">
              <a:extLst>
                <a:ext uri="{FF2B5EF4-FFF2-40B4-BE49-F238E27FC236}">
                  <a16:creationId xmlns:a16="http://schemas.microsoft.com/office/drawing/2014/main" id="{4028761A-A108-F54D-B941-66454ADA0FFD}"/>
                </a:ext>
              </a:extLst>
            </p:cNvPr>
            <p:cNvSpPr>
              <a:spLocks noChangeArrowheads="1"/>
            </p:cNvSpPr>
            <p:nvPr/>
          </p:nvSpPr>
          <p:spPr bwMode="auto">
            <a:xfrm>
              <a:off x="4764088" y="8020050"/>
              <a:ext cx="52387" cy="80963"/>
            </a:xfrm>
            <a:custGeom>
              <a:avLst/>
              <a:gdLst>
                <a:gd name="T0" fmla="*/ 144 w 145"/>
                <a:gd name="T1" fmla="*/ 226 h 227"/>
                <a:gd name="T2" fmla="*/ 144 w 145"/>
                <a:gd name="T3" fmla="*/ 226 h 227"/>
                <a:gd name="T4" fmla="*/ 144 w 145"/>
                <a:gd name="T5" fmla="*/ 185 h 227"/>
                <a:gd name="T6" fmla="*/ 144 w 145"/>
                <a:gd name="T7" fmla="*/ 164 h 227"/>
                <a:gd name="T8" fmla="*/ 144 w 145"/>
                <a:gd name="T9" fmla="*/ 144 h 227"/>
                <a:gd name="T10" fmla="*/ 123 w 145"/>
                <a:gd name="T11" fmla="*/ 123 h 227"/>
                <a:gd name="T12" fmla="*/ 102 w 145"/>
                <a:gd name="T13" fmla="*/ 82 h 227"/>
                <a:gd name="T14" fmla="*/ 82 w 145"/>
                <a:gd name="T15" fmla="*/ 41 h 227"/>
                <a:gd name="T16" fmla="*/ 62 w 145"/>
                <a:gd name="T17" fmla="*/ 0 h 227"/>
                <a:gd name="T18" fmla="*/ 41 w 145"/>
                <a:gd name="T19" fmla="*/ 0 h 227"/>
                <a:gd name="T20" fmla="*/ 20 w 145"/>
                <a:gd name="T21" fmla="*/ 21 h 227"/>
                <a:gd name="T22" fmla="*/ 0 w 145"/>
                <a:gd name="T23" fmla="*/ 41 h 227"/>
                <a:gd name="T24" fmla="*/ 0 w 145"/>
                <a:gd name="T25" fmla="*/ 62 h 227"/>
                <a:gd name="T26" fmla="*/ 20 w 145"/>
                <a:gd name="T27" fmla="*/ 103 h 227"/>
                <a:gd name="T28" fmla="*/ 20 w 145"/>
                <a:gd name="T29" fmla="*/ 123 h 227"/>
                <a:gd name="T30" fmla="*/ 41 w 145"/>
                <a:gd name="T31" fmla="*/ 164 h 227"/>
                <a:gd name="T32" fmla="*/ 82 w 145"/>
                <a:gd name="T33" fmla="*/ 205 h 227"/>
                <a:gd name="T34" fmla="*/ 102 w 145"/>
                <a:gd name="T35" fmla="*/ 226 h 227"/>
                <a:gd name="T36" fmla="*/ 123 w 145"/>
                <a:gd name="T37" fmla="*/ 226 h 227"/>
                <a:gd name="T38" fmla="*/ 144 w 145"/>
                <a:gd name="T39" fmla="*/ 22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 h="227">
                  <a:moveTo>
                    <a:pt x="144" y="226"/>
                  </a:moveTo>
                  <a:lnTo>
                    <a:pt x="144" y="226"/>
                  </a:lnTo>
                  <a:cubicBezTo>
                    <a:pt x="144" y="205"/>
                    <a:pt x="144" y="205"/>
                    <a:pt x="144" y="185"/>
                  </a:cubicBezTo>
                  <a:lnTo>
                    <a:pt x="144" y="164"/>
                  </a:lnTo>
                  <a:lnTo>
                    <a:pt x="144" y="144"/>
                  </a:lnTo>
                  <a:cubicBezTo>
                    <a:pt x="123" y="144"/>
                    <a:pt x="123" y="123"/>
                    <a:pt x="123" y="123"/>
                  </a:cubicBezTo>
                  <a:cubicBezTo>
                    <a:pt x="102" y="123"/>
                    <a:pt x="102" y="103"/>
                    <a:pt x="102" y="82"/>
                  </a:cubicBezTo>
                  <a:cubicBezTo>
                    <a:pt x="102" y="82"/>
                    <a:pt x="102" y="41"/>
                    <a:pt x="82" y="41"/>
                  </a:cubicBezTo>
                  <a:cubicBezTo>
                    <a:pt x="82" y="21"/>
                    <a:pt x="82" y="21"/>
                    <a:pt x="62" y="0"/>
                  </a:cubicBezTo>
                  <a:lnTo>
                    <a:pt x="41" y="0"/>
                  </a:lnTo>
                  <a:lnTo>
                    <a:pt x="20" y="21"/>
                  </a:lnTo>
                  <a:lnTo>
                    <a:pt x="0" y="41"/>
                  </a:lnTo>
                  <a:lnTo>
                    <a:pt x="0" y="62"/>
                  </a:lnTo>
                  <a:cubicBezTo>
                    <a:pt x="0" y="82"/>
                    <a:pt x="20" y="82"/>
                    <a:pt x="20" y="103"/>
                  </a:cubicBezTo>
                  <a:lnTo>
                    <a:pt x="20" y="123"/>
                  </a:lnTo>
                  <a:cubicBezTo>
                    <a:pt x="41" y="144"/>
                    <a:pt x="41" y="164"/>
                    <a:pt x="41" y="164"/>
                  </a:cubicBezTo>
                  <a:cubicBezTo>
                    <a:pt x="62" y="185"/>
                    <a:pt x="82" y="185"/>
                    <a:pt x="82" y="205"/>
                  </a:cubicBezTo>
                  <a:lnTo>
                    <a:pt x="102" y="226"/>
                  </a:lnTo>
                  <a:lnTo>
                    <a:pt x="123" y="226"/>
                  </a:lnTo>
                  <a:lnTo>
                    <a:pt x="144" y="226"/>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1" name="Freeform 338">
              <a:extLst>
                <a:ext uri="{FF2B5EF4-FFF2-40B4-BE49-F238E27FC236}">
                  <a16:creationId xmlns:a16="http://schemas.microsoft.com/office/drawing/2014/main" id="{90FF11A9-7CCD-F645-8BF6-F854E51A9755}"/>
                </a:ext>
              </a:extLst>
            </p:cNvPr>
            <p:cNvSpPr>
              <a:spLocks noChangeArrowheads="1"/>
            </p:cNvSpPr>
            <p:nvPr/>
          </p:nvSpPr>
          <p:spPr bwMode="auto">
            <a:xfrm>
              <a:off x="4749800" y="7983538"/>
              <a:ext cx="15875" cy="15875"/>
            </a:xfrm>
            <a:custGeom>
              <a:avLst/>
              <a:gdLst>
                <a:gd name="T0" fmla="*/ 41 w 42"/>
                <a:gd name="T1" fmla="*/ 0 h 42"/>
                <a:gd name="T2" fmla="*/ 41 w 42"/>
                <a:gd name="T3" fmla="*/ 0 h 42"/>
                <a:gd name="T4" fmla="*/ 21 w 42"/>
                <a:gd name="T5" fmla="*/ 0 h 42"/>
                <a:gd name="T6" fmla="*/ 21 w 42"/>
                <a:gd name="T7" fmla="*/ 0 h 42"/>
                <a:gd name="T8" fmla="*/ 21 w 42"/>
                <a:gd name="T9" fmla="*/ 20 h 42"/>
                <a:gd name="T10" fmla="*/ 21 w 42"/>
                <a:gd name="T11" fmla="*/ 41 h 42"/>
                <a:gd name="T12" fmla="*/ 41 w 42"/>
                <a:gd name="T13" fmla="*/ 20 h 42"/>
                <a:gd name="T14" fmla="*/ 41 w 42"/>
                <a:gd name="T15" fmla="*/ 20 h 42"/>
                <a:gd name="T16" fmla="*/ 41 w 4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1" y="0"/>
                  </a:moveTo>
                  <a:lnTo>
                    <a:pt x="41" y="0"/>
                  </a:lnTo>
                  <a:cubicBezTo>
                    <a:pt x="41" y="0"/>
                    <a:pt x="41" y="0"/>
                    <a:pt x="21" y="0"/>
                  </a:cubicBezTo>
                  <a:lnTo>
                    <a:pt x="21" y="0"/>
                  </a:lnTo>
                  <a:cubicBezTo>
                    <a:pt x="0" y="0"/>
                    <a:pt x="0" y="20"/>
                    <a:pt x="21" y="20"/>
                  </a:cubicBezTo>
                  <a:lnTo>
                    <a:pt x="21" y="41"/>
                  </a:lnTo>
                  <a:cubicBezTo>
                    <a:pt x="21" y="41"/>
                    <a:pt x="41" y="41"/>
                    <a:pt x="41" y="20"/>
                  </a:cubicBezTo>
                  <a:lnTo>
                    <a:pt x="41" y="20"/>
                  </a:lnTo>
                  <a:lnTo>
                    <a:pt x="4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2" name="Freeform 339">
              <a:extLst>
                <a:ext uri="{FF2B5EF4-FFF2-40B4-BE49-F238E27FC236}">
                  <a16:creationId xmlns:a16="http://schemas.microsoft.com/office/drawing/2014/main" id="{10886012-0EC8-394E-985C-4E510E6419D8}"/>
                </a:ext>
              </a:extLst>
            </p:cNvPr>
            <p:cNvSpPr>
              <a:spLocks noChangeArrowheads="1"/>
            </p:cNvSpPr>
            <p:nvPr/>
          </p:nvSpPr>
          <p:spPr bwMode="auto">
            <a:xfrm>
              <a:off x="4764088" y="7997825"/>
              <a:ext cx="7937" cy="7938"/>
            </a:xfrm>
            <a:custGeom>
              <a:avLst/>
              <a:gdLst>
                <a:gd name="T0" fmla="*/ 0 w 21"/>
                <a:gd name="T1" fmla="*/ 0 h 21"/>
                <a:gd name="T2" fmla="*/ 0 w 21"/>
                <a:gd name="T3" fmla="*/ 0 h 21"/>
                <a:gd name="T4" fmla="*/ 0 w 21"/>
                <a:gd name="T5" fmla="*/ 0 h 21"/>
                <a:gd name="T6" fmla="*/ 0 w 21"/>
                <a:gd name="T7" fmla="*/ 20 h 21"/>
                <a:gd name="T8" fmla="*/ 20 w 21"/>
                <a:gd name="T9" fmla="*/ 20 h 21"/>
                <a:gd name="T10" fmla="*/ 20 w 21"/>
                <a:gd name="T11" fmla="*/ 0 h 21"/>
                <a:gd name="T12" fmla="*/ 20 w 21"/>
                <a:gd name="T13" fmla="*/ 0 h 21"/>
                <a:gd name="T14" fmla="*/ 0 w 2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0"/>
                  </a:moveTo>
                  <a:lnTo>
                    <a:pt x="0" y="0"/>
                  </a:lnTo>
                  <a:lnTo>
                    <a:pt x="0" y="0"/>
                  </a:lnTo>
                  <a:lnTo>
                    <a:pt x="0" y="20"/>
                  </a:lnTo>
                  <a:lnTo>
                    <a:pt x="20" y="20"/>
                  </a:lnTo>
                  <a:cubicBezTo>
                    <a:pt x="20" y="20"/>
                    <a:pt x="20" y="20"/>
                    <a:pt x="20" y="0"/>
                  </a:cubicBezTo>
                  <a:lnTo>
                    <a:pt x="20" y="0"/>
                  </a:ln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3" name="Freeform 340">
              <a:extLst>
                <a:ext uri="{FF2B5EF4-FFF2-40B4-BE49-F238E27FC236}">
                  <a16:creationId xmlns:a16="http://schemas.microsoft.com/office/drawing/2014/main" id="{E74B26AD-4E4B-4D4B-83F1-DEFAF2647382}"/>
                </a:ext>
              </a:extLst>
            </p:cNvPr>
            <p:cNvSpPr>
              <a:spLocks noChangeArrowheads="1"/>
            </p:cNvSpPr>
            <p:nvPr/>
          </p:nvSpPr>
          <p:spPr bwMode="auto">
            <a:xfrm>
              <a:off x="4749800" y="7947025"/>
              <a:ext cx="15875" cy="30163"/>
            </a:xfrm>
            <a:custGeom>
              <a:avLst/>
              <a:gdLst>
                <a:gd name="T0" fmla="*/ 41 w 42"/>
                <a:gd name="T1" fmla="*/ 61 h 83"/>
                <a:gd name="T2" fmla="*/ 41 w 42"/>
                <a:gd name="T3" fmla="*/ 61 h 83"/>
                <a:gd name="T4" fmla="*/ 41 w 42"/>
                <a:gd name="T5" fmla="*/ 40 h 83"/>
                <a:gd name="T6" fmla="*/ 21 w 42"/>
                <a:gd name="T7" fmla="*/ 20 h 83"/>
                <a:gd name="T8" fmla="*/ 0 w 42"/>
                <a:gd name="T9" fmla="*/ 0 h 83"/>
                <a:gd name="T10" fmla="*/ 0 w 42"/>
                <a:gd name="T11" fmla="*/ 20 h 83"/>
                <a:gd name="T12" fmla="*/ 0 w 42"/>
                <a:gd name="T13" fmla="*/ 40 h 83"/>
                <a:gd name="T14" fmla="*/ 21 w 42"/>
                <a:gd name="T15" fmla="*/ 61 h 83"/>
                <a:gd name="T16" fmla="*/ 41 w 42"/>
                <a:gd name="T17" fmla="*/ 82 h 83"/>
                <a:gd name="T18" fmla="*/ 41 w 42"/>
                <a:gd name="T19" fmla="*/ 82 h 83"/>
                <a:gd name="T20" fmla="*/ 41 w 42"/>
                <a:gd name="T21" fmla="*/ 6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83">
                  <a:moveTo>
                    <a:pt x="41" y="61"/>
                  </a:moveTo>
                  <a:lnTo>
                    <a:pt x="41" y="61"/>
                  </a:lnTo>
                  <a:lnTo>
                    <a:pt x="41" y="40"/>
                  </a:lnTo>
                  <a:lnTo>
                    <a:pt x="21" y="20"/>
                  </a:lnTo>
                  <a:cubicBezTo>
                    <a:pt x="21" y="0"/>
                    <a:pt x="21" y="0"/>
                    <a:pt x="0" y="0"/>
                  </a:cubicBezTo>
                  <a:lnTo>
                    <a:pt x="0" y="20"/>
                  </a:lnTo>
                  <a:lnTo>
                    <a:pt x="0" y="40"/>
                  </a:lnTo>
                  <a:cubicBezTo>
                    <a:pt x="21" y="40"/>
                    <a:pt x="21" y="61"/>
                    <a:pt x="21" y="61"/>
                  </a:cubicBezTo>
                  <a:cubicBezTo>
                    <a:pt x="21" y="61"/>
                    <a:pt x="21" y="82"/>
                    <a:pt x="41" y="82"/>
                  </a:cubicBezTo>
                  <a:lnTo>
                    <a:pt x="41" y="82"/>
                  </a:lnTo>
                  <a:lnTo>
                    <a:pt x="41" y="6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4" name="Freeform 341">
              <a:extLst>
                <a:ext uri="{FF2B5EF4-FFF2-40B4-BE49-F238E27FC236}">
                  <a16:creationId xmlns:a16="http://schemas.microsoft.com/office/drawing/2014/main" id="{61D181C8-D4E5-D746-85E6-4FB053A1ABFD}"/>
                </a:ext>
              </a:extLst>
            </p:cNvPr>
            <p:cNvSpPr>
              <a:spLocks noChangeArrowheads="1"/>
            </p:cNvSpPr>
            <p:nvPr/>
          </p:nvSpPr>
          <p:spPr bwMode="auto">
            <a:xfrm>
              <a:off x="4764088" y="7931150"/>
              <a:ext cx="22225" cy="15875"/>
            </a:xfrm>
            <a:custGeom>
              <a:avLst/>
              <a:gdLst>
                <a:gd name="T0" fmla="*/ 20 w 63"/>
                <a:gd name="T1" fmla="*/ 42 h 43"/>
                <a:gd name="T2" fmla="*/ 20 w 63"/>
                <a:gd name="T3" fmla="*/ 42 h 43"/>
                <a:gd name="T4" fmla="*/ 0 w 63"/>
                <a:gd name="T5" fmla="*/ 42 h 43"/>
                <a:gd name="T6" fmla="*/ 0 w 63"/>
                <a:gd name="T7" fmla="*/ 21 h 43"/>
                <a:gd name="T8" fmla="*/ 20 w 63"/>
                <a:gd name="T9" fmla="*/ 21 h 43"/>
                <a:gd name="T10" fmla="*/ 20 w 63"/>
                <a:gd name="T11" fmla="*/ 0 h 43"/>
                <a:gd name="T12" fmla="*/ 41 w 63"/>
                <a:gd name="T13" fmla="*/ 0 h 43"/>
                <a:gd name="T14" fmla="*/ 62 w 63"/>
                <a:gd name="T15" fmla="*/ 0 h 43"/>
                <a:gd name="T16" fmla="*/ 62 w 63"/>
                <a:gd name="T17" fmla="*/ 21 h 43"/>
                <a:gd name="T18" fmla="*/ 62 w 63"/>
                <a:gd name="T19" fmla="*/ 42 h 43"/>
                <a:gd name="T20" fmla="*/ 41 w 63"/>
                <a:gd name="T21" fmla="*/ 42 h 43"/>
                <a:gd name="T22" fmla="*/ 20 w 63"/>
                <a:gd name="T23"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43">
                  <a:moveTo>
                    <a:pt x="20" y="42"/>
                  </a:moveTo>
                  <a:lnTo>
                    <a:pt x="20" y="42"/>
                  </a:lnTo>
                  <a:cubicBezTo>
                    <a:pt x="20" y="42"/>
                    <a:pt x="20" y="42"/>
                    <a:pt x="0" y="42"/>
                  </a:cubicBezTo>
                  <a:lnTo>
                    <a:pt x="0" y="21"/>
                  </a:lnTo>
                  <a:lnTo>
                    <a:pt x="20" y="21"/>
                  </a:lnTo>
                  <a:cubicBezTo>
                    <a:pt x="20" y="0"/>
                    <a:pt x="20" y="0"/>
                    <a:pt x="20" y="0"/>
                  </a:cubicBezTo>
                  <a:cubicBezTo>
                    <a:pt x="41" y="0"/>
                    <a:pt x="41" y="0"/>
                    <a:pt x="41" y="0"/>
                  </a:cubicBezTo>
                  <a:cubicBezTo>
                    <a:pt x="41" y="0"/>
                    <a:pt x="41" y="0"/>
                    <a:pt x="62" y="0"/>
                  </a:cubicBezTo>
                  <a:cubicBezTo>
                    <a:pt x="62" y="21"/>
                    <a:pt x="62" y="21"/>
                    <a:pt x="62" y="21"/>
                  </a:cubicBezTo>
                  <a:lnTo>
                    <a:pt x="62" y="42"/>
                  </a:lnTo>
                  <a:lnTo>
                    <a:pt x="41" y="42"/>
                  </a:lnTo>
                  <a:lnTo>
                    <a:pt x="20" y="4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5" name="Freeform 342">
              <a:extLst>
                <a:ext uri="{FF2B5EF4-FFF2-40B4-BE49-F238E27FC236}">
                  <a16:creationId xmlns:a16="http://schemas.microsoft.com/office/drawing/2014/main" id="{F567CC04-2AAB-5C4A-A97A-2CE401A7CFD9}"/>
                </a:ext>
              </a:extLst>
            </p:cNvPr>
            <p:cNvSpPr>
              <a:spLocks noChangeArrowheads="1"/>
            </p:cNvSpPr>
            <p:nvPr/>
          </p:nvSpPr>
          <p:spPr bwMode="auto">
            <a:xfrm>
              <a:off x="4675188" y="7821613"/>
              <a:ext cx="52387" cy="80962"/>
            </a:xfrm>
            <a:custGeom>
              <a:avLst/>
              <a:gdLst>
                <a:gd name="T0" fmla="*/ 144 w 145"/>
                <a:gd name="T1" fmla="*/ 225 h 226"/>
                <a:gd name="T2" fmla="*/ 144 w 145"/>
                <a:gd name="T3" fmla="*/ 225 h 226"/>
                <a:gd name="T4" fmla="*/ 144 w 145"/>
                <a:gd name="T5" fmla="*/ 185 h 226"/>
                <a:gd name="T6" fmla="*/ 144 w 145"/>
                <a:gd name="T7" fmla="*/ 164 h 226"/>
                <a:gd name="T8" fmla="*/ 144 w 145"/>
                <a:gd name="T9" fmla="*/ 143 h 226"/>
                <a:gd name="T10" fmla="*/ 123 w 145"/>
                <a:gd name="T11" fmla="*/ 123 h 226"/>
                <a:gd name="T12" fmla="*/ 102 w 145"/>
                <a:gd name="T13" fmla="*/ 61 h 226"/>
                <a:gd name="T14" fmla="*/ 82 w 145"/>
                <a:gd name="T15" fmla="*/ 41 h 226"/>
                <a:gd name="T16" fmla="*/ 62 w 145"/>
                <a:gd name="T17" fmla="*/ 21 h 226"/>
                <a:gd name="T18" fmla="*/ 41 w 145"/>
                <a:gd name="T19" fmla="*/ 0 h 226"/>
                <a:gd name="T20" fmla="*/ 20 w 145"/>
                <a:gd name="T21" fmla="*/ 0 h 226"/>
                <a:gd name="T22" fmla="*/ 0 w 145"/>
                <a:gd name="T23" fmla="*/ 21 h 226"/>
                <a:gd name="T24" fmla="*/ 0 w 145"/>
                <a:gd name="T25" fmla="*/ 41 h 226"/>
                <a:gd name="T26" fmla="*/ 20 w 145"/>
                <a:gd name="T27" fmla="*/ 82 h 226"/>
                <a:gd name="T28" fmla="*/ 20 w 145"/>
                <a:gd name="T29" fmla="*/ 103 h 226"/>
                <a:gd name="T30" fmla="*/ 20 w 145"/>
                <a:gd name="T31" fmla="*/ 143 h 226"/>
                <a:gd name="T32" fmla="*/ 41 w 145"/>
                <a:gd name="T33" fmla="*/ 143 h 226"/>
                <a:gd name="T34" fmla="*/ 62 w 145"/>
                <a:gd name="T35" fmla="*/ 164 h 226"/>
                <a:gd name="T36" fmla="*/ 62 w 145"/>
                <a:gd name="T37" fmla="*/ 164 h 226"/>
                <a:gd name="T38" fmla="*/ 82 w 145"/>
                <a:gd name="T39" fmla="*/ 185 h 226"/>
                <a:gd name="T40" fmla="*/ 82 w 145"/>
                <a:gd name="T41" fmla="*/ 205 h 226"/>
                <a:gd name="T42" fmla="*/ 102 w 145"/>
                <a:gd name="T43" fmla="*/ 225 h 226"/>
                <a:gd name="T44" fmla="*/ 144 w 145"/>
                <a:gd name="T4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226">
                  <a:moveTo>
                    <a:pt x="144" y="225"/>
                  </a:moveTo>
                  <a:lnTo>
                    <a:pt x="144" y="225"/>
                  </a:lnTo>
                  <a:cubicBezTo>
                    <a:pt x="144" y="225"/>
                    <a:pt x="123" y="205"/>
                    <a:pt x="144" y="185"/>
                  </a:cubicBezTo>
                  <a:cubicBezTo>
                    <a:pt x="144" y="185"/>
                    <a:pt x="144" y="185"/>
                    <a:pt x="144" y="164"/>
                  </a:cubicBezTo>
                  <a:lnTo>
                    <a:pt x="144" y="143"/>
                  </a:lnTo>
                  <a:lnTo>
                    <a:pt x="123" y="123"/>
                  </a:lnTo>
                  <a:cubicBezTo>
                    <a:pt x="123" y="103"/>
                    <a:pt x="102" y="82"/>
                    <a:pt x="102" y="61"/>
                  </a:cubicBezTo>
                  <a:cubicBezTo>
                    <a:pt x="82" y="61"/>
                    <a:pt x="82" y="41"/>
                    <a:pt x="82" y="41"/>
                  </a:cubicBezTo>
                  <a:cubicBezTo>
                    <a:pt x="82" y="21"/>
                    <a:pt x="62" y="21"/>
                    <a:pt x="62" y="21"/>
                  </a:cubicBezTo>
                  <a:cubicBezTo>
                    <a:pt x="41" y="21"/>
                    <a:pt x="41" y="0"/>
                    <a:pt x="41" y="0"/>
                  </a:cubicBezTo>
                  <a:cubicBezTo>
                    <a:pt x="20" y="0"/>
                    <a:pt x="20" y="0"/>
                    <a:pt x="20" y="0"/>
                  </a:cubicBezTo>
                  <a:cubicBezTo>
                    <a:pt x="0" y="21"/>
                    <a:pt x="0" y="21"/>
                    <a:pt x="0" y="21"/>
                  </a:cubicBezTo>
                  <a:lnTo>
                    <a:pt x="0" y="41"/>
                  </a:lnTo>
                  <a:cubicBezTo>
                    <a:pt x="0" y="61"/>
                    <a:pt x="20" y="61"/>
                    <a:pt x="20" y="82"/>
                  </a:cubicBezTo>
                  <a:lnTo>
                    <a:pt x="20" y="103"/>
                  </a:lnTo>
                  <a:cubicBezTo>
                    <a:pt x="20" y="103"/>
                    <a:pt x="20" y="123"/>
                    <a:pt x="20" y="143"/>
                  </a:cubicBezTo>
                  <a:cubicBezTo>
                    <a:pt x="41" y="143"/>
                    <a:pt x="41" y="143"/>
                    <a:pt x="41" y="143"/>
                  </a:cubicBezTo>
                  <a:cubicBezTo>
                    <a:pt x="41" y="164"/>
                    <a:pt x="62" y="164"/>
                    <a:pt x="62" y="164"/>
                  </a:cubicBezTo>
                  <a:lnTo>
                    <a:pt x="62" y="164"/>
                  </a:lnTo>
                  <a:cubicBezTo>
                    <a:pt x="62" y="185"/>
                    <a:pt x="82" y="185"/>
                    <a:pt x="82" y="185"/>
                  </a:cubicBezTo>
                  <a:cubicBezTo>
                    <a:pt x="82" y="205"/>
                    <a:pt x="82" y="205"/>
                    <a:pt x="82" y="205"/>
                  </a:cubicBezTo>
                  <a:cubicBezTo>
                    <a:pt x="102" y="225"/>
                    <a:pt x="102" y="225"/>
                    <a:pt x="102" y="225"/>
                  </a:cubicBezTo>
                  <a:cubicBezTo>
                    <a:pt x="123" y="225"/>
                    <a:pt x="123" y="225"/>
                    <a:pt x="144" y="22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6" name="Freeform 343">
              <a:extLst>
                <a:ext uri="{FF2B5EF4-FFF2-40B4-BE49-F238E27FC236}">
                  <a16:creationId xmlns:a16="http://schemas.microsoft.com/office/drawing/2014/main" id="{2EE1AEB7-D9A9-EF47-9563-71C7CE63D51F}"/>
                </a:ext>
              </a:extLst>
            </p:cNvPr>
            <p:cNvSpPr>
              <a:spLocks noChangeArrowheads="1"/>
            </p:cNvSpPr>
            <p:nvPr/>
          </p:nvSpPr>
          <p:spPr bwMode="auto">
            <a:xfrm>
              <a:off x="4586288" y="7740650"/>
              <a:ext cx="52387" cy="36513"/>
            </a:xfrm>
            <a:custGeom>
              <a:avLst/>
              <a:gdLst>
                <a:gd name="T0" fmla="*/ 123 w 145"/>
                <a:gd name="T1" fmla="*/ 102 h 103"/>
                <a:gd name="T2" fmla="*/ 123 w 145"/>
                <a:gd name="T3" fmla="*/ 102 h 103"/>
                <a:gd name="T4" fmla="*/ 123 w 145"/>
                <a:gd name="T5" fmla="*/ 82 h 103"/>
                <a:gd name="T6" fmla="*/ 102 w 145"/>
                <a:gd name="T7" fmla="*/ 41 h 103"/>
                <a:gd name="T8" fmla="*/ 82 w 145"/>
                <a:gd name="T9" fmla="*/ 41 h 103"/>
                <a:gd name="T10" fmla="*/ 62 w 145"/>
                <a:gd name="T11" fmla="*/ 20 h 103"/>
                <a:gd name="T12" fmla="*/ 41 w 145"/>
                <a:gd name="T13" fmla="*/ 0 h 103"/>
                <a:gd name="T14" fmla="*/ 20 w 145"/>
                <a:gd name="T15" fmla="*/ 0 h 103"/>
                <a:gd name="T16" fmla="*/ 0 w 145"/>
                <a:gd name="T17" fmla="*/ 0 h 103"/>
                <a:gd name="T18" fmla="*/ 20 w 145"/>
                <a:gd name="T19" fmla="*/ 41 h 103"/>
                <a:gd name="T20" fmla="*/ 20 w 145"/>
                <a:gd name="T21" fmla="*/ 41 h 103"/>
                <a:gd name="T22" fmla="*/ 41 w 145"/>
                <a:gd name="T23" fmla="*/ 61 h 103"/>
                <a:gd name="T24" fmla="*/ 62 w 145"/>
                <a:gd name="T25" fmla="*/ 82 h 103"/>
                <a:gd name="T26" fmla="*/ 82 w 145"/>
                <a:gd name="T27" fmla="*/ 82 h 103"/>
                <a:gd name="T28" fmla="*/ 102 w 145"/>
                <a:gd name="T29" fmla="*/ 102 h 103"/>
                <a:gd name="T30" fmla="*/ 123 w 145"/>
                <a:gd name="T31" fmla="*/ 10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5" h="103">
                  <a:moveTo>
                    <a:pt x="123" y="102"/>
                  </a:moveTo>
                  <a:lnTo>
                    <a:pt x="123" y="102"/>
                  </a:lnTo>
                  <a:cubicBezTo>
                    <a:pt x="123" y="102"/>
                    <a:pt x="144" y="82"/>
                    <a:pt x="123" y="82"/>
                  </a:cubicBezTo>
                  <a:cubicBezTo>
                    <a:pt x="123" y="61"/>
                    <a:pt x="123" y="61"/>
                    <a:pt x="102" y="41"/>
                  </a:cubicBezTo>
                  <a:lnTo>
                    <a:pt x="82" y="41"/>
                  </a:lnTo>
                  <a:cubicBezTo>
                    <a:pt x="82" y="20"/>
                    <a:pt x="62" y="20"/>
                    <a:pt x="62" y="20"/>
                  </a:cubicBezTo>
                  <a:cubicBezTo>
                    <a:pt x="62" y="0"/>
                    <a:pt x="41" y="0"/>
                    <a:pt x="41" y="0"/>
                  </a:cubicBezTo>
                  <a:lnTo>
                    <a:pt x="20" y="0"/>
                  </a:lnTo>
                  <a:cubicBezTo>
                    <a:pt x="20" y="0"/>
                    <a:pt x="20" y="0"/>
                    <a:pt x="0" y="0"/>
                  </a:cubicBezTo>
                  <a:cubicBezTo>
                    <a:pt x="0" y="20"/>
                    <a:pt x="20" y="20"/>
                    <a:pt x="20" y="41"/>
                  </a:cubicBezTo>
                  <a:lnTo>
                    <a:pt x="20" y="41"/>
                  </a:lnTo>
                  <a:cubicBezTo>
                    <a:pt x="41" y="41"/>
                    <a:pt x="41" y="61"/>
                    <a:pt x="41" y="61"/>
                  </a:cubicBezTo>
                  <a:cubicBezTo>
                    <a:pt x="62" y="61"/>
                    <a:pt x="62" y="61"/>
                    <a:pt x="62" y="82"/>
                  </a:cubicBezTo>
                  <a:cubicBezTo>
                    <a:pt x="82" y="82"/>
                    <a:pt x="82" y="82"/>
                    <a:pt x="82" y="82"/>
                  </a:cubicBezTo>
                  <a:cubicBezTo>
                    <a:pt x="82" y="102"/>
                    <a:pt x="102" y="102"/>
                    <a:pt x="102" y="102"/>
                  </a:cubicBezTo>
                  <a:lnTo>
                    <a:pt x="123" y="10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7" name="Freeform 344">
              <a:extLst>
                <a:ext uri="{FF2B5EF4-FFF2-40B4-BE49-F238E27FC236}">
                  <a16:creationId xmlns:a16="http://schemas.microsoft.com/office/drawing/2014/main" id="{F64B3B98-EC4A-B74E-9C89-651E4FC5E8BF}"/>
                </a:ext>
              </a:extLst>
            </p:cNvPr>
            <p:cNvSpPr>
              <a:spLocks noChangeArrowheads="1"/>
            </p:cNvSpPr>
            <p:nvPr/>
          </p:nvSpPr>
          <p:spPr bwMode="auto">
            <a:xfrm>
              <a:off x="4557713" y="7710488"/>
              <a:ext cx="15875" cy="7937"/>
            </a:xfrm>
            <a:custGeom>
              <a:avLst/>
              <a:gdLst>
                <a:gd name="T0" fmla="*/ 41 w 42"/>
                <a:gd name="T1" fmla="*/ 20 h 21"/>
                <a:gd name="T2" fmla="*/ 41 w 42"/>
                <a:gd name="T3" fmla="*/ 20 h 21"/>
                <a:gd name="T4" fmla="*/ 21 w 42"/>
                <a:gd name="T5" fmla="*/ 20 h 21"/>
                <a:gd name="T6" fmla="*/ 0 w 42"/>
                <a:gd name="T7" fmla="*/ 0 h 21"/>
                <a:gd name="T8" fmla="*/ 21 w 42"/>
                <a:gd name="T9" fmla="*/ 0 h 21"/>
                <a:gd name="T10" fmla="*/ 41 w 42"/>
                <a:gd name="T11" fmla="*/ 0 h 21"/>
                <a:gd name="T12" fmla="*/ 41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41" y="20"/>
                  </a:moveTo>
                  <a:lnTo>
                    <a:pt x="41" y="20"/>
                  </a:lnTo>
                  <a:lnTo>
                    <a:pt x="21" y="20"/>
                  </a:lnTo>
                  <a:cubicBezTo>
                    <a:pt x="21" y="20"/>
                    <a:pt x="0" y="20"/>
                    <a:pt x="0" y="0"/>
                  </a:cubicBezTo>
                  <a:lnTo>
                    <a:pt x="21" y="0"/>
                  </a:lnTo>
                  <a:cubicBezTo>
                    <a:pt x="21" y="0"/>
                    <a:pt x="21" y="0"/>
                    <a:pt x="41" y="0"/>
                  </a:cubicBezTo>
                  <a:cubicBezTo>
                    <a:pt x="41" y="0"/>
                    <a:pt x="41" y="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8" name="Freeform 345">
              <a:extLst>
                <a:ext uri="{FF2B5EF4-FFF2-40B4-BE49-F238E27FC236}">
                  <a16:creationId xmlns:a16="http://schemas.microsoft.com/office/drawing/2014/main" id="{1FE156C1-3510-3942-8A15-66DE16A9070F}"/>
                </a:ext>
              </a:extLst>
            </p:cNvPr>
            <p:cNvSpPr>
              <a:spLocks noChangeArrowheads="1"/>
            </p:cNvSpPr>
            <p:nvPr/>
          </p:nvSpPr>
          <p:spPr bwMode="auto">
            <a:xfrm>
              <a:off x="5795963" y="8655050"/>
              <a:ext cx="14287" cy="14288"/>
            </a:xfrm>
            <a:custGeom>
              <a:avLst/>
              <a:gdLst>
                <a:gd name="T0" fmla="*/ 20 w 41"/>
                <a:gd name="T1" fmla="*/ 40 h 41"/>
                <a:gd name="T2" fmla="*/ 20 w 41"/>
                <a:gd name="T3" fmla="*/ 40 h 41"/>
                <a:gd name="T4" fmla="*/ 40 w 41"/>
                <a:gd name="T5" fmla="*/ 20 h 41"/>
                <a:gd name="T6" fmla="*/ 20 w 41"/>
                <a:gd name="T7" fmla="*/ 0 h 41"/>
                <a:gd name="T8" fmla="*/ 0 w 41"/>
                <a:gd name="T9" fmla="*/ 0 h 41"/>
                <a:gd name="T10" fmla="*/ 0 w 41"/>
                <a:gd name="T11" fmla="*/ 20 h 41"/>
                <a:gd name="T12" fmla="*/ 0 w 41"/>
                <a:gd name="T13" fmla="*/ 40 h 41"/>
                <a:gd name="T14" fmla="*/ 20 w 41"/>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1">
                  <a:moveTo>
                    <a:pt x="20" y="40"/>
                  </a:moveTo>
                  <a:lnTo>
                    <a:pt x="20" y="40"/>
                  </a:lnTo>
                  <a:lnTo>
                    <a:pt x="40" y="20"/>
                  </a:lnTo>
                  <a:lnTo>
                    <a:pt x="20" y="0"/>
                  </a:lnTo>
                  <a:lnTo>
                    <a:pt x="0" y="0"/>
                  </a:lnTo>
                  <a:lnTo>
                    <a:pt x="0" y="20"/>
                  </a:lnTo>
                  <a:cubicBezTo>
                    <a:pt x="0" y="20"/>
                    <a:pt x="0" y="20"/>
                    <a:pt x="0" y="40"/>
                  </a:cubicBezTo>
                  <a:lnTo>
                    <a:pt x="20"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49" name="Freeform 346">
              <a:extLst>
                <a:ext uri="{FF2B5EF4-FFF2-40B4-BE49-F238E27FC236}">
                  <a16:creationId xmlns:a16="http://schemas.microsoft.com/office/drawing/2014/main" id="{6C364D1E-9D46-634B-B3EF-72D5D753BF1E}"/>
                </a:ext>
              </a:extLst>
            </p:cNvPr>
            <p:cNvSpPr>
              <a:spLocks noChangeArrowheads="1"/>
            </p:cNvSpPr>
            <p:nvPr/>
          </p:nvSpPr>
          <p:spPr bwMode="auto">
            <a:xfrm>
              <a:off x="5818188" y="8624888"/>
              <a:ext cx="52387" cy="52387"/>
            </a:xfrm>
            <a:custGeom>
              <a:avLst/>
              <a:gdLst>
                <a:gd name="T0" fmla="*/ 143 w 144"/>
                <a:gd name="T1" fmla="*/ 122 h 144"/>
                <a:gd name="T2" fmla="*/ 143 w 144"/>
                <a:gd name="T3" fmla="*/ 122 h 144"/>
                <a:gd name="T4" fmla="*/ 143 w 144"/>
                <a:gd name="T5" fmla="*/ 82 h 144"/>
                <a:gd name="T6" fmla="*/ 143 w 144"/>
                <a:gd name="T7" fmla="*/ 61 h 144"/>
                <a:gd name="T8" fmla="*/ 143 w 144"/>
                <a:gd name="T9" fmla="*/ 40 h 144"/>
                <a:gd name="T10" fmla="*/ 143 w 144"/>
                <a:gd name="T11" fmla="*/ 20 h 144"/>
                <a:gd name="T12" fmla="*/ 123 w 144"/>
                <a:gd name="T13" fmla="*/ 0 h 144"/>
                <a:gd name="T14" fmla="*/ 103 w 144"/>
                <a:gd name="T15" fmla="*/ 20 h 144"/>
                <a:gd name="T16" fmla="*/ 82 w 144"/>
                <a:gd name="T17" fmla="*/ 40 h 144"/>
                <a:gd name="T18" fmla="*/ 61 w 144"/>
                <a:gd name="T19" fmla="*/ 61 h 144"/>
                <a:gd name="T20" fmla="*/ 41 w 144"/>
                <a:gd name="T21" fmla="*/ 82 h 144"/>
                <a:gd name="T22" fmla="*/ 21 w 144"/>
                <a:gd name="T23" fmla="*/ 102 h 144"/>
                <a:gd name="T24" fmla="*/ 0 w 144"/>
                <a:gd name="T25" fmla="*/ 122 h 144"/>
                <a:gd name="T26" fmla="*/ 21 w 144"/>
                <a:gd name="T27" fmla="*/ 143 h 144"/>
                <a:gd name="T28" fmla="*/ 61 w 144"/>
                <a:gd name="T29" fmla="*/ 143 h 144"/>
                <a:gd name="T30" fmla="*/ 82 w 144"/>
                <a:gd name="T31" fmla="*/ 143 h 144"/>
                <a:gd name="T32" fmla="*/ 103 w 144"/>
                <a:gd name="T33" fmla="*/ 143 h 144"/>
                <a:gd name="T34" fmla="*/ 123 w 144"/>
                <a:gd name="T35" fmla="*/ 143 h 144"/>
                <a:gd name="T36" fmla="*/ 143 w 144"/>
                <a:gd name="T37" fmla="*/ 12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4" h="144">
                  <a:moveTo>
                    <a:pt x="143" y="122"/>
                  </a:moveTo>
                  <a:lnTo>
                    <a:pt x="143" y="122"/>
                  </a:lnTo>
                  <a:cubicBezTo>
                    <a:pt x="143" y="102"/>
                    <a:pt x="143" y="102"/>
                    <a:pt x="143" y="82"/>
                  </a:cubicBezTo>
                  <a:cubicBezTo>
                    <a:pt x="143" y="82"/>
                    <a:pt x="143" y="82"/>
                    <a:pt x="143" y="61"/>
                  </a:cubicBezTo>
                  <a:lnTo>
                    <a:pt x="143" y="40"/>
                  </a:lnTo>
                  <a:lnTo>
                    <a:pt x="143" y="20"/>
                  </a:lnTo>
                  <a:cubicBezTo>
                    <a:pt x="143" y="0"/>
                    <a:pt x="123" y="0"/>
                    <a:pt x="123" y="0"/>
                  </a:cubicBezTo>
                  <a:lnTo>
                    <a:pt x="103" y="20"/>
                  </a:lnTo>
                  <a:lnTo>
                    <a:pt x="82" y="40"/>
                  </a:lnTo>
                  <a:cubicBezTo>
                    <a:pt x="61" y="40"/>
                    <a:pt x="61" y="61"/>
                    <a:pt x="61" y="61"/>
                  </a:cubicBezTo>
                  <a:lnTo>
                    <a:pt x="41" y="82"/>
                  </a:lnTo>
                  <a:cubicBezTo>
                    <a:pt x="41" y="82"/>
                    <a:pt x="21" y="82"/>
                    <a:pt x="21" y="102"/>
                  </a:cubicBezTo>
                  <a:cubicBezTo>
                    <a:pt x="21" y="102"/>
                    <a:pt x="0" y="102"/>
                    <a:pt x="0" y="122"/>
                  </a:cubicBezTo>
                  <a:lnTo>
                    <a:pt x="21" y="143"/>
                  </a:lnTo>
                  <a:cubicBezTo>
                    <a:pt x="21" y="143"/>
                    <a:pt x="41" y="143"/>
                    <a:pt x="61" y="143"/>
                  </a:cubicBezTo>
                  <a:cubicBezTo>
                    <a:pt x="61" y="143"/>
                    <a:pt x="61" y="143"/>
                    <a:pt x="82" y="143"/>
                  </a:cubicBezTo>
                  <a:lnTo>
                    <a:pt x="103" y="143"/>
                  </a:lnTo>
                  <a:cubicBezTo>
                    <a:pt x="123" y="143"/>
                    <a:pt x="123" y="143"/>
                    <a:pt x="123" y="143"/>
                  </a:cubicBezTo>
                  <a:cubicBezTo>
                    <a:pt x="143" y="122"/>
                    <a:pt x="143" y="122"/>
                    <a:pt x="143" y="12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0" name="Freeform 347">
              <a:extLst>
                <a:ext uri="{FF2B5EF4-FFF2-40B4-BE49-F238E27FC236}">
                  <a16:creationId xmlns:a16="http://schemas.microsoft.com/office/drawing/2014/main" id="{BA7ADDAE-E0BA-A744-B76A-27992464237C}"/>
                </a:ext>
              </a:extLst>
            </p:cNvPr>
            <p:cNvSpPr>
              <a:spLocks noChangeArrowheads="1"/>
            </p:cNvSpPr>
            <p:nvPr/>
          </p:nvSpPr>
          <p:spPr bwMode="auto">
            <a:xfrm>
              <a:off x="5892800" y="8632825"/>
              <a:ext cx="7938" cy="7938"/>
            </a:xfrm>
            <a:custGeom>
              <a:avLst/>
              <a:gdLst>
                <a:gd name="T0" fmla="*/ 20 w 21"/>
                <a:gd name="T1" fmla="*/ 0 h 21"/>
                <a:gd name="T2" fmla="*/ 20 w 21"/>
                <a:gd name="T3" fmla="*/ 0 h 21"/>
                <a:gd name="T4" fmla="*/ 20 w 21"/>
                <a:gd name="T5" fmla="*/ 20 h 21"/>
                <a:gd name="T6" fmla="*/ 0 w 21"/>
                <a:gd name="T7" fmla="*/ 20 h 21"/>
                <a:gd name="T8" fmla="*/ 0 w 21"/>
                <a:gd name="T9" fmla="*/ 20 h 21"/>
                <a:gd name="T10" fmla="*/ 0 w 21"/>
                <a:gd name="T11" fmla="*/ 0 h 21"/>
                <a:gd name="T12" fmla="*/ 0 w 21"/>
                <a:gd name="T13" fmla="*/ 0 h 21"/>
                <a:gd name="T14" fmla="*/ 20 w 2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0"/>
                  </a:moveTo>
                  <a:lnTo>
                    <a:pt x="20" y="0"/>
                  </a:lnTo>
                  <a:lnTo>
                    <a:pt x="20" y="20"/>
                  </a:lnTo>
                  <a:cubicBezTo>
                    <a:pt x="0" y="20"/>
                    <a:pt x="0" y="20"/>
                    <a:pt x="0" y="20"/>
                  </a:cubicBezTo>
                  <a:lnTo>
                    <a:pt x="0" y="20"/>
                  </a:lnTo>
                  <a:lnTo>
                    <a:pt x="0" y="0"/>
                  </a:lnTo>
                  <a:lnTo>
                    <a:pt x="0" y="0"/>
                  </a:lnTo>
                  <a:cubicBezTo>
                    <a:pt x="20" y="0"/>
                    <a:pt x="2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1" name="Freeform 348">
              <a:extLst>
                <a:ext uri="{FF2B5EF4-FFF2-40B4-BE49-F238E27FC236}">
                  <a16:creationId xmlns:a16="http://schemas.microsoft.com/office/drawing/2014/main" id="{E02D5358-4A45-FF4C-8D5A-8EFBCFDB305B}"/>
                </a:ext>
              </a:extLst>
            </p:cNvPr>
            <p:cNvSpPr>
              <a:spLocks noChangeArrowheads="1"/>
            </p:cNvSpPr>
            <p:nvPr/>
          </p:nvSpPr>
          <p:spPr bwMode="auto">
            <a:xfrm>
              <a:off x="5929313" y="8624888"/>
              <a:ext cx="7937" cy="14287"/>
            </a:xfrm>
            <a:custGeom>
              <a:avLst/>
              <a:gdLst>
                <a:gd name="T0" fmla="*/ 21 w 22"/>
                <a:gd name="T1" fmla="*/ 20 h 41"/>
                <a:gd name="T2" fmla="*/ 21 w 22"/>
                <a:gd name="T3" fmla="*/ 20 h 41"/>
                <a:gd name="T4" fmla="*/ 21 w 22"/>
                <a:gd name="T5" fmla="*/ 20 h 41"/>
                <a:gd name="T6" fmla="*/ 0 w 22"/>
                <a:gd name="T7" fmla="*/ 20 h 41"/>
                <a:gd name="T8" fmla="*/ 0 w 22"/>
                <a:gd name="T9" fmla="*/ 0 h 41"/>
                <a:gd name="T10" fmla="*/ 0 w 22"/>
                <a:gd name="T11" fmla="*/ 0 h 41"/>
                <a:gd name="T12" fmla="*/ 21 w 22"/>
                <a:gd name="T13" fmla="*/ 0 h 41"/>
                <a:gd name="T14" fmla="*/ 21 w 22"/>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1">
                  <a:moveTo>
                    <a:pt x="21" y="20"/>
                  </a:moveTo>
                  <a:lnTo>
                    <a:pt x="21" y="20"/>
                  </a:lnTo>
                  <a:lnTo>
                    <a:pt x="21" y="20"/>
                  </a:lnTo>
                  <a:cubicBezTo>
                    <a:pt x="21" y="40"/>
                    <a:pt x="0" y="20"/>
                    <a:pt x="0" y="20"/>
                  </a:cubicBezTo>
                  <a:cubicBezTo>
                    <a:pt x="0" y="20"/>
                    <a:pt x="0" y="20"/>
                    <a:pt x="0" y="0"/>
                  </a:cubicBezTo>
                  <a:lnTo>
                    <a:pt x="0" y="0"/>
                  </a:lnTo>
                  <a:cubicBezTo>
                    <a:pt x="21" y="0"/>
                    <a:pt x="21" y="0"/>
                    <a:pt x="21" y="0"/>
                  </a:cubicBez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2" name="Freeform 349">
              <a:extLst>
                <a:ext uri="{FF2B5EF4-FFF2-40B4-BE49-F238E27FC236}">
                  <a16:creationId xmlns:a16="http://schemas.microsoft.com/office/drawing/2014/main" id="{8868CE3A-A605-AD4E-9A03-295CF3D0FCC9}"/>
                </a:ext>
              </a:extLst>
            </p:cNvPr>
            <p:cNvSpPr>
              <a:spLocks noChangeArrowheads="1"/>
            </p:cNvSpPr>
            <p:nvPr/>
          </p:nvSpPr>
          <p:spPr bwMode="auto">
            <a:xfrm>
              <a:off x="5959475" y="8602663"/>
              <a:ext cx="15875" cy="15875"/>
            </a:xfrm>
            <a:custGeom>
              <a:avLst/>
              <a:gdLst>
                <a:gd name="T0" fmla="*/ 21 w 42"/>
                <a:gd name="T1" fmla="*/ 41 h 42"/>
                <a:gd name="T2" fmla="*/ 21 w 42"/>
                <a:gd name="T3" fmla="*/ 41 h 42"/>
                <a:gd name="T4" fmla="*/ 0 w 42"/>
                <a:gd name="T5" fmla="*/ 20 h 42"/>
                <a:gd name="T6" fmla="*/ 21 w 42"/>
                <a:gd name="T7" fmla="*/ 0 h 42"/>
                <a:gd name="T8" fmla="*/ 41 w 42"/>
                <a:gd name="T9" fmla="*/ 0 h 42"/>
                <a:gd name="T10" fmla="*/ 41 w 42"/>
                <a:gd name="T11" fmla="*/ 20 h 42"/>
                <a:gd name="T12" fmla="*/ 21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1" y="41"/>
                  </a:moveTo>
                  <a:lnTo>
                    <a:pt x="21" y="41"/>
                  </a:lnTo>
                  <a:lnTo>
                    <a:pt x="0" y="20"/>
                  </a:lnTo>
                  <a:lnTo>
                    <a:pt x="21" y="0"/>
                  </a:lnTo>
                  <a:lnTo>
                    <a:pt x="41" y="0"/>
                  </a:lnTo>
                  <a:lnTo>
                    <a:pt x="41" y="20"/>
                  </a:lnTo>
                  <a:lnTo>
                    <a:pt x="2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3" name="Freeform 350">
              <a:extLst>
                <a:ext uri="{FF2B5EF4-FFF2-40B4-BE49-F238E27FC236}">
                  <a16:creationId xmlns:a16="http://schemas.microsoft.com/office/drawing/2014/main" id="{6C4DC431-9575-8143-A8F9-465D2714483E}"/>
                </a:ext>
              </a:extLst>
            </p:cNvPr>
            <p:cNvSpPr>
              <a:spLocks noChangeArrowheads="1"/>
            </p:cNvSpPr>
            <p:nvPr/>
          </p:nvSpPr>
          <p:spPr bwMode="auto">
            <a:xfrm>
              <a:off x="5878513" y="8616950"/>
              <a:ext cx="155575" cy="80963"/>
            </a:xfrm>
            <a:custGeom>
              <a:avLst/>
              <a:gdLst>
                <a:gd name="T0" fmla="*/ 266 w 431"/>
                <a:gd name="T1" fmla="*/ 21 h 226"/>
                <a:gd name="T2" fmla="*/ 266 w 431"/>
                <a:gd name="T3" fmla="*/ 21 h 226"/>
                <a:gd name="T4" fmla="*/ 246 w 431"/>
                <a:gd name="T5" fmla="*/ 0 h 226"/>
                <a:gd name="T6" fmla="*/ 225 w 431"/>
                <a:gd name="T7" fmla="*/ 21 h 226"/>
                <a:gd name="T8" fmla="*/ 184 w 431"/>
                <a:gd name="T9" fmla="*/ 21 h 226"/>
                <a:gd name="T10" fmla="*/ 205 w 431"/>
                <a:gd name="T11" fmla="*/ 41 h 226"/>
                <a:gd name="T12" fmla="*/ 205 w 431"/>
                <a:gd name="T13" fmla="*/ 61 h 226"/>
                <a:gd name="T14" fmla="*/ 225 w 431"/>
                <a:gd name="T15" fmla="*/ 103 h 226"/>
                <a:gd name="T16" fmla="*/ 225 w 431"/>
                <a:gd name="T17" fmla="*/ 123 h 226"/>
                <a:gd name="T18" fmla="*/ 205 w 431"/>
                <a:gd name="T19" fmla="*/ 123 h 226"/>
                <a:gd name="T20" fmla="*/ 184 w 431"/>
                <a:gd name="T21" fmla="*/ 123 h 226"/>
                <a:gd name="T22" fmla="*/ 164 w 431"/>
                <a:gd name="T23" fmla="*/ 103 h 226"/>
                <a:gd name="T24" fmla="*/ 143 w 431"/>
                <a:gd name="T25" fmla="*/ 82 h 226"/>
                <a:gd name="T26" fmla="*/ 123 w 431"/>
                <a:gd name="T27" fmla="*/ 82 h 226"/>
                <a:gd name="T28" fmla="*/ 82 w 431"/>
                <a:gd name="T29" fmla="*/ 82 h 226"/>
                <a:gd name="T30" fmla="*/ 61 w 431"/>
                <a:gd name="T31" fmla="*/ 82 h 226"/>
                <a:gd name="T32" fmla="*/ 41 w 431"/>
                <a:gd name="T33" fmla="*/ 103 h 226"/>
                <a:gd name="T34" fmla="*/ 21 w 431"/>
                <a:gd name="T35" fmla="*/ 123 h 226"/>
                <a:gd name="T36" fmla="*/ 21 w 431"/>
                <a:gd name="T37" fmla="*/ 143 h 226"/>
                <a:gd name="T38" fmla="*/ 0 w 431"/>
                <a:gd name="T39" fmla="*/ 164 h 226"/>
                <a:gd name="T40" fmla="*/ 0 w 431"/>
                <a:gd name="T41" fmla="*/ 185 h 226"/>
                <a:gd name="T42" fmla="*/ 0 w 431"/>
                <a:gd name="T43" fmla="*/ 205 h 226"/>
                <a:gd name="T44" fmla="*/ 21 w 431"/>
                <a:gd name="T45" fmla="*/ 205 h 226"/>
                <a:gd name="T46" fmla="*/ 41 w 431"/>
                <a:gd name="T47" fmla="*/ 225 h 226"/>
                <a:gd name="T48" fmla="*/ 61 w 431"/>
                <a:gd name="T49" fmla="*/ 205 h 226"/>
                <a:gd name="T50" fmla="*/ 82 w 431"/>
                <a:gd name="T51" fmla="*/ 185 h 226"/>
                <a:gd name="T52" fmla="*/ 123 w 431"/>
                <a:gd name="T53" fmla="*/ 185 h 226"/>
                <a:gd name="T54" fmla="*/ 143 w 431"/>
                <a:gd name="T55" fmla="*/ 185 h 226"/>
                <a:gd name="T56" fmla="*/ 164 w 431"/>
                <a:gd name="T57" fmla="*/ 164 h 226"/>
                <a:gd name="T58" fmla="*/ 225 w 431"/>
                <a:gd name="T59" fmla="*/ 164 h 226"/>
                <a:gd name="T60" fmla="*/ 246 w 431"/>
                <a:gd name="T61" fmla="*/ 164 h 226"/>
                <a:gd name="T62" fmla="*/ 266 w 431"/>
                <a:gd name="T63" fmla="*/ 143 h 226"/>
                <a:gd name="T64" fmla="*/ 287 w 431"/>
                <a:gd name="T65" fmla="*/ 143 h 226"/>
                <a:gd name="T66" fmla="*/ 307 w 431"/>
                <a:gd name="T67" fmla="*/ 164 h 226"/>
                <a:gd name="T68" fmla="*/ 328 w 431"/>
                <a:gd name="T69" fmla="*/ 164 h 226"/>
                <a:gd name="T70" fmla="*/ 348 w 431"/>
                <a:gd name="T71" fmla="*/ 143 h 226"/>
                <a:gd name="T72" fmla="*/ 369 w 431"/>
                <a:gd name="T73" fmla="*/ 143 h 226"/>
                <a:gd name="T74" fmla="*/ 410 w 431"/>
                <a:gd name="T75" fmla="*/ 143 h 226"/>
                <a:gd name="T76" fmla="*/ 430 w 431"/>
                <a:gd name="T77" fmla="*/ 143 h 226"/>
                <a:gd name="T78" fmla="*/ 430 w 431"/>
                <a:gd name="T79" fmla="*/ 103 h 226"/>
                <a:gd name="T80" fmla="*/ 410 w 431"/>
                <a:gd name="T81" fmla="*/ 103 h 226"/>
                <a:gd name="T82" fmla="*/ 410 w 431"/>
                <a:gd name="T83" fmla="*/ 82 h 226"/>
                <a:gd name="T84" fmla="*/ 389 w 431"/>
                <a:gd name="T85" fmla="*/ 82 h 226"/>
                <a:gd name="T86" fmla="*/ 389 w 431"/>
                <a:gd name="T87" fmla="*/ 61 h 226"/>
                <a:gd name="T88" fmla="*/ 369 w 431"/>
                <a:gd name="T89" fmla="*/ 41 h 226"/>
                <a:gd name="T90" fmla="*/ 348 w 431"/>
                <a:gd name="T91" fmla="*/ 61 h 226"/>
                <a:gd name="T92" fmla="*/ 328 w 431"/>
                <a:gd name="T93" fmla="*/ 41 h 226"/>
                <a:gd name="T94" fmla="*/ 307 w 431"/>
                <a:gd name="T95" fmla="*/ 41 h 226"/>
                <a:gd name="T96" fmla="*/ 287 w 431"/>
                <a:gd name="T97" fmla="*/ 41 h 226"/>
                <a:gd name="T98" fmla="*/ 266 w 431"/>
                <a:gd name="T99" fmla="*/ 41 h 226"/>
                <a:gd name="T100" fmla="*/ 266 w 431"/>
                <a:gd name="T101" fmla="*/ 2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1" h="226">
                  <a:moveTo>
                    <a:pt x="266" y="21"/>
                  </a:moveTo>
                  <a:lnTo>
                    <a:pt x="266" y="21"/>
                  </a:lnTo>
                  <a:cubicBezTo>
                    <a:pt x="246" y="21"/>
                    <a:pt x="246" y="0"/>
                    <a:pt x="246" y="0"/>
                  </a:cubicBezTo>
                  <a:cubicBezTo>
                    <a:pt x="225" y="0"/>
                    <a:pt x="225" y="0"/>
                    <a:pt x="225" y="21"/>
                  </a:cubicBezTo>
                  <a:cubicBezTo>
                    <a:pt x="205" y="21"/>
                    <a:pt x="205" y="21"/>
                    <a:pt x="184" y="21"/>
                  </a:cubicBezTo>
                  <a:cubicBezTo>
                    <a:pt x="184" y="21"/>
                    <a:pt x="184" y="41"/>
                    <a:pt x="205" y="41"/>
                  </a:cubicBezTo>
                  <a:cubicBezTo>
                    <a:pt x="205" y="61"/>
                    <a:pt x="205" y="61"/>
                    <a:pt x="205" y="61"/>
                  </a:cubicBezTo>
                  <a:cubicBezTo>
                    <a:pt x="225" y="82"/>
                    <a:pt x="225" y="82"/>
                    <a:pt x="225" y="103"/>
                  </a:cubicBezTo>
                  <a:cubicBezTo>
                    <a:pt x="246" y="103"/>
                    <a:pt x="225" y="123"/>
                    <a:pt x="225" y="123"/>
                  </a:cubicBezTo>
                  <a:cubicBezTo>
                    <a:pt x="225" y="123"/>
                    <a:pt x="225" y="123"/>
                    <a:pt x="205" y="123"/>
                  </a:cubicBezTo>
                  <a:cubicBezTo>
                    <a:pt x="205" y="123"/>
                    <a:pt x="184" y="143"/>
                    <a:pt x="184" y="123"/>
                  </a:cubicBezTo>
                  <a:cubicBezTo>
                    <a:pt x="184" y="123"/>
                    <a:pt x="184" y="103"/>
                    <a:pt x="164" y="103"/>
                  </a:cubicBezTo>
                  <a:cubicBezTo>
                    <a:pt x="164" y="82"/>
                    <a:pt x="164" y="82"/>
                    <a:pt x="143" y="82"/>
                  </a:cubicBezTo>
                  <a:lnTo>
                    <a:pt x="123" y="82"/>
                  </a:lnTo>
                  <a:cubicBezTo>
                    <a:pt x="103" y="82"/>
                    <a:pt x="82" y="82"/>
                    <a:pt x="82" y="82"/>
                  </a:cubicBezTo>
                  <a:lnTo>
                    <a:pt x="61" y="82"/>
                  </a:lnTo>
                  <a:cubicBezTo>
                    <a:pt x="41" y="82"/>
                    <a:pt x="41" y="103"/>
                    <a:pt x="41" y="103"/>
                  </a:cubicBezTo>
                  <a:cubicBezTo>
                    <a:pt x="21" y="103"/>
                    <a:pt x="21" y="103"/>
                    <a:pt x="21" y="123"/>
                  </a:cubicBezTo>
                  <a:lnTo>
                    <a:pt x="21" y="143"/>
                  </a:lnTo>
                  <a:cubicBezTo>
                    <a:pt x="21" y="164"/>
                    <a:pt x="0" y="164"/>
                    <a:pt x="0" y="164"/>
                  </a:cubicBezTo>
                  <a:lnTo>
                    <a:pt x="0" y="185"/>
                  </a:lnTo>
                  <a:lnTo>
                    <a:pt x="0" y="205"/>
                  </a:lnTo>
                  <a:cubicBezTo>
                    <a:pt x="21" y="205"/>
                    <a:pt x="21" y="205"/>
                    <a:pt x="21" y="205"/>
                  </a:cubicBezTo>
                  <a:cubicBezTo>
                    <a:pt x="41" y="225"/>
                    <a:pt x="41" y="225"/>
                    <a:pt x="41" y="225"/>
                  </a:cubicBezTo>
                  <a:cubicBezTo>
                    <a:pt x="61" y="205"/>
                    <a:pt x="61" y="205"/>
                    <a:pt x="61" y="205"/>
                  </a:cubicBezTo>
                  <a:cubicBezTo>
                    <a:pt x="82" y="185"/>
                    <a:pt x="82" y="185"/>
                    <a:pt x="82" y="185"/>
                  </a:cubicBezTo>
                  <a:cubicBezTo>
                    <a:pt x="103" y="185"/>
                    <a:pt x="103" y="185"/>
                    <a:pt x="123" y="185"/>
                  </a:cubicBezTo>
                  <a:lnTo>
                    <a:pt x="143" y="185"/>
                  </a:lnTo>
                  <a:cubicBezTo>
                    <a:pt x="164" y="185"/>
                    <a:pt x="164" y="164"/>
                    <a:pt x="164" y="164"/>
                  </a:cubicBezTo>
                  <a:cubicBezTo>
                    <a:pt x="184" y="164"/>
                    <a:pt x="205" y="164"/>
                    <a:pt x="225" y="164"/>
                  </a:cubicBezTo>
                  <a:lnTo>
                    <a:pt x="246" y="164"/>
                  </a:lnTo>
                  <a:lnTo>
                    <a:pt x="266" y="143"/>
                  </a:lnTo>
                  <a:lnTo>
                    <a:pt x="287" y="143"/>
                  </a:lnTo>
                  <a:lnTo>
                    <a:pt x="307" y="164"/>
                  </a:lnTo>
                  <a:lnTo>
                    <a:pt x="328" y="164"/>
                  </a:lnTo>
                  <a:cubicBezTo>
                    <a:pt x="328" y="164"/>
                    <a:pt x="348" y="164"/>
                    <a:pt x="348" y="143"/>
                  </a:cubicBezTo>
                  <a:lnTo>
                    <a:pt x="369" y="143"/>
                  </a:lnTo>
                  <a:cubicBezTo>
                    <a:pt x="389" y="143"/>
                    <a:pt x="389" y="143"/>
                    <a:pt x="410" y="143"/>
                  </a:cubicBezTo>
                  <a:lnTo>
                    <a:pt x="430" y="143"/>
                  </a:lnTo>
                  <a:cubicBezTo>
                    <a:pt x="430" y="123"/>
                    <a:pt x="430" y="123"/>
                    <a:pt x="430" y="103"/>
                  </a:cubicBezTo>
                  <a:cubicBezTo>
                    <a:pt x="430" y="103"/>
                    <a:pt x="430" y="103"/>
                    <a:pt x="410" y="103"/>
                  </a:cubicBezTo>
                  <a:cubicBezTo>
                    <a:pt x="410" y="103"/>
                    <a:pt x="410" y="103"/>
                    <a:pt x="410" y="82"/>
                  </a:cubicBezTo>
                  <a:cubicBezTo>
                    <a:pt x="389" y="82"/>
                    <a:pt x="389" y="82"/>
                    <a:pt x="389" y="82"/>
                  </a:cubicBezTo>
                  <a:lnTo>
                    <a:pt x="389" y="61"/>
                  </a:lnTo>
                  <a:lnTo>
                    <a:pt x="369" y="41"/>
                  </a:lnTo>
                  <a:lnTo>
                    <a:pt x="348" y="61"/>
                  </a:lnTo>
                  <a:lnTo>
                    <a:pt x="328" y="41"/>
                  </a:lnTo>
                  <a:lnTo>
                    <a:pt x="307" y="41"/>
                  </a:lnTo>
                  <a:cubicBezTo>
                    <a:pt x="307" y="41"/>
                    <a:pt x="287" y="61"/>
                    <a:pt x="287" y="41"/>
                  </a:cubicBezTo>
                  <a:lnTo>
                    <a:pt x="266" y="41"/>
                  </a:lnTo>
                  <a:cubicBezTo>
                    <a:pt x="266" y="41"/>
                    <a:pt x="266" y="41"/>
                    <a:pt x="266"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4" name="Freeform 351">
              <a:extLst>
                <a:ext uri="{FF2B5EF4-FFF2-40B4-BE49-F238E27FC236}">
                  <a16:creationId xmlns:a16="http://schemas.microsoft.com/office/drawing/2014/main" id="{8157F02B-CA81-8C4E-96D8-0EC7009EBA97}"/>
                </a:ext>
              </a:extLst>
            </p:cNvPr>
            <p:cNvSpPr>
              <a:spLocks noChangeArrowheads="1"/>
            </p:cNvSpPr>
            <p:nvPr/>
          </p:nvSpPr>
          <p:spPr bwMode="auto">
            <a:xfrm>
              <a:off x="6040438" y="8647113"/>
              <a:ext cx="15875" cy="15875"/>
            </a:xfrm>
            <a:custGeom>
              <a:avLst/>
              <a:gdLst>
                <a:gd name="T0" fmla="*/ 20 w 42"/>
                <a:gd name="T1" fmla="*/ 41 h 42"/>
                <a:gd name="T2" fmla="*/ 20 w 42"/>
                <a:gd name="T3" fmla="*/ 41 h 42"/>
                <a:gd name="T4" fmla="*/ 41 w 42"/>
                <a:gd name="T5" fmla="*/ 41 h 42"/>
                <a:gd name="T6" fmla="*/ 20 w 42"/>
                <a:gd name="T7" fmla="*/ 0 h 42"/>
                <a:gd name="T8" fmla="*/ 20 w 42"/>
                <a:gd name="T9" fmla="*/ 0 h 42"/>
                <a:gd name="T10" fmla="*/ 20 w 42"/>
                <a:gd name="T11" fmla="*/ 0 h 42"/>
                <a:gd name="T12" fmla="*/ 0 w 42"/>
                <a:gd name="T13" fmla="*/ 21 h 42"/>
                <a:gd name="T14" fmla="*/ 20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0" y="41"/>
                  </a:moveTo>
                  <a:lnTo>
                    <a:pt x="20" y="41"/>
                  </a:lnTo>
                  <a:cubicBezTo>
                    <a:pt x="41" y="41"/>
                    <a:pt x="41" y="41"/>
                    <a:pt x="41" y="41"/>
                  </a:cubicBezTo>
                  <a:cubicBezTo>
                    <a:pt x="41" y="21"/>
                    <a:pt x="41" y="21"/>
                    <a:pt x="20" y="0"/>
                  </a:cubicBezTo>
                  <a:lnTo>
                    <a:pt x="20" y="0"/>
                  </a:lnTo>
                  <a:lnTo>
                    <a:pt x="20" y="0"/>
                  </a:lnTo>
                  <a:cubicBezTo>
                    <a:pt x="20" y="21"/>
                    <a:pt x="0" y="21"/>
                    <a:pt x="0" y="21"/>
                  </a:cubicBezTo>
                  <a:cubicBezTo>
                    <a:pt x="0" y="21"/>
                    <a:pt x="0"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5" name="Freeform 352">
              <a:extLst>
                <a:ext uri="{FF2B5EF4-FFF2-40B4-BE49-F238E27FC236}">
                  <a16:creationId xmlns:a16="http://schemas.microsoft.com/office/drawing/2014/main" id="{835DBFB7-59B6-9F47-AE5A-57533826CB73}"/>
                </a:ext>
              </a:extLst>
            </p:cNvPr>
            <p:cNvSpPr>
              <a:spLocks noChangeArrowheads="1"/>
            </p:cNvSpPr>
            <p:nvPr/>
          </p:nvSpPr>
          <p:spPr bwMode="auto">
            <a:xfrm>
              <a:off x="6062663" y="8616950"/>
              <a:ext cx="206375" cy="66675"/>
            </a:xfrm>
            <a:custGeom>
              <a:avLst/>
              <a:gdLst>
                <a:gd name="T0" fmla="*/ 492 w 575"/>
                <a:gd name="T1" fmla="*/ 143 h 186"/>
                <a:gd name="T2" fmla="*/ 492 w 575"/>
                <a:gd name="T3" fmla="*/ 143 h 186"/>
                <a:gd name="T4" fmla="*/ 533 w 575"/>
                <a:gd name="T5" fmla="*/ 123 h 186"/>
                <a:gd name="T6" fmla="*/ 533 w 575"/>
                <a:gd name="T7" fmla="*/ 82 h 186"/>
                <a:gd name="T8" fmla="*/ 554 w 575"/>
                <a:gd name="T9" fmla="*/ 61 h 186"/>
                <a:gd name="T10" fmla="*/ 554 w 575"/>
                <a:gd name="T11" fmla="*/ 41 h 186"/>
                <a:gd name="T12" fmla="*/ 574 w 575"/>
                <a:gd name="T13" fmla="*/ 0 h 186"/>
                <a:gd name="T14" fmla="*/ 533 w 575"/>
                <a:gd name="T15" fmla="*/ 0 h 186"/>
                <a:gd name="T16" fmla="*/ 512 w 575"/>
                <a:gd name="T17" fmla="*/ 21 h 186"/>
                <a:gd name="T18" fmla="*/ 512 w 575"/>
                <a:gd name="T19" fmla="*/ 41 h 186"/>
                <a:gd name="T20" fmla="*/ 512 w 575"/>
                <a:gd name="T21" fmla="*/ 61 h 186"/>
                <a:gd name="T22" fmla="*/ 472 w 575"/>
                <a:gd name="T23" fmla="*/ 82 h 186"/>
                <a:gd name="T24" fmla="*/ 451 w 575"/>
                <a:gd name="T25" fmla="*/ 103 h 186"/>
                <a:gd name="T26" fmla="*/ 430 w 575"/>
                <a:gd name="T27" fmla="*/ 103 h 186"/>
                <a:gd name="T28" fmla="*/ 390 w 575"/>
                <a:gd name="T29" fmla="*/ 82 h 186"/>
                <a:gd name="T30" fmla="*/ 349 w 575"/>
                <a:gd name="T31" fmla="*/ 82 h 186"/>
                <a:gd name="T32" fmla="*/ 328 w 575"/>
                <a:gd name="T33" fmla="*/ 103 h 186"/>
                <a:gd name="T34" fmla="*/ 287 w 575"/>
                <a:gd name="T35" fmla="*/ 103 h 186"/>
                <a:gd name="T36" fmla="*/ 267 w 575"/>
                <a:gd name="T37" fmla="*/ 61 h 186"/>
                <a:gd name="T38" fmla="*/ 246 w 575"/>
                <a:gd name="T39" fmla="*/ 61 h 186"/>
                <a:gd name="T40" fmla="*/ 205 w 575"/>
                <a:gd name="T41" fmla="*/ 41 h 186"/>
                <a:gd name="T42" fmla="*/ 164 w 575"/>
                <a:gd name="T43" fmla="*/ 21 h 186"/>
                <a:gd name="T44" fmla="*/ 144 w 575"/>
                <a:gd name="T45" fmla="*/ 21 h 186"/>
                <a:gd name="T46" fmla="*/ 123 w 575"/>
                <a:gd name="T47" fmla="*/ 41 h 186"/>
                <a:gd name="T48" fmla="*/ 62 w 575"/>
                <a:gd name="T49" fmla="*/ 41 h 186"/>
                <a:gd name="T50" fmla="*/ 41 w 575"/>
                <a:gd name="T51" fmla="*/ 61 h 186"/>
                <a:gd name="T52" fmla="*/ 21 w 575"/>
                <a:gd name="T53" fmla="*/ 61 h 186"/>
                <a:gd name="T54" fmla="*/ 0 w 575"/>
                <a:gd name="T55" fmla="*/ 82 h 186"/>
                <a:gd name="T56" fmla="*/ 21 w 575"/>
                <a:gd name="T57" fmla="*/ 123 h 186"/>
                <a:gd name="T58" fmla="*/ 41 w 575"/>
                <a:gd name="T59" fmla="*/ 164 h 186"/>
                <a:gd name="T60" fmla="*/ 82 w 575"/>
                <a:gd name="T61" fmla="*/ 164 h 186"/>
                <a:gd name="T62" fmla="*/ 123 w 575"/>
                <a:gd name="T63" fmla="*/ 143 h 186"/>
                <a:gd name="T64" fmla="*/ 164 w 575"/>
                <a:gd name="T65" fmla="*/ 143 h 186"/>
                <a:gd name="T66" fmla="*/ 185 w 575"/>
                <a:gd name="T67" fmla="*/ 164 h 186"/>
                <a:gd name="T68" fmla="*/ 205 w 575"/>
                <a:gd name="T69" fmla="*/ 185 h 186"/>
                <a:gd name="T70" fmla="*/ 246 w 575"/>
                <a:gd name="T71" fmla="*/ 185 h 186"/>
                <a:gd name="T72" fmla="*/ 267 w 575"/>
                <a:gd name="T73" fmla="*/ 164 h 186"/>
                <a:gd name="T74" fmla="*/ 308 w 575"/>
                <a:gd name="T75" fmla="*/ 164 h 186"/>
                <a:gd name="T76" fmla="*/ 308 w 575"/>
                <a:gd name="T77" fmla="*/ 164 h 186"/>
                <a:gd name="T78" fmla="*/ 328 w 575"/>
                <a:gd name="T79" fmla="*/ 185 h 186"/>
                <a:gd name="T80" fmla="*/ 369 w 575"/>
                <a:gd name="T81" fmla="*/ 185 h 186"/>
                <a:gd name="T82" fmla="*/ 390 w 575"/>
                <a:gd name="T83" fmla="*/ 164 h 186"/>
                <a:gd name="T84" fmla="*/ 451 w 575"/>
                <a:gd name="T85" fmla="*/ 164 h 186"/>
                <a:gd name="T86" fmla="*/ 492 w 575"/>
                <a:gd name="T87" fmla="*/ 14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5" h="186">
                  <a:moveTo>
                    <a:pt x="492" y="143"/>
                  </a:moveTo>
                  <a:lnTo>
                    <a:pt x="492" y="143"/>
                  </a:lnTo>
                  <a:cubicBezTo>
                    <a:pt x="512" y="143"/>
                    <a:pt x="512" y="123"/>
                    <a:pt x="533" y="123"/>
                  </a:cubicBezTo>
                  <a:cubicBezTo>
                    <a:pt x="533" y="123"/>
                    <a:pt x="533" y="103"/>
                    <a:pt x="533" y="82"/>
                  </a:cubicBezTo>
                  <a:cubicBezTo>
                    <a:pt x="533" y="82"/>
                    <a:pt x="554" y="82"/>
                    <a:pt x="554" y="61"/>
                  </a:cubicBezTo>
                  <a:lnTo>
                    <a:pt x="554" y="41"/>
                  </a:lnTo>
                  <a:cubicBezTo>
                    <a:pt x="574" y="21"/>
                    <a:pt x="574" y="0"/>
                    <a:pt x="574" y="0"/>
                  </a:cubicBezTo>
                  <a:cubicBezTo>
                    <a:pt x="554" y="0"/>
                    <a:pt x="554" y="0"/>
                    <a:pt x="533" y="0"/>
                  </a:cubicBezTo>
                  <a:cubicBezTo>
                    <a:pt x="533" y="0"/>
                    <a:pt x="533" y="0"/>
                    <a:pt x="512" y="21"/>
                  </a:cubicBezTo>
                  <a:cubicBezTo>
                    <a:pt x="512" y="21"/>
                    <a:pt x="533" y="41"/>
                    <a:pt x="512" y="41"/>
                  </a:cubicBezTo>
                  <a:lnTo>
                    <a:pt x="512" y="61"/>
                  </a:lnTo>
                  <a:cubicBezTo>
                    <a:pt x="512" y="82"/>
                    <a:pt x="492" y="82"/>
                    <a:pt x="472" y="82"/>
                  </a:cubicBezTo>
                  <a:lnTo>
                    <a:pt x="451" y="103"/>
                  </a:lnTo>
                  <a:lnTo>
                    <a:pt x="430" y="103"/>
                  </a:lnTo>
                  <a:cubicBezTo>
                    <a:pt x="410" y="103"/>
                    <a:pt x="390" y="82"/>
                    <a:pt x="390" y="82"/>
                  </a:cubicBezTo>
                  <a:cubicBezTo>
                    <a:pt x="369" y="82"/>
                    <a:pt x="369" y="82"/>
                    <a:pt x="349" y="82"/>
                  </a:cubicBezTo>
                  <a:lnTo>
                    <a:pt x="328" y="103"/>
                  </a:lnTo>
                  <a:cubicBezTo>
                    <a:pt x="328" y="103"/>
                    <a:pt x="308" y="103"/>
                    <a:pt x="287" y="103"/>
                  </a:cubicBezTo>
                  <a:cubicBezTo>
                    <a:pt x="287" y="103"/>
                    <a:pt x="287" y="82"/>
                    <a:pt x="267" y="61"/>
                  </a:cubicBezTo>
                  <a:cubicBezTo>
                    <a:pt x="267" y="61"/>
                    <a:pt x="267" y="61"/>
                    <a:pt x="246" y="61"/>
                  </a:cubicBezTo>
                  <a:cubicBezTo>
                    <a:pt x="246" y="41"/>
                    <a:pt x="226" y="41"/>
                    <a:pt x="205" y="41"/>
                  </a:cubicBezTo>
                  <a:cubicBezTo>
                    <a:pt x="205" y="41"/>
                    <a:pt x="185" y="21"/>
                    <a:pt x="164" y="21"/>
                  </a:cubicBezTo>
                  <a:lnTo>
                    <a:pt x="144" y="21"/>
                  </a:lnTo>
                  <a:cubicBezTo>
                    <a:pt x="123" y="21"/>
                    <a:pt x="123" y="41"/>
                    <a:pt x="123" y="41"/>
                  </a:cubicBezTo>
                  <a:cubicBezTo>
                    <a:pt x="103" y="41"/>
                    <a:pt x="82" y="41"/>
                    <a:pt x="62" y="41"/>
                  </a:cubicBezTo>
                  <a:lnTo>
                    <a:pt x="41" y="61"/>
                  </a:lnTo>
                  <a:lnTo>
                    <a:pt x="21" y="61"/>
                  </a:lnTo>
                  <a:cubicBezTo>
                    <a:pt x="21" y="82"/>
                    <a:pt x="0" y="82"/>
                    <a:pt x="0" y="82"/>
                  </a:cubicBezTo>
                  <a:cubicBezTo>
                    <a:pt x="0" y="103"/>
                    <a:pt x="21" y="123"/>
                    <a:pt x="21" y="123"/>
                  </a:cubicBezTo>
                  <a:cubicBezTo>
                    <a:pt x="21" y="143"/>
                    <a:pt x="21" y="143"/>
                    <a:pt x="41" y="164"/>
                  </a:cubicBezTo>
                  <a:cubicBezTo>
                    <a:pt x="41" y="164"/>
                    <a:pt x="62" y="164"/>
                    <a:pt x="82" y="164"/>
                  </a:cubicBezTo>
                  <a:lnTo>
                    <a:pt x="123" y="143"/>
                  </a:lnTo>
                  <a:cubicBezTo>
                    <a:pt x="144" y="143"/>
                    <a:pt x="144" y="143"/>
                    <a:pt x="164" y="143"/>
                  </a:cubicBezTo>
                  <a:cubicBezTo>
                    <a:pt x="164" y="164"/>
                    <a:pt x="164" y="164"/>
                    <a:pt x="185" y="164"/>
                  </a:cubicBezTo>
                  <a:lnTo>
                    <a:pt x="205" y="185"/>
                  </a:lnTo>
                  <a:lnTo>
                    <a:pt x="246" y="185"/>
                  </a:lnTo>
                  <a:lnTo>
                    <a:pt x="267" y="164"/>
                  </a:lnTo>
                  <a:cubicBezTo>
                    <a:pt x="287" y="164"/>
                    <a:pt x="287" y="164"/>
                    <a:pt x="308" y="164"/>
                  </a:cubicBezTo>
                  <a:lnTo>
                    <a:pt x="308" y="164"/>
                  </a:lnTo>
                  <a:lnTo>
                    <a:pt x="328" y="185"/>
                  </a:lnTo>
                  <a:cubicBezTo>
                    <a:pt x="349" y="185"/>
                    <a:pt x="369" y="185"/>
                    <a:pt x="369" y="185"/>
                  </a:cubicBezTo>
                  <a:cubicBezTo>
                    <a:pt x="369" y="185"/>
                    <a:pt x="369" y="164"/>
                    <a:pt x="390" y="164"/>
                  </a:cubicBezTo>
                  <a:cubicBezTo>
                    <a:pt x="390" y="164"/>
                    <a:pt x="430" y="164"/>
                    <a:pt x="451" y="164"/>
                  </a:cubicBezTo>
                  <a:cubicBezTo>
                    <a:pt x="472" y="164"/>
                    <a:pt x="492" y="143"/>
                    <a:pt x="492" y="14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6" name="Freeform 353">
              <a:extLst>
                <a:ext uri="{FF2B5EF4-FFF2-40B4-BE49-F238E27FC236}">
                  <a16:creationId xmlns:a16="http://schemas.microsoft.com/office/drawing/2014/main" id="{2F0067BD-4603-D948-BF69-CD798CAAB7EC}"/>
                </a:ext>
              </a:extLst>
            </p:cNvPr>
            <p:cNvSpPr>
              <a:spLocks noChangeArrowheads="1"/>
            </p:cNvSpPr>
            <p:nvPr/>
          </p:nvSpPr>
          <p:spPr bwMode="auto">
            <a:xfrm>
              <a:off x="6010275" y="8713788"/>
              <a:ext cx="119063" cy="80962"/>
            </a:xfrm>
            <a:custGeom>
              <a:avLst/>
              <a:gdLst>
                <a:gd name="T0" fmla="*/ 328 w 329"/>
                <a:gd name="T1" fmla="*/ 163 h 226"/>
                <a:gd name="T2" fmla="*/ 328 w 329"/>
                <a:gd name="T3" fmla="*/ 163 h 226"/>
                <a:gd name="T4" fmla="*/ 307 w 329"/>
                <a:gd name="T5" fmla="*/ 143 h 226"/>
                <a:gd name="T6" fmla="*/ 287 w 329"/>
                <a:gd name="T7" fmla="*/ 122 h 226"/>
                <a:gd name="T8" fmla="*/ 266 w 329"/>
                <a:gd name="T9" fmla="*/ 102 h 226"/>
                <a:gd name="T10" fmla="*/ 246 w 329"/>
                <a:gd name="T11" fmla="*/ 82 h 226"/>
                <a:gd name="T12" fmla="*/ 205 w 329"/>
                <a:gd name="T13" fmla="*/ 40 h 226"/>
                <a:gd name="T14" fmla="*/ 184 w 329"/>
                <a:gd name="T15" fmla="*/ 20 h 226"/>
                <a:gd name="T16" fmla="*/ 143 w 329"/>
                <a:gd name="T17" fmla="*/ 0 h 226"/>
                <a:gd name="T18" fmla="*/ 82 w 329"/>
                <a:gd name="T19" fmla="*/ 0 h 226"/>
                <a:gd name="T20" fmla="*/ 41 w 329"/>
                <a:gd name="T21" fmla="*/ 20 h 226"/>
                <a:gd name="T22" fmla="*/ 20 w 329"/>
                <a:gd name="T23" fmla="*/ 40 h 226"/>
                <a:gd name="T24" fmla="*/ 0 w 329"/>
                <a:gd name="T25" fmla="*/ 40 h 226"/>
                <a:gd name="T26" fmla="*/ 0 w 329"/>
                <a:gd name="T27" fmla="*/ 82 h 226"/>
                <a:gd name="T28" fmla="*/ 41 w 329"/>
                <a:gd name="T29" fmla="*/ 102 h 226"/>
                <a:gd name="T30" fmla="*/ 61 w 329"/>
                <a:gd name="T31" fmla="*/ 102 h 226"/>
                <a:gd name="T32" fmla="*/ 102 w 329"/>
                <a:gd name="T33" fmla="*/ 102 h 226"/>
                <a:gd name="T34" fmla="*/ 102 w 329"/>
                <a:gd name="T35" fmla="*/ 122 h 226"/>
                <a:gd name="T36" fmla="*/ 143 w 329"/>
                <a:gd name="T37" fmla="*/ 143 h 226"/>
                <a:gd name="T38" fmla="*/ 184 w 329"/>
                <a:gd name="T39" fmla="*/ 143 h 226"/>
                <a:gd name="T40" fmla="*/ 184 w 329"/>
                <a:gd name="T41" fmla="*/ 163 h 226"/>
                <a:gd name="T42" fmla="*/ 184 w 329"/>
                <a:gd name="T43" fmla="*/ 184 h 226"/>
                <a:gd name="T44" fmla="*/ 205 w 329"/>
                <a:gd name="T45" fmla="*/ 204 h 226"/>
                <a:gd name="T46" fmla="*/ 225 w 329"/>
                <a:gd name="T47" fmla="*/ 225 h 226"/>
                <a:gd name="T48" fmla="*/ 266 w 329"/>
                <a:gd name="T49" fmla="*/ 225 h 226"/>
                <a:gd name="T50" fmla="*/ 307 w 329"/>
                <a:gd name="T51" fmla="*/ 184 h 226"/>
                <a:gd name="T52" fmla="*/ 328 w 329"/>
                <a:gd name="T53" fmla="*/ 16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9" h="226">
                  <a:moveTo>
                    <a:pt x="328" y="163"/>
                  </a:moveTo>
                  <a:lnTo>
                    <a:pt x="328" y="163"/>
                  </a:lnTo>
                  <a:cubicBezTo>
                    <a:pt x="328" y="163"/>
                    <a:pt x="328" y="143"/>
                    <a:pt x="307" y="143"/>
                  </a:cubicBezTo>
                  <a:cubicBezTo>
                    <a:pt x="307" y="122"/>
                    <a:pt x="287" y="122"/>
                    <a:pt x="287" y="122"/>
                  </a:cubicBezTo>
                  <a:cubicBezTo>
                    <a:pt x="287" y="122"/>
                    <a:pt x="287" y="102"/>
                    <a:pt x="266" y="102"/>
                  </a:cubicBezTo>
                  <a:cubicBezTo>
                    <a:pt x="266" y="82"/>
                    <a:pt x="246" y="82"/>
                    <a:pt x="246" y="82"/>
                  </a:cubicBezTo>
                  <a:cubicBezTo>
                    <a:pt x="246" y="61"/>
                    <a:pt x="225" y="61"/>
                    <a:pt x="205" y="40"/>
                  </a:cubicBezTo>
                  <a:lnTo>
                    <a:pt x="184" y="20"/>
                  </a:lnTo>
                  <a:cubicBezTo>
                    <a:pt x="164" y="0"/>
                    <a:pt x="143" y="0"/>
                    <a:pt x="143" y="0"/>
                  </a:cubicBezTo>
                  <a:cubicBezTo>
                    <a:pt x="123" y="0"/>
                    <a:pt x="102" y="0"/>
                    <a:pt x="82" y="0"/>
                  </a:cubicBezTo>
                  <a:cubicBezTo>
                    <a:pt x="82" y="0"/>
                    <a:pt x="61" y="20"/>
                    <a:pt x="41" y="20"/>
                  </a:cubicBezTo>
                  <a:cubicBezTo>
                    <a:pt x="41" y="20"/>
                    <a:pt x="20" y="20"/>
                    <a:pt x="20" y="40"/>
                  </a:cubicBezTo>
                  <a:lnTo>
                    <a:pt x="0" y="40"/>
                  </a:lnTo>
                  <a:cubicBezTo>
                    <a:pt x="0" y="61"/>
                    <a:pt x="0" y="61"/>
                    <a:pt x="0" y="82"/>
                  </a:cubicBezTo>
                  <a:cubicBezTo>
                    <a:pt x="0" y="82"/>
                    <a:pt x="20" y="102"/>
                    <a:pt x="41" y="102"/>
                  </a:cubicBezTo>
                  <a:lnTo>
                    <a:pt x="61" y="102"/>
                  </a:lnTo>
                  <a:cubicBezTo>
                    <a:pt x="82" y="102"/>
                    <a:pt x="82" y="102"/>
                    <a:pt x="102" y="102"/>
                  </a:cubicBezTo>
                  <a:lnTo>
                    <a:pt x="102" y="122"/>
                  </a:lnTo>
                  <a:cubicBezTo>
                    <a:pt x="123" y="122"/>
                    <a:pt x="123" y="143"/>
                    <a:pt x="143" y="143"/>
                  </a:cubicBezTo>
                  <a:cubicBezTo>
                    <a:pt x="143" y="143"/>
                    <a:pt x="164" y="122"/>
                    <a:pt x="184" y="143"/>
                  </a:cubicBezTo>
                  <a:cubicBezTo>
                    <a:pt x="184" y="143"/>
                    <a:pt x="184" y="143"/>
                    <a:pt x="184" y="163"/>
                  </a:cubicBezTo>
                  <a:lnTo>
                    <a:pt x="184" y="184"/>
                  </a:lnTo>
                  <a:lnTo>
                    <a:pt x="205" y="204"/>
                  </a:lnTo>
                  <a:cubicBezTo>
                    <a:pt x="225" y="204"/>
                    <a:pt x="225" y="225"/>
                    <a:pt x="225" y="225"/>
                  </a:cubicBezTo>
                  <a:cubicBezTo>
                    <a:pt x="246" y="225"/>
                    <a:pt x="266" y="225"/>
                    <a:pt x="266" y="225"/>
                  </a:cubicBezTo>
                  <a:cubicBezTo>
                    <a:pt x="287" y="225"/>
                    <a:pt x="287" y="204"/>
                    <a:pt x="307" y="184"/>
                  </a:cubicBezTo>
                  <a:cubicBezTo>
                    <a:pt x="307" y="184"/>
                    <a:pt x="307" y="184"/>
                    <a:pt x="328" y="16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7" name="Freeform 354">
              <a:extLst>
                <a:ext uri="{FF2B5EF4-FFF2-40B4-BE49-F238E27FC236}">
                  <a16:creationId xmlns:a16="http://schemas.microsoft.com/office/drawing/2014/main" id="{A050D894-16C3-F341-95D6-58C6BF89716D}"/>
                </a:ext>
              </a:extLst>
            </p:cNvPr>
            <p:cNvSpPr>
              <a:spLocks noChangeArrowheads="1"/>
            </p:cNvSpPr>
            <p:nvPr/>
          </p:nvSpPr>
          <p:spPr bwMode="auto">
            <a:xfrm>
              <a:off x="6238875" y="8824913"/>
              <a:ext cx="44450" cy="30162"/>
            </a:xfrm>
            <a:custGeom>
              <a:avLst/>
              <a:gdLst>
                <a:gd name="T0" fmla="*/ 82 w 124"/>
                <a:gd name="T1" fmla="*/ 61 h 83"/>
                <a:gd name="T2" fmla="*/ 82 w 124"/>
                <a:gd name="T3" fmla="*/ 61 h 83"/>
                <a:gd name="T4" fmla="*/ 102 w 124"/>
                <a:gd name="T5" fmla="*/ 41 h 83"/>
                <a:gd name="T6" fmla="*/ 123 w 124"/>
                <a:gd name="T7" fmla="*/ 20 h 83"/>
                <a:gd name="T8" fmla="*/ 102 w 124"/>
                <a:gd name="T9" fmla="*/ 0 h 83"/>
                <a:gd name="T10" fmla="*/ 82 w 124"/>
                <a:gd name="T11" fmla="*/ 0 h 83"/>
                <a:gd name="T12" fmla="*/ 62 w 124"/>
                <a:gd name="T13" fmla="*/ 20 h 83"/>
                <a:gd name="T14" fmla="*/ 41 w 124"/>
                <a:gd name="T15" fmla="*/ 20 h 83"/>
                <a:gd name="T16" fmla="*/ 20 w 124"/>
                <a:gd name="T17" fmla="*/ 41 h 83"/>
                <a:gd name="T18" fmla="*/ 0 w 124"/>
                <a:gd name="T19" fmla="*/ 61 h 83"/>
                <a:gd name="T20" fmla="*/ 20 w 124"/>
                <a:gd name="T21" fmla="*/ 82 h 83"/>
                <a:gd name="T22" fmla="*/ 62 w 124"/>
                <a:gd name="T23" fmla="*/ 61 h 83"/>
                <a:gd name="T24" fmla="*/ 82 w 124"/>
                <a:gd name="T25" fmla="*/ 6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83">
                  <a:moveTo>
                    <a:pt x="82" y="61"/>
                  </a:moveTo>
                  <a:lnTo>
                    <a:pt x="82" y="61"/>
                  </a:lnTo>
                  <a:cubicBezTo>
                    <a:pt x="82" y="61"/>
                    <a:pt x="102" y="61"/>
                    <a:pt x="102" y="41"/>
                  </a:cubicBezTo>
                  <a:lnTo>
                    <a:pt x="123" y="20"/>
                  </a:lnTo>
                  <a:cubicBezTo>
                    <a:pt x="102" y="20"/>
                    <a:pt x="102" y="0"/>
                    <a:pt x="102" y="0"/>
                  </a:cubicBezTo>
                  <a:lnTo>
                    <a:pt x="82" y="0"/>
                  </a:lnTo>
                  <a:cubicBezTo>
                    <a:pt x="62" y="0"/>
                    <a:pt x="62" y="20"/>
                    <a:pt x="62" y="20"/>
                  </a:cubicBezTo>
                  <a:lnTo>
                    <a:pt x="41" y="20"/>
                  </a:lnTo>
                  <a:lnTo>
                    <a:pt x="20" y="41"/>
                  </a:lnTo>
                  <a:cubicBezTo>
                    <a:pt x="0" y="41"/>
                    <a:pt x="0" y="41"/>
                    <a:pt x="0" y="61"/>
                  </a:cubicBezTo>
                  <a:cubicBezTo>
                    <a:pt x="0" y="61"/>
                    <a:pt x="20" y="61"/>
                    <a:pt x="20" y="82"/>
                  </a:cubicBezTo>
                  <a:cubicBezTo>
                    <a:pt x="41" y="82"/>
                    <a:pt x="41" y="61"/>
                    <a:pt x="62" y="61"/>
                  </a:cubicBezTo>
                  <a:lnTo>
                    <a:pt x="82" y="6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8" name="Freeform 355">
              <a:extLst>
                <a:ext uri="{FF2B5EF4-FFF2-40B4-BE49-F238E27FC236}">
                  <a16:creationId xmlns:a16="http://schemas.microsoft.com/office/drawing/2014/main" id="{055C4305-48E8-5143-B833-36F5F96E83A2}"/>
                </a:ext>
              </a:extLst>
            </p:cNvPr>
            <p:cNvSpPr>
              <a:spLocks noChangeArrowheads="1"/>
            </p:cNvSpPr>
            <p:nvPr/>
          </p:nvSpPr>
          <p:spPr bwMode="auto">
            <a:xfrm>
              <a:off x="6357938" y="8616950"/>
              <a:ext cx="52387" cy="30163"/>
            </a:xfrm>
            <a:custGeom>
              <a:avLst/>
              <a:gdLst>
                <a:gd name="T0" fmla="*/ 123 w 145"/>
                <a:gd name="T1" fmla="*/ 82 h 83"/>
                <a:gd name="T2" fmla="*/ 123 w 145"/>
                <a:gd name="T3" fmla="*/ 82 h 83"/>
                <a:gd name="T4" fmla="*/ 144 w 145"/>
                <a:gd name="T5" fmla="*/ 41 h 83"/>
                <a:gd name="T6" fmla="*/ 102 w 145"/>
                <a:gd name="T7" fmla="*/ 21 h 83"/>
                <a:gd name="T8" fmla="*/ 82 w 145"/>
                <a:gd name="T9" fmla="*/ 0 h 83"/>
                <a:gd name="T10" fmla="*/ 62 w 145"/>
                <a:gd name="T11" fmla="*/ 0 h 83"/>
                <a:gd name="T12" fmla="*/ 20 w 145"/>
                <a:gd name="T13" fmla="*/ 0 h 83"/>
                <a:gd name="T14" fmla="*/ 0 w 145"/>
                <a:gd name="T15" fmla="*/ 41 h 83"/>
                <a:gd name="T16" fmla="*/ 0 w 145"/>
                <a:gd name="T17" fmla="*/ 41 h 83"/>
                <a:gd name="T18" fmla="*/ 20 w 145"/>
                <a:gd name="T19" fmla="*/ 82 h 83"/>
                <a:gd name="T20" fmla="*/ 62 w 145"/>
                <a:gd name="T21" fmla="*/ 82 h 83"/>
                <a:gd name="T22" fmla="*/ 123 w 145"/>
                <a:gd name="T23"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83">
                  <a:moveTo>
                    <a:pt x="123" y="82"/>
                  </a:moveTo>
                  <a:lnTo>
                    <a:pt x="123" y="82"/>
                  </a:lnTo>
                  <a:cubicBezTo>
                    <a:pt x="123" y="82"/>
                    <a:pt x="144" y="61"/>
                    <a:pt x="144" y="41"/>
                  </a:cubicBezTo>
                  <a:cubicBezTo>
                    <a:pt x="123" y="41"/>
                    <a:pt x="123" y="21"/>
                    <a:pt x="102" y="21"/>
                  </a:cubicBezTo>
                  <a:cubicBezTo>
                    <a:pt x="102" y="21"/>
                    <a:pt x="82" y="21"/>
                    <a:pt x="82" y="0"/>
                  </a:cubicBezTo>
                  <a:lnTo>
                    <a:pt x="62" y="0"/>
                  </a:lnTo>
                  <a:cubicBezTo>
                    <a:pt x="41" y="0"/>
                    <a:pt x="20" y="0"/>
                    <a:pt x="20" y="0"/>
                  </a:cubicBezTo>
                  <a:cubicBezTo>
                    <a:pt x="0" y="0"/>
                    <a:pt x="0" y="21"/>
                    <a:pt x="0" y="41"/>
                  </a:cubicBezTo>
                  <a:lnTo>
                    <a:pt x="0" y="41"/>
                  </a:lnTo>
                  <a:cubicBezTo>
                    <a:pt x="0" y="61"/>
                    <a:pt x="20" y="82"/>
                    <a:pt x="20" y="82"/>
                  </a:cubicBezTo>
                  <a:cubicBezTo>
                    <a:pt x="41" y="82"/>
                    <a:pt x="41" y="82"/>
                    <a:pt x="62" y="82"/>
                  </a:cubicBezTo>
                  <a:cubicBezTo>
                    <a:pt x="62" y="82"/>
                    <a:pt x="102" y="82"/>
                    <a:pt x="123"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59" name="Freeform 356">
              <a:extLst>
                <a:ext uri="{FF2B5EF4-FFF2-40B4-BE49-F238E27FC236}">
                  <a16:creationId xmlns:a16="http://schemas.microsoft.com/office/drawing/2014/main" id="{68739CAD-3AE6-8741-B4D3-87AEDF101356}"/>
                </a:ext>
              </a:extLst>
            </p:cNvPr>
            <p:cNvSpPr>
              <a:spLocks noChangeArrowheads="1"/>
            </p:cNvSpPr>
            <p:nvPr/>
          </p:nvSpPr>
          <p:spPr bwMode="auto">
            <a:xfrm>
              <a:off x="6335713" y="8624888"/>
              <a:ext cx="15875" cy="22225"/>
            </a:xfrm>
            <a:custGeom>
              <a:avLst/>
              <a:gdLst>
                <a:gd name="T0" fmla="*/ 42 w 43"/>
                <a:gd name="T1" fmla="*/ 61 h 62"/>
                <a:gd name="T2" fmla="*/ 42 w 43"/>
                <a:gd name="T3" fmla="*/ 61 h 62"/>
                <a:gd name="T4" fmla="*/ 21 w 43"/>
                <a:gd name="T5" fmla="*/ 61 h 62"/>
                <a:gd name="T6" fmla="*/ 0 w 43"/>
                <a:gd name="T7" fmla="*/ 61 h 62"/>
                <a:gd name="T8" fmla="*/ 0 w 43"/>
                <a:gd name="T9" fmla="*/ 40 h 62"/>
                <a:gd name="T10" fmla="*/ 21 w 43"/>
                <a:gd name="T11" fmla="*/ 20 h 62"/>
                <a:gd name="T12" fmla="*/ 21 w 43"/>
                <a:gd name="T13" fmla="*/ 0 h 62"/>
                <a:gd name="T14" fmla="*/ 42 w 43"/>
                <a:gd name="T15" fmla="*/ 0 h 62"/>
                <a:gd name="T16" fmla="*/ 42 w 43"/>
                <a:gd name="T17" fmla="*/ 20 h 62"/>
                <a:gd name="T18" fmla="*/ 42 w 43"/>
                <a:gd name="T19" fmla="*/ 40 h 62"/>
                <a:gd name="T20" fmla="*/ 42 w 43"/>
                <a:gd name="T2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62">
                  <a:moveTo>
                    <a:pt x="42" y="61"/>
                  </a:moveTo>
                  <a:lnTo>
                    <a:pt x="42" y="61"/>
                  </a:lnTo>
                  <a:cubicBezTo>
                    <a:pt x="21" y="61"/>
                    <a:pt x="21" y="61"/>
                    <a:pt x="21" y="61"/>
                  </a:cubicBezTo>
                  <a:lnTo>
                    <a:pt x="0" y="61"/>
                  </a:lnTo>
                  <a:cubicBezTo>
                    <a:pt x="0" y="40"/>
                    <a:pt x="0" y="40"/>
                    <a:pt x="0" y="40"/>
                  </a:cubicBezTo>
                  <a:cubicBezTo>
                    <a:pt x="0" y="20"/>
                    <a:pt x="0" y="20"/>
                    <a:pt x="21" y="20"/>
                  </a:cubicBezTo>
                  <a:lnTo>
                    <a:pt x="21" y="0"/>
                  </a:lnTo>
                  <a:lnTo>
                    <a:pt x="42" y="0"/>
                  </a:lnTo>
                  <a:cubicBezTo>
                    <a:pt x="42" y="20"/>
                    <a:pt x="42" y="20"/>
                    <a:pt x="42" y="20"/>
                  </a:cubicBezTo>
                  <a:lnTo>
                    <a:pt x="42" y="40"/>
                  </a:lnTo>
                  <a:cubicBezTo>
                    <a:pt x="42" y="40"/>
                    <a:pt x="42" y="40"/>
                    <a:pt x="42"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0" name="Freeform 357">
              <a:extLst>
                <a:ext uri="{FF2B5EF4-FFF2-40B4-BE49-F238E27FC236}">
                  <a16:creationId xmlns:a16="http://schemas.microsoft.com/office/drawing/2014/main" id="{B8E48D97-E3FA-AB43-8667-4A91609EC7B4}"/>
                </a:ext>
              </a:extLst>
            </p:cNvPr>
            <p:cNvSpPr>
              <a:spLocks noChangeArrowheads="1"/>
            </p:cNvSpPr>
            <p:nvPr/>
          </p:nvSpPr>
          <p:spPr bwMode="auto">
            <a:xfrm>
              <a:off x="6283325" y="8632825"/>
              <a:ext cx="38100" cy="30163"/>
            </a:xfrm>
            <a:custGeom>
              <a:avLst/>
              <a:gdLst>
                <a:gd name="T0" fmla="*/ 82 w 104"/>
                <a:gd name="T1" fmla="*/ 41 h 83"/>
                <a:gd name="T2" fmla="*/ 82 w 104"/>
                <a:gd name="T3" fmla="*/ 41 h 83"/>
                <a:gd name="T4" fmla="*/ 103 w 104"/>
                <a:gd name="T5" fmla="*/ 20 h 83"/>
                <a:gd name="T6" fmla="*/ 103 w 104"/>
                <a:gd name="T7" fmla="*/ 0 h 83"/>
                <a:gd name="T8" fmla="*/ 103 w 104"/>
                <a:gd name="T9" fmla="*/ 0 h 83"/>
                <a:gd name="T10" fmla="*/ 82 w 104"/>
                <a:gd name="T11" fmla="*/ 20 h 83"/>
                <a:gd name="T12" fmla="*/ 61 w 104"/>
                <a:gd name="T13" fmla="*/ 20 h 83"/>
                <a:gd name="T14" fmla="*/ 21 w 104"/>
                <a:gd name="T15" fmla="*/ 20 h 83"/>
                <a:gd name="T16" fmla="*/ 21 w 104"/>
                <a:gd name="T17" fmla="*/ 41 h 83"/>
                <a:gd name="T18" fmla="*/ 0 w 104"/>
                <a:gd name="T19" fmla="*/ 62 h 83"/>
                <a:gd name="T20" fmla="*/ 21 w 104"/>
                <a:gd name="T21" fmla="*/ 62 h 83"/>
                <a:gd name="T22" fmla="*/ 61 w 104"/>
                <a:gd name="T23" fmla="*/ 62 h 83"/>
                <a:gd name="T24" fmla="*/ 61 w 104"/>
                <a:gd name="T25" fmla="*/ 62 h 83"/>
                <a:gd name="T26" fmla="*/ 82 w 104"/>
                <a:gd name="T27"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83">
                  <a:moveTo>
                    <a:pt x="82" y="41"/>
                  </a:moveTo>
                  <a:lnTo>
                    <a:pt x="82" y="41"/>
                  </a:lnTo>
                  <a:cubicBezTo>
                    <a:pt x="103" y="41"/>
                    <a:pt x="103" y="41"/>
                    <a:pt x="103" y="20"/>
                  </a:cubicBezTo>
                  <a:cubicBezTo>
                    <a:pt x="103" y="20"/>
                    <a:pt x="103" y="20"/>
                    <a:pt x="103" y="0"/>
                  </a:cubicBezTo>
                  <a:lnTo>
                    <a:pt x="103" y="0"/>
                  </a:lnTo>
                  <a:cubicBezTo>
                    <a:pt x="82" y="0"/>
                    <a:pt x="82" y="20"/>
                    <a:pt x="82" y="20"/>
                  </a:cubicBezTo>
                  <a:lnTo>
                    <a:pt x="61" y="20"/>
                  </a:lnTo>
                  <a:cubicBezTo>
                    <a:pt x="41" y="20"/>
                    <a:pt x="41" y="20"/>
                    <a:pt x="21" y="20"/>
                  </a:cubicBezTo>
                  <a:lnTo>
                    <a:pt x="21" y="41"/>
                  </a:lnTo>
                  <a:cubicBezTo>
                    <a:pt x="21" y="41"/>
                    <a:pt x="0" y="41"/>
                    <a:pt x="0" y="62"/>
                  </a:cubicBezTo>
                  <a:lnTo>
                    <a:pt x="21" y="62"/>
                  </a:lnTo>
                  <a:cubicBezTo>
                    <a:pt x="41" y="62"/>
                    <a:pt x="41" y="82"/>
                    <a:pt x="61" y="62"/>
                  </a:cubicBezTo>
                  <a:lnTo>
                    <a:pt x="61" y="62"/>
                  </a:lnTo>
                  <a:cubicBezTo>
                    <a:pt x="61" y="41"/>
                    <a:pt x="82" y="41"/>
                    <a:pt x="82"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1" name="Freeform 358">
              <a:extLst>
                <a:ext uri="{FF2B5EF4-FFF2-40B4-BE49-F238E27FC236}">
                  <a16:creationId xmlns:a16="http://schemas.microsoft.com/office/drawing/2014/main" id="{F1046561-2462-8540-B1B0-A2739A088A49}"/>
                </a:ext>
              </a:extLst>
            </p:cNvPr>
            <p:cNvSpPr>
              <a:spLocks noChangeArrowheads="1"/>
            </p:cNvSpPr>
            <p:nvPr/>
          </p:nvSpPr>
          <p:spPr bwMode="auto">
            <a:xfrm>
              <a:off x="6269038" y="8632825"/>
              <a:ext cx="15875" cy="15875"/>
            </a:xfrm>
            <a:custGeom>
              <a:avLst/>
              <a:gdLst>
                <a:gd name="T0" fmla="*/ 20 w 42"/>
                <a:gd name="T1" fmla="*/ 41 h 42"/>
                <a:gd name="T2" fmla="*/ 20 w 42"/>
                <a:gd name="T3" fmla="*/ 41 h 42"/>
                <a:gd name="T4" fmla="*/ 20 w 42"/>
                <a:gd name="T5" fmla="*/ 41 h 42"/>
                <a:gd name="T6" fmla="*/ 20 w 42"/>
                <a:gd name="T7" fmla="*/ 20 h 42"/>
                <a:gd name="T8" fmla="*/ 20 w 42"/>
                <a:gd name="T9" fmla="*/ 0 h 42"/>
                <a:gd name="T10" fmla="*/ 41 w 42"/>
                <a:gd name="T11" fmla="*/ 0 h 42"/>
                <a:gd name="T12" fmla="*/ 41 w 42"/>
                <a:gd name="T13" fmla="*/ 20 h 42"/>
                <a:gd name="T14" fmla="*/ 20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0" y="41"/>
                  </a:moveTo>
                  <a:lnTo>
                    <a:pt x="20" y="41"/>
                  </a:lnTo>
                  <a:lnTo>
                    <a:pt x="20" y="41"/>
                  </a:lnTo>
                  <a:cubicBezTo>
                    <a:pt x="0" y="20"/>
                    <a:pt x="20" y="20"/>
                    <a:pt x="20" y="20"/>
                  </a:cubicBezTo>
                  <a:lnTo>
                    <a:pt x="20" y="0"/>
                  </a:lnTo>
                  <a:lnTo>
                    <a:pt x="41" y="0"/>
                  </a:lnTo>
                  <a:cubicBezTo>
                    <a:pt x="41" y="20"/>
                    <a:pt x="41" y="20"/>
                    <a:pt x="41" y="20"/>
                  </a:cubicBezTo>
                  <a:cubicBezTo>
                    <a:pt x="41" y="20"/>
                    <a:pt x="41"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2" name="Freeform 359">
              <a:extLst>
                <a:ext uri="{FF2B5EF4-FFF2-40B4-BE49-F238E27FC236}">
                  <a16:creationId xmlns:a16="http://schemas.microsoft.com/office/drawing/2014/main" id="{FE26D850-B239-344F-BD91-B4529D23B48C}"/>
                </a:ext>
              </a:extLst>
            </p:cNvPr>
            <p:cNvSpPr>
              <a:spLocks noChangeArrowheads="1"/>
            </p:cNvSpPr>
            <p:nvPr/>
          </p:nvSpPr>
          <p:spPr bwMode="auto">
            <a:xfrm>
              <a:off x="6305550" y="8602663"/>
              <a:ext cx="15875" cy="15875"/>
            </a:xfrm>
            <a:custGeom>
              <a:avLst/>
              <a:gdLst>
                <a:gd name="T0" fmla="*/ 42 w 43"/>
                <a:gd name="T1" fmla="*/ 20 h 42"/>
                <a:gd name="T2" fmla="*/ 42 w 43"/>
                <a:gd name="T3" fmla="*/ 20 h 42"/>
                <a:gd name="T4" fmla="*/ 21 w 43"/>
                <a:gd name="T5" fmla="*/ 41 h 42"/>
                <a:gd name="T6" fmla="*/ 0 w 43"/>
                <a:gd name="T7" fmla="*/ 20 h 42"/>
                <a:gd name="T8" fmla="*/ 0 w 43"/>
                <a:gd name="T9" fmla="*/ 0 h 42"/>
                <a:gd name="T10" fmla="*/ 21 w 43"/>
                <a:gd name="T11" fmla="*/ 0 h 42"/>
                <a:gd name="T12" fmla="*/ 42 w 43"/>
                <a:gd name="T13" fmla="*/ 0 h 42"/>
                <a:gd name="T14" fmla="*/ 42 w 43"/>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2">
                  <a:moveTo>
                    <a:pt x="42" y="20"/>
                  </a:moveTo>
                  <a:lnTo>
                    <a:pt x="42" y="20"/>
                  </a:lnTo>
                  <a:cubicBezTo>
                    <a:pt x="42" y="20"/>
                    <a:pt x="42" y="41"/>
                    <a:pt x="21" y="41"/>
                  </a:cubicBezTo>
                  <a:cubicBezTo>
                    <a:pt x="21" y="41"/>
                    <a:pt x="0" y="41"/>
                    <a:pt x="0" y="20"/>
                  </a:cubicBezTo>
                  <a:cubicBezTo>
                    <a:pt x="0" y="20"/>
                    <a:pt x="0" y="20"/>
                    <a:pt x="0" y="0"/>
                  </a:cubicBezTo>
                  <a:cubicBezTo>
                    <a:pt x="0" y="0"/>
                    <a:pt x="0" y="0"/>
                    <a:pt x="21" y="0"/>
                  </a:cubicBezTo>
                  <a:cubicBezTo>
                    <a:pt x="21" y="0"/>
                    <a:pt x="21" y="0"/>
                    <a:pt x="42" y="0"/>
                  </a:cubicBezTo>
                  <a:lnTo>
                    <a:pt x="42"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3" name="Freeform 360">
              <a:extLst>
                <a:ext uri="{FF2B5EF4-FFF2-40B4-BE49-F238E27FC236}">
                  <a16:creationId xmlns:a16="http://schemas.microsoft.com/office/drawing/2014/main" id="{DBA6F716-7840-6D42-B8D1-77395D928730}"/>
                </a:ext>
              </a:extLst>
            </p:cNvPr>
            <p:cNvSpPr>
              <a:spLocks noChangeArrowheads="1"/>
            </p:cNvSpPr>
            <p:nvPr/>
          </p:nvSpPr>
          <p:spPr bwMode="auto">
            <a:xfrm>
              <a:off x="6216650" y="8639175"/>
              <a:ext cx="15875" cy="7938"/>
            </a:xfrm>
            <a:custGeom>
              <a:avLst/>
              <a:gdLst>
                <a:gd name="T0" fmla="*/ 21 w 43"/>
                <a:gd name="T1" fmla="*/ 21 h 22"/>
                <a:gd name="T2" fmla="*/ 21 w 43"/>
                <a:gd name="T3" fmla="*/ 21 h 22"/>
                <a:gd name="T4" fmla="*/ 21 w 43"/>
                <a:gd name="T5" fmla="*/ 21 h 22"/>
                <a:gd name="T6" fmla="*/ 21 w 43"/>
                <a:gd name="T7" fmla="*/ 0 h 22"/>
                <a:gd name="T8" fmla="*/ 21 w 43"/>
                <a:gd name="T9" fmla="*/ 0 h 22"/>
                <a:gd name="T10" fmla="*/ 21 w 43"/>
                <a:gd name="T11" fmla="*/ 0 h 22"/>
                <a:gd name="T12" fmla="*/ 42 w 43"/>
                <a:gd name="T13" fmla="*/ 0 h 22"/>
                <a:gd name="T14" fmla="*/ 21 w 43"/>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22">
                  <a:moveTo>
                    <a:pt x="21" y="21"/>
                  </a:moveTo>
                  <a:lnTo>
                    <a:pt x="21" y="21"/>
                  </a:lnTo>
                  <a:lnTo>
                    <a:pt x="21" y="21"/>
                  </a:lnTo>
                  <a:cubicBezTo>
                    <a:pt x="21" y="21"/>
                    <a:pt x="0" y="0"/>
                    <a:pt x="21" y="0"/>
                  </a:cubicBezTo>
                  <a:lnTo>
                    <a:pt x="21" y="0"/>
                  </a:lnTo>
                  <a:lnTo>
                    <a:pt x="21" y="0"/>
                  </a:lnTo>
                  <a:lnTo>
                    <a:pt x="42" y="0"/>
                  </a:lnTo>
                  <a:cubicBezTo>
                    <a:pt x="42" y="21"/>
                    <a:pt x="21" y="21"/>
                    <a:pt x="2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4" name="Freeform 361">
              <a:extLst>
                <a:ext uri="{FF2B5EF4-FFF2-40B4-BE49-F238E27FC236}">
                  <a16:creationId xmlns:a16="http://schemas.microsoft.com/office/drawing/2014/main" id="{F751E56A-784A-1948-B4FA-E6E79AF0BF29}"/>
                </a:ext>
              </a:extLst>
            </p:cNvPr>
            <p:cNvSpPr>
              <a:spLocks noChangeArrowheads="1"/>
            </p:cNvSpPr>
            <p:nvPr/>
          </p:nvSpPr>
          <p:spPr bwMode="auto">
            <a:xfrm>
              <a:off x="6445250" y="8580438"/>
              <a:ext cx="66675" cy="30162"/>
            </a:xfrm>
            <a:custGeom>
              <a:avLst/>
              <a:gdLst>
                <a:gd name="T0" fmla="*/ 122 w 185"/>
                <a:gd name="T1" fmla="*/ 82 h 83"/>
                <a:gd name="T2" fmla="*/ 122 w 185"/>
                <a:gd name="T3" fmla="*/ 82 h 83"/>
                <a:gd name="T4" fmla="*/ 143 w 185"/>
                <a:gd name="T5" fmla="*/ 62 h 83"/>
                <a:gd name="T6" fmla="*/ 184 w 185"/>
                <a:gd name="T7" fmla="*/ 62 h 83"/>
                <a:gd name="T8" fmla="*/ 184 w 185"/>
                <a:gd name="T9" fmla="*/ 42 h 83"/>
                <a:gd name="T10" fmla="*/ 164 w 185"/>
                <a:gd name="T11" fmla="*/ 21 h 83"/>
                <a:gd name="T12" fmla="*/ 143 w 185"/>
                <a:gd name="T13" fmla="*/ 0 h 83"/>
                <a:gd name="T14" fmla="*/ 122 w 185"/>
                <a:gd name="T15" fmla="*/ 0 h 83"/>
                <a:gd name="T16" fmla="*/ 102 w 185"/>
                <a:gd name="T17" fmla="*/ 21 h 83"/>
                <a:gd name="T18" fmla="*/ 62 w 185"/>
                <a:gd name="T19" fmla="*/ 21 h 83"/>
                <a:gd name="T20" fmla="*/ 41 w 185"/>
                <a:gd name="T21" fmla="*/ 0 h 83"/>
                <a:gd name="T22" fmla="*/ 20 w 185"/>
                <a:gd name="T23" fmla="*/ 21 h 83"/>
                <a:gd name="T24" fmla="*/ 0 w 185"/>
                <a:gd name="T25" fmla="*/ 42 h 83"/>
                <a:gd name="T26" fmla="*/ 0 w 185"/>
                <a:gd name="T27" fmla="*/ 62 h 83"/>
                <a:gd name="T28" fmla="*/ 20 w 185"/>
                <a:gd name="T29" fmla="*/ 82 h 83"/>
                <a:gd name="T30" fmla="*/ 62 w 185"/>
                <a:gd name="T31" fmla="*/ 82 h 83"/>
                <a:gd name="T32" fmla="*/ 82 w 185"/>
                <a:gd name="T33" fmla="*/ 82 h 83"/>
                <a:gd name="T34" fmla="*/ 122 w 185"/>
                <a:gd name="T35"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5" h="83">
                  <a:moveTo>
                    <a:pt x="122" y="82"/>
                  </a:moveTo>
                  <a:lnTo>
                    <a:pt x="122" y="82"/>
                  </a:lnTo>
                  <a:lnTo>
                    <a:pt x="143" y="62"/>
                  </a:lnTo>
                  <a:cubicBezTo>
                    <a:pt x="143" y="62"/>
                    <a:pt x="164" y="62"/>
                    <a:pt x="184" y="62"/>
                  </a:cubicBezTo>
                  <a:lnTo>
                    <a:pt x="184" y="42"/>
                  </a:lnTo>
                  <a:lnTo>
                    <a:pt x="164" y="21"/>
                  </a:lnTo>
                  <a:cubicBezTo>
                    <a:pt x="164" y="21"/>
                    <a:pt x="164" y="0"/>
                    <a:pt x="143" y="0"/>
                  </a:cubicBezTo>
                  <a:lnTo>
                    <a:pt x="122" y="0"/>
                  </a:lnTo>
                  <a:lnTo>
                    <a:pt x="102" y="21"/>
                  </a:lnTo>
                  <a:cubicBezTo>
                    <a:pt x="102" y="21"/>
                    <a:pt x="82" y="21"/>
                    <a:pt x="62" y="21"/>
                  </a:cubicBezTo>
                  <a:lnTo>
                    <a:pt x="41" y="0"/>
                  </a:lnTo>
                  <a:cubicBezTo>
                    <a:pt x="41" y="21"/>
                    <a:pt x="20" y="21"/>
                    <a:pt x="20" y="21"/>
                  </a:cubicBezTo>
                  <a:cubicBezTo>
                    <a:pt x="20" y="21"/>
                    <a:pt x="20" y="42"/>
                    <a:pt x="0" y="42"/>
                  </a:cubicBezTo>
                  <a:lnTo>
                    <a:pt x="0" y="62"/>
                  </a:lnTo>
                  <a:cubicBezTo>
                    <a:pt x="0" y="62"/>
                    <a:pt x="0" y="82"/>
                    <a:pt x="20" y="82"/>
                  </a:cubicBezTo>
                  <a:cubicBezTo>
                    <a:pt x="20" y="82"/>
                    <a:pt x="41" y="82"/>
                    <a:pt x="62" y="82"/>
                  </a:cubicBezTo>
                  <a:lnTo>
                    <a:pt x="82" y="82"/>
                  </a:lnTo>
                  <a:cubicBezTo>
                    <a:pt x="102" y="62"/>
                    <a:pt x="102" y="82"/>
                    <a:pt x="122"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5" name="Freeform 362">
              <a:extLst>
                <a:ext uri="{FF2B5EF4-FFF2-40B4-BE49-F238E27FC236}">
                  <a16:creationId xmlns:a16="http://schemas.microsoft.com/office/drawing/2014/main" id="{BB616868-3209-B942-AA7E-DFA050E788DF}"/>
                </a:ext>
              </a:extLst>
            </p:cNvPr>
            <p:cNvSpPr>
              <a:spLocks noChangeArrowheads="1"/>
            </p:cNvSpPr>
            <p:nvPr/>
          </p:nvSpPr>
          <p:spPr bwMode="auto">
            <a:xfrm>
              <a:off x="5168900" y="8418513"/>
              <a:ext cx="649288" cy="258762"/>
            </a:xfrm>
            <a:custGeom>
              <a:avLst/>
              <a:gdLst>
                <a:gd name="T0" fmla="*/ 1660 w 1804"/>
                <a:gd name="T1" fmla="*/ 696 h 718"/>
                <a:gd name="T2" fmla="*/ 1700 w 1804"/>
                <a:gd name="T3" fmla="*/ 676 h 718"/>
                <a:gd name="T4" fmla="*/ 1762 w 1804"/>
                <a:gd name="T5" fmla="*/ 614 h 718"/>
                <a:gd name="T6" fmla="*/ 1762 w 1804"/>
                <a:gd name="T7" fmla="*/ 532 h 718"/>
                <a:gd name="T8" fmla="*/ 1660 w 1804"/>
                <a:gd name="T9" fmla="*/ 532 h 718"/>
                <a:gd name="T10" fmla="*/ 1578 w 1804"/>
                <a:gd name="T11" fmla="*/ 492 h 718"/>
                <a:gd name="T12" fmla="*/ 1475 w 1804"/>
                <a:gd name="T13" fmla="*/ 430 h 718"/>
                <a:gd name="T14" fmla="*/ 1372 w 1804"/>
                <a:gd name="T15" fmla="*/ 430 h 718"/>
                <a:gd name="T16" fmla="*/ 1312 w 1804"/>
                <a:gd name="T17" fmla="*/ 328 h 718"/>
                <a:gd name="T18" fmla="*/ 1250 w 1804"/>
                <a:gd name="T19" fmla="*/ 246 h 718"/>
                <a:gd name="T20" fmla="*/ 1148 w 1804"/>
                <a:gd name="T21" fmla="*/ 205 h 718"/>
                <a:gd name="T22" fmla="*/ 1024 w 1804"/>
                <a:gd name="T23" fmla="*/ 184 h 718"/>
                <a:gd name="T24" fmla="*/ 942 w 1804"/>
                <a:gd name="T25" fmla="*/ 225 h 718"/>
                <a:gd name="T26" fmla="*/ 840 w 1804"/>
                <a:gd name="T27" fmla="*/ 225 h 718"/>
                <a:gd name="T28" fmla="*/ 758 w 1804"/>
                <a:gd name="T29" fmla="*/ 225 h 718"/>
                <a:gd name="T30" fmla="*/ 614 w 1804"/>
                <a:gd name="T31" fmla="*/ 205 h 718"/>
                <a:gd name="T32" fmla="*/ 574 w 1804"/>
                <a:gd name="T33" fmla="*/ 102 h 718"/>
                <a:gd name="T34" fmla="*/ 492 w 1804"/>
                <a:gd name="T35" fmla="*/ 102 h 718"/>
                <a:gd name="T36" fmla="*/ 389 w 1804"/>
                <a:gd name="T37" fmla="*/ 82 h 718"/>
                <a:gd name="T38" fmla="*/ 328 w 1804"/>
                <a:gd name="T39" fmla="*/ 0 h 718"/>
                <a:gd name="T40" fmla="*/ 205 w 1804"/>
                <a:gd name="T41" fmla="*/ 20 h 718"/>
                <a:gd name="T42" fmla="*/ 143 w 1804"/>
                <a:gd name="T43" fmla="*/ 20 h 718"/>
                <a:gd name="T44" fmla="*/ 82 w 1804"/>
                <a:gd name="T45" fmla="*/ 102 h 718"/>
                <a:gd name="T46" fmla="*/ 20 w 1804"/>
                <a:gd name="T47" fmla="*/ 164 h 718"/>
                <a:gd name="T48" fmla="*/ 0 w 1804"/>
                <a:gd name="T49" fmla="*/ 205 h 718"/>
                <a:gd name="T50" fmla="*/ 102 w 1804"/>
                <a:gd name="T51" fmla="*/ 246 h 718"/>
                <a:gd name="T52" fmla="*/ 205 w 1804"/>
                <a:gd name="T53" fmla="*/ 246 h 718"/>
                <a:gd name="T54" fmla="*/ 184 w 1804"/>
                <a:gd name="T55" fmla="*/ 286 h 718"/>
                <a:gd name="T56" fmla="*/ 205 w 1804"/>
                <a:gd name="T57" fmla="*/ 368 h 718"/>
                <a:gd name="T58" fmla="*/ 328 w 1804"/>
                <a:gd name="T59" fmla="*/ 368 h 718"/>
                <a:gd name="T60" fmla="*/ 430 w 1804"/>
                <a:gd name="T61" fmla="*/ 450 h 718"/>
                <a:gd name="T62" fmla="*/ 574 w 1804"/>
                <a:gd name="T63" fmla="*/ 430 h 718"/>
                <a:gd name="T64" fmla="*/ 635 w 1804"/>
                <a:gd name="T65" fmla="*/ 430 h 718"/>
                <a:gd name="T66" fmla="*/ 717 w 1804"/>
                <a:gd name="T67" fmla="*/ 450 h 718"/>
                <a:gd name="T68" fmla="*/ 860 w 1804"/>
                <a:gd name="T69" fmla="*/ 471 h 718"/>
                <a:gd name="T70" fmla="*/ 984 w 1804"/>
                <a:gd name="T71" fmla="*/ 532 h 718"/>
                <a:gd name="T72" fmla="*/ 1168 w 1804"/>
                <a:gd name="T73" fmla="*/ 574 h 718"/>
                <a:gd name="T74" fmla="*/ 1270 w 1804"/>
                <a:gd name="T75" fmla="*/ 594 h 718"/>
                <a:gd name="T76" fmla="*/ 1414 w 1804"/>
                <a:gd name="T77" fmla="*/ 594 h 718"/>
                <a:gd name="T78" fmla="*/ 1516 w 1804"/>
                <a:gd name="T79" fmla="*/ 635 h 718"/>
                <a:gd name="T80" fmla="*/ 1578 w 1804"/>
                <a:gd name="T81" fmla="*/ 635 h 718"/>
                <a:gd name="T82" fmla="*/ 1557 w 1804"/>
                <a:gd name="T83" fmla="*/ 553 h 718"/>
                <a:gd name="T84" fmla="*/ 1618 w 1804"/>
                <a:gd name="T85" fmla="*/ 594 h 718"/>
                <a:gd name="T86" fmla="*/ 1660 w 1804"/>
                <a:gd name="T87" fmla="*/ 656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04" h="718">
                  <a:moveTo>
                    <a:pt x="1660" y="656"/>
                  </a:moveTo>
                  <a:lnTo>
                    <a:pt x="1660" y="656"/>
                  </a:lnTo>
                  <a:cubicBezTo>
                    <a:pt x="1660" y="676"/>
                    <a:pt x="1660" y="676"/>
                    <a:pt x="1660" y="696"/>
                  </a:cubicBezTo>
                  <a:cubicBezTo>
                    <a:pt x="1660" y="696"/>
                    <a:pt x="1660" y="696"/>
                    <a:pt x="1680" y="696"/>
                  </a:cubicBezTo>
                  <a:cubicBezTo>
                    <a:pt x="1680" y="717"/>
                    <a:pt x="1700" y="717"/>
                    <a:pt x="1700" y="717"/>
                  </a:cubicBezTo>
                  <a:cubicBezTo>
                    <a:pt x="1700" y="696"/>
                    <a:pt x="1700" y="676"/>
                    <a:pt x="1700" y="676"/>
                  </a:cubicBezTo>
                  <a:cubicBezTo>
                    <a:pt x="1721" y="676"/>
                    <a:pt x="1700" y="656"/>
                    <a:pt x="1721" y="656"/>
                  </a:cubicBezTo>
                  <a:cubicBezTo>
                    <a:pt x="1721" y="635"/>
                    <a:pt x="1721" y="635"/>
                    <a:pt x="1742" y="635"/>
                  </a:cubicBezTo>
                  <a:cubicBezTo>
                    <a:pt x="1742" y="614"/>
                    <a:pt x="1762" y="614"/>
                    <a:pt x="1762" y="614"/>
                  </a:cubicBezTo>
                  <a:cubicBezTo>
                    <a:pt x="1782" y="614"/>
                    <a:pt x="1803" y="594"/>
                    <a:pt x="1803" y="594"/>
                  </a:cubicBezTo>
                  <a:lnTo>
                    <a:pt x="1782" y="574"/>
                  </a:lnTo>
                  <a:cubicBezTo>
                    <a:pt x="1782" y="553"/>
                    <a:pt x="1762" y="532"/>
                    <a:pt x="1762" y="532"/>
                  </a:cubicBezTo>
                  <a:cubicBezTo>
                    <a:pt x="1742" y="532"/>
                    <a:pt x="1721" y="512"/>
                    <a:pt x="1721" y="512"/>
                  </a:cubicBezTo>
                  <a:cubicBezTo>
                    <a:pt x="1700" y="512"/>
                    <a:pt x="1700" y="512"/>
                    <a:pt x="1680" y="512"/>
                  </a:cubicBezTo>
                  <a:lnTo>
                    <a:pt x="1660" y="532"/>
                  </a:lnTo>
                  <a:cubicBezTo>
                    <a:pt x="1639" y="532"/>
                    <a:pt x="1618" y="532"/>
                    <a:pt x="1618" y="532"/>
                  </a:cubicBezTo>
                  <a:lnTo>
                    <a:pt x="1598" y="512"/>
                  </a:lnTo>
                  <a:cubicBezTo>
                    <a:pt x="1598" y="512"/>
                    <a:pt x="1598" y="492"/>
                    <a:pt x="1578" y="492"/>
                  </a:cubicBezTo>
                  <a:cubicBezTo>
                    <a:pt x="1578" y="471"/>
                    <a:pt x="1557" y="471"/>
                    <a:pt x="1557" y="450"/>
                  </a:cubicBezTo>
                  <a:cubicBezTo>
                    <a:pt x="1557" y="450"/>
                    <a:pt x="1536" y="450"/>
                    <a:pt x="1516" y="450"/>
                  </a:cubicBezTo>
                  <a:cubicBezTo>
                    <a:pt x="1516" y="430"/>
                    <a:pt x="1496" y="430"/>
                    <a:pt x="1475" y="430"/>
                  </a:cubicBezTo>
                  <a:cubicBezTo>
                    <a:pt x="1475" y="430"/>
                    <a:pt x="1454" y="430"/>
                    <a:pt x="1434" y="430"/>
                  </a:cubicBezTo>
                  <a:lnTo>
                    <a:pt x="1414" y="450"/>
                  </a:lnTo>
                  <a:cubicBezTo>
                    <a:pt x="1393" y="450"/>
                    <a:pt x="1393" y="430"/>
                    <a:pt x="1372" y="430"/>
                  </a:cubicBezTo>
                  <a:cubicBezTo>
                    <a:pt x="1372" y="430"/>
                    <a:pt x="1352" y="410"/>
                    <a:pt x="1332" y="410"/>
                  </a:cubicBezTo>
                  <a:lnTo>
                    <a:pt x="1312" y="389"/>
                  </a:lnTo>
                  <a:cubicBezTo>
                    <a:pt x="1312" y="368"/>
                    <a:pt x="1312" y="348"/>
                    <a:pt x="1312" y="328"/>
                  </a:cubicBezTo>
                  <a:cubicBezTo>
                    <a:pt x="1291" y="328"/>
                    <a:pt x="1291" y="328"/>
                    <a:pt x="1291" y="328"/>
                  </a:cubicBezTo>
                  <a:cubicBezTo>
                    <a:pt x="1291" y="307"/>
                    <a:pt x="1291" y="286"/>
                    <a:pt x="1270" y="286"/>
                  </a:cubicBezTo>
                  <a:cubicBezTo>
                    <a:pt x="1270" y="266"/>
                    <a:pt x="1270" y="266"/>
                    <a:pt x="1250" y="246"/>
                  </a:cubicBezTo>
                  <a:lnTo>
                    <a:pt x="1230" y="246"/>
                  </a:lnTo>
                  <a:cubicBezTo>
                    <a:pt x="1209" y="225"/>
                    <a:pt x="1209" y="225"/>
                    <a:pt x="1188" y="225"/>
                  </a:cubicBezTo>
                  <a:cubicBezTo>
                    <a:pt x="1188" y="225"/>
                    <a:pt x="1168" y="225"/>
                    <a:pt x="1148" y="205"/>
                  </a:cubicBezTo>
                  <a:lnTo>
                    <a:pt x="1127" y="205"/>
                  </a:lnTo>
                  <a:cubicBezTo>
                    <a:pt x="1127" y="184"/>
                    <a:pt x="1086" y="205"/>
                    <a:pt x="1086" y="205"/>
                  </a:cubicBezTo>
                  <a:cubicBezTo>
                    <a:pt x="1066" y="205"/>
                    <a:pt x="1045" y="184"/>
                    <a:pt x="1024" y="184"/>
                  </a:cubicBezTo>
                  <a:cubicBezTo>
                    <a:pt x="1004" y="184"/>
                    <a:pt x="984" y="184"/>
                    <a:pt x="984" y="184"/>
                  </a:cubicBezTo>
                  <a:cubicBezTo>
                    <a:pt x="984" y="184"/>
                    <a:pt x="963" y="184"/>
                    <a:pt x="942" y="205"/>
                  </a:cubicBezTo>
                  <a:cubicBezTo>
                    <a:pt x="942" y="205"/>
                    <a:pt x="942" y="205"/>
                    <a:pt x="942" y="225"/>
                  </a:cubicBezTo>
                  <a:cubicBezTo>
                    <a:pt x="922" y="225"/>
                    <a:pt x="922" y="225"/>
                    <a:pt x="902" y="225"/>
                  </a:cubicBezTo>
                  <a:cubicBezTo>
                    <a:pt x="902" y="225"/>
                    <a:pt x="881" y="225"/>
                    <a:pt x="860" y="225"/>
                  </a:cubicBezTo>
                  <a:lnTo>
                    <a:pt x="840" y="225"/>
                  </a:lnTo>
                  <a:cubicBezTo>
                    <a:pt x="820" y="225"/>
                    <a:pt x="820" y="246"/>
                    <a:pt x="799" y="246"/>
                  </a:cubicBezTo>
                  <a:lnTo>
                    <a:pt x="778" y="246"/>
                  </a:lnTo>
                  <a:lnTo>
                    <a:pt x="758" y="225"/>
                  </a:lnTo>
                  <a:cubicBezTo>
                    <a:pt x="738" y="225"/>
                    <a:pt x="738" y="225"/>
                    <a:pt x="717" y="205"/>
                  </a:cubicBezTo>
                  <a:cubicBezTo>
                    <a:pt x="717" y="205"/>
                    <a:pt x="676" y="205"/>
                    <a:pt x="656" y="205"/>
                  </a:cubicBezTo>
                  <a:lnTo>
                    <a:pt x="614" y="205"/>
                  </a:lnTo>
                  <a:cubicBezTo>
                    <a:pt x="594" y="205"/>
                    <a:pt x="594" y="184"/>
                    <a:pt x="574" y="184"/>
                  </a:cubicBezTo>
                  <a:cubicBezTo>
                    <a:pt x="574" y="184"/>
                    <a:pt x="574" y="164"/>
                    <a:pt x="574" y="144"/>
                  </a:cubicBezTo>
                  <a:cubicBezTo>
                    <a:pt x="574" y="144"/>
                    <a:pt x="574" y="123"/>
                    <a:pt x="574" y="102"/>
                  </a:cubicBezTo>
                  <a:cubicBezTo>
                    <a:pt x="553" y="102"/>
                    <a:pt x="553" y="102"/>
                    <a:pt x="533" y="102"/>
                  </a:cubicBezTo>
                  <a:lnTo>
                    <a:pt x="512" y="102"/>
                  </a:lnTo>
                  <a:lnTo>
                    <a:pt x="492" y="102"/>
                  </a:lnTo>
                  <a:cubicBezTo>
                    <a:pt x="471" y="102"/>
                    <a:pt x="471" y="82"/>
                    <a:pt x="451" y="82"/>
                  </a:cubicBezTo>
                  <a:cubicBezTo>
                    <a:pt x="451" y="82"/>
                    <a:pt x="430" y="82"/>
                    <a:pt x="410" y="82"/>
                  </a:cubicBezTo>
                  <a:lnTo>
                    <a:pt x="389" y="82"/>
                  </a:lnTo>
                  <a:cubicBezTo>
                    <a:pt x="389" y="62"/>
                    <a:pt x="389" y="41"/>
                    <a:pt x="389" y="41"/>
                  </a:cubicBezTo>
                  <a:cubicBezTo>
                    <a:pt x="369" y="20"/>
                    <a:pt x="369" y="20"/>
                    <a:pt x="369" y="20"/>
                  </a:cubicBezTo>
                  <a:cubicBezTo>
                    <a:pt x="348" y="0"/>
                    <a:pt x="328" y="0"/>
                    <a:pt x="328" y="0"/>
                  </a:cubicBezTo>
                  <a:lnTo>
                    <a:pt x="307" y="20"/>
                  </a:lnTo>
                  <a:lnTo>
                    <a:pt x="287" y="20"/>
                  </a:lnTo>
                  <a:cubicBezTo>
                    <a:pt x="266" y="20"/>
                    <a:pt x="225" y="41"/>
                    <a:pt x="205" y="20"/>
                  </a:cubicBezTo>
                  <a:cubicBezTo>
                    <a:pt x="205" y="20"/>
                    <a:pt x="205" y="20"/>
                    <a:pt x="184" y="20"/>
                  </a:cubicBezTo>
                  <a:lnTo>
                    <a:pt x="164" y="0"/>
                  </a:lnTo>
                  <a:lnTo>
                    <a:pt x="143" y="20"/>
                  </a:lnTo>
                  <a:cubicBezTo>
                    <a:pt x="143" y="20"/>
                    <a:pt x="143" y="41"/>
                    <a:pt x="143" y="62"/>
                  </a:cubicBezTo>
                  <a:cubicBezTo>
                    <a:pt x="123" y="62"/>
                    <a:pt x="123" y="82"/>
                    <a:pt x="102" y="82"/>
                  </a:cubicBezTo>
                  <a:cubicBezTo>
                    <a:pt x="102" y="102"/>
                    <a:pt x="82" y="102"/>
                    <a:pt x="82" y="102"/>
                  </a:cubicBezTo>
                  <a:cubicBezTo>
                    <a:pt x="82" y="123"/>
                    <a:pt x="82" y="123"/>
                    <a:pt x="61" y="144"/>
                  </a:cubicBezTo>
                  <a:cubicBezTo>
                    <a:pt x="61" y="144"/>
                    <a:pt x="61" y="144"/>
                    <a:pt x="41" y="144"/>
                  </a:cubicBezTo>
                  <a:lnTo>
                    <a:pt x="20" y="164"/>
                  </a:lnTo>
                  <a:lnTo>
                    <a:pt x="0" y="164"/>
                  </a:lnTo>
                  <a:lnTo>
                    <a:pt x="0" y="184"/>
                  </a:lnTo>
                  <a:lnTo>
                    <a:pt x="0" y="205"/>
                  </a:lnTo>
                  <a:cubicBezTo>
                    <a:pt x="0" y="205"/>
                    <a:pt x="20" y="225"/>
                    <a:pt x="41" y="225"/>
                  </a:cubicBezTo>
                  <a:lnTo>
                    <a:pt x="61" y="225"/>
                  </a:lnTo>
                  <a:cubicBezTo>
                    <a:pt x="82" y="225"/>
                    <a:pt x="102" y="225"/>
                    <a:pt x="102" y="246"/>
                  </a:cubicBezTo>
                  <a:cubicBezTo>
                    <a:pt x="123" y="246"/>
                    <a:pt x="143" y="246"/>
                    <a:pt x="143" y="246"/>
                  </a:cubicBezTo>
                  <a:cubicBezTo>
                    <a:pt x="164" y="246"/>
                    <a:pt x="184" y="246"/>
                    <a:pt x="184" y="246"/>
                  </a:cubicBezTo>
                  <a:lnTo>
                    <a:pt x="205" y="246"/>
                  </a:lnTo>
                  <a:lnTo>
                    <a:pt x="205" y="266"/>
                  </a:lnTo>
                  <a:lnTo>
                    <a:pt x="205" y="286"/>
                  </a:lnTo>
                  <a:lnTo>
                    <a:pt x="184" y="286"/>
                  </a:lnTo>
                  <a:cubicBezTo>
                    <a:pt x="184" y="307"/>
                    <a:pt x="164" y="328"/>
                    <a:pt x="184" y="328"/>
                  </a:cubicBezTo>
                  <a:lnTo>
                    <a:pt x="184" y="348"/>
                  </a:lnTo>
                  <a:lnTo>
                    <a:pt x="205" y="368"/>
                  </a:lnTo>
                  <a:cubicBezTo>
                    <a:pt x="225" y="368"/>
                    <a:pt x="246" y="368"/>
                    <a:pt x="246" y="368"/>
                  </a:cubicBezTo>
                  <a:cubicBezTo>
                    <a:pt x="266" y="368"/>
                    <a:pt x="287" y="368"/>
                    <a:pt x="307" y="368"/>
                  </a:cubicBezTo>
                  <a:lnTo>
                    <a:pt x="328" y="368"/>
                  </a:lnTo>
                  <a:cubicBezTo>
                    <a:pt x="328" y="368"/>
                    <a:pt x="348" y="368"/>
                    <a:pt x="369" y="368"/>
                  </a:cubicBezTo>
                  <a:cubicBezTo>
                    <a:pt x="369" y="389"/>
                    <a:pt x="369" y="389"/>
                    <a:pt x="369" y="410"/>
                  </a:cubicBezTo>
                  <a:cubicBezTo>
                    <a:pt x="389" y="410"/>
                    <a:pt x="410" y="430"/>
                    <a:pt x="430" y="450"/>
                  </a:cubicBezTo>
                  <a:lnTo>
                    <a:pt x="451" y="450"/>
                  </a:lnTo>
                  <a:cubicBezTo>
                    <a:pt x="471" y="450"/>
                    <a:pt x="512" y="450"/>
                    <a:pt x="533" y="450"/>
                  </a:cubicBezTo>
                  <a:cubicBezTo>
                    <a:pt x="553" y="450"/>
                    <a:pt x="574" y="430"/>
                    <a:pt x="574" y="430"/>
                  </a:cubicBezTo>
                  <a:cubicBezTo>
                    <a:pt x="594" y="430"/>
                    <a:pt x="594" y="430"/>
                    <a:pt x="594" y="430"/>
                  </a:cubicBezTo>
                  <a:cubicBezTo>
                    <a:pt x="614" y="430"/>
                    <a:pt x="614" y="430"/>
                    <a:pt x="614" y="430"/>
                  </a:cubicBezTo>
                  <a:cubicBezTo>
                    <a:pt x="635" y="430"/>
                    <a:pt x="635" y="430"/>
                    <a:pt x="635" y="430"/>
                  </a:cubicBezTo>
                  <a:cubicBezTo>
                    <a:pt x="656" y="410"/>
                    <a:pt x="676" y="430"/>
                    <a:pt x="676" y="430"/>
                  </a:cubicBezTo>
                  <a:lnTo>
                    <a:pt x="696" y="430"/>
                  </a:lnTo>
                  <a:cubicBezTo>
                    <a:pt x="696" y="430"/>
                    <a:pt x="717" y="430"/>
                    <a:pt x="717" y="450"/>
                  </a:cubicBezTo>
                  <a:lnTo>
                    <a:pt x="738" y="450"/>
                  </a:lnTo>
                  <a:cubicBezTo>
                    <a:pt x="758" y="450"/>
                    <a:pt x="799" y="471"/>
                    <a:pt x="820" y="471"/>
                  </a:cubicBezTo>
                  <a:cubicBezTo>
                    <a:pt x="840" y="471"/>
                    <a:pt x="860" y="471"/>
                    <a:pt x="860" y="471"/>
                  </a:cubicBezTo>
                  <a:cubicBezTo>
                    <a:pt x="881" y="471"/>
                    <a:pt x="902" y="492"/>
                    <a:pt x="902" y="492"/>
                  </a:cubicBezTo>
                  <a:cubicBezTo>
                    <a:pt x="922" y="492"/>
                    <a:pt x="922" y="532"/>
                    <a:pt x="942" y="532"/>
                  </a:cubicBezTo>
                  <a:cubicBezTo>
                    <a:pt x="963" y="532"/>
                    <a:pt x="984" y="532"/>
                    <a:pt x="984" y="532"/>
                  </a:cubicBezTo>
                  <a:cubicBezTo>
                    <a:pt x="1004" y="532"/>
                    <a:pt x="1024" y="553"/>
                    <a:pt x="1045" y="553"/>
                  </a:cubicBezTo>
                  <a:cubicBezTo>
                    <a:pt x="1066" y="553"/>
                    <a:pt x="1086" y="574"/>
                    <a:pt x="1106" y="574"/>
                  </a:cubicBezTo>
                  <a:cubicBezTo>
                    <a:pt x="1127" y="574"/>
                    <a:pt x="1148" y="574"/>
                    <a:pt x="1168" y="574"/>
                  </a:cubicBezTo>
                  <a:cubicBezTo>
                    <a:pt x="1168" y="574"/>
                    <a:pt x="1188" y="574"/>
                    <a:pt x="1188" y="594"/>
                  </a:cubicBezTo>
                  <a:lnTo>
                    <a:pt x="1230" y="594"/>
                  </a:lnTo>
                  <a:cubicBezTo>
                    <a:pt x="1250" y="594"/>
                    <a:pt x="1270" y="594"/>
                    <a:pt x="1270" y="594"/>
                  </a:cubicBezTo>
                  <a:cubicBezTo>
                    <a:pt x="1291" y="594"/>
                    <a:pt x="1312" y="574"/>
                    <a:pt x="1312" y="574"/>
                  </a:cubicBezTo>
                  <a:cubicBezTo>
                    <a:pt x="1332" y="574"/>
                    <a:pt x="1352" y="574"/>
                    <a:pt x="1352" y="574"/>
                  </a:cubicBezTo>
                  <a:cubicBezTo>
                    <a:pt x="1372" y="574"/>
                    <a:pt x="1393" y="594"/>
                    <a:pt x="1414" y="594"/>
                  </a:cubicBezTo>
                  <a:cubicBezTo>
                    <a:pt x="1434" y="594"/>
                    <a:pt x="1434" y="614"/>
                    <a:pt x="1454" y="614"/>
                  </a:cubicBezTo>
                  <a:lnTo>
                    <a:pt x="1454" y="635"/>
                  </a:lnTo>
                  <a:cubicBezTo>
                    <a:pt x="1475" y="635"/>
                    <a:pt x="1496" y="635"/>
                    <a:pt x="1516" y="635"/>
                  </a:cubicBezTo>
                  <a:cubicBezTo>
                    <a:pt x="1516" y="635"/>
                    <a:pt x="1536" y="635"/>
                    <a:pt x="1536" y="656"/>
                  </a:cubicBezTo>
                  <a:cubicBezTo>
                    <a:pt x="1557" y="656"/>
                    <a:pt x="1578" y="656"/>
                    <a:pt x="1578" y="656"/>
                  </a:cubicBezTo>
                  <a:lnTo>
                    <a:pt x="1578" y="635"/>
                  </a:lnTo>
                  <a:lnTo>
                    <a:pt x="1578" y="614"/>
                  </a:lnTo>
                  <a:cubicBezTo>
                    <a:pt x="1578" y="594"/>
                    <a:pt x="1557" y="594"/>
                    <a:pt x="1557" y="574"/>
                  </a:cubicBezTo>
                  <a:lnTo>
                    <a:pt x="1557" y="553"/>
                  </a:lnTo>
                  <a:lnTo>
                    <a:pt x="1578" y="553"/>
                  </a:lnTo>
                  <a:lnTo>
                    <a:pt x="1598" y="553"/>
                  </a:lnTo>
                  <a:cubicBezTo>
                    <a:pt x="1598" y="553"/>
                    <a:pt x="1618" y="574"/>
                    <a:pt x="1618" y="594"/>
                  </a:cubicBezTo>
                  <a:cubicBezTo>
                    <a:pt x="1618" y="594"/>
                    <a:pt x="1639" y="594"/>
                    <a:pt x="1660" y="614"/>
                  </a:cubicBezTo>
                  <a:lnTo>
                    <a:pt x="1660" y="635"/>
                  </a:lnTo>
                  <a:lnTo>
                    <a:pt x="1660" y="656"/>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6" name="Freeform 363">
              <a:extLst>
                <a:ext uri="{FF2B5EF4-FFF2-40B4-BE49-F238E27FC236}">
                  <a16:creationId xmlns:a16="http://schemas.microsoft.com/office/drawing/2014/main" id="{3921C55C-E78D-8B4F-8670-ECF742A95A08}"/>
                </a:ext>
              </a:extLst>
            </p:cNvPr>
            <p:cNvSpPr>
              <a:spLocks noChangeArrowheads="1"/>
            </p:cNvSpPr>
            <p:nvPr/>
          </p:nvSpPr>
          <p:spPr bwMode="auto">
            <a:xfrm>
              <a:off x="5656263" y="8632825"/>
              <a:ext cx="15875" cy="15875"/>
            </a:xfrm>
            <a:custGeom>
              <a:avLst/>
              <a:gdLst>
                <a:gd name="T0" fmla="*/ 41 w 42"/>
                <a:gd name="T1" fmla="*/ 20 h 42"/>
                <a:gd name="T2" fmla="*/ 41 w 42"/>
                <a:gd name="T3" fmla="*/ 20 h 42"/>
                <a:gd name="T4" fmla="*/ 20 w 42"/>
                <a:gd name="T5" fmla="*/ 20 h 42"/>
                <a:gd name="T6" fmla="*/ 0 w 42"/>
                <a:gd name="T7" fmla="*/ 20 h 42"/>
                <a:gd name="T8" fmla="*/ 0 w 42"/>
                <a:gd name="T9" fmla="*/ 0 h 42"/>
                <a:gd name="T10" fmla="*/ 20 w 42"/>
                <a:gd name="T11" fmla="*/ 0 h 42"/>
                <a:gd name="T12" fmla="*/ 41 w 4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41" y="20"/>
                  </a:moveTo>
                  <a:lnTo>
                    <a:pt x="41" y="20"/>
                  </a:lnTo>
                  <a:cubicBezTo>
                    <a:pt x="41" y="41"/>
                    <a:pt x="20" y="20"/>
                    <a:pt x="20" y="20"/>
                  </a:cubicBezTo>
                  <a:lnTo>
                    <a:pt x="0" y="20"/>
                  </a:lnTo>
                  <a:cubicBezTo>
                    <a:pt x="0" y="20"/>
                    <a:pt x="0" y="20"/>
                    <a:pt x="0" y="0"/>
                  </a:cubicBezTo>
                  <a:lnTo>
                    <a:pt x="20" y="0"/>
                  </a:lnTo>
                  <a:cubicBezTo>
                    <a:pt x="20" y="0"/>
                    <a:pt x="20" y="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7" name="Freeform 364">
              <a:extLst>
                <a:ext uri="{FF2B5EF4-FFF2-40B4-BE49-F238E27FC236}">
                  <a16:creationId xmlns:a16="http://schemas.microsoft.com/office/drawing/2014/main" id="{29C02815-604C-4540-8E37-B6B8B97FD853}"/>
                </a:ext>
              </a:extLst>
            </p:cNvPr>
            <p:cNvSpPr>
              <a:spLocks noChangeArrowheads="1"/>
            </p:cNvSpPr>
            <p:nvPr/>
          </p:nvSpPr>
          <p:spPr bwMode="auto">
            <a:xfrm>
              <a:off x="5641975" y="8507413"/>
              <a:ext cx="80963" cy="22225"/>
            </a:xfrm>
            <a:custGeom>
              <a:avLst/>
              <a:gdLst>
                <a:gd name="T0" fmla="*/ 184 w 225"/>
                <a:gd name="T1" fmla="*/ 61 h 62"/>
                <a:gd name="T2" fmla="*/ 184 w 225"/>
                <a:gd name="T3" fmla="*/ 61 h 62"/>
                <a:gd name="T4" fmla="*/ 204 w 225"/>
                <a:gd name="T5" fmla="*/ 40 h 62"/>
                <a:gd name="T6" fmla="*/ 224 w 225"/>
                <a:gd name="T7" fmla="*/ 20 h 62"/>
                <a:gd name="T8" fmla="*/ 224 w 225"/>
                <a:gd name="T9" fmla="*/ 0 h 62"/>
                <a:gd name="T10" fmla="*/ 184 w 225"/>
                <a:gd name="T11" fmla="*/ 0 h 62"/>
                <a:gd name="T12" fmla="*/ 102 w 225"/>
                <a:gd name="T13" fmla="*/ 0 h 62"/>
                <a:gd name="T14" fmla="*/ 81 w 225"/>
                <a:gd name="T15" fmla="*/ 0 h 62"/>
                <a:gd name="T16" fmla="*/ 40 w 225"/>
                <a:gd name="T17" fmla="*/ 0 h 62"/>
                <a:gd name="T18" fmla="*/ 20 w 225"/>
                <a:gd name="T19" fmla="*/ 20 h 62"/>
                <a:gd name="T20" fmla="*/ 0 w 225"/>
                <a:gd name="T21" fmla="*/ 20 h 62"/>
                <a:gd name="T22" fmla="*/ 0 w 225"/>
                <a:gd name="T23" fmla="*/ 40 h 62"/>
                <a:gd name="T24" fmla="*/ 20 w 225"/>
                <a:gd name="T25" fmla="*/ 61 h 62"/>
                <a:gd name="T26" fmla="*/ 60 w 225"/>
                <a:gd name="T27" fmla="*/ 61 h 62"/>
                <a:gd name="T28" fmla="*/ 102 w 225"/>
                <a:gd name="T29" fmla="*/ 61 h 62"/>
                <a:gd name="T30" fmla="*/ 142 w 225"/>
                <a:gd name="T31" fmla="*/ 61 h 62"/>
                <a:gd name="T32" fmla="*/ 184 w 225"/>
                <a:gd name="T33"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5" h="62">
                  <a:moveTo>
                    <a:pt x="184" y="61"/>
                  </a:moveTo>
                  <a:lnTo>
                    <a:pt x="184" y="61"/>
                  </a:lnTo>
                  <a:cubicBezTo>
                    <a:pt x="184" y="61"/>
                    <a:pt x="204" y="61"/>
                    <a:pt x="204" y="40"/>
                  </a:cubicBezTo>
                  <a:cubicBezTo>
                    <a:pt x="204" y="40"/>
                    <a:pt x="224" y="40"/>
                    <a:pt x="224" y="20"/>
                  </a:cubicBezTo>
                  <a:lnTo>
                    <a:pt x="224" y="0"/>
                  </a:lnTo>
                  <a:cubicBezTo>
                    <a:pt x="204" y="0"/>
                    <a:pt x="184" y="0"/>
                    <a:pt x="184" y="0"/>
                  </a:cubicBezTo>
                  <a:cubicBezTo>
                    <a:pt x="163" y="0"/>
                    <a:pt x="122" y="0"/>
                    <a:pt x="102" y="0"/>
                  </a:cubicBezTo>
                  <a:lnTo>
                    <a:pt x="81" y="0"/>
                  </a:lnTo>
                  <a:cubicBezTo>
                    <a:pt x="60" y="0"/>
                    <a:pt x="40" y="0"/>
                    <a:pt x="40" y="0"/>
                  </a:cubicBezTo>
                  <a:cubicBezTo>
                    <a:pt x="40" y="0"/>
                    <a:pt x="20" y="0"/>
                    <a:pt x="20" y="20"/>
                  </a:cubicBezTo>
                  <a:lnTo>
                    <a:pt x="0" y="20"/>
                  </a:lnTo>
                  <a:lnTo>
                    <a:pt x="0" y="40"/>
                  </a:lnTo>
                  <a:lnTo>
                    <a:pt x="20" y="61"/>
                  </a:lnTo>
                  <a:cubicBezTo>
                    <a:pt x="20" y="61"/>
                    <a:pt x="40" y="61"/>
                    <a:pt x="60" y="61"/>
                  </a:cubicBezTo>
                  <a:lnTo>
                    <a:pt x="102" y="61"/>
                  </a:lnTo>
                  <a:cubicBezTo>
                    <a:pt x="122" y="61"/>
                    <a:pt x="142" y="61"/>
                    <a:pt x="142" y="61"/>
                  </a:cubicBezTo>
                  <a:cubicBezTo>
                    <a:pt x="163" y="61"/>
                    <a:pt x="163" y="61"/>
                    <a:pt x="184"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8" name="Freeform 365">
              <a:extLst>
                <a:ext uri="{FF2B5EF4-FFF2-40B4-BE49-F238E27FC236}">
                  <a16:creationId xmlns:a16="http://schemas.microsoft.com/office/drawing/2014/main" id="{2EFD0339-69A8-EC40-BC47-03546620D459}"/>
                </a:ext>
              </a:extLst>
            </p:cNvPr>
            <p:cNvSpPr>
              <a:spLocks noChangeArrowheads="1"/>
            </p:cNvSpPr>
            <p:nvPr/>
          </p:nvSpPr>
          <p:spPr bwMode="auto">
            <a:xfrm>
              <a:off x="5626100" y="8412163"/>
              <a:ext cx="15875" cy="14287"/>
            </a:xfrm>
            <a:custGeom>
              <a:avLst/>
              <a:gdLst>
                <a:gd name="T0" fmla="*/ 42 w 43"/>
                <a:gd name="T1" fmla="*/ 40 h 41"/>
                <a:gd name="T2" fmla="*/ 42 w 43"/>
                <a:gd name="T3" fmla="*/ 40 h 41"/>
                <a:gd name="T4" fmla="*/ 21 w 43"/>
                <a:gd name="T5" fmla="*/ 40 h 41"/>
                <a:gd name="T6" fmla="*/ 0 w 43"/>
                <a:gd name="T7" fmla="*/ 20 h 41"/>
                <a:gd name="T8" fmla="*/ 0 w 43"/>
                <a:gd name="T9" fmla="*/ 0 h 41"/>
                <a:gd name="T10" fmla="*/ 21 w 43"/>
                <a:gd name="T11" fmla="*/ 0 h 41"/>
                <a:gd name="T12" fmla="*/ 42 w 43"/>
                <a:gd name="T13" fmla="*/ 0 h 41"/>
                <a:gd name="T14" fmla="*/ 42 w 43"/>
                <a:gd name="T15" fmla="*/ 20 h 41"/>
                <a:gd name="T16" fmla="*/ 42 w 43"/>
                <a:gd name="T17"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1">
                  <a:moveTo>
                    <a:pt x="42" y="40"/>
                  </a:moveTo>
                  <a:lnTo>
                    <a:pt x="42" y="40"/>
                  </a:lnTo>
                  <a:lnTo>
                    <a:pt x="21" y="40"/>
                  </a:lnTo>
                  <a:cubicBezTo>
                    <a:pt x="21" y="40"/>
                    <a:pt x="0" y="40"/>
                    <a:pt x="0" y="20"/>
                  </a:cubicBezTo>
                  <a:lnTo>
                    <a:pt x="0" y="0"/>
                  </a:lnTo>
                  <a:lnTo>
                    <a:pt x="21" y="0"/>
                  </a:lnTo>
                  <a:lnTo>
                    <a:pt x="42" y="0"/>
                  </a:lnTo>
                  <a:cubicBezTo>
                    <a:pt x="42" y="20"/>
                    <a:pt x="42" y="20"/>
                    <a:pt x="42" y="20"/>
                  </a:cubicBezTo>
                  <a:cubicBezTo>
                    <a:pt x="42" y="40"/>
                    <a:pt x="42" y="40"/>
                    <a:pt x="42"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69" name="Freeform 366">
              <a:extLst>
                <a:ext uri="{FF2B5EF4-FFF2-40B4-BE49-F238E27FC236}">
                  <a16:creationId xmlns:a16="http://schemas.microsoft.com/office/drawing/2014/main" id="{D7541FBE-BCAC-BD4B-B047-FA1A35E4A053}"/>
                </a:ext>
              </a:extLst>
            </p:cNvPr>
            <p:cNvSpPr>
              <a:spLocks noChangeArrowheads="1"/>
            </p:cNvSpPr>
            <p:nvPr/>
          </p:nvSpPr>
          <p:spPr bwMode="auto">
            <a:xfrm>
              <a:off x="5502275" y="8418513"/>
              <a:ext cx="15875" cy="15875"/>
            </a:xfrm>
            <a:custGeom>
              <a:avLst/>
              <a:gdLst>
                <a:gd name="T0" fmla="*/ 41 w 42"/>
                <a:gd name="T1" fmla="*/ 41 h 42"/>
                <a:gd name="T2" fmla="*/ 41 w 42"/>
                <a:gd name="T3" fmla="*/ 41 h 42"/>
                <a:gd name="T4" fmla="*/ 41 w 42"/>
                <a:gd name="T5" fmla="*/ 20 h 42"/>
                <a:gd name="T6" fmla="*/ 20 w 42"/>
                <a:gd name="T7" fmla="*/ 0 h 42"/>
                <a:gd name="T8" fmla="*/ 0 w 42"/>
                <a:gd name="T9" fmla="*/ 20 h 42"/>
                <a:gd name="T10" fmla="*/ 0 w 42"/>
                <a:gd name="T11" fmla="*/ 20 h 42"/>
                <a:gd name="T12" fmla="*/ 41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41" y="41"/>
                  </a:moveTo>
                  <a:lnTo>
                    <a:pt x="41" y="41"/>
                  </a:lnTo>
                  <a:lnTo>
                    <a:pt x="41" y="20"/>
                  </a:lnTo>
                  <a:cubicBezTo>
                    <a:pt x="20" y="0"/>
                    <a:pt x="20" y="0"/>
                    <a:pt x="20" y="0"/>
                  </a:cubicBezTo>
                  <a:cubicBezTo>
                    <a:pt x="0" y="0"/>
                    <a:pt x="0" y="20"/>
                    <a:pt x="0" y="20"/>
                  </a:cubicBezTo>
                  <a:lnTo>
                    <a:pt x="0" y="20"/>
                  </a:lnTo>
                  <a:cubicBezTo>
                    <a:pt x="20" y="41"/>
                    <a:pt x="20" y="41"/>
                    <a:pt x="4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0" name="Freeform 367">
              <a:extLst>
                <a:ext uri="{FF2B5EF4-FFF2-40B4-BE49-F238E27FC236}">
                  <a16:creationId xmlns:a16="http://schemas.microsoft.com/office/drawing/2014/main" id="{47048FBC-1737-CF4B-8232-2E364C047AD6}"/>
                </a:ext>
              </a:extLst>
            </p:cNvPr>
            <p:cNvSpPr>
              <a:spLocks noChangeArrowheads="1"/>
            </p:cNvSpPr>
            <p:nvPr/>
          </p:nvSpPr>
          <p:spPr bwMode="auto">
            <a:xfrm>
              <a:off x="5516563" y="8412163"/>
              <a:ext cx="7937" cy="7937"/>
            </a:xfrm>
            <a:custGeom>
              <a:avLst/>
              <a:gdLst>
                <a:gd name="T0" fmla="*/ 21 w 22"/>
                <a:gd name="T1" fmla="*/ 0 h 21"/>
                <a:gd name="T2" fmla="*/ 21 w 22"/>
                <a:gd name="T3" fmla="*/ 0 h 21"/>
                <a:gd name="T4" fmla="*/ 0 w 22"/>
                <a:gd name="T5" fmla="*/ 0 h 21"/>
                <a:gd name="T6" fmla="*/ 0 w 22"/>
                <a:gd name="T7" fmla="*/ 20 h 21"/>
                <a:gd name="T8" fmla="*/ 21 w 22"/>
                <a:gd name="T9" fmla="*/ 20 h 21"/>
                <a:gd name="T10" fmla="*/ 21 w 22"/>
                <a:gd name="T11" fmla="*/ 20 h 21"/>
                <a:gd name="T12" fmla="*/ 21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0"/>
                  </a:moveTo>
                  <a:lnTo>
                    <a:pt x="21" y="0"/>
                  </a:lnTo>
                  <a:lnTo>
                    <a:pt x="0" y="0"/>
                  </a:lnTo>
                  <a:lnTo>
                    <a:pt x="0" y="20"/>
                  </a:lnTo>
                  <a:lnTo>
                    <a:pt x="21" y="20"/>
                  </a:lnTo>
                  <a:lnTo>
                    <a:pt x="21" y="20"/>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1" name="Freeform 368">
              <a:extLst>
                <a:ext uri="{FF2B5EF4-FFF2-40B4-BE49-F238E27FC236}">
                  <a16:creationId xmlns:a16="http://schemas.microsoft.com/office/drawing/2014/main" id="{47F3FF16-1190-F943-8B17-C189F1753D85}"/>
                </a:ext>
              </a:extLst>
            </p:cNvPr>
            <p:cNvSpPr>
              <a:spLocks noChangeArrowheads="1"/>
            </p:cNvSpPr>
            <p:nvPr/>
          </p:nvSpPr>
          <p:spPr bwMode="auto">
            <a:xfrm>
              <a:off x="4557713" y="7504113"/>
              <a:ext cx="671512" cy="914400"/>
            </a:xfrm>
            <a:custGeom>
              <a:avLst/>
              <a:gdLst>
                <a:gd name="T0" fmla="*/ 1803 w 1866"/>
                <a:gd name="T1" fmla="*/ 2397 h 2542"/>
                <a:gd name="T2" fmla="*/ 1762 w 1866"/>
                <a:gd name="T3" fmla="*/ 2521 h 2542"/>
                <a:gd name="T4" fmla="*/ 1701 w 1866"/>
                <a:gd name="T5" fmla="*/ 2479 h 2542"/>
                <a:gd name="T6" fmla="*/ 1619 w 1866"/>
                <a:gd name="T7" fmla="*/ 2459 h 2542"/>
                <a:gd name="T8" fmla="*/ 1578 w 1866"/>
                <a:gd name="T9" fmla="*/ 2521 h 2542"/>
                <a:gd name="T10" fmla="*/ 1496 w 1866"/>
                <a:gd name="T11" fmla="*/ 2418 h 2542"/>
                <a:gd name="T12" fmla="*/ 1312 w 1866"/>
                <a:gd name="T13" fmla="*/ 2254 h 2542"/>
                <a:gd name="T14" fmla="*/ 1209 w 1866"/>
                <a:gd name="T15" fmla="*/ 2090 h 2542"/>
                <a:gd name="T16" fmla="*/ 1086 w 1866"/>
                <a:gd name="T17" fmla="*/ 1947 h 2542"/>
                <a:gd name="T18" fmla="*/ 1004 w 1866"/>
                <a:gd name="T19" fmla="*/ 1803 h 2542"/>
                <a:gd name="T20" fmla="*/ 963 w 1866"/>
                <a:gd name="T21" fmla="*/ 1619 h 2542"/>
                <a:gd name="T22" fmla="*/ 881 w 1866"/>
                <a:gd name="T23" fmla="*/ 1434 h 2542"/>
                <a:gd name="T24" fmla="*/ 799 w 1866"/>
                <a:gd name="T25" fmla="*/ 1270 h 2542"/>
                <a:gd name="T26" fmla="*/ 676 w 1866"/>
                <a:gd name="T27" fmla="*/ 1148 h 2542"/>
                <a:gd name="T28" fmla="*/ 615 w 1866"/>
                <a:gd name="T29" fmla="*/ 1004 h 2542"/>
                <a:gd name="T30" fmla="*/ 615 w 1866"/>
                <a:gd name="T31" fmla="*/ 881 h 2542"/>
                <a:gd name="T32" fmla="*/ 492 w 1866"/>
                <a:gd name="T33" fmla="*/ 778 h 2542"/>
                <a:gd name="T34" fmla="*/ 390 w 1866"/>
                <a:gd name="T35" fmla="*/ 636 h 2542"/>
                <a:gd name="T36" fmla="*/ 328 w 1866"/>
                <a:gd name="T37" fmla="*/ 533 h 2542"/>
                <a:gd name="T38" fmla="*/ 184 w 1866"/>
                <a:gd name="T39" fmla="*/ 369 h 2542"/>
                <a:gd name="T40" fmla="*/ 62 w 1866"/>
                <a:gd name="T41" fmla="*/ 226 h 2542"/>
                <a:gd name="T42" fmla="*/ 0 w 1866"/>
                <a:gd name="T43" fmla="*/ 102 h 2542"/>
                <a:gd name="T44" fmla="*/ 21 w 1866"/>
                <a:gd name="T45" fmla="*/ 0 h 2542"/>
                <a:gd name="T46" fmla="*/ 144 w 1866"/>
                <a:gd name="T47" fmla="*/ 62 h 2542"/>
                <a:gd name="T48" fmla="*/ 287 w 1866"/>
                <a:gd name="T49" fmla="*/ 82 h 2542"/>
                <a:gd name="T50" fmla="*/ 410 w 1866"/>
                <a:gd name="T51" fmla="*/ 82 h 2542"/>
                <a:gd name="T52" fmla="*/ 492 w 1866"/>
                <a:gd name="T53" fmla="*/ 205 h 2542"/>
                <a:gd name="T54" fmla="*/ 594 w 1866"/>
                <a:gd name="T55" fmla="*/ 369 h 2542"/>
                <a:gd name="T56" fmla="*/ 758 w 1866"/>
                <a:gd name="T57" fmla="*/ 472 h 2542"/>
                <a:gd name="T58" fmla="*/ 840 w 1866"/>
                <a:gd name="T59" fmla="*/ 594 h 2542"/>
                <a:gd name="T60" fmla="*/ 902 w 1866"/>
                <a:gd name="T61" fmla="*/ 697 h 2542"/>
                <a:gd name="T62" fmla="*/ 963 w 1866"/>
                <a:gd name="T63" fmla="*/ 738 h 2542"/>
                <a:gd name="T64" fmla="*/ 1066 w 1866"/>
                <a:gd name="T65" fmla="*/ 799 h 2542"/>
                <a:gd name="T66" fmla="*/ 1168 w 1866"/>
                <a:gd name="T67" fmla="*/ 902 h 2542"/>
                <a:gd name="T68" fmla="*/ 1230 w 1866"/>
                <a:gd name="T69" fmla="*/ 1045 h 2542"/>
                <a:gd name="T70" fmla="*/ 1352 w 1866"/>
                <a:gd name="T71" fmla="*/ 1127 h 2542"/>
                <a:gd name="T72" fmla="*/ 1312 w 1866"/>
                <a:gd name="T73" fmla="*/ 1168 h 2542"/>
                <a:gd name="T74" fmla="*/ 1394 w 1866"/>
                <a:gd name="T75" fmla="*/ 1148 h 2542"/>
                <a:gd name="T76" fmla="*/ 1476 w 1866"/>
                <a:gd name="T77" fmla="*/ 1209 h 2542"/>
                <a:gd name="T78" fmla="*/ 1414 w 1866"/>
                <a:gd name="T79" fmla="*/ 1270 h 2542"/>
                <a:gd name="T80" fmla="*/ 1414 w 1866"/>
                <a:gd name="T81" fmla="*/ 1393 h 2542"/>
                <a:gd name="T82" fmla="*/ 1414 w 1866"/>
                <a:gd name="T83" fmla="*/ 1496 h 2542"/>
                <a:gd name="T84" fmla="*/ 1516 w 1866"/>
                <a:gd name="T85" fmla="*/ 1475 h 2542"/>
                <a:gd name="T86" fmla="*/ 1578 w 1866"/>
                <a:gd name="T87" fmla="*/ 1557 h 2542"/>
                <a:gd name="T88" fmla="*/ 1578 w 1866"/>
                <a:gd name="T89" fmla="*/ 1660 h 2542"/>
                <a:gd name="T90" fmla="*/ 1639 w 1866"/>
                <a:gd name="T91" fmla="*/ 1701 h 2542"/>
                <a:gd name="T92" fmla="*/ 1619 w 1866"/>
                <a:gd name="T93" fmla="*/ 1783 h 2542"/>
                <a:gd name="T94" fmla="*/ 1701 w 1866"/>
                <a:gd name="T95" fmla="*/ 1783 h 2542"/>
                <a:gd name="T96" fmla="*/ 1824 w 1866"/>
                <a:gd name="T97" fmla="*/ 1885 h 2542"/>
                <a:gd name="T98" fmla="*/ 1844 w 1866"/>
                <a:gd name="T99" fmla="*/ 1967 h 2542"/>
                <a:gd name="T100" fmla="*/ 1803 w 1866"/>
                <a:gd name="T101" fmla="*/ 2029 h 2542"/>
                <a:gd name="T102" fmla="*/ 1844 w 1866"/>
                <a:gd name="T103" fmla="*/ 2131 h 2542"/>
                <a:gd name="T104" fmla="*/ 1844 w 1866"/>
                <a:gd name="T105" fmla="*/ 2233 h 25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66" h="2542">
                  <a:moveTo>
                    <a:pt x="1824" y="2315"/>
                  </a:moveTo>
                  <a:lnTo>
                    <a:pt x="1824" y="2315"/>
                  </a:lnTo>
                  <a:lnTo>
                    <a:pt x="1824" y="2336"/>
                  </a:lnTo>
                  <a:cubicBezTo>
                    <a:pt x="1824" y="2357"/>
                    <a:pt x="1803" y="2377"/>
                    <a:pt x="1803" y="2397"/>
                  </a:cubicBezTo>
                  <a:cubicBezTo>
                    <a:pt x="1803" y="2418"/>
                    <a:pt x="1783" y="2459"/>
                    <a:pt x="1783" y="2479"/>
                  </a:cubicBezTo>
                  <a:lnTo>
                    <a:pt x="1783" y="2521"/>
                  </a:lnTo>
                  <a:lnTo>
                    <a:pt x="1783" y="2541"/>
                  </a:lnTo>
                  <a:lnTo>
                    <a:pt x="1762" y="2521"/>
                  </a:lnTo>
                  <a:cubicBezTo>
                    <a:pt x="1762" y="2500"/>
                    <a:pt x="1742" y="2500"/>
                    <a:pt x="1742" y="2479"/>
                  </a:cubicBezTo>
                  <a:cubicBezTo>
                    <a:pt x="1742" y="2479"/>
                    <a:pt x="1742" y="2459"/>
                    <a:pt x="1721" y="2459"/>
                  </a:cubicBezTo>
                  <a:cubicBezTo>
                    <a:pt x="1721" y="2439"/>
                    <a:pt x="1721" y="2439"/>
                    <a:pt x="1721" y="2459"/>
                  </a:cubicBezTo>
                  <a:cubicBezTo>
                    <a:pt x="1701" y="2459"/>
                    <a:pt x="1701" y="2479"/>
                    <a:pt x="1701" y="2479"/>
                  </a:cubicBezTo>
                  <a:lnTo>
                    <a:pt x="1701" y="2500"/>
                  </a:lnTo>
                  <a:cubicBezTo>
                    <a:pt x="1680" y="2521"/>
                    <a:pt x="1680" y="2500"/>
                    <a:pt x="1660" y="2500"/>
                  </a:cubicBezTo>
                  <a:cubicBezTo>
                    <a:pt x="1660" y="2500"/>
                    <a:pt x="1639" y="2500"/>
                    <a:pt x="1639" y="2479"/>
                  </a:cubicBezTo>
                  <a:lnTo>
                    <a:pt x="1619" y="2459"/>
                  </a:lnTo>
                  <a:lnTo>
                    <a:pt x="1598" y="2459"/>
                  </a:lnTo>
                  <a:lnTo>
                    <a:pt x="1598" y="2479"/>
                  </a:lnTo>
                  <a:cubicBezTo>
                    <a:pt x="1578" y="2479"/>
                    <a:pt x="1598" y="2500"/>
                    <a:pt x="1598" y="2500"/>
                  </a:cubicBezTo>
                  <a:cubicBezTo>
                    <a:pt x="1578" y="2521"/>
                    <a:pt x="1578" y="2521"/>
                    <a:pt x="1578" y="2521"/>
                  </a:cubicBezTo>
                  <a:cubicBezTo>
                    <a:pt x="1578" y="2521"/>
                    <a:pt x="1557" y="2521"/>
                    <a:pt x="1557" y="2500"/>
                  </a:cubicBezTo>
                  <a:cubicBezTo>
                    <a:pt x="1537" y="2500"/>
                    <a:pt x="1537" y="2479"/>
                    <a:pt x="1537" y="2479"/>
                  </a:cubicBezTo>
                  <a:cubicBezTo>
                    <a:pt x="1537" y="2479"/>
                    <a:pt x="1537" y="2459"/>
                    <a:pt x="1537" y="2439"/>
                  </a:cubicBezTo>
                  <a:cubicBezTo>
                    <a:pt x="1516" y="2439"/>
                    <a:pt x="1496" y="2418"/>
                    <a:pt x="1496" y="2418"/>
                  </a:cubicBezTo>
                  <a:cubicBezTo>
                    <a:pt x="1476" y="2418"/>
                    <a:pt x="1455" y="2377"/>
                    <a:pt x="1434" y="2377"/>
                  </a:cubicBezTo>
                  <a:cubicBezTo>
                    <a:pt x="1434" y="2357"/>
                    <a:pt x="1394" y="2336"/>
                    <a:pt x="1394" y="2315"/>
                  </a:cubicBezTo>
                  <a:cubicBezTo>
                    <a:pt x="1373" y="2315"/>
                    <a:pt x="1352" y="2295"/>
                    <a:pt x="1352" y="2295"/>
                  </a:cubicBezTo>
                  <a:cubicBezTo>
                    <a:pt x="1332" y="2275"/>
                    <a:pt x="1332" y="2254"/>
                    <a:pt x="1312" y="2254"/>
                  </a:cubicBezTo>
                  <a:cubicBezTo>
                    <a:pt x="1312" y="2233"/>
                    <a:pt x="1291" y="2213"/>
                    <a:pt x="1270" y="2213"/>
                  </a:cubicBezTo>
                  <a:cubicBezTo>
                    <a:pt x="1250" y="2193"/>
                    <a:pt x="1230" y="2193"/>
                    <a:pt x="1230" y="2172"/>
                  </a:cubicBezTo>
                  <a:lnTo>
                    <a:pt x="1209" y="2151"/>
                  </a:lnTo>
                  <a:cubicBezTo>
                    <a:pt x="1209" y="2131"/>
                    <a:pt x="1209" y="2111"/>
                    <a:pt x="1209" y="2090"/>
                  </a:cubicBezTo>
                  <a:cubicBezTo>
                    <a:pt x="1188" y="2090"/>
                    <a:pt x="1188" y="2070"/>
                    <a:pt x="1188" y="2070"/>
                  </a:cubicBezTo>
                  <a:cubicBezTo>
                    <a:pt x="1168" y="2049"/>
                    <a:pt x="1148" y="2008"/>
                    <a:pt x="1148" y="2008"/>
                  </a:cubicBezTo>
                  <a:cubicBezTo>
                    <a:pt x="1127" y="1988"/>
                    <a:pt x="1127" y="1988"/>
                    <a:pt x="1106" y="1967"/>
                  </a:cubicBezTo>
                  <a:cubicBezTo>
                    <a:pt x="1106" y="1967"/>
                    <a:pt x="1086" y="1967"/>
                    <a:pt x="1086" y="1947"/>
                  </a:cubicBezTo>
                  <a:cubicBezTo>
                    <a:pt x="1086" y="1947"/>
                    <a:pt x="1086" y="1926"/>
                    <a:pt x="1066" y="1926"/>
                  </a:cubicBezTo>
                  <a:cubicBezTo>
                    <a:pt x="1066" y="1906"/>
                    <a:pt x="1066" y="1885"/>
                    <a:pt x="1045" y="1865"/>
                  </a:cubicBezTo>
                  <a:cubicBezTo>
                    <a:pt x="1045" y="1865"/>
                    <a:pt x="1045" y="1844"/>
                    <a:pt x="1024" y="1824"/>
                  </a:cubicBezTo>
                  <a:lnTo>
                    <a:pt x="1004" y="1803"/>
                  </a:lnTo>
                  <a:lnTo>
                    <a:pt x="984" y="1783"/>
                  </a:lnTo>
                  <a:cubicBezTo>
                    <a:pt x="984" y="1762"/>
                    <a:pt x="984" y="1742"/>
                    <a:pt x="984" y="1721"/>
                  </a:cubicBezTo>
                  <a:cubicBezTo>
                    <a:pt x="984" y="1701"/>
                    <a:pt x="963" y="1680"/>
                    <a:pt x="963" y="1660"/>
                  </a:cubicBezTo>
                  <a:cubicBezTo>
                    <a:pt x="963" y="1639"/>
                    <a:pt x="963" y="1619"/>
                    <a:pt x="963" y="1619"/>
                  </a:cubicBezTo>
                  <a:cubicBezTo>
                    <a:pt x="942" y="1598"/>
                    <a:pt x="942" y="1578"/>
                    <a:pt x="922" y="1578"/>
                  </a:cubicBezTo>
                  <a:cubicBezTo>
                    <a:pt x="922" y="1557"/>
                    <a:pt x="902" y="1537"/>
                    <a:pt x="902" y="1516"/>
                  </a:cubicBezTo>
                  <a:cubicBezTo>
                    <a:pt x="902" y="1496"/>
                    <a:pt x="881" y="1475"/>
                    <a:pt x="881" y="1455"/>
                  </a:cubicBezTo>
                  <a:lnTo>
                    <a:pt x="881" y="1434"/>
                  </a:lnTo>
                  <a:cubicBezTo>
                    <a:pt x="881" y="1414"/>
                    <a:pt x="860" y="1393"/>
                    <a:pt x="860" y="1373"/>
                  </a:cubicBezTo>
                  <a:lnTo>
                    <a:pt x="840" y="1352"/>
                  </a:lnTo>
                  <a:cubicBezTo>
                    <a:pt x="840" y="1332"/>
                    <a:pt x="820" y="1312"/>
                    <a:pt x="820" y="1312"/>
                  </a:cubicBezTo>
                  <a:cubicBezTo>
                    <a:pt x="820" y="1312"/>
                    <a:pt x="820" y="1291"/>
                    <a:pt x="799" y="1270"/>
                  </a:cubicBezTo>
                  <a:cubicBezTo>
                    <a:pt x="799" y="1270"/>
                    <a:pt x="779" y="1250"/>
                    <a:pt x="779" y="1230"/>
                  </a:cubicBezTo>
                  <a:cubicBezTo>
                    <a:pt x="758" y="1230"/>
                    <a:pt x="738" y="1209"/>
                    <a:pt x="738" y="1209"/>
                  </a:cubicBezTo>
                  <a:cubicBezTo>
                    <a:pt x="718" y="1209"/>
                    <a:pt x="697" y="1188"/>
                    <a:pt x="697" y="1168"/>
                  </a:cubicBezTo>
                  <a:cubicBezTo>
                    <a:pt x="697" y="1168"/>
                    <a:pt x="697" y="1148"/>
                    <a:pt x="676" y="1148"/>
                  </a:cubicBezTo>
                  <a:cubicBezTo>
                    <a:pt x="676" y="1148"/>
                    <a:pt x="676" y="1127"/>
                    <a:pt x="676" y="1106"/>
                  </a:cubicBezTo>
                  <a:lnTo>
                    <a:pt x="676" y="1086"/>
                  </a:lnTo>
                  <a:cubicBezTo>
                    <a:pt x="656" y="1066"/>
                    <a:pt x="656" y="1045"/>
                    <a:pt x="656" y="1045"/>
                  </a:cubicBezTo>
                  <a:cubicBezTo>
                    <a:pt x="636" y="1024"/>
                    <a:pt x="636" y="1004"/>
                    <a:pt x="615" y="1004"/>
                  </a:cubicBezTo>
                  <a:cubicBezTo>
                    <a:pt x="615" y="984"/>
                    <a:pt x="615" y="963"/>
                    <a:pt x="615" y="963"/>
                  </a:cubicBezTo>
                  <a:cubicBezTo>
                    <a:pt x="615" y="942"/>
                    <a:pt x="594" y="922"/>
                    <a:pt x="615" y="902"/>
                  </a:cubicBezTo>
                  <a:cubicBezTo>
                    <a:pt x="615" y="902"/>
                    <a:pt x="615" y="902"/>
                    <a:pt x="636" y="902"/>
                  </a:cubicBezTo>
                  <a:lnTo>
                    <a:pt x="615" y="881"/>
                  </a:lnTo>
                  <a:lnTo>
                    <a:pt x="594" y="860"/>
                  </a:lnTo>
                  <a:cubicBezTo>
                    <a:pt x="594" y="840"/>
                    <a:pt x="574" y="840"/>
                    <a:pt x="574" y="820"/>
                  </a:cubicBezTo>
                  <a:cubicBezTo>
                    <a:pt x="554" y="820"/>
                    <a:pt x="554" y="820"/>
                    <a:pt x="533" y="799"/>
                  </a:cubicBezTo>
                  <a:cubicBezTo>
                    <a:pt x="533" y="799"/>
                    <a:pt x="492" y="799"/>
                    <a:pt x="492" y="778"/>
                  </a:cubicBezTo>
                  <a:cubicBezTo>
                    <a:pt x="472" y="778"/>
                    <a:pt x="451" y="758"/>
                    <a:pt x="451" y="758"/>
                  </a:cubicBezTo>
                  <a:cubicBezTo>
                    <a:pt x="430" y="738"/>
                    <a:pt x="430" y="738"/>
                    <a:pt x="430" y="717"/>
                  </a:cubicBezTo>
                  <a:cubicBezTo>
                    <a:pt x="410" y="717"/>
                    <a:pt x="410" y="697"/>
                    <a:pt x="410" y="676"/>
                  </a:cubicBezTo>
                  <a:cubicBezTo>
                    <a:pt x="410" y="676"/>
                    <a:pt x="410" y="656"/>
                    <a:pt x="390" y="636"/>
                  </a:cubicBezTo>
                  <a:cubicBezTo>
                    <a:pt x="390" y="636"/>
                    <a:pt x="369" y="636"/>
                    <a:pt x="369" y="615"/>
                  </a:cubicBezTo>
                  <a:lnTo>
                    <a:pt x="348" y="594"/>
                  </a:lnTo>
                  <a:lnTo>
                    <a:pt x="348" y="574"/>
                  </a:lnTo>
                  <a:cubicBezTo>
                    <a:pt x="328" y="554"/>
                    <a:pt x="328" y="533"/>
                    <a:pt x="328" y="533"/>
                  </a:cubicBezTo>
                  <a:cubicBezTo>
                    <a:pt x="328" y="512"/>
                    <a:pt x="308" y="512"/>
                    <a:pt x="287" y="492"/>
                  </a:cubicBezTo>
                  <a:cubicBezTo>
                    <a:pt x="287" y="492"/>
                    <a:pt x="266" y="451"/>
                    <a:pt x="246" y="451"/>
                  </a:cubicBezTo>
                  <a:cubicBezTo>
                    <a:pt x="246" y="430"/>
                    <a:pt x="205" y="410"/>
                    <a:pt x="205" y="390"/>
                  </a:cubicBezTo>
                  <a:cubicBezTo>
                    <a:pt x="205" y="390"/>
                    <a:pt x="205" y="369"/>
                    <a:pt x="184" y="369"/>
                  </a:cubicBezTo>
                  <a:cubicBezTo>
                    <a:pt x="184" y="348"/>
                    <a:pt x="164" y="328"/>
                    <a:pt x="144" y="328"/>
                  </a:cubicBezTo>
                  <a:cubicBezTo>
                    <a:pt x="144" y="308"/>
                    <a:pt x="123" y="287"/>
                    <a:pt x="102" y="287"/>
                  </a:cubicBezTo>
                  <a:lnTo>
                    <a:pt x="82" y="266"/>
                  </a:lnTo>
                  <a:cubicBezTo>
                    <a:pt x="62" y="266"/>
                    <a:pt x="62" y="246"/>
                    <a:pt x="62" y="226"/>
                  </a:cubicBezTo>
                  <a:cubicBezTo>
                    <a:pt x="41" y="226"/>
                    <a:pt x="41" y="226"/>
                    <a:pt x="41" y="205"/>
                  </a:cubicBezTo>
                  <a:cubicBezTo>
                    <a:pt x="21" y="205"/>
                    <a:pt x="21" y="184"/>
                    <a:pt x="0" y="184"/>
                  </a:cubicBezTo>
                  <a:cubicBezTo>
                    <a:pt x="0" y="184"/>
                    <a:pt x="0" y="164"/>
                    <a:pt x="0" y="144"/>
                  </a:cubicBezTo>
                  <a:cubicBezTo>
                    <a:pt x="0" y="144"/>
                    <a:pt x="0" y="123"/>
                    <a:pt x="0" y="102"/>
                  </a:cubicBezTo>
                  <a:lnTo>
                    <a:pt x="0" y="82"/>
                  </a:lnTo>
                  <a:cubicBezTo>
                    <a:pt x="0" y="62"/>
                    <a:pt x="0" y="62"/>
                    <a:pt x="0" y="41"/>
                  </a:cubicBezTo>
                  <a:lnTo>
                    <a:pt x="0" y="20"/>
                  </a:lnTo>
                  <a:cubicBezTo>
                    <a:pt x="0" y="0"/>
                    <a:pt x="21" y="0"/>
                    <a:pt x="21" y="0"/>
                  </a:cubicBezTo>
                  <a:cubicBezTo>
                    <a:pt x="41" y="0"/>
                    <a:pt x="62" y="0"/>
                    <a:pt x="62" y="0"/>
                  </a:cubicBezTo>
                  <a:cubicBezTo>
                    <a:pt x="82" y="0"/>
                    <a:pt x="82" y="0"/>
                    <a:pt x="102" y="20"/>
                  </a:cubicBezTo>
                  <a:lnTo>
                    <a:pt x="123" y="20"/>
                  </a:lnTo>
                  <a:cubicBezTo>
                    <a:pt x="123" y="41"/>
                    <a:pt x="123" y="41"/>
                    <a:pt x="144" y="62"/>
                  </a:cubicBezTo>
                  <a:lnTo>
                    <a:pt x="144" y="82"/>
                  </a:lnTo>
                  <a:cubicBezTo>
                    <a:pt x="144" y="82"/>
                    <a:pt x="164" y="102"/>
                    <a:pt x="184" y="102"/>
                  </a:cubicBezTo>
                  <a:cubicBezTo>
                    <a:pt x="184" y="102"/>
                    <a:pt x="205" y="82"/>
                    <a:pt x="226" y="82"/>
                  </a:cubicBezTo>
                  <a:cubicBezTo>
                    <a:pt x="246" y="82"/>
                    <a:pt x="266" y="82"/>
                    <a:pt x="287" y="82"/>
                  </a:cubicBezTo>
                  <a:cubicBezTo>
                    <a:pt x="287" y="82"/>
                    <a:pt x="287" y="102"/>
                    <a:pt x="308" y="102"/>
                  </a:cubicBezTo>
                  <a:cubicBezTo>
                    <a:pt x="308" y="102"/>
                    <a:pt x="328" y="102"/>
                    <a:pt x="348" y="102"/>
                  </a:cubicBezTo>
                  <a:cubicBezTo>
                    <a:pt x="348" y="102"/>
                    <a:pt x="369" y="102"/>
                    <a:pt x="390" y="102"/>
                  </a:cubicBezTo>
                  <a:cubicBezTo>
                    <a:pt x="390" y="82"/>
                    <a:pt x="410" y="82"/>
                    <a:pt x="410" y="82"/>
                  </a:cubicBezTo>
                  <a:lnTo>
                    <a:pt x="430" y="102"/>
                  </a:lnTo>
                  <a:cubicBezTo>
                    <a:pt x="430" y="123"/>
                    <a:pt x="451" y="123"/>
                    <a:pt x="451" y="144"/>
                  </a:cubicBezTo>
                  <a:lnTo>
                    <a:pt x="472" y="164"/>
                  </a:lnTo>
                  <a:cubicBezTo>
                    <a:pt x="472" y="184"/>
                    <a:pt x="492" y="205"/>
                    <a:pt x="492" y="205"/>
                  </a:cubicBezTo>
                  <a:cubicBezTo>
                    <a:pt x="512" y="205"/>
                    <a:pt x="533" y="226"/>
                    <a:pt x="533" y="226"/>
                  </a:cubicBezTo>
                  <a:cubicBezTo>
                    <a:pt x="533" y="246"/>
                    <a:pt x="533" y="246"/>
                    <a:pt x="533" y="266"/>
                  </a:cubicBezTo>
                  <a:cubicBezTo>
                    <a:pt x="533" y="287"/>
                    <a:pt x="533" y="308"/>
                    <a:pt x="554" y="328"/>
                  </a:cubicBezTo>
                  <a:cubicBezTo>
                    <a:pt x="554" y="348"/>
                    <a:pt x="574" y="348"/>
                    <a:pt x="594" y="369"/>
                  </a:cubicBezTo>
                  <a:cubicBezTo>
                    <a:pt x="594" y="369"/>
                    <a:pt x="615" y="369"/>
                    <a:pt x="615" y="390"/>
                  </a:cubicBezTo>
                  <a:cubicBezTo>
                    <a:pt x="636" y="390"/>
                    <a:pt x="636" y="390"/>
                    <a:pt x="656" y="390"/>
                  </a:cubicBezTo>
                  <a:cubicBezTo>
                    <a:pt x="656" y="390"/>
                    <a:pt x="676" y="390"/>
                    <a:pt x="676" y="410"/>
                  </a:cubicBezTo>
                  <a:cubicBezTo>
                    <a:pt x="697" y="410"/>
                    <a:pt x="738" y="451"/>
                    <a:pt x="758" y="472"/>
                  </a:cubicBezTo>
                  <a:cubicBezTo>
                    <a:pt x="758" y="492"/>
                    <a:pt x="779" y="512"/>
                    <a:pt x="799" y="512"/>
                  </a:cubicBezTo>
                  <a:cubicBezTo>
                    <a:pt x="799" y="533"/>
                    <a:pt x="799" y="554"/>
                    <a:pt x="820" y="554"/>
                  </a:cubicBezTo>
                  <a:lnTo>
                    <a:pt x="820" y="574"/>
                  </a:lnTo>
                  <a:cubicBezTo>
                    <a:pt x="840" y="574"/>
                    <a:pt x="840" y="594"/>
                    <a:pt x="840" y="594"/>
                  </a:cubicBezTo>
                  <a:cubicBezTo>
                    <a:pt x="840" y="594"/>
                    <a:pt x="840" y="615"/>
                    <a:pt x="840" y="636"/>
                  </a:cubicBezTo>
                  <a:lnTo>
                    <a:pt x="840" y="656"/>
                  </a:lnTo>
                  <a:cubicBezTo>
                    <a:pt x="840" y="656"/>
                    <a:pt x="860" y="656"/>
                    <a:pt x="881" y="676"/>
                  </a:cubicBezTo>
                  <a:lnTo>
                    <a:pt x="902" y="697"/>
                  </a:lnTo>
                  <a:cubicBezTo>
                    <a:pt x="902" y="697"/>
                    <a:pt x="922" y="717"/>
                    <a:pt x="922" y="738"/>
                  </a:cubicBezTo>
                  <a:cubicBezTo>
                    <a:pt x="922" y="738"/>
                    <a:pt x="922" y="758"/>
                    <a:pt x="942" y="758"/>
                  </a:cubicBezTo>
                  <a:cubicBezTo>
                    <a:pt x="942" y="778"/>
                    <a:pt x="942" y="778"/>
                    <a:pt x="963" y="778"/>
                  </a:cubicBezTo>
                  <a:cubicBezTo>
                    <a:pt x="963" y="758"/>
                    <a:pt x="963" y="758"/>
                    <a:pt x="963" y="738"/>
                  </a:cubicBezTo>
                  <a:lnTo>
                    <a:pt x="984" y="738"/>
                  </a:lnTo>
                  <a:cubicBezTo>
                    <a:pt x="984" y="738"/>
                    <a:pt x="1004" y="738"/>
                    <a:pt x="1024" y="758"/>
                  </a:cubicBezTo>
                  <a:cubicBezTo>
                    <a:pt x="1024" y="758"/>
                    <a:pt x="1045" y="758"/>
                    <a:pt x="1045" y="778"/>
                  </a:cubicBezTo>
                  <a:cubicBezTo>
                    <a:pt x="1045" y="778"/>
                    <a:pt x="1045" y="799"/>
                    <a:pt x="1066" y="799"/>
                  </a:cubicBezTo>
                  <a:cubicBezTo>
                    <a:pt x="1066" y="820"/>
                    <a:pt x="1066" y="840"/>
                    <a:pt x="1066" y="840"/>
                  </a:cubicBezTo>
                  <a:cubicBezTo>
                    <a:pt x="1086" y="860"/>
                    <a:pt x="1086" y="860"/>
                    <a:pt x="1106" y="860"/>
                  </a:cubicBezTo>
                  <a:lnTo>
                    <a:pt x="1127" y="881"/>
                  </a:lnTo>
                  <a:cubicBezTo>
                    <a:pt x="1148" y="881"/>
                    <a:pt x="1148" y="902"/>
                    <a:pt x="1168" y="902"/>
                  </a:cubicBezTo>
                  <a:lnTo>
                    <a:pt x="1168" y="922"/>
                  </a:lnTo>
                  <a:cubicBezTo>
                    <a:pt x="1188" y="942"/>
                    <a:pt x="1168" y="963"/>
                    <a:pt x="1188" y="963"/>
                  </a:cubicBezTo>
                  <a:cubicBezTo>
                    <a:pt x="1188" y="984"/>
                    <a:pt x="1209" y="1004"/>
                    <a:pt x="1209" y="1024"/>
                  </a:cubicBezTo>
                  <a:cubicBezTo>
                    <a:pt x="1230" y="1024"/>
                    <a:pt x="1230" y="1045"/>
                    <a:pt x="1230" y="1045"/>
                  </a:cubicBezTo>
                  <a:cubicBezTo>
                    <a:pt x="1230" y="1045"/>
                    <a:pt x="1250" y="1066"/>
                    <a:pt x="1270" y="1066"/>
                  </a:cubicBezTo>
                  <a:cubicBezTo>
                    <a:pt x="1270" y="1086"/>
                    <a:pt x="1312" y="1086"/>
                    <a:pt x="1312" y="1106"/>
                  </a:cubicBezTo>
                  <a:cubicBezTo>
                    <a:pt x="1332" y="1106"/>
                    <a:pt x="1352" y="1106"/>
                    <a:pt x="1352" y="1106"/>
                  </a:cubicBezTo>
                  <a:cubicBezTo>
                    <a:pt x="1352" y="1106"/>
                    <a:pt x="1352" y="1106"/>
                    <a:pt x="1352" y="1127"/>
                  </a:cubicBezTo>
                  <a:lnTo>
                    <a:pt x="1352" y="1127"/>
                  </a:lnTo>
                  <a:cubicBezTo>
                    <a:pt x="1352" y="1148"/>
                    <a:pt x="1332" y="1148"/>
                    <a:pt x="1332" y="1148"/>
                  </a:cubicBezTo>
                  <a:cubicBezTo>
                    <a:pt x="1332" y="1148"/>
                    <a:pt x="1332" y="1148"/>
                    <a:pt x="1312" y="1168"/>
                  </a:cubicBezTo>
                  <a:lnTo>
                    <a:pt x="1312" y="1168"/>
                  </a:lnTo>
                  <a:cubicBezTo>
                    <a:pt x="1312" y="1168"/>
                    <a:pt x="1312" y="1168"/>
                    <a:pt x="1332" y="1168"/>
                  </a:cubicBezTo>
                  <a:lnTo>
                    <a:pt x="1352" y="1168"/>
                  </a:lnTo>
                  <a:lnTo>
                    <a:pt x="1373" y="1148"/>
                  </a:lnTo>
                  <a:cubicBezTo>
                    <a:pt x="1394" y="1148"/>
                    <a:pt x="1394" y="1148"/>
                    <a:pt x="1394" y="1148"/>
                  </a:cubicBezTo>
                  <a:cubicBezTo>
                    <a:pt x="1414" y="1148"/>
                    <a:pt x="1414" y="1148"/>
                    <a:pt x="1414" y="1148"/>
                  </a:cubicBezTo>
                  <a:cubicBezTo>
                    <a:pt x="1434" y="1148"/>
                    <a:pt x="1434" y="1168"/>
                    <a:pt x="1434" y="1168"/>
                  </a:cubicBezTo>
                  <a:cubicBezTo>
                    <a:pt x="1455" y="1188"/>
                    <a:pt x="1455" y="1188"/>
                    <a:pt x="1476" y="1188"/>
                  </a:cubicBezTo>
                  <a:lnTo>
                    <a:pt x="1476" y="1209"/>
                  </a:lnTo>
                  <a:cubicBezTo>
                    <a:pt x="1496" y="1209"/>
                    <a:pt x="1476" y="1230"/>
                    <a:pt x="1476" y="1230"/>
                  </a:cubicBezTo>
                  <a:cubicBezTo>
                    <a:pt x="1476" y="1250"/>
                    <a:pt x="1455" y="1250"/>
                    <a:pt x="1455" y="1250"/>
                  </a:cubicBezTo>
                  <a:lnTo>
                    <a:pt x="1434" y="1250"/>
                  </a:lnTo>
                  <a:cubicBezTo>
                    <a:pt x="1434" y="1270"/>
                    <a:pt x="1414" y="1270"/>
                    <a:pt x="1414" y="1270"/>
                  </a:cubicBezTo>
                  <a:lnTo>
                    <a:pt x="1394" y="1291"/>
                  </a:lnTo>
                  <a:cubicBezTo>
                    <a:pt x="1394" y="1312"/>
                    <a:pt x="1394" y="1332"/>
                    <a:pt x="1394" y="1332"/>
                  </a:cubicBezTo>
                  <a:cubicBezTo>
                    <a:pt x="1394" y="1332"/>
                    <a:pt x="1394" y="1352"/>
                    <a:pt x="1394" y="1373"/>
                  </a:cubicBezTo>
                  <a:cubicBezTo>
                    <a:pt x="1394" y="1373"/>
                    <a:pt x="1394" y="1393"/>
                    <a:pt x="1414" y="1393"/>
                  </a:cubicBezTo>
                  <a:lnTo>
                    <a:pt x="1414" y="1414"/>
                  </a:lnTo>
                  <a:cubicBezTo>
                    <a:pt x="1414" y="1434"/>
                    <a:pt x="1394" y="1434"/>
                    <a:pt x="1394" y="1455"/>
                  </a:cubicBezTo>
                  <a:cubicBezTo>
                    <a:pt x="1394" y="1455"/>
                    <a:pt x="1394" y="1455"/>
                    <a:pt x="1394" y="1475"/>
                  </a:cubicBezTo>
                  <a:cubicBezTo>
                    <a:pt x="1394" y="1475"/>
                    <a:pt x="1414" y="1475"/>
                    <a:pt x="1414" y="1496"/>
                  </a:cubicBezTo>
                  <a:cubicBezTo>
                    <a:pt x="1434" y="1496"/>
                    <a:pt x="1434" y="1496"/>
                    <a:pt x="1455" y="1496"/>
                  </a:cubicBezTo>
                  <a:cubicBezTo>
                    <a:pt x="1455" y="1475"/>
                    <a:pt x="1455" y="1475"/>
                    <a:pt x="1476" y="1475"/>
                  </a:cubicBezTo>
                  <a:lnTo>
                    <a:pt x="1496" y="1475"/>
                  </a:lnTo>
                  <a:lnTo>
                    <a:pt x="1516" y="1475"/>
                  </a:lnTo>
                  <a:lnTo>
                    <a:pt x="1537" y="1475"/>
                  </a:lnTo>
                  <a:cubicBezTo>
                    <a:pt x="1557" y="1475"/>
                    <a:pt x="1557" y="1496"/>
                    <a:pt x="1557" y="1496"/>
                  </a:cubicBezTo>
                  <a:cubicBezTo>
                    <a:pt x="1578" y="1516"/>
                    <a:pt x="1578" y="1516"/>
                    <a:pt x="1578" y="1516"/>
                  </a:cubicBezTo>
                  <a:cubicBezTo>
                    <a:pt x="1578" y="1537"/>
                    <a:pt x="1578" y="1557"/>
                    <a:pt x="1578" y="1557"/>
                  </a:cubicBezTo>
                  <a:lnTo>
                    <a:pt x="1578" y="1578"/>
                  </a:lnTo>
                  <a:cubicBezTo>
                    <a:pt x="1578" y="1578"/>
                    <a:pt x="1578" y="1598"/>
                    <a:pt x="1598" y="1598"/>
                  </a:cubicBezTo>
                  <a:cubicBezTo>
                    <a:pt x="1598" y="1619"/>
                    <a:pt x="1598" y="1619"/>
                    <a:pt x="1598" y="1639"/>
                  </a:cubicBezTo>
                  <a:lnTo>
                    <a:pt x="1578" y="1660"/>
                  </a:lnTo>
                  <a:lnTo>
                    <a:pt x="1598" y="1660"/>
                  </a:lnTo>
                  <a:lnTo>
                    <a:pt x="1619" y="1660"/>
                  </a:lnTo>
                  <a:lnTo>
                    <a:pt x="1619" y="1680"/>
                  </a:lnTo>
                  <a:cubicBezTo>
                    <a:pt x="1639" y="1680"/>
                    <a:pt x="1639" y="1701"/>
                    <a:pt x="1639" y="1701"/>
                  </a:cubicBezTo>
                  <a:lnTo>
                    <a:pt x="1639" y="1721"/>
                  </a:lnTo>
                  <a:cubicBezTo>
                    <a:pt x="1639" y="1742"/>
                    <a:pt x="1639" y="1742"/>
                    <a:pt x="1639" y="1762"/>
                  </a:cubicBezTo>
                  <a:lnTo>
                    <a:pt x="1639" y="1762"/>
                  </a:lnTo>
                  <a:cubicBezTo>
                    <a:pt x="1619" y="1762"/>
                    <a:pt x="1619" y="1783"/>
                    <a:pt x="1619" y="1783"/>
                  </a:cubicBezTo>
                  <a:cubicBezTo>
                    <a:pt x="1619" y="1803"/>
                    <a:pt x="1619" y="1803"/>
                    <a:pt x="1619" y="1803"/>
                  </a:cubicBezTo>
                  <a:lnTo>
                    <a:pt x="1639" y="1803"/>
                  </a:lnTo>
                  <a:cubicBezTo>
                    <a:pt x="1660" y="1803"/>
                    <a:pt x="1660" y="1783"/>
                    <a:pt x="1680" y="1783"/>
                  </a:cubicBezTo>
                  <a:lnTo>
                    <a:pt x="1701" y="1783"/>
                  </a:lnTo>
                  <a:cubicBezTo>
                    <a:pt x="1721" y="1783"/>
                    <a:pt x="1742" y="1783"/>
                    <a:pt x="1742" y="1783"/>
                  </a:cubicBezTo>
                  <a:lnTo>
                    <a:pt x="1783" y="1803"/>
                  </a:lnTo>
                  <a:cubicBezTo>
                    <a:pt x="1783" y="1824"/>
                    <a:pt x="1783" y="1844"/>
                    <a:pt x="1803" y="1844"/>
                  </a:cubicBezTo>
                  <a:cubicBezTo>
                    <a:pt x="1803" y="1844"/>
                    <a:pt x="1803" y="1865"/>
                    <a:pt x="1824" y="1885"/>
                  </a:cubicBezTo>
                  <a:cubicBezTo>
                    <a:pt x="1824" y="1885"/>
                    <a:pt x="1824" y="1885"/>
                    <a:pt x="1824" y="1906"/>
                  </a:cubicBezTo>
                  <a:cubicBezTo>
                    <a:pt x="1844" y="1906"/>
                    <a:pt x="1844" y="1906"/>
                    <a:pt x="1844" y="1926"/>
                  </a:cubicBezTo>
                  <a:cubicBezTo>
                    <a:pt x="1865" y="1926"/>
                    <a:pt x="1865" y="1947"/>
                    <a:pt x="1865" y="1967"/>
                  </a:cubicBezTo>
                  <a:cubicBezTo>
                    <a:pt x="1865" y="1967"/>
                    <a:pt x="1865" y="1967"/>
                    <a:pt x="1844" y="1967"/>
                  </a:cubicBezTo>
                  <a:cubicBezTo>
                    <a:pt x="1844" y="1967"/>
                    <a:pt x="1844" y="1967"/>
                    <a:pt x="1824" y="1967"/>
                  </a:cubicBezTo>
                  <a:lnTo>
                    <a:pt x="1824" y="1967"/>
                  </a:lnTo>
                  <a:cubicBezTo>
                    <a:pt x="1803" y="1967"/>
                    <a:pt x="1803" y="1988"/>
                    <a:pt x="1803" y="1988"/>
                  </a:cubicBezTo>
                  <a:cubicBezTo>
                    <a:pt x="1803" y="2008"/>
                    <a:pt x="1803" y="2029"/>
                    <a:pt x="1803" y="2029"/>
                  </a:cubicBezTo>
                  <a:cubicBezTo>
                    <a:pt x="1803" y="2049"/>
                    <a:pt x="1803" y="2049"/>
                    <a:pt x="1803" y="2070"/>
                  </a:cubicBezTo>
                  <a:cubicBezTo>
                    <a:pt x="1803" y="2070"/>
                    <a:pt x="1803" y="2090"/>
                    <a:pt x="1824" y="2090"/>
                  </a:cubicBezTo>
                  <a:cubicBezTo>
                    <a:pt x="1824" y="2090"/>
                    <a:pt x="1824" y="2090"/>
                    <a:pt x="1844" y="2111"/>
                  </a:cubicBezTo>
                  <a:cubicBezTo>
                    <a:pt x="1844" y="2111"/>
                    <a:pt x="1844" y="2111"/>
                    <a:pt x="1844" y="2131"/>
                  </a:cubicBezTo>
                  <a:lnTo>
                    <a:pt x="1844" y="2151"/>
                  </a:lnTo>
                  <a:cubicBezTo>
                    <a:pt x="1844" y="2151"/>
                    <a:pt x="1844" y="2172"/>
                    <a:pt x="1844" y="2193"/>
                  </a:cubicBezTo>
                  <a:cubicBezTo>
                    <a:pt x="1824" y="2193"/>
                    <a:pt x="1824" y="2213"/>
                    <a:pt x="1824" y="2213"/>
                  </a:cubicBezTo>
                  <a:lnTo>
                    <a:pt x="1844" y="2233"/>
                  </a:lnTo>
                  <a:cubicBezTo>
                    <a:pt x="1844" y="2254"/>
                    <a:pt x="1844" y="2254"/>
                    <a:pt x="1844" y="2254"/>
                  </a:cubicBezTo>
                  <a:cubicBezTo>
                    <a:pt x="1844" y="2275"/>
                    <a:pt x="1824" y="2295"/>
                    <a:pt x="1824" y="231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2" name="Freeform 369">
              <a:extLst>
                <a:ext uri="{FF2B5EF4-FFF2-40B4-BE49-F238E27FC236}">
                  <a16:creationId xmlns:a16="http://schemas.microsoft.com/office/drawing/2014/main" id="{A41DE9E2-7398-C74D-8D44-247035B8F8E2}"/>
                </a:ext>
              </a:extLst>
            </p:cNvPr>
            <p:cNvSpPr>
              <a:spLocks noChangeArrowheads="1"/>
            </p:cNvSpPr>
            <p:nvPr/>
          </p:nvSpPr>
          <p:spPr bwMode="auto">
            <a:xfrm>
              <a:off x="5789613" y="8507413"/>
              <a:ext cx="30162" cy="14287"/>
            </a:xfrm>
            <a:custGeom>
              <a:avLst/>
              <a:gdLst>
                <a:gd name="T0" fmla="*/ 61 w 83"/>
                <a:gd name="T1" fmla="*/ 20 h 41"/>
                <a:gd name="T2" fmla="*/ 61 w 83"/>
                <a:gd name="T3" fmla="*/ 20 h 41"/>
                <a:gd name="T4" fmla="*/ 82 w 83"/>
                <a:gd name="T5" fmla="*/ 20 h 41"/>
                <a:gd name="T6" fmla="*/ 61 w 83"/>
                <a:gd name="T7" fmla="*/ 0 h 41"/>
                <a:gd name="T8" fmla="*/ 41 w 83"/>
                <a:gd name="T9" fmla="*/ 0 h 41"/>
                <a:gd name="T10" fmla="*/ 21 w 83"/>
                <a:gd name="T11" fmla="*/ 0 h 41"/>
                <a:gd name="T12" fmla="*/ 0 w 83"/>
                <a:gd name="T13" fmla="*/ 20 h 41"/>
                <a:gd name="T14" fmla="*/ 21 w 83"/>
                <a:gd name="T15" fmla="*/ 40 h 41"/>
                <a:gd name="T16" fmla="*/ 41 w 83"/>
                <a:gd name="T17" fmla="*/ 20 h 41"/>
                <a:gd name="T18" fmla="*/ 61 w 83"/>
                <a:gd name="T19"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41">
                  <a:moveTo>
                    <a:pt x="61" y="20"/>
                  </a:moveTo>
                  <a:lnTo>
                    <a:pt x="61" y="20"/>
                  </a:lnTo>
                  <a:lnTo>
                    <a:pt x="82" y="20"/>
                  </a:lnTo>
                  <a:cubicBezTo>
                    <a:pt x="82" y="0"/>
                    <a:pt x="61" y="0"/>
                    <a:pt x="61" y="0"/>
                  </a:cubicBezTo>
                  <a:cubicBezTo>
                    <a:pt x="41" y="0"/>
                    <a:pt x="41" y="0"/>
                    <a:pt x="41" y="0"/>
                  </a:cubicBezTo>
                  <a:cubicBezTo>
                    <a:pt x="21" y="0"/>
                    <a:pt x="21" y="0"/>
                    <a:pt x="21" y="0"/>
                  </a:cubicBezTo>
                  <a:cubicBezTo>
                    <a:pt x="0" y="0"/>
                    <a:pt x="0" y="20"/>
                    <a:pt x="0" y="20"/>
                  </a:cubicBezTo>
                  <a:cubicBezTo>
                    <a:pt x="0" y="20"/>
                    <a:pt x="21" y="20"/>
                    <a:pt x="21" y="40"/>
                  </a:cubicBezTo>
                  <a:lnTo>
                    <a:pt x="41" y="20"/>
                  </a:lnTo>
                  <a:lnTo>
                    <a:pt x="6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3" name="Freeform 370">
              <a:extLst>
                <a:ext uri="{FF2B5EF4-FFF2-40B4-BE49-F238E27FC236}">
                  <a16:creationId xmlns:a16="http://schemas.microsoft.com/office/drawing/2014/main" id="{5C83D33C-E1B7-9741-BF3E-B4C3A56A9E07}"/>
                </a:ext>
              </a:extLst>
            </p:cNvPr>
            <p:cNvSpPr>
              <a:spLocks noChangeArrowheads="1"/>
            </p:cNvSpPr>
            <p:nvPr/>
          </p:nvSpPr>
          <p:spPr bwMode="auto">
            <a:xfrm>
              <a:off x="5848350" y="8513763"/>
              <a:ext cx="15875" cy="15875"/>
            </a:xfrm>
            <a:custGeom>
              <a:avLst/>
              <a:gdLst>
                <a:gd name="T0" fmla="*/ 0 w 42"/>
                <a:gd name="T1" fmla="*/ 20 h 42"/>
                <a:gd name="T2" fmla="*/ 0 w 42"/>
                <a:gd name="T3" fmla="*/ 20 h 42"/>
                <a:gd name="T4" fmla="*/ 0 w 42"/>
                <a:gd name="T5" fmla="*/ 0 h 42"/>
                <a:gd name="T6" fmla="*/ 21 w 42"/>
                <a:gd name="T7" fmla="*/ 0 h 42"/>
                <a:gd name="T8" fmla="*/ 41 w 42"/>
                <a:gd name="T9" fmla="*/ 20 h 42"/>
                <a:gd name="T10" fmla="*/ 41 w 42"/>
                <a:gd name="T11" fmla="*/ 41 h 42"/>
                <a:gd name="T12" fmla="*/ 21 w 42"/>
                <a:gd name="T13" fmla="*/ 41 h 42"/>
                <a:gd name="T14" fmla="*/ 0 w 42"/>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0" y="20"/>
                  </a:moveTo>
                  <a:lnTo>
                    <a:pt x="0" y="20"/>
                  </a:lnTo>
                  <a:cubicBezTo>
                    <a:pt x="0" y="20"/>
                    <a:pt x="0" y="20"/>
                    <a:pt x="0" y="0"/>
                  </a:cubicBezTo>
                  <a:cubicBezTo>
                    <a:pt x="21" y="0"/>
                    <a:pt x="21" y="0"/>
                    <a:pt x="21" y="0"/>
                  </a:cubicBezTo>
                  <a:lnTo>
                    <a:pt x="41" y="20"/>
                  </a:lnTo>
                  <a:cubicBezTo>
                    <a:pt x="41" y="20"/>
                    <a:pt x="41" y="20"/>
                    <a:pt x="41" y="41"/>
                  </a:cubicBezTo>
                  <a:lnTo>
                    <a:pt x="21" y="41"/>
                  </a:lnTo>
                  <a:cubicBezTo>
                    <a:pt x="21" y="41"/>
                    <a:pt x="0" y="41"/>
                    <a:pt x="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4" name="Freeform 371">
              <a:extLst>
                <a:ext uri="{FF2B5EF4-FFF2-40B4-BE49-F238E27FC236}">
                  <a16:creationId xmlns:a16="http://schemas.microsoft.com/office/drawing/2014/main" id="{B876A634-2E84-9A4A-93F2-D42841085668}"/>
                </a:ext>
              </a:extLst>
            </p:cNvPr>
            <p:cNvSpPr>
              <a:spLocks noChangeArrowheads="1"/>
            </p:cNvSpPr>
            <p:nvPr/>
          </p:nvSpPr>
          <p:spPr bwMode="auto">
            <a:xfrm>
              <a:off x="5826125" y="8529638"/>
              <a:ext cx="7938" cy="7937"/>
            </a:xfrm>
            <a:custGeom>
              <a:avLst/>
              <a:gdLst>
                <a:gd name="T0" fmla="*/ 20 w 21"/>
                <a:gd name="T1" fmla="*/ 21 h 22"/>
                <a:gd name="T2" fmla="*/ 20 w 21"/>
                <a:gd name="T3" fmla="*/ 21 h 22"/>
                <a:gd name="T4" fmla="*/ 20 w 21"/>
                <a:gd name="T5" fmla="*/ 0 h 22"/>
                <a:gd name="T6" fmla="*/ 0 w 21"/>
                <a:gd name="T7" fmla="*/ 21 h 22"/>
                <a:gd name="T8" fmla="*/ 20 w 21"/>
                <a:gd name="T9" fmla="*/ 21 h 22"/>
              </a:gdLst>
              <a:ahLst/>
              <a:cxnLst>
                <a:cxn ang="0">
                  <a:pos x="T0" y="T1"/>
                </a:cxn>
                <a:cxn ang="0">
                  <a:pos x="T2" y="T3"/>
                </a:cxn>
                <a:cxn ang="0">
                  <a:pos x="T4" y="T5"/>
                </a:cxn>
                <a:cxn ang="0">
                  <a:pos x="T6" y="T7"/>
                </a:cxn>
                <a:cxn ang="0">
                  <a:pos x="T8" y="T9"/>
                </a:cxn>
              </a:cxnLst>
              <a:rect l="0" t="0" r="r" b="b"/>
              <a:pathLst>
                <a:path w="21" h="22">
                  <a:moveTo>
                    <a:pt x="20" y="21"/>
                  </a:moveTo>
                  <a:lnTo>
                    <a:pt x="20" y="21"/>
                  </a:lnTo>
                  <a:cubicBezTo>
                    <a:pt x="20" y="0"/>
                    <a:pt x="20" y="0"/>
                    <a:pt x="20" y="0"/>
                  </a:cubicBezTo>
                  <a:cubicBezTo>
                    <a:pt x="0" y="0"/>
                    <a:pt x="0" y="21"/>
                    <a:pt x="0" y="21"/>
                  </a:cubicBez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5" name="Freeform 372">
              <a:extLst>
                <a:ext uri="{FF2B5EF4-FFF2-40B4-BE49-F238E27FC236}">
                  <a16:creationId xmlns:a16="http://schemas.microsoft.com/office/drawing/2014/main" id="{E62CC2F9-1C89-BE43-BB34-FEF50529F562}"/>
                </a:ext>
              </a:extLst>
            </p:cNvPr>
            <p:cNvSpPr>
              <a:spLocks noChangeArrowheads="1"/>
            </p:cNvSpPr>
            <p:nvPr/>
          </p:nvSpPr>
          <p:spPr bwMode="auto">
            <a:xfrm>
              <a:off x="5826125" y="8513763"/>
              <a:ext cx="14288" cy="7937"/>
            </a:xfrm>
            <a:custGeom>
              <a:avLst/>
              <a:gdLst>
                <a:gd name="T0" fmla="*/ 20 w 41"/>
                <a:gd name="T1" fmla="*/ 0 h 21"/>
                <a:gd name="T2" fmla="*/ 20 w 41"/>
                <a:gd name="T3" fmla="*/ 0 h 21"/>
                <a:gd name="T4" fmla="*/ 0 w 41"/>
                <a:gd name="T5" fmla="*/ 20 h 21"/>
                <a:gd name="T6" fmla="*/ 20 w 41"/>
                <a:gd name="T7" fmla="*/ 20 h 21"/>
                <a:gd name="T8" fmla="*/ 20 w 41"/>
                <a:gd name="T9" fmla="*/ 0 h 21"/>
              </a:gdLst>
              <a:ahLst/>
              <a:cxnLst>
                <a:cxn ang="0">
                  <a:pos x="T0" y="T1"/>
                </a:cxn>
                <a:cxn ang="0">
                  <a:pos x="T2" y="T3"/>
                </a:cxn>
                <a:cxn ang="0">
                  <a:pos x="T4" y="T5"/>
                </a:cxn>
                <a:cxn ang="0">
                  <a:pos x="T6" y="T7"/>
                </a:cxn>
                <a:cxn ang="0">
                  <a:pos x="T8" y="T9"/>
                </a:cxn>
              </a:cxnLst>
              <a:rect l="0" t="0" r="r" b="b"/>
              <a:pathLst>
                <a:path w="41" h="21">
                  <a:moveTo>
                    <a:pt x="20" y="0"/>
                  </a:moveTo>
                  <a:lnTo>
                    <a:pt x="20" y="0"/>
                  </a:lnTo>
                  <a:cubicBezTo>
                    <a:pt x="0" y="0"/>
                    <a:pt x="0" y="0"/>
                    <a:pt x="0" y="20"/>
                  </a:cubicBezTo>
                  <a:lnTo>
                    <a:pt x="20" y="20"/>
                  </a:lnTo>
                  <a:cubicBezTo>
                    <a:pt x="20" y="20"/>
                    <a:pt x="4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6" name="Freeform 373">
              <a:extLst>
                <a:ext uri="{FF2B5EF4-FFF2-40B4-BE49-F238E27FC236}">
                  <a16:creationId xmlns:a16="http://schemas.microsoft.com/office/drawing/2014/main" id="{F0CA7080-8D30-F440-BD7E-7D6A3043F142}"/>
                </a:ext>
              </a:extLst>
            </p:cNvPr>
            <p:cNvSpPr>
              <a:spLocks noChangeArrowheads="1"/>
            </p:cNvSpPr>
            <p:nvPr/>
          </p:nvSpPr>
          <p:spPr bwMode="auto">
            <a:xfrm>
              <a:off x="5811838" y="8529638"/>
              <a:ext cx="15875" cy="7937"/>
            </a:xfrm>
            <a:custGeom>
              <a:avLst/>
              <a:gdLst>
                <a:gd name="T0" fmla="*/ 21 w 43"/>
                <a:gd name="T1" fmla="*/ 0 h 22"/>
                <a:gd name="T2" fmla="*/ 21 w 43"/>
                <a:gd name="T3" fmla="*/ 0 h 22"/>
                <a:gd name="T4" fmla="*/ 0 w 43"/>
                <a:gd name="T5" fmla="*/ 0 h 22"/>
                <a:gd name="T6" fmla="*/ 0 w 43"/>
                <a:gd name="T7" fmla="*/ 21 h 22"/>
                <a:gd name="T8" fmla="*/ 21 w 43"/>
                <a:gd name="T9" fmla="*/ 21 h 22"/>
                <a:gd name="T10" fmla="*/ 21 w 43"/>
                <a:gd name="T11" fmla="*/ 0 h 22"/>
              </a:gdLst>
              <a:ahLst/>
              <a:cxnLst>
                <a:cxn ang="0">
                  <a:pos x="T0" y="T1"/>
                </a:cxn>
                <a:cxn ang="0">
                  <a:pos x="T2" y="T3"/>
                </a:cxn>
                <a:cxn ang="0">
                  <a:pos x="T4" y="T5"/>
                </a:cxn>
                <a:cxn ang="0">
                  <a:pos x="T6" y="T7"/>
                </a:cxn>
                <a:cxn ang="0">
                  <a:pos x="T8" y="T9"/>
                </a:cxn>
                <a:cxn ang="0">
                  <a:pos x="T10" y="T11"/>
                </a:cxn>
              </a:cxnLst>
              <a:rect l="0" t="0" r="r" b="b"/>
              <a:pathLst>
                <a:path w="43" h="22">
                  <a:moveTo>
                    <a:pt x="21" y="0"/>
                  </a:moveTo>
                  <a:lnTo>
                    <a:pt x="21" y="0"/>
                  </a:lnTo>
                  <a:lnTo>
                    <a:pt x="0" y="0"/>
                  </a:lnTo>
                  <a:cubicBezTo>
                    <a:pt x="0" y="21"/>
                    <a:pt x="0" y="21"/>
                    <a:pt x="0" y="21"/>
                  </a:cubicBezTo>
                  <a:cubicBezTo>
                    <a:pt x="21" y="21"/>
                    <a:pt x="21" y="21"/>
                    <a:pt x="21" y="21"/>
                  </a:cubicBezTo>
                  <a:cubicBezTo>
                    <a:pt x="21" y="21"/>
                    <a:pt x="42"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7" name="Freeform 374">
              <a:extLst>
                <a:ext uri="{FF2B5EF4-FFF2-40B4-BE49-F238E27FC236}">
                  <a16:creationId xmlns:a16="http://schemas.microsoft.com/office/drawing/2014/main" id="{7A01C217-0E75-B34A-8CA7-0B917568A924}"/>
                </a:ext>
              </a:extLst>
            </p:cNvPr>
            <p:cNvSpPr>
              <a:spLocks noChangeArrowheads="1"/>
            </p:cNvSpPr>
            <p:nvPr/>
          </p:nvSpPr>
          <p:spPr bwMode="auto">
            <a:xfrm>
              <a:off x="5789613" y="8412163"/>
              <a:ext cx="15875" cy="14287"/>
            </a:xfrm>
            <a:custGeom>
              <a:avLst/>
              <a:gdLst>
                <a:gd name="T0" fmla="*/ 21 w 42"/>
                <a:gd name="T1" fmla="*/ 40 h 41"/>
                <a:gd name="T2" fmla="*/ 21 w 42"/>
                <a:gd name="T3" fmla="*/ 40 h 41"/>
                <a:gd name="T4" fmla="*/ 0 w 42"/>
                <a:gd name="T5" fmla="*/ 40 h 41"/>
                <a:gd name="T6" fmla="*/ 0 w 42"/>
                <a:gd name="T7" fmla="*/ 20 h 41"/>
                <a:gd name="T8" fmla="*/ 21 w 42"/>
                <a:gd name="T9" fmla="*/ 0 h 41"/>
                <a:gd name="T10" fmla="*/ 21 w 42"/>
                <a:gd name="T11" fmla="*/ 20 h 41"/>
                <a:gd name="T12" fmla="*/ 21 w 42"/>
                <a:gd name="T13" fmla="*/ 40 h 41"/>
              </a:gdLst>
              <a:ahLst/>
              <a:cxnLst>
                <a:cxn ang="0">
                  <a:pos x="T0" y="T1"/>
                </a:cxn>
                <a:cxn ang="0">
                  <a:pos x="T2" y="T3"/>
                </a:cxn>
                <a:cxn ang="0">
                  <a:pos x="T4" y="T5"/>
                </a:cxn>
                <a:cxn ang="0">
                  <a:pos x="T6" y="T7"/>
                </a:cxn>
                <a:cxn ang="0">
                  <a:pos x="T8" y="T9"/>
                </a:cxn>
                <a:cxn ang="0">
                  <a:pos x="T10" y="T11"/>
                </a:cxn>
                <a:cxn ang="0">
                  <a:pos x="T12" y="T13"/>
                </a:cxn>
              </a:cxnLst>
              <a:rect l="0" t="0" r="r" b="b"/>
              <a:pathLst>
                <a:path w="42" h="41">
                  <a:moveTo>
                    <a:pt x="21" y="40"/>
                  </a:moveTo>
                  <a:lnTo>
                    <a:pt x="21" y="40"/>
                  </a:lnTo>
                  <a:lnTo>
                    <a:pt x="0" y="40"/>
                  </a:lnTo>
                  <a:lnTo>
                    <a:pt x="0" y="20"/>
                  </a:lnTo>
                  <a:lnTo>
                    <a:pt x="21" y="0"/>
                  </a:lnTo>
                  <a:lnTo>
                    <a:pt x="21" y="20"/>
                  </a:lnTo>
                  <a:cubicBezTo>
                    <a:pt x="41" y="20"/>
                    <a:pt x="41" y="40"/>
                    <a:pt x="21"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8" name="Freeform 375">
              <a:extLst>
                <a:ext uri="{FF2B5EF4-FFF2-40B4-BE49-F238E27FC236}">
                  <a16:creationId xmlns:a16="http://schemas.microsoft.com/office/drawing/2014/main" id="{526AA2EA-13C8-0B44-9F5F-2598BFC9BF2C}"/>
                </a:ext>
              </a:extLst>
            </p:cNvPr>
            <p:cNvSpPr>
              <a:spLocks noChangeArrowheads="1"/>
            </p:cNvSpPr>
            <p:nvPr/>
          </p:nvSpPr>
          <p:spPr bwMode="auto">
            <a:xfrm>
              <a:off x="5840413" y="8366125"/>
              <a:ext cx="15875" cy="7938"/>
            </a:xfrm>
            <a:custGeom>
              <a:avLst/>
              <a:gdLst>
                <a:gd name="T0" fmla="*/ 21 w 43"/>
                <a:gd name="T1" fmla="*/ 0 h 22"/>
                <a:gd name="T2" fmla="*/ 21 w 43"/>
                <a:gd name="T3" fmla="*/ 0 h 22"/>
                <a:gd name="T4" fmla="*/ 0 w 43"/>
                <a:gd name="T5" fmla="*/ 21 h 22"/>
                <a:gd name="T6" fmla="*/ 21 w 43"/>
                <a:gd name="T7" fmla="*/ 21 h 22"/>
                <a:gd name="T8" fmla="*/ 21 w 43"/>
                <a:gd name="T9" fmla="*/ 21 h 22"/>
                <a:gd name="T10" fmla="*/ 42 w 43"/>
                <a:gd name="T11" fmla="*/ 21 h 22"/>
                <a:gd name="T12" fmla="*/ 21 w 43"/>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21" y="0"/>
                  </a:moveTo>
                  <a:lnTo>
                    <a:pt x="21" y="0"/>
                  </a:lnTo>
                  <a:cubicBezTo>
                    <a:pt x="0" y="0"/>
                    <a:pt x="0" y="0"/>
                    <a:pt x="0" y="21"/>
                  </a:cubicBezTo>
                  <a:cubicBezTo>
                    <a:pt x="0" y="21"/>
                    <a:pt x="0" y="21"/>
                    <a:pt x="21" y="21"/>
                  </a:cubicBezTo>
                  <a:lnTo>
                    <a:pt x="21" y="21"/>
                  </a:lnTo>
                  <a:lnTo>
                    <a:pt x="42" y="21"/>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79" name="Freeform 376">
              <a:extLst>
                <a:ext uri="{FF2B5EF4-FFF2-40B4-BE49-F238E27FC236}">
                  <a16:creationId xmlns:a16="http://schemas.microsoft.com/office/drawing/2014/main" id="{7E7267BD-E345-6447-9A9F-3B9815324E28}"/>
                </a:ext>
              </a:extLst>
            </p:cNvPr>
            <p:cNvSpPr>
              <a:spLocks noChangeArrowheads="1"/>
            </p:cNvSpPr>
            <p:nvPr/>
          </p:nvSpPr>
          <p:spPr bwMode="auto">
            <a:xfrm>
              <a:off x="5818188" y="8351838"/>
              <a:ext cx="15875" cy="7937"/>
            </a:xfrm>
            <a:custGeom>
              <a:avLst/>
              <a:gdLst>
                <a:gd name="T0" fmla="*/ 41 w 42"/>
                <a:gd name="T1" fmla="*/ 20 h 21"/>
                <a:gd name="T2" fmla="*/ 41 w 42"/>
                <a:gd name="T3" fmla="*/ 20 h 21"/>
                <a:gd name="T4" fmla="*/ 21 w 42"/>
                <a:gd name="T5" fmla="*/ 20 h 21"/>
                <a:gd name="T6" fmla="*/ 0 w 42"/>
                <a:gd name="T7" fmla="*/ 0 h 21"/>
                <a:gd name="T8" fmla="*/ 0 w 42"/>
                <a:gd name="T9" fmla="*/ 0 h 21"/>
                <a:gd name="T10" fmla="*/ 21 w 42"/>
                <a:gd name="T11" fmla="*/ 0 h 21"/>
                <a:gd name="T12" fmla="*/ 41 w 42"/>
                <a:gd name="T13" fmla="*/ 0 h 21"/>
                <a:gd name="T14" fmla="*/ 41 w 42"/>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1">
                  <a:moveTo>
                    <a:pt x="41" y="20"/>
                  </a:moveTo>
                  <a:lnTo>
                    <a:pt x="41" y="20"/>
                  </a:lnTo>
                  <a:cubicBezTo>
                    <a:pt x="21" y="20"/>
                    <a:pt x="21" y="20"/>
                    <a:pt x="21" y="20"/>
                  </a:cubicBezTo>
                  <a:cubicBezTo>
                    <a:pt x="21" y="20"/>
                    <a:pt x="0" y="20"/>
                    <a:pt x="0" y="0"/>
                  </a:cubicBezTo>
                  <a:lnTo>
                    <a:pt x="0" y="0"/>
                  </a:lnTo>
                  <a:lnTo>
                    <a:pt x="21" y="0"/>
                  </a:lnTo>
                  <a:cubicBezTo>
                    <a:pt x="21" y="0"/>
                    <a:pt x="21" y="0"/>
                    <a:pt x="41" y="0"/>
                  </a:cubicBezTo>
                  <a:lnTo>
                    <a:pt x="4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0" name="Freeform 377">
              <a:extLst>
                <a:ext uri="{FF2B5EF4-FFF2-40B4-BE49-F238E27FC236}">
                  <a16:creationId xmlns:a16="http://schemas.microsoft.com/office/drawing/2014/main" id="{E4B761D9-DB95-214D-8B25-BC23AA7B79C5}"/>
                </a:ext>
              </a:extLst>
            </p:cNvPr>
            <p:cNvSpPr>
              <a:spLocks noChangeArrowheads="1"/>
            </p:cNvSpPr>
            <p:nvPr/>
          </p:nvSpPr>
          <p:spPr bwMode="auto">
            <a:xfrm>
              <a:off x="5915025" y="8359775"/>
              <a:ext cx="7938" cy="7938"/>
            </a:xfrm>
            <a:custGeom>
              <a:avLst/>
              <a:gdLst>
                <a:gd name="T0" fmla="*/ 20 w 21"/>
                <a:gd name="T1" fmla="*/ 20 h 21"/>
                <a:gd name="T2" fmla="*/ 20 w 21"/>
                <a:gd name="T3" fmla="*/ 20 h 21"/>
                <a:gd name="T4" fmla="*/ 0 w 21"/>
                <a:gd name="T5" fmla="*/ 0 h 21"/>
                <a:gd name="T6" fmla="*/ 0 w 21"/>
                <a:gd name="T7" fmla="*/ 0 h 21"/>
                <a:gd name="T8" fmla="*/ 0 w 21"/>
                <a:gd name="T9" fmla="*/ 0 h 21"/>
                <a:gd name="T10" fmla="*/ 20 w 21"/>
                <a:gd name="T11" fmla="*/ 0 h 21"/>
                <a:gd name="T12" fmla="*/ 2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20"/>
                  </a:moveTo>
                  <a:lnTo>
                    <a:pt x="20" y="20"/>
                  </a:lnTo>
                  <a:cubicBezTo>
                    <a:pt x="0" y="20"/>
                    <a:pt x="0" y="0"/>
                    <a:pt x="0" y="0"/>
                  </a:cubicBezTo>
                  <a:lnTo>
                    <a:pt x="0" y="0"/>
                  </a:lnTo>
                  <a:lnTo>
                    <a:pt x="0" y="0"/>
                  </a:lnTo>
                  <a:cubicBezTo>
                    <a:pt x="20" y="0"/>
                    <a:pt x="20" y="0"/>
                    <a:pt x="20" y="0"/>
                  </a:cubicBezTo>
                  <a:cubicBezTo>
                    <a:pt x="20" y="0"/>
                    <a:pt x="20" y="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1" name="Freeform 378">
              <a:extLst>
                <a:ext uri="{FF2B5EF4-FFF2-40B4-BE49-F238E27FC236}">
                  <a16:creationId xmlns:a16="http://schemas.microsoft.com/office/drawing/2014/main" id="{FEA32B77-F938-1245-A665-0EEBF1AAC7CE}"/>
                </a:ext>
              </a:extLst>
            </p:cNvPr>
            <p:cNvSpPr>
              <a:spLocks noChangeArrowheads="1"/>
            </p:cNvSpPr>
            <p:nvPr/>
          </p:nvSpPr>
          <p:spPr bwMode="auto">
            <a:xfrm>
              <a:off x="5965825" y="8374063"/>
              <a:ext cx="7938" cy="7937"/>
            </a:xfrm>
            <a:custGeom>
              <a:avLst/>
              <a:gdLst>
                <a:gd name="T0" fmla="*/ 0 w 21"/>
                <a:gd name="T1" fmla="*/ 21 h 22"/>
                <a:gd name="T2" fmla="*/ 0 w 21"/>
                <a:gd name="T3" fmla="*/ 21 h 22"/>
                <a:gd name="T4" fmla="*/ 0 w 21"/>
                <a:gd name="T5" fmla="*/ 21 h 22"/>
                <a:gd name="T6" fmla="*/ 0 w 21"/>
                <a:gd name="T7" fmla="*/ 21 h 22"/>
                <a:gd name="T8" fmla="*/ 20 w 21"/>
                <a:gd name="T9" fmla="*/ 21 h 22"/>
                <a:gd name="T10" fmla="*/ 20 w 21"/>
                <a:gd name="T11" fmla="*/ 0 h 22"/>
                <a:gd name="T12" fmla="*/ 0 w 21"/>
                <a:gd name="T13" fmla="*/ 0 h 22"/>
                <a:gd name="T14" fmla="*/ 0 w 21"/>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2">
                  <a:moveTo>
                    <a:pt x="0" y="21"/>
                  </a:moveTo>
                  <a:lnTo>
                    <a:pt x="0" y="21"/>
                  </a:lnTo>
                  <a:lnTo>
                    <a:pt x="0" y="21"/>
                  </a:lnTo>
                  <a:lnTo>
                    <a:pt x="0" y="21"/>
                  </a:lnTo>
                  <a:lnTo>
                    <a:pt x="20" y="21"/>
                  </a:lnTo>
                  <a:cubicBezTo>
                    <a:pt x="20" y="21"/>
                    <a:pt x="20" y="21"/>
                    <a:pt x="20" y="0"/>
                  </a:cubicBezTo>
                  <a:lnTo>
                    <a:pt x="0" y="0"/>
                  </a:lnTo>
                  <a:cubicBezTo>
                    <a:pt x="0" y="0"/>
                    <a:pt x="0" y="0"/>
                    <a:pt x="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2" name="Freeform 379">
              <a:extLst>
                <a:ext uri="{FF2B5EF4-FFF2-40B4-BE49-F238E27FC236}">
                  <a16:creationId xmlns:a16="http://schemas.microsoft.com/office/drawing/2014/main" id="{D000AB39-F7F6-124D-BB7E-348557E6CE80}"/>
                </a:ext>
              </a:extLst>
            </p:cNvPr>
            <p:cNvSpPr>
              <a:spLocks noChangeArrowheads="1"/>
            </p:cNvSpPr>
            <p:nvPr/>
          </p:nvSpPr>
          <p:spPr bwMode="auto">
            <a:xfrm>
              <a:off x="5943600" y="8374063"/>
              <a:ext cx="7938" cy="7937"/>
            </a:xfrm>
            <a:custGeom>
              <a:avLst/>
              <a:gdLst>
                <a:gd name="T0" fmla="*/ 0 w 22"/>
                <a:gd name="T1" fmla="*/ 0 h 22"/>
                <a:gd name="T2" fmla="*/ 0 w 22"/>
                <a:gd name="T3" fmla="*/ 0 h 22"/>
                <a:gd name="T4" fmla="*/ 0 w 22"/>
                <a:gd name="T5" fmla="*/ 21 h 22"/>
                <a:gd name="T6" fmla="*/ 21 w 22"/>
                <a:gd name="T7" fmla="*/ 21 h 22"/>
                <a:gd name="T8" fmla="*/ 21 w 22"/>
                <a:gd name="T9" fmla="*/ 21 h 22"/>
                <a:gd name="T10" fmla="*/ 21 w 22"/>
                <a:gd name="T11" fmla="*/ 0 h 22"/>
                <a:gd name="T12" fmla="*/ 0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0" y="0"/>
                  </a:moveTo>
                  <a:lnTo>
                    <a:pt x="0" y="0"/>
                  </a:lnTo>
                  <a:lnTo>
                    <a:pt x="0" y="21"/>
                  </a:lnTo>
                  <a:lnTo>
                    <a:pt x="21" y="21"/>
                  </a:lnTo>
                  <a:lnTo>
                    <a:pt x="21" y="21"/>
                  </a:lnTo>
                  <a:cubicBezTo>
                    <a:pt x="21" y="0"/>
                    <a:pt x="21" y="0"/>
                    <a:pt x="21" y="0"/>
                  </a:cubicBez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3" name="Freeform 380">
              <a:extLst>
                <a:ext uri="{FF2B5EF4-FFF2-40B4-BE49-F238E27FC236}">
                  <a16:creationId xmlns:a16="http://schemas.microsoft.com/office/drawing/2014/main" id="{694B24D6-43A8-854F-AC3F-AC2ECAB660CC}"/>
                </a:ext>
              </a:extLst>
            </p:cNvPr>
            <p:cNvSpPr>
              <a:spLocks noChangeArrowheads="1"/>
            </p:cNvSpPr>
            <p:nvPr/>
          </p:nvSpPr>
          <p:spPr bwMode="auto">
            <a:xfrm>
              <a:off x="6157913" y="8551863"/>
              <a:ext cx="7937" cy="7937"/>
            </a:xfrm>
            <a:custGeom>
              <a:avLst/>
              <a:gdLst>
                <a:gd name="T0" fmla="*/ 0 w 21"/>
                <a:gd name="T1" fmla="*/ 21 h 22"/>
                <a:gd name="T2" fmla="*/ 0 w 21"/>
                <a:gd name="T3" fmla="*/ 21 h 22"/>
                <a:gd name="T4" fmla="*/ 0 w 21"/>
                <a:gd name="T5" fmla="*/ 21 h 22"/>
                <a:gd name="T6" fmla="*/ 0 w 21"/>
                <a:gd name="T7" fmla="*/ 0 h 22"/>
                <a:gd name="T8" fmla="*/ 0 w 21"/>
                <a:gd name="T9" fmla="*/ 0 h 22"/>
                <a:gd name="T10" fmla="*/ 20 w 21"/>
                <a:gd name="T11" fmla="*/ 21 h 22"/>
                <a:gd name="T12" fmla="*/ 20 w 21"/>
                <a:gd name="T13" fmla="*/ 21 h 22"/>
                <a:gd name="T14" fmla="*/ 0 w 21"/>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2">
                  <a:moveTo>
                    <a:pt x="0" y="21"/>
                  </a:moveTo>
                  <a:lnTo>
                    <a:pt x="0" y="21"/>
                  </a:lnTo>
                  <a:lnTo>
                    <a:pt x="0" y="21"/>
                  </a:lnTo>
                  <a:cubicBezTo>
                    <a:pt x="0" y="0"/>
                    <a:pt x="0" y="0"/>
                    <a:pt x="0" y="0"/>
                  </a:cubicBezTo>
                  <a:lnTo>
                    <a:pt x="0" y="0"/>
                  </a:lnTo>
                  <a:cubicBezTo>
                    <a:pt x="20" y="0"/>
                    <a:pt x="20" y="0"/>
                    <a:pt x="20" y="21"/>
                  </a:cubicBezTo>
                  <a:lnTo>
                    <a:pt x="20" y="21"/>
                  </a:lnTo>
                  <a:cubicBezTo>
                    <a:pt x="0" y="21"/>
                    <a:pt x="0" y="21"/>
                    <a:pt x="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4" name="Freeform 381">
              <a:extLst>
                <a:ext uri="{FF2B5EF4-FFF2-40B4-BE49-F238E27FC236}">
                  <a16:creationId xmlns:a16="http://schemas.microsoft.com/office/drawing/2014/main" id="{67891F60-383E-364A-8A36-095E189013AE}"/>
                </a:ext>
              </a:extLst>
            </p:cNvPr>
            <p:cNvSpPr>
              <a:spLocks noChangeArrowheads="1"/>
            </p:cNvSpPr>
            <p:nvPr/>
          </p:nvSpPr>
          <p:spPr bwMode="auto">
            <a:xfrm>
              <a:off x="6129338" y="8513763"/>
              <a:ext cx="15875" cy="22225"/>
            </a:xfrm>
            <a:custGeom>
              <a:avLst/>
              <a:gdLst>
                <a:gd name="T0" fmla="*/ 20 w 42"/>
                <a:gd name="T1" fmla="*/ 41 h 63"/>
                <a:gd name="T2" fmla="*/ 20 w 42"/>
                <a:gd name="T3" fmla="*/ 41 h 63"/>
                <a:gd name="T4" fmla="*/ 0 w 42"/>
                <a:gd name="T5" fmla="*/ 41 h 63"/>
                <a:gd name="T6" fmla="*/ 0 w 42"/>
                <a:gd name="T7" fmla="*/ 20 h 63"/>
                <a:gd name="T8" fmla="*/ 0 w 42"/>
                <a:gd name="T9" fmla="*/ 0 h 63"/>
                <a:gd name="T10" fmla="*/ 20 w 42"/>
                <a:gd name="T11" fmla="*/ 20 h 63"/>
                <a:gd name="T12" fmla="*/ 41 w 42"/>
                <a:gd name="T13" fmla="*/ 20 h 63"/>
                <a:gd name="T14" fmla="*/ 20 w 42"/>
                <a:gd name="T15" fmla="*/ 41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63">
                  <a:moveTo>
                    <a:pt x="20" y="41"/>
                  </a:moveTo>
                  <a:lnTo>
                    <a:pt x="20" y="41"/>
                  </a:lnTo>
                  <a:cubicBezTo>
                    <a:pt x="20" y="62"/>
                    <a:pt x="0" y="41"/>
                    <a:pt x="0" y="41"/>
                  </a:cubicBezTo>
                  <a:lnTo>
                    <a:pt x="0" y="20"/>
                  </a:lnTo>
                  <a:lnTo>
                    <a:pt x="0" y="0"/>
                  </a:lnTo>
                  <a:cubicBezTo>
                    <a:pt x="20" y="0"/>
                    <a:pt x="20" y="0"/>
                    <a:pt x="20" y="20"/>
                  </a:cubicBezTo>
                  <a:cubicBezTo>
                    <a:pt x="20" y="20"/>
                    <a:pt x="20" y="20"/>
                    <a:pt x="41" y="20"/>
                  </a:cubicBezTo>
                  <a:cubicBezTo>
                    <a:pt x="41" y="41"/>
                    <a:pt x="20"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5" name="Freeform 382">
              <a:extLst>
                <a:ext uri="{FF2B5EF4-FFF2-40B4-BE49-F238E27FC236}">
                  <a16:creationId xmlns:a16="http://schemas.microsoft.com/office/drawing/2014/main" id="{D51FD033-5076-404D-BD5E-0DB4FD3D39EF}"/>
                </a:ext>
              </a:extLst>
            </p:cNvPr>
            <p:cNvSpPr>
              <a:spLocks noChangeArrowheads="1"/>
            </p:cNvSpPr>
            <p:nvPr/>
          </p:nvSpPr>
          <p:spPr bwMode="auto">
            <a:xfrm>
              <a:off x="6135688" y="8507413"/>
              <a:ext cx="7937" cy="7937"/>
            </a:xfrm>
            <a:custGeom>
              <a:avLst/>
              <a:gdLst>
                <a:gd name="T0" fmla="*/ 21 w 22"/>
                <a:gd name="T1" fmla="*/ 20 h 21"/>
                <a:gd name="T2" fmla="*/ 21 w 22"/>
                <a:gd name="T3" fmla="*/ 20 h 21"/>
                <a:gd name="T4" fmla="*/ 0 w 22"/>
                <a:gd name="T5" fmla="*/ 0 h 21"/>
                <a:gd name="T6" fmla="*/ 21 w 22"/>
                <a:gd name="T7" fmla="*/ 0 h 21"/>
                <a:gd name="T8" fmla="*/ 21 w 22"/>
                <a:gd name="T9" fmla="*/ 0 h 21"/>
                <a:gd name="T10" fmla="*/ 21 w 22"/>
                <a:gd name="T11" fmla="*/ 20 h 21"/>
              </a:gdLst>
              <a:ahLst/>
              <a:cxnLst>
                <a:cxn ang="0">
                  <a:pos x="T0" y="T1"/>
                </a:cxn>
                <a:cxn ang="0">
                  <a:pos x="T2" y="T3"/>
                </a:cxn>
                <a:cxn ang="0">
                  <a:pos x="T4" y="T5"/>
                </a:cxn>
                <a:cxn ang="0">
                  <a:pos x="T6" y="T7"/>
                </a:cxn>
                <a:cxn ang="0">
                  <a:pos x="T8" y="T9"/>
                </a:cxn>
                <a:cxn ang="0">
                  <a:pos x="T10" y="T11"/>
                </a:cxn>
              </a:cxnLst>
              <a:rect l="0" t="0" r="r" b="b"/>
              <a:pathLst>
                <a:path w="22" h="21">
                  <a:moveTo>
                    <a:pt x="21" y="20"/>
                  </a:moveTo>
                  <a:lnTo>
                    <a:pt x="21" y="20"/>
                  </a:lnTo>
                  <a:cubicBezTo>
                    <a:pt x="0" y="20"/>
                    <a:pt x="0" y="0"/>
                    <a:pt x="0" y="0"/>
                  </a:cubicBezTo>
                  <a:lnTo>
                    <a:pt x="21" y="0"/>
                  </a:lnTo>
                  <a:lnTo>
                    <a:pt x="21" y="0"/>
                  </a:ln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6" name="Freeform 383">
              <a:extLst>
                <a:ext uri="{FF2B5EF4-FFF2-40B4-BE49-F238E27FC236}">
                  <a16:creationId xmlns:a16="http://schemas.microsoft.com/office/drawing/2014/main" id="{17D06BCB-EA36-D34C-90EF-CF3125B852E9}"/>
                </a:ext>
              </a:extLst>
            </p:cNvPr>
            <p:cNvSpPr>
              <a:spLocks noChangeArrowheads="1"/>
            </p:cNvSpPr>
            <p:nvPr/>
          </p:nvSpPr>
          <p:spPr bwMode="auto">
            <a:xfrm>
              <a:off x="6113463" y="8426450"/>
              <a:ext cx="22225" cy="58738"/>
            </a:xfrm>
            <a:custGeom>
              <a:avLst/>
              <a:gdLst>
                <a:gd name="T0" fmla="*/ 41 w 62"/>
                <a:gd name="T1" fmla="*/ 124 h 165"/>
                <a:gd name="T2" fmla="*/ 41 w 62"/>
                <a:gd name="T3" fmla="*/ 124 h 165"/>
                <a:gd name="T4" fmla="*/ 41 w 62"/>
                <a:gd name="T5" fmla="*/ 124 h 165"/>
                <a:gd name="T6" fmla="*/ 20 w 62"/>
                <a:gd name="T7" fmla="*/ 164 h 165"/>
                <a:gd name="T8" fmla="*/ 0 w 62"/>
                <a:gd name="T9" fmla="*/ 144 h 165"/>
                <a:gd name="T10" fmla="*/ 0 w 62"/>
                <a:gd name="T11" fmla="*/ 103 h 165"/>
                <a:gd name="T12" fmla="*/ 0 w 62"/>
                <a:gd name="T13" fmla="*/ 62 h 165"/>
                <a:gd name="T14" fmla="*/ 0 w 62"/>
                <a:gd name="T15" fmla="*/ 42 h 165"/>
                <a:gd name="T16" fmla="*/ 20 w 62"/>
                <a:gd name="T17" fmla="*/ 21 h 165"/>
                <a:gd name="T18" fmla="*/ 20 w 62"/>
                <a:gd name="T19" fmla="*/ 0 h 165"/>
                <a:gd name="T20" fmla="*/ 41 w 62"/>
                <a:gd name="T21" fmla="*/ 0 h 165"/>
                <a:gd name="T22" fmla="*/ 61 w 62"/>
                <a:gd name="T23" fmla="*/ 42 h 165"/>
                <a:gd name="T24" fmla="*/ 41 w 62"/>
                <a:gd name="T25" fmla="*/ 82 h 165"/>
                <a:gd name="T26" fmla="*/ 41 w 62"/>
                <a:gd name="T27" fmla="*/ 103 h 165"/>
                <a:gd name="T28" fmla="*/ 41 w 62"/>
                <a:gd name="T29" fmla="*/ 124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165">
                  <a:moveTo>
                    <a:pt x="41" y="124"/>
                  </a:moveTo>
                  <a:lnTo>
                    <a:pt x="41" y="124"/>
                  </a:lnTo>
                  <a:lnTo>
                    <a:pt x="41" y="124"/>
                  </a:lnTo>
                  <a:cubicBezTo>
                    <a:pt x="20" y="144"/>
                    <a:pt x="20" y="164"/>
                    <a:pt x="20" y="164"/>
                  </a:cubicBezTo>
                  <a:lnTo>
                    <a:pt x="0" y="144"/>
                  </a:lnTo>
                  <a:cubicBezTo>
                    <a:pt x="0" y="124"/>
                    <a:pt x="0" y="103"/>
                    <a:pt x="0" y="103"/>
                  </a:cubicBezTo>
                  <a:cubicBezTo>
                    <a:pt x="0" y="103"/>
                    <a:pt x="0" y="82"/>
                    <a:pt x="0" y="62"/>
                  </a:cubicBezTo>
                  <a:lnTo>
                    <a:pt x="0" y="42"/>
                  </a:lnTo>
                  <a:lnTo>
                    <a:pt x="20" y="21"/>
                  </a:lnTo>
                  <a:cubicBezTo>
                    <a:pt x="20" y="0"/>
                    <a:pt x="20" y="0"/>
                    <a:pt x="20" y="0"/>
                  </a:cubicBezTo>
                  <a:cubicBezTo>
                    <a:pt x="41" y="0"/>
                    <a:pt x="41" y="0"/>
                    <a:pt x="41" y="0"/>
                  </a:cubicBezTo>
                  <a:cubicBezTo>
                    <a:pt x="41" y="21"/>
                    <a:pt x="41" y="21"/>
                    <a:pt x="61" y="42"/>
                  </a:cubicBezTo>
                  <a:cubicBezTo>
                    <a:pt x="61" y="42"/>
                    <a:pt x="41" y="62"/>
                    <a:pt x="41" y="82"/>
                  </a:cubicBezTo>
                  <a:cubicBezTo>
                    <a:pt x="41" y="82"/>
                    <a:pt x="41" y="82"/>
                    <a:pt x="41" y="103"/>
                  </a:cubicBezTo>
                  <a:cubicBezTo>
                    <a:pt x="41" y="103"/>
                    <a:pt x="41" y="103"/>
                    <a:pt x="41" y="12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7" name="Freeform 384">
              <a:extLst>
                <a:ext uri="{FF2B5EF4-FFF2-40B4-BE49-F238E27FC236}">
                  <a16:creationId xmlns:a16="http://schemas.microsoft.com/office/drawing/2014/main" id="{F9B02388-64E3-D64E-9A52-459B13356C91}"/>
                </a:ext>
              </a:extLst>
            </p:cNvPr>
            <p:cNvSpPr>
              <a:spLocks noChangeArrowheads="1"/>
            </p:cNvSpPr>
            <p:nvPr/>
          </p:nvSpPr>
          <p:spPr bwMode="auto">
            <a:xfrm>
              <a:off x="6253163" y="8448675"/>
              <a:ext cx="15875" cy="15875"/>
            </a:xfrm>
            <a:custGeom>
              <a:avLst/>
              <a:gdLst>
                <a:gd name="T0" fmla="*/ 41 w 42"/>
                <a:gd name="T1" fmla="*/ 20 h 42"/>
                <a:gd name="T2" fmla="*/ 41 w 42"/>
                <a:gd name="T3" fmla="*/ 20 h 42"/>
                <a:gd name="T4" fmla="*/ 21 w 42"/>
                <a:gd name="T5" fmla="*/ 41 h 42"/>
                <a:gd name="T6" fmla="*/ 0 w 42"/>
                <a:gd name="T7" fmla="*/ 20 h 42"/>
                <a:gd name="T8" fmla="*/ 21 w 42"/>
                <a:gd name="T9" fmla="*/ 20 h 42"/>
                <a:gd name="T10" fmla="*/ 21 w 42"/>
                <a:gd name="T11" fmla="*/ 20 h 42"/>
                <a:gd name="T12" fmla="*/ 41 w 4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41" y="20"/>
                  </a:moveTo>
                  <a:lnTo>
                    <a:pt x="41" y="20"/>
                  </a:lnTo>
                  <a:cubicBezTo>
                    <a:pt x="41" y="41"/>
                    <a:pt x="21" y="41"/>
                    <a:pt x="21" y="41"/>
                  </a:cubicBezTo>
                  <a:cubicBezTo>
                    <a:pt x="21" y="41"/>
                    <a:pt x="0" y="41"/>
                    <a:pt x="0" y="20"/>
                  </a:cubicBezTo>
                  <a:lnTo>
                    <a:pt x="21" y="20"/>
                  </a:lnTo>
                  <a:cubicBezTo>
                    <a:pt x="21" y="20"/>
                    <a:pt x="21" y="0"/>
                    <a:pt x="21" y="20"/>
                  </a:cubicBezTo>
                  <a:cubicBezTo>
                    <a:pt x="41" y="20"/>
                    <a:pt x="41" y="2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8" name="Freeform 385">
              <a:extLst>
                <a:ext uri="{FF2B5EF4-FFF2-40B4-BE49-F238E27FC236}">
                  <a16:creationId xmlns:a16="http://schemas.microsoft.com/office/drawing/2014/main" id="{0866129A-271E-F14F-BBB3-A59B53BB6191}"/>
                </a:ext>
              </a:extLst>
            </p:cNvPr>
            <p:cNvSpPr>
              <a:spLocks noChangeArrowheads="1"/>
            </p:cNvSpPr>
            <p:nvPr/>
          </p:nvSpPr>
          <p:spPr bwMode="auto">
            <a:xfrm>
              <a:off x="6305550" y="8588375"/>
              <a:ext cx="15875" cy="7938"/>
            </a:xfrm>
            <a:custGeom>
              <a:avLst/>
              <a:gdLst>
                <a:gd name="T0" fmla="*/ 42 w 43"/>
                <a:gd name="T1" fmla="*/ 21 h 22"/>
                <a:gd name="T2" fmla="*/ 42 w 43"/>
                <a:gd name="T3" fmla="*/ 21 h 22"/>
                <a:gd name="T4" fmla="*/ 21 w 43"/>
                <a:gd name="T5" fmla="*/ 21 h 22"/>
                <a:gd name="T6" fmla="*/ 21 w 43"/>
                <a:gd name="T7" fmla="*/ 21 h 22"/>
                <a:gd name="T8" fmla="*/ 21 w 43"/>
                <a:gd name="T9" fmla="*/ 0 h 22"/>
                <a:gd name="T10" fmla="*/ 21 w 43"/>
                <a:gd name="T11" fmla="*/ 0 h 22"/>
                <a:gd name="T12" fmla="*/ 42 w 43"/>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42" y="21"/>
                  </a:moveTo>
                  <a:lnTo>
                    <a:pt x="42" y="21"/>
                  </a:lnTo>
                  <a:cubicBezTo>
                    <a:pt x="42" y="21"/>
                    <a:pt x="42" y="21"/>
                    <a:pt x="21" y="21"/>
                  </a:cubicBezTo>
                  <a:lnTo>
                    <a:pt x="21" y="21"/>
                  </a:lnTo>
                  <a:cubicBezTo>
                    <a:pt x="0" y="21"/>
                    <a:pt x="21" y="0"/>
                    <a:pt x="21" y="0"/>
                  </a:cubicBezTo>
                  <a:lnTo>
                    <a:pt x="21" y="0"/>
                  </a:lnTo>
                  <a:cubicBezTo>
                    <a:pt x="42" y="0"/>
                    <a:pt x="42" y="21"/>
                    <a:pt x="42"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89" name="Freeform 386">
              <a:extLst>
                <a:ext uri="{FF2B5EF4-FFF2-40B4-BE49-F238E27FC236}">
                  <a16:creationId xmlns:a16="http://schemas.microsoft.com/office/drawing/2014/main" id="{CCD3AB1D-67B1-9144-B1A8-0B3CFC209404}"/>
                </a:ext>
              </a:extLst>
            </p:cNvPr>
            <p:cNvSpPr>
              <a:spLocks noChangeArrowheads="1"/>
            </p:cNvSpPr>
            <p:nvPr/>
          </p:nvSpPr>
          <p:spPr bwMode="auto">
            <a:xfrm>
              <a:off x="5929313" y="8566150"/>
              <a:ext cx="15875" cy="7938"/>
            </a:xfrm>
            <a:custGeom>
              <a:avLst/>
              <a:gdLst>
                <a:gd name="T0" fmla="*/ 41 w 42"/>
                <a:gd name="T1" fmla="*/ 20 h 21"/>
                <a:gd name="T2" fmla="*/ 41 w 42"/>
                <a:gd name="T3" fmla="*/ 20 h 21"/>
                <a:gd name="T4" fmla="*/ 21 w 42"/>
                <a:gd name="T5" fmla="*/ 0 h 21"/>
                <a:gd name="T6" fmla="*/ 21 w 42"/>
                <a:gd name="T7" fmla="*/ 20 h 21"/>
                <a:gd name="T8" fmla="*/ 21 w 42"/>
                <a:gd name="T9" fmla="*/ 20 h 21"/>
                <a:gd name="T10" fmla="*/ 21 w 42"/>
                <a:gd name="T11" fmla="*/ 20 h 21"/>
                <a:gd name="T12" fmla="*/ 41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41" y="20"/>
                  </a:moveTo>
                  <a:lnTo>
                    <a:pt x="41" y="20"/>
                  </a:lnTo>
                  <a:lnTo>
                    <a:pt x="21" y="0"/>
                  </a:lnTo>
                  <a:cubicBezTo>
                    <a:pt x="21" y="0"/>
                    <a:pt x="21" y="0"/>
                    <a:pt x="21" y="20"/>
                  </a:cubicBezTo>
                  <a:cubicBezTo>
                    <a:pt x="0" y="20"/>
                    <a:pt x="21" y="20"/>
                    <a:pt x="21" y="20"/>
                  </a:cubicBezTo>
                  <a:lnTo>
                    <a:pt x="21" y="20"/>
                  </a:lnTo>
                  <a:lnTo>
                    <a:pt x="4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0" name="Freeform 387">
              <a:extLst>
                <a:ext uri="{FF2B5EF4-FFF2-40B4-BE49-F238E27FC236}">
                  <a16:creationId xmlns:a16="http://schemas.microsoft.com/office/drawing/2014/main" id="{BF76FF02-7ADE-B046-A587-042A399239E7}"/>
                </a:ext>
              </a:extLst>
            </p:cNvPr>
            <p:cNvSpPr>
              <a:spLocks noChangeArrowheads="1"/>
            </p:cNvSpPr>
            <p:nvPr/>
          </p:nvSpPr>
          <p:spPr bwMode="auto">
            <a:xfrm>
              <a:off x="5915025" y="8566150"/>
              <a:ext cx="1588" cy="7938"/>
            </a:xfrm>
            <a:custGeom>
              <a:avLst/>
              <a:gdLst>
                <a:gd name="T0" fmla="*/ 0 w 1"/>
                <a:gd name="T1" fmla="*/ 20 h 21"/>
                <a:gd name="T2" fmla="*/ 0 w 1"/>
                <a:gd name="T3" fmla="*/ 20 h 21"/>
                <a:gd name="T4" fmla="*/ 0 w 1"/>
                <a:gd name="T5" fmla="*/ 20 h 21"/>
                <a:gd name="T6" fmla="*/ 0 w 1"/>
                <a:gd name="T7" fmla="*/ 20 h 21"/>
                <a:gd name="T8" fmla="*/ 0 w 1"/>
                <a:gd name="T9" fmla="*/ 0 h 21"/>
                <a:gd name="T10" fmla="*/ 0 w 1"/>
                <a:gd name="T11" fmla="*/ 0 h 21"/>
                <a:gd name="T12" fmla="*/ 0 w 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1" h="21">
                  <a:moveTo>
                    <a:pt x="0" y="20"/>
                  </a:moveTo>
                  <a:lnTo>
                    <a:pt x="0" y="20"/>
                  </a:lnTo>
                  <a:lnTo>
                    <a:pt x="0" y="20"/>
                  </a:lnTo>
                  <a:lnTo>
                    <a:pt x="0" y="20"/>
                  </a:lnTo>
                  <a:lnTo>
                    <a:pt x="0" y="0"/>
                  </a:lnTo>
                  <a:lnTo>
                    <a:pt x="0" y="0"/>
                  </a:ln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1" name="Freeform 388">
              <a:extLst>
                <a:ext uri="{FF2B5EF4-FFF2-40B4-BE49-F238E27FC236}">
                  <a16:creationId xmlns:a16="http://schemas.microsoft.com/office/drawing/2014/main" id="{51ACA7C0-6076-044C-8E68-28FC3F28823B}"/>
                </a:ext>
              </a:extLst>
            </p:cNvPr>
            <p:cNvSpPr>
              <a:spLocks noChangeArrowheads="1"/>
            </p:cNvSpPr>
            <p:nvPr/>
          </p:nvSpPr>
          <p:spPr bwMode="auto">
            <a:xfrm>
              <a:off x="5951538" y="8574088"/>
              <a:ext cx="7937" cy="7937"/>
            </a:xfrm>
            <a:custGeom>
              <a:avLst/>
              <a:gdLst>
                <a:gd name="T0" fmla="*/ 20 w 21"/>
                <a:gd name="T1" fmla="*/ 0 h 21"/>
                <a:gd name="T2" fmla="*/ 20 w 21"/>
                <a:gd name="T3" fmla="*/ 0 h 21"/>
                <a:gd name="T4" fmla="*/ 0 w 21"/>
                <a:gd name="T5" fmla="*/ 20 h 21"/>
                <a:gd name="T6" fmla="*/ 20 w 21"/>
                <a:gd name="T7" fmla="*/ 20 h 21"/>
                <a:gd name="T8" fmla="*/ 20 w 21"/>
                <a:gd name="T9" fmla="*/ 0 h 21"/>
              </a:gdLst>
              <a:ahLst/>
              <a:cxnLst>
                <a:cxn ang="0">
                  <a:pos x="T0" y="T1"/>
                </a:cxn>
                <a:cxn ang="0">
                  <a:pos x="T2" y="T3"/>
                </a:cxn>
                <a:cxn ang="0">
                  <a:pos x="T4" y="T5"/>
                </a:cxn>
                <a:cxn ang="0">
                  <a:pos x="T6" y="T7"/>
                </a:cxn>
                <a:cxn ang="0">
                  <a:pos x="T8" y="T9"/>
                </a:cxn>
              </a:cxnLst>
              <a:rect l="0" t="0" r="r" b="b"/>
              <a:pathLst>
                <a:path w="21" h="21">
                  <a:moveTo>
                    <a:pt x="20" y="0"/>
                  </a:moveTo>
                  <a:lnTo>
                    <a:pt x="20" y="0"/>
                  </a:lnTo>
                  <a:cubicBezTo>
                    <a:pt x="20" y="0"/>
                    <a:pt x="0" y="0"/>
                    <a:pt x="0" y="20"/>
                  </a:cubicBezTo>
                  <a:lnTo>
                    <a:pt x="20" y="20"/>
                  </a:lnTo>
                  <a:cubicBezTo>
                    <a:pt x="20" y="20"/>
                    <a:pt x="20" y="2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2" name="Freeform 389">
              <a:extLst>
                <a:ext uri="{FF2B5EF4-FFF2-40B4-BE49-F238E27FC236}">
                  <a16:creationId xmlns:a16="http://schemas.microsoft.com/office/drawing/2014/main" id="{7D25FEA1-E7C8-BD4D-A0FC-867D410EBC90}"/>
                </a:ext>
              </a:extLst>
            </p:cNvPr>
            <p:cNvSpPr>
              <a:spLocks noChangeArrowheads="1"/>
            </p:cNvSpPr>
            <p:nvPr/>
          </p:nvSpPr>
          <p:spPr bwMode="auto">
            <a:xfrm>
              <a:off x="5943600" y="8566150"/>
              <a:ext cx="7938" cy="7938"/>
            </a:xfrm>
            <a:custGeom>
              <a:avLst/>
              <a:gdLst>
                <a:gd name="T0" fmla="*/ 21 w 22"/>
                <a:gd name="T1" fmla="*/ 20 h 21"/>
                <a:gd name="T2" fmla="*/ 21 w 22"/>
                <a:gd name="T3" fmla="*/ 20 h 21"/>
                <a:gd name="T4" fmla="*/ 21 w 22"/>
                <a:gd name="T5" fmla="*/ 20 h 21"/>
                <a:gd name="T6" fmla="*/ 0 w 22"/>
                <a:gd name="T7" fmla="*/ 0 h 21"/>
                <a:gd name="T8" fmla="*/ 21 w 22"/>
                <a:gd name="T9" fmla="*/ 0 h 21"/>
                <a:gd name="T10" fmla="*/ 21 w 22"/>
                <a:gd name="T11" fmla="*/ 0 h 21"/>
                <a:gd name="T12" fmla="*/ 21 w 2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20"/>
                  </a:moveTo>
                  <a:lnTo>
                    <a:pt x="21" y="20"/>
                  </a:lnTo>
                  <a:lnTo>
                    <a:pt x="21" y="20"/>
                  </a:lnTo>
                  <a:cubicBezTo>
                    <a:pt x="0" y="20"/>
                    <a:pt x="0" y="0"/>
                    <a:pt x="0" y="0"/>
                  </a:cubicBezTo>
                  <a:lnTo>
                    <a:pt x="21" y="0"/>
                  </a:lnTo>
                  <a:lnTo>
                    <a:pt x="21" y="0"/>
                  </a:lnTo>
                  <a:cubicBezTo>
                    <a:pt x="21" y="0"/>
                    <a:pt x="21" y="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3" name="Freeform 390">
              <a:extLst>
                <a:ext uri="{FF2B5EF4-FFF2-40B4-BE49-F238E27FC236}">
                  <a16:creationId xmlns:a16="http://schemas.microsoft.com/office/drawing/2014/main" id="{B465EA10-7C11-084E-B83D-F2EC5258CD82}"/>
                </a:ext>
              </a:extLst>
            </p:cNvPr>
            <p:cNvSpPr>
              <a:spLocks noChangeArrowheads="1"/>
            </p:cNvSpPr>
            <p:nvPr/>
          </p:nvSpPr>
          <p:spPr bwMode="auto">
            <a:xfrm>
              <a:off x="5937250" y="8558213"/>
              <a:ext cx="7938" cy="7937"/>
            </a:xfrm>
            <a:custGeom>
              <a:avLst/>
              <a:gdLst>
                <a:gd name="T0" fmla="*/ 20 w 21"/>
                <a:gd name="T1" fmla="*/ 0 h 22"/>
                <a:gd name="T2" fmla="*/ 20 w 21"/>
                <a:gd name="T3" fmla="*/ 0 h 22"/>
                <a:gd name="T4" fmla="*/ 0 w 21"/>
                <a:gd name="T5" fmla="*/ 21 h 22"/>
                <a:gd name="T6" fmla="*/ 20 w 21"/>
                <a:gd name="T7" fmla="*/ 21 h 22"/>
                <a:gd name="T8" fmla="*/ 20 w 21"/>
                <a:gd name="T9" fmla="*/ 0 h 22"/>
              </a:gdLst>
              <a:ahLst/>
              <a:cxnLst>
                <a:cxn ang="0">
                  <a:pos x="T0" y="T1"/>
                </a:cxn>
                <a:cxn ang="0">
                  <a:pos x="T2" y="T3"/>
                </a:cxn>
                <a:cxn ang="0">
                  <a:pos x="T4" y="T5"/>
                </a:cxn>
                <a:cxn ang="0">
                  <a:pos x="T6" y="T7"/>
                </a:cxn>
                <a:cxn ang="0">
                  <a:pos x="T8" y="T9"/>
                </a:cxn>
              </a:cxnLst>
              <a:rect l="0" t="0" r="r" b="b"/>
              <a:pathLst>
                <a:path w="21" h="22">
                  <a:moveTo>
                    <a:pt x="20" y="0"/>
                  </a:moveTo>
                  <a:lnTo>
                    <a:pt x="20" y="0"/>
                  </a:lnTo>
                  <a:cubicBezTo>
                    <a:pt x="0" y="0"/>
                    <a:pt x="0" y="0"/>
                    <a:pt x="0" y="21"/>
                  </a:cubicBezTo>
                  <a:lnTo>
                    <a:pt x="20" y="21"/>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4" name="Freeform 391">
              <a:extLst>
                <a:ext uri="{FF2B5EF4-FFF2-40B4-BE49-F238E27FC236}">
                  <a16:creationId xmlns:a16="http://schemas.microsoft.com/office/drawing/2014/main" id="{7250560D-4DE0-864D-B581-2CC9F5741680}"/>
                </a:ext>
              </a:extLst>
            </p:cNvPr>
            <p:cNvSpPr>
              <a:spLocks noChangeArrowheads="1"/>
            </p:cNvSpPr>
            <p:nvPr/>
          </p:nvSpPr>
          <p:spPr bwMode="auto">
            <a:xfrm>
              <a:off x="5981700" y="8529638"/>
              <a:ext cx="7938" cy="7937"/>
            </a:xfrm>
            <a:custGeom>
              <a:avLst/>
              <a:gdLst>
                <a:gd name="T0" fmla="*/ 20 w 21"/>
                <a:gd name="T1" fmla="*/ 21 h 22"/>
                <a:gd name="T2" fmla="*/ 20 w 21"/>
                <a:gd name="T3" fmla="*/ 21 h 22"/>
                <a:gd name="T4" fmla="*/ 0 w 21"/>
                <a:gd name="T5" fmla="*/ 21 h 22"/>
                <a:gd name="T6" fmla="*/ 0 w 21"/>
                <a:gd name="T7" fmla="*/ 0 h 22"/>
                <a:gd name="T8" fmla="*/ 20 w 21"/>
                <a:gd name="T9" fmla="*/ 0 h 22"/>
                <a:gd name="T10" fmla="*/ 20 w 21"/>
                <a:gd name="T11" fmla="*/ 0 h 22"/>
                <a:gd name="T12" fmla="*/ 20 w 21"/>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20" y="21"/>
                  </a:moveTo>
                  <a:lnTo>
                    <a:pt x="20" y="21"/>
                  </a:lnTo>
                  <a:lnTo>
                    <a:pt x="0" y="21"/>
                  </a:lnTo>
                  <a:lnTo>
                    <a:pt x="0" y="0"/>
                  </a:lnTo>
                  <a:lnTo>
                    <a:pt x="20" y="0"/>
                  </a:lnTo>
                  <a:lnTo>
                    <a:pt x="20" y="0"/>
                  </a:lnTo>
                  <a:cubicBezTo>
                    <a:pt x="20" y="21"/>
                    <a:pt x="20"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5" name="Freeform 392">
              <a:extLst>
                <a:ext uri="{FF2B5EF4-FFF2-40B4-BE49-F238E27FC236}">
                  <a16:creationId xmlns:a16="http://schemas.microsoft.com/office/drawing/2014/main" id="{AE67D303-D5A7-E049-8796-DA4A9D7E71E7}"/>
                </a:ext>
              </a:extLst>
            </p:cNvPr>
            <p:cNvSpPr>
              <a:spLocks noChangeArrowheads="1"/>
            </p:cNvSpPr>
            <p:nvPr/>
          </p:nvSpPr>
          <p:spPr bwMode="auto">
            <a:xfrm>
              <a:off x="6032500" y="8513763"/>
              <a:ext cx="7938" cy="7937"/>
            </a:xfrm>
            <a:custGeom>
              <a:avLst/>
              <a:gdLst>
                <a:gd name="T0" fmla="*/ 21 w 22"/>
                <a:gd name="T1" fmla="*/ 0 h 21"/>
                <a:gd name="T2" fmla="*/ 21 w 22"/>
                <a:gd name="T3" fmla="*/ 0 h 21"/>
                <a:gd name="T4" fmla="*/ 0 w 22"/>
                <a:gd name="T5" fmla="*/ 0 h 21"/>
                <a:gd name="T6" fmla="*/ 0 w 22"/>
                <a:gd name="T7" fmla="*/ 20 h 21"/>
                <a:gd name="T8" fmla="*/ 21 w 22"/>
                <a:gd name="T9" fmla="*/ 20 h 21"/>
                <a:gd name="T10" fmla="*/ 21 w 22"/>
                <a:gd name="T11" fmla="*/ 0 h 21"/>
              </a:gdLst>
              <a:ahLst/>
              <a:cxnLst>
                <a:cxn ang="0">
                  <a:pos x="T0" y="T1"/>
                </a:cxn>
                <a:cxn ang="0">
                  <a:pos x="T2" y="T3"/>
                </a:cxn>
                <a:cxn ang="0">
                  <a:pos x="T4" y="T5"/>
                </a:cxn>
                <a:cxn ang="0">
                  <a:pos x="T6" y="T7"/>
                </a:cxn>
                <a:cxn ang="0">
                  <a:pos x="T8" y="T9"/>
                </a:cxn>
                <a:cxn ang="0">
                  <a:pos x="T10" y="T11"/>
                </a:cxn>
              </a:cxnLst>
              <a:rect l="0" t="0" r="r" b="b"/>
              <a:pathLst>
                <a:path w="22" h="21">
                  <a:moveTo>
                    <a:pt x="21" y="0"/>
                  </a:moveTo>
                  <a:lnTo>
                    <a:pt x="21" y="0"/>
                  </a:lnTo>
                  <a:cubicBezTo>
                    <a:pt x="0" y="0"/>
                    <a:pt x="0" y="0"/>
                    <a:pt x="0" y="0"/>
                  </a:cubicBezTo>
                  <a:lnTo>
                    <a:pt x="0" y="20"/>
                  </a:lnTo>
                  <a:cubicBezTo>
                    <a:pt x="21" y="20"/>
                    <a:pt x="21" y="20"/>
                    <a:pt x="21" y="2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6" name="Freeform 393">
              <a:extLst>
                <a:ext uri="{FF2B5EF4-FFF2-40B4-BE49-F238E27FC236}">
                  <a16:creationId xmlns:a16="http://schemas.microsoft.com/office/drawing/2014/main" id="{33F6176D-BCF2-5D43-8765-66DBDB4C3C45}"/>
                </a:ext>
              </a:extLst>
            </p:cNvPr>
            <p:cNvSpPr>
              <a:spLocks noChangeArrowheads="1"/>
            </p:cNvSpPr>
            <p:nvPr/>
          </p:nvSpPr>
          <p:spPr bwMode="auto">
            <a:xfrm>
              <a:off x="6018213" y="8499475"/>
              <a:ext cx="7937" cy="7938"/>
            </a:xfrm>
            <a:custGeom>
              <a:avLst/>
              <a:gdLst>
                <a:gd name="T0" fmla="*/ 21 w 22"/>
                <a:gd name="T1" fmla="*/ 0 h 22"/>
                <a:gd name="T2" fmla="*/ 21 w 22"/>
                <a:gd name="T3" fmla="*/ 0 h 22"/>
                <a:gd name="T4" fmla="*/ 0 w 22"/>
                <a:gd name="T5" fmla="*/ 0 h 22"/>
                <a:gd name="T6" fmla="*/ 0 w 22"/>
                <a:gd name="T7" fmla="*/ 0 h 22"/>
                <a:gd name="T8" fmla="*/ 21 w 22"/>
                <a:gd name="T9" fmla="*/ 0 h 22"/>
              </a:gdLst>
              <a:ahLst/>
              <a:cxnLst>
                <a:cxn ang="0">
                  <a:pos x="T0" y="T1"/>
                </a:cxn>
                <a:cxn ang="0">
                  <a:pos x="T2" y="T3"/>
                </a:cxn>
                <a:cxn ang="0">
                  <a:pos x="T4" y="T5"/>
                </a:cxn>
                <a:cxn ang="0">
                  <a:pos x="T6" y="T7"/>
                </a:cxn>
                <a:cxn ang="0">
                  <a:pos x="T8" y="T9"/>
                </a:cxn>
              </a:cxnLst>
              <a:rect l="0" t="0" r="r" b="b"/>
              <a:pathLst>
                <a:path w="22" h="22">
                  <a:moveTo>
                    <a:pt x="21" y="0"/>
                  </a:moveTo>
                  <a:lnTo>
                    <a:pt x="21" y="0"/>
                  </a:lnTo>
                  <a:cubicBezTo>
                    <a:pt x="21" y="21"/>
                    <a:pt x="21" y="21"/>
                    <a:pt x="0" y="0"/>
                  </a:cubicBezTo>
                  <a:lnTo>
                    <a:pt x="0" y="0"/>
                  </a:lnTo>
                  <a:cubicBezTo>
                    <a:pt x="0" y="0"/>
                    <a:pt x="0"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7" name="Freeform 394">
              <a:extLst>
                <a:ext uri="{FF2B5EF4-FFF2-40B4-BE49-F238E27FC236}">
                  <a16:creationId xmlns:a16="http://schemas.microsoft.com/office/drawing/2014/main" id="{8D2F3E5C-D596-ED4F-84F5-5AAAE27E3424}"/>
                </a:ext>
              </a:extLst>
            </p:cNvPr>
            <p:cNvSpPr>
              <a:spLocks noChangeArrowheads="1"/>
            </p:cNvSpPr>
            <p:nvPr/>
          </p:nvSpPr>
          <p:spPr bwMode="auto">
            <a:xfrm>
              <a:off x="6010275" y="8485188"/>
              <a:ext cx="7938" cy="7937"/>
            </a:xfrm>
            <a:custGeom>
              <a:avLst/>
              <a:gdLst>
                <a:gd name="T0" fmla="*/ 20 w 21"/>
                <a:gd name="T1" fmla="*/ 21 h 22"/>
                <a:gd name="T2" fmla="*/ 20 w 21"/>
                <a:gd name="T3" fmla="*/ 21 h 22"/>
                <a:gd name="T4" fmla="*/ 0 w 21"/>
                <a:gd name="T5" fmla="*/ 21 h 22"/>
                <a:gd name="T6" fmla="*/ 0 w 21"/>
                <a:gd name="T7" fmla="*/ 21 h 22"/>
                <a:gd name="T8" fmla="*/ 0 w 21"/>
                <a:gd name="T9" fmla="*/ 0 h 22"/>
                <a:gd name="T10" fmla="*/ 20 w 21"/>
                <a:gd name="T11" fmla="*/ 21 h 22"/>
              </a:gdLst>
              <a:ahLst/>
              <a:cxnLst>
                <a:cxn ang="0">
                  <a:pos x="T0" y="T1"/>
                </a:cxn>
                <a:cxn ang="0">
                  <a:pos x="T2" y="T3"/>
                </a:cxn>
                <a:cxn ang="0">
                  <a:pos x="T4" y="T5"/>
                </a:cxn>
                <a:cxn ang="0">
                  <a:pos x="T6" y="T7"/>
                </a:cxn>
                <a:cxn ang="0">
                  <a:pos x="T8" y="T9"/>
                </a:cxn>
                <a:cxn ang="0">
                  <a:pos x="T10" y="T11"/>
                </a:cxn>
              </a:cxnLst>
              <a:rect l="0" t="0" r="r" b="b"/>
              <a:pathLst>
                <a:path w="21" h="22">
                  <a:moveTo>
                    <a:pt x="20" y="21"/>
                  </a:moveTo>
                  <a:lnTo>
                    <a:pt x="20" y="21"/>
                  </a:lnTo>
                  <a:cubicBezTo>
                    <a:pt x="0" y="21"/>
                    <a:pt x="0" y="21"/>
                    <a:pt x="0" y="21"/>
                  </a:cubicBezTo>
                  <a:lnTo>
                    <a:pt x="0" y="21"/>
                  </a:lnTo>
                  <a:lnTo>
                    <a:pt x="0" y="0"/>
                  </a:lnTo>
                  <a:cubicBezTo>
                    <a:pt x="0" y="0"/>
                    <a:pt x="20" y="0"/>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8" name="Freeform 395">
              <a:extLst>
                <a:ext uri="{FF2B5EF4-FFF2-40B4-BE49-F238E27FC236}">
                  <a16:creationId xmlns:a16="http://schemas.microsoft.com/office/drawing/2014/main" id="{D1B35253-810F-EC4C-9143-5C3EAC252A2F}"/>
                </a:ext>
              </a:extLst>
            </p:cNvPr>
            <p:cNvSpPr>
              <a:spLocks noChangeArrowheads="1"/>
            </p:cNvSpPr>
            <p:nvPr/>
          </p:nvSpPr>
          <p:spPr bwMode="auto">
            <a:xfrm>
              <a:off x="6018213" y="8513763"/>
              <a:ext cx="7937" cy="7937"/>
            </a:xfrm>
            <a:custGeom>
              <a:avLst/>
              <a:gdLst>
                <a:gd name="T0" fmla="*/ 21 w 22"/>
                <a:gd name="T1" fmla="*/ 0 h 21"/>
                <a:gd name="T2" fmla="*/ 21 w 22"/>
                <a:gd name="T3" fmla="*/ 0 h 21"/>
                <a:gd name="T4" fmla="*/ 0 w 22"/>
                <a:gd name="T5" fmla="*/ 0 h 21"/>
                <a:gd name="T6" fmla="*/ 21 w 22"/>
                <a:gd name="T7" fmla="*/ 20 h 21"/>
                <a:gd name="T8" fmla="*/ 21 w 22"/>
                <a:gd name="T9" fmla="*/ 20 h 21"/>
                <a:gd name="T10" fmla="*/ 21 w 22"/>
                <a:gd name="T11" fmla="*/ 0 h 21"/>
              </a:gdLst>
              <a:ahLst/>
              <a:cxnLst>
                <a:cxn ang="0">
                  <a:pos x="T0" y="T1"/>
                </a:cxn>
                <a:cxn ang="0">
                  <a:pos x="T2" y="T3"/>
                </a:cxn>
                <a:cxn ang="0">
                  <a:pos x="T4" y="T5"/>
                </a:cxn>
                <a:cxn ang="0">
                  <a:pos x="T6" y="T7"/>
                </a:cxn>
                <a:cxn ang="0">
                  <a:pos x="T8" y="T9"/>
                </a:cxn>
                <a:cxn ang="0">
                  <a:pos x="T10" y="T11"/>
                </a:cxn>
              </a:cxnLst>
              <a:rect l="0" t="0" r="r" b="b"/>
              <a:pathLst>
                <a:path w="22" h="21">
                  <a:moveTo>
                    <a:pt x="21" y="0"/>
                  </a:moveTo>
                  <a:lnTo>
                    <a:pt x="21" y="0"/>
                  </a:lnTo>
                  <a:cubicBezTo>
                    <a:pt x="0" y="0"/>
                    <a:pt x="0" y="0"/>
                    <a:pt x="0" y="0"/>
                  </a:cubicBezTo>
                  <a:cubicBezTo>
                    <a:pt x="0" y="0"/>
                    <a:pt x="21" y="0"/>
                    <a:pt x="21" y="20"/>
                  </a:cubicBezTo>
                  <a:lnTo>
                    <a:pt x="21" y="20"/>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399" name="Freeform 396">
              <a:extLst>
                <a:ext uri="{FF2B5EF4-FFF2-40B4-BE49-F238E27FC236}">
                  <a16:creationId xmlns:a16="http://schemas.microsoft.com/office/drawing/2014/main" id="{6D9B20F7-F7F5-A540-B2CA-1F660B26711E}"/>
                </a:ext>
              </a:extLst>
            </p:cNvPr>
            <p:cNvSpPr>
              <a:spLocks noChangeArrowheads="1"/>
            </p:cNvSpPr>
            <p:nvPr/>
          </p:nvSpPr>
          <p:spPr bwMode="auto">
            <a:xfrm>
              <a:off x="6054725" y="8323263"/>
              <a:ext cx="7938" cy="7937"/>
            </a:xfrm>
            <a:custGeom>
              <a:avLst/>
              <a:gdLst>
                <a:gd name="T0" fmla="*/ 20 w 21"/>
                <a:gd name="T1" fmla="*/ 20 h 21"/>
                <a:gd name="T2" fmla="*/ 20 w 21"/>
                <a:gd name="T3" fmla="*/ 20 h 21"/>
                <a:gd name="T4" fmla="*/ 0 w 21"/>
                <a:gd name="T5" fmla="*/ 20 h 21"/>
                <a:gd name="T6" fmla="*/ 0 w 21"/>
                <a:gd name="T7" fmla="*/ 20 h 21"/>
                <a:gd name="T8" fmla="*/ 0 w 21"/>
                <a:gd name="T9" fmla="*/ 20 h 21"/>
                <a:gd name="T10" fmla="*/ 0 w 21"/>
                <a:gd name="T11" fmla="*/ 0 h 21"/>
                <a:gd name="T12" fmla="*/ 20 w 21"/>
                <a:gd name="T13" fmla="*/ 0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lnTo>
                    <a:pt x="20" y="20"/>
                  </a:lnTo>
                  <a:lnTo>
                    <a:pt x="0" y="20"/>
                  </a:lnTo>
                  <a:lnTo>
                    <a:pt x="0" y="20"/>
                  </a:lnTo>
                  <a:lnTo>
                    <a:pt x="0" y="20"/>
                  </a:lnTo>
                  <a:cubicBezTo>
                    <a:pt x="0" y="0"/>
                    <a:pt x="0" y="0"/>
                    <a:pt x="0" y="0"/>
                  </a:cubicBezTo>
                  <a:lnTo>
                    <a:pt x="20" y="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0" name="Freeform 397">
              <a:extLst>
                <a:ext uri="{FF2B5EF4-FFF2-40B4-BE49-F238E27FC236}">
                  <a16:creationId xmlns:a16="http://schemas.microsoft.com/office/drawing/2014/main" id="{BF92BBAE-DF09-274F-83FE-B836E78A4FAF}"/>
                </a:ext>
              </a:extLst>
            </p:cNvPr>
            <p:cNvSpPr>
              <a:spLocks noChangeArrowheads="1"/>
            </p:cNvSpPr>
            <p:nvPr/>
          </p:nvSpPr>
          <p:spPr bwMode="auto">
            <a:xfrm>
              <a:off x="5981700" y="8337550"/>
              <a:ext cx="15875" cy="15875"/>
            </a:xfrm>
            <a:custGeom>
              <a:avLst/>
              <a:gdLst>
                <a:gd name="T0" fmla="*/ 41 w 42"/>
                <a:gd name="T1" fmla="*/ 21 h 43"/>
                <a:gd name="T2" fmla="*/ 41 w 42"/>
                <a:gd name="T3" fmla="*/ 21 h 43"/>
                <a:gd name="T4" fmla="*/ 41 w 42"/>
                <a:gd name="T5" fmla="*/ 42 h 43"/>
                <a:gd name="T6" fmla="*/ 20 w 42"/>
                <a:gd name="T7" fmla="*/ 21 h 43"/>
                <a:gd name="T8" fmla="*/ 20 w 42"/>
                <a:gd name="T9" fmla="*/ 21 h 43"/>
                <a:gd name="T10" fmla="*/ 41 w 42"/>
                <a:gd name="T11" fmla="*/ 21 h 43"/>
              </a:gdLst>
              <a:ahLst/>
              <a:cxnLst>
                <a:cxn ang="0">
                  <a:pos x="T0" y="T1"/>
                </a:cxn>
                <a:cxn ang="0">
                  <a:pos x="T2" y="T3"/>
                </a:cxn>
                <a:cxn ang="0">
                  <a:pos x="T4" y="T5"/>
                </a:cxn>
                <a:cxn ang="0">
                  <a:pos x="T6" y="T7"/>
                </a:cxn>
                <a:cxn ang="0">
                  <a:pos x="T8" y="T9"/>
                </a:cxn>
                <a:cxn ang="0">
                  <a:pos x="T10" y="T11"/>
                </a:cxn>
              </a:cxnLst>
              <a:rect l="0" t="0" r="r" b="b"/>
              <a:pathLst>
                <a:path w="42" h="43">
                  <a:moveTo>
                    <a:pt x="41" y="21"/>
                  </a:moveTo>
                  <a:lnTo>
                    <a:pt x="41" y="21"/>
                  </a:lnTo>
                  <a:cubicBezTo>
                    <a:pt x="41" y="42"/>
                    <a:pt x="41" y="42"/>
                    <a:pt x="41" y="42"/>
                  </a:cubicBezTo>
                  <a:cubicBezTo>
                    <a:pt x="20" y="42"/>
                    <a:pt x="20" y="42"/>
                    <a:pt x="20" y="21"/>
                  </a:cubicBezTo>
                  <a:cubicBezTo>
                    <a:pt x="0" y="21"/>
                    <a:pt x="20" y="21"/>
                    <a:pt x="20" y="21"/>
                  </a:cubicBezTo>
                  <a:cubicBezTo>
                    <a:pt x="20" y="0"/>
                    <a:pt x="41" y="21"/>
                    <a:pt x="4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1" name="Freeform 398">
              <a:extLst>
                <a:ext uri="{FF2B5EF4-FFF2-40B4-BE49-F238E27FC236}">
                  <a16:creationId xmlns:a16="http://schemas.microsoft.com/office/drawing/2014/main" id="{0BA0886F-55E8-0F43-92CA-F153CE2891D6}"/>
                </a:ext>
              </a:extLst>
            </p:cNvPr>
            <p:cNvSpPr>
              <a:spLocks noChangeArrowheads="1"/>
            </p:cNvSpPr>
            <p:nvPr/>
          </p:nvSpPr>
          <p:spPr bwMode="auto">
            <a:xfrm>
              <a:off x="5878513" y="8240713"/>
              <a:ext cx="7937" cy="7937"/>
            </a:xfrm>
            <a:custGeom>
              <a:avLst/>
              <a:gdLst>
                <a:gd name="T0" fmla="*/ 0 w 22"/>
                <a:gd name="T1" fmla="*/ 21 h 22"/>
                <a:gd name="T2" fmla="*/ 0 w 22"/>
                <a:gd name="T3" fmla="*/ 21 h 22"/>
                <a:gd name="T4" fmla="*/ 0 w 22"/>
                <a:gd name="T5" fmla="*/ 21 h 22"/>
                <a:gd name="T6" fmla="*/ 0 w 22"/>
                <a:gd name="T7" fmla="*/ 0 h 22"/>
                <a:gd name="T8" fmla="*/ 0 w 22"/>
                <a:gd name="T9" fmla="*/ 0 h 22"/>
                <a:gd name="T10" fmla="*/ 21 w 22"/>
                <a:gd name="T11" fmla="*/ 0 h 22"/>
                <a:gd name="T12" fmla="*/ 21 w 22"/>
                <a:gd name="T13" fmla="*/ 21 h 22"/>
                <a:gd name="T14" fmla="*/ 0 w 22"/>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0" y="21"/>
                  </a:moveTo>
                  <a:lnTo>
                    <a:pt x="0" y="21"/>
                  </a:lnTo>
                  <a:lnTo>
                    <a:pt x="0" y="21"/>
                  </a:lnTo>
                  <a:lnTo>
                    <a:pt x="0" y="0"/>
                  </a:lnTo>
                  <a:lnTo>
                    <a:pt x="0" y="0"/>
                  </a:lnTo>
                  <a:cubicBezTo>
                    <a:pt x="21" y="0"/>
                    <a:pt x="21" y="0"/>
                    <a:pt x="21" y="0"/>
                  </a:cubicBezTo>
                  <a:lnTo>
                    <a:pt x="21" y="21"/>
                  </a:lnTo>
                  <a:lnTo>
                    <a:pt x="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2" name="Freeform 399">
              <a:extLst>
                <a:ext uri="{FF2B5EF4-FFF2-40B4-BE49-F238E27FC236}">
                  <a16:creationId xmlns:a16="http://schemas.microsoft.com/office/drawing/2014/main" id="{6186EE86-5DDA-084B-B4A7-67517B0607E4}"/>
                </a:ext>
              </a:extLst>
            </p:cNvPr>
            <p:cNvSpPr>
              <a:spLocks noChangeArrowheads="1"/>
            </p:cNvSpPr>
            <p:nvPr/>
          </p:nvSpPr>
          <p:spPr bwMode="auto">
            <a:xfrm>
              <a:off x="5892800" y="8248650"/>
              <a:ext cx="7938" cy="7938"/>
            </a:xfrm>
            <a:custGeom>
              <a:avLst/>
              <a:gdLst>
                <a:gd name="T0" fmla="*/ 0 w 21"/>
                <a:gd name="T1" fmla="*/ 0 h 21"/>
                <a:gd name="T2" fmla="*/ 0 w 21"/>
                <a:gd name="T3" fmla="*/ 0 h 21"/>
                <a:gd name="T4" fmla="*/ 0 w 21"/>
                <a:gd name="T5" fmla="*/ 0 h 21"/>
                <a:gd name="T6" fmla="*/ 20 w 21"/>
                <a:gd name="T7" fmla="*/ 0 h 21"/>
                <a:gd name="T8" fmla="*/ 20 w 21"/>
                <a:gd name="T9" fmla="*/ 0 h 21"/>
                <a:gd name="T10" fmla="*/ 20 w 21"/>
                <a:gd name="T11" fmla="*/ 0 h 21"/>
                <a:gd name="T12" fmla="*/ 0 w 21"/>
                <a:gd name="T13" fmla="*/ 20 h 21"/>
                <a:gd name="T14" fmla="*/ 0 w 2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0"/>
                  </a:moveTo>
                  <a:lnTo>
                    <a:pt x="0" y="0"/>
                  </a:lnTo>
                  <a:lnTo>
                    <a:pt x="0" y="0"/>
                  </a:lnTo>
                  <a:cubicBezTo>
                    <a:pt x="20" y="0"/>
                    <a:pt x="20" y="0"/>
                    <a:pt x="20" y="0"/>
                  </a:cubicBezTo>
                  <a:lnTo>
                    <a:pt x="20" y="0"/>
                  </a:lnTo>
                  <a:lnTo>
                    <a:pt x="20" y="0"/>
                  </a:lnTo>
                  <a:lnTo>
                    <a:pt x="0" y="20"/>
                  </a:lnTo>
                  <a:cubicBezTo>
                    <a:pt x="0" y="20"/>
                    <a:pt x="0" y="2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3" name="Freeform 400">
              <a:extLst>
                <a:ext uri="{FF2B5EF4-FFF2-40B4-BE49-F238E27FC236}">
                  <a16:creationId xmlns:a16="http://schemas.microsoft.com/office/drawing/2014/main" id="{B68DEC76-B786-E44F-A55D-592D75AAEE19}"/>
                </a:ext>
              </a:extLst>
            </p:cNvPr>
            <p:cNvSpPr>
              <a:spLocks noChangeArrowheads="1"/>
            </p:cNvSpPr>
            <p:nvPr/>
          </p:nvSpPr>
          <p:spPr bwMode="auto">
            <a:xfrm>
              <a:off x="5848350" y="8234363"/>
              <a:ext cx="22225" cy="52387"/>
            </a:xfrm>
            <a:custGeom>
              <a:avLst/>
              <a:gdLst>
                <a:gd name="T0" fmla="*/ 61 w 62"/>
                <a:gd name="T1" fmla="*/ 82 h 144"/>
                <a:gd name="T2" fmla="*/ 61 w 62"/>
                <a:gd name="T3" fmla="*/ 82 h 144"/>
                <a:gd name="T4" fmla="*/ 61 w 62"/>
                <a:gd name="T5" fmla="*/ 102 h 144"/>
                <a:gd name="T6" fmla="*/ 41 w 62"/>
                <a:gd name="T7" fmla="*/ 122 h 144"/>
                <a:gd name="T8" fmla="*/ 41 w 62"/>
                <a:gd name="T9" fmla="*/ 143 h 144"/>
                <a:gd name="T10" fmla="*/ 41 w 62"/>
                <a:gd name="T11" fmla="*/ 143 h 144"/>
                <a:gd name="T12" fmla="*/ 21 w 62"/>
                <a:gd name="T13" fmla="*/ 143 h 144"/>
                <a:gd name="T14" fmla="*/ 0 w 62"/>
                <a:gd name="T15" fmla="*/ 122 h 144"/>
                <a:gd name="T16" fmla="*/ 0 w 62"/>
                <a:gd name="T17" fmla="*/ 102 h 144"/>
                <a:gd name="T18" fmla="*/ 0 w 62"/>
                <a:gd name="T19" fmla="*/ 61 h 144"/>
                <a:gd name="T20" fmla="*/ 21 w 62"/>
                <a:gd name="T21" fmla="*/ 61 h 144"/>
                <a:gd name="T22" fmla="*/ 21 w 62"/>
                <a:gd name="T23" fmla="*/ 41 h 144"/>
                <a:gd name="T24" fmla="*/ 21 w 62"/>
                <a:gd name="T25" fmla="*/ 20 h 144"/>
                <a:gd name="T26" fmla="*/ 41 w 62"/>
                <a:gd name="T27" fmla="*/ 0 h 144"/>
                <a:gd name="T28" fmla="*/ 41 w 62"/>
                <a:gd name="T29" fmla="*/ 0 h 144"/>
                <a:gd name="T30" fmla="*/ 61 w 62"/>
                <a:gd name="T31" fmla="*/ 20 h 144"/>
                <a:gd name="T32" fmla="*/ 61 w 62"/>
                <a:gd name="T33" fmla="*/ 41 h 144"/>
                <a:gd name="T34" fmla="*/ 61 w 62"/>
                <a:gd name="T35" fmla="*/ 61 h 144"/>
                <a:gd name="T36" fmla="*/ 61 w 62"/>
                <a:gd name="T37" fmla="*/ 8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144">
                  <a:moveTo>
                    <a:pt x="61" y="82"/>
                  </a:moveTo>
                  <a:lnTo>
                    <a:pt x="61" y="82"/>
                  </a:lnTo>
                  <a:cubicBezTo>
                    <a:pt x="61" y="82"/>
                    <a:pt x="61" y="82"/>
                    <a:pt x="61" y="102"/>
                  </a:cubicBezTo>
                  <a:cubicBezTo>
                    <a:pt x="61" y="102"/>
                    <a:pt x="41" y="102"/>
                    <a:pt x="41" y="122"/>
                  </a:cubicBezTo>
                  <a:cubicBezTo>
                    <a:pt x="41" y="122"/>
                    <a:pt x="41" y="122"/>
                    <a:pt x="41" y="143"/>
                  </a:cubicBezTo>
                  <a:lnTo>
                    <a:pt x="41" y="143"/>
                  </a:lnTo>
                  <a:cubicBezTo>
                    <a:pt x="21" y="143"/>
                    <a:pt x="21" y="143"/>
                    <a:pt x="21" y="143"/>
                  </a:cubicBezTo>
                  <a:cubicBezTo>
                    <a:pt x="0" y="122"/>
                    <a:pt x="0" y="122"/>
                    <a:pt x="0" y="122"/>
                  </a:cubicBezTo>
                  <a:cubicBezTo>
                    <a:pt x="0" y="102"/>
                    <a:pt x="0" y="102"/>
                    <a:pt x="0" y="102"/>
                  </a:cubicBezTo>
                  <a:cubicBezTo>
                    <a:pt x="0" y="82"/>
                    <a:pt x="0" y="82"/>
                    <a:pt x="0" y="61"/>
                  </a:cubicBezTo>
                  <a:lnTo>
                    <a:pt x="21" y="61"/>
                  </a:lnTo>
                  <a:cubicBezTo>
                    <a:pt x="21" y="41"/>
                    <a:pt x="21" y="41"/>
                    <a:pt x="21" y="41"/>
                  </a:cubicBezTo>
                  <a:cubicBezTo>
                    <a:pt x="21" y="20"/>
                    <a:pt x="21" y="20"/>
                    <a:pt x="21" y="20"/>
                  </a:cubicBezTo>
                  <a:cubicBezTo>
                    <a:pt x="21" y="0"/>
                    <a:pt x="41" y="0"/>
                    <a:pt x="41" y="0"/>
                  </a:cubicBezTo>
                  <a:lnTo>
                    <a:pt x="41" y="0"/>
                  </a:lnTo>
                  <a:cubicBezTo>
                    <a:pt x="61" y="0"/>
                    <a:pt x="61" y="20"/>
                    <a:pt x="61" y="20"/>
                  </a:cubicBezTo>
                  <a:cubicBezTo>
                    <a:pt x="61" y="41"/>
                    <a:pt x="61" y="41"/>
                    <a:pt x="61" y="41"/>
                  </a:cubicBezTo>
                  <a:cubicBezTo>
                    <a:pt x="61" y="61"/>
                    <a:pt x="61" y="61"/>
                    <a:pt x="61" y="61"/>
                  </a:cubicBezTo>
                  <a:lnTo>
                    <a:pt x="61"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4" name="Freeform 401">
              <a:extLst>
                <a:ext uri="{FF2B5EF4-FFF2-40B4-BE49-F238E27FC236}">
                  <a16:creationId xmlns:a16="http://schemas.microsoft.com/office/drawing/2014/main" id="{B425BCEF-C9C8-6D47-AD63-46B7E60949A6}"/>
                </a:ext>
              </a:extLst>
            </p:cNvPr>
            <p:cNvSpPr>
              <a:spLocks noChangeArrowheads="1"/>
            </p:cNvSpPr>
            <p:nvPr/>
          </p:nvSpPr>
          <p:spPr bwMode="auto">
            <a:xfrm>
              <a:off x="5965825" y="7643813"/>
              <a:ext cx="7938" cy="7937"/>
            </a:xfrm>
            <a:custGeom>
              <a:avLst/>
              <a:gdLst>
                <a:gd name="T0" fmla="*/ 20 w 21"/>
                <a:gd name="T1" fmla="*/ 20 h 21"/>
                <a:gd name="T2" fmla="*/ 20 w 21"/>
                <a:gd name="T3" fmla="*/ 20 h 21"/>
                <a:gd name="T4" fmla="*/ 0 w 21"/>
                <a:gd name="T5" fmla="*/ 20 h 21"/>
                <a:gd name="T6" fmla="*/ 0 w 21"/>
                <a:gd name="T7" fmla="*/ 0 h 21"/>
                <a:gd name="T8" fmla="*/ 0 w 21"/>
                <a:gd name="T9" fmla="*/ 0 h 21"/>
                <a:gd name="T10" fmla="*/ 20 w 21"/>
                <a:gd name="T11" fmla="*/ 0 h 21"/>
                <a:gd name="T12" fmla="*/ 20 w 21"/>
                <a:gd name="T13" fmla="*/ 0 h 21"/>
                <a:gd name="T14" fmla="*/ 20 w 21"/>
                <a:gd name="T15" fmla="*/ 0 h 21"/>
                <a:gd name="T16" fmla="*/ 20 w 21"/>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20" y="20"/>
                  </a:moveTo>
                  <a:lnTo>
                    <a:pt x="20" y="20"/>
                  </a:lnTo>
                  <a:cubicBezTo>
                    <a:pt x="20" y="20"/>
                    <a:pt x="20" y="20"/>
                    <a:pt x="0" y="20"/>
                  </a:cubicBezTo>
                  <a:lnTo>
                    <a:pt x="0" y="0"/>
                  </a:lnTo>
                  <a:lnTo>
                    <a:pt x="0" y="0"/>
                  </a:lnTo>
                  <a:lnTo>
                    <a:pt x="20" y="0"/>
                  </a:lnTo>
                  <a:lnTo>
                    <a:pt x="20" y="0"/>
                  </a:lnTo>
                  <a:lnTo>
                    <a:pt x="20" y="0"/>
                  </a:lnTo>
                  <a:cubicBezTo>
                    <a:pt x="20" y="20"/>
                    <a:pt x="20"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5" name="Freeform 402">
              <a:extLst>
                <a:ext uri="{FF2B5EF4-FFF2-40B4-BE49-F238E27FC236}">
                  <a16:creationId xmlns:a16="http://schemas.microsoft.com/office/drawing/2014/main" id="{7D1E090B-B2EF-CA44-A1EC-C91D5C1773A9}"/>
                </a:ext>
              </a:extLst>
            </p:cNvPr>
            <p:cNvSpPr>
              <a:spLocks noChangeArrowheads="1"/>
            </p:cNvSpPr>
            <p:nvPr/>
          </p:nvSpPr>
          <p:spPr bwMode="auto">
            <a:xfrm>
              <a:off x="6018213" y="7827963"/>
              <a:ext cx="420687" cy="582612"/>
            </a:xfrm>
            <a:custGeom>
              <a:avLst/>
              <a:gdLst>
                <a:gd name="T0" fmla="*/ 492 w 1170"/>
                <a:gd name="T1" fmla="*/ 573 h 1620"/>
                <a:gd name="T2" fmla="*/ 574 w 1170"/>
                <a:gd name="T3" fmla="*/ 553 h 1620"/>
                <a:gd name="T4" fmla="*/ 677 w 1170"/>
                <a:gd name="T5" fmla="*/ 512 h 1620"/>
                <a:gd name="T6" fmla="*/ 738 w 1170"/>
                <a:gd name="T7" fmla="*/ 512 h 1620"/>
                <a:gd name="T8" fmla="*/ 779 w 1170"/>
                <a:gd name="T9" fmla="*/ 491 h 1620"/>
                <a:gd name="T10" fmla="*/ 841 w 1170"/>
                <a:gd name="T11" fmla="*/ 573 h 1620"/>
                <a:gd name="T12" fmla="*/ 779 w 1170"/>
                <a:gd name="T13" fmla="*/ 553 h 1620"/>
                <a:gd name="T14" fmla="*/ 697 w 1170"/>
                <a:gd name="T15" fmla="*/ 635 h 1620"/>
                <a:gd name="T16" fmla="*/ 574 w 1170"/>
                <a:gd name="T17" fmla="*/ 737 h 1620"/>
                <a:gd name="T18" fmla="*/ 472 w 1170"/>
                <a:gd name="T19" fmla="*/ 758 h 1620"/>
                <a:gd name="T20" fmla="*/ 533 w 1170"/>
                <a:gd name="T21" fmla="*/ 840 h 1620"/>
                <a:gd name="T22" fmla="*/ 615 w 1170"/>
                <a:gd name="T23" fmla="*/ 942 h 1620"/>
                <a:gd name="T24" fmla="*/ 635 w 1170"/>
                <a:gd name="T25" fmla="*/ 1086 h 1620"/>
                <a:gd name="T26" fmla="*/ 615 w 1170"/>
                <a:gd name="T27" fmla="*/ 1168 h 1620"/>
                <a:gd name="T28" fmla="*/ 656 w 1170"/>
                <a:gd name="T29" fmla="*/ 1168 h 1620"/>
                <a:gd name="T30" fmla="*/ 677 w 1170"/>
                <a:gd name="T31" fmla="*/ 1291 h 1620"/>
                <a:gd name="T32" fmla="*/ 697 w 1170"/>
                <a:gd name="T33" fmla="*/ 1352 h 1620"/>
                <a:gd name="T34" fmla="*/ 595 w 1170"/>
                <a:gd name="T35" fmla="*/ 1373 h 1620"/>
                <a:gd name="T36" fmla="*/ 574 w 1170"/>
                <a:gd name="T37" fmla="*/ 1434 h 1620"/>
                <a:gd name="T38" fmla="*/ 492 w 1170"/>
                <a:gd name="T39" fmla="*/ 1393 h 1620"/>
                <a:gd name="T40" fmla="*/ 513 w 1170"/>
                <a:gd name="T41" fmla="*/ 1311 h 1620"/>
                <a:gd name="T42" fmla="*/ 472 w 1170"/>
                <a:gd name="T43" fmla="*/ 1209 h 1620"/>
                <a:gd name="T44" fmla="*/ 390 w 1170"/>
                <a:gd name="T45" fmla="*/ 1127 h 1620"/>
                <a:gd name="T46" fmla="*/ 431 w 1170"/>
                <a:gd name="T47" fmla="*/ 1004 h 1620"/>
                <a:gd name="T48" fmla="*/ 349 w 1170"/>
                <a:gd name="T49" fmla="*/ 963 h 1620"/>
                <a:gd name="T50" fmla="*/ 308 w 1170"/>
                <a:gd name="T51" fmla="*/ 1065 h 1620"/>
                <a:gd name="T52" fmla="*/ 287 w 1170"/>
                <a:gd name="T53" fmla="*/ 1270 h 1620"/>
                <a:gd name="T54" fmla="*/ 287 w 1170"/>
                <a:gd name="T55" fmla="*/ 1413 h 1620"/>
                <a:gd name="T56" fmla="*/ 287 w 1170"/>
                <a:gd name="T57" fmla="*/ 1557 h 1620"/>
                <a:gd name="T58" fmla="*/ 246 w 1170"/>
                <a:gd name="T59" fmla="*/ 1598 h 1620"/>
                <a:gd name="T60" fmla="*/ 123 w 1170"/>
                <a:gd name="T61" fmla="*/ 1598 h 1620"/>
                <a:gd name="T62" fmla="*/ 144 w 1170"/>
                <a:gd name="T63" fmla="*/ 1413 h 1620"/>
                <a:gd name="T64" fmla="*/ 144 w 1170"/>
                <a:gd name="T65" fmla="*/ 1229 h 1620"/>
                <a:gd name="T66" fmla="*/ 103 w 1170"/>
                <a:gd name="T67" fmla="*/ 1127 h 1620"/>
                <a:gd name="T68" fmla="*/ 21 w 1170"/>
                <a:gd name="T69" fmla="*/ 1106 h 1620"/>
                <a:gd name="T70" fmla="*/ 21 w 1170"/>
                <a:gd name="T71" fmla="*/ 1045 h 1620"/>
                <a:gd name="T72" fmla="*/ 21 w 1170"/>
                <a:gd name="T73" fmla="*/ 963 h 1620"/>
                <a:gd name="T74" fmla="*/ 103 w 1170"/>
                <a:gd name="T75" fmla="*/ 942 h 1620"/>
                <a:gd name="T76" fmla="*/ 144 w 1170"/>
                <a:gd name="T77" fmla="*/ 799 h 1620"/>
                <a:gd name="T78" fmla="*/ 144 w 1170"/>
                <a:gd name="T79" fmla="*/ 614 h 1620"/>
                <a:gd name="T80" fmla="*/ 205 w 1170"/>
                <a:gd name="T81" fmla="*/ 450 h 1620"/>
                <a:gd name="T82" fmla="*/ 226 w 1170"/>
                <a:gd name="T83" fmla="*/ 348 h 1620"/>
                <a:gd name="T84" fmla="*/ 267 w 1170"/>
                <a:gd name="T85" fmla="*/ 204 h 1620"/>
                <a:gd name="T86" fmla="*/ 328 w 1170"/>
                <a:gd name="T87" fmla="*/ 164 h 1620"/>
                <a:gd name="T88" fmla="*/ 390 w 1170"/>
                <a:gd name="T89" fmla="*/ 102 h 1620"/>
                <a:gd name="T90" fmla="*/ 492 w 1170"/>
                <a:gd name="T91" fmla="*/ 61 h 1620"/>
                <a:gd name="T92" fmla="*/ 635 w 1170"/>
                <a:gd name="T93" fmla="*/ 122 h 1620"/>
                <a:gd name="T94" fmla="*/ 799 w 1170"/>
                <a:gd name="T95" fmla="*/ 143 h 1620"/>
                <a:gd name="T96" fmla="*/ 1005 w 1170"/>
                <a:gd name="T97" fmla="*/ 61 h 1620"/>
                <a:gd name="T98" fmla="*/ 1148 w 1170"/>
                <a:gd name="T99" fmla="*/ 20 h 1620"/>
                <a:gd name="T100" fmla="*/ 1127 w 1170"/>
                <a:gd name="T101" fmla="*/ 122 h 1620"/>
                <a:gd name="T102" fmla="*/ 1025 w 1170"/>
                <a:gd name="T103" fmla="*/ 246 h 1620"/>
                <a:gd name="T104" fmla="*/ 759 w 1170"/>
                <a:gd name="T105" fmla="*/ 246 h 1620"/>
                <a:gd name="T106" fmla="*/ 513 w 1170"/>
                <a:gd name="T107" fmla="*/ 246 h 1620"/>
                <a:gd name="T108" fmla="*/ 308 w 1170"/>
                <a:gd name="T109" fmla="*/ 266 h 1620"/>
                <a:gd name="T110" fmla="*/ 287 w 1170"/>
                <a:gd name="T111" fmla="*/ 410 h 1620"/>
                <a:gd name="T112" fmla="*/ 328 w 1170"/>
                <a:gd name="T113" fmla="*/ 532 h 1620"/>
                <a:gd name="T114" fmla="*/ 349 w 1170"/>
                <a:gd name="T115" fmla="*/ 614 h 1620"/>
                <a:gd name="T116" fmla="*/ 451 w 1170"/>
                <a:gd name="T117" fmla="*/ 635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70" h="1620">
                  <a:moveTo>
                    <a:pt x="451" y="635"/>
                  </a:moveTo>
                  <a:lnTo>
                    <a:pt x="451" y="635"/>
                  </a:lnTo>
                  <a:cubicBezTo>
                    <a:pt x="472" y="635"/>
                    <a:pt x="492" y="614"/>
                    <a:pt x="492" y="614"/>
                  </a:cubicBezTo>
                  <a:cubicBezTo>
                    <a:pt x="492" y="614"/>
                    <a:pt x="492" y="594"/>
                    <a:pt x="492" y="573"/>
                  </a:cubicBezTo>
                  <a:lnTo>
                    <a:pt x="513" y="553"/>
                  </a:lnTo>
                  <a:lnTo>
                    <a:pt x="533" y="553"/>
                  </a:lnTo>
                  <a:lnTo>
                    <a:pt x="553" y="553"/>
                  </a:lnTo>
                  <a:lnTo>
                    <a:pt x="574" y="553"/>
                  </a:lnTo>
                  <a:cubicBezTo>
                    <a:pt x="595" y="553"/>
                    <a:pt x="595" y="553"/>
                    <a:pt x="595" y="553"/>
                  </a:cubicBezTo>
                  <a:cubicBezTo>
                    <a:pt x="615" y="532"/>
                    <a:pt x="615" y="532"/>
                    <a:pt x="635" y="532"/>
                  </a:cubicBezTo>
                  <a:lnTo>
                    <a:pt x="635" y="512"/>
                  </a:lnTo>
                  <a:cubicBezTo>
                    <a:pt x="656" y="512"/>
                    <a:pt x="656" y="512"/>
                    <a:pt x="677" y="512"/>
                  </a:cubicBezTo>
                  <a:lnTo>
                    <a:pt x="697" y="512"/>
                  </a:lnTo>
                  <a:lnTo>
                    <a:pt x="717" y="532"/>
                  </a:lnTo>
                  <a:lnTo>
                    <a:pt x="738" y="532"/>
                  </a:lnTo>
                  <a:lnTo>
                    <a:pt x="738" y="512"/>
                  </a:lnTo>
                  <a:lnTo>
                    <a:pt x="717" y="512"/>
                  </a:lnTo>
                  <a:cubicBezTo>
                    <a:pt x="717" y="491"/>
                    <a:pt x="717" y="491"/>
                    <a:pt x="717" y="491"/>
                  </a:cubicBezTo>
                  <a:cubicBezTo>
                    <a:pt x="738" y="491"/>
                    <a:pt x="738" y="471"/>
                    <a:pt x="759" y="471"/>
                  </a:cubicBezTo>
                  <a:cubicBezTo>
                    <a:pt x="759" y="471"/>
                    <a:pt x="779" y="471"/>
                    <a:pt x="779" y="491"/>
                  </a:cubicBezTo>
                  <a:cubicBezTo>
                    <a:pt x="799" y="491"/>
                    <a:pt x="820" y="491"/>
                    <a:pt x="820" y="491"/>
                  </a:cubicBezTo>
                  <a:cubicBezTo>
                    <a:pt x="820" y="491"/>
                    <a:pt x="820" y="491"/>
                    <a:pt x="820" y="512"/>
                  </a:cubicBezTo>
                  <a:cubicBezTo>
                    <a:pt x="841" y="512"/>
                    <a:pt x="841" y="532"/>
                    <a:pt x="841" y="532"/>
                  </a:cubicBezTo>
                  <a:cubicBezTo>
                    <a:pt x="841" y="553"/>
                    <a:pt x="841" y="553"/>
                    <a:pt x="841" y="573"/>
                  </a:cubicBezTo>
                  <a:cubicBezTo>
                    <a:pt x="820" y="573"/>
                    <a:pt x="820" y="594"/>
                    <a:pt x="820" y="594"/>
                  </a:cubicBezTo>
                  <a:cubicBezTo>
                    <a:pt x="799" y="594"/>
                    <a:pt x="799" y="573"/>
                    <a:pt x="799" y="573"/>
                  </a:cubicBezTo>
                  <a:lnTo>
                    <a:pt x="799" y="553"/>
                  </a:lnTo>
                  <a:cubicBezTo>
                    <a:pt x="779" y="553"/>
                    <a:pt x="779" y="553"/>
                    <a:pt x="779" y="553"/>
                  </a:cubicBezTo>
                  <a:cubicBezTo>
                    <a:pt x="759" y="553"/>
                    <a:pt x="759" y="573"/>
                    <a:pt x="738" y="573"/>
                  </a:cubicBezTo>
                  <a:cubicBezTo>
                    <a:pt x="738" y="573"/>
                    <a:pt x="738" y="594"/>
                    <a:pt x="717" y="594"/>
                  </a:cubicBezTo>
                  <a:cubicBezTo>
                    <a:pt x="717" y="594"/>
                    <a:pt x="717" y="594"/>
                    <a:pt x="697" y="614"/>
                  </a:cubicBezTo>
                  <a:lnTo>
                    <a:pt x="697" y="635"/>
                  </a:lnTo>
                  <a:cubicBezTo>
                    <a:pt x="677" y="655"/>
                    <a:pt x="677" y="655"/>
                    <a:pt x="656" y="676"/>
                  </a:cubicBezTo>
                  <a:lnTo>
                    <a:pt x="635" y="696"/>
                  </a:lnTo>
                  <a:cubicBezTo>
                    <a:pt x="635" y="717"/>
                    <a:pt x="615" y="717"/>
                    <a:pt x="595" y="717"/>
                  </a:cubicBezTo>
                  <a:lnTo>
                    <a:pt x="574" y="737"/>
                  </a:lnTo>
                  <a:lnTo>
                    <a:pt x="553" y="758"/>
                  </a:lnTo>
                  <a:cubicBezTo>
                    <a:pt x="533" y="758"/>
                    <a:pt x="533" y="758"/>
                    <a:pt x="513" y="758"/>
                  </a:cubicBezTo>
                  <a:cubicBezTo>
                    <a:pt x="513" y="758"/>
                    <a:pt x="513" y="737"/>
                    <a:pt x="492" y="737"/>
                  </a:cubicBezTo>
                  <a:cubicBezTo>
                    <a:pt x="492" y="737"/>
                    <a:pt x="472" y="737"/>
                    <a:pt x="472" y="758"/>
                  </a:cubicBezTo>
                  <a:cubicBezTo>
                    <a:pt x="472" y="758"/>
                    <a:pt x="472" y="758"/>
                    <a:pt x="472" y="778"/>
                  </a:cubicBezTo>
                  <a:cubicBezTo>
                    <a:pt x="472" y="778"/>
                    <a:pt x="492" y="778"/>
                    <a:pt x="492" y="799"/>
                  </a:cubicBezTo>
                  <a:lnTo>
                    <a:pt x="513" y="819"/>
                  </a:lnTo>
                  <a:cubicBezTo>
                    <a:pt x="513" y="819"/>
                    <a:pt x="513" y="840"/>
                    <a:pt x="533" y="840"/>
                  </a:cubicBezTo>
                  <a:cubicBezTo>
                    <a:pt x="533" y="860"/>
                    <a:pt x="533" y="860"/>
                    <a:pt x="533" y="881"/>
                  </a:cubicBezTo>
                  <a:lnTo>
                    <a:pt x="553" y="901"/>
                  </a:lnTo>
                  <a:lnTo>
                    <a:pt x="574" y="922"/>
                  </a:lnTo>
                  <a:cubicBezTo>
                    <a:pt x="595" y="922"/>
                    <a:pt x="615" y="942"/>
                    <a:pt x="615" y="942"/>
                  </a:cubicBezTo>
                  <a:cubicBezTo>
                    <a:pt x="615" y="963"/>
                    <a:pt x="615" y="983"/>
                    <a:pt x="615" y="983"/>
                  </a:cubicBezTo>
                  <a:cubicBezTo>
                    <a:pt x="615" y="1004"/>
                    <a:pt x="615" y="1004"/>
                    <a:pt x="615" y="1024"/>
                  </a:cubicBezTo>
                  <a:lnTo>
                    <a:pt x="635" y="1045"/>
                  </a:lnTo>
                  <a:cubicBezTo>
                    <a:pt x="635" y="1045"/>
                    <a:pt x="635" y="1065"/>
                    <a:pt x="635" y="1086"/>
                  </a:cubicBezTo>
                  <a:cubicBezTo>
                    <a:pt x="615" y="1086"/>
                    <a:pt x="595" y="1086"/>
                    <a:pt x="595" y="1086"/>
                  </a:cubicBezTo>
                  <a:cubicBezTo>
                    <a:pt x="595" y="1086"/>
                    <a:pt x="595" y="1106"/>
                    <a:pt x="595" y="1127"/>
                  </a:cubicBezTo>
                  <a:cubicBezTo>
                    <a:pt x="595" y="1127"/>
                    <a:pt x="595" y="1127"/>
                    <a:pt x="595" y="1147"/>
                  </a:cubicBezTo>
                  <a:cubicBezTo>
                    <a:pt x="615" y="1147"/>
                    <a:pt x="615" y="1168"/>
                    <a:pt x="615" y="1168"/>
                  </a:cubicBezTo>
                  <a:cubicBezTo>
                    <a:pt x="615" y="1188"/>
                    <a:pt x="615" y="1188"/>
                    <a:pt x="615" y="1209"/>
                  </a:cubicBezTo>
                  <a:cubicBezTo>
                    <a:pt x="615" y="1209"/>
                    <a:pt x="615" y="1209"/>
                    <a:pt x="635" y="1209"/>
                  </a:cubicBezTo>
                  <a:lnTo>
                    <a:pt x="635" y="1188"/>
                  </a:lnTo>
                  <a:cubicBezTo>
                    <a:pt x="635" y="1168"/>
                    <a:pt x="635" y="1168"/>
                    <a:pt x="656" y="1168"/>
                  </a:cubicBezTo>
                  <a:lnTo>
                    <a:pt x="656" y="1188"/>
                  </a:lnTo>
                  <a:lnTo>
                    <a:pt x="656" y="1209"/>
                  </a:lnTo>
                  <a:cubicBezTo>
                    <a:pt x="656" y="1229"/>
                    <a:pt x="656" y="1229"/>
                    <a:pt x="656" y="1249"/>
                  </a:cubicBezTo>
                  <a:cubicBezTo>
                    <a:pt x="656" y="1249"/>
                    <a:pt x="677" y="1270"/>
                    <a:pt x="677" y="1291"/>
                  </a:cubicBezTo>
                  <a:cubicBezTo>
                    <a:pt x="697" y="1291"/>
                    <a:pt x="717" y="1270"/>
                    <a:pt x="717" y="1291"/>
                  </a:cubicBezTo>
                  <a:lnTo>
                    <a:pt x="717" y="1311"/>
                  </a:lnTo>
                  <a:lnTo>
                    <a:pt x="717" y="1331"/>
                  </a:lnTo>
                  <a:lnTo>
                    <a:pt x="697" y="1352"/>
                  </a:lnTo>
                  <a:cubicBezTo>
                    <a:pt x="697" y="1352"/>
                    <a:pt x="677" y="1352"/>
                    <a:pt x="656" y="1352"/>
                  </a:cubicBezTo>
                  <a:cubicBezTo>
                    <a:pt x="656" y="1352"/>
                    <a:pt x="656" y="1352"/>
                    <a:pt x="635" y="1352"/>
                  </a:cubicBezTo>
                  <a:lnTo>
                    <a:pt x="615" y="1352"/>
                  </a:lnTo>
                  <a:lnTo>
                    <a:pt x="595" y="1373"/>
                  </a:lnTo>
                  <a:lnTo>
                    <a:pt x="595" y="1373"/>
                  </a:lnTo>
                  <a:cubicBezTo>
                    <a:pt x="574" y="1373"/>
                    <a:pt x="574" y="1393"/>
                    <a:pt x="574" y="1393"/>
                  </a:cubicBezTo>
                  <a:cubicBezTo>
                    <a:pt x="574" y="1393"/>
                    <a:pt x="595" y="1393"/>
                    <a:pt x="595" y="1413"/>
                  </a:cubicBezTo>
                  <a:cubicBezTo>
                    <a:pt x="595" y="1413"/>
                    <a:pt x="595" y="1434"/>
                    <a:pt x="574" y="1434"/>
                  </a:cubicBezTo>
                  <a:cubicBezTo>
                    <a:pt x="574" y="1434"/>
                    <a:pt x="574" y="1434"/>
                    <a:pt x="553" y="1434"/>
                  </a:cubicBezTo>
                  <a:lnTo>
                    <a:pt x="533" y="1413"/>
                  </a:lnTo>
                  <a:cubicBezTo>
                    <a:pt x="513" y="1413"/>
                    <a:pt x="513" y="1413"/>
                    <a:pt x="513" y="1413"/>
                  </a:cubicBezTo>
                  <a:cubicBezTo>
                    <a:pt x="492" y="1413"/>
                    <a:pt x="492" y="1393"/>
                    <a:pt x="492" y="1393"/>
                  </a:cubicBezTo>
                  <a:cubicBezTo>
                    <a:pt x="472" y="1393"/>
                    <a:pt x="492" y="1373"/>
                    <a:pt x="492" y="1352"/>
                  </a:cubicBezTo>
                  <a:lnTo>
                    <a:pt x="492" y="1331"/>
                  </a:lnTo>
                  <a:lnTo>
                    <a:pt x="492" y="1311"/>
                  </a:lnTo>
                  <a:lnTo>
                    <a:pt x="513" y="1311"/>
                  </a:lnTo>
                  <a:cubicBezTo>
                    <a:pt x="513" y="1291"/>
                    <a:pt x="513" y="1270"/>
                    <a:pt x="513" y="1270"/>
                  </a:cubicBezTo>
                  <a:lnTo>
                    <a:pt x="492" y="1249"/>
                  </a:lnTo>
                  <a:cubicBezTo>
                    <a:pt x="492" y="1249"/>
                    <a:pt x="492" y="1249"/>
                    <a:pt x="472" y="1249"/>
                  </a:cubicBezTo>
                  <a:cubicBezTo>
                    <a:pt x="472" y="1229"/>
                    <a:pt x="472" y="1229"/>
                    <a:pt x="472" y="1209"/>
                  </a:cubicBezTo>
                  <a:cubicBezTo>
                    <a:pt x="451" y="1209"/>
                    <a:pt x="451" y="1209"/>
                    <a:pt x="431" y="1209"/>
                  </a:cubicBezTo>
                  <a:cubicBezTo>
                    <a:pt x="431" y="1209"/>
                    <a:pt x="431" y="1209"/>
                    <a:pt x="410" y="1209"/>
                  </a:cubicBezTo>
                  <a:lnTo>
                    <a:pt x="410" y="1168"/>
                  </a:lnTo>
                  <a:cubicBezTo>
                    <a:pt x="410" y="1147"/>
                    <a:pt x="390" y="1147"/>
                    <a:pt x="390" y="1127"/>
                  </a:cubicBezTo>
                  <a:lnTo>
                    <a:pt x="410" y="1106"/>
                  </a:lnTo>
                  <a:cubicBezTo>
                    <a:pt x="410" y="1086"/>
                    <a:pt x="431" y="1086"/>
                    <a:pt x="431" y="1065"/>
                  </a:cubicBezTo>
                  <a:lnTo>
                    <a:pt x="431" y="1045"/>
                  </a:lnTo>
                  <a:cubicBezTo>
                    <a:pt x="431" y="1024"/>
                    <a:pt x="431" y="1004"/>
                    <a:pt x="431" y="1004"/>
                  </a:cubicBezTo>
                  <a:cubicBezTo>
                    <a:pt x="431" y="983"/>
                    <a:pt x="431" y="963"/>
                    <a:pt x="431" y="963"/>
                  </a:cubicBezTo>
                  <a:cubicBezTo>
                    <a:pt x="410" y="963"/>
                    <a:pt x="410" y="942"/>
                    <a:pt x="410" y="942"/>
                  </a:cubicBezTo>
                  <a:cubicBezTo>
                    <a:pt x="390" y="942"/>
                    <a:pt x="390" y="942"/>
                    <a:pt x="369" y="963"/>
                  </a:cubicBezTo>
                  <a:lnTo>
                    <a:pt x="349" y="963"/>
                  </a:lnTo>
                  <a:cubicBezTo>
                    <a:pt x="328" y="963"/>
                    <a:pt x="328" y="983"/>
                    <a:pt x="328" y="983"/>
                  </a:cubicBezTo>
                  <a:cubicBezTo>
                    <a:pt x="308" y="983"/>
                    <a:pt x="308" y="1004"/>
                    <a:pt x="308" y="1004"/>
                  </a:cubicBezTo>
                  <a:cubicBezTo>
                    <a:pt x="308" y="1024"/>
                    <a:pt x="308" y="1045"/>
                    <a:pt x="308" y="1045"/>
                  </a:cubicBezTo>
                  <a:lnTo>
                    <a:pt x="308" y="1065"/>
                  </a:lnTo>
                  <a:cubicBezTo>
                    <a:pt x="308" y="1086"/>
                    <a:pt x="308" y="1086"/>
                    <a:pt x="308" y="1106"/>
                  </a:cubicBezTo>
                  <a:lnTo>
                    <a:pt x="308" y="1147"/>
                  </a:lnTo>
                  <a:cubicBezTo>
                    <a:pt x="308" y="1168"/>
                    <a:pt x="287" y="1188"/>
                    <a:pt x="287" y="1209"/>
                  </a:cubicBezTo>
                  <a:cubicBezTo>
                    <a:pt x="287" y="1229"/>
                    <a:pt x="287" y="1249"/>
                    <a:pt x="287" y="1270"/>
                  </a:cubicBezTo>
                  <a:cubicBezTo>
                    <a:pt x="308" y="1291"/>
                    <a:pt x="308" y="1331"/>
                    <a:pt x="308" y="1352"/>
                  </a:cubicBezTo>
                  <a:cubicBezTo>
                    <a:pt x="308" y="1352"/>
                    <a:pt x="308" y="1373"/>
                    <a:pt x="308" y="1393"/>
                  </a:cubicBezTo>
                  <a:lnTo>
                    <a:pt x="308" y="1413"/>
                  </a:lnTo>
                  <a:lnTo>
                    <a:pt x="287" y="1413"/>
                  </a:lnTo>
                  <a:cubicBezTo>
                    <a:pt x="287" y="1434"/>
                    <a:pt x="267" y="1434"/>
                    <a:pt x="267" y="1434"/>
                  </a:cubicBezTo>
                  <a:lnTo>
                    <a:pt x="267" y="1455"/>
                  </a:lnTo>
                  <a:cubicBezTo>
                    <a:pt x="267" y="1475"/>
                    <a:pt x="287" y="1495"/>
                    <a:pt x="287" y="1516"/>
                  </a:cubicBezTo>
                  <a:cubicBezTo>
                    <a:pt x="287" y="1537"/>
                    <a:pt x="267" y="1557"/>
                    <a:pt x="287" y="1557"/>
                  </a:cubicBezTo>
                  <a:lnTo>
                    <a:pt x="287" y="1557"/>
                  </a:lnTo>
                  <a:cubicBezTo>
                    <a:pt x="287" y="1577"/>
                    <a:pt x="308" y="1577"/>
                    <a:pt x="287" y="1598"/>
                  </a:cubicBezTo>
                  <a:cubicBezTo>
                    <a:pt x="287" y="1598"/>
                    <a:pt x="287" y="1598"/>
                    <a:pt x="267" y="1598"/>
                  </a:cubicBezTo>
                  <a:cubicBezTo>
                    <a:pt x="267" y="1598"/>
                    <a:pt x="267" y="1598"/>
                    <a:pt x="246" y="1598"/>
                  </a:cubicBezTo>
                  <a:cubicBezTo>
                    <a:pt x="246" y="1598"/>
                    <a:pt x="246" y="1598"/>
                    <a:pt x="226" y="1598"/>
                  </a:cubicBezTo>
                  <a:cubicBezTo>
                    <a:pt x="226" y="1598"/>
                    <a:pt x="226" y="1598"/>
                    <a:pt x="205" y="1598"/>
                  </a:cubicBezTo>
                  <a:cubicBezTo>
                    <a:pt x="205" y="1619"/>
                    <a:pt x="185" y="1619"/>
                    <a:pt x="164" y="1619"/>
                  </a:cubicBezTo>
                  <a:cubicBezTo>
                    <a:pt x="164" y="1619"/>
                    <a:pt x="144" y="1619"/>
                    <a:pt x="123" y="1598"/>
                  </a:cubicBezTo>
                  <a:lnTo>
                    <a:pt x="103" y="1577"/>
                  </a:lnTo>
                  <a:cubicBezTo>
                    <a:pt x="103" y="1557"/>
                    <a:pt x="103" y="1537"/>
                    <a:pt x="123" y="1516"/>
                  </a:cubicBezTo>
                  <a:cubicBezTo>
                    <a:pt x="123" y="1495"/>
                    <a:pt x="123" y="1475"/>
                    <a:pt x="123" y="1455"/>
                  </a:cubicBezTo>
                  <a:cubicBezTo>
                    <a:pt x="123" y="1455"/>
                    <a:pt x="144" y="1434"/>
                    <a:pt x="144" y="1413"/>
                  </a:cubicBezTo>
                  <a:cubicBezTo>
                    <a:pt x="144" y="1413"/>
                    <a:pt x="144" y="1393"/>
                    <a:pt x="144" y="1373"/>
                  </a:cubicBezTo>
                  <a:lnTo>
                    <a:pt x="144" y="1331"/>
                  </a:lnTo>
                  <a:cubicBezTo>
                    <a:pt x="164" y="1311"/>
                    <a:pt x="164" y="1270"/>
                    <a:pt x="164" y="1270"/>
                  </a:cubicBezTo>
                  <a:cubicBezTo>
                    <a:pt x="144" y="1249"/>
                    <a:pt x="144" y="1229"/>
                    <a:pt x="144" y="1229"/>
                  </a:cubicBezTo>
                  <a:cubicBezTo>
                    <a:pt x="144" y="1209"/>
                    <a:pt x="144" y="1188"/>
                    <a:pt x="144" y="1188"/>
                  </a:cubicBezTo>
                  <a:cubicBezTo>
                    <a:pt x="144" y="1168"/>
                    <a:pt x="144" y="1147"/>
                    <a:pt x="144" y="1147"/>
                  </a:cubicBezTo>
                  <a:lnTo>
                    <a:pt x="123" y="1127"/>
                  </a:lnTo>
                  <a:lnTo>
                    <a:pt x="103" y="1127"/>
                  </a:lnTo>
                  <a:cubicBezTo>
                    <a:pt x="103" y="1127"/>
                    <a:pt x="103" y="1147"/>
                    <a:pt x="82" y="1147"/>
                  </a:cubicBezTo>
                  <a:lnTo>
                    <a:pt x="62" y="1147"/>
                  </a:lnTo>
                  <a:cubicBezTo>
                    <a:pt x="41" y="1147"/>
                    <a:pt x="41" y="1147"/>
                    <a:pt x="21" y="1147"/>
                  </a:cubicBezTo>
                  <a:cubicBezTo>
                    <a:pt x="21" y="1127"/>
                    <a:pt x="21" y="1127"/>
                    <a:pt x="21" y="1106"/>
                  </a:cubicBezTo>
                  <a:lnTo>
                    <a:pt x="21" y="1086"/>
                  </a:lnTo>
                  <a:lnTo>
                    <a:pt x="0" y="1065"/>
                  </a:lnTo>
                  <a:cubicBezTo>
                    <a:pt x="0" y="1065"/>
                    <a:pt x="0" y="1045"/>
                    <a:pt x="21" y="1045"/>
                  </a:cubicBezTo>
                  <a:lnTo>
                    <a:pt x="21" y="1045"/>
                  </a:lnTo>
                  <a:cubicBezTo>
                    <a:pt x="21" y="1024"/>
                    <a:pt x="41" y="1024"/>
                    <a:pt x="41" y="1024"/>
                  </a:cubicBezTo>
                  <a:lnTo>
                    <a:pt x="41" y="1004"/>
                  </a:lnTo>
                  <a:cubicBezTo>
                    <a:pt x="41" y="1004"/>
                    <a:pt x="21" y="1004"/>
                    <a:pt x="21" y="983"/>
                  </a:cubicBezTo>
                  <a:lnTo>
                    <a:pt x="21" y="963"/>
                  </a:lnTo>
                  <a:cubicBezTo>
                    <a:pt x="21" y="963"/>
                    <a:pt x="21" y="942"/>
                    <a:pt x="41" y="942"/>
                  </a:cubicBezTo>
                  <a:lnTo>
                    <a:pt x="62" y="942"/>
                  </a:lnTo>
                  <a:lnTo>
                    <a:pt x="82" y="942"/>
                  </a:lnTo>
                  <a:lnTo>
                    <a:pt x="103" y="942"/>
                  </a:lnTo>
                  <a:lnTo>
                    <a:pt x="123" y="942"/>
                  </a:lnTo>
                  <a:cubicBezTo>
                    <a:pt x="123" y="922"/>
                    <a:pt x="144" y="922"/>
                    <a:pt x="144" y="922"/>
                  </a:cubicBezTo>
                  <a:cubicBezTo>
                    <a:pt x="144" y="901"/>
                    <a:pt x="144" y="860"/>
                    <a:pt x="144" y="840"/>
                  </a:cubicBezTo>
                  <a:lnTo>
                    <a:pt x="144" y="799"/>
                  </a:lnTo>
                  <a:cubicBezTo>
                    <a:pt x="144" y="778"/>
                    <a:pt x="123" y="758"/>
                    <a:pt x="123" y="737"/>
                  </a:cubicBezTo>
                  <a:cubicBezTo>
                    <a:pt x="123" y="737"/>
                    <a:pt x="123" y="717"/>
                    <a:pt x="123" y="696"/>
                  </a:cubicBezTo>
                  <a:cubicBezTo>
                    <a:pt x="123" y="696"/>
                    <a:pt x="123" y="676"/>
                    <a:pt x="123" y="655"/>
                  </a:cubicBezTo>
                  <a:cubicBezTo>
                    <a:pt x="123" y="655"/>
                    <a:pt x="123" y="614"/>
                    <a:pt x="144" y="614"/>
                  </a:cubicBezTo>
                  <a:cubicBezTo>
                    <a:pt x="144" y="594"/>
                    <a:pt x="144" y="573"/>
                    <a:pt x="164" y="573"/>
                  </a:cubicBezTo>
                  <a:cubicBezTo>
                    <a:pt x="164" y="553"/>
                    <a:pt x="185" y="553"/>
                    <a:pt x="185" y="532"/>
                  </a:cubicBezTo>
                  <a:cubicBezTo>
                    <a:pt x="185" y="532"/>
                    <a:pt x="205" y="512"/>
                    <a:pt x="205" y="491"/>
                  </a:cubicBezTo>
                  <a:cubicBezTo>
                    <a:pt x="205" y="491"/>
                    <a:pt x="205" y="471"/>
                    <a:pt x="205" y="450"/>
                  </a:cubicBezTo>
                  <a:lnTo>
                    <a:pt x="205" y="410"/>
                  </a:lnTo>
                  <a:cubicBezTo>
                    <a:pt x="205" y="389"/>
                    <a:pt x="205" y="368"/>
                    <a:pt x="205" y="348"/>
                  </a:cubicBezTo>
                  <a:lnTo>
                    <a:pt x="205" y="328"/>
                  </a:lnTo>
                  <a:cubicBezTo>
                    <a:pt x="226" y="328"/>
                    <a:pt x="226" y="348"/>
                    <a:pt x="226" y="348"/>
                  </a:cubicBezTo>
                  <a:lnTo>
                    <a:pt x="246" y="328"/>
                  </a:lnTo>
                  <a:lnTo>
                    <a:pt x="246" y="286"/>
                  </a:lnTo>
                  <a:cubicBezTo>
                    <a:pt x="246" y="266"/>
                    <a:pt x="267" y="266"/>
                    <a:pt x="267" y="246"/>
                  </a:cubicBezTo>
                  <a:lnTo>
                    <a:pt x="267" y="204"/>
                  </a:lnTo>
                  <a:cubicBezTo>
                    <a:pt x="267" y="184"/>
                    <a:pt x="287" y="164"/>
                    <a:pt x="287" y="164"/>
                  </a:cubicBezTo>
                  <a:lnTo>
                    <a:pt x="308" y="143"/>
                  </a:lnTo>
                  <a:lnTo>
                    <a:pt x="328" y="143"/>
                  </a:lnTo>
                  <a:lnTo>
                    <a:pt x="328" y="164"/>
                  </a:lnTo>
                  <a:cubicBezTo>
                    <a:pt x="349" y="164"/>
                    <a:pt x="349" y="164"/>
                    <a:pt x="349" y="164"/>
                  </a:cubicBezTo>
                  <a:cubicBezTo>
                    <a:pt x="369" y="164"/>
                    <a:pt x="369" y="143"/>
                    <a:pt x="369" y="143"/>
                  </a:cubicBezTo>
                  <a:lnTo>
                    <a:pt x="390" y="122"/>
                  </a:lnTo>
                  <a:lnTo>
                    <a:pt x="390" y="102"/>
                  </a:lnTo>
                  <a:cubicBezTo>
                    <a:pt x="390" y="82"/>
                    <a:pt x="390" y="82"/>
                    <a:pt x="410" y="61"/>
                  </a:cubicBezTo>
                  <a:cubicBezTo>
                    <a:pt x="410" y="61"/>
                    <a:pt x="431" y="61"/>
                    <a:pt x="451" y="61"/>
                  </a:cubicBezTo>
                  <a:cubicBezTo>
                    <a:pt x="451" y="61"/>
                    <a:pt x="472" y="61"/>
                    <a:pt x="492" y="61"/>
                  </a:cubicBezTo>
                  <a:lnTo>
                    <a:pt x="492" y="61"/>
                  </a:lnTo>
                  <a:cubicBezTo>
                    <a:pt x="513" y="82"/>
                    <a:pt x="492" y="82"/>
                    <a:pt x="513" y="102"/>
                  </a:cubicBezTo>
                  <a:lnTo>
                    <a:pt x="533" y="122"/>
                  </a:lnTo>
                  <a:cubicBezTo>
                    <a:pt x="553" y="122"/>
                    <a:pt x="574" y="122"/>
                    <a:pt x="574" y="122"/>
                  </a:cubicBezTo>
                  <a:cubicBezTo>
                    <a:pt x="595" y="122"/>
                    <a:pt x="615" y="122"/>
                    <a:pt x="635" y="122"/>
                  </a:cubicBezTo>
                  <a:cubicBezTo>
                    <a:pt x="635" y="122"/>
                    <a:pt x="656" y="143"/>
                    <a:pt x="677" y="143"/>
                  </a:cubicBezTo>
                  <a:lnTo>
                    <a:pt x="697" y="143"/>
                  </a:lnTo>
                  <a:cubicBezTo>
                    <a:pt x="717" y="143"/>
                    <a:pt x="738" y="143"/>
                    <a:pt x="738" y="143"/>
                  </a:cubicBezTo>
                  <a:cubicBezTo>
                    <a:pt x="759" y="143"/>
                    <a:pt x="779" y="143"/>
                    <a:pt x="799" y="143"/>
                  </a:cubicBezTo>
                  <a:cubicBezTo>
                    <a:pt x="820" y="143"/>
                    <a:pt x="861" y="143"/>
                    <a:pt x="861" y="143"/>
                  </a:cubicBezTo>
                  <a:cubicBezTo>
                    <a:pt x="881" y="143"/>
                    <a:pt x="902" y="143"/>
                    <a:pt x="923" y="143"/>
                  </a:cubicBezTo>
                  <a:cubicBezTo>
                    <a:pt x="943" y="143"/>
                    <a:pt x="963" y="122"/>
                    <a:pt x="963" y="102"/>
                  </a:cubicBezTo>
                  <a:cubicBezTo>
                    <a:pt x="984" y="102"/>
                    <a:pt x="1005" y="82"/>
                    <a:pt x="1005" y="61"/>
                  </a:cubicBezTo>
                  <a:cubicBezTo>
                    <a:pt x="1025" y="61"/>
                    <a:pt x="1045" y="40"/>
                    <a:pt x="1045" y="20"/>
                  </a:cubicBezTo>
                  <a:cubicBezTo>
                    <a:pt x="1045" y="20"/>
                    <a:pt x="1066" y="20"/>
                    <a:pt x="1087" y="0"/>
                  </a:cubicBezTo>
                  <a:lnTo>
                    <a:pt x="1127" y="0"/>
                  </a:lnTo>
                  <a:cubicBezTo>
                    <a:pt x="1148" y="0"/>
                    <a:pt x="1148" y="20"/>
                    <a:pt x="1148" y="20"/>
                  </a:cubicBezTo>
                  <a:lnTo>
                    <a:pt x="1169" y="40"/>
                  </a:lnTo>
                  <a:cubicBezTo>
                    <a:pt x="1169" y="40"/>
                    <a:pt x="1169" y="61"/>
                    <a:pt x="1148" y="61"/>
                  </a:cubicBezTo>
                  <a:cubicBezTo>
                    <a:pt x="1148" y="61"/>
                    <a:pt x="1148" y="82"/>
                    <a:pt x="1148" y="102"/>
                  </a:cubicBezTo>
                  <a:cubicBezTo>
                    <a:pt x="1148" y="102"/>
                    <a:pt x="1148" y="122"/>
                    <a:pt x="1127" y="122"/>
                  </a:cubicBezTo>
                  <a:cubicBezTo>
                    <a:pt x="1127" y="143"/>
                    <a:pt x="1107" y="143"/>
                    <a:pt x="1107" y="143"/>
                  </a:cubicBezTo>
                  <a:cubicBezTo>
                    <a:pt x="1087" y="164"/>
                    <a:pt x="1066" y="164"/>
                    <a:pt x="1066" y="164"/>
                  </a:cubicBezTo>
                  <a:cubicBezTo>
                    <a:pt x="1066" y="184"/>
                    <a:pt x="1045" y="204"/>
                    <a:pt x="1045" y="204"/>
                  </a:cubicBezTo>
                  <a:cubicBezTo>
                    <a:pt x="1045" y="204"/>
                    <a:pt x="1045" y="225"/>
                    <a:pt x="1025" y="246"/>
                  </a:cubicBezTo>
                  <a:lnTo>
                    <a:pt x="1005" y="246"/>
                  </a:lnTo>
                  <a:cubicBezTo>
                    <a:pt x="984" y="266"/>
                    <a:pt x="943" y="266"/>
                    <a:pt x="923" y="266"/>
                  </a:cubicBezTo>
                  <a:cubicBezTo>
                    <a:pt x="902" y="266"/>
                    <a:pt x="861" y="266"/>
                    <a:pt x="841" y="266"/>
                  </a:cubicBezTo>
                  <a:cubicBezTo>
                    <a:pt x="820" y="266"/>
                    <a:pt x="779" y="266"/>
                    <a:pt x="759" y="246"/>
                  </a:cubicBezTo>
                  <a:cubicBezTo>
                    <a:pt x="738" y="246"/>
                    <a:pt x="717" y="246"/>
                    <a:pt x="697" y="246"/>
                  </a:cubicBezTo>
                  <a:lnTo>
                    <a:pt x="656" y="246"/>
                  </a:lnTo>
                  <a:cubicBezTo>
                    <a:pt x="635" y="246"/>
                    <a:pt x="595" y="246"/>
                    <a:pt x="574" y="246"/>
                  </a:cubicBezTo>
                  <a:cubicBezTo>
                    <a:pt x="553" y="246"/>
                    <a:pt x="533" y="246"/>
                    <a:pt x="513" y="246"/>
                  </a:cubicBezTo>
                  <a:cubicBezTo>
                    <a:pt x="492" y="246"/>
                    <a:pt x="451" y="246"/>
                    <a:pt x="431" y="246"/>
                  </a:cubicBezTo>
                  <a:cubicBezTo>
                    <a:pt x="431" y="246"/>
                    <a:pt x="390" y="266"/>
                    <a:pt x="369" y="266"/>
                  </a:cubicBezTo>
                  <a:lnTo>
                    <a:pt x="349" y="246"/>
                  </a:lnTo>
                  <a:cubicBezTo>
                    <a:pt x="328" y="246"/>
                    <a:pt x="328" y="266"/>
                    <a:pt x="308" y="266"/>
                  </a:cubicBezTo>
                  <a:cubicBezTo>
                    <a:pt x="308" y="266"/>
                    <a:pt x="308" y="286"/>
                    <a:pt x="308" y="307"/>
                  </a:cubicBezTo>
                  <a:cubicBezTo>
                    <a:pt x="308" y="307"/>
                    <a:pt x="287" y="328"/>
                    <a:pt x="287" y="348"/>
                  </a:cubicBezTo>
                  <a:lnTo>
                    <a:pt x="287" y="368"/>
                  </a:lnTo>
                  <a:cubicBezTo>
                    <a:pt x="287" y="389"/>
                    <a:pt x="287" y="389"/>
                    <a:pt x="287" y="410"/>
                  </a:cubicBezTo>
                  <a:lnTo>
                    <a:pt x="308" y="450"/>
                  </a:lnTo>
                  <a:cubicBezTo>
                    <a:pt x="308" y="471"/>
                    <a:pt x="308" y="491"/>
                    <a:pt x="308" y="512"/>
                  </a:cubicBezTo>
                  <a:cubicBezTo>
                    <a:pt x="308" y="512"/>
                    <a:pt x="287" y="512"/>
                    <a:pt x="308" y="532"/>
                  </a:cubicBezTo>
                  <a:lnTo>
                    <a:pt x="328" y="532"/>
                  </a:lnTo>
                  <a:lnTo>
                    <a:pt x="349" y="553"/>
                  </a:lnTo>
                  <a:lnTo>
                    <a:pt x="369" y="573"/>
                  </a:lnTo>
                  <a:cubicBezTo>
                    <a:pt x="369" y="573"/>
                    <a:pt x="369" y="594"/>
                    <a:pt x="369" y="614"/>
                  </a:cubicBezTo>
                  <a:lnTo>
                    <a:pt x="349" y="614"/>
                  </a:lnTo>
                  <a:cubicBezTo>
                    <a:pt x="349" y="635"/>
                    <a:pt x="349" y="635"/>
                    <a:pt x="369" y="635"/>
                  </a:cubicBezTo>
                  <a:cubicBezTo>
                    <a:pt x="369" y="655"/>
                    <a:pt x="390" y="655"/>
                    <a:pt x="390" y="655"/>
                  </a:cubicBezTo>
                  <a:cubicBezTo>
                    <a:pt x="410" y="655"/>
                    <a:pt x="431" y="635"/>
                    <a:pt x="431" y="635"/>
                  </a:cubicBezTo>
                  <a:cubicBezTo>
                    <a:pt x="451" y="635"/>
                    <a:pt x="451" y="635"/>
                    <a:pt x="451" y="63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6" name="Freeform 403">
              <a:extLst>
                <a:ext uri="{FF2B5EF4-FFF2-40B4-BE49-F238E27FC236}">
                  <a16:creationId xmlns:a16="http://schemas.microsoft.com/office/drawing/2014/main" id="{9EDE7ABA-D252-EA42-9BF5-705832030B86}"/>
                </a:ext>
              </a:extLst>
            </p:cNvPr>
            <p:cNvSpPr>
              <a:spLocks noChangeArrowheads="1"/>
            </p:cNvSpPr>
            <p:nvPr/>
          </p:nvSpPr>
          <p:spPr bwMode="auto">
            <a:xfrm>
              <a:off x="5943600" y="8116888"/>
              <a:ext cx="7938" cy="15875"/>
            </a:xfrm>
            <a:custGeom>
              <a:avLst/>
              <a:gdLst>
                <a:gd name="T0" fmla="*/ 21 w 22"/>
                <a:gd name="T1" fmla="*/ 41 h 42"/>
                <a:gd name="T2" fmla="*/ 21 w 22"/>
                <a:gd name="T3" fmla="*/ 41 h 42"/>
                <a:gd name="T4" fmla="*/ 0 w 22"/>
                <a:gd name="T5" fmla="*/ 41 h 42"/>
                <a:gd name="T6" fmla="*/ 0 w 22"/>
                <a:gd name="T7" fmla="*/ 20 h 42"/>
                <a:gd name="T8" fmla="*/ 0 w 22"/>
                <a:gd name="T9" fmla="*/ 20 h 42"/>
                <a:gd name="T10" fmla="*/ 21 w 22"/>
                <a:gd name="T11" fmla="*/ 20 h 42"/>
                <a:gd name="T12" fmla="*/ 21 w 22"/>
                <a:gd name="T13" fmla="*/ 20 h 42"/>
                <a:gd name="T14" fmla="*/ 21 w 2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21" y="41"/>
                  </a:moveTo>
                  <a:lnTo>
                    <a:pt x="21" y="41"/>
                  </a:lnTo>
                  <a:lnTo>
                    <a:pt x="0" y="41"/>
                  </a:lnTo>
                  <a:lnTo>
                    <a:pt x="0" y="20"/>
                  </a:lnTo>
                  <a:lnTo>
                    <a:pt x="0" y="20"/>
                  </a:lnTo>
                  <a:cubicBezTo>
                    <a:pt x="0" y="0"/>
                    <a:pt x="0" y="0"/>
                    <a:pt x="21" y="20"/>
                  </a:cubicBezTo>
                  <a:lnTo>
                    <a:pt x="21" y="20"/>
                  </a:lnTo>
                  <a:cubicBezTo>
                    <a:pt x="21" y="20"/>
                    <a:pt x="21" y="20"/>
                    <a:pt x="2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7" name="Freeform 404">
              <a:extLst>
                <a:ext uri="{FF2B5EF4-FFF2-40B4-BE49-F238E27FC236}">
                  <a16:creationId xmlns:a16="http://schemas.microsoft.com/office/drawing/2014/main" id="{FCAC7720-3F0F-8440-A0EF-AF3DFFD2838B}"/>
                </a:ext>
              </a:extLst>
            </p:cNvPr>
            <p:cNvSpPr>
              <a:spLocks noChangeArrowheads="1"/>
            </p:cNvSpPr>
            <p:nvPr/>
          </p:nvSpPr>
          <p:spPr bwMode="auto">
            <a:xfrm>
              <a:off x="5951538" y="8131175"/>
              <a:ext cx="7937" cy="7938"/>
            </a:xfrm>
            <a:custGeom>
              <a:avLst/>
              <a:gdLst>
                <a:gd name="T0" fmla="*/ 20 w 21"/>
                <a:gd name="T1" fmla="*/ 0 h 21"/>
                <a:gd name="T2" fmla="*/ 20 w 21"/>
                <a:gd name="T3" fmla="*/ 0 h 21"/>
                <a:gd name="T4" fmla="*/ 0 w 21"/>
                <a:gd name="T5" fmla="*/ 20 h 21"/>
                <a:gd name="T6" fmla="*/ 20 w 21"/>
                <a:gd name="T7" fmla="*/ 20 h 21"/>
                <a:gd name="T8" fmla="*/ 20 w 21"/>
                <a:gd name="T9" fmla="*/ 20 h 21"/>
                <a:gd name="T10" fmla="*/ 20 w 21"/>
                <a:gd name="T11" fmla="*/ 0 h 21"/>
              </a:gdLst>
              <a:ahLst/>
              <a:cxnLst>
                <a:cxn ang="0">
                  <a:pos x="T0" y="T1"/>
                </a:cxn>
                <a:cxn ang="0">
                  <a:pos x="T2" y="T3"/>
                </a:cxn>
                <a:cxn ang="0">
                  <a:pos x="T4" y="T5"/>
                </a:cxn>
                <a:cxn ang="0">
                  <a:pos x="T6" y="T7"/>
                </a:cxn>
                <a:cxn ang="0">
                  <a:pos x="T8" y="T9"/>
                </a:cxn>
                <a:cxn ang="0">
                  <a:pos x="T10" y="T11"/>
                </a:cxn>
              </a:cxnLst>
              <a:rect l="0" t="0" r="r" b="b"/>
              <a:pathLst>
                <a:path w="21" h="21">
                  <a:moveTo>
                    <a:pt x="20" y="0"/>
                  </a:moveTo>
                  <a:lnTo>
                    <a:pt x="20" y="0"/>
                  </a:lnTo>
                  <a:cubicBezTo>
                    <a:pt x="0" y="0"/>
                    <a:pt x="0" y="0"/>
                    <a:pt x="0" y="20"/>
                  </a:cubicBezTo>
                  <a:lnTo>
                    <a:pt x="20" y="20"/>
                  </a:lnTo>
                  <a:lnTo>
                    <a:pt x="20" y="2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8" name="Freeform 405">
              <a:extLst>
                <a:ext uri="{FF2B5EF4-FFF2-40B4-BE49-F238E27FC236}">
                  <a16:creationId xmlns:a16="http://schemas.microsoft.com/office/drawing/2014/main" id="{0E12A808-A732-EA46-ABBE-3B5A46FAF51F}"/>
                </a:ext>
              </a:extLst>
            </p:cNvPr>
            <p:cNvSpPr>
              <a:spLocks noChangeArrowheads="1"/>
            </p:cNvSpPr>
            <p:nvPr/>
          </p:nvSpPr>
          <p:spPr bwMode="auto">
            <a:xfrm>
              <a:off x="5965825" y="8145463"/>
              <a:ext cx="7938" cy="7937"/>
            </a:xfrm>
            <a:custGeom>
              <a:avLst/>
              <a:gdLst>
                <a:gd name="T0" fmla="*/ 0 w 21"/>
                <a:gd name="T1" fmla="*/ 0 h 21"/>
                <a:gd name="T2" fmla="*/ 0 w 21"/>
                <a:gd name="T3" fmla="*/ 0 h 21"/>
                <a:gd name="T4" fmla="*/ 0 w 21"/>
                <a:gd name="T5" fmla="*/ 0 h 21"/>
                <a:gd name="T6" fmla="*/ 0 w 21"/>
                <a:gd name="T7" fmla="*/ 20 h 21"/>
                <a:gd name="T8" fmla="*/ 0 w 21"/>
                <a:gd name="T9" fmla="*/ 20 h 21"/>
                <a:gd name="T10" fmla="*/ 20 w 21"/>
                <a:gd name="T11" fmla="*/ 20 h 21"/>
                <a:gd name="T12" fmla="*/ 20 w 21"/>
                <a:gd name="T13" fmla="*/ 0 h 21"/>
                <a:gd name="T14" fmla="*/ 0 w 2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0"/>
                  </a:moveTo>
                  <a:lnTo>
                    <a:pt x="0" y="0"/>
                  </a:lnTo>
                  <a:lnTo>
                    <a:pt x="0" y="0"/>
                  </a:lnTo>
                  <a:cubicBezTo>
                    <a:pt x="0" y="20"/>
                    <a:pt x="0" y="20"/>
                    <a:pt x="0" y="20"/>
                  </a:cubicBezTo>
                  <a:lnTo>
                    <a:pt x="0" y="20"/>
                  </a:lnTo>
                  <a:cubicBezTo>
                    <a:pt x="20" y="20"/>
                    <a:pt x="20" y="20"/>
                    <a:pt x="20" y="20"/>
                  </a:cubicBezTo>
                  <a:cubicBezTo>
                    <a:pt x="20" y="0"/>
                    <a:pt x="20" y="0"/>
                    <a:pt x="20" y="0"/>
                  </a:cubicBezTo>
                  <a:cubicBezTo>
                    <a:pt x="0"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09" name="Freeform 406">
              <a:extLst>
                <a:ext uri="{FF2B5EF4-FFF2-40B4-BE49-F238E27FC236}">
                  <a16:creationId xmlns:a16="http://schemas.microsoft.com/office/drawing/2014/main" id="{BB9D264B-8261-2D42-BE80-2E1886C0F885}"/>
                </a:ext>
              </a:extLst>
            </p:cNvPr>
            <p:cNvSpPr>
              <a:spLocks noChangeArrowheads="1"/>
            </p:cNvSpPr>
            <p:nvPr/>
          </p:nvSpPr>
          <p:spPr bwMode="auto">
            <a:xfrm>
              <a:off x="5921375" y="8145463"/>
              <a:ext cx="7938" cy="15875"/>
            </a:xfrm>
            <a:custGeom>
              <a:avLst/>
              <a:gdLst>
                <a:gd name="T0" fmla="*/ 20 w 21"/>
                <a:gd name="T1" fmla="*/ 20 h 42"/>
                <a:gd name="T2" fmla="*/ 20 w 21"/>
                <a:gd name="T3" fmla="*/ 20 h 42"/>
                <a:gd name="T4" fmla="*/ 20 w 21"/>
                <a:gd name="T5" fmla="*/ 41 h 42"/>
                <a:gd name="T6" fmla="*/ 0 w 21"/>
                <a:gd name="T7" fmla="*/ 20 h 42"/>
                <a:gd name="T8" fmla="*/ 0 w 21"/>
                <a:gd name="T9" fmla="*/ 0 h 42"/>
                <a:gd name="T10" fmla="*/ 20 w 21"/>
                <a:gd name="T11" fmla="*/ 0 h 42"/>
                <a:gd name="T12" fmla="*/ 20 w 21"/>
                <a:gd name="T13" fmla="*/ 0 h 42"/>
                <a:gd name="T14" fmla="*/ 20 w 21"/>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20"/>
                  </a:moveTo>
                  <a:lnTo>
                    <a:pt x="20" y="20"/>
                  </a:lnTo>
                  <a:lnTo>
                    <a:pt x="20" y="41"/>
                  </a:lnTo>
                  <a:cubicBezTo>
                    <a:pt x="0" y="41"/>
                    <a:pt x="0" y="20"/>
                    <a:pt x="0" y="20"/>
                  </a:cubicBezTo>
                  <a:lnTo>
                    <a:pt x="0" y="0"/>
                  </a:lnTo>
                  <a:lnTo>
                    <a:pt x="20" y="0"/>
                  </a:lnTo>
                  <a:lnTo>
                    <a:pt x="20" y="0"/>
                  </a:lnTo>
                  <a:cubicBezTo>
                    <a:pt x="20" y="20"/>
                    <a:pt x="20"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0" name="Freeform 407">
              <a:extLst>
                <a:ext uri="{FF2B5EF4-FFF2-40B4-BE49-F238E27FC236}">
                  <a16:creationId xmlns:a16="http://schemas.microsoft.com/office/drawing/2014/main" id="{6D7A1EBC-180E-B54B-BFD5-8C5C90836367}"/>
                </a:ext>
              </a:extLst>
            </p:cNvPr>
            <p:cNvSpPr>
              <a:spLocks noChangeArrowheads="1"/>
            </p:cNvSpPr>
            <p:nvPr/>
          </p:nvSpPr>
          <p:spPr bwMode="auto">
            <a:xfrm>
              <a:off x="5937250" y="8159750"/>
              <a:ext cx="7938" cy="7938"/>
            </a:xfrm>
            <a:custGeom>
              <a:avLst/>
              <a:gdLst>
                <a:gd name="T0" fmla="*/ 0 w 21"/>
                <a:gd name="T1" fmla="*/ 0 h 21"/>
                <a:gd name="T2" fmla="*/ 0 w 21"/>
                <a:gd name="T3" fmla="*/ 0 h 21"/>
                <a:gd name="T4" fmla="*/ 0 w 21"/>
                <a:gd name="T5" fmla="*/ 0 h 21"/>
                <a:gd name="T6" fmla="*/ 0 w 21"/>
                <a:gd name="T7" fmla="*/ 20 h 21"/>
                <a:gd name="T8" fmla="*/ 0 w 21"/>
                <a:gd name="T9" fmla="*/ 20 h 21"/>
                <a:gd name="T10" fmla="*/ 20 w 21"/>
                <a:gd name="T11" fmla="*/ 20 h 21"/>
                <a:gd name="T12" fmla="*/ 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0"/>
                  </a:moveTo>
                  <a:lnTo>
                    <a:pt x="0" y="0"/>
                  </a:lnTo>
                  <a:lnTo>
                    <a:pt x="0" y="0"/>
                  </a:lnTo>
                  <a:lnTo>
                    <a:pt x="0" y="20"/>
                  </a:lnTo>
                  <a:lnTo>
                    <a:pt x="0" y="20"/>
                  </a:lnTo>
                  <a:lnTo>
                    <a:pt x="20" y="20"/>
                  </a:lnTo>
                  <a:cubicBezTo>
                    <a:pt x="20"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1" name="Freeform 408">
              <a:extLst>
                <a:ext uri="{FF2B5EF4-FFF2-40B4-BE49-F238E27FC236}">
                  <a16:creationId xmlns:a16="http://schemas.microsoft.com/office/drawing/2014/main" id="{9D3DED52-AD42-C14D-9165-448109732788}"/>
                </a:ext>
              </a:extLst>
            </p:cNvPr>
            <p:cNvSpPr>
              <a:spLocks noChangeArrowheads="1"/>
            </p:cNvSpPr>
            <p:nvPr/>
          </p:nvSpPr>
          <p:spPr bwMode="auto">
            <a:xfrm>
              <a:off x="5943600" y="8145463"/>
              <a:ext cx="7938" cy="7937"/>
            </a:xfrm>
            <a:custGeom>
              <a:avLst/>
              <a:gdLst>
                <a:gd name="T0" fmla="*/ 21 w 22"/>
                <a:gd name="T1" fmla="*/ 20 h 21"/>
                <a:gd name="T2" fmla="*/ 21 w 22"/>
                <a:gd name="T3" fmla="*/ 20 h 21"/>
                <a:gd name="T4" fmla="*/ 21 w 22"/>
                <a:gd name="T5" fmla="*/ 20 h 21"/>
                <a:gd name="T6" fmla="*/ 21 w 22"/>
                <a:gd name="T7" fmla="*/ 0 h 21"/>
                <a:gd name="T8" fmla="*/ 0 w 22"/>
                <a:gd name="T9" fmla="*/ 0 h 21"/>
                <a:gd name="T10" fmla="*/ 0 w 22"/>
                <a:gd name="T11" fmla="*/ 0 h 21"/>
                <a:gd name="T12" fmla="*/ 0 w 22"/>
                <a:gd name="T13" fmla="*/ 0 h 21"/>
                <a:gd name="T14" fmla="*/ 21 w 22"/>
                <a:gd name="T15" fmla="*/ 0 h 21"/>
                <a:gd name="T16" fmla="*/ 21 w 22"/>
                <a:gd name="T17" fmla="*/ 0 h 21"/>
                <a:gd name="T18" fmla="*/ 21 w 22"/>
                <a:gd name="T19"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21" y="20"/>
                  </a:moveTo>
                  <a:lnTo>
                    <a:pt x="21" y="20"/>
                  </a:lnTo>
                  <a:lnTo>
                    <a:pt x="21" y="20"/>
                  </a:lnTo>
                  <a:lnTo>
                    <a:pt x="21" y="0"/>
                  </a:lnTo>
                  <a:cubicBezTo>
                    <a:pt x="0" y="0"/>
                    <a:pt x="0" y="0"/>
                    <a:pt x="0" y="0"/>
                  </a:cubicBezTo>
                  <a:lnTo>
                    <a:pt x="0" y="0"/>
                  </a:lnTo>
                  <a:lnTo>
                    <a:pt x="0" y="0"/>
                  </a:lnTo>
                  <a:lnTo>
                    <a:pt x="21" y="0"/>
                  </a:lnTo>
                  <a:lnTo>
                    <a:pt x="21" y="0"/>
                  </a:ln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2" name="Freeform 409">
              <a:extLst>
                <a:ext uri="{FF2B5EF4-FFF2-40B4-BE49-F238E27FC236}">
                  <a16:creationId xmlns:a16="http://schemas.microsoft.com/office/drawing/2014/main" id="{01C4D08F-6404-D441-B146-B06F3C0ECDFC}"/>
                </a:ext>
              </a:extLst>
            </p:cNvPr>
            <p:cNvSpPr>
              <a:spLocks noChangeArrowheads="1"/>
            </p:cNvSpPr>
            <p:nvPr/>
          </p:nvSpPr>
          <p:spPr bwMode="auto">
            <a:xfrm>
              <a:off x="5951538" y="8159750"/>
              <a:ext cx="7937" cy="7938"/>
            </a:xfrm>
            <a:custGeom>
              <a:avLst/>
              <a:gdLst>
                <a:gd name="T0" fmla="*/ 0 w 21"/>
                <a:gd name="T1" fmla="*/ 0 h 21"/>
                <a:gd name="T2" fmla="*/ 0 w 21"/>
                <a:gd name="T3" fmla="*/ 0 h 21"/>
                <a:gd name="T4" fmla="*/ 0 w 21"/>
                <a:gd name="T5" fmla="*/ 0 h 21"/>
                <a:gd name="T6" fmla="*/ 0 w 21"/>
                <a:gd name="T7" fmla="*/ 20 h 21"/>
                <a:gd name="T8" fmla="*/ 20 w 21"/>
                <a:gd name="T9" fmla="*/ 0 h 21"/>
                <a:gd name="T10" fmla="*/ 20 w 21"/>
                <a:gd name="T11" fmla="*/ 0 h 21"/>
                <a:gd name="T12" fmla="*/ 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0"/>
                  </a:moveTo>
                  <a:lnTo>
                    <a:pt x="0" y="0"/>
                  </a:lnTo>
                  <a:lnTo>
                    <a:pt x="0" y="0"/>
                  </a:lnTo>
                  <a:lnTo>
                    <a:pt x="0" y="20"/>
                  </a:lnTo>
                  <a:cubicBezTo>
                    <a:pt x="20" y="20"/>
                    <a:pt x="20" y="20"/>
                    <a:pt x="20" y="0"/>
                  </a:cubicBezTo>
                  <a:lnTo>
                    <a:pt x="20" y="0"/>
                  </a:lnTo>
                  <a:cubicBezTo>
                    <a:pt x="20" y="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3" name="Freeform 410">
              <a:extLst>
                <a:ext uri="{FF2B5EF4-FFF2-40B4-BE49-F238E27FC236}">
                  <a16:creationId xmlns:a16="http://schemas.microsoft.com/office/drawing/2014/main" id="{5DAAAB09-F97C-E44E-A8EF-2F23038516D4}"/>
                </a:ext>
              </a:extLst>
            </p:cNvPr>
            <p:cNvSpPr>
              <a:spLocks noChangeArrowheads="1"/>
            </p:cNvSpPr>
            <p:nvPr/>
          </p:nvSpPr>
          <p:spPr bwMode="auto">
            <a:xfrm>
              <a:off x="5929313" y="8131175"/>
              <a:ext cx="7937" cy="7938"/>
            </a:xfrm>
            <a:custGeom>
              <a:avLst/>
              <a:gdLst>
                <a:gd name="T0" fmla="*/ 21 w 22"/>
                <a:gd name="T1" fmla="*/ 20 h 21"/>
                <a:gd name="T2" fmla="*/ 21 w 22"/>
                <a:gd name="T3" fmla="*/ 20 h 21"/>
                <a:gd name="T4" fmla="*/ 0 w 22"/>
                <a:gd name="T5" fmla="*/ 20 h 21"/>
                <a:gd name="T6" fmla="*/ 0 w 22"/>
                <a:gd name="T7" fmla="*/ 0 h 21"/>
                <a:gd name="T8" fmla="*/ 0 w 22"/>
                <a:gd name="T9" fmla="*/ 0 h 21"/>
                <a:gd name="T10" fmla="*/ 21 w 22"/>
                <a:gd name="T11" fmla="*/ 0 h 21"/>
                <a:gd name="T12" fmla="*/ 21 w 2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20"/>
                  </a:moveTo>
                  <a:lnTo>
                    <a:pt x="21" y="20"/>
                  </a:lnTo>
                  <a:lnTo>
                    <a:pt x="0" y="20"/>
                  </a:lnTo>
                  <a:cubicBezTo>
                    <a:pt x="0" y="20"/>
                    <a:pt x="0" y="20"/>
                    <a:pt x="0" y="0"/>
                  </a:cubicBezTo>
                  <a:lnTo>
                    <a:pt x="0" y="0"/>
                  </a:lnTo>
                  <a:cubicBezTo>
                    <a:pt x="21" y="0"/>
                    <a:pt x="21" y="0"/>
                    <a:pt x="21" y="0"/>
                  </a:cubicBezTo>
                  <a:cubicBezTo>
                    <a:pt x="21" y="20"/>
                    <a:pt x="21" y="2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4" name="Freeform 411">
              <a:extLst>
                <a:ext uri="{FF2B5EF4-FFF2-40B4-BE49-F238E27FC236}">
                  <a16:creationId xmlns:a16="http://schemas.microsoft.com/office/drawing/2014/main" id="{623CABCE-98D3-C74F-9856-62D324AD284D}"/>
                </a:ext>
              </a:extLst>
            </p:cNvPr>
            <p:cNvSpPr>
              <a:spLocks noChangeArrowheads="1"/>
            </p:cNvSpPr>
            <p:nvPr/>
          </p:nvSpPr>
          <p:spPr bwMode="auto">
            <a:xfrm>
              <a:off x="6040438" y="7842250"/>
              <a:ext cx="7937" cy="7938"/>
            </a:xfrm>
            <a:custGeom>
              <a:avLst/>
              <a:gdLst>
                <a:gd name="T0" fmla="*/ 20 w 21"/>
                <a:gd name="T1" fmla="*/ 21 h 22"/>
                <a:gd name="T2" fmla="*/ 20 w 21"/>
                <a:gd name="T3" fmla="*/ 21 h 22"/>
                <a:gd name="T4" fmla="*/ 0 w 21"/>
                <a:gd name="T5" fmla="*/ 21 h 22"/>
                <a:gd name="T6" fmla="*/ 0 w 21"/>
                <a:gd name="T7" fmla="*/ 0 h 22"/>
                <a:gd name="T8" fmla="*/ 20 w 21"/>
                <a:gd name="T9" fmla="*/ 0 h 22"/>
                <a:gd name="T10" fmla="*/ 20 w 21"/>
                <a:gd name="T11" fmla="*/ 21 h 22"/>
              </a:gdLst>
              <a:ahLst/>
              <a:cxnLst>
                <a:cxn ang="0">
                  <a:pos x="T0" y="T1"/>
                </a:cxn>
                <a:cxn ang="0">
                  <a:pos x="T2" y="T3"/>
                </a:cxn>
                <a:cxn ang="0">
                  <a:pos x="T4" y="T5"/>
                </a:cxn>
                <a:cxn ang="0">
                  <a:pos x="T6" y="T7"/>
                </a:cxn>
                <a:cxn ang="0">
                  <a:pos x="T8" y="T9"/>
                </a:cxn>
                <a:cxn ang="0">
                  <a:pos x="T10" y="T11"/>
                </a:cxn>
              </a:cxnLst>
              <a:rect l="0" t="0" r="r" b="b"/>
              <a:pathLst>
                <a:path w="21" h="22">
                  <a:moveTo>
                    <a:pt x="20" y="21"/>
                  </a:moveTo>
                  <a:lnTo>
                    <a:pt x="20" y="21"/>
                  </a:lnTo>
                  <a:lnTo>
                    <a:pt x="0" y="21"/>
                  </a:lnTo>
                  <a:lnTo>
                    <a:pt x="0" y="0"/>
                  </a:lnTo>
                  <a:cubicBezTo>
                    <a:pt x="0" y="0"/>
                    <a:pt x="0" y="0"/>
                    <a:pt x="20" y="0"/>
                  </a:cubicBez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5" name="Freeform 412">
              <a:extLst>
                <a:ext uri="{FF2B5EF4-FFF2-40B4-BE49-F238E27FC236}">
                  <a16:creationId xmlns:a16="http://schemas.microsoft.com/office/drawing/2014/main" id="{84886450-E716-AE49-8229-9BD466BE8A37}"/>
                </a:ext>
              </a:extLst>
            </p:cNvPr>
            <p:cNvSpPr>
              <a:spLocks noChangeArrowheads="1"/>
            </p:cNvSpPr>
            <p:nvPr/>
          </p:nvSpPr>
          <p:spPr bwMode="auto">
            <a:xfrm>
              <a:off x="6010275" y="7777163"/>
              <a:ext cx="15875" cy="15875"/>
            </a:xfrm>
            <a:custGeom>
              <a:avLst/>
              <a:gdLst>
                <a:gd name="T0" fmla="*/ 20 w 42"/>
                <a:gd name="T1" fmla="*/ 20 h 42"/>
                <a:gd name="T2" fmla="*/ 20 w 42"/>
                <a:gd name="T3" fmla="*/ 20 h 42"/>
                <a:gd name="T4" fmla="*/ 20 w 42"/>
                <a:gd name="T5" fmla="*/ 0 h 42"/>
                <a:gd name="T6" fmla="*/ 20 w 42"/>
                <a:gd name="T7" fmla="*/ 0 h 42"/>
                <a:gd name="T8" fmla="*/ 41 w 42"/>
                <a:gd name="T9" fmla="*/ 20 h 42"/>
                <a:gd name="T10" fmla="*/ 41 w 42"/>
                <a:gd name="T11" fmla="*/ 20 h 42"/>
                <a:gd name="T12" fmla="*/ 20 w 4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20"/>
                  </a:moveTo>
                  <a:lnTo>
                    <a:pt x="20" y="20"/>
                  </a:lnTo>
                  <a:cubicBezTo>
                    <a:pt x="20" y="20"/>
                    <a:pt x="0" y="0"/>
                    <a:pt x="20" y="0"/>
                  </a:cubicBezTo>
                  <a:lnTo>
                    <a:pt x="20" y="0"/>
                  </a:lnTo>
                  <a:cubicBezTo>
                    <a:pt x="20" y="0"/>
                    <a:pt x="41" y="0"/>
                    <a:pt x="41" y="20"/>
                  </a:cubicBezTo>
                  <a:lnTo>
                    <a:pt x="41" y="20"/>
                  </a:lnTo>
                  <a:cubicBezTo>
                    <a:pt x="41" y="20"/>
                    <a:pt x="20" y="41"/>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6" name="Freeform 413">
              <a:extLst>
                <a:ext uri="{FF2B5EF4-FFF2-40B4-BE49-F238E27FC236}">
                  <a16:creationId xmlns:a16="http://schemas.microsoft.com/office/drawing/2014/main" id="{C819E6C4-ED7D-2743-A0CA-79F13FCB3735}"/>
                </a:ext>
              </a:extLst>
            </p:cNvPr>
            <p:cNvSpPr>
              <a:spLocks noChangeArrowheads="1"/>
            </p:cNvSpPr>
            <p:nvPr/>
          </p:nvSpPr>
          <p:spPr bwMode="auto">
            <a:xfrm>
              <a:off x="5995988" y="7777163"/>
              <a:ext cx="15875" cy="7937"/>
            </a:xfrm>
            <a:custGeom>
              <a:avLst/>
              <a:gdLst>
                <a:gd name="T0" fmla="*/ 20 w 42"/>
                <a:gd name="T1" fmla="*/ 0 h 21"/>
                <a:gd name="T2" fmla="*/ 20 w 42"/>
                <a:gd name="T3" fmla="*/ 0 h 21"/>
                <a:gd name="T4" fmla="*/ 20 w 42"/>
                <a:gd name="T5" fmla="*/ 0 h 21"/>
                <a:gd name="T6" fmla="*/ 20 w 42"/>
                <a:gd name="T7" fmla="*/ 0 h 21"/>
                <a:gd name="T8" fmla="*/ 41 w 42"/>
                <a:gd name="T9" fmla="*/ 0 h 21"/>
                <a:gd name="T10" fmla="*/ 20 w 42"/>
                <a:gd name="T11" fmla="*/ 20 h 21"/>
                <a:gd name="T12" fmla="*/ 20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0" y="0"/>
                  </a:moveTo>
                  <a:lnTo>
                    <a:pt x="20" y="0"/>
                  </a:lnTo>
                  <a:cubicBezTo>
                    <a:pt x="20" y="0"/>
                    <a:pt x="0" y="0"/>
                    <a:pt x="20" y="0"/>
                  </a:cubicBezTo>
                  <a:lnTo>
                    <a:pt x="20" y="0"/>
                  </a:lnTo>
                  <a:lnTo>
                    <a:pt x="41" y="0"/>
                  </a:lnTo>
                  <a:lnTo>
                    <a:pt x="20" y="20"/>
                  </a:lnTo>
                  <a:cubicBezTo>
                    <a:pt x="20" y="20"/>
                    <a:pt x="20" y="2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7" name="Freeform 414">
              <a:extLst>
                <a:ext uri="{FF2B5EF4-FFF2-40B4-BE49-F238E27FC236}">
                  <a16:creationId xmlns:a16="http://schemas.microsoft.com/office/drawing/2014/main" id="{6437477E-BF9A-114A-919F-17195336FB62}"/>
                </a:ext>
              </a:extLst>
            </p:cNvPr>
            <p:cNvSpPr>
              <a:spLocks noChangeArrowheads="1"/>
            </p:cNvSpPr>
            <p:nvPr/>
          </p:nvSpPr>
          <p:spPr bwMode="auto">
            <a:xfrm>
              <a:off x="6430963" y="7813675"/>
              <a:ext cx="7937" cy="15875"/>
            </a:xfrm>
            <a:custGeom>
              <a:avLst/>
              <a:gdLst>
                <a:gd name="T0" fmla="*/ 21 w 22"/>
                <a:gd name="T1" fmla="*/ 0 h 43"/>
                <a:gd name="T2" fmla="*/ 21 w 22"/>
                <a:gd name="T3" fmla="*/ 0 h 43"/>
                <a:gd name="T4" fmla="*/ 0 w 22"/>
                <a:gd name="T5" fmla="*/ 0 h 43"/>
                <a:gd name="T6" fmla="*/ 0 w 22"/>
                <a:gd name="T7" fmla="*/ 21 h 43"/>
                <a:gd name="T8" fmla="*/ 21 w 22"/>
                <a:gd name="T9" fmla="*/ 42 h 43"/>
                <a:gd name="T10" fmla="*/ 21 w 22"/>
                <a:gd name="T11" fmla="*/ 21 h 43"/>
                <a:gd name="T12" fmla="*/ 21 w 2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2" h="43">
                  <a:moveTo>
                    <a:pt x="21" y="0"/>
                  </a:moveTo>
                  <a:lnTo>
                    <a:pt x="21" y="0"/>
                  </a:lnTo>
                  <a:lnTo>
                    <a:pt x="0" y="0"/>
                  </a:lnTo>
                  <a:cubicBezTo>
                    <a:pt x="0" y="21"/>
                    <a:pt x="0" y="21"/>
                    <a:pt x="0" y="21"/>
                  </a:cubicBezTo>
                  <a:lnTo>
                    <a:pt x="21" y="42"/>
                  </a:lnTo>
                  <a:lnTo>
                    <a:pt x="21" y="21"/>
                  </a:lnTo>
                  <a:cubicBezTo>
                    <a:pt x="21" y="21"/>
                    <a:pt x="21" y="21"/>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8" name="Freeform 415">
              <a:extLst>
                <a:ext uri="{FF2B5EF4-FFF2-40B4-BE49-F238E27FC236}">
                  <a16:creationId xmlns:a16="http://schemas.microsoft.com/office/drawing/2014/main" id="{12D9934B-7513-4F48-B4E9-289FF13FA4D4}"/>
                </a:ext>
              </a:extLst>
            </p:cNvPr>
            <p:cNvSpPr>
              <a:spLocks noChangeArrowheads="1"/>
            </p:cNvSpPr>
            <p:nvPr/>
          </p:nvSpPr>
          <p:spPr bwMode="auto">
            <a:xfrm>
              <a:off x="6445250" y="7791450"/>
              <a:ext cx="7938" cy="7938"/>
            </a:xfrm>
            <a:custGeom>
              <a:avLst/>
              <a:gdLst>
                <a:gd name="T0" fmla="*/ 20 w 21"/>
                <a:gd name="T1" fmla="*/ 21 h 22"/>
                <a:gd name="T2" fmla="*/ 20 w 21"/>
                <a:gd name="T3" fmla="*/ 21 h 22"/>
                <a:gd name="T4" fmla="*/ 20 w 21"/>
                <a:gd name="T5" fmla="*/ 0 h 22"/>
                <a:gd name="T6" fmla="*/ 0 w 21"/>
                <a:gd name="T7" fmla="*/ 0 h 22"/>
                <a:gd name="T8" fmla="*/ 0 w 21"/>
                <a:gd name="T9" fmla="*/ 0 h 22"/>
                <a:gd name="T10" fmla="*/ 0 w 21"/>
                <a:gd name="T11" fmla="*/ 21 h 22"/>
                <a:gd name="T12" fmla="*/ 20 w 21"/>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20" y="21"/>
                  </a:moveTo>
                  <a:lnTo>
                    <a:pt x="20" y="21"/>
                  </a:lnTo>
                  <a:lnTo>
                    <a:pt x="20" y="0"/>
                  </a:lnTo>
                  <a:lnTo>
                    <a:pt x="0" y="0"/>
                  </a:lnTo>
                  <a:lnTo>
                    <a:pt x="0" y="0"/>
                  </a:lnTo>
                  <a:cubicBezTo>
                    <a:pt x="0" y="21"/>
                    <a:pt x="0" y="21"/>
                    <a:pt x="0" y="21"/>
                  </a:cubicBez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19" name="Freeform 416">
              <a:extLst>
                <a:ext uri="{FF2B5EF4-FFF2-40B4-BE49-F238E27FC236}">
                  <a16:creationId xmlns:a16="http://schemas.microsoft.com/office/drawing/2014/main" id="{83B8737C-1A3B-0D4C-86D8-97231E63C9B3}"/>
                </a:ext>
              </a:extLst>
            </p:cNvPr>
            <p:cNvSpPr>
              <a:spLocks noChangeArrowheads="1"/>
            </p:cNvSpPr>
            <p:nvPr/>
          </p:nvSpPr>
          <p:spPr bwMode="auto">
            <a:xfrm>
              <a:off x="6453188" y="7769225"/>
              <a:ext cx="7937" cy="7938"/>
            </a:xfrm>
            <a:custGeom>
              <a:avLst/>
              <a:gdLst>
                <a:gd name="T0" fmla="*/ 0 w 22"/>
                <a:gd name="T1" fmla="*/ 20 h 21"/>
                <a:gd name="T2" fmla="*/ 0 w 22"/>
                <a:gd name="T3" fmla="*/ 20 h 21"/>
                <a:gd name="T4" fmla="*/ 0 w 22"/>
                <a:gd name="T5" fmla="*/ 20 h 21"/>
                <a:gd name="T6" fmla="*/ 0 w 22"/>
                <a:gd name="T7" fmla="*/ 0 h 21"/>
                <a:gd name="T8" fmla="*/ 21 w 22"/>
                <a:gd name="T9" fmla="*/ 0 h 21"/>
                <a:gd name="T10" fmla="*/ 21 w 22"/>
                <a:gd name="T11" fmla="*/ 20 h 21"/>
                <a:gd name="T12" fmla="*/ 0 w 2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0" y="20"/>
                  </a:moveTo>
                  <a:lnTo>
                    <a:pt x="0" y="20"/>
                  </a:lnTo>
                  <a:lnTo>
                    <a:pt x="0" y="20"/>
                  </a:lnTo>
                  <a:cubicBezTo>
                    <a:pt x="0" y="0"/>
                    <a:pt x="0" y="0"/>
                    <a:pt x="0" y="0"/>
                  </a:cubicBezTo>
                  <a:lnTo>
                    <a:pt x="21" y="0"/>
                  </a:lnTo>
                  <a:lnTo>
                    <a:pt x="21" y="20"/>
                  </a:ln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0" name="Freeform 417">
              <a:extLst>
                <a:ext uri="{FF2B5EF4-FFF2-40B4-BE49-F238E27FC236}">
                  <a16:creationId xmlns:a16="http://schemas.microsoft.com/office/drawing/2014/main" id="{433A6804-0BFC-984D-B5DD-E46EDB522976}"/>
                </a:ext>
              </a:extLst>
            </p:cNvPr>
            <p:cNvSpPr>
              <a:spLocks noChangeArrowheads="1"/>
            </p:cNvSpPr>
            <p:nvPr/>
          </p:nvSpPr>
          <p:spPr bwMode="auto">
            <a:xfrm>
              <a:off x="6445250" y="7740650"/>
              <a:ext cx="7938" cy="7938"/>
            </a:xfrm>
            <a:custGeom>
              <a:avLst/>
              <a:gdLst>
                <a:gd name="T0" fmla="*/ 20 w 21"/>
                <a:gd name="T1" fmla="*/ 20 h 21"/>
                <a:gd name="T2" fmla="*/ 20 w 21"/>
                <a:gd name="T3" fmla="*/ 20 h 21"/>
                <a:gd name="T4" fmla="*/ 0 w 21"/>
                <a:gd name="T5" fmla="*/ 0 h 21"/>
                <a:gd name="T6" fmla="*/ 0 w 21"/>
                <a:gd name="T7" fmla="*/ 0 h 21"/>
                <a:gd name="T8" fmla="*/ 0 w 21"/>
                <a:gd name="T9" fmla="*/ 20 h 21"/>
                <a:gd name="T10" fmla="*/ 0 w 21"/>
                <a:gd name="T11" fmla="*/ 20 h 21"/>
                <a:gd name="T12" fmla="*/ 0 w 21"/>
                <a:gd name="T13" fmla="*/ 20 h 21"/>
                <a:gd name="T14" fmla="*/ 2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20" y="20"/>
                  </a:moveTo>
                  <a:lnTo>
                    <a:pt x="20" y="20"/>
                  </a:lnTo>
                  <a:lnTo>
                    <a:pt x="0" y="0"/>
                  </a:lnTo>
                  <a:lnTo>
                    <a:pt x="0" y="0"/>
                  </a:lnTo>
                  <a:cubicBezTo>
                    <a:pt x="0" y="0"/>
                    <a:pt x="0" y="0"/>
                    <a:pt x="0" y="20"/>
                  </a:cubicBezTo>
                  <a:lnTo>
                    <a:pt x="0" y="20"/>
                  </a:lnTo>
                  <a:lnTo>
                    <a:pt x="0" y="2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1" name="Freeform 418">
              <a:extLst>
                <a:ext uri="{FF2B5EF4-FFF2-40B4-BE49-F238E27FC236}">
                  <a16:creationId xmlns:a16="http://schemas.microsoft.com/office/drawing/2014/main" id="{B34EA54F-9F4D-384F-B11C-69EF992A90BA}"/>
                </a:ext>
              </a:extLst>
            </p:cNvPr>
            <p:cNvSpPr>
              <a:spLocks noChangeArrowheads="1"/>
            </p:cNvSpPr>
            <p:nvPr/>
          </p:nvSpPr>
          <p:spPr bwMode="auto">
            <a:xfrm>
              <a:off x="6453188" y="7710488"/>
              <a:ext cx="7937" cy="7937"/>
            </a:xfrm>
            <a:custGeom>
              <a:avLst/>
              <a:gdLst>
                <a:gd name="T0" fmla="*/ 0 w 22"/>
                <a:gd name="T1" fmla="*/ 20 h 21"/>
                <a:gd name="T2" fmla="*/ 0 w 22"/>
                <a:gd name="T3" fmla="*/ 20 h 21"/>
                <a:gd name="T4" fmla="*/ 0 w 22"/>
                <a:gd name="T5" fmla="*/ 0 h 21"/>
                <a:gd name="T6" fmla="*/ 21 w 22"/>
                <a:gd name="T7" fmla="*/ 0 h 21"/>
                <a:gd name="T8" fmla="*/ 21 w 22"/>
                <a:gd name="T9" fmla="*/ 0 h 21"/>
                <a:gd name="T10" fmla="*/ 21 w 22"/>
                <a:gd name="T11" fmla="*/ 20 h 21"/>
                <a:gd name="T12" fmla="*/ 0 w 2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0" y="20"/>
                  </a:moveTo>
                  <a:lnTo>
                    <a:pt x="0" y="20"/>
                  </a:lnTo>
                  <a:lnTo>
                    <a:pt x="0" y="0"/>
                  </a:lnTo>
                  <a:lnTo>
                    <a:pt x="21" y="0"/>
                  </a:lnTo>
                  <a:lnTo>
                    <a:pt x="21" y="0"/>
                  </a:lnTo>
                  <a:cubicBezTo>
                    <a:pt x="21" y="20"/>
                    <a:pt x="21" y="20"/>
                    <a:pt x="21" y="20"/>
                  </a:cubicBez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2" name="Freeform 419">
              <a:extLst>
                <a:ext uri="{FF2B5EF4-FFF2-40B4-BE49-F238E27FC236}">
                  <a16:creationId xmlns:a16="http://schemas.microsoft.com/office/drawing/2014/main" id="{A9241DC6-A5CC-0142-9EA4-C509701CAD2E}"/>
                </a:ext>
              </a:extLst>
            </p:cNvPr>
            <p:cNvSpPr>
              <a:spLocks noChangeArrowheads="1"/>
            </p:cNvSpPr>
            <p:nvPr/>
          </p:nvSpPr>
          <p:spPr bwMode="auto">
            <a:xfrm>
              <a:off x="6438900" y="7718425"/>
              <a:ext cx="7938" cy="15875"/>
            </a:xfrm>
            <a:custGeom>
              <a:avLst/>
              <a:gdLst>
                <a:gd name="T0" fmla="*/ 0 w 21"/>
                <a:gd name="T1" fmla="*/ 0 h 43"/>
                <a:gd name="T2" fmla="*/ 0 w 21"/>
                <a:gd name="T3" fmla="*/ 0 h 43"/>
                <a:gd name="T4" fmla="*/ 0 w 21"/>
                <a:gd name="T5" fmla="*/ 21 h 43"/>
                <a:gd name="T6" fmla="*/ 20 w 21"/>
                <a:gd name="T7" fmla="*/ 42 h 43"/>
                <a:gd name="T8" fmla="*/ 20 w 21"/>
                <a:gd name="T9" fmla="*/ 21 h 43"/>
                <a:gd name="T10" fmla="*/ 20 w 21"/>
                <a:gd name="T11" fmla="*/ 0 h 43"/>
                <a:gd name="T12" fmla="*/ 0 w 21"/>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0" y="0"/>
                  </a:moveTo>
                  <a:lnTo>
                    <a:pt x="0" y="0"/>
                  </a:lnTo>
                  <a:lnTo>
                    <a:pt x="0" y="21"/>
                  </a:lnTo>
                  <a:cubicBezTo>
                    <a:pt x="0" y="21"/>
                    <a:pt x="0" y="42"/>
                    <a:pt x="20" y="42"/>
                  </a:cubicBezTo>
                  <a:cubicBezTo>
                    <a:pt x="20" y="21"/>
                    <a:pt x="20" y="21"/>
                    <a:pt x="20" y="21"/>
                  </a:cubicBezTo>
                  <a:lnTo>
                    <a:pt x="20" y="0"/>
                  </a:ln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3" name="Freeform 420">
              <a:extLst>
                <a:ext uri="{FF2B5EF4-FFF2-40B4-BE49-F238E27FC236}">
                  <a16:creationId xmlns:a16="http://schemas.microsoft.com/office/drawing/2014/main" id="{DE779142-BA6D-F043-A877-768769C83086}"/>
                </a:ext>
              </a:extLst>
            </p:cNvPr>
            <p:cNvSpPr>
              <a:spLocks noChangeArrowheads="1"/>
            </p:cNvSpPr>
            <p:nvPr/>
          </p:nvSpPr>
          <p:spPr bwMode="auto">
            <a:xfrm>
              <a:off x="6445250" y="7666038"/>
              <a:ext cx="22225" cy="22225"/>
            </a:xfrm>
            <a:custGeom>
              <a:avLst/>
              <a:gdLst>
                <a:gd name="T0" fmla="*/ 41 w 63"/>
                <a:gd name="T1" fmla="*/ 61 h 62"/>
                <a:gd name="T2" fmla="*/ 41 w 63"/>
                <a:gd name="T3" fmla="*/ 61 h 62"/>
                <a:gd name="T4" fmla="*/ 20 w 63"/>
                <a:gd name="T5" fmla="*/ 41 h 62"/>
                <a:gd name="T6" fmla="*/ 0 w 63"/>
                <a:gd name="T7" fmla="*/ 21 h 62"/>
                <a:gd name="T8" fmla="*/ 0 w 63"/>
                <a:gd name="T9" fmla="*/ 0 h 62"/>
                <a:gd name="T10" fmla="*/ 20 w 63"/>
                <a:gd name="T11" fmla="*/ 0 h 62"/>
                <a:gd name="T12" fmla="*/ 20 w 63"/>
                <a:gd name="T13" fmla="*/ 0 h 62"/>
                <a:gd name="T14" fmla="*/ 41 w 63"/>
                <a:gd name="T15" fmla="*/ 21 h 62"/>
                <a:gd name="T16" fmla="*/ 41 w 63"/>
                <a:gd name="T17" fmla="*/ 21 h 62"/>
                <a:gd name="T18" fmla="*/ 62 w 63"/>
                <a:gd name="T19" fmla="*/ 61 h 62"/>
                <a:gd name="T20" fmla="*/ 41 w 63"/>
                <a:gd name="T2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62">
                  <a:moveTo>
                    <a:pt x="41" y="61"/>
                  </a:moveTo>
                  <a:lnTo>
                    <a:pt x="41" y="61"/>
                  </a:lnTo>
                  <a:cubicBezTo>
                    <a:pt x="20" y="61"/>
                    <a:pt x="20" y="41"/>
                    <a:pt x="20" y="41"/>
                  </a:cubicBezTo>
                  <a:cubicBezTo>
                    <a:pt x="20" y="41"/>
                    <a:pt x="0" y="41"/>
                    <a:pt x="0" y="21"/>
                  </a:cubicBezTo>
                  <a:cubicBezTo>
                    <a:pt x="0" y="21"/>
                    <a:pt x="0" y="21"/>
                    <a:pt x="0" y="0"/>
                  </a:cubicBezTo>
                  <a:cubicBezTo>
                    <a:pt x="0" y="0"/>
                    <a:pt x="0" y="0"/>
                    <a:pt x="20" y="0"/>
                  </a:cubicBezTo>
                  <a:lnTo>
                    <a:pt x="20" y="0"/>
                  </a:lnTo>
                  <a:cubicBezTo>
                    <a:pt x="41" y="0"/>
                    <a:pt x="41" y="21"/>
                    <a:pt x="41" y="21"/>
                  </a:cubicBezTo>
                  <a:lnTo>
                    <a:pt x="41" y="21"/>
                  </a:lnTo>
                  <a:cubicBezTo>
                    <a:pt x="62" y="41"/>
                    <a:pt x="62" y="41"/>
                    <a:pt x="62" y="61"/>
                  </a:cubicBezTo>
                  <a:lnTo>
                    <a:pt x="41" y="6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4" name="Freeform 421">
              <a:extLst>
                <a:ext uri="{FF2B5EF4-FFF2-40B4-BE49-F238E27FC236}">
                  <a16:creationId xmlns:a16="http://schemas.microsoft.com/office/drawing/2014/main" id="{31906187-3600-044F-B5C7-51DD8D6DA4A1}"/>
                </a:ext>
              </a:extLst>
            </p:cNvPr>
            <p:cNvSpPr>
              <a:spLocks noChangeArrowheads="1"/>
            </p:cNvSpPr>
            <p:nvPr/>
          </p:nvSpPr>
          <p:spPr bwMode="auto">
            <a:xfrm>
              <a:off x="6453188" y="7643813"/>
              <a:ext cx="15875" cy="14287"/>
            </a:xfrm>
            <a:custGeom>
              <a:avLst/>
              <a:gdLst>
                <a:gd name="T0" fmla="*/ 21 w 43"/>
                <a:gd name="T1" fmla="*/ 40 h 41"/>
                <a:gd name="T2" fmla="*/ 21 w 43"/>
                <a:gd name="T3" fmla="*/ 40 h 41"/>
                <a:gd name="T4" fmla="*/ 0 w 43"/>
                <a:gd name="T5" fmla="*/ 20 h 41"/>
                <a:gd name="T6" fmla="*/ 21 w 43"/>
                <a:gd name="T7" fmla="*/ 0 h 41"/>
                <a:gd name="T8" fmla="*/ 21 w 43"/>
                <a:gd name="T9" fmla="*/ 0 h 41"/>
                <a:gd name="T10" fmla="*/ 42 w 43"/>
                <a:gd name="T11" fmla="*/ 20 h 41"/>
                <a:gd name="T12" fmla="*/ 21 w 43"/>
                <a:gd name="T13" fmla="*/ 20 h 41"/>
                <a:gd name="T14" fmla="*/ 21 w 43"/>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1">
                  <a:moveTo>
                    <a:pt x="21" y="40"/>
                  </a:moveTo>
                  <a:lnTo>
                    <a:pt x="21" y="40"/>
                  </a:lnTo>
                  <a:cubicBezTo>
                    <a:pt x="0" y="40"/>
                    <a:pt x="0" y="20"/>
                    <a:pt x="0" y="20"/>
                  </a:cubicBezTo>
                  <a:cubicBezTo>
                    <a:pt x="0" y="0"/>
                    <a:pt x="21" y="0"/>
                    <a:pt x="21" y="0"/>
                  </a:cubicBezTo>
                  <a:lnTo>
                    <a:pt x="21" y="0"/>
                  </a:lnTo>
                  <a:cubicBezTo>
                    <a:pt x="42" y="20"/>
                    <a:pt x="42" y="20"/>
                    <a:pt x="42" y="20"/>
                  </a:cubicBezTo>
                  <a:lnTo>
                    <a:pt x="21" y="20"/>
                  </a:lnTo>
                  <a:cubicBezTo>
                    <a:pt x="21" y="40"/>
                    <a:pt x="21" y="40"/>
                    <a:pt x="21"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5" name="Freeform 422">
              <a:extLst>
                <a:ext uri="{FF2B5EF4-FFF2-40B4-BE49-F238E27FC236}">
                  <a16:creationId xmlns:a16="http://schemas.microsoft.com/office/drawing/2014/main" id="{0B80CF7A-1A95-DB48-94B8-77CD89AD3D38}"/>
                </a:ext>
              </a:extLst>
            </p:cNvPr>
            <p:cNvSpPr>
              <a:spLocks noChangeArrowheads="1"/>
            </p:cNvSpPr>
            <p:nvPr/>
          </p:nvSpPr>
          <p:spPr bwMode="auto">
            <a:xfrm>
              <a:off x="6453188" y="7570788"/>
              <a:ext cx="15875" cy="15875"/>
            </a:xfrm>
            <a:custGeom>
              <a:avLst/>
              <a:gdLst>
                <a:gd name="T0" fmla="*/ 0 w 43"/>
                <a:gd name="T1" fmla="*/ 42 h 43"/>
                <a:gd name="T2" fmla="*/ 0 w 43"/>
                <a:gd name="T3" fmla="*/ 42 h 43"/>
                <a:gd name="T4" fmla="*/ 0 w 43"/>
                <a:gd name="T5" fmla="*/ 21 h 43"/>
                <a:gd name="T6" fmla="*/ 21 w 43"/>
                <a:gd name="T7" fmla="*/ 0 h 43"/>
                <a:gd name="T8" fmla="*/ 21 w 43"/>
                <a:gd name="T9" fmla="*/ 0 h 43"/>
                <a:gd name="T10" fmla="*/ 42 w 43"/>
                <a:gd name="T11" fmla="*/ 21 h 43"/>
                <a:gd name="T12" fmla="*/ 42 w 43"/>
                <a:gd name="T13" fmla="*/ 42 h 43"/>
                <a:gd name="T14" fmla="*/ 21 w 43"/>
                <a:gd name="T15" fmla="*/ 42 h 43"/>
                <a:gd name="T16" fmla="*/ 0 w 43"/>
                <a:gd name="T1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3">
                  <a:moveTo>
                    <a:pt x="0" y="42"/>
                  </a:moveTo>
                  <a:lnTo>
                    <a:pt x="0" y="42"/>
                  </a:lnTo>
                  <a:lnTo>
                    <a:pt x="0" y="21"/>
                  </a:lnTo>
                  <a:lnTo>
                    <a:pt x="21" y="0"/>
                  </a:lnTo>
                  <a:lnTo>
                    <a:pt x="21" y="0"/>
                  </a:lnTo>
                  <a:cubicBezTo>
                    <a:pt x="42" y="21"/>
                    <a:pt x="42" y="21"/>
                    <a:pt x="42" y="21"/>
                  </a:cubicBezTo>
                  <a:lnTo>
                    <a:pt x="42" y="42"/>
                  </a:lnTo>
                  <a:cubicBezTo>
                    <a:pt x="21" y="42"/>
                    <a:pt x="21" y="42"/>
                    <a:pt x="21" y="42"/>
                  </a:cubicBezTo>
                  <a:cubicBezTo>
                    <a:pt x="21" y="42"/>
                    <a:pt x="21" y="42"/>
                    <a:pt x="0"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6" name="Freeform 423">
              <a:extLst>
                <a:ext uri="{FF2B5EF4-FFF2-40B4-BE49-F238E27FC236}">
                  <a16:creationId xmlns:a16="http://schemas.microsoft.com/office/drawing/2014/main" id="{B891E90B-6C3A-CB42-B628-C1813EAC12E1}"/>
                </a:ext>
              </a:extLst>
            </p:cNvPr>
            <p:cNvSpPr>
              <a:spLocks noChangeArrowheads="1"/>
            </p:cNvSpPr>
            <p:nvPr/>
          </p:nvSpPr>
          <p:spPr bwMode="auto">
            <a:xfrm>
              <a:off x="6253163" y="7983538"/>
              <a:ext cx="7937" cy="7937"/>
            </a:xfrm>
            <a:custGeom>
              <a:avLst/>
              <a:gdLst>
                <a:gd name="T0" fmla="*/ 0 w 22"/>
                <a:gd name="T1" fmla="*/ 20 h 21"/>
                <a:gd name="T2" fmla="*/ 0 w 22"/>
                <a:gd name="T3" fmla="*/ 20 h 21"/>
                <a:gd name="T4" fmla="*/ 0 w 22"/>
                <a:gd name="T5" fmla="*/ 0 h 21"/>
                <a:gd name="T6" fmla="*/ 0 w 22"/>
                <a:gd name="T7" fmla="*/ 0 h 21"/>
                <a:gd name="T8" fmla="*/ 0 w 22"/>
                <a:gd name="T9" fmla="*/ 0 h 21"/>
                <a:gd name="T10" fmla="*/ 0 w 22"/>
                <a:gd name="T11" fmla="*/ 0 h 21"/>
                <a:gd name="T12" fmla="*/ 21 w 22"/>
                <a:gd name="T13" fmla="*/ 0 h 21"/>
                <a:gd name="T14" fmla="*/ 21 w 22"/>
                <a:gd name="T15" fmla="*/ 20 h 21"/>
                <a:gd name="T16" fmla="*/ 21 w 22"/>
                <a:gd name="T17" fmla="*/ 20 h 21"/>
                <a:gd name="T18" fmla="*/ 0 w 22"/>
                <a:gd name="T19"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0" y="20"/>
                  </a:moveTo>
                  <a:lnTo>
                    <a:pt x="0" y="20"/>
                  </a:lnTo>
                  <a:cubicBezTo>
                    <a:pt x="0" y="20"/>
                    <a:pt x="0" y="20"/>
                    <a:pt x="0" y="0"/>
                  </a:cubicBezTo>
                  <a:lnTo>
                    <a:pt x="0" y="0"/>
                  </a:lnTo>
                  <a:lnTo>
                    <a:pt x="0" y="0"/>
                  </a:lnTo>
                  <a:lnTo>
                    <a:pt x="0" y="0"/>
                  </a:lnTo>
                  <a:lnTo>
                    <a:pt x="21" y="0"/>
                  </a:lnTo>
                  <a:lnTo>
                    <a:pt x="21" y="20"/>
                  </a:lnTo>
                  <a:lnTo>
                    <a:pt x="21" y="20"/>
                  </a:lnTo>
                  <a:cubicBezTo>
                    <a:pt x="0" y="20"/>
                    <a:pt x="0" y="20"/>
                    <a:pt x="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7" name="Freeform 424">
              <a:extLst>
                <a:ext uri="{FF2B5EF4-FFF2-40B4-BE49-F238E27FC236}">
                  <a16:creationId xmlns:a16="http://schemas.microsoft.com/office/drawing/2014/main" id="{312695AD-1957-B64E-977F-B39A1A97F7CC}"/>
                </a:ext>
              </a:extLst>
            </p:cNvPr>
            <p:cNvSpPr>
              <a:spLocks noChangeArrowheads="1"/>
            </p:cNvSpPr>
            <p:nvPr/>
          </p:nvSpPr>
          <p:spPr bwMode="auto">
            <a:xfrm>
              <a:off x="6291263" y="7983538"/>
              <a:ext cx="7937" cy="15875"/>
            </a:xfrm>
            <a:custGeom>
              <a:avLst/>
              <a:gdLst>
                <a:gd name="T0" fmla="*/ 0 w 21"/>
                <a:gd name="T1" fmla="*/ 20 h 42"/>
                <a:gd name="T2" fmla="*/ 0 w 21"/>
                <a:gd name="T3" fmla="*/ 20 h 42"/>
                <a:gd name="T4" fmla="*/ 0 w 21"/>
                <a:gd name="T5" fmla="*/ 0 h 42"/>
                <a:gd name="T6" fmla="*/ 20 w 21"/>
                <a:gd name="T7" fmla="*/ 0 h 42"/>
                <a:gd name="T8" fmla="*/ 20 w 21"/>
                <a:gd name="T9" fmla="*/ 20 h 42"/>
                <a:gd name="T10" fmla="*/ 20 w 21"/>
                <a:gd name="T11" fmla="*/ 20 h 42"/>
                <a:gd name="T12" fmla="*/ 20 w 21"/>
                <a:gd name="T13" fmla="*/ 41 h 42"/>
                <a:gd name="T14" fmla="*/ 0 w 21"/>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0" y="20"/>
                  </a:moveTo>
                  <a:lnTo>
                    <a:pt x="0" y="20"/>
                  </a:lnTo>
                  <a:cubicBezTo>
                    <a:pt x="0" y="20"/>
                    <a:pt x="0" y="20"/>
                    <a:pt x="0" y="0"/>
                  </a:cubicBezTo>
                  <a:lnTo>
                    <a:pt x="20" y="0"/>
                  </a:lnTo>
                  <a:lnTo>
                    <a:pt x="20" y="20"/>
                  </a:lnTo>
                  <a:lnTo>
                    <a:pt x="20" y="20"/>
                  </a:lnTo>
                  <a:cubicBezTo>
                    <a:pt x="20" y="41"/>
                    <a:pt x="20" y="41"/>
                    <a:pt x="20" y="41"/>
                  </a:cubicBez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8" name="Freeform 425">
              <a:extLst>
                <a:ext uri="{FF2B5EF4-FFF2-40B4-BE49-F238E27FC236}">
                  <a16:creationId xmlns:a16="http://schemas.microsoft.com/office/drawing/2014/main" id="{D1C9D2C9-AC00-0E4B-B4BE-EACD788F3E3F}"/>
                </a:ext>
              </a:extLst>
            </p:cNvPr>
            <p:cNvSpPr>
              <a:spLocks noChangeArrowheads="1"/>
            </p:cNvSpPr>
            <p:nvPr/>
          </p:nvSpPr>
          <p:spPr bwMode="auto">
            <a:xfrm>
              <a:off x="6232525" y="7989888"/>
              <a:ext cx="14288" cy="15875"/>
            </a:xfrm>
            <a:custGeom>
              <a:avLst/>
              <a:gdLst>
                <a:gd name="T0" fmla="*/ 40 w 41"/>
                <a:gd name="T1" fmla="*/ 21 h 42"/>
                <a:gd name="T2" fmla="*/ 40 w 41"/>
                <a:gd name="T3" fmla="*/ 21 h 42"/>
                <a:gd name="T4" fmla="*/ 20 w 41"/>
                <a:gd name="T5" fmla="*/ 0 h 42"/>
                <a:gd name="T6" fmla="*/ 20 w 41"/>
                <a:gd name="T7" fmla="*/ 0 h 42"/>
                <a:gd name="T8" fmla="*/ 20 w 41"/>
                <a:gd name="T9" fmla="*/ 21 h 42"/>
                <a:gd name="T10" fmla="*/ 20 w 41"/>
                <a:gd name="T11" fmla="*/ 41 h 42"/>
                <a:gd name="T12" fmla="*/ 40 w 41"/>
                <a:gd name="T13" fmla="*/ 21 h 42"/>
              </a:gdLst>
              <a:ahLst/>
              <a:cxnLst>
                <a:cxn ang="0">
                  <a:pos x="T0" y="T1"/>
                </a:cxn>
                <a:cxn ang="0">
                  <a:pos x="T2" y="T3"/>
                </a:cxn>
                <a:cxn ang="0">
                  <a:pos x="T4" y="T5"/>
                </a:cxn>
                <a:cxn ang="0">
                  <a:pos x="T6" y="T7"/>
                </a:cxn>
                <a:cxn ang="0">
                  <a:pos x="T8" y="T9"/>
                </a:cxn>
                <a:cxn ang="0">
                  <a:pos x="T10" y="T11"/>
                </a:cxn>
                <a:cxn ang="0">
                  <a:pos x="T12" y="T13"/>
                </a:cxn>
              </a:cxnLst>
              <a:rect l="0" t="0" r="r" b="b"/>
              <a:pathLst>
                <a:path w="41" h="42">
                  <a:moveTo>
                    <a:pt x="40" y="21"/>
                  </a:moveTo>
                  <a:lnTo>
                    <a:pt x="40" y="21"/>
                  </a:lnTo>
                  <a:lnTo>
                    <a:pt x="20" y="0"/>
                  </a:lnTo>
                  <a:lnTo>
                    <a:pt x="20" y="0"/>
                  </a:lnTo>
                  <a:cubicBezTo>
                    <a:pt x="20" y="21"/>
                    <a:pt x="0" y="21"/>
                    <a:pt x="20" y="21"/>
                  </a:cubicBezTo>
                  <a:lnTo>
                    <a:pt x="20" y="41"/>
                  </a:lnTo>
                  <a:lnTo>
                    <a:pt x="4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29" name="Freeform 426">
              <a:extLst>
                <a:ext uri="{FF2B5EF4-FFF2-40B4-BE49-F238E27FC236}">
                  <a16:creationId xmlns:a16="http://schemas.microsoft.com/office/drawing/2014/main" id="{4260A0D3-3158-5649-ADCB-AC74F02E2D40}"/>
                </a:ext>
              </a:extLst>
            </p:cNvPr>
            <p:cNvSpPr>
              <a:spLocks noChangeArrowheads="1"/>
            </p:cNvSpPr>
            <p:nvPr/>
          </p:nvSpPr>
          <p:spPr bwMode="auto">
            <a:xfrm>
              <a:off x="6238875" y="7975600"/>
              <a:ext cx="7938" cy="14288"/>
            </a:xfrm>
            <a:custGeom>
              <a:avLst/>
              <a:gdLst>
                <a:gd name="T0" fmla="*/ 0 w 21"/>
                <a:gd name="T1" fmla="*/ 20 h 41"/>
                <a:gd name="T2" fmla="*/ 0 w 21"/>
                <a:gd name="T3" fmla="*/ 20 h 41"/>
                <a:gd name="T4" fmla="*/ 0 w 21"/>
                <a:gd name="T5" fmla="*/ 20 h 41"/>
                <a:gd name="T6" fmla="*/ 0 w 21"/>
                <a:gd name="T7" fmla="*/ 0 h 41"/>
                <a:gd name="T8" fmla="*/ 20 w 21"/>
                <a:gd name="T9" fmla="*/ 0 h 41"/>
                <a:gd name="T10" fmla="*/ 20 w 21"/>
                <a:gd name="T11" fmla="*/ 20 h 41"/>
                <a:gd name="T12" fmla="*/ 20 w 21"/>
                <a:gd name="T13" fmla="*/ 20 h 41"/>
                <a:gd name="T14" fmla="*/ 0 w 21"/>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1">
                  <a:moveTo>
                    <a:pt x="0" y="20"/>
                  </a:moveTo>
                  <a:lnTo>
                    <a:pt x="0" y="20"/>
                  </a:lnTo>
                  <a:lnTo>
                    <a:pt x="0" y="20"/>
                  </a:lnTo>
                  <a:lnTo>
                    <a:pt x="0" y="0"/>
                  </a:lnTo>
                  <a:cubicBezTo>
                    <a:pt x="0" y="0"/>
                    <a:pt x="0" y="0"/>
                    <a:pt x="20" y="0"/>
                  </a:cubicBezTo>
                  <a:lnTo>
                    <a:pt x="20" y="20"/>
                  </a:lnTo>
                  <a:lnTo>
                    <a:pt x="20" y="20"/>
                  </a:lnTo>
                  <a:cubicBezTo>
                    <a:pt x="0" y="40"/>
                    <a:pt x="0" y="20"/>
                    <a:pt x="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0" name="Freeform 427">
              <a:extLst>
                <a:ext uri="{FF2B5EF4-FFF2-40B4-BE49-F238E27FC236}">
                  <a16:creationId xmlns:a16="http://schemas.microsoft.com/office/drawing/2014/main" id="{95204A0C-26CA-C640-9C29-A6BDC4A9B7D9}"/>
                </a:ext>
              </a:extLst>
            </p:cNvPr>
            <p:cNvSpPr>
              <a:spLocks noChangeArrowheads="1"/>
            </p:cNvSpPr>
            <p:nvPr/>
          </p:nvSpPr>
          <p:spPr bwMode="auto">
            <a:xfrm>
              <a:off x="6202363" y="7969250"/>
              <a:ext cx="7937" cy="7938"/>
            </a:xfrm>
            <a:custGeom>
              <a:avLst/>
              <a:gdLst>
                <a:gd name="T0" fmla="*/ 20 w 21"/>
                <a:gd name="T1" fmla="*/ 21 h 22"/>
                <a:gd name="T2" fmla="*/ 20 w 21"/>
                <a:gd name="T3" fmla="*/ 21 h 22"/>
                <a:gd name="T4" fmla="*/ 0 w 21"/>
                <a:gd name="T5" fmla="*/ 0 h 22"/>
                <a:gd name="T6" fmla="*/ 0 w 21"/>
                <a:gd name="T7" fmla="*/ 0 h 22"/>
                <a:gd name="T8" fmla="*/ 20 w 21"/>
                <a:gd name="T9" fmla="*/ 0 h 22"/>
                <a:gd name="T10" fmla="*/ 20 w 21"/>
                <a:gd name="T11" fmla="*/ 0 h 22"/>
                <a:gd name="T12" fmla="*/ 20 w 21"/>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20" y="21"/>
                  </a:moveTo>
                  <a:lnTo>
                    <a:pt x="20" y="21"/>
                  </a:lnTo>
                  <a:cubicBezTo>
                    <a:pt x="0" y="21"/>
                    <a:pt x="0" y="0"/>
                    <a:pt x="0" y="0"/>
                  </a:cubicBezTo>
                  <a:lnTo>
                    <a:pt x="0" y="0"/>
                  </a:lnTo>
                  <a:cubicBezTo>
                    <a:pt x="0" y="0"/>
                    <a:pt x="0" y="0"/>
                    <a:pt x="20" y="0"/>
                  </a:cubicBezTo>
                  <a:lnTo>
                    <a:pt x="20" y="0"/>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1" name="Freeform 428">
              <a:extLst>
                <a:ext uri="{FF2B5EF4-FFF2-40B4-BE49-F238E27FC236}">
                  <a16:creationId xmlns:a16="http://schemas.microsoft.com/office/drawing/2014/main" id="{E1CC252E-10F0-3B4A-91F0-5D6E46E9D476}"/>
                </a:ext>
              </a:extLst>
            </p:cNvPr>
            <p:cNvSpPr>
              <a:spLocks noChangeArrowheads="1"/>
            </p:cNvSpPr>
            <p:nvPr/>
          </p:nvSpPr>
          <p:spPr bwMode="auto">
            <a:xfrm>
              <a:off x="6275388" y="8050213"/>
              <a:ext cx="58737" cy="44450"/>
            </a:xfrm>
            <a:custGeom>
              <a:avLst/>
              <a:gdLst>
                <a:gd name="T0" fmla="*/ 103 w 165"/>
                <a:gd name="T1" fmla="*/ 82 h 124"/>
                <a:gd name="T2" fmla="*/ 103 w 165"/>
                <a:gd name="T3" fmla="*/ 82 h 124"/>
                <a:gd name="T4" fmla="*/ 124 w 165"/>
                <a:gd name="T5" fmla="*/ 82 h 124"/>
                <a:gd name="T6" fmla="*/ 124 w 165"/>
                <a:gd name="T7" fmla="*/ 62 h 124"/>
                <a:gd name="T8" fmla="*/ 144 w 165"/>
                <a:gd name="T9" fmla="*/ 62 h 124"/>
                <a:gd name="T10" fmla="*/ 164 w 165"/>
                <a:gd name="T11" fmla="*/ 41 h 124"/>
                <a:gd name="T12" fmla="*/ 144 w 165"/>
                <a:gd name="T13" fmla="*/ 21 h 124"/>
                <a:gd name="T14" fmla="*/ 124 w 165"/>
                <a:gd name="T15" fmla="*/ 21 h 124"/>
                <a:gd name="T16" fmla="*/ 103 w 165"/>
                <a:gd name="T17" fmla="*/ 21 h 124"/>
                <a:gd name="T18" fmla="*/ 82 w 165"/>
                <a:gd name="T19" fmla="*/ 21 h 124"/>
                <a:gd name="T20" fmla="*/ 82 w 165"/>
                <a:gd name="T21" fmla="*/ 21 h 124"/>
                <a:gd name="T22" fmla="*/ 62 w 165"/>
                <a:gd name="T23" fmla="*/ 0 h 124"/>
                <a:gd name="T24" fmla="*/ 42 w 165"/>
                <a:gd name="T25" fmla="*/ 0 h 124"/>
                <a:gd name="T26" fmla="*/ 21 w 165"/>
                <a:gd name="T27" fmla="*/ 21 h 124"/>
                <a:gd name="T28" fmla="*/ 21 w 165"/>
                <a:gd name="T29" fmla="*/ 41 h 124"/>
                <a:gd name="T30" fmla="*/ 0 w 165"/>
                <a:gd name="T31" fmla="*/ 62 h 124"/>
                <a:gd name="T32" fmla="*/ 21 w 165"/>
                <a:gd name="T33" fmla="*/ 82 h 124"/>
                <a:gd name="T34" fmla="*/ 21 w 165"/>
                <a:gd name="T35" fmla="*/ 103 h 124"/>
                <a:gd name="T36" fmla="*/ 42 w 165"/>
                <a:gd name="T37" fmla="*/ 103 h 124"/>
                <a:gd name="T38" fmla="*/ 42 w 165"/>
                <a:gd name="T39" fmla="*/ 82 h 124"/>
                <a:gd name="T40" fmla="*/ 62 w 165"/>
                <a:gd name="T41" fmla="*/ 82 h 124"/>
                <a:gd name="T42" fmla="*/ 62 w 165"/>
                <a:gd name="T43" fmla="*/ 103 h 124"/>
                <a:gd name="T44" fmla="*/ 62 w 165"/>
                <a:gd name="T45" fmla="*/ 103 h 124"/>
                <a:gd name="T46" fmla="*/ 82 w 165"/>
                <a:gd name="T47" fmla="*/ 103 h 124"/>
                <a:gd name="T48" fmla="*/ 82 w 165"/>
                <a:gd name="T49" fmla="*/ 103 h 124"/>
                <a:gd name="T50" fmla="*/ 103 w 165"/>
                <a:gd name="T51" fmla="*/ 8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5" h="124">
                  <a:moveTo>
                    <a:pt x="103" y="82"/>
                  </a:moveTo>
                  <a:lnTo>
                    <a:pt x="103" y="82"/>
                  </a:lnTo>
                  <a:lnTo>
                    <a:pt x="124" y="82"/>
                  </a:lnTo>
                  <a:lnTo>
                    <a:pt x="124" y="62"/>
                  </a:lnTo>
                  <a:lnTo>
                    <a:pt x="144" y="62"/>
                  </a:lnTo>
                  <a:lnTo>
                    <a:pt x="164" y="41"/>
                  </a:lnTo>
                  <a:cubicBezTo>
                    <a:pt x="164" y="21"/>
                    <a:pt x="144" y="21"/>
                    <a:pt x="144" y="21"/>
                  </a:cubicBezTo>
                  <a:lnTo>
                    <a:pt x="124" y="21"/>
                  </a:lnTo>
                  <a:lnTo>
                    <a:pt x="103" y="21"/>
                  </a:lnTo>
                  <a:cubicBezTo>
                    <a:pt x="103" y="21"/>
                    <a:pt x="82" y="41"/>
                    <a:pt x="82" y="21"/>
                  </a:cubicBezTo>
                  <a:lnTo>
                    <a:pt x="82" y="21"/>
                  </a:lnTo>
                  <a:cubicBezTo>
                    <a:pt x="82" y="21"/>
                    <a:pt x="82" y="0"/>
                    <a:pt x="62" y="0"/>
                  </a:cubicBezTo>
                  <a:lnTo>
                    <a:pt x="42" y="0"/>
                  </a:lnTo>
                  <a:cubicBezTo>
                    <a:pt x="42" y="0"/>
                    <a:pt x="42" y="21"/>
                    <a:pt x="21" y="21"/>
                  </a:cubicBezTo>
                  <a:cubicBezTo>
                    <a:pt x="21" y="21"/>
                    <a:pt x="21" y="21"/>
                    <a:pt x="21" y="41"/>
                  </a:cubicBezTo>
                  <a:cubicBezTo>
                    <a:pt x="0" y="41"/>
                    <a:pt x="0" y="62"/>
                    <a:pt x="0" y="62"/>
                  </a:cubicBezTo>
                  <a:cubicBezTo>
                    <a:pt x="0" y="62"/>
                    <a:pt x="0" y="82"/>
                    <a:pt x="21" y="82"/>
                  </a:cubicBezTo>
                  <a:lnTo>
                    <a:pt x="21" y="103"/>
                  </a:lnTo>
                  <a:lnTo>
                    <a:pt x="42" y="103"/>
                  </a:lnTo>
                  <a:lnTo>
                    <a:pt x="42" y="82"/>
                  </a:lnTo>
                  <a:lnTo>
                    <a:pt x="62" y="82"/>
                  </a:lnTo>
                  <a:lnTo>
                    <a:pt x="62" y="103"/>
                  </a:lnTo>
                  <a:lnTo>
                    <a:pt x="62" y="103"/>
                  </a:lnTo>
                  <a:cubicBezTo>
                    <a:pt x="62" y="123"/>
                    <a:pt x="82" y="123"/>
                    <a:pt x="82" y="103"/>
                  </a:cubicBezTo>
                  <a:lnTo>
                    <a:pt x="82" y="103"/>
                  </a:lnTo>
                  <a:cubicBezTo>
                    <a:pt x="82" y="82"/>
                    <a:pt x="103" y="82"/>
                    <a:pt x="103"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2" name="Freeform 429">
              <a:extLst>
                <a:ext uri="{FF2B5EF4-FFF2-40B4-BE49-F238E27FC236}">
                  <a16:creationId xmlns:a16="http://schemas.microsoft.com/office/drawing/2014/main" id="{A45B0DE1-E82B-B24E-8D77-901A68471116}"/>
                </a:ext>
              </a:extLst>
            </p:cNvPr>
            <p:cNvSpPr>
              <a:spLocks noChangeArrowheads="1"/>
            </p:cNvSpPr>
            <p:nvPr/>
          </p:nvSpPr>
          <p:spPr bwMode="auto">
            <a:xfrm>
              <a:off x="6313488" y="8094663"/>
              <a:ext cx="15875" cy="7937"/>
            </a:xfrm>
            <a:custGeom>
              <a:avLst/>
              <a:gdLst>
                <a:gd name="T0" fmla="*/ 41 w 42"/>
                <a:gd name="T1" fmla="*/ 0 h 22"/>
                <a:gd name="T2" fmla="*/ 41 w 42"/>
                <a:gd name="T3" fmla="*/ 0 h 22"/>
                <a:gd name="T4" fmla="*/ 21 w 42"/>
                <a:gd name="T5" fmla="*/ 21 h 22"/>
                <a:gd name="T6" fmla="*/ 21 w 42"/>
                <a:gd name="T7" fmla="*/ 21 h 22"/>
                <a:gd name="T8" fmla="*/ 21 w 42"/>
                <a:gd name="T9" fmla="*/ 0 h 22"/>
                <a:gd name="T10" fmla="*/ 21 w 42"/>
                <a:gd name="T11" fmla="*/ 0 h 22"/>
                <a:gd name="T12" fmla="*/ 41 w 4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41" y="0"/>
                  </a:moveTo>
                  <a:lnTo>
                    <a:pt x="41" y="0"/>
                  </a:lnTo>
                  <a:cubicBezTo>
                    <a:pt x="41" y="21"/>
                    <a:pt x="41" y="21"/>
                    <a:pt x="21" y="21"/>
                  </a:cubicBezTo>
                  <a:lnTo>
                    <a:pt x="21" y="21"/>
                  </a:lnTo>
                  <a:cubicBezTo>
                    <a:pt x="0" y="0"/>
                    <a:pt x="0" y="0"/>
                    <a:pt x="21" y="0"/>
                  </a:cubicBezTo>
                  <a:lnTo>
                    <a:pt x="21" y="0"/>
                  </a:lnTo>
                  <a:lnTo>
                    <a:pt x="4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3" name="Freeform 430">
              <a:extLst>
                <a:ext uri="{FF2B5EF4-FFF2-40B4-BE49-F238E27FC236}">
                  <a16:creationId xmlns:a16="http://schemas.microsoft.com/office/drawing/2014/main" id="{97D9B965-CCD1-7D48-AE5B-C875159EF990}"/>
                </a:ext>
              </a:extLst>
            </p:cNvPr>
            <p:cNvSpPr>
              <a:spLocks noChangeArrowheads="1"/>
            </p:cNvSpPr>
            <p:nvPr/>
          </p:nvSpPr>
          <p:spPr bwMode="auto">
            <a:xfrm>
              <a:off x="6297613" y="8131175"/>
              <a:ext cx="15875" cy="15875"/>
            </a:xfrm>
            <a:custGeom>
              <a:avLst/>
              <a:gdLst>
                <a:gd name="T0" fmla="*/ 20 w 42"/>
                <a:gd name="T1" fmla="*/ 0 h 42"/>
                <a:gd name="T2" fmla="*/ 20 w 42"/>
                <a:gd name="T3" fmla="*/ 0 h 42"/>
                <a:gd name="T4" fmla="*/ 0 w 42"/>
                <a:gd name="T5" fmla="*/ 20 h 42"/>
                <a:gd name="T6" fmla="*/ 20 w 42"/>
                <a:gd name="T7" fmla="*/ 41 h 42"/>
                <a:gd name="T8" fmla="*/ 20 w 42"/>
                <a:gd name="T9" fmla="*/ 20 h 42"/>
                <a:gd name="T10" fmla="*/ 41 w 42"/>
                <a:gd name="T11" fmla="*/ 20 h 42"/>
                <a:gd name="T12" fmla="*/ 20 w 4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0"/>
                  </a:moveTo>
                  <a:lnTo>
                    <a:pt x="20" y="0"/>
                  </a:lnTo>
                  <a:cubicBezTo>
                    <a:pt x="20" y="0"/>
                    <a:pt x="0" y="0"/>
                    <a:pt x="0" y="20"/>
                  </a:cubicBezTo>
                  <a:cubicBezTo>
                    <a:pt x="0" y="20"/>
                    <a:pt x="0" y="41"/>
                    <a:pt x="20" y="41"/>
                  </a:cubicBezTo>
                  <a:cubicBezTo>
                    <a:pt x="20" y="41"/>
                    <a:pt x="20" y="41"/>
                    <a:pt x="20" y="20"/>
                  </a:cubicBezTo>
                  <a:lnTo>
                    <a:pt x="41" y="20"/>
                  </a:lnTo>
                  <a:cubicBezTo>
                    <a:pt x="41" y="0"/>
                    <a:pt x="2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4" name="Freeform 431">
              <a:extLst>
                <a:ext uri="{FF2B5EF4-FFF2-40B4-BE49-F238E27FC236}">
                  <a16:creationId xmlns:a16="http://schemas.microsoft.com/office/drawing/2014/main" id="{E651C8AF-54C5-FD4E-8BA0-934E3501BBAA}"/>
                </a:ext>
              </a:extLst>
            </p:cNvPr>
            <p:cNvSpPr>
              <a:spLocks noChangeArrowheads="1"/>
            </p:cNvSpPr>
            <p:nvPr/>
          </p:nvSpPr>
          <p:spPr bwMode="auto">
            <a:xfrm>
              <a:off x="6364288" y="8101013"/>
              <a:ext cx="58737" cy="15875"/>
            </a:xfrm>
            <a:custGeom>
              <a:avLst/>
              <a:gdLst>
                <a:gd name="T0" fmla="*/ 82 w 165"/>
                <a:gd name="T1" fmla="*/ 41 h 42"/>
                <a:gd name="T2" fmla="*/ 82 w 165"/>
                <a:gd name="T3" fmla="*/ 41 h 42"/>
                <a:gd name="T4" fmla="*/ 124 w 165"/>
                <a:gd name="T5" fmla="*/ 41 h 42"/>
                <a:gd name="T6" fmla="*/ 144 w 165"/>
                <a:gd name="T7" fmla="*/ 41 h 42"/>
                <a:gd name="T8" fmla="*/ 164 w 165"/>
                <a:gd name="T9" fmla="*/ 20 h 42"/>
                <a:gd name="T10" fmla="*/ 144 w 165"/>
                <a:gd name="T11" fmla="*/ 0 h 42"/>
                <a:gd name="T12" fmla="*/ 103 w 165"/>
                <a:gd name="T13" fmla="*/ 0 h 42"/>
                <a:gd name="T14" fmla="*/ 62 w 165"/>
                <a:gd name="T15" fmla="*/ 0 h 42"/>
                <a:gd name="T16" fmla="*/ 42 w 165"/>
                <a:gd name="T17" fmla="*/ 0 h 42"/>
                <a:gd name="T18" fmla="*/ 21 w 165"/>
                <a:gd name="T19" fmla="*/ 0 h 42"/>
                <a:gd name="T20" fmla="*/ 0 w 165"/>
                <a:gd name="T21" fmla="*/ 20 h 42"/>
                <a:gd name="T22" fmla="*/ 21 w 165"/>
                <a:gd name="T23" fmla="*/ 41 h 42"/>
                <a:gd name="T24" fmla="*/ 42 w 165"/>
                <a:gd name="T25" fmla="*/ 41 h 42"/>
                <a:gd name="T26" fmla="*/ 82 w 165"/>
                <a:gd name="T2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5" h="42">
                  <a:moveTo>
                    <a:pt x="82" y="41"/>
                  </a:moveTo>
                  <a:lnTo>
                    <a:pt x="82" y="41"/>
                  </a:lnTo>
                  <a:cubicBezTo>
                    <a:pt x="82" y="41"/>
                    <a:pt x="103" y="41"/>
                    <a:pt x="124" y="41"/>
                  </a:cubicBezTo>
                  <a:lnTo>
                    <a:pt x="144" y="41"/>
                  </a:lnTo>
                  <a:cubicBezTo>
                    <a:pt x="164" y="41"/>
                    <a:pt x="164" y="20"/>
                    <a:pt x="164" y="20"/>
                  </a:cubicBezTo>
                  <a:lnTo>
                    <a:pt x="144" y="0"/>
                  </a:lnTo>
                  <a:lnTo>
                    <a:pt x="103" y="0"/>
                  </a:lnTo>
                  <a:cubicBezTo>
                    <a:pt x="82" y="0"/>
                    <a:pt x="82" y="0"/>
                    <a:pt x="62" y="0"/>
                  </a:cubicBezTo>
                  <a:lnTo>
                    <a:pt x="42" y="0"/>
                  </a:lnTo>
                  <a:cubicBezTo>
                    <a:pt x="21" y="0"/>
                    <a:pt x="21" y="0"/>
                    <a:pt x="21" y="0"/>
                  </a:cubicBezTo>
                  <a:cubicBezTo>
                    <a:pt x="21" y="20"/>
                    <a:pt x="0" y="20"/>
                    <a:pt x="0" y="20"/>
                  </a:cubicBezTo>
                  <a:lnTo>
                    <a:pt x="21" y="41"/>
                  </a:lnTo>
                  <a:lnTo>
                    <a:pt x="42" y="41"/>
                  </a:lnTo>
                  <a:cubicBezTo>
                    <a:pt x="42" y="41"/>
                    <a:pt x="62" y="41"/>
                    <a:pt x="82"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5" name="Freeform 432">
              <a:extLst>
                <a:ext uri="{FF2B5EF4-FFF2-40B4-BE49-F238E27FC236}">
                  <a16:creationId xmlns:a16="http://schemas.microsoft.com/office/drawing/2014/main" id="{E75816A8-97DD-D940-A252-5923960266E6}"/>
                </a:ext>
              </a:extLst>
            </p:cNvPr>
            <p:cNvSpPr>
              <a:spLocks noChangeArrowheads="1"/>
            </p:cNvSpPr>
            <p:nvPr/>
          </p:nvSpPr>
          <p:spPr bwMode="auto">
            <a:xfrm>
              <a:off x="6438900" y="8101013"/>
              <a:ext cx="50800" cy="15875"/>
            </a:xfrm>
            <a:custGeom>
              <a:avLst/>
              <a:gdLst>
                <a:gd name="T0" fmla="*/ 102 w 143"/>
                <a:gd name="T1" fmla="*/ 41 h 42"/>
                <a:gd name="T2" fmla="*/ 102 w 143"/>
                <a:gd name="T3" fmla="*/ 41 h 42"/>
                <a:gd name="T4" fmla="*/ 122 w 143"/>
                <a:gd name="T5" fmla="*/ 41 h 42"/>
                <a:gd name="T6" fmla="*/ 142 w 143"/>
                <a:gd name="T7" fmla="*/ 41 h 42"/>
                <a:gd name="T8" fmla="*/ 142 w 143"/>
                <a:gd name="T9" fmla="*/ 20 h 42"/>
                <a:gd name="T10" fmla="*/ 142 w 143"/>
                <a:gd name="T11" fmla="*/ 0 h 42"/>
                <a:gd name="T12" fmla="*/ 122 w 143"/>
                <a:gd name="T13" fmla="*/ 0 h 42"/>
                <a:gd name="T14" fmla="*/ 82 w 143"/>
                <a:gd name="T15" fmla="*/ 0 h 42"/>
                <a:gd name="T16" fmla="*/ 61 w 143"/>
                <a:gd name="T17" fmla="*/ 20 h 42"/>
                <a:gd name="T18" fmla="*/ 20 w 143"/>
                <a:gd name="T19" fmla="*/ 0 h 42"/>
                <a:gd name="T20" fmla="*/ 0 w 143"/>
                <a:gd name="T21" fmla="*/ 0 h 42"/>
                <a:gd name="T22" fmla="*/ 0 w 143"/>
                <a:gd name="T23" fmla="*/ 20 h 42"/>
                <a:gd name="T24" fmla="*/ 20 w 143"/>
                <a:gd name="T25" fmla="*/ 41 h 42"/>
                <a:gd name="T26" fmla="*/ 61 w 143"/>
                <a:gd name="T27" fmla="*/ 41 h 42"/>
                <a:gd name="T28" fmla="*/ 82 w 143"/>
                <a:gd name="T29" fmla="*/ 41 h 42"/>
                <a:gd name="T30" fmla="*/ 102 w 143"/>
                <a:gd name="T31"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3" h="42">
                  <a:moveTo>
                    <a:pt x="102" y="41"/>
                  </a:moveTo>
                  <a:lnTo>
                    <a:pt x="102" y="41"/>
                  </a:lnTo>
                  <a:cubicBezTo>
                    <a:pt x="102" y="41"/>
                    <a:pt x="102" y="41"/>
                    <a:pt x="122" y="41"/>
                  </a:cubicBezTo>
                  <a:lnTo>
                    <a:pt x="142" y="41"/>
                  </a:lnTo>
                  <a:lnTo>
                    <a:pt x="142" y="20"/>
                  </a:lnTo>
                  <a:lnTo>
                    <a:pt x="142" y="0"/>
                  </a:lnTo>
                  <a:cubicBezTo>
                    <a:pt x="122" y="0"/>
                    <a:pt x="122" y="0"/>
                    <a:pt x="122" y="0"/>
                  </a:cubicBezTo>
                  <a:cubicBezTo>
                    <a:pt x="102" y="0"/>
                    <a:pt x="102" y="0"/>
                    <a:pt x="82" y="0"/>
                  </a:cubicBezTo>
                  <a:lnTo>
                    <a:pt x="61" y="20"/>
                  </a:lnTo>
                  <a:cubicBezTo>
                    <a:pt x="40" y="0"/>
                    <a:pt x="40" y="0"/>
                    <a:pt x="20" y="0"/>
                  </a:cubicBezTo>
                  <a:lnTo>
                    <a:pt x="0" y="0"/>
                  </a:lnTo>
                  <a:cubicBezTo>
                    <a:pt x="0" y="20"/>
                    <a:pt x="0" y="20"/>
                    <a:pt x="0" y="20"/>
                  </a:cubicBezTo>
                  <a:cubicBezTo>
                    <a:pt x="0" y="41"/>
                    <a:pt x="20" y="41"/>
                    <a:pt x="20" y="41"/>
                  </a:cubicBezTo>
                  <a:cubicBezTo>
                    <a:pt x="40" y="41"/>
                    <a:pt x="61" y="41"/>
                    <a:pt x="61" y="41"/>
                  </a:cubicBezTo>
                  <a:lnTo>
                    <a:pt x="82" y="41"/>
                  </a:lnTo>
                  <a:cubicBezTo>
                    <a:pt x="82" y="41"/>
                    <a:pt x="82" y="41"/>
                    <a:pt x="102"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6" name="Freeform 433">
              <a:extLst>
                <a:ext uri="{FF2B5EF4-FFF2-40B4-BE49-F238E27FC236}">
                  <a16:creationId xmlns:a16="http://schemas.microsoft.com/office/drawing/2014/main" id="{56E47E6D-B01D-164B-94BD-ECE8D0FB24D7}"/>
                </a:ext>
              </a:extLst>
            </p:cNvPr>
            <p:cNvSpPr>
              <a:spLocks noChangeArrowheads="1"/>
            </p:cNvSpPr>
            <p:nvPr/>
          </p:nvSpPr>
          <p:spPr bwMode="auto">
            <a:xfrm>
              <a:off x="6453188" y="8131175"/>
              <a:ext cx="22225" cy="36513"/>
            </a:xfrm>
            <a:custGeom>
              <a:avLst/>
              <a:gdLst>
                <a:gd name="T0" fmla="*/ 62 w 63"/>
                <a:gd name="T1" fmla="*/ 102 h 103"/>
                <a:gd name="T2" fmla="*/ 62 w 63"/>
                <a:gd name="T3" fmla="*/ 102 h 103"/>
                <a:gd name="T4" fmla="*/ 42 w 63"/>
                <a:gd name="T5" fmla="*/ 82 h 103"/>
                <a:gd name="T6" fmla="*/ 21 w 63"/>
                <a:gd name="T7" fmla="*/ 61 h 103"/>
                <a:gd name="T8" fmla="*/ 21 w 63"/>
                <a:gd name="T9" fmla="*/ 41 h 103"/>
                <a:gd name="T10" fmla="*/ 0 w 63"/>
                <a:gd name="T11" fmla="*/ 20 h 103"/>
                <a:gd name="T12" fmla="*/ 0 w 63"/>
                <a:gd name="T13" fmla="*/ 0 h 103"/>
                <a:gd name="T14" fmla="*/ 21 w 63"/>
                <a:gd name="T15" fmla="*/ 0 h 103"/>
                <a:gd name="T16" fmla="*/ 42 w 63"/>
                <a:gd name="T17" fmla="*/ 0 h 103"/>
                <a:gd name="T18" fmla="*/ 42 w 63"/>
                <a:gd name="T19" fmla="*/ 20 h 103"/>
                <a:gd name="T20" fmla="*/ 42 w 63"/>
                <a:gd name="T21" fmla="*/ 41 h 103"/>
                <a:gd name="T22" fmla="*/ 62 w 63"/>
                <a:gd name="T23" fmla="*/ 61 h 103"/>
                <a:gd name="T24" fmla="*/ 62 w 63"/>
                <a:gd name="T25" fmla="*/ 82 h 103"/>
                <a:gd name="T26" fmla="*/ 62 w 63"/>
                <a:gd name="T27" fmla="*/ 10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103">
                  <a:moveTo>
                    <a:pt x="62" y="102"/>
                  </a:moveTo>
                  <a:lnTo>
                    <a:pt x="62" y="102"/>
                  </a:lnTo>
                  <a:cubicBezTo>
                    <a:pt x="62" y="102"/>
                    <a:pt x="42" y="102"/>
                    <a:pt x="42" y="82"/>
                  </a:cubicBezTo>
                  <a:lnTo>
                    <a:pt x="21" y="61"/>
                  </a:lnTo>
                  <a:lnTo>
                    <a:pt x="21" y="41"/>
                  </a:lnTo>
                  <a:lnTo>
                    <a:pt x="0" y="20"/>
                  </a:lnTo>
                  <a:lnTo>
                    <a:pt x="0" y="0"/>
                  </a:lnTo>
                  <a:lnTo>
                    <a:pt x="21" y="0"/>
                  </a:lnTo>
                  <a:cubicBezTo>
                    <a:pt x="21" y="0"/>
                    <a:pt x="21" y="0"/>
                    <a:pt x="42" y="0"/>
                  </a:cubicBezTo>
                  <a:lnTo>
                    <a:pt x="42" y="20"/>
                  </a:lnTo>
                  <a:lnTo>
                    <a:pt x="42" y="41"/>
                  </a:lnTo>
                  <a:lnTo>
                    <a:pt x="62" y="61"/>
                  </a:lnTo>
                  <a:lnTo>
                    <a:pt x="62" y="82"/>
                  </a:lnTo>
                  <a:lnTo>
                    <a:pt x="62" y="10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7" name="Freeform 434">
              <a:extLst>
                <a:ext uri="{FF2B5EF4-FFF2-40B4-BE49-F238E27FC236}">
                  <a16:creationId xmlns:a16="http://schemas.microsoft.com/office/drawing/2014/main" id="{3B9A9BEC-05B6-FE43-AC7F-D8DEA5D08896}"/>
                </a:ext>
              </a:extLst>
            </p:cNvPr>
            <p:cNvSpPr>
              <a:spLocks noChangeArrowheads="1"/>
            </p:cNvSpPr>
            <p:nvPr/>
          </p:nvSpPr>
          <p:spPr bwMode="auto">
            <a:xfrm>
              <a:off x="6291263" y="8278813"/>
              <a:ext cx="7937" cy="22225"/>
            </a:xfrm>
            <a:custGeom>
              <a:avLst/>
              <a:gdLst>
                <a:gd name="T0" fmla="*/ 20 w 21"/>
                <a:gd name="T1" fmla="*/ 21 h 63"/>
                <a:gd name="T2" fmla="*/ 20 w 21"/>
                <a:gd name="T3" fmla="*/ 21 h 63"/>
                <a:gd name="T4" fmla="*/ 20 w 21"/>
                <a:gd name="T5" fmla="*/ 21 h 63"/>
                <a:gd name="T6" fmla="*/ 20 w 21"/>
                <a:gd name="T7" fmla="*/ 42 h 63"/>
                <a:gd name="T8" fmla="*/ 20 w 21"/>
                <a:gd name="T9" fmla="*/ 62 h 63"/>
                <a:gd name="T10" fmla="*/ 0 w 21"/>
                <a:gd name="T11" fmla="*/ 42 h 63"/>
                <a:gd name="T12" fmla="*/ 0 w 21"/>
                <a:gd name="T13" fmla="*/ 21 h 63"/>
                <a:gd name="T14" fmla="*/ 20 w 21"/>
                <a:gd name="T15" fmla="*/ 0 h 63"/>
                <a:gd name="T16" fmla="*/ 20 w 21"/>
                <a:gd name="T17"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63">
                  <a:moveTo>
                    <a:pt x="20" y="21"/>
                  </a:moveTo>
                  <a:lnTo>
                    <a:pt x="20" y="21"/>
                  </a:lnTo>
                  <a:lnTo>
                    <a:pt x="20" y="21"/>
                  </a:lnTo>
                  <a:cubicBezTo>
                    <a:pt x="20" y="42"/>
                    <a:pt x="20" y="42"/>
                    <a:pt x="20" y="42"/>
                  </a:cubicBezTo>
                  <a:lnTo>
                    <a:pt x="20" y="62"/>
                  </a:lnTo>
                  <a:lnTo>
                    <a:pt x="0" y="42"/>
                  </a:lnTo>
                  <a:lnTo>
                    <a:pt x="0" y="21"/>
                  </a:lnTo>
                  <a:cubicBezTo>
                    <a:pt x="0" y="21"/>
                    <a:pt x="0" y="0"/>
                    <a:pt x="20" y="0"/>
                  </a:cubicBez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8" name="Freeform 435">
              <a:extLst>
                <a:ext uri="{FF2B5EF4-FFF2-40B4-BE49-F238E27FC236}">
                  <a16:creationId xmlns:a16="http://schemas.microsoft.com/office/drawing/2014/main" id="{693512AE-4302-A842-A7A9-262D6DA54C61}"/>
                </a:ext>
              </a:extLst>
            </p:cNvPr>
            <p:cNvSpPr>
              <a:spLocks noChangeArrowheads="1"/>
            </p:cNvSpPr>
            <p:nvPr/>
          </p:nvSpPr>
          <p:spPr bwMode="auto">
            <a:xfrm>
              <a:off x="6291263" y="8264525"/>
              <a:ext cx="7937" cy="7938"/>
            </a:xfrm>
            <a:custGeom>
              <a:avLst/>
              <a:gdLst>
                <a:gd name="T0" fmla="*/ 20 w 21"/>
                <a:gd name="T1" fmla="*/ 20 h 21"/>
                <a:gd name="T2" fmla="*/ 20 w 21"/>
                <a:gd name="T3" fmla="*/ 20 h 21"/>
                <a:gd name="T4" fmla="*/ 0 w 21"/>
                <a:gd name="T5" fmla="*/ 20 h 21"/>
                <a:gd name="T6" fmla="*/ 0 w 21"/>
                <a:gd name="T7" fmla="*/ 0 h 21"/>
                <a:gd name="T8" fmla="*/ 20 w 21"/>
                <a:gd name="T9" fmla="*/ 0 h 21"/>
                <a:gd name="T10" fmla="*/ 20 w 21"/>
                <a:gd name="T11" fmla="*/ 0 h 21"/>
                <a:gd name="T12" fmla="*/ 2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20"/>
                  </a:moveTo>
                  <a:lnTo>
                    <a:pt x="20" y="20"/>
                  </a:lnTo>
                  <a:cubicBezTo>
                    <a:pt x="0" y="20"/>
                    <a:pt x="0" y="20"/>
                    <a:pt x="0" y="20"/>
                  </a:cubicBezTo>
                  <a:lnTo>
                    <a:pt x="0" y="0"/>
                  </a:lnTo>
                  <a:lnTo>
                    <a:pt x="20" y="0"/>
                  </a:lnTo>
                  <a:lnTo>
                    <a:pt x="20" y="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39" name="Freeform 436">
              <a:extLst>
                <a:ext uri="{FF2B5EF4-FFF2-40B4-BE49-F238E27FC236}">
                  <a16:creationId xmlns:a16="http://schemas.microsoft.com/office/drawing/2014/main" id="{4A0FD038-FB53-6646-9206-A63ABCC408BB}"/>
                </a:ext>
              </a:extLst>
            </p:cNvPr>
            <p:cNvSpPr>
              <a:spLocks noChangeArrowheads="1"/>
            </p:cNvSpPr>
            <p:nvPr/>
          </p:nvSpPr>
          <p:spPr bwMode="auto">
            <a:xfrm>
              <a:off x="6283325" y="8234363"/>
              <a:ext cx="15875" cy="15875"/>
            </a:xfrm>
            <a:custGeom>
              <a:avLst/>
              <a:gdLst>
                <a:gd name="T0" fmla="*/ 21 w 42"/>
                <a:gd name="T1" fmla="*/ 20 h 42"/>
                <a:gd name="T2" fmla="*/ 21 w 42"/>
                <a:gd name="T3" fmla="*/ 20 h 42"/>
                <a:gd name="T4" fmla="*/ 0 w 42"/>
                <a:gd name="T5" fmla="*/ 20 h 42"/>
                <a:gd name="T6" fmla="*/ 21 w 42"/>
                <a:gd name="T7" fmla="*/ 20 h 42"/>
                <a:gd name="T8" fmla="*/ 21 w 42"/>
                <a:gd name="T9" fmla="*/ 20 h 42"/>
                <a:gd name="T10" fmla="*/ 41 w 42"/>
                <a:gd name="T11" fmla="*/ 20 h 42"/>
                <a:gd name="T12" fmla="*/ 21 w 4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1" y="20"/>
                  </a:moveTo>
                  <a:lnTo>
                    <a:pt x="21" y="20"/>
                  </a:lnTo>
                  <a:cubicBezTo>
                    <a:pt x="21" y="41"/>
                    <a:pt x="21" y="20"/>
                    <a:pt x="0" y="20"/>
                  </a:cubicBezTo>
                  <a:cubicBezTo>
                    <a:pt x="0" y="20"/>
                    <a:pt x="0" y="20"/>
                    <a:pt x="21" y="20"/>
                  </a:cubicBezTo>
                  <a:cubicBezTo>
                    <a:pt x="21" y="0"/>
                    <a:pt x="21" y="0"/>
                    <a:pt x="21" y="20"/>
                  </a:cubicBezTo>
                  <a:lnTo>
                    <a:pt x="41" y="20"/>
                  </a:ln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0" name="Freeform 437">
              <a:extLst>
                <a:ext uri="{FF2B5EF4-FFF2-40B4-BE49-F238E27FC236}">
                  <a16:creationId xmlns:a16="http://schemas.microsoft.com/office/drawing/2014/main" id="{FCE8D347-44A6-EB41-8F03-2C046C8849ED}"/>
                </a:ext>
              </a:extLst>
            </p:cNvPr>
            <p:cNvSpPr>
              <a:spLocks noChangeArrowheads="1"/>
            </p:cNvSpPr>
            <p:nvPr/>
          </p:nvSpPr>
          <p:spPr bwMode="auto">
            <a:xfrm>
              <a:off x="6275388" y="8226425"/>
              <a:ext cx="7937" cy="7938"/>
            </a:xfrm>
            <a:custGeom>
              <a:avLst/>
              <a:gdLst>
                <a:gd name="T0" fmla="*/ 21 w 22"/>
                <a:gd name="T1" fmla="*/ 21 h 22"/>
                <a:gd name="T2" fmla="*/ 21 w 22"/>
                <a:gd name="T3" fmla="*/ 21 h 22"/>
                <a:gd name="T4" fmla="*/ 0 w 22"/>
                <a:gd name="T5" fmla="*/ 21 h 22"/>
                <a:gd name="T6" fmla="*/ 0 w 22"/>
                <a:gd name="T7" fmla="*/ 0 h 22"/>
                <a:gd name="T8" fmla="*/ 21 w 22"/>
                <a:gd name="T9" fmla="*/ 0 h 22"/>
                <a:gd name="T10" fmla="*/ 21 w 22"/>
                <a:gd name="T11" fmla="*/ 21 h 22"/>
              </a:gdLst>
              <a:ahLst/>
              <a:cxnLst>
                <a:cxn ang="0">
                  <a:pos x="T0" y="T1"/>
                </a:cxn>
                <a:cxn ang="0">
                  <a:pos x="T2" y="T3"/>
                </a:cxn>
                <a:cxn ang="0">
                  <a:pos x="T4" y="T5"/>
                </a:cxn>
                <a:cxn ang="0">
                  <a:pos x="T6" y="T7"/>
                </a:cxn>
                <a:cxn ang="0">
                  <a:pos x="T8" y="T9"/>
                </a:cxn>
                <a:cxn ang="0">
                  <a:pos x="T10" y="T11"/>
                </a:cxn>
              </a:cxnLst>
              <a:rect l="0" t="0" r="r" b="b"/>
              <a:pathLst>
                <a:path w="22" h="22">
                  <a:moveTo>
                    <a:pt x="21" y="21"/>
                  </a:moveTo>
                  <a:lnTo>
                    <a:pt x="21" y="21"/>
                  </a:lnTo>
                  <a:lnTo>
                    <a:pt x="0" y="21"/>
                  </a:lnTo>
                  <a:lnTo>
                    <a:pt x="0" y="0"/>
                  </a:lnTo>
                  <a:cubicBezTo>
                    <a:pt x="0" y="0"/>
                    <a:pt x="0" y="0"/>
                    <a:pt x="21" y="0"/>
                  </a:cubicBezTo>
                  <a:cubicBezTo>
                    <a:pt x="21" y="0"/>
                    <a:pt x="21" y="0"/>
                    <a:pt x="2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1" name="Freeform 438">
              <a:extLst>
                <a:ext uri="{FF2B5EF4-FFF2-40B4-BE49-F238E27FC236}">
                  <a16:creationId xmlns:a16="http://schemas.microsoft.com/office/drawing/2014/main" id="{B8B3F25D-5150-804F-B57C-35BCB42D87C8}"/>
                </a:ext>
              </a:extLst>
            </p:cNvPr>
            <p:cNvSpPr>
              <a:spLocks noChangeArrowheads="1"/>
            </p:cNvSpPr>
            <p:nvPr/>
          </p:nvSpPr>
          <p:spPr bwMode="auto">
            <a:xfrm>
              <a:off x="6269038" y="8212138"/>
              <a:ext cx="7937" cy="7937"/>
            </a:xfrm>
            <a:custGeom>
              <a:avLst/>
              <a:gdLst>
                <a:gd name="T0" fmla="*/ 0 w 21"/>
                <a:gd name="T1" fmla="*/ 0 h 22"/>
                <a:gd name="T2" fmla="*/ 0 w 21"/>
                <a:gd name="T3" fmla="*/ 0 h 22"/>
                <a:gd name="T4" fmla="*/ 0 w 21"/>
                <a:gd name="T5" fmla="*/ 0 h 22"/>
                <a:gd name="T6" fmla="*/ 0 w 21"/>
                <a:gd name="T7" fmla="*/ 0 h 22"/>
                <a:gd name="T8" fmla="*/ 20 w 21"/>
                <a:gd name="T9" fmla="*/ 0 h 22"/>
                <a:gd name="T10" fmla="*/ 20 w 21"/>
                <a:gd name="T11" fmla="*/ 21 h 22"/>
                <a:gd name="T12" fmla="*/ 0 w 21"/>
                <a:gd name="T13" fmla="*/ 21 h 22"/>
                <a:gd name="T14" fmla="*/ 0 w 2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2">
                  <a:moveTo>
                    <a:pt x="0" y="0"/>
                  </a:moveTo>
                  <a:lnTo>
                    <a:pt x="0" y="0"/>
                  </a:lnTo>
                  <a:lnTo>
                    <a:pt x="0" y="0"/>
                  </a:lnTo>
                  <a:lnTo>
                    <a:pt x="0" y="0"/>
                  </a:lnTo>
                  <a:lnTo>
                    <a:pt x="20" y="0"/>
                  </a:lnTo>
                  <a:lnTo>
                    <a:pt x="20" y="21"/>
                  </a:lnTo>
                  <a:cubicBezTo>
                    <a:pt x="0" y="21"/>
                    <a:pt x="0" y="21"/>
                    <a:pt x="0" y="21"/>
                  </a:cubicBez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2" name="Freeform 439">
              <a:extLst>
                <a:ext uri="{FF2B5EF4-FFF2-40B4-BE49-F238E27FC236}">
                  <a16:creationId xmlns:a16="http://schemas.microsoft.com/office/drawing/2014/main" id="{087AEC01-2D32-9F44-9917-3B1EC3F2ED4D}"/>
                </a:ext>
              </a:extLst>
            </p:cNvPr>
            <p:cNvSpPr>
              <a:spLocks noChangeArrowheads="1"/>
            </p:cNvSpPr>
            <p:nvPr/>
          </p:nvSpPr>
          <p:spPr bwMode="auto">
            <a:xfrm>
              <a:off x="6253163" y="8204200"/>
              <a:ext cx="7937" cy="7938"/>
            </a:xfrm>
            <a:custGeom>
              <a:avLst/>
              <a:gdLst>
                <a:gd name="T0" fmla="*/ 0 w 22"/>
                <a:gd name="T1" fmla="*/ 0 h 21"/>
                <a:gd name="T2" fmla="*/ 0 w 22"/>
                <a:gd name="T3" fmla="*/ 0 h 21"/>
                <a:gd name="T4" fmla="*/ 0 w 22"/>
                <a:gd name="T5" fmla="*/ 0 h 21"/>
                <a:gd name="T6" fmla="*/ 0 w 22"/>
                <a:gd name="T7" fmla="*/ 20 h 21"/>
                <a:gd name="T8" fmla="*/ 0 w 22"/>
                <a:gd name="T9" fmla="*/ 20 h 21"/>
                <a:gd name="T10" fmla="*/ 21 w 22"/>
                <a:gd name="T11" fmla="*/ 20 h 21"/>
                <a:gd name="T12" fmla="*/ 0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0" y="0"/>
                  </a:moveTo>
                  <a:lnTo>
                    <a:pt x="0" y="0"/>
                  </a:lnTo>
                  <a:lnTo>
                    <a:pt x="0" y="0"/>
                  </a:lnTo>
                  <a:cubicBezTo>
                    <a:pt x="0" y="20"/>
                    <a:pt x="0" y="20"/>
                    <a:pt x="0" y="20"/>
                  </a:cubicBezTo>
                  <a:lnTo>
                    <a:pt x="0" y="20"/>
                  </a:lnTo>
                  <a:cubicBezTo>
                    <a:pt x="21" y="20"/>
                    <a:pt x="21" y="20"/>
                    <a:pt x="21" y="20"/>
                  </a:cubicBezTo>
                  <a:cubicBezTo>
                    <a:pt x="21"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3" name="Freeform 440">
              <a:extLst>
                <a:ext uri="{FF2B5EF4-FFF2-40B4-BE49-F238E27FC236}">
                  <a16:creationId xmlns:a16="http://schemas.microsoft.com/office/drawing/2014/main" id="{8445BA7A-EDE5-E04B-81C0-E8587EBBEA44}"/>
                </a:ext>
              </a:extLst>
            </p:cNvPr>
            <p:cNvSpPr>
              <a:spLocks noChangeArrowheads="1"/>
            </p:cNvSpPr>
            <p:nvPr/>
          </p:nvSpPr>
          <p:spPr bwMode="auto">
            <a:xfrm>
              <a:off x="6246813" y="8220075"/>
              <a:ext cx="15875" cy="15875"/>
            </a:xfrm>
            <a:custGeom>
              <a:avLst/>
              <a:gdLst>
                <a:gd name="T0" fmla="*/ 21 w 43"/>
                <a:gd name="T1" fmla="*/ 0 h 42"/>
                <a:gd name="T2" fmla="*/ 21 w 43"/>
                <a:gd name="T3" fmla="*/ 0 h 42"/>
                <a:gd name="T4" fmla="*/ 0 w 43"/>
                <a:gd name="T5" fmla="*/ 0 h 42"/>
                <a:gd name="T6" fmla="*/ 0 w 43"/>
                <a:gd name="T7" fmla="*/ 20 h 42"/>
                <a:gd name="T8" fmla="*/ 21 w 43"/>
                <a:gd name="T9" fmla="*/ 41 h 42"/>
                <a:gd name="T10" fmla="*/ 42 w 43"/>
                <a:gd name="T11" fmla="*/ 20 h 42"/>
                <a:gd name="T12" fmla="*/ 21 w 43"/>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3" h="42">
                  <a:moveTo>
                    <a:pt x="21" y="0"/>
                  </a:moveTo>
                  <a:lnTo>
                    <a:pt x="21" y="0"/>
                  </a:lnTo>
                  <a:lnTo>
                    <a:pt x="0" y="0"/>
                  </a:lnTo>
                  <a:cubicBezTo>
                    <a:pt x="0" y="20"/>
                    <a:pt x="0" y="20"/>
                    <a:pt x="0" y="20"/>
                  </a:cubicBezTo>
                  <a:cubicBezTo>
                    <a:pt x="21" y="41"/>
                    <a:pt x="21" y="41"/>
                    <a:pt x="21" y="41"/>
                  </a:cubicBezTo>
                  <a:cubicBezTo>
                    <a:pt x="21" y="41"/>
                    <a:pt x="21" y="20"/>
                    <a:pt x="42" y="2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4" name="Freeform 441">
              <a:extLst>
                <a:ext uri="{FF2B5EF4-FFF2-40B4-BE49-F238E27FC236}">
                  <a16:creationId xmlns:a16="http://schemas.microsoft.com/office/drawing/2014/main" id="{AF24C7E6-F7A2-EA41-97EB-509E12AEE6E8}"/>
                </a:ext>
              </a:extLst>
            </p:cNvPr>
            <p:cNvSpPr>
              <a:spLocks noChangeArrowheads="1"/>
            </p:cNvSpPr>
            <p:nvPr/>
          </p:nvSpPr>
          <p:spPr bwMode="auto">
            <a:xfrm>
              <a:off x="6202363" y="8366125"/>
              <a:ext cx="22225" cy="38100"/>
            </a:xfrm>
            <a:custGeom>
              <a:avLst/>
              <a:gdLst>
                <a:gd name="T0" fmla="*/ 40 w 62"/>
                <a:gd name="T1" fmla="*/ 103 h 104"/>
                <a:gd name="T2" fmla="*/ 40 w 62"/>
                <a:gd name="T3" fmla="*/ 103 h 104"/>
                <a:gd name="T4" fmla="*/ 61 w 62"/>
                <a:gd name="T5" fmla="*/ 82 h 104"/>
                <a:gd name="T6" fmla="*/ 61 w 62"/>
                <a:gd name="T7" fmla="*/ 62 h 104"/>
                <a:gd name="T8" fmla="*/ 40 w 62"/>
                <a:gd name="T9" fmla="*/ 42 h 104"/>
                <a:gd name="T10" fmla="*/ 40 w 62"/>
                <a:gd name="T11" fmla="*/ 21 h 104"/>
                <a:gd name="T12" fmla="*/ 20 w 62"/>
                <a:gd name="T13" fmla="*/ 0 h 104"/>
                <a:gd name="T14" fmla="*/ 0 w 62"/>
                <a:gd name="T15" fmla="*/ 21 h 104"/>
                <a:gd name="T16" fmla="*/ 0 w 62"/>
                <a:gd name="T17" fmla="*/ 21 h 104"/>
                <a:gd name="T18" fmla="*/ 0 w 62"/>
                <a:gd name="T19" fmla="*/ 42 h 104"/>
                <a:gd name="T20" fmla="*/ 20 w 62"/>
                <a:gd name="T21" fmla="*/ 62 h 104"/>
                <a:gd name="T22" fmla="*/ 20 w 62"/>
                <a:gd name="T23" fmla="*/ 82 h 104"/>
                <a:gd name="T24" fmla="*/ 20 w 62"/>
                <a:gd name="T25" fmla="*/ 103 h 104"/>
                <a:gd name="T26" fmla="*/ 40 w 62"/>
                <a:gd name="T27"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04">
                  <a:moveTo>
                    <a:pt x="40" y="103"/>
                  </a:moveTo>
                  <a:lnTo>
                    <a:pt x="40" y="103"/>
                  </a:lnTo>
                  <a:cubicBezTo>
                    <a:pt x="40" y="103"/>
                    <a:pt x="40" y="82"/>
                    <a:pt x="61" y="82"/>
                  </a:cubicBezTo>
                  <a:lnTo>
                    <a:pt x="61" y="62"/>
                  </a:lnTo>
                  <a:lnTo>
                    <a:pt x="40" y="42"/>
                  </a:lnTo>
                  <a:cubicBezTo>
                    <a:pt x="40" y="21"/>
                    <a:pt x="40" y="21"/>
                    <a:pt x="40" y="21"/>
                  </a:cubicBezTo>
                  <a:cubicBezTo>
                    <a:pt x="40" y="0"/>
                    <a:pt x="20" y="0"/>
                    <a:pt x="20" y="0"/>
                  </a:cubicBezTo>
                  <a:cubicBezTo>
                    <a:pt x="20" y="0"/>
                    <a:pt x="0" y="0"/>
                    <a:pt x="0" y="21"/>
                  </a:cubicBezTo>
                  <a:lnTo>
                    <a:pt x="0" y="21"/>
                  </a:lnTo>
                  <a:cubicBezTo>
                    <a:pt x="0" y="42"/>
                    <a:pt x="0" y="42"/>
                    <a:pt x="0" y="42"/>
                  </a:cubicBezTo>
                  <a:cubicBezTo>
                    <a:pt x="0" y="42"/>
                    <a:pt x="20" y="42"/>
                    <a:pt x="20" y="62"/>
                  </a:cubicBezTo>
                  <a:lnTo>
                    <a:pt x="20" y="82"/>
                  </a:lnTo>
                  <a:lnTo>
                    <a:pt x="20" y="103"/>
                  </a:lnTo>
                  <a:cubicBezTo>
                    <a:pt x="40" y="103"/>
                    <a:pt x="40" y="103"/>
                    <a:pt x="40" y="10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5" name="Freeform 442">
              <a:extLst>
                <a:ext uri="{FF2B5EF4-FFF2-40B4-BE49-F238E27FC236}">
                  <a16:creationId xmlns:a16="http://schemas.microsoft.com/office/drawing/2014/main" id="{7AC717AD-6579-3143-80AE-EE9A48334391}"/>
                </a:ext>
              </a:extLst>
            </p:cNvPr>
            <p:cNvSpPr>
              <a:spLocks noChangeArrowheads="1"/>
            </p:cNvSpPr>
            <p:nvPr/>
          </p:nvSpPr>
          <p:spPr bwMode="auto">
            <a:xfrm>
              <a:off x="6232525" y="8329613"/>
              <a:ext cx="36513" cy="66675"/>
            </a:xfrm>
            <a:custGeom>
              <a:avLst/>
              <a:gdLst>
                <a:gd name="T0" fmla="*/ 40 w 103"/>
                <a:gd name="T1" fmla="*/ 184 h 185"/>
                <a:gd name="T2" fmla="*/ 40 w 103"/>
                <a:gd name="T3" fmla="*/ 184 h 185"/>
                <a:gd name="T4" fmla="*/ 40 w 103"/>
                <a:gd name="T5" fmla="*/ 164 h 185"/>
                <a:gd name="T6" fmla="*/ 40 w 103"/>
                <a:gd name="T7" fmla="*/ 184 h 185"/>
                <a:gd name="T8" fmla="*/ 0 w 103"/>
                <a:gd name="T9" fmla="*/ 164 h 185"/>
                <a:gd name="T10" fmla="*/ 0 w 103"/>
                <a:gd name="T11" fmla="*/ 144 h 185"/>
                <a:gd name="T12" fmla="*/ 20 w 103"/>
                <a:gd name="T13" fmla="*/ 123 h 185"/>
                <a:gd name="T14" fmla="*/ 40 w 103"/>
                <a:gd name="T15" fmla="*/ 102 h 185"/>
                <a:gd name="T16" fmla="*/ 40 w 103"/>
                <a:gd name="T17" fmla="*/ 41 h 185"/>
                <a:gd name="T18" fmla="*/ 40 w 103"/>
                <a:gd name="T19" fmla="*/ 20 h 185"/>
                <a:gd name="T20" fmla="*/ 61 w 103"/>
                <a:gd name="T21" fmla="*/ 0 h 185"/>
                <a:gd name="T22" fmla="*/ 82 w 103"/>
                <a:gd name="T23" fmla="*/ 0 h 185"/>
                <a:gd name="T24" fmla="*/ 102 w 103"/>
                <a:gd name="T25" fmla="*/ 0 h 185"/>
                <a:gd name="T26" fmla="*/ 102 w 103"/>
                <a:gd name="T27" fmla="*/ 41 h 185"/>
                <a:gd name="T28" fmla="*/ 102 w 103"/>
                <a:gd name="T29" fmla="*/ 62 h 185"/>
                <a:gd name="T30" fmla="*/ 82 w 103"/>
                <a:gd name="T31" fmla="*/ 82 h 185"/>
                <a:gd name="T32" fmla="*/ 82 w 103"/>
                <a:gd name="T33" fmla="*/ 102 h 185"/>
                <a:gd name="T34" fmla="*/ 82 w 103"/>
                <a:gd name="T35" fmla="*/ 144 h 185"/>
                <a:gd name="T36" fmla="*/ 82 w 103"/>
                <a:gd name="T37" fmla="*/ 164 h 185"/>
                <a:gd name="T38" fmla="*/ 82 w 103"/>
                <a:gd name="T39" fmla="*/ 184 h 185"/>
                <a:gd name="T40" fmla="*/ 61 w 103"/>
                <a:gd name="T41" fmla="*/ 184 h 185"/>
                <a:gd name="T42" fmla="*/ 40 w 103"/>
                <a:gd name="T43" fmla="*/ 1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 h="185">
                  <a:moveTo>
                    <a:pt x="40" y="184"/>
                  </a:moveTo>
                  <a:lnTo>
                    <a:pt x="40" y="184"/>
                  </a:lnTo>
                  <a:lnTo>
                    <a:pt x="40" y="164"/>
                  </a:lnTo>
                  <a:cubicBezTo>
                    <a:pt x="40" y="164"/>
                    <a:pt x="40" y="164"/>
                    <a:pt x="40" y="184"/>
                  </a:cubicBezTo>
                  <a:cubicBezTo>
                    <a:pt x="20" y="184"/>
                    <a:pt x="0" y="164"/>
                    <a:pt x="0" y="164"/>
                  </a:cubicBezTo>
                  <a:lnTo>
                    <a:pt x="0" y="144"/>
                  </a:lnTo>
                  <a:cubicBezTo>
                    <a:pt x="20" y="144"/>
                    <a:pt x="20" y="144"/>
                    <a:pt x="20" y="123"/>
                  </a:cubicBezTo>
                  <a:cubicBezTo>
                    <a:pt x="40" y="123"/>
                    <a:pt x="40" y="102"/>
                    <a:pt x="40" y="102"/>
                  </a:cubicBezTo>
                  <a:cubicBezTo>
                    <a:pt x="40" y="82"/>
                    <a:pt x="20" y="62"/>
                    <a:pt x="40" y="41"/>
                  </a:cubicBezTo>
                  <a:lnTo>
                    <a:pt x="40" y="20"/>
                  </a:lnTo>
                  <a:lnTo>
                    <a:pt x="61" y="0"/>
                  </a:lnTo>
                  <a:lnTo>
                    <a:pt x="82" y="0"/>
                  </a:lnTo>
                  <a:lnTo>
                    <a:pt x="102" y="0"/>
                  </a:lnTo>
                  <a:cubicBezTo>
                    <a:pt x="102" y="20"/>
                    <a:pt x="102" y="20"/>
                    <a:pt x="102" y="41"/>
                  </a:cubicBezTo>
                  <a:lnTo>
                    <a:pt x="102" y="62"/>
                  </a:lnTo>
                  <a:cubicBezTo>
                    <a:pt x="102" y="82"/>
                    <a:pt x="82" y="82"/>
                    <a:pt x="82" y="82"/>
                  </a:cubicBezTo>
                  <a:cubicBezTo>
                    <a:pt x="82" y="102"/>
                    <a:pt x="82" y="102"/>
                    <a:pt x="82" y="102"/>
                  </a:cubicBezTo>
                  <a:cubicBezTo>
                    <a:pt x="82" y="123"/>
                    <a:pt x="82" y="123"/>
                    <a:pt x="82" y="144"/>
                  </a:cubicBezTo>
                  <a:cubicBezTo>
                    <a:pt x="82" y="144"/>
                    <a:pt x="82" y="144"/>
                    <a:pt x="82" y="164"/>
                  </a:cubicBezTo>
                  <a:cubicBezTo>
                    <a:pt x="82" y="164"/>
                    <a:pt x="82" y="164"/>
                    <a:pt x="82" y="184"/>
                  </a:cubicBezTo>
                  <a:lnTo>
                    <a:pt x="61" y="184"/>
                  </a:lnTo>
                  <a:cubicBezTo>
                    <a:pt x="61" y="184"/>
                    <a:pt x="61" y="184"/>
                    <a:pt x="40" y="18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6" name="Freeform 443">
              <a:extLst>
                <a:ext uri="{FF2B5EF4-FFF2-40B4-BE49-F238E27FC236}">
                  <a16:creationId xmlns:a16="http://schemas.microsoft.com/office/drawing/2014/main" id="{C56D1F0D-9EAC-E041-B0DB-DAD42F9E8B60}"/>
                </a:ext>
              </a:extLst>
            </p:cNvPr>
            <p:cNvSpPr>
              <a:spLocks noChangeArrowheads="1"/>
            </p:cNvSpPr>
            <p:nvPr/>
          </p:nvSpPr>
          <p:spPr bwMode="auto">
            <a:xfrm>
              <a:off x="6261100" y="8315325"/>
              <a:ext cx="36513" cy="103188"/>
            </a:xfrm>
            <a:custGeom>
              <a:avLst/>
              <a:gdLst>
                <a:gd name="T0" fmla="*/ 82 w 103"/>
                <a:gd name="T1" fmla="*/ 164 h 288"/>
                <a:gd name="T2" fmla="*/ 82 w 103"/>
                <a:gd name="T3" fmla="*/ 164 h 288"/>
                <a:gd name="T4" fmla="*/ 61 w 103"/>
                <a:gd name="T5" fmla="*/ 123 h 288"/>
                <a:gd name="T6" fmla="*/ 82 w 103"/>
                <a:gd name="T7" fmla="*/ 103 h 288"/>
                <a:gd name="T8" fmla="*/ 102 w 103"/>
                <a:gd name="T9" fmla="*/ 82 h 288"/>
                <a:gd name="T10" fmla="*/ 102 w 103"/>
                <a:gd name="T11" fmla="*/ 61 h 288"/>
                <a:gd name="T12" fmla="*/ 102 w 103"/>
                <a:gd name="T13" fmla="*/ 41 h 288"/>
                <a:gd name="T14" fmla="*/ 102 w 103"/>
                <a:gd name="T15" fmla="*/ 0 h 288"/>
                <a:gd name="T16" fmla="*/ 102 w 103"/>
                <a:gd name="T17" fmla="*/ 0 h 288"/>
                <a:gd name="T18" fmla="*/ 82 w 103"/>
                <a:gd name="T19" fmla="*/ 21 h 288"/>
                <a:gd name="T20" fmla="*/ 61 w 103"/>
                <a:gd name="T21" fmla="*/ 41 h 288"/>
                <a:gd name="T22" fmla="*/ 40 w 103"/>
                <a:gd name="T23" fmla="*/ 61 h 288"/>
                <a:gd name="T24" fmla="*/ 40 w 103"/>
                <a:gd name="T25" fmla="*/ 82 h 288"/>
                <a:gd name="T26" fmla="*/ 40 w 103"/>
                <a:gd name="T27" fmla="*/ 123 h 288"/>
                <a:gd name="T28" fmla="*/ 40 w 103"/>
                <a:gd name="T29" fmla="*/ 143 h 288"/>
                <a:gd name="T30" fmla="*/ 40 w 103"/>
                <a:gd name="T31" fmla="*/ 185 h 288"/>
                <a:gd name="T32" fmla="*/ 20 w 103"/>
                <a:gd name="T33" fmla="*/ 225 h 288"/>
                <a:gd name="T34" fmla="*/ 20 w 103"/>
                <a:gd name="T35" fmla="*/ 225 h 288"/>
                <a:gd name="T36" fmla="*/ 0 w 103"/>
                <a:gd name="T37" fmla="*/ 246 h 288"/>
                <a:gd name="T38" fmla="*/ 0 w 103"/>
                <a:gd name="T39" fmla="*/ 267 h 288"/>
                <a:gd name="T40" fmla="*/ 20 w 103"/>
                <a:gd name="T41" fmla="*/ 287 h 288"/>
                <a:gd name="T42" fmla="*/ 20 w 103"/>
                <a:gd name="T43" fmla="*/ 287 h 288"/>
                <a:gd name="T44" fmla="*/ 40 w 103"/>
                <a:gd name="T45" fmla="*/ 287 h 288"/>
                <a:gd name="T46" fmla="*/ 40 w 103"/>
                <a:gd name="T47" fmla="*/ 267 h 288"/>
                <a:gd name="T48" fmla="*/ 40 w 103"/>
                <a:gd name="T49" fmla="*/ 246 h 288"/>
                <a:gd name="T50" fmla="*/ 61 w 103"/>
                <a:gd name="T51" fmla="*/ 246 h 288"/>
                <a:gd name="T52" fmla="*/ 82 w 103"/>
                <a:gd name="T53" fmla="*/ 246 h 288"/>
                <a:gd name="T54" fmla="*/ 82 w 103"/>
                <a:gd name="T55" fmla="*/ 225 h 288"/>
                <a:gd name="T56" fmla="*/ 82 w 103"/>
                <a:gd name="T57" fmla="*/ 225 h 288"/>
                <a:gd name="T58" fmla="*/ 102 w 103"/>
                <a:gd name="T59" fmla="*/ 185 h 288"/>
                <a:gd name="T60" fmla="*/ 82 w 103"/>
                <a:gd name="T61" fmla="*/ 16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288">
                  <a:moveTo>
                    <a:pt x="82" y="164"/>
                  </a:moveTo>
                  <a:lnTo>
                    <a:pt x="82" y="164"/>
                  </a:lnTo>
                  <a:cubicBezTo>
                    <a:pt x="61" y="143"/>
                    <a:pt x="61" y="143"/>
                    <a:pt x="61" y="123"/>
                  </a:cubicBezTo>
                  <a:cubicBezTo>
                    <a:pt x="61" y="123"/>
                    <a:pt x="61" y="103"/>
                    <a:pt x="82" y="103"/>
                  </a:cubicBezTo>
                  <a:cubicBezTo>
                    <a:pt x="82" y="82"/>
                    <a:pt x="82" y="103"/>
                    <a:pt x="102" y="82"/>
                  </a:cubicBezTo>
                  <a:lnTo>
                    <a:pt x="102" y="61"/>
                  </a:lnTo>
                  <a:lnTo>
                    <a:pt x="102" y="41"/>
                  </a:lnTo>
                  <a:cubicBezTo>
                    <a:pt x="102" y="21"/>
                    <a:pt x="102" y="21"/>
                    <a:pt x="102" y="0"/>
                  </a:cubicBezTo>
                  <a:lnTo>
                    <a:pt x="102" y="0"/>
                  </a:lnTo>
                  <a:cubicBezTo>
                    <a:pt x="82" y="0"/>
                    <a:pt x="82" y="21"/>
                    <a:pt x="82" y="21"/>
                  </a:cubicBezTo>
                  <a:cubicBezTo>
                    <a:pt x="61" y="21"/>
                    <a:pt x="61" y="21"/>
                    <a:pt x="61" y="41"/>
                  </a:cubicBezTo>
                  <a:cubicBezTo>
                    <a:pt x="61" y="41"/>
                    <a:pt x="40" y="41"/>
                    <a:pt x="40" y="61"/>
                  </a:cubicBezTo>
                  <a:lnTo>
                    <a:pt x="40" y="82"/>
                  </a:lnTo>
                  <a:cubicBezTo>
                    <a:pt x="40" y="82"/>
                    <a:pt x="40" y="103"/>
                    <a:pt x="40" y="123"/>
                  </a:cubicBezTo>
                  <a:lnTo>
                    <a:pt x="40" y="143"/>
                  </a:lnTo>
                  <a:cubicBezTo>
                    <a:pt x="40" y="164"/>
                    <a:pt x="40" y="185"/>
                    <a:pt x="40" y="185"/>
                  </a:cubicBezTo>
                  <a:cubicBezTo>
                    <a:pt x="40" y="185"/>
                    <a:pt x="40" y="205"/>
                    <a:pt x="20" y="225"/>
                  </a:cubicBezTo>
                  <a:lnTo>
                    <a:pt x="20" y="225"/>
                  </a:lnTo>
                  <a:cubicBezTo>
                    <a:pt x="0" y="246"/>
                    <a:pt x="0" y="246"/>
                    <a:pt x="0" y="246"/>
                  </a:cubicBezTo>
                  <a:lnTo>
                    <a:pt x="0" y="267"/>
                  </a:lnTo>
                  <a:cubicBezTo>
                    <a:pt x="0" y="267"/>
                    <a:pt x="0" y="287"/>
                    <a:pt x="20" y="287"/>
                  </a:cubicBezTo>
                  <a:lnTo>
                    <a:pt x="20" y="287"/>
                  </a:lnTo>
                  <a:cubicBezTo>
                    <a:pt x="40" y="287"/>
                    <a:pt x="40" y="287"/>
                    <a:pt x="40" y="287"/>
                  </a:cubicBezTo>
                  <a:lnTo>
                    <a:pt x="40" y="267"/>
                  </a:lnTo>
                  <a:lnTo>
                    <a:pt x="40" y="246"/>
                  </a:lnTo>
                  <a:cubicBezTo>
                    <a:pt x="61" y="246"/>
                    <a:pt x="61" y="246"/>
                    <a:pt x="61" y="246"/>
                  </a:cubicBezTo>
                  <a:cubicBezTo>
                    <a:pt x="61" y="246"/>
                    <a:pt x="61" y="246"/>
                    <a:pt x="82" y="246"/>
                  </a:cubicBezTo>
                  <a:lnTo>
                    <a:pt x="82" y="225"/>
                  </a:lnTo>
                  <a:lnTo>
                    <a:pt x="82" y="225"/>
                  </a:lnTo>
                  <a:cubicBezTo>
                    <a:pt x="82" y="205"/>
                    <a:pt x="102" y="205"/>
                    <a:pt x="102" y="185"/>
                  </a:cubicBezTo>
                  <a:cubicBezTo>
                    <a:pt x="102" y="185"/>
                    <a:pt x="82" y="185"/>
                    <a:pt x="82" y="16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7" name="Freeform 444">
              <a:extLst>
                <a:ext uri="{FF2B5EF4-FFF2-40B4-BE49-F238E27FC236}">
                  <a16:creationId xmlns:a16="http://schemas.microsoft.com/office/drawing/2014/main" id="{34CF6AAB-1D5F-784C-B980-1A8BE8D240E1}"/>
                </a:ext>
              </a:extLst>
            </p:cNvPr>
            <p:cNvSpPr>
              <a:spLocks noChangeArrowheads="1"/>
            </p:cNvSpPr>
            <p:nvPr/>
          </p:nvSpPr>
          <p:spPr bwMode="auto">
            <a:xfrm>
              <a:off x="6224588" y="8513763"/>
              <a:ext cx="22225" cy="7937"/>
            </a:xfrm>
            <a:custGeom>
              <a:avLst/>
              <a:gdLst>
                <a:gd name="T0" fmla="*/ 41 w 62"/>
                <a:gd name="T1" fmla="*/ 20 h 21"/>
                <a:gd name="T2" fmla="*/ 41 w 62"/>
                <a:gd name="T3" fmla="*/ 20 h 21"/>
                <a:gd name="T4" fmla="*/ 21 w 62"/>
                <a:gd name="T5" fmla="*/ 20 h 21"/>
                <a:gd name="T6" fmla="*/ 0 w 62"/>
                <a:gd name="T7" fmla="*/ 20 h 21"/>
                <a:gd name="T8" fmla="*/ 0 w 62"/>
                <a:gd name="T9" fmla="*/ 0 h 21"/>
                <a:gd name="T10" fmla="*/ 21 w 62"/>
                <a:gd name="T11" fmla="*/ 0 h 21"/>
                <a:gd name="T12" fmla="*/ 41 w 62"/>
                <a:gd name="T13" fmla="*/ 0 h 21"/>
                <a:gd name="T14" fmla="*/ 41 w 62"/>
                <a:gd name="T15" fmla="*/ 0 h 21"/>
                <a:gd name="T16" fmla="*/ 61 w 62"/>
                <a:gd name="T17" fmla="*/ 0 h 21"/>
                <a:gd name="T18" fmla="*/ 41 w 62"/>
                <a:gd name="T19"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21">
                  <a:moveTo>
                    <a:pt x="41" y="20"/>
                  </a:moveTo>
                  <a:lnTo>
                    <a:pt x="41" y="20"/>
                  </a:lnTo>
                  <a:lnTo>
                    <a:pt x="21" y="20"/>
                  </a:lnTo>
                  <a:lnTo>
                    <a:pt x="0" y="20"/>
                  </a:lnTo>
                  <a:cubicBezTo>
                    <a:pt x="0" y="0"/>
                    <a:pt x="0" y="0"/>
                    <a:pt x="0" y="0"/>
                  </a:cubicBezTo>
                  <a:lnTo>
                    <a:pt x="21" y="0"/>
                  </a:lnTo>
                  <a:cubicBezTo>
                    <a:pt x="21" y="0"/>
                    <a:pt x="21" y="0"/>
                    <a:pt x="41" y="0"/>
                  </a:cubicBezTo>
                  <a:lnTo>
                    <a:pt x="41" y="0"/>
                  </a:lnTo>
                  <a:cubicBezTo>
                    <a:pt x="61" y="0"/>
                    <a:pt x="61" y="0"/>
                    <a:pt x="61" y="0"/>
                  </a:cubicBezTo>
                  <a:cubicBezTo>
                    <a:pt x="61" y="20"/>
                    <a:pt x="41" y="2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8" name="Freeform 445">
              <a:extLst>
                <a:ext uri="{FF2B5EF4-FFF2-40B4-BE49-F238E27FC236}">
                  <a16:creationId xmlns:a16="http://schemas.microsoft.com/office/drawing/2014/main" id="{41F366BF-494A-4D40-BC70-2972D4B84971}"/>
                </a:ext>
              </a:extLst>
            </p:cNvPr>
            <p:cNvSpPr>
              <a:spLocks noChangeArrowheads="1"/>
            </p:cNvSpPr>
            <p:nvPr/>
          </p:nvSpPr>
          <p:spPr bwMode="auto">
            <a:xfrm>
              <a:off x="6357938" y="8412163"/>
              <a:ext cx="15875" cy="14287"/>
            </a:xfrm>
            <a:custGeom>
              <a:avLst/>
              <a:gdLst>
                <a:gd name="T0" fmla="*/ 20 w 42"/>
                <a:gd name="T1" fmla="*/ 40 h 41"/>
                <a:gd name="T2" fmla="*/ 20 w 42"/>
                <a:gd name="T3" fmla="*/ 40 h 41"/>
                <a:gd name="T4" fmla="*/ 0 w 42"/>
                <a:gd name="T5" fmla="*/ 20 h 41"/>
                <a:gd name="T6" fmla="*/ 20 w 42"/>
                <a:gd name="T7" fmla="*/ 0 h 41"/>
                <a:gd name="T8" fmla="*/ 20 w 42"/>
                <a:gd name="T9" fmla="*/ 0 h 41"/>
                <a:gd name="T10" fmla="*/ 41 w 42"/>
                <a:gd name="T11" fmla="*/ 20 h 41"/>
                <a:gd name="T12" fmla="*/ 41 w 42"/>
                <a:gd name="T13" fmla="*/ 20 h 41"/>
                <a:gd name="T14" fmla="*/ 20 w 42"/>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20" y="40"/>
                  </a:moveTo>
                  <a:lnTo>
                    <a:pt x="20" y="40"/>
                  </a:lnTo>
                  <a:lnTo>
                    <a:pt x="0" y="20"/>
                  </a:lnTo>
                  <a:cubicBezTo>
                    <a:pt x="0" y="20"/>
                    <a:pt x="0" y="0"/>
                    <a:pt x="20" y="0"/>
                  </a:cubicBezTo>
                  <a:lnTo>
                    <a:pt x="20" y="0"/>
                  </a:lnTo>
                  <a:lnTo>
                    <a:pt x="41" y="20"/>
                  </a:lnTo>
                  <a:lnTo>
                    <a:pt x="41" y="20"/>
                  </a:lnTo>
                  <a:cubicBezTo>
                    <a:pt x="20" y="40"/>
                    <a:pt x="20" y="40"/>
                    <a:pt x="20"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49" name="Freeform 446">
              <a:extLst>
                <a:ext uri="{FF2B5EF4-FFF2-40B4-BE49-F238E27FC236}">
                  <a16:creationId xmlns:a16="http://schemas.microsoft.com/office/drawing/2014/main" id="{C4C12590-3D83-E94C-BF08-F1D2DFE41F4A}"/>
                </a:ext>
              </a:extLst>
            </p:cNvPr>
            <p:cNvSpPr>
              <a:spLocks noChangeArrowheads="1"/>
            </p:cNvSpPr>
            <p:nvPr/>
          </p:nvSpPr>
          <p:spPr bwMode="auto">
            <a:xfrm>
              <a:off x="6319838" y="8396288"/>
              <a:ext cx="14287" cy="7937"/>
            </a:xfrm>
            <a:custGeom>
              <a:avLst/>
              <a:gdLst>
                <a:gd name="T0" fmla="*/ 20 w 41"/>
                <a:gd name="T1" fmla="*/ 21 h 22"/>
                <a:gd name="T2" fmla="*/ 20 w 41"/>
                <a:gd name="T3" fmla="*/ 21 h 22"/>
                <a:gd name="T4" fmla="*/ 0 w 41"/>
                <a:gd name="T5" fmla="*/ 21 h 22"/>
                <a:gd name="T6" fmla="*/ 0 w 41"/>
                <a:gd name="T7" fmla="*/ 0 h 22"/>
                <a:gd name="T8" fmla="*/ 20 w 41"/>
                <a:gd name="T9" fmla="*/ 0 h 22"/>
                <a:gd name="T10" fmla="*/ 20 w 41"/>
                <a:gd name="T11" fmla="*/ 0 h 22"/>
                <a:gd name="T12" fmla="*/ 40 w 41"/>
                <a:gd name="T13" fmla="*/ 0 h 22"/>
                <a:gd name="T14" fmla="*/ 20 w 41"/>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22">
                  <a:moveTo>
                    <a:pt x="20" y="21"/>
                  </a:moveTo>
                  <a:lnTo>
                    <a:pt x="20" y="21"/>
                  </a:lnTo>
                  <a:lnTo>
                    <a:pt x="0" y="21"/>
                  </a:lnTo>
                  <a:lnTo>
                    <a:pt x="0" y="0"/>
                  </a:lnTo>
                  <a:lnTo>
                    <a:pt x="20" y="0"/>
                  </a:lnTo>
                  <a:lnTo>
                    <a:pt x="20" y="0"/>
                  </a:lnTo>
                  <a:cubicBezTo>
                    <a:pt x="40" y="0"/>
                    <a:pt x="40" y="0"/>
                    <a:pt x="40" y="0"/>
                  </a:cubicBezTo>
                  <a:cubicBezTo>
                    <a:pt x="40" y="21"/>
                    <a:pt x="20"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0" name="Freeform 447">
              <a:extLst>
                <a:ext uri="{FF2B5EF4-FFF2-40B4-BE49-F238E27FC236}">
                  <a16:creationId xmlns:a16="http://schemas.microsoft.com/office/drawing/2014/main" id="{2AD359BB-2FE4-5842-BB0C-F7528743E99B}"/>
                </a:ext>
              </a:extLst>
            </p:cNvPr>
            <p:cNvSpPr>
              <a:spLocks noChangeArrowheads="1"/>
            </p:cNvSpPr>
            <p:nvPr/>
          </p:nvSpPr>
          <p:spPr bwMode="auto">
            <a:xfrm>
              <a:off x="6327775" y="8412163"/>
              <a:ext cx="15875" cy="7937"/>
            </a:xfrm>
            <a:custGeom>
              <a:avLst/>
              <a:gdLst>
                <a:gd name="T0" fmla="*/ 20 w 42"/>
                <a:gd name="T1" fmla="*/ 0 h 21"/>
                <a:gd name="T2" fmla="*/ 20 w 42"/>
                <a:gd name="T3" fmla="*/ 0 h 21"/>
                <a:gd name="T4" fmla="*/ 0 w 42"/>
                <a:gd name="T5" fmla="*/ 0 h 21"/>
                <a:gd name="T6" fmla="*/ 0 w 42"/>
                <a:gd name="T7" fmla="*/ 20 h 21"/>
                <a:gd name="T8" fmla="*/ 41 w 42"/>
                <a:gd name="T9" fmla="*/ 20 h 21"/>
                <a:gd name="T10" fmla="*/ 41 w 42"/>
                <a:gd name="T11" fmla="*/ 0 h 21"/>
                <a:gd name="T12" fmla="*/ 20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0" y="0"/>
                  </a:moveTo>
                  <a:lnTo>
                    <a:pt x="20" y="0"/>
                  </a:lnTo>
                  <a:cubicBezTo>
                    <a:pt x="20" y="0"/>
                    <a:pt x="20" y="0"/>
                    <a:pt x="0" y="0"/>
                  </a:cubicBezTo>
                  <a:lnTo>
                    <a:pt x="0" y="20"/>
                  </a:lnTo>
                  <a:cubicBezTo>
                    <a:pt x="0" y="20"/>
                    <a:pt x="20" y="20"/>
                    <a:pt x="41" y="20"/>
                  </a:cubicBezTo>
                  <a:cubicBezTo>
                    <a:pt x="41" y="20"/>
                    <a:pt x="41" y="20"/>
                    <a:pt x="41" y="0"/>
                  </a:cubicBez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1" name="Freeform 448">
              <a:extLst>
                <a:ext uri="{FF2B5EF4-FFF2-40B4-BE49-F238E27FC236}">
                  <a16:creationId xmlns:a16="http://schemas.microsoft.com/office/drawing/2014/main" id="{82A8F97B-3FD6-ED40-A3DA-30ED2D320C31}"/>
                </a:ext>
              </a:extLst>
            </p:cNvPr>
            <p:cNvSpPr>
              <a:spLocks noChangeArrowheads="1"/>
            </p:cNvSpPr>
            <p:nvPr/>
          </p:nvSpPr>
          <p:spPr bwMode="auto">
            <a:xfrm>
              <a:off x="6342063" y="8426450"/>
              <a:ext cx="7937" cy="15875"/>
            </a:xfrm>
            <a:custGeom>
              <a:avLst/>
              <a:gdLst>
                <a:gd name="T0" fmla="*/ 0 w 22"/>
                <a:gd name="T1" fmla="*/ 0 h 43"/>
                <a:gd name="T2" fmla="*/ 0 w 22"/>
                <a:gd name="T3" fmla="*/ 0 h 43"/>
                <a:gd name="T4" fmla="*/ 0 w 22"/>
                <a:gd name="T5" fmla="*/ 21 h 43"/>
                <a:gd name="T6" fmla="*/ 0 w 22"/>
                <a:gd name="T7" fmla="*/ 42 h 43"/>
                <a:gd name="T8" fmla="*/ 21 w 22"/>
                <a:gd name="T9" fmla="*/ 42 h 43"/>
                <a:gd name="T10" fmla="*/ 21 w 22"/>
                <a:gd name="T11" fmla="*/ 21 h 43"/>
                <a:gd name="T12" fmla="*/ 0 w 2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2" h="43">
                  <a:moveTo>
                    <a:pt x="0" y="0"/>
                  </a:moveTo>
                  <a:lnTo>
                    <a:pt x="0" y="0"/>
                  </a:lnTo>
                  <a:lnTo>
                    <a:pt x="0" y="21"/>
                  </a:lnTo>
                  <a:lnTo>
                    <a:pt x="0" y="42"/>
                  </a:lnTo>
                  <a:lnTo>
                    <a:pt x="21" y="42"/>
                  </a:lnTo>
                  <a:lnTo>
                    <a:pt x="21" y="21"/>
                  </a:lnTo>
                  <a:cubicBezTo>
                    <a:pt x="21"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2" name="Freeform 449">
              <a:extLst>
                <a:ext uri="{FF2B5EF4-FFF2-40B4-BE49-F238E27FC236}">
                  <a16:creationId xmlns:a16="http://schemas.microsoft.com/office/drawing/2014/main" id="{DFD0A420-CFF6-4648-B72E-8EEFF5BB57DE}"/>
                </a:ext>
              </a:extLst>
            </p:cNvPr>
            <p:cNvSpPr>
              <a:spLocks noChangeArrowheads="1"/>
            </p:cNvSpPr>
            <p:nvPr/>
          </p:nvSpPr>
          <p:spPr bwMode="auto">
            <a:xfrm>
              <a:off x="6305550" y="8374063"/>
              <a:ext cx="15875" cy="15875"/>
            </a:xfrm>
            <a:custGeom>
              <a:avLst/>
              <a:gdLst>
                <a:gd name="T0" fmla="*/ 21 w 43"/>
                <a:gd name="T1" fmla="*/ 41 h 42"/>
                <a:gd name="T2" fmla="*/ 21 w 43"/>
                <a:gd name="T3" fmla="*/ 41 h 42"/>
                <a:gd name="T4" fmla="*/ 0 w 43"/>
                <a:gd name="T5" fmla="*/ 21 h 42"/>
                <a:gd name="T6" fmla="*/ 21 w 43"/>
                <a:gd name="T7" fmla="*/ 21 h 42"/>
                <a:gd name="T8" fmla="*/ 21 w 43"/>
                <a:gd name="T9" fmla="*/ 21 h 42"/>
                <a:gd name="T10" fmla="*/ 42 w 43"/>
                <a:gd name="T11" fmla="*/ 21 h 42"/>
                <a:gd name="T12" fmla="*/ 21 w 43"/>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3" h="42">
                  <a:moveTo>
                    <a:pt x="21" y="41"/>
                  </a:moveTo>
                  <a:lnTo>
                    <a:pt x="21" y="41"/>
                  </a:lnTo>
                  <a:cubicBezTo>
                    <a:pt x="21" y="41"/>
                    <a:pt x="21" y="41"/>
                    <a:pt x="0" y="21"/>
                  </a:cubicBezTo>
                  <a:cubicBezTo>
                    <a:pt x="0" y="21"/>
                    <a:pt x="0" y="21"/>
                    <a:pt x="21" y="21"/>
                  </a:cubicBezTo>
                  <a:cubicBezTo>
                    <a:pt x="21" y="0"/>
                    <a:pt x="21" y="0"/>
                    <a:pt x="21" y="21"/>
                  </a:cubicBezTo>
                  <a:lnTo>
                    <a:pt x="42" y="21"/>
                  </a:lnTo>
                  <a:cubicBezTo>
                    <a:pt x="42" y="21"/>
                    <a:pt x="42" y="41"/>
                    <a:pt x="2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3" name="Freeform 450">
              <a:extLst>
                <a:ext uri="{FF2B5EF4-FFF2-40B4-BE49-F238E27FC236}">
                  <a16:creationId xmlns:a16="http://schemas.microsoft.com/office/drawing/2014/main" id="{C97488BE-5DAE-5C41-986D-43265158B103}"/>
                </a:ext>
              </a:extLst>
            </p:cNvPr>
            <p:cNvSpPr>
              <a:spLocks noChangeArrowheads="1"/>
            </p:cNvSpPr>
            <p:nvPr/>
          </p:nvSpPr>
          <p:spPr bwMode="auto">
            <a:xfrm>
              <a:off x="6357938" y="8382000"/>
              <a:ext cx="7937" cy="7938"/>
            </a:xfrm>
            <a:custGeom>
              <a:avLst/>
              <a:gdLst>
                <a:gd name="T0" fmla="*/ 0 w 21"/>
                <a:gd name="T1" fmla="*/ 20 h 21"/>
                <a:gd name="T2" fmla="*/ 0 w 21"/>
                <a:gd name="T3" fmla="*/ 20 h 21"/>
                <a:gd name="T4" fmla="*/ 0 w 21"/>
                <a:gd name="T5" fmla="*/ 20 h 21"/>
                <a:gd name="T6" fmla="*/ 0 w 21"/>
                <a:gd name="T7" fmla="*/ 0 h 21"/>
                <a:gd name="T8" fmla="*/ 0 w 21"/>
                <a:gd name="T9" fmla="*/ 0 h 21"/>
                <a:gd name="T10" fmla="*/ 20 w 21"/>
                <a:gd name="T11" fmla="*/ 20 h 21"/>
                <a:gd name="T12" fmla="*/ 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20"/>
                  </a:moveTo>
                  <a:lnTo>
                    <a:pt x="0" y="20"/>
                  </a:lnTo>
                  <a:lnTo>
                    <a:pt x="0" y="20"/>
                  </a:lnTo>
                  <a:lnTo>
                    <a:pt x="0" y="0"/>
                  </a:lnTo>
                  <a:lnTo>
                    <a:pt x="0" y="0"/>
                  </a:lnTo>
                  <a:cubicBezTo>
                    <a:pt x="0" y="20"/>
                    <a:pt x="20" y="20"/>
                    <a:pt x="20" y="20"/>
                  </a:cubicBez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4" name="Freeform 451">
              <a:extLst>
                <a:ext uri="{FF2B5EF4-FFF2-40B4-BE49-F238E27FC236}">
                  <a16:creationId xmlns:a16="http://schemas.microsoft.com/office/drawing/2014/main" id="{BC3C8C5E-E4A9-824D-9EC9-77BA2CDAD0C7}"/>
                </a:ext>
              </a:extLst>
            </p:cNvPr>
            <p:cNvSpPr>
              <a:spLocks noChangeArrowheads="1"/>
            </p:cNvSpPr>
            <p:nvPr/>
          </p:nvSpPr>
          <p:spPr bwMode="auto">
            <a:xfrm>
              <a:off x="6380163" y="8432800"/>
              <a:ext cx="7937" cy="15875"/>
            </a:xfrm>
            <a:custGeom>
              <a:avLst/>
              <a:gdLst>
                <a:gd name="T0" fmla="*/ 20 w 21"/>
                <a:gd name="T1" fmla="*/ 0 h 42"/>
                <a:gd name="T2" fmla="*/ 20 w 21"/>
                <a:gd name="T3" fmla="*/ 0 h 42"/>
                <a:gd name="T4" fmla="*/ 0 w 21"/>
                <a:gd name="T5" fmla="*/ 21 h 42"/>
                <a:gd name="T6" fmla="*/ 0 w 21"/>
                <a:gd name="T7" fmla="*/ 21 h 42"/>
                <a:gd name="T8" fmla="*/ 20 w 21"/>
                <a:gd name="T9" fmla="*/ 21 h 42"/>
                <a:gd name="T10" fmla="*/ 20 w 21"/>
                <a:gd name="T11" fmla="*/ 21 h 42"/>
                <a:gd name="T12" fmla="*/ 20 w 21"/>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0"/>
                  </a:moveTo>
                  <a:lnTo>
                    <a:pt x="20" y="0"/>
                  </a:lnTo>
                  <a:cubicBezTo>
                    <a:pt x="0" y="0"/>
                    <a:pt x="0" y="21"/>
                    <a:pt x="0" y="21"/>
                  </a:cubicBezTo>
                  <a:lnTo>
                    <a:pt x="0" y="21"/>
                  </a:lnTo>
                  <a:cubicBezTo>
                    <a:pt x="0" y="41"/>
                    <a:pt x="20" y="41"/>
                    <a:pt x="20" y="21"/>
                  </a:cubicBezTo>
                  <a:lnTo>
                    <a:pt x="20" y="21"/>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5" name="Freeform 452">
              <a:extLst>
                <a:ext uri="{FF2B5EF4-FFF2-40B4-BE49-F238E27FC236}">
                  <a16:creationId xmlns:a16="http://schemas.microsoft.com/office/drawing/2014/main" id="{C54DD54E-BCE8-A848-A10D-DCB239571CA3}"/>
                </a:ext>
              </a:extLst>
            </p:cNvPr>
            <p:cNvSpPr>
              <a:spLocks noChangeArrowheads="1"/>
            </p:cNvSpPr>
            <p:nvPr/>
          </p:nvSpPr>
          <p:spPr bwMode="auto">
            <a:xfrm>
              <a:off x="6232525" y="8853488"/>
              <a:ext cx="7938" cy="7937"/>
            </a:xfrm>
            <a:custGeom>
              <a:avLst/>
              <a:gdLst>
                <a:gd name="T0" fmla="*/ 20 w 21"/>
                <a:gd name="T1" fmla="*/ 20 h 21"/>
                <a:gd name="T2" fmla="*/ 20 w 21"/>
                <a:gd name="T3" fmla="*/ 20 h 21"/>
                <a:gd name="T4" fmla="*/ 0 w 21"/>
                <a:gd name="T5" fmla="*/ 0 h 21"/>
                <a:gd name="T6" fmla="*/ 0 w 21"/>
                <a:gd name="T7" fmla="*/ 20 h 21"/>
                <a:gd name="T8" fmla="*/ 0 w 21"/>
                <a:gd name="T9" fmla="*/ 20 h 21"/>
                <a:gd name="T10" fmla="*/ 20 w 21"/>
                <a:gd name="T11" fmla="*/ 20 h 21"/>
              </a:gdLst>
              <a:ahLst/>
              <a:cxnLst>
                <a:cxn ang="0">
                  <a:pos x="T0" y="T1"/>
                </a:cxn>
                <a:cxn ang="0">
                  <a:pos x="T2" y="T3"/>
                </a:cxn>
                <a:cxn ang="0">
                  <a:pos x="T4" y="T5"/>
                </a:cxn>
                <a:cxn ang="0">
                  <a:pos x="T6" y="T7"/>
                </a:cxn>
                <a:cxn ang="0">
                  <a:pos x="T8" y="T9"/>
                </a:cxn>
                <a:cxn ang="0">
                  <a:pos x="T10" y="T11"/>
                </a:cxn>
              </a:cxnLst>
              <a:rect l="0" t="0" r="r" b="b"/>
              <a:pathLst>
                <a:path w="21" h="21">
                  <a:moveTo>
                    <a:pt x="20" y="20"/>
                  </a:moveTo>
                  <a:lnTo>
                    <a:pt x="20" y="20"/>
                  </a:lnTo>
                  <a:cubicBezTo>
                    <a:pt x="20" y="0"/>
                    <a:pt x="0" y="0"/>
                    <a:pt x="0" y="0"/>
                  </a:cubicBezTo>
                  <a:lnTo>
                    <a:pt x="0" y="20"/>
                  </a:lnTo>
                  <a:lnTo>
                    <a:pt x="0" y="2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6" name="Freeform 453">
              <a:extLst>
                <a:ext uri="{FF2B5EF4-FFF2-40B4-BE49-F238E27FC236}">
                  <a16:creationId xmlns:a16="http://schemas.microsoft.com/office/drawing/2014/main" id="{A0C8AFC2-8843-3A42-BDAB-E70BA329D266}"/>
                </a:ext>
              </a:extLst>
            </p:cNvPr>
            <p:cNvSpPr>
              <a:spLocks noChangeArrowheads="1"/>
            </p:cNvSpPr>
            <p:nvPr/>
          </p:nvSpPr>
          <p:spPr bwMode="auto">
            <a:xfrm>
              <a:off x="6246813" y="8853488"/>
              <a:ext cx="7937" cy="7937"/>
            </a:xfrm>
            <a:custGeom>
              <a:avLst/>
              <a:gdLst>
                <a:gd name="T0" fmla="*/ 0 w 22"/>
                <a:gd name="T1" fmla="*/ 0 h 21"/>
                <a:gd name="T2" fmla="*/ 0 w 22"/>
                <a:gd name="T3" fmla="*/ 0 h 21"/>
                <a:gd name="T4" fmla="*/ 0 w 22"/>
                <a:gd name="T5" fmla="*/ 20 h 21"/>
                <a:gd name="T6" fmla="*/ 21 w 22"/>
                <a:gd name="T7" fmla="*/ 20 h 21"/>
                <a:gd name="T8" fmla="*/ 21 w 22"/>
                <a:gd name="T9" fmla="*/ 20 h 21"/>
                <a:gd name="T10" fmla="*/ 21 w 22"/>
                <a:gd name="T11" fmla="*/ 0 h 21"/>
                <a:gd name="T12" fmla="*/ 0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0" y="0"/>
                  </a:moveTo>
                  <a:lnTo>
                    <a:pt x="0" y="0"/>
                  </a:lnTo>
                  <a:lnTo>
                    <a:pt x="0" y="20"/>
                  </a:lnTo>
                  <a:lnTo>
                    <a:pt x="21" y="20"/>
                  </a:lnTo>
                  <a:lnTo>
                    <a:pt x="21" y="20"/>
                  </a:lnTo>
                  <a:lnTo>
                    <a:pt x="21" y="0"/>
                  </a:ln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7" name="Freeform 454">
              <a:extLst>
                <a:ext uri="{FF2B5EF4-FFF2-40B4-BE49-F238E27FC236}">
                  <a16:creationId xmlns:a16="http://schemas.microsoft.com/office/drawing/2014/main" id="{816E9D71-625A-874F-ACA7-E88678E847D5}"/>
                </a:ext>
              </a:extLst>
            </p:cNvPr>
            <p:cNvSpPr>
              <a:spLocks noChangeArrowheads="1"/>
            </p:cNvSpPr>
            <p:nvPr/>
          </p:nvSpPr>
          <p:spPr bwMode="auto">
            <a:xfrm>
              <a:off x="6564313" y="8624888"/>
              <a:ext cx="22225" cy="14287"/>
            </a:xfrm>
            <a:custGeom>
              <a:avLst/>
              <a:gdLst>
                <a:gd name="T0" fmla="*/ 20 w 62"/>
                <a:gd name="T1" fmla="*/ 20 h 41"/>
                <a:gd name="T2" fmla="*/ 20 w 62"/>
                <a:gd name="T3" fmla="*/ 20 h 41"/>
                <a:gd name="T4" fmla="*/ 40 w 62"/>
                <a:gd name="T5" fmla="*/ 20 h 41"/>
                <a:gd name="T6" fmla="*/ 40 w 62"/>
                <a:gd name="T7" fmla="*/ 40 h 41"/>
                <a:gd name="T8" fmla="*/ 61 w 62"/>
                <a:gd name="T9" fmla="*/ 40 h 41"/>
                <a:gd name="T10" fmla="*/ 61 w 62"/>
                <a:gd name="T11" fmla="*/ 20 h 41"/>
                <a:gd name="T12" fmla="*/ 61 w 62"/>
                <a:gd name="T13" fmla="*/ 0 h 41"/>
                <a:gd name="T14" fmla="*/ 40 w 62"/>
                <a:gd name="T15" fmla="*/ 20 h 41"/>
                <a:gd name="T16" fmla="*/ 40 w 62"/>
                <a:gd name="T17" fmla="*/ 0 h 41"/>
                <a:gd name="T18" fmla="*/ 20 w 62"/>
                <a:gd name="T19" fmla="*/ 0 h 41"/>
                <a:gd name="T20" fmla="*/ 20 w 62"/>
                <a:gd name="T21"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41">
                  <a:moveTo>
                    <a:pt x="20" y="20"/>
                  </a:moveTo>
                  <a:lnTo>
                    <a:pt x="20" y="20"/>
                  </a:lnTo>
                  <a:cubicBezTo>
                    <a:pt x="20" y="20"/>
                    <a:pt x="20" y="20"/>
                    <a:pt x="40" y="20"/>
                  </a:cubicBezTo>
                  <a:lnTo>
                    <a:pt x="40" y="40"/>
                  </a:lnTo>
                  <a:lnTo>
                    <a:pt x="61" y="40"/>
                  </a:lnTo>
                  <a:cubicBezTo>
                    <a:pt x="61" y="20"/>
                    <a:pt x="61" y="20"/>
                    <a:pt x="61" y="20"/>
                  </a:cubicBezTo>
                  <a:lnTo>
                    <a:pt x="61" y="0"/>
                  </a:lnTo>
                  <a:cubicBezTo>
                    <a:pt x="61" y="0"/>
                    <a:pt x="40" y="0"/>
                    <a:pt x="40" y="20"/>
                  </a:cubicBezTo>
                  <a:lnTo>
                    <a:pt x="40" y="0"/>
                  </a:lnTo>
                  <a:cubicBezTo>
                    <a:pt x="20" y="0"/>
                    <a:pt x="20" y="0"/>
                    <a:pt x="20" y="0"/>
                  </a:cubicBezTo>
                  <a:cubicBezTo>
                    <a:pt x="0" y="20"/>
                    <a:pt x="0"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8" name="Freeform 455">
              <a:extLst>
                <a:ext uri="{FF2B5EF4-FFF2-40B4-BE49-F238E27FC236}">
                  <a16:creationId xmlns:a16="http://schemas.microsoft.com/office/drawing/2014/main" id="{0526E000-6DBB-BF44-A095-F628A7C6592B}"/>
                </a:ext>
              </a:extLst>
            </p:cNvPr>
            <p:cNvSpPr>
              <a:spLocks noChangeArrowheads="1"/>
            </p:cNvSpPr>
            <p:nvPr/>
          </p:nvSpPr>
          <p:spPr bwMode="auto">
            <a:xfrm>
              <a:off x="6548438" y="8624888"/>
              <a:ext cx="7937" cy="7937"/>
            </a:xfrm>
            <a:custGeom>
              <a:avLst/>
              <a:gdLst>
                <a:gd name="T0" fmla="*/ 21 w 22"/>
                <a:gd name="T1" fmla="*/ 20 h 21"/>
                <a:gd name="T2" fmla="*/ 21 w 22"/>
                <a:gd name="T3" fmla="*/ 20 h 21"/>
                <a:gd name="T4" fmla="*/ 0 w 22"/>
                <a:gd name="T5" fmla="*/ 20 h 21"/>
                <a:gd name="T6" fmla="*/ 0 w 22"/>
                <a:gd name="T7" fmla="*/ 0 h 21"/>
                <a:gd name="T8" fmla="*/ 21 w 22"/>
                <a:gd name="T9" fmla="*/ 0 h 21"/>
                <a:gd name="T10" fmla="*/ 21 w 22"/>
                <a:gd name="T11" fmla="*/ 0 h 21"/>
                <a:gd name="T12" fmla="*/ 21 w 2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20"/>
                  </a:moveTo>
                  <a:lnTo>
                    <a:pt x="21" y="20"/>
                  </a:lnTo>
                  <a:lnTo>
                    <a:pt x="0" y="20"/>
                  </a:lnTo>
                  <a:lnTo>
                    <a:pt x="0" y="0"/>
                  </a:lnTo>
                  <a:cubicBezTo>
                    <a:pt x="0" y="0"/>
                    <a:pt x="0" y="0"/>
                    <a:pt x="21" y="0"/>
                  </a:cubicBezTo>
                  <a:lnTo>
                    <a:pt x="21" y="0"/>
                  </a:ln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59" name="Freeform 456">
              <a:extLst>
                <a:ext uri="{FF2B5EF4-FFF2-40B4-BE49-F238E27FC236}">
                  <a16:creationId xmlns:a16="http://schemas.microsoft.com/office/drawing/2014/main" id="{97F9AED9-03CA-324C-A5D7-27749D302710}"/>
                </a:ext>
              </a:extLst>
            </p:cNvPr>
            <p:cNvSpPr>
              <a:spLocks noChangeArrowheads="1"/>
            </p:cNvSpPr>
            <p:nvPr/>
          </p:nvSpPr>
          <p:spPr bwMode="auto">
            <a:xfrm>
              <a:off x="6534150" y="8632825"/>
              <a:ext cx="7938" cy="7938"/>
            </a:xfrm>
            <a:custGeom>
              <a:avLst/>
              <a:gdLst>
                <a:gd name="T0" fmla="*/ 20 w 21"/>
                <a:gd name="T1" fmla="*/ 0 h 21"/>
                <a:gd name="T2" fmla="*/ 20 w 21"/>
                <a:gd name="T3" fmla="*/ 0 h 21"/>
                <a:gd name="T4" fmla="*/ 0 w 21"/>
                <a:gd name="T5" fmla="*/ 0 h 21"/>
                <a:gd name="T6" fmla="*/ 0 w 21"/>
                <a:gd name="T7" fmla="*/ 20 h 21"/>
                <a:gd name="T8" fmla="*/ 20 w 21"/>
                <a:gd name="T9" fmla="*/ 20 h 21"/>
                <a:gd name="T10" fmla="*/ 20 w 21"/>
                <a:gd name="T11" fmla="*/ 0 h 21"/>
              </a:gdLst>
              <a:ahLst/>
              <a:cxnLst>
                <a:cxn ang="0">
                  <a:pos x="T0" y="T1"/>
                </a:cxn>
                <a:cxn ang="0">
                  <a:pos x="T2" y="T3"/>
                </a:cxn>
                <a:cxn ang="0">
                  <a:pos x="T4" y="T5"/>
                </a:cxn>
                <a:cxn ang="0">
                  <a:pos x="T6" y="T7"/>
                </a:cxn>
                <a:cxn ang="0">
                  <a:pos x="T8" y="T9"/>
                </a:cxn>
                <a:cxn ang="0">
                  <a:pos x="T10" y="T11"/>
                </a:cxn>
              </a:cxnLst>
              <a:rect l="0" t="0" r="r" b="b"/>
              <a:pathLst>
                <a:path w="21" h="21">
                  <a:moveTo>
                    <a:pt x="20" y="0"/>
                  </a:moveTo>
                  <a:lnTo>
                    <a:pt x="20" y="0"/>
                  </a:lnTo>
                  <a:lnTo>
                    <a:pt x="0" y="0"/>
                  </a:lnTo>
                  <a:lnTo>
                    <a:pt x="0" y="20"/>
                  </a:lnTo>
                  <a:lnTo>
                    <a:pt x="20" y="2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0" name="Freeform 457">
              <a:extLst>
                <a:ext uri="{FF2B5EF4-FFF2-40B4-BE49-F238E27FC236}">
                  <a16:creationId xmlns:a16="http://schemas.microsoft.com/office/drawing/2014/main" id="{37C3BC86-6CB0-C04B-82BE-7ED5FF29DB3F}"/>
                </a:ext>
              </a:extLst>
            </p:cNvPr>
            <p:cNvSpPr>
              <a:spLocks noChangeArrowheads="1"/>
            </p:cNvSpPr>
            <p:nvPr/>
          </p:nvSpPr>
          <p:spPr bwMode="auto">
            <a:xfrm>
              <a:off x="6623050" y="8632825"/>
              <a:ext cx="14288" cy="7938"/>
            </a:xfrm>
            <a:custGeom>
              <a:avLst/>
              <a:gdLst>
                <a:gd name="T0" fmla="*/ 20 w 41"/>
                <a:gd name="T1" fmla="*/ 20 h 21"/>
                <a:gd name="T2" fmla="*/ 20 w 41"/>
                <a:gd name="T3" fmla="*/ 20 h 21"/>
                <a:gd name="T4" fmla="*/ 0 w 41"/>
                <a:gd name="T5" fmla="*/ 0 h 21"/>
                <a:gd name="T6" fmla="*/ 20 w 41"/>
                <a:gd name="T7" fmla="*/ 0 h 21"/>
                <a:gd name="T8" fmla="*/ 20 w 41"/>
                <a:gd name="T9" fmla="*/ 0 h 21"/>
                <a:gd name="T10" fmla="*/ 20 w 41"/>
                <a:gd name="T11" fmla="*/ 0 h 21"/>
                <a:gd name="T12" fmla="*/ 40 w 41"/>
                <a:gd name="T13" fmla="*/ 0 h 21"/>
                <a:gd name="T14" fmla="*/ 40 w 41"/>
                <a:gd name="T15" fmla="*/ 20 h 21"/>
                <a:gd name="T16" fmla="*/ 40 w 41"/>
                <a:gd name="T17" fmla="*/ 20 h 21"/>
                <a:gd name="T18" fmla="*/ 20 w 41"/>
                <a:gd name="T19"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21">
                  <a:moveTo>
                    <a:pt x="20" y="20"/>
                  </a:moveTo>
                  <a:lnTo>
                    <a:pt x="20" y="20"/>
                  </a:lnTo>
                  <a:cubicBezTo>
                    <a:pt x="20" y="20"/>
                    <a:pt x="0" y="20"/>
                    <a:pt x="0" y="0"/>
                  </a:cubicBezTo>
                  <a:lnTo>
                    <a:pt x="20" y="0"/>
                  </a:lnTo>
                  <a:lnTo>
                    <a:pt x="20" y="0"/>
                  </a:lnTo>
                  <a:lnTo>
                    <a:pt x="20" y="0"/>
                  </a:lnTo>
                  <a:cubicBezTo>
                    <a:pt x="40" y="0"/>
                    <a:pt x="40" y="0"/>
                    <a:pt x="40" y="0"/>
                  </a:cubicBezTo>
                  <a:lnTo>
                    <a:pt x="40" y="20"/>
                  </a:lnTo>
                  <a:lnTo>
                    <a:pt x="40" y="2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1" name="Freeform 458">
              <a:extLst>
                <a:ext uri="{FF2B5EF4-FFF2-40B4-BE49-F238E27FC236}">
                  <a16:creationId xmlns:a16="http://schemas.microsoft.com/office/drawing/2014/main" id="{06A9D40F-487E-3341-AACE-88D16214A43F}"/>
                </a:ext>
              </a:extLst>
            </p:cNvPr>
            <p:cNvSpPr>
              <a:spLocks noChangeArrowheads="1"/>
            </p:cNvSpPr>
            <p:nvPr/>
          </p:nvSpPr>
          <p:spPr bwMode="auto">
            <a:xfrm>
              <a:off x="6600825" y="8639175"/>
              <a:ext cx="7938" cy="7938"/>
            </a:xfrm>
            <a:custGeom>
              <a:avLst/>
              <a:gdLst>
                <a:gd name="T0" fmla="*/ 20 w 21"/>
                <a:gd name="T1" fmla="*/ 0 h 22"/>
                <a:gd name="T2" fmla="*/ 20 w 21"/>
                <a:gd name="T3" fmla="*/ 0 h 22"/>
                <a:gd name="T4" fmla="*/ 0 w 21"/>
                <a:gd name="T5" fmla="*/ 0 h 22"/>
                <a:gd name="T6" fmla="*/ 0 w 21"/>
                <a:gd name="T7" fmla="*/ 21 h 22"/>
                <a:gd name="T8" fmla="*/ 20 w 21"/>
                <a:gd name="T9" fmla="*/ 21 h 22"/>
                <a:gd name="T10" fmla="*/ 20 w 21"/>
                <a:gd name="T11" fmla="*/ 21 h 22"/>
                <a:gd name="T12" fmla="*/ 20 w 21"/>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20" y="0"/>
                  </a:moveTo>
                  <a:lnTo>
                    <a:pt x="20" y="0"/>
                  </a:lnTo>
                  <a:lnTo>
                    <a:pt x="0" y="0"/>
                  </a:lnTo>
                  <a:lnTo>
                    <a:pt x="0" y="21"/>
                  </a:lnTo>
                  <a:lnTo>
                    <a:pt x="20" y="21"/>
                  </a:lnTo>
                  <a:lnTo>
                    <a:pt x="20" y="21"/>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2" name="Freeform 459">
              <a:extLst>
                <a:ext uri="{FF2B5EF4-FFF2-40B4-BE49-F238E27FC236}">
                  <a16:creationId xmlns:a16="http://schemas.microsoft.com/office/drawing/2014/main" id="{34E12A90-DA94-844E-A7F7-65195122A26C}"/>
                </a:ext>
              </a:extLst>
            </p:cNvPr>
            <p:cNvSpPr>
              <a:spLocks noChangeArrowheads="1"/>
            </p:cNvSpPr>
            <p:nvPr/>
          </p:nvSpPr>
          <p:spPr bwMode="auto">
            <a:xfrm>
              <a:off x="6681788" y="8596313"/>
              <a:ext cx="14287" cy="30162"/>
            </a:xfrm>
            <a:custGeom>
              <a:avLst/>
              <a:gdLst>
                <a:gd name="T0" fmla="*/ 20 w 41"/>
                <a:gd name="T1" fmla="*/ 82 h 83"/>
                <a:gd name="T2" fmla="*/ 20 w 41"/>
                <a:gd name="T3" fmla="*/ 82 h 83"/>
                <a:gd name="T4" fmla="*/ 40 w 41"/>
                <a:gd name="T5" fmla="*/ 61 h 83"/>
                <a:gd name="T6" fmla="*/ 40 w 41"/>
                <a:gd name="T7" fmla="*/ 61 h 83"/>
                <a:gd name="T8" fmla="*/ 40 w 41"/>
                <a:gd name="T9" fmla="*/ 40 h 83"/>
                <a:gd name="T10" fmla="*/ 40 w 41"/>
                <a:gd name="T11" fmla="*/ 20 h 83"/>
                <a:gd name="T12" fmla="*/ 20 w 41"/>
                <a:gd name="T13" fmla="*/ 20 h 83"/>
                <a:gd name="T14" fmla="*/ 20 w 41"/>
                <a:gd name="T15" fmla="*/ 0 h 83"/>
                <a:gd name="T16" fmla="*/ 0 w 41"/>
                <a:gd name="T17" fmla="*/ 20 h 83"/>
                <a:gd name="T18" fmla="*/ 20 w 41"/>
                <a:gd name="T19" fmla="*/ 20 h 83"/>
                <a:gd name="T20" fmla="*/ 0 w 41"/>
                <a:gd name="T21" fmla="*/ 40 h 83"/>
                <a:gd name="T22" fmla="*/ 20 w 41"/>
                <a:gd name="T23" fmla="*/ 61 h 83"/>
                <a:gd name="T24" fmla="*/ 20 w 41"/>
                <a:gd name="T25"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83">
                  <a:moveTo>
                    <a:pt x="20" y="82"/>
                  </a:moveTo>
                  <a:lnTo>
                    <a:pt x="20" y="82"/>
                  </a:lnTo>
                  <a:cubicBezTo>
                    <a:pt x="40" y="82"/>
                    <a:pt x="40" y="61"/>
                    <a:pt x="40" y="61"/>
                  </a:cubicBezTo>
                  <a:lnTo>
                    <a:pt x="40" y="61"/>
                  </a:lnTo>
                  <a:lnTo>
                    <a:pt x="40" y="40"/>
                  </a:lnTo>
                  <a:cubicBezTo>
                    <a:pt x="40" y="40"/>
                    <a:pt x="40" y="40"/>
                    <a:pt x="40" y="20"/>
                  </a:cubicBezTo>
                  <a:lnTo>
                    <a:pt x="20" y="20"/>
                  </a:lnTo>
                  <a:cubicBezTo>
                    <a:pt x="20" y="0"/>
                    <a:pt x="20" y="0"/>
                    <a:pt x="20" y="0"/>
                  </a:cubicBezTo>
                  <a:cubicBezTo>
                    <a:pt x="0" y="0"/>
                    <a:pt x="0" y="0"/>
                    <a:pt x="0" y="20"/>
                  </a:cubicBezTo>
                  <a:lnTo>
                    <a:pt x="20" y="20"/>
                  </a:lnTo>
                  <a:cubicBezTo>
                    <a:pt x="20" y="40"/>
                    <a:pt x="0" y="40"/>
                    <a:pt x="0" y="40"/>
                  </a:cubicBezTo>
                  <a:cubicBezTo>
                    <a:pt x="0" y="61"/>
                    <a:pt x="0" y="61"/>
                    <a:pt x="20" y="61"/>
                  </a:cubicBezTo>
                  <a:lnTo>
                    <a:pt x="20"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3" name="Freeform 460">
              <a:extLst>
                <a:ext uri="{FF2B5EF4-FFF2-40B4-BE49-F238E27FC236}">
                  <a16:creationId xmlns:a16="http://schemas.microsoft.com/office/drawing/2014/main" id="{D2215472-B68F-0145-8924-D0B32CC0BC56}"/>
                </a:ext>
              </a:extLst>
            </p:cNvPr>
            <p:cNvSpPr>
              <a:spLocks noChangeArrowheads="1"/>
            </p:cNvSpPr>
            <p:nvPr/>
          </p:nvSpPr>
          <p:spPr bwMode="auto">
            <a:xfrm>
              <a:off x="6689725" y="8632825"/>
              <a:ext cx="7938" cy="7938"/>
            </a:xfrm>
            <a:custGeom>
              <a:avLst/>
              <a:gdLst>
                <a:gd name="T0" fmla="*/ 0 w 21"/>
                <a:gd name="T1" fmla="*/ 0 h 21"/>
                <a:gd name="T2" fmla="*/ 0 w 21"/>
                <a:gd name="T3" fmla="*/ 0 h 21"/>
                <a:gd name="T4" fmla="*/ 0 w 21"/>
                <a:gd name="T5" fmla="*/ 0 h 21"/>
                <a:gd name="T6" fmla="*/ 0 w 21"/>
                <a:gd name="T7" fmla="*/ 20 h 21"/>
                <a:gd name="T8" fmla="*/ 20 w 21"/>
                <a:gd name="T9" fmla="*/ 20 h 21"/>
                <a:gd name="T10" fmla="*/ 20 w 21"/>
                <a:gd name="T11" fmla="*/ 0 h 21"/>
                <a:gd name="T12" fmla="*/ 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0"/>
                  </a:moveTo>
                  <a:lnTo>
                    <a:pt x="0" y="0"/>
                  </a:lnTo>
                  <a:lnTo>
                    <a:pt x="0" y="0"/>
                  </a:lnTo>
                  <a:cubicBezTo>
                    <a:pt x="0" y="20"/>
                    <a:pt x="0" y="20"/>
                    <a:pt x="0" y="20"/>
                  </a:cubicBezTo>
                  <a:lnTo>
                    <a:pt x="20" y="20"/>
                  </a:lnTo>
                  <a:lnTo>
                    <a:pt x="20" y="0"/>
                  </a:lnTo>
                  <a:cubicBezTo>
                    <a:pt x="20" y="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4" name="Freeform 461">
              <a:extLst>
                <a:ext uri="{FF2B5EF4-FFF2-40B4-BE49-F238E27FC236}">
                  <a16:creationId xmlns:a16="http://schemas.microsoft.com/office/drawing/2014/main" id="{181D401D-4E59-9F48-9830-7C51DBE7E6BB}"/>
                </a:ext>
              </a:extLst>
            </p:cNvPr>
            <p:cNvSpPr>
              <a:spLocks noChangeArrowheads="1"/>
            </p:cNvSpPr>
            <p:nvPr/>
          </p:nvSpPr>
          <p:spPr bwMode="auto">
            <a:xfrm>
              <a:off x="6681788" y="8580438"/>
              <a:ext cx="7937" cy="7937"/>
            </a:xfrm>
            <a:custGeom>
              <a:avLst/>
              <a:gdLst>
                <a:gd name="T0" fmla="*/ 0 w 21"/>
                <a:gd name="T1" fmla="*/ 21 h 22"/>
                <a:gd name="T2" fmla="*/ 0 w 21"/>
                <a:gd name="T3" fmla="*/ 21 h 22"/>
                <a:gd name="T4" fmla="*/ 0 w 21"/>
                <a:gd name="T5" fmla="*/ 0 h 22"/>
                <a:gd name="T6" fmla="*/ 20 w 21"/>
                <a:gd name="T7" fmla="*/ 0 h 22"/>
                <a:gd name="T8" fmla="*/ 20 w 21"/>
                <a:gd name="T9" fmla="*/ 0 h 22"/>
                <a:gd name="T10" fmla="*/ 20 w 21"/>
                <a:gd name="T11" fmla="*/ 21 h 22"/>
                <a:gd name="T12" fmla="*/ 0 w 21"/>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0" y="21"/>
                  </a:moveTo>
                  <a:lnTo>
                    <a:pt x="0" y="21"/>
                  </a:lnTo>
                  <a:cubicBezTo>
                    <a:pt x="0" y="0"/>
                    <a:pt x="0" y="0"/>
                    <a:pt x="0" y="0"/>
                  </a:cubicBezTo>
                  <a:lnTo>
                    <a:pt x="20" y="0"/>
                  </a:lnTo>
                  <a:lnTo>
                    <a:pt x="20" y="0"/>
                  </a:lnTo>
                  <a:lnTo>
                    <a:pt x="20" y="21"/>
                  </a:lnTo>
                  <a:lnTo>
                    <a:pt x="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5" name="Freeform 462">
              <a:extLst>
                <a:ext uri="{FF2B5EF4-FFF2-40B4-BE49-F238E27FC236}">
                  <a16:creationId xmlns:a16="http://schemas.microsoft.com/office/drawing/2014/main" id="{9A72E0AA-4D4C-814D-B4F7-431694F04927}"/>
                </a:ext>
              </a:extLst>
            </p:cNvPr>
            <p:cNvSpPr>
              <a:spLocks noChangeArrowheads="1"/>
            </p:cNvSpPr>
            <p:nvPr/>
          </p:nvSpPr>
          <p:spPr bwMode="auto">
            <a:xfrm>
              <a:off x="6696075" y="8588375"/>
              <a:ext cx="7938" cy="15875"/>
            </a:xfrm>
            <a:custGeom>
              <a:avLst/>
              <a:gdLst>
                <a:gd name="T0" fmla="*/ 0 w 22"/>
                <a:gd name="T1" fmla="*/ 21 h 42"/>
                <a:gd name="T2" fmla="*/ 0 w 22"/>
                <a:gd name="T3" fmla="*/ 21 h 42"/>
                <a:gd name="T4" fmla="*/ 0 w 22"/>
                <a:gd name="T5" fmla="*/ 0 h 42"/>
                <a:gd name="T6" fmla="*/ 21 w 22"/>
                <a:gd name="T7" fmla="*/ 0 h 42"/>
                <a:gd name="T8" fmla="*/ 21 w 22"/>
                <a:gd name="T9" fmla="*/ 21 h 42"/>
                <a:gd name="T10" fmla="*/ 21 w 22"/>
                <a:gd name="T11" fmla="*/ 41 h 42"/>
                <a:gd name="T12" fmla="*/ 0 w 22"/>
                <a:gd name="T13" fmla="*/ 21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0" y="21"/>
                  </a:moveTo>
                  <a:lnTo>
                    <a:pt x="0" y="21"/>
                  </a:lnTo>
                  <a:cubicBezTo>
                    <a:pt x="0" y="21"/>
                    <a:pt x="0" y="21"/>
                    <a:pt x="0" y="0"/>
                  </a:cubicBezTo>
                  <a:lnTo>
                    <a:pt x="21" y="0"/>
                  </a:lnTo>
                  <a:cubicBezTo>
                    <a:pt x="21" y="21"/>
                    <a:pt x="21" y="21"/>
                    <a:pt x="21" y="21"/>
                  </a:cubicBezTo>
                  <a:lnTo>
                    <a:pt x="21" y="41"/>
                  </a:lnTo>
                  <a:cubicBezTo>
                    <a:pt x="0" y="41"/>
                    <a:pt x="0" y="21"/>
                    <a:pt x="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6" name="Freeform 463">
              <a:extLst>
                <a:ext uri="{FF2B5EF4-FFF2-40B4-BE49-F238E27FC236}">
                  <a16:creationId xmlns:a16="http://schemas.microsoft.com/office/drawing/2014/main" id="{E2A9F70F-FF29-A74C-8AEC-5D8631A54D6D}"/>
                </a:ext>
              </a:extLst>
            </p:cNvPr>
            <p:cNvSpPr>
              <a:spLocks noChangeArrowheads="1"/>
            </p:cNvSpPr>
            <p:nvPr/>
          </p:nvSpPr>
          <p:spPr bwMode="auto">
            <a:xfrm>
              <a:off x="6667500" y="8610600"/>
              <a:ext cx="15875" cy="7938"/>
            </a:xfrm>
            <a:custGeom>
              <a:avLst/>
              <a:gdLst>
                <a:gd name="T0" fmla="*/ 42 w 43"/>
                <a:gd name="T1" fmla="*/ 21 h 22"/>
                <a:gd name="T2" fmla="*/ 42 w 43"/>
                <a:gd name="T3" fmla="*/ 21 h 22"/>
                <a:gd name="T4" fmla="*/ 21 w 43"/>
                <a:gd name="T5" fmla="*/ 21 h 22"/>
                <a:gd name="T6" fmla="*/ 0 w 43"/>
                <a:gd name="T7" fmla="*/ 21 h 22"/>
                <a:gd name="T8" fmla="*/ 21 w 43"/>
                <a:gd name="T9" fmla="*/ 0 h 22"/>
                <a:gd name="T10" fmla="*/ 21 w 43"/>
                <a:gd name="T11" fmla="*/ 0 h 22"/>
                <a:gd name="T12" fmla="*/ 42 w 43"/>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43" h="22">
                  <a:moveTo>
                    <a:pt x="42" y="21"/>
                  </a:moveTo>
                  <a:lnTo>
                    <a:pt x="42" y="21"/>
                  </a:lnTo>
                  <a:cubicBezTo>
                    <a:pt x="21" y="21"/>
                    <a:pt x="21" y="21"/>
                    <a:pt x="21" y="21"/>
                  </a:cubicBezTo>
                  <a:lnTo>
                    <a:pt x="0" y="21"/>
                  </a:lnTo>
                  <a:cubicBezTo>
                    <a:pt x="0" y="21"/>
                    <a:pt x="0" y="0"/>
                    <a:pt x="21" y="0"/>
                  </a:cubicBezTo>
                  <a:lnTo>
                    <a:pt x="21" y="0"/>
                  </a:lnTo>
                  <a:lnTo>
                    <a:pt x="42"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7" name="Freeform 464">
              <a:extLst>
                <a:ext uri="{FF2B5EF4-FFF2-40B4-BE49-F238E27FC236}">
                  <a16:creationId xmlns:a16="http://schemas.microsoft.com/office/drawing/2014/main" id="{3DCC17E0-814F-584F-92C1-CE07D187F11D}"/>
                </a:ext>
              </a:extLst>
            </p:cNvPr>
            <p:cNvSpPr>
              <a:spLocks noChangeArrowheads="1"/>
            </p:cNvSpPr>
            <p:nvPr/>
          </p:nvSpPr>
          <p:spPr bwMode="auto">
            <a:xfrm>
              <a:off x="6748463" y="8624888"/>
              <a:ext cx="30162" cy="22225"/>
            </a:xfrm>
            <a:custGeom>
              <a:avLst/>
              <a:gdLst>
                <a:gd name="T0" fmla="*/ 61 w 83"/>
                <a:gd name="T1" fmla="*/ 61 h 62"/>
                <a:gd name="T2" fmla="*/ 61 w 83"/>
                <a:gd name="T3" fmla="*/ 61 h 62"/>
                <a:gd name="T4" fmla="*/ 41 w 83"/>
                <a:gd name="T5" fmla="*/ 61 h 62"/>
                <a:gd name="T6" fmla="*/ 20 w 83"/>
                <a:gd name="T7" fmla="*/ 61 h 62"/>
                <a:gd name="T8" fmla="*/ 20 w 83"/>
                <a:gd name="T9" fmla="*/ 61 h 62"/>
                <a:gd name="T10" fmla="*/ 0 w 83"/>
                <a:gd name="T11" fmla="*/ 61 h 62"/>
                <a:gd name="T12" fmla="*/ 0 w 83"/>
                <a:gd name="T13" fmla="*/ 40 h 62"/>
                <a:gd name="T14" fmla="*/ 20 w 83"/>
                <a:gd name="T15" fmla="*/ 20 h 62"/>
                <a:gd name="T16" fmla="*/ 20 w 83"/>
                <a:gd name="T17" fmla="*/ 20 h 62"/>
                <a:gd name="T18" fmla="*/ 41 w 83"/>
                <a:gd name="T19" fmla="*/ 0 h 62"/>
                <a:gd name="T20" fmla="*/ 61 w 83"/>
                <a:gd name="T21" fmla="*/ 0 h 62"/>
                <a:gd name="T22" fmla="*/ 61 w 83"/>
                <a:gd name="T23" fmla="*/ 20 h 62"/>
                <a:gd name="T24" fmla="*/ 82 w 83"/>
                <a:gd name="T25" fmla="*/ 20 h 62"/>
                <a:gd name="T26" fmla="*/ 82 w 83"/>
                <a:gd name="T27" fmla="*/ 20 h 62"/>
                <a:gd name="T28" fmla="*/ 82 w 83"/>
                <a:gd name="T29" fmla="*/ 40 h 62"/>
                <a:gd name="T30" fmla="*/ 61 w 83"/>
                <a:gd name="T3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3" h="62">
                  <a:moveTo>
                    <a:pt x="61" y="61"/>
                  </a:moveTo>
                  <a:lnTo>
                    <a:pt x="61" y="61"/>
                  </a:lnTo>
                  <a:lnTo>
                    <a:pt x="41" y="61"/>
                  </a:lnTo>
                  <a:cubicBezTo>
                    <a:pt x="41" y="61"/>
                    <a:pt x="41" y="61"/>
                    <a:pt x="20" y="61"/>
                  </a:cubicBezTo>
                  <a:lnTo>
                    <a:pt x="20" y="61"/>
                  </a:lnTo>
                  <a:lnTo>
                    <a:pt x="0" y="61"/>
                  </a:lnTo>
                  <a:cubicBezTo>
                    <a:pt x="0" y="61"/>
                    <a:pt x="0" y="61"/>
                    <a:pt x="0" y="40"/>
                  </a:cubicBezTo>
                  <a:cubicBezTo>
                    <a:pt x="0" y="40"/>
                    <a:pt x="20" y="40"/>
                    <a:pt x="20" y="20"/>
                  </a:cubicBezTo>
                  <a:lnTo>
                    <a:pt x="20" y="20"/>
                  </a:lnTo>
                  <a:cubicBezTo>
                    <a:pt x="20" y="0"/>
                    <a:pt x="41" y="0"/>
                    <a:pt x="41" y="0"/>
                  </a:cubicBezTo>
                  <a:lnTo>
                    <a:pt x="61" y="0"/>
                  </a:lnTo>
                  <a:lnTo>
                    <a:pt x="61" y="20"/>
                  </a:lnTo>
                  <a:lnTo>
                    <a:pt x="82" y="20"/>
                  </a:lnTo>
                  <a:lnTo>
                    <a:pt x="82" y="20"/>
                  </a:lnTo>
                  <a:cubicBezTo>
                    <a:pt x="82" y="40"/>
                    <a:pt x="82" y="40"/>
                    <a:pt x="82" y="40"/>
                  </a:cubicBezTo>
                  <a:cubicBezTo>
                    <a:pt x="82" y="40"/>
                    <a:pt x="82" y="40"/>
                    <a:pt x="61"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8" name="Freeform 465">
              <a:extLst>
                <a:ext uri="{FF2B5EF4-FFF2-40B4-BE49-F238E27FC236}">
                  <a16:creationId xmlns:a16="http://schemas.microsoft.com/office/drawing/2014/main" id="{B1935D7A-3416-6345-8EE0-1A1419B395AD}"/>
                </a:ext>
              </a:extLst>
            </p:cNvPr>
            <p:cNvSpPr>
              <a:spLocks noChangeArrowheads="1"/>
            </p:cNvSpPr>
            <p:nvPr/>
          </p:nvSpPr>
          <p:spPr bwMode="auto">
            <a:xfrm>
              <a:off x="6770688" y="8551863"/>
              <a:ext cx="52387" cy="74612"/>
            </a:xfrm>
            <a:custGeom>
              <a:avLst/>
              <a:gdLst>
                <a:gd name="T0" fmla="*/ 62 w 145"/>
                <a:gd name="T1" fmla="*/ 185 h 207"/>
                <a:gd name="T2" fmla="*/ 62 w 145"/>
                <a:gd name="T3" fmla="*/ 185 h 207"/>
                <a:gd name="T4" fmla="*/ 62 w 145"/>
                <a:gd name="T5" fmla="*/ 164 h 207"/>
                <a:gd name="T6" fmla="*/ 82 w 145"/>
                <a:gd name="T7" fmla="*/ 144 h 207"/>
                <a:gd name="T8" fmla="*/ 103 w 145"/>
                <a:gd name="T9" fmla="*/ 103 h 207"/>
                <a:gd name="T10" fmla="*/ 123 w 145"/>
                <a:gd name="T11" fmla="*/ 82 h 207"/>
                <a:gd name="T12" fmla="*/ 123 w 145"/>
                <a:gd name="T13" fmla="*/ 62 h 207"/>
                <a:gd name="T14" fmla="*/ 144 w 145"/>
                <a:gd name="T15" fmla="*/ 42 h 207"/>
                <a:gd name="T16" fmla="*/ 144 w 145"/>
                <a:gd name="T17" fmla="*/ 0 h 207"/>
                <a:gd name="T18" fmla="*/ 103 w 145"/>
                <a:gd name="T19" fmla="*/ 0 h 207"/>
                <a:gd name="T20" fmla="*/ 82 w 145"/>
                <a:gd name="T21" fmla="*/ 21 h 207"/>
                <a:gd name="T22" fmla="*/ 82 w 145"/>
                <a:gd name="T23" fmla="*/ 42 h 207"/>
                <a:gd name="T24" fmla="*/ 62 w 145"/>
                <a:gd name="T25" fmla="*/ 62 h 207"/>
                <a:gd name="T26" fmla="*/ 41 w 145"/>
                <a:gd name="T27" fmla="*/ 82 h 207"/>
                <a:gd name="T28" fmla="*/ 21 w 145"/>
                <a:gd name="T29" fmla="*/ 103 h 207"/>
                <a:gd name="T30" fmla="*/ 21 w 145"/>
                <a:gd name="T31" fmla="*/ 124 h 207"/>
                <a:gd name="T32" fmla="*/ 0 w 145"/>
                <a:gd name="T33" fmla="*/ 144 h 207"/>
                <a:gd name="T34" fmla="*/ 0 w 145"/>
                <a:gd name="T35" fmla="*/ 144 h 207"/>
                <a:gd name="T36" fmla="*/ 0 w 145"/>
                <a:gd name="T37" fmla="*/ 185 h 207"/>
                <a:gd name="T38" fmla="*/ 21 w 145"/>
                <a:gd name="T39" fmla="*/ 185 h 207"/>
                <a:gd name="T40" fmla="*/ 41 w 145"/>
                <a:gd name="T41" fmla="*/ 206 h 207"/>
                <a:gd name="T42" fmla="*/ 62 w 145"/>
                <a:gd name="T43" fmla="*/ 185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 h="207">
                  <a:moveTo>
                    <a:pt x="62" y="185"/>
                  </a:moveTo>
                  <a:lnTo>
                    <a:pt x="62" y="185"/>
                  </a:lnTo>
                  <a:lnTo>
                    <a:pt x="62" y="164"/>
                  </a:lnTo>
                  <a:cubicBezTo>
                    <a:pt x="82" y="144"/>
                    <a:pt x="82" y="144"/>
                    <a:pt x="82" y="144"/>
                  </a:cubicBezTo>
                  <a:cubicBezTo>
                    <a:pt x="103" y="124"/>
                    <a:pt x="103" y="124"/>
                    <a:pt x="103" y="103"/>
                  </a:cubicBezTo>
                  <a:cubicBezTo>
                    <a:pt x="103" y="103"/>
                    <a:pt x="123" y="103"/>
                    <a:pt x="123" y="82"/>
                  </a:cubicBezTo>
                  <a:cubicBezTo>
                    <a:pt x="123" y="82"/>
                    <a:pt x="123" y="82"/>
                    <a:pt x="123" y="62"/>
                  </a:cubicBezTo>
                  <a:lnTo>
                    <a:pt x="144" y="42"/>
                  </a:lnTo>
                  <a:cubicBezTo>
                    <a:pt x="144" y="21"/>
                    <a:pt x="144" y="21"/>
                    <a:pt x="144" y="0"/>
                  </a:cubicBezTo>
                  <a:cubicBezTo>
                    <a:pt x="123" y="0"/>
                    <a:pt x="123" y="0"/>
                    <a:pt x="103" y="0"/>
                  </a:cubicBezTo>
                  <a:cubicBezTo>
                    <a:pt x="103" y="0"/>
                    <a:pt x="103" y="21"/>
                    <a:pt x="82" y="21"/>
                  </a:cubicBezTo>
                  <a:lnTo>
                    <a:pt x="82" y="42"/>
                  </a:lnTo>
                  <a:cubicBezTo>
                    <a:pt x="82" y="42"/>
                    <a:pt x="62" y="42"/>
                    <a:pt x="62" y="62"/>
                  </a:cubicBezTo>
                  <a:cubicBezTo>
                    <a:pt x="41" y="62"/>
                    <a:pt x="41" y="62"/>
                    <a:pt x="41" y="82"/>
                  </a:cubicBezTo>
                  <a:cubicBezTo>
                    <a:pt x="41" y="82"/>
                    <a:pt x="41" y="103"/>
                    <a:pt x="21" y="103"/>
                  </a:cubicBezTo>
                  <a:cubicBezTo>
                    <a:pt x="21" y="103"/>
                    <a:pt x="41" y="124"/>
                    <a:pt x="21" y="124"/>
                  </a:cubicBezTo>
                  <a:cubicBezTo>
                    <a:pt x="21" y="124"/>
                    <a:pt x="21" y="124"/>
                    <a:pt x="0" y="144"/>
                  </a:cubicBezTo>
                  <a:lnTo>
                    <a:pt x="0" y="144"/>
                  </a:lnTo>
                  <a:cubicBezTo>
                    <a:pt x="0" y="164"/>
                    <a:pt x="0" y="164"/>
                    <a:pt x="0" y="185"/>
                  </a:cubicBezTo>
                  <a:cubicBezTo>
                    <a:pt x="0" y="185"/>
                    <a:pt x="0" y="185"/>
                    <a:pt x="21" y="185"/>
                  </a:cubicBezTo>
                  <a:cubicBezTo>
                    <a:pt x="21" y="206"/>
                    <a:pt x="21" y="206"/>
                    <a:pt x="41" y="206"/>
                  </a:cubicBezTo>
                  <a:cubicBezTo>
                    <a:pt x="41" y="185"/>
                    <a:pt x="62" y="185"/>
                    <a:pt x="62" y="18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69" name="Freeform 466">
              <a:extLst>
                <a:ext uri="{FF2B5EF4-FFF2-40B4-BE49-F238E27FC236}">
                  <a16:creationId xmlns:a16="http://schemas.microsoft.com/office/drawing/2014/main" id="{24E5DE6D-B8F4-684C-9FE0-F39096BF3969}"/>
                </a:ext>
              </a:extLst>
            </p:cNvPr>
            <p:cNvSpPr>
              <a:spLocks noChangeArrowheads="1"/>
            </p:cNvSpPr>
            <p:nvPr/>
          </p:nvSpPr>
          <p:spPr bwMode="auto">
            <a:xfrm>
              <a:off x="6821488" y="8543925"/>
              <a:ext cx="15875" cy="22225"/>
            </a:xfrm>
            <a:custGeom>
              <a:avLst/>
              <a:gdLst>
                <a:gd name="T0" fmla="*/ 41 w 42"/>
                <a:gd name="T1" fmla="*/ 41 h 63"/>
                <a:gd name="T2" fmla="*/ 41 w 42"/>
                <a:gd name="T3" fmla="*/ 41 h 63"/>
                <a:gd name="T4" fmla="*/ 41 w 42"/>
                <a:gd name="T5" fmla="*/ 20 h 63"/>
                <a:gd name="T6" fmla="*/ 41 w 42"/>
                <a:gd name="T7" fmla="*/ 20 h 63"/>
                <a:gd name="T8" fmla="*/ 20 w 42"/>
                <a:gd name="T9" fmla="*/ 0 h 63"/>
                <a:gd name="T10" fmla="*/ 0 w 42"/>
                <a:gd name="T11" fmla="*/ 0 h 63"/>
                <a:gd name="T12" fmla="*/ 0 w 42"/>
                <a:gd name="T13" fmla="*/ 20 h 63"/>
                <a:gd name="T14" fmla="*/ 20 w 42"/>
                <a:gd name="T15" fmla="*/ 20 h 63"/>
                <a:gd name="T16" fmla="*/ 20 w 42"/>
                <a:gd name="T17" fmla="*/ 41 h 63"/>
                <a:gd name="T18" fmla="*/ 41 w 42"/>
                <a:gd name="T19" fmla="*/ 62 h 63"/>
                <a:gd name="T20" fmla="*/ 41 w 42"/>
                <a:gd name="T2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63">
                  <a:moveTo>
                    <a:pt x="41" y="41"/>
                  </a:moveTo>
                  <a:lnTo>
                    <a:pt x="41" y="41"/>
                  </a:lnTo>
                  <a:cubicBezTo>
                    <a:pt x="41" y="41"/>
                    <a:pt x="41" y="41"/>
                    <a:pt x="41" y="20"/>
                  </a:cubicBezTo>
                  <a:lnTo>
                    <a:pt x="41" y="20"/>
                  </a:lnTo>
                  <a:cubicBezTo>
                    <a:pt x="20" y="20"/>
                    <a:pt x="20" y="0"/>
                    <a:pt x="20" y="0"/>
                  </a:cubicBezTo>
                  <a:cubicBezTo>
                    <a:pt x="20" y="0"/>
                    <a:pt x="20" y="0"/>
                    <a:pt x="0" y="0"/>
                  </a:cubicBezTo>
                  <a:lnTo>
                    <a:pt x="0" y="20"/>
                  </a:lnTo>
                  <a:lnTo>
                    <a:pt x="20" y="20"/>
                  </a:lnTo>
                  <a:cubicBezTo>
                    <a:pt x="20" y="41"/>
                    <a:pt x="20" y="41"/>
                    <a:pt x="20" y="41"/>
                  </a:cubicBezTo>
                  <a:cubicBezTo>
                    <a:pt x="20" y="41"/>
                    <a:pt x="20" y="62"/>
                    <a:pt x="41" y="62"/>
                  </a:cubicBezTo>
                  <a:lnTo>
                    <a:pt x="4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0" name="Freeform 467">
              <a:extLst>
                <a:ext uri="{FF2B5EF4-FFF2-40B4-BE49-F238E27FC236}">
                  <a16:creationId xmlns:a16="http://schemas.microsoft.com/office/drawing/2014/main" id="{9AFB6D8F-3BE3-D849-8FF4-3D58AFB07C3F}"/>
                </a:ext>
              </a:extLst>
            </p:cNvPr>
            <p:cNvSpPr>
              <a:spLocks noChangeArrowheads="1"/>
            </p:cNvSpPr>
            <p:nvPr/>
          </p:nvSpPr>
          <p:spPr bwMode="auto">
            <a:xfrm>
              <a:off x="6837363" y="8535988"/>
              <a:ext cx="7937" cy="7937"/>
            </a:xfrm>
            <a:custGeom>
              <a:avLst/>
              <a:gdLst>
                <a:gd name="T0" fmla="*/ 20 w 21"/>
                <a:gd name="T1" fmla="*/ 20 h 21"/>
                <a:gd name="T2" fmla="*/ 20 w 21"/>
                <a:gd name="T3" fmla="*/ 20 h 21"/>
                <a:gd name="T4" fmla="*/ 0 w 21"/>
                <a:gd name="T5" fmla="*/ 20 h 21"/>
                <a:gd name="T6" fmla="*/ 0 w 21"/>
                <a:gd name="T7" fmla="*/ 0 h 21"/>
                <a:gd name="T8" fmla="*/ 20 w 21"/>
                <a:gd name="T9" fmla="*/ 0 h 21"/>
                <a:gd name="T10" fmla="*/ 20 w 21"/>
                <a:gd name="T11" fmla="*/ 0 h 21"/>
                <a:gd name="T12" fmla="*/ 2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20"/>
                  </a:moveTo>
                  <a:lnTo>
                    <a:pt x="20" y="20"/>
                  </a:lnTo>
                  <a:lnTo>
                    <a:pt x="0" y="20"/>
                  </a:lnTo>
                  <a:cubicBezTo>
                    <a:pt x="0" y="20"/>
                    <a:pt x="0" y="20"/>
                    <a:pt x="0" y="0"/>
                  </a:cubicBezTo>
                  <a:cubicBezTo>
                    <a:pt x="0" y="0"/>
                    <a:pt x="0" y="0"/>
                    <a:pt x="20" y="0"/>
                  </a:cubicBezTo>
                  <a:lnTo>
                    <a:pt x="20" y="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1" name="Freeform 468">
              <a:extLst>
                <a:ext uri="{FF2B5EF4-FFF2-40B4-BE49-F238E27FC236}">
                  <a16:creationId xmlns:a16="http://schemas.microsoft.com/office/drawing/2014/main" id="{A132D6CC-2FEC-8144-AAD5-D7EB2A27182A}"/>
                </a:ext>
              </a:extLst>
            </p:cNvPr>
            <p:cNvSpPr>
              <a:spLocks noChangeArrowheads="1"/>
            </p:cNvSpPr>
            <p:nvPr/>
          </p:nvSpPr>
          <p:spPr bwMode="auto">
            <a:xfrm>
              <a:off x="6615113" y="8535988"/>
              <a:ext cx="15875" cy="14287"/>
            </a:xfrm>
            <a:custGeom>
              <a:avLst/>
              <a:gdLst>
                <a:gd name="T0" fmla="*/ 21 w 42"/>
                <a:gd name="T1" fmla="*/ 40 h 41"/>
                <a:gd name="T2" fmla="*/ 21 w 42"/>
                <a:gd name="T3" fmla="*/ 40 h 41"/>
                <a:gd name="T4" fmla="*/ 0 w 42"/>
                <a:gd name="T5" fmla="*/ 20 h 41"/>
                <a:gd name="T6" fmla="*/ 0 w 42"/>
                <a:gd name="T7" fmla="*/ 0 h 41"/>
                <a:gd name="T8" fmla="*/ 21 w 42"/>
                <a:gd name="T9" fmla="*/ 0 h 41"/>
                <a:gd name="T10" fmla="*/ 41 w 42"/>
                <a:gd name="T11" fmla="*/ 20 h 41"/>
                <a:gd name="T12" fmla="*/ 41 w 42"/>
                <a:gd name="T13" fmla="*/ 20 h 41"/>
                <a:gd name="T14" fmla="*/ 21 w 42"/>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21" y="40"/>
                  </a:moveTo>
                  <a:lnTo>
                    <a:pt x="21" y="40"/>
                  </a:lnTo>
                  <a:cubicBezTo>
                    <a:pt x="21" y="40"/>
                    <a:pt x="0" y="40"/>
                    <a:pt x="0" y="20"/>
                  </a:cubicBezTo>
                  <a:lnTo>
                    <a:pt x="0" y="0"/>
                  </a:lnTo>
                  <a:cubicBezTo>
                    <a:pt x="21" y="0"/>
                    <a:pt x="21" y="0"/>
                    <a:pt x="21" y="0"/>
                  </a:cubicBezTo>
                  <a:cubicBezTo>
                    <a:pt x="21" y="0"/>
                    <a:pt x="21" y="0"/>
                    <a:pt x="41" y="20"/>
                  </a:cubicBezTo>
                  <a:lnTo>
                    <a:pt x="41" y="20"/>
                  </a:lnTo>
                  <a:cubicBezTo>
                    <a:pt x="41" y="40"/>
                    <a:pt x="21" y="40"/>
                    <a:pt x="21"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2" name="Freeform 469">
              <a:extLst>
                <a:ext uri="{FF2B5EF4-FFF2-40B4-BE49-F238E27FC236}">
                  <a16:creationId xmlns:a16="http://schemas.microsoft.com/office/drawing/2014/main" id="{C76E3428-42F4-E342-80B6-D1A9A07C0C57}"/>
                </a:ext>
              </a:extLst>
            </p:cNvPr>
            <p:cNvSpPr>
              <a:spLocks noChangeArrowheads="1"/>
            </p:cNvSpPr>
            <p:nvPr/>
          </p:nvSpPr>
          <p:spPr bwMode="auto">
            <a:xfrm>
              <a:off x="6653213" y="8543925"/>
              <a:ext cx="14287" cy="7938"/>
            </a:xfrm>
            <a:custGeom>
              <a:avLst/>
              <a:gdLst>
                <a:gd name="T0" fmla="*/ 20 w 41"/>
                <a:gd name="T1" fmla="*/ 0 h 21"/>
                <a:gd name="T2" fmla="*/ 20 w 41"/>
                <a:gd name="T3" fmla="*/ 0 h 21"/>
                <a:gd name="T4" fmla="*/ 0 w 41"/>
                <a:gd name="T5" fmla="*/ 20 h 21"/>
                <a:gd name="T6" fmla="*/ 20 w 41"/>
                <a:gd name="T7" fmla="*/ 20 h 21"/>
                <a:gd name="T8" fmla="*/ 40 w 41"/>
                <a:gd name="T9" fmla="*/ 20 h 21"/>
                <a:gd name="T10" fmla="*/ 40 w 41"/>
                <a:gd name="T11" fmla="*/ 20 h 21"/>
                <a:gd name="T12" fmla="*/ 40 w 41"/>
                <a:gd name="T13" fmla="*/ 0 h 21"/>
                <a:gd name="T14" fmla="*/ 20 w 4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21">
                  <a:moveTo>
                    <a:pt x="20" y="0"/>
                  </a:moveTo>
                  <a:lnTo>
                    <a:pt x="20" y="0"/>
                  </a:lnTo>
                  <a:cubicBezTo>
                    <a:pt x="20" y="0"/>
                    <a:pt x="0" y="0"/>
                    <a:pt x="0" y="20"/>
                  </a:cubicBezTo>
                  <a:lnTo>
                    <a:pt x="20" y="20"/>
                  </a:lnTo>
                  <a:cubicBezTo>
                    <a:pt x="20" y="20"/>
                    <a:pt x="20" y="20"/>
                    <a:pt x="40" y="20"/>
                  </a:cubicBezTo>
                  <a:lnTo>
                    <a:pt x="40" y="20"/>
                  </a:lnTo>
                  <a:cubicBezTo>
                    <a:pt x="40" y="0"/>
                    <a:pt x="40" y="0"/>
                    <a:pt x="40" y="0"/>
                  </a:cubicBez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3" name="Freeform 470">
              <a:extLst>
                <a:ext uri="{FF2B5EF4-FFF2-40B4-BE49-F238E27FC236}">
                  <a16:creationId xmlns:a16="http://schemas.microsoft.com/office/drawing/2014/main" id="{1E235CCB-A3AE-EC4F-9871-49888FC62D0D}"/>
                </a:ext>
              </a:extLst>
            </p:cNvPr>
            <p:cNvSpPr>
              <a:spLocks noChangeArrowheads="1"/>
            </p:cNvSpPr>
            <p:nvPr/>
          </p:nvSpPr>
          <p:spPr bwMode="auto">
            <a:xfrm>
              <a:off x="6696075" y="8507413"/>
              <a:ext cx="7938" cy="7937"/>
            </a:xfrm>
            <a:custGeom>
              <a:avLst/>
              <a:gdLst>
                <a:gd name="T0" fmla="*/ 21 w 22"/>
                <a:gd name="T1" fmla="*/ 0 h 21"/>
                <a:gd name="T2" fmla="*/ 21 w 22"/>
                <a:gd name="T3" fmla="*/ 0 h 21"/>
                <a:gd name="T4" fmla="*/ 0 w 22"/>
                <a:gd name="T5" fmla="*/ 0 h 21"/>
                <a:gd name="T6" fmla="*/ 0 w 22"/>
                <a:gd name="T7" fmla="*/ 0 h 21"/>
                <a:gd name="T8" fmla="*/ 21 w 22"/>
                <a:gd name="T9" fmla="*/ 20 h 21"/>
                <a:gd name="T10" fmla="*/ 21 w 22"/>
                <a:gd name="T11" fmla="*/ 0 h 21"/>
              </a:gdLst>
              <a:ahLst/>
              <a:cxnLst>
                <a:cxn ang="0">
                  <a:pos x="T0" y="T1"/>
                </a:cxn>
                <a:cxn ang="0">
                  <a:pos x="T2" y="T3"/>
                </a:cxn>
                <a:cxn ang="0">
                  <a:pos x="T4" y="T5"/>
                </a:cxn>
                <a:cxn ang="0">
                  <a:pos x="T6" y="T7"/>
                </a:cxn>
                <a:cxn ang="0">
                  <a:pos x="T8" y="T9"/>
                </a:cxn>
                <a:cxn ang="0">
                  <a:pos x="T10" y="T11"/>
                </a:cxn>
              </a:cxnLst>
              <a:rect l="0" t="0" r="r" b="b"/>
              <a:pathLst>
                <a:path w="22" h="21">
                  <a:moveTo>
                    <a:pt x="21" y="0"/>
                  </a:moveTo>
                  <a:lnTo>
                    <a:pt x="21" y="0"/>
                  </a:lnTo>
                  <a:lnTo>
                    <a:pt x="0" y="0"/>
                  </a:lnTo>
                  <a:lnTo>
                    <a:pt x="0" y="0"/>
                  </a:lnTo>
                  <a:cubicBezTo>
                    <a:pt x="0" y="20"/>
                    <a:pt x="21" y="20"/>
                    <a:pt x="21" y="2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4" name="Freeform 471">
              <a:extLst>
                <a:ext uri="{FF2B5EF4-FFF2-40B4-BE49-F238E27FC236}">
                  <a16:creationId xmlns:a16="http://schemas.microsoft.com/office/drawing/2014/main" id="{D4BCF417-0B44-0A40-8D12-A01751AB1E4D}"/>
                </a:ext>
              </a:extLst>
            </p:cNvPr>
            <p:cNvSpPr>
              <a:spLocks noChangeArrowheads="1"/>
            </p:cNvSpPr>
            <p:nvPr/>
          </p:nvSpPr>
          <p:spPr bwMode="auto">
            <a:xfrm>
              <a:off x="6718300" y="8462963"/>
              <a:ext cx="15875" cy="15875"/>
            </a:xfrm>
            <a:custGeom>
              <a:avLst/>
              <a:gdLst>
                <a:gd name="T0" fmla="*/ 20 w 42"/>
                <a:gd name="T1" fmla="*/ 41 h 42"/>
                <a:gd name="T2" fmla="*/ 20 w 42"/>
                <a:gd name="T3" fmla="*/ 41 h 42"/>
                <a:gd name="T4" fmla="*/ 0 w 42"/>
                <a:gd name="T5" fmla="*/ 21 h 42"/>
                <a:gd name="T6" fmla="*/ 20 w 42"/>
                <a:gd name="T7" fmla="*/ 0 h 42"/>
                <a:gd name="T8" fmla="*/ 41 w 42"/>
                <a:gd name="T9" fmla="*/ 0 h 42"/>
                <a:gd name="T10" fmla="*/ 41 w 42"/>
                <a:gd name="T11" fmla="*/ 21 h 42"/>
                <a:gd name="T12" fmla="*/ 41 w 42"/>
                <a:gd name="T13" fmla="*/ 21 h 42"/>
                <a:gd name="T14" fmla="*/ 20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0" y="41"/>
                  </a:moveTo>
                  <a:lnTo>
                    <a:pt x="20" y="41"/>
                  </a:lnTo>
                  <a:cubicBezTo>
                    <a:pt x="20" y="21"/>
                    <a:pt x="0" y="21"/>
                    <a:pt x="0" y="21"/>
                  </a:cubicBezTo>
                  <a:lnTo>
                    <a:pt x="20" y="0"/>
                  </a:lnTo>
                  <a:lnTo>
                    <a:pt x="41" y="0"/>
                  </a:lnTo>
                  <a:cubicBezTo>
                    <a:pt x="41" y="21"/>
                    <a:pt x="41" y="21"/>
                    <a:pt x="41" y="21"/>
                  </a:cubicBezTo>
                  <a:lnTo>
                    <a:pt x="41" y="21"/>
                  </a:lnTo>
                  <a:cubicBezTo>
                    <a:pt x="20" y="21"/>
                    <a:pt x="20"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5" name="Freeform 472">
              <a:extLst>
                <a:ext uri="{FF2B5EF4-FFF2-40B4-BE49-F238E27FC236}">
                  <a16:creationId xmlns:a16="http://schemas.microsoft.com/office/drawing/2014/main" id="{6AB1F587-9C49-1C4B-9CE3-E3BEEF9A6E3D}"/>
                </a:ext>
              </a:extLst>
            </p:cNvPr>
            <p:cNvSpPr>
              <a:spLocks noChangeArrowheads="1"/>
            </p:cNvSpPr>
            <p:nvPr/>
          </p:nvSpPr>
          <p:spPr bwMode="auto">
            <a:xfrm>
              <a:off x="6858000" y="8432800"/>
              <a:ext cx="15875" cy="7938"/>
            </a:xfrm>
            <a:custGeom>
              <a:avLst/>
              <a:gdLst>
                <a:gd name="T0" fmla="*/ 21 w 42"/>
                <a:gd name="T1" fmla="*/ 0 h 22"/>
                <a:gd name="T2" fmla="*/ 21 w 42"/>
                <a:gd name="T3" fmla="*/ 0 h 22"/>
                <a:gd name="T4" fmla="*/ 0 w 42"/>
                <a:gd name="T5" fmla="*/ 21 h 22"/>
                <a:gd name="T6" fmla="*/ 21 w 42"/>
                <a:gd name="T7" fmla="*/ 21 h 22"/>
                <a:gd name="T8" fmla="*/ 21 w 42"/>
                <a:gd name="T9" fmla="*/ 21 h 22"/>
                <a:gd name="T10" fmla="*/ 41 w 42"/>
                <a:gd name="T11" fmla="*/ 0 h 22"/>
                <a:gd name="T12" fmla="*/ 21 w 4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21" y="0"/>
                  </a:moveTo>
                  <a:lnTo>
                    <a:pt x="21" y="0"/>
                  </a:lnTo>
                  <a:cubicBezTo>
                    <a:pt x="21" y="0"/>
                    <a:pt x="0" y="0"/>
                    <a:pt x="0" y="21"/>
                  </a:cubicBezTo>
                  <a:lnTo>
                    <a:pt x="21" y="21"/>
                  </a:lnTo>
                  <a:lnTo>
                    <a:pt x="21" y="21"/>
                  </a:lnTo>
                  <a:cubicBezTo>
                    <a:pt x="41" y="21"/>
                    <a:pt x="41" y="21"/>
                    <a:pt x="41" y="0"/>
                  </a:cubicBezTo>
                  <a:cubicBezTo>
                    <a:pt x="21" y="0"/>
                    <a:pt x="2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6" name="Freeform 473">
              <a:extLst>
                <a:ext uri="{FF2B5EF4-FFF2-40B4-BE49-F238E27FC236}">
                  <a16:creationId xmlns:a16="http://schemas.microsoft.com/office/drawing/2014/main" id="{5D3D6FBF-73EC-0343-BC1E-EBA4D4CECCA3}"/>
                </a:ext>
              </a:extLst>
            </p:cNvPr>
            <p:cNvSpPr>
              <a:spLocks noChangeArrowheads="1"/>
            </p:cNvSpPr>
            <p:nvPr/>
          </p:nvSpPr>
          <p:spPr bwMode="auto">
            <a:xfrm>
              <a:off x="6858000" y="8448675"/>
              <a:ext cx="15875" cy="7938"/>
            </a:xfrm>
            <a:custGeom>
              <a:avLst/>
              <a:gdLst>
                <a:gd name="T0" fmla="*/ 21 w 42"/>
                <a:gd name="T1" fmla="*/ 0 h 21"/>
                <a:gd name="T2" fmla="*/ 21 w 42"/>
                <a:gd name="T3" fmla="*/ 0 h 21"/>
                <a:gd name="T4" fmla="*/ 0 w 42"/>
                <a:gd name="T5" fmla="*/ 0 h 21"/>
                <a:gd name="T6" fmla="*/ 21 w 42"/>
                <a:gd name="T7" fmla="*/ 20 h 21"/>
                <a:gd name="T8" fmla="*/ 41 w 42"/>
                <a:gd name="T9" fmla="*/ 20 h 21"/>
                <a:gd name="T10" fmla="*/ 41 w 42"/>
                <a:gd name="T11" fmla="*/ 0 h 21"/>
                <a:gd name="T12" fmla="*/ 21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1" y="0"/>
                  </a:moveTo>
                  <a:lnTo>
                    <a:pt x="21" y="0"/>
                  </a:lnTo>
                  <a:lnTo>
                    <a:pt x="0" y="0"/>
                  </a:lnTo>
                  <a:lnTo>
                    <a:pt x="21" y="20"/>
                  </a:lnTo>
                  <a:lnTo>
                    <a:pt x="41" y="20"/>
                  </a:lnTo>
                  <a:lnTo>
                    <a:pt x="41" y="0"/>
                  </a:lnTo>
                  <a:cubicBezTo>
                    <a:pt x="21" y="0"/>
                    <a:pt x="2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7" name="Freeform 474">
              <a:extLst>
                <a:ext uri="{FF2B5EF4-FFF2-40B4-BE49-F238E27FC236}">
                  <a16:creationId xmlns:a16="http://schemas.microsoft.com/office/drawing/2014/main" id="{984F5624-0949-C64C-8F24-A556A3DBD8C0}"/>
                </a:ext>
              </a:extLst>
            </p:cNvPr>
            <p:cNvSpPr>
              <a:spLocks noChangeArrowheads="1"/>
            </p:cNvSpPr>
            <p:nvPr/>
          </p:nvSpPr>
          <p:spPr bwMode="auto">
            <a:xfrm>
              <a:off x="6873875" y="8412163"/>
              <a:ext cx="15875" cy="30162"/>
            </a:xfrm>
            <a:custGeom>
              <a:avLst/>
              <a:gdLst>
                <a:gd name="T0" fmla="*/ 41 w 42"/>
                <a:gd name="T1" fmla="*/ 61 h 83"/>
                <a:gd name="T2" fmla="*/ 41 w 42"/>
                <a:gd name="T3" fmla="*/ 61 h 83"/>
                <a:gd name="T4" fmla="*/ 21 w 42"/>
                <a:gd name="T5" fmla="*/ 40 h 83"/>
                <a:gd name="T6" fmla="*/ 41 w 42"/>
                <a:gd name="T7" fmla="*/ 20 h 83"/>
                <a:gd name="T8" fmla="*/ 41 w 42"/>
                <a:gd name="T9" fmla="*/ 20 h 83"/>
                <a:gd name="T10" fmla="*/ 41 w 42"/>
                <a:gd name="T11" fmla="*/ 0 h 83"/>
                <a:gd name="T12" fmla="*/ 21 w 42"/>
                <a:gd name="T13" fmla="*/ 0 h 83"/>
                <a:gd name="T14" fmla="*/ 21 w 42"/>
                <a:gd name="T15" fmla="*/ 20 h 83"/>
                <a:gd name="T16" fmla="*/ 0 w 42"/>
                <a:gd name="T17" fmla="*/ 40 h 83"/>
                <a:gd name="T18" fmla="*/ 21 w 42"/>
                <a:gd name="T19" fmla="*/ 61 h 83"/>
                <a:gd name="T20" fmla="*/ 21 w 42"/>
                <a:gd name="T21" fmla="*/ 82 h 83"/>
                <a:gd name="T22" fmla="*/ 41 w 42"/>
                <a:gd name="T23" fmla="*/ 6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83">
                  <a:moveTo>
                    <a:pt x="41" y="61"/>
                  </a:moveTo>
                  <a:lnTo>
                    <a:pt x="41" y="61"/>
                  </a:lnTo>
                  <a:cubicBezTo>
                    <a:pt x="41" y="40"/>
                    <a:pt x="21" y="40"/>
                    <a:pt x="21" y="40"/>
                  </a:cubicBezTo>
                  <a:lnTo>
                    <a:pt x="41" y="20"/>
                  </a:lnTo>
                  <a:lnTo>
                    <a:pt x="41" y="20"/>
                  </a:lnTo>
                  <a:cubicBezTo>
                    <a:pt x="41" y="0"/>
                    <a:pt x="41" y="0"/>
                    <a:pt x="41" y="0"/>
                  </a:cubicBezTo>
                  <a:lnTo>
                    <a:pt x="21" y="0"/>
                  </a:lnTo>
                  <a:lnTo>
                    <a:pt x="21" y="20"/>
                  </a:lnTo>
                  <a:cubicBezTo>
                    <a:pt x="21" y="20"/>
                    <a:pt x="21" y="40"/>
                    <a:pt x="0" y="40"/>
                  </a:cubicBezTo>
                  <a:cubicBezTo>
                    <a:pt x="0" y="40"/>
                    <a:pt x="0" y="40"/>
                    <a:pt x="21" y="61"/>
                  </a:cubicBezTo>
                  <a:lnTo>
                    <a:pt x="21" y="82"/>
                  </a:lnTo>
                  <a:cubicBezTo>
                    <a:pt x="41" y="82"/>
                    <a:pt x="41" y="61"/>
                    <a:pt x="41"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8" name="Freeform 475">
              <a:extLst>
                <a:ext uri="{FF2B5EF4-FFF2-40B4-BE49-F238E27FC236}">
                  <a16:creationId xmlns:a16="http://schemas.microsoft.com/office/drawing/2014/main" id="{DCA2938E-E583-ED4F-820C-786B293E4005}"/>
                </a:ext>
              </a:extLst>
            </p:cNvPr>
            <p:cNvSpPr>
              <a:spLocks noChangeArrowheads="1"/>
            </p:cNvSpPr>
            <p:nvPr/>
          </p:nvSpPr>
          <p:spPr bwMode="auto">
            <a:xfrm>
              <a:off x="6896100" y="8396288"/>
              <a:ext cx="15875" cy="38100"/>
            </a:xfrm>
            <a:custGeom>
              <a:avLst/>
              <a:gdLst>
                <a:gd name="T0" fmla="*/ 0 w 42"/>
                <a:gd name="T1" fmla="*/ 103 h 104"/>
                <a:gd name="T2" fmla="*/ 0 w 42"/>
                <a:gd name="T3" fmla="*/ 103 h 104"/>
                <a:gd name="T4" fmla="*/ 20 w 42"/>
                <a:gd name="T5" fmla="*/ 103 h 104"/>
                <a:gd name="T6" fmla="*/ 20 w 42"/>
                <a:gd name="T7" fmla="*/ 82 h 104"/>
                <a:gd name="T8" fmla="*/ 20 w 42"/>
                <a:gd name="T9" fmla="*/ 62 h 104"/>
                <a:gd name="T10" fmla="*/ 41 w 42"/>
                <a:gd name="T11" fmla="*/ 42 h 104"/>
                <a:gd name="T12" fmla="*/ 41 w 42"/>
                <a:gd name="T13" fmla="*/ 21 h 104"/>
                <a:gd name="T14" fmla="*/ 41 w 42"/>
                <a:gd name="T15" fmla="*/ 21 h 104"/>
                <a:gd name="T16" fmla="*/ 41 w 42"/>
                <a:gd name="T17" fmla="*/ 0 h 104"/>
                <a:gd name="T18" fmla="*/ 20 w 42"/>
                <a:gd name="T19" fmla="*/ 21 h 104"/>
                <a:gd name="T20" fmla="*/ 20 w 42"/>
                <a:gd name="T21" fmla="*/ 21 h 104"/>
                <a:gd name="T22" fmla="*/ 0 w 42"/>
                <a:gd name="T23" fmla="*/ 42 h 104"/>
                <a:gd name="T24" fmla="*/ 0 w 42"/>
                <a:gd name="T25" fmla="*/ 42 h 104"/>
                <a:gd name="T26" fmla="*/ 0 w 42"/>
                <a:gd name="T27" fmla="*/ 62 h 104"/>
                <a:gd name="T28" fmla="*/ 0 w 42"/>
                <a:gd name="T29" fmla="*/ 82 h 104"/>
                <a:gd name="T30" fmla="*/ 0 w 42"/>
                <a:gd name="T31" fmla="*/ 82 h 104"/>
                <a:gd name="T32" fmla="*/ 0 w 42"/>
                <a:gd name="T33"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104">
                  <a:moveTo>
                    <a:pt x="0" y="103"/>
                  </a:moveTo>
                  <a:lnTo>
                    <a:pt x="0" y="103"/>
                  </a:lnTo>
                  <a:cubicBezTo>
                    <a:pt x="20" y="103"/>
                    <a:pt x="20" y="103"/>
                    <a:pt x="20" y="103"/>
                  </a:cubicBezTo>
                  <a:cubicBezTo>
                    <a:pt x="20" y="82"/>
                    <a:pt x="20" y="82"/>
                    <a:pt x="20" y="82"/>
                  </a:cubicBezTo>
                  <a:cubicBezTo>
                    <a:pt x="20" y="62"/>
                    <a:pt x="20" y="62"/>
                    <a:pt x="20" y="62"/>
                  </a:cubicBezTo>
                  <a:lnTo>
                    <a:pt x="41" y="42"/>
                  </a:lnTo>
                  <a:cubicBezTo>
                    <a:pt x="41" y="42"/>
                    <a:pt x="41" y="42"/>
                    <a:pt x="41" y="21"/>
                  </a:cubicBezTo>
                  <a:lnTo>
                    <a:pt x="41" y="21"/>
                  </a:lnTo>
                  <a:lnTo>
                    <a:pt x="41" y="0"/>
                  </a:lnTo>
                  <a:cubicBezTo>
                    <a:pt x="41" y="0"/>
                    <a:pt x="41" y="0"/>
                    <a:pt x="20" y="21"/>
                  </a:cubicBezTo>
                  <a:lnTo>
                    <a:pt x="20" y="21"/>
                  </a:lnTo>
                  <a:cubicBezTo>
                    <a:pt x="20" y="42"/>
                    <a:pt x="20" y="42"/>
                    <a:pt x="0" y="42"/>
                  </a:cubicBezTo>
                  <a:lnTo>
                    <a:pt x="0" y="42"/>
                  </a:lnTo>
                  <a:lnTo>
                    <a:pt x="0" y="62"/>
                  </a:lnTo>
                  <a:cubicBezTo>
                    <a:pt x="0" y="62"/>
                    <a:pt x="0" y="62"/>
                    <a:pt x="0" y="82"/>
                  </a:cubicBezTo>
                  <a:lnTo>
                    <a:pt x="0" y="82"/>
                  </a:lnTo>
                  <a:cubicBezTo>
                    <a:pt x="0" y="103"/>
                    <a:pt x="0" y="103"/>
                    <a:pt x="0" y="10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79" name="Freeform 476">
              <a:extLst>
                <a:ext uri="{FF2B5EF4-FFF2-40B4-BE49-F238E27FC236}">
                  <a16:creationId xmlns:a16="http://schemas.microsoft.com/office/drawing/2014/main" id="{73615F55-D1B6-3B45-9101-28E6A2064EE7}"/>
                </a:ext>
              </a:extLst>
            </p:cNvPr>
            <p:cNvSpPr>
              <a:spLocks noChangeArrowheads="1"/>
            </p:cNvSpPr>
            <p:nvPr/>
          </p:nvSpPr>
          <p:spPr bwMode="auto">
            <a:xfrm>
              <a:off x="6962775" y="8485188"/>
              <a:ext cx="22225" cy="44450"/>
            </a:xfrm>
            <a:custGeom>
              <a:avLst/>
              <a:gdLst>
                <a:gd name="T0" fmla="*/ 41 w 63"/>
                <a:gd name="T1" fmla="*/ 123 h 124"/>
                <a:gd name="T2" fmla="*/ 41 w 63"/>
                <a:gd name="T3" fmla="*/ 123 h 124"/>
                <a:gd name="T4" fmla="*/ 41 w 63"/>
                <a:gd name="T5" fmla="*/ 102 h 124"/>
                <a:gd name="T6" fmla="*/ 62 w 63"/>
                <a:gd name="T7" fmla="*/ 82 h 124"/>
                <a:gd name="T8" fmla="*/ 62 w 63"/>
                <a:gd name="T9" fmla="*/ 62 h 124"/>
                <a:gd name="T10" fmla="*/ 62 w 63"/>
                <a:gd name="T11" fmla="*/ 41 h 124"/>
                <a:gd name="T12" fmla="*/ 41 w 63"/>
                <a:gd name="T13" fmla="*/ 21 h 124"/>
                <a:gd name="T14" fmla="*/ 41 w 63"/>
                <a:gd name="T15" fmla="*/ 0 h 124"/>
                <a:gd name="T16" fmla="*/ 21 w 63"/>
                <a:gd name="T17" fmla="*/ 0 h 124"/>
                <a:gd name="T18" fmla="*/ 21 w 63"/>
                <a:gd name="T19" fmla="*/ 21 h 124"/>
                <a:gd name="T20" fmla="*/ 41 w 63"/>
                <a:gd name="T21" fmla="*/ 41 h 124"/>
                <a:gd name="T22" fmla="*/ 41 w 63"/>
                <a:gd name="T23" fmla="*/ 62 h 124"/>
                <a:gd name="T24" fmla="*/ 21 w 63"/>
                <a:gd name="T25" fmla="*/ 62 h 124"/>
                <a:gd name="T26" fmla="*/ 21 w 63"/>
                <a:gd name="T27" fmla="*/ 62 h 124"/>
                <a:gd name="T28" fmla="*/ 21 w 63"/>
                <a:gd name="T29" fmla="*/ 82 h 124"/>
                <a:gd name="T30" fmla="*/ 21 w 63"/>
                <a:gd name="T31" fmla="*/ 102 h 124"/>
                <a:gd name="T32" fmla="*/ 21 w 63"/>
                <a:gd name="T33" fmla="*/ 123 h 124"/>
                <a:gd name="T34" fmla="*/ 41 w 63"/>
                <a:gd name="T35" fmla="*/ 12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 h="124">
                  <a:moveTo>
                    <a:pt x="41" y="123"/>
                  </a:moveTo>
                  <a:lnTo>
                    <a:pt x="41" y="123"/>
                  </a:lnTo>
                  <a:cubicBezTo>
                    <a:pt x="41" y="123"/>
                    <a:pt x="41" y="123"/>
                    <a:pt x="41" y="102"/>
                  </a:cubicBezTo>
                  <a:lnTo>
                    <a:pt x="62" y="82"/>
                  </a:lnTo>
                  <a:lnTo>
                    <a:pt x="62" y="62"/>
                  </a:lnTo>
                  <a:lnTo>
                    <a:pt x="62" y="41"/>
                  </a:lnTo>
                  <a:cubicBezTo>
                    <a:pt x="62" y="41"/>
                    <a:pt x="62" y="21"/>
                    <a:pt x="41" y="21"/>
                  </a:cubicBezTo>
                  <a:cubicBezTo>
                    <a:pt x="41" y="0"/>
                    <a:pt x="41" y="0"/>
                    <a:pt x="41" y="0"/>
                  </a:cubicBezTo>
                  <a:lnTo>
                    <a:pt x="21" y="0"/>
                  </a:lnTo>
                  <a:lnTo>
                    <a:pt x="21" y="21"/>
                  </a:lnTo>
                  <a:lnTo>
                    <a:pt x="41" y="41"/>
                  </a:lnTo>
                  <a:lnTo>
                    <a:pt x="41" y="62"/>
                  </a:lnTo>
                  <a:cubicBezTo>
                    <a:pt x="21" y="62"/>
                    <a:pt x="21" y="41"/>
                    <a:pt x="21" y="62"/>
                  </a:cubicBezTo>
                  <a:lnTo>
                    <a:pt x="21" y="62"/>
                  </a:lnTo>
                  <a:cubicBezTo>
                    <a:pt x="0" y="62"/>
                    <a:pt x="21" y="82"/>
                    <a:pt x="21" y="82"/>
                  </a:cubicBezTo>
                  <a:cubicBezTo>
                    <a:pt x="21" y="82"/>
                    <a:pt x="21" y="82"/>
                    <a:pt x="21" y="102"/>
                  </a:cubicBezTo>
                  <a:cubicBezTo>
                    <a:pt x="21" y="102"/>
                    <a:pt x="21" y="102"/>
                    <a:pt x="21" y="123"/>
                  </a:cubicBezTo>
                  <a:cubicBezTo>
                    <a:pt x="21" y="123"/>
                    <a:pt x="21" y="123"/>
                    <a:pt x="41" y="12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0" name="Freeform 477">
              <a:extLst>
                <a:ext uri="{FF2B5EF4-FFF2-40B4-BE49-F238E27FC236}">
                  <a16:creationId xmlns:a16="http://schemas.microsoft.com/office/drawing/2014/main" id="{C94436D9-C017-234B-830C-906629D5B645}"/>
                </a:ext>
              </a:extLst>
            </p:cNvPr>
            <p:cNvSpPr>
              <a:spLocks noChangeArrowheads="1"/>
            </p:cNvSpPr>
            <p:nvPr/>
          </p:nvSpPr>
          <p:spPr bwMode="auto">
            <a:xfrm>
              <a:off x="6977063" y="8529638"/>
              <a:ext cx="7937" cy="7937"/>
            </a:xfrm>
            <a:custGeom>
              <a:avLst/>
              <a:gdLst>
                <a:gd name="T0" fmla="*/ 21 w 22"/>
                <a:gd name="T1" fmla="*/ 0 h 22"/>
                <a:gd name="T2" fmla="*/ 21 w 22"/>
                <a:gd name="T3" fmla="*/ 0 h 22"/>
                <a:gd name="T4" fmla="*/ 0 w 22"/>
                <a:gd name="T5" fmla="*/ 21 h 22"/>
                <a:gd name="T6" fmla="*/ 21 w 22"/>
                <a:gd name="T7" fmla="*/ 21 h 22"/>
                <a:gd name="T8" fmla="*/ 21 w 22"/>
                <a:gd name="T9" fmla="*/ 21 h 22"/>
                <a:gd name="T10" fmla="*/ 21 w 22"/>
                <a:gd name="T11" fmla="*/ 21 h 22"/>
                <a:gd name="T12" fmla="*/ 21 w 22"/>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21" y="0"/>
                  </a:moveTo>
                  <a:lnTo>
                    <a:pt x="21" y="0"/>
                  </a:lnTo>
                  <a:cubicBezTo>
                    <a:pt x="21" y="0"/>
                    <a:pt x="0" y="0"/>
                    <a:pt x="0" y="21"/>
                  </a:cubicBezTo>
                  <a:cubicBezTo>
                    <a:pt x="0" y="21"/>
                    <a:pt x="0" y="21"/>
                    <a:pt x="21" y="21"/>
                  </a:cubicBezTo>
                  <a:lnTo>
                    <a:pt x="21" y="21"/>
                  </a:lnTo>
                  <a:lnTo>
                    <a:pt x="21" y="21"/>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1" name="Freeform 478">
              <a:extLst>
                <a:ext uri="{FF2B5EF4-FFF2-40B4-BE49-F238E27FC236}">
                  <a16:creationId xmlns:a16="http://schemas.microsoft.com/office/drawing/2014/main" id="{F8595813-E30C-F148-8B9D-E97C0ED88960}"/>
                </a:ext>
              </a:extLst>
            </p:cNvPr>
            <p:cNvSpPr>
              <a:spLocks noChangeArrowheads="1"/>
            </p:cNvSpPr>
            <p:nvPr/>
          </p:nvSpPr>
          <p:spPr bwMode="auto">
            <a:xfrm>
              <a:off x="6985000" y="8543925"/>
              <a:ext cx="7938" cy="7938"/>
            </a:xfrm>
            <a:custGeom>
              <a:avLst/>
              <a:gdLst>
                <a:gd name="T0" fmla="*/ 0 w 21"/>
                <a:gd name="T1" fmla="*/ 0 h 21"/>
                <a:gd name="T2" fmla="*/ 0 w 21"/>
                <a:gd name="T3" fmla="*/ 0 h 21"/>
                <a:gd name="T4" fmla="*/ 0 w 21"/>
                <a:gd name="T5" fmla="*/ 20 h 21"/>
                <a:gd name="T6" fmla="*/ 0 w 21"/>
                <a:gd name="T7" fmla="*/ 20 h 21"/>
                <a:gd name="T8" fmla="*/ 20 w 21"/>
                <a:gd name="T9" fmla="*/ 0 h 21"/>
                <a:gd name="T10" fmla="*/ 0 w 21"/>
                <a:gd name="T11" fmla="*/ 0 h 21"/>
              </a:gdLst>
              <a:ahLst/>
              <a:cxnLst>
                <a:cxn ang="0">
                  <a:pos x="T0" y="T1"/>
                </a:cxn>
                <a:cxn ang="0">
                  <a:pos x="T2" y="T3"/>
                </a:cxn>
                <a:cxn ang="0">
                  <a:pos x="T4" y="T5"/>
                </a:cxn>
                <a:cxn ang="0">
                  <a:pos x="T6" y="T7"/>
                </a:cxn>
                <a:cxn ang="0">
                  <a:pos x="T8" y="T9"/>
                </a:cxn>
                <a:cxn ang="0">
                  <a:pos x="T10" y="T11"/>
                </a:cxn>
              </a:cxnLst>
              <a:rect l="0" t="0" r="r" b="b"/>
              <a:pathLst>
                <a:path w="21" h="21">
                  <a:moveTo>
                    <a:pt x="0" y="0"/>
                  </a:moveTo>
                  <a:lnTo>
                    <a:pt x="0" y="0"/>
                  </a:lnTo>
                  <a:lnTo>
                    <a:pt x="0" y="20"/>
                  </a:lnTo>
                  <a:lnTo>
                    <a:pt x="0" y="20"/>
                  </a:lnTo>
                  <a:cubicBezTo>
                    <a:pt x="20" y="20"/>
                    <a:pt x="20" y="0"/>
                    <a:pt x="20" y="0"/>
                  </a:cubicBezTo>
                  <a:cubicBezTo>
                    <a:pt x="20" y="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2" name="Freeform 479">
              <a:extLst>
                <a:ext uri="{FF2B5EF4-FFF2-40B4-BE49-F238E27FC236}">
                  <a16:creationId xmlns:a16="http://schemas.microsoft.com/office/drawing/2014/main" id="{E0AF59BF-C069-B449-B599-2D54E5C7055E}"/>
                </a:ext>
              </a:extLst>
            </p:cNvPr>
            <p:cNvSpPr>
              <a:spLocks noChangeArrowheads="1"/>
            </p:cNvSpPr>
            <p:nvPr/>
          </p:nvSpPr>
          <p:spPr bwMode="auto">
            <a:xfrm>
              <a:off x="6991350" y="8529638"/>
              <a:ext cx="7938" cy="7937"/>
            </a:xfrm>
            <a:custGeom>
              <a:avLst/>
              <a:gdLst>
                <a:gd name="T0" fmla="*/ 21 w 22"/>
                <a:gd name="T1" fmla="*/ 21 h 22"/>
                <a:gd name="T2" fmla="*/ 21 w 22"/>
                <a:gd name="T3" fmla="*/ 21 h 22"/>
                <a:gd name="T4" fmla="*/ 0 w 22"/>
                <a:gd name="T5" fmla="*/ 0 h 22"/>
                <a:gd name="T6" fmla="*/ 21 w 22"/>
                <a:gd name="T7" fmla="*/ 0 h 22"/>
                <a:gd name="T8" fmla="*/ 21 w 22"/>
                <a:gd name="T9" fmla="*/ 0 h 22"/>
                <a:gd name="T10" fmla="*/ 21 w 22"/>
                <a:gd name="T11" fmla="*/ 0 h 22"/>
                <a:gd name="T12" fmla="*/ 21 w 22"/>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21" y="21"/>
                  </a:moveTo>
                  <a:lnTo>
                    <a:pt x="21" y="21"/>
                  </a:lnTo>
                  <a:lnTo>
                    <a:pt x="0" y="0"/>
                  </a:lnTo>
                  <a:cubicBezTo>
                    <a:pt x="0" y="0"/>
                    <a:pt x="0" y="0"/>
                    <a:pt x="21" y="0"/>
                  </a:cubicBezTo>
                  <a:lnTo>
                    <a:pt x="21" y="0"/>
                  </a:lnTo>
                  <a:lnTo>
                    <a:pt x="21" y="0"/>
                  </a:lnTo>
                  <a:lnTo>
                    <a:pt x="2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3" name="Freeform 480">
              <a:extLst>
                <a:ext uri="{FF2B5EF4-FFF2-40B4-BE49-F238E27FC236}">
                  <a16:creationId xmlns:a16="http://schemas.microsoft.com/office/drawing/2014/main" id="{4181DE26-9386-844F-AC31-DD86FEEDBF0C}"/>
                </a:ext>
              </a:extLst>
            </p:cNvPr>
            <p:cNvSpPr>
              <a:spLocks noChangeArrowheads="1"/>
            </p:cNvSpPr>
            <p:nvPr/>
          </p:nvSpPr>
          <p:spPr bwMode="auto">
            <a:xfrm>
              <a:off x="6977063" y="8462963"/>
              <a:ext cx="22225" cy="36512"/>
            </a:xfrm>
            <a:custGeom>
              <a:avLst/>
              <a:gdLst>
                <a:gd name="T0" fmla="*/ 41 w 63"/>
                <a:gd name="T1" fmla="*/ 102 h 103"/>
                <a:gd name="T2" fmla="*/ 41 w 63"/>
                <a:gd name="T3" fmla="*/ 102 h 103"/>
                <a:gd name="T4" fmla="*/ 21 w 63"/>
                <a:gd name="T5" fmla="*/ 61 h 103"/>
                <a:gd name="T6" fmla="*/ 0 w 63"/>
                <a:gd name="T7" fmla="*/ 41 h 103"/>
                <a:gd name="T8" fmla="*/ 0 w 63"/>
                <a:gd name="T9" fmla="*/ 21 h 103"/>
                <a:gd name="T10" fmla="*/ 0 w 63"/>
                <a:gd name="T11" fmla="*/ 0 h 103"/>
                <a:gd name="T12" fmla="*/ 21 w 63"/>
                <a:gd name="T13" fmla="*/ 21 h 103"/>
                <a:gd name="T14" fmla="*/ 41 w 63"/>
                <a:gd name="T15" fmla="*/ 41 h 103"/>
                <a:gd name="T16" fmla="*/ 41 w 63"/>
                <a:gd name="T17" fmla="*/ 61 h 103"/>
                <a:gd name="T18" fmla="*/ 62 w 63"/>
                <a:gd name="T19" fmla="*/ 61 h 103"/>
                <a:gd name="T20" fmla="*/ 62 w 63"/>
                <a:gd name="T21" fmla="*/ 82 h 103"/>
                <a:gd name="T22" fmla="*/ 41 w 63"/>
                <a:gd name="T23" fmla="*/ 10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103">
                  <a:moveTo>
                    <a:pt x="41" y="102"/>
                  </a:moveTo>
                  <a:lnTo>
                    <a:pt x="41" y="102"/>
                  </a:lnTo>
                  <a:cubicBezTo>
                    <a:pt x="41" y="82"/>
                    <a:pt x="41" y="61"/>
                    <a:pt x="21" y="61"/>
                  </a:cubicBezTo>
                  <a:lnTo>
                    <a:pt x="0" y="41"/>
                  </a:lnTo>
                  <a:lnTo>
                    <a:pt x="0" y="21"/>
                  </a:lnTo>
                  <a:lnTo>
                    <a:pt x="0" y="0"/>
                  </a:lnTo>
                  <a:lnTo>
                    <a:pt x="21" y="21"/>
                  </a:lnTo>
                  <a:lnTo>
                    <a:pt x="41" y="41"/>
                  </a:lnTo>
                  <a:lnTo>
                    <a:pt x="41" y="61"/>
                  </a:lnTo>
                  <a:cubicBezTo>
                    <a:pt x="62" y="61"/>
                    <a:pt x="62" y="61"/>
                    <a:pt x="62" y="61"/>
                  </a:cubicBezTo>
                  <a:cubicBezTo>
                    <a:pt x="62" y="82"/>
                    <a:pt x="62" y="82"/>
                    <a:pt x="62" y="82"/>
                  </a:cubicBezTo>
                  <a:lnTo>
                    <a:pt x="41" y="10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4" name="Freeform 481">
              <a:extLst>
                <a:ext uri="{FF2B5EF4-FFF2-40B4-BE49-F238E27FC236}">
                  <a16:creationId xmlns:a16="http://schemas.microsoft.com/office/drawing/2014/main" id="{6DD75147-33AC-2242-85A3-F2EACD31C862}"/>
                </a:ext>
              </a:extLst>
            </p:cNvPr>
            <p:cNvSpPr>
              <a:spLocks noChangeArrowheads="1"/>
            </p:cNvSpPr>
            <p:nvPr/>
          </p:nvSpPr>
          <p:spPr bwMode="auto">
            <a:xfrm>
              <a:off x="6991350" y="8455025"/>
              <a:ext cx="22225" cy="22225"/>
            </a:xfrm>
            <a:custGeom>
              <a:avLst/>
              <a:gdLst>
                <a:gd name="T0" fmla="*/ 41 w 63"/>
                <a:gd name="T1" fmla="*/ 62 h 63"/>
                <a:gd name="T2" fmla="*/ 41 w 63"/>
                <a:gd name="T3" fmla="*/ 62 h 63"/>
                <a:gd name="T4" fmla="*/ 21 w 63"/>
                <a:gd name="T5" fmla="*/ 42 h 63"/>
                <a:gd name="T6" fmla="*/ 0 w 63"/>
                <a:gd name="T7" fmla="*/ 42 h 63"/>
                <a:gd name="T8" fmla="*/ 0 w 63"/>
                <a:gd name="T9" fmla="*/ 21 h 63"/>
                <a:gd name="T10" fmla="*/ 21 w 63"/>
                <a:gd name="T11" fmla="*/ 0 h 63"/>
                <a:gd name="T12" fmla="*/ 21 w 63"/>
                <a:gd name="T13" fmla="*/ 0 h 63"/>
                <a:gd name="T14" fmla="*/ 62 w 63"/>
                <a:gd name="T15" fmla="*/ 0 h 63"/>
                <a:gd name="T16" fmla="*/ 62 w 63"/>
                <a:gd name="T17" fmla="*/ 21 h 63"/>
                <a:gd name="T18" fmla="*/ 41 w 63"/>
                <a:gd name="T19" fmla="*/ 42 h 63"/>
                <a:gd name="T20" fmla="*/ 41 w 63"/>
                <a:gd name="T21"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63">
                  <a:moveTo>
                    <a:pt x="41" y="62"/>
                  </a:moveTo>
                  <a:lnTo>
                    <a:pt x="41" y="62"/>
                  </a:lnTo>
                  <a:cubicBezTo>
                    <a:pt x="21" y="62"/>
                    <a:pt x="21" y="62"/>
                    <a:pt x="21" y="42"/>
                  </a:cubicBezTo>
                  <a:lnTo>
                    <a:pt x="0" y="42"/>
                  </a:lnTo>
                  <a:cubicBezTo>
                    <a:pt x="0" y="21"/>
                    <a:pt x="0" y="21"/>
                    <a:pt x="0" y="21"/>
                  </a:cubicBezTo>
                  <a:cubicBezTo>
                    <a:pt x="0" y="21"/>
                    <a:pt x="0" y="0"/>
                    <a:pt x="21" y="0"/>
                  </a:cubicBezTo>
                  <a:lnTo>
                    <a:pt x="21" y="0"/>
                  </a:lnTo>
                  <a:cubicBezTo>
                    <a:pt x="41" y="0"/>
                    <a:pt x="41" y="0"/>
                    <a:pt x="62" y="0"/>
                  </a:cubicBezTo>
                  <a:cubicBezTo>
                    <a:pt x="62" y="21"/>
                    <a:pt x="62" y="21"/>
                    <a:pt x="62" y="21"/>
                  </a:cubicBezTo>
                  <a:cubicBezTo>
                    <a:pt x="62" y="42"/>
                    <a:pt x="41" y="42"/>
                    <a:pt x="41" y="42"/>
                  </a:cubicBezTo>
                  <a:cubicBezTo>
                    <a:pt x="41" y="62"/>
                    <a:pt x="41" y="62"/>
                    <a:pt x="41"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5" name="Freeform 482">
              <a:extLst>
                <a:ext uri="{FF2B5EF4-FFF2-40B4-BE49-F238E27FC236}">
                  <a16:creationId xmlns:a16="http://schemas.microsoft.com/office/drawing/2014/main" id="{DFCE38BD-FAC4-7547-B39C-6CB3ECE426CB}"/>
                </a:ext>
              </a:extLst>
            </p:cNvPr>
            <p:cNvSpPr>
              <a:spLocks noChangeArrowheads="1"/>
            </p:cNvSpPr>
            <p:nvPr/>
          </p:nvSpPr>
          <p:spPr bwMode="auto">
            <a:xfrm>
              <a:off x="6985000" y="8418513"/>
              <a:ext cx="30163" cy="36512"/>
            </a:xfrm>
            <a:custGeom>
              <a:avLst/>
              <a:gdLst>
                <a:gd name="T0" fmla="*/ 41 w 83"/>
                <a:gd name="T1" fmla="*/ 62 h 103"/>
                <a:gd name="T2" fmla="*/ 41 w 83"/>
                <a:gd name="T3" fmla="*/ 62 h 103"/>
                <a:gd name="T4" fmla="*/ 61 w 83"/>
                <a:gd name="T5" fmla="*/ 82 h 103"/>
                <a:gd name="T6" fmla="*/ 82 w 83"/>
                <a:gd name="T7" fmla="*/ 62 h 103"/>
                <a:gd name="T8" fmla="*/ 61 w 83"/>
                <a:gd name="T9" fmla="*/ 41 h 103"/>
                <a:gd name="T10" fmla="*/ 61 w 83"/>
                <a:gd name="T11" fmla="*/ 20 h 103"/>
                <a:gd name="T12" fmla="*/ 41 w 83"/>
                <a:gd name="T13" fmla="*/ 0 h 103"/>
                <a:gd name="T14" fmla="*/ 20 w 83"/>
                <a:gd name="T15" fmla="*/ 0 h 103"/>
                <a:gd name="T16" fmla="*/ 20 w 83"/>
                <a:gd name="T17" fmla="*/ 20 h 103"/>
                <a:gd name="T18" fmla="*/ 0 w 83"/>
                <a:gd name="T19" fmla="*/ 20 h 103"/>
                <a:gd name="T20" fmla="*/ 0 w 83"/>
                <a:gd name="T21" fmla="*/ 41 h 103"/>
                <a:gd name="T22" fmla="*/ 20 w 83"/>
                <a:gd name="T23" fmla="*/ 41 h 103"/>
                <a:gd name="T24" fmla="*/ 20 w 83"/>
                <a:gd name="T25" fmla="*/ 62 h 103"/>
                <a:gd name="T26" fmla="*/ 0 w 83"/>
                <a:gd name="T27" fmla="*/ 62 h 103"/>
                <a:gd name="T28" fmla="*/ 0 w 83"/>
                <a:gd name="T29" fmla="*/ 82 h 103"/>
                <a:gd name="T30" fmla="*/ 0 w 83"/>
                <a:gd name="T31" fmla="*/ 102 h 103"/>
                <a:gd name="T32" fmla="*/ 20 w 83"/>
                <a:gd name="T33" fmla="*/ 82 h 103"/>
                <a:gd name="T34" fmla="*/ 20 w 83"/>
                <a:gd name="T35" fmla="*/ 82 h 103"/>
                <a:gd name="T36" fmla="*/ 41 w 83"/>
                <a:gd name="T37" fmla="*/ 6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 h="103">
                  <a:moveTo>
                    <a:pt x="41" y="62"/>
                  </a:moveTo>
                  <a:lnTo>
                    <a:pt x="41" y="62"/>
                  </a:lnTo>
                  <a:lnTo>
                    <a:pt x="61" y="82"/>
                  </a:lnTo>
                  <a:cubicBezTo>
                    <a:pt x="61" y="62"/>
                    <a:pt x="82" y="62"/>
                    <a:pt x="82" y="62"/>
                  </a:cubicBezTo>
                  <a:cubicBezTo>
                    <a:pt x="82" y="62"/>
                    <a:pt x="82" y="41"/>
                    <a:pt x="61" y="41"/>
                  </a:cubicBezTo>
                  <a:cubicBezTo>
                    <a:pt x="61" y="20"/>
                    <a:pt x="61" y="20"/>
                    <a:pt x="61" y="20"/>
                  </a:cubicBezTo>
                  <a:cubicBezTo>
                    <a:pt x="61" y="0"/>
                    <a:pt x="41" y="0"/>
                    <a:pt x="41" y="0"/>
                  </a:cubicBezTo>
                  <a:lnTo>
                    <a:pt x="20" y="0"/>
                  </a:lnTo>
                  <a:cubicBezTo>
                    <a:pt x="20" y="20"/>
                    <a:pt x="20" y="20"/>
                    <a:pt x="20" y="20"/>
                  </a:cubicBezTo>
                  <a:cubicBezTo>
                    <a:pt x="0" y="20"/>
                    <a:pt x="0" y="20"/>
                    <a:pt x="0" y="20"/>
                  </a:cubicBezTo>
                  <a:lnTo>
                    <a:pt x="0" y="41"/>
                  </a:lnTo>
                  <a:lnTo>
                    <a:pt x="20" y="41"/>
                  </a:lnTo>
                  <a:lnTo>
                    <a:pt x="20" y="62"/>
                  </a:lnTo>
                  <a:cubicBezTo>
                    <a:pt x="0" y="62"/>
                    <a:pt x="0" y="62"/>
                    <a:pt x="0" y="62"/>
                  </a:cubicBezTo>
                  <a:lnTo>
                    <a:pt x="0" y="82"/>
                  </a:lnTo>
                  <a:lnTo>
                    <a:pt x="0" y="102"/>
                  </a:lnTo>
                  <a:cubicBezTo>
                    <a:pt x="0" y="102"/>
                    <a:pt x="20" y="102"/>
                    <a:pt x="20" y="82"/>
                  </a:cubicBezTo>
                  <a:lnTo>
                    <a:pt x="20" y="82"/>
                  </a:lnTo>
                  <a:lnTo>
                    <a:pt x="41"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6" name="Freeform 483">
              <a:extLst>
                <a:ext uri="{FF2B5EF4-FFF2-40B4-BE49-F238E27FC236}">
                  <a16:creationId xmlns:a16="http://schemas.microsoft.com/office/drawing/2014/main" id="{3990DAC1-234D-5A40-A486-AEDDF6D0BDE4}"/>
                </a:ext>
              </a:extLst>
            </p:cNvPr>
            <p:cNvSpPr>
              <a:spLocks noChangeArrowheads="1"/>
            </p:cNvSpPr>
            <p:nvPr/>
          </p:nvSpPr>
          <p:spPr bwMode="auto">
            <a:xfrm>
              <a:off x="7005638" y="8485188"/>
              <a:ext cx="15875" cy="15875"/>
            </a:xfrm>
            <a:custGeom>
              <a:avLst/>
              <a:gdLst>
                <a:gd name="T0" fmla="*/ 21 w 42"/>
                <a:gd name="T1" fmla="*/ 0 h 42"/>
                <a:gd name="T2" fmla="*/ 21 w 42"/>
                <a:gd name="T3" fmla="*/ 0 h 42"/>
                <a:gd name="T4" fmla="*/ 21 w 42"/>
                <a:gd name="T5" fmla="*/ 0 h 42"/>
                <a:gd name="T6" fmla="*/ 0 w 42"/>
                <a:gd name="T7" fmla="*/ 21 h 42"/>
                <a:gd name="T8" fmla="*/ 21 w 42"/>
                <a:gd name="T9" fmla="*/ 41 h 42"/>
                <a:gd name="T10" fmla="*/ 21 w 42"/>
                <a:gd name="T11" fmla="*/ 21 h 42"/>
                <a:gd name="T12" fmla="*/ 21 w 4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1" y="0"/>
                  </a:moveTo>
                  <a:lnTo>
                    <a:pt x="21" y="0"/>
                  </a:lnTo>
                  <a:lnTo>
                    <a:pt x="21" y="0"/>
                  </a:lnTo>
                  <a:lnTo>
                    <a:pt x="0" y="21"/>
                  </a:lnTo>
                  <a:lnTo>
                    <a:pt x="21" y="41"/>
                  </a:lnTo>
                  <a:lnTo>
                    <a:pt x="21" y="21"/>
                  </a:lnTo>
                  <a:cubicBezTo>
                    <a:pt x="21" y="21"/>
                    <a:pt x="4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7" name="Freeform 484">
              <a:extLst>
                <a:ext uri="{FF2B5EF4-FFF2-40B4-BE49-F238E27FC236}">
                  <a16:creationId xmlns:a16="http://schemas.microsoft.com/office/drawing/2014/main" id="{3A95FCD0-99C7-AA48-85A2-D06A4FE2BE40}"/>
                </a:ext>
              </a:extLst>
            </p:cNvPr>
            <p:cNvSpPr>
              <a:spLocks noChangeArrowheads="1"/>
            </p:cNvSpPr>
            <p:nvPr/>
          </p:nvSpPr>
          <p:spPr bwMode="auto">
            <a:xfrm>
              <a:off x="6999288" y="8507413"/>
              <a:ext cx="15875" cy="7937"/>
            </a:xfrm>
            <a:custGeom>
              <a:avLst/>
              <a:gdLst>
                <a:gd name="T0" fmla="*/ 20 w 42"/>
                <a:gd name="T1" fmla="*/ 0 h 21"/>
                <a:gd name="T2" fmla="*/ 20 w 42"/>
                <a:gd name="T3" fmla="*/ 0 h 21"/>
                <a:gd name="T4" fmla="*/ 0 w 42"/>
                <a:gd name="T5" fmla="*/ 0 h 21"/>
                <a:gd name="T6" fmla="*/ 0 w 42"/>
                <a:gd name="T7" fmla="*/ 20 h 21"/>
                <a:gd name="T8" fmla="*/ 20 w 42"/>
                <a:gd name="T9" fmla="*/ 20 h 21"/>
                <a:gd name="T10" fmla="*/ 41 w 42"/>
                <a:gd name="T11" fmla="*/ 20 h 21"/>
                <a:gd name="T12" fmla="*/ 20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0" y="0"/>
                  </a:moveTo>
                  <a:lnTo>
                    <a:pt x="20" y="0"/>
                  </a:lnTo>
                  <a:cubicBezTo>
                    <a:pt x="20" y="0"/>
                    <a:pt x="20" y="0"/>
                    <a:pt x="0" y="0"/>
                  </a:cubicBezTo>
                  <a:lnTo>
                    <a:pt x="0" y="20"/>
                  </a:lnTo>
                  <a:cubicBezTo>
                    <a:pt x="20" y="20"/>
                    <a:pt x="20" y="20"/>
                    <a:pt x="20" y="20"/>
                  </a:cubicBezTo>
                  <a:lnTo>
                    <a:pt x="41" y="20"/>
                  </a:lnTo>
                  <a:cubicBezTo>
                    <a:pt x="41" y="0"/>
                    <a:pt x="41"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8" name="Freeform 485">
              <a:extLst>
                <a:ext uri="{FF2B5EF4-FFF2-40B4-BE49-F238E27FC236}">
                  <a16:creationId xmlns:a16="http://schemas.microsoft.com/office/drawing/2014/main" id="{9EFD089F-5584-2848-99AD-53BE83F5FE51}"/>
                </a:ext>
              </a:extLst>
            </p:cNvPr>
            <p:cNvSpPr>
              <a:spLocks noChangeArrowheads="1"/>
            </p:cNvSpPr>
            <p:nvPr/>
          </p:nvSpPr>
          <p:spPr bwMode="auto">
            <a:xfrm>
              <a:off x="6999288" y="8404225"/>
              <a:ext cx="7937" cy="15875"/>
            </a:xfrm>
            <a:custGeom>
              <a:avLst/>
              <a:gdLst>
                <a:gd name="T0" fmla="*/ 0 w 21"/>
                <a:gd name="T1" fmla="*/ 21 h 42"/>
                <a:gd name="T2" fmla="*/ 0 w 21"/>
                <a:gd name="T3" fmla="*/ 21 h 42"/>
                <a:gd name="T4" fmla="*/ 0 w 21"/>
                <a:gd name="T5" fmla="*/ 21 h 42"/>
                <a:gd name="T6" fmla="*/ 20 w 21"/>
                <a:gd name="T7" fmla="*/ 0 h 42"/>
                <a:gd name="T8" fmla="*/ 20 w 21"/>
                <a:gd name="T9" fmla="*/ 21 h 42"/>
                <a:gd name="T10" fmla="*/ 20 w 21"/>
                <a:gd name="T11" fmla="*/ 21 h 42"/>
                <a:gd name="T12" fmla="*/ 0 w 21"/>
                <a:gd name="T13" fmla="*/ 21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0" y="21"/>
                  </a:moveTo>
                  <a:lnTo>
                    <a:pt x="0" y="21"/>
                  </a:lnTo>
                  <a:lnTo>
                    <a:pt x="0" y="21"/>
                  </a:lnTo>
                  <a:cubicBezTo>
                    <a:pt x="0" y="0"/>
                    <a:pt x="0" y="0"/>
                    <a:pt x="20" y="0"/>
                  </a:cubicBezTo>
                  <a:lnTo>
                    <a:pt x="20" y="21"/>
                  </a:lnTo>
                  <a:lnTo>
                    <a:pt x="20" y="21"/>
                  </a:lnTo>
                  <a:cubicBezTo>
                    <a:pt x="20" y="41"/>
                    <a:pt x="20" y="21"/>
                    <a:pt x="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89" name="Freeform 486">
              <a:extLst>
                <a:ext uri="{FF2B5EF4-FFF2-40B4-BE49-F238E27FC236}">
                  <a16:creationId xmlns:a16="http://schemas.microsoft.com/office/drawing/2014/main" id="{E4716750-4B64-F145-8C79-45C08F94ED99}"/>
                </a:ext>
              </a:extLst>
            </p:cNvPr>
            <p:cNvSpPr>
              <a:spLocks noChangeArrowheads="1"/>
            </p:cNvSpPr>
            <p:nvPr/>
          </p:nvSpPr>
          <p:spPr bwMode="auto">
            <a:xfrm>
              <a:off x="7227888" y="8655050"/>
              <a:ext cx="22225" cy="14288"/>
            </a:xfrm>
            <a:custGeom>
              <a:avLst/>
              <a:gdLst>
                <a:gd name="T0" fmla="*/ 41 w 62"/>
                <a:gd name="T1" fmla="*/ 0 h 41"/>
                <a:gd name="T2" fmla="*/ 41 w 62"/>
                <a:gd name="T3" fmla="*/ 0 h 41"/>
                <a:gd name="T4" fmla="*/ 21 w 62"/>
                <a:gd name="T5" fmla="*/ 0 h 41"/>
                <a:gd name="T6" fmla="*/ 21 w 62"/>
                <a:gd name="T7" fmla="*/ 20 h 41"/>
                <a:gd name="T8" fmla="*/ 0 w 62"/>
                <a:gd name="T9" fmla="*/ 40 h 41"/>
                <a:gd name="T10" fmla="*/ 21 w 62"/>
                <a:gd name="T11" fmla="*/ 40 h 41"/>
                <a:gd name="T12" fmla="*/ 41 w 62"/>
                <a:gd name="T13" fmla="*/ 40 h 41"/>
                <a:gd name="T14" fmla="*/ 41 w 62"/>
                <a:gd name="T15" fmla="*/ 20 h 41"/>
                <a:gd name="T16" fmla="*/ 41 w 62"/>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41">
                  <a:moveTo>
                    <a:pt x="41" y="0"/>
                  </a:moveTo>
                  <a:lnTo>
                    <a:pt x="41" y="0"/>
                  </a:lnTo>
                  <a:cubicBezTo>
                    <a:pt x="21" y="0"/>
                    <a:pt x="21" y="0"/>
                    <a:pt x="21" y="0"/>
                  </a:cubicBezTo>
                  <a:lnTo>
                    <a:pt x="21" y="20"/>
                  </a:lnTo>
                  <a:cubicBezTo>
                    <a:pt x="0" y="20"/>
                    <a:pt x="0" y="20"/>
                    <a:pt x="0" y="40"/>
                  </a:cubicBezTo>
                  <a:lnTo>
                    <a:pt x="21" y="40"/>
                  </a:lnTo>
                  <a:lnTo>
                    <a:pt x="41" y="40"/>
                  </a:lnTo>
                  <a:lnTo>
                    <a:pt x="41" y="20"/>
                  </a:lnTo>
                  <a:cubicBezTo>
                    <a:pt x="41" y="20"/>
                    <a:pt x="61" y="0"/>
                    <a:pt x="4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0" name="Freeform 487">
              <a:extLst>
                <a:ext uri="{FF2B5EF4-FFF2-40B4-BE49-F238E27FC236}">
                  <a16:creationId xmlns:a16="http://schemas.microsoft.com/office/drawing/2014/main" id="{71E2F1BF-4B1D-8D47-B9EA-4A2B6E256D7D}"/>
                </a:ext>
              </a:extLst>
            </p:cNvPr>
            <p:cNvSpPr>
              <a:spLocks noChangeArrowheads="1"/>
            </p:cNvSpPr>
            <p:nvPr/>
          </p:nvSpPr>
          <p:spPr bwMode="auto">
            <a:xfrm>
              <a:off x="7169150" y="8574088"/>
              <a:ext cx="96838" cy="96837"/>
            </a:xfrm>
            <a:custGeom>
              <a:avLst/>
              <a:gdLst>
                <a:gd name="T0" fmla="*/ 164 w 268"/>
                <a:gd name="T1" fmla="*/ 205 h 267"/>
                <a:gd name="T2" fmla="*/ 164 w 268"/>
                <a:gd name="T3" fmla="*/ 205 h 267"/>
                <a:gd name="T4" fmla="*/ 185 w 268"/>
                <a:gd name="T5" fmla="*/ 184 h 267"/>
                <a:gd name="T6" fmla="*/ 205 w 268"/>
                <a:gd name="T7" fmla="*/ 164 h 267"/>
                <a:gd name="T8" fmla="*/ 225 w 268"/>
                <a:gd name="T9" fmla="*/ 144 h 267"/>
                <a:gd name="T10" fmla="*/ 246 w 268"/>
                <a:gd name="T11" fmla="*/ 102 h 267"/>
                <a:gd name="T12" fmla="*/ 246 w 268"/>
                <a:gd name="T13" fmla="*/ 82 h 267"/>
                <a:gd name="T14" fmla="*/ 246 w 268"/>
                <a:gd name="T15" fmla="*/ 62 h 267"/>
                <a:gd name="T16" fmla="*/ 225 w 268"/>
                <a:gd name="T17" fmla="*/ 20 h 267"/>
                <a:gd name="T18" fmla="*/ 225 w 268"/>
                <a:gd name="T19" fmla="*/ 20 h 267"/>
                <a:gd name="T20" fmla="*/ 185 w 268"/>
                <a:gd name="T21" fmla="*/ 0 h 267"/>
                <a:gd name="T22" fmla="*/ 143 w 268"/>
                <a:gd name="T23" fmla="*/ 20 h 267"/>
                <a:gd name="T24" fmla="*/ 123 w 268"/>
                <a:gd name="T25" fmla="*/ 41 h 267"/>
                <a:gd name="T26" fmla="*/ 123 w 268"/>
                <a:gd name="T27" fmla="*/ 62 h 267"/>
                <a:gd name="T28" fmla="*/ 103 w 268"/>
                <a:gd name="T29" fmla="*/ 82 h 267"/>
                <a:gd name="T30" fmla="*/ 82 w 268"/>
                <a:gd name="T31" fmla="*/ 82 h 267"/>
                <a:gd name="T32" fmla="*/ 61 w 268"/>
                <a:gd name="T33" fmla="*/ 102 h 267"/>
                <a:gd name="T34" fmla="*/ 61 w 268"/>
                <a:gd name="T35" fmla="*/ 123 h 267"/>
                <a:gd name="T36" fmla="*/ 61 w 268"/>
                <a:gd name="T37" fmla="*/ 164 h 267"/>
                <a:gd name="T38" fmla="*/ 41 w 268"/>
                <a:gd name="T39" fmla="*/ 184 h 267"/>
                <a:gd name="T40" fmla="*/ 21 w 268"/>
                <a:gd name="T41" fmla="*/ 205 h 267"/>
                <a:gd name="T42" fmla="*/ 0 w 268"/>
                <a:gd name="T43" fmla="*/ 226 h 267"/>
                <a:gd name="T44" fmla="*/ 0 w 268"/>
                <a:gd name="T45" fmla="*/ 246 h 267"/>
                <a:gd name="T46" fmla="*/ 41 w 268"/>
                <a:gd name="T47" fmla="*/ 266 h 267"/>
                <a:gd name="T48" fmla="*/ 61 w 268"/>
                <a:gd name="T49" fmla="*/ 266 h 267"/>
                <a:gd name="T50" fmla="*/ 103 w 268"/>
                <a:gd name="T51" fmla="*/ 246 h 267"/>
                <a:gd name="T52" fmla="*/ 143 w 268"/>
                <a:gd name="T53" fmla="*/ 226 h 267"/>
                <a:gd name="T54" fmla="*/ 164 w 268"/>
                <a:gd name="T55" fmla="*/ 20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8" h="267">
                  <a:moveTo>
                    <a:pt x="164" y="205"/>
                  </a:moveTo>
                  <a:lnTo>
                    <a:pt x="164" y="205"/>
                  </a:lnTo>
                  <a:cubicBezTo>
                    <a:pt x="164" y="205"/>
                    <a:pt x="185" y="205"/>
                    <a:pt x="185" y="184"/>
                  </a:cubicBezTo>
                  <a:cubicBezTo>
                    <a:pt x="205" y="184"/>
                    <a:pt x="205" y="164"/>
                    <a:pt x="205" y="164"/>
                  </a:cubicBezTo>
                  <a:cubicBezTo>
                    <a:pt x="205" y="164"/>
                    <a:pt x="205" y="144"/>
                    <a:pt x="225" y="144"/>
                  </a:cubicBezTo>
                  <a:cubicBezTo>
                    <a:pt x="225" y="123"/>
                    <a:pt x="225" y="123"/>
                    <a:pt x="246" y="102"/>
                  </a:cubicBezTo>
                  <a:cubicBezTo>
                    <a:pt x="246" y="102"/>
                    <a:pt x="246" y="102"/>
                    <a:pt x="246" y="82"/>
                  </a:cubicBezTo>
                  <a:cubicBezTo>
                    <a:pt x="246" y="82"/>
                    <a:pt x="267" y="62"/>
                    <a:pt x="246" y="62"/>
                  </a:cubicBezTo>
                  <a:cubicBezTo>
                    <a:pt x="246" y="41"/>
                    <a:pt x="246" y="41"/>
                    <a:pt x="225" y="20"/>
                  </a:cubicBezTo>
                  <a:lnTo>
                    <a:pt x="225" y="20"/>
                  </a:lnTo>
                  <a:cubicBezTo>
                    <a:pt x="205" y="0"/>
                    <a:pt x="185" y="0"/>
                    <a:pt x="185" y="0"/>
                  </a:cubicBezTo>
                  <a:cubicBezTo>
                    <a:pt x="164" y="0"/>
                    <a:pt x="164" y="0"/>
                    <a:pt x="143" y="20"/>
                  </a:cubicBezTo>
                  <a:cubicBezTo>
                    <a:pt x="143" y="20"/>
                    <a:pt x="143" y="20"/>
                    <a:pt x="123" y="41"/>
                  </a:cubicBezTo>
                  <a:lnTo>
                    <a:pt x="123" y="62"/>
                  </a:lnTo>
                  <a:lnTo>
                    <a:pt x="103" y="82"/>
                  </a:lnTo>
                  <a:lnTo>
                    <a:pt x="82" y="82"/>
                  </a:lnTo>
                  <a:cubicBezTo>
                    <a:pt x="82" y="82"/>
                    <a:pt x="82" y="82"/>
                    <a:pt x="61" y="102"/>
                  </a:cubicBezTo>
                  <a:lnTo>
                    <a:pt x="61" y="123"/>
                  </a:lnTo>
                  <a:cubicBezTo>
                    <a:pt x="61" y="144"/>
                    <a:pt x="61" y="144"/>
                    <a:pt x="61" y="164"/>
                  </a:cubicBezTo>
                  <a:lnTo>
                    <a:pt x="41" y="184"/>
                  </a:lnTo>
                  <a:lnTo>
                    <a:pt x="21" y="205"/>
                  </a:lnTo>
                  <a:cubicBezTo>
                    <a:pt x="21" y="205"/>
                    <a:pt x="21" y="226"/>
                    <a:pt x="0" y="226"/>
                  </a:cubicBezTo>
                  <a:lnTo>
                    <a:pt x="0" y="246"/>
                  </a:lnTo>
                  <a:cubicBezTo>
                    <a:pt x="21" y="246"/>
                    <a:pt x="21" y="266"/>
                    <a:pt x="41" y="266"/>
                  </a:cubicBezTo>
                  <a:lnTo>
                    <a:pt x="61" y="266"/>
                  </a:lnTo>
                  <a:cubicBezTo>
                    <a:pt x="82" y="246"/>
                    <a:pt x="103" y="246"/>
                    <a:pt x="103" y="246"/>
                  </a:cubicBezTo>
                  <a:cubicBezTo>
                    <a:pt x="123" y="246"/>
                    <a:pt x="123" y="226"/>
                    <a:pt x="143" y="226"/>
                  </a:cubicBezTo>
                  <a:cubicBezTo>
                    <a:pt x="143" y="226"/>
                    <a:pt x="164" y="226"/>
                    <a:pt x="164" y="20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1" name="Freeform 488">
              <a:extLst>
                <a:ext uri="{FF2B5EF4-FFF2-40B4-BE49-F238E27FC236}">
                  <a16:creationId xmlns:a16="http://schemas.microsoft.com/office/drawing/2014/main" id="{14D7E724-4935-ED4B-ADD3-83CE8E5D32D1}"/>
                </a:ext>
              </a:extLst>
            </p:cNvPr>
            <p:cNvSpPr>
              <a:spLocks noChangeArrowheads="1"/>
            </p:cNvSpPr>
            <p:nvPr/>
          </p:nvSpPr>
          <p:spPr bwMode="auto">
            <a:xfrm>
              <a:off x="6792913" y="7989888"/>
              <a:ext cx="620712" cy="746125"/>
            </a:xfrm>
            <a:custGeom>
              <a:avLst/>
              <a:gdLst>
                <a:gd name="T0" fmla="*/ 1557 w 1722"/>
                <a:gd name="T1" fmla="*/ 2029 h 2071"/>
                <a:gd name="T2" fmla="*/ 1475 w 1722"/>
                <a:gd name="T3" fmla="*/ 1885 h 2071"/>
                <a:gd name="T4" fmla="*/ 1414 w 1722"/>
                <a:gd name="T5" fmla="*/ 1845 h 2071"/>
                <a:gd name="T6" fmla="*/ 1291 w 1722"/>
                <a:gd name="T7" fmla="*/ 1824 h 2071"/>
                <a:gd name="T8" fmla="*/ 1332 w 1722"/>
                <a:gd name="T9" fmla="*/ 1681 h 2071"/>
                <a:gd name="T10" fmla="*/ 1291 w 1722"/>
                <a:gd name="T11" fmla="*/ 1599 h 2071"/>
                <a:gd name="T12" fmla="*/ 1291 w 1722"/>
                <a:gd name="T13" fmla="*/ 1517 h 2071"/>
                <a:gd name="T14" fmla="*/ 1250 w 1722"/>
                <a:gd name="T15" fmla="*/ 1435 h 2071"/>
                <a:gd name="T16" fmla="*/ 1188 w 1722"/>
                <a:gd name="T17" fmla="*/ 1271 h 2071"/>
                <a:gd name="T18" fmla="*/ 1250 w 1722"/>
                <a:gd name="T19" fmla="*/ 1209 h 2071"/>
                <a:gd name="T20" fmla="*/ 1188 w 1722"/>
                <a:gd name="T21" fmla="*/ 1189 h 2071"/>
                <a:gd name="T22" fmla="*/ 1086 w 1722"/>
                <a:gd name="T23" fmla="*/ 1148 h 2071"/>
                <a:gd name="T24" fmla="*/ 1045 w 1722"/>
                <a:gd name="T25" fmla="*/ 1107 h 2071"/>
                <a:gd name="T26" fmla="*/ 1066 w 1722"/>
                <a:gd name="T27" fmla="*/ 1045 h 2071"/>
                <a:gd name="T28" fmla="*/ 963 w 1722"/>
                <a:gd name="T29" fmla="*/ 1045 h 2071"/>
                <a:gd name="T30" fmla="*/ 799 w 1722"/>
                <a:gd name="T31" fmla="*/ 943 h 2071"/>
                <a:gd name="T32" fmla="*/ 635 w 1722"/>
                <a:gd name="T33" fmla="*/ 881 h 2071"/>
                <a:gd name="T34" fmla="*/ 635 w 1722"/>
                <a:gd name="T35" fmla="*/ 841 h 2071"/>
                <a:gd name="T36" fmla="*/ 553 w 1722"/>
                <a:gd name="T37" fmla="*/ 841 h 2071"/>
                <a:gd name="T38" fmla="*/ 492 w 1722"/>
                <a:gd name="T39" fmla="*/ 677 h 2071"/>
                <a:gd name="T40" fmla="*/ 471 w 1722"/>
                <a:gd name="T41" fmla="*/ 615 h 2071"/>
                <a:gd name="T42" fmla="*/ 430 w 1722"/>
                <a:gd name="T43" fmla="*/ 718 h 2071"/>
                <a:gd name="T44" fmla="*/ 389 w 1722"/>
                <a:gd name="T45" fmla="*/ 841 h 2071"/>
                <a:gd name="T46" fmla="*/ 287 w 1722"/>
                <a:gd name="T47" fmla="*/ 799 h 2071"/>
                <a:gd name="T48" fmla="*/ 287 w 1722"/>
                <a:gd name="T49" fmla="*/ 656 h 2071"/>
                <a:gd name="T50" fmla="*/ 205 w 1722"/>
                <a:gd name="T51" fmla="*/ 595 h 2071"/>
                <a:gd name="T52" fmla="*/ 225 w 1722"/>
                <a:gd name="T53" fmla="*/ 513 h 2071"/>
                <a:gd name="T54" fmla="*/ 348 w 1722"/>
                <a:gd name="T55" fmla="*/ 492 h 2071"/>
                <a:gd name="T56" fmla="*/ 389 w 1722"/>
                <a:gd name="T57" fmla="*/ 513 h 2071"/>
                <a:gd name="T58" fmla="*/ 451 w 1722"/>
                <a:gd name="T59" fmla="*/ 533 h 2071"/>
                <a:gd name="T60" fmla="*/ 533 w 1722"/>
                <a:gd name="T61" fmla="*/ 472 h 2071"/>
                <a:gd name="T62" fmla="*/ 471 w 1722"/>
                <a:gd name="T63" fmla="*/ 410 h 2071"/>
                <a:gd name="T64" fmla="*/ 307 w 1722"/>
                <a:gd name="T65" fmla="*/ 431 h 2071"/>
                <a:gd name="T66" fmla="*/ 246 w 1722"/>
                <a:gd name="T67" fmla="*/ 451 h 2071"/>
                <a:gd name="T68" fmla="*/ 184 w 1722"/>
                <a:gd name="T69" fmla="*/ 349 h 2071"/>
                <a:gd name="T70" fmla="*/ 143 w 1722"/>
                <a:gd name="T71" fmla="*/ 287 h 2071"/>
                <a:gd name="T72" fmla="*/ 61 w 1722"/>
                <a:gd name="T73" fmla="*/ 267 h 2071"/>
                <a:gd name="T74" fmla="*/ 41 w 1722"/>
                <a:gd name="T75" fmla="*/ 226 h 2071"/>
                <a:gd name="T76" fmla="*/ 61 w 1722"/>
                <a:gd name="T77" fmla="*/ 103 h 2071"/>
                <a:gd name="T78" fmla="*/ 205 w 1722"/>
                <a:gd name="T79" fmla="*/ 21 h 2071"/>
                <a:gd name="T80" fmla="*/ 348 w 1722"/>
                <a:gd name="T81" fmla="*/ 21 h 2071"/>
                <a:gd name="T82" fmla="*/ 533 w 1722"/>
                <a:gd name="T83" fmla="*/ 82 h 2071"/>
                <a:gd name="T84" fmla="*/ 594 w 1722"/>
                <a:gd name="T85" fmla="*/ 205 h 2071"/>
                <a:gd name="T86" fmla="*/ 594 w 1722"/>
                <a:gd name="T87" fmla="*/ 492 h 2071"/>
                <a:gd name="T88" fmla="*/ 635 w 1722"/>
                <a:gd name="T89" fmla="*/ 513 h 2071"/>
                <a:gd name="T90" fmla="*/ 676 w 1722"/>
                <a:gd name="T91" fmla="*/ 656 h 2071"/>
                <a:gd name="T92" fmla="*/ 799 w 1722"/>
                <a:gd name="T93" fmla="*/ 615 h 2071"/>
                <a:gd name="T94" fmla="*/ 902 w 1722"/>
                <a:gd name="T95" fmla="*/ 492 h 2071"/>
                <a:gd name="T96" fmla="*/ 1024 w 1722"/>
                <a:gd name="T97" fmla="*/ 369 h 2071"/>
                <a:gd name="T98" fmla="*/ 1188 w 1722"/>
                <a:gd name="T99" fmla="*/ 246 h 2071"/>
                <a:gd name="T100" fmla="*/ 1270 w 1722"/>
                <a:gd name="T101" fmla="*/ 308 h 2071"/>
                <a:gd name="T102" fmla="*/ 1434 w 1722"/>
                <a:gd name="T103" fmla="*/ 410 h 2071"/>
                <a:gd name="T104" fmla="*/ 1578 w 1722"/>
                <a:gd name="T105" fmla="*/ 492 h 2071"/>
                <a:gd name="T106" fmla="*/ 1680 w 1722"/>
                <a:gd name="T107" fmla="*/ 513 h 2071"/>
                <a:gd name="T108" fmla="*/ 1680 w 1722"/>
                <a:gd name="T109" fmla="*/ 1435 h 20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22" h="2071">
                  <a:moveTo>
                    <a:pt x="1639" y="2070"/>
                  </a:moveTo>
                  <a:lnTo>
                    <a:pt x="1639" y="2070"/>
                  </a:lnTo>
                  <a:cubicBezTo>
                    <a:pt x="1639" y="2070"/>
                    <a:pt x="1618" y="2070"/>
                    <a:pt x="1598" y="2070"/>
                  </a:cubicBezTo>
                  <a:lnTo>
                    <a:pt x="1598" y="2049"/>
                  </a:lnTo>
                  <a:cubicBezTo>
                    <a:pt x="1578" y="2029"/>
                    <a:pt x="1578" y="2029"/>
                    <a:pt x="1557" y="2029"/>
                  </a:cubicBezTo>
                  <a:cubicBezTo>
                    <a:pt x="1557" y="2009"/>
                    <a:pt x="1557" y="2009"/>
                    <a:pt x="1557" y="1988"/>
                  </a:cubicBezTo>
                  <a:lnTo>
                    <a:pt x="1557" y="1967"/>
                  </a:lnTo>
                  <a:cubicBezTo>
                    <a:pt x="1536" y="1947"/>
                    <a:pt x="1536" y="1947"/>
                    <a:pt x="1516" y="1927"/>
                  </a:cubicBezTo>
                  <a:lnTo>
                    <a:pt x="1496" y="1906"/>
                  </a:lnTo>
                  <a:lnTo>
                    <a:pt x="1475" y="1885"/>
                  </a:lnTo>
                  <a:cubicBezTo>
                    <a:pt x="1475" y="1885"/>
                    <a:pt x="1475" y="1865"/>
                    <a:pt x="1475" y="1845"/>
                  </a:cubicBezTo>
                  <a:cubicBezTo>
                    <a:pt x="1475" y="1845"/>
                    <a:pt x="1475" y="1824"/>
                    <a:pt x="1454" y="1824"/>
                  </a:cubicBezTo>
                  <a:cubicBezTo>
                    <a:pt x="1454" y="1824"/>
                    <a:pt x="1454" y="1824"/>
                    <a:pt x="1434" y="1824"/>
                  </a:cubicBezTo>
                  <a:cubicBezTo>
                    <a:pt x="1434" y="1824"/>
                    <a:pt x="1434" y="1824"/>
                    <a:pt x="1414" y="1824"/>
                  </a:cubicBezTo>
                  <a:cubicBezTo>
                    <a:pt x="1414" y="1845"/>
                    <a:pt x="1414" y="1845"/>
                    <a:pt x="1414" y="1845"/>
                  </a:cubicBezTo>
                  <a:cubicBezTo>
                    <a:pt x="1393" y="1845"/>
                    <a:pt x="1393" y="1824"/>
                    <a:pt x="1393" y="1824"/>
                  </a:cubicBezTo>
                  <a:cubicBezTo>
                    <a:pt x="1373" y="1824"/>
                    <a:pt x="1373" y="1824"/>
                    <a:pt x="1373" y="1824"/>
                  </a:cubicBezTo>
                  <a:cubicBezTo>
                    <a:pt x="1352" y="1824"/>
                    <a:pt x="1332" y="1824"/>
                    <a:pt x="1332" y="1824"/>
                  </a:cubicBezTo>
                  <a:lnTo>
                    <a:pt x="1312" y="1845"/>
                  </a:lnTo>
                  <a:lnTo>
                    <a:pt x="1291" y="1824"/>
                  </a:lnTo>
                  <a:lnTo>
                    <a:pt x="1291" y="1803"/>
                  </a:lnTo>
                  <a:cubicBezTo>
                    <a:pt x="1291" y="1783"/>
                    <a:pt x="1291" y="1783"/>
                    <a:pt x="1291" y="1763"/>
                  </a:cubicBezTo>
                  <a:lnTo>
                    <a:pt x="1312" y="1742"/>
                  </a:lnTo>
                  <a:cubicBezTo>
                    <a:pt x="1312" y="1742"/>
                    <a:pt x="1312" y="1721"/>
                    <a:pt x="1332" y="1721"/>
                  </a:cubicBezTo>
                  <a:cubicBezTo>
                    <a:pt x="1332" y="1721"/>
                    <a:pt x="1332" y="1701"/>
                    <a:pt x="1332" y="1681"/>
                  </a:cubicBezTo>
                  <a:lnTo>
                    <a:pt x="1332" y="1660"/>
                  </a:lnTo>
                  <a:cubicBezTo>
                    <a:pt x="1332" y="1639"/>
                    <a:pt x="1312" y="1639"/>
                    <a:pt x="1312" y="1639"/>
                  </a:cubicBezTo>
                  <a:cubicBezTo>
                    <a:pt x="1291" y="1639"/>
                    <a:pt x="1291" y="1619"/>
                    <a:pt x="1291" y="1619"/>
                  </a:cubicBezTo>
                  <a:cubicBezTo>
                    <a:pt x="1270" y="1619"/>
                    <a:pt x="1270" y="1599"/>
                    <a:pt x="1270" y="1599"/>
                  </a:cubicBezTo>
                  <a:lnTo>
                    <a:pt x="1291" y="1599"/>
                  </a:lnTo>
                  <a:lnTo>
                    <a:pt x="1312" y="1578"/>
                  </a:lnTo>
                  <a:cubicBezTo>
                    <a:pt x="1312" y="1578"/>
                    <a:pt x="1291" y="1578"/>
                    <a:pt x="1291" y="1557"/>
                  </a:cubicBezTo>
                  <a:lnTo>
                    <a:pt x="1270" y="1557"/>
                  </a:lnTo>
                  <a:lnTo>
                    <a:pt x="1270" y="1537"/>
                  </a:lnTo>
                  <a:lnTo>
                    <a:pt x="1291" y="1517"/>
                  </a:lnTo>
                  <a:lnTo>
                    <a:pt x="1312" y="1517"/>
                  </a:lnTo>
                  <a:lnTo>
                    <a:pt x="1312" y="1496"/>
                  </a:lnTo>
                  <a:cubicBezTo>
                    <a:pt x="1312" y="1496"/>
                    <a:pt x="1312" y="1475"/>
                    <a:pt x="1291" y="1475"/>
                  </a:cubicBezTo>
                  <a:cubicBezTo>
                    <a:pt x="1291" y="1475"/>
                    <a:pt x="1291" y="1455"/>
                    <a:pt x="1270" y="1455"/>
                  </a:cubicBezTo>
                  <a:lnTo>
                    <a:pt x="1250" y="1435"/>
                  </a:lnTo>
                  <a:lnTo>
                    <a:pt x="1230" y="1414"/>
                  </a:lnTo>
                  <a:cubicBezTo>
                    <a:pt x="1230" y="1394"/>
                    <a:pt x="1230" y="1373"/>
                    <a:pt x="1230" y="1373"/>
                  </a:cubicBezTo>
                  <a:cubicBezTo>
                    <a:pt x="1230" y="1353"/>
                    <a:pt x="1230" y="1353"/>
                    <a:pt x="1230" y="1333"/>
                  </a:cubicBezTo>
                  <a:lnTo>
                    <a:pt x="1209" y="1312"/>
                  </a:lnTo>
                  <a:cubicBezTo>
                    <a:pt x="1209" y="1291"/>
                    <a:pt x="1188" y="1291"/>
                    <a:pt x="1188" y="1271"/>
                  </a:cubicBezTo>
                  <a:lnTo>
                    <a:pt x="1188" y="1251"/>
                  </a:lnTo>
                  <a:cubicBezTo>
                    <a:pt x="1188" y="1230"/>
                    <a:pt x="1209" y="1230"/>
                    <a:pt x="1209" y="1230"/>
                  </a:cubicBezTo>
                  <a:cubicBezTo>
                    <a:pt x="1230" y="1230"/>
                    <a:pt x="1230" y="1230"/>
                    <a:pt x="1250" y="1230"/>
                  </a:cubicBezTo>
                  <a:cubicBezTo>
                    <a:pt x="1250" y="1230"/>
                    <a:pt x="1250" y="1230"/>
                    <a:pt x="1270" y="1230"/>
                  </a:cubicBezTo>
                  <a:lnTo>
                    <a:pt x="1250" y="1209"/>
                  </a:lnTo>
                  <a:lnTo>
                    <a:pt x="1250" y="1189"/>
                  </a:lnTo>
                  <a:lnTo>
                    <a:pt x="1250" y="1169"/>
                  </a:lnTo>
                  <a:cubicBezTo>
                    <a:pt x="1230" y="1169"/>
                    <a:pt x="1230" y="1169"/>
                    <a:pt x="1230" y="1169"/>
                  </a:cubicBezTo>
                  <a:lnTo>
                    <a:pt x="1209" y="1169"/>
                  </a:lnTo>
                  <a:cubicBezTo>
                    <a:pt x="1209" y="1189"/>
                    <a:pt x="1209" y="1189"/>
                    <a:pt x="1188" y="1189"/>
                  </a:cubicBezTo>
                  <a:cubicBezTo>
                    <a:pt x="1188" y="1189"/>
                    <a:pt x="1188" y="1209"/>
                    <a:pt x="1168" y="1209"/>
                  </a:cubicBezTo>
                  <a:cubicBezTo>
                    <a:pt x="1168" y="1209"/>
                    <a:pt x="1168" y="1189"/>
                    <a:pt x="1148" y="1189"/>
                  </a:cubicBezTo>
                  <a:lnTo>
                    <a:pt x="1127" y="1169"/>
                  </a:lnTo>
                  <a:cubicBezTo>
                    <a:pt x="1106" y="1169"/>
                    <a:pt x="1106" y="1148"/>
                    <a:pt x="1106" y="1148"/>
                  </a:cubicBezTo>
                  <a:cubicBezTo>
                    <a:pt x="1086" y="1148"/>
                    <a:pt x="1086" y="1148"/>
                    <a:pt x="1086" y="1148"/>
                  </a:cubicBezTo>
                  <a:cubicBezTo>
                    <a:pt x="1086" y="1127"/>
                    <a:pt x="1086" y="1127"/>
                    <a:pt x="1086" y="1127"/>
                  </a:cubicBezTo>
                  <a:cubicBezTo>
                    <a:pt x="1106" y="1127"/>
                    <a:pt x="1106" y="1127"/>
                    <a:pt x="1106" y="1127"/>
                  </a:cubicBezTo>
                  <a:cubicBezTo>
                    <a:pt x="1106" y="1107"/>
                    <a:pt x="1106" y="1107"/>
                    <a:pt x="1106" y="1107"/>
                  </a:cubicBezTo>
                  <a:lnTo>
                    <a:pt x="1086" y="1107"/>
                  </a:lnTo>
                  <a:cubicBezTo>
                    <a:pt x="1086" y="1107"/>
                    <a:pt x="1066" y="1107"/>
                    <a:pt x="1045" y="1107"/>
                  </a:cubicBezTo>
                  <a:cubicBezTo>
                    <a:pt x="1045" y="1107"/>
                    <a:pt x="1045" y="1107"/>
                    <a:pt x="1045" y="1087"/>
                  </a:cubicBezTo>
                  <a:lnTo>
                    <a:pt x="1045" y="1087"/>
                  </a:lnTo>
                  <a:cubicBezTo>
                    <a:pt x="1066" y="1066"/>
                    <a:pt x="1066" y="1066"/>
                    <a:pt x="1086" y="1066"/>
                  </a:cubicBezTo>
                  <a:lnTo>
                    <a:pt x="1086" y="1045"/>
                  </a:lnTo>
                  <a:lnTo>
                    <a:pt x="1066" y="1045"/>
                  </a:lnTo>
                  <a:lnTo>
                    <a:pt x="1045" y="1045"/>
                  </a:lnTo>
                  <a:cubicBezTo>
                    <a:pt x="1045" y="1066"/>
                    <a:pt x="1045" y="1066"/>
                    <a:pt x="1045" y="1066"/>
                  </a:cubicBezTo>
                  <a:cubicBezTo>
                    <a:pt x="1024" y="1066"/>
                    <a:pt x="1024" y="1066"/>
                    <a:pt x="1004" y="1066"/>
                  </a:cubicBezTo>
                  <a:cubicBezTo>
                    <a:pt x="1004" y="1066"/>
                    <a:pt x="1004" y="1066"/>
                    <a:pt x="984" y="1066"/>
                  </a:cubicBezTo>
                  <a:cubicBezTo>
                    <a:pt x="984" y="1045"/>
                    <a:pt x="963" y="1045"/>
                    <a:pt x="963" y="1045"/>
                  </a:cubicBezTo>
                  <a:lnTo>
                    <a:pt x="942" y="1045"/>
                  </a:lnTo>
                  <a:cubicBezTo>
                    <a:pt x="922" y="1045"/>
                    <a:pt x="922" y="1025"/>
                    <a:pt x="902" y="1025"/>
                  </a:cubicBezTo>
                  <a:cubicBezTo>
                    <a:pt x="902" y="1005"/>
                    <a:pt x="881" y="1005"/>
                    <a:pt x="860" y="984"/>
                  </a:cubicBezTo>
                  <a:lnTo>
                    <a:pt x="840" y="963"/>
                  </a:lnTo>
                  <a:cubicBezTo>
                    <a:pt x="820" y="963"/>
                    <a:pt x="799" y="963"/>
                    <a:pt x="799" y="943"/>
                  </a:cubicBezTo>
                  <a:cubicBezTo>
                    <a:pt x="778" y="943"/>
                    <a:pt x="758" y="963"/>
                    <a:pt x="738" y="943"/>
                  </a:cubicBezTo>
                  <a:cubicBezTo>
                    <a:pt x="738" y="943"/>
                    <a:pt x="717" y="943"/>
                    <a:pt x="696" y="923"/>
                  </a:cubicBezTo>
                  <a:lnTo>
                    <a:pt x="676" y="923"/>
                  </a:lnTo>
                  <a:cubicBezTo>
                    <a:pt x="676" y="902"/>
                    <a:pt x="656" y="902"/>
                    <a:pt x="656" y="902"/>
                  </a:cubicBezTo>
                  <a:cubicBezTo>
                    <a:pt x="656" y="902"/>
                    <a:pt x="656" y="881"/>
                    <a:pt x="635" y="881"/>
                  </a:cubicBezTo>
                  <a:cubicBezTo>
                    <a:pt x="635" y="881"/>
                    <a:pt x="635" y="881"/>
                    <a:pt x="615" y="881"/>
                  </a:cubicBezTo>
                  <a:cubicBezTo>
                    <a:pt x="615" y="881"/>
                    <a:pt x="615" y="881"/>
                    <a:pt x="615" y="861"/>
                  </a:cubicBezTo>
                  <a:lnTo>
                    <a:pt x="615" y="861"/>
                  </a:lnTo>
                  <a:cubicBezTo>
                    <a:pt x="615" y="841"/>
                    <a:pt x="635" y="841"/>
                    <a:pt x="635" y="841"/>
                  </a:cubicBezTo>
                  <a:lnTo>
                    <a:pt x="635" y="841"/>
                  </a:lnTo>
                  <a:lnTo>
                    <a:pt x="635" y="820"/>
                  </a:lnTo>
                  <a:lnTo>
                    <a:pt x="615" y="820"/>
                  </a:lnTo>
                  <a:lnTo>
                    <a:pt x="594" y="841"/>
                  </a:lnTo>
                  <a:cubicBezTo>
                    <a:pt x="594" y="841"/>
                    <a:pt x="594" y="841"/>
                    <a:pt x="574" y="841"/>
                  </a:cubicBezTo>
                  <a:cubicBezTo>
                    <a:pt x="574" y="841"/>
                    <a:pt x="574" y="841"/>
                    <a:pt x="553" y="841"/>
                  </a:cubicBezTo>
                  <a:cubicBezTo>
                    <a:pt x="553" y="820"/>
                    <a:pt x="553" y="820"/>
                    <a:pt x="533" y="799"/>
                  </a:cubicBezTo>
                  <a:lnTo>
                    <a:pt x="512" y="779"/>
                  </a:lnTo>
                  <a:lnTo>
                    <a:pt x="492" y="759"/>
                  </a:lnTo>
                  <a:cubicBezTo>
                    <a:pt x="492" y="759"/>
                    <a:pt x="492" y="738"/>
                    <a:pt x="492" y="718"/>
                  </a:cubicBezTo>
                  <a:cubicBezTo>
                    <a:pt x="492" y="718"/>
                    <a:pt x="492" y="697"/>
                    <a:pt x="492" y="677"/>
                  </a:cubicBezTo>
                  <a:cubicBezTo>
                    <a:pt x="492" y="677"/>
                    <a:pt x="492" y="656"/>
                    <a:pt x="512" y="656"/>
                  </a:cubicBezTo>
                  <a:cubicBezTo>
                    <a:pt x="512" y="656"/>
                    <a:pt x="512" y="656"/>
                    <a:pt x="512" y="636"/>
                  </a:cubicBezTo>
                  <a:cubicBezTo>
                    <a:pt x="512" y="636"/>
                    <a:pt x="512" y="636"/>
                    <a:pt x="512" y="615"/>
                  </a:cubicBezTo>
                  <a:lnTo>
                    <a:pt x="492" y="615"/>
                  </a:lnTo>
                  <a:cubicBezTo>
                    <a:pt x="492" y="615"/>
                    <a:pt x="492" y="615"/>
                    <a:pt x="471" y="615"/>
                  </a:cubicBezTo>
                  <a:lnTo>
                    <a:pt x="471" y="636"/>
                  </a:lnTo>
                  <a:cubicBezTo>
                    <a:pt x="471" y="656"/>
                    <a:pt x="471" y="656"/>
                    <a:pt x="471" y="656"/>
                  </a:cubicBezTo>
                  <a:cubicBezTo>
                    <a:pt x="451" y="677"/>
                    <a:pt x="471" y="677"/>
                    <a:pt x="471" y="697"/>
                  </a:cubicBezTo>
                  <a:cubicBezTo>
                    <a:pt x="451" y="697"/>
                    <a:pt x="451" y="697"/>
                    <a:pt x="451" y="697"/>
                  </a:cubicBezTo>
                  <a:cubicBezTo>
                    <a:pt x="430" y="697"/>
                    <a:pt x="430" y="718"/>
                    <a:pt x="430" y="718"/>
                  </a:cubicBezTo>
                  <a:cubicBezTo>
                    <a:pt x="430" y="738"/>
                    <a:pt x="430" y="738"/>
                    <a:pt x="430" y="738"/>
                  </a:cubicBezTo>
                  <a:cubicBezTo>
                    <a:pt x="430" y="738"/>
                    <a:pt x="410" y="738"/>
                    <a:pt x="410" y="759"/>
                  </a:cubicBezTo>
                  <a:lnTo>
                    <a:pt x="410" y="779"/>
                  </a:lnTo>
                  <a:cubicBezTo>
                    <a:pt x="410" y="779"/>
                    <a:pt x="410" y="799"/>
                    <a:pt x="410" y="820"/>
                  </a:cubicBezTo>
                  <a:cubicBezTo>
                    <a:pt x="410" y="820"/>
                    <a:pt x="410" y="820"/>
                    <a:pt x="389" y="841"/>
                  </a:cubicBezTo>
                  <a:cubicBezTo>
                    <a:pt x="389" y="841"/>
                    <a:pt x="389" y="861"/>
                    <a:pt x="369" y="861"/>
                  </a:cubicBezTo>
                  <a:cubicBezTo>
                    <a:pt x="369" y="861"/>
                    <a:pt x="369" y="861"/>
                    <a:pt x="348" y="861"/>
                  </a:cubicBezTo>
                  <a:lnTo>
                    <a:pt x="328" y="861"/>
                  </a:lnTo>
                  <a:cubicBezTo>
                    <a:pt x="328" y="861"/>
                    <a:pt x="307" y="841"/>
                    <a:pt x="307" y="820"/>
                  </a:cubicBezTo>
                  <a:cubicBezTo>
                    <a:pt x="307" y="820"/>
                    <a:pt x="307" y="799"/>
                    <a:pt x="287" y="799"/>
                  </a:cubicBezTo>
                  <a:cubicBezTo>
                    <a:pt x="287" y="779"/>
                    <a:pt x="307" y="759"/>
                    <a:pt x="307" y="759"/>
                  </a:cubicBezTo>
                  <a:cubicBezTo>
                    <a:pt x="307" y="738"/>
                    <a:pt x="328" y="738"/>
                    <a:pt x="328" y="738"/>
                  </a:cubicBezTo>
                  <a:cubicBezTo>
                    <a:pt x="328" y="718"/>
                    <a:pt x="328" y="718"/>
                    <a:pt x="328" y="697"/>
                  </a:cubicBezTo>
                  <a:cubicBezTo>
                    <a:pt x="307" y="697"/>
                    <a:pt x="307" y="697"/>
                    <a:pt x="307" y="677"/>
                  </a:cubicBezTo>
                  <a:lnTo>
                    <a:pt x="287" y="656"/>
                  </a:lnTo>
                  <a:cubicBezTo>
                    <a:pt x="287" y="656"/>
                    <a:pt x="287" y="636"/>
                    <a:pt x="287" y="615"/>
                  </a:cubicBezTo>
                  <a:lnTo>
                    <a:pt x="266" y="615"/>
                  </a:lnTo>
                  <a:lnTo>
                    <a:pt x="246" y="615"/>
                  </a:lnTo>
                  <a:cubicBezTo>
                    <a:pt x="246" y="595"/>
                    <a:pt x="246" y="595"/>
                    <a:pt x="225" y="595"/>
                  </a:cubicBezTo>
                  <a:cubicBezTo>
                    <a:pt x="225" y="574"/>
                    <a:pt x="225" y="595"/>
                    <a:pt x="205" y="595"/>
                  </a:cubicBezTo>
                  <a:cubicBezTo>
                    <a:pt x="205" y="595"/>
                    <a:pt x="205" y="595"/>
                    <a:pt x="184" y="595"/>
                  </a:cubicBezTo>
                  <a:lnTo>
                    <a:pt x="184" y="574"/>
                  </a:lnTo>
                  <a:lnTo>
                    <a:pt x="184" y="554"/>
                  </a:lnTo>
                  <a:cubicBezTo>
                    <a:pt x="184" y="533"/>
                    <a:pt x="184" y="533"/>
                    <a:pt x="205" y="533"/>
                  </a:cubicBezTo>
                  <a:cubicBezTo>
                    <a:pt x="205" y="513"/>
                    <a:pt x="225" y="513"/>
                    <a:pt x="225" y="513"/>
                  </a:cubicBezTo>
                  <a:cubicBezTo>
                    <a:pt x="225" y="533"/>
                    <a:pt x="225" y="533"/>
                    <a:pt x="246" y="533"/>
                  </a:cubicBezTo>
                  <a:lnTo>
                    <a:pt x="266" y="533"/>
                  </a:lnTo>
                  <a:cubicBezTo>
                    <a:pt x="287" y="533"/>
                    <a:pt x="287" y="533"/>
                    <a:pt x="307" y="533"/>
                  </a:cubicBezTo>
                  <a:cubicBezTo>
                    <a:pt x="307" y="533"/>
                    <a:pt x="307" y="513"/>
                    <a:pt x="328" y="513"/>
                  </a:cubicBezTo>
                  <a:cubicBezTo>
                    <a:pt x="328" y="513"/>
                    <a:pt x="328" y="492"/>
                    <a:pt x="348" y="492"/>
                  </a:cubicBezTo>
                  <a:cubicBezTo>
                    <a:pt x="348" y="492"/>
                    <a:pt x="348" y="492"/>
                    <a:pt x="369" y="472"/>
                  </a:cubicBezTo>
                  <a:cubicBezTo>
                    <a:pt x="369" y="472"/>
                    <a:pt x="389" y="472"/>
                    <a:pt x="389" y="492"/>
                  </a:cubicBezTo>
                  <a:cubicBezTo>
                    <a:pt x="389" y="492"/>
                    <a:pt x="410" y="472"/>
                    <a:pt x="410" y="492"/>
                  </a:cubicBezTo>
                  <a:lnTo>
                    <a:pt x="410" y="492"/>
                  </a:lnTo>
                  <a:cubicBezTo>
                    <a:pt x="410" y="492"/>
                    <a:pt x="410" y="492"/>
                    <a:pt x="389" y="513"/>
                  </a:cubicBezTo>
                  <a:lnTo>
                    <a:pt x="389" y="513"/>
                  </a:lnTo>
                  <a:cubicBezTo>
                    <a:pt x="389" y="533"/>
                    <a:pt x="410" y="533"/>
                    <a:pt x="410" y="533"/>
                  </a:cubicBezTo>
                  <a:cubicBezTo>
                    <a:pt x="410" y="533"/>
                    <a:pt x="410" y="513"/>
                    <a:pt x="430" y="513"/>
                  </a:cubicBezTo>
                  <a:cubicBezTo>
                    <a:pt x="430" y="513"/>
                    <a:pt x="430" y="513"/>
                    <a:pt x="451" y="513"/>
                  </a:cubicBezTo>
                  <a:lnTo>
                    <a:pt x="451" y="533"/>
                  </a:lnTo>
                  <a:lnTo>
                    <a:pt x="471" y="533"/>
                  </a:lnTo>
                  <a:lnTo>
                    <a:pt x="492" y="513"/>
                  </a:lnTo>
                  <a:cubicBezTo>
                    <a:pt x="492" y="513"/>
                    <a:pt x="492" y="492"/>
                    <a:pt x="512" y="492"/>
                  </a:cubicBezTo>
                  <a:lnTo>
                    <a:pt x="533" y="492"/>
                  </a:lnTo>
                  <a:lnTo>
                    <a:pt x="533" y="472"/>
                  </a:lnTo>
                  <a:cubicBezTo>
                    <a:pt x="533" y="451"/>
                    <a:pt x="533" y="431"/>
                    <a:pt x="533" y="431"/>
                  </a:cubicBezTo>
                  <a:cubicBezTo>
                    <a:pt x="533" y="431"/>
                    <a:pt x="533" y="410"/>
                    <a:pt x="512" y="410"/>
                  </a:cubicBezTo>
                  <a:lnTo>
                    <a:pt x="512" y="390"/>
                  </a:lnTo>
                  <a:lnTo>
                    <a:pt x="492" y="390"/>
                  </a:lnTo>
                  <a:cubicBezTo>
                    <a:pt x="492" y="410"/>
                    <a:pt x="471" y="410"/>
                    <a:pt x="471" y="410"/>
                  </a:cubicBezTo>
                  <a:lnTo>
                    <a:pt x="451" y="410"/>
                  </a:lnTo>
                  <a:cubicBezTo>
                    <a:pt x="430" y="431"/>
                    <a:pt x="389" y="431"/>
                    <a:pt x="389" y="431"/>
                  </a:cubicBezTo>
                  <a:cubicBezTo>
                    <a:pt x="369" y="431"/>
                    <a:pt x="348" y="431"/>
                    <a:pt x="348" y="431"/>
                  </a:cubicBezTo>
                  <a:lnTo>
                    <a:pt x="328" y="431"/>
                  </a:lnTo>
                  <a:lnTo>
                    <a:pt x="307" y="431"/>
                  </a:lnTo>
                  <a:cubicBezTo>
                    <a:pt x="307" y="451"/>
                    <a:pt x="307" y="472"/>
                    <a:pt x="307" y="472"/>
                  </a:cubicBezTo>
                  <a:lnTo>
                    <a:pt x="287" y="492"/>
                  </a:lnTo>
                  <a:lnTo>
                    <a:pt x="266" y="492"/>
                  </a:lnTo>
                  <a:lnTo>
                    <a:pt x="246" y="472"/>
                  </a:lnTo>
                  <a:lnTo>
                    <a:pt x="246" y="451"/>
                  </a:lnTo>
                  <a:cubicBezTo>
                    <a:pt x="246" y="451"/>
                    <a:pt x="246" y="431"/>
                    <a:pt x="225" y="431"/>
                  </a:cubicBezTo>
                  <a:lnTo>
                    <a:pt x="225" y="410"/>
                  </a:lnTo>
                  <a:cubicBezTo>
                    <a:pt x="205" y="410"/>
                    <a:pt x="205" y="390"/>
                    <a:pt x="205" y="390"/>
                  </a:cubicBezTo>
                  <a:cubicBezTo>
                    <a:pt x="205" y="369"/>
                    <a:pt x="184" y="369"/>
                    <a:pt x="184" y="369"/>
                  </a:cubicBezTo>
                  <a:lnTo>
                    <a:pt x="184" y="349"/>
                  </a:lnTo>
                  <a:lnTo>
                    <a:pt x="184" y="328"/>
                  </a:lnTo>
                  <a:cubicBezTo>
                    <a:pt x="205" y="328"/>
                    <a:pt x="205" y="328"/>
                    <a:pt x="205" y="308"/>
                  </a:cubicBezTo>
                  <a:cubicBezTo>
                    <a:pt x="205" y="308"/>
                    <a:pt x="205" y="308"/>
                    <a:pt x="184" y="308"/>
                  </a:cubicBezTo>
                  <a:cubicBezTo>
                    <a:pt x="184" y="287"/>
                    <a:pt x="184" y="287"/>
                    <a:pt x="164" y="287"/>
                  </a:cubicBezTo>
                  <a:lnTo>
                    <a:pt x="143" y="287"/>
                  </a:lnTo>
                  <a:cubicBezTo>
                    <a:pt x="143" y="287"/>
                    <a:pt x="123" y="287"/>
                    <a:pt x="123" y="267"/>
                  </a:cubicBezTo>
                  <a:cubicBezTo>
                    <a:pt x="102" y="267"/>
                    <a:pt x="102" y="246"/>
                    <a:pt x="102" y="246"/>
                  </a:cubicBezTo>
                  <a:cubicBezTo>
                    <a:pt x="102" y="246"/>
                    <a:pt x="102" y="246"/>
                    <a:pt x="82" y="246"/>
                  </a:cubicBezTo>
                  <a:cubicBezTo>
                    <a:pt x="82" y="246"/>
                    <a:pt x="82" y="246"/>
                    <a:pt x="61" y="246"/>
                  </a:cubicBezTo>
                  <a:lnTo>
                    <a:pt x="61" y="267"/>
                  </a:lnTo>
                  <a:cubicBezTo>
                    <a:pt x="41" y="267"/>
                    <a:pt x="41" y="267"/>
                    <a:pt x="20" y="267"/>
                  </a:cubicBezTo>
                  <a:cubicBezTo>
                    <a:pt x="20" y="267"/>
                    <a:pt x="20" y="267"/>
                    <a:pt x="0" y="246"/>
                  </a:cubicBezTo>
                  <a:lnTo>
                    <a:pt x="0" y="246"/>
                  </a:lnTo>
                  <a:cubicBezTo>
                    <a:pt x="0" y="226"/>
                    <a:pt x="0" y="226"/>
                    <a:pt x="20" y="226"/>
                  </a:cubicBezTo>
                  <a:lnTo>
                    <a:pt x="41" y="226"/>
                  </a:lnTo>
                  <a:cubicBezTo>
                    <a:pt x="41" y="205"/>
                    <a:pt x="61" y="205"/>
                    <a:pt x="61" y="185"/>
                  </a:cubicBezTo>
                  <a:cubicBezTo>
                    <a:pt x="61" y="185"/>
                    <a:pt x="61" y="185"/>
                    <a:pt x="61" y="164"/>
                  </a:cubicBezTo>
                  <a:lnTo>
                    <a:pt x="61" y="144"/>
                  </a:lnTo>
                  <a:lnTo>
                    <a:pt x="61" y="123"/>
                  </a:lnTo>
                  <a:cubicBezTo>
                    <a:pt x="61" y="103"/>
                    <a:pt x="61" y="103"/>
                    <a:pt x="61" y="103"/>
                  </a:cubicBezTo>
                  <a:cubicBezTo>
                    <a:pt x="82" y="82"/>
                    <a:pt x="82" y="82"/>
                    <a:pt x="102" y="82"/>
                  </a:cubicBezTo>
                  <a:lnTo>
                    <a:pt x="123" y="82"/>
                  </a:lnTo>
                  <a:cubicBezTo>
                    <a:pt x="143" y="82"/>
                    <a:pt x="164" y="82"/>
                    <a:pt x="164" y="82"/>
                  </a:cubicBezTo>
                  <a:cubicBezTo>
                    <a:pt x="164" y="62"/>
                    <a:pt x="184" y="62"/>
                    <a:pt x="184" y="62"/>
                  </a:cubicBezTo>
                  <a:cubicBezTo>
                    <a:pt x="205" y="41"/>
                    <a:pt x="205" y="41"/>
                    <a:pt x="205" y="21"/>
                  </a:cubicBezTo>
                  <a:cubicBezTo>
                    <a:pt x="225" y="21"/>
                    <a:pt x="225" y="21"/>
                    <a:pt x="225" y="21"/>
                  </a:cubicBezTo>
                  <a:cubicBezTo>
                    <a:pt x="246" y="21"/>
                    <a:pt x="246" y="0"/>
                    <a:pt x="246" y="0"/>
                  </a:cubicBezTo>
                  <a:cubicBezTo>
                    <a:pt x="246" y="0"/>
                    <a:pt x="266" y="0"/>
                    <a:pt x="287" y="0"/>
                  </a:cubicBezTo>
                  <a:lnTo>
                    <a:pt x="307" y="0"/>
                  </a:lnTo>
                  <a:lnTo>
                    <a:pt x="348" y="21"/>
                  </a:lnTo>
                  <a:lnTo>
                    <a:pt x="369" y="41"/>
                  </a:lnTo>
                  <a:cubicBezTo>
                    <a:pt x="369" y="62"/>
                    <a:pt x="389" y="62"/>
                    <a:pt x="389" y="62"/>
                  </a:cubicBezTo>
                  <a:cubicBezTo>
                    <a:pt x="410" y="82"/>
                    <a:pt x="430" y="82"/>
                    <a:pt x="430" y="82"/>
                  </a:cubicBezTo>
                  <a:cubicBezTo>
                    <a:pt x="451" y="82"/>
                    <a:pt x="471" y="82"/>
                    <a:pt x="471" y="82"/>
                  </a:cubicBezTo>
                  <a:cubicBezTo>
                    <a:pt x="492" y="62"/>
                    <a:pt x="512" y="82"/>
                    <a:pt x="533" y="82"/>
                  </a:cubicBezTo>
                  <a:cubicBezTo>
                    <a:pt x="533" y="82"/>
                    <a:pt x="553" y="82"/>
                    <a:pt x="574" y="103"/>
                  </a:cubicBezTo>
                  <a:lnTo>
                    <a:pt x="574" y="123"/>
                  </a:lnTo>
                  <a:cubicBezTo>
                    <a:pt x="574" y="123"/>
                    <a:pt x="574" y="144"/>
                    <a:pt x="574" y="164"/>
                  </a:cubicBezTo>
                  <a:cubicBezTo>
                    <a:pt x="574" y="164"/>
                    <a:pt x="594" y="164"/>
                    <a:pt x="594" y="185"/>
                  </a:cubicBezTo>
                  <a:lnTo>
                    <a:pt x="594" y="205"/>
                  </a:lnTo>
                  <a:cubicBezTo>
                    <a:pt x="594" y="226"/>
                    <a:pt x="574" y="246"/>
                    <a:pt x="574" y="267"/>
                  </a:cubicBezTo>
                  <a:cubicBezTo>
                    <a:pt x="574" y="287"/>
                    <a:pt x="553" y="308"/>
                    <a:pt x="553" y="308"/>
                  </a:cubicBezTo>
                  <a:cubicBezTo>
                    <a:pt x="553" y="328"/>
                    <a:pt x="574" y="349"/>
                    <a:pt x="574" y="369"/>
                  </a:cubicBezTo>
                  <a:cubicBezTo>
                    <a:pt x="574" y="390"/>
                    <a:pt x="594" y="431"/>
                    <a:pt x="594" y="451"/>
                  </a:cubicBezTo>
                  <a:cubicBezTo>
                    <a:pt x="594" y="451"/>
                    <a:pt x="594" y="472"/>
                    <a:pt x="594" y="492"/>
                  </a:cubicBezTo>
                  <a:lnTo>
                    <a:pt x="594" y="513"/>
                  </a:lnTo>
                  <a:lnTo>
                    <a:pt x="615" y="513"/>
                  </a:lnTo>
                  <a:lnTo>
                    <a:pt x="615" y="492"/>
                  </a:lnTo>
                  <a:cubicBezTo>
                    <a:pt x="615" y="492"/>
                    <a:pt x="635" y="492"/>
                    <a:pt x="635" y="513"/>
                  </a:cubicBezTo>
                  <a:lnTo>
                    <a:pt x="635" y="513"/>
                  </a:lnTo>
                  <a:cubicBezTo>
                    <a:pt x="635" y="533"/>
                    <a:pt x="635" y="554"/>
                    <a:pt x="635" y="554"/>
                  </a:cubicBezTo>
                  <a:cubicBezTo>
                    <a:pt x="635" y="574"/>
                    <a:pt x="635" y="595"/>
                    <a:pt x="635" y="595"/>
                  </a:cubicBezTo>
                  <a:lnTo>
                    <a:pt x="656" y="615"/>
                  </a:lnTo>
                  <a:lnTo>
                    <a:pt x="676" y="636"/>
                  </a:lnTo>
                  <a:lnTo>
                    <a:pt x="676" y="656"/>
                  </a:lnTo>
                  <a:cubicBezTo>
                    <a:pt x="676" y="677"/>
                    <a:pt x="676" y="677"/>
                    <a:pt x="696" y="697"/>
                  </a:cubicBezTo>
                  <a:lnTo>
                    <a:pt x="696" y="697"/>
                  </a:lnTo>
                  <a:cubicBezTo>
                    <a:pt x="717" y="697"/>
                    <a:pt x="717" y="677"/>
                    <a:pt x="738" y="677"/>
                  </a:cubicBezTo>
                  <a:cubicBezTo>
                    <a:pt x="738" y="656"/>
                    <a:pt x="758" y="656"/>
                    <a:pt x="758" y="656"/>
                  </a:cubicBezTo>
                  <a:cubicBezTo>
                    <a:pt x="758" y="636"/>
                    <a:pt x="778" y="636"/>
                    <a:pt x="799" y="615"/>
                  </a:cubicBezTo>
                  <a:lnTo>
                    <a:pt x="820" y="615"/>
                  </a:lnTo>
                  <a:cubicBezTo>
                    <a:pt x="820" y="595"/>
                    <a:pt x="820" y="574"/>
                    <a:pt x="820" y="574"/>
                  </a:cubicBezTo>
                  <a:cubicBezTo>
                    <a:pt x="840" y="554"/>
                    <a:pt x="840" y="533"/>
                    <a:pt x="860" y="533"/>
                  </a:cubicBezTo>
                  <a:lnTo>
                    <a:pt x="881" y="513"/>
                  </a:lnTo>
                  <a:cubicBezTo>
                    <a:pt x="902" y="513"/>
                    <a:pt x="902" y="492"/>
                    <a:pt x="902" y="492"/>
                  </a:cubicBezTo>
                  <a:cubicBezTo>
                    <a:pt x="922" y="492"/>
                    <a:pt x="942" y="472"/>
                    <a:pt x="942" y="472"/>
                  </a:cubicBezTo>
                  <a:cubicBezTo>
                    <a:pt x="942" y="472"/>
                    <a:pt x="942" y="451"/>
                    <a:pt x="963" y="451"/>
                  </a:cubicBezTo>
                  <a:cubicBezTo>
                    <a:pt x="963" y="431"/>
                    <a:pt x="963" y="431"/>
                    <a:pt x="963" y="410"/>
                  </a:cubicBezTo>
                  <a:cubicBezTo>
                    <a:pt x="984" y="410"/>
                    <a:pt x="984" y="390"/>
                    <a:pt x="984" y="390"/>
                  </a:cubicBezTo>
                  <a:cubicBezTo>
                    <a:pt x="1004" y="390"/>
                    <a:pt x="1004" y="369"/>
                    <a:pt x="1024" y="369"/>
                  </a:cubicBezTo>
                  <a:cubicBezTo>
                    <a:pt x="1024" y="349"/>
                    <a:pt x="1066" y="349"/>
                    <a:pt x="1066" y="349"/>
                  </a:cubicBezTo>
                  <a:cubicBezTo>
                    <a:pt x="1086" y="328"/>
                    <a:pt x="1106" y="328"/>
                    <a:pt x="1106" y="308"/>
                  </a:cubicBezTo>
                  <a:cubicBezTo>
                    <a:pt x="1127" y="308"/>
                    <a:pt x="1148" y="287"/>
                    <a:pt x="1148" y="287"/>
                  </a:cubicBezTo>
                  <a:cubicBezTo>
                    <a:pt x="1148" y="267"/>
                    <a:pt x="1168" y="267"/>
                    <a:pt x="1168" y="267"/>
                  </a:cubicBezTo>
                  <a:cubicBezTo>
                    <a:pt x="1168" y="246"/>
                    <a:pt x="1188" y="246"/>
                    <a:pt x="1188" y="246"/>
                  </a:cubicBezTo>
                  <a:lnTo>
                    <a:pt x="1209" y="246"/>
                  </a:lnTo>
                  <a:lnTo>
                    <a:pt x="1209" y="267"/>
                  </a:lnTo>
                  <a:lnTo>
                    <a:pt x="1230" y="287"/>
                  </a:lnTo>
                  <a:lnTo>
                    <a:pt x="1250" y="287"/>
                  </a:lnTo>
                  <a:lnTo>
                    <a:pt x="1270" y="308"/>
                  </a:lnTo>
                  <a:lnTo>
                    <a:pt x="1291" y="328"/>
                  </a:lnTo>
                  <a:cubicBezTo>
                    <a:pt x="1312" y="328"/>
                    <a:pt x="1332" y="349"/>
                    <a:pt x="1332" y="349"/>
                  </a:cubicBezTo>
                  <a:cubicBezTo>
                    <a:pt x="1352" y="369"/>
                    <a:pt x="1373" y="369"/>
                    <a:pt x="1373" y="369"/>
                  </a:cubicBezTo>
                  <a:cubicBezTo>
                    <a:pt x="1393" y="390"/>
                    <a:pt x="1393" y="390"/>
                    <a:pt x="1414" y="390"/>
                  </a:cubicBezTo>
                  <a:cubicBezTo>
                    <a:pt x="1414" y="410"/>
                    <a:pt x="1434" y="410"/>
                    <a:pt x="1434" y="410"/>
                  </a:cubicBezTo>
                  <a:cubicBezTo>
                    <a:pt x="1434" y="410"/>
                    <a:pt x="1454" y="410"/>
                    <a:pt x="1454" y="431"/>
                  </a:cubicBezTo>
                  <a:cubicBezTo>
                    <a:pt x="1475" y="431"/>
                    <a:pt x="1475" y="431"/>
                    <a:pt x="1475" y="431"/>
                  </a:cubicBezTo>
                  <a:cubicBezTo>
                    <a:pt x="1496" y="451"/>
                    <a:pt x="1496" y="451"/>
                    <a:pt x="1516" y="472"/>
                  </a:cubicBezTo>
                  <a:lnTo>
                    <a:pt x="1536" y="492"/>
                  </a:lnTo>
                  <a:cubicBezTo>
                    <a:pt x="1536" y="492"/>
                    <a:pt x="1557" y="492"/>
                    <a:pt x="1578" y="492"/>
                  </a:cubicBezTo>
                  <a:lnTo>
                    <a:pt x="1598" y="492"/>
                  </a:lnTo>
                  <a:cubicBezTo>
                    <a:pt x="1598" y="472"/>
                    <a:pt x="1618" y="472"/>
                    <a:pt x="1618" y="472"/>
                  </a:cubicBezTo>
                  <a:lnTo>
                    <a:pt x="1639" y="472"/>
                  </a:lnTo>
                  <a:lnTo>
                    <a:pt x="1639" y="492"/>
                  </a:lnTo>
                  <a:lnTo>
                    <a:pt x="1680" y="513"/>
                  </a:lnTo>
                  <a:cubicBezTo>
                    <a:pt x="1680" y="513"/>
                    <a:pt x="1700" y="513"/>
                    <a:pt x="1700" y="533"/>
                  </a:cubicBezTo>
                  <a:lnTo>
                    <a:pt x="1721" y="533"/>
                  </a:lnTo>
                  <a:cubicBezTo>
                    <a:pt x="1721" y="1025"/>
                    <a:pt x="1721" y="1025"/>
                    <a:pt x="1721" y="1025"/>
                  </a:cubicBezTo>
                  <a:cubicBezTo>
                    <a:pt x="1700" y="1353"/>
                    <a:pt x="1700" y="1353"/>
                    <a:pt x="1700" y="1353"/>
                  </a:cubicBezTo>
                  <a:cubicBezTo>
                    <a:pt x="1680" y="1435"/>
                    <a:pt x="1680" y="1435"/>
                    <a:pt x="1680" y="1435"/>
                  </a:cubicBezTo>
                  <a:lnTo>
                    <a:pt x="1639" y="207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2" name="Freeform 489">
              <a:extLst>
                <a:ext uri="{FF2B5EF4-FFF2-40B4-BE49-F238E27FC236}">
                  <a16:creationId xmlns:a16="http://schemas.microsoft.com/office/drawing/2014/main" id="{5CF07E17-DE23-3246-A7A6-3EFDECC0A5C6}"/>
                </a:ext>
              </a:extLst>
            </p:cNvPr>
            <p:cNvSpPr>
              <a:spLocks noChangeArrowheads="1"/>
            </p:cNvSpPr>
            <p:nvPr/>
          </p:nvSpPr>
          <p:spPr bwMode="auto">
            <a:xfrm>
              <a:off x="7072313" y="8094663"/>
              <a:ext cx="88900" cy="30162"/>
            </a:xfrm>
            <a:custGeom>
              <a:avLst/>
              <a:gdLst>
                <a:gd name="T0" fmla="*/ 226 w 247"/>
                <a:gd name="T1" fmla="*/ 41 h 83"/>
                <a:gd name="T2" fmla="*/ 226 w 247"/>
                <a:gd name="T3" fmla="*/ 41 h 83"/>
                <a:gd name="T4" fmla="*/ 206 w 247"/>
                <a:gd name="T5" fmla="*/ 62 h 83"/>
                <a:gd name="T6" fmla="*/ 164 w 247"/>
                <a:gd name="T7" fmla="*/ 62 h 83"/>
                <a:gd name="T8" fmla="*/ 144 w 247"/>
                <a:gd name="T9" fmla="*/ 62 h 83"/>
                <a:gd name="T10" fmla="*/ 103 w 247"/>
                <a:gd name="T11" fmla="*/ 82 h 83"/>
                <a:gd name="T12" fmla="*/ 82 w 247"/>
                <a:gd name="T13" fmla="*/ 62 h 83"/>
                <a:gd name="T14" fmla="*/ 62 w 247"/>
                <a:gd name="T15" fmla="*/ 41 h 83"/>
                <a:gd name="T16" fmla="*/ 21 w 247"/>
                <a:gd name="T17" fmla="*/ 41 h 83"/>
                <a:gd name="T18" fmla="*/ 0 w 247"/>
                <a:gd name="T19" fmla="*/ 21 h 83"/>
                <a:gd name="T20" fmla="*/ 21 w 247"/>
                <a:gd name="T21" fmla="*/ 0 h 83"/>
                <a:gd name="T22" fmla="*/ 62 w 247"/>
                <a:gd name="T23" fmla="*/ 0 h 83"/>
                <a:gd name="T24" fmla="*/ 103 w 247"/>
                <a:gd name="T25" fmla="*/ 21 h 83"/>
                <a:gd name="T26" fmla="*/ 144 w 247"/>
                <a:gd name="T27" fmla="*/ 21 h 83"/>
                <a:gd name="T28" fmla="*/ 185 w 247"/>
                <a:gd name="T29" fmla="*/ 21 h 83"/>
                <a:gd name="T30" fmla="*/ 206 w 247"/>
                <a:gd name="T31" fmla="*/ 21 h 83"/>
                <a:gd name="T32" fmla="*/ 226 w 247"/>
                <a:gd name="T33" fmla="*/ 21 h 83"/>
                <a:gd name="T34" fmla="*/ 226 w 247"/>
                <a:gd name="T35" fmla="*/ 4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 h="83">
                  <a:moveTo>
                    <a:pt x="226" y="41"/>
                  </a:moveTo>
                  <a:lnTo>
                    <a:pt x="226" y="41"/>
                  </a:lnTo>
                  <a:lnTo>
                    <a:pt x="206" y="62"/>
                  </a:lnTo>
                  <a:cubicBezTo>
                    <a:pt x="206" y="62"/>
                    <a:pt x="185" y="62"/>
                    <a:pt x="164" y="62"/>
                  </a:cubicBezTo>
                  <a:lnTo>
                    <a:pt x="144" y="62"/>
                  </a:lnTo>
                  <a:cubicBezTo>
                    <a:pt x="124" y="62"/>
                    <a:pt x="124" y="82"/>
                    <a:pt x="103" y="82"/>
                  </a:cubicBezTo>
                  <a:cubicBezTo>
                    <a:pt x="103" y="62"/>
                    <a:pt x="103" y="62"/>
                    <a:pt x="82" y="62"/>
                  </a:cubicBezTo>
                  <a:cubicBezTo>
                    <a:pt x="82" y="41"/>
                    <a:pt x="62" y="41"/>
                    <a:pt x="62" y="41"/>
                  </a:cubicBezTo>
                  <a:cubicBezTo>
                    <a:pt x="42" y="41"/>
                    <a:pt x="21" y="41"/>
                    <a:pt x="21" y="41"/>
                  </a:cubicBezTo>
                  <a:lnTo>
                    <a:pt x="0" y="21"/>
                  </a:lnTo>
                  <a:lnTo>
                    <a:pt x="21" y="0"/>
                  </a:lnTo>
                  <a:lnTo>
                    <a:pt x="62" y="0"/>
                  </a:lnTo>
                  <a:cubicBezTo>
                    <a:pt x="82" y="0"/>
                    <a:pt x="103" y="21"/>
                    <a:pt x="103" y="21"/>
                  </a:cubicBezTo>
                  <a:cubicBezTo>
                    <a:pt x="124" y="21"/>
                    <a:pt x="144" y="21"/>
                    <a:pt x="144" y="21"/>
                  </a:cubicBezTo>
                  <a:cubicBezTo>
                    <a:pt x="164" y="21"/>
                    <a:pt x="164" y="21"/>
                    <a:pt x="185" y="21"/>
                  </a:cubicBezTo>
                  <a:lnTo>
                    <a:pt x="206" y="21"/>
                  </a:lnTo>
                  <a:cubicBezTo>
                    <a:pt x="226" y="21"/>
                    <a:pt x="226" y="21"/>
                    <a:pt x="226" y="21"/>
                  </a:cubicBezTo>
                  <a:cubicBezTo>
                    <a:pt x="246" y="21"/>
                    <a:pt x="226" y="41"/>
                    <a:pt x="226"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3" name="Freeform 490">
              <a:extLst>
                <a:ext uri="{FF2B5EF4-FFF2-40B4-BE49-F238E27FC236}">
                  <a16:creationId xmlns:a16="http://schemas.microsoft.com/office/drawing/2014/main" id="{B9ADC0F3-E824-6443-9DDB-3657D78B0FF7}"/>
                </a:ext>
              </a:extLst>
            </p:cNvPr>
            <p:cNvSpPr>
              <a:spLocks noChangeArrowheads="1"/>
            </p:cNvSpPr>
            <p:nvPr/>
          </p:nvSpPr>
          <p:spPr bwMode="auto">
            <a:xfrm>
              <a:off x="6940550" y="8301038"/>
              <a:ext cx="15875" cy="22225"/>
            </a:xfrm>
            <a:custGeom>
              <a:avLst/>
              <a:gdLst>
                <a:gd name="T0" fmla="*/ 41 w 42"/>
                <a:gd name="T1" fmla="*/ 20 h 63"/>
                <a:gd name="T2" fmla="*/ 41 w 42"/>
                <a:gd name="T3" fmla="*/ 20 h 63"/>
                <a:gd name="T4" fmla="*/ 20 w 42"/>
                <a:gd name="T5" fmla="*/ 0 h 63"/>
                <a:gd name="T6" fmla="*/ 0 w 42"/>
                <a:gd name="T7" fmla="*/ 20 h 63"/>
                <a:gd name="T8" fmla="*/ 0 w 42"/>
                <a:gd name="T9" fmla="*/ 20 h 63"/>
                <a:gd name="T10" fmla="*/ 0 w 42"/>
                <a:gd name="T11" fmla="*/ 41 h 63"/>
                <a:gd name="T12" fmla="*/ 0 w 42"/>
                <a:gd name="T13" fmla="*/ 62 h 63"/>
                <a:gd name="T14" fmla="*/ 20 w 42"/>
                <a:gd name="T15" fmla="*/ 62 h 63"/>
                <a:gd name="T16" fmla="*/ 41 w 42"/>
                <a:gd name="T17" fmla="*/ 41 h 63"/>
                <a:gd name="T18" fmla="*/ 41 w 42"/>
                <a:gd name="T19" fmla="*/ 2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3">
                  <a:moveTo>
                    <a:pt x="41" y="20"/>
                  </a:moveTo>
                  <a:lnTo>
                    <a:pt x="41" y="20"/>
                  </a:lnTo>
                  <a:cubicBezTo>
                    <a:pt x="41" y="20"/>
                    <a:pt x="20" y="20"/>
                    <a:pt x="20" y="0"/>
                  </a:cubicBezTo>
                  <a:cubicBezTo>
                    <a:pt x="20" y="0"/>
                    <a:pt x="0" y="0"/>
                    <a:pt x="0" y="20"/>
                  </a:cubicBezTo>
                  <a:lnTo>
                    <a:pt x="0" y="20"/>
                  </a:lnTo>
                  <a:cubicBezTo>
                    <a:pt x="0" y="41"/>
                    <a:pt x="0" y="41"/>
                    <a:pt x="0" y="41"/>
                  </a:cubicBezTo>
                  <a:cubicBezTo>
                    <a:pt x="0" y="62"/>
                    <a:pt x="0" y="62"/>
                    <a:pt x="0" y="62"/>
                  </a:cubicBezTo>
                  <a:lnTo>
                    <a:pt x="20" y="62"/>
                  </a:lnTo>
                  <a:lnTo>
                    <a:pt x="41" y="41"/>
                  </a:lnTo>
                  <a:lnTo>
                    <a:pt x="4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4" name="Freeform 491">
              <a:extLst>
                <a:ext uri="{FF2B5EF4-FFF2-40B4-BE49-F238E27FC236}">
                  <a16:creationId xmlns:a16="http://schemas.microsoft.com/office/drawing/2014/main" id="{CC5B4CEB-74B3-A04E-B16B-ECC2D3779C86}"/>
                </a:ext>
              </a:extLst>
            </p:cNvPr>
            <p:cNvSpPr>
              <a:spLocks noChangeArrowheads="1"/>
            </p:cNvSpPr>
            <p:nvPr/>
          </p:nvSpPr>
          <p:spPr bwMode="auto">
            <a:xfrm>
              <a:off x="6962775" y="8270875"/>
              <a:ext cx="7938" cy="15875"/>
            </a:xfrm>
            <a:custGeom>
              <a:avLst/>
              <a:gdLst>
                <a:gd name="T0" fmla="*/ 21 w 22"/>
                <a:gd name="T1" fmla="*/ 41 h 42"/>
                <a:gd name="T2" fmla="*/ 21 w 22"/>
                <a:gd name="T3" fmla="*/ 41 h 42"/>
                <a:gd name="T4" fmla="*/ 0 w 22"/>
                <a:gd name="T5" fmla="*/ 41 h 42"/>
                <a:gd name="T6" fmla="*/ 0 w 22"/>
                <a:gd name="T7" fmla="*/ 20 h 42"/>
                <a:gd name="T8" fmla="*/ 0 w 22"/>
                <a:gd name="T9" fmla="*/ 0 h 42"/>
                <a:gd name="T10" fmla="*/ 21 w 22"/>
                <a:gd name="T11" fmla="*/ 20 h 42"/>
                <a:gd name="T12" fmla="*/ 21 w 22"/>
                <a:gd name="T13" fmla="*/ 20 h 42"/>
                <a:gd name="T14" fmla="*/ 21 w 2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21" y="41"/>
                  </a:moveTo>
                  <a:lnTo>
                    <a:pt x="21" y="41"/>
                  </a:lnTo>
                  <a:cubicBezTo>
                    <a:pt x="0" y="41"/>
                    <a:pt x="0" y="41"/>
                    <a:pt x="0" y="41"/>
                  </a:cubicBezTo>
                  <a:lnTo>
                    <a:pt x="0" y="20"/>
                  </a:lnTo>
                  <a:lnTo>
                    <a:pt x="0" y="0"/>
                  </a:lnTo>
                  <a:lnTo>
                    <a:pt x="21" y="20"/>
                  </a:lnTo>
                  <a:lnTo>
                    <a:pt x="21" y="20"/>
                  </a:lnTo>
                  <a:lnTo>
                    <a:pt x="2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5" name="Freeform 492">
              <a:extLst>
                <a:ext uri="{FF2B5EF4-FFF2-40B4-BE49-F238E27FC236}">
                  <a16:creationId xmlns:a16="http://schemas.microsoft.com/office/drawing/2014/main" id="{FE0812BF-3CDA-A04C-924E-166497B63CBA}"/>
                </a:ext>
              </a:extLst>
            </p:cNvPr>
            <p:cNvSpPr>
              <a:spLocks noChangeArrowheads="1"/>
            </p:cNvSpPr>
            <p:nvPr/>
          </p:nvSpPr>
          <p:spPr bwMode="auto">
            <a:xfrm>
              <a:off x="6985000" y="8293100"/>
              <a:ext cx="7938" cy="7938"/>
            </a:xfrm>
            <a:custGeom>
              <a:avLst/>
              <a:gdLst>
                <a:gd name="T0" fmla="*/ 0 w 21"/>
                <a:gd name="T1" fmla="*/ 0 h 21"/>
                <a:gd name="T2" fmla="*/ 0 w 21"/>
                <a:gd name="T3" fmla="*/ 0 h 21"/>
                <a:gd name="T4" fmla="*/ 0 w 21"/>
                <a:gd name="T5" fmla="*/ 20 h 21"/>
                <a:gd name="T6" fmla="*/ 0 w 21"/>
                <a:gd name="T7" fmla="*/ 20 h 21"/>
                <a:gd name="T8" fmla="*/ 20 w 21"/>
                <a:gd name="T9" fmla="*/ 20 h 21"/>
                <a:gd name="T10" fmla="*/ 20 w 21"/>
                <a:gd name="T11" fmla="*/ 0 h 21"/>
                <a:gd name="T12" fmla="*/ 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0"/>
                  </a:moveTo>
                  <a:lnTo>
                    <a:pt x="0" y="0"/>
                  </a:lnTo>
                  <a:lnTo>
                    <a:pt x="0" y="20"/>
                  </a:lnTo>
                  <a:lnTo>
                    <a:pt x="0" y="20"/>
                  </a:lnTo>
                  <a:cubicBezTo>
                    <a:pt x="20" y="20"/>
                    <a:pt x="20" y="20"/>
                    <a:pt x="20" y="20"/>
                  </a:cubicBezTo>
                  <a:lnTo>
                    <a:pt x="20" y="0"/>
                  </a:lnTo>
                  <a:cubicBezTo>
                    <a:pt x="0"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6" name="Freeform 493">
              <a:extLst>
                <a:ext uri="{FF2B5EF4-FFF2-40B4-BE49-F238E27FC236}">
                  <a16:creationId xmlns:a16="http://schemas.microsoft.com/office/drawing/2014/main" id="{25E07A87-0674-D14D-82DE-D39604114727}"/>
                </a:ext>
              </a:extLst>
            </p:cNvPr>
            <p:cNvSpPr>
              <a:spLocks noChangeArrowheads="1"/>
            </p:cNvSpPr>
            <p:nvPr/>
          </p:nvSpPr>
          <p:spPr bwMode="auto">
            <a:xfrm>
              <a:off x="7397750" y="8034338"/>
              <a:ext cx="7938" cy="15875"/>
            </a:xfrm>
            <a:custGeom>
              <a:avLst/>
              <a:gdLst>
                <a:gd name="T0" fmla="*/ 20 w 21"/>
                <a:gd name="T1" fmla="*/ 41 h 42"/>
                <a:gd name="T2" fmla="*/ 20 w 21"/>
                <a:gd name="T3" fmla="*/ 41 h 42"/>
                <a:gd name="T4" fmla="*/ 0 w 21"/>
                <a:gd name="T5" fmla="*/ 21 h 42"/>
                <a:gd name="T6" fmla="*/ 0 w 21"/>
                <a:gd name="T7" fmla="*/ 21 h 42"/>
                <a:gd name="T8" fmla="*/ 20 w 21"/>
                <a:gd name="T9" fmla="*/ 0 h 42"/>
                <a:gd name="T10" fmla="*/ 20 w 21"/>
                <a:gd name="T11" fmla="*/ 21 h 42"/>
                <a:gd name="T12" fmla="*/ 20 w 21"/>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41"/>
                  </a:moveTo>
                  <a:lnTo>
                    <a:pt x="20" y="41"/>
                  </a:lnTo>
                  <a:cubicBezTo>
                    <a:pt x="20" y="41"/>
                    <a:pt x="0" y="41"/>
                    <a:pt x="0" y="21"/>
                  </a:cubicBezTo>
                  <a:lnTo>
                    <a:pt x="0" y="21"/>
                  </a:lnTo>
                  <a:cubicBezTo>
                    <a:pt x="0" y="0"/>
                    <a:pt x="20" y="0"/>
                    <a:pt x="20" y="0"/>
                  </a:cubicBezTo>
                  <a:lnTo>
                    <a:pt x="20" y="21"/>
                  </a:ln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7" name="Freeform 494">
              <a:extLst>
                <a:ext uri="{FF2B5EF4-FFF2-40B4-BE49-F238E27FC236}">
                  <a16:creationId xmlns:a16="http://schemas.microsoft.com/office/drawing/2014/main" id="{76BD9415-4C34-F741-BDEA-8C49FC8FA5DD}"/>
                </a:ext>
              </a:extLst>
            </p:cNvPr>
            <p:cNvSpPr>
              <a:spLocks noChangeArrowheads="1"/>
            </p:cNvSpPr>
            <p:nvPr/>
          </p:nvSpPr>
          <p:spPr bwMode="auto">
            <a:xfrm>
              <a:off x="7367588" y="8056563"/>
              <a:ext cx="15875" cy="15875"/>
            </a:xfrm>
            <a:custGeom>
              <a:avLst/>
              <a:gdLst>
                <a:gd name="T0" fmla="*/ 20 w 42"/>
                <a:gd name="T1" fmla="*/ 41 h 42"/>
                <a:gd name="T2" fmla="*/ 20 w 42"/>
                <a:gd name="T3" fmla="*/ 41 h 42"/>
                <a:gd name="T4" fmla="*/ 20 w 42"/>
                <a:gd name="T5" fmla="*/ 41 h 42"/>
                <a:gd name="T6" fmla="*/ 0 w 42"/>
                <a:gd name="T7" fmla="*/ 20 h 42"/>
                <a:gd name="T8" fmla="*/ 20 w 42"/>
                <a:gd name="T9" fmla="*/ 0 h 42"/>
                <a:gd name="T10" fmla="*/ 20 w 42"/>
                <a:gd name="T11" fmla="*/ 20 h 42"/>
                <a:gd name="T12" fmla="*/ 20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1"/>
                  </a:moveTo>
                  <a:lnTo>
                    <a:pt x="20" y="41"/>
                  </a:lnTo>
                  <a:lnTo>
                    <a:pt x="20" y="41"/>
                  </a:lnTo>
                  <a:cubicBezTo>
                    <a:pt x="0" y="41"/>
                    <a:pt x="0" y="20"/>
                    <a:pt x="0" y="20"/>
                  </a:cubicBezTo>
                  <a:cubicBezTo>
                    <a:pt x="0" y="0"/>
                    <a:pt x="0" y="0"/>
                    <a:pt x="20" y="0"/>
                  </a:cubicBezTo>
                  <a:cubicBezTo>
                    <a:pt x="20" y="0"/>
                    <a:pt x="20" y="0"/>
                    <a:pt x="20" y="20"/>
                  </a:cubicBezTo>
                  <a:cubicBezTo>
                    <a:pt x="20" y="20"/>
                    <a:pt x="41"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8" name="Freeform 495">
              <a:extLst>
                <a:ext uri="{FF2B5EF4-FFF2-40B4-BE49-F238E27FC236}">
                  <a16:creationId xmlns:a16="http://schemas.microsoft.com/office/drawing/2014/main" id="{B42B7198-28BC-5D4D-85E9-B3F0F7828BB4}"/>
                </a:ext>
              </a:extLst>
            </p:cNvPr>
            <p:cNvSpPr>
              <a:spLocks noChangeArrowheads="1"/>
            </p:cNvSpPr>
            <p:nvPr/>
          </p:nvSpPr>
          <p:spPr bwMode="auto">
            <a:xfrm>
              <a:off x="7058025" y="8086725"/>
              <a:ext cx="14288" cy="7938"/>
            </a:xfrm>
            <a:custGeom>
              <a:avLst/>
              <a:gdLst>
                <a:gd name="T0" fmla="*/ 20 w 41"/>
                <a:gd name="T1" fmla="*/ 0 h 21"/>
                <a:gd name="T2" fmla="*/ 20 w 41"/>
                <a:gd name="T3" fmla="*/ 0 h 21"/>
                <a:gd name="T4" fmla="*/ 0 w 41"/>
                <a:gd name="T5" fmla="*/ 0 h 21"/>
                <a:gd name="T6" fmla="*/ 0 w 41"/>
                <a:gd name="T7" fmla="*/ 0 h 21"/>
                <a:gd name="T8" fmla="*/ 20 w 41"/>
                <a:gd name="T9" fmla="*/ 20 h 21"/>
                <a:gd name="T10" fmla="*/ 40 w 41"/>
                <a:gd name="T11" fmla="*/ 0 h 21"/>
                <a:gd name="T12" fmla="*/ 20 w 4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1" h="21">
                  <a:moveTo>
                    <a:pt x="20" y="0"/>
                  </a:moveTo>
                  <a:lnTo>
                    <a:pt x="20" y="0"/>
                  </a:lnTo>
                  <a:lnTo>
                    <a:pt x="0" y="0"/>
                  </a:lnTo>
                  <a:lnTo>
                    <a:pt x="0" y="0"/>
                  </a:lnTo>
                  <a:cubicBezTo>
                    <a:pt x="0" y="20"/>
                    <a:pt x="20" y="20"/>
                    <a:pt x="20" y="20"/>
                  </a:cubicBezTo>
                  <a:lnTo>
                    <a:pt x="40" y="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499" name="Freeform 496">
              <a:extLst>
                <a:ext uri="{FF2B5EF4-FFF2-40B4-BE49-F238E27FC236}">
                  <a16:creationId xmlns:a16="http://schemas.microsoft.com/office/drawing/2014/main" id="{4048DDF9-F01B-2B46-8A1B-835B6EDFA532}"/>
                </a:ext>
              </a:extLst>
            </p:cNvPr>
            <p:cNvSpPr>
              <a:spLocks noChangeArrowheads="1"/>
            </p:cNvSpPr>
            <p:nvPr/>
          </p:nvSpPr>
          <p:spPr bwMode="auto">
            <a:xfrm>
              <a:off x="7035800" y="8042275"/>
              <a:ext cx="15875" cy="15875"/>
            </a:xfrm>
            <a:custGeom>
              <a:avLst/>
              <a:gdLst>
                <a:gd name="T0" fmla="*/ 20 w 42"/>
                <a:gd name="T1" fmla="*/ 41 h 42"/>
                <a:gd name="T2" fmla="*/ 20 w 42"/>
                <a:gd name="T3" fmla="*/ 41 h 42"/>
                <a:gd name="T4" fmla="*/ 0 w 42"/>
                <a:gd name="T5" fmla="*/ 41 h 42"/>
                <a:gd name="T6" fmla="*/ 0 w 42"/>
                <a:gd name="T7" fmla="*/ 20 h 42"/>
                <a:gd name="T8" fmla="*/ 20 w 42"/>
                <a:gd name="T9" fmla="*/ 20 h 42"/>
                <a:gd name="T10" fmla="*/ 41 w 42"/>
                <a:gd name="T11" fmla="*/ 20 h 42"/>
                <a:gd name="T12" fmla="*/ 20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1"/>
                  </a:moveTo>
                  <a:lnTo>
                    <a:pt x="20" y="41"/>
                  </a:lnTo>
                  <a:lnTo>
                    <a:pt x="0" y="41"/>
                  </a:lnTo>
                  <a:cubicBezTo>
                    <a:pt x="0" y="20"/>
                    <a:pt x="0" y="20"/>
                    <a:pt x="0" y="20"/>
                  </a:cubicBezTo>
                  <a:cubicBezTo>
                    <a:pt x="0" y="0"/>
                    <a:pt x="20" y="0"/>
                    <a:pt x="20" y="20"/>
                  </a:cubicBezTo>
                  <a:lnTo>
                    <a:pt x="41" y="20"/>
                  </a:lnTo>
                  <a:cubicBezTo>
                    <a:pt x="41" y="20"/>
                    <a:pt x="41"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0" name="Freeform 497">
              <a:extLst>
                <a:ext uri="{FF2B5EF4-FFF2-40B4-BE49-F238E27FC236}">
                  <a16:creationId xmlns:a16="http://schemas.microsoft.com/office/drawing/2014/main" id="{BD4D7CE0-A18F-6346-94D8-F16A5A001653}"/>
                </a:ext>
              </a:extLst>
            </p:cNvPr>
            <p:cNvSpPr>
              <a:spLocks noChangeArrowheads="1"/>
            </p:cNvSpPr>
            <p:nvPr/>
          </p:nvSpPr>
          <p:spPr bwMode="auto">
            <a:xfrm>
              <a:off x="7072313" y="8020050"/>
              <a:ext cx="7937" cy="15875"/>
            </a:xfrm>
            <a:custGeom>
              <a:avLst/>
              <a:gdLst>
                <a:gd name="T0" fmla="*/ 0 w 22"/>
                <a:gd name="T1" fmla="*/ 41 h 42"/>
                <a:gd name="T2" fmla="*/ 0 w 22"/>
                <a:gd name="T3" fmla="*/ 41 h 42"/>
                <a:gd name="T4" fmla="*/ 0 w 22"/>
                <a:gd name="T5" fmla="*/ 21 h 42"/>
                <a:gd name="T6" fmla="*/ 0 w 22"/>
                <a:gd name="T7" fmla="*/ 0 h 42"/>
                <a:gd name="T8" fmla="*/ 0 w 22"/>
                <a:gd name="T9" fmla="*/ 0 h 42"/>
                <a:gd name="T10" fmla="*/ 21 w 22"/>
                <a:gd name="T11" fmla="*/ 0 h 42"/>
                <a:gd name="T12" fmla="*/ 21 w 22"/>
                <a:gd name="T13" fmla="*/ 21 h 42"/>
                <a:gd name="T14" fmla="*/ 0 w 2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0" y="41"/>
                  </a:moveTo>
                  <a:lnTo>
                    <a:pt x="0" y="41"/>
                  </a:lnTo>
                  <a:cubicBezTo>
                    <a:pt x="0" y="21"/>
                    <a:pt x="0" y="21"/>
                    <a:pt x="0" y="21"/>
                  </a:cubicBezTo>
                  <a:lnTo>
                    <a:pt x="0" y="0"/>
                  </a:lnTo>
                  <a:lnTo>
                    <a:pt x="0" y="0"/>
                  </a:lnTo>
                  <a:cubicBezTo>
                    <a:pt x="21" y="0"/>
                    <a:pt x="21" y="0"/>
                    <a:pt x="21" y="0"/>
                  </a:cubicBezTo>
                  <a:lnTo>
                    <a:pt x="21" y="21"/>
                  </a:lnTo>
                  <a:cubicBezTo>
                    <a:pt x="21" y="21"/>
                    <a:pt x="21" y="41"/>
                    <a:pt x="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1" name="Freeform 498">
              <a:extLst>
                <a:ext uri="{FF2B5EF4-FFF2-40B4-BE49-F238E27FC236}">
                  <a16:creationId xmlns:a16="http://schemas.microsoft.com/office/drawing/2014/main" id="{11ACF14C-A27B-B249-B932-61A6FD9EE1E3}"/>
                </a:ext>
              </a:extLst>
            </p:cNvPr>
            <p:cNvSpPr>
              <a:spLocks noChangeArrowheads="1"/>
            </p:cNvSpPr>
            <p:nvPr/>
          </p:nvSpPr>
          <p:spPr bwMode="auto">
            <a:xfrm>
              <a:off x="7088188" y="8020050"/>
              <a:ext cx="44450" cy="44450"/>
            </a:xfrm>
            <a:custGeom>
              <a:avLst/>
              <a:gdLst>
                <a:gd name="T0" fmla="*/ 0 w 123"/>
                <a:gd name="T1" fmla="*/ 62 h 124"/>
                <a:gd name="T2" fmla="*/ 0 w 123"/>
                <a:gd name="T3" fmla="*/ 62 h 124"/>
                <a:gd name="T4" fmla="*/ 0 w 123"/>
                <a:gd name="T5" fmla="*/ 21 h 124"/>
                <a:gd name="T6" fmla="*/ 0 w 123"/>
                <a:gd name="T7" fmla="*/ 21 h 124"/>
                <a:gd name="T8" fmla="*/ 20 w 123"/>
                <a:gd name="T9" fmla="*/ 0 h 124"/>
                <a:gd name="T10" fmla="*/ 40 w 123"/>
                <a:gd name="T11" fmla="*/ 21 h 124"/>
                <a:gd name="T12" fmla="*/ 61 w 123"/>
                <a:gd name="T13" fmla="*/ 41 h 124"/>
                <a:gd name="T14" fmla="*/ 82 w 123"/>
                <a:gd name="T15" fmla="*/ 41 h 124"/>
                <a:gd name="T16" fmla="*/ 122 w 123"/>
                <a:gd name="T17" fmla="*/ 62 h 124"/>
                <a:gd name="T18" fmla="*/ 122 w 123"/>
                <a:gd name="T19" fmla="*/ 82 h 124"/>
                <a:gd name="T20" fmla="*/ 102 w 123"/>
                <a:gd name="T21" fmla="*/ 103 h 124"/>
                <a:gd name="T22" fmla="*/ 82 w 123"/>
                <a:gd name="T23" fmla="*/ 103 h 124"/>
                <a:gd name="T24" fmla="*/ 61 w 123"/>
                <a:gd name="T25" fmla="*/ 103 h 124"/>
                <a:gd name="T26" fmla="*/ 20 w 123"/>
                <a:gd name="T27" fmla="*/ 103 h 124"/>
                <a:gd name="T28" fmla="*/ 0 w 123"/>
                <a:gd name="T29"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3" h="124">
                  <a:moveTo>
                    <a:pt x="0" y="62"/>
                  </a:moveTo>
                  <a:lnTo>
                    <a:pt x="0" y="62"/>
                  </a:lnTo>
                  <a:cubicBezTo>
                    <a:pt x="0" y="62"/>
                    <a:pt x="0" y="41"/>
                    <a:pt x="0" y="21"/>
                  </a:cubicBezTo>
                  <a:lnTo>
                    <a:pt x="0" y="21"/>
                  </a:lnTo>
                  <a:cubicBezTo>
                    <a:pt x="0" y="0"/>
                    <a:pt x="20" y="0"/>
                    <a:pt x="20" y="0"/>
                  </a:cubicBezTo>
                  <a:lnTo>
                    <a:pt x="40" y="21"/>
                  </a:lnTo>
                  <a:cubicBezTo>
                    <a:pt x="40" y="21"/>
                    <a:pt x="40" y="21"/>
                    <a:pt x="61" y="41"/>
                  </a:cubicBezTo>
                  <a:lnTo>
                    <a:pt x="82" y="41"/>
                  </a:lnTo>
                  <a:cubicBezTo>
                    <a:pt x="82" y="41"/>
                    <a:pt x="102" y="62"/>
                    <a:pt x="122" y="62"/>
                  </a:cubicBezTo>
                  <a:lnTo>
                    <a:pt x="122" y="82"/>
                  </a:lnTo>
                  <a:cubicBezTo>
                    <a:pt x="122" y="82"/>
                    <a:pt x="122" y="103"/>
                    <a:pt x="102" y="103"/>
                  </a:cubicBezTo>
                  <a:lnTo>
                    <a:pt x="82" y="103"/>
                  </a:lnTo>
                  <a:cubicBezTo>
                    <a:pt x="82" y="103"/>
                    <a:pt x="61" y="123"/>
                    <a:pt x="61" y="103"/>
                  </a:cubicBezTo>
                  <a:cubicBezTo>
                    <a:pt x="40" y="103"/>
                    <a:pt x="40" y="103"/>
                    <a:pt x="20" y="103"/>
                  </a:cubicBezTo>
                  <a:cubicBezTo>
                    <a:pt x="20" y="82"/>
                    <a:pt x="20" y="82"/>
                    <a:pt x="0"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2" name="Freeform 499">
              <a:extLst>
                <a:ext uri="{FF2B5EF4-FFF2-40B4-BE49-F238E27FC236}">
                  <a16:creationId xmlns:a16="http://schemas.microsoft.com/office/drawing/2014/main" id="{DB8CCDC0-EC02-C745-B382-563436F9A6A2}"/>
                </a:ext>
              </a:extLst>
            </p:cNvPr>
            <p:cNvSpPr>
              <a:spLocks noChangeArrowheads="1"/>
            </p:cNvSpPr>
            <p:nvPr/>
          </p:nvSpPr>
          <p:spPr bwMode="auto">
            <a:xfrm>
              <a:off x="7013575" y="8145463"/>
              <a:ext cx="7938" cy="15875"/>
            </a:xfrm>
            <a:custGeom>
              <a:avLst/>
              <a:gdLst>
                <a:gd name="T0" fmla="*/ 0 w 21"/>
                <a:gd name="T1" fmla="*/ 0 h 42"/>
                <a:gd name="T2" fmla="*/ 0 w 21"/>
                <a:gd name="T3" fmla="*/ 0 h 42"/>
                <a:gd name="T4" fmla="*/ 0 w 21"/>
                <a:gd name="T5" fmla="*/ 0 h 42"/>
                <a:gd name="T6" fmla="*/ 0 w 21"/>
                <a:gd name="T7" fmla="*/ 20 h 42"/>
                <a:gd name="T8" fmla="*/ 20 w 21"/>
                <a:gd name="T9" fmla="*/ 41 h 42"/>
                <a:gd name="T10" fmla="*/ 20 w 21"/>
                <a:gd name="T11" fmla="*/ 20 h 42"/>
                <a:gd name="T12" fmla="*/ 0 w 21"/>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0" y="0"/>
                  </a:moveTo>
                  <a:lnTo>
                    <a:pt x="0" y="0"/>
                  </a:lnTo>
                  <a:lnTo>
                    <a:pt x="0" y="0"/>
                  </a:lnTo>
                  <a:cubicBezTo>
                    <a:pt x="0" y="20"/>
                    <a:pt x="0" y="20"/>
                    <a:pt x="0" y="20"/>
                  </a:cubicBezTo>
                  <a:cubicBezTo>
                    <a:pt x="0" y="20"/>
                    <a:pt x="0" y="41"/>
                    <a:pt x="20" y="41"/>
                  </a:cubicBezTo>
                  <a:lnTo>
                    <a:pt x="20" y="20"/>
                  </a:lnTo>
                  <a:cubicBezTo>
                    <a:pt x="20" y="2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3" name="Freeform 500">
              <a:extLst>
                <a:ext uri="{FF2B5EF4-FFF2-40B4-BE49-F238E27FC236}">
                  <a16:creationId xmlns:a16="http://schemas.microsoft.com/office/drawing/2014/main" id="{2A311FAC-D15A-A145-8787-15024386060E}"/>
                </a:ext>
              </a:extLst>
            </p:cNvPr>
            <p:cNvSpPr>
              <a:spLocks noChangeArrowheads="1"/>
            </p:cNvSpPr>
            <p:nvPr/>
          </p:nvSpPr>
          <p:spPr bwMode="auto">
            <a:xfrm>
              <a:off x="6969125" y="8153400"/>
              <a:ext cx="7938" cy="7938"/>
            </a:xfrm>
            <a:custGeom>
              <a:avLst/>
              <a:gdLst>
                <a:gd name="T0" fmla="*/ 0 w 21"/>
                <a:gd name="T1" fmla="*/ 0 h 22"/>
                <a:gd name="T2" fmla="*/ 0 w 21"/>
                <a:gd name="T3" fmla="*/ 0 h 22"/>
                <a:gd name="T4" fmla="*/ 0 w 21"/>
                <a:gd name="T5" fmla="*/ 0 h 22"/>
                <a:gd name="T6" fmla="*/ 20 w 21"/>
                <a:gd name="T7" fmla="*/ 21 h 22"/>
                <a:gd name="T8" fmla="*/ 20 w 21"/>
                <a:gd name="T9" fmla="*/ 21 h 22"/>
                <a:gd name="T10" fmla="*/ 20 w 21"/>
                <a:gd name="T11" fmla="*/ 0 h 22"/>
                <a:gd name="T12" fmla="*/ 0 w 21"/>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0" y="0"/>
                  </a:moveTo>
                  <a:lnTo>
                    <a:pt x="0" y="0"/>
                  </a:lnTo>
                  <a:lnTo>
                    <a:pt x="0" y="0"/>
                  </a:lnTo>
                  <a:cubicBezTo>
                    <a:pt x="0" y="21"/>
                    <a:pt x="0" y="21"/>
                    <a:pt x="20" y="21"/>
                  </a:cubicBezTo>
                  <a:lnTo>
                    <a:pt x="20" y="21"/>
                  </a:lnTo>
                  <a:cubicBezTo>
                    <a:pt x="20" y="0"/>
                    <a:pt x="20" y="0"/>
                    <a:pt x="20" y="0"/>
                  </a:cubicBez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4" name="Freeform 501">
              <a:extLst>
                <a:ext uri="{FF2B5EF4-FFF2-40B4-BE49-F238E27FC236}">
                  <a16:creationId xmlns:a16="http://schemas.microsoft.com/office/drawing/2014/main" id="{BB4F4629-B1F0-2A49-ADFC-FCF721242CEA}"/>
                </a:ext>
              </a:extLst>
            </p:cNvPr>
            <p:cNvSpPr>
              <a:spLocks noChangeArrowheads="1"/>
            </p:cNvSpPr>
            <p:nvPr/>
          </p:nvSpPr>
          <p:spPr bwMode="auto">
            <a:xfrm>
              <a:off x="7146925" y="8042275"/>
              <a:ext cx="7938" cy="15875"/>
            </a:xfrm>
            <a:custGeom>
              <a:avLst/>
              <a:gdLst>
                <a:gd name="T0" fmla="*/ 0 w 21"/>
                <a:gd name="T1" fmla="*/ 0 h 42"/>
                <a:gd name="T2" fmla="*/ 0 w 21"/>
                <a:gd name="T3" fmla="*/ 0 h 42"/>
                <a:gd name="T4" fmla="*/ 0 w 21"/>
                <a:gd name="T5" fmla="*/ 20 h 42"/>
                <a:gd name="T6" fmla="*/ 0 w 21"/>
                <a:gd name="T7" fmla="*/ 20 h 42"/>
                <a:gd name="T8" fmla="*/ 0 w 21"/>
                <a:gd name="T9" fmla="*/ 41 h 42"/>
                <a:gd name="T10" fmla="*/ 20 w 21"/>
                <a:gd name="T11" fmla="*/ 20 h 42"/>
                <a:gd name="T12" fmla="*/ 0 w 21"/>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0" y="0"/>
                  </a:moveTo>
                  <a:lnTo>
                    <a:pt x="0" y="0"/>
                  </a:lnTo>
                  <a:cubicBezTo>
                    <a:pt x="0" y="0"/>
                    <a:pt x="0" y="0"/>
                    <a:pt x="0" y="20"/>
                  </a:cubicBezTo>
                  <a:lnTo>
                    <a:pt x="0" y="20"/>
                  </a:lnTo>
                  <a:cubicBezTo>
                    <a:pt x="0" y="41"/>
                    <a:pt x="0" y="41"/>
                    <a:pt x="0" y="41"/>
                  </a:cubicBezTo>
                  <a:cubicBezTo>
                    <a:pt x="20" y="41"/>
                    <a:pt x="20" y="20"/>
                    <a:pt x="20" y="20"/>
                  </a:cubicBezTo>
                  <a:cubicBezTo>
                    <a:pt x="20" y="20"/>
                    <a:pt x="0" y="2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5" name="Freeform 502">
              <a:extLst>
                <a:ext uri="{FF2B5EF4-FFF2-40B4-BE49-F238E27FC236}">
                  <a16:creationId xmlns:a16="http://schemas.microsoft.com/office/drawing/2014/main" id="{14648DEE-74DC-4E46-9392-98E44D8F67D6}"/>
                </a:ext>
              </a:extLst>
            </p:cNvPr>
            <p:cNvSpPr>
              <a:spLocks noChangeArrowheads="1"/>
            </p:cNvSpPr>
            <p:nvPr/>
          </p:nvSpPr>
          <p:spPr bwMode="auto">
            <a:xfrm>
              <a:off x="7138988" y="8064500"/>
              <a:ext cx="7937" cy="7938"/>
            </a:xfrm>
            <a:custGeom>
              <a:avLst/>
              <a:gdLst>
                <a:gd name="T0" fmla="*/ 21 w 22"/>
                <a:gd name="T1" fmla="*/ 0 h 22"/>
                <a:gd name="T2" fmla="*/ 21 w 22"/>
                <a:gd name="T3" fmla="*/ 0 h 22"/>
                <a:gd name="T4" fmla="*/ 0 w 22"/>
                <a:gd name="T5" fmla="*/ 0 h 22"/>
                <a:gd name="T6" fmla="*/ 0 w 22"/>
                <a:gd name="T7" fmla="*/ 21 h 22"/>
                <a:gd name="T8" fmla="*/ 21 w 22"/>
                <a:gd name="T9" fmla="*/ 21 h 22"/>
                <a:gd name="T10" fmla="*/ 21 w 22"/>
                <a:gd name="T11" fmla="*/ 0 h 22"/>
              </a:gdLst>
              <a:ahLst/>
              <a:cxnLst>
                <a:cxn ang="0">
                  <a:pos x="T0" y="T1"/>
                </a:cxn>
                <a:cxn ang="0">
                  <a:pos x="T2" y="T3"/>
                </a:cxn>
                <a:cxn ang="0">
                  <a:pos x="T4" y="T5"/>
                </a:cxn>
                <a:cxn ang="0">
                  <a:pos x="T6" y="T7"/>
                </a:cxn>
                <a:cxn ang="0">
                  <a:pos x="T8" y="T9"/>
                </a:cxn>
                <a:cxn ang="0">
                  <a:pos x="T10" y="T11"/>
                </a:cxn>
              </a:cxnLst>
              <a:rect l="0" t="0" r="r" b="b"/>
              <a:pathLst>
                <a:path w="22" h="22">
                  <a:moveTo>
                    <a:pt x="21" y="0"/>
                  </a:moveTo>
                  <a:lnTo>
                    <a:pt x="21" y="0"/>
                  </a:lnTo>
                  <a:lnTo>
                    <a:pt x="0" y="0"/>
                  </a:lnTo>
                  <a:lnTo>
                    <a:pt x="0" y="21"/>
                  </a:lnTo>
                  <a:lnTo>
                    <a:pt x="21" y="21"/>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6" name="Freeform 503">
              <a:extLst>
                <a:ext uri="{FF2B5EF4-FFF2-40B4-BE49-F238E27FC236}">
                  <a16:creationId xmlns:a16="http://schemas.microsoft.com/office/drawing/2014/main" id="{BF279649-B7AD-C940-BC9E-9893FE424FEE}"/>
                </a:ext>
              </a:extLst>
            </p:cNvPr>
            <p:cNvSpPr>
              <a:spLocks noChangeArrowheads="1"/>
            </p:cNvSpPr>
            <p:nvPr/>
          </p:nvSpPr>
          <p:spPr bwMode="auto">
            <a:xfrm>
              <a:off x="6754813" y="7953375"/>
              <a:ext cx="74612" cy="44450"/>
            </a:xfrm>
            <a:custGeom>
              <a:avLst/>
              <a:gdLst>
                <a:gd name="T0" fmla="*/ 144 w 206"/>
                <a:gd name="T1" fmla="*/ 82 h 124"/>
                <a:gd name="T2" fmla="*/ 144 w 206"/>
                <a:gd name="T3" fmla="*/ 82 h 124"/>
                <a:gd name="T4" fmla="*/ 144 w 206"/>
                <a:gd name="T5" fmla="*/ 102 h 124"/>
                <a:gd name="T6" fmla="*/ 185 w 206"/>
                <a:gd name="T7" fmla="*/ 102 h 124"/>
                <a:gd name="T8" fmla="*/ 205 w 206"/>
                <a:gd name="T9" fmla="*/ 82 h 124"/>
                <a:gd name="T10" fmla="*/ 205 w 206"/>
                <a:gd name="T11" fmla="*/ 62 h 124"/>
                <a:gd name="T12" fmla="*/ 185 w 206"/>
                <a:gd name="T13" fmla="*/ 41 h 124"/>
                <a:gd name="T14" fmla="*/ 164 w 206"/>
                <a:gd name="T15" fmla="*/ 20 h 124"/>
                <a:gd name="T16" fmla="*/ 144 w 206"/>
                <a:gd name="T17" fmla="*/ 0 h 124"/>
                <a:gd name="T18" fmla="*/ 82 w 206"/>
                <a:gd name="T19" fmla="*/ 0 h 124"/>
                <a:gd name="T20" fmla="*/ 62 w 206"/>
                <a:gd name="T21" fmla="*/ 20 h 124"/>
                <a:gd name="T22" fmla="*/ 41 w 206"/>
                <a:gd name="T23" fmla="*/ 41 h 124"/>
                <a:gd name="T24" fmla="*/ 21 w 206"/>
                <a:gd name="T25" fmla="*/ 62 h 124"/>
                <a:gd name="T26" fmla="*/ 0 w 206"/>
                <a:gd name="T27" fmla="*/ 82 h 124"/>
                <a:gd name="T28" fmla="*/ 21 w 206"/>
                <a:gd name="T29" fmla="*/ 82 h 124"/>
                <a:gd name="T30" fmla="*/ 41 w 206"/>
                <a:gd name="T31" fmla="*/ 102 h 124"/>
                <a:gd name="T32" fmla="*/ 62 w 206"/>
                <a:gd name="T33" fmla="*/ 102 h 124"/>
                <a:gd name="T34" fmla="*/ 82 w 206"/>
                <a:gd name="T35" fmla="*/ 123 h 124"/>
                <a:gd name="T36" fmla="*/ 103 w 206"/>
                <a:gd name="T37" fmla="*/ 123 h 124"/>
                <a:gd name="T38" fmla="*/ 123 w 206"/>
                <a:gd name="T39" fmla="*/ 102 h 124"/>
                <a:gd name="T40" fmla="*/ 123 w 206"/>
                <a:gd name="T41" fmla="*/ 82 h 124"/>
                <a:gd name="T42" fmla="*/ 144 w 206"/>
                <a:gd name="T43" fmla="*/ 8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6" h="124">
                  <a:moveTo>
                    <a:pt x="144" y="82"/>
                  </a:moveTo>
                  <a:lnTo>
                    <a:pt x="144" y="82"/>
                  </a:lnTo>
                  <a:lnTo>
                    <a:pt x="144" y="102"/>
                  </a:lnTo>
                  <a:cubicBezTo>
                    <a:pt x="144" y="102"/>
                    <a:pt x="164" y="102"/>
                    <a:pt x="185" y="102"/>
                  </a:cubicBezTo>
                  <a:lnTo>
                    <a:pt x="205" y="82"/>
                  </a:lnTo>
                  <a:lnTo>
                    <a:pt x="205" y="62"/>
                  </a:lnTo>
                  <a:lnTo>
                    <a:pt x="185" y="41"/>
                  </a:lnTo>
                  <a:cubicBezTo>
                    <a:pt x="185" y="41"/>
                    <a:pt x="185" y="20"/>
                    <a:pt x="164" y="20"/>
                  </a:cubicBezTo>
                  <a:cubicBezTo>
                    <a:pt x="164" y="0"/>
                    <a:pt x="144" y="0"/>
                    <a:pt x="144" y="0"/>
                  </a:cubicBezTo>
                  <a:cubicBezTo>
                    <a:pt x="123" y="0"/>
                    <a:pt x="103" y="0"/>
                    <a:pt x="82" y="0"/>
                  </a:cubicBezTo>
                  <a:cubicBezTo>
                    <a:pt x="82" y="20"/>
                    <a:pt x="82" y="20"/>
                    <a:pt x="62" y="20"/>
                  </a:cubicBezTo>
                  <a:cubicBezTo>
                    <a:pt x="62" y="41"/>
                    <a:pt x="41" y="41"/>
                    <a:pt x="41" y="41"/>
                  </a:cubicBezTo>
                  <a:cubicBezTo>
                    <a:pt x="41" y="41"/>
                    <a:pt x="21" y="41"/>
                    <a:pt x="21" y="62"/>
                  </a:cubicBezTo>
                  <a:cubicBezTo>
                    <a:pt x="0" y="62"/>
                    <a:pt x="0" y="62"/>
                    <a:pt x="0" y="82"/>
                  </a:cubicBezTo>
                  <a:lnTo>
                    <a:pt x="21" y="82"/>
                  </a:lnTo>
                  <a:lnTo>
                    <a:pt x="41" y="102"/>
                  </a:lnTo>
                  <a:lnTo>
                    <a:pt x="62" y="102"/>
                  </a:lnTo>
                  <a:cubicBezTo>
                    <a:pt x="82" y="102"/>
                    <a:pt x="82" y="123"/>
                    <a:pt x="82" y="123"/>
                  </a:cubicBezTo>
                  <a:cubicBezTo>
                    <a:pt x="103" y="123"/>
                    <a:pt x="103" y="123"/>
                    <a:pt x="103" y="123"/>
                  </a:cubicBezTo>
                  <a:cubicBezTo>
                    <a:pt x="123" y="123"/>
                    <a:pt x="123" y="102"/>
                    <a:pt x="123" y="102"/>
                  </a:cubicBezTo>
                  <a:lnTo>
                    <a:pt x="123" y="82"/>
                  </a:lnTo>
                  <a:cubicBezTo>
                    <a:pt x="123" y="82"/>
                    <a:pt x="123" y="82"/>
                    <a:pt x="144"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7" name="Freeform 504">
              <a:extLst>
                <a:ext uri="{FF2B5EF4-FFF2-40B4-BE49-F238E27FC236}">
                  <a16:creationId xmlns:a16="http://schemas.microsoft.com/office/drawing/2014/main" id="{60A39A99-89D4-8244-AE22-A70207F5F374}"/>
                </a:ext>
              </a:extLst>
            </p:cNvPr>
            <p:cNvSpPr>
              <a:spLocks noChangeArrowheads="1"/>
            </p:cNvSpPr>
            <p:nvPr/>
          </p:nvSpPr>
          <p:spPr bwMode="auto">
            <a:xfrm>
              <a:off x="6762750" y="7997825"/>
              <a:ext cx="15875" cy="15875"/>
            </a:xfrm>
            <a:custGeom>
              <a:avLst/>
              <a:gdLst>
                <a:gd name="T0" fmla="*/ 41 w 42"/>
                <a:gd name="T1" fmla="*/ 41 h 42"/>
                <a:gd name="T2" fmla="*/ 41 w 42"/>
                <a:gd name="T3" fmla="*/ 41 h 42"/>
                <a:gd name="T4" fmla="*/ 20 w 42"/>
                <a:gd name="T5" fmla="*/ 41 h 42"/>
                <a:gd name="T6" fmla="*/ 0 w 42"/>
                <a:gd name="T7" fmla="*/ 20 h 42"/>
                <a:gd name="T8" fmla="*/ 20 w 42"/>
                <a:gd name="T9" fmla="*/ 20 h 42"/>
                <a:gd name="T10" fmla="*/ 41 w 42"/>
                <a:gd name="T11" fmla="*/ 0 h 42"/>
                <a:gd name="T12" fmla="*/ 41 w 42"/>
                <a:gd name="T13" fmla="*/ 20 h 42"/>
                <a:gd name="T14" fmla="*/ 41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1" y="41"/>
                  </a:moveTo>
                  <a:lnTo>
                    <a:pt x="41" y="41"/>
                  </a:lnTo>
                  <a:lnTo>
                    <a:pt x="20" y="41"/>
                  </a:lnTo>
                  <a:cubicBezTo>
                    <a:pt x="0" y="41"/>
                    <a:pt x="0" y="20"/>
                    <a:pt x="0" y="20"/>
                  </a:cubicBezTo>
                  <a:lnTo>
                    <a:pt x="20" y="20"/>
                  </a:lnTo>
                  <a:cubicBezTo>
                    <a:pt x="20" y="20"/>
                    <a:pt x="20" y="0"/>
                    <a:pt x="41" y="0"/>
                  </a:cubicBezTo>
                  <a:lnTo>
                    <a:pt x="41" y="20"/>
                  </a:lnTo>
                  <a:cubicBezTo>
                    <a:pt x="41" y="20"/>
                    <a:pt x="41" y="20"/>
                    <a:pt x="4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8" name="Freeform 505">
              <a:extLst>
                <a:ext uri="{FF2B5EF4-FFF2-40B4-BE49-F238E27FC236}">
                  <a16:creationId xmlns:a16="http://schemas.microsoft.com/office/drawing/2014/main" id="{7BD8636E-AD2A-3F44-9098-9713450B1921}"/>
                </a:ext>
              </a:extLst>
            </p:cNvPr>
            <p:cNvSpPr>
              <a:spLocks noChangeArrowheads="1"/>
            </p:cNvSpPr>
            <p:nvPr/>
          </p:nvSpPr>
          <p:spPr bwMode="auto">
            <a:xfrm>
              <a:off x="6762750" y="8027988"/>
              <a:ext cx="30163" cy="15875"/>
            </a:xfrm>
            <a:custGeom>
              <a:avLst/>
              <a:gdLst>
                <a:gd name="T0" fmla="*/ 61 w 83"/>
                <a:gd name="T1" fmla="*/ 20 h 42"/>
                <a:gd name="T2" fmla="*/ 61 w 83"/>
                <a:gd name="T3" fmla="*/ 20 h 42"/>
                <a:gd name="T4" fmla="*/ 82 w 83"/>
                <a:gd name="T5" fmla="*/ 20 h 42"/>
                <a:gd name="T6" fmla="*/ 82 w 83"/>
                <a:gd name="T7" fmla="*/ 0 h 42"/>
                <a:gd name="T8" fmla="*/ 61 w 83"/>
                <a:gd name="T9" fmla="*/ 0 h 42"/>
                <a:gd name="T10" fmla="*/ 20 w 83"/>
                <a:gd name="T11" fmla="*/ 0 h 42"/>
                <a:gd name="T12" fmla="*/ 20 w 83"/>
                <a:gd name="T13" fmla="*/ 0 h 42"/>
                <a:gd name="T14" fmla="*/ 20 w 83"/>
                <a:gd name="T15" fmla="*/ 20 h 42"/>
                <a:gd name="T16" fmla="*/ 20 w 83"/>
                <a:gd name="T17" fmla="*/ 41 h 42"/>
                <a:gd name="T18" fmla="*/ 61 w 83"/>
                <a:gd name="T19" fmla="*/ 41 h 42"/>
                <a:gd name="T20" fmla="*/ 61 w 83"/>
                <a:gd name="T21"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42">
                  <a:moveTo>
                    <a:pt x="61" y="20"/>
                  </a:moveTo>
                  <a:lnTo>
                    <a:pt x="61" y="20"/>
                  </a:lnTo>
                  <a:lnTo>
                    <a:pt x="82" y="20"/>
                  </a:lnTo>
                  <a:cubicBezTo>
                    <a:pt x="82" y="0"/>
                    <a:pt x="82" y="0"/>
                    <a:pt x="82" y="0"/>
                  </a:cubicBezTo>
                  <a:cubicBezTo>
                    <a:pt x="61" y="0"/>
                    <a:pt x="61" y="0"/>
                    <a:pt x="61" y="0"/>
                  </a:cubicBezTo>
                  <a:cubicBezTo>
                    <a:pt x="41" y="0"/>
                    <a:pt x="41" y="0"/>
                    <a:pt x="20" y="0"/>
                  </a:cubicBezTo>
                  <a:lnTo>
                    <a:pt x="20" y="0"/>
                  </a:lnTo>
                  <a:cubicBezTo>
                    <a:pt x="20" y="0"/>
                    <a:pt x="0" y="20"/>
                    <a:pt x="20" y="20"/>
                  </a:cubicBezTo>
                  <a:cubicBezTo>
                    <a:pt x="20" y="20"/>
                    <a:pt x="20" y="20"/>
                    <a:pt x="20" y="41"/>
                  </a:cubicBezTo>
                  <a:cubicBezTo>
                    <a:pt x="41" y="41"/>
                    <a:pt x="41" y="41"/>
                    <a:pt x="61" y="41"/>
                  </a:cubicBezTo>
                  <a:cubicBezTo>
                    <a:pt x="61" y="20"/>
                    <a:pt x="61" y="20"/>
                    <a:pt x="6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09" name="Freeform 506">
              <a:extLst>
                <a:ext uri="{FF2B5EF4-FFF2-40B4-BE49-F238E27FC236}">
                  <a16:creationId xmlns:a16="http://schemas.microsoft.com/office/drawing/2014/main" id="{DE058EE1-AEF2-1448-9E52-EFB222679352}"/>
                </a:ext>
              </a:extLst>
            </p:cNvPr>
            <p:cNvSpPr>
              <a:spLocks noChangeArrowheads="1"/>
            </p:cNvSpPr>
            <p:nvPr/>
          </p:nvSpPr>
          <p:spPr bwMode="auto">
            <a:xfrm>
              <a:off x="6784975" y="8042275"/>
              <a:ext cx="15875" cy="22225"/>
            </a:xfrm>
            <a:custGeom>
              <a:avLst/>
              <a:gdLst>
                <a:gd name="T0" fmla="*/ 41 w 42"/>
                <a:gd name="T1" fmla="*/ 41 h 62"/>
                <a:gd name="T2" fmla="*/ 41 w 42"/>
                <a:gd name="T3" fmla="*/ 41 h 62"/>
                <a:gd name="T4" fmla="*/ 41 w 42"/>
                <a:gd name="T5" fmla="*/ 20 h 62"/>
                <a:gd name="T6" fmla="*/ 41 w 42"/>
                <a:gd name="T7" fmla="*/ 0 h 62"/>
                <a:gd name="T8" fmla="*/ 21 w 42"/>
                <a:gd name="T9" fmla="*/ 0 h 62"/>
                <a:gd name="T10" fmla="*/ 0 w 42"/>
                <a:gd name="T11" fmla="*/ 0 h 62"/>
                <a:gd name="T12" fmla="*/ 0 w 42"/>
                <a:gd name="T13" fmla="*/ 20 h 62"/>
                <a:gd name="T14" fmla="*/ 0 w 42"/>
                <a:gd name="T15" fmla="*/ 41 h 62"/>
                <a:gd name="T16" fmla="*/ 21 w 42"/>
                <a:gd name="T17" fmla="*/ 61 h 62"/>
                <a:gd name="T18" fmla="*/ 41 w 42"/>
                <a:gd name="T19"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2">
                  <a:moveTo>
                    <a:pt x="41" y="41"/>
                  </a:moveTo>
                  <a:lnTo>
                    <a:pt x="41" y="41"/>
                  </a:lnTo>
                  <a:lnTo>
                    <a:pt x="41" y="20"/>
                  </a:lnTo>
                  <a:lnTo>
                    <a:pt x="41" y="0"/>
                  </a:lnTo>
                  <a:lnTo>
                    <a:pt x="21" y="0"/>
                  </a:lnTo>
                  <a:lnTo>
                    <a:pt x="0" y="0"/>
                  </a:lnTo>
                  <a:cubicBezTo>
                    <a:pt x="0" y="20"/>
                    <a:pt x="0" y="20"/>
                    <a:pt x="0" y="20"/>
                  </a:cubicBezTo>
                  <a:cubicBezTo>
                    <a:pt x="0" y="41"/>
                    <a:pt x="0" y="41"/>
                    <a:pt x="0" y="41"/>
                  </a:cubicBezTo>
                  <a:cubicBezTo>
                    <a:pt x="21" y="41"/>
                    <a:pt x="21" y="61"/>
                    <a:pt x="21" y="61"/>
                  </a:cubicBezTo>
                  <a:lnTo>
                    <a:pt x="4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0" name="Freeform 507">
              <a:extLst>
                <a:ext uri="{FF2B5EF4-FFF2-40B4-BE49-F238E27FC236}">
                  <a16:creationId xmlns:a16="http://schemas.microsoft.com/office/drawing/2014/main" id="{511EB6FE-847C-EC4F-B189-B694C61CC73C}"/>
                </a:ext>
              </a:extLst>
            </p:cNvPr>
            <p:cNvSpPr>
              <a:spLocks noChangeArrowheads="1"/>
            </p:cNvSpPr>
            <p:nvPr/>
          </p:nvSpPr>
          <p:spPr bwMode="auto">
            <a:xfrm>
              <a:off x="6718300" y="8101013"/>
              <a:ext cx="44450" cy="30162"/>
            </a:xfrm>
            <a:custGeom>
              <a:avLst/>
              <a:gdLst>
                <a:gd name="T0" fmla="*/ 123 w 124"/>
                <a:gd name="T1" fmla="*/ 61 h 83"/>
                <a:gd name="T2" fmla="*/ 123 w 124"/>
                <a:gd name="T3" fmla="*/ 61 h 83"/>
                <a:gd name="T4" fmla="*/ 123 w 124"/>
                <a:gd name="T5" fmla="*/ 41 h 83"/>
                <a:gd name="T6" fmla="*/ 102 w 124"/>
                <a:gd name="T7" fmla="*/ 20 h 83"/>
                <a:gd name="T8" fmla="*/ 82 w 124"/>
                <a:gd name="T9" fmla="*/ 0 h 83"/>
                <a:gd name="T10" fmla="*/ 41 w 124"/>
                <a:gd name="T11" fmla="*/ 0 h 83"/>
                <a:gd name="T12" fmla="*/ 0 w 124"/>
                <a:gd name="T13" fmla="*/ 20 h 83"/>
                <a:gd name="T14" fmla="*/ 0 w 124"/>
                <a:gd name="T15" fmla="*/ 41 h 83"/>
                <a:gd name="T16" fmla="*/ 0 w 124"/>
                <a:gd name="T17" fmla="*/ 61 h 83"/>
                <a:gd name="T18" fmla="*/ 41 w 124"/>
                <a:gd name="T19" fmla="*/ 82 h 83"/>
                <a:gd name="T20" fmla="*/ 82 w 124"/>
                <a:gd name="T21" fmla="*/ 82 h 83"/>
                <a:gd name="T22" fmla="*/ 102 w 124"/>
                <a:gd name="T23" fmla="*/ 82 h 83"/>
                <a:gd name="T24" fmla="*/ 123 w 124"/>
                <a:gd name="T25" fmla="*/ 6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 h="83">
                  <a:moveTo>
                    <a:pt x="123" y="61"/>
                  </a:moveTo>
                  <a:lnTo>
                    <a:pt x="123" y="61"/>
                  </a:lnTo>
                  <a:lnTo>
                    <a:pt x="123" y="41"/>
                  </a:lnTo>
                  <a:cubicBezTo>
                    <a:pt x="102" y="41"/>
                    <a:pt x="123" y="20"/>
                    <a:pt x="102" y="20"/>
                  </a:cubicBezTo>
                  <a:cubicBezTo>
                    <a:pt x="102" y="0"/>
                    <a:pt x="102" y="0"/>
                    <a:pt x="82" y="0"/>
                  </a:cubicBezTo>
                  <a:cubicBezTo>
                    <a:pt x="82" y="0"/>
                    <a:pt x="62" y="0"/>
                    <a:pt x="41" y="0"/>
                  </a:cubicBezTo>
                  <a:cubicBezTo>
                    <a:pt x="41" y="0"/>
                    <a:pt x="20" y="0"/>
                    <a:pt x="0" y="20"/>
                  </a:cubicBezTo>
                  <a:cubicBezTo>
                    <a:pt x="0" y="20"/>
                    <a:pt x="0" y="20"/>
                    <a:pt x="0" y="41"/>
                  </a:cubicBezTo>
                  <a:lnTo>
                    <a:pt x="0" y="61"/>
                  </a:lnTo>
                  <a:cubicBezTo>
                    <a:pt x="20" y="61"/>
                    <a:pt x="41" y="82"/>
                    <a:pt x="41" y="82"/>
                  </a:cubicBezTo>
                  <a:cubicBezTo>
                    <a:pt x="41" y="82"/>
                    <a:pt x="62" y="82"/>
                    <a:pt x="82" y="82"/>
                  </a:cubicBezTo>
                  <a:lnTo>
                    <a:pt x="102" y="82"/>
                  </a:lnTo>
                  <a:cubicBezTo>
                    <a:pt x="102" y="82"/>
                    <a:pt x="123" y="82"/>
                    <a:pt x="123"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1" name="Freeform 508">
              <a:extLst>
                <a:ext uri="{FF2B5EF4-FFF2-40B4-BE49-F238E27FC236}">
                  <a16:creationId xmlns:a16="http://schemas.microsoft.com/office/drawing/2014/main" id="{D5C71C4B-BB51-F74B-9D92-89E848CA6BA4}"/>
                </a:ext>
              </a:extLst>
            </p:cNvPr>
            <p:cNvSpPr>
              <a:spLocks noChangeArrowheads="1"/>
            </p:cNvSpPr>
            <p:nvPr/>
          </p:nvSpPr>
          <p:spPr bwMode="auto">
            <a:xfrm>
              <a:off x="6748463" y="8137525"/>
              <a:ext cx="15875" cy="15875"/>
            </a:xfrm>
            <a:custGeom>
              <a:avLst/>
              <a:gdLst>
                <a:gd name="T0" fmla="*/ 20 w 42"/>
                <a:gd name="T1" fmla="*/ 41 h 42"/>
                <a:gd name="T2" fmla="*/ 20 w 42"/>
                <a:gd name="T3" fmla="*/ 41 h 42"/>
                <a:gd name="T4" fmla="*/ 41 w 42"/>
                <a:gd name="T5" fmla="*/ 21 h 42"/>
                <a:gd name="T6" fmla="*/ 20 w 42"/>
                <a:gd name="T7" fmla="*/ 0 h 42"/>
                <a:gd name="T8" fmla="*/ 20 w 42"/>
                <a:gd name="T9" fmla="*/ 21 h 42"/>
                <a:gd name="T10" fmla="*/ 20 w 42"/>
                <a:gd name="T11" fmla="*/ 21 h 42"/>
                <a:gd name="T12" fmla="*/ 20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1"/>
                  </a:moveTo>
                  <a:lnTo>
                    <a:pt x="20" y="41"/>
                  </a:lnTo>
                  <a:cubicBezTo>
                    <a:pt x="41" y="21"/>
                    <a:pt x="41" y="21"/>
                    <a:pt x="41" y="21"/>
                  </a:cubicBezTo>
                  <a:lnTo>
                    <a:pt x="20" y="0"/>
                  </a:lnTo>
                  <a:cubicBezTo>
                    <a:pt x="20" y="0"/>
                    <a:pt x="20" y="0"/>
                    <a:pt x="20" y="21"/>
                  </a:cubicBezTo>
                  <a:cubicBezTo>
                    <a:pt x="0" y="21"/>
                    <a:pt x="20" y="21"/>
                    <a:pt x="20" y="21"/>
                  </a:cubicBez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2" name="Freeform 509">
              <a:extLst>
                <a:ext uri="{FF2B5EF4-FFF2-40B4-BE49-F238E27FC236}">
                  <a16:creationId xmlns:a16="http://schemas.microsoft.com/office/drawing/2014/main" id="{52494D15-19D0-CB4D-B16E-5CBA88BEE107}"/>
                </a:ext>
              </a:extLst>
            </p:cNvPr>
            <p:cNvSpPr>
              <a:spLocks noChangeArrowheads="1"/>
            </p:cNvSpPr>
            <p:nvPr/>
          </p:nvSpPr>
          <p:spPr bwMode="auto">
            <a:xfrm>
              <a:off x="6770688" y="8145463"/>
              <a:ext cx="7937" cy="7937"/>
            </a:xfrm>
            <a:custGeom>
              <a:avLst/>
              <a:gdLst>
                <a:gd name="T0" fmla="*/ 21 w 22"/>
                <a:gd name="T1" fmla="*/ 0 h 21"/>
                <a:gd name="T2" fmla="*/ 21 w 22"/>
                <a:gd name="T3" fmla="*/ 0 h 21"/>
                <a:gd name="T4" fmla="*/ 0 w 22"/>
                <a:gd name="T5" fmla="*/ 20 h 21"/>
                <a:gd name="T6" fmla="*/ 0 w 22"/>
                <a:gd name="T7" fmla="*/ 20 h 21"/>
                <a:gd name="T8" fmla="*/ 21 w 22"/>
                <a:gd name="T9" fmla="*/ 20 h 21"/>
                <a:gd name="T10" fmla="*/ 21 w 22"/>
                <a:gd name="T11" fmla="*/ 20 h 21"/>
                <a:gd name="T12" fmla="*/ 21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0"/>
                  </a:moveTo>
                  <a:lnTo>
                    <a:pt x="21" y="0"/>
                  </a:lnTo>
                  <a:cubicBezTo>
                    <a:pt x="0" y="0"/>
                    <a:pt x="0" y="0"/>
                    <a:pt x="0" y="20"/>
                  </a:cubicBezTo>
                  <a:lnTo>
                    <a:pt x="0" y="20"/>
                  </a:lnTo>
                  <a:lnTo>
                    <a:pt x="21" y="20"/>
                  </a:lnTo>
                  <a:lnTo>
                    <a:pt x="21" y="20"/>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3" name="Freeform 510">
              <a:extLst>
                <a:ext uri="{FF2B5EF4-FFF2-40B4-BE49-F238E27FC236}">
                  <a16:creationId xmlns:a16="http://schemas.microsoft.com/office/drawing/2014/main" id="{0E41345C-C8BB-3240-B2C4-A9117BE69D51}"/>
                </a:ext>
              </a:extLst>
            </p:cNvPr>
            <p:cNvSpPr>
              <a:spLocks noChangeArrowheads="1"/>
            </p:cNvSpPr>
            <p:nvPr/>
          </p:nvSpPr>
          <p:spPr bwMode="auto">
            <a:xfrm>
              <a:off x="6770688" y="8116888"/>
              <a:ext cx="15875" cy="15875"/>
            </a:xfrm>
            <a:custGeom>
              <a:avLst/>
              <a:gdLst>
                <a:gd name="T0" fmla="*/ 21 w 42"/>
                <a:gd name="T1" fmla="*/ 0 h 42"/>
                <a:gd name="T2" fmla="*/ 21 w 42"/>
                <a:gd name="T3" fmla="*/ 0 h 42"/>
                <a:gd name="T4" fmla="*/ 0 w 42"/>
                <a:gd name="T5" fmla="*/ 20 h 42"/>
                <a:gd name="T6" fmla="*/ 0 w 42"/>
                <a:gd name="T7" fmla="*/ 41 h 42"/>
                <a:gd name="T8" fmla="*/ 21 w 42"/>
                <a:gd name="T9" fmla="*/ 20 h 42"/>
                <a:gd name="T10" fmla="*/ 41 w 42"/>
                <a:gd name="T11" fmla="*/ 20 h 42"/>
                <a:gd name="T12" fmla="*/ 21 w 4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1" y="0"/>
                  </a:moveTo>
                  <a:lnTo>
                    <a:pt x="21" y="0"/>
                  </a:lnTo>
                  <a:lnTo>
                    <a:pt x="0" y="20"/>
                  </a:lnTo>
                  <a:cubicBezTo>
                    <a:pt x="0" y="20"/>
                    <a:pt x="0" y="20"/>
                    <a:pt x="0" y="41"/>
                  </a:cubicBezTo>
                  <a:cubicBezTo>
                    <a:pt x="21" y="41"/>
                    <a:pt x="21" y="41"/>
                    <a:pt x="21" y="20"/>
                  </a:cubicBezTo>
                  <a:lnTo>
                    <a:pt x="41" y="20"/>
                  </a:lnTo>
                  <a:cubicBezTo>
                    <a:pt x="41" y="0"/>
                    <a:pt x="2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4" name="Freeform 511">
              <a:extLst>
                <a:ext uri="{FF2B5EF4-FFF2-40B4-BE49-F238E27FC236}">
                  <a16:creationId xmlns:a16="http://schemas.microsoft.com/office/drawing/2014/main" id="{1A77677E-551C-764B-A51E-F852AD328B95}"/>
                </a:ext>
              </a:extLst>
            </p:cNvPr>
            <p:cNvSpPr>
              <a:spLocks noChangeArrowheads="1"/>
            </p:cNvSpPr>
            <p:nvPr/>
          </p:nvSpPr>
          <p:spPr bwMode="auto">
            <a:xfrm>
              <a:off x="6748463" y="8064500"/>
              <a:ext cx="15875" cy="15875"/>
            </a:xfrm>
            <a:custGeom>
              <a:avLst/>
              <a:gdLst>
                <a:gd name="T0" fmla="*/ 20 w 42"/>
                <a:gd name="T1" fmla="*/ 41 h 42"/>
                <a:gd name="T2" fmla="*/ 20 w 42"/>
                <a:gd name="T3" fmla="*/ 41 h 42"/>
                <a:gd name="T4" fmla="*/ 20 w 42"/>
                <a:gd name="T5" fmla="*/ 21 h 42"/>
                <a:gd name="T6" fmla="*/ 20 w 42"/>
                <a:gd name="T7" fmla="*/ 21 h 42"/>
                <a:gd name="T8" fmla="*/ 41 w 42"/>
                <a:gd name="T9" fmla="*/ 21 h 42"/>
                <a:gd name="T10" fmla="*/ 41 w 42"/>
                <a:gd name="T11" fmla="*/ 21 h 42"/>
                <a:gd name="T12" fmla="*/ 20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1"/>
                  </a:moveTo>
                  <a:lnTo>
                    <a:pt x="20" y="41"/>
                  </a:lnTo>
                  <a:lnTo>
                    <a:pt x="20" y="21"/>
                  </a:lnTo>
                  <a:cubicBezTo>
                    <a:pt x="0" y="21"/>
                    <a:pt x="20" y="21"/>
                    <a:pt x="20" y="21"/>
                  </a:cubicBezTo>
                  <a:cubicBezTo>
                    <a:pt x="20" y="0"/>
                    <a:pt x="20" y="21"/>
                    <a:pt x="41" y="21"/>
                  </a:cubicBezTo>
                  <a:lnTo>
                    <a:pt x="41" y="21"/>
                  </a:ln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5" name="Freeform 512">
              <a:extLst>
                <a:ext uri="{FF2B5EF4-FFF2-40B4-BE49-F238E27FC236}">
                  <a16:creationId xmlns:a16="http://schemas.microsoft.com/office/drawing/2014/main" id="{763EF033-9B15-914A-8E2B-CA10EF5A9922}"/>
                </a:ext>
              </a:extLst>
            </p:cNvPr>
            <p:cNvSpPr>
              <a:spLocks noChangeArrowheads="1"/>
            </p:cNvSpPr>
            <p:nvPr/>
          </p:nvSpPr>
          <p:spPr bwMode="auto">
            <a:xfrm>
              <a:off x="6718300" y="8050213"/>
              <a:ext cx="15875" cy="15875"/>
            </a:xfrm>
            <a:custGeom>
              <a:avLst/>
              <a:gdLst>
                <a:gd name="T0" fmla="*/ 41 w 42"/>
                <a:gd name="T1" fmla="*/ 41 h 42"/>
                <a:gd name="T2" fmla="*/ 41 w 42"/>
                <a:gd name="T3" fmla="*/ 41 h 42"/>
                <a:gd name="T4" fmla="*/ 41 w 42"/>
                <a:gd name="T5" fmla="*/ 21 h 42"/>
                <a:gd name="T6" fmla="*/ 20 w 42"/>
                <a:gd name="T7" fmla="*/ 0 h 42"/>
                <a:gd name="T8" fmla="*/ 0 w 42"/>
                <a:gd name="T9" fmla="*/ 21 h 42"/>
                <a:gd name="T10" fmla="*/ 20 w 42"/>
                <a:gd name="T11" fmla="*/ 41 h 42"/>
                <a:gd name="T12" fmla="*/ 41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41" y="41"/>
                  </a:moveTo>
                  <a:lnTo>
                    <a:pt x="41" y="41"/>
                  </a:lnTo>
                  <a:lnTo>
                    <a:pt x="41" y="21"/>
                  </a:lnTo>
                  <a:cubicBezTo>
                    <a:pt x="20" y="21"/>
                    <a:pt x="20" y="0"/>
                    <a:pt x="20" y="0"/>
                  </a:cubicBezTo>
                  <a:lnTo>
                    <a:pt x="0" y="21"/>
                  </a:lnTo>
                  <a:lnTo>
                    <a:pt x="20" y="41"/>
                  </a:lnTo>
                  <a:cubicBezTo>
                    <a:pt x="20" y="41"/>
                    <a:pt x="20" y="41"/>
                    <a:pt x="4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6" name="Freeform 513">
              <a:extLst>
                <a:ext uri="{FF2B5EF4-FFF2-40B4-BE49-F238E27FC236}">
                  <a16:creationId xmlns:a16="http://schemas.microsoft.com/office/drawing/2014/main" id="{7CB26A6C-1128-E742-9B28-FAAA954E9ECB}"/>
                </a:ext>
              </a:extLst>
            </p:cNvPr>
            <p:cNvSpPr>
              <a:spLocks noChangeArrowheads="1"/>
            </p:cNvSpPr>
            <p:nvPr/>
          </p:nvSpPr>
          <p:spPr bwMode="auto">
            <a:xfrm>
              <a:off x="6696075" y="7953375"/>
              <a:ext cx="15875" cy="22225"/>
            </a:xfrm>
            <a:custGeom>
              <a:avLst/>
              <a:gdLst>
                <a:gd name="T0" fmla="*/ 42 w 43"/>
                <a:gd name="T1" fmla="*/ 62 h 63"/>
                <a:gd name="T2" fmla="*/ 42 w 43"/>
                <a:gd name="T3" fmla="*/ 62 h 63"/>
                <a:gd name="T4" fmla="*/ 42 w 43"/>
                <a:gd name="T5" fmla="*/ 41 h 63"/>
                <a:gd name="T6" fmla="*/ 21 w 43"/>
                <a:gd name="T7" fmla="*/ 20 h 63"/>
                <a:gd name="T8" fmla="*/ 21 w 43"/>
                <a:gd name="T9" fmla="*/ 0 h 63"/>
                <a:gd name="T10" fmla="*/ 21 w 43"/>
                <a:gd name="T11" fmla="*/ 0 h 63"/>
                <a:gd name="T12" fmla="*/ 0 w 43"/>
                <a:gd name="T13" fmla="*/ 0 h 63"/>
                <a:gd name="T14" fmla="*/ 0 w 43"/>
                <a:gd name="T15" fmla="*/ 20 h 63"/>
                <a:gd name="T16" fmla="*/ 0 w 43"/>
                <a:gd name="T17" fmla="*/ 41 h 63"/>
                <a:gd name="T18" fmla="*/ 21 w 43"/>
                <a:gd name="T19" fmla="*/ 41 h 63"/>
                <a:gd name="T20" fmla="*/ 42 w 43"/>
                <a:gd name="T21"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63">
                  <a:moveTo>
                    <a:pt x="42" y="62"/>
                  </a:moveTo>
                  <a:lnTo>
                    <a:pt x="42" y="62"/>
                  </a:lnTo>
                  <a:lnTo>
                    <a:pt x="42" y="41"/>
                  </a:lnTo>
                  <a:cubicBezTo>
                    <a:pt x="42" y="41"/>
                    <a:pt x="42" y="20"/>
                    <a:pt x="21" y="20"/>
                  </a:cubicBezTo>
                  <a:lnTo>
                    <a:pt x="21" y="0"/>
                  </a:lnTo>
                  <a:lnTo>
                    <a:pt x="21" y="0"/>
                  </a:lnTo>
                  <a:lnTo>
                    <a:pt x="0" y="0"/>
                  </a:lnTo>
                  <a:lnTo>
                    <a:pt x="0" y="20"/>
                  </a:lnTo>
                  <a:lnTo>
                    <a:pt x="0" y="41"/>
                  </a:lnTo>
                  <a:lnTo>
                    <a:pt x="21" y="41"/>
                  </a:lnTo>
                  <a:cubicBezTo>
                    <a:pt x="21" y="62"/>
                    <a:pt x="21" y="62"/>
                    <a:pt x="42"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7" name="Freeform 514">
              <a:extLst>
                <a:ext uri="{FF2B5EF4-FFF2-40B4-BE49-F238E27FC236}">
                  <a16:creationId xmlns:a16="http://schemas.microsoft.com/office/drawing/2014/main" id="{38642BAF-A8D0-5149-B4CF-7F8E4FB8F813}"/>
                </a:ext>
              </a:extLst>
            </p:cNvPr>
            <p:cNvSpPr>
              <a:spLocks noChangeArrowheads="1"/>
            </p:cNvSpPr>
            <p:nvPr/>
          </p:nvSpPr>
          <p:spPr bwMode="auto">
            <a:xfrm>
              <a:off x="6740525" y="8020050"/>
              <a:ext cx="14288" cy="7938"/>
            </a:xfrm>
            <a:custGeom>
              <a:avLst/>
              <a:gdLst>
                <a:gd name="T0" fmla="*/ 0 w 41"/>
                <a:gd name="T1" fmla="*/ 0 h 22"/>
                <a:gd name="T2" fmla="*/ 0 w 41"/>
                <a:gd name="T3" fmla="*/ 0 h 22"/>
                <a:gd name="T4" fmla="*/ 20 w 41"/>
                <a:gd name="T5" fmla="*/ 21 h 22"/>
                <a:gd name="T6" fmla="*/ 20 w 41"/>
                <a:gd name="T7" fmla="*/ 21 h 22"/>
                <a:gd name="T8" fmla="*/ 40 w 41"/>
                <a:gd name="T9" fmla="*/ 21 h 22"/>
                <a:gd name="T10" fmla="*/ 40 w 41"/>
                <a:gd name="T11" fmla="*/ 0 h 22"/>
                <a:gd name="T12" fmla="*/ 20 w 41"/>
                <a:gd name="T13" fmla="*/ 0 h 22"/>
                <a:gd name="T14" fmla="*/ 0 w 41"/>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22">
                  <a:moveTo>
                    <a:pt x="0" y="0"/>
                  </a:moveTo>
                  <a:lnTo>
                    <a:pt x="0" y="0"/>
                  </a:lnTo>
                  <a:cubicBezTo>
                    <a:pt x="0" y="0"/>
                    <a:pt x="0" y="0"/>
                    <a:pt x="20" y="21"/>
                  </a:cubicBezTo>
                  <a:lnTo>
                    <a:pt x="20" y="21"/>
                  </a:lnTo>
                  <a:lnTo>
                    <a:pt x="40" y="21"/>
                  </a:lnTo>
                  <a:lnTo>
                    <a:pt x="40" y="0"/>
                  </a:lnTo>
                  <a:cubicBezTo>
                    <a:pt x="20" y="0"/>
                    <a:pt x="20" y="0"/>
                    <a:pt x="20" y="0"/>
                  </a:cubicBezTo>
                  <a:cubicBezTo>
                    <a:pt x="20" y="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8" name="Freeform 515">
              <a:extLst>
                <a:ext uri="{FF2B5EF4-FFF2-40B4-BE49-F238E27FC236}">
                  <a16:creationId xmlns:a16="http://schemas.microsoft.com/office/drawing/2014/main" id="{9FDFBC55-E7E5-054F-8BF2-9E94C17B6B37}"/>
                </a:ext>
              </a:extLst>
            </p:cNvPr>
            <p:cNvSpPr>
              <a:spLocks noChangeArrowheads="1"/>
            </p:cNvSpPr>
            <p:nvPr/>
          </p:nvSpPr>
          <p:spPr bwMode="auto">
            <a:xfrm>
              <a:off x="6734175" y="7989888"/>
              <a:ext cx="15875" cy="7937"/>
            </a:xfrm>
            <a:custGeom>
              <a:avLst/>
              <a:gdLst>
                <a:gd name="T0" fmla="*/ 21 w 42"/>
                <a:gd name="T1" fmla="*/ 21 h 22"/>
                <a:gd name="T2" fmla="*/ 21 w 42"/>
                <a:gd name="T3" fmla="*/ 21 h 22"/>
                <a:gd name="T4" fmla="*/ 0 w 42"/>
                <a:gd name="T5" fmla="*/ 0 h 22"/>
                <a:gd name="T6" fmla="*/ 21 w 42"/>
                <a:gd name="T7" fmla="*/ 0 h 22"/>
                <a:gd name="T8" fmla="*/ 41 w 42"/>
                <a:gd name="T9" fmla="*/ 0 h 22"/>
                <a:gd name="T10" fmla="*/ 41 w 42"/>
                <a:gd name="T11" fmla="*/ 21 h 22"/>
                <a:gd name="T12" fmla="*/ 21 w 42"/>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21" y="21"/>
                  </a:moveTo>
                  <a:lnTo>
                    <a:pt x="21" y="21"/>
                  </a:lnTo>
                  <a:lnTo>
                    <a:pt x="0" y="0"/>
                  </a:lnTo>
                  <a:lnTo>
                    <a:pt x="21" y="0"/>
                  </a:lnTo>
                  <a:lnTo>
                    <a:pt x="41" y="0"/>
                  </a:lnTo>
                  <a:lnTo>
                    <a:pt x="41" y="21"/>
                  </a:lnTo>
                  <a:lnTo>
                    <a:pt x="2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19" name="Freeform 516">
              <a:extLst>
                <a:ext uri="{FF2B5EF4-FFF2-40B4-BE49-F238E27FC236}">
                  <a16:creationId xmlns:a16="http://schemas.microsoft.com/office/drawing/2014/main" id="{31AE9D1B-FBA5-3E46-80FC-B93FE4A8DB85}"/>
                </a:ext>
              </a:extLst>
            </p:cNvPr>
            <p:cNvSpPr>
              <a:spLocks noChangeArrowheads="1"/>
            </p:cNvSpPr>
            <p:nvPr/>
          </p:nvSpPr>
          <p:spPr bwMode="auto">
            <a:xfrm>
              <a:off x="6858000" y="8204200"/>
              <a:ext cx="7938" cy="7938"/>
            </a:xfrm>
            <a:custGeom>
              <a:avLst/>
              <a:gdLst>
                <a:gd name="T0" fmla="*/ 21 w 22"/>
                <a:gd name="T1" fmla="*/ 20 h 21"/>
                <a:gd name="T2" fmla="*/ 21 w 22"/>
                <a:gd name="T3" fmla="*/ 20 h 21"/>
                <a:gd name="T4" fmla="*/ 0 w 22"/>
                <a:gd name="T5" fmla="*/ 20 h 21"/>
                <a:gd name="T6" fmla="*/ 0 w 22"/>
                <a:gd name="T7" fmla="*/ 20 h 21"/>
                <a:gd name="T8" fmla="*/ 0 w 22"/>
                <a:gd name="T9" fmla="*/ 0 h 21"/>
                <a:gd name="T10" fmla="*/ 21 w 22"/>
                <a:gd name="T11" fmla="*/ 0 h 21"/>
                <a:gd name="T12" fmla="*/ 21 w 2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21" y="20"/>
                  </a:moveTo>
                  <a:lnTo>
                    <a:pt x="21" y="20"/>
                  </a:lnTo>
                  <a:cubicBezTo>
                    <a:pt x="0" y="20"/>
                    <a:pt x="0" y="20"/>
                    <a:pt x="0" y="20"/>
                  </a:cubicBezTo>
                  <a:lnTo>
                    <a:pt x="0" y="20"/>
                  </a:lnTo>
                  <a:lnTo>
                    <a:pt x="0" y="0"/>
                  </a:lnTo>
                  <a:cubicBezTo>
                    <a:pt x="0" y="0"/>
                    <a:pt x="0" y="0"/>
                    <a:pt x="21" y="0"/>
                  </a:cubicBez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0" name="Freeform 517">
              <a:extLst>
                <a:ext uri="{FF2B5EF4-FFF2-40B4-BE49-F238E27FC236}">
                  <a16:creationId xmlns:a16="http://schemas.microsoft.com/office/drawing/2014/main" id="{71529131-7DDC-AB42-A479-31F4EB1CF3C5}"/>
                </a:ext>
              </a:extLst>
            </p:cNvPr>
            <p:cNvSpPr>
              <a:spLocks noChangeArrowheads="1"/>
            </p:cNvSpPr>
            <p:nvPr/>
          </p:nvSpPr>
          <p:spPr bwMode="auto">
            <a:xfrm>
              <a:off x="6881813" y="8220075"/>
              <a:ext cx="7937" cy="7938"/>
            </a:xfrm>
            <a:custGeom>
              <a:avLst/>
              <a:gdLst>
                <a:gd name="T0" fmla="*/ 20 w 21"/>
                <a:gd name="T1" fmla="*/ 20 h 21"/>
                <a:gd name="T2" fmla="*/ 20 w 21"/>
                <a:gd name="T3" fmla="*/ 20 h 21"/>
                <a:gd name="T4" fmla="*/ 0 w 21"/>
                <a:gd name="T5" fmla="*/ 0 h 21"/>
                <a:gd name="T6" fmla="*/ 0 w 21"/>
                <a:gd name="T7" fmla="*/ 0 h 21"/>
                <a:gd name="T8" fmla="*/ 20 w 21"/>
                <a:gd name="T9" fmla="*/ 0 h 21"/>
                <a:gd name="T10" fmla="*/ 20 w 21"/>
                <a:gd name="T11" fmla="*/ 0 h 21"/>
                <a:gd name="T12" fmla="*/ 2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20"/>
                  </a:moveTo>
                  <a:lnTo>
                    <a:pt x="20" y="20"/>
                  </a:lnTo>
                  <a:cubicBezTo>
                    <a:pt x="20" y="20"/>
                    <a:pt x="0" y="20"/>
                    <a:pt x="0" y="0"/>
                  </a:cubicBezTo>
                  <a:lnTo>
                    <a:pt x="0" y="0"/>
                  </a:lnTo>
                  <a:cubicBezTo>
                    <a:pt x="0" y="0"/>
                    <a:pt x="0" y="0"/>
                    <a:pt x="20" y="0"/>
                  </a:cubicBezTo>
                  <a:lnTo>
                    <a:pt x="20" y="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1" name="Freeform 518">
              <a:extLst>
                <a:ext uri="{FF2B5EF4-FFF2-40B4-BE49-F238E27FC236}">
                  <a16:creationId xmlns:a16="http://schemas.microsoft.com/office/drawing/2014/main" id="{D25901F2-1EDB-514A-9A1E-7474CF9AFC7F}"/>
                </a:ext>
              </a:extLst>
            </p:cNvPr>
            <p:cNvSpPr>
              <a:spLocks noChangeArrowheads="1"/>
            </p:cNvSpPr>
            <p:nvPr/>
          </p:nvSpPr>
          <p:spPr bwMode="auto">
            <a:xfrm>
              <a:off x="6542088" y="8580438"/>
              <a:ext cx="15875" cy="7937"/>
            </a:xfrm>
            <a:custGeom>
              <a:avLst/>
              <a:gdLst>
                <a:gd name="T0" fmla="*/ 41 w 42"/>
                <a:gd name="T1" fmla="*/ 0 h 22"/>
                <a:gd name="T2" fmla="*/ 41 w 42"/>
                <a:gd name="T3" fmla="*/ 0 h 22"/>
                <a:gd name="T4" fmla="*/ 20 w 42"/>
                <a:gd name="T5" fmla="*/ 21 h 22"/>
                <a:gd name="T6" fmla="*/ 0 w 42"/>
                <a:gd name="T7" fmla="*/ 21 h 22"/>
                <a:gd name="T8" fmla="*/ 0 w 42"/>
                <a:gd name="T9" fmla="*/ 21 h 22"/>
                <a:gd name="T10" fmla="*/ 0 w 42"/>
                <a:gd name="T11" fmla="*/ 0 h 22"/>
                <a:gd name="T12" fmla="*/ 20 w 42"/>
                <a:gd name="T13" fmla="*/ 0 h 22"/>
                <a:gd name="T14" fmla="*/ 20 w 42"/>
                <a:gd name="T15" fmla="*/ 0 h 22"/>
                <a:gd name="T16" fmla="*/ 41 w 42"/>
                <a:gd name="T1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22">
                  <a:moveTo>
                    <a:pt x="41" y="0"/>
                  </a:moveTo>
                  <a:lnTo>
                    <a:pt x="41" y="0"/>
                  </a:lnTo>
                  <a:cubicBezTo>
                    <a:pt x="41" y="21"/>
                    <a:pt x="20" y="21"/>
                    <a:pt x="20" y="21"/>
                  </a:cubicBezTo>
                  <a:cubicBezTo>
                    <a:pt x="20" y="21"/>
                    <a:pt x="20" y="21"/>
                    <a:pt x="0" y="21"/>
                  </a:cubicBezTo>
                  <a:lnTo>
                    <a:pt x="0" y="21"/>
                  </a:lnTo>
                  <a:lnTo>
                    <a:pt x="0" y="0"/>
                  </a:lnTo>
                  <a:cubicBezTo>
                    <a:pt x="0" y="0"/>
                    <a:pt x="0" y="0"/>
                    <a:pt x="20" y="0"/>
                  </a:cubicBezTo>
                  <a:lnTo>
                    <a:pt x="20" y="0"/>
                  </a:lnTo>
                  <a:lnTo>
                    <a:pt x="4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2" name="Freeform 519">
              <a:extLst>
                <a:ext uri="{FF2B5EF4-FFF2-40B4-BE49-F238E27FC236}">
                  <a16:creationId xmlns:a16="http://schemas.microsoft.com/office/drawing/2014/main" id="{38CA0BD0-B29A-554B-9E9C-780068645C1D}"/>
                </a:ext>
              </a:extLst>
            </p:cNvPr>
            <p:cNvSpPr>
              <a:spLocks noChangeArrowheads="1"/>
            </p:cNvSpPr>
            <p:nvPr/>
          </p:nvSpPr>
          <p:spPr bwMode="auto">
            <a:xfrm>
              <a:off x="6762750" y="8574088"/>
              <a:ext cx="15875" cy="7937"/>
            </a:xfrm>
            <a:custGeom>
              <a:avLst/>
              <a:gdLst>
                <a:gd name="T0" fmla="*/ 20 w 42"/>
                <a:gd name="T1" fmla="*/ 20 h 21"/>
                <a:gd name="T2" fmla="*/ 20 w 42"/>
                <a:gd name="T3" fmla="*/ 20 h 21"/>
                <a:gd name="T4" fmla="*/ 20 w 42"/>
                <a:gd name="T5" fmla="*/ 20 h 21"/>
                <a:gd name="T6" fmla="*/ 0 w 42"/>
                <a:gd name="T7" fmla="*/ 20 h 21"/>
                <a:gd name="T8" fmla="*/ 0 w 42"/>
                <a:gd name="T9" fmla="*/ 0 h 21"/>
                <a:gd name="T10" fmla="*/ 20 w 42"/>
                <a:gd name="T11" fmla="*/ 0 h 21"/>
                <a:gd name="T12" fmla="*/ 20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0" y="20"/>
                  </a:moveTo>
                  <a:lnTo>
                    <a:pt x="20" y="20"/>
                  </a:lnTo>
                  <a:lnTo>
                    <a:pt x="20" y="20"/>
                  </a:lnTo>
                  <a:cubicBezTo>
                    <a:pt x="20" y="20"/>
                    <a:pt x="20" y="20"/>
                    <a:pt x="0" y="20"/>
                  </a:cubicBezTo>
                  <a:lnTo>
                    <a:pt x="0" y="0"/>
                  </a:lnTo>
                  <a:cubicBezTo>
                    <a:pt x="20" y="0"/>
                    <a:pt x="20" y="0"/>
                    <a:pt x="20" y="0"/>
                  </a:cubicBezTo>
                  <a:cubicBezTo>
                    <a:pt x="20" y="0"/>
                    <a:pt x="41"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3" name="Freeform 520">
              <a:extLst>
                <a:ext uri="{FF2B5EF4-FFF2-40B4-BE49-F238E27FC236}">
                  <a16:creationId xmlns:a16="http://schemas.microsoft.com/office/drawing/2014/main" id="{FAA7FBBD-10D3-444B-BA08-3C57176E9121}"/>
                </a:ext>
              </a:extLst>
            </p:cNvPr>
            <p:cNvSpPr>
              <a:spLocks noChangeArrowheads="1"/>
            </p:cNvSpPr>
            <p:nvPr/>
          </p:nvSpPr>
          <p:spPr bwMode="auto">
            <a:xfrm>
              <a:off x="6578600" y="8388350"/>
              <a:ext cx="7938" cy="15875"/>
            </a:xfrm>
            <a:custGeom>
              <a:avLst/>
              <a:gdLst>
                <a:gd name="T0" fmla="*/ 0 w 22"/>
                <a:gd name="T1" fmla="*/ 20 h 42"/>
                <a:gd name="T2" fmla="*/ 0 w 22"/>
                <a:gd name="T3" fmla="*/ 20 h 42"/>
                <a:gd name="T4" fmla="*/ 0 w 22"/>
                <a:gd name="T5" fmla="*/ 20 h 42"/>
                <a:gd name="T6" fmla="*/ 0 w 22"/>
                <a:gd name="T7" fmla="*/ 20 h 42"/>
                <a:gd name="T8" fmla="*/ 21 w 22"/>
                <a:gd name="T9" fmla="*/ 0 h 42"/>
                <a:gd name="T10" fmla="*/ 21 w 22"/>
                <a:gd name="T11" fmla="*/ 20 h 42"/>
                <a:gd name="T12" fmla="*/ 21 w 22"/>
                <a:gd name="T13" fmla="*/ 20 h 42"/>
                <a:gd name="T14" fmla="*/ 0 w 22"/>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0" y="20"/>
                  </a:moveTo>
                  <a:lnTo>
                    <a:pt x="0" y="20"/>
                  </a:lnTo>
                  <a:lnTo>
                    <a:pt x="0" y="20"/>
                  </a:lnTo>
                  <a:lnTo>
                    <a:pt x="0" y="20"/>
                  </a:lnTo>
                  <a:cubicBezTo>
                    <a:pt x="0" y="0"/>
                    <a:pt x="21" y="0"/>
                    <a:pt x="21" y="0"/>
                  </a:cubicBezTo>
                  <a:lnTo>
                    <a:pt x="21" y="20"/>
                  </a:lnTo>
                  <a:lnTo>
                    <a:pt x="21" y="20"/>
                  </a:lnTo>
                  <a:cubicBezTo>
                    <a:pt x="21" y="41"/>
                    <a:pt x="0" y="20"/>
                    <a:pt x="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4" name="Freeform 521">
              <a:extLst>
                <a:ext uri="{FF2B5EF4-FFF2-40B4-BE49-F238E27FC236}">
                  <a16:creationId xmlns:a16="http://schemas.microsoft.com/office/drawing/2014/main" id="{9F1941AD-1EB6-2D4F-AC64-B09B7ABA133C}"/>
                </a:ext>
              </a:extLst>
            </p:cNvPr>
            <p:cNvSpPr>
              <a:spLocks noChangeArrowheads="1"/>
            </p:cNvSpPr>
            <p:nvPr/>
          </p:nvSpPr>
          <p:spPr bwMode="auto">
            <a:xfrm>
              <a:off x="6570663" y="8374063"/>
              <a:ext cx="15875" cy="7937"/>
            </a:xfrm>
            <a:custGeom>
              <a:avLst/>
              <a:gdLst>
                <a:gd name="T0" fmla="*/ 20 w 42"/>
                <a:gd name="T1" fmla="*/ 21 h 22"/>
                <a:gd name="T2" fmla="*/ 20 w 42"/>
                <a:gd name="T3" fmla="*/ 21 h 22"/>
                <a:gd name="T4" fmla="*/ 0 w 42"/>
                <a:gd name="T5" fmla="*/ 21 h 22"/>
                <a:gd name="T6" fmla="*/ 20 w 42"/>
                <a:gd name="T7" fmla="*/ 0 h 22"/>
                <a:gd name="T8" fmla="*/ 20 w 42"/>
                <a:gd name="T9" fmla="*/ 0 h 22"/>
                <a:gd name="T10" fmla="*/ 20 w 42"/>
                <a:gd name="T11" fmla="*/ 21 h 22"/>
              </a:gdLst>
              <a:ahLst/>
              <a:cxnLst>
                <a:cxn ang="0">
                  <a:pos x="T0" y="T1"/>
                </a:cxn>
                <a:cxn ang="0">
                  <a:pos x="T2" y="T3"/>
                </a:cxn>
                <a:cxn ang="0">
                  <a:pos x="T4" y="T5"/>
                </a:cxn>
                <a:cxn ang="0">
                  <a:pos x="T6" y="T7"/>
                </a:cxn>
                <a:cxn ang="0">
                  <a:pos x="T8" y="T9"/>
                </a:cxn>
                <a:cxn ang="0">
                  <a:pos x="T10" y="T11"/>
                </a:cxn>
              </a:cxnLst>
              <a:rect l="0" t="0" r="r" b="b"/>
              <a:pathLst>
                <a:path w="42" h="22">
                  <a:moveTo>
                    <a:pt x="20" y="21"/>
                  </a:moveTo>
                  <a:lnTo>
                    <a:pt x="20" y="21"/>
                  </a:lnTo>
                  <a:lnTo>
                    <a:pt x="0" y="21"/>
                  </a:lnTo>
                  <a:lnTo>
                    <a:pt x="20" y="0"/>
                  </a:lnTo>
                  <a:lnTo>
                    <a:pt x="20" y="0"/>
                  </a:lnTo>
                  <a:cubicBezTo>
                    <a:pt x="41" y="0"/>
                    <a:pt x="20"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5" name="Freeform 522">
              <a:extLst>
                <a:ext uri="{FF2B5EF4-FFF2-40B4-BE49-F238E27FC236}">
                  <a16:creationId xmlns:a16="http://schemas.microsoft.com/office/drawing/2014/main" id="{322BE90E-3097-D740-A71C-4B803FDF7768}"/>
                </a:ext>
              </a:extLst>
            </p:cNvPr>
            <p:cNvSpPr>
              <a:spLocks noChangeArrowheads="1"/>
            </p:cNvSpPr>
            <p:nvPr/>
          </p:nvSpPr>
          <p:spPr bwMode="auto">
            <a:xfrm>
              <a:off x="6548438" y="8396288"/>
              <a:ext cx="7937" cy="15875"/>
            </a:xfrm>
            <a:custGeom>
              <a:avLst/>
              <a:gdLst>
                <a:gd name="T0" fmla="*/ 21 w 22"/>
                <a:gd name="T1" fmla="*/ 0 h 43"/>
                <a:gd name="T2" fmla="*/ 21 w 22"/>
                <a:gd name="T3" fmla="*/ 0 h 43"/>
                <a:gd name="T4" fmla="*/ 0 w 22"/>
                <a:gd name="T5" fmla="*/ 0 h 43"/>
                <a:gd name="T6" fmla="*/ 0 w 22"/>
                <a:gd name="T7" fmla="*/ 21 h 43"/>
                <a:gd name="T8" fmla="*/ 21 w 22"/>
                <a:gd name="T9" fmla="*/ 21 h 43"/>
                <a:gd name="T10" fmla="*/ 21 w 22"/>
                <a:gd name="T11" fmla="*/ 21 h 43"/>
                <a:gd name="T12" fmla="*/ 21 w 2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22" h="43">
                  <a:moveTo>
                    <a:pt x="21" y="0"/>
                  </a:moveTo>
                  <a:lnTo>
                    <a:pt x="21" y="0"/>
                  </a:lnTo>
                  <a:lnTo>
                    <a:pt x="0" y="0"/>
                  </a:lnTo>
                  <a:lnTo>
                    <a:pt x="0" y="21"/>
                  </a:lnTo>
                  <a:cubicBezTo>
                    <a:pt x="0" y="21"/>
                    <a:pt x="21" y="42"/>
                    <a:pt x="21" y="21"/>
                  </a:cubicBezTo>
                  <a:lnTo>
                    <a:pt x="21" y="21"/>
                  </a:ln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6" name="Freeform 523">
              <a:extLst>
                <a:ext uri="{FF2B5EF4-FFF2-40B4-BE49-F238E27FC236}">
                  <a16:creationId xmlns:a16="http://schemas.microsoft.com/office/drawing/2014/main" id="{447B8E03-E42B-5D47-A9BD-BD37DAC2A8AD}"/>
                </a:ext>
              </a:extLst>
            </p:cNvPr>
            <p:cNvSpPr>
              <a:spLocks noChangeArrowheads="1"/>
            </p:cNvSpPr>
            <p:nvPr/>
          </p:nvSpPr>
          <p:spPr bwMode="auto">
            <a:xfrm>
              <a:off x="6586538" y="8189913"/>
              <a:ext cx="192087" cy="96837"/>
            </a:xfrm>
            <a:custGeom>
              <a:avLst/>
              <a:gdLst>
                <a:gd name="T0" fmla="*/ 533 w 534"/>
                <a:gd name="T1" fmla="*/ 225 h 267"/>
                <a:gd name="T2" fmla="*/ 533 w 534"/>
                <a:gd name="T3" fmla="*/ 184 h 267"/>
                <a:gd name="T4" fmla="*/ 492 w 534"/>
                <a:gd name="T5" fmla="*/ 143 h 267"/>
                <a:gd name="T6" fmla="*/ 471 w 534"/>
                <a:gd name="T7" fmla="*/ 102 h 267"/>
                <a:gd name="T8" fmla="*/ 451 w 534"/>
                <a:gd name="T9" fmla="*/ 61 h 267"/>
                <a:gd name="T10" fmla="*/ 389 w 534"/>
                <a:gd name="T11" fmla="*/ 41 h 267"/>
                <a:gd name="T12" fmla="*/ 349 w 534"/>
                <a:gd name="T13" fmla="*/ 0 h 267"/>
                <a:gd name="T14" fmla="*/ 287 w 534"/>
                <a:gd name="T15" fmla="*/ 0 h 267"/>
                <a:gd name="T16" fmla="*/ 246 w 534"/>
                <a:gd name="T17" fmla="*/ 20 h 267"/>
                <a:gd name="T18" fmla="*/ 205 w 534"/>
                <a:gd name="T19" fmla="*/ 0 h 267"/>
                <a:gd name="T20" fmla="*/ 143 w 534"/>
                <a:gd name="T21" fmla="*/ 20 h 267"/>
                <a:gd name="T22" fmla="*/ 61 w 534"/>
                <a:gd name="T23" fmla="*/ 20 h 267"/>
                <a:gd name="T24" fmla="*/ 41 w 534"/>
                <a:gd name="T25" fmla="*/ 61 h 267"/>
                <a:gd name="T26" fmla="*/ 21 w 534"/>
                <a:gd name="T27" fmla="*/ 102 h 267"/>
                <a:gd name="T28" fmla="*/ 21 w 534"/>
                <a:gd name="T29" fmla="*/ 143 h 267"/>
                <a:gd name="T30" fmla="*/ 21 w 534"/>
                <a:gd name="T31" fmla="*/ 184 h 267"/>
                <a:gd name="T32" fmla="*/ 61 w 534"/>
                <a:gd name="T33" fmla="*/ 225 h 267"/>
                <a:gd name="T34" fmla="*/ 82 w 534"/>
                <a:gd name="T35" fmla="*/ 205 h 267"/>
                <a:gd name="T36" fmla="*/ 82 w 534"/>
                <a:gd name="T37" fmla="*/ 164 h 267"/>
                <a:gd name="T38" fmla="*/ 41 w 534"/>
                <a:gd name="T39" fmla="*/ 143 h 267"/>
                <a:gd name="T40" fmla="*/ 61 w 534"/>
                <a:gd name="T41" fmla="*/ 102 h 267"/>
                <a:gd name="T42" fmla="*/ 82 w 534"/>
                <a:gd name="T43" fmla="*/ 82 h 267"/>
                <a:gd name="T44" fmla="*/ 103 w 534"/>
                <a:gd name="T45" fmla="*/ 102 h 267"/>
                <a:gd name="T46" fmla="*/ 123 w 534"/>
                <a:gd name="T47" fmla="*/ 123 h 267"/>
                <a:gd name="T48" fmla="*/ 185 w 534"/>
                <a:gd name="T49" fmla="*/ 123 h 267"/>
                <a:gd name="T50" fmla="*/ 205 w 534"/>
                <a:gd name="T51" fmla="*/ 123 h 267"/>
                <a:gd name="T52" fmla="*/ 246 w 534"/>
                <a:gd name="T53" fmla="*/ 143 h 267"/>
                <a:gd name="T54" fmla="*/ 307 w 534"/>
                <a:gd name="T55" fmla="*/ 123 h 267"/>
                <a:gd name="T56" fmla="*/ 369 w 534"/>
                <a:gd name="T57" fmla="*/ 143 h 267"/>
                <a:gd name="T58" fmla="*/ 369 w 534"/>
                <a:gd name="T59" fmla="*/ 184 h 267"/>
                <a:gd name="T60" fmla="*/ 431 w 534"/>
                <a:gd name="T61" fmla="*/ 225 h 267"/>
                <a:gd name="T62" fmla="*/ 492 w 534"/>
                <a:gd name="T63" fmla="*/ 24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4" h="267">
                  <a:moveTo>
                    <a:pt x="533" y="225"/>
                  </a:moveTo>
                  <a:lnTo>
                    <a:pt x="533" y="225"/>
                  </a:lnTo>
                  <a:lnTo>
                    <a:pt x="533" y="225"/>
                  </a:lnTo>
                  <a:cubicBezTo>
                    <a:pt x="533" y="205"/>
                    <a:pt x="533" y="184"/>
                    <a:pt x="533" y="184"/>
                  </a:cubicBezTo>
                  <a:cubicBezTo>
                    <a:pt x="533" y="184"/>
                    <a:pt x="533" y="164"/>
                    <a:pt x="512" y="164"/>
                  </a:cubicBezTo>
                  <a:cubicBezTo>
                    <a:pt x="512" y="143"/>
                    <a:pt x="512" y="143"/>
                    <a:pt x="492" y="143"/>
                  </a:cubicBezTo>
                  <a:lnTo>
                    <a:pt x="492" y="123"/>
                  </a:lnTo>
                  <a:cubicBezTo>
                    <a:pt x="492" y="123"/>
                    <a:pt x="492" y="102"/>
                    <a:pt x="471" y="102"/>
                  </a:cubicBezTo>
                  <a:cubicBezTo>
                    <a:pt x="471" y="82"/>
                    <a:pt x="471" y="82"/>
                    <a:pt x="471" y="61"/>
                  </a:cubicBezTo>
                  <a:lnTo>
                    <a:pt x="451" y="61"/>
                  </a:lnTo>
                  <a:cubicBezTo>
                    <a:pt x="431" y="41"/>
                    <a:pt x="410" y="41"/>
                    <a:pt x="410" y="41"/>
                  </a:cubicBezTo>
                  <a:cubicBezTo>
                    <a:pt x="389" y="41"/>
                    <a:pt x="389" y="41"/>
                    <a:pt x="389" y="41"/>
                  </a:cubicBezTo>
                  <a:cubicBezTo>
                    <a:pt x="369" y="41"/>
                    <a:pt x="369" y="20"/>
                    <a:pt x="349" y="20"/>
                  </a:cubicBezTo>
                  <a:lnTo>
                    <a:pt x="349" y="0"/>
                  </a:lnTo>
                  <a:cubicBezTo>
                    <a:pt x="328" y="0"/>
                    <a:pt x="307" y="0"/>
                    <a:pt x="307" y="0"/>
                  </a:cubicBezTo>
                  <a:lnTo>
                    <a:pt x="287" y="0"/>
                  </a:lnTo>
                  <a:cubicBezTo>
                    <a:pt x="267" y="20"/>
                    <a:pt x="267" y="20"/>
                    <a:pt x="267" y="20"/>
                  </a:cubicBezTo>
                  <a:lnTo>
                    <a:pt x="246" y="20"/>
                  </a:lnTo>
                  <a:lnTo>
                    <a:pt x="225" y="0"/>
                  </a:lnTo>
                  <a:lnTo>
                    <a:pt x="205" y="0"/>
                  </a:lnTo>
                  <a:lnTo>
                    <a:pt x="185" y="0"/>
                  </a:lnTo>
                  <a:cubicBezTo>
                    <a:pt x="164" y="20"/>
                    <a:pt x="143" y="20"/>
                    <a:pt x="143" y="20"/>
                  </a:cubicBezTo>
                  <a:cubicBezTo>
                    <a:pt x="123" y="20"/>
                    <a:pt x="103" y="0"/>
                    <a:pt x="103" y="0"/>
                  </a:cubicBezTo>
                  <a:cubicBezTo>
                    <a:pt x="82" y="20"/>
                    <a:pt x="82" y="20"/>
                    <a:pt x="61" y="20"/>
                  </a:cubicBezTo>
                  <a:cubicBezTo>
                    <a:pt x="61" y="20"/>
                    <a:pt x="61" y="41"/>
                    <a:pt x="41" y="41"/>
                  </a:cubicBezTo>
                  <a:lnTo>
                    <a:pt x="41" y="61"/>
                  </a:lnTo>
                  <a:cubicBezTo>
                    <a:pt x="41" y="61"/>
                    <a:pt x="21" y="61"/>
                    <a:pt x="21" y="82"/>
                  </a:cubicBezTo>
                  <a:cubicBezTo>
                    <a:pt x="21" y="82"/>
                    <a:pt x="21" y="82"/>
                    <a:pt x="21" y="102"/>
                  </a:cubicBezTo>
                  <a:lnTo>
                    <a:pt x="0" y="123"/>
                  </a:lnTo>
                  <a:lnTo>
                    <a:pt x="21" y="143"/>
                  </a:lnTo>
                  <a:cubicBezTo>
                    <a:pt x="21" y="164"/>
                    <a:pt x="0" y="184"/>
                    <a:pt x="21" y="184"/>
                  </a:cubicBezTo>
                  <a:lnTo>
                    <a:pt x="21" y="184"/>
                  </a:lnTo>
                  <a:cubicBezTo>
                    <a:pt x="41" y="184"/>
                    <a:pt x="41" y="205"/>
                    <a:pt x="41" y="205"/>
                  </a:cubicBezTo>
                  <a:cubicBezTo>
                    <a:pt x="41" y="225"/>
                    <a:pt x="61" y="225"/>
                    <a:pt x="61" y="225"/>
                  </a:cubicBezTo>
                  <a:lnTo>
                    <a:pt x="82" y="225"/>
                  </a:lnTo>
                  <a:lnTo>
                    <a:pt x="82" y="205"/>
                  </a:lnTo>
                  <a:cubicBezTo>
                    <a:pt x="82" y="205"/>
                    <a:pt x="103" y="184"/>
                    <a:pt x="82" y="164"/>
                  </a:cubicBezTo>
                  <a:lnTo>
                    <a:pt x="82" y="164"/>
                  </a:lnTo>
                  <a:cubicBezTo>
                    <a:pt x="61" y="164"/>
                    <a:pt x="61" y="164"/>
                    <a:pt x="61" y="164"/>
                  </a:cubicBezTo>
                  <a:lnTo>
                    <a:pt x="41" y="143"/>
                  </a:lnTo>
                  <a:cubicBezTo>
                    <a:pt x="41" y="143"/>
                    <a:pt x="41" y="123"/>
                    <a:pt x="61" y="123"/>
                  </a:cubicBezTo>
                  <a:lnTo>
                    <a:pt x="61" y="102"/>
                  </a:lnTo>
                  <a:lnTo>
                    <a:pt x="61" y="82"/>
                  </a:lnTo>
                  <a:cubicBezTo>
                    <a:pt x="82" y="82"/>
                    <a:pt x="82" y="82"/>
                    <a:pt x="82" y="82"/>
                  </a:cubicBezTo>
                  <a:lnTo>
                    <a:pt x="103" y="82"/>
                  </a:lnTo>
                  <a:lnTo>
                    <a:pt x="103" y="102"/>
                  </a:lnTo>
                  <a:lnTo>
                    <a:pt x="103" y="123"/>
                  </a:lnTo>
                  <a:cubicBezTo>
                    <a:pt x="123" y="123"/>
                    <a:pt x="123" y="143"/>
                    <a:pt x="123" y="123"/>
                  </a:cubicBezTo>
                  <a:cubicBezTo>
                    <a:pt x="143" y="123"/>
                    <a:pt x="143" y="123"/>
                    <a:pt x="143" y="123"/>
                  </a:cubicBezTo>
                  <a:cubicBezTo>
                    <a:pt x="164" y="123"/>
                    <a:pt x="164" y="123"/>
                    <a:pt x="185" y="123"/>
                  </a:cubicBezTo>
                  <a:cubicBezTo>
                    <a:pt x="185" y="123"/>
                    <a:pt x="185" y="102"/>
                    <a:pt x="205" y="102"/>
                  </a:cubicBezTo>
                  <a:cubicBezTo>
                    <a:pt x="205" y="102"/>
                    <a:pt x="205" y="102"/>
                    <a:pt x="205" y="123"/>
                  </a:cubicBezTo>
                  <a:lnTo>
                    <a:pt x="205" y="123"/>
                  </a:lnTo>
                  <a:cubicBezTo>
                    <a:pt x="205" y="143"/>
                    <a:pt x="225" y="143"/>
                    <a:pt x="246" y="143"/>
                  </a:cubicBezTo>
                  <a:lnTo>
                    <a:pt x="267" y="143"/>
                  </a:lnTo>
                  <a:cubicBezTo>
                    <a:pt x="267" y="143"/>
                    <a:pt x="287" y="143"/>
                    <a:pt x="307" y="123"/>
                  </a:cubicBezTo>
                  <a:lnTo>
                    <a:pt x="328" y="123"/>
                  </a:lnTo>
                  <a:cubicBezTo>
                    <a:pt x="349" y="123"/>
                    <a:pt x="369" y="123"/>
                    <a:pt x="369" y="143"/>
                  </a:cubicBezTo>
                  <a:lnTo>
                    <a:pt x="369" y="143"/>
                  </a:lnTo>
                  <a:cubicBezTo>
                    <a:pt x="369" y="164"/>
                    <a:pt x="369" y="164"/>
                    <a:pt x="369" y="184"/>
                  </a:cubicBezTo>
                  <a:cubicBezTo>
                    <a:pt x="389" y="184"/>
                    <a:pt x="389" y="205"/>
                    <a:pt x="389" y="205"/>
                  </a:cubicBezTo>
                  <a:cubicBezTo>
                    <a:pt x="389" y="205"/>
                    <a:pt x="410" y="225"/>
                    <a:pt x="431" y="225"/>
                  </a:cubicBezTo>
                  <a:lnTo>
                    <a:pt x="451" y="245"/>
                  </a:lnTo>
                  <a:cubicBezTo>
                    <a:pt x="451" y="266"/>
                    <a:pt x="471" y="245"/>
                    <a:pt x="492" y="245"/>
                  </a:cubicBezTo>
                  <a:cubicBezTo>
                    <a:pt x="492" y="245"/>
                    <a:pt x="512" y="245"/>
                    <a:pt x="533" y="22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7" name="Freeform 524">
              <a:extLst>
                <a:ext uri="{FF2B5EF4-FFF2-40B4-BE49-F238E27FC236}">
                  <a16:creationId xmlns:a16="http://schemas.microsoft.com/office/drawing/2014/main" id="{E043266F-C74E-8342-8B5E-6E9B1674B68B}"/>
                </a:ext>
              </a:extLst>
            </p:cNvPr>
            <p:cNvSpPr>
              <a:spLocks noChangeArrowheads="1"/>
            </p:cNvSpPr>
            <p:nvPr/>
          </p:nvSpPr>
          <p:spPr bwMode="auto">
            <a:xfrm>
              <a:off x="6475413" y="8204200"/>
              <a:ext cx="80962" cy="73025"/>
            </a:xfrm>
            <a:custGeom>
              <a:avLst/>
              <a:gdLst>
                <a:gd name="T0" fmla="*/ 204 w 226"/>
                <a:gd name="T1" fmla="*/ 143 h 205"/>
                <a:gd name="T2" fmla="*/ 204 w 226"/>
                <a:gd name="T3" fmla="*/ 143 h 205"/>
                <a:gd name="T4" fmla="*/ 225 w 226"/>
                <a:gd name="T5" fmla="*/ 102 h 205"/>
                <a:gd name="T6" fmla="*/ 204 w 226"/>
                <a:gd name="T7" fmla="*/ 82 h 205"/>
                <a:gd name="T8" fmla="*/ 164 w 226"/>
                <a:gd name="T9" fmla="*/ 61 h 205"/>
                <a:gd name="T10" fmla="*/ 143 w 226"/>
                <a:gd name="T11" fmla="*/ 20 h 205"/>
                <a:gd name="T12" fmla="*/ 102 w 226"/>
                <a:gd name="T13" fmla="*/ 0 h 205"/>
                <a:gd name="T14" fmla="*/ 82 w 226"/>
                <a:gd name="T15" fmla="*/ 0 h 205"/>
                <a:gd name="T16" fmla="*/ 61 w 226"/>
                <a:gd name="T17" fmla="*/ 20 h 205"/>
                <a:gd name="T18" fmla="*/ 40 w 226"/>
                <a:gd name="T19" fmla="*/ 20 h 205"/>
                <a:gd name="T20" fmla="*/ 20 w 226"/>
                <a:gd name="T21" fmla="*/ 20 h 205"/>
                <a:gd name="T22" fmla="*/ 0 w 226"/>
                <a:gd name="T23" fmla="*/ 41 h 205"/>
                <a:gd name="T24" fmla="*/ 0 w 226"/>
                <a:gd name="T25" fmla="*/ 82 h 205"/>
                <a:gd name="T26" fmla="*/ 20 w 226"/>
                <a:gd name="T27" fmla="*/ 102 h 205"/>
                <a:gd name="T28" fmla="*/ 20 w 226"/>
                <a:gd name="T29" fmla="*/ 123 h 205"/>
                <a:gd name="T30" fmla="*/ 20 w 226"/>
                <a:gd name="T31" fmla="*/ 143 h 205"/>
                <a:gd name="T32" fmla="*/ 40 w 226"/>
                <a:gd name="T33" fmla="*/ 164 h 205"/>
                <a:gd name="T34" fmla="*/ 61 w 226"/>
                <a:gd name="T35" fmla="*/ 164 h 205"/>
                <a:gd name="T36" fmla="*/ 61 w 226"/>
                <a:gd name="T37" fmla="*/ 184 h 205"/>
                <a:gd name="T38" fmla="*/ 102 w 226"/>
                <a:gd name="T39" fmla="*/ 204 h 205"/>
                <a:gd name="T40" fmla="*/ 122 w 226"/>
                <a:gd name="T41" fmla="*/ 184 h 205"/>
                <a:gd name="T42" fmla="*/ 122 w 226"/>
                <a:gd name="T43" fmla="*/ 164 h 205"/>
                <a:gd name="T44" fmla="*/ 143 w 226"/>
                <a:gd name="T45" fmla="*/ 164 h 205"/>
                <a:gd name="T46" fmla="*/ 184 w 226"/>
                <a:gd name="T47" fmla="*/ 143 h 205"/>
                <a:gd name="T48" fmla="*/ 204 w 226"/>
                <a:gd name="T49" fmla="*/ 143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6" h="205">
                  <a:moveTo>
                    <a:pt x="204" y="143"/>
                  </a:moveTo>
                  <a:lnTo>
                    <a:pt x="204" y="143"/>
                  </a:lnTo>
                  <a:cubicBezTo>
                    <a:pt x="225" y="123"/>
                    <a:pt x="225" y="123"/>
                    <a:pt x="225" y="102"/>
                  </a:cubicBezTo>
                  <a:cubicBezTo>
                    <a:pt x="204" y="102"/>
                    <a:pt x="204" y="82"/>
                    <a:pt x="204" y="82"/>
                  </a:cubicBezTo>
                  <a:cubicBezTo>
                    <a:pt x="184" y="82"/>
                    <a:pt x="184" y="61"/>
                    <a:pt x="164" y="61"/>
                  </a:cubicBezTo>
                  <a:cubicBezTo>
                    <a:pt x="164" y="41"/>
                    <a:pt x="164" y="20"/>
                    <a:pt x="143" y="20"/>
                  </a:cubicBezTo>
                  <a:cubicBezTo>
                    <a:pt x="143" y="20"/>
                    <a:pt x="122" y="0"/>
                    <a:pt x="102" y="0"/>
                  </a:cubicBezTo>
                  <a:lnTo>
                    <a:pt x="82" y="0"/>
                  </a:lnTo>
                  <a:cubicBezTo>
                    <a:pt x="82" y="20"/>
                    <a:pt x="61" y="20"/>
                    <a:pt x="61" y="20"/>
                  </a:cubicBezTo>
                  <a:lnTo>
                    <a:pt x="40" y="20"/>
                  </a:lnTo>
                  <a:lnTo>
                    <a:pt x="20" y="20"/>
                  </a:lnTo>
                  <a:cubicBezTo>
                    <a:pt x="0" y="20"/>
                    <a:pt x="0" y="41"/>
                    <a:pt x="0" y="41"/>
                  </a:cubicBezTo>
                  <a:cubicBezTo>
                    <a:pt x="0" y="61"/>
                    <a:pt x="0" y="61"/>
                    <a:pt x="0" y="82"/>
                  </a:cubicBezTo>
                  <a:lnTo>
                    <a:pt x="20" y="102"/>
                  </a:lnTo>
                  <a:lnTo>
                    <a:pt x="20" y="123"/>
                  </a:lnTo>
                  <a:lnTo>
                    <a:pt x="20" y="143"/>
                  </a:lnTo>
                  <a:cubicBezTo>
                    <a:pt x="20" y="164"/>
                    <a:pt x="40" y="143"/>
                    <a:pt x="40" y="164"/>
                  </a:cubicBezTo>
                  <a:cubicBezTo>
                    <a:pt x="40" y="164"/>
                    <a:pt x="40" y="164"/>
                    <a:pt x="61" y="164"/>
                  </a:cubicBezTo>
                  <a:cubicBezTo>
                    <a:pt x="61" y="184"/>
                    <a:pt x="61" y="184"/>
                    <a:pt x="61" y="184"/>
                  </a:cubicBezTo>
                  <a:cubicBezTo>
                    <a:pt x="61" y="184"/>
                    <a:pt x="82" y="204"/>
                    <a:pt x="102" y="204"/>
                  </a:cubicBezTo>
                  <a:lnTo>
                    <a:pt x="122" y="184"/>
                  </a:lnTo>
                  <a:cubicBezTo>
                    <a:pt x="122" y="184"/>
                    <a:pt x="122" y="184"/>
                    <a:pt x="122" y="164"/>
                  </a:cubicBezTo>
                  <a:cubicBezTo>
                    <a:pt x="143" y="164"/>
                    <a:pt x="143" y="164"/>
                    <a:pt x="143" y="164"/>
                  </a:cubicBezTo>
                  <a:cubicBezTo>
                    <a:pt x="164" y="143"/>
                    <a:pt x="164" y="143"/>
                    <a:pt x="184" y="143"/>
                  </a:cubicBezTo>
                  <a:cubicBezTo>
                    <a:pt x="184" y="143"/>
                    <a:pt x="184" y="143"/>
                    <a:pt x="204" y="14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8" name="Freeform 525">
              <a:extLst>
                <a:ext uri="{FF2B5EF4-FFF2-40B4-BE49-F238E27FC236}">
                  <a16:creationId xmlns:a16="http://schemas.microsoft.com/office/drawing/2014/main" id="{29465F3F-B6EC-364A-AC4B-78AE88300A06}"/>
                </a:ext>
              </a:extLst>
            </p:cNvPr>
            <p:cNvSpPr>
              <a:spLocks noChangeArrowheads="1"/>
            </p:cNvSpPr>
            <p:nvPr/>
          </p:nvSpPr>
          <p:spPr bwMode="auto">
            <a:xfrm>
              <a:off x="6807200" y="8285163"/>
              <a:ext cx="7938" cy="15875"/>
            </a:xfrm>
            <a:custGeom>
              <a:avLst/>
              <a:gdLst>
                <a:gd name="T0" fmla="*/ 20 w 21"/>
                <a:gd name="T1" fmla="*/ 21 h 42"/>
                <a:gd name="T2" fmla="*/ 20 w 21"/>
                <a:gd name="T3" fmla="*/ 21 h 42"/>
                <a:gd name="T4" fmla="*/ 0 w 21"/>
                <a:gd name="T5" fmla="*/ 21 h 42"/>
                <a:gd name="T6" fmla="*/ 0 w 21"/>
                <a:gd name="T7" fmla="*/ 0 h 42"/>
                <a:gd name="T8" fmla="*/ 20 w 21"/>
                <a:gd name="T9" fmla="*/ 0 h 42"/>
                <a:gd name="T10" fmla="*/ 20 w 21"/>
                <a:gd name="T11" fmla="*/ 21 h 42"/>
              </a:gdLst>
              <a:ahLst/>
              <a:cxnLst>
                <a:cxn ang="0">
                  <a:pos x="T0" y="T1"/>
                </a:cxn>
                <a:cxn ang="0">
                  <a:pos x="T2" y="T3"/>
                </a:cxn>
                <a:cxn ang="0">
                  <a:pos x="T4" y="T5"/>
                </a:cxn>
                <a:cxn ang="0">
                  <a:pos x="T6" y="T7"/>
                </a:cxn>
                <a:cxn ang="0">
                  <a:pos x="T8" y="T9"/>
                </a:cxn>
                <a:cxn ang="0">
                  <a:pos x="T10" y="T11"/>
                </a:cxn>
              </a:cxnLst>
              <a:rect l="0" t="0" r="r" b="b"/>
              <a:pathLst>
                <a:path w="21" h="42">
                  <a:moveTo>
                    <a:pt x="20" y="21"/>
                  </a:moveTo>
                  <a:lnTo>
                    <a:pt x="20" y="21"/>
                  </a:lnTo>
                  <a:cubicBezTo>
                    <a:pt x="20" y="41"/>
                    <a:pt x="0" y="21"/>
                    <a:pt x="0" y="21"/>
                  </a:cubicBezTo>
                  <a:cubicBezTo>
                    <a:pt x="0" y="21"/>
                    <a:pt x="0" y="21"/>
                    <a:pt x="0" y="0"/>
                  </a:cubicBezTo>
                  <a:lnTo>
                    <a:pt x="20" y="0"/>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29" name="Freeform 526">
              <a:extLst>
                <a:ext uri="{FF2B5EF4-FFF2-40B4-BE49-F238E27FC236}">
                  <a16:creationId xmlns:a16="http://schemas.microsoft.com/office/drawing/2014/main" id="{F57CCC73-6729-644D-AB1B-C043AB0BD31B}"/>
                </a:ext>
              </a:extLst>
            </p:cNvPr>
            <p:cNvSpPr>
              <a:spLocks noChangeArrowheads="1"/>
            </p:cNvSpPr>
            <p:nvPr/>
          </p:nvSpPr>
          <p:spPr bwMode="auto">
            <a:xfrm>
              <a:off x="6821488" y="8307388"/>
              <a:ext cx="7937" cy="22225"/>
            </a:xfrm>
            <a:custGeom>
              <a:avLst/>
              <a:gdLst>
                <a:gd name="T0" fmla="*/ 20 w 21"/>
                <a:gd name="T1" fmla="*/ 62 h 63"/>
                <a:gd name="T2" fmla="*/ 20 w 21"/>
                <a:gd name="T3" fmla="*/ 62 h 63"/>
                <a:gd name="T4" fmla="*/ 20 w 21"/>
                <a:gd name="T5" fmla="*/ 42 h 63"/>
                <a:gd name="T6" fmla="*/ 20 w 21"/>
                <a:gd name="T7" fmla="*/ 21 h 63"/>
                <a:gd name="T8" fmla="*/ 0 w 21"/>
                <a:gd name="T9" fmla="*/ 21 h 63"/>
                <a:gd name="T10" fmla="*/ 0 w 21"/>
                <a:gd name="T11" fmla="*/ 42 h 63"/>
                <a:gd name="T12" fmla="*/ 0 w 21"/>
                <a:gd name="T13" fmla="*/ 62 h 63"/>
                <a:gd name="T14" fmla="*/ 20 w 21"/>
                <a:gd name="T15" fmla="*/ 6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63">
                  <a:moveTo>
                    <a:pt x="20" y="62"/>
                  </a:moveTo>
                  <a:lnTo>
                    <a:pt x="20" y="62"/>
                  </a:lnTo>
                  <a:lnTo>
                    <a:pt x="20" y="42"/>
                  </a:lnTo>
                  <a:cubicBezTo>
                    <a:pt x="20" y="21"/>
                    <a:pt x="20" y="21"/>
                    <a:pt x="20" y="21"/>
                  </a:cubicBezTo>
                  <a:cubicBezTo>
                    <a:pt x="20" y="0"/>
                    <a:pt x="0" y="21"/>
                    <a:pt x="0" y="21"/>
                  </a:cubicBezTo>
                  <a:lnTo>
                    <a:pt x="0" y="42"/>
                  </a:lnTo>
                  <a:lnTo>
                    <a:pt x="0" y="62"/>
                  </a:lnTo>
                  <a:lnTo>
                    <a:pt x="20"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0" name="Freeform 527">
              <a:extLst>
                <a:ext uri="{FF2B5EF4-FFF2-40B4-BE49-F238E27FC236}">
                  <a16:creationId xmlns:a16="http://schemas.microsoft.com/office/drawing/2014/main" id="{48803FA4-0E45-6D43-8680-25C4103CA6B1}"/>
                </a:ext>
              </a:extLst>
            </p:cNvPr>
            <p:cNvSpPr>
              <a:spLocks noChangeArrowheads="1"/>
            </p:cNvSpPr>
            <p:nvPr/>
          </p:nvSpPr>
          <p:spPr bwMode="auto">
            <a:xfrm>
              <a:off x="6851650" y="8418513"/>
              <a:ext cx="7938" cy="15875"/>
            </a:xfrm>
            <a:custGeom>
              <a:avLst/>
              <a:gdLst>
                <a:gd name="T0" fmla="*/ 20 w 21"/>
                <a:gd name="T1" fmla="*/ 20 h 42"/>
                <a:gd name="T2" fmla="*/ 20 w 21"/>
                <a:gd name="T3" fmla="*/ 20 h 42"/>
                <a:gd name="T4" fmla="*/ 20 w 21"/>
                <a:gd name="T5" fmla="*/ 41 h 42"/>
                <a:gd name="T6" fmla="*/ 0 w 21"/>
                <a:gd name="T7" fmla="*/ 20 h 42"/>
                <a:gd name="T8" fmla="*/ 20 w 21"/>
                <a:gd name="T9" fmla="*/ 0 h 42"/>
                <a:gd name="T10" fmla="*/ 20 w 21"/>
                <a:gd name="T11" fmla="*/ 0 h 42"/>
                <a:gd name="T12" fmla="*/ 20 w 21"/>
                <a:gd name="T13" fmla="*/ 0 h 42"/>
                <a:gd name="T14" fmla="*/ 20 w 21"/>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20"/>
                  </a:moveTo>
                  <a:lnTo>
                    <a:pt x="20" y="20"/>
                  </a:lnTo>
                  <a:cubicBezTo>
                    <a:pt x="20" y="20"/>
                    <a:pt x="20" y="20"/>
                    <a:pt x="20" y="41"/>
                  </a:cubicBezTo>
                  <a:lnTo>
                    <a:pt x="0" y="20"/>
                  </a:lnTo>
                  <a:cubicBezTo>
                    <a:pt x="0" y="20"/>
                    <a:pt x="0" y="0"/>
                    <a:pt x="20" y="0"/>
                  </a:cubicBezTo>
                  <a:lnTo>
                    <a:pt x="20" y="0"/>
                  </a:lnTo>
                  <a:lnTo>
                    <a:pt x="20" y="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1" name="Freeform 528">
              <a:extLst>
                <a:ext uri="{FF2B5EF4-FFF2-40B4-BE49-F238E27FC236}">
                  <a16:creationId xmlns:a16="http://schemas.microsoft.com/office/drawing/2014/main" id="{47AA1737-C8B6-984E-8372-B01CD71DF53A}"/>
                </a:ext>
              </a:extLst>
            </p:cNvPr>
            <p:cNvSpPr>
              <a:spLocks noChangeArrowheads="1"/>
            </p:cNvSpPr>
            <p:nvPr/>
          </p:nvSpPr>
          <p:spPr bwMode="auto">
            <a:xfrm>
              <a:off x="6718300" y="8315325"/>
              <a:ext cx="7938" cy="7938"/>
            </a:xfrm>
            <a:custGeom>
              <a:avLst/>
              <a:gdLst>
                <a:gd name="T0" fmla="*/ 0 w 21"/>
                <a:gd name="T1" fmla="*/ 21 h 22"/>
                <a:gd name="T2" fmla="*/ 0 w 21"/>
                <a:gd name="T3" fmla="*/ 21 h 22"/>
                <a:gd name="T4" fmla="*/ 0 w 21"/>
                <a:gd name="T5" fmla="*/ 0 h 22"/>
                <a:gd name="T6" fmla="*/ 0 w 21"/>
                <a:gd name="T7" fmla="*/ 0 h 22"/>
                <a:gd name="T8" fmla="*/ 20 w 21"/>
                <a:gd name="T9" fmla="*/ 0 h 22"/>
                <a:gd name="T10" fmla="*/ 20 w 21"/>
                <a:gd name="T11" fmla="*/ 21 h 22"/>
                <a:gd name="T12" fmla="*/ 20 w 21"/>
                <a:gd name="T13" fmla="*/ 21 h 22"/>
                <a:gd name="T14" fmla="*/ 0 w 21"/>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2">
                  <a:moveTo>
                    <a:pt x="0" y="21"/>
                  </a:moveTo>
                  <a:lnTo>
                    <a:pt x="0" y="21"/>
                  </a:lnTo>
                  <a:cubicBezTo>
                    <a:pt x="0" y="21"/>
                    <a:pt x="0" y="21"/>
                    <a:pt x="0" y="0"/>
                  </a:cubicBezTo>
                  <a:lnTo>
                    <a:pt x="0" y="0"/>
                  </a:lnTo>
                  <a:lnTo>
                    <a:pt x="20" y="0"/>
                  </a:lnTo>
                  <a:cubicBezTo>
                    <a:pt x="20" y="0"/>
                    <a:pt x="20" y="0"/>
                    <a:pt x="20" y="21"/>
                  </a:cubicBezTo>
                  <a:lnTo>
                    <a:pt x="20" y="21"/>
                  </a:lnTo>
                  <a:cubicBezTo>
                    <a:pt x="0" y="21"/>
                    <a:pt x="0" y="21"/>
                    <a:pt x="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2" name="Freeform 529">
              <a:extLst>
                <a:ext uri="{FF2B5EF4-FFF2-40B4-BE49-F238E27FC236}">
                  <a16:creationId xmlns:a16="http://schemas.microsoft.com/office/drawing/2014/main" id="{1C512EDF-3A9B-064D-A2FF-5EE9E4A72F14}"/>
                </a:ext>
              </a:extLst>
            </p:cNvPr>
            <p:cNvSpPr>
              <a:spLocks noChangeArrowheads="1"/>
            </p:cNvSpPr>
            <p:nvPr/>
          </p:nvSpPr>
          <p:spPr bwMode="auto">
            <a:xfrm>
              <a:off x="6711950" y="8329613"/>
              <a:ext cx="7938" cy="7937"/>
            </a:xfrm>
            <a:custGeom>
              <a:avLst/>
              <a:gdLst>
                <a:gd name="T0" fmla="*/ 0 w 21"/>
                <a:gd name="T1" fmla="*/ 0 h 21"/>
                <a:gd name="T2" fmla="*/ 0 w 21"/>
                <a:gd name="T3" fmla="*/ 0 h 21"/>
                <a:gd name="T4" fmla="*/ 0 w 21"/>
                <a:gd name="T5" fmla="*/ 0 h 21"/>
                <a:gd name="T6" fmla="*/ 0 w 21"/>
                <a:gd name="T7" fmla="*/ 20 h 21"/>
                <a:gd name="T8" fmla="*/ 20 w 21"/>
                <a:gd name="T9" fmla="*/ 20 h 21"/>
                <a:gd name="T10" fmla="*/ 20 w 21"/>
                <a:gd name="T11" fmla="*/ 20 h 21"/>
                <a:gd name="T12" fmla="*/ 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0"/>
                  </a:moveTo>
                  <a:lnTo>
                    <a:pt x="0" y="0"/>
                  </a:lnTo>
                  <a:lnTo>
                    <a:pt x="0" y="0"/>
                  </a:lnTo>
                  <a:lnTo>
                    <a:pt x="0" y="20"/>
                  </a:lnTo>
                  <a:cubicBezTo>
                    <a:pt x="0" y="20"/>
                    <a:pt x="0" y="20"/>
                    <a:pt x="20" y="20"/>
                  </a:cubicBezTo>
                  <a:lnTo>
                    <a:pt x="20" y="20"/>
                  </a:lnTo>
                  <a:cubicBezTo>
                    <a:pt x="20" y="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3" name="Freeform 530">
              <a:extLst>
                <a:ext uri="{FF2B5EF4-FFF2-40B4-BE49-F238E27FC236}">
                  <a16:creationId xmlns:a16="http://schemas.microsoft.com/office/drawing/2014/main" id="{B513C8B4-206E-E946-A3FA-FF4DC4FBB49C}"/>
                </a:ext>
              </a:extLst>
            </p:cNvPr>
            <p:cNvSpPr>
              <a:spLocks noChangeArrowheads="1"/>
            </p:cNvSpPr>
            <p:nvPr/>
          </p:nvSpPr>
          <p:spPr bwMode="auto">
            <a:xfrm>
              <a:off x="6704013" y="8315325"/>
              <a:ext cx="7937" cy="7938"/>
            </a:xfrm>
            <a:custGeom>
              <a:avLst/>
              <a:gdLst>
                <a:gd name="T0" fmla="*/ 21 w 22"/>
                <a:gd name="T1" fmla="*/ 21 h 22"/>
                <a:gd name="T2" fmla="*/ 21 w 22"/>
                <a:gd name="T3" fmla="*/ 21 h 22"/>
                <a:gd name="T4" fmla="*/ 0 w 22"/>
                <a:gd name="T5" fmla="*/ 21 h 22"/>
                <a:gd name="T6" fmla="*/ 0 w 22"/>
                <a:gd name="T7" fmla="*/ 0 h 22"/>
                <a:gd name="T8" fmla="*/ 21 w 22"/>
                <a:gd name="T9" fmla="*/ 0 h 22"/>
                <a:gd name="T10" fmla="*/ 21 w 22"/>
                <a:gd name="T11" fmla="*/ 21 h 22"/>
              </a:gdLst>
              <a:ahLst/>
              <a:cxnLst>
                <a:cxn ang="0">
                  <a:pos x="T0" y="T1"/>
                </a:cxn>
                <a:cxn ang="0">
                  <a:pos x="T2" y="T3"/>
                </a:cxn>
                <a:cxn ang="0">
                  <a:pos x="T4" y="T5"/>
                </a:cxn>
                <a:cxn ang="0">
                  <a:pos x="T6" y="T7"/>
                </a:cxn>
                <a:cxn ang="0">
                  <a:pos x="T8" y="T9"/>
                </a:cxn>
                <a:cxn ang="0">
                  <a:pos x="T10" y="T11"/>
                </a:cxn>
              </a:cxnLst>
              <a:rect l="0" t="0" r="r" b="b"/>
              <a:pathLst>
                <a:path w="22" h="22">
                  <a:moveTo>
                    <a:pt x="21" y="21"/>
                  </a:moveTo>
                  <a:lnTo>
                    <a:pt x="21" y="21"/>
                  </a:lnTo>
                  <a:cubicBezTo>
                    <a:pt x="0" y="21"/>
                    <a:pt x="0" y="21"/>
                    <a:pt x="0" y="21"/>
                  </a:cubicBezTo>
                  <a:cubicBezTo>
                    <a:pt x="0" y="0"/>
                    <a:pt x="0" y="0"/>
                    <a:pt x="0" y="0"/>
                  </a:cubicBezTo>
                  <a:cubicBezTo>
                    <a:pt x="0" y="0"/>
                    <a:pt x="0" y="0"/>
                    <a:pt x="21" y="0"/>
                  </a:cubicBezTo>
                  <a:cubicBezTo>
                    <a:pt x="21" y="0"/>
                    <a:pt x="21" y="0"/>
                    <a:pt x="2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4" name="Freeform 531">
              <a:extLst>
                <a:ext uri="{FF2B5EF4-FFF2-40B4-BE49-F238E27FC236}">
                  <a16:creationId xmlns:a16="http://schemas.microsoft.com/office/drawing/2014/main" id="{D4B0CCA8-5BAA-6249-970E-9A5EE99E1F47}"/>
                </a:ext>
              </a:extLst>
            </p:cNvPr>
            <p:cNvSpPr>
              <a:spLocks noChangeArrowheads="1"/>
            </p:cNvSpPr>
            <p:nvPr/>
          </p:nvSpPr>
          <p:spPr bwMode="auto">
            <a:xfrm>
              <a:off x="6629400" y="8248650"/>
              <a:ext cx="7938" cy="7938"/>
            </a:xfrm>
            <a:custGeom>
              <a:avLst/>
              <a:gdLst>
                <a:gd name="T0" fmla="*/ 0 w 21"/>
                <a:gd name="T1" fmla="*/ 0 h 21"/>
                <a:gd name="T2" fmla="*/ 0 w 21"/>
                <a:gd name="T3" fmla="*/ 0 h 21"/>
                <a:gd name="T4" fmla="*/ 0 w 21"/>
                <a:gd name="T5" fmla="*/ 0 h 21"/>
                <a:gd name="T6" fmla="*/ 0 w 21"/>
                <a:gd name="T7" fmla="*/ 0 h 21"/>
                <a:gd name="T8" fmla="*/ 0 w 21"/>
                <a:gd name="T9" fmla="*/ 20 h 21"/>
                <a:gd name="T10" fmla="*/ 20 w 21"/>
                <a:gd name="T11" fmla="*/ 20 h 21"/>
                <a:gd name="T12" fmla="*/ 20 w 21"/>
                <a:gd name="T13" fmla="*/ 0 h 21"/>
                <a:gd name="T14" fmla="*/ 0 w 21"/>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0"/>
                  </a:moveTo>
                  <a:lnTo>
                    <a:pt x="0" y="0"/>
                  </a:lnTo>
                  <a:lnTo>
                    <a:pt x="0" y="0"/>
                  </a:lnTo>
                  <a:lnTo>
                    <a:pt x="0" y="0"/>
                  </a:lnTo>
                  <a:cubicBezTo>
                    <a:pt x="0" y="20"/>
                    <a:pt x="0" y="20"/>
                    <a:pt x="0" y="20"/>
                  </a:cubicBezTo>
                  <a:lnTo>
                    <a:pt x="20" y="20"/>
                  </a:lnTo>
                  <a:cubicBezTo>
                    <a:pt x="20" y="20"/>
                    <a:pt x="20" y="20"/>
                    <a:pt x="20" y="0"/>
                  </a:cubicBezTo>
                  <a:cubicBezTo>
                    <a:pt x="20" y="0"/>
                    <a:pt x="2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5" name="Freeform 532">
              <a:extLst>
                <a:ext uri="{FF2B5EF4-FFF2-40B4-BE49-F238E27FC236}">
                  <a16:creationId xmlns:a16="http://schemas.microsoft.com/office/drawing/2014/main" id="{31A1F347-18B0-FB46-B660-77E6616824D6}"/>
                </a:ext>
              </a:extLst>
            </p:cNvPr>
            <p:cNvSpPr>
              <a:spLocks noChangeArrowheads="1"/>
            </p:cNvSpPr>
            <p:nvPr/>
          </p:nvSpPr>
          <p:spPr bwMode="auto">
            <a:xfrm>
              <a:off x="6821488" y="8153400"/>
              <a:ext cx="15875" cy="15875"/>
            </a:xfrm>
            <a:custGeom>
              <a:avLst/>
              <a:gdLst>
                <a:gd name="T0" fmla="*/ 20 w 42"/>
                <a:gd name="T1" fmla="*/ 41 h 42"/>
                <a:gd name="T2" fmla="*/ 20 w 42"/>
                <a:gd name="T3" fmla="*/ 41 h 42"/>
                <a:gd name="T4" fmla="*/ 41 w 42"/>
                <a:gd name="T5" fmla="*/ 21 h 42"/>
                <a:gd name="T6" fmla="*/ 20 w 42"/>
                <a:gd name="T7" fmla="*/ 0 h 42"/>
                <a:gd name="T8" fmla="*/ 20 w 42"/>
                <a:gd name="T9" fmla="*/ 0 h 42"/>
                <a:gd name="T10" fmla="*/ 0 w 42"/>
                <a:gd name="T11" fmla="*/ 21 h 42"/>
                <a:gd name="T12" fmla="*/ 20 w 4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1"/>
                  </a:moveTo>
                  <a:lnTo>
                    <a:pt x="20" y="41"/>
                  </a:lnTo>
                  <a:lnTo>
                    <a:pt x="41" y="21"/>
                  </a:lnTo>
                  <a:cubicBezTo>
                    <a:pt x="41" y="21"/>
                    <a:pt x="41" y="0"/>
                    <a:pt x="20" y="0"/>
                  </a:cubicBezTo>
                  <a:lnTo>
                    <a:pt x="20" y="0"/>
                  </a:lnTo>
                  <a:cubicBezTo>
                    <a:pt x="0" y="21"/>
                    <a:pt x="0" y="21"/>
                    <a:pt x="0" y="21"/>
                  </a:cubicBezTo>
                  <a:cubicBezTo>
                    <a:pt x="0" y="21"/>
                    <a:pt x="20" y="2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6" name="Freeform 533">
              <a:extLst>
                <a:ext uri="{FF2B5EF4-FFF2-40B4-BE49-F238E27FC236}">
                  <a16:creationId xmlns:a16="http://schemas.microsoft.com/office/drawing/2014/main" id="{95A99642-66DF-9349-8E15-1B83413795CE}"/>
                </a:ext>
              </a:extLst>
            </p:cNvPr>
            <p:cNvSpPr>
              <a:spLocks noChangeArrowheads="1"/>
            </p:cNvSpPr>
            <p:nvPr/>
          </p:nvSpPr>
          <p:spPr bwMode="auto">
            <a:xfrm>
              <a:off x="6821488" y="8167688"/>
              <a:ext cx="15875" cy="15875"/>
            </a:xfrm>
            <a:custGeom>
              <a:avLst/>
              <a:gdLst>
                <a:gd name="T0" fmla="*/ 20 w 42"/>
                <a:gd name="T1" fmla="*/ 0 h 42"/>
                <a:gd name="T2" fmla="*/ 20 w 42"/>
                <a:gd name="T3" fmla="*/ 0 h 42"/>
                <a:gd name="T4" fmla="*/ 20 w 42"/>
                <a:gd name="T5" fmla="*/ 21 h 42"/>
                <a:gd name="T6" fmla="*/ 20 w 42"/>
                <a:gd name="T7" fmla="*/ 21 h 42"/>
                <a:gd name="T8" fmla="*/ 20 w 42"/>
                <a:gd name="T9" fmla="*/ 21 h 42"/>
                <a:gd name="T10" fmla="*/ 20 w 42"/>
                <a:gd name="T11" fmla="*/ 21 h 42"/>
                <a:gd name="T12" fmla="*/ 20 w 4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0"/>
                  </a:moveTo>
                  <a:lnTo>
                    <a:pt x="20" y="0"/>
                  </a:lnTo>
                  <a:cubicBezTo>
                    <a:pt x="20" y="0"/>
                    <a:pt x="20" y="0"/>
                    <a:pt x="20" y="21"/>
                  </a:cubicBezTo>
                  <a:cubicBezTo>
                    <a:pt x="20" y="21"/>
                    <a:pt x="0" y="21"/>
                    <a:pt x="20" y="21"/>
                  </a:cubicBezTo>
                  <a:cubicBezTo>
                    <a:pt x="20" y="21"/>
                    <a:pt x="20" y="41"/>
                    <a:pt x="20" y="21"/>
                  </a:cubicBezTo>
                  <a:lnTo>
                    <a:pt x="20" y="21"/>
                  </a:lnTo>
                  <a:cubicBezTo>
                    <a:pt x="41" y="21"/>
                    <a:pt x="20" y="21"/>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7" name="Freeform 534">
              <a:extLst>
                <a:ext uri="{FF2B5EF4-FFF2-40B4-BE49-F238E27FC236}">
                  <a16:creationId xmlns:a16="http://schemas.microsoft.com/office/drawing/2014/main" id="{34BE7007-66B2-BE4C-BA4B-CD191FD911C7}"/>
                </a:ext>
              </a:extLst>
            </p:cNvPr>
            <p:cNvSpPr>
              <a:spLocks noChangeArrowheads="1"/>
            </p:cNvSpPr>
            <p:nvPr/>
          </p:nvSpPr>
          <p:spPr bwMode="auto">
            <a:xfrm>
              <a:off x="6564313" y="8064500"/>
              <a:ext cx="58737" cy="38100"/>
            </a:xfrm>
            <a:custGeom>
              <a:avLst/>
              <a:gdLst>
                <a:gd name="T0" fmla="*/ 143 w 165"/>
                <a:gd name="T1" fmla="*/ 103 h 104"/>
                <a:gd name="T2" fmla="*/ 143 w 165"/>
                <a:gd name="T3" fmla="*/ 103 h 104"/>
                <a:gd name="T4" fmla="*/ 102 w 165"/>
                <a:gd name="T5" fmla="*/ 103 h 104"/>
                <a:gd name="T6" fmla="*/ 82 w 165"/>
                <a:gd name="T7" fmla="*/ 103 h 104"/>
                <a:gd name="T8" fmla="*/ 40 w 165"/>
                <a:gd name="T9" fmla="*/ 103 h 104"/>
                <a:gd name="T10" fmla="*/ 20 w 165"/>
                <a:gd name="T11" fmla="*/ 103 h 104"/>
                <a:gd name="T12" fmla="*/ 0 w 165"/>
                <a:gd name="T13" fmla="*/ 82 h 104"/>
                <a:gd name="T14" fmla="*/ 0 w 165"/>
                <a:gd name="T15" fmla="*/ 62 h 104"/>
                <a:gd name="T16" fmla="*/ 20 w 165"/>
                <a:gd name="T17" fmla="*/ 41 h 104"/>
                <a:gd name="T18" fmla="*/ 40 w 165"/>
                <a:gd name="T19" fmla="*/ 21 h 104"/>
                <a:gd name="T20" fmla="*/ 40 w 165"/>
                <a:gd name="T21" fmla="*/ 0 h 104"/>
                <a:gd name="T22" fmla="*/ 82 w 165"/>
                <a:gd name="T23" fmla="*/ 21 h 104"/>
                <a:gd name="T24" fmla="*/ 102 w 165"/>
                <a:gd name="T25" fmla="*/ 21 h 104"/>
                <a:gd name="T26" fmla="*/ 122 w 165"/>
                <a:gd name="T27" fmla="*/ 41 h 104"/>
                <a:gd name="T28" fmla="*/ 143 w 165"/>
                <a:gd name="T29" fmla="*/ 62 h 104"/>
                <a:gd name="T30" fmla="*/ 164 w 165"/>
                <a:gd name="T31" fmla="*/ 62 h 104"/>
                <a:gd name="T32" fmla="*/ 164 w 165"/>
                <a:gd name="T33" fmla="*/ 82 h 104"/>
                <a:gd name="T34" fmla="*/ 164 w 165"/>
                <a:gd name="T35" fmla="*/ 82 h 104"/>
                <a:gd name="T36" fmla="*/ 143 w 165"/>
                <a:gd name="T37"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5" h="104">
                  <a:moveTo>
                    <a:pt x="143" y="103"/>
                  </a:moveTo>
                  <a:lnTo>
                    <a:pt x="143" y="103"/>
                  </a:lnTo>
                  <a:cubicBezTo>
                    <a:pt x="143" y="103"/>
                    <a:pt x="122" y="103"/>
                    <a:pt x="102" y="103"/>
                  </a:cubicBezTo>
                  <a:lnTo>
                    <a:pt x="82" y="103"/>
                  </a:lnTo>
                  <a:cubicBezTo>
                    <a:pt x="82" y="103"/>
                    <a:pt x="61" y="103"/>
                    <a:pt x="40" y="103"/>
                  </a:cubicBezTo>
                  <a:lnTo>
                    <a:pt x="20" y="103"/>
                  </a:lnTo>
                  <a:cubicBezTo>
                    <a:pt x="20" y="103"/>
                    <a:pt x="20" y="82"/>
                    <a:pt x="0" y="82"/>
                  </a:cubicBezTo>
                  <a:lnTo>
                    <a:pt x="0" y="62"/>
                  </a:lnTo>
                  <a:cubicBezTo>
                    <a:pt x="0" y="41"/>
                    <a:pt x="20" y="41"/>
                    <a:pt x="20" y="41"/>
                  </a:cubicBezTo>
                  <a:cubicBezTo>
                    <a:pt x="20" y="21"/>
                    <a:pt x="20" y="21"/>
                    <a:pt x="40" y="21"/>
                  </a:cubicBezTo>
                  <a:cubicBezTo>
                    <a:pt x="40" y="0"/>
                    <a:pt x="40" y="0"/>
                    <a:pt x="40" y="0"/>
                  </a:cubicBezTo>
                  <a:cubicBezTo>
                    <a:pt x="61" y="0"/>
                    <a:pt x="61" y="21"/>
                    <a:pt x="82" y="21"/>
                  </a:cubicBezTo>
                  <a:lnTo>
                    <a:pt x="102" y="21"/>
                  </a:lnTo>
                  <a:lnTo>
                    <a:pt x="122" y="41"/>
                  </a:lnTo>
                  <a:lnTo>
                    <a:pt x="143" y="62"/>
                  </a:lnTo>
                  <a:lnTo>
                    <a:pt x="164" y="62"/>
                  </a:lnTo>
                  <a:lnTo>
                    <a:pt x="164" y="82"/>
                  </a:lnTo>
                  <a:lnTo>
                    <a:pt x="164" y="82"/>
                  </a:lnTo>
                  <a:cubicBezTo>
                    <a:pt x="143" y="82"/>
                    <a:pt x="143" y="82"/>
                    <a:pt x="143" y="10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8" name="Freeform 535">
              <a:extLst>
                <a:ext uri="{FF2B5EF4-FFF2-40B4-BE49-F238E27FC236}">
                  <a16:creationId xmlns:a16="http://schemas.microsoft.com/office/drawing/2014/main" id="{F06FA49F-C70E-C042-BDB5-E2DA3EB27A70}"/>
                </a:ext>
              </a:extLst>
            </p:cNvPr>
            <p:cNvSpPr>
              <a:spLocks noChangeArrowheads="1"/>
            </p:cNvSpPr>
            <p:nvPr/>
          </p:nvSpPr>
          <p:spPr bwMode="auto">
            <a:xfrm>
              <a:off x="6570663" y="8050213"/>
              <a:ext cx="7937" cy="15875"/>
            </a:xfrm>
            <a:custGeom>
              <a:avLst/>
              <a:gdLst>
                <a:gd name="T0" fmla="*/ 20 w 21"/>
                <a:gd name="T1" fmla="*/ 21 h 42"/>
                <a:gd name="T2" fmla="*/ 20 w 21"/>
                <a:gd name="T3" fmla="*/ 21 h 42"/>
                <a:gd name="T4" fmla="*/ 20 w 21"/>
                <a:gd name="T5" fmla="*/ 41 h 42"/>
                <a:gd name="T6" fmla="*/ 0 w 21"/>
                <a:gd name="T7" fmla="*/ 21 h 42"/>
                <a:gd name="T8" fmla="*/ 0 w 21"/>
                <a:gd name="T9" fmla="*/ 21 h 42"/>
                <a:gd name="T10" fmla="*/ 20 w 21"/>
                <a:gd name="T11" fmla="*/ 21 h 42"/>
              </a:gdLst>
              <a:ahLst/>
              <a:cxnLst>
                <a:cxn ang="0">
                  <a:pos x="T0" y="T1"/>
                </a:cxn>
                <a:cxn ang="0">
                  <a:pos x="T2" y="T3"/>
                </a:cxn>
                <a:cxn ang="0">
                  <a:pos x="T4" y="T5"/>
                </a:cxn>
                <a:cxn ang="0">
                  <a:pos x="T6" y="T7"/>
                </a:cxn>
                <a:cxn ang="0">
                  <a:pos x="T8" y="T9"/>
                </a:cxn>
                <a:cxn ang="0">
                  <a:pos x="T10" y="T11"/>
                </a:cxn>
              </a:cxnLst>
              <a:rect l="0" t="0" r="r" b="b"/>
              <a:pathLst>
                <a:path w="21" h="42">
                  <a:moveTo>
                    <a:pt x="20" y="21"/>
                  </a:moveTo>
                  <a:lnTo>
                    <a:pt x="20" y="21"/>
                  </a:lnTo>
                  <a:cubicBezTo>
                    <a:pt x="20" y="41"/>
                    <a:pt x="20" y="41"/>
                    <a:pt x="20" y="41"/>
                  </a:cubicBezTo>
                  <a:cubicBezTo>
                    <a:pt x="20" y="41"/>
                    <a:pt x="0" y="41"/>
                    <a:pt x="0" y="21"/>
                  </a:cubicBezTo>
                  <a:lnTo>
                    <a:pt x="0" y="21"/>
                  </a:lnTo>
                  <a:cubicBezTo>
                    <a:pt x="0" y="0"/>
                    <a:pt x="0" y="0"/>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39" name="Freeform 536">
              <a:extLst>
                <a:ext uri="{FF2B5EF4-FFF2-40B4-BE49-F238E27FC236}">
                  <a16:creationId xmlns:a16="http://schemas.microsoft.com/office/drawing/2014/main" id="{15FC208C-89DA-8246-AE21-FC05B2A70B5E}"/>
                </a:ext>
              </a:extLst>
            </p:cNvPr>
            <p:cNvSpPr>
              <a:spLocks noChangeArrowheads="1"/>
            </p:cNvSpPr>
            <p:nvPr/>
          </p:nvSpPr>
          <p:spPr bwMode="auto">
            <a:xfrm>
              <a:off x="6629400" y="8050213"/>
              <a:ext cx="7938" cy="7937"/>
            </a:xfrm>
            <a:custGeom>
              <a:avLst/>
              <a:gdLst>
                <a:gd name="T0" fmla="*/ 20 w 21"/>
                <a:gd name="T1" fmla="*/ 21 h 22"/>
                <a:gd name="T2" fmla="*/ 20 w 21"/>
                <a:gd name="T3" fmla="*/ 21 h 22"/>
                <a:gd name="T4" fmla="*/ 0 w 21"/>
                <a:gd name="T5" fmla="*/ 21 h 22"/>
                <a:gd name="T6" fmla="*/ 0 w 21"/>
                <a:gd name="T7" fmla="*/ 0 h 22"/>
                <a:gd name="T8" fmla="*/ 20 w 21"/>
                <a:gd name="T9" fmla="*/ 0 h 22"/>
                <a:gd name="T10" fmla="*/ 20 w 21"/>
                <a:gd name="T11" fmla="*/ 0 h 22"/>
                <a:gd name="T12" fmla="*/ 20 w 21"/>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20" y="21"/>
                  </a:moveTo>
                  <a:lnTo>
                    <a:pt x="20" y="21"/>
                  </a:lnTo>
                  <a:lnTo>
                    <a:pt x="0" y="21"/>
                  </a:lnTo>
                  <a:cubicBezTo>
                    <a:pt x="0" y="0"/>
                    <a:pt x="0" y="0"/>
                    <a:pt x="0" y="0"/>
                  </a:cubicBezTo>
                  <a:cubicBezTo>
                    <a:pt x="0" y="0"/>
                    <a:pt x="0" y="0"/>
                    <a:pt x="20" y="0"/>
                  </a:cubicBezTo>
                  <a:lnTo>
                    <a:pt x="20" y="0"/>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0" name="Freeform 537">
              <a:extLst>
                <a:ext uri="{FF2B5EF4-FFF2-40B4-BE49-F238E27FC236}">
                  <a16:creationId xmlns:a16="http://schemas.microsoft.com/office/drawing/2014/main" id="{69A65D8B-F5C1-8C41-B490-E5B191FEC5ED}"/>
                </a:ext>
              </a:extLst>
            </p:cNvPr>
            <p:cNvSpPr>
              <a:spLocks noChangeArrowheads="1"/>
            </p:cNvSpPr>
            <p:nvPr/>
          </p:nvSpPr>
          <p:spPr bwMode="auto">
            <a:xfrm>
              <a:off x="6637338" y="8072438"/>
              <a:ext cx="7937" cy="7937"/>
            </a:xfrm>
            <a:custGeom>
              <a:avLst/>
              <a:gdLst>
                <a:gd name="T0" fmla="*/ 0 w 22"/>
                <a:gd name="T1" fmla="*/ 0 h 21"/>
                <a:gd name="T2" fmla="*/ 0 w 22"/>
                <a:gd name="T3" fmla="*/ 0 h 21"/>
                <a:gd name="T4" fmla="*/ 0 w 22"/>
                <a:gd name="T5" fmla="*/ 0 h 21"/>
                <a:gd name="T6" fmla="*/ 0 w 22"/>
                <a:gd name="T7" fmla="*/ 20 h 21"/>
                <a:gd name="T8" fmla="*/ 21 w 22"/>
                <a:gd name="T9" fmla="*/ 20 h 21"/>
                <a:gd name="T10" fmla="*/ 21 w 22"/>
                <a:gd name="T11" fmla="*/ 0 h 21"/>
                <a:gd name="T12" fmla="*/ 0 w 2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2" h="21">
                  <a:moveTo>
                    <a:pt x="0" y="0"/>
                  </a:moveTo>
                  <a:lnTo>
                    <a:pt x="0" y="0"/>
                  </a:lnTo>
                  <a:lnTo>
                    <a:pt x="0" y="0"/>
                  </a:lnTo>
                  <a:lnTo>
                    <a:pt x="0" y="20"/>
                  </a:lnTo>
                  <a:lnTo>
                    <a:pt x="21" y="20"/>
                  </a:lnTo>
                  <a:cubicBezTo>
                    <a:pt x="21" y="20"/>
                    <a:pt x="21" y="20"/>
                    <a:pt x="21" y="0"/>
                  </a:cubicBezTo>
                  <a:cubicBezTo>
                    <a:pt x="21" y="0"/>
                    <a:pt x="21"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1" name="Freeform 538">
              <a:extLst>
                <a:ext uri="{FF2B5EF4-FFF2-40B4-BE49-F238E27FC236}">
                  <a16:creationId xmlns:a16="http://schemas.microsoft.com/office/drawing/2014/main" id="{EB6D357E-828E-264B-8F1E-1D134A69323B}"/>
                </a:ext>
              </a:extLst>
            </p:cNvPr>
            <p:cNvSpPr>
              <a:spLocks noChangeArrowheads="1"/>
            </p:cNvSpPr>
            <p:nvPr/>
          </p:nvSpPr>
          <p:spPr bwMode="auto">
            <a:xfrm>
              <a:off x="6570663" y="7791450"/>
              <a:ext cx="96837" cy="244475"/>
            </a:xfrm>
            <a:custGeom>
              <a:avLst/>
              <a:gdLst>
                <a:gd name="T0" fmla="*/ 164 w 267"/>
                <a:gd name="T1" fmla="*/ 676 h 677"/>
                <a:gd name="T2" fmla="*/ 123 w 267"/>
                <a:gd name="T3" fmla="*/ 615 h 677"/>
                <a:gd name="T4" fmla="*/ 82 w 267"/>
                <a:gd name="T5" fmla="*/ 574 h 677"/>
                <a:gd name="T6" fmla="*/ 62 w 267"/>
                <a:gd name="T7" fmla="*/ 533 h 677"/>
                <a:gd name="T8" fmla="*/ 62 w 267"/>
                <a:gd name="T9" fmla="*/ 492 h 677"/>
                <a:gd name="T10" fmla="*/ 41 w 267"/>
                <a:gd name="T11" fmla="*/ 431 h 677"/>
                <a:gd name="T12" fmla="*/ 62 w 267"/>
                <a:gd name="T13" fmla="*/ 389 h 677"/>
                <a:gd name="T14" fmla="*/ 20 w 267"/>
                <a:gd name="T15" fmla="*/ 349 h 677"/>
                <a:gd name="T16" fmla="*/ 20 w 267"/>
                <a:gd name="T17" fmla="*/ 307 h 677"/>
                <a:gd name="T18" fmla="*/ 20 w 267"/>
                <a:gd name="T19" fmla="*/ 246 h 677"/>
                <a:gd name="T20" fmla="*/ 0 w 267"/>
                <a:gd name="T21" fmla="*/ 205 h 677"/>
                <a:gd name="T22" fmla="*/ 41 w 267"/>
                <a:gd name="T23" fmla="*/ 123 h 677"/>
                <a:gd name="T24" fmla="*/ 62 w 267"/>
                <a:gd name="T25" fmla="*/ 61 h 677"/>
                <a:gd name="T26" fmla="*/ 82 w 267"/>
                <a:gd name="T27" fmla="*/ 21 h 677"/>
                <a:gd name="T28" fmla="*/ 102 w 267"/>
                <a:gd name="T29" fmla="*/ 0 h 677"/>
                <a:gd name="T30" fmla="*/ 102 w 267"/>
                <a:gd name="T31" fmla="*/ 41 h 677"/>
                <a:gd name="T32" fmla="*/ 102 w 267"/>
                <a:gd name="T33" fmla="*/ 82 h 677"/>
                <a:gd name="T34" fmla="*/ 123 w 267"/>
                <a:gd name="T35" fmla="*/ 143 h 677"/>
                <a:gd name="T36" fmla="*/ 102 w 267"/>
                <a:gd name="T37" fmla="*/ 185 h 677"/>
                <a:gd name="T38" fmla="*/ 62 w 267"/>
                <a:gd name="T39" fmla="*/ 225 h 677"/>
                <a:gd name="T40" fmla="*/ 62 w 267"/>
                <a:gd name="T41" fmla="*/ 246 h 677"/>
                <a:gd name="T42" fmla="*/ 82 w 267"/>
                <a:gd name="T43" fmla="*/ 246 h 677"/>
                <a:gd name="T44" fmla="*/ 123 w 267"/>
                <a:gd name="T45" fmla="*/ 205 h 677"/>
                <a:gd name="T46" fmla="*/ 144 w 267"/>
                <a:gd name="T47" fmla="*/ 164 h 677"/>
                <a:gd name="T48" fmla="*/ 184 w 267"/>
                <a:gd name="T49" fmla="*/ 143 h 677"/>
                <a:gd name="T50" fmla="*/ 226 w 267"/>
                <a:gd name="T51" fmla="*/ 123 h 677"/>
                <a:gd name="T52" fmla="*/ 246 w 267"/>
                <a:gd name="T53" fmla="*/ 164 h 677"/>
                <a:gd name="T54" fmla="*/ 246 w 267"/>
                <a:gd name="T55" fmla="*/ 246 h 677"/>
                <a:gd name="T56" fmla="*/ 184 w 267"/>
                <a:gd name="T57" fmla="*/ 267 h 677"/>
                <a:gd name="T58" fmla="*/ 184 w 267"/>
                <a:gd name="T59" fmla="*/ 307 h 677"/>
                <a:gd name="T60" fmla="*/ 205 w 267"/>
                <a:gd name="T61" fmla="*/ 328 h 677"/>
                <a:gd name="T62" fmla="*/ 246 w 267"/>
                <a:gd name="T63" fmla="*/ 349 h 677"/>
                <a:gd name="T64" fmla="*/ 246 w 267"/>
                <a:gd name="T65" fmla="*/ 389 h 677"/>
                <a:gd name="T66" fmla="*/ 266 w 267"/>
                <a:gd name="T67" fmla="*/ 431 h 677"/>
                <a:gd name="T68" fmla="*/ 226 w 267"/>
                <a:gd name="T69" fmla="*/ 389 h 677"/>
                <a:gd name="T70" fmla="*/ 184 w 267"/>
                <a:gd name="T71" fmla="*/ 369 h 677"/>
                <a:gd name="T72" fmla="*/ 123 w 267"/>
                <a:gd name="T73" fmla="*/ 369 h 677"/>
                <a:gd name="T74" fmla="*/ 102 w 267"/>
                <a:gd name="T75" fmla="*/ 431 h 677"/>
                <a:gd name="T76" fmla="*/ 123 w 267"/>
                <a:gd name="T77" fmla="*/ 513 h 677"/>
                <a:gd name="T78" fmla="*/ 144 w 267"/>
                <a:gd name="T79" fmla="*/ 574 h 677"/>
                <a:gd name="T80" fmla="*/ 164 w 267"/>
                <a:gd name="T81" fmla="*/ 615 h 677"/>
                <a:gd name="T82" fmla="*/ 184 w 267"/>
                <a:gd name="T83" fmla="*/ 676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7" h="677">
                  <a:moveTo>
                    <a:pt x="164" y="676"/>
                  </a:moveTo>
                  <a:lnTo>
                    <a:pt x="164" y="676"/>
                  </a:lnTo>
                  <a:lnTo>
                    <a:pt x="144" y="656"/>
                  </a:lnTo>
                  <a:cubicBezTo>
                    <a:pt x="144" y="635"/>
                    <a:pt x="123" y="615"/>
                    <a:pt x="123" y="615"/>
                  </a:cubicBezTo>
                  <a:lnTo>
                    <a:pt x="102" y="594"/>
                  </a:lnTo>
                  <a:cubicBezTo>
                    <a:pt x="102" y="574"/>
                    <a:pt x="82" y="574"/>
                    <a:pt x="82" y="574"/>
                  </a:cubicBezTo>
                  <a:cubicBezTo>
                    <a:pt x="82" y="553"/>
                    <a:pt x="82" y="553"/>
                    <a:pt x="82" y="553"/>
                  </a:cubicBezTo>
                  <a:cubicBezTo>
                    <a:pt x="62" y="553"/>
                    <a:pt x="62" y="533"/>
                    <a:pt x="62" y="533"/>
                  </a:cubicBezTo>
                  <a:lnTo>
                    <a:pt x="62" y="513"/>
                  </a:lnTo>
                  <a:lnTo>
                    <a:pt x="62" y="492"/>
                  </a:lnTo>
                  <a:cubicBezTo>
                    <a:pt x="62" y="471"/>
                    <a:pt x="62" y="471"/>
                    <a:pt x="62" y="451"/>
                  </a:cubicBezTo>
                  <a:lnTo>
                    <a:pt x="41" y="431"/>
                  </a:lnTo>
                  <a:lnTo>
                    <a:pt x="62" y="410"/>
                  </a:lnTo>
                  <a:lnTo>
                    <a:pt x="62" y="389"/>
                  </a:lnTo>
                  <a:cubicBezTo>
                    <a:pt x="41" y="369"/>
                    <a:pt x="41" y="369"/>
                    <a:pt x="41" y="369"/>
                  </a:cubicBezTo>
                  <a:lnTo>
                    <a:pt x="20" y="349"/>
                  </a:lnTo>
                  <a:lnTo>
                    <a:pt x="20" y="328"/>
                  </a:lnTo>
                  <a:lnTo>
                    <a:pt x="20" y="307"/>
                  </a:lnTo>
                  <a:lnTo>
                    <a:pt x="20" y="287"/>
                  </a:lnTo>
                  <a:cubicBezTo>
                    <a:pt x="20" y="287"/>
                    <a:pt x="20" y="267"/>
                    <a:pt x="20" y="246"/>
                  </a:cubicBezTo>
                  <a:lnTo>
                    <a:pt x="0" y="246"/>
                  </a:lnTo>
                  <a:cubicBezTo>
                    <a:pt x="0" y="246"/>
                    <a:pt x="0" y="225"/>
                    <a:pt x="0" y="205"/>
                  </a:cubicBezTo>
                  <a:cubicBezTo>
                    <a:pt x="0" y="205"/>
                    <a:pt x="0" y="164"/>
                    <a:pt x="20" y="164"/>
                  </a:cubicBezTo>
                  <a:cubicBezTo>
                    <a:pt x="20" y="143"/>
                    <a:pt x="20" y="143"/>
                    <a:pt x="41" y="123"/>
                  </a:cubicBezTo>
                  <a:lnTo>
                    <a:pt x="41" y="103"/>
                  </a:lnTo>
                  <a:cubicBezTo>
                    <a:pt x="62" y="82"/>
                    <a:pt x="62" y="82"/>
                    <a:pt x="62" y="61"/>
                  </a:cubicBezTo>
                  <a:lnTo>
                    <a:pt x="62" y="61"/>
                  </a:lnTo>
                  <a:cubicBezTo>
                    <a:pt x="62" y="41"/>
                    <a:pt x="82" y="41"/>
                    <a:pt x="82" y="21"/>
                  </a:cubicBezTo>
                  <a:lnTo>
                    <a:pt x="82" y="0"/>
                  </a:lnTo>
                  <a:cubicBezTo>
                    <a:pt x="102" y="0"/>
                    <a:pt x="102" y="0"/>
                    <a:pt x="102" y="0"/>
                  </a:cubicBezTo>
                  <a:lnTo>
                    <a:pt x="102" y="21"/>
                  </a:lnTo>
                  <a:lnTo>
                    <a:pt x="102" y="41"/>
                  </a:lnTo>
                  <a:lnTo>
                    <a:pt x="102" y="61"/>
                  </a:lnTo>
                  <a:cubicBezTo>
                    <a:pt x="102" y="82"/>
                    <a:pt x="102" y="82"/>
                    <a:pt x="102" y="82"/>
                  </a:cubicBezTo>
                  <a:cubicBezTo>
                    <a:pt x="123" y="103"/>
                    <a:pt x="123" y="103"/>
                    <a:pt x="123" y="103"/>
                  </a:cubicBezTo>
                  <a:cubicBezTo>
                    <a:pt x="123" y="123"/>
                    <a:pt x="123" y="123"/>
                    <a:pt x="123" y="143"/>
                  </a:cubicBezTo>
                  <a:cubicBezTo>
                    <a:pt x="123" y="143"/>
                    <a:pt x="123" y="164"/>
                    <a:pt x="102" y="164"/>
                  </a:cubicBezTo>
                  <a:lnTo>
                    <a:pt x="102" y="185"/>
                  </a:lnTo>
                  <a:lnTo>
                    <a:pt x="82" y="205"/>
                  </a:lnTo>
                  <a:cubicBezTo>
                    <a:pt x="82" y="205"/>
                    <a:pt x="62" y="205"/>
                    <a:pt x="62" y="225"/>
                  </a:cubicBezTo>
                  <a:lnTo>
                    <a:pt x="62" y="225"/>
                  </a:lnTo>
                  <a:cubicBezTo>
                    <a:pt x="62" y="246"/>
                    <a:pt x="62" y="246"/>
                    <a:pt x="62" y="246"/>
                  </a:cubicBezTo>
                  <a:cubicBezTo>
                    <a:pt x="62" y="267"/>
                    <a:pt x="82" y="246"/>
                    <a:pt x="82" y="246"/>
                  </a:cubicBezTo>
                  <a:lnTo>
                    <a:pt x="82" y="246"/>
                  </a:lnTo>
                  <a:cubicBezTo>
                    <a:pt x="82" y="225"/>
                    <a:pt x="102" y="225"/>
                    <a:pt x="102" y="225"/>
                  </a:cubicBezTo>
                  <a:lnTo>
                    <a:pt x="123" y="205"/>
                  </a:lnTo>
                  <a:cubicBezTo>
                    <a:pt x="123" y="205"/>
                    <a:pt x="123" y="185"/>
                    <a:pt x="144" y="164"/>
                  </a:cubicBezTo>
                  <a:lnTo>
                    <a:pt x="144" y="164"/>
                  </a:lnTo>
                  <a:cubicBezTo>
                    <a:pt x="144" y="164"/>
                    <a:pt x="164" y="164"/>
                    <a:pt x="164" y="143"/>
                  </a:cubicBezTo>
                  <a:cubicBezTo>
                    <a:pt x="184" y="143"/>
                    <a:pt x="184" y="143"/>
                    <a:pt x="184" y="143"/>
                  </a:cubicBezTo>
                  <a:lnTo>
                    <a:pt x="205" y="123"/>
                  </a:lnTo>
                  <a:lnTo>
                    <a:pt x="226" y="123"/>
                  </a:lnTo>
                  <a:cubicBezTo>
                    <a:pt x="226" y="123"/>
                    <a:pt x="246" y="123"/>
                    <a:pt x="246" y="143"/>
                  </a:cubicBezTo>
                  <a:cubicBezTo>
                    <a:pt x="246" y="143"/>
                    <a:pt x="246" y="143"/>
                    <a:pt x="246" y="164"/>
                  </a:cubicBezTo>
                  <a:cubicBezTo>
                    <a:pt x="246" y="164"/>
                    <a:pt x="246" y="185"/>
                    <a:pt x="246" y="205"/>
                  </a:cubicBezTo>
                  <a:cubicBezTo>
                    <a:pt x="246" y="205"/>
                    <a:pt x="246" y="225"/>
                    <a:pt x="246" y="246"/>
                  </a:cubicBezTo>
                  <a:cubicBezTo>
                    <a:pt x="226" y="246"/>
                    <a:pt x="226" y="246"/>
                    <a:pt x="205" y="246"/>
                  </a:cubicBezTo>
                  <a:cubicBezTo>
                    <a:pt x="205" y="246"/>
                    <a:pt x="184" y="246"/>
                    <a:pt x="184" y="267"/>
                  </a:cubicBezTo>
                  <a:lnTo>
                    <a:pt x="184" y="267"/>
                  </a:lnTo>
                  <a:cubicBezTo>
                    <a:pt x="164" y="287"/>
                    <a:pt x="164" y="287"/>
                    <a:pt x="184" y="307"/>
                  </a:cubicBezTo>
                  <a:lnTo>
                    <a:pt x="184" y="307"/>
                  </a:lnTo>
                  <a:cubicBezTo>
                    <a:pt x="184" y="328"/>
                    <a:pt x="205" y="328"/>
                    <a:pt x="205" y="328"/>
                  </a:cubicBezTo>
                  <a:cubicBezTo>
                    <a:pt x="226" y="328"/>
                    <a:pt x="226" y="328"/>
                    <a:pt x="246" y="328"/>
                  </a:cubicBezTo>
                  <a:lnTo>
                    <a:pt x="246" y="349"/>
                  </a:lnTo>
                  <a:lnTo>
                    <a:pt x="246" y="369"/>
                  </a:lnTo>
                  <a:lnTo>
                    <a:pt x="246" y="389"/>
                  </a:lnTo>
                  <a:cubicBezTo>
                    <a:pt x="266" y="389"/>
                    <a:pt x="266" y="389"/>
                    <a:pt x="266" y="389"/>
                  </a:cubicBezTo>
                  <a:cubicBezTo>
                    <a:pt x="266" y="410"/>
                    <a:pt x="266" y="410"/>
                    <a:pt x="266" y="431"/>
                  </a:cubicBezTo>
                  <a:cubicBezTo>
                    <a:pt x="246" y="431"/>
                    <a:pt x="246" y="431"/>
                    <a:pt x="246" y="410"/>
                  </a:cubicBezTo>
                  <a:cubicBezTo>
                    <a:pt x="226" y="410"/>
                    <a:pt x="226" y="410"/>
                    <a:pt x="226" y="389"/>
                  </a:cubicBezTo>
                  <a:cubicBezTo>
                    <a:pt x="205" y="389"/>
                    <a:pt x="205" y="389"/>
                    <a:pt x="205" y="389"/>
                  </a:cubicBezTo>
                  <a:cubicBezTo>
                    <a:pt x="184" y="369"/>
                    <a:pt x="184" y="369"/>
                    <a:pt x="184" y="369"/>
                  </a:cubicBezTo>
                  <a:cubicBezTo>
                    <a:pt x="164" y="369"/>
                    <a:pt x="164" y="369"/>
                    <a:pt x="144" y="369"/>
                  </a:cubicBezTo>
                  <a:lnTo>
                    <a:pt x="123" y="369"/>
                  </a:lnTo>
                  <a:cubicBezTo>
                    <a:pt x="102" y="369"/>
                    <a:pt x="102" y="369"/>
                    <a:pt x="102" y="389"/>
                  </a:cubicBezTo>
                  <a:cubicBezTo>
                    <a:pt x="102" y="389"/>
                    <a:pt x="102" y="410"/>
                    <a:pt x="102" y="431"/>
                  </a:cubicBezTo>
                  <a:cubicBezTo>
                    <a:pt x="102" y="431"/>
                    <a:pt x="102" y="451"/>
                    <a:pt x="102" y="471"/>
                  </a:cubicBezTo>
                  <a:cubicBezTo>
                    <a:pt x="102" y="471"/>
                    <a:pt x="123" y="492"/>
                    <a:pt x="123" y="513"/>
                  </a:cubicBezTo>
                  <a:cubicBezTo>
                    <a:pt x="123" y="513"/>
                    <a:pt x="123" y="533"/>
                    <a:pt x="123" y="553"/>
                  </a:cubicBezTo>
                  <a:lnTo>
                    <a:pt x="144" y="574"/>
                  </a:lnTo>
                  <a:cubicBezTo>
                    <a:pt x="144" y="594"/>
                    <a:pt x="144" y="594"/>
                    <a:pt x="164" y="615"/>
                  </a:cubicBezTo>
                  <a:lnTo>
                    <a:pt x="164" y="615"/>
                  </a:lnTo>
                  <a:cubicBezTo>
                    <a:pt x="184" y="635"/>
                    <a:pt x="184" y="635"/>
                    <a:pt x="184" y="656"/>
                  </a:cubicBezTo>
                  <a:cubicBezTo>
                    <a:pt x="184" y="656"/>
                    <a:pt x="184" y="656"/>
                    <a:pt x="184" y="676"/>
                  </a:cubicBezTo>
                  <a:lnTo>
                    <a:pt x="164" y="676"/>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2" name="Freeform 539">
              <a:extLst>
                <a:ext uri="{FF2B5EF4-FFF2-40B4-BE49-F238E27FC236}">
                  <a16:creationId xmlns:a16="http://schemas.microsoft.com/office/drawing/2014/main" id="{52BA0DC0-F1D2-1142-839E-1F0785E7D47B}"/>
                </a:ext>
              </a:extLst>
            </p:cNvPr>
            <p:cNvSpPr>
              <a:spLocks noChangeArrowheads="1"/>
            </p:cNvSpPr>
            <p:nvPr/>
          </p:nvSpPr>
          <p:spPr bwMode="auto">
            <a:xfrm>
              <a:off x="6645275" y="8005763"/>
              <a:ext cx="7938" cy="7937"/>
            </a:xfrm>
            <a:custGeom>
              <a:avLst/>
              <a:gdLst>
                <a:gd name="T0" fmla="*/ 0 w 22"/>
                <a:gd name="T1" fmla="*/ 21 h 22"/>
                <a:gd name="T2" fmla="*/ 0 w 22"/>
                <a:gd name="T3" fmla="*/ 21 h 22"/>
                <a:gd name="T4" fmla="*/ 0 w 22"/>
                <a:gd name="T5" fmla="*/ 21 h 22"/>
                <a:gd name="T6" fmla="*/ 0 w 22"/>
                <a:gd name="T7" fmla="*/ 0 h 22"/>
                <a:gd name="T8" fmla="*/ 0 w 22"/>
                <a:gd name="T9" fmla="*/ 0 h 22"/>
                <a:gd name="T10" fmla="*/ 21 w 22"/>
                <a:gd name="T11" fmla="*/ 0 h 22"/>
                <a:gd name="T12" fmla="*/ 0 w 22"/>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0" y="21"/>
                  </a:moveTo>
                  <a:lnTo>
                    <a:pt x="0" y="21"/>
                  </a:lnTo>
                  <a:lnTo>
                    <a:pt x="0" y="21"/>
                  </a:lnTo>
                  <a:lnTo>
                    <a:pt x="0" y="0"/>
                  </a:lnTo>
                  <a:lnTo>
                    <a:pt x="0" y="0"/>
                  </a:lnTo>
                  <a:lnTo>
                    <a:pt x="21" y="0"/>
                  </a:lnTo>
                  <a:cubicBezTo>
                    <a:pt x="21" y="21"/>
                    <a:pt x="21" y="21"/>
                    <a:pt x="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3" name="Freeform 540">
              <a:extLst>
                <a:ext uri="{FF2B5EF4-FFF2-40B4-BE49-F238E27FC236}">
                  <a16:creationId xmlns:a16="http://schemas.microsoft.com/office/drawing/2014/main" id="{D7ADE2B7-C160-DD4C-A693-72B36908B8BC}"/>
                </a:ext>
              </a:extLst>
            </p:cNvPr>
            <p:cNvSpPr>
              <a:spLocks noChangeArrowheads="1"/>
            </p:cNvSpPr>
            <p:nvPr/>
          </p:nvSpPr>
          <p:spPr bwMode="auto">
            <a:xfrm>
              <a:off x="6564313" y="7989888"/>
              <a:ext cx="36512" cy="38100"/>
            </a:xfrm>
            <a:custGeom>
              <a:avLst/>
              <a:gdLst>
                <a:gd name="T0" fmla="*/ 102 w 103"/>
                <a:gd name="T1" fmla="*/ 82 h 104"/>
                <a:gd name="T2" fmla="*/ 102 w 103"/>
                <a:gd name="T3" fmla="*/ 82 h 104"/>
                <a:gd name="T4" fmla="*/ 82 w 103"/>
                <a:gd name="T5" fmla="*/ 62 h 104"/>
                <a:gd name="T6" fmla="*/ 82 w 103"/>
                <a:gd name="T7" fmla="*/ 41 h 104"/>
                <a:gd name="T8" fmla="*/ 82 w 103"/>
                <a:gd name="T9" fmla="*/ 21 h 104"/>
                <a:gd name="T10" fmla="*/ 61 w 103"/>
                <a:gd name="T11" fmla="*/ 0 h 104"/>
                <a:gd name="T12" fmla="*/ 40 w 103"/>
                <a:gd name="T13" fmla="*/ 0 h 104"/>
                <a:gd name="T14" fmla="*/ 20 w 103"/>
                <a:gd name="T15" fmla="*/ 0 h 104"/>
                <a:gd name="T16" fmla="*/ 0 w 103"/>
                <a:gd name="T17" fmla="*/ 0 h 104"/>
                <a:gd name="T18" fmla="*/ 0 w 103"/>
                <a:gd name="T19" fmla="*/ 21 h 104"/>
                <a:gd name="T20" fmla="*/ 0 w 103"/>
                <a:gd name="T21" fmla="*/ 41 h 104"/>
                <a:gd name="T22" fmla="*/ 0 w 103"/>
                <a:gd name="T23" fmla="*/ 82 h 104"/>
                <a:gd name="T24" fmla="*/ 20 w 103"/>
                <a:gd name="T25" fmla="*/ 82 h 104"/>
                <a:gd name="T26" fmla="*/ 40 w 103"/>
                <a:gd name="T27" fmla="*/ 103 h 104"/>
                <a:gd name="T28" fmla="*/ 61 w 103"/>
                <a:gd name="T29" fmla="*/ 82 h 104"/>
                <a:gd name="T30" fmla="*/ 82 w 103"/>
                <a:gd name="T31" fmla="*/ 82 h 104"/>
                <a:gd name="T32" fmla="*/ 102 w 103"/>
                <a:gd name="T33" fmla="*/ 8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104">
                  <a:moveTo>
                    <a:pt x="102" y="82"/>
                  </a:moveTo>
                  <a:lnTo>
                    <a:pt x="102" y="82"/>
                  </a:lnTo>
                  <a:lnTo>
                    <a:pt x="82" y="62"/>
                  </a:lnTo>
                  <a:lnTo>
                    <a:pt x="82" y="41"/>
                  </a:lnTo>
                  <a:cubicBezTo>
                    <a:pt x="61" y="41"/>
                    <a:pt x="82" y="21"/>
                    <a:pt x="82" y="21"/>
                  </a:cubicBezTo>
                  <a:cubicBezTo>
                    <a:pt x="61" y="21"/>
                    <a:pt x="61" y="0"/>
                    <a:pt x="61" y="0"/>
                  </a:cubicBezTo>
                  <a:cubicBezTo>
                    <a:pt x="61" y="0"/>
                    <a:pt x="61" y="0"/>
                    <a:pt x="40" y="0"/>
                  </a:cubicBezTo>
                  <a:lnTo>
                    <a:pt x="20" y="0"/>
                  </a:lnTo>
                  <a:lnTo>
                    <a:pt x="0" y="0"/>
                  </a:lnTo>
                  <a:cubicBezTo>
                    <a:pt x="0" y="21"/>
                    <a:pt x="0" y="21"/>
                    <a:pt x="0" y="21"/>
                  </a:cubicBezTo>
                  <a:cubicBezTo>
                    <a:pt x="0" y="41"/>
                    <a:pt x="0" y="41"/>
                    <a:pt x="0" y="41"/>
                  </a:cubicBezTo>
                  <a:cubicBezTo>
                    <a:pt x="0" y="62"/>
                    <a:pt x="0" y="62"/>
                    <a:pt x="0" y="82"/>
                  </a:cubicBezTo>
                  <a:cubicBezTo>
                    <a:pt x="20" y="82"/>
                    <a:pt x="20" y="82"/>
                    <a:pt x="20" y="82"/>
                  </a:cubicBezTo>
                  <a:cubicBezTo>
                    <a:pt x="40" y="103"/>
                    <a:pt x="40" y="103"/>
                    <a:pt x="40" y="103"/>
                  </a:cubicBezTo>
                  <a:cubicBezTo>
                    <a:pt x="61" y="82"/>
                    <a:pt x="61" y="82"/>
                    <a:pt x="61" y="82"/>
                  </a:cubicBezTo>
                  <a:cubicBezTo>
                    <a:pt x="82" y="82"/>
                    <a:pt x="82" y="82"/>
                    <a:pt x="82" y="82"/>
                  </a:cubicBezTo>
                  <a:lnTo>
                    <a:pt x="102"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4" name="Freeform 541">
              <a:extLst>
                <a:ext uri="{FF2B5EF4-FFF2-40B4-BE49-F238E27FC236}">
                  <a16:creationId xmlns:a16="http://schemas.microsoft.com/office/drawing/2014/main" id="{D7EB38F4-2748-9446-B131-BD76CDC2113D}"/>
                </a:ext>
              </a:extLst>
            </p:cNvPr>
            <p:cNvSpPr>
              <a:spLocks noChangeArrowheads="1"/>
            </p:cNvSpPr>
            <p:nvPr/>
          </p:nvSpPr>
          <p:spPr bwMode="auto">
            <a:xfrm>
              <a:off x="6548438" y="7983538"/>
              <a:ext cx="15875" cy="15875"/>
            </a:xfrm>
            <a:custGeom>
              <a:avLst/>
              <a:gdLst>
                <a:gd name="T0" fmla="*/ 21 w 43"/>
                <a:gd name="T1" fmla="*/ 20 h 42"/>
                <a:gd name="T2" fmla="*/ 21 w 43"/>
                <a:gd name="T3" fmla="*/ 20 h 42"/>
                <a:gd name="T4" fmla="*/ 42 w 43"/>
                <a:gd name="T5" fmla="*/ 0 h 42"/>
                <a:gd name="T6" fmla="*/ 21 w 43"/>
                <a:gd name="T7" fmla="*/ 0 h 42"/>
                <a:gd name="T8" fmla="*/ 21 w 43"/>
                <a:gd name="T9" fmla="*/ 0 h 42"/>
                <a:gd name="T10" fmla="*/ 21 w 43"/>
                <a:gd name="T11" fmla="*/ 20 h 42"/>
                <a:gd name="T12" fmla="*/ 0 w 43"/>
                <a:gd name="T13" fmla="*/ 20 h 42"/>
                <a:gd name="T14" fmla="*/ 0 w 43"/>
                <a:gd name="T15" fmla="*/ 41 h 42"/>
                <a:gd name="T16" fmla="*/ 21 w 43"/>
                <a:gd name="T17" fmla="*/ 41 h 42"/>
                <a:gd name="T18" fmla="*/ 21 w 43"/>
                <a:gd name="T19" fmla="*/ 41 h 42"/>
                <a:gd name="T20" fmla="*/ 21 w 43"/>
                <a:gd name="T21"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42">
                  <a:moveTo>
                    <a:pt x="21" y="20"/>
                  </a:moveTo>
                  <a:lnTo>
                    <a:pt x="21" y="20"/>
                  </a:lnTo>
                  <a:lnTo>
                    <a:pt x="42" y="0"/>
                  </a:lnTo>
                  <a:lnTo>
                    <a:pt x="21" y="0"/>
                  </a:lnTo>
                  <a:lnTo>
                    <a:pt x="21" y="0"/>
                  </a:lnTo>
                  <a:lnTo>
                    <a:pt x="21" y="20"/>
                  </a:lnTo>
                  <a:lnTo>
                    <a:pt x="0" y="20"/>
                  </a:lnTo>
                  <a:lnTo>
                    <a:pt x="0" y="41"/>
                  </a:lnTo>
                  <a:lnTo>
                    <a:pt x="21" y="41"/>
                  </a:lnTo>
                  <a:lnTo>
                    <a:pt x="21" y="41"/>
                  </a:lnTo>
                  <a:cubicBezTo>
                    <a:pt x="21" y="20"/>
                    <a:pt x="21" y="2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5" name="Freeform 542">
              <a:extLst>
                <a:ext uri="{FF2B5EF4-FFF2-40B4-BE49-F238E27FC236}">
                  <a16:creationId xmlns:a16="http://schemas.microsoft.com/office/drawing/2014/main" id="{E6FCBBEC-2D04-4B47-B057-5E5EFA3F99B6}"/>
                </a:ext>
              </a:extLst>
            </p:cNvPr>
            <p:cNvSpPr>
              <a:spLocks noChangeArrowheads="1"/>
            </p:cNvSpPr>
            <p:nvPr/>
          </p:nvSpPr>
          <p:spPr bwMode="auto">
            <a:xfrm>
              <a:off x="6548438" y="7961313"/>
              <a:ext cx="30162" cy="15875"/>
            </a:xfrm>
            <a:custGeom>
              <a:avLst/>
              <a:gdLst>
                <a:gd name="T0" fmla="*/ 62 w 83"/>
                <a:gd name="T1" fmla="*/ 42 h 43"/>
                <a:gd name="T2" fmla="*/ 62 w 83"/>
                <a:gd name="T3" fmla="*/ 42 h 43"/>
                <a:gd name="T4" fmla="*/ 82 w 83"/>
                <a:gd name="T5" fmla="*/ 21 h 43"/>
                <a:gd name="T6" fmla="*/ 62 w 83"/>
                <a:gd name="T7" fmla="*/ 21 h 43"/>
                <a:gd name="T8" fmla="*/ 62 w 83"/>
                <a:gd name="T9" fmla="*/ 21 h 43"/>
                <a:gd name="T10" fmla="*/ 42 w 83"/>
                <a:gd name="T11" fmla="*/ 0 h 43"/>
                <a:gd name="T12" fmla="*/ 21 w 83"/>
                <a:gd name="T13" fmla="*/ 21 h 43"/>
                <a:gd name="T14" fmla="*/ 0 w 83"/>
                <a:gd name="T15" fmla="*/ 21 h 43"/>
                <a:gd name="T16" fmla="*/ 0 w 83"/>
                <a:gd name="T17" fmla="*/ 21 h 43"/>
                <a:gd name="T18" fmla="*/ 21 w 83"/>
                <a:gd name="T19" fmla="*/ 21 h 43"/>
                <a:gd name="T20" fmla="*/ 21 w 83"/>
                <a:gd name="T21" fmla="*/ 21 h 43"/>
                <a:gd name="T22" fmla="*/ 42 w 83"/>
                <a:gd name="T23" fmla="*/ 21 h 43"/>
                <a:gd name="T24" fmla="*/ 42 w 83"/>
                <a:gd name="T25" fmla="*/ 42 h 43"/>
                <a:gd name="T26" fmla="*/ 62 w 83"/>
                <a:gd name="T2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 h="43">
                  <a:moveTo>
                    <a:pt x="62" y="42"/>
                  </a:moveTo>
                  <a:lnTo>
                    <a:pt x="62" y="42"/>
                  </a:lnTo>
                  <a:cubicBezTo>
                    <a:pt x="62" y="21"/>
                    <a:pt x="62" y="21"/>
                    <a:pt x="82" y="21"/>
                  </a:cubicBezTo>
                  <a:lnTo>
                    <a:pt x="62" y="21"/>
                  </a:lnTo>
                  <a:cubicBezTo>
                    <a:pt x="62" y="0"/>
                    <a:pt x="62" y="21"/>
                    <a:pt x="62" y="21"/>
                  </a:cubicBezTo>
                  <a:cubicBezTo>
                    <a:pt x="42" y="21"/>
                    <a:pt x="42" y="0"/>
                    <a:pt x="42" y="0"/>
                  </a:cubicBezTo>
                  <a:lnTo>
                    <a:pt x="21" y="21"/>
                  </a:lnTo>
                  <a:cubicBezTo>
                    <a:pt x="21" y="21"/>
                    <a:pt x="21" y="21"/>
                    <a:pt x="0" y="21"/>
                  </a:cubicBezTo>
                  <a:lnTo>
                    <a:pt x="0" y="21"/>
                  </a:lnTo>
                  <a:lnTo>
                    <a:pt x="21" y="21"/>
                  </a:lnTo>
                  <a:lnTo>
                    <a:pt x="21" y="21"/>
                  </a:lnTo>
                  <a:lnTo>
                    <a:pt x="42" y="21"/>
                  </a:lnTo>
                  <a:cubicBezTo>
                    <a:pt x="42" y="42"/>
                    <a:pt x="42" y="42"/>
                    <a:pt x="42" y="42"/>
                  </a:cubicBezTo>
                  <a:cubicBezTo>
                    <a:pt x="62" y="42"/>
                    <a:pt x="62" y="42"/>
                    <a:pt x="62"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6" name="Freeform 543">
              <a:extLst>
                <a:ext uri="{FF2B5EF4-FFF2-40B4-BE49-F238E27FC236}">
                  <a16:creationId xmlns:a16="http://schemas.microsoft.com/office/drawing/2014/main" id="{E0E68F65-36A7-9540-9A85-7A486C27DAAD}"/>
                </a:ext>
              </a:extLst>
            </p:cNvPr>
            <p:cNvSpPr>
              <a:spLocks noChangeArrowheads="1"/>
            </p:cNvSpPr>
            <p:nvPr/>
          </p:nvSpPr>
          <p:spPr bwMode="auto">
            <a:xfrm>
              <a:off x="6556375" y="8005763"/>
              <a:ext cx="7938" cy="15875"/>
            </a:xfrm>
            <a:custGeom>
              <a:avLst/>
              <a:gdLst>
                <a:gd name="T0" fmla="*/ 21 w 22"/>
                <a:gd name="T1" fmla="*/ 41 h 42"/>
                <a:gd name="T2" fmla="*/ 21 w 22"/>
                <a:gd name="T3" fmla="*/ 41 h 42"/>
                <a:gd name="T4" fmla="*/ 0 w 22"/>
                <a:gd name="T5" fmla="*/ 21 h 42"/>
                <a:gd name="T6" fmla="*/ 0 w 22"/>
                <a:gd name="T7" fmla="*/ 0 h 42"/>
                <a:gd name="T8" fmla="*/ 0 w 22"/>
                <a:gd name="T9" fmla="*/ 21 h 42"/>
                <a:gd name="T10" fmla="*/ 0 w 22"/>
                <a:gd name="T11" fmla="*/ 41 h 42"/>
                <a:gd name="T12" fmla="*/ 0 w 22"/>
                <a:gd name="T13" fmla="*/ 41 h 42"/>
                <a:gd name="T14" fmla="*/ 21 w 2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21" y="41"/>
                  </a:moveTo>
                  <a:lnTo>
                    <a:pt x="21" y="41"/>
                  </a:lnTo>
                  <a:cubicBezTo>
                    <a:pt x="0" y="41"/>
                    <a:pt x="0" y="21"/>
                    <a:pt x="0" y="21"/>
                  </a:cubicBezTo>
                  <a:lnTo>
                    <a:pt x="0" y="0"/>
                  </a:lnTo>
                  <a:lnTo>
                    <a:pt x="0" y="21"/>
                  </a:lnTo>
                  <a:cubicBezTo>
                    <a:pt x="0" y="21"/>
                    <a:pt x="0" y="21"/>
                    <a:pt x="0" y="41"/>
                  </a:cubicBezTo>
                  <a:lnTo>
                    <a:pt x="0" y="41"/>
                  </a:lnTo>
                  <a:lnTo>
                    <a:pt x="2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7" name="Freeform 544">
              <a:extLst>
                <a:ext uri="{FF2B5EF4-FFF2-40B4-BE49-F238E27FC236}">
                  <a16:creationId xmlns:a16="http://schemas.microsoft.com/office/drawing/2014/main" id="{A30F6C45-3BAB-A845-A0E9-5BCE4E5B4EF8}"/>
                </a:ext>
              </a:extLst>
            </p:cNvPr>
            <p:cNvSpPr>
              <a:spLocks noChangeArrowheads="1"/>
            </p:cNvSpPr>
            <p:nvPr/>
          </p:nvSpPr>
          <p:spPr bwMode="auto">
            <a:xfrm>
              <a:off x="6564313" y="7924800"/>
              <a:ext cx="14287" cy="15875"/>
            </a:xfrm>
            <a:custGeom>
              <a:avLst/>
              <a:gdLst>
                <a:gd name="T0" fmla="*/ 20 w 41"/>
                <a:gd name="T1" fmla="*/ 41 h 42"/>
                <a:gd name="T2" fmla="*/ 20 w 41"/>
                <a:gd name="T3" fmla="*/ 41 h 42"/>
                <a:gd name="T4" fmla="*/ 40 w 41"/>
                <a:gd name="T5" fmla="*/ 20 h 42"/>
                <a:gd name="T6" fmla="*/ 20 w 41"/>
                <a:gd name="T7" fmla="*/ 0 h 42"/>
                <a:gd name="T8" fmla="*/ 0 w 41"/>
                <a:gd name="T9" fmla="*/ 0 h 42"/>
                <a:gd name="T10" fmla="*/ 0 w 41"/>
                <a:gd name="T11" fmla="*/ 20 h 42"/>
                <a:gd name="T12" fmla="*/ 20 w 41"/>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1" h="42">
                  <a:moveTo>
                    <a:pt x="20" y="41"/>
                  </a:moveTo>
                  <a:lnTo>
                    <a:pt x="20" y="41"/>
                  </a:lnTo>
                  <a:lnTo>
                    <a:pt x="40" y="20"/>
                  </a:lnTo>
                  <a:lnTo>
                    <a:pt x="20" y="0"/>
                  </a:lnTo>
                  <a:cubicBezTo>
                    <a:pt x="20" y="0"/>
                    <a:pt x="20" y="0"/>
                    <a:pt x="0" y="0"/>
                  </a:cubicBezTo>
                  <a:lnTo>
                    <a:pt x="0" y="20"/>
                  </a:ln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8" name="Freeform 545">
              <a:extLst>
                <a:ext uri="{FF2B5EF4-FFF2-40B4-BE49-F238E27FC236}">
                  <a16:creationId xmlns:a16="http://schemas.microsoft.com/office/drawing/2014/main" id="{DA6C7A09-5B65-ED4A-87B9-9949C23EEABA}"/>
                </a:ext>
              </a:extLst>
            </p:cNvPr>
            <p:cNvSpPr>
              <a:spLocks noChangeArrowheads="1"/>
            </p:cNvSpPr>
            <p:nvPr/>
          </p:nvSpPr>
          <p:spPr bwMode="auto">
            <a:xfrm>
              <a:off x="6556375" y="7894638"/>
              <a:ext cx="15875" cy="7937"/>
            </a:xfrm>
            <a:custGeom>
              <a:avLst/>
              <a:gdLst>
                <a:gd name="T0" fmla="*/ 21 w 42"/>
                <a:gd name="T1" fmla="*/ 20 h 21"/>
                <a:gd name="T2" fmla="*/ 21 w 42"/>
                <a:gd name="T3" fmla="*/ 20 h 21"/>
                <a:gd name="T4" fmla="*/ 21 w 42"/>
                <a:gd name="T5" fmla="*/ 20 h 21"/>
                <a:gd name="T6" fmla="*/ 0 w 42"/>
                <a:gd name="T7" fmla="*/ 0 h 21"/>
                <a:gd name="T8" fmla="*/ 21 w 42"/>
                <a:gd name="T9" fmla="*/ 0 h 21"/>
                <a:gd name="T10" fmla="*/ 21 w 42"/>
                <a:gd name="T11" fmla="*/ 0 h 21"/>
                <a:gd name="T12" fmla="*/ 21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1" y="20"/>
                  </a:moveTo>
                  <a:lnTo>
                    <a:pt x="21" y="20"/>
                  </a:lnTo>
                  <a:lnTo>
                    <a:pt x="21" y="20"/>
                  </a:lnTo>
                  <a:cubicBezTo>
                    <a:pt x="0" y="20"/>
                    <a:pt x="0" y="0"/>
                    <a:pt x="0" y="0"/>
                  </a:cubicBezTo>
                  <a:lnTo>
                    <a:pt x="21" y="0"/>
                  </a:lnTo>
                  <a:lnTo>
                    <a:pt x="21" y="0"/>
                  </a:lnTo>
                  <a:cubicBezTo>
                    <a:pt x="41" y="0"/>
                    <a:pt x="21" y="2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49" name="Freeform 546">
              <a:extLst>
                <a:ext uri="{FF2B5EF4-FFF2-40B4-BE49-F238E27FC236}">
                  <a16:creationId xmlns:a16="http://schemas.microsoft.com/office/drawing/2014/main" id="{0F1CCCB6-D2C3-4F46-916D-20DADD776C0B}"/>
                </a:ext>
              </a:extLst>
            </p:cNvPr>
            <p:cNvSpPr>
              <a:spLocks noChangeArrowheads="1"/>
            </p:cNvSpPr>
            <p:nvPr/>
          </p:nvSpPr>
          <p:spPr bwMode="auto">
            <a:xfrm>
              <a:off x="6623050" y="7761288"/>
              <a:ext cx="30163" cy="38100"/>
            </a:xfrm>
            <a:custGeom>
              <a:avLst/>
              <a:gdLst>
                <a:gd name="T0" fmla="*/ 40 w 83"/>
                <a:gd name="T1" fmla="*/ 103 h 104"/>
                <a:gd name="T2" fmla="*/ 40 w 83"/>
                <a:gd name="T3" fmla="*/ 103 h 104"/>
                <a:gd name="T4" fmla="*/ 61 w 83"/>
                <a:gd name="T5" fmla="*/ 103 h 104"/>
                <a:gd name="T6" fmla="*/ 82 w 83"/>
                <a:gd name="T7" fmla="*/ 61 h 104"/>
                <a:gd name="T8" fmla="*/ 82 w 83"/>
                <a:gd name="T9" fmla="*/ 21 h 104"/>
                <a:gd name="T10" fmla="*/ 61 w 83"/>
                <a:gd name="T11" fmla="*/ 0 h 104"/>
                <a:gd name="T12" fmla="*/ 40 w 83"/>
                <a:gd name="T13" fmla="*/ 0 h 104"/>
                <a:gd name="T14" fmla="*/ 20 w 83"/>
                <a:gd name="T15" fmla="*/ 21 h 104"/>
                <a:gd name="T16" fmla="*/ 20 w 83"/>
                <a:gd name="T17" fmla="*/ 41 h 104"/>
                <a:gd name="T18" fmla="*/ 0 w 83"/>
                <a:gd name="T19" fmla="*/ 61 h 104"/>
                <a:gd name="T20" fmla="*/ 0 w 83"/>
                <a:gd name="T21" fmla="*/ 82 h 104"/>
                <a:gd name="T22" fmla="*/ 20 w 83"/>
                <a:gd name="T23" fmla="*/ 103 h 104"/>
                <a:gd name="T24" fmla="*/ 40 w 83"/>
                <a:gd name="T25"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104">
                  <a:moveTo>
                    <a:pt x="40" y="103"/>
                  </a:moveTo>
                  <a:lnTo>
                    <a:pt x="40" y="103"/>
                  </a:lnTo>
                  <a:lnTo>
                    <a:pt x="61" y="103"/>
                  </a:lnTo>
                  <a:cubicBezTo>
                    <a:pt x="82" y="82"/>
                    <a:pt x="82" y="61"/>
                    <a:pt x="82" y="61"/>
                  </a:cubicBezTo>
                  <a:cubicBezTo>
                    <a:pt x="82" y="41"/>
                    <a:pt x="82" y="21"/>
                    <a:pt x="82" y="21"/>
                  </a:cubicBezTo>
                  <a:lnTo>
                    <a:pt x="61" y="0"/>
                  </a:lnTo>
                  <a:cubicBezTo>
                    <a:pt x="40" y="0"/>
                    <a:pt x="40" y="0"/>
                    <a:pt x="40" y="0"/>
                  </a:cubicBezTo>
                  <a:cubicBezTo>
                    <a:pt x="40" y="21"/>
                    <a:pt x="20" y="21"/>
                    <a:pt x="20" y="21"/>
                  </a:cubicBezTo>
                  <a:lnTo>
                    <a:pt x="20" y="41"/>
                  </a:lnTo>
                  <a:lnTo>
                    <a:pt x="0" y="61"/>
                  </a:lnTo>
                  <a:lnTo>
                    <a:pt x="0" y="82"/>
                  </a:lnTo>
                  <a:lnTo>
                    <a:pt x="20" y="103"/>
                  </a:lnTo>
                  <a:lnTo>
                    <a:pt x="40" y="103"/>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0" name="Freeform 547">
              <a:extLst>
                <a:ext uri="{FF2B5EF4-FFF2-40B4-BE49-F238E27FC236}">
                  <a16:creationId xmlns:a16="http://schemas.microsoft.com/office/drawing/2014/main" id="{D5E7C47B-55F4-B043-8E51-3EE92C9A8539}"/>
                </a:ext>
              </a:extLst>
            </p:cNvPr>
            <p:cNvSpPr>
              <a:spLocks noChangeArrowheads="1"/>
            </p:cNvSpPr>
            <p:nvPr/>
          </p:nvSpPr>
          <p:spPr bwMode="auto">
            <a:xfrm>
              <a:off x="6615113" y="7769225"/>
              <a:ext cx="7937" cy="14288"/>
            </a:xfrm>
            <a:custGeom>
              <a:avLst/>
              <a:gdLst>
                <a:gd name="T0" fmla="*/ 0 w 22"/>
                <a:gd name="T1" fmla="*/ 40 h 41"/>
                <a:gd name="T2" fmla="*/ 0 w 22"/>
                <a:gd name="T3" fmla="*/ 40 h 41"/>
                <a:gd name="T4" fmla="*/ 0 w 22"/>
                <a:gd name="T5" fmla="*/ 20 h 41"/>
                <a:gd name="T6" fmla="*/ 0 w 22"/>
                <a:gd name="T7" fmla="*/ 20 h 41"/>
                <a:gd name="T8" fmla="*/ 0 w 22"/>
                <a:gd name="T9" fmla="*/ 20 h 41"/>
                <a:gd name="T10" fmla="*/ 21 w 22"/>
                <a:gd name="T11" fmla="*/ 20 h 41"/>
                <a:gd name="T12" fmla="*/ 0 w 22"/>
                <a:gd name="T13" fmla="*/ 40 h 41"/>
              </a:gdLst>
              <a:ahLst/>
              <a:cxnLst>
                <a:cxn ang="0">
                  <a:pos x="T0" y="T1"/>
                </a:cxn>
                <a:cxn ang="0">
                  <a:pos x="T2" y="T3"/>
                </a:cxn>
                <a:cxn ang="0">
                  <a:pos x="T4" y="T5"/>
                </a:cxn>
                <a:cxn ang="0">
                  <a:pos x="T6" y="T7"/>
                </a:cxn>
                <a:cxn ang="0">
                  <a:pos x="T8" y="T9"/>
                </a:cxn>
                <a:cxn ang="0">
                  <a:pos x="T10" y="T11"/>
                </a:cxn>
                <a:cxn ang="0">
                  <a:pos x="T12" y="T13"/>
                </a:cxn>
              </a:cxnLst>
              <a:rect l="0" t="0" r="r" b="b"/>
              <a:pathLst>
                <a:path w="22" h="41">
                  <a:moveTo>
                    <a:pt x="0" y="40"/>
                  </a:moveTo>
                  <a:lnTo>
                    <a:pt x="0" y="40"/>
                  </a:lnTo>
                  <a:cubicBezTo>
                    <a:pt x="0" y="40"/>
                    <a:pt x="0" y="40"/>
                    <a:pt x="0" y="20"/>
                  </a:cubicBezTo>
                  <a:lnTo>
                    <a:pt x="0" y="20"/>
                  </a:lnTo>
                  <a:cubicBezTo>
                    <a:pt x="0" y="0"/>
                    <a:pt x="0" y="20"/>
                    <a:pt x="0" y="20"/>
                  </a:cubicBezTo>
                  <a:cubicBezTo>
                    <a:pt x="21" y="20"/>
                    <a:pt x="21" y="20"/>
                    <a:pt x="21" y="20"/>
                  </a:cubicBezTo>
                  <a:cubicBezTo>
                    <a:pt x="0" y="20"/>
                    <a:pt x="0" y="40"/>
                    <a:pt x="0" y="4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1" name="Freeform 548">
              <a:extLst>
                <a:ext uri="{FF2B5EF4-FFF2-40B4-BE49-F238E27FC236}">
                  <a16:creationId xmlns:a16="http://schemas.microsoft.com/office/drawing/2014/main" id="{B4E3C6A0-9477-004E-92AE-81014EE5FDBF}"/>
                </a:ext>
              </a:extLst>
            </p:cNvPr>
            <p:cNvSpPr>
              <a:spLocks noChangeArrowheads="1"/>
            </p:cNvSpPr>
            <p:nvPr/>
          </p:nvSpPr>
          <p:spPr bwMode="auto">
            <a:xfrm>
              <a:off x="6829425" y="7710488"/>
              <a:ext cx="22225" cy="22225"/>
            </a:xfrm>
            <a:custGeom>
              <a:avLst/>
              <a:gdLst>
                <a:gd name="T0" fmla="*/ 41 w 63"/>
                <a:gd name="T1" fmla="*/ 62 h 63"/>
                <a:gd name="T2" fmla="*/ 41 w 63"/>
                <a:gd name="T3" fmla="*/ 62 h 63"/>
                <a:gd name="T4" fmla="*/ 41 w 63"/>
                <a:gd name="T5" fmla="*/ 41 h 63"/>
                <a:gd name="T6" fmla="*/ 41 w 63"/>
                <a:gd name="T7" fmla="*/ 20 h 63"/>
                <a:gd name="T8" fmla="*/ 41 w 63"/>
                <a:gd name="T9" fmla="*/ 0 h 63"/>
                <a:gd name="T10" fmla="*/ 21 w 63"/>
                <a:gd name="T11" fmla="*/ 20 h 63"/>
                <a:gd name="T12" fmla="*/ 21 w 63"/>
                <a:gd name="T13" fmla="*/ 41 h 63"/>
                <a:gd name="T14" fmla="*/ 41 w 63"/>
                <a:gd name="T15" fmla="*/ 62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63">
                  <a:moveTo>
                    <a:pt x="41" y="62"/>
                  </a:moveTo>
                  <a:lnTo>
                    <a:pt x="41" y="62"/>
                  </a:lnTo>
                  <a:cubicBezTo>
                    <a:pt x="41" y="62"/>
                    <a:pt x="41" y="62"/>
                    <a:pt x="41" y="41"/>
                  </a:cubicBezTo>
                  <a:cubicBezTo>
                    <a:pt x="62" y="41"/>
                    <a:pt x="62" y="20"/>
                    <a:pt x="41" y="20"/>
                  </a:cubicBezTo>
                  <a:lnTo>
                    <a:pt x="41" y="0"/>
                  </a:lnTo>
                  <a:cubicBezTo>
                    <a:pt x="21" y="0"/>
                    <a:pt x="21" y="20"/>
                    <a:pt x="21" y="20"/>
                  </a:cubicBezTo>
                  <a:cubicBezTo>
                    <a:pt x="21" y="20"/>
                    <a:pt x="0" y="41"/>
                    <a:pt x="21" y="41"/>
                  </a:cubicBezTo>
                  <a:cubicBezTo>
                    <a:pt x="21" y="41"/>
                    <a:pt x="21" y="62"/>
                    <a:pt x="41"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2" name="Freeform 549">
              <a:extLst>
                <a:ext uri="{FF2B5EF4-FFF2-40B4-BE49-F238E27FC236}">
                  <a16:creationId xmlns:a16="http://schemas.microsoft.com/office/drawing/2014/main" id="{2C5EE1BF-930C-7F44-B1BE-C7EB1F99E235}"/>
                </a:ext>
              </a:extLst>
            </p:cNvPr>
            <p:cNvSpPr>
              <a:spLocks noChangeArrowheads="1"/>
            </p:cNvSpPr>
            <p:nvPr/>
          </p:nvSpPr>
          <p:spPr bwMode="auto">
            <a:xfrm>
              <a:off x="6784975" y="7924800"/>
              <a:ext cx="15875" cy="15875"/>
            </a:xfrm>
            <a:custGeom>
              <a:avLst/>
              <a:gdLst>
                <a:gd name="T0" fmla="*/ 41 w 42"/>
                <a:gd name="T1" fmla="*/ 20 h 42"/>
                <a:gd name="T2" fmla="*/ 41 w 42"/>
                <a:gd name="T3" fmla="*/ 20 h 42"/>
                <a:gd name="T4" fmla="*/ 21 w 42"/>
                <a:gd name="T5" fmla="*/ 41 h 42"/>
                <a:gd name="T6" fmla="*/ 0 w 42"/>
                <a:gd name="T7" fmla="*/ 20 h 42"/>
                <a:gd name="T8" fmla="*/ 21 w 42"/>
                <a:gd name="T9" fmla="*/ 0 h 42"/>
                <a:gd name="T10" fmla="*/ 41 w 42"/>
                <a:gd name="T11" fmla="*/ 0 h 42"/>
                <a:gd name="T12" fmla="*/ 41 w 4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41" y="20"/>
                  </a:moveTo>
                  <a:lnTo>
                    <a:pt x="41" y="20"/>
                  </a:lnTo>
                  <a:cubicBezTo>
                    <a:pt x="41" y="20"/>
                    <a:pt x="41" y="41"/>
                    <a:pt x="21" y="41"/>
                  </a:cubicBezTo>
                  <a:lnTo>
                    <a:pt x="0" y="20"/>
                  </a:lnTo>
                  <a:cubicBezTo>
                    <a:pt x="0" y="20"/>
                    <a:pt x="0" y="0"/>
                    <a:pt x="21" y="0"/>
                  </a:cubicBezTo>
                  <a:cubicBezTo>
                    <a:pt x="21" y="0"/>
                    <a:pt x="21" y="0"/>
                    <a:pt x="41" y="0"/>
                  </a:cubicBezTo>
                  <a:cubicBezTo>
                    <a:pt x="41" y="0"/>
                    <a:pt x="41" y="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3" name="Freeform 550">
              <a:extLst>
                <a:ext uri="{FF2B5EF4-FFF2-40B4-BE49-F238E27FC236}">
                  <a16:creationId xmlns:a16="http://schemas.microsoft.com/office/drawing/2014/main" id="{6550ACDF-04A1-8C4F-952C-4C0C8BFFE12D}"/>
                </a:ext>
              </a:extLst>
            </p:cNvPr>
            <p:cNvSpPr>
              <a:spLocks noChangeArrowheads="1"/>
            </p:cNvSpPr>
            <p:nvPr/>
          </p:nvSpPr>
          <p:spPr bwMode="auto">
            <a:xfrm>
              <a:off x="6526213" y="7615238"/>
              <a:ext cx="15875" cy="22225"/>
            </a:xfrm>
            <a:custGeom>
              <a:avLst/>
              <a:gdLst>
                <a:gd name="T0" fmla="*/ 21 w 42"/>
                <a:gd name="T1" fmla="*/ 61 h 62"/>
                <a:gd name="T2" fmla="*/ 21 w 42"/>
                <a:gd name="T3" fmla="*/ 61 h 62"/>
                <a:gd name="T4" fmla="*/ 41 w 42"/>
                <a:gd name="T5" fmla="*/ 40 h 62"/>
                <a:gd name="T6" fmla="*/ 41 w 42"/>
                <a:gd name="T7" fmla="*/ 20 h 62"/>
                <a:gd name="T8" fmla="*/ 21 w 42"/>
                <a:gd name="T9" fmla="*/ 0 h 62"/>
                <a:gd name="T10" fmla="*/ 21 w 42"/>
                <a:gd name="T11" fmla="*/ 0 h 62"/>
                <a:gd name="T12" fmla="*/ 21 w 42"/>
                <a:gd name="T13" fmla="*/ 20 h 62"/>
                <a:gd name="T14" fmla="*/ 0 w 42"/>
                <a:gd name="T15" fmla="*/ 20 h 62"/>
                <a:gd name="T16" fmla="*/ 0 w 42"/>
                <a:gd name="T17" fmla="*/ 40 h 62"/>
                <a:gd name="T18" fmla="*/ 21 w 42"/>
                <a:gd name="T19"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2">
                  <a:moveTo>
                    <a:pt x="21" y="61"/>
                  </a:moveTo>
                  <a:lnTo>
                    <a:pt x="21" y="61"/>
                  </a:lnTo>
                  <a:lnTo>
                    <a:pt x="41" y="40"/>
                  </a:lnTo>
                  <a:lnTo>
                    <a:pt x="41" y="20"/>
                  </a:lnTo>
                  <a:cubicBezTo>
                    <a:pt x="41" y="0"/>
                    <a:pt x="41" y="0"/>
                    <a:pt x="21" y="0"/>
                  </a:cubicBezTo>
                  <a:lnTo>
                    <a:pt x="21" y="0"/>
                  </a:lnTo>
                  <a:cubicBezTo>
                    <a:pt x="21" y="0"/>
                    <a:pt x="21" y="0"/>
                    <a:pt x="21" y="20"/>
                  </a:cubicBezTo>
                  <a:lnTo>
                    <a:pt x="0" y="20"/>
                  </a:lnTo>
                  <a:cubicBezTo>
                    <a:pt x="0" y="40"/>
                    <a:pt x="0" y="40"/>
                    <a:pt x="0" y="40"/>
                  </a:cubicBezTo>
                  <a:cubicBezTo>
                    <a:pt x="0" y="61"/>
                    <a:pt x="21" y="61"/>
                    <a:pt x="21"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4" name="Freeform 551">
              <a:extLst>
                <a:ext uri="{FF2B5EF4-FFF2-40B4-BE49-F238E27FC236}">
                  <a16:creationId xmlns:a16="http://schemas.microsoft.com/office/drawing/2014/main" id="{BEA08C1B-FF78-384B-8ACB-0ADF738E7687}"/>
                </a:ext>
              </a:extLst>
            </p:cNvPr>
            <p:cNvSpPr>
              <a:spLocks noChangeArrowheads="1"/>
            </p:cNvSpPr>
            <p:nvPr/>
          </p:nvSpPr>
          <p:spPr bwMode="auto">
            <a:xfrm>
              <a:off x="6526213" y="7643813"/>
              <a:ext cx="7937" cy="14287"/>
            </a:xfrm>
            <a:custGeom>
              <a:avLst/>
              <a:gdLst>
                <a:gd name="T0" fmla="*/ 21 w 22"/>
                <a:gd name="T1" fmla="*/ 0 h 41"/>
                <a:gd name="T2" fmla="*/ 21 w 22"/>
                <a:gd name="T3" fmla="*/ 0 h 41"/>
                <a:gd name="T4" fmla="*/ 0 w 22"/>
                <a:gd name="T5" fmla="*/ 20 h 41"/>
                <a:gd name="T6" fmla="*/ 0 w 22"/>
                <a:gd name="T7" fmla="*/ 40 h 41"/>
                <a:gd name="T8" fmla="*/ 21 w 22"/>
                <a:gd name="T9" fmla="*/ 40 h 41"/>
                <a:gd name="T10" fmla="*/ 21 w 22"/>
                <a:gd name="T11" fmla="*/ 20 h 41"/>
                <a:gd name="T12" fmla="*/ 21 w 22"/>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22" h="41">
                  <a:moveTo>
                    <a:pt x="21" y="0"/>
                  </a:moveTo>
                  <a:lnTo>
                    <a:pt x="21" y="0"/>
                  </a:lnTo>
                  <a:lnTo>
                    <a:pt x="0" y="20"/>
                  </a:lnTo>
                  <a:lnTo>
                    <a:pt x="0" y="40"/>
                  </a:lnTo>
                  <a:lnTo>
                    <a:pt x="21" y="40"/>
                  </a:lnTo>
                  <a:cubicBezTo>
                    <a:pt x="21" y="40"/>
                    <a:pt x="21" y="40"/>
                    <a:pt x="21" y="20"/>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5" name="Freeform 552">
              <a:extLst>
                <a:ext uri="{FF2B5EF4-FFF2-40B4-BE49-F238E27FC236}">
                  <a16:creationId xmlns:a16="http://schemas.microsoft.com/office/drawing/2014/main" id="{741A95EB-397D-414A-B331-41BF8CECA24B}"/>
                </a:ext>
              </a:extLst>
            </p:cNvPr>
            <p:cNvSpPr>
              <a:spLocks noChangeArrowheads="1"/>
            </p:cNvSpPr>
            <p:nvPr/>
          </p:nvSpPr>
          <p:spPr bwMode="auto">
            <a:xfrm>
              <a:off x="5405438" y="7607300"/>
              <a:ext cx="635000" cy="685800"/>
            </a:xfrm>
            <a:custGeom>
              <a:avLst/>
              <a:gdLst>
                <a:gd name="T0" fmla="*/ 1516 w 1763"/>
                <a:gd name="T1" fmla="*/ 82 h 1907"/>
                <a:gd name="T2" fmla="*/ 1475 w 1763"/>
                <a:gd name="T3" fmla="*/ 143 h 1907"/>
                <a:gd name="T4" fmla="*/ 1434 w 1763"/>
                <a:gd name="T5" fmla="*/ 164 h 1907"/>
                <a:gd name="T6" fmla="*/ 1516 w 1763"/>
                <a:gd name="T7" fmla="*/ 225 h 1907"/>
                <a:gd name="T8" fmla="*/ 1516 w 1763"/>
                <a:gd name="T9" fmla="*/ 287 h 1907"/>
                <a:gd name="T10" fmla="*/ 1577 w 1763"/>
                <a:gd name="T11" fmla="*/ 369 h 1907"/>
                <a:gd name="T12" fmla="*/ 1598 w 1763"/>
                <a:gd name="T13" fmla="*/ 451 h 1907"/>
                <a:gd name="T14" fmla="*/ 1557 w 1763"/>
                <a:gd name="T15" fmla="*/ 471 h 1907"/>
                <a:gd name="T16" fmla="*/ 1639 w 1763"/>
                <a:gd name="T17" fmla="*/ 594 h 1907"/>
                <a:gd name="T18" fmla="*/ 1741 w 1763"/>
                <a:gd name="T19" fmla="*/ 697 h 1907"/>
                <a:gd name="T20" fmla="*/ 1659 w 1763"/>
                <a:gd name="T21" fmla="*/ 799 h 1907"/>
                <a:gd name="T22" fmla="*/ 1598 w 1763"/>
                <a:gd name="T23" fmla="*/ 779 h 1907"/>
                <a:gd name="T24" fmla="*/ 1536 w 1763"/>
                <a:gd name="T25" fmla="*/ 881 h 1907"/>
                <a:gd name="T26" fmla="*/ 1516 w 1763"/>
                <a:gd name="T27" fmla="*/ 1065 h 1907"/>
                <a:gd name="T28" fmla="*/ 1495 w 1763"/>
                <a:gd name="T29" fmla="*/ 1106 h 1907"/>
                <a:gd name="T30" fmla="*/ 1536 w 1763"/>
                <a:gd name="T31" fmla="*/ 1106 h 1907"/>
                <a:gd name="T32" fmla="*/ 1495 w 1763"/>
                <a:gd name="T33" fmla="*/ 1168 h 1907"/>
                <a:gd name="T34" fmla="*/ 1434 w 1763"/>
                <a:gd name="T35" fmla="*/ 1209 h 1907"/>
                <a:gd name="T36" fmla="*/ 1372 w 1763"/>
                <a:gd name="T37" fmla="*/ 1311 h 1907"/>
                <a:gd name="T38" fmla="*/ 1332 w 1763"/>
                <a:gd name="T39" fmla="*/ 1352 h 1907"/>
                <a:gd name="T40" fmla="*/ 1311 w 1763"/>
                <a:gd name="T41" fmla="*/ 1455 h 1907"/>
                <a:gd name="T42" fmla="*/ 1352 w 1763"/>
                <a:gd name="T43" fmla="*/ 1516 h 1907"/>
                <a:gd name="T44" fmla="*/ 1311 w 1763"/>
                <a:gd name="T45" fmla="*/ 1598 h 1907"/>
                <a:gd name="T46" fmla="*/ 1270 w 1763"/>
                <a:gd name="T47" fmla="*/ 1701 h 1907"/>
                <a:gd name="T48" fmla="*/ 1208 w 1763"/>
                <a:gd name="T49" fmla="*/ 1803 h 1907"/>
                <a:gd name="T50" fmla="*/ 1065 w 1763"/>
                <a:gd name="T51" fmla="*/ 1885 h 1907"/>
                <a:gd name="T52" fmla="*/ 983 w 1763"/>
                <a:gd name="T53" fmla="*/ 1824 h 1907"/>
                <a:gd name="T54" fmla="*/ 983 w 1763"/>
                <a:gd name="T55" fmla="*/ 1701 h 1907"/>
                <a:gd name="T56" fmla="*/ 901 w 1763"/>
                <a:gd name="T57" fmla="*/ 1721 h 1907"/>
                <a:gd name="T58" fmla="*/ 819 w 1763"/>
                <a:gd name="T59" fmla="*/ 1680 h 1907"/>
                <a:gd name="T60" fmla="*/ 716 w 1763"/>
                <a:gd name="T61" fmla="*/ 1660 h 1907"/>
                <a:gd name="T62" fmla="*/ 614 w 1763"/>
                <a:gd name="T63" fmla="*/ 1721 h 1907"/>
                <a:gd name="T64" fmla="*/ 512 w 1763"/>
                <a:gd name="T65" fmla="*/ 1660 h 1907"/>
                <a:gd name="T66" fmla="*/ 430 w 1763"/>
                <a:gd name="T67" fmla="*/ 1619 h 1907"/>
                <a:gd name="T68" fmla="*/ 307 w 1763"/>
                <a:gd name="T69" fmla="*/ 1619 h 1907"/>
                <a:gd name="T70" fmla="*/ 225 w 1763"/>
                <a:gd name="T71" fmla="*/ 1496 h 1907"/>
                <a:gd name="T72" fmla="*/ 204 w 1763"/>
                <a:gd name="T73" fmla="*/ 1291 h 1907"/>
                <a:gd name="T74" fmla="*/ 164 w 1763"/>
                <a:gd name="T75" fmla="*/ 1168 h 1907"/>
                <a:gd name="T76" fmla="*/ 102 w 1763"/>
                <a:gd name="T77" fmla="*/ 1229 h 1907"/>
                <a:gd name="T78" fmla="*/ 82 w 1763"/>
                <a:gd name="T79" fmla="*/ 1127 h 1907"/>
                <a:gd name="T80" fmla="*/ 61 w 1763"/>
                <a:gd name="T81" fmla="*/ 1065 h 1907"/>
                <a:gd name="T82" fmla="*/ 20 w 1763"/>
                <a:gd name="T83" fmla="*/ 901 h 1907"/>
                <a:gd name="T84" fmla="*/ 20 w 1763"/>
                <a:gd name="T85" fmla="*/ 799 h 1907"/>
                <a:gd name="T86" fmla="*/ 61 w 1763"/>
                <a:gd name="T87" fmla="*/ 615 h 1907"/>
                <a:gd name="T88" fmla="*/ 143 w 1763"/>
                <a:gd name="T89" fmla="*/ 512 h 1907"/>
                <a:gd name="T90" fmla="*/ 164 w 1763"/>
                <a:gd name="T91" fmla="*/ 573 h 1907"/>
                <a:gd name="T92" fmla="*/ 246 w 1763"/>
                <a:gd name="T93" fmla="*/ 717 h 1907"/>
                <a:gd name="T94" fmla="*/ 368 w 1763"/>
                <a:gd name="T95" fmla="*/ 737 h 1907"/>
                <a:gd name="T96" fmla="*/ 574 w 1763"/>
                <a:gd name="T97" fmla="*/ 717 h 1907"/>
                <a:gd name="T98" fmla="*/ 737 w 1763"/>
                <a:gd name="T99" fmla="*/ 655 h 1907"/>
                <a:gd name="T100" fmla="*/ 922 w 1763"/>
                <a:gd name="T101" fmla="*/ 655 h 1907"/>
                <a:gd name="T102" fmla="*/ 1044 w 1763"/>
                <a:gd name="T103" fmla="*/ 512 h 1907"/>
                <a:gd name="T104" fmla="*/ 1106 w 1763"/>
                <a:gd name="T105" fmla="*/ 328 h 1907"/>
                <a:gd name="T106" fmla="*/ 1188 w 1763"/>
                <a:gd name="T107" fmla="*/ 123 h 1907"/>
                <a:gd name="T108" fmla="*/ 1270 w 1763"/>
                <a:gd name="T109" fmla="*/ 0 h 1907"/>
                <a:gd name="T110" fmla="*/ 1454 w 1763"/>
                <a:gd name="T111" fmla="*/ 21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3" h="1907">
                  <a:moveTo>
                    <a:pt x="1495" y="41"/>
                  </a:moveTo>
                  <a:lnTo>
                    <a:pt x="1495" y="41"/>
                  </a:lnTo>
                  <a:lnTo>
                    <a:pt x="1495" y="61"/>
                  </a:lnTo>
                  <a:cubicBezTo>
                    <a:pt x="1495" y="61"/>
                    <a:pt x="1495" y="61"/>
                    <a:pt x="1495" y="82"/>
                  </a:cubicBezTo>
                  <a:lnTo>
                    <a:pt x="1516" y="82"/>
                  </a:lnTo>
                  <a:lnTo>
                    <a:pt x="1536" y="103"/>
                  </a:lnTo>
                  <a:lnTo>
                    <a:pt x="1536" y="103"/>
                  </a:lnTo>
                  <a:cubicBezTo>
                    <a:pt x="1536" y="123"/>
                    <a:pt x="1536" y="123"/>
                    <a:pt x="1536" y="123"/>
                  </a:cubicBezTo>
                  <a:cubicBezTo>
                    <a:pt x="1536" y="143"/>
                    <a:pt x="1516" y="143"/>
                    <a:pt x="1516" y="143"/>
                  </a:cubicBezTo>
                  <a:cubicBezTo>
                    <a:pt x="1495" y="143"/>
                    <a:pt x="1475" y="143"/>
                    <a:pt x="1475" y="143"/>
                  </a:cubicBezTo>
                  <a:lnTo>
                    <a:pt x="1454" y="143"/>
                  </a:lnTo>
                  <a:cubicBezTo>
                    <a:pt x="1434" y="143"/>
                    <a:pt x="1434" y="143"/>
                    <a:pt x="1434" y="143"/>
                  </a:cubicBezTo>
                  <a:cubicBezTo>
                    <a:pt x="1414" y="143"/>
                    <a:pt x="1414" y="164"/>
                    <a:pt x="1414" y="164"/>
                  </a:cubicBezTo>
                  <a:lnTo>
                    <a:pt x="1414" y="164"/>
                  </a:lnTo>
                  <a:cubicBezTo>
                    <a:pt x="1434" y="164"/>
                    <a:pt x="1434" y="164"/>
                    <a:pt x="1434" y="164"/>
                  </a:cubicBezTo>
                  <a:cubicBezTo>
                    <a:pt x="1454" y="164"/>
                    <a:pt x="1454" y="164"/>
                    <a:pt x="1454" y="164"/>
                  </a:cubicBezTo>
                  <a:cubicBezTo>
                    <a:pt x="1475" y="185"/>
                    <a:pt x="1475" y="185"/>
                    <a:pt x="1475" y="185"/>
                  </a:cubicBezTo>
                  <a:lnTo>
                    <a:pt x="1475" y="205"/>
                  </a:lnTo>
                  <a:cubicBezTo>
                    <a:pt x="1475" y="205"/>
                    <a:pt x="1495" y="205"/>
                    <a:pt x="1495" y="225"/>
                  </a:cubicBezTo>
                  <a:lnTo>
                    <a:pt x="1516" y="225"/>
                  </a:lnTo>
                  <a:lnTo>
                    <a:pt x="1516" y="246"/>
                  </a:lnTo>
                  <a:lnTo>
                    <a:pt x="1516" y="246"/>
                  </a:lnTo>
                  <a:cubicBezTo>
                    <a:pt x="1495" y="246"/>
                    <a:pt x="1495" y="267"/>
                    <a:pt x="1495" y="267"/>
                  </a:cubicBezTo>
                  <a:cubicBezTo>
                    <a:pt x="1495" y="267"/>
                    <a:pt x="1495" y="267"/>
                    <a:pt x="1516" y="267"/>
                  </a:cubicBezTo>
                  <a:lnTo>
                    <a:pt x="1516" y="287"/>
                  </a:lnTo>
                  <a:lnTo>
                    <a:pt x="1536" y="287"/>
                  </a:lnTo>
                  <a:cubicBezTo>
                    <a:pt x="1536" y="307"/>
                    <a:pt x="1536" y="307"/>
                    <a:pt x="1536" y="328"/>
                  </a:cubicBezTo>
                  <a:lnTo>
                    <a:pt x="1536" y="349"/>
                  </a:lnTo>
                  <a:lnTo>
                    <a:pt x="1557" y="349"/>
                  </a:lnTo>
                  <a:cubicBezTo>
                    <a:pt x="1557" y="369"/>
                    <a:pt x="1577" y="369"/>
                    <a:pt x="1577" y="369"/>
                  </a:cubicBezTo>
                  <a:cubicBezTo>
                    <a:pt x="1577" y="389"/>
                    <a:pt x="1598" y="389"/>
                    <a:pt x="1598" y="389"/>
                  </a:cubicBezTo>
                  <a:lnTo>
                    <a:pt x="1618" y="410"/>
                  </a:lnTo>
                  <a:lnTo>
                    <a:pt x="1618" y="430"/>
                  </a:lnTo>
                  <a:lnTo>
                    <a:pt x="1618" y="451"/>
                  </a:lnTo>
                  <a:lnTo>
                    <a:pt x="1598" y="451"/>
                  </a:lnTo>
                  <a:cubicBezTo>
                    <a:pt x="1598" y="451"/>
                    <a:pt x="1577" y="451"/>
                    <a:pt x="1557" y="451"/>
                  </a:cubicBezTo>
                  <a:cubicBezTo>
                    <a:pt x="1557" y="451"/>
                    <a:pt x="1536" y="451"/>
                    <a:pt x="1516" y="451"/>
                  </a:cubicBezTo>
                  <a:lnTo>
                    <a:pt x="1516" y="451"/>
                  </a:lnTo>
                  <a:cubicBezTo>
                    <a:pt x="1516" y="471"/>
                    <a:pt x="1516" y="471"/>
                    <a:pt x="1516" y="471"/>
                  </a:cubicBezTo>
                  <a:cubicBezTo>
                    <a:pt x="1516" y="491"/>
                    <a:pt x="1536" y="471"/>
                    <a:pt x="1557" y="471"/>
                  </a:cubicBezTo>
                  <a:cubicBezTo>
                    <a:pt x="1557" y="491"/>
                    <a:pt x="1577" y="491"/>
                    <a:pt x="1577" y="491"/>
                  </a:cubicBezTo>
                  <a:cubicBezTo>
                    <a:pt x="1577" y="512"/>
                    <a:pt x="1577" y="512"/>
                    <a:pt x="1598" y="533"/>
                  </a:cubicBezTo>
                  <a:cubicBezTo>
                    <a:pt x="1598" y="533"/>
                    <a:pt x="1598" y="553"/>
                    <a:pt x="1618" y="553"/>
                  </a:cubicBezTo>
                  <a:cubicBezTo>
                    <a:pt x="1618" y="553"/>
                    <a:pt x="1618" y="573"/>
                    <a:pt x="1639" y="573"/>
                  </a:cubicBezTo>
                  <a:lnTo>
                    <a:pt x="1639" y="594"/>
                  </a:lnTo>
                  <a:lnTo>
                    <a:pt x="1659" y="615"/>
                  </a:lnTo>
                  <a:lnTo>
                    <a:pt x="1659" y="635"/>
                  </a:lnTo>
                  <a:lnTo>
                    <a:pt x="1680" y="635"/>
                  </a:lnTo>
                  <a:cubicBezTo>
                    <a:pt x="1680" y="655"/>
                    <a:pt x="1700" y="655"/>
                    <a:pt x="1700" y="676"/>
                  </a:cubicBezTo>
                  <a:cubicBezTo>
                    <a:pt x="1700" y="676"/>
                    <a:pt x="1721" y="697"/>
                    <a:pt x="1741" y="697"/>
                  </a:cubicBezTo>
                  <a:lnTo>
                    <a:pt x="1762" y="717"/>
                  </a:lnTo>
                  <a:cubicBezTo>
                    <a:pt x="1762" y="737"/>
                    <a:pt x="1762" y="737"/>
                    <a:pt x="1762" y="758"/>
                  </a:cubicBezTo>
                  <a:cubicBezTo>
                    <a:pt x="1762" y="758"/>
                    <a:pt x="1762" y="779"/>
                    <a:pt x="1741" y="799"/>
                  </a:cubicBezTo>
                  <a:cubicBezTo>
                    <a:pt x="1741" y="799"/>
                    <a:pt x="1721" y="799"/>
                    <a:pt x="1700" y="799"/>
                  </a:cubicBezTo>
                  <a:cubicBezTo>
                    <a:pt x="1680" y="799"/>
                    <a:pt x="1680" y="799"/>
                    <a:pt x="1659" y="799"/>
                  </a:cubicBezTo>
                  <a:lnTo>
                    <a:pt x="1639" y="779"/>
                  </a:lnTo>
                  <a:cubicBezTo>
                    <a:pt x="1639" y="758"/>
                    <a:pt x="1618" y="758"/>
                    <a:pt x="1618" y="758"/>
                  </a:cubicBezTo>
                  <a:cubicBezTo>
                    <a:pt x="1618" y="737"/>
                    <a:pt x="1598" y="737"/>
                    <a:pt x="1598" y="737"/>
                  </a:cubicBezTo>
                  <a:cubicBezTo>
                    <a:pt x="1598" y="758"/>
                    <a:pt x="1598" y="758"/>
                    <a:pt x="1598" y="758"/>
                  </a:cubicBezTo>
                  <a:lnTo>
                    <a:pt x="1598" y="779"/>
                  </a:lnTo>
                  <a:lnTo>
                    <a:pt x="1577" y="799"/>
                  </a:lnTo>
                  <a:cubicBezTo>
                    <a:pt x="1577" y="799"/>
                    <a:pt x="1577" y="799"/>
                    <a:pt x="1557" y="799"/>
                  </a:cubicBezTo>
                  <a:cubicBezTo>
                    <a:pt x="1557" y="819"/>
                    <a:pt x="1557" y="819"/>
                    <a:pt x="1557" y="840"/>
                  </a:cubicBezTo>
                  <a:lnTo>
                    <a:pt x="1557" y="861"/>
                  </a:lnTo>
                  <a:cubicBezTo>
                    <a:pt x="1557" y="881"/>
                    <a:pt x="1536" y="881"/>
                    <a:pt x="1536" y="881"/>
                  </a:cubicBezTo>
                  <a:cubicBezTo>
                    <a:pt x="1536" y="901"/>
                    <a:pt x="1536" y="922"/>
                    <a:pt x="1516" y="922"/>
                  </a:cubicBezTo>
                  <a:cubicBezTo>
                    <a:pt x="1516" y="922"/>
                    <a:pt x="1516" y="943"/>
                    <a:pt x="1516" y="963"/>
                  </a:cubicBezTo>
                  <a:lnTo>
                    <a:pt x="1516" y="983"/>
                  </a:lnTo>
                  <a:cubicBezTo>
                    <a:pt x="1516" y="1004"/>
                    <a:pt x="1516" y="1004"/>
                    <a:pt x="1516" y="1025"/>
                  </a:cubicBezTo>
                  <a:cubicBezTo>
                    <a:pt x="1516" y="1025"/>
                    <a:pt x="1516" y="1045"/>
                    <a:pt x="1516" y="1065"/>
                  </a:cubicBezTo>
                  <a:cubicBezTo>
                    <a:pt x="1516" y="1065"/>
                    <a:pt x="1516" y="1065"/>
                    <a:pt x="1516" y="1086"/>
                  </a:cubicBezTo>
                  <a:cubicBezTo>
                    <a:pt x="1495" y="1086"/>
                    <a:pt x="1495" y="1086"/>
                    <a:pt x="1495" y="1086"/>
                  </a:cubicBezTo>
                  <a:lnTo>
                    <a:pt x="1495" y="1086"/>
                  </a:lnTo>
                  <a:cubicBezTo>
                    <a:pt x="1475" y="1106"/>
                    <a:pt x="1495" y="1106"/>
                    <a:pt x="1495" y="1106"/>
                  </a:cubicBezTo>
                  <a:cubicBezTo>
                    <a:pt x="1495" y="1127"/>
                    <a:pt x="1495" y="1127"/>
                    <a:pt x="1495" y="1106"/>
                  </a:cubicBezTo>
                  <a:lnTo>
                    <a:pt x="1516" y="1106"/>
                  </a:lnTo>
                  <a:lnTo>
                    <a:pt x="1516" y="1086"/>
                  </a:lnTo>
                  <a:lnTo>
                    <a:pt x="1536" y="1086"/>
                  </a:lnTo>
                  <a:cubicBezTo>
                    <a:pt x="1536" y="1086"/>
                    <a:pt x="1536" y="1086"/>
                    <a:pt x="1536" y="1106"/>
                  </a:cubicBezTo>
                  <a:lnTo>
                    <a:pt x="1536" y="1106"/>
                  </a:lnTo>
                  <a:lnTo>
                    <a:pt x="1536" y="1127"/>
                  </a:lnTo>
                  <a:lnTo>
                    <a:pt x="1536" y="1147"/>
                  </a:lnTo>
                  <a:lnTo>
                    <a:pt x="1536" y="1168"/>
                  </a:lnTo>
                  <a:lnTo>
                    <a:pt x="1516" y="1168"/>
                  </a:lnTo>
                  <a:lnTo>
                    <a:pt x="1495" y="1168"/>
                  </a:lnTo>
                  <a:lnTo>
                    <a:pt x="1475" y="1168"/>
                  </a:lnTo>
                  <a:cubicBezTo>
                    <a:pt x="1475" y="1168"/>
                    <a:pt x="1475" y="1147"/>
                    <a:pt x="1475" y="1168"/>
                  </a:cubicBezTo>
                  <a:cubicBezTo>
                    <a:pt x="1454" y="1168"/>
                    <a:pt x="1454" y="1168"/>
                    <a:pt x="1454" y="1168"/>
                  </a:cubicBezTo>
                  <a:lnTo>
                    <a:pt x="1454" y="1188"/>
                  </a:lnTo>
                  <a:lnTo>
                    <a:pt x="1434" y="1209"/>
                  </a:lnTo>
                  <a:lnTo>
                    <a:pt x="1414" y="1229"/>
                  </a:lnTo>
                  <a:cubicBezTo>
                    <a:pt x="1393" y="1229"/>
                    <a:pt x="1393" y="1229"/>
                    <a:pt x="1393" y="1250"/>
                  </a:cubicBezTo>
                  <a:cubicBezTo>
                    <a:pt x="1393" y="1250"/>
                    <a:pt x="1372" y="1250"/>
                    <a:pt x="1372" y="1270"/>
                  </a:cubicBezTo>
                  <a:lnTo>
                    <a:pt x="1372" y="1291"/>
                  </a:lnTo>
                  <a:cubicBezTo>
                    <a:pt x="1372" y="1291"/>
                    <a:pt x="1372" y="1291"/>
                    <a:pt x="1372" y="1311"/>
                  </a:cubicBezTo>
                  <a:cubicBezTo>
                    <a:pt x="1352" y="1311"/>
                    <a:pt x="1352" y="1311"/>
                    <a:pt x="1352" y="1311"/>
                  </a:cubicBezTo>
                  <a:lnTo>
                    <a:pt x="1332" y="1332"/>
                  </a:lnTo>
                  <a:lnTo>
                    <a:pt x="1311" y="1332"/>
                  </a:lnTo>
                  <a:cubicBezTo>
                    <a:pt x="1311" y="1352"/>
                    <a:pt x="1311" y="1352"/>
                    <a:pt x="1311" y="1352"/>
                  </a:cubicBezTo>
                  <a:lnTo>
                    <a:pt x="1332" y="1352"/>
                  </a:lnTo>
                  <a:cubicBezTo>
                    <a:pt x="1332" y="1373"/>
                    <a:pt x="1332" y="1373"/>
                    <a:pt x="1332" y="1373"/>
                  </a:cubicBezTo>
                  <a:cubicBezTo>
                    <a:pt x="1332" y="1393"/>
                    <a:pt x="1332" y="1393"/>
                    <a:pt x="1332" y="1393"/>
                  </a:cubicBezTo>
                  <a:cubicBezTo>
                    <a:pt x="1332" y="1414"/>
                    <a:pt x="1332" y="1414"/>
                    <a:pt x="1332" y="1414"/>
                  </a:cubicBezTo>
                  <a:cubicBezTo>
                    <a:pt x="1311" y="1414"/>
                    <a:pt x="1311" y="1434"/>
                    <a:pt x="1311" y="1434"/>
                  </a:cubicBezTo>
                  <a:cubicBezTo>
                    <a:pt x="1311" y="1434"/>
                    <a:pt x="1311" y="1434"/>
                    <a:pt x="1311" y="1455"/>
                  </a:cubicBezTo>
                  <a:cubicBezTo>
                    <a:pt x="1311" y="1455"/>
                    <a:pt x="1311" y="1455"/>
                    <a:pt x="1332" y="1455"/>
                  </a:cubicBezTo>
                  <a:lnTo>
                    <a:pt x="1332" y="1455"/>
                  </a:lnTo>
                  <a:cubicBezTo>
                    <a:pt x="1352" y="1455"/>
                    <a:pt x="1352" y="1455"/>
                    <a:pt x="1352" y="1455"/>
                  </a:cubicBezTo>
                  <a:cubicBezTo>
                    <a:pt x="1352" y="1475"/>
                    <a:pt x="1352" y="1496"/>
                    <a:pt x="1352" y="1496"/>
                  </a:cubicBezTo>
                  <a:lnTo>
                    <a:pt x="1352" y="1516"/>
                  </a:lnTo>
                  <a:cubicBezTo>
                    <a:pt x="1352" y="1537"/>
                    <a:pt x="1332" y="1537"/>
                    <a:pt x="1332" y="1537"/>
                  </a:cubicBezTo>
                  <a:lnTo>
                    <a:pt x="1311" y="1537"/>
                  </a:lnTo>
                  <a:cubicBezTo>
                    <a:pt x="1311" y="1557"/>
                    <a:pt x="1311" y="1557"/>
                    <a:pt x="1311" y="1557"/>
                  </a:cubicBezTo>
                  <a:lnTo>
                    <a:pt x="1311" y="1578"/>
                  </a:lnTo>
                  <a:cubicBezTo>
                    <a:pt x="1311" y="1598"/>
                    <a:pt x="1311" y="1598"/>
                    <a:pt x="1311" y="1598"/>
                  </a:cubicBezTo>
                  <a:cubicBezTo>
                    <a:pt x="1311" y="1619"/>
                    <a:pt x="1311" y="1619"/>
                    <a:pt x="1311" y="1619"/>
                  </a:cubicBezTo>
                  <a:lnTo>
                    <a:pt x="1290" y="1619"/>
                  </a:lnTo>
                  <a:lnTo>
                    <a:pt x="1290" y="1639"/>
                  </a:lnTo>
                  <a:lnTo>
                    <a:pt x="1290" y="1660"/>
                  </a:lnTo>
                  <a:cubicBezTo>
                    <a:pt x="1290" y="1680"/>
                    <a:pt x="1270" y="1701"/>
                    <a:pt x="1270" y="1701"/>
                  </a:cubicBezTo>
                  <a:lnTo>
                    <a:pt x="1250" y="1721"/>
                  </a:lnTo>
                  <a:lnTo>
                    <a:pt x="1229" y="1742"/>
                  </a:lnTo>
                  <a:cubicBezTo>
                    <a:pt x="1229" y="1742"/>
                    <a:pt x="1229" y="1762"/>
                    <a:pt x="1208" y="1762"/>
                  </a:cubicBezTo>
                  <a:lnTo>
                    <a:pt x="1208" y="1783"/>
                  </a:lnTo>
                  <a:cubicBezTo>
                    <a:pt x="1208" y="1803"/>
                    <a:pt x="1208" y="1803"/>
                    <a:pt x="1208" y="1803"/>
                  </a:cubicBezTo>
                  <a:cubicBezTo>
                    <a:pt x="1188" y="1824"/>
                    <a:pt x="1168" y="1824"/>
                    <a:pt x="1168" y="1824"/>
                  </a:cubicBezTo>
                  <a:cubicBezTo>
                    <a:pt x="1168" y="1824"/>
                    <a:pt x="1147" y="1824"/>
                    <a:pt x="1126" y="1844"/>
                  </a:cubicBezTo>
                  <a:lnTo>
                    <a:pt x="1106" y="1844"/>
                  </a:lnTo>
                  <a:cubicBezTo>
                    <a:pt x="1086" y="1844"/>
                    <a:pt x="1086" y="1864"/>
                    <a:pt x="1086" y="1864"/>
                  </a:cubicBezTo>
                  <a:cubicBezTo>
                    <a:pt x="1065" y="1864"/>
                    <a:pt x="1065" y="1864"/>
                    <a:pt x="1065" y="1885"/>
                  </a:cubicBezTo>
                  <a:lnTo>
                    <a:pt x="1044" y="1885"/>
                  </a:lnTo>
                  <a:cubicBezTo>
                    <a:pt x="1044" y="1906"/>
                    <a:pt x="1024" y="1906"/>
                    <a:pt x="1024" y="1906"/>
                  </a:cubicBezTo>
                  <a:lnTo>
                    <a:pt x="1004" y="1885"/>
                  </a:lnTo>
                  <a:cubicBezTo>
                    <a:pt x="983" y="1885"/>
                    <a:pt x="983" y="1864"/>
                    <a:pt x="983" y="1844"/>
                  </a:cubicBezTo>
                  <a:cubicBezTo>
                    <a:pt x="983" y="1844"/>
                    <a:pt x="983" y="1844"/>
                    <a:pt x="983" y="1824"/>
                  </a:cubicBezTo>
                  <a:lnTo>
                    <a:pt x="1004" y="1803"/>
                  </a:lnTo>
                  <a:cubicBezTo>
                    <a:pt x="1004" y="1783"/>
                    <a:pt x="1004" y="1762"/>
                    <a:pt x="1004" y="1762"/>
                  </a:cubicBezTo>
                  <a:cubicBezTo>
                    <a:pt x="1004" y="1742"/>
                    <a:pt x="1004" y="1742"/>
                    <a:pt x="1004" y="1721"/>
                  </a:cubicBezTo>
                  <a:lnTo>
                    <a:pt x="1004" y="1701"/>
                  </a:lnTo>
                  <a:lnTo>
                    <a:pt x="983" y="1701"/>
                  </a:lnTo>
                  <a:lnTo>
                    <a:pt x="983" y="1721"/>
                  </a:lnTo>
                  <a:lnTo>
                    <a:pt x="962" y="1742"/>
                  </a:lnTo>
                  <a:lnTo>
                    <a:pt x="942" y="1742"/>
                  </a:lnTo>
                  <a:cubicBezTo>
                    <a:pt x="942" y="1721"/>
                    <a:pt x="922" y="1721"/>
                    <a:pt x="922" y="1721"/>
                  </a:cubicBezTo>
                  <a:lnTo>
                    <a:pt x="901" y="1721"/>
                  </a:lnTo>
                  <a:lnTo>
                    <a:pt x="880" y="1721"/>
                  </a:lnTo>
                  <a:lnTo>
                    <a:pt x="860" y="1742"/>
                  </a:lnTo>
                  <a:cubicBezTo>
                    <a:pt x="840" y="1742"/>
                    <a:pt x="840" y="1721"/>
                    <a:pt x="819" y="1721"/>
                  </a:cubicBezTo>
                  <a:cubicBezTo>
                    <a:pt x="819" y="1721"/>
                    <a:pt x="819" y="1701"/>
                    <a:pt x="819" y="1680"/>
                  </a:cubicBezTo>
                  <a:lnTo>
                    <a:pt x="819" y="1680"/>
                  </a:lnTo>
                  <a:cubicBezTo>
                    <a:pt x="798" y="1660"/>
                    <a:pt x="778" y="1680"/>
                    <a:pt x="778" y="1680"/>
                  </a:cubicBezTo>
                  <a:cubicBezTo>
                    <a:pt x="758" y="1660"/>
                    <a:pt x="778" y="1660"/>
                    <a:pt x="778" y="1639"/>
                  </a:cubicBezTo>
                  <a:cubicBezTo>
                    <a:pt x="758" y="1639"/>
                    <a:pt x="758" y="1639"/>
                    <a:pt x="758" y="1619"/>
                  </a:cubicBezTo>
                  <a:lnTo>
                    <a:pt x="737" y="1639"/>
                  </a:lnTo>
                  <a:lnTo>
                    <a:pt x="716" y="1660"/>
                  </a:lnTo>
                  <a:cubicBezTo>
                    <a:pt x="716" y="1660"/>
                    <a:pt x="716" y="1680"/>
                    <a:pt x="696" y="1680"/>
                  </a:cubicBezTo>
                  <a:cubicBezTo>
                    <a:pt x="696" y="1680"/>
                    <a:pt x="676" y="1680"/>
                    <a:pt x="676" y="1701"/>
                  </a:cubicBezTo>
                  <a:lnTo>
                    <a:pt x="676" y="1701"/>
                  </a:lnTo>
                  <a:cubicBezTo>
                    <a:pt x="656" y="1721"/>
                    <a:pt x="656" y="1721"/>
                    <a:pt x="635" y="1721"/>
                  </a:cubicBezTo>
                  <a:lnTo>
                    <a:pt x="614" y="1721"/>
                  </a:lnTo>
                  <a:cubicBezTo>
                    <a:pt x="594" y="1721"/>
                    <a:pt x="594" y="1701"/>
                    <a:pt x="594" y="1701"/>
                  </a:cubicBezTo>
                  <a:lnTo>
                    <a:pt x="574" y="1701"/>
                  </a:lnTo>
                  <a:cubicBezTo>
                    <a:pt x="553" y="1701"/>
                    <a:pt x="553" y="1701"/>
                    <a:pt x="553" y="1701"/>
                  </a:cubicBezTo>
                  <a:cubicBezTo>
                    <a:pt x="553" y="1701"/>
                    <a:pt x="532" y="1721"/>
                    <a:pt x="512" y="1701"/>
                  </a:cubicBezTo>
                  <a:cubicBezTo>
                    <a:pt x="512" y="1701"/>
                    <a:pt x="512" y="1680"/>
                    <a:pt x="512" y="1660"/>
                  </a:cubicBezTo>
                  <a:lnTo>
                    <a:pt x="532" y="1639"/>
                  </a:lnTo>
                  <a:cubicBezTo>
                    <a:pt x="512" y="1639"/>
                    <a:pt x="512" y="1619"/>
                    <a:pt x="512" y="1619"/>
                  </a:cubicBezTo>
                  <a:cubicBezTo>
                    <a:pt x="512" y="1619"/>
                    <a:pt x="492" y="1619"/>
                    <a:pt x="471" y="1619"/>
                  </a:cubicBezTo>
                  <a:lnTo>
                    <a:pt x="450" y="1619"/>
                  </a:lnTo>
                  <a:lnTo>
                    <a:pt x="430" y="1619"/>
                  </a:lnTo>
                  <a:cubicBezTo>
                    <a:pt x="410" y="1639"/>
                    <a:pt x="410" y="1660"/>
                    <a:pt x="389" y="1660"/>
                  </a:cubicBezTo>
                  <a:lnTo>
                    <a:pt x="368" y="1639"/>
                  </a:lnTo>
                  <a:lnTo>
                    <a:pt x="348" y="1619"/>
                  </a:lnTo>
                  <a:lnTo>
                    <a:pt x="328" y="1619"/>
                  </a:lnTo>
                  <a:lnTo>
                    <a:pt x="307" y="1619"/>
                  </a:lnTo>
                  <a:cubicBezTo>
                    <a:pt x="286" y="1619"/>
                    <a:pt x="286" y="1598"/>
                    <a:pt x="266" y="1598"/>
                  </a:cubicBezTo>
                  <a:lnTo>
                    <a:pt x="246" y="1598"/>
                  </a:lnTo>
                  <a:cubicBezTo>
                    <a:pt x="225" y="1598"/>
                    <a:pt x="225" y="1598"/>
                    <a:pt x="225" y="1598"/>
                  </a:cubicBezTo>
                  <a:cubicBezTo>
                    <a:pt x="204" y="1578"/>
                    <a:pt x="204" y="1557"/>
                    <a:pt x="204" y="1537"/>
                  </a:cubicBezTo>
                  <a:cubicBezTo>
                    <a:pt x="204" y="1537"/>
                    <a:pt x="225" y="1516"/>
                    <a:pt x="225" y="1496"/>
                  </a:cubicBezTo>
                  <a:cubicBezTo>
                    <a:pt x="225" y="1496"/>
                    <a:pt x="225" y="1475"/>
                    <a:pt x="225" y="1455"/>
                  </a:cubicBezTo>
                  <a:cubicBezTo>
                    <a:pt x="225" y="1434"/>
                    <a:pt x="225" y="1414"/>
                    <a:pt x="225" y="1393"/>
                  </a:cubicBezTo>
                  <a:cubicBezTo>
                    <a:pt x="204" y="1393"/>
                    <a:pt x="204" y="1352"/>
                    <a:pt x="204" y="1352"/>
                  </a:cubicBezTo>
                  <a:cubicBezTo>
                    <a:pt x="204" y="1332"/>
                    <a:pt x="204" y="1311"/>
                    <a:pt x="204" y="1311"/>
                  </a:cubicBezTo>
                  <a:lnTo>
                    <a:pt x="204" y="1291"/>
                  </a:lnTo>
                  <a:cubicBezTo>
                    <a:pt x="225" y="1291"/>
                    <a:pt x="225" y="1270"/>
                    <a:pt x="225" y="1270"/>
                  </a:cubicBezTo>
                  <a:lnTo>
                    <a:pt x="246" y="1250"/>
                  </a:lnTo>
                  <a:cubicBezTo>
                    <a:pt x="225" y="1229"/>
                    <a:pt x="225" y="1229"/>
                    <a:pt x="204" y="1229"/>
                  </a:cubicBezTo>
                  <a:cubicBezTo>
                    <a:pt x="204" y="1209"/>
                    <a:pt x="204" y="1188"/>
                    <a:pt x="204" y="1188"/>
                  </a:cubicBezTo>
                  <a:cubicBezTo>
                    <a:pt x="184" y="1188"/>
                    <a:pt x="184" y="1168"/>
                    <a:pt x="164" y="1168"/>
                  </a:cubicBezTo>
                  <a:lnTo>
                    <a:pt x="164" y="1188"/>
                  </a:lnTo>
                  <a:cubicBezTo>
                    <a:pt x="143" y="1209"/>
                    <a:pt x="164" y="1209"/>
                    <a:pt x="143" y="1229"/>
                  </a:cubicBezTo>
                  <a:cubicBezTo>
                    <a:pt x="143" y="1229"/>
                    <a:pt x="143" y="1229"/>
                    <a:pt x="143" y="1250"/>
                  </a:cubicBezTo>
                  <a:lnTo>
                    <a:pt x="122" y="1250"/>
                  </a:lnTo>
                  <a:lnTo>
                    <a:pt x="102" y="1229"/>
                  </a:lnTo>
                  <a:lnTo>
                    <a:pt x="102" y="1188"/>
                  </a:lnTo>
                  <a:cubicBezTo>
                    <a:pt x="102" y="1168"/>
                    <a:pt x="122" y="1168"/>
                    <a:pt x="122" y="1147"/>
                  </a:cubicBezTo>
                  <a:cubicBezTo>
                    <a:pt x="102" y="1147"/>
                    <a:pt x="102" y="1147"/>
                    <a:pt x="102" y="1147"/>
                  </a:cubicBezTo>
                  <a:lnTo>
                    <a:pt x="82" y="1147"/>
                  </a:lnTo>
                  <a:lnTo>
                    <a:pt x="82" y="1127"/>
                  </a:lnTo>
                  <a:cubicBezTo>
                    <a:pt x="82" y="1127"/>
                    <a:pt x="82" y="1127"/>
                    <a:pt x="102" y="1127"/>
                  </a:cubicBezTo>
                  <a:lnTo>
                    <a:pt x="122" y="1127"/>
                  </a:lnTo>
                  <a:cubicBezTo>
                    <a:pt x="122" y="1106"/>
                    <a:pt x="102" y="1106"/>
                    <a:pt x="102" y="1086"/>
                  </a:cubicBezTo>
                  <a:lnTo>
                    <a:pt x="82" y="1086"/>
                  </a:lnTo>
                  <a:cubicBezTo>
                    <a:pt x="61" y="1086"/>
                    <a:pt x="61" y="1065"/>
                    <a:pt x="61" y="1065"/>
                  </a:cubicBezTo>
                  <a:cubicBezTo>
                    <a:pt x="61" y="1045"/>
                    <a:pt x="61" y="1025"/>
                    <a:pt x="61" y="1025"/>
                  </a:cubicBezTo>
                  <a:cubicBezTo>
                    <a:pt x="61" y="1004"/>
                    <a:pt x="82" y="983"/>
                    <a:pt x="82" y="983"/>
                  </a:cubicBezTo>
                  <a:cubicBezTo>
                    <a:pt x="82" y="963"/>
                    <a:pt x="82" y="943"/>
                    <a:pt x="61" y="943"/>
                  </a:cubicBezTo>
                  <a:cubicBezTo>
                    <a:pt x="61" y="922"/>
                    <a:pt x="40" y="922"/>
                    <a:pt x="40" y="922"/>
                  </a:cubicBezTo>
                  <a:cubicBezTo>
                    <a:pt x="40" y="922"/>
                    <a:pt x="20" y="922"/>
                    <a:pt x="20" y="901"/>
                  </a:cubicBezTo>
                  <a:lnTo>
                    <a:pt x="0" y="901"/>
                  </a:lnTo>
                  <a:cubicBezTo>
                    <a:pt x="0" y="881"/>
                    <a:pt x="20" y="881"/>
                    <a:pt x="20" y="881"/>
                  </a:cubicBezTo>
                  <a:lnTo>
                    <a:pt x="40" y="861"/>
                  </a:lnTo>
                  <a:cubicBezTo>
                    <a:pt x="40" y="840"/>
                    <a:pt x="20" y="840"/>
                    <a:pt x="20" y="819"/>
                  </a:cubicBezTo>
                  <a:lnTo>
                    <a:pt x="20" y="799"/>
                  </a:lnTo>
                  <a:cubicBezTo>
                    <a:pt x="20" y="779"/>
                    <a:pt x="40" y="758"/>
                    <a:pt x="40" y="758"/>
                  </a:cubicBezTo>
                  <a:lnTo>
                    <a:pt x="40" y="717"/>
                  </a:lnTo>
                  <a:cubicBezTo>
                    <a:pt x="40" y="697"/>
                    <a:pt x="40" y="676"/>
                    <a:pt x="40" y="676"/>
                  </a:cubicBezTo>
                  <a:cubicBezTo>
                    <a:pt x="40" y="655"/>
                    <a:pt x="61" y="635"/>
                    <a:pt x="61" y="635"/>
                  </a:cubicBezTo>
                  <a:lnTo>
                    <a:pt x="61" y="615"/>
                  </a:lnTo>
                  <a:cubicBezTo>
                    <a:pt x="61" y="615"/>
                    <a:pt x="61" y="594"/>
                    <a:pt x="82" y="573"/>
                  </a:cubicBezTo>
                  <a:cubicBezTo>
                    <a:pt x="82" y="573"/>
                    <a:pt x="82" y="573"/>
                    <a:pt x="82" y="553"/>
                  </a:cubicBezTo>
                  <a:cubicBezTo>
                    <a:pt x="102" y="553"/>
                    <a:pt x="102" y="553"/>
                    <a:pt x="122" y="533"/>
                  </a:cubicBezTo>
                  <a:lnTo>
                    <a:pt x="122" y="533"/>
                  </a:lnTo>
                  <a:lnTo>
                    <a:pt x="143" y="512"/>
                  </a:lnTo>
                  <a:cubicBezTo>
                    <a:pt x="143" y="512"/>
                    <a:pt x="143" y="491"/>
                    <a:pt x="164" y="491"/>
                  </a:cubicBezTo>
                  <a:lnTo>
                    <a:pt x="164" y="491"/>
                  </a:lnTo>
                  <a:lnTo>
                    <a:pt x="164" y="512"/>
                  </a:lnTo>
                  <a:lnTo>
                    <a:pt x="164" y="533"/>
                  </a:lnTo>
                  <a:cubicBezTo>
                    <a:pt x="164" y="553"/>
                    <a:pt x="164" y="573"/>
                    <a:pt x="164" y="573"/>
                  </a:cubicBezTo>
                  <a:cubicBezTo>
                    <a:pt x="164" y="594"/>
                    <a:pt x="184" y="615"/>
                    <a:pt x="184" y="615"/>
                  </a:cubicBezTo>
                  <a:lnTo>
                    <a:pt x="204" y="635"/>
                  </a:lnTo>
                  <a:lnTo>
                    <a:pt x="225" y="655"/>
                  </a:lnTo>
                  <a:cubicBezTo>
                    <a:pt x="225" y="676"/>
                    <a:pt x="225" y="676"/>
                    <a:pt x="225" y="697"/>
                  </a:cubicBezTo>
                  <a:cubicBezTo>
                    <a:pt x="225" y="697"/>
                    <a:pt x="246" y="697"/>
                    <a:pt x="246" y="717"/>
                  </a:cubicBezTo>
                  <a:cubicBezTo>
                    <a:pt x="246" y="717"/>
                    <a:pt x="266" y="717"/>
                    <a:pt x="266" y="737"/>
                  </a:cubicBezTo>
                  <a:lnTo>
                    <a:pt x="286" y="758"/>
                  </a:lnTo>
                  <a:cubicBezTo>
                    <a:pt x="307" y="758"/>
                    <a:pt x="307" y="779"/>
                    <a:pt x="328" y="779"/>
                  </a:cubicBezTo>
                  <a:cubicBezTo>
                    <a:pt x="328" y="779"/>
                    <a:pt x="328" y="758"/>
                    <a:pt x="348" y="758"/>
                  </a:cubicBezTo>
                  <a:cubicBezTo>
                    <a:pt x="348" y="737"/>
                    <a:pt x="368" y="758"/>
                    <a:pt x="368" y="737"/>
                  </a:cubicBezTo>
                  <a:cubicBezTo>
                    <a:pt x="389" y="737"/>
                    <a:pt x="410" y="737"/>
                    <a:pt x="410" y="737"/>
                  </a:cubicBezTo>
                  <a:cubicBezTo>
                    <a:pt x="430" y="737"/>
                    <a:pt x="450" y="758"/>
                    <a:pt x="450" y="758"/>
                  </a:cubicBezTo>
                  <a:cubicBezTo>
                    <a:pt x="450" y="758"/>
                    <a:pt x="471" y="758"/>
                    <a:pt x="492" y="758"/>
                  </a:cubicBezTo>
                  <a:cubicBezTo>
                    <a:pt x="492" y="758"/>
                    <a:pt x="512" y="758"/>
                    <a:pt x="532" y="737"/>
                  </a:cubicBezTo>
                  <a:cubicBezTo>
                    <a:pt x="532" y="737"/>
                    <a:pt x="574" y="737"/>
                    <a:pt x="574" y="717"/>
                  </a:cubicBezTo>
                  <a:cubicBezTo>
                    <a:pt x="594" y="717"/>
                    <a:pt x="594" y="697"/>
                    <a:pt x="614" y="676"/>
                  </a:cubicBezTo>
                  <a:cubicBezTo>
                    <a:pt x="614" y="676"/>
                    <a:pt x="614" y="655"/>
                    <a:pt x="614" y="635"/>
                  </a:cubicBezTo>
                  <a:cubicBezTo>
                    <a:pt x="635" y="635"/>
                    <a:pt x="656" y="635"/>
                    <a:pt x="676" y="635"/>
                  </a:cubicBezTo>
                  <a:cubicBezTo>
                    <a:pt x="676" y="635"/>
                    <a:pt x="696" y="635"/>
                    <a:pt x="716" y="635"/>
                  </a:cubicBezTo>
                  <a:cubicBezTo>
                    <a:pt x="716" y="635"/>
                    <a:pt x="716" y="655"/>
                    <a:pt x="737" y="655"/>
                  </a:cubicBezTo>
                  <a:cubicBezTo>
                    <a:pt x="737" y="655"/>
                    <a:pt x="737" y="676"/>
                    <a:pt x="758" y="676"/>
                  </a:cubicBezTo>
                  <a:lnTo>
                    <a:pt x="778" y="676"/>
                  </a:lnTo>
                  <a:cubicBezTo>
                    <a:pt x="798" y="676"/>
                    <a:pt x="819" y="697"/>
                    <a:pt x="819" y="697"/>
                  </a:cubicBezTo>
                  <a:cubicBezTo>
                    <a:pt x="840" y="676"/>
                    <a:pt x="860" y="655"/>
                    <a:pt x="880" y="655"/>
                  </a:cubicBezTo>
                  <a:cubicBezTo>
                    <a:pt x="901" y="655"/>
                    <a:pt x="922" y="655"/>
                    <a:pt x="922" y="655"/>
                  </a:cubicBezTo>
                  <a:cubicBezTo>
                    <a:pt x="942" y="655"/>
                    <a:pt x="962" y="635"/>
                    <a:pt x="962" y="635"/>
                  </a:cubicBezTo>
                  <a:cubicBezTo>
                    <a:pt x="983" y="635"/>
                    <a:pt x="983" y="635"/>
                    <a:pt x="1004" y="635"/>
                  </a:cubicBezTo>
                  <a:lnTo>
                    <a:pt x="1004" y="615"/>
                  </a:lnTo>
                  <a:cubicBezTo>
                    <a:pt x="1024" y="594"/>
                    <a:pt x="1024" y="553"/>
                    <a:pt x="1024" y="553"/>
                  </a:cubicBezTo>
                  <a:cubicBezTo>
                    <a:pt x="1024" y="533"/>
                    <a:pt x="1024" y="512"/>
                    <a:pt x="1044" y="512"/>
                  </a:cubicBezTo>
                  <a:cubicBezTo>
                    <a:pt x="1044" y="491"/>
                    <a:pt x="1044" y="491"/>
                    <a:pt x="1065" y="471"/>
                  </a:cubicBezTo>
                  <a:lnTo>
                    <a:pt x="1065" y="451"/>
                  </a:lnTo>
                  <a:cubicBezTo>
                    <a:pt x="1065" y="430"/>
                    <a:pt x="1065" y="410"/>
                    <a:pt x="1065" y="410"/>
                  </a:cubicBezTo>
                  <a:cubicBezTo>
                    <a:pt x="1065" y="389"/>
                    <a:pt x="1065" y="369"/>
                    <a:pt x="1065" y="369"/>
                  </a:cubicBezTo>
                  <a:cubicBezTo>
                    <a:pt x="1065" y="349"/>
                    <a:pt x="1086" y="328"/>
                    <a:pt x="1106" y="328"/>
                  </a:cubicBezTo>
                  <a:cubicBezTo>
                    <a:pt x="1106" y="307"/>
                    <a:pt x="1147" y="287"/>
                    <a:pt x="1147" y="287"/>
                  </a:cubicBezTo>
                  <a:cubicBezTo>
                    <a:pt x="1168" y="267"/>
                    <a:pt x="1188" y="246"/>
                    <a:pt x="1188" y="246"/>
                  </a:cubicBezTo>
                  <a:cubicBezTo>
                    <a:pt x="1208" y="225"/>
                    <a:pt x="1208" y="205"/>
                    <a:pt x="1208" y="185"/>
                  </a:cubicBezTo>
                  <a:cubicBezTo>
                    <a:pt x="1208" y="185"/>
                    <a:pt x="1208" y="164"/>
                    <a:pt x="1208" y="143"/>
                  </a:cubicBezTo>
                  <a:cubicBezTo>
                    <a:pt x="1188" y="143"/>
                    <a:pt x="1188" y="123"/>
                    <a:pt x="1188" y="123"/>
                  </a:cubicBezTo>
                  <a:cubicBezTo>
                    <a:pt x="1188" y="103"/>
                    <a:pt x="1188" y="103"/>
                    <a:pt x="1188" y="82"/>
                  </a:cubicBezTo>
                  <a:lnTo>
                    <a:pt x="1208" y="82"/>
                  </a:lnTo>
                  <a:lnTo>
                    <a:pt x="1229" y="61"/>
                  </a:lnTo>
                  <a:lnTo>
                    <a:pt x="1229" y="41"/>
                  </a:lnTo>
                  <a:cubicBezTo>
                    <a:pt x="1229" y="21"/>
                    <a:pt x="1250" y="21"/>
                    <a:pt x="1270" y="0"/>
                  </a:cubicBezTo>
                  <a:lnTo>
                    <a:pt x="1290" y="21"/>
                  </a:lnTo>
                  <a:cubicBezTo>
                    <a:pt x="1311" y="21"/>
                    <a:pt x="1311" y="21"/>
                    <a:pt x="1332" y="21"/>
                  </a:cubicBezTo>
                  <a:cubicBezTo>
                    <a:pt x="1332" y="21"/>
                    <a:pt x="1352" y="21"/>
                    <a:pt x="1372" y="21"/>
                  </a:cubicBezTo>
                  <a:cubicBezTo>
                    <a:pt x="1372" y="21"/>
                    <a:pt x="1393" y="21"/>
                    <a:pt x="1414" y="21"/>
                  </a:cubicBezTo>
                  <a:cubicBezTo>
                    <a:pt x="1414" y="21"/>
                    <a:pt x="1434" y="21"/>
                    <a:pt x="1454" y="21"/>
                  </a:cubicBezTo>
                  <a:lnTo>
                    <a:pt x="1475" y="21"/>
                  </a:lnTo>
                  <a:lnTo>
                    <a:pt x="1495"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6" name="Freeform 553">
              <a:extLst>
                <a:ext uri="{FF2B5EF4-FFF2-40B4-BE49-F238E27FC236}">
                  <a16:creationId xmlns:a16="http://schemas.microsoft.com/office/drawing/2014/main" id="{C7527DD0-AFBC-AC4D-A2CF-234F2070BD92}"/>
                </a:ext>
              </a:extLst>
            </p:cNvPr>
            <p:cNvSpPr>
              <a:spLocks noChangeArrowheads="1"/>
            </p:cNvSpPr>
            <p:nvPr/>
          </p:nvSpPr>
          <p:spPr bwMode="auto">
            <a:xfrm>
              <a:off x="6291263" y="8683625"/>
              <a:ext cx="111125" cy="125413"/>
            </a:xfrm>
            <a:custGeom>
              <a:avLst/>
              <a:gdLst>
                <a:gd name="T0" fmla="*/ 307 w 308"/>
                <a:gd name="T1" fmla="*/ 61 h 349"/>
                <a:gd name="T2" fmla="*/ 307 w 308"/>
                <a:gd name="T3" fmla="*/ 61 h 349"/>
                <a:gd name="T4" fmla="*/ 307 w 308"/>
                <a:gd name="T5" fmla="*/ 82 h 349"/>
                <a:gd name="T6" fmla="*/ 286 w 308"/>
                <a:gd name="T7" fmla="*/ 102 h 349"/>
                <a:gd name="T8" fmla="*/ 266 w 308"/>
                <a:gd name="T9" fmla="*/ 122 h 349"/>
                <a:gd name="T10" fmla="*/ 286 w 308"/>
                <a:gd name="T11" fmla="*/ 143 h 349"/>
                <a:gd name="T12" fmla="*/ 286 w 308"/>
                <a:gd name="T13" fmla="*/ 164 h 349"/>
                <a:gd name="T14" fmla="*/ 286 w 308"/>
                <a:gd name="T15" fmla="*/ 164 h 349"/>
                <a:gd name="T16" fmla="*/ 246 w 308"/>
                <a:gd name="T17" fmla="*/ 204 h 349"/>
                <a:gd name="T18" fmla="*/ 204 w 308"/>
                <a:gd name="T19" fmla="*/ 245 h 349"/>
                <a:gd name="T20" fmla="*/ 164 w 308"/>
                <a:gd name="T21" fmla="*/ 266 h 349"/>
                <a:gd name="T22" fmla="*/ 143 w 308"/>
                <a:gd name="T23" fmla="*/ 286 h 349"/>
                <a:gd name="T24" fmla="*/ 122 w 308"/>
                <a:gd name="T25" fmla="*/ 307 h 349"/>
                <a:gd name="T26" fmla="*/ 82 w 308"/>
                <a:gd name="T27" fmla="*/ 307 h 349"/>
                <a:gd name="T28" fmla="*/ 61 w 308"/>
                <a:gd name="T29" fmla="*/ 327 h 349"/>
                <a:gd name="T30" fmla="*/ 40 w 308"/>
                <a:gd name="T31" fmla="*/ 348 h 349"/>
                <a:gd name="T32" fmla="*/ 0 w 308"/>
                <a:gd name="T33" fmla="*/ 327 h 349"/>
                <a:gd name="T34" fmla="*/ 0 w 308"/>
                <a:gd name="T35" fmla="*/ 286 h 349"/>
                <a:gd name="T36" fmla="*/ 20 w 308"/>
                <a:gd name="T37" fmla="*/ 266 h 349"/>
                <a:gd name="T38" fmla="*/ 20 w 308"/>
                <a:gd name="T39" fmla="*/ 225 h 349"/>
                <a:gd name="T40" fmla="*/ 20 w 308"/>
                <a:gd name="T41" fmla="*/ 204 h 349"/>
                <a:gd name="T42" fmla="*/ 40 w 308"/>
                <a:gd name="T43" fmla="*/ 164 h 349"/>
                <a:gd name="T44" fmla="*/ 61 w 308"/>
                <a:gd name="T45" fmla="*/ 143 h 349"/>
                <a:gd name="T46" fmla="*/ 82 w 308"/>
                <a:gd name="T47" fmla="*/ 122 h 349"/>
                <a:gd name="T48" fmla="*/ 82 w 308"/>
                <a:gd name="T49" fmla="*/ 122 h 349"/>
                <a:gd name="T50" fmla="*/ 102 w 308"/>
                <a:gd name="T51" fmla="*/ 122 h 349"/>
                <a:gd name="T52" fmla="*/ 143 w 308"/>
                <a:gd name="T53" fmla="*/ 143 h 349"/>
                <a:gd name="T54" fmla="*/ 164 w 308"/>
                <a:gd name="T55" fmla="*/ 122 h 349"/>
                <a:gd name="T56" fmla="*/ 164 w 308"/>
                <a:gd name="T57" fmla="*/ 102 h 349"/>
                <a:gd name="T58" fmla="*/ 184 w 308"/>
                <a:gd name="T59" fmla="*/ 82 h 349"/>
                <a:gd name="T60" fmla="*/ 164 w 308"/>
                <a:gd name="T61" fmla="*/ 61 h 349"/>
                <a:gd name="T62" fmla="*/ 164 w 308"/>
                <a:gd name="T63" fmla="*/ 40 h 349"/>
                <a:gd name="T64" fmla="*/ 184 w 308"/>
                <a:gd name="T65" fmla="*/ 40 h 349"/>
                <a:gd name="T66" fmla="*/ 225 w 308"/>
                <a:gd name="T67" fmla="*/ 20 h 349"/>
                <a:gd name="T68" fmla="*/ 246 w 308"/>
                <a:gd name="T69" fmla="*/ 0 h 349"/>
                <a:gd name="T70" fmla="*/ 266 w 308"/>
                <a:gd name="T71" fmla="*/ 20 h 349"/>
                <a:gd name="T72" fmla="*/ 266 w 308"/>
                <a:gd name="T73" fmla="*/ 40 h 349"/>
                <a:gd name="T74" fmla="*/ 286 w 308"/>
                <a:gd name="T75" fmla="*/ 61 h 349"/>
                <a:gd name="T76" fmla="*/ 307 w 308"/>
                <a:gd name="T77" fmla="*/ 6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8" h="349">
                  <a:moveTo>
                    <a:pt x="307" y="61"/>
                  </a:moveTo>
                  <a:lnTo>
                    <a:pt x="307" y="61"/>
                  </a:lnTo>
                  <a:cubicBezTo>
                    <a:pt x="307" y="82"/>
                    <a:pt x="307" y="82"/>
                    <a:pt x="307" y="82"/>
                  </a:cubicBezTo>
                  <a:cubicBezTo>
                    <a:pt x="307" y="102"/>
                    <a:pt x="286" y="102"/>
                    <a:pt x="286" y="102"/>
                  </a:cubicBezTo>
                  <a:cubicBezTo>
                    <a:pt x="286" y="102"/>
                    <a:pt x="266" y="102"/>
                    <a:pt x="266" y="122"/>
                  </a:cubicBezTo>
                  <a:cubicBezTo>
                    <a:pt x="266" y="122"/>
                    <a:pt x="266" y="143"/>
                    <a:pt x="286" y="143"/>
                  </a:cubicBezTo>
                  <a:cubicBezTo>
                    <a:pt x="286" y="164"/>
                    <a:pt x="286" y="164"/>
                    <a:pt x="286" y="164"/>
                  </a:cubicBezTo>
                  <a:lnTo>
                    <a:pt x="286" y="164"/>
                  </a:lnTo>
                  <a:cubicBezTo>
                    <a:pt x="266" y="184"/>
                    <a:pt x="246" y="204"/>
                    <a:pt x="246" y="204"/>
                  </a:cubicBezTo>
                  <a:cubicBezTo>
                    <a:pt x="225" y="204"/>
                    <a:pt x="204" y="225"/>
                    <a:pt x="204" y="245"/>
                  </a:cubicBezTo>
                  <a:cubicBezTo>
                    <a:pt x="184" y="245"/>
                    <a:pt x="184" y="266"/>
                    <a:pt x="164" y="266"/>
                  </a:cubicBezTo>
                  <a:cubicBezTo>
                    <a:pt x="164" y="266"/>
                    <a:pt x="164" y="286"/>
                    <a:pt x="143" y="286"/>
                  </a:cubicBezTo>
                  <a:cubicBezTo>
                    <a:pt x="143" y="307"/>
                    <a:pt x="122" y="307"/>
                    <a:pt x="122" y="307"/>
                  </a:cubicBezTo>
                  <a:cubicBezTo>
                    <a:pt x="102" y="307"/>
                    <a:pt x="82" y="307"/>
                    <a:pt x="82" y="307"/>
                  </a:cubicBezTo>
                  <a:cubicBezTo>
                    <a:pt x="82" y="307"/>
                    <a:pt x="82" y="327"/>
                    <a:pt x="61" y="327"/>
                  </a:cubicBezTo>
                  <a:cubicBezTo>
                    <a:pt x="61" y="348"/>
                    <a:pt x="40" y="348"/>
                    <a:pt x="40" y="348"/>
                  </a:cubicBezTo>
                  <a:cubicBezTo>
                    <a:pt x="20" y="348"/>
                    <a:pt x="0" y="327"/>
                    <a:pt x="0" y="327"/>
                  </a:cubicBezTo>
                  <a:cubicBezTo>
                    <a:pt x="0" y="307"/>
                    <a:pt x="0" y="307"/>
                    <a:pt x="0" y="286"/>
                  </a:cubicBezTo>
                  <a:lnTo>
                    <a:pt x="20" y="266"/>
                  </a:lnTo>
                  <a:cubicBezTo>
                    <a:pt x="20" y="266"/>
                    <a:pt x="20" y="245"/>
                    <a:pt x="20" y="225"/>
                  </a:cubicBezTo>
                  <a:lnTo>
                    <a:pt x="20" y="204"/>
                  </a:lnTo>
                  <a:cubicBezTo>
                    <a:pt x="20" y="184"/>
                    <a:pt x="40" y="164"/>
                    <a:pt x="40" y="164"/>
                  </a:cubicBezTo>
                  <a:lnTo>
                    <a:pt x="61" y="143"/>
                  </a:lnTo>
                  <a:cubicBezTo>
                    <a:pt x="61" y="122"/>
                    <a:pt x="82" y="122"/>
                    <a:pt x="82" y="122"/>
                  </a:cubicBezTo>
                  <a:lnTo>
                    <a:pt x="82" y="122"/>
                  </a:lnTo>
                  <a:lnTo>
                    <a:pt x="102" y="122"/>
                  </a:lnTo>
                  <a:cubicBezTo>
                    <a:pt x="102" y="143"/>
                    <a:pt x="122" y="143"/>
                    <a:pt x="143" y="143"/>
                  </a:cubicBezTo>
                  <a:cubicBezTo>
                    <a:pt x="143" y="143"/>
                    <a:pt x="164" y="143"/>
                    <a:pt x="164" y="122"/>
                  </a:cubicBezTo>
                  <a:cubicBezTo>
                    <a:pt x="164" y="122"/>
                    <a:pt x="164" y="122"/>
                    <a:pt x="164" y="102"/>
                  </a:cubicBezTo>
                  <a:cubicBezTo>
                    <a:pt x="184" y="102"/>
                    <a:pt x="184" y="82"/>
                    <a:pt x="184" y="82"/>
                  </a:cubicBezTo>
                  <a:lnTo>
                    <a:pt x="164" y="61"/>
                  </a:lnTo>
                  <a:cubicBezTo>
                    <a:pt x="164" y="61"/>
                    <a:pt x="164" y="61"/>
                    <a:pt x="164" y="40"/>
                  </a:cubicBezTo>
                  <a:cubicBezTo>
                    <a:pt x="164" y="40"/>
                    <a:pt x="164" y="40"/>
                    <a:pt x="184" y="40"/>
                  </a:cubicBezTo>
                  <a:cubicBezTo>
                    <a:pt x="184" y="40"/>
                    <a:pt x="204" y="40"/>
                    <a:pt x="225" y="20"/>
                  </a:cubicBezTo>
                  <a:cubicBezTo>
                    <a:pt x="225" y="20"/>
                    <a:pt x="246" y="20"/>
                    <a:pt x="246" y="0"/>
                  </a:cubicBezTo>
                  <a:cubicBezTo>
                    <a:pt x="246" y="20"/>
                    <a:pt x="266" y="20"/>
                    <a:pt x="266" y="20"/>
                  </a:cubicBezTo>
                  <a:lnTo>
                    <a:pt x="266" y="40"/>
                  </a:lnTo>
                  <a:cubicBezTo>
                    <a:pt x="266" y="40"/>
                    <a:pt x="286" y="40"/>
                    <a:pt x="286" y="61"/>
                  </a:cubicBezTo>
                  <a:cubicBezTo>
                    <a:pt x="307" y="61"/>
                    <a:pt x="307" y="61"/>
                    <a:pt x="307"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7" name="Freeform 554">
              <a:extLst>
                <a:ext uri="{FF2B5EF4-FFF2-40B4-BE49-F238E27FC236}">
                  <a16:creationId xmlns:a16="http://schemas.microsoft.com/office/drawing/2014/main" id="{56986212-6560-2E4E-9AA0-8C2E8ACBE3FB}"/>
                </a:ext>
              </a:extLst>
            </p:cNvPr>
            <p:cNvSpPr>
              <a:spLocks noChangeArrowheads="1"/>
            </p:cNvSpPr>
            <p:nvPr/>
          </p:nvSpPr>
          <p:spPr bwMode="auto">
            <a:xfrm>
              <a:off x="4535488" y="7496175"/>
              <a:ext cx="15875" cy="7938"/>
            </a:xfrm>
            <a:custGeom>
              <a:avLst/>
              <a:gdLst>
                <a:gd name="T0" fmla="*/ 41 w 42"/>
                <a:gd name="T1" fmla="*/ 20 h 21"/>
                <a:gd name="T2" fmla="*/ 41 w 42"/>
                <a:gd name="T3" fmla="*/ 20 h 21"/>
                <a:gd name="T4" fmla="*/ 0 w 42"/>
                <a:gd name="T5" fmla="*/ 20 h 21"/>
                <a:gd name="T6" fmla="*/ 0 w 42"/>
                <a:gd name="T7" fmla="*/ 20 h 21"/>
                <a:gd name="T8" fmla="*/ 0 w 42"/>
                <a:gd name="T9" fmla="*/ 0 h 21"/>
                <a:gd name="T10" fmla="*/ 20 w 42"/>
                <a:gd name="T11" fmla="*/ 0 h 21"/>
                <a:gd name="T12" fmla="*/ 41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41" y="20"/>
                  </a:moveTo>
                  <a:lnTo>
                    <a:pt x="41" y="20"/>
                  </a:lnTo>
                  <a:cubicBezTo>
                    <a:pt x="20" y="20"/>
                    <a:pt x="20" y="20"/>
                    <a:pt x="0" y="20"/>
                  </a:cubicBezTo>
                  <a:lnTo>
                    <a:pt x="0" y="20"/>
                  </a:lnTo>
                  <a:cubicBezTo>
                    <a:pt x="0" y="0"/>
                    <a:pt x="0" y="0"/>
                    <a:pt x="0" y="0"/>
                  </a:cubicBezTo>
                  <a:lnTo>
                    <a:pt x="20" y="0"/>
                  </a:lnTo>
                  <a:cubicBezTo>
                    <a:pt x="20" y="0"/>
                    <a:pt x="41" y="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8" name="Freeform 555">
              <a:extLst>
                <a:ext uri="{FF2B5EF4-FFF2-40B4-BE49-F238E27FC236}">
                  <a16:creationId xmlns:a16="http://schemas.microsoft.com/office/drawing/2014/main" id="{B780446C-EB56-8748-AD37-D9E5C889DBF1}"/>
                </a:ext>
              </a:extLst>
            </p:cNvPr>
            <p:cNvSpPr>
              <a:spLocks noChangeArrowheads="1"/>
            </p:cNvSpPr>
            <p:nvPr/>
          </p:nvSpPr>
          <p:spPr bwMode="auto">
            <a:xfrm>
              <a:off x="4549775" y="7481888"/>
              <a:ext cx="22225" cy="15875"/>
            </a:xfrm>
            <a:custGeom>
              <a:avLst/>
              <a:gdLst>
                <a:gd name="T0" fmla="*/ 20 w 62"/>
                <a:gd name="T1" fmla="*/ 41 h 42"/>
                <a:gd name="T2" fmla="*/ 20 w 62"/>
                <a:gd name="T3" fmla="*/ 41 h 42"/>
                <a:gd name="T4" fmla="*/ 20 w 62"/>
                <a:gd name="T5" fmla="*/ 20 h 42"/>
                <a:gd name="T6" fmla="*/ 0 w 62"/>
                <a:gd name="T7" fmla="*/ 0 h 42"/>
                <a:gd name="T8" fmla="*/ 20 w 62"/>
                <a:gd name="T9" fmla="*/ 0 h 42"/>
                <a:gd name="T10" fmla="*/ 41 w 62"/>
                <a:gd name="T11" fmla="*/ 20 h 42"/>
                <a:gd name="T12" fmla="*/ 41 w 62"/>
                <a:gd name="T13" fmla="*/ 20 h 42"/>
                <a:gd name="T14" fmla="*/ 61 w 62"/>
                <a:gd name="T15" fmla="*/ 41 h 42"/>
                <a:gd name="T16" fmla="*/ 41 w 62"/>
                <a:gd name="T17" fmla="*/ 41 h 42"/>
                <a:gd name="T18" fmla="*/ 20 w 62"/>
                <a:gd name="T19"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42">
                  <a:moveTo>
                    <a:pt x="20" y="41"/>
                  </a:moveTo>
                  <a:lnTo>
                    <a:pt x="20" y="41"/>
                  </a:lnTo>
                  <a:cubicBezTo>
                    <a:pt x="20" y="41"/>
                    <a:pt x="20" y="41"/>
                    <a:pt x="20" y="20"/>
                  </a:cubicBezTo>
                  <a:cubicBezTo>
                    <a:pt x="20" y="20"/>
                    <a:pt x="0" y="20"/>
                    <a:pt x="0" y="0"/>
                  </a:cubicBezTo>
                  <a:cubicBezTo>
                    <a:pt x="20" y="0"/>
                    <a:pt x="20" y="0"/>
                    <a:pt x="20" y="0"/>
                  </a:cubicBezTo>
                  <a:cubicBezTo>
                    <a:pt x="20" y="20"/>
                    <a:pt x="20" y="20"/>
                    <a:pt x="41" y="20"/>
                  </a:cubicBezTo>
                  <a:lnTo>
                    <a:pt x="41" y="20"/>
                  </a:lnTo>
                  <a:cubicBezTo>
                    <a:pt x="61" y="20"/>
                    <a:pt x="61" y="41"/>
                    <a:pt x="61" y="41"/>
                  </a:cubicBezTo>
                  <a:cubicBezTo>
                    <a:pt x="41" y="41"/>
                    <a:pt x="41" y="41"/>
                    <a:pt x="41" y="41"/>
                  </a:cubicBez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59" name="Freeform 556">
              <a:extLst>
                <a:ext uri="{FF2B5EF4-FFF2-40B4-BE49-F238E27FC236}">
                  <a16:creationId xmlns:a16="http://schemas.microsoft.com/office/drawing/2014/main" id="{EA68387F-86C7-7240-AF55-F11917458FAD}"/>
                </a:ext>
              </a:extLst>
            </p:cNvPr>
            <p:cNvSpPr>
              <a:spLocks noChangeArrowheads="1"/>
            </p:cNvSpPr>
            <p:nvPr/>
          </p:nvSpPr>
          <p:spPr bwMode="auto">
            <a:xfrm>
              <a:off x="5118100" y="7718425"/>
              <a:ext cx="15875" cy="15875"/>
            </a:xfrm>
            <a:custGeom>
              <a:avLst/>
              <a:gdLst>
                <a:gd name="T0" fmla="*/ 21 w 42"/>
                <a:gd name="T1" fmla="*/ 42 h 43"/>
                <a:gd name="T2" fmla="*/ 21 w 42"/>
                <a:gd name="T3" fmla="*/ 42 h 43"/>
                <a:gd name="T4" fmla="*/ 0 w 42"/>
                <a:gd name="T5" fmla="*/ 21 h 43"/>
                <a:gd name="T6" fmla="*/ 0 w 42"/>
                <a:gd name="T7" fmla="*/ 21 h 43"/>
                <a:gd name="T8" fmla="*/ 0 w 42"/>
                <a:gd name="T9" fmla="*/ 0 h 43"/>
                <a:gd name="T10" fmla="*/ 0 w 42"/>
                <a:gd name="T11" fmla="*/ 0 h 43"/>
                <a:gd name="T12" fmla="*/ 21 w 42"/>
                <a:gd name="T13" fmla="*/ 0 h 43"/>
                <a:gd name="T14" fmla="*/ 21 w 42"/>
                <a:gd name="T15" fmla="*/ 21 h 43"/>
                <a:gd name="T16" fmla="*/ 41 w 42"/>
                <a:gd name="T17" fmla="*/ 21 h 43"/>
                <a:gd name="T18" fmla="*/ 21 w 42"/>
                <a:gd name="T19"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3">
                  <a:moveTo>
                    <a:pt x="21" y="42"/>
                  </a:moveTo>
                  <a:lnTo>
                    <a:pt x="21" y="42"/>
                  </a:lnTo>
                  <a:cubicBezTo>
                    <a:pt x="21" y="42"/>
                    <a:pt x="21" y="21"/>
                    <a:pt x="0" y="21"/>
                  </a:cubicBezTo>
                  <a:lnTo>
                    <a:pt x="0" y="21"/>
                  </a:lnTo>
                  <a:lnTo>
                    <a:pt x="0" y="0"/>
                  </a:lnTo>
                  <a:lnTo>
                    <a:pt x="0" y="0"/>
                  </a:lnTo>
                  <a:cubicBezTo>
                    <a:pt x="21" y="0"/>
                    <a:pt x="21" y="0"/>
                    <a:pt x="21" y="0"/>
                  </a:cubicBezTo>
                  <a:lnTo>
                    <a:pt x="21" y="21"/>
                  </a:lnTo>
                  <a:lnTo>
                    <a:pt x="41" y="21"/>
                  </a:lnTo>
                  <a:cubicBezTo>
                    <a:pt x="41" y="42"/>
                    <a:pt x="21" y="42"/>
                    <a:pt x="21"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0" name="Freeform 557">
              <a:extLst>
                <a:ext uri="{FF2B5EF4-FFF2-40B4-BE49-F238E27FC236}">
                  <a16:creationId xmlns:a16="http://schemas.microsoft.com/office/drawing/2014/main" id="{1F59A617-D5BE-DA46-8E2C-37CC732C6DD6}"/>
                </a:ext>
              </a:extLst>
            </p:cNvPr>
            <p:cNvSpPr>
              <a:spLocks noChangeArrowheads="1"/>
            </p:cNvSpPr>
            <p:nvPr/>
          </p:nvSpPr>
          <p:spPr bwMode="auto">
            <a:xfrm>
              <a:off x="5126038" y="7747000"/>
              <a:ext cx="15875" cy="7938"/>
            </a:xfrm>
            <a:custGeom>
              <a:avLst/>
              <a:gdLst>
                <a:gd name="T0" fmla="*/ 20 w 42"/>
                <a:gd name="T1" fmla="*/ 21 h 22"/>
                <a:gd name="T2" fmla="*/ 20 w 42"/>
                <a:gd name="T3" fmla="*/ 21 h 22"/>
                <a:gd name="T4" fmla="*/ 41 w 42"/>
                <a:gd name="T5" fmla="*/ 0 h 22"/>
                <a:gd name="T6" fmla="*/ 20 w 42"/>
                <a:gd name="T7" fmla="*/ 0 h 22"/>
                <a:gd name="T8" fmla="*/ 0 w 42"/>
                <a:gd name="T9" fmla="*/ 0 h 22"/>
                <a:gd name="T10" fmla="*/ 0 w 42"/>
                <a:gd name="T11" fmla="*/ 21 h 22"/>
                <a:gd name="T12" fmla="*/ 20 w 42"/>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42" h="22">
                  <a:moveTo>
                    <a:pt x="20" y="21"/>
                  </a:moveTo>
                  <a:lnTo>
                    <a:pt x="20" y="21"/>
                  </a:lnTo>
                  <a:cubicBezTo>
                    <a:pt x="41" y="21"/>
                    <a:pt x="41" y="21"/>
                    <a:pt x="41" y="0"/>
                  </a:cubicBezTo>
                  <a:lnTo>
                    <a:pt x="20" y="0"/>
                  </a:lnTo>
                  <a:cubicBezTo>
                    <a:pt x="20" y="0"/>
                    <a:pt x="20" y="0"/>
                    <a:pt x="0" y="0"/>
                  </a:cubicBezTo>
                  <a:lnTo>
                    <a:pt x="0" y="21"/>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1" name="Freeform 558">
              <a:extLst>
                <a:ext uri="{FF2B5EF4-FFF2-40B4-BE49-F238E27FC236}">
                  <a16:creationId xmlns:a16="http://schemas.microsoft.com/office/drawing/2014/main" id="{58A41204-9879-5C46-9FF4-3EC65DABD63E}"/>
                </a:ext>
              </a:extLst>
            </p:cNvPr>
            <p:cNvSpPr>
              <a:spLocks noChangeArrowheads="1"/>
            </p:cNvSpPr>
            <p:nvPr/>
          </p:nvSpPr>
          <p:spPr bwMode="auto">
            <a:xfrm>
              <a:off x="5140325" y="7761288"/>
              <a:ext cx="7938" cy="7937"/>
            </a:xfrm>
            <a:custGeom>
              <a:avLst/>
              <a:gdLst>
                <a:gd name="T0" fmla="*/ 20 w 21"/>
                <a:gd name="T1" fmla="*/ 0 h 22"/>
                <a:gd name="T2" fmla="*/ 20 w 21"/>
                <a:gd name="T3" fmla="*/ 0 h 22"/>
                <a:gd name="T4" fmla="*/ 0 w 21"/>
                <a:gd name="T5" fmla="*/ 0 h 22"/>
                <a:gd name="T6" fmla="*/ 20 w 21"/>
                <a:gd name="T7" fmla="*/ 21 h 22"/>
                <a:gd name="T8" fmla="*/ 20 w 21"/>
                <a:gd name="T9" fmla="*/ 21 h 22"/>
                <a:gd name="T10" fmla="*/ 20 w 21"/>
                <a:gd name="T11" fmla="*/ 0 h 22"/>
              </a:gdLst>
              <a:ahLst/>
              <a:cxnLst>
                <a:cxn ang="0">
                  <a:pos x="T0" y="T1"/>
                </a:cxn>
                <a:cxn ang="0">
                  <a:pos x="T2" y="T3"/>
                </a:cxn>
                <a:cxn ang="0">
                  <a:pos x="T4" y="T5"/>
                </a:cxn>
                <a:cxn ang="0">
                  <a:pos x="T6" y="T7"/>
                </a:cxn>
                <a:cxn ang="0">
                  <a:pos x="T8" y="T9"/>
                </a:cxn>
                <a:cxn ang="0">
                  <a:pos x="T10" y="T11"/>
                </a:cxn>
              </a:cxnLst>
              <a:rect l="0" t="0" r="r" b="b"/>
              <a:pathLst>
                <a:path w="21" h="22">
                  <a:moveTo>
                    <a:pt x="20" y="0"/>
                  </a:moveTo>
                  <a:lnTo>
                    <a:pt x="20" y="0"/>
                  </a:lnTo>
                  <a:lnTo>
                    <a:pt x="0" y="0"/>
                  </a:lnTo>
                  <a:cubicBezTo>
                    <a:pt x="0" y="0"/>
                    <a:pt x="0" y="21"/>
                    <a:pt x="20" y="21"/>
                  </a:cubicBezTo>
                  <a:lnTo>
                    <a:pt x="20" y="21"/>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2" name="Freeform 559">
              <a:extLst>
                <a:ext uri="{FF2B5EF4-FFF2-40B4-BE49-F238E27FC236}">
                  <a16:creationId xmlns:a16="http://schemas.microsoft.com/office/drawing/2014/main" id="{CA6551AA-E3AB-F940-A188-6A57A5DDEBDD}"/>
                </a:ext>
              </a:extLst>
            </p:cNvPr>
            <p:cNvSpPr>
              <a:spLocks noChangeArrowheads="1"/>
            </p:cNvSpPr>
            <p:nvPr/>
          </p:nvSpPr>
          <p:spPr bwMode="auto">
            <a:xfrm>
              <a:off x="5965825" y="7621588"/>
              <a:ext cx="15875" cy="15875"/>
            </a:xfrm>
            <a:custGeom>
              <a:avLst/>
              <a:gdLst>
                <a:gd name="T0" fmla="*/ 20 w 42"/>
                <a:gd name="T1" fmla="*/ 20 h 42"/>
                <a:gd name="T2" fmla="*/ 20 w 42"/>
                <a:gd name="T3" fmla="*/ 20 h 42"/>
                <a:gd name="T4" fmla="*/ 20 w 42"/>
                <a:gd name="T5" fmla="*/ 20 h 42"/>
                <a:gd name="T6" fmla="*/ 0 w 42"/>
                <a:gd name="T7" fmla="*/ 0 h 42"/>
                <a:gd name="T8" fmla="*/ 0 w 42"/>
                <a:gd name="T9" fmla="*/ 0 h 42"/>
                <a:gd name="T10" fmla="*/ 20 w 42"/>
                <a:gd name="T11" fmla="*/ 0 h 42"/>
                <a:gd name="T12" fmla="*/ 41 w 42"/>
                <a:gd name="T13" fmla="*/ 0 h 42"/>
                <a:gd name="T14" fmla="*/ 41 w 42"/>
                <a:gd name="T15" fmla="*/ 20 h 42"/>
                <a:gd name="T16" fmla="*/ 41 w 42"/>
                <a:gd name="T17" fmla="*/ 20 h 42"/>
                <a:gd name="T18" fmla="*/ 20 w 42"/>
                <a:gd name="T19"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20" y="20"/>
                  </a:moveTo>
                  <a:lnTo>
                    <a:pt x="20" y="20"/>
                  </a:lnTo>
                  <a:lnTo>
                    <a:pt x="20" y="20"/>
                  </a:lnTo>
                  <a:cubicBezTo>
                    <a:pt x="20" y="20"/>
                    <a:pt x="0" y="20"/>
                    <a:pt x="0" y="0"/>
                  </a:cubicBezTo>
                  <a:lnTo>
                    <a:pt x="0" y="0"/>
                  </a:lnTo>
                  <a:lnTo>
                    <a:pt x="20" y="0"/>
                  </a:lnTo>
                  <a:lnTo>
                    <a:pt x="41" y="0"/>
                  </a:lnTo>
                  <a:cubicBezTo>
                    <a:pt x="41" y="0"/>
                    <a:pt x="41" y="0"/>
                    <a:pt x="41" y="20"/>
                  </a:cubicBezTo>
                  <a:lnTo>
                    <a:pt x="41" y="20"/>
                  </a:lnTo>
                  <a:cubicBezTo>
                    <a:pt x="41" y="20"/>
                    <a:pt x="41" y="41"/>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3" name="Freeform 560">
              <a:extLst>
                <a:ext uri="{FF2B5EF4-FFF2-40B4-BE49-F238E27FC236}">
                  <a16:creationId xmlns:a16="http://schemas.microsoft.com/office/drawing/2014/main" id="{11ACF96F-1FAC-9745-BDAC-1F4C9AE3E92C}"/>
                </a:ext>
              </a:extLst>
            </p:cNvPr>
            <p:cNvSpPr>
              <a:spLocks noChangeArrowheads="1"/>
            </p:cNvSpPr>
            <p:nvPr/>
          </p:nvSpPr>
          <p:spPr bwMode="auto">
            <a:xfrm>
              <a:off x="6010275" y="7570788"/>
              <a:ext cx="15875" cy="15875"/>
            </a:xfrm>
            <a:custGeom>
              <a:avLst/>
              <a:gdLst>
                <a:gd name="T0" fmla="*/ 41 w 42"/>
                <a:gd name="T1" fmla="*/ 21 h 43"/>
                <a:gd name="T2" fmla="*/ 41 w 42"/>
                <a:gd name="T3" fmla="*/ 21 h 43"/>
                <a:gd name="T4" fmla="*/ 20 w 42"/>
                <a:gd name="T5" fmla="*/ 42 h 43"/>
                <a:gd name="T6" fmla="*/ 0 w 42"/>
                <a:gd name="T7" fmla="*/ 42 h 43"/>
                <a:gd name="T8" fmla="*/ 0 w 42"/>
                <a:gd name="T9" fmla="*/ 21 h 43"/>
                <a:gd name="T10" fmla="*/ 0 w 42"/>
                <a:gd name="T11" fmla="*/ 0 h 43"/>
                <a:gd name="T12" fmla="*/ 20 w 42"/>
                <a:gd name="T13" fmla="*/ 0 h 43"/>
                <a:gd name="T14" fmla="*/ 41 w 42"/>
                <a:gd name="T15" fmla="*/ 21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41" y="21"/>
                  </a:moveTo>
                  <a:lnTo>
                    <a:pt x="41" y="21"/>
                  </a:lnTo>
                  <a:cubicBezTo>
                    <a:pt x="20" y="42"/>
                    <a:pt x="20" y="42"/>
                    <a:pt x="20" y="42"/>
                  </a:cubicBezTo>
                  <a:cubicBezTo>
                    <a:pt x="20" y="42"/>
                    <a:pt x="20" y="42"/>
                    <a:pt x="0" y="42"/>
                  </a:cubicBezTo>
                  <a:lnTo>
                    <a:pt x="0" y="21"/>
                  </a:lnTo>
                  <a:cubicBezTo>
                    <a:pt x="0" y="21"/>
                    <a:pt x="0" y="21"/>
                    <a:pt x="0" y="0"/>
                  </a:cubicBezTo>
                  <a:cubicBezTo>
                    <a:pt x="20" y="0"/>
                    <a:pt x="20" y="0"/>
                    <a:pt x="20" y="0"/>
                  </a:cubicBezTo>
                  <a:cubicBezTo>
                    <a:pt x="20" y="0"/>
                    <a:pt x="41" y="0"/>
                    <a:pt x="4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4" name="Freeform 561">
              <a:extLst>
                <a:ext uri="{FF2B5EF4-FFF2-40B4-BE49-F238E27FC236}">
                  <a16:creationId xmlns:a16="http://schemas.microsoft.com/office/drawing/2014/main" id="{AE35E482-00F7-6446-8EB5-CFA90F664CE9}"/>
                </a:ext>
              </a:extLst>
            </p:cNvPr>
            <p:cNvSpPr>
              <a:spLocks noChangeArrowheads="1"/>
            </p:cNvSpPr>
            <p:nvPr/>
          </p:nvSpPr>
          <p:spPr bwMode="auto">
            <a:xfrm>
              <a:off x="6024563" y="7593013"/>
              <a:ext cx="15875" cy="15875"/>
            </a:xfrm>
            <a:custGeom>
              <a:avLst/>
              <a:gdLst>
                <a:gd name="T0" fmla="*/ 20 w 42"/>
                <a:gd name="T1" fmla="*/ 0 h 42"/>
                <a:gd name="T2" fmla="*/ 20 w 42"/>
                <a:gd name="T3" fmla="*/ 0 h 42"/>
                <a:gd name="T4" fmla="*/ 0 w 42"/>
                <a:gd name="T5" fmla="*/ 20 h 42"/>
                <a:gd name="T6" fmla="*/ 20 w 42"/>
                <a:gd name="T7" fmla="*/ 41 h 42"/>
                <a:gd name="T8" fmla="*/ 20 w 42"/>
                <a:gd name="T9" fmla="*/ 20 h 42"/>
                <a:gd name="T10" fmla="*/ 2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20" y="0"/>
                  </a:moveTo>
                  <a:lnTo>
                    <a:pt x="20" y="0"/>
                  </a:lnTo>
                  <a:cubicBezTo>
                    <a:pt x="0" y="0"/>
                    <a:pt x="0" y="0"/>
                    <a:pt x="0" y="20"/>
                  </a:cubicBezTo>
                  <a:cubicBezTo>
                    <a:pt x="0" y="20"/>
                    <a:pt x="0" y="20"/>
                    <a:pt x="20" y="41"/>
                  </a:cubicBezTo>
                  <a:lnTo>
                    <a:pt x="20" y="20"/>
                  </a:lnTo>
                  <a:cubicBezTo>
                    <a:pt x="41" y="20"/>
                    <a:pt x="2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5" name="Freeform 562">
              <a:extLst>
                <a:ext uri="{FF2B5EF4-FFF2-40B4-BE49-F238E27FC236}">
                  <a16:creationId xmlns:a16="http://schemas.microsoft.com/office/drawing/2014/main" id="{9FD9F5BF-0178-AB44-B43A-65EEB35EA604}"/>
                </a:ext>
              </a:extLst>
            </p:cNvPr>
            <p:cNvSpPr>
              <a:spLocks noChangeArrowheads="1"/>
            </p:cNvSpPr>
            <p:nvPr/>
          </p:nvSpPr>
          <p:spPr bwMode="auto">
            <a:xfrm>
              <a:off x="6062663" y="7554913"/>
              <a:ext cx="15875" cy="22225"/>
            </a:xfrm>
            <a:custGeom>
              <a:avLst/>
              <a:gdLst>
                <a:gd name="T0" fmla="*/ 21 w 42"/>
                <a:gd name="T1" fmla="*/ 61 h 62"/>
                <a:gd name="T2" fmla="*/ 21 w 42"/>
                <a:gd name="T3" fmla="*/ 61 h 62"/>
                <a:gd name="T4" fmla="*/ 21 w 42"/>
                <a:gd name="T5" fmla="*/ 40 h 62"/>
                <a:gd name="T6" fmla="*/ 21 w 42"/>
                <a:gd name="T7" fmla="*/ 20 h 62"/>
                <a:gd name="T8" fmla="*/ 21 w 42"/>
                <a:gd name="T9" fmla="*/ 0 h 62"/>
                <a:gd name="T10" fmla="*/ 21 w 42"/>
                <a:gd name="T11" fmla="*/ 0 h 62"/>
                <a:gd name="T12" fmla="*/ 41 w 42"/>
                <a:gd name="T13" fmla="*/ 20 h 62"/>
                <a:gd name="T14" fmla="*/ 41 w 42"/>
                <a:gd name="T15" fmla="*/ 40 h 62"/>
                <a:gd name="T16" fmla="*/ 41 w 42"/>
                <a:gd name="T17" fmla="*/ 61 h 62"/>
                <a:gd name="T18" fmla="*/ 21 w 42"/>
                <a:gd name="T19"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2">
                  <a:moveTo>
                    <a:pt x="21" y="61"/>
                  </a:moveTo>
                  <a:lnTo>
                    <a:pt x="21" y="61"/>
                  </a:lnTo>
                  <a:cubicBezTo>
                    <a:pt x="0" y="61"/>
                    <a:pt x="21" y="40"/>
                    <a:pt x="21" y="40"/>
                  </a:cubicBezTo>
                  <a:lnTo>
                    <a:pt x="21" y="20"/>
                  </a:lnTo>
                  <a:lnTo>
                    <a:pt x="21" y="0"/>
                  </a:lnTo>
                  <a:lnTo>
                    <a:pt x="21" y="0"/>
                  </a:lnTo>
                  <a:cubicBezTo>
                    <a:pt x="41" y="0"/>
                    <a:pt x="41" y="20"/>
                    <a:pt x="41" y="20"/>
                  </a:cubicBezTo>
                  <a:lnTo>
                    <a:pt x="41" y="40"/>
                  </a:lnTo>
                  <a:cubicBezTo>
                    <a:pt x="41" y="40"/>
                    <a:pt x="41" y="40"/>
                    <a:pt x="41" y="61"/>
                  </a:cubicBezTo>
                  <a:cubicBezTo>
                    <a:pt x="41" y="61"/>
                    <a:pt x="41" y="61"/>
                    <a:pt x="21"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6" name="Freeform 563">
              <a:extLst>
                <a:ext uri="{FF2B5EF4-FFF2-40B4-BE49-F238E27FC236}">
                  <a16:creationId xmlns:a16="http://schemas.microsoft.com/office/drawing/2014/main" id="{69F948F3-642A-B34D-AFB7-57F2D8FB36E5}"/>
                </a:ext>
              </a:extLst>
            </p:cNvPr>
            <p:cNvSpPr>
              <a:spLocks noChangeArrowheads="1"/>
            </p:cNvSpPr>
            <p:nvPr/>
          </p:nvSpPr>
          <p:spPr bwMode="auto">
            <a:xfrm>
              <a:off x="6091238" y="7518400"/>
              <a:ext cx="22225" cy="22225"/>
            </a:xfrm>
            <a:custGeom>
              <a:avLst/>
              <a:gdLst>
                <a:gd name="T0" fmla="*/ 0 w 63"/>
                <a:gd name="T1" fmla="*/ 61 h 62"/>
                <a:gd name="T2" fmla="*/ 0 w 63"/>
                <a:gd name="T3" fmla="*/ 61 h 62"/>
                <a:gd name="T4" fmla="*/ 41 w 63"/>
                <a:gd name="T5" fmla="*/ 41 h 62"/>
                <a:gd name="T6" fmla="*/ 41 w 63"/>
                <a:gd name="T7" fmla="*/ 41 h 62"/>
                <a:gd name="T8" fmla="*/ 62 w 63"/>
                <a:gd name="T9" fmla="*/ 21 h 62"/>
                <a:gd name="T10" fmla="*/ 62 w 63"/>
                <a:gd name="T11" fmla="*/ 21 h 62"/>
                <a:gd name="T12" fmla="*/ 41 w 63"/>
                <a:gd name="T13" fmla="*/ 21 h 62"/>
                <a:gd name="T14" fmla="*/ 41 w 63"/>
                <a:gd name="T15" fmla="*/ 21 h 62"/>
                <a:gd name="T16" fmla="*/ 21 w 63"/>
                <a:gd name="T17" fmla="*/ 41 h 62"/>
                <a:gd name="T18" fmla="*/ 21 w 63"/>
                <a:gd name="T19" fmla="*/ 41 h 62"/>
                <a:gd name="T20" fmla="*/ 0 w 63"/>
                <a:gd name="T21"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62">
                  <a:moveTo>
                    <a:pt x="0" y="61"/>
                  </a:moveTo>
                  <a:lnTo>
                    <a:pt x="0" y="61"/>
                  </a:lnTo>
                  <a:cubicBezTo>
                    <a:pt x="21" y="61"/>
                    <a:pt x="21" y="61"/>
                    <a:pt x="41" y="41"/>
                  </a:cubicBezTo>
                  <a:lnTo>
                    <a:pt x="41" y="41"/>
                  </a:lnTo>
                  <a:cubicBezTo>
                    <a:pt x="41" y="21"/>
                    <a:pt x="62" y="41"/>
                    <a:pt x="62" y="21"/>
                  </a:cubicBezTo>
                  <a:lnTo>
                    <a:pt x="62" y="21"/>
                  </a:lnTo>
                  <a:cubicBezTo>
                    <a:pt x="62" y="0"/>
                    <a:pt x="41" y="21"/>
                    <a:pt x="41" y="21"/>
                  </a:cubicBezTo>
                  <a:lnTo>
                    <a:pt x="41" y="21"/>
                  </a:lnTo>
                  <a:cubicBezTo>
                    <a:pt x="41" y="21"/>
                    <a:pt x="21" y="21"/>
                    <a:pt x="21" y="41"/>
                  </a:cubicBezTo>
                  <a:lnTo>
                    <a:pt x="21" y="41"/>
                  </a:lnTo>
                  <a:cubicBezTo>
                    <a:pt x="0" y="41"/>
                    <a:pt x="0" y="61"/>
                    <a:pt x="0"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7" name="Freeform 564">
              <a:extLst>
                <a:ext uri="{FF2B5EF4-FFF2-40B4-BE49-F238E27FC236}">
                  <a16:creationId xmlns:a16="http://schemas.microsoft.com/office/drawing/2014/main" id="{2F845212-83B8-624B-87CB-398C525A2CD9}"/>
                </a:ext>
              </a:extLst>
            </p:cNvPr>
            <p:cNvSpPr>
              <a:spLocks noChangeArrowheads="1"/>
            </p:cNvSpPr>
            <p:nvPr/>
          </p:nvSpPr>
          <p:spPr bwMode="auto">
            <a:xfrm>
              <a:off x="5988050" y="7385050"/>
              <a:ext cx="15875" cy="15875"/>
            </a:xfrm>
            <a:custGeom>
              <a:avLst/>
              <a:gdLst>
                <a:gd name="T0" fmla="*/ 21 w 42"/>
                <a:gd name="T1" fmla="*/ 41 h 42"/>
                <a:gd name="T2" fmla="*/ 21 w 42"/>
                <a:gd name="T3" fmla="*/ 41 h 42"/>
                <a:gd name="T4" fmla="*/ 0 w 42"/>
                <a:gd name="T5" fmla="*/ 21 h 42"/>
                <a:gd name="T6" fmla="*/ 0 w 42"/>
                <a:gd name="T7" fmla="*/ 0 h 42"/>
                <a:gd name="T8" fmla="*/ 21 w 42"/>
                <a:gd name="T9" fmla="*/ 0 h 42"/>
                <a:gd name="T10" fmla="*/ 41 w 42"/>
                <a:gd name="T11" fmla="*/ 0 h 42"/>
                <a:gd name="T12" fmla="*/ 41 w 42"/>
                <a:gd name="T13" fmla="*/ 21 h 42"/>
                <a:gd name="T14" fmla="*/ 21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21" y="41"/>
                  </a:moveTo>
                  <a:lnTo>
                    <a:pt x="21" y="41"/>
                  </a:lnTo>
                  <a:cubicBezTo>
                    <a:pt x="21" y="41"/>
                    <a:pt x="21" y="21"/>
                    <a:pt x="0" y="21"/>
                  </a:cubicBezTo>
                  <a:lnTo>
                    <a:pt x="0" y="0"/>
                  </a:lnTo>
                  <a:lnTo>
                    <a:pt x="21" y="0"/>
                  </a:lnTo>
                  <a:lnTo>
                    <a:pt x="41" y="0"/>
                  </a:lnTo>
                  <a:lnTo>
                    <a:pt x="41" y="21"/>
                  </a:lnTo>
                  <a:cubicBezTo>
                    <a:pt x="41" y="21"/>
                    <a:pt x="41" y="41"/>
                    <a:pt x="2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8" name="Freeform 565">
              <a:extLst>
                <a:ext uri="{FF2B5EF4-FFF2-40B4-BE49-F238E27FC236}">
                  <a16:creationId xmlns:a16="http://schemas.microsoft.com/office/drawing/2014/main" id="{6DAC5EA0-96F2-494D-8151-1486C222C769}"/>
                </a:ext>
              </a:extLst>
            </p:cNvPr>
            <p:cNvSpPr>
              <a:spLocks noChangeArrowheads="1"/>
            </p:cNvSpPr>
            <p:nvPr/>
          </p:nvSpPr>
          <p:spPr bwMode="auto">
            <a:xfrm>
              <a:off x="5921375" y="7378700"/>
              <a:ext cx="15875" cy="15875"/>
            </a:xfrm>
            <a:custGeom>
              <a:avLst/>
              <a:gdLst>
                <a:gd name="T0" fmla="*/ 20 w 42"/>
                <a:gd name="T1" fmla="*/ 20 h 42"/>
                <a:gd name="T2" fmla="*/ 20 w 42"/>
                <a:gd name="T3" fmla="*/ 20 h 42"/>
                <a:gd name="T4" fmla="*/ 20 w 42"/>
                <a:gd name="T5" fmla="*/ 41 h 42"/>
                <a:gd name="T6" fmla="*/ 0 w 42"/>
                <a:gd name="T7" fmla="*/ 20 h 42"/>
                <a:gd name="T8" fmla="*/ 0 w 42"/>
                <a:gd name="T9" fmla="*/ 0 h 42"/>
                <a:gd name="T10" fmla="*/ 41 w 42"/>
                <a:gd name="T11" fmla="*/ 0 h 42"/>
                <a:gd name="T12" fmla="*/ 20 w 42"/>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20"/>
                  </a:moveTo>
                  <a:lnTo>
                    <a:pt x="20" y="20"/>
                  </a:lnTo>
                  <a:lnTo>
                    <a:pt x="20" y="41"/>
                  </a:lnTo>
                  <a:lnTo>
                    <a:pt x="0" y="20"/>
                  </a:lnTo>
                  <a:lnTo>
                    <a:pt x="0" y="0"/>
                  </a:lnTo>
                  <a:cubicBezTo>
                    <a:pt x="20" y="0"/>
                    <a:pt x="20" y="0"/>
                    <a:pt x="41" y="0"/>
                  </a:cubicBezTo>
                  <a:cubicBezTo>
                    <a:pt x="41" y="20"/>
                    <a:pt x="20" y="2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69" name="Freeform 566">
              <a:extLst>
                <a:ext uri="{FF2B5EF4-FFF2-40B4-BE49-F238E27FC236}">
                  <a16:creationId xmlns:a16="http://schemas.microsoft.com/office/drawing/2014/main" id="{C545E19A-C26A-9E4E-B7D4-4A5C0881B65B}"/>
                </a:ext>
              </a:extLst>
            </p:cNvPr>
            <p:cNvSpPr>
              <a:spLocks noChangeArrowheads="1"/>
            </p:cNvSpPr>
            <p:nvPr/>
          </p:nvSpPr>
          <p:spPr bwMode="auto">
            <a:xfrm>
              <a:off x="5915025" y="7364413"/>
              <a:ext cx="7938" cy="15875"/>
            </a:xfrm>
            <a:custGeom>
              <a:avLst/>
              <a:gdLst>
                <a:gd name="T0" fmla="*/ 20 w 21"/>
                <a:gd name="T1" fmla="*/ 41 h 42"/>
                <a:gd name="T2" fmla="*/ 20 w 21"/>
                <a:gd name="T3" fmla="*/ 41 h 42"/>
                <a:gd name="T4" fmla="*/ 0 w 21"/>
                <a:gd name="T5" fmla="*/ 41 h 42"/>
                <a:gd name="T6" fmla="*/ 0 w 21"/>
                <a:gd name="T7" fmla="*/ 20 h 42"/>
                <a:gd name="T8" fmla="*/ 20 w 21"/>
                <a:gd name="T9" fmla="*/ 0 h 42"/>
                <a:gd name="T10" fmla="*/ 20 w 21"/>
                <a:gd name="T11" fmla="*/ 20 h 42"/>
                <a:gd name="T12" fmla="*/ 20 w 21"/>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41"/>
                  </a:moveTo>
                  <a:lnTo>
                    <a:pt x="20" y="41"/>
                  </a:lnTo>
                  <a:lnTo>
                    <a:pt x="0" y="41"/>
                  </a:lnTo>
                  <a:cubicBezTo>
                    <a:pt x="0" y="20"/>
                    <a:pt x="0" y="20"/>
                    <a:pt x="0" y="20"/>
                  </a:cubicBezTo>
                  <a:lnTo>
                    <a:pt x="20" y="0"/>
                  </a:lnTo>
                  <a:cubicBezTo>
                    <a:pt x="20" y="20"/>
                    <a:pt x="20" y="20"/>
                    <a:pt x="20" y="20"/>
                  </a:cubicBez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0" name="Freeform 567">
              <a:extLst>
                <a:ext uri="{FF2B5EF4-FFF2-40B4-BE49-F238E27FC236}">
                  <a16:creationId xmlns:a16="http://schemas.microsoft.com/office/drawing/2014/main" id="{E881CE76-AEFD-B242-86F9-3F09BF4EDA39}"/>
                </a:ext>
              </a:extLst>
            </p:cNvPr>
            <p:cNvSpPr>
              <a:spLocks noChangeArrowheads="1"/>
            </p:cNvSpPr>
            <p:nvPr/>
          </p:nvSpPr>
          <p:spPr bwMode="auto">
            <a:xfrm>
              <a:off x="5892800" y="7370763"/>
              <a:ext cx="15875" cy="15875"/>
            </a:xfrm>
            <a:custGeom>
              <a:avLst/>
              <a:gdLst>
                <a:gd name="T0" fmla="*/ 41 w 42"/>
                <a:gd name="T1" fmla="*/ 21 h 42"/>
                <a:gd name="T2" fmla="*/ 41 w 42"/>
                <a:gd name="T3" fmla="*/ 21 h 42"/>
                <a:gd name="T4" fmla="*/ 20 w 42"/>
                <a:gd name="T5" fmla="*/ 21 h 42"/>
                <a:gd name="T6" fmla="*/ 20 w 42"/>
                <a:gd name="T7" fmla="*/ 41 h 42"/>
                <a:gd name="T8" fmla="*/ 0 w 42"/>
                <a:gd name="T9" fmla="*/ 21 h 42"/>
                <a:gd name="T10" fmla="*/ 0 w 42"/>
                <a:gd name="T11" fmla="*/ 21 h 42"/>
                <a:gd name="T12" fmla="*/ 20 w 42"/>
                <a:gd name="T13" fmla="*/ 0 h 42"/>
                <a:gd name="T14" fmla="*/ 20 w 42"/>
                <a:gd name="T15" fmla="*/ 0 h 42"/>
                <a:gd name="T16" fmla="*/ 41 w 42"/>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1" y="21"/>
                  </a:moveTo>
                  <a:lnTo>
                    <a:pt x="41" y="21"/>
                  </a:lnTo>
                  <a:lnTo>
                    <a:pt x="20" y="21"/>
                  </a:lnTo>
                  <a:lnTo>
                    <a:pt x="20" y="41"/>
                  </a:lnTo>
                  <a:cubicBezTo>
                    <a:pt x="20" y="41"/>
                    <a:pt x="20" y="41"/>
                    <a:pt x="0" y="21"/>
                  </a:cubicBezTo>
                  <a:lnTo>
                    <a:pt x="0" y="21"/>
                  </a:lnTo>
                  <a:cubicBezTo>
                    <a:pt x="0" y="21"/>
                    <a:pt x="0" y="0"/>
                    <a:pt x="20" y="0"/>
                  </a:cubicBezTo>
                  <a:lnTo>
                    <a:pt x="20" y="0"/>
                  </a:lnTo>
                  <a:cubicBezTo>
                    <a:pt x="20" y="0"/>
                    <a:pt x="41" y="0"/>
                    <a:pt x="4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1" name="Freeform 568">
              <a:extLst>
                <a:ext uri="{FF2B5EF4-FFF2-40B4-BE49-F238E27FC236}">
                  <a16:creationId xmlns:a16="http://schemas.microsoft.com/office/drawing/2014/main" id="{1896EF24-4709-1A4B-9CDB-231F2573C758}"/>
                </a:ext>
              </a:extLst>
            </p:cNvPr>
            <p:cNvSpPr>
              <a:spLocks noChangeArrowheads="1"/>
            </p:cNvSpPr>
            <p:nvPr/>
          </p:nvSpPr>
          <p:spPr bwMode="auto">
            <a:xfrm>
              <a:off x="5870575" y="7356475"/>
              <a:ext cx="7938" cy="15875"/>
            </a:xfrm>
            <a:custGeom>
              <a:avLst/>
              <a:gdLst>
                <a:gd name="T0" fmla="*/ 21 w 22"/>
                <a:gd name="T1" fmla="*/ 0 h 42"/>
                <a:gd name="T2" fmla="*/ 21 w 22"/>
                <a:gd name="T3" fmla="*/ 0 h 42"/>
                <a:gd name="T4" fmla="*/ 0 w 22"/>
                <a:gd name="T5" fmla="*/ 21 h 42"/>
                <a:gd name="T6" fmla="*/ 0 w 22"/>
                <a:gd name="T7" fmla="*/ 21 h 42"/>
                <a:gd name="T8" fmla="*/ 21 w 22"/>
                <a:gd name="T9" fmla="*/ 41 h 42"/>
                <a:gd name="T10" fmla="*/ 21 w 22"/>
                <a:gd name="T11" fmla="*/ 41 h 42"/>
                <a:gd name="T12" fmla="*/ 21 w 22"/>
                <a:gd name="T13" fmla="*/ 21 h 42"/>
                <a:gd name="T14" fmla="*/ 21 w 22"/>
                <a:gd name="T15" fmla="*/ 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21" y="0"/>
                  </a:moveTo>
                  <a:lnTo>
                    <a:pt x="21" y="0"/>
                  </a:lnTo>
                  <a:cubicBezTo>
                    <a:pt x="21" y="0"/>
                    <a:pt x="0" y="0"/>
                    <a:pt x="0" y="21"/>
                  </a:cubicBezTo>
                  <a:lnTo>
                    <a:pt x="0" y="21"/>
                  </a:lnTo>
                  <a:cubicBezTo>
                    <a:pt x="0" y="21"/>
                    <a:pt x="21" y="21"/>
                    <a:pt x="21" y="41"/>
                  </a:cubicBezTo>
                  <a:lnTo>
                    <a:pt x="21" y="41"/>
                  </a:lnTo>
                  <a:cubicBezTo>
                    <a:pt x="21" y="21"/>
                    <a:pt x="21" y="21"/>
                    <a:pt x="21" y="21"/>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2" name="Freeform 569">
              <a:extLst>
                <a:ext uri="{FF2B5EF4-FFF2-40B4-BE49-F238E27FC236}">
                  <a16:creationId xmlns:a16="http://schemas.microsoft.com/office/drawing/2014/main" id="{3033E31A-0DCF-7340-BEF4-A0A24E2C5ECC}"/>
                </a:ext>
              </a:extLst>
            </p:cNvPr>
            <p:cNvSpPr>
              <a:spLocks noChangeArrowheads="1"/>
            </p:cNvSpPr>
            <p:nvPr/>
          </p:nvSpPr>
          <p:spPr bwMode="auto">
            <a:xfrm>
              <a:off x="5464175" y="7385050"/>
              <a:ext cx="596900" cy="501650"/>
            </a:xfrm>
            <a:custGeom>
              <a:avLst/>
              <a:gdLst>
                <a:gd name="T0" fmla="*/ 1639 w 1660"/>
                <a:gd name="T1" fmla="*/ 430 h 1395"/>
                <a:gd name="T2" fmla="*/ 1557 w 1660"/>
                <a:gd name="T3" fmla="*/ 472 h 1395"/>
                <a:gd name="T4" fmla="*/ 1495 w 1660"/>
                <a:gd name="T5" fmla="*/ 430 h 1395"/>
                <a:gd name="T6" fmla="*/ 1434 w 1660"/>
                <a:gd name="T7" fmla="*/ 472 h 1395"/>
                <a:gd name="T8" fmla="*/ 1495 w 1660"/>
                <a:gd name="T9" fmla="*/ 533 h 1395"/>
                <a:gd name="T10" fmla="*/ 1536 w 1660"/>
                <a:gd name="T11" fmla="*/ 594 h 1395"/>
                <a:gd name="T12" fmla="*/ 1454 w 1660"/>
                <a:gd name="T13" fmla="*/ 656 h 1395"/>
                <a:gd name="T14" fmla="*/ 1372 w 1660"/>
                <a:gd name="T15" fmla="*/ 615 h 1395"/>
                <a:gd name="T16" fmla="*/ 1331 w 1660"/>
                <a:gd name="T17" fmla="*/ 656 h 1395"/>
                <a:gd name="T18" fmla="*/ 1208 w 1660"/>
                <a:gd name="T19" fmla="*/ 636 h 1395"/>
                <a:gd name="T20" fmla="*/ 1065 w 1660"/>
                <a:gd name="T21" fmla="*/ 656 h 1395"/>
                <a:gd name="T22" fmla="*/ 1024 w 1660"/>
                <a:gd name="T23" fmla="*/ 738 h 1395"/>
                <a:gd name="T24" fmla="*/ 983 w 1660"/>
                <a:gd name="T25" fmla="*/ 902 h 1395"/>
                <a:gd name="T26" fmla="*/ 901 w 1660"/>
                <a:gd name="T27" fmla="*/ 1066 h 1395"/>
                <a:gd name="T28" fmla="*/ 840 w 1660"/>
                <a:gd name="T29" fmla="*/ 1230 h 1395"/>
                <a:gd name="T30" fmla="*/ 716 w 1660"/>
                <a:gd name="T31" fmla="*/ 1270 h 1395"/>
                <a:gd name="T32" fmla="*/ 573 w 1660"/>
                <a:gd name="T33" fmla="*/ 1270 h 1395"/>
                <a:gd name="T34" fmla="*/ 450 w 1660"/>
                <a:gd name="T35" fmla="*/ 1291 h 1395"/>
                <a:gd name="T36" fmla="*/ 286 w 1660"/>
                <a:gd name="T37" fmla="*/ 1373 h 1395"/>
                <a:gd name="T38" fmla="*/ 164 w 1660"/>
                <a:gd name="T39" fmla="*/ 1394 h 1395"/>
                <a:gd name="T40" fmla="*/ 61 w 1660"/>
                <a:gd name="T41" fmla="*/ 1312 h 1395"/>
                <a:gd name="T42" fmla="*/ 0 w 1660"/>
                <a:gd name="T43" fmla="*/ 1188 h 1395"/>
                <a:gd name="T44" fmla="*/ 20 w 1660"/>
                <a:gd name="T45" fmla="*/ 1106 h 1395"/>
                <a:gd name="T46" fmla="*/ 40 w 1660"/>
                <a:gd name="T47" fmla="*/ 1188 h 1395"/>
                <a:gd name="T48" fmla="*/ 122 w 1660"/>
                <a:gd name="T49" fmla="*/ 1168 h 1395"/>
                <a:gd name="T50" fmla="*/ 184 w 1660"/>
                <a:gd name="T51" fmla="*/ 1230 h 1395"/>
                <a:gd name="T52" fmla="*/ 286 w 1660"/>
                <a:gd name="T53" fmla="*/ 1291 h 1395"/>
                <a:gd name="T54" fmla="*/ 246 w 1660"/>
                <a:gd name="T55" fmla="*/ 1250 h 1395"/>
                <a:gd name="T56" fmla="*/ 266 w 1660"/>
                <a:gd name="T57" fmla="*/ 1209 h 1395"/>
                <a:gd name="T58" fmla="*/ 286 w 1660"/>
                <a:gd name="T59" fmla="*/ 1106 h 1395"/>
                <a:gd name="T60" fmla="*/ 286 w 1660"/>
                <a:gd name="T61" fmla="*/ 964 h 1395"/>
                <a:gd name="T62" fmla="*/ 368 w 1660"/>
                <a:gd name="T63" fmla="*/ 943 h 1395"/>
                <a:gd name="T64" fmla="*/ 492 w 1660"/>
                <a:gd name="T65" fmla="*/ 902 h 1395"/>
                <a:gd name="T66" fmla="*/ 614 w 1660"/>
                <a:gd name="T67" fmla="*/ 779 h 1395"/>
                <a:gd name="T68" fmla="*/ 696 w 1660"/>
                <a:gd name="T69" fmla="*/ 615 h 1395"/>
                <a:gd name="T70" fmla="*/ 778 w 1660"/>
                <a:gd name="T71" fmla="*/ 574 h 1395"/>
                <a:gd name="T72" fmla="*/ 819 w 1660"/>
                <a:gd name="T73" fmla="*/ 656 h 1395"/>
                <a:gd name="T74" fmla="*/ 880 w 1660"/>
                <a:gd name="T75" fmla="*/ 636 h 1395"/>
                <a:gd name="T76" fmla="*/ 901 w 1660"/>
                <a:gd name="T77" fmla="*/ 512 h 1395"/>
                <a:gd name="T78" fmla="*/ 983 w 1660"/>
                <a:gd name="T79" fmla="*/ 451 h 1395"/>
                <a:gd name="T80" fmla="*/ 983 w 1660"/>
                <a:gd name="T81" fmla="*/ 410 h 1395"/>
                <a:gd name="T82" fmla="*/ 1004 w 1660"/>
                <a:gd name="T83" fmla="*/ 328 h 1395"/>
                <a:gd name="T84" fmla="*/ 1086 w 1660"/>
                <a:gd name="T85" fmla="*/ 287 h 1395"/>
                <a:gd name="T86" fmla="*/ 1147 w 1660"/>
                <a:gd name="T87" fmla="*/ 123 h 1395"/>
                <a:gd name="T88" fmla="*/ 1168 w 1660"/>
                <a:gd name="T89" fmla="*/ 21 h 1395"/>
                <a:gd name="T90" fmla="*/ 1208 w 1660"/>
                <a:gd name="T91" fmla="*/ 62 h 1395"/>
                <a:gd name="T92" fmla="*/ 1250 w 1660"/>
                <a:gd name="T93" fmla="*/ 62 h 1395"/>
                <a:gd name="T94" fmla="*/ 1311 w 1660"/>
                <a:gd name="T95" fmla="*/ 62 h 1395"/>
                <a:gd name="T96" fmla="*/ 1352 w 1660"/>
                <a:gd name="T97" fmla="*/ 123 h 1395"/>
                <a:gd name="T98" fmla="*/ 1352 w 1660"/>
                <a:gd name="T99" fmla="*/ 205 h 1395"/>
                <a:gd name="T100" fmla="*/ 1352 w 1660"/>
                <a:gd name="T101" fmla="*/ 287 h 1395"/>
                <a:gd name="T102" fmla="*/ 1413 w 1660"/>
                <a:gd name="T103" fmla="*/ 308 h 1395"/>
                <a:gd name="T104" fmla="*/ 1495 w 1660"/>
                <a:gd name="T105" fmla="*/ 287 h 1395"/>
                <a:gd name="T106" fmla="*/ 1577 w 1660"/>
                <a:gd name="T107" fmla="*/ 369 h 1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60" h="1395">
                  <a:moveTo>
                    <a:pt x="1639" y="390"/>
                  </a:moveTo>
                  <a:lnTo>
                    <a:pt x="1639" y="390"/>
                  </a:lnTo>
                  <a:cubicBezTo>
                    <a:pt x="1659" y="390"/>
                    <a:pt x="1639" y="410"/>
                    <a:pt x="1639" y="410"/>
                  </a:cubicBezTo>
                  <a:cubicBezTo>
                    <a:pt x="1639" y="430"/>
                    <a:pt x="1639" y="430"/>
                    <a:pt x="1639" y="430"/>
                  </a:cubicBezTo>
                  <a:lnTo>
                    <a:pt x="1618" y="430"/>
                  </a:lnTo>
                  <a:cubicBezTo>
                    <a:pt x="1598" y="451"/>
                    <a:pt x="1598" y="451"/>
                    <a:pt x="1577" y="451"/>
                  </a:cubicBezTo>
                  <a:lnTo>
                    <a:pt x="1577" y="451"/>
                  </a:lnTo>
                  <a:cubicBezTo>
                    <a:pt x="1557" y="472"/>
                    <a:pt x="1557" y="472"/>
                    <a:pt x="1557" y="472"/>
                  </a:cubicBezTo>
                  <a:lnTo>
                    <a:pt x="1536" y="472"/>
                  </a:lnTo>
                  <a:lnTo>
                    <a:pt x="1516" y="472"/>
                  </a:lnTo>
                  <a:lnTo>
                    <a:pt x="1516" y="451"/>
                  </a:lnTo>
                  <a:cubicBezTo>
                    <a:pt x="1516" y="451"/>
                    <a:pt x="1516" y="430"/>
                    <a:pt x="1495" y="430"/>
                  </a:cubicBezTo>
                  <a:cubicBezTo>
                    <a:pt x="1495" y="430"/>
                    <a:pt x="1495" y="430"/>
                    <a:pt x="1495" y="451"/>
                  </a:cubicBezTo>
                  <a:cubicBezTo>
                    <a:pt x="1475" y="451"/>
                    <a:pt x="1475" y="451"/>
                    <a:pt x="1454" y="451"/>
                  </a:cubicBezTo>
                  <a:cubicBezTo>
                    <a:pt x="1454" y="451"/>
                    <a:pt x="1454" y="451"/>
                    <a:pt x="1454" y="472"/>
                  </a:cubicBezTo>
                  <a:lnTo>
                    <a:pt x="1434" y="472"/>
                  </a:lnTo>
                  <a:lnTo>
                    <a:pt x="1454" y="492"/>
                  </a:lnTo>
                  <a:lnTo>
                    <a:pt x="1475" y="492"/>
                  </a:lnTo>
                  <a:cubicBezTo>
                    <a:pt x="1475" y="492"/>
                    <a:pt x="1475" y="492"/>
                    <a:pt x="1475" y="512"/>
                  </a:cubicBezTo>
                  <a:lnTo>
                    <a:pt x="1495" y="533"/>
                  </a:lnTo>
                  <a:cubicBezTo>
                    <a:pt x="1495" y="554"/>
                    <a:pt x="1495" y="554"/>
                    <a:pt x="1516" y="554"/>
                  </a:cubicBezTo>
                  <a:lnTo>
                    <a:pt x="1536" y="574"/>
                  </a:lnTo>
                  <a:cubicBezTo>
                    <a:pt x="1536" y="574"/>
                    <a:pt x="1536" y="574"/>
                    <a:pt x="1536" y="594"/>
                  </a:cubicBezTo>
                  <a:lnTo>
                    <a:pt x="1536" y="594"/>
                  </a:lnTo>
                  <a:cubicBezTo>
                    <a:pt x="1536" y="615"/>
                    <a:pt x="1516" y="615"/>
                    <a:pt x="1516" y="615"/>
                  </a:cubicBezTo>
                  <a:cubicBezTo>
                    <a:pt x="1516" y="636"/>
                    <a:pt x="1495" y="636"/>
                    <a:pt x="1495" y="636"/>
                  </a:cubicBezTo>
                  <a:cubicBezTo>
                    <a:pt x="1475" y="636"/>
                    <a:pt x="1475" y="656"/>
                    <a:pt x="1475" y="656"/>
                  </a:cubicBezTo>
                  <a:lnTo>
                    <a:pt x="1454" y="656"/>
                  </a:lnTo>
                  <a:cubicBezTo>
                    <a:pt x="1434" y="656"/>
                    <a:pt x="1434" y="636"/>
                    <a:pt x="1434" y="636"/>
                  </a:cubicBezTo>
                  <a:cubicBezTo>
                    <a:pt x="1413" y="636"/>
                    <a:pt x="1413" y="615"/>
                    <a:pt x="1413" y="615"/>
                  </a:cubicBezTo>
                  <a:lnTo>
                    <a:pt x="1393" y="615"/>
                  </a:lnTo>
                  <a:lnTo>
                    <a:pt x="1372" y="615"/>
                  </a:lnTo>
                  <a:lnTo>
                    <a:pt x="1372" y="636"/>
                  </a:lnTo>
                  <a:cubicBezTo>
                    <a:pt x="1372" y="636"/>
                    <a:pt x="1372" y="636"/>
                    <a:pt x="1372" y="656"/>
                  </a:cubicBezTo>
                  <a:lnTo>
                    <a:pt x="1352" y="656"/>
                  </a:lnTo>
                  <a:cubicBezTo>
                    <a:pt x="1352" y="676"/>
                    <a:pt x="1352" y="656"/>
                    <a:pt x="1331" y="656"/>
                  </a:cubicBezTo>
                  <a:lnTo>
                    <a:pt x="1311" y="636"/>
                  </a:lnTo>
                  <a:lnTo>
                    <a:pt x="1290" y="636"/>
                  </a:lnTo>
                  <a:cubicBezTo>
                    <a:pt x="1270" y="636"/>
                    <a:pt x="1250" y="636"/>
                    <a:pt x="1250" y="636"/>
                  </a:cubicBezTo>
                  <a:cubicBezTo>
                    <a:pt x="1229" y="636"/>
                    <a:pt x="1208" y="636"/>
                    <a:pt x="1208" y="636"/>
                  </a:cubicBezTo>
                  <a:cubicBezTo>
                    <a:pt x="1188" y="636"/>
                    <a:pt x="1168" y="636"/>
                    <a:pt x="1168" y="636"/>
                  </a:cubicBezTo>
                  <a:cubicBezTo>
                    <a:pt x="1147" y="636"/>
                    <a:pt x="1147" y="636"/>
                    <a:pt x="1126" y="636"/>
                  </a:cubicBezTo>
                  <a:lnTo>
                    <a:pt x="1106" y="615"/>
                  </a:lnTo>
                  <a:cubicBezTo>
                    <a:pt x="1086" y="636"/>
                    <a:pt x="1065" y="636"/>
                    <a:pt x="1065" y="656"/>
                  </a:cubicBezTo>
                  <a:lnTo>
                    <a:pt x="1065" y="676"/>
                  </a:lnTo>
                  <a:lnTo>
                    <a:pt x="1044" y="697"/>
                  </a:lnTo>
                  <a:lnTo>
                    <a:pt x="1024" y="697"/>
                  </a:lnTo>
                  <a:cubicBezTo>
                    <a:pt x="1024" y="718"/>
                    <a:pt x="1024" y="718"/>
                    <a:pt x="1024" y="738"/>
                  </a:cubicBezTo>
                  <a:cubicBezTo>
                    <a:pt x="1024" y="738"/>
                    <a:pt x="1024" y="758"/>
                    <a:pt x="1044" y="758"/>
                  </a:cubicBezTo>
                  <a:cubicBezTo>
                    <a:pt x="1044" y="779"/>
                    <a:pt x="1044" y="800"/>
                    <a:pt x="1044" y="800"/>
                  </a:cubicBezTo>
                  <a:cubicBezTo>
                    <a:pt x="1044" y="820"/>
                    <a:pt x="1044" y="840"/>
                    <a:pt x="1024" y="861"/>
                  </a:cubicBezTo>
                  <a:cubicBezTo>
                    <a:pt x="1024" y="861"/>
                    <a:pt x="1004" y="882"/>
                    <a:pt x="983" y="902"/>
                  </a:cubicBezTo>
                  <a:cubicBezTo>
                    <a:pt x="983" y="902"/>
                    <a:pt x="942" y="922"/>
                    <a:pt x="942" y="943"/>
                  </a:cubicBezTo>
                  <a:cubicBezTo>
                    <a:pt x="922" y="943"/>
                    <a:pt x="901" y="964"/>
                    <a:pt x="901" y="984"/>
                  </a:cubicBezTo>
                  <a:cubicBezTo>
                    <a:pt x="901" y="984"/>
                    <a:pt x="901" y="1004"/>
                    <a:pt x="901" y="1025"/>
                  </a:cubicBezTo>
                  <a:cubicBezTo>
                    <a:pt x="901" y="1025"/>
                    <a:pt x="901" y="1045"/>
                    <a:pt x="901" y="1066"/>
                  </a:cubicBezTo>
                  <a:lnTo>
                    <a:pt x="901" y="1086"/>
                  </a:lnTo>
                  <a:cubicBezTo>
                    <a:pt x="880" y="1106"/>
                    <a:pt x="880" y="1106"/>
                    <a:pt x="880" y="1127"/>
                  </a:cubicBezTo>
                  <a:cubicBezTo>
                    <a:pt x="860" y="1127"/>
                    <a:pt x="860" y="1148"/>
                    <a:pt x="860" y="1168"/>
                  </a:cubicBezTo>
                  <a:cubicBezTo>
                    <a:pt x="860" y="1168"/>
                    <a:pt x="860" y="1209"/>
                    <a:pt x="840" y="1230"/>
                  </a:cubicBezTo>
                  <a:lnTo>
                    <a:pt x="840" y="1250"/>
                  </a:lnTo>
                  <a:cubicBezTo>
                    <a:pt x="819" y="1250"/>
                    <a:pt x="819" y="1250"/>
                    <a:pt x="798" y="1250"/>
                  </a:cubicBezTo>
                  <a:cubicBezTo>
                    <a:pt x="798" y="1250"/>
                    <a:pt x="778" y="1270"/>
                    <a:pt x="758" y="1270"/>
                  </a:cubicBezTo>
                  <a:cubicBezTo>
                    <a:pt x="758" y="1270"/>
                    <a:pt x="737" y="1270"/>
                    <a:pt x="716" y="1270"/>
                  </a:cubicBezTo>
                  <a:cubicBezTo>
                    <a:pt x="696" y="1270"/>
                    <a:pt x="676" y="1291"/>
                    <a:pt x="655" y="1312"/>
                  </a:cubicBezTo>
                  <a:cubicBezTo>
                    <a:pt x="655" y="1312"/>
                    <a:pt x="634" y="1291"/>
                    <a:pt x="614" y="1291"/>
                  </a:cubicBezTo>
                  <a:lnTo>
                    <a:pt x="594" y="1291"/>
                  </a:lnTo>
                  <a:cubicBezTo>
                    <a:pt x="573" y="1291"/>
                    <a:pt x="573" y="1270"/>
                    <a:pt x="573" y="1270"/>
                  </a:cubicBezTo>
                  <a:cubicBezTo>
                    <a:pt x="552" y="1270"/>
                    <a:pt x="552" y="1250"/>
                    <a:pt x="552" y="1250"/>
                  </a:cubicBezTo>
                  <a:cubicBezTo>
                    <a:pt x="532" y="1250"/>
                    <a:pt x="512" y="1250"/>
                    <a:pt x="512" y="1250"/>
                  </a:cubicBezTo>
                  <a:cubicBezTo>
                    <a:pt x="492" y="1250"/>
                    <a:pt x="471" y="1250"/>
                    <a:pt x="450" y="1250"/>
                  </a:cubicBezTo>
                  <a:cubicBezTo>
                    <a:pt x="450" y="1270"/>
                    <a:pt x="450" y="1291"/>
                    <a:pt x="450" y="1291"/>
                  </a:cubicBezTo>
                  <a:cubicBezTo>
                    <a:pt x="430" y="1312"/>
                    <a:pt x="430" y="1332"/>
                    <a:pt x="410" y="1332"/>
                  </a:cubicBezTo>
                  <a:cubicBezTo>
                    <a:pt x="410" y="1352"/>
                    <a:pt x="368" y="1352"/>
                    <a:pt x="368" y="1352"/>
                  </a:cubicBezTo>
                  <a:cubicBezTo>
                    <a:pt x="348" y="1373"/>
                    <a:pt x="328" y="1373"/>
                    <a:pt x="328" y="1373"/>
                  </a:cubicBezTo>
                  <a:cubicBezTo>
                    <a:pt x="307" y="1373"/>
                    <a:pt x="286" y="1373"/>
                    <a:pt x="286" y="1373"/>
                  </a:cubicBezTo>
                  <a:cubicBezTo>
                    <a:pt x="286" y="1373"/>
                    <a:pt x="266" y="1352"/>
                    <a:pt x="246" y="1352"/>
                  </a:cubicBezTo>
                  <a:cubicBezTo>
                    <a:pt x="246" y="1352"/>
                    <a:pt x="225" y="1352"/>
                    <a:pt x="204" y="1352"/>
                  </a:cubicBezTo>
                  <a:cubicBezTo>
                    <a:pt x="204" y="1373"/>
                    <a:pt x="184" y="1352"/>
                    <a:pt x="184" y="1373"/>
                  </a:cubicBezTo>
                  <a:cubicBezTo>
                    <a:pt x="164" y="1373"/>
                    <a:pt x="164" y="1394"/>
                    <a:pt x="164" y="1394"/>
                  </a:cubicBezTo>
                  <a:cubicBezTo>
                    <a:pt x="143" y="1394"/>
                    <a:pt x="143" y="1373"/>
                    <a:pt x="122" y="1373"/>
                  </a:cubicBezTo>
                  <a:lnTo>
                    <a:pt x="102" y="1352"/>
                  </a:lnTo>
                  <a:cubicBezTo>
                    <a:pt x="102" y="1332"/>
                    <a:pt x="82" y="1332"/>
                    <a:pt x="82" y="1332"/>
                  </a:cubicBezTo>
                  <a:cubicBezTo>
                    <a:pt x="82" y="1312"/>
                    <a:pt x="61" y="1312"/>
                    <a:pt x="61" y="1312"/>
                  </a:cubicBezTo>
                  <a:cubicBezTo>
                    <a:pt x="61" y="1291"/>
                    <a:pt x="61" y="1291"/>
                    <a:pt x="61" y="1270"/>
                  </a:cubicBezTo>
                  <a:lnTo>
                    <a:pt x="40" y="1250"/>
                  </a:lnTo>
                  <a:lnTo>
                    <a:pt x="20" y="1230"/>
                  </a:lnTo>
                  <a:cubicBezTo>
                    <a:pt x="20" y="1230"/>
                    <a:pt x="0" y="1209"/>
                    <a:pt x="0" y="1188"/>
                  </a:cubicBezTo>
                  <a:cubicBezTo>
                    <a:pt x="0" y="1188"/>
                    <a:pt x="0" y="1168"/>
                    <a:pt x="0" y="1148"/>
                  </a:cubicBezTo>
                  <a:lnTo>
                    <a:pt x="0" y="1127"/>
                  </a:lnTo>
                  <a:lnTo>
                    <a:pt x="0" y="1106"/>
                  </a:lnTo>
                  <a:cubicBezTo>
                    <a:pt x="0" y="1106"/>
                    <a:pt x="0" y="1106"/>
                    <a:pt x="20" y="1106"/>
                  </a:cubicBezTo>
                  <a:lnTo>
                    <a:pt x="20" y="1127"/>
                  </a:lnTo>
                  <a:lnTo>
                    <a:pt x="20" y="1148"/>
                  </a:lnTo>
                  <a:lnTo>
                    <a:pt x="20" y="1168"/>
                  </a:lnTo>
                  <a:cubicBezTo>
                    <a:pt x="20" y="1168"/>
                    <a:pt x="40" y="1168"/>
                    <a:pt x="40" y="1188"/>
                  </a:cubicBezTo>
                  <a:lnTo>
                    <a:pt x="61" y="1188"/>
                  </a:lnTo>
                  <a:lnTo>
                    <a:pt x="82" y="1188"/>
                  </a:lnTo>
                  <a:cubicBezTo>
                    <a:pt x="82" y="1188"/>
                    <a:pt x="102" y="1188"/>
                    <a:pt x="102" y="1168"/>
                  </a:cubicBezTo>
                  <a:cubicBezTo>
                    <a:pt x="102" y="1168"/>
                    <a:pt x="102" y="1168"/>
                    <a:pt x="122" y="1168"/>
                  </a:cubicBezTo>
                  <a:cubicBezTo>
                    <a:pt x="122" y="1168"/>
                    <a:pt x="122" y="1168"/>
                    <a:pt x="143" y="1168"/>
                  </a:cubicBezTo>
                  <a:lnTo>
                    <a:pt x="143" y="1168"/>
                  </a:lnTo>
                  <a:cubicBezTo>
                    <a:pt x="143" y="1188"/>
                    <a:pt x="164" y="1188"/>
                    <a:pt x="164" y="1188"/>
                  </a:cubicBezTo>
                  <a:cubicBezTo>
                    <a:pt x="164" y="1209"/>
                    <a:pt x="164" y="1209"/>
                    <a:pt x="184" y="1230"/>
                  </a:cubicBezTo>
                  <a:cubicBezTo>
                    <a:pt x="184" y="1230"/>
                    <a:pt x="184" y="1230"/>
                    <a:pt x="204" y="1250"/>
                  </a:cubicBezTo>
                  <a:cubicBezTo>
                    <a:pt x="204" y="1250"/>
                    <a:pt x="225" y="1250"/>
                    <a:pt x="225" y="1270"/>
                  </a:cubicBezTo>
                  <a:cubicBezTo>
                    <a:pt x="246" y="1270"/>
                    <a:pt x="246" y="1291"/>
                    <a:pt x="266" y="1291"/>
                  </a:cubicBezTo>
                  <a:lnTo>
                    <a:pt x="286" y="1291"/>
                  </a:lnTo>
                  <a:lnTo>
                    <a:pt x="307" y="1270"/>
                  </a:lnTo>
                  <a:lnTo>
                    <a:pt x="286" y="1250"/>
                  </a:lnTo>
                  <a:cubicBezTo>
                    <a:pt x="286" y="1250"/>
                    <a:pt x="286" y="1250"/>
                    <a:pt x="266" y="1250"/>
                  </a:cubicBezTo>
                  <a:cubicBezTo>
                    <a:pt x="266" y="1250"/>
                    <a:pt x="266" y="1250"/>
                    <a:pt x="246" y="1250"/>
                  </a:cubicBezTo>
                  <a:cubicBezTo>
                    <a:pt x="246" y="1230"/>
                    <a:pt x="246" y="1230"/>
                    <a:pt x="246" y="1230"/>
                  </a:cubicBezTo>
                  <a:cubicBezTo>
                    <a:pt x="246" y="1209"/>
                    <a:pt x="246" y="1209"/>
                    <a:pt x="246" y="1209"/>
                  </a:cubicBezTo>
                  <a:lnTo>
                    <a:pt x="246" y="1209"/>
                  </a:lnTo>
                  <a:cubicBezTo>
                    <a:pt x="266" y="1209"/>
                    <a:pt x="266" y="1209"/>
                    <a:pt x="266" y="1209"/>
                  </a:cubicBezTo>
                  <a:cubicBezTo>
                    <a:pt x="286" y="1209"/>
                    <a:pt x="266" y="1188"/>
                    <a:pt x="266" y="1188"/>
                  </a:cubicBezTo>
                  <a:cubicBezTo>
                    <a:pt x="266" y="1168"/>
                    <a:pt x="266" y="1168"/>
                    <a:pt x="266" y="1168"/>
                  </a:cubicBezTo>
                  <a:lnTo>
                    <a:pt x="266" y="1148"/>
                  </a:lnTo>
                  <a:cubicBezTo>
                    <a:pt x="266" y="1148"/>
                    <a:pt x="286" y="1127"/>
                    <a:pt x="286" y="1106"/>
                  </a:cubicBezTo>
                  <a:cubicBezTo>
                    <a:pt x="286" y="1106"/>
                    <a:pt x="286" y="1086"/>
                    <a:pt x="286" y="1066"/>
                  </a:cubicBezTo>
                  <a:cubicBezTo>
                    <a:pt x="266" y="1066"/>
                    <a:pt x="266" y="1025"/>
                    <a:pt x="266" y="1025"/>
                  </a:cubicBezTo>
                  <a:lnTo>
                    <a:pt x="266" y="1004"/>
                  </a:lnTo>
                  <a:cubicBezTo>
                    <a:pt x="266" y="984"/>
                    <a:pt x="266" y="984"/>
                    <a:pt x="286" y="964"/>
                  </a:cubicBezTo>
                  <a:lnTo>
                    <a:pt x="286" y="943"/>
                  </a:lnTo>
                  <a:cubicBezTo>
                    <a:pt x="307" y="943"/>
                    <a:pt x="307" y="943"/>
                    <a:pt x="328" y="943"/>
                  </a:cubicBezTo>
                  <a:cubicBezTo>
                    <a:pt x="328" y="943"/>
                    <a:pt x="328" y="943"/>
                    <a:pt x="348" y="943"/>
                  </a:cubicBezTo>
                  <a:cubicBezTo>
                    <a:pt x="348" y="943"/>
                    <a:pt x="348" y="943"/>
                    <a:pt x="368" y="943"/>
                  </a:cubicBezTo>
                  <a:cubicBezTo>
                    <a:pt x="368" y="943"/>
                    <a:pt x="368" y="943"/>
                    <a:pt x="389" y="943"/>
                  </a:cubicBezTo>
                  <a:lnTo>
                    <a:pt x="430" y="922"/>
                  </a:lnTo>
                  <a:cubicBezTo>
                    <a:pt x="450" y="902"/>
                    <a:pt x="450" y="902"/>
                    <a:pt x="471" y="902"/>
                  </a:cubicBezTo>
                  <a:lnTo>
                    <a:pt x="492" y="902"/>
                  </a:lnTo>
                  <a:cubicBezTo>
                    <a:pt x="512" y="882"/>
                    <a:pt x="512" y="882"/>
                    <a:pt x="532" y="882"/>
                  </a:cubicBezTo>
                  <a:lnTo>
                    <a:pt x="552" y="861"/>
                  </a:lnTo>
                  <a:cubicBezTo>
                    <a:pt x="552" y="840"/>
                    <a:pt x="573" y="840"/>
                    <a:pt x="573" y="840"/>
                  </a:cubicBezTo>
                  <a:cubicBezTo>
                    <a:pt x="594" y="820"/>
                    <a:pt x="594" y="800"/>
                    <a:pt x="614" y="779"/>
                  </a:cubicBezTo>
                  <a:cubicBezTo>
                    <a:pt x="614" y="758"/>
                    <a:pt x="634" y="758"/>
                    <a:pt x="634" y="758"/>
                  </a:cubicBezTo>
                  <a:cubicBezTo>
                    <a:pt x="634" y="738"/>
                    <a:pt x="655" y="718"/>
                    <a:pt x="655" y="718"/>
                  </a:cubicBezTo>
                  <a:cubicBezTo>
                    <a:pt x="655" y="697"/>
                    <a:pt x="676" y="676"/>
                    <a:pt x="696" y="676"/>
                  </a:cubicBezTo>
                  <a:cubicBezTo>
                    <a:pt x="696" y="656"/>
                    <a:pt x="696" y="636"/>
                    <a:pt x="696" y="615"/>
                  </a:cubicBezTo>
                  <a:lnTo>
                    <a:pt x="716" y="594"/>
                  </a:lnTo>
                  <a:cubicBezTo>
                    <a:pt x="716" y="574"/>
                    <a:pt x="737" y="554"/>
                    <a:pt x="737" y="554"/>
                  </a:cubicBezTo>
                  <a:lnTo>
                    <a:pt x="737" y="554"/>
                  </a:lnTo>
                  <a:cubicBezTo>
                    <a:pt x="758" y="554"/>
                    <a:pt x="778" y="554"/>
                    <a:pt x="778" y="574"/>
                  </a:cubicBezTo>
                  <a:cubicBezTo>
                    <a:pt x="778" y="574"/>
                    <a:pt x="778" y="574"/>
                    <a:pt x="778" y="594"/>
                  </a:cubicBezTo>
                  <a:cubicBezTo>
                    <a:pt x="778" y="594"/>
                    <a:pt x="778" y="594"/>
                    <a:pt x="778" y="615"/>
                  </a:cubicBezTo>
                  <a:cubicBezTo>
                    <a:pt x="798" y="615"/>
                    <a:pt x="798" y="636"/>
                    <a:pt x="798" y="636"/>
                  </a:cubicBezTo>
                  <a:lnTo>
                    <a:pt x="819" y="656"/>
                  </a:lnTo>
                  <a:lnTo>
                    <a:pt x="819" y="676"/>
                  </a:lnTo>
                  <a:cubicBezTo>
                    <a:pt x="840" y="676"/>
                    <a:pt x="840" y="676"/>
                    <a:pt x="860" y="676"/>
                  </a:cubicBezTo>
                  <a:cubicBezTo>
                    <a:pt x="860" y="656"/>
                    <a:pt x="860" y="656"/>
                    <a:pt x="860" y="636"/>
                  </a:cubicBezTo>
                  <a:lnTo>
                    <a:pt x="880" y="636"/>
                  </a:lnTo>
                  <a:cubicBezTo>
                    <a:pt x="880" y="615"/>
                    <a:pt x="880" y="615"/>
                    <a:pt x="880" y="594"/>
                  </a:cubicBezTo>
                  <a:lnTo>
                    <a:pt x="880" y="574"/>
                  </a:lnTo>
                  <a:cubicBezTo>
                    <a:pt x="880" y="554"/>
                    <a:pt x="880" y="554"/>
                    <a:pt x="880" y="533"/>
                  </a:cubicBezTo>
                  <a:cubicBezTo>
                    <a:pt x="901" y="533"/>
                    <a:pt x="901" y="533"/>
                    <a:pt x="901" y="512"/>
                  </a:cubicBezTo>
                  <a:lnTo>
                    <a:pt x="901" y="512"/>
                  </a:lnTo>
                  <a:cubicBezTo>
                    <a:pt x="922" y="512"/>
                    <a:pt x="922" y="492"/>
                    <a:pt x="922" y="492"/>
                  </a:cubicBezTo>
                  <a:cubicBezTo>
                    <a:pt x="942" y="472"/>
                    <a:pt x="942" y="472"/>
                    <a:pt x="962" y="472"/>
                  </a:cubicBezTo>
                  <a:cubicBezTo>
                    <a:pt x="962" y="451"/>
                    <a:pt x="983" y="451"/>
                    <a:pt x="983" y="451"/>
                  </a:cubicBezTo>
                  <a:lnTo>
                    <a:pt x="1004" y="451"/>
                  </a:lnTo>
                  <a:lnTo>
                    <a:pt x="1004" y="430"/>
                  </a:lnTo>
                  <a:lnTo>
                    <a:pt x="1004" y="410"/>
                  </a:lnTo>
                  <a:cubicBezTo>
                    <a:pt x="1004" y="410"/>
                    <a:pt x="1004" y="410"/>
                    <a:pt x="983" y="410"/>
                  </a:cubicBezTo>
                  <a:lnTo>
                    <a:pt x="983" y="410"/>
                  </a:lnTo>
                  <a:cubicBezTo>
                    <a:pt x="962" y="410"/>
                    <a:pt x="962" y="390"/>
                    <a:pt x="962" y="369"/>
                  </a:cubicBezTo>
                  <a:cubicBezTo>
                    <a:pt x="983" y="369"/>
                    <a:pt x="983" y="348"/>
                    <a:pt x="983" y="348"/>
                  </a:cubicBezTo>
                  <a:lnTo>
                    <a:pt x="1004" y="328"/>
                  </a:lnTo>
                  <a:cubicBezTo>
                    <a:pt x="1004" y="328"/>
                    <a:pt x="1004" y="328"/>
                    <a:pt x="1024" y="328"/>
                  </a:cubicBezTo>
                  <a:lnTo>
                    <a:pt x="1024" y="328"/>
                  </a:lnTo>
                  <a:cubicBezTo>
                    <a:pt x="1044" y="328"/>
                    <a:pt x="1044" y="328"/>
                    <a:pt x="1065" y="308"/>
                  </a:cubicBezTo>
                  <a:lnTo>
                    <a:pt x="1086" y="287"/>
                  </a:lnTo>
                  <a:cubicBezTo>
                    <a:pt x="1086" y="287"/>
                    <a:pt x="1086" y="267"/>
                    <a:pt x="1086" y="246"/>
                  </a:cubicBezTo>
                  <a:cubicBezTo>
                    <a:pt x="1086" y="246"/>
                    <a:pt x="1106" y="205"/>
                    <a:pt x="1106" y="185"/>
                  </a:cubicBezTo>
                  <a:lnTo>
                    <a:pt x="1126" y="164"/>
                  </a:lnTo>
                  <a:cubicBezTo>
                    <a:pt x="1126" y="144"/>
                    <a:pt x="1147" y="123"/>
                    <a:pt x="1147" y="123"/>
                  </a:cubicBezTo>
                  <a:lnTo>
                    <a:pt x="1168" y="103"/>
                  </a:lnTo>
                  <a:cubicBezTo>
                    <a:pt x="1168" y="82"/>
                    <a:pt x="1168" y="62"/>
                    <a:pt x="1168" y="62"/>
                  </a:cubicBezTo>
                  <a:lnTo>
                    <a:pt x="1147" y="41"/>
                  </a:lnTo>
                  <a:cubicBezTo>
                    <a:pt x="1147" y="21"/>
                    <a:pt x="1147" y="21"/>
                    <a:pt x="1168" y="21"/>
                  </a:cubicBezTo>
                  <a:cubicBezTo>
                    <a:pt x="1168" y="0"/>
                    <a:pt x="1168" y="0"/>
                    <a:pt x="1188" y="0"/>
                  </a:cubicBezTo>
                  <a:cubicBezTo>
                    <a:pt x="1188" y="21"/>
                    <a:pt x="1188" y="21"/>
                    <a:pt x="1208" y="21"/>
                  </a:cubicBezTo>
                  <a:lnTo>
                    <a:pt x="1208" y="41"/>
                  </a:lnTo>
                  <a:lnTo>
                    <a:pt x="1208" y="62"/>
                  </a:lnTo>
                  <a:lnTo>
                    <a:pt x="1208" y="82"/>
                  </a:lnTo>
                  <a:cubicBezTo>
                    <a:pt x="1208" y="82"/>
                    <a:pt x="1208" y="82"/>
                    <a:pt x="1229" y="82"/>
                  </a:cubicBezTo>
                  <a:lnTo>
                    <a:pt x="1250" y="82"/>
                  </a:lnTo>
                  <a:cubicBezTo>
                    <a:pt x="1250" y="82"/>
                    <a:pt x="1250" y="82"/>
                    <a:pt x="1250" y="62"/>
                  </a:cubicBezTo>
                  <a:lnTo>
                    <a:pt x="1250" y="41"/>
                  </a:lnTo>
                  <a:cubicBezTo>
                    <a:pt x="1250" y="41"/>
                    <a:pt x="1250" y="21"/>
                    <a:pt x="1270" y="21"/>
                  </a:cubicBezTo>
                  <a:cubicBezTo>
                    <a:pt x="1270" y="21"/>
                    <a:pt x="1290" y="21"/>
                    <a:pt x="1290" y="41"/>
                  </a:cubicBezTo>
                  <a:cubicBezTo>
                    <a:pt x="1290" y="41"/>
                    <a:pt x="1311" y="41"/>
                    <a:pt x="1311" y="62"/>
                  </a:cubicBezTo>
                  <a:cubicBezTo>
                    <a:pt x="1311" y="62"/>
                    <a:pt x="1290" y="62"/>
                    <a:pt x="1290" y="82"/>
                  </a:cubicBezTo>
                  <a:cubicBezTo>
                    <a:pt x="1290" y="82"/>
                    <a:pt x="1311" y="82"/>
                    <a:pt x="1311" y="103"/>
                  </a:cubicBezTo>
                  <a:cubicBezTo>
                    <a:pt x="1311" y="103"/>
                    <a:pt x="1311" y="103"/>
                    <a:pt x="1311" y="123"/>
                  </a:cubicBezTo>
                  <a:cubicBezTo>
                    <a:pt x="1311" y="123"/>
                    <a:pt x="1331" y="123"/>
                    <a:pt x="1352" y="123"/>
                  </a:cubicBezTo>
                  <a:cubicBezTo>
                    <a:pt x="1352" y="123"/>
                    <a:pt x="1352" y="123"/>
                    <a:pt x="1372" y="123"/>
                  </a:cubicBezTo>
                  <a:cubicBezTo>
                    <a:pt x="1372" y="144"/>
                    <a:pt x="1372" y="144"/>
                    <a:pt x="1372" y="144"/>
                  </a:cubicBezTo>
                  <a:cubicBezTo>
                    <a:pt x="1372" y="164"/>
                    <a:pt x="1372" y="185"/>
                    <a:pt x="1372" y="185"/>
                  </a:cubicBezTo>
                  <a:cubicBezTo>
                    <a:pt x="1372" y="185"/>
                    <a:pt x="1352" y="185"/>
                    <a:pt x="1352" y="205"/>
                  </a:cubicBezTo>
                  <a:lnTo>
                    <a:pt x="1372" y="226"/>
                  </a:lnTo>
                  <a:lnTo>
                    <a:pt x="1352" y="246"/>
                  </a:lnTo>
                  <a:cubicBezTo>
                    <a:pt x="1352" y="246"/>
                    <a:pt x="1352" y="246"/>
                    <a:pt x="1352" y="267"/>
                  </a:cubicBezTo>
                  <a:lnTo>
                    <a:pt x="1352" y="287"/>
                  </a:lnTo>
                  <a:lnTo>
                    <a:pt x="1372" y="287"/>
                  </a:lnTo>
                  <a:lnTo>
                    <a:pt x="1393" y="267"/>
                  </a:lnTo>
                  <a:cubicBezTo>
                    <a:pt x="1393" y="287"/>
                    <a:pt x="1413" y="287"/>
                    <a:pt x="1413" y="287"/>
                  </a:cubicBezTo>
                  <a:lnTo>
                    <a:pt x="1413" y="308"/>
                  </a:lnTo>
                  <a:lnTo>
                    <a:pt x="1434" y="308"/>
                  </a:lnTo>
                  <a:cubicBezTo>
                    <a:pt x="1434" y="308"/>
                    <a:pt x="1454" y="308"/>
                    <a:pt x="1454" y="287"/>
                  </a:cubicBezTo>
                  <a:cubicBezTo>
                    <a:pt x="1454" y="287"/>
                    <a:pt x="1475" y="287"/>
                    <a:pt x="1495" y="287"/>
                  </a:cubicBezTo>
                  <a:lnTo>
                    <a:pt x="1495" y="287"/>
                  </a:lnTo>
                  <a:cubicBezTo>
                    <a:pt x="1516" y="308"/>
                    <a:pt x="1516" y="308"/>
                    <a:pt x="1536" y="308"/>
                  </a:cubicBezTo>
                  <a:lnTo>
                    <a:pt x="1557" y="328"/>
                  </a:lnTo>
                  <a:cubicBezTo>
                    <a:pt x="1557" y="328"/>
                    <a:pt x="1557" y="348"/>
                    <a:pt x="1577" y="348"/>
                  </a:cubicBezTo>
                  <a:lnTo>
                    <a:pt x="1577" y="369"/>
                  </a:lnTo>
                  <a:cubicBezTo>
                    <a:pt x="1598" y="369"/>
                    <a:pt x="1618" y="369"/>
                    <a:pt x="1618" y="369"/>
                  </a:cubicBezTo>
                  <a:lnTo>
                    <a:pt x="1639" y="369"/>
                  </a:lnTo>
                  <a:lnTo>
                    <a:pt x="1639" y="39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3" name="Freeform 570">
              <a:extLst>
                <a:ext uri="{FF2B5EF4-FFF2-40B4-BE49-F238E27FC236}">
                  <a16:creationId xmlns:a16="http://schemas.microsoft.com/office/drawing/2014/main" id="{69A56B38-EBEA-A540-B021-133FF7FAEE79}"/>
                </a:ext>
              </a:extLst>
            </p:cNvPr>
            <p:cNvSpPr>
              <a:spLocks noChangeArrowheads="1"/>
            </p:cNvSpPr>
            <p:nvPr/>
          </p:nvSpPr>
          <p:spPr bwMode="auto">
            <a:xfrm>
              <a:off x="4852988" y="7429500"/>
              <a:ext cx="273050" cy="420688"/>
            </a:xfrm>
            <a:custGeom>
              <a:avLst/>
              <a:gdLst>
                <a:gd name="T0" fmla="*/ 758 w 759"/>
                <a:gd name="T1" fmla="*/ 1086 h 1169"/>
                <a:gd name="T2" fmla="*/ 758 w 759"/>
                <a:gd name="T3" fmla="*/ 1127 h 1169"/>
                <a:gd name="T4" fmla="*/ 717 w 759"/>
                <a:gd name="T5" fmla="*/ 1107 h 1169"/>
                <a:gd name="T6" fmla="*/ 717 w 759"/>
                <a:gd name="T7" fmla="*/ 1086 h 1169"/>
                <a:gd name="T8" fmla="*/ 696 w 759"/>
                <a:gd name="T9" fmla="*/ 1127 h 1169"/>
                <a:gd name="T10" fmla="*/ 696 w 759"/>
                <a:gd name="T11" fmla="*/ 1147 h 1169"/>
                <a:gd name="T12" fmla="*/ 614 w 759"/>
                <a:gd name="T13" fmla="*/ 1168 h 1169"/>
                <a:gd name="T14" fmla="*/ 594 w 759"/>
                <a:gd name="T15" fmla="*/ 1127 h 1169"/>
                <a:gd name="T16" fmla="*/ 574 w 759"/>
                <a:gd name="T17" fmla="*/ 1107 h 1169"/>
                <a:gd name="T18" fmla="*/ 512 w 759"/>
                <a:gd name="T19" fmla="*/ 1065 h 1169"/>
                <a:gd name="T20" fmla="*/ 471 w 759"/>
                <a:gd name="T21" fmla="*/ 1025 h 1169"/>
                <a:gd name="T22" fmla="*/ 430 w 759"/>
                <a:gd name="T23" fmla="*/ 1004 h 1169"/>
                <a:gd name="T24" fmla="*/ 389 w 759"/>
                <a:gd name="T25" fmla="*/ 983 h 1169"/>
                <a:gd name="T26" fmla="*/ 348 w 759"/>
                <a:gd name="T27" fmla="*/ 922 h 1169"/>
                <a:gd name="T28" fmla="*/ 328 w 759"/>
                <a:gd name="T29" fmla="*/ 881 h 1169"/>
                <a:gd name="T30" fmla="*/ 266 w 759"/>
                <a:gd name="T31" fmla="*/ 861 h 1169"/>
                <a:gd name="T32" fmla="*/ 246 w 759"/>
                <a:gd name="T33" fmla="*/ 841 h 1169"/>
                <a:gd name="T34" fmla="*/ 246 w 759"/>
                <a:gd name="T35" fmla="*/ 799 h 1169"/>
                <a:gd name="T36" fmla="*/ 225 w 759"/>
                <a:gd name="T37" fmla="*/ 759 h 1169"/>
                <a:gd name="T38" fmla="*/ 225 w 759"/>
                <a:gd name="T39" fmla="*/ 738 h 1169"/>
                <a:gd name="T40" fmla="*/ 164 w 759"/>
                <a:gd name="T41" fmla="*/ 656 h 1169"/>
                <a:gd name="T42" fmla="*/ 122 w 759"/>
                <a:gd name="T43" fmla="*/ 615 h 1169"/>
                <a:gd name="T44" fmla="*/ 122 w 759"/>
                <a:gd name="T45" fmla="*/ 574 h 1169"/>
                <a:gd name="T46" fmla="*/ 143 w 759"/>
                <a:gd name="T47" fmla="*/ 574 h 1169"/>
                <a:gd name="T48" fmla="*/ 143 w 759"/>
                <a:gd name="T49" fmla="*/ 553 h 1169"/>
                <a:gd name="T50" fmla="*/ 122 w 759"/>
                <a:gd name="T51" fmla="*/ 513 h 1169"/>
                <a:gd name="T52" fmla="*/ 122 w 759"/>
                <a:gd name="T53" fmla="*/ 451 h 1169"/>
                <a:gd name="T54" fmla="*/ 82 w 759"/>
                <a:gd name="T55" fmla="*/ 369 h 1169"/>
                <a:gd name="T56" fmla="*/ 61 w 759"/>
                <a:gd name="T57" fmla="*/ 328 h 1169"/>
                <a:gd name="T58" fmla="*/ 61 w 759"/>
                <a:gd name="T59" fmla="*/ 287 h 1169"/>
                <a:gd name="T60" fmla="*/ 20 w 759"/>
                <a:gd name="T61" fmla="*/ 287 h 1169"/>
                <a:gd name="T62" fmla="*/ 20 w 759"/>
                <a:gd name="T63" fmla="*/ 225 h 1169"/>
                <a:gd name="T64" fmla="*/ 40 w 759"/>
                <a:gd name="T65" fmla="*/ 225 h 1169"/>
                <a:gd name="T66" fmla="*/ 40 w 759"/>
                <a:gd name="T67" fmla="*/ 164 h 1169"/>
                <a:gd name="T68" fmla="*/ 20 w 759"/>
                <a:gd name="T69" fmla="*/ 103 h 1169"/>
                <a:gd name="T70" fmla="*/ 20 w 759"/>
                <a:gd name="T71" fmla="*/ 41 h 1169"/>
                <a:gd name="T72" fmla="*/ 0 w 759"/>
                <a:gd name="T73" fmla="*/ 21 h 1169"/>
                <a:gd name="T74" fmla="*/ 40 w 759"/>
                <a:gd name="T75" fmla="*/ 0 h 1169"/>
                <a:gd name="T76" fmla="*/ 102 w 759"/>
                <a:gd name="T77" fmla="*/ 41 h 1169"/>
                <a:gd name="T78" fmla="*/ 143 w 759"/>
                <a:gd name="T79" fmla="*/ 62 h 1169"/>
                <a:gd name="T80" fmla="*/ 184 w 759"/>
                <a:gd name="T81" fmla="*/ 103 h 1169"/>
                <a:gd name="T82" fmla="*/ 164 w 759"/>
                <a:gd name="T83" fmla="*/ 144 h 1169"/>
                <a:gd name="T84" fmla="*/ 164 w 759"/>
                <a:gd name="T85" fmla="*/ 225 h 1169"/>
                <a:gd name="T86" fmla="*/ 225 w 759"/>
                <a:gd name="T87" fmla="*/ 225 h 1169"/>
                <a:gd name="T88" fmla="*/ 266 w 759"/>
                <a:gd name="T89" fmla="*/ 164 h 1169"/>
                <a:gd name="T90" fmla="*/ 328 w 759"/>
                <a:gd name="T91" fmla="*/ 164 h 1169"/>
                <a:gd name="T92" fmla="*/ 368 w 759"/>
                <a:gd name="T93" fmla="*/ 103 h 1169"/>
                <a:gd name="T94" fmla="*/ 410 w 759"/>
                <a:gd name="T95" fmla="*/ 82 h 1169"/>
                <a:gd name="T96" fmla="*/ 450 w 759"/>
                <a:gd name="T97" fmla="*/ 144 h 1169"/>
                <a:gd name="T98" fmla="*/ 492 w 759"/>
                <a:gd name="T99" fmla="*/ 205 h 1169"/>
                <a:gd name="T100" fmla="*/ 553 w 759"/>
                <a:gd name="T101" fmla="*/ 287 h 1169"/>
                <a:gd name="T102" fmla="*/ 594 w 759"/>
                <a:gd name="T103" fmla="*/ 349 h 1169"/>
                <a:gd name="T104" fmla="*/ 594 w 759"/>
                <a:gd name="T105" fmla="*/ 471 h 1169"/>
                <a:gd name="T106" fmla="*/ 614 w 759"/>
                <a:gd name="T107" fmla="*/ 574 h 1169"/>
                <a:gd name="T108" fmla="*/ 594 w 759"/>
                <a:gd name="T109" fmla="*/ 635 h 1169"/>
                <a:gd name="T110" fmla="*/ 614 w 759"/>
                <a:gd name="T111" fmla="*/ 759 h 1169"/>
                <a:gd name="T112" fmla="*/ 614 w 759"/>
                <a:gd name="T113" fmla="*/ 841 h 1169"/>
                <a:gd name="T114" fmla="*/ 676 w 759"/>
                <a:gd name="T115" fmla="*/ 861 h 1169"/>
                <a:gd name="T116" fmla="*/ 696 w 759"/>
                <a:gd name="T117" fmla="*/ 943 h 1169"/>
                <a:gd name="T118" fmla="*/ 717 w 759"/>
                <a:gd name="T119" fmla="*/ 1004 h 1169"/>
                <a:gd name="T120" fmla="*/ 758 w 759"/>
                <a:gd name="T121" fmla="*/ 1086 h 1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9" h="1169">
                  <a:moveTo>
                    <a:pt x="758" y="1086"/>
                  </a:moveTo>
                  <a:lnTo>
                    <a:pt x="758" y="1086"/>
                  </a:lnTo>
                  <a:lnTo>
                    <a:pt x="758" y="1107"/>
                  </a:lnTo>
                  <a:lnTo>
                    <a:pt x="758" y="1127"/>
                  </a:lnTo>
                  <a:cubicBezTo>
                    <a:pt x="737" y="1127"/>
                    <a:pt x="737" y="1107"/>
                    <a:pt x="737" y="1107"/>
                  </a:cubicBezTo>
                  <a:lnTo>
                    <a:pt x="717" y="1107"/>
                  </a:lnTo>
                  <a:lnTo>
                    <a:pt x="717" y="1086"/>
                  </a:lnTo>
                  <a:lnTo>
                    <a:pt x="717" y="1086"/>
                  </a:lnTo>
                  <a:cubicBezTo>
                    <a:pt x="696" y="1086"/>
                    <a:pt x="696" y="1107"/>
                    <a:pt x="696" y="1107"/>
                  </a:cubicBezTo>
                  <a:cubicBezTo>
                    <a:pt x="696" y="1107"/>
                    <a:pt x="717" y="1107"/>
                    <a:pt x="696" y="1127"/>
                  </a:cubicBezTo>
                  <a:lnTo>
                    <a:pt x="696" y="1127"/>
                  </a:lnTo>
                  <a:cubicBezTo>
                    <a:pt x="696" y="1147"/>
                    <a:pt x="696" y="1147"/>
                    <a:pt x="696" y="1147"/>
                  </a:cubicBezTo>
                  <a:cubicBezTo>
                    <a:pt x="676" y="1147"/>
                    <a:pt x="676" y="1168"/>
                    <a:pt x="676" y="1168"/>
                  </a:cubicBezTo>
                  <a:cubicBezTo>
                    <a:pt x="656" y="1168"/>
                    <a:pt x="635" y="1168"/>
                    <a:pt x="614" y="1168"/>
                  </a:cubicBezTo>
                  <a:lnTo>
                    <a:pt x="594" y="1168"/>
                  </a:lnTo>
                  <a:cubicBezTo>
                    <a:pt x="594" y="1147"/>
                    <a:pt x="594" y="1147"/>
                    <a:pt x="594" y="1127"/>
                  </a:cubicBezTo>
                  <a:lnTo>
                    <a:pt x="594" y="1127"/>
                  </a:lnTo>
                  <a:cubicBezTo>
                    <a:pt x="574" y="1127"/>
                    <a:pt x="574" y="1127"/>
                    <a:pt x="574" y="1107"/>
                  </a:cubicBezTo>
                  <a:cubicBezTo>
                    <a:pt x="574" y="1107"/>
                    <a:pt x="553" y="1086"/>
                    <a:pt x="532" y="1086"/>
                  </a:cubicBezTo>
                  <a:lnTo>
                    <a:pt x="512" y="1065"/>
                  </a:lnTo>
                  <a:cubicBezTo>
                    <a:pt x="512" y="1045"/>
                    <a:pt x="492" y="1045"/>
                    <a:pt x="492" y="1045"/>
                  </a:cubicBezTo>
                  <a:cubicBezTo>
                    <a:pt x="471" y="1045"/>
                    <a:pt x="471" y="1045"/>
                    <a:pt x="471" y="1025"/>
                  </a:cubicBezTo>
                  <a:cubicBezTo>
                    <a:pt x="450" y="1025"/>
                    <a:pt x="450" y="1025"/>
                    <a:pt x="450" y="1025"/>
                  </a:cubicBezTo>
                  <a:cubicBezTo>
                    <a:pt x="450" y="1004"/>
                    <a:pt x="430" y="1004"/>
                    <a:pt x="430" y="1004"/>
                  </a:cubicBezTo>
                  <a:cubicBezTo>
                    <a:pt x="430" y="1004"/>
                    <a:pt x="410" y="1004"/>
                    <a:pt x="410" y="983"/>
                  </a:cubicBezTo>
                  <a:lnTo>
                    <a:pt x="389" y="983"/>
                  </a:lnTo>
                  <a:cubicBezTo>
                    <a:pt x="389" y="963"/>
                    <a:pt x="389" y="963"/>
                    <a:pt x="389" y="943"/>
                  </a:cubicBezTo>
                  <a:cubicBezTo>
                    <a:pt x="368" y="943"/>
                    <a:pt x="348" y="943"/>
                    <a:pt x="348" y="922"/>
                  </a:cubicBezTo>
                  <a:cubicBezTo>
                    <a:pt x="348" y="922"/>
                    <a:pt x="328" y="922"/>
                    <a:pt x="328" y="902"/>
                  </a:cubicBezTo>
                  <a:lnTo>
                    <a:pt x="328" y="881"/>
                  </a:lnTo>
                  <a:lnTo>
                    <a:pt x="307" y="861"/>
                  </a:lnTo>
                  <a:cubicBezTo>
                    <a:pt x="286" y="861"/>
                    <a:pt x="286" y="861"/>
                    <a:pt x="266" y="861"/>
                  </a:cubicBezTo>
                  <a:cubicBezTo>
                    <a:pt x="266" y="861"/>
                    <a:pt x="266" y="861"/>
                    <a:pt x="246" y="861"/>
                  </a:cubicBezTo>
                  <a:cubicBezTo>
                    <a:pt x="246" y="841"/>
                    <a:pt x="246" y="841"/>
                    <a:pt x="246" y="841"/>
                  </a:cubicBezTo>
                  <a:lnTo>
                    <a:pt x="246" y="820"/>
                  </a:lnTo>
                  <a:lnTo>
                    <a:pt x="246" y="799"/>
                  </a:lnTo>
                  <a:lnTo>
                    <a:pt x="246" y="779"/>
                  </a:lnTo>
                  <a:cubicBezTo>
                    <a:pt x="246" y="779"/>
                    <a:pt x="225" y="779"/>
                    <a:pt x="225" y="759"/>
                  </a:cubicBezTo>
                  <a:lnTo>
                    <a:pt x="225" y="759"/>
                  </a:lnTo>
                  <a:cubicBezTo>
                    <a:pt x="225" y="738"/>
                    <a:pt x="225" y="738"/>
                    <a:pt x="225" y="738"/>
                  </a:cubicBezTo>
                  <a:cubicBezTo>
                    <a:pt x="204" y="717"/>
                    <a:pt x="204" y="697"/>
                    <a:pt x="204" y="697"/>
                  </a:cubicBezTo>
                  <a:cubicBezTo>
                    <a:pt x="204" y="677"/>
                    <a:pt x="184" y="677"/>
                    <a:pt x="164" y="656"/>
                  </a:cubicBezTo>
                  <a:lnTo>
                    <a:pt x="143" y="635"/>
                  </a:lnTo>
                  <a:lnTo>
                    <a:pt x="122" y="615"/>
                  </a:lnTo>
                  <a:lnTo>
                    <a:pt x="122" y="595"/>
                  </a:lnTo>
                  <a:lnTo>
                    <a:pt x="122" y="574"/>
                  </a:lnTo>
                  <a:lnTo>
                    <a:pt x="143" y="574"/>
                  </a:lnTo>
                  <a:lnTo>
                    <a:pt x="143" y="574"/>
                  </a:lnTo>
                  <a:cubicBezTo>
                    <a:pt x="164" y="574"/>
                    <a:pt x="164" y="553"/>
                    <a:pt x="164" y="553"/>
                  </a:cubicBezTo>
                  <a:lnTo>
                    <a:pt x="143" y="553"/>
                  </a:lnTo>
                  <a:cubicBezTo>
                    <a:pt x="143" y="533"/>
                    <a:pt x="122" y="533"/>
                    <a:pt x="122" y="533"/>
                  </a:cubicBezTo>
                  <a:lnTo>
                    <a:pt x="122" y="513"/>
                  </a:lnTo>
                  <a:cubicBezTo>
                    <a:pt x="102" y="513"/>
                    <a:pt x="122" y="492"/>
                    <a:pt x="122" y="492"/>
                  </a:cubicBezTo>
                  <a:cubicBezTo>
                    <a:pt x="122" y="471"/>
                    <a:pt x="122" y="451"/>
                    <a:pt x="122" y="451"/>
                  </a:cubicBezTo>
                  <a:cubicBezTo>
                    <a:pt x="102" y="431"/>
                    <a:pt x="102" y="410"/>
                    <a:pt x="102" y="410"/>
                  </a:cubicBezTo>
                  <a:cubicBezTo>
                    <a:pt x="102" y="410"/>
                    <a:pt x="82" y="389"/>
                    <a:pt x="82" y="369"/>
                  </a:cubicBezTo>
                  <a:lnTo>
                    <a:pt x="61" y="349"/>
                  </a:lnTo>
                  <a:lnTo>
                    <a:pt x="61" y="328"/>
                  </a:lnTo>
                  <a:cubicBezTo>
                    <a:pt x="61" y="307"/>
                    <a:pt x="61" y="307"/>
                    <a:pt x="61" y="307"/>
                  </a:cubicBezTo>
                  <a:cubicBezTo>
                    <a:pt x="61" y="287"/>
                    <a:pt x="61" y="287"/>
                    <a:pt x="61" y="287"/>
                  </a:cubicBezTo>
                  <a:cubicBezTo>
                    <a:pt x="40" y="287"/>
                    <a:pt x="40" y="287"/>
                    <a:pt x="40" y="287"/>
                  </a:cubicBezTo>
                  <a:cubicBezTo>
                    <a:pt x="20" y="287"/>
                    <a:pt x="20" y="287"/>
                    <a:pt x="20" y="287"/>
                  </a:cubicBezTo>
                  <a:cubicBezTo>
                    <a:pt x="20" y="267"/>
                    <a:pt x="0" y="267"/>
                    <a:pt x="0" y="246"/>
                  </a:cubicBezTo>
                  <a:cubicBezTo>
                    <a:pt x="20" y="246"/>
                    <a:pt x="20" y="246"/>
                    <a:pt x="20" y="225"/>
                  </a:cubicBezTo>
                  <a:cubicBezTo>
                    <a:pt x="20" y="225"/>
                    <a:pt x="20" y="246"/>
                    <a:pt x="20" y="225"/>
                  </a:cubicBezTo>
                  <a:cubicBezTo>
                    <a:pt x="40" y="225"/>
                    <a:pt x="40" y="225"/>
                    <a:pt x="40" y="225"/>
                  </a:cubicBezTo>
                  <a:lnTo>
                    <a:pt x="40" y="205"/>
                  </a:lnTo>
                  <a:cubicBezTo>
                    <a:pt x="40" y="185"/>
                    <a:pt x="40" y="185"/>
                    <a:pt x="40" y="164"/>
                  </a:cubicBezTo>
                  <a:cubicBezTo>
                    <a:pt x="40" y="164"/>
                    <a:pt x="40" y="144"/>
                    <a:pt x="40" y="123"/>
                  </a:cubicBezTo>
                  <a:cubicBezTo>
                    <a:pt x="40" y="123"/>
                    <a:pt x="20" y="123"/>
                    <a:pt x="20" y="103"/>
                  </a:cubicBezTo>
                  <a:lnTo>
                    <a:pt x="20" y="82"/>
                  </a:lnTo>
                  <a:cubicBezTo>
                    <a:pt x="20" y="62"/>
                    <a:pt x="20" y="62"/>
                    <a:pt x="20" y="41"/>
                  </a:cubicBezTo>
                  <a:cubicBezTo>
                    <a:pt x="0" y="41"/>
                    <a:pt x="20" y="41"/>
                    <a:pt x="0" y="21"/>
                  </a:cubicBezTo>
                  <a:lnTo>
                    <a:pt x="0" y="21"/>
                  </a:lnTo>
                  <a:cubicBezTo>
                    <a:pt x="20" y="21"/>
                    <a:pt x="20" y="21"/>
                    <a:pt x="20" y="21"/>
                  </a:cubicBezTo>
                  <a:cubicBezTo>
                    <a:pt x="40" y="21"/>
                    <a:pt x="40" y="0"/>
                    <a:pt x="40" y="0"/>
                  </a:cubicBezTo>
                  <a:cubicBezTo>
                    <a:pt x="61" y="0"/>
                    <a:pt x="82" y="21"/>
                    <a:pt x="82" y="21"/>
                  </a:cubicBezTo>
                  <a:cubicBezTo>
                    <a:pt x="82" y="21"/>
                    <a:pt x="102" y="21"/>
                    <a:pt x="102" y="41"/>
                  </a:cubicBezTo>
                  <a:cubicBezTo>
                    <a:pt x="102" y="41"/>
                    <a:pt x="122" y="21"/>
                    <a:pt x="122" y="41"/>
                  </a:cubicBezTo>
                  <a:cubicBezTo>
                    <a:pt x="122" y="41"/>
                    <a:pt x="143" y="41"/>
                    <a:pt x="143" y="62"/>
                  </a:cubicBezTo>
                  <a:lnTo>
                    <a:pt x="164" y="82"/>
                  </a:lnTo>
                  <a:lnTo>
                    <a:pt x="184" y="103"/>
                  </a:lnTo>
                  <a:lnTo>
                    <a:pt x="184" y="123"/>
                  </a:lnTo>
                  <a:cubicBezTo>
                    <a:pt x="184" y="144"/>
                    <a:pt x="184" y="144"/>
                    <a:pt x="164" y="144"/>
                  </a:cubicBezTo>
                  <a:cubicBezTo>
                    <a:pt x="164" y="164"/>
                    <a:pt x="164" y="164"/>
                    <a:pt x="164" y="185"/>
                  </a:cubicBezTo>
                  <a:cubicBezTo>
                    <a:pt x="164" y="185"/>
                    <a:pt x="164" y="205"/>
                    <a:pt x="164" y="225"/>
                  </a:cubicBezTo>
                  <a:cubicBezTo>
                    <a:pt x="164" y="225"/>
                    <a:pt x="184" y="225"/>
                    <a:pt x="204" y="225"/>
                  </a:cubicBezTo>
                  <a:lnTo>
                    <a:pt x="225" y="225"/>
                  </a:lnTo>
                  <a:cubicBezTo>
                    <a:pt x="246" y="225"/>
                    <a:pt x="246" y="205"/>
                    <a:pt x="246" y="185"/>
                  </a:cubicBezTo>
                  <a:cubicBezTo>
                    <a:pt x="246" y="185"/>
                    <a:pt x="246" y="164"/>
                    <a:pt x="266" y="164"/>
                  </a:cubicBezTo>
                  <a:cubicBezTo>
                    <a:pt x="266" y="164"/>
                    <a:pt x="286" y="164"/>
                    <a:pt x="307" y="164"/>
                  </a:cubicBezTo>
                  <a:lnTo>
                    <a:pt x="328" y="164"/>
                  </a:lnTo>
                  <a:cubicBezTo>
                    <a:pt x="348" y="164"/>
                    <a:pt x="348" y="144"/>
                    <a:pt x="368" y="123"/>
                  </a:cubicBezTo>
                  <a:lnTo>
                    <a:pt x="368" y="103"/>
                  </a:lnTo>
                  <a:cubicBezTo>
                    <a:pt x="389" y="103"/>
                    <a:pt x="389" y="82"/>
                    <a:pt x="410" y="82"/>
                  </a:cubicBezTo>
                  <a:lnTo>
                    <a:pt x="410" y="82"/>
                  </a:lnTo>
                  <a:cubicBezTo>
                    <a:pt x="410" y="103"/>
                    <a:pt x="430" y="103"/>
                    <a:pt x="430" y="103"/>
                  </a:cubicBezTo>
                  <a:cubicBezTo>
                    <a:pt x="430" y="123"/>
                    <a:pt x="450" y="144"/>
                    <a:pt x="450" y="144"/>
                  </a:cubicBezTo>
                  <a:cubicBezTo>
                    <a:pt x="450" y="164"/>
                    <a:pt x="471" y="164"/>
                    <a:pt x="471" y="185"/>
                  </a:cubicBezTo>
                  <a:lnTo>
                    <a:pt x="492" y="205"/>
                  </a:lnTo>
                  <a:cubicBezTo>
                    <a:pt x="492" y="225"/>
                    <a:pt x="512" y="225"/>
                    <a:pt x="512" y="246"/>
                  </a:cubicBezTo>
                  <a:cubicBezTo>
                    <a:pt x="532" y="246"/>
                    <a:pt x="553" y="267"/>
                    <a:pt x="553" y="287"/>
                  </a:cubicBezTo>
                  <a:cubicBezTo>
                    <a:pt x="574" y="287"/>
                    <a:pt x="574" y="307"/>
                    <a:pt x="574" y="307"/>
                  </a:cubicBezTo>
                  <a:cubicBezTo>
                    <a:pt x="574" y="328"/>
                    <a:pt x="594" y="349"/>
                    <a:pt x="594" y="349"/>
                  </a:cubicBezTo>
                  <a:cubicBezTo>
                    <a:pt x="594" y="369"/>
                    <a:pt x="594" y="389"/>
                    <a:pt x="594" y="410"/>
                  </a:cubicBezTo>
                  <a:cubicBezTo>
                    <a:pt x="594" y="431"/>
                    <a:pt x="594" y="451"/>
                    <a:pt x="594" y="471"/>
                  </a:cubicBezTo>
                  <a:cubicBezTo>
                    <a:pt x="614" y="492"/>
                    <a:pt x="614" y="513"/>
                    <a:pt x="614" y="533"/>
                  </a:cubicBezTo>
                  <a:cubicBezTo>
                    <a:pt x="614" y="553"/>
                    <a:pt x="614" y="574"/>
                    <a:pt x="614" y="574"/>
                  </a:cubicBezTo>
                  <a:cubicBezTo>
                    <a:pt x="614" y="595"/>
                    <a:pt x="614" y="615"/>
                    <a:pt x="614" y="615"/>
                  </a:cubicBezTo>
                  <a:lnTo>
                    <a:pt x="594" y="635"/>
                  </a:lnTo>
                  <a:cubicBezTo>
                    <a:pt x="594" y="656"/>
                    <a:pt x="594" y="677"/>
                    <a:pt x="614" y="697"/>
                  </a:cubicBezTo>
                  <a:cubicBezTo>
                    <a:pt x="614" y="697"/>
                    <a:pt x="614" y="738"/>
                    <a:pt x="614" y="759"/>
                  </a:cubicBezTo>
                  <a:lnTo>
                    <a:pt x="614" y="799"/>
                  </a:lnTo>
                  <a:cubicBezTo>
                    <a:pt x="614" y="820"/>
                    <a:pt x="614" y="820"/>
                    <a:pt x="614" y="841"/>
                  </a:cubicBezTo>
                  <a:cubicBezTo>
                    <a:pt x="614" y="841"/>
                    <a:pt x="635" y="841"/>
                    <a:pt x="635" y="861"/>
                  </a:cubicBezTo>
                  <a:cubicBezTo>
                    <a:pt x="656" y="861"/>
                    <a:pt x="656" y="861"/>
                    <a:pt x="676" y="861"/>
                  </a:cubicBezTo>
                  <a:cubicBezTo>
                    <a:pt x="676" y="881"/>
                    <a:pt x="676" y="881"/>
                    <a:pt x="696" y="902"/>
                  </a:cubicBezTo>
                  <a:cubicBezTo>
                    <a:pt x="696" y="902"/>
                    <a:pt x="696" y="922"/>
                    <a:pt x="696" y="943"/>
                  </a:cubicBezTo>
                  <a:cubicBezTo>
                    <a:pt x="696" y="943"/>
                    <a:pt x="696" y="963"/>
                    <a:pt x="717" y="983"/>
                  </a:cubicBezTo>
                  <a:lnTo>
                    <a:pt x="717" y="1004"/>
                  </a:lnTo>
                  <a:cubicBezTo>
                    <a:pt x="737" y="1025"/>
                    <a:pt x="737" y="1045"/>
                    <a:pt x="737" y="1065"/>
                  </a:cubicBezTo>
                  <a:cubicBezTo>
                    <a:pt x="758" y="1065"/>
                    <a:pt x="758" y="1086"/>
                    <a:pt x="758" y="1086"/>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4" name="Freeform 571">
              <a:extLst>
                <a:ext uri="{FF2B5EF4-FFF2-40B4-BE49-F238E27FC236}">
                  <a16:creationId xmlns:a16="http://schemas.microsoft.com/office/drawing/2014/main" id="{6702A9CB-DAE2-6C4E-A0B5-B49C9626511B}"/>
                </a:ext>
              </a:extLst>
            </p:cNvPr>
            <p:cNvSpPr>
              <a:spLocks noChangeArrowheads="1"/>
            </p:cNvSpPr>
            <p:nvPr/>
          </p:nvSpPr>
          <p:spPr bwMode="auto">
            <a:xfrm>
              <a:off x="4859338" y="6110288"/>
              <a:ext cx="546100" cy="1165225"/>
            </a:xfrm>
            <a:custGeom>
              <a:avLst/>
              <a:gdLst>
                <a:gd name="T0" fmla="*/ 1107 w 1518"/>
                <a:gd name="T1" fmla="*/ 1864 h 3238"/>
                <a:gd name="T2" fmla="*/ 1107 w 1518"/>
                <a:gd name="T3" fmla="*/ 1741 h 3238"/>
                <a:gd name="T4" fmla="*/ 1066 w 1518"/>
                <a:gd name="T5" fmla="*/ 1618 h 3238"/>
                <a:gd name="T6" fmla="*/ 922 w 1518"/>
                <a:gd name="T7" fmla="*/ 1536 h 3238"/>
                <a:gd name="T8" fmla="*/ 799 w 1518"/>
                <a:gd name="T9" fmla="*/ 1352 h 3238"/>
                <a:gd name="T10" fmla="*/ 697 w 1518"/>
                <a:gd name="T11" fmla="*/ 1188 h 3238"/>
                <a:gd name="T12" fmla="*/ 533 w 1518"/>
                <a:gd name="T13" fmla="*/ 983 h 3238"/>
                <a:gd name="T14" fmla="*/ 430 w 1518"/>
                <a:gd name="T15" fmla="*/ 880 h 3238"/>
                <a:gd name="T16" fmla="*/ 574 w 1518"/>
                <a:gd name="T17" fmla="*/ 758 h 3238"/>
                <a:gd name="T18" fmla="*/ 492 w 1518"/>
                <a:gd name="T19" fmla="*/ 655 h 3238"/>
                <a:gd name="T20" fmla="*/ 348 w 1518"/>
                <a:gd name="T21" fmla="*/ 573 h 3238"/>
                <a:gd name="T22" fmla="*/ 184 w 1518"/>
                <a:gd name="T23" fmla="*/ 491 h 3238"/>
                <a:gd name="T24" fmla="*/ 62 w 1518"/>
                <a:gd name="T25" fmla="*/ 307 h 3238"/>
                <a:gd name="T26" fmla="*/ 20 w 1518"/>
                <a:gd name="T27" fmla="*/ 164 h 3238"/>
                <a:gd name="T28" fmla="*/ 144 w 1518"/>
                <a:gd name="T29" fmla="*/ 184 h 3238"/>
                <a:gd name="T30" fmla="*/ 266 w 1518"/>
                <a:gd name="T31" fmla="*/ 143 h 3238"/>
                <a:gd name="T32" fmla="*/ 430 w 1518"/>
                <a:gd name="T33" fmla="*/ 82 h 3238"/>
                <a:gd name="T34" fmla="*/ 615 w 1518"/>
                <a:gd name="T35" fmla="*/ 82 h 3238"/>
                <a:gd name="T36" fmla="*/ 758 w 1518"/>
                <a:gd name="T37" fmla="*/ 204 h 3238"/>
                <a:gd name="T38" fmla="*/ 902 w 1518"/>
                <a:gd name="T39" fmla="*/ 368 h 3238"/>
                <a:gd name="T40" fmla="*/ 1004 w 1518"/>
                <a:gd name="T41" fmla="*/ 430 h 3238"/>
                <a:gd name="T42" fmla="*/ 922 w 1518"/>
                <a:gd name="T43" fmla="*/ 491 h 3238"/>
                <a:gd name="T44" fmla="*/ 820 w 1518"/>
                <a:gd name="T45" fmla="*/ 532 h 3238"/>
                <a:gd name="T46" fmla="*/ 799 w 1518"/>
                <a:gd name="T47" fmla="*/ 737 h 3238"/>
                <a:gd name="T48" fmla="*/ 717 w 1518"/>
                <a:gd name="T49" fmla="*/ 880 h 3238"/>
                <a:gd name="T50" fmla="*/ 738 w 1518"/>
                <a:gd name="T51" fmla="*/ 1024 h 3238"/>
                <a:gd name="T52" fmla="*/ 881 w 1518"/>
                <a:gd name="T53" fmla="*/ 1270 h 3238"/>
                <a:gd name="T54" fmla="*/ 1045 w 1518"/>
                <a:gd name="T55" fmla="*/ 1393 h 3238"/>
                <a:gd name="T56" fmla="*/ 1107 w 1518"/>
                <a:gd name="T57" fmla="*/ 1536 h 3238"/>
                <a:gd name="T58" fmla="*/ 1189 w 1518"/>
                <a:gd name="T59" fmla="*/ 1598 h 3238"/>
                <a:gd name="T60" fmla="*/ 1250 w 1518"/>
                <a:gd name="T61" fmla="*/ 1598 h 3238"/>
                <a:gd name="T62" fmla="*/ 1291 w 1518"/>
                <a:gd name="T63" fmla="*/ 1680 h 3238"/>
                <a:gd name="T64" fmla="*/ 1353 w 1518"/>
                <a:gd name="T65" fmla="*/ 1843 h 3238"/>
                <a:gd name="T66" fmla="*/ 1435 w 1518"/>
                <a:gd name="T67" fmla="*/ 2131 h 3238"/>
                <a:gd name="T68" fmla="*/ 1496 w 1518"/>
                <a:gd name="T69" fmla="*/ 2315 h 3238"/>
                <a:gd name="T70" fmla="*/ 1517 w 1518"/>
                <a:gd name="T71" fmla="*/ 2519 h 3238"/>
                <a:gd name="T72" fmla="*/ 1455 w 1518"/>
                <a:gd name="T73" fmla="*/ 2519 h 3238"/>
                <a:gd name="T74" fmla="*/ 1475 w 1518"/>
                <a:gd name="T75" fmla="*/ 2601 h 3238"/>
                <a:gd name="T76" fmla="*/ 1455 w 1518"/>
                <a:gd name="T77" fmla="*/ 2663 h 3238"/>
                <a:gd name="T78" fmla="*/ 1271 w 1518"/>
                <a:gd name="T79" fmla="*/ 2786 h 3238"/>
                <a:gd name="T80" fmla="*/ 1148 w 1518"/>
                <a:gd name="T81" fmla="*/ 2847 h 3238"/>
                <a:gd name="T82" fmla="*/ 1107 w 1518"/>
                <a:gd name="T83" fmla="*/ 2868 h 3238"/>
                <a:gd name="T84" fmla="*/ 1045 w 1518"/>
                <a:gd name="T85" fmla="*/ 2950 h 3238"/>
                <a:gd name="T86" fmla="*/ 1066 w 1518"/>
                <a:gd name="T87" fmla="*/ 3011 h 3238"/>
                <a:gd name="T88" fmla="*/ 1025 w 1518"/>
                <a:gd name="T89" fmla="*/ 3032 h 3238"/>
                <a:gd name="T90" fmla="*/ 922 w 1518"/>
                <a:gd name="T91" fmla="*/ 3135 h 3238"/>
                <a:gd name="T92" fmla="*/ 779 w 1518"/>
                <a:gd name="T93" fmla="*/ 3237 h 3238"/>
                <a:gd name="T94" fmla="*/ 779 w 1518"/>
                <a:gd name="T95" fmla="*/ 3196 h 3238"/>
                <a:gd name="T96" fmla="*/ 779 w 1518"/>
                <a:gd name="T97" fmla="*/ 3032 h 3238"/>
                <a:gd name="T98" fmla="*/ 881 w 1518"/>
                <a:gd name="T99" fmla="*/ 2929 h 3238"/>
                <a:gd name="T100" fmla="*/ 861 w 1518"/>
                <a:gd name="T101" fmla="*/ 2847 h 3238"/>
                <a:gd name="T102" fmla="*/ 779 w 1518"/>
                <a:gd name="T103" fmla="*/ 2909 h 3238"/>
                <a:gd name="T104" fmla="*/ 697 w 1518"/>
                <a:gd name="T105" fmla="*/ 2868 h 3238"/>
                <a:gd name="T106" fmla="*/ 840 w 1518"/>
                <a:gd name="T107" fmla="*/ 2765 h 3238"/>
                <a:gd name="T108" fmla="*/ 984 w 1518"/>
                <a:gd name="T109" fmla="*/ 2725 h 3238"/>
                <a:gd name="T110" fmla="*/ 922 w 1518"/>
                <a:gd name="T111" fmla="*/ 2581 h 3238"/>
                <a:gd name="T112" fmla="*/ 1066 w 1518"/>
                <a:gd name="T113" fmla="*/ 2479 h 3238"/>
                <a:gd name="T114" fmla="*/ 1189 w 1518"/>
                <a:gd name="T115" fmla="*/ 2274 h 3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18" h="3238">
                  <a:moveTo>
                    <a:pt x="1127" y="2028"/>
                  </a:moveTo>
                  <a:lnTo>
                    <a:pt x="1127" y="2028"/>
                  </a:lnTo>
                  <a:cubicBezTo>
                    <a:pt x="1127" y="2007"/>
                    <a:pt x="1127" y="2007"/>
                    <a:pt x="1127" y="2007"/>
                  </a:cubicBezTo>
                  <a:cubicBezTo>
                    <a:pt x="1127" y="1987"/>
                    <a:pt x="1127" y="1967"/>
                    <a:pt x="1127" y="1967"/>
                  </a:cubicBezTo>
                  <a:cubicBezTo>
                    <a:pt x="1127" y="1946"/>
                    <a:pt x="1107" y="1925"/>
                    <a:pt x="1107" y="1905"/>
                  </a:cubicBezTo>
                  <a:cubicBezTo>
                    <a:pt x="1107" y="1905"/>
                    <a:pt x="1107" y="1885"/>
                    <a:pt x="1107" y="1864"/>
                  </a:cubicBezTo>
                  <a:lnTo>
                    <a:pt x="1107" y="1843"/>
                  </a:lnTo>
                  <a:lnTo>
                    <a:pt x="1107" y="1823"/>
                  </a:lnTo>
                  <a:lnTo>
                    <a:pt x="1127" y="1803"/>
                  </a:lnTo>
                  <a:cubicBezTo>
                    <a:pt x="1127" y="1803"/>
                    <a:pt x="1127" y="1803"/>
                    <a:pt x="1127" y="1782"/>
                  </a:cubicBezTo>
                  <a:lnTo>
                    <a:pt x="1107" y="1762"/>
                  </a:lnTo>
                  <a:lnTo>
                    <a:pt x="1107" y="1741"/>
                  </a:lnTo>
                  <a:lnTo>
                    <a:pt x="1086" y="1741"/>
                  </a:lnTo>
                  <a:cubicBezTo>
                    <a:pt x="1066" y="1741"/>
                    <a:pt x="1066" y="1741"/>
                    <a:pt x="1045" y="1741"/>
                  </a:cubicBezTo>
                  <a:lnTo>
                    <a:pt x="1045" y="1721"/>
                  </a:lnTo>
                  <a:cubicBezTo>
                    <a:pt x="1045" y="1700"/>
                    <a:pt x="1045" y="1680"/>
                    <a:pt x="1045" y="1680"/>
                  </a:cubicBezTo>
                  <a:lnTo>
                    <a:pt x="1045" y="1659"/>
                  </a:lnTo>
                  <a:cubicBezTo>
                    <a:pt x="1066" y="1639"/>
                    <a:pt x="1066" y="1618"/>
                    <a:pt x="1066" y="1618"/>
                  </a:cubicBezTo>
                  <a:cubicBezTo>
                    <a:pt x="1066" y="1618"/>
                    <a:pt x="1066" y="1598"/>
                    <a:pt x="1045" y="1598"/>
                  </a:cubicBezTo>
                  <a:lnTo>
                    <a:pt x="1025" y="1577"/>
                  </a:lnTo>
                  <a:cubicBezTo>
                    <a:pt x="1004" y="1577"/>
                    <a:pt x="1004" y="1557"/>
                    <a:pt x="1004" y="1557"/>
                  </a:cubicBezTo>
                  <a:cubicBezTo>
                    <a:pt x="1004" y="1536"/>
                    <a:pt x="984" y="1516"/>
                    <a:pt x="984" y="1516"/>
                  </a:cubicBezTo>
                  <a:lnTo>
                    <a:pt x="963" y="1536"/>
                  </a:lnTo>
                  <a:cubicBezTo>
                    <a:pt x="943" y="1536"/>
                    <a:pt x="943" y="1536"/>
                    <a:pt x="922" y="1536"/>
                  </a:cubicBezTo>
                  <a:cubicBezTo>
                    <a:pt x="922" y="1516"/>
                    <a:pt x="902" y="1516"/>
                    <a:pt x="902" y="1516"/>
                  </a:cubicBezTo>
                  <a:cubicBezTo>
                    <a:pt x="902" y="1495"/>
                    <a:pt x="902" y="1475"/>
                    <a:pt x="902" y="1475"/>
                  </a:cubicBezTo>
                  <a:cubicBezTo>
                    <a:pt x="881" y="1454"/>
                    <a:pt x="861" y="1434"/>
                    <a:pt x="861" y="1434"/>
                  </a:cubicBezTo>
                  <a:cubicBezTo>
                    <a:pt x="861" y="1413"/>
                    <a:pt x="881" y="1393"/>
                    <a:pt x="861" y="1393"/>
                  </a:cubicBezTo>
                  <a:cubicBezTo>
                    <a:pt x="861" y="1372"/>
                    <a:pt x="861" y="1372"/>
                    <a:pt x="840" y="1352"/>
                  </a:cubicBezTo>
                  <a:cubicBezTo>
                    <a:pt x="840" y="1352"/>
                    <a:pt x="820" y="1352"/>
                    <a:pt x="799" y="1352"/>
                  </a:cubicBezTo>
                  <a:lnTo>
                    <a:pt x="799" y="1331"/>
                  </a:lnTo>
                  <a:cubicBezTo>
                    <a:pt x="779" y="1311"/>
                    <a:pt x="779" y="1311"/>
                    <a:pt x="758" y="1311"/>
                  </a:cubicBezTo>
                  <a:cubicBezTo>
                    <a:pt x="758" y="1311"/>
                    <a:pt x="758" y="1290"/>
                    <a:pt x="758" y="1270"/>
                  </a:cubicBezTo>
                  <a:cubicBezTo>
                    <a:pt x="738" y="1270"/>
                    <a:pt x="738" y="1249"/>
                    <a:pt x="738" y="1229"/>
                  </a:cubicBezTo>
                  <a:cubicBezTo>
                    <a:pt x="738" y="1229"/>
                    <a:pt x="738" y="1208"/>
                    <a:pt x="717" y="1208"/>
                  </a:cubicBezTo>
                  <a:lnTo>
                    <a:pt x="697" y="1188"/>
                  </a:lnTo>
                  <a:cubicBezTo>
                    <a:pt x="697" y="1188"/>
                    <a:pt x="676" y="1167"/>
                    <a:pt x="656" y="1167"/>
                  </a:cubicBezTo>
                  <a:cubicBezTo>
                    <a:pt x="656" y="1147"/>
                    <a:pt x="656" y="1147"/>
                    <a:pt x="656" y="1147"/>
                  </a:cubicBezTo>
                  <a:cubicBezTo>
                    <a:pt x="656" y="1126"/>
                    <a:pt x="636" y="1106"/>
                    <a:pt x="636" y="1086"/>
                  </a:cubicBezTo>
                  <a:cubicBezTo>
                    <a:pt x="636" y="1065"/>
                    <a:pt x="615" y="1044"/>
                    <a:pt x="594" y="1044"/>
                  </a:cubicBezTo>
                  <a:cubicBezTo>
                    <a:pt x="594" y="1024"/>
                    <a:pt x="574" y="1024"/>
                    <a:pt x="574" y="1004"/>
                  </a:cubicBezTo>
                  <a:cubicBezTo>
                    <a:pt x="554" y="1004"/>
                    <a:pt x="533" y="1004"/>
                    <a:pt x="533" y="983"/>
                  </a:cubicBezTo>
                  <a:cubicBezTo>
                    <a:pt x="512" y="983"/>
                    <a:pt x="492" y="983"/>
                    <a:pt x="472" y="983"/>
                  </a:cubicBezTo>
                  <a:cubicBezTo>
                    <a:pt x="472" y="962"/>
                    <a:pt x="451" y="962"/>
                    <a:pt x="451" y="962"/>
                  </a:cubicBezTo>
                  <a:lnTo>
                    <a:pt x="430" y="942"/>
                  </a:lnTo>
                  <a:lnTo>
                    <a:pt x="410" y="922"/>
                  </a:lnTo>
                  <a:cubicBezTo>
                    <a:pt x="410" y="901"/>
                    <a:pt x="430" y="901"/>
                    <a:pt x="430" y="901"/>
                  </a:cubicBezTo>
                  <a:cubicBezTo>
                    <a:pt x="430" y="880"/>
                    <a:pt x="430" y="880"/>
                    <a:pt x="430" y="880"/>
                  </a:cubicBezTo>
                  <a:cubicBezTo>
                    <a:pt x="451" y="880"/>
                    <a:pt x="451" y="880"/>
                    <a:pt x="472" y="880"/>
                  </a:cubicBezTo>
                  <a:cubicBezTo>
                    <a:pt x="472" y="860"/>
                    <a:pt x="472" y="860"/>
                    <a:pt x="492" y="860"/>
                  </a:cubicBezTo>
                  <a:cubicBezTo>
                    <a:pt x="492" y="860"/>
                    <a:pt x="492" y="840"/>
                    <a:pt x="512" y="840"/>
                  </a:cubicBezTo>
                  <a:cubicBezTo>
                    <a:pt x="512" y="819"/>
                    <a:pt x="512" y="819"/>
                    <a:pt x="533" y="819"/>
                  </a:cubicBezTo>
                  <a:cubicBezTo>
                    <a:pt x="533" y="798"/>
                    <a:pt x="533" y="798"/>
                    <a:pt x="554" y="778"/>
                  </a:cubicBezTo>
                  <a:cubicBezTo>
                    <a:pt x="554" y="778"/>
                    <a:pt x="574" y="778"/>
                    <a:pt x="574" y="758"/>
                  </a:cubicBezTo>
                  <a:lnTo>
                    <a:pt x="554" y="737"/>
                  </a:lnTo>
                  <a:cubicBezTo>
                    <a:pt x="533" y="716"/>
                    <a:pt x="533" y="716"/>
                    <a:pt x="512" y="716"/>
                  </a:cubicBezTo>
                  <a:cubicBezTo>
                    <a:pt x="512" y="716"/>
                    <a:pt x="512" y="696"/>
                    <a:pt x="492" y="696"/>
                  </a:cubicBezTo>
                  <a:lnTo>
                    <a:pt x="492" y="676"/>
                  </a:lnTo>
                  <a:lnTo>
                    <a:pt x="492" y="655"/>
                  </a:lnTo>
                  <a:lnTo>
                    <a:pt x="492" y="655"/>
                  </a:lnTo>
                  <a:cubicBezTo>
                    <a:pt x="472" y="655"/>
                    <a:pt x="472" y="634"/>
                    <a:pt x="472" y="634"/>
                  </a:cubicBezTo>
                  <a:cubicBezTo>
                    <a:pt x="472" y="614"/>
                    <a:pt x="451" y="614"/>
                    <a:pt x="451" y="614"/>
                  </a:cubicBezTo>
                  <a:cubicBezTo>
                    <a:pt x="451" y="614"/>
                    <a:pt x="451" y="594"/>
                    <a:pt x="451" y="573"/>
                  </a:cubicBezTo>
                  <a:cubicBezTo>
                    <a:pt x="451" y="573"/>
                    <a:pt x="430" y="573"/>
                    <a:pt x="430" y="552"/>
                  </a:cubicBezTo>
                  <a:cubicBezTo>
                    <a:pt x="410" y="552"/>
                    <a:pt x="390" y="552"/>
                    <a:pt x="390" y="552"/>
                  </a:cubicBezTo>
                  <a:cubicBezTo>
                    <a:pt x="369" y="552"/>
                    <a:pt x="348" y="552"/>
                    <a:pt x="348" y="573"/>
                  </a:cubicBezTo>
                  <a:lnTo>
                    <a:pt x="348" y="573"/>
                  </a:lnTo>
                  <a:cubicBezTo>
                    <a:pt x="348" y="573"/>
                    <a:pt x="328" y="594"/>
                    <a:pt x="308" y="594"/>
                  </a:cubicBezTo>
                  <a:lnTo>
                    <a:pt x="266" y="614"/>
                  </a:lnTo>
                  <a:lnTo>
                    <a:pt x="246" y="594"/>
                  </a:lnTo>
                  <a:cubicBezTo>
                    <a:pt x="246" y="573"/>
                    <a:pt x="226" y="573"/>
                    <a:pt x="226" y="552"/>
                  </a:cubicBezTo>
                  <a:cubicBezTo>
                    <a:pt x="226" y="532"/>
                    <a:pt x="205" y="512"/>
                    <a:pt x="184" y="491"/>
                  </a:cubicBezTo>
                  <a:cubicBezTo>
                    <a:pt x="184" y="491"/>
                    <a:pt x="164" y="470"/>
                    <a:pt x="144" y="450"/>
                  </a:cubicBezTo>
                  <a:lnTo>
                    <a:pt x="144" y="430"/>
                  </a:lnTo>
                  <a:cubicBezTo>
                    <a:pt x="144" y="410"/>
                    <a:pt x="144" y="389"/>
                    <a:pt x="144" y="389"/>
                  </a:cubicBezTo>
                  <a:lnTo>
                    <a:pt x="123" y="368"/>
                  </a:lnTo>
                  <a:cubicBezTo>
                    <a:pt x="123" y="348"/>
                    <a:pt x="102" y="348"/>
                    <a:pt x="102" y="328"/>
                  </a:cubicBezTo>
                  <a:cubicBezTo>
                    <a:pt x="82" y="328"/>
                    <a:pt x="82" y="328"/>
                    <a:pt x="62" y="307"/>
                  </a:cubicBezTo>
                  <a:lnTo>
                    <a:pt x="41" y="286"/>
                  </a:lnTo>
                  <a:cubicBezTo>
                    <a:pt x="41" y="286"/>
                    <a:pt x="20" y="266"/>
                    <a:pt x="20" y="246"/>
                  </a:cubicBezTo>
                  <a:cubicBezTo>
                    <a:pt x="20" y="246"/>
                    <a:pt x="0" y="246"/>
                    <a:pt x="0" y="225"/>
                  </a:cubicBezTo>
                  <a:lnTo>
                    <a:pt x="0" y="225"/>
                  </a:lnTo>
                  <a:cubicBezTo>
                    <a:pt x="20" y="225"/>
                    <a:pt x="20" y="204"/>
                    <a:pt x="20" y="204"/>
                  </a:cubicBezTo>
                  <a:cubicBezTo>
                    <a:pt x="20" y="204"/>
                    <a:pt x="20" y="184"/>
                    <a:pt x="20" y="164"/>
                  </a:cubicBezTo>
                  <a:lnTo>
                    <a:pt x="41" y="164"/>
                  </a:lnTo>
                  <a:lnTo>
                    <a:pt x="62" y="164"/>
                  </a:lnTo>
                  <a:lnTo>
                    <a:pt x="82" y="184"/>
                  </a:lnTo>
                  <a:cubicBezTo>
                    <a:pt x="82" y="184"/>
                    <a:pt x="82" y="204"/>
                    <a:pt x="102" y="204"/>
                  </a:cubicBezTo>
                  <a:cubicBezTo>
                    <a:pt x="102" y="225"/>
                    <a:pt x="123" y="204"/>
                    <a:pt x="144" y="204"/>
                  </a:cubicBezTo>
                  <a:lnTo>
                    <a:pt x="144" y="184"/>
                  </a:lnTo>
                  <a:cubicBezTo>
                    <a:pt x="164" y="184"/>
                    <a:pt x="144" y="184"/>
                    <a:pt x="144" y="164"/>
                  </a:cubicBezTo>
                  <a:cubicBezTo>
                    <a:pt x="164" y="164"/>
                    <a:pt x="164" y="143"/>
                    <a:pt x="164" y="143"/>
                  </a:cubicBezTo>
                  <a:lnTo>
                    <a:pt x="184" y="143"/>
                  </a:lnTo>
                  <a:cubicBezTo>
                    <a:pt x="205" y="143"/>
                    <a:pt x="226" y="164"/>
                    <a:pt x="226" y="164"/>
                  </a:cubicBezTo>
                  <a:lnTo>
                    <a:pt x="246" y="143"/>
                  </a:lnTo>
                  <a:cubicBezTo>
                    <a:pt x="266" y="143"/>
                    <a:pt x="266" y="143"/>
                    <a:pt x="266" y="143"/>
                  </a:cubicBezTo>
                  <a:cubicBezTo>
                    <a:pt x="287" y="122"/>
                    <a:pt x="287" y="122"/>
                    <a:pt x="308" y="122"/>
                  </a:cubicBezTo>
                  <a:cubicBezTo>
                    <a:pt x="308" y="122"/>
                    <a:pt x="308" y="122"/>
                    <a:pt x="328" y="143"/>
                  </a:cubicBezTo>
                  <a:lnTo>
                    <a:pt x="348" y="143"/>
                  </a:lnTo>
                  <a:lnTo>
                    <a:pt x="369" y="122"/>
                  </a:lnTo>
                  <a:cubicBezTo>
                    <a:pt x="390" y="122"/>
                    <a:pt x="410" y="122"/>
                    <a:pt x="410" y="102"/>
                  </a:cubicBezTo>
                  <a:cubicBezTo>
                    <a:pt x="430" y="102"/>
                    <a:pt x="430" y="102"/>
                    <a:pt x="430" y="82"/>
                  </a:cubicBezTo>
                  <a:lnTo>
                    <a:pt x="430" y="61"/>
                  </a:lnTo>
                  <a:cubicBezTo>
                    <a:pt x="430" y="61"/>
                    <a:pt x="430" y="40"/>
                    <a:pt x="430" y="20"/>
                  </a:cubicBezTo>
                  <a:cubicBezTo>
                    <a:pt x="451" y="20"/>
                    <a:pt x="472" y="0"/>
                    <a:pt x="472" y="0"/>
                  </a:cubicBezTo>
                  <a:cubicBezTo>
                    <a:pt x="492" y="0"/>
                    <a:pt x="512" y="20"/>
                    <a:pt x="512" y="20"/>
                  </a:cubicBezTo>
                  <a:cubicBezTo>
                    <a:pt x="533" y="40"/>
                    <a:pt x="554" y="61"/>
                    <a:pt x="574" y="61"/>
                  </a:cubicBezTo>
                  <a:cubicBezTo>
                    <a:pt x="574" y="82"/>
                    <a:pt x="615" y="82"/>
                    <a:pt x="615" y="82"/>
                  </a:cubicBezTo>
                  <a:lnTo>
                    <a:pt x="636" y="82"/>
                  </a:lnTo>
                  <a:cubicBezTo>
                    <a:pt x="656" y="102"/>
                    <a:pt x="676" y="102"/>
                    <a:pt x="697" y="102"/>
                  </a:cubicBezTo>
                  <a:cubicBezTo>
                    <a:pt x="697" y="102"/>
                    <a:pt x="738" y="102"/>
                    <a:pt x="758" y="102"/>
                  </a:cubicBezTo>
                  <a:cubicBezTo>
                    <a:pt x="758" y="122"/>
                    <a:pt x="779" y="143"/>
                    <a:pt x="779" y="143"/>
                  </a:cubicBezTo>
                  <a:cubicBezTo>
                    <a:pt x="779" y="143"/>
                    <a:pt x="779" y="164"/>
                    <a:pt x="758" y="164"/>
                  </a:cubicBezTo>
                  <a:cubicBezTo>
                    <a:pt x="758" y="184"/>
                    <a:pt x="758" y="184"/>
                    <a:pt x="758" y="204"/>
                  </a:cubicBezTo>
                  <a:cubicBezTo>
                    <a:pt x="738" y="204"/>
                    <a:pt x="738" y="225"/>
                    <a:pt x="758" y="246"/>
                  </a:cubicBezTo>
                  <a:cubicBezTo>
                    <a:pt x="758" y="246"/>
                    <a:pt x="758" y="266"/>
                    <a:pt x="779" y="286"/>
                  </a:cubicBezTo>
                  <a:lnTo>
                    <a:pt x="799" y="286"/>
                  </a:lnTo>
                  <a:cubicBezTo>
                    <a:pt x="820" y="307"/>
                    <a:pt x="840" y="307"/>
                    <a:pt x="840" y="307"/>
                  </a:cubicBezTo>
                  <a:lnTo>
                    <a:pt x="861" y="328"/>
                  </a:lnTo>
                  <a:cubicBezTo>
                    <a:pt x="881" y="348"/>
                    <a:pt x="902" y="348"/>
                    <a:pt x="902" y="368"/>
                  </a:cubicBezTo>
                  <a:lnTo>
                    <a:pt x="922" y="368"/>
                  </a:lnTo>
                  <a:lnTo>
                    <a:pt x="963" y="368"/>
                  </a:lnTo>
                  <a:cubicBezTo>
                    <a:pt x="984" y="389"/>
                    <a:pt x="1004" y="368"/>
                    <a:pt x="1004" y="389"/>
                  </a:cubicBezTo>
                  <a:cubicBezTo>
                    <a:pt x="1025" y="389"/>
                    <a:pt x="1025" y="389"/>
                    <a:pt x="1045" y="389"/>
                  </a:cubicBezTo>
                  <a:cubicBezTo>
                    <a:pt x="1025" y="389"/>
                    <a:pt x="1025" y="410"/>
                    <a:pt x="1025" y="410"/>
                  </a:cubicBezTo>
                  <a:cubicBezTo>
                    <a:pt x="1025" y="410"/>
                    <a:pt x="1004" y="410"/>
                    <a:pt x="1004" y="430"/>
                  </a:cubicBezTo>
                  <a:lnTo>
                    <a:pt x="1004" y="430"/>
                  </a:lnTo>
                  <a:cubicBezTo>
                    <a:pt x="1004" y="450"/>
                    <a:pt x="984" y="450"/>
                    <a:pt x="984" y="450"/>
                  </a:cubicBezTo>
                  <a:lnTo>
                    <a:pt x="963" y="450"/>
                  </a:lnTo>
                  <a:lnTo>
                    <a:pt x="963" y="450"/>
                  </a:lnTo>
                  <a:cubicBezTo>
                    <a:pt x="943" y="470"/>
                    <a:pt x="943" y="470"/>
                    <a:pt x="943" y="470"/>
                  </a:cubicBezTo>
                  <a:lnTo>
                    <a:pt x="922" y="491"/>
                  </a:lnTo>
                  <a:lnTo>
                    <a:pt x="902" y="491"/>
                  </a:lnTo>
                  <a:lnTo>
                    <a:pt x="881" y="491"/>
                  </a:lnTo>
                  <a:lnTo>
                    <a:pt x="861" y="491"/>
                  </a:lnTo>
                  <a:lnTo>
                    <a:pt x="840" y="491"/>
                  </a:lnTo>
                  <a:cubicBezTo>
                    <a:pt x="840" y="512"/>
                    <a:pt x="840" y="512"/>
                    <a:pt x="820" y="512"/>
                  </a:cubicBezTo>
                  <a:lnTo>
                    <a:pt x="820" y="532"/>
                  </a:lnTo>
                  <a:cubicBezTo>
                    <a:pt x="820" y="552"/>
                    <a:pt x="820" y="573"/>
                    <a:pt x="820" y="594"/>
                  </a:cubicBezTo>
                  <a:lnTo>
                    <a:pt x="820" y="614"/>
                  </a:lnTo>
                  <a:cubicBezTo>
                    <a:pt x="820" y="614"/>
                    <a:pt x="820" y="634"/>
                    <a:pt x="820" y="655"/>
                  </a:cubicBezTo>
                  <a:lnTo>
                    <a:pt x="820" y="676"/>
                  </a:lnTo>
                  <a:cubicBezTo>
                    <a:pt x="820" y="696"/>
                    <a:pt x="820" y="716"/>
                    <a:pt x="799" y="716"/>
                  </a:cubicBezTo>
                  <a:lnTo>
                    <a:pt x="799" y="737"/>
                  </a:lnTo>
                  <a:cubicBezTo>
                    <a:pt x="779" y="737"/>
                    <a:pt x="779" y="737"/>
                    <a:pt x="779" y="737"/>
                  </a:cubicBezTo>
                  <a:cubicBezTo>
                    <a:pt x="758" y="737"/>
                    <a:pt x="758" y="758"/>
                    <a:pt x="738" y="758"/>
                  </a:cubicBezTo>
                  <a:lnTo>
                    <a:pt x="738" y="758"/>
                  </a:lnTo>
                  <a:cubicBezTo>
                    <a:pt x="717" y="778"/>
                    <a:pt x="717" y="798"/>
                    <a:pt x="717" y="798"/>
                  </a:cubicBezTo>
                  <a:cubicBezTo>
                    <a:pt x="717" y="819"/>
                    <a:pt x="717" y="840"/>
                    <a:pt x="717" y="840"/>
                  </a:cubicBezTo>
                  <a:cubicBezTo>
                    <a:pt x="717" y="860"/>
                    <a:pt x="717" y="860"/>
                    <a:pt x="717" y="880"/>
                  </a:cubicBezTo>
                  <a:lnTo>
                    <a:pt x="717" y="901"/>
                  </a:lnTo>
                  <a:cubicBezTo>
                    <a:pt x="717" y="922"/>
                    <a:pt x="717" y="922"/>
                    <a:pt x="717" y="942"/>
                  </a:cubicBezTo>
                  <a:cubicBezTo>
                    <a:pt x="717" y="942"/>
                    <a:pt x="717" y="942"/>
                    <a:pt x="717" y="962"/>
                  </a:cubicBezTo>
                  <a:cubicBezTo>
                    <a:pt x="697" y="962"/>
                    <a:pt x="697" y="962"/>
                    <a:pt x="697" y="983"/>
                  </a:cubicBezTo>
                  <a:cubicBezTo>
                    <a:pt x="697" y="983"/>
                    <a:pt x="717" y="983"/>
                    <a:pt x="717" y="1004"/>
                  </a:cubicBezTo>
                  <a:cubicBezTo>
                    <a:pt x="717" y="1004"/>
                    <a:pt x="717" y="1024"/>
                    <a:pt x="738" y="1024"/>
                  </a:cubicBezTo>
                  <a:cubicBezTo>
                    <a:pt x="738" y="1044"/>
                    <a:pt x="738" y="1044"/>
                    <a:pt x="758" y="1065"/>
                  </a:cubicBezTo>
                  <a:cubicBezTo>
                    <a:pt x="758" y="1065"/>
                    <a:pt x="779" y="1086"/>
                    <a:pt x="779" y="1106"/>
                  </a:cubicBezTo>
                  <a:cubicBezTo>
                    <a:pt x="799" y="1106"/>
                    <a:pt x="820" y="1126"/>
                    <a:pt x="840" y="1147"/>
                  </a:cubicBezTo>
                  <a:cubicBezTo>
                    <a:pt x="840" y="1167"/>
                    <a:pt x="861" y="1188"/>
                    <a:pt x="861" y="1188"/>
                  </a:cubicBezTo>
                  <a:cubicBezTo>
                    <a:pt x="881" y="1208"/>
                    <a:pt x="881" y="1229"/>
                    <a:pt x="881" y="1229"/>
                  </a:cubicBezTo>
                  <a:cubicBezTo>
                    <a:pt x="881" y="1249"/>
                    <a:pt x="881" y="1249"/>
                    <a:pt x="881" y="1270"/>
                  </a:cubicBezTo>
                  <a:lnTo>
                    <a:pt x="902" y="1270"/>
                  </a:lnTo>
                  <a:cubicBezTo>
                    <a:pt x="922" y="1270"/>
                    <a:pt x="943" y="1290"/>
                    <a:pt x="943" y="1311"/>
                  </a:cubicBezTo>
                  <a:cubicBezTo>
                    <a:pt x="943" y="1311"/>
                    <a:pt x="943" y="1331"/>
                    <a:pt x="943" y="1352"/>
                  </a:cubicBezTo>
                  <a:cubicBezTo>
                    <a:pt x="963" y="1352"/>
                    <a:pt x="963" y="1372"/>
                    <a:pt x="984" y="1372"/>
                  </a:cubicBezTo>
                  <a:lnTo>
                    <a:pt x="1004" y="1393"/>
                  </a:lnTo>
                  <a:cubicBezTo>
                    <a:pt x="1004" y="1393"/>
                    <a:pt x="1025" y="1393"/>
                    <a:pt x="1045" y="1393"/>
                  </a:cubicBezTo>
                  <a:cubicBezTo>
                    <a:pt x="1045" y="1413"/>
                    <a:pt x="1066" y="1434"/>
                    <a:pt x="1066" y="1434"/>
                  </a:cubicBezTo>
                  <a:cubicBezTo>
                    <a:pt x="1066" y="1454"/>
                    <a:pt x="1066" y="1454"/>
                    <a:pt x="1066" y="1475"/>
                  </a:cubicBezTo>
                  <a:lnTo>
                    <a:pt x="1066" y="1495"/>
                  </a:lnTo>
                  <a:cubicBezTo>
                    <a:pt x="1066" y="1516"/>
                    <a:pt x="1066" y="1516"/>
                    <a:pt x="1086" y="1516"/>
                  </a:cubicBezTo>
                  <a:cubicBezTo>
                    <a:pt x="1086" y="1536"/>
                    <a:pt x="1107" y="1536"/>
                    <a:pt x="1107" y="1536"/>
                  </a:cubicBezTo>
                  <a:lnTo>
                    <a:pt x="1107" y="1536"/>
                  </a:lnTo>
                  <a:cubicBezTo>
                    <a:pt x="1127" y="1536"/>
                    <a:pt x="1127" y="1536"/>
                    <a:pt x="1127" y="1536"/>
                  </a:cubicBezTo>
                  <a:cubicBezTo>
                    <a:pt x="1148" y="1536"/>
                    <a:pt x="1148" y="1516"/>
                    <a:pt x="1148" y="1516"/>
                  </a:cubicBezTo>
                  <a:cubicBezTo>
                    <a:pt x="1148" y="1516"/>
                    <a:pt x="1148" y="1536"/>
                    <a:pt x="1168" y="1536"/>
                  </a:cubicBezTo>
                  <a:cubicBezTo>
                    <a:pt x="1168" y="1536"/>
                    <a:pt x="1168" y="1536"/>
                    <a:pt x="1168" y="1557"/>
                  </a:cubicBezTo>
                  <a:lnTo>
                    <a:pt x="1189" y="1557"/>
                  </a:lnTo>
                  <a:cubicBezTo>
                    <a:pt x="1189" y="1577"/>
                    <a:pt x="1189" y="1577"/>
                    <a:pt x="1189" y="1598"/>
                  </a:cubicBezTo>
                  <a:lnTo>
                    <a:pt x="1189" y="1598"/>
                  </a:lnTo>
                  <a:cubicBezTo>
                    <a:pt x="1209" y="1598"/>
                    <a:pt x="1209" y="1577"/>
                    <a:pt x="1209" y="1577"/>
                  </a:cubicBezTo>
                  <a:lnTo>
                    <a:pt x="1209" y="1577"/>
                  </a:lnTo>
                  <a:cubicBezTo>
                    <a:pt x="1230" y="1577"/>
                    <a:pt x="1230" y="1577"/>
                    <a:pt x="1230" y="1577"/>
                  </a:cubicBezTo>
                  <a:cubicBezTo>
                    <a:pt x="1230" y="1557"/>
                    <a:pt x="1250" y="1577"/>
                    <a:pt x="1250" y="1577"/>
                  </a:cubicBezTo>
                  <a:cubicBezTo>
                    <a:pt x="1250" y="1577"/>
                    <a:pt x="1250" y="1577"/>
                    <a:pt x="1250" y="1598"/>
                  </a:cubicBezTo>
                  <a:lnTo>
                    <a:pt x="1230" y="1598"/>
                  </a:lnTo>
                  <a:lnTo>
                    <a:pt x="1230" y="1618"/>
                  </a:lnTo>
                  <a:cubicBezTo>
                    <a:pt x="1230" y="1618"/>
                    <a:pt x="1230" y="1639"/>
                    <a:pt x="1250" y="1639"/>
                  </a:cubicBezTo>
                  <a:cubicBezTo>
                    <a:pt x="1250" y="1659"/>
                    <a:pt x="1250" y="1659"/>
                    <a:pt x="1250" y="1659"/>
                  </a:cubicBezTo>
                  <a:cubicBezTo>
                    <a:pt x="1271" y="1659"/>
                    <a:pt x="1271" y="1659"/>
                    <a:pt x="1271" y="1659"/>
                  </a:cubicBezTo>
                  <a:cubicBezTo>
                    <a:pt x="1271" y="1680"/>
                    <a:pt x="1291" y="1680"/>
                    <a:pt x="1291" y="1680"/>
                  </a:cubicBezTo>
                  <a:cubicBezTo>
                    <a:pt x="1291" y="1700"/>
                    <a:pt x="1291" y="1700"/>
                    <a:pt x="1291" y="1721"/>
                  </a:cubicBezTo>
                  <a:lnTo>
                    <a:pt x="1312" y="1721"/>
                  </a:lnTo>
                  <a:cubicBezTo>
                    <a:pt x="1312" y="1741"/>
                    <a:pt x="1332" y="1741"/>
                    <a:pt x="1332" y="1741"/>
                  </a:cubicBezTo>
                  <a:cubicBezTo>
                    <a:pt x="1332" y="1762"/>
                    <a:pt x="1332" y="1782"/>
                    <a:pt x="1332" y="1782"/>
                  </a:cubicBezTo>
                  <a:cubicBezTo>
                    <a:pt x="1332" y="1782"/>
                    <a:pt x="1332" y="1803"/>
                    <a:pt x="1332" y="1823"/>
                  </a:cubicBezTo>
                  <a:lnTo>
                    <a:pt x="1353" y="1843"/>
                  </a:lnTo>
                  <a:cubicBezTo>
                    <a:pt x="1373" y="1864"/>
                    <a:pt x="1373" y="1885"/>
                    <a:pt x="1394" y="1885"/>
                  </a:cubicBezTo>
                  <a:cubicBezTo>
                    <a:pt x="1394" y="1905"/>
                    <a:pt x="1394" y="1946"/>
                    <a:pt x="1414" y="1967"/>
                  </a:cubicBezTo>
                  <a:cubicBezTo>
                    <a:pt x="1414" y="1967"/>
                    <a:pt x="1414" y="2007"/>
                    <a:pt x="1435" y="2028"/>
                  </a:cubicBezTo>
                  <a:cubicBezTo>
                    <a:pt x="1435" y="2028"/>
                    <a:pt x="1455" y="2049"/>
                    <a:pt x="1455" y="2069"/>
                  </a:cubicBezTo>
                  <a:lnTo>
                    <a:pt x="1455" y="2089"/>
                  </a:lnTo>
                  <a:cubicBezTo>
                    <a:pt x="1455" y="2110"/>
                    <a:pt x="1435" y="2110"/>
                    <a:pt x="1435" y="2131"/>
                  </a:cubicBezTo>
                  <a:cubicBezTo>
                    <a:pt x="1435" y="2131"/>
                    <a:pt x="1455" y="2131"/>
                    <a:pt x="1455" y="2151"/>
                  </a:cubicBezTo>
                  <a:lnTo>
                    <a:pt x="1455" y="2171"/>
                  </a:lnTo>
                  <a:cubicBezTo>
                    <a:pt x="1455" y="2192"/>
                    <a:pt x="1455" y="2213"/>
                    <a:pt x="1455" y="2213"/>
                  </a:cubicBezTo>
                  <a:cubicBezTo>
                    <a:pt x="1455" y="2233"/>
                    <a:pt x="1475" y="2253"/>
                    <a:pt x="1496" y="2253"/>
                  </a:cubicBezTo>
                  <a:cubicBezTo>
                    <a:pt x="1496" y="2274"/>
                    <a:pt x="1496" y="2274"/>
                    <a:pt x="1496" y="2295"/>
                  </a:cubicBezTo>
                  <a:lnTo>
                    <a:pt x="1496" y="2315"/>
                  </a:lnTo>
                  <a:cubicBezTo>
                    <a:pt x="1496" y="2335"/>
                    <a:pt x="1496" y="2356"/>
                    <a:pt x="1496" y="2377"/>
                  </a:cubicBezTo>
                  <a:cubicBezTo>
                    <a:pt x="1475" y="2377"/>
                    <a:pt x="1475" y="2397"/>
                    <a:pt x="1475" y="2417"/>
                  </a:cubicBezTo>
                  <a:lnTo>
                    <a:pt x="1496" y="2438"/>
                  </a:lnTo>
                  <a:cubicBezTo>
                    <a:pt x="1496" y="2438"/>
                    <a:pt x="1496" y="2459"/>
                    <a:pt x="1517" y="2479"/>
                  </a:cubicBezTo>
                  <a:cubicBezTo>
                    <a:pt x="1517" y="2479"/>
                    <a:pt x="1517" y="2479"/>
                    <a:pt x="1517" y="2499"/>
                  </a:cubicBezTo>
                  <a:lnTo>
                    <a:pt x="1517" y="2519"/>
                  </a:lnTo>
                  <a:lnTo>
                    <a:pt x="1496" y="2519"/>
                  </a:lnTo>
                  <a:lnTo>
                    <a:pt x="1496" y="2499"/>
                  </a:lnTo>
                  <a:cubicBezTo>
                    <a:pt x="1496" y="2499"/>
                    <a:pt x="1496" y="2499"/>
                    <a:pt x="1475" y="2499"/>
                  </a:cubicBezTo>
                  <a:lnTo>
                    <a:pt x="1475" y="2499"/>
                  </a:lnTo>
                  <a:cubicBezTo>
                    <a:pt x="1475" y="2519"/>
                    <a:pt x="1475" y="2519"/>
                    <a:pt x="1475" y="2519"/>
                  </a:cubicBezTo>
                  <a:lnTo>
                    <a:pt x="1455" y="2519"/>
                  </a:lnTo>
                  <a:cubicBezTo>
                    <a:pt x="1455" y="2540"/>
                    <a:pt x="1455" y="2540"/>
                    <a:pt x="1455" y="2540"/>
                  </a:cubicBezTo>
                  <a:lnTo>
                    <a:pt x="1475" y="2540"/>
                  </a:lnTo>
                  <a:cubicBezTo>
                    <a:pt x="1475" y="2540"/>
                    <a:pt x="1475" y="2561"/>
                    <a:pt x="1496" y="2561"/>
                  </a:cubicBezTo>
                  <a:lnTo>
                    <a:pt x="1496" y="2581"/>
                  </a:lnTo>
                  <a:cubicBezTo>
                    <a:pt x="1496" y="2581"/>
                    <a:pt x="1496" y="2601"/>
                    <a:pt x="1475" y="2601"/>
                  </a:cubicBezTo>
                  <a:lnTo>
                    <a:pt x="1475" y="2601"/>
                  </a:lnTo>
                  <a:cubicBezTo>
                    <a:pt x="1455" y="2601"/>
                    <a:pt x="1455" y="2581"/>
                    <a:pt x="1455" y="2581"/>
                  </a:cubicBezTo>
                  <a:cubicBezTo>
                    <a:pt x="1455" y="2581"/>
                    <a:pt x="1455" y="2581"/>
                    <a:pt x="1435" y="2581"/>
                  </a:cubicBezTo>
                  <a:cubicBezTo>
                    <a:pt x="1435" y="2601"/>
                    <a:pt x="1455" y="2601"/>
                    <a:pt x="1455" y="2622"/>
                  </a:cubicBezTo>
                  <a:lnTo>
                    <a:pt x="1455" y="2622"/>
                  </a:lnTo>
                  <a:lnTo>
                    <a:pt x="1455" y="2643"/>
                  </a:lnTo>
                  <a:cubicBezTo>
                    <a:pt x="1455" y="2643"/>
                    <a:pt x="1455" y="2643"/>
                    <a:pt x="1455" y="2663"/>
                  </a:cubicBezTo>
                  <a:cubicBezTo>
                    <a:pt x="1435" y="2663"/>
                    <a:pt x="1435" y="2663"/>
                    <a:pt x="1435" y="2663"/>
                  </a:cubicBezTo>
                  <a:cubicBezTo>
                    <a:pt x="1414" y="2683"/>
                    <a:pt x="1394" y="2683"/>
                    <a:pt x="1394" y="2683"/>
                  </a:cubicBezTo>
                  <a:lnTo>
                    <a:pt x="1373" y="2704"/>
                  </a:lnTo>
                  <a:lnTo>
                    <a:pt x="1353" y="2725"/>
                  </a:lnTo>
                  <a:cubicBezTo>
                    <a:pt x="1332" y="2725"/>
                    <a:pt x="1312" y="2765"/>
                    <a:pt x="1312" y="2765"/>
                  </a:cubicBezTo>
                  <a:cubicBezTo>
                    <a:pt x="1291" y="2765"/>
                    <a:pt x="1271" y="2786"/>
                    <a:pt x="1271" y="2786"/>
                  </a:cubicBezTo>
                  <a:lnTo>
                    <a:pt x="1250" y="2807"/>
                  </a:lnTo>
                  <a:lnTo>
                    <a:pt x="1230" y="2827"/>
                  </a:lnTo>
                  <a:lnTo>
                    <a:pt x="1209" y="2847"/>
                  </a:lnTo>
                  <a:lnTo>
                    <a:pt x="1189" y="2868"/>
                  </a:lnTo>
                  <a:cubicBezTo>
                    <a:pt x="1168" y="2868"/>
                    <a:pt x="1168" y="2868"/>
                    <a:pt x="1168" y="2868"/>
                  </a:cubicBezTo>
                  <a:cubicBezTo>
                    <a:pt x="1148" y="2868"/>
                    <a:pt x="1148" y="2847"/>
                    <a:pt x="1148" y="2847"/>
                  </a:cubicBezTo>
                  <a:lnTo>
                    <a:pt x="1148" y="2847"/>
                  </a:lnTo>
                  <a:cubicBezTo>
                    <a:pt x="1148" y="2827"/>
                    <a:pt x="1148" y="2827"/>
                    <a:pt x="1148" y="2827"/>
                  </a:cubicBezTo>
                  <a:lnTo>
                    <a:pt x="1127" y="2827"/>
                  </a:lnTo>
                  <a:lnTo>
                    <a:pt x="1127" y="2847"/>
                  </a:lnTo>
                  <a:lnTo>
                    <a:pt x="1107" y="2847"/>
                  </a:lnTo>
                  <a:cubicBezTo>
                    <a:pt x="1107" y="2868"/>
                    <a:pt x="1107" y="2868"/>
                    <a:pt x="1107" y="2868"/>
                  </a:cubicBezTo>
                  <a:cubicBezTo>
                    <a:pt x="1107" y="2889"/>
                    <a:pt x="1127" y="2889"/>
                    <a:pt x="1127" y="2909"/>
                  </a:cubicBezTo>
                  <a:cubicBezTo>
                    <a:pt x="1127" y="2909"/>
                    <a:pt x="1107" y="2909"/>
                    <a:pt x="1107" y="2929"/>
                  </a:cubicBezTo>
                  <a:lnTo>
                    <a:pt x="1107" y="2950"/>
                  </a:lnTo>
                  <a:cubicBezTo>
                    <a:pt x="1107" y="2950"/>
                    <a:pt x="1107" y="2950"/>
                    <a:pt x="1086" y="2950"/>
                  </a:cubicBezTo>
                  <a:cubicBezTo>
                    <a:pt x="1086" y="2950"/>
                    <a:pt x="1086" y="2950"/>
                    <a:pt x="1066" y="2950"/>
                  </a:cubicBezTo>
                  <a:cubicBezTo>
                    <a:pt x="1066" y="2950"/>
                    <a:pt x="1066" y="2950"/>
                    <a:pt x="1045" y="2950"/>
                  </a:cubicBezTo>
                  <a:lnTo>
                    <a:pt x="1045" y="2950"/>
                  </a:lnTo>
                  <a:cubicBezTo>
                    <a:pt x="1045" y="2950"/>
                    <a:pt x="1045" y="2950"/>
                    <a:pt x="1045" y="2971"/>
                  </a:cubicBezTo>
                  <a:cubicBezTo>
                    <a:pt x="1066" y="2971"/>
                    <a:pt x="1066" y="2971"/>
                    <a:pt x="1066" y="2971"/>
                  </a:cubicBezTo>
                  <a:lnTo>
                    <a:pt x="1086" y="2991"/>
                  </a:lnTo>
                  <a:lnTo>
                    <a:pt x="1066" y="3011"/>
                  </a:lnTo>
                  <a:lnTo>
                    <a:pt x="1066" y="3011"/>
                  </a:lnTo>
                  <a:cubicBezTo>
                    <a:pt x="1045" y="3011"/>
                    <a:pt x="1045" y="3011"/>
                    <a:pt x="1025" y="3011"/>
                  </a:cubicBezTo>
                  <a:lnTo>
                    <a:pt x="1025" y="2991"/>
                  </a:lnTo>
                  <a:lnTo>
                    <a:pt x="1004" y="2991"/>
                  </a:lnTo>
                  <a:lnTo>
                    <a:pt x="1004" y="2991"/>
                  </a:lnTo>
                  <a:lnTo>
                    <a:pt x="1004" y="3011"/>
                  </a:lnTo>
                  <a:lnTo>
                    <a:pt x="1025" y="3032"/>
                  </a:lnTo>
                  <a:lnTo>
                    <a:pt x="1025" y="3053"/>
                  </a:lnTo>
                  <a:cubicBezTo>
                    <a:pt x="1025" y="3073"/>
                    <a:pt x="1004" y="3073"/>
                    <a:pt x="1004" y="3093"/>
                  </a:cubicBezTo>
                  <a:cubicBezTo>
                    <a:pt x="1004" y="3093"/>
                    <a:pt x="984" y="3093"/>
                    <a:pt x="984" y="3114"/>
                  </a:cubicBezTo>
                  <a:cubicBezTo>
                    <a:pt x="963" y="3114"/>
                    <a:pt x="943" y="3114"/>
                    <a:pt x="943" y="3114"/>
                  </a:cubicBezTo>
                  <a:cubicBezTo>
                    <a:pt x="943" y="3135"/>
                    <a:pt x="922" y="3135"/>
                    <a:pt x="922" y="3135"/>
                  </a:cubicBezTo>
                  <a:lnTo>
                    <a:pt x="922" y="3135"/>
                  </a:lnTo>
                  <a:cubicBezTo>
                    <a:pt x="902" y="3135"/>
                    <a:pt x="922" y="3155"/>
                    <a:pt x="902" y="3155"/>
                  </a:cubicBezTo>
                  <a:lnTo>
                    <a:pt x="902" y="3175"/>
                  </a:lnTo>
                  <a:lnTo>
                    <a:pt x="881" y="3196"/>
                  </a:lnTo>
                  <a:cubicBezTo>
                    <a:pt x="861" y="3196"/>
                    <a:pt x="861" y="3216"/>
                    <a:pt x="840" y="3216"/>
                  </a:cubicBezTo>
                  <a:cubicBezTo>
                    <a:pt x="840" y="3216"/>
                    <a:pt x="820" y="3237"/>
                    <a:pt x="799" y="3237"/>
                  </a:cubicBezTo>
                  <a:cubicBezTo>
                    <a:pt x="799" y="3237"/>
                    <a:pt x="799" y="3237"/>
                    <a:pt x="779" y="3237"/>
                  </a:cubicBezTo>
                  <a:cubicBezTo>
                    <a:pt x="779" y="3237"/>
                    <a:pt x="779" y="3237"/>
                    <a:pt x="758" y="3237"/>
                  </a:cubicBezTo>
                  <a:lnTo>
                    <a:pt x="758" y="3237"/>
                  </a:lnTo>
                  <a:lnTo>
                    <a:pt x="779" y="3216"/>
                  </a:lnTo>
                  <a:lnTo>
                    <a:pt x="779" y="3216"/>
                  </a:lnTo>
                  <a:cubicBezTo>
                    <a:pt x="799" y="3216"/>
                    <a:pt x="799" y="3216"/>
                    <a:pt x="799" y="3216"/>
                  </a:cubicBezTo>
                  <a:cubicBezTo>
                    <a:pt x="799" y="3196"/>
                    <a:pt x="799" y="3196"/>
                    <a:pt x="779" y="3196"/>
                  </a:cubicBezTo>
                  <a:lnTo>
                    <a:pt x="779" y="3196"/>
                  </a:lnTo>
                  <a:lnTo>
                    <a:pt x="779" y="3175"/>
                  </a:lnTo>
                  <a:lnTo>
                    <a:pt x="779" y="3155"/>
                  </a:lnTo>
                  <a:lnTo>
                    <a:pt x="779" y="3135"/>
                  </a:lnTo>
                  <a:cubicBezTo>
                    <a:pt x="779" y="3114"/>
                    <a:pt x="779" y="3093"/>
                    <a:pt x="779" y="3093"/>
                  </a:cubicBezTo>
                  <a:cubicBezTo>
                    <a:pt x="779" y="3073"/>
                    <a:pt x="779" y="3053"/>
                    <a:pt x="779" y="3032"/>
                  </a:cubicBezTo>
                  <a:cubicBezTo>
                    <a:pt x="779" y="3011"/>
                    <a:pt x="779" y="3011"/>
                    <a:pt x="779" y="2991"/>
                  </a:cubicBezTo>
                  <a:cubicBezTo>
                    <a:pt x="779" y="2991"/>
                    <a:pt x="779" y="2991"/>
                    <a:pt x="779" y="2971"/>
                  </a:cubicBezTo>
                  <a:cubicBezTo>
                    <a:pt x="799" y="2971"/>
                    <a:pt x="799" y="2971"/>
                    <a:pt x="799" y="2971"/>
                  </a:cubicBezTo>
                  <a:cubicBezTo>
                    <a:pt x="820" y="2950"/>
                    <a:pt x="820" y="2950"/>
                    <a:pt x="840" y="2950"/>
                  </a:cubicBezTo>
                  <a:lnTo>
                    <a:pt x="861" y="2950"/>
                  </a:lnTo>
                  <a:cubicBezTo>
                    <a:pt x="861" y="2950"/>
                    <a:pt x="881" y="2950"/>
                    <a:pt x="881" y="2929"/>
                  </a:cubicBezTo>
                  <a:cubicBezTo>
                    <a:pt x="881" y="2929"/>
                    <a:pt x="881" y="2929"/>
                    <a:pt x="881" y="2909"/>
                  </a:cubicBezTo>
                  <a:cubicBezTo>
                    <a:pt x="902" y="2909"/>
                    <a:pt x="902" y="2909"/>
                    <a:pt x="902" y="2889"/>
                  </a:cubicBezTo>
                  <a:cubicBezTo>
                    <a:pt x="902" y="2889"/>
                    <a:pt x="902" y="2889"/>
                    <a:pt x="922" y="2889"/>
                  </a:cubicBezTo>
                  <a:lnTo>
                    <a:pt x="922" y="2868"/>
                  </a:lnTo>
                  <a:cubicBezTo>
                    <a:pt x="902" y="2847"/>
                    <a:pt x="902" y="2847"/>
                    <a:pt x="881" y="2847"/>
                  </a:cubicBezTo>
                  <a:cubicBezTo>
                    <a:pt x="881" y="2847"/>
                    <a:pt x="881" y="2827"/>
                    <a:pt x="861" y="2847"/>
                  </a:cubicBezTo>
                  <a:cubicBezTo>
                    <a:pt x="861" y="2847"/>
                    <a:pt x="881" y="2847"/>
                    <a:pt x="861" y="2847"/>
                  </a:cubicBezTo>
                  <a:cubicBezTo>
                    <a:pt x="861" y="2868"/>
                    <a:pt x="840" y="2847"/>
                    <a:pt x="840" y="2868"/>
                  </a:cubicBezTo>
                  <a:lnTo>
                    <a:pt x="840" y="2868"/>
                  </a:lnTo>
                  <a:cubicBezTo>
                    <a:pt x="820" y="2868"/>
                    <a:pt x="820" y="2889"/>
                    <a:pt x="820" y="2889"/>
                  </a:cubicBezTo>
                  <a:cubicBezTo>
                    <a:pt x="820" y="2889"/>
                    <a:pt x="820" y="2889"/>
                    <a:pt x="799" y="2909"/>
                  </a:cubicBezTo>
                  <a:lnTo>
                    <a:pt x="779" y="2909"/>
                  </a:lnTo>
                  <a:lnTo>
                    <a:pt x="779" y="2889"/>
                  </a:lnTo>
                  <a:cubicBezTo>
                    <a:pt x="758" y="2889"/>
                    <a:pt x="758" y="2868"/>
                    <a:pt x="758" y="2868"/>
                  </a:cubicBezTo>
                  <a:lnTo>
                    <a:pt x="738" y="2868"/>
                  </a:lnTo>
                  <a:lnTo>
                    <a:pt x="738" y="2889"/>
                  </a:lnTo>
                  <a:lnTo>
                    <a:pt x="717" y="2889"/>
                  </a:lnTo>
                  <a:lnTo>
                    <a:pt x="697" y="2868"/>
                  </a:lnTo>
                  <a:cubicBezTo>
                    <a:pt x="697" y="2868"/>
                    <a:pt x="697" y="2868"/>
                    <a:pt x="697" y="2847"/>
                  </a:cubicBezTo>
                  <a:lnTo>
                    <a:pt x="697" y="2847"/>
                  </a:lnTo>
                  <a:lnTo>
                    <a:pt x="717" y="2827"/>
                  </a:lnTo>
                  <a:cubicBezTo>
                    <a:pt x="738" y="2827"/>
                    <a:pt x="758" y="2807"/>
                    <a:pt x="758" y="2786"/>
                  </a:cubicBezTo>
                  <a:cubicBezTo>
                    <a:pt x="779" y="2786"/>
                    <a:pt x="779" y="2786"/>
                    <a:pt x="799" y="2786"/>
                  </a:cubicBezTo>
                  <a:cubicBezTo>
                    <a:pt x="799" y="2765"/>
                    <a:pt x="840" y="2765"/>
                    <a:pt x="840" y="2765"/>
                  </a:cubicBezTo>
                  <a:cubicBezTo>
                    <a:pt x="840" y="2745"/>
                    <a:pt x="861" y="2745"/>
                    <a:pt x="861" y="2745"/>
                  </a:cubicBezTo>
                  <a:cubicBezTo>
                    <a:pt x="881" y="2745"/>
                    <a:pt x="902" y="2745"/>
                    <a:pt x="902" y="2745"/>
                  </a:cubicBezTo>
                  <a:cubicBezTo>
                    <a:pt x="922" y="2745"/>
                    <a:pt x="922" y="2745"/>
                    <a:pt x="922" y="2745"/>
                  </a:cubicBezTo>
                  <a:cubicBezTo>
                    <a:pt x="943" y="2745"/>
                    <a:pt x="943" y="2765"/>
                    <a:pt x="963" y="2765"/>
                  </a:cubicBezTo>
                  <a:lnTo>
                    <a:pt x="984" y="2745"/>
                  </a:lnTo>
                  <a:lnTo>
                    <a:pt x="984" y="2725"/>
                  </a:lnTo>
                  <a:lnTo>
                    <a:pt x="963" y="2704"/>
                  </a:lnTo>
                  <a:lnTo>
                    <a:pt x="943" y="2683"/>
                  </a:lnTo>
                  <a:cubicBezTo>
                    <a:pt x="922" y="2683"/>
                    <a:pt x="922" y="2663"/>
                    <a:pt x="922" y="2643"/>
                  </a:cubicBezTo>
                  <a:cubicBezTo>
                    <a:pt x="922" y="2643"/>
                    <a:pt x="902" y="2643"/>
                    <a:pt x="902" y="2622"/>
                  </a:cubicBezTo>
                  <a:lnTo>
                    <a:pt x="902" y="2601"/>
                  </a:lnTo>
                  <a:lnTo>
                    <a:pt x="922" y="2581"/>
                  </a:lnTo>
                  <a:cubicBezTo>
                    <a:pt x="943" y="2581"/>
                    <a:pt x="943" y="2581"/>
                    <a:pt x="963" y="2581"/>
                  </a:cubicBezTo>
                  <a:lnTo>
                    <a:pt x="984" y="2581"/>
                  </a:lnTo>
                  <a:cubicBezTo>
                    <a:pt x="984" y="2561"/>
                    <a:pt x="1004" y="2561"/>
                    <a:pt x="1004" y="2561"/>
                  </a:cubicBezTo>
                  <a:cubicBezTo>
                    <a:pt x="1004" y="2561"/>
                    <a:pt x="1004" y="2540"/>
                    <a:pt x="1004" y="2519"/>
                  </a:cubicBezTo>
                  <a:lnTo>
                    <a:pt x="1025" y="2499"/>
                  </a:lnTo>
                  <a:cubicBezTo>
                    <a:pt x="1045" y="2499"/>
                    <a:pt x="1066" y="2479"/>
                    <a:pt x="1066" y="2479"/>
                  </a:cubicBezTo>
                  <a:lnTo>
                    <a:pt x="1086" y="2479"/>
                  </a:lnTo>
                  <a:cubicBezTo>
                    <a:pt x="1107" y="2479"/>
                    <a:pt x="1127" y="2459"/>
                    <a:pt x="1127" y="2459"/>
                  </a:cubicBezTo>
                  <a:cubicBezTo>
                    <a:pt x="1148" y="2459"/>
                    <a:pt x="1148" y="2459"/>
                    <a:pt x="1148" y="2438"/>
                  </a:cubicBezTo>
                  <a:cubicBezTo>
                    <a:pt x="1168" y="2438"/>
                    <a:pt x="1168" y="2438"/>
                    <a:pt x="1168" y="2417"/>
                  </a:cubicBezTo>
                  <a:cubicBezTo>
                    <a:pt x="1189" y="2417"/>
                    <a:pt x="1189" y="2377"/>
                    <a:pt x="1189" y="2356"/>
                  </a:cubicBezTo>
                  <a:cubicBezTo>
                    <a:pt x="1189" y="2335"/>
                    <a:pt x="1189" y="2295"/>
                    <a:pt x="1189" y="2274"/>
                  </a:cubicBezTo>
                  <a:cubicBezTo>
                    <a:pt x="1189" y="2253"/>
                    <a:pt x="1189" y="2192"/>
                    <a:pt x="1189" y="2171"/>
                  </a:cubicBezTo>
                  <a:lnTo>
                    <a:pt x="1168" y="2151"/>
                  </a:lnTo>
                  <a:cubicBezTo>
                    <a:pt x="1168" y="2131"/>
                    <a:pt x="1148" y="2110"/>
                    <a:pt x="1148" y="2110"/>
                  </a:cubicBezTo>
                  <a:cubicBezTo>
                    <a:pt x="1148" y="2089"/>
                    <a:pt x="1127" y="2069"/>
                    <a:pt x="1127" y="2049"/>
                  </a:cubicBezTo>
                  <a:lnTo>
                    <a:pt x="1127" y="2028"/>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5" name="Freeform 572">
              <a:extLst>
                <a:ext uri="{FF2B5EF4-FFF2-40B4-BE49-F238E27FC236}">
                  <a16:creationId xmlns:a16="http://schemas.microsoft.com/office/drawing/2014/main" id="{EE8C5459-E2BE-D64E-B9F7-6FBF3B1648B1}"/>
                </a:ext>
              </a:extLst>
            </p:cNvPr>
            <p:cNvSpPr>
              <a:spLocks noChangeArrowheads="1"/>
            </p:cNvSpPr>
            <p:nvPr/>
          </p:nvSpPr>
          <p:spPr bwMode="auto">
            <a:xfrm>
              <a:off x="4764088" y="6183313"/>
              <a:ext cx="501650" cy="685800"/>
            </a:xfrm>
            <a:custGeom>
              <a:avLst/>
              <a:gdLst>
                <a:gd name="T0" fmla="*/ 1393 w 1394"/>
                <a:gd name="T1" fmla="*/ 1803 h 1907"/>
                <a:gd name="T2" fmla="*/ 1311 w 1394"/>
                <a:gd name="T3" fmla="*/ 1824 h 1907"/>
                <a:gd name="T4" fmla="*/ 1291 w 1394"/>
                <a:gd name="T5" fmla="*/ 1763 h 1907"/>
                <a:gd name="T6" fmla="*/ 1209 w 1394"/>
                <a:gd name="T7" fmla="*/ 1763 h 1907"/>
                <a:gd name="T8" fmla="*/ 1147 w 1394"/>
                <a:gd name="T9" fmla="*/ 1783 h 1907"/>
                <a:gd name="T10" fmla="*/ 1168 w 1394"/>
                <a:gd name="T11" fmla="*/ 1824 h 1907"/>
                <a:gd name="T12" fmla="*/ 1147 w 1394"/>
                <a:gd name="T13" fmla="*/ 1906 h 1907"/>
                <a:gd name="T14" fmla="*/ 1065 w 1394"/>
                <a:gd name="T15" fmla="*/ 1845 h 1907"/>
                <a:gd name="T16" fmla="*/ 1004 w 1394"/>
                <a:gd name="T17" fmla="*/ 1803 h 1907"/>
                <a:gd name="T18" fmla="*/ 1045 w 1394"/>
                <a:gd name="T19" fmla="*/ 1721 h 1907"/>
                <a:gd name="T20" fmla="*/ 1024 w 1394"/>
                <a:gd name="T21" fmla="*/ 1578 h 1907"/>
                <a:gd name="T22" fmla="*/ 983 w 1394"/>
                <a:gd name="T23" fmla="*/ 1414 h 1907"/>
                <a:gd name="T24" fmla="*/ 902 w 1394"/>
                <a:gd name="T25" fmla="*/ 1332 h 1907"/>
                <a:gd name="T26" fmla="*/ 860 w 1394"/>
                <a:gd name="T27" fmla="*/ 1168 h 1907"/>
                <a:gd name="T28" fmla="*/ 799 w 1394"/>
                <a:gd name="T29" fmla="*/ 1045 h 1907"/>
                <a:gd name="T30" fmla="*/ 717 w 1394"/>
                <a:gd name="T31" fmla="*/ 922 h 1907"/>
                <a:gd name="T32" fmla="*/ 614 w 1394"/>
                <a:gd name="T33" fmla="*/ 922 h 1907"/>
                <a:gd name="T34" fmla="*/ 532 w 1394"/>
                <a:gd name="T35" fmla="*/ 1045 h 1907"/>
                <a:gd name="T36" fmla="*/ 450 w 1394"/>
                <a:gd name="T37" fmla="*/ 1045 h 1907"/>
                <a:gd name="T38" fmla="*/ 389 w 1394"/>
                <a:gd name="T39" fmla="*/ 943 h 1907"/>
                <a:gd name="T40" fmla="*/ 307 w 1394"/>
                <a:gd name="T41" fmla="*/ 1004 h 1907"/>
                <a:gd name="T42" fmla="*/ 225 w 1394"/>
                <a:gd name="T43" fmla="*/ 1086 h 1907"/>
                <a:gd name="T44" fmla="*/ 225 w 1394"/>
                <a:gd name="T45" fmla="*/ 1004 h 1907"/>
                <a:gd name="T46" fmla="*/ 225 w 1394"/>
                <a:gd name="T47" fmla="*/ 861 h 1907"/>
                <a:gd name="T48" fmla="*/ 246 w 1394"/>
                <a:gd name="T49" fmla="*/ 697 h 1907"/>
                <a:gd name="T50" fmla="*/ 102 w 1394"/>
                <a:gd name="T51" fmla="*/ 676 h 1907"/>
                <a:gd name="T52" fmla="*/ 41 w 1394"/>
                <a:gd name="T53" fmla="*/ 574 h 1907"/>
                <a:gd name="T54" fmla="*/ 20 w 1394"/>
                <a:gd name="T55" fmla="*/ 492 h 1907"/>
                <a:gd name="T56" fmla="*/ 20 w 1394"/>
                <a:gd name="T57" fmla="*/ 410 h 1907"/>
                <a:gd name="T58" fmla="*/ 62 w 1394"/>
                <a:gd name="T59" fmla="*/ 328 h 1907"/>
                <a:gd name="T60" fmla="*/ 123 w 1394"/>
                <a:gd name="T61" fmla="*/ 246 h 1907"/>
                <a:gd name="T62" fmla="*/ 184 w 1394"/>
                <a:gd name="T63" fmla="*/ 308 h 1907"/>
                <a:gd name="T64" fmla="*/ 205 w 1394"/>
                <a:gd name="T65" fmla="*/ 266 h 1907"/>
                <a:gd name="T66" fmla="*/ 225 w 1394"/>
                <a:gd name="T67" fmla="*/ 185 h 1907"/>
                <a:gd name="T68" fmla="*/ 164 w 1394"/>
                <a:gd name="T69" fmla="*/ 124 h 1907"/>
                <a:gd name="T70" fmla="*/ 164 w 1394"/>
                <a:gd name="T71" fmla="*/ 21 h 1907"/>
                <a:gd name="T72" fmla="*/ 225 w 1394"/>
                <a:gd name="T73" fmla="*/ 42 h 1907"/>
                <a:gd name="T74" fmla="*/ 286 w 1394"/>
                <a:gd name="T75" fmla="*/ 42 h 1907"/>
                <a:gd name="T76" fmla="*/ 368 w 1394"/>
                <a:gd name="T77" fmla="*/ 124 h 1907"/>
                <a:gd name="T78" fmla="*/ 410 w 1394"/>
                <a:gd name="T79" fmla="*/ 226 h 1907"/>
                <a:gd name="T80" fmla="*/ 492 w 1394"/>
                <a:gd name="T81" fmla="*/ 348 h 1907"/>
                <a:gd name="T82" fmla="*/ 574 w 1394"/>
                <a:gd name="T83" fmla="*/ 390 h 1907"/>
                <a:gd name="T84" fmla="*/ 656 w 1394"/>
                <a:gd name="T85" fmla="*/ 348 h 1907"/>
                <a:gd name="T86" fmla="*/ 717 w 1394"/>
                <a:gd name="T87" fmla="*/ 410 h 1907"/>
                <a:gd name="T88" fmla="*/ 758 w 1394"/>
                <a:gd name="T89" fmla="*/ 451 h 1907"/>
                <a:gd name="T90" fmla="*/ 778 w 1394"/>
                <a:gd name="T91" fmla="*/ 512 h 1907"/>
                <a:gd name="T92" fmla="*/ 820 w 1394"/>
                <a:gd name="T93" fmla="*/ 574 h 1907"/>
                <a:gd name="T94" fmla="*/ 758 w 1394"/>
                <a:gd name="T95" fmla="*/ 656 h 1907"/>
                <a:gd name="T96" fmla="*/ 696 w 1394"/>
                <a:gd name="T97" fmla="*/ 697 h 1907"/>
                <a:gd name="T98" fmla="*/ 717 w 1394"/>
                <a:gd name="T99" fmla="*/ 758 h 1907"/>
                <a:gd name="T100" fmla="*/ 840 w 1394"/>
                <a:gd name="T101" fmla="*/ 800 h 1907"/>
                <a:gd name="T102" fmla="*/ 922 w 1394"/>
                <a:gd name="T103" fmla="*/ 943 h 1907"/>
                <a:gd name="T104" fmla="*/ 983 w 1394"/>
                <a:gd name="T105" fmla="*/ 1004 h 1907"/>
                <a:gd name="T106" fmla="*/ 1024 w 1394"/>
                <a:gd name="T107" fmla="*/ 1107 h 1907"/>
                <a:gd name="T108" fmla="*/ 1106 w 1394"/>
                <a:gd name="T109" fmla="*/ 1148 h 1907"/>
                <a:gd name="T110" fmla="*/ 1168 w 1394"/>
                <a:gd name="T111" fmla="*/ 1271 h 1907"/>
                <a:gd name="T112" fmla="*/ 1229 w 1394"/>
                <a:gd name="T113" fmla="*/ 1332 h 1907"/>
                <a:gd name="T114" fmla="*/ 1291 w 1394"/>
                <a:gd name="T115" fmla="*/ 1373 h 1907"/>
                <a:gd name="T116" fmla="*/ 1311 w 1394"/>
                <a:gd name="T117" fmla="*/ 1455 h 1907"/>
                <a:gd name="T118" fmla="*/ 1311 w 1394"/>
                <a:gd name="T119" fmla="*/ 1537 h 1907"/>
                <a:gd name="T120" fmla="*/ 1373 w 1394"/>
                <a:gd name="T121" fmla="*/ 1558 h 1907"/>
                <a:gd name="T122" fmla="*/ 1373 w 1394"/>
                <a:gd name="T123" fmla="*/ 1619 h 1907"/>
                <a:gd name="T124" fmla="*/ 1373 w 1394"/>
                <a:gd name="T125" fmla="*/ 1701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94" h="1907">
                  <a:moveTo>
                    <a:pt x="1393" y="1763"/>
                  </a:moveTo>
                  <a:lnTo>
                    <a:pt x="1393" y="1763"/>
                  </a:lnTo>
                  <a:cubicBezTo>
                    <a:pt x="1393" y="1763"/>
                    <a:pt x="1393" y="1783"/>
                    <a:pt x="1393" y="1803"/>
                  </a:cubicBezTo>
                  <a:cubicBezTo>
                    <a:pt x="1393" y="1803"/>
                    <a:pt x="1393" y="1803"/>
                    <a:pt x="1393" y="1824"/>
                  </a:cubicBezTo>
                  <a:cubicBezTo>
                    <a:pt x="1373" y="1824"/>
                    <a:pt x="1352" y="1824"/>
                    <a:pt x="1352" y="1824"/>
                  </a:cubicBezTo>
                  <a:cubicBezTo>
                    <a:pt x="1332" y="1824"/>
                    <a:pt x="1332" y="1845"/>
                    <a:pt x="1311" y="1824"/>
                  </a:cubicBezTo>
                  <a:lnTo>
                    <a:pt x="1311" y="1803"/>
                  </a:lnTo>
                  <a:cubicBezTo>
                    <a:pt x="1311" y="1803"/>
                    <a:pt x="1291" y="1803"/>
                    <a:pt x="1270" y="1783"/>
                  </a:cubicBezTo>
                  <a:lnTo>
                    <a:pt x="1291" y="1763"/>
                  </a:lnTo>
                  <a:lnTo>
                    <a:pt x="1270" y="1742"/>
                  </a:lnTo>
                  <a:lnTo>
                    <a:pt x="1250" y="1742"/>
                  </a:lnTo>
                  <a:cubicBezTo>
                    <a:pt x="1229" y="1742"/>
                    <a:pt x="1209" y="1763"/>
                    <a:pt x="1209" y="1763"/>
                  </a:cubicBezTo>
                  <a:lnTo>
                    <a:pt x="1188" y="1763"/>
                  </a:lnTo>
                  <a:cubicBezTo>
                    <a:pt x="1188" y="1783"/>
                    <a:pt x="1168" y="1763"/>
                    <a:pt x="1147" y="1763"/>
                  </a:cubicBezTo>
                  <a:lnTo>
                    <a:pt x="1147" y="1783"/>
                  </a:lnTo>
                  <a:cubicBezTo>
                    <a:pt x="1127" y="1783"/>
                    <a:pt x="1127" y="1803"/>
                    <a:pt x="1127" y="1803"/>
                  </a:cubicBezTo>
                  <a:lnTo>
                    <a:pt x="1147" y="1824"/>
                  </a:lnTo>
                  <a:cubicBezTo>
                    <a:pt x="1168" y="1824"/>
                    <a:pt x="1168" y="1824"/>
                    <a:pt x="1168" y="1824"/>
                  </a:cubicBezTo>
                  <a:cubicBezTo>
                    <a:pt x="1188" y="1845"/>
                    <a:pt x="1188" y="1845"/>
                    <a:pt x="1188" y="1865"/>
                  </a:cubicBezTo>
                  <a:lnTo>
                    <a:pt x="1188" y="1885"/>
                  </a:lnTo>
                  <a:cubicBezTo>
                    <a:pt x="1168" y="1906"/>
                    <a:pt x="1168" y="1906"/>
                    <a:pt x="1147" y="1906"/>
                  </a:cubicBezTo>
                  <a:lnTo>
                    <a:pt x="1127" y="1906"/>
                  </a:lnTo>
                  <a:cubicBezTo>
                    <a:pt x="1106" y="1906"/>
                    <a:pt x="1106" y="1865"/>
                    <a:pt x="1086" y="1865"/>
                  </a:cubicBezTo>
                  <a:lnTo>
                    <a:pt x="1065" y="1845"/>
                  </a:lnTo>
                  <a:cubicBezTo>
                    <a:pt x="1065" y="1845"/>
                    <a:pt x="1045" y="1845"/>
                    <a:pt x="1024" y="1845"/>
                  </a:cubicBezTo>
                  <a:cubicBezTo>
                    <a:pt x="1024" y="1845"/>
                    <a:pt x="1024" y="1824"/>
                    <a:pt x="1004" y="1803"/>
                  </a:cubicBezTo>
                  <a:lnTo>
                    <a:pt x="1004" y="1803"/>
                  </a:lnTo>
                  <a:cubicBezTo>
                    <a:pt x="1004" y="1803"/>
                    <a:pt x="1004" y="1803"/>
                    <a:pt x="1004" y="1783"/>
                  </a:cubicBezTo>
                  <a:cubicBezTo>
                    <a:pt x="1024" y="1783"/>
                    <a:pt x="1024" y="1763"/>
                    <a:pt x="1024" y="1763"/>
                  </a:cubicBezTo>
                  <a:cubicBezTo>
                    <a:pt x="1045" y="1742"/>
                    <a:pt x="1045" y="1721"/>
                    <a:pt x="1045" y="1721"/>
                  </a:cubicBezTo>
                  <a:cubicBezTo>
                    <a:pt x="1045" y="1701"/>
                    <a:pt x="1045" y="1681"/>
                    <a:pt x="1045" y="1660"/>
                  </a:cubicBezTo>
                  <a:cubicBezTo>
                    <a:pt x="1045" y="1660"/>
                    <a:pt x="1024" y="1639"/>
                    <a:pt x="1024" y="1619"/>
                  </a:cubicBezTo>
                  <a:lnTo>
                    <a:pt x="1024" y="1578"/>
                  </a:lnTo>
                  <a:cubicBezTo>
                    <a:pt x="1024" y="1558"/>
                    <a:pt x="1004" y="1537"/>
                    <a:pt x="1004" y="1537"/>
                  </a:cubicBezTo>
                  <a:cubicBezTo>
                    <a:pt x="1004" y="1517"/>
                    <a:pt x="1004" y="1476"/>
                    <a:pt x="983" y="1455"/>
                  </a:cubicBezTo>
                  <a:cubicBezTo>
                    <a:pt x="983" y="1435"/>
                    <a:pt x="983" y="1414"/>
                    <a:pt x="983" y="1414"/>
                  </a:cubicBezTo>
                  <a:lnTo>
                    <a:pt x="963" y="1394"/>
                  </a:lnTo>
                  <a:cubicBezTo>
                    <a:pt x="963" y="1394"/>
                    <a:pt x="922" y="1394"/>
                    <a:pt x="922" y="1373"/>
                  </a:cubicBezTo>
                  <a:cubicBezTo>
                    <a:pt x="922" y="1373"/>
                    <a:pt x="902" y="1353"/>
                    <a:pt x="902" y="1332"/>
                  </a:cubicBezTo>
                  <a:cubicBezTo>
                    <a:pt x="902" y="1332"/>
                    <a:pt x="881" y="1312"/>
                    <a:pt x="881" y="1291"/>
                  </a:cubicBezTo>
                  <a:cubicBezTo>
                    <a:pt x="881" y="1271"/>
                    <a:pt x="881" y="1230"/>
                    <a:pt x="881" y="1230"/>
                  </a:cubicBezTo>
                  <a:cubicBezTo>
                    <a:pt x="881" y="1209"/>
                    <a:pt x="881" y="1189"/>
                    <a:pt x="860" y="1168"/>
                  </a:cubicBezTo>
                  <a:cubicBezTo>
                    <a:pt x="860" y="1148"/>
                    <a:pt x="860" y="1127"/>
                    <a:pt x="860" y="1107"/>
                  </a:cubicBezTo>
                  <a:cubicBezTo>
                    <a:pt x="860" y="1086"/>
                    <a:pt x="840" y="1066"/>
                    <a:pt x="840" y="1066"/>
                  </a:cubicBezTo>
                  <a:cubicBezTo>
                    <a:pt x="820" y="1045"/>
                    <a:pt x="799" y="1045"/>
                    <a:pt x="799" y="1045"/>
                  </a:cubicBezTo>
                  <a:cubicBezTo>
                    <a:pt x="778" y="1025"/>
                    <a:pt x="778" y="1004"/>
                    <a:pt x="778" y="984"/>
                  </a:cubicBezTo>
                  <a:cubicBezTo>
                    <a:pt x="778" y="963"/>
                    <a:pt x="758" y="963"/>
                    <a:pt x="758" y="943"/>
                  </a:cubicBezTo>
                  <a:cubicBezTo>
                    <a:pt x="738" y="943"/>
                    <a:pt x="717" y="943"/>
                    <a:pt x="717" y="922"/>
                  </a:cubicBezTo>
                  <a:cubicBezTo>
                    <a:pt x="696" y="922"/>
                    <a:pt x="696" y="902"/>
                    <a:pt x="676" y="902"/>
                  </a:cubicBezTo>
                  <a:cubicBezTo>
                    <a:pt x="676" y="902"/>
                    <a:pt x="656" y="902"/>
                    <a:pt x="635" y="902"/>
                  </a:cubicBezTo>
                  <a:cubicBezTo>
                    <a:pt x="635" y="902"/>
                    <a:pt x="614" y="902"/>
                    <a:pt x="614" y="922"/>
                  </a:cubicBezTo>
                  <a:cubicBezTo>
                    <a:pt x="594" y="922"/>
                    <a:pt x="594" y="943"/>
                    <a:pt x="594" y="963"/>
                  </a:cubicBezTo>
                  <a:cubicBezTo>
                    <a:pt x="594" y="963"/>
                    <a:pt x="574" y="984"/>
                    <a:pt x="553" y="1004"/>
                  </a:cubicBezTo>
                  <a:cubicBezTo>
                    <a:pt x="553" y="1004"/>
                    <a:pt x="532" y="1025"/>
                    <a:pt x="532" y="1045"/>
                  </a:cubicBezTo>
                  <a:lnTo>
                    <a:pt x="512" y="1066"/>
                  </a:lnTo>
                  <a:cubicBezTo>
                    <a:pt x="492" y="1066"/>
                    <a:pt x="492" y="1066"/>
                    <a:pt x="471" y="1066"/>
                  </a:cubicBezTo>
                  <a:lnTo>
                    <a:pt x="450" y="1045"/>
                  </a:lnTo>
                  <a:cubicBezTo>
                    <a:pt x="450" y="1025"/>
                    <a:pt x="450" y="1025"/>
                    <a:pt x="450" y="1004"/>
                  </a:cubicBezTo>
                  <a:cubicBezTo>
                    <a:pt x="450" y="1004"/>
                    <a:pt x="450" y="984"/>
                    <a:pt x="430" y="963"/>
                  </a:cubicBezTo>
                  <a:cubicBezTo>
                    <a:pt x="430" y="963"/>
                    <a:pt x="410" y="943"/>
                    <a:pt x="389" y="943"/>
                  </a:cubicBezTo>
                  <a:cubicBezTo>
                    <a:pt x="389" y="963"/>
                    <a:pt x="389" y="963"/>
                    <a:pt x="368" y="984"/>
                  </a:cubicBezTo>
                  <a:lnTo>
                    <a:pt x="348" y="1004"/>
                  </a:lnTo>
                  <a:cubicBezTo>
                    <a:pt x="328" y="1004"/>
                    <a:pt x="307" y="1004"/>
                    <a:pt x="307" y="1004"/>
                  </a:cubicBezTo>
                  <a:cubicBezTo>
                    <a:pt x="286" y="1004"/>
                    <a:pt x="286" y="1045"/>
                    <a:pt x="286" y="1045"/>
                  </a:cubicBezTo>
                  <a:cubicBezTo>
                    <a:pt x="286" y="1066"/>
                    <a:pt x="286" y="1086"/>
                    <a:pt x="286" y="1086"/>
                  </a:cubicBezTo>
                  <a:cubicBezTo>
                    <a:pt x="266" y="1086"/>
                    <a:pt x="246" y="1086"/>
                    <a:pt x="225" y="1086"/>
                  </a:cubicBezTo>
                  <a:cubicBezTo>
                    <a:pt x="225" y="1086"/>
                    <a:pt x="205" y="1086"/>
                    <a:pt x="205" y="1066"/>
                  </a:cubicBezTo>
                  <a:cubicBezTo>
                    <a:pt x="184" y="1066"/>
                    <a:pt x="184" y="1045"/>
                    <a:pt x="184" y="1025"/>
                  </a:cubicBezTo>
                  <a:cubicBezTo>
                    <a:pt x="184" y="1025"/>
                    <a:pt x="205" y="1004"/>
                    <a:pt x="225" y="1004"/>
                  </a:cubicBezTo>
                  <a:cubicBezTo>
                    <a:pt x="225" y="984"/>
                    <a:pt x="225" y="963"/>
                    <a:pt x="225" y="943"/>
                  </a:cubicBezTo>
                  <a:cubicBezTo>
                    <a:pt x="246" y="943"/>
                    <a:pt x="225" y="922"/>
                    <a:pt x="225" y="902"/>
                  </a:cubicBezTo>
                  <a:cubicBezTo>
                    <a:pt x="225" y="902"/>
                    <a:pt x="225" y="882"/>
                    <a:pt x="225" y="861"/>
                  </a:cubicBezTo>
                  <a:cubicBezTo>
                    <a:pt x="225" y="840"/>
                    <a:pt x="246" y="840"/>
                    <a:pt x="246" y="820"/>
                  </a:cubicBezTo>
                  <a:cubicBezTo>
                    <a:pt x="246" y="800"/>
                    <a:pt x="246" y="758"/>
                    <a:pt x="246" y="738"/>
                  </a:cubicBezTo>
                  <a:cubicBezTo>
                    <a:pt x="246" y="738"/>
                    <a:pt x="246" y="718"/>
                    <a:pt x="246" y="697"/>
                  </a:cubicBezTo>
                  <a:cubicBezTo>
                    <a:pt x="225" y="697"/>
                    <a:pt x="205" y="676"/>
                    <a:pt x="184" y="676"/>
                  </a:cubicBezTo>
                  <a:cubicBezTo>
                    <a:pt x="184" y="676"/>
                    <a:pt x="164" y="656"/>
                    <a:pt x="144" y="656"/>
                  </a:cubicBezTo>
                  <a:cubicBezTo>
                    <a:pt x="123" y="656"/>
                    <a:pt x="102" y="676"/>
                    <a:pt x="102" y="676"/>
                  </a:cubicBezTo>
                  <a:cubicBezTo>
                    <a:pt x="82" y="676"/>
                    <a:pt x="62" y="676"/>
                    <a:pt x="62" y="676"/>
                  </a:cubicBezTo>
                  <a:cubicBezTo>
                    <a:pt x="41" y="656"/>
                    <a:pt x="41" y="636"/>
                    <a:pt x="41" y="636"/>
                  </a:cubicBezTo>
                  <a:cubicBezTo>
                    <a:pt x="41" y="615"/>
                    <a:pt x="41" y="594"/>
                    <a:pt x="41" y="574"/>
                  </a:cubicBezTo>
                  <a:cubicBezTo>
                    <a:pt x="41" y="574"/>
                    <a:pt x="62" y="554"/>
                    <a:pt x="62" y="533"/>
                  </a:cubicBezTo>
                  <a:lnTo>
                    <a:pt x="62" y="512"/>
                  </a:lnTo>
                  <a:cubicBezTo>
                    <a:pt x="62" y="492"/>
                    <a:pt x="41" y="492"/>
                    <a:pt x="20" y="492"/>
                  </a:cubicBezTo>
                  <a:lnTo>
                    <a:pt x="0" y="492"/>
                  </a:lnTo>
                  <a:cubicBezTo>
                    <a:pt x="0" y="472"/>
                    <a:pt x="0" y="472"/>
                    <a:pt x="0" y="472"/>
                  </a:cubicBezTo>
                  <a:cubicBezTo>
                    <a:pt x="0" y="451"/>
                    <a:pt x="20" y="430"/>
                    <a:pt x="20" y="410"/>
                  </a:cubicBezTo>
                  <a:cubicBezTo>
                    <a:pt x="41" y="410"/>
                    <a:pt x="62" y="410"/>
                    <a:pt x="62" y="390"/>
                  </a:cubicBezTo>
                  <a:cubicBezTo>
                    <a:pt x="62" y="390"/>
                    <a:pt x="62" y="369"/>
                    <a:pt x="62" y="348"/>
                  </a:cubicBezTo>
                  <a:lnTo>
                    <a:pt x="62" y="328"/>
                  </a:lnTo>
                  <a:cubicBezTo>
                    <a:pt x="62" y="308"/>
                    <a:pt x="62" y="287"/>
                    <a:pt x="62" y="287"/>
                  </a:cubicBezTo>
                  <a:cubicBezTo>
                    <a:pt x="62" y="266"/>
                    <a:pt x="82" y="266"/>
                    <a:pt x="82" y="266"/>
                  </a:cubicBezTo>
                  <a:cubicBezTo>
                    <a:pt x="102" y="266"/>
                    <a:pt x="102" y="246"/>
                    <a:pt x="123" y="246"/>
                  </a:cubicBezTo>
                  <a:lnTo>
                    <a:pt x="123" y="246"/>
                  </a:lnTo>
                  <a:cubicBezTo>
                    <a:pt x="144" y="266"/>
                    <a:pt x="144" y="287"/>
                    <a:pt x="164" y="308"/>
                  </a:cubicBezTo>
                  <a:lnTo>
                    <a:pt x="184" y="308"/>
                  </a:lnTo>
                  <a:cubicBezTo>
                    <a:pt x="205" y="308"/>
                    <a:pt x="225" y="308"/>
                    <a:pt x="225" y="308"/>
                  </a:cubicBezTo>
                  <a:lnTo>
                    <a:pt x="225" y="287"/>
                  </a:lnTo>
                  <a:lnTo>
                    <a:pt x="205" y="266"/>
                  </a:lnTo>
                  <a:cubicBezTo>
                    <a:pt x="205" y="246"/>
                    <a:pt x="205" y="246"/>
                    <a:pt x="205" y="226"/>
                  </a:cubicBezTo>
                  <a:lnTo>
                    <a:pt x="225" y="206"/>
                  </a:lnTo>
                  <a:lnTo>
                    <a:pt x="225" y="185"/>
                  </a:lnTo>
                  <a:cubicBezTo>
                    <a:pt x="205" y="185"/>
                    <a:pt x="205" y="164"/>
                    <a:pt x="205" y="164"/>
                  </a:cubicBezTo>
                  <a:cubicBezTo>
                    <a:pt x="205" y="164"/>
                    <a:pt x="205" y="144"/>
                    <a:pt x="184" y="144"/>
                  </a:cubicBezTo>
                  <a:cubicBezTo>
                    <a:pt x="184" y="124"/>
                    <a:pt x="164" y="124"/>
                    <a:pt x="164" y="124"/>
                  </a:cubicBezTo>
                  <a:cubicBezTo>
                    <a:pt x="164" y="103"/>
                    <a:pt x="164" y="82"/>
                    <a:pt x="164" y="82"/>
                  </a:cubicBezTo>
                  <a:cubicBezTo>
                    <a:pt x="164" y="82"/>
                    <a:pt x="164" y="62"/>
                    <a:pt x="164" y="42"/>
                  </a:cubicBezTo>
                  <a:lnTo>
                    <a:pt x="164" y="21"/>
                  </a:lnTo>
                  <a:cubicBezTo>
                    <a:pt x="164" y="0"/>
                    <a:pt x="184" y="0"/>
                    <a:pt x="184" y="0"/>
                  </a:cubicBezTo>
                  <a:lnTo>
                    <a:pt x="205" y="21"/>
                  </a:lnTo>
                  <a:lnTo>
                    <a:pt x="225" y="42"/>
                  </a:lnTo>
                  <a:cubicBezTo>
                    <a:pt x="246" y="42"/>
                    <a:pt x="246" y="42"/>
                    <a:pt x="266" y="42"/>
                  </a:cubicBezTo>
                  <a:cubicBezTo>
                    <a:pt x="266" y="42"/>
                    <a:pt x="266" y="42"/>
                    <a:pt x="266" y="21"/>
                  </a:cubicBezTo>
                  <a:cubicBezTo>
                    <a:pt x="266" y="42"/>
                    <a:pt x="286" y="42"/>
                    <a:pt x="286" y="42"/>
                  </a:cubicBezTo>
                  <a:cubicBezTo>
                    <a:pt x="286" y="62"/>
                    <a:pt x="307" y="82"/>
                    <a:pt x="307" y="82"/>
                  </a:cubicBezTo>
                  <a:lnTo>
                    <a:pt x="328" y="103"/>
                  </a:lnTo>
                  <a:cubicBezTo>
                    <a:pt x="348" y="124"/>
                    <a:pt x="348" y="124"/>
                    <a:pt x="368" y="124"/>
                  </a:cubicBezTo>
                  <a:cubicBezTo>
                    <a:pt x="368" y="144"/>
                    <a:pt x="389" y="144"/>
                    <a:pt x="389" y="164"/>
                  </a:cubicBezTo>
                  <a:lnTo>
                    <a:pt x="410" y="185"/>
                  </a:lnTo>
                  <a:cubicBezTo>
                    <a:pt x="410" y="185"/>
                    <a:pt x="410" y="206"/>
                    <a:pt x="410" y="226"/>
                  </a:cubicBezTo>
                  <a:lnTo>
                    <a:pt x="410" y="246"/>
                  </a:lnTo>
                  <a:cubicBezTo>
                    <a:pt x="430" y="266"/>
                    <a:pt x="450" y="287"/>
                    <a:pt x="450" y="287"/>
                  </a:cubicBezTo>
                  <a:cubicBezTo>
                    <a:pt x="471" y="308"/>
                    <a:pt x="492" y="328"/>
                    <a:pt x="492" y="348"/>
                  </a:cubicBezTo>
                  <a:cubicBezTo>
                    <a:pt x="492" y="369"/>
                    <a:pt x="512" y="369"/>
                    <a:pt x="512" y="390"/>
                  </a:cubicBezTo>
                  <a:lnTo>
                    <a:pt x="532" y="410"/>
                  </a:lnTo>
                  <a:lnTo>
                    <a:pt x="574" y="390"/>
                  </a:lnTo>
                  <a:cubicBezTo>
                    <a:pt x="594" y="390"/>
                    <a:pt x="614" y="369"/>
                    <a:pt x="614" y="369"/>
                  </a:cubicBezTo>
                  <a:lnTo>
                    <a:pt x="614" y="369"/>
                  </a:lnTo>
                  <a:cubicBezTo>
                    <a:pt x="614" y="348"/>
                    <a:pt x="635" y="348"/>
                    <a:pt x="656" y="348"/>
                  </a:cubicBezTo>
                  <a:cubicBezTo>
                    <a:pt x="656" y="348"/>
                    <a:pt x="676" y="348"/>
                    <a:pt x="696" y="348"/>
                  </a:cubicBezTo>
                  <a:cubicBezTo>
                    <a:pt x="696" y="369"/>
                    <a:pt x="717" y="369"/>
                    <a:pt x="717" y="369"/>
                  </a:cubicBezTo>
                  <a:cubicBezTo>
                    <a:pt x="717" y="390"/>
                    <a:pt x="717" y="410"/>
                    <a:pt x="717" y="410"/>
                  </a:cubicBezTo>
                  <a:cubicBezTo>
                    <a:pt x="717" y="410"/>
                    <a:pt x="738" y="410"/>
                    <a:pt x="738" y="430"/>
                  </a:cubicBezTo>
                  <a:cubicBezTo>
                    <a:pt x="738" y="430"/>
                    <a:pt x="738" y="451"/>
                    <a:pt x="758" y="451"/>
                  </a:cubicBezTo>
                  <a:lnTo>
                    <a:pt x="758" y="451"/>
                  </a:lnTo>
                  <a:lnTo>
                    <a:pt x="758" y="472"/>
                  </a:lnTo>
                  <a:lnTo>
                    <a:pt x="758" y="492"/>
                  </a:lnTo>
                  <a:cubicBezTo>
                    <a:pt x="778" y="492"/>
                    <a:pt x="778" y="512"/>
                    <a:pt x="778" y="512"/>
                  </a:cubicBezTo>
                  <a:cubicBezTo>
                    <a:pt x="799" y="512"/>
                    <a:pt x="799" y="512"/>
                    <a:pt x="820" y="533"/>
                  </a:cubicBezTo>
                  <a:lnTo>
                    <a:pt x="840" y="554"/>
                  </a:lnTo>
                  <a:cubicBezTo>
                    <a:pt x="840" y="574"/>
                    <a:pt x="820" y="574"/>
                    <a:pt x="820" y="574"/>
                  </a:cubicBezTo>
                  <a:cubicBezTo>
                    <a:pt x="799" y="594"/>
                    <a:pt x="799" y="594"/>
                    <a:pt x="799" y="615"/>
                  </a:cubicBezTo>
                  <a:cubicBezTo>
                    <a:pt x="778" y="615"/>
                    <a:pt x="778" y="615"/>
                    <a:pt x="778" y="636"/>
                  </a:cubicBezTo>
                  <a:cubicBezTo>
                    <a:pt x="758" y="636"/>
                    <a:pt x="758" y="656"/>
                    <a:pt x="758" y="656"/>
                  </a:cubicBezTo>
                  <a:cubicBezTo>
                    <a:pt x="738" y="656"/>
                    <a:pt x="738" y="656"/>
                    <a:pt x="738" y="676"/>
                  </a:cubicBezTo>
                  <a:cubicBezTo>
                    <a:pt x="717" y="676"/>
                    <a:pt x="717" y="676"/>
                    <a:pt x="696" y="676"/>
                  </a:cubicBezTo>
                  <a:cubicBezTo>
                    <a:pt x="696" y="676"/>
                    <a:pt x="696" y="676"/>
                    <a:pt x="696" y="697"/>
                  </a:cubicBezTo>
                  <a:cubicBezTo>
                    <a:pt x="696" y="697"/>
                    <a:pt x="676" y="697"/>
                    <a:pt x="676" y="718"/>
                  </a:cubicBezTo>
                  <a:lnTo>
                    <a:pt x="696" y="738"/>
                  </a:lnTo>
                  <a:lnTo>
                    <a:pt x="717" y="758"/>
                  </a:lnTo>
                  <a:cubicBezTo>
                    <a:pt x="717" y="758"/>
                    <a:pt x="738" y="758"/>
                    <a:pt x="738" y="779"/>
                  </a:cubicBezTo>
                  <a:cubicBezTo>
                    <a:pt x="758" y="779"/>
                    <a:pt x="778" y="779"/>
                    <a:pt x="799" y="779"/>
                  </a:cubicBezTo>
                  <a:cubicBezTo>
                    <a:pt x="799" y="800"/>
                    <a:pt x="820" y="800"/>
                    <a:pt x="840" y="800"/>
                  </a:cubicBezTo>
                  <a:cubicBezTo>
                    <a:pt x="840" y="820"/>
                    <a:pt x="860" y="820"/>
                    <a:pt x="860" y="840"/>
                  </a:cubicBezTo>
                  <a:cubicBezTo>
                    <a:pt x="881" y="840"/>
                    <a:pt x="902" y="861"/>
                    <a:pt x="902" y="882"/>
                  </a:cubicBezTo>
                  <a:cubicBezTo>
                    <a:pt x="902" y="902"/>
                    <a:pt x="922" y="922"/>
                    <a:pt x="922" y="943"/>
                  </a:cubicBezTo>
                  <a:cubicBezTo>
                    <a:pt x="922" y="943"/>
                    <a:pt x="922" y="943"/>
                    <a:pt x="922" y="963"/>
                  </a:cubicBezTo>
                  <a:cubicBezTo>
                    <a:pt x="942" y="963"/>
                    <a:pt x="963" y="984"/>
                    <a:pt x="963" y="984"/>
                  </a:cubicBezTo>
                  <a:lnTo>
                    <a:pt x="983" y="1004"/>
                  </a:lnTo>
                  <a:cubicBezTo>
                    <a:pt x="1004" y="1004"/>
                    <a:pt x="1004" y="1025"/>
                    <a:pt x="1004" y="1025"/>
                  </a:cubicBezTo>
                  <a:cubicBezTo>
                    <a:pt x="1004" y="1045"/>
                    <a:pt x="1004" y="1066"/>
                    <a:pt x="1024" y="1066"/>
                  </a:cubicBezTo>
                  <a:cubicBezTo>
                    <a:pt x="1024" y="1086"/>
                    <a:pt x="1024" y="1107"/>
                    <a:pt x="1024" y="1107"/>
                  </a:cubicBezTo>
                  <a:cubicBezTo>
                    <a:pt x="1045" y="1107"/>
                    <a:pt x="1045" y="1107"/>
                    <a:pt x="1065" y="1127"/>
                  </a:cubicBezTo>
                  <a:lnTo>
                    <a:pt x="1065" y="1148"/>
                  </a:lnTo>
                  <a:cubicBezTo>
                    <a:pt x="1086" y="1148"/>
                    <a:pt x="1106" y="1148"/>
                    <a:pt x="1106" y="1148"/>
                  </a:cubicBezTo>
                  <a:cubicBezTo>
                    <a:pt x="1127" y="1168"/>
                    <a:pt x="1127" y="1168"/>
                    <a:pt x="1127" y="1189"/>
                  </a:cubicBezTo>
                  <a:cubicBezTo>
                    <a:pt x="1147" y="1189"/>
                    <a:pt x="1127" y="1209"/>
                    <a:pt x="1127" y="1230"/>
                  </a:cubicBezTo>
                  <a:cubicBezTo>
                    <a:pt x="1127" y="1230"/>
                    <a:pt x="1147" y="1250"/>
                    <a:pt x="1168" y="1271"/>
                  </a:cubicBezTo>
                  <a:cubicBezTo>
                    <a:pt x="1168" y="1271"/>
                    <a:pt x="1168" y="1291"/>
                    <a:pt x="1168" y="1312"/>
                  </a:cubicBezTo>
                  <a:cubicBezTo>
                    <a:pt x="1168" y="1312"/>
                    <a:pt x="1188" y="1312"/>
                    <a:pt x="1188" y="1332"/>
                  </a:cubicBezTo>
                  <a:cubicBezTo>
                    <a:pt x="1209" y="1332"/>
                    <a:pt x="1209" y="1332"/>
                    <a:pt x="1229" y="1332"/>
                  </a:cubicBezTo>
                  <a:lnTo>
                    <a:pt x="1250" y="1312"/>
                  </a:lnTo>
                  <a:cubicBezTo>
                    <a:pt x="1250" y="1312"/>
                    <a:pt x="1270" y="1332"/>
                    <a:pt x="1270" y="1353"/>
                  </a:cubicBezTo>
                  <a:cubicBezTo>
                    <a:pt x="1270" y="1353"/>
                    <a:pt x="1270" y="1373"/>
                    <a:pt x="1291" y="1373"/>
                  </a:cubicBezTo>
                  <a:lnTo>
                    <a:pt x="1311" y="1394"/>
                  </a:lnTo>
                  <a:cubicBezTo>
                    <a:pt x="1332" y="1394"/>
                    <a:pt x="1332" y="1414"/>
                    <a:pt x="1332" y="1414"/>
                  </a:cubicBezTo>
                  <a:cubicBezTo>
                    <a:pt x="1332" y="1414"/>
                    <a:pt x="1332" y="1435"/>
                    <a:pt x="1311" y="1455"/>
                  </a:cubicBezTo>
                  <a:lnTo>
                    <a:pt x="1311" y="1476"/>
                  </a:lnTo>
                  <a:cubicBezTo>
                    <a:pt x="1311" y="1476"/>
                    <a:pt x="1311" y="1496"/>
                    <a:pt x="1311" y="1517"/>
                  </a:cubicBezTo>
                  <a:lnTo>
                    <a:pt x="1311" y="1537"/>
                  </a:lnTo>
                  <a:cubicBezTo>
                    <a:pt x="1332" y="1537"/>
                    <a:pt x="1332" y="1537"/>
                    <a:pt x="1352" y="1537"/>
                  </a:cubicBezTo>
                  <a:lnTo>
                    <a:pt x="1373" y="1537"/>
                  </a:lnTo>
                  <a:lnTo>
                    <a:pt x="1373" y="1558"/>
                  </a:lnTo>
                  <a:lnTo>
                    <a:pt x="1393" y="1578"/>
                  </a:lnTo>
                  <a:cubicBezTo>
                    <a:pt x="1393" y="1599"/>
                    <a:pt x="1393" y="1599"/>
                    <a:pt x="1393" y="1599"/>
                  </a:cubicBezTo>
                  <a:lnTo>
                    <a:pt x="1373" y="1619"/>
                  </a:lnTo>
                  <a:lnTo>
                    <a:pt x="1373" y="1639"/>
                  </a:lnTo>
                  <a:lnTo>
                    <a:pt x="1373" y="1660"/>
                  </a:lnTo>
                  <a:cubicBezTo>
                    <a:pt x="1373" y="1681"/>
                    <a:pt x="1373" y="1701"/>
                    <a:pt x="1373" y="1701"/>
                  </a:cubicBezTo>
                  <a:cubicBezTo>
                    <a:pt x="1373" y="1721"/>
                    <a:pt x="1393" y="1742"/>
                    <a:pt x="1393" y="176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6" name="Freeform 573">
              <a:extLst>
                <a:ext uri="{FF2B5EF4-FFF2-40B4-BE49-F238E27FC236}">
                  <a16:creationId xmlns:a16="http://schemas.microsoft.com/office/drawing/2014/main" id="{EEE16288-2A14-904E-B7D6-9E159BE22A8E}"/>
                </a:ext>
              </a:extLst>
            </p:cNvPr>
            <p:cNvSpPr>
              <a:spLocks noChangeArrowheads="1"/>
            </p:cNvSpPr>
            <p:nvPr/>
          </p:nvSpPr>
          <p:spPr bwMode="auto">
            <a:xfrm>
              <a:off x="5899150" y="7304088"/>
              <a:ext cx="15875" cy="30162"/>
            </a:xfrm>
            <a:custGeom>
              <a:avLst/>
              <a:gdLst>
                <a:gd name="T0" fmla="*/ 42 w 43"/>
                <a:gd name="T1" fmla="*/ 61 h 83"/>
                <a:gd name="T2" fmla="*/ 42 w 43"/>
                <a:gd name="T3" fmla="*/ 61 h 83"/>
                <a:gd name="T4" fmla="*/ 21 w 43"/>
                <a:gd name="T5" fmla="*/ 82 h 83"/>
                <a:gd name="T6" fmla="*/ 0 w 43"/>
                <a:gd name="T7" fmla="*/ 61 h 83"/>
                <a:gd name="T8" fmla="*/ 0 w 43"/>
                <a:gd name="T9" fmla="*/ 41 h 83"/>
                <a:gd name="T10" fmla="*/ 0 w 43"/>
                <a:gd name="T11" fmla="*/ 20 h 83"/>
                <a:gd name="T12" fmla="*/ 0 w 43"/>
                <a:gd name="T13" fmla="*/ 20 h 83"/>
                <a:gd name="T14" fmla="*/ 21 w 43"/>
                <a:gd name="T15" fmla="*/ 0 h 83"/>
                <a:gd name="T16" fmla="*/ 42 w 43"/>
                <a:gd name="T17" fmla="*/ 20 h 83"/>
                <a:gd name="T18" fmla="*/ 42 w 43"/>
                <a:gd name="T19" fmla="*/ 41 h 83"/>
                <a:gd name="T20" fmla="*/ 42 w 43"/>
                <a:gd name="T21" fmla="*/ 41 h 83"/>
                <a:gd name="T22" fmla="*/ 42 w 43"/>
                <a:gd name="T23" fmla="*/ 6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83">
                  <a:moveTo>
                    <a:pt x="42" y="61"/>
                  </a:moveTo>
                  <a:lnTo>
                    <a:pt x="42" y="61"/>
                  </a:lnTo>
                  <a:cubicBezTo>
                    <a:pt x="21" y="61"/>
                    <a:pt x="21" y="82"/>
                    <a:pt x="21" y="82"/>
                  </a:cubicBezTo>
                  <a:cubicBezTo>
                    <a:pt x="21" y="82"/>
                    <a:pt x="21" y="82"/>
                    <a:pt x="0" y="61"/>
                  </a:cubicBezTo>
                  <a:cubicBezTo>
                    <a:pt x="0" y="61"/>
                    <a:pt x="0" y="61"/>
                    <a:pt x="0" y="41"/>
                  </a:cubicBezTo>
                  <a:cubicBezTo>
                    <a:pt x="0" y="41"/>
                    <a:pt x="0" y="41"/>
                    <a:pt x="0" y="20"/>
                  </a:cubicBezTo>
                  <a:lnTo>
                    <a:pt x="0" y="20"/>
                  </a:lnTo>
                  <a:cubicBezTo>
                    <a:pt x="21" y="0"/>
                    <a:pt x="21" y="0"/>
                    <a:pt x="21" y="0"/>
                  </a:cubicBezTo>
                  <a:cubicBezTo>
                    <a:pt x="21" y="0"/>
                    <a:pt x="42" y="0"/>
                    <a:pt x="42" y="20"/>
                  </a:cubicBezTo>
                  <a:cubicBezTo>
                    <a:pt x="42" y="20"/>
                    <a:pt x="42" y="20"/>
                    <a:pt x="42" y="41"/>
                  </a:cubicBezTo>
                  <a:lnTo>
                    <a:pt x="42" y="41"/>
                  </a:lnTo>
                  <a:cubicBezTo>
                    <a:pt x="42" y="61"/>
                    <a:pt x="42" y="61"/>
                    <a:pt x="42"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7" name="Freeform 574">
              <a:extLst>
                <a:ext uri="{FF2B5EF4-FFF2-40B4-BE49-F238E27FC236}">
                  <a16:creationId xmlns:a16="http://schemas.microsoft.com/office/drawing/2014/main" id="{39D64BC4-0E35-D54C-8FD0-56D64F585920}"/>
                </a:ext>
              </a:extLst>
            </p:cNvPr>
            <p:cNvSpPr>
              <a:spLocks noChangeArrowheads="1"/>
            </p:cNvSpPr>
            <p:nvPr/>
          </p:nvSpPr>
          <p:spPr bwMode="auto">
            <a:xfrm>
              <a:off x="6149975" y="7459663"/>
              <a:ext cx="30163" cy="30162"/>
            </a:xfrm>
            <a:custGeom>
              <a:avLst/>
              <a:gdLst>
                <a:gd name="T0" fmla="*/ 41 w 83"/>
                <a:gd name="T1" fmla="*/ 62 h 83"/>
                <a:gd name="T2" fmla="*/ 41 w 83"/>
                <a:gd name="T3" fmla="*/ 62 h 83"/>
                <a:gd name="T4" fmla="*/ 21 w 83"/>
                <a:gd name="T5" fmla="*/ 82 h 83"/>
                <a:gd name="T6" fmla="*/ 0 w 83"/>
                <a:gd name="T7" fmla="*/ 62 h 83"/>
                <a:gd name="T8" fmla="*/ 21 w 83"/>
                <a:gd name="T9" fmla="*/ 41 h 83"/>
                <a:gd name="T10" fmla="*/ 21 w 83"/>
                <a:gd name="T11" fmla="*/ 21 h 83"/>
                <a:gd name="T12" fmla="*/ 41 w 83"/>
                <a:gd name="T13" fmla="*/ 0 h 83"/>
                <a:gd name="T14" fmla="*/ 62 w 83"/>
                <a:gd name="T15" fmla="*/ 21 h 83"/>
                <a:gd name="T16" fmla="*/ 82 w 83"/>
                <a:gd name="T17" fmla="*/ 21 h 83"/>
                <a:gd name="T18" fmla="*/ 82 w 83"/>
                <a:gd name="T19" fmla="*/ 41 h 83"/>
                <a:gd name="T20" fmla="*/ 62 w 83"/>
                <a:gd name="T21" fmla="*/ 62 h 83"/>
                <a:gd name="T22" fmla="*/ 62 w 83"/>
                <a:gd name="T23" fmla="*/ 62 h 83"/>
                <a:gd name="T24" fmla="*/ 41 w 83"/>
                <a:gd name="T25"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83">
                  <a:moveTo>
                    <a:pt x="41" y="62"/>
                  </a:moveTo>
                  <a:lnTo>
                    <a:pt x="41" y="62"/>
                  </a:lnTo>
                  <a:cubicBezTo>
                    <a:pt x="21" y="62"/>
                    <a:pt x="21" y="82"/>
                    <a:pt x="21" y="82"/>
                  </a:cubicBezTo>
                  <a:lnTo>
                    <a:pt x="0" y="62"/>
                  </a:lnTo>
                  <a:cubicBezTo>
                    <a:pt x="0" y="62"/>
                    <a:pt x="0" y="41"/>
                    <a:pt x="21" y="41"/>
                  </a:cubicBezTo>
                  <a:lnTo>
                    <a:pt x="21" y="21"/>
                  </a:lnTo>
                  <a:lnTo>
                    <a:pt x="41" y="0"/>
                  </a:lnTo>
                  <a:lnTo>
                    <a:pt x="62" y="21"/>
                  </a:lnTo>
                  <a:cubicBezTo>
                    <a:pt x="82" y="21"/>
                    <a:pt x="82" y="21"/>
                    <a:pt x="82" y="21"/>
                  </a:cubicBezTo>
                  <a:cubicBezTo>
                    <a:pt x="82" y="41"/>
                    <a:pt x="82" y="41"/>
                    <a:pt x="82" y="41"/>
                  </a:cubicBezTo>
                  <a:cubicBezTo>
                    <a:pt x="82" y="62"/>
                    <a:pt x="82" y="62"/>
                    <a:pt x="62" y="62"/>
                  </a:cubicBezTo>
                  <a:lnTo>
                    <a:pt x="62" y="62"/>
                  </a:lnTo>
                  <a:cubicBezTo>
                    <a:pt x="41" y="62"/>
                    <a:pt x="41" y="62"/>
                    <a:pt x="41"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8" name="Freeform 575">
              <a:extLst>
                <a:ext uri="{FF2B5EF4-FFF2-40B4-BE49-F238E27FC236}">
                  <a16:creationId xmlns:a16="http://schemas.microsoft.com/office/drawing/2014/main" id="{D2DCBFF4-B6A6-8B4F-9849-2819FB3F0254}"/>
                </a:ext>
              </a:extLst>
            </p:cNvPr>
            <p:cNvSpPr>
              <a:spLocks noChangeArrowheads="1"/>
            </p:cNvSpPr>
            <p:nvPr/>
          </p:nvSpPr>
          <p:spPr bwMode="auto">
            <a:xfrm>
              <a:off x="6149975" y="7504113"/>
              <a:ext cx="15875" cy="7937"/>
            </a:xfrm>
            <a:custGeom>
              <a:avLst/>
              <a:gdLst>
                <a:gd name="T0" fmla="*/ 21 w 42"/>
                <a:gd name="T1" fmla="*/ 0 h 21"/>
                <a:gd name="T2" fmla="*/ 21 w 42"/>
                <a:gd name="T3" fmla="*/ 0 h 21"/>
                <a:gd name="T4" fmla="*/ 0 w 42"/>
                <a:gd name="T5" fmla="*/ 0 h 21"/>
                <a:gd name="T6" fmla="*/ 0 w 42"/>
                <a:gd name="T7" fmla="*/ 20 h 21"/>
                <a:gd name="T8" fmla="*/ 21 w 42"/>
                <a:gd name="T9" fmla="*/ 20 h 21"/>
                <a:gd name="T10" fmla="*/ 21 w 42"/>
                <a:gd name="T11" fmla="*/ 0 h 21"/>
              </a:gdLst>
              <a:ahLst/>
              <a:cxnLst>
                <a:cxn ang="0">
                  <a:pos x="T0" y="T1"/>
                </a:cxn>
                <a:cxn ang="0">
                  <a:pos x="T2" y="T3"/>
                </a:cxn>
                <a:cxn ang="0">
                  <a:pos x="T4" y="T5"/>
                </a:cxn>
                <a:cxn ang="0">
                  <a:pos x="T6" y="T7"/>
                </a:cxn>
                <a:cxn ang="0">
                  <a:pos x="T8" y="T9"/>
                </a:cxn>
                <a:cxn ang="0">
                  <a:pos x="T10" y="T11"/>
                </a:cxn>
              </a:cxnLst>
              <a:rect l="0" t="0" r="r" b="b"/>
              <a:pathLst>
                <a:path w="42" h="21">
                  <a:moveTo>
                    <a:pt x="21" y="0"/>
                  </a:moveTo>
                  <a:lnTo>
                    <a:pt x="21" y="0"/>
                  </a:lnTo>
                  <a:lnTo>
                    <a:pt x="0" y="0"/>
                  </a:lnTo>
                  <a:cubicBezTo>
                    <a:pt x="0" y="20"/>
                    <a:pt x="0" y="20"/>
                    <a:pt x="0" y="20"/>
                  </a:cubicBezTo>
                  <a:lnTo>
                    <a:pt x="21" y="20"/>
                  </a:lnTo>
                  <a:cubicBezTo>
                    <a:pt x="21" y="20"/>
                    <a:pt x="41" y="2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79" name="Freeform 576">
              <a:extLst>
                <a:ext uri="{FF2B5EF4-FFF2-40B4-BE49-F238E27FC236}">
                  <a16:creationId xmlns:a16="http://schemas.microsoft.com/office/drawing/2014/main" id="{E24B7C1A-C84A-BF4C-AF52-AD950340A176}"/>
                </a:ext>
              </a:extLst>
            </p:cNvPr>
            <p:cNvSpPr>
              <a:spLocks noChangeArrowheads="1"/>
            </p:cNvSpPr>
            <p:nvPr/>
          </p:nvSpPr>
          <p:spPr bwMode="auto">
            <a:xfrm>
              <a:off x="6129338" y="7481888"/>
              <a:ext cx="7937" cy="7937"/>
            </a:xfrm>
            <a:custGeom>
              <a:avLst/>
              <a:gdLst>
                <a:gd name="T0" fmla="*/ 0 w 21"/>
                <a:gd name="T1" fmla="*/ 20 h 21"/>
                <a:gd name="T2" fmla="*/ 0 w 21"/>
                <a:gd name="T3" fmla="*/ 20 h 21"/>
                <a:gd name="T4" fmla="*/ 0 w 21"/>
                <a:gd name="T5" fmla="*/ 0 h 21"/>
                <a:gd name="T6" fmla="*/ 0 w 21"/>
                <a:gd name="T7" fmla="*/ 0 h 21"/>
                <a:gd name="T8" fmla="*/ 0 w 21"/>
                <a:gd name="T9" fmla="*/ 0 h 21"/>
                <a:gd name="T10" fmla="*/ 20 w 21"/>
                <a:gd name="T11" fmla="*/ 0 h 21"/>
                <a:gd name="T12" fmla="*/ 20 w 21"/>
                <a:gd name="T13" fmla="*/ 20 h 21"/>
                <a:gd name="T14" fmla="*/ 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20"/>
                  </a:moveTo>
                  <a:lnTo>
                    <a:pt x="0" y="20"/>
                  </a:lnTo>
                  <a:lnTo>
                    <a:pt x="0" y="0"/>
                  </a:lnTo>
                  <a:lnTo>
                    <a:pt x="0" y="0"/>
                  </a:lnTo>
                  <a:lnTo>
                    <a:pt x="0" y="0"/>
                  </a:lnTo>
                  <a:cubicBezTo>
                    <a:pt x="20" y="0"/>
                    <a:pt x="20" y="0"/>
                    <a:pt x="20" y="0"/>
                  </a:cubicBezTo>
                  <a:cubicBezTo>
                    <a:pt x="20" y="0"/>
                    <a:pt x="20" y="0"/>
                    <a:pt x="20" y="20"/>
                  </a:cubicBezTo>
                  <a:cubicBezTo>
                    <a:pt x="0" y="20"/>
                    <a:pt x="0" y="20"/>
                    <a:pt x="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0" name="Freeform 577">
              <a:extLst>
                <a:ext uri="{FF2B5EF4-FFF2-40B4-BE49-F238E27FC236}">
                  <a16:creationId xmlns:a16="http://schemas.microsoft.com/office/drawing/2014/main" id="{B63A542D-62CB-9E45-ACC1-27952D95A6EA}"/>
                </a:ext>
              </a:extLst>
            </p:cNvPr>
            <p:cNvSpPr>
              <a:spLocks noChangeArrowheads="1"/>
            </p:cNvSpPr>
            <p:nvPr/>
          </p:nvSpPr>
          <p:spPr bwMode="auto">
            <a:xfrm>
              <a:off x="6107113" y="7481888"/>
              <a:ext cx="7937" cy="7937"/>
            </a:xfrm>
            <a:custGeom>
              <a:avLst/>
              <a:gdLst>
                <a:gd name="T0" fmla="*/ 21 w 22"/>
                <a:gd name="T1" fmla="*/ 0 h 21"/>
                <a:gd name="T2" fmla="*/ 21 w 22"/>
                <a:gd name="T3" fmla="*/ 0 h 21"/>
                <a:gd name="T4" fmla="*/ 0 w 22"/>
                <a:gd name="T5" fmla="*/ 0 h 21"/>
                <a:gd name="T6" fmla="*/ 0 w 22"/>
                <a:gd name="T7" fmla="*/ 0 h 21"/>
                <a:gd name="T8" fmla="*/ 21 w 22"/>
                <a:gd name="T9" fmla="*/ 0 h 21"/>
              </a:gdLst>
              <a:ahLst/>
              <a:cxnLst>
                <a:cxn ang="0">
                  <a:pos x="T0" y="T1"/>
                </a:cxn>
                <a:cxn ang="0">
                  <a:pos x="T2" y="T3"/>
                </a:cxn>
                <a:cxn ang="0">
                  <a:pos x="T4" y="T5"/>
                </a:cxn>
                <a:cxn ang="0">
                  <a:pos x="T6" y="T7"/>
                </a:cxn>
                <a:cxn ang="0">
                  <a:pos x="T8" y="T9"/>
                </a:cxn>
              </a:cxnLst>
              <a:rect l="0" t="0" r="r" b="b"/>
              <a:pathLst>
                <a:path w="22" h="21">
                  <a:moveTo>
                    <a:pt x="21" y="0"/>
                  </a:moveTo>
                  <a:lnTo>
                    <a:pt x="21" y="0"/>
                  </a:lnTo>
                  <a:cubicBezTo>
                    <a:pt x="21" y="20"/>
                    <a:pt x="0" y="0"/>
                    <a:pt x="0" y="0"/>
                  </a:cubicBezTo>
                  <a:lnTo>
                    <a:pt x="0" y="0"/>
                  </a:lnTo>
                  <a:cubicBezTo>
                    <a:pt x="0" y="0"/>
                    <a:pt x="0"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1" name="Freeform 578">
              <a:extLst>
                <a:ext uri="{FF2B5EF4-FFF2-40B4-BE49-F238E27FC236}">
                  <a16:creationId xmlns:a16="http://schemas.microsoft.com/office/drawing/2014/main" id="{72EA16AE-4973-1349-8434-BF4BCD80A2E7}"/>
                </a:ext>
              </a:extLst>
            </p:cNvPr>
            <p:cNvSpPr>
              <a:spLocks noChangeArrowheads="1"/>
            </p:cNvSpPr>
            <p:nvPr/>
          </p:nvSpPr>
          <p:spPr bwMode="auto">
            <a:xfrm>
              <a:off x="6194425" y="7467600"/>
              <a:ext cx="7938" cy="15875"/>
            </a:xfrm>
            <a:custGeom>
              <a:avLst/>
              <a:gdLst>
                <a:gd name="T0" fmla="*/ 21 w 22"/>
                <a:gd name="T1" fmla="*/ 20 h 42"/>
                <a:gd name="T2" fmla="*/ 21 w 22"/>
                <a:gd name="T3" fmla="*/ 20 h 42"/>
                <a:gd name="T4" fmla="*/ 21 w 22"/>
                <a:gd name="T5" fmla="*/ 0 h 42"/>
                <a:gd name="T6" fmla="*/ 0 w 22"/>
                <a:gd name="T7" fmla="*/ 0 h 42"/>
                <a:gd name="T8" fmla="*/ 0 w 22"/>
                <a:gd name="T9" fmla="*/ 20 h 42"/>
                <a:gd name="T10" fmla="*/ 0 w 22"/>
                <a:gd name="T11" fmla="*/ 41 h 42"/>
                <a:gd name="T12" fmla="*/ 21 w 22"/>
                <a:gd name="T13" fmla="*/ 41 h 42"/>
                <a:gd name="T14" fmla="*/ 21 w 22"/>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21" y="20"/>
                  </a:moveTo>
                  <a:lnTo>
                    <a:pt x="21" y="20"/>
                  </a:lnTo>
                  <a:lnTo>
                    <a:pt x="21" y="0"/>
                  </a:lnTo>
                  <a:lnTo>
                    <a:pt x="0" y="0"/>
                  </a:lnTo>
                  <a:lnTo>
                    <a:pt x="0" y="20"/>
                  </a:lnTo>
                  <a:cubicBezTo>
                    <a:pt x="0" y="20"/>
                    <a:pt x="0" y="20"/>
                    <a:pt x="0" y="41"/>
                  </a:cubicBezTo>
                  <a:lnTo>
                    <a:pt x="21" y="41"/>
                  </a:lnTo>
                  <a:cubicBezTo>
                    <a:pt x="21" y="20"/>
                    <a:pt x="21" y="2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2" name="Freeform 579">
              <a:extLst>
                <a:ext uri="{FF2B5EF4-FFF2-40B4-BE49-F238E27FC236}">
                  <a16:creationId xmlns:a16="http://schemas.microsoft.com/office/drawing/2014/main" id="{C1F8FBB3-37B2-E747-8C80-4B09D818A3C7}"/>
                </a:ext>
              </a:extLst>
            </p:cNvPr>
            <p:cNvSpPr>
              <a:spLocks noChangeArrowheads="1"/>
            </p:cNvSpPr>
            <p:nvPr/>
          </p:nvSpPr>
          <p:spPr bwMode="auto">
            <a:xfrm>
              <a:off x="6430963" y="7526338"/>
              <a:ext cx="15875" cy="14287"/>
            </a:xfrm>
            <a:custGeom>
              <a:avLst/>
              <a:gdLst>
                <a:gd name="T0" fmla="*/ 21 w 42"/>
                <a:gd name="T1" fmla="*/ 20 h 41"/>
                <a:gd name="T2" fmla="*/ 21 w 42"/>
                <a:gd name="T3" fmla="*/ 20 h 41"/>
                <a:gd name="T4" fmla="*/ 41 w 42"/>
                <a:gd name="T5" fmla="*/ 0 h 41"/>
                <a:gd name="T6" fmla="*/ 21 w 42"/>
                <a:gd name="T7" fmla="*/ 0 h 41"/>
                <a:gd name="T8" fmla="*/ 0 w 42"/>
                <a:gd name="T9" fmla="*/ 0 h 41"/>
                <a:gd name="T10" fmla="*/ 0 w 42"/>
                <a:gd name="T11" fmla="*/ 20 h 41"/>
                <a:gd name="T12" fmla="*/ 0 w 42"/>
                <a:gd name="T13" fmla="*/ 40 h 41"/>
                <a:gd name="T14" fmla="*/ 21 w 42"/>
                <a:gd name="T15" fmla="*/ 40 h 41"/>
                <a:gd name="T16" fmla="*/ 21 w 42"/>
                <a:gd name="T17" fmla="*/ 2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1">
                  <a:moveTo>
                    <a:pt x="21" y="20"/>
                  </a:moveTo>
                  <a:lnTo>
                    <a:pt x="21" y="20"/>
                  </a:lnTo>
                  <a:cubicBezTo>
                    <a:pt x="41" y="20"/>
                    <a:pt x="41" y="20"/>
                    <a:pt x="41" y="0"/>
                  </a:cubicBezTo>
                  <a:lnTo>
                    <a:pt x="21" y="0"/>
                  </a:lnTo>
                  <a:lnTo>
                    <a:pt x="0" y="0"/>
                  </a:lnTo>
                  <a:cubicBezTo>
                    <a:pt x="0" y="0"/>
                    <a:pt x="0" y="0"/>
                    <a:pt x="0" y="20"/>
                  </a:cubicBezTo>
                  <a:cubicBezTo>
                    <a:pt x="0" y="20"/>
                    <a:pt x="0" y="20"/>
                    <a:pt x="0" y="40"/>
                  </a:cubicBezTo>
                  <a:lnTo>
                    <a:pt x="21" y="40"/>
                  </a:lnTo>
                  <a:cubicBezTo>
                    <a:pt x="21" y="40"/>
                    <a:pt x="21" y="40"/>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3" name="Freeform 580">
              <a:extLst>
                <a:ext uri="{FF2B5EF4-FFF2-40B4-BE49-F238E27FC236}">
                  <a16:creationId xmlns:a16="http://schemas.microsoft.com/office/drawing/2014/main" id="{6150930D-A94C-1641-9832-24245456D48C}"/>
                </a:ext>
              </a:extLst>
            </p:cNvPr>
            <p:cNvSpPr>
              <a:spLocks noChangeArrowheads="1"/>
            </p:cNvSpPr>
            <p:nvPr/>
          </p:nvSpPr>
          <p:spPr bwMode="auto">
            <a:xfrm>
              <a:off x="6445250" y="7504113"/>
              <a:ext cx="7938" cy="15875"/>
            </a:xfrm>
            <a:custGeom>
              <a:avLst/>
              <a:gdLst>
                <a:gd name="T0" fmla="*/ 20 w 21"/>
                <a:gd name="T1" fmla="*/ 41 h 42"/>
                <a:gd name="T2" fmla="*/ 20 w 21"/>
                <a:gd name="T3" fmla="*/ 41 h 42"/>
                <a:gd name="T4" fmla="*/ 0 w 21"/>
                <a:gd name="T5" fmla="*/ 20 h 42"/>
                <a:gd name="T6" fmla="*/ 0 w 21"/>
                <a:gd name="T7" fmla="*/ 0 h 42"/>
                <a:gd name="T8" fmla="*/ 20 w 21"/>
                <a:gd name="T9" fmla="*/ 0 h 42"/>
                <a:gd name="T10" fmla="*/ 20 w 21"/>
                <a:gd name="T11" fmla="*/ 0 h 42"/>
                <a:gd name="T12" fmla="*/ 20 w 21"/>
                <a:gd name="T13" fmla="*/ 20 h 42"/>
                <a:gd name="T14" fmla="*/ 20 w 21"/>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41"/>
                  </a:moveTo>
                  <a:lnTo>
                    <a:pt x="20" y="41"/>
                  </a:lnTo>
                  <a:lnTo>
                    <a:pt x="0" y="20"/>
                  </a:lnTo>
                  <a:cubicBezTo>
                    <a:pt x="0" y="20"/>
                    <a:pt x="0" y="20"/>
                    <a:pt x="0" y="0"/>
                  </a:cubicBezTo>
                  <a:lnTo>
                    <a:pt x="20" y="0"/>
                  </a:lnTo>
                  <a:lnTo>
                    <a:pt x="20" y="0"/>
                  </a:lnTo>
                  <a:cubicBezTo>
                    <a:pt x="20" y="20"/>
                    <a:pt x="20" y="20"/>
                    <a:pt x="20" y="20"/>
                  </a:cubicBezTo>
                  <a:cubicBezTo>
                    <a:pt x="20" y="41"/>
                    <a:pt x="20"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4" name="Freeform 581">
              <a:extLst>
                <a:ext uri="{FF2B5EF4-FFF2-40B4-BE49-F238E27FC236}">
                  <a16:creationId xmlns:a16="http://schemas.microsoft.com/office/drawing/2014/main" id="{22704C3E-BB31-B54E-AF83-E08F0453D83F}"/>
                </a:ext>
              </a:extLst>
            </p:cNvPr>
            <p:cNvSpPr>
              <a:spLocks noChangeArrowheads="1"/>
            </p:cNvSpPr>
            <p:nvPr/>
          </p:nvSpPr>
          <p:spPr bwMode="auto">
            <a:xfrm>
              <a:off x="6202363" y="7156450"/>
              <a:ext cx="303212" cy="339725"/>
            </a:xfrm>
            <a:custGeom>
              <a:avLst/>
              <a:gdLst>
                <a:gd name="T0" fmla="*/ 798 w 841"/>
                <a:gd name="T1" fmla="*/ 779 h 944"/>
                <a:gd name="T2" fmla="*/ 798 w 841"/>
                <a:gd name="T3" fmla="*/ 676 h 944"/>
                <a:gd name="T4" fmla="*/ 840 w 841"/>
                <a:gd name="T5" fmla="*/ 574 h 944"/>
                <a:gd name="T6" fmla="*/ 819 w 841"/>
                <a:gd name="T7" fmla="*/ 471 h 944"/>
                <a:gd name="T8" fmla="*/ 758 w 841"/>
                <a:gd name="T9" fmla="*/ 389 h 944"/>
                <a:gd name="T10" fmla="*/ 778 w 841"/>
                <a:gd name="T11" fmla="*/ 348 h 944"/>
                <a:gd name="T12" fmla="*/ 738 w 841"/>
                <a:gd name="T13" fmla="*/ 246 h 944"/>
                <a:gd name="T14" fmla="*/ 738 w 841"/>
                <a:gd name="T15" fmla="*/ 123 h 944"/>
                <a:gd name="T16" fmla="*/ 676 w 841"/>
                <a:gd name="T17" fmla="*/ 102 h 944"/>
                <a:gd name="T18" fmla="*/ 676 w 841"/>
                <a:gd name="T19" fmla="*/ 20 h 944"/>
                <a:gd name="T20" fmla="*/ 594 w 841"/>
                <a:gd name="T21" fmla="*/ 20 h 944"/>
                <a:gd name="T22" fmla="*/ 614 w 841"/>
                <a:gd name="T23" fmla="*/ 82 h 944"/>
                <a:gd name="T24" fmla="*/ 614 w 841"/>
                <a:gd name="T25" fmla="*/ 164 h 944"/>
                <a:gd name="T26" fmla="*/ 574 w 841"/>
                <a:gd name="T27" fmla="*/ 184 h 944"/>
                <a:gd name="T28" fmla="*/ 512 w 841"/>
                <a:gd name="T29" fmla="*/ 184 h 944"/>
                <a:gd name="T30" fmla="*/ 492 w 841"/>
                <a:gd name="T31" fmla="*/ 266 h 944"/>
                <a:gd name="T32" fmla="*/ 471 w 841"/>
                <a:gd name="T33" fmla="*/ 287 h 944"/>
                <a:gd name="T34" fmla="*/ 430 w 841"/>
                <a:gd name="T35" fmla="*/ 369 h 944"/>
                <a:gd name="T36" fmla="*/ 348 w 841"/>
                <a:gd name="T37" fmla="*/ 410 h 944"/>
                <a:gd name="T38" fmla="*/ 348 w 841"/>
                <a:gd name="T39" fmla="*/ 369 h 944"/>
                <a:gd name="T40" fmla="*/ 328 w 841"/>
                <a:gd name="T41" fmla="*/ 287 h 944"/>
                <a:gd name="T42" fmla="*/ 266 w 841"/>
                <a:gd name="T43" fmla="*/ 246 h 944"/>
                <a:gd name="T44" fmla="*/ 225 w 841"/>
                <a:gd name="T45" fmla="*/ 307 h 944"/>
                <a:gd name="T46" fmla="*/ 184 w 841"/>
                <a:gd name="T47" fmla="*/ 369 h 944"/>
                <a:gd name="T48" fmla="*/ 102 w 841"/>
                <a:gd name="T49" fmla="*/ 410 h 944"/>
                <a:gd name="T50" fmla="*/ 61 w 841"/>
                <a:gd name="T51" fmla="*/ 512 h 944"/>
                <a:gd name="T52" fmla="*/ 40 w 841"/>
                <a:gd name="T53" fmla="*/ 615 h 944"/>
                <a:gd name="T54" fmla="*/ 20 w 841"/>
                <a:gd name="T55" fmla="*/ 676 h 944"/>
                <a:gd name="T56" fmla="*/ 20 w 841"/>
                <a:gd name="T57" fmla="*/ 717 h 944"/>
                <a:gd name="T58" fmla="*/ 20 w 841"/>
                <a:gd name="T59" fmla="*/ 758 h 944"/>
                <a:gd name="T60" fmla="*/ 61 w 841"/>
                <a:gd name="T61" fmla="*/ 779 h 944"/>
                <a:gd name="T62" fmla="*/ 102 w 841"/>
                <a:gd name="T63" fmla="*/ 758 h 944"/>
                <a:gd name="T64" fmla="*/ 102 w 841"/>
                <a:gd name="T65" fmla="*/ 717 h 944"/>
                <a:gd name="T66" fmla="*/ 82 w 841"/>
                <a:gd name="T67" fmla="*/ 697 h 944"/>
                <a:gd name="T68" fmla="*/ 143 w 841"/>
                <a:gd name="T69" fmla="*/ 656 h 944"/>
                <a:gd name="T70" fmla="*/ 102 w 841"/>
                <a:gd name="T71" fmla="*/ 635 h 944"/>
                <a:gd name="T72" fmla="*/ 122 w 841"/>
                <a:gd name="T73" fmla="*/ 553 h 944"/>
                <a:gd name="T74" fmla="*/ 143 w 841"/>
                <a:gd name="T75" fmla="*/ 471 h 944"/>
                <a:gd name="T76" fmla="*/ 184 w 841"/>
                <a:gd name="T77" fmla="*/ 492 h 944"/>
                <a:gd name="T78" fmla="*/ 184 w 841"/>
                <a:gd name="T79" fmla="*/ 533 h 944"/>
                <a:gd name="T80" fmla="*/ 225 w 841"/>
                <a:gd name="T81" fmla="*/ 492 h 944"/>
                <a:gd name="T82" fmla="*/ 266 w 841"/>
                <a:gd name="T83" fmla="*/ 533 h 944"/>
                <a:gd name="T84" fmla="*/ 307 w 841"/>
                <a:gd name="T85" fmla="*/ 574 h 944"/>
                <a:gd name="T86" fmla="*/ 286 w 841"/>
                <a:gd name="T87" fmla="*/ 512 h 944"/>
                <a:gd name="T88" fmla="*/ 328 w 841"/>
                <a:gd name="T89" fmla="*/ 451 h 944"/>
                <a:gd name="T90" fmla="*/ 368 w 841"/>
                <a:gd name="T91" fmla="*/ 512 h 944"/>
                <a:gd name="T92" fmla="*/ 430 w 841"/>
                <a:gd name="T93" fmla="*/ 553 h 944"/>
                <a:gd name="T94" fmla="*/ 410 w 841"/>
                <a:gd name="T95" fmla="*/ 635 h 944"/>
                <a:gd name="T96" fmla="*/ 430 w 841"/>
                <a:gd name="T97" fmla="*/ 820 h 944"/>
                <a:gd name="T98" fmla="*/ 532 w 841"/>
                <a:gd name="T99" fmla="*/ 881 h 944"/>
                <a:gd name="T100" fmla="*/ 574 w 841"/>
                <a:gd name="T101" fmla="*/ 922 h 944"/>
                <a:gd name="T102" fmla="*/ 594 w 841"/>
                <a:gd name="T103" fmla="*/ 861 h 944"/>
                <a:gd name="T104" fmla="*/ 635 w 841"/>
                <a:gd name="T105" fmla="*/ 861 h 944"/>
                <a:gd name="T106" fmla="*/ 656 w 841"/>
                <a:gd name="T107" fmla="*/ 922 h 944"/>
                <a:gd name="T108" fmla="*/ 696 w 841"/>
                <a:gd name="T109" fmla="*/ 881 h 944"/>
                <a:gd name="T110" fmla="*/ 696 w 841"/>
                <a:gd name="T111" fmla="*/ 799 h 944"/>
                <a:gd name="T112" fmla="*/ 656 w 841"/>
                <a:gd name="T113" fmla="*/ 738 h 944"/>
                <a:gd name="T114" fmla="*/ 656 w 841"/>
                <a:gd name="T115" fmla="*/ 635 h 944"/>
                <a:gd name="T116" fmla="*/ 696 w 841"/>
                <a:gd name="T117" fmla="*/ 574 h 944"/>
                <a:gd name="T118" fmla="*/ 738 w 841"/>
                <a:gd name="T119" fmla="*/ 594 h 944"/>
                <a:gd name="T120" fmla="*/ 758 w 841"/>
                <a:gd name="T121" fmla="*/ 676 h 944"/>
                <a:gd name="T122" fmla="*/ 758 w 841"/>
                <a:gd name="T123" fmla="*/ 779 h 944"/>
                <a:gd name="T124" fmla="*/ 798 w 841"/>
                <a:gd name="T125" fmla="*/ 82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1" h="944">
                  <a:moveTo>
                    <a:pt x="819" y="799"/>
                  </a:moveTo>
                  <a:lnTo>
                    <a:pt x="819" y="799"/>
                  </a:lnTo>
                  <a:lnTo>
                    <a:pt x="798" y="779"/>
                  </a:lnTo>
                  <a:cubicBezTo>
                    <a:pt x="798" y="758"/>
                    <a:pt x="819" y="758"/>
                    <a:pt x="819" y="738"/>
                  </a:cubicBezTo>
                  <a:cubicBezTo>
                    <a:pt x="819" y="738"/>
                    <a:pt x="819" y="717"/>
                    <a:pt x="819" y="697"/>
                  </a:cubicBezTo>
                  <a:lnTo>
                    <a:pt x="798" y="676"/>
                  </a:lnTo>
                  <a:cubicBezTo>
                    <a:pt x="798" y="656"/>
                    <a:pt x="798" y="656"/>
                    <a:pt x="798" y="656"/>
                  </a:cubicBezTo>
                  <a:cubicBezTo>
                    <a:pt x="798" y="635"/>
                    <a:pt x="819" y="615"/>
                    <a:pt x="819" y="615"/>
                  </a:cubicBezTo>
                  <a:lnTo>
                    <a:pt x="840" y="574"/>
                  </a:lnTo>
                  <a:cubicBezTo>
                    <a:pt x="840" y="553"/>
                    <a:pt x="840" y="553"/>
                    <a:pt x="840" y="533"/>
                  </a:cubicBezTo>
                  <a:lnTo>
                    <a:pt x="840" y="512"/>
                  </a:lnTo>
                  <a:cubicBezTo>
                    <a:pt x="840" y="492"/>
                    <a:pt x="840" y="471"/>
                    <a:pt x="819" y="471"/>
                  </a:cubicBezTo>
                  <a:cubicBezTo>
                    <a:pt x="819" y="451"/>
                    <a:pt x="798" y="451"/>
                    <a:pt x="798" y="451"/>
                  </a:cubicBezTo>
                  <a:cubicBezTo>
                    <a:pt x="798" y="430"/>
                    <a:pt x="798" y="410"/>
                    <a:pt x="778" y="410"/>
                  </a:cubicBezTo>
                  <a:cubicBezTo>
                    <a:pt x="778" y="410"/>
                    <a:pt x="778" y="389"/>
                    <a:pt x="758" y="389"/>
                  </a:cubicBezTo>
                  <a:cubicBezTo>
                    <a:pt x="758" y="389"/>
                    <a:pt x="758" y="389"/>
                    <a:pt x="758" y="369"/>
                  </a:cubicBezTo>
                  <a:lnTo>
                    <a:pt x="758" y="348"/>
                  </a:lnTo>
                  <a:cubicBezTo>
                    <a:pt x="758" y="348"/>
                    <a:pt x="758" y="348"/>
                    <a:pt x="778" y="348"/>
                  </a:cubicBezTo>
                  <a:cubicBezTo>
                    <a:pt x="778" y="328"/>
                    <a:pt x="778" y="328"/>
                    <a:pt x="778" y="307"/>
                  </a:cubicBezTo>
                  <a:cubicBezTo>
                    <a:pt x="778" y="307"/>
                    <a:pt x="778" y="287"/>
                    <a:pt x="758" y="287"/>
                  </a:cubicBezTo>
                  <a:cubicBezTo>
                    <a:pt x="758" y="266"/>
                    <a:pt x="758" y="266"/>
                    <a:pt x="738" y="246"/>
                  </a:cubicBezTo>
                  <a:cubicBezTo>
                    <a:pt x="738" y="246"/>
                    <a:pt x="738" y="226"/>
                    <a:pt x="738" y="205"/>
                  </a:cubicBezTo>
                  <a:cubicBezTo>
                    <a:pt x="738" y="205"/>
                    <a:pt x="738" y="184"/>
                    <a:pt x="738" y="164"/>
                  </a:cubicBezTo>
                  <a:cubicBezTo>
                    <a:pt x="738" y="164"/>
                    <a:pt x="738" y="144"/>
                    <a:pt x="738" y="123"/>
                  </a:cubicBezTo>
                  <a:cubicBezTo>
                    <a:pt x="738" y="123"/>
                    <a:pt x="738" y="102"/>
                    <a:pt x="717" y="102"/>
                  </a:cubicBezTo>
                  <a:lnTo>
                    <a:pt x="717" y="123"/>
                  </a:lnTo>
                  <a:cubicBezTo>
                    <a:pt x="696" y="123"/>
                    <a:pt x="676" y="102"/>
                    <a:pt x="676" y="102"/>
                  </a:cubicBezTo>
                  <a:cubicBezTo>
                    <a:pt x="676" y="102"/>
                    <a:pt x="676" y="102"/>
                    <a:pt x="676" y="82"/>
                  </a:cubicBezTo>
                  <a:lnTo>
                    <a:pt x="676" y="62"/>
                  </a:lnTo>
                  <a:cubicBezTo>
                    <a:pt x="676" y="41"/>
                    <a:pt x="676" y="20"/>
                    <a:pt x="676" y="20"/>
                  </a:cubicBezTo>
                  <a:cubicBezTo>
                    <a:pt x="656" y="20"/>
                    <a:pt x="656" y="20"/>
                    <a:pt x="635" y="0"/>
                  </a:cubicBezTo>
                  <a:cubicBezTo>
                    <a:pt x="635" y="0"/>
                    <a:pt x="614" y="0"/>
                    <a:pt x="594" y="0"/>
                  </a:cubicBezTo>
                  <a:lnTo>
                    <a:pt x="594" y="20"/>
                  </a:lnTo>
                  <a:lnTo>
                    <a:pt x="594" y="41"/>
                  </a:lnTo>
                  <a:lnTo>
                    <a:pt x="594" y="62"/>
                  </a:lnTo>
                  <a:cubicBezTo>
                    <a:pt x="614" y="62"/>
                    <a:pt x="614" y="82"/>
                    <a:pt x="614" y="82"/>
                  </a:cubicBezTo>
                  <a:cubicBezTo>
                    <a:pt x="614" y="82"/>
                    <a:pt x="614" y="102"/>
                    <a:pt x="614" y="123"/>
                  </a:cubicBezTo>
                  <a:cubicBezTo>
                    <a:pt x="614" y="123"/>
                    <a:pt x="614" y="123"/>
                    <a:pt x="614" y="144"/>
                  </a:cubicBezTo>
                  <a:lnTo>
                    <a:pt x="614" y="164"/>
                  </a:lnTo>
                  <a:cubicBezTo>
                    <a:pt x="614" y="164"/>
                    <a:pt x="614" y="184"/>
                    <a:pt x="594" y="184"/>
                  </a:cubicBezTo>
                  <a:lnTo>
                    <a:pt x="594" y="164"/>
                  </a:lnTo>
                  <a:lnTo>
                    <a:pt x="574" y="184"/>
                  </a:lnTo>
                  <a:lnTo>
                    <a:pt x="553" y="205"/>
                  </a:lnTo>
                  <a:cubicBezTo>
                    <a:pt x="553" y="205"/>
                    <a:pt x="553" y="205"/>
                    <a:pt x="532" y="205"/>
                  </a:cubicBezTo>
                  <a:lnTo>
                    <a:pt x="512" y="184"/>
                  </a:lnTo>
                  <a:lnTo>
                    <a:pt x="512" y="205"/>
                  </a:lnTo>
                  <a:lnTo>
                    <a:pt x="512" y="226"/>
                  </a:lnTo>
                  <a:cubicBezTo>
                    <a:pt x="512" y="246"/>
                    <a:pt x="492" y="266"/>
                    <a:pt x="492" y="266"/>
                  </a:cubicBezTo>
                  <a:cubicBezTo>
                    <a:pt x="492" y="287"/>
                    <a:pt x="512" y="287"/>
                    <a:pt x="492" y="307"/>
                  </a:cubicBezTo>
                  <a:lnTo>
                    <a:pt x="492" y="307"/>
                  </a:lnTo>
                  <a:cubicBezTo>
                    <a:pt x="471" y="307"/>
                    <a:pt x="471" y="287"/>
                    <a:pt x="471" y="287"/>
                  </a:cubicBezTo>
                  <a:cubicBezTo>
                    <a:pt x="450" y="307"/>
                    <a:pt x="450" y="307"/>
                    <a:pt x="430" y="307"/>
                  </a:cubicBezTo>
                  <a:cubicBezTo>
                    <a:pt x="430" y="307"/>
                    <a:pt x="430" y="328"/>
                    <a:pt x="430" y="348"/>
                  </a:cubicBezTo>
                  <a:lnTo>
                    <a:pt x="430" y="369"/>
                  </a:lnTo>
                  <a:cubicBezTo>
                    <a:pt x="410" y="369"/>
                    <a:pt x="410" y="369"/>
                    <a:pt x="389" y="389"/>
                  </a:cubicBezTo>
                  <a:cubicBezTo>
                    <a:pt x="389" y="389"/>
                    <a:pt x="368" y="389"/>
                    <a:pt x="348" y="389"/>
                  </a:cubicBezTo>
                  <a:lnTo>
                    <a:pt x="348" y="410"/>
                  </a:lnTo>
                  <a:cubicBezTo>
                    <a:pt x="328" y="430"/>
                    <a:pt x="328" y="410"/>
                    <a:pt x="328" y="410"/>
                  </a:cubicBezTo>
                  <a:lnTo>
                    <a:pt x="328" y="389"/>
                  </a:lnTo>
                  <a:cubicBezTo>
                    <a:pt x="328" y="389"/>
                    <a:pt x="328" y="369"/>
                    <a:pt x="348" y="369"/>
                  </a:cubicBezTo>
                  <a:lnTo>
                    <a:pt x="348" y="348"/>
                  </a:lnTo>
                  <a:lnTo>
                    <a:pt x="328" y="328"/>
                  </a:lnTo>
                  <a:cubicBezTo>
                    <a:pt x="328" y="307"/>
                    <a:pt x="328" y="307"/>
                    <a:pt x="328" y="287"/>
                  </a:cubicBezTo>
                  <a:cubicBezTo>
                    <a:pt x="328" y="287"/>
                    <a:pt x="328" y="266"/>
                    <a:pt x="307" y="266"/>
                  </a:cubicBezTo>
                  <a:lnTo>
                    <a:pt x="286" y="266"/>
                  </a:lnTo>
                  <a:cubicBezTo>
                    <a:pt x="286" y="266"/>
                    <a:pt x="286" y="246"/>
                    <a:pt x="266" y="246"/>
                  </a:cubicBezTo>
                  <a:cubicBezTo>
                    <a:pt x="266" y="246"/>
                    <a:pt x="246" y="246"/>
                    <a:pt x="246" y="266"/>
                  </a:cubicBezTo>
                  <a:lnTo>
                    <a:pt x="246" y="287"/>
                  </a:lnTo>
                  <a:cubicBezTo>
                    <a:pt x="246" y="287"/>
                    <a:pt x="246" y="307"/>
                    <a:pt x="225" y="307"/>
                  </a:cubicBezTo>
                  <a:lnTo>
                    <a:pt x="225" y="307"/>
                  </a:lnTo>
                  <a:cubicBezTo>
                    <a:pt x="204" y="307"/>
                    <a:pt x="204" y="328"/>
                    <a:pt x="204" y="328"/>
                  </a:cubicBezTo>
                  <a:cubicBezTo>
                    <a:pt x="184" y="328"/>
                    <a:pt x="204" y="348"/>
                    <a:pt x="184" y="369"/>
                  </a:cubicBezTo>
                  <a:lnTo>
                    <a:pt x="184" y="389"/>
                  </a:lnTo>
                  <a:cubicBezTo>
                    <a:pt x="164" y="389"/>
                    <a:pt x="143" y="389"/>
                    <a:pt x="122" y="389"/>
                  </a:cubicBezTo>
                  <a:lnTo>
                    <a:pt x="102" y="410"/>
                  </a:lnTo>
                  <a:cubicBezTo>
                    <a:pt x="82" y="410"/>
                    <a:pt x="82" y="430"/>
                    <a:pt x="82" y="430"/>
                  </a:cubicBezTo>
                  <a:cubicBezTo>
                    <a:pt x="61" y="451"/>
                    <a:pt x="61" y="451"/>
                    <a:pt x="61" y="471"/>
                  </a:cubicBezTo>
                  <a:cubicBezTo>
                    <a:pt x="61" y="471"/>
                    <a:pt x="61" y="492"/>
                    <a:pt x="61" y="512"/>
                  </a:cubicBezTo>
                  <a:cubicBezTo>
                    <a:pt x="61" y="512"/>
                    <a:pt x="61" y="533"/>
                    <a:pt x="40" y="533"/>
                  </a:cubicBezTo>
                  <a:cubicBezTo>
                    <a:pt x="40" y="553"/>
                    <a:pt x="61" y="574"/>
                    <a:pt x="61" y="574"/>
                  </a:cubicBezTo>
                  <a:cubicBezTo>
                    <a:pt x="40" y="594"/>
                    <a:pt x="40" y="594"/>
                    <a:pt x="40" y="615"/>
                  </a:cubicBezTo>
                  <a:lnTo>
                    <a:pt x="20" y="615"/>
                  </a:lnTo>
                  <a:cubicBezTo>
                    <a:pt x="20" y="635"/>
                    <a:pt x="20" y="635"/>
                    <a:pt x="20" y="635"/>
                  </a:cubicBezTo>
                  <a:cubicBezTo>
                    <a:pt x="20" y="656"/>
                    <a:pt x="20" y="676"/>
                    <a:pt x="20" y="676"/>
                  </a:cubicBezTo>
                  <a:lnTo>
                    <a:pt x="40" y="697"/>
                  </a:lnTo>
                  <a:lnTo>
                    <a:pt x="40" y="717"/>
                  </a:lnTo>
                  <a:cubicBezTo>
                    <a:pt x="40" y="717"/>
                    <a:pt x="40" y="717"/>
                    <a:pt x="20" y="717"/>
                  </a:cubicBezTo>
                  <a:cubicBezTo>
                    <a:pt x="20" y="717"/>
                    <a:pt x="20" y="717"/>
                    <a:pt x="0" y="717"/>
                  </a:cubicBezTo>
                  <a:lnTo>
                    <a:pt x="0" y="738"/>
                  </a:lnTo>
                  <a:lnTo>
                    <a:pt x="20" y="758"/>
                  </a:lnTo>
                  <a:lnTo>
                    <a:pt x="40" y="758"/>
                  </a:lnTo>
                  <a:lnTo>
                    <a:pt x="40" y="758"/>
                  </a:lnTo>
                  <a:cubicBezTo>
                    <a:pt x="40" y="779"/>
                    <a:pt x="61" y="779"/>
                    <a:pt x="61" y="779"/>
                  </a:cubicBezTo>
                  <a:lnTo>
                    <a:pt x="61" y="758"/>
                  </a:lnTo>
                  <a:lnTo>
                    <a:pt x="82" y="758"/>
                  </a:lnTo>
                  <a:lnTo>
                    <a:pt x="102" y="758"/>
                  </a:lnTo>
                  <a:lnTo>
                    <a:pt x="122" y="758"/>
                  </a:lnTo>
                  <a:cubicBezTo>
                    <a:pt x="143" y="758"/>
                    <a:pt x="122" y="738"/>
                    <a:pt x="122" y="738"/>
                  </a:cubicBezTo>
                  <a:lnTo>
                    <a:pt x="102" y="717"/>
                  </a:lnTo>
                  <a:cubicBezTo>
                    <a:pt x="102" y="717"/>
                    <a:pt x="102" y="717"/>
                    <a:pt x="82" y="717"/>
                  </a:cubicBezTo>
                  <a:cubicBezTo>
                    <a:pt x="82" y="717"/>
                    <a:pt x="82" y="717"/>
                    <a:pt x="82" y="697"/>
                  </a:cubicBezTo>
                  <a:lnTo>
                    <a:pt x="82" y="697"/>
                  </a:lnTo>
                  <a:cubicBezTo>
                    <a:pt x="102" y="676"/>
                    <a:pt x="102" y="676"/>
                    <a:pt x="102" y="676"/>
                  </a:cubicBezTo>
                  <a:lnTo>
                    <a:pt x="122" y="676"/>
                  </a:lnTo>
                  <a:lnTo>
                    <a:pt x="143" y="656"/>
                  </a:lnTo>
                  <a:lnTo>
                    <a:pt x="122" y="656"/>
                  </a:lnTo>
                  <a:cubicBezTo>
                    <a:pt x="122" y="656"/>
                    <a:pt x="122" y="656"/>
                    <a:pt x="102" y="656"/>
                  </a:cubicBezTo>
                  <a:lnTo>
                    <a:pt x="102" y="635"/>
                  </a:lnTo>
                  <a:lnTo>
                    <a:pt x="102" y="594"/>
                  </a:lnTo>
                  <a:cubicBezTo>
                    <a:pt x="102" y="574"/>
                    <a:pt x="102" y="574"/>
                    <a:pt x="102" y="553"/>
                  </a:cubicBezTo>
                  <a:lnTo>
                    <a:pt x="122" y="553"/>
                  </a:lnTo>
                  <a:cubicBezTo>
                    <a:pt x="122" y="533"/>
                    <a:pt x="143" y="533"/>
                    <a:pt x="143" y="533"/>
                  </a:cubicBezTo>
                  <a:cubicBezTo>
                    <a:pt x="143" y="512"/>
                    <a:pt x="143" y="492"/>
                    <a:pt x="143" y="492"/>
                  </a:cubicBezTo>
                  <a:lnTo>
                    <a:pt x="143" y="471"/>
                  </a:lnTo>
                  <a:cubicBezTo>
                    <a:pt x="143" y="471"/>
                    <a:pt x="164" y="471"/>
                    <a:pt x="164" y="451"/>
                  </a:cubicBezTo>
                  <a:lnTo>
                    <a:pt x="184" y="471"/>
                  </a:lnTo>
                  <a:lnTo>
                    <a:pt x="184" y="492"/>
                  </a:lnTo>
                  <a:cubicBezTo>
                    <a:pt x="184" y="492"/>
                    <a:pt x="184" y="492"/>
                    <a:pt x="164" y="512"/>
                  </a:cubicBezTo>
                  <a:cubicBezTo>
                    <a:pt x="164" y="512"/>
                    <a:pt x="164" y="512"/>
                    <a:pt x="164" y="533"/>
                  </a:cubicBezTo>
                  <a:cubicBezTo>
                    <a:pt x="184" y="533"/>
                    <a:pt x="184" y="533"/>
                    <a:pt x="184" y="533"/>
                  </a:cubicBezTo>
                  <a:lnTo>
                    <a:pt x="204" y="533"/>
                  </a:lnTo>
                  <a:lnTo>
                    <a:pt x="225" y="512"/>
                  </a:lnTo>
                  <a:lnTo>
                    <a:pt x="225" y="492"/>
                  </a:lnTo>
                  <a:cubicBezTo>
                    <a:pt x="246" y="492"/>
                    <a:pt x="246" y="492"/>
                    <a:pt x="246" y="492"/>
                  </a:cubicBezTo>
                  <a:lnTo>
                    <a:pt x="246" y="512"/>
                  </a:lnTo>
                  <a:cubicBezTo>
                    <a:pt x="246" y="533"/>
                    <a:pt x="246" y="533"/>
                    <a:pt x="266" y="533"/>
                  </a:cubicBezTo>
                  <a:lnTo>
                    <a:pt x="266" y="533"/>
                  </a:lnTo>
                  <a:cubicBezTo>
                    <a:pt x="266" y="533"/>
                    <a:pt x="266" y="553"/>
                    <a:pt x="286" y="553"/>
                  </a:cubicBezTo>
                  <a:cubicBezTo>
                    <a:pt x="286" y="553"/>
                    <a:pt x="286" y="574"/>
                    <a:pt x="307" y="574"/>
                  </a:cubicBezTo>
                  <a:cubicBezTo>
                    <a:pt x="307" y="574"/>
                    <a:pt x="307" y="574"/>
                    <a:pt x="307" y="553"/>
                  </a:cubicBezTo>
                  <a:cubicBezTo>
                    <a:pt x="328" y="553"/>
                    <a:pt x="307" y="533"/>
                    <a:pt x="307" y="533"/>
                  </a:cubicBezTo>
                  <a:cubicBezTo>
                    <a:pt x="307" y="512"/>
                    <a:pt x="286" y="512"/>
                    <a:pt x="286" y="512"/>
                  </a:cubicBezTo>
                  <a:cubicBezTo>
                    <a:pt x="286" y="492"/>
                    <a:pt x="286" y="471"/>
                    <a:pt x="286" y="471"/>
                  </a:cubicBezTo>
                  <a:lnTo>
                    <a:pt x="286" y="451"/>
                  </a:lnTo>
                  <a:cubicBezTo>
                    <a:pt x="307" y="451"/>
                    <a:pt x="328" y="451"/>
                    <a:pt x="328" y="451"/>
                  </a:cubicBezTo>
                  <a:lnTo>
                    <a:pt x="348" y="471"/>
                  </a:lnTo>
                  <a:cubicBezTo>
                    <a:pt x="348" y="471"/>
                    <a:pt x="368" y="471"/>
                    <a:pt x="368" y="492"/>
                  </a:cubicBezTo>
                  <a:lnTo>
                    <a:pt x="368" y="512"/>
                  </a:lnTo>
                  <a:cubicBezTo>
                    <a:pt x="389" y="512"/>
                    <a:pt x="389" y="533"/>
                    <a:pt x="389" y="533"/>
                  </a:cubicBezTo>
                  <a:cubicBezTo>
                    <a:pt x="410" y="533"/>
                    <a:pt x="410" y="533"/>
                    <a:pt x="430" y="533"/>
                  </a:cubicBezTo>
                  <a:lnTo>
                    <a:pt x="430" y="553"/>
                  </a:lnTo>
                  <a:cubicBezTo>
                    <a:pt x="450" y="553"/>
                    <a:pt x="430" y="574"/>
                    <a:pt x="430" y="574"/>
                  </a:cubicBezTo>
                  <a:cubicBezTo>
                    <a:pt x="430" y="594"/>
                    <a:pt x="410" y="594"/>
                    <a:pt x="410" y="615"/>
                  </a:cubicBezTo>
                  <a:lnTo>
                    <a:pt x="410" y="635"/>
                  </a:lnTo>
                  <a:cubicBezTo>
                    <a:pt x="410" y="656"/>
                    <a:pt x="410" y="676"/>
                    <a:pt x="410" y="676"/>
                  </a:cubicBezTo>
                  <a:cubicBezTo>
                    <a:pt x="410" y="717"/>
                    <a:pt x="410" y="758"/>
                    <a:pt x="410" y="779"/>
                  </a:cubicBezTo>
                  <a:cubicBezTo>
                    <a:pt x="410" y="779"/>
                    <a:pt x="430" y="799"/>
                    <a:pt x="430" y="820"/>
                  </a:cubicBezTo>
                  <a:cubicBezTo>
                    <a:pt x="450" y="820"/>
                    <a:pt x="450" y="840"/>
                    <a:pt x="471" y="840"/>
                  </a:cubicBezTo>
                  <a:cubicBezTo>
                    <a:pt x="471" y="861"/>
                    <a:pt x="492" y="861"/>
                    <a:pt x="492" y="861"/>
                  </a:cubicBezTo>
                  <a:cubicBezTo>
                    <a:pt x="492" y="861"/>
                    <a:pt x="532" y="861"/>
                    <a:pt x="532" y="881"/>
                  </a:cubicBezTo>
                  <a:cubicBezTo>
                    <a:pt x="532" y="881"/>
                    <a:pt x="532" y="881"/>
                    <a:pt x="532" y="902"/>
                  </a:cubicBezTo>
                  <a:cubicBezTo>
                    <a:pt x="532" y="902"/>
                    <a:pt x="532" y="922"/>
                    <a:pt x="553" y="922"/>
                  </a:cubicBezTo>
                  <a:lnTo>
                    <a:pt x="574" y="922"/>
                  </a:lnTo>
                  <a:cubicBezTo>
                    <a:pt x="574" y="922"/>
                    <a:pt x="594" y="922"/>
                    <a:pt x="594" y="902"/>
                  </a:cubicBezTo>
                  <a:cubicBezTo>
                    <a:pt x="594" y="902"/>
                    <a:pt x="614" y="902"/>
                    <a:pt x="614" y="881"/>
                  </a:cubicBezTo>
                  <a:cubicBezTo>
                    <a:pt x="614" y="881"/>
                    <a:pt x="594" y="881"/>
                    <a:pt x="594" y="861"/>
                  </a:cubicBezTo>
                  <a:lnTo>
                    <a:pt x="614" y="861"/>
                  </a:lnTo>
                  <a:lnTo>
                    <a:pt x="614" y="861"/>
                  </a:lnTo>
                  <a:cubicBezTo>
                    <a:pt x="635" y="861"/>
                    <a:pt x="635" y="861"/>
                    <a:pt x="635" y="861"/>
                  </a:cubicBezTo>
                  <a:cubicBezTo>
                    <a:pt x="635" y="881"/>
                    <a:pt x="635" y="902"/>
                    <a:pt x="635" y="902"/>
                  </a:cubicBezTo>
                  <a:lnTo>
                    <a:pt x="635" y="922"/>
                  </a:lnTo>
                  <a:cubicBezTo>
                    <a:pt x="635" y="943"/>
                    <a:pt x="656" y="943"/>
                    <a:pt x="656" y="922"/>
                  </a:cubicBezTo>
                  <a:lnTo>
                    <a:pt x="676" y="922"/>
                  </a:lnTo>
                  <a:cubicBezTo>
                    <a:pt x="676" y="902"/>
                    <a:pt x="676" y="902"/>
                    <a:pt x="676" y="902"/>
                  </a:cubicBezTo>
                  <a:cubicBezTo>
                    <a:pt x="676" y="881"/>
                    <a:pt x="696" y="881"/>
                    <a:pt x="696" y="881"/>
                  </a:cubicBezTo>
                  <a:cubicBezTo>
                    <a:pt x="696" y="861"/>
                    <a:pt x="696" y="861"/>
                    <a:pt x="696" y="840"/>
                  </a:cubicBezTo>
                  <a:cubicBezTo>
                    <a:pt x="717" y="840"/>
                    <a:pt x="717" y="820"/>
                    <a:pt x="717" y="820"/>
                  </a:cubicBezTo>
                  <a:cubicBezTo>
                    <a:pt x="696" y="820"/>
                    <a:pt x="696" y="799"/>
                    <a:pt x="696" y="799"/>
                  </a:cubicBezTo>
                  <a:lnTo>
                    <a:pt x="676" y="779"/>
                  </a:lnTo>
                  <a:cubicBezTo>
                    <a:pt x="676" y="758"/>
                    <a:pt x="676" y="758"/>
                    <a:pt x="676" y="738"/>
                  </a:cubicBezTo>
                  <a:lnTo>
                    <a:pt x="656" y="738"/>
                  </a:lnTo>
                  <a:cubicBezTo>
                    <a:pt x="656" y="717"/>
                    <a:pt x="656" y="717"/>
                    <a:pt x="656" y="717"/>
                  </a:cubicBezTo>
                  <a:cubicBezTo>
                    <a:pt x="656" y="697"/>
                    <a:pt x="656" y="676"/>
                    <a:pt x="656" y="676"/>
                  </a:cubicBezTo>
                  <a:cubicBezTo>
                    <a:pt x="656" y="656"/>
                    <a:pt x="656" y="635"/>
                    <a:pt x="656" y="635"/>
                  </a:cubicBezTo>
                  <a:cubicBezTo>
                    <a:pt x="656" y="635"/>
                    <a:pt x="676" y="615"/>
                    <a:pt x="676" y="594"/>
                  </a:cubicBezTo>
                  <a:cubicBezTo>
                    <a:pt x="676" y="594"/>
                    <a:pt x="676" y="594"/>
                    <a:pt x="696" y="574"/>
                  </a:cubicBezTo>
                  <a:lnTo>
                    <a:pt x="696" y="574"/>
                  </a:lnTo>
                  <a:cubicBezTo>
                    <a:pt x="717" y="553"/>
                    <a:pt x="717" y="553"/>
                    <a:pt x="717" y="553"/>
                  </a:cubicBezTo>
                  <a:cubicBezTo>
                    <a:pt x="717" y="553"/>
                    <a:pt x="738" y="553"/>
                    <a:pt x="738" y="574"/>
                  </a:cubicBezTo>
                  <a:lnTo>
                    <a:pt x="738" y="594"/>
                  </a:lnTo>
                  <a:cubicBezTo>
                    <a:pt x="738" y="594"/>
                    <a:pt x="738" y="615"/>
                    <a:pt x="738" y="635"/>
                  </a:cubicBezTo>
                  <a:lnTo>
                    <a:pt x="738" y="656"/>
                  </a:lnTo>
                  <a:cubicBezTo>
                    <a:pt x="738" y="676"/>
                    <a:pt x="758" y="676"/>
                    <a:pt x="758" y="676"/>
                  </a:cubicBezTo>
                  <a:cubicBezTo>
                    <a:pt x="758" y="697"/>
                    <a:pt x="758" y="717"/>
                    <a:pt x="758" y="717"/>
                  </a:cubicBezTo>
                  <a:lnTo>
                    <a:pt x="758" y="738"/>
                  </a:lnTo>
                  <a:cubicBezTo>
                    <a:pt x="758" y="738"/>
                    <a:pt x="758" y="758"/>
                    <a:pt x="758" y="779"/>
                  </a:cubicBezTo>
                  <a:cubicBezTo>
                    <a:pt x="758" y="779"/>
                    <a:pt x="758" y="799"/>
                    <a:pt x="778" y="799"/>
                  </a:cubicBezTo>
                  <a:cubicBezTo>
                    <a:pt x="778" y="820"/>
                    <a:pt x="778" y="820"/>
                    <a:pt x="798" y="820"/>
                  </a:cubicBezTo>
                  <a:lnTo>
                    <a:pt x="798" y="820"/>
                  </a:lnTo>
                  <a:cubicBezTo>
                    <a:pt x="819" y="820"/>
                    <a:pt x="819" y="820"/>
                    <a:pt x="819" y="799"/>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5" name="Freeform 582">
              <a:extLst>
                <a:ext uri="{FF2B5EF4-FFF2-40B4-BE49-F238E27FC236}">
                  <a16:creationId xmlns:a16="http://schemas.microsoft.com/office/drawing/2014/main" id="{F7BBF7AC-F783-6C4E-A50B-9CEB1FD1E5AA}"/>
                </a:ext>
              </a:extLst>
            </p:cNvPr>
            <p:cNvSpPr>
              <a:spLocks noChangeArrowheads="1"/>
            </p:cNvSpPr>
            <p:nvPr/>
          </p:nvSpPr>
          <p:spPr bwMode="auto">
            <a:xfrm>
              <a:off x="6261100" y="7356475"/>
              <a:ext cx="14288" cy="15875"/>
            </a:xfrm>
            <a:custGeom>
              <a:avLst/>
              <a:gdLst>
                <a:gd name="T0" fmla="*/ 40 w 41"/>
                <a:gd name="T1" fmla="*/ 41 h 42"/>
                <a:gd name="T2" fmla="*/ 40 w 41"/>
                <a:gd name="T3" fmla="*/ 41 h 42"/>
                <a:gd name="T4" fmla="*/ 40 w 41"/>
                <a:gd name="T5" fmla="*/ 41 h 42"/>
                <a:gd name="T6" fmla="*/ 20 w 41"/>
                <a:gd name="T7" fmla="*/ 41 h 42"/>
                <a:gd name="T8" fmla="*/ 0 w 41"/>
                <a:gd name="T9" fmla="*/ 21 h 42"/>
                <a:gd name="T10" fmla="*/ 20 w 41"/>
                <a:gd name="T11" fmla="*/ 21 h 42"/>
                <a:gd name="T12" fmla="*/ 40 w 41"/>
                <a:gd name="T13" fmla="*/ 21 h 42"/>
                <a:gd name="T14" fmla="*/ 40 w 41"/>
                <a:gd name="T15" fmla="*/ 21 h 42"/>
                <a:gd name="T16" fmla="*/ 40 w 41"/>
                <a:gd name="T1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40" y="41"/>
                  </a:moveTo>
                  <a:lnTo>
                    <a:pt x="40" y="41"/>
                  </a:lnTo>
                  <a:lnTo>
                    <a:pt x="40" y="41"/>
                  </a:lnTo>
                  <a:cubicBezTo>
                    <a:pt x="20" y="41"/>
                    <a:pt x="20" y="41"/>
                    <a:pt x="20" y="41"/>
                  </a:cubicBezTo>
                  <a:lnTo>
                    <a:pt x="0" y="21"/>
                  </a:lnTo>
                  <a:lnTo>
                    <a:pt x="20" y="21"/>
                  </a:lnTo>
                  <a:cubicBezTo>
                    <a:pt x="20" y="0"/>
                    <a:pt x="40" y="21"/>
                    <a:pt x="40" y="21"/>
                  </a:cubicBezTo>
                  <a:lnTo>
                    <a:pt x="40" y="21"/>
                  </a:lnTo>
                  <a:lnTo>
                    <a:pt x="4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6" name="Freeform 583">
              <a:extLst>
                <a:ext uri="{FF2B5EF4-FFF2-40B4-BE49-F238E27FC236}">
                  <a16:creationId xmlns:a16="http://schemas.microsoft.com/office/drawing/2014/main" id="{996E072B-C361-3646-9337-93FC922466C0}"/>
                </a:ext>
              </a:extLst>
            </p:cNvPr>
            <p:cNvSpPr>
              <a:spLocks noChangeArrowheads="1"/>
            </p:cNvSpPr>
            <p:nvPr/>
          </p:nvSpPr>
          <p:spPr bwMode="auto">
            <a:xfrm>
              <a:off x="6180138" y="7415213"/>
              <a:ext cx="7937" cy="7937"/>
            </a:xfrm>
            <a:custGeom>
              <a:avLst/>
              <a:gdLst>
                <a:gd name="T0" fmla="*/ 21 w 22"/>
                <a:gd name="T1" fmla="*/ 21 h 22"/>
                <a:gd name="T2" fmla="*/ 21 w 22"/>
                <a:gd name="T3" fmla="*/ 21 h 22"/>
                <a:gd name="T4" fmla="*/ 21 w 22"/>
                <a:gd name="T5" fmla="*/ 0 h 22"/>
                <a:gd name="T6" fmla="*/ 0 w 22"/>
                <a:gd name="T7" fmla="*/ 0 h 22"/>
                <a:gd name="T8" fmla="*/ 0 w 22"/>
                <a:gd name="T9" fmla="*/ 21 h 22"/>
                <a:gd name="T10" fmla="*/ 21 w 22"/>
                <a:gd name="T11" fmla="*/ 21 h 22"/>
              </a:gdLst>
              <a:ahLst/>
              <a:cxnLst>
                <a:cxn ang="0">
                  <a:pos x="T0" y="T1"/>
                </a:cxn>
                <a:cxn ang="0">
                  <a:pos x="T2" y="T3"/>
                </a:cxn>
                <a:cxn ang="0">
                  <a:pos x="T4" y="T5"/>
                </a:cxn>
                <a:cxn ang="0">
                  <a:pos x="T6" y="T7"/>
                </a:cxn>
                <a:cxn ang="0">
                  <a:pos x="T8" y="T9"/>
                </a:cxn>
                <a:cxn ang="0">
                  <a:pos x="T10" y="T11"/>
                </a:cxn>
              </a:cxnLst>
              <a:rect l="0" t="0" r="r" b="b"/>
              <a:pathLst>
                <a:path w="22" h="22">
                  <a:moveTo>
                    <a:pt x="21" y="21"/>
                  </a:moveTo>
                  <a:lnTo>
                    <a:pt x="21" y="21"/>
                  </a:lnTo>
                  <a:cubicBezTo>
                    <a:pt x="21" y="0"/>
                    <a:pt x="21" y="0"/>
                    <a:pt x="21" y="0"/>
                  </a:cubicBezTo>
                  <a:lnTo>
                    <a:pt x="0" y="0"/>
                  </a:lnTo>
                  <a:cubicBezTo>
                    <a:pt x="0" y="21"/>
                    <a:pt x="0" y="21"/>
                    <a:pt x="0" y="21"/>
                  </a:cubicBezTo>
                  <a:lnTo>
                    <a:pt x="21"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7" name="Freeform 584">
              <a:extLst>
                <a:ext uri="{FF2B5EF4-FFF2-40B4-BE49-F238E27FC236}">
                  <a16:creationId xmlns:a16="http://schemas.microsoft.com/office/drawing/2014/main" id="{C61CEE30-3F90-E64B-B5E1-5F7D0708C553}"/>
                </a:ext>
              </a:extLst>
            </p:cNvPr>
            <p:cNvSpPr>
              <a:spLocks noChangeArrowheads="1"/>
            </p:cNvSpPr>
            <p:nvPr/>
          </p:nvSpPr>
          <p:spPr bwMode="auto">
            <a:xfrm>
              <a:off x="6180138" y="7400925"/>
              <a:ext cx="7937" cy="7938"/>
            </a:xfrm>
            <a:custGeom>
              <a:avLst/>
              <a:gdLst>
                <a:gd name="T0" fmla="*/ 0 w 22"/>
                <a:gd name="T1" fmla="*/ 21 h 22"/>
                <a:gd name="T2" fmla="*/ 0 w 22"/>
                <a:gd name="T3" fmla="*/ 21 h 22"/>
                <a:gd name="T4" fmla="*/ 0 w 22"/>
                <a:gd name="T5" fmla="*/ 0 h 22"/>
                <a:gd name="T6" fmla="*/ 0 w 22"/>
                <a:gd name="T7" fmla="*/ 0 h 22"/>
                <a:gd name="T8" fmla="*/ 21 w 22"/>
                <a:gd name="T9" fmla="*/ 0 h 22"/>
                <a:gd name="T10" fmla="*/ 21 w 22"/>
                <a:gd name="T11" fmla="*/ 0 h 22"/>
                <a:gd name="T12" fmla="*/ 0 w 22"/>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2" h="22">
                  <a:moveTo>
                    <a:pt x="0" y="21"/>
                  </a:moveTo>
                  <a:lnTo>
                    <a:pt x="0" y="21"/>
                  </a:lnTo>
                  <a:cubicBezTo>
                    <a:pt x="0" y="21"/>
                    <a:pt x="0" y="21"/>
                    <a:pt x="0" y="0"/>
                  </a:cubicBezTo>
                  <a:lnTo>
                    <a:pt x="0" y="0"/>
                  </a:lnTo>
                  <a:lnTo>
                    <a:pt x="21" y="0"/>
                  </a:lnTo>
                  <a:lnTo>
                    <a:pt x="21" y="0"/>
                  </a:lnTo>
                  <a:cubicBezTo>
                    <a:pt x="21" y="21"/>
                    <a:pt x="21" y="21"/>
                    <a:pt x="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8" name="Freeform 585">
              <a:extLst>
                <a:ext uri="{FF2B5EF4-FFF2-40B4-BE49-F238E27FC236}">
                  <a16:creationId xmlns:a16="http://schemas.microsoft.com/office/drawing/2014/main" id="{3217026C-26F6-9E48-B81F-747C571DE03B}"/>
                </a:ext>
              </a:extLst>
            </p:cNvPr>
            <p:cNvSpPr>
              <a:spLocks noChangeArrowheads="1"/>
            </p:cNvSpPr>
            <p:nvPr/>
          </p:nvSpPr>
          <p:spPr bwMode="auto">
            <a:xfrm>
              <a:off x="6165850" y="7408863"/>
              <a:ext cx="15875" cy="15875"/>
            </a:xfrm>
            <a:custGeom>
              <a:avLst/>
              <a:gdLst>
                <a:gd name="T0" fmla="*/ 21 w 42"/>
                <a:gd name="T1" fmla="*/ 0 h 42"/>
                <a:gd name="T2" fmla="*/ 21 w 42"/>
                <a:gd name="T3" fmla="*/ 0 h 42"/>
                <a:gd name="T4" fmla="*/ 21 w 42"/>
                <a:gd name="T5" fmla="*/ 20 h 42"/>
                <a:gd name="T6" fmla="*/ 21 w 42"/>
                <a:gd name="T7" fmla="*/ 41 h 42"/>
                <a:gd name="T8" fmla="*/ 21 w 42"/>
                <a:gd name="T9" fmla="*/ 20 h 42"/>
                <a:gd name="T10" fmla="*/ 41 w 42"/>
                <a:gd name="T11" fmla="*/ 0 h 42"/>
                <a:gd name="T12" fmla="*/ 21 w 4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1" y="0"/>
                  </a:moveTo>
                  <a:lnTo>
                    <a:pt x="21" y="0"/>
                  </a:lnTo>
                  <a:cubicBezTo>
                    <a:pt x="21" y="20"/>
                    <a:pt x="0" y="20"/>
                    <a:pt x="21" y="20"/>
                  </a:cubicBezTo>
                  <a:lnTo>
                    <a:pt x="21" y="41"/>
                  </a:lnTo>
                  <a:cubicBezTo>
                    <a:pt x="21" y="20"/>
                    <a:pt x="21" y="20"/>
                    <a:pt x="21" y="20"/>
                  </a:cubicBezTo>
                  <a:cubicBezTo>
                    <a:pt x="41" y="20"/>
                    <a:pt x="41" y="20"/>
                    <a:pt x="41" y="0"/>
                  </a:cubicBezTo>
                  <a:cubicBezTo>
                    <a:pt x="21" y="0"/>
                    <a:pt x="21" y="0"/>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89" name="Freeform 586">
              <a:extLst>
                <a:ext uri="{FF2B5EF4-FFF2-40B4-BE49-F238E27FC236}">
                  <a16:creationId xmlns:a16="http://schemas.microsoft.com/office/drawing/2014/main" id="{C60413A5-51F6-2445-A9D8-F0D35115EB53}"/>
                </a:ext>
              </a:extLst>
            </p:cNvPr>
            <p:cNvSpPr>
              <a:spLocks noChangeArrowheads="1"/>
            </p:cNvSpPr>
            <p:nvPr/>
          </p:nvSpPr>
          <p:spPr bwMode="auto">
            <a:xfrm>
              <a:off x="6305550" y="7200900"/>
              <a:ext cx="15875" cy="15875"/>
            </a:xfrm>
            <a:custGeom>
              <a:avLst/>
              <a:gdLst>
                <a:gd name="T0" fmla="*/ 21 w 43"/>
                <a:gd name="T1" fmla="*/ 41 h 42"/>
                <a:gd name="T2" fmla="*/ 21 w 43"/>
                <a:gd name="T3" fmla="*/ 41 h 42"/>
                <a:gd name="T4" fmla="*/ 42 w 43"/>
                <a:gd name="T5" fmla="*/ 21 h 42"/>
                <a:gd name="T6" fmla="*/ 42 w 43"/>
                <a:gd name="T7" fmla="*/ 21 h 42"/>
                <a:gd name="T8" fmla="*/ 21 w 43"/>
                <a:gd name="T9" fmla="*/ 0 h 42"/>
                <a:gd name="T10" fmla="*/ 0 w 43"/>
                <a:gd name="T11" fmla="*/ 21 h 42"/>
                <a:gd name="T12" fmla="*/ 0 w 43"/>
                <a:gd name="T13" fmla="*/ 21 h 42"/>
                <a:gd name="T14" fmla="*/ 0 w 43"/>
                <a:gd name="T15" fmla="*/ 41 h 42"/>
                <a:gd name="T16" fmla="*/ 21 w 43"/>
                <a:gd name="T1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42">
                  <a:moveTo>
                    <a:pt x="21" y="41"/>
                  </a:moveTo>
                  <a:lnTo>
                    <a:pt x="21" y="41"/>
                  </a:lnTo>
                  <a:cubicBezTo>
                    <a:pt x="42" y="41"/>
                    <a:pt x="42" y="41"/>
                    <a:pt x="42" y="21"/>
                  </a:cubicBezTo>
                  <a:lnTo>
                    <a:pt x="42" y="21"/>
                  </a:lnTo>
                  <a:cubicBezTo>
                    <a:pt x="42" y="0"/>
                    <a:pt x="42" y="0"/>
                    <a:pt x="21" y="0"/>
                  </a:cubicBezTo>
                  <a:cubicBezTo>
                    <a:pt x="21" y="0"/>
                    <a:pt x="21" y="0"/>
                    <a:pt x="0" y="21"/>
                  </a:cubicBezTo>
                  <a:lnTo>
                    <a:pt x="0" y="21"/>
                  </a:lnTo>
                  <a:cubicBezTo>
                    <a:pt x="0" y="41"/>
                    <a:pt x="0" y="41"/>
                    <a:pt x="0" y="41"/>
                  </a:cubicBezTo>
                  <a:lnTo>
                    <a:pt x="2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0" name="Freeform 587">
              <a:extLst>
                <a:ext uri="{FF2B5EF4-FFF2-40B4-BE49-F238E27FC236}">
                  <a16:creationId xmlns:a16="http://schemas.microsoft.com/office/drawing/2014/main" id="{51E64D7D-0CD9-894D-9600-9FDAD22FF9E4}"/>
                </a:ext>
              </a:extLst>
            </p:cNvPr>
            <p:cNvSpPr>
              <a:spLocks noChangeArrowheads="1"/>
            </p:cNvSpPr>
            <p:nvPr/>
          </p:nvSpPr>
          <p:spPr bwMode="auto">
            <a:xfrm>
              <a:off x="6364288" y="7208838"/>
              <a:ext cx="15875" cy="14287"/>
            </a:xfrm>
            <a:custGeom>
              <a:avLst/>
              <a:gdLst>
                <a:gd name="T0" fmla="*/ 42 w 43"/>
                <a:gd name="T1" fmla="*/ 20 h 41"/>
                <a:gd name="T2" fmla="*/ 42 w 43"/>
                <a:gd name="T3" fmla="*/ 20 h 41"/>
                <a:gd name="T4" fmla="*/ 21 w 43"/>
                <a:gd name="T5" fmla="*/ 20 h 41"/>
                <a:gd name="T6" fmla="*/ 0 w 43"/>
                <a:gd name="T7" fmla="*/ 20 h 41"/>
                <a:gd name="T8" fmla="*/ 0 w 43"/>
                <a:gd name="T9" fmla="*/ 0 h 41"/>
                <a:gd name="T10" fmla="*/ 21 w 43"/>
                <a:gd name="T11" fmla="*/ 0 h 41"/>
                <a:gd name="T12" fmla="*/ 42 w 43"/>
                <a:gd name="T13" fmla="*/ 0 h 41"/>
                <a:gd name="T14" fmla="*/ 42 w 43"/>
                <a:gd name="T15" fmla="*/ 2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3" h="41">
                  <a:moveTo>
                    <a:pt x="42" y="20"/>
                  </a:moveTo>
                  <a:lnTo>
                    <a:pt x="42" y="20"/>
                  </a:lnTo>
                  <a:lnTo>
                    <a:pt x="21" y="20"/>
                  </a:lnTo>
                  <a:cubicBezTo>
                    <a:pt x="21" y="20"/>
                    <a:pt x="21" y="40"/>
                    <a:pt x="0" y="20"/>
                  </a:cubicBezTo>
                  <a:cubicBezTo>
                    <a:pt x="0" y="20"/>
                    <a:pt x="0" y="20"/>
                    <a:pt x="0" y="0"/>
                  </a:cubicBezTo>
                  <a:cubicBezTo>
                    <a:pt x="0" y="0"/>
                    <a:pt x="0" y="0"/>
                    <a:pt x="21" y="0"/>
                  </a:cubicBezTo>
                  <a:cubicBezTo>
                    <a:pt x="21" y="0"/>
                    <a:pt x="21" y="0"/>
                    <a:pt x="42" y="0"/>
                  </a:cubicBezTo>
                  <a:cubicBezTo>
                    <a:pt x="42" y="0"/>
                    <a:pt x="42" y="0"/>
                    <a:pt x="42"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1" name="Freeform 588">
              <a:extLst>
                <a:ext uri="{FF2B5EF4-FFF2-40B4-BE49-F238E27FC236}">
                  <a16:creationId xmlns:a16="http://schemas.microsoft.com/office/drawing/2014/main" id="{81325186-65A2-5442-94E6-DAC54003593A}"/>
                </a:ext>
              </a:extLst>
            </p:cNvPr>
            <p:cNvSpPr>
              <a:spLocks noChangeArrowheads="1"/>
            </p:cNvSpPr>
            <p:nvPr/>
          </p:nvSpPr>
          <p:spPr bwMode="auto">
            <a:xfrm>
              <a:off x="6416675" y="7113588"/>
              <a:ext cx="15875" cy="30162"/>
            </a:xfrm>
            <a:custGeom>
              <a:avLst/>
              <a:gdLst>
                <a:gd name="T0" fmla="*/ 41 w 42"/>
                <a:gd name="T1" fmla="*/ 82 h 83"/>
                <a:gd name="T2" fmla="*/ 41 w 42"/>
                <a:gd name="T3" fmla="*/ 82 h 83"/>
                <a:gd name="T4" fmla="*/ 20 w 42"/>
                <a:gd name="T5" fmla="*/ 82 h 83"/>
                <a:gd name="T6" fmla="*/ 0 w 42"/>
                <a:gd name="T7" fmla="*/ 61 h 83"/>
                <a:gd name="T8" fmla="*/ 0 w 42"/>
                <a:gd name="T9" fmla="*/ 41 h 83"/>
                <a:gd name="T10" fmla="*/ 0 w 42"/>
                <a:gd name="T11" fmla="*/ 21 h 83"/>
                <a:gd name="T12" fmla="*/ 0 w 42"/>
                <a:gd name="T13" fmla="*/ 0 h 83"/>
                <a:gd name="T14" fmla="*/ 20 w 42"/>
                <a:gd name="T15" fmla="*/ 0 h 83"/>
                <a:gd name="T16" fmla="*/ 41 w 42"/>
                <a:gd name="T17" fmla="*/ 0 h 83"/>
                <a:gd name="T18" fmla="*/ 41 w 42"/>
                <a:gd name="T19" fmla="*/ 21 h 83"/>
                <a:gd name="T20" fmla="*/ 41 w 42"/>
                <a:gd name="T21" fmla="*/ 41 h 83"/>
                <a:gd name="T22" fmla="*/ 41 w 42"/>
                <a:gd name="T23" fmla="*/ 61 h 83"/>
                <a:gd name="T24" fmla="*/ 41 w 42"/>
                <a:gd name="T25"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83">
                  <a:moveTo>
                    <a:pt x="41" y="82"/>
                  </a:moveTo>
                  <a:lnTo>
                    <a:pt x="41" y="82"/>
                  </a:lnTo>
                  <a:cubicBezTo>
                    <a:pt x="20" y="82"/>
                    <a:pt x="20" y="82"/>
                    <a:pt x="20" y="82"/>
                  </a:cubicBezTo>
                  <a:cubicBezTo>
                    <a:pt x="0" y="82"/>
                    <a:pt x="0" y="61"/>
                    <a:pt x="0" y="61"/>
                  </a:cubicBezTo>
                  <a:lnTo>
                    <a:pt x="0" y="41"/>
                  </a:lnTo>
                  <a:lnTo>
                    <a:pt x="0" y="21"/>
                  </a:lnTo>
                  <a:lnTo>
                    <a:pt x="0" y="0"/>
                  </a:lnTo>
                  <a:cubicBezTo>
                    <a:pt x="20" y="0"/>
                    <a:pt x="20" y="0"/>
                    <a:pt x="20" y="0"/>
                  </a:cubicBezTo>
                  <a:lnTo>
                    <a:pt x="41" y="0"/>
                  </a:lnTo>
                  <a:cubicBezTo>
                    <a:pt x="41" y="21"/>
                    <a:pt x="41" y="21"/>
                    <a:pt x="41" y="21"/>
                  </a:cubicBezTo>
                  <a:cubicBezTo>
                    <a:pt x="41" y="41"/>
                    <a:pt x="41" y="41"/>
                    <a:pt x="41" y="41"/>
                  </a:cubicBezTo>
                  <a:lnTo>
                    <a:pt x="41" y="61"/>
                  </a:lnTo>
                  <a:lnTo>
                    <a:pt x="41"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2" name="Freeform 589">
              <a:extLst>
                <a:ext uri="{FF2B5EF4-FFF2-40B4-BE49-F238E27FC236}">
                  <a16:creationId xmlns:a16="http://schemas.microsoft.com/office/drawing/2014/main" id="{5BC6E6F9-BA75-1648-8C68-0DCC6F3F8EAD}"/>
                </a:ext>
              </a:extLst>
            </p:cNvPr>
            <p:cNvSpPr>
              <a:spLocks noChangeArrowheads="1"/>
            </p:cNvSpPr>
            <p:nvPr/>
          </p:nvSpPr>
          <p:spPr bwMode="auto">
            <a:xfrm>
              <a:off x="6342063" y="7032625"/>
              <a:ext cx="58737" cy="103188"/>
            </a:xfrm>
            <a:custGeom>
              <a:avLst/>
              <a:gdLst>
                <a:gd name="T0" fmla="*/ 164 w 165"/>
                <a:gd name="T1" fmla="*/ 286 h 287"/>
                <a:gd name="T2" fmla="*/ 164 w 165"/>
                <a:gd name="T3" fmla="*/ 286 h 287"/>
                <a:gd name="T4" fmla="*/ 164 w 165"/>
                <a:gd name="T5" fmla="*/ 246 h 287"/>
                <a:gd name="T6" fmla="*/ 164 w 165"/>
                <a:gd name="T7" fmla="*/ 225 h 287"/>
                <a:gd name="T8" fmla="*/ 164 w 165"/>
                <a:gd name="T9" fmla="*/ 184 h 287"/>
                <a:gd name="T10" fmla="*/ 143 w 165"/>
                <a:gd name="T11" fmla="*/ 164 h 287"/>
                <a:gd name="T12" fmla="*/ 123 w 165"/>
                <a:gd name="T13" fmla="*/ 143 h 287"/>
                <a:gd name="T14" fmla="*/ 123 w 165"/>
                <a:gd name="T15" fmla="*/ 122 h 287"/>
                <a:gd name="T16" fmla="*/ 103 w 165"/>
                <a:gd name="T17" fmla="*/ 102 h 287"/>
                <a:gd name="T18" fmla="*/ 103 w 165"/>
                <a:gd name="T19" fmla="*/ 82 h 287"/>
                <a:gd name="T20" fmla="*/ 82 w 165"/>
                <a:gd name="T21" fmla="*/ 82 h 287"/>
                <a:gd name="T22" fmla="*/ 82 w 165"/>
                <a:gd name="T23" fmla="*/ 61 h 287"/>
                <a:gd name="T24" fmla="*/ 61 w 165"/>
                <a:gd name="T25" fmla="*/ 20 h 287"/>
                <a:gd name="T26" fmla="*/ 61 w 165"/>
                <a:gd name="T27" fmla="*/ 0 h 287"/>
                <a:gd name="T28" fmla="*/ 41 w 165"/>
                <a:gd name="T29" fmla="*/ 0 h 287"/>
                <a:gd name="T30" fmla="*/ 21 w 165"/>
                <a:gd name="T31" fmla="*/ 20 h 287"/>
                <a:gd name="T32" fmla="*/ 0 w 165"/>
                <a:gd name="T33" fmla="*/ 40 h 287"/>
                <a:gd name="T34" fmla="*/ 0 w 165"/>
                <a:gd name="T35" fmla="*/ 61 h 287"/>
                <a:gd name="T36" fmla="*/ 21 w 165"/>
                <a:gd name="T37" fmla="*/ 82 h 287"/>
                <a:gd name="T38" fmla="*/ 21 w 165"/>
                <a:gd name="T39" fmla="*/ 102 h 287"/>
                <a:gd name="T40" fmla="*/ 41 w 165"/>
                <a:gd name="T41" fmla="*/ 122 h 287"/>
                <a:gd name="T42" fmla="*/ 41 w 165"/>
                <a:gd name="T43" fmla="*/ 122 h 287"/>
                <a:gd name="T44" fmla="*/ 61 w 165"/>
                <a:gd name="T45" fmla="*/ 164 h 287"/>
                <a:gd name="T46" fmla="*/ 61 w 165"/>
                <a:gd name="T47" fmla="*/ 184 h 287"/>
                <a:gd name="T48" fmla="*/ 82 w 165"/>
                <a:gd name="T49" fmla="*/ 225 h 287"/>
                <a:gd name="T50" fmla="*/ 82 w 165"/>
                <a:gd name="T51" fmla="*/ 246 h 287"/>
                <a:gd name="T52" fmla="*/ 82 w 165"/>
                <a:gd name="T53" fmla="*/ 286 h 287"/>
                <a:gd name="T54" fmla="*/ 103 w 165"/>
                <a:gd name="T55" fmla="*/ 286 h 287"/>
                <a:gd name="T56" fmla="*/ 143 w 165"/>
                <a:gd name="T57" fmla="*/ 286 h 287"/>
                <a:gd name="T58" fmla="*/ 164 w 165"/>
                <a:gd name="T59" fmla="*/ 28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5" h="287">
                  <a:moveTo>
                    <a:pt x="164" y="286"/>
                  </a:moveTo>
                  <a:lnTo>
                    <a:pt x="164" y="286"/>
                  </a:lnTo>
                  <a:cubicBezTo>
                    <a:pt x="164" y="286"/>
                    <a:pt x="164" y="266"/>
                    <a:pt x="164" y="246"/>
                  </a:cubicBezTo>
                  <a:lnTo>
                    <a:pt x="164" y="225"/>
                  </a:lnTo>
                  <a:cubicBezTo>
                    <a:pt x="164" y="204"/>
                    <a:pt x="164" y="184"/>
                    <a:pt x="164" y="184"/>
                  </a:cubicBezTo>
                  <a:cubicBezTo>
                    <a:pt x="143" y="184"/>
                    <a:pt x="143" y="164"/>
                    <a:pt x="143" y="164"/>
                  </a:cubicBezTo>
                  <a:cubicBezTo>
                    <a:pt x="143" y="143"/>
                    <a:pt x="123" y="143"/>
                    <a:pt x="123" y="143"/>
                  </a:cubicBezTo>
                  <a:cubicBezTo>
                    <a:pt x="123" y="122"/>
                    <a:pt x="123" y="122"/>
                    <a:pt x="123" y="122"/>
                  </a:cubicBezTo>
                  <a:cubicBezTo>
                    <a:pt x="103" y="122"/>
                    <a:pt x="103" y="102"/>
                    <a:pt x="103" y="102"/>
                  </a:cubicBezTo>
                  <a:cubicBezTo>
                    <a:pt x="103" y="102"/>
                    <a:pt x="103" y="102"/>
                    <a:pt x="103" y="82"/>
                  </a:cubicBezTo>
                  <a:lnTo>
                    <a:pt x="82" y="82"/>
                  </a:lnTo>
                  <a:cubicBezTo>
                    <a:pt x="82" y="61"/>
                    <a:pt x="82" y="61"/>
                    <a:pt x="82" y="61"/>
                  </a:cubicBezTo>
                  <a:cubicBezTo>
                    <a:pt x="82" y="40"/>
                    <a:pt x="61" y="40"/>
                    <a:pt x="61" y="20"/>
                  </a:cubicBezTo>
                  <a:lnTo>
                    <a:pt x="61" y="0"/>
                  </a:lnTo>
                  <a:lnTo>
                    <a:pt x="41" y="0"/>
                  </a:lnTo>
                  <a:lnTo>
                    <a:pt x="21" y="20"/>
                  </a:lnTo>
                  <a:cubicBezTo>
                    <a:pt x="21" y="20"/>
                    <a:pt x="0" y="20"/>
                    <a:pt x="0" y="40"/>
                  </a:cubicBezTo>
                  <a:lnTo>
                    <a:pt x="0" y="61"/>
                  </a:lnTo>
                  <a:cubicBezTo>
                    <a:pt x="0" y="61"/>
                    <a:pt x="0" y="82"/>
                    <a:pt x="21" y="82"/>
                  </a:cubicBezTo>
                  <a:lnTo>
                    <a:pt x="21" y="102"/>
                  </a:lnTo>
                  <a:cubicBezTo>
                    <a:pt x="21" y="102"/>
                    <a:pt x="21" y="122"/>
                    <a:pt x="41" y="122"/>
                  </a:cubicBezTo>
                  <a:lnTo>
                    <a:pt x="41" y="122"/>
                  </a:lnTo>
                  <a:cubicBezTo>
                    <a:pt x="61" y="143"/>
                    <a:pt x="61" y="143"/>
                    <a:pt x="61" y="164"/>
                  </a:cubicBezTo>
                  <a:cubicBezTo>
                    <a:pt x="82" y="164"/>
                    <a:pt x="61" y="184"/>
                    <a:pt x="61" y="184"/>
                  </a:cubicBezTo>
                  <a:cubicBezTo>
                    <a:pt x="61" y="204"/>
                    <a:pt x="82" y="204"/>
                    <a:pt x="82" y="225"/>
                  </a:cubicBezTo>
                  <a:cubicBezTo>
                    <a:pt x="82" y="225"/>
                    <a:pt x="61" y="246"/>
                    <a:pt x="82" y="246"/>
                  </a:cubicBezTo>
                  <a:cubicBezTo>
                    <a:pt x="82" y="266"/>
                    <a:pt x="82" y="266"/>
                    <a:pt x="82" y="286"/>
                  </a:cubicBezTo>
                  <a:lnTo>
                    <a:pt x="103" y="286"/>
                  </a:lnTo>
                  <a:cubicBezTo>
                    <a:pt x="123" y="286"/>
                    <a:pt x="123" y="286"/>
                    <a:pt x="143" y="286"/>
                  </a:cubicBezTo>
                  <a:cubicBezTo>
                    <a:pt x="143" y="286"/>
                    <a:pt x="143" y="286"/>
                    <a:pt x="164" y="286"/>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3" name="Freeform 590">
              <a:extLst>
                <a:ext uri="{FF2B5EF4-FFF2-40B4-BE49-F238E27FC236}">
                  <a16:creationId xmlns:a16="http://schemas.microsoft.com/office/drawing/2014/main" id="{B8B1818B-56D3-FD46-9EF2-2849C0F6A061}"/>
                </a:ext>
              </a:extLst>
            </p:cNvPr>
            <p:cNvSpPr>
              <a:spLocks noChangeArrowheads="1"/>
            </p:cNvSpPr>
            <p:nvPr/>
          </p:nvSpPr>
          <p:spPr bwMode="auto">
            <a:xfrm>
              <a:off x="6319838" y="7134225"/>
              <a:ext cx="52387" cy="44450"/>
            </a:xfrm>
            <a:custGeom>
              <a:avLst/>
              <a:gdLst>
                <a:gd name="T0" fmla="*/ 143 w 144"/>
                <a:gd name="T1" fmla="*/ 62 h 125"/>
                <a:gd name="T2" fmla="*/ 143 w 144"/>
                <a:gd name="T3" fmla="*/ 62 h 125"/>
                <a:gd name="T4" fmla="*/ 122 w 144"/>
                <a:gd name="T5" fmla="*/ 42 h 125"/>
                <a:gd name="T6" fmla="*/ 102 w 144"/>
                <a:gd name="T7" fmla="*/ 21 h 125"/>
                <a:gd name="T8" fmla="*/ 61 w 144"/>
                <a:gd name="T9" fmla="*/ 21 h 125"/>
                <a:gd name="T10" fmla="*/ 40 w 144"/>
                <a:gd name="T11" fmla="*/ 21 h 125"/>
                <a:gd name="T12" fmla="*/ 0 w 144"/>
                <a:gd name="T13" fmla="*/ 42 h 125"/>
                <a:gd name="T14" fmla="*/ 0 w 144"/>
                <a:gd name="T15" fmla="*/ 82 h 125"/>
                <a:gd name="T16" fmla="*/ 0 w 144"/>
                <a:gd name="T17" fmla="*/ 103 h 125"/>
                <a:gd name="T18" fmla="*/ 20 w 144"/>
                <a:gd name="T19" fmla="*/ 124 h 125"/>
                <a:gd name="T20" fmla="*/ 40 w 144"/>
                <a:gd name="T21" fmla="*/ 124 h 125"/>
                <a:gd name="T22" fmla="*/ 82 w 144"/>
                <a:gd name="T23" fmla="*/ 103 h 125"/>
                <a:gd name="T24" fmla="*/ 102 w 144"/>
                <a:gd name="T25" fmla="*/ 82 h 125"/>
                <a:gd name="T26" fmla="*/ 122 w 144"/>
                <a:gd name="T27" fmla="*/ 82 h 125"/>
                <a:gd name="T28" fmla="*/ 143 w 144"/>
                <a:gd name="T29"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4" h="125">
                  <a:moveTo>
                    <a:pt x="143" y="62"/>
                  </a:moveTo>
                  <a:lnTo>
                    <a:pt x="143" y="62"/>
                  </a:lnTo>
                  <a:cubicBezTo>
                    <a:pt x="143" y="62"/>
                    <a:pt x="122" y="62"/>
                    <a:pt x="122" y="42"/>
                  </a:cubicBezTo>
                  <a:lnTo>
                    <a:pt x="102" y="21"/>
                  </a:lnTo>
                  <a:cubicBezTo>
                    <a:pt x="102" y="21"/>
                    <a:pt x="82" y="0"/>
                    <a:pt x="61" y="21"/>
                  </a:cubicBezTo>
                  <a:lnTo>
                    <a:pt x="40" y="21"/>
                  </a:lnTo>
                  <a:cubicBezTo>
                    <a:pt x="40" y="42"/>
                    <a:pt x="20" y="42"/>
                    <a:pt x="0" y="42"/>
                  </a:cubicBezTo>
                  <a:cubicBezTo>
                    <a:pt x="0" y="62"/>
                    <a:pt x="0" y="62"/>
                    <a:pt x="0" y="82"/>
                  </a:cubicBezTo>
                  <a:lnTo>
                    <a:pt x="0" y="103"/>
                  </a:lnTo>
                  <a:lnTo>
                    <a:pt x="20" y="124"/>
                  </a:lnTo>
                  <a:lnTo>
                    <a:pt x="40" y="124"/>
                  </a:lnTo>
                  <a:cubicBezTo>
                    <a:pt x="61" y="124"/>
                    <a:pt x="61" y="103"/>
                    <a:pt x="82" y="103"/>
                  </a:cubicBezTo>
                  <a:cubicBezTo>
                    <a:pt x="82" y="103"/>
                    <a:pt x="82" y="103"/>
                    <a:pt x="102" y="82"/>
                  </a:cubicBezTo>
                  <a:cubicBezTo>
                    <a:pt x="102" y="82"/>
                    <a:pt x="102" y="82"/>
                    <a:pt x="122" y="82"/>
                  </a:cubicBezTo>
                  <a:lnTo>
                    <a:pt x="143"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4" name="Freeform 591">
              <a:extLst>
                <a:ext uri="{FF2B5EF4-FFF2-40B4-BE49-F238E27FC236}">
                  <a16:creationId xmlns:a16="http://schemas.microsoft.com/office/drawing/2014/main" id="{1A2D8A82-ABCC-2F42-82AB-4B3DD4CC95FA}"/>
                </a:ext>
              </a:extLst>
            </p:cNvPr>
            <p:cNvSpPr>
              <a:spLocks noChangeArrowheads="1"/>
            </p:cNvSpPr>
            <p:nvPr/>
          </p:nvSpPr>
          <p:spPr bwMode="auto">
            <a:xfrm>
              <a:off x="6283325" y="7069138"/>
              <a:ext cx="52388" cy="125412"/>
            </a:xfrm>
            <a:custGeom>
              <a:avLst/>
              <a:gdLst>
                <a:gd name="T0" fmla="*/ 41 w 144"/>
                <a:gd name="T1" fmla="*/ 348 h 349"/>
                <a:gd name="T2" fmla="*/ 41 w 144"/>
                <a:gd name="T3" fmla="*/ 348 h 349"/>
                <a:gd name="T4" fmla="*/ 21 w 144"/>
                <a:gd name="T5" fmla="*/ 308 h 349"/>
                <a:gd name="T6" fmla="*/ 21 w 144"/>
                <a:gd name="T7" fmla="*/ 266 h 349"/>
                <a:gd name="T8" fmla="*/ 21 w 144"/>
                <a:gd name="T9" fmla="*/ 246 h 349"/>
                <a:gd name="T10" fmla="*/ 41 w 144"/>
                <a:gd name="T11" fmla="*/ 226 h 349"/>
                <a:gd name="T12" fmla="*/ 41 w 144"/>
                <a:gd name="T13" fmla="*/ 205 h 349"/>
                <a:gd name="T14" fmla="*/ 41 w 144"/>
                <a:gd name="T15" fmla="*/ 144 h 349"/>
                <a:gd name="T16" fmla="*/ 61 w 144"/>
                <a:gd name="T17" fmla="*/ 102 h 349"/>
                <a:gd name="T18" fmla="*/ 61 w 144"/>
                <a:gd name="T19" fmla="*/ 62 h 349"/>
                <a:gd name="T20" fmla="*/ 61 w 144"/>
                <a:gd name="T21" fmla="*/ 20 h 349"/>
                <a:gd name="T22" fmla="*/ 61 w 144"/>
                <a:gd name="T23" fmla="*/ 0 h 349"/>
                <a:gd name="T24" fmla="*/ 82 w 144"/>
                <a:gd name="T25" fmla="*/ 0 h 349"/>
                <a:gd name="T26" fmla="*/ 103 w 144"/>
                <a:gd name="T27" fmla="*/ 0 h 349"/>
                <a:gd name="T28" fmla="*/ 103 w 144"/>
                <a:gd name="T29" fmla="*/ 41 h 349"/>
                <a:gd name="T30" fmla="*/ 103 w 144"/>
                <a:gd name="T31" fmla="*/ 62 h 349"/>
                <a:gd name="T32" fmla="*/ 103 w 144"/>
                <a:gd name="T33" fmla="*/ 82 h 349"/>
                <a:gd name="T34" fmla="*/ 123 w 144"/>
                <a:gd name="T35" fmla="*/ 102 h 349"/>
                <a:gd name="T36" fmla="*/ 143 w 144"/>
                <a:gd name="T37" fmla="*/ 123 h 349"/>
                <a:gd name="T38" fmla="*/ 143 w 144"/>
                <a:gd name="T39" fmla="*/ 144 h 349"/>
                <a:gd name="T40" fmla="*/ 123 w 144"/>
                <a:gd name="T41" fmla="*/ 184 h 349"/>
                <a:gd name="T42" fmla="*/ 103 w 144"/>
                <a:gd name="T43" fmla="*/ 205 h 349"/>
                <a:gd name="T44" fmla="*/ 82 w 144"/>
                <a:gd name="T45" fmla="*/ 226 h 349"/>
                <a:gd name="T46" fmla="*/ 61 w 144"/>
                <a:gd name="T47" fmla="*/ 246 h 349"/>
                <a:gd name="T48" fmla="*/ 61 w 144"/>
                <a:gd name="T49" fmla="*/ 266 h 349"/>
                <a:gd name="T50" fmla="*/ 41 w 144"/>
                <a:gd name="T51" fmla="*/ 308 h 349"/>
                <a:gd name="T52" fmla="*/ 41 w 144"/>
                <a:gd name="T53" fmla="*/ 328 h 349"/>
                <a:gd name="T54" fmla="*/ 41 w 144"/>
                <a:gd name="T55" fmla="*/ 34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4" h="349">
                  <a:moveTo>
                    <a:pt x="41" y="348"/>
                  </a:moveTo>
                  <a:lnTo>
                    <a:pt x="41" y="348"/>
                  </a:lnTo>
                  <a:cubicBezTo>
                    <a:pt x="21" y="328"/>
                    <a:pt x="21" y="308"/>
                    <a:pt x="21" y="308"/>
                  </a:cubicBezTo>
                  <a:cubicBezTo>
                    <a:pt x="21" y="308"/>
                    <a:pt x="0" y="287"/>
                    <a:pt x="21" y="266"/>
                  </a:cubicBezTo>
                  <a:lnTo>
                    <a:pt x="21" y="246"/>
                  </a:lnTo>
                  <a:lnTo>
                    <a:pt x="41" y="226"/>
                  </a:lnTo>
                  <a:lnTo>
                    <a:pt x="41" y="205"/>
                  </a:lnTo>
                  <a:cubicBezTo>
                    <a:pt x="41" y="184"/>
                    <a:pt x="41" y="164"/>
                    <a:pt x="41" y="144"/>
                  </a:cubicBezTo>
                  <a:lnTo>
                    <a:pt x="61" y="102"/>
                  </a:lnTo>
                  <a:cubicBezTo>
                    <a:pt x="61" y="82"/>
                    <a:pt x="61" y="62"/>
                    <a:pt x="61" y="62"/>
                  </a:cubicBezTo>
                  <a:cubicBezTo>
                    <a:pt x="61" y="62"/>
                    <a:pt x="61" y="41"/>
                    <a:pt x="61" y="20"/>
                  </a:cubicBezTo>
                  <a:lnTo>
                    <a:pt x="61" y="0"/>
                  </a:lnTo>
                  <a:lnTo>
                    <a:pt x="82" y="0"/>
                  </a:lnTo>
                  <a:lnTo>
                    <a:pt x="103" y="0"/>
                  </a:lnTo>
                  <a:cubicBezTo>
                    <a:pt x="103" y="0"/>
                    <a:pt x="103" y="20"/>
                    <a:pt x="103" y="41"/>
                  </a:cubicBezTo>
                  <a:lnTo>
                    <a:pt x="103" y="62"/>
                  </a:lnTo>
                  <a:lnTo>
                    <a:pt x="103" y="82"/>
                  </a:lnTo>
                  <a:cubicBezTo>
                    <a:pt x="123" y="102"/>
                    <a:pt x="123" y="102"/>
                    <a:pt x="123" y="102"/>
                  </a:cubicBezTo>
                  <a:cubicBezTo>
                    <a:pt x="123" y="123"/>
                    <a:pt x="143" y="123"/>
                    <a:pt x="143" y="123"/>
                  </a:cubicBezTo>
                  <a:lnTo>
                    <a:pt x="143" y="144"/>
                  </a:lnTo>
                  <a:cubicBezTo>
                    <a:pt x="123" y="164"/>
                    <a:pt x="123" y="164"/>
                    <a:pt x="123" y="184"/>
                  </a:cubicBezTo>
                  <a:cubicBezTo>
                    <a:pt x="103" y="184"/>
                    <a:pt x="103" y="184"/>
                    <a:pt x="103" y="205"/>
                  </a:cubicBezTo>
                  <a:lnTo>
                    <a:pt x="82" y="226"/>
                  </a:lnTo>
                  <a:cubicBezTo>
                    <a:pt x="82" y="226"/>
                    <a:pt x="61" y="226"/>
                    <a:pt x="61" y="246"/>
                  </a:cubicBezTo>
                  <a:lnTo>
                    <a:pt x="61" y="266"/>
                  </a:lnTo>
                  <a:cubicBezTo>
                    <a:pt x="61" y="287"/>
                    <a:pt x="61" y="287"/>
                    <a:pt x="41" y="308"/>
                  </a:cubicBezTo>
                  <a:lnTo>
                    <a:pt x="41" y="328"/>
                  </a:lnTo>
                  <a:lnTo>
                    <a:pt x="41" y="348"/>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5" name="Freeform 592">
              <a:extLst>
                <a:ext uri="{FF2B5EF4-FFF2-40B4-BE49-F238E27FC236}">
                  <a16:creationId xmlns:a16="http://schemas.microsoft.com/office/drawing/2014/main" id="{92863328-4C36-7840-841C-8B50D0C6FC10}"/>
                </a:ext>
              </a:extLst>
            </p:cNvPr>
            <p:cNvSpPr>
              <a:spLocks noChangeArrowheads="1"/>
            </p:cNvSpPr>
            <p:nvPr/>
          </p:nvSpPr>
          <p:spPr bwMode="auto">
            <a:xfrm>
              <a:off x="6319838" y="6935788"/>
              <a:ext cx="103187" cy="117475"/>
            </a:xfrm>
            <a:custGeom>
              <a:avLst/>
              <a:gdLst>
                <a:gd name="T0" fmla="*/ 204 w 287"/>
                <a:gd name="T1" fmla="*/ 327 h 328"/>
                <a:gd name="T2" fmla="*/ 204 w 287"/>
                <a:gd name="T3" fmla="*/ 327 h 328"/>
                <a:gd name="T4" fmla="*/ 184 w 287"/>
                <a:gd name="T5" fmla="*/ 306 h 328"/>
                <a:gd name="T6" fmla="*/ 164 w 287"/>
                <a:gd name="T7" fmla="*/ 286 h 328"/>
                <a:gd name="T8" fmla="*/ 143 w 287"/>
                <a:gd name="T9" fmla="*/ 266 h 328"/>
                <a:gd name="T10" fmla="*/ 143 w 287"/>
                <a:gd name="T11" fmla="*/ 224 h 328"/>
                <a:gd name="T12" fmla="*/ 122 w 287"/>
                <a:gd name="T13" fmla="*/ 204 h 328"/>
                <a:gd name="T14" fmla="*/ 102 w 287"/>
                <a:gd name="T15" fmla="*/ 184 h 328"/>
                <a:gd name="T16" fmla="*/ 82 w 287"/>
                <a:gd name="T17" fmla="*/ 143 h 328"/>
                <a:gd name="T18" fmla="*/ 40 w 287"/>
                <a:gd name="T19" fmla="*/ 122 h 328"/>
                <a:gd name="T20" fmla="*/ 20 w 287"/>
                <a:gd name="T21" fmla="*/ 102 h 328"/>
                <a:gd name="T22" fmla="*/ 20 w 287"/>
                <a:gd name="T23" fmla="*/ 61 h 328"/>
                <a:gd name="T24" fmla="*/ 0 w 287"/>
                <a:gd name="T25" fmla="*/ 40 h 328"/>
                <a:gd name="T26" fmla="*/ 0 w 287"/>
                <a:gd name="T27" fmla="*/ 20 h 328"/>
                <a:gd name="T28" fmla="*/ 0 w 287"/>
                <a:gd name="T29" fmla="*/ 0 h 328"/>
                <a:gd name="T30" fmla="*/ 20 w 287"/>
                <a:gd name="T31" fmla="*/ 0 h 328"/>
                <a:gd name="T32" fmla="*/ 40 w 287"/>
                <a:gd name="T33" fmla="*/ 20 h 328"/>
                <a:gd name="T34" fmla="*/ 82 w 287"/>
                <a:gd name="T35" fmla="*/ 20 h 328"/>
                <a:gd name="T36" fmla="*/ 102 w 287"/>
                <a:gd name="T37" fmla="*/ 0 h 328"/>
                <a:gd name="T38" fmla="*/ 143 w 287"/>
                <a:gd name="T39" fmla="*/ 0 h 328"/>
                <a:gd name="T40" fmla="*/ 143 w 287"/>
                <a:gd name="T41" fmla="*/ 0 h 328"/>
                <a:gd name="T42" fmla="*/ 164 w 287"/>
                <a:gd name="T43" fmla="*/ 20 h 328"/>
                <a:gd name="T44" fmla="*/ 164 w 287"/>
                <a:gd name="T45" fmla="*/ 40 h 328"/>
                <a:gd name="T46" fmla="*/ 184 w 287"/>
                <a:gd name="T47" fmla="*/ 61 h 328"/>
                <a:gd name="T48" fmla="*/ 184 w 287"/>
                <a:gd name="T49" fmla="*/ 61 h 328"/>
                <a:gd name="T50" fmla="*/ 204 w 287"/>
                <a:gd name="T51" fmla="*/ 82 h 328"/>
                <a:gd name="T52" fmla="*/ 225 w 287"/>
                <a:gd name="T53" fmla="*/ 102 h 328"/>
                <a:gd name="T54" fmla="*/ 225 w 287"/>
                <a:gd name="T55" fmla="*/ 122 h 328"/>
                <a:gd name="T56" fmla="*/ 204 w 287"/>
                <a:gd name="T57" fmla="*/ 122 h 328"/>
                <a:gd name="T58" fmla="*/ 225 w 287"/>
                <a:gd name="T59" fmla="*/ 164 h 328"/>
                <a:gd name="T60" fmla="*/ 225 w 287"/>
                <a:gd name="T61" fmla="*/ 184 h 328"/>
                <a:gd name="T62" fmla="*/ 225 w 287"/>
                <a:gd name="T63" fmla="*/ 204 h 328"/>
                <a:gd name="T64" fmla="*/ 246 w 287"/>
                <a:gd name="T65" fmla="*/ 245 h 328"/>
                <a:gd name="T66" fmla="*/ 266 w 287"/>
                <a:gd name="T67" fmla="*/ 266 h 328"/>
                <a:gd name="T68" fmla="*/ 266 w 287"/>
                <a:gd name="T69" fmla="*/ 286 h 328"/>
                <a:gd name="T70" fmla="*/ 286 w 287"/>
                <a:gd name="T71" fmla="*/ 327 h 328"/>
                <a:gd name="T72" fmla="*/ 266 w 287"/>
                <a:gd name="T73" fmla="*/ 327 h 328"/>
                <a:gd name="T74" fmla="*/ 246 w 287"/>
                <a:gd name="T75" fmla="*/ 327 h 328"/>
                <a:gd name="T76" fmla="*/ 225 w 287"/>
                <a:gd name="T77" fmla="*/ 327 h 328"/>
                <a:gd name="T78" fmla="*/ 204 w 287"/>
                <a:gd name="T79" fmla="*/ 32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87" h="328">
                  <a:moveTo>
                    <a:pt x="204" y="327"/>
                  </a:moveTo>
                  <a:lnTo>
                    <a:pt x="204" y="327"/>
                  </a:lnTo>
                  <a:cubicBezTo>
                    <a:pt x="184" y="327"/>
                    <a:pt x="184" y="327"/>
                    <a:pt x="184" y="306"/>
                  </a:cubicBezTo>
                  <a:cubicBezTo>
                    <a:pt x="164" y="306"/>
                    <a:pt x="164" y="286"/>
                    <a:pt x="164" y="286"/>
                  </a:cubicBezTo>
                  <a:lnTo>
                    <a:pt x="143" y="266"/>
                  </a:lnTo>
                  <a:cubicBezTo>
                    <a:pt x="143" y="266"/>
                    <a:pt x="143" y="245"/>
                    <a:pt x="143" y="224"/>
                  </a:cubicBezTo>
                  <a:lnTo>
                    <a:pt x="122" y="204"/>
                  </a:lnTo>
                  <a:cubicBezTo>
                    <a:pt x="122" y="184"/>
                    <a:pt x="102" y="184"/>
                    <a:pt x="102" y="184"/>
                  </a:cubicBezTo>
                  <a:cubicBezTo>
                    <a:pt x="102" y="164"/>
                    <a:pt x="82" y="164"/>
                    <a:pt x="82" y="143"/>
                  </a:cubicBezTo>
                  <a:cubicBezTo>
                    <a:pt x="61" y="143"/>
                    <a:pt x="40" y="143"/>
                    <a:pt x="40" y="122"/>
                  </a:cubicBezTo>
                  <a:cubicBezTo>
                    <a:pt x="40" y="122"/>
                    <a:pt x="20" y="122"/>
                    <a:pt x="20" y="102"/>
                  </a:cubicBezTo>
                  <a:cubicBezTo>
                    <a:pt x="20" y="102"/>
                    <a:pt x="20" y="82"/>
                    <a:pt x="20" y="61"/>
                  </a:cubicBezTo>
                  <a:cubicBezTo>
                    <a:pt x="20" y="61"/>
                    <a:pt x="20" y="40"/>
                    <a:pt x="0" y="40"/>
                  </a:cubicBezTo>
                  <a:cubicBezTo>
                    <a:pt x="0" y="20"/>
                    <a:pt x="0" y="20"/>
                    <a:pt x="0" y="20"/>
                  </a:cubicBezTo>
                  <a:lnTo>
                    <a:pt x="0" y="0"/>
                  </a:lnTo>
                  <a:lnTo>
                    <a:pt x="20" y="0"/>
                  </a:lnTo>
                  <a:cubicBezTo>
                    <a:pt x="20" y="0"/>
                    <a:pt x="40" y="0"/>
                    <a:pt x="40" y="20"/>
                  </a:cubicBezTo>
                  <a:cubicBezTo>
                    <a:pt x="40" y="20"/>
                    <a:pt x="61" y="20"/>
                    <a:pt x="82" y="20"/>
                  </a:cubicBezTo>
                  <a:lnTo>
                    <a:pt x="102" y="0"/>
                  </a:lnTo>
                  <a:cubicBezTo>
                    <a:pt x="102" y="0"/>
                    <a:pt x="122" y="0"/>
                    <a:pt x="143" y="0"/>
                  </a:cubicBezTo>
                  <a:lnTo>
                    <a:pt x="143" y="0"/>
                  </a:lnTo>
                  <a:cubicBezTo>
                    <a:pt x="164" y="20"/>
                    <a:pt x="164" y="20"/>
                    <a:pt x="164" y="20"/>
                  </a:cubicBezTo>
                  <a:cubicBezTo>
                    <a:pt x="164" y="40"/>
                    <a:pt x="164" y="40"/>
                    <a:pt x="164" y="40"/>
                  </a:cubicBezTo>
                  <a:cubicBezTo>
                    <a:pt x="164" y="40"/>
                    <a:pt x="164" y="61"/>
                    <a:pt x="184" y="61"/>
                  </a:cubicBezTo>
                  <a:lnTo>
                    <a:pt x="184" y="61"/>
                  </a:lnTo>
                  <a:cubicBezTo>
                    <a:pt x="204" y="61"/>
                    <a:pt x="204" y="61"/>
                    <a:pt x="204" y="82"/>
                  </a:cubicBezTo>
                  <a:cubicBezTo>
                    <a:pt x="225" y="82"/>
                    <a:pt x="225" y="82"/>
                    <a:pt x="225" y="102"/>
                  </a:cubicBezTo>
                  <a:cubicBezTo>
                    <a:pt x="225" y="102"/>
                    <a:pt x="225" y="102"/>
                    <a:pt x="225" y="122"/>
                  </a:cubicBezTo>
                  <a:cubicBezTo>
                    <a:pt x="225" y="122"/>
                    <a:pt x="225" y="122"/>
                    <a:pt x="204" y="122"/>
                  </a:cubicBezTo>
                  <a:cubicBezTo>
                    <a:pt x="204" y="143"/>
                    <a:pt x="204" y="143"/>
                    <a:pt x="225" y="164"/>
                  </a:cubicBezTo>
                  <a:lnTo>
                    <a:pt x="225" y="184"/>
                  </a:lnTo>
                  <a:lnTo>
                    <a:pt x="225" y="204"/>
                  </a:lnTo>
                  <a:cubicBezTo>
                    <a:pt x="225" y="224"/>
                    <a:pt x="246" y="245"/>
                    <a:pt x="246" y="245"/>
                  </a:cubicBezTo>
                  <a:cubicBezTo>
                    <a:pt x="246" y="266"/>
                    <a:pt x="266" y="266"/>
                    <a:pt x="266" y="266"/>
                  </a:cubicBezTo>
                  <a:lnTo>
                    <a:pt x="266" y="286"/>
                  </a:lnTo>
                  <a:cubicBezTo>
                    <a:pt x="266" y="286"/>
                    <a:pt x="286" y="306"/>
                    <a:pt x="286" y="327"/>
                  </a:cubicBezTo>
                  <a:lnTo>
                    <a:pt x="266" y="327"/>
                  </a:lnTo>
                  <a:lnTo>
                    <a:pt x="246" y="327"/>
                  </a:lnTo>
                  <a:cubicBezTo>
                    <a:pt x="225" y="327"/>
                    <a:pt x="225" y="327"/>
                    <a:pt x="225" y="327"/>
                  </a:cubicBezTo>
                  <a:lnTo>
                    <a:pt x="204" y="327"/>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6" name="Freeform 593">
              <a:extLst>
                <a:ext uri="{FF2B5EF4-FFF2-40B4-BE49-F238E27FC236}">
                  <a16:creationId xmlns:a16="http://schemas.microsoft.com/office/drawing/2014/main" id="{EF771945-BD82-9744-A11F-0C6C95BC0DEE}"/>
                </a:ext>
              </a:extLst>
            </p:cNvPr>
            <p:cNvSpPr>
              <a:spLocks noChangeArrowheads="1"/>
            </p:cNvSpPr>
            <p:nvPr/>
          </p:nvSpPr>
          <p:spPr bwMode="auto">
            <a:xfrm>
              <a:off x="6253163" y="6943725"/>
              <a:ext cx="66675" cy="66675"/>
            </a:xfrm>
            <a:custGeom>
              <a:avLst/>
              <a:gdLst>
                <a:gd name="T0" fmla="*/ 185 w 186"/>
                <a:gd name="T1" fmla="*/ 184 h 185"/>
                <a:gd name="T2" fmla="*/ 185 w 186"/>
                <a:gd name="T3" fmla="*/ 184 h 185"/>
                <a:gd name="T4" fmla="*/ 164 w 186"/>
                <a:gd name="T5" fmla="*/ 144 h 185"/>
                <a:gd name="T6" fmla="*/ 143 w 186"/>
                <a:gd name="T7" fmla="*/ 102 h 185"/>
                <a:gd name="T8" fmla="*/ 103 w 186"/>
                <a:gd name="T9" fmla="*/ 62 h 185"/>
                <a:gd name="T10" fmla="*/ 82 w 186"/>
                <a:gd name="T11" fmla="*/ 41 h 185"/>
                <a:gd name="T12" fmla="*/ 41 w 186"/>
                <a:gd name="T13" fmla="*/ 20 h 185"/>
                <a:gd name="T14" fmla="*/ 21 w 186"/>
                <a:gd name="T15" fmla="*/ 0 h 185"/>
                <a:gd name="T16" fmla="*/ 0 w 186"/>
                <a:gd name="T17" fmla="*/ 0 h 185"/>
                <a:gd name="T18" fmla="*/ 0 w 186"/>
                <a:gd name="T19" fmla="*/ 20 h 185"/>
                <a:gd name="T20" fmla="*/ 0 w 186"/>
                <a:gd name="T21" fmla="*/ 62 h 185"/>
                <a:gd name="T22" fmla="*/ 21 w 186"/>
                <a:gd name="T23" fmla="*/ 82 h 185"/>
                <a:gd name="T24" fmla="*/ 21 w 186"/>
                <a:gd name="T25" fmla="*/ 82 h 185"/>
                <a:gd name="T26" fmla="*/ 21 w 186"/>
                <a:gd name="T27" fmla="*/ 102 h 185"/>
                <a:gd name="T28" fmla="*/ 0 w 186"/>
                <a:gd name="T29" fmla="*/ 123 h 185"/>
                <a:gd name="T30" fmla="*/ 21 w 186"/>
                <a:gd name="T31" fmla="*/ 144 h 185"/>
                <a:gd name="T32" fmla="*/ 41 w 186"/>
                <a:gd name="T33" fmla="*/ 144 h 185"/>
                <a:gd name="T34" fmla="*/ 41 w 186"/>
                <a:gd name="T35" fmla="*/ 123 h 185"/>
                <a:gd name="T36" fmla="*/ 61 w 186"/>
                <a:gd name="T37" fmla="*/ 123 h 185"/>
                <a:gd name="T38" fmla="*/ 103 w 186"/>
                <a:gd name="T39" fmla="*/ 123 h 185"/>
                <a:gd name="T40" fmla="*/ 123 w 186"/>
                <a:gd name="T41" fmla="*/ 144 h 185"/>
                <a:gd name="T42" fmla="*/ 123 w 186"/>
                <a:gd name="T43" fmla="*/ 164 h 185"/>
                <a:gd name="T44" fmla="*/ 143 w 186"/>
                <a:gd name="T45" fmla="*/ 184 h 185"/>
                <a:gd name="T46" fmla="*/ 185 w 186"/>
                <a:gd name="T47" fmla="*/ 1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6" h="185">
                  <a:moveTo>
                    <a:pt x="185" y="184"/>
                  </a:moveTo>
                  <a:lnTo>
                    <a:pt x="185" y="184"/>
                  </a:lnTo>
                  <a:cubicBezTo>
                    <a:pt x="185" y="164"/>
                    <a:pt x="164" y="144"/>
                    <a:pt x="164" y="144"/>
                  </a:cubicBezTo>
                  <a:lnTo>
                    <a:pt x="143" y="102"/>
                  </a:lnTo>
                  <a:cubicBezTo>
                    <a:pt x="123" y="82"/>
                    <a:pt x="123" y="82"/>
                    <a:pt x="103" y="62"/>
                  </a:cubicBezTo>
                  <a:cubicBezTo>
                    <a:pt x="103" y="62"/>
                    <a:pt x="82" y="62"/>
                    <a:pt x="82" y="41"/>
                  </a:cubicBezTo>
                  <a:cubicBezTo>
                    <a:pt x="82" y="41"/>
                    <a:pt x="61" y="20"/>
                    <a:pt x="41" y="20"/>
                  </a:cubicBezTo>
                  <a:lnTo>
                    <a:pt x="21" y="0"/>
                  </a:lnTo>
                  <a:lnTo>
                    <a:pt x="0" y="0"/>
                  </a:lnTo>
                  <a:lnTo>
                    <a:pt x="0" y="20"/>
                  </a:lnTo>
                  <a:cubicBezTo>
                    <a:pt x="0" y="41"/>
                    <a:pt x="0" y="41"/>
                    <a:pt x="0" y="62"/>
                  </a:cubicBezTo>
                  <a:cubicBezTo>
                    <a:pt x="21" y="62"/>
                    <a:pt x="21" y="62"/>
                    <a:pt x="21" y="82"/>
                  </a:cubicBezTo>
                  <a:lnTo>
                    <a:pt x="21" y="82"/>
                  </a:lnTo>
                  <a:cubicBezTo>
                    <a:pt x="21" y="82"/>
                    <a:pt x="21" y="82"/>
                    <a:pt x="21" y="102"/>
                  </a:cubicBezTo>
                  <a:cubicBezTo>
                    <a:pt x="0" y="102"/>
                    <a:pt x="0" y="102"/>
                    <a:pt x="0" y="123"/>
                  </a:cubicBezTo>
                  <a:cubicBezTo>
                    <a:pt x="0" y="123"/>
                    <a:pt x="0" y="144"/>
                    <a:pt x="21" y="144"/>
                  </a:cubicBezTo>
                  <a:cubicBezTo>
                    <a:pt x="21" y="144"/>
                    <a:pt x="21" y="144"/>
                    <a:pt x="41" y="144"/>
                  </a:cubicBezTo>
                  <a:lnTo>
                    <a:pt x="41" y="123"/>
                  </a:lnTo>
                  <a:lnTo>
                    <a:pt x="61" y="123"/>
                  </a:lnTo>
                  <a:cubicBezTo>
                    <a:pt x="82" y="123"/>
                    <a:pt x="82" y="123"/>
                    <a:pt x="103" y="123"/>
                  </a:cubicBezTo>
                  <a:cubicBezTo>
                    <a:pt x="103" y="144"/>
                    <a:pt x="103" y="144"/>
                    <a:pt x="123" y="144"/>
                  </a:cubicBezTo>
                  <a:lnTo>
                    <a:pt x="123" y="164"/>
                  </a:lnTo>
                  <a:cubicBezTo>
                    <a:pt x="123" y="164"/>
                    <a:pt x="143" y="164"/>
                    <a:pt x="143" y="184"/>
                  </a:cubicBezTo>
                  <a:cubicBezTo>
                    <a:pt x="164" y="184"/>
                    <a:pt x="185" y="184"/>
                    <a:pt x="185" y="18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7" name="Freeform 594">
              <a:extLst>
                <a:ext uri="{FF2B5EF4-FFF2-40B4-BE49-F238E27FC236}">
                  <a16:creationId xmlns:a16="http://schemas.microsoft.com/office/drawing/2014/main" id="{E5697B36-5129-9C44-AC93-B4CB0428EA0C}"/>
                </a:ext>
              </a:extLst>
            </p:cNvPr>
            <p:cNvSpPr>
              <a:spLocks noChangeArrowheads="1"/>
            </p:cNvSpPr>
            <p:nvPr/>
          </p:nvSpPr>
          <p:spPr bwMode="auto">
            <a:xfrm>
              <a:off x="6275388" y="6935788"/>
              <a:ext cx="22225" cy="22225"/>
            </a:xfrm>
            <a:custGeom>
              <a:avLst/>
              <a:gdLst>
                <a:gd name="T0" fmla="*/ 42 w 63"/>
                <a:gd name="T1" fmla="*/ 61 h 62"/>
                <a:gd name="T2" fmla="*/ 42 w 63"/>
                <a:gd name="T3" fmla="*/ 61 h 62"/>
                <a:gd name="T4" fmla="*/ 42 w 63"/>
                <a:gd name="T5" fmla="*/ 20 h 62"/>
                <a:gd name="T6" fmla="*/ 21 w 63"/>
                <a:gd name="T7" fmla="*/ 20 h 62"/>
                <a:gd name="T8" fmla="*/ 21 w 63"/>
                <a:gd name="T9" fmla="*/ 0 h 62"/>
                <a:gd name="T10" fmla="*/ 0 w 63"/>
                <a:gd name="T11" fmla="*/ 20 h 62"/>
                <a:gd name="T12" fmla="*/ 21 w 63"/>
                <a:gd name="T13" fmla="*/ 40 h 62"/>
                <a:gd name="T14" fmla="*/ 21 w 63"/>
                <a:gd name="T15" fmla="*/ 40 h 62"/>
                <a:gd name="T16" fmla="*/ 42 w 63"/>
                <a:gd name="T17"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62">
                  <a:moveTo>
                    <a:pt x="42" y="61"/>
                  </a:moveTo>
                  <a:lnTo>
                    <a:pt x="42" y="61"/>
                  </a:lnTo>
                  <a:cubicBezTo>
                    <a:pt x="62" y="40"/>
                    <a:pt x="42" y="40"/>
                    <a:pt x="42" y="20"/>
                  </a:cubicBezTo>
                  <a:cubicBezTo>
                    <a:pt x="42" y="20"/>
                    <a:pt x="42" y="20"/>
                    <a:pt x="21" y="20"/>
                  </a:cubicBezTo>
                  <a:cubicBezTo>
                    <a:pt x="21" y="0"/>
                    <a:pt x="21" y="0"/>
                    <a:pt x="21" y="0"/>
                  </a:cubicBezTo>
                  <a:cubicBezTo>
                    <a:pt x="0" y="0"/>
                    <a:pt x="0" y="20"/>
                    <a:pt x="0" y="20"/>
                  </a:cubicBezTo>
                  <a:lnTo>
                    <a:pt x="21" y="40"/>
                  </a:lnTo>
                  <a:lnTo>
                    <a:pt x="21" y="40"/>
                  </a:lnTo>
                  <a:cubicBezTo>
                    <a:pt x="42" y="40"/>
                    <a:pt x="42" y="61"/>
                    <a:pt x="42"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8" name="Freeform 595">
              <a:extLst>
                <a:ext uri="{FF2B5EF4-FFF2-40B4-BE49-F238E27FC236}">
                  <a16:creationId xmlns:a16="http://schemas.microsoft.com/office/drawing/2014/main" id="{EBCD8CEC-AB66-5149-B773-81C1C67CC34C}"/>
                </a:ext>
              </a:extLst>
            </p:cNvPr>
            <p:cNvSpPr>
              <a:spLocks noChangeArrowheads="1"/>
            </p:cNvSpPr>
            <p:nvPr/>
          </p:nvSpPr>
          <p:spPr bwMode="auto">
            <a:xfrm>
              <a:off x="6232525" y="6907213"/>
              <a:ext cx="36513" cy="30162"/>
            </a:xfrm>
            <a:custGeom>
              <a:avLst/>
              <a:gdLst>
                <a:gd name="T0" fmla="*/ 82 w 103"/>
                <a:gd name="T1" fmla="*/ 82 h 83"/>
                <a:gd name="T2" fmla="*/ 82 w 103"/>
                <a:gd name="T3" fmla="*/ 82 h 83"/>
                <a:gd name="T4" fmla="*/ 82 w 103"/>
                <a:gd name="T5" fmla="*/ 61 h 83"/>
                <a:gd name="T6" fmla="*/ 40 w 103"/>
                <a:gd name="T7" fmla="*/ 40 h 83"/>
                <a:gd name="T8" fmla="*/ 20 w 103"/>
                <a:gd name="T9" fmla="*/ 40 h 83"/>
                <a:gd name="T10" fmla="*/ 0 w 103"/>
                <a:gd name="T11" fmla="*/ 20 h 83"/>
                <a:gd name="T12" fmla="*/ 0 w 103"/>
                <a:gd name="T13" fmla="*/ 0 h 83"/>
                <a:gd name="T14" fmla="*/ 20 w 103"/>
                <a:gd name="T15" fmla="*/ 0 h 83"/>
                <a:gd name="T16" fmla="*/ 40 w 103"/>
                <a:gd name="T17" fmla="*/ 20 h 83"/>
                <a:gd name="T18" fmla="*/ 61 w 103"/>
                <a:gd name="T19" fmla="*/ 20 h 83"/>
                <a:gd name="T20" fmla="*/ 82 w 103"/>
                <a:gd name="T21" fmla="*/ 40 h 83"/>
                <a:gd name="T22" fmla="*/ 82 w 103"/>
                <a:gd name="T23" fmla="*/ 61 h 83"/>
                <a:gd name="T24" fmla="*/ 82 w 103"/>
                <a:gd name="T25"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83">
                  <a:moveTo>
                    <a:pt x="82" y="82"/>
                  </a:moveTo>
                  <a:lnTo>
                    <a:pt x="82" y="82"/>
                  </a:lnTo>
                  <a:cubicBezTo>
                    <a:pt x="82" y="82"/>
                    <a:pt x="82" y="82"/>
                    <a:pt x="82" y="61"/>
                  </a:cubicBezTo>
                  <a:cubicBezTo>
                    <a:pt x="61" y="61"/>
                    <a:pt x="61" y="40"/>
                    <a:pt x="40" y="40"/>
                  </a:cubicBezTo>
                  <a:lnTo>
                    <a:pt x="20" y="40"/>
                  </a:lnTo>
                  <a:lnTo>
                    <a:pt x="0" y="20"/>
                  </a:lnTo>
                  <a:lnTo>
                    <a:pt x="0" y="0"/>
                  </a:lnTo>
                  <a:lnTo>
                    <a:pt x="20" y="0"/>
                  </a:lnTo>
                  <a:lnTo>
                    <a:pt x="40" y="20"/>
                  </a:lnTo>
                  <a:cubicBezTo>
                    <a:pt x="40" y="20"/>
                    <a:pt x="40" y="20"/>
                    <a:pt x="61" y="20"/>
                  </a:cubicBezTo>
                  <a:cubicBezTo>
                    <a:pt x="61" y="40"/>
                    <a:pt x="61" y="40"/>
                    <a:pt x="82" y="40"/>
                  </a:cubicBezTo>
                  <a:lnTo>
                    <a:pt x="82" y="61"/>
                  </a:lnTo>
                  <a:cubicBezTo>
                    <a:pt x="82" y="61"/>
                    <a:pt x="102" y="82"/>
                    <a:pt x="82"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599" name="Freeform 596">
              <a:extLst>
                <a:ext uri="{FF2B5EF4-FFF2-40B4-BE49-F238E27FC236}">
                  <a16:creationId xmlns:a16="http://schemas.microsoft.com/office/drawing/2014/main" id="{5D7BD79E-D5B0-6A4B-A34F-D5978021F670}"/>
                </a:ext>
              </a:extLst>
            </p:cNvPr>
            <p:cNvSpPr>
              <a:spLocks noChangeArrowheads="1"/>
            </p:cNvSpPr>
            <p:nvPr/>
          </p:nvSpPr>
          <p:spPr bwMode="auto">
            <a:xfrm>
              <a:off x="6210300" y="6958013"/>
              <a:ext cx="15875" cy="15875"/>
            </a:xfrm>
            <a:custGeom>
              <a:avLst/>
              <a:gdLst>
                <a:gd name="T0" fmla="*/ 41 w 42"/>
                <a:gd name="T1" fmla="*/ 41 h 42"/>
                <a:gd name="T2" fmla="*/ 41 w 42"/>
                <a:gd name="T3" fmla="*/ 41 h 42"/>
                <a:gd name="T4" fmla="*/ 41 w 42"/>
                <a:gd name="T5" fmla="*/ 21 h 42"/>
                <a:gd name="T6" fmla="*/ 41 w 42"/>
                <a:gd name="T7" fmla="*/ 0 h 42"/>
                <a:gd name="T8" fmla="*/ 20 w 42"/>
                <a:gd name="T9" fmla="*/ 0 h 42"/>
                <a:gd name="T10" fmla="*/ 0 w 42"/>
                <a:gd name="T11" fmla="*/ 0 h 42"/>
                <a:gd name="T12" fmla="*/ 0 w 42"/>
                <a:gd name="T13" fmla="*/ 21 h 42"/>
                <a:gd name="T14" fmla="*/ 20 w 42"/>
                <a:gd name="T15" fmla="*/ 21 h 42"/>
                <a:gd name="T16" fmla="*/ 20 w 42"/>
                <a:gd name="T17" fmla="*/ 41 h 42"/>
                <a:gd name="T18" fmla="*/ 41 w 42"/>
                <a:gd name="T19"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42">
                  <a:moveTo>
                    <a:pt x="41" y="41"/>
                  </a:moveTo>
                  <a:lnTo>
                    <a:pt x="41" y="41"/>
                  </a:lnTo>
                  <a:cubicBezTo>
                    <a:pt x="41" y="41"/>
                    <a:pt x="41" y="41"/>
                    <a:pt x="41" y="21"/>
                  </a:cubicBezTo>
                  <a:lnTo>
                    <a:pt x="41" y="0"/>
                  </a:lnTo>
                  <a:lnTo>
                    <a:pt x="20" y="0"/>
                  </a:lnTo>
                  <a:cubicBezTo>
                    <a:pt x="0" y="0"/>
                    <a:pt x="0" y="0"/>
                    <a:pt x="0" y="0"/>
                  </a:cubicBezTo>
                  <a:lnTo>
                    <a:pt x="0" y="21"/>
                  </a:lnTo>
                  <a:lnTo>
                    <a:pt x="20" y="21"/>
                  </a:lnTo>
                  <a:lnTo>
                    <a:pt x="20" y="41"/>
                  </a:lnTo>
                  <a:lnTo>
                    <a:pt x="4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0" name="Freeform 597">
              <a:extLst>
                <a:ext uri="{FF2B5EF4-FFF2-40B4-BE49-F238E27FC236}">
                  <a16:creationId xmlns:a16="http://schemas.microsoft.com/office/drawing/2014/main" id="{93508DD0-6DE9-914A-AEDB-08931BDEF7CF}"/>
                </a:ext>
              </a:extLst>
            </p:cNvPr>
            <p:cNvSpPr>
              <a:spLocks noChangeArrowheads="1"/>
            </p:cNvSpPr>
            <p:nvPr/>
          </p:nvSpPr>
          <p:spPr bwMode="auto">
            <a:xfrm>
              <a:off x="6180138" y="6943725"/>
              <a:ext cx="7937" cy="36513"/>
            </a:xfrm>
            <a:custGeom>
              <a:avLst/>
              <a:gdLst>
                <a:gd name="T0" fmla="*/ 21 w 22"/>
                <a:gd name="T1" fmla="*/ 102 h 103"/>
                <a:gd name="T2" fmla="*/ 21 w 22"/>
                <a:gd name="T3" fmla="*/ 102 h 103"/>
                <a:gd name="T4" fmla="*/ 0 w 22"/>
                <a:gd name="T5" fmla="*/ 102 h 103"/>
                <a:gd name="T6" fmla="*/ 0 w 22"/>
                <a:gd name="T7" fmla="*/ 82 h 103"/>
                <a:gd name="T8" fmla="*/ 0 w 22"/>
                <a:gd name="T9" fmla="*/ 41 h 103"/>
                <a:gd name="T10" fmla="*/ 0 w 22"/>
                <a:gd name="T11" fmla="*/ 20 h 103"/>
                <a:gd name="T12" fmla="*/ 0 w 22"/>
                <a:gd name="T13" fmla="*/ 0 h 103"/>
                <a:gd name="T14" fmla="*/ 21 w 22"/>
                <a:gd name="T15" fmla="*/ 20 h 103"/>
                <a:gd name="T16" fmla="*/ 21 w 22"/>
                <a:gd name="T17" fmla="*/ 41 h 103"/>
                <a:gd name="T18" fmla="*/ 21 w 22"/>
                <a:gd name="T19" fmla="*/ 82 h 103"/>
                <a:gd name="T20" fmla="*/ 21 w 22"/>
                <a:gd name="T21" fmla="*/ 102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103">
                  <a:moveTo>
                    <a:pt x="21" y="102"/>
                  </a:moveTo>
                  <a:lnTo>
                    <a:pt x="21" y="102"/>
                  </a:lnTo>
                  <a:lnTo>
                    <a:pt x="0" y="102"/>
                  </a:lnTo>
                  <a:lnTo>
                    <a:pt x="0" y="82"/>
                  </a:lnTo>
                  <a:cubicBezTo>
                    <a:pt x="0" y="62"/>
                    <a:pt x="0" y="62"/>
                    <a:pt x="0" y="41"/>
                  </a:cubicBezTo>
                  <a:lnTo>
                    <a:pt x="0" y="20"/>
                  </a:lnTo>
                  <a:cubicBezTo>
                    <a:pt x="0" y="0"/>
                    <a:pt x="0" y="0"/>
                    <a:pt x="0" y="0"/>
                  </a:cubicBezTo>
                  <a:cubicBezTo>
                    <a:pt x="21" y="0"/>
                    <a:pt x="21" y="20"/>
                    <a:pt x="21" y="20"/>
                  </a:cubicBezTo>
                  <a:lnTo>
                    <a:pt x="21" y="41"/>
                  </a:lnTo>
                  <a:cubicBezTo>
                    <a:pt x="21" y="62"/>
                    <a:pt x="21" y="62"/>
                    <a:pt x="21" y="82"/>
                  </a:cubicBezTo>
                  <a:lnTo>
                    <a:pt x="21" y="10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1" name="Freeform 598">
              <a:extLst>
                <a:ext uri="{FF2B5EF4-FFF2-40B4-BE49-F238E27FC236}">
                  <a16:creationId xmlns:a16="http://schemas.microsoft.com/office/drawing/2014/main" id="{07DE5229-3818-6245-A04D-84986A2EA998}"/>
                </a:ext>
              </a:extLst>
            </p:cNvPr>
            <p:cNvSpPr>
              <a:spLocks noChangeArrowheads="1"/>
            </p:cNvSpPr>
            <p:nvPr/>
          </p:nvSpPr>
          <p:spPr bwMode="auto">
            <a:xfrm>
              <a:off x="6157913" y="6869113"/>
              <a:ext cx="22225" cy="30162"/>
            </a:xfrm>
            <a:custGeom>
              <a:avLst/>
              <a:gdLst>
                <a:gd name="T0" fmla="*/ 41 w 62"/>
                <a:gd name="T1" fmla="*/ 82 h 83"/>
                <a:gd name="T2" fmla="*/ 41 w 62"/>
                <a:gd name="T3" fmla="*/ 82 h 83"/>
                <a:gd name="T4" fmla="*/ 41 w 62"/>
                <a:gd name="T5" fmla="*/ 82 h 83"/>
                <a:gd name="T6" fmla="*/ 20 w 62"/>
                <a:gd name="T7" fmla="*/ 61 h 83"/>
                <a:gd name="T8" fmla="*/ 0 w 62"/>
                <a:gd name="T9" fmla="*/ 21 h 83"/>
                <a:gd name="T10" fmla="*/ 20 w 62"/>
                <a:gd name="T11" fmla="*/ 0 h 83"/>
                <a:gd name="T12" fmla="*/ 20 w 62"/>
                <a:gd name="T13" fmla="*/ 0 h 83"/>
                <a:gd name="T14" fmla="*/ 41 w 62"/>
                <a:gd name="T15" fmla="*/ 0 h 83"/>
                <a:gd name="T16" fmla="*/ 61 w 62"/>
                <a:gd name="T17" fmla="*/ 41 h 83"/>
                <a:gd name="T18" fmla="*/ 41 w 62"/>
                <a:gd name="T19"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83">
                  <a:moveTo>
                    <a:pt x="41" y="82"/>
                  </a:moveTo>
                  <a:lnTo>
                    <a:pt x="41" y="82"/>
                  </a:lnTo>
                  <a:lnTo>
                    <a:pt x="41" y="82"/>
                  </a:lnTo>
                  <a:cubicBezTo>
                    <a:pt x="20" y="82"/>
                    <a:pt x="20" y="82"/>
                    <a:pt x="20" y="61"/>
                  </a:cubicBezTo>
                  <a:cubicBezTo>
                    <a:pt x="20" y="61"/>
                    <a:pt x="0" y="41"/>
                    <a:pt x="0" y="21"/>
                  </a:cubicBezTo>
                  <a:cubicBezTo>
                    <a:pt x="0" y="21"/>
                    <a:pt x="0" y="0"/>
                    <a:pt x="20" y="0"/>
                  </a:cubicBezTo>
                  <a:lnTo>
                    <a:pt x="20" y="0"/>
                  </a:lnTo>
                  <a:cubicBezTo>
                    <a:pt x="41" y="0"/>
                    <a:pt x="41" y="0"/>
                    <a:pt x="41" y="0"/>
                  </a:cubicBezTo>
                  <a:cubicBezTo>
                    <a:pt x="61" y="21"/>
                    <a:pt x="61" y="41"/>
                    <a:pt x="61" y="41"/>
                  </a:cubicBezTo>
                  <a:cubicBezTo>
                    <a:pt x="61" y="41"/>
                    <a:pt x="41" y="61"/>
                    <a:pt x="41"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2" name="Freeform 599">
              <a:extLst>
                <a:ext uri="{FF2B5EF4-FFF2-40B4-BE49-F238E27FC236}">
                  <a16:creationId xmlns:a16="http://schemas.microsoft.com/office/drawing/2014/main" id="{B4720AAD-4BBC-434D-BC12-6A7B9E83BBE8}"/>
                </a:ext>
              </a:extLst>
            </p:cNvPr>
            <p:cNvSpPr>
              <a:spLocks noChangeArrowheads="1"/>
            </p:cNvSpPr>
            <p:nvPr/>
          </p:nvSpPr>
          <p:spPr bwMode="auto">
            <a:xfrm>
              <a:off x="6297613" y="6818313"/>
              <a:ext cx="22225" cy="44450"/>
            </a:xfrm>
            <a:custGeom>
              <a:avLst/>
              <a:gdLst>
                <a:gd name="T0" fmla="*/ 41 w 63"/>
                <a:gd name="T1" fmla="*/ 122 h 123"/>
                <a:gd name="T2" fmla="*/ 41 w 63"/>
                <a:gd name="T3" fmla="*/ 122 h 123"/>
                <a:gd name="T4" fmla="*/ 62 w 63"/>
                <a:gd name="T5" fmla="*/ 82 h 123"/>
                <a:gd name="T6" fmla="*/ 62 w 63"/>
                <a:gd name="T7" fmla="*/ 40 h 123"/>
                <a:gd name="T8" fmla="*/ 41 w 63"/>
                <a:gd name="T9" fmla="*/ 20 h 123"/>
                <a:gd name="T10" fmla="*/ 20 w 63"/>
                <a:gd name="T11" fmla="*/ 0 h 123"/>
                <a:gd name="T12" fmla="*/ 0 w 63"/>
                <a:gd name="T13" fmla="*/ 20 h 123"/>
                <a:gd name="T14" fmla="*/ 0 w 63"/>
                <a:gd name="T15" fmla="*/ 40 h 123"/>
                <a:gd name="T16" fmla="*/ 0 w 63"/>
                <a:gd name="T17" fmla="*/ 61 h 123"/>
                <a:gd name="T18" fmla="*/ 0 w 63"/>
                <a:gd name="T19" fmla="*/ 82 h 123"/>
                <a:gd name="T20" fmla="*/ 20 w 63"/>
                <a:gd name="T21" fmla="*/ 102 h 123"/>
                <a:gd name="T22" fmla="*/ 41 w 63"/>
                <a:gd name="T23" fmla="*/ 12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3" h="123">
                  <a:moveTo>
                    <a:pt x="41" y="122"/>
                  </a:moveTo>
                  <a:lnTo>
                    <a:pt x="41" y="122"/>
                  </a:lnTo>
                  <a:cubicBezTo>
                    <a:pt x="62" y="102"/>
                    <a:pt x="62" y="102"/>
                    <a:pt x="62" y="82"/>
                  </a:cubicBezTo>
                  <a:cubicBezTo>
                    <a:pt x="62" y="82"/>
                    <a:pt x="62" y="61"/>
                    <a:pt x="62" y="40"/>
                  </a:cubicBezTo>
                  <a:lnTo>
                    <a:pt x="41" y="20"/>
                  </a:lnTo>
                  <a:lnTo>
                    <a:pt x="20" y="0"/>
                  </a:lnTo>
                  <a:lnTo>
                    <a:pt x="0" y="20"/>
                  </a:lnTo>
                  <a:lnTo>
                    <a:pt x="0" y="40"/>
                  </a:lnTo>
                  <a:cubicBezTo>
                    <a:pt x="0" y="61"/>
                    <a:pt x="0" y="61"/>
                    <a:pt x="0" y="61"/>
                  </a:cubicBezTo>
                  <a:cubicBezTo>
                    <a:pt x="0" y="82"/>
                    <a:pt x="0" y="82"/>
                    <a:pt x="0" y="82"/>
                  </a:cubicBezTo>
                  <a:cubicBezTo>
                    <a:pt x="0" y="102"/>
                    <a:pt x="0" y="102"/>
                    <a:pt x="20" y="102"/>
                  </a:cubicBezTo>
                  <a:cubicBezTo>
                    <a:pt x="20" y="122"/>
                    <a:pt x="41" y="122"/>
                    <a:pt x="41" y="12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3" name="Freeform 600">
              <a:extLst>
                <a:ext uri="{FF2B5EF4-FFF2-40B4-BE49-F238E27FC236}">
                  <a16:creationId xmlns:a16="http://schemas.microsoft.com/office/drawing/2014/main" id="{2C2D77AE-3E3C-3E44-A255-055A32A29775}"/>
                </a:ext>
              </a:extLst>
            </p:cNvPr>
            <p:cNvSpPr>
              <a:spLocks noChangeArrowheads="1"/>
            </p:cNvSpPr>
            <p:nvPr/>
          </p:nvSpPr>
          <p:spPr bwMode="auto">
            <a:xfrm>
              <a:off x="6224588" y="7091363"/>
              <a:ext cx="22225" cy="22225"/>
            </a:xfrm>
            <a:custGeom>
              <a:avLst/>
              <a:gdLst>
                <a:gd name="T0" fmla="*/ 41 w 62"/>
                <a:gd name="T1" fmla="*/ 20 h 62"/>
                <a:gd name="T2" fmla="*/ 41 w 62"/>
                <a:gd name="T3" fmla="*/ 20 h 62"/>
                <a:gd name="T4" fmla="*/ 41 w 62"/>
                <a:gd name="T5" fmla="*/ 0 h 62"/>
                <a:gd name="T6" fmla="*/ 21 w 62"/>
                <a:gd name="T7" fmla="*/ 0 h 62"/>
                <a:gd name="T8" fmla="*/ 21 w 62"/>
                <a:gd name="T9" fmla="*/ 20 h 62"/>
                <a:gd name="T10" fmla="*/ 0 w 62"/>
                <a:gd name="T11" fmla="*/ 40 h 62"/>
                <a:gd name="T12" fmla="*/ 0 w 62"/>
                <a:gd name="T13" fmla="*/ 61 h 62"/>
                <a:gd name="T14" fmla="*/ 21 w 62"/>
                <a:gd name="T15" fmla="*/ 61 h 62"/>
                <a:gd name="T16" fmla="*/ 41 w 62"/>
                <a:gd name="T17" fmla="*/ 61 h 62"/>
                <a:gd name="T18" fmla="*/ 41 w 62"/>
                <a:gd name="T19" fmla="*/ 2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41" y="20"/>
                  </a:moveTo>
                  <a:lnTo>
                    <a:pt x="41" y="20"/>
                  </a:lnTo>
                  <a:cubicBezTo>
                    <a:pt x="41" y="20"/>
                    <a:pt x="61" y="0"/>
                    <a:pt x="41" y="0"/>
                  </a:cubicBezTo>
                  <a:lnTo>
                    <a:pt x="21" y="0"/>
                  </a:lnTo>
                  <a:lnTo>
                    <a:pt x="21" y="20"/>
                  </a:lnTo>
                  <a:lnTo>
                    <a:pt x="0" y="40"/>
                  </a:lnTo>
                  <a:lnTo>
                    <a:pt x="0" y="61"/>
                  </a:lnTo>
                  <a:lnTo>
                    <a:pt x="21" y="61"/>
                  </a:lnTo>
                  <a:lnTo>
                    <a:pt x="41" y="61"/>
                  </a:lnTo>
                  <a:cubicBezTo>
                    <a:pt x="41" y="40"/>
                    <a:pt x="41" y="4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4" name="Freeform 601">
              <a:extLst>
                <a:ext uri="{FF2B5EF4-FFF2-40B4-BE49-F238E27FC236}">
                  <a16:creationId xmlns:a16="http://schemas.microsoft.com/office/drawing/2014/main" id="{A21A5908-298D-384D-8626-FF31FEA6AD91}"/>
                </a:ext>
              </a:extLst>
            </p:cNvPr>
            <p:cNvSpPr>
              <a:spLocks noChangeArrowheads="1"/>
            </p:cNvSpPr>
            <p:nvPr/>
          </p:nvSpPr>
          <p:spPr bwMode="auto">
            <a:xfrm>
              <a:off x="6172200" y="7002463"/>
              <a:ext cx="80963" cy="111125"/>
            </a:xfrm>
            <a:custGeom>
              <a:avLst/>
              <a:gdLst>
                <a:gd name="T0" fmla="*/ 184 w 226"/>
                <a:gd name="T1" fmla="*/ 204 h 308"/>
                <a:gd name="T2" fmla="*/ 184 w 226"/>
                <a:gd name="T3" fmla="*/ 204 h 308"/>
                <a:gd name="T4" fmla="*/ 204 w 226"/>
                <a:gd name="T5" fmla="*/ 184 h 308"/>
                <a:gd name="T6" fmla="*/ 225 w 226"/>
                <a:gd name="T7" fmla="*/ 143 h 308"/>
                <a:gd name="T8" fmla="*/ 225 w 226"/>
                <a:gd name="T9" fmla="*/ 102 h 308"/>
                <a:gd name="T10" fmla="*/ 225 w 226"/>
                <a:gd name="T11" fmla="*/ 61 h 308"/>
                <a:gd name="T12" fmla="*/ 225 w 226"/>
                <a:gd name="T13" fmla="*/ 40 h 308"/>
                <a:gd name="T14" fmla="*/ 184 w 226"/>
                <a:gd name="T15" fmla="*/ 61 h 308"/>
                <a:gd name="T16" fmla="*/ 164 w 226"/>
                <a:gd name="T17" fmla="*/ 61 h 308"/>
                <a:gd name="T18" fmla="*/ 143 w 226"/>
                <a:gd name="T19" fmla="*/ 61 h 308"/>
                <a:gd name="T20" fmla="*/ 102 w 226"/>
                <a:gd name="T21" fmla="*/ 20 h 308"/>
                <a:gd name="T22" fmla="*/ 82 w 226"/>
                <a:gd name="T23" fmla="*/ 20 h 308"/>
                <a:gd name="T24" fmla="*/ 41 w 226"/>
                <a:gd name="T25" fmla="*/ 20 h 308"/>
                <a:gd name="T26" fmla="*/ 20 w 226"/>
                <a:gd name="T27" fmla="*/ 20 h 308"/>
                <a:gd name="T28" fmla="*/ 0 w 226"/>
                <a:gd name="T29" fmla="*/ 20 h 308"/>
                <a:gd name="T30" fmla="*/ 0 w 226"/>
                <a:gd name="T31" fmla="*/ 40 h 308"/>
                <a:gd name="T32" fmla="*/ 20 w 226"/>
                <a:gd name="T33" fmla="*/ 61 h 308"/>
                <a:gd name="T34" fmla="*/ 41 w 226"/>
                <a:gd name="T35" fmla="*/ 82 h 308"/>
                <a:gd name="T36" fmla="*/ 61 w 226"/>
                <a:gd name="T37" fmla="*/ 122 h 308"/>
                <a:gd name="T38" fmla="*/ 61 w 226"/>
                <a:gd name="T39" fmla="*/ 184 h 308"/>
                <a:gd name="T40" fmla="*/ 41 w 226"/>
                <a:gd name="T41" fmla="*/ 225 h 308"/>
                <a:gd name="T42" fmla="*/ 41 w 226"/>
                <a:gd name="T43" fmla="*/ 266 h 308"/>
                <a:gd name="T44" fmla="*/ 41 w 226"/>
                <a:gd name="T45" fmla="*/ 307 h 308"/>
                <a:gd name="T46" fmla="*/ 61 w 226"/>
                <a:gd name="T47" fmla="*/ 307 h 308"/>
                <a:gd name="T48" fmla="*/ 82 w 226"/>
                <a:gd name="T49" fmla="*/ 307 h 308"/>
                <a:gd name="T50" fmla="*/ 82 w 226"/>
                <a:gd name="T51" fmla="*/ 266 h 308"/>
                <a:gd name="T52" fmla="*/ 102 w 226"/>
                <a:gd name="T53" fmla="*/ 246 h 308"/>
                <a:gd name="T54" fmla="*/ 122 w 226"/>
                <a:gd name="T55" fmla="*/ 246 h 308"/>
                <a:gd name="T56" fmla="*/ 143 w 226"/>
                <a:gd name="T57" fmla="*/ 225 h 308"/>
                <a:gd name="T58" fmla="*/ 184 w 226"/>
                <a:gd name="T59" fmla="*/ 20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26" h="308">
                  <a:moveTo>
                    <a:pt x="184" y="204"/>
                  </a:moveTo>
                  <a:lnTo>
                    <a:pt x="184" y="204"/>
                  </a:lnTo>
                  <a:lnTo>
                    <a:pt x="204" y="184"/>
                  </a:lnTo>
                  <a:cubicBezTo>
                    <a:pt x="204" y="164"/>
                    <a:pt x="225" y="143"/>
                    <a:pt x="225" y="143"/>
                  </a:cubicBezTo>
                  <a:cubicBezTo>
                    <a:pt x="225" y="122"/>
                    <a:pt x="225" y="102"/>
                    <a:pt x="225" y="102"/>
                  </a:cubicBezTo>
                  <a:cubicBezTo>
                    <a:pt x="225" y="82"/>
                    <a:pt x="225" y="61"/>
                    <a:pt x="225" y="61"/>
                  </a:cubicBezTo>
                  <a:cubicBezTo>
                    <a:pt x="225" y="40"/>
                    <a:pt x="225" y="40"/>
                    <a:pt x="225" y="40"/>
                  </a:cubicBezTo>
                  <a:cubicBezTo>
                    <a:pt x="204" y="40"/>
                    <a:pt x="204" y="61"/>
                    <a:pt x="184" y="61"/>
                  </a:cubicBezTo>
                  <a:lnTo>
                    <a:pt x="164" y="61"/>
                  </a:lnTo>
                  <a:lnTo>
                    <a:pt x="143" y="61"/>
                  </a:lnTo>
                  <a:cubicBezTo>
                    <a:pt x="122" y="61"/>
                    <a:pt x="122" y="20"/>
                    <a:pt x="102" y="20"/>
                  </a:cubicBezTo>
                  <a:cubicBezTo>
                    <a:pt x="102" y="20"/>
                    <a:pt x="82" y="40"/>
                    <a:pt x="82" y="20"/>
                  </a:cubicBezTo>
                  <a:cubicBezTo>
                    <a:pt x="61" y="20"/>
                    <a:pt x="61" y="20"/>
                    <a:pt x="41" y="20"/>
                  </a:cubicBezTo>
                  <a:lnTo>
                    <a:pt x="20" y="20"/>
                  </a:lnTo>
                  <a:cubicBezTo>
                    <a:pt x="20" y="20"/>
                    <a:pt x="0" y="0"/>
                    <a:pt x="0" y="20"/>
                  </a:cubicBezTo>
                  <a:lnTo>
                    <a:pt x="0" y="40"/>
                  </a:lnTo>
                  <a:cubicBezTo>
                    <a:pt x="0" y="40"/>
                    <a:pt x="20" y="40"/>
                    <a:pt x="20" y="61"/>
                  </a:cubicBezTo>
                  <a:cubicBezTo>
                    <a:pt x="41" y="61"/>
                    <a:pt x="41" y="61"/>
                    <a:pt x="41" y="82"/>
                  </a:cubicBezTo>
                  <a:cubicBezTo>
                    <a:pt x="41" y="82"/>
                    <a:pt x="61" y="102"/>
                    <a:pt x="61" y="122"/>
                  </a:cubicBezTo>
                  <a:cubicBezTo>
                    <a:pt x="61" y="143"/>
                    <a:pt x="61" y="184"/>
                    <a:pt x="61" y="184"/>
                  </a:cubicBezTo>
                  <a:cubicBezTo>
                    <a:pt x="61" y="204"/>
                    <a:pt x="61" y="225"/>
                    <a:pt x="41" y="225"/>
                  </a:cubicBezTo>
                  <a:cubicBezTo>
                    <a:pt x="41" y="246"/>
                    <a:pt x="41" y="266"/>
                    <a:pt x="41" y="266"/>
                  </a:cubicBezTo>
                  <a:cubicBezTo>
                    <a:pt x="41" y="286"/>
                    <a:pt x="41" y="286"/>
                    <a:pt x="41" y="307"/>
                  </a:cubicBezTo>
                  <a:cubicBezTo>
                    <a:pt x="61" y="307"/>
                    <a:pt x="61" y="307"/>
                    <a:pt x="61" y="307"/>
                  </a:cubicBezTo>
                  <a:lnTo>
                    <a:pt x="82" y="307"/>
                  </a:lnTo>
                  <a:cubicBezTo>
                    <a:pt x="82" y="307"/>
                    <a:pt x="82" y="286"/>
                    <a:pt x="82" y="266"/>
                  </a:cubicBezTo>
                  <a:lnTo>
                    <a:pt x="102" y="246"/>
                  </a:lnTo>
                  <a:lnTo>
                    <a:pt x="122" y="246"/>
                  </a:lnTo>
                  <a:lnTo>
                    <a:pt x="143" y="225"/>
                  </a:lnTo>
                  <a:cubicBezTo>
                    <a:pt x="164" y="225"/>
                    <a:pt x="184" y="204"/>
                    <a:pt x="184" y="20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5" name="Freeform 602">
              <a:extLst>
                <a:ext uri="{FF2B5EF4-FFF2-40B4-BE49-F238E27FC236}">
                  <a16:creationId xmlns:a16="http://schemas.microsoft.com/office/drawing/2014/main" id="{8E9E1D06-D56C-454B-9BA1-B837F4288188}"/>
                </a:ext>
              </a:extLst>
            </p:cNvPr>
            <p:cNvSpPr>
              <a:spLocks noChangeArrowheads="1"/>
            </p:cNvSpPr>
            <p:nvPr/>
          </p:nvSpPr>
          <p:spPr bwMode="auto">
            <a:xfrm>
              <a:off x="6135688" y="6988175"/>
              <a:ext cx="15875" cy="15875"/>
            </a:xfrm>
            <a:custGeom>
              <a:avLst/>
              <a:gdLst>
                <a:gd name="T0" fmla="*/ 21 w 42"/>
                <a:gd name="T1" fmla="*/ 0 h 42"/>
                <a:gd name="T2" fmla="*/ 21 w 42"/>
                <a:gd name="T3" fmla="*/ 0 h 42"/>
                <a:gd name="T4" fmla="*/ 0 w 42"/>
                <a:gd name="T5" fmla="*/ 0 h 42"/>
                <a:gd name="T6" fmla="*/ 0 w 42"/>
                <a:gd name="T7" fmla="*/ 21 h 42"/>
                <a:gd name="T8" fmla="*/ 21 w 42"/>
                <a:gd name="T9" fmla="*/ 41 h 42"/>
                <a:gd name="T10" fmla="*/ 21 w 42"/>
                <a:gd name="T11" fmla="*/ 21 h 42"/>
                <a:gd name="T12" fmla="*/ 21 w 42"/>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1" y="0"/>
                  </a:moveTo>
                  <a:lnTo>
                    <a:pt x="21" y="0"/>
                  </a:lnTo>
                  <a:cubicBezTo>
                    <a:pt x="21" y="0"/>
                    <a:pt x="21" y="0"/>
                    <a:pt x="0" y="0"/>
                  </a:cubicBezTo>
                  <a:lnTo>
                    <a:pt x="0" y="21"/>
                  </a:lnTo>
                  <a:lnTo>
                    <a:pt x="21" y="41"/>
                  </a:lnTo>
                  <a:lnTo>
                    <a:pt x="21" y="21"/>
                  </a:lnTo>
                  <a:cubicBezTo>
                    <a:pt x="41" y="21"/>
                    <a:pt x="21" y="21"/>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6" name="Freeform 603">
              <a:extLst>
                <a:ext uri="{FF2B5EF4-FFF2-40B4-BE49-F238E27FC236}">
                  <a16:creationId xmlns:a16="http://schemas.microsoft.com/office/drawing/2014/main" id="{6929A081-4CE9-F843-A71F-09F6E986DD5A}"/>
                </a:ext>
              </a:extLst>
            </p:cNvPr>
            <p:cNvSpPr>
              <a:spLocks noChangeArrowheads="1"/>
            </p:cNvSpPr>
            <p:nvPr/>
          </p:nvSpPr>
          <p:spPr bwMode="auto">
            <a:xfrm>
              <a:off x="6069013" y="6877050"/>
              <a:ext cx="74612" cy="103188"/>
            </a:xfrm>
            <a:custGeom>
              <a:avLst/>
              <a:gdLst>
                <a:gd name="T0" fmla="*/ 205 w 206"/>
                <a:gd name="T1" fmla="*/ 266 h 287"/>
                <a:gd name="T2" fmla="*/ 205 w 206"/>
                <a:gd name="T3" fmla="*/ 266 h 287"/>
                <a:gd name="T4" fmla="*/ 205 w 206"/>
                <a:gd name="T5" fmla="*/ 225 h 287"/>
                <a:gd name="T6" fmla="*/ 205 w 206"/>
                <a:gd name="T7" fmla="*/ 204 h 287"/>
                <a:gd name="T8" fmla="*/ 205 w 206"/>
                <a:gd name="T9" fmla="*/ 143 h 287"/>
                <a:gd name="T10" fmla="*/ 205 w 206"/>
                <a:gd name="T11" fmla="*/ 102 h 287"/>
                <a:gd name="T12" fmla="*/ 184 w 206"/>
                <a:gd name="T13" fmla="*/ 61 h 287"/>
                <a:gd name="T14" fmla="*/ 164 w 206"/>
                <a:gd name="T15" fmla="*/ 40 h 287"/>
                <a:gd name="T16" fmla="*/ 143 w 206"/>
                <a:gd name="T17" fmla="*/ 20 h 287"/>
                <a:gd name="T18" fmla="*/ 102 w 206"/>
                <a:gd name="T19" fmla="*/ 0 h 287"/>
                <a:gd name="T20" fmla="*/ 61 w 206"/>
                <a:gd name="T21" fmla="*/ 0 h 287"/>
                <a:gd name="T22" fmla="*/ 20 w 206"/>
                <a:gd name="T23" fmla="*/ 0 h 287"/>
                <a:gd name="T24" fmla="*/ 0 w 206"/>
                <a:gd name="T25" fmla="*/ 20 h 287"/>
                <a:gd name="T26" fmla="*/ 20 w 206"/>
                <a:gd name="T27" fmla="*/ 61 h 287"/>
                <a:gd name="T28" fmla="*/ 41 w 206"/>
                <a:gd name="T29" fmla="*/ 82 h 287"/>
                <a:gd name="T30" fmla="*/ 61 w 206"/>
                <a:gd name="T31" fmla="*/ 82 h 287"/>
                <a:gd name="T32" fmla="*/ 61 w 206"/>
                <a:gd name="T33" fmla="*/ 102 h 287"/>
                <a:gd name="T34" fmla="*/ 61 w 206"/>
                <a:gd name="T35" fmla="*/ 122 h 287"/>
                <a:gd name="T36" fmla="*/ 82 w 206"/>
                <a:gd name="T37" fmla="*/ 143 h 287"/>
                <a:gd name="T38" fmla="*/ 102 w 206"/>
                <a:gd name="T39" fmla="*/ 164 h 287"/>
                <a:gd name="T40" fmla="*/ 123 w 206"/>
                <a:gd name="T41" fmla="*/ 204 h 287"/>
                <a:gd name="T42" fmla="*/ 123 w 206"/>
                <a:gd name="T43" fmla="*/ 225 h 287"/>
                <a:gd name="T44" fmla="*/ 143 w 206"/>
                <a:gd name="T45" fmla="*/ 246 h 287"/>
                <a:gd name="T46" fmla="*/ 143 w 206"/>
                <a:gd name="T47" fmla="*/ 286 h 287"/>
                <a:gd name="T48" fmla="*/ 164 w 206"/>
                <a:gd name="T49" fmla="*/ 286 h 287"/>
                <a:gd name="T50" fmla="*/ 184 w 206"/>
                <a:gd name="T51" fmla="*/ 286 h 287"/>
                <a:gd name="T52" fmla="*/ 184 w 206"/>
                <a:gd name="T53" fmla="*/ 266 h 287"/>
                <a:gd name="T54" fmla="*/ 205 w 206"/>
                <a:gd name="T55" fmla="*/ 26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6" h="287">
                  <a:moveTo>
                    <a:pt x="205" y="266"/>
                  </a:moveTo>
                  <a:lnTo>
                    <a:pt x="205" y="266"/>
                  </a:lnTo>
                  <a:cubicBezTo>
                    <a:pt x="205" y="266"/>
                    <a:pt x="205" y="246"/>
                    <a:pt x="205" y="225"/>
                  </a:cubicBezTo>
                  <a:lnTo>
                    <a:pt x="205" y="204"/>
                  </a:lnTo>
                  <a:cubicBezTo>
                    <a:pt x="205" y="184"/>
                    <a:pt x="205" y="164"/>
                    <a:pt x="205" y="143"/>
                  </a:cubicBezTo>
                  <a:cubicBezTo>
                    <a:pt x="205" y="143"/>
                    <a:pt x="205" y="122"/>
                    <a:pt x="205" y="102"/>
                  </a:cubicBezTo>
                  <a:cubicBezTo>
                    <a:pt x="205" y="102"/>
                    <a:pt x="205" y="82"/>
                    <a:pt x="184" y="61"/>
                  </a:cubicBezTo>
                  <a:cubicBezTo>
                    <a:pt x="184" y="61"/>
                    <a:pt x="184" y="40"/>
                    <a:pt x="164" y="40"/>
                  </a:cubicBezTo>
                  <a:cubicBezTo>
                    <a:pt x="164" y="20"/>
                    <a:pt x="143" y="20"/>
                    <a:pt x="143" y="20"/>
                  </a:cubicBezTo>
                  <a:lnTo>
                    <a:pt x="102" y="0"/>
                  </a:lnTo>
                  <a:cubicBezTo>
                    <a:pt x="82" y="0"/>
                    <a:pt x="61" y="0"/>
                    <a:pt x="61" y="0"/>
                  </a:cubicBezTo>
                  <a:cubicBezTo>
                    <a:pt x="41" y="0"/>
                    <a:pt x="20" y="0"/>
                    <a:pt x="20" y="0"/>
                  </a:cubicBezTo>
                  <a:cubicBezTo>
                    <a:pt x="0" y="0"/>
                    <a:pt x="0" y="20"/>
                    <a:pt x="0" y="20"/>
                  </a:cubicBezTo>
                  <a:cubicBezTo>
                    <a:pt x="0" y="40"/>
                    <a:pt x="0" y="61"/>
                    <a:pt x="20" y="61"/>
                  </a:cubicBezTo>
                  <a:cubicBezTo>
                    <a:pt x="20" y="61"/>
                    <a:pt x="20" y="82"/>
                    <a:pt x="41" y="82"/>
                  </a:cubicBezTo>
                  <a:lnTo>
                    <a:pt x="61" y="82"/>
                  </a:lnTo>
                  <a:lnTo>
                    <a:pt x="61" y="102"/>
                  </a:lnTo>
                  <a:cubicBezTo>
                    <a:pt x="61" y="122"/>
                    <a:pt x="61" y="122"/>
                    <a:pt x="61" y="122"/>
                  </a:cubicBezTo>
                  <a:cubicBezTo>
                    <a:pt x="61" y="143"/>
                    <a:pt x="82" y="143"/>
                    <a:pt x="82" y="143"/>
                  </a:cubicBezTo>
                  <a:cubicBezTo>
                    <a:pt x="82" y="164"/>
                    <a:pt x="102" y="164"/>
                    <a:pt x="102" y="164"/>
                  </a:cubicBezTo>
                  <a:cubicBezTo>
                    <a:pt x="102" y="184"/>
                    <a:pt x="102" y="184"/>
                    <a:pt x="123" y="204"/>
                  </a:cubicBezTo>
                  <a:lnTo>
                    <a:pt x="123" y="225"/>
                  </a:lnTo>
                  <a:cubicBezTo>
                    <a:pt x="123" y="246"/>
                    <a:pt x="143" y="246"/>
                    <a:pt x="143" y="246"/>
                  </a:cubicBezTo>
                  <a:cubicBezTo>
                    <a:pt x="143" y="266"/>
                    <a:pt x="143" y="266"/>
                    <a:pt x="143" y="286"/>
                  </a:cubicBezTo>
                  <a:cubicBezTo>
                    <a:pt x="164" y="286"/>
                    <a:pt x="164" y="286"/>
                    <a:pt x="164" y="286"/>
                  </a:cubicBezTo>
                  <a:lnTo>
                    <a:pt x="184" y="286"/>
                  </a:lnTo>
                  <a:lnTo>
                    <a:pt x="184" y="266"/>
                  </a:lnTo>
                  <a:lnTo>
                    <a:pt x="205" y="266"/>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7" name="Freeform 604">
              <a:extLst>
                <a:ext uri="{FF2B5EF4-FFF2-40B4-BE49-F238E27FC236}">
                  <a16:creationId xmlns:a16="http://schemas.microsoft.com/office/drawing/2014/main" id="{849F24A7-1FD5-844A-83C5-A706680C97B3}"/>
                </a:ext>
              </a:extLst>
            </p:cNvPr>
            <p:cNvSpPr>
              <a:spLocks noChangeArrowheads="1"/>
            </p:cNvSpPr>
            <p:nvPr/>
          </p:nvSpPr>
          <p:spPr bwMode="auto">
            <a:xfrm>
              <a:off x="6046788" y="6965950"/>
              <a:ext cx="38100" cy="30163"/>
            </a:xfrm>
            <a:custGeom>
              <a:avLst/>
              <a:gdLst>
                <a:gd name="T0" fmla="*/ 103 w 104"/>
                <a:gd name="T1" fmla="*/ 82 h 83"/>
                <a:gd name="T2" fmla="*/ 103 w 104"/>
                <a:gd name="T3" fmla="*/ 82 h 83"/>
                <a:gd name="T4" fmla="*/ 82 w 104"/>
                <a:gd name="T5" fmla="*/ 61 h 83"/>
                <a:gd name="T6" fmla="*/ 62 w 104"/>
                <a:gd name="T7" fmla="*/ 20 h 83"/>
                <a:gd name="T8" fmla="*/ 41 w 104"/>
                <a:gd name="T9" fmla="*/ 20 h 83"/>
                <a:gd name="T10" fmla="*/ 21 w 104"/>
                <a:gd name="T11" fmla="*/ 0 h 83"/>
                <a:gd name="T12" fmla="*/ 0 w 104"/>
                <a:gd name="T13" fmla="*/ 0 h 83"/>
                <a:gd name="T14" fmla="*/ 0 w 104"/>
                <a:gd name="T15" fmla="*/ 20 h 83"/>
                <a:gd name="T16" fmla="*/ 0 w 104"/>
                <a:gd name="T17" fmla="*/ 40 h 83"/>
                <a:gd name="T18" fmla="*/ 21 w 104"/>
                <a:gd name="T19" fmla="*/ 61 h 83"/>
                <a:gd name="T20" fmla="*/ 21 w 104"/>
                <a:gd name="T21" fmla="*/ 82 h 83"/>
                <a:gd name="T22" fmla="*/ 41 w 104"/>
                <a:gd name="T23" fmla="*/ 82 h 83"/>
                <a:gd name="T24" fmla="*/ 62 w 104"/>
                <a:gd name="T25" fmla="*/ 82 h 83"/>
                <a:gd name="T26" fmla="*/ 82 w 104"/>
                <a:gd name="T27" fmla="*/ 82 h 83"/>
                <a:gd name="T28" fmla="*/ 103 w 104"/>
                <a:gd name="T29"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4" h="83">
                  <a:moveTo>
                    <a:pt x="103" y="82"/>
                  </a:moveTo>
                  <a:lnTo>
                    <a:pt x="103" y="82"/>
                  </a:lnTo>
                  <a:cubicBezTo>
                    <a:pt x="103" y="61"/>
                    <a:pt x="82" y="61"/>
                    <a:pt x="82" y="61"/>
                  </a:cubicBezTo>
                  <a:cubicBezTo>
                    <a:pt x="62" y="40"/>
                    <a:pt x="62" y="40"/>
                    <a:pt x="62" y="20"/>
                  </a:cubicBezTo>
                  <a:lnTo>
                    <a:pt x="41" y="20"/>
                  </a:lnTo>
                  <a:cubicBezTo>
                    <a:pt x="41" y="20"/>
                    <a:pt x="41" y="0"/>
                    <a:pt x="21" y="0"/>
                  </a:cubicBezTo>
                  <a:cubicBezTo>
                    <a:pt x="21" y="0"/>
                    <a:pt x="21" y="0"/>
                    <a:pt x="0" y="0"/>
                  </a:cubicBezTo>
                  <a:lnTo>
                    <a:pt x="0" y="20"/>
                  </a:lnTo>
                  <a:lnTo>
                    <a:pt x="0" y="40"/>
                  </a:lnTo>
                  <a:cubicBezTo>
                    <a:pt x="0" y="40"/>
                    <a:pt x="0" y="61"/>
                    <a:pt x="21" y="61"/>
                  </a:cubicBezTo>
                  <a:lnTo>
                    <a:pt x="21" y="82"/>
                  </a:lnTo>
                  <a:cubicBezTo>
                    <a:pt x="41" y="82"/>
                    <a:pt x="41" y="82"/>
                    <a:pt x="41" y="82"/>
                  </a:cubicBezTo>
                  <a:cubicBezTo>
                    <a:pt x="62" y="82"/>
                    <a:pt x="62" y="82"/>
                    <a:pt x="62" y="82"/>
                  </a:cubicBezTo>
                  <a:cubicBezTo>
                    <a:pt x="82" y="82"/>
                    <a:pt x="82" y="82"/>
                    <a:pt x="82" y="82"/>
                  </a:cubicBezTo>
                  <a:lnTo>
                    <a:pt x="103"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8" name="Freeform 605">
              <a:extLst>
                <a:ext uri="{FF2B5EF4-FFF2-40B4-BE49-F238E27FC236}">
                  <a16:creationId xmlns:a16="http://schemas.microsoft.com/office/drawing/2014/main" id="{D2E00525-9840-D743-A8A6-41A15650C97E}"/>
                </a:ext>
              </a:extLst>
            </p:cNvPr>
            <p:cNvSpPr>
              <a:spLocks noChangeArrowheads="1"/>
            </p:cNvSpPr>
            <p:nvPr/>
          </p:nvSpPr>
          <p:spPr bwMode="auto">
            <a:xfrm>
              <a:off x="6046788" y="7002463"/>
              <a:ext cx="15875" cy="22225"/>
            </a:xfrm>
            <a:custGeom>
              <a:avLst/>
              <a:gdLst>
                <a:gd name="T0" fmla="*/ 41 w 42"/>
                <a:gd name="T1" fmla="*/ 40 h 62"/>
                <a:gd name="T2" fmla="*/ 41 w 42"/>
                <a:gd name="T3" fmla="*/ 40 h 62"/>
                <a:gd name="T4" fmla="*/ 41 w 42"/>
                <a:gd name="T5" fmla="*/ 20 h 62"/>
                <a:gd name="T6" fmla="*/ 21 w 42"/>
                <a:gd name="T7" fmla="*/ 0 h 62"/>
                <a:gd name="T8" fmla="*/ 0 w 42"/>
                <a:gd name="T9" fmla="*/ 20 h 62"/>
                <a:gd name="T10" fmla="*/ 21 w 42"/>
                <a:gd name="T11" fmla="*/ 40 h 62"/>
                <a:gd name="T12" fmla="*/ 21 w 42"/>
                <a:gd name="T13" fmla="*/ 61 h 62"/>
                <a:gd name="T14" fmla="*/ 41 w 42"/>
                <a:gd name="T15" fmla="*/ 61 h 62"/>
                <a:gd name="T16" fmla="*/ 41 w 42"/>
                <a:gd name="T17" fmla="*/ 4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62">
                  <a:moveTo>
                    <a:pt x="41" y="40"/>
                  </a:moveTo>
                  <a:lnTo>
                    <a:pt x="41" y="40"/>
                  </a:lnTo>
                  <a:cubicBezTo>
                    <a:pt x="41" y="20"/>
                    <a:pt x="41" y="20"/>
                    <a:pt x="41" y="20"/>
                  </a:cubicBezTo>
                  <a:cubicBezTo>
                    <a:pt x="41" y="0"/>
                    <a:pt x="21" y="0"/>
                    <a:pt x="21" y="0"/>
                  </a:cubicBezTo>
                  <a:lnTo>
                    <a:pt x="0" y="20"/>
                  </a:lnTo>
                  <a:lnTo>
                    <a:pt x="21" y="40"/>
                  </a:lnTo>
                  <a:lnTo>
                    <a:pt x="21" y="61"/>
                  </a:lnTo>
                  <a:cubicBezTo>
                    <a:pt x="41" y="61"/>
                    <a:pt x="41" y="61"/>
                    <a:pt x="41" y="61"/>
                  </a:cubicBezTo>
                  <a:lnTo>
                    <a:pt x="41"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09" name="Freeform 606">
              <a:extLst>
                <a:ext uri="{FF2B5EF4-FFF2-40B4-BE49-F238E27FC236}">
                  <a16:creationId xmlns:a16="http://schemas.microsoft.com/office/drawing/2014/main" id="{FB7828CC-C4BB-AD43-B644-A35952000F4D}"/>
                </a:ext>
              </a:extLst>
            </p:cNvPr>
            <p:cNvSpPr>
              <a:spLocks noChangeArrowheads="1"/>
            </p:cNvSpPr>
            <p:nvPr/>
          </p:nvSpPr>
          <p:spPr bwMode="auto">
            <a:xfrm>
              <a:off x="6069013" y="7002463"/>
              <a:ext cx="7937" cy="7937"/>
            </a:xfrm>
            <a:custGeom>
              <a:avLst/>
              <a:gdLst>
                <a:gd name="T0" fmla="*/ 0 w 21"/>
                <a:gd name="T1" fmla="*/ 20 h 21"/>
                <a:gd name="T2" fmla="*/ 0 w 21"/>
                <a:gd name="T3" fmla="*/ 20 h 21"/>
                <a:gd name="T4" fmla="*/ 0 w 21"/>
                <a:gd name="T5" fmla="*/ 0 h 21"/>
                <a:gd name="T6" fmla="*/ 0 w 21"/>
                <a:gd name="T7" fmla="*/ 0 h 21"/>
                <a:gd name="T8" fmla="*/ 20 w 21"/>
                <a:gd name="T9" fmla="*/ 0 h 21"/>
                <a:gd name="T10" fmla="*/ 20 w 21"/>
                <a:gd name="T11" fmla="*/ 20 h 21"/>
                <a:gd name="T12" fmla="*/ 20 w 21"/>
                <a:gd name="T13" fmla="*/ 20 h 21"/>
                <a:gd name="T14" fmla="*/ 0 w 21"/>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1">
                  <a:moveTo>
                    <a:pt x="0" y="20"/>
                  </a:moveTo>
                  <a:lnTo>
                    <a:pt x="0" y="20"/>
                  </a:lnTo>
                  <a:cubicBezTo>
                    <a:pt x="0" y="20"/>
                    <a:pt x="0" y="20"/>
                    <a:pt x="0" y="0"/>
                  </a:cubicBezTo>
                  <a:lnTo>
                    <a:pt x="0" y="0"/>
                  </a:lnTo>
                  <a:cubicBezTo>
                    <a:pt x="0" y="0"/>
                    <a:pt x="0" y="0"/>
                    <a:pt x="20" y="0"/>
                  </a:cubicBezTo>
                  <a:cubicBezTo>
                    <a:pt x="20" y="0"/>
                    <a:pt x="20" y="0"/>
                    <a:pt x="20" y="20"/>
                  </a:cubicBezTo>
                  <a:lnTo>
                    <a:pt x="20" y="20"/>
                  </a:lnTo>
                  <a:lnTo>
                    <a:pt x="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0" name="Freeform 607">
              <a:extLst>
                <a:ext uri="{FF2B5EF4-FFF2-40B4-BE49-F238E27FC236}">
                  <a16:creationId xmlns:a16="http://schemas.microsoft.com/office/drawing/2014/main" id="{895A246B-25EC-C34C-A364-CE7F0469564F}"/>
                </a:ext>
              </a:extLst>
            </p:cNvPr>
            <p:cNvSpPr>
              <a:spLocks noChangeArrowheads="1"/>
            </p:cNvSpPr>
            <p:nvPr/>
          </p:nvSpPr>
          <p:spPr bwMode="auto">
            <a:xfrm>
              <a:off x="6040438" y="7032625"/>
              <a:ext cx="15875" cy="14288"/>
            </a:xfrm>
            <a:custGeom>
              <a:avLst/>
              <a:gdLst>
                <a:gd name="T0" fmla="*/ 41 w 42"/>
                <a:gd name="T1" fmla="*/ 0 h 41"/>
                <a:gd name="T2" fmla="*/ 41 w 42"/>
                <a:gd name="T3" fmla="*/ 0 h 41"/>
                <a:gd name="T4" fmla="*/ 20 w 42"/>
                <a:gd name="T5" fmla="*/ 0 h 41"/>
                <a:gd name="T6" fmla="*/ 0 w 42"/>
                <a:gd name="T7" fmla="*/ 0 h 41"/>
                <a:gd name="T8" fmla="*/ 0 w 42"/>
                <a:gd name="T9" fmla="*/ 20 h 41"/>
                <a:gd name="T10" fmla="*/ 20 w 42"/>
                <a:gd name="T11" fmla="*/ 40 h 41"/>
                <a:gd name="T12" fmla="*/ 41 w 42"/>
                <a:gd name="T13" fmla="*/ 20 h 41"/>
                <a:gd name="T14" fmla="*/ 41 w 42"/>
                <a:gd name="T15" fmla="*/ 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41" y="0"/>
                  </a:moveTo>
                  <a:lnTo>
                    <a:pt x="41" y="0"/>
                  </a:lnTo>
                  <a:lnTo>
                    <a:pt x="20" y="0"/>
                  </a:lnTo>
                  <a:lnTo>
                    <a:pt x="0" y="0"/>
                  </a:lnTo>
                  <a:lnTo>
                    <a:pt x="0" y="20"/>
                  </a:lnTo>
                  <a:lnTo>
                    <a:pt x="20" y="40"/>
                  </a:lnTo>
                  <a:lnTo>
                    <a:pt x="41" y="20"/>
                  </a:lnTo>
                  <a:cubicBezTo>
                    <a:pt x="41" y="20"/>
                    <a:pt x="41" y="20"/>
                    <a:pt x="4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1" name="Freeform 608">
              <a:extLst>
                <a:ext uri="{FF2B5EF4-FFF2-40B4-BE49-F238E27FC236}">
                  <a16:creationId xmlns:a16="http://schemas.microsoft.com/office/drawing/2014/main" id="{C6B71513-9BC8-6546-AD42-A6FA1AD77A2C}"/>
                </a:ext>
              </a:extLst>
            </p:cNvPr>
            <p:cNvSpPr>
              <a:spLocks noChangeArrowheads="1"/>
            </p:cNvSpPr>
            <p:nvPr/>
          </p:nvSpPr>
          <p:spPr bwMode="auto">
            <a:xfrm>
              <a:off x="5921375" y="7289800"/>
              <a:ext cx="7938" cy="7938"/>
            </a:xfrm>
            <a:custGeom>
              <a:avLst/>
              <a:gdLst>
                <a:gd name="T0" fmla="*/ 20 w 21"/>
                <a:gd name="T1" fmla="*/ 0 h 21"/>
                <a:gd name="T2" fmla="*/ 20 w 21"/>
                <a:gd name="T3" fmla="*/ 0 h 21"/>
                <a:gd name="T4" fmla="*/ 20 w 21"/>
                <a:gd name="T5" fmla="*/ 0 h 21"/>
                <a:gd name="T6" fmla="*/ 0 w 21"/>
                <a:gd name="T7" fmla="*/ 0 h 21"/>
                <a:gd name="T8" fmla="*/ 0 w 21"/>
                <a:gd name="T9" fmla="*/ 0 h 21"/>
                <a:gd name="T10" fmla="*/ 20 w 21"/>
                <a:gd name="T11" fmla="*/ 20 h 21"/>
                <a:gd name="T12" fmla="*/ 2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0"/>
                  </a:moveTo>
                  <a:lnTo>
                    <a:pt x="20" y="0"/>
                  </a:lnTo>
                  <a:lnTo>
                    <a:pt x="20" y="0"/>
                  </a:lnTo>
                  <a:cubicBezTo>
                    <a:pt x="0" y="0"/>
                    <a:pt x="0" y="0"/>
                    <a:pt x="0" y="0"/>
                  </a:cubicBezTo>
                  <a:lnTo>
                    <a:pt x="0" y="0"/>
                  </a:lnTo>
                  <a:cubicBezTo>
                    <a:pt x="0" y="20"/>
                    <a:pt x="20" y="20"/>
                    <a:pt x="20" y="20"/>
                  </a:cubicBez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2" name="Freeform 609">
              <a:extLst>
                <a:ext uri="{FF2B5EF4-FFF2-40B4-BE49-F238E27FC236}">
                  <a16:creationId xmlns:a16="http://schemas.microsoft.com/office/drawing/2014/main" id="{67FF336E-BDFF-0947-8083-52EA29CDF63C}"/>
                </a:ext>
              </a:extLst>
            </p:cNvPr>
            <p:cNvSpPr>
              <a:spLocks noChangeArrowheads="1"/>
            </p:cNvSpPr>
            <p:nvPr/>
          </p:nvSpPr>
          <p:spPr bwMode="auto">
            <a:xfrm>
              <a:off x="5907088" y="7046913"/>
              <a:ext cx="139700" cy="236537"/>
            </a:xfrm>
            <a:custGeom>
              <a:avLst/>
              <a:gdLst>
                <a:gd name="T0" fmla="*/ 61 w 390"/>
                <a:gd name="T1" fmla="*/ 636 h 657"/>
                <a:gd name="T2" fmla="*/ 61 w 390"/>
                <a:gd name="T3" fmla="*/ 636 h 657"/>
                <a:gd name="T4" fmla="*/ 41 w 390"/>
                <a:gd name="T5" fmla="*/ 656 h 657"/>
                <a:gd name="T6" fmla="*/ 21 w 390"/>
                <a:gd name="T7" fmla="*/ 656 h 657"/>
                <a:gd name="T8" fmla="*/ 0 w 390"/>
                <a:gd name="T9" fmla="*/ 656 h 657"/>
                <a:gd name="T10" fmla="*/ 41 w 390"/>
                <a:gd name="T11" fmla="*/ 615 h 657"/>
                <a:gd name="T12" fmla="*/ 41 w 390"/>
                <a:gd name="T13" fmla="*/ 595 h 657"/>
                <a:gd name="T14" fmla="*/ 82 w 390"/>
                <a:gd name="T15" fmla="*/ 534 h 657"/>
                <a:gd name="T16" fmla="*/ 102 w 390"/>
                <a:gd name="T17" fmla="*/ 513 h 657"/>
                <a:gd name="T18" fmla="*/ 123 w 390"/>
                <a:gd name="T19" fmla="*/ 472 h 657"/>
                <a:gd name="T20" fmla="*/ 143 w 390"/>
                <a:gd name="T21" fmla="*/ 452 h 657"/>
                <a:gd name="T22" fmla="*/ 164 w 390"/>
                <a:gd name="T23" fmla="*/ 431 h 657"/>
                <a:gd name="T24" fmla="*/ 184 w 390"/>
                <a:gd name="T25" fmla="*/ 390 h 657"/>
                <a:gd name="T26" fmla="*/ 205 w 390"/>
                <a:gd name="T27" fmla="*/ 328 h 657"/>
                <a:gd name="T28" fmla="*/ 225 w 390"/>
                <a:gd name="T29" fmla="*/ 288 h 657"/>
                <a:gd name="T30" fmla="*/ 266 w 390"/>
                <a:gd name="T31" fmla="*/ 246 h 657"/>
                <a:gd name="T32" fmla="*/ 287 w 390"/>
                <a:gd name="T33" fmla="*/ 226 h 657"/>
                <a:gd name="T34" fmla="*/ 287 w 390"/>
                <a:gd name="T35" fmla="*/ 185 h 657"/>
                <a:gd name="T36" fmla="*/ 307 w 390"/>
                <a:gd name="T37" fmla="*/ 185 h 657"/>
                <a:gd name="T38" fmla="*/ 328 w 390"/>
                <a:gd name="T39" fmla="*/ 164 h 657"/>
                <a:gd name="T40" fmla="*/ 328 w 390"/>
                <a:gd name="T41" fmla="*/ 124 h 657"/>
                <a:gd name="T42" fmla="*/ 307 w 390"/>
                <a:gd name="T43" fmla="*/ 103 h 657"/>
                <a:gd name="T44" fmla="*/ 307 w 390"/>
                <a:gd name="T45" fmla="*/ 103 h 657"/>
                <a:gd name="T46" fmla="*/ 307 w 390"/>
                <a:gd name="T47" fmla="*/ 82 h 657"/>
                <a:gd name="T48" fmla="*/ 307 w 390"/>
                <a:gd name="T49" fmla="*/ 82 h 657"/>
                <a:gd name="T50" fmla="*/ 328 w 390"/>
                <a:gd name="T51" fmla="*/ 82 h 657"/>
                <a:gd name="T52" fmla="*/ 328 w 390"/>
                <a:gd name="T53" fmla="*/ 103 h 657"/>
                <a:gd name="T54" fmla="*/ 348 w 390"/>
                <a:gd name="T55" fmla="*/ 124 h 657"/>
                <a:gd name="T56" fmla="*/ 348 w 390"/>
                <a:gd name="T57" fmla="*/ 103 h 657"/>
                <a:gd name="T58" fmla="*/ 328 w 390"/>
                <a:gd name="T59" fmla="*/ 62 h 657"/>
                <a:gd name="T60" fmla="*/ 328 w 390"/>
                <a:gd name="T61" fmla="*/ 42 h 657"/>
                <a:gd name="T62" fmla="*/ 328 w 390"/>
                <a:gd name="T63" fmla="*/ 21 h 657"/>
                <a:gd name="T64" fmla="*/ 328 w 390"/>
                <a:gd name="T65" fmla="*/ 0 h 657"/>
                <a:gd name="T66" fmla="*/ 348 w 390"/>
                <a:gd name="T67" fmla="*/ 0 h 657"/>
                <a:gd name="T68" fmla="*/ 348 w 390"/>
                <a:gd name="T69" fmla="*/ 42 h 657"/>
                <a:gd name="T70" fmla="*/ 369 w 390"/>
                <a:gd name="T71" fmla="*/ 62 h 657"/>
                <a:gd name="T72" fmla="*/ 369 w 390"/>
                <a:gd name="T73" fmla="*/ 82 h 657"/>
                <a:gd name="T74" fmla="*/ 389 w 390"/>
                <a:gd name="T75" fmla="*/ 103 h 657"/>
                <a:gd name="T76" fmla="*/ 389 w 390"/>
                <a:gd name="T77" fmla="*/ 144 h 657"/>
                <a:gd name="T78" fmla="*/ 389 w 390"/>
                <a:gd name="T79" fmla="*/ 185 h 657"/>
                <a:gd name="T80" fmla="*/ 369 w 390"/>
                <a:gd name="T81" fmla="*/ 206 h 657"/>
                <a:gd name="T82" fmla="*/ 328 w 390"/>
                <a:gd name="T83" fmla="*/ 226 h 657"/>
                <a:gd name="T84" fmla="*/ 307 w 390"/>
                <a:gd name="T85" fmla="*/ 267 h 657"/>
                <a:gd name="T86" fmla="*/ 287 w 390"/>
                <a:gd name="T87" fmla="*/ 288 h 657"/>
                <a:gd name="T88" fmla="*/ 266 w 390"/>
                <a:gd name="T89" fmla="*/ 308 h 657"/>
                <a:gd name="T90" fmla="*/ 266 w 390"/>
                <a:gd name="T91" fmla="*/ 349 h 657"/>
                <a:gd name="T92" fmla="*/ 266 w 390"/>
                <a:gd name="T93" fmla="*/ 370 h 657"/>
                <a:gd name="T94" fmla="*/ 246 w 390"/>
                <a:gd name="T95" fmla="*/ 410 h 657"/>
                <a:gd name="T96" fmla="*/ 225 w 390"/>
                <a:gd name="T97" fmla="*/ 431 h 657"/>
                <a:gd name="T98" fmla="*/ 205 w 390"/>
                <a:gd name="T99" fmla="*/ 472 h 657"/>
                <a:gd name="T100" fmla="*/ 184 w 390"/>
                <a:gd name="T101" fmla="*/ 492 h 657"/>
                <a:gd name="T102" fmla="*/ 164 w 390"/>
                <a:gd name="T103" fmla="*/ 513 h 657"/>
                <a:gd name="T104" fmla="*/ 143 w 390"/>
                <a:gd name="T105" fmla="*/ 554 h 657"/>
                <a:gd name="T106" fmla="*/ 123 w 390"/>
                <a:gd name="T107" fmla="*/ 574 h 657"/>
                <a:gd name="T108" fmla="*/ 102 w 390"/>
                <a:gd name="T109" fmla="*/ 595 h 657"/>
                <a:gd name="T110" fmla="*/ 82 w 390"/>
                <a:gd name="T111" fmla="*/ 615 h 657"/>
                <a:gd name="T112" fmla="*/ 82 w 390"/>
                <a:gd name="T113" fmla="*/ 636 h 657"/>
                <a:gd name="T114" fmla="*/ 61 w 390"/>
                <a:gd name="T115" fmla="*/ 63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657">
                  <a:moveTo>
                    <a:pt x="61" y="636"/>
                  </a:moveTo>
                  <a:lnTo>
                    <a:pt x="61" y="636"/>
                  </a:lnTo>
                  <a:cubicBezTo>
                    <a:pt x="41" y="636"/>
                    <a:pt x="41" y="636"/>
                    <a:pt x="41" y="656"/>
                  </a:cubicBezTo>
                  <a:lnTo>
                    <a:pt x="21" y="656"/>
                  </a:lnTo>
                  <a:lnTo>
                    <a:pt x="0" y="656"/>
                  </a:lnTo>
                  <a:cubicBezTo>
                    <a:pt x="0" y="636"/>
                    <a:pt x="21" y="636"/>
                    <a:pt x="41" y="615"/>
                  </a:cubicBezTo>
                  <a:lnTo>
                    <a:pt x="41" y="595"/>
                  </a:lnTo>
                  <a:cubicBezTo>
                    <a:pt x="41" y="574"/>
                    <a:pt x="61" y="554"/>
                    <a:pt x="82" y="534"/>
                  </a:cubicBezTo>
                  <a:lnTo>
                    <a:pt x="102" y="513"/>
                  </a:lnTo>
                  <a:cubicBezTo>
                    <a:pt x="102" y="492"/>
                    <a:pt x="123" y="472"/>
                    <a:pt x="123" y="472"/>
                  </a:cubicBezTo>
                  <a:cubicBezTo>
                    <a:pt x="123" y="452"/>
                    <a:pt x="143" y="452"/>
                    <a:pt x="143" y="452"/>
                  </a:cubicBezTo>
                  <a:lnTo>
                    <a:pt x="164" y="431"/>
                  </a:lnTo>
                  <a:cubicBezTo>
                    <a:pt x="164" y="410"/>
                    <a:pt x="184" y="390"/>
                    <a:pt x="184" y="390"/>
                  </a:cubicBezTo>
                  <a:cubicBezTo>
                    <a:pt x="205" y="370"/>
                    <a:pt x="205" y="328"/>
                    <a:pt x="205" y="328"/>
                  </a:cubicBezTo>
                  <a:lnTo>
                    <a:pt x="225" y="288"/>
                  </a:lnTo>
                  <a:cubicBezTo>
                    <a:pt x="225" y="267"/>
                    <a:pt x="246" y="267"/>
                    <a:pt x="266" y="246"/>
                  </a:cubicBezTo>
                  <a:lnTo>
                    <a:pt x="287" y="226"/>
                  </a:lnTo>
                  <a:cubicBezTo>
                    <a:pt x="287" y="226"/>
                    <a:pt x="287" y="206"/>
                    <a:pt x="287" y="185"/>
                  </a:cubicBezTo>
                  <a:lnTo>
                    <a:pt x="307" y="185"/>
                  </a:lnTo>
                  <a:cubicBezTo>
                    <a:pt x="307" y="185"/>
                    <a:pt x="328" y="185"/>
                    <a:pt x="328" y="164"/>
                  </a:cubicBezTo>
                  <a:cubicBezTo>
                    <a:pt x="328" y="164"/>
                    <a:pt x="328" y="144"/>
                    <a:pt x="328" y="124"/>
                  </a:cubicBezTo>
                  <a:cubicBezTo>
                    <a:pt x="328" y="124"/>
                    <a:pt x="328" y="103"/>
                    <a:pt x="307" y="103"/>
                  </a:cubicBezTo>
                  <a:lnTo>
                    <a:pt x="307" y="103"/>
                  </a:lnTo>
                  <a:cubicBezTo>
                    <a:pt x="287" y="103"/>
                    <a:pt x="307" y="82"/>
                    <a:pt x="307" y="82"/>
                  </a:cubicBezTo>
                  <a:lnTo>
                    <a:pt x="307" y="82"/>
                  </a:lnTo>
                  <a:lnTo>
                    <a:pt x="328" y="82"/>
                  </a:lnTo>
                  <a:cubicBezTo>
                    <a:pt x="328" y="103"/>
                    <a:pt x="328" y="103"/>
                    <a:pt x="328" y="103"/>
                  </a:cubicBezTo>
                  <a:lnTo>
                    <a:pt x="348" y="124"/>
                  </a:lnTo>
                  <a:cubicBezTo>
                    <a:pt x="348" y="103"/>
                    <a:pt x="348" y="103"/>
                    <a:pt x="348" y="103"/>
                  </a:cubicBezTo>
                  <a:cubicBezTo>
                    <a:pt x="348" y="82"/>
                    <a:pt x="328" y="62"/>
                    <a:pt x="328" y="62"/>
                  </a:cubicBezTo>
                  <a:lnTo>
                    <a:pt x="328" y="42"/>
                  </a:lnTo>
                  <a:lnTo>
                    <a:pt x="328" y="21"/>
                  </a:lnTo>
                  <a:lnTo>
                    <a:pt x="328" y="0"/>
                  </a:lnTo>
                  <a:cubicBezTo>
                    <a:pt x="328" y="0"/>
                    <a:pt x="328" y="0"/>
                    <a:pt x="348" y="0"/>
                  </a:cubicBezTo>
                  <a:cubicBezTo>
                    <a:pt x="348" y="0"/>
                    <a:pt x="348" y="21"/>
                    <a:pt x="348" y="42"/>
                  </a:cubicBezTo>
                  <a:cubicBezTo>
                    <a:pt x="348" y="42"/>
                    <a:pt x="348" y="42"/>
                    <a:pt x="369" y="62"/>
                  </a:cubicBezTo>
                  <a:cubicBezTo>
                    <a:pt x="369" y="62"/>
                    <a:pt x="369" y="62"/>
                    <a:pt x="369" y="82"/>
                  </a:cubicBezTo>
                  <a:lnTo>
                    <a:pt x="389" y="103"/>
                  </a:lnTo>
                  <a:cubicBezTo>
                    <a:pt x="389" y="124"/>
                    <a:pt x="389" y="124"/>
                    <a:pt x="389" y="144"/>
                  </a:cubicBezTo>
                  <a:cubicBezTo>
                    <a:pt x="389" y="144"/>
                    <a:pt x="389" y="164"/>
                    <a:pt x="389" y="185"/>
                  </a:cubicBezTo>
                  <a:cubicBezTo>
                    <a:pt x="389" y="185"/>
                    <a:pt x="389" y="206"/>
                    <a:pt x="369" y="206"/>
                  </a:cubicBezTo>
                  <a:cubicBezTo>
                    <a:pt x="369" y="226"/>
                    <a:pt x="348" y="226"/>
                    <a:pt x="328" y="226"/>
                  </a:cubicBezTo>
                  <a:cubicBezTo>
                    <a:pt x="328" y="246"/>
                    <a:pt x="328" y="246"/>
                    <a:pt x="307" y="267"/>
                  </a:cubicBezTo>
                  <a:lnTo>
                    <a:pt x="287" y="288"/>
                  </a:lnTo>
                  <a:lnTo>
                    <a:pt x="266" y="308"/>
                  </a:lnTo>
                  <a:cubicBezTo>
                    <a:pt x="266" y="308"/>
                    <a:pt x="266" y="328"/>
                    <a:pt x="266" y="349"/>
                  </a:cubicBezTo>
                  <a:lnTo>
                    <a:pt x="266" y="370"/>
                  </a:lnTo>
                  <a:cubicBezTo>
                    <a:pt x="266" y="390"/>
                    <a:pt x="266" y="390"/>
                    <a:pt x="246" y="410"/>
                  </a:cubicBezTo>
                  <a:lnTo>
                    <a:pt x="225" y="431"/>
                  </a:lnTo>
                  <a:cubicBezTo>
                    <a:pt x="205" y="452"/>
                    <a:pt x="205" y="472"/>
                    <a:pt x="205" y="472"/>
                  </a:cubicBezTo>
                  <a:lnTo>
                    <a:pt x="184" y="492"/>
                  </a:lnTo>
                  <a:lnTo>
                    <a:pt x="164" y="513"/>
                  </a:lnTo>
                  <a:cubicBezTo>
                    <a:pt x="164" y="513"/>
                    <a:pt x="143" y="534"/>
                    <a:pt x="143" y="554"/>
                  </a:cubicBezTo>
                  <a:cubicBezTo>
                    <a:pt x="143" y="554"/>
                    <a:pt x="143" y="574"/>
                    <a:pt x="123" y="574"/>
                  </a:cubicBezTo>
                  <a:cubicBezTo>
                    <a:pt x="123" y="574"/>
                    <a:pt x="102" y="574"/>
                    <a:pt x="102" y="595"/>
                  </a:cubicBezTo>
                  <a:cubicBezTo>
                    <a:pt x="102" y="595"/>
                    <a:pt x="102" y="595"/>
                    <a:pt x="82" y="615"/>
                  </a:cubicBezTo>
                  <a:cubicBezTo>
                    <a:pt x="82" y="615"/>
                    <a:pt x="82" y="615"/>
                    <a:pt x="82" y="636"/>
                  </a:cubicBezTo>
                  <a:lnTo>
                    <a:pt x="61" y="636"/>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3" name="Freeform 610">
              <a:extLst>
                <a:ext uri="{FF2B5EF4-FFF2-40B4-BE49-F238E27FC236}">
                  <a16:creationId xmlns:a16="http://schemas.microsoft.com/office/drawing/2014/main" id="{1D9C61D1-E066-9842-9FED-11C24474899F}"/>
                </a:ext>
              </a:extLst>
            </p:cNvPr>
            <p:cNvSpPr>
              <a:spLocks noChangeArrowheads="1"/>
            </p:cNvSpPr>
            <p:nvPr/>
          </p:nvSpPr>
          <p:spPr bwMode="auto">
            <a:xfrm>
              <a:off x="6062663" y="7105650"/>
              <a:ext cx="15875" cy="15875"/>
            </a:xfrm>
            <a:custGeom>
              <a:avLst/>
              <a:gdLst>
                <a:gd name="T0" fmla="*/ 21 w 42"/>
                <a:gd name="T1" fmla="*/ 0 h 43"/>
                <a:gd name="T2" fmla="*/ 21 w 42"/>
                <a:gd name="T3" fmla="*/ 0 h 43"/>
                <a:gd name="T4" fmla="*/ 0 w 42"/>
                <a:gd name="T5" fmla="*/ 0 h 43"/>
                <a:gd name="T6" fmla="*/ 0 w 42"/>
                <a:gd name="T7" fmla="*/ 0 h 43"/>
                <a:gd name="T8" fmla="*/ 0 w 42"/>
                <a:gd name="T9" fmla="*/ 21 h 43"/>
                <a:gd name="T10" fmla="*/ 21 w 42"/>
                <a:gd name="T11" fmla="*/ 42 h 43"/>
                <a:gd name="T12" fmla="*/ 41 w 42"/>
                <a:gd name="T13" fmla="*/ 21 h 43"/>
                <a:gd name="T14" fmla="*/ 21 w 42"/>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21" y="0"/>
                  </a:moveTo>
                  <a:lnTo>
                    <a:pt x="21" y="0"/>
                  </a:lnTo>
                  <a:cubicBezTo>
                    <a:pt x="21" y="0"/>
                    <a:pt x="21" y="0"/>
                    <a:pt x="0" y="0"/>
                  </a:cubicBezTo>
                  <a:lnTo>
                    <a:pt x="0" y="0"/>
                  </a:lnTo>
                  <a:lnTo>
                    <a:pt x="0" y="21"/>
                  </a:lnTo>
                  <a:lnTo>
                    <a:pt x="21" y="42"/>
                  </a:lnTo>
                  <a:cubicBezTo>
                    <a:pt x="21" y="42"/>
                    <a:pt x="21" y="21"/>
                    <a:pt x="41" y="21"/>
                  </a:cubicBezTo>
                  <a:lnTo>
                    <a:pt x="21"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4" name="Freeform 611">
              <a:extLst>
                <a:ext uri="{FF2B5EF4-FFF2-40B4-BE49-F238E27FC236}">
                  <a16:creationId xmlns:a16="http://schemas.microsoft.com/office/drawing/2014/main" id="{C67A5E6E-F324-A14D-8D09-1ACA323FAAC9}"/>
                </a:ext>
              </a:extLst>
            </p:cNvPr>
            <p:cNvSpPr>
              <a:spLocks noChangeArrowheads="1"/>
            </p:cNvSpPr>
            <p:nvPr/>
          </p:nvSpPr>
          <p:spPr bwMode="auto">
            <a:xfrm>
              <a:off x="6107113" y="7075488"/>
              <a:ext cx="15875" cy="15875"/>
            </a:xfrm>
            <a:custGeom>
              <a:avLst/>
              <a:gdLst>
                <a:gd name="T0" fmla="*/ 41 w 42"/>
                <a:gd name="T1" fmla="*/ 21 h 43"/>
                <a:gd name="T2" fmla="*/ 41 w 42"/>
                <a:gd name="T3" fmla="*/ 21 h 43"/>
                <a:gd name="T4" fmla="*/ 21 w 42"/>
                <a:gd name="T5" fmla="*/ 42 h 43"/>
                <a:gd name="T6" fmla="*/ 0 w 42"/>
                <a:gd name="T7" fmla="*/ 21 h 43"/>
                <a:gd name="T8" fmla="*/ 21 w 42"/>
                <a:gd name="T9" fmla="*/ 0 h 43"/>
                <a:gd name="T10" fmla="*/ 41 w 42"/>
                <a:gd name="T11" fmla="*/ 21 h 43"/>
              </a:gdLst>
              <a:ahLst/>
              <a:cxnLst>
                <a:cxn ang="0">
                  <a:pos x="T0" y="T1"/>
                </a:cxn>
                <a:cxn ang="0">
                  <a:pos x="T2" y="T3"/>
                </a:cxn>
                <a:cxn ang="0">
                  <a:pos x="T4" y="T5"/>
                </a:cxn>
                <a:cxn ang="0">
                  <a:pos x="T6" y="T7"/>
                </a:cxn>
                <a:cxn ang="0">
                  <a:pos x="T8" y="T9"/>
                </a:cxn>
                <a:cxn ang="0">
                  <a:pos x="T10" y="T11"/>
                </a:cxn>
              </a:cxnLst>
              <a:rect l="0" t="0" r="r" b="b"/>
              <a:pathLst>
                <a:path w="42" h="43">
                  <a:moveTo>
                    <a:pt x="41" y="21"/>
                  </a:moveTo>
                  <a:lnTo>
                    <a:pt x="41" y="21"/>
                  </a:lnTo>
                  <a:cubicBezTo>
                    <a:pt x="41" y="42"/>
                    <a:pt x="21" y="42"/>
                    <a:pt x="21" y="42"/>
                  </a:cubicBezTo>
                  <a:lnTo>
                    <a:pt x="0" y="21"/>
                  </a:lnTo>
                  <a:lnTo>
                    <a:pt x="21" y="0"/>
                  </a:lnTo>
                  <a:cubicBezTo>
                    <a:pt x="21" y="0"/>
                    <a:pt x="21" y="0"/>
                    <a:pt x="4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5" name="Freeform 612">
              <a:extLst>
                <a:ext uri="{FF2B5EF4-FFF2-40B4-BE49-F238E27FC236}">
                  <a16:creationId xmlns:a16="http://schemas.microsoft.com/office/drawing/2014/main" id="{E145CD43-06B2-DC4C-9EB5-E9C1E4CE03B5}"/>
                </a:ext>
              </a:extLst>
            </p:cNvPr>
            <p:cNvSpPr>
              <a:spLocks noChangeArrowheads="1"/>
            </p:cNvSpPr>
            <p:nvPr/>
          </p:nvSpPr>
          <p:spPr bwMode="auto">
            <a:xfrm>
              <a:off x="6135688" y="7075488"/>
              <a:ext cx="15875" cy="15875"/>
            </a:xfrm>
            <a:custGeom>
              <a:avLst/>
              <a:gdLst>
                <a:gd name="T0" fmla="*/ 21 w 42"/>
                <a:gd name="T1" fmla="*/ 21 h 43"/>
                <a:gd name="T2" fmla="*/ 21 w 42"/>
                <a:gd name="T3" fmla="*/ 21 h 43"/>
                <a:gd name="T4" fmla="*/ 21 w 42"/>
                <a:gd name="T5" fmla="*/ 21 h 43"/>
                <a:gd name="T6" fmla="*/ 21 w 42"/>
                <a:gd name="T7" fmla="*/ 21 h 43"/>
                <a:gd name="T8" fmla="*/ 21 w 42"/>
                <a:gd name="T9" fmla="*/ 42 h 43"/>
                <a:gd name="T10" fmla="*/ 41 w 42"/>
                <a:gd name="T11" fmla="*/ 21 h 43"/>
                <a:gd name="T12" fmla="*/ 21 w 42"/>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42" h="43">
                  <a:moveTo>
                    <a:pt x="21" y="21"/>
                  </a:moveTo>
                  <a:lnTo>
                    <a:pt x="21" y="21"/>
                  </a:lnTo>
                  <a:cubicBezTo>
                    <a:pt x="21" y="21"/>
                    <a:pt x="21" y="0"/>
                    <a:pt x="21" y="21"/>
                  </a:cubicBezTo>
                  <a:cubicBezTo>
                    <a:pt x="21" y="21"/>
                    <a:pt x="0" y="21"/>
                    <a:pt x="21" y="21"/>
                  </a:cubicBezTo>
                  <a:cubicBezTo>
                    <a:pt x="21" y="42"/>
                    <a:pt x="21" y="42"/>
                    <a:pt x="21" y="42"/>
                  </a:cubicBezTo>
                  <a:cubicBezTo>
                    <a:pt x="41" y="42"/>
                    <a:pt x="41" y="42"/>
                    <a:pt x="41" y="21"/>
                  </a:cubicBezTo>
                  <a:cubicBezTo>
                    <a:pt x="41" y="21"/>
                    <a:pt x="41" y="21"/>
                    <a:pt x="21"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6" name="Freeform 613">
              <a:extLst>
                <a:ext uri="{FF2B5EF4-FFF2-40B4-BE49-F238E27FC236}">
                  <a16:creationId xmlns:a16="http://schemas.microsoft.com/office/drawing/2014/main" id="{2C05B869-22A5-974A-89F8-D2FE76B0EE0D}"/>
                </a:ext>
              </a:extLst>
            </p:cNvPr>
            <p:cNvSpPr>
              <a:spLocks noChangeArrowheads="1"/>
            </p:cNvSpPr>
            <p:nvPr/>
          </p:nvSpPr>
          <p:spPr bwMode="auto">
            <a:xfrm>
              <a:off x="6143625" y="7069138"/>
              <a:ext cx="7938" cy="7937"/>
            </a:xfrm>
            <a:custGeom>
              <a:avLst/>
              <a:gdLst>
                <a:gd name="T0" fmla="*/ 0 w 21"/>
                <a:gd name="T1" fmla="*/ 0 h 21"/>
                <a:gd name="T2" fmla="*/ 0 w 21"/>
                <a:gd name="T3" fmla="*/ 0 h 21"/>
                <a:gd name="T4" fmla="*/ 0 w 21"/>
                <a:gd name="T5" fmla="*/ 0 h 21"/>
                <a:gd name="T6" fmla="*/ 0 w 21"/>
                <a:gd name="T7" fmla="*/ 20 h 21"/>
                <a:gd name="T8" fmla="*/ 20 w 21"/>
                <a:gd name="T9" fmla="*/ 20 h 21"/>
                <a:gd name="T10" fmla="*/ 20 w 21"/>
                <a:gd name="T11" fmla="*/ 0 h 21"/>
                <a:gd name="T12" fmla="*/ 0 w 2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0" y="0"/>
                  </a:moveTo>
                  <a:lnTo>
                    <a:pt x="0" y="0"/>
                  </a:lnTo>
                  <a:lnTo>
                    <a:pt x="0" y="0"/>
                  </a:lnTo>
                  <a:lnTo>
                    <a:pt x="0" y="20"/>
                  </a:lnTo>
                  <a:lnTo>
                    <a:pt x="20" y="20"/>
                  </a:lnTo>
                  <a:lnTo>
                    <a:pt x="20" y="0"/>
                  </a:ln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7" name="Freeform 614">
              <a:extLst>
                <a:ext uri="{FF2B5EF4-FFF2-40B4-BE49-F238E27FC236}">
                  <a16:creationId xmlns:a16="http://schemas.microsoft.com/office/drawing/2014/main" id="{242274D2-C52E-1A44-A5BD-89231517A05E}"/>
                </a:ext>
              </a:extLst>
            </p:cNvPr>
            <p:cNvSpPr>
              <a:spLocks noChangeArrowheads="1"/>
            </p:cNvSpPr>
            <p:nvPr/>
          </p:nvSpPr>
          <p:spPr bwMode="auto">
            <a:xfrm>
              <a:off x="6129338" y="7075488"/>
              <a:ext cx="7937" cy="7937"/>
            </a:xfrm>
            <a:custGeom>
              <a:avLst/>
              <a:gdLst>
                <a:gd name="T0" fmla="*/ 20 w 21"/>
                <a:gd name="T1" fmla="*/ 0 h 22"/>
                <a:gd name="T2" fmla="*/ 20 w 21"/>
                <a:gd name="T3" fmla="*/ 0 h 22"/>
                <a:gd name="T4" fmla="*/ 0 w 21"/>
                <a:gd name="T5" fmla="*/ 0 h 22"/>
                <a:gd name="T6" fmla="*/ 0 w 21"/>
                <a:gd name="T7" fmla="*/ 21 h 22"/>
                <a:gd name="T8" fmla="*/ 0 w 21"/>
                <a:gd name="T9" fmla="*/ 21 h 22"/>
                <a:gd name="T10" fmla="*/ 20 w 21"/>
                <a:gd name="T11" fmla="*/ 21 h 22"/>
                <a:gd name="T12" fmla="*/ 20 w 21"/>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20" y="0"/>
                  </a:moveTo>
                  <a:lnTo>
                    <a:pt x="20" y="0"/>
                  </a:lnTo>
                  <a:lnTo>
                    <a:pt x="0" y="0"/>
                  </a:lnTo>
                  <a:cubicBezTo>
                    <a:pt x="0" y="0"/>
                    <a:pt x="0" y="0"/>
                    <a:pt x="0" y="21"/>
                  </a:cubicBezTo>
                  <a:lnTo>
                    <a:pt x="0" y="21"/>
                  </a:lnTo>
                  <a:cubicBezTo>
                    <a:pt x="20" y="21"/>
                    <a:pt x="20" y="21"/>
                    <a:pt x="20" y="21"/>
                  </a:cubicBezTo>
                  <a:cubicBezTo>
                    <a:pt x="20" y="0"/>
                    <a:pt x="2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8" name="Freeform 615">
              <a:extLst>
                <a:ext uri="{FF2B5EF4-FFF2-40B4-BE49-F238E27FC236}">
                  <a16:creationId xmlns:a16="http://schemas.microsoft.com/office/drawing/2014/main" id="{F77B5F17-D3DA-5B42-BF51-2DB0116EE830}"/>
                </a:ext>
              </a:extLst>
            </p:cNvPr>
            <p:cNvSpPr>
              <a:spLocks noChangeArrowheads="1"/>
            </p:cNvSpPr>
            <p:nvPr/>
          </p:nvSpPr>
          <p:spPr bwMode="auto">
            <a:xfrm>
              <a:off x="5995988" y="6456363"/>
              <a:ext cx="317500" cy="487362"/>
            </a:xfrm>
            <a:custGeom>
              <a:avLst/>
              <a:gdLst>
                <a:gd name="T0" fmla="*/ 430 w 882"/>
                <a:gd name="T1" fmla="*/ 984 h 1354"/>
                <a:gd name="T2" fmla="*/ 471 w 882"/>
                <a:gd name="T3" fmla="*/ 1025 h 1354"/>
                <a:gd name="T4" fmla="*/ 512 w 882"/>
                <a:gd name="T5" fmla="*/ 1005 h 1354"/>
                <a:gd name="T6" fmla="*/ 594 w 882"/>
                <a:gd name="T7" fmla="*/ 1005 h 1354"/>
                <a:gd name="T8" fmla="*/ 635 w 882"/>
                <a:gd name="T9" fmla="*/ 1045 h 1354"/>
                <a:gd name="T10" fmla="*/ 676 w 882"/>
                <a:gd name="T11" fmla="*/ 1087 h 1354"/>
                <a:gd name="T12" fmla="*/ 778 w 882"/>
                <a:gd name="T13" fmla="*/ 1066 h 1354"/>
                <a:gd name="T14" fmla="*/ 758 w 882"/>
                <a:gd name="T15" fmla="*/ 1107 h 1354"/>
                <a:gd name="T16" fmla="*/ 778 w 882"/>
                <a:gd name="T17" fmla="*/ 1169 h 1354"/>
                <a:gd name="T18" fmla="*/ 820 w 882"/>
                <a:gd name="T19" fmla="*/ 1251 h 1354"/>
                <a:gd name="T20" fmla="*/ 881 w 882"/>
                <a:gd name="T21" fmla="*/ 1291 h 1354"/>
                <a:gd name="T22" fmla="*/ 840 w 882"/>
                <a:gd name="T23" fmla="*/ 1353 h 1354"/>
                <a:gd name="T24" fmla="*/ 840 w 882"/>
                <a:gd name="T25" fmla="*/ 1291 h 1354"/>
                <a:gd name="T26" fmla="*/ 758 w 882"/>
                <a:gd name="T27" fmla="*/ 1271 h 1354"/>
                <a:gd name="T28" fmla="*/ 696 w 882"/>
                <a:gd name="T29" fmla="*/ 1209 h 1354"/>
                <a:gd name="T30" fmla="*/ 635 w 882"/>
                <a:gd name="T31" fmla="*/ 1148 h 1354"/>
                <a:gd name="T32" fmla="*/ 594 w 882"/>
                <a:gd name="T33" fmla="*/ 1087 h 1354"/>
                <a:gd name="T34" fmla="*/ 574 w 882"/>
                <a:gd name="T35" fmla="*/ 1127 h 1354"/>
                <a:gd name="T36" fmla="*/ 614 w 882"/>
                <a:gd name="T37" fmla="*/ 1189 h 1354"/>
                <a:gd name="T38" fmla="*/ 594 w 882"/>
                <a:gd name="T39" fmla="*/ 1251 h 1354"/>
                <a:gd name="T40" fmla="*/ 574 w 882"/>
                <a:gd name="T41" fmla="*/ 1189 h 1354"/>
                <a:gd name="T42" fmla="*/ 492 w 882"/>
                <a:gd name="T43" fmla="*/ 1107 h 1354"/>
                <a:gd name="T44" fmla="*/ 430 w 882"/>
                <a:gd name="T45" fmla="*/ 1087 h 1354"/>
                <a:gd name="T46" fmla="*/ 328 w 882"/>
                <a:gd name="T47" fmla="*/ 1127 h 1354"/>
                <a:gd name="T48" fmla="*/ 287 w 882"/>
                <a:gd name="T49" fmla="*/ 1087 h 1354"/>
                <a:gd name="T50" fmla="*/ 246 w 882"/>
                <a:gd name="T51" fmla="*/ 1087 h 1354"/>
                <a:gd name="T52" fmla="*/ 205 w 882"/>
                <a:gd name="T53" fmla="*/ 1045 h 1354"/>
                <a:gd name="T54" fmla="*/ 205 w 882"/>
                <a:gd name="T55" fmla="*/ 943 h 1354"/>
                <a:gd name="T56" fmla="*/ 143 w 882"/>
                <a:gd name="T57" fmla="*/ 881 h 1354"/>
                <a:gd name="T58" fmla="*/ 102 w 882"/>
                <a:gd name="T59" fmla="*/ 800 h 1354"/>
                <a:gd name="T60" fmla="*/ 82 w 882"/>
                <a:gd name="T61" fmla="*/ 697 h 1354"/>
                <a:gd name="T62" fmla="*/ 20 w 882"/>
                <a:gd name="T63" fmla="*/ 636 h 1354"/>
                <a:gd name="T64" fmla="*/ 20 w 882"/>
                <a:gd name="T65" fmla="*/ 513 h 1354"/>
                <a:gd name="T66" fmla="*/ 61 w 882"/>
                <a:gd name="T67" fmla="*/ 574 h 1354"/>
                <a:gd name="T68" fmla="*/ 102 w 882"/>
                <a:gd name="T69" fmla="*/ 554 h 1354"/>
                <a:gd name="T70" fmla="*/ 102 w 882"/>
                <a:gd name="T71" fmla="*/ 410 h 1354"/>
                <a:gd name="T72" fmla="*/ 102 w 882"/>
                <a:gd name="T73" fmla="*/ 267 h 1354"/>
                <a:gd name="T74" fmla="*/ 82 w 882"/>
                <a:gd name="T75" fmla="*/ 144 h 1354"/>
                <a:gd name="T76" fmla="*/ 82 w 882"/>
                <a:gd name="T77" fmla="*/ 21 h 1354"/>
                <a:gd name="T78" fmla="*/ 164 w 882"/>
                <a:gd name="T79" fmla="*/ 21 h 1354"/>
                <a:gd name="T80" fmla="*/ 246 w 882"/>
                <a:gd name="T81" fmla="*/ 42 h 1354"/>
                <a:gd name="T82" fmla="*/ 307 w 882"/>
                <a:gd name="T83" fmla="*/ 82 h 1354"/>
                <a:gd name="T84" fmla="*/ 389 w 882"/>
                <a:gd name="T85" fmla="*/ 103 h 1354"/>
                <a:gd name="T86" fmla="*/ 410 w 882"/>
                <a:gd name="T87" fmla="*/ 185 h 1354"/>
                <a:gd name="T88" fmla="*/ 410 w 882"/>
                <a:gd name="T89" fmla="*/ 267 h 1354"/>
                <a:gd name="T90" fmla="*/ 451 w 882"/>
                <a:gd name="T91" fmla="*/ 328 h 1354"/>
                <a:gd name="T92" fmla="*/ 451 w 882"/>
                <a:gd name="T93" fmla="*/ 431 h 1354"/>
                <a:gd name="T94" fmla="*/ 451 w 882"/>
                <a:gd name="T95" fmla="*/ 513 h 1354"/>
                <a:gd name="T96" fmla="*/ 410 w 882"/>
                <a:gd name="T97" fmla="*/ 554 h 1354"/>
                <a:gd name="T98" fmla="*/ 348 w 882"/>
                <a:gd name="T99" fmla="*/ 595 h 1354"/>
                <a:gd name="T100" fmla="*/ 348 w 882"/>
                <a:gd name="T101" fmla="*/ 656 h 1354"/>
                <a:gd name="T102" fmla="*/ 328 w 882"/>
                <a:gd name="T103" fmla="*/ 738 h 1354"/>
                <a:gd name="T104" fmla="*/ 348 w 882"/>
                <a:gd name="T105" fmla="*/ 779 h 1354"/>
                <a:gd name="T106" fmla="*/ 389 w 882"/>
                <a:gd name="T107" fmla="*/ 841 h 1354"/>
                <a:gd name="T108" fmla="*/ 389 w 882"/>
                <a:gd name="T109" fmla="*/ 902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2" h="1354">
                  <a:moveTo>
                    <a:pt x="410" y="963"/>
                  </a:moveTo>
                  <a:lnTo>
                    <a:pt x="410" y="963"/>
                  </a:lnTo>
                  <a:cubicBezTo>
                    <a:pt x="410" y="963"/>
                    <a:pt x="430" y="963"/>
                    <a:pt x="430" y="984"/>
                  </a:cubicBezTo>
                  <a:lnTo>
                    <a:pt x="430" y="1005"/>
                  </a:lnTo>
                  <a:cubicBezTo>
                    <a:pt x="430" y="1005"/>
                    <a:pt x="430" y="1025"/>
                    <a:pt x="451" y="1025"/>
                  </a:cubicBezTo>
                  <a:lnTo>
                    <a:pt x="471" y="1025"/>
                  </a:lnTo>
                  <a:cubicBezTo>
                    <a:pt x="471" y="1045"/>
                    <a:pt x="492" y="1045"/>
                    <a:pt x="492" y="1045"/>
                  </a:cubicBezTo>
                  <a:cubicBezTo>
                    <a:pt x="492" y="1045"/>
                    <a:pt x="512" y="1045"/>
                    <a:pt x="512" y="1025"/>
                  </a:cubicBezTo>
                  <a:cubicBezTo>
                    <a:pt x="512" y="1025"/>
                    <a:pt x="512" y="1025"/>
                    <a:pt x="512" y="1005"/>
                  </a:cubicBezTo>
                  <a:cubicBezTo>
                    <a:pt x="512" y="1005"/>
                    <a:pt x="533" y="1005"/>
                    <a:pt x="553" y="1005"/>
                  </a:cubicBezTo>
                  <a:cubicBezTo>
                    <a:pt x="553" y="1005"/>
                    <a:pt x="553" y="1005"/>
                    <a:pt x="574" y="1005"/>
                  </a:cubicBezTo>
                  <a:cubicBezTo>
                    <a:pt x="574" y="1005"/>
                    <a:pt x="574" y="1005"/>
                    <a:pt x="594" y="1005"/>
                  </a:cubicBezTo>
                  <a:lnTo>
                    <a:pt x="614" y="1005"/>
                  </a:lnTo>
                  <a:cubicBezTo>
                    <a:pt x="635" y="1005"/>
                    <a:pt x="635" y="1005"/>
                    <a:pt x="635" y="1025"/>
                  </a:cubicBezTo>
                  <a:cubicBezTo>
                    <a:pt x="635" y="1025"/>
                    <a:pt x="635" y="1025"/>
                    <a:pt x="635" y="1045"/>
                  </a:cubicBezTo>
                  <a:cubicBezTo>
                    <a:pt x="635" y="1045"/>
                    <a:pt x="635" y="1045"/>
                    <a:pt x="656" y="1045"/>
                  </a:cubicBezTo>
                  <a:cubicBezTo>
                    <a:pt x="656" y="1066"/>
                    <a:pt x="656" y="1066"/>
                    <a:pt x="656" y="1066"/>
                  </a:cubicBezTo>
                  <a:cubicBezTo>
                    <a:pt x="656" y="1066"/>
                    <a:pt x="656" y="1087"/>
                    <a:pt x="676" y="1087"/>
                  </a:cubicBezTo>
                  <a:cubicBezTo>
                    <a:pt x="676" y="1087"/>
                    <a:pt x="676" y="1066"/>
                    <a:pt x="696" y="1066"/>
                  </a:cubicBezTo>
                  <a:lnTo>
                    <a:pt x="717" y="1066"/>
                  </a:lnTo>
                  <a:cubicBezTo>
                    <a:pt x="738" y="1066"/>
                    <a:pt x="758" y="1066"/>
                    <a:pt x="778" y="1066"/>
                  </a:cubicBezTo>
                  <a:lnTo>
                    <a:pt x="799" y="1087"/>
                  </a:lnTo>
                  <a:cubicBezTo>
                    <a:pt x="799" y="1107"/>
                    <a:pt x="799" y="1107"/>
                    <a:pt x="799" y="1107"/>
                  </a:cubicBezTo>
                  <a:cubicBezTo>
                    <a:pt x="778" y="1107"/>
                    <a:pt x="758" y="1107"/>
                    <a:pt x="758" y="1107"/>
                  </a:cubicBezTo>
                  <a:lnTo>
                    <a:pt x="738" y="1127"/>
                  </a:lnTo>
                  <a:cubicBezTo>
                    <a:pt x="758" y="1127"/>
                    <a:pt x="758" y="1148"/>
                    <a:pt x="778" y="1148"/>
                  </a:cubicBezTo>
                  <a:lnTo>
                    <a:pt x="778" y="1169"/>
                  </a:lnTo>
                  <a:cubicBezTo>
                    <a:pt x="778" y="1169"/>
                    <a:pt x="799" y="1169"/>
                    <a:pt x="799" y="1189"/>
                  </a:cubicBezTo>
                  <a:lnTo>
                    <a:pt x="820" y="1209"/>
                  </a:lnTo>
                  <a:cubicBezTo>
                    <a:pt x="820" y="1209"/>
                    <a:pt x="820" y="1230"/>
                    <a:pt x="820" y="1251"/>
                  </a:cubicBezTo>
                  <a:cubicBezTo>
                    <a:pt x="840" y="1251"/>
                    <a:pt x="840" y="1251"/>
                    <a:pt x="840" y="1251"/>
                  </a:cubicBezTo>
                  <a:cubicBezTo>
                    <a:pt x="860" y="1251"/>
                    <a:pt x="860" y="1251"/>
                    <a:pt x="860" y="1251"/>
                  </a:cubicBezTo>
                  <a:cubicBezTo>
                    <a:pt x="881" y="1271"/>
                    <a:pt x="881" y="1271"/>
                    <a:pt x="881" y="1291"/>
                  </a:cubicBezTo>
                  <a:cubicBezTo>
                    <a:pt x="881" y="1291"/>
                    <a:pt x="881" y="1312"/>
                    <a:pt x="881" y="1333"/>
                  </a:cubicBezTo>
                  <a:lnTo>
                    <a:pt x="881" y="1353"/>
                  </a:lnTo>
                  <a:cubicBezTo>
                    <a:pt x="860" y="1353"/>
                    <a:pt x="860" y="1353"/>
                    <a:pt x="840" y="1353"/>
                  </a:cubicBezTo>
                  <a:lnTo>
                    <a:pt x="840" y="1333"/>
                  </a:lnTo>
                  <a:cubicBezTo>
                    <a:pt x="840" y="1312"/>
                    <a:pt x="840" y="1312"/>
                    <a:pt x="840" y="1291"/>
                  </a:cubicBezTo>
                  <a:lnTo>
                    <a:pt x="840" y="1291"/>
                  </a:lnTo>
                  <a:cubicBezTo>
                    <a:pt x="820" y="1271"/>
                    <a:pt x="820" y="1291"/>
                    <a:pt x="799" y="1291"/>
                  </a:cubicBezTo>
                  <a:lnTo>
                    <a:pt x="778" y="1271"/>
                  </a:lnTo>
                  <a:lnTo>
                    <a:pt x="758" y="1271"/>
                  </a:lnTo>
                  <a:cubicBezTo>
                    <a:pt x="758" y="1271"/>
                    <a:pt x="738" y="1251"/>
                    <a:pt x="738" y="1230"/>
                  </a:cubicBezTo>
                  <a:cubicBezTo>
                    <a:pt x="738" y="1230"/>
                    <a:pt x="738" y="1230"/>
                    <a:pt x="717" y="1209"/>
                  </a:cubicBezTo>
                  <a:lnTo>
                    <a:pt x="696" y="1209"/>
                  </a:lnTo>
                  <a:cubicBezTo>
                    <a:pt x="696" y="1189"/>
                    <a:pt x="696" y="1169"/>
                    <a:pt x="676" y="1169"/>
                  </a:cubicBezTo>
                  <a:lnTo>
                    <a:pt x="656" y="1169"/>
                  </a:lnTo>
                  <a:lnTo>
                    <a:pt x="635" y="1148"/>
                  </a:lnTo>
                  <a:cubicBezTo>
                    <a:pt x="635" y="1148"/>
                    <a:pt x="635" y="1127"/>
                    <a:pt x="635" y="1107"/>
                  </a:cubicBezTo>
                  <a:lnTo>
                    <a:pt x="614" y="1107"/>
                  </a:lnTo>
                  <a:cubicBezTo>
                    <a:pt x="614" y="1107"/>
                    <a:pt x="614" y="1107"/>
                    <a:pt x="594" y="1087"/>
                  </a:cubicBezTo>
                  <a:lnTo>
                    <a:pt x="594" y="1087"/>
                  </a:lnTo>
                  <a:cubicBezTo>
                    <a:pt x="574" y="1087"/>
                    <a:pt x="574" y="1087"/>
                    <a:pt x="574" y="1107"/>
                  </a:cubicBezTo>
                  <a:cubicBezTo>
                    <a:pt x="574" y="1107"/>
                    <a:pt x="574" y="1107"/>
                    <a:pt x="574" y="1127"/>
                  </a:cubicBezTo>
                  <a:cubicBezTo>
                    <a:pt x="574" y="1127"/>
                    <a:pt x="594" y="1127"/>
                    <a:pt x="594" y="1148"/>
                  </a:cubicBezTo>
                  <a:lnTo>
                    <a:pt x="594" y="1169"/>
                  </a:lnTo>
                  <a:lnTo>
                    <a:pt x="614" y="1189"/>
                  </a:lnTo>
                  <a:lnTo>
                    <a:pt x="614" y="1209"/>
                  </a:lnTo>
                  <a:cubicBezTo>
                    <a:pt x="614" y="1230"/>
                    <a:pt x="614" y="1230"/>
                    <a:pt x="614" y="1251"/>
                  </a:cubicBezTo>
                  <a:cubicBezTo>
                    <a:pt x="614" y="1251"/>
                    <a:pt x="614" y="1251"/>
                    <a:pt x="594" y="1251"/>
                  </a:cubicBezTo>
                  <a:lnTo>
                    <a:pt x="594" y="1230"/>
                  </a:lnTo>
                  <a:cubicBezTo>
                    <a:pt x="594" y="1230"/>
                    <a:pt x="594" y="1209"/>
                    <a:pt x="574" y="1209"/>
                  </a:cubicBezTo>
                  <a:cubicBezTo>
                    <a:pt x="574" y="1189"/>
                    <a:pt x="574" y="1189"/>
                    <a:pt x="574" y="1189"/>
                  </a:cubicBezTo>
                  <a:cubicBezTo>
                    <a:pt x="553" y="1169"/>
                    <a:pt x="553" y="1169"/>
                    <a:pt x="533" y="1148"/>
                  </a:cubicBezTo>
                  <a:lnTo>
                    <a:pt x="512" y="1127"/>
                  </a:lnTo>
                  <a:lnTo>
                    <a:pt x="492" y="1107"/>
                  </a:lnTo>
                  <a:lnTo>
                    <a:pt x="471" y="1107"/>
                  </a:lnTo>
                  <a:cubicBezTo>
                    <a:pt x="451" y="1107"/>
                    <a:pt x="451" y="1087"/>
                    <a:pt x="451" y="1087"/>
                  </a:cubicBezTo>
                  <a:cubicBezTo>
                    <a:pt x="430" y="1087"/>
                    <a:pt x="430" y="1087"/>
                    <a:pt x="430" y="1087"/>
                  </a:cubicBezTo>
                  <a:cubicBezTo>
                    <a:pt x="410" y="1107"/>
                    <a:pt x="410" y="1107"/>
                    <a:pt x="410" y="1107"/>
                  </a:cubicBezTo>
                  <a:cubicBezTo>
                    <a:pt x="389" y="1107"/>
                    <a:pt x="369" y="1127"/>
                    <a:pt x="369" y="1127"/>
                  </a:cubicBezTo>
                  <a:cubicBezTo>
                    <a:pt x="348" y="1127"/>
                    <a:pt x="328" y="1127"/>
                    <a:pt x="328" y="1127"/>
                  </a:cubicBezTo>
                  <a:cubicBezTo>
                    <a:pt x="307" y="1127"/>
                    <a:pt x="287" y="1127"/>
                    <a:pt x="287" y="1127"/>
                  </a:cubicBezTo>
                  <a:lnTo>
                    <a:pt x="287" y="1107"/>
                  </a:lnTo>
                  <a:lnTo>
                    <a:pt x="287" y="1087"/>
                  </a:lnTo>
                  <a:cubicBezTo>
                    <a:pt x="287" y="1087"/>
                    <a:pt x="287" y="1066"/>
                    <a:pt x="266" y="1066"/>
                  </a:cubicBezTo>
                  <a:cubicBezTo>
                    <a:pt x="266" y="1066"/>
                    <a:pt x="266" y="1066"/>
                    <a:pt x="246" y="1066"/>
                  </a:cubicBezTo>
                  <a:lnTo>
                    <a:pt x="246" y="1087"/>
                  </a:lnTo>
                  <a:lnTo>
                    <a:pt x="225" y="1087"/>
                  </a:lnTo>
                  <a:cubicBezTo>
                    <a:pt x="225" y="1087"/>
                    <a:pt x="225" y="1066"/>
                    <a:pt x="225" y="1045"/>
                  </a:cubicBezTo>
                  <a:lnTo>
                    <a:pt x="205" y="1045"/>
                  </a:lnTo>
                  <a:cubicBezTo>
                    <a:pt x="205" y="1025"/>
                    <a:pt x="205" y="1025"/>
                    <a:pt x="205" y="1005"/>
                  </a:cubicBezTo>
                  <a:lnTo>
                    <a:pt x="225" y="984"/>
                  </a:lnTo>
                  <a:cubicBezTo>
                    <a:pt x="225" y="963"/>
                    <a:pt x="205" y="963"/>
                    <a:pt x="205" y="943"/>
                  </a:cubicBezTo>
                  <a:lnTo>
                    <a:pt x="205" y="902"/>
                  </a:lnTo>
                  <a:cubicBezTo>
                    <a:pt x="184" y="902"/>
                    <a:pt x="184" y="881"/>
                    <a:pt x="184" y="881"/>
                  </a:cubicBezTo>
                  <a:cubicBezTo>
                    <a:pt x="164" y="881"/>
                    <a:pt x="164" y="881"/>
                    <a:pt x="143" y="881"/>
                  </a:cubicBezTo>
                  <a:lnTo>
                    <a:pt x="123" y="861"/>
                  </a:lnTo>
                  <a:lnTo>
                    <a:pt x="102" y="841"/>
                  </a:lnTo>
                  <a:cubicBezTo>
                    <a:pt x="102" y="820"/>
                    <a:pt x="123" y="800"/>
                    <a:pt x="102" y="800"/>
                  </a:cubicBezTo>
                  <a:cubicBezTo>
                    <a:pt x="102" y="779"/>
                    <a:pt x="102" y="779"/>
                    <a:pt x="102" y="779"/>
                  </a:cubicBezTo>
                  <a:cubicBezTo>
                    <a:pt x="102" y="759"/>
                    <a:pt x="82" y="738"/>
                    <a:pt x="82" y="738"/>
                  </a:cubicBezTo>
                  <a:cubicBezTo>
                    <a:pt x="82" y="738"/>
                    <a:pt x="82" y="718"/>
                    <a:pt x="82" y="697"/>
                  </a:cubicBezTo>
                  <a:cubicBezTo>
                    <a:pt x="61" y="697"/>
                    <a:pt x="61" y="677"/>
                    <a:pt x="61" y="656"/>
                  </a:cubicBezTo>
                  <a:lnTo>
                    <a:pt x="41" y="636"/>
                  </a:lnTo>
                  <a:lnTo>
                    <a:pt x="20" y="636"/>
                  </a:lnTo>
                  <a:cubicBezTo>
                    <a:pt x="0" y="636"/>
                    <a:pt x="0" y="615"/>
                    <a:pt x="0" y="615"/>
                  </a:cubicBezTo>
                  <a:cubicBezTo>
                    <a:pt x="0" y="595"/>
                    <a:pt x="0" y="574"/>
                    <a:pt x="0" y="554"/>
                  </a:cubicBezTo>
                  <a:cubicBezTo>
                    <a:pt x="0" y="554"/>
                    <a:pt x="0" y="533"/>
                    <a:pt x="20" y="513"/>
                  </a:cubicBezTo>
                  <a:cubicBezTo>
                    <a:pt x="20" y="513"/>
                    <a:pt x="20" y="513"/>
                    <a:pt x="41" y="513"/>
                  </a:cubicBezTo>
                  <a:cubicBezTo>
                    <a:pt x="41" y="533"/>
                    <a:pt x="41" y="554"/>
                    <a:pt x="41" y="554"/>
                  </a:cubicBezTo>
                  <a:cubicBezTo>
                    <a:pt x="41" y="554"/>
                    <a:pt x="41" y="574"/>
                    <a:pt x="61" y="574"/>
                  </a:cubicBezTo>
                  <a:lnTo>
                    <a:pt x="82" y="574"/>
                  </a:lnTo>
                  <a:lnTo>
                    <a:pt x="102" y="574"/>
                  </a:lnTo>
                  <a:cubicBezTo>
                    <a:pt x="123" y="554"/>
                    <a:pt x="102" y="554"/>
                    <a:pt x="102" y="554"/>
                  </a:cubicBezTo>
                  <a:cubicBezTo>
                    <a:pt x="102" y="533"/>
                    <a:pt x="102" y="513"/>
                    <a:pt x="102" y="513"/>
                  </a:cubicBezTo>
                  <a:cubicBezTo>
                    <a:pt x="102" y="492"/>
                    <a:pt x="102" y="472"/>
                    <a:pt x="102" y="451"/>
                  </a:cubicBezTo>
                  <a:cubicBezTo>
                    <a:pt x="102" y="451"/>
                    <a:pt x="102" y="431"/>
                    <a:pt x="102" y="410"/>
                  </a:cubicBezTo>
                  <a:cubicBezTo>
                    <a:pt x="102" y="410"/>
                    <a:pt x="102" y="390"/>
                    <a:pt x="102" y="369"/>
                  </a:cubicBezTo>
                  <a:lnTo>
                    <a:pt x="102" y="328"/>
                  </a:lnTo>
                  <a:cubicBezTo>
                    <a:pt x="102" y="308"/>
                    <a:pt x="102" y="287"/>
                    <a:pt x="102" y="267"/>
                  </a:cubicBezTo>
                  <a:lnTo>
                    <a:pt x="82" y="246"/>
                  </a:lnTo>
                  <a:cubicBezTo>
                    <a:pt x="82" y="226"/>
                    <a:pt x="82" y="205"/>
                    <a:pt x="82" y="185"/>
                  </a:cubicBezTo>
                  <a:cubicBezTo>
                    <a:pt x="82" y="185"/>
                    <a:pt x="82" y="164"/>
                    <a:pt x="82" y="144"/>
                  </a:cubicBezTo>
                  <a:cubicBezTo>
                    <a:pt x="82" y="144"/>
                    <a:pt x="82" y="124"/>
                    <a:pt x="82" y="103"/>
                  </a:cubicBezTo>
                  <a:lnTo>
                    <a:pt x="82" y="62"/>
                  </a:lnTo>
                  <a:cubicBezTo>
                    <a:pt x="82" y="42"/>
                    <a:pt x="82" y="42"/>
                    <a:pt x="82" y="21"/>
                  </a:cubicBezTo>
                  <a:cubicBezTo>
                    <a:pt x="102" y="21"/>
                    <a:pt x="102" y="0"/>
                    <a:pt x="123" y="0"/>
                  </a:cubicBezTo>
                  <a:cubicBezTo>
                    <a:pt x="123" y="0"/>
                    <a:pt x="143" y="21"/>
                    <a:pt x="164" y="21"/>
                  </a:cubicBezTo>
                  <a:lnTo>
                    <a:pt x="164" y="21"/>
                  </a:lnTo>
                  <a:lnTo>
                    <a:pt x="184" y="42"/>
                  </a:lnTo>
                  <a:cubicBezTo>
                    <a:pt x="184" y="42"/>
                    <a:pt x="205" y="42"/>
                    <a:pt x="225" y="42"/>
                  </a:cubicBezTo>
                  <a:cubicBezTo>
                    <a:pt x="225" y="42"/>
                    <a:pt x="225" y="42"/>
                    <a:pt x="246" y="42"/>
                  </a:cubicBezTo>
                  <a:cubicBezTo>
                    <a:pt x="246" y="62"/>
                    <a:pt x="266" y="62"/>
                    <a:pt x="266" y="62"/>
                  </a:cubicBezTo>
                  <a:lnTo>
                    <a:pt x="287" y="62"/>
                  </a:lnTo>
                  <a:cubicBezTo>
                    <a:pt x="307" y="62"/>
                    <a:pt x="307" y="82"/>
                    <a:pt x="307" y="82"/>
                  </a:cubicBezTo>
                  <a:cubicBezTo>
                    <a:pt x="328" y="82"/>
                    <a:pt x="328" y="82"/>
                    <a:pt x="328" y="82"/>
                  </a:cubicBezTo>
                  <a:cubicBezTo>
                    <a:pt x="348" y="82"/>
                    <a:pt x="369" y="82"/>
                    <a:pt x="369" y="82"/>
                  </a:cubicBezTo>
                  <a:cubicBezTo>
                    <a:pt x="369" y="82"/>
                    <a:pt x="389" y="82"/>
                    <a:pt x="389" y="103"/>
                  </a:cubicBezTo>
                  <a:lnTo>
                    <a:pt x="389" y="103"/>
                  </a:lnTo>
                  <a:cubicBezTo>
                    <a:pt x="410" y="124"/>
                    <a:pt x="410" y="144"/>
                    <a:pt x="410" y="144"/>
                  </a:cubicBezTo>
                  <a:cubicBezTo>
                    <a:pt x="410" y="144"/>
                    <a:pt x="410" y="164"/>
                    <a:pt x="410" y="185"/>
                  </a:cubicBezTo>
                  <a:lnTo>
                    <a:pt x="389" y="205"/>
                  </a:lnTo>
                  <a:cubicBezTo>
                    <a:pt x="389" y="205"/>
                    <a:pt x="410" y="226"/>
                    <a:pt x="410" y="246"/>
                  </a:cubicBezTo>
                  <a:cubicBezTo>
                    <a:pt x="410" y="246"/>
                    <a:pt x="410" y="246"/>
                    <a:pt x="410" y="267"/>
                  </a:cubicBezTo>
                  <a:lnTo>
                    <a:pt x="410" y="287"/>
                  </a:lnTo>
                  <a:lnTo>
                    <a:pt x="430" y="287"/>
                  </a:lnTo>
                  <a:cubicBezTo>
                    <a:pt x="430" y="308"/>
                    <a:pt x="451" y="328"/>
                    <a:pt x="451" y="328"/>
                  </a:cubicBezTo>
                  <a:cubicBezTo>
                    <a:pt x="451" y="349"/>
                    <a:pt x="451" y="349"/>
                    <a:pt x="451" y="369"/>
                  </a:cubicBezTo>
                  <a:cubicBezTo>
                    <a:pt x="451" y="369"/>
                    <a:pt x="451" y="390"/>
                    <a:pt x="451" y="410"/>
                  </a:cubicBezTo>
                  <a:lnTo>
                    <a:pt x="451" y="431"/>
                  </a:lnTo>
                  <a:lnTo>
                    <a:pt x="430" y="451"/>
                  </a:lnTo>
                  <a:cubicBezTo>
                    <a:pt x="430" y="472"/>
                    <a:pt x="430" y="472"/>
                    <a:pt x="430" y="492"/>
                  </a:cubicBezTo>
                  <a:cubicBezTo>
                    <a:pt x="451" y="492"/>
                    <a:pt x="451" y="513"/>
                    <a:pt x="451" y="513"/>
                  </a:cubicBezTo>
                  <a:lnTo>
                    <a:pt x="451" y="533"/>
                  </a:lnTo>
                  <a:cubicBezTo>
                    <a:pt x="451" y="554"/>
                    <a:pt x="451" y="554"/>
                    <a:pt x="430" y="554"/>
                  </a:cubicBezTo>
                  <a:lnTo>
                    <a:pt x="410" y="554"/>
                  </a:lnTo>
                  <a:lnTo>
                    <a:pt x="389" y="554"/>
                  </a:lnTo>
                  <a:lnTo>
                    <a:pt x="369" y="574"/>
                  </a:lnTo>
                  <a:lnTo>
                    <a:pt x="348" y="595"/>
                  </a:lnTo>
                  <a:lnTo>
                    <a:pt x="348" y="615"/>
                  </a:lnTo>
                  <a:cubicBezTo>
                    <a:pt x="328" y="615"/>
                    <a:pt x="328" y="615"/>
                    <a:pt x="328" y="636"/>
                  </a:cubicBezTo>
                  <a:lnTo>
                    <a:pt x="348" y="656"/>
                  </a:lnTo>
                  <a:lnTo>
                    <a:pt x="328" y="677"/>
                  </a:lnTo>
                  <a:cubicBezTo>
                    <a:pt x="328" y="697"/>
                    <a:pt x="328" y="697"/>
                    <a:pt x="328" y="718"/>
                  </a:cubicBezTo>
                  <a:cubicBezTo>
                    <a:pt x="328" y="718"/>
                    <a:pt x="328" y="718"/>
                    <a:pt x="328" y="738"/>
                  </a:cubicBezTo>
                  <a:cubicBezTo>
                    <a:pt x="328" y="738"/>
                    <a:pt x="328" y="738"/>
                    <a:pt x="328" y="759"/>
                  </a:cubicBezTo>
                  <a:lnTo>
                    <a:pt x="328" y="779"/>
                  </a:lnTo>
                  <a:cubicBezTo>
                    <a:pt x="348" y="779"/>
                    <a:pt x="348" y="779"/>
                    <a:pt x="348" y="779"/>
                  </a:cubicBezTo>
                  <a:cubicBezTo>
                    <a:pt x="348" y="800"/>
                    <a:pt x="369" y="779"/>
                    <a:pt x="369" y="800"/>
                  </a:cubicBezTo>
                  <a:lnTo>
                    <a:pt x="389" y="800"/>
                  </a:lnTo>
                  <a:cubicBezTo>
                    <a:pt x="389" y="820"/>
                    <a:pt x="389" y="820"/>
                    <a:pt x="389" y="841"/>
                  </a:cubicBezTo>
                  <a:cubicBezTo>
                    <a:pt x="369" y="841"/>
                    <a:pt x="369" y="841"/>
                    <a:pt x="369" y="861"/>
                  </a:cubicBezTo>
                  <a:cubicBezTo>
                    <a:pt x="369" y="861"/>
                    <a:pt x="369" y="881"/>
                    <a:pt x="389" y="881"/>
                  </a:cubicBezTo>
                  <a:cubicBezTo>
                    <a:pt x="389" y="881"/>
                    <a:pt x="389" y="881"/>
                    <a:pt x="389" y="902"/>
                  </a:cubicBezTo>
                  <a:cubicBezTo>
                    <a:pt x="410" y="902"/>
                    <a:pt x="410" y="923"/>
                    <a:pt x="410" y="923"/>
                  </a:cubicBezTo>
                  <a:cubicBezTo>
                    <a:pt x="410" y="923"/>
                    <a:pt x="410" y="943"/>
                    <a:pt x="410" y="96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19" name="Freeform 616">
              <a:extLst>
                <a:ext uri="{FF2B5EF4-FFF2-40B4-BE49-F238E27FC236}">
                  <a16:creationId xmlns:a16="http://schemas.microsoft.com/office/drawing/2014/main" id="{7D0F7309-54E0-3544-95A8-2EE9FEEB9B48}"/>
                </a:ext>
              </a:extLst>
            </p:cNvPr>
            <p:cNvSpPr>
              <a:spLocks noChangeArrowheads="1"/>
            </p:cNvSpPr>
            <p:nvPr/>
          </p:nvSpPr>
          <p:spPr bwMode="auto">
            <a:xfrm>
              <a:off x="6099175" y="6426200"/>
              <a:ext cx="15875" cy="22225"/>
            </a:xfrm>
            <a:custGeom>
              <a:avLst/>
              <a:gdLst>
                <a:gd name="T0" fmla="*/ 20 w 42"/>
                <a:gd name="T1" fmla="*/ 42 h 63"/>
                <a:gd name="T2" fmla="*/ 20 w 42"/>
                <a:gd name="T3" fmla="*/ 42 h 63"/>
                <a:gd name="T4" fmla="*/ 41 w 42"/>
                <a:gd name="T5" fmla="*/ 42 h 63"/>
                <a:gd name="T6" fmla="*/ 20 w 42"/>
                <a:gd name="T7" fmla="*/ 21 h 63"/>
                <a:gd name="T8" fmla="*/ 0 w 42"/>
                <a:gd name="T9" fmla="*/ 0 h 63"/>
                <a:gd name="T10" fmla="*/ 0 w 42"/>
                <a:gd name="T11" fmla="*/ 21 h 63"/>
                <a:gd name="T12" fmla="*/ 0 w 42"/>
                <a:gd name="T13" fmla="*/ 42 h 63"/>
                <a:gd name="T14" fmla="*/ 0 w 42"/>
                <a:gd name="T15" fmla="*/ 42 h 63"/>
                <a:gd name="T16" fmla="*/ 20 w 42"/>
                <a:gd name="T17" fmla="*/ 62 h 63"/>
                <a:gd name="T18" fmla="*/ 20 w 42"/>
                <a:gd name="T19" fmla="*/ 4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3">
                  <a:moveTo>
                    <a:pt x="20" y="42"/>
                  </a:moveTo>
                  <a:lnTo>
                    <a:pt x="20" y="42"/>
                  </a:lnTo>
                  <a:lnTo>
                    <a:pt x="41" y="42"/>
                  </a:lnTo>
                  <a:cubicBezTo>
                    <a:pt x="41" y="21"/>
                    <a:pt x="20" y="21"/>
                    <a:pt x="20" y="21"/>
                  </a:cubicBezTo>
                  <a:cubicBezTo>
                    <a:pt x="20" y="0"/>
                    <a:pt x="20" y="0"/>
                    <a:pt x="0" y="0"/>
                  </a:cubicBezTo>
                  <a:cubicBezTo>
                    <a:pt x="0" y="21"/>
                    <a:pt x="0" y="21"/>
                    <a:pt x="0" y="21"/>
                  </a:cubicBezTo>
                  <a:cubicBezTo>
                    <a:pt x="0" y="21"/>
                    <a:pt x="0" y="21"/>
                    <a:pt x="0" y="42"/>
                  </a:cubicBezTo>
                  <a:lnTo>
                    <a:pt x="0" y="42"/>
                  </a:lnTo>
                  <a:cubicBezTo>
                    <a:pt x="0" y="62"/>
                    <a:pt x="0" y="62"/>
                    <a:pt x="20" y="62"/>
                  </a:cubicBezTo>
                  <a:lnTo>
                    <a:pt x="20" y="4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0" name="Freeform 617">
              <a:extLst>
                <a:ext uri="{FF2B5EF4-FFF2-40B4-BE49-F238E27FC236}">
                  <a16:creationId xmlns:a16="http://schemas.microsoft.com/office/drawing/2014/main" id="{2589C067-31A6-1143-8611-CA6DD97EB493}"/>
                </a:ext>
              </a:extLst>
            </p:cNvPr>
            <p:cNvSpPr>
              <a:spLocks noChangeArrowheads="1"/>
            </p:cNvSpPr>
            <p:nvPr/>
          </p:nvSpPr>
          <p:spPr bwMode="auto">
            <a:xfrm>
              <a:off x="6069013" y="6442075"/>
              <a:ext cx="15875" cy="7938"/>
            </a:xfrm>
            <a:custGeom>
              <a:avLst/>
              <a:gdLst>
                <a:gd name="T0" fmla="*/ 41 w 42"/>
                <a:gd name="T1" fmla="*/ 20 h 21"/>
                <a:gd name="T2" fmla="*/ 41 w 42"/>
                <a:gd name="T3" fmla="*/ 20 h 21"/>
                <a:gd name="T4" fmla="*/ 0 w 42"/>
                <a:gd name="T5" fmla="*/ 20 h 21"/>
                <a:gd name="T6" fmla="*/ 0 w 42"/>
                <a:gd name="T7" fmla="*/ 20 h 21"/>
                <a:gd name="T8" fmla="*/ 0 w 42"/>
                <a:gd name="T9" fmla="*/ 0 h 21"/>
                <a:gd name="T10" fmla="*/ 20 w 42"/>
                <a:gd name="T11" fmla="*/ 0 h 21"/>
                <a:gd name="T12" fmla="*/ 41 w 42"/>
                <a:gd name="T13" fmla="*/ 0 h 21"/>
                <a:gd name="T14" fmla="*/ 41 w 42"/>
                <a:gd name="T15" fmla="*/ 2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1">
                  <a:moveTo>
                    <a:pt x="41" y="20"/>
                  </a:moveTo>
                  <a:lnTo>
                    <a:pt x="41" y="20"/>
                  </a:lnTo>
                  <a:cubicBezTo>
                    <a:pt x="20" y="20"/>
                    <a:pt x="20" y="20"/>
                    <a:pt x="0" y="20"/>
                  </a:cubicBezTo>
                  <a:lnTo>
                    <a:pt x="0" y="20"/>
                  </a:lnTo>
                  <a:lnTo>
                    <a:pt x="0" y="0"/>
                  </a:lnTo>
                  <a:lnTo>
                    <a:pt x="20" y="0"/>
                  </a:lnTo>
                  <a:lnTo>
                    <a:pt x="41" y="0"/>
                  </a:lnTo>
                  <a:cubicBezTo>
                    <a:pt x="41" y="0"/>
                    <a:pt x="41" y="0"/>
                    <a:pt x="4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1" name="Freeform 618">
              <a:extLst>
                <a:ext uri="{FF2B5EF4-FFF2-40B4-BE49-F238E27FC236}">
                  <a16:creationId xmlns:a16="http://schemas.microsoft.com/office/drawing/2014/main" id="{B4211652-3637-AF4D-8E8A-D1C3DFDE8380}"/>
                </a:ext>
              </a:extLst>
            </p:cNvPr>
            <p:cNvSpPr>
              <a:spLocks noChangeArrowheads="1"/>
            </p:cNvSpPr>
            <p:nvPr/>
          </p:nvSpPr>
          <p:spPr bwMode="auto">
            <a:xfrm>
              <a:off x="6054725" y="6411913"/>
              <a:ext cx="15875" cy="22225"/>
            </a:xfrm>
            <a:custGeom>
              <a:avLst/>
              <a:gdLst>
                <a:gd name="T0" fmla="*/ 41 w 42"/>
                <a:gd name="T1" fmla="*/ 61 h 62"/>
                <a:gd name="T2" fmla="*/ 41 w 42"/>
                <a:gd name="T3" fmla="*/ 61 h 62"/>
                <a:gd name="T4" fmla="*/ 20 w 42"/>
                <a:gd name="T5" fmla="*/ 40 h 62"/>
                <a:gd name="T6" fmla="*/ 0 w 42"/>
                <a:gd name="T7" fmla="*/ 20 h 62"/>
                <a:gd name="T8" fmla="*/ 0 w 42"/>
                <a:gd name="T9" fmla="*/ 0 h 62"/>
                <a:gd name="T10" fmla="*/ 0 w 42"/>
                <a:gd name="T11" fmla="*/ 0 h 62"/>
                <a:gd name="T12" fmla="*/ 20 w 42"/>
                <a:gd name="T13" fmla="*/ 0 h 62"/>
                <a:gd name="T14" fmla="*/ 20 w 42"/>
                <a:gd name="T15" fmla="*/ 20 h 62"/>
                <a:gd name="T16" fmla="*/ 41 w 42"/>
                <a:gd name="T17" fmla="*/ 40 h 62"/>
                <a:gd name="T18" fmla="*/ 41 w 42"/>
                <a:gd name="T19" fmla="*/ 6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2">
                  <a:moveTo>
                    <a:pt x="41" y="61"/>
                  </a:moveTo>
                  <a:lnTo>
                    <a:pt x="41" y="61"/>
                  </a:lnTo>
                  <a:cubicBezTo>
                    <a:pt x="20" y="61"/>
                    <a:pt x="20" y="61"/>
                    <a:pt x="20" y="40"/>
                  </a:cubicBezTo>
                  <a:cubicBezTo>
                    <a:pt x="0" y="40"/>
                    <a:pt x="0" y="20"/>
                    <a:pt x="0" y="20"/>
                  </a:cubicBezTo>
                  <a:lnTo>
                    <a:pt x="0" y="0"/>
                  </a:lnTo>
                  <a:lnTo>
                    <a:pt x="0" y="0"/>
                  </a:lnTo>
                  <a:cubicBezTo>
                    <a:pt x="20" y="0"/>
                    <a:pt x="20" y="0"/>
                    <a:pt x="20" y="0"/>
                  </a:cubicBezTo>
                  <a:cubicBezTo>
                    <a:pt x="20" y="20"/>
                    <a:pt x="20" y="20"/>
                    <a:pt x="20" y="20"/>
                  </a:cubicBezTo>
                  <a:lnTo>
                    <a:pt x="41" y="40"/>
                  </a:lnTo>
                  <a:cubicBezTo>
                    <a:pt x="41" y="40"/>
                    <a:pt x="41" y="40"/>
                    <a:pt x="41" y="6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2" name="Freeform 619">
              <a:extLst>
                <a:ext uri="{FF2B5EF4-FFF2-40B4-BE49-F238E27FC236}">
                  <a16:creationId xmlns:a16="http://schemas.microsoft.com/office/drawing/2014/main" id="{77A147D0-41E1-3F43-8F34-22103BF99D57}"/>
                </a:ext>
              </a:extLst>
            </p:cNvPr>
            <p:cNvSpPr>
              <a:spLocks noChangeArrowheads="1"/>
            </p:cNvSpPr>
            <p:nvPr/>
          </p:nvSpPr>
          <p:spPr bwMode="auto">
            <a:xfrm>
              <a:off x="6091238" y="6389688"/>
              <a:ext cx="15875" cy="7937"/>
            </a:xfrm>
            <a:custGeom>
              <a:avLst/>
              <a:gdLst>
                <a:gd name="T0" fmla="*/ 41 w 42"/>
                <a:gd name="T1" fmla="*/ 0 h 21"/>
                <a:gd name="T2" fmla="*/ 41 w 42"/>
                <a:gd name="T3" fmla="*/ 0 h 21"/>
                <a:gd name="T4" fmla="*/ 21 w 42"/>
                <a:gd name="T5" fmla="*/ 0 h 21"/>
                <a:gd name="T6" fmla="*/ 0 w 42"/>
                <a:gd name="T7" fmla="*/ 20 h 21"/>
                <a:gd name="T8" fmla="*/ 21 w 42"/>
                <a:gd name="T9" fmla="*/ 20 h 21"/>
                <a:gd name="T10" fmla="*/ 41 w 42"/>
                <a:gd name="T11" fmla="*/ 20 h 21"/>
                <a:gd name="T12" fmla="*/ 41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41" y="0"/>
                  </a:moveTo>
                  <a:lnTo>
                    <a:pt x="41" y="0"/>
                  </a:lnTo>
                  <a:cubicBezTo>
                    <a:pt x="21" y="0"/>
                    <a:pt x="21" y="0"/>
                    <a:pt x="21" y="0"/>
                  </a:cubicBezTo>
                  <a:cubicBezTo>
                    <a:pt x="21" y="0"/>
                    <a:pt x="0" y="0"/>
                    <a:pt x="0" y="20"/>
                  </a:cubicBezTo>
                  <a:lnTo>
                    <a:pt x="21" y="20"/>
                  </a:lnTo>
                  <a:cubicBezTo>
                    <a:pt x="21" y="20"/>
                    <a:pt x="21" y="20"/>
                    <a:pt x="41" y="20"/>
                  </a:cubicBezTo>
                  <a:cubicBezTo>
                    <a:pt x="41" y="20"/>
                    <a:pt x="41" y="20"/>
                    <a:pt x="4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3" name="Freeform 620">
              <a:extLst>
                <a:ext uri="{FF2B5EF4-FFF2-40B4-BE49-F238E27FC236}">
                  <a16:creationId xmlns:a16="http://schemas.microsoft.com/office/drawing/2014/main" id="{F00A5BF1-E08C-6E44-92C1-F42646760FAF}"/>
                </a:ext>
              </a:extLst>
            </p:cNvPr>
            <p:cNvSpPr>
              <a:spLocks noChangeArrowheads="1"/>
            </p:cNvSpPr>
            <p:nvPr/>
          </p:nvSpPr>
          <p:spPr bwMode="auto">
            <a:xfrm>
              <a:off x="6069013" y="6397625"/>
              <a:ext cx="15875" cy="15875"/>
            </a:xfrm>
            <a:custGeom>
              <a:avLst/>
              <a:gdLst>
                <a:gd name="T0" fmla="*/ 20 w 42"/>
                <a:gd name="T1" fmla="*/ 21 h 43"/>
                <a:gd name="T2" fmla="*/ 20 w 42"/>
                <a:gd name="T3" fmla="*/ 21 h 43"/>
                <a:gd name="T4" fmla="*/ 20 w 42"/>
                <a:gd name="T5" fmla="*/ 0 h 43"/>
                <a:gd name="T6" fmla="*/ 0 w 42"/>
                <a:gd name="T7" fmla="*/ 21 h 43"/>
                <a:gd name="T8" fmla="*/ 0 w 42"/>
                <a:gd name="T9" fmla="*/ 42 h 43"/>
                <a:gd name="T10" fmla="*/ 20 w 42"/>
                <a:gd name="T11" fmla="*/ 42 h 43"/>
                <a:gd name="T12" fmla="*/ 41 w 42"/>
                <a:gd name="T13" fmla="*/ 42 h 43"/>
                <a:gd name="T14" fmla="*/ 20 w 42"/>
                <a:gd name="T15" fmla="*/ 21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20" y="21"/>
                  </a:moveTo>
                  <a:lnTo>
                    <a:pt x="20" y="21"/>
                  </a:lnTo>
                  <a:lnTo>
                    <a:pt x="20" y="0"/>
                  </a:lnTo>
                  <a:cubicBezTo>
                    <a:pt x="0" y="0"/>
                    <a:pt x="0" y="21"/>
                    <a:pt x="0" y="21"/>
                  </a:cubicBezTo>
                  <a:cubicBezTo>
                    <a:pt x="0" y="21"/>
                    <a:pt x="0" y="21"/>
                    <a:pt x="0" y="42"/>
                  </a:cubicBezTo>
                  <a:lnTo>
                    <a:pt x="20" y="42"/>
                  </a:lnTo>
                  <a:lnTo>
                    <a:pt x="41" y="42"/>
                  </a:lnTo>
                  <a:cubicBezTo>
                    <a:pt x="41" y="21"/>
                    <a:pt x="41"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4" name="Freeform 621">
              <a:extLst>
                <a:ext uri="{FF2B5EF4-FFF2-40B4-BE49-F238E27FC236}">
                  <a16:creationId xmlns:a16="http://schemas.microsoft.com/office/drawing/2014/main" id="{80F16D6F-ACC5-9049-BA69-98ECBF4371B6}"/>
                </a:ext>
              </a:extLst>
            </p:cNvPr>
            <p:cNvSpPr>
              <a:spLocks noChangeArrowheads="1"/>
            </p:cNvSpPr>
            <p:nvPr/>
          </p:nvSpPr>
          <p:spPr bwMode="auto">
            <a:xfrm>
              <a:off x="4733925" y="7326313"/>
              <a:ext cx="30163" cy="30162"/>
            </a:xfrm>
            <a:custGeom>
              <a:avLst/>
              <a:gdLst>
                <a:gd name="T0" fmla="*/ 82 w 83"/>
                <a:gd name="T1" fmla="*/ 21 h 83"/>
                <a:gd name="T2" fmla="*/ 82 w 83"/>
                <a:gd name="T3" fmla="*/ 21 h 83"/>
                <a:gd name="T4" fmla="*/ 82 w 83"/>
                <a:gd name="T5" fmla="*/ 0 h 83"/>
                <a:gd name="T6" fmla="*/ 62 w 83"/>
                <a:gd name="T7" fmla="*/ 0 h 83"/>
                <a:gd name="T8" fmla="*/ 20 w 83"/>
                <a:gd name="T9" fmla="*/ 0 h 83"/>
                <a:gd name="T10" fmla="*/ 0 w 83"/>
                <a:gd name="T11" fmla="*/ 21 h 83"/>
                <a:gd name="T12" fmla="*/ 0 w 83"/>
                <a:gd name="T13" fmla="*/ 41 h 83"/>
                <a:gd name="T14" fmla="*/ 20 w 83"/>
                <a:gd name="T15" fmla="*/ 62 h 83"/>
                <a:gd name="T16" fmla="*/ 20 w 83"/>
                <a:gd name="T17" fmla="*/ 62 h 83"/>
                <a:gd name="T18" fmla="*/ 62 w 83"/>
                <a:gd name="T19" fmla="*/ 62 h 83"/>
                <a:gd name="T20" fmla="*/ 62 w 83"/>
                <a:gd name="T21" fmla="*/ 41 h 83"/>
                <a:gd name="T22" fmla="*/ 82 w 83"/>
                <a:gd name="T23" fmla="*/ 2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3">
                  <a:moveTo>
                    <a:pt x="82" y="21"/>
                  </a:moveTo>
                  <a:lnTo>
                    <a:pt x="82" y="21"/>
                  </a:lnTo>
                  <a:lnTo>
                    <a:pt x="82" y="0"/>
                  </a:lnTo>
                  <a:lnTo>
                    <a:pt x="62" y="0"/>
                  </a:lnTo>
                  <a:cubicBezTo>
                    <a:pt x="41" y="0"/>
                    <a:pt x="41" y="0"/>
                    <a:pt x="20" y="0"/>
                  </a:cubicBezTo>
                  <a:cubicBezTo>
                    <a:pt x="20" y="0"/>
                    <a:pt x="20" y="0"/>
                    <a:pt x="0" y="21"/>
                  </a:cubicBezTo>
                  <a:cubicBezTo>
                    <a:pt x="0" y="21"/>
                    <a:pt x="0" y="21"/>
                    <a:pt x="0" y="41"/>
                  </a:cubicBezTo>
                  <a:lnTo>
                    <a:pt x="20" y="62"/>
                  </a:lnTo>
                  <a:lnTo>
                    <a:pt x="20" y="62"/>
                  </a:lnTo>
                  <a:cubicBezTo>
                    <a:pt x="41" y="82"/>
                    <a:pt x="41" y="82"/>
                    <a:pt x="62" y="62"/>
                  </a:cubicBezTo>
                  <a:cubicBezTo>
                    <a:pt x="62" y="62"/>
                    <a:pt x="62" y="62"/>
                    <a:pt x="62" y="41"/>
                  </a:cubicBezTo>
                  <a:cubicBezTo>
                    <a:pt x="62" y="41"/>
                    <a:pt x="82" y="41"/>
                    <a:pt x="82"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5" name="Freeform 622">
              <a:extLst>
                <a:ext uri="{FF2B5EF4-FFF2-40B4-BE49-F238E27FC236}">
                  <a16:creationId xmlns:a16="http://schemas.microsoft.com/office/drawing/2014/main" id="{883BB85C-533D-E24B-A75E-FC24308720CB}"/>
                </a:ext>
              </a:extLst>
            </p:cNvPr>
            <p:cNvSpPr>
              <a:spLocks noChangeArrowheads="1"/>
            </p:cNvSpPr>
            <p:nvPr/>
          </p:nvSpPr>
          <p:spPr bwMode="auto">
            <a:xfrm>
              <a:off x="4830763" y="7200900"/>
              <a:ext cx="15875" cy="22225"/>
            </a:xfrm>
            <a:custGeom>
              <a:avLst/>
              <a:gdLst>
                <a:gd name="T0" fmla="*/ 41 w 42"/>
                <a:gd name="T1" fmla="*/ 41 h 62"/>
                <a:gd name="T2" fmla="*/ 41 w 42"/>
                <a:gd name="T3" fmla="*/ 41 h 62"/>
                <a:gd name="T4" fmla="*/ 41 w 42"/>
                <a:gd name="T5" fmla="*/ 61 h 62"/>
                <a:gd name="T6" fmla="*/ 21 w 42"/>
                <a:gd name="T7" fmla="*/ 61 h 62"/>
                <a:gd name="T8" fmla="*/ 0 w 42"/>
                <a:gd name="T9" fmla="*/ 41 h 62"/>
                <a:gd name="T10" fmla="*/ 21 w 42"/>
                <a:gd name="T11" fmla="*/ 21 h 62"/>
                <a:gd name="T12" fmla="*/ 21 w 42"/>
                <a:gd name="T13" fmla="*/ 0 h 62"/>
                <a:gd name="T14" fmla="*/ 41 w 42"/>
                <a:gd name="T15" fmla="*/ 21 h 62"/>
                <a:gd name="T16" fmla="*/ 41 w 42"/>
                <a:gd name="T17" fmla="*/ 21 h 62"/>
                <a:gd name="T18" fmla="*/ 41 w 42"/>
                <a:gd name="T19" fmla="*/ 4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2">
                  <a:moveTo>
                    <a:pt x="41" y="41"/>
                  </a:moveTo>
                  <a:lnTo>
                    <a:pt x="41" y="41"/>
                  </a:lnTo>
                  <a:lnTo>
                    <a:pt x="41" y="61"/>
                  </a:lnTo>
                  <a:lnTo>
                    <a:pt x="21" y="61"/>
                  </a:lnTo>
                  <a:lnTo>
                    <a:pt x="0" y="41"/>
                  </a:lnTo>
                  <a:cubicBezTo>
                    <a:pt x="0" y="21"/>
                    <a:pt x="0" y="21"/>
                    <a:pt x="21" y="21"/>
                  </a:cubicBezTo>
                  <a:lnTo>
                    <a:pt x="21" y="0"/>
                  </a:lnTo>
                  <a:lnTo>
                    <a:pt x="41" y="21"/>
                  </a:lnTo>
                  <a:lnTo>
                    <a:pt x="41" y="21"/>
                  </a:lnTo>
                  <a:lnTo>
                    <a:pt x="41"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6" name="Freeform 623">
              <a:extLst>
                <a:ext uri="{FF2B5EF4-FFF2-40B4-BE49-F238E27FC236}">
                  <a16:creationId xmlns:a16="http://schemas.microsoft.com/office/drawing/2014/main" id="{91E4E44A-9AC2-0745-B7CE-24CEDD6185E3}"/>
                </a:ext>
              </a:extLst>
            </p:cNvPr>
            <p:cNvSpPr>
              <a:spLocks noChangeArrowheads="1"/>
            </p:cNvSpPr>
            <p:nvPr/>
          </p:nvSpPr>
          <p:spPr bwMode="auto">
            <a:xfrm>
              <a:off x="4808538" y="7194550"/>
              <a:ext cx="15875" cy="15875"/>
            </a:xfrm>
            <a:custGeom>
              <a:avLst/>
              <a:gdLst>
                <a:gd name="T0" fmla="*/ 41 w 42"/>
                <a:gd name="T1" fmla="*/ 42 h 43"/>
                <a:gd name="T2" fmla="*/ 41 w 42"/>
                <a:gd name="T3" fmla="*/ 42 h 43"/>
                <a:gd name="T4" fmla="*/ 21 w 42"/>
                <a:gd name="T5" fmla="*/ 42 h 43"/>
                <a:gd name="T6" fmla="*/ 0 w 42"/>
                <a:gd name="T7" fmla="*/ 21 h 43"/>
                <a:gd name="T8" fmla="*/ 21 w 42"/>
                <a:gd name="T9" fmla="*/ 21 h 43"/>
                <a:gd name="T10" fmla="*/ 41 w 42"/>
                <a:gd name="T11" fmla="*/ 21 h 43"/>
                <a:gd name="T12" fmla="*/ 41 w 42"/>
                <a:gd name="T13" fmla="*/ 21 h 43"/>
                <a:gd name="T14" fmla="*/ 41 w 42"/>
                <a:gd name="T15" fmla="*/ 4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41" y="42"/>
                  </a:moveTo>
                  <a:lnTo>
                    <a:pt x="41" y="42"/>
                  </a:lnTo>
                  <a:lnTo>
                    <a:pt x="21" y="42"/>
                  </a:lnTo>
                  <a:cubicBezTo>
                    <a:pt x="21" y="42"/>
                    <a:pt x="21" y="21"/>
                    <a:pt x="0" y="21"/>
                  </a:cubicBezTo>
                  <a:lnTo>
                    <a:pt x="21" y="21"/>
                  </a:lnTo>
                  <a:cubicBezTo>
                    <a:pt x="21" y="0"/>
                    <a:pt x="21" y="21"/>
                    <a:pt x="41" y="21"/>
                  </a:cubicBezTo>
                  <a:lnTo>
                    <a:pt x="41" y="21"/>
                  </a:lnTo>
                  <a:lnTo>
                    <a:pt x="41" y="4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7" name="Freeform 624">
              <a:extLst>
                <a:ext uri="{FF2B5EF4-FFF2-40B4-BE49-F238E27FC236}">
                  <a16:creationId xmlns:a16="http://schemas.microsoft.com/office/drawing/2014/main" id="{F88F7A96-538B-B149-AD2D-1336FB4B6C32}"/>
                </a:ext>
              </a:extLst>
            </p:cNvPr>
            <p:cNvSpPr>
              <a:spLocks noChangeArrowheads="1"/>
            </p:cNvSpPr>
            <p:nvPr/>
          </p:nvSpPr>
          <p:spPr bwMode="auto">
            <a:xfrm>
              <a:off x="4608513" y="6361113"/>
              <a:ext cx="531812" cy="1150937"/>
            </a:xfrm>
            <a:custGeom>
              <a:avLst/>
              <a:gdLst>
                <a:gd name="T0" fmla="*/ 492 w 1476"/>
                <a:gd name="T1" fmla="*/ 41 h 3197"/>
                <a:gd name="T2" fmla="*/ 574 w 1476"/>
                <a:gd name="T3" fmla="*/ 164 h 3197"/>
                <a:gd name="T4" fmla="*/ 655 w 1476"/>
                <a:gd name="T5" fmla="*/ 369 h 3197"/>
                <a:gd name="T6" fmla="*/ 635 w 1476"/>
                <a:gd name="T7" fmla="*/ 574 h 3197"/>
                <a:gd name="T8" fmla="*/ 778 w 1476"/>
                <a:gd name="T9" fmla="*/ 512 h 3197"/>
                <a:gd name="T10" fmla="*/ 880 w 1476"/>
                <a:gd name="T11" fmla="*/ 553 h 3197"/>
                <a:gd name="T12" fmla="*/ 1024 w 1476"/>
                <a:gd name="T13" fmla="*/ 471 h 3197"/>
                <a:gd name="T14" fmla="*/ 1188 w 1476"/>
                <a:gd name="T15" fmla="*/ 451 h 3197"/>
                <a:gd name="T16" fmla="*/ 1290 w 1476"/>
                <a:gd name="T17" fmla="*/ 676 h 3197"/>
                <a:gd name="T18" fmla="*/ 1393 w 1476"/>
                <a:gd name="T19" fmla="*/ 902 h 3197"/>
                <a:gd name="T20" fmla="*/ 1454 w 1476"/>
                <a:gd name="T21" fmla="*/ 1127 h 3197"/>
                <a:gd name="T22" fmla="*/ 1434 w 1476"/>
                <a:gd name="T23" fmla="*/ 1311 h 3197"/>
                <a:gd name="T24" fmla="*/ 1290 w 1476"/>
                <a:gd name="T25" fmla="*/ 1291 h 3197"/>
                <a:gd name="T26" fmla="*/ 1044 w 1476"/>
                <a:gd name="T27" fmla="*/ 1373 h 3197"/>
                <a:gd name="T28" fmla="*/ 962 w 1476"/>
                <a:gd name="T29" fmla="*/ 1639 h 3197"/>
                <a:gd name="T30" fmla="*/ 1106 w 1476"/>
                <a:gd name="T31" fmla="*/ 1865 h 3197"/>
                <a:gd name="T32" fmla="*/ 1044 w 1476"/>
                <a:gd name="T33" fmla="*/ 1803 h 3197"/>
                <a:gd name="T34" fmla="*/ 983 w 1476"/>
                <a:gd name="T35" fmla="*/ 1783 h 3197"/>
                <a:gd name="T36" fmla="*/ 922 w 1476"/>
                <a:gd name="T37" fmla="*/ 1721 h 3197"/>
                <a:gd name="T38" fmla="*/ 819 w 1476"/>
                <a:gd name="T39" fmla="*/ 1681 h 3197"/>
                <a:gd name="T40" fmla="*/ 737 w 1476"/>
                <a:gd name="T41" fmla="*/ 1660 h 3197"/>
                <a:gd name="T42" fmla="*/ 737 w 1476"/>
                <a:gd name="T43" fmla="*/ 1557 h 3197"/>
                <a:gd name="T44" fmla="*/ 655 w 1476"/>
                <a:gd name="T45" fmla="*/ 1496 h 3197"/>
                <a:gd name="T46" fmla="*/ 553 w 1476"/>
                <a:gd name="T47" fmla="*/ 1537 h 3197"/>
                <a:gd name="T48" fmla="*/ 574 w 1476"/>
                <a:gd name="T49" fmla="*/ 1681 h 3197"/>
                <a:gd name="T50" fmla="*/ 553 w 1476"/>
                <a:gd name="T51" fmla="*/ 1865 h 3197"/>
                <a:gd name="T52" fmla="*/ 532 w 1476"/>
                <a:gd name="T53" fmla="*/ 2069 h 3197"/>
                <a:gd name="T54" fmla="*/ 492 w 1476"/>
                <a:gd name="T55" fmla="*/ 2193 h 3197"/>
                <a:gd name="T56" fmla="*/ 512 w 1476"/>
                <a:gd name="T57" fmla="*/ 2377 h 3197"/>
                <a:gd name="T58" fmla="*/ 614 w 1476"/>
                <a:gd name="T59" fmla="*/ 2500 h 3197"/>
                <a:gd name="T60" fmla="*/ 758 w 1476"/>
                <a:gd name="T61" fmla="*/ 2807 h 3197"/>
                <a:gd name="T62" fmla="*/ 901 w 1476"/>
                <a:gd name="T63" fmla="*/ 2910 h 3197"/>
                <a:gd name="T64" fmla="*/ 1044 w 1476"/>
                <a:gd name="T65" fmla="*/ 3053 h 3197"/>
                <a:gd name="T66" fmla="*/ 983 w 1476"/>
                <a:gd name="T67" fmla="*/ 3135 h 3197"/>
                <a:gd name="T68" fmla="*/ 840 w 1476"/>
                <a:gd name="T69" fmla="*/ 3196 h 3197"/>
                <a:gd name="T70" fmla="*/ 840 w 1476"/>
                <a:gd name="T71" fmla="*/ 3053 h 3197"/>
                <a:gd name="T72" fmla="*/ 716 w 1476"/>
                <a:gd name="T73" fmla="*/ 2971 h 3197"/>
                <a:gd name="T74" fmla="*/ 635 w 1476"/>
                <a:gd name="T75" fmla="*/ 2951 h 3197"/>
                <a:gd name="T76" fmla="*/ 594 w 1476"/>
                <a:gd name="T77" fmla="*/ 2828 h 3197"/>
                <a:gd name="T78" fmla="*/ 532 w 1476"/>
                <a:gd name="T79" fmla="*/ 2746 h 3197"/>
                <a:gd name="T80" fmla="*/ 471 w 1476"/>
                <a:gd name="T81" fmla="*/ 2684 h 3197"/>
                <a:gd name="T82" fmla="*/ 410 w 1476"/>
                <a:gd name="T83" fmla="*/ 2602 h 3197"/>
                <a:gd name="T84" fmla="*/ 348 w 1476"/>
                <a:gd name="T85" fmla="*/ 2623 h 3197"/>
                <a:gd name="T86" fmla="*/ 368 w 1476"/>
                <a:gd name="T87" fmla="*/ 2500 h 3197"/>
                <a:gd name="T88" fmla="*/ 389 w 1476"/>
                <a:gd name="T89" fmla="*/ 2357 h 3197"/>
                <a:gd name="T90" fmla="*/ 410 w 1476"/>
                <a:gd name="T91" fmla="*/ 2172 h 3197"/>
                <a:gd name="T92" fmla="*/ 492 w 1476"/>
                <a:gd name="T93" fmla="*/ 1947 h 3197"/>
                <a:gd name="T94" fmla="*/ 450 w 1476"/>
                <a:gd name="T95" fmla="*/ 1660 h 3197"/>
                <a:gd name="T96" fmla="*/ 430 w 1476"/>
                <a:gd name="T97" fmla="*/ 1496 h 3197"/>
                <a:gd name="T98" fmla="*/ 286 w 1476"/>
                <a:gd name="T99" fmla="*/ 1271 h 3197"/>
                <a:gd name="T100" fmla="*/ 266 w 1476"/>
                <a:gd name="T101" fmla="*/ 1107 h 3197"/>
                <a:gd name="T102" fmla="*/ 328 w 1476"/>
                <a:gd name="T103" fmla="*/ 943 h 3197"/>
                <a:gd name="T104" fmla="*/ 184 w 1476"/>
                <a:gd name="T105" fmla="*/ 738 h 3197"/>
                <a:gd name="T106" fmla="*/ 40 w 1476"/>
                <a:gd name="T107" fmla="*/ 512 h 3197"/>
                <a:gd name="T108" fmla="*/ 61 w 1476"/>
                <a:gd name="T109" fmla="*/ 390 h 3197"/>
                <a:gd name="T110" fmla="*/ 102 w 1476"/>
                <a:gd name="T111" fmla="*/ 164 h 3197"/>
                <a:gd name="T112" fmla="*/ 328 w 1476"/>
                <a:gd name="T113" fmla="*/ 20 h 3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6" h="3197">
                  <a:moveTo>
                    <a:pt x="430" y="0"/>
                  </a:moveTo>
                  <a:lnTo>
                    <a:pt x="430" y="0"/>
                  </a:lnTo>
                  <a:lnTo>
                    <a:pt x="450" y="0"/>
                  </a:lnTo>
                  <a:cubicBezTo>
                    <a:pt x="471" y="0"/>
                    <a:pt x="492" y="0"/>
                    <a:pt x="492" y="20"/>
                  </a:cubicBezTo>
                  <a:lnTo>
                    <a:pt x="492" y="41"/>
                  </a:lnTo>
                  <a:cubicBezTo>
                    <a:pt x="492" y="62"/>
                    <a:pt x="471" y="82"/>
                    <a:pt x="471" y="82"/>
                  </a:cubicBezTo>
                  <a:cubicBezTo>
                    <a:pt x="471" y="102"/>
                    <a:pt x="471" y="123"/>
                    <a:pt x="471" y="144"/>
                  </a:cubicBezTo>
                  <a:cubicBezTo>
                    <a:pt x="471" y="144"/>
                    <a:pt x="471" y="164"/>
                    <a:pt x="492" y="184"/>
                  </a:cubicBezTo>
                  <a:cubicBezTo>
                    <a:pt x="492" y="184"/>
                    <a:pt x="512" y="184"/>
                    <a:pt x="532" y="184"/>
                  </a:cubicBezTo>
                  <a:cubicBezTo>
                    <a:pt x="532" y="184"/>
                    <a:pt x="553" y="164"/>
                    <a:pt x="574" y="164"/>
                  </a:cubicBezTo>
                  <a:cubicBezTo>
                    <a:pt x="594" y="164"/>
                    <a:pt x="614" y="184"/>
                    <a:pt x="614" y="184"/>
                  </a:cubicBezTo>
                  <a:cubicBezTo>
                    <a:pt x="635" y="184"/>
                    <a:pt x="655" y="205"/>
                    <a:pt x="676" y="205"/>
                  </a:cubicBezTo>
                  <a:cubicBezTo>
                    <a:pt x="676" y="226"/>
                    <a:pt x="676" y="246"/>
                    <a:pt x="676" y="246"/>
                  </a:cubicBezTo>
                  <a:cubicBezTo>
                    <a:pt x="676" y="266"/>
                    <a:pt x="676" y="308"/>
                    <a:pt x="676" y="328"/>
                  </a:cubicBezTo>
                  <a:cubicBezTo>
                    <a:pt x="676" y="348"/>
                    <a:pt x="655" y="348"/>
                    <a:pt x="655" y="369"/>
                  </a:cubicBezTo>
                  <a:cubicBezTo>
                    <a:pt x="655" y="390"/>
                    <a:pt x="655" y="410"/>
                    <a:pt x="655" y="410"/>
                  </a:cubicBezTo>
                  <a:cubicBezTo>
                    <a:pt x="655" y="430"/>
                    <a:pt x="676" y="451"/>
                    <a:pt x="655" y="451"/>
                  </a:cubicBezTo>
                  <a:cubicBezTo>
                    <a:pt x="655" y="471"/>
                    <a:pt x="655" y="492"/>
                    <a:pt x="655" y="512"/>
                  </a:cubicBezTo>
                  <a:cubicBezTo>
                    <a:pt x="635" y="512"/>
                    <a:pt x="614" y="533"/>
                    <a:pt x="614" y="533"/>
                  </a:cubicBezTo>
                  <a:cubicBezTo>
                    <a:pt x="614" y="553"/>
                    <a:pt x="614" y="574"/>
                    <a:pt x="635" y="574"/>
                  </a:cubicBezTo>
                  <a:cubicBezTo>
                    <a:pt x="635" y="594"/>
                    <a:pt x="655" y="594"/>
                    <a:pt x="655" y="594"/>
                  </a:cubicBezTo>
                  <a:cubicBezTo>
                    <a:pt x="676" y="594"/>
                    <a:pt x="696" y="594"/>
                    <a:pt x="716" y="594"/>
                  </a:cubicBezTo>
                  <a:cubicBezTo>
                    <a:pt x="716" y="594"/>
                    <a:pt x="716" y="574"/>
                    <a:pt x="716" y="553"/>
                  </a:cubicBezTo>
                  <a:cubicBezTo>
                    <a:pt x="716" y="553"/>
                    <a:pt x="716" y="512"/>
                    <a:pt x="737" y="512"/>
                  </a:cubicBezTo>
                  <a:cubicBezTo>
                    <a:pt x="737" y="512"/>
                    <a:pt x="758" y="512"/>
                    <a:pt x="778" y="512"/>
                  </a:cubicBezTo>
                  <a:lnTo>
                    <a:pt x="798" y="492"/>
                  </a:lnTo>
                  <a:cubicBezTo>
                    <a:pt x="819" y="471"/>
                    <a:pt x="819" y="471"/>
                    <a:pt x="819" y="451"/>
                  </a:cubicBezTo>
                  <a:cubicBezTo>
                    <a:pt x="840" y="451"/>
                    <a:pt x="860" y="471"/>
                    <a:pt x="860" y="471"/>
                  </a:cubicBezTo>
                  <a:cubicBezTo>
                    <a:pt x="880" y="492"/>
                    <a:pt x="880" y="512"/>
                    <a:pt x="880" y="512"/>
                  </a:cubicBezTo>
                  <a:cubicBezTo>
                    <a:pt x="880" y="533"/>
                    <a:pt x="880" y="533"/>
                    <a:pt x="880" y="553"/>
                  </a:cubicBezTo>
                  <a:lnTo>
                    <a:pt x="901" y="574"/>
                  </a:lnTo>
                  <a:cubicBezTo>
                    <a:pt x="922" y="574"/>
                    <a:pt x="922" y="574"/>
                    <a:pt x="942" y="574"/>
                  </a:cubicBezTo>
                  <a:lnTo>
                    <a:pt x="962" y="553"/>
                  </a:lnTo>
                  <a:cubicBezTo>
                    <a:pt x="962" y="533"/>
                    <a:pt x="983" y="512"/>
                    <a:pt x="983" y="512"/>
                  </a:cubicBezTo>
                  <a:cubicBezTo>
                    <a:pt x="1004" y="492"/>
                    <a:pt x="1024" y="471"/>
                    <a:pt x="1024" y="471"/>
                  </a:cubicBezTo>
                  <a:cubicBezTo>
                    <a:pt x="1024" y="451"/>
                    <a:pt x="1024" y="430"/>
                    <a:pt x="1044" y="430"/>
                  </a:cubicBezTo>
                  <a:cubicBezTo>
                    <a:pt x="1044" y="410"/>
                    <a:pt x="1065" y="410"/>
                    <a:pt x="1065" y="410"/>
                  </a:cubicBezTo>
                  <a:cubicBezTo>
                    <a:pt x="1086" y="410"/>
                    <a:pt x="1106" y="410"/>
                    <a:pt x="1106" y="410"/>
                  </a:cubicBezTo>
                  <a:cubicBezTo>
                    <a:pt x="1126" y="410"/>
                    <a:pt x="1126" y="430"/>
                    <a:pt x="1147" y="430"/>
                  </a:cubicBezTo>
                  <a:cubicBezTo>
                    <a:pt x="1147" y="451"/>
                    <a:pt x="1168" y="451"/>
                    <a:pt x="1188" y="451"/>
                  </a:cubicBezTo>
                  <a:cubicBezTo>
                    <a:pt x="1188" y="471"/>
                    <a:pt x="1208" y="471"/>
                    <a:pt x="1208" y="492"/>
                  </a:cubicBezTo>
                  <a:cubicBezTo>
                    <a:pt x="1208" y="512"/>
                    <a:pt x="1208" y="533"/>
                    <a:pt x="1229" y="553"/>
                  </a:cubicBezTo>
                  <a:cubicBezTo>
                    <a:pt x="1229" y="553"/>
                    <a:pt x="1250" y="553"/>
                    <a:pt x="1270" y="574"/>
                  </a:cubicBezTo>
                  <a:cubicBezTo>
                    <a:pt x="1270" y="574"/>
                    <a:pt x="1290" y="594"/>
                    <a:pt x="1290" y="615"/>
                  </a:cubicBezTo>
                  <a:cubicBezTo>
                    <a:pt x="1290" y="635"/>
                    <a:pt x="1290" y="656"/>
                    <a:pt x="1290" y="676"/>
                  </a:cubicBezTo>
                  <a:cubicBezTo>
                    <a:pt x="1311" y="697"/>
                    <a:pt x="1311" y="717"/>
                    <a:pt x="1311" y="738"/>
                  </a:cubicBezTo>
                  <a:cubicBezTo>
                    <a:pt x="1311" y="738"/>
                    <a:pt x="1311" y="779"/>
                    <a:pt x="1311" y="799"/>
                  </a:cubicBezTo>
                  <a:cubicBezTo>
                    <a:pt x="1311" y="820"/>
                    <a:pt x="1332" y="840"/>
                    <a:pt x="1332" y="840"/>
                  </a:cubicBezTo>
                  <a:cubicBezTo>
                    <a:pt x="1332" y="861"/>
                    <a:pt x="1352" y="881"/>
                    <a:pt x="1352" y="881"/>
                  </a:cubicBezTo>
                  <a:cubicBezTo>
                    <a:pt x="1352" y="902"/>
                    <a:pt x="1393" y="902"/>
                    <a:pt x="1393" y="902"/>
                  </a:cubicBezTo>
                  <a:lnTo>
                    <a:pt x="1413" y="922"/>
                  </a:lnTo>
                  <a:cubicBezTo>
                    <a:pt x="1413" y="922"/>
                    <a:pt x="1413" y="943"/>
                    <a:pt x="1413" y="963"/>
                  </a:cubicBezTo>
                  <a:cubicBezTo>
                    <a:pt x="1434" y="984"/>
                    <a:pt x="1434" y="1025"/>
                    <a:pt x="1434" y="1045"/>
                  </a:cubicBezTo>
                  <a:cubicBezTo>
                    <a:pt x="1434" y="1045"/>
                    <a:pt x="1454" y="1066"/>
                    <a:pt x="1454" y="1086"/>
                  </a:cubicBezTo>
                  <a:lnTo>
                    <a:pt x="1454" y="1127"/>
                  </a:lnTo>
                  <a:cubicBezTo>
                    <a:pt x="1454" y="1147"/>
                    <a:pt x="1475" y="1168"/>
                    <a:pt x="1475" y="1168"/>
                  </a:cubicBezTo>
                  <a:cubicBezTo>
                    <a:pt x="1475" y="1189"/>
                    <a:pt x="1475" y="1209"/>
                    <a:pt x="1475" y="1229"/>
                  </a:cubicBezTo>
                  <a:cubicBezTo>
                    <a:pt x="1475" y="1229"/>
                    <a:pt x="1475" y="1250"/>
                    <a:pt x="1454" y="1271"/>
                  </a:cubicBezTo>
                  <a:cubicBezTo>
                    <a:pt x="1454" y="1271"/>
                    <a:pt x="1454" y="1291"/>
                    <a:pt x="1434" y="1291"/>
                  </a:cubicBezTo>
                  <a:cubicBezTo>
                    <a:pt x="1434" y="1311"/>
                    <a:pt x="1434" y="1311"/>
                    <a:pt x="1434" y="1311"/>
                  </a:cubicBezTo>
                  <a:cubicBezTo>
                    <a:pt x="1413" y="1311"/>
                    <a:pt x="1413" y="1311"/>
                    <a:pt x="1413" y="1311"/>
                  </a:cubicBezTo>
                  <a:cubicBezTo>
                    <a:pt x="1393" y="1311"/>
                    <a:pt x="1372" y="1332"/>
                    <a:pt x="1372" y="1311"/>
                  </a:cubicBezTo>
                  <a:cubicBezTo>
                    <a:pt x="1372" y="1311"/>
                    <a:pt x="1372" y="1311"/>
                    <a:pt x="1372" y="1291"/>
                  </a:cubicBezTo>
                  <a:cubicBezTo>
                    <a:pt x="1352" y="1291"/>
                    <a:pt x="1352" y="1291"/>
                    <a:pt x="1352" y="1291"/>
                  </a:cubicBezTo>
                  <a:cubicBezTo>
                    <a:pt x="1332" y="1291"/>
                    <a:pt x="1290" y="1291"/>
                    <a:pt x="1290" y="1291"/>
                  </a:cubicBezTo>
                  <a:cubicBezTo>
                    <a:pt x="1270" y="1291"/>
                    <a:pt x="1250" y="1291"/>
                    <a:pt x="1229" y="1291"/>
                  </a:cubicBezTo>
                  <a:cubicBezTo>
                    <a:pt x="1229" y="1291"/>
                    <a:pt x="1208" y="1311"/>
                    <a:pt x="1188" y="1311"/>
                  </a:cubicBezTo>
                  <a:cubicBezTo>
                    <a:pt x="1168" y="1332"/>
                    <a:pt x="1126" y="1311"/>
                    <a:pt x="1106" y="1311"/>
                  </a:cubicBezTo>
                  <a:cubicBezTo>
                    <a:pt x="1086" y="1311"/>
                    <a:pt x="1065" y="1332"/>
                    <a:pt x="1065" y="1353"/>
                  </a:cubicBezTo>
                  <a:lnTo>
                    <a:pt x="1044" y="1373"/>
                  </a:lnTo>
                  <a:cubicBezTo>
                    <a:pt x="1024" y="1393"/>
                    <a:pt x="1024" y="1414"/>
                    <a:pt x="1004" y="1414"/>
                  </a:cubicBezTo>
                  <a:cubicBezTo>
                    <a:pt x="1004" y="1435"/>
                    <a:pt x="983" y="1455"/>
                    <a:pt x="983" y="1455"/>
                  </a:cubicBezTo>
                  <a:cubicBezTo>
                    <a:pt x="983" y="1475"/>
                    <a:pt x="962" y="1475"/>
                    <a:pt x="962" y="1496"/>
                  </a:cubicBezTo>
                  <a:cubicBezTo>
                    <a:pt x="962" y="1517"/>
                    <a:pt x="962" y="1557"/>
                    <a:pt x="962" y="1578"/>
                  </a:cubicBezTo>
                  <a:cubicBezTo>
                    <a:pt x="962" y="1599"/>
                    <a:pt x="962" y="1619"/>
                    <a:pt x="962" y="1639"/>
                  </a:cubicBezTo>
                  <a:cubicBezTo>
                    <a:pt x="962" y="1660"/>
                    <a:pt x="983" y="1681"/>
                    <a:pt x="983" y="1701"/>
                  </a:cubicBezTo>
                  <a:cubicBezTo>
                    <a:pt x="1004" y="1701"/>
                    <a:pt x="1024" y="1721"/>
                    <a:pt x="1044" y="1721"/>
                  </a:cubicBezTo>
                  <a:cubicBezTo>
                    <a:pt x="1044" y="1721"/>
                    <a:pt x="1065" y="1742"/>
                    <a:pt x="1065" y="1763"/>
                  </a:cubicBezTo>
                  <a:cubicBezTo>
                    <a:pt x="1086" y="1763"/>
                    <a:pt x="1086" y="1783"/>
                    <a:pt x="1106" y="1803"/>
                  </a:cubicBezTo>
                  <a:cubicBezTo>
                    <a:pt x="1106" y="1823"/>
                    <a:pt x="1106" y="1844"/>
                    <a:pt x="1106" y="1865"/>
                  </a:cubicBezTo>
                  <a:cubicBezTo>
                    <a:pt x="1106" y="1865"/>
                    <a:pt x="1106" y="1885"/>
                    <a:pt x="1106" y="1905"/>
                  </a:cubicBezTo>
                  <a:cubicBezTo>
                    <a:pt x="1086" y="1885"/>
                    <a:pt x="1086" y="1885"/>
                    <a:pt x="1086" y="1865"/>
                  </a:cubicBezTo>
                  <a:cubicBezTo>
                    <a:pt x="1086" y="1865"/>
                    <a:pt x="1086" y="1844"/>
                    <a:pt x="1065" y="1823"/>
                  </a:cubicBezTo>
                  <a:lnTo>
                    <a:pt x="1065" y="1803"/>
                  </a:lnTo>
                  <a:lnTo>
                    <a:pt x="1044" y="1803"/>
                  </a:lnTo>
                  <a:cubicBezTo>
                    <a:pt x="1044" y="1803"/>
                    <a:pt x="1044" y="1783"/>
                    <a:pt x="1024" y="1783"/>
                  </a:cubicBezTo>
                  <a:cubicBezTo>
                    <a:pt x="1024" y="1783"/>
                    <a:pt x="1024" y="1763"/>
                    <a:pt x="1004" y="1763"/>
                  </a:cubicBezTo>
                  <a:cubicBezTo>
                    <a:pt x="1004" y="1763"/>
                    <a:pt x="1004" y="1763"/>
                    <a:pt x="1004" y="1742"/>
                  </a:cubicBezTo>
                  <a:cubicBezTo>
                    <a:pt x="983" y="1742"/>
                    <a:pt x="983" y="1742"/>
                    <a:pt x="983" y="1763"/>
                  </a:cubicBezTo>
                  <a:cubicBezTo>
                    <a:pt x="983" y="1763"/>
                    <a:pt x="983" y="1763"/>
                    <a:pt x="983" y="1783"/>
                  </a:cubicBezTo>
                  <a:lnTo>
                    <a:pt x="983" y="1783"/>
                  </a:lnTo>
                  <a:cubicBezTo>
                    <a:pt x="962" y="1783"/>
                    <a:pt x="962" y="1783"/>
                    <a:pt x="962" y="1783"/>
                  </a:cubicBezTo>
                  <a:cubicBezTo>
                    <a:pt x="962" y="1763"/>
                    <a:pt x="942" y="1763"/>
                    <a:pt x="942" y="1763"/>
                  </a:cubicBezTo>
                  <a:cubicBezTo>
                    <a:pt x="942" y="1742"/>
                    <a:pt x="942" y="1742"/>
                    <a:pt x="942" y="1721"/>
                  </a:cubicBezTo>
                  <a:lnTo>
                    <a:pt x="922" y="1721"/>
                  </a:lnTo>
                  <a:lnTo>
                    <a:pt x="901" y="1701"/>
                  </a:lnTo>
                  <a:lnTo>
                    <a:pt x="880" y="1701"/>
                  </a:lnTo>
                  <a:lnTo>
                    <a:pt x="860" y="1701"/>
                  </a:lnTo>
                  <a:cubicBezTo>
                    <a:pt x="860" y="1701"/>
                    <a:pt x="840" y="1701"/>
                    <a:pt x="819" y="1701"/>
                  </a:cubicBezTo>
                  <a:cubicBezTo>
                    <a:pt x="819" y="1701"/>
                    <a:pt x="819" y="1701"/>
                    <a:pt x="819" y="1681"/>
                  </a:cubicBezTo>
                  <a:cubicBezTo>
                    <a:pt x="798" y="1681"/>
                    <a:pt x="778" y="1681"/>
                    <a:pt x="778" y="1701"/>
                  </a:cubicBezTo>
                  <a:lnTo>
                    <a:pt x="758" y="1701"/>
                  </a:lnTo>
                  <a:lnTo>
                    <a:pt x="737" y="1701"/>
                  </a:lnTo>
                  <a:lnTo>
                    <a:pt x="716" y="1681"/>
                  </a:lnTo>
                  <a:lnTo>
                    <a:pt x="737" y="1660"/>
                  </a:lnTo>
                  <a:lnTo>
                    <a:pt x="737" y="1639"/>
                  </a:lnTo>
                  <a:cubicBezTo>
                    <a:pt x="737" y="1619"/>
                    <a:pt x="716" y="1619"/>
                    <a:pt x="716" y="1619"/>
                  </a:cubicBezTo>
                  <a:cubicBezTo>
                    <a:pt x="716" y="1599"/>
                    <a:pt x="716" y="1599"/>
                    <a:pt x="716" y="1599"/>
                  </a:cubicBezTo>
                  <a:cubicBezTo>
                    <a:pt x="716" y="1578"/>
                    <a:pt x="737" y="1578"/>
                    <a:pt x="737" y="1578"/>
                  </a:cubicBezTo>
                  <a:cubicBezTo>
                    <a:pt x="737" y="1578"/>
                    <a:pt x="737" y="1578"/>
                    <a:pt x="737" y="1557"/>
                  </a:cubicBezTo>
                  <a:lnTo>
                    <a:pt x="737" y="1557"/>
                  </a:lnTo>
                  <a:cubicBezTo>
                    <a:pt x="737" y="1537"/>
                    <a:pt x="716" y="1537"/>
                    <a:pt x="716" y="1537"/>
                  </a:cubicBezTo>
                  <a:lnTo>
                    <a:pt x="716" y="1517"/>
                  </a:lnTo>
                  <a:cubicBezTo>
                    <a:pt x="716" y="1517"/>
                    <a:pt x="716" y="1496"/>
                    <a:pt x="696" y="1496"/>
                  </a:cubicBezTo>
                  <a:cubicBezTo>
                    <a:pt x="696" y="1496"/>
                    <a:pt x="676" y="1496"/>
                    <a:pt x="655" y="1496"/>
                  </a:cubicBezTo>
                  <a:lnTo>
                    <a:pt x="635" y="1496"/>
                  </a:lnTo>
                  <a:cubicBezTo>
                    <a:pt x="614" y="1496"/>
                    <a:pt x="614" y="1496"/>
                    <a:pt x="614" y="1496"/>
                  </a:cubicBezTo>
                  <a:lnTo>
                    <a:pt x="594" y="1517"/>
                  </a:lnTo>
                  <a:lnTo>
                    <a:pt x="574" y="1517"/>
                  </a:lnTo>
                  <a:cubicBezTo>
                    <a:pt x="574" y="1517"/>
                    <a:pt x="574" y="1537"/>
                    <a:pt x="553" y="1537"/>
                  </a:cubicBezTo>
                  <a:cubicBezTo>
                    <a:pt x="553" y="1557"/>
                    <a:pt x="553" y="1557"/>
                    <a:pt x="574" y="1557"/>
                  </a:cubicBezTo>
                  <a:cubicBezTo>
                    <a:pt x="574" y="1578"/>
                    <a:pt x="574" y="1578"/>
                    <a:pt x="574" y="1578"/>
                  </a:cubicBezTo>
                  <a:cubicBezTo>
                    <a:pt x="594" y="1578"/>
                    <a:pt x="594" y="1599"/>
                    <a:pt x="594" y="1599"/>
                  </a:cubicBezTo>
                  <a:cubicBezTo>
                    <a:pt x="594" y="1619"/>
                    <a:pt x="594" y="1639"/>
                    <a:pt x="594" y="1639"/>
                  </a:cubicBezTo>
                  <a:cubicBezTo>
                    <a:pt x="594" y="1660"/>
                    <a:pt x="594" y="1681"/>
                    <a:pt x="574" y="1681"/>
                  </a:cubicBezTo>
                  <a:cubicBezTo>
                    <a:pt x="574" y="1701"/>
                    <a:pt x="574" y="1721"/>
                    <a:pt x="574" y="1721"/>
                  </a:cubicBezTo>
                  <a:cubicBezTo>
                    <a:pt x="574" y="1742"/>
                    <a:pt x="594" y="1763"/>
                    <a:pt x="594" y="1783"/>
                  </a:cubicBezTo>
                  <a:cubicBezTo>
                    <a:pt x="594" y="1783"/>
                    <a:pt x="594" y="1803"/>
                    <a:pt x="574" y="1803"/>
                  </a:cubicBezTo>
                  <a:cubicBezTo>
                    <a:pt x="574" y="1823"/>
                    <a:pt x="574" y="1823"/>
                    <a:pt x="574" y="1844"/>
                  </a:cubicBezTo>
                  <a:cubicBezTo>
                    <a:pt x="574" y="1844"/>
                    <a:pt x="574" y="1844"/>
                    <a:pt x="553" y="1865"/>
                  </a:cubicBezTo>
                  <a:lnTo>
                    <a:pt x="553" y="1885"/>
                  </a:lnTo>
                  <a:cubicBezTo>
                    <a:pt x="553" y="1885"/>
                    <a:pt x="553" y="1905"/>
                    <a:pt x="553" y="1926"/>
                  </a:cubicBezTo>
                  <a:cubicBezTo>
                    <a:pt x="553" y="1926"/>
                    <a:pt x="553" y="1947"/>
                    <a:pt x="553" y="1967"/>
                  </a:cubicBezTo>
                  <a:cubicBezTo>
                    <a:pt x="553" y="1967"/>
                    <a:pt x="553" y="1987"/>
                    <a:pt x="553" y="2008"/>
                  </a:cubicBezTo>
                  <a:cubicBezTo>
                    <a:pt x="553" y="2029"/>
                    <a:pt x="553" y="2049"/>
                    <a:pt x="532" y="2069"/>
                  </a:cubicBezTo>
                  <a:lnTo>
                    <a:pt x="532" y="2069"/>
                  </a:lnTo>
                  <a:cubicBezTo>
                    <a:pt x="532" y="2069"/>
                    <a:pt x="532" y="2090"/>
                    <a:pt x="512" y="2090"/>
                  </a:cubicBezTo>
                  <a:cubicBezTo>
                    <a:pt x="512" y="2111"/>
                    <a:pt x="512" y="2131"/>
                    <a:pt x="512" y="2131"/>
                  </a:cubicBezTo>
                  <a:cubicBezTo>
                    <a:pt x="512" y="2151"/>
                    <a:pt x="512" y="2172"/>
                    <a:pt x="492" y="2172"/>
                  </a:cubicBezTo>
                  <a:cubicBezTo>
                    <a:pt x="492" y="2193"/>
                    <a:pt x="492" y="2193"/>
                    <a:pt x="492" y="2193"/>
                  </a:cubicBezTo>
                  <a:lnTo>
                    <a:pt x="492" y="2213"/>
                  </a:lnTo>
                  <a:cubicBezTo>
                    <a:pt x="492" y="2233"/>
                    <a:pt x="492" y="2254"/>
                    <a:pt x="492" y="2254"/>
                  </a:cubicBezTo>
                  <a:cubicBezTo>
                    <a:pt x="492" y="2275"/>
                    <a:pt x="492" y="2295"/>
                    <a:pt x="492" y="2295"/>
                  </a:cubicBezTo>
                  <a:cubicBezTo>
                    <a:pt x="492" y="2315"/>
                    <a:pt x="492" y="2336"/>
                    <a:pt x="512" y="2336"/>
                  </a:cubicBezTo>
                  <a:cubicBezTo>
                    <a:pt x="512" y="2357"/>
                    <a:pt x="512" y="2377"/>
                    <a:pt x="512" y="2377"/>
                  </a:cubicBezTo>
                  <a:cubicBezTo>
                    <a:pt x="512" y="2397"/>
                    <a:pt x="512" y="2397"/>
                    <a:pt x="512" y="2397"/>
                  </a:cubicBezTo>
                  <a:cubicBezTo>
                    <a:pt x="532" y="2418"/>
                    <a:pt x="553" y="2418"/>
                    <a:pt x="553" y="2418"/>
                  </a:cubicBezTo>
                  <a:lnTo>
                    <a:pt x="574" y="2418"/>
                  </a:lnTo>
                  <a:cubicBezTo>
                    <a:pt x="594" y="2418"/>
                    <a:pt x="594" y="2418"/>
                    <a:pt x="614" y="2439"/>
                  </a:cubicBezTo>
                  <a:cubicBezTo>
                    <a:pt x="614" y="2439"/>
                    <a:pt x="614" y="2479"/>
                    <a:pt x="614" y="2500"/>
                  </a:cubicBezTo>
                  <a:cubicBezTo>
                    <a:pt x="635" y="2500"/>
                    <a:pt x="635" y="2520"/>
                    <a:pt x="655" y="2541"/>
                  </a:cubicBezTo>
                  <a:cubicBezTo>
                    <a:pt x="655" y="2561"/>
                    <a:pt x="676" y="2582"/>
                    <a:pt x="676" y="2602"/>
                  </a:cubicBezTo>
                  <a:cubicBezTo>
                    <a:pt x="696" y="2602"/>
                    <a:pt x="696" y="2623"/>
                    <a:pt x="696" y="2643"/>
                  </a:cubicBezTo>
                  <a:cubicBezTo>
                    <a:pt x="716" y="2664"/>
                    <a:pt x="716" y="2705"/>
                    <a:pt x="716" y="2725"/>
                  </a:cubicBezTo>
                  <a:cubicBezTo>
                    <a:pt x="737" y="2746"/>
                    <a:pt x="758" y="2787"/>
                    <a:pt x="758" y="2807"/>
                  </a:cubicBezTo>
                  <a:cubicBezTo>
                    <a:pt x="778" y="2828"/>
                    <a:pt x="778" y="2848"/>
                    <a:pt x="778" y="2848"/>
                  </a:cubicBezTo>
                  <a:cubicBezTo>
                    <a:pt x="798" y="2869"/>
                    <a:pt x="798" y="2869"/>
                    <a:pt x="819" y="2869"/>
                  </a:cubicBezTo>
                  <a:cubicBezTo>
                    <a:pt x="819" y="2889"/>
                    <a:pt x="840" y="2889"/>
                    <a:pt x="840" y="2889"/>
                  </a:cubicBezTo>
                  <a:cubicBezTo>
                    <a:pt x="860" y="2889"/>
                    <a:pt x="860" y="2910"/>
                    <a:pt x="880" y="2910"/>
                  </a:cubicBezTo>
                  <a:lnTo>
                    <a:pt x="901" y="2910"/>
                  </a:lnTo>
                  <a:cubicBezTo>
                    <a:pt x="922" y="2910"/>
                    <a:pt x="922" y="2930"/>
                    <a:pt x="942" y="2930"/>
                  </a:cubicBezTo>
                  <a:lnTo>
                    <a:pt x="942" y="2951"/>
                  </a:lnTo>
                  <a:cubicBezTo>
                    <a:pt x="962" y="2951"/>
                    <a:pt x="962" y="2971"/>
                    <a:pt x="983" y="2971"/>
                  </a:cubicBezTo>
                  <a:cubicBezTo>
                    <a:pt x="983" y="2992"/>
                    <a:pt x="1004" y="3012"/>
                    <a:pt x="1004" y="3012"/>
                  </a:cubicBezTo>
                  <a:cubicBezTo>
                    <a:pt x="1024" y="3012"/>
                    <a:pt x="1044" y="3033"/>
                    <a:pt x="1044" y="3053"/>
                  </a:cubicBezTo>
                  <a:cubicBezTo>
                    <a:pt x="1065" y="3053"/>
                    <a:pt x="1065" y="3053"/>
                    <a:pt x="1086" y="3053"/>
                  </a:cubicBezTo>
                  <a:cubicBezTo>
                    <a:pt x="1065" y="3053"/>
                    <a:pt x="1065" y="3074"/>
                    <a:pt x="1044" y="3074"/>
                  </a:cubicBezTo>
                  <a:lnTo>
                    <a:pt x="1044" y="3094"/>
                  </a:lnTo>
                  <a:cubicBezTo>
                    <a:pt x="1024" y="3115"/>
                    <a:pt x="1024" y="3135"/>
                    <a:pt x="1004" y="3135"/>
                  </a:cubicBezTo>
                  <a:lnTo>
                    <a:pt x="983" y="3135"/>
                  </a:lnTo>
                  <a:cubicBezTo>
                    <a:pt x="962" y="3135"/>
                    <a:pt x="942" y="3135"/>
                    <a:pt x="942" y="3135"/>
                  </a:cubicBezTo>
                  <a:cubicBezTo>
                    <a:pt x="922" y="3135"/>
                    <a:pt x="922" y="3156"/>
                    <a:pt x="922" y="3156"/>
                  </a:cubicBezTo>
                  <a:cubicBezTo>
                    <a:pt x="922" y="3176"/>
                    <a:pt x="922" y="3196"/>
                    <a:pt x="901" y="3196"/>
                  </a:cubicBezTo>
                  <a:lnTo>
                    <a:pt x="880" y="3196"/>
                  </a:lnTo>
                  <a:cubicBezTo>
                    <a:pt x="860" y="3196"/>
                    <a:pt x="840" y="3196"/>
                    <a:pt x="840" y="3196"/>
                  </a:cubicBezTo>
                  <a:cubicBezTo>
                    <a:pt x="840" y="3176"/>
                    <a:pt x="840" y="3156"/>
                    <a:pt x="840" y="3156"/>
                  </a:cubicBezTo>
                  <a:cubicBezTo>
                    <a:pt x="840" y="3135"/>
                    <a:pt x="840" y="3135"/>
                    <a:pt x="840" y="3115"/>
                  </a:cubicBezTo>
                  <a:cubicBezTo>
                    <a:pt x="860" y="3115"/>
                    <a:pt x="860" y="3115"/>
                    <a:pt x="860" y="3094"/>
                  </a:cubicBezTo>
                  <a:lnTo>
                    <a:pt x="860" y="3074"/>
                  </a:lnTo>
                  <a:lnTo>
                    <a:pt x="840" y="3053"/>
                  </a:lnTo>
                  <a:lnTo>
                    <a:pt x="819" y="3033"/>
                  </a:lnTo>
                  <a:cubicBezTo>
                    <a:pt x="819" y="3012"/>
                    <a:pt x="798" y="3012"/>
                    <a:pt x="798" y="3012"/>
                  </a:cubicBezTo>
                  <a:cubicBezTo>
                    <a:pt x="798" y="2992"/>
                    <a:pt x="778" y="3012"/>
                    <a:pt x="778" y="3012"/>
                  </a:cubicBezTo>
                  <a:cubicBezTo>
                    <a:pt x="778" y="2992"/>
                    <a:pt x="758" y="2992"/>
                    <a:pt x="758" y="2992"/>
                  </a:cubicBezTo>
                  <a:cubicBezTo>
                    <a:pt x="758" y="2992"/>
                    <a:pt x="737" y="2971"/>
                    <a:pt x="716" y="2971"/>
                  </a:cubicBezTo>
                  <a:cubicBezTo>
                    <a:pt x="716" y="2971"/>
                    <a:pt x="716" y="2992"/>
                    <a:pt x="696" y="2992"/>
                  </a:cubicBezTo>
                  <a:cubicBezTo>
                    <a:pt x="696" y="2992"/>
                    <a:pt x="696" y="2992"/>
                    <a:pt x="676" y="2992"/>
                  </a:cubicBezTo>
                  <a:lnTo>
                    <a:pt x="676" y="2971"/>
                  </a:lnTo>
                  <a:cubicBezTo>
                    <a:pt x="676" y="2971"/>
                    <a:pt x="676" y="2971"/>
                    <a:pt x="655" y="2951"/>
                  </a:cubicBezTo>
                  <a:lnTo>
                    <a:pt x="635" y="2951"/>
                  </a:lnTo>
                  <a:cubicBezTo>
                    <a:pt x="635" y="2951"/>
                    <a:pt x="635" y="2930"/>
                    <a:pt x="614" y="2930"/>
                  </a:cubicBezTo>
                  <a:cubicBezTo>
                    <a:pt x="614" y="2910"/>
                    <a:pt x="614" y="2910"/>
                    <a:pt x="614" y="2910"/>
                  </a:cubicBezTo>
                  <a:cubicBezTo>
                    <a:pt x="614" y="2889"/>
                    <a:pt x="594" y="2869"/>
                    <a:pt x="594" y="2869"/>
                  </a:cubicBezTo>
                  <a:lnTo>
                    <a:pt x="594" y="2848"/>
                  </a:lnTo>
                  <a:cubicBezTo>
                    <a:pt x="594" y="2828"/>
                    <a:pt x="594" y="2828"/>
                    <a:pt x="594" y="2828"/>
                  </a:cubicBezTo>
                  <a:cubicBezTo>
                    <a:pt x="574" y="2828"/>
                    <a:pt x="553" y="2828"/>
                    <a:pt x="553" y="2828"/>
                  </a:cubicBezTo>
                  <a:lnTo>
                    <a:pt x="553" y="2807"/>
                  </a:lnTo>
                  <a:cubicBezTo>
                    <a:pt x="553" y="2807"/>
                    <a:pt x="553" y="2807"/>
                    <a:pt x="532" y="2807"/>
                  </a:cubicBezTo>
                  <a:lnTo>
                    <a:pt x="532" y="2787"/>
                  </a:lnTo>
                  <a:cubicBezTo>
                    <a:pt x="532" y="2766"/>
                    <a:pt x="532" y="2766"/>
                    <a:pt x="532" y="2746"/>
                  </a:cubicBezTo>
                  <a:cubicBezTo>
                    <a:pt x="512" y="2746"/>
                    <a:pt x="512" y="2746"/>
                    <a:pt x="512" y="2746"/>
                  </a:cubicBezTo>
                  <a:cubicBezTo>
                    <a:pt x="492" y="2746"/>
                    <a:pt x="492" y="2746"/>
                    <a:pt x="492" y="2725"/>
                  </a:cubicBezTo>
                  <a:lnTo>
                    <a:pt x="492" y="2725"/>
                  </a:lnTo>
                  <a:cubicBezTo>
                    <a:pt x="492" y="2705"/>
                    <a:pt x="492" y="2705"/>
                    <a:pt x="492" y="2705"/>
                  </a:cubicBezTo>
                  <a:cubicBezTo>
                    <a:pt x="492" y="2705"/>
                    <a:pt x="471" y="2705"/>
                    <a:pt x="471" y="2684"/>
                  </a:cubicBezTo>
                  <a:cubicBezTo>
                    <a:pt x="471" y="2684"/>
                    <a:pt x="471" y="2684"/>
                    <a:pt x="450" y="2664"/>
                  </a:cubicBezTo>
                  <a:lnTo>
                    <a:pt x="430" y="2664"/>
                  </a:lnTo>
                  <a:lnTo>
                    <a:pt x="430" y="2643"/>
                  </a:lnTo>
                  <a:lnTo>
                    <a:pt x="430" y="2623"/>
                  </a:lnTo>
                  <a:lnTo>
                    <a:pt x="410" y="2602"/>
                  </a:lnTo>
                  <a:lnTo>
                    <a:pt x="410" y="2602"/>
                  </a:lnTo>
                  <a:cubicBezTo>
                    <a:pt x="389" y="2623"/>
                    <a:pt x="410" y="2623"/>
                    <a:pt x="389" y="2643"/>
                  </a:cubicBezTo>
                  <a:lnTo>
                    <a:pt x="389" y="2643"/>
                  </a:lnTo>
                  <a:lnTo>
                    <a:pt x="368" y="2643"/>
                  </a:lnTo>
                  <a:lnTo>
                    <a:pt x="348" y="2623"/>
                  </a:lnTo>
                  <a:lnTo>
                    <a:pt x="348" y="2602"/>
                  </a:lnTo>
                  <a:lnTo>
                    <a:pt x="348" y="2582"/>
                  </a:lnTo>
                  <a:cubicBezTo>
                    <a:pt x="348" y="2561"/>
                    <a:pt x="348" y="2561"/>
                    <a:pt x="348" y="2541"/>
                  </a:cubicBezTo>
                  <a:lnTo>
                    <a:pt x="368" y="2541"/>
                  </a:lnTo>
                  <a:cubicBezTo>
                    <a:pt x="368" y="2520"/>
                    <a:pt x="368" y="2520"/>
                    <a:pt x="368" y="2500"/>
                  </a:cubicBezTo>
                  <a:lnTo>
                    <a:pt x="368" y="2479"/>
                  </a:lnTo>
                  <a:lnTo>
                    <a:pt x="368" y="2459"/>
                  </a:lnTo>
                  <a:cubicBezTo>
                    <a:pt x="368" y="2439"/>
                    <a:pt x="389" y="2439"/>
                    <a:pt x="389" y="2418"/>
                  </a:cubicBezTo>
                  <a:lnTo>
                    <a:pt x="389" y="2397"/>
                  </a:lnTo>
                  <a:cubicBezTo>
                    <a:pt x="389" y="2377"/>
                    <a:pt x="389" y="2357"/>
                    <a:pt x="389" y="2357"/>
                  </a:cubicBezTo>
                  <a:cubicBezTo>
                    <a:pt x="389" y="2336"/>
                    <a:pt x="410" y="2315"/>
                    <a:pt x="410" y="2315"/>
                  </a:cubicBezTo>
                  <a:lnTo>
                    <a:pt x="410" y="2275"/>
                  </a:lnTo>
                  <a:cubicBezTo>
                    <a:pt x="410" y="2254"/>
                    <a:pt x="410" y="2233"/>
                    <a:pt x="410" y="2233"/>
                  </a:cubicBezTo>
                  <a:cubicBezTo>
                    <a:pt x="410" y="2213"/>
                    <a:pt x="410" y="2193"/>
                    <a:pt x="410" y="2193"/>
                  </a:cubicBezTo>
                  <a:lnTo>
                    <a:pt x="410" y="2172"/>
                  </a:lnTo>
                  <a:cubicBezTo>
                    <a:pt x="410" y="2172"/>
                    <a:pt x="410" y="2151"/>
                    <a:pt x="410" y="2131"/>
                  </a:cubicBezTo>
                  <a:lnTo>
                    <a:pt x="410" y="2090"/>
                  </a:lnTo>
                  <a:cubicBezTo>
                    <a:pt x="430" y="2069"/>
                    <a:pt x="450" y="2049"/>
                    <a:pt x="450" y="2029"/>
                  </a:cubicBezTo>
                  <a:lnTo>
                    <a:pt x="471" y="1987"/>
                  </a:lnTo>
                  <a:cubicBezTo>
                    <a:pt x="471" y="1967"/>
                    <a:pt x="492" y="1967"/>
                    <a:pt x="492" y="1947"/>
                  </a:cubicBezTo>
                  <a:lnTo>
                    <a:pt x="492" y="1905"/>
                  </a:lnTo>
                  <a:cubicBezTo>
                    <a:pt x="512" y="1885"/>
                    <a:pt x="512" y="1865"/>
                    <a:pt x="512" y="1844"/>
                  </a:cubicBezTo>
                  <a:cubicBezTo>
                    <a:pt x="512" y="1823"/>
                    <a:pt x="512" y="1783"/>
                    <a:pt x="512" y="1763"/>
                  </a:cubicBezTo>
                  <a:cubicBezTo>
                    <a:pt x="512" y="1742"/>
                    <a:pt x="492" y="1721"/>
                    <a:pt x="492" y="1701"/>
                  </a:cubicBezTo>
                  <a:cubicBezTo>
                    <a:pt x="471" y="1681"/>
                    <a:pt x="471" y="1660"/>
                    <a:pt x="450" y="1660"/>
                  </a:cubicBezTo>
                  <a:lnTo>
                    <a:pt x="450" y="1639"/>
                  </a:lnTo>
                  <a:cubicBezTo>
                    <a:pt x="430" y="1619"/>
                    <a:pt x="430" y="1619"/>
                    <a:pt x="430" y="1619"/>
                  </a:cubicBezTo>
                  <a:cubicBezTo>
                    <a:pt x="430" y="1599"/>
                    <a:pt x="410" y="1578"/>
                    <a:pt x="410" y="1578"/>
                  </a:cubicBezTo>
                  <a:lnTo>
                    <a:pt x="430" y="1557"/>
                  </a:lnTo>
                  <a:cubicBezTo>
                    <a:pt x="450" y="1537"/>
                    <a:pt x="430" y="1517"/>
                    <a:pt x="430" y="1496"/>
                  </a:cubicBezTo>
                  <a:cubicBezTo>
                    <a:pt x="430" y="1496"/>
                    <a:pt x="430" y="1455"/>
                    <a:pt x="410" y="1435"/>
                  </a:cubicBezTo>
                  <a:cubicBezTo>
                    <a:pt x="410" y="1435"/>
                    <a:pt x="410" y="1393"/>
                    <a:pt x="389" y="1393"/>
                  </a:cubicBezTo>
                  <a:cubicBezTo>
                    <a:pt x="389" y="1373"/>
                    <a:pt x="368" y="1373"/>
                    <a:pt x="368" y="1353"/>
                  </a:cubicBezTo>
                  <a:cubicBezTo>
                    <a:pt x="348" y="1353"/>
                    <a:pt x="348" y="1332"/>
                    <a:pt x="328" y="1311"/>
                  </a:cubicBezTo>
                  <a:cubicBezTo>
                    <a:pt x="328" y="1311"/>
                    <a:pt x="307" y="1291"/>
                    <a:pt x="286" y="1271"/>
                  </a:cubicBezTo>
                  <a:lnTo>
                    <a:pt x="266" y="1250"/>
                  </a:lnTo>
                  <a:cubicBezTo>
                    <a:pt x="266" y="1250"/>
                    <a:pt x="246" y="1229"/>
                    <a:pt x="246" y="1209"/>
                  </a:cubicBezTo>
                  <a:cubicBezTo>
                    <a:pt x="246" y="1189"/>
                    <a:pt x="225" y="1147"/>
                    <a:pt x="246" y="1147"/>
                  </a:cubicBezTo>
                  <a:cubicBezTo>
                    <a:pt x="246" y="1127"/>
                    <a:pt x="246" y="1127"/>
                    <a:pt x="246" y="1127"/>
                  </a:cubicBezTo>
                  <a:lnTo>
                    <a:pt x="266" y="1107"/>
                  </a:lnTo>
                  <a:cubicBezTo>
                    <a:pt x="266" y="1107"/>
                    <a:pt x="266" y="1086"/>
                    <a:pt x="266" y="1066"/>
                  </a:cubicBezTo>
                  <a:cubicBezTo>
                    <a:pt x="266" y="1066"/>
                    <a:pt x="286" y="1045"/>
                    <a:pt x="286" y="1025"/>
                  </a:cubicBezTo>
                  <a:cubicBezTo>
                    <a:pt x="286" y="1025"/>
                    <a:pt x="266" y="1004"/>
                    <a:pt x="286" y="984"/>
                  </a:cubicBezTo>
                  <a:cubicBezTo>
                    <a:pt x="286" y="984"/>
                    <a:pt x="286" y="984"/>
                    <a:pt x="307" y="963"/>
                  </a:cubicBezTo>
                  <a:cubicBezTo>
                    <a:pt x="307" y="963"/>
                    <a:pt x="328" y="963"/>
                    <a:pt x="328" y="943"/>
                  </a:cubicBezTo>
                  <a:cubicBezTo>
                    <a:pt x="328" y="922"/>
                    <a:pt x="307" y="902"/>
                    <a:pt x="286" y="902"/>
                  </a:cubicBezTo>
                  <a:cubicBezTo>
                    <a:pt x="286" y="881"/>
                    <a:pt x="266" y="861"/>
                    <a:pt x="266" y="861"/>
                  </a:cubicBezTo>
                  <a:cubicBezTo>
                    <a:pt x="266" y="861"/>
                    <a:pt x="246" y="861"/>
                    <a:pt x="246" y="840"/>
                  </a:cubicBezTo>
                  <a:cubicBezTo>
                    <a:pt x="225" y="840"/>
                    <a:pt x="225" y="799"/>
                    <a:pt x="225" y="799"/>
                  </a:cubicBezTo>
                  <a:cubicBezTo>
                    <a:pt x="225" y="779"/>
                    <a:pt x="204" y="758"/>
                    <a:pt x="184" y="738"/>
                  </a:cubicBezTo>
                  <a:cubicBezTo>
                    <a:pt x="184" y="717"/>
                    <a:pt x="164" y="697"/>
                    <a:pt x="164" y="676"/>
                  </a:cubicBezTo>
                  <a:cubicBezTo>
                    <a:pt x="143" y="656"/>
                    <a:pt x="122" y="615"/>
                    <a:pt x="122" y="615"/>
                  </a:cubicBezTo>
                  <a:cubicBezTo>
                    <a:pt x="102" y="594"/>
                    <a:pt x="82" y="594"/>
                    <a:pt x="82" y="594"/>
                  </a:cubicBezTo>
                  <a:cubicBezTo>
                    <a:pt x="82" y="574"/>
                    <a:pt x="61" y="574"/>
                    <a:pt x="61" y="574"/>
                  </a:cubicBezTo>
                  <a:cubicBezTo>
                    <a:pt x="61" y="553"/>
                    <a:pt x="61" y="512"/>
                    <a:pt x="40" y="512"/>
                  </a:cubicBezTo>
                  <a:cubicBezTo>
                    <a:pt x="40" y="492"/>
                    <a:pt x="40" y="471"/>
                    <a:pt x="20" y="471"/>
                  </a:cubicBezTo>
                  <a:lnTo>
                    <a:pt x="0" y="451"/>
                  </a:lnTo>
                  <a:lnTo>
                    <a:pt x="0" y="430"/>
                  </a:lnTo>
                  <a:cubicBezTo>
                    <a:pt x="0" y="410"/>
                    <a:pt x="40" y="430"/>
                    <a:pt x="40" y="430"/>
                  </a:cubicBezTo>
                  <a:cubicBezTo>
                    <a:pt x="61" y="410"/>
                    <a:pt x="61" y="410"/>
                    <a:pt x="61" y="390"/>
                  </a:cubicBezTo>
                  <a:lnTo>
                    <a:pt x="61" y="369"/>
                  </a:lnTo>
                  <a:cubicBezTo>
                    <a:pt x="61" y="348"/>
                    <a:pt x="61" y="328"/>
                    <a:pt x="61" y="328"/>
                  </a:cubicBezTo>
                  <a:cubicBezTo>
                    <a:pt x="61" y="308"/>
                    <a:pt x="61" y="287"/>
                    <a:pt x="61" y="266"/>
                  </a:cubicBezTo>
                  <a:cubicBezTo>
                    <a:pt x="61" y="266"/>
                    <a:pt x="82" y="246"/>
                    <a:pt x="82" y="226"/>
                  </a:cubicBezTo>
                  <a:cubicBezTo>
                    <a:pt x="82" y="205"/>
                    <a:pt x="82" y="184"/>
                    <a:pt x="102" y="164"/>
                  </a:cubicBezTo>
                  <a:cubicBezTo>
                    <a:pt x="122" y="164"/>
                    <a:pt x="143" y="164"/>
                    <a:pt x="143" y="164"/>
                  </a:cubicBezTo>
                  <a:cubicBezTo>
                    <a:pt x="164" y="164"/>
                    <a:pt x="184" y="164"/>
                    <a:pt x="204" y="164"/>
                  </a:cubicBezTo>
                  <a:cubicBezTo>
                    <a:pt x="225" y="144"/>
                    <a:pt x="266" y="123"/>
                    <a:pt x="286" y="102"/>
                  </a:cubicBezTo>
                  <a:cubicBezTo>
                    <a:pt x="286" y="102"/>
                    <a:pt x="307" y="82"/>
                    <a:pt x="328" y="62"/>
                  </a:cubicBezTo>
                  <a:cubicBezTo>
                    <a:pt x="328" y="62"/>
                    <a:pt x="328" y="41"/>
                    <a:pt x="328" y="20"/>
                  </a:cubicBezTo>
                  <a:cubicBezTo>
                    <a:pt x="348" y="20"/>
                    <a:pt x="368" y="0"/>
                    <a:pt x="368" y="0"/>
                  </a:cubicBezTo>
                  <a:cubicBezTo>
                    <a:pt x="389" y="0"/>
                    <a:pt x="410" y="0"/>
                    <a:pt x="43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8" name="Freeform 625">
              <a:extLst>
                <a:ext uri="{FF2B5EF4-FFF2-40B4-BE49-F238E27FC236}">
                  <a16:creationId xmlns:a16="http://schemas.microsoft.com/office/drawing/2014/main" id="{C5F0403F-F36D-A842-84B1-659045DBB6BD}"/>
                </a:ext>
              </a:extLst>
            </p:cNvPr>
            <p:cNvSpPr>
              <a:spLocks noChangeArrowheads="1"/>
            </p:cNvSpPr>
            <p:nvPr/>
          </p:nvSpPr>
          <p:spPr bwMode="auto">
            <a:xfrm>
              <a:off x="3584575" y="7194550"/>
              <a:ext cx="133350" cy="295275"/>
            </a:xfrm>
            <a:custGeom>
              <a:avLst/>
              <a:gdLst>
                <a:gd name="T0" fmla="*/ 185 w 370"/>
                <a:gd name="T1" fmla="*/ 800 h 821"/>
                <a:gd name="T2" fmla="*/ 185 w 370"/>
                <a:gd name="T3" fmla="*/ 800 h 821"/>
                <a:gd name="T4" fmla="*/ 267 w 370"/>
                <a:gd name="T5" fmla="*/ 759 h 821"/>
                <a:gd name="T6" fmla="*/ 328 w 370"/>
                <a:gd name="T7" fmla="*/ 718 h 821"/>
                <a:gd name="T8" fmla="*/ 369 w 370"/>
                <a:gd name="T9" fmla="*/ 656 h 821"/>
                <a:gd name="T10" fmla="*/ 369 w 370"/>
                <a:gd name="T11" fmla="*/ 595 h 821"/>
                <a:gd name="T12" fmla="*/ 369 w 370"/>
                <a:gd name="T13" fmla="*/ 513 h 821"/>
                <a:gd name="T14" fmla="*/ 349 w 370"/>
                <a:gd name="T15" fmla="*/ 492 h 821"/>
                <a:gd name="T16" fmla="*/ 349 w 370"/>
                <a:gd name="T17" fmla="*/ 451 h 821"/>
                <a:gd name="T18" fmla="*/ 349 w 370"/>
                <a:gd name="T19" fmla="*/ 431 h 821"/>
                <a:gd name="T20" fmla="*/ 328 w 370"/>
                <a:gd name="T21" fmla="*/ 410 h 821"/>
                <a:gd name="T22" fmla="*/ 308 w 370"/>
                <a:gd name="T23" fmla="*/ 369 h 821"/>
                <a:gd name="T24" fmla="*/ 287 w 370"/>
                <a:gd name="T25" fmla="*/ 349 h 821"/>
                <a:gd name="T26" fmla="*/ 267 w 370"/>
                <a:gd name="T27" fmla="*/ 287 h 821"/>
                <a:gd name="T28" fmla="*/ 267 w 370"/>
                <a:gd name="T29" fmla="*/ 246 h 821"/>
                <a:gd name="T30" fmla="*/ 246 w 370"/>
                <a:gd name="T31" fmla="*/ 226 h 821"/>
                <a:gd name="T32" fmla="*/ 226 w 370"/>
                <a:gd name="T33" fmla="*/ 205 h 821"/>
                <a:gd name="T34" fmla="*/ 205 w 370"/>
                <a:gd name="T35" fmla="*/ 144 h 821"/>
                <a:gd name="T36" fmla="*/ 185 w 370"/>
                <a:gd name="T37" fmla="*/ 103 h 821"/>
                <a:gd name="T38" fmla="*/ 144 w 370"/>
                <a:gd name="T39" fmla="*/ 82 h 821"/>
                <a:gd name="T40" fmla="*/ 123 w 370"/>
                <a:gd name="T41" fmla="*/ 42 h 821"/>
                <a:gd name="T42" fmla="*/ 82 w 370"/>
                <a:gd name="T43" fmla="*/ 21 h 821"/>
                <a:gd name="T44" fmla="*/ 62 w 370"/>
                <a:gd name="T45" fmla="*/ 0 h 821"/>
                <a:gd name="T46" fmla="*/ 41 w 370"/>
                <a:gd name="T47" fmla="*/ 21 h 821"/>
                <a:gd name="T48" fmla="*/ 41 w 370"/>
                <a:gd name="T49" fmla="*/ 82 h 821"/>
                <a:gd name="T50" fmla="*/ 41 w 370"/>
                <a:gd name="T51" fmla="*/ 124 h 821"/>
                <a:gd name="T52" fmla="*/ 41 w 370"/>
                <a:gd name="T53" fmla="*/ 164 h 821"/>
                <a:gd name="T54" fmla="*/ 41 w 370"/>
                <a:gd name="T55" fmla="*/ 185 h 821"/>
                <a:gd name="T56" fmla="*/ 41 w 370"/>
                <a:gd name="T57" fmla="*/ 246 h 821"/>
                <a:gd name="T58" fmla="*/ 41 w 370"/>
                <a:gd name="T59" fmla="*/ 308 h 821"/>
                <a:gd name="T60" fmla="*/ 21 w 370"/>
                <a:gd name="T61" fmla="*/ 349 h 821"/>
                <a:gd name="T62" fmla="*/ 0 w 370"/>
                <a:gd name="T63" fmla="*/ 349 h 821"/>
                <a:gd name="T64" fmla="*/ 0 w 370"/>
                <a:gd name="T65" fmla="*/ 369 h 821"/>
                <a:gd name="T66" fmla="*/ 0 w 370"/>
                <a:gd name="T67" fmla="*/ 410 h 821"/>
                <a:gd name="T68" fmla="*/ 21 w 370"/>
                <a:gd name="T69" fmla="*/ 451 h 821"/>
                <a:gd name="T70" fmla="*/ 41 w 370"/>
                <a:gd name="T71" fmla="*/ 472 h 821"/>
                <a:gd name="T72" fmla="*/ 41 w 370"/>
                <a:gd name="T73" fmla="*/ 533 h 821"/>
                <a:gd name="T74" fmla="*/ 21 w 370"/>
                <a:gd name="T75" fmla="*/ 574 h 821"/>
                <a:gd name="T76" fmla="*/ 41 w 370"/>
                <a:gd name="T77" fmla="*/ 615 h 821"/>
                <a:gd name="T78" fmla="*/ 41 w 370"/>
                <a:gd name="T79" fmla="*/ 656 h 821"/>
                <a:gd name="T80" fmla="*/ 62 w 370"/>
                <a:gd name="T81" fmla="*/ 718 h 821"/>
                <a:gd name="T82" fmla="*/ 82 w 370"/>
                <a:gd name="T83" fmla="*/ 759 h 821"/>
                <a:gd name="T84" fmla="*/ 103 w 370"/>
                <a:gd name="T85" fmla="*/ 800 h 821"/>
                <a:gd name="T86" fmla="*/ 144 w 370"/>
                <a:gd name="T87" fmla="*/ 800 h 821"/>
                <a:gd name="T88" fmla="*/ 185 w 370"/>
                <a:gd name="T89" fmla="*/ 80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0" h="821">
                  <a:moveTo>
                    <a:pt x="185" y="800"/>
                  </a:moveTo>
                  <a:lnTo>
                    <a:pt x="185" y="800"/>
                  </a:lnTo>
                  <a:cubicBezTo>
                    <a:pt x="205" y="800"/>
                    <a:pt x="246" y="779"/>
                    <a:pt x="267" y="759"/>
                  </a:cubicBezTo>
                  <a:cubicBezTo>
                    <a:pt x="287" y="759"/>
                    <a:pt x="308" y="738"/>
                    <a:pt x="328" y="718"/>
                  </a:cubicBezTo>
                  <a:cubicBezTo>
                    <a:pt x="328" y="697"/>
                    <a:pt x="349" y="677"/>
                    <a:pt x="369" y="656"/>
                  </a:cubicBezTo>
                  <a:cubicBezTo>
                    <a:pt x="369" y="656"/>
                    <a:pt x="369" y="615"/>
                    <a:pt x="369" y="595"/>
                  </a:cubicBezTo>
                  <a:cubicBezTo>
                    <a:pt x="369" y="574"/>
                    <a:pt x="369" y="533"/>
                    <a:pt x="369" y="513"/>
                  </a:cubicBezTo>
                  <a:lnTo>
                    <a:pt x="349" y="492"/>
                  </a:lnTo>
                  <a:cubicBezTo>
                    <a:pt x="349" y="492"/>
                    <a:pt x="349" y="472"/>
                    <a:pt x="349" y="451"/>
                  </a:cubicBezTo>
                  <a:lnTo>
                    <a:pt x="349" y="431"/>
                  </a:lnTo>
                  <a:lnTo>
                    <a:pt x="328" y="410"/>
                  </a:lnTo>
                  <a:cubicBezTo>
                    <a:pt x="328" y="410"/>
                    <a:pt x="328" y="390"/>
                    <a:pt x="308" y="369"/>
                  </a:cubicBezTo>
                  <a:lnTo>
                    <a:pt x="287" y="349"/>
                  </a:lnTo>
                  <a:cubicBezTo>
                    <a:pt x="287" y="328"/>
                    <a:pt x="287" y="308"/>
                    <a:pt x="267" y="287"/>
                  </a:cubicBezTo>
                  <a:cubicBezTo>
                    <a:pt x="267" y="287"/>
                    <a:pt x="267" y="267"/>
                    <a:pt x="267" y="246"/>
                  </a:cubicBezTo>
                  <a:cubicBezTo>
                    <a:pt x="267" y="246"/>
                    <a:pt x="246" y="246"/>
                    <a:pt x="246" y="226"/>
                  </a:cubicBezTo>
                  <a:cubicBezTo>
                    <a:pt x="226" y="226"/>
                    <a:pt x="226" y="205"/>
                    <a:pt x="226" y="205"/>
                  </a:cubicBezTo>
                  <a:cubicBezTo>
                    <a:pt x="226" y="205"/>
                    <a:pt x="226" y="164"/>
                    <a:pt x="205" y="144"/>
                  </a:cubicBezTo>
                  <a:cubicBezTo>
                    <a:pt x="205" y="144"/>
                    <a:pt x="185" y="124"/>
                    <a:pt x="185" y="103"/>
                  </a:cubicBezTo>
                  <a:cubicBezTo>
                    <a:pt x="164" y="103"/>
                    <a:pt x="144" y="103"/>
                    <a:pt x="144" y="82"/>
                  </a:cubicBezTo>
                  <a:cubicBezTo>
                    <a:pt x="123" y="82"/>
                    <a:pt x="123" y="42"/>
                    <a:pt x="123" y="42"/>
                  </a:cubicBezTo>
                  <a:cubicBezTo>
                    <a:pt x="103" y="21"/>
                    <a:pt x="103" y="21"/>
                    <a:pt x="82" y="21"/>
                  </a:cubicBezTo>
                  <a:cubicBezTo>
                    <a:pt x="82" y="0"/>
                    <a:pt x="62" y="0"/>
                    <a:pt x="62" y="0"/>
                  </a:cubicBezTo>
                  <a:cubicBezTo>
                    <a:pt x="41" y="0"/>
                    <a:pt x="41" y="21"/>
                    <a:pt x="41" y="21"/>
                  </a:cubicBezTo>
                  <a:cubicBezTo>
                    <a:pt x="41" y="42"/>
                    <a:pt x="41" y="62"/>
                    <a:pt x="41" y="82"/>
                  </a:cubicBezTo>
                  <a:cubicBezTo>
                    <a:pt x="41" y="82"/>
                    <a:pt x="41" y="103"/>
                    <a:pt x="41" y="124"/>
                  </a:cubicBezTo>
                  <a:cubicBezTo>
                    <a:pt x="41" y="124"/>
                    <a:pt x="41" y="144"/>
                    <a:pt x="41" y="164"/>
                  </a:cubicBezTo>
                  <a:lnTo>
                    <a:pt x="41" y="185"/>
                  </a:lnTo>
                  <a:cubicBezTo>
                    <a:pt x="41" y="205"/>
                    <a:pt x="41" y="226"/>
                    <a:pt x="41" y="246"/>
                  </a:cubicBezTo>
                  <a:cubicBezTo>
                    <a:pt x="41" y="246"/>
                    <a:pt x="41" y="287"/>
                    <a:pt x="41" y="308"/>
                  </a:cubicBezTo>
                  <a:cubicBezTo>
                    <a:pt x="41" y="308"/>
                    <a:pt x="41" y="349"/>
                    <a:pt x="21" y="349"/>
                  </a:cubicBezTo>
                  <a:lnTo>
                    <a:pt x="0" y="349"/>
                  </a:lnTo>
                  <a:lnTo>
                    <a:pt x="0" y="369"/>
                  </a:lnTo>
                  <a:cubicBezTo>
                    <a:pt x="0" y="390"/>
                    <a:pt x="0" y="410"/>
                    <a:pt x="0" y="410"/>
                  </a:cubicBezTo>
                  <a:cubicBezTo>
                    <a:pt x="0" y="431"/>
                    <a:pt x="21" y="431"/>
                    <a:pt x="21" y="451"/>
                  </a:cubicBezTo>
                  <a:cubicBezTo>
                    <a:pt x="21" y="451"/>
                    <a:pt x="21" y="472"/>
                    <a:pt x="41" y="472"/>
                  </a:cubicBezTo>
                  <a:cubicBezTo>
                    <a:pt x="41" y="492"/>
                    <a:pt x="41" y="513"/>
                    <a:pt x="41" y="533"/>
                  </a:cubicBezTo>
                  <a:cubicBezTo>
                    <a:pt x="41" y="533"/>
                    <a:pt x="21" y="554"/>
                    <a:pt x="21" y="574"/>
                  </a:cubicBezTo>
                  <a:cubicBezTo>
                    <a:pt x="21" y="574"/>
                    <a:pt x="41" y="595"/>
                    <a:pt x="41" y="615"/>
                  </a:cubicBezTo>
                  <a:cubicBezTo>
                    <a:pt x="41" y="615"/>
                    <a:pt x="41" y="636"/>
                    <a:pt x="41" y="656"/>
                  </a:cubicBezTo>
                  <a:cubicBezTo>
                    <a:pt x="41" y="677"/>
                    <a:pt x="41" y="697"/>
                    <a:pt x="62" y="718"/>
                  </a:cubicBezTo>
                  <a:cubicBezTo>
                    <a:pt x="62" y="718"/>
                    <a:pt x="62" y="759"/>
                    <a:pt x="82" y="759"/>
                  </a:cubicBezTo>
                  <a:cubicBezTo>
                    <a:pt x="82" y="779"/>
                    <a:pt x="103" y="779"/>
                    <a:pt x="103" y="800"/>
                  </a:cubicBezTo>
                  <a:cubicBezTo>
                    <a:pt x="123" y="800"/>
                    <a:pt x="144" y="800"/>
                    <a:pt x="144" y="800"/>
                  </a:cubicBezTo>
                  <a:cubicBezTo>
                    <a:pt x="164" y="820"/>
                    <a:pt x="185" y="820"/>
                    <a:pt x="185" y="80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29" name="Freeform 626">
              <a:extLst>
                <a:ext uri="{FF2B5EF4-FFF2-40B4-BE49-F238E27FC236}">
                  <a16:creationId xmlns:a16="http://schemas.microsoft.com/office/drawing/2014/main" id="{1CC8BF30-5F54-B049-9AE0-CF25AFFF2088}"/>
                </a:ext>
              </a:extLst>
            </p:cNvPr>
            <p:cNvSpPr>
              <a:spLocks noChangeArrowheads="1"/>
            </p:cNvSpPr>
            <p:nvPr/>
          </p:nvSpPr>
          <p:spPr bwMode="auto">
            <a:xfrm>
              <a:off x="4048125" y="6278563"/>
              <a:ext cx="7938" cy="15875"/>
            </a:xfrm>
            <a:custGeom>
              <a:avLst/>
              <a:gdLst>
                <a:gd name="T0" fmla="*/ 21 w 22"/>
                <a:gd name="T1" fmla="*/ 42 h 43"/>
                <a:gd name="T2" fmla="*/ 21 w 22"/>
                <a:gd name="T3" fmla="*/ 42 h 43"/>
                <a:gd name="T4" fmla="*/ 0 w 22"/>
                <a:gd name="T5" fmla="*/ 42 h 43"/>
                <a:gd name="T6" fmla="*/ 0 w 22"/>
                <a:gd name="T7" fmla="*/ 21 h 43"/>
                <a:gd name="T8" fmla="*/ 0 w 22"/>
                <a:gd name="T9" fmla="*/ 0 h 43"/>
                <a:gd name="T10" fmla="*/ 21 w 22"/>
                <a:gd name="T11" fmla="*/ 0 h 43"/>
                <a:gd name="T12" fmla="*/ 21 w 22"/>
                <a:gd name="T13" fmla="*/ 21 h 43"/>
                <a:gd name="T14" fmla="*/ 21 w 22"/>
                <a:gd name="T15" fmla="*/ 21 h 43"/>
                <a:gd name="T16" fmla="*/ 21 w 22"/>
                <a:gd name="T17" fmla="*/ 4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43">
                  <a:moveTo>
                    <a:pt x="21" y="42"/>
                  </a:moveTo>
                  <a:lnTo>
                    <a:pt x="21" y="42"/>
                  </a:lnTo>
                  <a:lnTo>
                    <a:pt x="0" y="42"/>
                  </a:lnTo>
                  <a:lnTo>
                    <a:pt x="0" y="21"/>
                  </a:lnTo>
                  <a:lnTo>
                    <a:pt x="0" y="0"/>
                  </a:lnTo>
                  <a:cubicBezTo>
                    <a:pt x="0" y="0"/>
                    <a:pt x="0" y="0"/>
                    <a:pt x="21" y="0"/>
                  </a:cubicBezTo>
                  <a:cubicBezTo>
                    <a:pt x="21" y="0"/>
                    <a:pt x="21" y="0"/>
                    <a:pt x="21" y="21"/>
                  </a:cubicBezTo>
                  <a:lnTo>
                    <a:pt x="21" y="21"/>
                  </a:lnTo>
                  <a:lnTo>
                    <a:pt x="21" y="4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0" name="Freeform 627">
              <a:extLst>
                <a:ext uri="{FF2B5EF4-FFF2-40B4-BE49-F238E27FC236}">
                  <a16:creationId xmlns:a16="http://schemas.microsoft.com/office/drawing/2014/main" id="{FF0D0B50-205A-E645-8C7C-15718462A1E3}"/>
                </a:ext>
              </a:extLst>
            </p:cNvPr>
            <p:cNvSpPr>
              <a:spLocks noChangeArrowheads="1"/>
            </p:cNvSpPr>
            <p:nvPr/>
          </p:nvSpPr>
          <p:spPr bwMode="auto">
            <a:xfrm>
              <a:off x="4062413" y="6286500"/>
              <a:ext cx="7937" cy="7938"/>
            </a:xfrm>
            <a:custGeom>
              <a:avLst/>
              <a:gdLst>
                <a:gd name="T0" fmla="*/ 0 w 21"/>
                <a:gd name="T1" fmla="*/ 21 h 22"/>
                <a:gd name="T2" fmla="*/ 0 w 21"/>
                <a:gd name="T3" fmla="*/ 21 h 22"/>
                <a:gd name="T4" fmla="*/ 20 w 21"/>
                <a:gd name="T5" fmla="*/ 0 h 22"/>
                <a:gd name="T6" fmla="*/ 0 w 21"/>
                <a:gd name="T7" fmla="*/ 0 h 22"/>
                <a:gd name="T8" fmla="*/ 0 w 21"/>
                <a:gd name="T9" fmla="*/ 0 h 22"/>
                <a:gd name="T10" fmla="*/ 0 w 21"/>
                <a:gd name="T11" fmla="*/ 21 h 22"/>
              </a:gdLst>
              <a:ahLst/>
              <a:cxnLst>
                <a:cxn ang="0">
                  <a:pos x="T0" y="T1"/>
                </a:cxn>
                <a:cxn ang="0">
                  <a:pos x="T2" y="T3"/>
                </a:cxn>
                <a:cxn ang="0">
                  <a:pos x="T4" y="T5"/>
                </a:cxn>
                <a:cxn ang="0">
                  <a:pos x="T6" y="T7"/>
                </a:cxn>
                <a:cxn ang="0">
                  <a:pos x="T8" y="T9"/>
                </a:cxn>
                <a:cxn ang="0">
                  <a:pos x="T10" y="T11"/>
                </a:cxn>
              </a:cxnLst>
              <a:rect l="0" t="0" r="r" b="b"/>
              <a:pathLst>
                <a:path w="21" h="22">
                  <a:moveTo>
                    <a:pt x="0" y="21"/>
                  </a:moveTo>
                  <a:lnTo>
                    <a:pt x="0" y="21"/>
                  </a:lnTo>
                  <a:cubicBezTo>
                    <a:pt x="20" y="21"/>
                    <a:pt x="20" y="21"/>
                    <a:pt x="20" y="0"/>
                  </a:cubicBezTo>
                  <a:lnTo>
                    <a:pt x="0" y="0"/>
                  </a:lnTo>
                  <a:lnTo>
                    <a:pt x="0" y="0"/>
                  </a:lnTo>
                  <a:cubicBezTo>
                    <a:pt x="0" y="0"/>
                    <a:pt x="0" y="0"/>
                    <a:pt x="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1" name="Freeform 628">
              <a:extLst>
                <a:ext uri="{FF2B5EF4-FFF2-40B4-BE49-F238E27FC236}">
                  <a16:creationId xmlns:a16="http://schemas.microsoft.com/office/drawing/2014/main" id="{798F6BA2-79E2-6746-9C08-6521D63DE7E0}"/>
                </a:ext>
              </a:extLst>
            </p:cNvPr>
            <p:cNvSpPr>
              <a:spLocks noChangeArrowheads="1"/>
            </p:cNvSpPr>
            <p:nvPr/>
          </p:nvSpPr>
          <p:spPr bwMode="auto">
            <a:xfrm>
              <a:off x="4011613" y="6278563"/>
              <a:ext cx="15875" cy="15875"/>
            </a:xfrm>
            <a:custGeom>
              <a:avLst/>
              <a:gdLst>
                <a:gd name="T0" fmla="*/ 21 w 42"/>
                <a:gd name="T1" fmla="*/ 0 h 43"/>
                <a:gd name="T2" fmla="*/ 21 w 42"/>
                <a:gd name="T3" fmla="*/ 0 h 43"/>
                <a:gd name="T4" fmla="*/ 0 w 42"/>
                <a:gd name="T5" fmla="*/ 0 h 43"/>
                <a:gd name="T6" fmla="*/ 0 w 42"/>
                <a:gd name="T7" fmla="*/ 21 h 43"/>
                <a:gd name="T8" fmla="*/ 21 w 42"/>
                <a:gd name="T9" fmla="*/ 42 h 43"/>
                <a:gd name="T10" fmla="*/ 21 w 42"/>
                <a:gd name="T11" fmla="*/ 21 h 43"/>
                <a:gd name="T12" fmla="*/ 21 w 4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42" h="43">
                  <a:moveTo>
                    <a:pt x="21" y="0"/>
                  </a:moveTo>
                  <a:lnTo>
                    <a:pt x="21" y="0"/>
                  </a:lnTo>
                  <a:lnTo>
                    <a:pt x="0" y="0"/>
                  </a:lnTo>
                  <a:lnTo>
                    <a:pt x="0" y="21"/>
                  </a:lnTo>
                  <a:lnTo>
                    <a:pt x="21" y="42"/>
                  </a:lnTo>
                  <a:cubicBezTo>
                    <a:pt x="21" y="42"/>
                    <a:pt x="41" y="21"/>
                    <a:pt x="21" y="21"/>
                  </a:cubicBezTo>
                  <a:cubicBezTo>
                    <a:pt x="21" y="21"/>
                    <a:pt x="21" y="21"/>
                    <a:pt x="21"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2" name="Freeform 629">
              <a:extLst>
                <a:ext uri="{FF2B5EF4-FFF2-40B4-BE49-F238E27FC236}">
                  <a16:creationId xmlns:a16="http://schemas.microsoft.com/office/drawing/2014/main" id="{0BE3E863-A17B-9242-931B-F0C23763F784}"/>
                </a:ext>
              </a:extLst>
            </p:cNvPr>
            <p:cNvSpPr>
              <a:spLocks noChangeArrowheads="1"/>
            </p:cNvSpPr>
            <p:nvPr/>
          </p:nvSpPr>
          <p:spPr bwMode="auto">
            <a:xfrm>
              <a:off x="2801938" y="5084763"/>
              <a:ext cx="1704975" cy="2251075"/>
            </a:xfrm>
            <a:custGeom>
              <a:avLst/>
              <a:gdLst>
                <a:gd name="T0" fmla="*/ 615 w 4734"/>
                <a:gd name="T1" fmla="*/ 594 h 6251"/>
                <a:gd name="T2" fmla="*/ 431 w 4734"/>
                <a:gd name="T3" fmla="*/ 287 h 6251"/>
                <a:gd name="T4" fmla="*/ 799 w 4734"/>
                <a:gd name="T5" fmla="*/ 0 h 6251"/>
                <a:gd name="T6" fmla="*/ 1127 w 4734"/>
                <a:gd name="T7" fmla="*/ 287 h 6251"/>
                <a:gd name="T8" fmla="*/ 1496 w 4734"/>
                <a:gd name="T9" fmla="*/ 554 h 6251"/>
                <a:gd name="T10" fmla="*/ 1599 w 4734"/>
                <a:gd name="T11" fmla="*/ 840 h 6251"/>
                <a:gd name="T12" fmla="*/ 1496 w 4734"/>
                <a:gd name="T13" fmla="*/ 1046 h 6251"/>
                <a:gd name="T14" fmla="*/ 1824 w 4734"/>
                <a:gd name="T15" fmla="*/ 1332 h 6251"/>
                <a:gd name="T16" fmla="*/ 1906 w 4734"/>
                <a:gd name="T17" fmla="*/ 1619 h 6251"/>
                <a:gd name="T18" fmla="*/ 2234 w 4734"/>
                <a:gd name="T19" fmla="*/ 1988 h 6251"/>
                <a:gd name="T20" fmla="*/ 2869 w 4734"/>
                <a:gd name="T21" fmla="*/ 2234 h 6251"/>
                <a:gd name="T22" fmla="*/ 3217 w 4734"/>
                <a:gd name="T23" fmla="*/ 1988 h 6251"/>
                <a:gd name="T24" fmla="*/ 3381 w 4734"/>
                <a:gd name="T25" fmla="*/ 2131 h 6251"/>
                <a:gd name="T26" fmla="*/ 3893 w 4734"/>
                <a:gd name="T27" fmla="*/ 2090 h 6251"/>
                <a:gd name="T28" fmla="*/ 3975 w 4734"/>
                <a:gd name="T29" fmla="*/ 1844 h 6251"/>
                <a:gd name="T30" fmla="*/ 4384 w 4734"/>
                <a:gd name="T31" fmla="*/ 1640 h 6251"/>
                <a:gd name="T32" fmla="*/ 4610 w 4734"/>
                <a:gd name="T33" fmla="*/ 1762 h 6251"/>
                <a:gd name="T34" fmla="*/ 4712 w 4734"/>
                <a:gd name="T35" fmla="*/ 2070 h 6251"/>
                <a:gd name="T36" fmla="*/ 4405 w 4734"/>
                <a:gd name="T37" fmla="*/ 2254 h 6251"/>
                <a:gd name="T38" fmla="*/ 4282 w 4734"/>
                <a:gd name="T39" fmla="*/ 2787 h 6251"/>
                <a:gd name="T40" fmla="*/ 4200 w 4734"/>
                <a:gd name="T41" fmla="*/ 3074 h 6251"/>
                <a:gd name="T42" fmla="*/ 4097 w 4734"/>
                <a:gd name="T43" fmla="*/ 2992 h 6251"/>
                <a:gd name="T44" fmla="*/ 3995 w 4734"/>
                <a:gd name="T45" fmla="*/ 2931 h 6251"/>
                <a:gd name="T46" fmla="*/ 3933 w 4734"/>
                <a:gd name="T47" fmla="*/ 2746 h 6251"/>
                <a:gd name="T48" fmla="*/ 3647 w 4734"/>
                <a:gd name="T49" fmla="*/ 2541 h 6251"/>
                <a:gd name="T50" fmla="*/ 3401 w 4734"/>
                <a:gd name="T51" fmla="*/ 2295 h 6251"/>
                <a:gd name="T52" fmla="*/ 3339 w 4734"/>
                <a:gd name="T53" fmla="*/ 2439 h 6251"/>
                <a:gd name="T54" fmla="*/ 3401 w 4734"/>
                <a:gd name="T55" fmla="*/ 2746 h 6251"/>
                <a:gd name="T56" fmla="*/ 3483 w 4734"/>
                <a:gd name="T57" fmla="*/ 3053 h 6251"/>
                <a:gd name="T58" fmla="*/ 3523 w 4734"/>
                <a:gd name="T59" fmla="*/ 3319 h 6251"/>
                <a:gd name="T60" fmla="*/ 3381 w 4734"/>
                <a:gd name="T61" fmla="*/ 3279 h 6251"/>
                <a:gd name="T62" fmla="*/ 3175 w 4734"/>
                <a:gd name="T63" fmla="*/ 3607 h 6251"/>
                <a:gd name="T64" fmla="*/ 2972 w 4734"/>
                <a:gd name="T65" fmla="*/ 3689 h 6251"/>
                <a:gd name="T66" fmla="*/ 2808 w 4734"/>
                <a:gd name="T67" fmla="*/ 3996 h 6251"/>
                <a:gd name="T68" fmla="*/ 2541 w 4734"/>
                <a:gd name="T69" fmla="*/ 4344 h 6251"/>
                <a:gd name="T70" fmla="*/ 2275 w 4734"/>
                <a:gd name="T71" fmla="*/ 4590 h 6251"/>
                <a:gd name="T72" fmla="*/ 2172 w 4734"/>
                <a:gd name="T73" fmla="*/ 4938 h 6251"/>
                <a:gd name="T74" fmla="*/ 2213 w 4734"/>
                <a:gd name="T75" fmla="*/ 5328 h 6251"/>
                <a:gd name="T76" fmla="*/ 2090 w 4734"/>
                <a:gd name="T77" fmla="*/ 5820 h 6251"/>
                <a:gd name="T78" fmla="*/ 1947 w 4734"/>
                <a:gd name="T79" fmla="*/ 6024 h 6251"/>
                <a:gd name="T80" fmla="*/ 1763 w 4734"/>
                <a:gd name="T81" fmla="*/ 6250 h 6251"/>
                <a:gd name="T82" fmla="*/ 1599 w 4734"/>
                <a:gd name="T83" fmla="*/ 6045 h 6251"/>
                <a:gd name="T84" fmla="*/ 1435 w 4734"/>
                <a:gd name="T85" fmla="*/ 5532 h 6251"/>
                <a:gd name="T86" fmla="*/ 1250 w 4734"/>
                <a:gd name="T87" fmla="*/ 5082 h 6251"/>
                <a:gd name="T88" fmla="*/ 1107 w 4734"/>
                <a:gd name="T89" fmla="*/ 4754 h 6251"/>
                <a:gd name="T90" fmla="*/ 984 w 4734"/>
                <a:gd name="T91" fmla="*/ 4529 h 6251"/>
                <a:gd name="T92" fmla="*/ 902 w 4734"/>
                <a:gd name="T93" fmla="*/ 4119 h 6251"/>
                <a:gd name="T94" fmla="*/ 841 w 4734"/>
                <a:gd name="T95" fmla="*/ 3893 h 6251"/>
                <a:gd name="T96" fmla="*/ 861 w 4734"/>
                <a:gd name="T97" fmla="*/ 3463 h 6251"/>
                <a:gd name="T98" fmla="*/ 779 w 4734"/>
                <a:gd name="T99" fmla="*/ 3401 h 6251"/>
                <a:gd name="T100" fmla="*/ 779 w 4734"/>
                <a:gd name="T101" fmla="*/ 3259 h 6251"/>
                <a:gd name="T102" fmla="*/ 717 w 4734"/>
                <a:gd name="T103" fmla="*/ 3401 h 6251"/>
                <a:gd name="T104" fmla="*/ 369 w 4734"/>
                <a:gd name="T105" fmla="*/ 3504 h 6251"/>
                <a:gd name="T106" fmla="*/ 144 w 4734"/>
                <a:gd name="T107" fmla="*/ 3217 h 6251"/>
                <a:gd name="T108" fmla="*/ 369 w 4734"/>
                <a:gd name="T109" fmla="*/ 3135 h 6251"/>
                <a:gd name="T110" fmla="*/ 82 w 4734"/>
                <a:gd name="T111" fmla="*/ 3074 h 6251"/>
                <a:gd name="T112" fmla="*/ 21 w 4734"/>
                <a:gd name="T113" fmla="*/ 2910 h 6251"/>
                <a:gd name="T114" fmla="*/ 349 w 4734"/>
                <a:gd name="T115" fmla="*/ 2807 h 6251"/>
                <a:gd name="T116" fmla="*/ 390 w 4734"/>
                <a:gd name="T117" fmla="*/ 2541 h 6251"/>
                <a:gd name="T118" fmla="*/ 185 w 4734"/>
                <a:gd name="T119" fmla="*/ 2234 h 6251"/>
                <a:gd name="T120" fmla="*/ 431 w 4734"/>
                <a:gd name="T121" fmla="*/ 2029 h 6251"/>
                <a:gd name="T122" fmla="*/ 697 w 4734"/>
                <a:gd name="T123" fmla="*/ 1742 h 6251"/>
                <a:gd name="T124" fmla="*/ 902 w 4734"/>
                <a:gd name="T125" fmla="*/ 1189 h 6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34" h="6251">
                  <a:moveTo>
                    <a:pt x="1025" y="1066"/>
                  </a:moveTo>
                  <a:lnTo>
                    <a:pt x="1025" y="1066"/>
                  </a:lnTo>
                  <a:cubicBezTo>
                    <a:pt x="1005" y="1046"/>
                    <a:pt x="963" y="1025"/>
                    <a:pt x="943" y="1025"/>
                  </a:cubicBezTo>
                  <a:lnTo>
                    <a:pt x="902" y="1004"/>
                  </a:lnTo>
                  <a:cubicBezTo>
                    <a:pt x="881" y="984"/>
                    <a:pt x="881" y="964"/>
                    <a:pt x="861" y="964"/>
                  </a:cubicBezTo>
                  <a:cubicBezTo>
                    <a:pt x="841" y="943"/>
                    <a:pt x="799" y="922"/>
                    <a:pt x="779" y="922"/>
                  </a:cubicBezTo>
                  <a:cubicBezTo>
                    <a:pt x="779" y="902"/>
                    <a:pt x="738" y="902"/>
                    <a:pt x="717" y="902"/>
                  </a:cubicBezTo>
                  <a:cubicBezTo>
                    <a:pt x="697" y="882"/>
                    <a:pt x="656" y="861"/>
                    <a:pt x="656" y="840"/>
                  </a:cubicBezTo>
                  <a:cubicBezTo>
                    <a:pt x="635" y="820"/>
                    <a:pt x="635" y="800"/>
                    <a:pt x="635" y="779"/>
                  </a:cubicBezTo>
                  <a:cubicBezTo>
                    <a:pt x="635" y="758"/>
                    <a:pt x="615" y="738"/>
                    <a:pt x="615" y="718"/>
                  </a:cubicBezTo>
                  <a:cubicBezTo>
                    <a:pt x="595" y="718"/>
                    <a:pt x="574" y="697"/>
                    <a:pt x="574" y="697"/>
                  </a:cubicBezTo>
                  <a:cubicBezTo>
                    <a:pt x="574" y="676"/>
                    <a:pt x="595" y="656"/>
                    <a:pt x="595" y="656"/>
                  </a:cubicBezTo>
                  <a:cubicBezTo>
                    <a:pt x="595" y="636"/>
                    <a:pt x="615" y="594"/>
                    <a:pt x="615" y="594"/>
                  </a:cubicBezTo>
                  <a:cubicBezTo>
                    <a:pt x="615" y="574"/>
                    <a:pt x="615" y="554"/>
                    <a:pt x="615" y="533"/>
                  </a:cubicBezTo>
                  <a:cubicBezTo>
                    <a:pt x="635" y="513"/>
                    <a:pt x="677" y="492"/>
                    <a:pt x="677" y="492"/>
                  </a:cubicBezTo>
                  <a:cubicBezTo>
                    <a:pt x="697" y="472"/>
                    <a:pt x="697" y="472"/>
                    <a:pt x="697" y="472"/>
                  </a:cubicBezTo>
                  <a:cubicBezTo>
                    <a:pt x="697" y="451"/>
                    <a:pt x="697" y="451"/>
                    <a:pt x="697" y="431"/>
                  </a:cubicBezTo>
                  <a:cubicBezTo>
                    <a:pt x="697" y="431"/>
                    <a:pt x="677" y="431"/>
                    <a:pt x="656" y="431"/>
                  </a:cubicBezTo>
                  <a:cubicBezTo>
                    <a:pt x="656" y="410"/>
                    <a:pt x="635" y="410"/>
                    <a:pt x="615" y="410"/>
                  </a:cubicBezTo>
                  <a:cubicBezTo>
                    <a:pt x="615" y="410"/>
                    <a:pt x="615" y="390"/>
                    <a:pt x="615" y="369"/>
                  </a:cubicBezTo>
                  <a:cubicBezTo>
                    <a:pt x="595" y="369"/>
                    <a:pt x="615" y="349"/>
                    <a:pt x="615" y="349"/>
                  </a:cubicBezTo>
                  <a:cubicBezTo>
                    <a:pt x="595" y="349"/>
                    <a:pt x="574" y="349"/>
                    <a:pt x="574" y="328"/>
                  </a:cubicBezTo>
                  <a:cubicBezTo>
                    <a:pt x="553" y="328"/>
                    <a:pt x="553" y="308"/>
                    <a:pt x="553" y="308"/>
                  </a:cubicBezTo>
                  <a:cubicBezTo>
                    <a:pt x="533" y="308"/>
                    <a:pt x="513" y="287"/>
                    <a:pt x="513" y="287"/>
                  </a:cubicBezTo>
                  <a:cubicBezTo>
                    <a:pt x="492" y="287"/>
                    <a:pt x="492" y="308"/>
                    <a:pt x="471" y="308"/>
                  </a:cubicBezTo>
                  <a:cubicBezTo>
                    <a:pt x="471" y="308"/>
                    <a:pt x="451" y="287"/>
                    <a:pt x="431" y="287"/>
                  </a:cubicBezTo>
                  <a:cubicBezTo>
                    <a:pt x="431" y="267"/>
                    <a:pt x="451" y="246"/>
                    <a:pt x="451" y="226"/>
                  </a:cubicBezTo>
                  <a:lnTo>
                    <a:pt x="451" y="205"/>
                  </a:lnTo>
                  <a:cubicBezTo>
                    <a:pt x="451" y="185"/>
                    <a:pt x="471" y="185"/>
                    <a:pt x="471" y="164"/>
                  </a:cubicBezTo>
                  <a:lnTo>
                    <a:pt x="492" y="144"/>
                  </a:lnTo>
                  <a:cubicBezTo>
                    <a:pt x="492" y="144"/>
                    <a:pt x="513" y="123"/>
                    <a:pt x="533" y="103"/>
                  </a:cubicBezTo>
                  <a:cubicBezTo>
                    <a:pt x="553" y="103"/>
                    <a:pt x="574" y="123"/>
                    <a:pt x="595" y="103"/>
                  </a:cubicBezTo>
                  <a:cubicBezTo>
                    <a:pt x="615" y="103"/>
                    <a:pt x="635" y="103"/>
                    <a:pt x="635" y="103"/>
                  </a:cubicBezTo>
                  <a:cubicBezTo>
                    <a:pt x="656" y="103"/>
                    <a:pt x="677" y="82"/>
                    <a:pt x="677" y="82"/>
                  </a:cubicBezTo>
                  <a:cubicBezTo>
                    <a:pt x="677" y="82"/>
                    <a:pt x="697" y="62"/>
                    <a:pt x="717" y="62"/>
                  </a:cubicBezTo>
                  <a:cubicBezTo>
                    <a:pt x="717" y="41"/>
                    <a:pt x="717" y="41"/>
                    <a:pt x="738" y="21"/>
                  </a:cubicBezTo>
                  <a:cubicBezTo>
                    <a:pt x="738" y="21"/>
                    <a:pt x="738" y="21"/>
                    <a:pt x="738" y="0"/>
                  </a:cubicBezTo>
                  <a:lnTo>
                    <a:pt x="738" y="0"/>
                  </a:lnTo>
                  <a:cubicBezTo>
                    <a:pt x="759" y="0"/>
                    <a:pt x="779" y="0"/>
                    <a:pt x="799" y="0"/>
                  </a:cubicBezTo>
                  <a:cubicBezTo>
                    <a:pt x="820" y="0"/>
                    <a:pt x="841" y="0"/>
                    <a:pt x="861" y="0"/>
                  </a:cubicBezTo>
                  <a:cubicBezTo>
                    <a:pt x="881" y="0"/>
                    <a:pt x="881" y="21"/>
                    <a:pt x="902" y="21"/>
                  </a:cubicBezTo>
                  <a:cubicBezTo>
                    <a:pt x="902" y="41"/>
                    <a:pt x="923" y="62"/>
                    <a:pt x="923" y="62"/>
                  </a:cubicBezTo>
                  <a:cubicBezTo>
                    <a:pt x="943" y="82"/>
                    <a:pt x="943" y="82"/>
                    <a:pt x="963" y="103"/>
                  </a:cubicBezTo>
                  <a:cubicBezTo>
                    <a:pt x="963" y="123"/>
                    <a:pt x="963" y="144"/>
                    <a:pt x="963" y="164"/>
                  </a:cubicBezTo>
                  <a:cubicBezTo>
                    <a:pt x="984" y="164"/>
                    <a:pt x="963" y="164"/>
                    <a:pt x="963" y="185"/>
                  </a:cubicBezTo>
                  <a:lnTo>
                    <a:pt x="943" y="205"/>
                  </a:lnTo>
                  <a:lnTo>
                    <a:pt x="943" y="226"/>
                  </a:lnTo>
                  <a:cubicBezTo>
                    <a:pt x="963" y="246"/>
                    <a:pt x="984" y="246"/>
                    <a:pt x="984" y="246"/>
                  </a:cubicBezTo>
                  <a:cubicBezTo>
                    <a:pt x="984" y="246"/>
                    <a:pt x="984" y="267"/>
                    <a:pt x="1005" y="267"/>
                  </a:cubicBezTo>
                  <a:lnTo>
                    <a:pt x="1025" y="267"/>
                  </a:lnTo>
                  <a:cubicBezTo>
                    <a:pt x="1045" y="267"/>
                    <a:pt x="1066" y="267"/>
                    <a:pt x="1087" y="267"/>
                  </a:cubicBezTo>
                  <a:cubicBezTo>
                    <a:pt x="1087" y="267"/>
                    <a:pt x="1107" y="267"/>
                    <a:pt x="1127" y="287"/>
                  </a:cubicBezTo>
                  <a:lnTo>
                    <a:pt x="1148" y="308"/>
                  </a:lnTo>
                  <a:cubicBezTo>
                    <a:pt x="1148" y="308"/>
                    <a:pt x="1148" y="328"/>
                    <a:pt x="1148" y="349"/>
                  </a:cubicBezTo>
                  <a:cubicBezTo>
                    <a:pt x="1148" y="349"/>
                    <a:pt x="1168" y="349"/>
                    <a:pt x="1168" y="369"/>
                  </a:cubicBezTo>
                  <a:cubicBezTo>
                    <a:pt x="1189" y="369"/>
                    <a:pt x="1209" y="369"/>
                    <a:pt x="1229" y="369"/>
                  </a:cubicBezTo>
                  <a:lnTo>
                    <a:pt x="1250" y="349"/>
                  </a:lnTo>
                  <a:cubicBezTo>
                    <a:pt x="1271" y="328"/>
                    <a:pt x="1291" y="328"/>
                    <a:pt x="1311" y="349"/>
                  </a:cubicBezTo>
                  <a:cubicBezTo>
                    <a:pt x="1311" y="349"/>
                    <a:pt x="1332" y="349"/>
                    <a:pt x="1353" y="349"/>
                  </a:cubicBezTo>
                  <a:lnTo>
                    <a:pt x="1373" y="349"/>
                  </a:lnTo>
                  <a:cubicBezTo>
                    <a:pt x="1393" y="369"/>
                    <a:pt x="1414" y="390"/>
                    <a:pt x="1414" y="390"/>
                  </a:cubicBezTo>
                  <a:lnTo>
                    <a:pt x="1414" y="410"/>
                  </a:lnTo>
                  <a:cubicBezTo>
                    <a:pt x="1414" y="410"/>
                    <a:pt x="1435" y="431"/>
                    <a:pt x="1435" y="451"/>
                  </a:cubicBezTo>
                  <a:lnTo>
                    <a:pt x="1435" y="472"/>
                  </a:lnTo>
                  <a:cubicBezTo>
                    <a:pt x="1455" y="492"/>
                    <a:pt x="1475" y="533"/>
                    <a:pt x="1496" y="554"/>
                  </a:cubicBezTo>
                  <a:cubicBezTo>
                    <a:pt x="1517" y="554"/>
                    <a:pt x="1537" y="574"/>
                    <a:pt x="1557" y="574"/>
                  </a:cubicBezTo>
                  <a:cubicBezTo>
                    <a:pt x="1557" y="574"/>
                    <a:pt x="1578" y="594"/>
                    <a:pt x="1599" y="594"/>
                  </a:cubicBezTo>
                  <a:cubicBezTo>
                    <a:pt x="1599" y="615"/>
                    <a:pt x="1599" y="615"/>
                    <a:pt x="1599" y="615"/>
                  </a:cubicBezTo>
                  <a:cubicBezTo>
                    <a:pt x="1599" y="636"/>
                    <a:pt x="1599" y="636"/>
                    <a:pt x="1599" y="656"/>
                  </a:cubicBezTo>
                  <a:cubicBezTo>
                    <a:pt x="1578" y="656"/>
                    <a:pt x="1557" y="636"/>
                    <a:pt x="1557" y="636"/>
                  </a:cubicBezTo>
                  <a:cubicBezTo>
                    <a:pt x="1537" y="636"/>
                    <a:pt x="1517" y="636"/>
                    <a:pt x="1517" y="636"/>
                  </a:cubicBezTo>
                  <a:cubicBezTo>
                    <a:pt x="1496" y="636"/>
                    <a:pt x="1496" y="656"/>
                    <a:pt x="1496" y="656"/>
                  </a:cubicBezTo>
                  <a:cubicBezTo>
                    <a:pt x="1496" y="656"/>
                    <a:pt x="1496" y="676"/>
                    <a:pt x="1496" y="697"/>
                  </a:cubicBezTo>
                  <a:cubicBezTo>
                    <a:pt x="1517" y="697"/>
                    <a:pt x="1537" y="697"/>
                    <a:pt x="1557" y="718"/>
                  </a:cubicBezTo>
                  <a:cubicBezTo>
                    <a:pt x="1557" y="718"/>
                    <a:pt x="1557" y="738"/>
                    <a:pt x="1537" y="758"/>
                  </a:cubicBezTo>
                  <a:lnTo>
                    <a:pt x="1537" y="779"/>
                  </a:lnTo>
                  <a:cubicBezTo>
                    <a:pt x="1537" y="800"/>
                    <a:pt x="1537" y="800"/>
                    <a:pt x="1537" y="820"/>
                  </a:cubicBezTo>
                  <a:cubicBezTo>
                    <a:pt x="1557" y="820"/>
                    <a:pt x="1578" y="820"/>
                    <a:pt x="1599" y="840"/>
                  </a:cubicBezTo>
                  <a:lnTo>
                    <a:pt x="1599" y="861"/>
                  </a:lnTo>
                  <a:cubicBezTo>
                    <a:pt x="1599" y="882"/>
                    <a:pt x="1599" y="902"/>
                    <a:pt x="1599" y="902"/>
                  </a:cubicBezTo>
                  <a:cubicBezTo>
                    <a:pt x="1599" y="902"/>
                    <a:pt x="1619" y="902"/>
                    <a:pt x="1619" y="922"/>
                  </a:cubicBezTo>
                  <a:cubicBezTo>
                    <a:pt x="1639" y="922"/>
                    <a:pt x="1639" y="943"/>
                    <a:pt x="1639" y="943"/>
                  </a:cubicBezTo>
                  <a:cubicBezTo>
                    <a:pt x="1639" y="964"/>
                    <a:pt x="1639" y="984"/>
                    <a:pt x="1639" y="984"/>
                  </a:cubicBezTo>
                  <a:cubicBezTo>
                    <a:pt x="1639" y="1004"/>
                    <a:pt x="1619" y="1025"/>
                    <a:pt x="1619" y="1025"/>
                  </a:cubicBezTo>
                  <a:cubicBezTo>
                    <a:pt x="1619" y="1025"/>
                    <a:pt x="1599" y="1025"/>
                    <a:pt x="1578" y="1025"/>
                  </a:cubicBezTo>
                  <a:lnTo>
                    <a:pt x="1557" y="1004"/>
                  </a:lnTo>
                  <a:cubicBezTo>
                    <a:pt x="1557" y="1004"/>
                    <a:pt x="1537" y="984"/>
                    <a:pt x="1537" y="964"/>
                  </a:cubicBezTo>
                  <a:lnTo>
                    <a:pt x="1517" y="964"/>
                  </a:lnTo>
                  <a:cubicBezTo>
                    <a:pt x="1496" y="964"/>
                    <a:pt x="1496" y="984"/>
                    <a:pt x="1496" y="984"/>
                  </a:cubicBezTo>
                  <a:cubicBezTo>
                    <a:pt x="1496" y="984"/>
                    <a:pt x="1496" y="1004"/>
                    <a:pt x="1496" y="1025"/>
                  </a:cubicBezTo>
                  <a:lnTo>
                    <a:pt x="1496" y="1046"/>
                  </a:lnTo>
                  <a:cubicBezTo>
                    <a:pt x="1517" y="1046"/>
                    <a:pt x="1537" y="1046"/>
                    <a:pt x="1537" y="1066"/>
                  </a:cubicBezTo>
                  <a:cubicBezTo>
                    <a:pt x="1557" y="1066"/>
                    <a:pt x="1578" y="1086"/>
                    <a:pt x="1578" y="1086"/>
                  </a:cubicBezTo>
                  <a:cubicBezTo>
                    <a:pt x="1578" y="1086"/>
                    <a:pt x="1578" y="1107"/>
                    <a:pt x="1578" y="1128"/>
                  </a:cubicBezTo>
                  <a:cubicBezTo>
                    <a:pt x="1578" y="1128"/>
                    <a:pt x="1578" y="1148"/>
                    <a:pt x="1578" y="1168"/>
                  </a:cubicBezTo>
                  <a:lnTo>
                    <a:pt x="1599" y="1210"/>
                  </a:lnTo>
                  <a:cubicBezTo>
                    <a:pt x="1599" y="1230"/>
                    <a:pt x="1599" y="1230"/>
                    <a:pt x="1619" y="1250"/>
                  </a:cubicBezTo>
                  <a:cubicBezTo>
                    <a:pt x="1619" y="1250"/>
                    <a:pt x="1639" y="1250"/>
                    <a:pt x="1660" y="1250"/>
                  </a:cubicBezTo>
                  <a:lnTo>
                    <a:pt x="1681" y="1250"/>
                  </a:lnTo>
                  <a:cubicBezTo>
                    <a:pt x="1701" y="1250"/>
                    <a:pt x="1701" y="1270"/>
                    <a:pt x="1701" y="1270"/>
                  </a:cubicBezTo>
                  <a:cubicBezTo>
                    <a:pt x="1701" y="1291"/>
                    <a:pt x="1721" y="1291"/>
                    <a:pt x="1721" y="1291"/>
                  </a:cubicBezTo>
                  <a:cubicBezTo>
                    <a:pt x="1742" y="1291"/>
                    <a:pt x="1742" y="1312"/>
                    <a:pt x="1763" y="1312"/>
                  </a:cubicBezTo>
                  <a:lnTo>
                    <a:pt x="1783" y="1312"/>
                  </a:lnTo>
                  <a:cubicBezTo>
                    <a:pt x="1803" y="1312"/>
                    <a:pt x="1824" y="1332"/>
                    <a:pt x="1824" y="1332"/>
                  </a:cubicBezTo>
                  <a:cubicBezTo>
                    <a:pt x="1824" y="1352"/>
                    <a:pt x="1824" y="1373"/>
                    <a:pt x="1824" y="1373"/>
                  </a:cubicBezTo>
                  <a:cubicBezTo>
                    <a:pt x="1845" y="1373"/>
                    <a:pt x="1845" y="1394"/>
                    <a:pt x="1845" y="1394"/>
                  </a:cubicBezTo>
                  <a:cubicBezTo>
                    <a:pt x="1845" y="1394"/>
                    <a:pt x="1865" y="1394"/>
                    <a:pt x="1885" y="1394"/>
                  </a:cubicBezTo>
                  <a:cubicBezTo>
                    <a:pt x="1885" y="1414"/>
                    <a:pt x="1885" y="1414"/>
                    <a:pt x="1906" y="1414"/>
                  </a:cubicBezTo>
                  <a:cubicBezTo>
                    <a:pt x="1906" y="1414"/>
                    <a:pt x="1906" y="1434"/>
                    <a:pt x="1926" y="1434"/>
                  </a:cubicBezTo>
                  <a:lnTo>
                    <a:pt x="1947" y="1455"/>
                  </a:lnTo>
                  <a:cubicBezTo>
                    <a:pt x="1947" y="1455"/>
                    <a:pt x="1947" y="1476"/>
                    <a:pt x="1967" y="1476"/>
                  </a:cubicBezTo>
                  <a:cubicBezTo>
                    <a:pt x="1947" y="1476"/>
                    <a:pt x="1947" y="1476"/>
                    <a:pt x="1947" y="1496"/>
                  </a:cubicBezTo>
                  <a:lnTo>
                    <a:pt x="1947" y="1496"/>
                  </a:lnTo>
                  <a:cubicBezTo>
                    <a:pt x="1926" y="1496"/>
                    <a:pt x="1926" y="1516"/>
                    <a:pt x="1926" y="1537"/>
                  </a:cubicBezTo>
                  <a:lnTo>
                    <a:pt x="1926" y="1558"/>
                  </a:lnTo>
                  <a:cubicBezTo>
                    <a:pt x="1926" y="1578"/>
                    <a:pt x="1906" y="1578"/>
                    <a:pt x="1906" y="1598"/>
                  </a:cubicBezTo>
                  <a:lnTo>
                    <a:pt x="1906" y="1619"/>
                  </a:lnTo>
                  <a:cubicBezTo>
                    <a:pt x="1906" y="1640"/>
                    <a:pt x="1906" y="1660"/>
                    <a:pt x="1906" y="1660"/>
                  </a:cubicBezTo>
                  <a:cubicBezTo>
                    <a:pt x="1906" y="1680"/>
                    <a:pt x="1885" y="1701"/>
                    <a:pt x="1885" y="1722"/>
                  </a:cubicBezTo>
                  <a:cubicBezTo>
                    <a:pt x="1885" y="1722"/>
                    <a:pt x="1885" y="1722"/>
                    <a:pt x="1885" y="1742"/>
                  </a:cubicBezTo>
                  <a:cubicBezTo>
                    <a:pt x="1885" y="1742"/>
                    <a:pt x="1885" y="1742"/>
                    <a:pt x="1885" y="1762"/>
                  </a:cubicBezTo>
                  <a:cubicBezTo>
                    <a:pt x="1885" y="1762"/>
                    <a:pt x="1906" y="1804"/>
                    <a:pt x="1926" y="1804"/>
                  </a:cubicBezTo>
                  <a:lnTo>
                    <a:pt x="1947" y="1824"/>
                  </a:lnTo>
                  <a:cubicBezTo>
                    <a:pt x="1967" y="1824"/>
                    <a:pt x="1988" y="1824"/>
                    <a:pt x="2008" y="1824"/>
                  </a:cubicBezTo>
                  <a:cubicBezTo>
                    <a:pt x="2008" y="1844"/>
                    <a:pt x="2049" y="1865"/>
                    <a:pt x="2070" y="1865"/>
                  </a:cubicBezTo>
                  <a:lnTo>
                    <a:pt x="2090" y="1886"/>
                  </a:lnTo>
                  <a:cubicBezTo>
                    <a:pt x="2090" y="1906"/>
                    <a:pt x="2111" y="1906"/>
                    <a:pt x="2111" y="1926"/>
                  </a:cubicBezTo>
                  <a:cubicBezTo>
                    <a:pt x="2111" y="1926"/>
                    <a:pt x="2131" y="1947"/>
                    <a:pt x="2131" y="1967"/>
                  </a:cubicBezTo>
                  <a:cubicBezTo>
                    <a:pt x="2152" y="1967"/>
                    <a:pt x="2172" y="1967"/>
                    <a:pt x="2193" y="1967"/>
                  </a:cubicBezTo>
                  <a:cubicBezTo>
                    <a:pt x="2213" y="1967"/>
                    <a:pt x="2213" y="1988"/>
                    <a:pt x="2234" y="1988"/>
                  </a:cubicBezTo>
                  <a:cubicBezTo>
                    <a:pt x="2254" y="1988"/>
                    <a:pt x="2275" y="2008"/>
                    <a:pt x="2295" y="2008"/>
                  </a:cubicBezTo>
                  <a:cubicBezTo>
                    <a:pt x="2316" y="2008"/>
                    <a:pt x="2336" y="2008"/>
                    <a:pt x="2357" y="2008"/>
                  </a:cubicBezTo>
                  <a:lnTo>
                    <a:pt x="2398" y="2008"/>
                  </a:lnTo>
                  <a:cubicBezTo>
                    <a:pt x="2418" y="2029"/>
                    <a:pt x="2418" y="2049"/>
                    <a:pt x="2439" y="2049"/>
                  </a:cubicBezTo>
                  <a:lnTo>
                    <a:pt x="2459" y="2029"/>
                  </a:lnTo>
                  <a:cubicBezTo>
                    <a:pt x="2480" y="2029"/>
                    <a:pt x="2500" y="2029"/>
                    <a:pt x="2500" y="2029"/>
                  </a:cubicBezTo>
                  <a:cubicBezTo>
                    <a:pt x="2521" y="2029"/>
                    <a:pt x="2541" y="2029"/>
                    <a:pt x="2562" y="2029"/>
                  </a:cubicBezTo>
                  <a:cubicBezTo>
                    <a:pt x="2562" y="2029"/>
                    <a:pt x="2603" y="2029"/>
                    <a:pt x="2623" y="2029"/>
                  </a:cubicBezTo>
                  <a:cubicBezTo>
                    <a:pt x="2644" y="2049"/>
                    <a:pt x="2664" y="2090"/>
                    <a:pt x="2684" y="2090"/>
                  </a:cubicBezTo>
                  <a:cubicBezTo>
                    <a:pt x="2684" y="2111"/>
                    <a:pt x="2726" y="2111"/>
                    <a:pt x="2726" y="2131"/>
                  </a:cubicBezTo>
                  <a:cubicBezTo>
                    <a:pt x="2746" y="2131"/>
                    <a:pt x="2766" y="2152"/>
                    <a:pt x="2787" y="2152"/>
                  </a:cubicBezTo>
                  <a:cubicBezTo>
                    <a:pt x="2787" y="2152"/>
                    <a:pt x="2828" y="2172"/>
                    <a:pt x="2848" y="2193"/>
                  </a:cubicBezTo>
                  <a:cubicBezTo>
                    <a:pt x="2848" y="2193"/>
                    <a:pt x="2848" y="2213"/>
                    <a:pt x="2869" y="2234"/>
                  </a:cubicBezTo>
                  <a:cubicBezTo>
                    <a:pt x="2869" y="2234"/>
                    <a:pt x="2890" y="2234"/>
                    <a:pt x="2910" y="2234"/>
                  </a:cubicBezTo>
                  <a:cubicBezTo>
                    <a:pt x="2930" y="2234"/>
                    <a:pt x="2951" y="2254"/>
                    <a:pt x="2951" y="2254"/>
                  </a:cubicBezTo>
                  <a:cubicBezTo>
                    <a:pt x="2972" y="2254"/>
                    <a:pt x="2992" y="2254"/>
                    <a:pt x="3012" y="2254"/>
                  </a:cubicBezTo>
                  <a:cubicBezTo>
                    <a:pt x="3012" y="2254"/>
                    <a:pt x="3053" y="2254"/>
                    <a:pt x="3073" y="2254"/>
                  </a:cubicBezTo>
                  <a:cubicBezTo>
                    <a:pt x="3093" y="2254"/>
                    <a:pt x="3155" y="2275"/>
                    <a:pt x="3175" y="2275"/>
                  </a:cubicBezTo>
                  <a:cubicBezTo>
                    <a:pt x="3175" y="2275"/>
                    <a:pt x="3196" y="2275"/>
                    <a:pt x="3196" y="2254"/>
                  </a:cubicBezTo>
                  <a:cubicBezTo>
                    <a:pt x="3217" y="2254"/>
                    <a:pt x="3217" y="2254"/>
                    <a:pt x="3217" y="2234"/>
                  </a:cubicBezTo>
                  <a:lnTo>
                    <a:pt x="3237" y="2234"/>
                  </a:lnTo>
                  <a:cubicBezTo>
                    <a:pt x="3257" y="2213"/>
                    <a:pt x="3237" y="2193"/>
                    <a:pt x="3237" y="2193"/>
                  </a:cubicBezTo>
                  <a:cubicBezTo>
                    <a:pt x="3237" y="2172"/>
                    <a:pt x="3217" y="2152"/>
                    <a:pt x="3217" y="2152"/>
                  </a:cubicBezTo>
                  <a:cubicBezTo>
                    <a:pt x="3196" y="2131"/>
                    <a:pt x="3196" y="2111"/>
                    <a:pt x="3217" y="2090"/>
                  </a:cubicBezTo>
                  <a:cubicBezTo>
                    <a:pt x="3217" y="2070"/>
                    <a:pt x="3217" y="2049"/>
                    <a:pt x="3217" y="2029"/>
                  </a:cubicBezTo>
                  <a:cubicBezTo>
                    <a:pt x="3217" y="2008"/>
                    <a:pt x="3217" y="1988"/>
                    <a:pt x="3217" y="1988"/>
                  </a:cubicBezTo>
                  <a:cubicBezTo>
                    <a:pt x="3217" y="1967"/>
                    <a:pt x="3217" y="1947"/>
                    <a:pt x="3217" y="1947"/>
                  </a:cubicBezTo>
                  <a:cubicBezTo>
                    <a:pt x="3217" y="1947"/>
                    <a:pt x="3217" y="1926"/>
                    <a:pt x="3217" y="1906"/>
                  </a:cubicBezTo>
                  <a:lnTo>
                    <a:pt x="3237" y="1906"/>
                  </a:lnTo>
                  <a:cubicBezTo>
                    <a:pt x="3257" y="1906"/>
                    <a:pt x="3278" y="1906"/>
                    <a:pt x="3299" y="1906"/>
                  </a:cubicBezTo>
                  <a:cubicBezTo>
                    <a:pt x="3319" y="1906"/>
                    <a:pt x="3339" y="1906"/>
                    <a:pt x="3339" y="1926"/>
                  </a:cubicBezTo>
                  <a:cubicBezTo>
                    <a:pt x="3360" y="1926"/>
                    <a:pt x="3339" y="1947"/>
                    <a:pt x="3339" y="1947"/>
                  </a:cubicBezTo>
                  <a:cubicBezTo>
                    <a:pt x="3319" y="1967"/>
                    <a:pt x="3339" y="1988"/>
                    <a:pt x="3339" y="1988"/>
                  </a:cubicBezTo>
                  <a:cubicBezTo>
                    <a:pt x="3339" y="1988"/>
                    <a:pt x="3339" y="2008"/>
                    <a:pt x="3339" y="2029"/>
                  </a:cubicBezTo>
                  <a:lnTo>
                    <a:pt x="3360" y="2029"/>
                  </a:lnTo>
                  <a:cubicBezTo>
                    <a:pt x="3360" y="2029"/>
                    <a:pt x="3360" y="2029"/>
                    <a:pt x="3360" y="2049"/>
                  </a:cubicBezTo>
                  <a:lnTo>
                    <a:pt x="3339" y="2070"/>
                  </a:lnTo>
                  <a:cubicBezTo>
                    <a:pt x="3339" y="2090"/>
                    <a:pt x="3360" y="2111"/>
                    <a:pt x="3360" y="2111"/>
                  </a:cubicBezTo>
                  <a:cubicBezTo>
                    <a:pt x="3360" y="2131"/>
                    <a:pt x="3381" y="2131"/>
                    <a:pt x="3381" y="2131"/>
                  </a:cubicBezTo>
                  <a:cubicBezTo>
                    <a:pt x="3401" y="2152"/>
                    <a:pt x="3401" y="2172"/>
                    <a:pt x="3421" y="2172"/>
                  </a:cubicBezTo>
                  <a:cubicBezTo>
                    <a:pt x="3421" y="2193"/>
                    <a:pt x="3483" y="2193"/>
                    <a:pt x="3503" y="2193"/>
                  </a:cubicBezTo>
                  <a:lnTo>
                    <a:pt x="3523" y="2172"/>
                  </a:lnTo>
                  <a:cubicBezTo>
                    <a:pt x="3544" y="2172"/>
                    <a:pt x="3565" y="2172"/>
                    <a:pt x="3565" y="2172"/>
                  </a:cubicBezTo>
                  <a:cubicBezTo>
                    <a:pt x="3585" y="2172"/>
                    <a:pt x="3626" y="2152"/>
                    <a:pt x="3647" y="2172"/>
                  </a:cubicBezTo>
                  <a:lnTo>
                    <a:pt x="3667" y="2172"/>
                  </a:lnTo>
                  <a:cubicBezTo>
                    <a:pt x="3687" y="2172"/>
                    <a:pt x="3687" y="2172"/>
                    <a:pt x="3687" y="2172"/>
                  </a:cubicBezTo>
                  <a:cubicBezTo>
                    <a:pt x="3708" y="2172"/>
                    <a:pt x="3729" y="2172"/>
                    <a:pt x="3749" y="2172"/>
                  </a:cubicBezTo>
                  <a:lnTo>
                    <a:pt x="3769" y="2152"/>
                  </a:lnTo>
                  <a:cubicBezTo>
                    <a:pt x="3790" y="2152"/>
                    <a:pt x="3811" y="2152"/>
                    <a:pt x="3811" y="2152"/>
                  </a:cubicBezTo>
                  <a:cubicBezTo>
                    <a:pt x="3831" y="2152"/>
                    <a:pt x="3872" y="2172"/>
                    <a:pt x="3872" y="2152"/>
                  </a:cubicBezTo>
                  <a:cubicBezTo>
                    <a:pt x="3893" y="2152"/>
                    <a:pt x="3893" y="2131"/>
                    <a:pt x="3893" y="2131"/>
                  </a:cubicBezTo>
                  <a:cubicBezTo>
                    <a:pt x="3893" y="2111"/>
                    <a:pt x="3893" y="2090"/>
                    <a:pt x="3893" y="2090"/>
                  </a:cubicBezTo>
                  <a:cubicBezTo>
                    <a:pt x="3893" y="2070"/>
                    <a:pt x="3893" y="2070"/>
                    <a:pt x="3893" y="2049"/>
                  </a:cubicBezTo>
                  <a:cubicBezTo>
                    <a:pt x="3872" y="2049"/>
                    <a:pt x="3851" y="2049"/>
                    <a:pt x="3851" y="2049"/>
                  </a:cubicBezTo>
                  <a:cubicBezTo>
                    <a:pt x="3831" y="2029"/>
                    <a:pt x="3811" y="2049"/>
                    <a:pt x="3811" y="2029"/>
                  </a:cubicBezTo>
                  <a:lnTo>
                    <a:pt x="3790" y="2029"/>
                  </a:lnTo>
                  <a:cubicBezTo>
                    <a:pt x="3790" y="2008"/>
                    <a:pt x="3790" y="1988"/>
                    <a:pt x="3790" y="1988"/>
                  </a:cubicBezTo>
                  <a:cubicBezTo>
                    <a:pt x="3790" y="1967"/>
                    <a:pt x="3790" y="1947"/>
                    <a:pt x="3811" y="1947"/>
                  </a:cubicBezTo>
                  <a:lnTo>
                    <a:pt x="3831" y="1967"/>
                  </a:lnTo>
                  <a:lnTo>
                    <a:pt x="3851" y="1967"/>
                  </a:lnTo>
                  <a:cubicBezTo>
                    <a:pt x="3851" y="1967"/>
                    <a:pt x="3872" y="1967"/>
                    <a:pt x="3872" y="1947"/>
                  </a:cubicBezTo>
                  <a:cubicBezTo>
                    <a:pt x="3872" y="1947"/>
                    <a:pt x="3872" y="1926"/>
                    <a:pt x="3872" y="1906"/>
                  </a:cubicBezTo>
                  <a:lnTo>
                    <a:pt x="3893" y="1906"/>
                  </a:lnTo>
                  <a:cubicBezTo>
                    <a:pt x="3893" y="1906"/>
                    <a:pt x="3933" y="1906"/>
                    <a:pt x="3933" y="1886"/>
                  </a:cubicBezTo>
                  <a:cubicBezTo>
                    <a:pt x="3954" y="1886"/>
                    <a:pt x="3954" y="1844"/>
                    <a:pt x="3975" y="1844"/>
                  </a:cubicBezTo>
                  <a:cubicBezTo>
                    <a:pt x="3975" y="1844"/>
                    <a:pt x="3995" y="1824"/>
                    <a:pt x="4015" y="1824"/>
                  </a:cubicBezTo>
                  <a:cubicBezTo>
                    <a:pt x="4015" y="1804"/>
                    <a:pt x="4015" y="1783"/>
                    <a:pt x="4015" y="1783"/>
                  </a:cubicBezTo>
                  <a:cubicBezTo>
                    <a:pt x="4015" y="1783"/>
                    <a:pt x="4036" y="1783"/>
                    <a:pt x="4057" y="1762"/>
                  </a:cubicBezTo>
                  <a:lnTo>
                    <a:pt x="4057" y="1742"/>
                  </a:lnTo>
                  <a:cubicBezTo>
                    <a:pt x="4057" y="1722"/>
                    <a:pt x="4077" y="1722"/>
                    <a:pt x="4077" y="1722"/>
                  </a:cubicBezTo>
                  <a:cubicBezTo>
                    <a:pt x="4097" y="1701"/>
                    <a:pt x="4118" y="1701"/>
                    <a:pt x="4118" y="1701"/>
                  </a:cubicBezTo>
                  <a:cubicBezTo>
                    <a:pt x="4139" y="1701"/>
                    <a:pt x="4139" y="1680"/>
                    <a:pt x="4159" y="1660"/>
                  </a:cubicBezTo>
                  <a:lnTo>
                    <a:pt x="4200" y="1640"/>
                  </a:lnTo>
                  <a:cubicBezTo>
                    <a:pt x="4220" y="1619"/>
                    <a:pt x="4241" y="1598"/>
                    <a:pt x="4241" y="1598"/>
                  </a:cubicBezTo>
                  <a:lnTo>
                    <a:pt x="4261" y="1598"/>
                  </a:lnTo>
                  <a:cubicBezTo>
                    <a:pt x="4282" y="1598"/>
                    <a:pt x="4261" y="1640"/>
                    <a:pt x="4282" y="1640"/>
                  </a:cubicBezTo>
                  <a:cubicBezTo>
                    <a:pt x="4282" y="1640"/>
                    <a:pt x="4323" y="1640"/>
                    <a:pt x="4343" y="1640"/>
                  </a:cubicBezTo>
                  <a:lnTo>
                    <a:pt x="4384" y="1640"/>
                  </a:lnTo>
                  <a:cubicBezTo>
                    <a:pt x="4405" y="1619"/>
                    <a:pt x="4405" y="1598"/>
                    <a:pt x="4425" y="1598"/>
                  </a:cubicBezTo>
                  <a:cubicBezTo>
                    <a:pt x="4425" y="1598"/>
                    <a:pt x="4446" y="1598"/>
                    <a:pt x="4466" y="1598"/>
                  </a:cubicBezTo>
                  <a:cubicBezTo>
                    <a:pt x="4466" y="1598"/>
                    <a:pt x="4487" y="1598"/>
                    <a:pt x="4487" y="1619"/>
                  </a:cubicBezTo>
                  <a:cubicBezTo>
                    <a:pt x="4507" y="1619"/>
                    <a:pt x="4507" y="1640"/>
                    <a:pt x="4507" y="1640"/>
                  </a:cubicBezTo>
                  <a:lnTo>
                    <a:pt x="4507" y="1660"/>
                  </a:lnTo>
                  <a:cubicBezTo>
                    <a:pt x="4507" y="1680"/>
                    <a:pt x="4528" y="1660"/>
                    <a:pt x="4528" y="1660"/>
                  </a:cubicBezTo>
                  <a:cubicBezTo>
                    <a:pt x="4548" y="1680"/>
                    <a:pt x="4569" y="1680"/>
                    <a:pt x="4589" y="1680"/>
                  </a:cubicBezTo>
                  <a:lnTo>
                    <a:pt x="4589" y="1701"/>
                  </a:lnTo>
                  <a:cubicBezTo>
                    <a:pt x="4589" y="1722"/>
                    <a:pt x="4589" y="1722"/>
                    <a:pt x="4569" y="1722"/>
                  </a:cubicBezTo>
                  <a:cubicBezTo>
                    <a:pt x="4569" y="1742"/>
                    <a:pt x="4569" y="1742"/>
                    <a:pt x="4548" y="1742"/>
                  </a:cubicBezTo>
                  <a:lnTo>
                    <a:pt x="4548" y="1762"/>
                  </a:lnTo>
                  <a:cubicBezTo>
                    <a:pt x="4569" y="1783"/>
                    <a:pt x="4569" y="1783"/>
                    <a:pt x="4589" y="1783"/>
                  </a:cubicBezTo>
                  <a:lnTo>
                    <a:pt x="4610" y="1762"/>
                  </a:lnTo>
                  <a:lnTo>
                    <a:pt x="4630" y="1783"/>
                  </a:lnTo>
                  <a:cubicBezTo>
                    <a:pt x="4651" y="1804"/>
                    <a:pt x="4651" y="1824"/>
                    <a:pt x="4671" y="1824"/>
                  </a:cubicBezTo>
                  <a:cubicBezTo>
                    <a:pt x="4671" y="1824"/>
                    <a:pt x="4692" y="1824"/>
                    <a:pt x="4712" y="1824"/>
                  </a:cubicBezTo>
                  <a:cubicBezTo>
                    <a:pt x="4712" y="1844"/>
                    <a:pt x="4712" y="1844"/>
                    <a:pt x="4712" y="1865"/>
                  </a:cubicBezTo>
                  <a:lnTo>
                    <a:pt x="4712" y="1886"/>
                  </a:lnTo>
                  <a:lnTo>
                    <a:pt x="4712" y="1906"/>
                  </a:lnTo>
                  <a:cubicBezTo>
                    <a:pt x="4692" y="1906"/>
                    <a:pt x="4692" y="1906"/>
                    <a:pt x="4671" y="1926"/>
                  </a:cubicBezTo>
                  <a:lnTo>
                    <a:pt x="4671" y="1947"/>
                  </a:lnTo>
                  <a:cubicBezTo>
                    <a:pt x="4671" y="1967"/>
                    <a:pt x="4671" y="1988"/>
                    <a:pt x="4692" y="1988"/>
                  </a:cubicBezTo>
                  <a:lnTo>
                    <a:pt x="4712" y="1988"/>
                  </a:lnTo>
                  <a:lnTo>
                    <a:pt x="4733" y="2008"/>
                  </a:lnTo>
                  <a:lnTo>
                    <a:pt x="4733" y="2029"/>
                  </a:lnTo>
                  <a:cubicBezTo>
                    <a:pt x="4733" y="2049"/>
                    <a:pt x="4733" y="2070"/>
                    <a:pt x="4712" y="2070"/>
                  </a:cubicBezTo>
                  <a:cubicBezTo>
                    <a:pt x="4712" y="2070"/>
                    <a:pt x="4712" y="2070"/>
                    <a:pt x="4692" y="2070"/>
                  </a:cubicBezTo>
                  <a:cubicBezTo>
                    <a:pt x="4692" y="2070"/>
                    <a:pt x="4692" y="2049"/>
                    <a:pt x="4671" y="2029"/>
                  </a:cubicBezTo>
                  <a:lnTo>
                    <a:pt x="4671" y="2029"/>
                  </a:lnTo>
                  <a:cubicBezTo>
                    <a:pt x="4651" y="2029"/>
                    <a:pt x="4630" y="2029"/>
                    <a:pt x="4630" y="2029"/>
                  </a:cubicBezTo>
                  <a:cubicBezTo>
                    <a:pt x="4610" y="2029"/>
                    <a:pt x="4610" y="2029"/>
                    <a:pt x="4589" y="2029"/>
                  </a:cubicBezTo>
                  <a:lnTo>
                    <a:pt x="4569" y="2049"/>
                  </a:lnTo>
                  <a:cubicBezTo>
                    <a:pt x="4548" y="2049"/>
                    <a:pt x="4528" y="2070"/>
                    <a:pt x="4528" y="2070"/>
                  </a:cubicBezTo>
                  <a:cubicBezTo>
                    <a:pt x="4507" y="2090"/>
                    <a:pt x="4507" y="2111"/>
                    <a:pt x="4507" y="2111"/>
                  </a:cubicBezTo>
                  <a:cubicBezTo>
                    <a:pt x="4507" y="2131"/>
                    <a:pt x="4487" y="2131"/>
                    <a:pt x="4466" y="2152"/>
                  </a:cubicBezTo>
                  <a:lnTo>
                    <a:pt x="4446" y="2172"/>
                  </a:lnTo>
                  <a:cubicBezTo>
                    <a:pt x="4446" y="2193"/>
                    <a:pt x="4446" y="2213"/>
                    <a:pt x="4425" y="2213"/>
                  </a:cubicBezTo>
                  <a:cubicBezTo>
                    <a:pt x="4425" y="2213"/>
                    <a:pt x="4405" y="2213"/>
                    <a:pt x="4405" y="2234"/>
                  </a:cubicBezTo>
                  <a:lnTo>
                    <a:pt x="4405" y="2254"/>
                  </a:lnTo>
                  <a:cubicBezTo>
                    <a:pt x="4405" y="2275"/>
                    <a:pt x="4425" y="2295"/>
                    <a:pt x="4425" y="2295"/>
                  </a:cubicBezTo>
                  <a:cubicBezTo>
                    <a:pt x="4425" y="2316"/>
                    <a:pt x="4425" y="2336"/>
                    <a:pt x="4425" y="2336"/>
                  </a:cubicBezTo>
                  <a:cubicBezTo>
                    <a:pt x="4425" y="2357"/>
                    <a:pt x="4425" y="2377"/>
                    <a:pt x="4425" y="2398"/>
                  </a:cubicBezTo>
                  <a:lnTo>
                    <a:pt x="4405" y="2418"/>
                  </a:lnTo>
                  <a:cubicBezTo>
                    <a:pt x="4384" y="2418"/>
                    <a:pt x="4384" y="2439"/>
                    <a:pt x="4384" y="2459"/>
                  </a:cubicBezTo>
                  <a:cubicBezTo>
                    <a:pt x="4384" y="2459"/>
                    <a:pt x="4405" y="2480"/>
                    <a:pt x="4405" y="2500"/>
                  </a:cubicBezTo>
                  <a:cubicBezTo>
                    <a:pt x="4405" y="2500"/>
                    <a:pt x="4405" y="2541"/>
                    <a:pt x="4384" y="2562"/>
                  </a:cubicBezTo>
                  <a:cubicBezTo>
                    <a:pt x="4384" y="2562"/>
                    <a:pt x="4384" y="2582"/>
                    <a:pt x="4384" y="2603"/>
                  </a:cubicBezTo>
                  <a:cubicBezTo>
                    <a:pt x="4364" y="2603"/>
                    <a:pt x="4364" y="2623"/>
                    <a:pt x="4364" y="2643"/>
                  </a:cubicBezTo>
                  <a:lnTo>
                    <a:pt x="4343" y="2685"/>
                  </a:lnTo>
                  <a:cubicBezTo>
                    <a:pt x="4343" y="2705"/>
                    <a:pt x="4343" y="2725"/>
                    <a:pt x="4343" y="2746"/>
                  </a:cubicBezTo>
                  <a:cubicBezTo>
                    <a:pt x="4343" y="2767"/>
                    <a:pt x="4343" y="2807"/>
                    <a:pt x="4323" y="2807"/>
                  </a:cubicBezTo>
                  <a:cubicBezTo>
                    <a:pt x="4323" y="2807"/>
                    <a:pt x="4302" y="2807"/>
                    <a:pt x="4282" y="2787"/>
                  </a:cubicBezTo>
                  <a:lnTo>
                    <a:pt x="4282" y="2787"/>
                  </a:lnTo>
                  <a:cubicBezTo>
                    <a:pt x="4261" y="2767"/>
                    <a:pt x="4241" y="2767"/>
                    <a:pt x="4241" y="2787"/>
                  </a:cubicBezTo>
                  <a:cubicBezTo>
                    <a:pt x="4220" y="2787"/>
                    <a:pt x="4220" y="2787"/>
                    <a:pt x="4220" y="2787"/>
                  </a:cubicBezTo>
                  <a:cubicBezTo>
                    <a:pt x="4200" y="2787"/>
                    <a:pt x="4220" y="2807"/>
                    <a:pt x="4220" y="2807"/>
                  </a:cubicBezTo>
                  <a:cubicBezTo>
                    <a:pt x="4220" y="2828"/>
                    <a:pt x="4241" y="2828"/>
                    <a:pt x="4241" y="2828"/>
                  </a:cubicBezTo>
                  <a:cubicBezTo>
                    <a:pt x="4241" y="2828"/>
                    <a:pt x="4241" y="2849"/>
                    <a:pt x="4241" y="2869"/>
                  </a:cubicBezTo>
                  <a:cubicBezTo>
                    <a:pt x="4241" y="2869"/>
                    <a:pt x="4220" y="2869"/>
                    <a:pt x="4220" y="2889"/>
                  </a:cubicBezTo>
                  <a:lnTo>
                    <a:pt x="4241" y="2910"/>
                  </a:lnTo>
                  <a:cubicBezTo>
                    <a:pt x="4241" y="2931"/>
                    <a:pt x="4241" y="2951"/>
                    <a:pt x="4241" y="2971"/>
                  </a:cubicBezTo>
                  <a:lnTo>
                    <a:pt x="4220" y="2992"/>
                  </a:lnTo>
                  <a:cubicBezTo>
                    <a:pt x="4220" y="3013"/>
                    <a:pt x="4220" y="3033"/>
                    <a:pt x="4220" y="3033"/>
                  </a:cubicBezTo>
                  <a:lnTo>
                    <a:pt x="4200" y="3033"/>
                  </a:lnTo>
                  <a:cubicBezTo>
                    <a:pt x="4200" y="3053"/>
                    <a:pt x="4200" y="3053"/>
                    <a:pt x="4200" y="3074"/>
                  </a:cubicBezTo>
                  <a:cubicBezTo>
                    <a:pt x="4220" y="3074"/>
                    <a:pt x="4220" y="3095"/>
                    <a:pt x="4220" y="3095"/>
                  </a:cubicBezTo>
                  <a:cubicBezTo>
                    <a:pt x="4220" y="3115"/>
                    <a:pt x="4220" y="3135"/>
                    <a:pt x="4220" y="3156"/>
                  </a:cubicBezTo>
                  <a:cubicBezTo>
                    <a:pt x="4220" y="3177"/>
                    <a:pt x="4220" y="3197"/>
                    <a:pt x="4220" y="3197"/>
                  </a:cubicBezTo>
                  <a:lnTo>
                    <a:pt x="4200" y="3217"/>
                  </a:lnTo>
                  <a:lnTo>
                    <a:pt x="4179" y="3197"/>
                  </a:lnTo>
                  <a:lnTo>
                    <a:pt x="4159" y="3197"/>
                  </a:lnTo>
                  <a:cubicBezTo>
                    <a:pt x="4159" y="3197"/>
                    <a:pt x="4159" y="3197"/>
                    <a:pt x="4159" y="3217"/>
                  </a:cubicBezTo>
                  <a:cubicBezTo>
                    <a:pt x="4139" y="3217"/>
                    <a:pt x="4139" y="3197"/>
                    <a:pt x="4139" y="3197"/>
                  </a:cubicBezTo>
                  <a:cubicBezTo>
                    <a:pt x="4139" y="3197"/>
                    <a:pt x="4139" y="3177"/>
                    <a:pt x="4118" y="3177"/>
                  </a:cubicBezTo>
                  <a:cubicBezTo>
                    <a:pt x="4118" y="3156"/>
                    <a:pt x="4097" y="3156"/>
                    <a:pt x="4097" y="3135"/>
                  </a:cubicBezTo>
                  <a:cubicBezTo>
                    <a:pt x="4097" y="3115"/>
                    <a:pt x="4097" y="3095"/>
                    <a:pt x="4097" y="3074"/>
                  </a:cubicBezTo>
                  <a:lnTo>
                    <a:pt x="4097" y="3033"/>
                  </a:lnTo>
                  <a:cubicBezTo>
                    <a:pt x="4097" y="3013"/>
                    <a:pt x="4097" y="2992"/>
                    <a:pt x="4097" y="2992"/>
                  </a:cubicBezTo>
                  <a:cubicBezTo>
                    <a:pt x="4097" y="2971"/>
                    <a:pt x="4077" y="2971"/>
                    <a:pt x="4077" y="2951"/>
                  </a:cubicBezTo>
                  <a:cubicBezTo>
                    <a:pt x="4077" y="2951"/>
                    <a:pt x="4077" y="2931"/>
                    <a:pt x="4057" y="2910"/>
                  </a:cubicBezTo>
                  <a:cubicBezTo>
                    <a:pt x="4057" y="2910"/>
                    <a:pt x="4057" y="2889"/>
                    <a:pt x="4057" y="2869"/>
                  </a:cubicBezTo>
                  <a:lnTo>
                    <a:pt x="4077" y="2849"/>
                  </a:lnTo>
                  <a:cubicBezTo>
                    <a:pt x="4077" y="2828"/>
                    <a:pt x="4057" y="2807"/>
                    <a:pt x="4057" y="2807"/>
                  </a:cubicBezTo>
                  <a:cubicBezTo>
                    <a:pt x="4057" y="2787"/>
                    <a:pt x="4057" y="2767"/>
                    <a:pt x="4057" y="2767"/>
                  </a:cubicBezTo>
                  <a:cubicBezTo>
                    <a:pt x="4036" y="2746"/>
                    <a:pt x="4036" y="2746"/>
                    <a:pt x="4036" y="2767"/>
                  </a:cubicBezTo>
                  <a:cubicBezTo>
                    <a:pt x="4015" y="2767"/>
                    <a:pt x="4015" y="2767"/>
                    <a:pt x="4015" y="2787"/>
                  </a:cubicBezTo>
                  <a:lnTo>
                    <a:pt x="4015" y="2807"/>
                  </a:lnTo>
                  <a:cubicBezTo>
                    <a:pt x="4015" y="2828"/>
                    <a:pt x="4015" y="2828"/>
                    <a:pt x="4015" y="2828"/>
                  </a:cubicBezTo>
                  <a:cubicBezTo>
                    <a:pt x="4015" y="2849"/>
                    <a:pt x="3995" y="2849"/>
                    <a:pt x="3995" y="2849"/>
                  </a:cubicBezTo>
                  <a:cubicBezTo>
                    <a:pt x="3975" y="2869"/>
                    <a:pt x="3995" y="2869"/>
                    <a:pt x="3995" y="2889"/>
                  </a:cubicBezTo>
                  <a:cubicBezTo>
                    <a:pt x="3995" y="2889"/>
                    <a:pt x="3995" y="2910"/>
                    <a:pt x="3995" y="2931"/>
                  </a:cubicBezTo>
                  <a:cubicBezTo>
                    <a:pt x="3975" y="2931"/>
                    <a:pt x="3954" y="2951"/>
                    <a:pt x="3954" y="2951"/>
                  </a:cubicBezTo>
                  <a:lnTo>
                    <a:pt x="3933" y="2971"/>
                  </a:lnTo>
                  <a:cubicBezTo>
                    <a:pt x="3913" y="2971"/>
                    <a:pt x="3893" y="2971"/>
                    <a:pt x="3893" y="2971"/>
                  </a:cubicBezTo>
                  <a:cubicBezTo>
                    <a:pt x="3872" y="2951"/>
                    <a:pt x="3851" y="2951"/>
                    <a:pt x="3851" y="2951"/>
                  </a:cubicBezTo>
                  <a:lnTo>
                    <a:pt x="3851" y="2931"/>
                  </a:lnTo>
                  <a:cubicBezTo>
                    <a:pt x="3831" y="2931"/>
                    <a:pt x="3811" y="2931"/>
                    <a:pt x="3811" y="2910"/>
                  </a:cubicBezTo>
                  <a:cubicBezTo>
                    <a:pt x="3790" y="2910"/>
                    <a:pt x="3790" y="2889"/>
                    <a:pt x="3790" y="2889"/>
                  </a:cubicBezTo>
                  <a:lnTo>
                    <a:pt x="3790" y="2869"/>
                  </a:lnTo>
                  <a:cubicBezTo>
                    <a:pt x="3811" y="2849"/>
                    <a:pt x="3811" y="2849"/>
                    <a:pt x="3831" y="2828"/>
                  </a:cubicBezTo>
                  <a:lnTo>
                    <a:pt x="3851" y="2828"/>
                  </a:lnTo>
                  <a:cubicBezTo>
                    <a:pt x="3851" y="2828"/>
                    <a:pt x="3851" y="2807"/>
                    <a:pt x="3872" y="2787"/>
                  </a:cubicBezTo>
                  <a:cubicBezTo>
                    <a:pt x="3872" y="2767"/>
                    <a:pt x="3893" y="2746"/>
                    <a:pt x="3893" y="2725"/>
                  </a:cubicBezTo>
                  <a:cubicBezTo>
                    <a:pt x="3913" y="2725"/>
                    <a:pt x="3933" y="2746"/>
                    <a:pt x="3933" y="2746"/>
                  </a:cubicBezTo>
                  <a:cubicBezTo>
                    <a:pt x="3954" y="2725"/>
                    <a:pt x="3975" y="2725"/>
                    <a:pt x="3995" y="2705"/>
                  </a:cubicBezTo>
                  <a:cubicBezTo>
                    <a:pt x="3995" y="2705"/>
                    <a:pt x="3995" y="2705"/>
                    <a:pt x="3995" y="2685"/>
                  </a:cubicBezTo>
                  <a:cubicBezTo>
                    <a:pt x="3995" y="2685"/>
                    <a:pt x="3995" y="2664"/>
                    <a:pt x="3995" y="2643"/>
                  </a:cubicBezTo>
                  <a:cubicBezTo>
                    <a:pt x="3995" y="2643"/>
                    <a:pt x="3995" y="2623"/>
                    <a:pt x="4015" y="2603"/>
                  </a:cubicBezTo>
                  <a:lnTo>
                    <a:pt x="4036" y="2603"/>
                  </a:lnTo>
                  <a:cubicBezTo>
                    <a:pt x="4036" y="2582"/>
                    <a:pt x="4036" y="2582"/>
                    <a:pt x="4036" y="2562"/>
                  </a:cubicBezTo>
                  <a:lnTo>
                    <a:pt x="4015" y="2541"/>
                  </a:lnTo>
                  <a:cubicBezTo>
                    <a:pt x="3995" y="2541"/>
                    <a:pt x="3995" y="2521"/>
                    <a:pt x="3975" y="2521"/>
                  </a:cubicBezTo>
                  <a:cubicBezTo>
                    <a:pt x="3954" y="2500"/>
                    <a:pt x="3913" y="2521"/>
                    <a:pt x="3913" y="2521"/>
                  </a:cubicBezTo>
                  <a:cubicBezTo>
                    <a:pt x="3872" y="2521"/>
                    <a:pt x="3831" y="2521"/>
                    <a:pt x="3811" y="2521"/>
                  </a:cubicBezTo>
                  <a:cubicBezTo>
                    <a:pt x="3790" y="2521"/>
                    <a:pt x="3749" y="2521"/>
                    <a:pt x="3729" y="2521"/>
                  </a:cubicBezTo>
                  <a:cubicBezTo>
                    <a:pt x="3729" y="2541"/>
                    <a:pt x="3708" y="2541"/>
                    <a:pt x="3687" y="2541"/>
                  </a:cubicBezTo>
                  <a:cubicBezTo>
                    <a:pt x="3687" y="2562"/>
                    <a:pt x="3667" y="2562"/>
                    <a:pt x="3647" y="2541"/>
                  </a:cubicBezTo>
                  <a:cubicBezTo>
                    <a:pt x="3647" y="2541"/>
                    <a:pt x="3626" y="2521"/>
                    <a:pt x="3626" y="2500"/>
                  </a:cubicBezTo>
                  <a:cubicBezTo>
                    <a:pt x="3605" y="2480"/>
                    <a:pt x="3626" y="2459"/>
                    <a:pt x="3626" y="2439"/>
                  </a:cubicBezTo>
                  <a:cubicBezTo>
                    <a:pt x="3605" y="2439"/>
                    <a:pt x="3605" y="2398"/>
                    <a:pt x="3605" y="2398"/>
                  </a:cubicBezTo>
                  <a:cubicBezTo>
                    <a:pt x="3585" y="2377"/>
                    <a:pt x="3565" y="2357"/>
                    <a:pt x="3565" y="2357"/>
                  </a:cubicBezTo>
                  <a:cubicBezTo>
                    <a:pt x="3544" y="2357"/>
                    <a:pt x="3523" y="2336"/>
                    <a:pt x="3523" y="2336"/>
                  </a:cubicBezTo>
                  <a:cubicBezTo>
                    <a:pt x="3503" y="2336"/>
                    <a:pt x="3483" y="2357"/>
                    <a:pt x="3483" y="2357"/>
                  </a:cubicBezTo>
                  <a:lnTo>
                    <a:pt x="3462" y="2336"/>
                  </a:lnTo>
                  <a:cubicBezTo>
                    <a:pt x="3441" y="2336"/>
                    <a:pt x="3441" y="2316"/>
                    <a:pt x="3441" y="2316"/>
                  </a:cubicBezTo>
                  <a:cubicBezTo>
                    <a:pt x="3421" y="2295"/>
                    <a:pt x="3421" y="2275"/>
                    <a:pt x="3421" y="2275"/>
                  </a:cubicBezTo>
                  <a:lnTo>
                    <a:pt x="3401" y="2254"/>
                  </a:lnTo>
                  <a:lnTo>
                    <a:pt x="3381" y="2275"/>
                  </a:lnTo>
                  <a:lnTo>
                    <a:pt x="3381" y="2275"/>
                  </a:lnTo>
                  <a:lnTo>
                    <a:pt x="3401" y="2295"/>
                  </a:lnTo>
                  <a:lnTo>
                    <a:pt x="3401" y="2316"/>
                  </a:lnTo>
                  <a:lnTo>
                    <a:pt x="3381" y="2336"/>
                  </a:lnTo>
                  <a:lnTo>
                    <a:pt x="3360" y="2316"/>
                  </a:lnTo>
                  <a:lnTo>
                    <a:pt x="3360" y="2295"/>
                  </a:lnTo>
                  <a:lnTo>
                    <a:pt x="3339" y="2275"/>
                  </a:lnTo>
                  <a:cubicBezTo>
                    <a:pt x="3339" y="2275"/>
                    <a:pt x="3319" y="2254"/>
                    <a:pt x="3299" y="2234"/>
                  </a:cubicBezTo>
                  <a:cubicBezTo>
                    <a:pt x="3299" y="2234"/>
                    <a:pt x="3299" y="2234"/>
                    <a:pt x="3278" y="2234"/>
                  </a:cubicBezTo>
                  <a:cubicBezTo>
                    <a:pt x="3278" y="2254"/>
                    <a:pt x="3278" y="2275"/>
                    <a:pt x="3278" y="2275"/>
                  </a:cubicBezTo>
                  <a:cubicBezTo>
                    <a:pt x="3278" y="2295"/>
                    <a:pt x="3278" y="2316"/>
                    <a:pt x="3278" y="2336"/>
                  </a:cubicBezTo>
                  <a:cubicBezTo>
                    <a:pt x="3278" y="2336"/>
                    <a:pt x="3278" y="2357"/>
                    <a:pt x="3278" y="2377"/>
                  </a:cubicBezTo>
                  <a:lnTo>
                    <a:pt x="3278" y="2398"/>
                  </a:lnTo>
                  <a:cubicBezTo>
                    <a:pt x="3278" y="2418"/>
                    <a:pt x="3299" y="2418"/>
                    <a:pt x="3319" y="2418"/>
                  </a:cubicBezTo>
                  <a:cubicBezTo>
                    <a:pt x="3319" y="2439"/>
                    <a:pt x="3339" y="2439"/>
                    <a:pt x="3339" y="2439"/>
                  </a:cubicBezTo>
                  <a:cubicBezTo>
                    <a:pt x="3360" y="2439"/>
                    <a:pt x="3381" y="2459"/>
                    <a:pt x="3381" y="2459"/>
                  </a:cubicBezTo>
                  <a:lnTo>
                    <a:pt x="3401" y="2459"/>
                  </a:lnTo>
                  <a:lnTo>
                    <a:pt x="3421" y="2480"/>
                  </a:lnTo>
                  <a:cubicBezTo>
                    <a:pt x="3421" y="2500"/>
                    <a:pt x="3401" y="2500"/>
                    <a:pt x="3401" y="2521"/>
                  </a:cubicBezTo>
                  <a:cubicBezTo>
                    <a:pt x="3401" y="2521"/>
                    <a:pt x="3401" y="2521"/>
                    <a:pt x="3381" y="2541"/>
                  </a:cubicBezTo>
                  <a:lnTo>
                    <a:pt x="3360" y="2541"/>
                  </a:lnTo>
                  <a:cubicBezTo>
                    <a:pt x="3360" y="2541"/>
                    <a:pt x="3360" y="2562"/>
                    <a:pt x="3339" y="2582"/>
                  </a:cubicBezTo>
                  <a:cubicBezTo>
                    <a:pt x="3339" y="2582"/>
                    <a:pt x="3319" y="2582"/>
                    <a:pt x="3299" y="2582"/>
                  </a:cubicBezTo>
                  <a:cubicBezTo>
                    <a:pt x="3299" y="2603"/>
                    <a:pt x="3299" y="2603"/>
                    <a:pt x="3278" y="2623"/>
                  </a:cubicBezTo>
                  <a:lnTo>
                    <a:pt x="3299" y="2664"/>
                  </a:lnTo>
                  <a:lnTo>
                    <a:pt x="3319" y="2685"/>
                  </a:lnTo>
                  <a:cubicBezTo>
                    <a:pt x="3339" y="2705"/>
                    <a:pt x="3360" y="2705"/>
                    <a:pt x="3360" y="2705"/>
                  </a:cubicBezTo>
                  <a:cubicBezTo>
                    <a:pt x="3381" y="2705"/>
                    <a:pt x="3401" y="2725"/>
                    <a:pt x="3401" y="2746"/>
                  </a:cubicBezTo>
                  <a:cubicBezTo>
                    <a:pt x="3421" y="2746"/>
                    <a:pt x="3421" y="2767"/>
                    <a:pt x="3421" y="2767"/>
                  </a:cubicBezTo>
                  <a:cubicBezTo>
                    <a:pt x="3441" y="2787"/>
                    <a:pt x="3462" y="2787"/>
                    <a:pt x="3462" y="2787"/>
                  </a:cubicBezTo>
                  <a:lnTo>
                    <a:pt x="3462" y="2807"/>
                  </a:lnTo>
                  <a:cubicBezTo>
                    <a:pt x="3462" y="2828"/>
                    <a:pt x="3462" y="2849"/>
                    <a:pt x="3462" y="2849"/>
                  </a:cubicBezTo>
                  <a:cubicBezTo>
                    <a:pt x="3441" y="2849"/>
                    <a:pt x="3421" y="2849"/>
                    <a:pt x="3421" y="2849"/>
                  </a:cubicBezTo>
                  <a:cubicBezTo>
                    <a:pt x="3421" y="2849"/>
                    <a:pt x="3421" y="2849"/>
                    <a:pt x="3421" y="2869"/>
                  </a:cubicBezTo>
                  <a:lnTo>
                    <a:pt x="3421" y="2889"/>
                  </a:lnTo>
                  <a:lnTo>
                    <a:pt x="3421" y="2910"/>
                  </a:lnTo>
                  <a:cubicBezTo>
                    <a:pt x="3421" y="2931"/>
                    <a:pt x="3441" y="2931"/>
                    <a:pt x="3462" y="2931"/>
                  </a:cubicBezTo>
                  <a:cubicBezTo>
                    <a:pt x="3462" y="2931"/>
                    <a:pt x="3462" y="2951"/>
                    <a:pt x="3483" y="2951"/>
                  </a:cubicBezTo>
                  <a:cubicBezTo>
                    <a:pt x="3483" y="2971"/>
                    <a:pt x="3483" y="2971"/>
                    <a:pt x="3483" y="2992"/>
                  </a:cubicBezTo>
                  <a:lnTo>
                    <a:pt x="3462" y="3013"/>
                  </a:lnTo>
                  <a:cubicBezTo>
                    <a:pt x="3462" y="3033"/>
                    <a:pt x="3483" y="3033"/>
                    <a:pt x="3483" y="3053"/>
                  </a:cubicBezTo>
                  <a:lnTo>
                    <a:pt x="3503" y="3053"/>
                  </a:lnTo>
                  <a:cubicBezTo>
                    <a:pt x="3523" y="3074"/>
                    <a:pt x="3523" y="3095"/>
                    <a:pt x="3523" y="3115"/>
                  </a:cubicBezTo>
                  <a:cubicBezTo>
                    <a:pt x="3523" y="3135"/>
                    <a:pt x="3523" y="3156"/>
                    <a:pt x="3523" y="3177"/>
                  </a:cubicBezTo>
                  <a:cubicBezTo>
                    <a:pt x="3523" y="3197"/>
                    <a:pt x="3544" y="3217"/>
                    <a:pt x="3544" y="3238"/>
                  </a:cubicBezTo>
                  <a:cubicBezTo>
                    <a:pt x="3565" y="3238"/>
                    <a:pt x="3585" y="3259"/>
                    <a:pt x="3585" y="3279"/>
                  </a:cubicBezTo>
                  <a:cubicBezTo>
                    <a:pt x="3605" y="3279"/>
                    <a:pt x="3605" y="3279"/>
                    <a:pt x="3605" y="3299"/>
                  </a:cubicBezTo>
                  <a:cubicBezTo>
                    <a:pt x="3605" y="3299"/>
                    <a:pt x="3585" y="3279"/>
                    <a:pt x="3585" y="3299"/>
                  </a:cubicBezTo>
                  <a:lnTo>
                    <a:pt x="3585" y="3319"/>
                  </a:lnTo>
                  <a:cubicBezTo>
                    <a:pt x="3565" y="3319"/>
                    <a:pt x="3565" y="3299"/>
                    <a:pt x="3565" y="3299"/>
                  </a:cubicBezTo>
                  <a:lnTo>
                    <a:pt x="3544" y="3299"/>
                  </a:lnTo>
                  <a:cubicBezTo>
                    <a:pt x="3544" y="3299"/>
                    <a:pt x="3544" y="3279"/>
                    <a:pt x="3544" y="3299"/>
                  </a:cubicBezTo>
                  <a:cubicBezTo>
                    <a:pt x="3523" y="3299"/>
                    <a:pt x="3523" y="3299"/>
                    <a:pt x="3523" y="3319"/>
                  </a:cubicBezTo>
                  <a:lnTo>
                    <a:pt x="3523" y="3319"/>
                  </a:lnTo>
                  <a:cubicBezTo>
                    <a:pt x="3523" y="3340"/>
                    <a:pt x="3523" y="3319"/>
                    <a:pt x="3503" y="3319"/>
                  </a:cubicBezTo>
                  <a:lnTo>
                    <a:pt x="3503" y="3299"/>
                  </a:lnTo>
                  <a:lnTo>
                    <a:pt x="3483" y="3299"/>
                  </a:lnTo>
                  <a:cubicBezTo>
                    <a:pt x="3462" y="3299"/>
                    <a:pt x="3462" y="3279"/>
                    <a:pt x="3462" y="3279"/>
                  </a:cubicBezTo>
                  <a:cubicBezTo>
                    <a:pt x="3441" y="3279"/>
                    <a:pt x="3441" y="3279"/>
                    <a:pt x="3441" y="3279"/>
                  </a:cubicBezTo>
                  <a:lnTo>
                    <a:pt x="3441" y="3299"/>
                  </a:lnTo>
                  <a:cubicBezTo>
                    <a:pt x="3441" y="3299"/>
                    <a:pt x="3441" y="3319"/>
                    <a:pt x="3421" y="3319"/>
                  </a:cubicBezTo>
                  <a:lnTo>
                    <a:pt x="3421" y="3340"/>
                  </a:lnTo>
                  <a:cubicBezTo>
                    <a:pt x="3401" y="3340"/>
                    <a:pt x="3401" y="3319"/>
                    <a:pt x="3401" y="3319"/>
                  </a:cubicBezTo>
                  <a:lnTo>
                    <a:pt x="3401" y="3299"/>
                  </a:lnTo>
                  <a:cubicBezTo>
                    <a:pt x="3401" y="3299"/>
                    <a:pt x="3401" y="3299"/>
                    <a:pt x="3401" y="3279"/>
                  </a:cubicBezTo>
                  <a:cubicBezTo>
                    <a:pt x="3401" y="3279"/>
                    <a:pt x="3401" y="3279"/>
                    <a:pt x="3381" y="3279"/>
                  </a:cubicBezTo>
                  <a:lnTo>
                    <a:pt x="3381" y="3279"/>
                  </a:lnTo>
                  <a:cubicBezTo>
                    <a:pt x="3360" y="3279"/>
                    <a:pt x="3360" y="3279"/>
                    <a:pt x="3360" y="3279"/>
                  </a:cubicBezTo>
                  <a:cubicBezTo>
                    <a:pt x="3339" y="3299"/>
                    <a:pt x="3339" y="3299"/>
                    <a:pt x="3319" y="3319"/>
                  </a:cubicBezTo>
                  <a:cubicBezTo>
                    <a:pt x="3319" y="3319"/>
                    <a:pt x="3299" y="3319"/>
                    <a:pt x="3299" y="3340"/>
                  </a:cubicBezTo>
                  <a:cubicBezTo>
                    <a:pt x="3278" y="3340"/>
                    <a:pt x="3257" y="3340"/>
                    <a:pt x="3257" y="3340"/>
                  </a:cubicBezTo>
                  <a:cubicBezTo>
                    <a:pt x="3237" y="3340"/>
                    <a:pt x="3217" y="3361"/>
                    <a:pt x="3217" y="3381"/>
                  </a:cubicBezTo>
                  <a:cubicBezTo>
                    <a:pt x="3196" y="3381"/>
                    <a:pt x="3196" y="3401"/>
                    <a:pt x="3196" y="3401"/>
                  </a:cubicBezTo>
                  <a:cubicBezTo>
                    <a:pt x="3196" y="3422"/>
                    <a:pt x="3196" y="3443"/>
                    <a:pt x="3196" y="3463"/>
                  </a:cubicBezTo>
                  <a:cubicBezTo>
                    <a:pt x="3196" y="3463"/>
                    <a:pt x="3196" y="3483"/>
                    <a:pt x="3196" y="3504"/>
                  </a:cubicBezTo>
                  <a:lnTo>
                    <a:pt x="3217" y="3525"/>
                  </a:lnTo>
                  <a:cubicBezTo>
                    <a:pt x="3217" y="3525"/>
                    <a:pt x="3217" y="3545"/>
                    <a:pt x="3196" y="3545"/>
                  </a:cubicBezTo>
                  <a:lnTo>
                    <a:pt x="3196" y="3565"/>
                  </a:lnTo>
                  <a:lnTo>
                    <a:pt x="3196" y="3586"/>
                  </a:lnTo>
                  <a:lnTo>
                    <a:pt x="3175" y="3607"/>
                  </a:lnTo>
                  <a:lnTo>
                    <a:pt x="3175" y="3627"/>
                  </a:lnTo>
                  <a:cubicBezTo>
                    <a:pt x="3155" y="3627"/>
                    <a:pt x="3155" y="3627"/>
                    <a:pt x="3155" y="3627"/>
                  </a:cubicBezTo>
                  <a:cubicBezTo>
                    <a:pt x="3155" y="3647"/>
                    <a:pt x="3155" y="3668"/>
                    <a:pt x="3135" y="3668"/>
                  </a:cubicBezTo>
                  <a:cubicBezTo>
                    <a:pt x="3135" y="3689"/>
                    <a:pt x="3114" y="3689"/>
                    <a:pt x="3114" y="3689"/>
                  </a:cubicBezTo>
                  <a:cubicBezTo>
                    <a:pt x="3114" y="3709"/>
                    <a:pt x="3093" y="3709"/>
                    <a:pt x="3093" y="3709"/>
                  </a:cubicBezTo>
                  <a:cubicBezTo>
                    <a:pt x="3073" y="3709"/>
                    <a:pt x="3053" y="3729"/>
                    <a:pt x="3053" y="3729"/>
                  </a:cubicBezTo>
                  <a:lnTo>
                    <a:pt x="3032" y="3729"/>
                  </a:lnTo>
                  <a:cubicBezTo>
                    <a:pt x="3012" y="3729"/>
                    <a:pt x="3012" y="3750"/>
                    <a:pt x="2992" y="3750"/>
                  </a:cubicBezTo>
                  <a:lnTo>
                    <a:pt x="2992" y="3750"/>
                  </a:lnTo>
                  <a:cubicBezTo>
                    <a:pt x="2972" y="3750"/>
                    <a:pt x="2972" y="3729"/>
                    <a:pt x="2972" y="3729"/>
                  </a:cubicBezTo>
                  <a:lnTo>
                    <a:pt x="2992" y="3709"/>
                  </a:lnTo>
                  <a:cubicBezTo>
                    <a:pt x="2992" y="3709"/>
                    <a:pt x="2992" y="3689"/>
                    <a:pt x="2972" y="3689"/>
                  </a:cubicBezTo>
                  <a:lnTo>
                    <a:pt x="2972" y="3689"/>
                  </a:lnTo>
                  <a:lnTo>
                    <a:pt x="2972" y="3709"/>
                  </a:lnTo>
                  <a:cubicBezTo>
                    <a:pt x="2951" y="3709"/>
                    <a:pt x="2951" y="3709"/>
                    <a:pt x="2951" y="3729"/>
                  </a:cubicBezTo>
                  <a:lnTo>
                    <a:pt x="2930" y="3729"/>
                  </a:lnTo>
                  <a:lnTo>
                    <a:pt x="2930" y="3750"/>
                  </a:lnTo>
                  <a:cubicBezTo>
                    <a:pt x="2930" y="3750"/>
                    <a:pt x="2930" y="3750"/>
                    <a:pt x="2930" y="3771"/>
                  </a:cubicBezTo>
                  <a:lnTo>
                    <a:pt x="2930" y="3771"/>
                  </a:lnTo>
                  <a:cubicBezTo>
                    <a:pt x="2951" y="3771"/>
                    <a:pt x="2951" y="3771"/>
                    <a:pt x="2951" y="3771"/>
                  </a:cubicBezTo>
                  <a:cubicBezTo>
                    <a:pt x="2951" y="3791"/>
                    <a:pt x="2951" y="3811"/>
                    <a:pt x="2951" y="3811"/>
                  </a:cubicBezTo>
                  <a:cubicBezTo>
                    <a:pt x="2930" y="3832"/>
                    <a:pt x="2910" y="3853"/>
                    <a:pt x="2890" y="3873"/>
                  </a:cubicBezTo>
                  <a:cubicBezTo>
                    <a:pt x="2890" y="3893"/>
                    <a:pt x="2869" y="3914"/>
                    <a:pt x="2869" y="3935"/>
                  </a:cubicBezTo>
                  <a:cubicBezTo>
                    <a:pt x="2848" y="3935"/>
                    <a:pt x="2848" y="3955"/>
                    <a:pt x="2848" y="3955"/>
                  </a:cubicBezTo>
                  <a:cubicBezTo>
                    <a:pt x="2828" y="3955"/>
                    <a:pt x="2828" y="3975"/>
                    <a:pt x="2828" y="3975"/>
                  </a:cubicBezTo>
                  <a:cubicBezTo>
                    <a:pt x="2808" y="3975"/>
                    <a:pt x="2808" y="3975"/>
                    <a:pt x="2808" y="3996"/>
                  </a:cubicBezTo>
                  <a:cubicBezTo>
                    <a:pt x="2808" y="3996"/>
                    <a:pt x="2808" y="3996"/>
                    <a:pt x="2828" y="3996"/>
                  </a:cubicBezTo>
                  <a:lnTo>
                    <a:pt x="2828" y="3996"/>
                  </a:lnTo>
                  <a:cubicBezTo>
                    <a:pt x="2828" y="4016"/>
                    <a:pt x="2828" y="4016"/>
                    <a:pt x="2828" y="4037"/>
                  </a:cubicBezTo>
                  <a:lnTo>
                    <a:pt x="2808" y="4057"/>
                  </a:lnTo>
                  <a:cubicBezTo>
                    <a:pt x="2787" y="4057"/>
                    <a:pt x="2766" y="4078"/>
                    <a:pt x="2766" y="4078"/>
                  </a:cubicBezTo>
                  <a:lnTo>
                    <a:pt x="2746" y="4078"/>
                  </a:lnTo>
                  <a:cubicBezTo>
                    <a:pt x="2726" y="4078"/>
                    <a:pt x="2726" y="4098"/>
                    <a:pt x="2726" y="4098"/>
                  </a:cubicBezTo>
                  <a:cubicBezTo>
                    <a:pt x="2705" y="4119"/>
                    <a:pt x="2684" y="4139"/>
                    <a:pt x="2684" y="4160"/>
                  </a:cubicBezTo>
                  <a:cubicBezTo>
                    <a:pt x="2664" y="4180"/>
                    <a:pt x="2644" y="4201"/>
                    <a:pt x="2644" y="4221"/>
                  </a:cubicBezTo>
                  <a:cubicBezTo>
                    <a:pt x="2623" y="4221"/>
                    <a:pt x="2603" y="4242"/>
                    <a:pt x="2603" y="4262"/>
                  </a:cubicBezTo>
                  <a:cubicBezTo>
                    <a:pt x="2603" y="4262"/>
                    <a:pt x="2582" y="4283"/>
                    <a:pt x="2562" y="4283"/>
                  </a:cubicBezTo>
                  <a:cubicBezTo>
                    <a:pt x="2562" y="4303"/>
                    <a:pt x="2541" y="4303"/>
                    <a:pt x="2541" y="4324"/>
                  </a:cubicBezTo>
                  <a:lnTo>
                    <a:pt x="2541" y="4344"/>
                  </a:lnTo>
                  <a:cubicBezTo>
                    <a:pt x="2541" y="4365"/>
                    <a:pt x="2541" y="4385"/>
                    <a:pt x="2521" y="4385"/>
                  </a:cubicBezTo>
                  <a:cubicBezTo>
                    <a:pt x="2521" y="4406"/>
                    <a:pt x="2500" y="4426"/>
                    <a:pt x="2480" y="4426"/>
                  </a:cubicBezTo>
                  <a:cubicBezTo>
                    <a:pt x="2480" y="4447"/>
                    <a:pt x="2459" y="4447"/>
                    <a:pt x="2459" y="4447"/>
                  </a:cubicBezTo>
                  <a:cubicBezTo>
                    <a:pt x="2439" y="4467"/>
                    <a:pt x="2418" y="4467"/>
                    <a:pt x="2418" y="4467"/>
                  </a:cubicBezTo>
                  <a:cubicBezTo>
                    <a:pt x="2398" y="4467"/>
                    <a:pt x="2377" y="4467"/>
                    <a:pt x="2377" y="4467"/>
                  </a:cubicBezTo>
                  <a:lnTo>
                    <a:pt x="2357" y="4467"/>
                  </a:lnTo>
                  <a:lnTo>
                    <a:pt x="2336" y="4488"/>
                  </a:lnTo>
                  <a:cubicBezTo>
                    <a:pt x="2336" y="4508"/>
                    <a:pt x="2336" y="4508"/>
                    <a:pt x="2336" y="4508"/>
                  </a:cubicBezTo>
                  <a:cubicBezTo>
                    <a:pt x="2336" y="4529"/>
                    <a:pt x="2316" y="4549"/>
                    <a:pt x="2316" y="4570"/>
                  </a:cubicBezTo>
                  <a:lnTo>
                    <a:pt x="2316" y="4590"/>
                  </a:lnTo>
                  <a:cubicBezTo>
                    <a:pt x="2295" y="4590"/>
                    <a:pt x="2295" y="4611"/>
                    <a:pt x="2295" y="4611"/>
                  </a:cubicBezTo>
                  <a:cubicBezTo>
                    <a:pt x="2275" y="4611"/>
                    <a:pt x="2275" y="4611"/>
                    <a:pt x="2275" y="4611"/>
                  </a:cubicBezTo>
                  <a:lnTo>
                    <a:pt x="2275" y="4590"/>
                  </a:lnTo>
                  <a:cubicBezTo>
                    <a:pt x="2275" y="4590"/>
                    <a:pt x="2275" y="4570"/>
                    <a:pt x="2254" y="4570"/>
                  </a:cubicBezTo>
                  <a:lnTo>
                    <a:pt x="2254" y="4570"/>
                  </a:lnTo>
                  <a:lnTo>
                    <a:pt x="2234" y="4570"/>
                  </a:lnTo>
                  <a:cubicBezTo>
                    <a:pt x="2234" y="4570"/>
                    <a:pt x="2234" y="4590"/>
                    <a:pt x="2213" y="4590"/>
                  </a:cubicBezTo>
                  <a:lnTo>
                    <a:pt x="2193" y="4611"/>
                  </a:lnTo>
                  <a:lnTo>
                    <a:pt x="2193" y="4631"/>
                  </a:lnTo>
                  <a:cubicBezTo>
                    <a:pt x="2172" y="4652"/>
                    <a:pt x="2172" y="4672"/>
                    <a:pt x="2172" y="4672"/>
                  </a:cubicBezTo>
                  <a:cubicBezTo>
                    <a:pt x="2172" y="4692"/>
                    <a:pt x="2172" y="4713"/>
                    <a:pt x="2172" y="4713"/>
                  </a:cubicBezTo>
                  <a:cubicBezTo>
                    <a:pt x="2152" y="4734"/>
                    <a:pt x="2152" y="4754"/>
                    <a:pt x="2152" y="4774"/>
                  </a:cubicBezTo>
                  <a:cubicBezTo>
                    <a:pt x="2172" y="4795"/>
                    <a:pt x="2172" y="4836"/>
                    <a:pt x="2172" y="4856"/>
                  </a:cubicBezTo>
                  <a:lnTo>
                    <a:pt x="2193" y="4898"/>
                  </a:lnTo>
                  <a:cubicBezTo>
                    <a:pt x="2193" y="4918"/>
                    <a:pt x="2172" y="4918"/>
                    <a:pt x="2172" y="4938"/>
                  </a:cubicBezTo>
                  <a:lnTo>
                    <a:pt x="2172" y="4938"/>
                  </a:lnTo>
                  <a:cubicBezTo>
                    <a:pt x="2172" y="4959"/>
                    <a:pt x="2193" y="4959"/>
                    <a:pt x="2193" y="4959"/>
                  </a:cubicBezTo>
                  <a:lnTo>
                    <a:pt x="2213" y="4980"/>
                  </a:lnTo>
                  <a:lnTo>
                    <a:pt x="2193" y="5000"/>
                  </a:lnTo>
                  <a:lnTo>
                    <a:pt x="2172" y="5000"/>
                  </a:lnTo>
                  <a:cubicBezTo>
                    <a:pt x="2172" y="5020"/>
                    <a:pt x="2172" y="5020"/>
                    <a:pt x="2172" y="5020"/>
                  </a:cubicBezTo>
                  <a:cubicBezTo>
                    <a:pt x="2172" y="5041"/>
                    <a:pt x="2172" y="5041"/>
                    <a:pt x="2172" y="5062"/>
                  </a:cubicBezTo>
                  <a:cubicBezTo>
                    <a:pt x="2172" y="5062"/>
                    <a:pt x="2193" y="5062"/>
                    <a:pt x="2193" y="5082"/>
                  </a:cubicBezTo>
                  <a:cubicBezTo>
                    <a:pt x="2213" y="5082"/>
                    <a:pt x="2213" y="5102"/>
                    <a:pt x="2213" y="5123"/>
                  </a:cubicBezTo>
                  <a:cubicBezTo>
                    <a:pt x="2234" y="5123"/>
                    <a:pt x="2213" y="5164"/>
                    <a:pt x="2213" y="5164"/>
                  </a:cubicBezTo>
                  <a:cubicBezTo>
                    <a:pt x="2213" y="5184"/>
                    <a:pt x="2234" y="5205"/>
                    <a:pt x="2213" y="5226"/>
                  </a:cubicBezTo>
                  <a:cubicBezTo>
                    <a:pt x="2213" y="5226"/>
                    <a:pt x="2213" y="5246"/>
                    <a:pt x="2213" y="5266"/>
                  </a:cubicBezTo>
                  <a:lnTo>
                    <a:pt x="2193" y="5287"/>
                  </a:lnTo>
                  <a:cubicBezTo>
                    <a:pt x="2193" y="5287"/>
                    <a:pt x="2213" y="5308"/>
                    <a:pt x="2213" y="5328"/>
                  </a:cubicBezTo>
                  <a:lnTo>
                    <a:pt x="2193" y="5348"/>
                  </a:lnTo>
                  <a:cubicBezTo>
                    <a:pt x="2193" y="5368"/>
                    <a:pt x="2172" y="5368"/>
                    <a:pt x="2172" y="5389"/>
                  </a:cubicBezTo>
                  <a:lnTo>
                    <a:pt x="2172" y="5430"/>
                  </a:lnTo>
                  <a:cubicBezTo>
                    <a:pt x="2172" y="5450"/>
                    <a:pt x="2172" y="5471"/>
                    <a:pt x="2172" y="5492"/>
                  </a:cubicBezTo>
                  <a:cubicBezTo>
                    <a:pt x="2172" y="5512"/>
                    <a:pt x="2172" y="5553"/>
                    <a:pt x="2172" y="5574"/>
                  </a:cubicBezTo>
                  <a:cubicBezTo>
                    <a:pt x="2172" y="5594"/>
                    <a:pt x="2172" y="5614"/>
                    <a:pt x="2172" y="5635"/>
                  </a:cubicBezTo>
                  <a:cubicBezTo>
                    <a:pt x="2172" y="5656"/>
                    <a:pt x="2172" y="5676"/>
                    <a:pt x="2172" y="5696"/>
                  </a:cubicBezTo>
                  <a:lnTo>
                    <a:pt x="2172" y="5717"/>
                  </a:lnTo>
                  <a:cubicBezTo>
                    <a:pt x="2193" y="5738"/>
                    <a:pt x="2193" y="5758"/>
                    <a:pt x="2193" y="5758"/>
                  </a:cubicBezTo>
                  <a:lnTo>
                    <a:pt x="2172" y="5778"/>
                  </a:lnTo>
                  <a:cubicBezTo>
                    <a:pt x="2172" y="5799"/>
                    <a:pt x="2152" y="5778"/>
                    <a:pt x="2131" y="5778"/>
                  </a:cubicBezTo>
                  <a:cubicBezTo>
                    <a:pt x="2131" y="5799"/>
                    <a:pt x="2111" y="5778"/>
                    <a:pt x="2090" y="5799"/>
                  </a:cubicBezTo>
                  <a:lnTo>
                    <a:pt x="2090" y="5820"/>
                  </a:lnTo>
                  <a:cubicBezTo>
                    <a:pt x="2090" y="5840"/>
                    <a:pt x="2090" y="5860"/>
                    <a:pt x="2070" y="5860"/>
                  </a:cubicBezTo>
                  <a:lnTo>
                    <a:pt x="2049" y="5881"/>
                  </a:lnTo>
                  <a:lnTo>
                    <a:pt x="2029" y="5902"/>
                  </a:lnTo>
                  <a:cubicBezTo>
                    <a:pt x="2029" y="5902"/>
                    <a:pt x="2029" y="5922"/>
                    <a:pt x="2029" y="5942"/>
                  </a:cubicBezTo>
                  <a:cubicBezTo>
                    <a:pt x="2029" y="5942"/>
                    <a:pt x="2029" y="5963"/>
                    <a:pt x="2049" y="5963"/>
                  </a:cubicBezTo>
                  <a:cubicBezTo>
                    <a:pt x="2049" y="5963"/>
                    <a:pt x="2049" y="5984"/>
                    <a:pt x="2070" y="5984"/>
                  </a:cubicBezTo>
                  <a:lnTo>
                    <a:pt x="2090" y="5984"/>
                  </a:lnTo>
                  <a:lnTo>
                    <a:pt x="2090" y="6004"/>
                  </a:lnTo>
                  <a:lnTo>
                    <a:pt x="2090" y="6024"/>
                  </a:lnTo>
                  <a:cubicBezTo>
                    <a:pt x="2070" y="6024"/>
                    <a:pt x="2049" y="6024"/>
                    <a:pt x="2049" y="6024"/>
                  </a:cubicBezTo>
                  <a:cubicBezTo>
                    <a:pt x="2029" y="6024"/>
                    <a:pt x="2008" y="6024"/>
                    <a:pt x="2008" y="6024"/>
                  </a:cubicBezTo>
                  <a:cubicBezTo>
                    <a:pt x="2008" y="6024"/>
                    <a:pt x="1988" y="6024"/>
                    <a:pt x="1967" y="6024"/>
                  </a:cubicBezTo>
                  <a:lnTo>
                    <a:pt x="1947" y="6024"/>
                  </a:lnTo>
                  <a:lnTo>
                    <a:pt x="1926" y="6045"/>
                  </a:lnTo>
                  <a:cubicBezTo>
                    <a:pt x="1926" y="6045"/>
                    <a:pt x="1926" y="6065"/>
                    <a:pt x="1926" y="6086"/>
                  </a:cubicBezTo>
                  <a:cubicBezTo>
                    <a:pt x="1906" y="6086"/>
                    <a:pt x="1926" y="6127"/>
                    <a:pt x="1906" y="6127"/>
                  </a:cubicBezTo>
                  <a:cubicBezTo>
                    <a:pt x="1906" y="6147"/>
                    <a:pt x="1906" y="6147"/>
                    <a:pt x="1885" y="6168"/>
                  </a:cubicBezTo>
                  <a:cubicBezTo>
                    <a:pt x="1885" y="6168"/>
                    <a:pt x="1885" y="6168"/>
                    <a:pt x="1865" y="6168"/>
                  </a:cubicBezTo>
                  <a:lnTo>
                    <a:pt x="1845" y="6188"/>
                  </a:lnTo>
                  <a:cubicBezTo>
                    <a:pt x="1845" y="6209"/>
                    <a:pt x="1845" y="6209"/>
                    <a:pt x="1824" y="6229"/>
                  </a:cubicBezTo>
                  <a:cubicBezTo>
                    <a:pt x="1824" y="6229"/>
                    <a:pt x="1824" y="6250"/>
                    <a:pt x="1803" y="6250"/>
                  </a:cubicBezTo>
                  <a:cubicBezTo>
                    <a:pt x="1803" y="6250"/>
                    <a:pt x="1803" y="6250"/>
                    <a:pt x="1783" y="6250"/>
                  </a:cubicBezTo>
                  <a:cubicBezTo>
                    <a:pt x="1783" y="6250"/>
                    <a:pt x="1783" y="6250"/>
                    <a:pt x="1783" y="6229"/>
                  </a:cubicBezTo>
                  <a:lnTo>
                    <a:pt x="1783" y="6229"/>
                  </a:lnTo>
                  <a:lnTo>
                    <a:pt x="1763" y="6229"/>
                  </a:lnTo>
                  <a:lnTo>
                    <a:pt x="1763" y="6250"/>
                  </a:lnTo>
                  <a:lnTo>
                    <a:pt x="1742" y="6250"/>
                  </a:lnTo>
                  <a:cubicBezTo>
                    <a:pt x="1721" y="6250"/>
                    <a:pt x="1721" y="6229"/>
                    <a:pt x="1701" y="6229"/>
                  </a:cubicBezTo>
                  <a:cubicBezTo>
                    <a:pt x="1701" y="6209"/>
                    <a:pt x="1681" y="6209"/>
                    <a:pt x="1681" y="6188"/>
                  </a:cubicBezTo>
                  <a:lnTo>
                    <a:pt x="1681" y="6168"/>
                  </a:lnTo>
                  <a:cubicBezTo>
                    <a:pt x="1681" y="6147"/>
                    <a:pt x="1660" y="6147"/>
                    <a:pt x="1660" y="6147"/>
                  </a:cubicBezTo>
                  <a:cubicBezTo>
                    <a:pt x="1639" y="6127"/>
                    <a:pt x="1639" y="6127"/>
                    <a:pt x="1639" y="6106"/>
                  </a:cubicBezTo>
                  <a:cubicBezTo>
                    <a:pt x="1619" y="6106"/>
                    <a:pt x="1619" y="6106"/>
                    <a:pt x="1619" y="6106"/>
                  </a:cubicBezTo>
                  <a:lnTo>
                    <a:pt x="1619" y="6086"/>
                  </a:lnTo>
                  <a:lnTo>
                    <a:pt x="1619" y="6065"/>
                  </a:lnTo>
                  <a:lnTo>
                    <a:pt x="1639" y="6065"/>
                  </a:lnTo>
                  <a:lnTo>
                    <a:pt x="1639" y="6045"/>
                  </a:lnTo>
                  <a:cubicBezTo>
                    <a:pt x="1639" y="6045"/>
                    <a:pt x="1619" y="6045"/>
                    <a:pt x="1599" y="6045"/>
                  </a:cubicBezTo>
                  <a:lnTo>
                    <a:pt x="1599" y="6045"/>
                  </a:lnTo>
                  <a:cubicBezTo>
                    <a:pt x="1578" y="6045"/>
                    <a:pt x="1578" y="6024"/>
                    <a:pt x="1578" y="6024"/>
                  </a:cubicBezTo>
                  <a:lnTo>
                    <a:pt x="1578" y="6004"/>
                  </a:lnTo>
                  <a:cubicBezTo>
                    <a:pt x="1578" y="5984"/>
                    <a:pt x="1578" y="5963"/>
                    <a:pt x="1578" y="5942"/>
                  </a:cubicBezTo>
                  <a:cubicBezTo>
                    <a:pt x="1557" y="5942"/>
                    <a:pt x="1537" y="5902"/>
                    <a:pt x="1537" y="5881"/>
                  </a:cubicBezTo>
                  <a:cubicBezTo>
                    <a:pt x="1537" y="5881"/>
                    <a:pt x="1537" y="5840"/>
                    <a:pt x="1537" y="5820"/>
                  </a:cubicBezTo>
                  <a:cubicBezTo>
                    <a:pt x="1537" y="5799"/>
                    <a:pt x="1517" y="5778"/>
                    <a:pt x="1517" y="5758"/>
                  </a:cubicBezTo>
                  <a:cubicBezTo>
                    <a:pt x="1517" y="5738"/>
                    <a:pt x="1517" y="5717"/>
                    <a:pt x="1496" y="5696"/>
                  </a:cubicBezTo>
                  <a:lnTo>
                    <a:pt x="1496" y="5676"/>
                  </a:lnTo>
                  <a:cubicBezTo>
                    <a:pt x="1475" y="5656"/>
                    <a:pt x="1475" y="5656"/>
                    <a:pt x="1475" y="5635"/>
                  </a:cubicBezTo>
                  <a:cubicBezTo>
                    <a:pt x="1455" y="5635"/>
                    <a:pt x="1475" y="5614"/>
                    <a:pt x="1475" y="5614"/>
                  </a:cubicBezTo>
                  <a:cubicBezTo>
                    <a:pt x="1475" y="5594"/>
                    <a:pt x="1455" y="5594"/>
                    <a:pt x="1455" y="5574"/>
                  </a:cubicBezTo>
                  <a:cubicBezTo>
                    <a:pt x="1455" y="5574"/>
                    <a:pt x="1455" y="5574"/>
                    <a:pt x="1435" y="5574"/>
                  </a:cubicBezTo>
                  <a:cubicBezTo>
                    <a:pt x="1435" y="5553"/>
                    <a:pt x="1435" y="5553"/>
                    <a:pt x="1435" y="5532"/>
                  </a:cubicBezTo>
                  <a:lnTo>
                    <a:pt x="1414" y="5512"/>
                  </a:lnTo>
                  <a:lnTo>
                    <a:pt x="1414" y="5492"/>
                  </a:lnTo>
                  <a:cubicBezTo>
                    <a:pt x="1393" y="5471"/>
                    <a:pt x="1373" y="5471"/>
                    <a:pt x="1373" y="5471"/>
                  </a:cubicBezTo>
                  <a:lnTo>
                    <a:pt x="1373" y="5430"/>
                  </a:lnTo>
                  <a:lnTo>
                    <a:pt x="1353" y="5430"/>
                  </a:lnTo>
                  <a:lnTo>
                    <a:pt x="1332" y="5430"/>
                  </a:lnTo>
                  <a:cubicBezTo>
                    <a:pt x="1332" y="5430"/>
                    <a:pt x="1332" y="5389"/>
                    <a:pt x="1311" y="5389"/>
                  </a:cubicBezTo>
                  <a:cubicBezTo>
                    <a:pt x="1311" y="5368"/>
                    <a:pt x="1291" y="5348"/>
                    <a:pt x="1291" y="5328"/>
                  </a:cubicBezTo>
                  <a:cubicBezTo>
                    <a:pt x="1291" y="5308"/>
                    <a:pt x="1291" y="5287"/>
                    <a:pt x="1291" y="5266"/>
                  </a:cubicBezTo>
                  <a:cubicBezTo>
                    <a:pt x="1271" y="5246"/>
                    <a:pt x="1271" y="5226"/>
                    <a:pt x="1250" y="5205"/>
                  </a:cubicBezTo>
                  <a:cubicBezTo>
                    <a:pt x="1250" y="5184"/>
                    <a:pt x="1250" y="5164"/>
                    <a:pt x="1250" y="5164"/>
                  </a:cubicBezTo>
                  <a:cubicBezTo>
                    <a:pt x="1250" y="5164"/>
                    <a:pt x="1250" y="5144"/>
                    <a:pt x="1250" y="5123"/>
                  </a:cubicBezTo>
                  <a:cubicBezTo>
                    <a:pt x="1229" y="5123"/>
                    <a:pt x="1250" y="5102"/>
                    <a:pt x="1250" y="5082"/>
                  </a:cubicBezTo>
                  <a:lnTo>
                    <a:pt x="1250" y="5062"/>
                  </a:lnTo>
                  <a:cubicBezTo>
                    <a:pt x="1250" y="5041"/>
                    <a:pt x="1229" y="5041"/>
                    <a:pt x="1229" y="5020"/>
                  </a:cubicBezTo>
                  <a:cubicBezTo>
                    <a:pt x="1209" y="5020"/>
                    <a:pt x="1209" y="5020"/>
                    <a:pt x="1209" y="5020"/>
                  </a:cubicBezTo>
                  <a:cubicBezTo>
                    <a:pt x="1209" y="5000"/>
                    <a:pt x="1209" y="5000"/>
                    <a:pt x="1209" y="4980"/>
                  </a:cubicBezTo>
                  <a:lnTo>
                    <a:pt x="1189" y="4959"/>
                  </a:lnTo>
                  <a:cubicBezTo>
                    <a:pt x="1189" y="4938"/>
                    <a:pt x="1189" y="4938"/>
                    <a:pt x="1189" y="4938"/>
                  </a:cubicBezTo>
                  <a:cubicBezTo>
                    <a:pt x="1189" y="4918"/>
                    <a:pt x="1189" y="4918"/>
                    <a:pt x="1189" y="4898"/>
                  </a:cubicBezTo>
                  <a:lnTo>
                    <a:pt x="1189" y="4877"/>
                  </a:lnTo>
                  <a:cubicBezTo>
                    <a:pt x="1189" y="4856"/>
                    <a:pt x="1168" y="4856"/>
                    <a:pt x="1168" y="4856"/>
                  </a:cubicBezTo>
                  <a:cubicBezTo>
                    <a:pt x="1168" y="4836"/>
                    <a:pt x="1168" y="4836"/>
                    <a:pt x="1148" y="4816"/>
                  </a:cubicBezTo>
                  <a:cubicBezTo>
                    <a:pt x="1148" y="4816"/>
                    <a:pt x="1148" y="4816"/>
                    <a:pt x="1127" y="4816"/>
                  </a:cubicBezTo>
                  <a:lnTo>
                    <a:pt x="1127" y="4795"/>
                  </a:lnTo>
                  <a:cubicBezTo>
                    <a:pt x="1107" y="4795"/>
                    <a:pt x="1107" y="4774"/>
                    <a:pt x="1107" y="4754"/>
                  </a:cubicBezTo>
                  <a:lnTo>
                    <a:pt x="1107" y="4734"/>
                  </a:lnTo>
                  <a:lnTo>
                    <a:pt x="1107" y="4734"/>
                  </a:lnTo>
                  <a:cubicBezTo>
                    <a:pt x="1087" y="4713"/>
                    <a:pt x="1087" y="4713"/>
                    <a:pt x="1087" y="4713"/>
                  </a:cubicBezTo>
                  <a:lnTo>
                    <a:pt x="1066" y="4713"/>
                  </a:lnTo>
                  <a:cubicBezTo>
                    <a:pt x="1066" y="4692"/>
                    <a:pt x="1066" y="4692"/>
                    <a:pt x="1066" y="4692"/>
                  </a:cubicBezTo>
                  <a:cubicBezTo>
                    <a:pt x="1066" y="4672"/>
                    <a:pt x="1066" y="4672"/>
                    <a:pt x="1066" y="4672"/>
                  </a:cubicBezTo>
                  <a:lnTo>
                    <a:pt x="1066" y="4652"/>
                  </a:lnTo>
                  <a:cubicBezTo>
                    <a:pt x="1066" y="4652"/>
                    <a:pt x="1045" y="4652"/>
                    <a:pt x="1045" y="4631"/>
                  </a:cubicBezTo>
                  <a:cubicBezTo>
                    <a:pt x="1045" y="4631"/>
                    <a:pt x="1025" y="4611"/>
                    <a:pt x="1025" y="4590"/>
                  </a:cubicBezTo>
                  <a:cubicBezTo>
                    <a:pt x="1025" y="4590"/>
                    <a:pt x="1025" y="4570"/>
                    <a:pt x="1025" y="4549"/>
                  </a:cubicBezTo>
                  <a:cubicBezTo>
                    <a:pt x="1025" y="4549"/>
                    <a:pt x="1025" y="4549"/>
                    <a:pt x="1025" y="4529"/>
                  </a:cubicBezTo>
                  <a:lnTo>
                    <a:pt x="1005" y="4529"/>
                  </a:lnTo>
                  <a:lnTo>
                    <a:pt x="984" y="4529"/>
                  </a:lnTo>
                  <a:lnTo>
                    <a:pt x="984" y="4508"/>
                  </a:lnTo>
                  <a:cubicBezTo>
                    <a:pt x="984" y="4508"/>
                    <a:pt x="984" y="4488"/>
                    <a:pt x="963" y="4488"/>
                  </a:cubicBezTo>
                  <a:cubicBezTo>
                    <a:pt x="963" y="4467"/>
                    <a:pt x="984" y="4447"/>
                    <a:pt x="984" y="4447"/>
                  </a:cubicBezTo>
                  <a:cubicBezTo>
                    <a:pt x="963" y="4426"/>
                    <a:pt x="963" y="4406"/>
                    <a:pt x="963" y="4406"/>
                  </a:cubicBezTo>
                  <a:cubicBezTo>
                    <a:pt x="963" y="4385"/>
                    <a:pt x="963" y="4365"/>
                    <a:pt x="943" y="4344"/>
                  </a:cubicBezTo>
                  <a:lnTo>
                    <a:pt x="943" y="4324"/>
                  </a:lnTo>
                  <a:cubicBezTo>
                    <a:pt x="943" y="4303"/>
                    <a:pt x="943" y="4303"/>
                    <a:pt x="943" y="4283"/>
                  </a:cubicBezTo>
                  <a:lnTo>
                    <a:pt x="943" y="4262"/>
                  </a:lnTo>
                  <a:cubicBezTo>
                    <a:pt x="943" y="4242"/>
                    <a:pt x="943" y="4242"/>
                    <a:pt x="943" y="4242"/>
                  </a:cubicBezTo>
                  <a:cubicBezTo>
                    <a:pt x="943" y="4221"/>
                    <a:pt x="923" y="4221"/>
                    <a:pt x="923" y="4221"/>
                  </a:cubicBezTo>
                  <a:cubicBezTo>
                    <a:pt x="923" y="4201"/>
                    <a:pt x="923" y="4180"/>
                    <a:pt x="902" y="4160"/>
                  </a:cubicBezTo>
                  <a:lnTo>
                    <a:pt x="902" y="4139"/>
                  </a:lnTo>
                  <a:cubicBezTo>
                    <a:pt x="902" y="4119"/>
                    <a:pt x="902" y="4119"/>
                    <a:pt x="902" y="4119"/>
                  </a:cubicBezTo>
                  <a:cubicBezTo>
                    <a:pt x="881" y="4119"/>
                    <a:pt x="881" y="4098"/>
                    <a:pt x="881" y="4098"/>
                  </a:cubicBezTo>
                  <a:cubicBezTo>
                    <a:pt x="902" y="4098"/>
                    <a:pt x="902" y="4098"/>
                    <a:pt x="902" y="4098"/>
                  </a:cubicBezTo>
                  <a:lnTo>
                    <a:pt x="923" y="4078"/>
                  </a:lnTo>
                  <a:lnTo>
                    <a:pt x="902" y="4057"/>
                  </a:lnTo>
                  <a:lnTo>
                    <a:pt x="902" y="4057"/>
                  </a:lnTo>
                  <a:cubicBezTo>
                    <a:pt x="881" y="4037"/>
                    <a:pt x="881" y="4037"/>
                    <a:pt x="881" y="4016"/>
                  </a:cubicBezTo>
                  <a:lnTo>
                    <a:pt x="881" y="3996"/>
                  </a:lnTo>
                  <a:lnTo>
                    <a:pt x="902" y="3975"/>
                  </a:lnTo>
                  <a:lnTo>
                    <a:pt x="881" y="3955"/>
                  </a:lnTo>
                  <a:cubicBezTo>
                    <a:pt x="881" y="3935"/>
                    <a:pt x="902" y="3935"/>
                    <a:pt x="881" y="3935"/>
                  </a:cubicBezTo>
                  <a:cubicBezTo>
                    <a:pt x="881" y="3914"/>
                    <a:pt x="881" y="3914"/>
                    <a:pt x="881" y="3914"/>
                  </a:cubicBezTo>
                  <a:cubicBezTo>
                    <a:pt x="861" y="3914"/>
                    <a:pt x="861" y="3914"/>
                    <a:pt x="841" y="3893"/>
                  </a:cubicBezTo>
                  <a:lnTo>
                    <a:pt x="841" y="3893"/>
                  </a:lnTo>
                  <a:cubicBezTo>
                    <a:pt x="820" y="3873"/>
                    <a:pt x="841" y="3853"/>
                    <a:pt x="841" y="3832"/>
                  </a:cubicBezTo>
                  <a:cubicBezTo>
                    <a:pt x="841" y="3811"/>
                    <a:pt x="841" y="3791"/>
                    <a:pt x="841" y="3791"/>
                  </a:cubicBezTo>
                  <a:lnTo>
                    <a:pt x="820" y="3771"/>
                  </a:lnTo>
                  <a:cubicBezTo>
                    <a:pt x="820" y="3771"/>
                    <a:pt x="820" y="3771"/>
                    <a:pt x="820" y="3750"/>
                  </a:cubicBezTo>
                  <a:lnTo>
                    <a:pt x="820" y="3729"/>
                  </a:lnTo>
                  <a:lnTo>
                    <a:pt x="841" y="3729"/>
                  </a:lnTo>
                  <a:lnTo>
                    <a:pt x="841" y="3709"/>
                  </a:lnTo>
                  <a:cubicBezTo>
                    <a:pt x="841" y="3689"/>
                    <a:pt x="841" y="3647"/>
                    <a:pt x="841" y="3627"/>
                  </a:cubicBezTo>
                  <a:cubicBezTo>
                    <a:pt x="841" y="3607"/>
                    <a:pt x="841" y="3565"/>
                    <a:pt x="841" y="3545"/>
                  </a:cubicBezTo>
                  <a:cubicBezTo>
                    <a:pt x="841" y="3545"/>
                    <a:pt x="841" y="3525"/>
                    <a:pt x="841" y="3504"/>
                  </a:cubicBezTo>
                  <a:lnTo>
                    <a:pt x="841" y="3483"/>
                  </a:lnTo>
                  <a:cubicBezTo>
                    <a:pt x="841" y="3483"/>
                    <a:pt x="841" y="3483"/>
                    <a:pt x="841" y="3463"/>
                  </a:cubicBezTo>
                  <a:lnTo>
                    <a:pt x="861" y="3463"/>
                  </a:lnTo>
                  <a:lnTo>
                    <a:pt x="881" y="3463"/>
                  </a:lnTo>
                  <a:cubicBezTo>
                    <a:pt x="902" y="3463"/>
                    <a:pt x="902" y="3443"/>
                    <a:pt x="902" y="3443"/>
                  </a:cubicBezTo>
                  <a:lnTo>
                    <a:pt x="923" y="3422"/>
                  </a:lnTo>
                  <a:lnTo>
                    <a:pt x="923" y="3422"/>
                  </a:lnTo>
                  <a:cubicBezTo>
                    <a:pt x="923" y="3401"/>
                    <a:pt x="902" y="3422"/>
                    <a:pt x="902" y="3422"/>
                  </a:cubicBezTo>
                  <a:lnTo>
                    <a:pt x="881" y="3422"/>
                  </a:lnTo>
                  <a:cubicBezTo>
                    <a:pt x="861" y="3422"/>
                    <a:pt x="861" y="3422"/>
                    <a:pt x="861" y="3422"/>
                  </a:cubicBezTo>
                  <a:cubicBezTo>
                    <a:pt x="841" y="3422"/>
                    <a:pt x="841" y="3443"/>
                    <a:pt x="841" y="3443"/>
                  </a:cubicBezTo>
                  <a:cubicBezTo>
                    <a:pt x="841" y="3443"/>
                    <a:pt x="820" y="3443"/>
                    <a:pt x="820" y="3463"/>
                  </a:cubicBezTo>
                  <a:lnTo>
                    <a:pt x="799" y="3463"/>
                  </a:lnTo>
                  <a:lnTo>
                    <a:pt x="779" y="3443"/>
                  </a:lnTo>
                  <a:lnTo>
                    <a:pt x="779" y="3422"/>
                  </a:lnTo>
                  <a:lnTo>
                    <a:pt x="779" y="3401"/>
                  </a:lnTo>
                  <a:cubicBezTo>
                    <a:pt x="779" y="3381"/>
                    <a:pt x="799" y="3381"/>
                    <a:pt x="799" y="3381"/>
                  </a:cubicBezTo>
                  <a:lnTo>
                    <a:pt x="820" y="3361"/>
                  </a:lnTo>
                  <a:cubicBezTo>
                    <a:pt x="820" y="3361"/>
                    <a:pt x="820" y="3361"/>
                    <a:pt x="841" y="3361"/>
                  </a:cubicBezTo>
                  <a:cubicBezTo>
                    <a:pt x="841" y="3340"/>
                    <a:pt x="841" y="3340"/>
                    <a:pt x="841" y="3340"/>
                  </a:cubicBezTo>
                  <a:lnTo>
                    <a:pt x="820" y="3340"/>
                  </a:lnTo>
                  <a:cubicBezTo>
                    <a:pt x="820" y="3319"/>
                    <a:pt x="799" y="3340"/>
                    <a:pt x="799" y="3340"/>
                  </a:cubicBezTo>
                  <a:lnTo>
                    <a:pt x="779" y="3340"/>
                  </a:lnTo>
                  <a:lnTo>
                    <a:pt x="779" y="3319"/>
                  </a:lnTo>
                  <a:cubicBezTo>
                    <a:pt x="779" y="3319"/>
                    <a:pt x="779" y="3319"/>
                    <a:pt x="779" y="3299"/>
                  </a:cubicBezTo>
                  <a:cubicBezTo>
                    <a:pt x="779" y="3299"/>
                    <a:pt x="779" y="3299"/>
                    <a:pt x="759" y="3299"/>
                  </a:cubicBezTo>
                  <a:lnTo>
                    <a:pt x="759" y="3279"/>
                  </a:lnTo>
                  <a:lnTo>
                    <a:pt x="759" y="3259"/>
                  </a:lnTo>
                  <a:lnTo>
                    <a:pt x="779" y="3259"/>
                  </a:lnTo>
                  <a:cubicBezTo>
                    <a:pt x="779" y="3238"/>
                    <a:pt x="779" y="3259"/>
                    <a:pt x="799" y="3259"/>
                  </a:cubicBezTo>
                  <a:lnTo>
                    <a:pt x="799" y="3259"/>
                  </a:lnTo>
                  <a:cubicBezTo>
                    <a:pt x="799" y="3238"/>
                    <a:pt x="820" y="3238"/>
                    <a:pt x="799" y="3238"/>
                  </a:cubicBezTo>
                  <a:lnTo>
                    <a:pt x="799" y="3217"/>
                  </a:lnTo>
                  <a:lnTo>
                    <a:pt x="779" y="3217"/>
                  </a:lnTo>
                  <a:cubicBezTo>
                    <a:pt x="759" y="3217"/>
                    <a:pt x="759" y="3217"/>
                    <a:pt x="759" y="3217"/>
                  </a:cubicBezTo>
                  <a:cubicBezTo>
                    <a:pt x="738" y="3238"/>
                    <a:pt x="717" y="3217"/>
                    <a:pt x="717" y="3238"/>
                  </a:cubicBezTo>
                  <a:lnTo>
                    <a:pt x="717" y="3259"/>
                  </a:lnTo>
                  <a:lnTo>
                    <a:pt x="717" y="3279"/>
                  </a:lnTo>
                  <a:cubicBezTo>
                    <a:pt x="717" y="3299"/>
                    <a:pt x="717" y="3299"/>
                    <a:pt x="717" y="3299"/>
                  </a:cubicBezTo>
                  <a:cubicBezTo>
                    <a:pt x="717" y="3319"/>
                    <a:pt x="717" y="3319"/>
                    <a:pt x="717" y="3340"/>
                  </a:cubicBezTo>
                  <a:lnTo>
                    <a:pt x="717" y="3361"/>
                  </a:lnTo>
                  <a:cubicBezTo>
                    <a:pt x="717" y="3381"/>
                    <a:pt x="717" y="3381"/>
                    <a:pt x="717" y="3401"/>
                  </a:cubicBezTo>
                  <a:lnTo>
                    <a:pt x="697" y="3422"/>
                  </a:lnTo>
                  <a:lnTo>
                    <a:pt x="697" y="3443"/>
                  </a:lnTo>
                  <a:lnTo>
                    <a:pt x="697" y="3463"/>
                  </a:lnTo>
                  <a:lnTo>
                    <a:pt x="677" y="3483"/>
                  </a:lnTo>
                  <a:cubicBezTo>
                    <a:pt x="656" y="3483"/>
                    <a:pt x="635" y="3504"/>
                    <a:pt x="635" y="3504"/>
                  </a:cubicBezTo>
                  <a:cubicBezTo>
                    <a:pt x="615" y="3504"/>
                    <a:pt x="595" y="3504"/>
                    <a:pt x="595" y="3525"/>
                  </a:cubicBezTo>
                  <a:cubicBezTo>
                    <a:pt x="574" y="3525"/>
                    <a:pt x="553" y="3545"/>
                    <a:pt x="553" y="3565"/>
                  </a:cubicBezTo>
                  <a:cubicBezTo>
                    <a:pt x="533" y="3565"/>
                    <a:pt x="533" y="3586"/>
                    <a:pt x="513" y="3586"/>
                  </a:cubicBezTo>
                  <a:cubicBezTo>
                    <a:pt x="513" y="3607"/>
                    <a:pt x="492" y="3607"/>
                    <a:pt x="492" y="3607"/>
                  </a:cubicBezTo>
                  <a:cubicBezTo>
                    <a:pt x="471" y="3586"/>
                    <a:pt x="451" y="3586"/>
                    <a:pt x="451" y="3565"/>
                  </a:cubicBezTo>
                  <a:cubicBezTo>
                    <a:pt x="431" y="3565"/>
                    <a:pt x="431" y="3545"/>
                    <a:pt x="410" y="3545"/>
                  </a:cubicBezTo>
                  <a:cubicBezTo>
                    <a:pt x="410" y="3545"/>
                    <a:pt x="410" y="3525"/>
                    <a:pt x="390" y="3525"/>
                  </a:cubicBezTo>
                  <a:cubicBezTo>
                    <a:pt x="390" y="3525"/>
                    <a:pt x="390" y="3504"/>
                    <a:pt x="369" y="3504"/>
                  </a:cubicBezTo>
                  <a:lnTo>
                    <a:pt x="349" y="3483"/>
                  </a:lnTo>
                  <a:lnTo>
                    <a:pt x="328" y="3463"/>
                  </a:lnTo>
                  <a:cubicBezTo>
                    <a:pt x="308" y="3463"/>
                    <a:pt x="308" y="3443"/>
                    <a:pt x="308" y="3443"/>
                  </a:cubicBezTo>
                  <a:cubicBezTo>
                    <a:pt x="287" y="3422"/>
                    <a:pt x="287" y="3422"/>
                    <a:pt x="287" y="3422"/>
                  </a:cubicBezTo>
                  <a:cubicBezTo>
                    <a:pt x="287" y="3401"/>
                    <a:pt x="267" y="3401"/>
                    <a:pt x="267" y="3381"/>
                  </a:cubicBezTo>
                  <a:cubicBezTo>
                    <a:pt x="246" y="3381"/>
                    <a:pt x="246" y="3361"/>
                    <a:pt x="246" y="3361"/>
                  </a:cubicBezTo>
                  <a:cubicBezTo>
                    <a:pt x="226" y="3361"/>
                    <a:pt x="226" y="3340"/>
                    <a:pt x="205" y="3340"/>
                  </a:cubicBezTo>
                  <a:lnTo>
                    <a:pt x="205" y="3319"/>
                  </a:lnTo>
                  <a:cubicBezTo>
                    <a:pt x="185" y="3319"/>
                    <a:pt x="185" y="3299"/>
                    <a:pt x="185" y="3299"/>
                  </a:cubicBezTo>
                  <a:lnTo>
                    <a:pt x="164" y="3299"/>
                  </a:lnTo>
                  <a:cubicBezTo>
                    <a:pt x="164" y="3279"/>
                    <a:pt x="144" y="3259"/>
                    <a:pt x="144" y="3259"/>
                  </a:cubicBezTo>
                  <a:lnTo>
                    <a:pt x="144" y="3238"/>
                  </a:lnTo>
                  <a:cubicBezTo>
                    <a:pt x="144" y="3217"/>
                    <a:pt x="144" y="3217"/>
                    <a:pt x="144" y="3217"/>
                  </a:cubicBezTo>
                  <a:cubicBezTo>
                    <a:pt x="164" y="3217"/>
                    <a:pt x="164" y="3197"/>
                    <a:pt x="164" y="3197"/>
                  </a:cubicBezTo>
                  <a:cubicBezTo>
                    <a:pt x="164" y="3197"/>
                    <a:pt x="164" y="3197"/>
                    <a:pt x="185" y="3197"/>
                  </a:cubicBezTo>
                  <a:cubicBezTo>
                    <a:pt x="185" y="3217"/>
                    <a:pt x="185" y="3217"/>
                    <a:pt x="185" y="3217"/>
                  </a:cubicBezTo>
                  <a:cubicBezTo>
                    <a:pt x="185" y="3238"/>
                    <a:pt x="185" y="3238"/>
                    <a:pt x="205" y="3238"/>
                  </a:cubicBezTo>
                  <a:cubicBezTo>
                    <a:pt x="205" y="3259"/>
                    <a:pt x="205" y="3259"/>
                    <a:pt x="226" y="3259"/>
                  </a:cubicBezTo>
                  <a:cubicBezTo>
                    <a:pt x="226" y="3259"/>
                    <a:pt x="226" y="3238"/>
                    <a:pt x="246" y="3238"/>
                  </a:cubicBezTo>
                  <a:cubicBezTo>
                    <a:pt x="246" y="3238"/>
                    <a:pt x="246" y="3238"/>
                    <a:pt x="267" y="3238"/>
                  </a:cubicBezTo>
                  <a:lnTo>
                    <a:pt x="287" y="3238"/>
                  </a:lnTo>
                  <a:cubicBezTo>
                    <a:pt x="287" y="3217"/>
                    <a:pt x="308" y="3217"/>
                    <a:pt x="308" y="3217"/>
                  </a:cubicBezTo>
                  <a:cubicBezTo>
                    <a:pt x="308" y="3217"/>
                    <a:pt x="308" y="3197"/>
                    <a:pt x="328" y="3197"/>
                  </a:cubicBezTo>
                  <a:lnTo>
                    <a:pt x="349" y="3177"/>
                  </a:lnTo>
                  <a:lnTo>
                    <a:pt x="349" y="3156"/>
                  </a:lnTo>
                  <a:cubicBezTo>
                    <a:pt x="349" y="3156"/>
                    <a:pt x="349" y="3135"/>
                    <a:pt x="369" y="3135"/>
                  </a:cubicBezTo>
                  <a:lnTo>
                    <a:pt x="369" y="3115"/>
                  </a:lnTo>
                  <a:lnTo>
                    <a:pt x="369" y="3095"/>
                  </a:lnTo>
                  <a:lnTo>
                    <a:pt x="369" y="3074"/>
                  </a:lnTo>
                  <a:cubicBezTo>
                    <a:pt x="369" y="3074"/>
                    <a:pt x="369" y="3074"/>
                    <a:pt x="349" y="3074"/>
                  </a:cubicBezTo>
                  <a:lnTo>
                    <a:pt x="349" y="3095"/>
                  </a:lnTo>
                  <a:cubicBezTo>
                    <a:pt x="328" y="3095"/>
                    <a:pt x="328" y="3095"/>
                    <a:pt x="328" y="3115"/>
                  </a:cubicBezTo>
                  <a:cubicBezTo>
                    <a:pt x="308" y="3115"/>
                    <a:pt x="287" y="3115"/>
                    <a:pt x="287" y="3115"/>
                  </a:cubicBezTo>
                  <a:cubicBezTo>
                    <a:pt x="267" y="3115"/>
                    <a:pt x="246" y="3135"/>
                    <a:pt x="246" y="3135"/>
                  </a:cubicBezTo>
                  <a:cubicBezTo>
                    <a:pt x="226" y="3135"/>
                    <a:pt x="205" y="3135"/>
                    <a:pt x="205" y="3135"/>
                  </a:cubicBezTo>
                  <a:cubicBezTo>
                    <a:pt x="185" y="3135"/>
                    <a:pt x="185" y="3135"/>
                    <a:pt x="164" y="3135"/>
                  </a:cubicBezTo>
                  <a:cubicBezTo>
                    <a:pt x="164" y="3135"/>
                    <a:pt x="164" y="3115"/>
                    <a:pt x="144" y="3115"/>
                  </a:cubicBezTo>
                  <a:cubicBezTo>
                    <a:pt x="144" y="3095"/>
                    <a:pt x="123" y="3095"/>
                    <a:pt x="123" y="3095"/>
                  </a:cubicBezTo>
                  <a:cubicBezTo>
                    <a:pt x="103" y="3095"/>
                    <a:pt x="103" y="3074"/>
                    <a:pt x="82" y="3074"/>
                  </a:cubicBezTo>
                  <a:cubicBezTo>
                    <a:pt x="82" y="3074"/>
                    <a:pt x="82" y="3053"/>
                    <a:pt x="82" y="3033"/>
                  </a:cubicBezTo>
                  <a:cubicBezTo>
                    <a:pt x="62" y="3033"/>
                    <a:pt x="62" y="3013"/>
                    <a:pt x="62" y="3013"/>
                  </a:cubicBezTo>
                  <a:lnTo>
                    <a:pt x="62" y="2992"/>
                  </a:lnTo>
                  <a:cubicBezTo>
                    <a:pt x="62" y="2971"/>
                    <a:pt x="62" y="2971"/>
                    <a:pt x="62" y="2971"/>
                  </a:cubicBezTo>
                  <a:cubicBezTo>
                    <a:pt x="62" y="2951"/>
                    <a:pt x="82" y="2951"/>
                    <a:pt x="82" y="2951"/>
                  </a:cubicBezTo>
                  <a:lnTo>
                    <a:pt x="82" y="2931"/>
                  </a:lnTo>
                  <a:cubicBezTo>
                    <a:pt x="82" y="2931"/>
                    <a:pt x="82" y="2931"/>
                    <a:pt x="82" y="2910"/>
                  </a:cubicBezTo>
                  <a:cubicBezTo>
                    <a:pt x="82" y="2910"/>
                    <a:pt x="62" y="2910"/>
                    <a:pt x="62" y="2931"/>
                  </a:cubicBezTo>
                  <a:cubicBezTo>
                    <a:pt x="62" y="2931"/>
                    <a:pt x="62" y="2931"/>
                    <a:pt x="41" y="2931"/>
                  </a:cubicBezTo>
                  <a:cubicBezTo>
                    <a:pt x="41" y="2931"/>
                    <a:pt x="41" y="2951"/>
                    <a:pt x="21" y="2951"/>
                  </a:cubicBezTo>
                  <a:lnTo>
                    <a:pt x="0" y="2951"/>
                  </a:lnTo>
                  <a:cubicBezTo>
                    <a:pt x="0" y="2931"/>
                    <a:pt x="0" y="2931"/>
                    <a:pt x="21" y="2931"/>
                  </a:cubicBezTo>
                  <a:cubicBezTo>
                    <a:pt x="21" y="2910"/>
                    <a:pt x="21" y="2910"/>
                    <a:pt x="21" y="2910"/>
                  </a:cubicBezTo>
                  <a:cubicBezTo>
                    <a:pt x="21" y="2910"/>
                    <a:pt x="21" y="2889"/>
                    <a:pt x="41" y="2889"/>
                  </a:cubicBezTo>
                  <a:lnTo>
                    <a:pt x="41" y="2889"/>
                  </a:lnTo>
                  <a:lnTo>
                    <a:pt x="41" y="2889"/>
                  </a:lnTo>
                  <a:cubicBezTo>
                    <a:pt x="62" y="2869"/>
                    <a:pt x="82" y="2869"/>
                    <a:pt x="82" y="2869"/>
                  </a:cubicBezTo>
                  <a:cubicBezTo>
                    <a:pt x="103" y="2849"/>
                    <a:pt x="103" y="2849"/>
                    <a:pt x="103" y="2849"/>
                  </a:cubicBezTo>
                  <a:cubicBezTo>
                    <a:pt x="103" y="2828"/>
                    <a:pt x="123" y="2828"/>
                    <a:pt x="123" y="2807"/>
                  </a:cubicBezTo>
                  <a:cubicBezTo>
                    <a:pt x="144" y="2807"/>
                    <a:pt x="164" y="2807"/>
                    <a:pt x="164" y="2807"/>
                  </a:cubicBezTo>
                  <a:cubicBezTo>
                    <a:pt x="185" y="2807"/>
                    <a:pt x="185" y="2828"/>
                    <a:pt x="205" y="2828"/>
                  </a:cubicBezTo>
                  <a:lnTo>
                    <a:pt x="226" y="2828"/>
                  </a:lnTo>
                  <a:cubicBezTo>
                    <a:pt x="246" y="2828"/>
                    <a:pt x="267" y="2849"/>
                    <a:pt x="267" y="2849"/>
                  </a:cubicBezTo>
                  <a:cubicBezTo>
                    <a:pt x="287" y="2849"/>
                    <a:pt x="308" y="2849"/>
                    <a:pt x="308" y="2849"/>
                  </a:cubicBezTo>
                  <a:cubicBezTo>
                    <a:pt x="328" y="2849"/>
                    <a:pt x="328" y="2828"/>
                    <a:pt x="328" y="2828"/>
                  </a:cubicBezTo>
                  <a:cubicBezTo>
                    <a:pt x="328" y="2828"/>
                    <a:pt x="328" y="2807"/>
                    <a:pt x="349" y="2807"/>
                  </a:cubicBezTo>
                  <a:lnTo>
                    <a:pt x="369" y="2807"/>
                  </a:lnTo>
                  <a:cubicBezTo>
                    <a:pt x="369" y="2807"/>
                    <a:pt x="369" y="2807"/>
                    <a:pt x="390" y="2807"/>
                  </a:cubicBezTo>
                  <a:cubicBezTo>
                    <a:pt x="390" y="2807"/>
                    <a:pt x="390" y="2807"/>
                    <a:pt x="410" y="2807"/>
                  </a:cubicBezTo>
                  <a:lnTo>
                    <a:pt x="410" y="2828"/>
                  </a:lnTo>
                  <a:lnTo>
                    <a:pt x="431" y="2828"/>
                  </a:lnTo>
                  <a:lnTo>
                    <a:pt x="451" y="2828"/>
                  </a:lnTo>
                  <a:cubicBezTo>
                    <a:pt x="451" y="2807"/>
                    <a:pt x="451" y="2807"/>
                    <a:pt x="451" y="2807"/>
                  </a:cubicBezTo>
                  <a:cubicBezTo>
                    <a:pt x="451" y="2787"/>
                    <a:pt x="451" y="2746"/>
                    <a:pt x="451" y="2746"/>
                  </a:cubicBezTo>
                  <a:cubicBezTo>
                    <a:pt x="451" y="2725"/>
                    <a:pt x="451" y="2705"/>
                    <a:pt x="451" y="2685"/>
                  </a:cubicBezTo>
                  <a:lnTo>
                    <a:pt x="431" y="2664"/>
                  </a:lnTo>
                  <a:cubicBezTo>
                    <a:pt x="410" y="2643"/>
                    <a:pt x="410" y="2623"/>
                    <a:pt x="410" y="2603"/>
                  </a:cubicBezTo>
                  <a:cubicBezTo>
                    <a:pt x="390" y="2603"/>
                    <a:pt x="390" y="2582"/>
                    <a:pt x="390" y="2562"/>
                  </a:cubicBezTo>
                  <a:lnTo>
                    <a:pt x="390" y="2541"/>
                  </a:lnTo>
                  <a:cubicBezTo>
                    <a:pt x="369" y="2521"/>
                    <a:pt x="369" y="2521"/>
                    <a:pt x="369" y="2500"/>
                  </a:cubicBezTo>
                  <a:cubicBezTo>
                    <a:pt x="349" y="2500"/>
                    <a:pt x="349" y="2500"/>
                    <a:pt x="349" y="2500"/>
                  </a:cubicBezTo>
                  <a:cubicBezTo>
                    <a:pt x="328" y="2500"/>
                    <a:pt x="328" y="2500"/>
                    <a:pt x="308" y="2500"/>
                  </a:cubicBezTo>
                  <a:lnTo>
                    <a:pt x="308" y="2480"/>
                  </a:lnTo>
                  <a:cubicBezTo>
                    <a:pt x="308" y="2459"/>
                    <a:pt x="308" y="2459"/>
                    <a:pt x="308" y="2459"/>
                  </a:cubicBezTo>
                  <a:cubicBezTo>
                    <a:pt x="287" y="2439"/>
                    <a:pt x="287" y="2439"/>
                    <a:pt x="287" y="2439"/>
                  </a:cubicBezTo>
                  <a:cubicBezTo>
                    <a:pt x="287" y="2418"/>
                    <a:pt x="267" y="2418"/>
                    <a:pt x="267" y="2398"/>
                  </a:cubicBezTo>
                  <a:cubicBezTo>
                    <a:pt x="267" y="2398"/>
                    <a:pt x="287" y="2377"/>
                    <a:pt x="287" y="2357"/>
                  </a:cubicBezTo>
                  <a:cubicBezTo>
                    <a:pt x="287" y="2357"/>
                    <a:pt x="267" y="2336"/>
                    <a:pt x="267" y="2316"/>
                  </a:cubicBezTo>
                  <a:cubicBezTo>
                    <a:pt x="267" y="2316"/>
                    <a:pt x="246" y="2316"/>
                    <a:pt x="226" y="2316"/>
                  </a:cubicBezTo>
                  <a:lnTo>
                    <a:pt x="205" y="2316"/>
                  </a:lnTo>
                  <a:cubicBezTo>
                    <a:pt x="185" y="2295"/>
                    <a:pt x="185" y="2275"/>
                    <a:pt x="185" y="2275"/>
                  </a:cubicBezTo>
                  <a:cubicBezTo>
                    <a:pt x="185" y="2254"/>
                    <a:pt x="185" y="2254"/>
                    <a:pt x="185" y="2234"/>
                  </a:cubicBezTo>
                  <a:cubicBezTo>
                    <a:pt x="185" y="2234"/>
                    <a:pt x="164" y="2213"/>
                    <a:pt x="185" y="2193"/>
                  </a:cubicBezTo>
                  <a:lnTo>
                    <a:pt x="185" y="2172"/>
                  </a:lnTo>
                  <a:cubicBezTo>
                    <a:pt x="205" y="2172"/>
                    <a:pt x="226" y="2152"/>
                    <a:pt x="226" y="2131"/>
                  </a:cubicBezTo>
                  <a:lnTo>
                    <a:pt x="246" y="2111"/>
                  </a:lnTo>
                  <a:cubicBezTo>
                    <a:pt x="246" y="2090"/>
                    <a:pt x="246" y="2070"/>
                    <a:pt x="246" y="2070"/>
                  </a:cubicBezTo>
                  <a:cubicBezTo>
                    <a:pt x="267" y="2049"/>
                    <a:pt x="267" y="2049"/>
                    <a:pt x="267" y="2029"/>
                  </a:cubicBezTo>
                  <a:cubicBezTo>
                    <a:pt x="267" y="2029"/>
                    <a:pt x="267" y="2008"/>
                    <a:pt x="287" y="1988"/>
                  </a:cubicBezTo>
                  <a:cubicBezTo>
                    <a:pt x="287" y="1988"/>
                    <a:pt x="308" y="1988"/>
                    <a:pt x="328" y="1988"/>
                  </a:cubicBezTo>
                  <a:lnTo>
                    <a:pt x="349" y="1988"/>
                  </a:lnTo>
                  <a:cubicBezTo>
                    <a:pt x="349" y="2008"/>
                    <a:pt x="349" y="2029"/>
                    <a:pt x="349" y="2029"/>
                  </a:cubicBezTo>
                  <a:lnTo>
                    <a:pt x="369" y="2049"/>
                  </a:lnTo>
                  <a:cubicBezTo>
                    <a:pt x="390" y="2049"/>
                    <a:pt x="410" y="2049"/>
                    <a:pt x="410" y="2049"/>
                  </a:cubicBezTo>
                  <a:lnTo>
                    <a:pt x="431" y="2029"/>
                  </a:lnTo>
                  <a:cubicBezTo>
                    <a:pt x="451" y="2029"/>
                    <a:pt x="451" y="2029"/>
                    <a:pt x="451" y="2029"/>
                  </a:cubicBezTo>
                  <a:cubicBezTo>
                    <a:pt x="471" y="2029"/>
                    <a:pt x="492" y="2029"/>
                    <a:pt x="492" y="2008"/>
                  </a:cubicBezTo>
                  <a:cubicBezTo>
                    <a:pt x="513" y="2008"/>
                    <a:pt x="513" y="2008"/>
                    <a:pt x="513" y="2008"/>
                  </a:cubicBezTo>
                  <a:cubicBezTo>
                    <a:pt x="533" y="2008"/>
                    <a:pt x="533" y="1988"/>
                    <a:pt x="533" y="1967"/>
                  </a:cubicBezTo>
                  <a:cubicBezTo>
                    <a:pt x="533" y="1967"/>
                    <a:pt x="553" y="1967"/>
                    <a:pt x="553" y="1947"/>
                  </a:cubicBezTo>
                  <a:lnTo>
                    <a:pt x="574" y="1947"/>
                  </a:lnTo>
                  <a:cubicBezTo>
                    <a:pt x="574" y="1926"/>
                    <a:pt x="574" y="1906"/>
                    <a:pt x="574" y="1906"/>
                  </a:cubicBezTo>
                  <a:cubicBezTo>
                    <a:pt x="574" y="1886"/>
                    <a:pt x="574" y="1865"/>
                    <a:pt x="574" y="1865"/>
                  </a:cubicBezTo>
                  <a:cubicBezTo>
                    <a:pt x="595" y="1844"/>
                    <a:pt x="615" y="1824"/>
                    <a:pt x="615" y="1824"/>
                  </a:cubicBezTo>
                  <a:lnTo>
                    <a:pt x="635" y="1804"/>
                  </a:lnTo>
                  <a:cubicBezTo>
                    <a:pt x="656" y="1804"/>
                    <a:pt x="656" y="1804"/>
                    <a:pt x="656" y="1804"/>
                  </a:cubicBezTo>
                  <a:cubicBezTo>
                    <a:pt x="677" y="1783"/>
                    <a:pt x="677" y="1783"/>
                    <a:pt x="677" y="1762"/>
                  </a:cubicBezTo>
                  <a:lnTo>
                    <a:pt x="697" y="1742"/>
                  </a:lnTo>
                  <a:cubicBezTo>
                    <a:pt x="697" y="1722"/>
                    <a:pt x="697" y="1701"/>
                    <a:pt x="697" y="1701"/>
                  </a:cubicBezTo>
                  <a:cubicBezTo>
                    <a:pt x="697" y="1701"/>
                    <a:pt x="717" y="1680"/>
                    <a:pt x="717" y="1660"/>
                  </a:cubicBezTo>
                  <a:lnTo>
                    <a:pt x="738" y="1640"/>
                  </a:lnTo>
                  <a:cubicBezTo>
                    <a:pt x="738" y="1619"/>
                    <a:pt x="759" y="1598"/>
                    <a:pt x="759" y="1578"/>
                  </a:cubicBezTo>
                  <a:cubicBezTo>
                    <a:pt x="759" y="1578"/>
                    <a:pt x="779" y="1558"/>
                    <a:pt x="779" y="1537"/>
                  </a:cubicBezTo>
                  <a:cubicBezTo>
                    <a:pt x="799" y="1537"/>
                    <a:pt x="799" y="1516"/>
                    <a:pt x="820" y="1516"/>
                  </a:cubicBezTo>
                  <a:cubicBezTo>
                    <a:pt x="820" y="1496"/>
                    <a:pt x="841" y="1455"/>
                    <a:pt x="841" y="1455"/>
                  </a:cubicBezTo>
                  <a:cubicBezTo>
                    <a:pt x="861" y="1434"/>
                    <a:pt x="881" y="1414"/>
                    <a:pt x="902" y="1394"/>
                  </a:cubicBezTo>
                  <a:cubicBezTo>
                    <a:pt x="902" y="1394"/>
                    <a:pt x="923" y="1352"/>
                    <a:pt x="943" y="1332"/>
                  </a:cubicBezTo>
                  <a:cubicBezTo>
                    <a:pt x="943" y="1332"/>
                    <a:pt x="963" y="1312"/>
                    <a:pt x="943" y="1312"/>
                  </a:cubicBezTo>
                  <a:cubicBezTo>
                    <a:pt x="943" y="1291"/>
                    <a:pt x="923" y="1291"/>
                    <a:pt x="923" y="1291"/>
                  </a:cubicBezTo>
                  <a:lnTo>
                    <a:pt x="923" y="1250"/>
                  </a:lnTo>
                  <a:cubicBezTo>
                    <a:pt x="902" y="1230"/>
                    <a:pt x="902" y="1210"/>
                    <a:pt x="902" y="1189"/>
                  </a:cubicBezTo>
                  <a:lnTo>
                    <a:pt x="902" y="1168"/>
                  </a:lnTo>
                  <a:cubicBezTo>
                    <a:pt x="902" y="1148"/>
                    <a:pt x="923" y="1148"/>
                    <a:pt x="943" y="1148"/>
                  </a:cubicBezTo>
                  <a:cubicBezTo>
                    <a:pt x="943" y="1128"/>
                    <a:pt x="963" y="1128"/>
                    <a:pt x="963" y="1128"/>
                  </a:cubicBezTo>
                  <a:cubicBezTo>
                    <a:pt x="984" y="1128"/>
                    <a:pt x="984" y="1107"/>
                    <a:pt x="1005" y="1107"/>
                  </a:cubicBezTo>
                  <a:cubicBezTo>
                    <a:pt x="1005" y="1086"/>
                    <a:pt x="1005" y="1066"/>
                    <a:pt x="1005" y="1066"/>
                  </a:cubicBezTo>
                  <a:lnTo>
                    <a:pt x="1025" y="1066"/>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3" name="Freeform 630">
              <a:extLst>
                <a:ext uri="{FF2B5EF4-FFF2-40B4-BE49-F238E27FC236}">
                  <a16:creationId xmlns:a16="http://schemas.microsoft.com/office/drawing/2014/main" id="{2ACC7FCE-B42C-7940-8BC5-65A7681A2D59}"/>
                </a:ext>
              </a:extLst>
            </p:cNvPr>
            <p:cNvSpPr>
              <a:spLocks noChangeArrowheads="1"/>
            </p:cNvSpPr>
            <p:nvPr/>
          </p:nvSpPr>
          <p:spPr bwMode="auto">
            <a:xfrm>
              <a:off x="4387850" y="6861175"/>
              <a:ext cx="15875" cy="15875"/>
            </a:xfrm>
            <a:custGeom>
              <a:avLst/>
              <a:gdLst>
                <a:gd name="T0" fmla="*/ 20 w 42"/>
                <a:gd name="T1" fmla="*/ 42 h 43"/>
                <a:gd name="T2" fmla="*/ 20 w 42"/>
                <a:gd name="T3" fmla="*/ 42 h 43"/>
                <a:gd name="T4" fmla="*/ 41 w 42"/>
                <a:gd name="T5" fmla="*/ 21 h 43"/>
                <a:gd name="T6" fmla="*/ 41 w 42"/>
                <a:gd name="T7" fmla="*/ 0 h 43"/>
                <a:gd name="T8" fmla="*/ 20 w 42"/>
                <a:gd name="T9" fmla="*/ 0 h 43"/>
                <a:gd name="T10" fmla="*/ 0 w 42"/>
                <a:gd name="T11" fmla="*/ 21 h 43"/>
                <a:gd name="T12" fmla="*/ 20 w 42"/>
                <a:gd name="T13" fmla="*/ 21 h 43"/>
                <a:gd name="T14" fmla="*/ 20 w 42"/>
                <a:gd name="T15" fmla="*/ 4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20" y="42"/>
                  </a:moveTo>
                  <a:lnTo>
                    <a:pt x="20" y="42"/>
                  </a:lnTo>
                  <a:cubicBezTo>
                    <a:pt x="41" y="21"/>
                    <a:pt x="41" y="21"/>
                    <a:pt x="41" y="21"/>
                  </a:cubicBezTo>
                  <a:lnTo>
                    <a:pt x="41" y="0"/>
                  </a:lnTo>
                  <a:lnTo>
                    <a:pt x="20" y="0"/>
                  </a:lnTo>
                  <a:lnTo>
                    <a:pt x="0" y="21"/>
                  </a:lnTo>
                  <a:lnTo>
                    <a:pt x="20" y="21"/>
                  </a:lnTo>
                  <a:lnTo>
                    <a:pt x="20" y="4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4" name="Freeform 631">
              <a:extLst>
                <a:ext uri="{FF2B5EF4-FFF2-40B4-BE49-F238E27FC236}">
                  <a16:creationId xmlns:a16="http://schemas.microsoft.com/office/drawing/2014/main" id="{E72DAFDD-7EA1-BA4E-8E9E-BE2C09C558EA}"/>
                </a:ext>
              </a:extLst>
            </p:cNvPr>
            <p:cNvSpPr>
              <a:spLocks noChangeArrowheads="1"/>
            </p:cNvSpPr>
            <p:nvPr/>
          </p:nvSpPr>
          <p:spPr bwMode="auto">
            <a:xfrm>
              <a:off x="4402138" y="6846888"/>
              <a:ext cx="15875" cy="14287"/>
            </a:xfrm>
            <a:custGeom>
              <a:avLst/>
              <a:gdLst>
                <a:gd name="T0" fmla="*/ 41 w 42"/>
                <a:gd name="T1" fmla="*/ 40 h 41"/>
                <a:gd name="T2" fmla="*/ 41 w 42"/>
                <a:gd name="T3" fmla="*/ 40 h 41"/>
                <a:gd name="T4" fmla="*/ 20 w 42"/>
                <a:gd name="T5" fmla="*/ 0 h 41"/>
                <a:gd name="T6" fmla="*/ 20 w 42"/>
                <a:gd name="T7" fmla="*/ 0 h 41"/>
                <a:gd name="T8" fmla="*/ 0 w 42"/>
                <a:gd name="T9" fmla="*/ 20 h 41"/>
                <a:gd name="T10" fmla="*/ 20 w 42"/>
                <a:gd name="T11" fmla="*/ 40 h 41"/>
                <a:gd name="T12" fmla="*/ 20 w 42"/>
                <a:gd name="T13" fmla="*/ 40 h 41"/>
                <a:gd name="T14" fmla="*/ 41 w 42"/>
                <a:gd name="T15" fmla="*/ 40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1">
                  <a:moveTo>
                    <a:pt x="41" y="40"/>
                  </a:moveTo>
                  <a:lnTo>
                    <a:pt x="41" y="40"/>
                  </a:lnTo>
                  <a:cubicBezTo>
                    <a:pt x="41" y="20"/>
                    <a:pt x="41" y="20"/>
                    <a:pt x="20" y="0"/>
                  </a:cubicBezTo>
                  <a:lnTo>
                    <a:pt x="20" y="0"/>
                  </a:lnTo>
                  <a:cubicBezTo>
                    <a:pt x="0" y="0"/>
                    <a:pt x="0" y="20"/>
                    <a:pt x="0" y="20"/>
                  </a:cubicBezTo>
                  <a:lnTo>
                    <a:pt x="20" y="40"/>
                  </a:lnTo>
                  <a:lnTo>
                    <a:pt x="20" y="40"/>
                  </a:lnTo>
                  <a:lnTo>
                    <a:pt x="41"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5" name="Freeform 632">
              <a:extLst>
                <a:ext uri="{FF2B5EF4-FFF2-40B4-BE49-F238E27FC236}">
                  <a16:creationId xmlns:a16="http://schemas.microsoft.com/office/drawing/2014/main" id="{D95135DD-49AB-F74F-B1B1-112214E79261}"/>
                </a:ext>
              </a:extLst>
            </p:cNvPr>
            <p:cNvSpPr>
              <a:spLocks noChangeArrowheads="1"/>
            </p:cNvSpPr>
            <p:nvPr/>
          </p:nvSpPr>
          <p:spPr bwMode="auto">
            <a:xfrm>
              <a:off x="4373563" y="6899275"/>
              <a:ext cx="7937" cy="7938"/>
            </a:xfrm>
            <a:custGeom>
              <a:avLst/>
              <a:gdLst>
                <a:gd name="T0" fmla="*/ 20 w 21"/>
                <a:gd name="T1" fmla="*/ 21 h 22"/>
                <a:gd name="T2" fmla="*/ 20 w 21"/>
                <a:gd name="T3" fmla="*/ 21 h 22"/>
                <a:gd name="T4" fmla="*/ 20 w 21"/>
                <a:gd name="T5" fmla="*/ 0 h 22"/>
                <a:gd name="T6" fmla="*/ 0 w 21"/>
                <a:gd name="T7" fmla="*/ 0 h 22"/>
                <a:gd name="T8" fmla="*/ 0 w 21"/>
                <a:gd name="T9" fmla="*/ 21 h 22"/>
                <a:gd name="T10" fmla="*/ 0 w 21"/>
                <a:gd name="T11" fmla="*/ 21 h 22"/>
                <a:gd name="T12" fmla="*/ 20 w 21"/>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20" y="21"/>
                  </a:moveTo>
                  <a:lnTo>
                    <a:pt x="20" y="21"/>
                  </a:lnTo>
                  <a:lnTo>
                    <a:pt x="20" y="0"/>
                  </a:lnTo>
                  <a:lnTo>
                    <a:pt x="0" y="0"/>
                  </a:lnTo>
                  <a:lnTo>
                    <a:pt x="0" y="21"/>
                  </a:lnTo>
                  <a:lnTo>
                    <a:pt x="0" y="21"/>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6" name="Freeform 633">
              <a:extLst>
                <a:ext uri="{FF2B5EF4-FFF2-40B4-BE49-F238E27FC236}">
                  <a16:creationId xmlns:a16="http://schemas.microsoft.com/office/drawing/2014/main" id="{8F930E50-B62F-174D-8003-2279F763325C}"/>
                </a:ext>
              </a:extLst>
            </p:cNvPr>
            <p:cNvSpPr>
              <a:spLocks noChangeArrowheads="1"/>
            </p:cNvSpPr>
            <p:nvPr/>
          </p:nvSpPr>
          <p:spPr bwMode="auto">
            <a:xfrm>
              <a:off x="4373563" y="6913563"/>
              <a:ext cx="15875" cy="44450"/>
            </a:xfrm>
            <a:custGeom>
              <a:avLst/>
              <a:gdLst>
                <a:gd name="T0" fmla="*/ 20 w 42"/>
                <a:gd name="T1" fmla="*/ 123 h 124"/>
                <a:gd name="T2" fmla="*/ 20 w 42"/>
                <a:gd name="T3" fmla="*/ 123 h 124"/>
                <a:gd name="T4" fmla="*/ 20 w 42"/>
                <a:gd name="T5" fmla="*/ 123 h 124"/>
                <a:gd name="T6" fmla="*/ 41 w 42"/>
                <a:gd name="T7" fmla="*/ 82 h 124"/>
                <a:gd name="T8" fmla="*/ 20 w 42"/>
                <a:gd name="T9" fmla="*/ 62 h 124"/>
                <a:gd name="T10" fmla="*/ 20 w 42"/>
                <a:gd name="T11" fmla="*/ 41 h 124"/>
                <a:gd name="T12" fmla="*/ 20 w 42"/>
                <a:gd name="T13" fmla="*/ 20 h 124"/>
                <a:gd name="T14" fmla="*/ 20 w 42"/>
                <a:gd name="T15" fmla="*/ 0 h 124"/>
                <a:gd name="T16" fmla="*/ 20 w 42"/>
                <a:gd name="T17" fmla="*/ 0 h 124"/>
                <a:gd name="T18" fmla="*/ 0 w 42"/>
                <a:gd name="T19" fmla="*/ 20 h 124"/>
                <a:gd name="T20" fmla="*/ 0 w 42"/>
                <a:gd name="T21" fmla="*/ 41 h 124"/>
                <a:gd name="T22" fmla="*/ 0 w 42"/>
                <a:gd name="T23" fmla="*/ 62 h 124"/>
                <a:gd name="T24" fmla="*/ 0 w 42"/>
                <a:gd name="T25" fmla="*/ 62 h 124"/>
                <a:gd name="T26" fmla="*/ 0 w 42"/>
                <a:gd name="T27" fmla="*/ 82 h 124"/>
                <a:gd name="T28" fmla="*/ 0 w 42"/>
                <a:gd name="T29" fmla="*/ 102 h 124"/>
                <a:gd name="T30" fmla="*/ 20 w 42"/>
                <a:gd name="T31" fmla="*/ 12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124">
                  <a:moveTo>
                    <a:pt x="20" y="123"/>
                  </a:moveTo>
                  <a:lnTo>
                    <a:pt x="20" y="123"/>
                  </a:lnTo>
                  <a:lnTo>
                    <a:pt x="20" y="123"/>
                  </a:lnTo>
                  <a:cubicBezTo>
                    <a:pt x="41" y="102"/>
                    <a:pt x="41" y="102"/>
                    <a:pt x="41" y="82"/>
                  </a:cubicBezTo>
                  <a:lnTo>
                    <a:pt x="20" y="62"/>
                  </a:lnTo>
                  <a:lnTo>
                    <a:pt x="20" y="41"/>
                  </a:lnTo>
                  <a:cubicBezTo>
                    <a:pt x="20" y="41"/>
                    <a:pt x="20" y="41"/>
                    <a:pt x="20" y="20"/>
                  </a:cubicBezTo>
                  <a:cubicBezTo>
                    <a:pt x="20" y="20"/>
                    <a:pt x="20" y="20"/>
                    <a:pt x="20" y="0"/>
                  </a:cubicBezTo>
                  <a:lnTo>
                    <a:pt x="20" y="0"/>
                  </a:lnTo>
                  <a:cubicBezTo>
                    <a:pt x="0" y="0"/>
                    <a:pt x="0" y="20"/>
                    <a:pt x="0" y="20"/>
                  </a:cubicBezTo>
                  <a:cubicBezTo>
                    <a:pt x="0" y="20"/>
                    <a:pt x="0" y="20"/>
                    <a:pt x="0" y="41"/>
                  </a:cubicBezTo>
                  <a:cubicBezTo>
                    <a:pt x="0" y="41"/>
                    <a:pt x="0" y="41"/>
                    <a:pt x="0" y="62"/>
                  </a:cubicBezTo>
                  <a:lnTo>
                    <a:pt x="0" y="62"/>
                  </a:lnTo>
                  <a:lnTo>
                    <a:pt x="0" y="82"/>
                  </a:lnTo>
                  <a:lnTo>
                    <a:pt x="0" y="102"/>
                  </a:lnTo>
                  <a:cubicBezTo>
                    <a:pt x="0" y="123"/>
                    <a:pt x="0" y="123"/>
                    <a:pt x="20" y="123"/>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7" name="Freeform 634">
              <a:extLst>
                <a:ext uri="{FF2B5EF4-FFF2-40B4-BE49-F238E27FC236}">
                  <a16:creationId xmlns:a16="http://schemas.microsoft.com/office/drawing/2014/main" id="{3463FD07-676C-C447-A5EA-8A4C36744E07}"/>
                </a:ext>
              </a:extLst>
            </p:cNvPr>
            <p:cNvSpPr>
              <a:spLocks noChangeArrowheads="1"/>
            </p:cNvSpPr>
            <p:nvPr/>
          </p:nvSpPr>
          <p:spPr bwMode="auto">
            <a:xfrm>
              <a:off x="4357688" y="6958013"/>
              <a:ext cx="7937" cy="15875"/>
            </a:xfrm>
            <a:custGeom>
              <a:avLst/>
              <a:gdLst>
                <a:gd name="T0" fmla="*/ 20 w 21"/>
                <a:gd name="T1" fmla="*/ 21 h 42"/>
                <a:gd name="T2" fmla="*/ 20 w 21"/>
                <a:gd name="T3" fmla="*/ 21 h 42"/>
                <a:gd name="T4" fmla="*/ 20 w 21"/>
                <a:gd name="T5" fmla="*/ 41 h 42"/>
                <a:gd name="T6" fmla="*/ 0 w 21"/>
                <a:gd name="T7" fmla="*/ 41 h 42"/>
                <a:gd name="T8" fmla="*/ 0 w 21"/>
                <a:gd name="T9" fmla="*/ 21 h 42"/>
                <a:gd name="T10" fmla="*/ 0 w 21"/>
                <a:gd name="T11" fmla="*/ 0 h 42"/>
                <a:gd name="T12" fmla="*/ 20 w 21"/>
                <a:gd name="T13" fmla="*/ 0 h 42"/>
                <a:gd name="T14" fmla="*/ 20 w 21"/>
                <a:gd name="T15" fmla="*/ 2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21"/>
                  </a:moveTo>
                  <a:lnTo>
                    <a:pt x="20" y="21"/>
                  </a:lnTo>
                  <a:lnTo>
                    <a:pt x="20" y="41"/>
                  </a:lnTo>
                  <a:lnTo>
                    <a:pt x="0" y="41"/>
                  </a:lnTo>
                  <a:lnTo>
                    <a:pt x="0" y="21"/>
                  </a:lnTo>
                  <a:cubicBezTo>
                    <a:pt x="0" y="21"/>
                    <a:pt x="0" y="21"/>
                    <a:pt x="0" y="0"/>
                  </a:cubicBezTo>
                  <a:cubicBezTo>
                    <a:pt x="20" y="0"/>
                    <a:pt x="20" y="0"/>
                    <a:pt x="20" y="0"/>
                  </a:cubicBezTo>
                  <a:cubicBezTo>
                    <a:pt x="20" y="21"/>
                    <a:pt x="20"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8" name="Freeform 635">
              <a:extLst>
                <a:ext uri="{FF2B5EF4-FFF2-40B4-BE49-F238E27FC236}">
                  <a16:creationId xmlns:a16="http://schemas.microsoft.com/office/drawing/2014/main" id="{91D25861-8F65-EB4E-8CC2-B642EFB260D0}"/>
                </a:ext>
              </a:extLst>
            </p:cNvPr>
            <p:cNvSpPr>
              <a:spLocks noChangeArrowheads="1"/>
            </p:cNvSpPr>
            <p:nvPr/>
          </p:nvSpPr>
          <p:spPr bwMode="auto">
            <a:xfrm>
              <a:off x="4365625" y="6972300"/>
              <a:ext cx="22225" cy="30163"/>
            </a:xfrm>
            <a:custGeom>
              <a:avLst/>
              <a:gdLst>
                <a:gd name="T0" fmla="*/ 41 w 63"/>
                <a:gd name="T1" fmla="*/ 62 h 83"/>
                <a:gd name="T2" fmla="*/ 41 w 63"/>
                <a:gd name="T3" fmla="*/ 62 h 83"/>
                <a:gd name="T4" fmla="*/ 62 w 63"/>
                <a:gd name="T5" fmla="*/ 41 h 83"/>
                <a:gd name="T6" fmla="*/ 62 w 63"/>
                <a:gd name="T7" fmla="*/ 0 h 83"/>
                <a:gd name="T8" fmla="*/ 41 w 63"/>
                <a:gd name="T9" fmla="*/ 0 h 83"/>
                <a:gd name="T10" fmla="*/ 21 w 63"/>
                <a:gd name="T11" fmla="*/ 0 h 83"/>
                <a:gd name="T12" fmla="*/ 21 w 63"/>
                <a:gd name="T13" fmla="*/ 20 h 83"/>
                <a:gd name="T14" fmla="*/ 0 w 63"/>
                <a:gd name="T15" fmla="*/ 41 h 83"/>
                <a:gd name="T16" fmla="*/ 0 w 63"/>
                <a:gd name="T17" fmla="*/ 41 h 83"/>
                <a:gd name="T18" fmla="*/ 0 w 63"/>
                <a:gd name="T19" fmla="*/ 62 h 83"/>
                <a:gd name="T20" fmla="*/ 0 w 63"/>
                <a:gd name="T21" fmla="*/ 82 h 83"/>
                <a:gd name="T22" fmla="*/ 21 w 63"/>
                <a:gd name="T23" fmla="*/ 82 h 83"/>
                <a:gd name="T24" fmla="*/ 41 w 63"/>
                <a:gd name="T25" fmla="*/ 6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83">
                  <a:moveTo>
                    <a:pt x="41" y="62"/>
                  </a:moveTo>
                  <a:lnTo>
                    <a:pt x="41" y="62"/>
                  </a:lnTo>
                  <a:cubicBezTo>
                    <a:pt x="41" y="41"/>
                    <a:pt x="62" y="41"/>
                    <a:pt x="62" y="41"/>
                  </a:cubicBezTo>
                  <a:cubicBezTo>
                    <a:pt x="62" y="20"/>
                    <a:pt x="62" y="20"/>
                    <a:pt x="62" y="0"/>
                  </a:cubicBezTo>
                  <a:lnTo>
                    <a:pt x="41" y="0"/>
                  </a:lnTo>
                  <a:lnTo>
                    <a:pt x="21" y="0"/>
                  </a:lnTo>
                  <a:lnTo>
                    <a:pt x="21" y="20"/>
                  </a:lnTo>
                  <a:cubicBezTo>
                    <a:pt x="0" y="20"/>
                    <a:pt x="0" y="41"/>
                    <a:pt x="0" y="41"/>
                  </a:cubicBezTo>
                  <a:lnTo>
                    <a:pt x="0" y="41"/>
                  </a:lnTo>
                  <a:cubicBezTo>
                    <a:pt x="0" y="62"/>
                    <a:pt x="0" y="62"/>
                    <a:pt x="0" y="62"/>
                  </a:cubicBezTo>
                  <a:lnTo>
                    <a:pt x="0" y="82"/>
                  </a:lnTo>
                  <a:cubicBezTo>
                    <a:pt x="21" y="82"/>
                    <a:pt x="21" y="82"/>
                    <a:pt x="21" y="82"/>
                  </a:cubicBezTo>
                  <a:cubicBezTo>
                    <a:pt x="21" y="82"/>
                    <a:pt x="21" y="62"/>
                    <a:pt x="41"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39" name="Freeform 636">
              <a:extLst>
                <a:ext uri="{FF2B5EF4-FFF2-40B4-BE49-F238E27FC236}">
                  <a16:creationId xmlns:a16="http://schemas.microsoft.com/office/drawing/2014/main" id="{3252C03E-BB8F-9E42-BAB3-7BF85F828B24}"/>
                </a:ext>
              </a:extLst>
            </p:cNvPr>
            <p:cNvSpPr>
              <a:spLocks noChangeArrowheads="1"/>
            </p:cNvSpPr>
            <p:nvPr/>
          </p:nvSpPr>
          <p:spPr bwMode="auto">
            <a:xfrm>
              <a:off x="4373563" y="7008813"/>
              <a:ext cx="15875" cy="7937"/>
            </a:xfrm>
            <a:custGeom>
              <a:avLst/>
              <a:gdLst>
                <a:gd name="T0" fmla="*/ 20 w 42"/>
                <a:gd name="T1" fmla="*/ 20 h 21"/>
                <a:gd name="T2" fmla="*/ 20 w 42"/>
                <a:gd name="T3" fmla="*/ 20 h 21"/>
                <a:gd name="T4" fmla="*/ 20 w 42"/>
                <a:gd name="T5" fmla="*/ 0 h 21"/>
                <a:gd name="T6" fmla="*/ 20 w 42"/>
                <a:gd name="T7" fmla="*/ 0 h 21"/>
                <a:gd name="T8" fmla="*/ 0 w 42"/>
                <a:gd name="T9" fmla="*/ 0 h 21"/>
                <a:gd name="T10" fmla="*/ 20 w 42"/>
                <a:gd name="T11" fmla="*/ 0 h 21"/>
                <a:gd name="T12" fmla="*/ 20 w 42"/>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0" y="20"/>
                  </a:moveTo>
                  <a:lnTo>
                    <a:pt x="20" y="20"/>
                  </a:lnTo>
                  <a:cubicBezTo>
                    <a:pt x="41" y="20"/>
                    <a:pt x="20" y="0"/>
                    <a:pt x="20" y="0"/>
                  </a:cubicBezTo>
                  <a:lnTo>
                    <a:pt x="20" y="0"/>
                  </a:lnTo>
                  <a:lnTo>
                    <a:pt x="0" y="0"/>
                  </a:lnTo>
                  <a:lnTo>
                    <a:pt x="20" y="0"/>
                  </a:lnTo>
                  <a:lnTo>
                    <a:pt x="20"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0" name="Freeform 637">
              <a:extLst>
                <a:ext uri="{FF2B5EF4-FFF2-40B4-BE49-F238E27FC236}">
                  <a16:creationId xmlns:a16="http://schemas.microsoft.com/office/drawing/2014/main" id="{CD4B321F-CAD3-3E4A-AFA8-4153A6F6BEB3}"/>
                </a:ext>
              </a:extLst>
            </p:cNvPr>
            <p:cNvSpPr>
              <a:spLocks noChangeArrowheads="1"/>
            </p:cNvSpPr>
            <p:nvPr/>
          </p:nvSpPr>
          <p:spPr bwMode="auto">
            <a:xfrm>
              <a:off x="4387850" y="7016750"/>
              <a:ext cx="7938" cy="15875"/>
            </a:xfrm>
            <a:custGeom>
              <a:avLst/>
              <a:gdLst>
                <a:gd name="T0" fmla="*/ 0 w 21"/>
                <a:gd name="T1" fmla="*/ 0 h 43"/>
                <a:gd name="T2" fmla="*/ 0 w 21"/>
                <a:gd name="T3" fmla="*/ 0 h 43"/>
                <a:gd name="T4" fmla="*/ 0 w 21"/>
                <a:gd name="T5" fmla="*/ 21 h 43"/>
                <a:gd name="T6" fmla="*/ 20 w 21"/>
                <a:gd name="T7" fmla="*/ 42 h 43"/>
                <a:gd name="T8" fmla="*/ 20 w 21"/>
                <a:gd name="T9" fmla="*/ 21 h 43"/>
                <a:gd name="T10" fmla="*/ 20 w 21"/>
                <a:gd name="T11" fmla="*/ 0 h 43"/>
                <a:gd name="T12" fmla="*/ 20 w 21"/>
                <a:gd name="T13" fmla="*/ 0 h 43"/>
                <a:gd name="T14" fmla="*/ 0 w 21"/>
                <a:gd name="T15" fmla="*/ 0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3">
                  <a:moveTo>
                    <a:pt x="0" y="0"/>
                  </a:moveTo>
                  <a:lnTo>
                    <a:pt x="0" y="0"/>
                  </a:lnTo>
                  <a:cubicBezTo>
                    <a:pt x="0" y="21"/>
                    <a:pt x="0" y="21"/>
                    <a:pt x="0" y="21"/>
                  </a:cubicBezTo>
                  <a:lnTo>
                    <a:pt x="20" y="42"/>
                  </a:lnTo>
                  <a:lnTo>
                    <a:pt x="20" y="21"/>
                  </a:lnTo>
                  <a:lnTo>
                    <a:pt x="20" y="0"/>
                  </a:lnTo>
                  <a:lnTo>
                    <a:pt x="20" y="0"/>
                  </a:lnTo>
                  <a:cubicBezTo>
                    <a:pt x="0" y="0"/>
                    <a:pt x="0" y="0"/>
                    <a:pt x="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1" name="Freeform 638">
              <a:extLst>
                <a:ext uri="{FF2B5EF4-FFF2-40B4-BE49-F238E27FC236}">
                  <a16:creationId xmlns:a16="http://schemas.microsoft.com/office/drawing/2014/main" id="{68B6273C-F121-DA45-8D07-2BE5F8316FB6}"/>
                </a:ext>
              </a:extLst>
            </p:cNvPr>
            <p:cNvSpPr>
              <a:spLocks noChangeArrowheads="1"/>
            </p:cNvSpPr>
            <p:nvPr/>
          </p:nvSpPr>
          <p:spPr bwMode="auto">
            <a:xfrm>
              <a:off x="4365625" y="7016750"/>
              <a:ext cx="15875" cy="38100"/>
            </a:xfrm>
            <a:custGeom>
              <a:avLst/>
              <a:gdLst>
                <a:gd name="T0" fmla="*/ 41 w 42"/>
                <a:gd name="T1" fmla="*/ 62 h 104"/>
                <a:gd name="T2" fmla="*/ 41 w 42"/>
                <a:gd name="T3" fmla="*/ 62 h 104"/>
                <a:gd name="T4" fmla="*/ 41 w 42"/>
                <a:gd name="T5" fmla="*/ 42 h 104"/>
                <a:gd name="T6" fmla="*/ 41 w 42"/>
                <a:gd name="T7" fmla="*/ 21 h 104"/>
                <a:gd name="T8" fmla="*/ 21 w 42"/>
                <a:gd name="T9" fmla="*/ 0 h 104"/>
                <a:gd name="T10" fmla="*/ 0 w 42"/>
                <a:gd name="T11" fmla="*/ 21 h 104"/>
                <a:gd name="T12" fmla="*/ 0 w 42"/>
                <a:gd name="T13" fmla="*/ 21 h 104"/>
                <a:gd name="T14" fmla="*/ 0 w 42"/>
                <a:gd name="T15" fmla="*/ 42 h 104"/>
                <a:gd name="T16" fmla="*/ 0 w 42"/>
                <a:gd name="T17" fmla="*/ 62 h 104"/>
                <a:gd name="T18" fmla="*/ 21 w 42"/>
                <a:gd name="T19" fmla="*/ 103 h 104"/>
                <a:gd name="T20" fmla="*/ 41 w 42"/>
                <a:gd name="T21" fmla="*/ 103 h 104"/>
                <a:gd name="T22" fmla="*/ 41 w 42"/>
                <a:gd name="T23" fmla="*/ 82 h 104"/>
                <a:gd name="T24" fmla="*/ 41 w 42"/>
                <a:gd name="T25" fmla="*/ 6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104">
                  <a:moveTo>
                    <a:pt x="41" y="62"/>
                  </a:moveTo>
                  <a:lnTo>
                    <a:pt x="41" y="62"/>
                  </a:lnTo>
                  <a:lnTo>
                    <a:pt x="41" y="42"/>
                  </a:lnTo>
                  <a:lnTo>
                    <a:pt x="41" y="21"/>
                  </a:lnTo>
                  <a:cubicBezTo>
                    <a:pt x="21" y="21"/>
                    <a:pt x="21" y="0"/>
                    <a:pt x="21" y="0"/>
                  </a:cubicBezTo>
                  <a:cubicBezTo>
                    <a:pt x="21" y="0"/>
                    <a:pt x="0" y="0"/>
                    <a:pt x="0" y="21"/>
                  </a:cubicBezTo>
                  <a:lnTo>
                    <a:pt x="0" y="21"/>
                  </a:lnTo>
                  <a:cubicBezTo>
                    <a:pt x="0" y="42"/>
                    <a:pt x="0" y="42"/>
                    <a:pt x="0" y="42"/>
                  </a:cubicBezTo>
                  <a:cubicBezTo>
                    <a:pt x="0" y="62"/>
                    <a:pt x="0" y="62"/>
                    <a:pt x="0" y="62"/>
                  </a:cubicBezTo>
                  <a:cubicBezTo>
                    <a:pt x="0" y="82"/>
                    <a:pt x="0" y="82"/>
                    <a:pt x="21" y="103"/>
                  </a:cubicBezTo>
                  <a:lnTo>
                    <a:pt x="41" y="103"/>
                  </a:lnTo>
                  <a:lnTo>
                    <a:pt x="41" y="82"/>
                  </a:lnTo>
                  <a:lnTo>
                    <a:pt x="41" y="6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2" name="Freeform 639">
              <a:extLst>
                <a:ext uri="{FF2B5EF4-FFF2-40B4-BE49-F238E27FC236}">
                  <a16:creationId xmlns:a16="http://schemas.microsoft.com/office/drawing/2014/main" id="{CCB09864-4874-2543-8557-7BA73DB13085}"/>
                </a:ext>
              </a:extLst>
            </p:cNvPr>
            <p:cNvSpPr>
              <a:spLocks noChangeArrowheads="1"/>
            </p:cNvSpPr>
            <p:nvPr/>
          </p:nvSpPr>
          <p:spPr bwMode="auto">
            <a:xfrm>
              <a:off x="4365625" y="7105650"/>
              <a:ext cx="15875" cy="30163"/>
            </a:xfrm>
            <a:custGeom>
              <a:avLst/>
              <a:gdLst>
                <a:gd name="T0" fmla="*/ 41 w 42"/>
                <a:gd name="T1" fmla="*/ 82 h 83"/>
                <a:gd name="T2" fmla="*/ 41 w 42"/>
                <a:gd name="T3" fmla="*/ 82 h 83"/>
                <a:gd name="T4" fmla="*/ 41 w 42"/>
                <a:gd name="T5" fmla="*/ 42 h 83"/>
                <a:gd name="T6" fmla="*/ 21 w 42"/>
                <a:gd name="T7" fmla="*/ 0 h 83"/>
                <a:gd name="T8" fmla="*/ 0 w 42"/>
                <a:gd name="T9" fmla="*/ 21 h 83"/>
                <a:gd name="T10" fmla="*/ 0 w 42"/>
                <a:gd name="T11" fmla="*/ 42 h 83"/>
                <a:gd name="T12" fmla="*/ 0 w 42"/>
                <a:gd name="T13" fmla="*/ 62 h 83"/>
                <a:gd name="T14" fmla="*/ 0 w 42"/>
                <a:gd name="T15" fmla="*/ 62 h 83"/>
                <a:gd name="T16" fmla="*/ 21 w 42"/>
                <a:gd name="T17" fmla="*/ 82 h 83"/>
                <a:gd name="T18" fmla="*/ 41 w 42"/>
                <a:gd name="T19"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83">
                  <a:moveTo>
                    <a:pt x="41" y="82"/>
                  </a:moveTo>
                  <a:lnTo>
                    <a:pt x="41" y="82"/>
                  </a:lnTo>
                  <a:cubicBezTo>
                    <a:pt x="41" y="62"/>
                    <a:pt x="41" y="42"/>
                    <a:pt x="41" y="42"/>
                  </a:cubicBezTo>
                  <a:cubicBezTo>
                    <a:pt x="41" y="42"/>
                    <a:pt x="41" y="21"/>
                    <a:pt x="21" y="0"/>
                  </a:cubicBezTo>
                  <a:cubicBezTo>
                    <a:pt x="21" y="0"/>
                    <a:pt x="21" y="0"/>
                    <a:pt x="0" y="21"/>
                  </a:cubicBezTo>
                  <a:cubicBezTo>
                    <a:pt x="0" y="21"/>
                    <a:pt x="0" y="21"/>
                    <a:pt x="0" y="42"/>
                  </a:cubicBezTo>
                  <a:cubicBezTo>
                    <a:pt x="0" y="42"/>
                    <a:pt x="0" y="42"/>
                    <a:pt x="0" y="62"/>
                  </a:cubicBezTo>
                  <a:lnTo>
                    <a:pt x="0" y="62"/>
                  </a:lnTo>
                  <a:cubicBezTo>
                    <a:pt x="0" y="82"/>
                    <a:pt x="21" y="82"/>
                    <a:pt x="21" y="82"/>
                  </a:cubicBezTo>
                  <a:lnTo>
                    <a:pt x="41"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3" name="Freeform 640">
              <a:extLst>
                <a:ext uri="{FF2B5EF4-FFF2-40B4-BE49-F238E27FC236}">
                  <a16:creationId xmlns:a16="http://schemas.microsoft.com/office/drawing/2014/main" id="{78761620-7769-3846-8189-9003D3CA1B15}"/>
                </a:ext>
              </a:extLst>
            </p:cNvPr>
            <p:cNvSpPr>
              <a:spLocks noChangeArrowheads="1"/>
            </p:cNvSpPr>
            <p:nvPr/>
          </p:nvSpPr>
          <p:spPr bwMode="auto">
            <a:xfrm>
              <a:off x="4373563" y="7069138"/>
              <a:ext cx="7937" cy="7937"/>
            </a:xfrm>
            <a:custGeom>
              <a:avLst/>
              <a:gdLst>
                <a:gd name="T0" fmla="*/ 20 w 21"/>
                <a:gd name="T1" fmla="*/ 20 h 21"/>
                <a:gd name="T2" fmla="*/ 20 w 21"/>
                <a:gd name="T3" fmla="*/ 20 h 21"/>
                <a:gd name="T4" fmla="*/ 0 w 21"/>
                <a:gd name="T5" fmla="*/ 20 h 21"/>
                <a:gd name="T6" fmla="*/ 0 w 21"/>
                <a:gd name="T7" fmla="*/ 0 h 21"/>
                <a:gd name="T8" fmla="*/ 20 w 21"/>
                <a:gd name="T9" fmla="*/ 0 h 21"/>
                <a:gd name="T10" fmla="*/ 20 w 21"/>
                <a:gd name="T11" fmla="*/ 0 h 21"/>
                <a:gd name="T12" fmla="*/ 20 w 21"/>
                <a:gd name="T13" fmla="*/ 20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0" y="20"/>
                  </a:moveTo>
                  <a:lnTo>
                    <a:pt x="20" y="20"/>
                  </a:lnTo>
                  <a:lnTo>
                    <a:pt x="0" y="20"/>
                  </a:lnTo>
                  <a:cubicBezTo>
                    <a:pt x="0" y="0"/>
                    <a:pt x="0" y="0"/>
                    <a:pt x="0" y="0"/>
                  </a:cubicBezTo>
                  <a:lnTo>
                    <a:pt x="20" y="0"/>
                  </a:lnTo>
                  <a:lnTo>
                    <a:pt x="20" y="0"/>
                  </a:lnTo>
                  <a:cubicBezTo>
                    <a:pt x="20" y="0"/>
                    <a:pt x="20" y="0"/>
                    <a:pt x="2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4" name="Freeform 641">
              <a:extLst>
                <a:ext uri="{FF2B5EF4-FFF2-40B4-BE49-F238E27FC236}">
                  <a16:creationId xmlns:a16="http://schemas.microsoft.com/office/drawing/2014/main" id="{1F46D9A4-2937-244D-9096-8DEA1613A865}"/>
                </a:ext>
              </a:extLst>
            </p:cNvPr>
            <p:cNvSpPr>
              <a:spLocks noChangeArrowheads="1"/>
            </p:cNvSpPr>
            <p:nvPr/>
          </p:nvSpPr>
          <p:spPr bwMode="auto">
            <a:xfrm>
              <a:off x="4343400" y="7053263"/>
              <a:ext cx="7938" cy="15875"/>
            </a:xfrm>
            <a:custGeom>
              <a:avLst/>
              <a:gdLst>
                <a:gd name="T0" fmla="*/ 20 w 21"/>
                <a:gd name="T1" fmla="*/ 41 h 42"/>
                <a:gd name="T2" fmla="*/ 20 w 21"/>
                <a:gd name="T3" fmla="*/ 41 h 42"/>
                <a:gd name="T4" fmla="*/ 20 w 21"/>
                <a:gd name="T5" fmla="*/ 0 h 42"/>
                <a:gd name="T6" fmla="*/ 0 w 21"/>
                <a:gd name="T7" fmla="*/ 0 h 42"/>
                <a:gd name="T8" fmla="*/ 0 w 21"/>
                <a:gd name="T9" fmla="*/ 21 h 42"/>
                <a:gd name="T10" fmla="*/ 0 w 21"/>
                <a:gd name="T11" fmla="*/ 41 h 42"/>
                <a:gd name="T12" fmla="*/ 20 w 21"/>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20" y="41"/>
                  </a:moveTo>
                  <a:lnTo>
                    <a:pt x="20" y="41"/>
                  </a:lnTo>
                  <a:cubicBezTo>
                    <a:pt x="20" y="21"/>
                    <a:pt x="20" y="21"/>
                    <a:pt x="20" y="0"/>
                  </a:cubicBezTo>
                  <a:cubicBezTo>
                    <a:pt x="20" y="0"/>
                    <a:pt x="20" y="0"/>
                    <a:pt x="0" y="0"/>
                  </a:cubicBezTo>
                  <a:cubicBezTo>
                    <a:pt x="0" y="21"/>
                    <a:pt x="0" y="21"/>
                    <a:pt x="0" y="21"/>
                  </a:cubicBezTo>
                  <a:lnTo>
                    <a:pt x="0" y="41"/>
                  </a:lnTo>
                  <a:lnTo>
                    <a:pt x="2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5" name="Freeform 642">
              <a:extLst>
                <a:ext uri="{FF2B5EF4-FFF2-40B4-BE49-F238E27FC236}">
                  <a16:creationId xmlns:a16="http://schemas.microsoft.com/office/drawing/2014/main" id="{96D47281-2985-D640-A167-619E3C114BC5}"/>
                </a:ext>
              </a:extLst>
            </p:cNvPr>
            <p:cNvSpPr>
              <a:spLocks noChangeArrowheads="1"/>
            </p:cNvSpPr>
            <p:nvPr/>
          </p:nvSpPr>
          <p:spPr bwMode="auto">
            <a:xfrm>
              <a:off x="4351338" y="7097713"/>
              <a:ext cx="7937" cy="15875"/>
            </a:xfrm>
            <a:custGeom>
              <a:avLst/>
              <a:gdLst>
                <a:gd name="T0" fmla="*/ 21 w 22"/>
                <a:gd name="T1" fmla="*/ 20 h 42"/>
                <a:gd name="T2" fmla="*/ 21 w 22"/>
                <a:gd name="T3" fmla="*/ 20 h 42"/>
                <a:gd name="T4" fmla="*/ 0 w 22"/>
                <a:gd name="T5" fmla="*/ 20 h 42"/>
                <a:gd name="T6" fmla="*/ 0 w 22"/>
                <a:gd name="T7" fmla="*/ 20 h 42"/>
                <a:gd name="T8" fmla="*/ 0 w 22"/>
                <a:gd name="T9" fmla="*/ 41 h 42"/>
                <a:gd name="T10" fmla="*/ 21 w 22"/>
                <a:gd name="T11" fmla="*/ 20 h 42"/>
              </a:gdLst>
              <a:ahLst/>
              <a:cxnLst>
                <a:cxn ang="0">
                  <a:pos x="T0" y="T1"/>
                </a:cxn>
                <a:cxn ang="0">
                  <a:pos x="T2" y="T3"/>
                </a:cxn>
                <a:cxn ang="0">
                  <a:pos x="T4" y="T5"/>
                </a:cxn>
                <a:cxn ang="0">
                  <a:pos x="T6" y="T7"/>
                </a:cxn>
                <a:cxn ang="0">
                  <a:pos x="T8" y="T9"/>
                </a:cxn>
                <a:cxn ang="0">
                  <a:pos x="T10" y="T11"/>
                </a:cxn>
              </a:cxnLst>
              <a:rect l="0" t="0" r="r" b="b"/>
              <a:pathLst>
                <a:path w="22" h="42">
                  <a:moveTo>
                    <a:pt x="21" y="20"/>
                  </a:moveTo>
                  <a:lnTo>
                    <a:pt x="21" y="20"/>
                  </a:lnTo>
                  <a:cubicBezTo>
                    <a:pt x="21" y="0"/>
                    <a:pt x="0" y="0"/>
                    <a:pt x="0" y="20"/>
                  </a:cubicBezTo>
                  <a:lnTo>
                    <a:pt x="0" y="20"/>
                  </a:lnTo>
                  <a:cubicBezTo>
                    <a:pt x="0" y="41"/>
                    <a:pt x="0" y="41"/>
                    <a:pt x="0" y="41"/>
                  </a:cubicBezTo>
                  <a:cubicBezTo>
                    <a:pt x="21" y="41"/>
                    <a:pt x="21" y="41"/>
                    <a:pt x="21"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6" name="Freeform 643">
              <a:extLst>
                <a:ext uri="{FF2B5EF4-FFF2-40B4-BE49-F238E27FC236}">
                  <a16:creationId xmlns:a16="http://schemas.microsoft.com/office/drawing/2014/main" id="{DCE5F714-1C4D-CE4D-8D01-DCC3FF749CF3}"/>
                </a:ext>
              </a:extLst>
            </p:cNvPr>
            <p:cNvSpPr>
              <a:spLocks noChangeArrowheads="1"/>
            </p:cNvSpPr>
            <p:nvPr/>
          </p:nvSpPr>
          <p:spPr bwMode="auto">
            <a:xfrm>
              <a:off x="4387850" y="7239000"/>
              <a:ext cx="15875" cy="14288"/>
            </a:xfrm>
            <a:custGeom>
              <a:avLst/>
              <a:gdLst>
                <a:gd name="T0" fmla="*/ 20 w 42"/>
                <a:gd name="T1" fmla="*/ 40 h 41"/>
                <a:gd name="T2" fmla="*/ 20 w 42"/>
                <a:gd name="T3" fmla="*/ 40 h 41"/>
                <a:gd name="T4" fmla="*/ 41 w 42"/>
                <a:gd name="T5" fmla="*/ 20 h 41"/>
                <a:gd name="T6" fmla="*/ 20 w 42"/>
                <a:gd name="T7" fmla="*/ 0 h 41"/>
                <a:gd name="T8" fmla="*/ 0 w 42"/>
                <a:gd name="T9" fmla="*/ 0 h 41"/>
                <a:gd name="T10" fmla="*/ 0 w 42"/>
                <a:gd name="T11" fmla="*/ 20 h 41"/>
                <a:gd name="T12" fmla="*/ 20 w 42"/>
                <a:gd name="T13" fmla="*/ 40 h 41"/>
              </a:gdLst>
              <a:ahLst/>
              <a:cxnLst>
                <a:cxn ang="0">
                  <a:pos x="T0" y="T1"/>
                </a:cxn>
                <a:cxn ang="0">
                  <a:pos x="T2" y="T3"/>
                </a:cxn>
                <a:cxn ang="0">
                  <a:pos x="T4" y="T5"/>
                </a:cxn>
                <a:cxn ang="0">
                  <a:pos x="T6" y="T7"/>
                </a:cxn>
                <a:cxn ang="0">
                  <a:pos x="T8" y="T9"/>
                </a:cxn>
                <a:cxn ang="0">
                  <a:pos x="T10" y="T11"/>
                </a:cxn>
                <a:cxn ang="0">
                  <a:pos x="T12" y="T13"/>
                </a:cxn>
              </a:cxnLst>
              <a:rect l="0" t="0" r="r" b="b"/>
              <a:pathLst>
                <a:path w="42" h="41">
                  <a:moveTo>
                    <a:pt x="20" y="40"/>
                  </a:moveTo>
                  <a:lnTo>
                    <a:pt x="20" y="40"/>
                  </a:lnTo>
                  <a:lnTo>
                    <a:pt x="41" y="20"/>
                  </a:lnTo>
                  <a:cubicBezTo>
                    <a:pt x="41" y="20"/>
                    <a:pt x="41" y="0"/>
                    <a:pt x="20" y="0"/>
                  </a:cubicBezTo>
                  <a:cubicBezTo>
                    <a:pt x="20" y="0"/>
                    <a:pt x="20" y="0"/>
                    <a:pt x="0" y="0"/>
                  </a:cubicBezTo>
                  <a:cubicBezTo>
                    <a:pt x="0" y="0"/>
                    <a:pt x="0" y="0"/>
                    <a:pt x="0" y="20"/>
                  </a:cubicBezTo>
                  <a:lnTo>
                    <a:pt x="20"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7" name="Freeform 644">
              <a:extLst>
                <a:ext uri="{FF2B5EF4-FFF2-40B4-BE49-F238E27FC236}">
                  <a16:creationId xmlns:a16="http://schemas.microsoft.com/office/drawing/2014/main" id="{8EE94C0C-8A7D-AF47-8951-2E31E02EE180}"/>
                </a:ext>
              </a:extLst>
            </p:cNvPr>
            <p:cNvSpPr>
              <a:spLocks noChangeArrowheads="1"/>
            </p:cNvSpPr>
            <p:nvPr/>
          </p:nvSpPr>
          <p:spPr bwMode="auto">
            <a:xfrm>
              <a:off x="4432300" y="7319963"/>
              <a:ext cx="15875" cy="15875"/>
            </a:xfrm>
            <a:custGeom>
              <a:avLst/>
              <a:gdLst>
                <a:gd name="T0" fmla="*/ 41 w 42"/>
                <a:gd name="T1" fmla="*/ 41 h 42"/>
                <a:gd name="T2" fmla="*/ 41 w 42"/>
                <a:gd name="T3" fmla="*/ 41 h 42"/>
                <a:gd name="T4" fmla="*/ 41 w 42"/>
                <a:gd name="T5" fmla="*/ 0 h 42"/>
                <a:gd name="T6" fmla="*/ 20 w 42"/>
                <a:gd name="T7" fmla="*/ 0 h 42"/>
                <a:gd name="T8" fmla="*/ 0 w 42"/>
                <a:gd name="T9" fmla="*/ 20 h 42"/>
                <a:gd name="T10" fmla="*/ 0 w 42"/>
                <a:gd name="T11" fmla="*/ 20 h 42"/>
                <a:gd name="T12" fmla="*/ 20 w 42"/>
                <a:gd name="T13" fmla="*/ 41 h 42"/>
                <a:gd name="T14" fmla="*/ 41 w 4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41" y="41"/>
                  </a:moveTo>
                  <a:lnTo>
                    <a:pt x="41" y="41"/>
                  </a:lnTo>
                  <a:cubicBezTo>
                    <a:pt x="41" y="20"/>
                    <a:pt x="41" y="20"/>
                    <a:pt x="41" y="0"/>
                  </a:cubicBezTo>
                  <a:lnTo>
                    <a:pt x="20" y="0"/>
                  </a:lnTo>
                  <a:cubicBezTo>
                    <a:pt x="20" y="0"/>
                    <a:pt x="20" y="20"/>
                    <a:pt x="0" y="20"/>
                  </a:cubicBezTo>
                  <a:lnTo>
                    <a:pt x="0" y="20"/>
                  </a:lnTo>
                  <a:lnTo>
                    <a:pt x="20" y="41"/>
                  </a:lnTo>
                  <a:cubicBezTo>
                    <a:pt x="20" y="41"/>
                    <a:pt x="20" y="41"/>
                    <a:pt x="4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8" name="Freeform 645">
              <a:extLst>
                <a:ext uri="{FF2B5EF4-FFF2-40B4-BE49-F238E27FC236}">
                  <a16:creationId xmlns:a16="http://schemas.microsoft.com/office/drawing/2014/main" id="{F1A8D99B-A30A-3F49-A8C1-6962730089B8}"/>
                </a:ext>
              </a:extLst>
            </p:cNvPr>
            <p:cNvSpPr>
              <a:spLocks noChangeArrowheads="1"/>
            </p:cNvSpPr>
            <p:nvPr/>
          </p:nvSpPr>
          <p:spPr bwMode="auto">
            <a:xfrm>
              <a:off x="4446588" y="7297738"/>
              <a:ext cx="7937" cy="15875"/>
            </a:xfrm>
            <a:custGeom>
              <a:avLst/>
              <a:gdLst>
                <a:gd name="T0" fmla="*/ 0 w 21"/>
                <a:gd name="T1" fmla="*/ 41 h 42"/>
                <a:gd name="T2" fmla="*/ 0 w 21"/>
                <a:gd name="T3" fmla="*/ 41 h 42"/>
                <a:gd name="T4" fmla="*/ 0 w 21"/>
                <a:gd name="T5" fmla="*/ 21 h 42"/>
                <a:gd name="T6" fmla="*/ 0 w 21"/>
                <a:gd name="T7" fmla="*/ 0 h 42"/>
                <a:gd name="T8" fmla="*/ 20 w 21"/>
                <a:gd name="T9" fmla="*/ 0 h 42"/>
                <a:gd name="T10" fmla="*/ 20 w 21"/>
                <a:gd name="T11" fmla="*/ 41 h 42"/>
                <a:gd name="T12" fmla="*/ 0 w 21"/>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21" h="42">
                  <a:moveTo>
                    <a:pt x="0" y="41"/>
                  </a:moveTo>
                  <a:lnTo>
                    <a:pt x="0" y="41"/>
                  </a:lnTo>
                  <a:lnTo>
                    <a:pt x="0" y="21"/>
                  </a:lnTo>
                  <a:lnTo>
                    <a:pt x="0" y="0"/>
                  </a:lnTo>
                  <a:cubicBezTo>
                    <a:pt x="0" y="0"/>
                    <a:pt x="0" y="0"/>
                    <a:pt x="20" y="0"/>
                  </a:cubicBezTo>
                  <a:cubicBezTo>
                    <a:pt x="20" y="21"/>
                    <a:pt x="20" y="21"/>
                    <a:pt x="20" y="41"/>
                  </a:cubicBezTo>
                  <a:lnTo>
                    <a:pt x="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49" name="Freeform 646">
              <a:extLst>
                <a:ext uri="{FF2B5EF4-FFF2-40B4-BE49-F238E27FC236}">
                  <a16:creationId xmlns:a16="http://schemas.microsoft.com/office/drawing/2014/main" id="{893F85DB-2703-CA4B-A337-A1DCB6995F0C}"/>
                </a:ext>
              </a:extLst>
            </p:cNvPr>
            <p:cNvSpPr>
              <a:spLocks noChangeArrowheads="1"/>
            </p:cNvSpPr>
            <p:nvPr/>
          </p:nvSpPr>
          <p:spPr bwMode="auto">
            <a:xfrm>
              <a:off x="4446588" y="7334250"/>
              <a:ext cx="7937" cy="7938"/>
            </a:xfrm>
            <a:custGeom>
              <a:avLst/>
              <a:gdLst>
                <a:gd name="T0" fmla="*/ 20 w 21"/>
                <a:gd name="T1" fmla="*/ 0 h 21"/>
                <a:gd name="T2" fmla="*/ 20 w 21"/>
                <a:gd name="T3" fmla="*/ 0 h 21"/>
                <a:gd name="T4" fmla="*/ 0 w 21"/>
                <a:gd name="T5" fmla="*/ 20 h 21"/>
                <a:gd name="T6" fmla="*/ 0 w 21"/>
                <a:gd name="T7" fmla="*/ 20 h 21"/>
                <a:gd name="T8" fmla="*/ 20 w 21"/>
                <a:gd name="T9" fmla="*/ 20 h 21"/>
                <a:gd name="T10" fmla="*/ 20 w 21"/>
                <a:gd name="T11" fmla="*/ 0 h 21"/>
              </a:gdLst>
              <a:ahLst/>
              <a:cxnLst>
                <a:cxn ang="0">
                  <a:pos x="T0" y="T1"/>
                </a:cxn>
                <a:cxn ang="0">
                  <a:pos x="T2" y="T3"/>
                </a:cxn>
                <a:cxn ang="0">
                  <a:pos x="T4" y="T5"/>
                </a:cxn>
                <a:cxn ang="0">
                  <a:pos x="T6" y="T7"/>
                </a:cxn>
                <a:cxn ang="0">
                  <a:pos x="T8" y="T9"/>
                </a:cxn>
                <a:cxn ang="0">
                  <a:pos x="T10" y="T11"/>
                </a:cxn>
              </a:cxnLst>
              <a:rect l="0" t="0" r="r" b="b"/>
              <a:pathLst>
                <a:path w="21" h="21">
                  <a:moveTo>
                    <a:pt x="20" y="0"/>
                  </a:moveTo>
                  <a:lnTo>
                    <a:pt x="20" y="0"/>
                  </a:lnTo>
                  <a:cubicBezTo>
                    <a:pt x="20" y="0"/>
                    <a:pt x="0" y="0"/>
                    <a:pt x="0" y="20"/>
                  </a:cubicBezTo>
                  <a:lnTo>
                    <a:pt x="0" y="20"/>
                  </a:lnTo>
                  <a:lnTo>
                    <a:pt x="20" y="20"/>
                  </a:lnTo>
                  <a:cubicBezTo>
                    <a:pt x="20" y="20"/>
                    <a:pt x="20" y="2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0" name="Freeform 647">
              <a:extLst>
                <a:ext uri="{FF2B5EF4-FFF2-40B4-BE49-F238E27FC236}">
                  <a16:creationId xmlns:a16="http://schemas.microsoft.com/office/drawing/2014/main" id="{F24FACA3-8624-5842-850A-A5032F5C0FF7}"/>
                </a:ext>
              </a:extLst>
            </p:cNvPr>
            <p:cNvSpPr>
              <a:spLocks noChangeArrowheads="1"/>
            </p:cNvSpPr>
            <p:nvPr/>
          </p:nvSpPr>
          <p:spPr bwMode="auto">
            <a:xfrm>
              <a:off x="4416425" y="7312025"/>
              <a:ext cx="7938" cy="7938"/>
            </a:xfrm>
            <a:custGeom>
              <a:avLst/>
              <a:gdLst>
                <a:gd name="T0" fmla="*/ 20 w 21"/>
                <a:gd name="T1" fmla="*/ 21 h 22"/>
                <a:gd name="T2" fmla="*/ 20 w 21"/>
                <a:gd name="T3" fmla="*/ 21 h 22"/>
                <a:gd name="T4" fmla="*/ 20 w 21"/>
                <a:gd name="T5" fmla="*/ 21 h 22"/>
                <a:gd name="T6" fmla="*/ 20 w 21"/>
                <a:gd name="T7" fmla="*/ 0 h 22"/>
                <a:gd name="T8" fmla="*/ 0 w 21"/>
                <a:gd name="T9" fmla="*/ 0 h 22"/>
                <a:gd name="T10" fmla="*/ 0 w 21"/>
                <a:gd name="T11" fmla="*/ 21 h 22"/>
                <a:gd name="T12" fmla="*/ 20 w 21"/>
                <a:gd name="T13" fmla="*/ 21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20" y="21"/>
                  </a:moveTo>
                  <a:lnTo>
                    <a:pt x="20" y="21"/>
                  </a:lnTo>
                  <a:lnTo>
                    <a:pt x="20" y="21"/>
                  </a:lnTo>
                  <a:cubicBezTo>
                    <a:pt x="20" y="0"/>
                    <a:pt x="20" y="0"/>
                    <a:pt x="20" y="0"/>
                  </a:cubicBezTo>
                  <a:lnTo>
                    <a:pt x="0" y="0"/>
                  </a:lnTo>
                  <a:lnTo>
                    <a:pt x="0" y="21"/>
                  </a:lnTo>
                  <a:cubicBezTo>
                    <a:pt x="0" y="21"/>
                    <a:pt x="0" y="21"/>
                    <a:pt x="20" y="2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1" name="Freeform 648">
              <a:extLst>
                <a:ext uri="{FF2B5EF4-FFF2-40B4-BE49-F238E27FC236}">
                  <a16:creationId xmlns:a16="http://schemas.microsoft.com/office/drawing/2014/main" id="{B2658E25-48D7-204C-9648-0A3AFDD6972F}"/>
                </a:ext>
              </a:extLst>
            </p:cNvPr>
            <p:cNvSpPr>
              <a:spLocks noChangeArrowheads="1"/>
            </p:cNvSpPr>
            <p:nvPr/>
          </p:nvSpPr>
          <p:spPr bwMode="auto">
            <a:xfrm>
              <a:off x="4402138" y="7297738"/>
              <a:ext cx="15875" cy="7937"/>
            </a:xfrm>
            <a:custGeom>
              <a:avLst/>
              <a:gdLst>
                <a:gd name="T0" fmla="*/ 20 w 42"/>
                <a:gd name="T1" fmla="*/ 0 h 22"/>
                <a:gd name="T2" fmla="*/ 20 w 42"/>
                <a:gd name="T3" fmla="*/ 0 h 22"/>
                <a:gd name="T4" fmla="*/ 20 w 42"/>
                <a:gd name="T5" fmla="*/ 21 h 22"/>
                <a:gd name="T6" fmla="*/ 20 w 42"/>
                <a:gd name="T7" fmla="*/ 21 h 22"/>
                <a:gd name="T8" fmla="*/ 41 w 42"/>
                <a:gd name="T9" fmla="*/ 0 h 22"/>
                <a:gd name="T10" fmla="*/ 20 w 42"/>
                <a:gd name="T11" fmla="*/ 0 h 22"/>
              </a:gdLst>
              <a:ahLst/>
              <a:cxnLst>
                <a:cxn ang="0">
                  <a:pos x="T0" y="T1"/>
                </a:cxn>
                <a:cxn ang="0">
                  <a:pos x="T2" y="T3"/>
                </a:cxn>
                <a:cxn ang="0">
                  <a:pos x="T4" y="T5"/>
                </a:cxn>
                <a:cxn ang="0">
                  <a:pos x="T6" y="T7"/>
                </a:cxn>
                <a:cxn ang="0">
                  <a:pos x="T8" y="T9"/>
                </a:cxn>
                <a:cxn ang="0">
                  <a:pos x="T10" y="T11"/>
                </a:cxn>
              </a:cxnLst>
              <a:rect l="0" t="0" r="r" b="b"/>
              <a:pathLst>
                <a:path w="42" h="22">
                  <a:moveTo>
                    <a:pt x="20" y="0"/>
                  </a:moveTo>
                  <a:lnTo>
                    <a:pt x="20" y="0"/>
                  </a:lnTo>
                  <a:cubicBezTo>
                    <a:pt x="0" y="0"/>
                    <a:pt x="20" y="0"/>
                    <a:pt x="20" y="21"/>
                  </a:cubicBezTo>
                  <a:lnTo>
                    <a:pt x="20" y="21"/>
                  </a:lnTo>
                  <a:cubicBezTo>
                    <a:pt x="41" y="21"/>
                    <a:pt x="41" y="0"/>
                    <a:pt x="41" y="0"/>
                  </a:cubicBezTo>
                  <a:cubicBezTo>
                    <a:pt x="20" y="0"/>
                    <a:pt x="20"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2" name="Freeform 649">
              <a:extLst>
                <a:ext uri="{FF2B5EF4-FFF2-40B4-BE49-F238E27FC236}">
                  <a16:creationId xmlns:a16="http://schemas.microsoft.com/office/drawing/2014/main" id="{9310E9C9-76F8-8A44-9080-3A60F97EA0CA}"/>
                </a:ext>
              </a:extLst>
            </p:cNvPr>
            <p:cNvSpPr>
              <a:spLocks noChangeArrowheads="1"/>
            </p:cNvSpPr>
            <p:nvPr/>
          </p:nvSpPr>
          <p:spPr bwMode="auto">
            <a:xfrm>
              <a:off x="4394200" y="7261225"/>
              <a:ext cx="7938" cy="15875"/>
            </a:xfrm>
            <a:custGeom>
              <a:avLst/>
              <a:gdLst>
                <a:gd name="T0" fmla="*/ 21 w 22"/>
                <a:gd name="T1" fmla="*/ 41 h 42"/>
                <a:gd name="T2" fmla="*/ 21 w 22"/>
                <a:gd name="T3" fmla="*/ 41 h 42"/>
                <a:gd name="T4" fmla="*/ 0 w 22"/>
                <a:gd name="T5" fmla="*/ 20 h 42"/>
                <a:gd name="T6" fmla="*/ 0 w 22"/>
                <a:gd name="T7" fmla="*/ 0 h 42"/>
                <a:gd name="T8" fmla="*/ 21 w 22"/>
                <a:gd name="T9" fmla="*/ 0 h 42"/>
                <a:gd name="T10" fmla="*/ 21 w 22"/>
                <a:gd name="T11" fmla="*/ 20 h 42"/>
                <a:gd name="T12" fmla="*/ 21 w 22"/>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22" h="42">
                  <a:moveTo>
                    <a:pt x="21" y="41"/>
                  </a:moveTo>
                  <a:lnTo>
                    <a:pt x="21" y="41"/>
                  </a:lnTo>
                  <a:lnTo>
                    <a:pt x="0" y="20"/>
                  </a:lnTo>
                  <a:lnTo>
                    <a:pt x="0" y="0"/>
                  </a:lnTo>
                  <a:lnTo>
                    <a:pt x="21" y="0"/>
                  </a:lnTo>
                  <a:lnTo>
                    <a:pt x="21" y="20"/>
                  </a:lnTo>
                  <a:cubicBezTo>
                    <a:pt x="21" y="20"/>
                    <a:pt x="21" y="20"/>
                    <a:pt x="2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3" name="Freeform 650">
              <a:extLst>
                <a:ext uri="{FF2B5EF4-FFF2-40B4-BE49-F238E27FC236}">
                  <a16:creationId xmlns:a16="http://schemas.microsoft.com/office/drawing/2014/main" id="{22CA75E5-165C-A54A-891F-51FCDDC259D9}"/>
                </a:ext>
              </a:extLst>
            </p:cNvPr>
            <p:cNvSpPr>
              <a:spLocks noChangeArrowheads="1"/>
            </p:cNvSpPr>
            <p:nvPr/>
          </p:nvSpPr>
          <p:spPr bwMode="auto">
            <a:xfrm>
              <a:off x="4446588" y="7370763"/>
              <a:ext cx="15875" cy="22225"/>
            </a:xfrm>
            <a:custGeom>
              <a:avLst/>
              <a:gdLst>
                <a:gd name="T0" fmla="*/ 41 w 42"/>
                <a:gd name="T1" fmla="*/ 62 h 63"/>
                <a:gd name="T2" fmla="*/ 41 w 42"/>
                <a:gd name="T3" fmla="*/ 62 h 63"/>
                <a:gd name="T4" fmla="*/ 41 w 42"/>
                <a:gd name="T5" fmla="*/ 41 h 63"/>
                <a:gd name="T6" fmla="*/ 41 w 42"/>
                <a:gd name="T7" fmla="*/ 21 h 63"/>
                <a:gd name="T8" fmla="*/ 20 w 42"/>
                <a:gd name="T9" fmla="*/ 21 h 63"/>
                <a:gd name="T10" fmla="*/ 0 w 42"/>
                <a:gd name="T11" fmla="*/ 21 h 63"/>
                <a:gd name="T12" fmla="*/ 0 w 42"/>
                <a:gd name="T13" fmla="*/ 62 h 63"/>
                <a:gd name="T14" fmla="*/ 20 w 42"/>
                <a:gd name="T15" fmla="*/ 62 h 63"/>
                <a:gd name="T16" fmla="*/ 41 w 42"/>
                <a:gd name="T17"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63">
                  <a:moveTo>
                    <a:pt x="41" y="62"/>
                  </a:moveTo>
                  <a:lnTo>
                    <a:pt x="41" y="62"/>
                  </a:lnTo>
                  <a:lnTo>
                    <a:pt x="41" y="41"/>
                  </a:lnTo>
                  <a:cubicBezTo>
                    <a:pt x="41" y="21"/>
                    <a:pt x="41" y="21"/>
                    <a:pt x="41" y="21"/>
                  </a:cubicBezTo>
                  <a:cubicBezTo>
                    <a:pt x="20" y="0"/>
                    <a:pt x="20" y="21"/>
                    <a:pt x="20" y="21"/>
                  </a:cubicBezTo>
                  <a:cubicBezTo>
                    <a:pt x="0" y="21"/>
                    <a:pt x="0" y="21"/>
                    <a:pt x="0" y="21"/>
                  </a:cubicBezTo>
                  <a:cubicBezTo>
                    <a:pt x="0" y="41"/>
                    <a:pt x="0" y="41"/>
                    <a:pt x="0" y="62"/>
                  </a:cubicBezTo>
                  <a:lnTo>
                    <a:pt x="20" y="62"/>
                  </a:lnTo>
                  <a:cubicBezTo>
                    <a:pt x="20" y="62"/>
                    <a:pt x="20" y="62"/>
                    <a:pt x="41" y="6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4" name="Freeform 651">
              <a:extLst>
                <a:ext uri="{FF2B5EF4-FFF2-40B4-BE49-F238E27FC236}">
                  <a16:creationId xmlns:a16="http://schemas.microsoft.com/office/drawing/2014/main" id="{E9275545-05A4-A64E-B985-F4E94EE6F800}"/>
                </a:ext>
              </a:extLst>
            </p:cNvPr>
            <p:cNvSpPr>
              <a:spLocks noChangeArrowheads="1"/>
            </p:cNvSpPr>
            <p:nvPr/>
          </p:nvSpPr>
          <p:spPr bwMode="auto">
            <a:xfrm>
              <a:off x="4460875" y="7392988"/>
              <a:ext cx="15875" cy="30162"/>
            </a:xfrm>
            <a:custGeom>
              <a:avLst/>
              <a:gdLst>
                <a:gd name="T0" fmla="*/ 41 w 42"/>
                <a:gd name="T1" fmla="*/ 82 h 83"/>
                <a:gd name="T2" fmla="*/ 41 w 42"/>
                <a:gd name="T3" fmla="*/ 82 h 83"/>
                <a:gd name="T4" fmla="*/ 41 w 42"/>
                <a:gd name="T5" fmla="*/ 61 h 83"/>
                <a:gd name="T6" fmla="*/ 41 w 42"/>
                <a:gd name="T7" fmla="*/ 20 h 83"/>
                <a:gd name="T8" fmla="*/ 20 w 42"/>
                <a:gd name="T9" fmla="*/ 0 h 83"/>
                <a:gd name="T10" fmla="*/ 0 w 42"/>
                <a:gd name="T11" fmla="*/ 20 h 83"/>
                <a:gd name="T12" fmla="*/ 0 w 42"/>
                <a:gd name="T13" fmla="*/ 20 h 83"/>
                <a:gd name="T14" fmla="*/ 0 w 42"/>
                <a:gd name="T15" fmla="*/ 61 h 83"/>
                <a:gd name="T16" fmla="*/ 20 w 42"/>
                <a:gd name="T17" fmla="*/ 82 h 83"/>
                <a:gd name="T18" fmla="*/ 41 w 42"/>
                <a:gd name="T19"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83">
                  <a:moveTo>
                    <a:pt x="41" y="82"/>
                  </a:moveTo>
                  <a:lnTo>
                    <a:pt x="41" y="82"/>
                  </a:lnTo>
                  <a:lnTo>
                    <a:pt x="41" y="61"/>
                  </a:lnTo>
                  <a:cubicBezTo>
                    <a:pt x="41" y="41"/>
                    <a:pt x="41" y="20"/>
                    <a:pt x="41" y="20"/>
                  </a:cubicBezTo>
                  <a:cubicBezTo>
                    <a:pt x="41" y="20"/>
                    <a:pt x="41" y="0"/>
                    <a:pt x="20" y="0"/>
                  </a:cubicBezTo>
                  <a:cubicBezTo>
                    <a:pt x="20" y="0"/>
                    <a:pt x="0" y="0"/>
                    <a:pt x="0" y="20"/>
                  </a:cubicBezTo>
                  <a:lnTo>
                    <a:pt x="0" y="20"/>
                  </a:lnTo>
                  <a:cubicBezTo>
                    <a:pt x="0" y="41"/>
                    <a:pt x="0" y="41"/>
                    <a:pt x="0" y="61"/>
                  </a:cubicBezTo>
                  <a:cubicBezTo>
                    <a:pt x="0" y="61"/>
                    <a:pt x="0" y="61"/>
                    <a:pt x="20" y="82"/>
                  </a:cubicBezTo>
                  <a:cubicBezTo>
                    <a:pt x="20" y="82"/>
                    <a:pt x="20" y="82"/>
                    <a:pt x="41" y="8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5" name="Freeform 652">
              <a:extLst>
                <a:ext uri="{FF2B5EF4-FFF2-40B4-BE49-F238E27FC236}">
                  <a16:creationId xmlns:a16="http://schemas.microsoft.com/office/drawing/2014/main" id="{F0C55BF9-E16F-7F4E-B424-BE74B4045895}"/>
                </a:ext>
              </a:extLst>
            </p:cNvPr>
            <p:cNvSpPr>
              <a:spLocks noChangeArrowheads="1"/>
            </p:cNvSpPr>
            <p:nvPr/>
          </p:nvSpPr>
          <p:spPr bwMode="auto">
            <a:xfrm>
              <a:off x="2300288" y="4973638"/>
              <a:ext cx="766762" cy="730250"/>
            </a:xfrm>
            <a:custGeom>
              <a:avLst/>
              <a:gdLst>
                <a:gd name="T0" fmla="*/ 922 w 2132"/>
                <a:gd name="T1" fmla="*/ 286 h 2029"/>
                <a:gd name="T2" fmla="*/ 1065 w 2132"/>
                <a:gd name="T3" fmla="*/ 286 h 2029"/>
                <a:gd name="T4" fmla="*/ 1127 w 2132"/>
                <a:gd name="T5" fmla="*/ 347 h 2029"/>
                <a:gd name="T6" fmla="*/ 1250 w 2132"/>
                <a:gd name="T7" fmla="*/ 286 h 2029"/>
                <a:gd name="T8" fmla="*/ 1352 w 2132"/>
                <a:gd name="T9" fmla="*/ 327 h 2029"/>
                <a:gd name="T10" fmla="*/ 1373 w 2132"/>
                <a:gd name="T11" fmla="*/ 204 h 2029"/>
                <a:gd name="T12" fmla="*/ 1455 w 2132"/>
                <a:gd name="T13" fmla="*/ 163 h 2029"/>
                <a:gd name="T14" fmla="*/ 1475 w 2132"/>
                <a:gd name="T15" fmla="*/ 20 h 2029"/>
                <a:gd name="T16" fmla="*/ 1598 w 2132"/>
                <a:gd name="T17" fmla="*/ 82 h 2029"/>
                <a:gd name="T18" fmla="*/ 1639 w 2132"/>
                <a:gd name="T19" fmla="*/ 183 h 2029"/>
                <a:gd name="T20" fmla="*/ 1639 w 2132"/>
                <a:gd name="T21" fmla="*/ 306 h 2029"/>
                <a:gd name="T22" fmla="*/ 1701 w 2132"/>
                <a:gd name="T23" fmla="*/ 388 h 2029"/>
                <a:gd name="T24" fmla="*/ 1844 w 2132"/>
                <a:gd name="T25" fmla="*/ 286 h 2029"/>
                <a:gd name="T26" fmla="*/ 1967 w 2132"/>
                <a:gd name="T27" fmla="*/ 204 h 2029"/>
                <a:gd name="T28" fmla="*/ 2028 w 2132"/>
                <a:gd name="T29" fmla="*/ 265 h 2029"/>
                <a:gd name="T30" fmla="*/ 2131 w 2132"/>
                <a:gd name="T31" fmla="*/ 224 h 2029"/>
                <a:gd name="T32" fmla="*/ 2090 w 2132"/>
                <a:gd name="T33" fmla="*/ 265 h 2029"/>
                <a:gd name="T34" fmla="*/ 2110 w 2132"/>
                <a:gd name="T35" fmla="*/ 368 h 2029"/>
                <a:gd name="T36" fmla="*/ 1988 w 2132"/>
                <a:gd name="T37" fmla="*/ 368 h 2029"/>
                <a:gd name="T38" fmla="*/ 1824 w 2132"/>
                <a:gd name="T39" fmla="*/ 388 h 2029"/>
                <a:gd name="T40" fmla="*/ 1721 w 2132"/>
                <a:gd name="T41" fmla="*/ 470 h 2029"/>
                <a:gd name="T42" fmla="*/ 1619 w 2132"/>
                <a:gd name="T43" fmla="*/ 552 h 2029"/>
                <a:gd name="T44" fmla="*/ 1660 w 2132"/>
                <a:gd name="T45" fmla="*/ 655 h 2029"/>
                <a:gd name="T46" fmla="*/ 1680 w 2132"/>
                <a:gd name="T47" fmla="*/ 819 h 2029"/>
                <a:gd name="T48" fmla="*/ 1660 w 2132"/>
                <a:gd name="T49" fmla="*/ 942 h 2029"/>
                <a:gd name="T50" fmla="*/ 1537 w 2132"/>
                <a:gd name="T51" fmla="*/ 1003 h 2029"/>
                <a:gd name="T52" fmla="*/ 1475 w 2132"/>
                <a:gd name="T53" fmla="*/ 1044 h 2029"/>
                <a:gd name="T54" fmla="*/ 1557 w 2132"/>
                <a:gd name="T55" fmla="*/ 1146 h 2029"/>
                <a:gd name="T56" fmla="*/ 1455 w 2132"/>
                <a:gd name="T57" fmla="*/ 1188 h 2029"/>
                <a:gd name="T58" fmla="*/ 1434 w 2132"/>
                <a:gd name="T59" fmla="*/ 1270 h 2029"/>
                <a:gd name="T60" fmla="*/ 1414 w 2132"/>
                <a:gd name="T61" fmla="*/ 1392 h 2029"/>
                <a:gd name="T62" fmla="*/ 1373 w 2132"/>
                <a:gd name="T63" fmla="*/ 1516 h 2029"/>
                <a:gd name="T64" fmla="*/ 1250 w 2132"/>
                <a:gd name="T65" fmla="*/ 1495 h 2029"/>
                <a:gd name="T66" fmla="*/ 1147 w 2132"/>
                <a:gd name="T67" fmla="*/ 1556 h 2029"/>
                <a:gd name="T68" fmla="*/ 1106 w 2132"/>
                <a:gd name="T69" fmla="*/ 1618 h 2029"/>
                <a:gd name="T70" fmla="*/ 1025 w 2132"/>
                <a:gd name="T71" fmla="*/ 1658 h 2029"/>
                <a:gd name="T72" fmla="*/ 963 w 2132"/>
                <a:gd name="T73" fmla="*/ 1761 h 2029"/>
                <a:gd name="T74" fmla="*/ 983 w 2132"/>
                <a:gd name="T75" fmla="*/ 1884 h 2029"/>
                <a:gd name="T76" fmla="*/ 819 w 2132"/>
                <a:gd name="T77" fmla="*/ 1966 h 2029"/>
                <a:gd name="T78" fmla="*/ 655 w 2132"/>
                <a:gd name="T79" fmla="*/ 2007 h 2029"/>
                <a:gd name="T80" fmla="*/ 491 w 2132"/>
                <a:gd name="T81" fmla="*/ 1986 h 2029"/>
                <a:gd name="T82" fmla="*/ 327 w 2132"/>
                <a:gd name="T83" fmla="*/ 2007 h 2029"/>
                <a:gd name="T84" fmla="*/ 143 w 2132"/>
                <a:gd name="T85" fmla="*/ 1946 h 2029"/>
                <a:gd name="T86" fmla="*/ 143 w 2132"/>
                <a:gd name="T87" fmla="*/ 1864 h 2029"/>
                <a:gd name="T88" fmla="*/ 267 w 2132"/>
                <a:gd name="T89" fmla="*/ 1638 h 2029"/>
                <a:gd name="T90" fmla="*/ 103 w 2132"/>
                <a:gd name="T91" fmla="*/ 1556 h 2029"/>
                <a:gd name="T92" fmla="*/ 41 w 2132"/>
                <a:gd name="T93" fmla="*/ 1310 h 2029"/>
                <a:gd name="T94" fmla="*/ 41 w 2132"/>
                <a:gd name="T95" fmla="*/ 1167 h 2029"/>
                <a:gd name="T96" fmla="*/ 21 w 2132"/>
                <a:gd name="T97" fmla="*/ 1085 h 2029"/>
                <a:gd name="T98" fmla="*/ 41 w 2132"/>
                <a:gd name="T99" fmla="*/ 921 h 2029"/>
                <a:gd name="T100" fmla="*/ 103 w 2132"/>
                <a:gd name="T101" fmla="*/ 839 h 2029"/>
                <a:gd name="T102" fmla="*/ 82 w 2132"/>
                <a:gd name="T103" fmla="*/ 655 h 2029"/>
                <a:gd name="T104" fmla="*/ 123 w 2132"/>
                <a:gd name="T105" fmla="*/ 696 h 2029"/>
                <a:gd name="T106" fmla="*/ 225 w 2132"/>
                <a:gd name="T107" fmla="*/ 737 h 2029"/>
                <a:gd name="T108" fmla="*/ 287 w 2132"/>
                <a:gd name="T109" fmla="*/ 757 h 2029"/>
                <a:gd name="T110" fmla="*/ 369 w 2132"/>
                <a:gd name="T111" fmla="*/ 675 h 2029"/>
                <a:gd name="T112" fmla="*/ 451 w 2132"/>
                <a:gd name="T113" fmla="*/ 593 h 2029"/>
                <a:gd name="T114" fmla="*/ 573 w 2132"/>
                <a:gd name="T115" fmla="*/ 532 h 2029"/>
                <a:gd name="T116" fmla="*/ 594 w 2132"/>
                <a:gd name="T117" fmla="*/ 409 h 2029"/>
                <a:gd name="T118" fmla="*/ 676 w 2132"/>
                <a:gd name="T119" fmla="*/ 306 h 2029"/>
                <a:gd name="T120" fmla="*/ 799 w 2132"/>
                <a:gd name="T121" fmla="*/ 245 h 20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32" h="2029">
                  <a:moveTo>
                    <a:pt x="861" y="245"/>
                  </a:moveTo>
                  <a:lnTo>
                    <a:pt x="861" y="245"/>
                  </a:lnTo>
                  <a:lnTo>
                    <a:pt x="881" y="265"/>
                  </a:lnTo>
                  <a:lnTo>
                    <a:pt x="922" y="286"/>
                  </a:lnTo>
                  <a:cubicBezTo>
                    <a:pt x="943" y="286"/>
                    <a:pt x="943" y="286"/>
                    <a:pt x="963" y="286"/>
                  </a:cubicBezTo>
                  <a:lnTo>
                    <a:pt x="983" y="306"/>
                  </a:lnTo>
                  <a:cubicBezTo>
                    <a:pt x="1004" y="306"/>
                    <a:pt x="1025" y="306"/>
                    <a:pt x="1025" y="306"/>
                  </a:cubicBezTo>
                  <a:cubicBezTo>
                    <a:pt x="1045" y="306"/>
                    <a:pt x="1065" y="286"/>
                    <a:pt x="1065" y="286"/>
                  </a:cubicBezTo>
                  <a:lnTo>
                    <a:pt x="1086" y="306"/>
                  </a:lnTo>
                  <a:lnTo>
                    <a:pt x="1086" y="306"/>
                  </a:lnTo>
                  <a:cubicBezTo>
                    <a:pt x="1086" y="327"/>
                    <a:pt x="1106" y="327"/>
                    <a:pt x="1106" y="327"/>
                  </a:cubicBezTo>
                  <a:cubicBezTo>
                    <a:pt x="1127" y="327"/>
                    <a:pt x="1127" y="347"/>
                    <a:pt x="1127" y="347"/>
                  </a:cubicBezTo>
                  <a:lnTo>
                    <a:pt x="1147" y="347"/>
                  </a:lnTo>
                  <a:cubicBezTo>
                    <a:pt x="1168" y="347"/>
                    <a:pt x="1188" y="347"/>
                    <a:pt x="1188" y="327"/>
                  </a:cubicBezTo>
                  <a:cubicBezTo>
                    <a:pt x="1188" y="327"/>
                    <a:pt x="1209" y="327"/>
                    <a:pt x="1209" y="306"/>
                  </a:cubicBezTo>
                  <a:cubicBezTo>
                    <a:pt x="1209" y="306"/>
                    <a:pt x="1229" y="286"/>
                    <a:pt x="1250" y="286"/>
                  </a:cubicBezTo>
                  <a:cubicBezTo>
                    <a:pt x="1250" y="286"/>
                    <a:pt x="1270" y="286"/>
                    <a:pt x="1291" y="306"/>
                  </a:cubicBezTo>
                  <a:lnTo>
                    <a:pt x="1291" y="327"/>
                  </a:lnTo>
                  <a:cubicBezTo>
                    <a:pt x="1311" y="327"/>
                    <a:pt x="1311" y="327"/>
                    <a:pt x="1332" y="327"/>
                  </a:cubicBezTo>
                  <a:lnTo>
                    <a:pt x="1352" y="327"/>
                  </a:lnTo>
                  <a:cubicBezTo>
                    <a:pt x="1352" y="306"/>
                    <a:pt x="1352" y="306"/>
                    <a:pt x="1352" y="286"/>
                  </a:cubicBezTo>
                  <a:cubicBezTo>
                    <a:pt x="1352" y="286"/>
                    <a:pt x="1352" y="265"/>
                    <a:pt x="1352" y="245"/>
                  </a:cubicBezTo>
                  <a:cubicBezTo>
                    <a:pt x="1352" y="245"/>
                    <a:pt x="1352" y="224"/>
                    <a:pt x="1352" y="204"/>
                  </a:cubicBezTo>
                  <a:lnTo>
                    <a:pt x="1373" y="204"/>
                  </a:lnTo>
                  <a:lnTo>
                    <a:pt x="1393" y="204"/>
                  </a:lnTo>
                  <a:cubicBezTo>
                    <a:pt x="1393" y="224"/>
                    <a:pt x="1414" y="224"/>
                    <a:pt x="1414" y="204"/>
                  </a:cubicBezTo>
                  <a:cubicBezTo>
                    <a:pt x="1434" y="204"/>
                    <a:pt x="1434" y="204"/>
                    <a:pt x="1434" y="183"/>
                  </a:cubicBezTo>
                  <a:lnTo>
                    <a:pt x="1455" y="163"/>
                  </a:lnTo>
                  <a:cubicBezTo>
                    <a:pt x="1455" y="144"/>
                    <a:pt x="1434" y="123"/>
                    <a:pt x="1434" y="102"/>
                  </a:cubicBezTo>
                  <a:lnTo>
                    <a:pt x="1434" y="62"/>
                  </a:lnTo>
                  <a:cubicBezTo>
                    <a:pt x="1434" y="62"/>
                    <a:pt x="1455" y="62"/>
                    <a:pt x="1455" y="41"/>
                  </a:cubicBezTo>
                  <a:cubicBezTo>
                    <a:pt x="1475" y="41"/>
                    <a:pt x="1475" y="20"/>
                    <a:pt x="1475" y="20"/>
                  </a:cubicBezTo>
                  <a:cubicBezTo>
                    <a:pt x="1496" y="0"/>
                    <a:pt x="1516" y="0"/>
                    <a:pt x="1537" y="0"/>
                  </a:cubicBezTo>
                  <a:cubicBezTo>
                    <a:pt x="1537" y="0"/>
                    <a:pt x="1557" y="20"/>
                    <a:pt x="1578" y="20"/>
                  </a:cubicBezTo>
                  <a:cubicBezTo>
                    <a:pt x="1578" y="20"/>
                    <a:pt x="1557" y="41"/>
                    <a:pt x="1578" y="62"/>
                  </a:cubicBezTo>
                  <a:cubicBezTo>
                    <a:pt x="1578" y="62"/>
                    <a:pt x="1598" y="62"/>
                    <a:pt x="1598" y="82"/>
                  </a:cubicBezTo>
                  <a:cubicBezTo>
                    <a:pt x="1598" y="82"/>
                    <a:pt x="1578" y="102"/>
                    <a:pt x="1598" y="123"/>
                  </a:cubicBezTo>
                  <a:lnTo>
                    <a:pt x="1619" y="123"/>
                  </a:lnTo>
                  <a:cubicBezTo>
                    <a:pt x="1619" y="144"/>
                    <a:pt x="1639" y="144"/>
                    <a:pt x="1639" y="163"/>
                  </a:cubicBezTo>
                  <a:lnTo>
                    <a:pt x="1639" y="183"/>
                  </a:lnTo>
                  <a:cubicBezTo>
                    <a:pt x="1639" y="204"/>
                    <a:pt x="1639" y="204"/>
                    <a:pt x="1639" y="224"/>
                  </a:cubicBezTo>
                  <a:lnTo>
                    <a:pt x="1619" y="245"/>
                  </a:lnTo>
                  <a:cubicBezTo>
                    <a:pt x="1619" y="245"/>
                    <a:pt x="1639" y="265"/>
                    <a:pt x="1639" y="286"/>
                  </a:cubicBezTo>
                  <a:lnTo>
                    <a:pt x="1639" y="306"/>
                  </a:lnTo>
                  <a:lnTo>
                    <a:pt x="1639" y="347"/>
                  </a:lnTo>
                  <a:cubicBezTo>
                    <a:pt x="1639" y="347"/>
                    <a:pt x="1639" y="368"/>
                    <a:pt x="1639" y="388"/>
                  </a:cubicBezTo>
                  <a:cubicBezTo>
                    <a:pt x="1639" y="388"/>
                    <a:pt x="1660" y="388"/>
                    <a:pt x="1660" y="409"/>
                  </a:cubicBezTo>
                  <a:cubicBezTo>
                    <a:pt x="1680" y="409"/>
                    <a:pt x="1701" y="388"/>
                    <a:pt x="1701" y="388"/>
                  </a:cubicBezTo>
                  <a:cubicBezTo>
                    <a:pt x="1721" y="388"/>
                    <a:pt x="1742" y="388"/>
                    <a:pt x="1742" y="368"/>
                  </a:cubicBezTo>
                  <a:cubicBezTo>
                    <a:pt x="1762" y="368"/>
                    <a:pt x="1783" y="368"/>
                    <a:pt x="1783" y="368"/>
                  </a:cubicBezTo>
                  <a:cubicBezTo>
                    <a:pt x="1803" y="347"/>
                    <a:pt x="1803" y="347"/>
                    <a:pt x="1824" y="327"/>
                  </a:cubicBezTo>
                  <a:cubicBezTo>
                    <a:pt x="1824" y="327"/>
                    <a:pt x="1844" y="306"/>
                    <a:pt x="1844" y="286"/>
                  </a:cubicBezTo>
                  <a:cubicBezTo>
                    <a:pt x="1864" y="286"/>
                    <a:pt x="1864" y="265"/>
                    <a:pt x="1864" y="245"/>
                  </a:cubicBezTo>
                  <a:cubicBezTo>
                    <a:pt x="1885" y="245"/>
                    <a:pt x="1885" y="224"/>
                    <a:pt x="1885" y="224"/>
                  </a:cubicBezTo>
                  <a:cubicBezTo>
                    <a:pt x="1906" y="204"/>
                    <a:pt x="1926" y="204"/>
                    <a:pt x="1946" y="204"/>
                  </a:cubicBezTo>
                  <a:lnTo>
                    <a:pt x="1967" y="204"/>
                  </a:lnTo>
                  <a:cubicBezTo>
                    <a:pt x="1967" y="204"/>
                    <a:pt x="1967" y="204"/>
                    <a:pt x="1967" y="224"/>
                  </a:cubicBezTo>
                  <a:cubicBezTo>
                    <a:pt x="1967" y="224"/>
                    <a:pt x="1967" y="224"/>
                    <a:pt x="1967" y="245"/>
                  </a:cubicBezTo>
                  <a:cubicBezTo>
                    <a:pt x="1967" y="245"/>
                    <a:pt x="1988" y="245"/>
                    <a:pt x="1988" y="265"/>
                  </a:cubicBezTo>
                  <a:cubicBezTo>
                    <a:pt x="2008" y="265"/>
                    <a:pt x="2028" y="265"/>
                    <a:pt x="2028" y="265"/>
                  </a:cubicBezTo>
                  <a:cubicBezTo>
                    <a:pt x="2049" y="265"/>
                    <a:pt x="2049" y="245"/>
                    <a:pt x="2070" y="245"/>
                  </a:cubicBezTo>
                  <a:cubicBezTo>
                    <a:pt x="2070" y="245"/>
                    <a:pt x="2070" y="224"/>
                    <a:pt x="2090" y="224"/>
                  </a:cubicBezTo>
                  <a:lnTo>
                    <a:pt x="2110" y="224"/>
                  </a:lnTo>
                  <a:cubicBezTo>
                    <a:pt x="2110" y="224"/>
                    <a:pt x="2110" y="224"/>
                    <a:pt x="2131" y="224"/>
                  </a:cubicBezTo>
                  <a:lnTo>
                    <a:pt x="2131" y="245"/>
                  </a:lnTo>
                  <a:lnTo>
                    <a:pt x="2131" y="245"/>
                  </a:lnTo>
                  <a:cubicBezTo>
                    <a:pt x="2131" y="245"/>
                    <a:pt x="2131" y="245"/>
                    <a:pt x="2110" y="245"/>
                  </a:cubicBezTo>
                  <a:lnTo>
                    <a:pt x="2090" y="265"/>
                  </a:lnTo>
                  <a:cubicBezTo>
                    <a:pt x="2090" y="265"/>
                    <a:pt x="2090" y="286"/>
                    <a:pt x="2090" y="306"/>
                  </a:cubicBezTo>
                  <a:cubicBezTo>
                    <a:pt x="2110" y="306"/>
                    <a:pt x="2110" y="306"/>
                    <a:pt x="2131" y="306"/>
                  </a:cubicBezTo>
                  <a:cubicBezTo>
                    <a:pt x="2131" y="327"/>
                    <a:pt x="2131" y="327"/>
                    <a:pt x="2131" y="327"/>
                  </a:cubicBezTo>
                  <a:cubicBezTo>
                    <a:pt x="2110" y="347"/>
                    <a:pt x="2110" y="347"/>
                    <a:pt x="2110" y="368"/>
                  </a:cubicBezTo>
                  <a:cubicBezTo>
                    <a:pt x="2090" y="368"/>
                    <a:pt x="2070" y="388"/>
                    <a:pt x="2070" y="388"/>
                  </a:cubicBezTo>
                  <a:cubicBezTo>
                    <a:pt x="2070" y="388"/>
                    <a:pt x="2049" y="368"/>
                    <a:pt x="2028" y="368"/>
                  </a:cubicBezTo>
                  <a:cubicBezTo>
                    <a:pt x="2028" y="368"/>
                    <a:pt x="2028" y="368"/>
                    <a:pt x="2008" y="368"/>
                  </a:cubicBezTo>
                  <a:lnTo>
                    <a:pt x="1988" y="368"/>
                  </a:lnTo>
                  <a:cubicBezTo>
                    <a:pt x="1967" y="368"/>
                    <a:pt x="1946" y="368"/>
                    <a:pt x="1926" y="368"/>
                  </a:cubicBezTo>
                  <a:cubicBezTo>
                    <a:pt x="1926" y="368"/>
                    <a:pt x="1906" y="368"/>
                    <a:pt x="1885" y="368"/>
                  </a:cubicBezTo>
                  <a:cubicBezTo>
                    <a:pt x="1885" y="368"/>
                    <a:pt x="1844" y="368"/>
                    <a:pt x="1844" y="388"/>
                  </a:cubicBezTo>
                  <a:lnTo>
                    <a:pt x="1824" y="388"/>
                  </a:lnTo>
                  <a:cubicBezTo>
                    <a:pt x="1803" y="388"/>
                    <a:pt x="1783" y="409"/>
                    <a:pt x="1783" y="409"/>
                  </a:cubicBezTo>
                  <a:cubicBezTo>
                    <a:pt x="1783" y="409"/>
                    <a:pt x="1762" y="409"/>
                    <a:pt x="1762" y="429"/>
                  </a:cubicBezTo>
                  <a:cubicBezTo>
                    <a:pt x="1742" y="429"/>
                    <a:pt x="1742" y="429"/>
                    <a:pt x="1742" y="450"/>
                  </a:cubicBezTo>
                  <a:lnTo>
                    <a:pt x="1721" y="470"/>
                  </a:lnTo>
                  <a:cubicBezTo>
                    <a:pt x="1701" y="491"/>
                    <a:pt x="1701" y="470"/>
                    <a:pt x="1680" y="470"/>
                  </a:cubicBezTo>
                  <a:cubicBezTo>
                    <a:pt x="1680" y="491"/>
                    <a:pt x="1660" y="491"/>
                    <a:pt x="1660" y="491"/>
                  </a:cubicBezTo>
                  <a:cubicBezTo>
                    <a:pt x="1660" y="511"/>
                    <a:pt x="1660" y="532"/>
                    <a:pt x="1660" y="532"/>
                  </a:cubicBezTo>
                  <a:cubicBezTo>
                    <a:pt x="1639" y="532"/>
                    <a:pt x="1619" y="532"/>
                    <a:pt x="1619" y="552"/>
                  </a:cubicBezTo>
                  <a:lnTo>
                    <a:pt x="1619" y="573"/>
                  </a:lnTo>
                  <a:lnTo>
                    <a:pt x="1639" y="593"/>
                  </a:lnTo>
                  <a:cubicBezTo>
                    <a:pt x="1660" y="593"/>
                    <a:pt x="1660" y="614"/>
                    <a:pt x="1660" y="614"/>
                  </a:cubicBezTo>
                  <a:cubicBezTo>
                    <a:pt x="1660" y="634"/>
                    <a:pt x="1660" y="655"/>
                    <a:pt x="1660" y="655"/>
                  </a:cubicBezTo>
                  <a:cubicBezTo>
                    <a:pt x="1680" y="675"/>
                    <a:pt x="1680" y="696"/>
                    <a:pt x="1701" y="696"/>
                  </a:cubicBezTo>
                  <a:cubicBezTo>
                    <a:pt x="1701" y="716"/>
                    <a:pt x="1701" y="737"/>
                    <a:pt x="1701" y="757"/>
                  </a:cubicBezTo>
                  <a:cubicBezTo>
                    <a:pt x="1701" y="778"/>
                    <a:pt x="1721" y="798"/>
                    <a:pt x="1701" y="798"/>
                  </a:cubicBezTo>
                  <a:cubicBezTo>
                    <a:pt x="1701" y="819"/>
                    <a:pt x="1680" y="819"/>
                    <a:pt x="1680" y="819"/>
                  </a:cubicBezTo>
                  <a:lnTo>
                    <a:pt x="1660" y="839"/>
                  </a:lnTo>
                  <a:cubicBezTo>
                    <a:pt x="1660" y="860"/>
                    <a:pt x="1639" y="880"/>
                    <a:pt x="1639" y="880"/>
                  </a:cubicBezTo>
                  <a:cubicBezTo>
                    <a:pt x="1639" y="900"/>
                    <a:pt x="1660" y="900"/>
                    <a:pt x="1660" y="921"/>
                  </a:cubicBezTo>
                  <a:lnTo>
                    <a:pt x="1660" y="942"/>
                  </a:lnTo>
                  <a:cubicBezTo>
                    <a:pt x="1660" y="962"/>
                    <a:pt x="1639" y="982"/>
                    <a:pt x="1639" y="1003"/>
                  </a:cubicBezTo>
                  <a:lnTo>
                    <a:pt x="1598" y="1024"/>
                  </a:lnTo>
                  <a:cubicBezTo>
                    <a:pt x="1578" y="1024"/>
                    <a:pt x="1578" y="1024"/>
                    <a:pt x="1557" y="1024"/>
                  </a:cubicBezTo>
                  <a:cubicBezTo>
                    <a:pt x="1557" y="1024"/>
                    <a:pt x="1557" y="1003"/>
                    <a:pt x="1537" y="1003"/>
                  </a:cubicBezTo>
                  <a:lnTo>
                    <a:pt x="1496" y="1003"/>
                  </a:lnTo>
                  <a:lnTo>
                    <a:pt x="1475" y="1003"/>
                  </a:lnTo>
                  <a:cubicBezTo>
                    <a:pt x="1475" y="1003"/>
                    <a:pt x="1455" y="1003"/>
                    <a:pt x="1455" y="1024"/>
                  </a:cubicBezTo>
                  <a:cubicBezTo>
                    <a:pt x="1455" y="1024"/>
                    <a:pt x="1455" y="1044"/>
                    <a:pt x="1475" y="1044"/>
                  </a:cubicBezTo>
                  <a:lnTo>
                    <a:pt x="1496" y="1064"/>
                  </a:lnTo>
                  <a:lnTo>
                    <a:pt x="1516" y="1085"/>
                  </a:lnTo>
                  <a:lnTo>
                    <a:pt x="1537" y="1106"/>
                  </a:lnTo>
                  <a:cubicBezTo>
                    <a:pt x="1557" y="1126"/>
                    <a:pt x="1557" y="1126"/>
                    <a:pt x="1557" y="1146"/>
                  </a:cubicBezTo>
                  <a:lnTo>
                    <a:pt x="1557" y="1167"/>
                  </a:lnTo>
                  <a:cubicBezTo>
                    <a:pt x="1557" y="1188"/>
                    <a:pt x="1537" y="1188"/>
                    <a:pt x="1537" y="1208"/>
                  </a:cubicBezTo>
                  <a:lnTo>
                    <a:pt x="1496" y="1208"/>
                  </a:lnTo>
                  <a:cubicBezTo>
                    <a:pt x="1475" y="1208"/>
                    <a:pt x="1475" y="1188"/>
                    <a:pt x="1455" y="1188"/>
                  </a:cubicBezTo>
                  <a:lnTo>
                    <a:pt x="1434" y="1188"/>
                  </a:lnTo>
                  <a:lnTo>
                    <a:pt x="1434" y="1208"/>
                  </a:lnTo>
                  <a:cubicBezTo>
                    <a:pt x="1414" y="1228"/>
                    <a:pt x="1414" y="1249"/>
                    <a:pt x="1434" y="1249"/>
                  </a:cubicBezTo>
                  <a:lnTo>
                    <a:pt x="1434" y="1270"/>
                  </a:lnTo>
                  <a:cubicBezTo>
                    <a:pt x="1434" y="1290"/>
                    <a:pt x="1434" y="1310"/>
                    <a:pt x="1434" y="1310"/>
                  </a:cubicBezTo>
                  <a:cubicBezTo>
                    <a:pt x="1434" y="1331"/>
                    <a:pt x="1434" y="1331"/>
                    <a:pt x="1414" y="1331"/>
                  </a:cubicBezTo>
                  <a:cubicBezTo>
                    <a:pt x="1414" y="1352"/>
                    <a:pt x="1414" y="1352"/>
                    <a:pt x="1414" y="1372"/>
                  </a:cubicBezTo>
                  <a:lnTo>
                    <a:pt x="1414" y="1392"/>
                  </a:lnTo>
                  <a:cubicBezTo>
                    <a:pt x="1414" y="1413"/>
                    <a:pt x="1414" y="1413"/>
                    <a:pt x="1414" y="1434"/>
                  </a:cubicBezTo>
                  <a:lnTo>
                    <a:pt x="1414" y="1454"/>
                  </a:lnTo>
                  <a:cubicBezTo>
                    <a:pt x="1414" y="1474"/>
                    <a:pt x="1414" y="1495"/>
                    <a:pt x="1414" y="1495"/>
                  </a:cubicBezTo>
                  <a:cubicBezTo>
                    <a:pt x="1393" y="1516"/>
                    <a:pt x="1393" y="1516"/>
                    <a:pt x="1373" y="1516"/>
                  </a:cubicBezTo>
                  <a:lnTo>
                    <a:pt x="1352" y="1516"/>
                  </a:lnTo>
                  <a:lnTo>
                    <a:pt x="1332" y="1495"/>
                  </a:lnTo>
                  <a:cubicBezTo>
                    <a:pt x="1311" y="1495"/>
                    <a:pt x="1311" y="1495"/>
                    <a:pt x="1311" y="1495"/>
                  </a:cubicBezTo>
                  <a:cubicBezTo>
                    <a:pt x="1291" y="1495"/>
                    <a:pt x="1270" y="1495"/>
                    <a:pt x="1250" y="1495"/>
                  </a:cubicBezTo>
                  <a:lnTo>
                    <a:pt x="1229" y="1495"/>
                  </a:lnTo>
                  <a:cubicBezTo>
                    <a:pt x="1209" y="1516"/>
                    <a:pt x="1209" y="1516"/>
                    <a:pt x="1209" y="1516"/>
                  </a:cubicBezTo>
                  <a:cubicBezTo>
                    <a:pt x="1188" y="1516"/>
                    <a:pt x="1168" y="1536"/>
                    <a:pt x="1168" y="1536"/>
                  </a:cubicBezTo>
                  <a:lnTo>
                    <a:pt x="1147" y="1556"/>
                  </a:lnTo>
                  <a:lnTo>
                    <a:pt x="1147" y="1576"/>
                  </a:lnTo>
                  <a:cubicBezTo>
                    <a:pt x="1168" y="1576"/>
                    <a:pt x="1168" y="1597"/>
                    <a:pt x="1168" y="1597"/>
                  </a:cubicBezTo>
                  <a:cubicBezTo>
                    <a:pt x="1168" y="1597"/>
                    <a:pt x="1168" y="1618"/>
                    <a:pt x="1147" y="1618"/>
                  </a:cubicBezTo>
                  <a:cubicBezTo>
                    <a:pt x="1147" y="1618"/>
                    <a:pt x="1127" y="1618"/>
                    <a:pt x="1106" y="1618"/>
                  </a:cubicBezTo>
                  <a:lnTo>
                    <a:pt x="1086" y="1618"/>
                  </a:lnTo>
                  <a:cubicBezTo>
                    <a:pt x="1065" y="1618"/>
                    <a:pt x="1045" y="1597"/>
                    <a:pt x="1045" y="1618"/>
                  </a:cubicBezTo>
                  <a:lnTo>
                    <a:pt x="1025" y="1618"/>
                  </a:lnTo>
                  <a:cubicBezTo>
                    <a:pt x="1025" y="1638"/>
                    <a:pt x="1025" y="1638"/>
                    <a:pt x="1025" y="1658"/>
                  </a:cubicBezTo>
                  <a:cubicBezTo>
                    <a:pt x="1025" y="1658"/>
                    <a:pt x="1004" y="1658"/>
                    <a:pt x="1004" y="1679"/>
                  </a:cubicBezTo>
                  <a:lnTo>
                    <a:pt x="983" y="1679"/>
                  </a:lnTo>
                  <a:lnTo>
                    <a:pt x="963" y="1700"/>
                  </a:lnTo>
                  <a:cubicBezTo>
                    <a:pt x="963" y="1720"/>
                    <a:pt x="963" y="1740"/>
                    <a:pt x="963" y="1761"/>
                  </a:cubicBezTo>
                  <a:lnTo>
                    <a:pt x="963" y="1782"/>
                  </a:lnTo>
                  <a:lnTo>
                    <a:pt x="983" y="1802"/>
                  </a:lnTo>
                  <a:cubicBezTo>
                    <a:pt x="983" y="1822"/>
                    <a:pt x="983" y="1843"/>
                    <a:pt x="983" y="1864"/>
                  </a:cubicBezTo>
                  <a:lnTo>
                    <a:pt x="983" y="1884"/>
                  </a:lnTo>
                  <a:cubicBezTo>
                    <a:pt x="963" y="1904"/>
                    <a:pt x="963" y="1925"/>
                    <a:pt x="963" y="1925"/>
                  </a:cubicBezTo>
                  <a:cubicBezTo>
                    <a:pt x="943" y="1925"/>
                    <a:pt x="943" y="1946"/>
                    <a:pt x="922" y="1946"/>
                  </a:cubicBezTo>
                  <a:cubicBezTo>
                    <a:pt x="922" y="1946"/>
                    <a:pt x="901" y="1946"/>
                    <a:pt x="881" y="1946"/>
                  </a:cubicBezTo>
                  <a:cubicBezTo>
                    <a:pt x="861" y="1946"/>
                    <a:pt x="840" y="1966"/>
                    <a:pt x="819" y="1966"/>
                  </a:cubicBezTo>
                  <a:cubicBezTo>
                    <a:pt x="799" y="1966"/>
                    <a:pt x="779" y="1986"/>
                    <a:pt x="758" y="1986"/>
                  </a:cubicBezTo>
                  <a:cubicBezTo>
                    <a:pt x="737" y="1986"/>
                    <a:pt x="717" y="1986"/>
                    <a:pt x="717" y="1986"/>
                  </a:cubicBezTo>
                  <a:cubicBezTo>
                    <a:pt x="697" y="1986"/>
                    <a:pt x="676" y="1966"/>
                    <a:pt x="676" y="1986"/>
                  </a:cubicBezTo>
                  <a:cubicBezTo>
                    <a:pt x="655" y="1986"/>
                    <a:pt x="655" y="2007"/>
                    <a:pt x="655" y="2007"/>
                  </a:cubicBezTo>
                  <a:cubicBezTo>
                    <a:pt x="635" y="2007"/>
                    <a:pt x="635" y="2028"/>
                    <a:pt x="635" y="2028"/>
                  </a:cubicBezTo>
                  <a:cubicBezTo>
                    <a:pt x="615" y="2028"/>
                    <a:pt x="594" y="2007"/>
                    <a:pt x="594" y="2007"/>
                  </a:cubicBezTo>
                  <a:cubicBezTo>
                    <a:pt x="573" y="2007"/>
                    <a:pt x="553" y="1986"/>
                    <a:pt x="533" y="1986"/>
                  </a:cubicBezTo>
                  <a:cubicBezTo>
                    <a:pt x="533" y="1986"/>
                    <a:pt x="512" y="1986"/>
                    <a:pt x="491" y="1986"/>
                  </a:cubicBezTo>
                  <a:cubicBezTo>
                    <a:pt x="491" y="1986"/>
                    <a:pt x="471" y="1986"/>
                    <a:pt x="451" y="2007"/>
                  </a:cubicBezTo>
                  <a:lnTo>
                    <a:pt x="430" y="2028"/>
                  </a:lnTo>
                  <a:cubicBezTo>
                    <a:pt x="409" y="2028"/>
                    <a:pt x="369" y="2028"/>
                    <a:pt x="369" y="2028"/>
                  </a:cubicBezTo>
                  <a:cubicBezTo>
                    <a:pt x="348" y="2028"/>
                    <a:pt x="327" y="2007"/>
                    <a:pt x="327" y="2007"/>
                  </a:cubicBezTo>
                  <a:cubicBezTo>
                    <a:pt x="307" y="2007"/>
                    <a:pt x="287" y="1986"/>
                    <a:pt x="287" y="1986"/>
                  </a:cubicBezTo>
                  <a:cubicBezTo>
                    <a:pt x="267" y="1966"/>
                    <a:pt x="246" y="1966"/>
                    <a:pt x="246" y="1966"/>
                  </a:cubicBezTo>
                  <a:cubicBezTo>
                    <a:pt x="225" y="1946"/>
                    <a:pt x="185" y="1946"/>
                    <a:pt x="164" y="1925"/>
                  </a:cubicBezTo>
                  <a:lnTo>
                    <a:pt x="143" y="1946"/>
                  </a:lnTo>
                  <a:lnTo>
                    <a:pt x="143" y="1946"/>
                  </a:lnTo>
                  <a:cubicBezTo>
                    <a:pt x="123" y="1925"/>
                    <a:pt x="123" y="1925"/>
                    <a:pt x="123" y="1904"/>
                  </a:cubicBezTo>
                  <a:cubicBezTo>
                    <a:pt x="123" y="1904"/>
                    <a:pt x="123" y="1904"/>
                    <a:pt x="123" y="1884"/>
                  </a:cubicBezTo>
                  <a:cubicBezTo>
                    <a:pt x="143" y="1884"/>
                    <a:pt x="143" y="1864"/>
                    <a:pt x="143" y="1864"/>
                  </a:cubicBezTo>
                  <a:cubicBezTo>
                    <a:pt x="164" y="1843"/>
                    <a:pt x="205" y="1822"/>
                    <a:pt x="205" y="1802"/>
                  </a:cubicBezTo>
                  <a:cubicBezTo>
                    <a:pt x="225" y="1802"/>
                    <a:pt x="246" y="1761"/>
                    <a:pt x="246" y="1740"/>
                  </a:cubicBezTo>
                  <a:cubicBezTo>
                    <a:pt x="246" y="1740"/>
                    <a:pt x="267" y="1720"/>
                    <a:pt x="267" y="1700"/>
                  </a:cubicBezTo>
                  <a:cubicBezTo>
                    <a:pt x="267" y="1679"/>
                    <a:pt x="267" y="1658"/>
                    <a:pt x="267" y="1638"/>
                  </a:cubicBezTo>
                  <a:lnTo>
                    <a:pt x="246" y="1597"/>
                  </a:lnTo>
                  <a:cubicBezTo>
                    <a:pt x="246" y="1597"/>
                    <a:pt x="225" y="1576"/>
                    <a:pt x="205" y="1576"/>
                  </a:cubicBezTo>
                  <a:cubicBezTo>
                    <a:pt x="185" y="1556"/>
                    <a:pt x="143" y="1556"/>
                    <a:pt x="143" y="1556"/>
                  </a:cubicBezTo>
                  <a:cubicBezTo>
                    <a:pt x="123" y="1556"/>
                    <a:pt x="103" y="1556"/>
                    <a:pt x="103" y="1556"/>
                  </a:cubicBezTo>
                  <a:cubicBezTo>
                    <a:pt x="103" y="1536"/>
                    <a:pt x="82" y="1516"/>
                    <a:pt x="82" y="1495"/>
                  </a:cubicBezTo>
                  <a:cubicBezTo>
                    <a:pt x="82" y="1495"/>
                    <a:pt x="61" y="1454"/>
                    <a:pt x="61" y="1434"/>
                  </a:cubicBezTo>
                  <a:cubicBezTo>
                    <a:pt x="61" y="1434"/>
                    <a:pt x="61" y="1392"/>
                    <a:pt x="61" y="1372"/>
                  </a:cubicBezTo>
                  <a:cubicBezTo>
                    <a:pt x="61" y="1352"/>
                    <a:pt x="61" y="1331"/>
                    <a:pt x="41" y="1310"/>
                  </a:cubicBezTo>
                  <a:cubicBezTo>
                    <a:pt x="41" y="1310"/>
                    <a:pt x="41" y="1290"/>
                    <a:pt x="21" y="1270"/>
                  </a:cubicBezTo>
                  <a:cubicBezTo>
                    <a:pt x="21" y="1249"/>
                    <a:pt x="21" y="1228"/>
                    <a:pt x="21" y="1228"/>
                  </a:cubicBezTo>
                  <a:cubicBezTo>
                    <a:pt x="21" y="1228"/>
                    <a:pt x="21" y="1208"/>
                    <a:pt x="21" y="1188"/>
                  </a:cubicBezTo>
                  <a:cubicBezTo>
                    <a:pt x="21" y="1188"/>
                    <a:pt x="41" y="1188"/>
                    <a:pt x="41" y="1167"/>
                  </a:cubicBezTo>
                  <a:lnTo>
                    <a:pt x="61" y="1146"/>
                  </a:lnTo>
                  <a:cubicBezTo>
                    <a:pt x="61" y="1146"/>
                    <a:pt x="61" y="1126"/>
                    <a:pt x="61" y="1106"/>
                  </a:cubicBezTo>
                  <a:lnTo>
                    <a:pt x="41" y="1106"/>
                  </a:lnTo>
                  <a:cubicBezTo>
                    <a:pt x="41" y="1085"/>
                    <a:pt x="21" y="1085"/>
                    <a:pt x="21" y="1085"/>
                  </a:cubicBezTo>
                  <a:cubicBezTo>
                    <a:pt x="21" y="1064"/>
                    <a:pt x="0" y="1024"/>
                    <a:pt x="0" y="1024"/>
                  </a:cubicBezTo>
                  <a:cubicBezTo>
                    <a:pt x="0" y="1003"/>
                    <a:pt x="0" y="982"/>
                    <a:pt x="21" y="962"/>
                  </a:cubicBezTo>
                  <a:cubicBezTo>
                    <a:pt x="21" y="962"/>
                    <a:pt x="41" y="962"/>
                    <a:pt x="41" y="942"/>
                  </a:cubicBezTo>
                  <a:lnTo>
                    <a:pt x="41" y="921"/>
                  </a:lnTo>
                  <a:cubicBezTo>
                    <a:pt x="41" y="900"/>
                    <a:pt x="41" y="900"/>
                    <a:pt x="61" y="900"/>
                  </a:cubicBezTo>
                  <a:cubicBezTo>
                    <a:pt x="61" y="900"/>
                    <a:pt x="82" y="900"/>
                    <a:pt x="82" y="880"/>
                  </a:cubicBezTo>
                  <a:lnTo>
                    <a:pt x="103" y="880"/>
                  </a:lnTo>
                  <a:cubicBezTo>
                    <a:pt x="103" y="860"/>
                    <a:pt x="103" y="839"/>
                    <a:pt x="103" y="839"/>
                  </a:cubicBezTo>
                  <a:cubicBezTo>
                    <a:pt x="103" y="819"/>
                    <a:pt x="103" y="798"/>
                    <a:pt x="82" y="798"/>
                  </a:cubicBezTo>
                  <a:cubicBezTo>
                    <a:pt x="82" y="778"/>
                    <a:pt x="82" y="757"/>
                    <a:pt x="82" y="757"/>
                  </a:cubicBezTo>
                  <a:cubicBezTo>
                    <a:pt x="82" y="737"/>
                    <a:pt x="61" y="716"/>
                    <a:pt x="61" y="696"/>
                  </a:cubicBezTo>
                  <a:lnTo>
                    <a:pt x="82" y="655"/>
                  </a:lnTo>
                  <a:lnTo>
                    <a:pt x="82" y="655"/>
                  </a:lnTo>
                  <a:lnTo>
                    <a:pt x="82" y="655"/>
                  </a:lnTo>
                  <a:cubicBezTo>
                    <a:pt x="103" y="655"/>
                    <a:pt x="103" y="675"/>
                    <a:pt x="103" y="696"/>
                  </a:cubicBezTo>
                  <a:lnTo>
                    <a:pt x="123" y="696"/>
                  </a:lnTo>
                  <a:cubicBezTo>
                    <a:pt x="143" y="696"/>
                    <a:pt x="143" y="716"/>
                    <a:pt x="164" y="716"/>
                  </a:cubicBezTo>
                  <a:lnTo>
                    <a:pt x="185" y="716"/>
                  </a:lnTo>
                  <a:lnTo>
                    <a:pt x="205" y="716"/>
                  </a:lnTo>
                  <a:lnTo>
                    <a:pt x="225" y="737"/>
                  </a:lnTo>
                  <a:lnTo>
                    <a:pt x="225" y="757"/>
                  </a:lnTo>
                  <a:cubicBezTo>
                    <a:pt x="225" y="778"/>
                    <a:pt x="246" y="778"/>
                    <a:pt x="246" y="778"/>
                  </a:cubicBezTo>
                  <a:lnTo>
                    <a:pt x="267" y="778"/>
                  </a:lnTo>
                  <a:cubicBezTo>
                    <a:pt x="287" y="778"/>
                    <a:pt x="287" y="757"/>
                    <a:pt x="287" y="757"/>
                  </a:cubicBezTo>
                  <a:lnTo>
                    <a:pt x="307" y="757"/>
                  </a:lnTo>
                  <a:lnTo>
                    <a:pt x="327" y="737"/>
                  </a:lnTo>
                  <a:cubicBezTo>
                    <a:pt x="348" y="737"/>
                    <a:pt x="348" y="716"/>
                    <a:pt x="348" y="716"/>
                  </a:cubicBezTo>
                  <a:cubicBezTo>
                    <a:pt x="348" y="716"/>
                    <a:pt x="348" y="696"/>
                    <a:pt x="369" y="675"/>
                  </a:cubicBezTo>
                  <a:cubicBezTo>
                    <a:pt x="369" y="675"/>
                    <a:pt x="348" y="655"/>
                    <a:pt x="369" y="655"/>
                  </a:cubicBezTo>
                  <a:cubicBezTo>
                    <a:pt x="369" y="634"/>
                    <a:pt x="369" y="614"/>
                    <a:pt x="389" y="614"/>
                  </a:cubicBezTo>
                  <a:cubicBezTo>
                    <a:pt x="389" y="614"/>
                    <a:pt x="389" y="614"/>
                    <a:pt x="409" y="614"/>
                  </a:cubicBezTo>
                  <a:cubicBezTo>
                    <a:pt x="409" y="614"/>
                    <a:pt x="430" y="593"/>
                    <a:pt x="451" y="593"/>
                  </a:cubicBezTo>
                  <a:lnTo>
                    <a:pt x="471" y="573"/>
                  </a:lnTo>
                  <a:cubicBezTo>
                    <a:pt x="491" y="573"/>
                    <a:pt x="512" y="573"/>
                    <a:pt x="512" y="573"/>
                  </a:cubicBezTo>
                  <a:cubicBezTo>
                    <a:pt x="533" y="573"/>
                    <a:pt x="553" y="552"/>
                    <a:pt x="553" y="552"/>
                  </a:cubicBezTo>
                  <a:cubicBezTo>
                    <a:pt x="553" y="532"/>
                    <a:pt x="573" y="532"/>
                    <a:pt x="573" y="532"/>
                  </a:cubicBezTo>
                  <a:cubicBezTo>
                    <a:pt x="573" y="511"/>
                    <a:pt x="573" y="511"/>
                    <a:pt x="573" y="511"/>
                  </a:cubicBezTo>
                  <a:cubicBezTo>
                    <a:pt x="573" y="491"/>
                    <a:pt x="573" y="491"/>
                    <a:pt x="594" y="470"/>
                  </a:cubicBezTo>
                  <a:cubicBezTo>
                    <a:pt x="594" y="470"/>
                    <a:pt x="594" y="450"/>
                    <a:pt x="594" y="429"/>
                  </a:cubicBezTo>
                  <a:lnTo>
                    <a:pt x="594" y="409"/>
                  </a:lnTo>
                  <a:cubicBezTo>
                    <a:pt x="594" y="388"/>
                    <a:pt x="615" y="368"/>
                    <a:pt x="615" y="368"/>
                  </a:cubicBezTo>
                  <a:cubicBezTo>
                    <a:pt x="615" y="347"/>
                    <a:pt x="615" y="327"/>
                    <a:pt x="615" y="327"/>
                  </a:cubicBezTo>
                  <a:cubicBezTo>
                    <a:pt x="615" y="327"/>
                    <a:pt x="635" y="327"/>
                    <a:pt x="635" y="306"/>
                  </a:cubicBezTo>
                  <a:cubicBezTo>
                    <a:pt x="655" y="306"/>
                    <a:pt x="676" y="327"/>
                    <a:pt x="676" y="306"/>
                  </a:cubicBezTo>
                  <a:cubicBezTo>
                    <a:pt x="697" y="306"/>
                    <a:pt x="697" y="306"/>
                    <a:pt x="717" y="306"/>
                  </a:cubicBezTo>
                  <a:cubicBezTo>
                    <a:pt x="717" y="286"/>
                    <a:pt x="737" y="286"/>
                    <a:pt x="737" y="265"/>
                  </a:cubicBezTo>
                  <a:lnTo>
                    <a:pt x="758" y="245"/>
                  </a:lnTo>
                  <a:cubicBezTo>
                    <a:pt x="779" y="245"/>
                    <a:pt x="779" y="245"/>
                    <a:pt x="799" y="245"/>
                  </a:cubicBezTo>
                  <a:lnTo>
                    <a:pt x="840" y="245"/>
                  </a:lnTo>
                  <a:lnTo>
                    <a:pt x="861" y="245"/>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6" name="Freeform 653">
              <a:extLst>
                <a:ext uri="{FF2B5EF4-FFF2-40B4-BE49-F238E27FC236}">
                  <a16:creationId xmlns:a16="http://schemas.microsoft.com/office/drawing/2014/main" id="{3182C84C-24F5-2541-8E8C-E8C55850528A}"/>
                </a:ext>
              </a:extLst>
            </p:cNvPr>
            <p:cNvSpPr>
              <a:spLocks noChangeArrowheads="1"/>
            </p:cNvSpPr>
            <p:nvPr/>
          </p:nvSpPr>
          <p:spPr bwMode="auto">
            <a:xfrm>
              <a:off x="2351088" y="5106988"/>
              <a:ext cx="819150" cy="1033462"/>
            </a:xfrm>
            <a:custGeom>
              <a:avLst/>
              <a:gdLst>
                <a:gd name="T0" fmla="*/ 2213 w 2276"/>
                <a:gd name="T1" fmla="*/ 1066 h 2870"/>
                <a:gd name="T2" fmla="*/ 2173 w 2276"/>
                <a:gd name="T3" fmla="*/ 1229 h 2870"/>
                <a:gd name="T4" fmla="*/ 2070 w 2276"/>
                <a:gd name="T5" fmla="*/ 1454 h 2870"/>
                <a:gd name="T6" fmla="*/ 1947 w 2276"/>
                <a:gd name="T7" fmla="*/ 1639 h 2870"/>
                <a:gd name="T8" fmla="*/ 1865 w 2276"/>
                <a:gd name="T9" fmla="*/ 1762 h 2870"/>
                <a:gd name="T10" fmla="*/ 1783 w 2276"/>
                <a:gd name="T11" fmla="*/ 1905 h 2870"/>
                <a:gd name="T12" fmla="*/ 1660 w 2276"/>
                <a:gd name="T13" fmla="*/ 1987 h 2870"/>
                <a:gd name="T14" fmla="*/ 1537 w 2276"/>
                <a:gd name="T15" fmla="*/ 1926 h 2870"/>
                <a:gd name="T16" fmla="*/ 1435 w 2276"/>
                <a:gd name="T17" fmla="*/ 2110 h 2870"/>
                <a:gd name="T18" fmla="*/ 1476 w 2276"/>
                <a:gd name="T19" fmla="*/ 2254 h 2870"/>
                <a:gd name="T20" fmla="*/ 1558 w 2276"/>
                <a:gd name="T21" fmla="*/ 2397 h 2870"/>
                <a:gd name="T22" fmla="*/ 1640 w 2276"/>
                <a:gd name="T23" fmla="*/ 2479 h 2870"/>
                <a:gd name="T24" fmla="*/ 1701 w 2276"/>
                <a:gd name="T25" fmla="*/ 2684 h 2870"/>
                <a:gd name="T26" fmla="*/ 1660 w 2276"/>
                <a:gd name="T27" fmla="*/ 2745 h 2870"/>
                <a:gd name="T28" fmla="*/ 1558 w 2276"/>
                <a:gd name="T29" fmla="*/ 2787 h 2870"/>
                <a:gd name="T30" fmla="*/ 1373 w 2276"/>
                <a:gd name="T31" fmla="*/ 2745 h 2870"/>
                <a:gd name="T32" fmla="*/ 1291 w 2276"/>
                <a:gd name="T33" fmla="*/ 2827 h 2870"/>
                <a:gd name="T34" fmla="*/ 1189 w 2276"/>
                <a:gd name="T35" fmla="*/ 2848 h 2870"/>
                <a:gd name="T36" fmla="*/ 1107 w 2276"/>
                <a:gd name="T37" fmla="*/ 2705 h 2870"/>
                <a:gd name="T38" fmla="*/ 984 w 2276"/>
                <a:gd name="T39" fmla="*/ 2643 h 2870"/>
                <a:gd name="T40" fmla="*/ 963 w 2276"/>
                <a:gd name="T41" fmla="*/ 2520 h 2870"/>
                <a:gd name="T42" fmla="*/ 800 w 2276"/>
                <a:gd name="T43" fmla="*/ 2520 h 2870"/>
                <a:gd name="T44" fmla="*/ 656 w 2276"/>
                <a:gd name="T45" fmla="*/ 2561 h 2870"/>
                <a:gd name="T46" fmla="*/ 512 w 2276"/>
                <a:gd name="T47" fmla="*/ 2541 h 2870"/>
                <a:gd name="T48" fmla="*/ 369 w 2276"/>
                <a:gd name="T49" fmla="*/ 2581 h 2870"/>
                <a:gd name="T50" fmla="*/ 184 w 2276"/>
                <a:gd name="T51" fmla="*/ 2602 h 2870"/>
                <a:gd name="T52" fmla="*/ 164 w 2276"/>
                <a:gd name="T53" fmla="*/ 2581 h 2870"/>
                <a:gd name="T54" fmla="*/ 184 w 2276"/>
                <a:gd name="T55" fmla="*/ 2377 h 2870"/>
                <a:gd name="T56" fmla="*/ 266 w 2276"/>
                <a:gd name="T57" fmla="*/ 2295 h 2870"/>
                <a:gd name="T58" fmla="*/ 410 w 2276"/>
                <a:gd name="T59" fmla="*/ 2233 h 2870"/>
                <a:gd name="T60" fmla="*/ 348 w 2276"/>
                <a:gd name="T61" fmla="*/ 2131 h 2870"/>
                <a:gd name="T62" fmla="*/ 308 w 2276"/>
                <a:gd name="T63" fmla="*/ 2008 h 2870"/>
                <a:gd name="T64" fmla="*/ 205 w 2276"/>
                <a:gd name="T65" fmla="*/ 1885 h 2870"/>
                <a:gd name="T66" fmla="*/ 103 w 2276"/>
                <a:gd name="T67" fmla="*/ 1721 h 2870"/>
                <a:gd name="T68" fmla="*/ 0 w 2276"/>
                <a:gd name="T69" fmla="*/ 1578 h 2870"/>
                <a:gd name="T70" fmla="*/ 226 w 2276"/>
                <a:gd name="T71" fmla="*/ 1660 h 2870"/>
                <a:gd name="T72" fmla="*/ 451 w 2276"/>
                <a:gd name="T73" fmla="*/ 1639 h 2870"/>
                <a:gd name="T74" fmla="*/ 615 w 2276"/>
                <a:gd name="T75" fmla="*/ 1618 h 2870"/>
                <a:gd name="T76" fmla="*/ 840 w 2276"/>
                <a:gd name="T77" fmla="*/ 1516 h 2870"/>
                <a:gd name="T78" fmla="*/ 820 w 2276"/>
                <a:gd name="T79" fmla="*/ 1332 h 2870"/>
                <a:gd name="T80" fmla="*/ 902 w 2276"/>
                <a:gd name="T81" fmla="*/ 1250 h 2870"/>
                <a:gd name="T82" fmla="*/ 1004 w 2276"/>
                <a:gd name="T83" fmla="*/ 1208 h 2870"/>
                <a:gd name="T84" fmla="*/ 1107 w 2276"/>
                <a:gd name="T85" fmla="*/ 1127 h 2870"/>
                <a:gd name="T86" fmla="*/ 1271 w 2276"/>
                <a:gd name="T87" fmla="*/ 1127 h 2870"/>
                <a:gd name="T88" fmla="*/ 1271 w 2276"/>
                <a:gd name="T89" fmla="*/ 963 h 2870"/>
                <a:gd name="T90" fmla="*/ 1291 w 2276"/>
                <a:gd name="T91" fmla="*/ 820 h 2870"/>
                <a:gd name="T92" fmla="*/ 1414 w 2276"/>
                <a:gd name="T93" fmla="*/ 778 h 2870"/>
                <a:gd name="T94" fmla="*/ 1312 w 2276"/>
                <a:gd name="T95" fmla="*/ 656 h 2870"/>
                <a:gd name="T96" fmla="*/ 1455 w 2276"/>
                <a:gd name="T97" fmla="*/ 656 h 2870"/>
                <a:gd name="T98" fmla="*/ 1517 w 2276"/>
                <a:gd name="T99" fmla="*/ 471 h 2870"/>
                <a:gd name="T100" fmla="*/ 1517 w 2276"/>
                <a:gd name="T101" fmla="*/ 287 h 2870"/>
                <a:gd name="T102" fmla="*/ 1517 w 2276"/>
                <a:gd name="T103" fmla="*/ 164 h 2870"/>
                <a:gd name="T104" fmla="*/ 1619 w 2276"/>
                <a:gd name="T105" fmla="*/ 61 h 2870"/>
                <a:gd name="T106" fmla="*/ 1783 w 2276"/>
                <a:gd name="T107" fmla="*/ 0 h 2870"/>
                <a:gd name="T108" fmla="*/ 1885 w 2276"/>
                <a:gd name="T109" fmla="*/ 41 h 2870"/>
                <a:gd name="T110" fmla="*/ 1701 w 2276"/>
                <a:gd name="T111" fmla="*/ 143 h 2870"/>
                <a:gd name="T112" fmla="*/ 1803 w 2276"/>
                <a:gd name="T113" fmla="*/ 246 h 2870"/>
                <a:gd name="T114" fmla="*/ 1906 w 2276"/>
                <a:gd name="T115" fmla="*/ 369 h 2870"/>
                <a:gd name="T116" fmla="*/ 1865 w 2276"/>
                <a:gd name="T117" fmla="*/ 532 h 2870"/>
                <a:gd name="T118" fmla="*/ 1906 w 2276"/>
                <a:gd name="T119" fmla="*/ 778 h 2870"/>
                <a:gd name="T120" fmla="*/ 2193 w 2276"/>
                <a:gd name="T121" fmla="*/ 963 h 2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76" h="2870">
                  <a:moveTo>
                    <a:pt x="2275" y="1004"/>
                  </a:moveTo>
                  <a:lnTo>
                    <a:pt x="2275" y="1004"/>
                  </a:lnTo>
                  <a:lnTo>
                    <a:pt x="2255" y="1004"/>
                  </a:lnTo>
                  <a:cubicBezTo>
                    <a:pt x="2255" y="1004"/>
                    <a:pt x="2255" y="1024"/>
                    <a:pt x="2255" y="1045"/>
                  </a:cubicBezTo>
                  <a:cubicBezTo>
                    <a:pt x="2234" y="1045"/>
                    <a:pt x="2234" y="1066"/>
                    <a:pt x="2213" y="1066"/>
                  </a:cubicBezTo>
                  <a:cubicBezTo>
                    <a:pt x="2213" y="1066"/>
                    <a:pt x="2193" y="1066"/>
                    <a:pt x="2193" y="1086"/>
                  </a:cubicBezTo>
                  <a:cubicBezTo>
                    <a:pt x="2173" y="1086"/>
                    <a:pt x="2152" y="1086"/>
                    <a:pt x="2152" y="1106"/>
                  </a:cubicBezTo>
                  <a:lnTo>
                    <a:pt x="2152" y="1127"/>
                  </a:lnTo>
                  <a:cubicBezTo>
                    <a:pt x="2152" y="1148"/>
                    <a:pt x="2152" y="1168"/>
                    <a:pt x="2173" y="1188"/>
                  </a:cubicBezTo>
                  <a:lnTo>
                    <a:pt x="2173" y="1229"/>
                  </a:lnTo>
                  <a:cubicBezTo>
                    <a:pt x="2173" y="1229"/>
                    <a:pt x="2193" y="1229"/>
                    <a:pt x="2193" y="1250"/>
                  </a:cubicBezTo>
                  <a:cubicBezTo>
                    <a:pt x="2213" y="1250"/>
                    <a:pt x="2193" y="1270"/>
                    <a:pt x="2193" y="1270"/>
                  </a:cubicBezTo>
                  <a:cubicBezTo>
                    <a:pt x="2173" y="1290"/>
                    <a:pt x="2152" y="1332"/>
                    <a:pt x="2152" y="1332"/>
                  </a:cubicBezTo>
                  <a:cubicBezTo>
                    <a:pt x="2131" y="1352"/>
                    <a:pt x="2111" y="1372"/>
                    <a:pt x="2091" y="1393"/>
                  </a:cubicBezTo>
                  <a:cubicBezTo>
                    <a:pt x="2091" y="1393"/>
                    <a:pt x="2070" y="1434"/>
                    <a:pt x="2070" y="1454"/>
                  </a:cubicBezTo>
                  <a:cubicBezTo>
                    <a:pt x="2049" y="1454"/>
                    <a:pt x="2049" y="1475"/>
                    <a:pt x="2029" y="1475"/>
                  </a:cubicBezTo>
                  <a:cubicBezTo>
                    <a:pt x="2029" y="1496"/>
                    <a:pt x="2009" y="1516"/>
                    <a:pt x="2009" y="1516"/>
                  </a:cubicBezTo>
                  <a:cubicBezTo>
                    <a:pt x="2009" y="1536"/>
                    <a:pt x="1988" y="1557"/>
                    <a:pt x="1988" y="1578"/>
                  </a:cubicBezTo>
                  <a:lnTo>
                    <a:pt x="1967" y="1598"/>
                  </a:lnTo>
                  <a:cubicBezTo>
                    <a:pt x="1967" y="1618"/>
                    <a:pt x="1947" y="1639"/>
                    <a:pt x="1947" y="1639"/>
                  </a:cubicBezTo>
                  <a:cubicBezTo>
                    <a:pt x="1947" y="1639"/>
                    <a:pt x="1947" y="1660"/>
                    <a:pt x="1947" y="1680"/>
                  </a:cubicBezTo>
                  <a:lnTo>
                    <a:pt x="1927" y="1700"/>
                  </a:lnTo>
                  <a:cubicBezTo>
                    <a:pt x="1927" y="1721"/>
                    <a:pt x="1927" y="1721"/>
                    <a:pt x="1906" y="1742"/>
                  </a:cubicBezTo>
                  <a:cubicBezTo>
                    <a:pt x="1906" y="1742"/>
                    <a:pt x="1906" y="1742"/>
                    <a:pt x="1885" y="1742"/>
                  </a:cubicBezTo>
                  <a:lnTo>
                    <a:pt x="1865" y="1762"/>
                  </a:lnTo>
                  <a:cubicBezTo>
                    <a:pt x="1865" y="1762"/>
                    <a:pt x="1845" y="1782"/>
                    <a:pt x="1824" y="1803"/>
                  </a:cubicBezTo>
                  <a:cubicBezTo>
                    <a:pt x="1824" y="1803"/>
                    <a:pt x="1824" y="1824"/>
                    <a:pt x="1824" y="1844"/>
                  </a:cubicBezTo>
                  <a:cubicBezTo>
                    <a:pt x="1824" y="1844"/>
                    <a:pt x="1824" y="1864"/>
                    <a:pt x="1824" y="1885"/>
                  </a:cubicBezTo>
                  <a:lnTo>
                    <a:pt x="1803" y="1885"/>
                  </a:lnTo>
                  <a:cubicBezTo>
                    <a:pt x="1803" y="1905"/>
                    <a:pt x="1783" y="1905"/>
                    <a:pt x="1783" y="1905"/>
                  </a:cubicBezTo>
                  <a:cubicBezTo>
                    <a:pt x="1783" y="1926"/>
                    <a:pt x="1783" y="1946"/>
                    <a:pt x="1763" y="1946"/>
                  </a:cubicBezTo>
                  <a:cubicBezTo>
                    <a:pt x="1763" y="1946"/>
                    <a:pt x="1763" y="1946"/>
                    <a:pt x="1742" y="1946"/>
                  </a:cubicBezTo>
                  <a:cubicBezTo>
                    <a:pt x="1742" y="1967"/>
                    <a:pt x="1721" y="1967"/>
                    <a:pt x="1701" y="1967"/>
                  </a:cubicBezTo>
                  <a:cubicBezTo>
                    <a:pt x="1701" y="1967"/>
                    <a:pt x="1701" y="1967"/>
                    <a:pt x="1681" y="1967"/>
                  </a:cubicBezTo>
                  <a:lnTo>
                    <a:pt x="1660" y="1987"/>
                  </a:lnTo>
                  <a:cubicBezTo>
                    <a:pt x="1660" y="1987"/>
                    <a:pt x="1640" y="1987"/>
                    <a:pt x="1619" y="1987"/>
                  </a:cubicBezTo>
                  <a:lnTo>
                    <a:pt x="1599" y="1967"/>
                  </a:lnTo>
                  <a:cubicBezTo>
                    <a:pt x="1599" y="1967"/>
                    <a:pt x="1599" y="1946"/>
                    <a:pt x="1599" y="1926"/>
                  </a:cubicBezTo>
                  <a:lnTo>
                    <a:pt x="1578" y="1926"/>
                  </a:lnTo>
                  <a:cubicBezTo>
                    <a:pt x="1558" y="1926"/>
                    <a:pt x="1537" y="1926"/>
                    <a:pt x="1537" y="1926"/>
                  </a:cubicBezTo>
                  <a:cubicBezTo>
                    <a:pt x="1517" y="1946"/>
                    <a:pt x="1517" y="1967"/>
                    <a:pt x="1517" y="1967"/>
                  </a:cubicBezTo>
                  <a:cubicBezTo>
                    <a:pt x="1517" y="1987"/>
                    <a:pt x="1517" y="1987"/>
                    <a:pt x="1496" y="2008"/>
                  </a:cubicBezTo>
                  <a:cubicBezTo>
                    <a:pt x="1496" y="2008"/>
                    <a:pt x="1496" y="2028"/>
                    <a:pt x="1496" y="2049"/>
                  </a:cubicBezTo>
                  <a:lnTo>
                    <a:pt x="1476" y="2069"/>
                  </a:lnTo>
                  <a:cubicBezTo>
                    <a:pt x="1476" y="2090"/>
                    <a:pt x="1455" y="2110"/>
                    <a:pt x="1435" y="2110"/>
                  </a:cubicBezTo>
                  <a:lnTo>
                    <a:pt x="1435" y="2131"/>
                  </a:lnTo>
                  <a:cubicBezTo>
                    <a:pt x="1414" y="2151"/>
                    <a:pt x="1435" y="2172"/>
                    <a:pt x="1435" y="2172"/>
                  </a:cubicBezTo>
                  <a:cubicBezTo>
                    <a:pt x="1435" y="2192"/>
                    <a:pt x="1435" y="2192"/>
                    <a:pt x="1435" y="2213"/>
                  </a:cubicBezTo>
                  <a:cubicBezTo>
                    <a:pt x="1435" y="2213"/>
                    <a:pt x="1435" y="2233"/>
                    <a:pt x="1455" y="2254"/>
                  </a:cubicBezTo>
                  <a:lnTo>
                    <a:pt x="1476" y="2254"/>
                  </a:lnTo>
                  <a:cubicBezTo>
                    <a:pt x="1496" y="2254"/>
                    <a:pt x="1517" y="2254"/>
                    <a:pt x="1517" y="2254"/>
                  </a:cubicBezTo>
                  <a:cubicBezTo>
                    <a:pt x="1517" y="2274"/>
                    <a:pt x="1537" y="2295"/>
                    <a:pt x="1537" y="2295"/>
                  </a:cubicBezTo>
                  <a:cubicBezTo>
                    <a:pt x="1537" y="2315"/>
                    <a:pt x="1517" y="2336"/>
                    <a:pt x="1517" y="2336"/>
                  </a:cubicBezTo>
                  <a:cubicBezTo>
                    <a:pt x="1517" y="2356"/>
                    <a:pt x="1537" y="2356"/>
                    <a:pt x="1537" y="2377"/>
                  </a:cubicBezTo>
                  <a:cubicBezTo>
                    <a:pt x="1537" y="2377"/>
                    <a:pt x="1537" y="2377"/>
                    <a:pt x="1558" y="2397"/>
                  </a:cubicBezTo>
                  <a:cubicBezTo>
                    <a:pt x="1558" y="2397"/>
                    <a:pt x="1558" y="2397"/>
                    <a:pt x="1558" y="2418"/>
                  </a:cubicBezTo>
                  <a:lnTo>
                    <a:pt x="1558" y="2438"/>
                  </a:lnTo>
                  <a:cubicBezTo>
                    <a:pt x="1578" y="2438"/>
                    <a:pt x="1578" y="2438"/>
                    <a:pt x="1599" y="2438"/>
                  </a:cubicBezTo>
                  <a:cubicBezTo>
                    <a:pt x="1599" y="2438"/>
                    <a:pt x="1599" y="2438"/>
                    <a:pt x="1619" y="2438"/>
                  </a:cubicBezTo>
                  <a:cubicBezTo>
                    <a:pt x="1619" y="2459"/>
                    <a:pt x="1619" y="2459"/>
                    <a:pt x="1640" y="2479"/>
                  </a:cubicBezTo>
                  <a:lnTo>
                    <a:pt x="1640" y="2500"/>
                  </a:lnTo>
                  <a:cubicBezTo>
                    <a:pt x="1640" y="2520"/>
                    <a:pt x="1640" y="2541"/>
                    <a:pt x="1660" y="2541"/>
                  </a:cubicBezTo>
                  <a:cubicBezTo>
                    <a:pt x="1660" y="2561"/>
                    <a:pt x="1660" y="2581"/>
                    <a:pt x="1681" y="2602"/>
                  </a:cubicBezTo>
                  <a:lnTo>
                    <a:pt x="1701" y="2623"/>
                  </a:lnTo>
                  <a:cubicBezTo>
                    <a:pt x="1701" y="2643"/>
                    <a:pt x="1701" y="2663"/>
                    <a:pt x="1701" y="2684"/>
                  </a:cubicBezTo>
                  <a:cubicBezTo>
                    <a:pt x="1701" y="2684"/>
                    <a:pt x="1701" y="2725"/>
                    <a:pt x="1701" y="2745"/>
                  </a:cubicBezTo>
                  <a:cubicBezTo>
                    <a:pt x="1701" y="2745"/>
                    <a:pt x="1701" y="2745"/>
                    <a:pt x="1701" y="2766"/>
                  </a:cubicBezTo>
                  <a:lnTo>
                    <a:pt x="1681" y="2766"/>
                  </a:lnTo>
                  <a:lnTo>
                    <a:pt x="1660" y="2766"/>
                  </a:lnTo>
                  <a:lnTo>
                    <a:pt x="1660" y="2745"/>
                  </a:lnTo>
                  <a:cubicBezTo>
                    <a:pt x="1640" y="2745"/>
                    <a:pt x="1640" y="2745"/>
                    <a:pt x="1640" y="2745"/>
                  </a:cubicBezTo>
                  <a:cubicBezTo>
                    <a:pt x="1619" y="2745"/>
                    <a:pt x="1619" y="2745"/>
                    <a:pt x="1619" y="2745"/>
                  </a:cubicBezTo>
                  <a:lnTo>
                    <a:pt x="1599" y="2745"/>
                  </a:lnTo>
                  <a:cubicBezTo>
                    <a:pt x="1578" y="2745"/>
                    <a:pt x="1578" y="2766"/>
                    <a:pt x="1578" y="2766"/>
                  </a:cubicBezTo>
                  <a:cubicBezTo>
                    <a:pt x="1578" y="2766"/>
                    <a:pt x="1578" y="2787"/>
                    <a:pt x="1558" y="2787"/>
                  </a:cubicBezTo>
                  <a:cubicBezTo>
                    <a:pt x="1558" y="2787"/>
                    <a:pt x="1537" y="2787"/>
                    <a:pt x="1517" y="2787"/>
                  </a:cubicBezTo>
                  <a:cubicBezTo>
                    <a:pt x="1517" y="2787"/>
                    <a:pt x="1496" y="2766"/>
                    <a:pt x="1476" y="2766"/>
                  </a:cubicBezTo>
                  <a:lnTo>
                    <a:pt x="1455" y="2766"/>
                  </a:lnTo>
                  <a:cubicBezTo>
                    <a:pt x="1435" y="2766"/>
                    <a:pt x="1435" y="2745"/>
                    <a:pt x="1414" y="2745"/>
                  </a:cubicBezTo>
                  <a:cubicBezTo>
                    <a:pt x="1414" y="2745"/>
                    <a:pt x="1394" y="2745"/>
                    <a:pt x="1373" y="2745"/>
                  </a:cubicBezTo>
                  <a:cubicBezTo>
                    <a:pt x="1373" y="2766"/>
                    <a:pt x="1353" y="2766"/>
                    <a:pt x="1353" y="2787"/>
                  </a:cubicBezTo>
                  <a:cubicBezTo>
                    <a:pt x="1353" y="2787"/>
                    <a:pt x="1353" y="2787"/>
                    <a:pt x="1332" y="2807"/>
                  </a:cubicBezTo>
                  <a:cubicBezTo>
                    <a:pt x="1332" y="2807"/>
                    <a:pt x="1312" y="2807"/>
                    <a:pt x="1291" y="2827"/>
                  </a:cubicBezTo>
                  <a:lnTo>
                    <a:pt x="1291" y="2827"/>
                  </a:lnTo>
                  <a:lnTo>
                    <a:pt x="1291" y="2827"/>
                  </a:lnTo>
                  <a:cubicBezTo>
                    <a:pt x="1291" y="2807"/>
                    <a:pt x="1271" y="2807"/>
                    <a:pt x="1271" y="2827"/>
                  </a:cubicBezTo>
                  <a:cubicBezTo>
                    <a:pt x="1250" y="2827"/>
                    <a:pt x="1250" y="2827"/>
                    <a:pt x="1250" y="2827"/>
                  </a:cubicBezTo>
                  <a:cubicBezTo>
                    <a:pt x="1250" y="2827"/>
                    <a:pt x="1250" y="2848"/>
                    <a:pt x="1230" y="2848"/>
                  </a:cubicBezTo>
                  <a:cubicBezTo>
                    <a:pt x="1230" y="2848"/>
                    <a:pt x="1230" y="2869"/>
                    <a:pt x="1209" y="2869"/>
                  </a:cubicBezTo>
                  <a:lnTo>
                    <a:pt x="1189" y="2848"/>
                  </a:lnTo>
                  <a:lnTo>
                    <a:pt x="1168" y="2848"/>
                  </a:lnTo>
                  <a:cubicBezTo>
                    <a:pt x="1148" y="2848"/>
                    <a:pt x="1127" y="2848"/>
                    <a:pt x="1127" y="2848"/>
                  </a:cubicBezTo>
                  <a:cubicBezTo>
                    <a:pt x="1127" y="2827"/>
                    <a:pt x="1107" y="2807"/>
                    <a:pt x="1107" y="2807"/>
                  </a:cubicBezTo>
                  <a:cubicBezTo>
                    <a:pt x="1107" y="2787"/>
                    <a:pt x="1107" y="2766"/>
                    <a:pt x="1107" y="2745"/>
                  </a:cubicBezTo>
                  <a:cubicBezTo>
                    <a:pt x="1107" y="2745"/>
                    <a:pt x="1107" y="2725"/>
                    <a:pt x="1107" y="2705"/>
                  </a:cubicBezTo>
                  <a:cubicBezTo>
                    <a:pt x="1107" y="2684"/>
                    <a:pt x="1107" y="2663"/>
                    <a:pt x="1086" y="2663"/>
                  </a:cubicBezTo>
                  <a:cubicBezTo>
                    <a:pt x="1086" y="2663"/>
                    <a:pt x="1086" y="2643"/>
                    <a:pt x="1066" y="2643"/>
                  </a:cubicBezTo>
                  <a:lnTo>
                    <a:pt x="1045" y="2643"/>
                  </a:lnTo>
                  <a:lnTo>
                    <a:pt x="1004" y="2643"/>
                  </a:lnTo>
                  <a:lnTo>
                    <a:pt x="984" y="2643"/>
                  </a:lnTo>
                  <a:cubicBezTo>
                    <a:pt x="984" y="2643"/>
                    <a:pt x="984" y="2643"/>
                    <a:pt x="984" y="2623"/>
                  </a:cubicBezTo>
                  <a:lnTo>
                    <a:pt x="984" y="2602"/>
                  </a:lnTo>
                  <a:cubicBezTo>
                    <a:pt x="984" y="2581"/>
                    <a:pt x="984" y="2581"/>
                    <a:pt x="984" y="2561"/>
                  </a:cubicBezTo>
                  <a:lnTo>
                    <a:pt x="984" y="2541"/>
                  </a:lnTo>
                  <a:cubicBezTo>
                    <a:pt x="963" y="2520"/>
                    <a:pt x="963" y="2520"/>
                    <a:pt x="963" y="2520"/>
                  </a:cubicBezTo>
                  <a:cubicBezTo>
                    <a:pt x="963" y="2520"/>
                    <a:pt x="943" y="2520"/>
                    <a:pt x="922" y="2520"/>
                  </a:cubicBezTo>
                  <a:lnTo>
                    <a:pt x="902" y="2520"/>
                  </a:lnTo>
                  <a:cubicBezTo>
                    <a:pt x="882" y="2520"/>
                    <a:pt x="861" y="2520"/>
                    <a:pt x="861" y="2520"/>
                  </a:cubicBezTo>
                  <a:cubicBezTo>
                    <a:pt x="861" y="2520"/>
                    <a:pt x="840" y="2520"/>
                    <a:pt x="820" y="2520"/>
                  </a:cubicBezTo>
                  <a:lnTo>
                    <a:pt x="800" y="2520"/>
                  </a:lnTo>
                  <a:cubicBezTo>
                    <a:pt x="779" y="2520"/>
                    <a:pt x="758" y="2541"/>
                    <a:pt x="758" y="2541"/>
                  </a:cubicBezTo>
                  <a:cubicBezTo>
                    <a:pt x="738" y="2541"/>
                    <a:pt x="738" y="2541"/>
                    <a:pt x="718" y="2541"/>
                  </a:cubicBezTo>
                  <a:lnTo>
                    <a:pt x="697" y="2541"/>
                  </a:lnTo>
                  <a:lnTo>
                    <a:pt x="676" y="2541"/>
                  </a:lnTo>
                  <a:cubicBezTo>
                    <a:pt x="676" y="2541"/>
                    <a:pt x="656" y="2541"/>
                    <a:pt x="656" y="2561"/>
                  </a:cubicBezTo>
                  <a:cubicBezTo>
                    <a:pt x="636" y="2561"/>
                    <a:pt x="636" y="2561"/>
                    <a:pt x="615" y="2561"/>
                  </a:cubicBezTo>
                  <a:lnTo>
                    <a:pt x="594" y="2561"/>
                  </a:lnTo>
                  <a:cubicBezTo>
                    <a:pt x="574" y="2561"/>
                    <a:pt x="574" y="2541"/>
                    <a:pt x="574" y="2541"/>
                  </a:cubicBezTo>
                  <a:cubicBezTo>
                    <a:pt x="554" y="2541"/>
                    <a:pt x="554" y="2541"/>
                    <a:pt x="554" y="2520"/>
                  </a:cubicBezTo>
                  <a:cubicBezTo>
                    <a:pt x="533" y="2520"/>
                    <a:pt x="533" y="2541"/>
                    <a:pt x="512" y="2541"/>
                  </a:cubicBezTo>
                  <a:lnTo>
                    <a:pt x="492" y="2541"/>
                  </a:lnTo>
                  <a:lnTo>
                    <a:pt x="472" y="2541"/>
                  </a:lnTo>
                  <a:cubicBezTo>
                    <a:pt x="451" y="2561"/>
                    <a:pt x="451" y="2561"/>
                    <a:pt x="451" y="2561"/>
                  </a:cubicBezTo>
                  <a:cubicBezTo>
                    <a:pt x="451" y="2581"/>
                    <a:pt x="430" y="2581"/>
                    <a:pt x="410" y="2581"/>
                  </a:cubicBezTo>
                  <a:lnTo>
                    <a:pt x="369" y="2581"/>
                  </a:lnTo>
                  <a:cubicBezTo>
                    <a:pt x="369" y="2581"/>
                    <a:pt x="348" y="2581"/>
                    <a:pt x="328" y="2581"/>
                  </a:cubicBezTo>
                  <a:cubicBezTo>
                    <a:pt x="328" y="2581"/>
                    <a:pt x="308" y="2581"/>
                    <a:pt x="287" y="2561"/>
                  </a:cubicBezTo>
                  <a:cubicBezTo>
                    <a:pt x="287" y="2561"/>
                    <a:pt x="266" y="2561"/>
                    <a:pt x="246" y="2561"/>
                  </a:cubicBezTo>
                  <a:cubicBezTo>
                    <a:pt x="246" y="2581"/>
                    <a:pt x="226" y="2581"/>
                    <a:pt x="226" y="2581"/>
                  </a:cubicBezTo>
                  <a:cubicBezTo>
                    <a:pt x="226" y="2602"/>
                    <a:pt x="205" y="2602"/>
                    <a:pt x="184" y="2602"/>
                  </a:cubicBezTo>
                  <a:cubicBezTo>
                    <a:pt x="184" y="2602"/>
                    <a:pt x="184" y="2623"/>
                    <a:pt x="164" y="2623"/>
                  </a:cubicBezTo>
                  <a:cubicBezTo>
                    <a:pt x="164" y="2623"/>
                    <a:pt x="164" y="2623"/>
                    <a:pt x="144" y="2623"/>
                  </a:cubicBezTo>
                  <a:cubicBezTo>
                    <a:pt x="144" y="2602"/>
                    <a:pt x="164" y="2602"/>
                    <a:pt x="164" y="2602"/>
                  </a:cubicBezTo>
                  <a:cubicBezTo>
                    <a:pt x="164" y="2581"/>
                    <a:pt x="164" y="2581"/>
                    <a:pt x="164" y="2581"/>
                  </a:cubicBezTo>
                  <a:lnTo>
                    <a:pt x="164" y="2581"/>
                  </a:lnTo>
                  <a:cubicBezTo>
                    <a:pt x="164" y="2561"/>
                    <a:pt x="164" y="2561"/>
                    <a:pt x="164" y="2561"/>
                  </a:cubicBezTo>
                  <a:cubicBezTo>
                    <a:pt x="164" y="2541"/>
                    <a:pt x="164" y="2520"/>
                    <a:pt x="164" y="2500"/>
                  </a:cubicBezTo>
                  <a:cubicBezTo>
                    <a:pt x="164" y="2500"/>
                    <a:pt x="164" y="2479"/>
                    <a:pt x="164" y="2459"/>
                  </a:cubicBezTo>
                  <a:cubicBezTo>
                    <a:pt x="164" y="2459"/>
                    <a:pt x="164" y="2438"/>
                    <a:pt x="164" y="2418"/>
                  </a:cubicBezTo>
                  <a:cubicBezTo>
                    <a:pt x="164" y="2418"/>
                    <a:pt x="184" y="2397"/>
                    <a:pt x="184" y="2377"/>
                  </a:cubicBezTo>
                  <a:lnTo>
                    <a:pt x="184" y="2356"/>
                  </a:lnTo>
                  <a:cubicBezTo>
                    <a:pt x="184" y="2336"/>
                    <a:pt x="184" y="2336"/>
                    <a:pt x="205" y="2315"/>
                  </a:cubicBezTo>
                  <a:cubicBezTo>
                    <a:pt x="205" y="2315"/>
                    <a:pt x="205" y="2315"/>
                    <a:pt x="226" y="2315"/>
                  </a:cubicBezTo>
                  <a:lnTo>
                    <a:pt x="246" y="2315"/>
                  </a:lnTo>
                  <a:lnTo>
                    <a:pt x="266" y="2295"/>
                  </a:lnTo>
                  <a:cubicBezTo>
                    <a:pt x="266" y="2295"/>
                    <a:pt x="266" y="2295"/>
                    <a:pt x="287" y="2274"/>
                  </a:cubicBezTo>
                  <a:lnTo>
                    <a:pt x="308" y="2274"/>
                  </a:lnTo>
                  <a:cubicBezTo>
                    <a:pt x="328" y="2274"/>
                    <a:pt x="348" y="2274"/>
                    <a:pt x="348" y="2274"/>
                  </a:cubicBezTo>
                  <a:lnTo>
                    <a:pt x="369" y="2254"/>
                  </a:lnTo>
                  <a:cubicBezTo>
                    <a:pt x="390" y="2254"/>
                    <a:pt x="410" y="2254"/>
                    <a:pt x="410" y="2233"/>
                  </a:cubicBezTo>
                  <a:cubicBezTo>
                    <a:pt x="410" y="2233"/>
                    <a:pt x="410" y="2233"/>
                    <a:pt x="410" y="2213"/>
                  </a:cubicBezTo>
                  <a:lnTo>
                    <a:pt x="410" y="2192"/>
                  </a:lnTo>
                  <a:cubicBezTo>
                    <a:pt x="410" y="2192"/>
                    <a:pt x="410" y="2172"/>
                    <a:pt x="390" y="2172"/>
                  </a:cubicBezTo>
                  <a:cubicBezTo>
                    <a:pt x="390" y="2151"/>
                    <a:pt x="390" y="2131"/>
                    <a:pt x="390" y="2131"/>
                  </a:cubicBezTo>
                  <a:cubicBezTo>
                    <a:pt x="390" y="2131"/>
                    <a:pt x="369" y="2131"/>
                    <a:pt x="348" y="2131"/>
                  </a:cubicBezTo>
                  <a:lnTo>
                    <a:pt x="328" y="2131"/>
                  </a:lnTo>
                  <a:lnTo>
                    <a:pt x="308" y="2131"/>
                  </a:lnTo>
                  <a:cubicBezTo>
                    <a:pt x="308" y="2110"/>
                    <a:pt x="308" y="2090"/>
                    <a:pt x="308" y="2090"/>
                  </a:cubicBezTo>
                  <a:cubicBezTo>
                    <a:pt x="308" y="2090"/>
                    <a:pt x="308" y="2069"/>
                    <a:pt x="308" y="2049"/>
                  </a:cubicBezTo>
                  <a:cubicBezTo>
                    <a:pt x="308" y="2049"/>
                    <a:pt x="308" y="2028"/>
                    <a:pt x="308" y="2008"/>
                  </a:cubicBezTo>
                  <a:cubicBezTo>
                    <a:pt x="308" y="1987"/>
                    <a:pt x="308" y="1967"/>
                    <a:pt x="308" y="1946"/>
                  </a:cubicBezTo>
                  <a:cubicBezTo>
                    <a:pt x="308" y="1946"/>
                    <a:pt x="308" y="1926"/>
                    <a:pt x="308" y="1905"/>
                  </a:cubicBezTo>
                  <a:lnTo>
                    <a:pt x="287" y="1905"/>
                  </a:lnTo>
                  <a:cubicBezTo>
                    <a:pt x="266" y="1905"/>
                    <a:pt x="246" y="1905"/>
                    <a:pt x="226" y="1905"/>
                  </a:cubicBezTo>
                  <a:cubicBezTo>
                    <a:pt x="226" y="1905"/>
                    <a:pt x="226" y="1885"/>
                    <a:pt x="205" y="1885"/>
                  </a:cubicBezTo>
                  <a:cubicBezTo>
                    <a:pt x="205" y="1885"/>
                    <a:pt x="184" y="1864"/>
                    <a:pt x="184" y="1844"/>
                  </a:cubicBezTo>
                  <a:cubicBezTo>
                    <a:pt x="164" y="1844"/>
                    <a:pt x="144" y="1824"/>
                    <a:pt x="144" y="1803"/>
                  </a:cubicBezTo>
                  <a:cubicBezTo>
                    <a:pt x="124" y="1803"/>
                    <a:pt x="124" y="1803"/>
                    <a:pt x="124" y="1803"/>
                  </a:cubicBezTo>
                  <a:cubicBezTo>
                    <a:pt x="124" y="1782"/>
                    <a:pt x="103" y="1762"/>
                    <a:pt x="103" y="1762"/>
                  </a:cubicBezTo>
                  <a:cubicBezTo>
                    <a:pt x="103" y="1742"/>
                    <a:pt x="103" y="1721"/>
                    <a:pt x="103" y="1721"/>
                  </a:cubicBezTo>
                  <a:lnTo>
                    <a:pt x="103" y="1700"/>
                  </a:lnTo>
                  <a:cubicBezTo>
                    <a:pt x="82" y="1680"/>
                    <a:pt x="82" y="1680"/>
                    <a:pt x="82" y="1680"/>
                  </a:cubicBezTo>
                  <a:cubicBezTo>
                    <a:pt x="62" y="1660"/>
                    <a:pt x="42" y="1639"/>
                    <a:pt x="42" y="1639"/>
                  </a:cubicBezTo>
                  <a:cubicBezTo>
                    <a:pt x="21" y="1618"/>
                    <a:pt x="21" y="1618"/>
                    <a:pt x="0" y="1598"/>
                  </a:cubicBezTo>
                  <a:lnTo>
                    <a:pt x="0" y="1578"/>
                  </a:lnTo>
                  <a:lnTo>
                    <a:pt x="21" y="1557"/>
                  </a:lnTo>
                  <a:cubicBezTo>
                    <a:pt x="42" y="1578"/>
                    <a:pt x="82" y="1578"/>
                    <a:pt x="103" y="1598"/>
                  </a:cubicBezTo>
                  <a:cubicBezTo>
                    <a:pt x="103" y="1598"/>
                    <a:pt x="124" y="1598"/>
                    <a:pt x="144" y="1618"/>
                  </a:cubicBezTo>
                  <a:cubicBezTo>
                    <a:pt x="144" y="1618"/>
                    <a:pt x="164" y="1639"/>
                    <a:pt x="184" y="1639"/>
                  </a:cubicBezTo>
                  <a:cubicBezTo>
                    <a:pt x="184" y="1639"/>
                    <a:pt x="205" y="1660"/>
                    <a:pt x="226" y="1660"/>
                  </a:cubicBezTo>
                  <a:cubicBezTo>
                    <a:pt x="226" y="1660"/>
                    <a:pt x="266" y="1660"/>
                    <a:pt x="287" y="1660"/>
                  </a:cubicBezTo>
                  <a:lnTo>
                    <a:pt x="308" y="1639"/>
                  </a:lnTo>
                  <a:cubicBezTo>
                    <a:pt x="328" y="1618"/>
                    <a:pt x="348" y="1618"/>
                    <a:pt x="348" y="1618"/>
                  </a:cubicBezTo>
                  <a:cubicBezTo>
                    <a:pt x="369" y="1618"/>
                    <a:pt x="390" y="1618"/>
                    <a:pt x="390" y="1618"/>
                  </a:cubicBezTo>
                  <a:cubicBezTo>
                    <a:pt x="410" y="1618"/>
                    <a:pt x="430" y="1639"/>
                    <a:pt x="451" y="1639"/>
                  </a:cubicBezTo>
                  <a:cubicBezTo>
                    <a:pt x="451" y="1639"/>
                    <a:pt x="472" y="1660"/>
                    <a:pt x="492" y="1660"/>
                  </a:cubicBezTo>
                  <a:cubicBezTo>
                    <a:pt x="492" y="1660"/>
                    <a:pt x="492" y="1639"/>
                    <a:pt x="512" y="1639"/>
                  </a:cubicBezTo>
                  <a:cubicBezTo>
                    <a:pt x="512" y="1639"/>
                    <a:pt x="512" y="1618"/>
                    <a:pt x="533" y="1618"/>
                  </a:cubicBezTo>
                  <a:cubicBezTo>
                    <a:pt x="533" y="1598"/>
                    <a:pt x="554" y="1618"/>
                    <a:pt x="574" y="1618"/>
                  </a:cubicBezTo>
                  <a:cubicBezTo>
                    <a:pt x="574" y="1618"/>
                    <a:pt x="594" y="1618"/>
                    <a:pt x="615" y="1618"/>
                  </a:cubicBezTo>
                  <a:cubicBezTo>
                    <a:pt x="636" y="1618"/>
                    <a:pt x="656" y="1598"/>
                    <a:pt x="676" y="1598"/>
                  </a:cubicBezTo>
                  <a:cubicBezTo>
                    <a:pt x="697" y="1598"/>
                    <a:pt x="718" y="1578"/>
                    <a:pt x="738" y="1578"/>
                  </a:cubicBezTo>
                  <a:cubicBezTo>
                    <a:pt x="758" y="1578"/>
                    <a:pt x="779" y="1578"/>
                    <a:pt x="779" y="1578"/>
                  </a:cubicBezTo>
                  <a:cubicBezTo>
                    <a:pt x="800" y="1578"/>
                    <a:pt x="800" y="1557"/>
                    <a:pt x="820" y="1557"/>
                  </a:cubicBezTo>
                  <a:cubicBezTo>
                    <a:pt x="820" y="1557"/>
                    <a:pt x="820" y="1536"/>
                    <a:pt x="840" y="1516"/>
                  </a:cubicBezTo>
                  <a:lnTo>
                    <a:pt x="840" y="1496"/>
                  </a:lnTo>
                  <a:cubicBezTo>
                    <a:pt x="840" y="1475"/>
                    <a:pt x="840" y="1454"/>
                    <a:pt x="840" y="1434"/>
                  </a:cubicBezTo>
                  <a:lnTo>
                    <a:pt x="820" y="1414"/>
                  </a:lnTo>
                  <a:lnTo>
                    <a:pt x="820" y="1393"/>
                  </a:lnTo>
                  <a:cubicBezTo>
                    <a:pt x="820" y="1372"/>
                    <a:pt x="820" y="1352"/>
                    <a:pt x="820" y="1332"/>
                  </a:cubicBezTo>
                  <a:lnTo>
                    <a:pt x="840" y="1311"/>
                  </a:lnTo>
                  <a:lnTo>
                    <a:pt x="861" y="1311"/>
                  </a:lnTo>
                  <a:cubicBezTo>
                    <a:pt x="861" y="1290"/>
                    <a:pt x="882" y="1290"/>
                    <a:pt x="882" y="1290"/>
                  </a:cubicBezTo>
                  <a:cubicBezTo>
                    <a:pt x="882" y="1270"/>
                    <a:pt x="882" y="1270"/>
                    <a:pt x="882" y="1250"/>
                  </a:cubicBezTo>
                  <a:lnTo>
                    <a:pt x="902" y="1250"/>
                  </a:lnTo>
                  <a:cubicBezTo>
                    <a:pt x="902" y="1229"/>
                    <a:pt x="922" y="1250"/>
                    <a:pt x="943" y="1250"/>
                  </a:cubicBezTo>
                  <a:lnTo>
                    <a:pt x="963" y="1250"/>
                  </a:lnTo>
                  <a:cubicBezTo>
                    <a:pt x="984" y="1250"/>
                    <a:pt x="1004" y="1250"/>
                    <a:pt x="1004" y="1250"/>
                  </a:cubicBezTo>
                  <a:cubicBezTo>
                    <a:pt x="1025" y="1250"/>
                    <a:pt x="1025" y="1229"/>
                    <a:pt x="1025" y="1229"/>
                  </a:cubicBezTo>
                  <a:cubicBezTo>
                    <a:pt x="1025" y="1229"/>
                    <a:pt x="1025" y="1208"/>
                    <a:pt x="1004" y="1208"/>
                  </a:cubicBezTo>
                  <a:lnTo>
                    <a:pt x="1004" y="1188"/>
                  </a:lnTo>
                  <a:lnTo>
                    <a:pt x="1025" y="1168"/>
                  </a:lnTo>
                  <a:cubicBezTo>
                    <a:pt x="1025" y="1168"/>
                    <a:pt x="1045" y="1148"/>
                    <a:pt x="1066" y="1148"/>
                  </a:cubicBezTo>
                  <a:cubicBezTo>
                    <a:pt x="1066" y="1148"/>
                    <a:pt x="1066" y="1148"/>
                    <a:pt x="1086" y="1127"/>
                  </a:cubicBezTo>
                  <a:lnTo>
                    <a:pt x="1107" y="1127"/>
                  </a:lnTo>
                  <a:cubicBezTo>
                    <a:pt x="1127" y="1127"/>
                    <a:pt x="1148" y="1127"/>
                    <a:pt x="1168" y="1127"/>
                  </a:cubicBezTo>
                  <a:cubicBezTo>
                    <a:pt x="1168" y="1127"/>
                    <a:pt x="1168" y="1127"/>
                    <a:pt x="1189" y="1127"/>
                  </a:cubicBezTo>
                  <a:lnTo>
                    <a:pt x="1209" y="1148"/>
                  </a:lnTo>
                  <a:lnTo>
                    <a:pt x="1230" y="1148"/>
                  </a:lnTo>
                  <a:cubicBezTo>
                    <a:pt x="1250" y="1148"/>
                    <a:pt x="1250" y="1148"/>
                    <a:pt x="1271" y="1127"/>
                  </a:cubicBezTo>
                  <a:cubicBezTo>
                    <a:pt x="1271" y="1127"/>
                    <a:pt x="1271" y="1106"/>
                    <a:pt x="1271" y="1086"/>
                  </a:cubicBezTo>
                  <a:lnTo>
                    <a:pt x="1271" y="1066"/>
                  </a:lnTo>
                  <a:cubicBezTo>
                    <a:pt x="1271" y="1045"/>
                    <a:pt x="1271" y="1045"/>
                    <a:pt x="1271" y="1024"/>
                  </a:cubicBezTo>
                  <a:lnTo>
                    <a:pt x="1271" y="1004"/>
                  </a:lnTo>
                  <a:cubicBezTo>
                    <a:pt x="1271" y="984"/>
                    <a:pt x="1271" y="984"/>
                    <a:pt x="1271" y="963"/>
                  </a:cubicBezTo>
                  <a:cubicBezTo>
                    <a:pt x="1291" y="963"/>
                    <a:pt x="1291" y="963"/>
                    <a:pt x="1291" y="942"/>
                  </a:cubicBezTo>
                  <a:cubicBezTo>
                    <a:pt x="1291" y="942"/>
                    <a:pt x="1291" y="922"/>
                    <a:pt x="1291" y="902"/>
                  </a:cubicBezTo>
                  <a:lnTo>
                    <a:pt x="1291" y="881"/>
                  </a:lnTo>
                  <a:cubicBezTo>
                    <a:pt x="1271" y="881"/>
                    <a:pt x="1271" y="860"/>
                    <a:pt x="1291" y="840"/>
                  </a:cubicBezTo>
                  <a:lnTo>
                    <a:pt x="1291" y="820"/>
                  </a:lnTo>
                  <a:lnTo>
                    <a:pt x="1312" y="820"/>
                  </a:lnTo>
                  <a:cubicBezTo>
                    <a:pt x="1332" y="820"/>
                    <a:pt x="1332" y="840"/>
                    <a:pt x="1353" y="840"/>
                  </a:cubicBezTo>
                  <a:lnTo>
                    <a:pt x="1394" y="840"/>
                  </a:lnTo>
                  <a:cubicBezTo>
                    <a:pt x="1394" y="820"/>
                    <a:pt x="1414" y="820"/>
                    <a:pt x="1414" y="799"/>
                  </a:cubicBezTo>
                  <a:lnTo>
                    <a:pt x="1414" y="778"/>
                  </a:lnTo>
                  <a:cubicBezTo>
                    <a:pt x="1414" y="758"/>
                    <a:pt x="1414" y="758"/>
                    <a:pt x="1394" y="738"/>
                  </a:cubicBezTo>
                  <a:lnTo>
                    <a:pt x="1373" y="717"/>
                  </a:lnTo>
                  <a:lnTo>
                    <a:pt x="1353" y="696"/>
                  </a:lnTo>
                  <a:lnTo>
                    <a:pt x="1332" y="676"/>
                  </a:lnTo>
                  <a:cubicBezTo>
                    <a:pt x="1312" y="676"/>
                    <a:pt x="1312" y="656"/>
                    <a:pt x="1312" y="656"/>
                  </a:cubicBezTo>
                  <a:cubicBezTo>
                    <a:pt x="1312" y="635"/>
                    <a:pt x="1332" y="635"/>
                    <a:pt x="1332" y="635"/>
                  </a:cubicBezTo>
                  <a:lnTo>
                    <a:pt x="1353" y="635"/>
                  </a:lnTo>
                  <a:lnTo>
                    <a:pt x="1394" y="635"/>
                  </a:lnTo>
                  <a:cubicBezTo>
                    <a:pt x="1414" y="635"/>
                    <a:pt x="1414" y="656"/>
                    <a:pt x="1414" y="656"/>
                  </a:cubicBezTo>
                  <a:cubicBezTo>
                    <a:pt x="1435" y="656"/>
                    <a:pt x="1435" y="656"/>
                    <a:pt x="1455" y="656"/>
                  </a:cubicBezTo>
                  <a:lnTo>
                    <a:pt x="1496" y="635"/>
                  </a:lnTo>
                  <a:cubicBezTo>
                    <a:pt x="1496" y="614"/>
                    <a:pt x="1517" y="594"/>
                    <a:pt x="1517" y="574"/>
                  </a:cubicBezTo>
                  <a:lnTo>
                    <a:pt x="1517" y="553"/>
                  </a:lnTo>
                  <a:cubicBezTo>
                    <a:pt x="1517" y="532"/>
                    <a:pt x="1496" y="532"/>
                    <a:pt x="1496" y="512"/>
                  </a:cubicBezTo>
                  <a:cubicBezTo>
                    <a:pt x="1496" y="512"/>
                    <a:pt x="1517" y="492"/>
                    <a:pt x="1517" y="471"/>
                  </a:cubicBezTo>
                  <a:lnTo>
                    <a:pt x="1537" y="451"/>
                  </a:lnTo>
                  <a:cubicBezTo>
                    <a:pt x="1537" y="451"/>
                    <a:pt x="1558" y="451"/>
                    <a:pt x="1558" y="430"/>
                  </a:cubicBezTo>
                  <a:cubicBezTo>
                    <a:pt x="1578" y="430"/>
                    <a:pt x="1558" y="410"/>
                    <a:pt x="1558" y="389"/>
                  </a:cubicBezTo>
                  <a:cubicBezTo>
                    <a:pt x="1558" y="369"/>
                    <a:pt x="1558" y="348"/>
                    <a:pt x="1558" y="328"/>
                  </a:cubicBezTo>
                  <a:cubicBezTo>
                    <a:pt x="1537" y="328"/>
                    <a:pt x="1537" y="307"/>
                    <a:pt x="1517" y="287"/>
                  </a:cubicBezTo>
                  <a:cubicBezTo>
                    <a:pt x="1517" y="287"/>
                    <a:pt x="1517" y="266"/>
                    <a:pt x="1517" y="246"/>
                  </a:cubicBezTo>
                  <a:cubicBezTo>
                    <a:pt x="1517" y="246"/>
                    <a:pt x="1517" y="225"/>
                    <a:pt x="1496" y="225"/>
                  </a:cubicBezTo>
                  <a:lnTo>
                    <a:pt x="1476" y="205"/>
                  </a:lnTo>
                  <a:lnTo>
                    <a:pt x="1476" y="184"/>
                  </a:lnTo>
                  <a:cubicBezTo>
                    <a:pt x="1476" y="164"/>
                    <a:pt x="1496" y="164"/>
                    <a:pt x="1517" y="164"/>
                  </a:cubicBezTo>
                  <a:cubicBezTo>
                    <a:pt x="1517" y="164"/>
                    <a:pt x="1517" y="143"/>
                    <a:pt x="1517" y="123"/>
                  </a:cubicBezTo>
                  <a:cubicBezTo>
                    <a:pt x="1517" y="123"/>
                    <a:pt x="1537" y="123"/>
                    <a:pt x="1537" y="102"/>
                  </a:cubicBezTo>
                  <a:cubicBezTo>
                    <a:pt x="1558" y="102"/>
                    <a:pt x="1558" y="123"/>
                    <a:pt x="1578" y="102"/>
                  </a:cubicBezTo>
                  <a:lnTo>
                    <a:pt x="1599" y="82"/>
                  </a:lnTo>
                  <a:cubicBezTo>
                    <a:pt x="1599" y="61"/>
                    <a:pt x="1599" y="61"/>
                    <a:pt x="1619" y="61"/>
                  </a:cubicBezTo>
                  <a:cubicBezTo>
                    <a:pt x="1619" y="41"/>
                    <a:pt x="1640" y="41"/>
                    <a:pt x="1640" y="41"/>
                  </a:cubicBezTo>
                  <a:cubicBezTo>
                    <a:pt x="1640" y="41"/>
                    <a:pt x="1660" y="20"/>
                    <a:pt x="1681" y="20"/>
                  </a:cubicBezTo>
                  <a:lnTo>
                    <a:pt x="1701" y="20"/>
                  </a:lnTo>
                  <a:cubicBezTo>
                    <a:pt x="1701" y="0"/>
                    <a:pt x="1742" y="0"/>
                    <a:pt x="1742" y="0"/>
                  </a:cubicBezTo>
                  <a:cubicBezTo>
                    <a:pt x="1763" y="0"/>
                    <a:pt x="1783" y="0"/>
                    <a:pt x="1783" y="0"/>
                  </a:cubicBezTo>
                  <a:cubicBezTo>
                    <a:pt x="1803" y="0"/>
                    <a:pt x="1824" y="0"/>
                    <a:pt x="1845" y="0"/>
                  </a:cubicBezTo>
                  <a:lnTo>
                    <a:pt x="1865" y="0"/>
                  </a:lnTo>
                  <a:cubicBezTo>
                    <a:pt x="1885" y="0"/>
                    <a:pt x="1885" y="0"/>
                    <a:pt x="1885" y="0"/>
                  </a:cubicBezTo>
                  <a:cubicBezTo>
                    <a:pt x="1906" y="0"/>
                    <a:pt x="1927" y="20"/>
                    <a:pt x="1927" y="20"/>
                  </a:cubicBezTo>
                  <a:cubicBezTo>
                    <a:pt x="1927" y="20"/>
                    <a:pt x="1906" y="41"/>
                    <a:pt x="1885" y="41"/>
                  </a:cubicBezTo>
                  <a:cubicBezTo>
                    <a:pt x="1885" y="41"/>
                    <a:pt x="1865" y="41"/>
                    <a:pt x="1845" y="41"/>
                  </a:cubicBezTo>
                  <a:cubicBezTo>
                    <a:pt x="1824" y="61"/>
                    <a:pt x="1803" y="41"/>
                    <a:pt x="1783" y="41"/>
                  </a:cubicBezTo>
                  <a:cubicBezTo>
                    <a:pt x="1763" y="61"/>
                    <a:pt x="1742" y="82"/>
                    <a:pt x="1742" y="82"/>
                  </a:cubicBezTo>
                  <a:lnTo>
                    <a:pt x="1721" y="102"/>
                  </a:lnTo>
                  <a:cubicBezTo>
                    <a:pt x="1721" y="123"/>
                    <a:pt x="1701" y="123"/>
                    <a:pt x="1701" y="143"/>
                  </a:cubicBezTo>
                  <a:lnTo>
                    <a:pt x="1701" y="164"/>
                  </a:lnTo>
                  <a:cubicBezTo>
                    <a:pt x="1701" y="184"/>
                    <a:pt x="1681" y="205"/>
                    <a:pt x="1681" y="225"/>
                  </a:cubicBezTo>
                  <a:cubicBezTo>
                    <a:pt x="1701" y="225"/>
                    <a:pt x="1721" y="246"/>
                    <a:pt x="1721" y="246"/>
                  </a:cubicBezTo>
                  <a:cubicBezTo>
                    <a:pt x="1742" y="246"/>
                    <a:pt x="1742" y="225"/>
                    <a:pt x="1763" y="225"/>
                  </a:cubicBezTo>
                  <a:cubicBezTo>
                    <a:pt x="1763" y="225"/>
                    <a:pt x="1783" y="246"/>
                    <a:pt x="1803" y="246"/>
                  </a:cubicBezTo>
                  <a:cubicBezTo>
                    <a:pt x="1803" y="246"/>
                    <a:pt x="1803" y="266"/>
                    <a:pt x="1824" y="266"/>
                  </a:cubicBezTo>
                  <a:cubicBezTo>
                    <a:pt x="1824" y="287"/>
                    <a:pt x="1845" y="287"/>
                    <a:pt x="1865" y="287"/>
                  </a:cubicBezTo>
                  <a:cubicBezTo>
                    <a:pt x="1865" y="287"/>
                    <a:pt x="1845" y="307"/>
                    <a:pt x="1865" y="307"/>
                  </a:cubicBezTo>
                  <a:cubicBezTo>
                    <a:pt x="1865" y="328"/>
                    <a:pt x="1865" y="348"/>
                    <a:pt x="1865" y="348"/>
                  </a:cubicBezTo>
                  <a:cubicBezTo>
                    <a:pt x="1885" y="348"/>
                    <a:pt x="1906" y="348"/>
                    <a:pt x="1906" y="369"/>
                  </a:cubicBezTo>
                  <a:cubicBezTo>
                    <a:pt x="1927" y="369"/>
                    <a:pt x="1947" y="369"/>
                    <a:pt x="1947" y="369"/>
                  </a:cubicBezTo>
                  <a:cubicBezTo>
                    <a:pt x="1947" y="389"/>
                    <a:pt x="1947" y="389"/>
                    <a:pt x="1947" y="410"/>
                  </a:cubicBezTo>
                  <a:cubicBezTo>
                    <a:pt x="1947" y="410"/>
                    <a:pt x="1947" y="410"/>
                    <a:pt x="1927" y="430"/>
                  </a:cubicBezTo>
                  <a:cubicBezTo>
                    <a:pt x="1927" y="430"/>
                    <a:pt x="1885" y="451"/>
                    <a:pt x="1865" y="471"/>
                  </a:cubicBezTo>
                  <a:cubicBezTo>
                    <a:pt x="1865" y="492"/>
                    <a:pt x="1865" y="512"/>
                    <a:pt x="1865" y="532"/>
                  </a:cubicBezTo>
                  <a:cubicBezTo>
                    <a:pt x="1865" y="532"/>
                    <a:pt x="1845" y="574"/>
                    <a:pt x="1845" y="594"/>
                  </a:cubicBezTo>
                  <a:cubicBezTo>
                    <a:pt x="1845" y="594"/>
                    <a:pt x="1824" y="614"/>
                    <a:pt x="1824" y="635"/>
                  </a:cubicBezTo>
                  <a:cubicBezTo>
                    <a:pt x="1824" y="635"/>
                    <a:pt x="1845" y="656"/>
                    <a:pt x="1865" y="656"/>
                  </a:cubicBezTo>
                  <a:cubicBezTo>
                    <a:pt x="1865" y="676"/>
                    <a:pt x="1885" y="696"/>
                    <a:pt x="1885" y="717"/>
                  </a:cubicBezTo>
                  <a:cubicBezTo>
                    <a:pt x="1885" y="738"/>
                    <a:pt x="1885" y="758"/>
                    <a:pt x="1906" y="778"/>
                  </a:cubicBezTo>
                  <a:cubicBezTo>
                    <a:pt x="1906" y="799"/>
                    <a:pt x="1947" y="820"/>
                    <a:pt x="1967" y="840"/>
                  </a:cubicBezTo>
                  <a:cubicBezTo>
                    <a:pt x="1988" y="840"/>
                    <a:pt x="2029" y="840"/>
                    <a:pt x="2029" y="860"/>
                  </a:cubicBezTo>
                  <a:cubicBezTo>
                    <a:pt x="2049" y="860"/>
                    <a:pt x="2091" y="881"/>
                    <a:pt x="2111" y="902"/>
                  </a:cubicBezTo>
                  <a:cubicBezTo>
                    <a:pt x="2131" y="902"/>
                    <a:pt x="2131" y="922"/>
                    <a:pt x="2152" y="942"/>
                  </a:cubicBezTo>
                  <a:lnTo>
                    <a:pt x="2193" y="963"/>
                  </a:lnTo>
                  <a:cubicBezTo>
                    <a:pt x="2213" y="963"/>
                    <a:pt x="2255" y="984"/>
                    <a:pt x="2275" y="1004"/>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7" name="Freeform 654">
              <a:extLst>
                <a:ext uri="{FF2B5EF4-FFF2-40B4-BE49-F238E27FC236}">
                  <a16:creationId xmlns:a16="http://schemas.microsoft.com/office/drawing/2014/main" id="{701F24CC-D11F-8F42-8735-AFB8798FDE92}"/>
                </a:ext>
              </a:extLst>
            </p:cNvPr>
            <p:cNvSpPr>
              <a:spLocks noChangeArrowheads="1"/>
            </p:cNvSpPr>
            <p:nvPr/>
          </p:nvSpPr>
          <p:spPr bwMode="auto">
            <a:xfrm>
              <a:off x="4003675" y="5748338"/>
              <a:ext cx="200025" cy="125412"/>
            </a:xfrm>
            <a:custGeom>
              <a:avLst/>
              <a:gdLst>
                <a:gd name="T0" fmla="*/ 554 w 555"/>
                <a:gd name="T1" fmla="*/ 246 h 350"/>
                <a:gd name="T2" fmla="*/ 554 w 555"/>
                <a:gd name="T3" fmla="*/ 246 h 350"/>
                <a:gd name="T4" fmla="*/ 554 w 555"/>
                <a:gd name="T5" fmla="*/ 287 h 350"/>
                <a:gd name="T6" fmla="*/ 533 w 555"/>
                <a:gd name="T7" fmla="*/ 308 h 350"/>
                <a:gd name="T8" fmla="*/ 472 w 555"/>
                <a:gd name="T9" fmla="*/ 308 h 350"/>
                <a:gd name="T10" fmla="*/ 430 w 555"/>
                <a:gd name="T11" fmla="*/ 308 h 350"/>
                <a:gd name="T12" fmla="*/ 410 w 555"/>
                <a:gd name="T13" fmla="*/ 328 h 350"/>
                <a:gd name="T14" fmla="*/ 348 w 555"/>
                <a:gd name="T15" fmla="*/ 328 h 350"/>
                <a:gd name="T16" fmla="*/ 328 w 555"/>
                <a:gd name="T17" fmla="*/ 328 h 350"/>
                <a:gd name="T18" fmla="*/ 308 w 555"/>
                <a:gd name="T19" fmla="*/ 328 h 350"/>
                <a:gd name="T20" fmla="*/ 226 w 555"/>
                <a:gd name="T21" fmla="*/ 328 h 350"/>
                <a:gd name="T22" fmla="*/ 184 w 555"/>
                <a:gd name="T23" fmla="*/ 328 h 350"/>
                <a:gd name="T24" fmla="*/ 164 w 555"/>
                <a:gd name="T25" fmla="*/ 349 h 350"/>
                <a:gd name="T26" fmla="*/ 82 w 555"/>
                <a:gd name="T27" fmla="*/ 328 h 350"/>
                <a:gd name="T28" fmla="*/ 42 w 555"/>
                <a:gd name="T29" fmla="*/ 287 h 350"/>
                <a:gd name="T30" fmla="*/ 21 w 555"/>
                <a:gd name="T31" fmla="*/ 267 h 350"/>
                <a:gd name="T32" fmla="*/ 0 w 555"/>
                <a:gd name="T33" fmla="*/ 226 h 350"/>
                <a:gd name="T34" fmla="*/ 21 w 555"/>
                <a:gd name="T35" fmla="*/ 205 h 350"/>
                <a:gd name="T36" fmla="*/ 21 w 555"/>
                <a:gd name="T37" fmla="*/ 185 h 350"/>
                <a:gd name="T38" fmla="*/ 42 w 555"/>
                <a:gd name="T39" fmla="*/ 185 h 350"/>
                <a:gd name="T40" fmla="*/ 42 w 555"/>
                <a:gd name="T41" fmla="*/ 144 h 350"/>
                <a:gd name="T42" fmla="*/ 62 w 555"/>
                <a:gd name="T43" fmla="*/ 103 h 350"/>
                <a:gd name="T44" fmla="*/ 82 w 555"/>
                <a:gd name="T45" fmla="*/ 62 h 350"/>
                <a:gd name="T46" fmla="*/ 102 w 555"/>
                <a:gd name="T47" fmla="*/ 42 h 350"/>
                <a:gd name="T48" fmla="*/ 144 w 555"/>
                <a:gd name="T49" fmla="*/ 21 h 350"/>
                <a:gd name="T50" fmla="*/ 205 w 555"/>
                <a:gd name="T51" fmla="*/ 21 h 350"/>
                <a:gd name="T52" fmla="*/ 226 w 555"/>
                <a:gd name="T53" fmla="*/ 21 h 350"/>
                <a:gd name="T54" fmla="*/ 246 w 555"/>
                <a:gd name="T55" fmla="*/ 62 h 350"/>
                <a:gd name="T56" fmla="*/ 266 w 555"/>
                <a:gd name="T57" fmla="*/ 62 h 350"/>
                <a:gd name="T58" fmla="*/ 287 w 555"/>
                <a:gd name="T59" fmla="*/ 62 h 350"/>
                <a:gd name="T60" fmla="*/ 308 w 555"/>
                <a:gd name="T61" fmla="*/ 62 h 350"/>
                <a:gd name="T62" fmla="*/ 328 w 555"/>
                <a:gd name="T63" fmla="*/ 62 h 350"/>
                <a:gd name="T64" fmla="*/ 328 w 555"/>
                <a:gd name="T65" fmla="*/ 42 h 350"/>
                <a:gd name="T66" fmla="*/ 348 w 555"/>
                <a:gd name="T67" fmla="*/ 42 h 350"/>
                <a:gd name="T68" fmla="*/ 410 w 555"/>
                <a:gd name="T69" fmla="*/ 21 h 350"/>
                <a:gd name="T70" fmla="*/ 451 w 555"/>
                <a:gd name="T71" fmla="*/ 21 h 350"/>
                <a:gd name="T72" fmla="*/ 492 w 555"/>
                <a:gd name="T73" fmla="*/ 42 h 350"/>
                <a:gd name="T74" fmla="*/ 512 w 555"/>
                <a:gd name="T75" fmla="*/ 82 h 350"/>
                <a:gd name="T76" fmla="*/ 533 w 555"/>
                <a:gd name="T77" fmla="*/ 62 h 350"/>
                <a:gd name="T78" fmla="*/ 533 w 555"/>
                <a:gd name="T79" fmla="*/ 103 h 350"/>
                <a:gd name="T80" fmla="*/ 512 w 555"/>
                <a:gd name="T81" fmla="*/ 123 h 350"/>
                <a:gd name="T82" fmla="*/ 492 w 555"/>
                <a:gd name="T83" fmla="*/ 123 h 350"/>
                <a:gd name="T84" fmla="*/ 472 w 555"/>
                <a:gd name="T85" fmla="*/ 103 h 350"/>
                <a:gd name="T86" fmla="*/ 451 w 555"/>
                <a:gd name="T87" fmla="*/ 144 h 350"/>
                <a:gd name="T88" fmla="*/ 451 w 555"/>
                <a:gd name="T89" fmla="*/ 185 h 350"/>
                <a:gd name="T90" fmla="*/ 472 w 555"/>
                <a:gd name="T91" fmla="*/ 185 h 350"/>
                <a:gd name="T92" fmla="*/ 512 w 555"/>
                <a:gd name="T93" fmla="*/ 205 h 350"/>
                <a:gd name="T94" fmla="*/ 554 w 555"/>
                <a:gd name="T95" fmla="*/ 205 h 350"/>
                <a:gd name="T96" fmla="*/ 554 w 555"/>
                <a:gd name="T97" fmla="*/ 24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55" h="350">
                  <a:moveTo>
                    <a:pt x="554" y="246"/>
                  </a:moveTo>
                  <a:lnTo>
                    <a:pt x="554" y="246"/>
                  </a:lnTo>
                  <a:cubicBezTo>
                    <a:pt x="554" y="246"/>
                    <a:pt x="554" y="267"/>
                    <a:pt x="554" y="287"/>
                  </a:cubicBezTo>
                  <a:cubicBezTo>
                    <a:pt x="554" y="287"/>
                    <a:pt x="554" y="308"/>
                    <a:pt x="533" y="308"/>
                  </a:cubicBezTo>
                  <a:cubicBezTo>
                    <a:pt x="533" y="328"/>
                    <a:pt x="492" y="308"/>
                    <a:pt x="472" y="308"/>
                  </a:cubicBezTo>
                  <a:cubicBezTo>
                    <a:pt x="472" y="308"/>
                    <a:pt x="451" y="308"/>
                    <a:pt x="430" y="308"/>
                  </a:cubicBezTo>
                  <a:lnTo>
                    <a:pt x="410" y="328"/>
                  </a:lnTo>
                  <a:cubicBezTo>
                    <a:pt x="390" y="328"/>
                    <a:pt x="369" y="328"/>
                    <a:pt x="348" y="328"/>
                  </a:cubicBezTo>
                  <a:cubicBezTo>
                    <a:pt x="348" y="328"/>
                    <a:pt x="348" y="328"/>
                    <a:pt x="328" y="328"/>
                  </a:cubicBezTo>
                  <a:lnTo>
                    <a:pt x="308" y="328"/>
                  </a:lnTo>
                  <a:cubicBezTo>
                    <a:pt x="287" y="308"/>
                    <a:pt x="246" y="328"/>
                    <a:pt x="226" y="328"/>
                  </a:cubicBezTo>
                  <a:cubicBezTo>
                    <a:pt x="226" y="328"/>
                    <a:pt x="205" y="328"/>
                    <a:pt x="184" y="328"/>
                  </a:cubicBezTo>
                  <a:lnTo>
                    <a:pt x="164" y="349"/>
                  </a:lnTo>
                  <a:cubicBezTo>
                    <a:pt x="144" y="349"/>
                    <a:pt x="82" y="349"/>
                    <a:pt x="82" y="328"/>
                  </a:cubicBezTo>
                  <a:cubicBezTo>
                    <a:pt x="62" y="328"/>
                    <a:pt x="62" y="308"/>
                    <a:pt x="42" y="287"/>
                  </a:cubicBezTo>
                  <a:cubicBezTo>
                    <a:pt x="42" y="287"/>
                    <a:pt x="21" y="287"/>
                    <a:pt x="21" y="267"/>
                  </a:cubicBezTo>
                  <a:cubicBezTo>
                    <a:pt x="21" y="267"/>
                    <a:pt x="0" y="246"/>
                    <a:pt x="0" y="226"/>
                  </a:cubicBezTo>
                  <a:lnTo>
                    <a:pt x="21" y="205"/>
                  </a:lnTo>
                  <a:cubicBezTo>
                    <a:pt x="21" y="185"/>
                    <a:pt x="21" y="185"/>
                    <a:pt x="21" y="185"/>
                  </a:cubicBezTo>
                  <a:cubicBezTo>
                    <a:pt x="42" y="185"/>
                    <a:pt x="42" y="185"/>
                    <a:pt x="42" y="185"/>
                  </a:cubicBezTo>
                  <a:cubicBezTo>
                    <a:pt x="42" y="164"/>
                    <a:pt x="42" y="144"/>
                    <a:pt x="42" y="144"/>
                  </a:cubicBezTo>
                  <a:cubicBezTo>
                    <a:pt x="62" y="123"/>
                    <a:pt x="62" y="123"/>
                    <a:pt x="62" y="103"/>
                  </a:cubicBezTo>
                  <a:cubicBezTo>
                    <a:pt x="82" y="103"/>
                    <a:pt x="82" y="62"/>
                    <a:pt x="82" y="62"/>
                  </a:cubicBezTo>
                  <a:cubicBezTo>
                    <a:pt x="82" y="42"/>
                    <a:pt x="102" y="42"/>
                    <a:pt x="102" y="42"/>
                  </a:cubicBezTo>
                  <a:cubicBezTo>
                    <a:pt x="123" y="21"/>
                    <a:pt x="144" y="21"/>
                    <a:pt x="144" y="21"/>
                  </a:cubicBezTo>
                  <a:cubicBezTo>
                    <a:pt x="164" y="0"/>
                    <a:pt x="184" y="0"/>
                    <a:pt x="205" y="21"/>
                  </a:cubicBezTo>
                  <a:cubicBezTo>
                    <a:pt x="205" y="21"/>
                    <a:pt x="205" y="21"/>
                    <a:pt x="226" y="21"/>
                  </a:cubicBezTo>
                  <a:cubicBezTo>
                    <a:pt x="226" y="21"/>
                    <a:pt x="226" y="42"/>
                    <a:pt x="246" y="62"/>
                  </a:cubicBezTo>
                  <a:cubicBezTo>
                    <a:pt x="246" y="62"/>
                    <a:pt x="246" y="62"/>
                    <a:pt x="266" y="62"/>
                  </a:cubicBezTo>
                  <a:lnTo>
                    <a:pt x="287" y="62"/>
                  </a:lnTo>
                  <a:cubicBezTo>
                    <a:pt x="287" y="62"/>
                    <a:pt x="287" y="62"/>
                    <a:pt x="308" y="62"/>
                  </a:cubicBezTo>
                  <a:lnTo>
                    <a:pt x="328" y="62"/>
                  </a:lnTo>
                  <a:lnTo>
                    <a:pt x="328" y="42"/>
                  </a:lnTo>
                  <a:lnTo>
                    <a:pt x="348" y="42"/>
                  </a:lnTo>
                  <a:cubicBezTo>
                    <a:pt x="369" y="42"/>
                    <a:pt x="410" y="21"/>
                    <a:pt x="410" y="21"/>
                  </a:cubicBezTo>
                  <a:cubicBezTo>
                    <a:pt x="430" y="21"/>
                    <a:pt x="451" y="21"/>
                    <a:pt x="451" y="21"/>
                  </a:cubicBezTo>
                  <a:cubicBezTo>
                    <a:pt x="472" y="42"/>
                    <a:pt x="492" y="42"/>
                    <a:pt x="492" y="42"/>
                  </a:cubicBezTo>
                  <a:cubicBezTo>
                    <a:pt x="492" y="42"/>
                    <a:pt x="512" y="62"/>
                    <a:pt x="512" y="82"/>
                  </a:cubicBezTo>
                  <a:cubicBezTo>
                    <a:pt x="512" y="82"/>
                    <a:pt x="533" y="82"/>
                    <a:pt x="533" y="62"/>
                  </a:cubicBezTo>
                  <a:cubicBezTo>
                    <a:pt x="533" y="82"/>
                    <a:pt x="533" y="103"/>
                    <a:pt x="533" y="103"/>
                  </a:cubicBezTo>
                  <a:cubicBezTo>
                    <a:pt x="533" y="123"/>
                    <a:pt x="512" y="123"/>
                    <a:pt x="512" y="123"/>
                  </a:cubicBezTo>
                  <a:lnTo>
                    <a:pt x="492" y="123"/>
                  </a:lnTo>
                  <a:lnTo>
                    <a:pt x="472" y="103"/>
                  </a:lnTo>
                  <a:cubicBezTo>
                    <a:pt x="451" y="103"/>
                    <a:pt x="451" y="123"/>
                    <a:pt x="451" y="144"/>
                  </a:cubicBezTo>
                  <a:cubicBezTo>
                    <a:pt x="451" y="144"/>
                    <a:pt x="451" y="164"/>
                    <a:pt x="451" y="185"/>
                  </a:cubicBezTo>
                  <a:lnTo>
                    <a:pt x="472" y="185"/>
                  </a:lnTo>
                  <a:cubicBezTo>
                    <a:pt x="472" y="205"/>
                    <a:pt x="492" y="185"/>
                    <a:pt x="512" y="205"/>
                  </a:cubicBezTo>
                  <a:cubicBezTo>
                    <a:pt x="512" y="205"/>
                    <a:pt x="533" y="205"/>
                    <a:pt x="554" y="205"/>
                  </a:cubicBezTo>
                  <a:cubicBezTo>
                    <a:pt x="554" y="226"/>
                    <a:pt x="554" y="226"/>
                    <a:pt x="554" y="246"/>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8" name="Freeform 655">
              <a:extLst>
                <a:ext uri="{FF2B5EF4-FFF2-40B4-BE49-F238E27FC236}">
                  <a16:creationId xmlns:a16="http://schemas.microsoft.com/office/drawing/2014/main" id="{C7A9CCF4-AF2E-AE42-9957-CA9E69B414ED}"/>
                </a:ext>
              </a:extLst>
            </p:cNvPr>
            <p:cNvSpPr>
              <a:spLocks noChangeArrowheads="1"/>
            </p:cNvSpPr>
            <p:nvPr/>
          </p:nvSpPr>
          <p:spPr bwMode="auto">
            <a:xfrm>
              <a:off x="4165600" y="6191250"/>
              <a:ext cx="15875" cy="30163"/>
            </a:xfrm>
            <a:custGeom>
              <a:avLst/>
              <a:gdLst>
                <a:gd name="T0" fmla="*/ 41 w 42"/>
                <a:gd name="T1" fmla="*/ 82 h 83"/>
                <a:gd name="T2" fmla="*/ 41 w 42"/>
                <a:gd name="T3" fmla="*/ 82 h 83"/>
                <a:gd name="T4" fmla="*/ 41 w 42"/>
                <a:gd name="T5" fmla="*/ 41 h 83"/>
                <a:gd name="T6" fmla="*/ 21 w 42"/>
                <a:gd name="T7" fmla="*/ 21 h 83"/>
                <a:gd name="T8" fmla="*/ 21 w 42"/>
                <a:gd name="T9" fmla="*/ 0 h 83"/>
                <a:gd name="T10" fmla="*/ 0 w 42"/>
                <a:gd name="T11" fmla="*/ 0 h 83"/>
                <a:gd name="T12" fmla="*/ 0 w 42"/>
                <a:gd name="T13" fmla="*/ 21 h 83"/>
                <a:gd name="T14" fmla="*/ 21 w 42"/>
                <a:gd name="T15" fmla="*/ 41 h 83"/>
                <a:gd name="T16" fmla="*/ 21 w 42"/>
                <a:gd name="T17" fmla="*/ 82 h 83"/>
                <a:gd name="T18" fmla="*/ 41 w 42"/>
                <a:gd name="T19" fmla="*/ 8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83">
                  <a:moveTo>
                    <a:pt x="41" y="82"/>
                  </a:moveTo>
                  <a:lnTo>
                    <a:pt x="41" y="82"/>
                  </a:lnTo>
                  <a:cubicBezTo>
                    <a:pt x="41" y="61"/>
                    <a:pt x="41" y="61"/>
                    <a:pt x="41" y="41"/>
                  </a:cubicBezTo>
                  <a:cubicBezTo>
                    <a:pt x="41" y="41"/>
                    <a:pt x="41" y="41"/>
                    <a:pt x="21" y="21"/>
                  </a:cubicBezTo>
                  <a:lnTo>
                    <a:pt x="21" y="0"/>
                  </a:lnTo>
                  <a:lnTo>
                    <a:pt x="0" y="0"/>
                  </a:lnTo>
                  <a:cubicBezTo>
                    <a:pt x="0" y="21"/>
                    <a:pt x="0" y="21"/>
                    <a:pt x="0" y="21"/>
                  </a:cubicBezTo>
                  <a:cubicBezTo>
                    <a:pt x="0" y="41"/>
                    <a:pt x="21" y="41"/>
                    <a:pt x="21" y="41"/>
                  </a:cubicBezTo>
                  <a:cubicBezTo>
                    <a:pt x="21" y="61"/>
                    <a:pt x="21" y="61"/>
                    <a:pt x="21" y="82"/>
                  </a:cubicBezTo>
                  <a:lnTo>
                    <a:pt x="41" y="82"/>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59" name="Freeform 656">
              <a:extLst>
                <a:ext uri="{FF2B5EF4-FFF2-40B4-BE49-F238E27FC236}">
                  <a16:creationId xmlns:a16="http://schemas.microsoft.com/office/drawing/2014/main" id="{00C202FD-EF1D-3540-9576-0731F8ED5F89}"/>
                </a:ext>
              </a:extLst>
            </p:cNvPr>
            <p:cNvSpPr>
              <a:spLocks noChangeArrowheads="1"/>
            </p:cNvSpPr>
            <p:nvPr/>
          </p:nvSpPr>
          <p:spPr bwMode="auto">
            <a:xfrm>
              <a:off x="4203700" y="6205538"/>
              <a:ext cx="14288" cy="15875"/>
            </a:xfrm>
            <a:custGeom>
              <a:avLst/>
              <a:gdLst>
                <a:gd name="T0" fmla="*/ 0 w 41"/>
                <a:gd name="T1" fmla="*/ 20 h 42"/>
                <a:gd name="T2" fmla="*/ 0 w 41"/>
                <a:gd name="T3" fmla="*/ 20 h 42"/>
                <a:gd name="T4" fmla="*/ 20 w 41"/>
                <a:gd name="T5" fmla="*/ 20 h 42"/>
                <a:gd name="T6" fmla="*/ 20 w 41"/>
                <a:gd name="T7" fmla="*/ 20 h 42"/>
                <a:gd name="T8" fmla="*/ 40 w 41"/>
                <a:gd name="T9" fmla="*/ 20 h 42"/>
                <a:gd name="T10" fmla="*/ 40 w 41"/>
                <a:gd name="T11" fmla="*/ 41 h 42"/>
                <a:gd name="T12" fmla="*/ 20 w 41"/>
                <a:gd name="T13" fmla="*/ 41 h 42"/>
                <a:gd name="T14" fmla="*/ 0 w 41"/>
                <a:gd name="T15" fmla="*/ 20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42">
                  <a:moveTo>
                    <a:pt x="0" y="20"/>
                  </a:moveTo>
                  <a:lnTo>
                    <a:pt x="0" y="20"/>
                  </a:lnTo>
                  <a:cubicBezTo>
                    <a:pt x="0" y="20"/>
                    <a:pt x="0" y="20"/>
                    <a:pt x="20" y="20"/>
                  </a:cubicBezTo>
                  <a:cubicBezTo>
                    <a:pt x="20" y="0"/>
                    <a:pt x="20" y="0"/>
                    <a:pt x="20" y="20"/>
                  </a:cubicBezTo>
                  <a:lnTo>
                    <a:pt x="40" y="20"/>
                  </a:lnTo>
                  <a:lnTo>
                    <a:pt x="40" y="41"/>
                  </a:lnTo>
                  <a:lnTo>
                    <a:pt x="20" y="41"/>
                  </a:lnTo>
                  <a:cubicBezTo>
                    <a:pt x="20" y="41"/>
                    <a:pt x="0" y="41"/>
                    <a:pt x="0" y="2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0" name="Freeform 657">
              <a:extLst>
                <a:ext uri="{FF2B5EF4-FFF2-40B4-BE49-F238E27FC236}">
                  <a16:creationId xmlns:a16="http://schemas.microsoft.com/office/drawing/2014/main" id="{A1CCDE2D-498D-5946-B19B-6462424C20D3}"/>
                </a:ext>
              </a:extLst>
            </p:cNvPr>
            <p:cNvSpPr>
              <a:spLocks noChangeArrowheads="1"/>
            </p:cNvSpPr>
            <p:nvPr/>
          </p:nvSpPr>
          <p:spPr bwMode="auto">
            <a:xfrm>
              <a:off x="4195763" y="6205538"/>
              <a:ext cx="7937" cy="15875"/>
            </a:xfrm>
            <a:custGeom>
              <a:avLst/>
              <a:gdLst>
                <a:gd name="T0" fmla="*/ 0 w 22"/>
                <a:gd name="T1" fmla="*/ 41 h 42"/>
                <a:gd name="T2" fmla="*/ 0 w 22"/>
                <a:gd name="T3" fmla="*/ 41 h 42"/>
                <a:gd name="T4" fmla="*/ 0 w 22"/>
                <a:gd name="T5" fmla="*/ 20 h 42"/>
                <a:gd name="T6" fmla="*/ 0 w 22"/>
                <a:gd name="T7" fmla="*/ 0 h 42"/>
                <a:gd name="T8" fmla="*/ 0 w 22"/>
                <a:gd name="T9" fmla="*/ 0 h 42"/>
                <a:gd name="T10" fmla="*/ 21 w 22"/>
                <a:gd name="T11" fmla="*/ 20 h 42"/>
                <a:gd name="T12" fmla="*/ 0 w 22"/>
                <a:gd name="T13" fmla="*/ 20 h 42"/>
                <a:gd name="T14" fmla="*/ 21 w 22"/>
                <a:gd name="T15" fmla="*/ 41 h 42"/>
                <a:gd name="T16" fmla="*/ 0 w 22"/>
                <a:gd name="T17" fmla="*/ 4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42">
                  <a:moveTo>
                    <a:pt x="0" y="41"/>
                  </a:moveTo>
                  <a:lnTo>
                    <a:pt x="0" y="41"/>
                  </a:lnTo>
                  <a:cubicBezTo>
                    <a:pt x="0" y="41"/>
                    <a:pt x="0" y="41"/>
                    <a:pt x="0" y="20"/>
                  </a:cubicBezTo>
                  <a:lnTo>
                    <a:pt x="0" y="0"/>
                  </a:lnTo>
                  <a:lnTo>
                    <a:pt x="0" y="0"/>
                  </a:lnTo>
                  <a:cubicBezTo>
                    <a:pt x="0" y="0"/>
                    <a:pt x="21" y="0"/>
                    <a:pt x="21" y="20"/>
                  </a:cubicBezTo>
                  <a:lnTo>
                    <a:pt x="0" y="20"/>
                  </a:lnTo>
                  <a:cubicBezTo>
                    <a:pt x="21" y="20"/>
                    <a:pt x="21" y="41"/>
                    <a:pt x="21" y="41"/>
                  </a:cubicBezTo>
                  <a:lnTo>
                    <a:pt x="0" y="4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1" name="Freeform 658">
              <a:extLst>
                <a:ext uri="{FF2B5EF4-FFF2-40B4-BE49-F238E27FC236}">
                  <a16:creationId xmlns:a16="http://schemas.microsoft.com/office/drawing/2014/main" id="{F90D2110-5D8B-BB4A-9E3B-49A6EFAD9C03}"/>
                </a:ext>
              </a:extLst>
            </p:cNvPr>
            <p:cNvSpPr>
              <a:spLocks noChangeArrowheads="1"/>
            </p:cNvSpPr>
            <p:nvPr/>
          </p:nvSpPr>
          <p:spPr bwMode="auto">
            <a:xfrm>
              <a:off x="4181475" y="6183313"/>
              <a:ext cx="7938" cy="15875"/>
            </a:xfrm>
            <a:custGeom>
              <a:avLst/>
              <a:gdLst>
                <a:gd name="T0" fmla="*/ 20 w 21"/>
                <a:gd name="T1" fmla="*/ 21 h 43"/>
                <a:gd name="T2" fmla="*/ 20 w 21"/>
                <a:gd name="T3" fmla="*/ 21 h 43"/>
                <a:gd name="T4" fmla="*/ 0 w 21"/>
                <a:gd name="T5" fmla="*/ 0 h 43"/>
                <a:gd name="T6" fmla="*/ 0 w 21"/>
                <a:gd name="T7" fmla="*/ 21 h 43"/>
                <a:gd name="T8" fmla="*/ 0 w 21"/>
                <a:gd name="T9" fmla="*/ 42 h 43"/>
                <a:gd name="T10" fmla="*/ 20 w 21"/>
                <a:gd name="T11" fmla="*/ 42 h 43"/>
                <a:gd name="T12" fmla="*/ 20 w 21"/>
                <a:gd name="T13" fmla="*/ 21 h 43"/>
              </a:gdLst>
              <a:ahLst/>
              <a:cxnLst>
                <a:cxn ang="0">
                  <a:pos x="T0" y="T1"/>
                </a:cxn>
                <a:cxn ang="0">
                  <a:pos x="T2" y="T3"/>
                </a:cxn>
                <a:cxn ang="0">
                  <a:pos x="T4" y="T5"/>
                </a:cxn>
                <a:cxn ang="0">
                  <a:pos x="T6" y="T7"/>
                </a:cxn>
                <a:cxn ang="0">
                  <a:pos x="T8" y="T9"/>
                </a:cxn>
                <a:cxn ang="0">
                  <a:pos x="T10" y="T11"/>
                </a:cxn>
                <a:cxn ang="0">
                  <a:pos x="T12" y="T13"/>
                </a:cxn>
              </a:cxnLst>
              <a:rect l="0" t="0" r="r" b="b"/>
              <a:pathLst>
                <a:path w="21" h="43">
                  <a:moveTo>
                    <a:pt x="20" y="21"/>
                  </a:moveTo>
                  <a:lnTo>
                    <a:pt x="20" y="21"/>
                  </a:lnTo>
                  <a:cubicBezTo>
                    <a:pt x="0" y="21"/>
                    <a:pt x="0" y="0"/>
                    <a:pt x="0" y="0"/>
                  </a:cubicBezTo>
                  <a:cubicBezTo>
                    <a:pt x="0" y="21"/>
                    <a:pt x="0" y="21"/>
                    <a:pt x="0" y="21"/>
                  </a:cubicBezTo>
                  <a:lnTo>
                    <a:pt x="0" y="42"/>
                  </a:lnTo>
                  <a:lnTo>
                    <a:pt x="20" y="42"/>
                  </a:ln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2" name="Freeform 659">
              <a:extLst>
                <a:ext uri="{FF2B5EF4-FFF2-40B4-BE49-F238E27FC236}">
                  <a16:creationId xmlns:a16="http://schemas.microsoft.com/office/drawing/2014/main" id="{1D2584EB-3A4F-C845-A27F-450F2AF5DFE9}"/>
                </a:ext>
              </a:extLst>
            </p:cNvPr>
            <p:cNvSpPr>
              <a:spLocks noChangeArrowheads="1"/>
            </p:cNvSpPr>
            <p:nvPr/>
          </p:nvSpPr>
          <p:spPr bwMode="auto">
            <a:xfrm>
              <a:off x="4203700" y="6191250"/>
              <a:ext cx="7938" cy="15875"/>
            </a:xfrm>
            <a:custGeom>
              <a:avLst/>
              <a:gdLst>
                <a:gd name="T0" fmla="*/ 20 w 21"/>
                <a:gd name="T1" fmla="*/ 21 h 42"/>
                <a:gd name="T2" fmla="*/ 20 w 21"/>
                <a:gd name="T3" fmla="*/ 21 h 42"/>
                <a:gd name="T4" fmla="*/ 0 w 21"/>
                <a:gd name="T5" fmla="*/ 21 h 42"/>
                <a:gd name="T6" fmla="*/ 0 w 21"/>
                <a:gd name="T7" fmla="*/ 21 h 42"/>
                <a:gd name="T8" fmla="*/ 20 w 21"/>
                <a:gd name="T9" fmla="*/ 41 h 42"/>
                <a:gd name="T10" fmla="*/ 20 w 21"/>
                <a:gd name="T11" fmla="*/ 21 h 42"/>
                <a:gd name="T12" fmla="*/ 20 w 21"/>
                <a:gd name="T13" fmla="*/ 0 h 42"/>
                <a:gd name="T14" fmla="*/ 20 w 21"/>
                <a:gd name="T15" fmla="*/ 2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42">
                  <a:moveTo>
                    <a:pt x="20" y="21"/>
                  </a:moveTo>
                  <a:lnTo>
                    <a:pt x="20" y="21"/>
                  </a:lnTo>
                  <a:cubicBezTo>
                    <a:pt x="0" y="21"/>
                    <a:pt x="0" y="21"/>
                    <a:pt x="0" y="21"/>
                  </a:cubicBezTo>
                  <a:lnTo>
                    <a:pt x="0" y="21"/>
                  </a:lnTo>
                  <a:cubicBezTo>
                    <a:pt x="0" y="41"/>
                    <a:pt x="20" y="41"/>
                    <a:pt x="20" y="41"/>
                  </a:cubicBezTo>
                  <a:lnTo>
                    <a:pt x="20" y="21"/>
                  </a:lnTo>
                  <a:cubicBezTo>
                    <a:pt x="20" y="21"/>
                    <a:pt x="20" y="21"/>
                    <a:pt x="20" y="0"/>
                  </a:cubicBezTo>
                  <a:lnTo>
                    <a:pt x="20" y="21"/>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3" name="Freeform 660">
              <a:extLst>
                <a:ext uri="{FF2B5EF4-FFF2-40B4-BE49-F238E27FC236}">
                  <a16:creationId xmlns:a16="http://schemas.microsoft.com/office/drawing/2014/main" id="{097AAE08-C4B9-1D42-B403-405E118E8129}"/>
                </a:ext>
              </a:extLst>
            </p:cNvPr>
            <p:cNvSpPr>
              <a:spLocks noChangeArrowheads="1"/>
            </p:cNvSpPr>
            <p:nvPr/>
          </p:nvSpPr>
          <p:spPr bwMode="auto">
            <a:xfrm>
              <a:off x="4246563" y="6272213"/>
              <a:ext cx="7937" cy="15875"/>
            </a:xfrm>
            <a:custGeom>
              <a:avLst/>
              <a:gdLst>
                <a:gd name="T0" fmla="*/ 21 w 22"/>
                <a:gd name="T1" fmla="*/ 41 h 42"/>
                <a:gd name="T2" fmla="*/ 21 w 22"/>
                <a:gd name="T3" fmla="*/ 41 h 42"/>
                <a:gd name="T4" fmla="*/ 21 w 22"/>
                <a:gd name="T5" fmla="*/ 41 h 42"/>
                <a:gd name="T6" fmla="*/ 0 w 22"/>
                <a:gd name="T7" fmla="*/ 41 h 42"/>
                <a:gd name="T8" fmla="*/ 0 w 22"/>
                <a:gd name="T9" fmla="*/ 20 h 42"/>
                <a:gd name="T10" fmla="*/ 0 w 22"/>
                <a:gd name="T11" fmla="*/ 0 h 42"/>
                <a:gd name="T12" fmla="*/ 21 w 22"/>
                <a:gd name="T13" fmla="*/ 20 h 42"/>
                <a:gd name="T14" fmla="*/ 21 w 22"/>
                <a:gd name="T15" fmla="*/ 41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2">
                  <a:moveTo>
                    <a:pt x="21" y="41"/>
                  </a:moveTo>
                  <a:lnTo>
                    <a:pt x="21" y="41"/>
                  </a:lnTo>
                  <a:lnTo>
                    <a:pt x="21" y="41"/>
                  </a:lnTo>
                  <a:cubicBezTo>
                    <a:pt x="0" y="41"/>
                    <a:pt x="0" y="41"/>
                    <a:pt x="0" y="41"/>
                  </a:cubicBezTo>
                  <a:lnTo>
                    <a:pt x="0" y="20"/>
                  </a:lnTo>
                  <a:lnTo>
                    <a:pt x="0" y="0"/>
                  </a:lnTo>
                  <a:lnTo>
                    <a:pt x="21" y="20"/>
                  </a:lnTo>
                  <a:cubicBezTo>
                    <a:pt x="21" y="20"/>
                    <a:pt x="21" y="20"/>
                    <a:pt x="2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4" name="Freeform 661">
              <a:extLst>
                <a:ext uri="{FF2B5EF4-FFF2-40B4-BE49-F238E27FC236}">
                  <a16:creationId xmlns:a16="http://schemas.microsoft.com/office/drawing/2014/main" id="{96E36C11-A29D-384E-AF41-84B4D2407BCC}"/>
                </a:ext>
              </a:extLst>
            </p:cNvPr>
            <p:cNvSpPr>
              <a:spLocks noChangeArrowheads="1"/>
            </p:cNvSpPr>
            <p:nvPr/>
          </p:nvSpPr>
          <p:spPr bwMode="auto">
            <a:xfrm>
              <a:off x="3981450" y="5888038"/>
              <a:ext cx="325438" cy="412750"/>
            </a:xfrm>
            <a:custGeom>
              <a:avLst/>
              <a:gdLst>
                <a:gd name="T0" fmla="*/ 881 w 902"/>
                <a:gd name="T1" fmla="*/ 1147 h 1148"/>
                <a:gd name="T2" fmla="*/ 819 w 902"/>
                <a:gd name="T3" fmla="*/ 1106 h 1148"/>
                <a:gd name="T4" fmla="*/ 779 w 902"/>
                <a:gd name="T5" fmla="*/ 1085 h 1148"/>
                <a:gd name="T6" fmla="*/ 737 w 902"/>
                <a:gd name="T7" fmla="*/ 1004 h 1148"/>
                <a:gd name="T8" fmla="*/ 717 w 902"/>
                <a:gd name="T9" fmla="*/ 943 h 1148"/>
                <a:gd name="T10" fmla="*/ 655 w 902"/>
                <a:gd name="T11" fmla="*/ 861 h 1148"/>
                <a:gd name="T12" fmla="*/ 573 w 902"/>
                <a:gd name="T13" fmla="*/ 799 h 1148"/>
                <a:gd name="T14" fmla="*/ 491 w 902"/>
                <a:gd name="T15" fmla="*/ 737 h 1148"/>
                <a:gd name="T16" fmla="*/ 491 w 902"/>
                <a:gd name="T17" fmla="*/ 655 h 1148"/>
                <a:gd name="T18" fmla="*/ 471 w 902"/>
                <a:gd name="T19" fmla="*/ 635 h 1148"/>
                <a:gd name="T20" fmla="*/ 471 w 902"/>
                <a:gd name="T21" fmla="*/ 717 h 1148"/>
                <a:gd name="T22" fmla="*/ 491 w 902"/>
                <a:gd name="T23" fmla="*/ 819 h 1148"/>
                <a:gd name="T24" fmla="*/ 512 w 902"/>
                <a:gd name="T25" fmla="*/ 922 h 1148"/>
                <a:gd name="T26" fmla="*/ 451 w 902"/>
                <a:gd name="T27" fmla="*/ 1004 h 1148"/>
                <a:gd name="T28" fmla="*/ 348 w 902"/>
                <a:gd name="T29" fmla="*/ 1045 h 1148"/>
                <a:gd name="T30" fmla="*/ 307 w 902"/>
                <a:gd name="T31" fmla="*/ 1045 h 1148"/>
                <a:gd name="T32" fmla="*/ 245 w 902"/>
                <a:gd name="T33" fmla="*/ 881 h 1148"/>
                <a:gd name="T34" fmla="*/ 184 w 902"/>
                <a:gd name="T35" fmla="*/ 779 h 1148"/>
                <a:gd name="T36" fmla="*/ 184 w 902"/>
                <a:gd name="T37" fmla="*/ 697 h 1148"/>
                <a:gd name="T38" fmla="*/ 143 w 902"/>
                <a:gd name="T39" fmla="*/ 635 h 1148"/>
                <a:gd name="T40" fmla="*/ 184 w 902"/>
                <a:gd name="T41" fmla="*/ 573 h 1148"/>
                <a:gd name="T42" fmla="*/ 123 w 902"/>
                <a:gd name="T43" fmla="*/ 512 h 1148"/>
                <a:gd name="T44" fmla="*/ 21 w 902"/>
                <a:gd name="T45" fmla="*/ 430 h 1148"/>
                <a:gd name="T46" fmla="*/ 61 w 902"/>
                <a:gd name="T47" fmla="*/ 348 h 1148"/>
                <a:gd name="T48" fmla="*/ 123 w 902"/>
                <a:gd name="T49" fmla="*/ 287 h 1148"/>
                <a:gd name="T50" fmla="*/ 103 w 902"/>
                <a:gd name="T51" fmla="*/ 225 h 1148"/>
                <a:gd name="T52" fmla="*/ 0 w 902"/>
                <a:gd name="T53" fmla="*/ 164 h 1148"/>
                <a:gd name="T54" fmla="*/ 0 w 902"/>
                <a:gd name="T55" fmla="*/ 41 h 1148"/>
                <a:gd name="T56" fmla="*/ 61 w 902"/>
                <a:gd name="T57" fmla="*/ 41 h 1148"/>
                <a:gd name="T58" fmla="*/ 103 w 902"/>
                <a:gd name="T59" fmla="*/ 102 h 1148"/>
                <a:gd name="T60" fmla="*/ 103 w 902"/>
                <a:gd name="T61" fmla="*/ 41 h 1148"/>
                <a:gd name="T62" fmla="*/ 143 w 902"/>
                <a:gd name="T63" fmla="*/ 41 h 1148"/>
                <a:gd name="T64" fmla="*/ 205 w 902"/>
                <a:gd name="T65" fmla="*/ 123 h 1148"/>
                <a:gd name="T66" fmla="*/ 327 w 902"/>
                <a:gd name="T67" fmla="*/ 164 h 1148"/>
                <a:gd name="T68" fmla="*/ 369 w 902"/>
                <a:gd name="T69" fmla="*/ 307 h 1148"/>
                <a:gd name="T70" fmla="*/ 533 w 902"/>
                <a:gd name="T71" fmla="*/ 287 h 1148"/>
                <a:gd name="T72" fmla="*/ 737 w 902"/>
                <a:gd name="T73" fmla="*/ 307 h 1148"/>
                <a:gd name="T74" fmla="*/ 737 w 902"/>
                <a:gd name="T75" fmla="*/ 369 h 1148"/>
                <a:gd name="T76" fmla="*/ 717 w 902"/>
                <a:gd name="T77" fmla="*/ 471 h 1148"/>
                <a:gd name="T78" fmla="*/ 594 w 902"/>
                <a:gd name="T79" fmla="*/ 553 h 1148"/>
                <a:gd name="T80" fmla="*/ 512 w 902"/>
                <a:gd name="T81" fmla="*/ 635 h 1148"/>
                <a:gd name="T82" fmla="*/ 573 w 902"/>
                <a:gd name="T83" fmla="*/ 697 h 1148"/>
                <a:gd name="T84" fmla="*/ 655 w 902"/>
                <a:gd name="T85" fmla="*/ 737 h 1148"/>
                <a:gd name="T86" fmla="*/ 717 w 902"/>
                <a:gd name="T87" fmla="*/ 655 h 1148"/>
                <a:gd name="T88" fmla="*/ 737 w 902"/>
                <a:gd name="T89" fmla="*/ 573 h 1148"/>
                <a:gd name="T90" fmla="*/ 779 w 902"/>
                <a:gd name="T91" fmla="*/ 533 h 1148"/>
                <a:gd name="T92" fmla="*/ 779 w 902"/>
                <a:gd name="T93" fmla="*/ 635 h 1148"/>
                <a:gd name="T94" fmla="*/ 819 w 902"/>
                <a:gd name="T95" fmla="*/ 758 h 1148"/>
                <a:gd name="T96" fmla="*/ 819 w 902"/>
                <a:gd name="T97" fmla="*/ 901 h 1148"/>
                <a:gd name="T98" fmla="*/ 881 w 902"/>
                <a:gd name="T99" fmla="*/ 983 h 1148"/>
                <a:gd name="T100" fmla="*/ 881 w 902"/>
                <a:gd name="T101" fmla="*/ 1085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02" h="1148">
                  <a:moveTo>
                    <a:pt x="881" y="1085"/>
                  </a:moveTo>
                  <a:lnTo>
                    <a:pt x="881" y="1085"/>
                  </a:lnTo>
                  <a:cubicBezTo>
                    <a:pt x="881" y="1106"/>
                    <a:pt x="901" y="1147"/>
                    <a:pt x="881" y="1147"/>
                  </a:cubicBezTo>
                  <a:lnTo>
                    <a:pt x="861" y="1147"/>
                  </a:lnTo>
                  <a:cubicBezTo>
                    <a:pt x="861" y="1127"/>
                    <a:pt x="861" y="1127"/>
                    <a:pt x="840" y="1127"/>
                  </a:cubicBezTo>
                  <a:cubicBezTo>
                    <a:pt x="840" y="1106"/>
                    <a:pt x="819" y="1106"/>
                    <a:pt x="819" y="1106"/>
                  </a:cubicBezTo>
                  <a:cubicBezTo>
                    <a:pt x="799" y="1106"/>
                    <a:pt x="779" y="1106"/>
                    <a:pt x="779" y="1127"/>
                  </a:cubicBezTo>
                  <a:lnTo>
                    <a:pt x="779" y="1106"/>
                  </a:lnTo>
                  <a:lnTo>
                    <a:pt x="779" y="1085"/>
                  </a:lnTo>
                  <a:cubicBezTo>
                    <a:pt x="758" y="1065"/>
                    <a:pt x="758" y="1065"/>
                    <a:pt x="758" y="1065"/>
                  </a:cubicBezTo>
                  <a:cubicBezTo>
                    <a:pt x="758" y="1045"/>
                    <a:pt x="758" y="1045"/>
                    <a:pt x="758" y="1025"/>
                  </a:cubicBezTo>
                  <a:cubicBezTo>
                    <a:pt x="737" y="1025"/>
                    <a:pt x="737" y="1004"/>
                    <a:pt x="737" y="1004"/>
                  </a:cubicBezTo>
                  <a:lnTo>
                    <a:pt x="737" y="983"/>
                  </a:lnTo>
                  <a:lnTo>
                    <a:pt x="737" y="963"/>
                  </a:lnTo>
                  <a:lnTo>
                    <a:pt x="717" y="943"/>
                  </a:lnTo>
                  <a:cubicBezTo>
                    <a:pt x="717" y="922"/>
                    <a:pt x="697" y="922"/>
                    <a:pt x="697" y="922"/>
                  </a:cubicBezTo>
                  <a:cubicBezTo>
                    <a:pt x="676" y="901"/>
                    <a:pt x="676" y="901"/>
                    <a:pt x="676" y="881"/>
                  </a:cubicBezTo>
                  <a:lnTo>
                    <a:pt x="655" y="861"/>
                  </a:lnTo>
                  <a:cubicBezTo>
                    <a:pt x="655" y="840"/>
                    <a:pt x="635" y="840"/>
                    <a:pt x="635" y="819"/>
                  </a:cubicBezTo>
                  <a:cubicBezTo>
                    <a:pt x="615" y="819"/>
                    <a:pt x="594" y="819"/>
                    <a:pt x="594" y="799"/>
                  </a:cubicBezTo>
                  <a:lnTo>
                    <a:pt x="573" y="799"/>
                  </a:lnTo>
                  <a:cubicBezTo>
                    <a:pt x="553" y="799"/>
                    <a:pt x="533" y="799"/>
                    <a:pt x="533" y="799"/>
                  </a:cubicBezTo>
                  <a:cubicBezTo>
                    <a:pt x="533" y="799"/>
                    <a:pt x="533" y="779"/>
                    <a:pt x="512" y="779"/>
                  </a:cubicBezTo>
                  <a:cubicBezTo>
                    <a:pt x="512" y="758"/>
                    <a:pt x="512" y="758"/>
                    <a:pt x="491" y="737"/>
                  </a:cubicBezTo>
                  <a:lnTo>
                    <a:pt x="491" y="717"/>
                  </a:lnTo>
                  <a:cubicBezTo>
                    <a:pt x="491" y="697"/>
                    <a:pt x="491" y="697"/>
                    <a:pt x="491" y="676"/>
                  </a:cubicBezTo>
                  <a:cubicBezTo>
                    <a:pt x="491" y="676"/>
                    <a:pt x="491" y="676"/>
                    <a:pt x="491" y="655"/>
                  </a:cubicBezTo>
                  <a:cubicBezTo>
                    <a:pt x="491" y="655"/>
                    <a:pt x="491" y="655"/>
                    <a:pt x="471" y="655"/>
                  </a:cubicBezTo>
                  <a:cubicBezTo>
                    <a:pt x="471" y="635"/>
                    <a:pt x="491" y="615"/>
                    <a:pt x="471" y="615"/>
                  </a:cubicBezTo>
                  <a:lnTo>
                    <a:pt x="471" y="635"/>
                  </a:lnTo>
                  <a:lnTo>
                    <a:pt x="471" y="655"/>
                  </a:lnTo>
                  <a:cubicBezTo>
                    <a:pt x="471" y="676"/>
                    <a:pt x="471" y="676"/>
                    <a:pt x="471" y="697"/>
                  </a:cubicBezTo>
                  <a:lnTo>
                    <a:pt x="471" y="717"/>
                  </a:lnTo>
                  <a:cubicBezTo>
                    <a:pt x="471" y="737"/>
                    <a:pt x="471" y="758"/>
                    <a:pt x="471" y="758"/>
                  </a:cubicBezTo>
                  <a:cubicBezTo>
                    <a:pt x="471" y="779"/>
                    <a:pt x="491" y="779"/>
                    <a:pt x="491" y="799"/>
                  </a:cubicBezTo>
                  <a:lnTo>
                    <a:pt x="491" y="819"/>
                  </a:lnTo>
                  <a:cubicBezTo>
                    <a:pt x="491" y="840"/>
                    <a:pt x="491" y="861"/>
                    <a:pt x="491" y="861"/>
                  </a:cubicBezTo>
                  <a:cubicBezTo>
                    <a:pt x="491" y="881"/>
                    <a:pt x="512" y="881"/>
                    <a:pt x="512" y="901"/>
                  </a:cubicBezTo>
                  <a:lnTo>
                    <a:pt x="512" y="922"/>
                  </a:lnTo>
                  <a:cubicBezTo>
                    <a:pt x="512" y="922"/>
                    <a:pt x="512" y="943"/>
                    <a:pt x="512" y="963"/>
                  </a:cubicBezTo>
                  <a:cubicBezTo>
                    <a:pt x="491" y="963"/>
                    <a:pt x="491" y="983"/>
                    <a:pt x="491" y="983"/>
                  </a:cubicBezTo>
                  <a:cubicBezTo>
                    <a:pt x="471" y="983"/>
                    <a:pt x="471" y="1004"/>
                    <a:pt x="451" y="1004"/>
                  </a:cubicBezTo>
                  <a:cubicBezTo>
                    <a:pt x="451" y="1025"/>
                    <a:pt x="430" y="1025"/>
                    <a:pt x="409" y="1025"/>
                  </a:cubicBezTo>
                  <a:lnTo>
                    <a:pt x="389" y="1025"/>
                  </a:lnTo>
                  <a:cubicBezTo>
                    <a:pt x="369" y="1045"/>
                    <a:pt x="369" y="1045"/>
                    <a:pt x="348" y="1045"/>
                  </a:cubicBezTo>
                  <a:lnTo>
                    <a:pt x="327" y="1065"/>
                  </a:lnTo>
                  <a:lnTo>
                    <a:pt x="327" y="1065"/>
                  </a:lnTo>
                  <a:cubicBezTo>
                    <a:pt x="327" y="1045"/>
                    <a:pt x="327" y="1045"/>
                    <a:pt x="307" y="1045"/>
                  </a:cubicBezTo>
                  <a:cubicBezTo>
                    <a:pt x="307" y="1025"/>
                    <a:pt x="287" y="1004"/>
                    <a:pt x="266" y="1004"/>
                  </a:cubicBezTo>
                  <a:cubicBezTo>
                    <a:pt x="266" y="983"/>
                    <a:pt x="245" y="963"/>
                    <a:pt x="245" y="943"/>
                  </a:cubicBezTo>
                  <a:cubicBezTo>
                    <a:pt x="245" y="922"/>
                    <a:pt x="245" y="901"/>
                    <a:pt x="245" y="881"/>
                  </a:cubicBezTo>
                  <a:cubicBezTo>
                    <a:pt x="245" y="861"/>
                    <a:pt x="245" y="840"/>
                    <a:pt x="225" y="819"/>
                  </a:cubicBezTo>
                  <a:lnTo>
                    <a:pt x="205" y="819"/>
                  </a:lnTo>
                  <a:cubicBezTo>
                    <a:pt x="205" y="799"/>
                    <a:pt x="184" y="799"/>
                    <a:pt x="184" y="779"/>
                  </a:cubicBezTo>
                  <a:lnTo>
                    <a:pt x="205" y="758"/>
                  </a:lnTo>
                  <a:cubicBezTo>
                    <a:pt x="205" y="737"/>
                    <a:pt x="205" y="737"/>
                    <a:pt x="205" y="717"/>
                  </a:cubicBezTo>
                  <a:cubicBezTo>
                    <a:pt x="184" y="717"/>
                    <a:pt x="184" y="697"/>
                    <a:pt x="184" y="697"/>
                  </a:cubicBezTo>
                  <a:cubicBezTo>
                    <a:pt x="163" y="697"/>
                    <a:pt x="143" y="697"/>
                    <a:pt x="143" y="676"/>
                  </a:cubicBezTo>
                  <a:lnTo>
                    <a:pt x="143" y="655"/>
                  </a:lnTo>
                  <a:lnTo>
                    <a:pt x="143" y="635"/>
                  </a:lnTo>
                  <a:cubicBezTo>
                    <a:pt x="143" y="615"/>
                    <a:pt x="143" y="615"/>
                    <a:pt x="143" y="615"/>
                  </a:cubicBezTo>
                  <a:cubicBezTo>
                    <a:pt x="143" y="615"/>
                    <a:pt x="163" y="615"/>
                    <a:pt x="184" y="615"/>
                  </a:cubicBezTo>
                  <a:cubicBezTo>
                    <a:pt x="184" y="615"/>
                    <a:pt x="184" y="594"/>
                    <a:pt x="184" y="573"/>
                  </a:cubicBezTo>
                  <a:lnTo>
                    <a:pt x="184" y="553"/>
                  </a:lnTo>
                  <a:cubicBezTo>
                    <a:pt x="184" y="553"/>
                    <a:pt x="163" y="553"/>
                    <a:pt x="143" y="533"/>
                  </a:cubicBezTo>
                  <a:cubicBezTo>
                    <a:pt x="143" y="533"/>
                    <a:pt x="143" y="512"/>
                    <a:pt x="123" y="512"/>
                  </a:cubicBezTo>
                  <a:cubicBezTo>
                    <a:pt x="123" y="491"/>
                    <a:pt x="103" y="471"/>
                    <a:pt x="82" y="471"/>
                  </a:cubicBezTo>
                  <a:cubicBezTo>
                    <a:pt x="82" y="471"/>
                    <a:pt x="61" y="471"/>
                    <a:pt x="41" y="451"/>
                  </a:cubicBezTo>
                  <a:lnTo>
                    <a:pt x="21" y="430"/>
                  </a:lnTo>
                  <a:lnTo>
                    <a:pt x="0" y="389"/>
                  </a:lnTo>
                  <a:cubicBezTo>
                    <a:pt x="21" y="369"/>
                    <a:pt x="21" y="369"/>
                    <a:pt x="21" y="348"/>
                  </a:cubicBezTo>
                  <a:cubicBezTo>
                    <a:pt x="41" y="348"/>
                    <a:pt x="61" y="348"/>
                    <a:pt x="61" y="348"/>
                  </a:cubicBezTo>
                  <a:cubicBezTo>
                    <a:pt x="82" y="328"/>
                    <a:pt x="82" y="307"/>
                    <a:pt x="82" y="307"/>
                  </a:cubicBezTo>
                  <a:lnTo>
                    <a:pt x="103" y="307"/>
                  </a:lnTo>
                  <a:cubicBezTo>
                    <a:pt x="123" y="287"/>
                    <a:pt x="123" y="287"/>
                    <a:pt x="123" y="287"/>
                  </a:cubicBezTo>
                  <a:cubicBezTo>
                    <a:pt x="123" y="266"/>
                    <a:pt x="143" y="266"/>
                    <a:pt x="143" y="246"/>
                  </a:cubicBezTo>
                  <a:lnTo>
                    <a:pt x="123" y="225"/>
                  </a:lnTo>
                  <a:lnTo>
                    <a:pt x="103" y="225"/>
                  </a:lnTo>
                  <a:cubicBezTo>
                    <a:pt x="103" y="225"/>
                    <a:pt x="82" y="205"/>
                    <a:pt x="61" y="205"/>
                  </a:cubicBezTo>
                  <a:cubicBezTo>
                    <a:pt x="61" y="205"/>
                    <a:pt x="41" y="205"/>
                    <a:pt x="41" y="184"/>
                  </a:cubicBezTo>
                  <a:cubicBezTo>
                    <a:pt x="21" y="184"/>
                    <a:pt x="0" y="184"/>
                    <a:pt x="0" y="164"/>
                  </a:cubicBezTo>
                  <a:lnTo>
                    <a:pt x="0" y="143"/>
                  </a:lnTo>
                  <a:cubicBezTo>
                    <a:pt x="0" y="123"/>
                    <a:pt x="0" y="102"/>
                    <a:pt x="0" y="102"/>
                  </a:cubicBezTo>
                  <a:cubicBezTo>
                    <a:pt x="0" y="82"/>
                    <a:pt x="0" y="61"/>
                    <a:pt x="0" y="41"/>
                  </a:cubicBezTo>
                  <a:cubicBezTo>
                    <a:pt x="0" y="41"/>
                    <a:pt x="0" y="20"/>
                    <a:pt x="0" y="0"/>
                  </a:cubicBezTo>
                  <a:cubicBezTo>
                    <a:pt x="21" y="0"/>
                    <a:pt x="21" y="0"/>
                    <a:pt x="21" y="0"/>
                  </a:cubicBezTo>
                  <a:cubicBezTo>
                    <a:pt x="41" y="20"/>
                    <a:pt x="61" y="41"/>
                    <a:pt x="61" y="41"/>
                  </a:cubicBezTo>
                  <a:lnTo>
                    <a:pt x="82" y="61"/>
                  </a:lnTo>
                  <a:lnTo>
                    <a:pt x="82" y="82"/>
                  </a:lnTo>
                  <a:lnTo>
                    <a:pt x="103" y="102"/>
                  </a:lnTo>
                  <a:lnTo>
                    <a:pt x="123" y="82"/>
                  </a:lnTo>
                  <a:lnTo>
                    <a:pt x="123" y="61"/>
                  </a:lnTo>
                  <a:lnTo>
                    <a:pt x="103" y="41"/>
                  </a:lnTo>
                  <a:lnTo>
                    <a:pt x="103" y="41"/>
                  </a:lnTo>
                  <a:lnTo>
                    <a:pt x="123" y="20"/>
                  </a:lnTo>
                  <a:lnTo>
                    <a:pt x="143" y="41"/>
                  </a:lnTo>
                  <a:cubicBezTo>
                    <a:pt x="143" y="41"/>
                    <a:pt x="143" y="61"/>
                    <a:pt x="163" y="82"/>
                  </a:cubicBezTo>
                  <a:cubicBezTo>
                    <a:pt x="163" y="82"/>
                    <a:pt x="163" y="102"/>
                    <a:pt x="184" y="102"/>
                  </a:cubicBezTo>
                  <a:lnTo>
                    <a:pt x="205" y="123"/>
                  </a:lnTo>
                  <a:cubicBezTo>
                    <a:pt x="205" y="123"/>
                    <a:pt x="225" y="102"/>
                    <a:pt x="245" y="102"/>
                  </a:cubicBezTo>
                  <a:cubicBezTo>
                    <a:pt x="245" y="102"/>
                    <a:pt x="266" y="123"/>
                    <a:pt x="287" y="123"/>
                  </a:cubicBezTo>
                  <a:cubicBezTo>
                    <a:pt x="287" y="123"/>
                    <a:pt x="307" y="143"/>
                    <a:pt x="327" y="164"/>
                  </a:cubicBezTo>
                  <a:cubicBezTo>
                    <a:pt x="327" y="164"/>
                    <a:pt x="327" y="205"/>
                    <a:pt x="348" y="205"/>
                  </a:cubicBezTo>
                  <a:cubicBezTo>
                    <a:pt x="348" y="225"/>
                    <a:pt x="327" y="246"/>
                    <a:pt x="348" y="266"/>
                  </a:cubicBezTo>
                  <a:cubicBezTo>
                    <a:pt x="348" y="287"/>
                    <a:pt x="369" y="307"/>
                    <a:pt x="369" y="307"/>
                  </a:cubicBezTo>
                  <a:cubicBezTo>
                    <a:pt x="389" y="328"/>
                    <a:pt x="409" y="328"/>
                    <a:pt x="409" y="307"/>
                  </a:cubicBezTo>
                  <a:cubicBezTo>
                    <a:pt x="430" y="307"/>
                    <a:pt x="451" y="307"/>
                    <a:pt x="451" y="287"/>
                  </a:cubicBezTo>
                  <a:cubicBezTo>
                    <a:pt x="471" y="287"/>
                    <a:pt x="512" y="287"/>
                    <a:pt x="533" y="287"/>
                  </a:cubicBezTo>
                  <a:cubicBezTo>
                    <a:pt x="553" y="287"/>
                    <a:pt x="594" y="287"/>
                    <a:pt x="635" y="287"/>
                  </a:cubicBezTo>
                  <a:cubicBezTo>
                    <a:pt x="635" y="287"/>
                    <a:pt x="676" y="266"/>
                    <a:pt x="697" y="287"/>
                  </a:cubicBezTo>
                  <a:cubicBezTo>
                    <a:pt x="717" y="287"/>
                    <a:pt x="717" y="307"/>
                    <a:pt x="737" y="307"/>
                  </a:cubicBezTo>
                  <a:lnTo>
                    <a:pt x="758" y="328"/>
                  </a:lnTo>
                  <a:cubicBezTo>
                    <a:pt x="758" y="348"/>
                    <a:pt x="758" y="348"/>
                    <a:pt x="758" y="369"/>
                  </a:cubicBezTo>
                  <a:lnTo>
                    <a:pt x="737" y="369"/>
                  </a:lnTo>
                  <a:cubicBezTo>
                    <a:pt x="717" y="389"/>
                    <a:pt x="717" y="409"/>
                    <a:pt x="717" y="409"/>
                  </a:cubicBezTo>
                  <a:cubicBezTo>
                    <a:pt x="717" y="430"/>
                    <a:pt x="717" y="451"/>
                    <a:pt x="717" y="451"/>
                  </a:cubicBezTo>
                  <a:cubicBezTo>
                    <a:pt x="717" y="471"/>
                    <a:pt x="717" y="471"/>
                    <a:pt x="717" y="471"/>
                  </a:cubicBezTo>
                  <a:cubicBezTo>
                    <a:pt x="697" y="491"/>
                    <a:pt x="676" y="491"/>
                    <a:pt x="655" y="512"/>
                  </a:cubicBezTo>
                  <a:cubicBezTo>
                    <a:pt x="655" y="512"/>
                    <a:pt x="635" y="491"/>
                    <a:pt x="615" y="491"/>
                  </a:cubicBezTo>
                  <a:cubicBezTo>
                    <a:pt x="615" y="512"/>
                    <a:pt x="594" y="533"/>
                    <a:pt x="594" y="553"/>
                  </a:cubicBezTo>
                  <a:cubicBezTo>
                    <a:pt x="573" y="573"/>
                    <a:pt x="573" y="594"/>
                    <a:pt x="573" y="594"/>
                  </a:cubicBezTo>
                  <a:lnTo>
                    <a:pt x="553" y="594"/>
                  </a:lnTo>
                  <a:cubicBezTo>
                    <a:pt x="533" y="615"/>
                    <a:pt x="533" y="615"/>
                    <a:pt x="512" y="635"/>
                  </a:cubicBezTo>
                  <a:lnTo>
                    <a:pt x="512" y="655"/>
                  </a:lnTo>
                  <a:cubicBezTo>
                    <a:pt x="512" y="655"/>
                    <a:pt x="512" y="676"/>
                    <a:pt x="533" y="676"/>
                  </a:cubicBezTo>
                  <a:cubicBezTo>
                    <a:pt x="533" y="697"/>
                    <a:pt x="553" y="697"/>
                    <a:pt x="573" y="697"/>
                  </a:cubicBezTo>
                  <a:lnTo>
                    <a:pt x="573" y="717"/>
                  </a:lnTo>
                  <a:cubicBezTo>
                    <a:pt x="573" y="717"/>
                    <a:pt x="594" y="717"/>
                    <a:pt x="615" y="737"/>
                  </a:cubicBezTo>
                  <a:cubicBezTo>
                    <a:pt x="615" y="737"/>
                    <a:pt x="635" y="737"/>
                    <a:pt x="655" y="737"/>
                  </a:cubicBezTo>
                  <a:lnTo>
                    <a:pt x="676" y="717"/>
                  </a:lnTo>
                  <a:cubicBezTo>
                    <a:pt x="676" y="717"/>
                    <a:pt x="697" y="697"/>
                    <a:pt x="717" y="697"/>
                  </a:cubicBezTo>
                  <a:cubicBezTo>
                    <a:pt x="717" y="676"/>
                    <a:pt x="717" y="655"/>
                    <a:pt x="717" y="655"/>
                  </a:cubicBezTo>
                  <a:cubicBezTo>
                    <a:pt x="717" y="635"/>
                    <a:pt x="697" y="635"/>
                    <a:pt x="717" y="615"/>
                  </a:cubicBezTo>
                  <a:cubicBezTo>
                    <a:pt x="717" y="615"/>
                    <a:pt x="737" y="615"/>
                    <a:pt x="737" y="594"/>
                  </a:cubicBezTo>
                  <a:cubicBezTo>
                    <a:pt x="737" y="594"/>
                    <a:pt x="737" y="594"/>
                    <a:pt x="737" y="573"/>
                  </a:cubicBezTo>
                  <a:lnTo>
                    <a:pt x="737" y="553"/>
                  </a:lnTo>
                  <a:cubicBezTo>
                    <a:pt x="737" y="533"/>
                    <a:pt x="737" y="533"/>
                    <a:pt x="758" y="533"/>
                  </a:cubicBezTo>
                  <a:cubicBezTo>
                    <a:pt x="758" y="512"/>
                    <a:pt x="758" y="512"/>
                    <a:pt x="779" y="533"/>
                  </a:cubicBezTo>
                  <a:cubicBezTo>
                    <a:pt x="779" y="533"/>
                    <a:pt x="779" y="553"/>
                    <a:pt x="779" y="573"/>
                  </a:cubicBezTo>
                  <a:cubicBezTo>
                    <a:pt x="779" y="573"/>
                    <a:pt x="799" y="594"/>
                    <a:pt x="799" y="615"/>
                  </a:cubicBezTo>
                  <a:lnTo>
                    <a:pt x="779" y="635"/>
                  </a:lnTo>
                  <a:cubicBezTo>
                    <a:pt x="779" y="655"/>
                    <a:pt x="779" y="676"/>
                    <a:pt x="779" y="676"/>
                  </a:cubicBezTo>
                  <a:cubicBezTo>
                    <a:pt x="799" y="697"/>
                    <a:pt x="799" y="717"/>
                    <a:pt x="799" y="717"/>
                  </a:cubicBezTo>
                  <a:cubicBezTo>
                    <a:pt x="799" y="737"/>
                    <a:pt x="819" y="737"/>
                    <a:pt x="819" y="758"/>
                  </a:cubicBezTo>
                  <a:cubicBezTo>
                    <a:pt x="819" y="758"/>
                    <a:pt x="819" y="779"/>
                    <a:pt x="819" y="799"/>
                  </a:cubicBezTo>
                  <a:lnTo>
                    <a:pt x="819" y="840"/>
                  </a:lnTo>
                  <a:cubicBezTo>
                    <a:pt x="819" y="861"/>
                    <a:pt x="819" y="881"/>
                    <a:pt x="819" y="901"/>
                  </a:cubicBezTo>
                  <a:cubicBezTo>
                    <a:pt x="819" y="922"/>
                    <a:pt x="840" y="922"/>
                    <a:pt x="840" y="943"/>
                  </a:cubicBezTo>
                  <a:cubicBezTo>
                    <a:pt x="861" y="943"/>
                    <a:pt x="861" y="963"/>
                    <a:pt x="861" y="963"/>
                  </a:cubicBezTo>
                  <a:cubicBezTo>
                    <a:pt x="861" y="963"/>
                    <a:pt x="861" y="983"/>
                    <a:pt x="881" y="983"/>
                  </a:cubicBezTo>
                  <a:cubicBezTo>
                    <a:pt x="861" y="983"/>
                    <a:pt x="861" y="983"/>
                    <a:pt x="861" y="1004"/>
                  </a:cubicBezTo>
                  <a:lnTo>
                    <a:pt x="881" y="1025"/>
                  </a:lnTo>
                  <a:cubicBezTo>
                    <a:pt x="881" y="1045"/>
                    <a:pt x="881" y="1085"/>
                    <a:pt x="881" y="1085"/>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5" name="Freeform 662">
              <a:extLst>
                <a:ext uri="{FF2B5EF4-FFF2-40B4-BE49-F238E27FC236}">
                  <a16:creationId xmlns:a16="http://schemas.microsoft.com/office/drawing/2014/main" id="{AD9C3A68-25DB-1943-B37C-8E6D0EE88275}"/>
                </a:ext>
              </a:extLst>
            </p:cNvPr>
            <p:cNvSpPr>
              <a:spLocks noChangeArrowheads="1"/>
            </p:cNvSpPr>
            <p:nvPr/>
          </p:nvSpPr>
          <p:spPr bwMode="auto">
            <a:xfrm>
              <a:off x="4181475" y="6227763"/>
              <a:ext cx="15875" cy="7937"/>
            </a:xfrm>
            <a:custGeom>
              <a:avLst/>
              <a:gdLst>
                <a:gd name="T0" fmla="*/ 20 w 42"/>
                <a:gd name="T1" fmla="*/ 0 h 21"/>
                <a:gd name="T2" fmla="*/ 20 w 42"/>
                <a:gd name="T3" fmla="*/ 0 h 21"/>
                <a:gd name="T4" fmla="*/ 0 w 42"/>
                <a:gd name="T5" fmla="*/ 0 h 21"/>
                <a:gd name="T6" fmla="*/ 0 w 42"/>
                <a:gd name="T7" fmla="*/ 20 h 21"/>
                <a:gd name="T8" fmla="*/ 20 w 42"/>
                <a:gd name="T9" fmla="*/ 20 h 21"/>
                <a:gd name="T10" fmla="*/ 20 w 42"/>
                <a:gd name="T11" fmla="*/ 20 h 21"/>
                <a:gd name="T12" fmla="*/ 20 w 4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2" h="21">
                  <a:moveTo>
                    <a:pt x="20" y="0"/>
                  </a:moveTo>
                  <a:lnTo>
                    <a:pt x="20" y="0"/>
                  </a:lnTo>
                  <a:lnTo>
                    <a:pt x="0" y="0"/>
                  </a:lnTo>
                  <a:cubicBezTo>
                    <a:pt x="0" y="0"/>
                    <a:pt x="0" y="0"/>
                    <a:pt x="0" y="20"/>
                  </a:cubicBezTo>
                  <a:cubicBezTo>
                    <a:pt x="0" y="20"/>
                    <a:pt x="0" y="20"/>
                    <a:pt x="20" y="20"/>
                  </a:cubicBezTo>
                  <a:lnTo>
                    <a:pt x="20" y="20"/>
                  </a:lnTo>
                  <a:cubicBezTo>
                    <a:pt x="20" y="20"/>
                    <a:pt x="41" y="0"/>
                    <a:pt x="20" y="0"/>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6" name="Freeform 663">
              <a:extLst>
                <a:ext uri="{FF2B5EF4-FFF2-40B4-BE49-F238E27FC236}">
                  <a16:creationId xmlns:a16="http://schemas.microsoft.com/office/drawing/2014/main" id="{C4542DA1-6A59-CD4E-AB80-9599DD6FCFAB}"/>
                </a:ext>
              </a:extLst>
            </p:cNvPr>
            <p:cNvSpPr>
              <a:spLocks noChangeArrowheads="1"/>
            </p:cNvSpPr>
            <p:nvPr/>
          </p:nvSpPr>
          <p:spPr bwMode="auto">
            <a:xfrm>
              <a:off x="3479800" y="5600700"/>
              <a:ext cx="493713" cy="303213"/>
            </a:xfrm>
            <a:custGeom>
              <a:avLst/>
              <a:gdLst>
                <a:gd name="T0" fmla="*/ 1352 w 1373"/>
                <a:gd name="T1" fmla="*/ 759 h 842"/>
                <a:gd name="T2" fmla="*/ 1332 w 1373"/>
                <a:gd name="T3" fmla="*/ 800 h 842"/>
                <a:gd name="T4" fmla="*/ 1290 w 1373"/>
                <a:gd name="T5" fmla="*/ 841 h 842"/>
                <a:gd name="T6" fmla="*/ 1127 w 1373"/>
                <a:gd name="T7" fmla="*/ 820 h 842"/>
                <a:gd name="T8" fmla="*/ 1025 w 1373"/>
                <a:gd name="T9" fmla="*/ 800 h 842"/>
                <a:gd name="T10" fmla="*/ 963 w 1373"/>
                <a:gd name="T11" fmla="*/ 759 h 842"/>
                <a:gd name="T12" fmla="*/ 841 w 1373"/>
                <a:gd name="T13" fmla="*/ 697 h 842"/>
                <a:gd name="T14" fmla="*/ 738 w 1373"/>
                <a:gd name="T15" fmla="*/ 595 h 842"/>
                <a:gd name="T16" fmla="*/ 615 w 1373"/>
                <a:gd name="T17" fmla="*/ 595 h 842"/>
                <a:gd name="T18" fmla="*/ 554 w 1373"/>
                <a:gd name="T19" fmla="*/ 615 h 842"/>
                <a:gd name="T20" fmla="*/ 472 w 1373"/>
                <a:gd name="T21" fmla="*/ 574 h 842"/>
                <a:gd name="T22" fmla="*/ 349 w 1373"/>
                <a:gd name="T23" fmla="*/ 554 h 842"/>
                <a:gd name="T24" fmla="*/ 246 w 1373"/>
                <a:gd name="T25" fmla="*/ 533 h 842"/>
                <a:gd name="T26" fmla="*/ 205 w 1373"/>
                <a:gd name="T27" fmla="*/ 452 h 842"/>
                <a:gd name="T28" fmla="*/ 123 w 1373"/>
                <a:gd name="T29" fmla="*/ 390 h 842"/>
                <a:gd name="T30" fmla="*/ 41 w 1373"/>
                <a:gd name="T31" fmla="*/ 370 h 842"/>
                <a:gd name="T32" fmla="*/ 0 w 1373"/>
                <a:gd name="T33" fmla="*/ 308 h 842"/>
                <a:gd name="T34" fmla="*/ 21 w 1373"/>
                <a:gd name="T35" fmla="*/ 226 h 842"/>
                <a:gd name="T36" fmla="*/ 21 w 1373"/>
                <a:gd name="T37" fmla="*/ 164 h 842"/>
                <a:gd name="T38" fmla="*/ 41 w 1373"/>
                <a:gd name="T39" fmla="*/ 103 h 842"/>
                <a:gd name="T40" fmla="*/ 62 w 1373"/>
                <a:gd name="T41" fmla="*/ 62 h 842"/>
                <a:gd name="T42" fmla="*/ 82 w 1373"/>
                <a:gd name="T43" fmla="*/ 42 h 842"/>
                <a:gd name="T44" fmla="*/ 144 w 1373"/>
                <a:gd name="T45" fmla="*/ 62 h 842"/>
                <a:gd name="T46" fmla="*/ 205 w 1373"/>
                <a:gd name="T47" fmla="*/ 0 h 842"/>
                <a:gd name="T48" fmla="*/ 246 w 1373"/>
                <a:gd name="T49" fmla="*/ 42 h 842"/>
                <a:gd name="T50" fmla="*/ 328 w 1373"/>
                <a:gd name="T51" fmla="*/ 82 h 842"/>
                <a:gd name="T52" fmla="*/ 390 w 1373"/>
                <a:gd name="T53" fmla="*/ 103 h 842"/>
                <a:gd name="T54" fmla="*/ 472 w 1373"/>
                <a:gd name="T55" fmla="*/ 164 h 842"/>
                <a:gd name="T56" fmla="*/ 533 w 1373"/>
                <a:gd name="T57" fmla="*/ 206 h 842"/>
                <a:gd name="T58" fmla="*/ 533 w 1373"/>
                <a:gd name="T59" fmla="*/ 246 h 842"/>
                <a:gd name="T60" fmla="*/ 574 w 1373"/>
                <a:gd name="T61" fmla="*/ 246 h 842"/>
                <a:gd name="T62" fmla="*/ 595 w 1373"/>
                <a:gd name="T63" fmla="*/ 206 h 842"/>
                <a:gd name="T64" fmla="*/ 636 w 1373"/>
                <a:gd name="T65" fmla="*/ 246 h 842"/>
                <a:gd name="T66" fmla="*/ 656 w 1373"/>
                <a:gd name="T67" fmla="*/ 328 h 842"/>
                <a:gd name="T68" fmla="*/ 718 w 1373"/>
                <a:gd name="T69" fmla="*/ 349 h 842"/>
                <a:gd name="T70" fmla="*/ 759 w 1373"/>
                <a:gd name="T71" fmla="*/ 328 h 842"/>
                <a:gd name="T72" fmla="*/ 820 w 1373"/>
                <a:gd name="T73" fmla="*/ 370 h 842"/>
                <a:gd name="T74" fmla="*/ 820 w 1373"/>
                <a:gd name="T75" fmla="*/ 452 h 842"/>
                <a:gd name="T76" fmla="*/ 923 w 1373"/>
                <a:gd name="T77" fmla="*/ 492 h 842"/>
                <a:gd name="T78" fmla="*/ 1087 w 1373"/>
                <a:gd name="T79" fmla="*/ 492 h 842"/>
                <a:gd name="T80" fmla="*/ 1188 w 1373"/>
                <a:gd name="T81" fmla="*/ 513 h 842"/>
                <a:gd name="T82" fmla="*/ 1270 w 1373"/>
                <a:gd name="T83" fmla="*/ 492 h 842"/>
                <a:gd name="T84" fmla="*/ 1332 w 1373"/>
                <a:gd name="T85" fmla="*/ 472 h 842"/>
                <a:gd name="T86" fmla="*/ 1332 w 1373"/>
                <a:gd name="T87" fmla="*/ 554 h 842"/>
                <a:gd name="T88" fmla="*/ 1332 w 1373"/>
                <a:gd name="T89" fmla="*/ 656 h 842"/>
                <a:gd name="T90" fmla="*/ 1352 w 1373"/>
                <a:gd name="T91" fmla="*/ 759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73" h="842">
                  <a:moveTo>
                    <a:pt x="1352" y="759"/>
                  </a:moveTo>
                  <a:lnTo>
                    <a:pt x="1352" y="759"/>
                  </a:lnTo>
                  <a:cubicBezTo>
                    <a:pt x="1352" y="759"/>
                    <a:pt x="1372" y="779"/>
                    <a:pt x="1352" y="800"/>
                  </a:cubicBezTo>
                  <a:lnTo>
                    <a:pt x="1332" y="800"/>
                  </a:lnTo>
                  <a:cubicBezTo>
                    <a:pt x="1332" y="820"/>
                    <a:pt x="1332" y="820"/>
                    <a:pt x="1311" y="820"/>
                  </a:cubicBezTo>
                  <a:cubicBezTo>
                    <a:pt x="1311" y="841"/>
                    <a:pt x="1290" y="841"/>
                    <a:pt x="1290" y="841"/>
                  </a:cubicBezTo>
                  <a:cubicBezTo>
                    <a:pt x="1270" y="841"/>
                    <a:pt x="1208" y="820"/>
                    <a:pt x="1188" y="820"/>
                  </a:cubicBezTo>
                  <a:cubicBezTo>
                    <a:pt x="1168" y="820"/>
                    <a:pt x="1127" y="820"/>
                    <a:pt x="1127" y="820"/>
                  </a:cubicBezTo>
                  <a:cubicBezTo>
                    <a:pt x="1107" y="820"/>
                    <a:pt x="1087" y="820"/>
                    <a:pt x="1066" y="820"/>
                  </a:cubicBezTo>
                  <a:cubicBezTo>
                    <a:pt x="1066" y="820"/>
                    <a:pt x="1045" y="800"/>
                    <a:pt x="1025" y="800"/>
                  </a:cubicBezTo>
                  <a:cubicBezTo>
                    <a:pt x="1005" y="800"/>
                    <a:pt x="984" y="800"/>
                    <a:pt x="984" y="800"/>
                  </a:cubicBezTo>
                  <a:cubicBezTo>
                    <a:pt x="963" y="779"/>
                    <a:pt x="963" y="759"/>
                    <a:pt x="963" y="759"/>
                  </a:cubicBezTo>
                  <a:cubicBezTo>
                    <a:pt x="943" y="738"/>
                    <a:pt x="902" y="718"/>
                    <a:pt x="902" y="718"/>
                  </a:cubicBezTo>
                  <a:cubicBezTo>
                    <a:pt x="881" y="718"/>
                    <a:pt x="861" y="697"/>
                    <a:pt x="841" y="697"/>
                  </a:cubicBezTo>
                  <a:cubicBezTo>
                    <a:pt x="841" y="677"/>
                    <a:pt x="799" y="677"/>
                    <a:pt x="799" y="656"/>
                  </a:cubicBezTo>
                  <a:cubicBezTo>
                    <a:pt x="779" y="656"/>
                    <a:pt x="759" y="615"/>
                    <a:pt x="738" y="595"/>
                  </a:cubicBezTo>
                  <a:cubicBezTo>
                    <a:pt x="718" y="595"/>
                    <a:pt x="677" y="595"/>
                    <a:pt x="677" y="595"/>
                  </a:cubicBezTo>
                  <a:cubicBezTo>
                    <a:pt x="656" y="595"/>
                    <a:pt x="636" y="595"/>
                    <a:pt x="615" y="595"/>
                  </a:cubicBezTo>
                  <a:cubicBezTo>
                    <a:pt x="615" y="595"/>
                    <a:pt x="595" y="595"/>
                    <a:pt x="574" y="595"/>
                  </a:cubicBezTo>
                  <a:lnTo>
                    <a:pt x="554" y="615"/>
                  </a:lnTo>
                  <a:cubicBezTo>
                    <a:pt x="533" y="615"/>
                    <a:pt x="533" y="595"/>
                    <a:pt x="513" y="574"/>
                  </a:cubicBezTo>
                  <a:lnTo>
                    <a:pt x="472" y="574"/>
                  </a:lnTo>
                  <a:cubicBezTo>
                    <a:pt x="451" y="574"/>
                    <a:pt x="431" y="574"/>
                    <a:pt x="410" y="574"/>
                  </a:cubicBezTo>
                  <a:cubicBezTo>
                    <a:pt x="390" y="574"/>
                    <a:pt x="369" y="554"/>
                    <a:pt x="349" y="554"/>
                  </a:cubicBezTo>
                  <a:cubicBezTo>
                    <a:pt x="328" y="554"/>
                    <a:pt x="328" y="533"/>
                    <a:pt x="308" y="533"/>
                  </a:cubicBezTo>
                  <a:cubicBezTo>
                    <a:pt x="287" y="533"/>
                    <a:pt x="267" y="533"/>
                    <a:pt x="246" y="533"/>
                  </a:cubicBezTo>
                  <a:cubicBezTo>
                    <a:pt x="246" y="513"/>
                    <a:pt x="226" y="492"/>
                    <a:pt x="226" y="492"/>
                  </a:cubicBezTo>
                  <a:cubicBezTo>
                    <a:pt x="226" y="472"/>
                    <a:pt x="205" y="472"/>
                    <a:pt x="205" y="452"/>
                  </a:cubicBezTo>
                  <a:lnTo>
                    <a:pt x="185" y="431"/>
                  </a:lnTo>
                  <a:cubicBezTo>
                    <a:pt x="164" y="431"/>
                    <a:pt x="123" y="410"/>
                    <a:pt x="123" y="390"/>
                  </a:cubicBezTo>
                  <a:cubicBezTo>
                    <a:pt x="103" y="390"/>
                    <a:pt x="82" y="390"/>
                    <a:pt x="62" y="390"/>
                  </a:cubicBezTo>
                  <a:lnTo>
                    <a:pt x="41" y="370"/>
                  </a:lnTo>
                  <a:cubicBezTo>
                    <a:pt x="21" y="370"/>
                    <a:pt x="0" y="328"/>
                    <a:pt x="0" y="328"/>
                  </a:cubicBezTo>
                  <a:cubicBezTo>
                    <a:pt x="0" y="308"/>
                    <a:pt x="0" y="308"/>
                    <a:pt x="0" y="308"/>
                  </a:cubicBezTo>
                  <a:cubicBezTo>
                    <a:pt x="0" y="288"/>
                    <a:pt x="0" y="288"/>
                    <a:pt x="0" y="288"/>
                  </a:cubicBezTo>
                  <a:cubicBezTo>
                    <a:pt x="0" y="267"/>
                    <a:pt x="21" y="246"/>
                    <a:pt x="21" y="226"/>
                  </a:cubicBezTo>
                  <a:cubicBezTo>
                    <a:pt x="21" y="226"/>
                    <a:pt x="21" y="206"/>
                    <a:pt x="21" y="185"/>
                  </a:cubicBezTo>
                  <a:lnTo>
                    <a:pt x="21" y="164"/>
                  </a:lnTo>
                  <a:cubicBezTo>
                    <a:pt x="21" y="144"/>
                    <a:pt x="41" y="144"/>
                    <a:pt x="41" y="124"/>
                  </a:cubicBezTo>
                  <a:lnTo>
                    <a:pt x="41" y="103"/>
                  </a:lnTo>
                  <a:cubicBezTo>
                    <a:pt x="41" y="82"/>
                    <a:pt x="41" y="62"/>
                    <a:pt x="62" y="62"/>
                  </a:cubicBezTo>
                  <a:lnTo>
                    <a:pt x="62" y="62"/>
                  </a:lnTo>
                  <a:cubicBezTo>
                    <a:pt x="62" y="42"/>
                    <a:pt x="62" y="42"/>
                    <a:pt x="82" y="42"/>
                  </a:cubicBezTo>
                  <a:lnTo>
                    <a:pt x="82" y="42"/>
                  </a:lnTo>
                  <a:lnTo>
                    <a:pt x="103" y="62"/>
                  </a:lnTo>
                  <a:cubicBezTo>
                    <a:pt x="123" y="62"/>
                    <a:pt x="144" y="62"/>
                    <a:pt x="144" y="62"/>
                  </a:cubicBezTo>
                  <a:cubicBezTo>
                    <a:pt x="164" y="42"/>
                    <a:pt x="164" y="21"/>
                    <a:pt x="164" y="21"/>
                  </a:cubicBezTo>
                  <a:cubicBezTo>
                    <a:pt x="164" y="21"/>
                    <a:pt x="185" y="0"/>
                    <a:pt x="205" y="0"/>
                  </a:cubicBezTo>
                  <a:lnTo>
                    <a:pt x="226" y="21"/>
                  </a:lnTo>
                  <a:lnTo>
                    <a:pt x="246" y="42"/>
                  </a:lnTo>
                  <a:cubicBezTo>
                    <a:pt x="267" y="62"/>
                    <a:pt x="287" y="62"/>
                    <a:pt x="287" y="62"/>
                  </a:cubicBezTo>
                  <a:cubicBezTo>
                    <a:pt x="287" y="62"/>
                    <a:pt x="308" y="82"/>
                    <a:pt x="328" y="82"/>
                  </a:cubicBezTo>
                  <a:cubicBezTo>
                    <a:pt x="328" y="82"/>
                    <a:pt x="349" y="82"/>
                    <a:pt x="369" y="103"/>
                  </a:cubicBezTo>
                  <a:lnTo>
                    <a:pt x="390" y="103"/>
                  </a:lnTo>
                  <a:cubicBezTo>
                    <a:pt x="410" y="103"/>
                    <a:pt x="431" y="124"/>
                    <a:pt x="431" y="124"/>
                  </a:cubicBezTo>
                  <a:cubicBezTo>
                    <a:pt x="431" y="144"/>
                    <a:pt x="472" y="144"/>
                    <a:pt x="472" y="164"/>
                  </a:cubicBezTo>
                  <a:cubicBezTo>
                    <a:pt x="472" y="164"/>
                    <a:pt x="492" y="164"/>
                    <a:pt x="492" y="185"/>
                  </a:cubicBezTo>
                  <a:cubicBezTo>
                    <a:pt x="513" y="185"/>
                    <a:pt x="533" y="185"/>
                    <a:pt x="533" y="206"/>
                  </a:cubicBezTo>
                  <a:lnTo>
                    <a:pt x="513" y="226"/>
                  </a:lnTo>
                  <a:lnTo>
                    <a:pt x="533" y="246"/>
                  </a:lnTo>
                  <a:lnTo>
                    <a:pt x="554" y="267"/>
                  </a:lnTo>
                  <a:lnTo>
                    <a:pt x="574" y="246"/>
                  </a:lnTo>
                  <a:lnTo>
                    <a:pt x="574" y="226"/>
                  </a:lnTo>
                  <a:cubicBezTo>
                    <a:pt x="574" y="226"/>
                    <a:pt x="574" y="206"/>
                    <a:pt x="595" y="206"/>
                  </a:cubicBezTo>
                  <a:cubicBezTo>
                    <a:pt x="595" y="206"/>
                    <a:pt x="595" y="226"/>
                    <a:pt x="615" y="226"/>
                  </a:cubicBezTo>
                  <a:lnTo>
                    <a:pt x="636" y="246"/>
                  </a:lnTo>
                  <a:cubicBezTo>
                    <a:pt x="636" y="267"/>
                    <a:pt x="636" y="288"/>
                    <a:pt x="636" y="288"/>
                  </a:cubicBezTo>
                  <a:cubicBezTo>
                    <a:pt x="636" y="288"/>
                    <a:pt x="656" y="308"/>
                    <a:pt x="656" y="328"/>
                  </a:cubicBezTo>
                  <a:lnTo>
                    <a:pt x="677" y="328"/>
                  </a:lnTo>
                  <a:cubicBezTo>
                    <a:pt x="697" y="349"/>
                    <a:pt x="718" y="349"/>
                    <a:pt x="718" y="349"/>
                  </a:cubicBezTo>
                  <a:cubicBezTo>
                    <a:pt x="718" y="349"/>
                    <a:pt x="718" y="328"/>
                    <a:pt x="738" y="328"/>
                  </a:cubicBezTo>
                  <a:lnTo>
                    <a:pt x="759" y="328"/>
                  </a:lnTo>
                  <a:lnTo>
                    <a:pt x="779" y="349"/>
                  </a:lnTo>
                  <a:cubicBezTo>
                    <a:pt x="799" y="349"/>
                    <a:pt x="820" y="370"/>
                    <a:pt x="820" y="370"/>
                  </a:cubicBezTo>
                  <a:cubicBezTo>
                    <a:pt x="820" y="390"/>
                    <a:pt x="820" y="410"/>
                    <a:pt x="820" y="410"/>
                  </a:cubicBezTo>
                  <a:cubicBezTo>
                    <a:pt x="820" y="410"/>
                    <a:pt x="820" y="431"/>
                    <a:pt x="820" y="452"/>
                  </a:cubicBezTo>
                  <a:cubicBezTo>
                    <a:pt x="841" y="452"/>
                    <a:pt x="841" y="472"/>
                    <a:pt x="841" y="492"/>
                  </a:cubicBezTo>
                  <a:cubicBezTo>
                    <a:pt x="861" y="492"/>
                    <a:pt x="902" y="492"/>
                    <a:pt x="923" y="492"/>
                  </a:cubicBezTo>
                  <a:cubicBezTo>
                    <a:pt x="963" y="492"/>
                    <a:pt x="1005" y="492"/>
                    <a:pt x="1025" y="492"/>
                  </a:cubicBezTo>
                  <a:cubicBezTo>
                    <a:pt x="1045" y="492"/>
                    <a:pt x="1066" y="492"/>
                    <a:pt x="1087" y="492"/>
                  </a:cubicBezTo>
                  <a:cubicBezTo>
                    <a:pt x="1107" y="492"/>
                    <a:pt x="1127" y="513"/>
                    <a:pt x="1147" y="513"/>
                  </a:cubicBezTo>
                  <a:cubicBezTo>
                    <a:pt x="1147" y="513"/>
                    <a:pt x="1168" y="513"/>
                    <a:pt x="1188" y="513"/>
                  </a:cubicBezTo>
                  <a:lnTo>
                    <a:pt x="1229" y="513"/>
                  </a:lnTo>
                  <a:cubicBezTo>
                    <a:pt x="1250" y="513"/>
                    <a:pt x="1270" y="492"/>
                    <a:pt x="1270" y="492"/>
                  </a:cubicBezTo>
                  <a:lnTo>
                    <a:pt x="1290" y="492"/>
                  </a:lnTo>
                  <a:cubicBezTo>
                    <a:pt x="1290" y="492"/>
                    <a:pt x="1311" y="492"/>
                    <a:pt x="1332" y="472"/>
                  </a:cubicBezTo>
                  <a:cubicBezTo>
                    <a:pt x="1332" y="492"/>
                    <a:pt x="1332" y="513"/>
                    <a:pt x="1332" y="513"/>
                  </a:cubicBezTo>
                  <a:cubicBezTo>
                    <a:pt x="1332" y="513"/>
                    <a:pt x="1332" y="533"/>
                    <a:pt x="1332" y="554"/>
                  </a:cubicBezTo>
                  <a:cubicBezTo>
                    <a:pt x="1332" y="554"/>
                    <a:pt x="1332" y="574"/>
                    <a:pt x="1332" y="595"/>
                  </a:cubicBezTo>
                  <a:cubicBezTo>
                    <a:pt x="1332" y="615"/>
                    <a:pt x="1332" y="636"/>
                    <a:pt x="1332" y="656"/>
                  </a:cubicBezTo>
                  <a:cubicBezTo>
                    <a:pt x="1311" y="677"/>
                    <a:pt x="1311" y="697"/>
                    <a:pt x="1332" y="718"/>
                  </a:cubicBezTo>
                  <a:cubicBezTo>
                    <a:pt x="1332" y="718"/>
                    <a:pt x="1352" y="738"/>
                    <a:pt x="1352" y="759"/>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7" name="Freeform 664">
              <a:extLst>
                <a:ext uri="{FF2B5EF4-FFF2-40B4-BE49-F238E27FC236}">
                  <a16:creationId xmlns:a16="http://schemas.microsoft.com/office/drawing/2014/main" id="{2016220F-F65E-6D43-86E4-0ED89DB1241D}"/>
                </a:ext>
              </a:extLst>
            </p:cNvPr>
            <p:cNvSpPr>
              <a:spLocks noChangeArrowheads="1"/>
            </p:cNvSpPr>
            <p:nvPr/>
          </p:nvSpPr>
          <p:spPr bwMode="auto">
            <a:xfrm>
              <a:off x="3200400" y="7615238"/>
              <a:ext cx="22225" cy="22225"/>
            </a:xfrm>
            <a:custGeom>
              <a:avLst/>
              <a:gdLst>
                <a:gd name="T0" fmla="*/ 41 w 62"/>
                <a:gd name="T1" fmla="*/ 40 h 62"/>
                <a:gd name="T2" fmla="*/ 41 w 62"/>
                <a:gd name="T3" fmla="*/ 40 h 62"/>
                <a:gd name="T4" fmla="*/ 20 w 62"/>
                <a:gd name="T5" fmla="*/ 40 h 62"/>
                <a:gd name="T6" fmla="*/ 0 w 62"/>
                <a:gd name="T7" fmla="*/ 20 h 62"/>
                <a:gd name="T8" fmla="*/ 0 w 62"/>
                <a:gd name="T9" fmla="*/ 0 h 62"/>
                <a:gd name="T10" fmla="*/ 20 w 62"/>
                <a:gd name="T11" fmla="*/ 0 h 62"/>
                <a:gd name="T12" fmla="*/ 61 w 62"/>
                <a:gd name="T13" fmla="*/ 0 h 62"/>
                <a:gd name="T14" fmla="*/ 61 w 62"/>
                <a:gd name="T15" fmla="*/ 20 h 62"/>
                <a:gd name="T16" fmla="*/ 61 w 62"/>
                <a:gd name="T17" fmla="*/ 40 h 62"/>
                <a:gd name="T18" fmla="*/ 41 w 62"/>
                <a:gd name="T19" fmla="*/ 4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62">
                  <a:moveTo>
                    <a:pt x="41" y="40"/>
                  </a:moveTo>
                  <a:lnTo>
                    <a:pt x="41" y="40"/>
                  </a:lnTo>
                  <a:cubicBezTo>
                    <a:pt x="41" y="61"/>
                    <a:pt x="20" y="61"/>
                    <a:pt x="20" y="40"/>
                  </a:cubicBezTo>
                  <a:cubicBezTo>
                    <a:pt x="0" y="40"/>
                    <a:pt x="0" y="40"/>
                    <a:pt x="0" y="20"/>
                  </a:cubicBezTo>
                  <a:lnTo>
                    <a:pt x="0" y="0"/>
                  </a:lnTo>
                  <a:cubicBezTo>
                    <a:pt x="20" y="0"/>
                    <a:pt x="20" y="0"/>
                    <a:pt x="20" y="0"/>
                  </a:cubicBezTo>
                  <a:cubicBezTo>
                    <a:pt x="41" y="0"/>
                    <a:pt x="41" y="0"/>
                    <a:pt x="61" y="0"/>
                  </a:cubicBezTo>
                  <a:cubicBezTo>
                    <a:pt x="61" y="0"/>
                    <a:pt x="61" y="0"/>
                    <a:pt x="61" y="20"/>
                  </a:cubicBezTo>
                  <a:cubicBezTo>
                    <a:pt x="61" y="20"/>
                    <a:pt x="61" y="20"/>
                    <a:pt x="61" y="40"/>
                  </a:cubicBezTo>
                  <a:lnTo>
                    <a:pt x="41"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8" name="Freeform 665">
              <a:extLst>
                <a:ext uri="{FF2B5EF4-FFF2-40B4-BE49-F238E27FC236}">
                  <a16:creationId xmlns:a16="http://schemas.microsoft.com/office/drawing/2014/main" id="{232A15F8-7384-164A-8C5F-3ECA547E7E3C}"/>
                </a:ext>
              </a:extLst>
            </p:cNvPr>
            <p:cNvSpPr>
              <a:spLocks noChangeArrowheads="1"/>
            </p:cNvSpPr>
            <p:nvPr/>
          </p:nvSpPr>
          <p:spPr bwMode="auto">
            <a:xfrm>
              <a:off x="3186113" y="7570788"/>
              <a:ext cx="15875" cy="15875"/>
            </a:xfrm>
            <a:custGeom>
              <a:avLst/>
              <a:gdLst>
                <a:gd name="T0" fmla="*/ 21 w 42"/>
                <a:gd name="T1" fmla="*/ 42 h 43"/>
                <a:gd name="T2" fmla="*/ 21 w 42"/>
                <a:gd name="T3" fmla="*/ 42 h 43"/>
                <a:gd name="T4" fmla="*/ 0 w 42"/>
                <a:gd name="T5" fmla="*/ 21 h 43"/>
                <a:gd name="T6" fmla="*/ 21 w 42"/>
                <a:gd name="T7" fmla="*/ 0 h 43"/>
                <a:gd name="T8" fmla="*/ 41 w 42"/>
                <a:gd name="T9" fmla="*/ 0 h 43"/>
                <a:gd name="T10" fmla="*/ 41 w 42"/>
                <a:gd name="T11" fmla="*/ 21 h 43"/>
                <a:gd name="T12" fmla="*/ 41 w 42"/>
                <a:gd name="T13" fmla="*/ 42 h 43"/>
                <a:gd name="T14" fmla="*/ 21 w 42"/>
                <a:gd name="T15" fmla="*/ 42 h 4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3">
                  <a:moveTo>
                    <a:pt x="21" y="42"/>
                  </a:moveTo>
                  <a:lnTo>
                    <a:pt x="21" y="42"/>
                  </a:lnTo>
                  <a:cubicBezTo>
                    <a:pt x="21" y="42"/>
                    <a:pt x="21" y="42"/>
                    <a:pt x="0" y="21"/>
                  </a:cubicBezTo>
                  <a:cubicBezTo>
                    <a:pt x="0" y="21"/>
                    <a:pt x="0" y="0"/>
                    <a:pt x="21" y="0"/>
                  </a:cubicBezTo>
                  <a:cubicBezTo>
                    <a:pt x="21" y="0"/>
                    <a:pt x="21" y="0"/>
                    <a:pt x="41" y="0"/>
                  </a:cubicBezTo>
                  <a:lnTo>
                    <a:pt x="41" y="21"/>
                  </a:lnTo>
                  <a:lnTo>
                    <a:pt x="41" y="42"/>
                  </a:lnTo>
                  <a:cubicBezTo>
                    <a:pt x="41" y="42"/>
                    <a:pt x="41" y="42"/>
                    <a:pt x="21" y="42"/>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69" name="Freeform 666">
              <a:extLst>
                <a:ext uri="{FF2B5EF4-FFF2-40B4-BE49-F238E27FC236}">
                  <a16:creationId xmlns:a16="http://schemas.microsoft.com/office/drawing/2014/main" id="{E0F4C5F1-39E5-0B48-BF0D-7B40E4495E9F}"/>
                </a:ext>
              </a:extLst>
            </p:cNvPr>
            <p:cNvSpPr>
              <a:spLocks noChangeArrowheads="1"/>
            </p:cNvSpPr>
            <p:nvPr/>
          </p:nvSpPr>
          <p:spPr bwMode="auto">
            <a:xfrm>
              <a:off x="3208338" y="7532688"/>
              <a:ext cx="15875" cy="22225"/>
            </a:xfrm>
            <a:custGeom>
              <a:avLst/>
              <a:gdLst>
                <a:gd name="T0" fmla="*/ 21 w 42"/>
                <a:gd name="T1" fmla="*/ 41 h 63"/>
                <a:gd name="T2" fmla="*/ 21 w 42"/>
                <a:gd name="T3" fmla="*/ 41 h 63"/>
                <a:gd name="T4" fmla="*/ 0 w 42"/>
                <a:gd name="T5" fmla="*/ 20 h 63"/>
                <a:gd name="T6" fmla="*/ 21 w 42"/>
                <a:gd name="T7" fmla="*/ 0 h 63"/>
                <a:gd name="T8" fmla="*/ 41 w 42"/>
                <a:gd name="T9" fmla="*/ 20 h 63"/>
                <a:gd name="T10" fmla="*/ 41 w 42"/>
                <a:gd name="T11" fmla="*/ 41 h 63"/>
                <a:gd name="T12" fmla="*/ 21 w 42"/>
                <a:gd name="T13" fmla="*/ 62 h 63"/>
                <a:gd name="T14" fmla="*/ 21 w 42"/>
                <a:gd name="T15" fmla="*/ 41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63">
                  <a:moveTo>
                    <a:pt x="21" y="41"/>
                  </a:moveTo>
                  <a:lnTo>
                    <a:pt x="21" y="41"/>
                  </a:lnTo>
                  <a:cubicBezTo>
                    <a:pt x="0" y="41"/>
                    <a:pt x="0" y="20"/>
                    <a:pt x="0" y="20"/>
                  </a:cubicBezTo>
                  <a:lnTo>
                    <a:pt x="21" y="0"/>
                  </a:lnTo>
                  <a:lnTo>
                    <a:pt x="41" y="20"/>
                  </a:lnTo>
                  <a:lnTo>
                    <a:pt x="41" y="41"/>
                  </a:lnTo>
                  <a:lnTo>
                    <a:pt x="21" y="62"/>
                  </a:lnTo>
                  <a:cubicBezTo>
                    <a:pt x="21" y="62"/>
                    <a:pt x="21" y="62"/>
                    <a:pt x="21"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70" name="Freeform 667">
              <a:extLst>
                <a:ext uri="{FF2B5EF4-FFF2-40B4-BE49-F238E27FC236}">
                  <a16:creationId xmlns:a16="http://schemas.microsoft.com/office/drawing/2014/main" id="{34CA9825-CFD9-C348-A29F-9B6D2CAEB7F6}"/>
                </a:ext>
              </a:extLst>
            </p:cNvPr>
            <p:cNvSpPr>
              <a:spLocks noChangeArrowheads="1"/>
            </p:cNvSpPr>
            <p:nvPr/>
          </p:nvSpPr>
          <p:spPr bwMode="auto">
            <a:xfrm>
              <a:off x="3192463" y="7481888"/>
              <a:ext cx="14287" cy="15875"/>
            </a:xfrm>
            <a:custGeom>
              <a:avLst/>
              <a:gdLst>
                <a:gd name="T0" fmla="*/ 20 w 41"/>
                <a:gd name="T1" fmla="*/ 41 h 42"/>
                <a:gd name="T2" fmla="*/ 20 w 41"/>
                <a:gd name="T3" fmla="*/ 41 h 42"/>
                <a:gd name="T4" fmla="*/ 0 w 41"/>
                <a:gd name="T5" fmla="*/ 20 h 42"/>
                <a:gd name="T6" fmla="*/ 0 w 41"/>
                <a:gd name="T7" fmla="*/ 0 h 42"/>
                <a:gd name="T8" fmla="*/ 20 w 41"/>
                <a:gd name="T9" fmla="*/ 0 h 42"/>
                <a:gd name="T10" fmla="*/ 20 w 41"/>
                <a:gd name="T11" fmla="*/ 20 h 42"/>
                <a:gd name="T12" fmla="*/ 20 w 41"/>
                <a:gd name="T13" fmla="*/ 41 h 42"/>
              </a:gdLst>
              <a:ahLst/>
              <a:cxnLst>
                <a:cxn ang="0">
                  <a:pos x="T0" y="T1"/>
                </a:cxn>
                <a:cxn ang="0">
                  <a:pos x="T2" y="T3"/>
                </a:cxn>
                <a:cxn ang="0">
                  <a:pos x="T4" y="T5"/>
                </a:cxn>
                <a:cxn ang="0">
                  <a:pos x="T6" y="T7"/>
                </a:cxn>
                <a:cxn ang="0">
                  <a:pos x="T8" y="T9"/>
                </a:cxn>
                <a:cxn ang="0">
                  <a:pos x="T10" y="T11"/>
                </a:cxn>
                <a:cxn ang="0">
                  <a:pos x="T12" y="T13"/>
                </a:cxn>
              </a:cxnLst>
              <a:rect l="0" t="0" r="r" b="b"/>
              <a:pathLst>
                <a:path w="41" h="42">
                  <a:moveTo>
                    <a:pt x="20" y="41"/>
                  </a:moveTo>
                  <a:lnTo>
                    <a:pt x="20" y="41"/>
                  </a:lnTo>
                  <a:lnTo>
                    <a:pt x="0" y="20"/>
                  </a:lnTo>
                  <a:lnTo>
                    <a:pt x="0" y="0"/>
                  </a:lnTo>
                  <a:lnTo>
                    <a:pt x="20" y="0"/>
                  </a:lnTo>
                  <a:lnTo>
                    <a:pt x="20" y="20"/>
                  </a:lnTo>
                  <a:cubicBezTo>
                    <a:pt x="20" y="20"/>
                    <a:pt x="40" y="41"/>
                    <a:pt x="20" y="41"/>
                  </a:cubicBez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71" name="Freeform 668">
              <a:extLst>
                <a:ext uri="{FF2B5EF4-FFF2-40B4-BE49-F238E27FC236}">
                  <a16:creationId xmlns:a16="http://schemas.microsoft.com/office/drawing/2014/main" id="{18D60B7B-3DEF-AA42-B969-37C6E3633E95}"/>
                </a:ext>
              </a:extLst>
            </p:cNvPr>
            <p:cNvSpPr>
              <a:spLocks noChangeArrowheads="1"/>
            </p:cNvSpPr>
            <p:nvPr/>
          </p:nvSpPr>
          <p:spPr bwMode="auto">
            <a:xfrm>
              <a:off x="3178175" y="7451725"/>
              <a:ext cx="15875" cy="15875"/>
            </a:xfrm>
            <a:custGeom>
              <a:avLst/>
              <a:gdLst>
                <a:gd name="T0" fmla="*/ 21 w 43"/>
                <a:gd name="T1" fmla="*/ 20 h 42"/>
                <a:gd name="T2" fmla="*/ 21 w 43"/>
                <a:gd name="T3" fmla="*/ 20 h 42"/>
                <a:gd name="T4" fmla="*/ 0 w 43"/>
                <a:gd name="T5" fmla="*/ 0 h 42"/>
                <a:gd name="T6" fmla="*/ 42 w 43"/>
                <a:gd name="T7" fmla="*/ 0 h 42"/>
                <a:gd name="T8" fmla="*/ 42 w 43"/>
                <a:gd name="T9" fmla="*/ 20 h 42"/>
                <a:gd name="T10" fmla="*/ 21 w 43"/>
                <a:gd name="T11" fmla="*/ 41 h 42"/>
                <a:gd name="T12" fmla="*/ 21 w 43"/>
                <a:gd name="T13" fmla="*/ 20 h 42"/>
              </a:gdLst>
              <a:ahLst/>
              <a:cxnLst>
                <a:cxn ang="0">
                  <a:pos x="T0" y="T1"/>
                </a:cxn>
                <a:cxn ang="0">
                  <a:pos x="T2" y="T3"/>
                </a:cxn>
                <a:cxn ang="0">
                  <a:pos x="T4" y="T5"/>
                </a:cxn>
                <a:cxn ang="0">
                  <a:pos x="T6" y="T7"/>
                </a:cxn>
                <a:cxn ang="0">
                  <a:pos x="T8" y="T9"/>
                </a:cxn>
                <a:cxn ang="0">
                  <a:pos x="T10" y="T11"/>
                </a:cxn>
                <a:cxn ang="0">
                  <a:pos x="T12" y="T13"/>
                </a:cxn>
              </a:cxnLst>
              <a:rect l="0" t="0" r="r" b="b"/>
              <a:pathLst>
                <a:path w="43" h="42">
                  <a:moveTo>
                    <a:pt x="21" y="20"/>
                  </a:moveTo>
                  <a:lnTo>
                    <a:pt x="21" y="20"/>
                  </a:lnTo>
                  <a:lnTo>
                    <a:pt x="0" y="0"/>
                  </a:lnTo>
                  <a:cubicBezTo>
                    <a:pt x="21" y="0"/>
                    <a:pt x="21" y="0"/>
                    <a:pt x="42" y="0"/>
                  </a:cubicBezTo>
                  <a:lnTo>
                    <a:pt x="42" y="20"/>
                  </a:lnTo>
                  <a:cubicBezTo>
                    <a:pt x="42" y="20"/>
                    <a:pt x="42" y="41"/>
                    <a:pt x="21" y="41"/>
                  </a:cubicBez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72" name="Freeform 669">
              <a:extLst>
                <a:ext uri="{FF2B5EF4-FFF2-40B4-BE49-F238E27FC236}">
                  <a16:creationId xmlns:a16="http://schemas.microsoft.com/office/drawing/2014/main" id="{F4E32841-84C9-0842-AA66-8150C3736FCB}"/>
                </a:ext>
              </a:extLst>
            </p:cNvPr>
            <p:cNvSpPr>
              <a:spLocks noChangeArrowheads="1"/>
            </p:cNvSpPr>
            <p:nvPr/>
          </p:nvSpPr>
          <p:spPr bwMode="auto">
            <a:xfrm>
              <a:off x="3163888" y="7540625"/>
              <a:ext cx="14287" cy="15875"/>
            </a:xfrm>
            <a:custGeom>
              <a:avLst/>
              <a:gdLst>
                <a:gd name="T0" fmla="*/ 20 w 41"/>
                <a:gd name="T1" fmla="*/ 0 h 43"/>
                <a:gd name="T2" fmla="*/ 20 w 41"/>
                <a:gd name="T3" fmla="*/ 0 h 43"/>
                <a:gd name="T4" fmla="*/ 0 w 41"/>
                <a:gd name="T5" fmla="*/ 21 h 43"/>
                <a:gd name="T6" fmla="*/ 40 w 41"/>
                <a:gd name="T7" fmla="*/ 42 h 43"/>
                <a:gd name="T8" fmla="*/ 40 w 41"/>
                <a:gd name="T9" fmla="*/ 0 h 43"/>
                <a:gd name="T10" fmla="*/ 20 w 41"/>
                <a:gd name="T11" fmla="*/ 0 h 43"/>
              </a:gdLst>
              <a:ahLst/>
              <a:cxnLst>
                <a:cxn ang="0">
                  <a:pos x="T0" y="T1"/>
                </a:cxn>
                <a:cxn ang="0">
                  <a:pos x="T2" y="T3"/>
                </a:cxn>
                <a:cxn ang="0">
                  <a:pos x="T4" y="T5"/>
                </a:cxn>
                <a:cxn ang="0">
                  <a:pos x="T6" y="T7"/>
                </a:cxn>
                <a:cxn ang="0">
                  <a:pos x="T8" y="T9"/>
                </a:cxn>
                <a:cxn ang="0">
                  <a:pos x="T10" y="T11"/>
                </a:cxn>
              </a:cxnLst>
              <a:rect l="0" t="0" r="r" b="b"/>
              <a:pathLst>
                <a:path w="41" h="43">
                  <a:moveTo>
                    <a:pt x="20" y="0"/>
                  </a:moveTo>
                  <a:lnTo>
                    <a:pt x="20" y="0"/>
                  </a:lnTo>
                  <a:cubicBezTo>
                    <a:pt x="20" y="0"/>
                    <a:pt x="0" y="0"/>
                    <a:pt x="0" y="21"/>
                  </a:cubicBezTo>
                  <a:cubicBezTo>
                    <a:pt x="0" y="21"/>
                    <a:pt x="20" y="42"/>
                    <a:pt x="40" y="42"/>
                  </a:cubicBezTo>
                  <a:cubicBezTo>
                    <a:pt x="40" y="21"/>
                    <a:pt x="40" y="21"/>
                    <a:pt x="40" y="0"/>
                  </a:cubicBez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73" name="Freeform 670">
              <a:extLst>
                <a:ext uri="{FF2B5EF4-FFF2-40B4-BE49-F238E27FC236}">
                  <a16:creationId xmlns:a16="http://schemas.microsoft.com/office/drawing/2014/main" id="{17E2D6AA-83B7-7E4E-8995-A74B1AD44E4E}"/>
                </a:ext>
              </a:extLst>
            </p:cNvPr>
            <p:cNvSpPr>
              <a:spLocks noChangeArrowheads="1"/>
            </p:cNvSpPr>
            <p:nvPr/>
          </p:nvSpPr>
          <p:spPr bwMode="auto">
            <a:xfrm>
              <a:off x="3192463" y="7710488"/>
              <a:ext cx="7937" cy="15875"/>
            </a:xfrm>
            <a:custGeom>
              <a:avLst/>
              <a:gdLst>
                <a:gd name="T0" fmla="*/ 20 w 21"/>
                <a:gd name="T1" fmla="*/ 0 h 42"/>
                <a:gd name="T2" fmla="*/ 20 w 21"/>
                <a:gd name="T3" fmla="*/ 0 h 42"/>
                <a:gd name="T4" fmla="*/ 0 w 21"/>
                <a:gd name="T5" fmla="*/ 20 h 42"/>
                <a:gd name="T6" fmla="*/ 20 w 21"/>
                <a:gd name="T7" fmla="*/ 41 h 42"/>
                <a:gd name="T8" fmla="*/ 20 w 21"/>
                <a:gd name="T9" fmla="*/ 20 h 42"/>
                <a:gd name="T10" fmla="*/ 20 w 21"/>
                <a:gd name="T11" fmla="*/ 0 h 42"/>
              </a:gdLst>
              <a:ahLst/>
              <a:cxnLst>
                <a:cxn ang="0">
                  <a:pos x="T0" y="T1"/>
                </a:cxn>
                <a:cxn ang="0">
                  <a:pos x="T2" y="T3"/>
                </a:cxn>
                <a:cxn ang="0">
                  <a:pos x="T4" y="T5"/>
                </a:cxn>
                <a:cxn ang="0">
                  <a:pos x="T6" y="T7"/>
                </a:cxn>
                <a:cxn ang="0">
                  <a:pos x="T8" y="T9"/>
                </a:cxn>
                <a:cxn ang="0">
                  <a:pos x="T10" y="T11"/>
                </a:cxn>
              </a:cxnLst>
              <a:rect l="0" t="0" r="r" b="b"/>
              <a:pathLst>
                <a:path w="21" h="42">
                  <a:moveTo>
                    <a:pt x="20" y="0"/>
                  </a:moveTo>
                  <a:lnTo>
                    <a:pt x="20" y="0"/>
                  </a:lnTo>
                  <a:cubicBezTo>
                    <a:pt x="0" y="0"/>
                    <a:pt x="0" y="20"/>
                    <a:pt x="0" y="20"/>
                  </a:cubicBezTo>
                  <a:lnTo>
                    <a:pt x="20" y="41"/>
                  </a:lnTo>
                  <a:lnTo>
                    <a:pt x="20" y="20"/>
                  </a:lnTo>
                  <a:lnTo>
                    <a:pt x="2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74" name="Freeform 671">
              <a:extLst>
                <a:ext uri="{FF2B5EF4-FFF2-40B4-BE49-F238E27FC236}">
                  <a16:creationId xmlns:a16="http://schemas.microsoft.com/office/drawing/2014/main" id="{215DAF5A-580B-E542-8F25-0A5B73F6ADA5}"/>
                </a:ext>
              </a:extLst>
            </p:cNvPr>
            <p:cNvSpPr>
              <a:spLocks noChangeArrowheads="1"/>
            </p:cNvSpPr>
            <p:nvPr/>
          </p:nvSpPr>
          <p:spPr bwMode="auto">
            <a:xfrm>
              <a:off x="3200400" y="7673975"/>
              <a:ext cx="22225" cy="14288"/>
            </a:xfrm>
            <a:custGeom>
              <a:avLst/>
              <a:gdLst>
                <a:gd name="T0" fmla="*/ 41 w 62"/>
                <a:gd name="T1" fmla="*/ 40 h 41"/>
                <a:gd name="T2" fmla="*/ 41 w 62"/>
                <a:gd name="T3" fmla="*/ 40 h 41"/>
                <a:gd name="T4" fmla="*/ 20 w 62"/>
                <a:gd name="T5" fmla="*/ 20 h 41"/>
                <a:gd name="T6" fmla="*/ 20 w 62"/>
                <a:gd name="T7" fmla="*/ 0 h 41"/>
                <a:gd name="T8" fmla="*/ 41 w 62"/>
                <a:gd name="T9" fmla="*/ 0 h 41"/>
                <a:gd name="T10" fmla="*/ 61 w 62"/>
                <a:gd name="T11" fmla="*/ 20 h 41"/>
                <a:gd name="T12" fmla="*/ 41 w 62"/>
                <a:gd name="T13" fmla="*/ 40 h 41"/>
              </a:gdLst>
              <a:ahLst/>
              <a:cxnLst>
                <a:cxn ang="0">
                  <a:pos x="T0" y="T1"/>
                </a:cxn>
                <a:cxn ang="0">
                  <a:pos x="T2" y="T3"/>
                </a:cxn>
                <a:cxn ang="0">
                  <a:pos x="T4" y="T5"/>
                </a:cxn>
                <a:cxn ang="0">
                  <a:pos x="T6" y="T7"/>
                </a:cxn>
                <a:cxn ang="0">
                  <a:pos x="T8" y="T9"/>
                </a:cxn>
                <a:cxn ang="0">
                  <a:pos x="T10" y="T11"/>
                </a:cxn>
                <a:cxn ang="0">
                  <a:pos x="T12" y="T13"/>
                </a:cxn>
              </a:cxnLst>
              <a:rect l="0" t="0" r="r" b="b"/>
              <a:pathLst>
                <a:path w="62" h="41">
                  <a:moveTo>
                    <a:pt x="41" y="40"/>
                  </a:moveTo>
                  <a:lnTo>
                    <a:pt x="41" y="40"/>
                  </a:lnTo>
                  <a:cubicBezTo>
                    <a:pt x="20" y="40"/>
                    <a:pt x="20" y="20"/>
                    <a:pt x="20" y="20"/>
                  </a:cubicBezTo>
                  <a:cubicBezTo>
                    <a:pt x="0" y="20"/>
                    <a:pt x="20" y="0"/>
                    <a:pt x="20" y="0"/>
                  </a:cubicBezTo>
                  <a:lnTo>
                    <a:pt x="41" y="0"/>
                  </a:lnTo>
                  <a:lnTo>
                    <a:pt x="61" y="20"/>
                  </a:lnTo>
                  <a:lnTo>
                    <a:pt x="41" y="4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75" name="Freeform 672">
              <a:extLst>
                <a:ext uri="{FF2B5EF4-FFF2-40B4-BE49-F238E27FC236}">
                  <a16:creationId xmlns:a16="http://schemas.microsoft.com/office/drawing/2014/main" id="{5730D2F7-A6CB-D24E-8E9A-EE7E82F1865D}"/>
                </a:ext>
              </a:extLst>
            </p:cNvPr>
            <p:cNvSpPr>
              <a:spLocks noChangeArrowheads="1"/>
            </p:cNvSpPr>
            <p:nvPr/>
          </p:nvSpPr>
          <p:spPr bwMode="auto">
            <a:xfrm>
              <a:off x="3186113" y="7651750"/>
              <a:ext cx="7937" cy="15875"/>
            </a:xfrm>
            <a:custGeom>
              <a:avLst/>
              <a:gdLst>
                <a:gd name="T0" fmla="*/ 0 w 22"/>
                <a:gd name="T1" fmla="*/ 0 h 42"/>
                <a:gd name="T2" fmla="*/ 0 w 22"/>
                <a:gd name="T3" fmla="*/ 0 h 42"/>
                <a:gd name="T4" fmla="*/ 0 w 22"/>
                <a:gd name="T5" fmla="*/ 20 h 42"/>
                <a:gd name="T6" fmla="*/ 21 w 22"/>
                <a:gd name="T7" fmla="*/ 41 h 42"/>
                <a:gd name="T8" fmla="*/ 21 w 22"/>
                <a:gd name="T9" fmla="*/ 20 h 42"/>
                <a:gd name="T10" fmla="*/ 0 w 22"/>
                <a:gd name="T11" fmla="*/ 0 h 42"/>
              </a:gdLst>
              <a:ahLst/>
              <a:cxnLst>
                <a:cxn ang="0">
                  <a:pos x="T0" y="T1"/>
                </a:cxn>
                <a:cxn ang="0">
                  <a:pos x="T2" y="T3"/>
                </a:cxn>
                <a:cxn ang="0">
                  <a:pos x="T4" y="T5"/>
                </a:cxn>
                <a:cxn ang="0">
                  <a:pos x="T6" y="T7"/>
                </a:cxn>
                <a:cxn ang="0">
                  <a:pos x="T8" y="T9"/>
                </a:cxn>
                <a:cxn ang="0">
                  <a:pos x="T10" y="T11"/>
                </a:cxn>
              </a:cxnLst>
              <a:rect l="0" t="0" r="r" b="b"/>
              <a:pathLst>
                <a:path w="22" h="42">
                  <a:moveTo>
                    <a:pt x="0" y="0"/>
                  </a:moveTo>
                  <a:lnTo>
                    <a:pt x="0" y="0"/>
                  </a:lnTo>
                  <a:lnTo>
                    <a:pt x="0" y="20"/>
                  </a:lnTo>
                  <a:cubicBezTo>
                    <a:pt x="0" y="20"/>
                    <a:pt x="0" y="41"/>
                    <a:pt x="21" y="41"/>
                  </a:cubicBezTo>
                  <a:lnTo>
                    <a:pt x="21" y="20"/>
                  </a:lnTo>
                  <a:lnTo>
                    <a:pt x="0" y="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sp>
          <p:nvSpPr>
            <p:cNvPr id="676" name="Freeform 673">
              <a:extLst>
                <a:ext uri="{FF2B5EF4-FFF2-40B4-BE49-F238E27FC236}">
                  <a16:creationId xmlns:a16="http://schemas.microsoft.com/office/drawing/2014/main" id="{8595AF80-0B9A-8749-B412-5C4F9E632EFE}"/>
                </a:ext>
              </a:extLst>
            </p:cNvPr>
            <p:cNvSpPr>
              <a:spLocks noChangeArrowheads="1"/>
            </p:cNvSpPr>
            <p:nvPr/>
          </p:nvSpPr>
          <p:spPr bwMode="auto">
            <a:xfrm>
              <a:off x="3178175" y="7615238"/>
              <a:ext cx="15875" cy="22225"/>
            </a:xfrm>
            <a:custGeom>
              <a:avLst/>
              <a:gdLst>
                <a:gd name="T0" fmla="*/ 21 w 43"/>
                <a:gd name="T1" fmla="*/ 20 h 62"/>
                <a:gd name="T2" fmla="*/ 21 w 43"/>
                <a:gd name="T3" fmla="*/ 20 h 62"/>
                <a:gd name="T4" fmla="*/ 0 w 43"/>
                <a:gd name="T5" fmla="*/ 40 h 62"/>
                <a:gd name="T6" fmla="*/ 42 w 43"/>
                <a:gd name="T7" fmla="*/ 61 h 62"/>
                <a:gd name="T8" fmla="*/ 42 w 43"/>
                <a:gd name="T9" fmla="*/ 20 h 62"/>
                <a:gd name="T10" fmla="*/ 21 w 43"/>
                <a:gd name="T11" fmla="*/ 0 h 62"/>
                <a:gd name="T12" fmla="*/ 21 w 43"/>
                <a:gd name="T13" fmla="*/ 20 h 62"/>
              </a:gdLst>
              <a:ahLst/>
              <a:cxnLst>
                <a:cxn ang="0">
                  <a:pos x="T0" y="T1"/>
                </a:cxn>
                <a:cxn ang="0">
                  <a:pos x="T2" y="T3"/>
                </a:cxn>
                <a:cxn ang="0">
                  <a:pos x="T4" y="T5"/>
                </a:cxn>
                <a:cxn ang="0">
                  <a:pos x="T6" y="T7"/>
                </a:cxn>
                <a:cxn ang="0">
                  <a:pos x="T8" y="T9"/>
                </a:cxn>
                <a:cxn ang="0">
                  <a:pos x="T10" y="T11"/>
                </a:cxn>
                <a:cxn ang="0">
                  <a:pos x="T12" y="T13"/>
                </a:cxn>
              </a:cxnLst>
              <a:rect l="0" t="0" r="r" b="b"/>
              <a:pathLst>
                <a:path w="43" h="62">
                  <a:moveTo>
                    <a:pt x="21" y="20"/>
                  </a:moveTo>
                  <a:lnTo>
                    <a:pt x="21" y="20"/>
                  </a:lnTo>
                  <a:cubicBezTo>
                    <a:pt x="0" y="20"/>
                    <a:pt x="0" y="40"/>
                    <a:pt x="0" y="40"/>
                  </a:cubicBezTo>
                  <a:cubicBezTo>
                    <a:pt x="0" y="61"/>
                    <a:pt x="21" y="61"/>
                    <a:pt x="42" y="61"/>
                  </a:cubicBezTo>
                  <a:cubicBezTo>
                    <a:pt x="42" y="61"/>
                    <a:pt x="42" y="40"/>
                    <a:pt x="42" y="20"/>
                  </a:cubicBezTo>
                  <a:lnTo>
                    <a:pt x="21" y="0"/>
                  </a:lnTo>
                  <a:lnTo>
                    <a:pt x="21" y="20"/>
                  </a:lnTo>
                </a:path>
              </a:pathLst>
            </a:custGeom>
            <a:grpFill/>
            <a:ln w="12700" cap="flat" cmpd="sng">
              <a:solidFill>
                <a:schemeClr val="bg1"/>
              </a:solidFill>
              <a:bevel/>
              <a:headEnd/>
              <a:tailEnd/>
            </a:ln>
            <a:effectLst/>
            <a:extLs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128"/>
              <a:endParaRPr lang="en-US" sz="810">
                <a:solidFill>
                  <a:srgbClr val="333634"/>
                </a:solidFill>
              </a:endParaRPr>
            </a:p>
          </p:txBody>
        </p:sp>
      </p:grpSp>
    </p:spTree>
    <p:extLst>
      <p:ext uri="{BB962C8B-B14F-4D97-AF65-F5344CB8AC3E}">
        <p14:creationId xmlns:p14="http://schemas.microsoft.com/office/powerpoint/2010/main" val="33169366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ina</a:t>
            </a:r>
          </a:p>
        </p:txBody>
      </p:sp>
      <p:grpSp>
        <p:nvGrpSpPr>
          <p:cNvPr id="18" name="Group 17"/>
          <p:cNvGrpSpPr>
            <a:grpSpLocks noChangeAspect="1"/>
          </p:cNvGrpSpPr>
          <p:nvPr/>
        </p:nvGrpSpPr>
        <p:grpSpPr>
          <a:xfrm>
            <a:off x="1806304" y="1849613"/>
            <a:ext cx="3923734" cy="3200400"/>
            <a:chOff x="228600" y="165100"/>
            <a:chExt cx="8783638" cy="7164388"/>
          </a:xfrm>
          <a:solidFill>
            <a:schemeClr val="bg1">
              <a:lumMod val="75000"/>
            </a:schemeClr>
          </a:solidFill>
        </p:grpSpPr>
        <p:sp>
          <p:nvSpPr>
            <p:cNvPr id="19" name="AutoShape 1"/>
            <p:cNvSpPr>
              <a:spLocks/>
            </p:cNvSpPr>
            <p:nvPr/>
          </p:nvSpPr>
          <p:spPr bwMode="auto">
            <a:xfrm>
              <a:off x="228600" y="800100"/>
              <a:ext cx="3479800" cy="2662238"/>
            </a:xfrm>
            <a:custGeom>
              <a:avLst/>
              <a:gdLst/>
              <a:ahLst/>
              <a:cxnLst/>
              <a:rect l="0" t="0" r="r" b="b"/>
              <a:pathLst>
                <a:path w="21600" h="21600">
                  <a:moveTo>
                    <a:pt x="4302" y="19584"/>
                  </a:moveTo>
                  <a:lnTo>
                    <a:pt x="4836" y="19079"/>
                  </a:lnTo>
                  <a:lnTo>
                    <a:pt x="5341" y="19467"/>
                  </a:lnTo>
                  <a:lnTo>
                    <a:pt x="5995" y="19778"/>
                  </a:lnTo>
                  <a:lnTo>
                    <a:pt x="6886" y="19584"/>
                  </a:lnTo>
                  <a:lnTo>
                    <a:pt x="7272" y="19622"/>
                  </a:lnTo>
                  <a:lnTo>
                    <a:pt x="7480" y="20205"/>
                  </a:lnTo>
                  <a:lnTo>
                    <a:pt x="8520" y="20671"/>
                  </a:lnTo>
                  <a:lnTo>
                    <a:pt x="9619" y="20360"/>
                  </a:lnTo>
                  <a:lnTo>
                    <a:pt x="10243" y="20399"/>
                  </a:lnTo>
                  <a:lnTo>
                    <a:pt x="10748" y="20050"/>
                  </a:lnTo>
                  <a:lnTo>
                    <a:pt x="11877" y="20127"/>
                  </a:lnTo>
                  <a:lnTo>
                    <a:pt x="13213" y="20516"/>
                  </a:lnTo>
                  <a:lnTo>
                    <a:pt x="13926" y="21176"/>
                  </a:lnTo>
                  <a:lnTo>
                    <a:pt x="14312" y="21098"/>
                  </a:lnTo>
                  <a:lnTo>
                    <a:pt x="15055" y="21331"/>
                  </a:lnTo>
                  <a:lnTo>
                    <a:pt x="15382" y="21600"/>
                  </a:lnTo>
                  <a:lnTo>
                    <a:pt x="15412" y="20826"/>
                  </a:lnTo>
                  <a:lnTo>
                    <a:pt x="15055" y="20632"/>
                  </a:lnTo>
                  <a:lnTo>
                    <a:pt x="15857" y="20166"/>
                  </a:lnTo>
                  <a:lnTo>
                    <a:pt x="15620" y="19351"/>
                  </a:lnTo>
                  <a:lnTo>
                    <a:pt x="15293" y="18846"/>
                  </a:lnTo>
                  <a:lnTo>
                    <a:pt x="15204" y="18069"/>
                  </a:lnTo>
                  <a:lnTo>
                    <a:pt x="15055" y="17680"/>
                  </a:lnTo>
                  <a:lnTo>
                    <a:pt x="16124" y="17486"/>
                  </a:lnTo>
                  <a:lnTo>
                    <a:pt x="17491" y="17214"/>
                  </a:lnTo>
                  <a:lnTo>
                    <a:pt x="17966" y="16244"/>
                  </a:lnTo>
                  <a:lnTo>
                    <a:pt x="18263" y="15040"/>
                  </a:lnTo>
                  <a:lnTo>
                    <a:pt x="18828" y="15040"/>
                  </a:lnTo>
                  <a:lnTo>
                    <a:pt x="19927" y="13641"/>
                  </a:lnTo>
                  <a:lnTo>
                    <a:pt x="20759" y="13641"/>
                  </a:lnTo>
                  <a:lnTo>
                    <a:pt x="21472" y="13175"/>
                  </a:lnTo>
                  <a:lnTo>
                    <a:pt x="21472" y="12476"/>
                  </a:lnTo>
                  <a:lnTo>
                    <a:pt x="21600" y="12269"/>
                  </a:lnTo>
                  <a:lnTo>
                    <a:pt x="21600" y="11709"/>
                  </a:lnTo>
                  <a:lnTo>
                    <a:pt x="21266" y="11243"/>
                  </a:lnTo>
                  <a:lnTo>
                    <a:pt x="21221" y="10632"/>
                  </a:lnTo>
                  <a:lnTo>
                    <a:pt x="21110" y="10049"/>
                  </a:lnTo>
                  <a:lnTo>
                    <a:pt x="20921" y="9831"/>
                  </a:lnTo>
                  <a:lnTo>
                    <a:pt x="21065" y="9583"/>
                  </a:lnTo>
                  <a:lnTo>
                    <a:pt x="20664" y="9525"/>
                  </a:lnTo>
                  <a:lnTo>
                    <a:pt x="19929" y="8447"/>
                  </a:lnTo>
                  <a:lnTo>
                    <a:pt x="19327" y="8010"/>
                  </a:lnTo>
                  <a:lnTo>
                    <a:pt x="18559" y="7821"/>
                  </a:lnTo>
                  <a:lnTo>
                    <a:pt x="18058" y="7602"/>
                  </a:lnTo>
                  <a:lnTo>
                    <a:pt x="17601" y="7340"/>
                  </a:lnTo>
                  <a:lnTo>
                    <a:pt x="17244" y="6772"/>
                  </a:lnTo>
                  <a:lnTo>
                    <a:pt x="17267" y="6335"/>
                  </a:lnTo>
                  <a:lnTo>
                    <a:pt x="17489" y="6131"/>
                  </a:lnTo>
                  <a:lnTo>
                    <a:pt x="17623" y="5913"/>
                  </a:lnTo>
                  <a:lnTo>
                    <a:pt x="17712" y="5461"/>
                  </a:lnTo>
                  <a:cubicBezTo>
                    <a:pt x="17712" y="5461"/>
                    <a:pt x="17746" y="5156"/>
                    <a:pt x="17790" y="5126"/>
                  </a:cubicBezTo>
                  <a:cubicBezTo>
                    <a:pt x="17835" y="5097"/>
                    <a:pt x="17879" y="4777"/>
                    <a:pt x="17879" y="4777"/>
                  </a:cubicBezTo>
                  <a:lnTo>
                    <a:pt x="17779" y="4340"/>
                  </a:lnTo>
                  <a:lnTo>
                    <a:pt x="17567" y="4049"/>
                  </a:lnTo>
                  <a:lnTo>
                    <a:pt x="17523" y="3554"/>
                  </a:lnTo>
                  <a:lnTo>
                    <a:pt x="17467" y="3233"/>
                  </a:lnTo>
                  <a:lnTo>
                    <a:pt x="17278" y="2753"/>
                  </a:lnTo>
                  <a:lnTo>
                    <a:pt x="17077" y="2753"/>
                  </a:lnTo>
                  <a:lnTo>
                    <a:pt x="16910" y="2403"/>
                  </a:lnTo>
                  <a:lnTo>
                    <a:pt x="16498" y="2403"/>
                  </a:lnTo>
                  <a:lnTo>
                    <a:pt x="16498" y="2214"/>
                  </a:lnTo>
                  <a:lnTo>
                    <a:pt x="16219" y="2010"/>
                  </a:lnTo>
                  <a:lnTo>
                    <a:pt x="16164" y="1748"/>
                  </a:lnTo>
                  <a:lnTo>
                    <a:pt x="15830" y="1238"/>
                  </a:lnTo>
                  <a:lnTo>
                    <a:pt x="15896" y="918"/>
                  </a:lnTo>
                  <a:lnTo>
                    <a:pt x="15763" y="786"/>
                  </a:lnTo>
                  <a:lnTo>
                    <a:pt x="15763" y="626"/>
                  </a:lnTo>
                  <a:lnTo>
                    <a:pt x="15830" y="495"/>
                  </a:lnTo>
                  <a:lnTo>
                    <a:pt x="15830" y="248"/>
                  </a:lnTo>
                  <a:lnTo>
                    <a:pt x="15440" y="248"/>
                  </a:lnTo>
                  <a:lnTo>
                    <a:pt x="15273" y="0"/>
                  </a:lnTo>
                  <a:lnTo>
                    <a:pt x="14972" y="0"/>
                  </a:lnTo>
                  <a:lnTo>
                    <a:pt x="14860" y="131"/>
                  </a:lnTo>
                  <a:lnTo>
                    <a:pt x="14860" y="451"/>
                  </a:lnTo>
                  <a:lnTo>
                    <a:pt x="14526" y="859"/>
                  </a:lnTo>
                  <a:lnTo>
                    <a:pt x="13880" y="932"/>
                  </a:lnTo>
                  <a:lnTo>
                    <a:pt x="13635" y="1340"/>
                  </a:lnTo>
                  <a:cubicBezTo>
                    <a:pt x="13635" y="1340"/>
                    <a:pt x="13557" y="1573"/>
                    <a:pt x="13557" y="1617"/>
                  </a:cubicBezTo>
                  <a:cubicBezTo>
                    <a:pt x="13557" y="1660"/>
                    <a:pt x="13557" y="2490"/>
                    <a:pt x="13557" y="2490"/>
                  </a:cubicBezTo>
                  <a:lnTo>
                    <a:pt x="13301" y="2956"/>
                  </a:lnTo>
                  <a:lnTo>
                    <a:pt x="12911" y="2825"/>
                  </a:lnTo>
                  <a:lnTo>
                    <a:pt x="12777" y="3015"/>
                  </a:lnTo>
                  <a:lnTo>
                    <a:pt x="12621" y="2811"/>
                  </a:lnTo>
                  <a:lnTo>
                    <a:pt x="12165" y="2709"/>
                  </a:lnTo>
                  <a:lnTo>
                    <a:pt x="11886" y="2563"/>
                  </a:lnTo>
                  <a:lnTo>
                    <a:pt x="11351" y="1981"/>
                  </a:lnTo>
                  <a:lnTo>
                    <a:pt x="10627" y="3233"/>
                  </a:lnTo>
                  <a:lnTo>
                    <a:pt x="10137" y="3976"/>
                  </a:lnTo>
                  <a:lnTo>
                    <a:pt x="10137" y="4500"/>
                  </a:lnTo>
                  <a:lnTo>
                    <a:pt x="10260" y="4617"/>
                  </a:lnTo>
                  <a:lnTo>
                    <a:pt x="10315" y="4937"/>
                  </a:lnTo>
                  <a:lnTo>
                    <a:pt x="10070" y="4835"/>
                  </a:lnTo>
                  <a:lnTo>
                    <a:pt x="9859" y="4762"/>
                  </a:lnTo>
                  <a:lnTo>
                    <a:pt x="9714" y="4457"/>
                  </a:lnTo>
                  <a:lnTo>
                    <a:pt x="9536" y="4384"/>
                  </a:lnTo>
                  <a:lnTo>
                    <a:pt x="9447" y="4515"/>
                  </a:lnTo>
                  <a:lnTo>
                    <a:pt x="8656" y="4500"/>
                  </a:lnTo>
                  <a:lnTo>
                    <a:pt x="8544" y="4398"/>
                  </a:lnTo>
                  <a:lnTo>
                    <a:pt x="7920" y="4398"/>
                  </a:lnTo>
                  <a:lnTo>
                    <a:pt x="7809" y="4515"/>
                  </a:lnTo>
                  <a:lnTo>
                    <a:pt x="7943" y="4762"/>
                  </a:lnTo>
                  <a:lnTo>
                    <a:pt x="8132" y="4937"/>
                  </a:lnTo>
                  <a:lnTo>
                    <a:pt x="8199" y="5316"/>
                  </a:lnTo>
                  <a:lnTo>
                    <a:pt x="8110" y="5316"/>
                  </a:lnTo>
                  <a:lnTo>
                    <a:pt x="8054" y="6437"/>
                  </a:lnTo>
                  <a:lnTo>
                    <a:pt x="8121" y="6816"/>
                  </a:lnTo>
                  <a:lnTo>
                    <a:pt x="8087" y="7238"/>
                  </a:lnTo>
                  <a:lnTo>
                    <a:pt x="7976" y="7471"/>
                  </a:lnTo>
                  <a:lnTo>
                    <a:pt x="7664" y="7471"/>
                  </a:lnTo>
                  <a:lnTo>
                    <a:pt x="7575" y="7602"/>
                  </a:lnTo>
                  <a:lnTo>
                    <a:pt x="7686" y="7792"/>
                  </a:lnTo>
                  <a:lnTo>
                    <a:pt x="7419" y="7894"/>
                  </a:lnTo>
                  <a:lnTo>
                    <a:pt x="7297" y="8127"/>
                  </a:lnTo>
                  <a:lnTo>
                    <a:pt x="7297" y="8564"/>
                  </a:lnTo>
                  <a:lnTo>
                    <a:pt x="7163" y="8767"/>
                  </a:lnTo>
                  <a:lnTo>
                    <a:pt x="6951" y="8767"/>
                  </a:lnTo>
                  <a:lnTo>
                    <a:pt x="6695" y="9000"/>
                  </a:lnTo>
                  <a:lnTo>
                    <a:pt x="6171" y="9073"/>
                  </a:lnTo>
                  <a:lnTo>
                    <a:pt x="5882" y="9073"/>
                  </a:lnTo>
                  <a:lnTo>
                    <a:pt x="5759" y="9233"/>
                  </a:lnTo>
                  <a:lnTo>
                    <a:pt x="5525" y="9233"/>
                  </a:lnTo>
                  <a:lnTo>
                    <a:pt x="5280" y="9233"/>
                  </a:lnTo>
                  <a:lnTo>
                    <a:pt x="5124" y="9088"/>
                  </a:lnTo>
                  <a:lnTo>
                    <a:pt x="4991" y="9233"/>
                  </a:lnTo>
                  <a:lnTo>
                    <a:pt x="4991" y="9423"/>
                  </a:lnTo>
                  <a:lnTo>
                    <a:pt x="4668" y="9423"/>
                  </a:lnTo>
                  <a:lnTo>
                    <a:pt x="4601" y="9583"/>
                  </a:lnTo>
                  <a:lnTo>
                    <a:pt x="4389" y="9583"/>
                  </a:lnTo>
                  <a:lnTo>
                    <a:pt x="4155" y="9423"/>
                  </a:lnTo>
                  <a:lnTo>
                    <a:pt x="3988" y="9190"/>
                  </a:lnTo>
                  <a:lnTo>
                    <a:pt x="3788" y="9233"/>
                  </a:lnTo>
                  <a:lnTo>
                    <a:pt x="3453" y="9583"/>
                  </a:lnTo>
                  <a:lnTo>
                    <a:pt x="3208" y="9962"/>
                  </a:lnTo>
                  <a:lnTo>
                    <a:pt x="2985" y="9962"/>
                  </a:lnTo>
                  <a:lnTo>
                    <a:pt x="2896" y="9831"/>
                  </a:lnTo>
                  <a:lnTo>
                    <a:pt x="2596" y="9831"/>
                  </a:lnTo>
                  <a:lnTo>
                    <a:pt x="2596" y="9437"/>
                  </a:lnTo>
                  <a:lnTo>
                    <a:pt x="2395" y="9263"/>
                  </a:lnTo>
                  <a:lnTo>
                    <a:pt x="2317" y="9379"/>
                  </a:lnTo>
                  <a:lnTo>
                    <a:pt x="2139" y="9408"/>
                  </a:lnTo>
                  <a:lnTo>
                    <a:pt x="1994" y="9277"/>
                  </a:lnTo>
                  <a:lnTo>
                    <a:pt x="1860" y="9161"/>
                  </a:lnTo>
                  <a:lnTo>
                    <a:pt x="1760" y="9204"/>
                  </a:lnTo>
                  <a:lnTo>
                    <a:pt x="1671" y="9394"/>
                  </a:lnTo>
                  <a:lnTo>
                    <a:pt x="1392" y="9525"/>
                  </a:lnTo>
                  <a:lnTo>
                    <a:pt x="1170" y="9525"/>
                  </a:lnTo>
                  <a:lnTo>
                    <a:pt x="836" y="9452"/>
                  </a:lnTo>
                  <a:lnTo>
                    <a:pt x="646" y="9758"/>
                  </a:lnTo>
                  <a:lnTo>
                    <a:pt x="490" y="10122"/>
                  </a:lnTo>
                  <a:lnTo>
                    <a:pt x="301" y="10122"/>
                  </a:lnTo>
                  <a:lnTo>
                    <a:pt x="134" y="10253"/>
                  </a:lnTo>
                  <a:lnTo>
                    <a:pt x="56" y="10457"/>
                  </a:lnTo>
                  <a:lnTo>
                    <a:pt x="134" y="10603"/>
                  </a:lnTo>
                  <a:lnTo>
                    <a:pt x="167" y="10865"/>
                  </a:lnTo>
                  <a:lnTo>
                    <a:pt x="56" y="11098"/>
                  </a:lnTo>
                  <a:lnTo>
                    <a:pt x="0" y="11389"/>
                  </a:lnTo>
                  <a:lnTo>
                    <a:pt x="56" y="11622"/>
                  </a:lnTo>
                  <a:lnTo>
                    <a:pt x="178" y="11782"/>
                  </a:lnTo>
                  <a:lnTo>
                    <a:pt x="435" y="11680"/>
                  </a:lnTo>
                  <a:lnTo>
                    <a:pt x="668" y="11855"/>
                  </a:lnTo>
                  <a:lnTo>
                    <a:pt x="847" y="12117"/>
                  </a:lnTo>
                  <a:lnTo>
                    <a:pt x="847" y="12336"/>
                  </a:lnTo>
                  <a:lnTo>
                    <a:pt x="735" y="12700"/>
                  </a:lnTo>
                  <a:lnTo>
                    <a:pt x="724" y="13268"/>
                  </a:lnTo>
                  <a:lnTo>
                    <a:pt x="590" y="13457"/>
                  </a:lnTo>
                  <a:lnTo>
                    <a:pt x="590" y="13690"/>
                  </a:lnTo>
                  <a:lnTo>
                    <a:pt x="702" y="13807"/>
                  </a:lnTo>
                  <a:lnTo>
                    <a:pt x="657" y="13967"/>
                  </a:lnTo>
                  <a:cubicBezTo>
                    <a:pt x="657" y="13967"/>
                    <a:pt x="546" y="14112"/>
                    <a:pt x="512" y="14112"/>
                  </a:cubicBezTo>
                  <a:cubicBezTo>
                    <a:pt x="479" y="14112"/>
                    <a:pt x="267" y="13938"/>
                    <a:pt x="267" y="13938"/>
                  </a:cubicBezTo>
                  <a:lnTo>
                    <a:pt x="0" y="13923"/>
                  </a:lnTo>
                  <a:lnTo>
                    <a:pt x="0" y="14112"/>
                  </a:lnTo>
                  <a:lnTo>
                    <a:pt x="67" y="14287"/>
                  </a:lnTo>
                  <a:lnTo>
                    <a:pt x="290" y="14287"/>
                  </a:lnTo>
                  <a:lnTo>
                    <a:pt x="357" y="14535"/>
                  </a:lnTo>
                  <a:lnTo>
                    <a:pt x="646" y="14724"/>
                  </a:lnTo>
                  <a:lnTo>
                    <a:pt x="824" y="15059"/>
                  </a:lnTo>
                  <a:lnTo>
                    <a:pt x="1081" y="15278"/>
                  </a:lnTo>
                  <a:lnTo>
                    <a:pt x="1159" y="15510"/>
                  </a:lnTo>
                  <a:lnTo>
                    <a:pt x="1147" y="15787"/>
                  </a:lnTo>
                  <a:lnTo>
                    <a:pt x="1025" y="15977"/>
                  </a:lnTo>
                  <a:lnTo>
                    <a:pt x="925" y="16268"/>
                  </a:lnTo>
                  <a:lnTo>
                    <a:pt x="1003" y="16545"/>
                  </a:lnTo>
                  <a:lnTo>
                    <a:pt x="1014" y="16880"/>
                  </a:lnTo>
                  <a:lnTo>
                    <a:pt x="1359" y="16880"/>
                  </a:lnTo>
                  <a:lnTo>
                    <a:pt x="1359" y="17229"/>
                  </a:lnTo>
                  <a:lnTo>
                    <a:pt x="1716" y="17579"/>
                  </a:lnTo>
                  <a:lnTo>
                    <a:pt x="2172" y="18001"/>
                  </a:lnTo>
                  <a:lnTo>
                    <a:pt x="2518" y="18074"/>
                  </a:lnTo>
                  <a:lnTo>
                    <a:pt x="2596" y="18234"/>
                  </a:lnTo>
                  <a:lnTo>
                    <a:pt x="2451" y="18409"/>
                  </a:lnTo>
                  <a:lnTo>
                    <a:pt x="2506" y="18627"/>
                  </a:lnTo>
                  <a:lnTo>
                    <a:pt x="2518" y="19093"/>
                  </a:lnTo>
                  <a:lnTo>
                    <a:pt x="2417" y="19341"/>
                  </a:lnTo>
                  <a:lnTo>
                    <a:pt x="2607" y="19574"/>
                  </a:lnTo>
                  <a:lnTo>
                    <a:pt x="2885" y="19938"/>
                  </a:lnTo>
                  <a:lnTo>
                    <a:pt x="2912" y="20109"/>
                  </a:lnTo>
                  <a:lnTo>
                    <a:pt x="4094" y="20166"/>
                  </a:lnTo>
                  <a:cubicBezTo>
                    <a:pt x="4094" y="20166"/>
                    <a:pt x="4302" y="19584"/>
                    <a:pt x="4302" y="19584"/>
                  </a:cubicBezTo>
                  <a:close/>
                  <a:moveTo>
                    <a:pt x="4302" y="19584"/>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0" name="AutoShape 2"/>
            <p:cNvSpPr>
              <a:spLocks/>
            </p:cNvSpPr>
            <p:nvPr/>
          </p:nvSpPr>
          <p:spPr bwMode="auto">
            <a:xfrm>
              <a:off x="469900" y="3149600"/>
              <a:ext cx="3367088" cy="2170113"/>
            </a:xfrm>
            <a:custGeom>
              <a:avLst/>
              <a:gdLst/>
              <a:ahLst/>
              <a:cxnLst/>
              <a:rect l="0" t="0" r="r" b="b"/>
              <a:pathLst>
                <a:path w="21600" h="21600">
                  <a:moveTo>
                    <a:pt x="20372" y="20486"/>
                  </a:moveTo>
                  <a:lnTo>
                    <a:pt x="20863" y="20272"/>
                  </a:lnTo>
                  <a:lnTo>
                    <a:pt x="20863" y="18962"/>
                  </a:lnTo>
                  <a:lnTo>
                    <a:pt x="21109" y="19200"/>
                  </a:lnTo>
                  <a:lnTo>
                    <a:pt x="21416" y="18485"/>
                  </a:lnTo>
                  <a:lnTo>
                    <a:pt x="21600" y="16818"/>
                  </a:lnTo>
                  <a:lnTo>
                    <a:pt x="21447" y="15150"/>
                  </a:lnTo>
                  <a:lnTo>
                    <a:pt x="21232" y="14341"/>
                  </a:lnTo>
                  <a:lnTo>
                    <a:pt x="21600" y="14341"/>
                  </a:lnTo>
                  <a:lnTo>
                    <a:pt x="21139" y="13388"/>
                  </a:lnTo>
                  <a:lnTo>
                    <a:pt x="20955" y="12149"/>
                  </a:lnTo>
                  <a:lnTo>
                    <a:pt x="20529" y="11775"/>
                  </a:lnTo>
                  <a:lnTo>
                    <a:pt x="20003" y="11911"/>
                  </a:lnTo>
                  <a:lnTo>
                    <a:pt x="19758" y="12530"/>
                  </a:lnTo>
                  <a:lnTo>
                    <a:pt x="19328" y="12387"/>
                  </a:lnTo>
                  <a:lnTo>
                    <a:pt x="19328" y="12959"/>
                  </a:lnTo>
                  <a:lnTo>
                    <a:pt x="18745" y="12530"/>
                  </a:lnTo>
                  <a:lnTo>
                    <a:pt x="18499" y="12959"/>
                  </a:lnTo>
                  <a:lnTo>
                    <a:pt x="17916" y="12673"/>
                  </a:lnTo>
                  <a:lnTo>
                    <a:pt x="17916" y="11768"/>
                  </a:lnTo>
                  <a:lnTo>
                    <a:pt x="17516" y="11530"/>
                  </a:lnTo>
                  <a:lnTo>
                    <a:pt x="17179" y="10720"/>
                  </a:lnTo>
                  <a:lnTo>
                    <a:pt x="16565" y="11101"/>
                  </a:lnTo>
                  <a:lnTo>
                    <a:pt x="15920" y="10720"/>
                  </a:lnTo>
                  <a:lnTo>
                    <a:pt x="15214" y="10053"/>
                  </a:lnTo>
                  <a:lnTo>
                    <a:pt x="14293" y="9529"/>
                  </a:lnTo>
                  <a:lnTo>
                    <a:pt x="13893" y="8719"/>
                  </a:lnTo>
                  <a:lnTo>
                    <a:pt x="13648" y="8385"/>
                  </a:lnTo>
                  <a:lnTo>
                    <a:pt x="13279" y="8719"/>
                  </a:lnTo>
                  <a:lnTo>
                    <a:pt x="12757" y="8290"/>
                  </a:lnTo>
                  <a:lnTo>
                    <a:pt x="12757" y="7385"/>
                  </a:lnTo>
                  <a:lnTo>
                    <a:pt x="12235" y="6384"/>
                  </a:lnTo>
                  <a:lnTo>
                    <a:pt x="12542" y="6003"/>
                  </a:lnTo>
                  <a:lnTo>
                    <a:pt x="12389" y="5384"/>
                  </a:lnTo>
                  <a:lnTo>
                    <a:pt x="12573" y="5050"/>
                  </a:lnTo>
                  <a:lnTo>
                    <a:pt x="12389" y="4812"/>
                  </a:lnTo>
                  <a:lnTo>
                    <a:pt x="12389" y="3877"/>
                  </a:lnTo>
                  <a:lnTo>
                    <a:pt x="12604" y="3877"/>
                  </a:lnTo>
                  <a:lnTo>
                    <a:pt x="12942" y="3093"/>
                  </a:lnTo>
                  <a:lnTo>
                    <a:pt x="12604" y="2716"/>
                  </a:lnTo>
                  <a:lnTo>
                    <a:pt x="13157" y="2716"/>
                  </a:lnTo>
                  <a:lnTo>
                    <a:pt x="13190" y="2481"/>
                  </a:lnTo>
                  <a:lnTo>
                    <a:pt x="13181" y="2478"/>
                  </a:lnTo>
                  <a:lnTo>
                    <a:pt x="12782" y="2573"/>
                  </a:lnTo>
                  <a:lnTo>
                    <a:pt x="12045" y="1763"/>
                  </a:lnTo>
                  <a:lnTo>
                    <a:pt x="10663" y="1286"/>
                  </a:lnTo>
                  <a:lnTo>
                    <a:pt x="9497" y="1191"/>
                  </a:lnTo>
                  <a:lnTo>
                    <a:pt x="8975" y="1620"/>
                  </a:lnTo>
                  <a:lnTo>
                    <a:pt x="8330" y="1572"/>
                  </a:lnTo>
                  <a:lnTo>
                    <a:pt x="7194" y="1953"/>
                  </a:lnTo>
                  <a:lnTo>
                    <a:pt x="6119" y="1382"/>
                  </a:lnTo>
                  <a:lnTo>
                    <a:pt x="5904" y="667"/>
                  </a:lnTo>
                  <a:lnTo>
                    <a:pt x="5505" y="619"/>
                  </a:lnTo>
                  <a:lnTo>
                    <a:pt x="4584" y="858"/>
                  </a:lnTo>
                  <a:lnTo>
                    <a:pt x="3909" y="477"/>
                  </a:lnTo>
                  <a:lnTo>
                    <a:pt x="3387" y="0"/>
                  </a:lnTo>
                  <a:lnTo>
                    <a:pt x="2834" y="619"/>
                  </a:lnTo>
                  <a:lnTo>
                    <a:pt x="2619" y="1334"/>
                  </a:lnTo>
                  <a:lnTo>
                    <a:pt x="1398" y="1264"/>
                  </a:lnTo>
                  <a:lnTo>
                    <a:pt x="1428" y="1483"/>
                  </a:lnTo>
                  <a:lnTo>
                    <a:pt x="1324" y="1590"/>
                  </a:lnTo>
                  <a:lnTo>
                    <a:pt x="1105" y="1751"/>
                  </a:lnTo>
                  <a:lnTo>
                    <a:pt x="1094" y="2233"/>
                  </a:lnTo>
                  <a:lnTo>
                    <a:pt x="898" y="2430"/>
                  </a:lnTo>
                  <a:lnTo>
                    <a:pt x="887" y="2948"/>
                  </a:lnTo>
                  <a:lnTo>
                    <a:pt x="1059" y="3287"/>
                  </a:lnTo>
                  <a:lnTo>
                    <a:pt x="1163" y="3502"/>
                  </a:lnTo>
                  <a:lnTo>
                    <a:pt x="1140" y="4717"/>
                  </a:lnTo>
                  <a:lnTo>
                    <a:pt x="910" y="4949"/>
                  </a:lnTo>
                  <a:lnTo>
                    <a:pt x="633" y="5110"/>
                  </a:lnTo>
                  <a:lnTo>
                    <a:pt x="518" y="4681"/>
                  </a:lnTo>
                  <a:lnTo>
                    <a:pt x="622" y="4484"/>
                  </a:lnTo>
                  <a:lnTo>
                    <a:pt x="599" y="4234"/>
                  </a:lnTo>
                  <a:lnTo>
                    <a:pt x="403" y="4306"/>
                  </a:lnTo>
                  <a:lnTo>
                    <a:pt x="173" y="4502"/>
                  </a:lnTo>
                  <a:lnTo>
                    <a:pt x="173" y="4878"/>
                  </a:lnTo>
                  <a:lnTo>
                    <a:pt x="0" y="5110"/>
                  </a:lnTo>
                  <a:lnTo>
                    <a:pt x="46" y="5396"/>
                  </a:lnTo>
                  <a:lnTo>
                    <a:pt x="173" y="5592"/>
                  </a:lnTo>
                  <a:lnTo>
                    <a:pt x="115" y="5842"/>
                  </a:lnTo>
                  <a:lnTo>
                    <a:pt x="219" y="6271"/>
                  </a:lnTo>
                  <a:lnTo>
                    <a:pt x="127" y="6432"/>
                  </a:lnTo>
                  <a:lnTo>
                    <a:pt x="23" y="6593"/>
                  </a:lnTo>
                  <a:lnTo>
                    <a:pt x="58" y="6986"/>
                  </a:lnTo>
                  <a:lnTo>
                    <a:pt x="150" y="7182"/>
                  </a:lnTo>
                  <a:lnTo>
                    <a:pt x="253" y="7647"/>
                  </a:lnTo>
                  <a:lnTo>
                    <a:pt x="368" y="7950"/>
                  </a:lnTo>
                  <a:lnTo>
                    <a:pt x="507" y="7950"/>
                  </a:lnTo>
                  <a:lnTo>
                    <a:pt x="645" y="7772"/>
                  </a:lnTo>
                  <a:lnTo>
                    <a:pt x="679" y="8093"/>
                  </a:lnTo>
                  <a:lnTo>
                    <a:pt x="944" y="8218"/>
                  </a:lnTo>
                  <a:lnTo>
                    <a:pt x="1071" y="8540"/>
                  </a:lnTo>
                  <a:lnTo>
                    <a:pt x="1082" y="8933"/>
                  </a:lnTo>
                  <a:lnTo>
                    <a:pt x="1520" y="9469"/>
                  </a:lnTo>
                  <a:lnTo>
                    <a:pt x="1957" y="10148"/>
                  </a:lnTo>
                  <a:lnTo>
                    <a:pt x="2038" y="10612"/>
                  </a:lnTo>
                  <a:lnTo>
                    <a:pt x="2257" y="10612"/>
                  </a:lnTo>
                  <a:lnTo>
                    <a:pt x="2418" y="10362"/>
                  </a:lnTo>
                  <a:lnTo>
                    <a:pt x="2614" y="10148"/>
                  </a:lnTo>
                  <a:lnTo>
                    <a:pt x="2752" y="10184"/>
                  </a:lnTo>
                  <a:lnTo>
                    <a:pt x="2971" y="10434"/>
                  </a:lnTo>
                  <a:lnTo>
                    <a:pt x="3132" y="10612"/>
                  </a:lnTo>
                  <a:lnTo>
                    <a:pt x="3178" y="11095"/>
                  </a:lnTo>
                  <a:lnTo>
                    <a:pt x="3270" y="11202"/>
                  </a:lnTo>
                  <a:lnTo>
                    <a:pt x="3615" y="11809"/>
                  </a:lnTo>
                  <a:lnTo>
                    <a:pt x="3638" y="12042"/>
                  </a:lnTo>
                  <a:lnTo>
                    <a:pt x="3846" y="12274"/>
                  </a:lnTo>
                  <a:lnTo>
                    <a:pt x="4076" y="12453"/>
                  </a:lnTo>
                  <a:lnTo>
                    <a:pt x="4180" y="12846"/>
                  </a:lnTo>
                  <a:lnTo>
                    <a:pt x="4272" y="13346"/>
                  </a:lnTo>
                  <a:lnTo>
                    <a:pt x="4467" y="13614"/>
                  </a:lnTo>
                  <a:lnTo>
                    <a:pt x="4559" y="13435"/>
                  </a:lnTo>
                  <a:lnTo>
                    <a:pt x="4859" y="13417"/>
                  </a:lnTo>
                  <a:lnTo>
                    <a:pt x="4962" y="13614"/>
                  </a:lnTo>
                  <a:lnTo>
                    <a:pt x="4974" y="13936"/>
                  </a:lnTo>
                  <a:lnTo>
                    <a:pt x="4905" y="14186"/>
                  </a:lnTo>
                  <a:lnTo>
                    <a:pt x="5135" y="14561"/>
                  </a:lnTo>
                  <a:lnTo>
                    <a:pt x="5377" y="14990"/>
                  </a:lnTo>
                  <a:lnTo>
                    <a:pt x="5492" y="15222"/>
                  </a:lnTo>
                  <a:lnTo>
                    <a:pt x="5745" y="15222"/>
                  </a:lnTo>
                  <a:lnTo>
                    <a:pt x="5872" y="15133"/>
                  </a:lnTo>
                  <a:lnTo>
                    <a:pt x="5964" y="15222"/>
                  </a:lnTo>
                  <a:lnTo>
                    <a:pt x="5826" y="15365"/>
                  </a:lnTo>
                  <a:lnTo>
                    <a:pt x="5757" y="15561"/>
                  </a:lnTo>
                  <a:lnTo>
                    <a:pt x="5780" y="15847"/>
                  </a:lnTo>
                  <a:lnTo>
                    <a:pt x="6079" y="15990"/>
                  </a:lnTo>
                  <a:lnTo>
                    <a:pt x="6367" y="16080"/>
                  </a:lnTo>
                  <a:lnTo>
                    <a:pt x="6505" y="16294"/>
                  </a:lnTo>
                  <a:cubicBezTo>
                    <a:pt x="6505" y="16294"/>
                    <a:pt x="6494" y="16508"/>
                    <a:pt x="6505" y="16580"/>
                  </a:cubicBezTo>
                  <a:cubicBezTo>
                    <a:pt x="6517" y="16651"/>
                    <a:pt x="6540" y="16991"/>
                    <a:pt x="6540" y="16991"/>
                  </a:cubicBezTo>
                  <a:lnTo>
                    <a:pt x="6713" y="16991"/>
                  </a:lnTo>
                  <a:lnTo>
                    <a:pt x="6793" y="16633"/>
                  </a:lnTo>
                  <a:lnTo>
                    <a:pt x="6897" y="16615"/>
                  </a:lnTo>
                  <a:lnTo>
                    <a:pt x="6885" y="16866"/>
                  </a:lnTo>
                  <a:lnTo>
                    <a:pt x="6977" y="17080"/>
                  </a:lnTo>
                  <a:lnTo>
                    <a:pt x="7196" y="17080"/>
                  </a:lnTo>
                  <a:lnTo>
                    <a:pt x="7300" y="16901"/>
                  </a:lnTo>
                  <a:lnTo>
                    <a:pt x="7415" y="16883"/>
                  </a:lnTo>
                  <a:lnTo>
                    <a:pt x="7553" y="17187"/>
                  </a:lnTo>
                  <a:lnTo>
                    <a:pt x="7806" y="17634"/>
                  </a:lnTo>
                  <a:lnTo>
                    <a:pt x="8267" y="17741"/>
                  </a:lnTo>
                  <a:lnTo>
                    <a:pt x="8348" y="17902"/>
                  </a:lnTo>
                  <a:lnTo>
                    <a:pt x="8555" y="17812"/>
                  </a:lnTo>
                  <a:lnTo>
                    <a:pt x="8601" y="17670"/>
                  </a:lnTo>
                  <a:lnTo>
                    <a:pt x="8716" y="17598"/>
                  </a:lnTo>
                  <a:lnTo>
                    <a:pt x="8774" y="17902"/>
                  </a:lnTo>
                  <a:lnTo>
                    <a:pt x="8958" y="17902"/>
                  </a:lnTo>
                  <a:lnTo>
                    <a:pt x="9338" y="17902"/>
                  </a:lnTo>
                  <a:lnTo>
                    <a:pt x="9464" y="17705"/>
                  </a:lnTo>
                  <a:lnTo>
                    <a:pt x="9603" y="17562"/>
                  </a:lnTo>
                  <a:lnTo>
                    <a:pt x="9683" y="17705"/>
                  </a:lnTo>
                  <a:lnTo>
                    <a:pt x="9718" y="17991"/>
                  </a:lnTo>
                  <a:lnTo>
                    <a:pt x="9683" y="18241"/>
                  </a:lnTo>
                  <a:lnTo>
                    <a:pt x="9522" y="18634"/>
                  </a:lnTo>
                  <a:cubicBezTo>
                    <a:pt x="9522" y="18634"/>
                    <a:pt x="9476" y="18867"/>
                    <a:pt x="9476" y="19010"/>
                  </a:cubicBezTo>
                  <a:cubicBezTo>
                    <a:pt x="9476" y="19152"/>
                    <a:pt x="9614" y="19295"/>
                    <a:pt x="9614" y="19295"/>
                  </a:cubicBezTo>
                  <a:lnTo>
                    <a:pt x="9959" y="19474"/>
                  </a:lnTo>
                  <a:lnTo>
                    <a:pt x="10040" y="19170"/>
                  </a:lnTo>
                  <a:lnTo>
                    <a:pt x="10029" y="18902"/>
                  </a:lnTo>
                  <a:lnTo>
                    <a:pt x="10316" y="18366"/>
                  </a:lnTo>
                  <a:lnTo>
                    <a:pt x="10696" y="17955"/>
                  </a:lnTo>
                  <a:lnTo>
                    <a:pt x="10950" y="17920"/>
                  </a:lnTo>
                  <a:lnTo>
                    <a:pt x="11145" y="18027"/>
                  </a:lnTo>
                  <a:lnTo>
                    <a:pt x="11422" y="18116"/>
                  </a:lnTo>
                  <a:lnTo>
                    <a:pt x="11594" y="18474"/>
                  </a:lnTo>
                  <a:lnTo>
                    <a:pt x="11894" y="18527"/>
                  </a:lnTo>
                  <a:lnTo>
                    <a:pt x="12124" y="18974"/>
                  </a:lnTo>
                  <a:lnTo>
                    <a:pt x="12435" y="18938"/>
                  </a:lnTo>
                  <a:lnTo>
                    <a:pt x="12585" y="18813"/>
                  </a:lnTo>
                  <a:lnTo>
                    <a:pt x="12711" y="19117"/>
                  </a:lnTo>
                  <a:lnTo>
                    <a:pt x="12757" y="19474"/>
                  </a:lnTo>
                  <a:lnTo>
                    <a:pt x="12700" y="19671"/>
                  </a:lnTo>
                  <a:lnTo>
                    <a:pt x="12780" y="19974"/>
                  </a:lnTo>
                  <a:lnTo>
                    <a:pt x="13068" y="20081"/>
                  </a:lnTo>
                  <a:lnTo>
                    <a:pt x="13149" y="20314"/>
                  </a:lnTo>
                  <a:lnTo>
                    <a:pt x="13057" y="20707"/>
                  </a:lnTo>
                  <a:lnTo>
                    <a:pt x="13057" y="20886"/>
                  </a:lnTo>
                  <a:lnTo>
                    <a:pt x="13091" y="21243"/>
                  </a:lnTo>
                  <a:lnTo>
                    <a:pt x="13494" y="21368"/>
                  </a:lnTo>
                  <a:lnTo>
                    <a:pt x="13851" y="21368"/>
                  </a:lnTo>
                  <a:lnTo>
                    <a:pt x="14346" y="21600"/>
                  </a:lnTo>
                  <a:lnTo>
                    <a:pt x="14530" y="21600"/>
                  </a:lnTo>
                  <a:lnTo>
                    <a:pt x="15072" y="21600"/>
                  </a:lnTo>
                  <a:lnTo>
                    <a:pt x="15429" y="21010"/>
                  </a:lnTo>
                  <a:lnTo>
                    <a:pt x="15774" y="20653"/>
                  </a:lnTo>
                  <a:lnTo>
                    <a:pt x="16223" y="20564"/>
                  </a:lnTo>
                  <a:lnTo>
                    <a:pt x="16638" y="20332"/>
                  </a:lnTo>
                  <a:lnTo>
                    <a:pt x="17017" y="19992"/>
                  </a:lnTo>
                  <a:lnTo>
                    <a:pt x="17490" y="19688"/>
                  </a:lnTo>
                  <a:lnTo>
                    <a:pt x="17789" y="19706"/>
                  </a:lnTo>
                  <a:lnTo>
                    <a:pt x="18134" y="20010"/>
                  </a:lnTo>
                  <a:lnTo>
                    <a:pt x="18434" y="20349"/>
                  </a:lnTo>
                  <a:lnTo>
                    <a:pt x="18756" y="20725"/>
                  </a:lnTo>
                  <a:lnTo>
                    <a:pt x="18940" y="21010"/>
                  </a:lnTo>
                  <a:lnTo>
                    <a:pt x="19251" y="20796"/>
                  </a:lnTo>
                  <a:lnTo>
                    <a:pt x="19378" y="20582"/>
                  </a:lnTo>
                  <a:lnTo>
                    <a:pt x="19378" y="20224"/>
                  </a:lnTo>
                  <a:lnTo>
                    <a:pt x="19527" y="19885"/>
                  </a:lnTo>
                  <a:lnTo>
                    <a:pt x="19527" y="19599"/>
                  </a:lnTo>
                  <a:lnTo>
                    <a:pt x="19677" y="19528"/>
                  </a:lnTo>
                  <a:lnTo>
                    <a:pt x="19804" y="19617"/>
                  </a:lnTo>
                  <a:lnTo>
                    <a:pt x="19804" y="19903"/>
                  </a:lnTo>
                  <a:lnTo>
                    <a:pt x="19804" y="19974"/>
                  </a:lnTo>
                  <a:lnTo>
                    <a:pt x="20000" y="20010"/>
                  </a:lnTo>
                  <a:lnTo>
                    <a:pt x="20146" y="20319"/>
                  </a:lnTo>
                  <a:lnTo>
                    <a:pt x="20372" y="19915"/>
                  </a:lnTo>
                  <a:cubicBezTo>
                    <a:pt x="20372" y="19915"/>
                    <a:pt x="20372" y="20486"/>
                    <a:pt x="20372" y="20486"/>
                  </a:cubicBezTo>
                  <a:close/>
                  <a:moveTo>
                    <a:pt x="20372" y="20486"/>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1" name="AutoShape 3"/>
            <p:cNvSpPr>
              <a:spLocks/>
            </p:cNvSpPr>
            <p:nvPr/>
          </p:nvSpPr>
          <p:spPr bwMode="auto">
            <a:xfrm>
              <a:off x="3860800" y="228600"/>
              <a:ext cx="3878263" cy="3233738"/>
            </a:xfrm>
            <a:custGeom>
              <a:avLst/>
              <a:gdLst/>
              <a:ahLst/>
              <a:cxnLst/>
              <a:rect l="0" t="0" r="r" b="b"/>
              <a:pathLst>
                <a:path w="21600" h="21600">
                  <a:moveTo>
                    <a:pt x="74" y="15657"/>
                  </a:moveTo>
                  <a:lnTo>
                    <a:pt x="540" y="16520"/>
                  </a:lnTo>
                  <a:lnTo>
                    <a:pt x="540" y="16968"/>
                  </a:lnTo>
                  <a:lnTo>
                    <a:pt x="834" y="16968"/>
                  </a:lnTo>
                  <a:lnTo>
                    <a:pt x="834" y="16744"/>
                  </a:lnTo>
                  <a:lnTo>
                    <a:pt x="1713" y="16616"/>
                  </a:lnTo>
                  <a:lnTo>
                    <a:pt x="2033" y="16744"/>
                  </a:lnTo>
                  <a:lnTo>
                    <a:pt x="2033" y="17191"/>
                  </a:lnTo>
                  <a:lnTo>
                    <a:pt x="1393" y="17974"/>
                  </a:lnTo>
                  <a:lnTo>
                    <a:pt x="1873" y="18182"/>
                  </a:lnTo>
                  <a:lnTo>
                    <a:pt x="2166" y="18758"/>
                  </a:lnTo>
                  <a:lnTo>
                    <a:pt x="2433" y="18758"/>
                  </a:lnTo>
                  <a:lnTo>
                    <a:pt x="2433" y="19333"/>
                  </a:lnTo>
                  <a:lnTo>
                    <a:pt x="2620" y="19333"/>
                  </a:lnTo>
                  <a:lnTo>
                    <a:pt x="3046" y="19844"/>
                  </a:lnTo>
                  <a:lnTo>
                    <a:pt x="3446" y="19525"/>
                  </a:lnTo>
                  <a:lnTo>
                    <a:pt x="3286" y="19269"/>
                  </a:lnTo>
                  <a:lnTo>
                    <a:pt x="3739" y="19077"/>
                  </a:lnTo>
                  <a:lnTo>
                    <a:pt x="4112" y="19333"/>
                  </a:lnTo>
                  <a:lnTo>
                    <a:pt x="4859" y="18949"/>
                  </a:lnTo>
                  <a:lnTo>
                    <a:pt x="5099" y="18886"/>
                  </a:lnTo>
                  <a:lnTo>
                    <a:pt x="5259" y="19333"/>
                  </a:lnTo>
                  <a:lnTo>
                    <a:pt x="5019" y="20036"/>
                  </a:lnTo>
                  <a:lnTo>
                    <a:pt x="4699" y="20036"/>
                  </a:lnTo>
                  <a:lnTo>
                    <a:pt x="4619" y="20516"/>
                  </a:lnTo>
                  <a:lnTo>
                    <a:pt x="4486" y="20771"/>
                  </a:lnTo>
                  <a:lnTo>
                    <a:pt x="4779" y="21283"/>
                  </a:lnTo>
                  <a:lnTo>
                    <a:pt x="5259" y="21600"/>
                  </a:lnTo>
                  <a:lnTo>
                    <a:pt x="6192" y="21347"/>
                  </a:lnTo>
                  <a:lnTo>
                    <a:pt x="6618" y="21091"/>
                  </a:lnTo>
                  <a:lnTo>
                    <a:pt x="6725" y="20260"/>
                  </a:lnTo>
                  <a:lnTo>
                    <a:pt x="6912" y="19749"/>
                  </a:lnTo>
                  <a:lnTo>
                    <a:pt x="7285" y="19173"/>
                  </a:lnTo>
                  <a:lnTo>
                    <a:pt x="7685" y="19685"/>
                  </a:lnTo>
                  <a:lnTo>
                    <a:pt x="7311" y="20292"/>
                  </a:lnTo>
                  <a:lnTo>
                    <a:pt x="7311" y="20612"/>
                  </a:lnTo>
                  <a:lnTo>
                    <a:pt x="7685" y="20899"/>
                  </a:lnTo>
                  <a:lnTo>
                    <a:pt x="8111" y="21123"/>
                  </a:lnTo>
                  <a:lnTo>
                    <a:pt x="8671" y="21443"/>
                  </a:lnTo>
                  <a:lnTo>
                    <a:pt x="9151" y="21411"/>
                  </a:lnTo>
                  <a:lnTo>
                    <a:pt x="9151" y="20963"/>
                  </a:lnTo>
                  <a:lnTo>
                    <a:pt x="9417" y="20995"/>
                  </a:lnTo>
                  <a:lnTo>
                    <a:pt x="9417" y="20356"/>
                  </a:lnTo>
                  <a:lnTo>
                    <a:pt x="10297" y="19269"/>
                  </a:lnTo>
                  <a:lnTo>
                    <a:pt x="10564" y="19109"/>
                  </a:lnTo>
                  <a:lnTo>
                    <a:pt x="10750" y="19269"/>
                  </a:lnTo>
                  <a:lnTo>
                    <a:pt x="11123" y="18886"/>
                  </a:lnTo>
                  <a:lnTo>
                    <a:pt x="11123" y="19269"/>
                  </a:lnTo>
                  <a:lnTo>
                    <a:pt x="11470" y="19077"/>
                  </a:lnTo>
                  <a:lnTo>
                    <a:pt x="11896" y="18758"/>
                  </a:lnTo>
                  <a:lnTo>
                    <a:pt x="12061" y="17974"/>
                  </a:lnTo>
                  <a:lnTo>
                    <a:pt x="12510" y="17974"/>
                  </a:lnTo>
                  <a:lnTo>
                    <a:pt x="13203" y="17974"/>
                  </a:lnTo>
                  <a:lnTo>
                    <a:pt x="13389" y="17478"/>
                  </a:lnTo>
                  <a:lnTo>
                    <a:pt x="13629" y="17478"/>
                  </a:lnTo>
                  <a:lnTo>
                    <a:pt x="13629" y="17159"/>
                  </a:lnTo>
                  <a:lnTo>
                    <a:pt x="13629" y="16808"/>
                  </a:lnTo>
                  <a:lnTo>
                    <a:pt x="13496" y="16201"/>
                  </a:lnTo>
                  <a:lnTo>
                    <a:pt x="13629" y="16201"/>
                  </a:lnTo>
                  <a:lnTo>
                    <a:pt x="13896" y="15625"/>
                  </a:lnTo>
                  <a:lnTo>
                    <a:pt x="14109" y="15337"/>
                  </a:lnTo>
                  <a:lnTo>
                    <a:pt x="14242" y="15657"/>
                  </a:lnTo>
                  <a:lnTo>
                    <a:pt x="14242" y="16041"/>
                  </a:lnTo>
                  <a:lnTo>
                    <a:pt x="14509" y="16201"/>
                  </a:lnTo>
                  <a:lnTo>
                    <a:pt x="14749" y="15817"/>
                  </a:lnTo>
                  <a:lnTo>
                    <a:pt x="15015" y="15625"/>
                  </a:lnTo>
                  <a:lnTo>
                    <a:pt x="15202" y="15881"/>
                  </a:lnTo>
                  <a:lnTo>
                    <a:pt x="15415" y="15369"/>
                  </a:lnTo>
                  <a:lnTo>
                    <a:pt x="15895" y="15529"/>
                  </a:lnTo>
                  <a:lnTo>
                    <a:pt x="15895" y="14858"/>
                  </a:lnTo>
                  <a:lnTo>
                    <a:pt x="16268" y="14698"/>
                  </a:lnTo>
                  <a:lnTo>
                    <a:pt x="16642" y="14538"/>
                  </a:lnTo>
                  <a:lnTo>
                    <a:pt x="16855" y="15146"/>
                  </a:lnTo>
                  <a:lnTo>
                    <a:pt x="17148" y="15529"/>
                  </a:lnTo>
                  <a:lnTo>
                    <a:pt x="16962" y="15689"/>
                  </a:lnTo>
                  <a:lnTo>
                    <a:pt x="17281" y="16169"/>
                  </a:lnTo>
                  <a:lnTo>
                    <a:pt x="17655" y="16264"/>
                  </a:lnTo>
                  <a:lnTo>
                    <a:pt x="17974" y="16137"/>
                  </a:lnTo>
                  <a:lnTo>
                    <a:pt x="17974" y="15561"/>
                  </a:lnTo>
                  <a:lnTo>
                    <a:pt x="17815" y="14986"/>
                  </a:lnTo>
                  <a:lnTo>
                    <a:pt x="18081" y="14794"/>
                  </a:lnTo>
                  <a:lnTo>
                    <a:pt x="18348" y="14986"/>
                  </a:lnTo>
                  <a:lnTo>
                    <a:pt x="18588" y="15593"/>
                  </a:lnTo>
                  <a:lnTo>
                    <a:pt x="18828" y="15146"/>
                  </a:lnTo>
                  <a:lnTo>
                    <a:pt x="19334" y="14570"/>
                  </a:lnTo>
                  <a:lnTo>
                    <a:pt x="19707" y="14283"/>
                  </a:lnTo>
                  <a:lnTo>
                    <a:pt x="19947" y="14187"/>
                  </a:lnTo>
                  <a:lnTo>
                    <a:pt x="20347" y="13899"/>
                  </a:lnTo>
                  <a:lnTo>
                    <a:pt x="20880" y="13771"/>
                  </a:lnTo>
                  <a:lnTo>
                    <a:pt x="21253" y="13356"/>
                  </a:lnTo>
                  <a:lnTo>
                    <a:pt x="21253" y="12908"/>
                  </a:lnTo>
                  <a:lnTo>
                    <a:pt x="20960" y="12908"/>
                  </a:lnTo>
                  <a:lnTo>
                    <a:pt x="20960" y="12333"/>
                  </a:lnTo>
                  <a:lnTo>
                    <a:pt x="20614" y="11629"/>
                  </a:lnTo>
                  <a:lnTo>
                    <a:pt x="20187" y="11885"/>
                  </a:lnTo>
                  <a:lnTo>
                    <a:pt x="19787" y="11438"/>
                  </a:lnTo>
                  <a:lnTo>
                    <a:pt x="19787" y="10735"/>
                  </a:lnTo>
                  <a:lnTo>
                    <a:pt x="19627" y="10415"/>
                  </a:lnTo>
                  <a:lnTo>
                    <a:pt x="19307" y="10159"/>
                  </a:lnTo>
                  <a:lnTo>
                    <a:pt x="19441" y="9808"/>
                  </a:lnTo>
                  <a:lnTo>
                    <a:pt x="19761" y="10031"/>
                  </a:lnTo>
                  <a:lnTo>
                    <a:pt x="19867" y="9808"/>
                  </a:lnTo>
                  <a:lnTo>
                    <a:pt x="20107" y="10127"/>
                  </a:lnTo>
                  <a:lnTo>
                    <a:pt x="20160" y="9808"/>
                  </a:lnTo>
                  <a:lnTo>
                    <a:pt x="20400" y="9488"/>
                  </a:lnTo>
                  <a:lnTo>
                    <a:pt x="20267" y="9136"/>
                  </a:lnTo>
                  <a:lnTo>
                    <a:pt x="20267" y="8849"/>
                  </a:lnTo>
                  <a:lnTo>
                    <a:pt x="20640" y="8849"/>
                  </a:lnTo>
                  <a:lnTo>
                    <a:pt x="20694" y="8497"/>
                  </a:lnTo>
                  <a:lnTo>
                    <a:pt x="20454" y="8369"/>
                  </a:lnTo>
                  <a:lnTo>
                    <a:pt x="20107" y="8625"/>
                  </a:lnTo>
                  <a:lnTo>
                    <a:pt x="20054" y="8369"/>
                  </a:lnTo>
                  <a:lnTo>
                    <a:pt x="19787" y="8081"/>
                  </a:lnTo>
                  <a:lnTo>
                    <a:pt x="19734" y="7730"/>
                  </a:lnTo>
                  <a:lnTo>
                    <a:pt x="20107" y="7154"/>
                  </a:lnTo>
                  <a:lnTo>
                    <a:pt x="20827" y="6259"/>
                  </a:lnTo>
                  <a:lnTo>
                    <a:pt x="21067" y="6611"/>
                  </a:lnTo>
                  <a:lnTo>
                    <a:pt x="21093" y="6068"/>
                  </a:lnTo>
                  <a:lnTo>
                    <a:pt x="21253" y="5301"/>
                  </a:lnTo>
                  <a:lnTo>
                    <a:pt x="21440" y="4757"/>
                  </a:lnTo>
                  <a:lnTo>
                    <a:pt x="21280" y="3822"/>
                  </a:lnTo>
                  <a:lnTo>
                    <a:pt x="21600" y="3255"/>
                  </a:lnTo>
                  <a:lnTo>
                    <a:pt x="21600" y="2743"/>
                  </a:lnTo>
                  <a:lnTo>
                    <a:pt x="21040" y="1912"/>
                  </a:lnTo>
                  <a:lnTo>
                    <a:pt x="20774" y="2328"/>
                  </a:lnTo>
                  <a:lnTo>
                    <a:pt x="20534" y="2328"/>
                  </a:lnTo>
                  <a:lnTo>
                    <a:pt x="19921" y="2520"/>
                  </a:lnTo>
                  <a:lnTo>
                    <a:pt x="19494" y="2615"/>
                  </a:lnTo>
                  <a:lnTo>
                    <a:pt x="19254" y="1912"/>
                  </a:lnTo>
                  <a:lnTo>
                    <a:pt x="19094" y="1497"/>
                  </a:lnTo>
                  <a:lnTo>
                    <a:pt x="18801" y="1145"/>
                  </a:lnTo>
                  <a:lnTo>
                    <a:pt x="18614" y="1497"/>
                  </a:lnTo>
                  <a:lnTo>
                    <a:pt x="18161" y="1145"/>
                  </a:lnTo>
                  <a:lnTo>
                    <a:pt x="18161" y="953"/>
                  </a:lnTo>
                  <a:lnTo>
                    <a:pt x="18374" y="410"/>
                  </a:lnTo>
                  <a:lnTo>
                    <a:pt x="18015" y="0"/>
                  </a:lnTo>
                  <a:lnTo>
                    <a:pt x="17835" y="82"/>
                  </a:lnTo>
                  <a:lnTo>
                    <a:pt x="17515" y="370"/>
                  </a:lnTo>
                  <a:lnTo>
                    <a:pt x="17355" y="658"/>
                  </a:lnTo>
                  <a:lnTo>
                    <a:pt x="17215" y="813"/>
                  </a:lnTo>
                  <a:lnTo>
                    <a:pt x="17165" y="1125"/>
                  </a:lnTo>
                  <a:lnTo>
                    <a:pt x="17255" y="1221"/>
                  </a:lnTo>
                  <a:lnTo>
                    <a:pt x="17405" y="1185"/>
                  </a:lnTo>
                  <a:lnTo>
                    <a:pt x="17555" y="1089"/>
                  </a:lnTo>
                  <a:lnTo>
                    <a:pt x="17645" y="1221"/>
                  </a:lnTo>
                  <a:cubicBezTo>
                    <a:pt x="17645" y="1221"/>
                    <a:pt x="17655" y="1389"/>
                    <a:pt x="17655" y="1485"/>
                  </a:cubicBezTo>
                  <a:cubicBezTo>
                    <a:pt x="17655" y="1581"/>
                    <a:pt x="17795" y="1700"/>
                    <a:pt x="17795" y="1700"/>
                  </a:cubicBezTo>
                  <a:lnTo>
                    <a:pt x="17685" y="2012"/>
                  </a:lnTo>
                  <a:lnTo>
                    <a:pt x="17325" y="2552"/>
                  </a:lnTo>
                  <a:lnTo>
                    <a:pt x="17235" y="3187"/>
                  </a:lnTo>
                  <a:lnTo>
                    <a:pt x="17035" y="3427"/>
                  </a:lnTo>
                  <a:lnTo>
                    <a:pt x="16885" y="3990"/>
                  </a:lnTo>
                  <a:lnTo>
                    <a:pt x="16755" y="4290"/>
                  </a:lnTo>
                  <a:lnTo>
                    <a:pt x="16955" y="4362"/>
                  </a:lnTo>
                  <a:lnTo>
                    <a:pt x="16935" y="4541"/>
                  </a:lnTo>
                  <a:lnTo>
                    <a:pt x="16705" y="4817"/>
                  </a:lnTo>
                  <a:lnTo>
                    <a:pt x="16395" y="4829"/>
                  </a:lnTo>
                  <a:lnTo>
                    <a:pt x="15985" y="5380"/>
                  </a:lnTo>
                  <a:lnTo>
                    <a:pt x="15595" y="5404"/>
                  </a:lnTo>
                  <a:lnTo>
                    <a:pt x="15285" y="5237"/>
                  </a:lnTo>
                  <a:cubicBezTo>
                    <a:pt x="15285" y="5237"/>
                    <a:pt x="15076" y="5069"/>
                    <a:pt x="15076" y="5105"/>
                  </a:cubicBezTo>
                  <a:cubicBezTo>
                    <a:pt x="15076" y="5141"/>
                    <a:pt x="15015" y="5344"/>
                    <a:pt x="15015" y="5344"/>
                  </a:cubicBezTo>
                  <a:lnTo>
                    <a:pt x="14806" y="5968"/>
                  </a:lnTo>
                  <a:lnTo>
                    <a:pt x="14596" y="6699"/>
                  </a:lnTo>
                  <a:lnTo>
                    <a:pt x="14536" y="7202"/>
                  </a:lnTo>
                  <a:lnTo>
                    <a:pt x="14306" y="7442"/>
                  </a:lnTo>
                  <a:cubicBezTo>
                    <a:pt x="14306" y="7442"/>
                    <a:pt x="14426" y="7694"/>
                    <a:pt x="14396" y="7706"/>
                  </a:cubicBezTo>
                  <a:cubicBezTo>
                    <a:pt x="14366" y="7718"/>
                    <a:pt x="14586" y="7958"/>
                    <a:pt x="14556" y="7970"/>
                  </a:cubicBezTo>
                  <a:cubicBezTo>
                    <a:pt x="14526" y="7982"/>
                    <a:pt x="14716" y="8113"/>
                    <a:pt x="14716" y="8113"/>
                  </a:cubicBezTo>
                  <a:lnTo>
                    <a:pt x="14896" y="7934"/>
                  </a:lnTo>
                  <a:lnTo>
                    <a:pt x="15245" y="7814"/>
                  </a:lnTo>
                  <a:lnTo>
                    <a:pt x="15535" y="7766"/>
                  </a:lnTo>
                  <a:lnTo>
                    <a:pt x="15645" y="7934"/>
                  </a:lnTo>
                  <a:lnTo>
                    <a:pt x="15815" y="7970"/>
                  </a:lnTo>
                  <a:lnTo>
                    <a:pt x="15965" y="7706"/>
                  </a:lnTo>
                  <a:lnTo>
                    <a:pt x="16085" y="7574"/>
                  </a:lnTo>
                  <a:lnTo>
                    <a:pt x="16695" y="7586"/>
                  </a:lnTo>
                  <a:lnTo>
                    <a:pt x="16885" y="7778"/>
                  </a:lnTo>
                  <a:lnTo>
                    <a:pt x="17125" y="7910"/>
                  </a:lnTo>
                  <a:lnTo>
                    <a:pt x="17115" y="8065"/>
                  </a:lnTo>
                  <a:lnTo>
                    <a:pt x="17375" y="8341"/>
                  </a:lnTo>
                  <a:cubicBezTo>
                    <a:pt x="17375" y="8341"/>
                    <a:pt x="17595" y="8605"/>
                    <a:pt x="17635" y="8605"/>
                  </a:cubicBezTo>
                  <a:cubicBezTo>
                    <a:pt x="17675" y="8605"/>
                    <a:pt x="17785" y="8809"/>
                    <a:pt x="17785" y="8809"/>
                  </a:cubicBezTo>
                  <a:lnTo>
                    <a:pt x="17745" y="9060"/>
                  </a:lnTo>
                  <a:lnTo>
                    <a:pt x="17425" y="9216"/>
                  </a:lnTo>
                  <a:lnTo>
                    <a:pt x="17135" y="9144"/>
                  </a:lnTo>
                  <a:lnTo>
                    <a:pt x="17005" y="8952"/>
                  </a:lnTo>
                  <a:lnTo>
                    <a:pt x="16795" y="9096"/>
                  </a:lnTo>
                  <a:lnTo>
                    <a:pt x="16665" y="8988"/>
                  </a:lnTo>
                  <a:lnTo>
                    <a:pt x="16165" y="9396"/>
                  </a:lnTo>
                  <a:lnTo>
                    <a:pt x="15925" y="9336"/>
                  </a:lnTo>
                  <a:lnTo>
                    <a:pt x="15885" y="9468"/>
                  </a:lnTo>
                  <a:lnTo>
                    <a:pt x="15825" y="9672"/>
                  </a:lnTo>
                  <a:lnTo>
                    <a:pt x="15435" y="9732"/>
                  </a:lnTo>
                  <a:lnTo>
                    <a:pt x="15175" y="9899"/>
                  </a:lnTo>
                  <a:lnTo>
                    <a:pt x="15045" y="10187"/>
                  </a:lnTo>
                  <a:lnTo>
                    <a:pt x="15035" y="10679"/>
                  </a:lnTo>
                  <a:lnTo>
                    <a:pt x="14476" y="11098"/>
                  </a:lnTo>
                  <a:lnTo>
                    <a:pt x="13866" y="11146"/>
                  </a:lnTo>
                  <a:lnTo>
                    <a:pt x="13686" y="11434"/>
                  </a:lnTo>
                  <a:lnTo>
                    <a:pt x="13386" y="11745"/>
                  </a:lnTo>
                  <a:lnTo>
                    <a:pt x="13106" y="11949"/>
                  </a:lnTo>
                  <a:lnTo>
                    <a:pt x="12476" y="11997"/>
                  </a:lnTo>
                  <a:lnTo>
                    <a:pt x="12136" y="11697"/>
                  </a:lnTo>
                  <a:lnTo>
                    <a:pt x="11707" y="11649"/>
                  </a:lnTo>
                  <a:cubicBezTo>
                    <a:pt x="11707" y="11649"/>
                    <a:pt x="11527" y="12069"/>
                    <a:pt x="11507" y="12105"/>
                  </a:cubicBezTo>
                  <a:cubicBezTo>
                    <a:pt x="11487" y="12141"/>
                    <a:pt x="11347" y="12477"/>
                    <a:pt x="11347" y="12477"/>
                  </a:cubicBezTo>
                  <a:lnTo>
                    <a:pt x="11337" y="12668"/>
                  </a:lnTo>
                  <a:lnTo>
                    <a:pt x="11587" y="13064"/>
                  </a:lnTo>
                  <a:lnTo>
                    <a:pt x="11767" y="13388"/>
                  </a:lnTo>
                  <a:lnTo>
                    <a:pt x="11487" y="13783"/>
                  </a:lnTo>
                  <a:lnTo>
                    <a:pt x="11237" y="13963"/>
                  </a:lnTo>
                  <a:lnTo>
                    <a:pt x="11017" y="13987"/>
                  </a:lnTo>
                  <a:lnTo>
                    <a:pt x="10657" y="14562"/>
                  </a:lnTo>
                  <a:cubicBezTo>
                    <a:pt x="10657" y="14562"/>
                    <a:pt x="10557" y="14826"/>
                    <a:pt x="10517" y="14826"/>
                  </a:cubicBezTo>
                  <a:cubicBezTo>
                    <a:pt x="10477" y="14826"/>
                    <a:pt x="10017" y="14958"/>
                    <a:pt x="10017" y="14958"/>
                  </a:cubicBezTo>
                  <a:lnTo>
                    <a:pt x="9797" y="15162"/>
                  </a:lnTo>
                  <a:lnTo>
                    <a:pt x="8908" y="15222"/>
                  </a:lnTo>
                  <a:lnTo>
                    <a:pt x="8438" y="15090"/>
                  </a:lnTo>
                  <a:lnTo>
                    <a:pt x="7528" y="15294"/>
                  </a:lnTo>
                  <a:lnTo>
                    <a:pt x="6838" y="15725"/>
                  </a:lnTo>
                  <a:lnTo>
                    <a:pt x="6288" y="16109"/>
                  </a:lnTo>
                  <a:lnTo>
                    <a:pt x="5808" y="16061"/>
                  </a:lnTo>
                  <a:lnTo>
                    <a:pt x="5808" y="15845"/>
                  </a:lnTo>
                  <a:lnTo>
                    <a:pt x="5509" y="15737"/>
                  </a:lnTo>
                  <a:lnTo>
                    <a:pt x="5249" y="15785"/>
                  </a:lnTo>
                  <a:lnTo>
                    <a:pt x="4829" y="15689"/>
                  </a:lnTo>
                  <a:lnTo>
                    <a:pt x="4279" y="15186"/>
                  </a:lnTo>
                  <a:lnTo>
                    <a:pt x="3899" y="15162"/>
                  </a:lnTo>
                  <a:lnTo>
                    <a:pt x="3649" y="14766"/>
                  </a:lnTo>
                  <a:lnTo>
                    <a:pt x="2969" y="14478"/>
                  </a:lnTo>
                  <a:lnTo>
                    <a:pt x="2640" y="14442"/>
                  </a:lnTo>
                  <a:lnTo>
                    <a:pt x="1820" y="14454"/>
                  </a:lnTo>
                  <a:lnTo>
                    <a:pt x="1150" y="14263"/>
                  </a:lnTo>
                  <a:lnTo>
                    <a:pt x="110" y="13951"/>
                  </a:lnTo>
                  <a:cubicBezTo>
                    <a:pt x="110" y="13951"/>
                    <a:pt x="59" y="13951"/>
                    <a:pt x="0" y="13952"/>
                  </a:cubicBezTo>
                  <a:lnTo>
                    <a:pt x="247" y="15433"/>
                  </a:lnTo>
                  <a:cubicBezTo>
                    <a:pt x="247" y="15433"/>
                    <a:pt x="74" y="15657"/>
                    <a:pt x="74" y="15657"/>
                  </a:cubicBezTo>
                  <a:close/>
                  <a:moveTo>
                    <a:pt x="74" y="15657"/>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2" name="AutoShape 4"/>
            <p:cNvSpPr>
              <a:spLocks/>
            </p:cNvSpPr>
            <p:nvPr/>
          </p:nvSpPr>
          <p:spPr bwMode="auto">
            <a:xfrm>
              <a:off x="4699000" y="5676900"/>
              <a:ext cx="1373188" cy="1008063"/>
            </a:xfrm>
            <a:custGeom>
              <a:avLst/>
              <a:gdLst/>
              <a:ahLst/>
              <a:cxnLst/>
              <a:rect l="0" t="0" r="r" b="b"/>
              <a:pathLst>
                <a:path w="21600" h="21600">
                  <a:moveTo>
                    <a:pt x="20678" y="6786"/>
                  </a:moveTo>
                  <a:lnTo>
                    <a:pt x="20434" y="7247"/>
                  </a:lnTo>
                  <a:lnTo>
                    <a:pt x="19982" y="7247"/>
                  </a:lnTo>
                  <a:lnTo>
                    <a:pt x="19794" y="7017"/>
                  </a:lnTo>
                  <a:lnTo>
                    <a:pt x="19907" y="6453"/>
                  </a:lnTo>
                  <a:lnTo>
                    <a:pt x="19907" y="5813"/>
                  </a:lnTo>
                  <a:lnTo>
                    <a:pt x="19737" y="5404"/>
                  </a:lnTo>
                  <a:lnTo>
                    <a:pt x="19192" y="5455"/>
                  </a:lnTo>
                  <a:lnTo>
                    <a:pt x="19023" y="5762"/>
                  </a:lnTo>
                  <a:lnTo>
                    <a:pt x="18797" y="6146"/>
                  </a:lnTo>
                  <a:lnTo>
                    <a:pt x="18439" y="5839"/>
                  </a:lnTo>
                  <a:lnTo>
                    <a:pt x="18458" y="5352"/>
                  </a:lnTo>
                  <a:lnTo>
                    <a:pt x="18684" y="5045"/>
                  </a:lnTo>
                  <a:lnTo>
                    <a:pt x="18966" y="4353"/>
                  </a:lnTo>
                  <a:lnTo>
                    <a:pt x="19324" y="4046"/>
                  </a:lnTo>
                  <a:lnTo>
                    <a:pt x="19399" y="2792"/>
                  </a:lnTo>
                  <a:lnTo>
                    <a:pt x="19756" y="2535"/>
                  </a:lnTo>
                  <a:lnTo>
                    <a:pt x="19907" y="2177"/>
                  </a:lnTo>
                  <a:lnTo>
                    <a:pt x="19549" y="1998"/>
                  </a:lnTo>
                  <a:lnTo>
                    <a:pt x="19211" y="1793"/>
                  </a:lnTo>
                  <a:lnTo>
                    <a:pt x="19079" y="1409"/>
                  </a:lnTo>
                  <a:lnTo>
                    <a:pt x="19211" y="820"/>
                  </a:lnTo>
                  <a:lnTo>
                    <a:pt x="19211" y="384"/>
                  </a:lnTo>
                  <a:lnTo>
                    <a:pt x="18778" y="230"/>
                  </a:lnTo>
                  <a:lnTo>
                    <a:pt x="18495" y="0"/>
                  </a:lnTo>
                  <a:lnTo>
                    <a:pt x="18213" y="384"/>
                  </a:lnTo>
                  <a:lnTo>
                    <a:pt x="17950" y="538"/>
                  </a:lnTo>
                  <a:lnTo>
                    <a:pt x="17781" y="384"/>
                  </a:lnTo>
                  <a:lnTo>
                    <a:pt x="17517" y="384"/>
                  </a:lnTo>
                  <a:lnTo>
                    <a:pt x="17292" y="384"/>
                  </a:lnTo>
                  <a:lnTo>
                    <a:pt x="17085" y="794"/>
                  </a:lnTo>
                  <a:lnTo>
                    <a:pt x="16877" y="1152"/>
                  </a:lnTo>
                  <a:lnTo>
                    <a:pt x="16652" y="1537"/>
                  </a:lnTo>
                  <a:lnTo>
                    <a:pt x="16351" y="1614"/>
                  </a:lnTo>
                  <a:lnTo>
                    <a:pt x="16106" y="1460"/>
                  </a:lnTo>
                  <a:lnTo>
                    <a:pt x="15899" y="973"/>
                  </a:lnTo>
                  <a:lnTo>
                    <a:pt x="15673" y="794"/>
                  </a:lnTo>
                  <a:lnTo>
                    <a:pt x="15334" y="1025"/>
                  </a:lnTo>
                  <a:lnTo>
                    <a:pt x="15184" y="1383"/>
                  </a:lnTo>
                  <a:lnTo>
                    <a:pt x="15184" y="1998"/>
                  </a:lnTo>
                  <a:lnTo>
                    <a:pt x="14977" y="2074"/>
                  </a:lnTo>
                  <a:lnTo>
                    <a:pt x="14733" y="1767"/>
                  </a:lnTo>
                  <a:lnTo>
                    <a:pt x="14394" y="1767"/>
                  </a:lnTo>
                  <a:lnTo>
                    <a:pt x="13905" y="1767"/>
                  </a:lnTo>
                  <a:lnTo>
                    <a:pt x="13905" y="2279"/>
                  </a:lnTo>
                  <a:lnTo>
                    <a:pt x="13509" y="2510"/>
                  </a:lnTo>
                  <a:lnTo>
                    <a:pt x="12851" y="2510"/>
                  </a:lnTo>
                  <a:lnTo>
                    <a:pt x="12588" y="2766"/>
                  </a:lnTo>
                  <a:lnTo>
                    <a:pt x="12851" y="3073"/>
                  </a:lnTo>
                  <a:lnTo>
                    <a:pt x="12757" y="3457"/>
                  </a:lnTo>
                  <a:lnTo>
                    <a:pt x="12286" y="3227"/>
                  </a:lnTo>
                  <a:lnTo>
                    <a:pt x="11948" y="3073"/>
                  </a:lnTo>
                  <a:lnTo>
                    <a:pt x="11816" y="3675"/>
                  </a:lnTo>
                  <a:lnTo>
                    <a:pt x="11553" y="4021"/>
                  </a:lnTo>
                  <a:lnTo>
                    <a:pt x="11195" y="3675"/>
                  </a:lnTo>
                  <a:lnTo>
                    <a:pt x="10875" y="3675"/>
                  </a:lnTo>
                  <a:lnTo>
                    <a:pt x="10518" y="4021"/>
                  </a:lnTo>
                  <a:cubicBezTo>
                    <a:pt x="10518" y="4021"/>
                    <a:pt x="10311" y="4379"/>
                    <a:pt x="10311" y="4456"/>
                  </a:cubicBezTo>
                  <a:cubicBezTo>
                    <a:pt x="10311" y="4533"/>
                    <a:pt x="10085" y="5045"/>
                    <a:pt x="10085" y="5045"/>
                  </a:cubicBezTo>
                  <a:lnTo>
                    <a:pt x="9634" y="5198"/>
                  </a:lnTo>
                  <a:lnTo>
                    <a:pt x="9427" y="5045"/>
                  </a:lnTo>
                  <a:lnTo>
                    <a:pt x="9257" y="4815"/>
                  </a:lnTo>
                  <a:lnTo>
                    <a:pt x="8937" y="4482"/>
                  </a:lnTo>
                  <a:lnTo>
                    <a:pt x="8617" y="4789"/>
                  </a:lnTo>
                  <a:lnTo>
                    <a:pt x="8354" y="4353"/>
                  </a:lnTo>
                  <a:lnTo>
                    <a:pt x="8260" y="3969"/>
                  </a:lnTo>
                  <a:lnTo>
                    <a:pt x="7978" y="3508"/>
                  </a:lnTo>
                  <a:lnTo>
                    <a:pt x="7695" y="3201"/>
                  </a:lnTo>
                  <a:lnTo>
                    <a:pt x="7508" y="3073"/>
                  </a:lnTo>
                  <a:lnTo>
                    <a:pt x="7131" y="3508"/>
                  </a:lnTo>
                  <a:lnTo>
                    <a:pt x="6943" y="3943"/>
                  </a:lnTo>
                  <a:lnTo>
                    <a:pt x="6943" y="4302"/>
                  </a:lnTo>
                  <a:lnTo>
                    <a:pt x="6943" y="4815"/>
                  </a:lnTo>
                  <a:cubicBezTo>
                    <a:pt x="6943" y="4815"/>
                    <a:pt x="6604" y="4968"/>
                    <a:pt x="6510" y="4968"/>
                  </a:cubicBezTo>
                  <a:cubicBezTo>
                    <a:pt x="6416" y="4968"/>
                    <a:pt x="5965" y="4968"/>
                    <a:pt x="5965" y="4968"/>
                  </a:cubicBezTo>
                  <a:lnTo>
                    <a:pt x="5758" y="5403"/>
                  </a:lnTo>
                  <a:lnTo>
                    <a:pt x="5475" y="5634"/>
                  </a:lnTo>
                  <a:lnTo>
                    <a:pt x="5042" y="5634"/>
                  </a:lnTo>
                  <a:lnTo>
                    <a:pt x="4835" y="5890"/>
                  </a:lnTo>
                  <a:lnTo>
                    <a:pt x="4760" y="6556"/>
                  </a:lnTo>
                  <a:lnTo>
                    <a:pt x="4497" y="7017"/>
                  </a:lnTo>
                  <a:lnTo>
                    <a:pt x="4139" y="7017"/>
                  </a:lnTo>
                  <a:lnTo>
                    <a:pt x="3707" y="6889"/>
                  </a:lnTo>
                  <a:lnTo>
                    <a:pt x="3142" y="6530"/>
                  </a:lnTo>
                  <a:lnTo>
                    <a:pt x="2691" y="6197"/>
                  </a:lnTo>
                  <a:lnTo>
                    <a:pt x="2107" y="5634"/>
                  </a:lnTo>
                  <a:lnTo>
                    <a:pt x="1825" y="5506"/>
                  </a:lnTo>
                  <a:lnTo>
                    <a:pt x="1543" y="5916"/>
                  </a:lnTo>
                  <a:cubicBezTo>
                    <a:pt x="1543" y="5916"/>
                    <a:pt x="1298" y="6376"/>
                    <a:pt x="1110" y="6453"/>
                  </a:cubicBezTo>
                  <a:cubicBezTo>
                    <a:pt x="922" y="6530"/>
                    <a:pt x="583" y="6889"/>
                    <a:pt x="583" y="6889"/>
                  </a:cubicBezTo>
                  <a:lnTo>
                    <a:pt x="207" y="6633"/>
                  </a:lnTo>
                  <a:lnTo>
                    <a:pt x="0" y="6453"/>
                  </a:lnTo>
                  <a:lnTo>
                    <a:pt x="0" y="7631"/>
                  </a:lnTo>
                  <a:lnTo>
                    <a:pt x="677" y="7631"/>
                  </a:lnTo>
                  <a:lnTo>
                    <a:pt x="1430" y="7631"/>
                  </a:lnTo>
                  <a:lnTo>
                    <a:pt x="1881" y="9168"/>
                  </a:lnTo>
                  <a:lnTo>
                    <a:pt x="2634" y="9577"/>
                  </a:lnTo>
                  <a:lnTo>
                    <a:pt x="3763" y="9577"/>
                  </a:lnTo>
                  <a:lnTo>
                    <a:pt x="4290" y="9577"/>
                  </a:lnTo>
                  <a:lnTo>
                    <a:pt x="4290" y="10806"/>
                  </a:lnTo>
                  <a:lnTo>
                    <a:pt x="4290" y="12036"/>
                  </a:lnTo>
                  <a:lnTo>
                    <a:pt x="3312" y="12036"/>
                  </a:lnTo>
                  <a:lnTo>
                    <a:pt x="2490" y="13285"/>
                  </a:lnTo>
                  <a:lnTo>
                    <a:pt x="2719" y="13803"/>
                  </a:lnTo>
                  <a:lnTo>
                    <a:pt x="3170" y="14187"/>
                  </a:lnTo>
                  <a:lnTo>
                    <a:pt x="3735" y="14648"/>
                  </a:lnTo>
                  <a:lnTo>
                    <a:pt x="4130" y="14379"/>
                  </a:lnTo>
                  <a:lnTo>
                    <a:pt x="4525" y="14379"/>
                  </a:lnTo>
                  <a:lnTo>
                    <a:pt x="4807" y="14839"/>
                  </a:lnTo>
                  <a:lnTo>
                    <a:pt x="5400" y="14609"/>
                  </a:lnTo>
                  <a:lnTo>
                    <a:pt x="5965" y="14878"/>
                  </a:lnTo>
                  <a:lnTo>
                    <a:pt x="6134" y="15493"/>
                  </a:lnTo>
                  <a:lnTo>
                    <a:pt x="5739" y="16107"/>
                  </a:lnTo>
                  <a:lnTo>
                    <a:pt x="5428" y="16491"/>
                  </a:lnTo>
                  <a:lnTo>
                    <a:pt x="5485" y="17183"/>
                  </a:lnTo>
                  <a:lnTo>
                    <a:pt x="5767" y="17644"/>
                  </a:lnTo>
                  <a:lnTo>
                    <a:pt x="5739" y="18412"/>
                  </a:lnTo>
                  <a:lnTo>
                    <a:pt x="6134" y="18873"/>
                  </a:lnTo>
                  <a:lnTo>
                    <a:pt x="6783" y="19449"/>
                  </a:lnTo>
                  <a:lnTo>
                    <a:pt x="7432" y="20064"/>
                  </a:lnTo>
                  <a:lnTo>
                    <a:pt x="8420" y="20371"/>
                  </a:lnTo>
                  <a:lnTo>
                    <a:pt x="9267" y="20217"/>
                  </a:lnTo>
                  <a:lnTo>
                    <a:pt x="9662" y="20678"/>
                  </a:lnTo>
                  <a:lnTo>
                    <a:pt x="10424" y="20678"/>
                  </a:lnTo>
                  <a:lnTo>
                    <a:pt x="10847" y="20678"/>
                  </a:lnTo>
                  <a:lnTo>
                    <a:pt x="11299" y="20755"/>
                  </a:lnTo>
                  <a:lnTo>
                    <a:pt x="11299" y="20102"/>
                  </a:lnTo>
                  <a:lnTo>
                    <a:pt x="11299" y="19449"/>
                  </a:lnTo>
                  <a:lnTo>
                    <a:pt x="11524" y="19526"/>
                  </a:lnTo>
                  <a:lnTo>
                    <a:pt x="11524" y="20025"/>
                  </a:lnTo>
                  <a:lnTo>
                    <a:pt x="11948" y="20525"/>
                  </a:lnTo>
                  <a:lnTo>
                    <a:pt x="12738" y="20640"/>
                  </a:lnTo>
                  <a:lnTo>
                    <a:pt x="13133" y="20947"/>
                  </a:lnTo>
                  <a:lnTo>
                    <a:pt x="12851" y="21293"/>
                  </a:lnTo>
                  <a:lnTo>
                    <a:pt x="13359" y="21600"/>
                  </a:lnTo>
                  <a:lnTo>
                    <a:pt x="14064" y="21370"/>
                  </a:lnTo>
                  <a:lnTo>
                    <a:pt x="14488" y="20832"/>
                  </a:lnTo>
                  <a:lnTo>
                    <a:pt x="14770" y="21101"/>
                  </a:lnTo>
                  <a:lnTo>
                    <a:pt x="14781" y="21105"/>
                  </a:lnTo>
                  <a:lnTo>
                    <a:pt x="14958" y="20742"/>
                  </a:lnTo>
                  <a:lnTo>
                    <a:pt x="15222" y="20204"/>
                  </a:lnTo>
                  <a:lnTo>
                    <a:pt x="15523" y="19590"/>
                  </a:lnTo>
                  <a:lnTo>
                    <a:pt x="15880" y="19282"/>
                  </a:lnTo>
                  <a:lnTo>
                    <a:pt x="16595" y="19282"/>
                  </a:lnTo>
                  <a:lnTo>
                    <a:pt x="16915" y="18950"/>
                  </a:lnTo>
                  <a:lnTo>
                    <a:pt x="16708" y="18642"/>
                  </a:lnTo>
                  <a:lnTo>
                    <a:pt x="16708" y="18182"/>
                  </a:lnTo>
                  <a:lnTo>
                    <a:pt x="17066" y="17951"/>
                  </a:lnTo>
                  <a:lnTo>
                    <a:pt x="17611" y="17951"/>
                  </a:lnTo>
                  <a:lnTo>
                    <a:pt x="17818" y="17592"/>
                  </a:lnTo>
                  <a:lnTo>
                    <a:pt x="17818" y="17260"/>
                  </a:lnTo>
                  <a:lnTo>
                    <a:pt x="17818" y="16747"/>
                  </a:lnTo>
                  <a:lnTo>
                    <a:pt x="17950" y="16209"/>
                  </a:lnTo>
                  <a:lnTo>
                    <a:pt x="18514" y="15851"/>
                  </a:lnTo>
                  <a:lnTo>
                    <a:pt x="18928" y="15595"/>
                  </a:lnTo>
                  <a:lnTo>
                    <a:pt x="19493" y="15211"/>
                  </a:lnTo>
                  <a:lnTo>
                    <a:pt x="19625" y="14596"/>
                  </a:lnTo>
                  <a:lnTo>
                    <a:pt x="19907" y="14366"/>
                  </a:lnTo>
                  <a:lnTo>
                    <a:pt x="19719" y="14135"/>
                  </a:lnTo>
                  <a:lnTo>
                    <a:pt x="19625" y="13034"/>
                  </a:lnTo>
                  <a:lnTo>
                    <a:pt x="19719" y="12266"/>
                  </a:lnTo>
                  <a:lnTo>
                    <a:pt x="19982" y="11805"/>
                  </a:lnTo>
                  <a:lnTo>
                    <a:pt x="20415" y="11677"/>
                  </a:lnTo>
                  <a:lnTo>
                    <a:pt x="20490" y="11062"/>
                  </a:lnTo>
                  <a:lnTo>
                    <a:pt x="20829" y="10806"/>
                  </a:lnTo>
                  <a:lnTo>
                    <a:pt x="21186" y="10397"/>
                  </a:lnTo>
                  <a:lnTo>
                    <a:pt x="21186" y="9756"/>
                  </a:lnTo>
                  <a:lnTo>
                    <a:pt x="21017" y="9552"/>
                  </a:lnTo>
                  <a:lnTo>
                    <a:pt x="21130" y="9295"/>
                  </a:lnTo>
                  <a:lnTo>
                    <a:pt x="21318" y="8988"/>
                  </a:lnTo>
                  <a:lnTo>
                    <a:pt x="21544" y="8732"/>
                  </a:lnTo>
                  <a:lnTo>
                    <a:pt x="21600" y="8425"/>
                  </a:lnTo>
                  <a:lnTo>
                    <a:pt x="21600" y="8092"/>
                  </a:lnTo>
                  <a:lnTo>
                    <a:pt x="21318" y="7682"/>
                  </a:lnTo>
                  <a:lnTo>
                    <a:pt x="21318" y="7375"/>
                  </a:lnTo>
                  <a:lnTo>
                    <a:pt x="21318" y="7042"/>
                  </a:lnTo>
                  <a:lnTo>
                    <a:pt x="21377" y="7007"/>
                  </a:lnTo>
                  <a:lnTo>
                    <a:pt x="21167" y="6760"/>
                  </a:lnTo>
                  <a:cubicBezTo>
                    <a:pt x="21167" y="6760"/>
                    <a:pt x="20678" y="6786"/>
                    <a:pt x="20678" y="6786"/>
                  </a:cubicBezTo>
                  <a:close/>
                  <a:moveTo>
                    <a:pt x="20678" y="6786"/>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3" name="AutoShape 5"/>
            <p:cNvSpPr>
              <a:spLocks/>
            </p:cNvSpPr>
            <p:nvPr/>
          </p:nvSpPr>
          <p:spPr bwMode="auto">
            <a:xfrm>
              <a:off x="4864100" y="3097213"/>
              <a:ext cx="468313" cy="790575"/>
            </a:xfrm>
            <a:custGeom>
              <a:avLst/>
              <a:gdLst/>
              <a:ahLst/>
              <a:cxnLst/>
              <a:rect l="0" t="0" r="r" b="b"/>
              <a:pathLst>
                <a:path w="21600" h="21600">
                  <a:moveTo>
                    <a:pt x="20096" y="8846"/>
                  </a:moveTo>
                  <a:lnTo>
                    <a:pt x="21600" y="8174"/>
                  </a:lnTo>
                  <a:lnTo>
                    <a:pt x="20910" y="7979"/>
                  </a:lnTo>
                  <a:lnTo>
                    <a:pt x="17378" y="7064"/>
                  </a:lnTo>
                  <a:lnTo>
                    <a:pt x="14287" y="5886"/>
                  </a:lnTo>
                  <a:lnTo>
                    <a:pt x="14287" y="4578"/>
                  </a:lnTo>
                  <a:lnTo>
                    <a:pt x="17378" y="2093"/>
                  </a:lnTo>
                  <a:lnTo>
                    <a:pt x="14067" y="0"/>
                  </a:lnTo>
                  <a:lnTo>
                    <a:pt x="10976" y="2355"/>
                  </a:lnTo>
                  <a:lnTo>
                    <a:pt x="9431" y="4448"/>
                  </a:lnTo>
                  <a:lnTo>
                    <a:pt x="8548" y="7849"/>
                  </a:lnTo>
                  <a:lnTo>
                    <a:pt x="5016" y="8895"/>
                  </a:lnTo>
                  <a:lnTo>
                    <a:pt x="0" y="9568"/>
                  </a:lnTo>
                  <a:lnTo>
                    <a:pt x="104" y="10612"/>
                  </a:lnTo>
                  <a:lnTo>
                    <a:pt x="1152" y="11152"/>
                  </a:lnTo>
                  <a:lnTo>
                    <a:pt x="2504" y="12133"/>
                  </a:lnTo>
                  <a:lnTo>
                    <a:pt x="4077" y="12770"/>
                  </a:lnTo>
                  <a:lnTo>
                    <a:pt x="4574" y="13604"/>
                  </a:lnTo>
                  <a:lnTo>
                    <a:pt x="3829" y="13850"/>
                  </a:lnTo>
                  <a:lnTo>
                    <a:pt x="3829" y="14782"/>
                  </a:lnTo>
                  <a:lnTo>
                    <a:pt x="4657" y="15321"/>
                  </a:lnTo>
                  <a:lnTo>
                    <a:pt x="5650" y="16057"/>
                  </a:lnTo>
                  <a:lnTo>
                    <a:pt x="5733" y="17074"/>
                  </a:lnTo>
                  <a:lnTo>
                    <a:pt x="4077" y="17480"/>
                  </a:lnTo>
                  <a:lnTo>
                    <a:pt x="4077" y="18363"/>
                  </a:lnTo>
                  <a:lnTo>
                    <a:pt x="5567" y="19246"/>
                  </a:lnTo>
                  <a:lnTo>
                    <a:pt x="6975" y="19295"/>
                  </a:lnTo>
                  <a:lnTo>
                    <a:pt x="7389" y="20030"/>
                  </a:lnTo>
                  <a:lnTo>
                    <a:pt x="8216" y="20227"/>
                  </a:lnTo>
                  <a:lnTo>
                    <a:pt x="9541" y="20913"/>
                  </a:lnTo>
                  <a:lnTo>
                    <a:pt x="11280" y="21600"/>
                  </a:lnTo>
                  <a:lnTo>
                    <a:pt x="11942" y="21257"/>
                  </a:lnTo>
                  <a:lnTo>
                    <a:pt x="12024" y="20178"/>
                  </a:lnTo>
                  <a:lnTo>
                    <a:pt x="12107" y="19246"/>
                  </a:lnTo>
                  <a:lnTo>
                    <a:pt x="14177" y="19442"/>
                  </a:lnTo>
                  <a:lnTo>
                    <a:pt x="14888" y="19196"/>
                  </a:lnTo>
                  <a:lnTo>
                    <a:pt x="15336" y="18264"/>
                  </a:lnTo>
                  <a:lnTo>
                    <a:pt x="14888" y="17074"/>
                  </a:lnTo>
                  <a:lnTo>
                    <a:pt x="14425" y="16498"/>
                  </a:lnTo>
                  <a:lnTo>
                    <a:pt x="12521" y="16057"/>
                  </a:lnTo>
                  <a:lnTo>
                    <a:pt x="12521" y="15321"/>
                  </a:lnTo>
                  <a:lnTo>
                    <a:pt x="11942" y="14782"/>
                  </a:lnTo>
                  <a:lnTo>
                    <a:pt x="13266" y="14144"/>
                  </a:lnTo>
                  <a:lnTo>
                    <a:pt x="13763" y="13506"/>
                  </a:lnTo>
                  <a:lnTo>
                    <a:pt x="13680" y="12623"/>
                  </a:lnTo>
                  <a:lnTo>
                    <a:pt x="14177" y="12133"/>
                  </a:lnTo>
                  <a:lnTo>
                    <a:pt x="16329" y="12133"/>
                  </a:lnTo>
                  <a:lnTo>
                    <a:pt x="18482" y="12133"/>
                  </a:lnTo>
                  <a:lnTo>
                    <a:pt x="18813" y="9931"/>
                  </a:lnTo>
                  <a:cubicBezTo>
                    <a:pt x="18813" y="9931"/>
                    <a:pt x="20096" y="8846"/>
                    <a:pt x="20096" y="8846"/>
                  </a:cubicBezTo>
                  <a:close/>
                  <a:moveTo>
                    <a:pt x="20096" y="8846"/>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4" name="AutoShape 6"/>
            <p:cNvSpPr>
              <a:spLocks/>
            </p:cNvSpPr>
            <p:nvPr/>
          </p:nvSpPr>
          <p:spPr bwMode="auto">
            <a:xfrm>
              <a:off x="2386013" y="2921000"/>
              <a:ext cx="2217737" cy="1533525"/>
            </a:xfrm>
            <a:custGeom>
              <a:avLst/>
              <a:gdLst/>
              <a:ahLst/>
              <a:cxnLst/>
              <a:rect l="0" t="0" r="r" b="b"/>
              <a:pathLst>
                <a:path w="21600" h="21600">
                  <a:moveTo>
                    <a:pt x="560" y="7110"/>
                  </a:moveTo>
                  <a:lnTo>
                    <a:pt x="1073" y="7644"/>
                  </a:lnTo>
                  <a:lnTo>
                    <a:pt x="560" y="8753"/>
                  </a:lnTo>
                  <a:lnTo>
                    <a:pt x="233" y="8753"/>
                  </a:lnTo>
                  <a:lnTo>
                    <a:pt x="233" y="10076"/>
                  </a:lnTo>
                  <a:lnTo>
                    <a:pt x="513" y="10413"/>
                  </a:lnTo>
                  <a:lnTo>
                    <a:pt x="233" y="10884"/>
                  </a:lnTo>
                  <a:lnTo>
                    <a:pt x="467" y="11761"/>
                  </a:lnTo>
                  <a:lnTo>
                    <a:pt x="0" y="12300"/>
                  </a:lnTo>
                  <a:lnTo>
                    <a:pt x="793" y="13715"/>
                  </a:lnTo>
                  <a:lnTo>
                    <a:pt x="793" y="14996"/>
                  </a:lnTo>
                  <a:lnTo>
                    <a:pt x="1586" y="15602"/>
                  </a:lnTo>
                  <a:lnTo>
                    <a:pt x="2146" y="15130"/>
                  </a:lnTo>
                  <a:lnTo>
                    <a:pt x="2519" y="15602"/>
                  </a:lnTo>
                  <a:lnTo>
                    <a:pt x="3126" y="16748"/>
                  </a:lnTo>
                  <a:lnTo>
                    <a:pt x="4525" y="17489"/>
                  </a:lnTo>
                  <a:lnTo>
                    <a:pt x="5598" y="18433"/>
                  </a:lnTo>
                  <a:lnTo>
                    <a:pt x="6578" y="18972"/>
                  </a:lnTo>
                  <a:lnTo>
                    <a:pt x="7511" y="18433"/>
                  </a:lnTo>
                  <a:lnTo>
                    <a:pt x="8024" y="19578"/>
                  </a:lnTo>
                  <a:lnTo>
                    <a:pt x="8631" y="19915"/>
                  </a:lnTo>
                  <a:lnTo>
                    <a:pt x="8631" y="21196"/>
                  </a:lnTo>
                  <a:lnTo>
                    <a:pt x="9517" y="21600"/>
                  </a:lnTo>
                  <a:lnTo>
                    <a:pt x="9890" y="20993"/>
                  </a:lnTo>
                  <a:lnTo>
                    <a:pt x="10777" y="21600"/>
                  </a:lnTo>
                  <a:lnTo>
                    <a:pt x="10777" y="20791"/>
                  </a:lnTo>
                  <a:lnTo>
                    <a:pt x="11430" y="20993"/>
                  </a:lnTo>
                  <a:lnTo>
                    <a:pt x="11803" y="20117"/>
                  </a:lnTo>
                  <a:lnTo>
                    <a:pt x="12643" y="19915"/>
                  </a:lnTo>
                  <a:lnTo>
                    <a:pt x="12083" y="19174"/>
                  </a:lnTo>
                  <a:lnTo>
                    <a:pt x="12036" y="18365"/>
                  </a:lnTo>
                  <a:lnTo>
                    <a:pt x="12643" y="17354"/>
                  </a:lnTo>
                  <a:lnTo>
                    <a:pt x="12269" y="16411"/>
                  </a:lnTo>
                  <a:lnTo>
                    <a:pt x="12643" y="15871"/>
                  </a:lnTo>
                  <a:lnTo>
                    <a:pt x="13622" y="16141"/>
                  </a:lnTo>
                  <a:lnTo>
                    <a:pt x="14276" y="17085"/>
                  </a:lnTo>
                  <a:lnTo>
                    <a:pt x="14555" y="18500"/>
                  </a:lnTo>
                  <a:lnTo>
                    <a:pt x="15115" y="18972"/>
                  </a:lnTo>
                  <a:lnTo>
                    <a:pt x="15675" y="19713"/>
                  </a:lnTo>
                  <a:lnTo>
                    <a:pt x="16002" y="19106"/>
                  </a:lnTo>
                  <a:lnTo>
                    <a:pt x="16375" y="19578"/>
                  </a:lnTo>
                  <a:cubicBezTo>
                    <a:pt x="16375" y="19578"/>
                    <a:pt x="16328" y="20050"/>
                    <a:pt x="16375" y="20050"/>
                  </a:cubicBezTo>
                  <a:cubicBezTo>
                    <a:pt x="16422" y="20050"/>
                    <a:pt x="17028" y="20050"/>
                    <a:pt x="17028" y="20050"/>
                  </a:cubicBezTo>
                  <a:lnTo>
                    <a:pt x="16795" y="20926"/>
                  </a:lnTo>
                  <a:lnTo>
                    <a:pt x="17775" y="20319"/>
                  </a:lnTo>
                  <a:lnTo>
                    <a:pt x="18194" y="19106"/>
                  </a:lnTo>
                  <a:lnTo>
                    <a:pt x="19034" y="19039"/>
                  </a:lnTo>
                  <a:lnTo>
                    <a:pt x="19034" y="17893"/>
                  </a:lnTo>
                  <a:lnTo>
                    <a:pt x="18381" y="17489"/>
                  </a:lnTo>
                  <a:lnTo>
                    <a:pt x="17635" y="16074"/>
                  </a:lnTo>
                  <a:lnTo>
                    <a:pt x="17961" y="15333"/>
                  </a:lnTo>
                  <a:lnTo>
                    <a:pt x="18801" y="15871"/>
                  </a:lnTo>
                  <a:lnTo>
                    <a:pt x="19221" y="16546"/>
                  </a:lnTo>
                  <a:lnTo>
                    <a:pt x="20014" y="15602"/>
                  </a:lnTo>
                  <a:lnTo>
                    <a:pt x="19407" y="14726"/>
                  </a:lnTo>
                  <a:lnTo>
                    <a:pt x="20434" y="13749"/>
                  </a:lnTo>
                  <a:lnTo>
                    <a:pt x="20434" y="12974"/>
                  </a:lnTo>
                  <a:lnTo>
                    <a:pt x="20994" y="12434"/>
                  </a:lnTo>
                  <a:lnTo>
                    <a:pt x="20994" y="11828"/>
                  </a:lnTo>
                  <a:lnTo>
                    <a:pt x="21600" y="10750"/>
                  </a:lnTo>
                  <a:lnTo>
                    <a:pt x="21133" y="10076"/>
                  </a:lnTo>
                  <a:lnTo>
                    <a:pt x="20807" y="8391"/>
                  </a:lnTo>
                  <a:lnTo>
                    <a:pt x="20340" y="7312"/>
                  </a:lnTo>
                  <a:lnTo>
                    <a:pt x="20154" y="6234"/>
                  </a:lnTo>
                  <a:lnTo>
                    <a:pt x="19734" y="6773"/>
                  </a:lnTo>
                  <a:lnTo>
                    <a:pt x="18194" y="5223"/>
                  </a:lnTo>
                  <a:lnTo>
                    <a:pt x="17495" y="3875"/>
                  </a:lnTo>
                  <a:lnTo>
                    <a:pt x="17448" y="4482"/>
                  </a:lnTo>
                  <a:lnTo>
                    <a:pt x="16981" y="4415"/>
                  </a:lnTo>
                  <a:lnTo>
                    <a:pt x="15675" y="1921"/>
                  </a:lnTo>
                  <a:lnTo>
                    <a:pt x="15302" y="2258"/>
                  </a:lnTo>
                  <a:lnTo>
                    <a:pt x="14975" y="1921"/>
                  </a:lnTo>
                  <a:lnTo>
                    <a:pt x="14322" y="2393"/>
                  </a:lnTo>
                  <a:lnTo>
                    <a:pt x="13343" y="1180"/>
                  </a:lnTo>
                  <a:lnTo>
                    <a:pt x="12882" y="1180"/>
                  </a:lnTo>
                  <a:lnTo>
                    <a:pt x="12689" y="2662"/>
                  </a:lnTo>
                  <a:lnTo>
                    <a:pt x="12503" y="2932"/>
                  </a:lnTo>
                  <a:lnTo>
                    <a:pt x="12503" y="3606"/>
                  </a:lnTo>
                  <a:lnTo>
                    <a:pt x="12083" y="4010"/>
                  </a:lnTo>
                  <a:lnTo>
                    <a:pt x="11616" y="3875"/>
                  </a:lnTo>
                  <a:lnTo>
                    <a:pt x="11476" y="3471"/>
                  </a:lnTo>
                  <a:lnTo>
                    <a:pt x="11150" y="3673"/>
                  </a:lnTo>
                  <a:lnTo>
                    <a:pt x="9984" y="2797"/>
                  </a:lnTo>
                  <a:lnTo>
                    <a:pt x="9237" y="2999"/>
                  </a:lnTo>
                  <a:lnTo>
                    <a:pt x="8864" y="1921"/>
                  </a:lnTo>
                  <a:lnTo>
                    <a:pt x="8184" y="1766"/>
                  </a:lnTo>
                  <a:lnTo>
                    <a:pt x="7978" y="1719"/>
                  </a:lnTo>
                  <a:lnTo>
                    <a:pt x="8351" y="1180"/>
                  </a:lnTo>
                  <a:lnTo>
                    <a:pt x="7278" y="1180"/>
                  </a:lnTo>
                  <a:lnTo>
                    <a:pt x="7138" y="708"/>
                  </a:lnTo>
                  <a:lnTo>
                    <a:pt x="6444" y="0"/>
                  </a:lnTo>
                  <a:lnTo>
                    <a:pt x="6429" y="34"/>
                  </a:lnTo>
                  <a:lnTo>
                    <a:pt x="4283" y="506"/>
                  </a:lnTo>
                  <a:lnTo>
                    <a:pt x="2603" y="843"/>
                  </a:lnTo>
                  <a:lnTo>
                    <a:pt x="2836" y="1517"/>
                  </a:lnTo>
                  <a:lnTo>
                    <a:pt x="2976" y="2864"/>
                  </a:lnTo>
                  <a:lnTo>
                    <a:pt x="3490" y="3741"/>
                  </a:lnTo>
                  <a:lnTo>
                    <a:pt x="3863" y="5156"/>
                  </a:lnTo>
                  <a:lnTo>
                    <a:pt x="2603" y="5965"/>
                  </a:lnTo>
                  <a:lnTo>
                    <a:pt x="3163" y="6301"/>
                  </a:lnTo>
                  <a:lnTo>
                    <a:pt x="3116" y="7644"/>
                  </a:lnTo>
                  <a:lnTo>
                    <a:pt x="2603" y="7178"/>
                  </a:lnTo>
                  <a:lnTo>
                    <a:pt x="1451" y="6778"/>
                  </a:lnTo>
                  <a:lnTo>
                    <a:pt x="1400" y="7110"/>
                  </a:lnTo>
                  <a:cubicBezTo>
                    <a:pt x="1400" y="7110"/>
                    <a:pt x="560" y="7110"/>
                    <a:pt x="560" y="7110"/>
                  </a:cubicBezTo>
                  <a:close/>
                  <a:moveTo>
                    <a:pt x="560" y="7110"/>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5" name="AutoShape 7"/>
            <p:cNvSpPr>
              <a:spLocks/>
            </p:cNvSpPr>
            <p:nvPr/>
          </p:nvSpPr>
          <p:spPr bwMode="auto">
            <a:xfrm>
              <a:off x="7099300" y="165100"/>
              <a:ext cx="1912938" cy="1854200"/>
            </a:xfrm>
            <a:custGeom>
              <a:avLst/>
              <a:gdLst/>
              <a:ahLst/>
              <a:cxnLst/>
              <a:rect l="0" t="0" r="r" b="b"/>
              <a:pathLst>
                <a:path w="21600" h="21600">
                  <a:moveTo>
                    <a:pt x="21600" y="10553"/>
                  </a:moveTo>
                  <a:lnTo>
                    <a:pt x="21600" y="9905"/>
                  </a:lnTo>
                  <a:cubicBezTo>
                    <a:pt x="21600" y="9905"/>
                    <a:pt x="21114" y="9571"/>
                    <a:pt x="21114" y="9508"/>
                  </a:cubicBezTo>
                  <a:cubicBezTo>
                    <a:pt x="21114" y="9445"/>
                    <a:pt x="21114" y="8630"/>
                    <a:pt x="21114" y="8630"/>
                  </a:cubicBezTo>
                  <a:lnTo>
                    <a:pt x="20607" y="8588"/>
                  </a:lnTo>
                  <a:lnTo>
                    <a:pt x="20080" y="9027"/>
                  </a:lnTo>
                  <a:lnTo>
                    <a:pt x="19655" y="9383"/>
                  </a:lnTo>
                  <a:lnTo>
                    <a:pt x="19290" y="9738"/>
                  </a:lnTo>
                  <a:lnTo>
                    <a:pt x="18702" y="9988"/>
                  </a:lnTo>
                  <a:lnTo>
                    <a:pt x="18297" y="10490"/>
                  </a:lnTo>
                  <a:cubicBezTo>
                    <a:pt x="18297" y="10490"/>
                    <a:pt x="18418" y="10741"/>
                    <a:pt x="18196" y="10845"/>
                  </a:cubicBezTo>
                  <a:cubicBezTo>
                    <a:pt x="17973" y="10950"/>
                    <a:pt x="16959" y="11242"/>
                    <a:pt x="16959" y="11242"/>
                  </a:cubicBezTo>
                  <a:cubicBezTo>
                    <a:pt x="16959" y="11242"/>
                    <a:pt x="16534" y="11117"/>
                    <a:pt x="16433" y="11200"/>
                  </a:cubicBezTo>
                  <a:cubicBezTo>
                    <a:pt x="16331" y="11284"/>
                    <a:pt x="15987" y="11430"/>
                    <a:pt x="15987" y="11430"/>
                  </a:cubicBezTo>
                  <a:lnTo>
                    <a:pt x="15845" y="11096"/>
                  </a:lnTo>
                  <a:lnTo>
                    <a:pt x="15399" y="10553"/>
                  </a:lnTo>
                  <a:lnTo>
                    <a:pt x="15480" y="9696"/>
                  </a:lnTo>
                  <a:lnTo>
                    <a:pt x="15055" y="9529"/>
                  </a:lnTo>
                  <a:lnTo>
                    <a:pt x="15014" y="9027"/>
                  </a:lnTo>
                  <a:lnTo>
                    <a:pt x="14690" y="8797"/>
                  </a:lnTo>
                  <a:lnTo>
                    <a:pt x="14345" y="8965"/>
                  </a:lnTo>
                  <a:lnTo>
                    <a:pt x="13879" y="8735"/>
                  </a:lnTo>
                  <a:lnTo>
                    <a:pt x="13454" y="8359"/>
                  </a:lnTo>
                  <a:lnTo>
                    <a:pt x="12988" y="8087"/>
                  </a:lnTo>
                  <a:lnTo>
                    <a:pt x="12663" y="8129"/>
                  </a:lnTo>
                  <a:lnTo>
                    <a:pt x="12481" y="8233"/>
                  </a:lnTo>
                  <a:lnTo>
                    <a:pt x="11974" y="8024"/>
                  </a:lnTo>
                  <a:lnTo>
                    <a:pt x="11569" y="7836"/>
                  </a:lnTo>
                  <a:lnTo>
                    <a:pt x="11265" y="8024"/>
                  </a:lnTo>
                  <a:lnTo>
                    <a:pt x="10657" y="8171"/>
                  </a:lnTo>
                  <a:lnTo>
                    <a:pt x="10212" y="7920"/>
                  </a:lnTo>
                  <a:lnTo>
                    <a:pt x="9989" y="7376"/>
                  </a:lnTo>
                  <a:cubicBezTo>
                    <a:pt x="9989" y="7376"/>
                    <a:pt x="9989" y="6624"/>
                    <a:pt x="9928" y="6624"/>
                  </a:cubicBezTo>
                  <a:cubicBezTo>
                    <a:pt x="9867" y="6624"/>
                    <a:pt x="9644" y="6624"/>
                    <a:pt x="9644" y="6624"/>
                  </a:cubicBezTo>
                  <a:lnTo>
                    <a:pt x="9421" y="5767"/>
                  </a:lnTo>
                  <a:lnTo>
                    <a:pt x="9117" y="5329"/>
                  </a:lnTo>
                  <a:lnTo>
                    <a:pt x="8732" y="5036"/>
                  </a:lnTo>
                  <a:lnTo>
                    <a:pt x="8509" y="4451"/>
                  </a:lnTo>
                  <a:lnTo>
                    <a:pt x="8205" y="3699"/>
                  </a:lnTo>
                  <a:lnTo>
                    <a:pt x="7840" y="3093"/>
                  </a:lnTo>
                  <a:lnTo>
                    <a:pt x="7719" y="2549"/>
                  </a:lnTo>
                  <a:lnTo>
                    <a:pt x="7374" y="2424"/>
                  </a:lnTo>
                  <a:lnTo>
                    <a:pt x="7374" y="1964"/>
                  </a:lnTo>
                  <a:lnTo>
                    <a:pt x="6706" y="1149"/>
                  </a:lnTo>
                  <a:lnTo>
                    <a:pt x="5895" y="627"/>
                  </a:lnTo>
                  <a:lnTo>
                    <a:pt x="5368" y="481"/>
                  </a:lnTo>
                  <a:lnTo>
                    <a:pt x="5024" y="481"/>
                  </a:lnTo>
                  <a:lnTo>
                    <a:pt x="4720" y="690"/>
                  </a:lnTo>
                  <a:lnTo>
                    <a:pt x="4051" y="272"/>
                  </a:lnTo>
                  <a:lnTo>
                    <a:pt x="3301" y="0"/>
                  </a:lnTo>
                  <a:lnTo>
                    <a:pt x="2511" y="0"/>
                  </a:lnTo>
                  <a:lnTo>
                    <a:pt x="1862" y="334"/>
                  </a:lnTo>
                  <a:lnTo>
                    <a:pt x="1437" y="293"/>
                  </a:lnTo>
                  <a:lnTo>
                    <a:pt x="1011" y="522"/>
                  </a:lnTo>
                  <a:lnTo>
                    <a:pt x="221" y="627"/>
                  </a:lnTo>
                  <a:lnTo>
                    <a:pt x="0" y="713"/>
                  </a:lnTo>
                  <a:lnTo>
                    <a:pt x="728" y="1428"/>
                  </a:lnTo>
                  <a:lnTo>
                    <a:pt x="295" y="2375"/>
                  </a:lnTo>
                  <a:lnTo>
                    <a:pt x="295" y="2710"/>
                  </a:lnTo>
                  <a:lnTo>
                    <a:pt x="1214" y="3323"/>
                  </a:lnTo>
                  <a:lnTo>
                    <a:pt x="1592" y="2710"/>
                  </a:lnTo>
                  <a:lnTo>
                    <a:pt x="2187" y="3323"/>
                  </a:lnTo>
                  <a:lnTo>
                    <a:pt x="2511" y="4047"/>
                  </a:lnTo>
                  <a:lnTo>
                    <a:pt x="2997" y="5273"/>
                  </a:lnTo>
                  <a:lnTo>
                    <a:pt x="3862" y="5106"/>
                  </a:lnTo>
                  <a:lnTo>
                    <a:pt x="5105" y="4771"/>
                  </a:lnTo>
                  <a:lnTo>
                    <a:pt x="5591" y="4771"/>
                  </a:lnTo>
                  <a:lnTo>
                    <a:pt x="6131" y="4047"/>
                  </a:lnTo>
                  <a:lnTo>
                    <a:pt x="7266" y="5496"/>
                  </a:lnTo>
                  <a:lnTo>
                    <a:pt x="7266" y="6387"/>
                  </a:lnTo>
                  <a:lnTo>
                    <a:pt x="6618" y="7376"/>
                  </a:lnTo>
                  <a:lnTo>
                    <a:pt x="6942" y="9006"/>
                  </a:lnTo>
                  <a:lnTo>
                    <a:pt x="6564" y="9954"/>
                  </a:lnTo>
                  <a:lnTo>
                    <a:pt x="6239" y="11291"/>
                  </a:lnTo>
                  <a:lnTo>
                    <a:pt x="6185" y="12238"/>
                  </a:lnTo>
                  <a:lnTo>
                    <a:pt x="5699" y="11625"/>
                  </a:lnTo>
                  <a:lnTo>
                    <a:pt x="4240" y="13186"/>
                  </a:lnTo>
                  <a:lnTo>
                    <a:pt x="3484" y="14189"/>
                  </a:lnTo>
                  <a:lnTo>
                    <a:pt x="3592" y="14802"/>
                  </a:lnTo>
                  <a:lnTo>
                    <a:pt x="4132" y="15303"/>
                  </a:lnTo>
                  <a:lnTo>
                    <a:pt x="4240" y="15749"/>
                  </a:lnTo>
                  <a:lnTo>
                    <a:pt x="4943" y="15303"/>
                  </a:lnTo>
                  <a:lnTo>
                    <a:pt x="5429" y="15526"/>
                  </a:lnTo>
                  <a:lnTo>
                    <a:pt x="5321" y="16139"/>
                  </a:lnTo>
                  <a:lnTo>
                    <a:pt x="4564" y="16139"/>
                  </a:lnTo>
                  <a:lnTo>
                    <a:pt x="4564" y="16640"/>
                  </a:lnTo>
                  <a:lnTo>
                    <a:pt x="4687" y="16919"/>
                  </a:lnTo>
                  <a:lnTo>
                    <a:pt x="5969" y="16919"/>
                  </a:lnTo>
                  <a:lnTo>
                    <a:pt x="5969" y="17699"/>
                  </a:lnTo>
                  <a:lnTo>
                    <a:pt x="6834" y="18479"/>
                  </a:lnTo>
                  <a:lnTo>
                    <a:pt x="7753" y="18479"/>
                  </a:lnTo>
                  <a:lnTo>
                    <a:pt x="8725" y="18089"/>
                  </a:lnTo>
                  <a:lnTo>
                    <a:pt x="8996" y="18479"/>
                  </a:lnTo>
                  <a:lnTo>
                    <a:pt x="9644" y="18925"/>
                  </a:lnTo>
                  <a:lnTo>
                    <a:pt x="10130" y="18591"/>
                  </a:lnTo>
                  <a:lnTo>
                    <a:pt x="10995" y="18479"/>
                  </a:lnTo>
                  <a:lnTo>
                    <a:pt x="11427" y="19541"/>
                  </a:lnTo>
                  <a:lnTo>
                    <a:pt x="12292" y="19541"/>
                  </a:lnTo>
                  <a:lnTo>
                    <a:pt x="12292" y="20485"/>
                  </a:lnTo>
                  <a:lnTo>
                    <a:pt x="13102" y="20708"/>
                  </a:lnTo>
                  <a:lnTo>
                    <a:pt x="13481" y="19541"/>
                  </a:lnTo>
                  <a:lnTo>
                    <a:pt x="13751" y="20207"/>
                  </a:lnTo>
                  <a:lnTo>
                    <a:pt x="14561" y="21600"/>
                  </a:lnTo>
                  <a:lnTo>
                    <a:pt x="15156" y="21600"/>
                  </a:lnTo>
                  <a:lnTo>
                    <a:pt x="15156" y="21043"/>
                  </a:lnTo>
                  <a:lnTo>
                    <a:pt x="16183" y="20151"/>
                  </a:lnTo>
                  <a:lnTo>
                    <a:pt x="16399" y="20653"/>
                  </a:lnTo>
                  <a:lnTo>
                    <a:pt x="16777" y="20040"/>
                  </a:lnTo>
                  <a:lnTo>
                    <a:pt x="17264" y="20820"/>
                  </a:lnTo>
                  <a:lnTo>
                    <a:pt x="17912" y="21154"/>
                  </a:lnTo>
                  <a:lnTo>
                    <a:pt x="18439" y="21053"/>
                  </a:lnTo>
                  <a:lnTo>
                    <a:pt x="18439" y="20729"/>
                  </a:lnTo>
                  <a:lnTo>
                    <a:pt x="18338" y="19538"/>
                  </a:lnTo>
                  <a:lnTo>
                    <a:pt x="17770" y="18577"/>
                  </a:lnTo>
                  <a:lnTo>
                    <a:pt x="17486" y="17971"/>
                  </a:lnTo>
                  <a:lnTo>
                    <a:pt x="17649" y="17720"/>
                  </a:lnTo>
                  <a:lnTo>
                    <a:pt x="18135" y="17449"/>
                  </a:lnTo>
                  <a:lnTo>
                    <a:pt x="18439" y="17135"/>
                  </a:lnTo>
                  <a:lnTo>
                    <a:pt x="18439" y="16863"/>
                  </a:lnTo>
                  <a:lnTo>
                    <a:pt x="18723" y="16634"/>
                  </a:lnTo>
                  <a:lnTo>
                    <a:pt x="18925" y="16717"/>
                  </a:lnTo>
                  <a:lnTo>
                    <a:pt x="19310" y="16822"/>
                  </a:lnTo>
                  <a:lnTo>
                    <a:pt x="19938" y="16822"/>
                  </a:lnTo>
                  <a:lnTo>
                    <a:pt x="20506" y="16613"/>
                  </a:lnTo>
                  <a:lnTo>
                    <a:pt x="20486" y="15651"/>
                  </a:lnTo>
                  <a:lnTo>
                    <a:pt x="20688" y="15317"/>
                  </a:lnTo>
                  <a:lnTo>
                    <a:pt x="20769" y="14774"/>
                  </a:lnTo>
                  <a:lnTo>
                    <a:pt x="21053" y="14419"/>
                  </a:lnTo>
                  <a:lnTo>
                    <a:pt x="21012" y="13896"/>
                  </a:lnTo>
                  <a:lnTo>
                    <a:pt x="21175" y="13729"/>
                  </a:lnTo>
                  <a:lnTo>
                    <a:pt x="20931" y="13123"/>
                  </a:lnTo>
                  <a:lnTo>
                    <a:pt x="21114" y="12956"/>
                  </a:lnTo>
                  <a:lnTo>
                    <a:pt x="20992" y="12433"/>
                  </a:lnTo>
                  <a:lnTo>
                    <a:pt x="20972" y="11974"/>
                  </a:lnTo>
                  <a:lnTo>
                    <a:pt x="21114" y="11848"/>
                  </a:lnTo>
                  <a:lnTo>
                    <a:pt x="20972" y="11472"/>
                  </a:lnTo>
                  <a:lnTo>
                    <a:pt x="21134" y="11033"/>
                  </a:lnTo>
                  <a:cubicBezTo>
                    <a:pt x="21134" y="11033"/>
                    <a:pt x="21600" y="10553"/>
                    <a:pt x="21600" y="10553"/>
                  </a:cubicBezTo>
                  <a:close/>
                  <a:moveTo>
                    <a:pt x="21600" y="10553"/>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6" name="AutoShape 8"/>
            <p:cNvSpPr>
              <a:spLocks/>
            </p:cNvSpPr>
            <p:nvPr/>
          </p:nvSpPr>
          <p:spPr bwMode="auto">
            <a:xfrm>
              <a:off x="7327900" y="1612900"/>
              <a:ext cx="1400175" cy="1001713"/>
            </a:xfrm>
            <a:custGeom>
              <a:avLst/>
              <a:gdLst/>
              <a:ahLst/>
              <a:cxnLst/>
              <a:rect l="0" t="0" r="r" b="b"/>
              <a:pathLst>
                <a:path w="21600" h="21600">
                  <a:moveTo>
                    <a:pt x="20880" y="7839"/>
                  </a:moveTo>
                  <a:lnTo>
                    <a:pt x="19995" y="7220"/>
                  </a:lnTo>
                  <a:lnTo>
                    <a:pt x="19331" y="5776"/>
                  </a:lnTo>
                  <a:lnTo>
                    <a:pt x="18815" y="6911"/>
                  </a:lnTo>
                  <a:lnTo>
                    <a:pt x="18519" y="5982"/>
                  </a:lnTo>
                  <a:lnTo>
                    <a:pt x="17118" y="7633"/>
                  </a:lnTo>
                  <a:lnTo>
                    <a:pt x="17118" y="8665"/>
                  </a:lnTo>
                  <a:lnTo>
                    <a:pt x="16306" y="8665"/>
                  </a:lnTo>
                  <a:lnTo>
                    <a:pt x="15199" y="6086"/>
                  </a:lnTo>
                  <a:lnTo>
                    <a:pt x="14830" y="4853"/>
                  </a:lnTo>
                  <a:lnTo>
                    <a:pt x="14314" y="7014"/>
                  </a:lnTo>
                  <a:lnTo>
                    <a:pt x="13207" y="6601"/>
                  </a:lnTo>
                  <a:lnTo>
                    <a:pt x="13207" y="4853"/>
                  </a:lnTo>
                  <a:lnTo>
                    <a:pt x="12027" y="4853"/>
                  </a:lnTo>
                  <a:lnTo>
                    <a:pt x="11436" y="2888"/>
                  </a:lnTo>
                  <a:lnTo>
                    <a:pt x="10256" y="3094"/>
                  </a:lnTo>
                  <a:lnTo>
                    <a:pt x="9592" y="3713"/>
                  </a:lnTo>
                  <a:lnTo>
                    <a:pt x="8706" y="2888"/>
                  </a:lnTo>
                  <a:lnTo>
                    <a:pt x="8337" y="2166"/>
                  </a:lnTo>
                  <a:lnTo>
                    <a:pt x="7009" y="2888"/>
                  </a:lnTo>
                  <a:lnTo>
                    <a:pt x="5755" y="2888"/>
                  </a:lnTo>
                  <a:lnTo>
                    <a:pt x="4574" y="1444"/>
                  </a:lnTo>
                  <a:lnTo>
                    <a:pt x="4574" y="0"/>
                  </a:lnTo>
                  <a:lnTo>
                    <a:pt x="2824" y="0"/>
                  </a:lnTo>
                  <a:lnTo>
                    <a:pt x="3025" y="619"/>
                  </a:lnTo>
                  <a:lnTo>
                    <a:pt x="2361" y="1650"/>
                  </a:lnTo>
                  <a:lnTo>
                    <a:pt x="2214" y="2682"/>
                  </a:lnTo>
                  <a:lnTo>
                    <a:pt x="1550" y="1650"/>
                  </a:lnTo>
                  <a:lnTo>
                    <a:pt x="1254" y="2372"/>
                  </a:lnTo>
                  <a:lnTo>
                    <a:pt x="369" y="1650"/>
                  </a:lnTo>
                  <a:lnTo>
                    <a:pt x="0" y="2785"/>
                  </a:lnTo>
                  <a:lnTo>
                    <a:pt x="885" y="3610"/>
                  </a:lnTo>
                  <a:lnTo>
                    <a:pt x="1328" y="4642"/>
                  </a:lnTo>
                  <a:lnTo>
                    <a:pt x="1328" y="6911"/>
                  </a:lnTo>
                  <a:lnTo>
                    <a:pt x="2435" y="8355"/>
                  </a:lnTo>
                  <a:lnTo>
                    <a:pt x="3615" y="7530"/>
                  </a:lnTo>
                  <a:lnTo>
                    <a:pt x="4574" y="9799"/>
                  </a:lnTo>
                  <a:lnTo>
                    <a:pt x="4574" y="11656"/>
                  </a:lnTo>
                  <a:lnTo>
                    <a:pt x="5134" y="11656"/>
                  </a:lnTo>
                  <a:lnTo>
                    <a:pt x="5460" y="11020"/>
                  </a:lnTo>
                  <a:lnTo>
                    <a:pt x="6345" y="12378"/>
                  </a:lnTo>
                  <a:lnTo>
                    <a:pt x="7009" y="12378"/>
                  </a:lnTo>
                  <a:lnTo>
                    <a:pt x="7009" y="13512"/>
                  </a:lnTo>
                  <a:lnTo>
                    <a:pt x="7378" y="13512"/>
                  </a:lnTo>
                  <a:lnTo>
                    <a:pt x="8042" y="12378"/>
                  </a:lnTo>
                  <a:lnTo>
                    <a:pt x="8042" y="13409"/>
                  </a:lnTo>
                  <a:lnTo>
                    <a:pt x="8633" y="14544"/>
                  </a:lnTo>
                  <a:lnTo>
                    <a:pt x="9370" y="16194"/>
                  </a:lnTo>
                  <a:lnTo>
                    <a:pt x="9370" y="18051"/>
                  </a:lnTo>
                  <a:lnTo>
                    <a:pt x="11067" y="19805"/>
                  </a:lnTo>
                  <a:lnTo>
                    <a:pt x="10477" y="21249"/>
                  </a:lnTo>
                  <a:lnTo>
                    <a:pt x="10924" y="21600"/>
                  </a:lnTo>
                  <a:lnTo>
                    <a:pt x="11003" y="21481"/>
                  </a:lnTo>
                  <a:lnTo>
                    <a:pt x="11473" y="21287"/>
                  </a:lnTo>
                  <a:lnTo>
                    <a:pt x="12054" y="19779"/>
                  </a:lnTo>
                  <a:lnTo>
                    <a:pt x="12469" y="18928"/>
                  </a:lnTo>
                  <a:lnTo>
                    <a:pt x="12525" y="17767"/>
                  </a:lnTo>
                  <a:lnTo>
                    <a:pt x="13023" y="17110"/>
                  </a:lnTo>
                  <a:lnTo>
                    <a:pt x="13465" y="17535"/>
                  </a:lnTo>
                  <a:lnTo>
                    <a:pt x="13991" y="18193"/>
                  </a:lnTo>
                  <a:lnTo>
                    <a:pt x="15374" y="18270"/>
                  </a:lnTo>
                  <a:lnTo>
                    <a:pt x="15568" y="17961"/>
                  </a:lnTo>
                  <a:lnTo>
                    <a:pt x="15900" y="18154"/>
                  </a:lnTo>
                  <a:lnTo>
                    <a:pt x="16288" y="17651"/>
                  </a:lnTo>
                  <a:lnTo>
                    <a:pt x="16177" y="16645"/>
                  </a:lnTo>
                  <a:lnTo>
                    <a:pt x="15596" y="15756"/>
                  </a:lnTo>
                  <a:lnTo>
                    <a:pt x="15790" y="15214"/>
                  </a:lnTo>
                  <a:lnTo>
                    <a:pt x="16620" y="15098"/>
                  </a:lnTo>
                  <a:lnTo>
                    <a:pt x="17339" y="14905"/>
                  </a:lnTo>
                  <a:lnTo>
                    <a:pt x="17616" y="14131"/>
                  </a:lnTo>
                  <a:lnTo>
                    <a:pt x="18086" y="13551"/>
                  </a:lnTo>
                  <a:lnTo>
                    <a:pt x="18141" y="13010"/>
                  </a:lnTo>
                  <a:lnTo>
                    <a:pt x="18584" y="13126"/>
                  </a:lnTo>
                  <a:lnTo>
                    <a:pt x="18916" y="12661"/>
                  </a:lnTo>
                  <a:lnTo>
                    <a:pt x="19027" y="10418"/>
                  </a:lnTo>
                  <a:lnTo>
                    <a:pt x="19386" y="10418"/>
                  </a:lnTo>
                  <a:lnTo>
                    <a:pt x="19691" y="10805"/>
                  </a:lnTo>
                  <a:lnTo>
                    <a:pt x="19829" y="11540"/>
                  </a:lnTo>
                  <a:lnTo>
                    <a:pt x="20632" y="12236"/>
                  </a:lnTo>
                  <a:lnTo>
                    <a:pt x="20908" y="11772"/>
                  </a:lnTo>
                  <a:lnTo>
                    <a:pt x="20797" y="11037"/>
                  </a:lnTo>
                  <a:lnTo>
                    <a:pt x="20438" y="10882"/>
                  </a:lnTo>
                  <a:lnTo>
                    <a:pt x="20687" y="10418"/>
                  </a:lnTo>
                  <a:lnTo>
                    <a:pt x="21296" y="10109"/>
                  </a:lnTo>
                  <a:lnTo>
                    <a:pt x="21600" y="9606"/>
                  </a:lnTo>
                  <a:lnTo>
                    <a:pt x="21600" y="7653"/>
                  </a:lnTo>
                  <a:cubicBezTo>
                    <a:pt x="21600" y="7653"/>
                    <a:pt x="20880" y="7839"/>
                    <a:pt x="20880" y="7839"/>
                  </a:cubicBezTo>
                  <a:close/>
                  <a:moveTo>
                    <a:pt x="20880" y="7839"/>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7" name="AutoShape 9"/>
            <p:cNvSpPr>
              <a:spLocks/>
            </p:cNvSpPr>
            <p:nvPr/>
          </p:nvSpPr>
          <p:spPr bwMode="auto">
            <a:xfrm>
              <a:off x="7073900" y="2590800"/>
              <a:ext cx="17463" cy="57150"/>
            </a:xfrm>
            <a:custGeom>
              <a:avLst/>
              <a:gdLst/>
              <a:ahLst/>
              <a:cxnLst/>
              <a:rect l="0" t="0" r="r" b="b"/>
              <a:pathLst>
                <a:path w="21600" h="21600">
                  <a:moveTo>
                    <a:pt x="21600" y="0"/>
                  </a:moveTo>
                  <a:lnTo>
                    <a:pt x="0" y="21600"/>
                  </a:lnTo>
                  <a:lnTo>
                    <a:pt x="21600" y="19437"/>
                  </a:lnTo>
                  <a:cubicBezTo>
                    <a:pt x="21600" y="19437"/>
                    <a:pt x="21600" y="0"/>
                    <a:pt x="21600" y="0"/>
                  </a:cubicBezTo>
                  <a:close/>
                  <a:moveTo>
                    <a:pt x="21600" y="0"/>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8" name="AutoShape 10"/>
            <p:cNvSpPr>
              <a:spLocks/>
            </p:cNvSpPr>
            <p:nvPr/>
          </p:nvSpPr>
          <p:spPr bwMode="auto">
            <a:xfrm>
              <a:off x="7023100" y="2133600"/>
              <a:ext cx="1019175" cy="992188"/>
            </a:xfrm>
            <a:custGeom>
              <a:avLst/>
              <a:gdLst/>
              <a:ahLst/>
              <a:cxnLst/>
              <a:rect l="0" t="0" r="r" b="b"/>
              <a:pathLst>
                <a:path w="21600" h="21600">
                  <a:moveTo>
                    <a:pt x="21600" y="8864"/>
                  </a:moveTo>
                  <a:lnTo>
                    <a:pt x="19268" y="7094"/>
                  </a:lnTo>
                  <a:lnTo>
                    <a:pt x="19268" y="5221"/>
                  </a:lnTo>
                  <a:lnTo>
                    <a:pt x="18254" y="3556"/>
                  </a:lnTo>
                  <a:lnTo>
                    <a:pt x="17442" y="2411"/>
                  </a:lnTo>
                  <a:lnTo>
                    <a:pt x="17442" y="1370"/>
                  </a:lnTo>
                  <a:lnTo>
                    <a:pt x="16530" y="2515"/>
                  </a:lnTo>
                  <a:lnTo>
                    <a:pt x="16022" y="2515"/>
                  </a:lnTo>
                  <a:lnTo>
                    <a:pt x="16022" y="1370"/>
                  </a:lnTo>
                  <a:lnTo>
                    <a:pt x="15110" y="1370"/>
                  </a:lnTo>
                  <a:lnTo>
                    <a:pt x="13893" y="0"/>
                  </a:lnTo>
                  <a:lnTo>
                    <a:pt x="13445" y="641"/>
                  </a:lnTo>
                  <a:lnTo>
                    <a:pt x="13791" y="641"/>
                  </a:lnTo>
                  <a:lnTo>
                    <a:pt x="13791" y="2099"/>
                  </a:lnTo>
                  <a:lnTo>
                    <a:pt x="12372" y="3452"/>
                  </a:lnTo>
                  <a:lnTo>
                    <a:pt x="10344" y="3868"/>
                  </a:lnTo>
                  <a:lnTo>
                    <a:pt x="8823" y="4805"/>
                  </a:lnTo>
                  <a:lnTo>
                    <a:pt x="7910" y="5117"/>
                  </a:lnTo>
                  <a:lnTo>
                    <a:pt x="6490" y="6054"/>
                  </a:lnTo>
                  <a:lnTo>
                    <a:pt x="4563" y="7927"/>
                  </a:lnTo>
                  <a:lnTo>
                    <a:pt x="3651" y="9384"/>
                  </a:lnTo>
                  <a:lnTo>
                    <a:pt x="2738" y="7406"/>
                  </a:lnTo>
                  <a:lnTo>
                    <a:pt x="1724" y="6782"/>
                  </a:lnTo>
                  <a:lnTo>
                    <a:pt x="709" y="7406"/>
                  </a:lnTo>
                  <a:lnTo>
                    <a:pt x="1318" y="9280"/>
                  </a:lnTo>
                  <a:lnTo>
                    <a:pt x="1318" y="10008"/>
                  </a:lnTo>
                  <a:lnTo>
                    <a:pt x="1318" y="11153"/>
                  </a:lnTo>
                  <a:lnTo>
                    <a:pt x="946" y="11281"/>
                  </a:lnTo>
                  <a:lnTo>
                    <a:pt x="709" y="12090"/>
                  </a:lnTo>
                  <a:lnTo>
                    <a:pt x="0" y="13339"/>
                  </a:lnTo>
                  <a:lnTo>
                    <a:pt x="1474" y="14484"/>
                  </a:lnTo>
                  <a:lnTo>
                    <a:pt x="2738" y="14484"/>
                  </a:lnTo>
                  <a:lnTo>
                    <a:pt x="2738" y="15837"/>
                  </a:lnTo>
                  <a:lnTo>
                    <a:pt x="3490" y="16714"/>
                  </a:lnTo>
                  <a:lnTo>
                    <a:pt x="3828" y="16409"/>
                  </a:lnTo>
                  <a:lnTo>
                    <a:pt x="5007" y="15590"/>
                  </a:lnTo>
                  <a:lnTo>
                    <a:pt x="5463" y="15355"/>
                  </a:lnTo>
                  <a:lnTo>
                    <a:pt x="5463" y="14692"/>
                  </a:lnTo>
                  <a:lnTo>
                    <a:pt x="5957" y="14223"/>
                  </a:lnTo>
                  <a:lnTo>
                    <a:pt x="6794" y="13131"/>
                  </a:lnTo>
                  <a:lnTo>
                    <a:pt x="7060" y="12389"/>
                  </a:lnTo>
                  <a:lnTo>
                    <a:pt x="7669" y="11882"/>
                  </a:lnTo>
                  <a:lnTo>
                    <a:pt x="8278" y="11882"/>
                  </a:lnTo>
                  <a:lnTo>
                    <a:pt x="8734" y="12311"/>
                  </a:lnTo>
                  <a:lnTo>
                    <a:pt x="8962" y="11804"/>
                  </a:lnTo>
                  <a:lnTo>
                    <a:pt x="9685" y="11648"/>
                  </a:lnTo>
                  <a:lnTo>
                    <a:pt x="9722" y="12506"/>
                  </a:lnTo>
                  <a:lnTo>
                    <a:pt x="10597" y="13014"/>
                  </a:lnTo>
                  <a:lnTo>
                    <a:pt x="10825" y="13716"/>
                  </a:lnTo>
                  <a:lnTo>
                    <a:pt x="10483" y="14458"/>
                  </a:lnTo>
                  <a:lnTo>
                    <a:pt x="9456" y="16214"/>
                  </a:lnTo>
                  <a:lnTo>
                    <a:pt x="8734" y="16799"/>
                  </a:lnTo>
                  <a:lnTo>
                    <a:pt x="8467" y="17619"/>
                  </a:lnTo>
                  <a:lnTo>
                    <a:pt x="8011" y="17892"/>
                  </a:lnTo>
                  <a:lnTo>
                    <a:pt x="7935" y="18595"/>
                  </a:lnTo>
                  <a:lnTo>
                    <a:pt x="8658" y="18829"/>
                  </a:lnTo>
                  <a:lnTo>
                    <a:pt x="9380" y="18985"/>
                  </a:lnTo>
                  <a:lnTo>
                    <a:pt x="9418" y="19610"/>
                  </a:lnTo>
                  <a:lnTo>
                    <a:pt x="8506" y="20000"/>
                  </a:lnTo>
                  <a:cubicBezTo>
                    <a:pt x="8506" y="20000"/>
                    <a:pt x="8011" y="20351"/>
                    <a:pt x="7973" y="20507"/>
                  </a:cubicBezTo>
                  <a:cubicBezTo>
                    <a:pt x="7935" y="20663"/>
                    <a:pt x="8163" y="21600"/>
                    <a:pt x="8163" y="21600"/>
                  </a:cubicBezTo>
                  <a:lnTo>
                    <a:pt x="9152" y="21093"/>
                  </a:lnTo>
                  <a:lnTo>
                    <a:pt x="9913" y="20585"/>
                  </a:lnTo>
                  <a:lnTo>
                    <a:pt x="9951" y="19961"/>
                  </a:lnTo>
                  <a:lnTo>
                    <a:pt x="10483" y="20195"/>
                  </a:lnTo>
                  <a:lnTo>
                    <a:pt x="11016" y="19102"/>
                  </a:lnTo>
                  <a:lnTo>
                    <a:pt x="12727" y="17268"/>
                  </a:lnTo>
                  <a:lnTo>
                    <a:pt x="15237" y="15980"/>
                  </a:lnTo>
                  <a:lnTo>
                    <a:pt x="16872" y="15707"/>
                  </a:lnTo>
                  <a:lnTo>
                    <a:pt x="17594" y="15472"/>
                  </a:lnTo>
                  <a:lnTo>
                    <a:pt x="18089" y="14223"/>
                  </a:lnTo>
                  <a:lnTo>
                    <a:pt x="19192" y="12623"/>
                  </a:lnTo>
                  <a:lnTo>
                    <a:pt x="20599" y="11570"/>
                  </a:lnTo>
                  <a:lnTo>
                    <a:pt x="21403" y="10675"/>
                  </a:lnTo>
                  <a:lnTo>
                    <a:pt x="20789" y="10321"/>
                  </a:lnTo>
                  <a:cubicBezTo>
                    <a:pt x="20789" y="10321"/>
                    <a:pt x="21600" y="8864"/>
                    <a:pt x="21600" y="8864"/>
                  </a:cubicBezTo>
                  <a:close/>
                  <a:moveTo>
                    <a:pt x="21600" y="8864"/>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29" name="AutoShape 11"/>
            <p:cNvSpPr>
              <a:spLocks/>
            </p:cNvSpPr>
            <p:nvPr/>
          </p:nvSpPr>
          <p:spPr bwMode="auto">
            <a:xfrm>
              <a:off x="5422900" y="6934200"/>
              <a:ext cx="465138" cy="395288"/>
            </a:xfrm>
            <a:custGeom>
              <a:avLst/>
              <a:gdLst/>
              <a:ahLst/>
              <a:cxnLst/>
              <a:rect l="0" t="0" r="r" b="b"/>
              <a:pathLst>
                <a:path w="21600" h="21600">
                  <a:moveTo>
                    <a:pt x="1055" y="18141"/>
                  </a:moveTo>
                  <a:lnTo>
                    <a:pt x="4609" y="19773"/>
                  </a:lnTo>
                  <a:lnTo>
                    <a:pt x="6552" y="20295"/>
                  </a:lnTo>
                  <a:lnTo>
                    <a:pt x="8051" y="20621"/>
                  </a:lnTo>
                  <a:lnTo>
                    <a:pt x="8607" y="21600"/>
                  </a:lnTo>
                  <a:lnTo>
                    <a:pt x="9606" y="21600"/>
                  </a:lnTo>
                  <a:lnTo>
                    <a:pt x="10773" y="19870"/>
                  </a:lnTo>
                  <a:lnTo>
                    <a:pt x="12494" y="19446"/>
                  </a:lnTo>
                  <a:lnTo>
                    <a:pt x="13660" y="18793"/>
                  </a:lnTo>
                  <a:lnTo>
                    <a:pt x="14215" y="17358"/>
                  </a:lnTo>
                  <a:lnTo>
                    <a:pt x="15603" y="16445"/>
                  </a:lnTo>
                  <a:lnTo>
                    <a:pt x="17380" y="14813"/>
                  </a:lnTo>
                  <a:lnTo>
                    <a:pt x="17657" y="11746"/>
                  </a:lnTo>
                  <a:lnTo>
                    <a:pt x="18157" y="8875"/>
                  </a:lnTo>
                  <a:lnTo>
                    <a:pt x="19823" y="6656"/>
                  </a:lnTo>
                  <a:lnTo>
                    <a:pt x="21600" y="5481"/>
                  </a:lnTo>
                  <a:lnTo>
                    <a:pt x="21600" y="3524"/>
                  </a:lnTo>
                  <a:lnTo>
                    <a:pt x="20434" y="1631"/>
                  </a:lnTo>
                  <a:lnTo>
                    <a:pt x="18435" y="0"/>
                  </a:lnTo>
                  <a:lnTo>
                    <a:pt x="17325" y="979"/>
                  </a:lnTo>
                  <a:lnTo>
                    <a:pt x="15880" y="456"/>
                  </a:lnTo>
                  <a:lnTo>
                    <a:pt x="13160" y="914"/>
                  </a:lnTo>
                  <a:lnTo>
                    <a:pt x="12660" y="1631"/>
                  </a:lnTo>
                  <a:lnTo>
                    <a:pt x="9995" y="1175"/>
                  </a:lnTo>
                  <a:lnTo>
                    <a:pt x="8551" y="1697"/>
                  </a:lnTo>
                  <a:lnTo>
                    <a:pt x="7718" y="2872"/>
                  </a:lnTo>
                  <a:lnTo>
                    <a:pt x="6552" y="2349"/>
                  </a:lnTo>
                  <a:lnTo>
                    <a:pt x="5275" y="3459"/>
                  </a:lnTo>
                  <a:lnTo>
                    <a:pt x="5053" y="5221"/>
                  </a:lnTo>
                  <a:lnTo>
                    <a:pt x="4054" y="5742"/>
                  </a:lnTo>
                  <a:lnTo>
                    <a:pt x="1944" y="7439"/>
                  </a:lnTo>
                  <a:lnTo>
                    <a:pt x="388" y="8679"/>
                  </a:lnTo>
                  <a:lnTo>
                    <a:pt x="0" y="12333"/>
                  </a:lnTo>
                  <a:lnTo>
                    <a:pt x="444" y="14618"/>
                  </a:lnTo>
                  <a:cubicBezTo>
                    <a:pt x="444" y="14618"/>
                    <a:pt x="1055" y="18141"/>
                    <a:pt x="1055" y="18141"/>
                  </a:cubicBezTo>
                  <a:close/>
                  <a:moveTo>
                    <a:pt x="1055" y="18141"/>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0" name="AutoShape 12"/>
            <p:cNvSpPr>
              <a:spLocks/>
            </p:cNvSpPr>
            <p:nvPr/>
          </p:nvSpPr>
          <p:spPr bwMode="auto">
            <a:xfrm>
              <a:off x="3416300" y="5029200"/>
              <a:ext cx="1552575" cy="1624013"/>
            </a:xfrm>
            <a:custGeom>
              <a:avLst/>
              <a:gdLst/>
              <a:ahLst/>
              <a:cxnLst/>
              <a:rect l="0" t="0" r="r" b="b"/>
              <a:pathLst>
                <a:path w="21600" h="21600">
                  <a:moveTo>
                    <a:pt x="21600" y="16066"/>
                  </a:moveTo>
                  <a:lnTo>
                    <a:pt x="21600" y="15302"/>
                  </a:lnTo>
                  <a:lnTo>
                    <a:pt x="21600" y="14539"/>
                  </a:lnTo>
                  <a:lnTo>
                    <a:pt x="21134" y="14539"/>
                  </a:lnTo>
                  <a:lnTo>
                    <a:pt x="20136" y="14539"/>
                  </a:lnTo>
                  <a:lnTo>
                    <a:pt x="19471" y="14284"/>
                  </a:lnTo>
                  <a:lnTo>
                    <a:pt x="19072" y="13330"/>
                  </a:lnTo>
                  <a:lnTo>
                    <a:pt x="18406" y="13330"/>
                  </a:lnTo>
                  <a:lnTo>
                    <a:pt x="17807" y="13330"/>
                  </a:lnTo>
                  <a:lnTo>
                    <a:pt x="17807" y="12503"/>
                  </a:lnTo>
                  <a:lnTo>
                    <a:pt x="18473" y="11485"/>
                  </a:lnTo>
                  <a:lnTo>
                    <a:pt x="18340" y="11040"/>
                  </a:lnTo>
                  <a:lnTo>
                    <a:pt x="17475" y="10149"/>
                  </a:lnTo>
                  <a:lnTo>
                    <a:pt x="17940" y="8623"/>
                  </a:lnTo>
                  <a:lnTo>
                    <a:pt x="18273" y="8241"/>
                  </a:lnTo>
                  <a:lnTo>
                    <a:pt x="17807" y="7414"/>
                  </a:lnTo>
                  <a:lnTo>
                    <a:pt x="16876" y="7923"/>
                  </a:lnTo>
                  <a:lnTo>
                    <a:pt x="16077" y="7923"/>
                  </a:lnTo>
                  <a:lnTo>
                    <a:pt x="16210" y="6651"/>
                  </a:lnTo>
                  <a:lnTo>
                    <a:pt x="15878" y="6205"/>
                  </a:lnTo>
                  <a:lnTo>
                    <a:pt x="16876" y="5378"/>
                  </a:lnTo>
                  <a:lnTo>
                    <a:pt x="17475" y="5824"/>
                  </a:lnTo>
                  <a:lnTo>
                    <a:pt x="17741" y="5378"/>
                  </a:lnTo>
                  <a:lnTo>
                    <a:pt x="18340" y="5824"/>
                  </a:lnTo>
                  <a:lnTo>
                    <a:pt x="19504" y="5728"/>
                  </a:lnTo>
                  <a:lnTo>
                    <a:pt x="20136" y="5187"/>
                  </a:lnTo>
                  <a:lnTo>
                    <a:pt x="20136" y="3875"/>
                  </a:lnTo>
                  <a:lnTo>
                    <a:pt x="19803" y="3343"/>
                  </a:lnTo>
                  <a:lnTo>
                    <a:pt x="19005" y="4297"/>
                  </a:lnTo>
                  <a:lnTo>
                    <a:pt x="17940" y="3875"/>
                  </a:lnTo>
                  <a:lnTo>
                    <a:pt x="17940" y="3152"/>
                  </a:lnTo>
                  <a:lnTo>
                    <a:pt x="17608" y="2834"/>
                  </a:lnTo>
                  <a:lnTo>
                    <a:pt x="17608" y="2516"/>
                  </a:lnTo>
                  <a:lnTo>
                    <a:pt x="17940" y="2134"/>
                  </a:lnTo>
                  <a:lnTo>
                    <a:pt x="17242" y="1913"/>
                  </a:lnTo>
                  <a:lnTo>
                    <a:pt x="16532" y="2216"/>
                  </a:lnTo>
                  <a:lnTo>
                    <a:pt x="16718" y="2707"/>
                  </a:lnTo>
                  <a:lnTo>
                    <a:pt x="16477" y="3025"/>
                  </a:lnTo>
                  <a:lnTo>
                    <a:pt x="15811" y="3343"/>
                  </a:lnTo>
                  <a:lnTo>
                    <a:pt x="15811" y="3875"/>
                  </a:lnTo>
                  <a:lnTo>
                    <a:pt x="14946" y="5315"/>
                  </a:lnTo>
                  <a:lnTo>
                    <a:pt x="14347" y="5315"/>
                  </a:lnTo>
                  <a:lnTo>
                    <a:pt x="14347" y="6778"/>
                  </a:lnTo>
                  <a:lnTo>
                    <a:pt x="14347" y="7987"/>
                  </a:lnTo>
                  <a:lnTo>
                    <a:pt x="13283" y="8368"/>
                  </a:lnTo>
                  <a:lnTo>
                    <a:pt x="13283" y="7859"/>
                  </a:lnTo>
                  <a:lnTo>
                    <a:pt x="12152" y="8623"/>
                  </a:lnTo>
                  <a:lnTo>
                    <a:pt x="11353" y="8623"/>
                  </a:lnTo>
                  <a:lnTo>
                    <a:pt x="10754" y="7350"/>
                  </a:lnTo>
                  <a:lnTo>
                    <a:pt x="10754" y="6651"/>
                  </a:lnTo>
                  <a:lnTo>
                    <a:pt x="9091" y="3470"/>
                  </a:lnTo>
                  <a:lnTo>
                    <a:pt x="8026" y="3875"/>
                  </a:lnTo>
                  <a:lnTo>
                    <a:pt x="7361" y="2834"/>
                  </a:lnTo>
                  <a:lnTo>
                    <a:pt x="8026" y="2452"/>
                  </a:lnTo>
                  <a:lnTo>
                    <a:pt x="7560" y="1816"/>
                  </a:lnTo>
                  <a:lnTo>
                    <a:pt x="6829" y="925"/>
                  </a:lnTo>
                  <a:lnTo>
                    <a:pt x="5964" y="1371"/>
                  </a:lnTo>
                  <a:lnTo>
                    <a:pt x="5964" y="2452"/>
                  </a:lnTo>
                  <a:lnTo>
                    <a:pt x="5498" y="1880"/>
                  </a:lnTo>
                  <a:lnTo>
                    <a:pt x="5367" y="0"/>
                  </a:lnTo>
                  <a:lnTo>
                    <a:pt x="4899" y="671"/>
                  </a:lnTo>
                  <a:lnTo>
                    <a:pt x="4367" y="353"/>
                  </a:lnTo>
                  <a:lnTo>
                    <a:pt x="4367" y="2102"/>
                  </a:lnTo>
                  <a:lnTo>
                    <a:pt x="3302" y="2389"/>
                  </a:lnTo>
                  <a:lnTo>
                    <a:pt x="3302" y="1625"/>
                  </a:lnTo>
                  <a:lnTo>
                    <a:pt x="2813" y="2165"/>
                  </a:lnTo>
                  <a:lnTo>
                    <a:pt x="2845" y="2206"/>
                  </a:lnTo>
                  <a:lnTo>
                    <a:pt x="2969" y="2707"/>
                  </a:lnTo>
                  <a:lnTo>
                    <a:pt x="2969" y="3518"/>
                  </a:lnTo>
                  <a:lnTo>
                    <a:pt x="3094" y="3637"/>
                  </a:lnTo>
                  <a:lnTo>
                    <a:pt x="3244" y="4066"/>
                  </a:lnTo>
                  <a:lnTo>
                    <a:pt x="3543" y="3852"/>
                  </a:lnTo>
                  <a:lnTo>
                    <a:pt x="3917" y="3947"/>
                  </a:lnTo>
                  <a:lnTo>
                    <a:pt x="4092" y="4400"/>
                  </a:lnTo>
                  <a:lnTo>
                    <a:pt x="3917" y="4973"/>
                  </a:lnTo>
                  <a:lnTo>
                    <a:pt x="3917" y="5689"/>
                  </a:lnTo>
                  <a:lnTo>
                    <a:pt x="3843" y="6881"/>
                  </a:lnTo>
                  <a:lnTo>
                    <a:pt x="3493" y="7597"/>
                  </a:lnTo>
                  <a:lnTo>
                    <a:pt x="3244" y="7764"/>
                  </a:lnTo>
                  <a:lnTo>
                    <a:pt x="3344" y="8050"/>
                  </a:lnTo>
                  <a:lnTo>
                    <a:pt x="3493" y="8384"/>
                  </a:lnTo>
                  <a:lnTo>
                    <a:pt x="2994" y="8384"/>
                  </a:lnTo>
                  <a:lnTo>
                    <a:pt x="2820" y="8599"/>
                  </a:lnTo>
                  <a:lnTo>
                    <a:pt x="2770" y="9004"/>
                  </a:lnTo>
                  <a:lnTo>
                    <a:pt x="2495" y="9004"/>
                  </a:lnTo>
                  <a:lnTo>
                    <a:pt x="2345" y="8790"/>
                  </a:lnTo>
                  <a:lnTo>
                    <a:pt x="2096" y="9124"/>
                  </a:lnTo>
                  <a:lnTo>
                    <a:pt x="1772" y="9601"/>
                  </a:lnTo>
                  <a:lnTo>
                    <a:pt x="1148" y="9791"/>
                  </a:lnTo>
                  <a:lnTo>
                    <a:pt x="848" y="10030"/>
                  </a:lnTo>
                  <a:lnTo>
                    <a:pt x="848" y="10722"/>
                  </a:lnTo>
                  <a:lnTo>
                    <a:pt x="324" y="11008"/>
                  </a:lnTo>
                  <a:lnTo>
                    <a:pt x="299" y="11462"/>
                  </a:lnTo>
                  <a:lnTo>
                    <a:pt x="75" y="11986"/>
                  </a:lnTo>
                  <a:lnTo>
                    <a:pt x="549" y="11986"/>
                  </a:lnTo>
                  <a:lnTo>
                    <a:pt x="574" y="12297"/>
                  </a:lnTo>
                  <a:lnTo>
                    <a:pt x="549" y="12630"/>
                  </a:lnTo>
                  <a:lnTo>
                    <a:pt x="0" y="13012"/>
                  </a:lnTo>
                  <a:lnTo>
                    <a:pt x="175" y="13370"/>
                  </a:lnTo>
                  <a:lnTo>
                    <a:pt x="549" y="13370"/>
                  </a:lnTo>
                  <a:lnTo>
                    <a:pt x="1372" y="13060"/>
                  </a:lnTo>
                  <a:lnTo>
                    <a:pt x="1996" y="12988"/>
                  </a:lnTo>
                  <a:lnTo>
                    <a:pt x="3468" y="12917"/>
                  </a:lnTo>
                  <a:lnTo>
                    <a:pt x="3418" y="13155"/>
                  </a:lnTo>
                  <a:lnTo>
                    <a:pt x="2969" y="13370"/>
                  </a:lnTo>
                  <a:lnTo>
                    <a:pt x="2845" y="13823"/>
                  </a:lnTo>
                  <a:lnTo>
                    <a:pt x="3119" y="14038"/>
                  </a:lnTo>
                  <a:lnTo>
                    <a:pt x="3219" y="14396"/>
                  </a:lnTo>
                  <a:lnTo>
                    <a:pt x="2994" y="14563"/>
                  </a:lnTo>
                  <a:lnTo>
                    <a:pt x="3219" y="14801"/>
                  </a:lnTo>
                  <a:lnTo>
                    <a:pt x="3269" y="15541"/>
                  </a:lnTo>
                  <a:lnTo>
                    <a:pt x="3718" y="15875"/>
                  </a:lnTo>
                  <a:lnTo>
                    <a:pt x="4441" y="15875"/>
                  </a:lnTo>
                  <a:lnTo>
                    <a:pt x="4766" y="16113"/>
                  </a:lnTo>
                  <a:lnTo>
                    <a:pt x="4766" y="16304"/>
                  </a:lnTo>
                  <a:lnTo>
                    <a:pt x="4117" y="16638"/>
                  </a:lnTo>
                  <a:lnTo>
                    <a:pt x="4117" y="17497"/>
                  </a:lnTo>
                  <a:lnTo>
                    <a:pt x="3668" y="17950"/>
                  </a:lnTo>
                  <a:lnTo>
                    <a:pt x="3568" y="18356"/>
                  </a:lnTo>
                  <a:lnTo>
                    <a:pt x="3917" y="18618"/>
                  </a:lnTo>
                  <a:lnTo>
                    <a:pt x="4766" y="18618"/>
                  </a:lnTo>
                  <a:lnTo>
                    <a:pt x="4940" y="18761"/>
                  </a:lnTo>
                  <a:lnTo>
                    <a:pt x="5539" y="18761"/>
                  </a:lnTo>
                  <a:lnTo>
                    <a:pt x="5415" y="19191"/>
                  </a:lnTo>
                  <a:lnTo>
                    <a:pt x="5390" y="19620"/>
                  </a:lnTo>
                  <a:lnTo>
                    <a:pt x="5864" y="19859"/>
                  </a:lnTo>
                  <a:lnTo>
                    <a:pt x="5864" y="20455"/>
                  </a:lnTo>
                  <a:lnTo>
                    <a:pt x="6737" y="20455"/>
                  </a:lnTo>
                  <a:lnTo>
                    <a:pt x="6912" y="20622"/>
                  </a:lnTo>
                  <a:lnTo>
                    <a:pt x="7610" y="20407"/>
                  </a:lnTo>
                  <a:lnTo>
                    <a:pt x="7985" y="20073"/>
                  </a:lnTo>
                  <a:lnTo>
                    <a:pt x="8534" y="20002"/>
                  </a:lnTo>
                  <a:lnTo>
                    <a:pt x="8534" y="20527"/>
                  </a:lnTo>
                  <a:lnTo>
                    <a:pt x="8409" y="20908"/>
                  </a:lnTo>
                  <a:lnTo>
                    <a:pt x="8683" y="21266"/>
                  </a:lnTo>
                  <a:lnTo>
                    <a:pt x="9532" y="21409"/>
                  </a:lnTo>
                  <a:lnTo>
                    <a:pt x="9756" y="21600"/>
                  </a:lnTo>
                  <a:lnTo>
                    <a:pt x="10355" y="21433"/>
                  </a:lnTo>
                  <a:lnTo>
                    <a:pt x="10105" y="21027"/>
                  </a:lnTo>
                  <a:lnTo>
                    <a:pt x="10130" y="20503"/>
                  </a:lnTo>
                  <a:lnTo>
                    <a:pt x="10355" y="20216"/>
                  </a:lnTo>
                  <a:lnTo>
                    <a:pt x="10230" y="19620"/>
                  </a:lnTo>
                  <a:lnTo>
                    <a:pt x="9806" y="18904"/>
                  </a:lnTo>
                  <a:lnTo>
                    <a:pt x="9981" y="18427"/>
                  </a:lnTo>
                  <a:lnTo>
                    <a:pt x="10180" y="18093"/>
                  </a:lnTo>
                  <a:lnTo>
                    <a:pt x="10555" y="18260"/>
                  </a:lnTo>
                  <a:lnTo>
                    <a:pt x="11628" y="18356"/>
                  </a:lnTo>
                  <a:lnTo>
                    <a:pt x="12226" y="17497"/>
                  </a:lnTo>
                  <a:lnTo>
                    <a:pt x="12825" y="17831"/>
                  </a:lnTo>
                  <a:lnTo>
                    <a:pt x="13324" y="18475"/>
                  </a:lnTo>
                  <a:lnTo>
                    <a:pt x="13749" y="18451"/>
                  </a:lnTo>
                  <a:lnTo>
                    <a:pt x="14098" y="17974"/>
                  </a:lnTo>
                  <a:lnTo>
                    <a:pt x="14622" y="17640"/>
                  </a:lnTo>
                  <a:lnTo>
                    <a:pt x="14921" y="18165"/>
                  </a:lnTo>
                  <a:lnTo>
                    <a:pt x="15345" y="17592"/>
                  </a:lnTo>
                  <a:lnTo>
                    <a:pt x="15545" y="17998"/>
                  </a:lnTo>
                  <a:lnTo>
                    <a:pt x="15819" y="18260"/>
                  </a:lnTo>
                  <a:lnTo>
                    <a:pt x="16119" y="18165"/>
                  </a:lnTo>
                  <a:lnTo>
                    <a:pt x="16643" y="17616"/>
                  </a:lnTo>
                  <a:lnTo>
                    <a:pt x="16917" y="17950"/>
                  </a:lnTo>
                  <a:lnTo>
                    <a:pt x="17317" y="18022"/>
                  </a:lnTo>
                  <a:lnTo>
                    <a:pt x="17491" y="17664"/>
                  </a:lnTo>
                  <a:lnTo>
                    <a:pt x="18140" y="17616"/>
                  </a:lnTo>
                  <a:lnTo>
                    <a:pt x="18340" y="16948"/>
                  </a:lnTo>
                  <a:lnTo>
                    <a:pt x="18864" y="16614"/>
                  </a:lnTo>
                  <a:lnTo>
                    <a:pt x="19462" y="16423"/>
                  </a:lnTo>
                  <a:lnTo>
                    <a:pt x="19912" y="16686"/>
                  </a:lnTo>
                  <a:lnTo>
                    <a:pt x="20009" y="16841"/>
                  </a:lnTo>
                  <a:lnTo>
                    <a:pt x="20735" y="16066"/>
                  </a:lnTo>
                  <a:cubicBezTo>
                    <a:pt x="20735" y="16066"/>
                    <a:pt x="21600" y="16066"/>
                    <a:pt x="21600" y="16066"/>
                  </a:cubicBezTo>
                  <a:close/>
                  <a:moveTo>
                    <a:pt x="21600" y="16066"/>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1" name="AutoShape 13"/>
            <p:cNvSpPr>
              <a:spLocks/>
            </p:cNvSpPr>
            <p:nvPr/>
          </p:nvSpPr>
          <p:spPr bwMode="auto">
            <a:xfrm>
              <a:off x="6718300" y="2921000"/>
              <a:ext cx="71438" cy="87313"/>
            </a:xfrm>
            <a:custGeom>
              <a:avLst/>
              <a:gdLst/>
              <a:ahLst/>
              <a:cxnLst/>
              <a:rect l="0" t="0" r="r" b="b"/>
              <a:pathLst>
                <a:path w="21600" h="21600">
                  <a:moveTo>
                    <a:pt x="0" y="5254"/>
                  </a:moveTo>
                  <a:lnTo>
                    <a:pt x="0" y="9343"/>
                  </a:lnTo>
                  <a:lnTo>
                    <a:pt x="11162" y="12260"/>
                  </a:lnTo>
                  <a:lnTo>
                    <a:pt x="8640" y="21600"/>
                  </a:lnTo>
                  <a:lnTo>
                    <a:pt x="21600" y="19849"/>
                  </a:lnTo>
                  <a:lnTo>
                    <a:pt x="20876" y="8173"/>
                  </a:lnTo>
                  <a:lnTo>
                    <a:pt x="17519" y="0"/>
                  </a:lnTo>
                  <a:lnTo>
                    <a:pt x="3596" y="0"/>
                  </a:lnTo>
                  <a:cubicBezTo>
                    <a:pt x="3596" y="0"/>
                    <a:pt x="0" y="5254"/>
                    <a:pt x="0" y="5254"/>
                  </a:cubicBezTo>
                  <a:close/>
                  <a:moveTo>
                    <a:pt x="0" y="5254"/>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2" name="AutoShape 14"/>
            <p:cNvSpPr>
              <a:spLocks/>
            </p:cNvSpPr>
            <p:nvPr/>
          </p:nvSpPr>
          <p:spPr bwMode="auto">
            <a:xfrm>
              <a:off x="6475413" y="3276600"/>
              <a:ext cx="1208087" cy="746125"/>
            </a:xfrm>
            <a:custGeom>
              <a:avLst/>
              <a:gdLst/>
              <a:ahLst/>
              <a:cxnLst/>
              <a:rect l="0" t="0" r="r" b="b"/>
              <a:pathLst>
                <a:path w="21600" h="21600">
                  <a:moveTo>
                    <a:pt x="6789" y="1596"/>
                  </a:moveTo>
                  <a:lnTo>
                    <a:pt x="6789" y="2427"/>
                  </a:lnTo>
                  <a:lnTo>
                    <a:pt x="5483" y="2427"/>
                  </a:lnTo>
                  <a:lnTo>
                    <a:pt x="4840" y="2738"/>
                  </a:lnTo>
                  <a:lnTo>
                    <a:pt x="4584" y="3880"/>
                  </a:lnTo>
                  <a:lnTo>
                    <a:pt x="4198" y="4503"/>
                  </a:lnTo>
                  <a:lnTo>
                    <a:pt x="3769" y="4503"/>
                  </a:lnTo>
                  <a:lnTo>
                    <a:pt x="3555" y="5392"/>
                  </a:lnTo>
                  <a:lnTo>
                    <a:pt x="2955" y="5392"/>
                  </a:lnTo>
                  <a:lnTo>
                    <a:pt x="2613" y="6718"/>
                  </a:lnTo>
                  <a:lnTo>
                    <a:pt x="2227" y="8449"/>
                  </a:lnTo>
                  <a:lnTo>
                    <a:pt x="1499" y="9003"/>
                  </a:lnTo>
                  <a:lnTo>
                    <a:pt x="985" y="10110"/>
                  </a:lnTo>
                  <a:lnTo>
                    <a:pt x="1199" y="11356"/>
                  </a:lnTo>
                  <a:lnTo>
                    <a:pt x="1456" y="12533"/>
                  </a:lnTo>
                  <a:lnTo>
                    <a:pt x="1499" y="13501"/>
                  </a:lnTo>
                  <a:lnTo>
                    <a:pt x="1328" y="14124"/>
                  </a:lnTo>
                  <a:lnTo>
                    <a:pt x="2184" y="14124"/>
                  </a:lnTo>
                  <a:lnTo>
                    <a:pt x="3344" y="12671"/>
                  </a:lnTo>
                  <a:lnTo>
                    <a:pt x="3344" y="13156"/>
                  </a:lnTo>
                  <a:lnTo>
                    <a:pt x="2742" y="14124"/>
                  </a:lnTo>
                  <a:lnTo>
                    <a:pt x="1542" y="15301"/>
                  </a:lnTo>
                  <a:lnTo>
                    <a:pt x="1413" y="16132"/>
                  </a:lnTo>
                  <a:lnTo>
                    <a:pt x="557" y="17170"/>
                  </a:lnTo>
                  <a:lnTo>
                    <a:pt x="0" y="18139"/>
                  </a:lnTo>
                  <a:lnTo>
                    <a:pt x="0" y="19178"/>
                  </a:lnTo>
                  <a:lnTo>
                    <a:pt x="985" y="19178"/>
                  </a:lnTo>
                  <a:lnTo>
                    <a:pt x="1756" y="20284"/>
                  </a:lnTo>
                  <a:lnTo>
                    <a:pt x="1927" y="21323"/>
                  </a:lnTo>
                  <a:lnTo>
                    <a:pt x="2955" y="21323"/>
                  </a:lnTo>
                  <a:lnTo>
                    <a:pt x="3925" y="21600"/>
                  </a:lnTo>
                  <a:lnTo>
                    <a:pt x="4412" y="21046"/>
                  </a:lnTo>
                  <a:lnTo>
                    <a:pt x="4669" y="19454"/>
                  </a:lnTo>
                  <a:lnTo>
                    <a:pt x="5740" y="19316"/>
                  </a:lnTo>
                  <a:lnTo>
                    <a:pt x="6131" y="19662"/>
                  </a:lnTo>
                  <a:lnTo>
                    <a:pt x="6682" y="20354"/>
                  </a:lnTo>
                  <a:lnTo>
                    <a:pt x="7154" y="21600"/>
                  </a:lnTo>
                  <a:lnTo>
                    <a:pt x="7539" y="21115"/>
                  </a:lnTo>
                  <a:lnTo>
                    <a:pt x="7850" y="21600"/>
                  </a:lnTo>
                  <a:lnTo>
                    <a:pt x="8439" y="20700"/>
                  </a:lnTo>
                  <a:lnTo>
                    <a:pt x="9381" y="20146"/>
                  </a:lnTo>
                  <a:lnTo>
                    <a:pt x="9724" y="21600"/>
                  </a:lnTo>
                  <a:lnTo>
                    <a:pt x="10409" y="21600"/>
                  </a:lnTo>
                  <a:lnTo>
                    <a:pt x="10409" y="20284"/>
                  </a:lnTo>
                  <a:lnTo>
                    <a:pt x="11266" y="20008"/>
                  </a:lnTo>
                  <a:lnTo>
                    <a:pt x="11608" y="18485"/>
                  </a:lnTo>
                  <a:lnTo>
                    <a:pt x="11908" y="17585"/>
                  </a:lnTo>
                  <a:lnTo>
                    <a:pt x="12963" y="17366"/>
                  </a:lnTo>
                  <a:lnTo>
                    <a:pt x="13183" y="17170"/>
                  </a:lnTo>
                  <a:lnTo>
                    <a:pt x="13761" y="14574"/>
                  </a:lnTo>
                  <a:lnTo>
                    <a:pt x="14500" y="13951"/>
                  </a:lnTo>
                  <a:lnTo>
                    <a:pt x="14725" y="12809"/>
                  </a:lnTo>
                  <a:lnTo>
                    <a:pt x="15335" y="11875"/>
                  </a:lnTo>
                  <a:lnTo>
                    <a:pt x="14821" y="11096"/>
                  </a:lnTo>
                  <a:lnTo>
                    <a:pt x="15175" y="10317"/>
                  </a:lnTo>
                  <a:lnTo>
                    <a:pt x="15399" y="11304"/>
                  </a:lnTo>
                  <a:lnTo>
                    <a:pt x="16170" y="11096"/>
                  </a:lnTo>
                  <a:lnTo>
                    <a:pt x="16427" y="10369"/>
                  </a:lnTo>
                  <a:lnTo>
                    <a:pt x="16331" y="8968"/>
                  </a:lnTo>
                  <a:lnTo>
                    <a:pt x="16652" y="8864"/>
                  </a:lnTo>
                  <a:lnTo>
                    <a:pt x="16941" y="9072"/>
                  </a:lnTo>
                  <a:lnTo>
                    <a:pt x="17102" y="8137"/>
                  </a:lnTo>
                  <a:lnTo>
                    <a:pt x="18002" y="7203"/>
                  </a:lnTo>
                  <a:lnTo>
                    <a:pt x="18676" y="7151"/>
                  </a:lnTo>
                  <a:lnTo>
                    <a:pt x="19287" y="5905"/>
                  </a:lnTo>
                  <a:lnTo>
                    <a:pt x="20122" y="5697"/>
                  </a:lnTo>
                  <a:lnTo>
                    <a:pt x="20540" y="6113"/>
                  </a:lnTo>
                  <a:lnTo>
                    <a:pt x="21247" y="5074"/>
                  </a:lnTo>
                  <a:lnTo>
                    <a:pt x="20957" y="4399"/>
                  </a:lnTo>
                  <a:lnTo>
                    <a:pt x="21247" y="3880"/>
                  </a:lnTo>
                  <a:lnTo>
                    <a:pt x="21279" y="2998"/>
                  </a:lnTo>
                  <a:lnTo>
                    <a:pt x="21600" y="2375"/>
                  </a:lnTo>
                  <a:lnTo>
                    <a:pt x="21022" y="2375"/>
                  </a:lnTo>
                  <a:lnTo>
                    <a:pt x="20572" y="2738"/>
                  </a:lnTo>
                  <a:lnTo>
                    <a:pt x="19801" y="1752"/>
                  </a:lnTo>
                  <a:lnTo>
                    <a:pt x="19512" y="1960"/>
                  </a:lnTo>
                  <a:lnTo>
                    <a:pt x="18965" y="2479"/>
                  </a:lnTo>
                  <a:lnTo>
                    <a:pt x="18130" y="2531"/>
                  </a:lnTo>
                  <a:lnTo>
                    <a:pt x="17809" y="1804"/>
                  </a:lnTo>
                  <a:lnTo>
                    <a:pt x="17198" y="2323"/>
                  </a:lnTo>
                  <a:lnTo>
                    <a:pt x="16941" y="1648"/>
                  </a:lnTo>
                  <a:lnTo>
                    <a:pt x="16524" y="1129"/>
                  </a:lnTo>
                  <a:lnTo>
                    <a:pt x="15978" y="714"/>
                  </a:lnTo>
                  <a:lnTo>
                    <a:pt x="15464" y="39"/>
                  </a:lnTo>
                  <a:lnTo>
                    <a:pt x="15335" y="610"/>
                  </a:lnTo>
                  <a:lnTo>
                    <a:pt x="15560" y="1077"/>
                  </a:lnTo>
                  <a:lnTo>
                    <a:pt x="14468" y="2115"/>
                  </a:lnTo>
                  <a:lnTo>
                    <a:pt x="14468" y="2894"/>
                  </a:lnTo>
                  <a:lnTo>
                    <a:pt x="13697" y="3984"/>
                  </a:lnTo>
                  <a:lnTo>
                    <a:pt x="13697" y="4711"/>
                  </a:lnTo>
                  <a:lnTo>
                    <a:pt x="13118" y="5392"/>
                  </a:lnTo>
                  <a:lnTo>
                    <a:pt x="12122" y="5957"/>
                  </a:lnTo>
                  <a:lnTo>
                    <a:pt x="11255" y="5392"/>
                  </a:lnTo>
                  <a:lnTo>
                    <a:pt x="10613" y="4659"/>
                  </a:lnTo>
                  <a:lnTo>
                    <a:pt x="11062" y="3880"/>
                  </a:lnTo>
                  <a:lnTo>
                    <a:pt x="11191" y="3102"/>
                  </a:lnTo>
                  <a:lnTo>
                    <a:pt x="11576" y="2531"/>
                  </a:lnTo>
                  <a:lnTo>
                    <a:pt x="10998" y="1908"/>
                  </a:lnTo>
                  <a:lnTo>
                    <a:pt x="10998" y="1077"/>
                  </a:lnTo>
                  <a:lnTo>
                    <a:pt x="10420" y="143"/>
                  </a:lnTo>
                  <a:lnTo>
                    <a:pt x="9874" y="1077"/>
                  </a:lnTo>
                  <a:lnTo>
                    <a:pt x="9424" y="870"/>
                  </a:lnTo>
                  <a:lnTo>
                    <a:pt x="8685" y="921"/>
                  </a:lnTo>
                  <a:lnTo>
                    <a:pt x="8396" y="1389"/>
                  </a:lnTo>
                  <a:lnTo>
                    <a:pt x="8043" y="558"/>
                  </a:lnTo>
                  <a:lnTo>
                    <a:pt x="7697" y="0"/>
                  </a:lnTo>
                  <a:lnTo>
                    <a:pt x="7496" y="766"/>
                  </a:lnTo>
                  <a:cubicBezTo>
                    <a:pt x="7496" y="766"/>
                    <a:pt x="6789" y="1596"/>
                    <a:pt x="6789" y="1596"/>
                  </a:cubicBezTo>
                  <a:close/>
                  <a:moveTo>
                    <a:pt x="6789" y="1596"/>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3" name="AutoShape 15"/>
            <p:cNvSpPr>
              <a:spLocks/>
            </p:cNvSpPr>
            <p:nvPr/>
          </p:nvSpPr>
          <p:spPr bwMode="auto">
            <a:xfrm>
              <a:off x="6235700" y="2400300"/>
              <a:ext cx="955675" cy="1317625"/>
            </a:xfrm>
            <a:custGeom>
              <a:avLst/>
              <a:gdLst/>
              <a:ahLst/>
              <a:cxnLst/>
              <a:rect l="0" t="0" r="r" b="b"/>
              <a:pathLst>
                <a:path w="21600" h="21600">
                  <a:moveTo>
                    <a:pt x="2377" y="8045"/>
                  </a:moveTo>
                  <a:lnTo>
                    <a:pt x="3241" y="8045"/>
                  </a:lnTo>
                  <a:lnTo>
                    <a:pt x="2269" y="8506"/>
                  </a:lnTo>
                  <a:lnTo>
                    <a:pt x="1297" y="8702"/>
                  </a:lnTo>
                  <a:lnTo>
                    <a:pt x="1297" y="9231"/>
                  </a:lnTo>
                  <a:lnTo>
                    <a:pt x="2053" y="9486"/>
                  </a:lnTo>
                  <a:lnTo>
                    <a:pt x="2809" y="9682"/>
                  </a:lnTo>
                  <a:lnTo>
                    <a:pt x="2863" y="10152"/>
                  </a:lnTo>
                  <a:lnTo>
                    <a:pt x="3511" y="10740"/>
                  </a:lnTo>
                  <a:lnTo>
                    <a:pt x="3187" y="11171"/>
                  </a:lnTo>
                  <a:lnTo>
                    <a:pt x="3187" y="11789"/>
                  </a:lnTo>
                  <a:lnTo>
                    <a:pt x="2404" y="12112"/>
                  </a:lnTo>
                  <a:lnTo>
                    <a:pt x="1783" y="12112"/>
                  </a:lnTo>
                  <a:lnTo>
                    <a:pt x="1027" y="12582"/>
                  </a:lnTo>
                  <a:lnTo>
                    <a:pt x="1027" y="12975"/>
                  </a:lnTo>
                  <a:lnTo>
                    <a:pt x="1027" y="13366"/>
                  </a:lnTo>
                  <a:lnTo>
                    <a:pt x="540" y="13562"/>
                  </a:lnTo>
                  <a:lnTo>
                    <a:pt x="0" y="14266"/>
                  </a:lnTo>
                  <a:lnTo>
                    <a:pt x="0" y="14817"/>
                  </a:lnTo>
                  <a:lnTo>
                    <a:pt x="648" y="15091"/>
                  </a:lnTo>
                  <a:lnTo>
                    <a:pt x="1242" y="15522"/>
                  </a:lnTo>
                  <a:lnTo>
                    <a:pt x="1755" y="16110"/>
                  </a:lnTo>
                  <a:lnTo>
                    <a:pt x="2323" y="16777"/>
                  </a:lnTo>
                  <a:lnTo>
                    <a:pt x="1755" y="17796"/>
                  </a:lnTo>
                  <a:lnTo>
                    <a:pt x="1027" y="18776"/>
                  </a:lnTo>
                  <a:lnTo>
                    <a:pt x="810" y="19599"/>
                  </a:lnTo>
                  <a:lnTo>
                    <a:pt x="0" y="19912"/>
                  </a:lnTo>
                  <a:lnTo>
                    <a:pt x="810" y="20853"/>
                  </a:lnTo>
                  <a:lnTo>
                    <a:pt x="2539" y="21324"/>
                  </a:lnTo>
                  <a:lnTo>
                    <a:pt x="4052" y="21559"/>
                  </a:lnTo>
                  <a:lnTo>
                    <a:pt x="4916" y="21559"/>
                  </a:lnTo>
                  <a:lnTo>
                    <a:pt x="5889" y="21559"/>
                  </a:lnTo>
                  <a:lnTo>
                    <a:pt x="6321" y="21402"/>
                  </a:lnTo>
                  <a:lnTo>
                    <a:pt x="7023" y="21402"/>
                  </a:lnTo>
                  <a:lnTo>
                    <a:pt x="7478" y="21600"/>
                  </a:lnTo>
                  <a:lnTo>
                    <a:pt x="7455" y="21363"/>
                  </a:lnTo>
                  <a:lnTo>
                    <a:pt x="7131" y="20696"/>
                  </a:lnTo>
                  <a:lnTo>
                    <a:pt x="6861" y="19991"/>
                  </a:lnTo>
                  <a:lnTo>
                    <a:pt x="7509" y="19364"/>
                  </a:lnTo>
                  <a:lnTo>
                    <a:pt x="8428" y="19050"/>
                  </a:lnTo>
                  <a:lnTo>
                    <a:pt x="8914" y="18070"/>
                  </a:lnTo>
                  <a:lnTo>
                    <a:pt x="9346" y="17319"/>
                  </a:lnTo>
                  <a:lnTo>
                    <a:pt x="10102" y="17319"/>
                  </a:lnTo>
                  <a:lnTo>
                    <a:pt x="10372" y="16816"/>
                  </a:lnTo>
                  <a:lnTo>
                    <a:pt x="10913" y="16816"/>
                  </a:lnTo>
                  <a:lnTo>
                    <a:pt x="11399" y="16463"/>
                  </a:lnTo>
                  <a:lnTo>
                    <a:pt x="11723" y="15816"/>
                  </a:lnTo>
                  <a:lnTo>
                    <a:pt x="12533" y="15640"/>
                  </a:lnTo>
                  <a:lnTo>
                    <a:pt x="14181" y="15640"/>
                  </a:lnTo>
                  <a:lnTo>
                    <a:pt x="14181" y="15169"/>
                  </a:lnTo>
                  <a:lnTo>
                    <a:pt x="15072" y="14699"/>
                  </a:lnTo>
                  <a:lnTo>
                    <a:pt x="15326" y="14266"/>
                  </a:lnTo>
                  <a:lnTo>
                    <a:pt x="15194" y="14170"/>
                  </a:lnTo>
                  <a:lnTo>
                    <a:pt x="15072" y="13729"/>
                  </a:lnTo>
                  <a:lnTo>
                    <a:pt x="14383" y="13200"/>
                  </a:lnTo>
                  <a:lnTo>
                    <a:pt x="14382" y="13184"/>
                  </a:lnTo>
                  <a:lnTo>
                    <a:pt x="13830" y="13249"/>
                  </a:lnTo>
                  <a:lnTo>
                    <a:pt x="12803" y="13249"/>
                  </a:lnTo>
                  <a:lnTo>
                    <a:pt x="11831" y="12974"/>
                  </a:lnTo>
                  <a:lnTo>
                    <a:pt x="11182" y="12504"/>
                  </a:lnTo>
                  <a:lnTo>
                    <a:pt x="11182" y="11789"/>
                  </a:lnTo>
                  <a:lnTo>
                    <a:pt x="11939" y="11563"/>
                  </a:lnTo>
                  <a:lnTo>
                    <a:pt x="11561" y="10975"/>
                  </a:lnTo>
                  <a:lnTo>
                    <a:pt x="11561" y="10438"/>
                  </a:lnTo>
                  <a:lnTo>
                    <a:pt x="10913" y="10250"/>
                  </a:lnTo>
                  <a:lnTo>
                    <a:pt x="10373" y="10289"/>
                  </a:lnTo>
                  <a:lnTo>
                    <a:pt x="9994" y="10740"/>
                  </a:lnTo>
                  <a:lnTo>
                    <a:pt x="9373" y="10740"/>
                  </a:lnTo>
                  <a:lnTo>
                    <a:pt x="9103" y="10387"/>
                  </a:lnTo>
                  <a:lnTo>
                    <a:pt x="8212" y="10407"/>
                  </a:lnTo>
                  <a:lnTo>
                    <a:pt x="7509" y="10603"/>
                  </a:lnTo>
                  <a:lnTo>
                    <a:pt x="6996" y="10485"/>
                  </a:lnTo>
                  <a:lnTo>
                    <a:pt x="6483" y="10231"/>
                  </a:lnTo>
                  <a:lnTo>
                    <a:pt x="6321" y="9741"/>
                  </a:lnTo>
                  <a:lnTo>
                    <a:pt x="6672" y="9427"/>
                  </a:lnTo>
                  <a:lnTo>
                    <a:pt x="6321" y="9329"/>
                  </a:lnTo>
                  <a:lnTo>
                    <a:pt x="6321" y="9074"/>
                  </a:lnTo>
                  <a:lnTo>
                    <a:pt x="6780" y="8761"/>
                  </a:lnTo>
                  <a:lnTo>
                    <a:pt x="7266" y="8506"/>
                  </a:lnTo>
                  <a:lnTo>
                    <a:pt x="7942" y="8173"/>
                  </a:lnTo>
                  <a:lnTo>
                    <a:pt x="7969" y="7722"/>
                  </a:lnTo>
                  <a:lnTo>
                    <a:pt x="7563" y="7644"/>
                  </a:lnTo>
                  <a:lnTo>
                    <a:pt x="7158" y="7330"/>
                  </a:lnTo>
                  <a:lnTo>
                    <a:pt x="7428" y="6938"/>
                  </a:lnTo>
                  <a:lnTo>
                    <a:pt x="8238" y="6820"/>
                  </a:lnTo>
                  <a:lnTo>
                    <a:pt x="8644" y="6468"/>
                  </a:lnTo>
                  <a:lnTo>
                    <a:pt x="9535" y="6017"/>
                  </a:lnTo>
                  <a:lnTo>
                    <a:pt x="10237" y="5350"/>
                  </a:lnTo>
                  <a:lnTo>
                    <a:pt x="10616" y="5821"/>
                  </a:lnTo>
                  <a:lnTo>
                    <a:pt x="11507" y="6232"/>
                  </a:lnTo>
                  <a:lnTo>
                    <a:pt x="12290" y="6350"/>
                  </a:lnTo>
                  <a:lnTo>
                    <a:pt x="13350" y="6350"/>
                  </a:lnTo>
                  <a:lnTo>
                    <a:pt x="13209" y="6624"/>
                  </a:lnTo>
                  <a:lnTo>
                    <a:pt x="12290" y="7114"/>
                  </a:lnTo>
                  <a:lnTo>
                    <a:pt x="12533" y="7722"/>
                  </a:lnTo>
                  <a:lnTo>
                    <a:pt x="13080" y="7866"/>
                  </a:lnTo>
                  <a:lnTo>
                    <a:pt x="13289" y="7722"/>
                  </a:lnTo>
                  <a:lnTo>
                    <a:pt x="13992" y="8192"/>
                  </a:lnTo>
                  <a:lnTo>
                    <a:pt x="14532" y="8741"/>
                  </a:lnTo>
                  <a:lnTo>
                    <a:pt x="13938" y="8741"/>
                  </a:lnTo>
                  <a:lnTo>
                    <a:pt x="13668" y="9211"/>
                  </a:lnTo>
                  <a:lnTo>
                    <a:pt x="14316" y="9917"/>
                  </a:lnTo>
                  <a:lnTo>
                    <a:pt x="15126" y="9917"/>
                  </a:lnTo>
                  <a:lnTo>
                    <a:pt x="15126" y="10623"/>
                  </a:lnTo>
                  <a:lnTo>
                    <a:pt x="15518" y="11073"/>
                  </a:lnTo>
                  <a:lnTo>
                    <a:pt x="15559" y="11054"/>
                  </a:lnTo>
                  <a:lnTo>
                    <a:pt x="16247" y="11142"/>
                  </a:lnTo>
                  <a:lnTo>
                    <a:pt x="16490" y="11465"/>
                  </a:lnTo>
                  <a:lnTo>
                    <a:pt x="17179" y="11671"/>
                  </a:lnTo>
                  <a:lnTo>
                    <a:pt x="17665" y="11201"/>
                  </a:lnTo>
                  <a:lnTo>
                    <a:pt x="18395" y="11201"/>
                  </a:lnTo>
                  <a:lnTo>
                    <a:pt x="19043" y="11054"/>
                  </a:lnTo>
                  <a:lnTo>
                    <a:pt x="19610" y="10525"/>
                  </a:lnTo>
                  <a:lnTo>
                    <a:pt x="20137" y="10142"/>
                  </a:lnTo>
                  <a:lnTo>
                    <a:pt x="19975" y="9378"/>
                  </a:lnTo>
                  <a:lnTo>
                    <a:pt x="20947" y="8526"/>
                  </a:lnTo>
                  <a:lnTo>
                    <a:pt x="21600" y="8108"/>
                  </a:lnTo>
                  <a:lnTo>
                    <a:pt x="20799" y="7448"/>
                  </a:lnTo>
                  <a:lnTo>
                    <a:pt x="20799" y="6429"/>
                  </a:lnTo>
                  <a:lnTo>
                    <a:pt x="19452" y="6429"/>
                  </a:lnTo>
                  <a:lnTo>
                    <a:pt x="17882" y="5566"/>
                  </a:lnTo>
                  <a:lnTo>
                    <a:pt x="18638" y="4625"/>
                  </a:lnTo>
                  <a:lnTo>
                    <a:pt x="18889" y="4016"/>
                  </a:lnTo>
                  <a:lnTo>
                    <a:pt x="17989" y="4233"/>
                  </a:lnTo>
                  <a:lnTo>
                    <a:pt x="16477" y="3998"/>
                  </a:lnTo>
                  <a:lnTo>
                    <a:pt x="15180" y="2822"/>
                  </a:lnTo>
                  <a:lnTo>
                    <a:pt x="15937" y="2430"/>
                  </a:lnTo>
                  <a:lnTo>
                    <a:pt x="14748" y="1490"/>
                  </a:lnTo>
                  <a:lnTo>
                    <a:pt x="13884" y="0"/>
                  </a:lnTo>
                  <a:lnTo>
                    <a:pt x="12371" y="392"/>
                  </a:lnTo>
                  <a:lnTo>
                    <a:pt x="10859" y="784"/>
                  </a:lnTo>
                  <a:lnTo>
                    <a:pt x="10859" y="2430"/>
                  </a:lnTo>
                  <a:lnTo>
                    <a:pt x="8914" y="2038"/>
                  </a:lnTo>
                  <a:lnTo>
                    <a:pt x="8049" y="3293"/>
                  </a:lnTo>
                  <a:lnTo>
                    <a:pt x="7293" y="2666"/>
                  </a:lnTo>
                  <a:lnTo>
                    <a:pt x="6213" y="3136"/>
                  </a:lnTo>
                  <a:lnTo>
                    <a:pt x="5240" y="4077"/>
                  </a:lnTo>
                  <a:lnTo>
                    <a:pt x="4160" y="3685"/>
                  </a:lnTo>
                  <a:lnTo>
                    <a:pt x="4160" y="2744"/>
                  </a:lnTo>
                  <a:lnTo>
                    <a:pt x="3620" y="1960"/>
                  </a:lnTo>
                  <a:lnTo>
                    <a:pt x="2755" y="2666"/>
                  </a:lnTo>
                  <a:lnTo>
                    <a:pt x="1675" y="4077"/>
                  </a:lnTo>
                  <a:lnTo>
                    <a:pt x="1134" y="4077"/>
                  </a:lnTo>
                  <a:lnTo>
                    <a:pt x="1675" y="5566"/>
                  </a:lnTo>
                  <a:lnTo>
                    <a:pt x="1675" y="6409"/>
                  </a:lnTo>
                  <a:lnTo>
                    <a:pt x="2377" y="7173"/>
                  </a:lnTo>
                  <a:cubicBezTo>
                    <a:pt x="2377" y="7173"/>
                    <a:pt x="2377" y="8045"/>
                    <a:pt x="2377" y="8045"/>
                  </a:cubicBezTo>
                  <a:close/>
                  <a:moveTo>
                    <a:pt x="2377" y="8045"/>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4" name="AutoShape 16"/>
            <p:cNvSpPr>
              <a:spLocks/>
            </p:cNvSpPr>
            <p:nvPr/>
          </p:nvSpPr>
          <p:spPr bwMode="auto">
            <a:xfrm>
              <a:off x="5727700" y="2794000"/>
              <a:ext cx="657225" cy="1258888"/>
            </a:xfrm>
            <a:custGeom>
              <a:avLst/>
              <a:gdLst/>
              <a:ahLst/>
              <a:cxnLst/>
              <a:rect l="0" t="0" r="r" b="b"/>
              <a:pathLst>
                <a:path w="21600" h="21600">
                  <a:moveTo>
                    <a:pt x="4005" y="6523"/>
                  </a:moveTo>
                  <a:lnTo>
                    <a:pt x="4005" y="7159"/>
                  </a:lnTo>
                  <a:lnTo>
                    <a:pt x="3181" y="8223"/>
                  </a:lnTo>
                  <a:lnTo>
                    <a:pt x="1414" y="8800"/>
                  </a:lnTo>
                  <a:lnTo>
                    <a:pt x="1414" y="9538"/>
                  </a:lnTo>
                  <a:lnTo>
                    <a:pt x="1414" y="10092"/>
                  </a:lnTo>
                  <a:lnTo>
                    <a:pt x="2257" y="10646"/>
                  </a:lnTo>
                  <a:lnTo>
                    <a:pt x="2257" y="11419"/>
                  </a:lnTo>
                  <a:lnTo>
                    <a:pt x="2257" y="12431"/>
                  </a:lnTo>
                  <a:lnTo>
                    <a:pt x="707" y="13231"/>
                  </a:lnTo>
                  <a:lnTo>
                    <a:pt x="1178" y="14624"/>
                  </a:lnTo>
                  <a:lnTo>
                    <a:pt x="707" y="15900"/>
                  </a:lnTo>
                  <a:lnTo>
                    <a:pt x="1414" y="16984"/>
                  </a:lnTo>
                  <a:lnTo>
                    <a:pt x="1767" y="18154"/>
                  </a:lnTo>
                  <a:lnTo>
                    <a:pt x="707" y="19200"/>
                  </a:lnTo>
                  <a:lnTo>
                    <a:pt x="0" y="20000"/>
                  </a:lnTo>
                  <a:lnTo>
                    <a:pt x="0" y="21026"/>
                  </a:lnTo>
                  <a:lnTo>
                    <a:pt x="942" y="21600"/>
                  </a:lnTo>
                  <a:lnTo>
                    <a:pt x="2946" y="21600"/>
                  </a:lnTo>
                  <a:lnTo>
                    <a:pt x="5537" y="21026"/>
                  </a:lnTo>
                  <a:lnTo>
                    <a:pt x="7069" y="20738"/>
                  </a:lnTo>
                  <a:lnTo>
                    <a:pt x="8130" y="20061"/>
                  </a:lnTo>
                  <a:lnTo>
                    <a:pt x="9779" y="19877"/>
                  </a:lnTo>
                  <a:lnTo>
                    <a:pt x="9779" y="19262"/>
                  </a:lnTo>
                  <a:lnTo>
                    <a:pt x="14256" y="19262"/>
                  </a:lnTo>
                  <a:lnTo>
                    <a:pt x="15199" y="18892"/>
                  </a:lnTo>
                  <a:lnTo>
                    <a:pt x="16494" y="18277"/>
                  </a:lnTo>
                  <a:lnTo>
                    <a:pt x="18144" y="17292"/>
                  </a:lnTo>
                  <a:lnTo>
                    <a:pt x="18144" y="15900"/>
                  </a:lnTo>
                  <a:lnTo>
                    <a:pt x="18144" y="15210"/>
                  </a:lnTo>
                  <a:lnTo>
                    <a:pt x="17673" y="15118"/>
                  </a:lnTo>
                  <a:lnTo>
                    <a:pt x="16494" y="14133"/>
                  </a:lnTo>
                  <a:lnTo>
                    <a:pt x="17673" y="13805"/>
                  </a:lnTo>
                  <a:lnTo>
                    <a:pt x="17987" y="12944"/>
                  </a:lnTo>
                  <a:lnTo>
                    <a:pt x="19047" y="11918"/>
                  </a:lnTo>
                  <a:lnTo>
                    <a:pt x="19872" y="10851"/>
                  </a:lnTo>
                  <a:lnTo>
                    <a:pt x="19047" y="10154"/>
                  </a:lnTo>
                  <a:lnTo>
                    <a:pt x="18301" y="9538"/>
                  </a:lnTo>
                  <a:lnTo>
                    <a:pt x="17437" y="9087"/>
                  </a:lnTo>
                  <a:lnTo>
                    <a:pt x="16494" y="8800"/>
                  </a:lnTo>
                  <a:lnTo>
                    <a:pt x="16494" y="8223"/>
                  </a:lnTo>
                  <a:lnTo>
                    <a:pt x="17280" y="7487"/>
                  </a:lnTo>
                  <a:lnTo>
                    <a:pt x="17987" y="7282"/>
                  </a:lnTo>
                  <a:lnTo>
                    <a:pt x="17987" y="6872"/>
                  </a:lnTo>
                  <a:lnTo>
                    <a:pt x="17987" y="6461"/>
                  </a:lnTo>
                  <a:lnTo>
                    <a:pt x="19086" y="5969"/>
                  </a:lnTo>
                  <a:lnTo>
                    <a:pt x="19989" y="5969"/>
                  </a:lnTo>
                  <a:lnTo>
                    <a:pt x="21129" y="5631"/>
                  </a:lnTo>
                  <a:lnTo>
                    <a:pt x="21129" y="4984"/>
                  </a:lnTo>
                  <a:lnTo>
                    <a:pt x="21600" y="4533"/>
                  </a:lnTo>
                  <a:lnTo>
                    <a:pt x="20657" y="3918"/>
                  </a:lnTo>
                  <a:lnTo>
                    <a:pt x="20579" y="3426"/>
                  </a:lnTo>
                  <a:lnTo>
                    <a:pt x="19480" y="3221"/>
                  </a:lnTo>
                  <a:lnTo>
                    <a:pt x="18380" y="2954"/>
                  </a:lnTo>
                  <a:lnTo>
                    <a:pt x="18380" y="2400"/>
                  </a:lnTo>
                  <a:lnTo>
                    <a:pt x="19794" y="2195"/>
                  </a:lnTo>
                  <a:lnTo>
                    <a:pt x="21207" y="1713"/>
                  </a:lnTo>
                  <a:lnTo>
                    <a:pt x="19951" y="1713"/>
                  </a:lnTo>
                  <a:lnTo>
                    <a:pt x="19951" y="800"/>
                  </a:lnTo>
                  <a:lnTo>
                    <a:pt x="18930" y="0"/>
                  </a:lnTo>
                  <a:lnTo>
                    <a:pt x="18930" y="20"/>
                  </a:lnTo>
                  <a:lnTo>
                    <a:pt x="18930" y="838"/>
                  </a:lnTo>
                  <a:lnTo>
                    <a:pt x="17516" y="838"/>
                  </a:lnTo>
                  <a:lnTo>
                    <a:pt x="16416" y="2112"/>
                  </a:lnTo>
                  <a:lnTo>
                    <a:pt x="12332" y="2112"/>
                  </a:lnTo>
                  <a:lnTo>
                    <a:pt x="9691" y="2112"/>
                  </a:lnTo>
                  <a:lnTo>
                    <a:pt x="8718" y="4123"/>
                  </a:lnTo>
                  <a:lnTo>
                    <a:pt x="6205" y="4943"/>
                  </a:lnTo>
                  <a:lnTo>
                    <a:pt x="4923" y="5253"/>
                  </a:lnTo>
                  <a:lnTo>
                    <a:pt x="4923" y="5631"/>
                  </a:lnTo>
                  <a:cubicBezTo>
                    <a:pt x="4923" y="5631"/>
                    <a:pt x="4005" y="6523"/>
                    <a:pt x="4005" y="6523"/>
                  </a:cubicBezTo>
                  <a:close/>
                  <a:moveTo>
                    <a:pt x="4005" y="6523"/>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5" name="AutoShape 17"/>
            <p:cNvSpPr>
              <a:spLocks/>
            </p:cNvSpPr>
            <p:nvPr/>
          </p:nvSpPr>
          <p:spPr bwMode="auto">
            <a:xfrm>
              <a:off x="6731000" y="3873500"/>
              <a:ext cx="987425" cy="812800"/>
            </a:xfrm>
            <a:custGeom>
              <a:avLst/>
              <a:gdLst/>
              <a:ahLst/>
              <a:cxnLst/>
              <a:rect l="0" t="0" r="r" b="b"/>
              <a:pathLst>
                <a:path w="21600" h="21600">
                  <a:moveTo>
                    <a:pt x="18264" y="19584"/>
                  </a:moveTo>
                  <a:lnTo>
                    <a:pt x="18264" y="18988"/>
                  </a:lnTo>
                  <a:lnTo>
                    <a:pt x="18440" y="18322"/>
                  </a:lnTo>
                  <a:lnTo>
                    <a:pt x="18538" y="17893"/>
                  </a:lnTo>
                  <a:lnTo>
                    <a:pt x="18950" y="17774"/>
                  </a:lnTo>
                  <a:lnTo>
                    <a:pt x="19176" y="17565"/>
                  </a:lnTo>
                  <a:lnTo>
                    <a:pt x="18029" y="16584"/>
                  </a:lnTo>
                  <a:lnTo>
                    <a:pt x="18970" y="15988"/>
                  </a:lnTo>
                  <a:lnTo>
                    <a:pt x="21244" y="17060"/>
                  </a:lnTo>
                  <a:lnTo>
                    <a:pt x="21600" y="16899"/>
                  </a:lnTo>
                  <a:lnTo>
                    <a:pt x="21220" y="16073"/>
                  </a:lnTo>
                  <a:lnTo>
                    <a:pt x="20852" y="15345"/>
                  </a:lnTo>
                  <a:lnTo>
                    <a:pt x="19989" y="14250"/>
                  </a:lnTo>
                  <a:lnTo>
                    <a:pt x="19087" y="14012"/>
                  </a:lnTo>
                  <a:lnTo>
                    <a:pt x="18813" y="12774"/>
                  </a:lnTo>
                  <a:lnTo>
                    <a:pt x="17832" y="12440"/>
                  </a:lnTo>
                  <a:lnTo>
                    <a:pt x="17127" y="11964"/>
                  </a:lnTo>
                  <a:lnTo>
                    <a:pt x="17087" y="10011"/>
                  </a:lnTo>
                  <a:lnTo>
                    <a:pt x="16068" y="9059"/>
                  </a:lnTo>
                  <a:lnTo>
                    <a:pt x="15440" y="7154"/>
                  </a:lnTo>
                  <a:lnTo>
                    <a:pt x="14774" y="4868"/>
                  </a:lnTo>
                  <a:lnTo>
                    <a:pt x="14029" y="3344"/>
                  </a:lnTo>
                  <a:lnTo>
                    <a:pt x="13049" y="2868"/>
                  </a:lnTo>
                  <a:lnTo>
                    <a:pt x="11833" y="2391"/>
                  </a:lnTo>
                  <a:lnTo>
                    <a:pt x="11088" y="1677"/>
                  </a:lnTo>
                  <a:lnTo>
                    <a:pt x="10186" y="1392"/>
                  </a:lnTo>
                  <a:lnTo>
                    <a:pt x="9951" y="296"/>
                  </a:lnTo>
                  <a:lnTo>
                    <a:pt x="10389" y="0"/>
                  </a:lnTo>
                  <a:lnTo>
                    <a:pt x="9101" y="201"/>
                  </a:lnTo>
                  <a:lnTo>
                    <a:pt x="8735" y="1026"/>
                  </a:lnTo>
                  <a:lnTo>
                    <a:pt x="8317" y="2423"/>
                  </a:lnTo>
                  <a:lnTo>
                    <a:pt x="7271" y="2677"/>
                  </a:lnTo>
                  <a:lnTo>
                    <a:pt x="7271" y="3884"/>
                  </a:lnTo>
                  <a:lnTo>
                    <a:pt x="6435" y="3884"/>
                  </a:lnTo>
                  <a:lnTo>
                    <a:pt x="6017" y="2550"/>
                  </a:lnTo>
                  <a:lnTo>
                    <a:pt x="4867" y="3058"/>
                  </a:lnTo>
                  <a:lnTo>
                    <a:pt x="4148" y="3884"/>
                  </a:lnTo>
                  <a:lnTo>
                    <a:pt x="3769" y="3439"/>
                  </a:lnTo>
                  <a:lnTo>
                    <a:pt x="3298" y="3884"/>
                  </a:lnTo>
                  <a:lnTo>
                    <a:pt x="2723" y="2741"/>
                  </a:lnTo>
                  <a:lnTo>
                    <a:pt x="2050" y="2106"/>
                  </a:lnTo>
                  <a:lnTo>
                    <a:pt x="1573" y="1788"/>
                  </a:lnTo>
                  <a:lnTo>
                    <a:pt x="266" y="1915"/>
                  </a:lnTo>
                  <a:lnTo>
                    <a:pt x="0" y="3153"/>
                  </a:lnTo>
                  <a:lnTo>
                    <a:pt x="475" y="3884"/>
                  </a:lnTo>
                  <a:lnTo>
                    <a:pt x="2050" y="4773"/>
                  </a:lnTo>
                  <a:lnTo>
                    <a:pt x="2854" y="5820"/>
                  </a:lnTo>
                  <a:lnTo>
                    <a:pt x="4148" y="5820"/>
                  </a:lnTo>
                  <a:lnTo>
                    <a:pt x="5363" y="6773"/>
                  </a:lnTo>
                  <a:lnTo>
                    <a:pt x="5363" y="7821"/>
                  </a:lnTo>
                  <a:lnTo>
                    <a:pt x="6435" y="7249"/>
                  </a:lnTo>
                  <a:lnTo>
                    <a:pt x="6435" y="8487"/>
                  </a:lnTo>
                  <a:lnTo>
                    <a:pt x="6069" y="10297"/>
                  </a:lnTo>
                  <a:lnTo>
                    <a:pt x="7089" y="10297"/>
                  </a:lnTo>
                  <a:lnTo>
                    <a:pt x="7089" y="11631"/>
                  </a:lnTo>
                  <a:lnTo>
                    <a:pt x="7748" y="12583"/>
                  </a:lnTo>
                  <a:lnTo>
                    <a:pt x="8971" y="12583"/>
                  </a:lnTo>
                  <a:lnTo>
                    <a:pt x="9441" y="11535"/>
                  </a:lnTo>
                  <a:lnTo>
                    <a:pt x="10034" y="11154"/>
                  </a:lnTo>
                  <a:lnTo>
                    <a:pt x="10801" y="11885"/>
                  </a:lnTo>
                  <a:lnTo>
                    <a:pt x="10905" y="13028"/>
                  </a:lnTo>
                  <a:lnTo>
                    <a:pt x="10565" y="13536"/>
                  </a:lnTo>
                  <a:lnTo>
                    <a:pt x="9990" y="13536"/>
                  </a:lnTo>
                  <a:lnTo>
                    <a:pt x="9598" y="13123"/>
                  </a:lnTo>
                  <a:lnTo>
                    <a:pt x="8709" y="13155"/>
                  </a:lnTo>
                  <a:lnTo>
                    <a:pt x="8526" y="13536"/>
                  </a:lnTo>
                  <a:lnTo>
                    <a:pt x="9180" y="14139"/>
                  </a:lnTo>
                  <a:lnTo>
                    <a:pt x="9101" y="14996"/>
                  </a:lnTo>
                  <a:lnTo>
                    <a:pt x="8735" y="15346"/>
                  </a:lnTo>
                  <a:lnTo>
                    <a:pt x="8004" y="15346"/>
                  </a:lnTo>
                  <a:lnTo>
                    <a:pt x="8055" y="16203"/>
                  </a:lnTo>
                  <a:lnTo>
                    <a:pt x="8029" y="16901"/>
                  </a:lnTo>
                  <a:lnTo>
                    <a:pt x="8814" y="17695"/>
                  </a:lnTo>
                  <a:lnTo>
                    <a:pt x="9389" y="18108"/>
                  </a:lnTo>
                  <a:lnTo>
                    <a:pt x="10356" y="18489"/>
                  </a:lnTo>
                  <a:lnTo>
                    <a:pt x="10304" y="19251"/>
                  </a:lnTo>
                  <a:lnTo>
                    <a:pt x="9781" y="19600"/>
                  </a:lnTo>
                  <a:lnTo>
                    <a:pt x="9572" y="19981"/>
                  </a:lnTo>
                  <a:lnTo>
                    <a:pt x="9859" y="20298"/>
                  </a:lnTo>
                  <a:lnTo>
                    <a:pt x="10643" y="20298"/>
                  </a:lnTo>
                  <a:lnTo>
                    <a:pt x="11062" y="20298"/>
                  </a:lnTo>
                  <a:lnTo>
                    <a:pt x="11219" y="19695"/>
                  </a:lnTo>
                  <a:lnTo>
                    <a:pt x="11898" y="19663"/>
                  </a:lnTo>
                  <a:lnTo>
                    <a:pt x="12003" y="20298"/>
                  </a:lnTo>
                  <a:lnTo>
                    <a:pt x="12892" y="20298"/>
                  </a:lnTo>
                  <a:lnTo>
                    <a:pt x="13911" y="20044"/>
                  </a:lnTo>
                  <a:lnTo>
                    <a:pt x="14408" y="20647"/>
                  </a:lnTo>
                  <a:lnTo>
                    <a:pt x="15009" y="21187"/>
                  </a:lnTo>
                  <a:lnTo>
                    <a:pt x="15950" y="21187"/>
                  </a:lnTo>
                  <a:lnTo>
                    <a:pt x="16316" y="21600"/>
                  </a:lnTo>
                  <a:lnTo>
                    <a:pt x="16813" y="21600"/>
                  </a:lnTo>
                  <a:lnTo>
                    <a:pt x="17414" y="20584"/>
                  </a:lnTo>
                  <a:lnTo>
                    <a:pt x="17852" y="20288"/>
                  </a:lnTo>
                  <a:lnTo>
                    <a:pt x="17852" y="19869"/>
                  </a:lnTo>
                  <a:cubicBezTo>
                    <a:pt x="17852" y="19869"/>
                    <a:pt x="18264" y="19584"/>
                    <a:pt x="18264" y="19584"/>
                  </a:cubicBezTo>
                  <a:close/>
                  <a:moveTo>
                    <a:pt x="18264" y="19584"/>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6" name="AutoShape 18"/>
            <p:cNvSpPr>
              <a:spLocks/>
            </p:cNvSpPr>
            <p:nvPr/>
          </p:nvSpPr>
          <p:spPr bwMode="auto">
            <a:xfrm>
              <a:off x="7086600" y="4635500"/>
              <a:ext cx="750888" cy="790575"/>
            </a:xfrm>
            <a:custGeom>
              <a:avLst/>
              <a:gdLst/>
              <a:ahLst/>
              <a:cxnLst/>
              <a:rect l="0" t="0" r="r" b="b"/>
              <a:pathLst>
                <a:path w="21600" h="21600">
                  <a:moveTo>
                    <a:pt x="20981" y="4282"/>
                  </a:moveTo>
                  <a:lnTo>
                    <a:pt x="20517" y="3939"/>
                  </a:lnTo>
                  <a:lnTo>
                    <a:pt x="21188" y="3449"/>
                  </a:lnTo>
                  <a:lnTo>
                    <a:pt x="20259" y="3057"/>
                  </a:lnTo>
                  <a:lnTo>
                    <a:pt x="19589" y="2860"/>
                  </a:lnTo>
                  <a:lnTo>
                    <a:pt x="18816" y="3252"/>
                  </a:lnTo>
                  <a:lnTo>
                    <a:pt x="19022" y="4184"/>
                  </a:lnTo>
                  <a:lnTo>
                    <a:pt x="18043" y="5214"/>
                  </a:lnTo>
                  <a:lnTo>
                    <a:pt x="17218" y="4723"/>
                  </a:lnTo>
                  <a:lnTo>
                    <a:pt x="15826" y="3939"/>
                  </a:lnTo>
                  <a:lnTo>
                    <a:pt x="14537" y="4135"/>
                  </a:lnTo>
                  <a:lnTo>
                    <a:pt x="13352" y="5018"/>
                  </a:lnTo>
                  <a:lnTo>
                    <a:pt x="12372" y="4576"/>
                  </a:lnTo>
                  <a:lnTo>
                    <a:pt x="12527" y="3939"/>
                  </a:lnTo>
                  <a:lnTo>
                    <a:pt x="13352" y="3939"/>
                  </a:lnTo>
                  <a:lnTo>
                    <a:pt x="13661" y="2860"/>
                  </a:lnTo>
                  <a:lnTo>
                    <a:pt x="15001" y="1928"/>
                  </a:lnTo>
                  <a:lnTo>
                    <a:pt x="15395" y="1704"/>
                  </a:lnTo>
                  <a:lnTo>
                    <a:pt x="14812" y="1602"/>
                  </a:lnTo>
                  <a:lnTo>
                    <a:pt x="14125" y="1242"/>
                  </a:lnTo>
                  <a:lnTo>
                    <a:pt x="13610" y="425"/>
                  </a:lnTo>
                  <a:lnTo>
                    <a:pt x="13163" y="229"/>
                  </a:lnTo>
                  <a:lnTo>
                    <a:pt x="12544" y="556"/>
                  </a:lnTo>
                  <a:lnTo>
                    <a:pt x="11753" y="1602"/>
                  </a:lnTo>
                  <a:lnTo>
                    <a:pt x="11101" y="1602"/>
                  </a:lnTo>
                  <a:lnTo>
                    <a:pt x="10619" y="1177"/>
                  </a:lnTo>
                  <a:lnTo>
                    <a:pt x="9382" y="1177"/>
                  </a:lnTo>
                  <a:lnTo>
                    <a:pt x="8591" y="621"/>
                  </a:lnTo>
                  <a:lnTo>
                    <a:pt x="7939" y="0"/>
                  </a:lnTo>
                  <a:lnTo>
                    <a:pt x="6813" y="220"/>
                  </a:lnTo>
                  <a:lnTo>
                    <a:pt x="6719" y="1210"/>
                  </a:lnTo>
                  <a:lnTo>
                    <a:pt x="6719" y="1994"/>
                  </a:lnTo>
                  <a:lnTo>
                    <a:pt x="6014" y="2844"/>
                  </a:lnTo>
                  <a:lnTo>
                    <a:pt x="5258" y="3334"/>
                  </a:lnTo>
                  <a:lnTo>
                    <a:pt x="5877" y="3727"/>
                  </a:lnTo>
                  <a:lnTo>
                    <a:pt x="6221" y="4348"/>
                  </a:lnTo>
                  <a:lnTo>
                    <a:pt x="5774" y="4642"/>
                  </a:lnTo>
                  <a:lnTo>
                    <a:pt x="4983" y="4805"/>
                  </a:lnTo>
                  <a:lnTo>
                    <a:pt x="3848" y="4805"/>
                  </a:lnTo>
                  <a:lnTo>
                    <a:pt x="3403" y="5198"/>
                  </a:lnTo>
                  <a:lnTo>
                    <a:pt x="3608" y="6113"/>
                  </a:lnTo>
                  <a:lnTo>
                    <a:pt x="4021" y="6440"/>
                  </a:lnTo>
                  <a:lnTo>
                    <a:pt x="3884" y="7061"/>
                  </a:lnTo>
                  <a:lnTo>
                    <a:pt x="3403" y="7748"/>
                  </a:lnTo>
                  <a:lnTo>
                    <a:pt x="2818" y="8500"/>
                  </a:lnTo>
                  <a:lnTo>
                    <a:pt x="2131" y="9317"/>
                  </a:lnTo>
                  <a:lnTo>
                    <a:pt x="1168" y="10135"/>
                  </a:lnTo>
                  <a:lnTo>
                    <a:pt x="206" y="10951"/>
                  </a:lnTo>
                  <a:cubicBezTo>
                    <a:pt x="206" y="10951"/>
                    <a:pt x="0" y="11638"/>
                    <a:pt x="0" y="11736"/>
                  </a:cubicBezTo>
                  <a:cubicBezTo>
                    <a:pt x="0" y="11834"/>
                    <a:pt x="447" y="12455"/>
                    <a:pt x="447" y="12455"/>
                  </a:cubicBezTo>
                  <a:lnTo>
                    <a:pt x="894" y="12848"/>
                  </a:lnTo>
                  <a:lnTo>
                    <a:pt x="1822" y="13502"/>
                  </a:lnTo>
                  <a:lnTo>
                    <a:pt x="2062" y="14384"/>
                  </a:lnTo>
                  <a:lnTo>
                    <a:pt x="2371" y="15202"/>
                  </a:lnTo>
                  <a:lnTo>
                    <a:pt x="2543" y="15986"/>
                  </a:lnTo>
                  <a:lnTo>
                    <a:pt x="2715" y="16476"/>
                  </a:lnTo>
                  <a:lnTo>
                    <a:pt x="3540" y="16444"/>
                  </a:lnTo>
                  <a:lnTo>
                    <a:pt x="4021" y="16280"/>
                  </a:lnTo>
                  <a:lnTo>
                    <a:pt x="4296" y="17064"/>
                  </a:lnTo>
                  <a:lnTo>
                    <a:pt x="4021" y="17490"/>
                  </a:lnTo>
                  <a:lnTo>
                    <a:pt x="4399" y="18274"/>
                  </a:lnTo>
                  <a:lnTo>
                    <a:pt x="4742" y="18961"/>
                  </a:lnTo>
                  <a:lnTo>
                    <a:pt x="5018" y="19582"/>
                  </a:lnTo>
                  <a:lnTo>
                    <a:pt x="5018" y="20660"/>
                  </a:lnTo>
                  <a:lnTo>
                    <a:pt x="5464" y="20660"/>
                  </a:lnTo>
                  <a:lnTo>
                    <a:pt x="5980" y="20334"/>
                  </a:lnTo>
                  <a:lnTo>
                    <a:pt x="6358" y="20660"/>
                  </a:lnTo>
                  <a:lnTo>
                    <a:pt x="7045" y="20660"/>
                  </a:lnTo>
                  <a:lnTo>
                    <a:pt x="7595" y="19908"/>
                  </a:lnTo>
                  <a:lnTo>
                    <a:pt x="8076" y="19255"/>
                  </a:lnTo>
                  <a:lnTo>
                    <a:pt x="8626" y="19255"/>
                  </a:lnTo>
                  <a:lnTo>
                    <a:pt x="8970" y="19843"/>
                  </a:lnTo>
                  <a:lnTo>
                    <a:pt x="9520" y="20954"/>
                  </a:lnTo>
                  <a:lnTo>
                    <a:pt x="10070" y="20954"/>
                  </a:lnTo>
                  <a:lnTo>
                    <a:pt x="10826" y="20497"/>
                  </a:lnTo>
                  <a:lnTo>
                    <a:pt x="11444" y="20105"/>
                  </a:lnTo>
                  <a:lnTo>
                    <a:pt x="12132" y="19843"/>
                  </a:lnTo>
                  <a:lnTo>
                    <a:pt x="13119" y="20955"/>
                  </a:lnTo>
                  <a:lnTo>
                    <a:pt x="13304" y="21600"/>
                  </a:lnTo>
                  <a:lnTo>
                    <a:pt x="13764" y="21396"/>
                  </a:lnTo>
                  <a:lnTo>
                    <a:pt x="13919" y="20660"/>
                  </a:lnTo>
                  <a:lnTo>
                    <a:pt x="14486" y="20366"/>
                  </a:lnTo>
                  <a:lnTo>
                    <a:pt x="13867" y="19287"/>
                  </a:lnTo>
                  <a:lnTo>
                    <a:pt x="14331" y="18110"/>
                  </a:lnTo>
                  <a:lnTo>
                    <a:pt x="14950" y="17326"/>
                  </a:lnTo>
                  <a:lnTo>
                    <a:pt x="15517" y="16394"/>
                  </a:lnTo>
                  <a:lnTo>
                    <a:pt x="15929" y="15904"/>
                  </a:lnTo>
                  <a:lnTo>
                    <a:pt x="16238" y="16541"/>
                  </a:lnTo>
                  <a:lnTo>
                    <a:pt x="15826" y="16885"/>
                  </a:lnTo>
                  <a:lnTo>
                    <a:pt x="16754" y="17473"/>
                  </a:lnTo>
                  <a:lnTo>
                    <a:pt x="17115" y="16296"/>
                  </a:lnTo>
                  <a:lnTo>
                    <a:pt x="17527" y="15217"/>
                  </a:lnTo>
                  <a:lnTo>
                    <a:pt x="18094" y="14776"/>
                  </a:lnTo>
                  <a:lnTo>
                    <a:pt x="18919" y="14972"/>
                  </a:lnTo>
                  <a:lnTo>
                    <a:pt x="18455" y="13795"/>
                  </a:lnTo>
                  <a:lnTo>
                    <a:pt x="18094" y="12619"/>
                  </a:lnTo>
                  <a:lnTo>
                    <a:pt x="19125" y="12520"/>
                  </a:lnTo>
                  <a:lnTo>
                    <a:pt x="18764" y="11393"/>
                  </a:lnTo>
                  <a:lnTo>
                    <a:pt x="18610" y="10657"/>
                  </a:lnTo>
                  <a:lnTo>
                    <a:pt x="18043" y="10166"/>
                  </a:lnTo>
                  <a:lnTo>
                    <a:pt x="18662" y="10166"/>
                  </a:lnTo>
                  <a:lnTo>
                    <a:pt x="18971" y="10461"/>
                  </a:lnTo>
                  <a:lnTo>
                    <a:pt x="19692" y="10363"/>
                  </a:lnTo>
                  <a:lnTo>
                    <a:pt x="20363" y="9774"/>
                  </a:lnTo>
                  <a:lnTo>
                    <a:pt x="19538" y="8892"/>
                  </a:lnTo>
                  <a:lnTo>
                    <a:pt x="19899" y="8107"/>
                  </a:lnTo>
                  <a:lnTo>
                    <a:pt x="19950" y="7274"/>
                  </a:lnTo>
                  <a:lnTo>
                    <a:pt x="19280" y="6979"/>
                  </a:lnTo>
                  <a:lnTo>
                    <a:pt x="19280" y="6587"/>
                  </a:lnTo>
                  <a:lnTo>
                    <a:pt x="19899" y="6538"/>
                  </a:lnTo>
                  <a:lnTo>
                    <a:pt x="20363" y="6979"/>
                  </a:lnTo>
                  <a:lnTo>
                    <a:pt x="21445" y="6538"/>
                  </a:lnTo>
                  <a:lnTo>
                    <a:pt x="21600" y="5508"/>
                  </a:lnTo>
                  <a:cubicBezTo>
                    <a:pt x="21600" y="5508"/>
                    <a:pt x="20981" y="4282"/>
                    <a:pt x="20981" y="4282"/>
                  </a:cubicBezTo>
                  <a:close/>
                  <a:moveTo>
                    <a:pt x="20981" y="4282"/>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7" name="AutoShape 19"/>
            <p:cNvSpPr>
              <a:spLocks/>
            </p:cNvSpPr>
            <p:nvPr/>
          </p:nvSpPr>
          <p:spPr bwMode="auto">
            <a:xfrm>
              <a:off x="6756400" y="5219700"/>
              <a:ext cx="793750" cy="958850"/>
            </a:xfrm>
            <a:custGeom>
              <a:avLst/>
              <a:gdLst/>
              <a:ahLst/>
              <a:cxnLst/>
              <a:rect l="0" t="0" r="r" b="b"/>
              <a:pathLst>
                <a:path w="21600" h="21600">
                  <a:moveTo>
                    <a:pt x="21425" y="3972"/>
                  </a:moveTo>
                  <a:lnTo>
                    <a:pt x="20491" y="3055"/>
                  </a:lnTo>
                  <a:lnTo>
                    <a:pt x="19840" y="3271"/>
                  </a:lnTo>
                  <a:lnTo>
                    <a:pt x="19255" y="3594"/>
                  </a:lnTo>
                  <a:lnTo>
                    <a:pt x="18539" y="3971"/>
                  </a:lnTo>
                  <a:lnTo>
                    <a:pt x="18019" y="3971"/>
                  </a:lnTo>
                  <a:lnTo>
                    <a:pt x="17498" y="3055"/>
                  </a:lnTo>
                  <a:lnTo>
                    <a:pt x="17173" y="2570"/>
                  </a:lnTo>
                  <a:lnTo>
                    <a:pt x="16652" y="2570"/>
                  </a:lnTo>
                  <a:lnTo>
                    <a:pt x="16197" y="3109"/>
                  </a:lnTo>
                  <a:lnTo>
                    <a:pt x="15677" y="3729"/>
                  </a:lnTo>
                  <a:lnTo>
                    <a:pt x="15027" y="3729"/>
                  </a:lnTo>
                  <a:lnTo>
                    <a:pt x="14669" y="3460"/>
                  </a:lnTo>
                  <a:lnTo>
                    <a:pt x="14181" y="3729"/>
                  </a:lnTo>
                  <a:lnTo>
                    <a:pt x="13758" y="3729"/>
                  </a:lnTo>
                  <a:lnTo>
                    <a:pt x="13758" y="2839"/>
                  </a:lnTo>
                  <a:lnTo>
                    <a:pt x="13498" y="2327"/>
                  </a:lnTo>
                  <a:lnTo>
                    <a:pt x="13173" y="1761"/>
                  </a:lnTo>
                  <a:lnTo>
                    <a:pt x="12815" y="1114"/>
                  </a:lnTo>
                  <a:lnTo>
                    <a:pt x="13075" y="763"/>
                  </a:lnTo>
                  <a:lnTo>
                    <a:pt x="12815" y="117"/>
                  </a:lnTo>
                  <a:lnTo>
                    <a:pt x="12359" y="252"/>
                  </a:lnTo>
                  <a:lnTo>
                    <a:pt x="11579" y="279"/>
                  </a:lnTo>
                  <a:lnTo>
                    <a:pt x="11467" y="0"/>
                  </a:lnTo>
                  <a:lnTo>
                    <a:pt x="10831" y="305"/>
                  </a:lnTo>
                  <a:lnTo>
                    <a:pt x="10831" y="1141"/>
                  </a:lnTo>
                  <a:lnTo>
                    <a:pt x="10050" y="1141"/>
                  </a:lnTo>
                  <a:lnTo>
                    <a:pt x="9302" y="1653"/>
                  </a:lnTo>
                  <a:lnTo>
                    <a:pt x="8456" y="2057"/>
                  </a:lnTo>
                  <a:lnTo>
                    <a:pt x="8294" y="2408"/>
                  </a:lnTo>
                  <a:lnTo>
                    <a:pt x="7904" y="2408"/>
                  </a:lnTo>
                  <a:lnTo>
                    <a:pt x="7546" y="2408"/>
                  </a:lnTo>
                  <a:lnTo>
                    <a:pt x="7090" y="1895"/>
                  </a:lnTo>
                  <a:lnTo>
                    <a:pt x="6440" y="2408"/>
                  </a:lnTo>
                  <a:lnTo>
                    <a:pt x="5789" y="2839"/>
                  </a:lnTo>
                  <a:lnTo>
                    <a:pt x="4879" y="3270"/>
                  </a:lnTo>
                  <a:lnTo>
                    <a:pt x="4879" y="3702"/>
                  </a:lnTo>
                  <a:lnTo>
                    <a:pt x="5334" y="4106"/>
                  </a:lnTo>
                  <a:lnTo>
                    <a:pt x="5529" y="4503"/>
                  </a:lnTo>
                  <a:lnTo>
                    <a:pt x="5757" y="5130"/>
                  </a:lnTo>
                  <a:lnTo>
                    <a:pt x="5269" y="5777"/>
                  </a:lnTo>
                  <a:lnTo>
                    <a:pt x="4228" y="6343"/>
                  </a:lnTo>
                  <a:lnTo>
                    <a:pt x="3382" y="6748"/>
                  </a:lnTo>
                  <a:lnTo>
                    <a:pt x="2732" y="7260"/>
                  </a:lnTo>
                  <a:lnTo>
                    <a:pt x="2732" y="7960"/>
                  </a:lnTo>
                  <a:lnTo>
                    <a:pt x="3187" y="8473"/>
                  </a:lnTo>
                  <a:lnTo>
                    <a:pt x="3350" y="8958"/>
                  </a:lnTo>
                  <a:lnTo>
                    <a:pt x="3025" y="9227"/>
                  </a:lnTo>
                  <a:lnTo>
                    <a:pt x="2472" y="9470"/>
                  </a:lnTo>
                  <a:lnTo>
                    <a:pt x="2277" y="9848"/>
                  </a:lnTo>
                  <a:lnTo>
                    <a:pt x="2277" y="10333"/>
                  </a:lnTo>
                  <a:lnTo>
                    <a:pt x="2732" y="10333"/>
                  </a:lnTo>
                  <a:lnTo>
                    <a:pt x="2862" y="10737"/>
                  </a:lnTo>
                  <a:lnTo>
                    <a:pt x="2472" y="10872"/>
                  </a:lnTo>
                  <a:lnTo>
                    <a:pt x="1496" y="11384"/>
                  </a:lnTo>
                  <a:lnTo>
                    <a:pt x="1106" y="11977"/>
                  </a:lnTo>
                  <a:lnTo>
                    <a:pt x="943" y="12786"/>
                  </a:lnTo>
                  <a:lnTo>
                    <a:pt x="553" y="13459"/>
                  </a:lnTo>
                  <a:lnTo>
                    <a:pt x="553" y="14349"/>
                  </a:lnTo>
                  <a:lnTo>
                    <a:pt x="162" y="14699"/>
                  </a:lnTo>
                  <a:lnTo>
                    <a:pt x="0" y="14942"/>
                  </a:lnTo>
                  <a:lnTo>
                    <a:pt x="195" y="15158"/>
                  </a:lnTo>
                  <a:lnTo>
                    <a:pt x="228" y="15643"/>
                  </a:lnTo>
                  <a:lnTo>
                    <a:pt x="325" y="16020"/>
                  </a:lnTo>
                  <a:lnTo>
                    <a:pt x="911" y="16155"/>
                  </a:lnTo>
                  <a:lnTo>
                    <a:pt x="1398" y="16155"/>
                  </a:lnTo>
                  <a:lnTo>
                    <a:pt x="2277" y="16479"/>
                  </a:lnTo>
                  <a:lnTo>
                    <a:pt x="2667" y="16020"/>
                  </a:lnTo>
                  <a:lnTo>
                    <a:pt x="2764" y="16479"/>
                  </a:lnTo>
                  <a:lnTo>
                    <a:pt x="3090" y="16802"/>
                  </a:lnTo>
                  <a:lnTo>
                    <a:pt x="3610" y="17233"/>
                  </a:lnTo>
                  <a:lnTo>
                    <a:pt x="3935" y="17233"/>
                  </a:lnTo>
                  <a:lnTo>
                    <a:pt x="4423" y="16883"/>
                  </a:lnTo>
                  <a:lnTo>
                    <a:pt x="4748" y="17072"/>
                  </a:lnTo>
                  <a:lnTo>
                    <a:pt x="4879" y="17745"/>
                  </a:lnTo>
                  <a:lnTo>
                    <a:pt x="5659" y="18420"/>
                  </a:lnTo>
                  <a:lnTo>
                    <a:pt x="6245" y="18986"/>
                  </a:lnTo>
                  <a:cubicBezTo>
                    <a:pt x="6245" y="18986"/>
                    <a:pt x="5854" y="19093"/>
                    <a:pt x="5789" y="19174"/>
                  </a:cubicBezTo>
                  <a:cubicBezTo>
                    <a:pt x="5724" y="19255"/>
                    <a:pt x="5887" y="19552"/>
                    <a:pt x="5887" y="19552"/>
                  </a:cubicBezTo>
                  <a:lnTo>
                    <a:pt x="6033" y="20171"/>
                  </a:lnTo>
                  <a:lnTo>
                    <a:pt x="6033" y="20791"/>
                  </a:lnTo>
                  <a:lnTo>
                    <a:pt x="6570" y="21142"/>
                  </a:lnTo>
                  <a:lnTo>
                    <a:pt x="6955" y="21514"/>
                  </a:lnTo>
                  <a:lnTo>
                    <a:pt x="7594" y="21236"/>
                  </a:lnTo>
                  <a:lnTo>
                    <a:pt x="7985" y="21600"/>
                  </a:lnTo>
                  <a:lnTo>
                    <a:pt x="8765" y="20509"/>
                  </a:lnTo>
                  <a:lnTo>
                    <a:pt x="9204" y="20913"/>
                  </a:lnTo>
                  <a:lnTo>
                    <a:pt x="9741" y="20185"/>
                  </a:lnTo>
                  <a:lnTo>
                    <a:pt x="10814" y="18810"/>
                  </a:lnTo>
                  <a:lnTo>
                    <a:pt x="11936" y="17759"/>
                  </a:lnTo>
                  <a:lnTo>
                    <a:pt x="11595" y="16829"/>
                  </a:lnTo>
                  <a:lnTo>
                    <a:pt x="12326" y="16546"/>
                  </a:lnTo>
                  <a:lnTo>
                    <a:pt x="13107" y="16425"/>
                  </a:lnTo>
                  <a:lnTo>
                    <a:pt x="13839" y="16829"/>
                  </a:lnTo>
                  <a:lnTo>
                    <a:pt x="14181" y="16020"/>
                  </a:lnTo>
                  <a:lnTo>
                    <a:pt x="14668" y="15090"/>
                  </a:lnTo>
                  <a:lnTo>
                    <a:pt x="15352" y="15171"/>
                  </a:lnTo>
                  <a:lnTo>
                    <a:pt x="15352" y="14443"/>
                  </a:lnTo>
                  <a:lnTo>
                    <a:pt x="15352" y="13594"/>
                  </a:lnTo>
                  <a:lnTo>
                    <a:pt x="16230" y="13635"/>
                  </a:lnTo>
                  <a:lnTo>
                    <a:pt x="18181" y="13594"/>
                  </a:lnTo>
                  <a:lnTo>
                    <a:pt x="16425" y="12745"/>
                  </a:lnTo>
                  <a:lnTo>
                    <a:pt x="17059" y="12462"/>
                  </a:lnTo>
                  <a:lnTo>
                    <a:pt x="17450" y="12704"/>
                  </a:lnTo>
                  <a:lnTo>
                    <a:pt x="18425" y="12704"/>
                  </a:lnTo>
                  <a:lnTo>
                    <a:pt x="18913" y="12503"/>
                  </a:lnTo>
                  <a:lnTo>
                    <a:pt x="20035" y="12098"/>
                  </a:lnTo>
                  <a:lnTo>
                    <a:pt x="19791" y="11209"/>
                  </a:lnTo>
                  <a:lnTo>
                    <a:pt x="18523" y="10764"/>
                  </a:lnTo>
                  <a:lnTo>
                    <a:pt x="18815" y="9996"/>
                  </a:lnTo>
                  <a:lnTo>
                    <a:pt x="18181" y="9268"/>
                  </a:lnTo>
                  <a:lnTo>
                    <a:pt x="18474" y="8702"/>
                  </a:lnTo>
                  <a:lnTo>
                    <a:pt x="19889" y="8136"/>
                  </a:lnTo>
                  <a:lnTo>
                    <a:pt x="18962" y="7529"/>
                  </a:lnTo>
                  <a:lnTo>
                    <a:pt x="20182" y="6963"/>
                  </a:lnTo>
                  <a:lnTo>
                    <a:pt x="20670" y="6397"/>
                  </a:lnTo>
                  <a:lnTo>
                    <a:pt x="20133" y="5831"/>
                  </a:lnTo>
                  <a:lnTo>
                    <a:pt x="20718" y="5467"/>
                  </a:lnTo>
                  <a:lnTo>
                    <a:pt x="20767" y="4739"/>
                  </a:lnTo>
                  <a:lnTo>
                    <a:pt x="21303" y="4618"/>
                  </a:lnTo>
                  <a:lnTo>
                    <a:pt x="21600" y="4503"/>
                  </a:lnTo>
                  <a:cubicBezTo>
                    <a:pt x="21600" y="4503"/>
                    <a:pt x="21425" y="3972"/>
                    <a:pt x="21425" y="3972"/>
                  </a:cubicBezTo>
                  <a:close/>
                  <a:moveTo>
                    <a:pt x="21425" y="3972"/>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8" name="AutoShape 20"/>
            <p:cNvSpPr>
              <a:spLocks/>
            </p:cNvSpPr>
            <p:nvPr/>
          </p:nvSpPr>
          <p:spPr bwMode="auto">
            <a:xfrm>
              <a:off x="7556500" y="5765800"/>
              <a:ext cx="357188" cy="677863"/>
            </a:xfrm>
            <a:custGeom>
              <a:avLst/>
              <a:gdLst/>
              <a:ahLst/>
              <a:cxnLst/>
              <a:rect l="0" t="0" r="r" b="b"/>
              <a:pathLst>
                <a:path w="21600" h="21600">
                  <a:moveTo>
                    <a:pt x="7435" y="21600"/>
                  </a:moveTo>
                  <a:lnTo>
                    <a:pt x="8808" y="21600"/>
                  </a:lnTo>
                  <a:lnTo>
                    <a:pt x="9604" y="20915"/>
                  </a:lnTo>
                  <a:lnTo>
                    <a:pt x="9604" y="19771"/>
                  </a:lnTo>
                  <a:lnTo>
                    <a:pt x="9604" y="18629"/>
                  </a:lnTo>
                  <a:lnTo>
                    <a:pt x="10615" y="18057"/>
                  </a:lnTo>
                  <a:lnTo>
                    <a:pt x="10615" y="17181"/>
                  </a:lnTo>
                  <a:lnTo>
                    <a:pt x="12421" y="16267"/>
                  </a:lnTo>
                  <a:lnTo>
                    <a:pt x="13938" y="14972"/>
                  </a:lnTo>
                  <a:lnTo>
                    <a:pt x="15240" y="14019"/>
                  </a:lnTo>
                  <a:lnTo>
                    <a:pt x="15602" y="12991"/>
                  </a:lnTo>
                  <a:lnTo>
                    <a:pt x="16396" y="11200"/>
                  </a:lnTo>
                  <a:lnTo>
                    <a:pt x="16396" y="10133"/>
                  </a:lnTo>
                  <a:lnTo>
                    <a:pt x="17552" y="9105"/>
                  </a:lnTo>
                  <a:lnTo>
                    <a:pt x="17552" y="7962"/>
                  </a:lnTo>
                  <a:lnTo>
                    <a:pt x="17914" y="7239"/>
                  </a:lnTo>
                  <a:lnTo>
                    <a:pt x="19070" y="6667"/>
                  </a:lnTo>
                  <a:lnTo>
                    <a:pt x="19070" y="5753"/>
                  </a:lnTo>
                  <a:lnTo>
                    <a:pt x="20298" y="5029"/>
                  </a:lnTo>
                  <a:lnTo>
                    <a:pt x="20298" y="3924"/>
                  </a:lnTo>
                  <a:lnTo>
                    <a:pt x="19576" y="3543"/>
                  </a:lnTo>
                  <a:lnTo>
                    <a:pt x="19721" y="2933"/>
                  </a:lnTo>
                  <a:lnTo>
                    <a:pt x="20733" y="2285"/>
                  </a:lnTo>
                  <a:lnTo>
                    <a:pt x="21600" y="1943"/>
                  </a:lnTo>
                  <a:lnTo>
                    <a:pt x="20154" y="1143"/>
                  </a:lnTo>
                  <a:lnTo>
                    <a:pt x="18854" y="839"/>
                  </a:lnTo>
                  <a:lnTo>
                    <a:pt x="17697" y="343"/>
                  </a:lnTo>
                  <a:lnTo>
                    <a:pt x="15890" y="0"/>
                  </a:lnTo>
                  <a:lnTo>
                    <a:pt x="14878" y="724"/>
                  </a:lnTo>
                  <a:lnTo>
                    <a:pt x="13288" y="1181"/>
                  </a:lnTo>
                  <a:lnTo>
                    <a:pt x="11771" y="1562"/>
                  </a:lnTo>
                  <a:lnTo>
                    <a:pt x="10686" y="2096"/>
                  </a:lnTo>
                  <a:lnTo>
                    <a:pt x="9169" y="3238"/>
                  </a:lnTo>
                  <a:lnTo>
                    <a:pt x="8880" y="3924"/>
                  </a:lnTo>
                  <a:lnTo>
                    <a:pt x="6135" y="5486"/>
                  </a:lnTo>
                  <a:lnTo>
                    <a:pt x="4616" y="6857"/>
                  </a:lnTo>
                  <a:lnTo>
                    <a:pt x="3244" y="8686"/>
                  </a:lnTo>
                  <a:lnTo>
                    <a:pt x="2015" y="9562"/>
                  </a:lnTo>
                  <a:lnTo>
                    <a:pt x="1293" y="10095"/>
                  </a:lnTo>
                  <a:lnTo>
                    <a:pt x="643" y="10628"/>
                  </a:lnTo>
                  <a:lnTo>
                    <a:pt x="643" y="11200"/>
                  </a:lnTo>
                  <a:lnTo>
                    <a:pt x="0" y="11467"/>
                  </a:lnTo>
                  <a:lnTo>
                    <a:pt x="932" y="11733"/>
                  </a:lnTo>
                  <a:lnTo>
                    <a:pt x="787" y="12572"/>
                  </a:lnTo>
                  <a:lnTo>
                    <a:pt x="0" y="12991"/>
                  </a:lnTo>
                  <a:lnTo>
                    <a:pt x="0" y="13982"/>
                  </a:lnTo>
                  <a:lnTo>
                    <a:pt x="0" y="14514"/>
                  </a:lnTo>
                  <a:lnTo>
                    <a:pt x="1147" y="15124"/>
                  </a:lnTo>
                  <a:lnTo>
                    <a:pt x="1654" y="15924"/>
                  </a:lnTo>
                  <a:lnTo>
                    <a:pt x="2015" y="17105"/>
                  </a:lnTo>
                  <a:lnTo>
                    <a:pt x="3316" y="17676"/>
                  </a:lnTo>
                  <a:lnTo>
                    <a:pt x="4689" y="18286"/>
                  </a:lnTo>
                  <a:lnTo>
                    <a:pt x="6206" y="18857"/>
                  </a:lnTo>
                  <a:lnTo>
                    <a:pt x="7146" y="19733"/>
                  </a:lnTo>
                  <a:lnTo>
                    <a:pt x="6930" y="20495"/>
                  </a:lnTo>
                  <a:cubicBezTo>
                    <a:pt x="6930" y="20495"/>
                    <a:pt x="7435" y="21600"/>
                    <a:pt x="7435" y="21600"/>
                  </a:cubicBezTo>
                  <a:close/>
                  <a:moveTo>
                    <a:pt x="7435" y="21600"/>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39" name="AutoShape 21"/>
            <p:cNvSpPr>
              <a:spLocks/>
            </p:cNvSpPr>
            <p:nvPr/>
          </p:nvSpPr>
          <p:spPr bwMode="auto">
            <a:xfrm>
              <a:off x="6337300" y="4902200"/>
              <a:ext cx="846138" cy="1133475"/>
            </a:xfrm>
            <a:custGeom>
              <a:avLst/>
              <a:gdLst/>
              <a:ahLst/>
              <a:cxnLst/>
              <a:rect l="0" t="0" r="r" b="b"/>
              <a:pathLst>
                <a:path w="21600" h="21600">
                  <a:moveTo>
                    <a:pt x="19294" y="1549"/>
                  </a:moveTo>
                  <a:lnTo>
                    <a:pt x="18774" y="1413"/>
                  </a:lnTo>
                  <a:lnTo>
                    <a:pt x="17859" y="1527"/>
                  </a:lnTo>
                  <a:lnTo>
                    <a:pt x="17034" y="1618"/>
                  </a:lnTo>
                  <a:lnTo>
                    <a:pt x="16882" y="1367"/>
                  </a:lnTo>
                  <a:lnTo>
                    <a:pt x="16454" y="843"/>
                  </a:lnTo>
                  <a:lnTo>
                    <a:pt x="15874" y="570"/>
                  </a:lnTo>
                  <a:lnTo>
                    <a:pt x="15294" y="342"/>
                  </a:lnTo>
                  <a:lnTo>
                    <a:pt x="14958" y="707"/>
                  </a:lnTo>
                  <a:lnTo>
                    <a:pt x="14806" y="1048"/>
                  </a:lnTo>
                  <a:lnTo>
                    <a:pt x="14501" y="1413"/>
                  </a:lnTo>
                  <a:lnTo>
                    <a:pt x="13798" y="1800"/>
                  </a:lnTo>
                  <a:lnTo>
                    <a:pt x="13341" y="1686"/>
                  </a:lnTo>
                  <a:lnTo>
                    <a:pt x="13035" y="1390"/>
                  </a:lnTo>
                  <a:lnTo>
                    <a:pt x="13341" y="957"/>
                  </a:lnTo>
                  <a:lnTo>
                    <a:pt x="14012" y="592"/>
                  </a:lnTo>
                  <a:lnTo>
                    <a:pt x="13829" y="137"/>
                  </a:lnTo>
                  <a:lnTo>
                    <a:pt x="13432" y="0"/>
                  </a:lnTo>
                  <a:lnTo>
                    <a:pt x="12608" y="0"/>
                  </a:lnTo>
                  <a:lnTo>
                    <a:pt x="12608" y="319"/>
                  </a:lnTo>
                  <a:lnTo>
                    <a:pt x="12181" y="707"/>
                  </a:lnTo>
                  <a:lnTo>
                    <a:pt x="11631" y="1025"/>
                  </a:lnTo>
                  <a:lnTo>
                    <a:pt x="10837" y="1162"/>
                  </a:lnTo>
                  <a:lnTo>
                    <a:pt x="10501" y="1413"/>
                  </a:lnTo>
                  <a:lnTo>
                    <a:pt x="9555" y="1390"/>
                  </a:lnTo>
                  <a:lnTo>
                    <a:pt x="8853" y="1162"/>
                  </a:lnTo>
                  <a:lnTo>
                    <a:pt x="7937" y="1162"/>
                  </a:lnTo>
                  <a:lnTo>
                    <a:pt x="7937" y="1435"/>
                  </a:lnTo>
                  <a:lnTo>
                    <a:pt x="7510" y="1800"/>
                  </a:lnTo>
                  <a:lnTo>
                    <a:pt x="6594" y="1937"/>
                  </a:lnTo>
                  <a:lnTo>
                    <a:pt x="6075" y="2278"/>
                  </a:lnTo>
                  <a:lnTo>
                    <a:pt x="5587" y="2278"/>
                  </a:lnTo>
                  <a:lnTo>
                    <a:pt x="5251" y="2848"/>
                  </a:lnTo>
                  <a:lnTo>
                    <a:pt x="4091" y="2848"/>
                  </a:lnTo>
                  <a:lnTo>
                    <a:pt x="3968" y="3076"/>
                  </a:lnTo>
                  <a:lnTo>
                    <a:pt x="2686" y="3076"/>
                  </a:lnTo>
                  <a:lnTo>
                    <a:pt x="2564" y="3623"/>
                  </a:lnTo>
                  <a:lnTo>
                    <a:pt x="1923" y="3623"/>
                  </a:lnTo>
                  <a:lnTo>
                    <a:pt x="1252" y="3987"/>
                  </a:lnTo>
                  <a:lnTo>
                    <a:pt x="1221" y="4420"/>
                  </a:lnTo>
                  <a:lnTo>
                    <a:pt x="1587" y="4831"/>
                  </a:lnTo>
                  <a:lnTo>
                    <a:pt x="2015" y="5149"/>
                  </a:lnTo>
                  <a:lnTo>
                    <a:pt x="2106" y="5764"/>
                  </a:lnTo>
                  <a:lnTo>
                    <a:pt x="2167" y="6266"/>
                  </a:lnTo>
                  <a:lnTo>
                    <a:pt x="2808" y="6585"/>
                  </a:lnTo>
                  <a:lnTo>
                    <a:pt x="2808" y="6995"/>
                  </a:lnTo>
                  <a:lnTo>
                    <a:pt x="2473" y="7154"/>
                  </a:lnTo>
                  <a:lnTo>
                    <a:pt x="1862" y="7519"/>
                  </a:lnTo>
                  <a:lnTo>
                    <a:pt x="1801" y="7815"/>
                  </a:lnTo>
                  <a:lnTo>
                    <a:pt x="1557" y="8203"/>
                  </a:lnTo>
                  <a:lnTo>
                    <a:pt x="671" y="8658"/>
                  </a:lnTo>
                  <a:lnTo>
                    <a:pt x="580" y="9160"/>
                  </a:lnTo>
                  <a:lnTo>
                    <a:pt x="0" y="9592"/>
                  </a:lnTo>
                  <a:lnTo>
                    <a:pt x="0" y="10071"/>
                  </a:lnTo>
                  <a:lnTo>
                    <a:pt x="305" y="10914"/>
                  </a:lnTo>
                  <a:lnTo>
                    <a:pt x="1252" y="10914"/>
                  </a:lnTo>
                  <a:lnTo>
                    <a:pt x="1404" y="11256"/>
                  </a:lnTo>
                  <a:lnTo>
                    <a:pt x="733" y="11393"/>
                  </a:lnTo>
                  <a:lnTo>
                    <a:pt x="1038" y="11848"/>
                  </a:lnTo>
                  <a:lnTo>
                    <a:pt x="1496" y="12144"/>
                  </a:lnTo>
                  <a:lnTo>
                    <a:pt x="1618" y="12532"/>
                  </a:lnTo>
                  <a:lnTo>
                    <a:pt x="1312" y="12851"/>
                  </a:lnTo>
                  <a:lnTo>
                    <a:pt x="1435" y="13284"/>
                  </a:lnTo>
                  <a:lnTo>
                    <a:pt x="1801" y="13648"/>
                  </a:lnTo>
                  <a:lnTo>
                    <a:pt x="2564" y="13648"/>
                  </a:lnTo>
                  <a:lnTo>
                    <a:pt x="2808" y="14127"/>
                  </a:lnTo>
                  <a:lnTo>
                    <a:pt x="2411" y="14559"/>
                  </a:lnTo>
                  <a:lnTo>
                    <a:pt x="2106" y="15250"/>
                  </a:lnTo>
                  <a:lnTo>
                    <a:pt x="2411" y="15516"/>
                  </a:lnTo>
                  <a:lnTo>
                    <a:pt x="2411" y="16041"/>
                  </a:lnTo>
                  <a:lnTo>
                    <a:pt x="2213" y="16519"/>
                  </a:lnTo>
                  <a:lnTo>
                    <a:pt x="1801" y="16838"/>
                  </a:lnTo>
                  <a:lnTo>
                    <a:pt x="1801" y="17339"/>
                  </a:lnTo>
                  <a:lnTo>
                    <a:pt x="2213" y="17339"/>
                  </a:lnTo>
                  <a:lnTo>
                    <a:pt x="2213" y="18034"/>
                  </a:lnTo>
                  <a:lnTo>
                    <a:pt x="2026" y="18292"/>
                  </a:lnTo>
                  <a:cubicBezTo>
                    <a:pt x="2085" y="18320"/>
                    <a:pt x="2137" y="18342"/>
                    <a:pt x="2137" y="18342"/>
                  </a:cubicBezTo>
                  <a:lnTo>
                    <a:pt x="2236" y="18535"/>
                  </a:lnTo>
                  <a:lnTo>
                    <a:pt x="2785" y="18723"/>
                  </a:lnTo>
                  <a:lnTo>
                    <a:pt x="3335" y="18723"/>
                  </a:lnTo>
                  <a:lnTo>
                    <a:pt x="3586" y="18518"/>
                  </a:lnTo>
                  <a:lnTo>
                    <a:pt x="4228" y="18262"/>
                  </a:lnTo>
                  <a:lnTo>
                    <a:pt x="4823" y="18142"/>
                  </a:lnTo>
                  <a:lnTo>
                    <a:pt x="5258" y="18228"/>
                  </a:lnTo>
                  <a:lnTo>
                    <a:pt x="5739" y="18535"/>
                  </a:lnTo>
                  <a:lnTo>
                    <a:pt x="5808" y="18860"/>
                  </a:lnTo>
                  <a:lnTo>
                    <a:pt x="5624" y="19373"/>
                  </a:lnTo>
                  <a:lnTo>
                    <a:pt x="5166" y="19373"/>
                  </a:lnTo>
                  <a:lnTo>
                    <a:pt x="4755" y="19458"/>
                  </a:lnTo>
                  <a:lnTo>
                    <a:pt x="4457" y="19834"/>
                  </a:lnTo>
                  <a:lnTo>
                    <a:pt x="4067" y="20330"/>
                  </a:lnTo>
                  <a:lnTo>
                    <a:pt x="3564" y="20791"/>
                  </a:lnTo>
                  <a:lnTo>
                    <a:pt x="3175" y="21133"/>
                  </a:lnTo>
                  <a:lnTo>
                    <a:pt x="3404" y="21406"/>
                  </a:lnTo>
                  <a:lnTo>
                    <a:pt x="3815" y="21406"/>
                  </a:lnTo>
                  <a:lnTo>
                    <a:pt x="4335" y="21600"/>
                  </a:lnTo>
                  <a:cubicBezTo>
                    <a:pt x="4335" y="21600"/>
                    <a:pt x="5053" y="21543"/>
                    <a:pt x="5098" y="21532"/>
                  </a:cubicBezTo>
                  <a:cubicBezTo>
                    <a:pt x="5144" y="21520"/>
                    <a:pt x="5556" y="21406"/>
                    <a:pt x="5556" y="21406"/>
                  </a:cubicBezTo>
                  <a:lnTo>
                    <a:pt x="6121" y="21258"/>
                  </a:lnTo>
                  <a:lnTo>
                    <a:pt x="6701" y="21122"/>
                  </a:lnTo>
                  <a:lnTo>
                    <a:pt x="6930" y="20825"/>
                  </a:lnTo>
                  <a:lnTo>
                    <a:pt x="7815" y="20780"/>
                  </a:lnTo>
                  <a:lnTo>
                    <a:pt x="8426" y="20586"/>
                  </a:lnTo>
                  <a:lnTo>
                    <a:pt x="8838" y="20506"/>
                  </a:lnTo>
                  <a:lnTo>
                    <a:pt x="9189" y="20620"/>
                  </a:lnTo>
                  <a:lnTo>
                    <a:pt x="9509" y="20848"/>
                  </a:lnTo>
                  <a:lnTo>
                    <a:pt x="9799" y="21122"/>
                  </a:lnTo>
                  <a:lnTo>
                    <a:pt x="10349" y="21315"/>
                  </a:lnTo>
                  <a:lnTo>
                    <a:pt x="10731" y="21258"/>
                  </a:lnTo>
                  <a:lnTo>
                    <a:pt x="10974" y="21042"/>
                  </a:lnTo>
                  <a:lnTo>
                    <a:pt x="10670" y="20859"/>
                  </a:lnTo>
                  <a:lnTo>
                    <a:pt x="10593" y="20643"/>
                  </a:lnTo>
                  <a:lnTo>
                    <a:pt x="10471" y="20415"/>
                  </a:lnTo>
                  <a:lnTo>
                    <a:pt x="10837" y="19777"/>
                  </a:lnTo>
                  <a:lnTo>
                    <a:pt x="11263" y="19688"/>
                  </a:lnTo>
                  <a:lnTo>
                    <a:pt x="11142" y="19663"/>
                  </a:lnTo>
                  <a:lnTo>
                    <a:pt x="11051" y="19344"/>
                  </a:lnTo>
                  <a:lnTo>
                    <a:pt x="11020" y="18934"/>
                  </a:lnTo>
                  <a:lnTo>
                    <a:pt x="10837" y="18752"/>
                  </a:lnTo>
                  <a:lnTo>
                    <a:pt x="10990" y="18547"/>
                  </a:lnTo>
                  <a:lnTo>
                    <a:pt x="11356" y="18250"/>
                  </a:lnTo>
                  <a:lnTo>
                    <a:pt x="11356" y="17498"/>
                  </a:lnTo>
                  <a:lnTo>
                    <a:pt x="11722" y="16929"/>
                  </a:lnTo>
                  <a:lnTo>
                    <a:pt x="11875" y="16245"/>
                  </a:lnTo>
                  <a:lnTo>
                    <a:pt x="12241" y="15744"/>
                  </a:lnTo>
                  <a:lnTo>
                    <a:pt x="13157" y="15311"/>
                  </a:lnTo>
                  <a:lnTo>
                    <a:pt x="13524" y="15198"/>
                  </a:lnTo>
                  <a:lnTo>
                    <a:pt x="13401" y="14856"/>
                  </a:lnTo>
                  <a:lnTo>
                    <a:pt x="12974" y="14856"/>
                  </a:lnTo>
                  <a:lnTo>
                    <a:pt x="12974" y="14445"/>
                  </a:lnTo>
                  <a:lnTo>
                    <a:pt x="13157" y="14126"/>
                  </a:lnTo>
                  <a:lnTo>
                    <a:pt x="13676" y="13921"/>
                  </a:lnTo>
                  <a:lnTo>
                    <a:pt x="13982" y="13694"/>
                  </a:lnTo>
                  <a:lnTo>
                    <a:pt x="13829" y="13284"/>
                  </a:lnTo>
                  <a:lnTo>
                    <a:pt x="13401" y="12850"/>
                  </a:lnTo>
                  <a:lnTo>
                    <a:pt x="13401" y="12258"/>
                  </a:lnTo>
                  <a:lnTo>
                    <a:pt x="14012" y="11825"/>
                  </a:lnTo>
                  <a:lnTo>
                    <a:pt x="14806" y="11483"/>
                  </a:lnTo>
                  <a:lnTo>
                    <a:pt x="15783" y="11005"/>
                  </a:lnTo>
                  <a:lnTo>
                    <a:pt x="16241" y="10458"/>
                  </a:lnTo>
                  <a:lnTo>
                    <a:pt x="16027" y="9928"/>
                  </a:lnTo>
                  <a:lnTo>
                    <a:pt x="15843" y="9592"/>
                  </a:lnTo>
                  <a:lnTo>
                    <a:pt x="15416" y="9250"/>
                  </a:lnTo>
                  <a:lnTo>
                    <a:pt x="15416" y="8886"/>
                  </a:lnTo>
                  <a:lnTo>
                    <a:pt x="16271" y="8521"/>
                  </a:lnTo>
                  <a:lnTo>
                    <a:pt x="16882" y="8157"/>
                  </a:lnTo>
                  <a:lnTo>
                    <a:pt x="17492" y="7724"/>
                  </a:lnTo>
                  <a:lnTo>
                    <a:pt x="17920" y="8157"/>
                  </a:lnTo>
                  <a:lnTo>
                    <a:pt x="18256" y="8157"/>
                  </a:lnTo>
                  <a:lnTo>
                    <a:pt x="18622" y="8157"/>
                  </a:lnTo>
                  <a:lnTo>
                    <a:pt x="18774" y="7861"/>
                  </a:lnTo>
                  <a:lnTo>
                    <a:pt x="19568" y="7519"/>
                  </a:lnTo>
                  <a:lnTo>
                    <a:pt x="20270" y="7086"/>
                  </a:lnTo>
                  <a:lnTo>
                    <a:pt x="21003" y="7086"/>
                  </a:lnTo>
                  <a:lnTo>
                    <a:pt x="21003" y="6380"/>
                  </a:lnTo>
                  <a:lnTo>
                    <a:pt x="21600" y="6122"/>
                  </a:lnTo>
                  <a:lnTo>
                    <a:pt x="21553" y="6015"/>
                  </a:lnTo>
                  <a:lnTo>
                    <a:pt x="21400" y="5469"/>
                  </a:lnTo>
                  <a:lnTo>
                    <a:pt x="21125" y="4899"/>
                  </a:lnTo>
                  <a:lnTo>
                    <a:pt x="20912" y="4284"/>
                  </a:lnTo>
                  <a:lnTo>
                    <a:pt x="20087" y="3828"/>
                  </a:lnTo>
                  <a:lnTo>
                    <a:pt x="19690" y="3555"/>
                  </a:lnTo>
                  <a:cubicBezTo>
                    <a:pt x="19690" y="3555"/>
                    <a:pt x="19294" y="3121"/>
                    <a:pt x="19294" y="3053"/>
                  </a:cubicBezTo>
                  <a:cubicBezTo>
                    <a:pt x="19294" y="2985"/>
                    <a:pt x="19477" y="2506"/>
                    <a:pt x="19477" y="2506"/>
                  </a:cubicBezTo>
                  <a:lnTo>
                    <a:pt x="20092" y="2096"/>
                  </a:lnTo>
                  <a:lnTo>
                    <a:pt x="19904" y="1937"/>
                  </a:lnTo>
                  <a:cubicBezTo>
                    <a:pt x="19904" y="1937"/>
                    <a:pt x="19294" y="1549"/>
                    <a:pt x="19294" y="1549"/>
                  </a:cubicBezTo>
                  <a:close/>
                  <a:moveTo>
                    <a:pt x="19294" y="1549"/>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0" name="AutoShape 22"/>
            <p:cNvSpPr>
              <a:spLocks/>
            </p:cNvSpPr>
            <p:nvPr/>
          </p:nvSpPr>
          <p:spPr bwMode="auto">
            <a:xfrm>
              <a:off x="5486400" y="4927600"/>
              <a:ext cx="962025" cy="1087438"/>
            </a:xfrm>
            <a:custGeom>
              <a:avLst/>
              <a:gdLst/>
              <a:ahLst/>
              <a:cxnLst/>
              <a:rect l="0" t="0" r="r" b="b"/>
              <a:pathLst>
                <a:path w="21600" h="21600">
                  <a:moveTo>
                    <a:pt x="19128" y="3812"/>
                  </a:moveTo>
                  <a:lnTo>
                    <a:pt x="19128" y="3420"/>
                  </a:lnTo>
                  <a:lnTo>
                    <a:pt x="19128" y="2850"/>
                  </a:lnTo>
                  <a:lnTo>
                    <a:pt x="19504" y="2351"/>
                  </a:lnTo>
                  <a:lnTo>
                    <a:pt x="19504" y="1781"/>
                  </a:lnTo>
                  <a:lnTo>
                    <a:pt x="19128" y="1603"/>
                  </a:lnTo>
                  <a:lnTo>
                    <a:pt x="18537" y="1425"/>
                  </a:lnTo>
                  <a:lnTo>
                    <a:pt x="18537" y="891"/>
                  </a:lnTo>
                  <a:lnTo>
                    <a:pt x="18215" y="1354"/>
                  </a:lnTo>
                  <a:lnTo>
                    <a:pt x="17489" y="1992"/>
                  </a:lnTo>
                  <a:lnTo>
                    <a:pt x="16885" y="2423"/>
                  </a:lnTo>
                  <a:lnTo>
                    <a:pt x="16321" y="2209"/>
                  </a:lnTo>
                  <a:lnTo>
                    <a:pt x="16321" y="1817"/>
                  </a:lnTo>
                  <a:lnTo>
                    <a:pt x="16321" y="1390"/>
                  </a:lnTo>
                  <a:lnTo>
                    <a:pt x="16039" y="1105"/>
                  </a:lnTo>
                  <a:lnTo>
                    <a:pt x="15595" y="1532"/>
                  </a:lnTo>
                  <a:lnTo>
                    <a:pt x="14790" y="1995"/>
                  </a:lnTo>
                  <a:lnTo>
                    <a:pt x="13782" y="2031"/>
                  </a:lnTo>
                  <a:lnTo>
                    <a:pt x="13137" y="1568"/>
                  </a:lnTo>
                  <a:lnTo>
                    <a:pt x="12170" y="962"/>
                  </a:lnTo>
                  <a:lnTo>
                    <a:pt x="10679" y="641"/>
                  </a:lnTo>
                  <a:lnTo>
                    <a:pt x="9873" y="356"/>
                  </a:lnTo>
                  <a:lnTo>
                    <a:pt x="8825" y="250"/>
                  </a:lnTo>
                  <a:lnTo>
                    <a:pt x="7778" y="0"/>
                  </a:lnTo>
                  <a:lnTo>
                    <a:pt x="7092" y="214"/>
                  </a:lnTo>
                  <a:lnTo>
                    <a:pt x="6810" y="713"/>
                  </a:lnTo>
                  <a:lnTo>
                    <a:pt x="7092" y="1069"/>
                  </a:lnTo>
                  <a:lnTo>
                    <a:pt x="7092" y="1532"/>
                  </a:lnTo>
                  <a:lnTo>
                    <a:pt x="6528" y="1959"/>
                  </a:lnTo>
                  <a:lnTo>
                    <a:pt x="5924" y="1674"/>
                  </a:lnTo>
                  <a:lnTo>
                    <a:pt x="5400" y="1318"/>
                  </a:lnTo>
                  <a:lnTo>
                    <a:pt x="3990" y="1532"/>
                  </a:lnTo>
                  <a:lnTo>
                    <a:pt x="3385" y="1959"/>
                  </a:lnTo>
                  <a:lnTo>
                    <a:pt x="2619" y="2315"/>
                  </a:lnTo>
                  <a:lnTo>
                    <a:pt x="2217" y="3313"/>
                  </a:lnTo>
                  <a:lnTo>
                    <a:pt x="1773" y="3847"/>
                  </a:lnTo>
                  <a:lnTo>
                    <a:pt x="2096" y="4453"/>
                  </a:lnTo>
                  <a:lnTo>
                    <a:pt x="1572" y="4738"/>
                  </a:lnTo>
                  <a:lnTo>
                    <a:pt x="1572" y="5415"/>
                  </a:lnTo>
                  <a:lnTo>
                    <a:pt x="1934" y="5870"/>
                  </a:lnTo>
                  <a:lnTo>
                    <a:pt x="1572" y="6448"/>
                  </a:lnTo>
                  <a:lnTo>
                    <a:pt x="1773" y="7161"/>
                  </a:lnTo>
                  <a:lnTo>
                    <a:pt x="2217" y="7623"/>
                  </a:lnTo>
                  <a:lnTo>
                    <a:pt x="1894" y="8015"/>
                  </a:lnTo>
                  <a:lnTo>
                    <a:pt x="1894" y="8799"/>
                  </a:lnTo>
                  <a:lnTo>
                    <a:pt x="2257" y="9369"/>
                  </a:lnTo>
                  <a:lnTo>
                    <a:pt x="2781" y="9725"/>
                  </a:lnTo>
                  <a:lnTo>
                    <a:pt x="2418" y="10260"/>
                  </a:lnTo>
                  <a:lnTo>
                    <a:pt x="1894" y="10747"/>
                  </a:lnTo>
                  <a:lnTo>
                    <a:pt x="1088" y="10747"/>
                  </a:lnTo>
                  <a:lnTo>
                    <a:pt x="0" y="11720"/>
                  </a:lnTo>
                  <a:lnTo>
                    <a:pt x="0" y="12254"/>
                  </a:lnTo>
                  <a:lnTo>
                    <a:pt x="604" y="12254"/>
                  </a:lnTo>
                  <a:lnTo>
                    <a:pt x="1088" y="11934"/>
                  </a:lnTo>
                  <a:lnTo>
                    <a:pt x="1894" y="11934"/>
                  </a:lnTo>
                  <a:lnTo>
                    <a:pt x="2519" y="11934"/>
                  </a:lnTo>
                  <a:lnTo>
                    <a:pt x="3143" y="12433"/>
                  </a:lnTo>
                  <a:lnTo>
                    <a:pt x="2499" y="13288"/>
                  </a:lnTo>
                  <a:lnTo>
                    <a:pt x="2196" y="13679"/>
                  </a:lnTo>
                  <a:lnTo>
                    <a:pt x="2499" y="14356"/>
                  </a:lnTo>
                  <a:lnTo>
                    <a:pt x="1894" y="14879"/>
                  </a:lnTo>
                  <a:lnTo>
                    <a:pt x="2499" y="15176"/>
                  </a:lnTo>
                  <a:lnTo>
                    <a:pt x="2499" y="15639"/>
                  </a:lnTo>
                  <a:lnTo>
                    <a:pt x="2499" y="16316"/>
                  </a:lnTo>
                  <a:cubicBezTo>
                    <a:pt x="2499" y="16316"/>
                    <a:pt x="2499" y="16407"/>
                    <a:pt x="2499" y="16517"/>
                  </a:cubicBezTo>
                  <a:lnTo>
                    <a:pt x="2848" y="16517"/>
                  </a:lnTo>
                  <a:lnTo>
                    <a:pt x="3332" y="16517"/>
                  </a:lnTo>
                  <a:lnTo>
                    <a:pt x="3681" y="16802"/>
                  </a:lnTo>
                  <a:lnTo>
                    <a:pt x="3976" y="16731"/>
                  </a:lnTo>
                  <a:lnTo>
                    <a:pt x="3976" y="16161"/>
                  </a:lnTo>
                  <a:lnTo>
                    <a:pt x="4191" y="15829"/>
                  </a:lnTo>
                  <a:lnTo>
                    <a:pt x="4675" y="15615"/>
                  </a:lnTo>
                  <a:lnTo>
                    <a:pt x="4997" y="15781"/>
                  </a:lnTo>
                  <a:lnTo>
                    <a:pt x="5293" y="16232"/>
                  </a:lnTo>
                  <a:lnTo>
                    <a:pt x="5642" y="16375"/>
                  </a:lnTo>
                  <a:lnTo>
                    <a:pt x="6072" y="16304"/>
                  </a:lnTo>
                  <a:lnTo>
                    <a:pt x="6394" y="15947"/>
                  </a:lnTo>
                  <a:lnTo>
                    <a:pt x="6690" y="15615"/>
                  </a:lnTo>
                  <a:lnTo>
                    <a:pt x="6985" y="15235"/>
                  </a:lnTo>
                  <a:lnTo>
                    <a:pt x="7307" y="15235"/>
                  </a:lnTo>
                  <a:lnTo>
                    <a:pt x="7684" y="15235"/>
                  </a:lnTo>
                  <a:lnTo>
                    <a:pt x="7926" y="15377"/>
                  </a:lnTo>
                  <a:lnTo>
                    <a:pt x="8301" y="15235"/>
                  </a:lnTo>
                  <a:lnTo>
                    <a:pt x="8704" y="14879"/>
                  </a:lnTo>
                  <a:lnTo>
                    <a:pt x="9108" y="15092"/>
                  </a:lnTo>
                  <a:lnTo>
                    <a:pt x="9725" y="15235"/>
                  </a:lnTo>
                  <a:lnTo>
                    <a:pt x="9725" y="15639"/>
                  </a:lnTo>
                  <a:lnTo>
                    <a:pt x="9538" y="16185"/>
                  </a:lnTo>
                  <a:lnTo>
                    <a:pt x="9725" y="16541"/>
                  </a:lnTo>
                  <a:lnTo>
                    <a:pt x="10209" y="16731"/>
                  </a:lnTo>
                  <a:lnTo>
                    <a:pt x="10719" y="16898"/>
                  </a:lnTo>
                  <a:lnTo>
                    <a:pt x="10505" y="17230"/>
                  </a:lnTo>
                  <a:lnTo>
                    <a:pt x="9994" y="17468"/>
                  </a:lnTo>
                  <a:lnTo>
                    <a:pt x="9887" y="18631"/>
                  </a:lnTo>
                  <a:lnTo>
                    <a:pt x="9376" y="18916"/>
                  </a:lnTo>
                  <a:lnTo>
                    <a:pt x="8973" y="19557"/>
                  </a:lnTo>
                  <a:lnTo>
                    <a:pt x="8651" y="19842"/>
                  </a:lnTo>
                  <a:lnTo>
                    <a:pt x="8624" y="20293"/>
                  </a:lnTo>
                  <a:lnTo>
                    <a:pt x="9134" y="20578"/>
                  </a:lnTo>
                  <a:lnTo>
                    <a:pt x="9457" y="20222"/>
                  </a:lnTo>
                  <a:lnTo>
                    <a:pt x="9699" y="19937"/>
                  </a:lnTo>
                  <a:lnTo>
                    <a:pt x="10478" y="19890"/>
                  </a:lnTo>
                  <a:lnTo>
                    <a:pt x="10719" y="20270"/>
                  </a:lnTo>
                  <a:lnTo>
                    <a:pt x="10719" y="20863"/>
                  </a:lnTo>
                  <a:lnTo>
                    <a:pt x="10558" y="21386"/>
                  </a:lnTo>
                  <a:lnTo>
                    <a:pt x="10827" y="21600"/>
                  </a:lnTo>
                  <a:lnTo>
                    <a:pt x="11472" y="21600"/>
                  </a:lnTo>
                  <a:lnTo>
                    <a:pt x="11821" y="21172"/>
                  </a:lnTo>
                  <a:lnTo>
                    <a:pt x="12519" y="21148"/>
                  </a:lnTo>
                  <a:lnTo>
                    <a:pt x="12819" y="21377"/>
                  </a:lnTo>
                  <a:lnTo>
                    <a:pt x="13164" y="21243"/>
                  </a:lnTo>
                  <a:lnTo>
                    <a:pt x="13567" y="21030"/>
                  </a:lnTo>
                  <a:lnTo>
                    <a:pt x="13540" y="20839"/>
                  </a:lnTo>
                  <a:lnTo>
                    <a:pt x="13352" y="20293"/>
                  </a:lnTo>
                  <a:lnTo>
                    <a:pt x="13728" y="19688"/>
                  </a:lnTo>
                  <a:lnTo>
                    <a:pt x="14185" y="19664"/>
                  </a:lnTo>
                  <a:lnTo>
                    <a:pt x="14763" y="19629"/>
                  </a:lnTo>
                  <a:lnTo>
                    <a:pt x="15220" y="19795"/>
                  </a:lnTo>
                  <a:lnTo>
                    <a:pt x="15515" y="19973"/>
                  </a:lnTo>
                  <a:lnTo>
                    <a:pt x="15797" y="20317"/>
                  </a:lnTo>
                  <a:lnTo>
                    <a:pt x="16106" y="20578"/>
                  </a:lnTo>
                  <a:lnTo>
                    <a:pt x="16509" y="20567"/>
                  </a:lnTo>
                  <a:lnTo>
                    <a:pt x="16845" y="20365"/>
                  </a:lnTo>
                  <a:lnTo>
                    <a:pt x="16979" y="20145"/>
                  </a:lnTo>
                  <a:lnTo>
                    <a:pt x="17060" y="19640"/>
                  </a:lnTo>
                  <a:lnTo>
                    <a:pt x="17046" y="19332"/>
                  </a:lnTo>
                  <a:lnTo>
                    <a:pt x="16590" y="19189"/>
                  </a:lnTo>
                  <a:lnTo>
                    <a:pt x="16590" y="19035"/>
                  </a:lnTo>
                  <a:lnTo>
                    <a:pt x="16805" y="18869"/>
                  </a:lnTo>
                  <a:lnTo>
                    <a:pt x="17114" y="18643"/>
                  </a:lnTo>
                  <a:lnTo>
                    <a:pt x="17423" y="18453"/>
                  </a:lnTo>
                  <a:lnTo>
                    <a:pt x="18094" y="18287"/>
                  </a:lnTo>
                  <a:lnTo>
                    <a:pt x="18390" y="18399"/>
                  </a:lnTo>
                  <a:lnTo>
                    <a:pt x="18672" y="18619"/>
                  </a:lnTo>
                  <a:lnTo>
                    <a:pt x="19048" y="18785"/>
                  </a:lnTo>
                  <a:lnTo>
                    <a:pt x="19451" y="18869"/>
                  </a:lnTo>
                  <a:lnTo>
                    <a:pt x="19894" y="18774"/>
                  </a:lnTo>
                  <a:lnTo>
                    <a:pt x="20351" y="18643"/>
                  </a:lnTo>
                  <a:lnTo>
                    <a:pt x="20512" y="18477"/>
                  </a:lnTo>
                  <a:cubicBezTo>
                    <a:pt x="20512" y="18477"/>
                    <a:pt x="20727" y="18417"/>
                    <a:pt x="20794" y="18477"/>
                  </a:cubicBezTo>
                  <a:cubicBezTo>
                    <a:pt x="20824" y="18503"/>
                    <a:pt x="20870" y="18532"/>
                    <a:pt x="20912" y="18555"/>
                  </a:cubicBezTo>
                  <a:lnTo>
                    <a:pt x="21076" y="18287"/>
                  </a:lnTo>
                  <a:lnTo>
                    <a:pt x="21076" y="17562"/>
                  </a:lnTo>
                  <a:lnTo>
                    <a:pt x="20713" y="17562"/>
                  </a:lnTo>
                  <a:lnTo>
                    <a:pt x="20713" y="17040"/>
                  </a:lnTo>
                  <a:lnTo>
                    <a:pt x="21076" y="16708"/>
                  </a:lnTo>
                  <a:lnTo>
                    <a:pt x="21251" y="16209"/>
                  </a:lnTo>
                  <a:lnTo>
                    <a:pt x="21251" y="15662"/>
                  </a:lnTo>
                  <a:lnTo>
                    <a:pt x="20982" y="15385"/>
                  </a:lnTo>
                  <a:lnTo>
                    <a:pt x="21251" y="14665"/>
                  </a:lnTo>
                  <a:lnTo>
                    <a:pt x="21600" y="14214"/>
                  </a:lnTo>
                  <a:lnTo>
                    <a:pt x="21385" y="13715"/>
                  </a:lnTo>
                  <a:lnTo>
                    <a:pt x="20713" y="13715"/>
                  </a:lnTo>
                  <a:lnTo>
                    <a:pt x="20391" y="13335"/>
                  </a:lnTo>
                  <a:lnTo>
                    <a:pt x="20283" y="12884"/>
                  </a:lnTo>
                  <a:lnTo>
                    <a:pt x="20552" y="12551"/>
                  </a:lnTo>
                  <a:lnTo>
                    <a:pt x="20445" y="12148"/>
                  </a:lnTo>
                  <a:lnTo>
                    <a:pt x="20042" y="11839"/>
                  </a:lnTo>
                  <a:lnTo>
                    <a:pt x="19773" y="11364"/>
                  </a:lnTo>
                  <a:lnTo>
                    <a:pt x="20364" y="11222"/>
                  </a:lnTo>
                  <a:lnTo>
                    <a:pt x="20230" y="10865"/>
                  </a:lnTo>
                  <a:lnTo>
                    <a:pt x="19397" y="10865"/>
                  </a:lnTo>
                  <a:lnTo>
                    <a:pt x="19128" y="9987"/>
                  </a:lnTo>
                  <a:lnTo>
                    <a:pt x="19128" y="9488"/>
                  </a:lnTo>
                  <a:lnTo>
                    <a:pt x="19639" y="9037"/>
                  </a:lnTo>
                  <a:lnTo>
                    <a:pt x="19719" y="8514"/>
                  </a:lnTo>
                  <a:lnTo>
                    <a:pt x="20499" y="8039"/>
                  </a:lnTo>
                  <a:lnTo>
                    <a:pt x="20714" y="7635"/>
                  </a:lnTo>
                  <a:lnTo>
                    <a:pt x="20767" y="7327"/>
                  </a:lnTo>
                  <a:lnTo>
                    <a:pt x="21305" y="6947"/>
                  </a:lnTo>
                  <a:lnTo>
                    <a:pt x="21600" y="6781"/>
                  </a:lnTo>
                  <a:lnTo>
                    <a:pt x="21600" y="6353"/>
                  </a:lnTo>
                  <a:lnTo>
                    <a:pt x="21036" y="6021"/>
                  </a:lnTo>
                  <a:lnTo>
                    <a:pt x="20982" y="5498"/>
                  </a:lnTo>
                  <a:lnTo>
                    <a:pt x="20901" y="4857"/>
                  </a:lnTo>
                  <a:lnTo>
                    <a:pt x="20525" y="4525"/>
                  </a:lnTo>
                  <a:lnTo>
                    <a:pt x="20203" y="4097"/>
                  </a:lnTo>
                  <a:lnTo>
                    <a:pt x="20208" y="4019"/>
                  </a:lnTo>
                  <a:lnTo>
                    <a:pt x="19504" y="3919"/>
                  </a:lnTo>
                  <a:cubicBezTo>
                    <a:pt x="19504" y="3919"/>
                    <a:pt x="19128" y="3812"/>
                    <a:pt x="19128" y="3812"/>
                  </a:cubicBezTo>
                  <a:close/>
                  <a:moveTo>
                    <a:pt x="19128" y="3812"/>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1" name="AutoShape 23"/>
            <p:cNvSpPr>
              <a:spLocks/>
            </p:cNvSpPr>
            <p:nvPr/>
          </p:nvSpPr>
          <p:spPr bwMode="auto">
            <a:xfrm>
              <a:off x="4559300" y="5118100"/>
              <a:ext cx="1066800" cy="884238"/>
            </a:xfrm>
            <a:custGeom>
              <a:avLst/>
              <a:gdLst/>
              <a:ahLst/>
              <a:cxnLst/>
              <a:rect l="0" t="0" r="r" b="b"/>
              <a:pathLst>
                <a:path w="21600" h="21600">
                  <a:moveTo>
                    <a:pt x="19759" y="4524"/>
                  </a:moveTo>
                  <a:lnTo>
                    <a:pt x="19348" y="4874"/>
                  </a:lnTo>
                  <a:lnTo>
                    <a:pt x="19009" y="4612"/>
                  </a:lnTo>
                  <a:lnTo>
                    <a:pt x="18524" y="4612"/>
                  </a:lnTo>
                  <a:lnTo>
                    <a:pt x="18524" y="4174"/>
                  </a:lnTo>
                  <a:lnTo>
                    <a:pt x="18234" y="3481"/>
                  </a:lnTo>
                  <a:lnTo>
                    <a:pt x="17968" y="3269"/>
                  </a:lnTo>
                  <a:lnTo>
                    <a:pt x="17968" y="2685"/>
                  </a:lnTo>
                  <a:lnTo>
                    <a:pt x="17484" y="2597"/>
                  </a:lnTo>
                  <a:lnTo>
                    <a:pt x="17169" y="2306"/>
                  </a:lnTo>
                  <a:lnTo>
                    <a:pt x="17169" y="1372"/>
                  </a:lnTo>
                  <a:lnTo>
                    <a:pt x="16878" y="875"/>
                  </a:lnTo>
                  <a:lnTo>
                    <a:pt x="16539" y="613"/>
                  </a:lnTo>
                  <a:lnTo>
                    <a:pt x="16006" y="613"/>
                  </a:lnTo>
                  <a:lnTo>
                    <a:pt x="15643" y="934"/>
                  </a:lnTo>
                  <a:lnTo>
                    <a:pt x="15255" y="1080"/>
                  </a:lnTo>
                  <a:lnTo>
                    <a:pt x="15134" y="583"/>
                  </a:lnTo>
                  <a:lnTo>
                    <a:pt x="15013" y="175"/>
                  </a:lnTo>
                  <a:lnTo>
                    <a:pt x="14481" y="0"/>
                  </a:lnTo>
                  <a:lnTo>
                    <a:pt x="14020" y="0"/>
                  </a:lnTo>
                  <a:lnTo>
                    <a:pt x="13827" y="583"/>
                  </a:lnTo>
                  <a:lnTo>
                    <a:pt x="14020" y="1080"/>
                  </a:lnTo>
                  <a:lnTo>
                    <a:pt x="13779" y="1401"/>
                  </a:lnTo>
                  <a:lnTo>
                    <a:pt x="13318" y="1839"/>
                  </a:lnTo>
                  <a:lnTo>
                    <a:pt x="12883" y="1795"/>
                  </a:lnTo>
                  <a:lnTo>
                    <a:pt x="12883" y="1401"/>
                  </a:lnTo>
                  <a:lnTo>
                    <a:pt x="12374" y="1620"/>
                  </a:lnTo>
                  <a:lnTo>
                    <a:pt x="11720" y="1926"/>
                  </a:lnTo>
                  <a:lnTo>
                    <a:pt x="11720" y="2583"/>
                  </a:lnTo>
                  <a:lnTo>
                    <a:pt x="11284" y="3152"/>
                  </a:lnTo>
                  <a:lnTo>
                    <a:pt x="10849" y="2977"/>
                  </a:lnTo>
                  <a:lnTo>
                    <a:pt x="10849" y="2145"/>
                  </a:lnTo>
                  <a:lnTo>
                    <a:pt x="10485" y="1926"/>
                  </a:lnTo>
                  <a:lnTo>
                    <a:pt x="10485" y="2933"/>
                  </a:lnTo>
                  <a:lnTo>
                    <a:pt x="10013" y="2977"/>
                  </a:lnTo>
                  <a:lnTo>
                    <a:pt x="9432" y="2715"/>
                  </a:lnTo>
                  <a:lnTo>
                    <a:pt x="9069" y="2102"/>
                  </a:lnTo>
                  <a:lnTo>
                    <a:pt x="8669" y="2102"/>
                  </a:lnTo>
                  <a:lnTo>
                    <a:pt x="8088" y="2539"/>
                  </a:lnTo>
                  <a:lnTo>
                    <a:pt x="7507" y="2802"/>
                  </a:lnTo>
                  <a:lnTo>
                    <a:pt x="7507" y="3459"/>
                  </a:lnTo>
                  <a:lnTo>
                    <a:pt x="7761" y="4072"/>
                  </a:lnTo>
                  <a:lnTo>
                    <a:pt x="8330" y="4072"/>
                  </a:lnTo>
                  <a:lnTo>
                    <a:pt x="8742" y="4597"/>
                  </a:lnTo>
                  <a:lnTo>
                    <a:pt x="9214" y="4597"/>
                  </a:lnTo>
                  <a:lnTo>
                    <a:pt x="9831" y="5210"/>
                  </a:lnTo>
                  <a:lnTo>
                    <a:pt x="10013" y="5910"/>
                  </a:lnTo>
                  <a:lnTo>
                    <a:pt x="9541" y="6480"/>
                  </a:lnTo>
                  <a:lnTo>
                    <a:pt x="8560" y="6480"/>
                  </a:lnTo>
                  <a:lnTo>
                    <a:pt x="7797" y="6961"/>
                  </a:lnTo>
                  <a:lnTo>
                    <a:pt x="7216" y="6961"/>
                  </a:lnTo>
                  <a:lnTo>
                    <a:pt x="7034" y="6480"/>
                  </a:lnTo>
                  <a:lnTo>
                    <a:pt x="6635" y="6480"/>
                  </a:lnTo>
                  <a:lnTo>
                    <a:pt x="6199" y="6743"/>
                  </a:lnTo>
                  <a:lnTo>
                    <a:pt x="6199" y="7355"/>
                  </a:lnTo>
                  <a:lnTo>
                    <a:pt x="5279" y="8348"/>
                  </a:lnTo>
                  <a:lnTo>
                    <a:pt x="3584" y="8523"/>
                  </a:lnTo>
                  <a:lnTo>
                    <a:pt x="2712" y="7706"/>
                  </a:lnTo>
                  <a:lnTo>
                    <a:pt x="2325" y="8523"/>
                  </a:lnTo>
                  <a:lnTo>
                    <a:pt x="1453" y="7706"/>
                  </a:lnTo>
                  <a:lnTo>
                    <a:pt x="0" y="9224"/>
                  </a:lnTo>
                  <a:lnTo>
                    <a:pt x="484" y="10041"/>
                  </a:lnTo>
                  <a:lnTo>
                    <a:pt x="291" y="12376"/>
                  </a:lnTo>
                  <a:lnTo>
                    <a:pt x="1453" y="12376"/>
                  </a:lnTo>
                  <a:lnTo>
                    <a:pt x="2809" y="11442"/>
                  </a:lnTo>
                  <a:lnTo>
                    <a:pt x="3487" y="12960"/>
                  </a:lnTo>
                  <a:lnTo>
                    <a:pt x="3003" y="13660"/>
                  </a:lnTo>
                  <a:lnTo>
                    <a:pt x="2325" y="16463"/>
                  </a:lnTo>
                  <a:lnTo>
                    <a:pt x="3584" y="18097"/>
                  </a:lnTo>
                  <a:lnTo>
                    <a:pt x="3778" y="18914"/>
                  </a:lnTo>
                  <a:lnTo>
                    <a:pt x="2809" y="20783"/>
                  </a:lnTo>
                  <a:lnTo>
                    <a:pt x="2809" y="20958"/>
                  </a:lnTo>
                  <a:lnTo>
                    <a:pt x="3075" y="21162"/>
                  </a:lnTo>
                  <a:lnTo>
                    <a:pt x="3560" y="21454"/>
                  </a:lnTo>
                  <a:cubicBezTo>
                    <a:pt x="3560" y="21454"/>
                    <a:pt x="3995" y="21046"/>
                    <a:pt x="4238" y="20958"/>
                  </a:cubicBezTo>
                  <a:cubicBezTo>
                    <a:pt x="4480" y="20870"/>
                    <a:pt x="4794" y="20345"/>
                    <a:pt x="4794" y="20345"/>
                  </a:cubicBezTo>
                  <a:lnTo>
                    <a:pt x="5158" y="19878"/>
                  </a:lnTo>
                  <a:lnTo>
                    <a:pt x="5521" y="20024"/>
                  </a:lnTo>
                  <a:lnTo>
                    <a:pt x="6272" y="20666"/>
                  </a:lnTo>
                  <a:lnTo>
                    <a:pt x="6853" y="21046"/>
                  </a:lnTo>
                  <a:lnTo>
                    <a:pt x="7579" y="21454"/>
                  </a:lnTo>
                  <a:lnTo>
                    <a:pt x="8136" y="21600"/>
                  </a:lnTo>
                  <a:lnTo>
                    <a:pt x="8596" y="21600"/>
                  </a:lnTo>
                  <a:lnTo>
                    <a:pt x="8935" y="21075"/>
                  </a:lnTo>
                  <a:lnTo>
                    <a:pt x="9032" y="20316"/>
                  </a:lnTo>
                  <a:lnTo>
                    <a:pt x="9298" y="20024"/>
                  </a:lnTo>
                  <a:lnTo>
                    <a:pt x="9856" y="20024"/>
                  </a:lnTo>
                  <a:lnTo>
                    <a:pt x="10219" y="19761"/>
                  </a:lnTo>
                  <a:lnTo>
                    <a:pt x="10485" y="19265"/>
                  </a:lnTo>
                  <a:cubicBezTo>
                    <a:pt x="10485" y="19265"/>
                    <a:pt x="11066" y="19265"/>
                    <a:pt x="11187" y="19265"/>
                  </a:cubicBezTo>
                  <a:cubicBezTo>
                    <a:pt x="11309" y="19265"/>
                    <a:pt x="11744" y="19090"/>
                    <a:pt x="11744" y="19090"/>
                  </a:cubicBezTo>
                  <a:lnTo>
                    <a:pt x="11744" y="18506"/>
                  </a:lnTo>
                  <a:lnTo>
                    <a:pt x="11744" y="18097"/>
                  </a:lnTo>
                  <a:lnTo>
                    <a:pt x="11986" y="17601"/>
                  </a:lnTo>
                  <a:lnTo>
                    <a:pt x="12471" y="17105"/>
                  </a:lnTo>
                  <a:lnTo>
                    <a:pt x="12713" y="17251"/>
                  </a:lnTo>
                  <a:lnTo>
                    <a:pt x="13076" y="17601"/>
                  </a:lnTo>
                  <a:lnTo>
                    <a:pt x="13439" y="18127"/>
                  </a:lnTo>
                  <a:lnTo>
                    <a:pt x="13561" y="18564"/>
                  </a:lnTo>
                  <a:lnTo>
                    <a:pt x="13899" y="19060"/>
                  </a:lnTo>
                  <a:lnTo>
                    <a:pt x="14311" y="18710"/>
                  </a:lnTo>
                  <a:lnTo>
                    <a:pt x="14723" y="19090"/>
                  </a:lnTo>
                  <a:lnTo>
                    <a:pt x="14941" y="19352"/>
                  </a:lnTo>
                  <a:lnTo>
                    <a:pt x="15207" y="19528"/>
                  </a:lnTo>
                  <a:lnTo>
                    <a:pt x="15788" y="19352"/>
                  </a:lnTo>
                  <a:cubicBezTo>
                    <a:pt x="15788" y="19352"/>
                    <a:pt x="16079" y="18769"/>
                    <a:pt x="16079" y="18681"/>
                  </a:cubicBezTo>
                  <a:cubicBezTo>
                    <a:pt x="16079" y="18594"/>
                    <a:pt x="16345" y="18185"/>
                    <a:pt x="16345" y="18185"/>
                  </a:cubicBezTo>
                  <a:lnTo>
                    <a:pt x="16805" y="17791"/>
                  </a:lnTo>
                  <a:lnTo>
                    <a:pt x="17217" y="17791"/>
                  </a:lnTo>
                  <a:lnTo>
                    <a:pt x="17677" y="18185"/>
                  </a:lnTo>
                  <a:lnTo>
                    <a:pt x="18016" y="17791"/>
                  </a:lnTo>
                  <a:lnTo>
                    <a:pt x="18185" y="17105"/>
                  </a:lnTo>
                  <a:lnTo>
                    <a:pt x="18621" y="17280"/>
                  </a:lnTo>
                  <a:lnTo>
                    <a:pt x="19227" y="17543"/>
                  </a:lnTo>
                  <a:lnTo>
                    <a:pt x="19348" y="17105"/>
                  </a:lnTo>
                  <a:lnTo>
                    <a:pt x="19009" y="16754"/>
                  </a:lnTo>
                  <a:lnTo>
                    <a:pt x="19348" y="16463"/>
                  </a:lnTo>
                  <a:lnTo>
                    <a:pt x="20195" y="16463"/>
                  </a:lnTo>
                  <a:lnTo>
                    <a:pt x="20704" y="16200"/>
                  </a:lnTo>
                  <a:lnTo>
                    <a:pt x="20704" y="15616"/>
                  </a:lnTo>
                  <a:lnTo>
                    <a:pt x="21019" y="15616"/>
                  </a:lnTo>
                  <a:cubicBezTo>
                    <a:pt x="21019" y="15481"/>
                    <a:pt x="21019" y="15368"/>
                    <a:pt x="21019" y="15368"/>
                  </a:cubicBezTo>
                  <a:lnTo>
                    <a:pt x="21019" y="14536"/>
                  </a:lnTo>
                  <a:lnTo>
                    <a:pt x="21019" y="13967"/>
                  </a:lnTo>
                  <a:lnTo>
                    <a:pt x="20474" y="13602"/>
                  </a:lnTo>
                  <a:lnTo>
                    <a:pt x="21019" y="12960"/>
                  </a:lnTo>
                  <a:lnTo>
                    <a:pt x="20746" y="12128"/>
                  </a:lnTo>
                  <a:lnTo>
                    <a:pt x="21019" y="11646"/>
                  </a:lnTo>
                  <a:lnTo>
                    <a:pt x="21600" y="10596"/>
                  </a:lnTo>
                  <a:lnTo>
                    <a:pt x="21037" y="9983"/>
                  </a:lnTo>
                  <a:lnTo>
                    <a:pt x="20474" y="9983"/>
                  </a:lnTo>
                  <a:lnTo>
                    <a:pt x="19747" y="9983"/>
                  </a:lnTo>
                  <a:lnTo>
                    <a:pt x="19312" y="10377"/>
                  </a:lnTo>
                  <a:lnTo>
                    <a:pt x="18767" y="10377"/>
                  </a:lnTo>
                  <a:lnTo>
                    <a:pt x="18767" y="9720"/>
                  </a:lnTo>
                  <a:lnTo>
                    <a:pt x="19747" y="8523"/>
                  </a:lnTo>
                  <a:lnTo>
                    <a:pt x="20474" y="8523"/>
                  </a:lnTo>
                  <a:lnTo>
                    <a:pt x="20946" y="7925"/>
                  </a:lnTo>
                  <a:lnTo>
                    <a:pt x="21273" y="7268"/>
                  </a:lnTo>
                  <a:lnTo>
                    <a:pt x="20801" y="6830"/>
                  </a:lnTo>
                  <a:lnTo>
                    <a:pt x="20474" y="6129"/>
                  </a:lnTo>
                  <a:lnTo>
                    <a:pt x="20474" y="5166"/>
                  </a:lnTo>
                  <a:lnTo>
                    <a:pt x="20765" y="4685"/>
                  </a:lnTo>
                  <a:lnTo>
                    <a:pt x="20365" y="4116"/>
                  </a:lnTo>
                  <a:lnTo>
                    <a:pt x="20278" y="3699"/>
                  </a:lnTo>
                  <a:lnTo>
                    <a:pt x="20002" y="4028"/>
                  </a:lnTo>
                  <a:cubicBezTo>
                    <a:pt x="20002" y="4028"/>
                    <a:pt x="19759" y="4524"/>
                    <a:pt x="19759" y="4524"/>
                  </a:cubicBezTo>
                  <a:close/>
                  <a:moveTo>
                    <a:pt x="19759" y="4524"/>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2" name="AutoShape 24"/>
            <p:cNvSpPr>
              <a:spLocks/>
            </p:cNvSpPr>
            <p:nvPr/>
          </p:nvSpPr>
          <p:spPr bwMode="auto">
            <a:xfrm>
              <a:off x="6731000" y="2870200"/>
              <a:ext cx="192088" cy="336550"/>
            </a:xfrm>
            <a:custGeom>
              <a:avLst/>
              <a:gdLst/>
              <a:ahLst/>
              <a:cxnLst/>
              <a:rect l="0" t="0" r="r" b="b"/>
              <a:pathLst>
                <a:path w="21600" h="21600">
                  <a:moveTo>
                    <a:pt x="19646" y="8578"/>
                  </a:moveTo>
                  <a:lnTo>
                    <a:pt x="15611" y="8578"/>
                  </a:lnTo>
                  <a:lnTo>
                    <a:pt x="12381" y="5821"/>
                  </a:lnTo>
                  <a:lnTo>
                    <a:pt x="13726" y="3983"/>
                  </a:lnTo>
                  <a:lnTo>
                    <a:pt x="16687" y="3983"/>
                  </a:lnTo>
                  <a:lnTo>
                    <a:pt x="13996" y="1838"/>
                  </a:lnTo>
                  <a:lnTo>
                    <a:pt x="10496" y="0"/>
                  </a:lnTo>
                  <a:lnTo>
                    <a:pt x="5115" y="2910"/>
                  </a:lnTo>
                  <a:lnTo>
                    <a:pt x="6459" y="5208"/>
                  </a:lnTo>
                  <a:lnTo>
                    <a:pt x="6730" y="8272"/>
                  </a:lnTo>
                  <a:lnTo>
                    <a:pt x="1885" y="8732"/>
                  </a:lnTo>
                  <a:lnTo>
                    <a:pt x="1885" y="10570"/>
                  </a:lnTo>
                  <a:lnTo>
                    <a:pt x="1885" y="12714"/>
                  </a:lnTo>
                  <a:lnTo>
                    <a:pt x="3769" y="15013"/>
                  </a:lnTo>
                  <a:lnTo>
                    <a:pt x="0" y="15893"/>
                  </a:lnTo>
                  <a:lnTo>
                    <a:pt x="0" y="18689"/>
                  </a:lnTo>
                  <a:lnTo>
                    <a:pt x="3230" y="20528"/>
                  </a:lnTo>
                  <a:lnTo>
                    <a:pt x="8074" y="21600"/>
                  </a:lnTo>
                  <a:lnTo>
                    <a:pt x="13187" y="21600"/>
                  </a:lnTo>
                  <a:lnTo>
                    <a:pt x="15937" y="21348"/>
                  </a:lnTo>
                  <a:lnTo>
                    <a:pt x="15541" y="18996"/>
                  </a:lnTo>
                  <a:lnTo>
                    <a:pt x="17560" y="16353"/>
                  </a:lnTo>
                  <a:lnTo>
                    <a:pt x="18771" y="14170"/>
                  </a:lnTo>
                  <a:lnTo>
                    <a:pt x="21600" y="13096"/>
                  </a:lnTo>
                  <a:lnTo>
                    <a:pt x="19646" y="11336"/>
                  </a:lnTo>
                  <a:cubicBezTo>
                    <a:pt x="19646" y="11336"/>
                    <a:pt x="19646" y="8578"/>
                    <a:pt x="19646" y="8578"/>
                  </a:cubicBezTo>
                  <a:close/>
                  <a:moveTo>
                    <a:pt x="19646" y="8578"/>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3" name="AutoShape 25"/>
            <p:cNvSpPr>
              <a:spLocks/>
            </p:cNvSpPr>
            <p:nvPr/>
          </p:nvSpPr>
          <p:spPr bwMode="auto">
            <a:xfrm>
              <a:off x="6515100" y="2730500"/>
              <a:ext cx="311150" cy="328613"/>
            </a:xfrm>
            <a:custGeom>
              <a:avLst/>
              <a:gdLst/>
              <a:ahLst/>
              <a:cxnLst/>
              <a:rect l="0" t="0" r="r" b="b"/>
              <a:pathLst>
                <a:path w="21600" h="21600">
                  <a:moveTo>
                    <a:pt x="18342" y="7069"/>
                  </a:moveTo>
                  <a:lnTo>
                    <a:pt x="21165" y="5106"/>
                  </a:lnTo>
                  <a:lnTo>
                    <a:pt x="21600" y="4006"/>
                  </a:lnTo>
                  <a:lnTo>
                    <a:pt x="18342" y="4006"/>
                  </a:lnTo>
                  <a:lnTo>
                    <a:pt x="15935" y="3534"/>
                  </a:lnTo>
                  <a:lnTo>
                    <a:pt x="13196" y="1885"/>
                  </a:lnTo>
                  <a:lnTo>
                    <a:pt x="12034" y="0"/>
                  </a:lnTo>
                  <a:lnTo>
                    <a:pt x="9876" y="2671"/>
                  </a:lnTo>
                  <a:lnTo>
                    <a:pt x="7137" y="4477"/>
                  </a:lnTo>
                  <a:lnTo>
                    <a:pt x="5892" y="5891"/>
                  </a:lnTo>
                  <a:lnTo>
                    <a:pt x="3403" y="6362"/>
                  </a:lnTo>
                  <a:lnTo>
                    <a:pt x="2574" y="7933"/>
                  </a:lnTo>
                  <a:lnTo>
                    <a:pt x="3818" y="9190"/>
                  </a:lnTo>
                  <a:lnTo>
                    <a:pt x="5063" y="9504"/>
                  </a:lnTo>
                  <a:lnTo>
                    <a:pt x="4980" y="11311"/>
                  </a:lnTo>
                  <a:lnTo>
                    <a:pt x="2904" y="12646"/>
                  </a:lnTo>
                  <a:lnTo>
                    <a:pt x="1411" y="13667"/>
                  </a:lnTo>
                  <a:lnTo>
                    <a:pt x="0" y="14924"/>
                  </a:lnTo>
                  <a:lnTo>
                    <a:pt x="0" y="15945"/>
                  </a:lnTo>
                  <a:lnTo>
                    <a:pt x="1079" y="16338"/>
                  </a:lnTo>
                  <a:lnTo>
                    <a:pt x="0" y="17594"/>
                  </a:lnTo>
                  <a:lnTo>
                    <a:pt x="499" y="19558"/>
                  </a:lnTo>
                  <a:lnTo>
                    <a:pt x="2075" y="20579"/>
                  </a:lnTo>
                  <a:lnTo>
                    <a:pt x="3652" y="21051"/>
                  </a:lnTo>
                  <a:lnTo>
                    <a:pt x="5810" y="20265"/>
                  </a:lnTo>
                  <a:lnTo>
                    <a:pt x="8549" y="20186"/>
                  </a:lnTo>
                  <a:lnTo>
                    <a:pt x="9378" y="21600"/>
                  </a:lnTo>
                  <a:lnTo>
                    <a:pt x="11288" y="21600"/>
                  </a:lnTo>
                  <a:lnTo>
                    <a:pt x="12450" y="19794"/>
                  </a:lnTo>
                  <a:lnTo>
                    <a:pt x="14109" y="19637"/>
                  </a:lnTo>
                  <a:lnTo>
                    <a:pt x="16101" y="20391"/>
                  </a:lnTo>
                  <a:lnTo>
                    <a:pt x="16101" y="20343"/>
                  </a:lnTo>
                  <a:lnTo>
                    <a:pt x="16101" y="18458"/>
                  </a:lnTo>
                  <a:lnTo>
                    <a:pt x="16683" y="15945"/>
                  </a:lnTo>
                  <a:lnTo>
                    <a:pt x="14109" y="15160"/>
                  </a:lnTo>
                  <a:lnTo>
                    <a:pt x="14109" y="14060"/>
                  </a:lnTo>
                  <a:lnTo>
                    <a:pt x="14938" y="12646"/>
                  </a:lnTo>
                  <a:lnTo>
                    <a:pt x="18148" y="12646"/>
                  </a:lnTo>
                  <a:lnTo>
                    <a:pt x="18093" y="12489"/>
                  </a:lnTo>
                  <a:lnTo>
                    <a:pt x="20770" y="10082"/>
                  </a:lnTo>
                  <a:lnTo>
                    <a:pt x="19089" y="9504"/>
                  </a:lnTo>
                  <a:cubicBezTo>
                    <a:pt x="19089" y="9504"/>
                    <a:pt x="18342" y="7069"/>
                    <a:pt x="18342" y="7069"/>
                  </a:cubicBezTo>
                  <a:close/>
                  <a:moveTo>
                    <a:pt x="18342" y="7069"/>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4" name="AutoShape 26"/>
            <p:cNvSpPr>
              <a:spLocks/>
            </p:cNvSpPr>
            <p:nvPr/>
          </p:nvSpPr>
          <p:spPr bwMode="auto">
            <a:xfrm>
              <a:off x="7594600" y="4495800"/>
              <a:ext cx="114300" cy="71438"/>
            </a:xfrm>
            <a:custGeom>
              <a:avLst/>
              <a:gdLst/>
              <a:ahLst/>
              <a:cxnLst/>
              <a:rect l="0" t="0" r="r" b="b"/>
              <a:pathLst>
                <a:path w="21600" h="21600">
                  <a:moveTo>
                    <a:pt x="1842" y="0"/>
                  </a:moveTo>
                  <a:lnTo>
                    <a:pt x="12725" y="7466"/>
                  </a:lnTo>
                  <a:lnTo>
                    <a:pt x="21600" y="12532"/>
                  </a:lnTo>
                  <a:lnTo>
                    <a:pt x="21600" y="17333"/>
                  </a:lnTo>
                  <a:lnTo>
                    <a:pt x="19925" y="21600"/>
                  </a:lnTo>
                  <a:lnTo>
                    <a:pt x="13396" y="17333"/>
                  </a:lnTo>
                  <a:lnTo>
                    <a:pt x="6864" y="13066"/>
                  </a:lnTo>
                  <a:lnTo>
                    <a:pt x="0" y="5866"/>
                  </a:lnTo>
                  <a:lnTo>
                    <a:pt x="0" y="1868"/>
                  </a:lnTo>
                  <a:cubicBezTo>
                    <a:pt x="0" y="1868"/>
                    <a:pt x="1842" y="0"/>
                    <a:pt x="1842" y="0"/>
                  </a:cubicBezTo>
                  <a:close/>
                  <a:moveTo>
                    <a:pt x="1842" y="0"/>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5" name="AutoShape 27"/>
            <p:cNvSpPr>
              <a:spLocks/>
            </p:cNvSpPr>
            <p:nvPr/>
          </p:nvSpPr>
          <p:spPr bwMode="auto">
            <a:xfrm>
              <a:off x="7543800" y="4533900"/>
              <a:ext cx="165100" cy="155575"/>
            </a:xfrm>
            <a:custGeom>
              <a:avLst/>
              <a:gdLst/>
              <a:ahLst/>
              <a:cxnLst/>
              <a:rect l="0" t="0" r="r" b="b"/>
              <a:pathLst>
                <a:path w="21600" h="21600">
                  <a:moveTo>
                    <a:pt x="10780" y="2173"/>
                  </a:moveTo>
                  <a:lnTo>
                    <a:pt x="7884" y="0"/>
                  </a:lnTo>
                  <a:lnTo>
                    <a:pt x="6539" y="1093"/>
                  </a:lnTo>
                  <a:lnTo>
                    <a:pt x="4088" y="1715"/>
                  </a:lnTo>
                  <a:lnTo>
                    <a:pt x="3504" y="3955"/>
                  </a:lnTo>
                  <a:lnTo>
                    <a:pt x="2452" y="7438"/>
                  </a:lnTo>
                  <a:lnTo>
                    <a:pt x="2452" y="10547"/>
                  </a:lnTo>
                  <a:lnTo>
                    <a:pt x="0" y="12039"/>
                  </a:lnTo>
                  <a:lnTo>
                    <a:pt x="0" y="14229"/>
                  </a:lnTo>
                  <a:lnTo>
                    <a:pt x="197" y="14114"/>
                  </a:lnTo>
                  <a:lnTo>
                    <a:pt x="2220" y="15109"/>
                  </a:lnTo>
                  <a:lnTo>
                    <a:pt x="4554" y="19257"/>
                  </a:lnTo>
                  <a:lnTo>
                    <a:pt x="7668" y="21081"/>
                  </a:lnTo>
                  <a:lnTo>
                    <a:pt x="10306" y="21600"/>
                  </a:lnTo>
                  <a:lnTo>
                    <a:pt x="16696" y="17514"/>
                  </a:lnTo>
                  <a:lnTo>
                    <a:pt x="20432" y="17514"/>
                  </a:lnTo>
                  <a:lnTo>
                    <a:pt x="21600" y="12290"/>
                  </a:lnTo>
                  <a:lnTo>
                    <a:pt x="18796" y="7563"/>
                  </a:lnTo>
                  <a:cubicBezTo>
                    <a:pt x="18796" y="7563"/>
                    <a:pt x="10780" y="2173"/>
                    <a:pt x="10780" y="2173"/>
                  </a:cubicBezTo>
                  <a:close/>
                  <a:moveTo>
                    <a:pt x="10780" y="2173"/>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6" name="AutoShape 28"/>
            <p:cNvSpPr>
              <a:spLocks/>
            </p:cNvSpPr>
            <p:nvPr/>
          </p:nvSpPr>
          <p:spPr bwMode="auto">
            <a:xfrm>
              <a:off x="4889500" y="4508500"/>
              <a:ext cx="831850" cy="806450"/>
            </a:xfrm>
            <a:custGeom>
              <a:avLst/>
              <a:gdLst/>
              <a:ahLst/>
              <a:cxnLst/>
              <a:rect l="0" t="0" r="r" b="b"/>
              <a:pathLst>
                <a:path w="21600" h="21600">
                  <a:moveTo>
                    <a:pt x="16820" y="14976"/>
                  </a:moveTo>
                  <a:lnTo>
                    <a:pt x="16200" y="15296"/>
                  </a:lnTo>
                  <a:lnTo>
                    <a:pt x="15642" y="14912"/>
                  </a:lnTo>
                  <a:lnTo>
                    <a:pt x="15362" y="13882"/>
                  </a:lnTo>
                  <a:lnTo>
                    <a:pt x="15021" y="13312"/>
                  </a:lnTo>
                  <a:lnTo>
                    <a:pt x="14462" y="12544"/>
                  </a:lnTo>
                  <a:lnTo>
                    <a:pt x="14027" y="12928"/>
                  </a:lnTo>
                  <a:lnTo>
                    <a:pt x="13718" y="12736"/>
                  </a:lnTo>
                  <a:lnTo>
                    <a:pt x="14090" y="12096"/>
                  </a:lnTo>
                  <a:lnTo>
                    <a:pt x="14524" y="11120"/>
                  </a:lnTo>
                  <a:lnTo>
                    <a:pt x="14524" y="10432"/>
                  </a:lnTo>
                  <a:lnTo>
                    <a:pt x="13718" y="9408"/>
                  </a:lnTo>
                  <a:lnTo>
                    <a:pt x="14276" y="9216"/>
                  </a:lnTo>
                  <a:lnTo>
                    <a:pt x="14835" y="8704"/>
                  </a:lnTo>
                  <a:lnTo>
                    <a:pt x="15021" y="8960"/>
                  </a:lnTo>
                  <a:lnTo>
                    <a:pt x="15827" y="8960"/>
                  </a:lnTo>
                  <a:lnTo>
                    <a:pt x="16759" y="8832"/>
                  </a:lnTo>
                  <a:lnTo>
                    <a:pt x="17628" y="8576"/>
                  </a:lnTo>
                  <a:lnTo>
                    <a:pt x="18124" y="9152"/>
                  </a:lnTo>
                  <a:lnTo>
                    <a:pt x="18559" y="8704"/>
                  </a:lnTo>
                  <a:lnTo>
                    <a:pt x="19304" y="7744"/>
                  </a:lnTo>
                  <a:lnTo>
                    <a:pt x="20172" y="7296"/>
                  </a:lnTo>
                  <a:lnTo>
                    <a:pt x="21041" y="7552"/>
                  </a:lnTo>
                  <a:lnTo>
                    <a:pt x="21600" y="6912"/>
                  </a:lnTo>
                  <a:lnTo>
                    <a:pt x="21166" y="6016"/>
                  </a:lnTo>
                  <a:lnTo>
                    <a:pt x="21600" y="5120"/>
                  </a:lnTo>
                  <a:lnTo>
                    <a:pt x="20607" y="3968"/>
                  </a:lnTo>
                  <a:lnTo>
                    <a:pt x="19552" y="3520"/>
                  </a:lnTo>
                  <a:lnTo>
                    <a:pt x="19552" y="2624"/>
                  </a:lnTo>
                  <a:lnTo>
                    <a:pt x="18621" y="2752"/>
                  </a:lnTo>
                  <a:lnTo>
                    <a:pt x="17814" y="2752"/>
                  </a:lnTo>
                  <a:lnTo>
                    <a:pt x="17503" y="2176"/>
                  </a:lnTo>
                  <a:lnTo>
                    <a:pt x="16634" y="1728"/>
                  </a:lnTo>
                  <a:lnTo>
                    <a:pt x="15703" y="896"/>
                  </a:lnTo>
                  <a:lnTo>
                    <a:pt x="14524" y="0"/>
                  </a:lnTo>
                  <a:lnTo>
                    <a:pt x="13718" y="0"/>
                  </a:lnTo>
                  <a:lnTo>
                    <a:pt x="13841" y="576"/>
                  </a:lnTo>
                  <a:lnTo>
                    <a:pt x="13718" y="1088"/>
                  </a:lnTo>
                  <a:lnTo>
                    <a:pt x="13345" y="1472"/>
                  </a:lnTo>
                  <a:lnTo>
                    <a:pt x="13779" y="2112"/>
                  </a:lnTo>
                  <a:lnTo>
                    <a:pt x="14213" y="2624"/>
                  </a:lnTo>
                  <a:lnTo>
                    <a:pt x="14213" y="3136"/>
                  </a:lnTo>
                  <a:lnTo>
                    <a:pt x="13593" y="3136"/>
                  </a:lnTo>
                  <a:lnTo>
                    <a:pt x="13159" y="4032"/>
                  </a:lnTo>
                  <a:lnTo>
                    <a:pt x="12290" y="5440"/>
                  </a:lnTo>
                  <a:lnTo>
                    <a:pt x="11545" y="6592"/>
                  </a:lnTo>
                  <a:lnTo>
                    <a:pt x="11545" y="7488"/>
                  </a:lnTo>
                  <a:lnTo>
                    <a:pt x="11172" y="7488"/>
                  </a:lnTo>
                  <a:lnTo>
                    <a:pt x="10428" y="7488"/>
                  </a:lnTo>
                  <a:lnTo>
                    <a:pt x="9744" y="7488"/>
                  </a:lnTo>
                  <a:lnTo>
                    <a:pt x="9744" y="8192"/>
                  </a:lnTo>
                  <a:lnTo>
                    <a:pt x="9310" y="8960"/>
                  </a:lnTo>
                  <a:lnTo>
                    <a:pt x="8627" y="9984"/>
                  </a:lnTo>
                  <a:lnTo>
                    <a:pt x="7945" y="11120"/>
                  </a:lnTo>
                  <a:lnTo>
                    <a:pt x="6206" y="11120"/>
                  </a:lnTo>
                  <a:lnTo>
                    <a:pt x="5710" y="10752"/>
                  </a:lnTo>
                  <a:lnTo>
                    <a:pt x="5710" y="9600"/>
                  </a:lnTo>
                  <a:lnTo>
                    <a:pt x="5152" y="9600"/>
                  </a:lnTo>
                  <a:lnTo>
                    <a:pt x="4530" y="10432"/>
                  </a:lnTo>
                  <a:lnTo>
                    <a:pt x="4035" y="10432"/>
                  </a:lnTo>
                  <a:lnTo>
                    <a:pt x="3413" y="9600"/>
                  </a:lnTo>
                  <a:lnTo>
                    <a:pt x="2918" y="9600"/>
                  </a:lnTo>
                  <a:lnTo>
                    <a:pt x="1986" y="9600"/>
                  </a:lnTo>
                  <a:lnTo>
                    <a:pt x="1489" y="10432"/>
                  </a:lnTo>
                  <a:lnTo>
                    <a:pt x="1489" y="11120"/>
                  </a:lnTo>
                  <a:lnTo>
                    <a:pt x="1986" y="11120"/>
                  </a:lnTo>
                  <a:lnTo>
                    <a:pt x="1986" y="12288"/>
                  </a:lnTo>
                  <a:lnTo>
                    <a:pt x="1365" y="12288"/>
                  </a:lnTo>
                  <a:lnTo>
                    <a:pt x="497" y="12864"/>
                  </a:lnTo>
                  <a:lnTo>
                    <a:pt x="0" y="13504"/>
                  </a:lnTo>
                  <a:lnTo>
                    <a:pt x="0" y="14272"/>
                  </a:lnTo>
                  <a:lnTo>
                    <a:pt x="497" y="15232"/>
                  </a:lnTo>
                  <a:lnTo>
                    <a:pt x="1614" y="15232"/>
                  </a:lnTo>
                  <a:lnTo>
                    <a:pt x="1614" y="16256"/>
                  </a:lnTo>
                  <a:lnTo>
                    <a:pt x="1986" y="17088"/>
                  </a:lnTo>
                  <a:lnTo>
                    <a:pt x="2607" y="17344"/>
                  </a:lnTo>
                  <a:lnTo>
                    <a:pt x="3476" y="17344"/>
                  </a:lnTo>
                  <a:lnTo>
                    <a:pt x="4035" y="18176"/>
                  </a:lnTo>
                  <a:lnTo>
                    <a:pt x="4035" y="19478"/>
                  </a:lnTo>
                  <a:lnTo>
                    <a:pt x="4143" y="19520"/>
                  </a:lnTo>
                  <a:lnTo>
                    <a:pt x="4748" y="19472"/>
                  </a:lnTo>
                  <a:lnTo>
                    <a:pt x="4748" y="18368"/>
                  </a:lnTo>
                  <a:lnTo>
                    <a:pt x="5214" y="18608"/>
                  </a:lnTo>
                  <a:lnTo>
                    <a:pt x="5214" y="19520"/>
                  </a:lnTo>
                  <a:lnTo>
                    <a:pt x="5772" y="19712"/>
                  </a:lnTo>
                  <a:lnTo>
                    <a:pt x="6331" y="19088"/>
                  </a:lnTo>
                  <a:lnTo>
                    <a:pt x="6331" y="18368"/>
                  </a:lnTo>
                  <a:lnTo>
                    <a:pt x="7169" y="18032"/>
                  </a:lnTo>
                  <a:lnTo>
                    <a:pt x="7821" y="17792"/>
                  </a:lnTo>
                  <a:lnTo>
                    <a:pt x="7821" y="18224"/>
                  </a:lnTo>
                  <a:lnTo>
                    <a:pt x="8379" y="18272"/>
                  </a:lnTo>
                  <a:lnTo>
                    <a:pt x="8969" y="17792"/>
                  </a:lnTo>
                  <a:lnTo>
                    <a:pt x="9279" y="17440"/>
                  </a:lnTo>
                  <a:lnTo>
                    <a:pt x="9031" y="16896"/>
                  </a:lnTo>
                  <a:lnTo>
                    <a:pt x="9279" y="16256"/>
                  </a:lnTo>
                  <a:lnTo>
                    <a:pt x="9869" y="16256"/>
                  </a:lnTo>
                  <a:lnTo>
                    <a:pt x="10552" y="16448"/>
                  </a:lnTo>
                  <a:lnTo>
                    <a:pt x="10707" y="16896"/>
                  </a:lnTo>
                  <a:lnTo>
                    <a:pt x="10861" y="17440"/>
                  </a:lnTo>
                  <a:lnTo>
                    <a:pt x="11358" y="17280"/>
                  </a:lnTo>
                  <a:lnTo>
                    <a:pt x="11824" y="16928"/>
                  </a:lnTo>
                  <a:lnTo>
                    <a:pt x="12507" y="16928"/>
                  </a:lnTo>
                  <a:lnTo>
                    <a:pt x="12941" y="17216"/>
                  </a:lnTo>
                  <a:lnTo>
                    <a:pt x="13314" y="17760"/>
                  </a:lnTo>
                  <a:lnTo>
                    <a:pt x="13314" y="18784"/>
                  </a:lnTo>
                  <a:lnTo>
                    <a:pt x="13718" y="19104"/>
                  </a:lnTo>
                  <a:lnTo>
                    <a:pt x="14338" y="19200"/>
                  </a:lnTo>
                  <a:lnTo>
                    <a:pt x="14338" y="19840"/>
                  </a:lnTo>
                  <a:lnTo>
                    <a:pt x="14679" y="20072"/>
                  </a:lnTo>
                  <a:lnTo>
                    <a:pt x="15051" y="20832"/>
                  </a:lnTo>
                  <a:lnTo>
                    <a:pt x="15051" y="21312"/>
                  </a:lnTo>
                  <a:lnTo>
                    <a:pt x="15673" y="21312"/>
                  </a:lnTo>
                  <a:lnTo>
                    <a:pt x="16107" y="21600"/>
                  </a:lnTo>
                  <a:lnTo>
                    <a:pt x="16634" y="21216"/>
                  </a:lnTo>
                  <a:lnTo>
                    <a:pt x="16945" y="20672"/>
                  </a:lnTo>
                  <a:lnTo>
                    <a:pt x="17299" y="20312"/>
                  </a:lnTo>
                  <a:lnTo>
                    <a:pt x="17178" y="19808"/>
                  </a:lnTo>
                  <a:lnTo>
                    <a:pt x="17596" y="19030"/>
                  </a:lnTo>
                  <a:lnTo>
                    <a:pt x="17178" y="18416"/>
                  </a:lnTo>
                  <a:lnTo>
                    <a:pt x="17178" y="17504"/>
                  </a:lnTo>
                  <a:lnTo>
                    <a:pt x="17783" y="17120"/>
                  </a:lnTo>
                  <a:lnTo>
                    <a:pt x="17512" y="16528"/>
                  </a:lnTo>
                  <a:lnTo>
                    <a:pt x="16820" y="16256"/>
                  </a:lnTo>
                  <a:cubicBezTo>
                    <a:pt x="16820" y="16256"/>
                    <a:pt x="16820" y="14976"/>
                    <a:pt x="16820" y="14976"/>
                  </a:cubicBezTo>
                  <a:close/>
                  <a:moveTo>
                    <a:pt x="16820" y="14976"/>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7" name="AutoShape 29"/>
            <p:cNvSpPr>
              <a:spLocks/>
            </p:cNvSpPr>
            <p:nvPr/>
          </p:nvSpPr>
          <p:spPr bwMode="auto">
            <a:xfrm>
              <a:off x="3048000" y="2309813"/>
              <a:ext cx="2441575" cy="2098675"/>
            </a:xfrm>
            <a:custGeom>
              <a:avLst/>
              <a:gdLst/>
              <a:ahLst/>
              <a:cxnLst/>
              <a:rect l="0" t="0" r="r" b="b"/>
              <a:pathLst>
                <a:path w="21600" h="21600">
                  <a:moveTo>
                    <a:pt x="11718" y="19517"/>
                  </a:moveTo>
                  <a:lnTo>
                    <a:pt x="11633" y="19714"/>
                  </a:lnTo>
                  <a:lnTo>
                    <a:pt x="11549" y="19985"/>
                  </a:lnTo>
                  <a:lnTo>
                    <a:pt x="11549" y="20183"/>
                  </a:lnTo>
                  <a:lnTo>
                    <a:pt x="11718" y="20183"/>
                  </a:lnTo>
                  <a:lnTo>
                    <a:pt x="12057" y="19822"/>
                  </a:lnTo>
                  <a:lnTo>
                    <a:pt x="12289" y="19822"/>
                  </a:lnTo>
                  <a:lnTo>
                    <a:pt x="12459" y="19566"/>
                  </a:lnTo>
                  <a:lnTo>
                    <a:pt x="12459" y="19320"/>
                  </a:lnTo>
                  <a:lnTo>
                    <a:pt x="12247" y="18999"/>
                  </a:lnTo>
                  <a:lnTo>
                    <a:pt x="12205" y="18728"/>
                  </a:lnTo>
                  <a:lnTo>
                    <a:pt x="12459" y="18506"/>
                  </a:lnTo>
                  <a:lnTo>
                    <a:pt x="12649" y="18506"/>
                  </a:lnTo>
                  <a:lnTo>
                    <a:pt x="12882" y="18260"/>
                  </a:lnTo>
                  <a:lnTo>
                    <a:pt x="13030" y="17988"/>
                  </a:lnTo>
                  <a:lnTo>
                    <a:pt x="13337" y="18186"/>
                  </a:lnTo>
                  <a:lnTo>
                    <a:pt x="13591" y="18469"/>
                  </a:lnTo>
                  <a:lnTo>
                    <a:pt x="13527" y="18839"/>
                  </a:lnTo>
                  <a:lnTo>
                    <a:pt x="13591" y="19086"/>
                  </a:lnTo>
                  <a:lnTo>
                    <a:pt x="13929" y="19246"/>
                  </a:lnTo>
                  <a:lnTo>
                    <a:pt x="14300" y="19369"/>
                  </a:lnTo>
                  <a:lnTo>
                    <a:pt x="14680" y="19394"/>
                  </a:lnTo>
                  <a:lnTo>
                    <a:pt x="14892" y="19653"/>
                  </a:lnTo>
                  <a:lnTo>
                    <a:pt x="15146" y="20183"/>
                  </a:lnTo>
                  <a:lnTo>
                    <a:pt x="15220" y="20589"/>
                  </a:lnTo>
                  <a:lnTo>
                    <a:pt x="15146" y="20897"/>
                  </a:lnTo>
                  <a:lnTo>
                    <a:pt x="15040" y="21095"/>
                  </a:lnTo>
                  <a:lnTo>
                    <a:pt x="15347" y="21415"/>
                  </a:lnTo>
                  <a:lnTo>
                    <a:pt x="15696" y="21526"/>
                  </a:lnTo>
                  <a:lnTo>
                    <a:pt x="16024" y="21600"/>
                  </a:lnTo>
                  <a:lnTo>
                    <a:pt x="16447" y="21600"/>
                  </a:lnTo>
                  <a:lnTo>
                    <a:pt x="16680" y="21329"/>
                  </a:lnTo>
                  <a:lnTo>
                    <a:pt x="16742" y="21248"/>
                  </a:lnTo>
                  <a:lnTo>
                    <a:pt x="16648" y="21169"/>
                  </a:lnTo>
                  <a:lnTo>
                    <a:pt x="16742" y="21248"/>
                  </a:lnTo>
                  <a:lnTo>
                    <a:pt x="16823" y="21144"/>
                  </a:lnTo>
                  <a:lnTo>
                    <a:pt x="17140" y="21144"/>
                  </a:lnTo>
                  <a:lnTo>
                    <a:pt x="17378" y="20996"/>
                  </a:lnTo>
                  <a:lnTo>
                    <a:pt x="17537" y="20552"/>
                  </a:lnTo>
                  <a:lnTo>
                    <a:pt x="17251" y="20330"/>
                  </a:lnTo>
                  <a:lnTo>
                    <a:pt x="17204" y="20164"/>
                  </a:lnTo>
                  <a:lnTo>
                    <a:pt x="17410" y="19794"/>
                  </a:lnTo>
                  <a:lnTo>
                    <a:pt x="17632" y="19794"/>
                  </a:lnTo>
                  <a:lnTo>
                    <a:pt x="17823" y="19794"/>
                  </a:lnTo>
                  <a:lnTo>
                    <a:pt x="18235" y="19794"/>
                  </a:lnTo>
                  <a:lnTo>
                    <a:pt x="18458" y="19794"/>
                  </a:lnTo>
                  <a:lnTo>
                    <a:pt x="18283" y="19387"/>
                  </a:lnTo>
                  <a:lnTo>
                    <a:pt x="18283" y="18814"/>
                  </a:lnTo>
                  <a:lnTo>
                    <a:pt x="18458" y="18444"/>
                  </a:lnTo>
                  <a:lnTo>
                    <a:pt x="18727" y="18334"/>
                  </a:lnTo>
                  <a:lnTo>
                    <a:pt x="18553" y="17988"/>
                  </a:lnTo>
                  <a:lnTo>
                    <a:pt x="18267" y="17964"/>
                  </a:lnTo>
                  <a:lnTo>
                    <a:pt x="18061" y="17964"/>
                  </a:lnTo>
                  <a:lnTo>
                    <a:pt x="18061" y="17649"/>
                  </a:lnTo>
                  <a:lnTo>
                    <a:pt x="18362" y="17339"/>
                  </a:lnTo>
                  <a:lnTo>
                    <a:pt x="18442" y="17095"/>
                  </a:lnTo>
                  <a:lnTo>
                    <a:pt x="18299" y="16910"/>
                  </a:lnTo>
                  <a:lnTo>
                    <a:pt x="18489" y="16743"/>
                  </a:lnTo>
                  <a:lnTo>
                    <a:pt x="19029" y="16743"/>
                  </a:lnTo>
                  <a:lnTo>
                    <a:pt x="19188" y="17021"/>
                  </a:lnTo>
                  <a:lnTo>
                    <a:pt x="19458" y="17169"/>
                  </a:lnTo>
                  <a:lnTo>
                    <a:pt x="19886" y="17150"/>
                  </a:lnTo>
                  <a:lnTo>
                    <a:pt x="20219" y="17039"/>
                  </a:lnTo>
                  <a:lnTo>
                    <a:pt x="20219" y="16743"/>
                  </a:lnTo>
                  <a:lnTo>
                    <a:pt x="20013" y="16540"/>
                  </a:lnTo>
                  <a:lnTo>
                    <a:pt x="20219" y="16374"/>
                  </a:lnTo>
                  <a:lnTo>
                    <a:pt x="20473" y="16466"/>
                  </a:lnTo>
                  <a:lnTo>
                    <a:pt x="20822" y="16374"/>
                  </a:lnTo>
                  <a:lnTo>
                    <a:pt x="21187" y="16374"/>
                  </a:lnTo>
                  <a:lnTo>
                    <a:pt x="21441" y="16374"/>
                  </a:lnTo>
                  <a:lnTo>
                    <a:pt x="21441" y="16004"/>
                  </a:lnTo>
                  <a:lnTo>
                    <a:pt x="21346" y="15690"/>
                  </a:lnTo>
                  <a:lnTo>
                    <a:pt x="21298" y="15190"/>
                  </a:lnTo>
                  <a:lnTo>
                    <a:pt x="21441" y="14950"/>
                  </a:lnTo>
                  <a:lnTo>
                    <a:pt x="21600" y="14266"/>
                  </a:lnTo>
                  <a:lnTo>
                    <a:pt x="21330" y="14026"/>
                  </a:lnTo>
                  <a:lnTo>
                    <a:pt x="20775" y="13674"/>
                  </a:lnTo>
                  <a:lnTo>
                    <a:pt x="20251" y="13323"/>
                  </a:lnTo>
                  <a:lnTo>
                    <a:pt x="19997" y="13212"/>
                  </a:lnTo>
                  <a:lnTo>
                    <a:pt x="19680" y="13046"/>
                  </a:lnTo>
                  <a:lnTo>
                    <a:pt x="19632" y="12676"/>
                  </a:lnTo>
                  <a:lnTo>
                    <a:pt x="19219" y="12676"/>
                  </a:lnTo>
                  <a:lnTo>
                    <a:pt x="18807" y="12676"/>
                  </a:lnTo>
                  <a:lnTo>
                    <a:pt x="18712" y="12861"/>
                  </a:lnTo>
                  <a:lnTo>
                    <a:pt x="18727" y="13194"/>
                  </a:lnTo>
                  <a:lnTo>
                    <a:pt x="18632" y="13434"/>
                  </a:lnTo>
                  <a:lnTo>
                    <a:pt x="18378" y="13674"/>
                  </a:lnTo>
                  <a:lnTo>
                    <a:pt x="18489" y="13878"/>
                  </a:lnTo>
                  <a:lnTo>
                    <a:pt x="18489" y="14155"/>
                  </a:lnTo>
                  <a:lnTo>
                    <a:pt x="18854" y="14321"/>
                  </a:lnTo>
                  <a:lnTo>
                    <a:pt x="18943" y="14538"/>
                  </a:lnTo>
                  <a:lnTo>
                    <a:pt x="19029" y="14987"/>
                  </a:lnTo>
                  <a:lnTo>
                    <a:pt x="18943" y="15338"/>
                  </a:lnTo>
                  <a:lnTo>
                    <a:pt x="18807" y="15431"/>
                  </a:lnTo>
                  <a:lnTo>
                    <a:pt x="18410" y="15357"/>
                  </a:lnTo>
                  <a:lnTo>
                    <a:pt x="18394" y="15708"/>
                  </a:lnTo>
                  <a:lnTo>
                    <a:pt x="18378" y="16115"/>
                  </a:lnTo>
                  <a:lnTo>
                    <a:pt x="18251" y="16244"/>
                  </a:lnTo>
                  <a:lnTo>
                    <a:pt x="17918" y="15985"/>
                  </a:lnTo>
                  <a:lnTo>
                    <a:pt x="17664" y="15727"/>
                  </a:lnTo>
                  <a:lnTo>
                    <a:pt x="17505" y="15653"/>
                  </a:lnTo>
                  <a:lnTo>
                    <a:pt x="17426" y="15375"/>
                  </a:lnTo>
                  <a:lnTo>
                    <a:pt x="17156" y="15357"/>
                  </a:lnTo>
                  <a:lnTo>
                    <a:pt x="16871" y="15024"/>
                  </a:lnTo>
                  <a:lnTo>
                    <a:pt x="16871" y="14691"/>
                  </a:lnTo>
                  <a:lnTo>
                    <a:pt x="17188" y="14538"/>
                  </a:lnTo>
                  <a:lnTo>
                    <a:pt x="17172" y="14155"/>
                  </a:lnTo>
                  <a:lnTo>
                    <a:pt x="16982" y="13878"/>
                  </a:lnTo>
                  <a:lnTo>
                    <a:pt x="16823" y="13674"/>
                  </a:lnTo>
                  <a:lnTo>
                    <a:pt x="16823" y="13323"/>
                  </a:lnTo>
                  <a:lnTo>
                    <a:pt x="16966" y="13231"/>
                  </a:lnTo>
                  <a:lnTo>
                    <a:pt x="16871" y="12916"/>
                  </a:lnTo>
                  <a:lnTo>
                    <a:pt x="16569" y="12676"/>
                  </a:lnTo>
                  <a:lnTo>
                    <a:pt x="16310" y="12306"/>
                  </a:lnTo>
                  <a:lnTo>
                    <a:pt x="16109" y="12103"/>
                  </a:lnTo>
                  <a:lnTo>
                    <a:pt x="16089" y="11709"/>
                  </a:lnTo>
                  <a:lnTo>
                    <a:pt x="15569" y="11846"/>
                  </a:lnTo>
                  <a:lnTo>
                    <a:pt x="14807" y="11357"/>
                  </a:lnTo>
                  <a:lnTo>
                    <a:pt x="14342" y="10568"/>
                  </a:lnTo>
                  <a:lnTo>
                    <a:pt x="14554" y="10174"/>
                  </a:lnTo>
                  <a:lnTo>
                    <a:pt x="14680" y="9434"/>
                  </a:lnTo>
                  <a:lnTo>
                    <a:pt x="15188" y="9434"/>
                  </a:lnTo>
                  <a:lnTo>
                    <a:pt x="15569" y="8349"/>
                  </a:lnTo>
                  <a:lnTo>
                    <a:pt x="15315" y="7659"/>
                  </a:lnTo>
                  <a:lnTo>
                    <a:pt x="14934" y="7758"/>
                  </a:lnTo>
                  <a:lnTo>
                    <a:pt x="13749" y="8349"/>
                  </a:lnTo>
                  <a:lnTo>
                    <a:pt x="13157" y="7955"/>
                  </a:lnTo>
                  <a:lnTo>
                    <a:pt x="12438" y="8251"/>
                  </a:lnTo>
                  <a:lnTo>
                    <a:pt x="12691" y="8645"/>
                  </a:lnTo>
                  <a:lnTo>
                    <a:pt x="12057" y="9138"/>
                  </a:lnTo>
                  <a:lnTo>
                    <a:pt x="11379" y="8349"/>
                  </a:lnTo>
                  <a:lnTo>
                    <a:pt x="11083" y="8349"/>
                  </a:lnTo>
                  <a:lnTo>
                    <a:pt x="11083" y="7462"/>
                  </a:lnTo>
                  <a:lnTo>
                    <a:pt x="10660" y="7462"/>
                  </a:lnTo>
                  <a:lnTo>
                    <a:pt x="10194" y="6574"/>
                  </a:lnTo>
                  <a:lnTo>
                    <a:pt x="9433" y="6254"/>
                  </a:lnTo>
                  <a:lnTo>
                    <a:pt x="10448" y="5046"/>
                  </a:lnTo>
                  <a:lnTo>
                    <a:pt x="10448" y="4356"/>
                  </a:lnTo>
                  <a:lnTo>
                    <a:pt x="9940" y="4158"/>
                  </a:lnTo>
                  <a:lnTo>
                    <a:pt x="8544" y="4356"/>
                  </a:lnTo>
                  <a:lnTo>
                    <a:pt x="8544" y="4701"/>
                  </a:lnTo>
                  <a:lnTo>
                    <a:pt x="8078" y="4701"/>
                  </a:lnTo>
                  <a:lnTo>
                    <a:pt x="8078" y="4011"/>
                  </a:lnTo>
                  <a:lnTo>
                    <a:pt x="7338" y="2679"/>
                  </a:lnTo>
                  <a:lnTo>
                    <a:pt x="7613" y="2334"/>
                  </a:lnTo>
                  <a:lnTo>
                    <a:pt x="7221" y="50"/>
                  </a:lnTo>
                  <a:cubicBezTo>
                    <a:pt x="7111" y="52"/>
                    <a:pt x="6986" y="56"/>
                    <a:pt x="6952" y="66"/>
                  </a:cubicBezTo>
                  <a:cubicBezTo>
                    <a:pt x="6888" y="85"/>
                    <a:pt x="5841" y="66"/>
                    <a:pt x="5841" y="66"/>
                  </a:cubicBezTo>
                  <a:lnTo>
                    <a:pt x="5841" y="0"/>
                  </a:lnTo>
                  <a:lnTo>
                    <a:pt x="5658" y="263"/>
                  </a:lnTo>
                  <a:lnTo>
                    <a:pt x="5658" y="1151"/>
                  </a:lnTo>
                  <a:lnTo>
                    <a:pt x="4642" y="1742"/>
                  </a:lnTo>
                  <a:lnTo>
                    <a:pt x="3457" y="1742"/>
                  </a:lnTo>
                  <a:lnTo>
                    <a:pt x="1891" y="3517"/>
                  </a:lnTo>
                  <a:lnTo>
                    <a:pt x="1087" y="3517"/>
                  </a:lnTo>
                  <a:lnTo>
                    <a:pt x="664" y="5046"/>
                  </a:lnTo>
                  <a:lnTo>
                    <a:pt x="0" y="6254"/>
                  </a:lnTo>
                  <a:lnTo>
                    <a:pt x="630" y="6772"/>
                  </a:lnTo>
                  <a:lnTo>
                    <a:pt x="757" y="7117"/>
                  </a:lnTo>
                  <a:lnTo>
                    <a:pt x="1730" y="7117"/>
                  </a:lnTo>
                  <a:lnTo>
                    <a:pt x="1392" y="7511"/>
                  </a:lnTo>
                  <a:lnTo>
                    <a:pt x="1578" y="7546"/>
                  </a:lnTo>
                  <a:lnTo>
                    <a:pt x="2196" y="7659"/>
                  </a:lnTo>
                  <a:lnTo>
                    <a:pt x="2534" y="8448"/>
                  </a:lnTo>
                  <a:lnTo>
                    <a:pt x="3211" y="8300"/>
                  </a:lnTo>
                  <a:lnTo>
                    <a:pt x="4269" y="8941"/>
                  </a:lnTo>
                  <a:lnTo>
                    <a:pt x="4566" y="8793"/>
                  </a:lnTo>
                  <a:lnTo>
                    <a:pt x="4693" y="9089"/>
                  </a:lnTo>
                  <a:lnTo>
                    <a:pt x="5116" y="9188"/>
                  </a:lnTo>
                  <a:lnTo>
                    <a:pt x="5497" y="8892"/>
                  </a:lnTo>
                  <a:lnTo>
                    <a:pt x="5497" y="8399"/>
                  </a:lnTo>
                  <a:lnTo>
                    <a:pt x="5666" y="8201"/>
                  </a:lnTo>
                  <a:lnTo>
                    <a:pt x="5841" y="7117"/>
                  </a:lnTo>
                  <a:lnTo>
                    <a:pt x="6259" y="7117"/>
                  </a:lnTo>
                  <a:lnTo>
                    <a:pt x="7147" y="8004"/>
                  </a:lnTo>
                  <a:lnTo>
                    <a:pt x="7740" y="7659"/>
                  </a:lnTo>
                  <a:lnTo>
                    <a:pt x="8036" y="7906"/>
                  </a:lnTo>
                  <a:lnTo>
                    <a:pt x="8375" y="7659"/>
                  </a:lnTo>
                  <a:lnTo>
                    <a:pt x="9560" y="9483"/>
                  </a:lnTo>
                  <a:lnTo>
                    <a:pt x="9983" y="9533"/>
                  </a:lnTo>
                  <a:lnTo>
                    <a:pt x="10025" y="9089"/>
                  </a:lnTo>
                  <a:lnTo>
                    <a:pt x="10660" y="10075"/>
                  </a:lnTo>
                  <a:lnTo>
                    <a:pt x="12057" y="11209"/>
                  </a:lnTo>
                  <a:lnTo>
                    <a:pt x="12438" y="10815"/>
                  </a:lnTo>
                  <a:lnTo>
                    <a:pt x="12607" y="11603"/>
                  </a:lnTo>
                  <a:lnTo>
                    <a:pt x="13030" y="12392"/>
                  </a:lnTo>
                  <a:lnTo>
                    <a:pt x="13326" y="13625"/>
                  </a:lnTo>
                  <a:lnTo>
                    <a:pt x="13749" y="14118"/>
                  </a:lnTo>
                  <a:lnTo>
                    <a:pt x="13199" y="14907"/>
                  </a:lnTo>
                  <a:lnTo>
                    <a:pt x="13199" y="15351"/>
                  </a:lnTo>
                  <a:lnTo>
                    <a:pt x="12691" y="15745"/>
                  </a:lnTo>
                  <a:lnTo>
                    <a:pt x="12691" y="16312"/>
                  </a:lnTo>
                  <a:lnTo>
                    <a:pt x="11760" y="17027"/>
                  </a:lnTo>
                  <a:lnTo>
                    <a:pt x="12311" y="17668"/>
                  </a:lnTo>
                  <a:lnTo>
                    <a:pt x="11591" y="18358"/>
                  </a:lnTo>
                  <a:lnTo>
                    <a:pt x="11210" y="17865"/>
                  </a:lnTo>
                  <a:lnTo>
                    <a:pt x="10448" y="17471"/>
                  </a:lnTo>
                  <a:lnTo>
                    <a:pt x="10152" y="18013"/>
                  </a:lnTo>
                  <a:lnTo>
                    <a:pt x="10829" y="19048"/>
                  </a:lnTo>
                  <a:lnTo>
                    <a:pt x="11422" y="19344"/>
                  </a:lnTo>
                  <a:lnTo>
                    <a:pt x="11422" y="19437"/>
                  </a:lnTo>
                  <a:lnTo>
                    <a:pt x="11591" y="19320"/>
                  </a:lnTo>
                  <a:cubicBezTo>
                    <a:pt x="11591" y="19320"/>
                    <a:pt x="11718" y="19517"/>
                    <a:pt x="11718" y="19517"/>
                  </a:cubicBezTo>
                  <a:close/>
                  <a:moveTo>
                    <a:pt x="11718" y="19517"/>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8" name="AutoShape 30"/>
            <p:cNvSpPr>
              <a:spLocks/>
            </p:cNvSpPr>
            <p:nvPr/>
          </p:nvSpPr>
          <p:spPr bwMode="auto">
            <a:xfrm>
              <a:off x="3619500" y="4051300"/>
              <a:ext cx="1820863" cy="1631950"/>
            </a:xfrm>
            <a:custGeom>
              <a:avLst/>
              <a:gdLst/>
              <a:ahLst/>
              <a:cxnLst/>
              <a:rect l="0" t="0" r="r" b="b"/>
              <a:pathLst>
                <a:path w="21600" h="21600">
                  <a:moveTo>
                    <a:pt x="20266" y="5828"/>
                  </a:moveTo>
                  <a:lnTo>
                    <a:pt x="19897" y="5511"/>
                  </a:lnTo>
                  <a:lnTo>
                    <a:pt x="19443" y="5384"/>
                  </a:lnTo>
                  <a:lnTo>
                    <a:pt x="18989" y="5511"/>
                  </a:lnTo>
                  <a:lnTo>
                    <a:pt x="18790" y="5226"/>
                  </a:lnTo>
                  <a:lnTo>
                    <a:pt x="18790" y="4973"/>
                  </a:lnTo>
                  <a:lnTo>
                    <a:pt x="18308" y="4798"/>
                  </a:lnTo>
                  <a:lnTo>
                    <a:pt x="17910" y="4973"/>
                  </a:lnTo>
                  <a:lnTo>
                    <a:pt x="17343" y="4798"/>
                  </a:lnTo>
                  <a:lnTo>
                    <a:pt x="16917" y="4798"/>
                  </a:lnTo>
                  <a:lnTo>
                    <a:pt x="16917" y="4521"/>
                  </a:lnTo>
                  <a:lnTo>
                    <a:pt x="16434" y="4521"/>
                  </a:lnTo>
                  <a:lnTo>
                    <a:pt x="16207" y="4798"/>
                  </a:lnTo>
                  <a:lnTo>
                    <a:pt x="15838" y="4798"/>
                  </a:lnTo>
                  <a:lnTo>
                    <a:pt x="15838" y="4498"/>
                  </a:lnTo>
                  <a:lnTo>
                    <a:pt x="15652" y="4346"/>
                  </a:lnTo>
                  <a:lnTo>
                    <a:pt x="15569" y="4450"/>
                  </a:lnTo>
                  <a:lnTo>
                    <a:pt x="15256" y="4798"/>
                  </a:lnTo>
                  <a:lnTo>
                    <a:pt x="14689" y="4798"/>
                  </a:lnTo>
                  <a:lnTo>
                    <a:pt x="14249" y="4703"/>
                  </a:lnTo>
                  <a:lnTo>
                    <a:pt x="13780" y="4561"/>
                  </a:lnTo>
                  <a:lnTo>
                    <a:pt x="13369" y="4149"/>
                  </a:lnTo>
                  <a:lnTo>
                    <a:pt x="13511" y="3896"/>
                  </a:lnTo>
                  <a:lnTo>
                    <a:pt x="13610" y="3500"/>
                  </a:lnTo>
                  <a:lnTo>
                    <a:pt x="13511" y="2977"/>
                  </a:lnTo>
                  <a:lnTo>
                    <a:pt x="13170" y="2296"/>
                  </a:lnTo>
                  <a:lnTo>
                    <a:pt x="12886" y="1964"/>
                  </a:lnTo>
                  <a:lnTo>
                    <a:pt x="12375" y="1932"/>
                  </a:lnTo>
                  <a:lnTo>
                    <a:pt x="11879" y="1774"/>
                  </a:lnTo>
                  <a:lnTo>
                    <a:pt x="11424" y="1568"/>
                  </a:lnTo>
                  <a:lnTo>
                    <a:pt x="11339" y="1251"/>
                  </a:lnTo>
                  <a:lnTo>
                    <a:pt x="11424" y="776"/>
                  </a:lnTo>
                  <a:lnTo>
                    <a:pt x="11084" y="412"/>
                  </a:lnTo>
                  <a:lnTo>
                    <a:pt x="10672" y="159"/>
                  </a:lnTo>
                  <a:lnTo>
                    <a:pt x="10474" y="507"/>
                  </a:lnTo>
                  <a:lnTo>
                    <a:pt x="10161" y="824"/>
                  </a:lnTo>
                  <a:lnTo>
                    <a:pt x="9906" y="824"/>
                  </a:lnTo>
                  <a:lnTo>
                    <a:pt x="9565" y="1109"/>
                  </a:lnTo>
                  <a:lnTo>
                    <a:pt x="9622" y="1457"/>
                  </a:lnTo>
                  <a:lnTo>
                    <a:pt x="9906" y="1869"/>
                  </a:lnTo>
                  <a:lnTo>
                    <a:pt x="9906" y="2185"/>
                  </a:lnTo>
                  <a:lnTo>
                    <a:pt x="9679" y="2514"/>
                  </a:lnTo>
                  <a:lnTo>
                    <a:pt x="9367" y="2514"/>
                  </a:lnTo>
                  <a:lnTo>
                    <a:pt x="8912" y="2977"/>
                  </a:lnTo>
                  <a:lnTo>
                    <a:pt x="8686" y="2977"/>
                  </a:lnTo>
                  <a:lnTo>
                    <a:pt x="8686" y="2724"/>
                  </a:lnTo>
                  <a:lnTo>
                    <a:pt x="8799" y="2375"/>
                  </a:lnTo>
                  <a:lnTo>
                    <a:pt x="8912" y="2122"/>
                  </a:lnTo>
                  <a:lnTo>
                    <a:pt x="8742" y="1869"/>
                  </a:lnTo>
                  <a:lnTo>
                    <a:pt x="8515" y="2019"/>
                  </a:lnTo>
                  <a:lnTo>
                    <a:pt x="8515" y="2977"/>
                  </a:lnTo>
                  <a:lnTo>
                    <a:pt x="7493" y="3041"/>
                  </a:lnTo>
                  <a:lnTo>
                    <a:pt x="6982" y="4181"/>
                  </a:lnTo>
                  <a:lnTo>
                    <a:pt x="5790" y="4751"/>
                  </a:lnTo>
                  <a:lnTo>
                    <a:pt x="6074" y="3927"/>
                  </a:lnTo>
                  <a:cubicBezTo>
                    <a:pt x="6074" y="3927"/>
                    <a:pt x="5336" y="3927"/>
                    <a:pt x="5279" y="3927"/>
                  </a:cubicBezTo>
                  <a:cubicBezTo>
                    <a:pt x="5223" y="3927"/>
                    <a:pt x="5279" y="3484"/>
                    <a:pt x="5279" y="3484"/>
                  </a:cubicBezTo>
                  <a:lnTo>
                    <a:pt x="4825" y="3041"/>
                  </a:lnTo>
                  <a:lnTo>
                    <a:pt x="4428" y="3611"/>
                  </a:lnTo>
                  <a:lnTo>
                    <a:pt x="3747" y="2914"/>
                  </a:lnTo>
                  <a:lnTo>
                    <a:pt x="3065" y="2471"/>
                  </a:lnTo>
                  <a:lnTo>
                    <a:pt x="2725" y="1140"/>
                  </a:lnTo>
                  <a:lnTo>
                    <a:pt x="1930" y="254"/>
                  </a:lnTo>
                  <a:lnTo>
                    <a:pt x="738" y="0"/>
                  </a:lnTo>
                  <a:lnTo>
                    <a:pt x="284" y="507"/>
                  </a:lnTo>
                  <a:lnTo>
                    <a:pt x="738" y="1394"/>
                  </a:lnTo>
                  <a:lnTo>
                    <a:pt x="0" y="2344"/>
                  </a:lnTo>
                  <a:lnTo>
                    <a:pt x="57" y="3104"/>
                  </a:lnTo>
                  <a:lnTo>
                    <a:pt x="738" y="3801"/>
                  </a:lnTo>
                  <a:lnTo>
                    <a:pt x="687" y="3810"/>
                  </a:lnTo>
                  <a:lnTo>
                    <a:pt x="1476" y="4307"/>
                  </a:lnTo>
                  <a:lnTo>
                    <a:pt x="1817" y="5954"/>
                  </a:lnTo>
                  <a:lnTo>
                    <a:pt x="2668" y="7221"/>
                  </a:lnTo>
                  <a:lnTo>
                    <a:pt x="1987" y="7221"/>
                  </a:lnTo>
                  <a:lnTo>
                    <a:pt x="2384" y="8298"/>
                  </a:lnTo>
                  <a:lnTo>
                    <a:pt x="2668" y="10515"/>
                  </a:lnTo>
                  <a:lnTo>
                    <a:pt x="2327" y="12732"/>
                  </a:lnTo>
                  <a:lnTo>
                    <a:pt x="2159" y="13014"/>
                  </a:lnTo>
                  <a:lnTo>
                    <a:pt x="2271" y="14886"/>
                  </a:lnTo>
                  <a:lnTo>
                    <a:pt x="2668" y="15456"/>
                  </a:lnTo>
                  <a:lnTo>
                    <a:pt x="2668" y="14379"/>
                  </a:lnTo>
                  <a:lnTo>
                    <a:pt x="3406" y="13936"/>
                  </a:lnTo>
                  <a:lnTo>
                    <a:pt x="4030" y="14822"/>
                  </a:lnTo>
                  <a:lnTo>
                    <a:pt x="4428" y="15456"/>
                  </a:lnTo>
                  <a:lnTo>
                    <a:pt x="3860" y="15836"/>
                  </a:lnTo>
                  <a:lnTo>
                    <a:pt x="4428" y="16873"/>
                  </a:lnTo>
                  <a:lnTo>
                    <a:pt x="5336" y="16469"/>
                  </a:lnTo>
                  <a:lnTo>
                    <a:pt x="6755" y="19636"/>
                  </a:lnTo>
                  <a:lnTo>
                    <a:pt x="6755" y="20333"/>
                  </a:lnTo>
                  <a:lnTo>
                    <a:pt x="7266" y="21600"/>
                  </a:lnTo>
                  <a:lnTo>
                    <a:pt x="7947" y="21600"/>
                  </a:lnTo>
                  <a:lnTo>
                    <a:pt x="8913" y="20840"/>
                  </a:lnTo>
                  <a:lnTo>
                    <a:pt x="8913" y="21347"/>
                  </a:lnTo>
                  <a:lnTo>
                    <a:pt x="9821" y="20967"/>
                  </a:lnTo>
                  <a:lnTo>
                    <a:pt x="9821" y="19763"/>
                  </a:lnTo>
                  <a:lnTo>
                    <a:pt x="9821" y="18306"/>
                  </a:lnTo>
                  <a:lnTo>
                    <a:pt x="10332" y="18306"/>
                  </a:lnTo>
                  <a:lnTo>
                    <a:pt x="11070" y="16873"/>
                  </a:lnTo>
                  <a:lnTo>
                    <a:pt x="11070" y="16343"/>
                  </a:lnTo>
                  <a:lnTo>
                    <a:pt x="11637" y="16026"/>
                  </a:lnTo>
                  <a:lnTo>
                    <a:pt x="11843" y="15709"/>
                  </a:lnTo>
                  <a:lnTo>
                    <a:pt x="11684" y="15221"/>
                  </a:lnTo>
                  <a:lnTo>
                    <a:pt x="12290" y="14919"/>
                  </a:lnTo>
                  <a:lnTo>
                    <a:pt x="12886" y="15139"/>
                  </a:lnTo>
                  <a:lnTo>
                    <a:pt x="12602" y="15519"/>
                  </a:lnTo>
                  <a:lnTo>
                    <a:pt x="12602" y="15836"/>
                  </a:lnTo>
                  <a:lnTo>
                    <a:pt x="12886" y="16152"/>
                  </a:lnTo>
                  <a:lnTo>
                    <a:pt x="12886" y="16873"/>
                  </a:lnTo>
                  <a:lnTo>
                    <a:pt x="13795" y="17293"/>
                  </a:lnTo>
                  <a:lnTo>
                    <a:pt x="14476" y="16343"/>
                  </a:lnTo>
                  <a:lnTo>
                    <a:pt x="14760" y="16873"/>
                  </a:lnTo>
                  <a:lnTo>
                    <a:pt x="14760" y="17847"/>
                  </a:lnTo>
                  <a:lnTo>
                    <a:pt x="15015" y="17704"/>
                  </a:lnTo>
                  <a:lnTo>
                    <a:pt x="15249" y="17704"/>
                  </a:lnTo>
                  <a:lnTo>
                    <a:pt x="15356" y="17966"/>
                  </a:lnTo>
                  <a:lnTo>
                    <a:pt x="15696" y="17966"/>
                  </a:lnTo>
                  <a:lnTo>
                    <a:pt x="16143" y="17704"/>
                  </a:lnTo>
                  <a:lnTo>
                    <a:pt x="16718" y="17704"/>
                  </a:lnTo>
                  <a:lnTo>
                    <a:pt x="16995" y="17395"/>
                  </a:lnTo>
                  <a:lnTo>
                    <a:pt x="16888" y="17016"/>
                  </a:lnTo>
                  <a:lnTo>
                    <a:pt x="16526" y="16683"/>
                  </a:lnTo>
                  <a:lnTo>
                    <a:pt x="16250" y="16683"/>
                  </a:lnTo>
                  <a:lnTo>
                    <a:pt x="16008" y="16398"/>
                  </a:lnTo>
                  <a:lnTo>
                    <a:pt x="15675" y="16398"/>
                  </a:lnTo>
                  <a:lnTo>
                    <a:pt x="15526" y="16065"/>
                  </a:lnTo>
                  <a:lnTo>
                    <a:pt x="15526" y="15709"/>
                  </a:lnTo>
                  <a:lnTo>
                    <a:pt x="15867" y="15567"/>
                  </a:lnTo>
                  <a:lnTo>
                    <a:pt x="16207" y="15329"/>
                  </a:lnTo>
                  <a:lnTo>
                    <a:pt x="16441" y="15329"/>
                  </a:lnTo>
                  <a:lnTo>
                    <a:pt x="16654" y="15662"/>
                  </a:lnTo>
                  <a:lnTo>
                    <a:pt x="16945" y="15783"/>
                  </a:lnTo>
                  <a:lnTo>
                    <a:pt x="16945" y="15139"/>
                  </a:lnTo>
                  <a:lnTo>
                    <a:pt x="16690" y="14727"/>
                  </a:lnTo>
                  <a:lnTo>
                    <a:pt x="16292" y="14727"/>
                  </a:lnTo>
                  <a:lnTo>
                    <a:pt x="16008" y="14601"/>
                  </a:lnTo>
                  <a:lnTo>
                    <a:pt x="15838" y="14189"/>
                  </a:lnTo>
                  <a:lnTo>
                    <a:pt x="15838" y="13682"/>
                  </a:lnTo>
                  <a:lnTo>
                    <a:pt x="15327" y="13682"/>
                  </a:lnTo>
                  <a:lnTo>
                    <a:pt x="15100" y="13207"/>
                  </a:lnTo>
                  <a:lnTo>
                    <a:pt x="15100" y="12827"/>
                  </a:lnTo>
                  <a:lnTo>
                    <a:pt x="15327" y="12510"/>
                  </a:lnTo>
                  <a:lnTo>
                    <a:pt x="15724" y="12225"/>
                  </a:lnTo>
                  <a:lnTo>
                    <a:pt x="16008" y="12225"/>
                  </a:lnTo>
                  <a:lnTo>
                    <a:pt x="16008" y="11647"/>
                  </a:lnTo>
                  <a:lnTo>
                    <a:pt x="15781" y="11647"/>
                  </a:lnTo>
                  <a:lnTo>
                    <a:pt x="15781" y="11307"/>
                  </a:lnTo>
                  <a:lnTo>
                    <a:pt x="16008" y="10895"/>
                  </a:lnTo>
                  <a:lnTo>
                    <a:pt x="16434" y="10895"/>
                  </a:lnTo>
                  <a:lnTo>
                    <a:pt x="16661" y="10895"/>
                  </a:lnTo>
                  <a:lnTo>
                    <a:pt x="16945" y="11307"/>
                  </a:lnTo>
                  <a:lnTo>
                    <a:pt x="17172" y="11307"/>
                  </a:lnTo>
                  <a:lnTo>
                    <a:pt x="17456" y="10895"/>
                  </a:lnTo>
                  <a:lnTo>
                    <a:pt x="17712" y="10895"/>
                  </a:lnTo>
                  <a:lnTo>
                    <a:pt x="17712" y="11465"/>
                  </a:lnTo>
                  <a:lnTo>
                    <a:pt x="17938" y="11647"/>
                  </a:lnTo>
                  <a:lnTo>
                    <a:pt x="18733" y="11647"/>
                  </a:lnTo>
                  <a:lnTo>
                    <a:pt x="19045" y="11085"/>
                  </a:lnTo>
                  <a:lnTo>
                    <a:pt x="19358" y="10578"/>
                  </a:lnTo>
                  <a:lnTo>
                    <a:pt x="19556" y="10198"/>
                  </a:lnTo>
                  <a:lnTo>
                    <a:pt x="19556" y="9850"/>
                  </a:lnTo>
                  <a:lnTo>
                    <a:pt x="19869" y="9850"/>
                  </a:lnTo>
                  <a:lnTo>
                    <a:pt x="20209" y="9850"/>
                  </a:lnTo>
                  <a:lnTo>
                    <a:pt x="20380" y="9850"/>
                  </a:lnTo>
                  <a:lnTo>
                    <a:pt x="20380" y="9407"/>
                  </a:lnTo>
                  <a:lnTo>
                    <a:pt x="20720" y="8836"/>
                  </a:lnTo>
                  <a:lnTo>
                    <a:pt x="21118" y="8140"/>
                  </a:lnTo>
                  <a:lnTo>
                    <a:pt x="21316" y="7696"/>
                  </a:lnTo>
                  <a:lnTo>
                    <a:pt x="21600" y="7696"/>
                  </a:lnTo>
                  <a:lnTo>
                    <a:pt x="21600" y="7443"/>
                  </a:lnTo>
                  <a:lnTo>
                    <a:pt x="21401" y="7189"/>
                  </a:lnTo>
                  <a:lnTo>
                    <a:pt x="21203" y="6873"/>
                  </a:lnTo>
                  <a:lnTo>
                    <a:pt x="21373" y="6683"/>
                  </a:lnTo>
                  <a:lnTo>
                    <a:pt x="21430" y="6429"/>
                  </a:lnTo>
                  <a:lnTo>
                    <a:pt x="21373" y="6144"/>
                  </a:lnTo>
                  <a:lnTo>
                    <a:pt x="20408" y="6271"/>
                  </a:lnTo>
                  <a:cubicBezTo>
                    <a:pt x="20408" y="6271"/>
                    <a:pt x="20266" y="5828"/>
                    <a:pt x="20266" y="5828"/>
                  </a:cubicBezTo>
                  <a:close/>
                  <a:moveTo>
                    <a:pt x="20266" y="5828"/>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49" name="AutoShape 31"/>
            <p:cNvSpPr>
              <a:spLocks/>
            </p:cNvSpPr>
            <p:nvPr/>
          </p:nvSpPr>
          <p:spPr bwMode="auto">
            <a:xfrm>
              <a:off x="4940300" y="3060700"/>
              <a:ext cx="942975" cy="1557338"/>
            </a:xfrm>
            <a:custGeom>
              <a:avLst/>
              <a:gdLst/>
              <a:ahLst/>
              <a:cxnLst/>
              <a:rect l="0" t="0" r="r" b="b"/>
              <a:pathLst>
                <a:path w="21600" h="21600">
                  <a:moveTo>
                    <a:pt x="15536" y="20737"/>
                  </a:moveTo>
                  <a:lnTo>
                    <a:pt x="15975" y="20339"/>
                  </a:lnTo>
                  <a:lnTo>
                    <a:pt x="15372" y="20007"/>
                  </a:lnTo>
                  <a:lnTo>
                    <a:pt x="15426" y="19543"/>
                  </a:lnTo>
                  <a:lnTo>
                    <a:pt x="16139" y="19111"/>
                  </a:lnTo>
                  <a:lnTo>
                    <a:pt x="17070" y="19111"/>
                  </a:lnTo>
                  <a:lnTo>
                    <a:pt x="18002" y="19111"/>
                  </a:lnTo>
                  <a:lnTo>
                    <a:pt x="18002" y="18614"/>
                  </a:lnTo>
                  <a:lnTo>
                    <a:pt x="17399" y="18249"/>
                  </a:lnTo>
                  <a:lnTo>
                    <a:pt x="16522" y="18249"/>
                  </a:lnTo>
                  <a:lnTo>
                    <a:pt x="16194" y="17685"/>
                  </a:lnTo>
                  <a:lnTo>
                    <a:pt x="15098" y="17552"/>
                  </a:lnTo>
                  <a:lnTo>
                    <a:pt x="15372" y="17353"/>
                  </a:lnTo>
                  <a:lnTo>
                    <a:pt x="16961" y="17353"/>
                  </a:lnTo>
                  <a:lnTo>
                    <a:pt x="17728" y="17486"/>
                  </a:lnTo>
                  <a:lnTo>
                    <a:pt x="18605" y="17519"/>
                  </a:lnTo>
                  <a:lnTo>
                    <a:pt x="19371" y="17320"/>
                  </a:lnTo>
                  <a:lnTo>
                    <a:pt x="20002" y="17685"/>
                  </a:lnTo>
                  <a:lnTo>
                    <a:pt x="20577" y="17519"/>
                  </a:lnTo>
                  <a:lnTo>
                    <a:pt x="21070" y="17154"/>
                  </a:lnTo>
                  <a:lnTo>
                    <a:pt x="21070" y="16457"/>
                  </a:lnTo>
                  <a:lnTo>
                    <a:pt x="20413" y="16125"/>
                  </a:lnTo>
                  <a:lnTo>
                    <a:pt x="19700" y="15594"/>
                  </a:lnTo>
                  <a:lnTo>
                    <a:pt x="19700" y="14864"/>
                  </a:lnTo>
                  <a:lnTo>
                    <a:pt x="18934" y="14665"/>
                  </a:lnTo>
                  <a:lnTo>
                    <a:pt x="18934" y="14201"/>
                  </a:lnTo>
                  <a:lnTo>
                    <a:pt x="18934" y="13869"/>
                  </a:lnTo>
                  <a:lnTo>
                    <a:pt x="18823" y="13869"/>
                  </a:lnTo>
                  <a:lnTo>
                    <a:pt x="18166" y="13405"/>
                  </a:lnTo>
                  <a:lnTo>
                    <a:pt x="18166" y="12575"/>
                  </a:lnTo>
                  <a:lnTo>
                    <a:pt x="18659" y="11928"/>
                  </a:lnTo>
                  <a:lnTo>
                    <a:pt x="19399" y="11082"/>
                  </a:lnTo>
                  <a:lnTo>
                    <a:pt x="19152" y="10136"/>
                  </a:lnTo>
                  <a:lnTo>
                    <a:pt x="18659" y="9259"/>
                  </a:lnTo>
                  <a:lnTo>
                    <a:pt x="18988" y="8228"/>
                  </a:lnTo>
                  <a:lnTo>
                    <a:pt x="18659" y="7100"/>
                  </a:lnTo>
                  <a:lnTo>
                    <a:pt x="19740" y="6453"/>
                  </a:lnTo>
                  <a:lnTo>
                    <a:pt x="19740" y="5635"/>
                  </a:lnTo>
                  <a:lnTo>
                    <a:pt x="19740" y="5010"/>
                  </a:lnTo>
                  <a:lnTo>
                    <a:pt x="19152" y="4562"/>
                  </a:lnTo>
                  <a:lnTo>
                    <a:pt x="19152" y="4114"/>
                  </a:lnTo>
                  <a:lnTo>
                    <a:pt x="19152" y="3517"/>
                  </a:lnTo>
                  <a:lnTo>
                    <a:pt x="20385" y="3050"/>
                  </a:lnTo>
                  <a:lnTo>
                    <a:pt x="20960" y="2190"/>
                  </a:lnTo>
                  <a:lnTo>
                    <a:pt x="20960" y="1676"/>
                  </a:lnTo>
                  <a:lnTo>
                    <a:pt x="21600" y="954"/>
                  </a:lnTo>
                  <a:lnTo>
                    <a:pt x="21600" y="648"/>
                  </a:lnTo>
                  <a:lnTo>
                    <a:pt x="21070" y="796"/>
                  </a:lnTo>
                  <a:lnTo>
                    <a:pt x="21070" y="0"/>
                  </a:lnTo>
                  <a:lnTo>
                    <a:pt x="19536" y="796"/>
                  </a:lnTo>
                  <a:lnTo>
                    <a:pt x="18769" y="464"/>
                  </a:lnTo>
                  <a:lnTo>
                    <a:pt x="17673" y="796"/>
                  </a:lnTo>
                  <a:lnTo>
                    <a:pt x="14057" y="3053"/>
                  </a:lnTo>
                  <a:lnTo>
                    <a:pt x="14057" y="4380"/>
                  </a:lnTo>
                  <a:lnTo>
                    <a:pt x="12961" y="4313"/>
                  </a:lnTo>
                  <a:lnTo>
                    <a:pt x="12961" y="5242"/>
                  </a:lnTo>
                  <a:lnTo>
                    <a:pt x="10989" y="5309"/>
                  </a:lnTo>
                  <a:lnTo>
                    <a:pt x="9030" y="4744"/>
                  </a:lnTo>
                  <a:lnTo>
                    <a:pt x="8283" y="5085"/>
                  </a:lnTo>
                  <a:lnTo>
                    <a:pt x="7646" y="5635"/>
                  </a:lnTo>
                  <a:lnTo>
                    <a:pt x="7482" y="6752"/>
                  </a:lnTo>
                  <a:lnTo>
                    <a:pt x="7605" y="7250"/>
                  </a:lnTo>
                  <a:lnTo>
                    <a:pt x="8427" y="7474"/>
                  </a:lnTo>
                  <a:lnTo>
                    <a:pt x="9084" y="7623"/>
                  </a:lnTo>
                  <a:lnTo>
                    <a:pt x="10441" y="8096"/>
                  </a:lnTo>
                  <a:lnTo>
                    <a:pt x="11879" y="8569"/>
                  </a:lnTo>
                  <a:lnTo>
                    <a:pt x="12577" y="8892"/>
                  </a:lnTo>
                  <a:lnTo>
                    <a:pt x="12167" y="9813"/>
                  </a:lnTo>
                  <a:lnTo>
                    <a:pt x="11797" y="10136"/>
                  </a:lnTo>
                  <a:lnTo>
                    <a:pt x="11920" y="10808"/>
                  </a:lnTo>
                  <a:lnTo>
                    <a:pt x="12167" y="11231"/>
                  </a:lnTo>
                  <a:lnTo>
                    <a:pt x="12167" y="11729"/>
                  </a:lnTo>
                  <a:lnTo>
                    <a:pt x="11509" y="11729"/>
                  </a:lnTo>
                  <a:lnTo>
                    <a:pt x="10564" y="11729"/>
                  </a:lnTo>
                  <a:lnTo>
                    <a:pt x="9660" y="11853"/>
                  </a:lnTo>
                  <a:lnTo>
                    <a:pt x="9003" y="11729"/>
                  </a:lnTo>
                  <a:lnTo>
                    <a:pt x="8468" y="11953"/>
                  </a:lnTo>
                  <a:lnTo>
                    <a:pt x="9003" y="12227"/>
                  </a:lnTo>
                  <a:lnTo>
                    <a:pt x="9003" y="12625"/>
                  </a:lnTo>
                  <a:lnTo>
                    <a:pt x="8140" y="12774"/>
                  </a:lnTo>
                  <a:lnTo>
                    <a:pt x="7030" y="12799"/>
                  </a:lnTo>
                  <a:lnTo>
                    <a:pt x="6331" y="12600"/>
                  </a:lnTo>
                  <a:lnTo>
                    <a:pt x="5921" y="12227"/>
                  </a:lnTo>
                  <a:lnTo>
                    <a:pt x="4524" y="12227"/>
                  </a:lnTo>
                  <a:lnTo>
                    <a:pt x="4030" y="12451"/>
                  </a:lnTo>
                  <a:lnTo>
                    <a:pt x="4400" y="12699"/>
                  </a:lnTo>
                  <a:lnTo>
                    <a:pt x="4195" y="13028"/>
                  </a:lnTo>
                  <a:lnTo>
                    <a:pt x="3414" y="13446"/>
                  </a:lnTo>
                  <a:lnTo>
                    <a:pt x="3414" y="13869"/>
                  </a:lnTo>
                  <a:lnTo>
                    <a:pt x="3948" y="13869"/>
                  </a:lnTo>
                  <a:lnTo>
                    <a:pt x="4688" y="13902"/>
                  </a:lnTo>
                  <a:lnTo>
                    <a:pt x="5140" y="14367"/>
                  </a:lnTo>
                  <a:lnTo>
                    <a:pt x="4441" y="14516"/>
                  </a:lnTo>
                  <a:lnTo>
                    <a:pt x="3989" y="15014"/>
                  </a:lnTo>
                  <a:lnTo>
                    <a:pt x="3989" y="15785"/>
                  </a:lnTo>
                  <a:lnTo>
                    <a:pt x="4441" y="16333"/>
                  </a:lnTo>
                  <a:lnTo>
                    <a:pt x="3866" y="16333"/>
                  </a:lnTo>
                  <a:lnTo>
                    <a:pt x="2798" y="16333"/>
                  </a:lnTo>
                  <a:lnTo>
                    <a:pt x="2304" y="16333"/>
                  </a:lnTo>
                  <a:lnTo>
                    <a:pt x="1729" y="16333"/>
                  </a:lnTo>
                  <a:lnTo>
                    <a:pt x="1195" y="16830"/>
                  </a:lnTo>
                  <a:lnTo>
                    <a:pt x="1318" y="17054"/>
                  </a:lnTo>
                  <a:lnTo>
                    <a:pt x="2058" y="17353"/>
                  </a:lnTo>
                  <a:lnTo>
                    <a:pt x="1647" y="17950"/>
                  </a:lnTo>
                  <a:lnTo>
                    <a:pt x="1031" y="18149"/>
                  </a:lnTo>
                  <a:lnTo>
                    <a:pt x="209" y="18149"/>
                  </a:lnTo>
                  <a:lnTo>
                    <a:pt x="0" y="18290"/>
                  </a:lnTo>
                  <a:lnTo>
                    <a:pt x="359" y="18448"/>
                  </a:lnTo>
                  <a:lnTo>
                    <a:pt x="359" y="18763"/>
                  </a:lnTo>
                  <a:lnTo>
                    <a:pt x="1072" y="18763"/>
                  </a:lnTo>
                  <a:lnTo>
                    <a:pt x="1510" y="18473"/>
                  </a:lnTo>
                  <a:lnTo>
                    <a:pt x="2442" y="18473"/>
                  </a:lnTo>
                  <a:lnTo>
                    <a:pt x="2442" y="18763"/>
                  </a:lnTo>
                  <a:lnTo>
                    <a:pt x="3264" y="18763"/>
                  </a:lnTo>
                  <a:lnTo>
                    <a:pt x="4359" y="18946"/>
                  </a:lnTo>
                  <a:lnTo>
                    <a:pt x="5127" y="18763"/>
                  </a:lnTo>
                  <a:lnTo>
                    <a:pt x="6058" y="18946"/>
                  </a:lnTo>
                  <a:lnTo>
                    <a:pt x="6058" y="19211"/>
                  </a:lnTo>
                  <a:lnTo>
                    <a:pt x="6441" y="19510"/>
                  </a:lnTo>
                  <a:lnTo>
                    <a:pt x="7318" y="19377"/>
                  </a:lnTo>
                  <a:lnTo>
                    <a:pt x="8194" y="19510"/>
                  </a:lnTo>
                  <a:lnTo>
                    <a:pt x="8907" y="19842"/>
                  </a:lnTo>
                  <a:lnTo>
                    <a:pt x="9180" y="20306"/>
                  </a:lnTo>
                  <a:lnTo>
                    <a:pt x="11044" y="20173"/>
                  </a:lnTo>
                  <a:lnTo>
                    <a:pt x="11756" y="20173"/>
                  </a:lnTo>
                  <a:lnTo>
                    <a:pt x="12796" y="20638"/>
                  </a:lnTo>
                  <a:lnTo>
                    <a:pt x="13618" y="21069"/>
                  </a:lnTo>
                  <a:lnTo>
                    <a:pt x="14386" y="21301"/>
                  </a:lnTo>
                  <a:lnTo>
                    <a:pt x="14660" y="21600"/>
                  </a:lnTo>
                  <a:lnTo>
                    <a:pt x="15372" y="21600"/>
                  </a:lnTo>
                  <a:lnTo>
                    <a:pt x="15830" y="21563"/>
                  </a:lnTo>
                  <a:lnTo>
                    <a:pt x="15865" y="21036"/>
                  </a:lnTo>
                  <a:cubicBezTo>
                    <a:pt x="15865" y="21036"/>
                    <a:pt x="15536" y="20737"/>
                    <a:pt x="15536" y="20737"/>
                  </a:cubicBezTo>
                  <a:close/>
                  <a:moveTo>
                    <a:pt x="15536" y="20737"/>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50" name="AutoShape 32"/>
            <p:cNvSpPr>
              <a:spLocks/>
            </p:cNvSpPr>
            <p:nvPr/>
          </p:nvSpPr>
          <p:spPr bwMode="auto">
            <a:xfrm>
              <a:off x="5765800" y="3683000"/>
              <a:ext cx="1033463" cy="968375"/>
            </a:xfrm>
            <a:custGeom>
              <a:avLst/>
              <a:gdLst/>
              <a:ahLst/>
              <a:cxnLst/>
              <a:rect l="0" t="0" r="r" b="b"/>
              <a:pathLst>
                <a:path w="21600" h="21600">
                  <a:moveTo>
                    <a:pt x="2900" y="15410"/>
                  </a:moveTo>
                  <a:lnTo>
                    <a:pt x="3350" y="16183"/>
                  </a:lnTo>
                  <a:lnTo>
                    <a:pt x="4175" y="16797"/>
                  </a:lnTo>
                  <a:lnTo>
                    <a:pt x="5500" y="17437"/>
                  </a:lnTo>
                  <a:lnTo>
                    <a:pt x="6600" y="18078"/>
                  </a:lnTo>
                  <a:lnTo>
                    <a:pt x="7600" y="17704"/>
                  </a:lnTo>
                  <a:lnTo>
                    <a:pt x="8550" y="18078"/>
                  </a:lnTo>
                  <a:lnTo>
                    <a:pt x="9800" y="17704"/>
                  </a:lnTo>
                  <a:lnTo>
                    <a:pt x="10250" y="17811"/>
                  </a:lnTo>
                  <a:lnTo>
                    <a:pt x="11050" y="17811"/>
                  </a:lnTo>
                  <a:lnTo>
                    <a:pt x="11550" y="17384"/>
                  </a:lnTo>
                  <a:lnTo>
                    <a:pt x="11925" y="17758"/>
                  </a:lnTo>
                  <a:lnTo>
                    <a:pt x="11925" y="18665"/>
                  </a:lnTo>
                  <a:lnTo>
                    <a:pt x="11925" y="19699"/>
                  </a:lnTo>
                  <a:lnTo>
                    <a:pt x="12740" y="20266"/>
                  </a:lnTo>
                  <a:lnTo>
                    <a:pt x="13500" y="19945"/>
                  </a:lnTo>
                  <a:lnTo>
                    <a:pt x="14500" y="20266"/>
                  </a:lnTo>
                  <a:lnTo>
                    <a:pt x="14750" y="20746"/>
                  </a:lnTo>
                  <a:lnTo>
                    <a:pt x="15500" y="21147"/>
                  </a:lnTo>
                  <a:lnTo>
                    <a:pt x="16550" y="21387"/>
                  </a:lnTo>
                  <a:lnTo>
                    <a:pt x="16950" y="20746"/>
                  </a:lnTo>
                  <a:lnTo>
                    <a:pt x="16950" y="21387"/>
                  </a:lnTo>
                  <a:lnTo>
                    <a:pt x="17650" y="21600"/>
                  </a:lnTo>
                  <a:lnTo>
                    <a:pt x="18150" y="20746"/>
                  </a:lnTo>
                  <a:lnTo>
                    <a:pt x="18150" y="19699"/>
                  </a:lnTo>
                  <a:lnTo>
                    <a:pt x="19350" y="19699"/>
                  </a:lnTo>
                  <a:lnTo>
                    <a:pt x="19350" y="18078"/>
                  </a:lnTo>
                  <a:lnTo>
                    <a:pt x="19150" y="16690"/>
                  </a:lnTo>
                  <a:lnTo>
                    <a:pt x="18600" y="16637"/>
                  </a:lnTo>
                  <a:lnTo>
                    <a:pt x="17900" y="16904"/>
                  </a:lnTo>
                  <a:lnTo>
                    <a:pt x="17700" y="16423"/>
                  </a:lnTo>
                  <a:lnTo>
                    <a:pt x="16750" y="16183"/>
                  </a:lnTo>
                  <a:lnTo>
                    <a:pt x="16600" y="15356"/>
                  </a:lnTo>
                  <a:lnTo>
                    <a:pt x="15750" y="14983"/>
                  </a:lnTo>
                  <a:lnTo>
                    <a:pt x="15650" y="13969"/>
                  </a:lnTo>
                  <a:lnTo>
                    <a:pt x="16700" y="13969"/>
                  </a:lnTo>
                  <a:lnTo>
                    <a:pt x="17150" y="13377"/>
                  </a:lnTo>
                  <a:lnTo>
                    <a:pt x="17100" y="12314"/>
                  </a:lnTo>
                  <a:lnTo>
                    <a:pt x="17900" y="12101"/>
                  </a:lnTo>
                  <a:lnTo>
                    <a:pt x="17950" y="10767"/>
                  </a:lnTo>
                  <a:lnTo>
                    <a:pt x="17800" y="10233"/>
                  </a:lnTo>
                  <a:lnTo>
                    <a:pt x="18350" y="9806"/>
                  </a:lnTo>
                  <a:lnTo>
                    <a:pt x="18950" y="9806"/>
                  </a:lnTo>
                  <a:lnTo>
                    <a:pt x="19350" y="10446"/>
                  </a:lnTo>
                  <a:lnTo>
                    <a:pt x="19350" y="11194"/>
                  </a:lnTo>
                  <a:lnTo>
                    <a:pt x="20196" y="11300"/>
                  </a:lnTo>
                  <a:lnTo>
                    <a:pt x="20770" y="10607"/>
                  </a:lnTo>
                  <a:lnTo>
                    <a:pt x="21600" y="10340"/>
                  </a:lnTo>
                  <a:lnTo>
                    <a:pt x="21200" y="9806"/>
                  </a:lnTo>
                  <a:lnTo>
                    <a:pt x="21000" y="8738"/>
                  </a:lnTo>
                  <a:lnTo>
                    <a:pt x="20196" y="8738"/>
                  </a:lnTo>
                  <a:cubicBezTo>
                    <a:pt x="20196" y="8738"/>
                    <a:pt x="19792" y="8525"/>
                    <a:pt x="19796" y="8312"/>
                  </a:cubicBezTo>
                  <a:cubicBezTo>
                    <a:pt x="19798" y="8209"/>
                    <a:pt x="19648" y="7871"/>
                    <a:pt x="19492" y="7548"/>
                  </a:cubicBezTo>
                  <a:lnTo>
                    <a:pt x="18450" y="7351"/>
                  </a:lnTo>
                  <a:lnTo>
                    <a:pt x="17250" y="7351"/>
                  </a:lnTo>
                  <a:lnTo>
                    <a:pt x="17050" y="6551"/>
                  </a:lnTo>
                  <a:lnTo>
                    <a:pt x="16150" y="5697"/>
                  </a:lnTo>
                  <a:lnTo>
                    <a:pt x="15000" y="5697"/>
                  </a:lnTo>
                  <a:lnTo>
                    <a:pt x="15000" y="4896"/>
                  </a:lnTo>
                  <a:lnTo>
                    <a:pt x="15650" y="4149"/>
                  </a:lnTo>
                  <a:lnTo>
                    <a:pt x="16650" y="3349"/>
                  </a:lnTo>
                  <a:lnTo>
                    <a:pt x="16800" y="2708"/>
                  </a:lnTo>
                  <a:lnTo>
                    <a:pt x="18200" y="1801"/>
                  </a:lnTo>
                  <a:lnTo>
                    <a:pt x="18903" y="1054"/>
                  </a:lnTo>
                  <a:lnTo>
                    <a:pt x="18903" y="681"/>
                  </a:lnTo>
                  <a:lnTo>
                    <a:pt x="17550" y="1801"/>
                  </a:lnTo>
                  <a:lnTo>
                    <a:pt x="16550" y="1801"/>
                  </a:lnTo>
                  <a:lnTo>
                    <a:pt x="16750" y="1321"/>
                  </a:lnTo>
                  <a:lnTo>
                    <a:pt x="16721" y="897"/>
                  </a:lnTo>
                  <a:lnTo>
                    <a:pt x="16300" y="627"/>
                  </a:lnTo>
                  <a:lnTo>
                    <a:pt x="15650" y="627"/>
                  </a:lnTo>
                  <a:lnTo>
                    <a:pt x="15250" y="841"/>
                  </a:lnTo>
                  <a:lnTo>
                    <a:pt x="14350" y="841"/>
                  </a:lnTo>
                  <a:lnTo>
                    <a:pt x="13550" y="841"/>
                  </a:lnTo>
                  <a:lnTo>
                    <a:pt x="12150" y="520"/>
                  </a:lnTo>
                  <a:lnTo>
                    <a:pt x="10849" y="0"/>
                  </a:lnTo>
                  <a:lnTo>
                    <a:pt x="10849" y="897"/>
                  </a:lnTo>
                  <a:lnTo>
                    <a:pt x="10849" y="2708"/>
                  </a:lnTo>
                  <a:lnTo>
                    <a:pt x="9800" y="3989"/>
                  </a:lnTo>
                  <a:lnTo>
                    <a:pt x="8975" y="4790"/>
                  </a:lnTo>
                  <a:lnTo>
                    <a:pt x="8375" y="5270"/>
                  </a:lnTo>
                  <a:lnTo>
                    <a:pt x="5525" y="5270"/>
                  </a:lnTo>
                  <a:lnTo>
                    <a:pt x="5525" y="6070"/>
                  </a:lnTo>
                  <a:lnTo>
                    <a:pt x="4475" y="6310"/>
                  </a:lnTo>
                  <a:lnTo>
                    <a:pt x="3800" y="7191"/>
                  </a:lnTo>
                  <a:lnTo>
                    <a:pt x="2825" y="7565"/>
                  </a:lnTo>
                  <a:lnTo>
                    <a:pt x="1175" y="8312"/>
                  </a:lnTo>
                  <a:lnTo>
                    <a:pt x="0" y="8312"/>
                  </a:lnTo>
                  <a:lnTo>
                    <a:pt x="0" y="8845"/>
                  </a:lnTo>
                  <a:lnTo>
                    <a:pt x="0" y="9592"/>
                  </a:lnTo>
                  <a:lnTo>
                    <a:pt x="699" y="9913"/>
                  </a:lnTo>
                  <a:lnTo>
                    <a:pt x="699" y="11087"/>
                  </a:lnTo>
                  <a:lnTo>
                    <a:pt x="1350" y="11941"/>
                  </a:lnTo>
                  <a:lnTo>
                    <a:pt x="1950" y="12474"/>
                  </a:lnTo>
                  <a:lnTo>
                    <a:pt x="1950" y="13595"/>
                  </a:lnTo>
                  <a:lnTo>
                    <a:pt x="1772" y="13827"/>
                  </a:lnTo>
                  <a:lnTo>
                    <a:pt x="2433" y="14396"/>
                  </a:lnTo>
                  <a:cubicBezTo>
                    <a:pt x="2433" y="14396"/>
                    <a:pt x="2900" y="15410"/>
                    <a:pt x="2900" y="15410"/>
                  </a:cubicBezTo>
                  <a:close/>
                  <a:moveTo>
                    <a:pt x="2900" y="15410"/>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51" name="AutoShape 33"/>
            <p:cNvSpPr>
              <a:spLocks/>
            </p:cNvSpPr>
            <p:nvPr/>
          </p:nvSpPr>
          <p:spPr bwMode="auto">
            <a:xfrm>
              <a:off x="6515100" y="3987800"/>
              <a:ext cx="814388" cy="1016000"/>
            </a:xfrm>
            <a:custGeom>
              <a:avLst/>
              <a:gdLst/>
              <a:ahLst/>
              <a:cxnLst/>
              <a:rect l="0" t="0" r="r" b="b"/>
              <a:pathLst>
                <a:path w="21600" h="21600">
                  <a:moveTo>
                    <a:pt x="21402" y="13739"/>
                  </a:moveTo>
                  <a:lnTo>
                    <a:pt x="20324" y="13739"/>
                  </a:lnTo>
                  <a:lnTo>
                    <a:pt x="20197" y="13230"/>
                  </a:lnTo>
                  <a:lnTo>
                    <a:pt x="19373" y="13255"/>
                  </a:lnTo>
                  <a:lnTo>
                    <a:pt x="19183" y="13739"/>
                  </a:lnTo>
                  <a:lnTo>
                    <a:pt x="18675" y="13739"/>
                  </a:lnTo>
                  <a:lnTo>
                    <a:pt x="17724" y="13739"/>
                  </a:lnTo>
                  <a:lnTo>
                    <a:pt x="17376" y="13484"/>
                  </a:lnTo>
                  <a:lnTo>
                    <a:pt x="17629" y="13179"/>
                  </a:lnTo>
                  <a:lnTo>
                    <a:pt x="18263" y="12899"/>
                  </a:lnTo>
                  <a:lnTo>
                    <a:pt x="18327" y="12289"/>
                  </a:lnTo>
                  <a:lnTo>
                    <a:pt x="17153" y="11984"/>
                  </a:lnTo>
                  <a:lnTo>
                    <a:pt x="16456" y="11653"/>
                  </a:lnTo>
                  <a:lnTo>
                    <a:pt x="15505" y="11017"/>
                  </a:lnTo>
                  <a:lnTo>
                    <a:pt x="15536" y="10457"/>
                  </a:lnTo>
                  <a:lnTo>
                    <a:pt x="15473" y="9770"/>
                  </a:lnTo>
                  <a:lnTo>
                    <a:pt x="16361" y="9770"/>
                  </a:lnTo>
                  <a:lnTo>
                    <a:pt x="16805" y="9490"/>
                  </a:lnTo>
                  <a:lnTo>
                    <a:pt x="16900" y="8803"/>
                  </a:lnTo>
                  <a:lnTo>
                    <a:pt x="16107" y="8320"/>
                  </a:lnTo>
                  <a:lnTo>
                    <a:pt x="16329" y="8015"/>
                  </a:lnTo>
                  <a:lnTo>
                    <a:pt x="17407" y="7989"/>
                  </a:lnTo>
                  <a:lnTo>
                    <a:pt x="17883" y="8320"/>
                  </a:lnTo>
                  <a:lnTo>
                    <a:pt x="18580" y="8320"/>
                  </a:lnTo>
                  <a:lnTo>
                    <a:pt x="18993" y="7913"/>
                  </a:lnTo>
                  <a:lnTo>
                    <a:pt x="18866" y="6997"/>
                  </a:lnTo>
                  <a:lnTo>
                    <a:pt x="17936" y="6412"/>
                  </a:lnTo>
                  <a:lnTo>
                    <a:pt x="17217" y="6717"/>
                  </a:lnTo>
                  <a:lnTo>
                    <a:pt x="16646" y="7557"/>
                  </a:lnTo>
                  <a:lnTo>
                    <a:pt x="15164" y="7557"/>
                  </a:lnTo>
                  <a:lnTo>
                    <a:pt x="14364" y="6794"/>
                  </a:lnTo>
                  <a:lnTo>
                    <a:pt x="14364" y="5725"/>
                  </a:lnTo>
                  <a:lnTo>
                    <a:pt x="13127" y="5725"/>
                  </a:lnTo>
                  <a:lnTo>
                    <a:pt x="13571" y="4275"/>
                  </a:lnTo>
                  <a:lnTo>
                    <a:pt x="13571" y="3283"/>
                  </a:lnTo>
                  <a:lnTo>
                    <a:pt x="12271" y="3740"/>
                  </a:lnTo>
                  <a:lnTo>
                    <a:pt x="12271" y="2901"/>
                  </a:lnTo>
                  <a:lnTo>
                    <a:pt x="10797" y="2138"/>
                  </a:lnTo>
                  <a:lnTo>
                    <a:pt x="9227" y="2138"/>
                  </a:lnTo>
                  <a:lnTo>
                    <a:pt x="8252" y="1298"/>
                  </a:lnTo>
                  <a:lnTo>
                    <a:pt x="6342" y="586"/>
                  </a:lnTo>
                  <a:lnTo>
                    <a:pt x="5766" y="0"/>
                  </a:lnTo>
                  <a:lnTo>
                    <a:pt x="5707" y="179"/>
                  </a:lnTo>
                  <a:lnTo>
                    <a:pt x="4986" y="586"/>
                  </a:lnTo>
                  <a:lnTo>
                    <a:pt x="4873" y="570"/>
                  </a:lnTo>
                  <a:cubicBezTo>
                    <a:pt x="5071" y="877"/>
                    <a:pt x="5261" y="1200"/>
                    <a:pt x="5259" y="1298"/>
                  </a:cubicBezTo>
                  <a:cubicBezTo>
                    <a:pt x="5253" y="1502"/>
                    <a:pt x="5766" y="1705"/>
                    <a:pt x="5766" y="1705"/>
                  </a:cubicBezTo>
                  <a:lnTo>
                    <a:pt x="6786" y="1705"/>
                  </a:lnTo>
                  <a:lnTo>
                    <a:pt x="7039" y="2723"/>
                  </a:lnTo>
                  <a:lnTo>
                    <a:pt x="7547" y="3231"/>
                  </a:lnTo>
                  <a:lnTo>
                    <a:pt x="6493" y="3486"/>
                  </a:lnTo>
                  <a:lnTo>
                    <a:pt x="5766" y="4147"/>
                  </a:lnTo>
                  <a:lnTo>
                    <a:pt x="4693" y="4046"/>
                  </a:lnTo>
                  <a:lnTo>
                    <a:pt x="4693" y="3333"/>
                  </a:lnTo>
                  <a:lnTo>
                    <a:pt x="4185" y="2723"/>
                  </a:lnTo>
                  <a:lnTo>
                    <a:pt x="3424" y="2723"/>
                  </a:lnTo>
                  <a:lnTo>
                    <a:pt x="2727" y="3130"/>
                  </a:lnTo>
                  <a:lnTo>
                    <a:pt x="2917" y="3639"/>
                  </a:lnTo>
                  <a:lnTo>
                    <a:pt x="2854" y="4910"/>
                  </a:lnTo>
                  <a:lnTo>
                    <a:pt x="1839" y="5114"/>
                  </a:lnTo>
                  <a:lnTo>
                    <a:pt x="1903" y="6128"/>
                  </a:lnTo>
                  <a:lnTo>
                    <a:pt x="1332" y="6692"/>
                  </a:lnTo>
                  <a:lnTo>
                    <a:pt x="0" y="6692"/>
                  </a:lnTo>
                  <a:lnTo>
                    <a:pt x="127" y="7658"/>
                  </a:lnTo>
                  <a:lnTo>
                    <a:pt x="1205" y="8015"/>
                  </a:lnTo>
                  <a:lnTo>
                    <a:pt x="1396" y="8803"/>
                  </a:lnTo>
                  <a:lnTo>
                    <a:pt x="2601" y="9032"/>
                  </a:lnTo>
                  <a:lnTo>
                    <a:pt x="2854" y="9490"/>
                  </a:lnTo>
                  <a:lnTo>
                    <a:pt x="3742" y="9236"/>
                  </a:lnTo>
                  <a:lnTo>
                    <a:pt x="4439" y="9287"/>
                  </a:lnTo>
                  <a:lnTo>
                    <a:pt x="4693" y="10609"/>
                  </a:lnTo>
                  <a:lnTo>
                    <a:pt x="4693" y="12155"/>
                  </a:lnTo>
                  <a:lnTo>
                    <a:pt x="3171" y="12155"/>
                  </a:lnTo>
                  <a:lnTo>
                    <a:pt x="3171" y="13154"/>
                  </a:lnTo>
                  <a:lnTo>
                    <a:pt x="2593" y="13895"/>
                  </a:lnTo>
                  <a:lnTo>
                    <a:pt x="2854" y="14197"/>
                  </a:lnTo>
                  <a:lnTo>
                    <a:pt x="3139" y="14782"/>
                  </a:lnTo>
                  <a:lnTo>
                    <a:pt x="4376" y="14782"/>
                  </a:lnTo>
                  <a:lnTo>
                    <a:pt x="5470" y="14862"/>
                  </a:lnTo>
                  <a:lnTo>
                    <a:pt x="5766" y="15494"/>
                  </a:lnTo>
                  <a:lnTo>
                    <a:pt x="4994" y="16105"/>
                  </a:lnTo>
                  <a:lnTo>
                    <a:pt x="4423" y="16677"/>
                  </a:lnTo>
                  <a:lnTo>
                    <a:pt x="4471" y="17173"/>
                  </a:lnTo>
                  <a:lnTo>
                    <a:pt x="5137" y="17173"/>
                  </a:lnTo>
                  <a:lnTo>
                    <a:pt x="5375" y="18433"/>
                  </a:lnTo>
                  <a:lnTo>
                    <a:pt x="5766" y="18585"/>
                  </a:lnTo>
                  <a:lnTo>
                    <a:pt x="6136" y="18891"/>
                  </a:lnTo>
                  <a:lnTo>
                    <a:pt x="6136" y="19806"/>
                  </a:lnTo>
                  <a:lnTo>
                    <a:pt x="6666" y="20532"/>
                  </a:lnTo>
                  <a:lnTo>
                    <a:pt x="7356" y="20405"/>
                  </a:lnTo>
                  <a:lnTo>
                    <a:pt x="7927" y="20049"/>
                  </a:lnTo>
                  <a:lnTo>
                    <a:pt x="8371" y="19616"/>
                  </a:lnTo>
                  <a:lnTo>
                    <a:pt x="8371" y="19260"/>
                  </a:lnTo>
                  <a:lnTo>
                    <a:pt x="9227" y="19260"/>
                  </a:lnTo>
                  <a:lnTo>
                    <a:pt x="9639" y="19412"/>
                  </a:lnTo>
                  <a:lnTo>
                    <a:pt x="9830" y="19921"/>
                  </a:lnTo>
                  <a:lnTo>
                    <a:pt x="9132" y="20328"/>
                  </a:lnTo>
                  <a:lnTo>
                    <a:pt x="8815" y="20812"/>
                  </a:lnTo>
                  <a:lnTo>
                    <a:pt x="9132" y="21143"/>
                  </a:lnTo>
                  <a:lnTo>
                    <a:pt x="9608" y="21270"/>
                  </a:lnTo>
                  <a:lnTo>
                    <a:pt x="10337" y="20837"/>
                  </a:lnTo>
                  <a:lnTo>
                    <a:pt x="10654" y="20430"/>
                  </a:lnTo>
                  <a:lnTo>
                    <a:pt x="10812" y="20049"/>
                  </a:lnTo>
                  <a:lnTo>
                    <a:pt x="11161" y="19641"/>
                  </a:lnTo>
                  <a:lnTo>
                    <a:pt x="11763" y="19896"/>
                  </a:lnTo>
                  <a:lnTo>
                    <a:pt x="12366" y="20201"/>
                  </a:lnTo>
                  <a:lnTo>
                    <a:pt x="12810" y="20786"/>
                  </a:lnTo>
                  <a:lnTo>
                    <a:pt x="12968" y="21066"/>
                  </a:lnTo>
                  <a:lnTo>
                    <a:pt x="13824" y="20965"/>
                  </a:lnTo>
                  <a:lnTo>
                    <a:pt x="14776" y="20837"/>
                  </a:lnTo>
                  <a:lnTo>
                    <a:pt x="15315" y="20990"/>
                  </a:lnTo>
                  <a:lnTo>
                    <a:pt x="15949" y="21423"/>
                  </a:lnTo>
                  <a:lnTo>
                    <a:pt x="16145" y="21600"/>
                  </a:lnTo>
                  <a:lnTo>
                    <a:pt x="16393" y="21423"/>
                  </a:lnTo>
                  <a:lnTo>
                    <a:pt x="17281" y="20786"/>
                  </a:lnTo>
                  <a:lnTo>
                    <a:pt x="17915" y="20150"/>
                  </a:lnTo>
                  <a:lnTo>
                    <a:pt x="18454" y="19565"/>
                  </a:lnTo>
                  <a:lnTo>
                    <a:pt x="18898" y="19031"/>
                  </a:lnTo>
                  <a:lnTo>
                    <a:pt x="19024" y="18547"/>
                  </a:lnTo>
                  <a:lnTo>
                    <a:pt x="18644" y="18293"/>
                  </a:lnTo>
                  <a:lnTo>
                    <a:pt x="18454" y="17580"/>
                  </a:lnTo>
                  <a:lnTo>
                    <a:pt x="18865" y="17275"/>
                  </a:lnTo>
                  <a:lnTo>
                    <a:pt x="19912" y="17275"/>
                  </a:lnTo>
                  <a:lnTo>
                    <a:pt x="20642" y="17148"/>
                  </a:lnTo>
                  <a:lnTo>
                    <a:pt x="21054" y="16919"/>
                  </a:lnTo>
                  <a:lnTo>
                    <a:pt x="20737" y="16436"/>
                  </a:lnTo>
                  <a:lnTo>
                    <a:pt x="20166" y="16130"/>
                  </a:lnTo>
                  <a:lnTo>
                    <a:pt x="20863" y="15749"/>
                  </a:lnTo>
                  <a:lnTo>
                    <a:pt x="21513" y="15088"/>
                  </a:lnTo>
                  <a:lnTo>
                    <a:pt x="21513" y="14477"/>
                  </a:lnTo>
                  <a:lnTo>
                    <a:pt x="21600" y="13707"/>
                  </a:lnTo>
                  <a:cubicBezTo>
                    <a:pt x="21600" y="13707"/>
                    <a:pt x="21402" y="13739"/>
                    <a:pt x="21402" y="13739"/>
                  </a:cubicBezTo>
                  <a:close/>
                  <a:moveTo>
                    <a:pt x="21402" y="13739"/>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52" name="AutoShape 34"/>
            <p:cNvSpPr>
              <a:spLocks/>
            </p:cNvSpPr>
            <p:nvPr/>
          </p:nvSpPr>
          <p:spPr bwMode="auto">
            <a:xfrm>
              <a:off x="5422900" y="4305300"/>
              <a:ext cx="1344613" cy="825500"/>
            </a:xfrm>
            <a:custGeom>
              <a:avLst/>
              <a:gdLst/>
              <a:ahLst/>
              <a:cxnLst/>
              <a:rect l="0" t="0" r="r" b="b"/>
              <a:pathLst>
                <a:path w="21600" h="21600">
                  <a:moveTo>
                    <a:pt x="21279" y="15176"/>
                  </a:moveTo>
                  <a:lnTo>
                    <a:pt x="21054" y="14800"/>
                  </a:lnTo>
                  <a:lnTo>
                    <a:pt x="20817" y="14613"/>
                  </a:lnTo>
                  <a:lnTo>
                    <a:pt x="20673" y="13063"/>
                  </a:lnTo>
                  <a:lnTo>
                    <a:pt x="20270" y="13063"/>
                  </a:lnTo>
                  <a:lnTo>
                    <a:pt x="20241" y="12453"/>
                  </a:lnTo>
                  <a:lnTo>
                    <a:pt x="20587" y="11748"/>
                  </a:lnTo>
                  <a:lnTo>
                    <a:pt x="21054" y="10997"/>
                  </a:lnTo>
                  <a:lnTo>
                    <a:pt x="20875" y="10219"/>
                  </a:lnTo>
                  <a:lnTo>
                    <a:pt x="20212" y="10121"/>
                  </a:lnTo>
                  <a:lnTo>
                    <a:pt x="19463" y="10121"/>
                  </a:lnTo>
                  <a:lnTo>
                    <a:pt x="19290" y="9401"/>
                  </a:lnTo>
                  <a:lnTo>
                    <a:pt x="19132" y="9030"/>
                  </a:lnTo>
                  <a:lnTo>
                    <a:pt x="19098" y="9119"/>
                  </a:lnTo>
                  <a:lnTo>
                    <a:pt x="18560" y="8869"/>
                  </a:lnTo>
                  <a:lnTo>
                    <a:pt x="18560" y="8117"/>
                  </a:lnTo>
                  <a:lnTo>
                    <a:pt x="18252" y="8869"/>
                  </a:lnTo>
                  <a:lnTo>
                    <a:pt x="17446" y="8587"/>
                  </a:lnTo>
                  <a:lnTo>
                    <a:pt x="16869" y="8117"/>
                  </a:lnTo>
                  <a:lnTo>
                    <a:pt x="16677" y="7554"/>
                  </a:lnTo>
                  <a:lnTo>
                    <a:pt x="15909" y="7178"/>
                  </a:lnTo>
                  <a:lnTo>
                    <a:pt x="15325" y="7554"/>
                  </a:lnTo>
                  <a:lnTo>
                    <a:pt x="14698" y="6889"/>
                  </a:lnTo>
                  <a:lnTo>
                    <a:pt x="14698" y="5676"/>
                  </a:lnTo>
                  <a:lnTo>
                    <a:pt x="14698" y="4611"/>
                  </a:lnTo>
                  <a:lnTo>
                    <a:pt x="14410" y="4173"/>
                  </a:lnTo>
                  <a:lnTo>
                    <a:pt x="14026" y="4674"/>
                  </a:lnTo>
                  <a:lnTo>
                    <a:pt x="13411" y="4674"/>
                  </a:lnTo>
                  <a:lnTo>
                    <a:pt x="13065" y="4549"/>
                  </a:lnTo>
                  <a:lnTo>
                    <a:pt x="12104" y="4987"/>
                  </a:lnTo>
                  <a:lnTo>
                    <a:pt x="11374" y="4549"/>
                  </a:lnTo>
                  <a:lnTo>
                    <a:pt x="10606" y="4987"/>
                  </a:lnTo>
                  <a:lnTo>
                    <a:pt x="9760" y="4236"/>
                  </a:lnTo>
                  <a:lnTo>
                    <a:pt x="8742" y="3484"/>
                  </a:lnTo>
                  <a:lnTo>
                    <a:pt x="8108" y="2765"/>
                  </a:lnTo>
                  <a:lnTo>
                    <a:pt x="7762" y="1857"/>
                  </a:lnTo>
                  <a:lnTo>
                    <a:pt x="7404" y="668"/>
                  </a:lnTo>
                  <a:lnTo>
                    <a:pt x="6895" y="0"/>
                  </a:lnTo>
                  <a:lnTo>
                    <a:pt x="6686" y="417"/>
                  </a:lnTo>
                  <a:lnTo>
                    <a:pt x="6283" y="730"/>
                  </a:lnTo>
                  <a:lnTo>
                    <a:pt x="5840" y="41"/>
                  </a:lnTo>
                  <a:lnTo>
                    <a:pt x="5303" y="417"/>
                  </a:lnTo>
                  <a:lnTo>
                    <a:pt x="4688" y="354"/>
                  </a:lnTo>
                  <a:lnTo>
                    <a:pt x="4150" y="104"/>
                  </a:lnTo>
                  <a:lnTo>
                    <a:pt x="3036" y="104"/>
                  </a:lnTo>
                  <a:lnTo>
                    <a:pt x="2843" y="479"/>
                  </a:lnTo>
                  <a:lnTo>
                    <a:pt x="3612" y="730"/>
                  </a:lnTo>
                  <a:lnTo>
                    <a:pt x="3842" y="1794"/>
                  </a:lnTo>
                  <a:lnTo>
                    <a:pt x="4457" y="1794"/>
                  </a:lnTo>
                  <a:lnTo>
                    <a:pt x="4880" y="2483"/>
                  </a:lnTo>
                  <a:lnTo>
                    <a:pt x="4880" y="3422"/>
                  </a:lnTo>
                  <a:lnTo>
                    <a:pt x="4226" y="3422"/>
                  </a:lnTo>
                  <a:lnTo>
                    <a:pt x="3574" y="3422"/>
                  </a:lnTo>
                  <a:lnTo>
                    <a:pt x="3074" y="4236"/>
                  </a:lnTo>
                  <a:lnTo>
                    <a:pt x="3036" y="5112"/>
                  </a:lnTo>
                  <a:lnTo>
                    <a:pt x="3458" y="5738"/>
                  </a:lnTo>
                  <a:lnTo>
                    <a:pt x="3151" y="6490"/>
                  </a:lnTo>
                  <a:lnTo>
                    <a:pt x="3381" y="7053"/>
                  </a:lnTo>
                  <a:lnTo>
                    <a:pt x="3357" y="8048"/>
                  </a:lnTo>
                  <a:lnTo>
                    <a:pt x="3612" y="7992"/>
                  </a:lnTo>
                  <a:lnTo>
                    <a:pt x="3612" y="8869"/>
                  </a:lnTo>
                  <a:lnTo>
                    <a:pt x="4265" y="9307"/>
                  </a:lnTo>
                  <a:lnTo>
                    <a:pt x="4880" y="10434"/>
                  </a:lnTo>
                  <a:lnTo>
                    <a:pt x="4611" y="11310"/>
                  </a:lnTo>
                  <a:lnTo>
                    <a:pt x="4880" y="12187"/>
                  </a:lnTo>
                  <a:lnTo>
                    <a:pt x="4534" y="12813"/>
                  </a:lnTo>
                  <a:lnTo>
                    <a:pt x="3996" y="12562"/>
                  </a:lnTo>
                  <a:lnTo>
                    <a:pt x="3458" y="13000"/>
                  </a:lnTo>
                  <a:lnTo>
                    <a:pt x="2997" y="13940"/>
                  </a:lnTo>
                  <a:lnTo>
                    <a:pt x="2728" y="14378"/>
                  </a:lnTo>
                  <a:lnTo>
                    <a:pt x="2421" y="13815"/>
                  </a:lnTo>
                  <a:lnTo>
                    <a:pt x="1883" y="14065"/>
                  </a:lnTo>
                  <a:lnTo>
                    <a:pt x="1306" y="14190"/>
                  </a:lnTo>
                  <a:lnTo>
                    <a:pt x="807" y="14190"/>
                  </a:lnTo>
                  <a:lnTo>
                    <a:pt x="692" y="13940"/>
                  </a:lnTo>
                  <a:lnTo>
                    <a:pt x="346" y="14441"/>
                  </a:lnTo>
                  <a:lnTo>
                    <a:pt x="0" y="14628"/>
                  </a:lnTo>
                  <a:lnTo>
                    <a:pt x="499" y="15630"/>
                  </a:lnTo>
                  <a:lnTo>
                    <a:pt x="499" y="16303"/>
                  </a:lnTo>
                  <a:lnTo>
                    <a:pt x="231" y="17258"/>
                  </a:lnTo>
                  <a:lnTo>
                    <a:pt x="0" y="17884"/>
                  </a:lnTo>
                  <a:lnTo>
                    <a:pt x="192" y="18071"/>
                  </a:lnTo>
                  <a:lnTo>
                    <a:pt x="461" y="17696"/>
                  </a:lnTo>
                  <a:lnTo>
                    <a:pt x="807" y="18447"/>
                  </a:lnTo>
                  <a:lnTo>
                    <a:pt x="1018" y="19005"/>
                  </a:lnTo>
                  <a:lnTo>
                    <a:pt x="1191" y="20012"/>
                  </a:lnTo>
                  <a:lnTo>
                    <a:pt x="1537" y="20388"/>
                  </a:lnTo>
                  <a:lnTo>
                    <a:pt x="1921" y="20075"/>
                  </a:lnTo>
                  <a:lnTo>
                    <a:pt x="1921" y="21327"/>
                  </a:lnTo>
                  <a:lnTo>
                    <a:pt x="2349" y="21593"/>
                  </a:lnTo>
                  <a:lnTo>
                    <a:pt x="2286" y="21374"/>
                  </a:lnTo>
                  <a:lnTo>
                    <a:pt x="2603" y="20670"/>
                  </a:lnTo>
                  <a:lnTo>
                    <a:pt x="2891" y="19355"/>
                  </a:lnTo>
                  <a:lnTo>
                    <a:pt x="3439" y="18885"/>
                  </a:lnTo>
                  <a:lnTo>
                    <a:pt x="3871" y="18322"/>
                  </a:lnTo>
                  <a:lnTo>
                    <a:pt x="4880" y="18040"/>
                  </a:lnTo>
                  <a:lnTo>
                    <a:pt x="5255" y="18510"/>
                  </a:lnTo>
                  <a:lnTo>
                    <a:pt x="5687" y="18885"/>
                  </a:lnTo>
                  <a:lnTo>
                    <a:pt x="6090" y="18322"/>
                  </a:lnTo>
                  <a:lnTo>
                    <a:pt x="6090" y="17712"/>
                  </a:lnTo>
                  <a:lnTo>
                    <a:pt x="5889" y="17242"/>
                  </a:lnTo>
                  <a:lnTo>
                    <a:pt x="6090" y="16585"/>
                  </a:lnTo>
                  <a:lnTo>
                    <a:pt x="6580" y="16303"/>
                  </a:lnTo>
                  <a:lnTo>
                    <a:pt x="7330" y="16632"/>
                  </a:lnTo>
                  <a:lnTo>
                    <a:pt x="8079" y="16773"/>
                  </a:lnTo>
                  <a:lnTo>
                    <a:pt x="8655" y="17148"/>
                  </a:lnTo>
                  <a:lnTo>
                    <a:pt x="9722" y="17571"/>
                  </a:lnTo>
                  <a:lnTo>
                    <a:pt x="10413" y="18369"/>
                  </a:lnTo>
                  <a:lnTo>
                    <a:pt x="10874" y="18979"/>
                  </a:lnTo>
                  <a:lnTo>
                    <a:pt x="11595" y="18932"/>
                  </a:lnTo>
                  <a:lnTo>
                    <a:pt x="12171" y="18322"/>
                  </a:lnTo>
                  <a:lnTo>
                    <a:pt x="12488" y="17759"/>
                  </a:lnTo>
                  <a:lnTo>
                    <a:pt x="12690" y="18134"/>
                  </a:lnTo>
                  <a:lnTo>
                    <a:pt x="12690" y="18698"/>
                  </a:lnTo>
                  <a:lnTo>
                    <a:pt x="12690" y="19214"/>
                  </a:lnTo>
                  <a:lnTo>
                    <a:pt x="13094" y="19496"/>
                  </a:lnTo>
                  <a:lnTo>
                    <a:pt x="13526" y="18929"/>
                  </a:lnTo>
                  <a:lnTo>
                    <a:pt x="14045" y="18087"/>
                  </a:lnTo>
                  <a:lnTo>
                    <a:pt x="14275" y="17477"/>
                  </a:lnTo>
                  <a:lnTo>
                    <a:pt x="14275" y="18181"/>
                  </a:lnTo>
                  <a:lnTo>
                    <a:pt x="14698" y="18416"/>
                  </a:lnTo>
                  <a:lnTo>
                    <a:pt x="14967" y="18651"/>
                  </a:lnTo>
                  <a:lnTo>
                    <a:pt x="14967" y="19402"/>
                  </a:lnTo>
                  <a:lnTo>
                    <a:pt x="14698" y="20059"/>
                  </a:lnTo>
                  <a:lnTo>
                    <a:pt x="14698" y="20811"/>
                  </a:lnTo>
                  <a:lnTo>
                    <a:pt x="14698" y="21327"/>
                  </a:lnTo>
                  <a:lnTo>
                    <a:pt x="14967" y="21468"/>
                  </a:lnTo>
                  <a:lnTo>
                    <a:pt x="15470" y="21600"/>
                  </a:lnTo>
                  <a:lnTo>
                    <a:pt x="15486" y="21108"/>
                  </a:lnTo>
                  <a:lnTo>
                    <a:pt x="15909" y="20607"/>
                  </a:lnTo>
                  <a:lnTo>
                    <a:pt x="16312" y="20607"/>
                  </a:lnTo>
                  <a:lnTo>
                    <a:pt x="16389" y="19856"/>
                  </a:lnTo>
                  <a:lnTo>
                    <a:pt x="17196" y="19856"/>
                  </a:lnTo>
                  <a:lnTo>
                    <a:pt x="17273" y="19543"/>
                  </a:lnTo>
                  <a:lnTo>
                    <a:pt x="18003" y="19543"/>
                  </a:lnTo>
                  <a:lnTo>
                    <a:pt x="18214" y="18760"/>
                  </a:lnTo>
                  <a:lnTo>
                    <a:pt x="18521" y="18760"/>
                  </a:lnTo>
                  <a:lnTo>
                    <a:pt x="18848" y="18291"/>
                  </a:lnTo>
                  <a:lnTo>
                    <a:pt x="19424" y="18103"/>
                  </a:lnTo>
                  <a:lnTo>
                    <a:pt x="19694" y="17602"/>
                  </a:lnTo>
                  <a:lnTo>
                    <a:pt x="19694" y="17227"/>
                  </a:lnTo>
                  <a:lnTo>
                    <a:pt x="20270" y="17227"/>
                  </a:lnTo>
                  <a:lnTo>
                    <a:pt x="20712" y="17539"/>
                  </a:lnTo>
                  <a:lnTo>
                    <a:pt x="21307" y="17571"/>
                  </a:lnTo>
                  <a:lnTo>
                    <a:pt x="21519" y="17227"/>
                  </a:lnTo>
                  <a:lnTo>
                    <a:pt x="21600" y="17196"/>
                  </a:lnTo>
                  <a:lnTo>
                    <a:pt x="21279" y="16303"/>
                  </a:lnTo>
                  <a:cubicBezTo>
                    <a:pt x="21279" y="16303"/>
                    <a:pt x="21279" y="15176"/>
                    <a:pt x="21279" y="15176"/>
                  </a:cubicBezTo>
                  <a:close/>
                  <a:moveTo>
                    <a:pt x="21279" y="15176"/>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53" name="AutoShape 35"/>
            <p:cNvSpPr>
              <a:spLocks/>
            </p:cNvSpPr>
            <p:nvPr/>
          </p:nvSpPr>
          <p:spPr bwMode="auto">
            <a:xfrm>
              <a:off x="6438900" y="6489700"/>
              <a:ext cx="42863" cy="22225"/>
            </a:xfrm>
            <a:custGeom>
              <a:avLst/>
              <a:gdLst/>
              <a:ahLst/>
              <a:cxnLst/>
              <a:rect l="0" t="0" r="r" b="b"/>
              <a:pathLst>
                <a:path w="21588" h="21600">
                  <a:moveTo>
                    <a:pt x="7342" y="21600"/>
                  </a:moveTo>
                  <a:cubicBezTo>
                    <a:pt x="6973" y="21600"/>
                    <a:pt x="6616" y="21392"/>
                    <a:pt x="6314" y="20986"/>
                  </a:cubicBezTo>
                  <a:lnTo>
                    <a:pt x="751" y="13538"/>
                  </a:lnTo>
                  <a:cubicBezTo>
                    <a:pt x="271" y="12900"/>
                    <a:pt x="-12" y="11844"/>
                    <a:pt x="0" y="10743"/>
                  </a:cubicBezTo>
                  <a:cubicBezTo>
                    <a:pt x="6" y="9628"/>
                    <a:pt x="308" y="8608"/>
                    <a:pt x="800" y="7992"/>
                  </a:cubicBezTo>
                  <a:lnTo>
                    <a:pt x="6806" y="545"/>
                  </a:lnTo>
                  <a:cubicBezTo>
                    <a:pt x="7096" y="186"/>
                    <a:pt x="7434" y="0"/>
                    <a:pt x="7785" y="0"/>
                  </a:cubicBezTo>
                  <a:lnTo>
                    <a:pt x="19810" y="0"/>
                  </a:lnTo>
                  <a:cubicBezTo>
                    <a:pt x="20795" y="0"/>
                    <a:pt x="21588" y="1497"/>
                    <a:pt x="21588" y="3353"/>
                  </a:cubicBezTo>
                  <a:lnTo>
                    <a:pt x="21588" y="13294"/>
                  </a:lnTo>
                  <a:cubicBezTo>
                    <a:pt x="21588" y="14883"/>
                    <a:pt x="20997" y="16252"/>
                    <a:pt x="20179" y="16578"/>
                  </a:cubicBezTo>
                  <a:lnTo>
                    <a:pt x="7711" y="21531"/>
                  </a:lnTo>
                  <a:cubicBezTo>
                    <a:pt x="7588" y="21578"/>
                    <a:pt x="7465" y="21600"/>
                    <a:pt x="7342" y="21600"/>
                  </a:cubicBezTo>
                  <a:cubicBezTo>
                    <a:pt x="7342" y="21600"/>
                    <a:pt x="7342" y="21600"/>
                    <a:pt x="7342" y="21600"/>
                  </a:cubicBezTo>
                  <a:close/>
                  <a:moveTo>
                    <a:pt x="7342" y="21600"/>
                  </a:moveTo>
                </a:path>
              </a:pathLst>
            </a:custGeom>
            <a:grpFill/>
            <a:ln w="3175" cap="flat" cmpd="sng">
              <a:solidFill>
                <a:schemeClr val="bg1"/>
              </a:solidFill>
              <a:miter lim="800000"/>
              <a:headEnd type="none" w="med" len="med"/>
              <a:tailEnd type="none" w="med" len="med"/>
            </a:ln>
          </p:spPr>
          <p:txBody>
            <a:bodyPr lIns="0" tIns="0" rIns="0" bIns="0"/>
            <a:lstStyle/>
            <a:p>
              <a:endParaRPr lang="en-US"/>
            </a:p>
          </p:txBody>
        </p:sp>
        <p:sp>
          <p:nvSpPr>
            <p:cNvPr id="54" name="AutoShape 36"/>
            <p:cNvSpPr>
              <a:spLocks/>
            </p:cNvSpPr>
            <p:nvPr/>
          </p:nvSpPr>
          <p:spPr bwMode="auto">
            <a:xfrm>
              <a:off x="6426200" y="6488113"/>
              <a:ext cx="49213" cy="31750"/>
            </a:xfrm>
            <a:custGeom>
              <a:avLst/>
              <a:gdLst/>
              <a:ahLst/>
              <a:cxnLst/>
              <a:rect l="0" t="0" r="r" b="b"/>
              <a:pathLst>
                <a:path w="21580" h="21600">
                  <a:moveTo>
                    <a:pt x="18523" y="0"/>
                  </a:moveTo>
                  <a:lnTo>
                    <a:pt x="8206" y="0"/>
                  </a:lnTo>
                  <a:cubicBezTo>
                    <a:pt x="7610" y="0"/>
                    <a:pt x="7024" y="300"/>
                    <a:pt x="6527" y="849"/>
                  </a:cubicBezTo>
                  <a:lnTo>
                    <a:pt x="1374" y="6528"/>
                  </a:lnTo>
                  <a:cubicBezTo>
                    <a:pt x="529" y="7456"/>
                    <a:pt x="17" y="9022"/>
                    <a:pt x="1" y="10711"/>
                  </a:cubicBezTo>
                  <a:cubicBezTo>
                    <a:pt x="-20" y="12401"/>
                    <a:pt x="461" y="13993"/>
                    <a:pt x="1284" y="14975"/>
                  </a:cubicBezTo>
                  <a:lnTo>
                    <a:pt x="6057" y="20654"/>
                  </a:lnTo>
                  <a:cubicBezTo>
                    <a:pt x="6580" y="21273"/>
                    <a:pt x="7198" y="21600"/>
                    <a:pt x="7826" y="21600"/>
                  </a:cubicBezTo>
                  <a:cubicBezTo>
                    <a:pt x="8037" y="21600"/>
                    <a:pt x="8248" y="21556"/>
                    <a:pt x="8454" y="21485"/>
                  </a:cubicBezTo>
                  <a:lnTo>
                    <a:pt x="19151" y="17707"/>
                  </a:lnTo>
                  <a:cubicBezTo>
                    <a:pt x="20566" y="17213"/>
                    <a:pt x="21580" y="15125"/>
                    <a:pt x="21580" y="12701"/>
                  </a:cubicBezTo>
                  <a:lnTo>
                    <a:pt x="21580" y="5121"/>
                  </a:lnTo>
                  <a:cubicBezTo>
                    <a:pt x="21580" y="2291"/>
                    <a:pt x="20213" y="0"/>
                    <a:pt x="18523" y="0"/>
                  </a:cubicBezTo>
                  <a:cubicBezTo>
                    <a:pt x="18523" y="0"/>
                    <a:pt x="18523" y="0"/>
                    <a:pt x="18523" y="0"/>
                  </a:cubicBezTo>
                  <a:close/>
                  <a:moveTo>
                    <a:pt x="18523" y="5121"/>
                  </a:moveTo>
                  <a:lnTo>
                    <a:pt x="18523" y="12701"/>
                  </a:lnTo>
                  <a:lnTo>
                    <a:pt x="7826" y="16478"/>
                  </a:lnTo>
                  <a:lnTo>
                    <a:pt x="3053" y="10800"/>
                  </a:lnTo>
                  <a:lnTo>
                    <a:pt x="8206" y="5121"/>
                  </a:lnTo>
                  <a:lnTo>
                    <a:pt x="18523" y="5121"/>
                  </a:lnTo>
                </a:path>
              </a:pathLst>
            </a:custGeom>
            <a:grpFill/>
            <a:ln w="3175" cap="flat" cmpd="sng">
              <a:solidFill>
                <a:schemeClr val="bg1"/>
              </a:solidFill>
              <a:miter lim="800000"/>
              <a:headEnd type="none" w="med" len="med"/>
              <a:tailEnd type="none" w="med" len="med"/>
            </a:ln>
          </p:spPr>
          <p:txBody>
            <a:bodyPr lIns="0" tIns="0" rIns="0" bIns="0"/>
            <a:lstStyle/>
            <a:p>
              <a:endParaRPr lang="en-US"/>
            </a:p>
          </p:txBody>
        </p:sp>
        <p:sp>
          <p:nvSpPr>
            <p:cNvPr id="55" name="AutoShape 37"/>
            <p:cNvSpPr>
              <a:spLocks/>
            </p:cNvSpPr>
            <p:nvPr/>
          </p:nvSpPr>
          <p:spPr bwMode="auto">
            <a:xfrm>
              <a:off x="6451600" y="6451600"/>
              <a:ext cx="74613" cy="61913"/>
            </a:xfrm>
            <a:custGeom>
              <a:avLst/>
              <a:gdLst/>
              <a:ahLst/>
              <a:cxnLst/>
              <a:rect l="0" t="0" r="r" b="b"/>
              <a:pathLst>
                <a:path w="21600" h="21600">
                  <a:moveTo>
                    <a:pt x="0" y="2185"/>
                  </a:moveTo>
                  <a:lnTo>
                    <a:pt x="1476" y="11809"/>
                  </a:lnTo>
                  <a:lnTo>
                    <a:pt x="8698" y="13054"/>
                  </a:lnTo>
                  <a:lnTo>
                    <a:pt x="14110" y="21600"/>
                  </a:lnTo>
                  <a:lnTo>
                    <a:pt x="21600" y="18954"/>
                  </a:lnTo>
                  <a:lnTo>
                    <a:pt x="21083" y="9323"/>
                  </a:lnTo>
                  <a:lnTo>
                    <a:pt x="18502" y="0"/>
                  </a:lnTo>
                  <a:lnTo>
                    <a:pt x="8584" y="0"/>
                  </a:lnTo>
                  <a:cubicBezTo>
                    <a:pt x="8584" y="0"/>
                    <a:pt x="0" y="2185"/>
                    <a:pt x="0" y="2185"/>
                  </a:cubicBezTo>
                  <a:close/>
                  <a:moveTo>
                    <a:pt x="0" y="2185"/>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56" name="AutoShape 38"/>
            <p:cNvSpPr>
              <a:spLocks/>
            </p:cNvSpPr>
            <p:nvPr/>
          </p:nvSpPr>
          <p:spPr bwMode="auto">
            <a:xfrm>
              <a:off x="6375400" y="6502400"/>
              <a:ext cx="34925" cy="49213"/>
            </a:xfrm>
            <a:custGeom>
              <a:avLst/>
              <a:gdLst/>
              <a:ahLst/>
              <a:cxnLst/>
              <a:rect l="0" t="0" r="r" b="b"/>
              <a:pathLst>
                <a:path w="21600" h="21600">
                  <a:moveTo>
                    <a:pt x="0" y="18575"/>
                  </a:moveTo>
                  <a:lnTo>
                    <a:pt x="6835" y="21600"/>
                  </a:lnTo>
                  <a:lnTo>
                    <a:pt x="21600" y="19542"/>
                  </a:lnTo>
                  <a:lnTo>
                    <a:pt x="9722" y="1691"/>
                  </a:lnTo>
                  <a:lnTo>
                    <a:pt x="8521" y="0"/>
                  </a:lnTo>
                  <a:lnTo>
                    <a:pt x="0" y="5685"/>
                  </a:lnTo>
                  <a:cubicBezTo>
                    <a:pt x="0" y="5685"/>
                    <a:pt x="0" y="18575"/>
                    <a:pt x="0" y="18575"/>
                  </a:cubicBezTo>
                  <a:close/>
                  <a:moveTo>
                    <a:pt x="0" y="18575"/>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sp>
          <p:nvSpPr>
            <p:cNvPr id="57" name="AutoShape 39"/>
            <p:cNvSpPr>
              <a:spLocks/>
            </p:cNvSpPr>
            <p:nvPr/>
          </p:nvSpPr>
          <p:spPr bwMode="auto">
            <a:xfrm>
              <a:off x="5626100" y="5842000"/>
              <a:ext cx="1406525" cy="1066800"/>
            </a:xfrm>
            <a:custGeom>
              <a:avLst/>
              <a:gdLst/>
              <a:ahLst/>
              <a:cxnLst/>
              <a:rect l="0" t="0" r="r" b="b"/>
              <a:pathLst>
                <a:path w="21600" h="21600">
                  <a:moveTo>
                    <a:pt x="21077" y="7071"/>
                  </a:moveTo>
                  <a:lnTo>
                    <a:pt x="21159" y="6817"/>
                  </a:lnTo>
                  <a:lnTo>
                    <a:pt x="21377" y="6666"/>
                  </a:lnTo>
                  <a:lnTo>
                    <a:pt x="21159" y="6332"/>
                  </a:lnTo>
                  <a:lnTo>
                    <a:pt x="20856" y="6017"/>
                  </a:lnTo>
                  <a:lnTo>
                    <a:pt x="20856" y="5460"/>
                  </a:lnTo>
                  <a:lnTo>
                    <a:pt x="20773" y="4903"/>
                  </a:lnTo>
                  <a:cubicBezTo>
                    <a:pt x="20773" y="4903"/>
                    <a:pt x="20681" y="4637"/>
                    <a:pt x="20718" y="4564"/>
                  </a:cubicBezTo>
                  <a:cubicBezTo>
                    <a:pt x="20755" y="4492"/>
                    <a:pt x="20975" y="4395"/>
                    <a:pt x="20975" y="4395"/>
                  </a:cubicBezTo>
                  <a:lnTo>
                    <a:pt x="20645" y="3887"/>
                  </a:lnTo>
                  <a:lnTo>
                    <a:pt x="20204" y="3281"/>
                  </a:lnTo>
                  <a:lnTo>
                    <a:pt x="20130" y="2676"/>
                  </a:lnTo>
                  <a:lnTo>
                    <a:pt x="19947" y="2506"/>
                  </a:lnTo>
                  <a:lnTo>
                    <a:pt x="19671" y="2821"/>
                  </a:lnTo>
                  <a:lnTo>
                    <a:pt x="19488" y="2821"/>
                  </a:lnTo>
                  <a:lnTo>
                    <a:pt x="19194" y="2434"/>
                  </a:lnTo>
                  <a:lnTo>
                    <a:pt x="19010" y="2143"/>
                  </a:lnTo>
                  <a:lnTo>
                    <a:pt x="18955" y="1731"/>
                  </a:lnTo>
                  <a:lnTo>
                    <a:pt x="18735" y="2143"/>
                  </a:lnTo>
                  <a:lnTo>
                    <a:pt x="18239" y="1852"/>
                  </a:lnTo>
                  <a:lnTo>
                    <a:pt x="17963" y="1852"/>
                  </a:lnTo>
                  <a:lnTo>
                    <a:pt x="17705" y="1758"/>
                  </a:lnTo>
                  <a:lnTo>
                    <a:pt x="17449" y="1852"/>
                  </a:lnTo>
                  <a:lnTo>
                    <a:pt x="17229" y="2530"/>
                  </a:lnTo>
                  <a:lnTo>
                    <a:pt x="17302" y="2773"/>
                  </a:lnTo>
                  <a:lnTo>
                    <a:pt x="17348" y="3003"/>
                  </a:lnTo>
                  <a:lnTo>
                    <a:pt x="17532" y="3196"/>
                  </a:lnTo>
                  <a:lnTo>
                    <a:pt x="17385" y="3426"/>
                  </a:lnTo>
                  <a:lnTo>
                    <a:pt x="17155" y="3487"/>
                  </a:lnTo>
                  <a:lnTo>
                    <a:pt x="16825" y="3281"/>
                  </a:lnTo>
                  <a:lnTo>
                    <a:pt x="16650" y="2991"/>
                  </a:lnTo>
                  <a:lnTo>
                    <a:pt x="16457" y="2748"/>
                  </a:lnTo>
                  <a:lnTo>
                    <a:pt x="16246" y="2627"/>
                  </a:lnTo>
                  <a:lnTo>
                    <a:pt x="15998" y="2712"/>
                  </a:lnTo>
                  <a:lnTo>
                    <a:pt x="15631" y="2918"/>
                  </a:lnTo>
                  <a:lnTo>
                    <a:pt x="15098" y="2967"/>
                  </a:lnTo>
                  <a:lnTo>
                    <a:pt x="14960" y="3281"/>
                  </a:lnTo>
                  <a:lnTo>
                    <a:pt x="14611" y="3426"/>
                  </a:lnTo>
                  <a:lnTo>
                    <a:pt x="14272" y="3584"/>
                  </a:lnTo>
                  <a:cubicBezTo>
                    <a:pt x="14272" y="3584"/>
                    <a:pt x="14024" y="3705"/>
                    <a:pt x="13996" y="3717"/>
                  </a:cubicBezTo>
                  <a:cubicBezTo>
                    <a:pt x="13969" y="3729"/>
                    <a:pt x="13537" y="3790"/>
                    <a:pt x="13537" y="3790"/>
                  </a:cubicBezTo>
                  <a:lnTo>
                    <a:pt x="13224" y="3584"/>
                  </a:lnTo>
                  <a:lnTo>
                    <a:pt x="12976" y="3584"/>
                  </a:lnTo>
                  <a:lnTo>
                    <a:pt x="12839" y="3293"/>
                  </a:lnTo>
                  <a:lnTo>
                    <a:pt x="13073" y="2930"/>
                  </a:lnTo>
                  <a:lnTo>
                    <a:pt x="13376" y="2440"/>
                  </a:lnTo>
                  <a:lnTo>
                    <a:pt x="13610" y="1913"/>
                  </a:lnTo>
                  <a:lnTo>
                    <a:pt x="13789" y="1514"/>
                  </a:lnTo>
                  <a:lnTo>
                    <a:pt x="14037" y="1422"/>
                  </a:lnTo>
                  <a:lnTo>
                    <a:pt x="14313" y="1422"/>
                  </a:lnTo>
                  <a:lnTo>
                    <a:pt x="14423" y="878"/>
                  </a:lnTo>
                  <a:lnTo>
                    <a:pt x="14381" y="533"/>
                  </a:lnTo>
                  <a:lnTo>
                    <a:pt x="14092" y="206"/>
                  </a:lnTo>
                  <a:lnTo>
                    <a:pt x="13831" y="115"/>
                  </a:lnTo>
                  <a:lnTo>
                    <a:pt x="13472" y="242"/>
                  </a:lnTo>
                  <a:lnTo>
                    <a:pt x="13087" y="514"/>
                  </a:lnTo>
                  <a:lnTo>
                    <a:pt x="12935" y="732"/>
                  </a:lnTo>
                  <a:lnTo>
                    <a:pt x="12605" y="732"/>
                  </a:lnTo>
                  <a:lnTo>
                    <a:pt x="12274" y="533"/>
                  </a:lnTo>
                  <a:lnTo>
                    <a:pt x="12214" y="327"/>
                  </a:lnTo>
                  <a:cubicBezTo>
                    <a:pt x="12214" y="327"/>
                    <a:pt x="12114" y="254"/>
                    <a:pt x="12068" y="194"/>
                  </a:cubicBezTo>
                  <a:cubicBezTo>
                    <a:pt x="12021" y="133"/>
                    <a:pt x="11875" y="194"/>
                    <a:pt x="11875" y="194"/>
                  </a:cubicBezTo>
                  <a:lnTo>
                    <a:pt x="11765" y="363"/>
                  </a:lnTo>
                  <a:lnTo>
                    <a:pt x="11452" y="497"/>
                  </a:lnTo>
                  <a:lnTo>
                    <a:pt x="11149" y="593"/>
                  </a:lnTo>
                  <a:lnTo>
                    <a:pt x="10873" y="508"/>
                  </a:lnTo>
                  <a:lnTo>
                    <a:pt x="10616" y="339"/>
                  </a:lnTo>
                  <a:lnTo>
                    <a:pt x="10423" y="115"/>
                  </a:lnTo>
                  <a:lnTo>
                    <a:pt x="10222" y="0"/>
                  </a:lnTo>
                  <a:lnTo>
                    <a:pt x="9762" y="170"/>
                  </a:lnTo>
                  <a:lnTo>
                    <a:pt x="9551" y="363"/>
                  </a:lnTo>
                  <a:lnTo>
                    <a:pt x="9340" y="593"/>
                  </a:lnTo>
                  <a:lnTo>
                    <a:pt x="9193" y="763"/>
                  </a:lnTo>
                  <a:lnTo>
                    <a:pt x="9193" y="920"/>
                  </a:lnTo>
                  <a:lnTo>
                    <a:pt x="9505" y="1066"/>
                  </a:lnTo>
                  <a:lnTo>
                    <a:pt x="9514" y="1380"/>
                  </a:lnTo>
                  <a:lnTo>
                    <a:pt x="9459" y="1895"/>
                  </a:lnTo>
                  <a:lnTo>
                    <a:pt x="9367" y="2119"/>
                  </a:lnTo>
                  <a:lnTo>
                    <a:pt x="9138" y="2325"/>
                  </a:lnTo>
                  <a:lnTo>
                    <a:pt x="8862" y="2337"/>
                  </a:lnTo>
                  <a:lnTo>
                    <a:pt x="8651" y="2071"/>
                  </a:lnTo>
                  <a:lnTo>
                    <a:pt x="8458" y="1719"/>
                  </a:lnTo>
                  <a:lnTo>
                    <a:pt x="8256" y="1538"/>
                  </a:lnTo>
                  <a:lnTo>
                    <a:pt x="7944" y="1368"/>
                  </a:lnTo>
                  <a:lnTo>
                    <a:pt x="7549" y="1405"/>
                  </a:lnTo>
                  <a:lnTo>
                    <a:pt x="7237" y="1429"/>
                  </a:lnTo>
                  <a:lnTo>
                    <a:pt x="6980" y="2046"/>
                  </a:lnTo>
                  <a:lnTo>
                    <a:pt x="7108" y="2603"/>
                  </a:lnTo>
                  <a:lnTo>
                    <a:pt x="7127" y="2797"/>
                  </a:lnTo>
                  <a:lnTo>
                    <a:pt x="6851" y="3015"/>
                  </a:lnTo>
                  <a:lnTo>
                    <a:pt x="6557" y="3184"/>
                  </a:lnTo>
                  <a:lnTo>
                    <a:pt x="6557" y="3499"/>
                  </a:lnTo>
                  <a:lnTo>
                    <a:pt x="6557" y="3790"/>
                  </a:lnTo>
                  <a:lnTo>
                    <a:pt x="6832" y="4177"/>
                  </a:lnTo>
                  <a:lnTo>
                    <a:pt x="6832" y="4492"/>
                  </a:lnTo>
                  <a:lnTo>
                    <a:pt x="6777" y="4783"/>
                  </a:lnTo>
                  <a:lnTo>
                    <a:pt x="6557" y="5024"/>
                  </a:lnTo>
                  <a:lnTo>
                    <a:pt x="6374" y="5315"/>
                  </a:lnTo>
                  <a:lnTo>
                    <a:pt x="6263" y="5557"/>
                  </a:lnTo>
                  <a:lnTo>
                    <a:pt x="6429" y="5751"/>
                  </a:lnTo>
                  <a:lnTo>
                    <a:pt x="6429" y="6356"/>
                  </a:lnTo>
                  <a:lnTo>
                    <a:pt x="6080" y="6744"/>
                  </a:lnTo>
                  <a:lnTo>
                    <a:pt x="5749" y="6986"/>
                  </a:lnTo>
                  <a:lnTo>
                    <a:pt x="5676" y="7567"/>
                  </a:lnTo>
                  <a:lnTo>
                    <a:pt x="5253" y="7688"/>
                  </a:lnTo>
                  <a:lnTo>
                    <a:pt x="4996" y="8124"/>
                  </a:lnTo>
                  <a:lnTo>
                    <a:pt x="4904" y="8851"/>
                  </a:lnTo>
                  <a:lnTo>
                    <a:pt x="4996" y="9892"/>
                  </a:lnTo>
                  <a:lnTo>
                    <a:pt x="5179" y="10110"/>
                  </a:lnTo>
                  <a:lnTo>
                    <a:pt x="4904" y="10328"/>
                  </a:lnTo>
                  <a:lnTo>
                    <a:pt x="4776" y="10909"/>
                  </a:lnTo>
                  <a:lnTo>
                    <a:pt x="4224" y="11272"/>
                  </a:lnTo>
                  <a:lnTo>
                    <a:pt x="3820" y="11514"/>
                  </a:lnTo>
                  <a:lnTo>
                    <a:pt x="3269" y="11853"/>
                  </a:lnTo>
                  <a:lnTo>
                    <a:pt x="3141" y="12361"/>
                  </a:lnTo>
                  <a:lnTo>
                    <a:pt x="3141" y="12846"/>
                  </a:lnTo>
                  <a:lnTo>
                    <a:pt x="3141" y="13161"/>
                  </a:lnTo>
                  <a:lnTo>
                    <a:pt x="2939" y="13500"/>
                  </a:lnTo>
                  <a:lnTo>
                    <a:pt x="2406" y="13500"/>
                  </a:lnTo>
                  <a:lnTo>
                    <a:pt x="2057" y="13718"/>
                  </a:lnTo>
                  <a:lnTo>
                    <a:pt x="2057" y="14154"/>
                  </a:lnTo>
                  <a:lnTo>
                    <a:pt x="2259" y="14444"/>
                  </a:lnTo>
                  <a:lnTo>
                    <a:pt x="1947" y="14759"/>
                  </a:lnTo>
                  <a:lnTo>
                    <a:pt x="1249" y="14759"/>
                  </a:lnTo>
                  <a:lnTo>
                    <a:pt x="900" y="15049"/>
                  </a:lnTo>
                  <a:lnTo>
                    <a:pt x="606" y="15631"/>
                  </a:lnTo>
                  <a:lnTo>
                    <a:pt x="349" y="16139"/>
                  </a:lnTo>
                  <a:lnTo>
                    <a:pt x="176" y="16482"/>
                  </a:lnTo>
                  <a:lnTo>
                    <a:pt x="744" y="16660"/>
                  </a:lnTo>
                  <a:lnTo>
                    <a:pt x="744" y="16950"/>
                  </a:lnTo>
                  <a:lnTo>
                    <a:pt x="386" y="17168"/>
                  </a:lnTo>
                  <a:cubicBezTo>
                    <a:pt x="386" y="17168"/>
                    <a:pt x="110" y="17568"/>
                    <a:pt x="110" y="17677"/>
                  </a:cubicBezTo>
                  <a:cubicBezTo>
                    <a:pt x="110" y="17786"/>
                    <a:pt x="0" y="18948"/>
                    <a:pt x="0" y="18948"/>
                  </a:cubicBezTo>
                  <a:cubicBezTo>
                    <a:pt x="0" y="18948"/>
                    <a:pt x="330" y="19747"/>
                    <a:pt x="330" y="19893"/>
                  </a:cubicBezTo>
                  <a:cubicBezTo>
                    <a:pt x="330" y="20038"/>
                    <a:pt x="744" y="20874"/>
                    <a:pt x="744" y="20874"/>
                  </a:cubicBezTo>
                  <a:lnTo>
                    <a:pt x="1130" y="21418"/>
                  </a:lnTo>
                  <a:lnTo>
                    <a:pt x="1984" y="21600"/>
                  </a:lnTo>
                  <a:lnTo>
                    <a:pt x="2617" y="20983"/>
                  </a:lnTo>
                  <a:lnTo>
                    <a:pt x="2617" y="20183"/>
                  </a:lnTo>
                  <a:lnTo>
                    <a:pt x="2232" y="18876"/>
                  </a:lnTo>
                  <a:lnTo>
                    <a:pt x="1818" y="18767"/>
                  </a:lnTo>
                  <a:lnTo>
                    <a:pt x="2232" y="18440"/>
                  </a:lnTo>
                  <a:lnTo>
                    <a:pt x="2838" y="19094"/>
                  </a:lnTo>
                  <a:lnTo>
                    <a:pt x="2838" y="18258"/>
                  </a:lnTo>
                  <a:lnTo>
                    <a:pt x="3141" y="17096"/>
                  </a:lnTo>
                  <a:lnTo>
                    <a:pt x="3885" y="16842"/>
                  </a:lnTo>
                  <a:lnTo>
                    <a:pt x="4160" y="16478"/>
                  </a:lnTo>
                  <a:lnTo>
                    <a:pt x="4601" y="16478"/>
                  </a:lnTo>
                  <a:lnTo>
                    <a:pt x="4932" y="16733"/>
                  </a:lnTo>
                  <a:lnTo>
                    <a:pt x="5235" y="16442"/>
                  </a:lnTo>
                  <a:lnTo>
                    <a:pt x="6199" y="16115"/>
                  </a:lnTo>
                  <a:lnTo>
                    <a:pt x="6199" y="15643"/>
                  </a:lnTo>
                  <a:lnTo>
                    <a:pt x="6612" y="16006"/>
                  </a:lnTo>
                  <a:lnTo>
                    <a:pt x="6970" y="15716"/>
                  </a:lnTo>
                  <a:lnTo>
                    <a:pt x="6970" y="15207"/>
                  </a:lnTo>
                  <a:lnTo>
                    <a:pt x="7356" y="15171"/>
                  </a:lnTo>
                  <a:lnTo>
                    <a:pt x="7521" y="15607"/>
                  </a:lnTo>
                  <a:lnTo>
                    <a:pt x="8100" y="15570"/>
                  </a:lnTo>
                  <a:lnTo>
                    <a:pt x="8100" y="15171"/>
                  </a:lnTo>
                  <a:lnTo>
                    <a:pt x="8375" y="15207"/>
                  </a:lnTo>
                  <a:lnTo>
                    <a:pt x="8624" y="15825"/>
                  </a:lnTo>
                  <a:lnTo>
                    <a:pt x="9037" y="15098"/>
                  </a:lnTo>
                  <a:lnTo>
                    <a:pt x="9229" y="14372"/>
                  </a:lnTo>
                  <a:lnTo>
                    <a:pt x="9808" y="14844"/>
                  </a:lnTo>
                  <a:lnTo>
                    <a:pt x="10304" y="14481"/>
                  </a:lnTo>
                  <a:lnTo>
                    <a:pt x="10772" y="13645"/>
                  </a:lnTo>
                  <a:lnTo>
                    <a:pt x="11516" y="14253"/>
                  </a:lnTo>
                  <a:lnTo>
                    <a:pt x="11516" y="13645"/>
                  </a:lnTo>
                  <a:lnTo>
                    <a:pt x="11734" y="13377"/>
                  </a:lnTo>
                  <a:lnTo>
                    <a:pt x="11461" y="12664"/>
                  </a:lnTo>
                  <a:lnTo>
                    <a:pt x="11461" y="10885"/>
                  </a:lnTo>
                  <a:lnTo>
                    <a:pt x="11737" y="10885"/>
                  </a:lnTo>
                  <a:lnTo>
                    <a:pt x="12177" y="11502"/>
                  </a:lnTo>
                  <a:lnTo>
                    <a:pt x="12618" y="11865"/>
                  </a:lnTo>
                  <a:lnTo>
                    <a:pt x="12677" y="12284"/>
                  </a:lnTo>
                  <a:lnTo>
                    <a:pt x="13136" y="12156"/>
                  </a:lnTo>
                  <a:lnTo>
                    <a:pt x="13665" y="12156"/>
                  </a:lnTo>
                  <a:lnTo>
                    <a:pt x="13638" y="12047"/>
                  </a:lnTo>
                  <a:lnTo>
                    <a:pt x="13858" y="11720"/>
                  </a:lnTo>
                  <a:lnTo>
                    <a:pt x="14161" y="12228"/>
                  </a:lnTo>
                  <a:lnTo>
                    <a:pt x="14464" y="11793"/>
                  </a:lnTo>
                  <a:lnTo>
                    <a:pt x="14299" y="10848"/>
                  </a:lnTo>
                  <a:lnTo>
                    <a:pt x="14464" y="10812"/>
                  </a:lnTo>
                  <a:lnTo>
                    <a:pt x="14712" y="11502"/>
                  </a:lnTo>
                  <a:lnTo>
                    <a:pt x="15401" y="11611"/>
                  </a:lnTo>
                  <a:lnTo>
                    <a:pt x="15952" y="10630"/>
                  </a:lnTo>
                  <a:lnTo>
                    <a:pt x="16420" y="10776"/>
                  </a:lnTo>
                  <a:lnTo>
                    <a:pt x="16723" y="11139"/>
                  </a:lnTo>
                  <a:lnTo>
                    <a:pt x="17109" y="11066"/>
                  </a:lnTo>
                  <a:lnTo>
                    <a:pt x="17385" y="10086"/>
                  </a:lnTo>
                  <a:lnTo>
                    <a:pt x="17633" y="10558"/>
                  </a:lnTo>
                  <a:lnTo>
                    <a:pt x="18349" y="10630"/>
                  </a:lnTo>
                  <a:lnTo>
                    <a:pt x="18927" y="10231"/>
                  </a:lnTo>
                  <a:lnTo>
                    <a:pt x="19093" y="9868"/>
                  </a:lnTo>
                  <a:lnTo>
                    <a:pt x="19782" y="9831"/>
                  </a:lnTo>
                  <a:lnTo>
                    <a:pt x="19919" y="8959"/>
                  </a:lnTo>
                  <a:lnTo>
                    <a:pt x="20470" y="8342"/>
                  </a:lnTo>
                  <a:lnTo>
                    <a:pt x="20608" y="7797"/>
                  </a:lnTo>
                  <a:lnTo>
                    <a:pt x="21600" y="7579"/>
                  </a:lnTo>
                  <a:cubicBezTo>
                    <a:pt x="21600" y="7579"/>
                    <a:pt x="21077" y="7071"/>
                    <a:pt x="21077" y="7071"/>
                  </a:cubicBezTo>
                  <a:close/>
                  <a:moveTo>
                    <a:pt x="21077" y="7071"/>
                  </a:moveTo>
                </a:path>
              </a:pathLst>
            </a:custGeom>
            <a:grpFill/>
            <a:ln w="3175" cap="flat" cmpd="sng">
              <a:solidFill>
                <a:schemeClr val="bg1"/>
              </a:solidFill>
              <a:prstDash val="solid"/>
              <a:miter lim="800000"/>
              <a:headEnd type="none" w="med" len="med"/>
              <a:tailEnd type="none" w="med" len="med"/>
            </a:ln>
          </p:spPr>
          <p:txBody>
            <a:bodyPr lIns="0" tIns="0" rIns="0" bIns="0"/>
            <a:lstStyle/>
            <a:p>
              <a:endParaRPr lang="en-US"/>
            </a:p>
          </p:txBody>
        </p:sp>
      </p:grpSp>
      <p:grpSp>
        <p:nvGrpSpPr>
          <p:cNvPr id="3" name="Group 2"/>
          <p:cNvGrpSpPr>
            <a:grpSpLocks noChangeAspect="1"/>
          </p:cNvGrpSpPr>
          <p:nvPr/>
        </p:nvGrpSpPr>
        <p:grpSpPr>
          <a:xfrm>
            <a:off x="6276084" y="1849613"/>
            <a:ext cx="4221228" cy="3227678"/>
            <a:chOff x="1843088" y="1190169"/>
            <a:chExt cx="5899014" cy="4510563"/>
          </a:xfrm>
        </p:grpSpPr>
        <p:sp>
          <p:nvSpPr>
            <p:cNvPr id="58" name="Freeform 50"/>
            <p:cNvSpPr>
              <a:spLocks noChangeAspect="1"/>
            </p:cNvSpPr>
            <p:nvPr>
              <p:custDataLst>
                <p:tags r:id="rId1"/>
              </p:custDataLst>
            </p:nvPr>
          </p:nvSpPr>
          <p:spPr bwMode="auto">
            <a:xfrm>
              <a:off x="4140200" y="3713163"/>
              <a:ext cx="1390650" cy="1058862"/>
            </a:xfrm>
            <a:custGeom>
              <a:avLst/>
              <a:gdLst>
                <a:gd name="T0" fmla="*/ 2147483647 w 808"/>
                <a:gd name="T1" fmla="*/ 2147483647 h 578"/>
                <a:gd name="T2" fmla="*/ 2147483647 w 808"/>
                <a:gd name="T3" fmla="*/ 2147483647 h 578"/>
                <a:gd name="T4" fmla="*/ 2147483647 w 808"/>
                <a:gd name="T5" fmla="*/ 0 h 578"/>
                <a:gd name="T6" fmla="*/ 2147483647 w 808"/>
                <a:gd name="T7" fmla="*/ 2147483647 h 578"/>
                <a:gd name="T8" fmla="*/ 2147483647 w 808"/>
                <a:gd name="T9" fmla="*/ 2147483647 h 578"/>
                <a:gd name="T10" fmla="*/ 2147483647 w 808"/>
                <a:gd name="T11" fmla="*/ 2147483647 h 578"/>
                <a:gd name="T12" fmla="*/ 2147483647 w 808"/>
                <a:gd name="T13" fmla="*/ 2147483647 h 578"/>
                <a:gd name="T14" fmla="*/ 2147483647 w 808"/>
                <a:gd name="T15" fmla="*/ 2147483647 h 578"/>
                <a:gd name="T16" fmla="*/ 2147483647 w 808"/>
                <a:gd name="T17" fmla="*/ 2147483647 h 578"/>
                <a:gd name="T18" fmla="*/ 2147483647 w 808"/>
                <a:gd name="T19" fmla="*/ 2147483647 h 578"/>
                <a:gd name="T20" fmla="*/ 2147483647 w 808"/>
                <a:gd name="T21" fmla="*/ 2147483647 h 578"/>
                <a:gd name="T22" fmla="*/ 2147483647 w 808"/>
                <a:gd name="T23" fmla="*/ 2147483647 h 578"/>
                <a:gd name="T24" fmla="*/ 2147483647 w 808"/>
                <a:gd name="T25" fmla="*/ 2147483647 h 578"/>
                <a:gd name="T26" fmla="*/ 2147483647 w 808"/>
                <a:gd name="T27" fmla="*/ 2147483647 h 578"/>
                <a:gd name="T28" fmla="*/ 2147483647 w 808"/>
                <a:gd name="T29" fmla="*/ 2147483647 h 578"/>
                <a:gd name="T30" fmla="*/ 2147483647 w 808"/>
                <a:gd name="T31" fmla="*/ 2147483647 h 578"/>
                <a:gd name="T32" fmla="*/ 2147483647 w 808"/>
                <a:gd name="T33" fmla="*/ 2147483647 h 578"/>
                <a:gd name="T34" fmla="*/ 2147483647 w 808"/>
                <a:gd name="T35" fmla="*/ 2147483647 h 578"/>
                <a:gd name="T36" fmla="*/ 2147483647 w 808"/>
                <a:gd name="T37" fmla="*/ 2147483647 h 578"/>
                <a:gd name="T38" fmla="*/ 2147483647 w 808"/>
                <a:gd name="T39" fmla="*/ 2147483647 h 578"/>
                <a:gd name="T40" fmla="*/ 2147483647 w 808"/>
                <a:gd name="T41" fmla="*/ 2147483647 h 578"/>
                <a:gd name="T42" fmla="*/ 2147483647 w 808"/>
                <a:gd name="T43" fmla="*/ 2147483647 h 578"/>
                <a:gd name="T44" fmla="*/ 2147483647 w 808"/>
                <a:gd name="T45" fmla="*/ 2147483647 h 578"/>
                <a:gd name="T46" fmla="*/ 2147483647 w 808"/>
                <a:gd name="T47" fmla="*/ 2147483647 h 578"/>
                <a:gd name="T48" fmla="*/ 2147483647 w 808"/>
                <a:gd name="T49" fmla="*/ 2147483647 h 578"/>
                <a:gd name="T50" fmla="*/ 2147483647 w 808"/>
                <a:gd name="T51" fmla="*/ 2147483647 h 578"/>
                <a:gd name="T52" fmla="*/ 2147483647 w 808"/>
                <a:gd name="T53" fmla="*/ 2147483647 h 578"/>
                <a:gd name="T54" fmla="*/ 2147483647 w 808"/>
                <a:gd name="T55" fmla="*/ 2147483647 h 578"/>
                <a:gd name="T56" fmla="*/ 2147483647 w 808"/>
                <a:gd name="T57" fmla="*/ 2147483647 h 578"/>
                <a:gd name="T58" fmla="*/ 2147483647 w 808"/>
                <a:gd name="T59" fmla="*/ 2147483647 h 578"/>
                <a:gd name="T60" fmla="*/ 2147483647 w 808"/>
                <a:gd name="T61" fmla="*/ 2147483647 h 578"/>
                <a:gd name="T62" fmla="*/ 2147483647 w 808"/>
                <a:gd name="T63" fmla="*/ 2147483647 h 578"/>
                <a:gd name="T64" fmla="*/ 2147483647 w 808"/>
                <a:gd name="T65" fmla="*/ 2147483647 h 578"/>
                <a:gd name="T66" fmla="*/ 2147483647 w 808"/>
                <a:gd name="T67" fmla="*/ 2147483647 h 578"/>
                <a:gd name="T68" fmla="*/ 2147483647 w 808"/>
                <a:gd name="T69" fmla="*/ 2147483647 h 578"/>
                <a:gd name="T70" fmla="*/ 2147483647 w 808"/>
                <a:gd name="T71" fmla="*/ 2147483647 h 578"/>
                <a:gd name="T72" fmla="*/ 2147483647 w 808"/>
                <a:gd name="T73" fmla="*/ 2147483647 h 578"/>
                <a:gd name="T74" fmla="*/ 2147483647 w 808"/>
                <a:gd name="T75" fmla="*/ 2147483647 h 578"/>
                <a:gd name="T76" fmla="*/ 2147483647 w 808"/>
                <a:gd name="T77" fmla="*/ 2147483647 h 578"/>
                <a:gd name="T78" fmla="*/ 2147483647 w 808"/>
                <a:gd name="T79" fmla="*/ 2147483647 h 578"/>
                <a:gd name="T80" fmla="*/ 2147483647 w 808"/>
                <a:gd name="T81" fmla="*/ 2147483647 h 578"/>
                <a:gd name="T82" fmla="*/ 2147483647 w 808"/>
                <a:gd name="T83" fmla="*/ 2147483647 h 578"/>
                <a:gd name="T84" fmla="*/ 2147483647 w 808"/>
                <a:gd name="T85" fmla="*/ 2147483647 h 578"/>
                <a:gd name="T86" fmla="*/ 2147483647 w 808"/>
                <a:gd name="T87" fmla="*/ 2147483647 h 578"/>
                <a:gd name="T88" fmla="*/ 2147483647 w 808"/>
                <a:gd name="T89" fmla="*/ 2147483647 h 578"/>
                <a:gd name="T90" fmla="*/ 2147483647 w 808"/>
                <a:gd name="T91" fmla="*/ 2147483647 h 578"/>
                <a:gd name="T92" fmla="*/ 2147483647 w 808"/>
                <a:gd name="T93" fmla="*/ 2147483647 h 578"/>
                <a:gd name="T94" fmla="*/ 0 w 808"/>
                <a:gd name="T95" fmla="*/ 2147483647 h 578"/>
                <a:gd name="T96" fmla="*/ 2147483647 w 808"/>
                <a:gd name="T97" fmla="*/ 2147483647 h 578"/>
                <a:gd name="T98" fmla="*/ 2147483647 w 808"/>
                <a:gd name="T99" fmla="*/ 2147483647 h 578"/>
                <a:gd name="T100" fmla="*/ 2147483647 w 808"/>
                <a:gd name="T101" fmla="*/ 2147483647 h 578"/>
                <a:gd name="T102" fmla="*/ 2147483647 w 808"/>
                <a:gd name="T103" fmla="*/ 2147483647 h 578"/>
                <a:gd name="T104" fmla="*/ 2147483647 w 808"/>
                <a:gd name="T105" fmla="*/ 2147483647 h 578"/>
                <a:gd name="T106" fmla="*/ 2147483647 w 808"/>
                <a:gd name="T107" fmla="*/ 2147483647 h 578"/>
                <a:gd name="T108" fmla="*/ 2147483647 w 808"/>
                <a:gd name="T109" fmla="*/ 2147483647 h 57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08"/>
                <a:gd name="T166" fmla="*/ 0 h 578"/>
                <a:gd name="T167" fmla="*/ 808 w 808"/>
                <a:gd name="T168" fmla="*/ 578 h 57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08" h="578">
                  <a:moveTo>
                    <a:pt x="302" y="73"/>
                  </a:moveTo>
                  <a:lnTo>
                    <a:pt x="313" y="49"/>
                  </a:lnTo>
                  <a:lnTo>
                    <a:pt x="302" y="36"/>
                  </a:lnTo>
                  <a:lnTo>
                    <a:pt x="299" y="16"/>
                  </a:lnTo>
                  <a:lnTo>
                    <a:pt x="341" y="0"/>
                  </a:lnTo>
                  <a:lnTo>
                    <a:pt x="351" y="0"/>
                  </a:lnTo>
                  <a:lnTo>
                    <a:pt x="358" y="14"/>
                  </a:lnTo>
                  <a:lnTo>
                    <a:pt x="362" y="33"/>
                  </a:lnTo>
                  <a:lnTo>
                    <a:pt x="384" y="46"/>
                  </a:lnTo>
                  <a:lnTo>
                    <a:pt x="409" y="73"/>
                  </a:lnTo>
                  <a:lnTo>
                    <a:pt x="426" y="63"/>
                  </a:lnTo>
                  <a:lnTo>
                    <a:pt x="434" y="73"/>
                  </a:lnTo>
                  <a:lnTo>
                    <a:pt x="438" y="97"/>
                  </a:lnTo>
                  <a:lnTo>
                    <a:pt x="455" y="109"/>
                  </a:lnTo>
                  <a:lnTo>
                    <a:pt x="500" y="112"/>
                  </a:lnTo>
                  <a:lnTo>
                    <a:pt x="507" y="103"/>
                  </a:lnTo>
                  <a:lnTo>
                    <a:pt x="504" y="93"/>
                  </a:lnTo>
                  <a:lnTo>
                    <a:pt x="528" y="86"/>
                  </a:lnTo>
                  <a:lnTo>
                    <a:pt x="542" y="89"/>
                  </a:lnTo>
                  <a:lnTo>
                    <a:pt x="545" y="103"/>
                  </a:lnTo>
                  <a:lnTo>
                    <a:pt x="556" y="106"/>
                  </a:lnTo>
                  <a:lnTo>
                    <a:pt x="598" y="97"/>
                  </a:lnTo>
                  <a:lnTo>
                    <a:pt x="609" y="99"/>
                  </a:lnTo>
                  <a:lnTo>
                    <a:pt x="609" y="112"/>
                  </a:lnTo>
                  <a:lnTo>
                    <a:pt x="630" y="116"/>
                  </a:lnTo>
                  <a:lnTo>
                    <a:pt x="669" y="132"/>
                  </a:lnTo>
                  <a:lnTo>
                    <a:pt x="691" y="126"/>
                  </a:lnTo>
                  <a:lnTo>
                    <a:pt x="737" y="142"/>
                  </a:lnTo>
                  <a:lnTo>
                    <a:pt x="746" y="155"/>
                  </a:lnTo>
                  <a:lnTo>
                    <a:pt x="771" y="149"/>
                  </a:lnTo>
                  <a:lnTo>
                    <a:pt x="785" y="152"/>
                  </a:lnTo>
                  <a:lnTo>
                    <a:pt x="803" y="169"/>
                  </a:lnTo>
                  <a:lnTo>
                    <a:pt x="807" y="205"/>
                  </a:lnTo>
                  <a:lnTo>
                    <a:pt x="803" y="219"/>
                  </a:lnTo>
                  <a:lnTo>
                    <a:pt x="792" y="215"/>
                  </a:lnTo>
                  <a:lnTo>
                    <a:pt x="763" y="238"/>
                  </a:lnTo>
                  <a:lnTo>
                    <a:pt x="714" y="246"/>
                  </a:lnTo>
                  <a:lnTo>
                    <a:pt x="701" y="259"/>
                  </a:lnTo>
                  <a:lnTo>
                    <a:pt x="711" y="271"/>
                  </a:lnTo>
                  <a:lnTo>
                    <a:pt x="714" y="297"/>
                  </a:lnTo>
                  <a:lnTo>
                    <a:pt x="726" y="301"/>
                  </a:lnTo>
                  <a:lnTo>
                    <a:pt x="760" y="341"/>
                  </a:lnTo>
                  <a:lnTo>
                    <a:pt x="763" y="394"/>
                  </a:lnTo>
                  <a:lnTo>
                    <a:pt x="739" y="407"/>
                  </a:lnTo>
                  <a:lnTo>
                    <a:pt x="722" y="390"/>
                  </a:lnTo>
                  <a:lnTo>
                    <a:pt x="701" y="363"/>
                  </a:lnTo>
                  <a:lnTo>
                    <a:pt x="701" y="350"/>
                  </a:lnTo>
                  <a:lnTo>
                    <a:pt x="687" y="348"/>
                  </a:lnTo>
                  <a:lnTo>
                    <a:pt x="673" y="354"/>
                  </a:lnTo>
                  <a:lnTo>
                    <a:pt x="644" y="341"/>
                  </a:lnTo>
                  <a:lnTo>
                    <a:pt x="633" y="368"/>
                  </a:lnTo>
                  <a:lnTo>
                    <a:pt x="613" y="370"/>
                  </a:lnTo>
                  <a:lnTo>
                    <a:pt x="595" y="394"/>
                  </a:lnTo>
                  <a:lnTo>
                    <a:pt x="587" y="387"/>
                  </a:lnTo>
                  <a:lnTo>
                    <a:pt x="570" y="394"/>
                  </a:lnTo>
                  <a:lnTo>
                    <a:pt x="550" y="380"/>
                  </a:lnTo>
                  <a:lnTo>
                    <a:pt x="528" y="401"/>
                  </a:lnTo>
                  <a:lnTo>
                    <a:pt x="528" y="411"/>
                  </a:lnTo>
                  <a:lnTo>
                    <a:pt x="567" y="430"/>
                  </a:lnTo>
                  <a:lnTo>
                    <a:pt x="574" y="443"/>
                  </a:lnTo>
                  <a:lnTo>
                    <a:pt x="550" y="453"/>
                  </a:lnTo>
                  <a:lnTo>
                    <a:pt x="507" y="450"/>
                  </a:lnTo>
                  <a:lnTo>
                    <a:pt x="504" y="437"/>
                  </a:lnTo>
                  <a:lnTo>
                    <a:pt x="485" y="430"/>
                  </a:lnTo>
                  <a:lnTo>
                    <a:pt x="461" y="443"/>
                  </a:lnTo>
                  <a:lnTo>
                    <a:pt x="444" y="437"/>
                  </a:lnTo>
                  <a:lnTo>
                    <a:pt x="444" y="416"/>
                  </a:lnTo>
                  <a:lnTo>
                    <a:pt x="434" y="407"/>
                  </a:lnTo>
                  <a:lnTo>
                    <a:pt x="434" y="397"/>
                  </a:lnTo>
                  <a:lnTo>
                    <a:pt x="412" y="390"/>
                  </a:lnTo>
                  <a:lnTo>
                    <a:pt x="405" y="397"/>
                  </a:lnTo>
                  <a:lnTo>
                    <a:pt x="409" y="413"/>
                  </a:lnTo>
                  <a:lnTo>
                    <a:pt x="387" y="420"/>
                  </a:lnTo>
                  <a:lnTo>
                    <a:pt x="384" y="434"/>
                  </a:lnTo>
                  <a:lnTo>
                    <a:pt x="387" y="446"/>
                  </a:lnTo>
                  <a:lnTo>
                    <a:pt x="345" y="493"/>
                  </a:lnTo>
                  <a:lnTo>
                    <a:pt x="351" y="545"/>
                  </a:lnTo>
                  <a:lnTo>
                    <a:pt x="334" y="563"/>
                  </a:lnTo>
                  <a:lnTo>
                    <a:pt x="323" y="553"/>
                  </a:lnTo>
                  <a:lnTo>
                    <a:pt x="281" y="577"/>
                  </a:lnTo>
                  <a:lnTo>
                    <a:pt x="268" y="566"/>
                  </a:lnTo>
                  <a:lnTo>
                    <a:pt x="207" y="460"/>
                  </a:lnTo>
                  <a:lnTo>
                    <a:pt x="183" y="443"/>
                  </a:lnTo>
                  <a:lnTo>
                    <a:pt x="165" y="440"/>
                  </a:lnTo>
                  <a:lnTo>
                    <a:pt x="159" y="427"/>
                  </a:lnTo>
                  <a:lnTo>
                    <a:pt x="169" y="411"/>
                  </a:lnTo>
                  <a:lnTo>
                    <a:pt x="152" y="397"/>
                  </a:lnTo>
                  <a:lnTo>
                    <a:pt x="130" y="413"/>
                  </a:lnTo>
                  <a:lnTo>
                    <a:pt x="109" y="416"/>
                  </a:lnTo>
                  <a:lnTo>
                    <a:pt x="94" y="357"/>
                  </a:lnTo>
                  <a:lnTo>
                    <a:pt x="92" y="345"/>
                  </a:lnTo>
                  <a:lnTo>
                    <a:pt x="88" y="252"/>
                  </a:lnTo>
                  <a:lnTo>
                    <a:pt x="69" y="205"/>
                  </a:lnTo>
                  <a:lnTo>
                    <a:pt x="83" y="198"/>
                  </a:lnTo>
                  <a:lnTo>
                    <a:pt x="46" y="130"/>
                  </a:lnTo>
                  <a:lnTo>
                    <a:pt x="0" y="97"/>
                  </a:lnTo>
                  <a:lnTo>
                    <a:pt x="3" y="76"/>
                  </a:lnTo>
                  <a:lnTo>
                    <a:pt x="10" y="70"/>
                  </a:lnTo>
                  <a:lnTo>
                    <a:pt x="80" y="59"/>
                  </a:lnTo>
                  <a:lnTo>
                    <a:pt x="127" y="73"/>
                  </a:lnTo>
                  <a:lnTo>
                    <a:pt x="152" y="63"/>
                  </a:lnTo>
                  <a:lnTo>
                    <a:pt x="162" y="79"/>
                  </a:lnTo>
                  <a:lnTo>
                    <a:pt x="197" y="112"/>
                  </a:lnTo>
                  <a:lnTo>
                    <a:pt x="222" y="106"/>
                  </a:lnTo>
                  <a:lnTo>
                    <a:pt x="222" y="86"/>
                  </a:lnTo>
                  <a:lnTo>
                    <a:pt x="229" y="76"/>
                  </a:lnTo>
                  <a:lnTo>
                    <a:pt x="256" y="66"/>
                  </a:lnTo>
                  <a:lnTo>
                    <a:pt x="268" y="79"/>
                  </a:lnTo>
                  <a:lnTo>
                    <a:pt x="281" y="70"/>
                  </a:lnTo>
                  <a:lnTo>
                    <a:pt x="302" y="73"/>
                  </a:lnTo>
                </a:path>
              </a:pathLst>
            </a:custGeom>
            <a:solidFill>
              <a:srgbClr val="D9D9D9"/>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59" name="Freeform 99"/>
            <p:cNvSpPr>
              <a:spLocks/>
            </p:cNvSpPr>
            <p:nvPr>
              <p:custDataLst>
                <p:tags r:id="rId2"/>
              </p:custDataLst>
            </p:nvPr>
          </p:nvSpPr>
          <p:spPr bwMode="auto">
            <a:xfrm>
              <a:off x="4862513" y="3938588"/>
              <a:ext cx="655637" cy="512762"/>
            </a:xfrm>
            <a:custGeom>
              <a:avLst/>
              <a:gdLst>
                <a:gd name="T0" fmla="*/ 2147483647 w 413"/>
                <a:gd name="T1" fmla="*/ 2147483647 h 323"/>
                <a:gd name="T2" fmla="*/ 2147483647 w 413"/>
                <a:gd name="T3" fmla="*/ 2147483647 h 323"/>
                <a:gd name="T4" fmla="*/ 2147483647 w 413"/>
                <a:gd name="T5" fmla="*/ 2147483647 h 323"/>
                <a:gd name="T6" fmla="*/ 2147483647 w 413"/>
                <a:gd name="T7" fmla="*/ 2147483647 h 323"/>
                <a:gd name="T8" fmla="*/ 2147483647 w 413"/>
                <a:gd name="T9" fmla="*/ 2147483647 h 323"/>
                <a:gd name="T10" fmla="*/ 2147483647 w 413"/>
                <a:gd name="T11" fmla="*/ 2147483647 h 323"/>
                <a:gd name="T12" fmla="*/ 2147483647 w 413"/>
                <a:gd name="T13" fmla="*/ 2147483647 h 323"/>
                <a:gd name="T14" fmla="*/ 2147483647 w 413"/>
                <a:gd name="T15" fmla="*/ 2147483647 h 323"/>
                <a:gd name="T16" fmla="*/ 2147483647 w 413"/>
                <a:gd name="T17" fmla="*/ 2147483647 h 323"/>
                <a:gd name="T18" fmla="*/ 2147483647 w 413"/>
                <a:gd name="T19" fmla="*/ 2147483647 h 323"/>
                <a:gd name="T20" fmla="*/ 2147483647 w 413"/>
                <a:gd name="T21" fmla="*/ 2147483647 h 323"/>
                <a:gd name="T22" fmla="*/ 2147483647 w 413"/>
                <a:gd name="T23" fmla="*/ 2147483647 h 323"/>
                <a:gd name="T24" fmla="*/ 2147483647 w 413"/>
                <a:gd name="T25" fmla="*/ 2147483647 h 323"/>
                <a:gd name="T26" fmla="*/ 2147483647 w 413"/>
                <a:gd name="T27" fmla="*/ 2147483647 h 323"/>
                <a:gd name="T28" fmla="*/ 2147483647 w 413"/>
                <a:gd name="T29" fmla="*/ 2147483647 h 323"/>
                <a:gd name="T30" fmla="*/ 2147483647 w 413"/>
                <a:gd name="T31" fmla="*/ 2147483647 h 323"/>
                <a:gd name="T32" fmla="*/ 2147483647 w 413"/>
                <a:gd name="T33" fmla="*/ 2147483647 h 323"/>
                <a:gd name="T34" fmla="*/ 2147483647 w 413"/>
                <a:gd name="T35" fmla="*/ 2147483647 h 323"/>
                <a:gd name="T36" fmla="*/ 2147483647 w 413"/>
                <a:gd name="T37" fmla="*/ 2147483647 h 323"/>
                <a:gd name="T38" fmla="*/ 2147483647 w 413"/>
                <a:gd name="T39" fmla="*/ 2147483647 h 323"/>
                <a:gd name="T40" fmla="*/ 2147483647 w 413"/>
                <a:gd name="T41" fmla="*/ 2147483647 h 323"/>
                <a:gd name="T42" fmla="*/ 2147483647 w 413"/>
                <a:gd name="T43" fmla="*/ 2147483647 h 323"/>
                <a:gd name="T44" fmla="*/ 2147483647 w 413"/>
                <a:gd name="T45" fmla="*/ 2147483647 h 323"/>
                <a:gd name="T46" fmla="*/ 2147483647 w 413"/>
                <a:gd name="T47" fmla="*/ 2147483647 h 323"/>
                <a:gd name="T48" fmla="*/ 2147483647 w 413"/>
                <a:gd name="T49" fmla="*/ 2147483647 h 323"/>
                <a:gd name="T50" fmla="*/ 2147483647 w 413"/>
                <a:gd name="T51" fmla="*/ 2147483647 h 323"/>
                <a:gd name="T52" fmla="*/ 2147483647 w 413"/>
                <a:gd name="T53" fmla="*/ 2147483647 h 323"/>
                <a:gd name="T54" fmla="*/ 2147483647 w 413"/>
                <a:gd name="T55" fmla="*/ 2147483647 h 323"/>
                <a:gd name="T56" fmla="*/ 2147483647 w 413"/>
                <a:gd name="T57" fmla="*/ 2147483647 h 323"/>
                <a:gd name="T58" fmla="*/ 2147483647 w 413"/>
                <a:gd name="T59" fmla="*/ 2147483647 h 323"/>
                <a:gd name="T60" fmla="*/ 2147483647 w 413"/>
                <a:gd name="T61" fmla="*/ 2147483647 h 3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13"/>
                <a:gd name="T94" fmla="*/ 0 h 323"/>
                <a:gd name="T95" fmla="*/ 413 w 413"/>
                <a:gd name="T96" fmla="*/ 323 h 3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13" h="323">
                  <a:moveTo>
                    <a:pt x="167" y="293"/>
                  </a:moveTo>
                  <a:cubicBezTo>
                    <a:pt x="154" y="268"/>
                    <a:pt x="147" y="280"/>
                    <a:pt x="116" y="275"/>
                  </a:cubicBezTo>
                  <a:cubicBezTo>
                    <a:pt x="100" y="252"/>
                    <a:pt x="106" y="220"/>
                    <a:pt x="74" y="209"/>
                  </a:cubicBezTo>
                  <a:cubicBezTo>
                    <a:pt x="64" y="201"/>
                    <a:pt x="28" y="201"/>
                    <a:pt x="17" y="194"/>
                  </a:cubicBezTo>
                  <a:cubicBezTo>
                    <a:pt x="0" y="169"/>
                    <a:pt x="40" y="190"/>
                    <a:pt x="26" y="155"/>
                  </a:cubicBezTo>
                  <a:cubicBezTo>
                    <a:pt x="28" y="141"/>
                    <a:pt x="27" y="106"/>
                    <a:pt x="47" y="113"/>
                  </a:cubicBezTo>
                  <a:cubicBezTo>
                    <a:pt x="56" y="132"/>
                    <a:pt x="79" y="124"/>
                    <a:pt x="92" y="143"/>
                  </a:cubicBezTo>
                  <a:cubicBezTo>
                    <a:pt x="104" y="139"/>
                    <a:pt x="111" y="156"/>
                    <a:pt x="122" y="149"/>
                  </a:cubicBezTo>
                  <a:cubicBezTo>
                    <a:pt x="128" y="145"/>
                    <a:pt x="115" y="114"/>
                    <a:pt x="122" y="104"/>
                  </a:cubicBezTo>
                  <a:cubicBezTo>
                    <a:pt x="129" y="94"/>
                    <a:pt x="150" y="94"/>
                    <a:pt x="161" y="89"/>
                  </a:cubicBezTo>
                  <a:cubicBezTo>
                    <a:pt x="169" y="82"/>
                    <a:pt x="182" y="80"/>
                    <a:pt x="191" y="74"/>
                  </a:cubicBezTo>
                  <a:cubicBezTo>
                    <a:pt x="200" y="60"/>
                    <a:pt x="215" y="55"/>
                    <a:pt x="230" y="50"/>
                  </a:cubicBezTo>
                  <a:cubicBezTo>
                    <a:pt x="242" y="41"/>
                    <a:pt x="242" y="34"/>
                    <a:pt x="254" y="26"/>
                  </a:cubicBezTo>
                  <a:cubicBezTo>
                    <a:pt x="263" y="0"/>
                    <a:pt x="294" y="14"/>
                    <a:pt x="314" y="17"/>
                  </a:cubicBezTo>
                  <a:cubicBezTo>
                    <a:pt x="343" y="36"/>
                    <a:pt x="322" y="20"/>
                    <a:pt x="347" y="47"/>
                  </a:cubicBezTo>
                  <a:cubicBezTo>
                    <a:pt x="353" y="53"/>
                    <a:pt x="386" y="35"/>
                    <a:pt x="386" y="35"/>
                  </a:cubicBezTo>
                  <a:cubicBezTo>
                    <a:pt x="405" y="32"/>
                    <a:pt x="393" y="60"/>
                    <a:pt x="407" y="74"/>
                  </a:cubicBezTo>
                  <a:cubicBezTo>
                    <a:pt x="409" y="81"/>
                    <a:pt x="413" y="85"/>
                    <a:pt x="407" y="92"/>
                  </a:cubicBezTo>
                  <a:cubicBezTo>
                    <a:pt x="401" y="99"/>
                    <a:pt x="402" y="112"/>
                    <a:pt x="395" y="116"/>
                  </a:cubicBezTo>
                  <a:cubicBezTo>
                    <a:pt x="381" y="123"/>
                    <a:pt x="363" y="122"/>
                    <a:pt x="350" y="131"/>
                  </a:cubicBezTo>
                  <a:cubicBezTo>
                    <a:pt x="342" y="136"/>
                    <a:pt x="323" y="143"/>
                    <a:pt x="323" y="143"/>
                  </a:cubicBezTo>
                  <a:cubicBezTo>
                    <a:pt x="321" y="149"/>
                    <a:pt x="315" y="154"/>
                    <a:pt x="314" y="161"/>
                  </a:cubicBezTo>
                  <a:cubicBezTo>
                    <a:pt x="311" y="202"/>
                    <a:pt x="364" y="215"/>
                    <a:pt x="374" y="254"/>
                  </a:cubicBezTo>
                  <a:cubicBezTo>
                    <a:pt x="371" y="272"/>
                    <a:pt x="380" y="306"/>
                    <a:pt x="374" y="323"/>
                  </a:cubicBezTo>
                  <a:cubicBezTo>
                    <a:pt x="364" y="316"/>
                    <a:pt x="333" y="318"/>
                    <a:pt x="323" y="311"/>
                  </a:cubicBezTo>
                  <a:cubicBezTo>
                    <a:pt x="311" y="287"/>
                    <a:pt x="293" y="277"/>
                    <a:pt x="269" y="266"/>
                  </a:cubicBezTo>
                  <a:cubicBezTo>
                    <a:pt x="257" y="261"/>
                    <a:pt x="233" y="254"/>
                    <a:pt x="233" y="254"/>
                  </a:cubicBezTo>
                  <a:cubicBezTo>
                    <a:pt x="230" y="258"/>
                    <a:pt x="226" y="261"/>
                    <a:pt x="224" y="266"/>
                  </a:cubicBezTo>
                  <a:cubicBezTo>
                    <a:pt x="222" y="273"/>
                    <a:pt x="224" y="281"/>
                    <a:pt x="221" y="287"/>
                  </a:cubicBezTo>
                  <a:cubicBezTo>
                    <a:pt x="215" y="299"/>
                    <a:pt x="191" y="302"/>
                    <a:pt x="179" y="308"/>
                  </a:cubicBezTo>
                  <a:cubicBezTo>
                    <a:pt x="160" y="304"/>
                    <a:pt x="163" y="310"/>
                    <a:pt x="167" y="293"/>
                  </a:cubicBezTo>
                  <a:close/>
                </a:path>
              </a:pathLst>
            </a:custGeom>
            <a:solidFill>
              <a:srgbClr val="D9D9D9"/>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60" name="Freeform 53" descr="90%"/>
            <p:cNvSpPr>
              <a:spLocks noChangeAspect="1"/>
            </p:cNvSpPr>
            <p:nvPr>
              <p:custDataLst>
                <p:tags r:id="rId3"/>
              </p:custDataLst>
            </p:nvPr>
          </p:nvSpPr>
          <p:spPr bwMode="auto">
            <a:xfrm>
              <a:off x="5043488" y="3036888"/>
              <a:ext cx="560387" cy="949325"/>
            </a:xfrm>
            <a:custGeom>
              <a:avLst/>
              <a:gdLst>
                <a:gd name="T0" fmla="*/ 2147483647 w 325"/>
                <a:gd name="T1" fmla="*/ 2147483647 h 519"/>
                <a:gd name="T2" fmla="*/ 2147483647 w 325"/>
                <a:gd name="T3" fmla="*/ 2147483647 h 519"/>
                <a:gd name="T4" fmla="*/ 2147483647 w 325"/>
                <a:gd name="T5" fmla="*/ 2147483647 h 519"/>
                <a:gd name="T6" fmla="*/ 2147483647 w 325"/>
                <a:gd name="T7" fmla="*/ 2147483647 h 519"/>
                <a:gd name="T8" fmla="*/ 2147483647 w 325"/>
                <a:gd name="T9" fmla="*/ 2147483647 h 519"/>
                <a:gd name="T10" fmla="*/ 2147483647 w 325"/>
                <a:gd name="T11" fmla="*/ 0 h 519"/>
                <a:gd name="T12" fmla="*/ 2147483647 w 325"/>
                <a:gd name="T13" fmla="*/ 2147483647 h 519"/>
                <a:gd name="T14" fmla="*/ 2147483647 w 325"/>
                <a:gd name="T15" fmla="*/ 2147483647 h 519"/>
                <a:gd name="T16" fmla="*/ 2147483647 w 325"/>
                <a:gd name="T17" fmla="*/ 2147483647 h 519"/>
                <a:gd name="T18" fmla="*/ 2147483647 w 325"/>
                <a:gd name="T19" fmla="*/ 2147483647 h 519"/>
                <a:gd name="T20" fmla="*/ 2147483647 w 325"/>
                <a:gd name="T21" fmla="*/ 2147483647 h 519"/>
                <a:gd name="T22" fmla="*/ 2147483647 w 325"/>
                <a:gd name="T23" fmla="*/ 2147483647 h 519"/>
                <a:gd name="T24" fmla="*/ 2147483647 w 325"/>
                <a:gd name="T25" fmla="*/ 2147483647 h 519"/>
                <a:gd name="T26" fmla="*/ 2147483647 w 325"/>
                <a:gd name="T27" fmla="*/ 2147483647 h 519"/>
                <a:gd name="T28" fmla="*/ 2147483647 w 325"/>
                <a:gd name="T29" fmla="*/ 2147483647 h 519"/>
                <a:gd name="T30" fmla="*/ 2147483647 w 325"/>
                <a:gd name="T31" fmla="*/ 2147483647 h 519"/>
                <a:gd name="T32" fmla="*/ 2147483647 w 325"/>
                <a:gd name="T33" fmla="*/ 2147483647 h 519"/>
                <a:gd name="T34" fmla="*/ 2147483647 w 325"/>
                <a:gd name="T35" fmla="*/ 2147483647 h 519"/>
                <a:gd name="T36" fmla="*/ 2147483647 w 325"/>
                <a:gd name="T37" fmla="*/ 2147483647 h 519"/>
                <a:gd name="T38" fmla="*/ 2147483647 w 325"/>
                <a:gd name="T39" fmla="*/ 2147483647 h 519"/>
                <a:gd name="T40" fmla="*/ 2147483647 w 325"/>
                <a:gd name="T41" fmla="*/ 2147483647 h 519"/>
                <a:gd name="T42" fmla="*/ 2147483647 w 325"/>
                <a:gd name="T43" fmla="*/ 2147483647 h 519"/>
                <a:gd name="T44" fmla="*/ 2147483647 w 325"/>
                <a:gd name="T45" fmla="*/ 2147483647 h 519"/>
                <a:gd name="T46" fmla="*/ 0 w 325"/>
                <a:gd name="T47" fmla="*/ 2147483647 h 519"/>
                <a:gd name="T48" fmla="*/ 2147483647 w 325"/>
                <a:gd name="T49" fmla="*/ 2147483647 h 519"/>
                <a:gd name="T50" fmla="*/ 2147483647 w 325"/>
                <a:gd name="T51" fmla="*/ 2147483647 h 519"/>
                <a:gd name="T52" fmla="*/ 2147483647 w 325"/>
                <a:gd name="T53" fmla="*/ 2147483647 h 519"/>
                <a:gd name="T54" fmla="*/ 2147483647 w 325"/>
                <a:gd name="T55" fmla="*/ 2147483647 h 519"/>
                <a:gd name="T56" fmla="*/ 2147483647 w 325"/>
                <a:gd name="T57" fmla="*/ 2147483647 h 519"/>
                <a:gd name="T58" fmla="*/ 2147483647 w 325"/>
                <a:gd name="T59" fmla="*/ 2147483647 h 519"/>
                <a:gd name="T60" fmla="*/ 2147483647 w 325"/>
                <a:gd name="T61" fmla="*/ 2147483647 h 519"/>
                <a:gd name="T62" fmla="*/ 2147483647 w 325"/>
                <a:gd name="T63" fmla="*/ 2147483647 h 519"/>
                <a:gd name="T64" fmla="*/ 2147483647 w 325"/>
                <a:gd name="T65" fmla="*/ 2147483647 h 519"/>
                <a:gd name="T66" fmla="*/ 2147483647 w 325"/>
                <a:gd name="T67" fmla="*/ 2147483647 h 519"/>
                <a:gd name="T68" fmla="*/ 2147483647 w 325"/>
                <a:gd name="T69" fmla="*/ 2147483647 h 519"/>
                <a:gd name="T70" fmla="*/ 2147483647 w 325"/>
                <a:gd name="T71" fmla="*/ 2147483647 h 519"/>
                <a:gd name="T72" fmla="*/ 2147483647 w 325"/>
                <a:gd name="T73" fmla="*/ 2147483647 h 519"/>
                <a:gd name="T74" fmla="*/ 2147483647 w 325"/>
                <a:gd name="T75" fmla="*/ 2147483647 h 519"/>
                <a:gd name="T76" fmla="*/ 2147483647 w 325"/>
                <a:gd name="T77" fmla="*/ 2147483647 h 5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5"/>
                <a:gd name="T118" fmla="*/ 0 h 519"/>
                <a:gd name="T119" fmla="*/ 325 w 325"/>
                <a:gd name="T120" fmla="*/ 519 h 5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5" h="519">
                  <a:moveTo>
                    <a:pt x="277" y="327"/>
                  </a:moveTo>
                  <a:lnTo>
                    <a:pt x="266" y="308"/>
                  </a:lnTo>
                  <a:lnTo>
                    <a:pt x="281" y="261"/>
                  </a:lnTo>
                  <a:lnTo>
                    <a:pt x="260" y="174"/>
                  </a:lnTo>
                  <a:lnTo>
                    <a:pt x="277" y="150"/>
                  </a:lnTo>
                  <a:lnTo>
                    <a:pt x="281" y="131"/>
                  </a:lnTo>
                  <a:lnTo>
                    <a:pt x="264" y="93"/>
                  </a:lnTo>
                  <a:lnTo>
                    <a:pt x="281" y="69"/>
                  </a:lnTo>
                  <a:lnTo>
                    <a:pt x="284" y="43"/>
                  </a:lnTo>
                  <a:lnTo>
                    <a:pt x="294" y="27"/>
                  </a:lnTo>
                  <a:lnTo>
                    <a:pt x="291" y="6"/>
                  </a:lnTo>
                  <a:lnTo>
                    <a:pt x="284" y="0"/>
                  </a:lnTo>
                  <a:lnTo>
                    <a:pt x="270" y="12"/>
                  </a:lnTo>
                  <a:lnTo>
                    <a:pt x="234" y="15"/>
                  </a:lnTo>
                  <a:lnTo>
                    <a:pt x="217" y="37"/>
                  </a:lnTo>
                  <a:lnTo>
                    <a:pt x="217" y="52"/>
                  </a:lnTo>
                  <a:lnTo>
                    <a:pt x="213" y="62"/>
                  </a:lnTo>
                  <a:lnTo>
                    <a:pt x="200" y="65"/>
                  </a:lnTo>
                  <a:lnTo>
                    <a:pt x="143" y="137"/>
                  </a:lnTo>
                  <a:lnTo>
                    <a:pt x="137" y="131"/>
                  </a:lnTo>
                  <a:lnTo>
                    <a:pt x="122" y="128"/>
                  </a:lnTo>
                  <a:lnTo>
                    <a:pt x="90" y="131"/>
                  </a:lnTo>
                  <a:lnTo>
                    <a:pt x="79" y="143"/>
                  </a:lnTo>
                  <a:lnTo>
                    <a:pt x="76" y="171"/>
                  </a:lnTo>
                  <a:lnTo>
                    <a:pt x="84" y="181"/>
                  </a:lnTo>
                  <a:lnTo>
                    <a:pt x="137" y="205"/>
                  </a:lnTo>
                  <a:lnTo>
                    <a:pt x="164" y="221"/>
                  </a:lnTo>
                  <a:lnTo>
                    <a:pt x="171" y="236"/>
                  </a:lnTo>
                  <a:lnTo>
                    <a:pt x="154" y="256"/>
                  </a:lnTo>
                  <a:lnTo>
                    <a:pt x="164" y="277"/>
                  </a:lnTo>
                  <a:lnTo>
                    <a:pt x="158" y="290"/>
                  </a:lnTo>
                  <a:lnTo>
                    <a:pt x="118" y="293"/>
                  </a:lnTo>
                  <a:lnTo>
                    <a:pt x="111" y="296"/>
                  </a:lnTo>
                  <a:lnTo>
                    <a:pt x="111" y="302"/>
                  </a:lnTo>
                  <a:lnTo>
                    <a:pt x="111" y="312"/>
                  </a:lnTo>
                  <a:lnTo>
                    <a:pt x="79" y="315"/>
                  </a:lnTo>
                  <a:lnTo>
                    <a:pt x="65" y="308"/>
                  </a:lnTo>
                  <a:lnTo>
                    <a:pt x="42" y="308"/>
                  </a:lnTo>
                  <a:lnTo>
                    <a:pt x="37" y="312"/>
                  </a:lnTo>
                  <a:lnTo>
                    <a:pt x="42" y="324"/>
                  </a:lnTo>
                  <a:lnTo>
                    <a:pt x="31" y="334"/>
                  </a:lnTo>
                  <a:lnTo>
                    <a:pt x="27" y="346"/>
                  </a:lnTo>
                  <a:lnTo>
                    <a:pt x="48" y="362"/>
                  </a:lnTo>
                  <a:lnTo>
                    <a:pt x="35" y="386"/>
                  </a:lnTo>
                  <a:lnTo>
                    <a:pt x="42" y="403"/>
                  </a:lnTo>
                  <a:lnTo>
                    <a:pt x="37" y="408"/>
                  </a:lnTo>
                  <a:lnTo>
                    <a:pt x="16" y="408"/>
                  </a:lnTo>
                  <a:lnTo>
                    <a:pt x="0" y="415"/>
                  </a:lnTo>
                  <a:lnTo>
                    <a:pt x="12" y="431"/>
                  </a:lnTo>
                  <a:lnTo>
                    <a:pt x="2" y="453"/>
                  </a:lnTo>
                  <a:lnTo>
                    <a:pt x="16" y="455"/>
                  </a:lnTo>
                  <a:lnTo>
                    <a:pt x="19" y="468"/>
                  </a:lnTo>
                  <a:lnTo>
                    <a:pt x="31" y="471"/>
                  </a:lnTo>
                  <a:lnTo>
                    <a:pt x="72" y="463"/>
                  </a:lnTo>
                  <a:lnTo>
                    <a:pt x="84" y="465"/>
                  </a:lnTo>
                  <a:lnTo>
                    <a:pt x="84" y="477"/>
                  </a:lnTo>
                  <a:lnTo>
                    <a:pt x="105" y="480"/>
                  </a:lnTo>
                  <a:lnTo>
                    <a:pt x="143" y="496"/>
                  </a:lnTo>
                  <a:lnTo>
                    <a:pt x="164" y="490"/>
                  </a:lnTo>
                  <a:lnTo>
                    <a:pt x="211" y="505"/>
                  </a:lnTo>
                  <a:lnTo>
                    <a:pt x="220" y="518"/>
                  </a:lnTo>
                  <a:lnTo>
                    <a:pt x="246" y="511"/>
                  </a:lnTo>
                  <a:lnTo>
                    <a:pt x="241" y="490"/>
                  </a:lnTo>
                  <a:lnTo>
                    <a:pt x="238" y="484"/>
                  </a:lnTo>
                  <a:lnTo>
                    <a:pt x="241" y="465"/>
                  </a:lnTo>
                  <a:lnTo>
                    <a:pt x="266" y="455"/>
                  </a:lnTo>
                  <a:lnTo>
                    <a:pt x="273" y="446"/>
                  </a:lnTo>
                  <a:lnTo>
                    <a:pt x="260" y="443"/>
                  </a:lnTo>
                  <a:lnTo>
                    <a:pt x="246" y="440"/>
                  </a:lnTo>
                  <a:lnTo>
                    <a:pt x="231" y="424"/>
                  </a:lnTo>
                  <a:lnTo>
                    <a:pt x="238" y="417"/>
                  </a:lnTo>
                  <a:lnTo>
                    <a:pt x="287" y="417"/>
                  </a:lnTo>
                  <a:lnTo>
                    <a:pt x="299" y="417"/>
                  </a:lnTo>
                  <a:lnTo>
                    <a:pt x="306" y="424"/>
                  </a:lnTo>
                  <a:lnTo>
                    <a:pt x="324" y="412"/>
                  </a:lnTo>
                  <a:lnTo>
                    <a:pt x="324" y="396"/>
                  </a:lnTo>
                  <a:lnTo>
                    <a:pt x="277" y="334"/>
                  </a:lnTo>
                  <a:lnTo>
                    <a:pt x="277" y="327"/>
                  </a:lnTo>
                </a:path>
              </a:pathLst>
            </a:custGeom>
            <a:pattFill prst="pct90">
              <a:fgClr>
                <a:srgbClr val="C07200"/>
              </a:fgClr>
              <a:bgClr>
                <a:srgbClr val="FFFFFF"/>
              </a:bgClr>
            </a:pattFill>
            <a:ln w="3175" cap="rnd">
              <a:solidFill>
                <a:srgbClr val="808080"/>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61" name="Freeform 54"/>
            <p:cNvSpPr>
              <a:spLocks noChangeAspect="1"/>
            </p:cNvSpPr>
            <p:nvPr>
              <p:custDataLst>
                <p:tags r:id="rId4"/>
              </p:custDataLst>
            </p:nvPr>
          </p:nvSpPr>
          <p:spPr bwMode="auto">
            <a:xfrm>
              <a:off x="5033963" y="3043238"/>
              <a:ext cx="561975" cy="949325"/>
            </a:xfrm>
            <a:custGeom>
              <a:avLst/>
              <a:gdLst>
                <a:gd name="T0" fmla="*/ 2147483647 w 325"/>
                <a:gd name="T1" fmla="*/ 2147483647 h 519"/>
                <a:gd name="T2" fmla="*/ 2147483647 w 325"/>
                <a:gd name="T3" fmla="*/ 2147483647 h 519"/>
                <a:gd name="T4" fmla="*/ 2147483647 w 325"/>
                <a:gd name="T5" fmla="*/ 2147483647 h 519"/>
                <a:gd name="T6" fmla="*/ 2147483647 w 325"/>
                <a:gd name="T7" fmla="*/ 2147483647 h 519"/>
                <a:gd name="T8" fmla="*/ 2147483647 w 325"/>
                <a:gd name="T9" fmla="*/ 2147483647 h 519"/>
                <a:gd name="T10" fmla="*/ 2147483647 w 325"/>
                <a:gd name="T11" fmla="*/ 0 h 519"/>
                <a:gd name="T12" fmla="*/ 2147483647 w 325"/>
                <a:gd name="T13" fmla="*/ 2147483647 h 519"/>
                <a:gd name="T14" fmla="*/ 2147483647 w 325"/>
                <a:gd name="T15" fmla="*/ 2147483647 h 519"/>
                <a:gd name="T16" fmla="*/ 2147483647 w 325"/>
                <a:gd name="T17" fmla="*/ 2147483647 h 519"/>
                <a:gd name="T18" fmla="*/ 2147483647 w 325"/>
                <a:gd name="T19" fmla="*/ 2147483647 h 519"/>
                <a:gd name="T20" fmla="*/ 2147483647 w 325"/>
                <a:gd name="T21" fmla="*/ 2147483647 h 519"/>
                <a:gd name="T22" fmla="*/ 2147483647 w 325"/>
                <a:gd name="T23" fmla="*/ 2147483647 h 519"/>
                <a:gd name="T24" fmla="*/ 2147483647 w 325"/>
                <a:gd name="T25" fmla="*/ 2147483647 h 519"/>
                <a:gd name="T26" fmla="*/ 2147483647 w 325"/>
                <a:gd name="T27" fmla="*/ 2147483647 h 519"/>
                <a:gd name="T28" fmla="*/ 2147483647 w 325"/>
                <a:gd name="T29" fmla="*/ 2147483647 h 519"/>
                <a:gd name="T30" fmla="*/ 2147483647 w 325"/>
                <a:gd name="T31" fmla="*/ 2147483647 h 519"/>
                <a:gd name="T32" fmla="*/ 2147483647 w 325"/>
                <a:gd name="T33" fmla="*/ 2147483647 h 519"/>
                <a:gd name="T34" fmla="*/ 2147483647 w 325"/>
                <a:gd name="T35" fmla="*/ 2147483647 h 519"/>
                <a:gd name="T36" fmla="*/ 2147483647 w 325"/>
                <a:gd name="T37" fmla="*/ 2147483647 h 519"/>
                <a:gd name="T38" fmla="*/ 2147483647 w 325"/>
                <a:gd name="T39" fmla="*/ 2147483647 h 519"/>
                <a:gd name="T40" fmla="*/ 2147483647 w 325"/>
                <a:gd name="T41" fmla="*/ 2147483647 h 519"/>
                <a:gd name="T42" fmla="*/ 2147483647 w 325"/>
                <a:gd name="T43" fmla="*/ 2147483647 h 519"/>
                <a:gd name="T44" fmla="*/ 2147483647 w 325"/>
                <a:gd name="T45" fmla="*/ 2147483647 h 519"/>
                <a:gd name="T46" fmla="*/ 0 w 325"/>
                <a:gd name="T47" fmla="*/ 2147483647 h 519"/>
                <a:gd name="T48" fmla="*/ 2147483647 w 325"/>
                <a:gd name="T49" fmla="*/ 2147483647 h 519"/>
                <a:gd name="T50" fmla="*/ 2147483647 w 325"/>
                <a:gd name="T51" fmla="*/ 2147483647 h 519"/>
                <a:gd name="T52" fmla="*/ 2147483647 w 325"/>
                <a:gd name="T53" fmla="*/ 2147483647 h 519"/>
                <a:gd name="T54" fmla="*/ 2147483647 w 325"/>
                <a:gd name="T55" fmla="*/ 2147483647 h 519"/>
                <a:gd name="T56" fmla="*/ 2147483647 w 325"/>
                <a:gd name="T57" fmla="*/ 2147483647 h 519"/>
                <a:gd name="T58" fmla="*/ 2147483647 w 325"/>
                <a:gd name="T59" fmla="*/ 2147483647 h 519"/>
                <a:gd name="T60" fmla="*/ 2147483647 w 325"/>
                <a:gd name="T61" fmla="*/ 2147483647 h 519"/>
                <a:gd name="T62" fmla="*/ 2147483647 w 325"/>
                <a:gd name="T63" fmla="*/ 2147483647 h 519"/>
                <a:gd name="T64" fmla="*/ 2147483647 w 325"/>
                <a:gd name="T65" fmla="*/ 2147483647 h 519"/>
                <a:gd name="T66" fmla="*/ 2147483647 w 325"/>
                <a:gd name="T67" fmla="*/ 2147483647 h 519"/>
                <a:gd name="T68" fmla="*/ 2147483647 w 325"/>
                <a:gd name="T69" fmla="*/ 2147483647 h 519"/>
                <a:gd name="T70" fmla="*/ 2147483647 w 325"/>
                <a:gd name="T71" fmla="*/ 2147483647 h 519"/>
                <a:gd name="T72" fmla="*/ 2147483647 w 325"/>
                <a:gd name="T73" fmla="*/ 2147483647 h 519"/>
                <a:gd name="T74" fmla="*/ 2147483647 w 325"/>
                <a:gd name="T75" fmla="*/ 2147483647 h 519"/>
                <a:gd name="T76" fmla="*/ 2147483647 w 325"/>
                <a:gd name="T77" fmla="*/ 2147483647 h 51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25"/>
                <a:gd name="T118" fmla="*/ 0 h 519"/>
                <a:gd name="T119" fmla="*/ 325 w 325"/>
                <a:gd name="T120" fmla="*/ 519 h 51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25" h="519">
                  <a:moveTo>
                    <a:pt x="277" y="327"/>
                  </a:moveTo>
                  <a:lnTo>
                    <a:pt x="266" y="308"/>
                  </a:lnTo>
                  <a:lnTo>
                    <a:pt x="281" y="261"/>
                  </a:lnTo>
                  <a:lnTo>
                    <a:pt x="260" y="174"/>
                  </a:lnTo>
                  <a:lnTo>
                    <a:pt x="277" y="150"/>
                  </a:lnTo>
                  <a:lnTo>
                    <a:pt x="281" y="131"/>
                  </a:lnTo>
                  <a:lnTo>
                    <a:pt x="264" y="93"/>
                  </a:lnTo>
                  <a:lnTo>
                    <a:pt x="281" y="69"/>
                  </a:lnTo>
                  <a:lnTo>
                    <a:pt x="284" y="43"/>
                  </a:lnTo>
                  <a:lnTo>
                    <a:pt x="294" y="27"/>
                  </a:lnTo>
                  <a:lnTo>
                    <a:pt x="291" y="6"/>
                  </a:lnTo>
                  <a:lnTo>
                    <a:pt x="284" y="0"/>
                  </a:lnTo>
                  <a:lnTo>
                    <a:pt x="270" y="12"/>
                  </a:lnTo>
                  <a:lnTo>
                    <a:pt x="234" y="15"/>
                  </a:lnTo>
                  <a:lnTo>
                    <a:pt x="217" y="37"/>
                  </a:lnTo>
                  <a:lnTo>
                    <a:pt x="217" y="52"/>
                  </a:lnTo>
                  <a:lnTo>
                    <a:pt x="213" y="62"/>
                  </a:lnTo>
                  <a:lnTo>
                    <a:pt x="200" y="65"/>
                  </a:lnTo>
                  <a:lnTo>
                    <a:pt x="143" y="137"/>
                  </a:lnTo>
                  <a:lnTo>
                    <a:pt x="137" y="131"/>
                  </a:lnTo>
                  <a:lnTo>
                    <a:pt x="122" y="128"/>
                  </a:lnTo>
                  <a:lnTo>
                    <a:pt x="90" y="131"/>
                  </a:lnTo>
                  <a:lnTo>
                    <a:pt x="79" y="143"/>
                  </a:lnTo>
                  <a:lnTo>
                    <a:pt x="76" y="171"/>
                  </a:lnTo>
                  <a:lnTo>
                    <a:pt x="84" y="181"/>
                  </a:lnTo>
                  <a:lnTo>
                    <a:pt x="137" y="205"/>
                  </a:lnTo>
                  <a:lnTo>
                    <a:pt x="164" y="221"/>
                  </a:lnTo>
                  <a:lnTo>
                    <a:pt x="171" y="236"/>
                  </a:lnTo>
                  <a:lnTo>
                    <a:pt x="154" y="256"/>
                  </a:lnTo>
                  <a:lnTo>
                    <a:pt x="164" y="277"/>
                  </a:lnTo>
                  <a:lnTo>
                    <a:pt x="158" y="290"/>
                  </a:lnTo>
                  <a:lnTo>
                    <a:pt x="118" y="293"/>
                  </a:lnTo>
                  <a:lnTo>
                    <a:pt x="111" y="296"/>
                  </a:lnTo>
                  <a:lnTo>
                    <a:pt x="111" y="302"/>
                  </a:lnTo>
                  <a:lnTo>
                    <a:pt x="111" y="312"/>
                  </a:lnTo>
                  <a:lnTo>
                    <a:pt x="79" y="315"/>
                  </a:lnTo>
                  <a:lnTo>
                    <a:pt x="65" y="308"/>
                  </a:lnTo>
                  <a:lnTo>
                    <a:pt x="42" y="308"/>
                  </a:lnTo>
                  <a:lnTo>
                    <a:pt x="37" y="312"/>
                  </a:lnTo>
                  <a:lnTo>
                    <a:pt x="42" y="324"/>
                  </a:lnTo>
                  <a:lnTo>
                    <a:pt x="31" y="334"/>
                  </a:lnTo>
                  <a:lnTo>
                    <a:pt x="27" y="346"/>
                  </a:lnTo>
                  <a:lnTo>
                    <a:pt x="48" y="362"/>
                  </a:lnTo>
                  <a:lnTo>
                    <a:pt x="35" y="386"/>
                  </a:lnTo>
                  <a:lnTo>
                    <a:pt x="42" y="403"/>
                  </a:lnTo>
                  <a:lnTo>
                    <a:pt x="37" y="408"/>
                  </a:lnTo>
                  <a:lnTo>
                    <a:pt x="16" y="408"/>
                  </a:lnTo>
                  <a:lnTo>
                    <a:pt x="0" y="415"/>
                  </a:lnTo>
                  <a:lnTo>
                    <a:pt x="12" y="431"/>
                  </a:lnTo>
                  <a:lnTo>
                    <a:pt x="2" y="453"/>
                  </a:lnTo>
                  <a:lnTo>
                    <a:pt x="16" y="455"/>
                  </a:lnTo>
                  <a:lnTo>
                    <a:pt x="19" y="468"/>
                  </a:lnTo>
                  <a:lnTo>
                    <a:pt x="31" y="471"/>
                  </a:lnTo>
                  <a:lnTo>
                    <a:pt x="72" y="463"/>
                  </a:lnTo>
                  <a:lnTo>
                    <a:pt x="84" y="465"/>
                  </a:lnTo>
                  <a:lnTo>
                    <a:pt x="84" y="477"/>
                  </a:lnTo>
                  <a:lnTo>
                    <a:pt x="105" y="480"/>
                  </a:lnTo>
                  <a:lnTo>
                    <a:pt x="143" y="496"/>
                  </a:lnTo>
                  <a:lnTo>
                    <a:pt x="164" y="490"/>
                  </a:lnTo>
                  <a:lnTo>
                    <a:pt x="211" y="505"/>
                  </a:lnTo>
                  <a:lnTo>
                    <a:pt x="220" y="518"/>
                  </a:lnTo>
                  <a:lnTo>
                    <a:pt x="246" y="511"/>
                  </a:lnTo>
                  <a:lnTo>
                    <a:pt x="241" y="490"/>
                  </a:lnTo>
                  <a:lnTo>
                    <a:pt x="238" y="484"/>
                  </a:lnTo>
                  <a:lnTo>
                    <a:pt x="241" y="465"/>
                  </a:lnTo>
                  <a:lnTo>
                    <a:pt x="266" y="455"/>
                  </a:lnTo>
                  <a:lnTo>
                    <a:pt x="273" y="446"/>
                  </a:lnTo>
                  <a:lnTo>
                    <a:pt x="260" y="443"/>
                  </a:lnTo>
                  <a:lnTo>
                    <a:pt x="246" y="440"/>
                  </a:lnTo>
                  <a:lnTo>
                    <a:pt x="231" y="424"/>
                  </a:lnTo>
                  <a:lnTo>
                    <a:pt x="238" y="417"/>
                  </a:lnTo>
                  <a:lnTo>
                    <a:pt x="287" y="417"/>
                  </a:lnTo>
                  <a:lnTo>
                    <a:pt x="299" y="417"/>
                  </a:lnTo>
                  <a:lnTo>
                    <a:pt x="306" y="424"/>
                  </a:lnTo>
                  <a:lnTo>
                    <a:pt x="324" y="412"/>
                  </a:lnTo>
                  <a:lnTo>
                    <a:pt x="324" y="396"/>
                  </a:lnTo>
                  <a:lnTo>
                    <a:pt x="277" y="334"/>
                  </a:lnTo>
                  <a:lnTo>
                    <a:pt x="277" y="327"/>
                  </a:lnTo>
                </a:path>
              </a:pathLst>
            </a:custGeom>
            <a:solidFill>
              <a:schemeClr val="bg1">
                <a:lumMod val="85000"/>
              </a:schemeClr>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62" name="Freeform 29"/>
            <p:cNvSpPr>
              <a:spLocks noChangeAspect="1"/>
            </p:cNvSpPr>
            <p:nvPr>
              <p:custDataLst>
                <p:tags r:id="rId5"/>
              </p:custDataLst>
            </p:nvPr>
          </p:nvSpPr>
          <p:spPr bwMode="auto">
            <a:xfrm>
              <a:off x="5570538" y="4711700"/>
              <a:ext cx="863600" cy="684213"/>
            </a:xfrm>
            <a:custGeom>
              <a:avLst/>
              <a:gdLst>
                <a:gd name="T0" fmla="*/ 2147483647 w 502"/>
                <a:gd name="T1" fmla="*/ 2147483647 h 375"/>
                <a:gd name="T2" fmla="*/ 2147483647 w 502"/>
                <a:gd name="T3" fmla="*/ 2147483647 h 375"/>
                <a:gd name="T4" fmla="*/ 2147483647 w 502"/>
                <a:gd name="T5" fmla="*/ 2147483647 h 375"/>
                <a:gd name="T6" fmla="*/ 2147483647 w 502"/>
                <a:gd name="T7" fmla="*/ 2147483647 h 375"/>
                <a:gd name="T8" fmla="*/ 2147483647 w 502"/>
                <a:gd name="T9" fmla="*/ 2147483647 h 375"/>
                <a:gd name="T10" fmla="*/ 2147483647 w 502"/>
                <a:gd name="T11" fmla="*/ 0 h 375"/>
                <a:gd name="T12" fmla="*/ 2147483647 w 502"/>
                <a:gd name="T13" fmla="*/ 2147483647 h 375"/>
                <a:gd name="T14" fmla="*/ 2147483647 w 502"/>
                <a:gd name="T15" fmla="*/ 2147483647 h 375"/>
                <a:gd name="T16" fmla="*/ 2147483647 w 502"/>
                <a:gd name="T17" fmla="*/ 2147483647 h 375"/>
                <a:gd name="T18" fmla="*/ 2147483647 w 502"/>
                <a:gd name="T19" fmla="*/ 2147483647 h 375"/>
                <a:gd name="T20" fmla="*/ 2147483647 w 502"/>
                <a:gd name="T21" fmla="*/ 2147483647 h 375"/>
                <a:gd name="T22" fmla="*/ 2147483647 w 502"/>
                <a:gd name="T23" fmla="*/ 2147483647 h 375"/>
                <a:gd name="T24" fmla="*/ 2147483647 w 502"/>
                <a:gd name="T25" fmla="*/ 2147483647 h 375"/>
                <a:gd name="T26" fmla="*/ 2147483647 w 502"/>
                <a:gd name="T27" fmla="*/ 2147483647 h 375"/>
                <a:gd name="T28" fmla="*/ 2147483647 w 502"/>
                <a:gd name="T29" fmla="*/ 2147483647 h 375"/>
                <a:gd name="T30" fmla="*/ 2147483647 w 502"/>
                <a:gd name="T31" fmla="*/ 2147483647 h 375"/>
                <a:gd name="T32" fmla="*/ 2147483647 w 502"/>
                <a:gd name="T33" fmla="*/ 2147483647 h 375"/>
                <a:gd name="T34" fmla="*/ 2147483647 w 502"/>
                <a:gd name="T35" fmla="*/ 2147483647 h 375"/>
                <a:gd name="T36" fmla="*/ 2147483647 w 502"/>
                <a:gd name="T37" fmla="*/ 2147483647 h 375"/>
                <a:gd name="T38" fmla="*/ 2147483647 w 502"/>
                <a:gd name="T39" fmla="*/ 2147483647 h 375"/>
                <a:gd name="T40" fmla="*/ 2147483647 w 502"/>
                <a:gd name="T41" fmla="*/ 2147483647 h 375"/>
                <a:gd name="T42" fmla="*/ 2147483647 w 502"/>
                <a:gd name="T43" fmla="*/ 2147483647 h 375"/>
                <a:gd name="T44" fmla="*/ 2147483647 w 502"/>
                <a:gd name="T45" fmla="*/ 2147483647 h 375"/>
                <a:gd name="T46" fmla="*/ 2147483647 w 502"/>
                <a:gd name="T47" fmla="*/ 2147483647 h 375"/>
                <a:gd name="T48" fmla="*/ 2147483647 w 502"/>
                <a:gd name="T49" fmla="*/ 2147483647 h 375"/>
                <a:gd name="T50" fmla="*/ 2147483647 w 502"/>
                <a:gd name="T51" fmla="*/ 2147483647 h 375"/>
                <a:gd name="T52" fmla="*/ 2147483647 w 502"/>
                <a:gd name="T53" fmla="*/ 2147483647 h 375"/>
                <a:gd name="T54" fmla="*/ 2147483647 w 502"/>
                <a:gd name="T55" fmla="*/ 2147483647 h 375"/>
                <a:gd name="T56" fmla="*/ 2147483647 w 502"/>
                <a:gd name="T57" fmla="*/ 2147483647 h 375"/>
                <a:gd name="T58" fmla="*/ 2147483647 w 502"/>
                <a:gd name="T59" fmla="*/ 2147483647 h 375"/>
                <a:gd name="T60" fmla="*/ 2147483647 w 502"/>
                <a:gd name="T61" fmla="*/ 2147483647 h 375"/>
                <a:gd name="T62" fmla="*/ 2147483647 w 502"/>
                <a:gd name="T63" fmla="*/ 2147483647 h 375"/>
                <a:gd name="T64" fmla="*/ 2147483647 w 502"/>
                <a:gd name="T65" fmla="*/ 2147483647 h 375"/>
                <a:gd name="T66" fmla="*/ 2147483647 w 502"/>
                <a:gd name="T67" fmla="*/ 2147483647 h 375"/>
                <a:gd name="T68" fmla="*/ 2147483647 w 502"/>
                <a:gd name="T69" fmla="*/ 2147483647 h 375"/>
                <a:gd name="T70" fmla="*/ 2147483647 w 502"/>
                <a:gd name="T71" fmla="*/ 2147483647 h 3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2"/>
                <a:gd name="T109" fmla="*/ 0 h 375"/>
                <a:gd name="T110" fmla="*/ 502 w 502"/>
                <a:gd name="T111" fmla="*/ 375 h 3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2" h="375">
                  <a:moveTo>
                    <a:pt x="133" y="62"/>
                  </a:moveTo>
                  <a:lnTo>
                    <a:pt x="144" y="56"/>
                  </a:lnTo>
                  <a:lnTo>
                    <a:pt x="144" y="38"/>
                  </a:lnTo>
                  <a:lnTo>
                    <a:pt x="151" y="31"/>
                  </a:lnTo>
                  <a:lnTo>
                    <a:pt x="168" y="31"/>
                  </a:lnTo>
                  <a:lnTo>
                    <a:pt x="197" y="44"/>
                  </a:lnTo>
                  <a:lnTo>
                    <a:pt x="204" y="34"/>
                  </a:lnTo>
                  <a:lnTo>
                    <a:pt x="197" y="25"/>
                  </a:lnTo>
                  <a:lnTo>
                    <a:pt x="197" y="18"/>
                  </a:lnTo>
                  <a:lnTo>
                    <a:pt x="218" y="3"/>
                  </a:lnTo>
                  <a:lnTo>
                    <a:pt x="250" y="13"/>
                  </a:lnTo>
                  <a:lnTo>
                    <a:pt x="268" y="0"/>
                  </a:lnTo>
                  <a:lnTo>
                    <a:pt x="281" y="13"/>
                  </a:lnTo>
                  <a:lnTo>
                    <a:pt x="314" y="7"/>
                  </a:lnTo>
                  <a:lnTo>
                    <a:pt x="321" y="16"/>
                  </a:lnTo>
                  <a:lnTo>
                    <a:pt x="310" y="28"/>
                  </a:lnTo>
                  <a:lnTo>
                    <a:pt x="291" y="50"/>
                  </a:lnTo>
                  <a:lnTo>
                    <a:pt x="291" y="56"/>
                  </a:lnTo>
                  <a:lnTo>
                    <a:pt x="302" y="62"/>
                  </a:lnTo>
                  <a:lnTo>
                    <a:pt x="369" y="38"/>
                  </a:lnTo>
                  <a:lnTo>
                    <a:pt x="395" y="50"/>
                  </a:lnTo>
                  <a:lnTo>
                    <a:pt x="401" y="44"/>
                  </a:lnTo>
                  <a:lnTo>
                    <a:pt x="395" y="31"/>
                  </a:lnTo>
                  <a:lnTo>
                    <a:pt x="397" y="22"/>
                  </a:lnTo>
                  <a:lnTo>
                    <a:pt x="439" y="31"/>
                  </a:lnTo>
                  <a:lnTo>
                    <a:pt x="448" y="38"/>
                  </a:lnTo>
                  <a:lnTo>
                    <a:pt x="461" y="34"/>
                  </a:lnTo>
                  <a:lnTo>
                    <a:pt x="479" y="56"/>
                  </a:lnTo>
                  <a:lnTo>
                    <a:pt x="501" y="98"/>
                  </a:lnTo>
                  <a:lnTo>
                    <a:pt x="485" y="103"/>
                  </a:lnTo>
                  <a:lnTo>
                    <a:pt x="475" y="125"/>
                  </a:lnTo>
                  <a:lnTo>
                    <a:pt x="464" y="129"/>
                  </a:lnTo>
                  <a:lnTo>
                    <a:pt x="454" y="144"/>
                  </a:lnTo>
                  <a:lnTo>
                    <a:pt x="419" y="160"/>
                  </a:lnTo>
                  <a:lnTo>
                    <a:pt x="404" y="154"/>
                  </a:lnTo>
                  <a:lnTo>
                    <a:pt x="397" y="166"/>
                  </a:lnTo>
                  <a:lnTo>
                    <a:pt x="397" y="172"/>
                  </a:lnTo>
                  <a:lnTo>
                    <a:pt x="387" y="172"/>
                  </a:lnTo>
                  <a:lnTo>
                    <a:pt x="369" y="172"/>
                  </a:lnTo>
                  <a:lnTo>
                    <a:pt x="351" y="182"/>
                  </a:lnTo>
                  <a:lnTo>
                    <a:pt x="342" y="175"/>
                  </a:lnTo>
                  <a:lnTo>
                    <a:pt x="324" y="185"/>
                  </a:lnTo>
                  <a:lnTo>
                    <a:pt x="289" y="198"/>
                  </a:lnTo>
                  <a:lnTo>
                    <a:pt x="257" y="175"/>
                  </a:lnTo>
                  <a:lnTo>
                    <a:pt x="257" y="195"/>
                  </a:lnTo>
                  <a:lnTo>
                    <a:pt x="268" y="219"/>
                  </a:lnTo>
                  <a:lnTo>
                    <a:pt x="238" y="229"/>
                  </a:lnTo>
                  <a:lnTo>
                    <a:pt x="225" y="248"/>
                  </a:lnTo>
                  <a:lnTo>
                    <a:pt x="192" y="254"/>
                  </a:lnTo>
                  <a:lnTo>
                    <a:pt x="179" y="261"/>
                  </a:lnTo>
                  <a:lnTo>
                    <a:pt x="148" y="261"/>
                  </a:lnTo>
                  <a:lnTo>
                    <a:pt x="130" y="280"/>
                  </a:lnTo>
                  <a:lnTo>
                    <a:pt x="73" y="295"/>
                  </a:lnTo>
                  <a:lnTo>
                    <a:pt x="49" y="311"/>
                  </a:lnTo>
                  <a:lnTo>
                    <a:pt x="35" y="323"/>
                  </a:lnTo>
                  <a:lnTo>
                    <a:pt x="60" y="360"/>
                  </a:lnTo>
                  <a:lnTo>
                    <a:pt x="42" y="374"/>
                  </a:lnTo>
                  <a:lnTo>
                    <a:pt x="21" y="370"/>
                  </a:lnTo>
                  <a:lnTo>
                    <a:pt x="0" y="332"/>
                  </a:lnTo>
                  <a:lnTo>
                    <a:pt x="3" y="304"/>
                  </a:lnTo>
                  <a:lnTo>
                    <a:pt x="3" y="292"/>
                  </a:lnTo>
                  <a:lnTo>
                    <a:pt x="21" y="266"/>
                  </a:lnTo>
                  <a:lnTo>
                    <a:pt x="42" y="264"/>
                  </a:lnTo>
                  <a:lnTo>
                    <a:pt x="42" y="251"/>
                  </a:lnTo>
                  <a:lnTo>
                    <a:pt x="63" y="242"/>
                  </a:lnTo>
                  <a:lnTo>
                    <a:pt x="67" y="216"/>
                  </a:lnTo>
                  <a:lnTo>
                    <a:pt x="105" y="191"/>
                  </a:lnTo>
                  <a:lnTo>
                    <a:pt x="102" y="154"/>
                  </a:lnTo>
                  <a:lnTo>
                    <a:pt x="133" y="119"/>
                  </a:lnTo>
                  <a:lnTo>
                    <a:pt x="133" y="107"/>
                  </a:lnTo>
                  <a:lnTo>
                    <a:pt x="141" y="93"/>
                  </a:lnTo>
                  <a:lnTo>
                    <a:pt x="133" y="62"/>
                  </a:lnTo>
                </a:path>
              </a:pathLst>
            </a:custGeom>
            <a:solidFill>
              <a:srgbClr val="D9D9D9"/>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63" name="Freeform 34"/>
            <p:cNvSpPr>
              <a:spLocks noChangeAspect="1"/>
            </p:cNvSpPr>
            <p:nvPr>
              <p:custDataLst>
                <p:tags r:id="rId6"/>
              </p:custDataLst>
            </p:nvPr>
          </p:nvSpPr>
          <p:spPr bwMode="auto">
            <a:xfrm>
              <a:off x="5414963" y="4191000"/>
              <a:ext cx="619125" cy="650875"/>
            </a:xfrm>
            <a:custGeom>
              <a:avLst/>
              <a:gdLst>
                <a:gd name="T0" fmla="*/ 2147483647 w 359"/>
                <a:gd name="T1" fmla="*/ 2147483647 h 356"/>
                <a:gd name="T2" fmla="*/ 2147483647 w 359"/>
                <a:gd name="T3" fmla="*/ 2147483647 h 356"/>
                <a:gd name="T4" fmla="*/ 2147483647 w 359"/>
                <a:gd name="T5" fmla="*/ 2147483647 h 356"/>
                <a:gd name="T6" fmla="*/ 2147483647 w 359"/>
                <a:gd name="T7" fmla="*/ 2147483647 h 356"/>
                <a:gd name="T8" fmla="*/ 2147483647 w 359"/>
                <a:gd name="T9" fmla="*/ 2147483647 h 356"/>
                <a:gd name="T10" fmla="*/ 2147483647 w 359"/>
                <a:gd name="T11" fmla="*/ 2147483647 h 356"/>
                <a:gd name="T12" fmla="*/ 2147483647 w 359"/>
                <a:gd name="T13" fmla="*/ 0 h 356"/>
                <a:gd name="T14" fmla="*/ 2147483647 w 359"/>
                <a:gd name="T15" fmla="*/ 2147483647 h 356"/>
                <a:gd name="T16" fmla="*/ 2147483647 w 359"/>
                <a:gd name="T17" fmla="*/ 2147483647 h 356"/>
                <a:gd name="T18" fmla="*/ 2147483647 w 359"/>
                <a:gd name="T19" fmla="*/ 2147483647 h 356"/>
                <a:gd name="T20" fmla="*/ 2147483647 w 359"/>
                <a:gd name="T21" fmla="*/ 2147483647 h 356"/>
                <a:gd name="T22" fmla="*/ 2147483647 w 359"/>
                <a:gd name="T23" fmla="*/ 2147483647 h 356"/>
                <a:gd name="T24" fmla="*/ 2147483647 w 359"/>
                <a:gd name="T25" fmla="*/ 2147483647 h 356"/>
                <a:gd name="T26" fmla="*/ 2147483647 w 359"/>
                <a:gd name="T27" fmla="*/ 2147483647 h 356"/>
                <a:gd name="T28" fmla="*/ 2147483647 w 359"/>
                <a:gd name="T29" fmla="*/ 2147483647 h 356"/>
                <a:gd name="T30" fmla="*/ 2147483647 w 359"/>
                <a:gd name="T31" fmla="*/ 2147483647 h 356"/>
                <a:gd name="T32" fmla="*/ 2147483647 w 359"/>
                <a:gd name="T33" fmla="*/ 2147483647 h 356"/>
                <a:gd name="T34" fmla="*/ 2147483647 w 359"/>
                <a:gd name="T35" fmla="*/ 2147483647 h 356"/>
                <a:gd name="T36" fmla="*/ 2147483647 w 359"/>
                <a:gd name="T37" fmla="*/ 2147483647 h 356"/>
                <a:gd name="T38" fmla="*/ 2147483647 w 359"/>
                <a:gd name="T39" fmla="*/ 2147483647 h 356"/>
                <a:gd name="T40" fmla="*/ 2147483647 w 359"/>
                <a:gd name="T41" fmla="*/ 2147483647 h 356"/>
                <a:gd name="T42" fmla="*/ 2147483647 w 359"/>
                <a:gd name="T43" fmla="*/ 2147483647 h 356"/>
                <a:gd name="T44" fmla="*/ 2147483647 w 359"/>
                <a:gd name="T45" fmla="*/ 2147483647 h 356"/>
                <a:gd name="T46" fmla="*/ 2147483647 w 359"/>
                <a:gd name="T47" fmla="*/ 2147483647 h 356"/>
                <a:gd name="T48" fmla="*/ 2147483647 w 359"/>
                <a:gd name="T49" fmla="*/ 2147483647 h 356"/>
                <a:gd name="T50" fmla="*/ 2147483647 w 359"/>
                <a:gd name="T51" fmla="*/ 2147483647 h 356"/>
                <a:gd name="T52" fmla="*/ 2147483647 w 359"/>
                <a:gd name="T53" fmla="*/ 2147483647 h 356"/>
                <a:gd name="T54" fmla="*/ 2147483647 w 359"/>
                <a:gd name="T55" fmla="*/ 2147483647 h 356"/>
                <a:gd name="T56" fmla="*/ 2147483647 w 359"/>
                <a:gd name="T57" fmla="*/ 2147483647 h 356"/>
                <a:gd name="T58" fmla="*/ 2147483647 w 359"/>
                <a:gd name="T59" fmla="*/ 2147483647 h 356"/>
                <a:gd name="T60" fmla="*/ 2147483647 w 359"/>
                <a:gd name="T61" fmla="*/ 2147483647 h 356"/>
                <a:gd name="T62" fmla="*/ 2147483647 w 359"/>
                <a:gd name="T63" fmla="*/ 2147483647 h 356"/>
                <a:gd name="T64" fmla="*/ 2147483647 w 359"/>
                <a:gd name="T65" fmla="*/ 2147483647 h 356"/>
                <a:gd name="T66" fmla="*/ 2147483647 w 359"/>
                <a:gd name="T67" fmla="*/ 2147483647 h 356"/>
                <a:gd name="T68" fmla="*/ 2147483647 w 359"/>
                <a:gd name="T69" fmla="*/ 2147483647 h 3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56"/>
                <a:gd name="T107" fmla="*/ 359 w 359"/>
                <a:gd name="T108" fmla="*/ 356 h 3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56">
                  <a:moveTo>
                    <a:pt x="321" y="46"/>
                  </a:moveTo>
                  <a:lnTo>
                    <a:pt x="308" y="43"/>
                  </a:lnTo>
                  <a:lnTo>
                    <a:pt x="300" y="33"/>
                  </a:lnTo>
                  <a:lnTo>
                    <a:pt x="300" y="12"/>
                  </a:lnTo>
                  <a:lnTo>
                    <a:pt x="291" y="2"/>
                  </a:lnTo>
                  <a:lnTo>
                    <a:pt x="274" y="17"/>
                  </a:lnTo>
                  <a:lnTo>
                    <a:pt x="265" y="27"/>
                  </a:lnTo>
                  <a:lnTo>
                    <a:pt x="255" y="27"/>
                  </a:lnTo>
                  <a:lnTo>
                    <a:pt x="252" y="12"/>
                  </a:lnTo>
                  <a:lnTo>
                    <a:pt x="234" y="15"/>
                  </a:lnTo>
                  <a:lnTo>
                    <a:pt x="217" y="27"/>
                  </a:lnTo>
                  <a:lnTo>
                    <a:pt x="202" y="21"/>
                  </a:lnTo>
                  <a:lnTo>
                    <a:pt x="175" y="6"/>
                  </a:lnTo>
                  <a:lnTo>
                    <a:pt x="98" y="0"/>
                  </a:lnTo>
                  <a:lnTo>
                    <a:pt x="90" y="9"/>
                  </a:lnTo>
                  <a:lnTo>
                    <a:pt x="104" y="24"/>
                  </a:lnTo>
                  <a:lnTo>
                    <a:pt x="87" y="33"/>
                  </a:lnTo>
                  <a:lnTo>
                    <a:pt x="58" y="24"/>
                  </a:lnTo>
                  <a:lnTo>
                    <a:pt x="27" y="46"/>
                  </a:lnTo>
                  <a:lnTo>
                    <a:pt x="16" y="68"/>
                  </a:lnTo>
                  <a:lnTo>
                    <a:pt x="20" y="118"/>
                  </a:lnTo>
                  <a:lnTo>
                    <a:pt x="35" y="168"/>
                  </a:lnTo>
                  <a:lnTo>
                    <a:pt x="0" y="202"/>
                  </a:lnTo>
                  <a:lnTo>
                    <a:pt x="2" y="204"/>
                  </a:lnTo>
                  <a:lnTo>
                    <a:pt x="35" y="199"/>
                  </a:lnTo>
                  <a:lnTo>
                    <a:pt x="45" y="212"/>
                  </a:lnTo>
                  <a:lnTo>
                    <a:pt x="35" y="250"/>
                  </a:lnTo>
                  <a:lnTo>
                    <a:pt x="51" y="274"/>
                  </a:lnTo>
                  <a:lnTo>
                    <a:pt x="69" y="281"/>
                  </a:lnTo>
                  <a:lnTo>
                    <a:pt x="87" y="259"/>
                  </a:lnTo>
                  <a:lnTo>
                    <a:pt x="94" y="274"/>
                  </a:lnTo>
                  <a:lnTo>
                    <a:pt x="101" y="274"/>
                  </a:lnTo>
                  <a:lnTo>
                    <a:pt x="124" y="252"/>
                  </a:lnTo>
                  <a:lnTo>
                    <a:pt x="133" y="252"/>
                  </a:lnTo>
                  <a:lnTo>
                    <a:pt x="146" y="246"/>
                  </a:lnTo>
                  <a:lnTo>
                    <a:pt x="168" y="252"/>
                  </a:lnTo>
                  <a:lnTo>
                    <a:pt x="168" y="274"/>
                  </a:lnTo>
                  <a:lnTo>
                    <a:pt x="186" y="277"/>
                  </a:lnTo>
                  <a:lnTo>
                    <a:pt x="177" y="298"/>
                  </a:lnTo>
                  <a:lnTo>
                    <a:pt x="164" y="321"/>
                  </a:lnTo>
                  <a:lnTo>
                    <a:pt x="157" y="339"/>
                  </a:lnTo>
                  <a:lnTo>
                    <a:pt x="164" y="339"/>
                  </a:lnTo>
                  <a:lnTo>
                    <a:pt x="181" y="323"/>
                  </a:lnTo>
                  <a:lnTo>
                    <a:pt x="195" y="355"/>
                  </a:lnTo>
                  <a:lnTo>
                    <a:pt x="210" y="345"/>
                  </a:lnTo>
                  <a:lnTo>
                    <a:pt x="223" y="345"/>
                  </a:lnTo>
                  <a:lnTo>
                    <a:pt x="234" y="339"/>
                  </a:lnTo>
                  <a:lnTo>
                    <a:pt x="234" y="321"/>
                  </a:lnTo>
                  <a:lnTo>
                    <a:pt x="241" y="313"/>
                  </a:lnTo>
                  <a:lnTo>
                    <a:pt x="259" y="313"/>
                  </a:lnTo>
                  <a:lnTo>
                    <a:pt x="287" y="327"/>
                  </a:lnTo>
                  <a:lnTo>
                    <a:pt x="294" y="317"/>
                  </a:lnTo>
                  <a:lnTo>
                    <a:pt x="287" y="308"/>
                  </a:lnTo>
                  <a:lnTo>
                    <a:pt x="287" y="302"/>
                  </a:lnTo>
                  <a:lnTo>
                    <a:pt x="308" y="286"/>
                  </a:lnTo>
                  <a:lnTo>
                    <a:pt x="340" y="295"/>
                  </a:lnTo>
                  <a:lnTo>
                    <a:pt x="358" y="282"/>
                  </a:lnTo>
                  <a:lnTo>
                    <a:pt x="350" y="274"/>
                  </a:lnTo>
                  <a:lnTo>
                    <a:pt x="358" y="250"/>
                  </a:lnTo>
                  <a:lnTo>
                    <a:pt x="358" y="214"/>
                  </a:lnTo>
                  <a:lnTo>
                    <a:pt x="343" y="209"/>
                  </a:lnTo>
                  <a:lnTo>
                    <a:pt x="333" y="186"/>
                  </a:lnTo>
                  <a:lnTo>
                    <a:pt x="333" y="164"/>
                  </a:lnTo>
                  <a:lnTo>
                    <a:pt x="329" y="162"/>
                  </a:lnTo>
                  <a:lnTo>
                    <a:pt x="318" y="164"/>
                  </a:lnTo>
                  <a:lnTo>
                    <a:pt x="315" y="159"/>
                  </a:lnTo>
                  <a:lnTo>
                    <a:pt x="318" y="127"/>
                  </a:lnTo>
                  <a:lnTo>
                    <a:pt x="333" y="118"/>
                  </a:lnTo>
                  <a:lnTo>
                    <a:pt x="343" y="100"/>
                  </a:lnTo>
                  <a:lnTo>
                    <a:pt x="343" y="80"/>
                  </a:lnTo>
                  <a:lnTo>
                    <a:pt x="321" y="46"/>
                  </a:lnTo>
                </a:path>
              </a:pathLst>
            </a:custGeom>
            <a:solidFill>
              <a:srgbClr val="D9D9D9"/>
            </a:solidFill>
            <a:ln w="3175" cap="rnd">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64" name="Freeform 30"/>
            <p:cNvSpPr>
              <a:spLocks noChangeAspect="1"/>
            </p:cNvSpPr>
            <p:nvPr>
              <p:custDataLst>
                <p:tags r:id="rId7"/>
              </p:custDataLst>
            </p:nvPr>
          </p:nvSpPr>
          <p:spPr bwMode="auto">
            <a:xfrm>
              <a:off x="4922838" y="4645025"/>
              <a:ext cx="892175" cy="614363"/>
            </a:xfrm>
            <a:custGeom>
              <a:avLst/>
              <a:gdLst>
                <a:gd name="T0" fmla="*/ 2147483647 w 519"/>
                <a:gd name="T1" fmla="*/ 2147483647 h 335"/>
                <a:gd name="T2" fmla="*/ 2147483647 w 519"/>
                <a:gd name="T3" fmla="*/ 2147483647 h 335"/>
                <a:gd name="T4" fmla="*/ 2147483647 w 519"/>
                <a:gd name="T5" fmla="*/ 2147483647 h 335"/>
                <a:gd name="T6" fmla="*/ 2147483647 w 519"/>
                <a:gd name="T7" fmla="*/ 2147483647 h 335"/>
                <a:gd name="T8" fmla="*/ 2147483647 w 519"/>
                <a:gd name="T9" fmla="*/ 2147483647 h 335"/>
                <a:gd name="T10" fmla="*/ 2147483647 w 519"/>
                <a:gd name="T11" fmla="*/ 2147483647 h 335"/>
                <a:gd name="T12" fmla="*/ 2147483647 w 519"/>
                <a:gd name="T13" fmla="*/ 2147483647 h 335"/>
                <a:gd name="T14" fmla="*/ 2147483647 w 519"/>
                <a:gd name="T15" fmla="*/ 2147483647 h 335"/>
                <a:gd name="T16" fmla="*/ 2147483647 w 519"/>
                <a:gd name="T17" fmla="*/ 2147483647 h 335"/>
                <a:gd name="T18" fmla="*/ 2147483647 w 519"/>
                <a:gd name="T19" fmla="*/ 2147483647 h 335"/>
                <a:gd name="T20" fmla="*/ 2147483647 w 519"/>
                <a:gd name="T21" fmla="*/ 2147483647 h 335"/>
                <a:gd name="T22" fmla="*/ 2147483647 w 519"/>
                <a:gd name="T23" fmla="*/ 2147483647 h 335"/>
                <a:gd name="T24" fmla="*/ 2147483647 w 519"/>
                <a:gd name="T25" fmla="*/ 2147483647 h 335"/>
                <a:gd name="T26" fmla="*/ 2147483647 w 519"/>
                <a:gd name="T27" fmla="*/ 2147483647 h 335"/>
                <a:gd name="T28" fmla="*/ 2147483647 w 519"/>
                <a:gd name="T29" fmla="*/ 2147483647 h 335"/>
                <a:gd name="T30" fmla="*/ 2147483647 w 519"/>
                <a:gd name="T31" fmla="*/ 2147483647 h 335"/>
                <a:gd name="T32" fmla="*/ 2147483647 w 519"/>
                <a:gd name="T33" fmla="*/ 2147483647 h 335"/>
                <a:gd name="T34" fmla="*/ 2147483647 w 519"/>
                <a:gd name="T35" fmla="*/ 2147483647 h 335"/>
                <a:gd name="T36" fmla="*/ 2147483647 w 519"/>
                <a:gd name="T37" fmla="*/ 2147483647 h 335"/>
                <a:gd name="T38" fmla="*/ 2147483647 w 519"/>
                <a:gd name="T39" fmla="*/ 2147483647 h 335"/>
                <a:gd name="T40" fmla="*/ 2147483647 w 519"/>
                <a:gd name="T41" fmla="*/ 2147483647 h 335"/>
                <a:gd name="T42" fmla="*/ 2147483647 w 519"/>
                <a:gd name="T43" fmla="*/ 2147483647 h 335"/>
                <a:gd name="T44" fmla="*/ 2147483647 w 519"/>
                <a:gd name="T45" fmla="*/ 2147483647 h 335"/>
                <a:gd name="T46" fmla="*/ 2147483647 w 519"/>
                <a:gd name="T47" fmla="*/ 2147483647 h 335"/>
                <a:gd name="T48" fmla="*/ 2147483647 w 519"/>
                <a:gd name="T49" fmla="*/ 2147483647 h 335"/>
                <a:gd name="T50" fmla="*/ 2147483647 w 519"/>
                <a:gd name="T51" fmla="*/ 2147483647 h 335"/>
                <a:gd name="T52" fmla="*/ 2147483647 w 519"/>
                <a:gd name="T53" fmla="*/ 2147483647 h 335"/>
                <a:gd name="T54" fmla="*/ 2147483647 w 519"/>
                <a:gd name="T55" fmla="*/ 2147483647 h 335"/>
                <a:gd name="T56" fmla="*/ 2147483647 w 519"/>
                <a:gd name="T57" fmla="*/ 2147483647 h 335"/>
                <a:gd name="T58" fmla="*/ 2147483647 w 519"/>
                <a:gd name="T59" fmla="*/ 2147483647 h 335"/>
                <a:gd name="T60" fmla="*/ 2147483647 w 519"/>
                <a:gd name="T61" fmla="*/ 2147483647 h 335"/>
                <a:gd name="T62" fmla="*/ 2147483647 w 519"/>
                <a:gd name="T63" fmla="*/ 2147483647 h 335"/>
                <a:gd name="T64" fmla="*/ 2147483647 w 519"/>
                <a:gd name="T65" fmla="*/ 2147483647 h 335"/>
                <a:gd name="T66" fmla="*/ 2147483647 w 519"/>
                <a:gd name="T67" fmla="*/ 2147483647 h 335"/>
                <a:gd name="T68" fmla="*/ 2147483647 w 519"/>
                <a:gd name="T69" fmla="*/ 2147483647 h 335"/>
                <a:gd name="T70" fmla="*/ 2147483647 w 519"/>
                <a:gd name="T71" fmla="*/ 2147483647 h 335"/>
                <a:gd name="T72" fmla="*/ 2147483647 w 519"/>
                <a:gd name="T73" fmla="*/ 2147483647 h 33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19"/>
                <a:gd name="T112" fmla="*/ 0 h 335"/>
                <a:gd name="T113" fmla="*/ 519 w 519"/>
                <a:gd name="T114" fmla="*/ 335 h 33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19" h="335">
                  <a:moveTo>
                    <a:pt x="3" y="128"/>
                  </a:moveTo>
                  <a:lnTo>
                    <a:pt x="23" y="131"/>
                  </a:lnTo>
                  <a:lnTo>
                    <a:pt x="49" y="109"/>
                  </a:lnTo>
                  <a:lnTo>
                    <a:pt x="56" y="114"/>
                  </a:lnTo>
                  <a:lnTo>
                    <a:pt x="102" y="134"/>
                  </a:lnTo>
                  <a:lnTo>
                    <a:pt x="111" y="128"/>
                  </a:lnTo>
                  <a:lnTo>
                    <a:pt x="111" y="114"/>
                  </a:lnTo>
                  <a:lnTo>
                    <a:pt x="122" y="107"/>
                  </a:lnTo>
                  <a:lnTo>
                    <a:pt x="186" y="68"/>
                  </a:lnTo>
                  <a:lnTo>
                    <a:pt x="196" y="81"/>
                  </a:lnTo>
                  <a:lnTo>
                    <a:pt x="235" y="93"/>
                  </a:lnTo>
                  <a:lnTo>
                    <a:pt x="261" y="66"/>
                  </a:lnTo>
                  <a:lnTo>
                    <a:pt x="268" y="72"/>
                  </a:lnTo>
                  <a:lnTo>
                    <a:pt x="285" y="72"/>
                  </a:lnTo>
                  <a:lnTo>
                    <a:pt x="285" y="66"/>
                  </a:lnTo>
                  <a:lnTo>
                    <a:pt x="306" y="59"/>
                  </a:lnTo>
                  <a:lnTo>
                    <a:pt x="306" y="52"/>
                  </a:lnTo>
                  <a:lnTo>
                    <a:pt x="313" y="46"/>
                  </a:lnTo>
                  <a:lnTo>
                    <a:pt x="317" y="46"/>
                  </a:lnTo>
                  <a:lnTo>
                    <a:pt x="338" y="28"/>
                  </a:lnTo>
                  <a:lnTo>
                    <a:pt x="355" y="34"/>
                  </a:lnTo>
                  <a:lnTo>
                    <a:pt x="373" y="13"/>
                  </a:lnTo>
                  <a:lnTo>
                    <a:pt x="380" y="28"/>
                  </a:lnTo>
                  <a:lnTo>
                    <a:pt x="387" y="28"/>
                  </a:lnTo>
                  <a:lnTo>
                    <a:pt x="412" y="6"/>
                  </a:lnTo>
                  <a:lnTo>
                    <a:pt x="419" y="6"/>
                  </a:lnTo>
                  <a:lnTo>
                    <a:pt x="433" y="0"/>
                  </a:lnTo>
                  <a:lnTo>
                    <a:pt x="454" y="6"/>
                  </a:lnTo>
                  <a:lnTo>
                    <a:pt x="454" y="28"/>
                  </a:lnTo>
                  <a:lnTo>
                    <a:pt x="472" y="31"/>
                  </a:lnTo>
                  <a:lnTo>
                    <a:pt x="465" y="52"/>
                  </a:lnTo>
                  <a:lnTo>
                    <a:pt x="450" y="75"/>
                  </a:lnTo>
                  <a:lnTo>
                    <a:pt x="444" y="93"/>
                  </a:lnTo>
                  <a:lnTo>
                    <a:pt x="450" y="93"/>
                  </a:lnTo>
                  <a:lnTo>
                    <a:pt x="468" y="77"/>
                  </a:lnTo>
                  <a:lnTo>
                    <a:pt x="481" y="109"/>
                  </a:lnTo>
                  <a:lnTo>
                    <a:pt x="496" y="100"/>
                  </a:lnTo>
                  <a:lnTo>
                    <a:pt x="510" y="100"/>
                  </a:lnTo>
                  <a:lnTo>
                    <a:pt x="518" y="131"/>
                  </a:lnTo>
                  <a:lnTo>
                    <a:pt x="510" y="143"/>
                  </a:lnTo>
                  <a:lnTo>
                    <a:pt x="510" y="155"/>
                  </a:lnTo>
                  <a:lnTo>
                    <a:pt x="479" y="191"/>
                  </a:lnTo>
                  <a:lnTo>
                    <a:pt x="481" y="228"/>
                  </a:lnTo>
                  <a:lnTo>
                    <a:pt x="444" y="253"/>
                  </a:lnTo>
                  <a:lnTo>
                    <a:pt x="440" y="279"/>
                  </a:lnTo>
                  <a:lnTo>
                    <a:pt x="419" y="287"/>
                  </a:lnTo>
                  <a:lnTo>
                    <a:pt x="419" y="300"/>
                  </a:lnTo>
                  <a:lnTo>
                    <a:pt x="398" y="302"/>
                  </a:lnTo>
                  <a:lnTo>
                    <a:pt x="380" y="327"/>
                  </a:lnTo>
                  <a:lnTo>
                    <a:pt x="338" y="334"/>
                  </a:lnTo>
                  <a:lnTo>
                    <a:pt x="313" y="318"/>
                  </a:lnTo>
                  <a:lnTo>
                    <a:pt x="288" y="310"/>
                  </a:lnTo>
                  <a:lnTo>
                    <a:pt x="264" y="331"/>
                  </a:lnTo>
                  <a:lnTo>
                    <a:pt x="239" y="331"/>
                  </a:lnTo>
                  <a:lnTo>
                    <a:pt x="217" y="334"/>
                  </a:lnTo>
                  <a:lnTo>
                    <a:pt x="162" y="306"/>
                  </a:lnTo>
                  <a:lnTo>
                    <a:pt x="151" y="284"/>
                  </a:lnTo>
                  <a:lnTo>
                    <a:pt x="164" y="259"/>
                  </a:lnTo>
                  <a:lnTo>
                    <a:pt x="151" y="250"/>
                  </a:lnTo>
                  <a:lnTo>
                    <a:pt x="129" y="250"/>
                  </a:lnTo>
                  <a:lnTo>
                    <a:pt x="126" y="243"/>
                  </a:lnTo>
                  <a:lnTo>
                    <a:pt x="102" y="250"/>
                  </a:lnTo>
                  <a:lnTo>
                    <a:pt x="80" y="233"/>
                  </a:lnTo>
                  <a:lnTo>
                    <a:pt x="91" y="212"/>
                  </a:lnTo>
                  <a:lnTo>
                    <a:pt x="105" y="212"/>
                  </a:lnTo>
                  <a:lnTo>
                    <a:pt x="111" y="209"/>
                  </a:lnTo>
                  <a:lnTo>
                    <a:pt x="120" y="187"/>
                  </a:lnTo>
                  <a:lnTo>
                    <a:pt x="111" y="178"/>
                  </a:lnTo>
                  <a:lnTo>
                    <a:pt x="52" y="168"/>
                  </a:lnTo>
                  <a:lnTo>
                    <a:pt x="45" y="153"/>
                  </a:lnTo>
                  <a:lnTo>
                    <a:pt x="27" y="153"/>
                  </a:lnTo>
                  <a:lnTo>
                    <a:pt x="10" y="153"/>
                  </a:lnTo>
                  <a:lnTo>
                    <a:pt x="0" y="137"/>
                  </a:lnTo>
                  <a:lnTo>
                    <a:pt x="3" y="128"/>
                  </a:lnTo>
                </a:path>
              </a:pathLst>
            </a:custGeom>
            <a:solidFill>
              <a:schemeClr val="accent3">
                <a:lumMod val="60000"/>
                <a:lumOff val="40000"/>
              </a:schemeClr>
            </a:solidFill>
            <a:ln w="3175" cap="rnd" algn="ctr">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65" name="Freeform 31"/>
            <p:cNvSpPr>
              <a:spLocks noChangeAspect="1"/>
            </p:cNvSpPr>
            <p:nvPr>
              <p:custDataLst>
                <p:tags r:id="rId8"/>
              </p:custDataLst>
            </p:nvPr>
          </p:nvSpPr>
          <p:spPr bwMode="auto">
            <a:xfrm>
              <a:off x="4106863" y="4327525"/>
              <a:ext cx="1025525" cy="1004888"/>
            </a:xfrm>
            <a:custGeom>
              <a:avLst/>
              <a:gdLst>
                <a:gd name="T0" fmla="*/ 2147483647 w 595"/>
                <a:gd name="T1" fmla="*/ 2147483647 h 548"/>
                <a:gd name="T2" fmla="*/ 2147483647 w 595"/>
                <a:gd name="T3" fmla="*/ 2147483647 h 548"/>
                <a:gd name="T4" fmla="*/ 2147483647 w 595"/>
                <a:gd name="T5" fmla="*/ 2147483647 h 548"/>
                <a:gd name="T6" fmla="*/ 2147483647 w 595"/>
                <a:gd name="T7" fmla="*/ 2147483647 h 548"/>
                <a:gd name="T8" fmla="*/ 2147483647 w 595"/>
                <a:gd name="T9" fmla="*/ 2147483647 h 548"/>
                <a:gd name="T10" fmla="*/ 2147483647 w 595"/>
                <a:gd name="T11" fmla="*/ 2147483647 h 548"/>
                <a:gd name="T12" fmla="*/ 2147483647 w 595"/>
                <a:gd name="T13" fmla="*/ 2147483647 h 548"/>
                <a:gd name="T14" fmla="*/ 2147483647 w 595"/>
                <a:gd name="T15" fmla="*/ 2147483647 h 548"/>
                <a:gd name="T16" fmla="*/ 2147483647 w 595"/>
                <a:gd name="T17" fmla="*/ 2147483647 h 548"/>
                <a:gd name="T18" fmla="*/ 2147483647 w 595"/>
                <a:gd name="T19" fmla="*/ 2147483647 h 548"/>
                <a:gd name="T20" fmla="*/ 2147483647 w 595"/>
                <a:gd name="T21" fmla="*/ 2147483647 h 548"/>
                <a:gd name="T22" fmla="*/ 2147483647 w 595"/>
                <a:gd name="T23" fmla="*/ 2147483647 h 548"/>
                <a:gd name="T24" fmla="*/ 2147483647 w 595"/>
                <a:gd name="T25" fmla="*/ 2147483647 h 548"/>
                <a:gd name="T26" fmla="*/ 2147483647 w 595"/>
                <a:gd name="T27" fmla="*/ 2147483647 h 548"/>
                <a:gd name="T28" fmla="*/ 2147483647 w 595"/>
                <a:gd name="T29" fmla="*/ 0 h 548"/>
                <a:gd name="T30" fmla="*/ 2147483647 w 595"/>
                <a:gd name="T31" fmla="*/ 2147483647 h 548"/>
                <a:gd name="T32" fmla="*/ 2147483647 w 595"/>
                <a:gd name="T33" fmla="*/ 2147483647 h 548"/>
                <a:gd name="T34" fmla="*/ 2147483647 w 595"/>
                <a:gd name="T35" fmla="*/ 2147483647 h 548"/>
                <a:gd name="T36" fmla="*/ 2147483647 w 595"/>
                <a:gd name="T37" fmla="*/ 2147483647 h 548"/>
                <a:gd name="T38" fmla="*/ 2147483647 w 595"/>
                <a:gd name="T39" fmla="*/ 2147483647 h 548"/>
                <a:gd name="T40" fmla="*/ 2147483647 w 595"/>
                <a:gd name="T41" fmla="*/ 2147483647 h 548"/>
                <a:gd name="T42" fmla="*/ 2147483647 w 595"/>
                <a:gd name="T43" fmla="*/ 2147483647 h 548"/>
                <a:gd name="T44" fmla="*/ 0 w 595"/>
                <a:gd name="T45" fmla="*/ 2147483647 h 548"/>
                <a:gd name="T46" fmla="*/ 0 w 595"/>
                <a:gd name="T47" fmla="*/ 2147483647 h 548"/>
                <a:gd name="T48" fmla="*/ 2147483647 w 595"/>
                <a:gd name="T49" fmla="*/ 2147483647 h 548"/>
                <a:gd name="T50" fmla="*/ 2147483647 w 595"/>
                <a:gd name="T51" fmla="*/ 2147483647 h 548"/>
                <a:gd name="T52" fmla="*/ 2147483647 w 595"/>
                <a:gd name="T53" fmla="*/ 2147483647 h 548"/>
                <a:gd name="T54" fmla="*/ 2147483647 w 595"/>
                <a:gd name="T55" fmla="*/ 2147483647 h 548"/>
                <a:gd name="T56" fmla="*/ 2147483647 w 595"/>
                <a:gd name="T57" fmla="*/ 2147483647 h 548"/>
                <a:gd name="T58" fmla="*/ 2147483647 w 595"/>
                <a:gd name="T59" fmla="*/ 2147483647 h 548"/>
                <a:gd name="T60" fmla="*/ 2147483647 w 595"/>
                <a:gd name="T61" fmla="*/ 2147483647 h 548"/>
                <a:gd name="T62" fmla="*/ 2147483647 w 595"/>
                <a:gd name="T63" fmla="*/ 2147483647 h 548"/>
                <a:gd name="T64" fmla="*/ 2147483647 w 595"/>
                <a:gd name="T65" fmla="*/ 2147483647 h 548"/>
                <a:gd name="T66" fmla="*/ 2147483647 w 595"/>
                <a:gd name="T67" fmla="*/ 2147483647 h 548"/>
                <a:gd name="T68" fmla="*/ 2147483647 w 595"/>
                <a:gd name="T69" fmla="*/ 2147483647 h 548"/>
                <a:gd name="T70" fmla="*/ 2147483647 w 595"/>
                <a:gd name="T71" fmla="*/ 2147483647 h 548"/>
                <a:gd name="T72" fmla="*/ 2147483647 w 595"/>
                <a:gd name="T73" fmla="*/ 2147483647 h 548"/>
                <a:gd name="T74" fmla="*/ 2147483647 w 595"/>
                <a:gd name="T75" fmla="*/ 2147483647 h 548"/>
                <a:gd name="T76" fmla="*/ 2147483647 w 595"/>
                <a:gd name="T77" fmla="*/ 2147483647 h 548"/>
                <a:gd name="T78" fmla="*/ 2147483647 w 595"/>
                <a:gd name="T79" fmla="*/ 2147483647 h 548"/>
                <a:gd name="T80" fmla="*/ 2147483647 w 595"/>
                <a:gd name="T81" fmla="*/ 2147483647 h 548"/>
                <a:gd name="T82" fmla="*/ 2147483647 w 595"/>
                <a:gd name="T83" fmla="*/ 2147483647 h 548"/>
                <a:gd name="T84" fmla="*/ 2147483647 w 595"/>
                <a:gd name="T85" fmla="*/ 2147483647 h 548"/>
                <a:gd name="T86" fmla="*/ 2147483647 w 595"/>
                <a:gd name="T87" fmla="*/ 2147483647 h 548"/>
                <a:gd name="T88" fmla="*/ 2147483647 w 595"/>
                <a:gd name="T89" fmla="*/ 2147483647 h 548"/>
                <a:gd name="T90" fmla="*/ 2147483647 w 595"/>
                <a:gd name="T91" fmla="*/ 2147483647 h 548"/>
                <a:gd name="T92" fmla="*/ 2147483647 w 595"/>
                <a:gd name="T93" fmla="*/ 2147483647 h 548"/>
                <a:gd name="T94" fmla="*/ 2147483647 w 595"/>
                <a:gd name="T95" fmla="*/ 2147483647 h 548"/>
                <a:gd name="T96" fmla="*/ 2147483647 w 595"/>
                <a:gd name="T97" fmla="*/ 2147483647 h 548"/>
                <a:gd name="T98" fmla="*/ 2147483647 w 595"/>
                <a:gd name="T99" fmla="*/ 2147483647 h 548"/>
                <a:gd name="T100" fmla="*/ 2147483647 w 595"/>
                <a:gd name="T101" fmla="*/ 2147483647 h 548"/>
                <a:gd name="T102" fmla="*/ 2147483647 w 595"/>
                <a:gd name="T103" fmla="*/ 2147483647 h 548"/>
                <a:gd name="T104" fmla="*/ 2147483647 w 595"/>
                <a:gd name="T105" fmla="*/ 2147483647 h 548"/>
                <a:gd name="T106" fmla="*/ 2147483647 w 595"/>
                <a:gd name="T107" fmla="*/ 2147483647 h 548"/>
                <a:gd name="T108" fmla="*/ 2147483647 w 595"/>
                <a:gd name="T109" fmla="*/ 2147483647 h 548"/>
                <a:gd name="T110" fmla="*/ 2147483647 w 595"/>
                <a:gd name="T111" fmla="*/ 2147483647 h 548"/>
                <a:gd name="T112" fmla="*/ 2147483647 w 595"/>
                <a:gd name="T113" fmla="*/ 2147483647 h 548"/>
                <a:gd name="T114" fmla="*/ 2147483647 w 595"/>
                <a:gd name="T115" fmla="*/ 2147483647 h 548"/>
                <a:gd name="T116" fmla="*/ 2147483647 w 595"/>
                <a:gd name="T117" fmla="*/ 2147483647 h 5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95"/>
                <a:gd name="T178" fmla="*/ 0 h 548"/>
                <a:gd name="T179" fmla="*/ 595 w 595"/>
                <a:gd name="T180" fmla="*/ 548 h 54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95" h="548">
                  <a:moveTo>
                    <a:pt x="523" y="100"/>
                  </a:moveTo>
                  <a:lnTo>
                    <a:pt x="519" y="86"/>
                  </a:lnTo>
                  <a:lnTo>
                    <a:pt x="501" y="80"/>
                  </a:lnTo>
                  <a:lnTo>
                    <a:pt x="477" y="93"/>
                  </a:lnTo>
                  <a:lnTo>
                    <a:pt x="460" y="86"/>
                  </a:lnTo>
                  <a:lnTo>
                    <a:pt x="460" y="69"/>
                  </a:lnTo>
                  <a:lnTo>
                    <a:pt x="449" y="59"/>
                  </a:lnTo>
                  <a:lnTo>
                    <a:pt x="449" y="49"/>
                  </a:lnTo>
                  <a:lnTo>
                    <a:pt x="428" y="43"/>
                  </a:lnTo>
                  <a:lnTo>
                    <a:pt x="421" y="49"/>
                  </a:lnTo>
                  <a:lnTo>
                    <a:pt x="424" y="65"/>
                  </a:lnTo>
                  <a:lnTo>
                    <a:pt x="402" y="71"/>
                  </a:lnTo>
                  <a:lnTo>
                    <a:pt x="400" y="83"/>
                  </a:lnTo>
                  <a:lnTo>
                    <a:pt x="402" y="96"/>
                  </a:lnTo>
                  <a:lnTo>
                    <a:pt x="361" y="140"/>
                  </a:lnTo>
                  <a:lnTo>
                    <a:pt x="368" y="190"/>
                  </a:lnTo>
                  <a:lnTo>
                    <a:pt x="351" y="205"/>
                  </a:lnTo>
                  <a:lnTo>
                    <a:pt x="339" y="196"/>
                  </a:lnTo>
                  <a:lnTo>
                    <a:pt x="298" y="218"/>
                  </a:lnTo>
                  <a:lnTo>
                    <a:pt x="284" y="208"/>
                  </a:lnTo>
                  <a:lnTo>
                    <a:pt x="223" y="109"/>
                  </a:lnTo>
                  <a:lnTo>
                    <a:pt x="200" y="93"/>
                  </a:lnTo>
                  <a:lnTo>
                    <a:pt x="181" y="90"/>
                  </a:lnTo>
                  <a:lnTo>
                    <a:pt x="175" y="78"/>
                  </a:lnTo>
                  <a:lnTo>
                    <a:pt x="185" y="62"/>
                  </a:lnTo>
                  <a:lnTo>
                    <a:pt x="168" y="49"/>
                  </a:lnTo>
                  <a:lnTo>
                    <a:pt x="147" y="65"/>
                  </a:lnTo>
                  <a:lnTo>
                    <a:pt x="125" y="69"/>
                  </a:lnTo>
                  <a:lnTo>
                    <a:pt x="111" y="12"/>
                  </a:lnTo>
                  <a:lnTo>
                    <a:pt x="108" y="0"/>
                  </a:lnTo>
                  <a:lnTo>
                    <a:pt x="91" y="21"/>
                  </a:lnTo>
                  <a:lnTo>
                    <a:pt x="80" y="27"/>
                  </a:lnTo>
                  <a:lnTo>
                    <a:pt x="83" y="62"/>
                  </a:lnTo>
                  <a:lnTo>
                    <a:pt x="76" y="69"/>
                  </a:lnTo>
                  <a:lnTo>
                    <a:pt x="65" y="69"/>
                  </a:lnTo>
                  <a:lnTo>
                    <a:pt x="58" y="62"/>
                  </a:lnTo>
                  <a:lnTo>
                    <a:pt x="48" y="71"/>
                  </a:lnTo>
                  <a:lnTo>
                    <a:pt x="58" y="111"/>
                  </a:lnTo>
                  <a:lnTo>
                    <a:pt x="69" y="111"/>
                  </a:lnTo>
                  <a:lnTo>
                    <a:pt x="80" y="117"/>
                  </a:lnTo>
                  <a:lnTo>
                    <a:pt x="83" y="140"/>
                  </a:lnTo>
                  <a:lnTo>
                    <a:pt x="80" y="225"/>
                  </a:lnTo>
                  <a:lnTo>
                    <a:pt x="16" y="274"/>
                  </a:lnTo>
                  <a:lnTo>
                    <a:pt x="13" y="292"/>
                  </a:lnTo>
                  <a:lnTo>
                    <a:pt x="0" y="302"/>
                  </a:lnTo>
                  <a:lnTo>
                    <a:pt x="0" y="312"/>
                  </a:lnTo>
                  <a:lnTo>
                    <a:pt x="10" y="337"/>
                  </a:lnTo>
                  <a:lnTo>
                    <a:pt x="0" y="355"/>
                  </a:lnTo>
                  <a:lnTo>
                    <a:pt x="6" y="359"/>
                  </a:lnTo>
                  <a:lnTo>
                    <a:pt x="38" y="350"/>
                  </a:lnTo>
                  <a:lnTo>
                    <a:pt x="83" y="350"/>
                  </a:lnTo>
                  <a:lnTo>
                    <a:pt x="76" y="365"/>
                  </a:lnTo>
                  <a:lnTo>
                    <a:pt x="87" y="381"/>
                  </a:lnTo>
                  <a:lnTo>
                    <a:pt x="91" y="403"/>
                  </a:lnTo>
                  <a:lnTo>
                    <a:pt x="94" y="409"/>
                  </a:lnTo>
                  <a:lnTo>
                    <a:pt x="122" y="412"/>
                  </a:lnTo>
                  <a:lnTo>
                    <a:pt x="132" y="418"/>
                  </a:lnTo>
                  <a:lnTo>
                    <a:pt x="118" y="434"/>
                  </a:lnTo>
                  <a:lnTo>
                    <a:pt x="118" y="453"/>
                  </a:lnTo>
                  <a:lnTo>
                    <a:pt x="108" y="472"/>
                  </a:lnTo>
                  <a:lnTo>
                    <a:pt x="115" y="481"/>
                  </a:lnTo>
                  <a:lnTo>
                    <a:pt x="132" y="481"/>
                  </a:lnTo>
                  <a:lnTo>
                    <a:pt x="161" y="491"/>
                  </a:lnTo>
                  <a:lnTo>
                    <a:pt x="157" y="500"/>
                  </a:lnTo>
                  <a:lnTo>
                    <a:pt x="175" y="524"/>
                  </a:lnTo>
                  <a:lnTo>
                    <a:pt x="203" y="524"/>
                  </a:lnTo>
                  <a:lnTo>
                    <a:pt x="234" y="508"/>
                  </a:lnTo>
                  <a:lnTo>
                    <a:pt x="245" y="512"/>
                  </a:lnTo>
                  <a:lnTo>
                    <a:pt x="245" y="524"/>
                  </a:lnTo>
                  <a:lnTo>
                    <a:pt x="252" y="537"/>
                  </a:lnTo>
                  <a:lnTo>
                    <a:pt x="258" y="547"/>
                  </a:lnTo>
                  <a:lnTo>
                    <a:pt x="276" y="543"/>
                  </a:lnTo>
                  <a:lnTo>
                    <a:pt x="284" y="547"/>
                  </a:lnTo>
                  <a:lnTo>
                    <a:pt x="290" y="539"/>
                  </a:lnTo>
                  <a:lnTo>
                    <a:pt x="290" y="518"/>
                  </a:lnTo>
                  <a:lnTo>
                    <a:pt x="280" y="474"/>
                  </a:lnTo>
                  <a:lnTo>
                    <a:pt x="287" y="462"/>
                  </a:lnTo>
                  <a:lnTo>
                    <a:pt x="315" y="462"/>
                  </a:lnTo>
                  <a:lnTo>
                    <a:pt x="322" y="462"/>
                  </a:lnTo>
                  <a:lnTo>
                    <a:pt x="339" y="443"/>
                  </a:lnTo>
                  <a:lnTo>
                    <a:pt x="378" y="455"/>
                  </a:lnTo>
                  <a:lnTo>
                    <a:pt x="396" y="443"/>
                  </a:lnTo>
                  <a:lnTo>
                    <a:pt x="402" y="449"/>
                  </a:lnTo>
                  <a:lnTo>
                    <a:pt x="421" y="440"/>
                  </a:lnTo>
                  <a:lnTo>
                    <a:pt x="438" y="455"/>
                  </a:lnTo>
                  <a:lnTo>
                    <a:pt x="442" y="455"/>
                  </a:lnTo>
                  <a:lnTo>
                    <a:pt x="449" y="445"/>
                  </a:lnTo>
                  <a:lnTo>
                    <a:pt x="463" y="434"/>
                  </a:lnTo>
                  <a:lnTo>
                    <a:pt x="470" y="440"/>
                  </a:lnTo>
                  <a:lnTo>
                    <a:pt x="488" y="437"/>
                  </a:lnTo>
                  <a:lnTo>
                    <a:pt x="505" y="424"/>
                  </a:lnTo>
                  <a:lnTo>
                    <a:pt x="523" y="403"/>
                  </a:lnTo>
                  <a:lnTo>
                    <a:pt x="543" y="399"/>
                  </a:lnTo>
                  <a:lnTo>
                    <a:pt x="554" y="409"/>
                  </a:lnTo>
                  <a:lnTo>
                    <a:pt x="564" y="387"/>
                  </a:lnTo>
                  <a:lnTo>
                    <a:pt x="578" y="387"/>
                  </a:lnTo>
                  <a:lnTo>
                    <a:pt x="585" y="383"/>
                  </a:lnTo>
                  <a:lnTo>
                    <a:pt x="594" y="361"/>
                  </a:lnTo>
                  <a:lnTo>
                    <a:pt x="585" y="351"/>
                  </a:lnTo>
                  <a:lnTo>
                    <a:pt x="526" y="343"/>
                  </a:lnTo>
                  <a:lnTo>
                    <a:pt x="519" y="328"/>
                  </a:lnTo>
                  <a:lnTo>
                    <a:pt x="501" y="328"/>
                  </a:lnTo>
                  <a:lnTo>
                    <a:pt x="484" y="328"/>
                  </a:lnTo>
                  <a:lnTo>
                    <a:pt x="474" y="312"/>
                  </a:lnTo>
                  <a:lnTo>
                    <a:pt x="477" y="302"/>
                  </a:lnTo>
                  <a:lnTo>
                    <a:pt x="484" y="268"/>
                  </a:lnTo>
                  <a:lnTo>
                    <a:pt x="460" y="246"/>
                  </a:lnTo>
                  <a:lnTo>
                    <a:pt x="477" y="184"/>
                  </a:lnTo>
                  <a:lnTo>
                    <a:pt x="467" y="174"/>
                  </a:lnTo>
                  <a:lnTo>
                    <a:pt x="428" y="187"/>
                  </a:lnTo>
                  <a:lnTo>
                    <a:pt x="421" y="171"/>
                  </a:lnTo>
                  <a:lnTo>
                    <a:pt x="421" y="158"/>
                  </a:lnTo>
                  <a:lnTo>
                    <a:pt x="410" y="148"/>
                  </a:lnTo>
                  <a:lnTo>
                    <a:pt x="431" y="127"/>
                  </a:lnTo>
                  <a:lnTo>
                    <a:pt x="449" y="134"/>
                  </a:lnTo>
                  <a:lnTo>
                    <a:pt x="460" y="125"/>
                  </a:lnTo>
                  <a:lnTo>
                    <a:pt x="495" y="131"/>
                  </a:lnTo>
                  <a:lnTo>
                    <a:pt x="512" y="125"/>
                  </a:lnTo>
                  <a:lnTo>
                    <a:pt x="523" y="100"/>
                  </a:lnTo>
                </a:path>
              </a:pathLst>
            </a:custGeom>
            <a:solidFill>
              <a:srgbClr val="D9D9D9"/>
            </a:solidFill>
            <a:ln w="3175" cap="rnd" algn="ctr">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66" name="Freeform 32"/>
            <p:cNvSpPr>
              <a:spLocks noChangeAspect="1"/>
            </p:cNvSpPr>
            <p:nvPr>
              <p:custDataLst>
                <p:tags r:id="rId9"/>
              </p:custDataLst>
            </p:nvPr>
          </p:nvSpPr>
          <p:spPr bwMode="auto">
            <a:xfrm>
              <a:off x="6254750" y="4313238"/>
              <a:ext cx="488950" cy="579437"/>
            </a:xfrm>
            <a:custGeom>
              <a:avLst/>
              <a:gdLst>
                <a:gd name="T0" fmla="*/ 0 w 282"/>
                <a:gd name="T1" fmla="*/ 2147483647 h 317"/>
                <a:gd name="T2" fmla="*/ 2147483647 w 282"/>
                <a:gd name="T3" fmla="*/ 2147483647 h 317"/>
                <a:gd name="T4" fmla="*/ 2147483647 w 282"/>
                <a:gd name="T5" fmla="*/ 2147483647 h 317"/>
                <a:gd name="T6" fmla="*/ 2147483647 w 282"/>
                <a:gd name="T7" fmla="*/ 2147483647 h 317"/>
                <a:gd name="T8" fmla="*/ 2147483647 w 282"/>
                <a:gd name="T9" fmla="*/ 2147483647 h 317"/>
                <a:gd name="T10" fmla="*/ 2147483647 w 282"/>
                <a:gd name="T11" fmla="*/ 2147483647 h 317"/>
                <a:gd name="T12" fmla="*/ 2147483647 w 282"/>
                <a:gd name="T13" fmla="*/ 2147483647 h 317"/>
                <a:gd name="T14" fmla="*/ 2147483647 w 282"/>
                <a:gd name="T15" fmla="*/ 2147483647 h 317"/>
                <a:gd name="T16" fmla="*/ 2147483647 w 282"/>
                <a:gd name="T17" fmla="*/ 2147483647 h 317"/>
                <a:gd name="T18" fmla="*/ 2147483647 w 282"/>
                <a:gd name="T19" fmla="*/ 2147483647 h 317"/>
                <a:gd name="T20" fmla="*/ 2147483647 w 282"/>
                <a:gd name="T21" fmla="*/ 2147483647 h 317"/>
                <a:gd name="T22" fmla="*/ 2147483647 w 282"/>
                <a:gd name="T23" fmla="*/ 2147483647 h 317"/>
                <a:gd name="T24" fmla="*/ 2147483647 w 282"/>
                <a:gd name="T25" fmla="*/ 0 h 317"/>
                <a:gd name="T26" fmla="*/ 2147483647 w 282"/>
                <a:gd name="T27" fmla="*/ 2147483647 h 317"/>
                <a:gd name="T28" fmla="*/ 2147483647 w 282"/>
                <a:gd name="T29" fmla="*/ 2147483647 h 317"/>
                <a:gd name="T30" fmla="*/ 2147483647 w 282"/>
                <a:gd name="T31" fmla="*/ 2147483647 h 317"/>
                <a:gd name="T32" fmla="*/ 2147483647 w 282"/>
                <a:gd name="T33" fmla="*/ 2147483647 h 317"/>
                <a:gd name="T34" fmla="*/ 2147483647 w 282"/>
                <a:gd name="T35" fmla="*/ 2147483647 h 317"/>
                <a:gd name="T36" fmla="*/ 2147483647 w 282"/>
                <a:gd name="T37" fmla="*/ 2147483647 h 317"/>
                <a:gd name="T38" fmla="*/ 2147483647 w 282"/>
                <a:gd name="T39" fmla="*/ 2147483647 h 317"/>
                <a:gd name="T40" fmla="*/ 2147483647 w 282"/>
                <a:gd name="T41" fmla="*/ 2147483647 h 317"/>
                <a:gd name="T42" fmla="*/ 2147483647 w 282"/>
                <a:gd name="T43" fmla="*/ 2147483647 h 317"/>
                <a:gd name="T44" fmla="*/ 2147483647 w 282"/>
                <a:gd name="T45" fmla="*/ 2147483647 h 317"/>
                <a:gd name="T46" fmla="*/ 2147483647 w 282"/>
                <a:gd name="T47" fmla="*/ 2147483647 h 317"/>
                <a:gd name="T48" fmla="*/ 2147483647 w 282"/>
                <a:gd name="T49" fmla="*/ 2147483647 h 317"/>
                <a:gd name="T50" fmla="*/ 2147483647 w 282"/>
                <a:gd name="T51" fmla="*/ 2147483647 h 317"/>
                <a:gd name="T52" fmla="*/ 2147483647 w 282"/>
                <a:gd name="T53" fmla="*/ 2147483647 h 317"/>
                <a:gd name="T54" fmla="*/ 2147483647 w 282"/>
                <a:gd name="T55" fmla="*/ 2147483647 h 317"/>
                <a:gd name="T56" fmla="*/ 2147483647 w 282"/>
                <a:gd name="T57" fmla="*/ 2147483647 h 317"/>
                <a:gd name="T58" fmla="*/ 2147483647 w 282"/>
                <a:gd name="T59" fmla="*/ 2147483647 h 317"/>
                <a:gd name="T60" fmla="*/ 2147483647 w 282"/>
                <a:gd name="T61" fmla="*/ 2147483647 h 317"/>
                <a:gd name="T62" fmla="*/ 2147483647 w 282"/>
                <a:gd name="T63" fmla="*/ 2147483647 h 317"/>
                <a:gd name="T64" fmla="*/ 2147483647 w 282"/>
                <a:gd name="T65" fmla="*/ 2147483647 h 317"/>
                <a:gd name="T66" fmla="*/ 2147483647 w 282"/>
                <a:gd name="T67" fmla="*/ 2147483647 h 317"/>
                <a:gd name="T68" fmla="*/ 2147483647 w 282"/>
                <a:gd name="T69" fmla="*/ 2147483647 h 317"/>
                <a:gd name="T70" fmla="*/ 2147483647 w 282"/>
                <a:gd name="T71" fmla="*/ 2147483647 h 317"/>
                <a:gd name="T72" fmla="*/ 2147483647 w 282"/>
                <a:gd name="T73" fmla="*/ 2147483647 h 317"/>
                <a:gd name="T74" fmla="*/ 2147483647 w 282"/>
                <a:gd name="T75" fmla="*/ 2147483647 h 317"/>
                <a:gd name="T76" fmla="*/ 2147483647 w 282"/>
                <a:gd name="T77" fmla="*/ 2147483647 h 317"/>
                <a:gd name="T78" fmla="*/ 2147483647 w 282"/>
                <a:gd name="T79" fmla="*/ 2147483647 h 317"/>
                <a:gd name="T80" fmla="*/ 2147483647 w 282"/>
                <a:gd name="T81" fmla="*/ 2147483647 h 317"/>
                <a:gd name="T82" fmla="*/ 2147483647 w 282"/>
                <a:gd name="T83" fmla="*/ 2147483647 h 317"/>
                <a:gd name="T84" fmla="*/ 2147483647 w 282"/>
                <a:gd name="T85" fmla="*/ 2147483647 h 317"/>
                <a:gd name="T86" fmla="*/ 2147483647 w 282"/>
                <a:gd name="T87" fmla="*/ 2147483647 h 317"/>
                <a:gd name="T88" fmla="*/ 2147483647 w 282"/>
                <a:gd name="T89" fmla="*/ 2147483647 h 317"/>
                <a:gd name="T90" fmla="*/ 2147483647 w 282"/>
                <a:gd name="T91" fmla="*/ 2147483647 h 317"/>
                <a:gd name="T92" fmla="*/ 2147483647 w 282"/>
                <a:gd name="T93" fmla="*/ 2147483647 h 317"/>
                <a:gd name="T94" fmla="*/ 2147483647 w 282"/>
                <a:gd name="T95" fmla="*/ 2147483647 h 317"/>
                <a:gd name="T96" fmla="*/ 0 w 282"/>
                <a:gd name="T97" fmla="*/ 2147483647 h 31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82"/>
                <a:gd name="T148" fmla="*/ 0 h 317"/>
                <a:gd name="T149" fmla="*/ 282 w 282"/>
                <a:gd name="T150" fmla="*/ 317 h 31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82" h="317">
                  <a:moveTo>
                    <a:pt x="0" y="242"/>
                  </a:moveTo>
                  <a:lnTo>
                    <a:pt x="5" y="187"/>
                  </a:lnTo>
                  <a:lnTo>
                    <a:pt x="15" y="171"/>
                  </a:lnTo>
                  <a:lnTo>
                    <a:pt x="22" y="159"/>
                  </a:lnTo>
                  <a:lnTo>
                    <a:pt x="34" y="134"/>
                  </a:lnTo>
                  <a:lnTo>
                    <a:pt x="27" y="129"/>
                  </a:lnTo>
                  <a:lnTo>
                    <a:pt x="30" y="106"/>
                  </a:lnTo>
                  <a:lnTo>
                    <a:pt x="57" y="78"/>
                  </a:lnTo>
                  <a:lnTo>
                    <a:pt x="55" y="60"/>
                  </a:lnTo>
                  <a:lnTo>
                    <a:pt x="75" y="31"/>
                  </a:lnTo>
                  <a:lnTo>
                    <a:pt x="94" y="34"/>
                  </a:lnTo>
                  <a:lnTo>
                    <a:pt x="128" y="13"/>
                  </a:lnTo>
                  <a:lnTo>
                    <a:pt x="136" y="0"/>
                  </a:lnTo>
                  <a:lnTo>
                    <a:pt x="161" y="3"/>
                  </a:lnTo>
                  <a:lnTo>
                    <a:pt x="171" y="28"/>
                  </a:lnTo>
                  <a:lnTo>
                    <a:pt x="181" y="46"/>
                  </a:lnTo>
                  <a:lnTo>
                    <a:pt x="207" y="46"/>
                  </a:lnTo>
                  <a:lnTo>
                    <a:pt x="221" y="31"/>
                  </a:lnTo>
                  <a:lnTo>
                    <a:pt x="242" y="50"/>
                  </a:lnTo>
                  <a:lnTo>
                    <a:pt x="281" y="38"/>
                  </a:lnTo>
                  <a:lnTo>
                    <a:pt x="256" y="91"/>
                  </a:lnTo>
                  <a:lnTo>
                    <a:pt x="242" y="84"/>
                  </a:lnTo>
                  <a:lnTo>
                    <a:pt x="231" y="88"/>
                  </a:lnTo>
                  <a:lnTo>
                    <a:pt x="231" y="93"/>
                  </a:lnTo>
                  <a:lnTo>
                    <a:pt x="244" y="106"/>
                  </a:lnTo>
                  <a:lnTo>
                    <a:pt x="242" y="153"/>
                  </a:lnTo>
                  <a:lnTo>
                    <a:pt x="244" y="169"/>
                  </a:lnTo>
                  <a:lnTo>
                    <a:pt x="242" y="171"/>
                  </a:lnTo>
                  <a:lnTo>
                    <a:pt x="224" y="169"/>
                  </a:lnTo>
                  <a:lnTo>
                    <a:pt x="214" y="179"/>
                  </a:lnTo>
                  <a:lnTo>
                    <a:pt x="221" y="190"/>
                  </a:lnTo>
                  <a:lnTo>
                    <a:pt x="203" y="206"/>
                  </a:lnTo>
                  <a:lnTo>
                    <a:pt x="207" y="213"/>
                  </a:lnTo>
                  <a:lnTo>
                    <a:pt x="189" y="222"/>
                  </a:lnTo>
                  <a:lnTo>
                    <a:pt x="191" y="234"/>
                  </a:lnTo>
                  <a:lnTo>
                    <a:pt x="185" y="242"/>
                  </a:lnTo>
                  <a:lnTo>
                    <a:pt x="161" y="242"/>
                  </a:lnTo>
                  <a:lnTo>
                    <a:pt x="147" y="250"/>
                  </a:lnTo>
                  <a:lnTo>
                    <a:pt x="143" y="253"/>
                  </a:lnTo>
                  <a:lnTo>
                    <a:pt x="157" y="263"/>
                  </a:lnTo>
                  <a:lnTo>
                    <a:pt x="143" y="281"/>
                  </a:lnTo>
                  <a:lnTo>
                    <a:pt x="125" y="300"/>
                  </a:lnTo>
                  <a:lnTo>
                    <a:pt x="118" y="297"/>
                  </a:lnTo>
                  <a:lnTo>
                    <a:pt x="101" y="316"/>
                  </a:lnTo>
                  <a:lnTo>
                    <a:pt x="79" y="274"/>
                  </a:lnTo>
                  <a:lnTo>
                    <a:pt x="62" y="253"/>
                  </a:lnTo>
                  <a:lnTo>
                    <a:pt x="48" y="256"/>
                  </a:lnTo>
                  <a:lnTo>
                    <a:pt x="41" y="250"/>
                  </a:lnTo>
                  <a:lnTo>
                    <a:pt x="0" y="242"/>
                  </a:lnTo>
                </a:path>
              </a:pathLst>
            </a:custGeom>
            <a:solidFill>
              <a:srgbClr val="C3D69B"/>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67" name="Freeform 33"/>
            <p:cNvSpPr>
              <a:spLocks noChangeAspect="1"/>
            </p:cNvSpPr>
            <p:nvPr>
              <p:custDataLst>
                <p:tags r:id="rId10"/>
              </p:custDataLst>
            </p:nvPr>
          </p:nvSpPr>
          <p:spPr bwMode="auto">
            <a:xfrm>
              <a:off x="5957888" y="4121150"/>
              <a:ext cx="538162" cy="711200"/>
            </a:xfrm>
            <a:custGeom>
              <a:avLst/>
              <a:gdLst>
                <a:gd name="T0" fmla="*/ 2147483647 w 312"/>
                <a:gd name="T1" fmla="*/ 2147483647 h 388"/>
                <a:gd name="T2" fmla="*/ 2147483647 w 312"/>
                <a:gd name="T3" fmla="*/ 2147483647 h 388"/>
                <a:gd name="T4" fmla="*/ 2147483647 w 312"/>
                <a:gd name="T5" fmla="*/ 2147483647 h 388"/>
                <a:gd name="T6" fmla="*/ 2147483647 w 312"/>
                <a:gd name="T7" fmla="*/ 2147483647 h 388"/>
                <a:gd name="T8" fmla="*/ 2147483647 w 312"/>
                <a:gd name="T9" fmla="*/ 2147483647 h 388"/>
                <a:gd name="T10" fmla="*/ 0 w 312"/>
                <a:gd name="T11" fmla="*/ 2147483647 h 388"/>
                <a:gd name="T12" fmla="*/ 2147483647 w 312"/>
                <a:gd name="T13" fmla="*/ 2147483647 h 388"/>
                <a:gd name="T14" fmla="*/ 2147483647 w 312"/>
                <a:gd name="T15" fmla="*/ 2147483647 h 388"/>
                <a:gd name="T16" fmla="*/ 2147483647 w 312"/>
                <a:gd name="T17" fmla="*/ 2147483647 h 388"/>
                <a:gd name="T18" fmla="*/ 2147483647 w 312"/>
                <a:gd name="T19" fmla="*/ 2147483647 h 388"/>
                <a:gd name="T20" fmla="*/ 2147483647 w 312"/>
                <a:gd name="T21" fmla="*/ 2147483647 h 388"/>
                <a:gd name="T22" fmla="*/ 2147483647 w 312"/>
                <a:gd name="T23" fmla="*/ 2147483647 h 388"/>
                <a:gd name="T24" fmla="*/ 2147483647 w 312"/>
                <a:gd name="T25" fmla="*/ 2147483647 h 388"/>
                <a:gd name="T26" fmla="*/ 2147483647 w 312"/>
                <a:gd name="T27" fmla="*/ 2147483647 h 388"/>
                <a:gd name="T28" fmla="*/ 2147483647 w 312"/>
                <a:gd name="T29" fmla="*/ 2147483647 h 388"/>
                <a:gd name="T30" fmla="*/ 2147483647 w 312"/>
                <a:gd name="T31" fmla="*/ 2147483647 h 388"/>
                <a:gd name="T32" fmla="*/ 2147483647 w 312"/>
                <a:gd name="T33" fmla="*/ 2147483647 h 388"/>
                <a:gd name="T34" fmla="*/ 2147483647 w 312"/>
                <a:gd name="T35" fmla="*/ 2147483647 h 388"/>
                <a:gd name="T36" fmla="*/ 2147483647 w 312"/>
                <a:gd name="T37" fmla="*/ 2147483647 h 388"/>
                <a:gd name="T38" fmla="*/ 2147483647 w 312"/>
                <a:gd name="T39" fmla="*/ 2147483647 h 388"/>
                <a:gd name="T40" fmla="*/ 2147483647 w 312"/>
                <a:gd name="T41" fmla="*/ 2147483647 h 388"/>
                <a:gd name="T42" fmla="*/ 2147483647 w 312"/>
                <a:gd name="T43" fmla="*/ 2147483647 h 388"/>
                <a:gd name="T44" fmla="*/ 2147483647 w 312"/>
                <a:gd name="T45" fmla="*/ 2147483647 h 388"/>
                <a:gd name="T46" fmla="*/ 2147483647 w 312"/>
                <a:gd name="T47" fmla="*/ 2147483647 h 388"/>
                <a:gd name="T48" fmla="*/ 2147483647 w 312"/>
                <a:gd name="T49" fmla="*/ 2147483647 h 388"/>
                <a:gd name="T50" fmla="*/ 2147483647 w 312"/>
                <a:gd name="T51" fmla="*/ 2147483647 h 388"/>
                <a:gd name="T52" fmla="*/ 2147483647 w 312"/>
                <a:gd name="T53" fmla="*/ 2147483647 h 388"/>
                <a:gd name="T54" fmla="*/ 2147483647 w 312"/>
                <a:gd name="T55" fmla="*/ 2147483647 h 388"/>
                <a:gd name="T56" fmla="*/ 2147483647 w 312"/>
                <a:gd name="T57" fmla="*/ 2147483647 h 388"/>
                <a:gd name="T58" fmla="*/ 2147483647 w 312"/>
                <a:gd name="T59" fmla="*/ 2147483647 h 388"/>
                <a:gd name="T60" fmla="*/ 2147483647 w 312"/>
                <a:gd name="T61" fmla="*/ 2147483647 h 388"/>
                <a:gd name="T62" fmla="*/ 2147483647 w 312"/>
                <a:gd name="T63" fmla="*/ 2147483647 h 388"/>
                <a:gd name="T64" fmla="*/ 2147483647 w 312"/>
                <a:gd name="T65" fmla="*/ 2147483647 h 388"/>
                <a:gd name="T66" fmla="*/ 2147483647 w 312"/>
                <a:gd name="T67" fmla="*/ 2147483647 h 388"/>
                <a:gd name="T68" fmla="*/ 2147483647 w 312"/>
                <a:gd name="T69" fmla="*/ 2147483647 h 388"/>
                <a:gd name="T70" fmla="*/ 2147483647 w 312"/>
                <a:gd name="T71" fmla="*/ 2147483647 h 388"/>
                <a:gd name="T72" fmla="*/ 2147483647 w 312"/>
                <a:gd name="T73" fmla="*/ 2147483647 h 388"/>
                <a:gd name="T74" fmla="*/ 2147483647 w 312"/>
                <a:gd name="T75" fmla="*/ 2147483647 h 388"/>
                <a:gd name="T76" fmla="*/ 2147483647 w 312"/>
                <a:gd name="T77" fmla="*/ 2147483647 h 388"/>
                <a:gd name="T78" fmla="*/ 2147483647 w 312"/>
                <a:gd name="T79" fmla="*/ 2147483647 h 388"/>
                <a:gd name="T80" fmla="*/ 2147483647 w 312"/>
                <a:gd name="T81" fmla="*/ 2147483647 h 388"/>
                <a:gd name="T82" fmla="*/ 2147483647 w 312"/>
                <a:gd name="T83" fmla="*/ 2147483647 h 388"/>
                <a:gd name="T84" fmla="*/ 2147483647 w 312"/>
                <a:gd name="T85" fmla="*/ 2147483647 h 388"/>
                <a:gd name="T86" fmla="*/ 2147483647 w 312"/>
                <a:gd name="T87" fmla="*/ 2147483647 h 388"/>
                <a:gd name="T88" fmla="*/ 2147483647 w 312"/>
                <a:gd name="T89" fmla="*/ 2147483647 h 388"/>
                <a:gd name="T90" fmla="*/ 2147483647 w 312"/>
                <a:gd name="T91" fmla="*/ 2147483647 h 388"/>
                <a:gd name="T92" fmla="*/ 2147483647 w 312"/>
                <a:gd name="T93" fmla="*/ 2147483647 h 388"/>
                <a:gd name="T94" fmla="*/ 2147483647 w 312"/>
                <a:gd name="T95" fmla="*/ 2147483647 h 388"/>
                <a:gd name="T96" fmla="*/ 2147483647 w 312"/>
                <a:gd name="T97" fmla="*/ 2147483647 h 388"/>
                <a:gd name="T98" fmla="*/ 2147483647 w 312"/>
                <a:gd name="T99" fmla="*/ 0 h 388"/>
                <a:gd name="T100" fmla="*/ 2147483647 w 312"/>
                <a:gd name="T101" fmla="*/ 2147483647 h 388"/>
                <a:gd name="T102" fmla="*/ 2147483647 w 312"/>
                <a:gd name="T103" fmla="*/ 2147483647 h 388"/>
                <a:gd name="T104" fmla="*/ 2147483647 w 312"/>
                <a:gd name="T105" fmla="*/ 2147483647 h 388"/>
                <a:gd name="T106" fmla="*/ 2147483647 w 312"/>
                <a:gd name="T107" fmla="*/ 2147483647 h 388"/>
                <a:gd name="T108" fmla="*/ 2147483647 w 312"/>
                <a:gd name="T109" fmla="*/ 2147483647 h 388"/>
                <a:gd name="T110" fmla="*/ 2147483647 w 312"/>
                <a:gd name="T111" fmla="*/ 2147483647 h 3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12"/>
                <a:gd name="T169" fmla="*/ 0 h 388"/>
                <a:gd name="T170" fmla="*/ 312 w 312"/>
                <a:gd name="T171" fmla="*/ 388 h 3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12" h="388">
                  <a:moveTo>
                    <a:pt x="5" y="84"/>
                  </a:moveTo>
                  <a:lnTo>
                    <a:pt x="28" y="119"/>
                  </a:lnTo>
                  <a:lnTo>
                    <a:pt x="28" y="138"/>
                  </a:lnTo>
                  <a:lnTo>
                    <a:pt x="16" y="157"/>
                  </a:lnTo>
                  <a:lnTo>
                    <a:pt x="2" y="166"/>
                  </a:lnTo>
                  <a:lnTo>
                    <a:pt x="0" y="197"/>
                  </a:lnTo>
                  <a:lnTo>
                    <a:pt x="2" y="205"/>
                  </a:lnTo>
                  <a:lnTo>
                    <a:pt x="12" y="201"/>
                  </a:lnTo>
                  <a:lnTo>
                    <a:pt x="16" y="205"/>
                  </a:lnTo>
                  <a:lnTo>
                    <a:pt x="16" y="226"/>
                  </a:lnTo>
                  <a:lnTo>
                    <a:pt x="28" y="248"/>
                  </a:lnTo>
                  <a:lnTo>
                    <a:pt x="42" y="254"/>
                  </a:lnTo>
                  <a:lnTo>
                    <a:pt x="42" y="289"/>
                  </a:lnTo>
                  <a:lnTo>
                    <a:pt x="35" y="315"/>
                  </a:lnTo>
                  <a:lnTo>
                    <a:pt x="42" y="324"/>
                  </a:lnTo>
                  <a:lnTo>
                    <a:pt x="55" y="337"/>
                  </a:lnTo>
                  <a:lnTo>
                    <a:pt x="88" y="330"/>
                  </a:lnTo>
                  <a:lnTo>
                    <a:pt x="95" y="339"/>
                  </a:lnTo>
                  <a:lnTo>
                    <a:pt x="84" y="353"/>
                  </a:lnTo>
                  <a:lnTo>
                    <a:pt x="65" y="374"/>
                  </a:lnTo>
                  <a:lnTo>
                    <a:pt x="65" y="380"/>
                  </a:lnTo>
                  <a:lnTo>
                    <a:pt x="76" y="387"/>
                  </a:lnTo>
                  <a:lnTo>
                    <a:pt x="144" y="363"/>
                  </a:lnTo>
                  <a:lnTo>
                    <a:pt x="169" y="374"/>
                  </a:lnTo>
                  <a:lnTo>
                    <a:pt x="176" y="368"/>
                  </a:lnTo>
                  <a:lnTo>
                    <a:pt x="169" y="355"/>
                  </a:lnTo>
                  <a:lnTo>
                    <a:pt x="171" y="346"/>
                  </a:lnTo>
                  <a:lnTo>
                    <a:pt x="178" y="292"/>
                  </a:lnTo>
                  <a:lnTo>
                    <a:pt x="190" y="276"/>
                  </a:lnTo>
                  <a:lnTo>
                    <a:pt x="197" y="264"/>
                  </a:lnTo>
                  <a:lnTo>
                    <a:pt x="207" y="239"/>
                  </a:lnTo>
                  <a:lnTo>
                    <a:pt x="200" y="233"/>
                  </a:lnTo>
                  <a:lnTo>
                    <a:pt x="204" y="210"/>
                  </a:lnTo>
                  <a:lnTo>
                    <a:pt x="231" y="181"/>
                  </a:lnTo>
                  <a:lnTo>
                    <a:pt x="228" y="163"/>
                  </a:lnTo>
                  <a:lnTo>
                    <a:pt x="250" y="134"/>
                  </a:lnTo>
                  <a:lnTo>
                    <a:pt x="267" y="138"/>
                  </a:lnTo>
                  <a:lnTo>
                    <a:pt x="302" y="115"/>
                  </a:lnTo>
                  <a:lnTo>
                    <a:pt x="311" y="103"/>
                  </a:lnTo>
                  <a:lnTo>
                    <a:pt x="289" y="62"/>
                  </a:lnTo>
                  <a:lnTo>
                    <a:pt x="271" y="43"/>
                  </a:lnTo>
                  <a:lnTo>
                    <a:pt x="281" y="33"/>
                  </a:lnTo>
                  <a:lnTo>
                    <a:pt x="267" y="21"/>
                  </a:lnTo>
                  <a:lnTo>
                    <a:pt x="231" y="21"/>
                  </a:lnTo>
                  <a:lnTo>
                    <a:pt x="218" y="9"/>
                  </a:lnTo>
                  <a:lnTo>
                    <a:pt x="190" y="33"/>
                  </a:lnTo>
                  <a:lnTo>
                    <a:pt x="178" y="28"/>
                  </a:lnTo>
                  <a:lnTo>
                    <a:pt x="190" y="9"/>
                  </a:lnTo>
                  <a:lnTo>
                    <a:pt x="190" y="2"/>
                  </a:lnTo>
                  <a:lnTo>
                    <a:pt x="178" y="0"/>
                  </a:lnTo>
                  <a:lnTo>
                    <a:pt x="144" y="16"/>
                  </a:lnTo>
                  <a:lnTo>
                    <a:pt x="118" y="23"/>
                  </a:lnTo>
                  <a:lnTo>
                    <a:pt x="95" y="21"/>
                  </a:lnTo>
                  <a:lnTo>
                    <a:pt x="48" y="62"/>
                  </a:lnTo>
                  <a:lnTo>
                    <a:pt x="23" y="69"/>
                  </a:lnTo>
                  <a:lnTo>
                    <a:pt x="5" y="84"/>
                  </a:lnTo>
                </a:path>
              </a:pathLst>
            </a:custGeom>
            <a:solidFill>
              <a:schemeClr val="accent3">
                <a:lumMod val="60000"/>
                <a:lumOff val="40000"/>
              </a:schemeClr>
            </a:solidFill>
            <a:ln w="3175" cap="rnd">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68" name="Freeform 35"/>
            <p:cNvSpPr>
              <a:spLocks noChangeAspect="1"/>
            </p:cNvSpPr>
            <p:nvPr>
              <p:custDataLst>
                <p:tags r:id="rId11"/>
              </p:custDataLst>
            </p:nvPr>
          </p:nvSpPr>
          <p:spPr bwMode="auto">
            <a:xfrm>
              <a:off x="4818063" y="4316413"/>
              <a:ext cx="688975" cy="576262"/>
            </a:xfrm>
            <a:custGeom>
              <a:avLst/>
              <a:gdLst>
                <a:gd name="T0" fmla="*/ 2147483647 w 401"/>
                <a:gd name="T1" fmla="*/ 2147483647 h 314"/>
                <a:gd name="T2" fmla="*/ 2147483647 w 401"/>
                <a:gd name="T3" fmla="*/ 2147483647 h 314"/>
                <a:gd name="T4" fmla="*/ 2147483647 w 401"/>
                <a:gd name="T5" fmla="*/ 2147483647 h 314"/>
                <a:gd name="T6" fmla="*/ 2147483647 w 401"/>
                <a:gd name="T7" fmla="*/ 2147483647 h 314"/>
                <a:gd name="T8" fmla="*/ 2147483647 w 401"/>
                <a:gd name="T9" fmla="*/ 2147483647 h 314"/>
                <a:gd name="T10" fmla="*/ 2147483647 w 401"/>
                <a:gd name="T11" fmla="*/ 2147483647 h 314"/>
                <a:gd name="T12" fmla="*/ 0 w 401"/>
                <a:gd name="T13" fmla="*/ 2147483647 h 314"/>
                <a:gd name="T14" fmla="*/ 2147483647 w 401"/>
                <a:gd name="T15" fmla="*/ 2147483647 h 314"/>
                <a:gd name="T16" fmla="*/ 2147483647 w 401"/>
                <a:gd name="T17" fmla="*/ 2147483647 h 314"/>
                <a:gd name="T18" fmla="*/ 2147483647 w 401"/>
                <a:gd name="T19" fmla="*/ 2147483647 h 314"/>
                <a:gd name="T20" fmla="*/ 2147483647 w 401"/>
                <a:gd name="T21" fmla="*/ 2147483647 h 314"/>
                <a:gd name="T22" fmla="*/ 2147483647 w 401"/>
                <a:gd name="T23" fmla="*/ 2147483647 h 314"/>
                <a:gd name="T24" fmla="*/ 2147483647 w 401"/>
                <a:gd name="T25" fmla="*/ 2147483647 h 314"/>
                <a:gd name="T26" fmla="*/ 2147483647 w 401"/>
                <a:gd name="T27" fmla="*/ 2147483647 h 314"/>
                <a:gd name="T28" fmla="*/ 2147483647 w 401"/>
                <a:gd name="T29" fmla="*/ 2147483647 h 314"/>
                <a:gd name="T30" fmla="*/ 2147483647 w 401"/>
                <a:gd name="T31" fmla="*/ 2147483647 h 314"/>
                <a:gd name="T32" fmla="*/ 2147483647 w 401"/>
                <a:gd name="T33" fmla="*/ 2147483647 h 314"/>
                <a:gd name="T34" fmla="*/ 2147483647 w 401"/>
                <a:gd name="T35" fmla="*/ 2147483647 h 314"/>
                <a:gd name="T36" fmla="*/ 2147483647 w 401"/>
                <a:gd name="T37" fmla="*/ 2147483647 h 314"/>
                <a:gd name="T38" fmla="*/ 2147483647 w 401"/>
                <a:gd name="T39" fmla="*/ 2147483647 h 314"/>
                <a:gd name="T40" fmla="*/ 2147483647 w 401"/>
                <a:gd name="T41" fmla="*/ 2147483647 h 314"/>
                <a:gd name="T42" fmla="*/ 2147483647 w 401"/>
                <a:gd name="T43" fmla="*/ 2147483647 h 314"/>
                <a:gd name="T44" fmla="*/ 2147483647 w 401"/>
                <a:gd name="T45" fmla="*/ 2147483647 h 314"/>
                <a:gd name="T46" fmla="*/ 2147483647 w 401"/>
                <a:gd name="T47" fmla="*/ 2147483647 h 314"/>
                <a:gd name="T48" fmla="*/ 2147483647 w 401"/>
                <a:gd name="T49" fmla="*/ 2147483647 h 314"/>
                <a:gd name="T50" fmla="*/ 2147483647 w 401"/>
                <a:gd name="T51" fmla="*/ 2147483647 h 314"/>
                <a:gd name="T52" fmla="*/ 2147483647 w 401"/>
                <a:gd name="T53" fmla="*/ 2147483647 h 314"/>
                <a:gd name="T54" fmla="*/ 2147483647 w 401"/>
                <a:gd name="T55" fmla="*/ 2147483647 h 314"/>
                <a:gd name="T56" fmla="*/ 2147483647 w 401"/>
                <a:gd name="T57" fmla="*/ 2147483647 h 314"/>
                <a:gd name="T58" fmla="*/ 2147483647 w 401"/>
                <a:gd name="T59" fmla="*/ 2147483647 h 314"/>
                <a:gd name="T60" fmla="*/ 2147483647 w 401"/>
                <a:gd name="T61" fmla="*/ 2147483647 h 314"/>
                <a:gd name="T62" fmla="*/ 2147483647 w 401"/>
                <a:gd name="T63" fmla="*/ 2147483647 h 314"/>
                <a:gd name="T64" fmla="*/ 2147483647 w 401"/>
                <a:gd name="T65" fmla="*/ 2147483647 h 314"/>
                <a:gd name="T66" fmla="*/ 2147483647 w 401"/>
                <a:gd name="T67" fmla="*/ 2147483647 h 314"/>
                <a:gd name="T68" fmla="*/ 2147483647 w 401"/>
                <a:gd name="T69" fmla="*/ 2147483647 h 314"/>
                <a:gd name="T70" fmla="*/ 2147483647 w 401"/>
                <a:gd name="T71" fmla="*/ 2147483647 h 314"/>
                <a:gd name="T72" fmla="*/ 2147483647 w 401"/>
                <a:gd name="T73" fmla="*/ 2147483647 h 314"/>
                <a:gd name="T74" fmla="*/ 2147483647 w 401"/>
                <a:gd name="T75" fmla="*/ 2147483647 h 314"/>
                <a:gd name="T76" fmla="*/ 2147483647 w 401"/>
                <a:gd name="T77" fmla="*/ 2147483647 h 314"/>
                <a:gd name="T78" fmla="*/ 2147483647 w 401"/>
                <a:gd name="T79" fmla="*/ 2147483647 h 314"/>
                <a:gd name="T80" fmla="*/ 2147483647 w 401"/>
                <a:gd name="T81" fmla="*/ 2147483647 h 314"/>
                <a:gd name="T82" fmla="*/ 2147483647 w 401"/>
                <a:gd name="T83" fmla="*/ 2147483647 h 314"/>
                <a:gd name="T84" fmla="*/ 2147483647 w 401"/>
                <a:gd name="T85" fmla="*/ 2147483647 h 314"/>
                <a:gd name="T86" fmla="*/ 2147483647 w 401"/>
                <a:gd name="T87" fmla="*/ 2147483647 h 314"/>
                <a:gd name="T88" fmla="*/ 2147483647 w 401"/>
                <a:gd name="T89" fmla="*/ 2147483647 h 314"/>
                <a:gd name="T90" fmla="*/ 2147483647 w 401"/>
                <a:gd name="T91" fmla="*/ 2147483647 h 314"/>
                <a:gd name="T92" fmla="*/ 2147483647 w 401"/>
                <a:gd name="T93" fmla="*/ 2147483647 h 314"/>
                <a:gd name="T94" fmla="*/ 2147483647 w 401"/>
                <a:gd name="T95" fmla="*/ 0 h 314"/>
                <a:gd name="T96" fmla="*/ 2147483647 w 401"/>
                <a:gd name="T97" fmla="*/ 2147483647 h 314"/>
                <a:gd name="T98" fmla="*/ 2147483647 w 401"/>
                <a:gd name="T99" fmla="*/ 2147483647 h 314"/>
                <a:gd name="T100" fmla="*/ 2147483647 w 401"/>
                <a:gd name="T101" fmla="*/ 2147483647 h 314"/>
                <a:gd name="T102" fmla="*/ 2147483647 w 401"/>
                <a:gd name="T103" fmla="*/ 2147483647 h 314"/>
                <a:gd name="T104" fmla="*/ 2147483647 w 401"/>
                <a:gd name="T105" fmla="*/ 2147483647 h 314"/>
                <a:gd name="T106" fmla="*/ 2147483647 w 401"/>
                <a:gd name="T107" fmla="*/ 2147483647 h 314"/>
                <a:gd name="T108" fmla="*/ 2147483647 w 401"/>
                <a:gd name="T109" fmla="*/ 2147483647 h 314"/>
                <a:gd name="T110" fmla="*/ 2147483647 w 401"/>
                <a:gd name="T111" fmla="*/ 2147483647 h 314"/>
                <a:gd name="T112" fmla="*/ 2147483647 w 401"/>
                <a:gd name="T113" fmla="*/ 2147483647 h 314"/>
                <a:gd name="T114" fmla="*/ 2147483647 w 401"/>
                <a:gd name="T115" fmla="*/ 2147483647 h 314"/>
                <a:gd name="T116" fmla="*/ 2147483647 w 401"/>
                <a:gd name="T117" fmla="*/ 2147483647 h 314"/>
                <a:gd name="T118" fmla="*/ 2147483647 w 401"/>
                <a:gd name="T119" fmla="*/ 2147483647 h 31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01"/>
                <a:gd name="T181" fmla="*/ 0 h 314"/>
                <a:gd name="T182" fmla="*/ 401 w 401"/>
                <a:gd name="T183" fmla="*/ 314 h 31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01" h="314">
                  <a:moveTo>
                    <a:pt x="112" y="102"/>
                  </a:moveTo>
                  <a:lnTo>
                    <a:pt x="102" y="128"/>
                  </a:lnTo>
                  <a:lnTo>
                    <a:pt x="83" y="134"/>
                  </a:lnTo>
                  <a:lnTo>
                    <a:pt x="49" y="128"/>
                  </a:lnTo>
                  <a:lnTo>
                    <a:pt x="38" y="137"/>
                  </a:lnTo>
                  <a:lnTo>
                    <a:pt x="20" y="130"/>
                  </a:lnTo>
                  <a:lnTo>
                    <a:pt x="0" y="153"/>
                  </a:lnTo>
                  <a:lnTo>
                    <a:pt x="10" y="162"/>
                  </a:lnTo>
                  <a:lnTo>
                    <a:pt x="10" y="175"/>
                  </a:lnTo>
                  <a:lnTo>
                    <a:pt x="16" y="191"/>
                  </a:lnTo>
                  <a:lnTo>
                    <a:pt x="56" y="178"/>
                  </a:lnTo>
                  <a:lnTo>
                    <a:pt x="66" y="187"/>
                  </a:lnTo>
                  <a:lnTo>
                    <a:pt x="49" y="250"/>
                  </a:lnTo>
                  <a:lnTo>
                    <a:pt x="73" y="271"/>
                  </a:lnTo>
                  <a:lnTo>
                    <a:pt x="66" y="306"/>
                  </a:lnTo>
                  <a:lnTo>
                    <a:pt x="87" y="309"/>
                  </a:lnTo>
                  <a:lnTo>
                    <a:pt x="112" y="288"/>
                  </a:lnTo>
                  <a:lnTo>
                    <a:pt x="118" y="294"/>
                  </a:lnTo>
                  <a:lnTo>
                    <a:pt x="164" y="313"/>
                  </a:lnTo>
                  <a:lnTo>
                    <a:pt x="174" y="306"/>
                  </a:lnTo>
                  <a:lnTo>
                    <a:pt x="174" y="294"/>
                  </a:lnTo>
                  <a:lnTo>
                    <a:pt x="184" y="284"/>
                  </a:lnTo>
                  <a:lnTo>
                    <a:pt x="248" y="246"/>
                  </a:lnTo>
                  <a:lnTo>
                    <a:pt x="260" y="260"/>
                  </a:lnTo>
                  <a:lnTo>
                    <a:pt x="297" y="271"/>
                  </a:lnTo>
                  <a:lnTo>
                    <a:pt x="323" y="243"/>
                  </a:lnTo>
                  <a:lnTo>
                    <a:pt x="329" y="250"/>
                  </a:lnTo>
                  <a:lnTo>
                    <a:pt x="347" y="250"/>
                  </a:lnTo>
                  <a:lnTo>
                    <a:pt x="347" y="243"/>
                  </a:lnTo>
                  <a:lnTo>
                    <a:pt x="367" y="238"/>
                  </a:lnTo>
                  <a:lnTo>
                    <a:pt x="367" y="231"/>
                  </a:lnTo>
                  <a:lnTo>
                    <a:pt x="375" y="224"/>
                  </a:lnTo>
                  <a:lnTo>
                    <a:pt x="378" y="224"/>
                  </a:lnTo>
                  <a:lnTo>
                    <a:pt x="400" y="206"/>
                  </a:lnTo>
                  <a:lnTo>
                    <a:pt x="382" y="182"/>
                  </a:lnTo>
                  <a:lnTo>
                    <a:pt x="392" y="144"/>
                  </a:lnTo>
                  <a:lnTo>
                    <a:pt x="382" y="130"/>
                  </a:lnTo>
                  <a:lnTo>
                    <a:pt x="349" y="137"/>
                  </a:lnTo>
                  <a:lnTo>
                    <a:pt x="347" y="134"/>
                  </a:lnTo>
                  <a:lnTo>
                    <a:pt x="382" y="100"/>
                  </a:lnTo>
                  <a:lnTo>
                    <a:pt x="367" y="50"/>
                  </a:lnTo>
                  <a:lnTo>
                    <a:pt x="343" y="62"/>
                  </a:lnTo>
                  <a:lnTo>
                    <a:pt x="325" y="46"/>
                  </a:lnTo>
                  <a:lnTo>
                    <a:pt x="304" y="21"/>
                  </a:lnTo>
                  <a:lnTo>
                    <a:pt x="304" y="9"/>
                  </a:lnTo>
                  <a:lnTo>
                    <a:pt x="290" y="6"/>
                  </a:lnTo>
                  <a:lnTo>
                    <a:pt x="276" y="12"/>
                  </a:lnTo>
                  <a:lnTo>
                    <a:pt x="248" y="0"/>
                  </a:lnTo>
                  <a:lnTo>
                    <a:pt x="237" y="24"/>
                  </a:lnTo>
                  <a:lnTo>
                    <a:pt x="217" y="28"/>
                  </a:lnTo>
                  <a:lnTo>
                    <a:pt x="200" y="50"/>
                  </a:lnTo>
                  <a:lnTo>
                    <a:pt x="191" y="43"/>
                  </a:lnTo>
                  <a:lnTo>
                    <a:pt x="174" y="50"/>
                  </a:lnTo>
                  <a:lnTo>
                    <a:pt x="154" y="37"/>
                  </a:lnTo>
                  <a:lnTo>
                    <a:pt x="132" y="56"/>
                  </a:lnTo>
                  <a:lnTo>
                    <a:pt x="132" y="66"/>
                  </a:lnTo>
                  <a:lnTo>
                    <a:pt x="171" y="84"/>
                  </a:lnTo>
                  <a:lnTo>
                    <a:pt x="178" y="98"/>
                  </a:lnTo>
                  <a:lnTo>
                    <a:pt x="154" y="106"/>
                  </a:lnTo>
                  <a:lnTo>
                    <a:pt x="112" y="102"/>
                  </a:lnTo>
                </a:path>
              </a:pathLst>
            </a:custGeom>
            <a:solidFill>
              <a:srgbClr val="D9D9D9"/>
            </a:solidFill>
            <a:ln w="3175" cap="rnd" algn="ctr">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69" name="Freeform 36"/>
            <p:cNvSpPr>
              <a:spLocks noChangeAspect="1"/>
            </p:cNvSpPr>
            <p:nvPr>
              <p:custDataLst>
                <p:tags r:id="rId12"/>
              </p:custDataLst>
            </p:nvPr>
          </p:nvSpPr>
          <p:spPr bwMode="auto">
            <a:xfrm>
              <a:off x="6145213" y="3489325"/>
              <a:ext cx="641350" cy="479425"/>
            </a:xfrm>
            <a:custGeom>
              <a:avLst/>
              <a:gdLst>
                <a:gd name="T0" fmla="*/ 2147483647 w 372"/>
                <a:gd name="T1" fmla="*/ 2147483647 h 261"/>
                <a:gd name="T2" fmla="*/ 2147483647 w 372"/>
                <a:gd name="T3" fmla="*/ 2147483647 h 261"/>
                <a:gd name="T4" fmla="*/ 2147483647 w 372"/>
                <a:gd name="T5" fmla="*/ 2147483647 h 261"/>
                <a:gd name="T6" fmla="*/ 2147483647 w 372"/>
                <a:gd name="T7" fmla="*/ 2147483647 h 261"/>
                <a:gd name="T8" fmla="*/ 2147483647 w 372"/>
                <a:gd name="T9" fmla="*/ 2147483647 h 261"/>
                <a:gd name="T10" fmla="*/ 2147483647 w 372"/>
                <a:gd name="T11" fmla="*/ 2147483647 h 261"/>
                <a:gd name="T12" fmla="*/ 2147483647 w 372"/>
                <a:gd name="T13" fmla="*/ 2147483647 h 261"/>
                <a:gd name="T14" fmla="*/ 2147483647 w 372"/>
                <a:gd name="T15" fmla="*/ 2147483647 h 261"/>
                <a:gd name="T16" fmla="*/ 2147483647 w 372"/>
                <a:gd name="T17" fmla="*/ 2147483647 h 261"/>
                <a:gd name="T18" fmla="*/ 2147483647 w 372"/>
                <a:gd name="T19" fmla="*/ 2147483647 h 261"/>
                <a:gd name="T20" fmla="*/ 2147483647 w 372"/>
                <a:gd name="T21" fmla="*/ 2147483647 h 261"/>
                <a:gd name="T22" fmla="*/ 2147483647 w 372"/>
                <a:gd name="T23" fmla="*/ 2147483647 h 261"/>
                <a:gd name="T24" fmla="*/ 2147483647 w 372"/>
                <a:gd name="T25" fmla="*/ 2147483647 h 261"/>
                <a:gd name="T26" fmla="*/ 2147483647 w 372"/>
                <a:gd name="T27" fmla="*/ 2147483647 h 261"/>
                <a:gd name="T28" fmla="*/ 2147483647 w 372"/>
                <a:gd name="T29" fmla="*/ 2147483647 h 261"/>
                <a:gd name="T30" fmla="*/ 2147483647 w 372"/>
                <a:gd name="T31" fmla="*/ 2147483647 h 261"/>
                <a:gd name="T32" fmla="*/ 2147483647 w 372"/>
                <a:gd name="T33" fmla="*/ 2147483647 h 261"/>
                <a:gd name="T34" fmla="*/ 2147483647 w 372"/>
                <a:gd name="T35" fmla="*/ 2147483647 h 261"/>
                <a:gd name="T36" fmla="*/ 2147483647 w 372"/>
                <a:gd name="T37" fmla="*/ 2147483647 h 261"/>
                <a:gd name="T38" fmla="*/ 2147483647 w 372"/>
                <a:gd name="T39" fmla="*/ 2147483647 h 261"/>
                <a:gd name="T40" fmla="*/ 2147483647 w 372"/>
                <a:gd name="T41" fmla="*/ 2147483647 h 261"/>
                <a:gd name="T42" fmla="*/ 2147483647 w 372"/>
                <a:gd name="T43" fmla="*/ 2147483647 h 261"/>
                <a:gd name="T44" fmla="*/ 2147483647 w 372"/>
                <a:gd name="T45" fmla="*/ 2147483647 h 261"/>
                <a:gd name="T46" fmla="*/ 2147483647 w 372"/>
                <a:gd name="T47" fmla="*/ 2147483647 h 261"/>
                <a:gd name="T48" fmla="*/ 2147483647 w 372"/>
                <a:gd name="T49" fmla="*/ 2147483647 h 261"/>
                <a:gd name="T50" fmla="*/ 2147483647 w 372"/>
                <a:gd name="T51" fmla="*/ 2147483647 h 261"/>
                <a:gd name="T52" fmla="*/ 2147483647 w 372"/>
                <a:gd name="T53" fmla="*/ 2147483647 h 261"/>
                <a:gd name="T54" fmla="*/ 2147483647 w 372"/>
                <a:gd name="T55" fmla="*/ 2147483647 h 261"/>
                <a:gd name="T56" fmla="*/ 0 w 372"/>
                <a:gd name="T57" fmla="*/ 2147483647 h 261"/>
                <a:gd name="T58" fmla="*/ 2147483647 w 372"/>
                <a:gd name="T59" fmla="*/ 2147483647 h 261"/>
                <a:gd name="T60" fmla="*/ 2147483647 w 372"/>
                <a:gd name="T61" fmla="*/ 2147483647 h 261"/>
                <a:gd name="T62" fmla="*/ 2147483647 w 372"/>
                <a:gd name="T63" fmla="*/ 2147483647 h 261"/>
                <a:gd name="T64" fmla="*/ 2147483647 w 372"/>
                <a:gd name="T65" fmla="*/ 2147483647 h 261"/>
                <a:gd name="T66" fmla="*/ 2147483647 w 372"/>
                <a:gd name="T67" fmla="*/ 2147483647 h 261"/>
                <a:gd name="T68" fmla="*/ 2147483647 w 372"/>
                <a:gd name="T69" fmla="*/ 2147483647 h 261"/>
                <a:gd name="T70" fmla="*/ 2147483647 w 372"/>
                <a:gd name="T71" fmla="*/ 2147483647 h 261"/>
                <a:gd name="T72" fmla="*/ 2147483647 w 372"/>
                <a:gd name="T73" fmla="*/ 2147483647 h 261"/>
                <a:gd name="T74" fmla="*/ 2147483647 w 372"/>
                <a:gd name="T75" fmla="*/ 2147483647 h 261"/>
                <a:gd name="T76" fmla="*/ 2147483647 w 372"/>
                <a:gd name="T77" fmla="*/ 2147483647 h 261"/>
                <a:gd name="T78" fmla="*/ 2147483647 w 372"/>
                <a:gd name="T79" fmla="*/ 2147483647 h 261"/>
                <a:gd name="T80" fmla="*/ 2147483647 w 372"/>
                <a:gd name="T81" fmla="*/ 0 h 261"/>
                <a:gd name="T82" fmla="*/ 2147483647 w 372"/>
                <a:gd name="T83" fmla="*/ 2147483647 h 261"/>
                <a:gd name="T84" fmla="*/ 2147483647 w 372"/>
                <a:gd name="T85" fmla="*/ 2147483647 h 261"/>
                <a:gd name="T86" fmla="*/ 2147483647 w 372"/>
                <a:gd name="T87" fmla="*/ 2147483647 h 261"/>
                <a:gd name="T88" fmla="*/ 2147483647 w 372"/>
                <a:gd name="T89" fmla="*/ 2147483647 h 261"/>
                <a:gd name="T90" fmla="*/ 2147483647 w 372"/>
                <a:gd name="T91" fmla="*/ 2147483647 h 261"/>
                <a:gd name="T92" fmla="*/ 2147483647 w 372"/>
                <a:gd name="T93" fmla="*/ 2147483647 h 261"/>
                <a:gd name="T94" fmla="*/ 2147483647 w 372"/>
                <a:gd name="T95" fmla="*/ 2147483647 h 261"/>
                <a:gd name="T96" fmla="*/ 2147483647 w 372"/>
                <a:gd name="T97" fmla="*/ 2147483647 h 261"/>
                <a:gd name="T98" fmla="*/ 2147483647 w 372"/>
                <a:gd name="T99" fmla="*/ 2147483647 h 261"/>
                <a:gd name="T100" fmla="*/ 2147483647 w 372"/>
                <a:gd name="T101" fmla="*/ 2147483647 h 261"/>
                <a:gd name="T102" fmla="*/ 2147483647 w 372"/>
                <a:gd name="T103" fmla="*/ 2147483647 h 261"/>
                <a:gd name="T104" fmla="*/ 2147483647 w 372"/>
                <a:gd name="T105" fmla="*/ 2147483647 h 261"/>
                <a:gd name="T106" fmla="*/ 2147483647 w 372"/>
                <a:gd name="T107" fmla="*/ 2147483647 h 261"/>
                <a:gd name="T108" fmla="*/ 2147483647 w 372"/>
                <a:gd name="T109" fmla="*/ 2147483647 h 261"/>
                <a:gd name="T110" fmla="*/ 2147483647 w 372"/>
                <a:gd name="T111" fmla="*/ 2147483647 h 261"/>
                <a:gd name="T112" fmla="*/ 2147483647 w 372"/>
                <a:gd name="T113" fmla="*/ 2147483647 h 26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72"/>
                <a:gd name="T172" fmla="*/ 0 h 261"/>
                <a:gd name="T173" fmla="*/ 372 w 372"/>
                <a:gd name="T174" fmla="*/ 261 h 26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72" h="261">
                  <a:moveTo>
                    <a:pt x="346" y="205"/>
                  </a:moveTo>
                  <a:lnTo>
                    <a:pt x="334" y="228"/>
                  </a:lnTo>
                  <a:lnTo>
                    <a:pt x="325" y="238"/>
                  </a:lnTo>
                  <a:lnTo>
                    <a:pt x="307" y="260"/>
                  </a:lnTo>
                  <a:lnTo>
                    <a:pt x="275" y="253"/>
                  </a:lnTo>
                  <a:lnTo>
                    <a:pt x="254" y="242"/>
                  </a:lnTo>
                  <a:lnTo>
                    <a:pt x="240" y="247"/>
                  </a:lnTo>
                  <a:lnTo>
                    <a:pt x="187" y="245"/>
                  </a:lnTo>
                  <a:lnTo>
                    <a:pt x="187" y="226"/>
                  </a:lnTo>
                  <a:lnTo>
                    <a:pt x="162" y="210"/>
                  </a:lnTo>
                  <a:lnTo>
                    <a:pt x="151" y="197"/>
                  </a:lnTo>
                  <a:lnTo>
                    <a:pt x="166" y="186"/>
                  </a:lnTo>
                  <a:lnTo>
                    <a:pt x="166" y="176"/>
                  </a:lnTo>
                  <a:lnTo>
                    <a:pt x="166" y="166"/>
                  </a:lnTo>
                  <a:lnTo>
                    <a:pt x="194" y="164"/>
                  </a:lnTo>
                  <a:lnTo>
                    <a:pt x="197" y="152"/>
                  </a:lnTo>
                  <a:lnTo>
                    <a:pt x="187" y="138"/>
                  </a:lnTo>
                  <a:lnTo>
                    <a:pt x="173" y="138"/>
                  </a:lnTo>
                  <a:lnTo>
                    <a:pt x="162" y="155"/>
                  </a:lnTo>
                  <a:lnTo>
                    <a:pt x="137" y="148"/>
                  </a:lnTo>
                  <a:lnTo>
                    <a:pt x="130" y="135"/>
                  </a:lnTo>
                  <a:lnTo>
                    <a:pt x="113" y="130"/>
                  </a:lnTo>
                  <a:lnTo>
                    <a:pt x="116" y="96"/>
                  </a:lnTo>
                  <a:lnTo>
                    <a:pt x="113" y="93"/>
                  </a:lnTo>
                  <a:lnTo>
                    <a:pt x="98" y="93"/>
                  </a:lnTo>
                  <a:lnTo>
                    <a:pt x="84" y="86"/>
                  </a:lnTo>
                  <a:lnTo>
                    <a:pt x="56" y="76"/>
                  </a:lnTo>
                  <a:lnTo>
                    <a:pt x="38" y="62"/>
                  </a:lnTo>
                  <a:lnTo>
                    <a:pt x="0" y="49"/>
                  </a:lnTo>
                  <a:lnTo>
                    <a:pt x="3" y="34"/>
                  </a:lnTo>
                  <a:lnTo>
                    <a:pt x="16" y="27"/>
                  </a:lnTo>
                  <a:lnTo>
                    <a:pt x="45" y="49"/>
                  </a:lnTo>
                  <a:lnTo>
                    <a:pt x="56" y="49"/>
                  </a:lnTo>
                  <a:lnTo>
                    <a:pt x="81" y="45"/>
                  </a:lnTo>
                  <a:lnTo>
                    <a:pt x="95" y="37"/>
                  </a:lnTo>
                  <a:lnTo>
                    <a:pt x="116" y="52"/>
                  </a:lnTo>
                  <a:lnTo>
                    <a:pt x="122" y="37"/>
                  </a:lnTo>
                  <a:lnTo>
                    <a:pt x="127" y="31"/>
                  </a:lnTo>
                  <a:lnTo>
                    <a:pt x="144" y="21"/>
                  </a:lnTo>
                  <a:lnTo>
                    <a:pt x="148" y="3"/>
                  </a:lnTo>
                  <a:lnTo>
                    <a:pt x="166" y="0"/>
                  </a:lnTo>
                  <a:lnTo>
                    <a:pt x="208" y="24"/>
                  </a:lnTo>
                  <a:lnTo>
                    <a:pt x="236" y="37"/>
                  </a:lnTo>
                  <a:lnTo>
                    <a:pt x="296" y="121"/>
                  </a:lnTo>
                  <a:lnTo>
                    <a:pt x="293" y="130"/>
                  </a:lnTo>
                  <a:lnTo>
                    <a:pt x="332" y="145"/>
                  </a:lnTo>
                  <a:lnTo>
                    <a:pt x="342" y="160"/>
                  </a:lnTo>
                  <a:lnTo>
                    <a:pt x="360" y="166"/>
                  </a:lnTo>
                  <a:lnTo>
                    <a:pt x="371" y="183"/>
                  </a:lnTo>
                  <a:lnTo>
                    <a:pt x="356" y="188"/>
                  </a:lnTo>
                  <a:lnTo>
                    <a:pt x="339" y="183"/>
                  </a:lnTo>
                  <a:lnTo>
                    <a:pt x="310" y="183"/>
                  </a:lnTo>
                  <a:lnTo>
                    <a:pt x="286" y="174"/>
                  </a:lnTo>
                  <a:lnTo>
                    <a:pt x="275" y="183"/>
                  </a:lnTo>
                  <a:lnTo>
                    <a:pt x="300" y="188"/>
                  </a:lnTo>
                  <a:lnTo>
                    <a:pt x="321" y="197"/>
                  </a:lnTo>
                  <a:lnTo>
                    <a:pt x="346" y="205"/>
                  </a:lnTo>
                </a:path>
              </a:pathLst>
            </a:custGeom>
            <a:solidFill>
              <a:srgbClr val="92D050"/>
            </a:solidFill>
            <a:ln w="3175" cap="rnd" algn="ctr">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70" name="Freeform 37"/>
            <p:cNvSpPr>
              <a:spLocks noChangeAspect="1"/>
            </p:cNvSpPr>
            <p:nvPr>
              <p:custDataLst>
                <p:tags r:id="rId13"/>
              </p:custDataLst>
            </p:nvPr>
          </p:nvSpPr>
          <p:spPr bwMode="auto">
            <a:xfrm>
              <a:off x="5343525" y="3800475"/>
              <a:ext cx="865188" cy="520700"/>
            </a:xfrm>
            <a:custGeom>
              <a:avLst/>
              <a:gdLst>
                <a:gd name="T0" fmla="*/ 2147483647 w 504"/>
                <a:gd name="T1" fmla="*/ 2147483647 h 283"/>
                <a:gd name="T2" fmla="*/ 2147483647 w 504"/>
                <a:gd name="T3" fmla="*/ 2147483647 h 283"/>
                <a:gd name="T4" fmla="*/ 2147483647 w 504"/>
                <a:gd name="T5" fmla="*/ 2147483647 h 283"/>
                <a:gd name="T6" fmla="*/ 2147483647 w 504"/>
                <a:gd name="T7" fmla="*/ 2147483647 h 283"/>
                <a:gd name="T8" fmla="*/ 2147483647 w 504"/>
                <a:gd name="T9" fmla="*/ 2147483647 h 283"/>
                <a:gd name="T10" fmla="*/ 2147483647 w 504"/>
                <a:gd name="T11" fmla="*/ 2147483647 h 283"/>
                <a:gd name="T12" fmla="*/ 2147483647 w 504"/>
                <a:gd name="T13" fmla="*/ 2147483647 h 283"/>
                <a:gd name="T14" fmla="*/ 2147483647 w 504"/>
                <a:gd name="T15" fmla="*/ 2147483647 h 283"/>
                <a:gd name="T16" fmla="*/ 2147483647 w 504"/>
                <a:gd name="T17" fmla="*/ 2147483647 h 283"/>
                <a:gd name="T18" fmla="*/ 2147483647 w 504"/>
                <a:gd name="T19" fmla="*/ 2147483647 h 283"/>
                <a:gd name="T20" fmla="*/ 2147483647 w 504"/>
                <a:gd name="T21" fmla="*/ 2147483647 h 283"/>
                <a:gd name="T22" fmla="*/ 2147483647 w 504"/>
                <a:gd name="T23" fmla="*/ 2147483647 h 283"/>
                <a:gd name="T24" fmla="*/ 2147483647 w 504"/>
                <a:gd name="T25" fmla="*/ 2147483647 h 283"/>
                <a:gd name="T26" fmla="*/ 2147483647 w 504"/>
                <a:gd name="T27" fmla="*/ 2147483647 h 283"/>
                <a:gd name="T28" fmla="*/ 2147483647 w 504"/>
                <a:gd name="T29" fmla="*/ 2147483647 h 283"/>
                <a:gd name="T30" fmla="*/ 2147483647 w 504"/>
                <a:gd name="T31" fmla="*/ 2147483647 h 283"/>
                <a:gd name="T32" fmla="*/ 2147483647 w 504"/>
                <a:gd name="T33" fmla="*/ 2147483647 h 283"/>
                <a:gd name="T34" fmla="*/ 2147483647 w 504"/>
                <a:gd name="T35" fmla="*/ 2147483647 h 283"/>
                <a:gd name="T36" fmla="*/ 2147483647 w 504"/>
                <a:gd name="T37" fmla="*/ 2147483647 h 283"/>
                <a:gd name="T38" fmla="*/ 2147483647 w 504"/>
                <a:gd name="T39" fmla="*/ 2147483647 h 283"/>
                <a:gd name="T40" fmla="*/ 2147483647 w 504"/>
                <a:gd name="T41" fmla="*/ 0 h 283"/>
                <a:gd name="T42" fmla="*/ 2147483647 w 504"/>
                <a:gd name="T43" fmla="*/ 2147483647 h 283"/>
                <a:gd name="T44" fmla="*/ 2147483647 w 504"/>
                <a:gd name="T45" fmla="*/ 2147483647 h 283"/>
                <a:gd name="T46" fmla="*/ 2147483647 w 504"/>
                <a:gd name="T47" fmla="*/ 2147483647 h 283"/>
                <a:gd name="T48" fmla="*/ 2147483647 w 504"/>
                <a:gd name="T49" fmla="*/ 2147483647 h 283"/>
                <a:gd name="T50" fmla="*/ 2147483647 w 504"/>
                <a:gd name="T51" fmla="*/ 2147483647 h 283"/>
                <a:gd name="T52" fmla="*/ 2147483647 w 504"/>
                <a:gd name="T53" fmla="*/ 2147483647 h 283"/>
                <a:gd name="T54" fmla="*/ 2147483647 w 504"/>
                <a:gd name="T55" fmla="*/ 2147483647 h 283"/>
                <a:gd name="T56" fmla="*/ 2147483647 w 504"/>
                <a:gd name="T57" fmla="*/ 2147483647 h 283"/>
                <a:gd name="T58" fmla="*/ 2147483647 w 504"/>
                <a:gd name="T59" fmla="*/ 2147483647 h 283"/>
                <a:gd name="T60" fmla="*/ 2147483647 w 504"/>
                <a:gd name="T61" fmla="*/ 2147483647 h 283"/>
                <a:gd name="T62" fmla="*/ 2147483647 w 504"/>
                <a:gd name="T63" fmla="*/ 2147483647 h 283"/>
                <a:gd name="T64" fmla="*/ 2147483647 w 504"/>
                <a:gd name="T65" fmla="*/ 2147483647 h 28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04"/>
                <a:gd name="T100" fmla="*/ 0 h 283"/>
                <a:gd name="T101" fmla="*/ 504 w 504"/>
                <a:gd name="T102" fmla="*/ 283 h 28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04" h="283">
                  <a:moveTo>
                    <a:pt x="58" y="282"/>
                  </a:moveTo>
                  <a:lnTo>
                    <a:pt x="69" y="260"/>
                  </a:lnTo>
                  <a:lnTo>
                    <a:pt x="101" y="238"/>
                  </a:lnTo>
                  <a:lnTo>
                    <a:pt x="129" y="247"/>
                  </a:lnTo>
                  <a:lnTo>
                    <a:pt x="148" y="238"/>
                  </a:lnTo>
                  <a:lnTo>
                    <a:pt x="132" y="222"/>
                  </a:lnTo>
                  <a:lnTo>
                    <a:pt x="141" y="212"/>
                  </a:lnTo>
                  <a:lnTo>
                    <a:pt x="217" y="219"/>
                  </a:lnTo>
                  <a:lnTo>
                    <a:pt x="245" y="235"/>
                  </a:lnTo>
                  <a:lnTo>
                    <a:pt x="259" y="240"/>
                  </a:lnTo>
                  <a:lnTo>
                    <a:pt x="277" y="229"/>
                  </a:lnTo>
                  <a:lnTo>
                    <a:pt x="295" y="225"/>
                  </a:lnTo>
                  <a:lnTo>
                    <a:pt x="298" y="240"/>
                  </a:lnTo>
                  <a:lnTo>
                    <a:pt x="309" y="240"/>
                  </a:lnTo>
                  <a:lnTo>
                    <a:pt x="317" y="231"/>
                  </a:lnTo>
                  <a:lnTo>
                    <a:pt x="333" y="216"/>
                  </a:lnTo>
                  <a:lnTo>
                    <a:pt x="344" y="225"/>
                  </a:lnTo>
                  <a:lnTo>
                    <a:pt x="344" y="247"/>
                  </a:lnTo>
                  <a:lnTo>
                    <a:pt x="351" y="257"/>
                  </a:lnTo>
                  <a:lnTo>
                    <a:pt x="365" y="260"/>
                  </a:lnTo>
                  <a:lnTo>
                    <a:pt x="383" y="244"/>
                  </a:lnTo>
                  <a:lnTo>
                    <a:pt x="407" y="238"/>
                  </a:lnTo>
                  <a:lnTo>
                    <a:pt x="453" y="197"/>
                  </a:lnTo>
                  <a:lnTo>
                    <a:pt x="478" y="200"/>
                  </a:lnTo>
                  <a:lnTo>
                    <a:pt x="503" y="191"/>
                  </a:lnTo>
                  <a:lnTo>
                    <a:pt x="471" y="137"/>
                  </a:lnTo>
                  <a:lnTo>
                    <a:pt x="481" y="122"/>
                  </a:lnTo>
                  <a:lnTo>
                    <a:pt x="478" y="115"/>
                  </a:lnTo>
                  <a:lnTo>
                    <a:pt x="460" y="110"/>
                  </a:lnTo>
                  <a:lnTo>
                    <a:pt x="432" y="97"/>
                  </a:lnTo>
                  <a:lnTo>
                    <a:pt x="418" y="87"/>
                  </a:lnTo>
                  <a:lnTo>
                    <a:pt x="400" y="97"/>
                  </a:lnTo>
                  <a:lnTo>
                    <a:pt x="379" y="81"/>
                  </a:lnTo>
                  <a:lnTo>
                    <a:pt x="354" y="81"/>
                  </a:lnTo>
                  <a:lnTo>
                    <a:pt x="333" y="72"/>
                  </a:lnTo>
                  <a:lnTo>
                    <a:pt x="326" y="56"/>
                  </a:lnTo>
                  <a:lnTo>
                    <a:pt x="317" y="47"/>
                  </a:lnTo>
                  <a:lnTo>
                    <a:pt x="301" y="52"/>
                  </a:lnTo>
                  <a:lnTo>
                    <a:pt x="288" y="47"/>
                  </a:lnTo>
                  <a:lnTo>
                    <a:pt x="245" y="52"/>
                  </a:lnTo>
                  <a:lnTo>
                    <a:pt x="200" y="43"/>
                  </a:lnTo>
                  <a:lnTo>
                    <a:pt x="148" y="0"/>
                  </a:lnTo>
                  <a:lnTo>
                    <a:pt x="129" y="12"/>
                  </a:lnTo>
                  <a:lnTo>
                    <a:pt x="122" y="6"/>
                  </a:lnTo>
                  <a:lnTo>
                    <a:pt x="111" y="6"/>
                  </a:lnTo>
                  <a:lnTo>
                    <a:pt x="62" y="6"/>
                  </a:lnTo>
                  <a:lnTo>
                    <a:pt x="55" y="12"/>
                  </a:lnTo>
                  <a:lnTo>
                    <a:pt x="69" y="28"/>
                  </a:lnTo>
                  <a:lnTo>
                    <a:pt x="84" y="31"/>
                  </a:lnTo>
                  <a:lnTo>
                    <a:pt x="97" y="34"/>
                  </a:lnTo>
                  <a:lnTo>
                    <a:pt x="90" y="43"/>
                  </a:lnTo>
                  <a:lnTo>
                    <a:pt x="65" y="52"/>
                  </a:lnTo>
                  <a:lnTo>
                    <a:pt x="62" y="72"/>
                  </a:lnTo>
                  <a:lnTo>
                    <a:pt x="65" y="79"/>
                  </a:lnTo>
                  <a:lnTo>
                    <a:pt x="69" y="100"/>
                  </a:lnTo>
                  <a:lnTo>
                    <a:pt x="84" y="103"/>
                  </a:lnTo>
                  <a:lnTo>
                    <a:pt x="101" y="118"/>
                  </a:lnTo>
                  <a:lnTo>
                    <a:pt x="105" y="153"/>
                  </a:lnTo>
                  <a:lnTo>
                    <a:pt x="101" y="166"/>
                  </a:lnTo>
                  <a:lnTo>
                    <a:pt x="90" y="163"/>
                  </a:lnTo>
                  <a:lnTo>
                    <a:pt x="62" y="184"/>
                  </a:lnTo>
                  <a:lnTo>
                    <a:pt x="13" y="191"/>
                  </a:lnTo>
                  <a:lnTo>
                    <a:pt x="0" y="204"/>
                  </a:lnTo>
                  <a:lnTo>
                    <a:pt x="9" y="216"/>
                  </a:lnTo>
                  <a:lnTo>
                    <a:pt x="13" y="240"/>
                  </a:lnTo>
                  <a:lnTo>
                    <a:pt x="23" y="244"/>
                  </a:lnTo>
                  <a:lnTo>
                    <a:pt x="58" y="282"/>
                  </a:lnTo>
                </a:path>
              </a:pathLst>
            </a:custGeom>
            <a:solidFill>
              <a:srgbClr val="D9D9D9"/>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71" name="Freeform 38"/>
            <p:cNvSpPr>
              <a:spLocks noChangeAspect="1"/>
            </p:cNvSpPr>
            <p:nvPr>
              <p:custDataLst>
                <p:tags r:id="rId14"/>
              </p:custDataLst>
            </p:nvPr>
          </p:nvSpPr>
          <p:spPr bwMode="auto">
            <a:xfrm>
              <a:off x="2109788" y="3349625"/>
              <a:ext cx="2187575" cy="1123950"/>
            </a:xfrm>
            <a:custGeom>
              <a:avLst/>
              <a:gdLst>
                <a:gd name="T0" fmla="*/ 2147483647 w 1271"/>
                <a:gd name="T1" fmla="*/ 2147483647 h 613"/>
                <a:gd name="T2" fmla="*/ 2147483647 w 1271"/>
                <a:gd name="T3" fmla="*/ 2147483647 h 613"/>
                <a:gd name="T4" fmla="*/ 2147483647 w 1271"/>
                <a:gd name="T5" fmla="*/ 2147483647 h 613"/>
                <a:gd name="T6" fmla="*/ 2147483647 w 1271"/>
                <a:gd name="T7" fmla="*/ 2147483647 h 613"/>
                <a:gd name="T8" fmla="*/ 2147483647 w 1271"/>
                <a:gd name="T9" fmla="*/ 2147483647 h 613"/>
                <a:gd name="T10" fmla="*/ 2147483647 w 1271"/>
                <a:gd name="T11" fmla="*/ 2147483647 h 613"/>
                <a:gd name="T12" fmla="*/ 2147483647 w 1271"/>
                <a:gd name="T13" fmla="*/ 2147483647 h 613"/>
                <a:gd name="T14" fmla="*/ 2147483647 w 1271"/>
                <a:gd name="T15" fmla="*/ 2147483647 h 613"/>
                <a:gd name="T16" fmla="*/ 2147483647 w 1271"/>
                <a:gd name="T17" fmla="*/ 2147483647 h 613"/>
                <a:gd name="T18" fmla="*/ 2147483647 w 1271"/>
                <a:gd name="T19" fmla="*/ 2147483647 h 613"/>
                <a:gd name="T20" fmla="*/ 2147483647 w 1271"/>
                <a:gd name="T21" fmla="*/ 2147483647 h 613"/>
                <a:gd name="T22" fmla="*/ 2147483647 w 1271"/>
                <a:gd name="T23" fmla="*/ 2147483647 h 613"/>
                <a:gd name="T24" fmla="*/ 2147483647 w 1271"/>
                <a:gd name="T25" fmla="*/ 2147483647 h 613"/>
                <a:gd name="T26" fmla="*/ 2147483647 w 1271"/>
                <a:gd name="T27" fmla="*/ 2147483647 h 613"/>
                <a:gd name="T28" fmla="*/ 2147483647 w 1271"/>
                <a:gd name="T29" fmla="*/ 2147483647 h 613"/>
                <a:gd name="T30" fmla="*/ 2147483647 w 1271"/>
                <a:gd name="T31" fmla="*/ 2147483647 h 613"/>
                <a:gd name="T32" fmla="*/ 2147483647 w 1271"/>
                <a:gd name="T33" fmla="*/ 2147483647 h 613"/>
                <a:gd name="T34" fmla="*/ 2147483647 w 1271"/>
                <a:gd name="T35" fmla="*/ 2147483647 h 613"/>
                <a:gd name="T36" fmla="*/ 2147483647 w 1271"/>
                <a:gd name="T37" fmla="*/ 2147483647 h 613"/>
                <a:gd name="T38" fmla="*/ 2147483647 w 1271"/>
                <a:gd name="T39" fmla="*/ 2147483647 h 613"/>
                <a:gd name="T40" fmla="*/ 2147483647 w 1271"/>
                <a:gd name="T41" fmla="*/ 2147483647 h 613"/>
                <a:gd name="T42" fmla="*/ 2147483647 w 1271"/>
                <a:gd name="T43" fmla="*/ 2147483647 h 613"/>
                <a:gd name="T44" fmla="*/ 2147483647 w 1271"/>
                <a:gd name="T45" fmla="*/ 2147483647 h 613"/>
                <a:gd name="T46" fmla="*/ 2147483647 w 1271"/>
                <a:gd name="T47" fmla="*/ 2147483647 h 613"/>
                <a:gd name="T48" fmla="*/ 2147483647 w 1271"/>
                <a:gd name="T49" fmla="*/ 2147483647 h 613"/>
                <a:gd name="T50" fmla="*/ 2147483647 w 1271"/>
                <a:gd name="T51" fmla="*/ 2147483647 h 613"/>
                <a:gd name="T52" fmla="*/ 2147483647 w 1271"/>
                <a:gd name="T53" fmla="*/ 2147483647 h 613"/>
                <a:gd name="T54" fmla="*/ 2147483647 w 1271"/>
                <a:gd name="T55" fmla="*/ 2147483647 h 613"/>
                <a:gd name="T56" fmla="*/ 2147483647 w 1271"/>
                <a:gd name="T57" fmla="*/ 0 h 613"/>
                <a:gd name="T58" fmla="*/ 2147483647 w 1271"/>
                <a:gd name="T59" fmla="*/ 2147483647 h 613"/>
                <a:gd name="T60" fmla="*/ 2147483647 w 1271"/>
                <a:gd name="T61" fmla="*/ 2147483647 h 613"/>
                <a:gd name="T62" fmla="*/ 2147483647 w 1271"/>
                <a:gd name="T63" fmla="*/ 2147483647 h 613"/>
                <a:gd name="T64" fmla="*/ 2147483647 w 1271"/>
                <a:gd name="T65" fmla="*/ 2147483647 h 613"/>
                <a:gd name="T66" fmla="*/ 2147483647 w 1271"/>
                <a:gd name="T67" fmla="*/ 2147483647 h 613"/>
                <a:gd name="T68" fmla="*/ 2147483647 w 1271"/>
                <a:gd name="T69" fmla="*/ 2147483647 h 613"/>
                <a:gd name="T70" fmla="*/ 2147483647 w 1271"/>
                <a:gd name="T71" fmla="*/ 2147483647 h 613"/>
                <a:gd name="T72" fmla="*/ 2147483647 w 1271"/>
                <a:gd name="T73" fmla="*/ 2147483647 h 613"/>
                <a:gd name="T74" fmla="*/ 2147483647 w 1271"/>
                <a:gd name="T75" fmla="*/ 2147483647 h 613"/>
                <a:gd name="T76" fmla="*/ 2147483647 w 1271"/>
                <a:gd name="T77" fmla="*/ 2147483647 h 613"/>
                <a:gd name="T78" fmla="*/ 2147483647 w 1271"/>
                <a:gd name="T79" fmla="*/ 2147483647 h 613"/>
                <a:gd name="T80" fmla="*/ 2147483647 w 1271"/>
                <a:gd name="T81" fmla="*/ 2147483647 h 613"/>
                <a:gd name="T82" fmla="*/ 2147483647 w 1271"/>
                <a:gd name="T83" fmla="*/ 2147483647 h 613"/>
                <a:gd name="T84" fmla="*/ 2147483647 w 1271"/>
                <a:gd name="T85" fmla="*/ 2147483647 h 613"/>
                <a:gd name="T86" fmla="*/ 0 w 1271"/>
                <a:gd name="T87" fmla="*/ 2147483647 h 613"/>
                <a:gd name="T88" fmla="*/ 2147483647 w 1271"/>
                <a:gd name="T89" fmla="*/ 2147483647 h 613"/>
                <a:gd name="T90" fmla="*/ 2147483647 w 1271"/>
                <a:gd name="T91" fmla="*/ 2147483647 h 613"/>
                <a:gd name="T92" fmla="*/ 2147483647 w 1271"/>
                <a:gd name="T93" fmla="*/ 2147483647 h 613"/>
                <a:gd name="T94" fmla="*/ 2147483647 w 1271"/>
                <a:gd name="T95" fmla="*/ 2147483647 h 613"/>
                <a:gd name="T96" fmla="*/ 2147483647 w 1271"/>
                <a:gd name="T97" fmla="*/ 2147483647 h 613"/>
                <a:gd name="T98" fmla="*/ 2147483647 w 1271"/>
                <a:gd name="T99" fmla="*/ 2147483647 h 613"/>
                <a:gd name="T100" fmla="*/ 2147483647 w 1271"/>
                <a:gd name="T101" fmla="*/ 2147483647 h 613"/>
                <a:gd name="T102" fmla="*/ 2147483647 w 1271"/>
                <a:gd name="T103" fmla="*/ 2147483647 h 613"/>
                <a:gd name="T104" fmla="*/ 2147483647 w 1271"/>
                <a:gd name="T105" fmla="*/ 2147483647 h 613"/>
                <a:gd name="T106" fmla="*/ 2147483647 w 1271"/>
                <a:gd name="T107" fmla="*/ 2147483647 h 613"/>
                <a:gd name="T108" fmla="*/ 2147483647 w 1271"/>
                <a:gd name="T109" fmla="*/ 2147483647 h 613"/>
                <a:gd name="T110" fmla="*/ 2147483647 w 1271"/>
                <a:gd name="T111" fmla="*/ 2147483647 h 613"/>
                <a:gd name="T112" fmla="*/ 2147483647 w 1271"/>
                <a:gd name="T113" fmla="*/ 2147483647 h 613"/>
                <a:gd name="T114" fmla="*/ 2147483647 w 1271"/>
                <a:gd name="T115" fmla="*/ 2147483647 h 613"/>
                <a:gd name="T116" fmla="*/ 2147483647 w 1271"/>
                <a:gd name="T117" fmla="*/ 2147483647 h 613"/>
                <a:gd name="T118" fmla="*/ 2147483647 w 1271"/>
                <a:gd name="T119" fmla="*/ 2147483647 h 613"/>
                <a:gd name="T120" fmla="*/ 2147483647 w 1271"/>
                <a:gd name="T121" fmla="*/ 2147483647 h 613"/>
                <a:gd name="T122" fmla="*/ 2147483647 w 1271"/>
                <a:gd name="T123" fmla="*/ 2147483647 h 613"/>
                <a:gd name="T124" fmla="*/ 2147483647 w 1271"/>
                <a:gd name="T125" fmla="*/ 2147483647 h 61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271"/>
                <a:gd name="T190" fmla="*/ 0 h 613"/>
                <a:gd name="T191" fmla="*/ 1271 w 1271"/>
                <a:gd name="T192" fmla="*/ 613 h 61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271" h="613">
                  <a:moveTo>
                    <a:pt x="731" y="580"/>
                  </a:moveTo>
                  <a:lnTo>
                    <a:pt x="773" y="584"/>
                  </a:lnTo>
                  <a:lnTo>
                    <a:pt x="787" y="602"/>
                  </a:lnTo>
                  <a:lnTo>
                    <a:pt x="794" y="605"/>
                  </a:lnTo>
                  <a:lnTo>
                    <a:pt x="854" y="593"/>
                  </a:lnTo>
                  <a:lnTo>
                    <a:pt x="857" y="584"/>
                  </a:lnTo>
                  <a:lnTo>
                    <a:pt x="867" y="580"/>
                  </a:lnTo>
                  <a:lnTo>
                    <a:pt x="896" y="559"/>
                  </a:lnTo>
                  <a:lnTo>
                    <a:pt x="925" y="555"/>
                  </a:lnTo>
                  <a:lnTo>
                    <a:pt x="945" y="542"/>
                  </a:lnTo>
                  <a:lnTo>
                    <a:pt x="991" y="518"/>
                  </a:lnTo>
                  <a:lnTo>
                    <a:pt x="998" y="528"/>
                  </a:lnTo>
                  <a:lnTo>
                    <a:pt x="1030" y="537"/>
                  </a:lnTo>
                  <a:lnTo>
                    <a:pt x="1079" y="515"/>
                  </a:lnTo>
                  <a:lnTo>
                    <a:pt x="1096" y="524"/>
                  </a:lnTo>
                  <a:lnTo>
                    <a:pt x="1082" y="542"/>
                  </a:lnTo>
                  <a:lnTo>
                    <a:pt x="1086" y="547"/>
                  </a:lnTo>
                  <a:lnTo>
                    <a:pt x="1107" y="547"/>
                  </a:lnTo>
                  <a:lnTo>
                    <a:pt x="1107" y="552"/>
                  </a:lnTo>
                  <a:lnTo>
                    <a:pt x="1093" y="580"/>
                  </a:lnTo>
                  <a:lnTo>
                    <a:pt x="1096" y="584"/>
                  </a:lnTo>
                  <a:lnTo>
                    <a:pt x="1107" y="584"/>
                  </a:lnTo>
                  <a:lnTo>
                    <a:pt x="1155" y="596"/>
                  </a:lnTo>
                  <a:lnTo>
                    <a:pt x="1177" y="580"/>
                  </a:lnTo>
                  <a:lnTo>
                    <a:pt x="1208" y="602"/>
                  </a:lnTo>
                  <a:lnTo>
                    <a:pt x="1219" y="593"/>
                  </a:lnTo>
                  <a:lnTo>
                    <a:pt x="1226" y="599"/>
                  </a:lnTo>
                  <a:lnTo>
                    <a:pt x="1237" y="599"/>
                  </a:lnTo>
                  <a:lnTo>
                    <a:pt x="1244" y="593"/>
                  </a:lnTo>
                  <a:lnTo>
                    <a:pt x="1241" y="559"/>
                  </a:lnTo>
                  <a:lnTo>
                    <a:pt x="1252" y="552"/>
                  </a:lnTo>
                  <a:lnTo>
                    <a:pt x="1270" y="531"/>
                  </a:lnTo>
                  <a:lnTo>
                    <a:pt x="1265" y="443"/>
                  </a:lnTo>
                  <a:lnTo>
                    <a:pt x="1248" y="399"/>
                  </a:lnTo>
                  <a:lnTo>
                    <a:pt x="1261" y="393"/>
                  </a:lnTo>
                  <a:lnTo>
                    <a:pt x="1223" y="327"/>
                  </a:lnTo>
                  <a:lnTo>
                    <a:pt x="1177" y="296"/>
                  </a:lnTo>
                  <a:lnTo>
                    <a:pt x="1164" y="303"/>
                  </a:lnTo>
                  <a:lnTo>
                    <a:pt x="1164" y="321"/>
                  </a:lnTo>
                  <a:lnTo>
                    <a:pt x="1124" y="368"/>
                  </a:lnTo>
                  <a:lnTo>
                    <a:pt x="1054" y="355"/>
                  </a:lnTo>
                  <a:lnTo>
                    <a:pt x="1050" y="334"/>
                  </a:lnTo>
                  <a:lnTo>
                    <a:pt x="1008" y="305"/>
                  </a:lnTo>
                  <a:lnTo>
                    <a:pt x="918" y="290"/>
                  </a:lnTo>
                  <a:lnTo>
                    <a:pt x="874" y="284"/>
                  </a:lnTo>
                  <a:lnTo>
                    <a:pt x="861" y="284"/>
                  </a:lnTo>
                  <a:lnTo>
                    <a:pt x="825" y="258"/>
                  </a:lnTo>
                  <a:lnTo>
                    <a:pt x="752" y="243"/>
                  </a:lnTo>
                  <a:lnTo>
                    <a:pt x="702" y="156"/>
                  </a:lnTo>
                  <a:lnTo>
                    <a:pt x="699" y="131"/>
                  </a:lnTo>
                  <a:lnTo>
                    <a:pt x="720" y="124"/>
                  </a:lnTo>
                  <a:lnTo>
                    <a:pt x="720" y="96"/>
                  </a:lnTo>
                  <a:lnTo>
                    <a:pt x="734" y="62"/>
                  </a:lnTo>
                  <a:lnTo>
                    <a:pt x="716" y="49"/>
                  </a:lnTo>
                  <a:lnTo>
                    <a:pt x="742" y="31"/>
                  </a:lnTo>
                  <a:lnTo>
                    <a:pt x="727" y="24"/>
                  </a:lnTo>
                  <a:lnTo>
                    <a:pt x="692" y="24"/>
                  </a:lnTo>
                  <a:lnTo>
                    <a:pt x="632" y="0"/>
                  </a:lnTo>
                  <a:lnTo>
                    <a:pt x="593" y="0"/>
                  </a:lnTo>
                  <a:lnTo>
                    <a:pt x="562" y="9"/>
                  </a:lnTo>
                  <a:lnTo>
                    <a:pt x="530" y="9"/>
                  </a:lnTo>
                  <a:lnTo>
                    <a:pt x="477" y="33"/>
                  </a:lnTo>
                  <a:lnTo>
                    <a:pt x="435" y="27"/>
                  </a:lnTo>
                  <a:lnTo>
                    <a:pt x="393" y="43"/>
                  </a:lnTo>
                  <a:lnTo>
                    <a:pt x="357" y="31"/>
                  </a:lnTo>
                  <a:lnTo>
                    <a:pt x="337" y="15"/>
                  </a:lnTo>
                  <a:lnTo>
                    <a:pt x="281" y="9"/>
                  </a:lnTo>
                  <a:lnTo>
                    <a:pt x="241" y="31"/>
                  </a:lnTo>
                  <a:lnTo>
                    <a:pt x="221" y="21"/>
                  </a:lnTo>
                  <a:lnTo>
                    <a:pt x="207" y="12"/>
                  </a:lnTo>
                  <a:lnTo>
                    <a:pt x="164" y="2"/>
                  </a:lnTo>
                  <a:lnTo>
                    <a:pt x="135" y="18"/>
                  </a:lnTo>
                  <a:lnTo>
                    <a:pt x="126" y="46"/>
                  </a:lnTo>
                  <a:lnTo>
                    <a:pt x="101" y="59"/>
                  </a:lnTo>
                  <a:lnTo>
                    <a:pt x="98" y="74"/>
                  </a:lnTo>
                  <a:lnTo>
                    <a:pt x="83" y="80"/>
                  </a:lnTo>
                  <a:lnTo>
                    <a:pt x="65" y="77"/>
                  </a:lnTo>
                  <a:lnTo>
                    <a:pt x="58" y="90"/>
                  </a:lnTo>
                  <a:lnTo>
                    <a:pt x="56" y="106"/>
                  </a:lnTo>
                  <a:lnTo>
                    <a:pt x="48" y="106"/>
                  </a:lnTo>
                  <a:lnTo>
                    <a:pt x="45" y="124"/>
                  </a:lnTo>
                  <a:lnTo>
                    <a:pt x="65" y="140"/>
                  </a:lnTo>
                  <a:lnTo>
                    <a:pt x="69" y="169"/>
                  </a:lnTo>
                  <a:lnTo>
                    <a:pt x="62" y="177"/>
                  </a:lnTo>
                  <a:lnTo>
                    <a:pt x="31" y="180"/>
                  </a:lnTo>
                  <a:lnTo>
                    <a:pt x="16" y="165"/>
                  </a:lnTo>
                  <a:lnTo>
                    <a:pt x="0" y="169"/>
                  </a:lnTo>
                  <a:lnTo>
                    <a:pt x="0" y="177"/>
                  </a:lnTo>
                  <a:lnTo>
                    <a:pt x="6" y="199"/>
                  </a:lnTo>
                  <a:lnTo>
                    <a:pt x="10" y="211"/>
                  </a:lnTo>
                  <a:lnTo>
                    <a:pt x="10" y="230"/>
                  </a:lnTo>
                  <a:lnTo>
                    <a:pt x="3" y="243"/>
                  </a:lnTo>
                  <a:lnTo>
                    <a:pt x="6" y="253"/>
                  </a:lnTo>
                  <a:lnTo>
                    <a:pt x="27" y="253"/>
                  </a:lnTo>
                  <a:lnTo>
                    <a:pt x="38" y="271"/>
                  </a:lnTo>
                  <a:lnTo>
                    <a:pt x="83" y="303"/>
                  </a:lnTo>
                  <a:lnTo>
                    <a:pt x="83" y="313"/>
                  </a:lnTo>
                  <a:lnTo>
                    <a:pt x="115" y="346"/>
                  </a:lnTo>
                  <a:lnTo>
                    <a:pt x="126" y="355"/>
                  </a:lnTo>
                  <a:lnTo>
                    <a:pt x="135" y="358"/>
                  </a:lnTo>
                  <a:lnTo>
                    <a:pt x="157" y="344"/>
                  </a:lnTo>
                  <a:lnTo>
                    <a:pt x="175" y="355"/>
                  </a:lnTo>
                  <a:lnTo>
                    <a:pt x="251" y="414"/>
                  </a:lnTo>
                  <a:lnTo>
                    <a:pt x="267" y="445"/>
                  </a:lnTo>
                  <a:lnTo>
                    <a:pt x="284" y="445"/>
                  </a:lnTo>
                  <a:lnTo>
                    <a:pt x="294" y="437"/>
                  </a:lnTo>
                  <a:lnTo>
                    <a:pt x="302" y="443"/>
                  </a:lnTo>
                  <a:lnTo>
                    <a:pt x="302" y="471"/>
                  </a:lnTo>
                  <a:lnTo>
                    <a:pt x="347" y="492"/>
                  </a:lnTo>
                  <a:lnTo>
                    <a:pt x="357" y="492"/>
                  </a:lnTo>
                  <a:lnTo>
                    <a:pt x="364" y="515"/>
                  </a:lnTo>
                  <a:lnTo>
                    <a:pt x="403" y="534"/>
                  </a:lnTo>
                  <a:lnTo>
                    <a:pt x="407" y="547"/>
                  </a:lnTo>
                  <a:lnTo>
                    <a:pt x="414" y="552"/>
                  </a:lnTo>
                  <a:lnTo>
                    <a:pt x="446" y="549"/>
                  </a:lnTo>
                  <a:lnTo>
                    <a:pt x="463" y="549"/>
                  </a:lnTo>
                  <a:lnTo>
                    <a:pt x="492" y="568"/>
                  </a:lnTo>
                  <a:lnTo>
                    <a:pt x="552" y="568"/>
                  </a:lnTo>
                  <a:lnTo>
                    <a:pt x="586" y="565"/>
                  </a:lnTo>
                  <a:lnTo>
                    <a:pt x="593" y="578"/>
                  </a:lnTo>
                  <a:lnTo>
                    <a:pt x="586" y="602"/>
                  </a:lnTo>
                  <a:lnTo>
                    <a:pt x="593" y="612"/>
                  </a:lnTo>
                  <a:lnTo>
                    <a:pt x="628" y="587"/>
                  </a:lnTo>
                  <a:lnTo>
                    <a:pt x="672" y="559"/>
                  </a:lnTo>
                  <a:lnTo>
                    <a:pt x="702" y="565"/>
                  </a:lnTo>
                  <a:lnTo>
                    <a:pt x="731" y="580"/>
                  </a:lnTo>
                </a:path>
              </a:pathLst>
            </a:custGeom>
            <a:solidFill>
              <a:srgbClr val="D9D9D9"/>
            </a:solidFill>
            <a:ln w="3175" cap="rnd">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72" name="Freeform 39"/>
            <p:cNvSpPr>
              <a:spLocks noChangeAspect="1"/>
            </p:cNvSpPr>
            <p:nvPr>
              <p:custDataLst>
                <p:tags r:id="rId15"/>
              </p:custDataLst>
            </p:nvPr>
          </p:nvSpPr>
          <p:spPr bwMode="auto">
            <a:xfrm>
              <a:off x="3313113" y="3068638"/>
              <a:ext cx="1420812" cy="957262"/>
            </a:xfrm>
            <a:custGeom>
              <a:avLst/>
              <a:gdLst>
                <a:gd name="T0" fmla="*/ 2147483647 w 825"/>
                <a:gd name="T1" fmla="*/ 2147483647 h 522"/>
                <a:gd name="T2" fmla="*/ 2147483647 w 825"/>
                <a:gd name="T3" fmla="*/ 2147483647 h 522"/>
                <a:gd name="T4" fmla="*/ 2147483647 w 825"/>
                <a:gd name="T5" fmla="*/ 2147483647 h 522"/>
                <a:gd name="T6" fmla="*/ 2147483647 w 825"/>
                <a:gd name="T7" fmla="*/ 2147483647 h 522"/>
                <a:gd name="T8" fmla="*/ 2147483647 w 825"/>
                <a:gd name="T9" fmla="*/ 2147483647 h 522"/>
                <a:gd name="T10" fmla="*/ 2147483647 w 825"/>
                <a:gd name="T11" fmla="*/ 2147483647 h 522"/>
                <a:gd name="T12" fmla="*/ 2147483647 w 825"/>
                <a:gd name="T13" fmla="*/ 0 h 522"/>
                <a:gd name="T14" fmla="*/ 2147483647 w 825"/>
                <a:gd name="T15" fmla="*/ 2147483647 h 522"/>
                <a:gd name="T16" fmla="*/ 2147483647 w 825"/>
                <a:gd name="T17" fmla="*/ 2147483647 h 522"/>
                <a:gd name="T18" fmla="*/ 2147483647 w 825"/>
                <a:gd name="T19" fmla="*/ 2147483647 h 522"/>
                <a:gd name="T20" fmla="*/ 2147483647 w 825"/>
                <a:gd name="T21" fmla="*/ 2147483647 h 522"/>
                <a:gd name="T22" fmla="*/ 2147483647 w 825"/>
                <a:gd name="T23" fmla="*/ 2147483647 h 522"/>
                <a:gd name="T24" fmla="*/ 2147483647 w 825"/>
                <a:gd name="T25" fmla="*/ 2147483647 h 522"/>
                <a:gd name="T26" fmla="*/ 2147483647 w 825"/>
                <a:gd name="T27" fmla="*/ 2147483647 h 522"/>
                <a:gd name="T28" fmla="*/ 2147483647 w 825"/>
                <a:gd name="T29" fmla="*/ 2147483647 h 522"/>
                <a:gd name="T30" fmla="*/ 2147483647 w 825"/>
                <a:gd name="T31" fmla="*/ 2147483647 h 522"/>
                <a:gd name="T32" fmla="*/ 2147483647 w 825"/>
                <a:gd name="T33" fmla="*/ 2147483647 h 522"/>
                <a:gd name="T34" fmla="*/ 2147483647 w 825"/>
                <a:gd name="T35" fmla="*/ 2147483647 h 522"/>
                <a:gd name="T36" fmla="*/ 2147483647 w 825"/>
                <a:gd name="T37" fmla="*/ 2147483647 h 522"/>
                <a:gd name="T38" fmla="*/ 2147483647 w 825"/>
                <a:gd name="T39" fmla="*/ 2147483647 h 522"/>
                <a:gd name="T40" fmla="*/ 2147483647 w 825"/>
                <a:gd name="T41" fmla="*/ 2147483647 h 522"/>
                <a:gd name="T42" fmla="*/ 2147483647 w 825"/>
                <a:gd name="T43" fmla="*/ 2147483647 h 522"/>
                <a:gd name="T44" fmla="*/ 2147483647 w 825"/>
                <a:gd name="T45" fmla="*/ 2147483647 h 522"/>
                <a:gd name="T46" fmla="*/ 2147483647 w 825"/>
                <a:gd name="T47" fmla="*/ 2147483647 h 522"/>
                <a:gd name="T48" fmla="*/ 2147483647 w 825"/>
                <a:gd name="T49" fmla="*/ 2147483647 h 522"/>
                <a:gd name="T50" fmla="*/ 2147483647 w 825"/>
                <a:gd name="T51" fmla="*/ 2147483647 h 522"/>
                <a:gd name="T52" fmla="*/ 2147483647 w 825"/>
                <a:gd name="T53" fmla="*/ 2147483647 h 522"/>
                <a:gd name="T54" fmla="*/ 2147483647 w 825"/>
                <a:gd name="T55" fmla="*/ 2147483647 h 522"/>
                <a:gd name="T56" fmla="*/ 2147483647 w 825"/>
                <a:gd name="T57" fmla="*/ 2147483647 h 522"/>
                <a:gd name="T58" fmla="*/ 2147483647 w 825"/>
                <a:gd name="T59" fmla="*/ 2147483647 h 522"/>
                <a:gd name="T60" fmla="*/ 2147483647 w 825"/>
                <a:gd name="T61" fmla="*/ 2147483647 h 522"/>
                <a:gd name="T62" fmla="*/ 2147483647 w 825"/>
                <a:gd name="T63" fmla="*/ 2147483647 h 522"/>
                <a:gd name="T64" fmla="*/ 2147483647 w 825"/>
                <a:gd name="T65" fmla="*/ 2147483647 h 522"/>
                <a:gd name="T66" fmla="*/ 2147483647 w 825"/>
                <a:gd name="T67" fmla="*/ 2147483647 h 522"/>
                <a:gd name="T68" fmla="*/ 2147483647 w 825"/>
                <a:gd name="T69" fmla="*/ 2147483647 h 522"/>
                <a:gd name="T70" fmla="*/ 2147483647 w 825"/>
                <a:gd name="T71" fmla="*/ 2147483647 h 522"/>
                <a:gd name="T72" fmla="*/ 0 w 825"/>
                <a:gd name="T73" fmla="*/ 2147483647 h 522"/>
                <a:gd name="T74" fmla="*/ 2147483647 w 825"/>
                <a:gd name="T75" fmla="*/ 2147483647 h 522"/>
                <a:gd name="T76" fmla="*/ 2147483647 w 825"/>
                <a:gd name="T77" fmla="*/ 2147483647 h 5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5"/>
                <a:gd name="T118" fmla="*/ 0 h 522"/>
                <a:gd name="T119" fmla="*/ 825 w 825"/>
                <a:gd name="T120" fmla="*/ 522 h 52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5" h="522">
                  <a:moveTo>
                    <a:pt x="42" y="184"/>
                  </a:moveTo>
                  <a:lnTo>
                    <a:pt x="67" y="193"/>
                  </a:lnTo>
                  <a:lnTo>
                    <a:pt x="113" y="181"/>
                  </a:lnTo>
                  <a:lnTo>
                    <a:pt x="104" y="171"/>
                  </a:lnTo>
                  <a:lnTo>
                    <a:pt x="95" y="171"/>
                  </a:lnTo>
                  <a:lnTo>
                    <a:pt x="91" y="163"/>
                  </a:lnTo>
                  <a:lnTo>
                    <a:pt x="95" y="150"/>
                  </a:lnTo>
                  <a:lnTo>
                    <a:pt x="115" y="140"/>
                  </a:lnTo>
                  <a:lnTo>
                    <a:pt x="130" y="118"/>
                  </a:lnTo>
                  <a:lnTo>
                    <a:pt x="84" y="84"/>
                  </a:lnTo>
                  <a:lnTo>
                    <a:pt x="80" y="49"/>
                  </a:lnTo>
                  <a:lnTo>
                    <a:pt x="102" y="34"/>
                  </a:lnTo>
                  <a:lnTo>
                    <a:pt x="260" y="7"/>
                  </a:lnTo>
                  <a:lnTo>
                    <a:pt x="271" y="0"/>
                  </a:lnTo>
                  <a:lnTo>
                    <a:pt x="291" y="3"/>
                  </a:lnTo>
                  <a:lnTo>
                    <a:pt x="369" y="18"/>
                  </a:lnTo>
                  <a:lnTo>
                    <a:pt x="394" y="31"/>
                  </a:lnTo>
                  <a:lnTo>
                    <a:pt x="429" y="49"/>
                  </a:lnTo>
                  <a:lnTo>
                    <a:pt x="449" y="46"/>
                  </a:lnTo>
                  <a:lnTo>
                    <a:pt x="482" y="28"/>
                  </a:lnTo>
                  <a:lnTo>
                    <a:pt x="527" y="34"/>
                  </a:lnTo>
                  <a:lnTo>
                    <a:pt x="555" y="22"/>
                  </a:lnTo>
                  <a:lnTo>
                    <a:pt x="615" y="56"/>
                  </a:lnTo>
                  <a:lnTo>
                    <a:pt x="647" y="44"/>
                  </a:lnTo>
                  <a:lnTo>
                    <a:pt x="665" y="81"/>
                  </a:lnTo>
                  <a:lnTo>
                    <a:pt x="703" y="103"/>
                  </a:lnTo>
                  <a:lnTo>
                    <a:pt x="735" y="128"/>
                  </a:lnTo>
                  <a:lnTo>
                    <a:pt x="756" y="118"/>
                  </a:lnTo>
                  <a:lnTo>
                    <a:pt x="799" y="169"/>
                  </a:lnTo>
                  <a:lnTo>
                    <a:pt x="809" y="200"/>
                  </a:lnTo>
                  <a:lnTo>
                    <a:pt x="824" y="218"/>
                  </a:lnTo>
                  <a:lnTo>
                    <a:pt x="819" y="256"/>
                  </a:lnTo>
                  <a:lnTo>
                    <a:pt x="784" y="280"/>
                  </a:lnTo>
                  <a:lnTo>
                    <a:pt x="792" y="296"/>
                  </a:lnTo>
                  <a:lnTo>
                    <a:pt x="777" y="309"/>
                  </a:lnTo>
                  <a:lnTo>
                    <a:pt x="760" y="321"/>
                  </a:lnTo>
                  <a:lnTo>
                    <a:pt x="760" y="347"/>
                  </a:lnTo>
                  <a:lnTo>
                    <a:pt x="746" y="358"/>
                  </a:lnTo>
                  <a:lnTo>
                    <a:pt x="728" y="353"/>
                  </a:lnTo>
                  <a:lnTo>
                    <a:pt x="711" y="340"/>
                  </a:lnTo>
                  <a:lnTo>
                    <a:pt x="703" y="356"/>
                  </a:lnTo>
                  <a:lnTo>
                    <a:pt x="714" y="368"/>
                  </a:lnTo>
                  <a:lnTo>
                    <a:pt x="738" y="371"/>
                  </a:lnTo>
                  <a:lnTo>
                    <a:pt x="766" y="393"/>
                  </a:lnTo>
                  <a:lnTo>
                    <a:pt x="781" y="393"/>
                  </a:lnTo>
                  <a:lnTo>
                    <a:pt x="792" y="406"/>
                  </a:lnTo>
                  <a:lnTo>
                    <a:pt x="781" y="427"/>
                  </a:lnTo>
                  <a:lnTo>
                    <a:pt x="760" y="424"/>
                  </a:lnTo>
                  <a:lnTo>
                    <a:pt x="746" y="434"/>
                  </a:lnTo>
                  <a:lnTo>
                    <a:pt x="735" y="420"/>
                  </a:lnTo>
                  <a:lnTo>
                    <a:pt x="707" y="430"/>
                  </a:lnTo>
                  <a:lnTo>
                    <a:pt x="700" y="440"/>
                  </a:lnTo>
                  <a:lnTo>
                    <a:pt x="700" y="458"/>
                  </a:lnTo>
                  <a:lnTo>
                    <a:pt x="675" y="466"/>
                  </a:lnTo>
                  <a:lnTo>
                    <a:pt x="641" y="434"/>
                  </a:lnTo>
                  <a:lnTo>
                    <a:pt x="629" y="418"/>
                  </a:lnTo>
                  <a:lnTo>
                    <a:pt x="605" y="427"/>
                  </a:lnTo>
                  <a:lnTo>
                    <a:pt x="559" y="415"/>
                  </a:lnTo>
                  <a:lnTo>
                    <a:pt x="489" y="424"/>
                  </a:lnTo>
                  <a:lnTo>
                    <a:pt x="482" y="430"/>
                  </a:lnTo>
                  <a:lnTo>
                    <a:pt x="479" y="449"/>
                  </a:lnTo>
                  <a:lnTo>
                    <a:pt x="464" y="456"/>
                  </a:lnTo>
                  <a:lnTo>
                    <a:pt x="464" y="474"/>
                  </a:lnTo>
                  <a:lnTo>
                    <a:pt x="426" y="521"/>
                  </a:lnTo>
                  <a:lnTo>
                    <a:pt x="354" y="508"/>
                  </a:lnTo>
                  <a:lnTo>
                    <a:pt x="350" y="487"/>
                  </a:lnTo>
                  <a:lnTo>
                    <a:pt x="309" y="458"/>
                  </a:lnTo>
                  <a:lnTo>
                    <a:pt x="218" y="443"/>
                  </a:lnTo>
                  <a:lnTo>
                    <a:pt x="175" y="437"/>
                  </a:lnTo>
                  <a:lnTo>
                    <a:pt x="161" y="437"/>
                  </a:lnTo>
                  <a:lnTo>
                    <a:pt x="126" y="411"/>
                  </a:lnTo>
                  <a:lnTo>
                    <a:pt x="52" y="396"/>
                  </a:lnTo>
                  <a:lnTo>
                    <a:pt x="3" y="309"/>
                  </a:lnTo>
                  <a:lnTo>
                    <a:pt x="0" y="284"/>
                  </a:lnTo>
                  <a:lnTo>
                    <a:pt x="20" y="278"/>
                  </a:lnTo>
                  <a:lnTo>
                    <a:pt x="20" y="249"/>
                  </a:lnTo>
                  <a:lnTo>
                    <a:pt x="35" y="215"/>
                  </a:lnTo>
                  <a:lnTo>
                    <a:pt x="16" y="202"/>
                  </a:lnTo>
                  <a:lnTo>
                    <a:pt x="42" y="184"/>
                  </a:lnTo>
                </a:path>
              </a:pathLst>
            </a:custGeom>
            <a:solidFill>
              <a:schemeClr val="bg1">
                <a:lumMod val="85000"/>
              </a:schemeClr>
            </a:solidFill>
            <a:ln w="3175" cap="rnd">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73" name="Freeform 40"/>
            <p:cNvSpPr>
              <a:spLocks noChangeAspect="1"/>
            </p:cNvSpPr>
            <p:nvPr>
              <p:custDataLst>
                <p:tags r:id="rId16"/>
              </p:custDataLst>
            </p:nvPr>
          </p:nvSpPr>
          <p:spPr bwMode="auto">
            <a:xfrm>
              <a:off x="3803650" y="2686050"/>
              <a:ext cx="1533525" cy="1241425"/>
            </a:xfrm>
            <a:custGeom>
              <a:avLst/>
              <a:gdLst>
                <a:gd name="T0" fmla="*/ 0 w 893"/>
                <a:gd name="T1" fmla="*/ 2147483647 h 677"/>
                <a:gd name="T2" fmla="*/ 2147483647 w 893"/>
                <a:gd name="T3" fmla="*/ 2147483647 h 677"/>
                <a:gd name="T4" fmla="*/ 2147483647 w 893"/>
                <a:gd name="T5" fmla="*/ 2147483647 h 677"/>
                <a:gd name="T6" fmla="*/ 2147483647 w 893"/>
                <a:gd name="T7" fmla="*/ 2147483647 h 677"/>
                <a:gd name="T8" fmla="*/ 2147483647 w 893"/>
                <a:gd name="T9" fmla="*/ 0 h 677"/>
                <a:gd name="T10" fmla="*/ 2147483647 w 893"/>
                <a:gd name="T11" fmla="*/ 2147483647 h 677"/>
                <a:gd name="T12" fmla="*/ 2147483647 w 893"/>
                <a:gd name="T13" fmla="*/ 2147483647 h 677"/>
                <a:gd name="T14" fmla="*/ 2147483647 w 893"/>
                <a:gd name="T15" fmla="*/ 2147483647 h 677"/>
                <a:gd name="T16" fmla="*/ 2147483647 w 893"/>
                <a:gd name="T17" fmla="*/ 2147483647 h 677"/>
                <a:gd name="T18" fmla="*/ 2147483647 w 893"/>
                <a:gd name="T19" fmla="*/ 2147483647 h 677"/>
                <a:gd name="T20" fmla="*/ 2147483647 w 893"/>
                <a:gd name="T21" fmla="*/ 2147483647 h 677"/>
                <a:gd name="T22" fmla="*/ 2147483647 w 893"/>
                <a:gd name="T23" fmla="*/ 2147483647 h 677"/>
                <a:gd name="T24" fmla="*/ 2147483647 w 893"/>
                <a:gd name="T25" fmla="*/ 2147483647 h 677"/>
                <a:gd name="T26" fmla="*/ 2147483647 w 893"/>
                <a:gd name="T27" fmla="*/ 2147483647 h 677"/>
                <a:gd name="T28" fmla="*/ 2147483647 w 893"/>
                <a:gd name="T29" fmla="*/ 2147483647 h 677"/>
                <a:gd name="T30" fmla="*/ 2147483647 w 893"/>
                <a:gd name="T31" fmla="*/ 2147483647 h 677"/>
                <a:gd name="T32" fmla="*/ 2147483647 w 893"/>
                <a:gd name="T33" fmla="*/ 2147483647 h 677"/>
                <a:gd name="T34" fmla="*/ 2147483647 w 893"/>
                <a:gd name="T35" fmla="*/ 2147483647 h 677"/>
                <a:gd name="T36" fmla="*/ 2147483647 w 893"/>
                <a:gd name="T37" fmla="*/ 2147483647 h 677"/>
                <a:gd name="T38" fmla="*/ 2147483647 w 893"/>
                <a:gd name="T39" fmla="*/ 2147483647 h 677"/>
                <a:gd name="T40" fmla="*/ 2147483647 w 893"/>
                <a:gd name="T41" fmla="*/ 2147483647 h 677"/>
                <a:gd name="T42" fmla="*/ 2147483647 w 893"/>
                <a:gd name="T43" fmla="*/ 2147483647 h 677"/>
                <a:gd name="T44" fmla="*/ 2147483647 w 893"/>
                <a:gd name="T45" fmla="*/ 2147483647 h 677"/>
                <a:gd name="T46" fmla="*/ 2147483647 w 893"/>
                <a:gd name="T47" fmla="*/ 2147483647 h 677"/>
                <a:gd name="T48" fmla="*/ 2147483647 w 893"/>
                <a:gd name="T49" fmla="*/ 2147483647 h 677"/>
                <a:gd name="T50" fmla="*/ 2147483647 w 893"/>
                <a:gd name="T51" fmla="*/ 2147483647 h 677"/>
                <a:gd name="T52" fmla="*/ 2147483647 w 893"/>
                <a:gd name="T53" fmla="*/ 2147483647 h 677"/>
                <a:gd name="T54" fmla="*/ 2147483647 w 893"/>
                <a:gd name="T55" fmla="*/ 2147483647 h 677"/>
                <a:gd name="T56" fmla="*/ 2147483647 w 893"/>
                <a:gd name="T57" fmla="*/ 2147483647 h 677"/>
                <a:gd name="T58" fmla="*/ 2147483647 w 893"/>
                <a:gd name="T59" fmla="*/ 2147483647 h 677"/>
                <a:gd name="T60" fmla="*/ 2147483647 w 893"/>
                <a:gd name="T61" fmla="*/ 2147483647 h 677"/>
                <a:gd name="T62" fmla="*/ 2147483647 w 893"/>
                <a:gd name="T63" fmla="*/ 2147483647 h 677"/>
                <a:gd name="T64" fmla="*/ 2147483647 w 893"/>
                <a:gd name="T65" fmla="*/ 2147483647 h 677"/>
                <a:gd name="T66" fmla="*/ 2147483647 w 893"/>
                <a:gd name="T67" fmla="*/ 2147483647 h 677"/>
                <a:gd name="T68" fmla="*/ 2147483647 w 893"/>
                <a:gd name="T69" fmla="*/ 2147483647 h 677"/>
                <a:gd name="T70" fmla="*/ 2147483647 w 893"/>
                <a:gd name="T71" fmla="*/ 2147483647 h 677"/>
                <a:gd name="T72" fmla="*/ 2147483647 w 893"/>
                <a:gd name="T73" fmla="*/ 2147483647 h 677"/>
                <a:gd name="T74" fmla="*/ 2147483647 w 893"/>
                <a:gd name="T75" fmla="*/ 2147483647 h 677"/>
                <a:gd name="T76" fmla="*/ 2147483647 w 893"/>
                <a:gd name="T77" fmla="*/ 2147483647 h 677"/>
                <a:gd name="T78" fmla="*/ 2147483647 w 893"/>
                <a:gd name="T79" fmla="*/ 2147483647 h 677"/>
                <a:gd name="T80" fmla="*/ 2147483647 w 893"/>
                <a:gd name="T81" fmla="*/ 2147483647 h 677"/>
                <a:gd name="T82" fmla="*/ 2147483647 w 893"/>
                <a:gd name="T83" fmla="*/ 2147483647 h 677"/>
                <a:gd name="T84" fmla="*/ 2147483647 w 893"/>
                <a:gd name="T85" fmla="*/ 2147483647 h 677"/>
                <a:gd name="T86" fmla="*/ 2147483647 w 893"/>
                <a:gd name="T87" fmla="*/ 2147483647 h 677"/>
                <a:gd name="T88" fmla="*/ 2147483647 w 893"/>
                <a:gd name="T89" fmla="*/ 2147483647 h 677"/>
                <a:gd name="T90" fmla="*/ 2147483647 w 893"/>
                <a:gd name="T91" fmla="*/ 2147483647 h 677"/>
                <a:gd name="T92" fmla="*/ 2147483647 w 893"/>
                <a:gd name="T93" fmla="*/ 2147483647 h 677"/>
                <a:gd name="T94" fmla="*/ 2147483647 w 893"/>
                <a:gd name="T95" fmla="*/ 2147483647 h 677"/>
                <a:gd name="T96" fmla="*/ 2147483647 w 893"/>
                <a:gd name="T97" fmla="*/ 2147483647 h 677"/>
                <a:gd name="T98" fmla="*/ 2147483647 w 893"/>
                <a:gd name="T99" fmla="*/ 2147483647 h 677"/>
                <a:gd name="T100" fmla="*/ 2147483647 w 893"/>
                <a:gd name="T101" fmla="*/ 2147483647 h 677"/>
                <a:gd name="T102" fmla="*/ 2147483647 w 893"/>
                <a:gd name="T103" fmla="*/ 2147483647 h 677"/>
                <a:gd name="T104" fmla="*/ 2147483647 w 893"/>
                <a:gd name="T105" fmla="*/ 2147483647 h 677"/>
                <a:gd name="T106" fmla="*/ 2147483647 w 893"/>
                <a:gd name="T107" fmla="*/ 2147483647 h 677"/>
                <a:gd name="T108" fmla="*/ 2147483647 w 893"/>
                <a:gd name="T109" fmla="*/ 2147483647 h 677"/>
                <a:gd name="T110" fmla="*/ 2147483647 w 893"/>
                <a:gd name="T111" fmla="*/ 2147483647 h 677"/>
                <a:gd name="T112" fmla="*/ 2147483647 w 893"/>
                <a:gd name="T113" fmla="*/ 2147483647 h 677"/>
                <a:gd name="T114" fmla="*/ 2147483647 w 893"/>
                <a:gd name="T115" fmla="*/ 2147483647 h 677"/>
                <a:gd name="T116" fmla="*/ 2147483647 w 893"/>
                <a:gd name="T117" fmla="*/ 2147483647 h 677"/>
                <a:gd name="T118" fmla="*/ 2147483647 w 893"/>
                <a:gd name="T119" fmla="*/ 2147483647 h 677"/>
                <a:gd name="T120" fmla="*/ 2147483647 w 893"/>
                <a:gd name="T121" fmla="*/ 2147483647 h 677"/>
                <a:gd name="T122" fmla="*/ 2147483647 w 893"/>
                <a:gd name="T123" fmla="*/ 2147483647 h 677"/>
                <a:gd name="T124" fmla="*/ 2147483647 w 893"/>
                <a:gd name="T125" fmla="*/ 2147483647 h 67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93"/>
                <a:gd name="T190" fmla="*/ 0 h 677"/>
                <a:gd name="T191" fmla="*/ 893 w 893"/>
                <a:gd name="T192" fmla="*/ 677 h 67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93" h="677">
                  <a:moveTo>
                    <a:pt x="6" y="212"/>
                  </a:moveTo>
                  <a:lnTo>
                    <a:pt x="0" y="125"/>
                  </a:lnTo>
                  <a:lnTo>
                    <a:pt x="3" y="106"/>
                  </a:lnTo>
                  <a:lnTo>
                    <a:pt x="31" y="93"/>
                  </a:lnTo>
                  <a:lnTo>
                    <a:pt x="73" y="65"/>
                  </a:lnTo>
                  <a:lnTo>
                    <a:pt x="136" y="44"/>
                  </a:lnTo>
                  <a:lnTo>
                    <a:pt x="162" y="31"/>
                  </a:lnTo>
                  <a:lnTo>
                    <a:pt x="162" y="9"/>
                  </a:lnTo>
                  <a:lnTo>
                    <a:pt x="171" y="0"/>
                  </a:lnTo>
                  <a:lnTo>
                    <a:pt x="182" y="0"/>
                  </a:lnTo>
                  <a:lnTo>
                    <a:pt x="224" y="6"/>
                  </a:lnTo>
                  <a:lnTo>
                    <a:pt x="224" y="21"/>
                  </a:lnTo>
                  <a:lnTo>
                    <a:pt x="232" y="46"/>
                  </a:lnTo>
                  <a:lnTo>
                    <a:pt x="228" y="91"/>
                  </a:lnTo>
                  <a:lnTo>
                    <a:pt x="263" y="138"/>
                  </a:lnTo>
                  <a:lnTo>
                    <a:pt x="281" y="146"/>
                  </a:lnTo>
                  <a:lnTo>
                    <a:pt x="310" y="129"/>
                  </a:lnTo>
                  <a:lnTo>
                    <a:pt x="369" y="129"/>
                  </a:lnTo>
                  <a:lnTo>
                    <a:pt x="387" y="131"/>
                  </a:lnTo>
                  <a:lnTo>
                    <a:pt x="394" y="143"/>
                  </a:lnTo>
                  <a:lnTo>
                    <a:pt x="387" y="156"/>
                  </a:lnTo>
                  <a:lnTo>
                    <a:pt x="355" y="181"/>
                  </a:lnTo>
                  <a:lnTo>
                    <a:pt x="358" y="194"/>
                  </a:lnTo>
                  <a:lnTo>
                    <a:pt x="397" y="218"/>
                  </a:lnTo>
                  <a:lnTo>
                    <a:pt x="411" y="218"/>
                  </a:lnTo>
                  <a:lnTo>
                    <a:pt x="415" y="225"/>
                  </a:lnTo>
                  <a:lnTo>
                    <a:pt x="411" y="234"/>
                  </a:lnTo>
                  <a:lnTo>
                    <a:pt x="436" y="254"/>
                  </a:lnTo>
                  <a:lnTo>
                    <a:pt x="493" y="259"/>
                  </a:lnTo>
                  <a:lnTo>
                    <a:pt x="521" y="254"/>
                  </a:lnTo>
                  <a:lnTo>
                    <a:pt x="553" y="225"/>
                  </a:lnTo>
                  <a:lnTo>
                    <a:pt x="596" y="228"/>
                  </a:lnTo>
                  <a:lnTo>
                    <a:pt x="613" y="250"/>
                  </a:lnTo>
                  <a:lnTo>
                    <a:pt x="602" y="268"/>
                  </a:lnTo>
                  <a:lnTo>
                    <a:pt x="606" y="281"/>
                  </a:lnTo>
                  <a:lnTo>
                    <a:pt x="580" y="294"/>
                  </a:lnTo>
                  <a:lnTo>
                    <a:pt x="574" y="306"/>
                  </a:lnTo>
                  <a:lnTo>
                    <a:pt x="577" y="331"/>
                  </a:lnTo>
                  <a:lnTo>
                    <a:pt x="616" y="354"/>
                  </a:lnTo>
                  <a:lnTo>
                    <a:pt x="630" y="350"/>
                  </a:lnTo>
                  <a:lnTo>
                    <a:pt x="675" y="400"/>
                  </a:lnTo>
                  <a:lnTo>
                    <a:pt x="686" y="438"/>
                  </a:lnTo>
                  <a:lnTo>
                    <a:pt x="683" y="457"/>
                  </a:lnTo>
                  <a:lnTo>
                    <a:pt x="715" y="472"/>
                  </a:lnTo>
                  <a:lnTo>
                    <a:pt x="715" y="484"/>
                  </a:lnTo>
                  <a:lnTo>
                    <a:pt x="743" y="490"/>
                  </a:lnTo>
                  <a:lnTo>
                    <a:pt x="749" y="490"/>
                  </a:lnTo>
                  <a:lnTo>
                    <a:pt x="749" y="469"/>
                  </a:lnTo>
                  <a:lnTo>
                    <a:pt x="775" y="465"/>
                  </a:lnTo>
                  <a:lnTo>
                    <a:pt x="779" y="441"/>
                  </a:lnTo>
                  <a:lnTo>
                    <a:pt x="764" y="428"/>
                  </a:lnTo>
                  <a:lnTo>
                    <a:pt x="749" y="418"/>
                  </a:lnTo>
                  <a:lnTo>
                    <a:pt x="757" y="372"/>
                  </a:lnTo>
                  <a:lnTo>
                    <a:pt x="768" y="365"/>
                  </a:lnTo>
                  <a:lnTo>
                    <a:pt x="789" y="372"/>
                  </a:lnTo>
                  <a:lnTo>
                    <a:pt x="796" y="369"/>
                  </a:lnTo>
                  <a:lnTo>
                    <a:pt x="802" y="379"/>
                  </a:lnTo>
                  <a:lnTo>
                    <a:pt x="855" y="402"/>
                  </a:lnTo>
                  <a:lnTo>
                    <a:pt x="884" y="418"/>
                  </a:lnTo>
                  <a:lnTo>
                    <a:pt x="892" y="434"/>
                  </a:lnTo>
                  <a:lnTo>
                    <a:pt x="874" y="453"/>
                  </a:lnTo>
                  <a:lnTo>
                    <a:pt x="884" y="475"/>
                  </a:lnTo>
                  <a:lnTo>
                    <a:pt x="877" y="488"/>
                  </a:lnTo>
                  <a:lnTo>
                    <a:pt x="839" y="490"/>
                  </a:lnTo>
                  <a:lnTo>
                    <a:pt x="832" y="494"/>
                  </a:lnTo>
                  <a:lnTo>
                    <a:pt x="832" y="500"/>
                  </a:lnTo>
                  <a:lnTo>
                    <a:pt x="832" y="509"/>
                  </a:lnTo>
                  <a:lnTo>
                    <a:pt x="799" y="512"/>
                  </a:lnTo>
                  <a:lnTo>
                    <a:pt x="786" y="506"/>
                  </a:lnTo>
                  <a:lnTo>
                    <a:pt x="761" y="506"/>
                  </a:lnTo>
                  <a:lnTo>
                    <a:pt x="757" y="509"/>
                  </a:lnTo>
                  <a:lnTo>
                    <a:pt x="761" y="522"/>
                  </a:lnTo>
                  <a:lnTo>
                    <a:pt x="749" y="532"/>
                  </a:lnTo>
                  <a:lnTo>
                    <a:pt x="746" y="543"/>
                  </a:lnTo>
                  <a:lnTo>
                    <a:pt x="768" y="560"/>
                  </a:lnTo>
                  <a:lnTo>
                    <a:pt x="754" y="584"/>
                  </a:lnTo>
                  <a:lnTo>
                    <a:pt x="761" y="600"/>
                  </a:lnTo>
                  <a:lnTo>
                    <a:pt x="757" y="606"/>
                  </a:lnTo>
                  <a:lnTo>
                    <a:pt x="736" y="606"/>
                  </a:lnTo>
                  <a:lnTo>
                    <a:pt x="719" y="613"/>
                  </a:lnTo>
                  <a:lnTo>
                    <a:pt x="733" y="629"/>
                  </a:lnTo>
                  <a:lnTo>
                    <a:pt x="722" y="651"/>
                  </a:lnTo>
                  <a:lnTo>
                    <a:pt x="697" y="657"/>
                  </a:lnTo>
                  <a:lnTo>
                    <a:pt x="701" y="666"/>
                  </a:lnTo>
                  <a:lnTo>
                    <a:pt x="693" y="676"/>
                  </a:lnTo>
                  <a:lnTo>
                    <a:pt x="649" y="672"/>
                  </a:lnTo>
                  <a:lnTo>
                    <a:pt x="630" y="660"/>
                  </a:lnTo>
                  <a:lnTo>
                    <a:pt x="627" y="637"/>
                  </a:lnTo>
                  <a:lnTo>
                    <a:pt x="620" y="629"/>
                  </a:lnTo>
                  <a:lnTo>
                    <a:pt x="602" y="637"/>
                  </a:lnTo>
                  <a:lnTo>
                    <a:pt x="577" y="613"/>
                  </a:lnTo>
                  <a:lnTo>
                    <a:pt x="556" y="600"/>
                  </a:lnTo>
                  <a:lnTo>
                    <a:pt x="553" y="582"/>
                  </a:lnTo>
                  <a:lnTo>
                    <a:pt x="546" y="569"/>
                  </a:lnTo>
                  <a:lnTo>
                    <a:pt x="535" y="569"/>
                  </a:lnTo>
                  <a:lnTo>
                    <a:pt x="493" y="584"/>
                  </a:lnTo>
                  <a:lnTo>
                    <a:pt x="496" y="603"/>
                  </a:lnTo>
                  <a:lnTo>
                    <a:pt x="482" y="603"/>
                  </a:lnTo>
                  <a:lnTo>
                    <a:pt x="453" y="582"/>
                  </a:lnTo>
                  <a:lnTo>
                    <a:pt x="429" y="578"/>
                  </a:lnTo>
                  <a:lnTo>
                    <a:pt x="419" y="566"/>
                  </a:lnTo>
                  <a:lnTo>
                    <a:pt x="427" y="550"/>
                  </a:lnTo>
                  <a:lnTo>
                    <a:pt x="443" y="563"/>
                  </a:lnTo>
                  <a:lnTo>
                    <a:pt x="461" y="569"/>
                  </a:lnTo>
                  <a:lnTo>
                    <a:pt x="475" y="556"/>
                  </a:lnTo>
                  <a:lnTo>
                    <a:pt x="475" y="532"/>
                  </a:lnTo>
                  <a:lnTo>
                    <a:pt x="493" y="519"/>
                  </a:lnTo>
                  <a:lnTo>
                    <a:pt x="507" y="506"/>
                  </a:lnTo>
                  <a:lnTo>
                    <a:pt x="500" y="490"/>
                  </a:lnTo>
                  <a:lnTo>
                    <a:pt x="535" y="465"/>
                  </a:lnTo>
                  <a:lnTo>
                    <a:pt x="539" y="428"/>
                  </a:lnTo>
                  <a:lnTo>
                    <a:pt x="524" y="410"/>
                  </a:lnTo>
                  <a:lnTo>
                    <a:pt x="514" y="379"/>
                  </a:lnTo>
                  <a:lnTo>
                    <a:pt x="470" y="328"/>
                  </a:lnTo>
                  <a:lnTo>
                    <a:pt x="450" y="338"/>
                  </a:lnTo>
                  <a:lnTo>
                    <a:pt x="419" y="313"/>
                  </a:lnTo>
                  <a:lnTo>
                    <a:pt x="380" y="291"/>
                  </a:lnTo>
                  <a:lnTo>
                    <a:pt x="363" y="254"/>
                  </a:lnTo>
                  <a:lnTo>
                    <a:pt x="330" y="265"/>
                  </a:lnTo>
                  <a:lnTo>
                    <a:pt x="270" y="231"/>
                  </a:lnTo>
                  <a:lnTo>
                    <a:pt x="242" y="244"/>
                  </a:lnTo>
                  <a:lnTo>
                    <a:pt x="197" y="237"/>
                  </a:lnTo>
                  <a:lnTo>
                    <a:pt x="164" y="256"/>
                  </a:lnTo>
                  <a:lnTo>
                    <a:pt x="144" y="259"/>
                  </a:lnTo>
                  <a:lnTo>
                    <a:pt x="109" y="240"/>
                  </a:lnTo>
                  <a:lnTo>
                    <a:pt x="84" y="228"/>
                  </a:lnTo>
                  <a:lnTo>
                    <a:pt x="6" y="212"/>
                  </a:lnTo>
                </a:path>
              </a:pathLst>
            </a:custGeom>
            <a:solidFill>
              <a:srgbClr val="D9D9D9"/>
            </a:solidFill>
            <a:ln w="3175" cap="rnd">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74" name="Freeform 41"/>
            <p:cNvSpPr>
              <a:spLocks noChangeAspect="1"/>
            </p:cNvSpPr>
            <p:nvPr>
              <p:custDataLst>
                <p:tags r:id="rId17"/>
              </p:custDataLst>
            </p:nvPr>
          </p:nvSpPr>
          <p:spPr bwMode="auto">
            <a:xfrm>
              <a:off x="1843088" y="1879600"/>
              <a:ext cx="2257425" cy="1544638"/>
            </a:xfrm>
            <a:custGeom>
              <a:avLst/>
              <a:gdLst>
                <a:gd name="T0" fmla="*/ 2147483647 w 1312"/>
                <a:gd name="T1" fmla="*/ 2147483647 h 844"/>
                <a:gd name="T2" fmla="*/ 2147483647 w 1312"/>
                <a:gd name="T3" fmla="*/ 2147483647 h 844"/>
                <a:gd name="T4" fmla="*/ 2147483647 w 1312"/>
                <a:gd name="T5" fmla="*/ 2147483647 h 844"/>
                <a:gd name="T6" fmla="*/ 2147483647 w 1312"/>
                <a:gd name="T7" fmla="*/ 2147483647 h 844"/>
                <a:gd name="T8" fmla="*/ 2147483647 w 1312"/>
                <a:gd name="T9" fmla="*/ 2147483647 h 844"/>
                <a:gd name="T10" fmla="*/ 2147483647 w 1312"/>
                <a:gd name="T11" fmla="*/ 2147483647 h 844"/>
                <a:gd name="T12" fmla="*/ 2147483647 w 1312"/>
                <a:gd name="T13" fmla="*/ 2147483647 h 844"/>
                <a:gd name="T14" fmla="*/ 2147483647 w 1312"/>
                <a:gd name="T15" fmla="*/ 2147483647 h 844"/>
                <a:gd name="T16" fmla="*/ 2147483647 w 1312"/>
                <a:gd name="T17" fmla="*/ 2147483647 h 844"/>
                <a:gd name="T18" fmla="*/ 2147483647 w 1312"/>
                <a:gd name="T19" fmla="*/ 2147483647 h 844"/>
                <a:gd name="T20" fmla="*/ 2147483647 w 1312"/>
                <a:gd name="T21" fmla="*/ 2147483647 h 844"/>
                <a:gd name="T22" fmla="*/ 2147483647 w 1312"/>
                <a:gd name="T23" fmla="*/ 2147483647 h 844"/>
                <a:gd name="T24" fmla="*/ 2147483647 w 1312"/>
                <a:gd name="T25" fmla="*/ 2147483647 h 844"/>
                <a:gd name="T26" fmla="*/ 2147483647 w 1312"/>
                <a:gd name="T27" fmla="*/ 2147483647 h 844"/>
                <a:gd name="T28" fmla="*/ 2147483647 w 1312"/>
                <a:gd name="T29" fmla="*/ 2147483647 h 844"/>
                <a:gd name="T30" fmla="*/ 2147483647 w 1312"/>
                <a:gd name="T31" fmla="*/ 2147483647 h 844"/>
                <a:gd name="T32" fmla="*/ 2147483647 w 1312"/>
                <a:gd name="T33" fmla="*/ 2147483647 h 844"/>
                <a:gd name="T34" fmla="*/ 2147483647 w 1312"/>
                <a:gd name="T35" fmla="*/ 2147483647 h 844"/>
                <a:gd name="T36" fmla="*/ 2147483647 w 1312"/>
                <a:gd name="T37" fmla="*/ 2147483647 h 844"/>
                <a:gd name="T38" fmla="*/ 2147483647 w 1312"/>
                <a:gd name="T39" fmla="*/ 2147483647 h 844"/>
                <a:gd name="T40" fmla="*/ 2147483647 w 1312"/>
                <a:gd name="T41" fmla="*/ 2147483647 h 844"/>
                <a:gd name="T42" fmla="*/ 2147483647 w 1312"/>
                <a:gd name="T43" fmla="*/ 2147483647 h 844"/>
                <a:gd name="T44" fmla="*/ 2147483647 w 1312"/>
                <a:gd name="T45" fmla="*/ 2147483647 h 844"/>
                <a:gd name="T46" fmla="*/ 2147483647 w 1312"/>
                <a:gd name="T47" fmla="*/ 2147483647 h 844"/>
                <a:gd name="T48" fmla="*/ 2147483647 w 1312"/>
                <a:gd name="T49" fmla="*/ 2147483647 h 844"/>
                <a:gd name="T50" fmla="*/ 2147483647 w 1312"/>
                <a:gd name="T51" fmla="*/ 2147483647 h 844"/>
                <a:gd name="T52" fmla="*/ 2147483647 w 1312"/>
                <a:gd name="T53" fmla="*/ 2147483647 h 844"/>
                <a:gd name="T54" fmla="*/ 0 w 1312"/>
                <a:gd name="T55" fmla="*/ 2147483647 h 844"/>
                <a:gd name="T56" fmla="*/ 2147483647 w 1312"/>
                <a:gd name="T57" fmla="*/ 2147483647 h 844"/>
                <a:gd name="T58" fmla="*/ 2147483647 w 1312"/>
                <a:gd name="T59" fmla="*/ 2147483647 h 844"/>
                <a:gd name="T60" fmla="*/ 2147483647 w 1312"/>
                <a:gd name="T61" fmla="*/ 2147483647 h 844"/>
                <a:gd name="T62" fmla="*/ 2147483647 w 1312"/>
                <a:gd name="T63" fmla="*/ 2147483647 h 844"/>
                <a:gd name="T64" fmla="*/ 2147483647 w 1312"/>
                <a:gd name="T65" fmla="*/ 2147483647 h 844"/>
                <a:gd name="T66" fmla="*/ 2147483647 w 1312"/>
                <a:gd name="T67" fmla="*/ 2147483647 h 844"/>
                <a:gd name="T68" fmla="*/ 2147483647 w 1312"/>
                <a:gd name="T69" fmla="*/ 2147483647 h 844"/>
                <a:gd name="T70" fmla="*/ 2147483647 w 1312"/>
                <a:gd name="T71" fmla="*/ 2147483647 h 844"/>
                <a:gd name="T72" fmla="*/ 2147483647 w 1312"/>
                <a:gd name="T73" fmla="*/ 2147483647 h 844"/>
                <a:gd name="T74" fmla="*/ 2147483647 w 1312"/>
                <a:gd name="T75" fmla="*/ 2147483647 h 844"/>
                <a:gd name="T76" fmla="*/ 2147483647 w 1312"/>
                <a:gd name="T77" fmla="*/ 2147483647 h 844"/>
                <a:gd name="T78" fmla="*/ 2147483647 w 1312"/>
                <a:gd name="T79" fmla="*/ 2147483647 h 844"/>
                <a:gd name="T80" fmla="*/ 2147483647 w 1312"/>
                <a:gd name="T81" fmla="*/ 2147483647 h 844"/>
                <a:gd name="T82" fmla="*/ 2147483647 w 1312"/>
                <a:gd name="T83" fmla="*/ 2147483647 h 844"/>
                <a:gd name="T84" fmla="*/ 2147483647 w 1312"/>
                <a:gd name="T85" fmla="*/ 2147483647 h 8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312"/>
                <a:gd name="T130" fmla="*/ 0 h 844"/>
                <a:gd name="T131" fmla="*/ 1312 w 1312"/>
                <a:gd name="T132" fmla="*/ 844 h 84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312" h="844">
                  <a:moveTo>
                    <a:pt x="909" y="6"/>
                  </a:moveTo>
                  <a:lnTo>
                    <a:pt x="899" y="29"/>
                  </a:lnTo>
                  <a:lnTo>
                    <a:pt x="914" y="41"/>
                  </a:lnTo>
                  <a:lnTo>
                    <a:pt x="914" y="49"/>
                  </a:lnTo>
                  <a:lnTo>
                    <a:pt x="941" y="70"/>
                  </a:lnTo>
                  <a:lnTo>
                    <a:pt x="949" y="88"/>
                  </a:lnTo>
                  <a:lnTo>
                    <a:pt x="983" y="91"/>
                  </a:lnTo>
                  <a:lnTo>
                    <a:pt x="998" y="104"/>
                  </a:lnTo>
                  <a:lnTo>
                    <a:pt x="1005" y="104"/>
                  </a:lnTo>
                  <a:lnTo>
                    <a:pt x="1026" y="140"/>
                  </a:lnTo>
                  <a:lnTo>
                    <a:pt x="1046" y="183"/>
                  </a:lnTo>
                  <a:lnTo>
                    <a:pt x="1036" y="210"/>
                  </a:lnTo>
                  <a:lnTo>
                    <a:pt x="1039" y="219"/>
                  </a:lnTo>
                  <a:lnTo>
                    <a:pt x="1019" y="249"/>
                  </a:lnTo>
                  <a:lnTo>
                    <a:pt x="1026" y="269"/>
                  </a:lnTo>
                  <a:lnTo>
                    <a:pt x="1089" y="294"/>
                  </a:lnTo>
                  <a:lnTo>
                    <a:pt x="1162" y="302"/>
                  </a:lnTo>
                  <a:lnTo>
                    <a:pt x="1237" y="344"/>
                  </a:lnTo>
                  <a:lnTo>
                    <a:pt x="1258" y="353"/>
                  </a:lnTo>
                  <a:lnTo>
                    <a:pt x="1261" y="361"/>
                  </a:lnTo>
                  <a:lnTo>
                    <a:pt x="1274" y="391"/>
                  </a:lnTo>
                  <a:lnTo>
                    <a:pt x="1293" y="427"/>
                  </a:lnTo>
                  <a:lnTo>
                    <a:pt x="1311" y="456"/>
                  </a:lnTo>
                  <a:lnTo>
                    <a:pt x="1300" y="466"/>
                  </a:lnTo>
                  <a:lnTo>
                    <a:pt x="1300" y="486"/>
                  </a:lnTo>
                  <a:lnTo>
                    <a:pt x="1274" y="498"/>
                  </a:lnTo>
                  <a:lnTo>
                    <a:pt x="1212" y="519"/>
                  </a:lnTo>
                  <a:lnTo>
                    <a:pt x="1169" y="546"/>
                  </a:lnTo>
                  <a:lnTo>
                    <a:pt x="1142" y="558"/>
                  </a:lnTo>
                  <a:lnTo>
                    <a:pt x="1138" y="576"/>
                  </a:lnTo>
                  <a:lnTo>
                    <a:pt x="1145" y="659"/>
                  </a:lnTo>
                  <a:lnTo>
                    <a:pt x="1125" y="655"/>
                  </a:lnTo>
                  <a:lnTo>
                    <a:pt x="1114" y="662"/>
                  </a:lnTo>
                  <a:lnTo>
                    <a:pt x="955" y="688"/>
                  </a:lnTo>
                  <a:lnTo>
                    <a:pt x="934" y="703"/>
                  </a:lnTo>
                  <a:lnTo>
                    <a:pt x="938" y="736"/>
                  </a:lnTo>
                  <a:lnTo>
                    <a:pt x="983" y="768"/>
                  </a:lnTo>
                  <a:lnTo>
                    <a:pt x="969" y="789"/>
                  </a:lnTo>
                  <a:lnTo>
                    <a:pt x="949" y="797"/>
                  </a:lnTo>
                  <a:lnTo>
                    <a:pt x="945" y="811"/>
                  </a:lnTo>
                  <a:lnTo>
                    <a:pt x="949" y="819"/>
                  </a:lnTo>
                  <a:lnTo>
                    <a:pt x="959" y="819"/>
                  </a:lnTo>
                  <a:lnTo>
                    <a:pt x="966" y="828"/>
                  </a:lnTo>
                  <a:lnTo>
                    <a:pt x="920" y="839"/>
                  </a:lnTo>
                  <a:lnTo>
                    <a:pt x="896" y="831"/>
                  </a:lnTo>
                  <a:lnTo>
                    <a:pt x="881" y="825"/>
                  </a:lnTo>
                  <a:lnTo>
                    <a:pt x="846" y="825"/>
                  </a:lnTo>
                  <a:lnTo>
                    <a:pt x="787" y="801"/>
                  </a:lnTo>
                  <a:lnTo>
                    <a:pt x="747" y="801"/>
                  </a:lnTo>
                  <a:lnTo>
                    <a:pt x="716" y="811"/>
                  </a:lnTo>
                  <a:lnTo>
                    <a:pt x="685" y="811"/>
                  </a:lnTo>
                  <a:lnTo>
                    <a:pt x="632" y="833"/>
                  </a:lnTo>
                  <a:lnTo>
                    <a:pt x="589" y="828"/>
                  </a:lnTo>
                  <a:lnTo>
                    <a:pt x="548" y="843"/>
                  </a:lnTo>
                  <a:lnTo>
                    <a:pt x="512" y="831"/>
                  </a:lnTo>
                  <a:lnTo>
                    <a:pt x="492" y="816"/>
                  </a:lnTo>
                  <a:lnTo>
                    <a:pt x="435" y="811"/>
                  </a:lnTo>
                  <a:lnTo>
                    <a:pt x="396" y="831"/>
                  </a:lnTo>
                  <a:lnTo>
                    <a:pt x="376" y="822"/>
                  </a:lnTo>
                  <a:lnTo>
                    <a:pt x="360" y="813"/>
                  </a:lnTo>
                  <a:lnTo>
                    <a:pt x="319" y="804"/>
                  </a:lnTo>
                  <a:lnTo>
                    <a:pt x="311" y="797"/>
                  </a:lnTo>
                  <a:lnTo>
                    <a:pt x="294" y="796"/>
                  </a:lnTo>
                  <a:lnTo>
                    <a:pt x="270" y="763"/>
                  </a:lnTo>
                  <a:lnTo>
                    <a:pt x="245" y="757"/>
                  </a:lnTo>
                  <a:lnTo>
                    <a:pt x="182" y="774"/>
                  </a:lnTo>
                  <a:lnTo>
                    <a:pt x="154" y="768"/>
                  </a:lnTo>
                  <a:lnTo>
                    <a:pt x="97" y="736"/>
                  </a:lnTo>
                  <a:lnTo>
                    <a:pt x="83" y="734"/>
                  </a:lnTo>
                  <a:lnTo>
                    <a:pt x="69" y="712"/>
                  </a:lnTo>
                  <a:lnTo>
                    <a:pt x="78" y="688"/>
                  </a:lnTo>
                  <a:lnTo>
                    <a:pt x="76" y="677"/>
                  </a:lnTo>
                  <a:lnTo>
                    <a:pt x="55" y="664"/>
                  </a:lnTo>
                  <a:lnTo>
                    <a:pt x="48" y="653"/>
                  </a:lnTo>
                  <a:lnTo>
                    <a:pt x="6" y="635"/>
                  </a:lnTo>
                  <a:lnTo>
                    <a:pt x="6" y="629"/>
                  </a:lnTo>
                  <a:lnTo>
                    <a:pt x="26" y="620"/>
                  </a:lnTo>
                  <a:lnTo>
                    <a:pt x="37" y="625"/>
                  </a:lnTo>
                  <a:lnTo>
                    <a:pt x="52" y="617"/>
                  </a:lnTo>
                  <a:lnTo>
                    <a:pt x="48" y="581"/>
                  </a:lnTo>
                  <a:lnTo>
                    <a:pt x="52" y="554"/>
                  </a:lnTo>
                  <a:lnTo>
                    <a:pt x="23" y="530"/>
                  </a:lnTo>
                  <a:lnTo>
                    <a:pt x="6" y="534"/>
                  </a:lnTo>
                  <a:lnTo>
                    <a:pt x="0" y="519"/>
                  </a:lnTo>
                  <a:lnTo>
                    <a:pt x="9" y="501"/>
                  </a:lnTo>
                  <a:lnTo>
                    <a:pt x="2" y="486"/>
                  </a:lnTo>
                  <a:lnTo>
                    <a:pt x="26" y="466"/>
                  </a:lnTo>
                  <a:lnTo>
                    <a:pt x="26" y="453"/>
                  </a:lnTo>
                  <a:lnTo>
                    <a:pt x="55" y="442"/>
                  </a:lnTo>
                  <a:lnTo>
                    <a:pt x="78" y="439"/>
                  </a:lnTo>
                  <a:lnTo>
                    <a:pt x="101" y="430"/>
                  </a:lnTo>
                  <a:lnTo>
                    <a:pt x="118" y="436"/>
                  </a:lnTo>
                  <a:lnTo>
                    <a:pt x="131" y="430"/>
                  </a:lnTo>
                  <a:lnTo>
                    <a:pt x="140" y="432"/>
                  </a:lnTo>
                  <a:lnTo>
                    <a:pt x="140" y="448"/>
                  </a:lnTo>
                  <a:lnTo>
                    <a:pt x="154" y="453"/>
                  </a:lnTo>
                  <a:lnTo>
                    <a:pt x="182" y="451"/>
                  </a:lnTo>
                  <a:lnTo>
                    <a:pt x="214" y="422"/>
                  </a:lnTo>
                  <a:lnTo>
                    <a:pt x="281" y="432"/>
                  </a:lnTo>
                  <a:lnTo>
                    <a:pt x="311" y="412"/>
                  </a:lnTo>
                  <a:lnTo>
                    <a:pt x="410" y="394"/>
                  </a:lnTo>
                  <a:lnTo>
                    <a:pt x="417" y="383"/>
                  </a:lnTo>
                  <a:lnTo>
                    <a:pt x="423" y="353"/>
                  </a:lnTo>
                  <a:lnTo>
                    <a:pt x="453" y="332"/>
                  </a:lnTo>
                  <a:lnTo>
                    <a:pt x="459" y="332"/>
                  </a:lnTo>
                  <a:lnTo>
                    <a:pt x="463" y="246"/>
                  </a:lnTo>
                  <a:lnTo>
                    <a:pt x="466" y="228"/>
                  </a:lnTo>
                  <a:lnTo>
                    <a:pt x="442" y="219"/>
                  </a:lnTo>
                  <a:lnTo>
                    <a:pt x="439" y="213"/>
                  </a:lnTo>
                  <a:lnTo>
                    <a:pt x="466" y="207"/>
                  </a:lnTo>
                  <a:lnTo>
                    <a:pt x="540" y="202"/>
                  </a:lnTo>
                  <a:lnTo>
                    <a:pt x="551" y="213"/>
                  </a:lnTo>
                  <a:lnTo>
                    <a:pt x="575" y="219"/>
                  </a:lnTo>
                  <a:lnTo>
                    <a:pt x="582" y="219"/>
                  </a:lnTo>
                  <a:lnTo>
                    <a:pt x="593" y="210"/>
                  </a:lnTo>
                  <a:lnTo>
                    <a:pt x="579" y="199"/>
                  </a:lnTo>
                  <a:lnTo>
                    <a:pt x="635" y="106"/>
                  </a:lnTo>
                  <a:lnTo>
                    <a:pt x="642" y="101"/>
                  </a:lnTo>
                  <a:lnTo>
                    <a:pt x="692" y="121"/>
                  </a:lnTo>
                  <a:lnTo>
                    <a:pt x="713" y="121"/>
                  </a:lnTo>
                  <a:lnTo>
                    <a:pt x="723" y="133"/>
                  </a:lnTo>
                  <a:lnTo>
                    <a:pt x="773" y="118"/>
                  </a:lnTo>
                  <a:lnTo>
                    <a:pt x="783" y="53"/>
                  </a:lnTo>
                  <a:lnTo>
                    <a:pt x="804" y="41"/>
                  </a:lnTo>
                  <a:lnTo>
                    <a:pt x="829" y="41"/>
                  </a:lnTo>
                  <a:lnTo>
                    <a:pt x="843" y="23"/>
                  </a:lnTo>
                  <a:lnTo>
                    <a:pt x="850" y="6"/>
                  </a:lnTo>
                  <a:lnTo>
                    <a:pt x="863" y="0"/>
                  </a:lnTo>
                  <a:lnTo>
                    <a:pt x="909" y="6"/>
                  </a:lnTo>
                </a:path>
              </a:pathLst>
            </a:custGeom>
            <a:solidFill>
              <a:srgbClr val="D9D9D9"/>
            </a:solidFill>
            <a:ln w="3175" cap="rnd">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75" name="Freeform 42"/>
            <p:cNvSpPr>
              <a:spLocks noChangeAspect="1"/>
            </p:cNvSpPr>
            <p:nvPr>
              <p:custDataLst>
                <p:tags r:id="rId18"/>
              </p:custDataLst>
            </p:nvPr>
          </p:nvSpPr>
          <p:spPr bwMode="auto">
            <a:xfrm>
              <a:off x="5518150" y="3405188"/>
              <a:ext cx="669925" cy="579437"/>
            </a:xfrm>
            <a:custGeom>
              <a:avLst/>
              <a:gdLst>
                <a:gd name="T0" fmla="*/ 2147483647 w 389"/>
                <a:gd name="T1" fmla="*/ 2147483647 h 316"/>
                <a:gd name="T2" fmla="*/ 2147483647 w 389"/>
                <a:gd name="T3" fmla="*/ 2147483647 h 316"/>
                <a:gd name="T4" fmla="*/ 2147483647 w 389"/>
                <a:gd name="T5" fmla="*/ 2147483647 h 316"/>
                <a:gd name="T6" fmla="*/ 2147483647 w 389"/>
                <a:gd name="T7" fmla="*/ 2147483647 h 316"/>
                <a:gd name="T8" fmla="*/ 2147483647 w 389"/>
                <a:gd name="T9" fmla="*/ 2147483647 h 316"/>
                <a:gd name="T10" fmla="*/ 2147483647 w 389"/>
                <a:gd name="T11" fmla="*/ 2147483647 h 316"/>
                <a:gd name="T12" fmla="*/ 2147483647 w 389"/>
                <a:gd name="T13" fmla="*/ 2147483647 h 316"/>
                <a:gd name="T14" fmla="*/ 2147483647 w 389"/>
                <a:gd name="T15" fmla="*/ 2147483647 h 316"/>
                <a:gd name="T16" fmla="*/ 2147483647 w 389"/>
                <a:gd name="T17" fmla="*/ 2147483647 h 316"/>
                <a:gd name="T18" fmla="*/ 2147483647 w 389"/>
                <a:gd name="T19" fmla="*/ 2147483647 h 316"/>
                <a:gd name="T20" fmla="*/ 2147483647 w 389"/>
                <a:gd name="T21" fmla="*/ 2147483647 h 316"/>
                <a:gd name="T22" fmla="*/ 2147483647 w 389"/>
                <a:gd name="T23" fmla="*/ 2147483647 h 316"/>
                <a:gd name="T24" fmla="*/ 2147483647 w 389"/>
                <a:gd name="T25" fmla="*/ 2147483647 h 316"/>
                <a:gd name="T26" fmla="*/ 2147483647 w 389"/>
                <a:gd name="T27" fmla="*/ 2147483647 h 316"/>
                <a:gd name="T28" fmla="*/ 2147483647 w 389"/>
                <a:gd name="T29" fmla="*/ 2147483647 h 316"/>
                <a:gd name="T30" fmla="*/ 2147483647 w 389"/>
                <a:gd name="T31" fmla="*/ 2147483647 h 316"/>
                <a:gd name="T32" fmla="*/ 2147483647 w 389"/>
                <a:gd name="T33" fmla="*/ 2147483647 h 316"/>
                <a:gd name="T34" fmla="*/ 2147483647 w 389"/>
                <a:gd name="T35" fmla="*/ 2147483647 h 316"/>
                <a:gd name="T36" fmla="*/ 2147483647 w 389"/>
                <a:gd name="T37" fmla="*/ 2147483647 h 316"/>
                <a:gd name="T38" fmla="*/ 2147483647 w 389"/>
                <a:gd name="T39" fmla="*/ 2147483647 h 316"/>
                <a:gd name="T40" fmla="*/ 2147483647 w 389"/>
                <a:gd name="T41" fmla="*/ 2147483647 h 316"/>
                <a:gd name="T42" fmla="*/ 2147483647 w 389"/>
                <a:gd name="T43" fmla="*/ 2147483647 h 316"/>
                <a:gd name="T44" fmla="*/ 2147483647 w 389"/>
                <a:gd name="T45" fmla="*/ 2147483647 h 316"/>
                <a:gd name="T46" fmla="*/ 2147483647 w 389"/>
                <a:gd name="T47" fmla="*/ 2147483647 h 316"/>
                <a:gd name="T48" fmla="*/ 2147483647 w 389"/>
                <a:gd name="T49" fmla="*/ 2147483647 h 316"/>
                <a:gd name="T50" fmla="*/ 2147483647 w 389"/>
                <a:gd name="T51" fmla="*/ 2147483647 h 316"/>
                <a:gd name="T52" fmla="*/ 2147483647 w 389"/>
                <a:gd name="T53" fmla="*/ 2147483647 h 316"/>
                <a:gd name="T54" fmla="*/ 2147483647 w 389"/>
                <a:gd name="T55" fmla="*/ 2147483647 h 316"/>
                <a:gd name="T56" fmla="*/ 2147483647 w 389"/>
                <a:gd name="T57" fmla="*/ 2147483647 h 316"/>
                <a:gd name="T58" fmla="*/ 2147483647 w 389"/>
                <a:gd name="T59" fmla="*/ 2147483647 h 316"/>
                <a:gd name="T60" fmla="*/ 2147483647 w 389"/>
                <a:gd name="T61" fmla="*/ 2147483647 h 316"/>
                <a:gd name="T62" fmla="*/ 2147483647 w 389"/>
                <a:gd name="T63" fmla="*/ 2147483647 h 316"/>
                <a:gd name="T64" fmla="*/ 2147483647 w 389"/>
                <a:gd name="T65" fmla="*/ 2147483647 h 316"/>
                <a:gd name="T66" fmla="*/ 2147483647 w 389"/>
                <a:gd name="T67" fmla="*/ 2147483647 h 316"/>
                <a:gd name="T68" fmla="*/ 2147483647 w 389"/>
                <a:gd name="T69" fmla="*/ 2147483647 h 316"/>
                <a:gd name="T70" fmla="*/ 2147483647 w 389"/>
                <a:gd name="T71" fmla="*/ 2147483647 h 316"/>
                <a:gd name="T72" fmla="*/ 2147483647 w 389"/>
                <a:gd name="T73" fmla="*/ 2147483647 h 316"/>
                <a:gd name="T74" fmla="*/ 2147483647 w 389"/>
                <a:gd name="T75" fmla="*/ 2147483647 h 316"/>
                <a:gd name="T76" fmla="*/ 2147483647 w 389"/>
                <a:gd name="T77" fmla="*/ 2147483647 h 316"/>
                <a:gd name="T78" fmla="*/ 2147483647 w 389"/>
                <a:gd name="T79" fmla="*/ 2147483647 h 316"/>
                <a:gd name="T80" fmla="*/ 2147483647 w 389"/>
                <a:gd name="T81" fmla="*/ 2147483647 h 316"/>
                <a:gd name="T82" fmla="*/ 2147483647 w 389"/>
                <a:gd name="T83" fmla="*/ 2147483647 h 316"/>
                <a:gd name="T84" fmla="*/ 2147483647 w 389"/>
                <a:gd name="T85" fmla="*/ 0 h 316"/>
                <a:gd name="T86" fmla="*/ 2147483647 w 389"/>
                <a:gd name="T87" fmla="*/ 2147483647 h 316"/>
                <a:gd name="T88" fmla="*/ 2147483647 w 389"/>
                <a:gd name="T89" fmla="*/ 0 h 316"/>
                <a:gd name="T90" fmla="*/ 2147483647 w 389"/>
                <a:gd name="T91" fmla="*/ 2147483647 h 316"/>
                <a:gd name="T92" fmla="*/ 2147483647 w 389"/>
                <a:gd name="T93" fmla="*/ 2147483647 h 316"/>
                <a:gd name="T94" fmla="*/ 2147483647 w 389"/>
                <a:gd name="T95" fmla="*/ 2147483647 h 316"/>
                <a:gd name="T96" fmla="*/ 2147483647 w 389"/>
                <a:gd name="T97" fmla="*/ 2147483647 h 316"/>
                <a:gd name="T98" fmla="*/ 0 w 389"/>
                <a:gd name="T99" fmla="*/ 2147483647 h 316"/>
                <a:gd name="T100" fmla="*/ 0 w 389"/>
                <a:gd name="T101" fmla="*/ 2147483647 h 316"/>
                <a:gd name="T102" fmla="*/ 2147483647 w 389"/>
                <a:gd name="T103" fmla="*/ 2147483647 h 316"/>
                <a:gd name="T104" fmla="*/ 2147483647 w 389"/>
                <a:gd name="T105" fmla="*/ 2147483647 h 31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89"/>
                <a:gd name="T160" fmla="*/ 0 h 316"/>
                <a:gd name="T161" fmla="*/ 389 w 389"/>
                <a:gd name="T162" fmla="*/ 316 h 31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89" h="316">
                  <a:moveTo>
                    <a:pt x="45" y="216"/>
                  </a:moveTo>
                  <a:lnTo>
                    <a:pt x="98" y="261"/>
                  </a:lnTo>
                  <a:lnTo>
                    <a:pt x="144" y="270"/>
                  </a:lnTo>
                  <a:lnTo>
                    <a:pt x="186" y="264"/>
                  </a:lnTo>
                  <a:lnTo>
                    <a:pt x="201" y="270"/>
                  </a:lnTo>
                  <a:lnTo>
                    <a:pt x="215" y="264"/>
                  </a:lnTo>
                  <a:lnTo>
                    <a:pt x="224" y="273"/>
                  </a:lnTo>
                  <a:lnTo>
                    <a:pt x="232" y="290"/>
                  </a:lnTo>
                  <a:lnTo>
                    <a:pt x="253" y="299"/>
                  </a:lnTo>
                  <a:lnTo>
                    <a:pt x="277" y="299"/>
                  </a:lnTo>
                  <a:lnTo>
                    <a:pt x="298" y="315"/>
                  </a:lnTo>
                  <a:lnTo>
                    <a:pt x="317" y="305"/>
                  </a:lnTo>
                  <a:lnTo>
                    <a:pt x="330" y="315"/>
                  </a:lnTo>
                  <a:lnTo>
                    <a:pt x="341" y="292"/>
                  </a:lnTo>
                  <a:lnTo>
                    <a:pt x="358" y="286"/>
                  </a:lnTo>
                  <a:lnTo>
                    <a:pt x="363" y="267"/>
                  </a:lnTo>
                  <a:lnTo>
                    <a:pt x="356" y="238"/>
                  </a:lnTo>
                  <a:lnTo>
                    <a:pt x="351" y="236"/>
                  </a:lnTo>
                  <a:lnTo>
                    <a:pt x="338" y="252"/>
                  </a:lnTo>
                  <a:lnTo>
                    <a:pt x="310" y="233"/>
                  </a:lnTo>
                  <a:lnTo>
                    <a:pt x="292" y="210"/>
                  </a:lnTo>
                  <a:lnTo>
                    <a:pt x="310" y="197"/>
                  </a:lnTo>
                  <a:lnTo>
                    <a:pt x="317" y="175"/>
                  </a:lnTo>
                  <a:lnTo>
                    <a:pt x="328" y="170"/>
                  </a:lnTo>
                  <a:lnTo>
                    <a:pt x="328" y="142"/>
                  </a:lnTo>
                  <a:lnTo>
                    <a:pt x="334" y="134"/>
                  </a:lnTo>
                  <a:lnTo>
                    <a:pt x="348" y="143"/>
                  </a:lnTo>
                  <a:lnTo>
                    <a:pt x="358" y="157"/>
                  </a:lnTo>
                  <a:lnTo>
                    <a:pt x="380" y="143"/>
                  </a:lnTo>
                  <a:lnTo>
                    <a:pt x="388" y="138"/>
                  </a:lnTo>
                  <a:lnTo>
                    <a:pt x="383" y="122"/>
                  </a:lnTo>
                  <a:lnTo>
                    <a:pt x="358" y="110"/>
                  </a:lnTo>
                  <a:lnTo>
                    <a:pt x="356" y="97"/>
                  </a:lnTo>
                  <a:lnTo>
                    <a:pt x="313" y="100"/>
                  </a:lnTo>
                  <a:lnTo>
                    <a:pt x="285" y="80"/>
                  </a:lnTo>
                  <a:lnTo>
                    <a:pt x="275" y="79"/>
                  </a:lnTo>
                  <a:lnTo>
                    <a:pt x="275" y="62"/>
                  </a:lnTo>
                  <a:lnTo>
                    <a:pt x="334" y="6"/>
                  </a:lnTo>
                  <a:lnTo>
                    <a:pt x="310" y="9"/>
                  </a:lnTo>
                  <a:lnTo>
                    <a:pt x="298" y="18"/>
                  </a:lnTo>
                  <a:lnTo>
                    <a:pt x="292" y="12"/>
                  </a:lnTo>
                  <a:lnTo>
                    <a:pt x="292" y="2"/>
                  </a:lnTo>
                  <a:lnTo>
                    <a:pt x="281" y="0"/>
                  </a:lnTo>
                  <a:lnTo>
                    <a:pt x="257" y="9"/>
                  </a:lnTo>
                  <a:lnTo>
                    <a:pt x="186" y="0"/>
                  </a:lnTo>
                  <a:lnTo>
                    <a:pt x="182" y="49"/>
                  </a:lnTo>
                  <a:lnTo>
                    <a:pt x="151" y="71"/>
                  </a:lnTo>
                  <a:lnTo>
                    <a:pt x="109" y="80"/>
                  </a:lnTo>
                  <a:lnTo>
                    <a:pt x="45" y="119"/>
                  </a:lnTo>
                  <a:lnTo>
                    <a:pt x="0" y="132"/>
                  </a:lnTo>
                  <a:lnTo>
                    <a:pt x="0" y="138"/>
                  </a:lnTo>
                  <a:lnTo>
                    <a:pt x="45" y="201"/>
                  </a:lnTo>
                  <a:lnTo>
                    <a:pt x="45" y="216"/>
                  </a:lnTo>
                </a:path>
              </a:pathLst>
            </a:custGeom>
            <a:solidFill>
              <a:schemeClr val="accent3">
                <a:lumMod val="60000"/>
                <a:lumOff val="40000"/>
              </a:schemeClr>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76" name="Freeform 43"/>
            <p:cNvSpPr>
              <a:spLocks noChangeAspect="1"/>
            </p:cNvSpPr>
            <p:nvPr>
              <p:custDataLst>
                <p:tags r:id="rId19"/>
              </p:custDataLst>
            </p:nvPr>
          </p:nvSpPr>
          <p:spPr bwMode="auto">
            <a:xfrm>
              <a:off x="5994400" y="3121025"/>
              <a:ext cx="717550" cy="469900"/>
            </a:xfrm>
            <a:custGeom>
              <a:avLst/>
              <a:gdLst>
                <a:gd name="T0" fmla="*/ 2147483647 w 417"/>
                <a:gd name="T1" fmla="*/ 2147483647 h 258"/>
                <a:gd name="T2" fmla="*/ 2147483647 w 417"/>
                <a:gd name="T3" fmla="*/ 2147483647 h 258"/>
                <a:gd name="T4" fmla="*/ 2147483647 w 417"/>
                <a:gd name="T5" fmla="*/ 2147483647 h 258"/>
                <a:gd name="T6" fmla="*/ 2147483647 w 417"/>
                <a:gd name="T7" fmla="*/ 2147483647 h 258"/>
                <a:gd name="T8" fmla="*/ 2147483647 w 417"/>
                <a:gd name="T9" fmla="*/ 2147483647 h 258"/>
                <a:gd name="T10" fmla="*/ 2147483647 w 417"/>
                <a:gd name="T11" fmla="*/ 2147483647 h 258"/>
                <a:gd name="T12" fmla="*/ 2147483647 w 417"/>
                <a:gd name="T13" fmla="*/ 2147483647 h 258"/>
                <a:gd name="T14" fmla="*/ 2147483647 w 417"/>
                <a:gd name="T15" fmla="*/ 2147483647 h 258"/>
                <a:gd name="T16" fmla="*/ 2147483647 w 417"/>
                <a:gd name="T17" fmla="*/ 2147483647 h 258"/>
                <a:gd name="T18" fmla="*/ 2147483647 w 417"/>
                <a:gd name="T19" fmla="*/ 2147483647 h 258"/>
                <a:gd name="T20" fmla="*/ 2147483647 w 417"/>
                <a:gd name="T21" fmla="*/ 2147483647 h 258"/>
                <a:gd name="T22" fmla="*/ 2147483647 w 417"/>
                <a:gd name="T23" fmla="*/ 2147483647 h 258"/>
                <a:gd name="T24" fmla="*/ 2147483647 w 417"/>
                <a:gd name="T25" fmla="*/ 2147483647 h 258"/>
                <a:gd name="T26" fmla="*/ 2147483647 w 417"/>
                <a:gd name="T27" fmla="*/ 2147483647 h 258"/>
                <a:gd name="T28" fmla="*/ 2147483647 w 417"/>
                <a:gd name="T29" fmla="*/ 2147483647 h 258"/>
                <a:gd name="T30" fmla="*/ 2147483647 w 417"/>
                <a:gd name="T31" fmla="*/ 2147483647 h 258"/>
                <a:gd name="T32" fmla="*/ 2147483647 w 417"/>
                <a:gd name="T33" fmla="*/ 2147483647 h 258"/>
                <a:gd name="T34" fmla="*/ 2147483647 w 417"/>
                <a:gd name="T35" fmla="*/ 2147483647 h 258"/>
                <a:gd name="T36" fmla="*/ 2147483647 w 417"/>
                <a:gd name="T37" fmla="*/ 2147483647 h 258"/>
                <a:gd name="T38" fmla="*/ 2147483647 w 417"/>
                <a:gd name="T39" fmla="*/ 2147483647 h 258"/>
                <a:gd name="T40" fmla="*/ 2147483647 w 417"/>
                <a:gd name="T41" fmla="*/ 2147483647 h 258"/>
                <a:gd name="T42" fmla="*/ 2147483647 w 417"/>
                <a:gd name="T43" fmla="*/ 2147483647 h 258"/>
                <a:gd name="T44" fmla="*/ 2147483647 w 417"/>
                <a:gd name="T45" fmla="*/ 2147483647 h 258"/>
                <a:gd name="T46" fmla="*/ 2147483647 w 417"/>
                <a:gd name="T47" fmla="*/ 2147483647 h 258"/>
                <a:gd name="T48" fmla="*/ 2147483647 w 417"/>
                <a:gd name="T49" fmla="*/ 2147483647 h 258"/>
                <a:gd name="T50" fmla="*/ 2147483647 w 417"/>
                <a:gd name="T51" fmla="*/ 0 h 258"/>
                <a:gd name="T52" fmla="*/ 2147483647 w 417"/>
                <a:gd name="T53" fmla="*/ 2147483647 h 258"/>
                <a:gd name="T54" fmla="*/ 2147483647 w 417"/>
                <a:gd name="T55" fmla="*/ 2147483647 h 258"/>
                <a:gd name="T56" fmla="*/ 2147483647 w 417"/>
                <a:gd name="T57" fmla="*/ 2147483647 h 258"/>
                <a:gd name="T58" fmla="*/ 2147483647 w 417"/>
                <a:gd name="T59" fmla="*/ 2147483647 h 258"/>
                <a:gd name="T60" fmla="*/ 2147483647 w 417"/>
                <a:gd name="T61" fmla="*/ 2147483647 h 258"/>
                <a:gd name="T62" fmla="*/ 2147483647 w 417"/>
                <a:gd name="T63" fmla="*/ 2147483647 h 258"/>
                <a:gd name="T64" fmla="*/ 2147483647 w 417"/>
                <a:gd name="T65" fmla="*/ 2147483647 h 258"/>
                <a:gd name="T66" fmla="*/ 2147483647 w 417"/>
                <a:gd name="T67" fmla="*/ 2147483647 h 258"/>
                <a:gd name="T68" fmla="*/ 2147483647 w 417"/>
                <a:gd name="T69" fmla="*/ 2147483647 h 258"/>
                <a:gd name="T70" fmla="*/ 2147483647 w 417"/>
                <a:gd name="T71" fmla="*/ 2147483647 h 258"/>
                <a:gd name="T72" fmla="*/ 2147483647 w 417"/>
                <a:gd name="T73" fmla="*/ 2147483647 h 258"/>
                <a:gd name="T74" fmla="*/ 2147483647 w 417"/>
                <a:gd name="T75" fmla="*/ 2147483647 h 258"/>
                <a:gd name="T76" fmla="*/ 2147483647 w 417"/>
                <a:gd name="T77" fmla="*/ 2147483647 h 258"/>
                <a:gd name="T78" fmla="*/ 2147483647 w 417"/>
                <a:gd name="T79" fmla="*/ 2147483647 h 258"/>
                <a:gd name="T80" fmla="*/ 2147483647 w 417"/>
                <a:gd name="T81" fmla="*/ 2147483647 h 258"/>
                <a:gd name="T82" fmla="*/ 2147483647 w 417"/>
                <a:gd name="T83" fmla="*/ 2147483647 h 258"/>
                <a:gd name="T84" fmla="*/ 2147483647 w 417"/>
                <a:gd name="T85" fmla="*/ 2147483647 h 258"/>
                <a:gd name="T86" fmla="*/ 2147483647 w 417"/>
                <a:gd name="T87" fmla="*/ 2147483647 h 258"/>
                <a:gd name="T88" fmla="*/ 2147483647 w 417"/>
                <a:gd name="T89" fmla="*/ 2147483647 h 258"/>
                <a:gd name="T90" fmla="*/ 0 w 417"/>
                <a:gd name="T91" fmla="*/ 2147483647 h 258"/>
                <a:gd name="T92" fmla="*/ 0 w 417"/>
                <a:gd name="T93" fmla="*/ 2147483647 h 258"/>
                <a:gd name="T94" fmla="*/ 2147483647 w 417"/>
                <a:gd name="T95" fmla="*/ 2147483647 h 258"/>
                <a:gd name="T96" fmla="*/ 2147483647 w 417"/>
                <a:gd name="T97" fmla="*/ 2147483647 h 258"/>
                <a:gd name="T98" fmla="*/ 2147483647 w 417"/>
                <a:gd name="T99" fmla="*/ 2147483647 h 258"/>
                <a:gd name="T100" fmla="*/ 2147483647 w 417"/>
                <a:gd name="T101" fmla="*/ 2147483647 h 2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7"/>
                <a:gd name="T154" fmla="*/ 0 h 258"/>
                <a:gd name="T155" fmla="*/ 417 w 417"/>
                <a:gd name="T156" fmla="*/ 258 h 2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7" h="258">
                  <a:moveTo>
                    <a:pt x="90" y="250"/>
                  </a:moveTo>
                  <a:lnTo>
                    <a:pt x="94" y="235"/>
                  </a:lnTo>
                  <a:lnTo>
                    <a:pt x="107" y="228"/>
                  </a:lnTo>
                  <a:lnTo>
                    <a:pt x="135" y="250"/>
                  </a:lnTo>
                  <a:lnTo>
                    <a:pt x="145" y="250"/>
                  </a:lnTo>
                  <a:lnTo>
                    <a:pt x="170" y="247"/>
                  </a:lnTo>
                  <a:lnTo>
                    <a:pt x="184" y="238"/>
                  </a:lnTo>
                  <a:lnTo>
                    <a:pt x="205" y="253"/>
                  </a:lnTo>
                  <a:lnTo>
                    <a:pt x="212" y="238"/>
                  </a:lnTo>
                  <a:lnTo>
                    <a:pt x="216" y="232"/>
                  </a:lnTo>
                  <a:lnTo>
                    <a:pt x="233" y="222"/>
                  </a:lnTo>
                  <a:lnTo>
                    <a:pt x="237" y="204"/>
                  </a:lnTo>
                  <a:lnTo>
                    <a:pt x="255" y="200"/>
                  </a:lnTo>
                  <a:lnTo>
                    <a:pt x="299" y="131"/>
                  </a:lnTo>
                  <a:lnTo>
                    <a:pt x="292" y="119"/>
                  </a:lnTo>
                  <a:lnTo>
                    <a:pt x="299" y="110"/>
                  </a:lnTo>
                  <a:lnTo>
                    <a:pt x="310" y="112"/>
                  </a:lnTo>
                  <a:lnTo>
                    <a:pt x="324" y="106"/>
                  </a:lnTo>
                  <a:lnTo>
                    <a:pt x="335" y="90"/>
                  </a:lnTo>
                  <a:lnTo>
                    <a:pt x="373" y="59"/>
                  </a:lnTo>
                  <a:lnTo>
                    <a:pt x="402" y="49"/>
                  </a:lnTo>
                  <a:lnTo>
                    <a:pt x="416" y="37"/>
                  </a:lnTo>
                  <a:lnTo>
                    <a:pt x="412" y="12"/>
                  </a:lnTo>
                  <a:lnTo>
                    <a:pt x="395" y="9"/>
                  </a:lnTo>
                  <a:lnTo>
                    <a:pt x="349" y="16"/>
                  </a:lnTo>
                  <a:lnTo>
                    <a:pt x="317" y="0"/>
                  </a:lnTo>
                  <a:lnTo>
                    <a:pt x="297" y="2"/>
                  </a:lnTo>
                  <a:lnTo>
                    <a:pt x="251" y="59"/>
                  </a:lnTo>
                  <a:lnTo>
                    <a:pt x="237" y="65"/>
                  </a:lnTo>
                  <a:lnTo>
                    <a:pt x="205" y="52"/>
                  </a:lnTo>
                  <a:lnTo>
                    <a:pt x="205" y="41"/>
                  </a:lnTo>
                  <a:lnTo>
                    <a:pt x="198" y="16"/>
                  </a:lnTo>
                  <a:lnTo>
                    <a:pt x="181" y="6"/>
                  </a:lnTo>
                  <a:lnTo>
                    <a:pt x="153" y="12"/>
                  </a:lnTo>
                  <a:lnTo>
                    <a:pt x="138" y="2"/>
                  </a:lnTo>
                  <a:lnTo>
                    <a:pt x="111" y="31"/>
                  </a:lnTo>
                  <a:lnTo>
                    <a:pt x="86" y="37"/>
                  </a:lnTo>
                  <a:lnTo>
                    <a:pt x="48" y="69"/>
                  </a:lnTo>
                  <a:lnTo>
                    <a:pt x="10" y="135"/>
                  </a:lnTo>
                  <a:lnTo>
                    <a:pt x="19" y="150"/>
                  </a:lnTo>
                  <a:lnTo>
                    <a:pt x="16" y="159"/>
                  </a:lnTo>
                  <a:lnTo>
                    <a:pt x="16" y="168"/>
                  </a:lnTo>
                  <a:lnTo>
                    <a:pt x="23" y="175"/>
                  </a:lnTo>
                  <a:lnTo>
                    <a:pt x="35" y="165"/>
                  </a:lnTo>
                  <a:lnTo>
                    <a:pt x="58" y="163"/>
                  </a:lnTo>
                  <a:lnTo>
                    <a:pt x="0" y="219"/>
                  </a:lnTo>
                  <a:lnTo>
                    <a:pt x="0" y="235"/>
                  </a:lnTo>
                  <a:lnTo>
                    <a:pt x="10" y="238"/>
                  </a:lnTo>
                  <a:lnTo>
                    <a:pt x="37" y="257"/>
                  </a:lnTo>
                  <a:lnTo>
                    <a:pt x="79" y="253"/>
                  </a:lnTo>
                  <a:lnTo>
                    <a:pt x="90" y="250"/>
                  </a:lnTo>
                </a:path>
              </a:pathLst>
            </a:custGeom>
            <a:solidFill>
              <a:srgbClr val="00B050"/>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77" name="Freeform 44"/>
            <p:cNvSpPr>
              <a:spLocks noChangeAspect="1"/>
            </p:cNvSpPr>
            <p:nvPr>
              <p:custDataLst>
                <p:tags r:id="rId20"/>
              </p:custDataLst>
            </p:nvPr>
          </p:nvSpPr>
          <p:spPr bwMode="auto">
            <a:xfrm>
              <a:off x="5772468" y="2596833"/>
              <a:ext cx="649287" cy="831850"/>
            </a:xfrm>
            <a:custGeom>
              <a:avLst/>
              <a:gdLst>
                <a:gd name="T0" fmla="*/ 2147483647 w 378"/>
                <a:gd name="T1" fmla="*/ 2147483647 h 453"/>
                <a:gd name="T2" fmla="*/ 2147483647 w 378"/>
                <a:gd name="T3" fmla="*/ 2147483647 h 453"/>
                <a:gd name="T4" fmla="*/ 2147483647 w 378"/>
                <a:gd name="T5" fmla="*/ 2147483647 h 453"/>
                <a:gd name="T6" fmla="*/ 2147483647 w 378"/>
                <a:gd name="T7" fmla="*/ 2147483647 h 453"/>
                <a:gd name="T8" fmla="*/ 2147483647 w 378"/>
                <a:gd name="T9" fmla="*/ 2147483647 h 453"/>
                <a:gd name="T10" fmla="*/ 2147483647 w 378"/>
                <a:gd name="T11" fmla="*/ 2147483647 h 453"/>
                <a:gd name="T12" fmla="*/ 2147483647 w 378"/>
                <a:gd name="T13" fmla="*/ 2147483647 h 453"/>
                <a:gd name="T14" fmla="*/ 2147483647 w 378"/>
                <a:gd name="T15" fmla="*/ 2147483647 h 453"/>
                <a:gd name="T16" fmla="*/ 2147483647 w 378"/>
                <a:gd name="T17" fmla="*/ 2147483647 h 453"/>
                <a:gd name="T18" fmla="*/ 2147483647 w 378"/>
                <a:gd name="T19" fmla="*/ 2147483647 h 453"/>
                <a:gd name="T20" fmla="*/ 2147483647 w 378"/>
                <a:gd name="T21" fmla="*/ 2147483647 h 453"/>
                <a:gd name="T22" fmla="*/ 2147483647 w 378"/>
                <a:gd name="T23" fmla="*/ 2147483647 h 453"/>
                <a:gd name="T24" fmla="*/ 2147483647 w 378"/>
                <a:gd name="T25" fmla="*/ 2147483647 h 453"/>
                <a:gd name="T26" fmla="*/ 2147483647 w 378"/>
                <a:gd name="T27" fmla="*/ 2147483647 h 453"/>
                <a:gd name="T28" fmla="*/ 2147483647 w 378"/>
                <a:gd name="T29" fmla="*/ 2147483647 h 453"/>
                <a:gd name="T30" fmla="*/ 2147483647 w 378"/>
                <a:gd name="T31" fmla="*/ 2147483647 h 453"/>
                <a:gd name="T32" fmla="*/ 2147483647 w 378"/>
                <a:gd name="T33" fmla="*/ 2147483647 h 453"/>
                <a:gd name="T34" fmla="*/ 2147483647 w 378"/>
                <a:gd name="T35" fmla="*/ 2147483647 h 453"/>
                <a:gd name="T36" fmla="*/ 2147483647 w 378"/>
                <a:gd name="T37" fmla="*/ 2147483647 h 453"/>
                <a:gd name="T38" fmla="*/ 2147483647 w 378"/>
                <a:gd name="T39" fmla="*/ 2147483647 h 453"/>
                <a:gd name="T40" fmla="*/ 2147483647 w 378"/>
                <a:gd name="T41" fmla="*/ 0 h 453"/>
                <a:gd name="T42" fmla="*/ 2147483647 w 378"/>
                <a:gd name="T43" fmla="*/ 2147483647 h 453"/>
                <a:gd name="T44" fmla="*/ 2147483647 w 378"/>
                <a:gd name="T45" fmla="*/ 2147483647 h 453"/>
                <a:gd name="T46" fmla="*/ 2147483647 w 378"/>
                <a:gd name="T47" fmla="*/ 2147483647 h 453"/>
                <a:gd name="T48" fmla="*/ 2147483647 w 378"/>
                <a:gd name="T49" fmla="*/ 2147483647 h 453"/>
                <a:gd name="T50" fmla="*/ 2147483647 w 378"/>
                <a:gd name="T51" fmla="*/ 2147483647 h 453"/>
                <a:gd name="T52" fmla="*/ 2147483647 w 378"/>
                <a:gd name="T53" fmla="*/ 2147483647 h 453"/>
                <a:gd name="T54" fmla="*/ 2147483647 w 378"/>
                <a:gd name="T55" fmla="*/ 2147483647 h 453"/>
                <a:gd name="T56" fmla="*/ 2147483647 w 378"/>
                <a:gd name="T57" fmla="*/ 2147483647 h 453"/>
                <a:gd name="T58" fmla="*/ 2147483647 w 378"/>
                <a:gd name="T59" fmla="*/ 2147483647 h 453"/>
                <a:gd name="T60" fmla="*/ 2147483647 w 378"/>
                <a:gd name="T61" fmla="*/ 2147483647 h 453"/>
                <a:gd name="T62" fmla="*/ 2147483647 w 378"/>
                <a:gd name="T63" fmla="*/ 2147483647 h 453"/>
                <a:gd name="T64" fmla="*/ 2147483647 w 378"/>
                <a:gd name="T65" fmla="*/ 2147483647 h 453"/>
                <a:gd name="T66" fmla="*/ 2147483647 w 378"/>
                <a:gd name="T67" fmla="*/ 2147483647 h 453"/>
                <a:gd name="T68" fmla="*/ 2147483647 w 378"/>
                <a:gd name="T69" fmla="*/ 2147483647 h 453"/>
                <a:gd name="T70" fmla="*/ 2147483647 w 378"/>
                <a:gd name="T71" fmla="*/ 2147483647 h 453"/>
                <a:gd name="T72" fmla="*/ 2147483647 w 378"/>
                <a:gd name="T73" fmla="*/ 2147483647 h 45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78"/>
                <a:gd name="T112" fmla="*/ 0 h 453"/>
                <a:gd name="T113" fmla="*/ 378 w 378"/>
                <a:gd name="T114" fmla="*/ 453 h 45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78" h="453">
                  <a:moveTo>
                    <a:pt x="147" y="445"/>
                  </a:moveTo>
                  <a:lnTo>
                    <a:pt x="150" y="437"/>
                  </a:lnTo>
                  <a:lnTo>
                    <a:pt x="140" y="421"/>
                  </a:lnTo>
                  <a:lnTo>
                    <a:pt x="180" y="353"/>
                  </a:lnTo>
                  <a:lnTo>
                    <a:pt x="222" y="322"/>
                  </a:lnTo>
                  <a:lnTo>
                    <a:pt x="249" y="316"/>
                  </a:lnTo>
                  <a:lnTo>
                    <a:pt x="279" y="287"/>
                  </a:lnTo>
                  <a:lnTo>
                    <a:pt x="267" y="280"/>
                  </a:lnTo>
                  <a:lnTo>
                    <a:pt x="256" y="259"/>
                  </a:lnTo>
                  <a:lnTo>
                    <a:pt x="236" y="269"/>
                  </a:lnTo>
                  <a:lnTo>
                    <a:pt x="200" y="259"/>
                  </a:lnTo>
                  <a:lnTo>
                    <a:pt x="200" y="253"/>
                  </a:lnTo>
                  <a:lnTo>
                    <a:pt x="200" y="202"/>
                  </a:lnTo>
                  <a:lnTo>
                    <a:pt x="180" y="208"/>
                  </a:lnTo>
                  <a:lnTo>
                    <a:pt x="168" y="217"/>
                  </a:lnTo>
                  <a:lnTo>
                    <a:pt x="147" y="211"/>
                  </a:lnTo>
                  <a:lnTo>
                    <a:pt x="112" y="217"/>
                  </a:lnTo>
                  <a:lnTo>
                    <a:pt x="109" y="206"/>
                  </a:lnTo>
                  <a:lnTo>
                    <a:pt x="112" y="183"/>
                  </a:lnTo>
                  <a:lnTo>
                    <a:pt x="136" y="161"/>
                  </a:lnTo>
                  <a:lnTo>
                    <a:pt x="143" y="132"/>
                  </a:lnTo>
                  <a:lnTo>
                    <a:pt x="166" y="113"/>
                  </a:lnTo>
                  <a:lnTo>
                    <a:pt x="207" y="132"/>
                  </a:lnTo>
                  <a:lnTo>
                    <a:pt x="218" y="132"/>
                  </a:lnTo>
                  <a:lnTo>
                    <a:pt x="225" y="157"/>
                  </a:lnTo>
                  <a:lnTo>
                    <a:pt x="236" y="164"/>
                  </a:lnTo>
                  <a:lnTo>
                    <a:pt x="245" y="180"/>
                  </a:lnTo>
                  <a:lnTo>
                    <a:pt x="240" y="189"/>
                  </a:lnTo>
                  <a:lnTo>
                    <a:pt x="267" y="206"/>
                  </a:lnTo>
                  <a:lnTo>
                    <a:pt x="271" y="217"/>
                  </a:lnTo>
                  <a:lnTo>
                    <a:pt x="289" y="224"/>
                  </a:lnTo>
                  <a:lnTo>
                    <a:pt x="342" y="202"/>
                  </a:lnTo>
                  <a:lnTo>
                    <a:pt x="342" y="186"/>
                  </a:lnTo>
                  <a:lnTo>
                    <a:pt x="377" y="147"/>
                  </a:lnTo>
                  <a:lnTo>
                    <a:pt x="354" y="122"/>
                  </a:lnTo>
                  <a:lnTo>
                    <a:pt x="335" y="122"/>
                  </a:lnTo>
                  <a:lnTo>
                    <a:pt x="306" y="104"/>
                  </a:lnTo>
                  <a:lnTo>
                    <a:pt x="316" y="79"/>
                  </a:lnTo>
                  <a:lnTo>
                    <a:pt x="271" y="75"/>
                  </a:lnTo>
                  <a:lnTo>
                    <a:pt x="249" y="49"/>
                  </a:lnTo>
                  <a:lnTo>
                    <a:pt x="253" y="34"/>
                  </a:lnTo>
                  <a:lnTo>
                    <a:pt x="210" y="0"/>
                  </a:lnTo>
                  <a:lnTo>
                    <a:pt x="188" y="10"/>
                  </a:lnTo>
                  <a:lnTo>
                    <a:pt x="166" y="28"/>
                  </a:lnTo>
                  <a:lnTo>
                    <a:pt x="173" y="41"/>
                  </a:lnTo>
                  <a:lnTo>
                    <a:pt x="166" y="49"/>
                  </a:lnTo>
                  <a:lnTo>
                    <a:pt x="136" y="49"/>
                  </a:lnTo>
                  <a:lnTo>
                    <a:pt x="121" y="63"/>
                  </a:lnTo>
                  <a:lnTo>
                    <a:pt x="109" y="57"/>
                  </a:lnTo>
                  <a:lnTo>
                    <a:pt x="97" y="69"/>
                  </a:lnTo>
                  <a:lnTo>
                    <a:pt x="67" y="88"/>
                  </a:lnTo>
                  <a:lnTo>
                    <a:pt x="55" y="79"/>
                  </a:lnTo>
                  <a:lnTo>
                    <a:pt x="55" y="53"/>
                  </a:lnTo>
                  <a:lnTo>
                    <a:pt x="45" y="49"/>
                  </a:lnTo>
                  <a:lnTo>
                    <a:pt x="26" y="57"/>
                  </a:lnTo>
                  <a:lnTo>
                    <a:pt x="8" y="91"/>
                  </a:lnTo>
                  <a:lnTo>
                    <a:pt x="0" y="126"/>
                  </a:lnTo>
                  <a:lnTo>
                    <a:pt x="22" y="157"/>
                  </a:lnTo>
                  <a:lnTo>
                    <a:pt x="45" y="174"/>
                  </a:lnTo>
                  <a:lnTo>
                    <a:pt x="45" y="202"/>
                  </a:lnTo>
                  <a:lnTo>
                    <a:pt x="55" y="224"/>
                  </a:lnTo>
                  <a:lnTo>
                    <a:pt x="52" y="249"/>
                  </a:lnTo>
                  <a:lnTo>
                    <a:pt x="17" y="265"/>
                  </a:lnTo>
                  <a:lnTo>
                    <a:pt x="8" y="307"/>
                  </a:lnTo>
                  <a:lnTo>
                    <a:pt x="30" y="329"/>
                  </a:lnTo>
                  <a:lnTo>
                    <a:pt x="48" y="360"/>
                  </a:lnTo>
                  <a:lnTo>
                    <a:pt x="37" y="376"/>
                  </a:lnTo>
                  <a:lnTo>
                    <a:pt x="34" y="396"/>
                  </a:lnTo>
                  <a:lnTo>
                    <a:pt x="22" y="411"/>
                  </a:lnTo>
                  <a:lnTo>
                    <a:pt x="17" y="427"/>
                  </a:lnTo>
                  <a:lnTo>
                    <a:pt x="34" y="442"/>
                  </a:lnTo>
                  <a:lnTo>
                    <a:pt x="109" y="452"/>
                  </a:lnTo>
                  <a:lnTo>
                    <a:pt x="136" y="442"/>
                  </a:lnTo>
                  <a:lnTo>
                    <a:pt x="147" y="445"/>
                  </a:lnTo>
                </a:path>
              </a:pathLst>
            </a:custGeom>
            <a:solidFill>
              <a:srgbClr val="D9D9D9"/>
            </a:solidFill>
            <a:ln w="3175" cap="rnd" algn="ctr">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78" name="Freeform 45"/>
            <p:cNvSpPr>
              <a:spLocks noChangeAspect="1"/>
            </p:cNvSpPr>
            <p:nvPr>
              <p:custDataLst>
                <p:tags r:id="rId21"/>
              </p:custDataLst>
            </p:nvPr>
          </p:nvSpPr>
          <p:spPr bwMode="auto">
            <a:xfrm>
              <a:off x="4891088" y="3084513"/>
              <a:ext cx="307975" cy="500062"/>
            </a:xfrm>
            <a:custGeom>
              <a:avLst/>
              <a:gdLst>
                <a:gd name="T0" fmla="*/ 2147483647 w 180"/>
                <a:gd name="T1" fmla="*/ 2147483647 h 273"/>
                <a:gd name="T2" fmla="*/ 2147483647 w 180"/>
                <a:gd name="T3" fmla="*/ 2147483647 h 273"/>
                <a:gd name="T4" fmla="*/ 2147483647 w 180"/>
                <a:gd name="T5" fmla="*/ 2147483647 h 273"/>
                <a:gd name="T6" fmla="*/ 2147483647 w 180"/>
                <a:gd name="T7" fmla="*/ 2147483647 h 273"/>
                <a:gd name="T8" fmla="*/ 2147483647 w 180"/>
                <a:gd name="T9" fmla="*/ 2147483647 h 273"/>
                <a:gd name="T10" fmla="*/ 2147483647 w 180"/>
                <a:gd name="T11" fmla="*/ 2147483647 h 273"/>
                <a:gd name="T12" fmla="*/ 2147483647 w 180"/>
                <a:gd name="T13" fmla="*/ 2147483647 h 273"/>
                <a:gd name="T14" fmla="*/ 2147483647 w 180"/>
                <a:gd name="T15" fmla="*/ 2147483647 h 273"/>
                <a:gd name="T16" fmla="*/ 2147483647 w 180"/>
                <a:gd name="T17" fmla="*/ 0 h 273"/>
                <a:gd name="T18" fmla="*/ 2147483647 w 180"/>
                <a:gd name="T19" fmla="*/ 2147483647 h 273"/>
                <a:gd name="T20" fmla="*/ 2147483647 w 180"/>
                <a:gd name="T21" fmla="*/ 2147483647 h 273"/>
                <a:gd name="T22" fmla="*/ 2147483647 w 180"/>
                <a:gd name="T23" fmla="*/ 2147483647 h 273"/>
                <a:gd name="T24" fmla="*/ 2147483647 w 180"/>
                <a:gd name="T25" fmla="*/ 2147483647 h 273"/>
                <a:gd name="T26" fmla="*/ 2147483647 w 180"/>
                <a:gd name="T27" fmla="*/ 2147483647 h 273"/>
                <a:gd name="T28" fmla="*/ 0 w 180"/>
                <a:gd name="T29" fmla="*/ 2147483647 h 273"/>
                <a:gd name="T30" fmla="*/ 2147483647 w 180"/>
                <a:gd name="T31" fmla="*/ 2147483647 h 273"/>
                <a:gd name="T32" fmla="*/ 2147483647 w 180"/>
                <a:gd name="T33" fmla="*/ 2147483647 h 273"/>
                <a:gd name="T34" fmla="*/ 2147483647 w 180"/>
                <a:gd name="T35" fmla="*/ 2147483647 h 273"/>
                <a:gd name="T36" fmla="*/ 2147483647 w 180"/>
                <a:gd name="T37" fmla="*/ 2147483647 h 273"/>
                <a:gd name="T38" fmla="*/ 2147483647 w 180"/>
                <a:gd name="T39" fmla="*/ 2147483647 h 273"/>
                <a:gd name="T40" fmla="*/ 2147483647 w 180"/>
                <a:gd name="T41" fmla="*/ 2147483647 h 273"/>
                <a:gd name="T42" fmla="*/ 2147483647 w 180"/>
                <a:gd name="T43" fmla="*/ 2147483647 h 273"/>
                <a:gd name="T44" fmla="*/ 2147483647 w 180"/>
                <a:gd name="T45" fmla="*/ 2147483647 h 273"/>
                <a:gd name="T46" fmla="*/ 2147483647 w 180"/>
                <a:gd name="T47" fmla="*/ 2147483647 h 273"/>
                <a:gd name="T48" fmla="*/ 2147483647 w 180"/>
                <a:gd name="T49" fmla="*/ 2147483647 h 273"/>
                <a:gd name="T50" fmla="*/ 2147483647 w 180"/>
                <a:gd name="T51" fmla="*/ 2147483647 h 273"/>
                <a:gd name="T52" fmla="*/ 2147483647 w 180"/>
                <a:gd name="T53" fmla="*/ 2147483647 h 273"/>
                <a:gd name="T54" fmla="*/ 2147483647 w 180"/>
                <a:gd name="T55" fmla="*/ 2147483647 h 273"/>
                <a:gd name="T56" fmla="*/ 2147483647 w 180"/>
                <a:gd name="T57" fmla="*/ 2147483647 h 273"/>
                <a:gd name="T58" fmla="*/ 2147483647 w 180"/>
                <a:gd name="T59" fmla="*/ 2147483647 h 273"/>
                <a:gd name="T60" fmla="*/ 2147483647 w 180"/>
                <a:gd name="T61" fmla="*/ 2147483647 h 27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0"/>
                <a:gd name="T94" fmla="*/ 0 h 273"/>
                <a:gd name="T95" fmla="*/ 180 w 180"/>
                <a:gd name="T96" fmla="*/ 273 h 27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0" h="273">
                  <a:moveTo>
                    <a:pt x="164" y="150"/>
                  </a:moveTo>
                  <a:lnTo>
                    <a:pt x="168" y="122"/>
                  </a:lnTo>
                  <a:lnTo>
                    <a:pt x="179" y="109"/>
                  </a:lnTo>
                  <a:lnTo>
                    <a:pt x="171" y="93"/>
                  </a:lnTo>
                  <a:lnTo>
                    <a:pt x="119" y="77"/>
                  </a:lnTo>
                  <a:lnTo>
                    <a:pt x="122" y="56"/>
                  </a:lnTo>
                  <a:lnTo>
                    <a:pt x="140" y="37"/>
                  </a:lnTo>
                  <a:lnTo>
                    <a:pt x="129" y="3"/>
                  </a:lnTo>
                  <a:lnTo>
                    <a:pt x="122" y="0"/>
                  </a:lnTo>
                  <a:lnTo>
                    <a:pt x="87" y="18"/>
                  </a:lnTo>
                  <a:lnTo>
                    <a:pt x="73" y="69"/>
                  </a:lnTo>
                  <a:lnTo>
                    <a:pt x="65" y="100"/>
                  </a:lnTo>
                  <a:lnTo>
                    <a:pt x="37" y="122"/>
                  </a:lnTo>
                  <a:lnTo>
                    <a:pt x="20" y="129"/>
                  </a:lnTo>
                  <a:lnTo>
                    <a:pt x="0" y="131"/>
                  </a:lnTo>
                  <a:lnTo>
                    <a:pt x="44" y="181"/>
                  </a:lnTo>
                  <a:lnTo>
                    <a:pt x="55" y="219"/>
                  </a:lnTo>
                  <a:lnTo>
                    <a:pt x="51" y="238"/>
                  </a:lnTo>
                  <a:lnTo>
                    <a:pt x="83" y="253"/>
                  </a:lnTo>
                  <a:lnTo>
                    <a:pt x="83" y="265"/>
                  </a:lnTo>
                  <a:lnTo>
                    <a:pt x="112" y="272"/>
                  </a:lnTo>
                  <a:lnTo>
                    <a:pt x="119" y="272"/>
                  </a:lnTo>
                  <a:lnTo>
                    <a:pt x="119" y="250"/>
                  </a:lnTo>
                  <a:lnTo>
                    <a:pt x="143" y="246"/>
                  </a:lnTo>
                  <a:lnTo>
                    <a:pt x="147" y="222"/>
                  </a:lnTo>
                  <a:lnTo>
                    <a:pt x="132" y="209"/>
                  </a:lnTo>
                  <a:lnTo>
                    <a:pt x="119" y="199"/>
                  </a:lnTo>
                  <a:lnTo>
                    <a:pt x="126" y="153"/>
                  </a:lnTo>
                  <a:lnTo>
                    <a:pt x="136" y="147"/>
                  </a:lnTo>
                  <a:lnTo>
                    <a:pt x="158" y="153"/>
                  </a:lnTo>
                  <a:lnTo>
                    <a:pt x="164" y="150"/>
                  </a:lnTo>
                </a:path>
              </a:pathLst>
            </a:custGeom>
            <a:solidFill>
              <a:srgbClr val="D9D9D9"/>
            </a:solidFill>
            <a:ln w="3175" cap="rnd">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79" name="Freeform 46"/>
            <p:cNvSpPr>
              <a:spLocks noChangeAspect="1"/>
            </p:cNvSpPr>
            <p:nvPr>
              <p:custDataLst>
                <p:tags r:id="rId22"/>
              </p:custDataLst>
            </p:nvPr>
          </p:nvSpPr>
          <p:spPr bwMode="auto">
            <a:xfrm>
              <a:off x="4179709" y="1252717"/>
              <a:ext cx="2489200" cy="2087562"/>
            </a:xfrm>
            <a:custGeom>
              <a:avLst/>
              <a:gdLst>
                <a:gd name="T0" fmla="*/ 2147483647 w 1448"/>
                <a:gd name="T1" fmla="*/ 2147483647 h 1141"/>
                <a:gd name="T2" fmla="*/ 2147483647 w 1448"/>
                <a:gd name="T3" fmla="*/ 2147483647 h 1141"/>
                <a:gd name="T4" fmla="*/ 2147483647 w 1448"/>
                <a:gd name="T5" fmla="*/ 2147483647 h 1141"/>
                <a:gd name="T6" fmla="*/ 2147483647 w 1448"/>
                <a:gd name="T7" fmla="*/ 2147483647 h 1141"/>
                <a:gd name="T8" fmla="*/ 2147483647 w 1448"/>
                <a:gd name="T9" fmla="*/ 2147483647 h 1141"/>
                <a:gd name="T10" fmla="*/ 2147483647 w 1448"/>
                <a:gd name="T11" fmla="*/ 2147483647 h 1141"/>
                <a:gd name="T12" fmla="*/ 2147483647 w 1448"/>
                <a:gd name="T13" fmla="*/ 2147483647 h 1141"/>
                <a:gd name="T14" fmla="*/ 2147483647 w 1448"/>
                <a:gd name="T15" fmla="*/ 2147483647 h 1141"/>
                <a:gd name="T16" fmla="*/ 2147483647 w 1448"/>
                <a:gd name="T17" fmla="*/ 2147483647 h 1141"/>
                <a:gd name="T18" fmla="*/ 2147483647 w 1448"/>
                <a:gd name="T19" fmla="*/ 2147483647 h 1141"/>
                <a:gd name="T20" fmla="*/ 2147483647 w 1448"/>
                <a:gd name="T21" fmla="*/ 2147483647 h 1141"/>
                <a:gd name="T22" fmla="*/ 2147483647 w 1448"/>
                <a:gd name="T23" fmla="*/ 2147483647 h 1141"/>
                <a:gd name="T24" fmla="*/ 2147483647 w 1448"/>
                <a:gd name="T25" fmla="*/ 2147483647 h 1141"/>
                <a:gd name="T26" fmla="*/ 2147483647 w 1448"/>
                <a:gd name="T27" fmla="*/ 2147483647 h 1141"/>
                <a:gd name="T28" fmla="*/ 2147483647 w 1448"/>
                <a:gd name="T29" fmla="*/ 2147483647 h 1141"/>
                <a:gd name="T30" fmla="*/ 2147483647 w 1448"/>
                <a:gd name="T31" fmla="*/ 2147483647 h 1141"/>
                <a:gd name="T32" fmla="*/ 2147483647 w 1448"/>
                <a:gd name="T33" fmla="*/ 2147483647 h 1141"/>
                <a:gd name="T34" fmla="*/ 2147483647 w 1448"/>
                <a:gd name="T35" fmla="*/ 2147483647 h 1141"/>
                <a:gd name="T36" fmla="*/ 2147483647 w 1448"/>
                <a:gd name="T37" fmla="*/ 2147483647 h 1141"/>
                <a:gd name="T38" fmla="*/ 2147483647 w 1448"/>
                <a:gd name="T39" fmla="*/ 2147483647 h 1141"/>
                <a:gd name="T40" fmla="*/ 2147483647 w 1448"/>
                <a:gd name="T41" fmla="*/ 2147483647 h 1141"/>
                <a:gd name="T42" fmla="*/ 2147483647 w 1448"/>
                <a:gd name="T43" fmla="*/ 2147483647 h 1141"/>
                <a:gd name="T44" fmla="*/ 2147483647 w 1448"/>
                <a:gd name="T45" fmla="*/ 2147483647 h 1141"/>
                <a:gd name="T46" fmla="*/ 2147483647 w 1448"/>
                <a:gd name="T47" fmla="*/ 2147483647 h 1141"/>
                <a:gd name="T48" fmla="*/ 2147483647 w 1448"/>
                <a:gd name="T49" fmla="*/ 2147483647 h 1141"/>
                <a:gd name="T50" fmla="*/ 2147483647 w 1448"/>
                <a:gd name="T51" fmla="*/ 2147483647 h 1141"/>
                <a:gd name="T52" fmla="*/ 2147483647 w 1448"/>
                <a:gd name="T53" fmla="*/ 2147483647 h 1141"/>
                <a:gd name="T54" fmla="*/ 2147483647 w 1448"/>
                <a:gd name="T55" fmla="*/ 2147483647 h 1141"/>
                <a:gd name="T56" fmla="*/ 2147483647 w 1448"/>
                <a:gd name="T57" fmla="*/ 0 h 1141"/>
                <a:gd name="T58" fmla="*/ 2147483647 w 1448"/>
                <a:gd name="T59" fmla="*/ 2147483647 h 1141"/>
                <a:gd name="T60" fmla="*/ 2147483647 w 1448"/>
                <a:gd name="T61" fmla="*/ 2147483647 h 1141"/>
                <a:gd name="T62" fmla="*/ 2147483647 w 1448"/>
                <a:gd name="T63" fmla="*/ 2147483647 h 1141"/>
                <a:gd name="T64" fmla="*/ 2147483647 w 1448"/>
                <a:gd name="T65" fmla="*/ 2147483647 h 1141"/>
                <a:gd name="T66" fmla="*/ 2147483647 w 1448"/>
                <a:gd name="T67" fmla="*/ 2147483647 h 1141"/>
                <a:gd name="T68" fmla="*/ 2147483647 w 1448"/>
                <a:gd name="T69" fmla="*/ 2147483647 h 1141"/>
                <a:gd name="T70" fmla="*/ 2147483647 w 1448"/>
                <a:gd name="T71" fmla="*/ 2147483647 h 1141"/>
                <a:gd name="T72" fmla="*/ 2147483647 w 1448"/>
                <a:gd name="T73" fmla="*/ 2147483647 h 1141"/>
                <a:gd name="T74" fmla="*/ 2147483647 w 1448"/>
                <a:gd name="T75" fmla="*/ 2147483647 h 1141"/>
                <a:gd name="T76" fmla="*/ 2147483647 w 1448"/>
                <a:gd name="T77" fmla="*/ 2147483647 h 1141"/>
                <a:gd name="T78" fmla="*/ 2147483647 w 1448"/>
                <a:gd name="T79" fmla="*/ 2147483647 h 1141"/>
                <a:gd name="T80" fmla="*/ 2147483647 w 1448"/>
                <a:gd name="T81" fmla="*/ 2147483647 h 1141"/>
                <a:gd name="T82" fmla="*/ 2147483647 w 1448"/>
                <a:gd name="T83" fmla="*/ 2147483647 h 1141"/>
                <a:gd name="T84" fmla="*/ 2147483647 w 1448"/>
                <a:gd name="T85" fmla="*/ 2147483647 h 1141"/>
                <a:gd name="T86" fmla="*/ 2147483647 w 1448"/>
                <a:gd name="T87" fmla="*/ 2147483647 h 1141"/>
                <a:gd name="T88" fmla="*/ 2147483647 w 1448"/>
                <a:gd name="T89" fmla="*/ 2147483647 h 1141"/>
                <a:gd name="T90" fmla="*/ 2147483647 w 1448"/>
                <a:gd name="T91" fmla="*/ 2147483647 h 1141"/>
                <a:gd name="T92" fmla="*/ 2147483647 w 1448"/>
                <a:gd name="T93" fmla="*/ 2147483647 h 1141"/>
                <a:gd name="T94" fmla="*/ 2147483647 w 1448"/>
                <a:gd name="T95" fmla="*/ 2147483647 h 1141"/>
                <a:gd name="T96" fmla="*/ 2147483647 w 1448"/>
                <a:gd name="T97" fmla="*/ 2147483647 h 1141"/>
                <a:gd name="T98" fmla="*/ 2147483647 w 1448"/>
                <a:gd name="T99" fmla="*/ 2147483647 h 114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448"/>
                <a:gd name="T151" fmla="*/ 0 h 1141"/>
                <a:gd name="T152" fmla="*/ 1448 w 1448"/>
                <a:gd name="T153" fmla="*/ 1141 h 114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448" h="1141">
                  <a:moveTo>
                    <a:pt x="405" y="1136"/>
                  </a:moveTo>
                  <a:lnTo>
                    <a:pt x="426" y="1133"/>
                  </a:lnTo>
                  <a:lnTo>
                    <a:pt x="443" y="1127"/>
                  </a:lnTo>
                  <a:lnTo>
                    <a:pt x="471" y="1105"/>
                  </a:lnTo>
                  <a:lnTo>
                    <a:pt x="479" y="1074"/>
                  </a:lnTo>
                  <a:lnTo>
                    <a:pt x="493" y="1026"/>
                  </a:lnTo>
                  <a:lnTo>
                    <a:pt x="528" y="1006"/>
                  </a:lnTo>
                  <a:lnTo>
                    <a:pt x="535" y="1009"/>
                  </a:lnTo>
                  <a:lnTo>
                    <a:pt x="546" y="1043"/>
                  </a:lnTo>
                  <a:lnTo>
                    <a:pt x="528" y="1062"/>
                  </a:lnTo>
                  <a:lnTo>
                    <a:pt x="524" y="1083"/>
                  </a:lnTo>
                  <a:lnTo>
                    <a:pt x="576" y="1099"/>
                  </a:lnTo>
                  <a:lnTo>
                    <a:pt x="585" y="1115"/>
                  </a:lnTo>
                  <a:lnTo>
                    <a:pt x="616" y="1112"/>
                  </a:lnTo>
                  <a:lnTo>
                    <a:pt x="629" y="1115"/>
                  </a:lnTo>
                  <a:lnTo>
                    <a:pt x="636" y="1121"/>
                  </a:lnTo>
                  <a:lnTo>
                    <a:pt x="693" y="1050"/>
                  </a:lnTo>
                  <a:lnTo>
                    <a:pt x="707" y="1047"/>
                  </a:lnTo>
                  <a:lnTo>
                    <a:pt x="711" y="1037"/>
                  </a:lnTo>
                  <a:lnTo>
                    <a:pt x="711" y="1022"/>
                  </a:lnTo>
                  <a:lnTo>
                    <a:pt x="728" y="1001"/>
                  </a:lnTo>
                  <a:lnTo>
                    <a:pt x="764" y="997"/>
                  </a:lnTo>
                  <a:lnTo>
                    <a:pt x="778" y="985"/>
                  </a:lnTo>
                  <a:lnTo>
                    <a:pt x="784" y="991"/>
                  </a:lnTo>
                  <a:lnTo>
                    <a:pt x="805" y="976"/>
                  </a:lnTo>
                  <a:lnTo>
                    <a:pt x="817" y="976"/>
                  </a:lnTo>
                  <a:lnTo>
                    <a:pt x="854" y="929"/>
                  </a:lnTo>
                  <a:lnTo>
                    <a:pt x="872" y="929"/>
                  </a:lnTo>
                  <a:lnTo>
                    <a:pt x="898" y="915"/>
                  </a:lnTo>
                  <a:lnTo>
                    <a:pt x="904" y="919"/>
                  </a:lnTo>
                  <a:lnTo>
                    <a:pt x="946" y="901"/>
                  </a:lnTo>
                  <a:lnTo>
                    <a:pt x="925" y="871"/>
                  </a:lnTo>
                  <a:lnTo>
                    <a:pt x="933" y="836"/>
                  </a:lnTo>
                  <a:lnTo>
                    <a:pt x="950" y="803"/>
                  </a:lnTo>
                  <a:lnTo>
                    <a:pt x="967" y="796"/>
                  </a:lnTo>
                  <a:lnTo>
                    <a:pt x="978" y="799"/>
                  </a:lnTo>
                  <a:lnTo>
                    <a:pt x="978" y="825"/>
                  </a:lnTo>
                  <a:lnTo>
                    <a:pt x="989" y="834"/>
                  </a:lnTo>
                  <a:lnTo>
                    <a:pt x="1017" y="815"/>
                  </a:lnTo>
                  <a:lnTo>
                    <a:pt x="1027" y="803"/>
                  </a:lnTo>
                  <a:lnTo>
                    <a:pt x="1039" y="809"/>
                  </a:lnTo>
                  <a:lnTo>
                    <a:pt x="1052" y="796"/>
                  </a:lnTo>
                  <a:lnTo>
                    <a:pt x="1080" y="796"/>
                  </a:lnTo>
                  <a:lnTo>
                    <a:pt x="1088" y="788"/>
                  </a:lnTo>
                  <a:lnTo>
                    <a:pt x="1080" y="775"/>
                  </a:lnTo>
                  <a:lnTo>
                    <a:pt x="1102" y="757"/>
                  </a:lnTo>
                  <a:lnTo>
                    <a:pt x="1123" y="747"/>
                  </a:lnTo>
                  <a:lnTo>
                    <a:pt x="1162" y="780"/>
                  </a:lnTo>
                  <a:lnTo>
                    <a:pt x="1158" y="796"/>
                  </a:lnTo>
                  <a:lnTo>
                    <a:pt x="1179" y="821"/>
                  </a:lnTo>
                  <a:lnTo>
                    <a:pt x="1222" y="825"/>
                  </a:lnTo>
                  <a:lnTo>
                    <a:pt x="1232" y="806"/>
                  </a:lnTo>
                  <a:lnTo>
                    <a:pt x="1222" y="754"/>
                  </a:lnTo>
                  <a:lnTo>
                    <a:pt x="1232" y="744"/>
                  </a:lnTo>
                  <a:lnTo>
                    <a:pt x="1249" y="757"/>
                  </a:lnTo>
                  <a:lnTo>
                    <a:pt x="1270" y="780"/>
                  </a:lnTo>
                  <a:lnTo>
                    <a:pt x="1298" y="741"/>
                  </a:lnTo>
                  <a:lnTo>
                    <a:pt x="1312" y="737"/>
                  </a:lnTo>
                  <a:lnTo>
                    <a:pt x="1334" y="719"/>
                  </a:lnTo>
                  <a:lnTo>
                    <a:pt x="1344" y="719"/>
                  </a:lnTo>
                  <a:lnTo>
                    <a:pt x="1362" y="704"/>
                  </a:lnTo>
                  <a:lnTo>
                    <a:pt x="1373" y="704"/>
                  </a:lnTo>
                  <a:lnTo>
                    <a:pt x="1383" y="688"/>
                  </a:lnTo>
                  <a:lnTo>
                    <a:pt x="1408" y="688"/>
                  </a:lnTo>
                  <a:lnTo>
                    <a:pt x="1432" y="667"/>
                  </a:lnTo>
                  <a:lnTo>
                    <a:pt x="1447" y="657"/>
                  </a:lnTo>
                  <a:lnTo>
                    <a:pt x="1447" y="646"/>
                  </a:lnTo>
                  <a:lnTo>
                    <a:pt x="1426" y="636"/>
                  </a:lnTo>
                  <a:lnTo>
                    <a:pt x="1426" y="615"/>
                  </a:lnTo>
                  <a:lnTo>
                    <a:pt x="1390" y="574"/>
                  </a:lnTo>
                  <a:lnTo>
                    <a:pt x="1358" y="605"/>
                  </a:lnTo>
                  <a:lnTo>
                    <a:pt x="1347" y="598"/>
                  </a:lnTo>
                  <a:lnTo>
                    <a:pt x="1344" y="581"/>
                  </a:lnTo>
                  <a:lnTo>
                    <a:pt x="1330" y="564"/>
                  </a:lnTo>
                  <a:lnTo>
                    <a:pt x="1327" y="543"/>
                  </a:lnTo>
                  <a:lnTo>
                    <a:pt x="1327" y="522"/>
                  </a:lnTo>
                  <a:lnTo>
                    <a:pt x="1305" y="506"/>
                  </a:lnTo>
                  <a:lnTo>
                    <a:pt x="1302" y="500"/>
                  </a:lnTo>
                  <a:lnTo>
                    <a:pt x="1310" y="487"/>
                  </a:lnTo>
                  <a:lnTo>
                    <a:pt x="1351" y="496"/>
                  </a:lnTo>
                  <a:lnTo>
                    <a:pt x="1355" y="478"/>
                  </a:lnTo>
                  <a:lnTo>
                    <a:pt x="1369" y="464"/>
                  </a:lnTo>
                  <a:lnTo>
                    <a:pt x="1358" y="454"/>
                  </a:lnTo>
                  <a:lnTo>
                    <a:pt x="1362" y="437"/>
                  </a:lnTo>
                  <a:lnTo>
                    <a:pt x="1383" y="429"/>
                  </a:lnTo>
                  <a:lnTo>
                    <a:pt x="1387" y="423"/>
                  </a:lnTo>
                  <a:lnTo>
                    <a:pt x="1383" y="416"/>
                  </a:lnTo>
                  <a:lnTo>
                    <a:pt x="1362" y="423"/>
                  </a:lnTo>
                  <a:lnTo>
                    <a:pt x="1321" y="398"/>
                  </a:lnTo>
                  <a:lnTo>
                    <a:pt x="1316" y="389"/>
                  </a:lnTo>
                  <a:lnTo>
                    <a:pt x="1337" y="367"/>
                  </a:lnTo>
                  <a:lnTo>
                    <a:pt x="1380" y="312"/>
                  </a:lnTo>
                  <a:lnTo>
                    <a:pt x="1383" y="305"/>
                  </a:lnTo>
                  <a:lnTo>
                    <a:pt x="1390" y="305"/>
                  </a:lnTo>
                  <a:lnTo>
                    <a:pt x="1404" y="320"/>
                  </a:lnTo>
                  <a:lnTo>
                    <a:pt x="1408" y="324"/>
                  </a:lnTo>
                  <a:lnTo>
                    <a:pt x="1408" y="253"/>
                  </a:lnTo>
                  <a:lnTo>
                    <a:pt x="1422" y="247"/>
                  </a:lnTo>
                  <a:lnTo>
                    <a:pt x="1422" y="222"/>
                  </a:lnTo>
                  <a:lnTo>
                    <a:pt x="1417" y="178"/>
                  </a:lnTo>
                  <a:lnTo>
                    <a:pt x="1436" y="116"/>
                  </a:lnTo>
                  <a:lnTo>
                    <a:pt x="1383" y="86"/>
                  </a:lnTo>
                  <a:lnTo>
                    <a:pt x="1344" y="113"/>
                  </a:lnTo>
                  <a:lnTo>
                    <a:pt x="1323" y="116"/>
                  </a:lnTo>
                  <a:lnTo>
                    <a:pt x="1316" y="126"/>
                  </a:lnTo>
                  <a:lnTo>
                    <a:pt x="1281" y="120"/>
                  </a:lnTo>
                  <a:lnTo>
                    <a:pt x="1264" y="104"/>
                  </a:lnTo>
                  <a:lnTo>
                    <a:pt x="1253" y="77"/>
                  </a:lnTo>
                  <a:lnTo>
                    <a:pt x="1257" y="68"/>
                  </a:lnTo>
                  <a:lnTo>
                    <a:pt x="1228" y="51"/>
                  </a:lnTo>
                  <a:lnTo>
                    <a:pt x="1215" y="74"/>
                  </a:lnTo>
                  <a:lnTo>
                    <a:pt x="1185" y="58"/>
                  </a:lnTo>
                  <a:lnTo>
                    <a:pt x="1179" y="54"/>
                  </a:lnTo>
                  <a:lnTo>
                    <a:pt x="1197" y="15"/>
                  </a:lnTo>
                  <a:lnTo>
                    <a:pt x="1182" y="0"/>
                  </a:lnTo>
                  <a:lnTo>
                    <a:pt x="1171" y="0"/>
                  </a:lnTo>
                  <a:lnTo>
                    <a:pt x="1140" y="17"/>
                  </a:lnTo>
                  <a:lnTo>
                    <a:pt x="1116" y="51"/>
                  </a:lnTo>
                  <a:lnTo>
                    <a:pt x="1126" y="54"/>
                  </a:lnTo>
                  <a:lnTo>
                    <a:pt x="1144" y="58"/>
                  </a:lnTo>
                  <a:lnTo>
                    <a:pt x="1158" y="92"/>
                  </a:lnTo>
                  <a:lnTo>
                    <a:pt x="1151" y="104"/>
                  </a:lnTo>
                  <a:lnTo>
                    <a:pt x="1136" y="126"/>
                  </a:lnTo>
                  <a:lnTo>
                    <a:pt x="1109" y="212"/>
                  </a:lnTo>
                  <a:lnTo>
                    <a:pt x="1118" y="228"/>
                  </a:lnTo>
                  <a:lnTo>
                    <a:pt x="1112" y="240"/>
                  </a:lnTo>
                  <a:lnTo>
                    <a:pt x="1049" y="281"/>
                  </a:lnTo>
                  <a:lnTo>
                    <a:pt x="1013" y="278"/>
                  </a:lnTo>
                  <a:lnTo>
                    <a:pt x="996" y="271"/>
                  </a:lnTo>
                  <a:lnTo>
                    <a:pt x="992" y="278"/>
                  </a:lnTo>
                  <a:lnTo>
                    <a:pt x="964" y="376"/>
                  </a:lnTo>
                  <a:lnTo>
                    <a:pt x="950" y="389"/>
                  </a:lnTo>
                  <a:lnTo>
                    <a:pt x="957" y="404"/>
                  </a:lnTo>
                  <a:lnTo>
                    <a:pt x="976" y="416"/>
                  </a:lnTo>
                  <a:lnTo>
                    <a:pt x="1003" y="404"/>
                  </a:lnTo>
                  <a:lnTo>
                    <a:pt x="1049" y="407"/>
                  </a:lnTo>
                  <a:lnTo>
                    <a:pt x="1063" y="389"/>
                  </a:lnTo>
                  <a:lnTo>
                    <a:pt x="1088" y="382"/>
                  </a:lnTo>
                  <a:lnTo>
                    <a:pt x="1133" y="398"/>
                  </a:lnTo>
                  <a:lnTo>
                    <a:pt x="1189" y="447"/>
                  </a:lnTo>
                  <a:lnTo>
                    <a:pt x="1189" y="460"/>
                  </a:lnTo>
                  <a:lnTo>
                    <a:pt x="1175" y="465"/>
                  </a:lnTo>
                  <a:lnTo>
                    <a:pt x="1112" y="469"/>
                  </a:lnTo>
                  <a:lnTo>
                    <a:pt x="1091" y="485"/>
                  </a:lnTo>
                  <a:lnTo>
                    <a:pt x="1073" y="481"/>
                  </a:lnTo>
                  <a:lnTo>
                    <a:pt x="1063" y="500"/>
                  </a:lnTo>
                  <a:lnTo>
                    <a:pt x="1031" y="502"/>
                  </a:lnTo>
                  <a:lnTo>
                    <a:pt x="1010" y="531"/>
                  </a:lnTo>
                  <a:lnTo>
                    <a:pt x="1006" y="549"/>
                  </a:lnTo>
                  <a:lnTo>
                    <a:pt x="964" y="574"/>
                  </a:lnTo>
                  <a:lnTo>
                    <a:pt x="936" y="577"/>
                  </a:lnTo>
                  <a:lnTo>
                    <a:pt x="904" y="615"/>
                  </a:lnTo>
                  <a:lnTo>
                    <a:pt x="877" y="629"/>
                  </a:lnTo>
                  <a:lnTo>
                    <a:pt x="820" y="617"/>
                  </a:lnTo>
                  <a:lnTo>
                    <a:pt x="801" y="611"/>
                  </a:lnTo>
                  <a:lnTo>
                    <a:pt x="781" y="629"/>
                  </a:lnTo>
                  <a:lnTo>
                    <a:pt x="771" y="664"/>
                  </a:lnTo>
                  <a:lnTo>
                    <a:pt x="801" y="704"/>
                  </a:lnTo>
                  <a:lnTo>
                    <a:pt x="781" y="723"/>
                  </a:lnTo>
                  <a:lnTo>
                    <a:pt x="753" y="735"/>
                  </a:lnTo>
                  <a:lnTo>
                    <a:pt x="714" y="780"/>
                  </a:lnTo>
                  <a:lnTo>
                    <a:pt x="661" y="799"/>
                  </a:lnTo>
                  <a:lnTo>
                    <a:pt x="573" y="809"/>
                  </a:lnTo>
                  <a:lnTo>
                    <a:pt x="563" y="806"/>
                  </a:lnTo>
                  <a:lnTo>
                    <a:pt x="460" y="843"/>
                  </a:lnTo>
                  <a:lnTo>
                    <a:pt x="414" y="871"/>
                  </a:lnTo>
                  <a:lnTo>
                    <a:pt x="401" y="865"/>
                  </a:lnTo>
                  <a:lnTo>
                    <a:pt x="397" y="852"/>
                  </a:lnTo>
                  <a:lnTo>
                    <a:pt x="337" y="849"/>
                  </a:lnTo>
                  <a:lnTo>
                    <a:pt x="267" y="830"/>
                  </a:lnTo>
                  <a:lnTo>
                    <a:pt x="245" y="809"/>
                  </a:lnTo>
                  <a:lnTo>
                    <a:pt x="144" y="799"/>
                  </a:lnTo>
                  <a:lnTo>
                    <a:pt x="126" y="806"/>
                  </a:lnTo>
                  <a:lnTo>
                    <a:pt x="0" y="796"/>
                  </a:lnTo>
                  <a:lnTo>
                    <a:pt x="0" y="811"/>
                  </a:lnTo>
                  <a:lnTo>
                    <a:pt x="7" y="836"/>
                  </a:lnTo>
                  <a:lnTo>
                    <a:pt x="3" y="880"/>
                  </a:lnTo>
                  <a:lnTo>
                    <a:pt x="38" y="927"/>
                  </a:lnTo>
                  <a:lnTo>
                    <a:pt x="56" y="936"/>
                  </a:lnTo>
                  <a:lnTo>
                    <a:pt x="84" y="917"/>
                  </a:lnTo>
                  <a:lnTo>
                    <a:pt x="144" y="917"/>
                  </a:lnTo>
                  <a:lnTo>
                    <a:pt x="161" y="919"/>
                  </a:lnTo>
                  <a:lnTo>
                    <a:pt x="168" y="932"/>
                  </a:lnTo>
                  <a:lnTo>
                    <a:pt x="161" y="945"/>
                  </a:lnTo>
                  <a:lnTo>
                    <a:pt x="130" y="970"/>
                  </a:lnTo>
                  <a:lnTo>
                    <a:pt x="133" y="981"/>
                  </a:lnTo>
                  <a:lnTo>
                    <a:pt x="172" y="1006"/>
                  </a:lnTo>
                  <a:lnTo>
                    <a:pt x="186" y="1006"/>
                  </a:lnTo>
                  <a:lnTo>
                    <a:pt x="189" y="1012"/>
                  </a:lnTo>
                  <a:lnTo>
                    <a:pt x="186" y="1022"/>
                  </a:lnTo>
                  <a:lnTo>
                    <a:pt x="210" y="1040"/>
                  </a:lnTo>
                  <a:lnTo>
                    <a:pt x="267" y="1047"/>
                  </a:lnTo>
                  <a:lnTo>
                    <a:pt x="295" y="1040"/>
                  </a:lnTo>
                  <a:lnTo>
                    <a:pt x="327" y="1012"/>
                  </a:lnTo>
                  <a:lnTo>
                    <a:pt x="370" y="1016"/>
                  </a:lnTo>
                  <a:lnTo>
                    <a:pt x="387" y="1037"/>
                  </a:lnTo>
                  <a:lnTo>
                    <a:pt x="376" y="1057"/>
                  </a:lnTo>
                  <a:lnTo>
                    <a:pt x="380" y="1068"/>
                  </a:lnTo>
                  <a:lnTo>
                    <a:pt x="355" y="1081"/>
                  </a:lnTo>
                  <a:lnTo>
                    <a:pt x="348" y="1093"/>
                  </a:lnTo>
                  <a:lnTo>
                    <a:pt x="352" y="1118"/>
                  </a:lnTo>
                  <a:lnTo>
                    <a:pt x="390" y="1140"/>
                  </a:lnTo>
                  <a:lnTo>
                    <a:pt x="405" y="1136"/>
                  </a:lnTo>
                </a:path>
              </a:pathLst>
            </a:custGeom>
            <a:solidFill>
              <a:schemeClr val="accent3">
                <a:lumMod val="60000"/>
                <a:lumOff val="40000"/>
              </a:schemeClr>
            </a:solidFill>
            <a:ln w="3175" cap="rnd">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80" name="Freeform 47"/>
            <p:cNvSpPr>
              <a:spLocks noChangeAspect="1"/>
            </p:cNvSpPr>
            <p:nvPr>
              <p:custDataLst>
                <p:tags r:id="rId23"/>
              </p:custDataLst>
            </p:nvPr>
          </p:nvSpPr>
          <p:spPr bwMode="auto">
            <a:xfrm>
              <a:off x="6272213" y="2405063"/>
              <a:ext cx="657225" cy="615950"/>
            </a:xfrm>
            <a:custGeom>
              <a:avLst/>
              <a:gdLst>
                <a:gd name="T0" fmla="*/ 2147483647 w 382"/>
                <a:gd name="T1" fmla="*/ 2147483647 h 336"/>
                <a:gd name="T2" fmla="*/ 2147483647 w 382"/>
                <a:gd name="T3" fmla="*/ 2147483647 h 336"/>
                <a:gd name="T4" fmla="*/ 2147483647 w 382"/>
                <a:gd name="T5" fmla="*/ 2147483647 h 336"/>
                <a:gd name="T6" fmla="*/ 2147483647 w 382"/>
                <a:gd name="T7" fmla="*/ 2147483647 h 336"/>
                <a:gd name="T8" fmla="*/ 2147483647 w 382"/>
                <a:gd name="T9" fmla="*/ 2147483647 h 336"/>
                <a:gd name="T10" fmla="*/ 2147483647 w 382"/>
                <a:gd name="T11" fmla="*/ 2147483647 h 336"/>
                <a:gd name="T12" fmla="*/ 2147483647 w 382"/>
                <a:gd name="T13" fmla="*/ 2147483647 h 336"/>
                <a:gd name="T14" fmla="*/ 2147483647 w 382"/>
                <a:gd name="T15" fmla="*/ 2147483647 h 336"/>
                <a:gd name="T16" fmla="*/ 2147483647 w 382"/>
                <a:gd name="T17" fmla="*/ 2147483647 h 336"/>
                <a:gd name="T18" fmla="*/ 2147483647 w 382"/>
                <a:gd name="T19" fmla="*/ 2147483647 h 336"/>
                <a:gd name="T20" fmla="*/ 2147483647 w 382"/>
                <a:gd name="T21" fmla="*/ 0 h 336"/>
                <a:gd name="T22" fmla="*/ 2147483647 w 382"/>
                <a:gd name="T23" fmla="*/ 2147483647 h 336"/>
                <a:gd name="T24" fmla="*/ 2147483647 w 382"/>
                <a:gd name="T25" fmla="*/ 2147483647 h 336"/>
                <a:gd name="T26" fmla="*/ 2147483647 w 382"/>
                <a:gd name="T27" fmla="*/ 2147483647 h 336"/>
                <a:gd name="T28" fmla="*/ 2147483647 w 382"/>
                <a:gd name="T29" fmla="*/ 2147483647 h 336"/>
                <a:gd name="T30" fmla="*/ 2147483647 w 382"/>
                <a:gd name="T31" fmla="*/ 2147483647 h 336"/>
                <a:gd name="T32" fmla="*/ 2147483647 w 382"/>
                <a:gd name="T33" fmla="*/ 2147483647 h 336"/>
                <a:gd name="T34" fmla="*/ 2147483647 w 382"/>
                <a:gd name="T35" fmla="*/ 2147483647 h 336"/>
                <a:gd name="T36" fmla="*/ 2147483647 w 382"/>
                <a:gd name="T37" fmla="*/ 2147483647 h 336"/>
                <a:gd name="T38" fmla="*/ 2147483647 w 382"/>
                <a:gd name="T39" fmla="*/ 2147483647 h 336"/>
                <a:gd name="T40" fmla="*/ 2147483647 w 382"/>
                <a:gd name="T41" fmla="*/ 2147483647 h 336"/>
                <a:gd name="T42" fmla="*/ 2147483647 w 382"/>
                <a:gd name="T43" fmla="*/ 2147483647 h 336"/>
                <a:gd name="T44" fmla="*/ 2147483647 w 382"/>
                <a:gd name="T45" fmla="*/ 2147483647 h 336"/>
                <a:gd name="T46" fmla="*/ 2147483647 w 382"/>
                <a:gd name="T47" fmla="*/ 2147483647 h 336"/>
                <a:gd name="T48" fmla="*/ 2147483647 w 382"/>
                <a:gd name="T49" fmla="*/ 2147483647 h 336"/>
                <a:gd name="T50" fmla="*/ 2147483647 w 382"/>
                <a:gd name="T51" fmla="*/ 2147483647 h 336"/>
                <a:gd name="T52" fmla="*/ 2147483647 w 382"/>
                <a:gd name="T53" fmla="*/ 2147483647 h 336"/>
                <a:gd name="T54" fmla="*/ 2147483647 w 382"/>
                <a:gd name="T55" fmla="*/ 2147483647 h 336"/>
                <a:gd name="T56" fmla="*/ 0 w 382"/>
                <a:gd name="T57" fmla="*/ 2147483647 h 336"/>
                <a:gd name="T58" fmla="*/ 2147483647 w 382"/>
                <a:gd name="T59" fmla="*/ 2147483647 h 336"/>
                <a:gd name="T60" fmla="*/ 2147483647 w 382"/>
                <a:gd name="T61" fmla="*/ 2147483647 h 336"/>
                <a:gd name="T62" fmla="*/ 2147483647 w 382"/>
                <a:gd name="T63" fmla="*/ 2147483647 h 336"/>
                <a:gd name="T64" fmla="*/ 2147483647 w 382"/>
                <a:gd name="T65" fmla="*/ 2147483647 h 336"/>
                <a:gd name="T66" fmla="*/ 2147483647 w 382"/>
                <a:gd name="T67" fmla="*/ 2147483647 h 336"/>
                <a:gd name="T68" fmla="*/ 2147483647 w 382"/>
                <a:gd name="T69" fmla="*/ 2147483647 h 336"/>
                <a:gd name="T70" fmla="*/ 2147483647 w 382"/>
                <a:gd name="T71" fmla="*/ 2147483647 h 336"/>
                <a:gd name="T72" fmla="*/ 2147483647 w 382"/>
                <a:gd name="T73" fmla="*/ 2147483647 h 336"/>
                <a:gd name="T74" fmla="*/ 2147483647 w 382"/>
                <a:gd name="T75" fmla="*/ 2147483647 h 336"/>
                <a:gd name="T76" fmla="*/ 2147483647 w 382"/>
                <a:gd name="T77" fmla="*/ 2147483647 h 336"/>
                <a:gd name="T78" fmla="*/ 2147483647 w 382"/>
                <a:gd name="T79" fmla="*/ 2147483647 h 336"/>
                <a:gd name="T80" fmla="*/ 2147483647 w 382"/>
                <a:gd name="T81" fmla="*/ 2147483647 h 336"/>
                <a:gd name="T82" fmla="*/ 2147483647 w 382"/>
                <a:gd name="T83" fmla="*/ 2147483647 h 336"/>
                <a:gd name="T84" fmla="*/ 2147483647 w 382"/>
                <a:gd name="T85" fmla="*/ 2147483647 h 336"/>
                <a:gd name="T86" fmla="*/ 2147483647 w 382"/>
                <a:gd name="T87" fmla="*/ 2147483647 h 336"/>
                <a:gd name="T88" fmla="*/ 2147483647 w 382"/>
                <a:gd name="T89" fmla="*/ 2147483647 h 336"/>
                <a:gd name="T90" fmla="*/ 2147483647 w 382"/>
                <a:gd name="T91" fmla="*/ 2147483647 h 336"/>
                <a:gd name="T92" fmla="*/ 2147483647 w 382"/>
                <a:gd name="T93" fmla="*/ 2147483647 h 3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82"/>
                <a:gd name="T142" fmla="*/ 0 h 336"/>
                <a:gd name="T143" fmla="*/ 382 w 382"/>
                <a:gd name="T144" fmla="*/ 336 h 3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82" h="336">
                  <a:moveTo>
                    <a:pt x="312" y="233"/>
                  </a:moveTo>
                  <a:lnTo>
                    <a:pt x="356" y="179"/>
                  </a:lnTo>
                  <a:lnTo>
                    <a:pt x="381" y="152"/>
                  </a:lnTo>
                  <a:lnTo>
                    <a:pt x="376" y="126"/>
                  </a:lnTo>
                  <a:lnTo>
                    <a:pt x="348" y="97"/>
                  </a:lnTo>
                  <a:lnTo>
                    <a:pt x="344" y="75"/>
                  </a:lnTo>
                  <a:lnTo>
                    <a:pt x="295" y="12"/>
                  </a:lnTo>
                  <a:lnTo>
                    <a:pt x="295" y="18"/>
                  </a:lnTo>
                  <a:lnTo>
                    <a:pt x="285" y="29"/>
                  </a:lnTo>
                  <a:lnTo>
                    <a:pt x="264" y="6"/>
                  </a:lnTo>
                  <a:lnTo>
                    <a:pt x="235" y="0"/>
                  </a:lnTo>
                  <a:lnTo>
                    <a:pt x="235" y="6"/>
                  </a:lnTo>
                  <a:lnTo>
                    <a:pt x="235" y="18"/>
                  </a:lnTo>
                  <a:lnTo>
                    <a:pt x="222" y="29"/>
                  </a:lnTo>
                  <a:lnTo>
                    <a:pt x="197" y="51"/>
                  </a:lnTo>
                  <a:lnTo>
                    <a:pt x="171" y="51"/>
                  </a:lnTo>
                  <a:lnTo>
                    <a:pt x="162" y="67"/>
                  </a:lnTo>
                  <a:lnTo>
                    <a:pt x="151" y="67"/>
                  </a:lnTo>
                  <a:lnTo>
                    <a:pt x="133" y="83"/>
                  </a:lnTo>
                  <a:lnTo>
                    <a:pt x="122" y="83"/>
                  </a:lnTo>
                  <a:lnTo>
                    <a:pt x="101" y="104"/>
                  </a:lnTo>
                  <a:lnTo>
                    <a:pt x="88" y="107"/>
                  </a:lnTo>
                  <a:lnTo>
                    <a:pt x="58" y="149"/>
                  </a:lnTo>
                  <a:lnTo>
                    <a:pt x="38" y="123"/>
                  </a:lnTo>
                  <a:lnTo>
                    <a:pt x="21" y="109"/>
                  </a:lnTo>
                  <a:lnTo>
                    <a:pt x="10" y="119"/>
                  </a:lnTo>
                  <a:lnTo>
                    <a:pt x="21" y="174"/>
                  </a:lnTo>
                  <a:lnTo>
                    <a:pt x="10" y="195"/>
                  </a:lnTo>
                  <a:lnTo>
                    <a:pt x="0" y="221"/>
                  </a:lnTo>
                  <a:lnTo>
                    <a:pt x="28" y="239"/>
                  </a:lnTo>
                  <a:lnTo>
                    <a:pt x="45" y="239"/>
                  </a:lnTo>
                  <a:lnTo>
                    <a:pt x="65" y="266"/>
                  </a:lnTo>
                  <a:lnTo>
                    <a:pt x="80" y="260"/>
                  </a:lnTo>
                  <a:lnTo>
                    <a:pt x="105" y="233"/>
                  </a:lnTo>
                  <a:lnTo>
                    <a:pt x="127" y="195"/>
                  </a:lnTo>
                  <a:lnTo>
                    <a:pt x="169" y="188"/>
                  </a:lnTo>
                  <a:lnTo>
                    <a:pt x="194" y="211"/>
                  </a:lnTo>
                  <a:lnTo>
                    <a:pt x="175" y="246"/>
                  </a:lnTo>
                  <a:lnTo>
                    <a:pt x="151" y="282"/>
                  </a:lnTo>
                  <a:lnTo>
                    <a:pt x="171" y="294"/>
                  </a:lnTo>
                  <a:lnTo>
                    <a:pt x="171" y="315"/>
                  </a:lnTo>
                  <a:lnTo>
                    <a:pt x="154" y="327"/>
                  </a:lnTo>
                  <a:lnTo>
                    <a:pt x="158" y="335"/>
                  </a:lnTo>
                  <a:lnTo>
                    <a:pt x="185" y="321"/>
                  </a:lnTo>
                  <a:lnTo>
                    <a:pt x="228" y="269"/>
                  </a:lnTo>
                  <a:lnTo>
                    <a:pt x="291" y="237"/>
                  </a:lnTo>
                  <a:lnTo>
                    <a:pt x="312" y="233"/>
                  </a:lnTo>
                </a:path>
              </a:pathLst>
            </a:custGeom>
            <a:solidFill>
              <a:srgbClr val="D9D9D9"/>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81" name="Freeform 48"/>
            <p:cNvSpPr>
              <a:spLocks noChangeAspect="1"/>
            </p:cNvSpPr>
            <p:nvPr>
              <p:custDataLst>
                <p:tags r:id="rId24"/>
              </p:custDataLst>
            </p:nvPr>
          </p:nvSpPr>
          <p:spPr bwMode="auto">
            <a:xfrm>
              <a:off x="6416675" y="2078038"/>
              <a:ext cx="946150" cy="608012"/>
            </a:xfrm>
            <a:custGeom>
              <a:avLst/>
              <a:gdLst>
                <a:gd name="T0" fmla="*/ 2147483647 w 548"/>
                <a:gd name="T1" fmla="*/ 2147483647 h 333"/>
                <a:gd name="T2" fmla="*/ 2147483647 w 548"/>
                <a:gd name="T3" fmla="*/ 2147483647 h 333"/>
                <a:gd name="T4" fmla="*/ 2147483647 w 548"/>
                <a:gd name="T5" fmla="*/ 2147483647 h 333"/>
                <a:gd name="T6" fmla="*/ 2147483647 w 548"/>
                <a:gd name="T7" fmla="*/ 2147483647 h 333"/>
                <a:gd name="T8" fmla="*/ 2147483647 w 548"/>
                <a:gd name="T9" fmla="*/ 2147483647 h 333"/>
                <a:gd name="T10" fmla="*/ 2147483647 w 548"/>
                <a:gd name="T11" fmla="*/ 2147483647 h 333"/>
                <a:gd name="T12" fmla="*/ 2147483647 w 548"/>
                <a:gd name="T13" fmla="*/ 2147483647 h 333"/>
                <a:gd name="T14" fmla="*/ 2147483647 w 548"/>
                <a:gd name="T15" fmla="*/ 2147483647 h 333"/>
                <a:gd name="T16" fmla="*/ 2147483647 w 548"/>
                <a:gd name="T17" fmla="*/ 2147483647 h 333"/>
                <a:gd name="T18" fmla="*/ 2147483647 w 548"/>
                <a:gd name="T19" fmla="*/ 2147483647 h 333"/>
                <a:gd name="T20" fmla="*/ 2147483647 w 548"/>
                <a:gd name="T21" fmla="*/ 2147483647 h 333"/>
                <a:gd name="T22" fmla="*/ 2147483647 w 548"/>
                <a:gd name="T23" fmla="*/ 2147483647 h 333"/>
                <a:gd name="T24" fmla="*/ 2147483647 w 548"/>
                <a:gd name="T25" fmla="*/ 2147483647 h 333"/>
                <a:gd name="T26" fmla="*/ 2147483647 w 548"/>
                <a:gd name="T27" fmla="*/ 2147483647 h 333"/>
                <a:gd name="T28" fmla="*/ 2147483647 w 548"/>
                <a:gd name="T29" fmla="*/ 2147483647 h 333"/>
                <a:gd name="T30" fmla="*/ 2147483647 w 548"/>
                <a:gd name="T31" fmla="*/ 2147483647 h 333"/>
                <a:gd name="T32" fmla="*/ 0 w 548"/>
                <a:gd name="T33" fmla="*/ 2147483647 h 333"/>
                <a:gd name="T34" fmla="*/ 2147483647 w 548"/>
                <a:gd name="T35" fmla="*/ 2147483647 h 333"/>
                <a:gd name="T36" fmla="*/ 2147483647 w 548"/>
                <a:gd name="T37" fmla="*/ 2147483647 h 333"/>
                <a:gd name="T38" fmla="*/ 2147483647 w 548"/>
                <a:gd name="T39" fmla="*/ 2147483647 h 333"/>
                <a:gd name="T40" fmla="*/ 2147483647 w 548"/>
                <a:gd name="T41" fmla="*/ 2147483647 h 333"/>
                <a:gd name="T42" fmla="*/ 2147483647 w 548"/>
                <a:gd name="T43" fmla="*/ 2147483647 h 333"/>
                <a:gd name="T44" fmla="*/ 2147483647 w 548"/>
                <a:gd name="T45" fmla="*/ 2147483647 h 333"/>
                <a:gd name="T46" fmla="*/ 2147483647 w 548"/>
                <a:gd name="T47" fmla="*/ 2147483647 h 333"/>
                <a:gd name="T48" fmla="*/ 2147483647 w 548"/>
                <a:gd name="T49" fmla="*/ 2147483647 h 333"/>
                <a:gd name="T50" fmla="*/ 2147483647 w 548"/>
                <a:gd name="T51" fmla="*/ 2147483647 h 333"/>
                <a:gd name="T52" fmla="*/ 2147483647 w 548"/>
                <a:gd name="T53" fmla="*/ 2147483647 h 333"/>
                <a:gd name="T54" fmla="*/ 2147483647 w 548"/>
                <a:gd name="T55" fmla="*/ 2147483647 h 333"/>
                <a:gd name="T56" fmla="*/ 2147483647 w 548"/>
                <a:gd name="T57" fmla="*/ 2147483647 h 333"/>
                <a:gd name="T58" fmla="*/ 2147483647 w 548"/>
                <a:gd name="T59" fmla="*/ 2147483647 h 333"/>
                <a:gd name="T60" fmla="*/ 2147483647 w 548"/>
                <a:gd name="T61" fmla="*/ 2147483647 h 333"/>
                <a:gd name="T62" fmla="*/ 2147483647 w 548"/>
                <a:gd name="T63" fmla="*/ 2147483647 h 333"/>
                <a:gd name="T64" fmla="*/ 2147483647 w 548"/>
                <a:gd name="T65" fmla="*/ 2147483647 h 333"/>
                <a:gd name="T66" fmla="*/ 2147483647 w 548"/>
                <a:gd name="T67" fmla="*/ 2147483647 h 333"/>
                <a:gd name="T68" fmla="*/ 2147483647 w 548"/>
                <a:gd name="T69" fmla="*/ 2147483647 h 333"/>
                <a:gd name="T70" fmla="*/ 2147483647 w 548"/>
                <a:gd name="T71" fmla="*/ 2147483647 h 3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48"/>
                <a:gd name="T109" fmla="*/ 0 h 333"/>
                <a:gd name="T110" fmla="*/ 548 w 548"/>
                <a:gd name="T111" fmla="*/ 333 h 3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48" h="333">
                  <a:moveTo>
                    <a:pt x="542" y="91"/>
                  </a:moveTo>
                  <a:lnTo>
                    <a:pt x="529" y="91"/>
                  </a:lnTo>
                  <a:lnTo>
                    <a:pt x="510" y="91"/>
                  </a:lnTo>
                  <a:lnTo>
                    <a:pt x="485" y="84"/>
                  </a:lnTo>
                  <a:lnTo>
                    <a:pt x="478" y="72"/>
                  </a:lnTo>
                  <a:lnTo>
                    <a:pt x="468" y="81"/>
                  </a:lnTo>
                  <a:lnTo>
                    <a:pt x="457" y="76"/>
                  </a:lnTo>
                  <a:lnTo>
                    <a:pt x="430" y="101"/>
                  </a:lnTo>
                  <a:lnTo>
                    <a:pt x="425" y="109"/>
                  </a:lnTo>
                  <a:lnTo>
                    <a:pt x="412" y="109"/>
                  </a:lnTo>
                  <a:lnTo>
                    <a:pt x="397" y="93"/>
                  </a:lnTo>
                  <a:lnTo>
                    <a:pt x="380" y="87"/>
                  </a:lnTo>
                  <a:lnTo>
                    <a:pt x="362" y="56"/>
                  </a:lnTo>
                  <a:lnTo>
                    <a:pt x="351" y="66"/>
                  </a:lnTo>
                  <a:lnTo>
                    <a:pt x="355" y="91"/>
                  </a:lnTo>
                  <a:lnTo>
                    <a:pt x="348" y="97"/>
                  </a:lnTo>
                  <a:lnTo>
                    <a:pt x="323" y="76"/>
                  </a:lnTo>
                  <a:lnTo>
                    <a:pt x="317" y="66"/>
                  </a:lnTo>
                  <a:lnTo>
                    <a:pt x="298" y="66"/>
                  </a:lnTo>
                  <a:lnTo>
                    <a:pt x="288" y="44"/>
                  </a:lnTo>
                  <a:lnTo>
                    <a:pt x="267" y="31"/>
                  </a:lnTo>
                  <a:lnTo>
                    <a:pt x="235" y="44"/>
                  </a:lnTo>
                  <a:lnTo>
                    <a:pt x="224" y="41"/>
                  </a:lnTo>
                  <a:lnTo>
                    <a:pt x="203" y="25"/>
                  </a:lnTo>
                  <a:lnTo>
                    <a:pt x="178" y="38"/>
                  </a:lnTo>
                  <a:lnTo>
                    <a:pt x="164" y="38"/>
                  </a:lnTo>
                  <a:lnTo>
                    <a:pt x="148" y="44"/>
                  </a:lnTo>
                  <a:lnTo>
                    <a:pt x="122" y="28"/>
                  </a:lnTo>
                  <a:lnTo>
                    <a:pt x="105" y="0"/>
                  </a:lnTo>
                  <a:lnTo>
                    <a:pt x="65" y="7"/>
                  </a:lnTo>
                  <a:lnTo>
                    <a:pt x="52" y="22"/>
                  </a:lnTo>
                  <a:lnTo>
                    <a:pt x="48" y="41"/>
                  </a:lnTo>
                  <a:lnTo>
                    <a:pt x="6" y="31"/>
                  </a:lnTo>
                  <a:lnTo>
                    <a:pt x="0" y="44"/>
                  </a:lnTo>
                  <a:lnTo>
                    <a:pt x="2" y="50"/>
                  </a:lnTo>
                  <a:lnTo>
                    <a:pt x="23" y="66"/>
                  </a:lnTo>
                  <a:lnTo>
                    <a:pt x="23" y="87"/>
                  </a:lnTo>
                  <a:lnTo>
                    <a:pt x="27" y="109"/>
                  </a:lnTo>
                  <a:lnTo>
                    <a:pt x="42" y="124"/>
                  </a:lnTo>
                  <a:lnTo>
                    <a:pt x="44" y="143"/>
                  </a:lnTo>
                  <a:lnTo>
                    <a:pt x="55" y="150"/>
                  </a:lnTo>
                  <a:lnTo>
                    <a:pt x="88" y="119"/>
                  </a:lnTo>
                  <a:lnTo>
                    <a:pt x="122" y="160"/>
                  </a:lnTo>
                  <a:lnTo>
                    <a:pt x="122" y="181"/>
                  </a:lnTo>
                  <a:lnTo>
                    <a:pt x="143" y="191"/>
                  </a:lnTo>
                  <a:lnTo>
                    <a:pt x="143" y="184"/>
                  </a:lnTo>
                  <a:lnTo>
                    <a:pt x="171" y="191"/>
                  </a:lnTo>
                  <a:lnTo>
                    <a:pt x="194" y="212"/>
                  </a:lnTo>
                  <a:lnTo>
                    <a:pt x="203" y="202"/>
                  </a:lnTo>
                  <a:lnTo>
                    <a:pt x="203" y="197"/>
                  </a:lnTo>
                  <a:lnTo>
                    <a:pt x="254" y="257"/>
                  </a:lnTo>
                  <a:lnTo>
                    <a:pt x="256" y="279"/>
                  </a:lnTo>
                  <a:lnTo>
                    <a:pt x="284" y="306"/>
                  </a:lnTo>
                  <a:lnTo>
                    <a:pt x="288" y="332"/>
                  </a:lnTo>
                  <a:lnTo>
                    <a:pt x="313" y="316"/>
                  </a:lnTo>
                  <a:lnTo>
                    <a:pt x="334" y="262"/>
                  </a:lnTo>
                  <a:lnTo>
                    <a:pt x="344" y="259"/>
                  </a:lnTo>
                  <a:lnTo>
                    <a:pt x="366" y="269"/>
                  </a:lnTo>
                  <a:lnTo>
                    <a:pt x="404" y="265"/>
                  </a:lnTo>
                  <a:lnTo>
                    <a:pt x="419" y="257"/>
                  </a:lnTo>
                  <a:lnTo>
                    <a:pt x="401" y="231"/>
                  </a:lnTo>
                  <a:lnTo>
                    <a:pt x="404" y="226"/>
                  </a:lnTo>
                  <a:lnTo>
                    <a:pt x="443" y="212"/>
                  </a:lnTo>
                  <a:lnTo>
                    <a:pt x="457" y="188"/>
                  </a:lnTo>
                  <a:lnTo>
                    <a:pt x="476" y="181"/>
                  </a:lnTo>
                  <a:lnTo>
                    <a:pt x="478" y="156"/>
                  </a:lnTo>
                  <a:lnTo>
                    <a:pt x="483" y="137"/>
                  </a:lnTo>
                  <a:lnTo>
                    <a:pt x="493" y="134"/>
                  </a:lnTo>
                  <a:lnTo>
                    <a:pt x="503" y="143"/>
                  </a:lnTo>
                  <a:lnTo>
                    <a:pt x="514" y="153"/>
                  </a:lnTo>
                  <a:lnTo>
                    <a:pt x="538" y="122"/>
                  </a:lnTo>
                  <a:lnTo>
                    <a:pt x="547" y="101"/>
                  </a:lnTo>
                  <a:lnTo>
                    <a:pt x="542" y="91"/>
                  </a:lnTo>
                </a:path>
              </a:pathLst>
            </a:custGeom>
            <a:solidFill>
              <a:schemeClr val="bg1">
                <a:lumMod val="85000"/>
              </a:schemeClr>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82" name="Freeform 49"/>
            <p:cNvSpPr>
              <a:spLocks noChangeAspect="1"/>
            </p:cNvSpPr>
            <p:nvPr>
              <p:custDataLst>
                <p:tags r:id="rId25"/>
              </p:custDataLst>
            </p:nvPr>
          </p:nvSpPr>
          <p:spPr bwMode="auto">
            <a:xfrm>
              <a:off x="6210121" y="1190169"/>
              <a:ext cx="1282700" cy="1125538"/>
            </a:xfrm>
            <a:custGeom>
              <a:avLst/>
              <a:gdLst>
                <a:gd name="T0" fmla="*/ 2147483647 w 746"/>
                <a:gd name="T1" fmla="*/ 2147483647 h 614"/>
                <a:gd name="T2" fmla="*/ 2147483647 w 746"/>
                <a:gd name="T3" fmla="*/ 2147483647 h 614"/>
                <a:gd name="T4" fmla="*/ 2147483647 w 746"/>
                <a:gd name="T5" fmla="*/ 2147483647 h 614"/>
                <a:gd name="T6" fmla="*/ 2147483647 w 746"/>
                <a:gd name="T7" fmla="*/ 2147483647 h 614"/>
                <a:gd name="T8" fmla="*/ 2147483647 w 746"/>
                <a:gd name="T9" fmla="*/ 2147483647 h 614"/>
                <a:gd name="T10" fmla="*/ 2147483647 w 746"/>
                <a:gd name="T11" fmla="*/ 2147483647 h 614"/>
                <a:gd name="T12" fmla="*/ 2147483647 w 746"/>
                <a:gd name="T13" fmla="*/ 2147483647 h 614"/>
                <a:gd name="T14" fmla="*/ 2147483647 w 746"/>
                <a:gd name="T15" fmla="*/ 2147483647 h 614"/>
                <a:gd name="T16" fmla="*/ 2147483647 w 746"/>
                <a:gd name="T17" fmla="*/ 2147483647 h 614"/>
                <a:gd name="T18" fmla="*/ 2147483647 w 746"/>
                <a:gd name="T19" fmla="*/ 2147483647 h 614"/>
                <a:gd name="T20" fmla="*/ 2147483647 w 746"/>
                <a:gd name="T21" fmla="*/ 2147483647 h 614"/>
                <a:gd name="T22" fmla="*/ 2147483647 w 746"/>
                <a:gd name="T23" fmla="*/ 2147483647 h 614"/>
                <a:gd name="T24" fmla="*/ 2147483647 w 746"/>
                <a:gd name="T25" fmla="*/ 2147483647 h 614"/>
                <a:gd name="T26" fmla="*/ 2147483647 w 746"/>
                <a:gd name="T27" fmla="*/ 2147483647 h 614"/>
                <a:gd name="T28" fmla="*/ 2147483647 w 746"/>
                <a:gd name="T29" fmla="*/ 2147483647 h 614"/>
                <a:gd name="T30" fmla="*/ 2147483647 w 746"/>
                <a:gd name="T31" fmla="*/ 2147483647 h 614"/>
                <a:gd name="T32" fmla="*/ 2147483647 w 746"/>
                <a:gd name="T33" fmla="*/ 2147483647 h 614"/>
                <a:gd name="T34" fmla="*/ 2147483647 w 746"/>
                <a:gd name="T35" fmla="*/ 2147483647 h 614"/>
                <a:gd name="T36" fmla="*/ 2147483647 w 746"/>
                <a:gd name="T37" fmla="*/ 2147483647 h 614"/>
                <a:gd name="T38" fmla="*/ 2147483647 w 746"/>
                <a:gd name="T39" fmla="*/ 2147483647 h 614"/>
                <a:gd name="T40" fmla="*/ 2147483647 w 746"/>
                <a:gd name="T41" fmla="*/ 2147483647 h 614"/>
                <a:gd name="T42" fmla="*/ 2147483647 w 746"/>
                <a:gd name="T43" fmla="*/ 2147483647 h 614"/>
                <a:gd name="T44" fmla="*/ 2147483647 w 746"/>
                <a:gd name="T45" fmla="*/ 2147483647 h 614"/>
                <a:gd name="T46" fmla="*/ 2147483647 w 746"/>
                <a:gd name="T47" fmla="*/ 2147483647 h 614"/>
                <a:gd name="T48" fmla="*/ 2147483647 w 746"/>
                <a:gd name="T49" fmla="*/ 2147483647 h 614"/>
                <a:gd name="T50" fmla="*/ 2147483647 w 746"/>
                <a:gd name="T51" fmla="*/ 2147483647 h 614"/>
                <a:gd name="T52" fmla="*/ 2147483647 w 746"/>
                <a:gd name="T53" fmla="*/ 2147483647 h 614"/>
                <a:gd name="T54" fmla="*/ 2147483647 w 746"/>
                <a:gd name="T55" fmla="*/ 2147483647 h 614"/>
                <a:gd name="T56" fmla="*/ 2147483647 w 746"/>
                <a:gd name="T57" fmla="*/ 2147483647 h 614"/>
                <a:gd name="T58" fmla="*/ 2147483647 w 746"/>
                <a:gd name="T59" fmla="*/ 2147483647 h 614"/>
                <a:gd name="T60" fmla="*/ 2147483647 w 746"/>
                <a:gd name="T61" fmla="*/ 2147483647 h 614"/>
                <a:gd name="T62" fmla="*/ 2147483647 w 746"/>
                <a:gd name="T63" fmla="*/ 2147483647 h 614"/>
                <a:gd name="T64" fmla="*/ 2147483647 w 746"/>
                <a:gd name="T65" fmla="*/ 2147483647 h 614"/>
                <a:gd name="T66" fmla="*/ 2147483647 w 746"/>
                <a:gd name="T67" fmla="*/ 2147483647 h 614"/>
                <a:gd name="T68" fmla="*/ 2147483647 w 746"/>
                <a:gd name="T69" fmla="*/ 2147483647 h 614"/>
                <a:gd name="T70" fmla="*/ 2147483647 w 746"/>
                <a:gd name="T71" fmla="*/ 2147483647 h 614"/>
                <a:gd name="T72" fmla="*/ 2147483647 w 746"/>
                <a:gd name="T73" fmla="*/ 0 h 614"/>
                <a:gd name="T74" fmla="*/ 2147483647 w 746"/>
                <a:gd name="T75" fmla="*/ 2147483647 h 614"/>
                <a:gd name="T76" fmla="*/ 0 w 746"/>
                <a:gd name="T77" fmla="*/ 2147483647 h 614"/>
                <a:gd name="T78" fmla="*/ 2147483647 w 746"/>
                <a:gd name="T79" fmla="*/ 2147483647 h 614"/>
                <a:gd name="T80" fmla="*/ 2147483647 w 746"/>
                <a:gd name="T81" fmla="*/ 2147483647 h 614"/>
                <a:gd name="T82" fmla="*/ 2147483647 w 746"/>
                <a:gd name="T83" fmla="*/ 2147483647 h 614"/>
                <a:gd name="T84" fmla="*/ 2147483647 w 746"/>
                <a:gd name="T85" fmla="*/ 2147483647 h 614"/>
                <a:gd name="T86" fmla="*/ 2147483647 w 746"/>
                <a:gd name="T87" fmla="*/ 2147483647 h 614"/>
                <a:gd name="T88" fmla="*/ 2147483647 w 746"/>
                <a:gd name="T89" fmla="*/ 2147483647 h 614"/>
                <a:gd name="T90" fmla="*/ 2147483647 w 746"/>
                <a:gd name="T91" fmla="*/ 2147483647 h 614"/>
                <a:gd name="T92" fmla="*/ 2147483647 w 746"/>
                <a:gd name="T93" fmla="*/ 2147483647 h 614"/>
                <a:gd name="T94" fmla="*/ 2147483647 w 746"/>
                <a:gd name="T95" fmla="*/ 2147483647 h 614"/>
                <a:gd name="T96" fmla="*/ 2147483647 w 746"/>
                <a:gd name="T97" fmla="*/ 2147483647 h 614"/>
                <a:gd name="T98" fmla="*/ 2147483647 w 746"/>
                <a:gd name="T99" fmla="*/ 2147483647 h 614"/>
                <a:gd name="T100" fmla="*/ 2147483647 w 746"/>
                <a:gd name="T101" fmla="*/ 2147483647 h 614"/>
                <a:gd name="T102" fmla="*/ 2147483647 w 746"/>
                <a:gd name="T103" fmla="*/ 2147483647 h 614"/>
                <a:gd name="T104" fmla="*/ 2147483647 w 746"/>
                <a:gd name="T105" fmla="*/ 2147483647 h 614"/>
                <a:gd name="T106" fmla="*/ 2147483647 w 746"/>
                <a:gd name="T107" fmla="*/ 2147483647 h 6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46"/>
                <a:gd name="T163" fmla="*/ 0 h 614"/>
                <a:gd name="T164" fmla="*/ 746 w 746"/>
                <a:gd name="T165" fmla="*/ 614 h 6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46" h="614">
                  <a:moveTo>
                    <a:pt x="188" y="508"/>
                  </a:moveTo>
                  <a:lnTo>
                    <a:pt x="228" y="501"/>
                  </a:lnTo>
                  <a:lnTo>
                    <a:pt x="244" y="531"/>
                  </a:lnTo>
                  <a:lnTo>
                    <a:pt x="270" y="546"/>
                  </a:lnTo>
                  <a:lnTo>
                    <a:pt x="287" y="540"/>
                  </a:lnTo>
                  <a:lnTo>
                    <a:pt x="301" y="540"/>
                  </a:lnTo>
                  <a:lnTo>
                    <a:pt x="326" y="527"/>
                  </a:lnTo>
                  <a:lnTo>
                    <a:pt x="347" y="542"/>
                  </a:lnTo>
                  <a:lnTo>
                    <a:pt x="357" y="546"/>
                  </a:lnTo>
                  <a:lnTo>
                    <a:pt x="389" y="533"/>
                  </a:lnTo>
                  <a:lnTo>
                    <a:pt x="410" y="546"/>
                  </a:lnTo>
                  <a:lnTo>
                    <a:pt x="421" y="568"/>
                  </a:lnTo>
                  <a:lnTo>
                    <a:pt x="439" y="568"/>
                  </a:lnTo>
                  <a:lnTo>
                    <a:pt x="446" y="578"/>
                  </a:lnTo>
                  <a:lnTo>
                    <a:pt x="469" y="600"/>
                  </a:lnTo>
                  <a:lnTo>
                    <a:pt x="476" y="594"/>
                  </a:lnTo>
                  <a:lnTo>
                    <a:pt x="474" y="568"/>
                  </a:lnTo>
                  <a:lnTo>
                    <a:pt x="483" y="559"/>
                  </a:lnTo>
                  <a:lnTo>
                    <a:pt x="501" y="591"/>
                  </a:lnTo>
                  <a:lnTo>
                    <a:pt x="519" y="597"/>
                  </a:lnTo>
                  <a:lnTo>
                    <a:pt x="533" y="613"/>
                  </a:lnTo>
                  <a:lnTo>
                    <a:pt x="547" y="613"/>
                  </a:lnTo>
                  <a:lnTo>
                    <a:pt x="551" y="603"/>
                  </a:lnTo>
                  <a:lnTo>
                    <a:pt x="579" y="578"/>
                  </a:lnTo>
                  <a:lnTo>
                    <a:pt x="588" y="584"/>
                  </a:lnTo>
                  <a:lnTo>
                    <a:pt x="599" y="574"/>
                  </a:lnTo>
                  <a:lnTo>
                    <a:pt x="607" y="588"/>
                  </a:lnTo>
                  <a:lnTo>
                    <a:pt x="632" y="594"/>
                  </a:lnTo>
                  <a:lnTo>
                    <a:pt x="649" y="594"/>
                  </a:lnTo>
                  <a:lnTo>
                    <a:pt x="663" y="594"/>
                  </a:lnTo>
                  <a:lnTo>
                    <a:pt x="652" y="584"/>
                  </a:lnTo>
                  <a:lnTo>
                    <a:pt x="649" y="546"/>
                  </a:lnTo>
                  <a:lnTo>
                    <a:pt x="621" y="506"/>
                  </a:lnTo>
                  <a:lnTo>
                    <a:pt x="639" y="489"/>
                  </a:lnTo>
                  <a:lnTo>
                    <a:pt x="652" y="464"/>
                  </a:lnTo>
                  <a:lnTo>
                    <a:pt x="708" y="464"/>
                  </a:lnTo>
                  <a:lnTo>
                    <a:pt x="720" y="454"/>
                  </a:lnTo>
                  <a:lnTo>
                    <a:pt x="716" y="435"/>
                  </a:lnTo>
                  <a:lnTo>
                    <a:pt x="729" y="415"/>
                  </a:lnTo>
                  <a:lnTo>
                    <a:pt x="727" y="403"/>
                  </a:lnTo>
                  <a:lnTo>
                    <a:pt x="729" y="387"/>
                  </a:lnTo>
                  <a:lnTo>
                    <a:pt x="729" y="292"/>
                  </a:lnTo>
                  <a:lnTo>
                    <a:pt x="745" y="261"/>
                  </a:lnTo>
                  <a:lnTo>
                    <a:pt x="727" y="240"/>
                  </a:lnTo>
                  <a:lnTo>
                    <a:pt x="729" y="229"/>
                  </a:lnTo>
                  <a:lnTo>
                    <a:pt x="723" y="219"/>
                  </a:lnTo>
                  <a:lnTo>
                    <a:pt x="698" y="225"/>
                  </a:lnTo>
                  <a:lnTo>
                    <a:pt x="674" y="250"/>
                  </a:lnTo>
                  <a:lnTo>
                    <a:pt x="649" y="262"/>
                  </a:lnTo>
                  <a:lnTo>
                    <a:pt x="624" y="294"/>
                  </a:lnTo>
                  <a:lnTo>
                    <a:pt x="562" y="314"/>
                  </a:lnTo>
                  <a:lnTo>
                    <a:pt x="533" y="294"/>
                  </a:lnTo>
                  <a:lnTo>
                    <a:pt x="536" y="282"/>
                  </a:lnTo>
                  <a:lnTo>
                    <a:pt x="522" y="262"/>
                  </a:lnTo>
                  <a:lnTo>
                    <a:pt x="515" y="240"/>
                  </a:lnTo>
                  <a:lnTo>
                    <a:pt x="492" y="240"/>
                  </a:lnTo>
                  <a:lnTo>
                    <a:pt x="448" y="222"/>
                  </a:lnTo>
                  <a:lnTo>
                    <a:pt x="431" y="229"/>
                  </a:lnTo>
                  <a:lnTo>
                    <a:pt x="410" y="219"/>
                  </a:lnTo>
                  <a:lnTo>
                    <a:pt x="382" y="222"/>
                  </a:lnTo>
                  <a:lnTo>
                    <a:pt x="357" y="215"/>
                  </a:lnTo>
                  <a:lnTo>
                    <a:pt x="343" y="197"/>
                  </a:lnTo>
                  <a:lnTo>
                    <a:pt x="326" y="180"/>
                  </a:lnTo>
                  <a:lnTo>
                    <a:pt x="323" y="165"/>
                  </a:lnTo>
                  <a:lnTo>
                    <a:pt x="301" y="145"/>
                  </a:lnTo>
                  <a:lnTo>
                    <a:pt x="290" y="129"/>
                  </a:lnTo>
                  <a:lnTo>
                    <a:pt x="263" y="95"/>
                  </a:lnTo>
                  <a:lnTo>
                    <a:pt x="255" y="76"/>
                  </a:lnTo>
                  <a:lnTo>
                    <a:pt x="224" y="41"/>
                  </a:lnTo>
                  <a:lnTo>
                    <a:pt x="217" y="21"/>
                  </a:lnTo>
                  <a:lnTo>
                    <a:pt x="177" y="6"/>
                  </a:lnTo>
                  <a:lnTo>
                    <a:pt x="150" y="12"/>
                  </a:lnTo>
                  <a:lnTo>
                    <a:pt x="129" y="9"/>
                  </a:lnTo>
                  <a:lnTo>
                    <a:pt x="78" y="0"/>
                  </a:lnTo>
                  <a:lnTo>
                    <a:pt x="16" y="21"/>
                  </a:lnTo>
                  <a:lnTo>
                    <a:pt x="2" y="31"/>
                  </a:lnTo>
                  <a:lnTo>
                    <a:pt x="16" y="47"/>
                  </a:lnTo>
                  <a:lnTo>
                    <a:pt x="0" y="88"/>
                  </a:lnTo>
                  <a:lnTo>
                    <a:pt x="6" y="91"/>
                  </a:lnTo>
                  <a:lnTo>
                    <a:pt x="35" y="107"/>
                  </a:lnTo>
                  <a:lnTo>
                    <a:pt x="48" y="85"/>
                  </a:lnTo>
                  <a:lnTo>
                    <a:pt x="76" y="102"/>
                  </a:lnTo>
                  <a:lnTo>
                    <a:pt x="72" y="111"/>
                  </a:lnTo>
                  <a:lnTo>
                    <a:pt x="83" y="138"/>
                  </a:lnTo>
                  <a:lnTo>
                    <a:pt x="101" y="155"/>
                  </a:lnTo>
                  <a:lnTo>
                    <a:pt x="135" y="162"/>
                  </a:lnTo>
                  <a:lnTo>
                    <a:pt x="143" y="152"/>
                  </a:lnTo>
                  <a:lnTo>
                    <a:pt x="164" y="148"/>
                  </a:lnTo>
                  <a:lnTo>
                    <a:pt x="203" y="120"/>
                  </a:lnTo>
                  <a:lnTo>
                    <a:pt x="255" y="152"/>
                  </a:lnTo>
                  <a:lnTo>
                    <a:pt x="237" y="215"/>
                  </a:lnTo>
                  <a:lnTo>
                    <a:pt x="241" y="261"/>
                  </a:lnTo>
                  <a:lnTo>
                    <a:pt x="241" y="286"/>
                  </a:lnTo>
                  <a:lnTo>
                    <a:pt x="228" y="292"/>
                  </a:lnTo>
                  <a:lnTo>
                    <a:pt x="228" y="365"/>
                  </a:lnTo>
                  <a:lnTo>
                    <a:pt x="224" y="362"/>
                  </a:lnTo>
                  <a:lnTo>
                    <a:pt x="210" y="346"/>
                  </a:lnTo>
                  <a:lnTo>
                    <a:pt x="203" y="346"/>
                  </a:lnTo>
                  <a:lnTo>
                    <a:pt x="199" y="352"/>
                  </a:lnTo>
                  <a:lnTo>
                    <a:pt x="157" y="409"/>
                  </a:lnTo>
                  <a:lnTo>
                    <a:pt x="135" y="432"/>
                  </a:lnTo>
                  <a:lnTo>
                    <a:pt x="140" y="442"/>
                  </a:lnTo>
                  <a:lnTo>
                    <a:pt x="182" y="467"/>
                  </a:lnTo>
                  <a:lnTo>
                    <a:pt x="203" y="460"/>
                  </a:lnTo>
                  <a:lnTo>
                    <a:pt x="207" y="467"/>
                  </a:lnTo>
                  <a:lnTo>
                    <a:pt x="203" y="474"/>
                  </a:lnTo>
                  <a:lnTo>
                    <a:pt x="182" y="483"/>
                  </a:lnTo>
                  <a:lnTo>
                    <a:pt x="177" y="499"/>
                  </a:lnTo>
                  <a:lnTo>
                    <a:pt x="188" y="508"/>
                  </a:lnTo>
                </a:path>
              </a:pathLst>
            </a:custGeom>
            <a:solidFill>
              <a:schemeClr val="bg1">
                <a:lumMod val="85000"/>
              </a:schemeClr>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83" name="Freeform 51"/>
            <p:cNvSpPr>
              <a:spLocks noChangeAspect="1"/>
            </p:cNvSpPr>
            <p:nvPr>
              <p:custDataLst>
                <p:tags r:id="rId26"/>
              </p:custDataLst>
            </p:nvPr>
          </p:nvSpPr>
          <p:spPr bwMode="auto">
            <a:xfrm>
              <a:off x="6418263" y="3919538"/>
              <a:ext cx="428625" cy="477837"/>
            </a:xfrm>
            <a:custGeom>
              <a:avLst/>
              <a:gdLst>
                <a:gd name="T0" fmla="*/ 2147483647 w 250"/>
                <a:gd name="T1" fmla="*/ 2147483647 h 260"/>
                <a:gd name="T2" fmla="*/ 2147483647 w 250"/>
                <a:gd name="T3" fmla="*/ 2147483647 h 260"/>
                <a:gd name="T4" fmla="*/ 2147483647 w 250"/>
                <a:gd name="T5" fmla="*/ 2147483647 h 260"/>
                <a:gd name="T6" fmla="*/ 2147483647 w 250"/>
                <a:gd name="T7" fmla="*/ 2147483647 h 260"/>
                <a:gd name="T8" fmla="*/ 2147483647 w 250"/>
                <a:gd name="T9" fmla="*/ 2147483647 h 260"/>
                <a:gd name="T10" fmla="*/ 2147483647 w 250"/>
                <a:gd name="T11" fmla="*/ 2147483647 h 260"/>
                <a:gd name="T12" fmla="*/ 2147483647 w 250"/>
                <a:gd name="T13" fmla="*/ 2147483647 h 260"/>
                <a:gd name="T14" fmla="*/ 2147483647 w 250"/>
                <a:gd name="T15" fmla="*/ 2147483647 h 260"/>
                <a:gd name="T16" fmla="*/ 2147483647 w 250"/>
                <a:gd name="T17" fmla="*/ 2147483647 h 260"/>
                <a:gd name="T18" fmla="*/ 0 w 250"/>
                <a:gd name="T19" fmla="*/ 2147483647 h 260"/>
                <a:gd name="T20" fmla="*/ 2147483647 w 250"/>
                <a:gd name="T21" fmla="*/ 2147483647 h 260"/>
                <a:gd name="T22" fmla="*/ 2147483647 w 250"/>
                <a:gd name="T23" fmla="*/ 2147483647 h 260"/>
                <a:gd name="T24" fmla="*/ 2147483647 w 250"/>
                <a:gd name="T25" fmla="*/ 2147483647 h 260"/>
                <a:gd name="T26" fmla="*/ 2147483647 w 250"/>
                <a:gd name="T27" fmla="*/ 2147483647 h 260"/>
                <a:gd name="T28" fmla="*/ 2147483647 w 250"/>
                <a:gd name="T29" fmla="*/ 2147483647 h 260"/>
                <a:gd name="T30" fmla="*/ 2147483647 w 250"/>
                <a:gd name="T31" fmla="*/ 2147483647 h 260"/>
                <a:gd name="T32" fmla="*/ 2147483647 w 250"/>
                <a:gd name="T33" fmla="*/ 2147483647 h 260"/>
                <a:gd name="T34" fmla="*/ 2147483647 w 250"/>
                <a:gd name="T35" fmla="*/ 2147483647 h 260"/>
                <a:gd name="T36" fmla="*/ 2147483647 w 250"/>
                <a:gd name="T37" fmla="*/ 2147483647 h 260"/>
                <a:gd name="T38" fmla="*/ 2147483647 w 250"/>
                <a:gd name="T39" fmla="*/ 2147483647 h 260"/>
                <a:gd name="T40" fmla="*/ 2147483647 w 250"/>
                <a:gd name="T41" fmla="*/ 2147483647 h 260"/>
                <a:gd name="T42" fmla="*/ 2147483647 w 250"/>
                <a:gd name="T43" fmla="*/ 2147483647 h 260"/>
                <a:gd name="T44" fmla="*/ 2147483647 w 250"/>
                <a:gd name="T45" fmla="*/ 2147483647 h 260"/>
                <a:gd name="T46" fmla="*/ 2147483647 w 250"/>
                <a:gd name="T47" fmla="*/ 0 h 260"/>
                <a:gd name="T48" fmla="*/ 2147483647 w 250"/>
                <a:gd name="T49" fmla="*/ 2147483647 h 260"/>
                <a:gd name="T50" fmla="*/ 2147483647 w 250"/>
                <a:gd name="T51" fmla="*/ 2147483647 h 260"/>
                <a:gd name="T52" fmla="*/ 2147483647 w 250"/>
                <a:gd name="T53" fmla="*/ 2147483647 h 260"/>
                <a:gd name="T54" fmla="*/ 2147483647 w 250"/>
                <a:gd name="T55" fmla="*/ 2147483647 h 260"/>
                <a:gd name="T56" fmla="*/ 2147483647 w 250"/>
                <a:gd name="T57" fmla="*/ 2147483647 h 260"/>
                <a:gd name="T58" fmla="*/ 2147483647 w 250"/>
                <a:gd name="T59" fmla="*/ 2147483647 h 260"/>
                <a:gd name="T60" fmla="*/ 2147483647 w 250"/>
                <a:gd name="T61" fmla="*/ 2147483647 h 260"/>
                <a:gd name="T62" fmla="*/ 2147483647 w 250"/>
                <a:gd name="T63" fmla="*/ 2147483647 h 260"/>
                <a:gd name="T64" fmla="*/ 2147483647 w 250"/>
                <a:gd name="T65" fmla="*/ 2147483647 h 260"/>
                <a:gd name="T66" fmla="*/ 2147483647 w 250"/>
                <a:gd name="T67" fmla="*/ 2147483647 h 260"/>
                <a:gd name="T68" fmla="*/ 2147483647 w 250"/>
                <a:gd name="T69" fmla="*/ 2147483647 h 260"/>
                <a:gd name="T70" fmla="*/ 2147483647 w 250"/>
                <a:gd name="T71" fmla="*/ 2147483647 h 260"/>
                <a:gd name="T72" fmla="*/ 2147483647 w 250"/>
                <a:gd name="T73" fmla="*/ 2147483647 h 260"/>
                <a:gd name="T74" fmla="*/ 2147483647 w 250"/>
                <a:gd name="T75" fmla="*/ 2147483647 h 260"/>
                <a:gd name="T76" fmla="*/ 2147483647 w 250"/>
                <a:gd name="T77" fmla="*/ 2147483647 h 260"/>
                <a:gd name="T78" fmla="*/ 2147483647 w 250"/>
                <a:gd name="T79" fmla="*/ 2147483647 h 260"/>
                <a:gd name="T80" fmla="*/ 2147483647 w 250"/>
                <a:gd name="T81" fmla="*/ 2147483647 h 260"/>
                <a:gd name="T82" fmla="*/ 2147483647 w 250"/>
                <a:gd name="T83" fmla="*/ 2147483647 h 26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50"/>
                <a:gd name="T127" fmla="*/ 0 h 260"/>
                <a:gd name="T128" fmla="*/ 250 w 250"/>
                <a:gd name="T129" fmla="*/ 260 h 26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50" h="260">
                  <a:moveTo>
                    <a:pt x="181" y="246"/>
                  </a:moveTo>
                  <a:lnTo>
                    <a:pt x="143" y="259"/>
                  </a:lnTo>
                  <a:lnTo>
                    <a:pt x="122" y="240"/>
                  </a:lnTo>
                  <a:lnTo>
                    <a:pt x="108" y="255"/>
                  </a:lnTo>
                  <a:lnTo>
                    <a:pt x="83" y="255"/>
                  </a:lnTo>
                  <a:lnTo>
                    <a:pt x="72" y="237"/>
                  </a:lnTo>
                  <a:lnTo>
                    <a:pt x="62" y="212"/>
                  </a:lnTo>
                  <a:lnTo>
                    <a:pt x="38" y="209"/>
                  </a:lnTo>
                  <a:lnTo>
                    <a:pt x="16" y="168"/>
                  </a:lnTo>
                  <a:lnTo>
                    <a:pt x="0" y="150"/>
                  </a:lnTo>
                  <a:lnTo>
                    <a:pt x="10" y="140"/>
                  </a:lnTo>
                  <a:lnTo>
                    <a:pt x="16" y="137"/>
                  </a:lnTo>
                  <a:lnTo>
                    <a:pt x="41" y="106"/>
                  </a:lnTo>
                  <a:lnTo>
                    <a:pt x="38" y="77"/>
                  </a:lnTo>
                  <a:lnTo>
                    <a:pt x="48" y="68"/>
                  </a:lnTo>
                  <a:lnTo>
                    <a:pt x="65" y="66"/>
                  </a:lnTo>
                  <a:lnTo>
                    <a:pt x="72" y="59"/>
                  </a:lnTo>
                  <a:lnTo>
                    <a:pt x="65" y="46"/>
                  </a:lnTo>
                  <a:lnTo>
                    <a:pt x="76" y="34"/>
                  </a:lnTo>
                  <a:lnTo>
                    <a:pt x="76" y="9"/>
                  </a:lnTo>
                  <a:lnTo>
                    <a:pt x="90" y="3"/>
                  </a:lnTo>
                  <a:lnTo>
                    <a:pt x="111" y="15"/>
                  </a:lnTo>
                  <a:lnTo>
                    <a:pt x="143" y="21"/>
                  </a:lnTo>
                  <a:lnTo>
                    <a:pt x="161" y="0"/>
                  </a:lnTo>
                  <a:lnTo>
                    <a:pt x="185" y="18"/>
                  </a:lnTo>
                  <a:lnTo>
                    <a:pt x="175" y="25"/>
                  </a:lnTo>
                  <a:lnTo>
                    <a:pt x="161" y="41"/>
                  </a:lnTo>
                  <a:lnTo>
                    <a:pt x="143" y="46"/>
                  </a:lnTo>
                  <a:lnTo>
                    <a:pt x="135" y="49"/>
                  </a:lnTo>
                  <a:lnTo>
                    <a:pt x="152" y="59"/>
                  </a:lnTo>
                  <a:lnTo>
                    <a:pt x="188" y="46"/>
                  </a:lnTo>
                  <a:lnTo>
                    <a:pt x="244" y="68"/>
                  </a:lnTo>
                  <a:lnTo>
                    <a:pt x="249" y="108"/>
                  </a:lnTo>
                  <a:lnTo>
                    <a:pt x="227" y="108"/>
                  </a:lnTo>
                  <a:lnTo>
                    <a:pt x="227" y="122"/>
                  </a:lnTo>
                  <a:lnTo>
                    <a:pt x="238" y="140"/>
                  </a:lnTo>
                  <a:lnTo>
                    <a:pt x="227" y="150"/>
                  </a:lnTo>
                  <a:lnTo>
                    <a:pt x="238" y="165"/>
                  </a:lnTo>
                  <a:lnTo>
                    <a:pt x="220" y="187"/>
                  </a:lnTo>
                  <a:lnTo>
                    <a:pt x="212" y="177"/>
                  </a:lnTo>
                  <a:lnTo>
                    <a:pt x="185" y="237"/>
                  </a:lnTo>
                  <a:lnTo>
                    <a:pt x="181" y="246"/>
                  </a:lnTo>
                </a:path>
              </a:pathLst>
            </a:custGeom>
            <a:solidFill>
              <a:srgbClr val="00B050"/>
            </a:solidFill>
            <a:ln w="3175" cap="rnd" algn="ctr">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84" name="Freeform 52"/>
            <p:cNvSpPr>
              <a:spLocks noChangeAspect="1"/>
            </p:cNvSpPr>
            <p:nvPr>
              <p:custDataLst>
                <p:tags r:id="rId27"/>
              </p:custDataLst>
            </p:nvPr>
          </p:nvSpPr>
          <p:spPr bwMode="auto">
            <a:xfrm>
              <a:off x="6015038" y="3573463"/>
              <a:ext cx="539750" cy="606425"/>
            </a:xfrm>
            <a:custGeom>
              <a:avLst/>
              <a:gdLst>
                <a:gd name="T0" fmla="*/ 2147483647 w 313"/>
                <a:gd name="T1" fmla="*/ 0 h 331"/>
                <a:gd name="T2" fmla="*/ 2147483647 w 313"/>
                <a:gd name="T3" fmla="*/ 2147483647 h 331"/>
                <a:gd name="T4" fmla="*/ 2147483647 w 313"/>
                <a:gd name="T5" fmla="*/ 2147483647 h 331"/>
                <a:gd name="T6" fmla="*/ 2147483647 w 313"/>
                <a:gd name="T7" fmla="*/ 2147483647 h 331"/>
                <a:gd name="T8" fmla="*/ 2147483647 w 313"/>
                <a:gd name="T9" fmla="*/ 2147483647 h 331"/>
                <a:gd name="T10" fmla="*/ 2147483647 w 313"/>
                <a:gd name="T11" fmla="*/ 2147483647 h 331"/>
                <a:gd name="T12" fmla="*/ 2147483647 w 313"/>
                <a:gd name="T13" fmla="*/ 2147483647 h 331"/>
                <a:gd name="T14" fmla="*/ 2147483647 w 313"/>
                <a:gd name="T15" fmla="*/ 2147483647 h 331"/>
                <a:gd name="T16" fmla="*/ 2147483647 w 313"/>
                <a:gd name="T17" fmla="*/ 2147483647 h 331"/>
                <a:gd name="T18" fmla="*/ 2147483647 w 313"/>
                <a:gd name="T19" fmla="*/ 2147483647 h 331"/>
                <a:gd name="T20" fmla="*/ 2147483647 w 313"/>
                <a:gd name="T21" fmla="*/ 2147483647 h 331"/>
                <a:gd name="T22" fmla="*/ 2147483647 w 313"/>
                <a:gd name="T23" fmla="*/ 2147483647 h 331"/>
                <a:gd name="T24" fmla="*/ 2147483647 w 313"/>
                <a:gd name="T25" fmla="*/ 2147483647 h 331"/>
                <a:gd name="T26" fmla="*/ 2147483647 w 313"/>
                <a:gd name="T27" fmla="*/ 2147483647 h 331"/>
                <a:gd name="T28" fmla="*/ 2147483647 w 313"/>
                <a:gd name="T29" fmla="*/ 2147483647 h 331"/>
                <a:gd name="T30" fmla="*/ 2147483647 w 313"/>
                <a:gd name="T31" fmla="*/ 2147483647 h 331"/>
                <a:gd name="T32" fmla="*/ 2147483647 w 313"/>
                <a:gd name="T33" fmla="*/ 2147483647 h 331"/>
                <a:gd name="T34" fmla="*/ 2147483647 w 313"/>
                <a:gd name="T35" fmla="*/ 2147483647 h 331"/>
                <a:gd name="T36" fmla="*/ 2147483647 w 313"/>
                <a:gd name="T37" fmla="*/ 2147483647 h 331"/>
                <a:gd name="T38" fmla="*/ 2147483647 w 313"/>
                <a:gd name="T39" fmla="*/ 2147483647 h 331"/>
                <a:gd name="T40" fmla="*/ 2147483647 w 313"/>
                <a:gd name="T41" fmla="*/ 2147483647 h 331"/>
                <a:gd name="T42" fmla="*/ 2147483647 w 313"/>
                <a:gd name="T43" fmla="*/ 2147483647 h 331"/>
                <a:gd name="T44" fmla="*/ 2147483647 w 313"/>
                <a:gd name="T45" fmla="*/ 2147483647 h 331"/>
                <a:gd name="T46" fmla="*/ 2147483647 w 313"/>
                <a:gd name="T47" fmla="*/ 2147483647 h 331"/>
                <a:gd name="T48" fmla="*/ 2147483647 w 313"/>
                <a:gd name="T49" fmla="*/ 2147483647 h 331"/>
                <a:gd name="T50" fmla="*/ 2147483647 w 313"/>
                <a:gd name="T51" fmla="*/ 2147483647 h 331"/>
                <a:gd name="T52" fmla="*/ 2147483647 w 313"/>
                <a:gd name="T53" fmla="*/ 2147483647 h 331"/>
                <a:gd name="T54" fmla="*/ 2147483647 w 313"/>
                <a:gd name="T55" fmla="*/ 2147483647 h 331"/>
                <a:gd name="T56" fmla="*/ 2147483647 w 313"/>
                <a:gd name="T57" fmla="*/ 2147483647 h 331"/>
                <a:gd name="T58" fmla="*/ 2147483647 w 313"/>
                <a:gd name="T59" fmla="*/ 2147483647 h 331"/>
                <a:gd name="T60" fmla="*/ 2147483647 w 313"/>
                <a:gd name="T61" fmla="*/ 2147483647 h 331"/>
                <a:gd name="T62" fmla="*/ 2147483647 w 313"/>
                <a:gd name="T63" fmla="*/ 2147483647 h 331"/>
                <a:gd name="T64" fmla="*/ 2147483647 w 313"/>
                <a:gd name="T65" fmla="*/ 2147483647 h 33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13"/>
                <a:gd name="T100" fmla="*/ 0 h 331"/>
                <a:gd name="T101" fmla="*/ 313 w 313"/>
                <a:gd name="T102" fmla="*/ 331 h 33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13" h="331">
                  <a:moveTo>
                    <a:pt x="62" y="2"/>
                  </a:moveTo>
                  <a:lnTo>
                    <a:pt x="72" y="0"/>
                  </a:lnTo>
                  <a:lnTo>
                    <a:pt x="111" y="12"/>
                  </a:lnTo>
                  <a:lnTo>
                    <a:pt x="129" y="27"/>
                  </a:lnTo>
                  <a:lnTo>
                    <a:pt x="157" y="37"/>
                  </a:lnTo>
                  <a:lnTo>
                    <a:pt x="171" y="43"/>
                  </a:lnTo>
                  <a:lnTo>
                    <a:pt x="186" y="43"/>
                  </a:lnTo>
                  <a:lnTo>
                    <a:pt x="188" y="46"/>
                  </a:lnTo>
                  <a:lnTo>
                    <a:pt x="186" y="80"/>
                  </a:lnTo>
                  <a:lnTo>
                    <a:pt x="202" y="86"/>
                  </a:lnTo>
                  <a:lnTo>
                    <a:pt x="209" y="100"/>
                  </a:lnTo>
                  <a:lnTo>
                    <a:pt x="234" y="105"/>
                  </a:lnTo>
                  <a:lnTo>
                    <a:pt x="245" y="90"/>
                  </a:lnTo>
                  <a:lnTo>
                    <a:pt x="259" y="90"/>
                  </a:lnTo>
                  <a:lnTo>
                    <a:pt x="269" y="102"/>
                  </a:lnTo>
                  <a:lnTo>
                    <a:pt x="265" y="114"/>
                  </a:lnTo>
                  <a:lnTo>
                    <a:pt x="239" y="117"/>
                  </a:lnTo>
                  <a:lnTo>
                    <a:pt x="239" y="127"/>
                  </a:lnTo>
                  <a:lnTo>
                    <a:pt x="239" y="136"/>
                  </a:lnTo>
                  <a:lnTo>
                    <a:pt x="223" y="148"/>
                  </a:lnTo>
                  <a:lnTo>
                    <a:pt x="234" y="162"/>
                  </a:lnTo>
                  <a:lnTo>
                    <a:pt x="259" y="177"/>
                  </a:lnTo>
                  <a:lnTo>
                    <a:pt x="259" y="196"/>
                  </a:lnTo>
                  <a:lnTo>
                    <a:pt x="312" y="198"/>
                  </a:lnTo>
                  <a:lnTo>
                    <a:pt x="312" y="225"/>
                  </a:lnTo>
                  <a:lnTo>
                    <a:pt x="301" y="236"/>
                  </a:lnTo>
                  <a:lnTo>
                    <a:pt x="308" y="249"/>
                  </a:lnTo>
                  <a:lnTo>
                    <a:pt x="301" y="256"/>
                  </a:lnTo>
                  <a:lnTo>
                    <a:pt x="283" y="257"/>
                  </a:lnTo>
                  <a:lnTo>
                    <a:pt x="273" y="267"/>
                  </a:lnTo>
                  <a:lnTo>
                    <a:pt x="275" y="296"/>
                  </a:lnTo>
                  <a:lnTo>
                    <a:pt x="252" y="327"/>
                  </a:lnTo>
                  <a:lnTo>
                    <a:pt x="245" y="330"/>
                  </a:lnTo>
                  <a:lnTo>
                    <a:pt x="230" y="317"/>
                  </a:lnTo>
                  <a:lnTo>
                    <a:pt x="195" y="317"/>
                  </a:lnTo>
                  <a:lnTo>
                    <a:pt x="182" y="305"/>
                  </a:lnTo>
                  <a:lnTo>
                    <a:pt x="153" y="330"/>
                  </a:lnTo>
                  <a:lnTo>
                    <a:pt x="142" y="323"/>
                  </a:lnTo>
                  <a:lnTo>
                    <a:pt x="153" y="305"/>
                  </a:lnTo>
                  <a:lnTo>
                    <a:pt x="153" y="298"/>
                  </a:lnTo>
                  <a:lnTo>
                    <a:pt x="142" y="296"/>
                  </a:lnTo>
                  <a:lnTo>
                    <a:pt x="108" y="312"/>
                  </a:lnTo>
                  <a:lnTo>
                    <a:pt x="76" y="257"/>
                  </a:lnTo>
                  <a:lnTo>
                    <a:pt x="87" y="243"/>
                  </a:lnTo>
                  <a:lnTo>
                    <a:pt x="83" y="236"/>
                  </a:lnTo>
                  <a:lnTo>
                    <a:pt x="65" y="229"/>
                  </a:lnTo>
                  <a:lnTo>
                    <a:pt x="37" y="218"/>
                  </a:lnTo>
                  <a:lnTo>
                    <a:pt x="48" y="196"/>
                  </a:lnTo>
                  <a:lnTo>
                    <a:pt x="65" y="189"/>
                  </a:lnTo>
                  <a:lnTo>
                    <a:pt x="69" y="171"/>
                  </a:lnTo>
                  <a:lnTo>
                    <a:pt x="62" y="142"/>
                  </a:lnTo>
                  <a:lnTo>
                    <a:pt x="58" y="140"/>
                  </a:lnTo>
                  <a:lnTo>
                    <a:pt x="45" y="156"/>
                  </a:lnTo>
                  <a:lnTo>
                    <a:pt x="16" y="136"/>
                  </a:lnTo>
                  <a:lnTo>
                    <a:pt x="0" y="114"/>
                  </a:lnTo>
                  <a:lnTo>
                    <a:pt x="16" y="102"/>
                  </a:lnTo>
                  <a:lnTo>
                    <a:pt x="23" y="80"/>
                  </a:lnTo>
                  <a:lnTo>
                    <a:pt x="35" y="74"/>
                  </a:lnTo>
                  <a:lnTo>
                    <a:pt x="35" y="46"/>
                  </a:lnTo>
                  <a:lnTo>
                    <a:pt x="41" y="40"/>
                  </a:lnTo>
                  <a:lnTo>
                    <a:pt x="55" y="49"/>
                  </a:lnTo>
                  <a:lnTo>
                    <a:pt x="65" y="62"/>
                  </a:lnTo>
                  <a:lnTo>
                    <a:pt x="87" y="49"/>
                  </a:lnTo>
                  <a:lnTo>
                    <a:pt x="94" y="43"/>
                  </a:lnTo>
                  <a:lnTo>
                    <a:pt x="89" y="27"/>
                  </a:lnTo>
                  <a:lnTo>
                    <a:pt x="65" y="15"/>
                  </a:lnTo>
                  <a:lnTo>
                    <a:pt x="62" y="2"/>
                  </a:lnTo>
                </a:path>
              </a:pathLst>
            </a:custGeom>
            <a:solidFill>
              <a:schemeClr val="accent3">
                <a:lumMod val="60000"/>
                <a:lumOff val="40000"/>
              </a:schemeClr>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85" name="Freeform 55" descr="90%"/>
            <p:cNvSpPr>
              <a:spLocks noChangeAspect="1"/>
            </p:cNvSpPr>
            <p:nvPr>
              <p:custDataLst>
                <p:tags r:id="rId28"/>
              </p:custDataLst>
            </p:nvPr>
          </p:nvSpPr>
          <p:spPr bwMode="auto">
            <a:xfrm>
              <a:off x="5491163" y="2881313"/>
              <a:ext cx="385762" cy="757237"/>
            </a:xfrm>
            <a:custGeom>
              <a:avLst/>
              <a:gdLst>
                <a:gd name="T0" fmla="*/ 2147483647 w 226"/>
                <a:gd name="T1" fmla="*/ 2147483647 h 414"/>
                <a:gd name="T2" fmla="*/ 2147483647 w 226"/>
                <a:gd name="T3" fmla="*/ 2147483647 h 414"/>
                <a:gd name="T4" fmla="*/ 2147483647 w 226"/>
                <a:gd name="T5" fmla="*/ 2147483647 h 414"/>
                <a:gd name="T6" fmla="*/ 2147483647 w 226"/>
                <a:gd name="T7" fmla="*/ 2147483647 h 414"/>
                <a:gd name="T8" fmla="*/ 2147483647 w 226"/>
                <a:gd name="T9" fmla="*/ 2147483647 h 414"/>
                <a:gd name="T10" fmla="*/ 2147483647 w 226"/>
                <a:gd name="T11" fmla="*/ 2147483647 h 414"/>
                <a:gd name="T12" fmla="*/ 2147483647 w 226"/>
                <a:gd name="T13" fmla="*/ 2147483647 h 414"/>
                <a:gd name="T14" fmla="*/ 2147483647 w 226"/>
                <a:gd name="T15" fmla="*/ 2147483647 h 414"/>
                <a:gd name="T16" fmla="*/ 2147483647 w 226"/>
                <a:gd name="T17" fmla="*/ 2147483647 h 414"/>
                <a:gd name="T18" fmla="*/ 2147483647 w 226"/>
                <a:gd name="T19" fmla="*/ 2147483647 h 414"/>
                <a:gd name="T20" fmla="*/ 2147483647 w 226"/>
                <a:gd name="T21" fmla="*/ 2147483647 h 414"/>
                <a:gd name="T22" fmla="*/ 2147483647 w 226"/>
                <a:gd name="T23" fmla="*/ 2147483647 h 414"/>
                <a:gd name="T24" fmla="*/ 2147483647 w 226"/>
                <a:gd name="T25" fmla="*/ 2147483647 h 414"/>
                <a:gd name="T26" fmla="*/ 2147483647 w 226"/>
                <a:gd name="T27" fmla="*/ 2147483647 h 414"/>
                <a:gd name="T28" fmla="*/ 2147483647 w 226"/>
                <a:gd name="T29" fmla="*/ 2147483647 h 414"/>
                <a:gd name="T30" fmla="*/ 2147483647 w 226"/>
                <a:gd name="T31" fmla="*/ 2147483647 h 414"/>
                <a:gd name="T32" fmla="*/ 2147483647 w 226"/>
                <a:gd name="T33" fmla="*/ 2147483647 h 414"/>
                <a:gd name="T34" fmla="*/ 2147483647 w 226"/>
                <a:gd name="T35" fmla="*/ 2147483647 h 414"/>
                <a:gd name="T36" fmla="*/ 2147483647 w 226"/>
                <a:gd name="T37" fmla="*/ 0 h 414"/>
                <a:gd name="T38" fmla="*/ 2147483647 w 226"/>
                <a:gd name="T39" fmla="*/ 2147483647 h 414"/>
                <a:gd name="T40" fmla="*/ 2147483647 w 226"/>
                <a:gd name="T41" fmla="*/ 2147483647 h 414"/>
                <a:gd name="T42" fmla="*/ 2147483647 w 226"/>
                <a:gd name="T43" fmla="*/ 2147483647 h 414"/>
                <a:gd name="T44" fmla="*/ 2147483647 w 226"/>
                <a:gd name="T45" fmla="*/ 2147483647 h 414"/>
                <a:gd name="T46" fmla="*/ 2147483647 w 226"/>
                <a:gd name="T47" fmla="*/ 2147483647 h 414"/>
                <a:gd name="T48" fmla="*/ 2147483647 w 226"/>
                <a:gd name="T49" fmla="*/ 2147483647 h 414"/>
                <a:gd name="T50" fmla="*/ 2147483647 w 226"/>
                <a:gd name="T51" fmla="*/ 2147483647 h 414"/>
                <a:gd name="T52" fmla="*/ 2147483647 w 226"/>
                <a:gd name="T53" fmla="*/ 2147483647 h 414"/>
                <a:gd name="T54" fmla="*/ 2147483647 w 226"/>
                <a:gd name="T55" fmla="*/ 2147483647 h 414"/>
                <a:gd name="T56" fmla="*/ 2147483647 w 226"/>
                <a:gd name="T57" fmla="*/ 2147483647 h 414"/>
                <a:gd name="T58" fmla="*/ 2147483647 w 226"/>
                <a:gd name="T59" fmla="*/ 2147483647 h 414"/>
                <a:gd name="T60" fmla="*/ 2147483647 w 226"/>
                <a:gd name="T61" fmla="*/ 2147483647 h 414"/>
                <a:gd name="T62" fmla="*/ 2147483647 w 226"/>
                <a:gd name="T63" fmla="*/ 2147483647 h 414"/>
                <a:gd name="T64" fmla="*/ 0 w 226"/>
                <a:gd name="T65" fmla="*/ 2147483647 h 414"/>
                <a:gd name="T66" fmla="*/ 2147483647 w 226"/>
                <a:gd name="T67" fmla="*/ 2147483647 h 414"/>
                <a:gd name="T68" fmla="*/ 2147483647 w 226"/>
                <a:gd name="T69" fmla="*/ 2147483647 h 414"/>
                <a:gd name="T70" fmla="*/ 2147483647 w 226"/>
                <a:gd name="T71" fmla="*/ 2147483647 h 41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414"/>
                <a:gd name="T110" fmla="*/ 226 w 226"/>
                <a:gd name="T111" fmla="*/ 414 h 41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414">
                  <a:moveTo>
                    <a:pt x="16" y="413"/>
                  </a:moveTo>
                  <a:lnTo>
                    <a:pt x="63" y="399"/>
                  </a:lnTo>
                  <a:lnTo>
                    <a:pt x="126" y="362"/>
                  </a:lnTo>
                  <a:lnTo>
                    <a:pt x="168" y="352"/>
                  </a:lnTo>
                  <a:lnTo>
                    <a:pt x="200" y="331"/>
                  </a:lnTo>
                  <a:lnTo>
                    <a:pt x="204" y="281"/>
                  </a:lnTo>
                  <a:lnTo>
                    <a:pt x="188" y="266"/>
                  </a:lnTo>
                  <a:lnTo>
                    <a:pt x="192" y="250"/>
                  </a:lnTo>
                  <a:lnTo>
                    <a:pt x="204" y="235"/>
                  </a:lnTo>
                  <a:lnTo>
                    <a:pt x="207" y="215"/>
                  </a:lnTo>
                  <a:lnTo>
                    <a:pt x="218" y="199"/>
                  </a:lnTo>
                  <a:lnTo>
                    <a:pt x="200" y="168"/>
                  </a:lnTo>
                  <a:lnTo>
                    <a:pt x="179" y="146"/>
                  </a:lnTo>
                  <a:lnTo>
                    <a:pt x="188" y="106"/>
                  </a:lnTo>
                  <a:lnTo>
                    <a:pt x="221" y="90"/>
                  </a:lnTo>
                  <a:lnTo>
                    <a:pt x="225" y="65"/>
                  </a:lnTo>
                  <a:lnTo>
                    <a:pt x="214" y="43"/>
                  </a:lnTo>
                  <a:lnTo>
                    <a:pt x="214" y="16"/>
                  </a:lnTo>
                  <a:lnTo>
                    <a:pt x="192" y="0"/>
                  </a:lnTo>
                  <a:lnTo>
                    <a:pt x="151" y="18"/>
                  </a:lnTo>
                  <a:lnTo>
                    <a:pt x="144" y="12"/>
                  </a:lnTo>
                  <a:lnTo>
                    <a:pt x="118" y="27"/>
                  </a:lnTo>
                  <a:lnTo>
                    <a:pt x="101" y="27"/>
                  </a:lnTo>
                  <a:lnTo>
                    <a:pt x="63" y="74"/>
                  </a:lnTo>
                  <a:lnTo>
                    <a:pt x="52" y="74"/>
                  </a:lnTo>
                  <a:lnTo>
                    <a:pt x="31" y="90"/>
                  </a:lnTo>
                  <a:lnTo>
                    <a:pt x="35" y="111"/>
                  </a:lnTo>
                  <a:lnTo>
                    <a:pt x="23" y="127"/>
                  </a:lnTo>
                  <a:lnTo>
                    <a:pt x="21" y="152"/>
                  </a:lnTo>
                  <a:lnTo>
                    <a:pt x="3" y="177"/>
                  </a:lnTo>
                  <a:lnTo>
                    <a:pt x="21" y="215"/>
                  </a:lnTo>
                  <a:lnTo>
                    <a:pt x="16" y="235"/>
                  </a:lnTo>
                  <a:lnTo>
                    <a:pt x="0" y="260"/>
                  </a:lnTo>
                  <a:lnTo>
                    <a:pt x="21" y="347"/>
                  </a:lnTo>
                  <a:lnTo>
                    <a:pt x="5" y="394"/>
                  </a:lnTo>
                  <a:lnTo>
                    <a:pt x="16" y="413"/>
                  </a:lnTo>
                </a:path>
              </a:pathLst>
            </a:custGeom>
            <a:pattFill prst="pct90">
              <a:fgClr>
                <a:srgbClr val="C07200"/>
              </a:fgClr>
              <a:bgClr>
                <a:srgbClr val="FFFFFF"/>
              </a:bgClr>
            </a:pattFill>
            <a:ln w="3175" cap="rnd">
              <a:solidFill>
                <a:srgbClr val="808080"/>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86" name="Freeform 56"/>
            <p:cNvSpPr>
              <a:spLocks noChangeAspect="1"/>
            </p:cNvSpPr>
            <p:nvPr>
              <p:custDataLst>
                <p:tags r:id="rId29"/>
              </p:custDataLst>
            </p:nvPr>
          </p:nvSpPr>
          <p:spPr bwMode="auto">
            <a:xfrm>
              <a:off x="5475288" y="2881313"/>
              <a:ext cx="414337" cy="765175"/>
            </a:xfrm>
            <a:custGeom>
              <a:avLst/>
              <a:gdLst>
                <a:gd name="T0" fmla="*/ 2147483647 w 241"/>
                <a:gd name="T1" fmla="*/ 2147483647 h 417"/>
                <a:gd name="T2" fmla="*/ 2147483647 w 241"/>
                <a:gd name="T3" fmla="*/ 2147483647 h 417"/>
                <a:gd name="T4" fmla="*/ 2147483647 w 241"/>
                <a:gd name="T5" fmla="*/ 2147483647 h 417"/>
                <a:gd name="T6" fmla="*/ 2147483647 w 241"/>
                <a:gd name="T7" fmla="*/ 2147483647 h 417"/>
                <a:gd name="T8" fmla="*/ 2147483647 w 241"/>
                <a:gd name="T9" fmla="*/ 2147483647 h 417"/>
                <a:gd name="T10" fmla="*/ 2147483647 w 241"/>
                <a:gd name="T11" fmla="*/ 2147483647 h 417"/>
                <a:gd name="T12" fmla="*/ 2147483647 w 241"/>
                <a:gd name="T13" fmla="*/ 2147483647 h 417"/>
                <a:gd name="T14" fmla="*/ 2147483647 w 241"/>
                <a:gd name="T15" fmla="*/ 2147483647 h 417"/>
                <a:gd name="T16" fmla="*/ 2147483647 w 241"/>
                <a:gd name="T17" fmla="*/ 2147483647 h 417"/>
                <a:gd name="T18" fmla="*/ 2147483647 w 241"/>
                <a:gd name="T19" fmla="*/ 2147483647 h 417"/>
                <a:gd name="T20" fmla="*/ 2147483647 w 241"/>
                <a:gd name="T21" fmla="*/ 2147483647 h 417"/>
                <a:gd name="T22" fmla="*/ 2147483647 w 241"/>
                <a:gd name="T23" fmla="*/ 2147483647 h 417"/>
                <a:gd name="T24" fmla="*/ 2147483647 w 241"/>
                <a:gd name="T25" fmla="*/ 2147483647 h 417"/>
                <a:gd name="T26" fmla="*/ 2147483647 w 241"/>
                <a:gd name="T27" fmla="*/ 2147483647 h 417"/>
                <a:gd name="T28" fmla="*/ 2147483647 w 241"/>
                <a:gd name="T29" fmla="*/ 2147483647 h 417"/>
                <a:gd name="T30" fmla="*/ 2147483647 w 241"/>
                <a:gd name="T31" fmla="*/ 2147483647 h 417"/>
                <a:gd name="T32" fmla="*/ 2147483647 w 241"/>
                <a:gd name="T33" fmla="*/ 2147483647 h 417"/>
                <a:gd name="T34" fmla="*/ 2147483647 w 241"/>
                <a:gd name="T35" fmla="*/ 2147483647 h 417"/>
                <a:gd name="T36" fmla="*/ 2147483647 w 241"/>
                <a:gd name="T37" fmla="*/ 0 h 417"/>
                <a:gd name="T38" fmla="*/ 2147483647 w 241"/>
                <a:gd name="T39" fmla="*/ 2147483647 h 417"/>
                <a:gd name="T40" fmla="*/ 2147483647 w 241"/>
                <a:gd name="T41" fmla="*/ 2147483647 h 417"/>
                <a:gd name="T42" fmla="*/ 2147483647 w 241"/>
                <a:gd name="T43" fmla="*/ 2147483647 h 417"/>
                <a:gd name="T44" fmla="*/ 2147483647 w 241"/>
                <a:gd name="T45" fmla="*/ 2147483647 h 417"/>
                <a:gd name="T46" fmla="*/ 2147483647 w 241"/>
                <a:gd name="T47" fmla="*/ 2147483647 h 417"/>
                <a:gd name="T48" fmla="*/ 2147483647 w 241"/>
                <a:gd name="T49" fmla="*/ 2147483647 h 417"/>
                <a:gd name="T50" fmla="*/ 2147483647 w 241"/>
                <a:gd name="T51" fmla="*/ 2147483647 h 417"/>
                <a:gd name="T52" fmla="*/ 2147483647 w 241"/>
                <a:gd name="T53" fmla="*/ 2147483647 h 417"/>
                <a:gd name="T54" fmla="*/ 2147483647 w 241"/>
                <a:gd name="T55" fmla="*/ 2147483647 h 417"/>
                <a:gd name="T56" fmla="*/ 2147483647 w 241"/>
                <a:gd name="T57" fmla="*/ 2147483647 h 417"/>
                <a:gd name="T58" fmla="*/ 2147483647 w 241"/>
                <a:gd name="T59" fmla="*/ 2147483647 h 417"/>
                <a:gd name="T60" fmla="*/ 2147483647 w 241"/>
                <a:gd name="T61" fmla="*/ 2147483647 h 417"/>
                <a:gd name="T62" fmla="*/ 2147483647 w 241"/>
                <a:gd name="T63" fmla="*/ 2147483647 h 417"/>
                <a:gd name="T64" fmla="*/ 0 w 241"/>
                <a:gd name="T65" fmla="*/ 2147483647 h 417"/>
                <a:gd name="T66" fmla="*/ 2147483647 w 241"/>
                <a:gd name="T67" fmla="*/ 2147483647 h 417"/>
                <a:gd name="T68" fmla="*/ 2147483647 w 241"/>
                <a:gd name="T69" fmla="*/ 2147483647 h 417"/>
                <a:gd name="T70" fmla="*/ 2147483647 w 241"/>
                <a:gd name="T71" fmla="*/ 2147483647 h 41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1"/>
                <a:gd name="T109" fmla="*/ 0 h 417"/>
                <a:gd name="T110" fmla="*/ 241 w 241"/>
                <a:gd name="T111" fmla="*/ 417 h 41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1" h="417">
                  <a:moveTo>
                    <a:pt x="17" y="416"/>
                  </a:moveTo>
                  <a:lnTo>
                    <a:pt x="67" y="402"/>
                  </a:lnTo>
                  <a:lnTo>
                    <a:pt x="134" y="365"/>
                  </a:lnTo>
                  <a:lnTo>
                    <a:pt x="179" y="355"/>
                  </a:lnTo>
                  <a:lnTo>
                    <a:pt x="213" y="334"/>
                  </a:lnTo>
                  <a:lnTo>
                    <a:pt x="218" y="283"/>
                  </a:lnTo>
                  <a:lnTo>
                    <a:pt x="201" y="268"/>
                  </a:lnTo>
                  <a:lnTo>
                    <a:pt x="205" y="251"/>
                  </a:lnTo>
                  <a:lnTo>
                    <a:pt x="218" y="237"/>
                  </a:lnTo>
                  <a:lnTo>
                    <a:pt x="221" y="217"/>
                  </a:lnTo>
                  <a:lnTo>
                    <a:pt x="232" y="201"/>
                  </a:lnTo>
                  <a:lnTo>
                    <a:pt x="213" y="169"/>
                  </a:lnTo>
                  <a:lnTo>
                    <a:pt x="191" y="147"/>
                  </a:lnTo>
                  <a:lnTo>
                    <a:pt x="201" y="106"/>
                  </a:lnTo>
                  <a:lnTo>
                    <a:pt x="236" y="91"/>
                  </a:lnTo>
                  <a:lnTo>
                    <a:pt x="240" y="65"/>
                  </a:lnTo>
                  <a:lnTo>
                    <a:pt x="229" y="43"/>
                  </a:lnTo>
                  <a:lnTo>
                    <a:pt x="229" y="16"/>
                  </a:lnTo>
                  <a:lnTo>
                    <a:pt x="205" y="0"/>
                  </a:lnTo>
                  <a:lnTo>
                    <a:pt x="161" y="18"/>
                  </a:lnTo>
                  <a:lnTo>
                    <a:pt x="154" y="12"/>
                  </a:lnTo>
                  <a:lnTo>
                    <a:pt x="126" y="28"/>
                  </a:lnTo>
                  <a:lnTo>
                    <a:pt x="107" y="28"/>
                  </a:lnTo>
                  <a:lnTo>
                    <a:pt x="67" y="75"/>
                  </a:lnTo>
                  <a:lnTo>
                    <a:pt x="55" y="75"/>
                  </a:lnTo>
                  <a:lnTo>
                    <a:pt x="33" y="91"/>
                  </a:lnTo>
                  <a:lnTo>
                    <a:pt x="37" y="112"/>
                  </a:lnTo>
                  <a:lnTo>
                    <a:pt x="25" y="128"/>
                  </a:lnTo>
                  <a:lnTo>
                    <a:pt x="22" y="154"/>
                  </a:lnTo>
                  <a:lnTo>
                    <a:pt x="3" y="178"/>
                  </a:lnTo>
                  <a:lnTo>
                    <a:pt x="22" y="217"/>
                  </a:lnTo>
                  <a:lnTo>
                    <a:pt x="17" y="237"/>
                  </a:lnTo>
                  <a:lnTo>
                    <a:pt x="0" y="261"/>
                  </a:lnTo>
                  <a:lnTo>
                    <a:pt x="22" y="349"/>
                  </a:lnTo>
                  <a:lnTo>
                    <a:pt x="6" y="397"/>
                  </a:lnTo>
                  <a:lnTo>
                    <a:pt x="17" y="416"/>
                  </a:lnTo>
                </a:path>
              </a:pathLst>
            </a:custGeom>
            <a:solidFill>
              <a:srgbClr val="C3D69B"/>
            </a:solidFill>
            <a:ln w="3175" cap="rnd" algn="ctr">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87" name="Freeform 57"/>
            <p:cNvSpPr>
              <a:spLocks noChangeAspect="1"/>
            </p:cNvSpPr>
            <p:nvPr>
              <p:custDataLst>
                <p:tags r:id="rId30"/>
              </p:custDataLst>
            </p:nvPr>
          </p:nvSpPr>
          <p:spPr bwMode="auto">
            <a:xfrm>
              <a:off x="6110288" y="2881313"/>
              <a:ext cx="117475" cy="201612"/>
            </a:xfrm>
            <a:custGeom>
              <a:avLst/>
              <a:gdLst>
                <a:gd name="T0" fmla="*/ 2147483647 w 69"/>
                <a:gd name="T1" fmla="*/ 2147483647 h 110"/>
                <a:gd name="T2" fmla="*/ 2147483647 w 69"/>
                <a:gd name="T3" fmla="*/ 2147483647 h 110"/>
                <a:gd name="T4" fmla="*/ 0 w 69"/>
                <a:gd name="T5" fmla="*/ 2147483647 h 110"/>
                <a:gd name="T6" fmla="*/ 0 w 69"/>
                <a:gd name="T7" fmla="*/ 2147483647 h 110"/>
                <a:gd name="T8" fmla="*/ 0 w 69"/>
                <a:gd name="T9" fmla="*/ 2147483647 h 110"/>
                <a:gd name="T10" fmla="*/ 2147483647 w 69"/>
                <a:gd name="T11" fmla="*/ 2147483647 h 110"/>
                <a:gd name="T12" fmla="*/ 2147483647 w 69"/>
                <a:gd name="T13" fmla="*/ 2147483647 h 110"/>
                <a:gd name="T14" fmla="*/ 2147483647 w 69"/>
                <a:gd name="T15" fmla="*/ 2147483647 h 110"/>
                <a:gd name="T16" fmla="*/ 2147483647 w 69"/>
                <a:gd name="T17" fmla="*/ 0 h 110"/>
                <a:gd name="T18" fmla="*/ 2147483647 w 69"/>
                <a:gd name="T19" fmla="*/ 2147483647 h 110"/>
                <a:gd name="T20" fmla="*/ 2147483647 w 69"/>
                <a:gd name="T21" fmla="*/ 2147483647 h 110"/>
                <a:gd name="T22" fmla="*/ 2147483647 w 69"/>
                <a:gd name="T23" fmla="*/ 2147483647 h 110"/>
                <a:gd name="T24" fmla="*/ 2147483647 w 69"/>
                <a:gd name="T25" fmla="*/ 2147483647 h 110"/>
                <a:gd name="T26" fmla="*/ 2147483647 w 69"/>
                <a:gd name="T27" fmla="*/ 2147483647 h 110"/>
                <a:gd name="T28" fmla="*/ 2147483647 w 69"/>
                <a:gd name="T29" fmla="*/ 2147483647 h 110"/>
                <a:gd name="T30" fmla="*/ 2147483647 w 69"/>
                <a:gd name="T31" fmla="*/ 2147483647 h 110"/>
                <a:gd name="T32" fmla="*/ 2147483647 w 69"/>
                <a:gd name="T33" fmla="*/ 2147483647 h 1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9"/>
                <a:gd name="T52" fmla="*/ 0 h 110"/>
                <a:gd name="T53" fmla="*/ 69 w 69"/>
                <a:gd name="T54" fmla="*/ 110 h 11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9" h="110">
                  <a:moveTo>
                    <a:pt x="52" y="99"/>
                  </a:moveTo>
                  <a:lnTo>
                    <a:pt x="35" y="109"/>
                  </a:lnTo>
                  <a:lnTo>
                    <a:pt x="0" y="99"/>
                  </a:lnTo>
                  <a:lnTo>
                    <a:pt x="0" y="93"/>
                  </a:lnTo>
                  <a:lnTo>
                    <a:pt x="0" y="43"/>
                  </a:lnTo>
                  <a:lnTo>
                    <a:pt x="21" y="36"/>
                  </a:lnTo>
                  <a:lnTo>
                    <a:pt x="17" y="27"/>
                  </a:lnTo>
                  <a:lnTo>
                    <a:pt x="21" y="9"/>
                  </a:lnTo>
                  <a:lnTo>
                    <a:pt x="23" y="0"/>
                  </a:lnTo>
                  <a:lnTo>
                    <a:pt x="35" y="6"/>
                  </a:lnTo>
                  <a:lnTo>
                    <a:pt x="42" y="21"/>
                  </a:lnTo>
                  <a:lnTo>
                    <a:pt x="39" y="31"/>
                  </a:lnTo>
                  <a:lnTo>
                    <a:pt x="63" y="46"/>
                  </a:lnTo>
                  <a:lnTo>
                    <a:pt x="68" y="58"/>
                  </a:lnTo>
                  <a:lnTo>
                    <a:pt x="52" y="68"/>
                  </a:lnTo>
                  <a:lnTo>
                    <a:pt x="45" y="87"/>
                  </a:lnTo>
                  <a:lnTo>
                    <a:pt x="52" y="99"/>
                  </a:lnTo>
                </a:path>
              </a:pathLst>
            </a:custGeom>
            <a:solidFill>
              <a:srgbClr val="D9D9D9"/>
            </a:solidFill>
            <a:ln w="3175" cap="rnd" algn="ctr">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88" name="Freeform 58"/>
            <p:cNvSpPr>
              <a:spLocks noChangeAspect="1"/>
            </p:cNvSpPr>
            <p:nvPr>
              <p:custDataLst>
                <p:tags r:id="rId31"/>
              </p:custDataLst>
            </p:nvPr>
          </p:nvSpPr>
          <p:spPr bwMode="auto">
            <a:xfrm>
              <a:off x="5964238" y="2798763"/>
              <a:ext cx="188912" cy="192087"/>
            </a:xfrm>
            <a:custGeom>
              <a:avLst/>
              <a:gdLst>
                <a:gd name="T0" fmla="*/ 2147483647 w 110"/>
                <a:gd name="T1" fmla="*/ 2147483647 h 105"/>
                <a:gd name="T2" fmla="*/ 2147483647 w 110"/>
                <a:gd name="T3" fmla="*/ 2147483647 h 105"/>
                <a:gd name="T4" fmla="*/ 2147483647 w 110"/>
                <a:gd name="T5" fmla="*/ 2147483647 h 105"/>
                <a:gd name="T6" fmla="*/ 2147483647 w 110"/>
                <a:gd name="T7" fmla="*/ 2147483647 h 105"/>
                <a:gd name="T8" fmla="*/ 2147483647 w 110"/>
                <a:gd name="T9" fmla="*/ 2147483647 h 105"/>
                <a:gd name="T10" fmla="*/ 2147483647 w 110"/>
                <a:gd name="T11" fmla="*/ 2147483647 h 105"/>
                <a:gd name="T12" fmla="*/ 2147483647 w 110"/>
                <a:gd name="T13" fmla="*/ 2147483647 h 105"/>
                <a:gd name="T14" fmla="*/ 2147483647 w 110"/>
                <a:gd name="T15" fmla="*/ 0 h 105"/>
                <a:gd name="T16" fmla="*/ 2147483647 w 110"/>
                <a:gd name="T17" fmla="*/ 2147483647 h 105"/>
                <a:gd name="T18" fmla="*/ 2147483647 w 110"/>
                <a:gd name="T19" fmla="*/ 2147483647 h 105"/>
                <a:gd name="T20" fmla="*/ 2147483647 w 110"/>
                <a:gd name="T21" fmla="*/ 2147483647 h 105"/>
                <a:gd name="T22" fmla="*/ 0 w 110"/>
                <a:gd name="T23" fmla="*/ 2147483647 h 105"/>
                <a:gd name="T24" fmla="*/ 2147483647 w 110"/>
                <a:gd name="T25" fmla="*/ 2147483647 h 105"/>
                <a:gd name="T26" fmla="*/ 2147483647 w 110"/>
                <a:gd name="T27" fmla="*/ 2147483647 h 105"/>
                <a:gd name="T28" fmla="*/ 2147483647 w 110"/>
                <a:gd name="T29" fmla="*/ 2147483647 h 105"/>
                <a:gd name="T30" fmla="*/ 2147483647 w 110"/>
                <a:gd name="T31" fmla="*/ 2147483647 h 105"/>
                <a:gd name="T32" fmla="*/ 2147483647 w 110"/>
                <a:gd name="T33" fmla="*/ 2147483647 h 1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10"/>
                <a:gd name="T52" fmla="*/ 0 h 105"/>
                <a:gd name="T53" fmla="*/ 110 w 110"/>
                <a:gd name="T54" fmla="*/ 105 h 10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10" h="105">
                  <a:moveTo>
                    <a:pt x="84" y="88"/>
                  </a:moveTo>
                  <a:lnTo>
                    <a:pt x="80" y="75"/>
                  </a:lnTo>
                  <a:lnTo>
                    <a:pt x="76" y="63"/>
                  </a:lnTo>
                  <a:lnTo>
                    <a:pt x="105" y="54"/>
                  </a:lnTo>
                  <a:lnTo>
                    <a:pt x="109" y="44"/>
                  </a:lnTo>
                  <a:lnTo>
                    <a:pt x="102" y="18"/>
                  </a:lnTo>
                  <a:lnTo>
                    <a:pt x="91" y="18"/>
                  </a:lnTo>
                  <a:lnTo>
                    <a:pt x="52" y="0"/>
                  </a:lnTo>
                  <a:lnTo>
                    <a:pt x="31" y="18"/>
                  </a:lnTo>
                  <a:lnTo>
                    <a:pt x="23" y="47"/>
                  </a:lnTo>
                  <a:lnTo>
                    <a:pt x="2" y="69"/>
                  </a:lnTo>
                  <a:lnTo>
                    <a:pt x="0" y="92"/>
                  </a:lnTo>
                  <a:lnTo>
                    <a:pt x="2" y="104"/>
                  </a:lnTo>
                  <a:lnTo>
                    <a:pt x="35" y="97"/>
                  </a:lnTo>
                  <a:lnTo>
                    <a:pt x="55" y="104"/>
                  </a:lnTo>
                  <a:lnTo>
                    <a:pt x="65" y="94"/>
                  </a:lnTo>
                  <a:lnTo>
                    <a:pt x="84" y="88"/>
                  </a:lnTo>
                </a:path>
              </a:pathLst>
            </a:custGeom>
            <a:solidFill>
              <a:srgbClr val="D9D9D9"/>
            </a:solidFill>
            <a:ln w="3175" cap="rnd" algn="ctr">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89" name="Freeform 60"/>
            <p:cNvSpPr>
              <a:spLocks noChangeAspect="1"/>
            </p:cNvSpPr>
            <p:nvPr>
              <p:custDataLst>
                <p:tags r:id="rId32"/>
              </p:custDataLst>
            </p:nvPr>
          </p:nvSpPr>
          <p:spPr bwMode="auto">
            <a:xfrm>
              <a:off x="6069013" y="5075238"/>
              <a:ext cx="92075" cy="61912"/>
            </a:xfrm>
            <a:custGeom>
              <a:avLst/>
              <a:gdLst/>
              <a:ahLst/>
              <a:cxnLst>
                <a:cxn ang="0">
                  <a:pos x="3" y="9"/>
                </a:cxn>
                <a:cxn ang="0">
                  <a:pos x="23" y="13"/>
                </a:cxn>
                <a:cxn ang="0">
                  <a:pos x="42" y="0"/>
                </a:cxn>
                <a:cxn ang="0">
                  <a:pos x="53" y="22"/>
                </a:cxn>
                <a:cxn ang="0">
                  <a:pos x="31" y="32"/>
                </a:cxn>
                <a:cxn ang="0">
                  <a:pos x="3" y="32"/>
                </a:cxn>
                <a:cxn ang="0">
                  <a:pos x="0" y="13"/>
                </a:cxn>
                <a:cxn ang="0">
                  <a:pos x="3" y="9"/>
                </a:cxn>
              </a:cxnLst>
              <a:rect l="0" t="0" r="r" b="b"/>
              <a:pathLst>
                <a:path w="54" h="33">
                  <a:moveTo>
                    <a:pt x="3" y="9"/>
                  </a:moveTo>
                  <a:lnTo>
                    <a:pt x="23" y="13"/>
                  </a:lnTo>
                  <a:lnTo>
                    <a:pt x="42" y="0"/>
                  </a:lnTo>
                  <a:lnTo>
                    <a:pt x="53" y="22"/>
                  </a:lnTo>
                  <a:lnTo>
                    <a:pt x="31" y="32"/>
                  </a:lnTo>
                  <a:lnTo>
                    <a:pt x="3" y="32"/>
                  </a:lnTo>
                  <a:lnTo>
                    <a:pt x="0" y="13"/>
                  </a:lnTo>
                  <a:lnTo>
                    <a:pt x="3" y="9"/>
                  </a:lnTo>
                </a:path>
              </a:pathLst>
            </a:custGeom>
            <a:solidFill>
              <a:srgbClr val="D9D9D9"/>
            </a:solidFill>
            <a:ln w="3175" cap="rnd" cmpd="sng">
              <a:solidFill>
                <a:schemeClr val="bg1"/>
              </a:solidFill>
              <a:prstDash val="solid"/>
              <a:round/>
              <a:headEnd type="none" w="sm" len="sm"/>
              <a:tailEnd type="none" w="sm" len="sm"/>
            </a:ln>
            <a:effectLst/>
          </p:spPr>
          <p:txBody>
            <a:bodyPr/>
            <a:lstStyle/>
            <a:p>
              <a:pPr defTabSz="914400">
                <a:defRPr/>
              </a:pPr>
              <a:endParaRPr lang="zh-CN" altLang="en-US" sz="500" b="1" kern="0">
                <a:solidFill>
                  <a:sysClr val="windowText" lastClr="000000"/>
                </a:solidFill>
                <a:ea typeface="宋体" charset="-122"/>
              </a:endParaRPr>
            </a:p>
          </p:txBody>
        </p:sp>
        <p:sp>
          <p:nvSpPr>
            <p:cNvPr id="90" name="Text Box 62"/>
            <p:cNvSpPr txBox="1">
              <a:spLocks noChangeArrowheads="1"/>
            </p:cNvSpPr>
            <p:nvPr>
              <p:custDataLst>
                <p:tags r:id="rId33"/>
              </p:custDataLst>
            </p:nvPr>
          </p:nvSpPr>
          <p:spPr bwMode="auto">
            <a:xfrm>
              <a:off x="6584409" y="1773238"/>
              <a:ext cx="957263"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HEILONGJIANG</a:t>
              </a:r>
            </a:p>
          </p:txBody>
        </p:sp>
        <p:sp>
          <p:nvSpPr>
            <p:cNvPr id="91" name="Text Box 63"/>
            <p:cNvSpPr txBox="1">
              <a:spLocks noChangeArrowheads="1"/>
            </p:cNvSpPr>
            <p:nvPr>
              <p:custDataLst>
                <p:tags r:id="rId34"/>
              </p:custDataLst>
            </p:nvPr>
          </p:nvSpPr>
          <p:spPr bwMode="auto">
            <a:xfrm>
              <a:off x="6700298" y="2217738"/>
              <a:ext cx="565150"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JILIN</a:t>
              </a:r>
            </a:p>
          </p:txBody>
        </p:sp>
        <p:sp>
          <p:nvSpPr>
            <p:cNvPr id="92" name="Text Box 64"/>
            <p:cNvSpPr txBox="1">
              <a:spLocks noChangeArrowheads="1"/>
            </p:cNvSpPr>
            <p:nvPr>
              <p:custDataLst>
                <p:tags r:id="rId35"/>
              </p:custDataLst>
            </p:nvPr>
          </p:nvSpPr>
          <p:spPr bwMode="auto">
            <a:xfrm>
              <a:off x="6303423" y="2605087"/>
              <a:ext cx="677862"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LIAONING</a:t>
              </a:r>
            </a:p>
          </p:txBody>
        </p:sp>
        <p:sp>
          <p:nvSpPr>
            <p:cNvPr id="93" name="Text Box 65"/>
            <p:cNvSpPr txBox="1">
              <a:spLocks noChangeArrowheads="1"/>
            </p:cNvSpPr>
            <p:nvPr>
              <p:custDataLst>
                <p:tags r:id="rId36"/>
              </p:custDataLst>
            </p:nvPr>
          </p:nvSpPr>
          <p:spPr bwMode="auto">
            <a:xfrm>
              <a:off x="4658773" y="2830512"/>
              <a:ext cx="1136650"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INNER MONGOLIA</a:t>
              </a:r>
            </a:p>
          </p:txBody>
        </p:sp>
        <p:sp>
          <p:nvSpPr>
            <p:cNvPr id="94" name="Text Box 66"/>
            <p:cNvSpPr txBox="1">
              <a:spLocks noChangeArrowheads="1"/>
            </p:cNvSpPr>
            <p:nvPr>
              <p:custDataLst>
                <p:tags r:id="rId37"/>
              </p:custDataLst>
            </p:nvPr>
          </p:nvSpPr>
          <p:spPr bwMode="auto">
            <a:xfrm>
              <a:off x="5962110" y="3216275"/>
              <a:ext cx="817563"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SHANDONG</a:t>
              </a:r>
            </a:p>
          </p:txBody>
        </p:sp>
        <p:sp>
          <p:nvSpPr>
            <p:cNvPr id="95" name="Text Box 67"/>
            <p:cNvSpPr txBox="1">
              <a:spLocks noChangeArrowheads="1"/>
            </p:cNvSpPr>
            <p:nvPr>
              <p:custDataLst>
                <p:tags r:id="rId38"/>
              </p:custDataLst>
            </p:nvPr>
          </p:nvSpPr>
          <p:spPr bwMode="auto">
            <a:xfrm>
              <a:off x="5765259" y="3052763"/>
              <a:ext cx="563564"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HEBEI</a:t>
              </a:r>
            </a:p>
          </p:txBody>
        </p:sp>
        <p:sp>
          <p:nvSpPr>
            <p:cNvPr id="96" name="Text Box 68"/>
            <p:cNvSpPr txBox="1">
              <a:spLocks noChangeArrowheads="1"/>
            </p:cNvSpPr>
            <p:nvPr>
              <p:custDataLst>
                <p:tags r:id="rId39"/>
              </p:custDataLst>
            </p:nvPr>
          </p:nvSpPr>
          <p:spPr bwMode="auto">
            <a:xfrm>
              <a:off x="6360573" y="3605213"/>
              <a:ext cx="679450"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JIANGSU</a:t>
              </a:r>
            </a:p>
          </p:txBody>
        </p:sp>
        <p:sp>
          <p:nvSpPr>
            <p:cNvPr id="97" name="Text Box 69"/>
            <p:cNvSpPr txBox="1">
              <a:spLocks noChangeArrowheads="1"/>
            </p:cNvSpPr>
            <p:nvPr>
              <p:custDataLst>
                <p:tags r:id="rId40"/>
              </p:custDataLst>
            </p:nvPr>
          </p:nvSpPr>
          <p:spPr bwMode="auto">
            <a:xfrm>
              <a:off x="2806700" y="2717800"/>
              <a:ext cx="679450"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XINJIANG</a:t>
              </a:r>
            </a:p>
          </p:txBody>
        </p:sp>
        <p:sp>
          <p:nvSpPr>
            <p:cNvPr id="98" name="Text Box 70"/>
            <p:cNvSpPr txBox="1">
              <a:spLocks noChangeArrowheads="1"/>
            </p:cNvSpPr>
            <p:nvPr>
              <p:custDataLst>
                <p:tags r:id="rId41"/>
              </p:custDataLst>
            </p:nvPr>
          </p:nvSpPr>
          <p:spPr bwMode="auto">
            <a:xfrm>
              <a:off x="3709988" y="3438525"/>
              <a:ext cx="623887"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QINGHAI</a:t>
              </a:r>
            </a:p>
          </p:txBody>
        </p:sp>
        <p:sp>
          <p:nvSpPr>
            <p:cNvPr id="99" name="Text Box 71"/>
            <p:cNvSpPr txBox="1">
              <a:spLocks noChangeArrowheads="1"/>
            </p:cNvSpPr>
            <p:nvPr>
              <p:custDataLst>
                <p:tags r:id="rId42"/>
              </p:custDataLst>
            </p:nvPr>
          </p:nvSpPr>
          <p:spPr bwMode="auto">
            <a:xfrm>
              <a:off x="2860675" y="3883025"/>
              <a:ext cx="455612"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TIBET</a:t>
              </a:r>
            </a:p>
          </p:txBody>
        </p:sp>
        <p:sp>
          <p:nvSpPr>
            <p:cNvPr id="100" name="Text Box 72"/>
            <p:cNvSpPr txBox="1">
              <a:spLocks noChangeArrowheads="1"/>
            </p:cNvSpPr>
            <p:nvPr>
              <p:custDataLst>
                <p:tags r:id="rId43"/>
              </p:custDataLst>
            </p:nvPr>
          </p:nvSpPr>
          <p:spPr bwMode="auto">
            <a:xfrm>
              <a:off x="4333875" y="4105274"/>
              <a:ext cx="623888"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SICHUAN</a:t>
              </a:r>
            </a:p>
          </p:txBody>
        </p:sp>
        <p:sp>
          <p:nvSpPr>
            <p:cNvPr id="101" name="Text Box 73"/>
            <p:cNvSpPr txBox="1">
              <a:spLocks noChangeArrowheads="1"/>
            </p:cNvSpPr>
            <p:nvPr>
              <p:custDataLst>
                <p:tags r:id="rId44"/>
              </p:custDataLst>
            </p:nvPr>
          </p:nvSpPr>
          <p:spPr bwMode="auto">
            <a:xfrm>
              <a:off x="4796335" y="3216275"/>
              <a:ext cx="599038" cy="236558"/>
            </a:xfrm>
            <a:prstGeom prst="rect">
              <a:avLst/>
            </a:prstGeom>
            <a:noFill/>
            <a:ln w="3175">
              <a:noFill/>
              <a:miter lim="800000"/>
              <a:headEnd/>
              <a:tailEnd/>
            </a:ln>
          </p:spPr>
          <p:txBody>
            <a:bodyPr wrap="square">
              <a:spAutoFit/>
            </a:bodyPr>
            <a:lstStyle/>
            <a:p>
              <a:pPr>
                <a:spcBef>
                  <a:spcPct val="50000"/>
                </a:spcBef>
              </a:pPr>
              <a:r>
                <a:rPr lang="en-US" altLang="zh-CN" sz="500" dirty="0">
                  <a:solidFill>
                    <a:srgbClr val="002060"/>
                  </a:solidFill>
                  <a:ea typeface="宋体" pitchFamily="2" charset="-122"/>
                  <a:cs typeface="Verdana Regular" charset="0"/>
                </a:rPr>
                <a:t>NINGXIA</a:t>
              </a:r>
            </a:p>
          </p:txBody>
        </p:sp>
        <p:sp>
          <p:nvSpPr>
            <p:cNvPr id="102" name="Text Box 75"/>
            <p:cNvSpPr txBox="1">
              <a:spLocks noChangeArrowheads="1"/>
            </p:cNvSpPr>
            <p:nvPr>
              <p:custDataLst>
                <p:tags r:id="rId45"/>
              </p:custDataLst>
            </p:nvPr>
          </p:nvSpPr>
          <p:spPr bwMode="auto">
            <a:xfrm>
              <a:off x="5465763" y="4383087"/>
              <a:ext cx="612235" cy="236558"/>
            </a:xfrm>
            <a:prstGeom prst="rect">
              <a:avLst/>
            </a:prstGeom>
            <a:noFill/>
            <a:ln w="3175">
              <a:noFill/>
              <a:miter lim="800000"/>
              <a:headEnd/>
              <a:tailEnd/>
            </a:ln>
          </p:spPr>
          <p:txBody>
            <a:bodyPr wrap="square">
              <a:spAutoFit/>
            </a:bodyPr>
            <a:lstStyle/>
            <a:p>
              <a:pPr>
                <a:spcBef>
                  <a:spcPct val="50000"/>
                </a:spcBef>
              </a:pPr>
              <a:r>
                <a:rPr lang="en-US" altLang="zh-CN" sz="500" dirty="0">
                  <a:solidFill>
                    <a:srgbClr val="002060"/>
                  </a:solidFill>
                  <a:ea typeface="宋体" pitchFamily="2" charset="-122"/>
                  <a:cs typeface="Verdana Regular" charset="0"/>
                </a:rPr>
                <a:t>HUNAN</a:t>
              </a:r>
            </a:p>
          </p:txBody>
        </p:sp>
        <p:sp>
          <p:nvSpPr>
            <p:cNvPr id="103" name="Text Box 76"/>
            <p:cNvSpPr txBox="1">
              <a:spLocks noChangeArrowheads="1"/>
            </p:cNvSpPr>
            <p:nvPr>
              <p:custDataLst>
                <p:tags r:id="rId46"/>
              </p:custDataLst>
            </p:nvPr>
          </p:nvSpPr>
          <p:spPr bwMode="auto">
            <a:xfrm>
              <a:off x="4902200" y="4549777"/>
              <a:ext cx="622300"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GUIZHOU</a:t>
              </a:r>
            </a:p>
          </p:txBody>
        </p:sp>
        <p:sp>
          <p:nvSpPr>
            <p:cNvPr id="104" name="Text Box 77"/>
            <p:cNvSpPr txBox="1">
              <a:spLocks noChangeArrowheads="1"/>
            </p:cNvSpPr>
            <p:nvPr>
              <p:custDataLst>
                <p:tags r:id="rId47"/>
              </p:custDataLst>
            </p:nvPr>
          </p:nvSpPr>
          <p:spPr bwMode="auto">
            <a:xfrm>
              <a:off x="4333875" y="4830763"/>
              <a:ext cx="650874" cy="236558"/>
            </a:xfrm>
            <a:prstGeom prst="rect">
              <a:avLst/>
            </a:prstGeom>
            <a:noFill/>
            <a:ln w="3175">
              <a:noFill/>
              <a:miter lim="800000"/>
              <a:headEnd/>
              <a:tailEnd/>
            </a:ln>
          </p:spPr>
          <p:txBody>
            <a:bodyPr wrap="square">
              <a:spAutoFit/>
            </a:bodyPr>
            <a:lstStyle/>
            <a:p>
              <a:pPr>
                <a:spcBef>
                  <a:spcPct val="50000"/>
                </a:spcBef>
              </a:pPr>
              <a:r>
                <a:rPr lang="en-US" altLang="zh-CN" sz="500" dirty="0">
                  <a:solidFill>
                    <a:srgbClr val="002060"/>
                  </a:solidFill>
                  <a:ea typeface="宋体" pitchFamily="2" charset="-122"/>
                  <a:cs typeface="Verdana Regular" charset="0"/>
                </a:rPr>
                <a:t>YUNNAN</a:t>
              </a:r>
            </a:p>
          </p:txBody>
        </p:sp>
        <p:sp>
          <p:nvSpPr>
            <p:cNvPr id="105" name="Text Box 78"/>
            <p:cNvSpPr txBox="1">
              <a:spLocks noChangeArrowheads="1"/>
            </p:cNvSpPr>
            <p:nvPr>
              <p:custDataLst>
                <p:tags r:id="rId48"/>
              </p:custDataLst>
            </p:nvPr>
          </p:nvSpPr>
          <p:spPr bwMode="auto">
            <a:xfrm>
              <a:off x="5127624" y="4883149"/>
              <a:ext cx="623888"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GUANGXI</a:t>
              </a:r>
            </a:p>
          </p:txBody>
        </p:sp>
        <p:sp>
          <p:nvSpPr>
            <p:cNvPr id="106" name="Text Box 79"/>
            <p:cNvSpPr txBox="1">
              <a:spLocks noChangeArrowheads="1"/>
            </p:cNvSpPr>
            <p:nvPr>
              <p:custDataLst>
                <p:tags r:id="rId49"/>
              </p:custDataLst>
            </p:nvPr>
          </p:nvSpPr>
          <p:spPr bwMode="auto">
            <a:xfrm>
              <a:off x="5694363" y="4883149"/>
              <a:ext cx="792162"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GUANGDONG</a:t>
              </a:r>
            </a:p>
          </p:txBody>
        </p:sp>
        <p:sp>
          <p:nvSpPr>
            <p:cNvPr id="107" name="Text Box 80"/>
            <p:cNvSpPr txBox="1">
              <a:spLocks noChangeArrowheads="1"/>
            </p:cNvSpPr>
            <p:nvPr>
              <p:custDataLst>
                <p:tags r:id="rId50"/>
              </p:custDataLst>
            </p:nvPr>
          </p:nvSpPr>
          <p:spPr bwMode="auto">
            <a:xfrm>
              <a:off x="5921376" y="4271964"/>
              <a:ext cx="619125"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JIANGXI</a:t>
              </a:r>
            </a:p>
          </p:txBody>
        </p:sp>
        <p:sp>
          <p:nvSpPr>
            <p:cNvPr id="108" name="Text Box 82"/>
            <p:cNvSpPr txBox="1">
              <a:spLocks noChangeArrowheads="1"/>
            </p:cNvSpPr>
            <p:nvPr>
              <p:custDataLst>
                <p:tags r:id="rId51"/>
              </p:custDataLst>
            </p:nvPr>
          </p:nvSpPr>
          <p:spPr bwMode="auto">
            <a:xfrm>
              <a:off x="6472714" y="4097340"/>
              <a:ext cx="763588"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ZHEJIANG</a:t>
              </a:r>
            </a:p>
          </p:txBody>
        </p:sp>
        <p:sp>
          <p:nvSpPr>
            <p:cNvPr id="109" name="Text Box 83"/>
            <p:cNvSpPr txBox="1">
              <a:spLocks noChangeArrowheads="1"/>
            </p:cNvSpPr>
            <p:nvPr>
              <p:custDataLst>
                <p:tags r:id="rId52"/>
              </p:custDataLst>
            </p:nvPr>
          </p:nvSpPr>
          <p:spPr bwMode="auto">
            <a:xfrm>
              <a:off x="5578476" y="3994151"/>
              <a:ext cx="512763"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HUBEI</a:t>
              </a:r>
            </a:p>
          </p:txBody>
        </p:sp>
        <p:sp>
          <p:nvSpPr>
            <p:cNvPr id="110" name="Text Box 84"/>
            <p:cNvSpPr txBox="1">
              <a:spLocks noChangeArrowheads="1"/>
            </p:cNvSpPr>
            <p:nvPr>
              <p:custDataLst>
                <p:tags r:id="rId53"/>
              </p:custDataLst>
            </p:nvPr>
          </p:nvSpPr>
          <p:spPr bwMode="auto">
            <a:xfrm>
              <a:off x="5565235" y="3605213"/>
              <a:ext cx="512763" cy="344085"/>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HENAN</a:t>
              </a:r>
            </a:p>
          </p:txBody>
        </p:sp>
        <p:sp>
          <p:nvSpPr>
            <p:cNvPr id="111" name="Text Box 85"/>
            <p:cNvSpPr txBox="1">
              <a:spLocks noChangeArrowheads="1"/>
            </p:cNvSpPr>
            <p:nvPr>
              <p:custDataLst>
                <p:tags r:id="rId54"/>
              </p:custDataLst>
            </p:nvPr>
          </p:nvSpPr>
          <p:spPr bwMode="auto">
            <a:xfrm>
              <a:off x="3937001" y="2938463"/>
              <a:ext cx="566737"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GANSU</a:t>
              </a:r>
            </a:p>
          </p:txBody>
        </p:sp>
        <p:sp>
          <p:nvSpPr>
            <p:cNvPr id="112" name="Text Box 86"/>
            <p:cNvSpPr txBox="1">
              <a:spLocks noChangeArrowheads="1"/>
            </p:cNvSpPr>
            <p:nvPr>
              <p:custDataLst>
                <p:tags r:id="rId55"/>
              </p:custDataLst>
            </p:nvPr>
          </p:nvSpPr>
          <p:spPr bwMode="auto">
            <a:xfrm>
              <a:off x="5384260" y="3182937"/>
              <a:ext cx="566737"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SHANXI</a:t>
              </a:r>
            </a:p>
          </p:txBody>
        </p:sp>
        <p:sp>
          <p:nvSpPr>
            <p:cNvPr id="113" name="Text Box 88"/>
            <p:cNvSpPr txBox="1">
              <a:spLocks noChangeArrowheads="1"/>
            </p:cNvSpPr>
            <p:nvPr>
              <p:custDataLst>
                <p:tags r:id="rId56"/>
              </p:custDataLst>
            </p:nvPr>
          </p:nvSpPr>
          <p:spPr bwMode="auto">
            <a:xfrm>
              <a:off x="6091237" y="3883025"/>
              <a:ext cx="506412"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ANHUI</a:t>
              </a:r>
            </a:p>
          </p:txBody>
        </p:sp>
        <p:sp>
          <p:nvSpPr>
            <p:cNvPr id="114" name="Text Box 89"/>
            <p:cNvSpPr txBox="1">
              <a:spLocks noChangeArrowheads="1"/>
            </p:cNvSpPr>
            <p:nvPr>
              <p:custDataLst>
                <p:tags r:id="rId57"/>
              </p:custDataLst>
            </p:nvPr>
          </p:nvSpPr>
          <p:spPr bwMode="auto">
            <a:xfrm>
              <a:off x="6259513" y="4494212"/>
              <a:ext cx="565151" cy="236558"/>
            </a:xfrm>
            <a:prstGeom prst="rect">
              <a:avLst/>
            </a:prstGeom>
            <a:noFill/>
            <a:ln w="3175">
              <a:noFill/>
              <a:miter lim="800000"/>
              <a:headEnd/>
              <a:tailEnd/>
            </a:ln>
          </p:spPr>
          <p:txBody>
            <a:bodyPr wrap="square">
              <a:spAutoFit/>
            </a:bodyPr>
            <a:lstStyle/>
            <a:p>
              <a:pPr>
                <a:spcBef>
                  <a:spcPct val="50000"/>
                </a:spcBef>
              </a:pPr>
              <a:r>
                <a:rPr lang="en-US" altLang="zh-CN" sz="500" dirty="0">
                  <a:solidFill>
                    <a:srgbClr val="002060"/>
                  </a:solidFill>
                  <a:ea typeface="宋体" pitchFamily="2" charset="-122"/>
                  <a:cs typeface="Verdana Regular" charset="0"/>
                </a:rPr>
                <a:t>FUJIAN</a:t>
              </a:r>
            </a:p>
          </p:txBody>
        </p:sp>
        <p:sp>
          <p:nvSpPr>
            <p:cNvPr id="116" name="Text Box 91"/>
            <p:cNvSpPr txBox="1">
              <a:spLocks noChangeArrowheads="1"/>
            </p:cNvSpPr>
            <p:nvPr>
              <p:custDataLst>
                <p:tags r:id="rId58"/>
              </p:custDataLst>
            </p:nvPr>
          </p:nvSpPr>
          <p:spPr bwMode="auto">
            <a:xfrm>
              <a:off x="6700298" y="2884488"/>
              <a:ext cx="654049"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TIANJIN</a:t>
              </a:r>
            </a:p>
          </p:txBody>
        </p:sp>
        <p:sp>
          <p:nvSpPr>
            <p:cNvPr id="117" name="Line 92"/>
            <p:cNvSpPr>
              <a:spLocks noChangeShapeType="1"/>
            </p:cNvSpPr>
            <p:nvPr>
              <p:custDataLst>
                <p:tags r:id="rId59"/>
              </p:custDataLst>
            </p:nvPr>
          </p:nvSpPr>
          <p:spPr bwMode="auto">
            <a:xfrm>
              <a:off x="6161088" y="2987675"/>
              <a:ext cx="563562" cy="0"/>
            </a:xfrm>
            <a:prstGeom prst="line">
              <a:avLst/>
            </a:prstGeom>
            <a:solidFill>
              <a:srgbClr val="00B0F0"/>
            </a:solidFill>
            <a:ln w="3175" cap="rnd" algn="ctr">
              <a:solidFill>
                <a:srgbClr val="808080"/>
              </a:solidFill>
              <a:round/>
              <a:headEnd type="none" w="sm" len="sm"/>
              <a:tailEnd type="none" w="sm" len="sm"/>
            </a:ln>
          </p:spPr>
          <p:txBody>
            <a:bodyPr/>
            <a:lstStyle/>
            <a:p>
              <a:endParaRPr lang="zh-CN" altLang="en-US" sz="500" kern="0">
                <a:solidFill>
                  <a:sysClr val="windowText" lastClr="000000"/>
                </a:solidFill>
              </a:endParaRPr>
            </a:p>
          </p:txBody>
        </p:sp>
        <p:sp>
          <p:nvSpPr>
            <p:cNvPr id="118" name="Text Box 94"/>
            <p:cNvSpPr txBox="1">
              <a:spLocks noChangeArrowheads="1"/>
            </p:cNvSpPr>
            <p:nvPr>
              <p:custDataLst>
                <p:tags r:id="rId60"/>
              </p:custDataLst>
            </p:nvPr>
          </p:nvSpPr>
          <p:spPr bwMode="auto">
            <a:xfrm>
              <a:off x="6924136" y="3771899"/>
              <a:ext cx="817966" cy="236558"/>
            </a:xfrm>
            <a:prstGeom prst="rect">
              <a:avLst/>
            </a:prstGeom>
            <a:noFill/>
            <a:ln w="3175">
              <a:noFill/>
              <a:miter lim="800000"/>
              <a:headEnd/>
              <a:tailEnd/>
            </a:ln>
          </p:spPr>
          <p:txBody>
            <a:bodyPr wrap="square">
              <a:spAutoFit/>
            </a:bodyPr>
            <a:lstStyle/>
            <a:p>
              <a:pPr>
                <a:spcBef>
                  <a:spcPct val="50000"/>
                </a:spcBef>
              </a:pPr>
              <a:r>
                <a:rPr lang="en-US" altLang="zh-CN" sz="500" dirty="0">
                  <a:solidFill>
                    <a:srgbClr val="002060"/>
                  </a:solidFill>
                  <a:latin typeface="Verdana Regular" charset="0"/>
                  <a:ea typeface="宋体" pitchFamily="2" charset="-122"/>
                  <a:cs typeface="Verdana Regular" charset="0"/>
                </a:rPr>
                <a:t>SHANGHAI</a:t>
              </a:r>
            </a:p>
          </p:txBody>
        </p:sp>
        <p:sp>
          <p:nvSpPr>
            <p:cNvPr id="119" name="Line 95"/>
            <p:cNvSpPr>
              <a:spLocks noChangeShapeType="1"/>
            </p:cNvSpPr>
            <p:nvPr>
              <p:custDataLst>
                <p:tags r:id="rId61"/>
              </p:custDataLst>
            </p:nvPr>
          </p:nvSpPr>
          <p:spPr bwMode="auto">
            <a:xfrm>
              <a:off x="6713538" y="3883025"/>
              <a:ext cx="225425" cy="0"/>
            </a:xfrm>
            <a:prstGeom prst="line">
              <a:avLst/>
            </a:prstGeom>
            <a:noFill/>
            <a:ln w="3175" cap="rnd">
              <a:solidFill>
                <a:srgbClr val="808080"/>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120" name="Freeform 96"/>
            <p:cNvSpPr>
              <a:spLocks/>
            </p:cNvSpPr>
            <p:nvPr>
              <p:custDataLst>
                <p:tags r:id="rId62"/>
              </p:custDataLst>
            </p:nvPr>
          </p:nvSpPr>
          <p:spPr bwMode="auto">
            <a:xfrm>
              <a:off x="6667500" y="3843338"/>
              <a:ext cx="42863" cy="96837"/>
            </a:xfrm>
            <a:custGeom>
              <a:avLst/>
              <a:gdLst>
                <a:gd name="T0" fmla="*/ 2147483647 w 36"/>
                <a:gd name="T1" fmla="*/ 0 h 84"/>
                <a:gd name="T2" fmla="*/ 0 w 36"/>
                <a:gd name="T3" fmla="*/ 2147483647 h 84"/>
                <a:gd name="T4" fmla="*/ 2147483647 w 36"/>
                <a:gd name="T5" fmla="*/ 2147483647 h 84"/>
                <a:gd name="T6" fmla="*/ 0 60000 65536"/>
                <a:gd name="T7" fmla="*/ 0 60000 65536"/>
                <a:gd name="T8" fmla="*/ 0 60000 65536"/>
                <a:gd name="T9" fmla="*/ 0 w 36"/>
                <a:gd name="T10" fmla="*/ 0 h 84"/>
                <a:gd name="T11" fmla="*/ 36 w 36"/>
                <a:gd name="T12" fmla="*/ 84 h 84"/>
              </a:gdLst>
              <a:ahLst/>
              <a:cxnLst>
                <a:cxn ang="T6">
                  <a:pos x="T0" y="T1"/>
                </a:cxn>
                <a:cxn ang="T7">
                  <a:pos x="T2" y="T3"/>
                </a:cxn>
                <a:cxn ang="T8">
                  <a:pos x="T4" y="T5"/>
                </a:cxn>
              </a:cxnLst>
              <a:rect l="T9" t="T10" r="T11" b="T12"/>
              <a:pathLst>
                <a:path w="36" h="84">
                  <a:moveTo>
                    <a:pt x="36" y="0"/>
                  </a:moveTo>
                  <a:cubicBezTo>
                    <a:pt x="18" y="18"/>
                    <a:pt x="8" y="30"/>
                    <a:pt x="0" y="54"/>
                  </a:cubicBezTo>
                  <a:cubicBezTo>
                    <a:pt x="23" y="69"/>
                    <a:pt x="18" y="59"/>
                    <a:pt x="18" y="84"/>
                  </a:cubicBezTo>
                </a:path>
              </a:pathLst>
            </a:custGeom>
            <a:noFill/>
            <a:ln w="3175">
              <a:solidFill>
                <a:srgbClr val="2E8D9E"/>
              </a:solidFill>
              <a:round/>
              <a:headEnd/>
              <a:tailEnd/>
            </a:ln>
          </p:spPr>
          <p:txBody>
            <a:bodyPr wrap="none" anchor="ctr"/>
            <a:lstStyle/>
            <a:p>
              <a:pPr defTabSz="914400">
                <a:defRPr/>
              </a:pPr>
              <a:endParaRPr lang="zh-CN" altLang="en-US" sz="500" kern="0">
                <a:solidFill>
                  <a:sysClr val="windowText" lastClr="000000"/>
                </a:solidFill>
              </a:endParaRPr>
            </a:p>
          </p:txBody>
        </p:sp>
        <p:sp>
          <p:nvSpPr>
            <p:cNvPr id="121" name="AutoShape 98"/>
            <p:cNvSpPr>
              <a:spLocks noChangeArrowheads="1"/>
            </p:cNvSpPr>
            <p:nvPr>
              <p:custDataLst>
                <p:tags r:id="rId63"/>
              </p:custDataLst>
            </p:nvPr>
          </p:nvSpPr>
          <p:spPr bwMode="auto">
            <a:xfrm>
              <a:off x="6645275" y="3806825"/>
              <a:ext cx="65088" cy="133350"/>
            </a:xfrm>
            <a:prstGeom prst="pentagon">
              <a:avLst/>
            </a:prstGeom>
            <a:solidFill>
              <a:srgbClr val="92D050"/>
            </a:solidFill>
            <a:ln w="3175" cap="rnd">
              <a:solidFill>
                <a:srgbClr val="333333"/>
              </a:solidFill>
              <a:round/>
              <a:headEnd type="none" w="sm" len="sm"/>
              <a:tailEnd type="none" w="sm" len="sm"/>
            </a:ln>
          </p:spPr>
          <p:txBody>
            <a:bodyPr/>
            <a:lstStyle/>
            <a:p>
              <a:endParaRPr lang="zh-CN" altLang="en-US" sz="500" kern="0">
                <a:solidFill>
                  <a:sysClr val="windowText" lastClr="000000"/>
                </a:solidFill>
              </a:endParaRPr>
            </a:p>
          </p:txBody>
        </p:sp>
        <p:sp>
          <p:nvSpPr>
            <p:cNvPr id="122" name="Text Box 100"/>
            <p:cNvSpPr txBox="1">
              <a:spLocks noChangeArrowheads="1"/>
            </p:cNvSpPr>
            <p:nvPr>
              <p:custDataLst>
                <p:tags r:id="rId64"/>
              </p:custDataLst>
            </p:nvPr>
          </p:nvSpPr>
          <p:spPr bwMode="auto">
            <a:xfrm>
              <a:off x="5013324" y="4049711"/>
              <a:ext cx="508001" cy="344085"/>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CHONGQING</a:t>
              </a:r>
            </a:p>
          </p:txBody>
        </p:sp>
        <p:sp>
          <p:nvSpPr>
            <p:cNvPr id="123" name="Text Box 86"/>
            <p:cNvSpPr txBox="1">
              <a:spLocks noChangeArrowheads="1"/>
            </p:cNvSpPr>
            <p:nvPr>
              <p:custDataLst>
                <p:tags r:id="rId65"/>
              </p:custDataLst>
            </p:nvPr>
          </p:nvSpPr>
          <p:spPr bwMode="auto">
            <a:xfrm>
              <a:off x="5073905" y="3629009"/>
              <a:ext cx="642938" cy="236558"/>
            </a:xfrm>
            <a:prstGeom prst="rect">
              <a:avLst/>
            </a:prstGeom>
            <a:noFill/>
            <a:ln w="3175">
              <a:noFill/>
              <a:miter lim="800000"/>
              <a:headEnd/>
              <a:tailEnd/>
            </a:ln>
          </p:spPr>
          <p:txBody>
            <a:bodyPr wrap="square">
              <a:spAutoFit/>
            </a:bodyPr>
            <a:lstStyle/>
            <a:p>
              <a:pPr>
                <a:spcBef>
                  <a:spcPct val="50000"/>
                </a:spcBef>
              </a:pPr>
              <a:r>
                <a:rPr lang="en-US" altLang="zh-CN" sz="500" dirty="0">
                  <a:solidFill>
                    <a:srgbClr val="002060"/>
                  </a:solidFill>
                  <a:ea typeface="宋体" pitchFamily="2" charset="-122"/>
                  <a:cs typeface="Verdana Regular" charset="0"/>
                </a:rPr>
                <a:t>SHANXI</a:t>
              </a:r>
            </a:p>
          </p:txBody>
        </p:sp>
        <p:sp>
          <p:nvSpPr>
            <p:cNvPr id="124" name="Freeform 28"/>
            <p:cNvSpPr>
              <a:spLocks noChangeAspect="1"/>
            </p:cNvSpPr>
            <p:nvPr>
              <p:custDataLst>
                <p:tags r:id="rId66"/>
              </p:custDataLst>
            </p:nvPr>
          </p:nvSpPr>
          <p:spPr bwMode="auto">
            <a:xfrm>
              <a:off x="5456238" y="5411788"/>
              <a:ext cx="288925" cy="247650"/>
            </a:xfrm>
            <a:custGeom>
              <a:avLst/>
              <a:gdLst>
                <a:gd name="T0" fmla="*/ 2147483647 w 166"/>
                <a:gd name="T1" fmla="*/ 2147483647 h 135"/>
                <a:gd name="T2" fmla="*/ 2147483647 w 166"/>
                <a:gd name="T3" fmla="*/ 2147483647 h 135"/>
                <a:gd name="T4" fmla="*/ 2147483647 w 166"/>
                <a:gd name="T5" fmla="*/ 2147483647 h 135"/>
                <a:gd name="T6" fmla="*/ 2147483647 w 166"/>
                <a:gd name="T7" fmla="*/ 2147483647 h 135"/>
                <a:gd name="T8" fmla="*/ 2147483647 w 166"/>
                <a:gd name="T9" fmla="*/ 2147483647 h 135"/>
                <a:gd name="T10" fmla="*/ 0 w 166"/>
                <a:gd name="T11" fmla="*/ 2147483647 h 135"/>
                <a:gd name="T12" fmla="*/ 2147483647 w 166"/>
                <a:gd name="T13" fmla="*/ 2147483647 h 135"/>
                <a:gd name="T14" fmla="*/ 2147483647 w 166"/>
                <a:gd name="T15" fmla="*/ 2147483647 h 135"/>
                <a:gd name="T16" fmla="*/ 2147483647 w 166"/>
                <a:gd name="T17" fmla="*/ 2147483647 h 135"/>
                <a:gd name="T18" fmla="*/ 2147483647 w 166"/>
                <a:gd name="T19" fmla="*/ 2147483647 h 135"/>
                <a:gd name="T20" fmla="*/ 2147483647 w 166"/>
                <a:gd name="T21" fmla="*/ 2147483647 h 135"/>
                <a:gd name="T22" fmla="*/ 2147483647 w 166"/>
                <a:gd name="T23" fmla="*/ 0 h 135"/>
                <a:gd name="T24" fmla="*/ 2147483647 w 166"/>
                <a:gd name="T25" fmla="*/ 2147483647 h 135"/>
                <a:gd name="T26" fmla="*/ 2147483647 w 166"/>
                <a:gd name="T27" fmla="*/ 2147483647 h 1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66"/>
                <a:gd name="T43" fmla="*/ 0 h 135"/>
                <a:gd name="T44" fmla="*/ 166 w 166"/>
                <a:gd name="T45" fmla="*/ 135 h 1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66" h="135">
                  <a:moveTo>
                    <a:pt x="165" y="21"/>
                  </a:moveTo>
                  <a:lnTo>
                    <a:pt x="135" y="69"/>
                  </a:lnTo>
                  <a:lnTo>
                    <a:pt x="135" y="90"/>
                  </a:lnTo>
                  <a:lnTo>
                    <a:pt x="76" y="134"/>
                  </a:lnTo>
                  <a:lnTo>
                    <a:pt x="13" y="115"/>
                  </a:lnTo>
                  <a:lnTo>
                    <a:pt x="0" y="74"/>
                  </a:lnTo>
                  <a:lnTo>
                    <a:pt x="3" y="55"/>
                  </a:lnTo>
                  <a:lnTo>
                    <a:pt x="38" y="27"/>
                  </a:lnTo>
                  <a:lnTo>
                    <a:pt x="48" y="18"/>
                  </a:lnTo>
                  <a:lnTo>
                    <a:pt x="104" y="9"/>
                  </a:lnTo>
                  <a:lnTo>
                    <a:pt x="128" y="9"/>
                  </a:lnTo>
                  <a:lnTo>
                    <a:pt x="140" y="0"/>
                  </a:lnTo>
                  <a:lnTo>
                    <a:pt x="157" y="2"/>
                  </a:lnTo>
                  <a:lnTo>
                    <a:pt x="165" y="21"/>
                  </a:lnTo>
                </a:path>
              </a:pathLst>
            </a:custGeom>
            <a:solidFill>
              <a:srgbClr val="D9D9D9"/>
            </a:solidFill>
            <a:ln w="3175" cap="rnd">
              <a:solidFill>
                <a:schemeClr val="bg1"/>
              </a:solidFill>
              <a:round/>
              <a:headEnd type="none" w="sm" len="sm"/>
              <a:tailEnd type="none" w="sm" len="sm"/>
            </a:ln>
          </p:spPr>
          <p:txBody>
            <a:bodyPr/>
            <a:lstStyle/>
            <a:p>
              <a:endParaRPr lang="zh-CN" altLang="en-US" sz="500" kern="0">
                <a:solidFill>
                  <a:sysClr val="windowText" lastClr="000000"/>
                </a:solidFill>
              </a:endParaRPr>
            </a:p>
          </p:txBody>
        </p:sp>
        <p:sp>
          <p:nvSpPr>
            <p:cNvPr id="125" name="Text Box 87"/>
            <p:cNvSpPr txBox="1">
              <a:spLocks noChangeArrowheads="1"/>
            </p:cNvSpPr>
            <p:nvPr>
              <p:custDataLst>
                <p:tags r:id="rId67"/>
              </p:custDataLst>
            </p:nvPr>
          </p:nvSpPr>
          <p:spPr bwMode="auto">
            <a:xfrm>
              <a:off x="5461001" y="5464174"/>
              <a:ext cx="622300"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HAINAN</a:t>
              </a:r>
            </a:p>
          </p:txBody>
        </p:sp>
        <p:sp>
          <p:nvSpPr>
            <p:cNvPr id="126" name="Freeform 59"/>
            <p:cNvSpPr>
              <a:spLocks noChangeAspect="1"/>
            </p:cNvSpPr>
            <p:nvPr>
              <p:custDataLst>
                <p:tags r:id="rId68"/>
              </p:custDataLst>
            </p:nvPr>
          </p:nvSpPr>
          <p:spPr bwMode="auto">
            <a:xfrm>
              <a:off x="6099175" y="2890838"/>
              <a:ext cx="46038" cy="60325"/>
            </a:xfrm>
            <a:custGeom>
              <a:avLst/>
              <a:gdLst>
                <a:gd name="T0" fmla="*/ 2147483647 w 28"/>
                <a:gd name="T1" fmla="*/ 0 h 34"/>
                <a:gd name="T2" fmla="*/ 2147483647 w 28"/>
                <a:gd name="T3" fmla="*/ 2147483647 h 34"/>
                <a:gd name="T4" fmla="*/ 2147483647 w 28"/>
                <a:gd name="T5" fmla="*/ 2147483647 h 34"/>
                <a:gd name="T6" fmla="*/ 2147483647 w 28"/>
                <a:gd name="T7" fmla="*/ 2147483647 h 34"/>
                <a:gd name="T8" fmla="*/ 2147483647 w 28"/>
                <a:gd name="T9" fmla="*/ 2147483647 h 34"/>
                <a:gd name="T10" fmla="*/ 0 w 28"/>
                <a:gd name="T11" fmla="*/ 2147483647 h 34"/>
                <a:gd name="T12" fmla="*/ 2147483647 w 28"/>
                <a:gd name="T13" fmla="*/ 0 h 34"/>
                <a:gd name="T14" fmla="*/ 0 60000 65536"/>
                <a:gd name="T15" fmla="*/ 0 60000 65536"/>
                <a:gd name="T16" fmla="*/ 0 60000 65536"/>
                <a:gd name="T17" fmla="*/ 0 60000 65536"/>
                <a:gd name="T18" fmla="*/ 0 60000 65536"/>
                <a:gd name="T19" fmla="*/ 0 60000 65536"/>
                <a:gd name="T20" fmla="*/ 0 60000 65536"/>
                <a:gd name="T21" fmla="*/ 0 w 28"/>
                <a:gd name="T22" fmla="*/ 0 h 34"/>
                <a:gd name="T23" fmla="*/ 28 w 28"/>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34">
                  <a:moveTo>
                    <a:pt x="27" y="0"/>
                  </a:moveTo>
                  <a:lnTo>
                    <a:pt x="22" y="17"/>
                  </a:lnTo>
                  <a:lnTo>
                    <a:pt x="27" y="26"/>
                  </a:lnTo>
                  <a:lnTo>
                    <a:pt x="5" y="33"/>
                  </a:lnTo>
                  <a:lnTo>
                    <a:pt x="3" y="20"/>
                  </a:lnTo>
                  <a:lnTo>
                    <a:pt x="0" y="8"/>
                  </a:lnTo>
                  <a:lnTo>
                    <a:pt x="27" y="0"/>
                  </a:lnTo>
                </a:path>
              </a:pathLst>
            </a:custGeom>
            <a:solidFill>
              <a:srgbClr val="D9D9D9"/>
            </a:solidFill>
            <a:ln w="3175" cap="rnd" algn="ctr">
              <a:solidFill>
                <a:schemeClr val="bg1"/>
              </a:solidFill>
              <a:round/>
              <a:headEnd type="none" w="sm" len="sm"/>
              <a:tailEnd type="none" w="sm" len="sm"/>
            </a:ln>
          </p:spPr>
          <p:txBody>
            <a:bodyPr/>
            <a:lstStyle/>
            <a:p>
              <a:pPr defTabSz="914400">
                <a:defRPr/>
              </a:pPr>
              <a:endParaRPr lang="zh-CN" altLang="en-US" sz="500" kern="0">
                <a:solidFill>
                  <a:sysClr val="windowText" lastClr="000000"/>
                </a:solidFill>
              </a:endParaRPr>
            </a:p>
          </p:txBody>
        </p:sp>
        <p:sp>
          <p:nvSpPr>
            <p:cNvPr id="115" name="Text Box 90"/>
            <p:cNvSpPr txBox="1">
              <a:spLocks noChangeArrowheads="1"/>
            </p:cNvSpPr>
            <p:nvPr>
              <p:custDataLst>
                <p:tags r:id="rId69"/>
              </p:custDataLst>
            </p:nvPr>
          </p:nvSpPr>
          <p:spPr bwMode="auto">
            <a:xfrm>
              <a:off x="5766848" y="2751136"/>
              <a:ext cx="635001" cy="236558"/>
            </a:xfrm>
            <a:prstGeom prst="rect">
              <a:avLst/>
            </a:prstGeom>
            <a:noFill/>
            <a:ln w="3175">
              <a:noFill/>
              <a:miter lim="800000"/>
              <a:headEnd/>
              <a:tailEnd/>
            </a:ln>
          </p:spPr>
          <p:txBody>
            <a:bodyPr>
              <a:spAutoFit/>
            </a:bodyPr>
            <a:lstStyle/>
            <a:p>
              <a:pPr>
                <a:spcBef>
                  <a:spcPct val="50000"/>
                </a:spcBef>
              </a:pPr>
              <a:r>
                <a:rPr lang="en-US" altLang="zh-CN" sz="500" dirty="0">
                  <a:solidFill>
                    <a:srgbClr val="002060"/>
                  </a:solidFill>
                  <a:ea typeface="宋体" pitchFamily="2" charset="-122"/>
                  <a:cs typeface="Verdana Regular" charset="0"/>
                </a:rPr>
                <a:t>BEIJING</a:t>
              </a:r>
            </a:p>
          </p:txBody>
        </p:sp>
      </p:grpSp>
    </p:spTree>
    <p:extLst>
      <p:ext uri="{BB962C8B-B14F-4D97-AF65-F5344CB8AC3E}">
        <p14:creationId xmlns:p14="http://schemas.microsoft.com/office/powerpoint/2010/main" val="42004494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Japan</a:t>
            </a:r>
          </a:p>
        </p:txBody>
      </p:sp>
      <p:sp>
        <p:nvSpPr>
          <p:cNvPr id="3" name="AutoShape 1"/>
          <p:cNvSpPr>
            <a:spLocks/>
          </p:cNvSpPr>
          <p:nvPr/>
        </p:nvSpPr>
        <p:spPr bwMode="auto">
          <a:xfrm>
            <a:off x="4025901" y="1117601"/>
            <a:ext cx="4639191" cy="4775200"/>
          </a:xfrm>
          <a:custGeom>
            <a:avLst/>
            <a:gdLst/>
            <a:ahLst/>
            <a:cxnLst/>
            <a:rect l="0" t="0" r="r" b="b"/>
            <a:pathLst>
              <a:path w="21485" h="21574">
                <a:moveTo>
                  <a:pt x="308" y="15356"/>
                </a:moveTo>
                <a:cubicBezTo>
                  <a:pt x="228" y="15391"/>
                  <a:pt x="237" y="15417"/>
                  <a:pt x="237" y="15478"/>
                </a:cubicBezTo>
                <a:cubicBezTo>
                  <a:pt x="237" y="15539"/>
                  <a:pt x="174" y="15627"/>
                  <a:pt x="174" y="15627"/>
                </a:cubicBezTo>
                <a:cubicBezTo>
                  <a:pt x="31" y="15767"/>
                  <a:pt x="273" y="15740"/>
                  <a:pt x="282" y="15705"/>
                </a:cubicBezTo>
                <a:cubicBezTo>
                  <a:pt x="291" y="15670"/>
                  <a:pt x="308" y="15635"/>
                  <a:pt x="371" y="15583"/>
                </a:cubicBezTo>
                <a:cubicBezTo>
                  <a:pt x="434" y="15530"/>
                  <a:pt x="407" y="15469"/>
                  <a:pt x="434" y="15364"/>
                </a:cubicBezTo>
                <a:cubicBezTo>
                  <a:pt x="461" y="15259"/>
                  <a:pt x="389" y="15321"/>
                  <a:pt x="308" y="15356"/>
                </a:cubicBezTo>
                <a:close/>
                <a:moveTo>
                  <a:pt x="93" y="15784"/>
                </a:moveTo>
                <a:cubicBezTo>
                  <a:pt x="31" y="15767"/>
                  <a:pt x="49" y="15898"/>
                  <a:pt x="49" y="15898"/>
                </a:cubicBezTo>
                <a:cubicBezTo>
                  <a:pt x="-59" y="15976"/>
                  <a:pt x="40" y="16038"/>
                  <a:pt x="93" y="16064"/>
                </a:cubicBezTo>
                <a:cubicBezTo>
                  <a:pt x="147" y="16090"/>
                  <a:pt x="174" y="15994"/>
                  <a:pt x="219" y="15924"/>
                </a:cubicBezTo>
                <a:cubicBezTo>
                  <a:pt x="264" y="15854"/>
                  <a:pt x="156" y="15802"/>
                  <a:pt x="93" y="15784"/>
                </a:cubicBezTo>
                <a:close/>
                <a:moveTo>
                  <a:pt x="1321" y="21328"/>
                </a:moveTo>
                <a:cubicBezTo>
                  <a:pt x="1285" y="21311"/>
                  <a:pt x="1214" y="21250"/>
                  <a:pt x="1214" y="21250"/>
                </a:cubicBezTo>
                <a:cubicBezTo>
                  <a:pt x="1106" y="21276"/>
                  <a:pt x="1088" y="21363"/>
                  <a:pt x="1070" y="21407"/>
                </a:cubicBezTo>
                <a:cubicBezTo>
                  <a:pt x="1052" y="21451"/>
                  <a:pt x="1142" y="21565"/>
                  <a:pt x="1205" y="21573"/>
                </a:cubicBezTo>
                <a:cubicBezTo>
                  <a:pt x="1267" y="21582"/>
                  <a:pt x="1357" y="21468"/>
                  <a:pt x="1375" y="21407"/>
                </a:cubicBezTo>
                <a:cubicBezTo>
                  <a:pt x="1393" y="21346"/>
                  <a:pt x="1357" y="21346"/>
                  <a:pt x="1321" y="21328"/>
                </a:cubicBezTo>
                <a:close/>
                <a:moveTo>
                  <a:pt x="1886" y="20882"/>
                </a:moveTo>
                <a:cubicBezTo>
                  <a:pt x="1841" y="20944"/>
                  <a:pt x="1796" y="20987"/>
                  <a:pt x="1796" y="21040"/>
                </a:cubicBezTo>
                <a:cubicBezTo>
                  <a:pt x="1796" y="21092"/>
                  <a:pt x="1742" y="21188"/>
                  <a:pt x="1742" y="21188"/>
                </a:cubicBezTo>
                <a:cubicBezTo>
                  <a:pt x="1509" y="21328"/>
                  <a:pt x="1653" y="21407"/>
                  <a:pt x="1725" y="21407"/>
                </a:cubicBezTo>
                <a:cubicBezTo>
                  <a:pt x="1796" y="21407"/>
                  <a:pt x="1805" y="21311"/>
                  <a:pt x="1805" y="21241"/>
                </a:cubicBezTo>
                <a:cubicBezTo>
                  <a:pt x="1805" y="21171"/>
                  <a:pt x="1895" y="21083"/>
                  <a:pt x="1940" y="20961"/>
                </a:cubicBezTo>
                <a:cubicBezTo>
                  <a:pt x="1984" y="20839"/>
                  <a:pt x="1931" y="20821"/>
                  <a:pt x="1886" y="20882"/>
                </a:cubicBezTo>
                <a:close/>
                <a:moveTo>
                  <a:pt x="6421" y="16615"/>
                </a:moveTo>
                <a:cubicBezTo>
                  <a:pt x="6358" y="16580"/>
                  <a:pt x="6412" y="16501"/>
                  <a:pt x="6457" y="16414"/>
                </a:cubicBezTo>
                <a:cubicBezTo>
                  <a:pt x="6502" y="16326"/>
                  <a:pt x="6313" y="16248"/>
                  <a:pt x="6152" y="16239"/>
                </a:cubicBezTo>
                <a:cubicBezTo>
                  <a:pt x="5991" y="16230"/>
                  <a:pt x="6054" y="16125"/>
                  <a:pt x="5982" y="16090"/>
                </a:cubicBezTo>
                <a:cubicBezTo>
                  <a:pt x="5910" y="16055"/>
                  <a:pt x="5731" y="16108"/>
                  <a:pt x="5668" y="16108"/>
                </a:cubicBezTo>
                <a:cubicBezTo>
                  <a:pt x="5605" y="16108"/>
                  <a:pt x="5480" y="16221"/>
                  <a:pt x="5408" y="16248"/>
                </a:cubicBezTo>
                <a:cubicBezTo>
                  <a:pt x="5337" y="16274"/>
                  <a:pt x="5328" y="16300"/>
                  <a:pt x="5337" y="16387"/>
                </a:cubicBezTo>
                <a:cubicBezTo>
                  <a:pt x="5345" y="16475"/>
                  <a:pt x="5292" y="16484"/>
                  <a:pt x="5229" y="16562"/>
                </a:cubicBezTo>
                <a:cubicBezTo>
                  <a:pt x="5166" y="16641"/>
                  <a:pt x="5023" y="16606"/>
                  <a:pt x="4969" y="16597"/>
                </a:cubicBezTo>
                <a:cubicBezTo>
                  <a:pt x="4915" y="16589"/>
                  <a:pt x="4808" y="16632"/>
                  <a:pt x="4718" y="16676"/>
                </a:cubicBezTo>
                <a:cubicBezTo>
                  <a:pt x="4628" y="16720"/>
                  <a:pt x="4602" y="16536"/>
                  <a:pt x="4530" y="16440"/>
                </a:cubicBezTo>
                <a:cubicBezTo>
                  <a:pt x="4458" y="16344"/>
                  <a:pt x="4369" y="16475"/>
                  <a:pt x="4306" y="16536"/>
                </a:cubicBezTo>
                <a:cubicBezTo>
                  <a:pt x="4243" y="16597"/>
                  <a:pt x="4225" y="16729"/>
                  <a:pt x="4225" y="16729"/>
                </a:cubicBezTo>
                <a:cubicBezTo>
                  <a:pt x="4207" y="16851"/>
                  <a:pt x="4189" y="16860"/>
                  <a:pt x="4136" y="16947"/>
                </a:cubicBezTo>
                <a:cubicBezTo>
                  <a:pt x="4082" y="17035"/>
                  <a:pt x="3965" y="17052"/>
                  <a:pt x="3858" y="17061"/>
                </a:cubicBezTo>
                <a:cubicBezTo>
                  <a:pt x="3750" y="17070"/>
                  <a:pt x="3840" y="17227"/>
                  <a:pt x="3822" y="17341"/>
                </a:cubicBezTo>
                <a:cubicBezTo>
                  <a:pt x="3804" y="17454"/>
                  <a:pt x="3938" y="17481"/>
                  <a:pt x="3965" y="17524"/>
                </a:cubicBezTo>
                <a:cubicBezTo>
                  <a:pt x="3992" y="17568"/>
                  <a:pt x="3938" y="17638"/>
                  <a:pt x="3867" y="17664"/>
                </a:cubicBezTo>
                <a:cubicBezTo>
                  <a:pt x="3795" y="17691"/>
                  <a:pt x="3894" y="17848"/>
                  <a:pt x="3911" y="17900"/>
                </a:cubicBezTo>
                <a:cubicBezTo>
                  <a:pt x="3929" y="17953"/>
                  <a:pt x="4037" y="17970"/>
                  <a:pt x="4127" y="17997"/>
                </a:cubicBezTo>
                <a:cubicBezTo>
                  <a:pt x="4216" y="18023"/>
                  <a:pt x="4082" y="18128"/>
                  <a:pt x="4055" y="18198"/>
                </a:cubicBezTo>
                <a:cubicBezTo>
                  <a:pt x="4028" y="18268"/>
                  <a:pt x="4270" y="18224"/>
                  <a:pt x="4360" y="18215"/>
                </a:cubicBezTo>
                <a:cubicBezTo>
                  <a:pt x="4449" y="18206"/>
                  <a:pt x="4476" y="18032"/>
                  <a:pt x="4503" y="17927"/>
                </a:cubicBezTo>
                <a:cubicBezTo>
                  <a:pt x="4530" y="17822"/>
                  <a:pt x="4664" y="17752"/>
                  <a:pt x="4745" y="17682"/>
                </a:cubicBezTo>
                <a:cubicBezTo>
                  <a:pt x="4826" y="17612"/>
                  <a:pt x="4808" y="17542"/>
                  <a:pt x="4808" y="17446"/>
                </a:cubicBezTo>
                <a:cubicBezTo>
                  <a:pt x="4808" y="17349"/>
                  <a:pt x="4915" y="17349"/>
                  <a:pt x="4996" y="17341"/>
                </a:cubicBezTo>
                <a:cubicBezTo>
                  <a:pt x="5077" y="17332"/>
                  <a:pt x="5121" y="17297"/>
                  <a:pt x="5148" y="17245"/>
                </a:cubicBezTo>
                <a:cubicBezTo>
                  <a:pt x="5175" y="17192"/>
                  <a:pt x="5283" y="17192"/>
                  <a:pt x="5310" y="17157"/>
                </a:cubicBezTo>
                <a:cubicBezTo>
                  <a:pt x="5337" y="17122"/>
                  <a:pt x="5381" y="17175"/>
                  <a:pt x="5435" y="17218"/>
                </a:cubicBezTo>
                <a:cubicBezTo>
                  <a:pt x="5489" y="17262"/>
                  <a:pt x="5507" y="17236"/>
                  <a:pt x="5570" y="17271"/>
                </a:cubicBezTo>
                <a:cubicBezTo>
                  <a:pt x="5632" y="17306"/>
                  <a:pt x="5731" y="17376"/>
                  <a:pt x="5758" y="17446"/>
                </a:cubicBezTo>
                <a:cubicBezTo>
                  <a:pt x="5785" y="17516"/>
                  <a:pt x="5847" y="17498"/>
                  <a:pt x="5883" y="17586"/>
                </a:cubicBezTo>
                <a:cubicBezTo>
                  <a:pt x="5919" y="17673"/>
                  <a:pt x="5946" y="17516"/>
                  <a:pt x="5955" y="17411"/>
                </a:cubicBezTo>
                <a:cubicBezTo>
                  <a:pt x="5964" y="17306"/>
                  <a:pt x="6071" y="17253"/>
                  <a:pt x="6125" y="17236"/>
                </a:cubicBezTo>
                <a:cubicBezTo>
                  <a:pt x="6179" y="17218"/>
                  <a:pt x="6179" y="17183"/>
                  <a:pt x="6206" y="17105"/>
                </a:cubicBezTo>
                <a:cubicBezTo>
                  <a:pt x="6233" y="17026"/>
                  <a:pt x="6376" y="16947"/>
                  <a:pt x="6493" y="16903"/>
                </a:cubicBezTo>
                <a:cubicBezTo>
                  <a:pt x="6609" y="16860"/>
                  <a:pt x="6493" y="16799"/>
                  <a:pt x="6493" y="16729"/>
                </a:cubicBezTo>
                <a:cubicBezTo>
                  <a:pt x="6493" y="16659"/>
                  <a:pt x="6484" y="16650"/>
                  <a:pt x="6421" y="16615"/>
                </a:cubicBezTo>
                <a:close/>
                <a:moveTo>
                  <a:pt x="10866" y="11114"/>
                </a:moveTo>
                <a:cubicBezTo>
                  <a:pt x="10884" y="11149"/>
                  <a:pt x="10831" y="11237"/>
                  <a:pt x="10813" y="11324"/>
                </a:cubicBezTo>
                <a:cubicBezTo>
                  <a:pt x="10795" y="11412"/>
                  <a:pt x="10875" y="11359"/>
                  <a:pt x="10875" y="11359"/>
                </a:cubicBezTo>
                <a:cubicBezTo>
                  <a:pt x="10875" y="11359"/>
                  <a:pt x="10902" y="11307"/>
                  <a:pt x="11001" y="11263"/>
                </a:cubicBezTo>
                <a:cubicBezTo>
                  <a:pt x="11100" y="11219"/>
                  <a:pt x="11064" y="11158"/>
                  <a:pt x="11126" y="11079"/>
                </a:cubicBezTo>
                <a:cubicBezTo>
                  <a:pt x="11189" y="11001"/>
                  <a:pt x="11028" y="11018"/>
                  <a:pt x="10965" y="11009"/>
                </a:cubicBezTo>
                <a:cubicBezTo>
                  <a:pt x="10902" y="11001"/>
                  <a:pt x="11019" y="10773"/>
                  <a:pt x="11055" y="10677"/>
                </a:cubicBezTo>
                <a:cubicBezTo>
                  <a:pt x="11091" y="10581"/>
                  <a:pt x="10938" y="10782"/>
                  <a:pt x="10875" y="10826"/>
                </a:cubicBezTo>
                <a:cubicBezTo>
                  <a:pt x="10813" y="10869"/>
                  <a:pt x="10777" y="10992"/>
                  <a:pt x="10777" y="10992"/>
                </a:cubicBezTo>
                <a:cubicBezTo>
                  <a:pt x="10777" y="10992"/>
                  <a:pt x="10768" y="11053"/>
                  <a:pt x="10768" y="11123"/>
                </a:cubicBezTo>
                <a:cubicBezTo>
                  <a:pt x="10768" y="11193"/>
                  <a:pt x="10849" y="11079"/>
                  <a:pt x="10866" y="11114"/>
                </a:cubicBezTo>
                <a:close/>
                <a:moveTo>
                  <a:pt x="14873" y="8797"/>
                </a:moveTo>
                <a:cubicBezTo>
                  <a:pt x="14819" y="8806"/>
                  <a:pt x="14873" y="8596"/>
                  <a:pt x="14891" y="8491"/>
                </a:cubicBezTo>
                <a:cubicBezTo>
                  <a:pt x="14909" y="8386"/>
                  <a:pt x="14828" y="8281"/>
                  <a:pt x="14756" y="8202"/>
                </a:cubicBezTo>
                <a:cubicBezTo>
                  <a:pt x="14685" y="8124"/>
                  <a:pt x="14676" y="8097"/>
                  <a:pt x="14667" y="7905"/>
                </a:cubicBezTo>
                <a:cubicBezTo>
                  <a:pt x="14658" y="7713"/>
                  <a:pt x="14416" y="7581"/>
                  <a:pt x="14308" y="7503"/>
                </a:cubicBezTo>
                <a:cubicBezTo>
                  <a:pt x="14201" y="7424"/>
                  <a:pt x="14210" y="7205"/>
                  <a:pt x="14218" y="7109"/>
                </a:cubicBezTo>
                <a:cubicBezTo>
                  <a:pt x="14227" y="7013"/>
                  <a:pt x="14174" y="7013"/>
                  <a:pt x="14120" y="6987"/>
                </a:cubicBezTo>
                <a:cubicBezTo>
                  <a:pt x="14066" y="6960"/>
                  <a:pt x="14120" y="6908"/>
                  <a:pt x="14165" y="6838"/>
                </a:cubicBezTo>
                <a:cubicBezTo>
                  <a:pt x="14210" y="6768"/>
                  <a:pt x="14165" y="6637"/>
                  <a:pt x="14201" y="6436"/>
                </a:cubicBezTo>
                <a:cubicBezTo>
                  <a:pt x="14236" y="6235"/>
                  <a:pt x="14138" y="6340"/>
                  <a:pt x="14057" y="6392"/>
                </a:cubicBezTo>
                <a:cubicBezTo>
                  <a:pt x="13977" y="6445"/>
                  <a:pt x="13878" y="6296"/>
                  <a:pt x="13824" y="6235"/>
                </a:cubicBezTo>
                <a:cubicBezTo>
                  <a:pt x="13770" y="6173"/>
                  <a:pt x="13645" y="6182"/>
                  <a:pt x="13645" y="6182"/>
                </a:cubicBezTo>
                <a:cubicBezTo>
                  <a:pt x="13555" y="6243"/>
                  <a:pt x="13510" y="6567"/>
                  <a:pt x="13510" y="6646"/>
                </a:cubicBezTo>
                <a:cubicBezTo>
                  <a:pt x="13510" y="6724"/>
                  <a:pt x="13546" y="6707"/>
                  <a:pt x="13582" y="6672"/>
                </a:cubicBezTo>
                <a:cubicBezTo>
                  <a:pt x="13618" y="6637"/>
                  <a:pt x="13690" y="6611"/>
                  <a:pt x="13761" y="6628"/>
                </a:cubicBezTo>
                <a:cubicBezTo>
                  <a:pt x="13833" y="6646"/>
                  <a:pt x="13860" y="6584"/>
                  <a:pt x="13905" y="6506"/>
                </a:cubicBezTo>
                <a:cubicBezTo>
                  <a:pt x="13950" y="6427"/>
                  <a:pt x="13977" y="6497"/>
                  <a:pt x="14021" y="6541"/>
                </a:cubicBezTo>
                <a:cubicBezTo>
                  <a:pt x="14066" y="6584"/>
                  <a:pt x="14066" y="6672"/>
                  <a:pt x="14048" y="6742"/>
                </a:cubicBezTo>
                <a:cubicBezTo>
                  <a:pt x="14030" y="6812"/>
                  <a:pt x="14012" y="6873"/>
                  <a:pt x="13994" y="6969"/>
                </a:cubicBezTo>
                <a:cubicBezTo>
                  <a:pt x="13977" y="7065"/>
                  <a:pt x="13932" y="7065"/>
                  <a:pt x="13878" y="7083"/>
                </a:cubicBezTo>
                <a:cubicBezTo>
                  <a:pt x="13824" y="7100"/>
                  <a:pt x="13726" y="6969"/>
                  <a:pt x="13672" y="6917"/>
                </a:cubicBezTo>
                <a:cubicBezTo>
                  <a:pt x="13618" y="6864"/>
                  <a:pt x="13600" y="7013"/>
                  <a:pt x="13564" y="7100"/>
                </a:cubicBezTo>
                <a:cubicBezTo>
                  <a:pt x="13528" y="7188"/>
                  <a:pt x="13448" y="7118"/>
                  <a:pt x="13385" y="7057"/>
                </a:cubicBezTo>
                <a:cubicBezTo>
                  <a:pt x="13322" y="6995"/>
                  <a:pt x="13349" y="6759"/>
                  <a:pt x="13376" y="6663"/>
                </a:cubicBezTo>
                <a:cubicBezTo>
                  <a:pt x="13403" y="6567"/>
                  <a:pt x="13233" y="6628"/>
                  <a:pt x="13170" y="6654"/>
                </a:cubicBezTo>
                <a:cubicBezTo>
                  <a:pt x="13107" y="6681"/>
                  <a:pt x="13089" y="6602"/>
                  <a:pt x="13053" y="6567"/>
                </a:cubicBezTo>
                <a:cubicBezTo>
                  <a:pt x="13018" y="6532"/>
                  <a:pt x="13026" y="6786"/>
                  <a:pt x="13026" y="6890"/>
                </a:cubicBezTo>
                <a:cubicBezTo>
                  <a:pt x="13026" y="6995"/>
                  <a:pt x="12973" y="7135"/>
                  <a:pt x="12919" y="7205"/>
                </a:cubicBezTo>
                <a:cubicBezTo>
                  <a:pt x="12865" y="7275"/>
                  <a:pt x="12811" y="7267"/>
                  <a:pt x="12749" y="7267"/>
                </a:cubicBezTo>
                <a:cubicBezTo>
                  <a:pt x="12686" y="7267"/>
                  <a:pt x="12686" y="7249"/>
                  <a:pt x="12614" y="7345"/>
                </a:cubicBezTo>
                <a:cubicBezTo>
                  <a:pt x="12543" y="7441"/>
                  <a:pt x="12543" y="7494"/>
                  <a:pt x="12587" y="7520"/>
                </a:cubicBezTo>
                <a:cubicBezTo>
                  <a:pt x="12632" y="7546"/>
                  <a:pt x="12650" y="7651"/>
                  <a:pt x="12695" y="7774"/>
                </a:cubicBezTo>
                <a:cubicBezTo>
                  <a:pt x="12740" y="7896"/>
                  <a:pt x="12713" y="8089"/>
                  <a:pt x="12650" y="8185"/>
                </a:cubicBezTo>
                <a:cubicBezTo>
                  <a:pt x="12587" y="8281"/>
                  <a:pt x="12516" y="8351"/>
                  <a:pt x="12426" y="8333"/>
                </a:cubicBezTo>
                <a:cubicBezTo>
                  <a:pt x="12336" y="8316"/>
                  <a:pt x="12390" y="8456"/>
                  <a:pt x="12426" y="8543"/>
                </a:cubicBezTo>
                <a:cubicBezTo>
                  <a:pt x="12462" y="8631"/>
                  <a:pt x="12578" y="8456"/>
                  <a:pt x="12668" y="8430"/>
                </a:cubicBezTo>
                <a:cubicBezTo>
                  <a:pt x="12758" y="8403"/>
                  <a:pt x="12758" y="8596"/>
                  <a:pt x="12802" y="8639"/>
                </a:cubicBezTo>
                <a:cubicBezTo>
                  <a:pt x="12847" y="8683"/>
                  <a:pt x="12811" y="8753"/>
                  <a:pt x="12784" y="8814"/>
                </a:cubicBezTo>
                <a:cubicBezTo>
                  <a:pt x="12758" y="8876"/>
                  <a:pt x="12793" y="9007"/>
                  <a:pt x="12793" y="9085"/>
                </a:cubicBezTo>
                <a:cubicBezTo>
                  <a:pt x="12793" y="9164"/>
                  <a:pt x="12731" y="9217"/>
                  <a:pt x="12650" y="9313"/>
                </a:cubicBezTo>
                <a:cubicBezTo>
                  <a:pt x="12569" y="9409"/>
                  <a:pt x="12525" y="9829"/>
                  <a:pt x="12516" y="9934"/>
                </a:cubicBezTo>
                <a:cubicBezTo>
                  <a:pt x="12507" y="10039"/>
                  <a:pt x="12399" y="10091"/>
                  <a:pt x="12318" y="10161"/>
                </a:cubicBezTo>
                <a:cubicBezTo>
                  <a:pt x="12238" y="10231"/>
                  <a:pt x="12211" y="10432"/>
                  <a:pt x="12148" y="10563"/>
                </a:cubicBezTo>
                <a:cubicBezTo>
                  <a:pt x="12085" y="10695"/>
                  <a:pt x="12121" y="10808"/>
                  <a:pt x="12059" y="10948"/>
                </a:cubicBezTo>
                <a:cubicBezTo>
                  <a:pt x="11996" y="11088"/>
                  <a:pt x="11745" y="11202"/>
                  <a:pt x="11583" y="11263"/>
                </a:cubicBezTo>
                <a:cubicBezTo>
                  <a:pt x="11422" y="11324"/>
                  <a:pt x="11261" y="11665"/>
                  <a:pt x="11234" y="11744"/>
                </a:cubicBezTo>
                <a:cubicBezTo>
                  <a:pt x="11207" y="11823"/>
                  <a:pt x="11108" y="12006"/>
                  <a:pt x="11064" y="12024"/>
                </a:cubicBezTo>
                <a:cubicBezTo>
                  <a:pt x="11019" y="12041"/>
                  <a:pt x="10893" y="12155"/>
                  <a:pt x="10849" y="12225"/>
                </a:cubicBezTo>
                <a:cubicBezTo>
                  <a:pt x="10804" y="12295"/>
                  <a:pt x="10741" y="12304"/>
                  <a:pt x="10660" y="12295"/>
                </a:cubicBezTo>
                <a:cubicBezTo>
                  <a:pt x="10580" y="12286"/>
                  <a:pt x="10445" y="12374"/>
                  <a:pt x="10356" y="12452"/>
                </a:cubicBezTo>
                <a:cubicBezTo>
                  <a:pt x="10266" y="12531"/>
                  <a:pt x="10042" y="12540"/>
                  <a:pt x="9952" y="12566"/>
                </a:cubicBezTo>
                <a:cubicBezTo>
                  <a:pt x="9863" y="12592"/>
                  <a:pt x="9881" y="12601"/>
                  <a:pt x="9836" y="12706"/>
                </a:cubicBezTo>
                <a:cubicBezTo>
                  <a:pt x="9791" y="12811"/>
                  <a:pt x="9746" y="12820"/>
                  <a:pt x="9674" y="12863"/>
                </a:cubicBezTo>
                <a:cubicBezTo>
                  <a:pt x="9603" y="12907"/>
                  <a:pt x="9423" y="12811"/>
                  <a:pt x="9352" y="12758"/>
                </a:cubicBezTo>
                <a:cubicBezTo>
                  <a:pt x="9280" y="12706"/>
                  <a:pt x="9343" y="12627"/>
                  <a:pt x="9406" y="12566"/>
                </a:cubicBezTo>
                <a:cubicBezTo>
                  <a:pt x="9468" y="12505"/>
                  <a:pt x="9388" y="12356"/>
                  <a:pt x="9370" y="12269"/>
                </a:cubicBezTo>
                <a:cubicBezTo>
                  <a:pt x="9352" y="12181"/>
                  <a:pt x="9477" y="12094"/>
                  <a:pt x="9558" y="12102"/>
                </a:cubicBezTo>
                <a:cubicBezTo>
                  <a:pt x="9639" y="12111"/>
                  <a:pt x="9639" y="12050"/>
                  <a:pt x="9648" y="11989"/>
                </a:cubicBezTo>
                <a:cubicBezTo>
                  <a:pt x="9657" y="11928"/>
                  <a:pt x="9674" y="11893"/>
                  <a:pt x="9737" y="11840"/>
                </a:cubicBezTo>
                <a:cubicBezTo>
                  <a:pt x="9800" y="11788"/>
                  <a:pt x="9701" y="11779"/>
                  <a:pt x="9621" y="11779"/>
                </a:cubicBezTo>
                <a:cubicBezTo>
                  <a:pt x="9540" y="11779"/>
                  <a:pt x="9477" y="11849"/>
                  <a:pt x="9397" y="11910"/>
                </a:cubicBezTo>
                <a:cubicBezTo>
                  <a:pt x="9316" y="11971"/>
                  <a:pt x="9235" y="11971"/>
                  <a:pt x="9137" y="11980"/>
                </a:cubicBezTo>
                <a:cubicBezTo>
                  <a:pt x="9038" y="11989"/>
                  <a:pt x="9074" y="12094"/>
                  <a:pt x="9092" y="12155"/>
                </a:cubicBezTo>
                <a:cubicBezTo>
                  <a:pt x="9110" y="12216"/>
                  <a:pt x="9056" y="12251"/>
                  <a:pt x="9065" y="12347"/>
                </a:cubicBezTo>
                <a:cubicBezTo>
                  <a:pt x="9074" y="12444"/>
                  <a:pt x="9101" y="12452"/>
                  <a:pt x="9101" y="12610"/>
                </a:cubicBezTo>
                <a:cubicBezTo>
                  <a:pt x="9101" y="12767"/>
                  <a:pt x="8993" y="12977"/>
                  <a:pt x="8931" y="13047"/>
                </a:cubicBezTo>
                <a:cubicBezTo>
                  <a:pt x="8868" y="13117"/>
                  <a:pt x="8742" y="13239"/>
                  <a:pt x="8698" y="13318"/>
                </a:cubicBezTo>
                <a:cubicBezTo>
                  <a:pt x="8653" y="13397"/>
                  <a:pt x="8554" y="13458"/>
                  <a:pt x="8411" y="13537"/>
                </a:cubicBezTo>
                <a:cubicBezTo>
                  <a:pt x="8267" y="13615"/>
                  <a:pt x="8187" y="13825"/>
                  <a:pt x="8178" y="13895"/>
                </a:cubicBezTo>
                <a:cubicBezTo>
                  <a:pt x="8169" y="13965"/>
                  <a:pt x="8240" y="14053"/>
                  <a:pt x="8312" y="14123"/>
                </a:cubicBezTo>
                <a:cubicBezTo>
                  <a:pt x="8384" y="14193"/>
                  <a:pt x="8303" y="14324"/>
                  <a:pt x="8258" y="14367"/>
                </a:cubicBezTo>
                <a:cubicBezTo>
                  <a:pt x="8214" y="14411"/>
                  <a:pt x="8205" y="14332"/>
                  <a:pt x="8205" y="14262"/>
                </a:cubicBezTo>
                <a:cubicBezTo>
                  <a:pt x="8205" y="14193"/>
                  <a:pt x="8142" y="14262"/>
                  <a:pt x="8142" y="14332"/>
                </a:cubicBezTo>
                <a:cubicBezTo>
                  <a:pt x="8142" y="14402"/>
                  <a:pt x="8088" y="14455"/>
                  <a:pt x="7882" y="14551"/>
                </a:cubicBezTo>
                <a:cubicBezTo>
                  <a:pt x="7676" y="14647"/>
                  <a:pt x="7783" y="14586"/>
                  <a:pt x="7694" y="14595"/>
                </a:cubicBezTo>
                <a:cubicBezTo>
                  <a:pt x="7604" y="14604"/>
                  <a:pt x="7532" y="14534"/>
                  <a:pt x="7514" y="14472"/>
                </a:cubicBezTo>
                <a:cubicBezTo>
                  <a:pt x="7497" y="14411"/>
                  <a:pt x="7407" y="14481"/>
                  <a:pt x="7380" y="14586"/>
                </a:cubicBezTo>
                <a:cubicBezTo>
                  <a:pt x="7353" y="14691"/>
                  <a:pt x="7290" y="14499"/>
                  <a:pt x="7201" y="14472"/>
                </a:cubicBezTo>
                <a:cubicBezTo>
                  <a:pt x="7111" y="14446"/>
                  <a:pt x="7237" y="14394"/>
                  <a:pt x="7299" y="14341"/>
                </a:cubicBezTo>
                <a:cubicBezTo>
                  <a:pt x="7362" y="14289"/>
                  <a:pt x="7353" y="14254"/>
                  <a:pt x="7308" y="14193"/>
                </a:cubicBezTo>
                <a:cubicBezTo>
                  <a:pt x="7264" y="14131"/>
                  <a:pt x="7165" y="14166"/>
                  <a:pt x="6977" y="14289"/>
                </a:cubicBezTo>
                <a:cubicBezTo>
                  <a:pt x="6788" y="14411"/>
                  <a:pt x="6591" y="14315"/>
                  <a:pt x="6448" y="14315"/>
                </a:cubicBezTo>
                <a:cubicBezTo>
                  <a:pt x="6304" y="14315"/>
                  <a:pt x="6296" y="14420"/>
                  <a:pt x="6000" y="14525"/>
                </a:cubicBezTo>
                <a:cubicBezTo>
                  <a:pt x="5704" y="14630"/>
                  <a:pt x="5865" y="14534"/>
                  <a:pt x="5731" y="14507"/>
                </a:cubicBezTo>
                <a:cubicBezTo>
                  <a:pt x="5596" y="14481"/>
                  <a:pt x="5507" y="14525"/>
                  <a:pt x="5435" y="14525"/>
                </a:cubicBezTo>
                <a:cubicBezTo>
                  <a:pt x="5363" y="14525"/>
                  <a:pt x="5354" y="14490"/>
                  <a:pt x="5292" y="14472"/>
                </a:cubicBezTo>
                <a:cubicBezTo>
                  <a:pt x="5229" y="14455"/>
                  <a:pt x="5184" y="14499"/>
                  <a:pt x="5103" y="14542"/>
                </a:cubicBezTo>
                <a:cubicBezTo>
                  <a:pt x="5023" y="14586"/>
                  <a:pt x="5032" y="14542"/>
                  <a:pt x="4942" y="14542"/>
                </a:cubicBezTo>
                <a:cubicBezTo>
                  <a:pt x="4853" y="14542"/>
                  <a:pt x="4817" y="14464"/>
                  <a:pt x="4844" y="14402"/>
                </a:cubicBezTo>
                <a:cubicBezTo>
                  <a:pt x="4870" y="14341"/>
                  <a:pt x="4763" y="14367"/>
                  <a:pt x="4700" y="14402"/>
                </a:cubicBezTo>
                <a:cubicBezTo>
                  <a:pt x="4637" y="14437"/>
                  <a:pt x="4584" y="14420"/>
                  <a:pt x="4458" y="14429"/>
                </a:cubicBezTo>
                <a:cubicBezTo>
                  <a:pt x="4333" y="14437"/>
                  <a:pt x="4279" y="14551"/>
                  <a:pt x="4270" y="14630"/>
                </a:cubicBezTo>
                <a:cubicBezTo>
                  <a:pt x="4261" y="14708"/>
                  <a:pt x="4261" y="14735"/>
                  <a:pt x="4162" y="14761"/>
                </a:cubicBezTo>
                <a:cubicBezTo>
                  <a:pt x="4064" y="14787"/>
                  <a:pt x="3992" y="14883"/>
                  <a:pt x="3849" y="14997"/>
                </a:cubicBezTo>
                <a:cubicBezTo>
                  <a:pt x="3705" y="15111"/>
                  <a:pt x="3320" y="15382"/>
                  <a:pt x="3266" y="15461"/>
                </a:cubicBezTo>
                <a:cubicBezTo>
                  <a:pt x="3212" y="15539"/>
                  <a:pt x="3177" y="15487"/>
                  <a:pt x="3060" y="15487"/>
                </a:cubicBezTo>
                <a:cubicBezTo>
                  <a:pt x="2943" y="15487"/>
                  <a:pt x="2926" y="15583"/>
                  <a:pt x="2899" y="15618"/>
                </a:cubicBezTo>
                <a:cubicBezTo>
                  <a:pt x="2872" y="15653"/>
                  <a:pt x="2863" y="15688"/>
                  <a:pt x="2818" y="15688"/>
                </a:cubicBezTo>
                <a:cubicBezTo>
                  <a:pt x="2773" y="15688"/>
                  <a:pt x="2782" y="15723"/>
                  <a:pt x="2719" y="15810"/>
                </a:cubicBezTo>
                <a:cubicBezTo>
                  <a:pt x="2657" y="15898"/>
                  <a:pt x="2594" y="15898"/>
                  <a:pt x="2513" y="15907"/>
                </a:cubicBezTo>
                <a:cubicBezTo>
                  <a:pt x="2433" y="15915"/>
                  <a:pt x="2406" y="15880"/>
                  <a:pt x="2352" y="15837"/>
                </a:cubicBezTo>
                <a:cubicBezTo>
                  <a:pt x="2298" y="15793"/>
                  <a:pt x="2280" y="15854"/>
                  <a:pt x="2244" y="15889"/>
                </a:cubicBezTo>
                <a:cubicBezTo>
                  <a:pt x="2209" y="15924"/>
                  <a:pt x="2191" y="15889"/>
                  <a:pt x="2083" y="15907"/>
                </a:cubicBezTo>
                <a:cubicBezTo>
                  <a:pt x="1976" y="15924"/>
                  <a:pt x="2101" y="16160"/>
                  <a:pt x="2092" y="16256"/>
                </a:cubicBezTo>
                <a:cubicBezTo>
                  <a:pt x="2083" y="16353"/>
                  <a:pt x="2029" y="16457"/>
                  <a:pt x="1984" y="16501"/>
                </a:cubicBezTo>
                <a:cubicBezTo>
                  <a:pt x="1940" y="16545"/>
                  <a:pt x="1850" y="16484"/>
                  <a:pt x="1814" y="16449"/>
                </a:cubicBezTo>
                <a:cubicBezTo>
                  <a:pt x="1778" y="16414"/>
                  <a:pt x="1734" y="16536"/>
                  <a:pt x="1626" y="16545"/>
                </a:cubicBezTo>
                <a:cubicBezTo>
                  <a:pt x="1518" y="16554"/>
                  <a:pt x="1518" y="16615"/>
                  <a:pt x="1527" y="16702"/>
                </a:cubicBezTo>
                <a:cubicBezTo>
                  <a:pt x="1536" y="16790"/>
                  <a:pt x="1438" y="16860"/>
                  <a:pt x="1384" y="16921"/>
                </a:cubicBezTo>
                <a:cubicBezTo>
                  <a:pt x="1330" y="16982"/>
                  <a:pt x="1259" y="16903"/>
                  <a:pt x="1169" y="16842"/>
                </a:cubicBezTo>
                <a:cubicBezTo>
                  <a:pt x="1079" y="16781"/>
                  <a:pt x="1034" y="17000"/>
                  <a:pt x="972" y="17052"/>
                </a:cubicBezTo>
                <a:cubicBezTo>
                  <a:pt x="909" y="17105"/>
                  <a:pt x="900" y="17078"/>
                  <a:pt x="882" y="17052"/>
                </a:cubicBezTo>
                <a:cubicBezTo>
                  <a:pt x="864" y="17026"/>
                  <a:pt x="864" y="16956"/>
                  <a:pt x="775" y="16965"/>
                </a:cubicBezTo>
                <a:cubicBezTo>
                  <a:pt x="685" y="16973"/>
                  <a:pt x="757" y="17157"/>
                  <a:pt x="703" y="17192"/>
                </a:cubicBezTo>
                <a:cubicBezTo>
                  <a:pt x="649" y="17227"/>
                  <a:pt x="515" y="17201"/>
                  <a:pt x="461" y="17166"/>
                </a:cubicBezTo>
                <a:cubicBezTo>
                  <a:pt x="407" y="17131"/>
                  <a:pt x="398" y="17218"/>
                  <a:pt x="398" y="17279"/>
                </a:cubicBezTo>
                <a:cubicBezTo>
                  <a:pt x="398" y="17341"/>
                  <a:pt x="470" y="17341"/>
                  <a:pt x="515" y="17367"/>
                </a:cubicBezTo>
                <a:cubicBezTo>
                  <a:pt x="559" y="17393"/>
                  <a:pt x="595" y="17446"/>
                  <a:pt x="595" y="17507"/>
                </a:cubicBezTo>
                <a:cubicBezTo>
                  <a:pt x="595" y="17568"/>
                  <a:pt x="730" y="17603"/>
                  <a:pt x="810" y="17647"/>
                </a:cubicBezTo>
                <a:cubicBezTo>
                  <a:pt x="891" y="17691"/>
                  <a:pt x="846" y="17813"/>
                  <a:pt x="748" y="17865"/>
                </a:cubicBezTo>
                <a:cubicBezTo>
                  <a:pt x="649" y="17918"/>
                  <a:pt x="595" y="17813"/>
                  <a:pt x="613" y="17734"/>
                </a:cubicBezTo>
                <a:cubicBezTo>
                  <a:pt x="631" y="17655"/>
                  <a:pt x="577" y="17638"/>
                  <a:pt x="515" y="17559"/>
                </a:cubicBezTo>
                <a:cubicBezTo>
                  <a:pt x="452" y="17481"/>
                  <a:pt x="461" y="17612"/>
                  <a:pt x="461" y="17691"/>
                </a:cubicBezTo>
                <a:cubicBezTo>
                  <a:pt x="461" y="17769"/>
                  <a:pt x="470" y="17813"/>
                  <a:pt x="506" y="17900"/>
                </a:cubicBezTo>
                <a:cubicBezTo>
                  <a:pt x="542" y="17988"/>
                  <a:pt x="622" y="17935"/>
                  <a:pt x="649" y="18023"/>
                </a:cubicBezTo>
                <a:cubicBezTo>
                  <a:pt x="676" y="18110"/>
                  <a:pt x="604" y="18119"/>
                  <a:pt x="622" y="18198"/>
                </a:cubicBezTo>
                <a:cubicBezTo>
                  <a:pt x="640" y="18276"/>
                  <a:pt x="775" y="18014"/>
                  <a:pt x="855" y="17979"/>
                </a:cubicBezTo>
                <a:cubicBezTo>
                  <a:pt x="936" y="17944"/>
                  <a:pt x="1017" y="17979"/>
                  <a:pt x="1079" y="17988"/>
                </a:cubicBezTo>
                <a:cubicBezTo>
                  <a:pt x="1142" y="17997"/>
                  <a:pt x="1124" y="18040"/>
                  <a:pt x="1025" y="18101"/>
                </a:cubicBezTo>
                <a:cubicBezTo>
                  <a:pt x="927" y="18163"/>
                  <a:pt x="1008" y="18198"/>
                  <a:pt x="1008" y="18276"/>
                </a:cubicBezTo>
                <a:cubicBezTo>
                  <a:pt x="1008" y="18355"/>
                  <a:pt x="1142" y="18198"/>
                  <a:pt x="1241" y="18171"/>
                </a:cubicBezTo>
                <a:cubicBezTo>
                  <a:pt x="1339" y="18145"/>
                  <a:pt x="1267" y="18040"/>
                  <a:pt x="1267" y="17970"/>
                </a:cubicBezTo>
                <a:cubicBezTo>
                  <a:pt x="1267" y="17900"/>
                  <a:pt x="1178" y="17900"/>
                  <a:pt x="1106" y="17927"/>
                </a:cubicBezTo>
                <a:cubicBezTo>
                  <a:pt x="1034" y="17953"/>
                  <a:pt x="1008" y="17883"/>
                  <a:pt x="1079" y="17830"/>
                </a:cubicBezTo>
                <a:cubicBezTo>
                  <a:pt x="1151" y="17778"/>
                  <a:pt x="1097" y="17664"/>
                  <a:pt x="1043" y="17629"/>
                </a:cubicBezTo>
                <a:cubicBezTo>
                  <a:pt x="990" y="17594"/>
                  <a:pt x="1070" y="17533"/>
                  <a:pt x="1133" y="17454"/>
                </a:cubicBezTo>
                <a:cubicBezTo>
                  <a:pt x="1196" y="17376"/>
                  <a:pt x="1250" y="17463"/>
                  <a:pt x="1312" y="17481"/>
                </a:cubicBezTo>
                <a:cubicBezTo>
                  <a:pt x="1375" y="17498"/>
                  <a:pt x="1375" y="17664"/>
                  <a:pt x="1375" y="17717"/>
                </a:cubicBezTo>
                <a:cubicBezTo>
                  <a:pt x="1375" y="17769"/>
                  <a:pt x="1402" y="17804"/>
                  <a:pt x="1483" y="17857"/>
                </a:cubicBezTo>
                <a:cubicBezTo>
                  <a:pt x="1563" y="17909"/>
                  <a:pt x="1554" y="18014"/>
                  <a:pt x="1554" y="18119"/>
                </a:cubicBezTo>
                <a:cubicBezTo>
                  <a:pt x="1554" y="18224"/>
                  <a:pt x="1393" y="18224"/>
                  <a:pt x="1447" y="18241"/>
                </a:cubicBezTo>
                <a:cubicBezTo>
                  <a:pt x="1500" y="18259"/>
                  <a:pt x="1644" y="18250"/>
                  <a:pt x="1590" y="18294"/>
                </a:cubicBezTo>
                <a:cubicBezTo>
                  <a:pt x="1536" y="18338"/>
                  <a:pt x="1509" y="18373"/>
                  <a:pt x="1545" y="18416"/>
                </a:cubicBezTo>
                <a:cubicBezTo>
                  <a:pt x="1581" y="18460"/>
                  <a:pt x="1474" y="18539"/>
                  <a:pt x="1438" y="18582"/>
                </a:cubicBezTo>
                <a:cubicBezTo>
                  <a:pt x="1402" y="18626"/>
                  <a:pt x="1384" y="18679"/>
                  <a:pt x="1330" y="18766"/>
                </a:cubicBezTo>
                <a:cubicBezTo>
                  <a:pt x="1276" y="18854"/>
                  <a:pt x="1097" y="18941"/>
                  <a:pt x="1025" y="18941"/>
                </a:cubicBezTo>
                <a:cubicBezTo>
                  <a:pt x="954" y="18941"/>
                  <a:pt x="990" y="19055"/>
                  <a:pt x="1025" y="19142"/>
                </a:cubicBezTo>
                <a:cubicBezTo>
                  <a:pt x="1061" y="19230"/>
                  <a:pt x="972" y="19317"/>
                  <a:pt x="945" y="19352"/>
                </a:cubicBezTo>
                <a:cubicBezTo>
                  <a:pt x="918" y="19387"/>
                  <a:pt x="990" y="19431"/>
                  <a:pt x="1061" y="19483"/>
                </a:cubicBezTo>
                <a:cubicBezTo>
                  <a:pt x="1133" y="19536"/>
                  <a:pt x="1142" y="19571"/>
                  <a:pt x="1142" y="19702"/>
                </a:cubicBezTo>
                <a:cubicBezTo>
                  <a:pt x="1142" y="19833"/>
                  <a:pt x="963" y="19842"/>
                  <a:pt x="891" y="19851"/>
                </a:cubicBezTo>
                <a:cubicBezTo>
                  <a:pt x="819" y="19859"/>
                  <a:pt x="882" y="19920"/>
                  <a:pt x="945" y="19938"/>
                </a:cubicBezTo>
                <a:cubicBezTo>
                  <a:pt x="1008" y="19955"/>
                  <a:pt x="954" y="20025"/>
                  <a:pt x="954" y="20095"/>
                </a:cubicBezTo>
                <a:cubicBezTo>
                  <a:pt x="954" y="20165"/>
                  <a:pt x="1088" y="20148"/>
                  <a:pt x="1178" y="20148"/>
                </a:cubicBezTo>
                <a:cubicBezTo>
                  <a:pt x="1267" y="20148"/>
                  <a:pt x="1294" y="20183"/>
                  <a:pt x="1339" y="20262"/>
                </a:cubicBezTo>
                <a:cubicBezTo>
                  <a:pt x="1384" y="20340"/>
                  <a:pt x="1429" y="20244"/>
                  <a:pt x="1456" y="20174"/>
                </a:cubicBezTo>
                <a:cubicBezTo>
                  <a:pt x="1483" y="20104"/>
                  <a:pt x="1411" y="20060"/>
                  <a:pt x="1366" y="20025"/>
                </a:cubicBezTo>
                <a:cubicBezTo>
                  <a:pt x="1321" y="19990"/>
                  <a:pt x="1330" y="19912"/>
                  <a:pt x="1294" y="19859"/>
                </a:cubicBezTo>
                <a:cubicBezTo>
                  <a:pt x="1259" y="19807"/>
                  <a:pt x="1312" y="19763"/>
                  <a:pt x="1357" y="19719"/>
                </a:cubicBezTo>
                <a:cubicBezTo>
                  <a:pt x="1402" y="19676"/>
                  <a:pt x="1429" y="19606"/>
                  <a:pt x="1447" y="19571"/>
                </a:cubicBezTo>
                <a:cubicBezTo>
                  <a:pt x="1465" y="19536"/>
                  <a:pt x="1500" y="19501"/>
                  <a:pt x="1599" y="19483"/>
                </a:cubicBezTo>
                <a:cubicBezTo>
                  <a:pt x="1698" y="19466"/>
                  <a:pt x="1707" y="19623"/>
                  <a:pt x="1689" y="19676"/>
                </a:cubicBezTo>
                <a:cubicBezTo>
                  <a:pt x="1671" y="19728"/>
                  <a:pt x="1617" y="19763"/>
                  <a:pt x="1617" y="19824"/>
                </a:cubicBezTo>
                <a:cubicBezTo>
                  <a:pt x="1617" y="19885"/>
                  <a:pt x="1662" y="19964"/>
                  <a:pt x="1689" y="20017"/>
                </a:cubicBezTo>
                <a:cubicBezTo>
                  <a:pt x="1716" y="20069"/>
                  <a:pt x="1644" y="20244"/>
                  <a:pt x="1572" y="20340"/>
                </a:cubicBezTo>
                <a:cubicBezTo>
                  <a:pt x="1500" y="20436"/>
                  <a:pt x="1563" y="20445"/>
                  <a:pt x="1617" y="20401"/>
                </a:cubicBezTo>
                <a:cubicBezTo>
                  <a:pt x="1671" y="20358"/>
                  <a:pt x="1707" y="20375"/>
                  <a:pt x="1769" y="20384"/>
                </a:cubicBezTo>
                <a:cubicBezTo>
                  <a:pt x="1832" y="20393"/>
                  <a:pt x="1976" y="20235"/>
                  <a:pt x="2011" y="20192"/>
                </a:cubicBezTo>
                <a:cubicBezTo>
                  <a:pt x="2047" y="20148"/>
                  <a:pt x="2011" y="20095"/>
                  <a:pt x="1940" y="20052"/>
                </a:cubicBezTo>
                <a:cubicBezTo>
                  <a:pt x="1868" y="20008"/>
                  <a:pt x="2020" y="19912"/>
                  <a:pt x="2092" y="19912"/>
                </a:cubicBezTo>
                <a:cubicBezTo>
                  <a:pt x="2164" y="19912"/>
                  <a:pt x="2218" y="19964"/>
                  <a:pt x="2253" y="20034"/>
                </a:cubicBezTo>
                <a:cubicBezTo>
                  <a:pt x="2289" y="20104"/>
                  <a:pt x="2370" y="19938"/>
                  <a:pt x="2388" y="19833"/>
                </a:cubicBezTo>
                <a:cubicBezTo>
                  <a:pt x="2406" y="19728"/>
                  <a:pt x="2495" y="19667"/>
                  <a:pt x="2522" y="19606"/>
                </a:cubicBezTo>
                <a:cubicBezTo>
                  <a:pt x="2549" y="19544"/>
                  <a:pt x="2540" y="19474"/>
                  <a:pt x="2495" y="19413"/>
                </a:cubicBezTo>
                <a:cubicBezTo>
                  <a:pt x="2451" y="19352"/>
                  <a:pt x="2630" y="19046"/>
                  <a:pt x="2666" y="18950"/>
                </a:cubicBezTo>
                <a:cubicBezTo>
                  <a:pt x="2702" y="18854"/>
                  <a:pt x="2746" y="18731"/>
                  <a:pt x="2809" y="18539"/>
                </a:cubicBezTo>
                <a:cubicBezTo>
                  <a:pt x="2872" y="18346"/>
                  <a:pt x="3078" y="18198"/>
                  <a:pt x="3141" y="18163"/>
                </a:cubicBezTo>
                <a:cubicBezTo>
                  <a:pt x="3203" y="18128"/>
                  <a:pt x="3177" y="18128"/>
                  <a:pt x="3212" y="18058"/>
                </a:cubicBezTo>
                <a:cubicBezTo>
                  <a:pt x="3248" y="17988"/>
                  <a:pt x="3230" y="17962"/>
                  <a:pt x="3168" y="17953"/>
                </a:cubicBezTo>
                <a:cubicBezTo>
                  <a:pt x="3105" y="17944"/>
                  <a:pt x="3132" y="17865"/>
                  <a:pt x="3168" y="17795"/>
                </a:cubicBezTo>
                <a:cubicBezTo>
                  <a:pt x="3203" y="17725"/>
                  <a:pt x="3177" y="17734"/>
                  <a:pt x="3087" y="17717"/>
                </a:cubicBezTo>
                <a:cubicBezTo>
                  <a:pt x="2997" y="17699"/>
                  <a:pt x="3042" y="17655"/>
                  <a:pt x="3078" y="17594"/>
                </a:cubicBezTo>
                <a:cubicBezTo>
                  <a:pt x="3114" y="17533"/>
                  <a:pt x="3132" y="17516"/>
                  <a:pt x="3078" y="17507"/>
                </a:cubicBezTo>
                <a:cubicBezTo>
                  <a:pt x="3024" y="17498"/>
                  <a:pt x="2917" y="17481"/>
                  <a:pt x="2827" y="17498"/>
                </a:cubicBezTo>
                <a:cubicBezTo>
                  <a:pt x="2737" y="17516"/>
                  <a:pt x="2684" y="17446"/>
                  <a:pt x="2684" y="17367"/>
                </a:cubicBezTo>
                <a:cubicBezTo>
                  <a:pt x="2684" y="17288"/>
                  <a:pt x="2845" y="17288"/>
                  <a:pt x="2917" y="17253"/>
                </a:cubicBezTo>
                <a:cubicBezTo>
                  <a:pt x="2988" y="17218"/>
                  <a:pt x="2970" y="17113"/>
                  <a:pt x="2979" y="17043"/>
                </a:cubicBezTo>
                <a:cubicBezTo>
                  <a:pt x="2988" y="16973"/>
                  <a:pt x="2943" y="16965"/>
                  <a:pt x="2881" y="16912"/>
                </a:cubicBezTo>
                <a:cubicBezTo>
                  <a:pt x="2818" y="16860"/>
                  <a:pt x="2755" y="16895"/>
                  <a:pt x="2693" y="16965"/>
                </a:cubicBezTo>
                <a:cubicBezTo>
                  <a:pt x="2630" y="17035"/>
                  <a:pt x="2594" y="16991"/>
                  <a:pt x="2504" y="16991"/>
                </a:cubicBezTo>
                <a:cubicBezTo>
                  <a:pt x="2415" y="16991"/>
                  <a:pt x="2262" y="16938"/>
                  <a:pt x="2209" y="16877"/>
                </a:cubicBezTo>
                <a:cubicBezTo>
                  <a:pt x="2155" y="16816"/>
                  <a:pt x="2164" y="16737"/>
                  <a:pt x="2110" y="16632"/>
                </a:cubicBezTo>
                <a:cubicBezTo>
                  <a:pt x="2056" y="16527"/>
                  <a:pt x="2173" y="16510"/>
                  <a:pt x="2164" y="16457"/>
                </a:cubicBezTo>
                <a:cubicBezTo>
                  <a:pt x="2155" y="16405"/>
                  <a:pt x="2191" y="16379"/>
                  <a:pt x="2262" y="16353"/>
                </a:cubicBezTo>
                <a:cubicBezTo>
                  <a:pt x="2334" y="16326"/>
                  <a:pt x="2406" y="16422"/>
                  <a:pt x="2460" y="16484"/>
                </a:cubicBezTo>
                <a:cubicBezTo>
                  <a:pt x="2513" y="16545"/>
                  <a:pt x="2576" y="16431"/>
                  <a:pt x="2630" y="16379"/>
                </a:cubicBezTo>
                <a:cubicBezTo>
                  <a:pt x="2684" y="16326"/>
                  <a:pt x="2764" y="16396"/>
                  <a:pt x="2836" y="16440"/>
                </a:cubicBezTo>
                <a:cubicBezTo>
                  <a:pt x="2908" y="16484"/>
                  <a:pt x="2997" y="16361"/>
                  <a:pt x="3051" y="16335"/>
                </a:cubicBezTo>
                <a:cubicBezTo>
                  <a:pt x="3105" y="16309"/>
                  <a:pt x="3132" y="16396"/>
                  <a:pt x="3177" y="16466"/>
                </a:cubicBezTo>
                <a:cubicBezTo>
                  <a:pt x="3221" y="16536"/>
                  <a:pt x="3365" y="16554"/>
                  <a:pt x="3419" y="16615"/>
                </a:cubicBezTo>
                <a:cubicBezTo>
                  <a:pt x="3472" y="16676"/>
                  <a:pt x="3481" y="16615"/>
                  <a:pt x="3544" y="16545"/>
                </a:cubicBezTo>
                <a:cubicBezTo>
                  <a:pt x="3607" y="16475"/>
                  <a:pt x="3607" y="16449"/>
                  <a:pt x="3598" y="16379"/>
                </a:cubicBezTo>
                <a:cubicBezTo>
                  <a:pt x="3589" y="16309"/>
                  <a:pt x="3652" y="16221"/>
                  <a:pt x="3652" y="16160"/>
                </a:cubicBezTo>
                <a:cubicBezTo>
                  <a:pt x="3652" y="16099"/>
                  <a:pt x="3741" y="16064"/>
                  <a:pt x="3849" y="15976"/>
                </a:cubicBezTo>
                <a:cubicBezTo>
                  <a:pt x="3956" y="15889"/>
                  <a:pt x="3992" y="15994"/>
                  <a:pt x="3992" y="16064"/>
                </a:cubicBezTo>
                <a:cubicBezTo>
                  <a:pt x="3992" y="16134"/>
                  <a:pt x="4046" y="16186"/>
                  <a:pt x="4144" y="16221"/>
                </a:cubicBezTo>
                <a:cubicBezTo>
                  <a:pt x="4243" y="16256"/>
                  <a:pt x="4306" y="16169"/>
                  <a:pt x="4378" y="16099"/>
                </a:cubicBezTo>
                <a:cubicBezTo>
                  <a:pt x="4449" y="16029"/>
                  <a:pt x="4700" y="16020"/>
                  <a:pt x="4754" y="16029"/>
                </a:cubicBezTo>
                <a:cubicBezTo>
                  <a:pt x="4808" y="16038"/>
                  <a:pt x="4835" y="16020"/>
                  <a:pt x="4844" y="15968"/>
                </a:cubicBezTo>
                <a:cubicBezTo>
                  <a:pt x="4853" y="15915"/>
                  <a:pt x="4951" y="15994"/>
                  <a:pt x="4987" y="16020"/>
                </a:cubicBezTo>
                <a:cubicBezTo>
                  <a:pt x="5023" y="16046"/>
                  <a:pt x="5050" y="15976"/>
                  <a:pt x="5059" y="15933"/>
                </a:cubicBezTo>
                <a:cubicBezTo>
                  <a:pt x="5068" y="15889"/>
                  <a:pt x="5157" y="15933"/>
                  <a:pt x="5211" y="15959"/>
                </a:cubicBezTo>
                <a:cubicBezTo>
                  <a:pt x="5265" y="15985"/>
                  <a:pt x="5292" y="15863"/>
                  <a:pt x="5381" y="15845"/>
                </a:cubicBezTo>
                <a:cubicBezTo>
                  <a:pt x="5471" y="15828"/>
                  <a:pt x="5498" y="15880"/>
                  <a:pt x="5543" y="15941"/>
                </a:cubicBezTo>
                <a:cubicBezTo>
                  <a:pt x="5587" y="16003"/>
                  <a:pt x="5623" y="15941"/>
                  <a:pt x="5713" y="15950"/>
                </a:cubicBezTo>
                <a:cubicBezTo>
                  <a:pt x="5803" y="15959"/>
                  <a:pt x="5740" y="15845"/>
                  <a:pt x="5758" y="15749"/>
                </a:cubicBezTo>
                <a:cubicBezTo>
                  <a:pt x="5776" y="15653"/>
                  <a:pt x="5829" y="15758"/>
                  <a:pt x="5910" y="15775"/>
                </a:cubicBezTo>
                <a:cubicBezTo>
                  <a:pt x="5991" y="15793"/>
                  <a:pt x="6036" y="15627"/>
                  <a:pt x="6107" y="15539"/>
                </a:cubicBezTo>
                <a:cubicBezTo>
                  <a:pt x="6179" y="15452"/>
                  <a:pt x="6188" y="15487"/>
                  <a:pt x="6251" y="15487"/>
                </a:cubicBezTo>
                <a:cubicBezTo>
                  <a:pt x="6313" y="15487"/>
                  <a:pt x="6529" y="15504"/>
                  <a:pt x="6627" y="15513"/>
                </a:cubicBezTo>
                <a:cubicBezTo>
                  <a:pt x="6726" y="15522"/>
                  <a:pt x="6860" y="15662"/>
                  <a:pt x="6932" y="15714"/>
                </a:cubicBezTo>
                <a:cubicBezTo>
                  <a:pt x="7004" y="15767"/>
                  <a:pt x="6887" y="15837"/>
                  <a:pt x="6788" y="15907"/>
                </a:cubicBezTo>
                <a:cubicBezTo>
                  <a:pt x="6690" y="15976"/>
                  <a:pt x="6645" y="16081"/>
                  <a:pt x="6573" y="16160"/>
                </a:cubicBezTo>
                <a:cubicBezTo>
                  <a:pt x="6502" y="16239"/>
                  <a:pt x="6582" y="16291"/>
                  <a:pt x="6645" y="16344"/>
                </a:cubicBezTo>
                <a:cubicBezTo>
                  <a:pt x="6708" y="16396"/>
                  <a:pt x="6788" y="16265"/>
                  <a:pt x="6860" y="16265"/>
                </a:cubicBezTo>
                <a:cubicBezTo>
                  <a:pt x="6932" y="16265"/>
                  <a:pt x="6851" y="16160"/>
                  <a:pt x="6824" y="16099"/>
                </a:cubicBezTo>
                <a:cubicBezTo>
                  <a:pt x="6797" y="16038"/>
                  <a:pt x="6923" y="15924"/>
                  <a:pt x="6977" y="15880"/>
                </a:cubicBezTo>
                <a:cubicBezTo>
                  <a:pt x="7030" y="15837"/>
                  <a:pt x="6995" y="15793"/>
                  <a:pt x="7013" y="15740"/>
                </a:cubicBezTo>
                <a:cubicBezTo>
                  <a:pt x="7030" y="15688"/>
                  <a:pt x="7084" y="15714"/>
                  <a:pt x="7165" y="15688"/>
                </a:cubicBezTo>
                <a:cubicBezTo>
                  <a:pt x="7246" y="15662"/>
                  <a:pt x="7407" y="15723"/>
                  <a:pt x="7479" y="15784"/>
                </a:cubicBezTo>
                <a:cubicBezTo>
                  <a:pt x="7550" y="15845"/>
                  <a:pt x="7389" y="15985"/>
                  <a:pt x="7308" y="16090"/>
                </a:cubicBezTo>
                <a:cubicBezTo>
                  <a:pt x="7228" y="16195"/>
                  <a:pt x="7147" y="16186"/>
                  <a:pt x="7066" y="16186"/>
                </a:cubicBezTo>
                <a:cubicBezTo>
                  <a:pt x="6986" y="16186"/>
                  <a:pt x="7093" y="16318"/>
                  <a:pt x="7138" y="16361"/>
                </a:cubicBezTo>
                <a:cubicBezTo>
                  <a:pt x="7183" y="16405"/>
                  <a:pt x="7156" y="16440"/>
                  <a:pt x="7111" y="16449"/>
                </a:cubicBezTo>
                <a:cubicBezTo>
                  <a:pt x="7066" y="16457"/>
                  <a:pt x="7039" y="16519"/>
                  <a:pt x="7102" y="16554"/>
                </a:cubicBezTo>
                <a:cubicBezTo>
                  <a:pt x="7165" y="16589"/>
                  <a:pt x="7102" y="16711"/>
                  <a:pt x="7120" y="16807"/>
                </a:cubicBezTo>
                <a:cubicBezTo>
                  <a:pt x="7138" y="16903"/>
                  <a:pt x="7228" y="16912"/>
                  <a:pt x="7335" y="17008"/>
                </a:cubicBezTo>
                <a:cubicBezTo>
                  <a:pt x="7443" y="17105"/>
                  <a:pt x="7398" y="17122"/>
                  <a:pt x="7425" y="17201"/>
                </a:cubicBezTo>
                <a:cubicBezTo>
                  <a:pt x="7452" y="17279"/>
                  <a:pt x="7479" y="17288"/>
                  <a:pt x="7559" y="17332"/>
                </a:cubicBezTo>
                <a:cubicBezTo>
                  <a:pt x="7640" y="17376"/>
                  <a:pt x="7774" y="17358"/>
                  <a:pt x="7873" y="17367"/>
                </a:cubicBezTo>
                <a:cubicBezTo>
                  <a:pt x="7972" y="17376"/>
                  <a:pt x="8070" y="17166"/>
                  <a:pt x="8115" y="17061"/>
                </a:cubicBezTo>
                <a:cubicBezTo>
                  <a:pt x="8160" y="16956"/>
                  <a:pt x="8321" y="16711"/>
                  <a:pt x="8402" y="16676"/>
                </a:cubicBezTo>
                <a:cubicBezTo>
                  <a:pt x="8482" y="16641"/>
                  <a:pt x="8402" y="16597"/>
                  <a:pt x="8366" y="16571"/>
                </a:cubicBezTo>
                <a:cubicBezTo>
                  <a:pt x="8330" y="16545"/>
                  <a:pt x="8411" y="16510"/>
                  <a:pt x="8456" y="16440"/>
                </a:cubicBezTo>
                <a:cubicBezTo>
                  <a:pt x="8500" y="16370"/>
                  <a:pt x="8563" y="16387"/>
                  <a:pt x="8644" y="16353"/>
                </a:cubicBezTo>
                <a:cubicBezTo>
                  <a:pt x="8724" y="16318"/>
                  <a:pt x="8733" y="16274"/>
                  <a:pt x="8805" y="16274"/>
                </a:cubicBezTo>
                <a:cubicBezTo>
                  <a:pt x="8877" y="16274"/>
                  <a:pt x="8886" y="16239"/>
                  <a:pt x="8913" y="16204"/>
                </a:cubicBezTo>
                <a:cubicBezTo>
                  <a:pt x="8940" y="16169"/>
                  <a:pt x="8966" y="16178"/>
                  <a:pt x="8984" y="16213"/>
                </a:cubicBezTo>
                <a:cubicBezTo>
                  <a:pt x="9002" y="16248"/>
                  <a:pt x="9038" y="16248"/>
                  <a:pt x="9119" y="16248"/>
                </a:cubicBezTo>
                <a:cubicBezTo>
                  <a:pt x="9199" y="16248"/>
                  <a:pt x="9164" y="16160"/>
                  <a:pt x="9199" y="16099"/>
                </a:cubicBezTo>
                <a:cubicBezTo>
                  <a:pt x="9235" y="16038"/>
                  <a:pt x="9092" y="15994"/>
                  <a:pt x="9020" y="15976"/>
                </a:cubicBezTo>
                <a:cubicBezTo>
                  <a:pt x="8948" y="15959"/>
                  <a:pt x="8940" y="15941"/>
                  <a:pt x="8895" y="15872"/>
                </a:cubicBezTo>
                <a:cubicBezTo>
                  <a:pt x="8850" y="15802"/>
                  <a:pt x="8760" y="15784"/>
                  <a:pt x="8680" y="15775"/>
                </a:cubicBezTo>
                <a:cubicBezTo>
                  <a:pt x="8599" y="15767"/>
                  <a:pt x="8751" y="15592"/>
                  <a:pt x="8841" y="15539"/>
                </a:cubicBezTo>
                <a:cubicBezTo>
                  <a:pt x="8931" y="15487"/>
                  <a:pt x="8913" y="15408"/>
                  <a:pt x="8913" y="15329"/>
                </a:cubicBezTo>
                <a:cubicBezTo>
                  <a:pt x="8913" y="15251"/>
                  <a:pt x="9020" y="15216"/>
                  <a:pt x="9056" y="15172"/>
                </a:cubicBezTo>
                <a:cubicBezTo>
                  <a:pt x="9092" y="15128"/>
                  <a:pt x="9190" y="15198"/>
                  <a:pt x="9155" y="15268"/>
                </a:cubicBezTo>
                <a:cubicBezTo>
                  <a:pt x="9119" y="15338"/>
                  <a:pt x="9146" y="15399"/>
                  <a:pt x="9155" y="15478"/>
                </a:cubicBezTo>
                <a:cubicBezTo>
                  <a:pt x="9164" y="15557"/>
                  <a:pt x="9182" y="15644"/>
                  <a:pt x="9244" y="15679"/>
                </a:cubicBezTo>
                <a:cubicBezTo>
                  <a:pt x="9307" y="15714"/>
                  <a:pt x="9298" y="15644"/>
                  <a:pt x="9244" y="15618"/>
                </a:cubicBezTo>
                <a:cubicBezTo>
                  <a:pt x="9190" y="15592"/>
                  <a:pt x="9235" y="15530"/>
                  <a:pt x="9262" y="15443"/>
                </a:cubicBezTo>
                <a:cubicBezTo>
                  <a:pt x="9289" y="15356"/>
                  <a:pt x="9325" y="15461"/>
                  <a:pt x="9325" y="15513"/>
                </a:cubicBezTo>
                <a:cubicBezTo>
                  <a:pt x="9325" y="15565"/>
                  <a:pt x="9370" y="15583"/>
                  <a:pt x="9522" y="15557"/>
                </a:cubicBezTo>
                <a:cubicBezTo>
                  <a:pt x="9674" y="15530"/>
                  <a:pt x="9728" y="15609"/>
                  <a:pt x="9728" y="15662"/>
                </a:cubicBezTo>
                <a:cubicBezTo>
                  <a:pt x="9728" y="15714"/>
                  <a:pt x="9603" y="15723"/>
                  <a:pt x="9415" y="15784"/>
                </a:cubicBezTo>
                <a:cubicBezTo>
                  <a:pt x="9226" y="15845"/>
                  <a:pt x="9639" y="15793"/>
                  <a:pt x="9728" y="15767"/>
                </a:cubicBezTo>
                <a:cubicBezTo>
                  <a:pt x="9818" y="15740"/>
                  <a:pt x="9836" y="15767"/>
                  <a:pt x="9925" y="15688"/>
                </a:cubicBezTo>
                <a:cubicBezTo>
                  <a:pt x="10015" y="15609"/>
                  <a:pt x="9961" y="15583"/>
                  <a:pt x="10042" y="15574"/>
                </a:cubicBezTo>
                <a:cubicBezTo>
                  <a:pt x="10123" y="15565"/>
                  <a:pt x="10078" y="15662"/>
                  <a:pt x="10069" y="15723"/>
                </a:cubicBezTo>
                <a:cubicBezTo>
                  <a:pt x="10060" y="15784"/>
                  <a:pt x="10230" y="15784"/>
                  <a:pt x="10338" y="15749"/>
                </a:cubicBezTo>
                <a:cubicBezTo>
                  <a:pt x="10445" y="15714"/>
                  <a:pt x="10633" y="15732"/>
                  <a:pt x="10678" y="15793"/>
                </a:cubicBezTo>
                <a:cubicBezTo>
                  <a:pt x="10723" y="15854"/>
                  <a:pt x="10804" y="15714"/>
                  <a:pt x="10813" y="15653"/>
                </a:cubicBezTo>
                <a:cubicBezTo>
                  <a:pt x="10822" y="15592"/>
                  <a:pt x="10929" y="15408"/>
                  <a:pt x="10974" y="15373"/>
                </a:cubicBezTo>
                <a:cubicBezTo>
                  <a:pt x="11019" y="15338"/>
                  <a:pt x="11046" y="15259"/>
                  <a:pt x="11100" y="15189"/>
                </a:cubicBezTo>
                <a:cubicBezTo>
                  <a:pt x="11153" y="15119"/>
                  <a:pt x="11252" y="15146"/>
                  <a:pt x="11315" y="15111"/>
                </a:cubicBezTo>
                <a:cubicBezTo>
                  <a:pt x="11377" y="15076"/>
                  <a:pt x="11521" y="15146"/>
                  <a:pt x="11583" y="15198"/>
                </a:cubicBezTo>
                <a:cubicBezTo>
                  <a:pt x="11646" y="15251"/>
                  <a:pt x="11485" y="15286"/>
                  <a:pt x="11449" y="15321"/>
                </a:cubicBezTo>
                <a:cubicBezTo>
                  <a:pt x="11413" y="15356"/>
                  <a:pt x="11422" y="15408"/>
                  <a:pt x="11440" y="15461"/>
                </a:cubicBezTo>
                <a:cubicBezTo>
                  <a:pt x="11458" y="15513"/>
                  <a:pt x="11449" y="15574"/>
                  <a:pt x="11413" y="15635"/>
                </a:cubicBezTo>
                <a:cubicBezTo>
                  <a:pt x="11377" y="15697"/>
                  <a:pt x="11431" y="15767"/>
                  <a:pt x="11485" y="15819"/>
                </a:cubicBezTo>
                <a:cubicBezTo>
                  <a:pt x="11539" y="15872"/>
                  <a:pt x="11745" y="15565"/>
                  <a:pt x="11808" y="15487"/>
                </a:cubicBezTo>
                <a:cubicBezTo>
                  <a:pt x="11870" y="15408"/>
                  <a:pt x="11817" y="15294"/>
                  <a:pt x="11763" y="15242"/>
                </a:cubicBezTo>
                <a:cubicBezTo>
                  <a:pt x="11709" y="15189"/>
                  <a:pt x="11790" y="15119"/>
                  <a:pt x="11834" y="15084"/>
                </a:cubicBezTo>
                <a:cubicBezTo>
                  <a:pt x="11879" y="15050"/>
                  <a:pt x="11852" y="15023"/>
                  <a:pt x="11879" y="14971"/>
                </a:cubicBezTo>
                <a:cubicBezTo>
                  <a:pt x="11906" y="14918"/>
                  <a:pt x="12005" y="14918"/>
                  <a:pt x="12076" y="14910"/>
                </a:cubicBezTo>
                <a:cubicBezTo>
                  <a:pt x="12148" y="14901"/>
                  <a:pt x="12193" y="14840"/>
                  <a:pt x="12247" y="14857"/>
                </a:cubicBezTo>
                <a:cubicBezTo>
                  <a:pt x="12301" y="14875"/>
                  <a:pt x="12399" y="15006"/>
                  <a:pt x="12462" y="15050"/>
                </a:cubicBezTo>
                <a:cubicBezTo>
                  <a:pt x="12525" y="15093"/>
                  <a:pt x="12462" y="14945"/>
                  <a:pt x="12417" y="14918"/>
                </a:cubicBezTo>
                <a:cubicBezTo>
                  <a:pt x="12372" y="14892"/>
                  <a:pt x="12417" y="14735"/>
                  <a:pt x="12417" y="14691"/>
                </a:cubicBezTo>
                <a:cubicBezTo>
                  <a:pt x="12417" y="14647"/>
                  <a:pt x="12462" y="14595"/>
                  <a:pt x="12507" y="14577"/>
                </a:cubicBezTo>
                <a:cubicBezTo>
                  <a:pt x="12551" y="14560"/>
                  <a:pt x="12551" y="14455"/>
                  <a:pt x="12569" y="14385"/>
                </a:cubicBezTo>
                <a:cubicBezTo>
                  <a:pt x="12587" y="14315"/>
                  <a:pt x="12847" y="14341"/>
                  <a:pt x="12874" y="14359"/>
                </a:cubicBezTo>
                <a:cubicBezTo>
                  <a:pt x="12901" y="14376"/>
                  <a:pt x="12937" y="14367"/>
                  <a:pt x="13018" y="14402"/>
                </a:cubicBezTo>
                <a:cubicBezTo>
                  <a:pt x="13098" y="14437"/>
                  <a:pt x="12874" y="14569"/>
                  <a:pt x="12820" y="14612"/>
                </a:cubicBezTo>
                <a:cubicBezTo>
                  <a:pt x="12767" y="14656"/>
                  <a:pt x="12767" y="14700"/>
                  <a:pt x="12767" y="14752"/>
                </a:cubicBezTo>
                <a:cubicBezTo>
                  <a:pt x="12767" y="14805"/>
                  <a:pt x="12731" y="14831"/>
                  <a:pt x="12686" y="14910"/>
                </a:cubicBezTo>
                <a:cubicBezTo>
                  <a:pt x="12641" y="14988"/>
                  <a:pt x="12650" y="15084"/>
                  <a:pt x="12659" y="15154"/>
                </a:cubicBezTo>
                <a:cubicBezTo>
                  <a:pt x="12668" y="15224"/>
                  <a:pt x="12704" y="15233"/>
                  <a:pt x="12650" y="15321"/>
                </a:cubicBezTo>
                <a:cubicBezTo>
                  <a:pt x="12596" y="15408"/>
                  <a:pt x="12668" y="15399"/>
                  <a:pt x="12731" y="15417"/>
                </a:cubicBezTo>
                <a:cubicBezTo>
                  <a:pt x="12793" y="15434"/>
                  <a:pt x="12811" y="15321"/>
                  <a:pt x="12856" y="15224"/>
                </a:cubicBezTo>
                <a:cubicBezTo>
                  <a:pt x="12901" y="15128"/>
                  <a:pt x="13080" y="15084"/>
                  <a:pt x="13215" y="15050"/>
                </a:cubicBezTo>
                <a:cubicBezTo>
                  <a:pt x="13349" y="15015"/>
                  <a:pt x="13295" y="14682"/>
                  <a:pt x="13286" y="14630"/>
                </a:cubicBezTo>
                <a:cubicBezTo>
                  <a:pt x="13277" y="14577"/>
                  <a:pt x="13313" y="14542"/>
                  <a:pt x="13358" y="14560"/>
                </a:cubicBezTo>
                <a:cubicBezTo>
                  <a:pt x="13403" y="14577"/>
                  <a:pt x="13421" y="14420"/>
                  <a:pt x="13475" y="14350"/>
                </a:cubicBezTo>
                <a:cubicBezTo>
                  <a:pt x="13528" y="14280"/>
                  <a:pt x="13618" y="14271"/>
                  <a:pt x="13770" y="14262"/>
                </a:cubicBezTo>
                <a:cubicBezTo>
                  <a:pt x="13923" y="14254"/>
                  <a:pt x="13663" y="14053"/>
                  <a:pt x="13636" y="13974"/>
                </a:cubicBezTo>
                <a:cubicBezTo>
                  <a:pt x="13609" y="13895"/>
                  <a:pt x="13537" y="13738"/>
                  <a:pt x="13475" y="13650"/>
                </a:cubicBezTo>
                <a:cubicBezTo>
                  <a:pt x="13412" y="13563"/>
                  <a:pt x="13457" y="13475"/>
                  <a:pt x="13502" y="13423"/>
                </a:cubicBezTo>
                <a:cubicBezTo>
                  <a:pt x="13546" y="13370"/>
                  <a:pt x="13502" y="13266"/>
                  <a:pt x="13502" y="13196"/>
                </a:cubicBezTo>
                <a:cubicBezTo>
                  <a:pt x="13502" y="13126"/>
                  <a:pt x="13537" y="13082"/>
                  <a:pt x="13591" y="13038"/>
                </a:cubicBezTo>
                <a:cubicBezTo>
                  <a:pt x="13645" y="12994"/>
                  <a:pt x="13654" y="12802"/>
                  <a:pt x="13690" y="12697"/>
                </a:cubicBezTo>
                <a:cubicBezTo>
                  <a:pt x="13726" y="12592"/>
                  <a:pt x="13752" y="12566"/>
                  <a:pt x="13842" y="12540"/>
                </a:cubicBezTo>
                <a:cubicBezTo>
                  <a:pt x="13932" y="12513"/>
                  <a:pt x="13905" y="11700"/>
                  <a:pt x="13914" y="11613"/>
                </a:cubicBezTo>
                <a:cubicBezTo>
                  <a:pt x="13923" y="11525"/>
                  <a:pt x="13896" y="11385"/>
                  <a:pt x="13860" y="11315"/>
                </a:cubicBezTo>
                <a:cubicBezTo>
                  <a:pt x="13824" y="11245"/>
                  <a:pt x="13797" y="11097"/>
                  <a:pt x="13788" y="10974"/>
                </a:cubicBezTo>
                <a:cubicBezTo>
                  <a:pt x="13779" y="10852"/>
                  <a:pt x="13851" y="10773"/>
                  <a:pt x="13896" y="10730"/>
                </a:cubicBezTo>
                <a:cubicBezTo>
                  <a:pt x="13941" y="10686"/>
                  <a:pt x="13950" y="10528"/>
                  <a:pt x="13977" y="10485"/>
                </a:cubicBezTo>
                <a:cubicBezTo>
                  <a:pt x="14003" y="10441"/>
                  <a:pt x="14066" y="10493"/>
                  <a:pt x="14138" y="10511"/>
                </a:cubicBezTo>
                <a:cubicBezTo>
                  <a:pt x="14210" y="10528"/>
                  <a:pt x="14245" y="10467"/>
                  <a:pt x="14290" y="10511"/>
                </a:cubicBezTo>
                <a:cubicBezTo>
                  <a:pt x="14335" y="10555"/>
                  <a:pt x="14353" y="10581"/>
                  <a:pt x="14425" y="10581"/>
                </a:cubicBezTo>
                <a:cubicBezTo>
                  <a:pt x="14496" y="10581"/>
                  <a:pt x="14496" y="10336"/>
                  <a:pt x="14389" y="10257"/>
                </a:cubicBezTo>
                <a:cubicBezTo>
                  <a:pt x="14281" y="10179"/>
                  <a:pt x="14353" y="10135"/>
                  <a:pt x="14425" y="10109"/>
                </a:cubicBezTo>
                <a:cubicBezTo>
                  <a:pt x="14496" y="10082"/>
                  <a:pt x="14469" y="10047"/>
                  <a:pt x="14434" y="10021"/>
                </a:cubicBezTo>
                <a:cubicBezTo>
                  <a:pt x="14398" y="9995"/>
                  <a:pt x="14443" y="9942"/>
                  <a:pt x="14496" y="9899"/>
                </a:cubicBezTo>
                <a:cubicBezTo>
                  <a:pt x="14550" y="9855"/>
                  <a:pt x="14577" y="9785"/>
                  <a:pt x="14541" y="9680"/>
                </a:cubicBezTo>
                <a:cubicBezTo>
                  <a:pt x="14505" y="9575"/>
                  <a:pt x="14676" y="9610"/>
                  <a:pt x="14729" y="9601"/>
                </a:cubicBezTo>
                <a:cubicBezTo>
                  <a:pt x="14783" y="9593"/>
                  <a:pt x="14864" y="9330"/>
                  <a:pt x="14837" y="9269"/>
                </a:cubicBezTo>
                <a:cubicBezTo>
                  <a:pt x="14810" y="9208"/>
                  <a:pt x="14792" y="9147"/>
                  <a:pt x="14846" y="9173"/>
                </a:cubicBezTo>
                <a:cubicBezTo>
                  <a:pt x="14900" y="9199"/>
                  <a:pt x="14891" y="9138"/>
                  <a:pt x="14891" y="9059"/>
                </a:cubicBezTo>
                <a:cubicBezTo>
                  <a:pt x="14891" y="8981"/>
                  <a:pt x="14900" y="8972"/>
                  <a:pt x="14953" y="8928"/>
                </a:cubicBezTo>
                <a:cubicBezTo>
                  <a:pt x="15007" y="8884"/>
                  <a:pt x="14927" y="8788"/>
                  <a:pt x="14873" y="8797"/>
                </a:cubicBezTo>
                <a:close/>
                <a:moveTo>
                  <a:pt x="13914" y="1101"/>
                </a:moveTo>
                <a:cubicBezTo>
                  <a:pt x="13959" y="1040"/>
                  <a:pt x="13905" y="996"/>
                  <a:pt x="13860" y="988"/>
                </a:cubicBezTo>
                <a:cubicBezTo>
                  <a:pt x="13815" y="979"/>
                  <a:pt x="13770" y="926"/>
                  <a:pt x="13770" y="926"/>
                </a:cubicBezTo>
                <a:cubicBezTo>
                  <a:pt x="13681" y="953"/>
                  <a:pt x="13726" y="1058"/>
                  <a:pt x="13779" y="1128"/>
                </a:cubicBezTo>
                <a:cubicBezTo>
                  <a:pt x="13833" y="1198"/>
                  <a:pt x="13869" y="1163"/>
                  <a:pt x="13914" y="1101"/>
                </a:cubicBezTo>
                <a:close/>
                <a:moveTo>
                  <a:pt x="19596" y="2570"/>
                </a:moveTo>
                <a:cubicBezTo>
                  <a:pt x="19542" y="2614"/>
                  <a:pt x="19498" y="2632"/>
                  <a:pt x="19498" y="2632"/>
                </a:cubicBezTo>
                <a:cubicBezTo>
                  <a:pt x="19372" y="2658"/>
                  <a:pt x="19453" y="2702"/>
                  <a:pt x="19480" y="2754"/>
                </a:cubicBezTo>
                <a:cubicBezTo>
                  <a:pt x="19507" y="2807"/>
                  <a:pt x="19650" y="2684"/>
                  <a:pt x="19713" y="2614"/>
                </a:cubicBezTo>
                <a:cubicBezTo>
                  <a:pt x="19775" y="2544"/>
                  <a:pt x="19650" y="2527"/>
                  <a:pt x="19596" y="2570"/>
                </a:cubicBezTo>
                <a:close/>
                <a:moveTo>
                  <a:pt x="18583" y="3305"/>
                </a:moveTo>
                <a:cubicBezTo>
                  <a:pt x="18530" y="3305"/>
                  <a:pt x="18458" y="3340"/>
                  <a:pt x="18413" y="3393"/>
                </a:cubicBezTo>
                <a:cubicBezTo>
                  <a:pt x="18368" y="3445"/>
                  <a:pt x="18359" y="3524"/>
                  <a:pt x="18216" y="3524"/>
                </a:cubicBezTo>
                <a:cubicBezTo>
                  <a:pt x="18072" y="3524"/>
                  <a:pt x="18090" y="3506"/>
                  <a:pt x="18090" y="3331"/>
                </a:cubicBezTo>
                <a:cubicBezTo>
                  <a:pt x="18090" y="3156"/>
                  <a:pt x="17884" y="2938"/>
                  <a:pt x="17848" y="2807"/>
                </a:cubicBezTo>
                <a:cubicBezTo>
                  <a:pt x="17813" y="2675"/>
                  <a:pt x="18001" y="2343"/>
                  <a:pt x="18046" y="2273"/>
                </a:cubicBezTo>
                <a:cubicBezTo>
                  <a:pt x="18090" y="2203"/>
                  <a:pt x="18072" y="2098"/>
                  <a:pt x="18055" y="2055"/>
                </a:cubicBezTo>
                <a:cubicBezTo>
                  <a:pt x="18037" y="2011"/>
                  <a:pt x="18019" y="2090"/>
                  <a:pt x="17956" y="2186"/>
                </a:cubicBezTo>
                <a:cubicBezTo>
                  <a:pt x="17893" y="2282"/>
                  <a:pt x="17651" y="2518"/>
                  <a:pt x="17571" y="2623"/>
                </a:cubicBezTo>
                <a:cubicBezTo>
                  <a:pt x="17490" y="2728"/>
                  <a:pt x="17167" y="2649"/>
                  <a:pt x="17078" y="2649"/>
                </a:cubicBezTo>
                <a:cubicBezTo>
                  <a:pt x="16988" y="2649"/>
                  <a:pt x="16979" y="2474"/>
                  <a:pt x="16943" y="2431"/>
                </a:cubicBezTo>
                <a:cubicBezTo>
                  <a:pt x="16907" y="2387"/>
                  <a:pt x="16898" y="2474"/>
                  <a:pt x="16925" y="2570"/>
                </a:cubicBezTo>
                <a:cubicBezTo>
                  <a:pt x="16952" y="2667"/>
                  <a:pt x="16934" y="2658"/>
                  <a:pt x="16871" y="2632"/>
                </a:cubicBezTo>
                <a:cubicBezTo>
                  <a:pt x="16809" y="2605"/>
                  <a:pt x="16827" y="2544"/>
                  <a:pt x="16818" y="2457"/>
                </a:cubicBezTo>
                <a:cubicBezTo>
                  <a:pt x="16809" y="2369"/>
                  <a:pt x="16728" y="2404"/>
                  <a:pt x="16692" y="2448"/>
                </a:cubicBezTo>
                <a:cubicBezTo>
                  <a:pt x="16656" y="2492"/>
                  <a:pt x="16594" y="2466"/>
                  <a:pt x="16522" y="2466"/>
                </a:cubicBezTo>
                <a:cubicBezTo>
                  <a:pt x="16450" y="2466"/>
                  <a:pt x="16414" y="2431"/>
                  <a:pt x="16378" y="2352"/>
                </a:cubicBezTo>
                <a:cubicBezTo>
                  <a:pt x="16343" y="2273"/>
                  <a:pt x="16298" y="2282"/>
                  <a:pt x="16190" y="2247"/>
                </a:cubicBezTo>
                <a:cubicBezTo>
                  <a:pt x="16083" y="2212"/>
                  <a:pt x="15868" y="2002"/>
                  <a:pt x="15796" y="1958"/>
                </a:cubicBezTo>
                <a:cubicBezTo>
                  <a:pt x="15724" y="1915"/>
                  <a:pt x="15617" y="1862"/>
                  <a:pt x="15581" y="1810"/>
                </a:cubicBezTo>
                <a:cubicBezTo>
                  <a:pt x="15545" y="1757"/>
                  <a:pt x="15491" y="1713"/>
                  <a:pt x="15393" y="1670"/>
                </a:cubicBezTo>
                <a:cubicBezTo>
                  <a:pt x="15294" y="1626"/>
                  <a:pt x="15195" y="1372"/>
                  <a:pt x="15151" y="1250"/>
                </a:cubicBezTo>
                <a:cubicBezTo>
                  <a:pt x="15106" y="1128"/>
                  <a:pt x="14667" y="743"/>
                  <a:pt x="14667" y="743"/>
                </a:cubicBezTo>
                <a:cubicBezTo>
                  <a:pt x="14667" y="743"/>
                  <a:pt x="14568" y="655"/>
                  <a:pt x="14532" y="585"/>
                </a:cubicBezTo>
                <a:cubicBezTo>
                  <a:pt x="14496" y="515"/>
                  <a:pt x="14452" y="638"/>
                  <a:pt x="14389" y="708"/>
                </a:cubicBezTo>
                <a:cubicBezTo>
                  <a:pt x="14326" y="778"/>
                  <a:pt x="14308" y="734"/>
                  <a:pt x="14254" y="690"/>
                </a:cubicBezTo>
                <a:cubicBezTo>
                  <a:pt x="14201" y="647"/>
                  <a:pt x="14218" y="821"/>
                  <a:pt x="14192" y="891"/>
                </a:cubicBezTo>
                <a:cubicBezTo>
                  <a:pt x="14165" y="961"/>
                  <a:pt x="14138" y="1014"/>
                  <a:pt x="14227" y="1171"/>
                </a:cubicBezTo>
                <a:cubicBezTo>
                  <a:pt x="14317" y="1329"/>
                  <a:pt x="14389" y="1530"/>
                  <a:pt x="14416" y="1679"/>
                </a:cubicBezTo>
                <a:cubicBezTo>
                  <a:pt x="14443" y="1827"/>
                  <a:pt x="14371" y="2133"/>
                  <a:pt x="14308" y="2238"/>
                </a:cubicBezTo>
                <a:cubicBezTo>
                  <a:pt x="14245" y="2343"/>
                  <a:pt x="14326" y="2448"/>
                  <a:pt x="14335" y="2605"/>
                </a:cubicBezTo>
                <a:cubicBezTo>
                  <a:pt x="14344" y="2763"/>
                  <a:pt x="14192" y="2912"/>
                  <a:pt x="14147" y="2929"/>
                </a:cubicBezTo>
                <a:cubicBezTo>
                  <a:pt x="14102" y="2947"/>
                  <a:pt x="14057" y="2973"/>
                  <a:pt x="14021" y="3078"/>
                </a:cubicBezTo>
                <a:cubicBezTo>
                  <a:pt x="13985" y="3183"/>
                  <a:pt x="14084" y="3427"/>
                  <a:pt x="14111" y="3506"/>
                </a:cubicBezTo>
                <a:cubicBezTo>
                  <a:pt x="14138" y="3585"/>
                  <a:pt x="14093" y="3681"/>
                  <a:pt x="13994" y="3804"/>
                </a:cubicBezTo>
                <a:cubicBezTo>
                  <a:pt x="13896" y="3926"/>
                  <a:pt x="13735" y="3873"/>
                  <a:pt x="13672" y="3839"/>
                </a:cubicBezTo>
                <a:cubicBezTo>
                  <a:pt x="13609" y="3804"/>
                  <a:pt x="13537" y="3795"/>
                  <a:pt x="13466" y="3830"/>
                </a:cubicBezTo>
                <a:cubicBezTo>
                  <a:pt x="13394" y="3865"/>
                  <a:pt x="13224" y="3690"/>
                  <a:pt x="13170" y="3646"/>
                </a:cubicBezTo>
                <a:cubicBezTo>
                  <a:pt x="13116" y="3602"/>
                  <a:pt x="13026" y="3672"/>
                  <a:pt x="12964" y="3734"/>
                </a:cubicBezTo>
                <a:cubicBezTo>
                  <a:pt x="12901" y="3795"/>
                  <a:pt x="13125" y="3987"/>
                  <a:pt x="13161" y="4048"/>
                </a:cubicBezTo>
                <a:cubicBezTo>
                  <a:pt x="13197" y="4110"/>
                  <a:pt x="13107" y="4171"/>
                  <a:pt x="13062" y="4197"/>
                </a:cubicBezTo>
                <a:cubicBezTo>
                  <a:pt x="13018" y="4223"/>
                  <a:pt x="13018" y="4328"/>
                  <a:pt x="13009" y="4398"/>
                </a:cubicBezTo>
                <a:cubicBezTo>
                  <a:pt x="13000" y="4468"/>
                  <a:pt x="12865" y="4459"/>
                  <a:pt x="12856" y="4407"/>
                </a:cubicBezTo>
                <a:cubicBezTo>
                  <a:pt x="12847" y="4354"/>
                  <a:pt x="12776" y="4424"/>
                  <a:pt x="12731" y="4486"/>
                </a:cubicBezTo>
                <a:cubicBezTo>
                  <a:pt x="12686" y="4547"/>
                  <a:pt x="12614" y="4573"/>
                  <a:pt x="12525" y="4599"/>
                </a:cubicBezTo>
                <a:cubicBezTo>
                  <a:pt x="12435" y="4626"/>
                  <a:pt x="12453" y="4713"/>
                  <a:pt x="12471" y="4809"/>
                </a:cubicBezTo>
                <a:cubicBezTo>
                  <a:pt x="12489" y="4905"/>
                  <a:pt x="12453" y="5019"/>
                  <a:pt x="12399" y="5098"/>
                </a:cubicBezTo>
                <a:cubicBezTo>
                  <a:pt x="12345" y="5176"/>
                  <a:pt x="12560" y="5299"/>
                  <a:pt x="12641" y="5325"/>
                </a:cubicBezTo>
                <a:cubicBezTo>
                  <a:pt x="12722" y="5351"/>
                  <a:pt x="12740" y="5448"/>
                  <a:pt x="12793" y="5535"/>
                </a:cubicBezTo>
                <a:cubicBezTo>
                  <a:pt x="12847" y="5622"/>
                  <a:pt x="12793" y="5797"/>
                  <a:pt x="12740" y="5859"/>
                </a:cubicBezTo>
                <a:cubicBezTo>
                  <a:pt x="12686" y="5920"/>
                  <a:pt x="12668" y="6007"/>
                  <a:pt x="12641" y="6112"/>
                </a:cubicBezTo>
                <a:cubicBezTo>
                  <a:pt x="12614" y="6217"/>
                  <a:pt x="12758" y="6296"/>
                  <a:pt x="12820" y="6322"/>
                </a:cubicBezTo>
                <a:cubicBezTo>
                  <a:pt x="12883" y="6348"/>
                  <a:pt x="12874" y="6313"/>
                  <a:pt x="12901" y="6261"/>
                </a:cubicBezTo>
                <a:cubicBezTo>
                  <a:pt x="12928" y="6208"/>
                  <a:pt x="13018" y="6200"/>
                  <a:pt x="13089" y="6165"/>
                </a:cubicBezTo>
                <a:cubicBezTo>
                  <a:pt x="13161" y="6130"/>
                  <a:pt x="13134" y="6095"/>
                  <a:pt x="13116" y="6042"/>
                </a:cubicBezTo>
                <a:cubicBezTo>
                  <a:pt x="13098" y="5990"/>
                  <a:pt x="13134" y="5937"/>
                  <a:pt x="13197" y="5937"/>
                </a:cubicBezTo>
                <a:cubicBezTo>
                  <a:pt x="13260" y="5937"/>
                  <a:pt x="13295" y="5885"/>
                  <a:pt x="13322" y="5806"/>
                </a:cubicBezTo>
                <a:cubicBezTo>
                  <a:pt x="13349" y="5727"/>
                  <a:pt x="13403" y="5754"/>
                  <a:pt x="13421" y="5797"/>
                </a:cubicBezTo>
                <a:cubicBezTo>
                  <a:pt x="13439" y="5841"/>
                  <a:pt x="13475" y="5824"/>
                  <a:pt x="13510" y="5824"/>
                </a:cubicBezTo>
                <a:cubicBezTo>
                  <a:pt x="13546" y="5824"/>
                  <a:pt x="13609" y="5832"/>
                  <a:pt x="13654" y="5885"/>
                </a:cubicBezTo>
                <a:cubicBezTo>
                  <a:pt x="13699" y="5937"/>
                  <a:pt x="13842" y="5797"/>
                  <a:pt x="13896" y="5771"/>
                </a:cubicBezTo>
                <a:cubicBezTo>
                  <a:pt x="13950" y="5745"/>
                  <a:pt x="13797" y="5675"/>
                  <a:pt x="13690" y="5640"/>
                </a:cubicBezTo>
                <a:cubicBezTo>
                  <a:pt x="13582" y="5605"/>
                  <a:pt x="13510" y="5509"/>
                  <a:pt x="13457" y="5430"/>
                </a:cubicBezTo>
                <a:cubicBezTo>
                  <a:pt x="13403" y="5351"/>
                  <a:pt x="13376" y="5343"/>
                  <a:pt x="13286" y="5360"/>
                </a:cubicBezTo>
                <a:cubicBezTo>
                  <a:pt x="13197" y="5378"/>
                  <a:pt x="13161" y="5334"/>
                  <a:pt x="13098" y="5264"/>
                </a:cubicBezTo>
                <a:cubicBezTo>
                  <a:pt x="13035" y="5194"/>
                  <a:pt x="13009" y="5168"/>
                  <a:pt x="12955" y="5159"/>
                </a:cubicBezTo>
                <a:cubicBezTo>
                  <a:pt x="12901" y="5150"/>
                  <a:pt x="12937" y="5063"/>
                  <a:pt x="13000" y="4870"/>
                </a:cubicBezTo>
                <a:cubicBezTo>
                  <a:pt x="13062" y="4678"/>
                  <a:pt x="13188" y="4713"/>
                  <a:pt x="13340" y="4713"/>
                </a:cubicBezTo>
                <a:cubicBezTo>
                  <a:pt x="13493" y="4713"/>
                  <a:pt x="13627" y="4958"/>
                  <a:pt x="13663" y="5037"/>
                </a:cubicBezTo>
                <a:cubicBezTo>
                  <a:pt x="13699" y="5115"/>
                  <a:pt x="13743" y="5037"/>
                  <a:pt x="13806" y="4940"/>
                </a:cubicBezTo>
                <a:cubicBezTo>
                  <a:pt x="13869" y="4844"/>
                  <a:pt x="14057" y="4704"/>
                  <a:pt x="14263" y="4617"/>
                </a:cubicBezTo>
                <a:cubicBezTo>
                  <a:pt x="14469" y="4529"/>
                  <a:pt x="14676" y="4652"/>
                  <a:pt x="14729" y="4731"/>
                </a:cubicBezTo>
                <a:cubicBezTo>
                  <a:pt x="14783" y="4809"/>
                  <a:pt x="14837" y="4809"/>
                  <a:pt x="14918" y="4827"/>
                </a:cubicBezTo>
                <a:cubicBezTo>
                  <a:pt x="14998" y="4844"/>
                  <a:pt x="15034" y="4888"/>
                  <a:pt x="15169" y="5010"/>
                </a:cubicBezTo>
                <a:cubicBezTo>
                  <a:pt x="15303" y="5133"/>
                  <a:pt x="15715" y="5246"/>
                  <a:pt x="15814" y="5273"/>
                </a:cubicBezTo>
                <a:cubicBezTo>
                  <a:pt x="15912" y="5299"/>
                  <a:pt x="16011" y="5421"/>
                  <a:pt x="16047" y="5456"/>
                </a:cubicBezTo>
                <a:cubicBezTo>
                  <a:pt x="16083" y="5491"/>
                  <a:pt x="16092" y="5421"/>
                  <a:pt x="16145" y="5334"/>
                </a:cubicBezTo>
                <a:cubicBezTo>
                  <a:pt x="16199" y="5246"/>
                  <a:pt x="16163" y="5176"/>
                  <a:pt x="16154" y="5080"/>
                </a:cubicBezTo>
                <a:cubicBezTo>
                  <a:pt x="16145" y="4984"/>
                  <a:pt x="16217" y="4800"/>
                  <a:pt x="16352" y="4582"/>
                </a:cubicBezTo>
                <a:cubicBezTo>
                  <a:pt x="16486" y="4363"/>
                  <a:pt x="16854" y="4057"/>
                  <a:pt x="16988" y="3970"/>
                </a:cubicBezTo>
                <a:cubicBezTo>
                  <a:pt x="17122" y="3882"/>
                  <a:pt x="17221" y="3952"/>
                  <a:pt x="17248" y="3996"/>
                </a:cubicBezTo>
                <a:cubicBezTo>
                  <a:pt x="17275" y="4040"/>
                  <a:pt x="17409" y="4005"/>
                  <a:pt x="17481" y="4013"/>
                </a:cubicBezTo>
                <a:cubicBezTo>
                  <a:pt x="17553" y="4022"/>
                  <a:pt x="17579" y="3978"/>
                  <a:pt x="17615" y="3856"/>
                </a:cubicBezTo>
                <a:cubicBezTo>
                  <a:pt x="17651" y="3734"/>
                  <a:pt x="17759" y="3839"/>
                  <a:pt x="17821" y="3891"/>
                </a:cubicBezTo>
                <a:cubicBezTo>
                  <a:pt x="17884" y="3943"/>
                  <a:pt x="17938" y="3760"/>
                  <a:pt x="17983" y="3699"/>
                </a:cubicBezTo>
                <a:cubicBezTo>
                  <a:pt x="18028" y="3637"/>
                  <a:pt x="18189" y="3611"/>
                  <a:pt x="18288" y="3611"/>
                </a:cubicBezTo>
                <a:cubicBezTo>
                  <a:pt x="18386" y="3611"/>
                  <a:pt x="18449" y="3462"/>
                  <a:pt x="18521" y="3393"/>
                </a:cubicBezTo>
                <a:cubicBezTo>
                  <a:pt x="18592" y="3323"/>
                  <a:pt x="18637" y="3305"/>
                  <a:pt x="18583" y="3305"/>
                </a:cubicBezTo>
                <a:close/>
                <a:moveTo>
                  <a:pt x="19005" y="1810"/>
                </a:moveTo>
                <a:cubicBezTo>
                  <a:pt x="18969" y="1792"/>
                  <a:pt x="18915" y="1731"/>
                  <a:pt x="18870" y="1722"/>
                </a:cubicBezTo>
                <a:cubicBezTo>
                  <a:pt x="18825" y="1713"/>
                  <a:pt x="18754" y="1880"/>
                  <a:pt x="18745" y="1993"/>
                </a:cubicBezTo>
                <a:cubicBezTo>
                  <a:pt x="18736" y="2107"/>
                  <a:pt x="18682" y="2098"/>
                  <a:pt x="18628" y="2159"/>
                </a:cubicBezTo>
                <a:cubicBezTo>
                  <a:pt x="18574" y="2221"/>
                  <a:pt x="18530" y="2273"/>
                  <a:pt x="18530" y="2369"/>
                </a:cubicBezTo>
                <a:cubicBezTo>
                  <a:pt x="18530" y="2466"/>
                  <a:pt x="18458" y="2457"/>
                  <a:pt x="18395" y="2527"/>
                </a:cubicBezTo>
                <a:cubicBezTo>
                  <a:pt x="18332" y="2597"/>
                  <a:pt x="18270" y="2623"/>
                  <a:pt x="18207" y="2675"/>
                </a:cubicBezTo>
                <a:cubicBezTo>
                  <a:pt x="18144" y="2728"/>
                  <a:pt x="18225" y="2824"/>
                  <a:pt x="18297" y="2859"/>
                </a:cubicBezTo>
                <a:cubicBezTo>
                  <a:pt x="18368" y="2894"/>
                  <a:pt x="18386" y="2780"/>
                  <a:pt x="18377" y="2710"/>
                </a:cubicBezTo>
                <a:cubicBezTo>
                  <a:pt x="18368" y="2640"/>
                  <a:pt x="18467" y="2597"/>
                  <a:pt x="18521" y="2579"/>
                </a:cubicBezTo>
                <a:cubicBezTo>
                  <a:pt x="18574" y="2562"/>
                  <a:pt x="18583" y="2466"/>
                  <a:pt x="18628" y="2422"/>
                </a:cubicBezTo>
                <a:cubicBezTo>
                  <a:pt x="18673" y="2378"/>
                  <a:pt x="18807" y="2142"/>
                  <a:pt x="18843" y="2116"/>
                </a:cubicBezTo>
                <a:cubicBezTo>
                  <a:pt x="18879" y="2090"/>
                  <a:pt x="18906" y="2055"/>
                  <a:pt x="18969" y="2055"/>
                </a:cubicBezTo>
                <a:cubicBezTo>
                  <a:pt x="19031" y="2055"/>
                  <a:pt x="19076" y="1976"/>
                  <a:pt x="19139" y="1906"/>
                </a:cubicBezTo>
                <a:cubicBezTo>
                  <a:pt x="19202" y="1836"/>
                  <a:pt x="19005" y="1810"/>
                  <a:pt x="19005" y="1810"/>
                </a:cubicBezTo>
                <a:close/>
                <a:moveTo>
                  <a:pt x="21469" y="69"/>
                </a:moveTo>
                <a:cubicBezTo>
                  <a:pt x="21505" y="-9"/>
                  <a:pt x="21460" y="-18"/>
                  <a:pt x="21308" y="26"/>
                </a:cubicBezTo>
                <a:cubicBezTo>
                  <a:pt x="21156" y="69"/>
                  <a:pt x="21183" y="139"/>
                  <a:pt x="21102" y="262"/>
                </a:cubicBezTo>
                <a:cubicBezTo>
                  <a:pt x="21021" y="384"/>
                  <a:pt x="20949" y="419"/>
                  <a:pt x="20833" y="498"/>
                </a:cubicBezTo>
                <a:cubicBezTo>
                  <a:pt x="20716" y="577"/>
                  <a:pt x="20645" y="419"/>
                  <a:pt x="20600" y="376"/>
                </a:cubicBezTo>
                <a:cubicBezTo>
                  <a:pt x="20555" y="332"/>
                  <a:pt x="20519" y="288"/>
                  <a:pt x="20492" y="332"/>
                </a:cubicBezTo>
                <a:cubicBezTo>
                  <a:pt x="20466" y="376"/>
                  <a:pt x="20537" y="480"/>
                  <a:pt x="20573" y="542"/>
                </a:cubicBezTo>
                <a:cubicBezTo>
                  <a:pt x="20609" y="603"/>
                  <a:pt x="20483" y="577"/>
                  <a:pt x="20403" y="603"/>
                </a:cubicBezTo>
                <a:cubicBezTo>
                  <a:pt x="20322" y="629"/>
                  <a:pt x="20385" y="664"/>
                  <a:pt x="20394" y="743"/>
                </a:cubicBezTo>
                <a:cubicBezTo>
                  <a:pt x="20403" y="821"/>
                  <a:pt x="20340" y="795"/>
                  <a:pt x="20268" y="795"/>
                </a:cubicBezTo>
                <a:cubicBezTo>
                  <a:pt x="20197" y="795"/>
                  <a:pt x="20188" y="830"/>
                  <a:pt x="20179" y="883"/>
                </a:cubicBezTo>
                <a:cubicBezTo>
                  <a:pt x="20170" y="935"/>
                  <a:pt x="20161" y="961"/>
                  <a:pt x="20107" y="979"/>
                </a:cubicBezTo>
                <a:cubicBezTo>
                  <a:pt x="20053" y="996"/>
                  <a:pt x="20044" y="1058"/>
                  <a:pt x="20017" y="1136"/>
                </a:cubicBezTo>
                <a:cubicBezTo>
                  <a:pt x="19990" y="1215"/>
                  <a:pt x="19964" y="1189"/>
                  <a:pt x="19874" y="1198"/>
                </a:cubicBezTo>
                <a:cubicBezTo>
                  <a:pt x="19784" y="1206"/>
                  <a:pt x="19919" y="1259"/>
                  <a:pt x="19937" y="1320"/>
                </a:cubicBezTo>
                <a:cubicBezTo>
                  <a:pt x="19955" y="1381"/>
                  <a:pt x="19892" y="1434"/>
                  <a:pt x="19784" y="1460"/>
                </a:cubicBezTo>
                <a:cubicBezTo>
                  <a:pt x="19677" y="1486"/>
                  <a:pt x="19677" y="1661"/>
                  <a:pt x="19677" y="1661"/>
                </a:cubicBezTo>
                <a:cubicBezTo>
                  <a:pt x="19623" y="1766"/>
                  <a:pt x="19740" y="1757"/>
                  <a:pt x="19784" y="1679"/>
                </a:cubicBezTo>
                <a:cubicBezTo>
                  <a:pt x="19829" y="1600"/>
                  <a:pt x="19883" y="1565"/>
                  <a:pt x="19928" y="1547"/>
                </a:cubicBezTo>
                <a:cubicBezTo>
                  <a:pt x="19973" y="1530"/>
                  <a:pt x="20026" y="1442"/>
                  <a:pt x="20026" y="1390"/>
                </a:cubicBezTo>
                <a:cubicBezTo>
                  <a:pt x="20026" y="1337"/>
                  <a:pt x="20143" y="1250"/>
                  <a:pt x="20188" y="1224"/>
                </a:cubicBezTo>
                <a:cubicBezTo>
                  <a:pt x="20232" y="1198"/>
                  <a:pt x="20313" y="1049"/>
                  <a:pt x="20322" y="944"/>
                </a:cubicBezTo>
                <a:cubicBezTo>
                  <a:pt x="20331" y="839"/>
                  <a:pt x="20483" y="891"/>
                  <a:pt x="20573" y="909"/>
                </a:cubicBezTo>
                <a:cubicBezTo>
                  <a:pt x="20663" y="926"/>
                  <a:pt x="20734" y="734"/>
                  <a:pt x="20851" y="603"/>
                </a:cubicBezTo>
                <a:cubicBezTo>
                  <a:pt x="20967" y="472"/>
                  <a:pt x="21344" y="297"/>
                  <a:pt x="21442" y="297"/>
                </a:cubicBezTo>
                <a:cubicBezTo>
                  <a:pt x="21541" y="297"/>
                  <a:pt x="21433" y="148"/>
                  <a:pt x="21469" y="69"/>
                </a:cubicBezTo>
                <a:close/>
                <a:moveTo>
                  <a:pt x="21469" y="69"/>
                </a:moveTo>
              </a:path>
            </a:pathLst>
          </a:custGeom>
          <a:solidFill>
            <a:schemeClr val="bg1">
              <a:lumMod val="75000"/>
            </a:schemeClr>
          </a:solidFill>
          <a:ln w="12700" cap="flat">
            <a:noFill/>
            <a:prstDash val="solid"/>
            <a:miter lim="800000"/>
            <a:headEnd type="none" w="med" len="med"/>
            <a:tailEnd type="none" w="med" len="med"/>
          </a:ln>
        </p:spPr>
        <p:txBody>
          <a:bodyPr lIns="0" tIns="0" rIns="0" bIns="0"/>
          <a:lstStyle/>
          <a:p>
            <a:endParaRPr lang="en-US"/>
          </a:p>
        </p:txBody>
      </p:sp>
    </p:spTree>
    <p:extLst>
      <p:ext uri="{BB962C8B-B14F-4D97-AF65-F5344CB8AC3E}">
        <p14:creationId xmlns:p14="http://schemas.microsoft.com/office/powerpoint/2010/main" val="18722861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ocial Media Library</a:t>
            </a:r>
          </a:p>
        </p:txBody>
      </p:sp>
      <p:sp>
        <p:nvSpPr>
          <p:cNvPr id="4" name="Freeform 10"/>
          <p:cNvSpPr>
            <a:spLocks noEditPoints="1"/>
          </p:cNvSpPr>
          <p:nvPr/>
        </p:nvSpPr>
        <p:spPr bwMode="auto">
          <a:xfrm>
            <a:off x="9256518" y="1628005"/>
            <a:ext cx="965438" cy="966360"/>
          </a:xfrm>
          <a:custGeom>
            <a:avLst/>
            <a:gdLst>
              <a:gd name="T0" fmla="*/ 228 w 323"/>
              <a:gd name="T1" fmla="*/ 125 h 323"/>
              <a:gd name="T2" fmla="*/ 228 w 323"/>
              <a:gd name="T3" fmla="*/ 194 h 323"/>
              <a:gd name="T4" fmla="*/ 245 w 323"/>
              <a:gd name="T5" fmla="*/ 189 h 323"/>
              <a:gd name="T6" fmla="*/ 245 w 323"/>
              <a:gd name="T7" fmla="*/ 148 h 323"/>
              <a:gd name="T8" fmla="*/ 232 w 323"/>
              <a:gd name="T9" fmla="*/ 186 h 323"/>
              <a:gd name="T10" fmla="*/ 232 w 323"/>
              <a:gd name="T11" fmla="*/ 150 h 323"/>
              <a:gd name="T12" fmla="*/ 86 w 323"/>
              <a:gd name="T13" fmla="*/ 157 h 323"/>
              <a:gd name="T14" fmla="*/ 77 w 323"/>
              <a:gd name="T15" fmla="*/ 179 h 323"/>
              <a:gd name="T16" fmla="*/ 86 w 323"/>
              <a:gd name="T17" fmla="*/ 157 h 323"/>
              <a:gd name="T18" fmla="*/ 210 w 323"/>
              <a:gd name="T19" fmla="*/ 194 h 323"/>
              <a:gd name="T20" fmla="*/ 190 w 323"/>
              <a:gd name="T21" fmla="*/ 195 h 323"/>
              <a:gd name="T22" fmla="*/ 184 w 323"/>
              <a:gd name="T23" fmla="*/ 142 h 323"/>
              <a:gd name="T24" fmla="*/ 193 w 323"/>
              <a:gd name="T25" fmla="*/ 184 h 323"/>
              <a:gd name="T26" fmla="*/ 201 w 323"/>
              <a:gd name="T27" fmla="*/ 142 h 323"/>
              <a:gd name="T28" fmla="*/ 182 w 323"/>
              <a:gd name="T29" fmla="*/ 135 h 323"/>
              <a:gd name="T30" fmla="*/ 161 w 323"/>
              <a:gd name="T31" fmla="*/ 194 h 323"/>
              <a:gd name="T32" fmla="*/ 150 w 323"/>
              <a:gd name="T33" fmla="*/ 125 h 323"/>
              <a:gd name="T34" fmla="*/ 253 w 323"/>
              <a:gd name="T35" fmla="*/ 159 h 323"/>
              <a:gd name="T36" fmla="*/ 267 w 323"/>
              <a:gd name="T37" fmla="*/ 195 h 323"/>
              <a:gd name="T38" fmla="*/ 281 w 323"/>
              <a:gd name="T39" fmla="*/ 177 h 323"/>
              <a:gd name="T40" fmla="*/ 271 w 323"/>
              <a:gd name="T41" fmla="*/ 182 h 323"/>
              <a:gd name="T42" fmla="*/ 262 w 323"/>
              <a:gd name="T43" fmla="*/ 170 h 323"/>
              <a:gd name="T44" fmla="*/ 278 w 323"/>
              <a:gd name="T45" fmla="*/ 147 h 323"/>
              <a:gd name="T46" fmla="*/ 262 w 323"/>
              <a:gd name="T47" fmla="*/ 162 h 323"/>
              <a:gd name="T48" fmla="*/ 272 w 323"/>
              <a:gd name="T49" fmla="*/ 157 h 323"/>
              <a:gd name="T50" fmla="*/ 0 w 323"/>
              <a:gd name="T51" fmla="*/ 161 h 323"/>
              <a:gd name="T52" fmla="*/ 162 w 323"/>
              <a:gd name="T53" fmla="*/ 0 h 323"/>
              <a:gd name="T54" fmla="*/ 44 w 323"/>
              <a:gd name="T55" fmla="*/ 194 h 323"/>
              <a:gd name="T56" fmla="*/ 31 w 323"/>
              <a:gd name="T57" fmla="*/ 124 h 323"/>
              <a:gd name="T58" fmla="*/ 57 w 323"/>
              <a:gd name="T59" fmla="*/ 124 h 323"/>
              <a:gd name="T60" fmla="*/ 95 w 323"/>
              <a:gd name="T61" fmla="*/ 177 h 323"/>
              <a:gd name="T62" fmla="*/ 70 w 323"/>
              <a:gd name="T63" fmla="*/ 189 h 323"/>
              <a:gd name="T64" fmla="*/ 70 w 323"/>
              <a:gd name="T65" fmla="*/ 147 h 323"/>
              <a:gd name="T66" fmla="*/ 95 w 323"/>
              <a:gd name="T67" fmla="*/ 159 h 323"/>
              <a:gd name="T68" fmla="*/ 121 w 323"/>
              <a:gd name="T69" fmla="*/ 194 h 323"/>
              <a:gd name="T70" fmla="*/ 104 w 323"/>
              <a:gd name="T71" fmla="*/ 191 h 323"/>
              <a:gd name="T72" fmla="*/ 112 w 323"/>
              <a:gd name="T73" fmla="*/ 142 h 323"/>
              <a:gd name="T74" fmla="*/ 115 w 323"/>
              <a:gd name="T75" fmla="*/ 186 h 323"/>
              <a:gd name="T76" fmla="*/ 130 w 323"/>
              <a:gd name="T77" fmla="*/ 142 h 323"/>
              <a:gd name="T78" fmla="*/ 215 w 323"/>
              <a:gd name="T79" fmla="*/ 214 h 323"/>
              <a:gd name="T80" fmla="*/ 138 w 323"/>
              <a:gd name="T81" fmla="*/ 161 h 323"/>
              <a:gd name="T82" fmla="*/ 215 w 323"/>
              <a:gd name="T83" fmla="*/ 107 h 323"/>
              <a:gd name="T84" fmla="*/ 292 w 323"/>
              <a:gd name="T85" fmla="*/ 16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 h="323">
                <a:moveTo>
                  <a:pt x="237" y="142"/>
                </a:moveTo>
                <a:cubicBezTo>
                  <a:pt x="234" y="142"/>
                  <a:pt x="231" y="144"/>
                  <a:pt x="228" y="147"/>
                </a:cubicBezTo>
                <a:cubicBezTo>
                  <a:pt x="228" y="125"/>
                  <a:pt x="228" y="125"/>
                  <a:pt x="228" y="125"/>
                </a:cubicBezTo>
                <a:cubicBezTo>
                  <a:pt x="218" y="125"/>
                  <a:pt x="218" y="125"/>
                  <a:pt x="218" y="125"/>
                </a:cubicBezTo>
                <a:cubicBezTo>
                  <a:pt x="218" y="194"/>
                  <a:pt x="218" y="194"/>
                  <a:pt x="218" y="194"/>
                </a:cubicBezTo>
                <a:cubicBezTo>
                  <a:pt x="228" y="194"/>
                  <a:pt x="228" y="194"/>
                  <a:pt x="228" y="194"/>
                </a:cubicBezTo>
                <a:cubicBezTo>
                  <a:pt x="228" y="189"/>
                  <a:pt x="228" y="189"/>
                  <a:pt x="228" y="189"/>
                </a:cubicBezTo>
                <a:cubicBezTo>
                  <a:pt x="231" y="193"/>
                  <a:pt x="234" y="195"/>
                  <a:pt x="237" y="195"/>
                </a:cubicBezTo>
                <a:cubicBezTo>
                  <a:pt x="241" y="195"/>
                  <a:pt x="244" y="193"/>
                  <a:pt x="245" y="189"/>
                </a:cubicBezTo>
                <a:cubicBezTo>
                  <a:pt x="245" y="187"/>
                  <a:pt x="246" y="183"/>
                  <a:pt x="246" y="178"/>
                </a:cubicBezTo>
                <a:cubicBezTo>
                  <a:pt x="246" y="158"/>
                  <a:pt x="246" y="158"/>
                  <a:pt x="246" y="158"/>
                </a:cubicBezTo>
                <a:cubicBezTo>
                  <a:pt x="246" y="153"/>
                  <a:pt x="245" y="150"/>
                  <a:pt x="245" y="148"/>
                </a:cubicBezTo>
                <a:cubicBezTo>
                  <a:pt x="244" y="144"/>
                  <a:pt x="241" y="142"/>
                  <a:pt x="237" y="142"/>
                </a:cubicBezTo>
                <a:close/>
                <a:moveTo>
                  <a:pt x="236" y="179"/>
                </a:moveTo>
                <a:cubicBezTo>
                  <a:pt x="236" y="184"/>
                  <a:pt x="235" y="186"/>
                  <a:pt x="232" y="186"/>
                </a:cubicBezTo>
                <a:cubicBezTo>
                  <a:pt x="231" y="186"/>
                  <a:pt x="229" y="185"/>
                  <a:pt x="228" y="184"/>
                </a:cubicBezTo>
                <a:cubicBezTo>
                  <a:pt x="228" y="152"/>
                  <a:pt x="228" y="152"/>
                  <a:pt x="228" y="152"/>
                </a:cubicBezTo>
                <a:cubicBezTo>
                  <a:pt x="229" y="151"/>
                  <a:pt x="231" y="150"/>
                  <a:pt x="232" y="150"/>
                </a:cubicBezTo>
                <a:cubicBezTo>
                  <a:pt x="235" y="150"/>
                  <a:pt x="236" y="153"/>
                  <a:pt x="236" y="157"/>
                </a:cubicBezTo>
                <a:lnTo>
                  <a:pt x="236" y="179"/>
                </a:lnTo>
                <a:close/>
                <a:moveTo>
                  <a:pt x="86" y="157"/>
                </a:moveTo>
                <a:cubicBezTo>
                  <a:pt x="86" y="179"/>
                  <a:pt x="86" y="179"/>
                  <a:pt x="86" y="179"/>
                </a:cubicBezTo>
                <a:cubicBezTo>
                  <a:pt x="86" y="184"/>
                  <a:pt x="84" y="186"/>
                  <a:pt x="81" y="186"/>
                </a:cubicBezTo>
                <a:cubicBezTo>
                  <a:pt x="78" y="186"/>
                  <a:pt x="77" y="184"/>
                  <a:pt x="77" y="179"/>
                </a:cubicBezTo>
                <a:cubicBezTo>
                  <a:pt x="77" y="157"/>
                  <a:pt x="77" y="157"/>
                  <a:pt x="77" y="157"/>
                </a:cubicBezTo>
                <a:cubicBezTo>
                  <a:pt x="77" y="152"/>
                  <a:pt x="78" y="150"/>
                  <a:pt x="81" y="150"/>
                </a:cubicBezTo>
                <a:cubicBezTo>
                  <a:pt x="84" y="150"/>
                  <a:pt x="86" y="152"/>
                  <a:pt x="86" y="157"/>
                </a:cubicBezTo>
                <a:close/>
                <a:moveTo>
                  <a:pt x="201" y="142"/>
                </a:moveTo>
                <a:cubicBezTo>
                  <a:pt x="210" y="142"/>
                  <a:pt x="210" y="142"/>
                  <a:pt x="210" y="142"/>
                </a:cubicBezTo>
                <a:cubicBezTo>
                  <a:pt x="210" y="194"/>
                  <a:pt x="210" y="194"/>
                  <a:pt x="210" y="194"/>
                </a:cubicBezTo>
                <a:cubicBezTo>
                  <a:pt x="201" y="194"/>
                  <a:pt x="201" y="194"/>
                  <a:pt x="201" y="194"/>
                </a:cubicBezTo>
                <a:cubicBezTo>
                  <a:pt x="201" y="188"/>
                  <a:pt x="201" y="188"/>
                  <a:pt x="201" y="188"/>
                </a:cubicBezTo>
                <a:cubicBezTo>
                  <a:pt x="197" y="193"/>
                  <a:pt x="194" y="195"/>
                  <a:pt x="190" y="195"/>
                </a:cubicBezTo>
                <a:cubicBezTo>
                  <a:pt x="187" y="195"/>
                  <a:pt x="185" y="193"/>
                  <a:pt x="184" y="191"/>
                </a:cubicBezTo>
                <a:cubicBezTo>
                  <a:pt x="184" y="189"/>
                  <a:pt x="184" y="187"/>
                  <a:pt x="184" y="183"/>
                </a:cubicBezTo>
                <a:cubicBezTo>
                  <a:pt x="184" y="142"/>
                  <a:pt x="184" y="142"/>
                  <a:pt x="184" y="142"/>
                </a:cubicBezTo>
                <a:cubicBezTo>
                  <a:pt x="193" y="142"/>
                  <a:pt x="193" y="142"/>
                  <a:pt x="193" y="142"/>
                </a:cubicBezTo>
                <a:cubicBezTo>
                  <a:pt x="193" y="180"/>
                  <a:pt x="193" y="180"/>
                  <a:pt x="193" y="180"/>
                </a:cubicBezTo>
                <a:cubicBezTo>
                  <a:pt x="193" y="183"/>
                  <a:pt x="193" y="184"/>
                  <a:pt x="193" y="184"/>
                </a:cubicBezTo>
                <a:cubicBezTo>
                  <a:pt x="193" y="185"/>
                  <a:pt x="194" y="186"/>
                  <a:pt x="195" y="186"/>
                </a:cubicBezTo>
                <a:cubicBezTo>
                  <a:pt x="197" y="186"/>
                  <a:pt x="199" y="185"/>
                  <a:pt x="201" y="182"/>
                </a:cubicBezTo>
                <a:lnTo>
                  <a:pt x="201" y="142"/>
                </a:lnTo>
                <a:close/>
                <a:moveTo>
                  <a:pt x="150" y="125"/>
                </a:moveTo>
                <a:cubicBezTo>
                  <a:pt x="182" y="125"/>
                  <a:pt x="182" y="125"/>
                  <a:pt x="182" y="125"/>
                </a:cubicBezTo>
                <a:cubicBezTo>
                  <a:pt x="182" y="135"/>
                  <a:pt x="182" y="135"/>
                  <a:pt x="182" y="135"/>
                </a:cubicBezTo>
                <a:cubicBezTo>
                  <a:pt x="171" y="135"/>
                  <a:pt x="171" y="135"/>
                  <a:pt x="171" y="135"/>
                </a:cubicBezTo>
                <a:cubicBezTo>
                  <a:pt x="171" y="194"/>
                  <a:pt x="171" y="194"/>
                  <a:pt x="171" y="194"/>
                </a:cubicBezTo>
                <a:cubicBezTo>
                  <a:pt x="161" y="194"/>
                  <a:pt x="161" y="194"/>
                  <a:pt x="161" y="194"/>
                </a:cubicBezTo>
                <a:cubicBezTo>
                  <a:pt x="161" y="135"/>
                  <a:pt x="161" y="135"/>
                  <a:pt x="161" y="135"/>
                </a:cubicBezTo>
                <a:cubicBezTo>
                  <a:pt x="150" y="135"/>
                  <a:pt x="150" y="135"/>
                  <a:pt x="150" y="135"/>
                </a:cubicBezTo>
                <a:lnTo>
                  <a:pt x="150" y="125"/>
                </a:lnTo>
                <a:close/>
                <a:moveTo>
                  <a:pt x="267" y="142"/>
                </a:moveTo>
                <a:cubicBezTo>
                  <a:pt x="262" y="142"/>
                  <a:pt x="259" y="144"/>
                  <a:pt x="256" y="147"/>
                </a:cubicBezTo>
                <a:cubicBezTo>
                  <a:pt x="254" y="150"/>
                  <a:pt x="253" y="154"/>
                  <a:pt x="253" y="159"/>
                </a:cubicBezTo>
                <a:cubicBezTo>
                  <a:pt x="253" y="177"/>
                  <a:pt x="253" y="177"/>
                  <a:pt x="253" y="177"/>
                </a:cubicBezTo>
                <a:cubicBezTo>
                  <a:pt x="253" y="183"/>
                  <a:pt x="254" y="187"/>
                  <a:pt x="256" y="189"/>
                </a:cubicBezTo>
                <a:cubicBezTo>
                  <a:pt x="259" y="193"/>
                  <a:pt x="262" y="195"/>
                  <a:pt x="267" y="195"/>
                </a:cubicBezTo>
                <a:cubicBezTo>
                  <a:pt x="272" y="195"/>
                  <a:pt x="276" y="193"/>
                  <a:pt x="279" y="189"/>
                </a:cubicBezTo>
                <a:cubicBezTo>
                  <a:pt x="280" y="187"/>
                  <a:pt x="280" y="186"/>
                  <a:pt x="281" y="183"/>
                </a:cubicBezTo>
                <a:cubicBezTo>
                  <a:pt x="281" y="183"/>
                  <a:pt x="281" y="180"/>
                  <a:pt x="281" y="177"/>
                </a:cubicBezTo>
                <a:cubicBezTo>
                  <a:pt x="281" y="176"/>
                  <a:pt x="281" y="176"/>
                  <a:pt x="281" y="176"/>
                </a:cubicBezTo>
                <a:cubicBezTo>
                  <a:pt x="271" y="176"/>
                  <a:pt x="271" y="176"/>
                  <a:pt x="271" y="176"/>
                </a:cubicBezTo>
                <a:cubicBezTo>
                  <a:pt x="271" y="180"/>
                  <a:pt x="271" y="182"/>
                  <a:pt x="271" y="182"/>
                </a:cubicBezTo>
                <a:cubicBezTo>
                  <a:pt x="271" y="185"/>
                  <a:pt x="269" y="186"/>
                  <a:pt x="267" y="186"/>
                </a:cubicBezTo>
                <a:cubicBezTo>
                  <a:pt x="264" y="186"/>
                  <a:pt x="262" y="184"/>
                  <a:pt x="262" y="179"/>
                </a:cubicBezTo>
                <a:cubicBezTo>
                  <a:pt x="262" y="170"/>
                  <a:pt x="262" y="170"/>
                  <a:pt x="262" y="170"/>
                </a:cubicBezTo>
                <a:cubicBezTo>
                  <a:pt x="281" y="170"/>
                  <a:pt x="281" y="170"/>
                  <a:pt x="281" y="170"/>
                </a:cubicBezTo>
                <a:cubicBezTo>
                  <a:pt x="281" y="159"/>
                  <a:pt x="281" y="159"/>
                  <a:pt x="281" y="159"/>
                </a:cubicBezTo>
                <a:cubicBezTo>
                  <a:pt x="281" y="154"/>
                  <a:pt x="280" y="150"/>
                  <a:pt x="278" y="147"/>
                </a:cubicBezTo>
                <a:cubicBezTo>
                  <a:pt x="275" y="144"/>
                  <a:pt x="272" y="142"/>
                  <a:pt x="267" y="142"/>
                </a:cubicBezTo>
                <a:close/>
                <a:moveTo>
                  <a:pt x="272" y="162"/>
                </a:moveTo>
                <a:cubicBezTo>
                  <a:pt x="262" y="162"/>
                  <a:pt x="262" y="162"/>
                  <a:pt x="262" y="162"/>
                </a:cubicBezTo>
                <a:cubicBezTo>
                  <a:pt x="262" y="157"/>
                  <a:pt x="262" y="157"/>
                  <a:pt x="262" y="157"/>
                </a:cubicBezTo>
                <a:cubicBezTo>
                  <a:pt x="262" y="153"/>
                  <a:pt x="264" y="150"/>
                  <a:pt x="267" y="150"/>
                </a:cubicBezTo>
                <a:cubicBezTo>
                  <a:pt x="270" y="150"/>
                  <a:pt x="272" y="153"/>
                  <a:pt x="272" y="157"/>
                </a:cubicBezTo>
                <a:lnTo>
                  <a:pt x="272" y="162"/>
                </a:lnTo>
                <a:close/>
                <a:moveTo>
                  <a:pt x="162" y="0"/>
                </a:moveTo>
                <a:cubicBezTo>
                  <a:pt x="73" y="0"/>
                  <a:pt x="0" y="72"/>
                  <a:pt x="0" y="161"/>
                </a:cubicBezTo>
                <a:cubicBezTo>
                  <a:pt x="0" y="250"/>
                  <a:pt x="73" y="323"/>
                  <a:pt x="162" y="323"/>
                </a:cubicBezTo>
                <a:cubicBezTo>
                  <a:pt x="251" y="323"/>
                  <a:pt x="323" y="250"/>
                  <a:pt x="323" y="161"/>
                </a:cubicBezTo>
                <a:cubicBezTo>
                  <a:pt x="323" y="72"/>
                  <a:pt x="251" y="0"/>
                  <a:pt x="162" y="0"/>
                </a:cubicBezTo>
                <a:close/>
                <a:moveTo>
                  <a:pt x="55" y="166"/>
                </a:moveTo>
                <a:cubicBezTo>
                  <a:pt x="55" y="194"/>
                  <a:pt x="55" y="194"/>
                  <a:pt x="55" y="194"/>
                </a:cubicBezTo>
                <a:cubicBezTo>
                  <a:pt x="44" y="194"/>
                  <a:pt x="44" y="194"/>
                  <a:pt x="44" y="194"/>
                </a:cubicBezTo>
                <a:cubicBezTo>
                  <a:pt x="44" y="166"/>
                  <a:pt x="44" y="166"/>
                  <a:pt x="44" y="166"/>
                </a:cubicBezTo>
                <a:cubicBezTo>
                  <a:pt x="43" y="161"/>
                  <a:pt x="41" y="153"/>
                  <a:pt x="38" y="144"/>
                </a:cubicBezTo>
                <a:cubicBezTo>
                  <a:pt x="36" y="137"/>
                  <a:pt x="33" y="131"/>
                  <a:pt x="31" y="124"/>
                </a:cubicBezTo>
                <a:cubicBezTo>
                  <a:pt x="42" y="124"/>
                  <a:pt x="42" y="124"/>
                  <a:pt x="42" y="124"/>
                </a:cubicBezTo>
                <a:cubicBezTo>
                  <a:pt x="50" y="152"/>
                  <a:pt x="50" y="152"/>
                  <a:pt x="50" y="152"/>
                </a:cubicBezTo>
                <a:cubicBezTo>
                  <a:pt x="57" y="124"/>
                  <a:pt x="57" y="124"/>
                  <a:pt x="57" y="124"/>
                </a:cubicBezTo>
                <a:cubicBezTo>
                  <a:pt x="67" y="124"/>
                  <a:pt x="67" y="124"/>
                  <a:pt x="67" y="124"/>
                </a:cubicBezTo>
                <a:lnTo>
                  <a:pt x="55" y="166"/>
                </a:lnTo>
                <a:close/>
                <a:moveTo>
                  <a:pt x="95" y="177"/>
                </a:moveTo>
                <a:cubicBezTo>
                  <a:pt x="95" y="183"/>
                  <a:pt x="94" y="187"/>
                  <a:pt x="92" y="189"/>
                </a:cubicBezTo>
                <a:cubicBezTo>
                  <a:pt x="90" y="193"/>
                  <a:pt x="86" y="195"/>
                  <a:pt x="81" y="195"/>
                </a:cubicBezTo>
                <a:cubicBezTo>
                  <a:pt x="77" y="195"/>
                  <a:pt x="73" y="193"/>
                  <a:pt x="70" y="189"/>
                </a:cubicBezTo>
                <a:cubicBezTo>
                  <a:pt x="68" y="187"/>
                  <a:pt x="67" y="183"/>
                  <a:pt x="67" y="177"/>
                </a:cubicBezTo>
                <a:cubicBezTo>
                  <a:pt x="67" y="159"/>
                  <a:pt x="67" y="159"/>
                  <a:pt x="67" y="159"/>
                </a:cubicBezTo>
                <a:cubicBezTo>
                  <a:pt x="67" y="153"/>
                  <a:pt x="68" y="149"/>
                  <a:pt x="70" y="147"/>
                </a:cubicBezTo>
                <a:cubicBezTo>
                  <a:pt x="73" y="143"/>
                  <a:pt x="77" y="141"/>
                  <a:pt x="81" y="141"/>
                </a:cubicBezTo>
                <a:cubicBezTo>
                  <a:pt x="86" y="141"/>
                  <a:pt x="90" y="143"/>
                  <a:pt x="92" y="147"/>
                </a:cubicBezTo>
                <a:cubicBezTo>
                  <a:pt x="94" y="149"/>
                  <a:pt x="95" y="153"/>
                  <a:pt x="95" y="159"/>
                </a:cubicBezTo>
                <a:lnTo>
                  <a:pt x="95" y="177"/>
                </a:lnTo>
                <a:close/>
                <a:moveTo>
                  <a:pt x="130" y="194"/>
                </a:moveTo>
                <a:cubicBezTo>
                  <a:pt x="121" y="194"/>
                  <a:pt x="121" y="194"/>
                  <a:pt x="121" y="194"/>
                </a:cubicBezTo>
                <a:cubicBezTo>
                  <a:pt x="121" y="188"/>
                  <a:pt x="121" y="188"/>
                  <a:pt x="121" y="188"/>
                </a:cubicBezTo>
                <a:cubicBezTo>
                  <a:pt x="117" y="193"/>
                  <a:pt x="113" y="195"/>
                  <a:pt x="110" y="195"/>
                </a:cubicBezTo>
                <a:cubicBezTo>
                  <a:pt x="107" y="195"/>
                  <a:pt x="105" y="193"/>
                  <a:pt x="104" y="191"/>
                </a:cubicBezTo>
                <a:cubicBezTo>
                  <a:pt x="103" y="189"/>
                  <a:pt x="103" y="187"/>
                  <a:pt x="103" y="183"/>
                </a:cubicBezTo>
                <a:cubicBezTo>
                  <a:pt x="103" y="142"/>
                  <a:pt x="103" y="142"/>
                  <a:pt x="103" y="142"/>
                </a:cubicBezTo>
                <a:cubicBezTo>
                  <a:pt x="112" y="142"/>
                  <a:pt x="112" y="142"/>
                  <a:pt x="112" y="142"/>
                </a:cubicBezTo>
                <a:cubicBezTo>
                  <a:pt x="112" y="180"/>
                  <a:pt x="112" y="180"/>
                  <a:pt x="112" y="180"/>
                </a:cubicBezTo>
                <a:cubicBezTo>
                  <a:pt x="112" y="182"/>
                  <a:pt x="112" y="184"/>
                  <a:pt x="112" y="184"/>
                </a:cubicBezTo>
                <a:cubicBezTo>
                  <a:pt x="113" y="185"/>
                  <a:pt x="113" y="186"/>
                  <a:pt x="115" y="186"/>
                </a:cubicBezTo>
                <a:cubicBezTo>
                  <a:pt x="116" y="186"/>
                  <a:pt x="118" y="185"/>
                  <a:pt x="121" y="182"/>
                </a:cubicBezTo>
                <a:cubicBezTo>
                  <a:pt x="121" y="142"/>
                  <a:pt x="121" y="142"/>
                  <a:pt x="121" y="142"/>
                </a:cubicBezTo>
                <a:cubicBezTo>
                  <a:pt x="130" y="142"/>
                  <a:pt x="130" y="142"/>
                  <a:pt x="130" y="142"/>
                </a:cubicBezTo>
                <a:lnTo>
                  <a:pt x="130" y="194"/>
                </a:lnTo>
                <a:close/>
                <a:moveTo>
                  <a:pt x="273" y="212"/>
                </a:moveTo>
                <a:cubicBezTo>
                  <a:pt x="254" y="214"/>
                  <a:pt x="235" y="214"/>
                  <a:pt x="215" y="214"/>
                </a:cubicBezTo>
                <a:cubicBezTo>
                  <a:pt x="196" y="214"/>
                  <a:pt x="177" y="214"/>
                  <a:pt x="158" y="212"/>
                </a:cubicBezTo>
                <a:cubicBezTo>
                  <a:pt x="149" y="211"/>
                  <a:pt x="143" y="205"/>
                  <a:pt x="141" y="197"/>
                </a:cubicBezTo>
                <a:cubicBezTo>
                  <a:pt x="138" y="185"/>
                  <a:pt x="138" y="173"/>
                  <a:pt x="138" y="161"/>
                </a:cubicBezTo>
                <a:cubicBezTo>
                  <a:pt x="138" y="149"/>
                  <a:pt x="138" y="136"/>
                  <a:pt x="141" y="124"/>
                </a:cubicBezTo>
                <a:cubicBezTo>
                  <a:pt x="143" y="116"/>
                  <a:pt x="150" y="110"/>
                  <a:pt x="158" y="109"/>
                </a:cubicBezTo>
                <a:cubicBezTo>
                  <a:pt x="177" y="107"/>
                  <a:pt x="196" y="107"/>
                  <a:pt x="215" y="107"/>
                </a:cubicBezTo>
                <a:cubicBezTo>
                  <a:pt x="235" y="107"/>
                  <a:pt x="254" y="107"/>
                  <a:pt x="273" y="109"/>
                </a:cubicBezTo>
                <a:cubicBezTo>
                  <a:pt x="281" y="110"/>
                  <a:pt x="288" y="116"/>
                  <a:pt x="290" y="124"/>
                </a:cubicBezTo>
                <a:cubicBezTo>
                  <a:pt x="292" y="136"/>
                  <a:pt x="292" y="149"/>
                  <a:pt x="292" y="161"/>
                </a:cubicBezTo>
                <a:cubicBezTo>
                  <a:pt x="292" y="173"/>
                  <a:pt x="292" y="185"/>
                  <a:pt x="290" y="197"/>
                </a:cubicBezTo>
                <a:cubicBezTo>
                  <a:pt x="288" y="205"/>
                  <a:pt x="281" y="211"/>
                  <a:pt x="273" y="2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5" name="Freeform 6"/>
          <p:cNvSpPr>
            <a:spLocks noEditPoints="1"/>
          </p:cNvSpPr>
          <p:nvPr/>
        </p:nvSpPr>
        <p:spPr bwMode="auto">
          <a:xfrm>
            <a:off x="5601888" y="1627555"/>
            <a:ext cx="965887" cy="966810"/>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76 w 323"/>
              <a:gd name="T11" fmla="*/ 201 h 323"/>
              <a:gd name="T12" fmla="*/ 151 w 323"/>
              <a:gd name="T13" fmla="*/ 189 h 323"/>
              <a:gd name="T14" fmla="*/ 143 w 323"/>
              <a:gd name="T15" fmla="*/ 217 h 323"/>
              <a:gd name="T16" fmla="*/ 125 w 323"/>
              <a:gd name="T17" fmla="*/ 250 h 323"/>
              <a:gd name="T18" fmla="*/ 122 w 323"/>
              <a:gd name="T19" fmla="*/ 250 h 323"/>
              <a:gd name="T20" fmla="*/ 123 w 323"/>
              <a:gd name="T21" fmla="*/ 211 h 323"/>
              <a:gd name="T22" fmla="*/ 136 w 323"/>
              <a:gd name="T23" fmla="*/ 155 h 323"/>
              <a:gd name="T24" fmla="*/ 133 w 323"/>
              <a:gd name="T25" fmla="*/ 139 h 323"/>
              <a:gd name="T26" fmla="*/ 152 w 323"/>
              <a:gd name="T27" fmla="*/ 112 h 323"/>
              <a:gd name="T28" fmla="*/ 166 w 323"/>
              <a:gd name="T29" fmla="*/ 128 h 323"/>
              <a:gd name="T30" fmla="*/ 157 w 323"/>
              <a:gd name="T31" fmla="*/ 164 h 323"/>
              <a:gd name="T32" fmla="*/ 173 w 323"/>
              <a:gd name="T33" fmla="*/ 184 h 323"/>
              <a:gd name="T34" fmla="*/ 206 w 323"/>
              <a:gd name="T35" fmla="*/ 129 h 323"/>
              <a:gd name="T36" fmla="*/ 163 w 323"/>
              <a:gd name="T37" fmla="*/ 90 h 323"/>
              <a:gd name="T38" fmla="*/ 113 w 323"/>
              <a:gd name="T39" fmla="*/ 139 h 323"/>
              <a:gd name="T40" fmla="*/ 120 w 323"/>
              <a:gd name="T41" fmla="*/ 159 h 323"/>
              <a:gd name="T42" fmla="*/ 121 w 323"/>
              <a:gd name="T43" fmla="*/ 165 h 323"/>
              <a:gd name="T44" fmla="*/ 119 w 323"/>
              <a:gd name="T45" fmla="*/ 173 h 323"/>
              <a:gd name="T46" fmla="*/ 114 w 323"/>
              <a:gd name="T47" fmla="*/ 176 h 323"/>
              <a:gd name="T48" fmla="*/ 93 w 323"/>
              <a:gd name="T49" fmla="*/ 137 h 323"/>
              <a:gd name="T50" fmla="*/ 166 w 323"/>
              <a:gd name="T51" fmla="*/ 73 h 323"/>
              <a:gd name="T52" fmla="*/ 231 w 323"/>
              <a:gd name="T53" fmla="*/ 131 h 323"/>
              <a:gd name="T54" fmla="*/ 176 w 323"/>
              <a:gd name="T55" fmla="*/ 20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76" y="201"/>
                </a:moveTo>
                <a:cubicBezTo>
                  <a:pt x="164" y="201"/>
                  <a:pt x="154" y="195"/>
                  <a:pt x="151" y="189"/>
                </a:cubicBezTo>
                <a:cubicBezTo>
                  <a:pt x="151" y="189"/>
                  <a:pt x="145" y="212"/>
                  <a:pt x="143" y="217"/>
                </a:cubicBezTo>
                <a:cubicBezTo>
                  <a:pt x="139" y="233"/>
                  <a:pt x="126" y="249"/>
                  <a:pt x="125" y="250"/>
                </a:cubicBezTo>
                <a:cubicBezTo>
                  <a:pt x="124" y="251"/>
                  <a:pt x="123" y="251"/>
                  <a:pt x="122" y="250"/>
                </a:cubicBezTo>
                <a:cubicBezTo>
                  <a:pt x="122" y="248"/>
                  <a:pt x="119" y="227"/>
                  <a:pt x="123" y="211"/>
                </a:cubicBezTo>
                <a:cubicBezTo>
                  <a:pt x="125" y="202"/>
                  <a:pt x="136" y="155"/>
                  <a:pt x="136" y="155"/>
                </a:cubicBezTo>
                <a:cubicBezTo>
                  <a:pt x="136" y="155"/>
                  <a:pt x="133" y="149"/>
                  <a:pt x="133" y="139"/>
                </a:cubicBezTo>
                <a:cubicBezTo>
                  <a:pt x="133" y="124"/>
                  <a:pt x="141" y="112"/>
                  <a:pt x="152" y="112"/>
                </a:cubicBezTo>
                <a:cubicBezTo>
                  <a:pt x="162" y="112"/>
                  <a:pt x="166" y="119"/>
                  <a:pt x="166" y="128"/>
                </a:cubicBezTo>
                <a:cubicBezTo>
                  <a:pt x="166" y="137"/>
                  <a:pt x="160" y="151"/>
                  <a:pt x="157" y="164"/>
                </a:cubicBezTo>
                <a:cubicBezTo>
                  <a:pt x="155" y="175"/>
                  <a:pt x="163" y="184"/>
                  <a:pt x="173" y="184"/>
                </a:cubicBezTo>
                <a:cubicBezTo>
                  <a:pt x="193" y="184"/>
                  <a:pt x="206" y="159"/>
                  <a:pt x="206" y="129"/>
                </a:cubicBezTo>
                <a:cubicBezTo>
                  <a:pt x="206" y="107"/>
                  <a:pt x="191" y="90"/>
                  <a:pt x="163" y="90"/>
                </a:cubicBezTo>
                <a:cubicBezTo>
                  <a:pt x="132" y="90"/>
                  <a:pt x="113" y="113"/>
                  <a:pt x="113" y="139"/>
                </a:cubicBezTo>
                <a:cubicBezTo>
                  <a:pt x="113" y="148"/>
                  <a:pt x="115" y="154"/>
                  <a:pt x="120" y="159"/>
                </a:cubicBezTo>
                <a:cubicBezTo>
                  <a:pt x="121" y="161"/>
                  <a:pt x="122" y="162"/>
                  <a:pt x="121" y="165"/>
                </a:cubicBezTo>
                <a:cubicBezTo>
                  <a:pt x="121" y="167"/>
                  <a:pt x="119" y="171"/>
                  <a:pt x="119" y="173"/>
                </a:cubicBezTo>
                <a:cubicBezTo>
                  <a:pt x="118" y="176"/>
                  <a:pt x="116" y="177"/>
                  <a:pt x="114" y="176"/>
                </a:cubicBezTo>
                <a:cubicBezTo>
                  <a:pt x="100" y="170"/>
                  <a:pt x="93" y="154"/>
                  <a:pt x="93" y="137"/>
                </a:cubicBezTo>
                <a:cubicBezTo>
                  <a:pt x="93" y="108"/>
                  <a:pt x="117" y="73"/>
                  <a:pt x="166" y="73"/>
                </a:cubicBezTo>
                <a:cubicBezTo>
                  <a:pt x="205" y="73"/>
                  <a:pt x="231" y="101"/>
                  <a:pt x="231" y="131"/>
                </a:cubicBezTo>
                <a:cubicBezTo>
                  <a:pt x="231" y="171"/>
                  <a:pt x="208" y="201"/>
                  <a:pt x="176" y="20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8" name="Freeform 9"/>
          <p:cNvSpPr>
            <a:spLocks noEditPoints="1"/>
          </p:cNvSpPr>
          <p:nvPr/>
        </p:nvSpPr>
        <p:spPr bwMode="auto">
          <a:xfrm>
            <a:off x="4390448" y="1628418"/>
            <a:ext cx="965025" cy="965947"/>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16 w 323"/>
              <a:gd name="T11" fmla="*/ 237 h 323"/>
              <a:gd name="T12" fmla="*/ 84 w 323"/>
              <a:gd name="T13" fmla="*/ 237 h 323"/>
              <a:gd name="T14" fmla="*/ 84 w 323"/>
              <a:gd name="T15" fmla="*/ 135 h 323"/>
              <a:gd name="T16" fmla="*/ 116 w 323"/>
              <a:gd name="T17" fmla="*/ 135 h 323"/>
              <a:gd name="T18" fmla="*/ 116 w 323"/>
              <a:gd name="T19" fmla="*/ 237 h 323"/>
              <a:gd name="T20" fmla="*/ 99 w 323"/>
              <a:gd name="T21" fmla="*/ 122 h 323"/>
              <a:gd name="T22" fmla="*/ 99 w 323"/>
              <a:gd name="T23" fmla="*/ 122 h 323"/>
              <a:gd name="T24" fmla="*/ 80 w 323"/>
              <a:gd name="T25" fmla="*/ 104 h 323"/>
              <a:gd name="T26" fmla="*/ 99 w 323"/>
              <a:gd name="T27" fmla="*/ 86 h 323"/>
              <a:gd name="T28" fmla="*/ 119 w 323"/>
              <a:gd name="T29" fmla="*/ 104 h 323"/>
              <a:gd name="T30" fmla="*/ 99 w 323"/>
              <a:gd name="T31" fmla="*/ 122 h 323"/>
              <a:gd name="T32" fmla="*/ 244 w 323"/>
              <a:gd name="T33" fmla="*/ 237 h 323"/>
              <a:gd name="T34" fmla="*/ 208 w 323"/>
              <a:gd name="T35" fmla="*/ 237 h 323"/>
              <a:gd name="T36" fmla="*/ 208 w 323"/>
              <a:gd name="T37" fmla="*/ 184 h 323"/>
              <a:gd name="T38" fmla="*/ 189 w 323"/>
              <a:gd name="T39" fmla="*/ 161 h 323"/>
              <a:gd name="T40" fmla="*/ 172 w 323"/>
              <a:gd name="T41" fmla="*/ 173 h 323"/>
              <a:gd name="T42" fmla="*/ 171 w 323"/>
              <a:gd name="T43" fmla="*/ 182 h 323"/>
              <a:gd name="T44" fmla="*/ 171 w 323"/>
              <a:gd name="T45" fmla="*/ 237 h 323"/>
              <a:gd name="T46" fmla="*/ 135 w 323"/>
              <a:gd name="T47" fmla="*/ 237 h 323"/>
              <a:gd name="T48" fmla="*/ 135 w 323"/>
              <a:gd name="T49" fmla="*/ 135 h 323"/>
              <a:gd name="T50" fmla="*/ 171 w 323"/>
              <a:gd name="T51" fmla="*/ 135 h 323"/>
              <a:gd name="T52" fmla="*/ 171 w 323"/>
              <a:gd name="T53" fmla="*/ 151 h 323"/>
              <a:gd name="T54" fmla="*/ 203 w 323"/>
              <a:gd name="T55" fmla="*/ 134 h 323"/>
              <a:gd name="T56" fmla="*/ 244 w 323"/>
              <a:gd name="T57" fmla="*/ 180 h 323"/>
              <a:gd name="T58" fmla="*/ 244 w 323"/>
              <a:gd name="T59" fmla="*/ 23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16" y="237"/>
                </a:moveTo>
                <a:cubicBezTo>
                  <a:pt x="84" y="237"/>
                  <a:pt x="84" y="237"/>
                  <a:pt x="84" y="237"/>
                </a:cubicBezTo>
                <a:cubicBezTo>
                  <a:pt x="84" y="135"/>
                  <a:pt x="84" y="135"/>
                  <a:pt x="84" y="135"/>
                </a:cubicBezTo>
                <a:cubicBezTo>
                  <a:pt x="116" y="135"/>
                  <a:pt x="116" y="135"/>
                  <a:pt x="116" y="135"/>
                </a:cubicBezTo>
                <a:lnTo>
                  <a:pt x="116" y="237"/>
                </a:lnTo>
                <a:close/>
                <a:moveTo>
                  <a:pt x="99" y="122"/>
                </a:moveTo>
                <a:cubicBezTo>
                  <a:pt x="99" y="122"/>
                  <a:pt x="99" y="122"/>
                  <a:pt x="99" y="122"/>
                </a:cubicBezTo>
                <a:cubicBezTo>
                  <a:pt x="87" y="122"/>
                  <a:pt x="80" y="114"/>
                  <a:pt x="80" y="104"/>
                </a:cubicBezTo>
                <a:cubicBezTo>
                  <a:pt x="80" y="94"/>
                  <a:pt x="87" y="86"/>
                  <a:pt x="99" y="86"/>
                </a:cubicBezTo>
                <a:cubicBezTo>
                  <a:pt x="111" y="86"/>
                  <a:pt x="118" y="94"/>
                  <a:pt x="119" y="104"/>
                </a:cubicBezTo>
                <a:cubicBezTo>
                  <a:pt x="119" y="114"/>
                  <a:pt x="111" y="122"/>
                  <a:pt x="99" y="122"/>
                </a:cubicBezTo>
                <a:close/>
                <a:moveTo>
                  <a:pt x="244" y="237"/>
                </a:moveTo>
                <a:cubicBezTo>
                  <a:pt x="208" y="237"/>
                  <a:pt x="208" y="237"/>
                  <a:pt x="208" y="237"/>
                </a:cubicBezTo>
                <a:cubicBezTo>
                  <a:pt x="208" y="184"/>
                  <a:pt x="208" y="184"/>
                  <a:pt x="208" y="184"/>
                </a:cubicBezTo>
                <a:cubicBezTo>
                  <a:pt x="208" y="170"/>
                  <a:pt x="202" y="161"/>
                  <a:pt x="189" y="161"/>
                </a:cubicBezTo>
                <a:cubicBezTo>
                  <a:pt x="180" y="161"/>
                  <a:pt x="175" y="167"/>
                  <a:pt x="172" y="173"/>
                </a:cubicBezTo>
                <a:cubicBezTo>
                  <a:pt x="171" y="176"/>
                  <a:pt x="171" y="179"/>
                  <a:pt x="171" y="182"/>
                </a:cubicBezTo>
                <a:cubicBezTo>
                  <a:pt x="171" y="237"/>
                  <a:pt x="171" y="237"/>
                  <a:pt x="171" y="237"/>
                </a:cubicBezTo>
                <a:cubicBezTo>
                  <a:pt x="135" y="237"/>
                  <a:pt x="135" y="237"/>
                  <a:pt x="135" y="237"/>
                </a:cubicBezTo>
                <a:cubicBezTo>
                  <a:pt x="135" y="237"/>
                  <a:pt x="136" y="143"/>
                  <a:pt x="135" y="135"/>
                </a:cubicBezTo>
                <a:cubicBezTo>
                  <a:pt x="171" y="135"/>
                  <a:pt x="171" y="135"/>
                  <a:pt x="171" y="135"/>
                </a:cubicBezTo>
                <a:cubicBezTo>
                  <a:pt x="171" y="151"/>
                  <a:pt x="171" y="151"/>
                  <a:pt x="171" y="151"/>
                </a:cubicBezTo>
                <a:cubicBezTo>
                  <a:pt x="173" y="144"/>
                  <a:pt x="185" y="134"/>
                  <a:pt x="203" y="134"/>
                </a:cubicBezTo>
                <a:cubicBezTo>
                  <a:pt x="226" y="134"/>
                  <a:pt x="244" y="148"/>
                  <a:pt x="244" y="180"/>
                </a:cubicBezTo>
                <a:lnTo>
                  <a:pt x="244" y="2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p:nvSpPr>
        <p:spPr bwMode="auto">
          <a:xfrm>
            <a:off x="3179436" y="1626073"/>
            <a:ext cx="968629" cy="969556"/>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232 w 323"/>
              <a:gd name="T11" fmla="*/ 132 h 323"/>
              <a:gd name="T12" fmla="*/ 232 w 323"/>
              <a:gd name="T13" fmla="*/ 137 h 323"/>
              <a:gd name="T14" fmla="*/ 129 w 323"/>
              <a:gd name="T15" fmla="*/ 241 h 323"/>
              <a:gd name="T16" fmla="*/ 73 w 323"/>
              <a:gd name="T17" fmla="*/ 224 h 323"/>
              <a:gd name="T18" fmla="*/ 82 w 323"/>
              <a:gd name="T19" fmla="*/ 225 h 323"/>
              <a:gd name="T20" fmla="*/ 127 w 323"/>
              <a:gd name="T21" fmla="*/ 209 h 323"/>
              <a:gd name="T22" fmla="*/ 93 w 323"/>
              <a:gd name="T23" fmla="*/ 184 h 323"/>
              <a:gd name="T24" fmla="*/ 100 w 323"/>
              <a:gd name="T25" fmla="*/ 185 h 323"/>
              <a:gd name="T26" fmla="*/ 110 w 323"/>
              <a:gd name="T27" fmla="*/ 183 h 323"/>
              <a:gd name="T28" fmla="*/ 80 w 323"/>
              <a:gd name="T29" fmla="*/ 148 h 323"/>
              <a:gd name="T30" fmla="*/ 80 w 323"/>
              <a:gd name="T31" fmla="*/ 147 h 323"/>
              <a:gd name="T32" fmla="*/ 97 w 323"/>
              <a:gd name="T33" fmla="*/ 152 h 323"/>
              <a:gd name="T34" fmla="*/ 81 w 323"/>
              <a:gd name="T35" fmla="*/ 122 h 323"/>
              <a:gd name="T36" fmla="*/ 86 w 323"/>
              <a:gd name="T37" fmla="*/ 103 h 323"/>
              <a:gd name="T38" fmla="*/ 161 w 323"/>
              <a:gd name="T39" fmla="*/ 141 h 323"/>
              <a:gd name="T40" fmla="*/ 160 w 323"/>
              <a:gd name="T41" fmla="*/ 133 h 323"/>
              <a:gd name="T42" fmla="*/ 196 w 323"/>
              <a:gd name="T43" fmla="*/ 97 h 323"/>
              <a:gd name="T44" fmla="*/ 222 w 323"/>
              <a:gd name="T45" fmla="*/ 108 h 323"/>
              <a:gd name="T46" fmla="*/ 246 w 323"/>
              <a:gd name="T47" fmla="*/ 99 h 323"/>
              <a:gd name="T48" fmla="*/ 230 w 323"/>
              <a:gd name="T49" fmla="*/ 119 h 323"/>
              <a:gd name="T50" fmla="*/ 250 w 323"/>
              <a:gd name="T51" fmla="*/ 114 h 323"/>
              <a:gd name="T52" fmla="*/ 232 w 323"/>
              <a:gd name="T53" fmla="*/ 13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232" y="132"/>
                </a:moveTo>
                <a:cubicBezTo>
                  <a:pt x="232" y="134"/>
                  <a:pt x="232" y="136"/>
                  <a:pt x="232" y="137"/>
                </a:cubicBezTo>
                <a:cubicBezTo>
                  <a:pt x="232" y="185"/>
                  <a:pt x="196" y="241"/>
                  <a:pt x="129" y="241"/>
                </a:cubicBezTo>
                <a:cubicBezTo>
                  <a:pt x="108" y="241"/>
                  <a:pt x="89" y="235"/>
                  <a:pt x="73" y="224"/>
                </a:cubicBezTo>
                <a:cubicBezTo>
                  <a:pt x="76" y="225"/>
                  <a:pt x="79" y="225"/>
                  <a:pt x="82" y="225"/>
                </a:cubicBezTo>
                <a:cubicBezTo>
                  <a:pt x="99" y="225"/>
                  <a:pt x="115" y="219"/>
                  <a:pt x="127" y="209"/>
                </a:cubicBezTo>
                <a:cubicBezTo>
                  <a:pt x="111" y="209"/>
                  <a:pt x="98" y="198"/>
                  <a:pt x="93" y="184"/>
                </a:cubicBezTo>
                <a:cubicBezTo>
                  <a:pt x="95" y="184"/>
                  <a:pt x="98" y="185"/>
                  <a:pt x="100" y="185"/>
                </a:cubicBezTo>
                <a:cubicBezTo>
                  <a:pt x="103" y="185"/>
                  <a:pt x="106" y="184"/>
                  <a:pt x="110" y="183"/>
                </a:cubicBezTo>
                <a:cubicBezTo>
                  <a:pt x="93" y="180"/>
                  <a:pt x="80" y="165"/>
                  <a:pt x="80" y="148"/>
                </a:cubicBezTo>
                <a:cubicBezTo>
                  <a:pt x="80" y="148"/>
                  <a:pt x="80" y="147"/>
                  <a:pt x="80" y="147"/>
                </a:cubicBezTo>
                <a:cubicBezTo>
                  <a:pt x="85" y="150"/>
                  <a:pt x="91" y="152"/>
                  <a:pt x="97" y="152"/>
                </a:cubicBezTo>
                <a:cubicBezTo>
                  <a:pt x="87" y="145"/>
                  <a:pt x="81" y="134"/>
                  <a:pt x="81" y="122"/>
                </a:cubicBezTo>
                <a:cubicBezTo>
                  <a:pt x="81" y="115"/>
                  <a:pt x="82" y="109"/>
                  <a:pt x="86" y="103"/>
                </a:cubicBezTo>
                <a:cubicBezTo>
                  <a:pt x="104" y="125"/>
                  <a:pt x="130" y="140"/>
                  <a:pt x="161" y="141"/>
                </a:cubicBezTo>
                <a:cubicBezTo>
                  <a:pt x="160" y="139"/>
                  <a:pt x="160" y="136"/>
                  <a:pt x="160" y="133"/>
                </a:cubicBezTo>
                <a:cubicBezTo>
                  <a:pt x="160" y="113"/>
                  <a:pt x="176" y="97"/>
                  <a:pt x="196" y="97"/>
                </a:cubicBezTo>
                <a:cubicBezTo>
                  <a:pt x="206" y="97"/>
                  <a:pt x="216" y="101"/>
                  <a:pt x="222" y="108"/>
                </a:cubicBezTo>
                <a:cubicBezTo>
                  <a:pt x="231" y="106"/>
                  <a:pt x="238" y="103"/>
                  <a:pt x="246" y="99"/>
                </a:cubicBezTo>
                <a:cubicBezTo>
                  <a:pt x="243" y="108"/>
                  <a:pt x="237" y="115"/>
                  <a:pt x="230" y="119"/>
                </a:cubicBezTo>
                <a:cubicBezTo>
                  <a:pt x="237" y="118"/>
                  <a:pt x="244" y="117"/>
                  <a:pt x="250" y="114"/>
                </a:cubicBezTo>
                <a:cubicBezTo>
                  <a:pt x="246" y="121"/>
                  <a:pt x="239" y="127"/>
                  <a:pt x="232" y="13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0" name="Freeform 7"/>
          <p:cNvSpPr>
            <a:spLocks noEditPoints="1"/>
          </p:cNvSpPr>
          <p:nvPr/>
        </p:nvSpPr>
        <p:spPr bwMode="auto">
          <a:xfrm>
            <a:off x="1968131" y="1626627"/>
            <a:ext cx="967084" cy="968010"/>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97 w 323"/>
              <a:gd name="T11" fmla="*/ 162 h 323"/>
              <a:gd name="T12" fmla="*/ 175 w 323"/>
              <a:gd name="T13" fmla="*/ 162 h 323"/>
              <a:gd name="T14" fmla="*/ 175 w 323"/>
              <a:gd name="T15" fmla="*/ 244 h 323"/>
              <a:gd name="T16" fmla="*/ 140 w 323"/>
              <a:gd name="T17" fmla="*/ 244 h 323"/>
              <a:gd name="T18" fmla="*/ 140 w 323"/>
              <a:gd name="T19" fmla="*/ 162 h 323"/>
              <a:gd name="T20" fmla="*/ 123 w 323"/>
              <a:gd name="T21" fmla="*/ 162 h 323"/>
              <a:gd name="T22" fmla="*/ 123 w 323"/>
              <a:gd name="T23" fmla="*/ 133 h 323"/>
              <a:gd name="T24" fmla="*/ 140 w 323"/>
              <a:gd name="T25" fmla="*/ 133 h 323"/>
              <a:gd name="T26" fmla="*/ 140 w 323"/>
              <a:gd name="T27" fmla="*/ 116 h 323"/>
              <a:gd name="T28" fmla="*/ 177 w 323"/>
              <a:gd name="T29" fmla="*/ 79 h 323"/>
              <a:gd name="T30" fmla="*/ 200 w 323"/>
              <a:gd name="T31" fmla="*/ 79 h 323"/>
              <a:gd name="T32" fmla="*/ 200 w 323"/>
              <a:gd name="T33" fmla="*/ 108 h 323"/>
              <a:gd name="T34" fmla="*/ 186 w 323"/>
              <a:gd name="T35" fmla="*/ 108 h 323"/>
              <a:gd name="T36" fmla="*/ 175 w 323"/>
              <a:gd name="T37" fmla="*/ 119 h 323"/>
              <a:gd name="T38" fmla="*/ 175 w 323"/>
              <a:gd name="T39" fmla="*/ 133 h 323"/>
              <a:gd name="T40" fmla="*/ 200 w 323"/>
              <a:gd name="T41" fmla="*/ 133 h 323"/>
              <a:gd name="T42" fmla="*/ 197 w 323"/>
              <a:gd name="T43" fmla="*/ 16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97" y="162"/>
                </a:moveTo>
                <a:cubicBezTo>
                  <a:pt x="175" y="162"/>
                  <a:pt x="175" y="162"/>
                  <a:pt x="175" y="162"/>
                </a:cubicBezTo>
                <a:cubicBezTo>
                  <a:pt x="175" y="244"/>
                  <a:pt x="175" y="244"/>
                  <a:pt x="175" y="244"/>
                </a:cubicBezTo>
                <a:cubicBezTo>
                  <a:pt x="140" y="244"/>
                  <a:pt x="140" y="244"/>
                  <a:pt x="140" y="244"/>
                </a:cubicBezTo>
                <a:cubicBezTo>
                  <a:pt x="140" y="162"/>
                  <a:pt x="140" y="162"/>
                  <a:pt x="140" y="162"/>
                </a:cubicBezTo>
                <a:cubicBezTo>
                  <a:pt x="123" y="162"/>
                  <a:pt x="123" y="162"/>
                  <a:pt x="123" y="162"/>
                </a:cubicBezTo>
                <a:cubicBezTo>
                  <a:pt x="123" y="133"/>
                  <a:pt x="123" y="133"/>
                  <a:pt x="123" y="133"/>
                </a:cubicBezTo>
                <a:cubicBezTo>
                  <a:pt x="140" y="133"/>
                  <a:pt x="140" y="133"/>
                  <a:pt x="140" y="133"/>
                </a:cubicBezTo>
                <a:cubicBezTo>
                  <a:pt x="140" y="116"/>
                  <a:pt x="140" y="116"/>
                  <a:pt x="140" y="116"/>
                </a:cubicBezTo>
                <a:cubicBezTo>
                  <a:pt x="140" y="93"/>
                  <a:pt x="150" y="79"/>
                  <a:pt x="177" y="79"/>
                </a:cubicBezTo>
                <a:cubicBezTo>
                  <a:pt x="200" y="79"/>
                  <a:pt x="200" y="79"/>
                  <a:pt x="200" y="79"/>
                </a:cubicBezTo>
                <a:cubicBezTo>
                  <a:pt x="200" y="108"/>
                  <a:pt x="200" y="108"/>
                  <a:pt x="200" y="108"/>
                </a:cubicBezTo>
                <a:cubicBezTo>
                  <a:pt x="186" y="108"/>
                  <a:pt x="186" y="108"/>
                  <a:pt x="186" y="108"/>
                </a:cubicBezTo>
                <a:cubicBezTo>
                  <a:pt x="175" y="108"/>
                  <a:pt x="175" y="112"/>
                  <a:pt x="175" y="119"/>
                </a:cubicBezTo>
                <a:cubicBezTo>
                  <a:pt x="175" y="133"/>
                  <a:pt x="175" y="133"/>
                  <a:pt x="175" y="133"/>
                </a:cubicBezTo>
                <a:cubicBezTo>
                  <a:pt x="200" y="133"/>
                  <a:pt x="200" y="133"/>
                  <a:pt x="200" y="133"/>
                </a:cubicBezTo>
                <a:lnTo>
                  <a:pt x="197" y="1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xtBox 10"/>
          <p:cNvSpPr txBox="1"/>
          <p:nvPr/>
        </p:nvSpPr>
        <p:spPr>
          <a:xfrm>
            <a:off x="1968601" y="3394120"/>
            <a:ext cx="969264" cy="180000"/>
          </a:xfrm>
          <a:prstGeom prst="rect">
            <a:avLst/>
          </a:prstGeom>
          <a:noFill/>
        </p:spPr>
        <p:txBody>
          <a:bodyPr wrap="none" lIns="0" tIns="0" rIns="0" bIns="0" rtlCol="0">
            <a:noAutofit/>
          </a:bodyPr>
          <a:lstStyle/>
          <a:p>
            <a:pPr lvl="0" algn="ctr"/>
            <a:r>
              <a:rPr lang="en-US" sz="1000" b="1">
                <a:latin typeface="Tw Cen MT" panose="020B0602020104020603" pitchFamily="34" charset="77"/>
              </a:rPr>
              <a:t>Facebook</a:t>
            </a:r>
          </a:p>
        </p:txBody>
      </p:sp>
      <p:sp>
        <p:nvSpPr>
          <p:cNvPr id="12" name="TextBox 11"/>
          <p:cNvSpPr txBox="1"/>
          <p:nvPr/>
        </p:nvSpPr>
        <p:spPr>
          <a:xfrm>
            <a:off x="3178881" y="3394120"/>
            <a:ext cx="969264" cy="180000"/>
          </a:xfrm>
          <a:prstGeom prst="rect">
            <a:avLst/>
          </a:prstGeom>
          <a:noFill/>
        </p:spPr>
        <p:txBody>
          <a:bodyPr wrap="none" lIns="0" tIns="0" rIns="0" bIns="0" rtlCol="0">
            <a:noAutofit/>
          </a:bodyPr>
          <a:lstStyle/>
          <a:p>
            <a:pPr algn="ctr"/>
            <a:r>
              <a:rPr lang="en-US" sz="1000" b="1">
                <a:latin typeface="Tw Cen MT" panose="020B0602020104020603" pitchFamily="34" charset="77"/>
              </a:rPr>
              <a:t>Twitter</a:t>
            </a:r>
          </a:p>
        </p:txBody>
      </p:sp>
      <p:sp>
        <p:nvSpPr>
          <p:cNvPr id="13" name="TextBox 12"/>
          <p:cNvSpPr txBox="1"/>
          <p:nvPr/>
        </p:nvSpPr>
        <p:spPr>
          <a:xfrm>
            <a:off x="4388327" y="3394120"/>
            <a:ext cx="969264" cy="180000"/>
          </a:xfrm>
          <a:prstGeom prst="rect">
            <a:avLst/>
          </a:prstGeom>
          <a:noFill/>
        </p:spPr>
        <p:txBody>
          <a:bodyPr wrap="none" lIns="0" tIns="0" rIns="0" bIns="0" rtlCol="0">
            <a:noAutofit/>
          </a:bodyPr>
          <a:lstStyle/>
          <a:p>
            <a:pPr algn="ctr"/>
            <a:r>
              <a:rPr lang="en-US" sz="1000" b="1">
                <a:latin typeface="Tw Cen MT" panose="020B0602020104020603" pitchFamily="34" charset="77"/>
              </a:rPr>
              <a:t>Linked in</a:t>
            </a:r>
            <a:endParaRPr lang="en-US" sz="1000" b="1" i="1">
              <a:latin typeface="Tw Cen MT" panose="020B0602020104020603" pitchFamily="34" charset="77"/>
            </a:endParaRPr>
          </a:p>
        </p:txBody>
      </p:sp>
      <p:sp>
        <p:nvSpPr>
          <p:cNvPr id="14" name="TextBox 13"/>
          <p:cNvSpPr txBox="1"/>
          <p:nvPr/>
        </p:nvSpPr>
        <p:spPr>
          <a:xfrm>
            <a:off x="5600198" y="3394120"/>
            <a:ext cx="969264" cy="180000"/>
          </a:xfrm>
          <a:prstGeom prst="rect">
            <a:avLst/>
          </a:prstGeom>
          <a:noFill/>
        </p:spPr>
        <p:txBody>
          <a:bodyPr wrap="none" lIns="0" tIns="0" rIns="0" bIns="0" rtlCol="0">
            <a:noAutofit/>
          </a:bodyPr>
          <a:lstStyle/>
          <a:p>
            <a:pPr lvl="0" algn="ctr"/>
            <a:r>
              <a:rPr lang="en-US" sz="1000" b="1">
                <a:latin typeface="Tw Cen MT" panose="020B0602020104020603" pitchFamily="34" charset="77"/>
              </a:rPr>
              <a:t>Pinterest</a:t>
            </a:r>
          </a:p>
        </p:txBody>
      </p:sp>
      <p:sp>
        <p:nvSpPr>
          <p:cNvPr id="15" name="TextBox 14"/>
          <p:cNvSpPr txBox="1"/>
          <p:nvPr/>
        </p:nvSpPr>
        <p:spPr>
          <a:xfrm>
            <a:off x="6827163" y="3394120"/>
            <a:ext cx="969264" cy="180000"/>
          </a:xfrm>
          <a:prstGeom prst="rect">
            <a:avLst/>
          </a:prstGeom>
          <a:noFill/>
        </p:spPr>
        <p:txBody>
          <a:bodyPr wrap="none" lIns="0" tIns="0" rIns="0" bIns="0" rtlCol="0">
            <a:noAutofit/>
          </a:bodyPr>
          <a:lstStyle/>
          <a:p>
            <a:pPr lvl="0" algn="ctr"/>
            <a:r>
              <a:rPr lang="en-US" sz="1000" b="1">
                <a:latin typeface="Tw Cen MT" panose="020B0602020104020603" pitchFamily="34" charset="77"/>
              </a:rPr>
              <a:t>Google</a:t>
            </a:r>
          </a:p>
        </p:txBody>
      </p:sp>
      <p:sp>
        <p:nvSpPr>
          <p:cNvPr id="16" name="TextBox 15"/>
          <p:cNvSpPr txBox="1"/>
          <p:nvPr/>
        </p:nvSpPr>
        <p:spPr>
          <a:xfrm>
            <a:off x="8034836" y="3394120"/>
            <a:ext cx="969264" cy="180000"/>
          </a:xfrm>
          <a:prstGeom prst="rect">
            <a:avLst/>
          </a:prstGeom>
          <a:noFill/>
        </p:spPr>
        <p:txBody>
          <a:bodyPr wrap="none" lIns="0" tIns="0" rIns="0" bIns="0" rtlCol="0">
            <a:noAutofit/>
          </a:bodyPr>
          <a:lstStyle/>
          <a:p>
            <a:pPr lvl="0" algn="ctr"/>
            <a:r>
              <a:rPr lang="en-US" sz="1000" b="1">
                <a:latin typeface="Tw Cen MT" panose="020B0602020104020603" pitchFamily="34" charset="77"/>
              </a:rPr>
              <a:t>Instagram</a:t>
            </a:r>
          </a:p>
        </p:txBody>
      </p:sp>
      <p:sp>
        <p:nvSpPr>
          <p:cNvPr id="17" name="TextBox 16"/>
          <p:cNvSpPr txBox="1"/>
          <p:nvPr/>
        </p:nvSpPr>
        <p:spPr>
          <a:xfrm>
            <a:off x="9254605" y="3394120"/>
            <a:ext cx="969264" cy="180000"/>
          </a:xfrm>
          <a:prstGeom prst="rect">
            <a:avLst/>
          </a:prstGeom>
          <a:noFill/>
        </p:spPr>
        <p:txBody>
          <a:bodyPr wrap="none" lIns="0" tIns="0" rIns="0" bIns="0" rtlCol="0">
            <a:noAutofit/>
          </a:bodyPr>
          <a:lstStyle/>
          <a:p>
            <a:pPr lvl="0" algn="ctr"/>
            <a:r>
              <a:rPr lang="en-US" sz="1000" b="1">
                <a:latin typeface="Tw Cen MT" panose="020B0602020104020603" pitchFamily="34" charset="77"/>
              </a:rPr>
              <a:t>YouTube</a:t>
            </a:r>
          </a:p>
        </p:txBody>
      </p:sp>
      <p:sp>
        <p:nvSpPr>
          <p:cNvPr id="19" name="AutoShape 1"/>
          <p:cNvSpPr>
            <a:spLocks/>
          </p:cNvSpPr>
          <p:nvPr/>
        </p:nvSpPr>
        <p:spPr bwMode="auto">
          <a:xfrm>
            <a:off x="9350092" y="2964997"/>
            <a:ext cx="105961" cy="204785"/>
          </a:xfrm>
          <a:custGeom>
            <a:avLst/>
            <a:gdLst/>
            <a:ahLst/>
            <a:cxnLst/>
            <a:rect l="0" t="0" r="r" b="b"/>
            <a:pathLst>
              <a:path w="21600" h="21600">
                <a:moveTo>
                  <a:pt x="0" y="0"/>
                </a:moveTo>
                <a:lnTo>
                  <a:pt x="6487" y="0"/>
                </a:lnTo>
                <a:lnTo>
                  <a:pt x="10666" y="8634"/>
                </a:lnTo>
                <a:lnTo>
                  <a:pt x="11071" y="8634"/>
                </a:lnTo>
                <a:lnTo>
                  <a:pt x="15056" y="0"/>
                </a:lnTo>
                <a:lnTo>
                  <a:pt x="21600" y="0"/>
                </a:lnTo>
                <a:lnTo>
                  <a:pt x="14104" y="12637"/>
                </a:lnTo>
                <a:lnTo>
                  <a:pt x="14104" y="21600"/>
                </a:lnTo>
                <a:lnTo>
                  <a:pt x="7663" y="21600"/>
                </a:lnTo>
                <a:lnTo>
                  <a:pt x="7663" y="13041"/>
                </a:lnTo>
                <a:cubicBezTo>
                  <a:pt x="7663" y="13041"/>
                  <a:pt x="0" y="0"/>
                  <a:pt x="0" y="0"/>
                </a:cubicBezTo>
                <a:close/>
                <a:moveTo>
                  <a:pt x="0" y="0"/>
                </a:moveTo>
              </a:path>
            </a:pathLst>
          </a:custGeom>
          <a:solidFill>
            <a:schemeClr val="accent1"/>
          </a:solidFill>
          <a:ln>
            <a:noFill/>
          </a:ln>
        </p:spPr>
        <p:txBody>
          <a:bodyPr lIns="0" tIns="0" rIns="0" bIns="0"/>
          <a:lstStyle/>
          <a:p>
            <a:endParaRPr lang="en-US"/>
          </a:p>
        </p:txBody>
      </p:sp>
      <p:sp>
        <p:nvSpPr>
          <p:cNvPr id="20" name="AutoShape 2"/>
          <p:cNvSpPr>
            <a:spLocks/>
          </p:cNvSpPr>
          <p:nvPr/>
        </p:nvSpPr>
        <p:spPr bwMode="auto">
          <a:xfrm>
            <a:off x="9455517" y="3014944"/>
            <a:ext cx="81700" cy="158584"/>
          </a:xfrm>
          <a:custGeom>
            <a:avLst/>
            <a:gdLst/>
            <a:ahLst/>
            <a:cxnLst/>
            <a:rect l="0" t="0" r="r" b="b"/>
            <a:pathLst>
              <a:path w="21600" h="21600">
                <a:moveTo>
                  <a:pt x="7658" y="16264"/>
                </a:moveTo>
                <a:cubicBezTo>
                  <a:pt x="7658" y="16830"/>
                  <a:pt x="7922" y="17266"/>
                  <a:pt x="8452" y="17575"/>
                </a:cubicBezTo>
                <a:cubicBezTo>
                  <a:pt x="8981" y="17883"/>
                  <a:pt x="9738" y="18037"/>
                  <a:pt x="10722" y="18037"/>
                </a:cubicBezTo>
                <a:cubicBezTo>
                  <a:pt x="11731" y="18037"/>
                  <a:pt x="12532" y="17880"/>
                  <a:pt x="13125" y="17565"/>
                </a:cubicBezTo>
                <a:cubicBezTo>
                  <a:pt x="13718" y="17250"/>
                  <a:pt x="14015" y="16817"/>
                  <a:pt x="14015" y="16264"/>
                </a:cubicBezTo>
                <a:lnTo>
                  <a:pt x="14015" y="5066"/>
                </a:lnTo>
                <a:cubicBezTo>
                  <a:pt x="14015" y="4617"/>
                  <a:pt x="13711" y="4254"/>
                  <a:pt x="13106" y="3978"/>
                </a:cubicBezTo>
                <a:cubicBezTo>
                  <a:pt x="12501" y="3701"/>
                  <a:pt x="11706" y="3563"/>
                  <a:pt x="10722" y="3563"/>
                </a:cubicBezTo>
                <a:cubicBezTo>
                  <a:pt x="9815" y="3563"/>
                  <a:pt x="9076" y="3701"/>
                  <a:pt x="8509" y="3978"/>
                </a:cubicBezTo>
                <a:cubicBezTo>
                  <a:pt x="7941" y="4254"/>
                  <a:pt x="7658" y="4617"/>
                  <a:pt x="7658" y="5066"/>
                </a:cubicBezTo>
                <a:cubicBezTo>
                  <a:pt x="7658" y="5066"/>
                  <a:pt x="7658" y="16264"/>
                  <a:pt x="7658" y="16264"/>
                </a:cubicBezTo>
                <a:close/>
                <a:moveTo>
                  <a:pt x="0" y="5220"/>
                </a:moveTo>
                <a:cubicBezTo>
                  <a:pt x="0" y="3628"/>
                  <a:pt x="1001" y="2360"/>
                  <a:pt x="3005" y="1416"/>
                </a:cubicBezTo>
                <a:cubicBezTo>
                  <a:pt x="5008" y="472"/>
                  <a:pt x="7700" y="0"/>
                  <a:pt x="11082" y="0"/>
                </a:cubicBezTo>
                <a:cubicBezTo>
                  <a:pt x="14162" y="0"/>
                  <a:pt x="16684" y="498"/>
                  <a:pt x="18651" y="1493"/>
                </a:cubicBezTo>
                <a:cubicBezTo>
                  <a:pt x="20617" y="2488"/>
                  <a:pt x="21600" y="3769"/>
                  <a:pt x="21600" y="5336"/>
                </a:cubicBezTo>
                <a:lnTo>
                  <a:pt x="21600" y="15956"/>
                </a:lnTo>
                <a:cubicBezTo>
                  <a:pt x="21600" y="17715"/>
                  <a:pt x="20635" y="19096"/>
                  <a:pt x="18707" y="20097"/>
                </a:cubicBezTo>
                <a:cubicBezTo>
                  <a:pt x="16779" y="21099"/>
                  <a:pt x="14124" y="21600"/>
                  <a:pt x="10744" y="21600"/>
                </a:cubicBezTo>
                <a:cubicBezTo>
                  <a:pt x="7488" y="21600"/>
                  <a:pt x="4883" y="21083"/>
                  <a:pt x="2930" y="20049"/>
                </a:cubicBezTo>
                <a:cubicBezTo>
                  <a:pt x="976" y="19016"/>
                  <a:pt x="0" y="17626"/>
                  <a:pt x="0" y="15879"/>
                </a:cubicBezTo>
                <a:cubicBezTo>
                  <a:pt x="0" y="15879"/>
                  <a:pt x="0" y="5220"/>
                  <a:pt x="0" y="5220"/>
                </a:cubicBezTo>
                <a:close/>
                <a:moveTo>
                  <a:pt x="0" y="5220"/>
                </a:moveTo>
              </a:path>
            </a:pathLst>
          </a:custGeom>
          <a:solidFill>
            <a:schemeClr val="accent1"/>
          </a:solidFill>
          <a:ln>
            <a:noFill/>
          </a:ln>
        </p:spPr>
        <p:txBody>
          <a:bodyPr lIns="0" tIns="0" rIns="0" bIns="0"/>
          <a:lstStyle/>
          <a:p>
            <a:endParaRPr lang="en-US" sz="1000">
              <a:latin typeface="Tw Cen MT" panose="020B0602020104020603" pitchFamily="34" charset="77"/>
            </a:endParaRPr>
          </a:p>
        </p:txBody>
      </p:sp>
      <p:sp>
        <p:nvSpPr>
          <p:cNvPr id="21" name="AutoShape 3"/>
          <p:cNvSpPr>
            <a:spLocks/>
          </p:cNvSpPr>
          <p:nvPr/>
        </p:nvSpPr>
        <p:spPr bwMode="auto">
          <a:xfrm>
            <a:off x="9561300" y="3019226"/>
            <a:ext cx="80095" cy="153232"/>
          </a:xfrm>
          <a:custGeom>
            <a:avLst/>
            <a:gdLst/>
            <a:ahLst/>
            <a:cxnLst/>
            <a:rect l="0" t="0" r="r" b="b"/>
            <a:pathLst>
              <a:path w="21600" h="21600">
                <a:moveTo>
                  <a:pt x="21600" y="0"/>
                </a:moveTo>
                <a:lnTo>
                  <a:pt x="21600" y="21292"/>
                </a:lnTo>
                <a:lnTo>
                  <a:pt x="14033" y="21292"/>
                </a:lnTo>
                <a:lnTo>
                  <a:pt x="14033" y="18942"/>
                </a:lnTo>
                <a:cubicBezTo>
                  <a:pt x="12638" y="19808"/>
                  <a:pt x="11187" y="20468"/>
                  <a:pt x="9678" y="20921"/>
                </a:cubicBezTo>
                <a:cubicBezTo>
                  <a:pt x="8170" y="21373"/>
                  <a:pt x="6705" y="21600"/>
                  <a:pt x="5286" y="21600"/>
                </a:cubicBezTo>
                <a:cubicBezTo>
                  <a:pt x="3537" y="21600"/>
                  <a:pt x="2218" y="21283"/>
                  <a:pt x="1330" y="20649"/>
                </a:cubicBezTo>
                <a:cubicBezTo>
                  <a:pt x="443" y="20015"/>
                  <a:pt x="0" y="19065"/>
                  <a:pt x="0" y="17797"/>
                </a:cubicBezTo>
                <a:lnTo>
                  <a:pt x="0" y="0"/>
                </a:lnTo>
                <a:lnTo>
                  <a:pt x="7567" y="0"/>
                </a:lnTo>
                <a:lnTo>
                  <a:pt x="7567" y="16322"/>
                </a:lnTo>
                <a:cubicBezTo>
                  <a:pt x="7567" y="16827"/>
                  <a:pt x="7726" y="17192"/>
                  <a:pt x="8043" y="17418"/>
                </a:cubicBezTo>
                <a:cubicBezTo>
                  <a:pt x="8359" y="17644"/>
                  <a:pt x="8873" y="17757"/>
                  <a:pt x="9583" y="17757"/>
                </a:cubicBezTo>
                <a:cubicBezTo>
                  <a:pt x="10141" y="17757"/>
                  <a:pt x="10844" y="17607"/>
                  <a:pt x="11693" y="17309"/>
                </a:cubicBezTo>
                <a:cubicBezTo>
                  <a:pt x="12543" y="17009"/>
                  <a:pt x="13322" y="16628"/>
                  <a:pt x="14033" y="16162"/>
                </a:cubicBezTo>
                <a:lnTo>
                  <a:pt x="14033" y="0"/>
                </a:lnTo>
                <a:cubicBezTo>
                  <a:pt x="14033" y="0"/>
                  <a:pt x="21600" y="0"/>
                  <a:pt x="21600" y="0"/>
                </a:cubicBezTo>
                <a:close/>
                <a:moveTo>
                  <a:pt x="21600" y="0"/>
                </a:moveTo>
              </a:path>
            </a:pathLst>
          </a:custGeom>
          <a:solidFill>
            <a:schemeClr val="accent1"/>
          </a:solidFill>
          <a:ln>
            <a:noFill/>
          </a:ln>
        </p:spPr>
        <p:txBody>
          <a:bodyPr lIns="0" tIns="0" rIns="0" bIns="0"/>
          <a:lstStyle/>
          <a:p>
            <a:endParaRPr lang="en-US" sz="1000">
              <a:latin typeface="Tw Cen MT" panose="020B0602020104020603" pitchFamily="34" charset="77"/>
            </a:endParaRPr>
          </a:p>
        </p:txBody>
      </p:sp>
      <p:sp>
        <p:nvSpPr>
          <p:cNvPr id="22" name="AutoShape 4"/>
          <p:cNvSpPr>
            <a:spLocks/>
          </p:cNvSpPr>
          <p:nvPr/>
        </p:nvSpPr>
        <p:spPr bwMode="auto">
          <a:xfrm>
            <a:off x="9935194" y="3040632"/>
            <a:ext cx="23369" cy="104890"/>
          </a:xfrm>
          <a:custGeom>
            <a:avLst/>
            <a:gdLst/>
            <a:ahLst/>
            <a:cxnLst/>
            <a:rect l="0" t="0" r="r" b="b"/>
            <a:pathLst>
              <a:path w="21600" h="21600">
                <a:moveTo>
                  <a:pt x="10800" y="0"/>
                </a:moveTo>
                <a:cubicBezTo>
                  <a:pt x="8957" y="0"/>
                  <a:pt x="7132" y="102"/>
                  <a:pt x="5333" y="306"/>
                </a:cubicBezTo>
                <a:cubicBezTo>
                  <a:pt x="3532" y="510"/>
                  <a:pt x="1756" y="826"/>
                  <a:pt x="0" y="1253"/>
                </a:cubicBezTo>
                <a:lnTo>
                  <a:pt x="0" y="20173"/>
                </a:lnTo>
                <a:cubicBezTo>
                  <a:pt x="2105" y="20678"/>
                  <a:pt x="4145" y="21043"/>
                  <a:pt x="6124" y="21265"/>
                </a:cubicBezTo>
                <a:cubicBezTo>
                  <a:pt x="8100" y="21489"/>
                  <a:pt x="10184" y="21600"/>
                  <a:pt x="12381" y="21600"/>
                </a:cubicBezTo>
                <a:cubicBezTo>
                  <a:pt x="15540" y="21600"/>
                  <a:pt x="17868" y="21382"/>
                  <a:pt x="19359" y="20945"/>
                </a:cubicBezTo>
                <a:cubicBezTo>
                  <a:pt x="20851" y="20509"/>
                  <a:pt x="21600" y="19794"/>
                  <a:pt x="21600" y="18803"/>
                </a:cubicBezTo>
                <a:lnTo>
                  <a:pt x="21600" y="3204"/>
                </a:lnTo>
                <a:cubicBezTo>
                  <a:pt x="21600" y="2156"/>
                  <a:pt x="20679" y="1360"/>
                  <a:pt x="18833" y="816"/>
                </a:cubicBezTo>
                <a:cubicBezTo>
                  <a:pt x="16990" y="273"/>
                  <a:pt x="14308" y="0"/>
                  <a:pt x="10800" y="0"/>
                </a:cubicBezTo>
                <a:close/>
                <a:moveTo>
                  <a:pt x="10800" y="0"/>
                </a:moveTo>
              </a:path>
            </a:pathLst>
          </a:custGeom>
          <a:solidFill>
            <a:schemeClr val="accent1"/>
          </a:solidFill>
          <a:ln>
            <a:noFill/>
          </a:ln>
        </p:spPr>
        <p:txBody>
          <a:bodyPr lIns="0" tIns="0" rIns="0" bIns="0"/>
          <a:lstStyle/>
          <a:p>
            <a:endParaRPr lang="en-US" sz="1000">
              <a:latin typeface="Tw Cen MT" panose="020B0602020104020603" pitchFamily="34" charset="77"/>
            </a:endParaRPr>
          </a:p>
        </p:txBody>
      </p:sp>
      <p:sp>
        <p:nvSpPr>
          <p:cNvPr id="23" name="AutoShape 5"/>
          <p:cNvSpPr>
            <a:spLocks/>
          </p:cNvSpPr>
          <p:nvPr/>
        </p:nvSpPr>
        <p:spPr bwMode="auto">
          <a:xfrm>
            <a:off x="10036517" y="3040632"/>
            <a:ext cx="24796" cy="30682"/>
          </a:xfrm>
          <a:custGeom>
            <a:avLst/>
            <a:gdLst/>
            <a:ahLst/>
            <a:cxnLst/>
            <a:rect l="0" t="0" r="r" b="b"/>
            <a:pathLst>
              <a:path w="21600" h="21600">
                <a:moveTo>
                  <a:pt x="10922" y="0"/>
                </a:moveTo>
                <a:cubicBezTo>
                  <a:pt x="7032" y="0"/>
                  <a:pt x="4240" y="962"/>
                  <a:pt x="2544" y="2879"/>
                </a:cubicBezTo>
                <a:cubicBezTo>
                  <a:pt x="844" y="4800"/>
                  <a:pt x="0" y="7978"/>
                  <a:pt x="0" y="12410"/>
                </a:cubicBezTo>
                <a:lnTo>
                  <a:pt x="0" y="21600"/>
                </a:lnTo>
                <a:lnTo>
                  <a:pt x="21600" y="21600"/>
                </a:lnTo>
                <a:lnTo>
                  <a:pt x="21600" y="12410"/>
                </a:lnTo>
                <a:cubicBezTo>
                  <a:pt x="21600" y="7978"/>
                  <a:pt x="20751" y="4800"/>
                  <a:pt x="19056" y="2879"/>
                </a:cubicBezTo>
                <a:cubicBezTo>
                  <a:pt x="17358" y="962"/>
                  <a:pt x="14646" y="0"/>
                  <a:pt x="10922" y="0"/>
                </a:cubicBezTo>
                <a:close/>
                <a:moveTo>
                  <a:pt x="10922" y="0"/>
                </a:moveTo>
              </a:path>
            </a:pathLst>
          </a:custGeom>
          <a:solidFill>
            <a:schemeClr val="accent1"/>
          </a:solidFill>
          <a:ln>
            <a:noFill/>
          </a:ln>
        </p:spPr>
        <p:txBody>
          <a:bodyPr lIns="0" tIns="0" rIns="0" bIns="0"/>
          <a:lstStyle/>
          <a:p>
            <a:endParaRPr lang="en-US" sz="1000">
              <a:latin typeface="Tw Cen MT" panose="020B0602020104020603" pitchFamily="34" charset="77"/>
            </a:endParaRPr>
          </a:p>
        </p:txBody>
      </p:sp>
      <p:sp>
        <p:nvSpPr>
          <p:cNvPr id="24" name="AutoShape 6"/>
          <p:cNvSpPr>
            <a:spLocks/>
          </p:cNvSpPr>
          <p:nvPr/>
        </p:nvSpPr>
        <p:spPr bwMode="auto">
          <a:xfrm>
            <a:off x="9665298" y="2913622"/>
            <a:ext cx="463087" cy="311638"/>
          </a:xfrm>
          <a:custGeom>
            <a:avLst/>
            <a:gdLst/>
            <a:ahLst/>
            <a:cxnLst/>
            <a:rect l="0" t="0" r="r" b="b"/>
            <a:pathLst>
              <a:path w="21592" h="21587">
                <a:moveTo>
                  <a:pt x="19807" y="10032"/>
                </a:moveTo>
                <a:lnTo>
                  <a:pt x="19807" y="12545"/>
                </a:lnTo>
                <a:lnTo>
                  <a:pt x="19807" y="12696"/>
                </a:lnTo>
                <a:lnTo>
                  <a:pt x="17301" y="12696"/>
                </a:lnTo>
                <a:lnTo>
                  <a:pt x="17301" y="14519"/>
                </a:lnTo>
                <a:cubicBezTo>
                  <a:pt x="17301" y="15069"/>
                  <a:pt x="17345" y="15450"/>
                  <a:pt x="17431" y="15663"/>
                </a:cubicBezTo>
                <a:cubicBezTo>
                  <a:pt x="17517" y="15876"/>
                  <a:pt x="17665" y="15982"/>
                  <a:pt x="17873" y="15982"/>
                </a:cubicBezTo>
                <a:cubicBezTo>
                  <a:pt x="18091" y="15982"/>
                  <a:pt x="18243" y="15892"/>
                  <a:pt x="18329" y="15712"/>
                </a:cubicBezTo>
                <a:cubicBezTo>
                  <a:pt x="18415" y="15532"/>
                  <a:pt x="18459" y="15134"/>
                  <a:pt x="18459" y="14519"/>
                </a:cubicBezTo>
                <a:lnTo>
                  <a:pt x="18459" y="13943"/>
                </a:lnTo>
                <a:lnTo>
                  <a:pt x="18459" y="13792"/>
                </a:lnTo>
                <a:lnTo>
                  <a:pt x="19807" y="13792"/>
                </a:lnTo>
                <a:lnTo>
                  <a:pt x="19807" y="13943"/>
                </a:lnTo>
                <a:lnTo>
                  <a:pt x="19807" y="14577"/>
                </a:lnTo>
                <a:lnTo>
                  <a:pt x="19807" y="14728"/>
                </a:lnTo>
                <a:cubicBezTo>
                  <a:pt x="19807" y="15801"/>
                  <a:pt x="19643" y="16608"/>
                  <a:pt x="19315" y="17151"/>
                </a:cubicBezTo>
                <a:cubicBezTo>
                  <a:pt x="18986" y="17694"/>
                  <a:pt x="18496" y="17965"/>
                  <a:pt x="17844" y="17965"/>
                </a:cubicBezTo>
                <a:cubicBezTo>
                  <a:pt x="17257" y="17965"/>
                  <a:pt x="16796" y="17678"/>
                  <a:pt x="16459" y="17102"/>
                </a:cubicBezTo>
                <a:cubicBezTo>
                  <a:pt x="16122" y="16527"/>
                  <a:pt x="15953" y="15736"/>
                  <a:pt x="15953" y="14728"/>
                </a:cubicBezTo>
                <a:lnTo>
                  <a:pt x="15953" y="14577"/>
                </a:lnTo>
                <a:lnTo>
                  <a:pt x="15953" y="10032"/>
                </a:lnTo>
                <a:lnTo>
                  <a:pt x="15953" y="9881"/>
                </a:lnTo>
                <a:cubicBezTo>
                  <a:pt x="15953" y="8973"/>
                  <a:pt x="16138" y="8233"/>
                  <a:pt x="16508" y="7661"/>
                </a:cubicBezTo>
                <a:cubicBezTo>
                  <a:pt x="16878" y="7090"/>
                  <a:pt x="17357" y="6804"/>
                  <a:pt x="17943" y="6804"/>
                </a:cubicBezTo>
                <a:cubicBezTo>
                  <a:pt x="18542" y="6804"/>
                  <a:pt x="19003" y="7069"/>
                  <a:pt x="19324" y="7598"/>
                </a:cubicBezTo>
                <a:cubicBezTo>
                  <a:pt x="19646" y="8127"/>
                  <a:pt x="19807" y="8888"/>
                  <a:pt x="19807" y="9881"/>
                </a:cubicBezTo>
                <a:cubicBezTo>
                  <a:pt x="19807" y="9881"/>
                  <a:pt x="19807" y="10032"/>
                  <a:pt x="19807" y="10032"/>
                </a:cubicBezTo>
                <a:close/>
                <a:moveTo>
                  <a:pt x="14965" y="9710"/>
                </a:moveTo>
                <a:lnTo>
                  <a:pt x="14965" y="15363"/>
                </a:lnTo>
                <a:lnTo>
                  <a:pt x="14965" y="15514"/>
                </a:lnTo>
                <a:cubicBezTo>
                  <a:pt x="14965" y="16258"/>
                  <a:pt x="14862" y="16827"/>
                  <a:pt x="14657" y="17222"/>
                </a:cubicBezTo>
                <a:cubicBezTo>
                  <a:pt x="14452" y="17617"/>
                  <a:pt x="14155" y="17814"/>
                  <a:pt x="13767" y="17814"/>
                </a:cubicBezTo>
                <a:cubicBezTo>
                  <a:pt x="13511" y="17814"/>
                  <a:pt x="13283" y="17738"/>
                  <a:pt x="13082" y="17585"/>
                </a:cubicBezTo>
                <a:cubicBezTo>
                  <a:pt x="12882" y="17432"/>
                  <a:pt x="12695" y="17196"/>
                  <a:pt x="12523" y="16878"/>
                </a:cubicBezTo>
                <a:lnTo>
                  <a:pt x="12523" y="17531"/>
                </a:lnTo>
                <a:lnTo>
                  <a:pt x="12523" y="17682"/>
                </a:lnTo>
                <a:lnTo>
                  <a:pt x="11200" y="17682"/>
                </a:lnTo>
                <a:lnTo>
                  <a:pt x="11200" y="17531"/>
                </a:lnTo>
                <a:lnTo>
                  <a:pt x="11200" y="3499"/>
                </a:lnTo>
                <a:lnTo>
                  <a:pt x="11200" y="3348"/>
                </a:lnTo>
                <a:lnTo>
                  <a:pt x="12523" y="3348"/>
                </a:lnTo>
                <a:lnTo>
                  <a:pt x="12523" y="3499"/>
                </a:lnTo>
                <a:lnTo>
                  <a:pt x="12523" y="7914"/>
                </a:lnTo>
                <a:cubicBezTo>
                  <a:pt x="12700" y="7594"/>
                  <a:pt x="12887" y="7352"/>
                  <a:pt x="13085" y="7186"/>
                </a:cubicBezTo>
                <a:cubicBezTo>
                  <a:pt x="13284" y="7019"/>
                  <a:pt x="13485" y="6936"/>
                  <a:pt x="13688" y="6936"/>
                </a:cubicBezTo>
                <a:cubicBezTo>
                  <a:pt x="14102" y="6936"/>
                  <a:pt x="14419" y="7160"/>
                  <a:pt x="14637" y="7607"/>
                </a:cubicBezTo>
                <a:cubicBezTo>
                  <a:pt x="14856" y="8053"/>
                  <a:pt x="14965" y="8704"/>
                  <a:pt x="14965" y="9559"/>
                </a:cubicBezTo>
                <a:cubicBezTo>
                  <a:pt x="14965" y="9559"/>
                  <a:pt x="14965" y="9710"/>
                  <a:pt x="14965" y="9710"/>
                </a:cubicBezTo>
                <a:close/>
                <a:moveTo>
                  <a:pt x="9922" y="7219"/>
                </a:moveTo>
                <a:lnTo>
                  <a:pt x="9922" y="17531"/>
                </a:lnTo>
                <a:lnTo>
                  <a:pt x="9922" y="17682"/>
                </a:lnTo>
                <a:lnTo>
                  <a:pt x="8612" y="17682"/>
                </a:lnTo>
                <a:lnTo>
                  <a:pt x="8612" y="17531"/>
                </a:lnTo>
                <a:lnTo>
                  <a:pt x="8612" y="16527"/>
                </a:lnTo>
                <a:cubicBezTo>
                  <a:pt x="8371" y="16952"/>
                  <a:pt x="8120" y="17277"/>
                  <a:pt x="7858" y="17499"/>
                </a:cubicBezTo>
                <a:cubicBezTo>
                  <a:pt x="7597" y="17722"/>
                  <a:pt x="7344" y="17833"/>
                  <a:pt x="7098" y="17833"/>
                </a:cubicBezTo>
                <a:cubicBezTo>
                  <a:pt x="6795" y="17833"/>
                  <a:pt x="6567" y="17678"/>
                  <a:pt x="6413" y="17366"/>
                </a:cubicBezTo>
                <a:cubicBezTo>
                  <a:pt x="6260" y="17054"/>
                  <a:pt x="6183" y="16587"/>
                  <a:pt x="6183" y="15964"/>
                </a:cubicBezTo>
                <a:lnTo>
                  <a:pt x="6183" y="15813"/>
                </a:lnTo>
                <a:lnTo>
                  <a:pt x="6183" y="7219"/>
                </a:lnTo>
                <a:lnTo>
                  <a:pt x="6183" y="7068"/>
                </a:lnTo>
                <a:lnTo>
                  <a:pt x="7493" y="7068"/>
                </a:lnTo>
                <a:lnTo>
                  <a:pt x="7493" y="7219"/>
                </a:lnTo>
                <a:lnTo>
                  <a:pt x="7493" y="15089"/>
                </a:lnTo>
                <a:cubicBezTo>
                  <a:pt x="7493" y="15337"/>
                  <a:pt x="7520" y="15516"/>
                  <a:pt x="7575" y="15627"/>
                </a:cubicBezTo>
                <a:cubicBezTo>
                  <a:pt x="7630" y="15738"/>
                  <a:pt x="7719" y="15793"/>
                  <a:pt x="7842" y="15793"/>
                </a:cubicBezTo>
                <a:cubicBezTo>
                  <a:pt x="7939" y="15793"/>
                  <a:pt x="8060" y="15720"/>
                  <a:pt x="8207" y="15573"/>
                </a:cubicBezTo>
                <a:cubicBezTo>
                  <a:pt x="8354" y="15426"/>
                  <a:pt x="8489" y="15239"/>
                  <a:pt x="8612" y="15010"/>
                </a:cubicBezTo>
                <a:lnTo>
                  <a:pt x="8612" y="7219"/>
                </a:lnTo>
                <a:lnTo>
                  <a:pt x="8612" y="7068"/>
                </a:lnTo>
                <a:lnTo>
                  <a:pt x="9922" y="7068"/>
                </a:lnTo>
                <a:cubicBezTo>
                  <a:pt x="9922" y="7068"/>
                  <a:pt x="9922" y="7219"/>
                  <a:pt x="9922" y="7219"/>
                </a:cubicBezTo>
                <a:close/>
                <a:moveTo>
                  <a:pt x="4675" y="17531"/>
                </a:moveTo>
                <a:lnTo>
                  <a:pt x="4675" y="17682"/>
                </a:lnTo>
                <a:lnTo>
                  <a:pt x="3199" y="17682"/>
                </a:lnTo>
                <a:lnTo>
                  <a:pt x="3199" y="17531"/>
                </a:lnTo>
                <a:lnTo>
                  <a:pt x="3199" y="5558"/>
                </a:lnTo>
                <a:lnTo>
                  <a:pt x="1673" y="5558"/>
                </a:lnTo>
                <a:lnTo>
                  <a:pt x="1673" y="5406"/>
                </a:lnTo>
                <a:lnTo>
                  <a:pt x="1673" y="3499"/>
                </a:lnTo>
                <a:lnTo>
                  <a:pt x="1673" y="3348"/>
                </a:lnTo>
                <a:lnTo>
                  <a:pt x="6201" y="3348"/>
                </a:lnTo>
                <a:lnTo>
                  <a:pt x="6201" y="3499"/>
                </a:lnTo>
                <a:lnTo>
                  <a:pt x="6201" y="5406"/>
                </a:lnTo>
                <a:lnTo>
                  <a:pt x="6201" y="5558"/>
                </a:lnTo>
                <a:lnTo>
                  <a:pt x="4675" y="5558"/>
                </a:lnTo>
                <a:cubicBezTo>
                  <a:pt x="4675" y="5558"/>
                  <a:pt x="4675" y="17531"/>
                  <a:pt x="4675" y="17531"/>
                </a:cubicBezTo>
                <a:close/>
                <a:moveTo>
                  <a:pt x="21448" y="4791"/>
                </a:moveTo>
                <a:cubicBezTo>
                  <a:pt x="21448" y="2264"/>
                  <a:pt x="20051" y="214"/>
                  <a:pt x="18330" y="214"/>
                </a:cubicBezTo>
                <a:cubicBezTo>
                  <a:pt x="15873" y="62"/>
                  <a:pt x="13360" y="-6"/>
                  <a:pt x="10796" y="1"/>
                </a:cubicBezTo>
                <a:cubicBezTo>
                  <a:pt x="8232" y="-6"/>
                  <a:pt x="5719" y="62"/>
                  <a:pt x="3262" y="214"/>
                </a:cubicBezTo>
                <a:cubicBezTo>
                  <a:pt x="1541" y="214"/>
                  <a:pt x="144" y="2264"/>
                  <a:pt x="144" y="4791"/>
                </a:cubicBezTo>
                <a:cubicBezTo>
                  <a:pt x="41" y="6792"/>
                  <a:pt x="-4" y="8793"/>
                  <a:pt x="0" y="10794"/>
                </a:cubicBezTo>
                <a:cubicBezTo>
                  <a:pt x="-4" y="12795"/>
                  <a:pt x="41" y="14796"/>
                  <a:pt x="144" y="16797"/>
                </a:cubicBezTo>
                <a:cubicBezTo>
                  <a:pt x="144" y="19324"/>
                  <a:pt x="1541" y="21374"/>
                  <a:pt x="3262" y="21374"/>
                </a:cubicBezTo>
                <a:cubicBezTo>
                  <a:pt x="5719" y="21526"/>
                  <a:pt x="8232" y="21594"/>
                  <a:pt x="10796" y="21587"/>
                </a:cubicBezTo>
                <a:cubicBezTo>
                  <a:pt x="13360" y="21594"/>
                  <a:pt x="15873" y="21526"/>
                  <a:pt x="18330" y="21374"/>
                </a:cubicBezTo>
                <a:cubicBezTo>
                  <a:pt x="20051" y="21374"/>
                  <a:pt x="21448" y="19324"/>
                  <a:pt x="21448" y="16797"/>
                </a:cubicBezTo>
                <a:cubicBezTo>
                  <a:pt x="21551" y="14796"/>
                  <a:pt x="21596" y="12795"/>
                  <a:pt x="21592" y="10794"/>
                </a:cubicBezTo>
                <a:cubicBezTo>
                  <a:pt x="21596" y="8793"/>
                  <a:pt x="21551" y="6792"/>
                  <a:pt x="21448" y="4791"/>
                </a:cubicBezTo>
                <a:close/>
                <a:moveTo>
                  <a:pt x="21448" y="4791"/>
                </a:moveTo>
              </a:path>
            </a:pathLst>
          </a:custGeom>
          <a:solidFill>
            <a:schemeClr val="accent1"/>
          </a:solidFill>
          <a:ln>
            <a:noFill/>
          </a:ln>
        </p:spPr>
        <p:txBody>
          <a:bodyPr lIns="0" tIns="0" rIns="0" bIns="0"/>
          <a:lstStyle/>
          <a:p>
            <a:endParaRPr lang="en-US"/>
          </a:p>
        </p:txBody>
      </p:sp>
      <p:sp>
        <p:nvSpPr>
          <p:cNvPr id="25" name="AutoShape 1"/>
          <p:cNvSpPr>
            <a:spLocks/>
          </p:cNvSpPr>
          <p:nvPr/>
        </p:nvSpPr>
        <p:spPr bwMode="auto">
          <a:xfrm>
            <a:off x="2308248" y="2816823"/>
            <a:ext cx="264454" cy="500313"/>
          </a:xfrm>
          <a:custGeom>
            <a:avLst/>
            <a:gdLst/>
            <a:ahLst/>
            <a:cxnLst/>
            <a:rect l="0" t="0" r="r" b="b"/>
            <a:pathLst>
              <a:path w="21600" h="21600">
                <a:moveTo>
                  <a:pt x="18151" y="3689"/>
                </a:moveTo>
                <a:lnTo>
                  <a:pt x="21600" y="3689"/>
                </a:lnTo>
                <a:lnTo>
                  <a:pt x="21600" y="0"/>
                </a:lnTo>
                <a:lnTo>
                  <a:pt x="14122" y="0"/>
                </a:lnTo>
                <a:cubicBezTo>
                  <a:pt x="9581" y="0"/>
                  <a:pt x="5899" y="1946"/>
                  <a:pt x="5899" y="4346"/>
                </a:cubicBezTo>
                <a:lnTo>
                  <a:pt x="5899" y="6553"/>
                </a:lnTo>
                <a:lnTo>
                  <a:pt x="0" y="6553"/>
                </a:lnTo>
                <a:lnTo>
                  <a:pt x="0" y="10241"/>
                </a:lnTo>
                <a:lnTo>
                  <a:pt x="5899" y="10241"/>
                </a:lnTo>
                <a:lnTo>
                  <a:pt x="5899" y="21600"/>
                </a:lnTo>
                <a:lnTo>
                  <a:pt x="15073" y="21600"/>
                </a:lnTo>
                <a:lnTo>
                  <a:pt x="15073" y="10241"/>
                </a:lnTo>
                <a:lnTo>
                  <a:pt x="21600" y="10241"/>
                </a:lnTo>
                <a:lnTo>
                  <a:pt x="21600" y="6553"/>
                </a:lnTo>
                <a:lnTo>
                  <a:pt x="15073" y="6553"/>
                </a:lnTo>
                <a:lnTo>
                  <a:pt x="15073" y="5315"/>
                </a:lnTo>
                <a:cubicBezTo>
                  <a:pt x="15073" y="4417"/>
                  <a:pt x="16451" y="3689"/>
                  <a:pt x="18151" y="3689"/>
                </a:cubicBezTo>
                <a:close/>
                <a:moveTo>
                  <a:pt x="18151" y="3689"/>
                </a:moveTo>
              </a:path>
            </a:pathLst>
          </a:custGeom>
          <a:solidFill>
            <a:schemeClr val="accent1"/>
          </a:solidFill>
          <a:ln>
            <a:noFill/>
          </a:ln>
        </p:spPr>
        <p:txBody>
          <a:bodyPr lIns="0" tIns="0" rIns="0" bIns="0"/>
          <a:lstStyle/>
          <a:p>
            <a:endParaRPr lang="en-US"/>
          </a:p>
        </p:txBody>
      </p:sp>
      <p:sp>
        <p:nvSpPr>
          <p:cNvPr id="27" name="AutoShape 9"/>
          <p:cNvSpPr>
            <a:spLocks/>
          </p:cNvSpPr>
          <p:nvPr/>
        </p:nvSpPr>
        <p:spPr bwMode="auto">
          <a:xfrm>
            <a:off x="4635903" y="2820119"/>
            <a:ext cx="114733" cy="456401"/>
          </a:xfrm>
          <a:custGeom>
            <a:avLst/>
            <a:gdLst/>
            <a:ahLst/>
            <a:cxnLst/>
            <a:rect l="0" t="0" r="r" b="b"/>
            <a:pathLst>
              <a:path w="21600" h="21600">
                <a:moveTo>
                  <a:pt x="10736" y="5037"/>
                </a:moveTo>
                <a:cubicBezTo>
                  <a:pt x="17431" y="5037"/>
                  <a:pt x="21600" y="3917"/>
                  <a:pt x="21600" y="2518"/>
                </a:cubicBezTo>
                <a:cubicBezTo>
                  <a:pt x="21474" y="1088"/>
                  <a:pt x="17431" y="0"/>
                  <a:pt x="10864" y="0"/>
                </a:cubicBezTo>
                <a:cubicBezTo>
                  <a:pt x="4294" y="0"/>
                  <a:pt x="0" y="1088"/>
                  <a:pt x="0" y="2518"/>
                </a:cubicBezTo>
                <a:cubicBezTo>
                  <a:pt x="0" y="3917"/>
                  <a:pt x="4167" y="5037"/>
                  <a:pt x="10612" y="5037"/>
                </a:cubicBezTo>
                <a:lnTo>
                  <a:pt x="10736" y="5037"/>
                </a:lnTo>
                <a:cubicBezTo>
                  <a:pt x="10736" y="5037"/>
                  <a:pt x="10736" y="5037"/>
                  <a:pt x="10736" y="5037"/>
                </a:cubicBezTo>
                <a:close/>
                <a:moveTo>
                  <a:pt x="20336" y="21600"/>
                </a:moveTo>
                <a:lnTo>
                  <a:pt x="20336" y="7026"/>
                </a:lnTo>
                <a:lnTo>
                  <a:pt x="1136" y="7026"/>
                </a:lnTo>
                <a:lnTo>
                  <a:pt x="1136" y="21600"/>
                </a:lnTo>
                <a:lnTo>
                  <a:pt x="20336" y="21600"/>
                </a:lnTo>
                <a:cubicBezTo>
                  <a:pt x="20336" y="21600"/>
                  <a:pt x="20336" y="21600"/>
                  <a:pt x="20336" y="21600"/>
                </a:cubicBezTo>
                <a:close/>
                <a:moveTo>
                  <a:pt x="20336" y="2160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28" name="AutoShape 10"/>
          <p:cNvSpPr>
            <a:spLocks/>
          </p:cNvSpPr>
          <p:nvPr/>
        </p:nvSpPr>
        <p:spPr bwMode="auto">
          <a:xfrm>
            <a:off x="4797876" y="2961854"/>
            <a:ext cx="312142" cy="314673"/>
          </a:xfrm>
          <a:custGeom>
            <a:avLst/>
            <a:gdLst/>
            <a:ahLst/>
            <a:cxnLst/>
            <a:rect l="0" t="0" r="r" b="b"/>
            <a:pathLst>
              <a:path w="21600" h="21600">
                <a:moveTo>
                  <a:pt x="0" y="21600"/>
                </a:moveTo>
                <a:lnTo>
                  <a:pt x="7076" y="21600"/>
                </a:lnTo>
                <a:lnTo>
                  <a:pt x="7076" y="9814"/>
                </a:lnTo>
                <a:cubicBezTo>
                  <a:pt x="7076" y="9183"/>
                  <a:pt x="7122" y="8553"/>
                  <a:pt x="7309" y="8103"/>
                </a:cubicBezTo>
                <a:cubicBezTo>
                  <a:pt x="7821" y="6842"/>
                  <a:pt x="8985" y="5537"/>
                  <a:pt x="10939" y="5537"/>
                </a:cubicBezTo>
                <a:cubicBezTo>
                  <a:pt x="13501" y="5537"/>
                  <a:pt x="14525" y="7473"/>
                  <a:pt x="14525" y="10309"/>
                </a:cubicBezTo>
                <a:lnTo>
                  <a:pt x="14525" y="21600"/>
                </a:lnTo>
                <a:lnTo>
                  <a:pt x="21600" y="21600"/>
                </a:lnTo>
                <a:lnTo>
                  <a:pt x="21600" y="9499"/>
                </a:lnTo>
                <a:cubicBezTo>
                  <a:pt x="21600" y="3016"/>
                  <a:pt x="18109" y="0"/>
                  <a:pt x="13453" y="0"/>
                </a:cubicBezTo>
                <a:cubicBezTo>
                  <a:pt x="9636" y="0"/>
                  <a:pt x="7960" y="2116"/>
                  <a:pt x="7029" y="3556"/>
                </a:cubicBezTo>
                <a:lnTo>
                  <a:pt x="7076" y="3556"/>
                </a:lnTo>
                <a:lnTo>
                  <a:pt x="7076" y="495"/>
                </a:lnTo>
                <a:lnTo>
                  <a:pt x="0" y="495"/>
                </a:lnTo>
                <a:cubicBezTo>
                  <a:pt x="93" y="2475"/>
                  <a:pt x="0" y="21600"/>
                  <a:pt x="0" y="21600"/>
                </a:cubicBezTo>
                <a:cubicBezTo>
                  <a:pt x="0" y="21600"/>
                  <a:pt x="0" y="21600"/>
                  <a:pt x="0" y="21600"/>
                </a:cubicBezTo>
                <a:close/>
                <a:moveTo>
                  <a:pt x="0" y="2160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29" name="AutoShape 3"/>
          <p:cNvSpPr>
            <a:spLocks/>
          </p:cNvSpPr>
          <p:nvPr/>
        </p:nvSpPr>
        <p:spPr bwMode="auto">
          <a:xfrm>
            <a:off x="5883109" y="2805769"/>
            <a:ext cx="403445" cy="521567"/>
          </a:xfrm>
          <a:custGeom>
            <a:avLst/>
            <a:gdLst/>
            <a:ahLst/>
            <a:cxnLst/>
            <a:rect l="0" t="0" r="r" b="b"/>
            <a:pathLst>
              <a:path w="21600" h="21554">
                <a:moveTo>
                  <a:pt x="11454" y="0"/>
                </a:moveTo>
                <a:cubicBezTo>
                  <a:pt x="3839" y="0"/>
                  <a:pt x="0" y="4217"/>
                  <a:pt x="0" y="7734"/>
                </a:cubicBezTo>
                <a:cubicBezTo>
                  <a:pt x="0" y="9864"/>
                  <a:pt x="1044" y="11758"/>
                  <a:pt x="3282" y="12464"/>
                </a:cubicBezTo>
                <a:cubicBezTo>
                  <a:pt x="3649" y="12580"/>
                  <a:pt x="3978" y="12468"/>
                  <a:pt x="4084" y="12154"/>
                </a:cubicBezTo>
                <a:cubicBezTo>
                  <a:pt x="4158" y="11937"/>
                  <a:pt x="4333" y="11389"/>
                  <a:pt x="4412" y="11160"/>
                </a:cubicBezTo>
                <a:cubicBezTo>
                  <a:pt x="4519" y="10850"/>
                  <a:pt x="4477" y="10741"/>
                  <a:pt x="4181" y="10470"/>
                </a:cubicBezTo>
                <a:cubicBezTo>
                  <a:pt x="3536" y="9882"/>
                  <a:pt x="3123" y="9121"/>
                  <a:pt x="3123" y="8043"/>
                </a:cubicBezTo>
                <a:cubicBezTo>
                  <a:pt x="3123" y="4914"/>
                  <a:pt x="6154" y="2113"/>
                  <a:pt x="11014" y="2113"/>
                </a:cubicBezTo>
                <a:cubicBezTo>
                  <a:pt x="15318" y="2113"/>
                  <a:pt x="17682" y="4144"/>
                  <a:pt x="17682" y="6857"/>
                </a:cubicBezTo>
                <a:cubicBezTo>
                  <a:pt x="17682" y="10427"/>
                  <a:pt x="15637" y="13440"/>
                  <a:pt x="12601" y="13440"/>
                </a:cubicBezTo>
                <a:cubicBezTo>
                  <a:pt x="10925" y="13440"/>
                  <a:pt x="9670" y="12369"/>
                  <a:pt x="10072" y="11055"/>
                </a:cubicBezTo>
                <a:cubicBezTo>
                  <a:pt x="10554" y="9487"/>
                  <a:pt x="11487" y="7794"/>
                  <a:pt x="11487" y="6662"/>
                </a:cubicBezTo>
                <a:cubicBezTo>
                  <a:pt x="11487" y="5649"/>
                  <a:pt x="10783" y="4803"/>
                  <a:pt x="9325" y="4803"/>
                </a:cubicBezTo>
                <a:cubicBezTo>
                  <a:pt x="7611" y="4803"/>
                  <a:pt x="6235" y="6173"/>
                  <a:pt x="6235" y="8008"/>
                </a:cubicBezTo>
                <a:cubicBezTo>
                  <a:pt x="6235" y="9177"/>
                  <a:pt x="6746" y="9967"/>
                  <a:pt x="6746" y="9967"/>
                </a:cubicBezTo>
                <a:cubicBezTo>
                  <a:pt x="6746" y="9967"/>
                  <a:pt x="4992" y="15708"/>
                  <a:pt x="4684" y="16713"/>
                </a:cubicBezTo>
                <a:cubicBezTo>
                  <a:pt x="4072" y="18716"/>
                  <a:pt x="4592" y="21170"/>
                  <a:pt x="4636" y="21418"/>
                </a:cubicBezTo>
                <a:cubicBezTo>
                  <a:pt x="4662" y="21565"/>
                  <a:pt x="4906" y="21600"/>
                  <a:pt x="5017" y="21489"/>
                </a:cubicBezTo>
                <a:cubicBezTo>
                  <a:pt x="5175" y="21330"/>
                  <a:pt x="7216" y="19383"/>
                  <a:pt x="7910" y="17438"/>
                </a:cubicBezTo>
                <a:cubicBezTo>
                  <a:pt x="8107" y="16887"/>
                  <a:pt x="9038" y="14034"/>
                  <a:pt x="9038" y="14034"/>
                </a:cubicBezTo>
                <a:cubicBezTo>
                  <a:pt x="9595" y="14855"/>
                  <a:pt x="11222" y="15578"/>
                  <a:pt x="12953" y="15578"/>
                </a:cubicBezTo>
                <a:cubicBezTo>
                  <a:pt x="18105" y="15578"/>
                  <a:pt x="21600" y="11949"/>
                  <a:pt x="21600" y="7093"/>
                </a:cubicBezTo>
                <a:cubicBezTo>
                  <a:pt x="21600" y="3420"/>
                  <a:pt x="17573" y="0"/>
                  <a:pt x="11454" y="0"/>
                </a:cubicBezTo>
                <a:close/>
                <a:moveTo>
                  <a:pt x="11454" y="0"/>
                </a:moveTo>
              </a:path>
            </a:pathLst>
          </a:custGeom>
          <a:solidFill>
            <a:schemeClr val="accent1"/>
          </a:solidFill>
          <a:ln>
            <a:noFill/>
          </a:ln>
        </p:spPr>
        <p:txBody>
          <a:bodyPr lIns="0" tIns="0" rIns="0" bIns="0"/>
          <a:lstStyle/>
          <a:p>
            <a:pPr defTabSz="914400">
              <a:defRPr/>
            </a:pPr>
            <a:endParaRPr lang="en-US" kern="0">
              <a:solidFill>
                <a:sysClr val="windowText" lastClr="000000"/>
              </a:solidFill>
            </a:endParaRPr>
          </a:p>
        </p:txBody>
      </p:sp>
      <p:sp>
        <p:nvSpPr>
          <p:cNvPr id="30" name="AutoShape 1"/>
          <p:cNvSpPr>
            <a:spLocks/>
          </p:cNvSpPr>
          <p:nvPr/>
        </p:nvSpPr>
        <p:spPr bwMode="auto">
          <a:xfrm>
            <a:off x="3399458" y="2854921"/>
            <a:ext cx="529143" cy="429930"/>
          </a:xfrm>
          <a:custGeom>
            <a:avLst/>
            <a:gdLst/>
            <a:ahLst/>
            <a:cxnLst/>
            <a:rect l="0" t="0" r="r" b="b"/>
            <a:pathLst>
              <a:path w="21600" h="21600">
                <a:moveTo>
                  <a:pt x="21600" y="2557"/>
                </a:moveTo>
                <a:cubicBezTo>
                  <a:pt x="20805" y="2991"/>
                  <a:pt x="19951" y="3284"/>
                  <a:pt x="19055" y="3416"/>
                </a:cubicBezTo>
                <a:cubicBezTo>
                  <a:pt x="19970" y="2741"/>
                  <a:pt x="20672" y="1672"/>
                  <a:pt x="21003" y="399"/>
                </a:cubicBezTo>
                <a:cubicBezTo>
                  <a:pt x="20147" y="1024"/>
                  <a:pt x="19199" y="1477"/>
                  <a:pt x="18189" y="1722"/>
                </a:cubicBezTo>
                <a:cubicBezTo>
                  <a:pt x="17381" y="662"/>
                  <a:pt x="16229" y="0"/>
                  <a:pt x="14955" y="0"/>
                </a:cubicBezTo>
                <a:cubicBezTo>
                  <a:pt x="12507" y="0"/>
                  <a:pt x="10523" y="2441"/>
                  <a:pt x="10523" y="5453"/>
                </a:cubicBezTo>
                <a:cubicBezTo>
                  <a:pt x="10523" y="5880"/>
                  <a:pt x="10562" y="6296"/>
                  <a:pt x="10638" y="6695"/>
                </a:cubicBezTo>
                <a:cubicBezTo>
                  <a:pt x="6955" y="6468"/>
                  <a:pt x="3689" y="4297"/>
                  <a:pt x="1504" y="998"/>
                </a:cubicBezTo>
                <a:cubicBezTo>
                  <a:pt x="1122" y="1803"/>
                  <a:pt x="904" y="2740"/>
                  <a:pt x="904" y="3739"/>
                </a:cubicBezTo>
                <a:cubicBezTo>
                  <a:pt x="904" y="5631"/>
                  <a:pt x="1686" y="7300"/>
                  <a:pt x="2875" y="8278"/>
                </a:cubicBezTo>
                <a:cubicBezTo>
                  <a:pt x="2149" y="8250"/>
                  <a:pt x="1465" y="8005"/>
                  <a:pt x="868" y="7596"/>
                </a:cubicBezTo>
                <a:cubicBezTo>
                  <a:pt x="868" y="7619"/>
                  <a:pt x="868" y="7642"/>
                  <a:pt x="868" y="7665"/>
                </a:cubicBezTo>
                <a:cubicBezTo>
                  <a:pt x="868" y="10307"/>
                  <a:pt x="2395" y="12511"/>
                  <a:pt x="4422" y="13012"/>
                </a:cubicBezTo>
                <a:cubicBezTo>
                  <a:pt x="4051" y="13136"/>
                  <a:pt x="3659" y="13203"/>
                  <a:pt x="3255" y="13203"/>
                </a:cubicBezTo>
                <a:cubicBezTo>
                  <a:pt x="2969" y="13203"/>
                  <a:pt x="2692" y="13169"/>
                  <a:pt x="2421" y="13105"/>
                </a:cubicBezTo>
                <a:cubicBezTo>
                  <a:pt x="2985" y="15271"/>
                  <a:pt x="4622" y="16848"/>
                  <a:pt x="6561" y="16892"/>
                </a:cubicBezTo>
                <a:cubicBezTo>
                  <a:pt x="5044" y="18354"/>
                  <a:pt x="3133" y="19226"/>
                  <a:pt x="1057" y="19226"/>
                </a:cubicBezTo>
                <a:cubicBezTo>
                  <a:pt x="699" y="19226"/>
                  <a:pt x="347" y="19200"/>
                  <a:pt x="0" y="19150"/>
                </a:cubicBezTo>
                <a:cubicBezTo>
                  <a:pt x="1961" y="20697"/>
                  <a:pt x="4291" y="21600"/>
                  <a:pt x="6793" y="21600"/>
                </a:cubicBezTo>
                <a:cubicBezTo>
                  <a:pt x="14944" y="21600"/>
                  <a:pt x="19402" y="13291"/>
                  <a:pt x="19402" y="6085"/>
                </a:cubicBezTo>
                <a:cubicBezTo>
                  <a:pt x="19402" y="5849"/>
                  <a:pt x="19397" y="5614"/>
                  <a:pt x="19389" y="5380"/>
                </a:cubicBezTo>
                <a:cubicBezTo>
                  <a:pt x="20255" y="4611"/>
                  <a:pt x="21006" y="3650"/>
                  <a:pt x="21600" y="2557"/>
                </a:cubicBezTo>
                <a:close/>
                <a:moveTo>
                  <a:pt x="21600" y="2557"/>
                </a:moveTo>
              </a:path>
            </a:pathLst>
          </a:custGeom>
          <a:solidFill>
            <a:schemeClr val="accent1"/>
          </a:solidFill>
          <a:ln>
            <a:noFill/>
          </a:ln>
        </p:spPr>
        <p:txBody>
          <a:bodyPr lIns="0" tIns="0" rIns="0" bIns="0"/>
          <a:lstStyle/>
          <a:p>
            <a:pPr defTabSz="914400">
              <a:defRPr/>
            </a:pPr>
            <a:endParaRPr lang="en-US" kern="0">
              <a:solidFill>
                <a:sysClr val="windowText" lastClr="000000"/>
              </a:solidFill>
            </a:endParaRPr>
          </a:p>
        </p:txBody>
      </p:sp>
      <p:sp>
        <p:nvSpPr>
          <p:cNvPr id="32" name="Oval 31"/>
          <p:cNvSpPr/>
          <p:nvPr/>
        </p:nvSpPr>
        <p:spPr>
          <a:xfrm>
            <a:off x="6827870" y="1632449"/>
            <a:ext cx="967850" cy="967850"/>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34" name="Freeform 1"/>
          <p:cNvSpPr>
            <a:spLocks noChangeArrowheads="1"/>
          </p:cNvSpPr>
          <p:nvPr/>
        </p:nvSpPr>
        <p:spPr bwMode="auto">
          <a:xfrm>
            <a:off x="7039554" y="1920998"/>
            <a:ext cx="383247" cy="390752"/>
          </a:xfrm>
          <a:custGeom>
            <a:avLst/>
            <a:gdLst>
              <a:gd name="T0" fmla="*/ 3344 w 6531"/>
              <a:gd name="T1" fmla="*/ 2844 h 6657"/>
              <a:gd name="T2" fmla="*/ 3344 w 6531"/>
              <a:gd name="T3" fmla="*/ 2844 h 6657"/>
              <a:gd name="T4" fmla="*/ 3344 w 6531"/>
              <a:gd name="T5" fmla="*/ 4000 h 6657"/>
              <a:gd name="T6" fmla="*/ 5219 w 6531"/>
              <a:gd name="T7" fmla="*/ 4000 h 6657"/>
              <a:gd name="T8" fmla="*/ 3344 w 6531"/>
              <a:gd name="T9" fmla="*/ 5437 h 6657"/>
              <a:gd name="T10" fmla="*/ 1281 w 6531"/>
              <a:gd name="T11" fmla="*/ 3343 h 6657"/>
              <a:gd name="T12" fmla="*/ 3344 w 6531"/>
              <a:gd name="T13" fmla="*/ 1251 h 6657"/>
              <a:gd name="T14" fmla="*/ 4656 w 6531"/>
              <a:gd name="T15" fmla="*/ 1751 h 6657"/>
              <a:gd name="T16" fmla="*/ 5562 w 6531"/>
              <a:gd name="T17" fmla="*/ 875 h 6657"/>
              <a:gd name="T18" fmla="*/ 3344 w 6531"/>
              <a:gd name="T19" fmla="*/ 0 h 6657"/>
              <a:gd name="T20" fmla="*/ 0 w 6531"/>
              <a:gd name="T21" fmla="*/ 3343 h 6657"/>
              <a:gd name="T22" fmla="*/ 3344 w 6531"/>
              <a:gd name="T23" fmla="*/ 6656 h 6657"/>
              <a:gd name="T24" fmla="*/ 6530 w 6531"/>
              <a:gd name="T25" fmla="*/ 3406 h 6657"/>
              <a:gd name="T26" fmla="*/ 6468 w 6531"/>
              <a:gd name="T27" fmla="*/ 2844 h 6657"/>
              <a:gd name="T28" fmla="*/ 3344 w 6531"/>
              <a:gd name="T29" fmla="*/ 2844 h 6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31" h="6657">
                <a:moveTo>
                  <a:pt x="3344" y="2844"/>
                </a:moveTo>
                <a:lnTo>
                  <a:pt x="3344" y="2844"/>
                </a:lnTo>
                <a:cubicBezTo>
                  <a:pt x="3344" y="4000"/>
                  <a:pt x="3344" y="4000"/>
                  <a:pt x="3344" y="4000"/>
                </a:cubicBezTo>
                <a:cubicBezTo>
                  <a:pt x="5219" y="4000"/>
                  <a:pt x="5219" y="4000"/>
                  <a:pt x="5219" y="4000"/>
                </a:cubicBezTo>
                <a:cubicBezTo>
                  <a:pt x="5125" y="4500"/>
                  <a:pt x="4656" y="5437"/>
                  <a:pt x="3344" y="5437"/>
                </a:cubicBezTo>
                <a:cubicBezTo>
                  <a:pt x="2188" y="5437"/>
                  <a:pt x="1281" y="4500"/>
                  <a:pt x="1281" y="3343"/>
                </a:cubicBezTo>
                <a:cubicBezTo>
                  <a:pt x="1281" y="2188"/>
                  <a:pt x="2188" y="1251"/>
                  <a:pt x="3344" y="1251"/>
                </a:cubicBezTo>
                <a:cubicBezTo>
                  <a:pt x="3969" y="1251"/>
                  <a:pt x="4406" y="1501"/>
                  <a:pt x="4656" y="1751"/>
                </a:cubicBezTo>
                <a:cubicBezTo>
                  <a:pt x="5562" y="875"/>
                  <a:pt x="5562" y="875"/>
                  <a:pt x="5562" y="875"/>
                </a:cubicBezTo>
                <a:cubicBezTo>
                  <a:pt x="4969" y="344"/>
                  <a:pt x="4219" y="0"/>
                  <a:pt x="3344" y="0"/>
                </a:cubicBezTo>
                <a:cubicBezTo>
                  <a:pt x="1500" y="0"/>
                  <a:pt x="0" y="1501"/>
                  <a:pt x="0" y="3343"/>
                </a:cubicBezTo>
                <a:cubicBezTo>
                  <a:pt x="0" y="5156"/>
                  <a:pt x="1500" y="6656"/>
                  <a:pt x="3344" y="6656"/>
                </a:cubicBezTo>
                <a:cubicBezTo>
                  <a:pt x="5249" y="6656"/>
                  <a:pt x="6530" y="5312"/>
                  <a:pt x="6530" y="3406"/>
                </a:cubicBezTo>
                <a:cubicBezTo>
                  <a:pt x="6530" y="3188"/>
                  <a:pt x="6499" y="3032"/>
                  <a:pt x="6468" y="2844"/>
                </a:cubicBezTo>
                <a:cubicBezTo>
                  <a:pt x="3344" y="2844"/>
                  <a:pt x="3344" y="2844"/>
                  <a:pt x="3344" y="2844"/>
                </a:cubicBezTo>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5" name="Freeform 2"/>
          <p:cNvSpPr>
            <a:spLocks noChangeArrowheads="1"/>
          </p:cNvSpPr>
          <p:nvPr/>
        </p:nvSpPr>
        <p:spPr bwMode="auto">
          <a:xfrm>
            <a:off x="7485166" y="2032789"/>
            <a:ext cx="166910" cy="166911"/>
          </a:xfrm>
          <a:custGeom>
            <a:avLst/>
            <a:gdLst>
              <a:gd name="T0" fmla="*/ 2843 w 2844"/>
              <a:gd name="T1" fmla="*/ 937 h 2843"/>
              <a:gd name="T2" fmla="*/ 1906 w 2844"/>
              <a:gd name="T3" fmla="*/ 937 h 2843"/>
              <a:gd name="T4" fmla="*/ 1906 w 2844"/>
              <a:gd name="T5" fmla="*/ 0 h 2843"/>
              <a:gd name="T6" fmla="*/ 969 w 2844"/>
              <a:gd name="T7" fmla="*/ 0 h 2843"/>
              <a:gd name="T8" fmla="*/ 969 w 2844"/>
              <a:gd name="T9" fmla="*/ 937 h 2843"/>
              <a:gd name="T10" fmla="*/ 0 w 2844"/>
              <a:gd name="T11" fmla="*/ 937 h 2843"/>
              <a:gd name="T12" fmla="*/ 0 w 2844"/>
              <a:gd name="T13" fmla="*/ 1905 h 2843"/>
              <a:gd name="T14" fmla="*/ 969 w 2844"/>
              <a:gd name="T15" fmla="*/ 1905 h 2843"/>
              <a:gd name="T16" fmla="*/ 969 w 2844"/>
              <a:gd name="T17" fmla="*/ 2842 h 2843"/>
              <a:gd name="T18" fmla="*/ 1906 w 2844"/>
              <a:gd name="T19" fmla="*/ 2842 h 2843"/>
              <a:gd name="T20" fmla="*/ 1906 w 2844"/>
              <a:gd name="T21" fmla="*/ 1905 h 2843"/>
              <a:gd name="T22" fmla="*/ 2843 w 2844"/>
              <a:gd name="T23" fmla="*/ 1905 h 2843"/>
              <a:gd name="T24" fmla="*/ 2843 w 2844"/>
              <a:gd name="T25" fmla="*/ 937 h 2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4" h="2843">
                <a:moveTo>
                  <a:pt x="2843" y="937"/>
                </a:moveTo>
                <a:lnTo>
                  <a:pt x="1906" y="937"/>
                </a:lnTo>
                <a:lnTo>
                  <a:pt x="1906" y="0"/>
                </a:lnTo>
                <a:lnTo>
                  <a:pt x="969" y="0"/>
                </a:lnTo>
                <a:lnTo>
                  <a:pt x="969" y="937"/>
                </a:lnTo>
                <a:lnTo>
                  <a:pt x="0" y="937"/>
                </a:lnTo>
                <a:lnTo>
                  <a:pt x="0" y="1905"/>
                </a:lnTo>
                <a:lnTo>
                  <a:pt x="969" y="1905"/>
                </a:lnTo>
                <a:lnTo>
                  <a:pt x="969" y="2842"/>
                </a:lnTo>
                <a:lnTo>
                  <a:pt x="1906" y="2842"/>
                </a:lnTo>
                <a:lnTo>
                  <a:pt x="1906" y="1905"/>
                </a:lnTo>
                <a:lnTo>
                  <a:pt x="2843" y="1905"/>
                </a:lnTo>
                <a:lnTo>
                  <a:pt x="2843" y="937"/>
                </a:lnTo>
              </a:path>
            </a:pathLst>
          </a:custGeom>
          <a:solidFill>
            <a:schemeClr val="bg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7" name="Freeform 1"/>
          <p:cNvSpPr>
            <a:spLocks noChangeArrowheads="1"/>
          </p:cNvSpPr>
          <p:nvPr/>
        </p:nvSpPr>
        <p:spPr bwMode="auto">
          <a:xfrm>
            <a:off x="7005534" y="2870852"/>
            <a:ext cx="383247" cy="390752"/>
          </a:xfrm>
          <a:custGeom>
            <a:avLst/>
            <a:gdLst>
              <a:gd name="T0" fmla="*/ 3344 w 6531"/>
              <a:gd name="T1" fmla="*/ 2844 h 6657"/>
              <a:gd name="T2" fmla="*/ 3344 w 6531"/>
              <a:gd name="T3" fmla="*/ 2844 h 6657"/>
              <a:gd name="T4" fmla="*/ 3344 w 6531"/>
              <a:gd name="T5" fmla="*/ 4000 h 6657"/>
              <a:gd name="T6" fmla="*/ 5219 w 6531"/>
              <a:gd name="T7" fmla="*/ 4000 h 6657"/>
              <a:gd name="T8" fmla="*/ 3344 w 6531"/>
              <a:gd name="T9" fmla="*/ 5437 h 6657"/>
              <a:gd name="T10" fmla="*/ 1281 w 6531"/>
              <a:gd name="T11" fmla="*/ 3343 h 6657"/>
              <a:gd name="T12" fmla="*/ 3344 w 6531"/>
              <a:gd name="T13" fmla="*/ 1251 h 6657"/>
              <a:gd name="T14" fmla="*/ 4656 w 6531"/>
              <a:gd name="T15" fmla="*/ 1751 h 6657"/>
              <a:gd name="T16" fmla="*/ 5562 w 6531"/>
              <a:gd name="T17" fmla="*/ 875 h 6657"/>
              <a:gd name="T18" fmla="*/ 3344 w 6531"/>
              <a:gd name="T19" fmla="*/ 0 h 6657"/>
              <a:gd name="T20" fmla="*/ 0 w 6531"/>
              <a:gd name="T21" fmla="*/ 3343 h 6657"/>
              <a:gd name="T22" fmla="*/ 3344 w 6531"/>
              <a:gd name="T23" fmla="*/ 6656 h 6657"/>
              <a:gd name="T24" fmla="*/ 6530 w 6531"/>
              <a:gd name="T25" fmla="*/ 3406 h 6657"/>
              <a:gd name="T26" fmla="*/ 6468 w 6531"/>
              <a:gd name="T27" fmla="*/ 2844 h 6657"/>
              <a:gd name="T28" fmla="*/ 3344 w 6531"/>
              <a:gd name="T29" fmla="*/ 2844 h 6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31" h="6657">
                <a:moveTo>
                  <a:pt x="3344" y="2844"/>
                </a:moveTo>
                <a:lnTo>
                  <a:pt x="3344" y="2844"/>
                </a:lnTo>
                <a:cubicBezTo>
                  <a:pt x="3344" y="4000"/>
                  <a:pt x="3344" y="4000"/>
                  <a:pt x="3344" y="4000"/>
                </a:cubicBezTo>
                <a:cubicBezTo>
                  <a:pt x="5219" y="4000"/>
                  <a:pt x="5219" y="4000"/>
                  <a:pt x="5219" y="4000"/>
                </a:cubicBezTo>
                <a:cubicBezTo>
                  <a:pt x="5125" y="4500"/>
                  <a:pt x="4656" y="5437"/>
                  <a:pt x="3344" y="5437"/>
                </a:cubicBezTo>
                <a:cubicBezTo>
                  <a:pt x="2188" y="5437"/>
                  <a:pt x="1281" y="4500"/>
                  <a:pt x="1281" y="3343"/>
                </a:cubicBezTo>
                <a:cubicBezTo>
                  <a:pt x="1281" y="2188"/>
                  <a:pt x="2188" y="1251"/>
                  <a:pt x="3344" y="1251"/>
                </a:cubicBezTo>
                <a:cubicBezTo>
                  <a:pt x="3969" y="1251"/>
                  <a:pt x="4406" y="1501"/>
                  <a:pt x="4656" y="1751"/>
                </a:cubicBezTo>
                <a:cubicBezTo>
                  <a:pt x="5562" y="875"/>
                  <a:pt x="5562" y="875"/>
                  <a:pt x="5562" y="875"/>
                </a:cubicBezTo>
                <a:cubicBezTo>
                  <a:pt x="4969" y="344"/>
                  <a:pt x="4219" y="0"/>
                  <a:pt x="3344" y="0"/>
                </a:cubicBezTo>
                <a:cubicBezTo>
                  <a:pt x="1500" y="0"/>
                  <a:pt x="0" y="1501"/>
                  <a:pt x="0" y="3343"/>
                </a:cubicBezTo>
                <a:cubicBezTo>
                  <a:pt x="0" y="5156"/>
                  <a:pt x="1500" y="6656"/>
                  <a:pt x="3344" y="6656"/>
                </a:cubicBezTo>
                <a:cubicBezTo>
                  <a:pt x="5249" y="6656"/>
                  <a:pt x="6530" y="5312"/>
                  <a:pt x="6530" y="3406"/>
                </a:cubicBezTo>
                <a:cubicBezTo>
                  <a:pt x="6530" y="3188"/>
                  <a:pt x="6499" y="3032"/>
                  <a:pt x="6468" y="2844"/>
                </a:cubicBezTo>
                <a:cubicBezTo>
                  <a:pt x="3344" y="2844"/>
                  <a:pt x="3344" y="2844"/>
                  <a:pt x="3344" y="2844"/>
                </a:cubicBez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8" name="Freeform 2"/>
          <p:cNvSpPr>
            <a:spLocks noChangeArrowheads="1"/>
          </p:cNvSpPr>
          <p:nvPr/>
        </p:nvSpPr>
        <p:spPr bwMode="auto">
          <a:xfrm>
            <a:off x="7451146" y="2982643"/>
            <a:ext cx="166910" cy="166911"/>
          </a:xfrm>
          <a:custGeom>
            <a:avLst/>
            <a:gdLst>
              <a:gd name="T0" fmla="*/ 2843 w 2844"/>
              <a:gd name="T1" fmla="*/ 937 h 2843"/>
              <a:gd name="T2" fmla="*/ 1906 w 2844"/>
              <a:gd name="T3" fmla="*/ 937 h 2843"/>
              <a:gd name="T4" fmla="*/ 1906 w 2844"/>
              <a:gd name="T5" fmla="*/ 0 h 2843"/>
              <a:gd name="T6" fmla="*/ 969 w 2844"/>
              <a:gd name="T7" fmla="*/ 0 h 2843"/>
              <a:gd name="T8" fmla="*/ 969 w 2844"/>
              <a:gd name="T9" fmla="*/ 937 h 2843"/>
              <a:gd name="T10" fmla="*/ 0 w 2844"/>
              <a:gd name="T11" fmla="*/ 937 h 2843"/>
              <a:gd name="T12" fmla="*/ 0 w 2844"/>
              <a:gd name="T13" fmla="*/ 1905 h 2843"/>
              <a:gd name="T14" fmla="*/ 969 w 2844"/>
              <a:gd name="T15" fmla="*/ 1905 h 2843"/>
              <a:gd name="T16" fmla="*/ 969 w 2844"/>
              <a:gd name="T17" fmla="*/ 2842 h 2843"/>
              <a:gd name="T18" fmla="*/ 1906 w 2844"/>
              <a:gd name="T19" fmla="*/ 2842 h 2843"/>
              <a:gd name="T20" fmla="*/ 1906 w 2844"/>
              <a:gd name="T21" fmla="*/ 1905 h 2843"/>
              <a:gd name="T22" fmla="*/ 2843 w 2844"/>
              <a:gd name="T23" fmla="*/ 1905 h 2843"/>
              <a:gd name="T24" fmla="*/ 2843 w 2844"/>
              <a:gd name="T25" fmla="*/ 937 h 2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44" h="2843">
                <a:moveTo>
                  <a:pt x="2843" y="937"/>
                </a:moveTo>
                <a:lnTo>
                  <a:pt x="1906" y="937"/>
                </a:lnTo>
                <a:lnTo>
                  <a:pt x="1906" y="0"/>
                </a:lnTo>
                <a:lnTo>
                  <a:pt x="969" y="0"/>
                </a:lnTo>
                <a:lnTo>
                  <a:pt x="969" y="937"/>
                </a:lnTo>
                <a:lnTo>
                  <a:pt x="0" y="937"/>
                </a:lnTo>
                <a:lnTo>
                  <a:pt x="0" y="1905"/>
                </a:lnTo>
                <a:lnTo>
                  <a:pt x="969" y="1905"/>
                </a:lnTo>
                <a:lnTo>
                  <a:pt x="969" y="2842"/>
                </a:lnTo>
                <a:lnTo>
                  <a:pt x="1906" y="2842"/>
                </a:lnTo>
                <a:lnTo>
                  <a:pt x="1906" y="1905"/>
                </a:lnTo>
                <a:lnTo>
                  <a:pt x="2843" y="1905"/>
                </a:lnTo>
                <a:lnTo>
                  <a:pt x="2843" y="937"/>
                </a:lnTo>
              </a:path>
            </a:pathLst>
          </a:custGeom>
          <a:solidFill>
            <a:schemeClr val="accent1"/>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a:p>
        </p:txBody>
      </p:sp>
      <p:sp>
        <p:nvSpPr>
          <p:cNvPr id="39" name="TextBox 38"/>
          <p:cNvSpPr txBox="1"/>
          <p:nvPr/>
        </p:nvSpPr>
        <p:spPr>
          <a:xfrm>
            <a:off x="1970015" y="5772368"/>
            <a:ext cx="969264" cy="138499"/>
          </a:xfrm>
          <a:prstGeom prst="rect">
            <a:avLst/>
          </a:prstGeom>
          <a:noFill/>
        </p:spPr>
        <p:txBody>
          <a:bodyPr wrap="none" lIns="0" tIns="0" rIns="0" bIns="0" rtlCol="0">
            <a:noAutofit/>
          </a:bodyPr>
          <a:lstStyle/>
          <a:p>
            <a:pPr algn="ctr"/>
            <a:r>
              <a:rPr lang="en-US" sz="1000" b="1">
                <a:latin typeface="Tw Cen MT" panose="020B0602020104020603" pitchFamily="34" charset="77"/>
              </a:rPr>
              <a:t>Skype</a:t>
            </a:r>
            <a:endParaRPr lang="en-US" sz="1000" i="1">
              <a:latin typeface="Tw Cen MT" panose="020B0602020104020603" pitchFamily="34" charset="77"/>
            </a:endParaRPr>
          </a:p>
        </p:txBody>
      </p:sp>
      <p:sp>
        <p:nvSpPr>
          <p:cNvPr id="40" name="TextBox 39"/>
          <p:cNvSpPr txBox="1"/>
          <p:nvPr/>
        </p:nvSpPr>
        <p:spPr>
          <a:xfrm>
            <a:off x="3178881" y="5772368"/>
            <a:ext cx="969264" cy="138499"/>
          </a:xfrm>
          <a:prstGeom prst="rect">
            <a:avLst/>
          </a:prstGeom>
          <a:noFill/>
        </p:spPr>
        <p:txBody>
          <a:bodyPr wrap="none" lIns="0" tIns="0" rIns="0" bIns="0" rtlCol="0">
            <a:noAutofit/>
          </a:bodyPr>
          <a:lstStyle/>
          <a:p>
            <a:pPr algn="ctr"/>
            <a:r>
              <a:rPr lang="en-US" sz="1000" b="1" err="1">
                <a:latin typeface="Tw Cen MT" panose="020B0602020104020603" pitchFamily="34" charset="77"/>
              </a:rPr>
              <a:t>Vimeo</a:t>
            </a:r>
            <a:endParaRPr lang="en-US" sz="1000" b="1">
              <a:latin typeface="Tw Cen MT" panose="020B0602020104020603" pitchFamily="34" charset="77"/>
            </a:endParaRPr>
          </a:p>
        </p:txBody>
      </p:sp>
      <p:sp>
        <p:nvSpPr>
          <p:cNvPr id="41" name="TextBox 40"/>
          <p:cNvSpPr txBox="1"/>
          <p:nvPr/>
        </p:nvSpPr>
        <p:spPr>
          <a:xfrm>
            <a:off x="4388327" y="5772368"/>
            <a:ext cx="969264" cy="138499"/>
          </a:xfrm>
          <a:prstGeom prst="rect">
            <a:avLst/>
          </a:prstGeom>
          <a:noFill/>
        </p:spPr>
        <p:txBody>
          <a:bodyPr wrap="none" lIns="0" tIns="0" rIns="0" bIns="0" rtlCol="0">
            <a:noAutofit/>
          </a:bodyPr>
          <a:lstStyle/>
          <a:p>
            <a:pPr algn="ctr"/>
            <a:r>
              <a:rPr lang="en-US" sz="1000" b="1" err="1">
                <a:latin typeface="Tw Cen MT" panose="020B0602020104020603" pitchFamily="34" charset="77"/>
              </a:rPr>
              <a:t>Reddit</a:t>
            </a:r>
            <a:endParaRPr lang="en-US" sz="1000" b="1" i="1">
              <a:latin typeface="Tw Cen MT" panose="020B0602020104020603" pitchFamily="34" charset="77"/>
            </a:endParaRPr>
          </a:p>
        </p:txBody>
      </p:sp>
      <p:sp>
        <p:nvSpPr>
          <p:cNvPr id="42" name="TextBox 41"/>
          <p:cNvSpPr txBox="1"/>
          <p:nvPr/>
        </p:nvSpPr>
        <p:spPr>
          <a:xfrm>
            <a:off x="6827163" y="5772368"/>
            <a:ext cx="969264" cy="138499"/>
          </a:xfrm>
          <a:prstGeom prst="rect">
            <a:avLst/>
          </a:prstGeom>
          <a:noFill/>
        </p:spPr>
        <p:txBody>
          <a:bodyPr wrap="none" lIns="0" tIns="0" rIns="0" bIns="0" rtlCol="0">
            <a:noAutofit/>
          </a:bodyPr>
          <a:lstStyle/>
          <a:p>
            <a:pPr lvl="0" algn="ctr"/>
            <a:r>
              <a:rPr lang="en-US" sz="1000" b="1" err="1">
                <a:latin typeface="Tw Cen MT" panose="020B0602020104020603" pitchFamily="34" charset="77"/>
              </a:rPr>
              <a:t>Snapchat</a:t>
            </a:r>
            <a:endParaRPr lang="en-US" sz="1000" b="1">
              <a:latin typeface="Tw Cen MT" panose="020B0602020104020603" pitchFamily="34" charset="77"/>
            </a:endParaRPr>
          </a:p>
        </p:txBody>
      </p:sp>
      <p:sp>
        <p:nvSpPr>
          <p:cNvPr id="43" name="TextBox 42"/>
          <p:cNvSpPr txBox="1"/>
          <p:nvPr/>
        </p:nvSpPr>
        <p:spPr>
          <a:xfrm>
            <a:off x="8034836" y="5772368"/>
            <a:ext cx="969264" cy="138499"/>
          </a:xfrm>
          <a:prstGeom prst="rect">
            <a:avLst/>
          </a:prstGeom>
          <a:noFill/>
        </p:spPr>
        <p:txBody>
          <a:bodyPr wrap="none" lIns="0" tIns="0" rIns="0" bIns="0" rtlCol="0">
            <a:noAutofit/>
          </a:bodyPr>
          <a:lstStyle/>
          <a:p>
            <a:pPr lvl="0" algn="ctr"/>
            <a:r>
              <a:rPr lang="en-US" sz="1000" b="1" err="1">
                <a:latin typeface="Tw Cen MT" panose="020B0602020104020603" pitchFamily="34" charset="77"/>
              </a:rPr>
              <a:t>Whatsapp</a:t>
            </a:r>
            <a:endParaRPr lang="en-US" sz="1000" b="1">
              <a:latin typeface="Tw Cen MT" panose="020B0602020104020603" pitchFamily="34" charset="77"/>
            </a:endParaRPr>
          </a:p>
        </p:txBody>
      </p:sp>
      <p:sp>
        <p:nvSpPr>
          <p:cNvPr id="44" name="TextBox 43"/>
          <p:cNvSpPr txBox="1"/>
          <p:nvPr/>
        </p:nvSpPr>
        <p:spPr>
          <a:xfrm>
            <a:off x="9254605" y="5772368"/>
            <a:ext cx="969264" cy="138499"/>
          </a:xfrm>
          <a:prstGeom prst="rect">
            <a:avLst/>
          </a:prstGeom>
          <a:noFill/>
        </p:spPr>
        <p:txBody>
          <a:bodyPr wrap="none" lIns="0" tIns="0" rIns="0" bIns="0" rtlCol="0">
            <a:noAutofit/>
          </a:bodyPr>
          <a:lstStyle/>
          <a:p>
            <a:pPr lvl="0" algn="ctr"/>
            <a:r>
              <a:rPr lang="en-US" sz="1000" b="1">
                <a:latin typeface="Tw Cen MT" panose="020B0602020104020603" pitchFamily="34" charset="77"/>
              </a:rPr>
              <a:t>Flickr</a:t>
            </a:r>
          </a:p>
        </p:txBody>
      </p:sp>
      <p:sp>
        <p:nvSpPr>
          <p:cNvPr id="46" name="Oval 45"/>
          <p:cNvSpPr/>
          <p:nvPr/>
        </p:nvSpPr>
        <p:spPr>
          <a:xfrm>
            <a:off x="4387931" y="4000350"/>
            <a:ext cx="970056" cy="970056"/>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endParaRPr lang="en-US"/>
          </a:p>
        </p:txBody>
      </p:sp>
      <p:sp>
        <p:nvSpPr>
          <p:cNvPr id="47" name="Freeform 1"/>
          <p:cNvSpPr>
            <a:spLocks noChangeArrowheads="1"/>
          </p:cNvSpPr>
          <p:nvPr/>
        </p:nvSpPr>
        <p:spPr bwMode="auto">
          <a:xfrm>
            <a:off x="4532047" y="4199906"/>
            <a:ext cx="681824" cy="570946"/>
          </a:xfrm>
          <a:custGeom>
            <a:avLst/>
            <a:gdLst>
              <a:gd name="T0" fmla="*/ 3258 w 7810"/>
              <a:gd name="T1" fmla="*/ 3770 h 6538"/>
              <a:gd name="T2" fmla="*/ 2209 w 7810"/>
              <a:gd name="T3" fmla="*/ 3770 h 6538"/>
              <a:gd name="T4" fmla="*/ 3258 w 7810"/>
              <a:gd name="T5" fmla="*/ 3770 h 6538"/>
              <a:gd name="T6" fmla="*/ 3258 w 7810"/>
              <a:gd name="T7" fmla="*/ 3770 h 6538"/>
              <a:gd name="T8" fmla="*/ 7809 w 7810"/>
              <a:gd name="T9" fmla="*/ 3347 h 6538"/>
              <a:gd name="T10" fmla="*/ 6671 w 7810"/>
              <a:gd name="T11" fmla="*/ 2164 h 6538"/>
              <a:gd name="T12" fmla="*/ 4105 w 7810"/>
              <a:gd name="T13" fmla="*/ 1807 h 6538"/>
              <a:gd name="T14" fmla="*/ 5422 w 7810"/>
              <a:gd name="T15" fmla="*/ 803 h 6538"/>
              <a:gd name="T16" fmla="*/ 6292 w 7810"/>
              <a:gd name="T17" fmla="*/ 1763 h 6538"/>
              <a:gd name="T18" fmla="*/ 6292 w 7810"/>
              <a:gd name="T19" fmla="*/ 0 h 6538"/>
              <a:gd name="T20" fmla="*/ 4261 w 7810"/>
              <a:gd name="T21" fmla="*/ 111 h 6538"/>
              <a:gd name="T22" fmla="*/ 1740 w 7810"/>
              <a:gd name="T23" fmla="*/ 2387 h 6538"/>
              <a:gd name="T24" fmla="*/ 1138 w 7810"/>
              <a:gd name="T25" fmla="*/ 2164 h 6538"/>
              <a:gd name="T26" fmla="*/ 580 w 7810"/>
              <a:gd name="T27" fmla="*/ 4373 h 6538"/>
              <a:gd name="T28" fmla="*/ 7273 w 7810"/>
              <a:gd name="T29" fmla="*/ 4351 h 6538"/>
              <a:gd name="T30" fmla="*/ 3258 w 7810"/>
              <a:gd name="T31" fmla="*/ 3770 h 6538"/>
              <a:gd name="T32" fmla="*/ 6292 w 7810"/>
              <a:gd name="T33" fmla="*/ 379 h 6538"/>
              <a:gd name="T34" fmla="*/ 6292 w 7810"/>
              <a:gd name="T35" fmla="*/ 1384 h 6538"/>
              <a:gd name="T36" fmla="*/ 6292 w 7810"/>
              <a:gd name="T37" fmla="*/ 379 h 6538"/>
              <a:gd name="T38" fmla="*/ 1138 w 7810"/>
              <a:gd name="T39" fmla="*/ 2566 h 6538"/>
              <a:gd name="T40" fmla="*/ 580 w 7810"/>
              <a:gd name="T41" fmla="*/ 3882 h 6538"/>
              <a:gd name="T42" fmla="*/ 1138 w 7810"/>
              <a:gd name="T43" fmla="*/ 2566 h 6538"/>
              <a:gd name="T44" fmla="*/ 3927 w 7810"/>
              <a:gd name="T45" fmla="*/ 6135 h 6538"/>
              <a:gd name="T46" fmla="*/ 3927 w 7810"/>
              <a:gd name="T47" fmla="*/ 2209 h 6538"/>
              <a:gd name="T48" fmla="*/ 3927 w 7810"/>
              <a:gd name="T49" fmla="*/ 6135 h 6538"/>
              <a:gd name="T50" fmla="*/ 7251 w 7810"/>
              <a:gd name="T51" fmla="*/ 3837 h 6538"/>
              <a:gd name="T52" fmla="*/ 6671 w 7810"/>
              <a:gd name="T53" fmla="*/ 2566 h 6538"/>
              <a:gd name="T54" fmla="*/ 7251 w 7810"/>
              <a:gd name="T55" fmla="*/ 3837 h 6538"/>
              <a:gd name="T56" fmla="*/ 7251 w 7810"/>
              <a:gd name="T57" fmla="*/ 3837 h 6538"/>
              <a:gd name="T58" fmla="*/ 5533 w 7810"/>
              <a:gd name="T59" fmla="*/ 3770 h 6538"/>
              <a:gd name="T60" fmla="*/ 4997 w 7810"/>
              <a:gd name="T61" fmla="*/ 4306 h 6538"/>
              <a:gd name="T62" fmla="*/ 4997 w 7810"/>
              <a:gd name="T63" fmla="*/ 3258 h 6538"/>
              <a:gd name="T64" fmla="*/ 7251 w 7810"/>
              <a:gd name="T65" fmla="*/ 3837 h 6538"/>
              <a:gd name="T66" fmla="*/ 5533 w 7810"/>
              <a:gd name="T67" fmla="*/ 3770 h 6538"/>
              <a:gd name="T68" fmla="*/ 4908 w 7810"/>
              <a:gd name="T69" fmla="*/ 4953 h 6538"/>
              <a:gd name="T70" fmla="*/ 2856 w 7810"/>
              <a:gd name="T71" fmla="*/ 4953 h 6538"/>
              <a:gd name="T72" fmla="*/ 2610 w 7810"/>
              <a:gd name="T73" fmla="*/ 5265 h 6538"/>
              <a:gd name="T74" fmla="*/ 5132 w 7810"/>
              <a:gd name="T75" fmla="*/ 5265 h 6538"/>
              <a:gd name="T76" fmla="*/ 4908 w 7810"/>
              <a:gd name="T77" fmla="*/ 4953 h 6538"/>
              <a:gd name="T78" fmla="*/ 4908 w 7810"/>
              <a:gd name="T79" fmla="*/ 4953 h 6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10" h="6538">
                <a:moveTo>
                  <a:pt x="3258" y="3770"/>
                </a:moveTo>
                <a:lnTo>
                  <a:pt x="3258" y="3770"/>
                </a:lnTo>
                <a:cubicBezTo>
                  <a:pt x="3258" y="4060"/>
                  <a:pt x="3034" y="4306"/>
                  <a:pt x="2744" y="4306"/>
                </a:cubicBezTo>
                <a:cubicBezTo>
                  <a:pt x="2454" y="4306"/>
                  <a:pt x="2209" y="4060"/>
                  <a:pt x="2209" y="3770"/>
                </a:cubicBezTo>
                <a:cubicBezTo>
                  <a:pt x="2209" y="3480"/>
                  <a:pt x="2454" y="3258"/>
                  <a:pt x="2744" y="3258"/>
                </a:cubicBezTo>
                <a:cubicBezTo>
                  <a:pt x="3034" y="3258"/>
                  <a:pt x="3258" y="3480"/>
                  <a:pt x="3258" y="3770"/>
                </a:cubicBezTo>
                <a:close/>
                <a:moveTo>
                  <a:pt x="3258" y="3770"/>
                </a:moveTo>
                <a:lnTo>
                  <a:pt x="3258" y="3770"/>
                </a:lnTo>
                <a:lnTo>
                  <a:pt x="3258" y="3770"/>
                </a:lnTo>
                <a:lnTo>
                  <a:pt x="7809" y="3347"/>
                </a:lnTo>
                <a:lnTo>
                  <a:pt x="7809" y="3347"/>
                </a:lnTo>
                <a:cubicBezTo>
                  <a:pt x="7809" y="2699"/>
                  <a:pt x="7296" y="2164"/>
                  <a:pt x="6671" y="2164"/>
                </a:cubicBezTo>
                <a:cubicBezTo>
                  <a:pt x="6447" y="2164"/>
                  <a:pt x="6247" y="2231"/>
                  <a:pt x="6068" y="2342"/>
                </a:cubicBezTo>
                <a:cubicBezTo>
                  <a:pt x="5533" y="2030"/>
                  <a:pt x="4841" y="1830"/>
                  <a:pt x="4105" y="1807"/>
                </a:cubicBezTo>
                <a:cubicBezTo>
                  <a:pt x="4529" y="580"/>
                  <a:pt x="4529" y="580"/>
                  <a:pt x="4529" y="580"/>
                </a:cubicBezTo>
                <a:cubicBezTo>
                  <a:pt x="5422" y="803"/>
                  <a:pt x="5422" y="803"/>
                  <a:pt x="5422" y="803"/>
                </a:cubicBezTo>
                <a:cubicBezTo>
                  <a:pt x="5422" y="825"/>
                  <a:pt x="5399" y="848"/>
                  <a:pt x="5399" y="870"/>
                </a:cubicBezTo>
                <a:cubicBezTo>
                  <a:pt x="5399" y="1361"/>
                  <a:pt x="5801" y="1763"/>
                  <a:pt x="6292" y="1763"/>
                </a:cubicBezTo>
                <a:cubicBezTo>
                  <a:pt x="6782" y="1763"/>
                  <a:pt x="7184" y="1361"/>
                  <a:pt x="7184" y="870"/>
                </a:cubicBezTo>
                <a:cubicBezTo>
                  <a:pt x="7184" y="379"/>
                  <a:pt x="6782" y="0"/>
                  <a:pt x="6292" y="0"/>
                </a:cubicBezTo>
                <a:cubicBezTo>
                  <a:pt x="5979" y="0"/>
                  <a:pt x="5711" y="156"/>
                  <a:pt x="5533" y="424"/>
                </a:cubicBezTo>
                <a:cubicBezTo>
                  <a:pt x="4261" y="111"/>
                  <a:pt x="4261" y="111"/>
                  <a:pt x="4261" y="111"/>
                </a:cubicBezTo>
                <a:cubicBezTo>
                  <a:pt x="3681" y="1807"/>
                  <a:pt x="3681" y="1807"/>
                  <a:pt x="3681" y="1807"/>
                </a:cubicBezTo>
                <a:cubicBezTo>
                  <a:pt x="2945" y="1852"/>
                  <a:pt x="2253" y="2052"/>
                  <a:pt x="1740" y="2387"/>
                </a:cubicBezTo>
                <a:cubicBezTo>
                  <a:pt x="1740" y="2387"/>
                  <a:pt x="1740" y="2365"/>
                  <a:pt x="1763" y="2365"/>
                </a:cubicBezTo>
                <a:cubicBezTo>
                  <a:pt x="1584" y="2231"/>
                  <a:pt x="1361" y="2164"/>
                  <a:pt x="1138" y="2164"/>
                </a:cubicBezTo>
                <a:cubicBezTo>
                  <a:pt x="513" y="2164"/>
                  <a:pt x="0" y="2699"/>
                  <a:pt x="0" y="3347"/>
                </a:cubicBezTo>
                <a:cubicBezTo>
                  <a:pt x="0" y="3793"/>
                  <a:pt x="223" y="4150"/>
                  <a:pt x="580" y="4373"/>
                </a:cubicBezTo>
                <a:cubicBezTo>
                  <a:pt x="714" y="5578"/>
                  <a:pt x="2164" y="6537"/>
                  <a:pt x="3927" y="6537"/>
                </a:cubicBezTo>
                <a:cubicBezTo>
                  <a:pt x="5711" y="6537"/>
                  <a:pt x="7161" y="5578"/>
                  <a:pt x="7273" y="4351"/>
                </a:cubicBezTo>
                <a:cubicBezTo>
                  <a:pt x="7585" y="4127"/>
                  <a:pt x="7809" y="3770"/>
                  <a:pt x="7809" y="3347"/>
                </a:cubicBezTo>
                <a:lnTo>
                  <a:pt x="3258" y="3770"/>
                </a:lnTo>
                <a:close/>
                <a:moveTo>
                  <a:pt x="6292" y="379"/>
                </a:moveTo>
                <a:lnTo>
                  <a:pt x="6292" y="379"/>
                </a:lnTo>
                <a:cubicBezTo>
                  <a:pt x="6582" y="379"/>
                  <a:pt x="6782" y="603"/>
                  <a:pt x="6782" y="870"/>
                </a:cubicBezTo>
                <a:cubicBezTo>
                  <a:pt x="6782" y="1160"/>
                  <a:pt x="6560" y="1384"/>
                  <a:pt x="6292" y="1384"/>
                </a:cubicBezTo>
                <a:cubicBezTo>
                  <a:pt x="6024" y="1384"/>
                  <a:pt x="5801" y="1160"/>
                  <a:pt x="5801" y="870"/>
                </a:cubicBezTo>
                <a:cubicBezTo>
                  <a:pt x="5801" y="603"/>
                  <a:pt x="6024" y="379"/>
                  <a:pt x="6292" y="379"/>
                </a:cubicBezTo>
                <a:close/>
                <a:moveTo>
                  <a:pt x="1138" y="2566"/>
                </a:moveTo>
                <a:lnTo>
                  <a:pt x="1138" y="2566"/>
                </a:lnTo>
                <a:cubicBezTo>
                  <a:pt x="1227" y="2566"/>
                  <a:pt x="1316" y="2588"/>
                  <a:pt x="1406" y="2610"/>
                </a:cubicBezTo>
                <a:cubicBezTo>
                  <a:pt x="960" y="2967"/>
                  <a:pt x="670" y="3391"/>
                  <a:pt x="580" y="3882"/>
                </a:cubicBezTo>
                <a:cubicBezTo>
                  <a:pt x="468" y="3726"/>
                  <a:pt x="402" y="3547"/>
                  <a:pt x="402" y="3347"/>
                </a:cubicBezTo>
                <a:cubicBezTo>
                  <a:pt x="402" y="2923"/>
                  <a:pt x="736" y="2566"/>
                  <a:pt x="1138" y="2566"/>
                </a:cubicBezTo>
                <a:close/>
                <a:moveTo>
                  <a:pt x="3927" y="6135"/>
                </a:moveTo>
                <a:lnTo>
                  <a:pt x="3927" y="6135"/>
                </a:lnTo>
                <a:cubicBezTo>
                  <a:pt x="2298" y="6135"/>
                  <a:pt x="960" y="5265"/>
                  <a:pt x="960" y="4172"/>
                </a:cubicBezTo>
                <a:cubicBezTo>
                  <a:pt x="960" y="3079"/>
                  <a:pt x="2298" y="2209"/>
                  <a:pt x="3927" y="2209"/>
                </a:cubicBezTo>
                <a:cubicBezTo>
                  <a:pt x="5555" y="2209"/>
                  <a:pt x="6894" y="3079"/>
                  <a:pt x="6894" y="4172"/>
                </a:cubicBezTo>
                <a:cubicBezTo>
                  <a:pt x="6894" y="5265"/>
                  <a:pt x="5555" y="6135"/>
                  <a:pt x="3927" y="6135"/>
                </a:cubicBezTo>
                <a:close/>
                <a:moveTo>
                  <a:pt x="7251" y="3837"/>
                </a:moveTo>
                <a:lnTo>
                  <a:pt x="7251" y="3837"/>
                </a:lnTo>
                <a:cubicBezTo>
                  <a:pt x="7161" y="3369"/>
                  <a:pt x="6871" y="2945"/>
                  <a:pt x="6447" y="2610"/>
                </a:cubicBezTo>
                <a:cubicBezTo>
                  <a:pt x="6515" y="2588"/>
                  <a:pt x="6582" y="2566"/>
                  <a:pt x="6671" y="2566"/>
                </a:cubicBezTo>
                <a:cubicBezTo>
                  <a:pt x="7072" y="2566"/>
                  <a:pt x="7407" y="2923"/>
                  <a:pt x="7407" y="3347"/>
                </a:cubicBezTo>
                <a:cubicBezTo>
                  <a:pt x="7407" y="3525"/>
                  <a:pt x="7340" y="3704"/>
                  <a:pt x="7251" y="3837"/>
                </a:cubicBezTo>
                <a:close/>
                <a:moveTo>
                  <a:pt x="7251" y="3837"/>
                </a:moveTo>
                <a:lnTo>
                  <a:pt x="7251" y="3837"/>
                </a:lnTo>
                <a:lnTo>
                  <a:pt x="7251" y="3837"/>
                </a:lnTo>
                <a:lnTo>
                  <a:pt x="5533" y="3770"/>
                </a:lnTo>
                <a:lnTo>
                  <a:pt x="5533" y="3770"/>
                </a:lnTo>
                <a:cubicBezTo>
                  <a:pt x="5533" y="4060"/>
                  <a:pt x="5287" y="4306"/>
                  <a:pt x="4997" y="4306"/>
                </a:cubicBezTo>
                <a:cubicBezTo>
                  <a:pt x="4708" y="4306"/>
                  <a:pt x="4484" y="4060"/>
                  <a:pt x="4484" y="3770"/>
                </a:cubicBezTo>
                <a:cubicBezTo>
                  <a:pt x="4484" y="3480"/>
                  <a:pt x="4708" y="3258"/>
                  <a:pt x="4997" y="3258"/>
                </a:cubicBezTo>
                <a:cubicBezTo>
                  <a:pt x="5287" y="3258"/>
                  <a:pt x="5533" y="3480"/>
                  <a:pt x="5533" y="3770"/>
                </a:cubicBezTo>
                <a:lnTo>
                  <a:pt x="7251" y="3837"/>
                </a:lnTo>
                <a:close/>
                <a:moveTo>
                  <a:pt x="5533" y="3770"/>
                </a:moveTo>
                <a:lnTo>
                  <a:pt x="5533" y="3770"/>
                </a:lnTo>
                <a:lnTo>
                  <a:pt x="5533" y="3770"/>
                </a:lnTo>
                <a:lnTo>
                  <a:pt x="4908" y="4953"/>
                </a:lnTo>
                <a:lnTo>
                  <a:pt x="4908" y="4953"/>
                </a:lnTo>
                <a:cubicBezTo>
                  <a:pt x="3815" y="5689"/>
                  <a:pt x="2900" y="4997"/>
                  <a:pt x="2856" y="4953"/>
                </a:cubicBezTo>
                <a:cubicBezTo>
                  <a:pt x="2789" y="4886"/>
                  <a:pt x="2655" y="4908"/>
                  <a:pt x="2588" y="4975"/>
                </a:cubicBezTo>
                <a:cubicBezTo>
                  <a:pt x="2521" y="5064"/>
                  <a:pt x="2544" y="5198"/>
                  <a:pt x="2610" y="5265"/>
                </a:cubicBezTo>
                <a:cubicBezTo>
                  <a:pt x="2633" y="5265"/>
                  <a:pt x="3146" y="5667"/>
                  <a:pt x="3882" y="5667"/>
                </a:cubicBezTo>
                <a:cubicBezTo>
                  <a:pt x="4261" y="5667"/>
                  <a:pt x="4685" y="5578"/>
                  <a:pt x="5132" y="5265"/>
                </a:cubicBezTo>
                <a:cubicBezTo>
                  <a:pt x="5221" y="5221"/>
                  <a:pt x="5243" y="5087"/>
                  <a:pt x="5198" y="4997"/>
                </a:cubicBezTo>
                <a:cubicBezTo>
                  <a:pt x="5132" y="4908"/>
                  <a:pt x="5020" y="4886"/>
                  <a:pt x="4908" y="4953"/>
                </a:cubicBezTo>
                <a:lnTo>
                  <a:pt x="5533" y="3770"/>
                </a:lnTo>
                <a:close/>
                <a:moveTo>
                  <a:pt x="4908" y="4953"/>
                </a:moveTo>
                <a:lnTo>
                  <a:pt x="4908" y="4953"/>
                </a:lnTo>
                <a:close/>
              </a:path>
            </a:pathLst>
          </a:custGeom>
          <a:solidFill>
            <a:schemeClr val="bg1"/>
          </a:solidFill>
          <a:ln>
            <a:noFill/>
          </a:ln>
          <a:effectLst/>
        </p:spPr>
        <p:txBody>
          <a:bodyPr wrap="none" anchor="ctr"/>
          <a:lstStyle/>
          <a:p>
            <a:endParaRPr lang="en-US"/>
          </a:p>
        </p:txBody>
      </p:sp>
      <p:sp>
        <p:nvSpPr>
          <p:cNvPr id="49" name="Oval 48"/>
          <p:cNvSpPr/>
          <p:nvPr/>
        </p:nvSpPr>
        <p:spPr>
          <a:xfrm>
            <a:off x="8034440" y="1624308"/>
            <a:ext cx="970056" cy="970056"/>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50" name="Freeform 2"/>
          <p:cNvSpPr>
            <a:spLocks noChangeArrowheads="1"/>
          </p:cNvSpPr>
          <p:nvPr/>
        </p:nvSpPr>
        <p:spPr bwMode="auto">
          <a:xfrm>
            <a:off x="8250143" y="1840011"/>
            <a:ext cx="538650" cy="538650"/>
          </a:xfrm>
          <a:custGeom>
            <a:avLst/>
            <a:gdLst>
              <a:gd name="T0" fmla="*/ 5666 w 5689"/>
              <a:gd name="T1" fmla="*/ 1650 h 5689"/>
              <a:gd name="T2" fmla="*/ 5197 w 5689"/>
              <a:gd name="T3" fmla="*/ 468 h 5689"/>
              <a:gd name="T4" fmla="*/ 4016 w 5689"/>
              <a:gd name="T5" fmla="*/ 0 h 5689"/>
              <a:gd name="T6" fmla="*/ 1674 w 5689"/>
              <a:gd name="T7" fmla="*/ 0 h 5689"/>
              <a:gd name="T8" fmla="*/ 469 w 5689"/>
              <a:gd name="T9" fmla="*/ 468 h 5689"/>
              <a:gd name="T10" fmla="*/ 0 w 5689"/>
              <a:gd name="T11" fmla="*/ 1650 h 5689"/>
              <a:gd name="T12" fmla="*/ 0 w 5689"/>
              <a:gd name="T13" fmla="*/ 4016 h 5689"/>
              <a:gd name="T14" fmla="*/ 469 w 5689"/>
              <a:gd name="T15" fmla="*/ 5198 h 5689"/>
              <a:gd name="T16" fmla="*/ 1674 w 5689"/>
              <a:gd name="T17" fmla="*/ 5666 h 5689"/>
              <a:gd name="T18" fmla="*/ 4016 w 5689"/>
              <a:gd name="T19" fmla="*/ 5666 h 5689"/>
              <a:gd name="T20" fmla="*/ 5197 w 5689"/>
              <a:gd name="T21" fmla="*/ 5198 h 5689"/>
              <a:gd name="T22" fmla="*/ 5666 w 5689"/>
              <a:gd name="T23" fmla="*/ 4016 h 5689"/>
              <a:gd name="T24" fmla="*/ 5666 w 5689"/>
              <a:gd name="T25" fmla="*/ 1650 h 5689"/>
              <a:gd name="T26" fmla="*/ 5153 w 5689"/>
              <a:gd name="T27" fmla="*/ 3993 h 5689"/>
              <a:gd name="T28" fmla="*/ 4840 w 5689"/>
              <a:gd name="T29" fmla="*/ 4841 h 5689"/>
              <a:gd name="T30" fmla="*/ 3994 w 5689"/>
              <a:gd name="T31" fmla="*/ 5153 h 5689"/>
              <a:gd name="T32" fmla="*/ 1696 w 5689"/>
              <a:gd name="T33" fmla="*/ 5153 h 5689"/>
              <a:gd name="T34" fmla="*/ 826 w 5689"/>
              <a:gd name="T35" fmla="*/ 4841 h 5689"/>
              <a:gd name="T36" fmla="*/ 514 w 5689"/>
              <a:gd name="T37" fmla="*/ 3993 h 5689"/>
              <a:gd name="T38" fmla="*/ 514 w 5689"/>
              <a:gd name="T39" fmla="*/ 1695 h 5689"/>
              <a:gd name="T40" fmla="*/ 826 w 5689"/>
              <a:gd name="T41" fmla="*/ 825 h 5689"/>
              <a:gd name="T42" fmla="*/ 1696 w 5689"/>
              <a:gd name="T43" fmla="*/ 512 h 5689"/>
              <a:gd name="T44" fmla="*/ 3994 w 5689"/>
              <a:gd name="T45" fmla="*/ 512 h 5689"/>
              <a:gd name="T46" fmla="*/ 4840 w 5689"/>
              <a:gd name="T47" fmla="*/ 825 h 5689"/>
              <a:gd name="T48" fmla="*/ 5153 w 5689"/>
              <a:gd name="T49" fmla="*/ 1695 h 5689"/>
              <a:gd name="T50" fmla="*/ 5153 w 5689"/>
              <a:gd name="T51" fmla="*/ 3993 h 5689"/>
              <a:gd name="T52" fmla="*/ 2834 w 5689"/>
              <a:gd name="T53" fmla="*/ 1383 h 5689"/>
              <a:gd name="T54" fmla="*/ 2834 w 5689"/>
              <a:gd name="T55" fmla="*/ 4305 h 5689"/>
              <a:gd name="T56" fmla="*/ 2834 w 5689"/>
              <a:gd name="T57" fmla="*/ 1383 h 5689"/>
              <a:gd name="T58" fmla="*/ 2834 w 5689"/>
              <a:gd name="T59" fmla="*/ 3792 h 5689"/>
              <a:gd name="T60" fmla="*/ 2834 w 5689"/>
              <a:gd name="T61" fmla="*/ 1896 h 5689"/>
              <a:gd name="T62" fmla="*/ 2834 w 5689"/>
              <a:gd name="T63" fmla="*/ 3792 h 5689"/>
              <a:gd name="T64" fmla="*/ 4707 w 5689"/>
              <a:gd name="T65" fmla="*/ 1316 h 5689"/>
              <a:gd name="T66" fmla="*/ 4016 w 5689"/>
              <a:gd name="T67" fmla="*/ 1316 h 5689"/>
              <a:gd name="T68" fmla="*/ 4707 w 5689"/>
              <a:gd name="T69" fmla="*/ 1316 h 5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89" h="5689">
                <a:moveTo>
                  <a:pt x="5666" y="1650"/>
                </a:moveTo>
                <a:lnTo>
                  <a:pt x="5666" y="1650"/>
                </a:lnTo>
                <a:cubicBezTo>
                  <a:pt x="5643" y="1361"/>
                  <a:pt x="5599" y="1160"/>
                  <a:pt x="5532" y="982"/>
                </a:cubicBezTo>
                <a:cubicBezTo>
                  <a:pt x="5465" y="780"/>
                  <a:pt x="5354" y="625"/>
                  <a:pt x="5197" y="468"/>
                </a:cubicBezTo>
                <a:cubicBezTo>
                  <a:pt x="5042" y="312"/>
                  <a:pt x="4885" y="200"/>
                  <a:pt x="4707" y="133"/>
                </a:cubicBezTo>
                <a:cubicBezTo>
                  <a:pt x="4529" y="66"/>
                  <a:pt x="4306" y="22"/>
                  <a:pt x="4016" y="0"/>
                </a:cubicBezTo>
                <a:cubicBezTo>
                  <a:pt x="3704" y="0"/>
                  <a:pt x="3615" y="0"/>
                  <a:pt x="2834" y="0"/>
                </a:cubicBezTo>
                <a:cubicBezTo>
                  <a:pt x="2075" y="0"/>
                  <a:pt x="1964" y="0"/>
                  <a:pt x="1674" y="0"/>
                </a:cubicBezTo>
                <a:cubicBezTo>
                  <a:pt x="1361" y="22"/>
                  <a:pt x="1160" y="66"/>
                  <a:pt x="982" y="133"/>
                </a:cubicBezTo>
                <a:cubicBezTo>
                  <a:pt x="781" y="200"/>
                  <a:pt x="625" y="312"/>
                  <a:pt x="469" y="468"/>
                </a:cubicBezTo>
                <a:cubicBezTo>
                  <a:pt x="313" y="625"/>
                  <a:pt x="224" y="780"/>
                  <a:pt x="134" y="982"/>
                </a:cubicBezTo>
                <a:cubicBezTo>
                  <a:pt x="67" y="1160"/>
                  <a:pt x="22" y="1361"/>
                  <a:pt x="0" y="1650"/>
                </a:cubicBezTo>
                <a:cubicBezTo>
                  <a:pt x="0" y="1963"/>
                  <a:pt x="0" y="2052"/>
                  <a:pt x="0" y="2833"/>
                </a:cubicBezTo>
                <a:cubicBezTo>
                  <a:pt x="0" y="3614"/>
                  <a:pt x="0" y="3703"/>
                  <a:pt x="0" y="4016"/>
                </a:cubicBezTo>
                <a:cubicBezTo>
                  <a:pt x="22" y="4305"/>
                  <a:pt x="67" y="4528"/>
                  <a:pt x="134" y="4707"/>
                </a:cubicBezTo>
                <a:cubicBezTo>
                  <a:pt x="224" y="4885"/>
                  <a:pt x="313" y="5042"/>
                  <a:pt x="469" y="5198"/>
                </a:cubicBezTo>
                <a:cubicBezTo>
                  <a:pt x="625" y="5354"/>
                  <a:pt x="781" y="5466"/>
                  <a:pt x="982" y="5533"/>
                </a:cubicBezTo>
                <a:cubicBezTo>
                  <a:pt x="1160" y="5599"/>
                  <a:pt x="1361" y="5644"/>
                  <a:pt x="1674" y="5666"/>
                </a:cubicBezTo>
                <a:cubicBezTo>
                  <a:pt x="1964" y="5688"/>
                  <a:pt x="2075" y="5688"/>
                  <a:pt x="2834" y="5688"/>
                </a:cubicBezTo>
                <a:cubicBezTo>
                  <a:pt x="3615" y="5688"/>
                  <a:pt x="3704" y="5688"/>
                  <a:pt x="4016" y="5666"/>
                </a:cubicBezTo>
                <a:cubicBezTo>
                  <a:pt x="4306" y="5644"/>
                  <a:pt x="4529" y="5599"/>
                  <a:pt x="4707" y="5533"/>
                </a:cubicBezTo>
                <a:cubicBezTo>
                  <a:pt x="4885" y="5466"/>
                  <a:pt x="5042" y="5354"/>
                  <a:pt x="5197" y="5198"/>
                </a:cubicBezTo>
                <a:cubicBezTo>
                  <a:pt x="5354" y="5042"/>
                  <a:pt x="5465" y="4885"/>
                  <a:pt x="5532" y="4707"/>
                </a:cubicBezTo>
                <a:cubicBezTo>
                  <a:pt x="5599" y="4528"/>
                  <a:pt x="5643" y="4305"/>
                  <a:pt x="5666" y="4016"/>
                </a:cubicBezTo>
                <a:cubicBezTo>
                  <a:pt x="5688" y="3703"/>
                  <a:pt x="5688" y="3614"/>
                  <a:pt x="5688" y="2833"/>
                </a:cubicBezTo>
                <a:cubicBezTo>
                  <a:pt x="5688" y="2052"/>
                  <a:pt x="5688" y="1963"/>
                  <a:pt x="5666" y="1650"/>
                </a:cubicBezTo>
                <a:close/>
                <a:moveTo>
                  <a:pt x="5153" y="3993"/>
                </a:moveTo>
                <a:lnTo>
                  <a:pt x="5153" y="3993"/>
                </a:lnTo>
                <a:cubicBezTo>
                  <a:pt x="5131" y="4260"/>
                  <a:pt x="5086" y="4417"/>
                  <a:pt x="5064" y="4506"/>
                </a:cubicBezTo>
                <a:cubicBezTo>
                  <a:pt x="4997" y="4640"/>
                  <a:pt x="4952" y="4752"/>
                  <a:pt x="4840" y="4841"/>
                </a:cubicBezTo>
                <a:cubicBezTo>
                  <a:pt x="4751" y="4930"/>
                  <a:pt x="4640" y="4997"/>
                  <a:pt x="4507" y="5064"/>
                </a:cubicBezTo>
                <a:cubicBezTo>
                  <a:pt x="4418" y="5086"/>
                  <a:pt x="4262" y="5131"/>
                  <a:pt x="3994" y="5153"/>
                </a:cubicBezTo>
                <a:cubicBezTo>
                  <a:pt x="3681" y="5176"/>
                  <a:pt x="3592" y="5176"/>
                  <a:pt x="2834" y="5176"/>
                </a:cubicBezTo>
                <a:cubicBezTo>
                  <a:pt x="2075" y="5176"/>
                  <a:pt x="1986" y="5176"/>
                  <a:pt x="1696" y="5153"/>
                </a:cubicBezTo>
                <a:cubicBezTo>
                  <a:pt x="1406" y="5131"/>
                  <a:pt x="1250" y="5086"/>
                  <a:pt x="1160" y="5064"/>
                </a:cubicBezTo>
                <a:cubicBezTo>
                  <a:pt x="1027" y="4997"/>
                  <a:pt x="938" y="4930"/>
                  <a:pt x="826" y="4841"/>
                </a:cubicBezTo>
                <a:cubicBezTo>
                  <a:pt x="736" y="4752"/>
                  <a:pt x="670" y="4640"/>
                  <a:pt x="625" y="4506"/>
                </a:cubicBezTo>
                <a:cubicBezTo>
                  <a:pt x="581" y="4417"/>
                  <a:pt x="536" y="4260"/>
                  <a:pt x="514" y="3993"/>
                </a:cubicBezTo>
                <a:cubicBezTo>
                  <a:pt x="514" y="3681"/>
                  <a:pt x="514" y="3592"/>
                  <a:pt x="514" y="2833"/>
                </a:cubicBezTo>
                <a:cubicBezTo>
                  <a:pt x="514" y="2075"/>
                  <a:pt x="514" y="1985"/>
                  <a:pt x="514" y="1695"/>
                </a:cubicBezTo>
                <a:cubicBezTo>
                  <a:pt x="536" y="1405"/>
                  <a:pt x="581" y="1249"/>
                  <a:pt x="625" y="1160"/>
                </a:cubicBezTo>
                <a:cubicBezTo>
                  <a:pt x="670" y="1026"/>
                  <a:pt x="736" y="937"/>
                  <a:pt x="826" y="825"/>
                </a:cubicBezTo>
                <a:cubicBezTo>
                  <a:pt x="938" y="736"/>
                  <a:pt x="1027" y="669"/>
                  <a:pt x="1160" y="625"/>
                </a:cubicBezTo>
                <a:cubicBezTo>
                  <a:pt x="1250" y="580"/>
                  <a:pt x="1406" y="535"/>
                  <a:pt x="1696" y="512"/>
                </a:cubicBezTo>
                <a:cubicBezTo>
                  <a:pt x="1986" y="512"/>
                  <a:pt x="2075" y="512"/>
                  <a:pt x="2834" y="512"/>
                </a:cubicBezTo>
                <a:cubicBezTo>
                  <a:pt x="3592" y="512"/>
                  <a:pt x="3681" y="512"/>
                  <a:pt x="3994" y="512"/>
                </a:cubicBezTo>
                <a:cubicBezTo>
                  <a:pt x="4262" y="535"/>
                  <a:pt x="4418" y="580"/>
                  <a:pt x="4507" y="625"/>
                </a:cubicBezTo>
                <a:cubicBezTo>
                  <a:pt x="4640" y="669"/>
                  <a:pt x="4751" y="736"/>
                  <a:pt x="4840" y="825"/>
                </a:cubicBezTo>
                <a:cubicBezTo>
                  <a:pt x="4952" y="937"/>
                  <a:pt x="4997" y="1026"/>
                  <a:pt x="5064" y="1160"/>
                </a:cubicBezTo>
                <a:cubicBezTo>
                  <a:pt x="5086" y="1249"/>
                  <a:pt x="5131" y="1405"/>
                  <a:pt x="5153" y="1695"/>
                </a:cubicBezTo>
                <a:cubicBezTo>
                  <a:pt x="5175" y="1985"/>
                  <a:pt x="5175" y="2075"/>
                  <a:pt x="5175" y="2833"/>
                </a:cubicBezTo>
                <a:cubicBezTo>
                  <a:pt x="5175" y="3592"/>
                  <a:pt x="5175" y="3681"/>
                  <a:pt x="5153" y="3993"/>
                </a:cubicBezTo>
                <a:close/>
                <a:moveTo>
                  <a:pt x="2834" y="1383"/>
                </a:moveTo>
                <a:lnTo>
                  <a:pt x="2834" y="1383"/>
                </a:lnTo>
                <a:cubicBezTo>
                  <a:pt x="2031" y="1383"/>
                  <a:pt x="1384" y="2030"/>
                  <a:pt x="1384" y="2833"/>
                </a:cubicBezTo>
                <a:cubicBezTo>
                  <a:pt x="1384" y="3636"/>
                  <a:pt x="2031" y="4305"/>
                  <a:pt x="2834" y="4305"/>
                </a:cubicBezTo>
                <a:cubicBezTo>
                  <a:pt x="3637" y="4305"/>
                  <a:pt x="4306" y="3636"/>
                  <a:pt x="4306" y="2833"/>
                </a:cubicBezTo>
                <a:cubicBezTo>
                  <a:pt x="4306" y="2030"/>
                  <a:pt x="3637" y="1383"/>
                  <a:pt x="2834" y="1383"/>
                </a:cubicBezTo>
                <a:close/>
                <a:moveTo>
                  <a:pt x="2834" y="3792"/>
                </a:moveTo>
                <a:lnTo>
                  <a:pt x="2834" y="3792"/>
                </a:lnTo>
                <a:cubicBezTo>
                  <a:pt x="2320" y="3792"/>
                  <a:pt x="1896" y="3368"/>
                  <a:pt x="1896" y="2833"/>
                </a:cubicBezTo>
                <a:cubicBezTo>
                  <a:pt x="1896" y="2320"/>
                  <a:pt x="2320" y="1896"/>
                  <a:pt x="2834" y="1896"/>
                </a:cubicBezTo>
                <a:cubicBezTo>
                  <a:pt x="3369" y="1896"/>
                  <a:pt x="3793" y="2320"/>
                  <a:pt x="3793" y="2833"/>
                </a:cubicBezTo>
                <a:cubicBezTo>
                  <a:pt x="3793" y="3368"/>
                  <a:pt x="3369" y="3792"/>
                  <a:pt x="2834" y="3792"/>
                </a:cubicBezTo>
                <a:close/>
                <a:moveTo>
                  <a:pt x="4707" y="1316"/>
                </a:moveTo>
                <a:lnTo>
                  <a:pt x="4707" y="1316"/>
                </a:lnTo>
                <a:cubicBezTo>
                  <a:pt x="4707" y="1137"/>
                  <a:pt x="4551" y="982"/>
                  <a:pt x="4351" y="982"/>
                </a:cubicBezTo>
                <a:cubicBezTo>
                  <a:pt x="4172" y="982"/>
                  <a:pt x="4016" y="1137"/>
                  <a:pt x="4016" y="1316"/>
                </a:cubicBezTo>
                <a:cubicBezTo>
                  <a:pt x="4016" y="1494"/>
                  <a:pt x="4172" y="1650"/>
                  <a:pt x="4351" y="1650"/>
                </a:cubicBezTo>
                <a:cubicBezTo>
                  <a:pt x="4551" y="1650"/>
                  <a:pt x="4707" y="1494"/>
                  <a:pt x="4707" y="1316"/>
                </a:cubicBezTo>
                <a:close/>
              </a:path>
            </a:pathLst>
          </a:custGeom>
          <a:solidFill>
            <a:schemeClr val="bg1"/>
          </a:solidFill>
          <a:ln>
            <a:noFill/>
          </a:ln>
          <a:effectLst/>
        </p:spPr>
        <p:txBody>
          <a:bodyPr wrap="none" anchor="ctr"/>
          <a:lstStyle/>
          <a:p>
            <a:endParaRPr lang="en-US"/>
          </a:p>
        </p:txBody>
      </p:sp>
      <p:sp>
        <p:nvSpPr>
          <p:cNvPr id="52" name="Oval 51"/>
          <p:cNvSpPr/>
          <p:nvPr/>
        </p:nvSpPr>
        <p:spPr>
          <a:xfrm>
            <a:off x="1970015" y="4002556"/>
            <a:ext cx="967850" cy="967850"/>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53" name="Freeform 3"/>
          <p:cNvSpPr>
            <a:spLocks noChangeArrowheads="1"/>
          </p:cNvSpPr>
          <p:nvPr/>
        </p:nvSpPr>
        <p:spPr bwMode="auto">
          <a:xfrm>
            <a:off x="2165314" y="4194650"/>
            <a:ext cx="577254" cy="583664"/>
          </a:xfrm>
          <a:custGeom>
            <a:avLst/>
            <a:gdLst>
              <a:gd name="T0" fmla="*/ 5778 w 5958"/>
              <a:gd name="T1" fmla="*/ 3658 h 6024"/>
              <a:gd name="T2" fmla="*/ 5778 w 5958"/>
              <a:gd name="T3" fmla="*/ 3658 h 6024"/>
              <a:gd name="T4" fmla="*/ 5846 w 5958"/>
              <a:gd name="T5" fmla="*/ 3034 h 6024"/>
              <a:gd name="T6" fmla="*/ 3012 w 5958"/>
              <a:gd name="T7" fmla="*/ 200 h 6024"/>
              <a:gd name="T8" fmla="*/ 2521 w 5958"/>
              <a:gd name="T9" fmla="*/ 245 h 6024"/>
              <a:gd name="T10" fmla="*/ 1651 w 5958"/>
              <a:gd name="T11" fmla="*/ 0 h 6024"/>
              <a:gd name="T12" fmla="*/ 0 w 5958"/>
              <a:gd name="T13" fmla="*/ 1650 h 6024"/>
              <a:gd name="T14" fmla="*/ 223 w 5958"/>
              <a:gd name="T15" fmla="*/ 2476 h 6024"/>
              <a:gd name="T16" fmla="*/ 178 w 5958"/>
              <a:gd name="T17" fmla="*/ 3034 h 6024"/>
              <a:gd name="T18" fmla="*/ 3012 w 5958"/>
              <a:gd name="T19" fmla="*/ 5889 h 6024"/>
              <a:gd name="T20" fmla="*/ 3525 w 5958"/>
              <a:gd name="T21" fmla="*/ 5844 h 6024"/>
              <a:gd name="T22" fmla="*/ 4306 w 5958"/>
              <a:gd name="T23" fmla="*/ 6023 h 6024"/>
              <a:gd name="T24" fmla="*/ 5957 w 5958"/>
              <a:gd name="T25" fmla="*/ 4394 h 6024"/>
              <a:gd name="T26" fmla="*/ 5778 w 5958"/>
              <a:gd name="T27" fmla="*/ 3658 h 6024"/>
              <a:gd name="T28" fmla="*/ 4462 w 5958"/>
              <a:gd name="T29" fmla="*/ 4394 h 6024"/>
              <a:gd name="T30" fmla="*/ 4462 w 5958"/>
              <a:gd name="T31" fmla="*/ 4394 h 6024"/>
              <a:gd name="T32" fmla="*/ 3882 w 5958"/>
              <a:gd name="T33" fmla="*/ 4841 h 6024"/>
              <a:gd name="T34" fmla="*/ 3012 w 5958"/>
              <a:gd name="T35" fmla="*/ 4997 h 6024"/>
              <a:gd name="T36" fmla="*/ 1985 w 5958"/>
              <a:gd name="T37" fmla="*/ 4773 h 6024"/>
              <a:gd name="T38" fmla="*/ 1517 w 5958"/>
              <a:gd name="T39" fmla="*/ 4372 h 6024"/>
              <a:gd name="T40" fmla="*/ 1339 w 5958"/>
              <a:gd name="T41" fmla="*/ 3859 h 6024"/>
              <a:gd name="T42" fmla="*/ 1450 w 5958"/>
              <a:gd name="T43" fmla="*/ 3591 h 6024"/>
              <a:gd name="T44" fmla="*/ 1740 w 5958"/>
              <a:gd name="T45" fmla="*/ 3480 h 6024"/>
              <a:gd name="T46" fmla="*/ 2008 w 5958"/>
              <a:gd name="T47" fmla="*/ 3569 h 6024"/>
              <a:gd name="T48" fmla="*/ 2164 w 5958"/>
              <a:gd name="T49" fmla="*/ 3814 h 6024"/>
              <a:gd name="T50" fmla="*/ 2320 w 5958"/>
              <a:gd name="T51" fmla="*/ 4105 h 6024"/>
              <a:gd name="T52" fmla="*/ 2566 w 5958"/>
              <a:gd name="T53" fmla="*/ 4283 h 6024"/>
              <a:gd name="T54" fmla="*/ 2990 w 5958"/>
              <a:gd name="T55" fmla="*/ 4350 h 6024"/>
              <a:gd name="T56" fmla="*/ 3547 w 5958"/>
              <a:gd name="T57" fmla="*/ 4194 h 6024"/>
              <a:gd name="T58" fmla="*/ 3770 w 5958"/>
              <a:gd name="T59" fmla="*/ 3859 h 6024"/>
              <a:gd name="T60" fmla="*/ 3659 w 5958"/>
              <a:gd name="T61" fmla="*/ 3569 h 6024"/>
              <a:gd name="T62" fmla="*/ 3347 w 5958"/>
              <a:gd name="T63" fmla="*/ 3413 h 6024"/>
              <a:gd name="T64" fmla="*/ 2833 w 5958"/>
              <a:gd name="T65" fmla="*/ 3279 h 6024"/>
              <a:gd name="T66" fmla="*/ 2075 w 5958"/>
              <a:gd name="T67" fmla="*/ 3056 h 6024"/>
              <a:gd name="T68" fmla="*/ 1606 w 5958"/>
              <a:gd name="T69" fmla="*/ 2699 h 6024"/>
              <a:gd name="T70" fmla="*/ 1406 w 5958"/>
              <a:gd name="T71" fmla="*/ 2141 h 6024"/>
              <a:gd name="T72" fmla="*/ 1606 w 5958"/>
              <a:gd name="T73" fmla="*/ 1561 h 6024"/>
              <a:gd name="T74" fmla="*/ 2164 w 5958"/>
              <a:gd name="T75" fmla="*/ 1182 h 6024"/>
              <a:gd name="T76" fmla="*/ 2990 w 5958"/>
              <a:gd name="T77" fmla="*/ 1048 h 6024"/>
              <a:gd name="T78" fmla="*/ 3659 w 5958"/>
              <a:gd name="T79" fmla="*/ 1138 h 6024"/>
              <a:gd name="T80" fmla="*/ 4127 w 5958"/>
              <a:gd name="T81" fmla="*/ 1360 h 6024"/>
              <a:gd name="T82" fmla="*/ 4395 w 5958"/>
              <a:gd name="T83" fmla="*/ 1673 h 6024"/>
              <a:gd name="T84" fmla="*/ 4484 w 5958"/>
              <a:gd name="T85" fmla="*/ 2007 h 6024"/>
              <a:gd name="T86" fmla="*/ 4373 w 5958"/>
              <a:gd name="T87" fmla="*/ 2275 h 6024"/>
              <a:gd name="T88" fmla="*/ 4083 w 5958"/>
              <a:gd name="T89" fmla="*/ 2387 h 6024"/>
              <a:gd name="T90" fmla="*/ 3837 w 5958"/>
              <a:gd name="T91" fmla="*/ 2320 h 6024"/>
              <a:gd name="T92" fmla="*/ 3659 w 5958"/>
              <a:gd name="T93" fmla="*/ 2096 h 6024"/>
              <a:gd name="T94" fmla="*/ 3413 w 5958"/>
              <a:gd name="T95" fmla="*/ 1784 h 6024"/>
              <a:gd name="T96" fmla="*/ 2945 w 5958"/>
              <a:gd name="T97" fmla="*/ 1673 h 6024"/>
              <a:gd name="T98" fmla="*/ 2454 w 5958"/>
              <a:gd name="T99" fmla="*/ 1784 h 6024"/>
              <a:gd name="T100" fmla="*/ 2275 w 5958"/>
              <a:gd name="T101" fmla="*/ 2074 h 6024"/>
              <a:gd name="T102" fmla="*/ 2320 w 5958"/>
              <a:gd name="T103" fmla="*/ 2231 h 6024"/>
              <a:gd name="T104" fmla="*/ 2499 w 5958"/>
              <a:gd name="T105" fmla="*/ 2364 h 6024"/>
              <a:gd name="T106" fmla="*/ 2722 w 5958"/>
              <a:gd name="T107" fmla="*/ 2453 h 6024"/>
              <a:gd name="T108" fmla="*/ 3123 w 5958"/>
              <a:gd name="T109" fmla="*/ 2542 h 6024"/>
              <a:gd name="T110" fmla="*/ 3748 w 5958"/>
              <a:gd name="T111" fmla="*/ 2699 h 6024"/>
              <a:gd name="T112" fmla="*/ 4238 w 5958"/>
              <a:gd name="T113" fmla="*/ 2922 h 6024"/>
              <a:gd name="T114" fmla="*/ 4551 w 5958"/>
              <a:gd name="T115" fmla="*/ 3256 h 6024"/>
              <a:gd name="T116" fmla="*/ 4663 w 5958"/>
              <a:gd name="T117" fmla="*/ 3770 h 6024"/>
              <a:gd name="T118" fmla="*/ 4462 w 5958"/>
              <a:gd name="T119" fmla="*/ 4394 h 6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58" h="6024">
                <a:moveTo>
                  <a:pt x="5778" y="3658"/>
                </a:moveTo>
                <a:lnTo>
                  <a:pt x="5778" y="3658"/>
                </a:lnTo>
                <a:cubicBezTo>
                  <a:pt x="5823" y="3457"/>
                  <a:pt x="5846" y="3256"/>
                  <a:pt x="5846" y="3034"/>
                </a:cubicBezTo>
                <a:cubicBezTo>
                  <a:pt x="5846" y="1472"/>
                  <a:pt x="4573" y="200"/>
                  <a:pt x="3012" y="200"/>
                </a:cubicBezTo>
                <a:cubicBezTo>
                  <a:pt x="2833" y="200"/>
                  <a:pt x="2677" y="222"/>
                  <a:pt x="2521" y="245"/>
                </a:cubicBezTo>
                <a:cubicBezTo>
                  <a:pt x="2275" y="89"/>
                  <a:pt x="1963" y="0"/>
                  <a:pt x="1651" y="0"/>
                </a:cubicBezTo>
                <a:cubicBezTo>
                  <a:pt x="736" y="0"/>
                  <a:pt x="0" y="736"/>
                  <a:pt x="0" y="1650"/>
                </a:cubicBezTo>
                <a:cubicBezTo>
                  <a:pt x="0" y="1941"/>
                  <a:pt x="89" y="2231"/>
                  <a:pt x="223" y="2476"/>
                </a:cubicBezTo>
                <a:cubicBezTo>
                  <a:pt x="178" y="2655"/>
                  <a:pt x="178" y="2855"/>
                  <a:pt x="178" y="3034"/>
                </a:cubicBezTo>
                <a:cubicBezTo>
                  <a:pt x="178" y="4618"/>
                  <a:pt x="1450" y="5889"/>
                  <a:pt x="3012" y="5889"/>
                </a:cubicBezTo>
                <a:cubicBezTo>
                  <a:pt x="3190" y="5889"/>
                  <a:pt x="3369" y="5867"/>
                  <a:pt x="3525" y="5844"/>
                </a:cubicBezTo>
                <a:cubicBezTo>
                  <a:pt x="3770" y="5956"/>
                  <a:pt x="4016" y="6023"/>
                  <a:pt x="4306" y="6023"/>
                </a:cubicBezTo>
                <a:cubicBezTo>
                  <a:pt x="5221" y="6023"/>
                  <a:pt x="5957" y="5287"/>
                  <a:pt x="5957" y="4394"/>
                </a:cubicBezTo>
                <a:cubicBezTo>
                  <a:pt x="5957" y="4127"/>
                  <a:pt x="5890" y="3881"/>
                  <a:pt x="5778" y="3658"/>
                </a:cubicBezTo>
                <a:close/>
                <a:moveTo>
                  <a:pt x="4462" y="4394"/>
                </a:moveTo>
                <a:lnTo>
                  <a:pt x="4462" y="4394"/>
                </a:lnTo>
                <a:cubicBezTo>
                  <a:pt x="4328" y="4595"/>
                  <a:pt x="4150" y="4729"/>
                  <a:pt x="3882" y="4841"/>
                </a:cubicBezTo>
                <a:cubicBezTo>
                  <a:pt x="3637" y="4952"/>
                  <a:pt x="3347" y="4997"/>
                  <a:pt x="3012" y="4997"/>
                </a:cubicBezTo>
                <a:cubicBezTo>
                  <a:pt x="2588" y="4997"/>
                  <a:pt x="2253" y="4930"/>
                  <a:pt x="1985" y="4773"/>
                </a:cubicBezTo>
                <a:cubicBezTo>
                  <a:pt x="1785" y="4684"/>
                  <a:pt x="1628" y="4529"/>
                  <a:pt x="1517" y="4372"/>
                </a:cubicBezTo>
                <a:cubicBezTo>
                  <a:pt x="1406" y="4194"/>
                  <a:pt x="1339" y="4015"/>
                  <a:pt x="1339" y="3859"/>
                </a:cubicBezTo>
                <a:cubicBezTo>
                  <a:pt x="1339" y="3748"/>
                  <a:pt x="1383" y="3658"/>
                  <a:pt x="1450" y="3591"/>
                </a:cubicBezTo>
                <a:cubicBezTo>
                  <a:pt x="1539" y="3502"/>
                  <a:pt x="1628" y="3480"/>
                  <a:pt x="1740" y="3480"/>
                </a:cubicBezTo>
                <a:cubicBezTo>
                  <a:pt x="1852" y="3480"/>
                  <a:pt x="1941" y="3502"/>
                  <a:pt x="2008" y="3569"/>
                </a:cubicBezTo>
                <a:cubicBezTo>
                  <a:pt x="2075" y="3613"/>
                  <a:pt x="2120" y="3703"/>
                  <a:pt x="2164" y="3814"/>
                </a:cubicBezTo>
                <a:cubicBezTo>
                  <a:pt x="2209" y="3926"/>
                  <a:pt x="2275" y="4015"/>
                  <a:pt x="2320" y="4105"/>
                </a:cubicBezTo>
                <a:cubicBezTo>
                  <a:pt x="2387" y="4172"/>
                  <a:pt x="2477" y="4238"/>
                  <a:pt x="2566" y="4283"/>
                </a:cubicBezTo>
                <a:cubicBezTo>
                  <a:pt x="2677" y="4327"/>
                  <a:pt x="2811" y="4350"/>
                  <a:pt x="2990" y="4350"/>
                </a:cubicBezTo>
                <a:cubicBezTo>
                  <a:pt x="3213" y="4350"/>
                  <a:pt x="3413" y="4305"/>
                  <a:pt x="3547" y="4194"/>
                </a:cubicBezTo>
                <a:cubicBezTo>
                  <a:pt x="3704" y="4105"/>
                  <a:pt x="3770" y="3992"/>
                  <a:pt x="3770" y="3859"/>
                </a:cubicBezTo>
                <a:cubicBezTo>
                  <a:pt x="3770" y="3748"/>
                  <a:pt x="3726" y="3658"/>
                  <a:pt x="3659" y="3569"/>
                </a:cubicBezTo>
                <a:cubicBezTo>
                  <a:pt x="3570" y="3502"/>
                  <a:pt x="3480" y="3457"/>
                  <a:pt x="3347" y="3413"/>
                </a:cubicBezTo>
                <a:cubicBezTo>
                  <a:pt x="3213" y="3368"/>
                  <a:pt x="3056" y="3324"/>
                  <a:pt x="2833" y="3279"/>
                </a:cubicBezTo>
                <a:cubicBezTo>
                  <a:pt x="2544" y="3212"/>
                  <a:pt x="2275" y="3145"/>
                  <a:pt x="2075" y="3056"/>
                </a:cubicBezTo>
                <a:cubicBezTo>
                  <a:pt x="1874" y="2967"/>
                  <a:pt x="1718" y="2855"/>
                  <a:pt x="1606" y="2699"/>
                </a:cubicBezTo>
                <a:cubicBezTo>
                  <a:pt x="1472" y="2542"/>
                  <a:pt x="1406" y="2364"/>
                  <a:pt x="1406" y="2141"/>
                </a:cubicBezTo>
                <a:cubicBezTo>
                  <a:pt x="1406" y="1918"/>
                  <a:pt x="1472" y="1717"/>
                  <a:pt x="1606" y="1561"/>
                </a:cubicBezTo>
                <a:cubicBezTo>
                  <a:pt x="1740" y="1382"/>
                  <a:pt x="1919" y="1271"/>
                  <a:pt x="2164" y="1182"/>
                </a:cubicBezTo>
                <a:cubicBezTo>
                  <a:pt x="2387" y="1093"/>
                  <a:pt x="2677" y="1048"/>
                  <a:pt x="2990" y="1048"/>
                </a:cubicBezTo>
                <a:cubicBezTo>
                  <a:pt x="3235" y="1048"/>
                  <a:pt x="3458" y="1070"/>
                  <a:pt x="3659" y="1138"/>
                </a:cubicBezTo>
                <a:cubicBezTo>
                  <a:pt x="3837" y="1182"/>
                  <a:pt x="3994" y="1271"/>
                  <a:pt x="4127" y="1360"/>
                </a:cubicBezTo>
                <a:cubicBezTo>
                  <a:pt x="4238" y="1472"/>
                  <a:pt x="4351" y="1561"/>
                  <a:pt x="4395" y="1673"/>
                </a:cubicBezTo>
                <a:cubicBezTo>
                  <a:pt x="4462" y="1784"/>
                  <a:pt x="4484" y="1896"/>
                  <a:pt x="4484" y="2007"/>
                </a:cubicBezTo>
                <a:cubicBezTo>
                  <a:pt x="4484" y="2096"/>
                  <a:pt x="4440" y="2186"/>
                  <a:pt x="4373" y="2275"/>
                </a:cubicBezTo>
                <a:cubicBezTo>
                  <a:pt x="4283" y="2364"/>
                  <a:pt x="4194" y="2387"/>
                  <a:pt x="4083" y="2387"/>
                </a:cubicBezTo>
                <a:cubicBezTo>
                  <a:pt x="3971" y="2387"/>
                  <a:pt x="3882" y="2364"/>
                  <a:pt x="3837" y="2320"/>
                </a:cubicBezTo>
                <a:cubicBezTo>
                  <a:pt x="3793" y="2275"/>
                  <a:pt x="3726" y="2208"/>
                  <a:pt x="3659" y="2096"/>
                </a:cubicBezTo>
                <a:cubicBezTo>
                  <a:pt x="3592" y="1963"/>
                  <a:pt x="3502" y="1851"/>
                  <a:pt x="3413" y="1784"/>
                </a:cubicBezTo>
                <a:cubicBezTo>
                  <a:pt x="3324" y="1717"/>
                  <a:pt x="3145" y="1673"/>
                  <a:pt x="2945" y="1673"/>
                </a:cubicBezTo>
                <a:cubicBezTo>
                  <a:pt x="2722" y="1673"/>
                  <a:pt x="2566" y="1717"/>
                  <a:pt x="2454" y="1784"/>
                </a:cubicBezTo>
                <a:cubicBezTo>
                  <a:pt x="2320" y="1874"/>
                  <a:pt x="2275" y="1963"/>
                  <a:pt x="2275" y="2074"/>
                </a:cubicBezTo>
                <a:cubicBezTo>
                  <a:pt x="2275" y="2119"/>
                  <a:pt x="2298" y="2186"/>
                  <a:pt x="2320" y="2231"/>
                </a:cubicBezTo>
                <a:cubicBezTo>
                  <a:pt x="2365" y="2275"/>
                  <a:pt x="2432" y="2320"/>
                  <a:pt x="2499" y="2364"/>
                </a:cubicBezTo>
                <a:cubicBezTo>
                  <a:pt x="2566" y="2387"/>
                  <a:pt x="2655" y="2431"/>
                  <a:pt x="2722" y="2453"/>
                </a:cubicBezTo>
                <a:cubicBezTo>
                  <a:pt x="2811" y="2476"/>
                  <a:pt x="2945" y="2498"/>
                  <a:pt x="3123" y="2542"/>
                </a:cubicBezTo>
                <a:cubicBezTo>
                  <a:pt x="3347" y="2587"/>
                  <a:pt x="3547" y="2655"/>
                  <a:pt x="3748" y="2699"/>
                </a:cubicBezTo>
                <a:cubicBezTo>
                  <a:pt x="3926" y="2766"/>
                  <a:pt x="4105" y="2833"/>
                  <a:pt x="4238" y="2922"/>
                </a:cubicBezTo>
                <a:cubicBezTo>
                  <a:pt x="4373" y="3012"/>
                  <a:pt x="4484" y="3123"/>
                  <a:pt x="4551" y="3256"/>
                </a:cubicBezTo>
                <a:cubicBezTo>
                  <a:pt x="4618" y="3413"/>
                  <a:pt x="4663" y="3569"/>
                  <a:pt x="4663" y="3770"/>
                </a:cubicBezTo>
                <a:cubicBezTo>
                  <a:pt x="4663" y="3992"/>
                  <a:pt x="4596" y="4216"/>
                  <a:pt x="4462" y="4394"/>
                </a:cubicBezTo>
                <a:close/>
              </a:path>
            </a:pathLst>
          </a:custGeom>
          <a:solidFill>
            <a:schemeClr val="bg1"/>
          </a:solidFill>
          <a:ln>
            <a:noFill/>
          </a:ln>
          <a:effectLst/>
        </p:spPr>
        <p:txBody>
          <a:bodyPr wrap="none" anchor="ctr"/>
          <a:lstStyle/>
          <a:p>
            <a:endParaRPr lang="en-US"/>
          </a:p>
        </p:txBody>
      </p:sp>
      <p:sp>
        <p:nvSpPr>
          <p:cNvPr id="55" name="Oval 54"/>
          <p:cNvSpPr/>
          <p:nvPr/>
        </p:nvSpPr>
        <p:spPr>
          <a:xfrm>
            <a:off x="3178881" y="4000350"/>
            <a:ext cx="970056" cy="970056"/>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Freeform 5"/>
          <p:cNvSpPr>
            <a:spLocks noChangeArrowheads="1"/>
          </p:cNvSpPr>
          <p:nvPr/>
        </p:nvSpPr>
        <p:spPr bwMode="auto">
          <a:xfrm>
            <a:off x="3399417" y="4285316"/>
            <a:ext cx="528984" cy="458684"/>
          </a:xfrm>
          <a:custGeom>
            <a:avLst/>
            <a:gdLst>
              <a:gd name="T0" fmla="*/ 3881 w 5377"/>
              <a:gd name="T1" fmla="*/ 178 h 4662"/>
              <a:gd name="T2" fmla="*/ 3881 w 5377"/>
              <a:gd name="T3" fmla="*/ 178 h 4662"/>
              <a:gd name="T4" fmla="*/ 5019 w 5377"/>
              <a:gd name="T5" fmla="*/ 223 h 4662"/>
              <a:gd name="T6" fmla="*/ 5354 w 5377"/>
              <a:gd name="T7" fmla="*/ 847 h 4662"/>
              <a:gd name="T8" fmla="*/ 5331 w 5377"/>
              <a:gd name="T9" fmla="*/ 1337 h 4662"/>
              <a:gd name="T10" fmla="*/ 4930 w 5377"/>
              <a:gd name="T11" fmla="*/ 2141 h 4662"/>
              <a:gd name="T12" fmla="*/ 3034 w 5377"/>
              <a:gd name="T13" fmla="*/ 4439 h 4662"/>
              <a:gd name="T14" fmla="*/ 2364 w 5377"/>
              <a:gd name="T15" fmla="*/ 4661 h 4662"/>
              <a:gd name="T16" fmla="*/ 1784 w 5377"/>
              <a:gd name="T17" fmla="*/ 4193 h 4662"/>
              <a:gd name="T18" fmla="*/ 1182 w 5377"/>
              <a:gd name="T19" fmla="*/ 2185 h 4662"/>
              <a:gd name="T20" fmla="*/ 803 w 5377"/>
              <a:gd name="T21" fmla="*/ 1404 h 4662"/>
              <a:gd name="T22" fmla="*/ 200 w 5377"/>
              <a:gd name="T23" fmla="*/ 1516 h 4662"/>
              <a:gd name="T24" fmla="*/ 0 w 5377"/>
              <a:gd name="T25" fmla="*/ 1270 h 4662"/>
              <a:gd name="T26" fmla="*/ 1137 w 5377"/>
              <a:gd name="T27" fmla="*/ 312 h 4662"/>
              <a:gd name="T28" fmla="*/ 1829 w 5377"/>
              <a:gd name="T29" fmla="*/ 155 h 4662"/>
              <a:gd name="T30" fmla="*/ 2320 w 5377"/>
              <a:gd name="T31" fmla="*/ 1049 h 4662"/>
              <a:gd name="T32" fmla="*/ 2788 w 5377"/>
              <a:gd name="T33" fmla="*/ 2966 h 4662"/>
              <a:gd name="T34" fmla="*/ 3391 w 5377"/>
              <a:gd name="T35" fmla="*/ 2698 h 4662"/>
              <a:gd name="T36" fmla="*/ 3748 w 5377"/>
              <a:gd name="T37" fmla="*/ 1427 h 4662"/>
              <a:gd name="T38" fmla="*/ 3123 w 5377"/>
              <a:gd name="T39" fmla="*/ 1203 h 4662"/>
              <a:gd name="T40" fmla="*/ 3881 w 5377"/>
              <a:gd name="T41" fmla="*/ 178 h 4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77" h="4662">
                <a:moveTo>
                  <a:pt x="3881" y="178"/>
                </a:moveTo>
                <a:lnTo>
                  <a:pt x="3881" y="178"/>
                </a:lnTo>
                <a:cubicBezTo>
                  <a:pt x="4238" y="44"/>
                  <a:pt x="4684" y="0"/>
                  <a:pt x="5019" y="223"/>
                </a:cubicBezTo>
                <a:cubicBezTo>
                  <a:pt x="5176" y="401"/>
                  <a:pt x="5331" y="736"/>
                  <a:pt x="5354" y="847"/>
                </a:cubicBezTo>
                <a:cubicBezTo>
                  <a:pt x="5376" y="959"/>
                  <a:pt x="5376" y="1181"/>
                  <a:pt x="5331" y="1337"/>
                </a:cubicBezTo>
                <a:cubicBezTo>
                  <a:pt x="5309" y="1494"/>
                  <a:pt x="5063" y="1917"/>
                  <a:pt x="4930" y="2141"/>
                </a:cubicBezTo>
                <a:cubicBezTo>
                  <a:pt x="4462" y="3011"/>
                  <a:pt x="3881" y="3858"/>
                  <a:pt x="3034" y="4439"/>
                </a:cubicBezTo>
                <a:cubicBezTo>
                  <a:pt x="2855" y="4572"/>
                  <a:pt x="2610" y="4639"/>
                  <a:pt x="2364" y="4661"/>
                </a:cubicBezTo>
                <a:cubicBezTo>
                  <a:pt x="2096" y="4661"/>
                  <a:pt x="1896" y="4416"/>
                  <a:pt x="1784" y="4193"/>
                </a:cubicBezTo>
                <a:cubicBezTo>
                  <a:pt x="1472" y="3568"/>
                  <a:pt x="1405" y="2854"/>
                  <a:pt x="1182" y="2185"/>
                </a:cubicBezTo>
                <a:cubicBezTo>
                  <a:pt x="1071" y="1917"/>
                  <a:pt x="1026" y="1605"/>
                  <a:pt x="803" y="1404"/>
                </a:cubicBezTo>
                <a:cubicBezTo>
                  <a:pt x="601" y="1427"/>
                  <a:pt x="401" y="1471"/>
                  <a:pt x="200" y="1516"/>
                </a:cubicBezTo>
                <a:cubicBezTo>
                  <a:pt x="111" y="1471"/>
                  <a:pt x="44" y="1382"/>
                  <a:pt x="0" y="1270"/>
                </a:cubicBezTo>
                <a:cubicBezTo>
                  <a:pt x="357" y="936"/>
                  <a:pt x="736" y="624"/>
                  <a:pt x="1137" y="312"/>
                </a:cubicBezTo>
                <a:cubicBezTo>
                  <a:pt x="1338" y="178"/>
                  <a:pt x="1583" y="133"/>
                  <a:pt x="1829" y="155"/>
                </a:cubicBezTo>
                <a:cubicBezTo>
                  <a:pt x="2164" y="312"/>
                  <a:pt x="2275" y="714"/>
                  <a:pt x="2320" y="1049"/>
                </a:cubicBezTo>
                <a:cubicBezTo>
                  <a:pt x="2475" y="1672"/>
                  <a:pt x="2475" y="2386"/>
                  <a:pt x="2788" y="2966"/>
                </a:cubicBezTo>
                <a:cubicBezTo>
                  <a:pt x="2989" y="2988"/>
                  <a:pt x="3189" y="3100"/>
                  <a:pt x="3391" y="2698"/>
                </a:cubicBezTo>
                <a:cubicBezTo>
                  <a:pt x="3591" y="2297"/>
                  <a:pt x="3881" y="1917"/>
                  <a:pt x="3748" y="1427"/>
                </a:cubicBezTo>
                <a:cubicBezTo>
                  <a:pt x="3658" y="1137"/>
                  <a:pt x="3324" y="1225"/>
                  <a:pt x="3123" y="1203"/>
                </a:cubicBezTo>
                <a:cubicBezTo>
                  <a:pt x="3189" y="781"/>
                  <a:pt x="3457" y="379"/>
                  <a:pt x="3881" y="178"/>
                </a:cubicBezTo>
              </a:path>
            </a:pathLst>
          </a:custGeom>
          <a:solidFill>
            <a:schemeClr val="bg1"/>
          </a:solidFill>
          <a:ln w="9525" cap="flat">
            <a:noFill/>
            <a:round/>
            <a:headEnd/>
            <a:tailEnd/>
          </a:ln>
          <a:effectLst/>
        </p:spPr>
        <p:txBody>
          <a:bodyPr wrap="none" anchor="ctr"/>
          <a:lstStyle/>
          <a:p>
            <a:endParaRPr lang="en-US"/>
          </a:p>
        </p:txBody>
      </p:sp>
      <p:sp>
        <p:nvSpPr>
          <p:cNvPr id="58" name="Oval 57"/>
          <p:cNvSpPr/>
          <p:nvPr/>
        </p:nvSpPr>
        <p:spPr>
          <a:xfrm>
            <a:off x="6827870" y="3996154"/>
            <a:ext cx="967850" cy="967850"/>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59" name="Freeform 6"/>
          <p:cNvSpPr>
            <a:spLocks noChangeArrowheads="1"/>
          </p:cNvSpPr>
          <p:nvPr/>
        </p:nvSpPr>
        <p:spPr bwMode="auto">
          <a:xfrm>
            <a:off x="7054251" y="4238674"/>
            <a:ext cx="515088" cy="482810"/>
          </a:xfrm>
          <a:custGeom>
            <a:avLst/>
            <a:gdLst>
              <a:gd name="T0" fmla="*/ 2565 w 5065"/>
              <a:gd name="T1" fmla="*/ 0 h 4751"/>
              <a:gd name="T2" fmla="*/ 2565 w 5065"/>
              <a:gd name="T3" fmla="*/ 0 h 4751"/>
              <a:gd name="T4" fmla="*/ 2565 w 5065"/>
              <a:gd name="T5" fmla="*/ 0 h 4751"/>
              <a:gd name="T6" fmla="*/ 2565 w 5065"/>
              <a:gd name="T7" fmla="*/ 0 h 4751"/>
              <a:gd name="T8" fmla="*/ 2565 w 5065"/>
              <a:gd name="T9" fmla="*/ 0 h 4751"/>
              <a:gd name="T10" fmla="*/ 2476 w 5065"/>
              <a:gd name="T11" fmla="*/ 0 h 4751"/>
              <a:gd name="T12" fmla="*/ 1227 w 5065"/>
              <a:gd name="T13" fmla="*/ 803 h 4751"/>
              <a:gd name="T14" fmla="*/ 1160 w 5065"/>
              <a:gd name="T15" fmla="*/ 1828 h 4751"/>
              <a:gd name="T16" fmla="*/ 1160 w 5065"/>
              <a:gd name="T17" fmla="*/ 1940 h 4751"/>
              <a:gd name="T18" fmla="*/ 1071 w 5065"/>
              <a:gd name="T19" fmla="*/ 1962 h 4751"/>
              <a:gd name="T20" fmla="*/ 825 w 5065"/>
              <a:gd name="T21" fmla="*/ 1917 h 4751"/>
              <a:gd name="T22" fmla="*/ 758 w 5065"/>
              <a:gd name="T23" fmla="*/ 1895 h 4751"/>
              <a:gd name="T24" fmla="*/ 513 w 5065"/>
              <a:gd name="T25" fmla="*/ 2051 h 4751"/>
              <a:gd name="T26" fmla="*/ 758 w 5065"/>
              <a:gd name="T27" fmla="*/ 2341 h 4751"/>
              <a:gd name="T28" fmla="*/ 825 w 5065"/>
              <a:gd name="T29" fmla="*/ 2363 h 4751"/>
              <a:gd name="T30" fmla="*/ 1115 w 5065"/>
              <a:gd name="T31" fmla="*/ 2519 h 4751"/>
              <a:gd name="T32" fmla="*/ 1093 w 5065"/>
              <a:gd name="T33" fmla="*/ 2720 h 4751"/>
              <a:gd name="T34" fmla="*/ 1093 w 5065"/>
              <a:gd name="T35" fmla="*/ 2720 h 4751"/>
              <a:gd name="T36" fmla="*/ 89 w 5065"/>
              <a:gd name="T37" fmla="*/ 3568 h 4751"/>
              <a:gd name="T38" fmla="*/ 0 w 5065"/>
              <a:gd name="T39" fmla="*/ 3679 h 4751"/>
              <a:gd name="T40" fmla="*/ 0 w 5065"/>
              <a:gd name="T41" fmla="*/ 3724 h 4751"/>
              <a:gd name="T42" fmla="*/ 669 w 5065"/>
              <a:gd name="T43" fmla="*/ 3992 h 4751"/>
              <a:gd name="T44" fmla="*/ 714 w 5065"/>
              <a:gd name="T45" fmla="*/ 4126 h 4751"/>
              <a:gd name="T46" fmla="*/ 736 w 5065"/>
              <a:gd name="T47" fmla="*/ 4237 h 4751"/>
              <a:gd name="T48" fmla="*/ 847 w 5065"/>
              <a:gd name="T49" fmla="*/ 4326 h 4751"/>
              <a:gd name="T50" fmla="*/ 981 w 5065"/>
              <a:gd name="T51" fmla="*/ 4304 h 4751"/>
              <a:gd name="T52" fmla="*/ 1249 w 5065"/>
              <a:gd name="T53" fmla="*/ 4282 h 4751"/>
              <a:gd name="T54" fmla="*/ 1427 w 5065"/>
              <a:gd name="T55" fmla="*/ 4304 h 4751"/>
              <a:gd name="T56" fmla="*/ 1807 w 5065"/>
              <a:gd name="T57" fmla="*/ 4483 h 4751"/>
              <a:gd name="T58" fmla="*/ 2498 w 5065"/>
              <a:gd name="T59" fmla="*/ 4750 h 4751"/>
              <a:gd name="T60" fmla="*/ 2521 w 5065"/>
              <a:gd name="T61" fmla="*/ 4750 h 4751"/>
              <a:gd name="T62" fmla="*/ 2565 w 5065"/>
              <a:gd name="T63" fmla="*/ 4750 h 4751"/>
              <a:gd name="T64" fmla="*/ 3257 w 5065"/>
              <a:gd name="T65" fmla="*/ 4483 h 4751"/>
              <a:gd name="T66" fmla="*/ 3614 w 5065"/>
              <a:gd name="T67" fmla="*/ 4304 h 4751"/>
              <a:gd name="T68" fmla="*/ 3815 w 5065"/>
              <a:gd name="T69" fmla="*/ 4282 h 4751"/>
              <a:gd name="T70" fmla="*/ 4083 w 5065"/>
              <a:gd name="T71" fmla="*/ 4304 h 4751"/>
              <a:gd name="T72" fmla="*/ 4194 w 5065"/>
              <a:gd name="T73" fmla="*/ 4326 h 4751"/>
              <a:gd name="T74" fmla="*/ 4194 w 5065"/>
              <a:gd name="T75" fmla="*/ 4326 h 4751"/>
              <a:gd name="T76" fmla="*/ 4194 w 5065"/>
              <a:gd name="T77" fmla="*/ 4326 h 4751"/>
              <a:gd name="T78" fmla="*/ 4305 w 5065"/>
              <a:gd name="T79" fmla="*/ 4237 h 4751"/>
              <a:gd name="T80" fmla="*/ 4350 w 5065"/>
              <a:gd name="T81" fmla="*/ 4126 h 4751"/>
              <a:gd name="T82" fmla="*/ 4372 w 5065"/>
              <a:gd name="T83" fmla="*/ 3992 h 4751"/>
              <a:gd name="T84" fmla="*/ 5041 w 5065"/>
              <a:gd name="T85" fmla="*/ 3724 h 4751"/>
              <a:gd name="T86" fmla="*/ 5064 w 5065"/>
              <a:gd name="T87" fmla="*/ 3679 h 4751"/>
              <a:gd name="T88" fmla="*/ 4975 w 5065"/>
              <a:gd name="T89" fmla="*/ 3568 h 4751"/>
              <a:gd name="T90" fmla="*/ 3948 w 5065"/>
              <a:gd name="T91" fmla="*/ 2720 h 4751"/>
              <a:gd name="T92" fmla="*/ 3948 w 5065"/>
              <a:gd name="T93" fmla="*/ 2720 h 4751"/>
              <a:gd name="T94" fmla="*/ 3926 w 5065"/>
              <a:gd name="T95" fmla="*/ 2519 h 4751"/>
              <a:gd name="T96" fmla="*/ 4216 w 5065"/>
              <a:gd name="T97" fmla="*/ 2363 h 4751"/>
              <a:gd name="T98" fmla="*/ 4283 w 5065"/>
              <a:gd name="T99" fmla="*/ 2341 h 4751"/>
              <a:gd name="T100" fmla="*/ 4551 w 5065"/>
              <a:gd name="T101" fmla="*/ 2095 h 4751"/>
              <a:gd name="T102" fmla="*/ 4395 w 5065"/>
              <a:gd name="T103" fmla="*/ 1917 h 4751"/>
              <a:gd name="T104" fmla="*/ 4395 w 5065"/>
              <a:gd name="T105" fmla="*/ 1917 h 4751"/>
              <a:gd name="T106" fmla="*/ 4283 w 5065"/>
              <a:gd name="T107" fmla="*/ 1895 h 4751"/>
              <a:gd name="T108" fmla="*/ 4194 w 5065"/>
              <a:gd name="T109" fmla="*/ 1917 h 4751"/>
              <a:gd name="T110" fmla="*/ 3970 w 5065"/>
              <a:gd name="T111" fmla="*/ 1962 h 4751"/>
              <a:gd name="T112" fmla="*/ 3881 w 5065"/>
              <a:gd name="T113" fmla="*/ 1940 h 4751"/>
              <a:gd name="T114" fmla="*/ 3881 w 5065"/>
              <a:gd name="T115" fmla="*/ 1850 h 4751"/>
              <a:gd name="T116" fmla="*/ 3881 w 5065"/>
              <a:gd name="T117" fmla="*/ 1828 h 4751"/>
              <a:gd name="T118" fmla="*/ 3815 w 5065"/>
              <a:gd name="T119" fmla="*/ 803 h 4751"/>
              <a:gd name="T120" fmla="*/ 2565 w 5065"/>
              <a:gd name="T121" fmla="*/ 0 h 4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65" h="4751">
                <a:moveTo>
                  <a:pt x="2565" y="0"/>
                </a:moveTo>
                <a:lnTo>
                  <a:pt x="2565" y="0"/>
                </a:lnTo>
                <a:lnTo>
                  <a:pt x="2565" y="0"/>
                </a:lnTo>
                <a:lnTo>
                  <a:pt x="2565" y="0"/>
                </a:lnTo>
                <a:lnTo>
                  <a:pt x="2565" y="0"/>
                </a:lnTo>
                <a:lnTo>
                  <a:pt x="2476" y="0"/>
                </a:lnTo>
                <a:cubicBezTo>
                  <a:pt x="2253" y="0"/>
                  <a:pt x="1561" y="44"/>
                  <a:pt x="1227" y="803"/>
                </a:cubicBezTo>
                <a:cubicBezTo>
                  <a:pt x="1115" y="1048"/>
                  <a:pt x="1138" y="1493"/>
                  <a:pt x="1160" y="1828"/>
                </a:cubicBezTo>
                <a:cubicBezTo>
                  <a:pt x="1160" y="1873"/>
                  <a:pt x="1160" y="1917"/>
                  <a:pt x="1160" y="1940"/>
                </a:cubicBezTo>
                <a:cubicBezTo>
                  <a:pt x="1138" y="1962"/>
                  <a:pt x="1115" y="1962"/>
                  <a:pt x="1071" y="1962"/>
                </a:cubicBezTo>
                <a:cubicBezTo>
                  <a:pt x="1003" y="1962"/>
                  <a:pt x="914" y="1940"/>
                  <a:pt x="825" y="1917"/>
                </a:cubicBezTo>
                <a:cubicBezTo>
                  <a:pt x="803" y="1895"/>
                  <a:pt x="781" y="1895"/>
                  <a:pt x="758" y="1895"/>
                </a:cubicBezTo>
                <a:cubicBezTo>
                  <a:pt x="646" y="1895"/>
                  <a:pt x="535" y="1962"/>
                  <a:pt x="513" y="2051"/>
                </a:cubicBezTo>
                <a:cubicBezTo>
                  <a:pt x="490" y="2140"/>
                  <a:pt x="535" y="2230"/>
                  <a:pt x="758" y="2341"/>
                </a:cubicBezTo>
                <a:cubicBezTo>
                  <a:pt x="781" y="2341"/>
                  <a:pt x="803" y="2341"/>
                  <a:pt x="825" y="2363"/>
                </a:cubicBezTo>
                <a:cubicBezTo>
                  <a:pt x="936" y="2386"/>
                  <a:pt x="1071" y="2430"/>
                  <a:pt x="1115" y="2519"/>
                </a:cubicBezTo>
                <a:cubicBezTo>
                  <a:pt x="1138" y="2586"/>
                  <a:pt x="1138" y="2631"/>
                  <a:pt x="1093" y="2720"/>
                </a:cubicBezTo>
                <a:lnTo>
                  <a:pt x="1093" y="2720"/>
                </a:lnTo>
                <a:cubicBezTo>
                  <a:pt x="1071" y="2743"/>
                  <a:pt x="758" y="3457"/>
                  <a:pt x="89" y="3568"/>
                </a:cubicBezTo>
                <a:cubicBezTo>
                  <a:pt x="22" y="3568"/>
                  <a:pt x="0" y="3635"/>
                  <a:pt x="0" y="3679"/>
                </a:cubicBezTo>
                <a:cubicBezTo>
                  <a:pt x="0" y="3702"/>
                  <a:pt x="0" y="3702"/>
                  <a:pt x="0" y="3724"/>
                </a:cubicBezTo>
                <a:cubicBezTo>
                  <a:pt x="44" y="3836"/>
                  <a:pt x="267" y="3925"/>
                  <a:pt x="669" y="3992"/>
                </a:cubicBezTo>
                <a:cubicBezTo>
                  <a:pt x="691" y="4014"/>
                  <a:pt x="691" y="4081"/>
                  <a:pt x="714" y="4126"/>
                </a:cubicBezTo>
                <a:cubicBezTo>
                  <a:pt x="714" y="4148"/>
                  <a:pt x="714" y="4193"/>
                  <a:pt x="736" y="4237"/>
                </a:cubicBezTo>
                <a:cubicBezTo>
                  <a:pt x="736" y="4282"/>
                  <a:pt x="781" y="4326"/>
                  <a:pt x="847" y="4326"/>
                </a:cubicBezTo>
                <a:cubicBezTo>
                  <a:pt x="892" y="4326"/>
                  <a:pt x="936" y="4326"/>
                  <a:pt x="981" y="4304"/>
                </a:cubicBezTo>
                <a:cubicBezTo>
                  <a:pt x="1048" y="4304"/>
                  <a:pt x="1138" y="4282"/>
                  <a:pt x="1249" y="4282"/>
                </a:cubicBezTo>
                <a:cubicBezTo>
                  <a:pt x="1293" y="4282"/>
                  <a:pt x="1360" y="4282"/>
                  <a:pt x="1427" y="4304"/>
                </a:cubicBezTo>
                <a:cubicBezTo>
                  <a:pt x="1561" y="4326"/>
                  <a:pt x="1673" y="4393"/>
                  <a:pt x="1807" y="4483"/>
                </a:cubicBezTo>
                <a:cubicBezTo>
                  <a:pt x="1985" y="4617"/>
                  <a:pt x="2186" y="4750"/>
                  <a:pt x="2498" y="4750"/>
                </a:cubicBezTo>
                <a:cubicBezTo>
                  <a:pt x="2498" y="4750"/>
                  <a:pt x="2498" y="4750"/>
                  <a:pt x="2521" y="4750"/>
                </a:cubicBezTo>
                <a:cubicBezTo>
                  <a:pt x="2521" y="4750"/>
                  <a:pt x="2543" y="4750"/>
                  <a:pt x="2565" y="4750"/>
                </a:cubicBezTo>
                <a:cubicBezTo>
                  <a:pt x="2855" y="4750"/>
                  <a:pt x="3078" y="4617"/>
                  <a:pt x="3257" y="4483"/>
                </a:cubicBezTo>
                <a:cubicBezTo>
                  <a:pt x="3369" y="4393"/>
                  <a:pt x="3480" y="4326"/>
                  <a:pt x="3614" y="4304"/>
                </a:cubicBezTo>
                <a:cubicBezTo>
                  <a:pt x="3681" y="4282"/>
                  <a:pt x="3748" y="4282"/>
                  <a:pt x="3815" y="4282"/>
                </a:cubicBezTo>
                <a:cubicBezTo>
                  <a:pt x="3904" y="4282"/>
                  <a:pt x="3993" y="4282"/>
                  <a:pt x="4083" y="4304"/>
                </a:cubicBezTo>
                <a:cubicBezTo>
                  <a:pt x="4127" y="4326"/>
                  <a:pt x="4172" y="4326"/>
                  <a:pt x="4194" y="4326"/>
                </a:cubicBezTo>
                <a:lnTo>
                  <a:pt x="4194" y="4326"/>
                </a:lnTo>
                <a:lnTo>
                  <a:pt x="4194" y="4326"/>
                </a:lnTo>
                <a:cubicBezTo>
                  <a:pt x="4261" y="4326"/>
                  <a:pt x="4305" y="4282"/>
                  <a:pt x="4305" y="4237"/>
                </a:cubicBezTo>
                <a:cubicBezTo>
                  <a:pt x="4327" y="4193"/>
                  <a:pt x="4327" y="4148"/>
                  <a:pt x="4350" y="4126"/>
                </a:cubicBezTo>
                <a:cubicBezTo>
                  <a:pt x="4350" y="4081"/>
                  <a:pt x="4372" y="4014"/>
                  <a:pt x="4372" y="3992"/>
                </a:cubicBezTo>
                <a:cubicBezTo>
                  <a:pt x="4774" y="3925"/>
                  <a:pt x="4997" y="3836"/>
                  <a:pt x="5041" y="3724"/>
                </a:cubicBezTo>
                <a:cubicBezTo>
                  <a:pt x="5041" y="3702"/>
                  <a:pt x="5064" y="3702"/>
                  <a:pt x="5064" y="3679"/>
                </a:cubicBezTo>
                <a:cubicBezTo>
                  <a:pt x="5064" y="3635"/>
                  <a:pt x="5019" y="3568"/>
                  <a:pt x="4975" y="3568"/>
                </a:cubicBezTo>
                <a:cubicBezTo>
                  <a:pt x="4283" y="3457"/>
                  <a:pt x="3970" y="2743"/>
                  <a:pt x="3948" y="2720"/>
                </a:cubicBezTo>
                <a:lnTo>
                  <a:pt x="3948" y="2720"/>
                </a:lnTo>
                <a:cubicBezTo>
                  <a:pt x="3926" y="2631"/>
                  <a:pt x="3904" y="2586"/>
                  <a:pt x="3926" y="2519"/>
                </a:cubicBezTo>
                <a:cubicBezTo>
                  <a:pt x="3970" y="2430"/>
                  <a:pt x="4105" y="2386"/>
                  <a:pt x="4216" y="2363"/>
                </a:cubicBezTo>
                <a:cubicBezTo>
                  <a:pt x="4238" y="2341"/>
                  <a:pt x="4261" y="2341"/>
                  <a:pt x="4283" y="2341"/>
                </a:cubicBezTo>
                <a:cubicBezTo>
                  <a:pt x="4462" y="2274"/>
                  <a:pt x="4551" y="2185"/>
                  <a:pt x="4551" y="2095"/>
                </a:cubicBezTo>
                <a:cubicBezTo>
                  <a:pt x="4551" y="2006"/>
                  <a:pt x="4484" y="1940"/>
                  <a:pt x="4395" y="1917"/>
                </a:cubicBezTo>
                <a:lnTo>
                  <a:pt x="4395" y="1917"/>
                </a:lnTo>
                <a:cubicBezTo>
                  <a:pt x="4350" y="1895"/>
                  <a:pt x="4327" y="1895"/>
                  <a:pt x="4283" y="1895"/>
                </a:cubicBezTo>
                <a:cubicBezTo>
                  <a:pt x="4261" y="1895"/>
                  <a:pt x="4216" y="1895"/>
                  <a:pt x="4194" y="1917"/>
                </a:cubicBezTo>
                <a:cubicBezTo>
                  <a:pt x="4105" y="1940"/>
                  <a:pt x="4038" y="1962"/>
                  <a:pt x="3970" y="1962"/>
                </a:cubicBezTo>
                <a:cubicBezTo>
                  <a:pt x="3926" y="1962"/>
                  <a:pt x="3904" y="1962"/>
                  <a:pt x="3881" y="1940"/>
                </a:cubicBezTo>
                <a:cubicBezTo>
                  <a:pt x="3881" y="1917"/>
                  <a:pt x="3881" y="1873"/>
                  <a:pt x="3881" y="1850"/>
                </a:cubicBezTo>
                <a:cubicBezTo>
                  <a:pt x="3881" y="1828"/>
                  <a:pt x="3881" y="1828"/>
                  <a:pt x="3881" y="1828"/>
                </a:cubicBezTo>
                <a:cubicBezTo>
                  <a:pt x="3904" y="1493"/>
                  <a:pt x="3948" y="1048"/>
                  <a:pt x="3815" y="803"/>
                </a:cubicBezTo>
                <a:cubicBezTo>
                  <a:pt x="3502" y="44"/>
                  <a:pt x="2788" y="0"/>
                  <a:pt x="2565" y="0"/>
                </a:cubicBezTo>
              </a:path>
            </a:pathLst>
          </a:custGeom>
          <a:solidFill>
            <a:schemeClr val="bg1"/>
          </a:solidFill>
          <a:ln>
            <a:noFill/>
          </a:ln>
          <a:effectLst/>
        </p:spPr>
        <p:txBody>
          <a:bodyPr wrap="none" anchor="ctr"/>
          <a:lstStyle/>
          <a:p>
            <a:endParaRPr lang="en-US"/>
          </a:p>
        </p:txBody>
      </p:sp>
      <p:sp>
        <p:nvSpPr>
          <p:cNvPr id="61" name="Oval 60"/>
          <p:cNvSpPr/>
          <p:nvPr/>
        </p:nvSpPr>
        <p:spPr>
          <a:xfrm>
            <a:off x="9255312" y="3998574"/>
            <a:ext cx="967850" cy="967850"/>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62" name="Freeform 7"/>
          <p:cNvSpPr>
            <a:spLocks noChangeArrowheads="1"/>
          </p:cNvSpPr>
          <p:nvPr/>
        </p:nvSpPr>
        <p:spPr bwMode="auto">
          <a:xfrm>
            <a:off x="9466538" y="4361591"/>
            <a:ext cx="545398" cy="241818"/>
          </a:xfrm>
          <a:custGeom>
            <a:avLst/>
            <a:gdLst>
              <a:gd name="T0" fmla="*/ 915 w 4129"/>
              <a:gd name="T1" fmla="*/ 1829 h 1830"/>
              <a:gd name="T2" fmla="*/ 915 w 4129"/>
              <a:gd name="T3" fmla="*/ 1829 h 1830"/>
              <a:gd name="T4" fmla="*/ 0 w 4129"/>
              <a:gd name="T5" fmla="*/ 914 h 1830"/>
              <a:gd name="T6" fmla="*/ 915 w 4129"/>
              <a:gd name="T7" fmla="*/ 0 h 1830"/>
              <a:gd name="T8" fmla="*/ 1830 w 4129"/>
              <a:gd name="T9" fmla="*/ 914 h 1830"/>
              <a:gd name="T10" fmla="*/ 915 w 4129"/>
              <a:gd name="T11" fmla="*/ 1829 h 1830"/>
              <a:gd name="T12" fmla="*/ 3213 w 4129"/>
              <a:gd name="T13" fmla="*/ 1829 h 1830"/>
              <a:gd name="T14" fmla="*/ 3213 w 4129"/>
              <a:gd name="T15" fmla="*/ 1829 h 1830"/>
              <a:gd name="T16" fmla="*/ 2298 w 4129"/>
              <a:gd name="T17" fmla="*/ 914 h 1830"/>
              <a:gd name="T18" fmla="*/ 3213 w 4129"/>
              <a:gd name="T19" fmla="*/ 0 h 1830"/>
              <a:gd name="T20" fmla="*/ 4128 w 4129"/>
              <a:gd name="T21" fmla="*/ 914 h 1830"/>
              <a:gd name="T22" fmla="*/ 3213 w 4129"/>
              <a:gd name="T23" fmla="*/ 1829 h 1830"/>
              <a:gd name="T24" fmla="*/ 3213 w 4129"/>
              <a:gd name="T25" fmla="*/ 1829 h 1830"/>
              <a:gd name="T26" fmla="*/ 3213 w 4129"/>
              <a:gd name="T27" fmla="*/ 1829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29" h="1830">
                <a:moveTo>
                  <a:pt x="915" y="1829"/>
                </a:moveTo>
                <a:lnTo>
                  <a:pt x="915" y="1829"/>
                </a:lnTo>
                <a:cubicBezTo>
                  <a:pt x="424" y="1829"/>
                  <a:pt x="0" y="1428"/>
                  <a:pt x="0" y="914"/>
                </a:cubicBezTo>
                <a:cubicBezTo>
                  <a:pt x="0" y="401"/>
                  <a:pt x="424" y="0"/>
                  <a:pt x="915" y="0"/>
                </a:cubicBezTo>
                <a:cubicBezTo>
                  <a:pt x="1428" y="0"/>
                  <a:pt x="1830" y="401"/>
                  <a:pt x="1830" y="914"/>
                </a:cubicBezTo>
                <a:cubicBezTo>
                  <a:pt x="1830" y="1428"/>
                  <a:pt x="1428" y="1829"/>
                  <a:pt x="915" y="1829"/>
                </a:cubicBezTo>
                <a:close/>
                <a:moveTo>
                  <a:pt x="3213" y="1829"/>
                </a:moveTo>
                <a:lnTo>
                  <a:pt x="3213" y="1829"/>
                </a:lnTo>
                <a:cubicBezTo>
                  <a:pt x="2700" y="1829"/>
                  <a:pt x="2298" y="1428"/>
                  <a:pt x="2298" y="914"/>
                </a:cubicBezTo>
                <a:cubicBezTo>
                  <a:pt x="2298" y="401"/>
                  <a:pt x="2700" y="0"/>
                  <a:pt x="3213" y="0"/>
                </a:cubicBezTo>
                <a:cubicBezTo>
                  <a:pt x="3726" y="0"/>
                  <a:pt x="4128" y="401"/>
                  <a:pt x="4128" y="914"/>
                </a:cubicBezTo>
                <a:cubicBezTo>
                  <a:pt x="4128" y="1428"/>
                  <a:pt x="3726" y="1829"/>
                  <a:pt x="3213" y="1829"/>
                </a:cubicBezTo>
                <a:close/>
                <a:moveTo>
                  <a:pt x="3213" y="1829"/>
                </a:moveTo>
                <a:lnTo>
                  <a:pt x="3213" y="1829"/>
                </a:lnTo>
                <a:close/>
              </a:path>
            </a:pathLst>
          </a:custGeom>
          <a:solidFill>
            <a:schemeClr val="bg1"/>
          </a:solidFill>
          <a:ln>
            <a:noFill/>
          </a:ln>
          <a:effectLst/>
        </p:spPr>
        <p:txBody>
          <a:bodyPr wrap="none" anchor="ctr"/>
          <a:lstStyle/>
          <a:p>
            <a:endParaRPr lang="en-US"/>
          </a:p>
        </p:txBody>
      </p:sp>
      <p:sp>
        <p:nvSpPr>
          <p:cNvPr id="67" name="Oval 66"/>
          <p:cNvSpPr/>
          <p:nvPr/>
        </p:nvSpPr>
        <p:spPr>
          <a:xfrm>
            <a:off x="5600905" y="4002556"/>
            <a:ext cx="967850" cy="967850"/>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68" name="Freeform 9"/>
          <p:cNvSpPr>
            <a:spLocks noChangeArrowheads="1"/>
          </p:cNvSpPr>
          <p:nvPr/>
        </p:nvSpPr>
        <p:spPr bwMode="auto">
          <a:xfrm>
            <a:off x="5782514" y="4338243"/>
            <a:ext cx="604632" cy="391728"/>
          </a:xfrm>
          <a:custGeom>
            <a:avLst/>
            <a:gdLst>
              <a:gd name="T0" fmla="*/ 6336 w 6337"/>
              <a:gd name="T1" fmla="*/ 156 h 4106"/>
              <a:gd name="T2" fmla="*/ 6336 w 6337"/>
              <a:gd name="T3" fmla="*/ 156 h 4106"/>
              <a:gd name="T4" fmla="*/ 5778 w 6337"/>
              <a:gd name="T5" fmla="*/ 536 h 4106"/>
              <a:gd name="T6" fmla="*/ 4239 w 6337"/>
              <a:gd name="T7" fmla="*/ 4105 h 4106"/>
              <a:gd name="T8" fmla="*/ 4105 w 6337"/>
              <a:gd name="T9" fmla="*/ 4105 h 4106"/>
              <a:gd name="T10" fmla="*/ 3280 w 6337"/>
              <a:gd name="T11" fmla="*/ 2186 h 4106"/>
              <a:gd name="T12" fmla="*/ 2298 w 6337"/>
              <a:gd name="T13" fmla="*/ 4105 h 4106"/>
              <a:gd name="T14" fmla="*/ 2164 w 6337"/>
              <a:gd name="T15" fmla="*/ 4105 h 4106"/>
              <a:gd name="T16" fmla="*/ 736 w 6337"/>
              <a:gd name="T17" fmla="*/ 848 h 4106"/>
              <a:gd name="T18" fmla="*/ 0 w 6337"/>
              <a:gd name="T19" fmla="*/ 156 h 4106"/>
              <a:gd name="T20" fmla="*/ 0 w 6337"/>
              <a:gd name="T21" fmla="*/ 0 h 4106"/>
              <a:gd name="T22" fmla="*/ 1607 w 6337"/>
              <a:gd name="T23" fmla="*/ 0 h 4106"/>
              <a:gd name="T24" fmla="*/ 1584 w 6337"/>
              <a:gd name="T25" fmla="*/ 156 h 4106"/>
              <a:gd name="T26" fmla="*/ 1160 w 6337"/>
              <a:gd name="T27" fmla="*/ 491 h 4106"/>
              <a:gd name="T28" fmla="*/ 2410 w 6337"/>
              <a:gd name="T29" fmla="*/ 3346 h 4106"/>
              <a:gd name="T30" fmla="*/ 3146 w 6337"/>
              <a:gd name="T31" fmla="*/ 1919 h 4106"/>
              <a:gd name="T32" fmla="*/ 2432 w 6337"/>
              <a:gd name="T33" fmla="*/ 334 h 4106"/>
              <a:gd name="T34" fmla="*/ 1874 w 6337"/>
              <a:gd name="T35" fmla="*/ 156 h 4106"/>
              <a:gd name="T36" fmla="*/ 1874 w 6337"/>
              <a:gd name="T37" fmla="*/ 0 h 4106"/>
              <a:gd name="T38" fmla="*/ 3302 w 6337"/>
              <a:gd name="T39" fmla="*/ 22 h 4106"/>
              <a:gd name="T40" fmla="*/ 3302 w 6337"/>
              <a:gd name="T41" fmla="*/ 134 h 4106"/>
              <a:gd name="T42" fmla="*/ 3012 w 6337"/>
              <a:gd name="T43" fmla="*/ 402 h 4106"/>
              <a:gd name="T44" fmla="*/ 3481 w 6337"/>
              <a:gd name="T45" fmla="*/ 1450 h 4106"/>
              <a:gd name="T46" fmla="*/ 3949 w 6337"/>
              <a:gd name="T47" fmla="*/ 447 h 4106"/>
              <a:gd name="T48" fmla="*/ 3570 w 6337"/>
              <a:gd name="T49" fmla="*/ 156 h 4106"/>
              <a:gd name="T50" fmla="*/ 3570 w 6337"/>
              <a:gd name="T51" fmla="*/ 22 h 4106"/>
              <a:gd name="T52" fmla="*/ 4797 w 6337"/>
              <a:gd name="T53" fmla="*/ 22 h 4106"/>
              <a:gd name="T54" fmla="*/ 4797 w 6337"/>
              <a:gd name="T55" fmla="*/ 134 h 4106"/>
              <a:gd name="T56" fmla="*/ 4217 w 6337"/>
              <a:gd name="T57" fmla="*/ 447 h 4106"/>
              <a:gd name="T58" fmla="*/ 3637 w 6337"/>
              <a:gd name="T59" fmla="*/ 1673 h 4106"/>
              <a:gd name="T60" fmla="*/ 4328 w 6337"/>
              <a:gd name="T61" fmla="*/ 3235 h 4106"/>
              <a:gd name="T62" fmla="*/ 5533 w 6337"/>
              <a:gd name="T63" fmla="*/ 424 h 4106"/>
              <a:gd name="T64" fmla="*/ 5065 w 6337"/>
              <a:gd name="T65" fmla="*/ 156 h 4106"/>
              <a:gd name="T66" fmla="*/ 5065 w 6337"/>
              <a:gd name="T67" fmla="*/ 0 h 4106"/>
              <a:gd name="T68" fmla="*/ 6336 w 6337"/>
              <a:gd name="T69" fmla="*/ 22 h 4106"/>
              <a:gd name="T70" fmla="*/ 6336 w 6337"/>
              <a:gd name="T71" fmla="*/ 22 h 4106"/>
              <a:gd name="T72" fmla="*/ 6336 w 6337"/>
              <a:gd name="T73" fmla="*/ 156 h 4106"/>
              <a:gd name="T74" fmla="*/ 6336 w 6337"/>
              <a:gd name="T75" fmla="*/ 156 h 4106"/>
              <a:gd name="T76" fmla="*/ 6336 w 6337"/>
              <a:gd name="T77" fmla="*/ 156 h 4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37" h="4106">
                <a:moveTo>
                  <a:pt x="6336" y="156"/>
                </a:moveTo>
                <a:lnTo>
                  <a:pt x="6336" y="156"/>
                </a:lnTo>
                <a:cubicBezTo>
                  <a:pt x="6046" y="156"/>
                  <a:pt x="5868" y="312"/>
                  <a:pt x="5778" y="536"/>
                </a:cubicBezTo>
                <a:cubicBezTo>
                  <a:pt x="5533" y="1115"/>
                  <a:pt x="4752" y="2922"/>
                  <a:pt x="4239" y="4105"/>
                </a:cubicBezTo>
                <a:lnTo>
                  <a:pt x="4105" y="4105"/>
                </a:lnTo>
                <a:cubicBezTo>
                  <a:pt x="3280" y="2186"/>
                  <a:pt x="3280" y="2186"/>
                  <a:pt x="3280" y="2186"/>
                </a:cubicBezTo>
                <a:cubicBezTo>
                  <a:pt x="2967" y="2811"/>
                  <a:pt x="2610" y="3481"/>
                  <a:pt x="2298" y="4105"/>
                </a:cubicBezTo>
                <a:lnTo>
                  <a:pt x="2164" y="4105"/>
                </a:lnTo>
                <a:cubicBezTo>
                  <a:pt x="1696" y="3012"/>
                  <a:pt x="1205" y="1919"/>
                  <a:pt x="736" y="848"/>
                </a:cubicBezTo>
                <a:cubicBezTo>
                  <a:pt x="625" y="580"/>
                  <a:pt x="246" y="156"/>
                  <a:pt x="0" y="156"/>
                </a:cubicBezTo>
                <a:cubicBezTo>
                  <a:pt x="0" y="112"/>
                  <a:pt x="0" y="45"/>
                  <a:pt x="0" y="0"/>
                </a:cubicBezTo>
                <a:cubicBezTo>
                  <a:pt x="1607" y="0"/>
                  <a:pt x="1607" y="0"/>
                  <a:pt x="1607" y="0"/>
                </a:cubicBezTo>
                <a:cubicBezTo>
                  <a:pt x="1584" y="156"/>
                  <a:pt x="1584" y="156"/>
                  <a:pt x="1584" y="156"/>
                </a:cubicBezTo>
                <a:cubicBezTo>
                  <a:pt x="1406" y="156"/>
                  <a:pt x="1071" y="268"/>
                  <a:pt x="1160" y="491"/>
                </a:cubicBezTo>
                <a:cubicBezTo>
                  <a:pt x="1383" y="982"/>
                  <a:pt x="2186" y="2856"/>
                  <a:pt x="2410" y="3346"/>
                </a:cubicBezTo>
                <a:cubicBezTo>
                  <a:pt x="2566" y="3057"/>
                  <a:pt x="2989" y="2253"/>
                  <a:pt x="3146" y="1919"/>
                </a:cubicBezTo>
                <a:cubicBezTo>
                  <a:pt x="3012" y="1651"/>
                  <a:pt x="2566" y="602"/>
                  <a:pt x="2432" y="334"/>
                </a:cubicBezTo>
                <a:cubicBezTo>
                  <a:pt x="2343" y="179"/>
                  <a:pt x="2075" y="156"/>
                  <a:pt x="1874" y="156"/>
                </a:cubicBezTo>
                <a:cubicBezTo>
                  <a:pt x="1874" y="112"/>
                  <a:pt x="1874" y="67"/>
                  <a:pt x="1874" y="0"/>
                </a:cubicBezTo>
                <a:cubicBezTo>
                  <a:pt x="3302" y="22"/>
                  <a:pt x="3302" y="22"/>
                  <a:pt x="3302" y="22"/>
                </a:cubicBezTo>
                <a:cubicBezTo>
                  <a:pt x="3302" y="134"/>
                  <a:pt x="3302" y="134"/>
                  <a:pt x="3302" y="134"/>
                </a:cubicBezTo>
                <a:cubicBezTo>
                  <a:pt x="3102" y="156"/>
                  <a:pt x="2923" y="223"/>
                  <a:pt x="3012" y="402"/>
                </a:cubicBezTo>
                <a:cubicBezTo>
                  <a:pt x="3191" y="803"/>
                  <a:pt x="3302" y="1071"/>
                  <a:pt x="3481" y="1450"/>
                </a:cubicBezTo>
                <a:cubicBezTo>
                  <a:pt x="3525" y="1339"/>
                  <a:pt x="3815" y="758"/>
                  <a:pt x="3949" y="447"/>
                </a:cubicBezTo>
                <a:cubicBezTo>
                  <a:pt x="4038" y="245"/>
                  <a:pt x="3905" y="156"/>
                  <a:pt x="3570" y="156"/>
                </a:cubicBezTo>
                <a:cubicBezTo>
                  <a:pt x="3570" y="112"/>
                  <a:pt x="3570" y="45"/>
                  <a:pt x="3570" y="22"/>
                </a:cubicBezTo>
                <a:cubicBezTo>
                  <a:pt x="4797" y="22"/>
                  <a:pt x="4797" y="22"/>
                  <a:pt x="4797" y="22"/>
                </a:cubicBezTo>
                <a:cubicBezTo>
                  <a:pt x="4797" y="134"/>
                  <a:pt x="4797" y="134"/>
                  <a:pt x="4797" y="134"/>
                </a:cubicBezTo>
                <a:cubicBezTo>
                  <a:pt x="4574" y="156"/>
                  <a:pt x="4328" y="268"/>
                  <a:pt x="4217" y="447"/>
                </a:cubicBezTo>
                <a:cubicBezTo>
                  <a:pt x="3637" y="1673"/>
                  <a:pt x="3637" y="1673"/>
                  <a:pt x="3637" y="1673"/>
                </a:cubicBezTo>
                <a:cubicBezTo>
                  <a:pt x="3703" y="1829"/>
                  <a:pt x="4262" y="3079"/>
                  <a:pt x="4328" y="3235"/>
                </a:cubicBezTo>
                <a:cubicBezTo>
                  <a:pt x="5533" y="424"/>
                  <a:pt x="5533" y="424"/>
                  <a:pt x="5533" y="424"/>
                </a:cubicBezTo>
                <a:cubicBezTo>
                  <a:pt x="5444" y="201"/>
                  <a:pt x="5176" y="156"/>
                  <a:pt x="5065" y="156"/>
                </a:cubicBezTo>
                <a:cubicBezTo>
                  <a:pt x="5065" y="112"/>
                  <a:pt x="5065" y="45"/>
                  <a:pt x="5065" y="0"/>
                </a:cubicBezTo>
                <a:cubicBezTo>
                  <a:pt x="6336" y="22"/>
                  <a:pt x="6336" y="22"/>
                  <a:pt x="6336" y="22"/>
                </a:cubicBezTo>
                <a:lnTo>
                  <a:pt x="6336" y="22"/>
                </a:lnTo>
                <a:lnTo>
                  <a:pt x="6336" y="156"/>
                </a:lnTo>
                <a:close/>
                <a:moveTo>
                  <a:pt x="6336" y="156"/>
                </a:moveTo>
                <a:lnTo>
                  <a:pt x="6336" y="156"/>
                </a:lnTo>
                <a:close/>
              </a:path>
            </a:pathLst>
          </a:custGeom>
          <a:solidFill>
            <a:schemeClr val="bg1"/>
          </a:solidFill>
          <a:ln>
            <a:noFill/>
          </a:ln>
          <a:effectLst/>
        </p:spPr>
        <p:txBody>
          <a:bodyPr wrap="none" anchor="ctr"/>
          <a:lstStyle/>
          <a:p>
            <a:endParaRPr lang="en-US"/>
          </a:p>
        </p:txBody>
      </p:sp>
      <p:sp>
        <p:nvSpPr>
          <p:cNvPr id="69" name="Freeform 2"/>
          <p:cNvSpPr>
            <a:spLocks noChangeArrowheads="1"/>
          </p:cNvSpPr>
          <p:nvPr/>
        </p:nvSpPr>
        <p:spPr bwMode="auto">
          <a:xfrm>
            <a:off x="8250143" y="2799009"/>
            <a:ext cx="538650" cy="538650"/>
          </a:xfrm>
          <a:custGeom>
            <a:avLst/>
            <a:gdLst>
              <a:gd name="T0" fmla="*/ 5666 w 5689"/>
              <a:gd name="T1" fmla="*/ 1650 h 5689"/>
              <a:gd name="T2" fmla="*/ 5197 w 5689"/>
              <a:gd name="T3" fmla="*/ 468 h 5689"/>
              <a:gd name="T4" fmla="*/ 4016 w 5689"/>
              <a:gd name="T5" fmla="*/ 0 h 5689"/>
              <a:gd name="T6" fmla="*/ 1674 w 5689"/>
              <a:gd name="T7" fmla="*/ 0 h 5689"/>
              <a:gd name="T8" fmla="*/ 469 w 5689"/>
              <a:gd name="T9" fmla="*/ 468 h 5689"/>
              <a:gd name="T10" fmla="*/ 0 w 5689"/>
              <a:gd name="T11" fmla="*/ 1650 h 5689"/>
              <a:gd name="T12" fmla="*/ 0 w 5689"/>
              <a:gd name="T13" fmla="*/ 4016 h 5689"/>
              <a:gd name="T14" fmla="*/ 469 w 5689"/>
              <a:gd name="T15" fmla="*/ 5198 h 5689"/>
              <a:gd name="T16" fmla="*/ 1674 w 5689"/>
              <a:gd name="T17" fmla="*/ 5666 h 5689"/>
              <a:gd name="T18" fmla="*/ 4016 w 5689"/>
              <a:gd name="T19" fmla="*/ 5666 h 5689"/>
              <a:gd name="T20" fmla="*/ 5197 w 5689"/>
              <a:gd name="T21" fmla="*/ 5198 h 5689"/>
              <a:gd name="T22" fmla="*/ 5666 w 5689"/>
              <a:gd name="T23" fmla="*/ 4016 h 5689"/>
              <a:gd name="T24" fmla="*/ 5666 w 5689"/>
              <a:gd name="T25" fmla="*/ 1650 h 5689"/>
              <a:gd name="T26" fmla="*/ 5153 w 5689"/>
              <a:gd name="T27" fmla="*/ 3993 h 5689"/>
              <a:gd name="T28" fmla="*/ 4840 w 5689"/>
              <a:gd name="T29" fmla="*/ 4841 h 5689"/>
              <a:gd name="T30" fmla="*/ 3994 w 5689"/>
              <a:gd name="T31" fmla="*/ 5153 h 5689"/>
              <a:gd name="T32" fmla="*/ 1696 w 5689"/>
              <a:gd name="T33" fmla="*/ 5153 h 5689"/>
              <a:gd name="T34" fmla="*/ 826 w 5689"/>
              <a:gd name="T35" fmla="*/ 4841 h 5689"/>
              <a:gd name="T36" fmla="*/ 514 w 5689"/>
              <a:gd name="T37" fmla="*/ 3993 h 5689"/>
              <a:gd name="T38" fmla="*/ 514 w 5689"/>
              <a:gd name="T39" fmla="*/ 1695 h 5689"/>
              <a:gd name="T40" fmla="*/ 826 w 5689"/>
              <a:gd name="T41" fmla="*/ 825 h 5689"/>
              <a:gd name="T42" fmla="*/ 1696 w 5689"/>
              <a:gd name="T43" fmla="*/ 512 h 5689"/>
              <a:gd name="T44" fmla="*/ 3994 w 5689"/>
              <a:gd name="T45" fmla="*/ 512 h 5689"/>
              <a:gd name="T46" fmla="*/ 4840 w 5689"/>
              <a:gd name="T47" fmla="*/ 825 h 5689"/>
              <a:gd name="T48" fmla="*/ 5153 w 5689"/>
              <a:gd name="T49" fmla="*/ 1695 h 5689"/>
              <a:gd name="T50" fmla="*/ 5153 w 5689"/>
              <a:gd name="T51" fmla="*/ 3993 h 5689"/>
              <a:gd name="T52" fmla="*/ 2834 w 5689"/>
              <a:gd name="T53" fmla="*/ 1383 h 5689"/>
              <a:gd name="T54" fmla="*/ 2834 w 5689"/>
              <a:gd name="T55" fmla="*/ 4305 h 5689"/>
              <a:gd name="T56" fmla="*/ 2834 w 5689"/>
              <a:gd name="T57" fmla="*/ 1383 h 5689"/>
              <a:gd name="T58" fmla="*/ 2834 w 5689"/>
              <a:gd name="T59" fmla="*/ 3792 h 5689"/>
              <a:gd name="T60" fmla="*/ 2834 w 5689"/>
              <a:gd name="T61" fmla="*/ 1896 h 5689"/>
              <a:gd name="T62" fmla="*/ 2834 w 5689"/>
              <a:gd name="T63" fmla="*/ 3792 h 5689"/>
              <a:gd name="T64" fmla="*/ 4707 w 5689"/>
              <a:gd name="T65" fmla="*/ 1316 h 5689"/>
              <a:gd name="T66" fmla="*/ 4016 w 5689"/>
              <a:gd name="T67" fmla="*/ 1316 h 5689"/>
              <a:gd name="T68" fmla="*/ 4707 w 5689"/>
              <a:gd name="T69" fmla="*/ 1316 h 5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89" h="5689">
                <a:moveTo>
                  <a:pt x="5666" y="1650"/>
                </a:moveTo>
                <a:lnTo>
                  <a:pt x="5666" y="1650"/>
                </a:lnTo>
                <a:cubicBezTo>
                  <a:pt x="5643" y="1361"/>
                  <a:pt x="5599" y="1160"/>
                  <a:pt x="5532" y="982"/>
                </a:cubicBezTo>
                <a:cubicBezTo>
                  <a:pt x="5465" y="780"/>
                  <a:pt x="5354" y="625"/>
                  <a:pt x="5197" y="468"/>
                </a:cubicBezTo>
                <a:cubicBezTo>
                  <a:pt x="5042" y="312"/>
                  <a:pt x="4885" y="200"/>
                  <a:pt x="4707" y="133"/>
                </a:cubicBezTo>
                <a:cubicBezTo>
                  <a:pt x="4529" y="66"/>
                  <a:pt x="4306" y="22"/>
                  <a:pt x="4016" y="0"/>
                </a:cubicBezTo>
                <a:cubicBezTo>
                  <a:pt x="3704" y="0"/>
                  <a:pt x="3615" y="0"/>
                  <a:pt x="2834" y="0"/>
                </a:cubicBezTo>
                <a:cubicBezTo>
                  <a:pt x="2075" y="0"/>
                  <a:pt x="1964" y="0"/>
                  <a:pt x="1674" y="0"/>
                </a:cubicBezTo>
                <a:cubicBezTo>
                  <a:pt x="1361" y="22"/>
                  <a:pt x="1160" y="66"/>
                  <a:pt x="982" y="133"/>
                </a:cubicBezTo>
                <a:cubicBezTo>
                  <a:pt x="781" y="200"/>
                  <a:pt x="625" y="312"/>
                  <a:pt x="469" y="468"/>
                </a:cubicBezTo>
                <a:cubicBezTo>
                  <a:pt x="313" y="625"/>
                  <a:pt x="224" y="780"/>
                  <a:pt x="134" y="982"/>
                </a:cubicBezTo>
                <a:cubicBezTo>
                  <a:pt x="67" y="1160"/>
                  <a:pt x="22" y="1361"/>
                  <a:pt x="0" y="1650"/>
                </a:cubicBezTo>
                <a:cubicBezTo>
                  <a:pt x="0" y="1963"/>
                  <a:pt x="0" y="2052"/>
                  <a:pt x="0" y="2833"/>
                </a:cubicBezTo>
                <a:cubicBezTo>
                  <a:pt x="0" y="3614"/>
                  <a:pt x="0" y="3703"/>
                  <a:pt x="0" y="4016"/>
                </a:cubicBezTo>
                <a:cubicBezTo>
                  <a:pt x="22" y="4305"/>
                  <a:pt x="67" y="4528"/>
                  <a:pt x="134" y="4707"/>
                </a:cubicBezTo>
                <a:cubicBezTo>
                  <a:pt x="224" y="4885"/>
                  <a:pt x="313" y="5042"/>
                  <a:pt x="469" y="5198"/>
                </a:cubicBezTo>
                <a:cubicBezTo>
                  <a:pt x="625" y="5354"/>
                  <a:pt x="781" y="5466"/>
                  <a:pt x="982" y="5533"/>
                </a:cubicBezTo>
                <a:cubicBezTo>
                  <a:pt x="1160" y="5599"/>
                  <a:pt x="1361" y="5644"/>
                  <a:pt x="1674" y="5666"/>
                </a:cubicBezTo>
                <a:cubicBezTo>
                  <a:pt x="1964" y="5688"/>
                  <a:pt x="2075" y="5688"/>
                  <a:pt x="2834" y="5688"/>
                </a:cubicBezTo>
                <a:cubicBezTo>
                  <a:pt x="3615" y="5688"/>
                  <a:pt x="3704" y="5688"/>
                  <a:pt x="4016" y="5666"/>
                </a:cubicBezTo>
                <a:cubicBezTo>
                  <a:pt x="4306" y="5644"/>
                  <a:pt x="4529" y="5599"/>
                  <a:pt x="4707" y="5533"/>
                </a:cubicBezTo>
                <a:cubicBezTo>
                  <a:pt x="4885" y="5466"/>
                  <a:pt x="5042" y="5354"/>
                  <a:pt x="5197" y="5198"/>
                </a:cubicBezTo>
                <a:cubicBezTo>
                  <a:pt x="5354" y="5042"/>
                  <a:pt x="5465" y="4885"/>
                  <a:pt x="5532" y="4707"/>
                </a:cubicBezTo>
                <a:cubicBezTo>
                  <a:pt x="5599" y="4528"/>
                  <a:pt x="5643" y="4305"/>
                  <a:pt x="5666" y="4016"/>
                </a:cubicBezTo>
                <a:cubicBezTo>
                  <a:pt x="5688" y="3703"/>
                  <a:pt x="5688" y="3614"/>
                  <a:pt x="5688" y="2833"/>
                </a:cubicBezTo>
                <a:cubicBezTo>
                  <a:pt x="5688" y="2052"/>
                  <a:pt x="5688" y="1963"/>
                  <a:pt x="5666" y="1650"/>
                </a:cubicBezTo>
                <a:close/>
                <a:moveTo>
                  <a:pt x="5153" y="3993"/>
                </a:moveTo>
                <a:lnTo>
                  <a:pt x="5153" y="3993"/>
                </a:lnTo>
                <a:cubicBezTo>
                  <a:pt x="5131" y="4260"/>
                  <a:pt x="5086" y="4417"/>
                  <a:pt x="5064" y="4506"/>
                </a:cubicBezTo>
                <a:cubicBezTo>
                  <a:pt x="4997" y="4640"/>
                  <a:pt x="4952" y="4752"/>
                  <a:pt x="4840" y="4841"/>
                </a:cubicBezTo>
                <a:cubicBezTo>
                  <a:pt x="4751" y="4930"/>
                  <a:pt x="4640" y="4997"/>
                  <a:pt x="4507" y="5064"/>
                </a:cubicBezTo>
                <a:cubicBezTo>
                  <a:pt x="4418" y="5086"/>
                  <a:pt x="4262" y="5131"/>
                  <a:pt x="3994" y="5153"/>
                </a:cubicBezTo>
                <a:cubicBezTo>
                  <a:pt x="3681" y="5176"/>
                  <a:pt x="3592" y="5176"/>
                  <a:pt x="2834" y="5176"/>
                </a:cubicBezTo>
                <a:cubicBezTo>
                  <a:pt x="2075" y="5176"/>
                  <a:pt x="1986" y="5176"/>
                  <a:pt x="1696" y="5153"/>
                </a:cubicBezTo>
                <a:cubicBezTo>
                  <a:pt x="1406" y="5131"/>
                  <a:pt x="1250" y="5086"/>
                  <a:pt x="1160" y="5064"/>
                </a:cubicBezTo>
                <a:cubicBezTo>
                  <a:pt x="1027" y="4997"/>
                  <a:pt x="938" y="4930"/>
                  <a:pt x="826" y="4841"/>
                </a:cubicBezTo>
                <a:cubicBezTo>
                  <a:pt x="736" y="4752"/>
                  <a:pt x="670" y="4640"/>
                  <a:pt x="625" y="4506"/>
                </a:cubicBezTo>
                <a:cubicBezTo>
                  <a:pt x="581" y="4417"/>
                  <a:pt x="536" y="4260"/>
                  <a:pt x="514" y="3993"/>
                </a:cubicBezTo>
                <a:cubicBezTo>
                  <a:pt x="514" y="3681"/>
                  <a:pt x="514" y="3592"/>
                  <a:pt x="514" y="2833"/>
                </a:cubicBezTo>
                <a:cubicBezTo>
                  <a:pt x="514" y="2075"/>
                  <a:pt x="514" y="1985"/>
                  <a:pt x="514" y="1695"/>
                </a:cubicBezTo>
                <a:cubicBezTo>
                  <a:pt x="536" y="1405"/>
                  <a:pt x="581" y="1249"/>
                  <a:pt x="625" y="1160"/>
                </a:cubicBezTo>
                <a:cubicBezTo>
                  <a:pt x="670" y="1026"/>
                  <a:pt x="736" y="937"/>
                  <a:pt x="826" y="825"/>
                </a:cubicBezTo>
                <a:cubicBezTo>
                  <a:pt x="938" y="736"/>
                  <a:pt x="1027" y="669"/>
                  <a:pt x="1160" y="625"/>
                </a:cubicBezTo>
                <a:cubicBezTo>
                  <a:pt x="1250" y="580"/>
                  <a:pt x="1406" y="535"/>
                  <a:pt x="1696" y="512"/>
                </a:cubicBezTo>
                <a:cubicBezTo>
                  <a:pt x="1986" y="512"/>
                  <a:pt x="2075" y="512"/>
                  <a:pt x="2834" y="512"/>
                </a:cubicBezTo>
                <a:cubicBezTo>
                  <a:pt x="3592" y="512"/>
                  <a:pt x="3681" y="512"/>
                  <a:pt x="3994" y="512"/>
                </a:cubicBezTo>
                <a:cubicBezTo>
                  <a:pt x="4262" y="535"/>
                  <a:pt x="4418" y="580"/>
                  <a:pt x="4507" y="625"/>
                </a:cubicBezTo>
                <a:cubicBezTo>
                  <a:pt x="4640" y="669"/>
                  <a:pt x="4751" y="736"/>
                  <a:pt x="4840" y="825"/>
                </a:cubicBezTo>
                <a:cubicBezTo>
                  <a:pt x="4952" y="937"/>
                  <a:pt x="4997" y="1026"/>
                  <a:pt x="5064" y="1160"/>
                </a:cubicBezTo>
                <a:cubicBezTo>
                  <a:pt x="5086" y="1249"/>
                  <a:pt x="5131" y="1405"/>
                  <a:pt x="5153" y="1695"/>
                </a:cubicBezTo>
                <a:cubicBezTo>
                  <a:pt x="5175" y="1985"/>
                  <a:pt x="5175" y="2075"/>
                  <a:pt x="5175" y="2833"/>
                </a:cubicBezTo>
                <a:cubicBezTo>
                  <a:pt x="5175" y="3592"/>
                  <a:pt x="5175" y="3681"/>
                  <a:pt x="5153" y="3993"/>
                </a:cubicBezTo>
                <a:close/>
                <a:moveTo>
                  <a:pt x="2834" y="1383"/>
                </a:moveTo>
                <a:lnTo>
                  <a:pt x="2834" y="1383"/>
                </a:lnTo>
                <a:cubicBezTo>
                  <a:pt x="2031" y="1383"/>
                  <a:pt x="1384" y="2030"/>
                  <a:pt x="1384" y="2833"/>
                </a:cubicBezTo>
                <a:cubicBezTo>
                  <a:pt x="1384" y="3636"/>
                  <a:pt x="2031" y="4305"/>
                  <a:pt x="2834" y="4305"/>
                </a:cubicBezTo>
                <a:cubicBezTo>
                  <a:pt x="3637" y="4305"/>
                  <a:pt x="4306" y="3636"/>
                  <a:pt x="4306" y="2833"/>
                </a:cubicBezTo>
                <a:cubicBezTo>
                  <a:pt x="4306" y="2030"/>
                  <a:pt x="3637" y="1383"/>
                  <a:pt x="2834" y="1383"/>
                </a:cubicBezTo>
                <a:close/>
                <a:moveTo>
                  <a:pt x="2834" y="3792"/>
                </a:moveTo>
                <a:lnTo>
                  <a:pt x="2834" y="3792"/>
                </a:lnTo>
                <a:cubicBezTo>
                  <a:pt x="2320" y="3792"/>
                  <a:pt x="1896" y="3368"/>
                  <a:pt x="1896" y="2833"/>
                </a:cubicBezTo>
                <a:cubicBezTo>
                  <a:pt x="1896" y="2320"/>
                  <a:pt x="2320" y="1896"/>
                  <a:pt x="2834" y="1896"/>
                </a:cubicBezTo>
                <a:cubicBezTo>
                  <a:pt x="3369" y="1896"/>
                  <a:pt x="3793" y="2320"/>
                  <a:pt x="3793" y="2833"/>
                </a:cubicBezTo>
                <a:cubicBezTo>
                  <a:pt x="3793" y="3368"/>
                  <a:pt x="3369" y="3792"/>
                  <a:pt x="2834" y="3792"/>
                </a:cubicBezTo>
                <a:close/>
                <a:moveTo>
                  <a:pt x="4707" y="1316"/>
                </a:moveTo>
                <a:lnTo>
                  <a:pt x="4707" y="1316"/>
                </a:lnTo>
                <a:cubicBezTo>
                  <a:pt x="4707" y="1137"/>
                  <a:pt x="4551" y="982"/>
                  <a:pt x="4351" y="982"/>
                </a:cubicBezTo>
                <a:cubicBezTo>
                  <a:pt x="4172" y="982"/>
                  <a:pt x="4016" y="1137"/>
                  <a:pt x="4016" y="1316"/>
                </a:cubicBezTo>
                <a:cubicBezTo>
                  <a:pt x="4016" y="1494"/>
                  <a:pt x="4172" y="1650"/>
                  <a:pt x="4351" y="1650"/>
                </a:cubicBezTo>
                <a:cubicBezTo>
                  <a:pt x="4551" y="1650"/>
                  <a:pt x="4707" y="1494"/>
                  <a:pt x="4707" y="1316"/>
                </a:cubicBezTo>
                <a:close/>
              </a:path>
            </a:pathLst>
          </a:custGeom>
          <a:solidFill>
            <a:schemeClr val="accent1"/>
          </a:solidFill>
          <a:ln>
            <a:noFill/>
          </a:ln>
          <a:effectLst/>
        </p:spPr>
        <p:txBody>
          <a:bodyPr wrap="none" anchor="ctr"/>
          <a:lstStyle/>
          <a:p>
            <a:endParaRPr lang="en-US"/>
          </a:p>
        </p:txBody>
      </p:sp>
      <p:sp>
        <p:nvSpPr>
          <p:cNvPr id="70" name="Freeform 3"/>
          <p:cNvSpPr>
            <a:spLocks noChangeArrowheads="1"/>
          </p:cNvSpPr>
          <p:nvPr/>
        </p:nvSpPr>
        <p:spPr bwMode="auto">
          <a:xfrm>
            <a:off x="2165314" y="5135513"/>
            <a:ext cx="577254" cy="583664"/>
          </a:xfrm>
          <a:custGeom>
            <a:avLst/>
            <a:gdLst>
              <a:gd name="T0" fmla="*/ 5778 w 5958"/>
              <a:gd name="T1" fmla="*/ 3658 h 6024"/>
              <a:gd name="T2" fmla="*/ 5778 w 5958"/>
              <a:gd name="T3" fmla="*/ 3658 h 6024"/>
              <a:gd name="T4" fmla="*/ 5846 w 5958"/>
              <a:gd name="T5" fmla="*/ 3034 h 6024"/>
              <a:gd name="T6" fmla="*/ 3012 w 5958"/>
              <a:gd name="T7" fmla="*/ 200 h 6024"/>
              <a:gd name="T8" fmla="*/ 2521 w 5958"/>
              <a:gd name="T9" fmla="*/ 245 h 6024"/>
              <a:gd name="T10" fmla="*/ 1651 w 5958"/>
              <a:gd name="T11" fmla="*/ 0 h 6024"/>
              <a:gd name="T12" fmla="*/ 0 w 5958"/>
              <a:gd name="T13" fmla="*/ 1650 h 6024"/>
              <a:gd name="T14" fmla="*/ 223 w 5958"/>
              <a:gd name="T15" fmla="*/ 2476 h 6024"/>
              <a:gd name="T16" fmla="*/ 178 w 5958"/>
              <a:gd name="T17" fmla="*/ 3034 h 6024"/>
              <a:gd name="T18" fmla="*/ 3012 w 5958"/>
              <a:gd name="T19" fmla="*/ 5889 h 6024"/>
              <a:gd name="T20" fmla="*/ 3525 w 5958"/>
              <a:gd name="T21" fmla="*/ 5844 h 6024"/>
              <a:gd name="T22" fmla="*/ 4306 w 5958"/>
              <a:gd name="T23" fmla="*/ 6023 h 6024"/>
              <a:gd name="T24" fmla="*/ 5957 w 5958"/>
              <a:gd name="T25" fmla="*/ 4394 h 6024"/>
              <a:gd name="T26" fmla="*/ 5778 w 5958"/>
              <a:gd name="T27" fmla="*/ 3658 h 6024"/>
              <a:gd name="T28" fmla="*/ 4462 w 5958"/>
              <a:gd name="T29" fmla="*/ 4394 h 6024"/>
              <a:gd name="T30" fmla="*/ 4462 w 5958"/>
              <a:gd name="T31" fmla="*/ 4394 h 6024"/>
              <a:gd name="T32" fmla="*/ 3882 w 5958"/>
              <a:gd name="T33" fmla="*/ 4841 h 6024"/>
              <a:gd name="T34" fmla="*/ 3012 w 5958"/>
              <a:gd name="T35" fmla="*/ 4997 h 6024"/>
              <a:gd name="T36" fmla="*/ 1985 w 5958"/>
              <a:gd name="T37" fmla="*/ 4773 h 6024"/>
              <a:gd name="T38" fmla="*/ 1517 w 5958"/>
              <a:gd name="T39" fmla="*/ 4372 h 6024"/>
              <a:gd name="T40" fmla="*/ 1339 w 5958"/>
              <a:gd name="T41" fmla="*/ 3859 h 6024"/>
              <a:gd name="T42" fmla="*/ 1450 w 5958"/>
              <a:gd name="T43" fmla="*/ 3591 h 6024"/>
              <a:gd name="T44" fmla="*/ 1740 w 5958"/>
              <a:gd name="T45" fmla="*/ 3480 h 6024"/>
              <a:gd name="T46" fmla="*/ 2008 w 5958"/>
              <a:gd name="T47" fmla="*/ 3569 h 6024"/>
              <a:gd name="T48" fmla="*/ 2164 w 5958"/>
              <a:gd name="T49" fmla="*/ 3814 h 6024"/>
              <a:gd name="T50" fmla="*/ 2320 w 5958"/>
              <a:gd name="T51" fmla="*/ 4105 h 6024"/>
              <a:gd name="T52" fmla="*/ 2566 w 5958"/>
              <a:gd name="T53" fmla="*/ 4283 h 6024"/>
              <a:gd name="T54" fmla="*/ 2990 w 5958"/>
              <a:gd name="T55" fmla="*/ 4350 h 6024"/>
              <a:gd name="T56" fmla="*/ 3547 w 5958"/>
              <a:gd name="T57" fmla="*/ 4194 h 6024"/>
              <a:gd name="T58" fmla="*/ 3770 w 5958"/>
              <a:gd name="T59" fmla="*/ 3859 h 6024"/>
              <a:gd name="T60" fmla="*/ 3659 w 5958"/>
              <a:gd name="T61" fmla="*/ 3569 h 6024"/>
              <a:gd name="T62" fmla="*/ 3347 w 5958"/>
              <a:gd name="T63" fmla="*/ 3413 h 6024"/>
              <a:gd name="T64" fmla="*/ 2833 w 5958"/>
              <a:gd name="T65" fmla="*/ 3279 h 6024"/>
              <a:gd name="T66" fmla="*/ 2075 w 5958"/>
              <a:gd name="T67" fmla="*/ 3056 h 6024"/>
              <a:gd name="T68" fmla="*/ 1606 w 5958"/>
              <a:gd name="T69" fmla="*/ 2699 h 6024"/>
              <a:gd name="T70" fmla="*/ 1406 w 5958"/>
              <a:gd name="T71" fmla="*/ 2141 h 6024"/>
              <a:gd name="T72" fmla="*/ 1606 w 5958"/>
              <a:gd name="T73" fmla="*/ 1561 h 6024"/>
              <a:gd name="T74" fmla="*/ 2164 w 5958"/>
              <a:gd name="T75" fmla="*/ 1182 h 6024"/>
              <a:gd name="T76" fmla="*/ 2990 w 5958"/>
              <a:gd name="T77" fmla="*/ 1048 h 6024"/>
              <a:gd name="T78" fmla="*/ 3659 w 5958"/>
              <a:gd name="T79" fmla="*/ 1138 h 6024"/>
              <a:gd name="T80" fmla="*/ 4127 w 5958"/>
              <a:gd name="T81" fmla="*/ 1360 h 6024"/>
              <a:gd name="T82" fmla="*/ 4395 w 5958"/>
              <a:gd name="T83" fmla="*/ 1673 h 6024"/>
              <a:gd name="T84" fmla="*/ 4484 w 5958"/>
              <a:gd name="T85" fmla="*/ 2007 h 6024"/>
              <a:gd name="T86" fmla="*/ 4373 w 5958"/>
              <a:gd name="T87" fmla="*/ 2275 h 6024"/>
              <a:gd name="T88" fmla="*/ 4083 w 5958"/>
              <a:gd name="T89" fmla="*/ 2387 h 6024"/>
              <a:gd name="T90" fmla="*/ 3837 w 5958"/>
              <a:gd name="T91" fmla="*/ 2320 h 6024"/>
              <a:gd name="T92" fmla="*/ 3659 w 5958"/>
              <a:gd name="T93" fmla="*/ 2096 h 6024"/>
              <a:gd name="T94" fmla="*/ 3413 w 5958"/>
              <a:gd name="T95" fmla="*/ 1784 h 6024"/>
              <a:gd name="T96" fmla="*/ 2945 w 5958"/>
              <a:gd name="T97" fmla="*/ 1673 h 6024"/>
              <a:gd name="T98" fmla="*/ 2454 w 5958"/>
              <a:gd name="T99" fmla="*/ 1784 h 6024"/>
              <a:gd name="T100" fmla="*/ 2275 w 5958"/>
              <a:gd name="T101" fmla="*/ 2074 h 6024"/>
              <a:gd name="T102" fmla="*/ 2320 w 5958"/>
              <a:gd name="T103" fmla="*/ 2231 h 6024"/>
              <a:gd name="T104" fmla="*/ 2499 w 5958"/>
              <a:gd name="T105" fmla="*/ 2364 h 6024"/>
              <a:gd name="T106" fmla="*/ 2722 w 5958"/>
              <a:gd name="T107" fmla="*/ 2453 h 6024"/>
              <a:gd name="T108" fmla="*/ 3123 w 5958"/>
              <a:gd name="T109" fmla="*/ 2542 h 6024"/>
              <a:gd name="T110" fmla="*/ 3748 w 5958"/>
              <a:gd name="T111" fmla="*/ 2699 h 6024"/>
              <a:gd name="T112" fmla="*/ 4238 w 5958"/>
              <a:gd name="T113" fmla="*/ 2922 h 6024"/>
              <a:gd name="T114" fmla="*/ 4551 w 5958"/>
              <a:gd name="T115" fmla="*/ 3256 h 6024"/>
              <a:gd name="T116" fmla="*/ 4663 w 5958"/>
              <a:gd name="T117" fmla="*/ 3770 h 6024"/>
              <a:gd name="T118" fmla="*/ 4462 w 5958"/>
              <a:gd name="T119" fmla="*/ 4394 h 6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58" h="6024">
                <a:moveTo>
                  <a:pt x="5778" y="3658"/>
                </a:moveTo>
                <a:lnTo>
                  <a:pt x="5778" y="3658"/>
                </a:lnTo>
                <a:cubicBezTo>
                  <a:pt x="5823" y="3457"/>
                  <a:pt x="5846" y="3256"/>
                  <a:pt x="5846" y="3034"/>
                </a:cubicBezTo>
                <a:cubicBezTo>
                  <a:pt x="5846" y="1472"/>
                  <a:pt x="4573" y="200"/>
                  <a:pt x="3012" y="200"/>
                </a:cubicBezTo>
                <a:cubicBezTo>
                  <a:pt x="2833" y="200"/>
                  <a:pt x="2677" y="222"/>
                  <a:pt x="2521" y="245"/>
                </a:cubicBezTo>
                <a:cubicBezTo>
                  <a:pt x="2275" y="89"/>
                  <a:pt x="1963" y="0"/>
                  <a:pt x="1651" y="0"/>
                </a:cubicBezTo>
                <a:cubicBezTo>
                  <a:pt x="736" y="0"/>
                  <a:pt x="0" y="736"/>
                  <a:pt x="0" y="1650"/>
                </a:cubicBezTo>
                <a:cubicBezTo>
                  <a:pt x="0" y="1941"/>
                  <a:pt x="89" y="2231"/>
                  <a:pt x="223" y="2476"/>
                </a:cubicBezTo>
                <a:cubicBezTo>
                  <a:pt x="178" y="2655"/>
                  <a:pt x="178" y="2855"/>
                  <a:pt x="178" y="3034"/>
                </a:cubicBezTo>
                <a:cubicBezTo>
                  <a:pt x="178" y="4618"/>
                  <a:pt x="1450" y="5889"/>
                  <a:pt x="3012" y="5889"/>
                </a:cubicBezTo>
                <a:cubicBezTo>
                  <a:pt x="3190" y="5889"/>
                  <a:pt x="3369" y="5867"/>
                  <a:pt x="3525" y="5844"/>
                </a:cubicBezTo>
                <a:cubicBezTo>
                  <a:pt x="3770" y="5956"/>
                  <a:pt x="4016" y="6023"/>
                  <a:pt x="4306" y="6023"/>
                </a:cubicBezTo>
                <a:cubicBezTo>
                  <a:pt x="5221" y="6023"/>
                  <a:pt x="5957" y="5287"/>
                  <a:pt x="5957" y="4394"/>
                </a:cubicBezTo>
                <a:cubicBezTo>
                  <a:pt x="5957" y="4127"/>
                  <a:pt x="5890" y="3881"/>
                  <a:pt x="5778" y="3658"/>
                </a:cubicBezTo>
                <a:close/>
                <a:moveTo>
                  <a:pt x="4462" y="4394"/>
                </a:moveTo>
                <a:lnTo>
                  <a:pt x="4462" y="4394"/>
                </a:lnTo>
                <a:cubicBezTo>
                  <a:pt x="4328" y="4595"/>
                  <a:pt x="4150" y="4729"/>
                  <a:pt x="3882" y="4841"/>
                </a:cubicBezTo>
                <a:cubicBezTo>
                  <a:pt x="3637" y="4952"/>
                  <a:pt x="3347" y="4997"/>
                  <a:pt x="3012" y="4997"/>
                </a:cubicBezTo>
                <a:cubicBezTo>
                  <a:pt x="2588" y="4997"/>
                  <a:pt x="2253" y="4930"/>
                  <a:pt x="1985" y="4773"/>
                </a:cubicBezTo>
                <a:cubicBezTo>
                  <a:pt x="1785" y="4684"/>
                  <a:pt x="1628" y="4529"/>
                  <a:pt x="1517" y="4372"/>
                </a:cubicBezTo>
                <a:cubicBezTo>
                  <a:pt x="1406" y="4194"/>
                  <a:pt x="1339" y="4015"/>
                  <a:pt x="1339" y="3859"/>
                </a:cubicBezTo>
                <a:cubicBezTo>
                  <a:pt x="1339" y="3748"/>
                  <a:pt x="1383" y="3658"/>
                  <a:pt x="1450" y="3591"/>
                </a:cubicBezTo>
                <a:cubicBezTo>
                  <a:pt x="1539" y="3502"/>
                  <a:pt x="1628" y="3480"/>
                  <a:pt x="1740" y="3480"/>
                </a:cubicBezTo>
                <a:cubicBezTo>
                  <a:pt x="1852" y="3480"/>
                  <a:pt x="1941" y="3502"/>
                  <a:pt x="2008" y="3569"/>
                </a:cubicBezTo>
                <a:cubicBezTo>
                  <a:pt x="2075" y="3613"/>
                  <a:pt x="2120" y="3703"/>
                  <a:pt x="2164" y="3814"/>
                </a:cubicBezTo>
                <a:cubicBezTo>
                  <a:pt x="2209" y="3926"/>
                  <a:pt x="2275" y="4015"/>
                  <a:pt x="2320" y="4105"/>
                </a:cubicBezTo>
                <a:cubicBezTo>
                  <a:pt x="2387" y="4172"/>
                  <a:pt x="2477" y="4238"/>
                  <a:pt x="2566" y="4283"/>
                </a:cubicBezTo>
                <a:cubicBezTo>
                  <a:pt x="2677" y="4327"/>
                  <a:pt x="2811" y="4350"/>
                  <a:pt x="2990" y="4350"/>
                </a:cubicBezTo>
                <a:cubicBezTo>
                  <a:pt x="3213" y="4350"/>
                  <a:pt x="3413" y="4305"/>
                  <a:pt x="3547" y="4194"/>
                </a:cubicBezTo>
                <a:cubicBezTo>
                  <a:pt x="3704" y="4105"/>
                  <a:pt x="3770" y="3992"/>
                  <a:pt x="3770" y="3859"/>
                </a:cubicBezTo>
                <a:cubicBezTo>
                  <a:pt x="3770" y="3748"/>
                  <a:pt x="3726" y="3658"/>
                  <a:pt x="3659" y="3569"/>
                </a:cubicBezTo>
                <a:cubicBezTo>
                  <a:pt x="3570" y="3502"/>
                  <a:pt x="3480" y="3457"/>
                  <a:pt x="3347" y="3413"/>
                </a:cubicBezTo>
                <a:cubicBezTo>
                  <a:pt x="3213" y="3368"/>
                  <a:pt x="3056" y="3324"/>
                  <a:pt x="2833" y="3279"/>
                </a:cubicBezTo>
                <a:cubicBezTo>
                  <a:pt x="2544" y="3212"/>
                  <a:pt x="2275" y="3145"/>
                  <a:pt x="2075" y="3056"/>
                </a:cubicBezTo>
                <a:cubicBezTo>
                  <a:pt x="1874" y="2967"/>
                  <a:pt x="1718" y="2855"/>
                  <a:pt x="1606" y="2699"/>
                </a:cubicBezTo>
                <a:cubicBezTo>
                  <a:pt x="1472" y="2542"/>
                  <a:pt x="1406" y="2364"/>
                  <a:pt x="1406" y="2141"/>
                </a:cubicBezTo>
                <a:cubicBezTo>
                  <a:pt x="1406" y="1918"/>
                  <a:pt x="1472" y="1717"/>
                  <a:pt x="1606" y="1561"/>
                </a:cubicBezTo>
                <a:cubicBezTo>
                  <a:pt x="1740" y="1382"/>
                  <a:pt x="1919" y="1271"/>
                  <a:pt x="2164" y="1182"/>
                </a:cubicBezTo>
                <a:cubicBezTo>
                  <a:pt x="2387" y="1093"/>
                  <a:pt x="2677" y="1048"/>
                  <a:pt x="2990" y="1048"/>
                </a:cubicBezTo>
                <a:cubicBezTo>
                  <a:pt x="3235" y="1048"/>
                  <a:pt x="3458" y="1070"/>
                  <a:pt x="3659" y="1138"/>
                </a:cubicBezTo>
                <a:cubicBezTo>
                  <a:pt x="3837" y="1182"/>
                  <a:pt x="3994" y="1271"/>
                  <a:pt x="4127" y="1360"/>
                </a:cubicBezTo>
                <a:cubicBezTo>
                  <a:pt x="4238" y="1472"/>
                  <a:pt x="4351" y="1561"/>
                  <a:pt x="4395" y="1673"/>
                </a:cubicBezTo>
                <a:cubicBezTo>
                  <a:pt x="4462" y="1784"/>
                  <a:pt x="4484" y="1896"/>
                  <a:pt x="4484" y="2007"/>
                </a:cubicBezTo>
                <a:cubicBezTo>
                  <a:pt x="4484" y="2096"/>
                  <a:pt x="4440" y="2186"/>
                  <a:pt x="4373" y="2275"/>
                </a:cubicBezTo>
                <a:cubicBezTo>
                  <a:pt x="4283" y="2364"/>
                  <a:pt x="4194" y="2387"/>
                  <a:pt x="4083" y="2387"/>
                </a:cubicBezTo>
                <a:cubicBezTo>
                  <a:pt x="3971" y="2387"/>
                  <a:pt x="3882" y="2364"/>
                  <a:pt x="3837" y="2320"/>
                </a:cubicBezTo>
                <a:cubicBezTo>
                  <a:pt x="3793" y="2275"/>
                  <a:pt x="3726" y="2208"/>
                  <a:pt x="3659" y="2096"/>
                </a:cubicBezTo>
                <a:cubicBezTo>
                  <a:pt x="3592" y="1963"/>
                  <a:pt x="3502" y="1851"/>
                  <a:pt x="3413" y="1784"/>
                </a:cubicBezTo>
                <a:cubicBezTo>
                  <a:pt x="3324" y="1717"/>
                  <a:pt x="3145" y="1673"/>
                  <a:pt x="2945" y="1673"/>
                </a:cubicBezTo>
                <a:cubicBezTo>
                  <a:pt x="2722" y="1673"/>
                  <a:pt x="2566" y="1717"/>
                  <a:pt x="2454" y="1784"/>
                </a:cubicBezTo>
                <a:cubicBezTo>
                  <a:pt x="2320" y="1874"/>
                  <a:pt x="2275" y="1963"/>
                  <a:pt x="2275" y="2074"/>
                </a:cubicBezTo>
                <a:cubicBezTo>
                  <a:pt x="2275" y="2119"/>
                  <a:pt x="2298" y="2186"/>
                  <a:pt x="2320" y="2231"/>
                </a:cubicBezTo>
                <a:cubicBezTo>
                  <a:pt x="2365" y="2275"/>
                  <a:pt x="2432" y="2320"/>
                  <a:pt x="2499" y="2364"/>
                </a:cubicBezTo>
                <a:cubicBezTo>
                  <a:pt x="2566" y="2387"/>
                  <a:pt x="2655" y="2431"/>
                  <a:pt x="2722" y="2453"/>
                </a:cubicBezTo>
                <a:cubicBezTo>
                  <a:pt x="2811" y="2476"/>
                  <a:pt x="2945" y="2498"/>
                  <a:pt x="3123" y="2542"/>
                </a:cubicBezTo>
                <a:cubicBezTo>
                  <a:pt x="3347" y="2587"/>
                  <a:pt x="3547" y="2655"/>
                  <a:pt x="3748" y="2699"/>
                </a:cubicBezTo>
                <a:cubicBezTo>
                  <a:pt x="3926" y="2766"/>
                  <a:pt x="4105" y="2833"/>
                  <a:pt x="4238" y="2922"/>
                </a:cubicBezTo>
                <a:cubicBezTo>
                  <a:pt x="4373" y="3012"/>
                  <a:pt x="4484" y="3123"/>
                  <a:pt x="4551" y="3256"/>
                </a:cubicBezTo>
                <a:cubicBezTo>
                  <a:pt x="4618" y="3413"/>
                  <a:pt x="4663" y="3569"/>
                  <a:pt x="4663" y="3770"/>
                </a:cubicBezTo>
                <a:cubicBezTo>
                  <a:pt x="4663" y="3992"/>
                  <a:pt x="4596" y="4216"/>
                  <a:pt x="4462" y="4394"/>
                </a:cubicBezTo>
                <a:close/>
              </a:path>
            </a:pathLst>
          </a:custGeom>
          <a:solidFill>
            <a:schemeClr val="accent1"/>
          </a:solidFill>
          <a:ln>
            <a:noFill/>
          </a:ln>
          <a:effectLst/>
        </p:spPr>
        <p:txBody>
          <a:bodyPr wrap="none" anchor="ctr"/>
          <a:lstStyle/>
          <a:p>
            <a:endParaRPr lang="en-US"/>
          </a:p>
        </p:txBody>
      </p:sp>
      <p:sp>
        <p:nvSpPr>
          <p:cNvPr id="71" name="Freeform 5"/>
          <p:cNvSpPr>
            <a:spLocks noChangeArrowheads="1"/>
          </p:cNvSpPr>
          <p:nvPr/>
        </p:nvSpPr>
        <p:spPr bwMode="auto">
          <a:xfrm>
            <a:off x="3399417" y="5198003"/>
            <a:ext cx="528984" cy="458684"/>
          </a:xfrm>
          <a:custGeom>
            <a:avLst/>
            <a:gdLst>
              <a:gd name="T0" fmla="*/ 3881 w 5377"/>
              <a:gd name="T1" fmla="*/ 178 h 4662"/>
              <a:gd name="T2" fmla="*/ 3881 w 5377"/>
              <a:gd name="T3" fmla="*/ 178 h 4662"/>
              <a:gd name="T4" fmla="*/ 5019 w 5377"/>
              <a:gd name="T5" fmla="*/ 223 h 4662"/>
              <a:gd name="T6" fmla="*/ 5354 w 5377"/>
              <a:gd name="T7" fmla="*/ 847 h 4662"/>
              <a:gd name="T8" fmla="*/ 5331 w 5377"/>
              <a:gd name="T9" fmla="*/ 1337 h 4662"/>
              <a:gd name="T10" fmla="*/ 4930 w 5377"/>
              <a:gd name="T11" fmla="*/ 2141 h 4662"/>
              <a:gd name="T12" fmla="*/ 3034 w 5377"/>
              <a:gd name="T13" fmla="*/ 4439 h 4662"/>
              <a:gd name="T14" fmla="*/ 2364 w 5377"/>
              <a:gd name="T15" fmla="*/ 4661 h 4662"/>
              <a:gd name="T16" fmla="*/ 1784 w 5377"/>
              <a:gd name="T17" fmla="*/ 4193 h 4662"/>
              <a:gd name="T18" fmla="*/ 1182 w 5377"/>
              <a:gd name="T19" fmla="*/ 2185 h 4662"/>
              <a:gd name="T20" fmla="*/ 803 w 5377"/>
              <a:gd name="T21" fmla="*/ 1404 h 4662"/>
              <a:gd name="T22" fmla="*/ 200 w 5377"/>
              <a:gd name="T23" fmla="*/ 1516 h 4662"/>
              <a:gd name="T24" fmla="*/ 0 w 5377"/>
              <a:gd name="T25" fmla="*/ 1270 h 4662"/>
              <a:gd name="T26" fmla="*/ 1137 w 5377"/>
              <a:gd name="T27" fmla="*/ 312 h 4662"/>
              <a:gd name="T28" fmla="*/ 1829 w 5377"/>
              <a:gd name="T29" fmla="*/ 155 h 4662"/>
              <a:gd name="T30" fmla="*/ 2320 w 5377"/>
              <a:gd name="T31" fmla="*/ 1049 h 4662"/>
              <a:gd name="T32" fmla="*/ 2788 w 5377"/>
              <a:gd name="T33" fmla="*/ 2966 h 4662"/>
              <a:gd name="T34" fmla="*/ 3391 w 5377"/>
              <a:gd name="T35" fmla="*/ 2698 h 4662"/>
              <a:gd name="T36" fmla="*/ 3748 w 5377"/>
              <a:gd name="T37" fmla="*/ 1427 h 4662"/>
              <a:gd name="T38" fmla="*/ 3123 w 5377"/>
              <a:gd name="T39" fmla="*/ 1203 h 4662"/>
              <a:gd name="T40" fmla="*/ 3881 w 5377"/>
              <a:gd name="T41" fmla="*/ 178 h 4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77" h="4662">
                <a:moveTo>
                  <a:pt x="3881" y="178"/>
                </a:moveTo>
                <a:lnTo>
                  <a:pt x="3881" y="178"/>
                </a:lnTo>
                <a:cubicBezTo>
                  <a:pt x="4238" y="44"/>
                  <a:pt x="4684" y="0"/>
                  <a:pt x="5019" y="223"/>
                </a:cubicBezTo>
                <a:cubicBezTo>
                  <a:pt x="5176" y="401"/>
                  <a:pt x="5331" y="736"/>
                  <a:pt x="5354" y="847"/>
                </a:cubicBezTo>
                <a:cubicBezTo>
                  <a:pt x="5376" y="959"/>
                  <a:pt x="5376" y="1181"/>
                  <a:pt x="5331" y="1337"/>
                </a:cubicBezTo>
                <a:cubicBezTo>
                  <a:pt x="5309" y="1494"/>
                  <a:pt x="5063" y="1917"/>
                  <a:pt x="4930" y="2141"/>
                </a:cubicBezTo>
                <a:cubicBezTo>
                  <a:pt x="4462" y="3011"/>
                  <a:pt x="3881" y="3858"/>
                  <a:pt x="3034" y="4439"/>
                </a:cubicBezTo>
                <a:cubicBezTo>
                  <a:pt x="2855" y="4572"/>
                  <a:pt x="2610" y="4639"/>
                  <a:pt x="2364" y="4661"/>
                </a:cubicBezTo>
                <a:cubicBezTo>
                  <a:pt x="2096" y="4661"/>
                  <a:pt x="1896" y="4416"/>
                  <a:pt x="1784" y="4193"/>
                </a:cubicBezTo>
                <a:cubicBezTo>
                  <a:pt x="1472" y="3568"/>
                  <a:pt x="1405" y="2854"/>
                  <a:pt x="1182" y="2185"/>
                </a:cubicBezTo>
                <a:cubicBezTo>
                  <a:pt x="1071" y="1917"/>
                  <a:pt x="1026" y="1605"/>
                  <a:pt x="803" y="1404"/>
                </a:cubicBezTo>
                <a:cubicBezTo>
                  <a:pt x="601" y="1427"/>
                  <a:pt x="401" y="1471"/>
                  <a:pt x="200" y="1516"/>
                </a:cubicBezTo>
                <a:cubicBezTo>
                  <a:pt x="111" y="1471"/>
                  <a:pt x="44" y="1382"/>
                  <a:pt x="0" y="1270"/>
                </a:cubicBezTo>
                <a:cubicBezTo>
                  <a:pt x="357" y="936"/>
                  <a:pt x="736" y="624"/>
                  <a:pt x="1137" y="312"/>
                </a:cubicBezTo>
                <a:cubicBezTo>
                  <a:pt x="1338" y="178"/>
                  <a:pt x="1583" y="133"/>
                  <a:pt x="1829" y="155"/>
                </a:cubicBezTo>
                <a:cubicBezTo>
                  <a:pt x="2164" y="312"/>
                  <a:pt x="2275" y="714"/>
                  <a:pt x="2320" y="1049"/>
                </a:cubicBezTo>
                <a:cubicBezTo>
                  <a:pt x="2475" y="1672"/>
                  <a:pt x="2475" y="2386"/>
                  <a:pt x="2788" y="2966"/>
                </a:cubicBezTo>
                <a:cubicBezTo>
                  <a:pt x="2989" y="2988"/>
                  <a:pt x="3189" y="3100"/>
                  <a:pt x="3391" y="2698"/>
                </a:cubicBezTo>
                <a:cubicBezTo>
                  <a:pt x="3591" y="2297"/>
                  <a:pt x="3881" y="1917"/>
                  <a:pt x="3748" y="1427"/>
                </a:cubicBezTo>
                <a:cubicBezTo>
                  <a:pt x="3658" y="1137"/>
                  <a:pt x="3324" y="1225"/>
                  <a:pt x="3123" y="1203"/>
                </a:cubicBezTo>
                <a:cubicBezTo>
                  <a:pt x="3189" y="781"/>
                  <a:pt x="3457" y="379"/>
                  <a:pt x="3881" y="178"/>
                </a:cubicBezTo>
              </a:path>
            </a:pathLst>
          </a:custGeom>
          <a:solidFill>
            <a:schemeClr val="accent1"/>
          </a:solidFill>
          <a:ln w="9525" cap="flat">
            <a:noFill/>
            <a:round/>
            <a:headEnd/>
            <a:tailEnd/>
          </a:ln>
          <a:effectLst/>
        </p:spPr>
        <p:txBody>
          <a:bodyPr wrap="none" anchor="ctr"/>
          <a:lstStyle/>
          <a:p>
            <a:endParaRPr lang="en-US"/>
          </a:p>
        </p:txBody>
      </p:sp>
      <p:sp>
        <p:nvSpPr>
          <p:cNvPr id="72" name="Freeform 1"/>
          <p:cNvSpPr>
            <a:spLocks noChangeArrowheads="1"/>
          </p:cNvSpPr>
          <p:nvPr/>
        </p:nvSpPr>
        <p:spPr bwMode="auto">
          <a:xfrm>
            <a:off x="4532047" y="5141872"/>
            <a:ext cx="681824" cy="570946"/>
          </a:xfrm>
          <a:custGeom>
            <a:avLst/>
            <a:gdLst>
              <a:gd name="T0" fmla="*/ 3258 w 7810"/>
              <a:gd name="T1" fmla="*/ 3770 h 6538"/>
              <a:gd name="T2" fmla="*/ 2209 w 7810"/>
              <a:gd name="T3" fmla="*/ 3770 h 6538"/>
              <a:gd name="T4" fmla="*/ 3258 w 7810"/>
              <a:gd name="T5" fmla="*/ 3770 h 6538"/>
              <a:gd name="T6" fmla="*/ 3258 w 7810"/>
              <a:gd name="T7" fmla="*/ 3770 h 6538"/>
              <a:gd name="T8" fmla="*/ 7809 w 7810"/>
              <a:gd name="T9" fmla="*/ 3347 h 6538"/>
              <a:gd name="T10" fmla="*/ 6671 w 7810"/>
              <a:gd name="T11" fmla="*/ 2164 h 6538"/>
              <a:gd name="T12" fmla="*/ 4105 w 7810"/>
              <a:gd name="T13" fmla="*/ 1807 h 6538"/>
              <a:gd name="T14" fmla="*/ 5422 w 7810"/>
              <a:gd name="T15" fmla="*/ 803 h 6538"/>
              <a:gd name="T16" fmla="*/ 6292 w 7810"/>
              <a:gd name="T17" fmla="*/ 1763 h 6538"/>
              <a:gd name="T18" fmla="*/ 6292 w 7810"/>
              <a:gd name="T19" fmla="*/ 0 h 6538"/>
              <a:gd name="T20" fmla="*/ 4261 w 7810"/>
              <a:gd name="T21" fmla="*/ 111 h 6538"/>
              <a:gd name="T22" fmla="*/ 1740 w 7810"/>
              <a:gd name="T23" fmla="*/ 2387 h 6538"/>
              <a:gd name="T24" fmla="*/ 1138 w 7810"/>
              <a:gd name="T25" fmla="*/ 2164 h 6538"/>
              <a:gd name="T26" fmla="*/ 580 w 7810"/>
              <a:gd name="T27" fmla="*/ 4373 h 6538"/>
              <a:gd name="T28" fmla="*/ 7273 w 7810"/>
              <a:gd name="T29" fmla="*/ 4351 h 6538"/>
              <a:gd name="T30" fmla="*/ 3258 w 7810"/>
              <a:gd name="T31" fmla="*/ 3770 h 6538"/>
              <a:gd name="T32" fmla="*/ 6292 w 7810"/>
              <a:gd name="T33" fmla="*/ 379 h 6538"/>
              <a:gd name="T34" fmla="*/ 6292 w 7810"/>
              <a:gd name="T35" fmla="*/ 1384 h 6538"/>
              <a:gd name="T36" fmla="*/ 6292 w 7810"/>
              <a:gd name="T37" fmla="*/ 379 h 6538"/>
              <a:gd name="T38" fmla="*/ 1138 w 7810"/>
              <a:gd name="T39" fmla="*/ 2566 h 6538"/>
              <a:gd name="T40" fmla="*/ 580 w 7810"/>
              <a:gd name="T41" fmla="*/ 3882 h 6538"/>
              <a:gd name="T42" fmla="*/ 1138 w 7810"/>
              <a:gd name="T43" fmla="*/ 2566 h 6538"/>
              <a:gd name="T44" fmla="*/ 3927 w 7810"/>
              <a:gd name="T45" fmla="*/ 6135 h 6538"/>
              <a:gd name="T46" fmla="*/ 3927 w 7810"/>
              <a:gd name="T47" fmla="*/ 2209 h 6538"/>
              <a:gd name="T48" fmla="*/ 3927 w 7810"/>
              <a:gd name="T49" fmla="*/ 6135 h 6538"/>
              <a:gd name="T50" fmla="*/ 7251 w 7810"/>
              <a:gd name="T51" fmla="*/ 3837 h 6538"/>
              <a:gd name="T52" fmla="*/ 6671 w 7810"/>
              <a:gd name="T53" fmla="*/ 2566 h 6538"/>
              <a:gd name="T54" fmla="*/ 7251 w 7810"/>
              <a:gd name="T55" fmla="*/ 3837 h 6538"/>
              <a:gd name="T56" fmla="*/ 7251 w 7810"/>
              <a:gd name="T57" fmla="*/ 3837 h 6538"/>
              <a:gd name="T58" fmla="*/ 5533 w 7810"/>
              <a:gd name="T59" fmla="*/ 3770 h 6538"/>
              <a:gd name="T60" fmla="*/ 4997 w 7810"/>
              <a:gd name="T61" fmla="*/ 4306 h 6538"/>
              <a:gd name="T62" fmla="*/ 4997 w 7810"/>
              <a:gd name="T63" fmla="*/ 3258 h 6538"/>
              <a:gd name="T64" fmla="*/ 7251 w 7810"/>
              <a:gd name="T65" fmla="*/ 3837 h 6538"/>
              <a:gd name="T66" fmla="*/ 5533 w 7810"/>
              <a:gd name="T67" fmla="*/ 3770 h 6538"/>
              <a:gd name="T68" fmla="*/ 4908 w 7810"/>
              <a:gd name="T69" fmla="*/ 4953 h 6538"/>
              <a:gd name="T70" fmla="*/ 2856 w 7810"/>
              <a:gd name="T71" fmla="*/ 4953 h 6538"/>
              <a:gd name="T72" fmla="*/ 2610 w 7810"/>
              <a:gd name="T73" fmla="*/ 5265 h 6538"/>
              <a:gd name="T74" fmla="*/ 5132 w 7810"/>
              <a:gd name="T75" fmla="*/ 5265 h 6538"/>
              <a:gd name="T76" fmla="*/ 4908 w 7810"/>
              <a:gd name="T77" fmla="*/ 4953 h 6538"/>
              <a:gd name="T78" fmla="*/ 4908 w 7810"/>
              <a:gd name="T79" fmla="*/ 4953 h 6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810" h="6538">
                <a:moveTo>
                  <a:pt x="3258" y="3770"/>
                </a:moveTo>
                <a:lnTo>
                  <a:pt x="3258" y="3770"/>
                </a:lnTo>
                <a:cubicBezTo>
                  <a:pt x="3258" y="4060"/>
                  <a:pt x="3034" y="4306"/>
                  <a:pt x="2744" y="4306"/>
                </a:cubicBezTo>
                <a:cubicBezTo>
                  <a:pt x="2454" y="4306"/>
                  <a:pt x="2209" y="4060"/>
                  <a:pt x="2209" y="3770"/>
                </a:cubicBezTo>
                <a:cubicBezTo>
                  <a:pt x="2209" y="3480"/>
                  <a:pt x="2454" y="3258"/>
                  <a:pt x="2744" y="3258"/>
                </a:cubicBezTo>
                <a:cubicBezTo>
                  <a:pt x="3034" y="3258"/>
                  <a:pt x="3258" y="3480"/>
                  <a:pt x="3258" y="3770"/>
                </a:cubicBezTo>
                <a:close/>
                <a:moveTo>
                  <a:pt x="3258" y="3770"/>
                </a:moveTo>
                <a:lnTo>
                  <a:pt x="3258" y="3770"/>
                </a:lnTo>
                <a:lnTo>
                  <a:pt x="3258" y="3770"/>
                </a:lnTo>
                <a:lnTo>
                  <a:pt x="7809" y="3347"/>
                </a:lnTo>
                <a:lnTo>
                  <a:pt x="7809" y="3347"/>
                </a:lnTo>
                <a:cubicBezTo>
                  <a:pt x="7809" y="2699"/>
                  <a:pt x="7296" y="2164"/>
                  <a:pt x="6671" y="2164"/>
                </a:cubicBezTo>
                <a:cubicBezTo>
                  <a:pt x="6447" y="2164"/>
                  <a:pt x="6247" y="2231"/>
                  <a:pt x="6068" y="2342"/>
                </a:cubicBezTo>
                <a:cubicBezTo>
                  <a:pt x="5533" y="2030"/>
                  <a:pt x="4841" y="1830"/>
                  <a:pt x="4105" y="1807"/>
                </a:cubicBezTo>
                <a:cubicBezTo>
                  <a:pt x="4529" y="580"/>
                  <a:pt x="4529" y="580"/>
                  <a:pt x="4529" y="580"/>
                </a:cubicBezTo>
                <a:cubicBezTo>
                  <a:pt x="5422" y="803"/>
                  <a:pt x="5422" y="803"/>
                  <a:pt x="5422" y="803"/>
                </a:cubicBezTo>
                <a:cubicBezTo>
                  <a:pt x="5422" y="825"/>
                  <a:pt x="5399" y="848"/>
                  <a:pt x="5399" y="870"/>
                </a:cubicBezTo>
                <a:cubicBezTo>
                  <a:pt x="5399" y="1361"/>
                  <a:pt x="5801" y="1763"/>
                  <a:pt x="6292" y="1763"/>
                </a:cubicBezTo>
                <a:cubicBezTo>
                  <a:pt x="6782" y="1763"/>
                  <a:pt x="7184" y="1361"/>
                  <a:pt x="7184" y="870"/>
                </a:cubicBezTo>
                <a:cubicBezTo>
                  <a:pt x="7184" y="379"/>
                  <a:pt x="6782" y="0"/>
                  <a:pt x="6292" y="0"/>
                </a:cubicBezTo>
                <a:cubicBezTo>
                  <a:pt x="5979" y="0"/>
                  <a:pt x="5711" y="156"/>
                  <a:pt x="5533" y="424"/>
                </a:cubicBezTo>
                <a:cubicBezTo>
                  <a:pt x="4261" y="111"/>
                  <a:pt x="4261" y="111"/>
                  <a:pt x="4261" y="111"/>
                </a:cubicBezTo>
                <a:cubicBezTo>
                  <a:pt x="3681" y="1807"/>
                  <a:pt x="3681" y="1807"/>
                  <a:pt x="3681" y="1807"/>
                </a:cubicBezTo>
                <a:cubicBezTo>
                  <a:pt x="2945" y="1852"/>
                  <a:pt x="2253" y="2052"/>
                  <a:pt x="1740" y="2387"/>
                </a:cubicBezTo>
                <a:cubicBezTo>
                  <a:pt x="1740" y="2387"/>
                  <a:pt x="1740" y="2365"/>
                  <a:pt x="1763" y="2365"/>
                </a:cubicBezTo>
                <a:cubicBezTo>
                  <a:pt x="1584" y="2231"/>
                  <a:pt x="1361" y="2164"/>
                  <a:pt x="1138" y="2164"/>
                </a:cubicBezTo>
                <a:cubicBezTo>
                  <a:pt x="513" y="2164"/>
                  <a:pt x="0" y="2699"/>
                  <a:pt x="0" y="3347"/>
                </a:cubicBezTo>
                <a:cubicBezTo>
                  <a:pt x="0" y="3793"/>
                  <a:pt x="223" y="4150"/>
                  <a:pt x="580" y="4373"/>
                </a:cubicBezTo>
                <a:cubicBezTo>
                  <a:pt x="714" y="5578"/>
                  <a:pt x="2164" y="6537"/>
                  <a:pt x="3927" y="6537"/>
                </a:cubicBezTo>
                <a:cubicBezTo>
                  <a:pt x="5711" y="6537"/>
                  <a:pt x="7161" y="5578"/>
                  <a:pt x="7273" y="4351"/>
                </a:cubicBezTo>
                <a:cubicBezTo>
                  <a:pt x="7585" y="4127"/>
                  <a:pt x="7809" y="3770"/>
                  <a:pt x="7809" y="3347"/>
                </a:cubicBezTo>
                <a:lnTo>
                  <a:pt x="3258" y="3770"/>
                </a:lnTo>
                <a:close/>
                <a:moveTo>
                  <a:pt x="6292" y="379"/>
                </a:moveTo>
                <a:lnTo>
                  <a:pt x="6292" y="379"/>
                </a:lnTo>
                <a:cubicBezTo>
                  <a:pt x="6582" y="379"/>
                  <a:pt x="6782" y="603"/>
                  <a:pt x="6782" y="870"/>
                </a:cubicBezTo>
                <a:cubicBezTo>
                  <a:pt x="6782" y="1160"/>
                  <a:pt x="6560" y="1384"/>
                  <a:pt x="6292" y="1384"/>
                </a:cubicBezTo>
                <a:cubicBezTo>
                  <a:pt x="6024" y="1384"/>
                  <a:pt x="5801" y="1160"/>
                  <a:pt x="5801" y="870"/>
                </a:cubicBezTo>
                <a:cubicBezTo>
                  <a:pt x="5801" y="603"/>
                  <a:pt x="6024" y="379"/>
                  <a:pt x="6292" y="379"/>
                </a:cubicBezTo>
                <a:close/>
                <a:moveTo>
                  <a:pt x="1138" y="2566"/>
                </a:moveTo>
                <a:lnTo>
                  <a:pt x="1138" y="2566"/>
                </a:lnTo>
                <a:cubicBezTo>
                  <a:pt x="1227" y="2566"/>
                  <a:pt x="1316" y="2588"/>
                  <a:pt x="1406" y="2610"/>
                </a:cubicBezTo>
                <a:cubicBezTo>
                  <a:pt x="960" y="2967"/>
                  <a:pt x="670" y="3391"/>
                  <a:pt x="580" y="3882"/>
                </a:cubicBezTo>
                <a:cubicBezTo>
                  <a:pt x="468" y="3726"/>
                  <a:pt x="402" y="3547"/>
                  <a:pt x="402" y="3347"/>
                </a:cubicBezTo>
                <a:cubicBezTo>
                  <a:pt x="402" y="2923"/>
                  <a:pt x="736" y="2566"/>
                  <a:pt x="1138" y="2566"/>
                </a:cubicBezTo>
                <a:close/>
                <a:moveTo>
                  <a:pt x="3927" y="6135"/>
                </a:moveTo>
                <a:lnTo>
                  <a:pt x="3927" y="6135"/>
                </a:lnTo>
                <a:cubicBezTo>
                  <a:pt x="2298" y="6135"/>
                  <a:pt x="960" y="5265"/>
                  <a:pt x="960" y="4172"/>
                </a:cubicBezTo>
                <a:cubicBezTo>
                  <a:pt x="960" y="3079"/>
                  <a:pt x="2298" y="2209"/>
                  <a:pt x="3927" y="2209"/>
                </a:cubicBezTo>
                <a:cubicBezTo>
                  <a:pt x="5555" y="2209"/>
                  <a:pt x="6894" y="3079"/>
                  <a:pt x="6894" y="4172"/>
                </a:cubicBezTo>
                <a:cubicBezTo>
                  <a:pt x="6894" y="5265"/>
                  <a:pt x="5555" y="6135"/>
                  <a:pt x="3927" y="6135"/>
                </a:cubicBezTo>
                <a:close/>
                <a:moveTo>
                  <a:pt x="7251" y="3837"/>
                </a:moveTo>
                <a:lnTo>
                  <a:pt x="7251" y="3837"/>
                </a:lnTo>
                <a:cubicBezTo>
                  <a:pt x="7161" y="3369"/>
                  <a:pt x="6871" y="2945"/>
                  <a:pt x="6447" y="2610"/>
                </a:cubicBezTo>
                <a:cubicBezTo>
                  <a:pt x="6515" y="2588"/>
                  <a:pt x="6582" y="2566"/>
                  <a:pt x="6671" y="2566"/>
                </a:cubicBezTo>
                <a:cubicBezTo>
                  <a:pt x="7072" y="2566"/>
                  <a:pt x="7407" y="2923"/>
                  <a:pt x="7407" y="3347"/>
                </a:cubicBezTo>
                <a:cubicBezTo>
                  <a:pt x="7407" y="3525"/>
                  <a:pt x="7340" y="3704"/>
                  <a:pt x="7251" y="3837"/>
                </a:cubicBezTo>
                <a:close/>
                <a:moveTo>
                  <a:pt x="7251" y="3837"/>
                </a:moveTo>
                <a:lnTo>
                  <a:pt x="7251" y="3837"/>
                </a:lnTo>
                <a:lnTo>
                  <a:pt x="7251" y="3837"/>
                </a:lnTo>
                <a:lnTo>
                  <a:pt x="5533" y="3770"/>
                </a:lnTo>
                <a:lnTo>
                  <a:pt x="5533" y="3770"/>
                </a:lnTo>
                <a:cubicBezTo>
                  <a:pt x="5533" y="4060"/>
                  <a:pt x="5287" y="4306"/>
                  <a:pt x="4997" y="4306"/>
                </a:cubicBezTo>
                <a:cubicBezTo>
                  <a:pt x="4708" y="4306"/>
                  <a:pt x="4484" y="4060"/>
                  <a:pt x="4484" y="3770"/>
                </a:cubicBezTo>
                <a:cubicBezTo>
                  <a:pt x="4484" y="3480"/>
                  <a:pt x="4708" y="3258"/>
                  <a:pt x="4997" y="3258"/>
                </a:cubicBezTo>
                <a:cubicBezTo>
                  <a:pt x="5287" y="3258"/>
                  <a:pt x="5533" y="3480"/>
                  <a:pt x="5533" y="3770"/>
                </a:cubicBezTo>
                <a:lnTo>
                  <a:pt x="7251" y="3837"/>
                </a:lnTo>
                <a:close/>
                <a:moveTo>
                  <a:pt x="5533" y="3770"/>
                </a:moveTo>
                <a:lnTo>
                  <a:pt x="5533" y="3770"/>
                </a:lnTo>
                <a:lnTo>
                  <a:pt x="5533" y="3770"/>
                </a:lnTo>
                <a:lnTo>
                  <a:pt x="4908" y="4953"/>
                </a:lnTo>
                <a:lnTo>
                  <a:pt x="4908" y="4953"/>
                </a:lnTo>
                <a:cubicBezTo>
                  <a:pt x="3815" y="5689"/>
                  <a:pt x="2900" y="4997"/>
                  <a:pt x="2856" y="4953"/>
                </a:cubicBezTo>
                <a:cubicBezTo>
                  <a:pt x="2789" y="4886"/>
                  <a:pt x="2655" y="4908"/>
                  <a:pt x="2588" y="4975"/>
                </a:cubicBezTo>
                <a:cubicBezTo>
                  <a:pt x="2521" y="5064"/>
                  <a:pt x="2544" y="5198"/>
                  <a:pt x="2610" y="5265"/>
                </a:cubicBezTo>
                <a:cubicBezTo>
                  <a:pt x="2633" y="5265"/>
                  <a:pt x="3146" y="5667"/>
                  <a:pt x="3882" y="5667"/>
                </a:cubicBezTo>
                <a:cubicBezTo>
                  <a:pt x="4261" y="5667"/>
                  <a:pt x="4685" y="5578"/>
                  <a:pt x="5132" y="5265"/>
                </a:cubicBezTo>
                <a:cubicBezTo>
                  <a:pt x="5221" y="5221"/>
                  <a:pt x="5243" y="5087"/>
                  <a:pt x="5198" y="4997"/>
                </a:cubicBezTo>
                <a:cubicBezTo>
                  <a:pt x="5132" y="4908"/>
                  <a:pt x="5020" y="4886"/>
                  <a:pt x="4908" y="4953"/>
                </a:cubicBezTo>
                <a:lnTo>
                  <a:pt x="5533" y="3770"/>
                </a:lnTo>
                <a:close/>
                <a:moveTo>
                  <a:pt x="4908" y="4953"/>
                </a:moveTo>
                <a:lnTo>
                  <a:pt x="4908" y="4953"/>
                </a:lnTo>
                <a:close/>
              </a:path>
            </a:pathLst>
          </a:custGeom>
          <a:solidFill>
            <a:schemeClr val="accent1"/>
          </a:solidFill>
          <a:ln>
            <a:noFill/>
          </a:ln>
          <a:effectLst/>
        </p:spPr>
        <p:txBody>
          <a:bodyPr wrap="none" anchor="ctr"/>
          <a:lstStyle/>
          <a:p>
            <a:endParaRPr lang="en-US"/>
          </a:p>
        </p:txBody>
      </p:sp>
      <p:sp>
        <p:nvSpPr>
          <p:cNvPr id="73" name="Freeform 9"/>
          <p:cNvSpPr>
            <a:spLocks noChangeArrowheads="1"/>
          </p:cNvSpPr>
          <p:nvPr/>
        </p:nvSpPr>
        <p:spPr bwMode="auto">
          <a:xfrm>
            <a:off x="5782514" y="5231481"/>
            <a:ext cx="604632" cy="391728"/>
          </a:xfrm>
          <a:custGeom>
            <a:avLst/>
            <a:gdLst>
              <a:gd name="T0" fmla="*/ 6336 w 6337"/>
              <a:gd name="T1" fmla="*/ 156 h 4106"/>
              <a:gd name="T2" fmla="*/ 6336 w 6337"/>
              <a:gd name="T3" fmla="*/ 156 h 4106"/>
              <a:gd name="T4" fmla="*/ 5778 w 6337"/>
              <a:gd name="T5" fmla="*/ 536 h 4106"/>
              <a:gd name="T6" fmla="*/ 4239 w 6337"/>
              <a:gd name="T7" fmla="*/ 4105 h 4106"/>
              <a:gd name="T8" fmla="*/ 4105 w 6337"/>
              <a:gd name="T9" fmla="*/ 4105 h 4106"/>
              <a:gd name="T10" fmla="*/ 3280 w 6337"/>
              <a:gd name="T11" fmla="*/ 2186 h 4106"/>
              <a:gd name="T12" fmla="*/ 2298 w 6337"/>
              <a:gd name="T13" fmla="*/ 4105 h 4106"/>
              <a:gd name="T14" fmla="*/ 2164 w 6337"/>
              <a:gd name="T15" fmla="*/ 4105 h 4106"/>
              <a:gd name="T16" fmla="*/ 736 w 6337"/>
              <a:gd name="T17" fmla="*/ 848 h 4106"/>
              <a:gd name="T18" fmla="*/ 0 w 6337"/>
              <a:gd name="T19" fmla="*/ 156 h 4106"/>
              <a:gd name="T20" fmla="*/ 0 w 6337"/>
              <a:gd name="T21" fmla="*/ 0 h 4106"/>
              <a:gd name="T22" fmla="*/ 1607 w 6337"/>
              <a:gd name="T23" fmla="*/ 0 h 4106"/>
              <a:gd name="T24" fmla="*/ 1584 w 6337"/>
              <a:gd name="T25" fmla="*/ 156 h 4106"/>
              <a:gd name="T26" fmla="*/ 1160 w 6337"/>
              <a:gd name="T27" fmla="*/ 491 h 4106"/>
              <a:gd name="T28" fmla="*/ 2410 w 6337"/>
              <a:gd name="T29" fmla="*/ 3346 h 4106"/>
              <a:gd name="T30" fmla="*/ 3146 w 6337"/>
              <a:gd name="T31" fmla="*/ 1919 h 4106"/>
              <a:gd name="T32" fmla="*/ 2432 w 6337"/>
              <a:gd name="T33" fmla="*/ 334 h 4106"/>
              <a:gd name="T34" fmla="*/ 1874 w 6337"/>
              <a:gd name="T35" fmla="*/ 156 h 4106"/>
              <a:gd name="T36" fmla="*/ 1874 w 6337"/>
              <a:gd name="T37" fmla="*/ 0 h 4106"/>
              <a:gd name="T38" fmla="*/ 3302 w 6337"/>
              <a:gd name="T39" fmla="*/ 22 h 4106"/>
              <a:gd name="T40" fmla="*/ 3302 w 6337"/>
              <a:gd name="T41" fmla="*/ 134 h 4106"/>
              <a:gd name="T42" fmla="*/ 3012 w 6337"/>
              <a:gd name="T43" fmla="*/ 402 h 4106"/>
              <a:gd name="T44" fmla="*/ 3481 w 6337"/>
              <a:gd name="T45" fmla="*/ 1450 h 4106"/>
              <a:gd name="T46" fmla="*/ 3949 w 6337"/>
              <a:gd name="T47" fmla="*/ 447 h 4106"/>
              <a:gd name="T48" fmla="*/ 3570 w 6337"/>
              <a:gd name="T49" fmla="*/ 156 h 4106"/>
              <a:gd name="T50" fmla="*/ 3570 w 6337"/>
              <a:gd name="T51" fmla="*/ 22 h 4106"/>
              <a:gd name="T52" fmla="*/ 4797 w 6337"/>
              <a:gd name="T53" fmla="*/ 22 h 4106"/>
              <a:gd name="T54" fmla="*/ 4797 w 6337"/>
              <a:gd name="T55" fmla="*/ 134 h 4106"/>
              <a:gd name="T56" fmla="*/ 4217 w 6337"/>
              <a:gd name="T57" fmla="*/ 447 h 4106"/>
              <a:gd name="T58" fmla="*/ 3637 w 6337"/>
              <a:gd name="T59" fmla="*/ 1673 h 4106"/>
              <a:gd name="T60" fmla="*/ 4328 w 6337"/>
              <a:gd name="T61" fmla="*/ 3235 h 4106"/>
              <a:gd name="T62" fmla="*/ 5533 w 6337"/>
              <a:gd name="T63" fmla="*/ 424 h 4106"/>
              <a:gd name="T64" fmla="*/ 5065 w 6337"/>
              <a:gd name="T65" fmla="*/ 156 h 4106"/>
              <a:gd name="T66" fmla="*/ 5065 w 6337"/>
              <a:gd name="T67" fmla="*/ 0 h 4106"/>
              <a:gd name="T68" fmla="*/ 6336 w 6337"/>
              <a:gd name="T69" fmla="*/ 22 h 4106"/>
              <a:gd name="T70" fmla="*/ 6336 w 6337"/>
              <a:gd name="T71" fmla="*/ 22 h 4106"/>
              <a:gd name="T72" fmla="*/ 6336 w 6337"/>
              <a:gd name="T73" fmla="*/ 156 h 4106"/>
              <a:gd name="T74" fmla="*/ 6336 w 6337"/>
              <a:gd name="T75" fmla="*/ 156 h 4106"/>
              <a:gd name="T76" fmla="*/ 6336 w 6337"/>
              <a:gd name="T77" fmla="*/ 156 h 4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37" h="4106">
                <a:moveTo>
                  <a:pt x="6336" y="156"/>
                </a:moveTo>
                <a:lnTo>
                  <a:pt x="6336" y="156"/>
                </a:lnTo>
                <a:cubicBezTo>
                  <a:pt x="6046" y="156"/>
                  <a:pt x="5868" y="312"/>
                  <a:pt x="5778" y="536"/>
                </a:cubicBezTo>
                <a:cubicBezTo>
                  <a:pt x="5533" y="1115"/>
                  <a:pt x="4752" y="2922"/>
                  <a:pt x="4239" y="4105"/>
                </a:cubicBezTo>
                <a:lnTo>
                  <a:pt x="4105" y="4105"/>
                </a:lnTo>
                <a:cubicBezTo>
                  <a:pt x="3280" y="2186"/>
                  <a:pt x="3280" y="2186"/>
                  <a:pt x="3280" y="2186"/>
                </a:cubicBezTo>
                <a:cubicBezTo>
                  <a:pt x="2967" y="2811"/>
                  <a:pt x="2610" y="3481"/>
                  <a:pt x="2298" y="4105"/>
                </a:cubicBezTo>
                <a:lnTo>
                  <a:pt x="2164" y="4105"/>
                </a:lnTo>
                <a:cubicBezTo>
                  <a:pt x="1696" y="3012"/>
                  <a:pt x="1205" y="1919"/>
                  <a:pt x="736" y="848"/>
                </a:cubicBezTo>
                <a:cubicBezTo>
                  <a:pt x="625" y="580"/>
                  <a:pt x="246" y="156"/>
                  <a:pt x="0" y="156"/>
                </a:cubicBezTo>
                <a:cubicBezTo>
                  <a:pt x="0" y="112"/>
                  <a:pt x="0" y="45"/>
                  <a:pt x="0" y="0"/>
                </a:cubicBezTo>
                <a:cubicBezTo>
                  <a:pt x="1607" y="0"/>
                  <a:pt x="1607" y="0"/>
                  <a:pt x="1607" y="0"/>
                </a:cubicBezTo>
                <a:cubicBezTo>
                  <a:pt x="1584" y="156"/>
                  <a:pt x="1584" y="156"/>
                  <a:pt x="1584" y="156"/>
                </a:cubicBezTo>
                <a:cubicBezTo>
                  <a:pt x="1406" y="156"/>
                  <a:pt x="1071" y="268"/>
                  <a:pt x="1160" y="491"/>
                </a:cubicBezTo>
                <a:cubicBezTo>
                  <a:pt x="1383" y="982"/>
                  <a:pt x="2186" y="2856"/>
                  <a:pt x="2410" y="3346"/>
                </a:cubicBezTo>
                <a:cubicBezTo>
                  <a:pt x="2566" y="3057"/>
                  <a:pt x="2989" y="2253"/>
                  <a:pt x="3146" y="1919"/>
                </a:cubicBezTo>
                <a:cubicBezTo>
                  <a:pt x="3012" y="1651"/>
                  <a:pt x="2566" y="602"/>
                  <a:pt x="2432" y="334"/>
                </a:cubicBezTo>
                <a:cubicBezTo>
                  <a:pt x="2343" y="179"/>
                  <a:pt x="2075" y="156"/>
                  <a:pt x="1874" y="156"/>
                </a:cubicBezTo>
                <a:cubicBezTo>
                  <a:pt x="1874" y="112"/>
                  <a:pt x="1874" y="67"/>
                  <a:pt x="1874" y="0"/>
                </a:cubicBezTo>
                <a:cubicBezTo>
                  <a:pt x="3302" y="22"/>
                  <a:pt x="3302" y="22"/>
                  <a:pt x="3302" y="22"/>
                </a:cubicBezTo>
                <a:cubicBezTo>
                  <a:pt x="3302" y="134"/>
                  <a:pt x="3302" y="134"/>
                  <a:pt x="3302" y="134"/>
                </a:cubicBezTo>
                <a:cubicBezTo>
                  <a:pt x="3102" y="156"/>
                  <a:pt x="2923" y="223"/>
                  <a:pt x="3012" y="402"/>
                </a:cubicBezTo>
                <a:cubicBezTo>
                  <a:pt x="3191" y="803"/>
                  <a:pt x="3302" y="1071"/>
                  <a:pt x="3481" y="1450"/>
                </a:cubicBezTo>
                <a:cubicBezTo>
                  <a:pt x="3525" y="1339"/>
                  <a:pt x="3815" y="758"/>
                  <a:pt x="3949" y="447"/>
                </a:cubicBezTo>
                <a:cubicBezTo>
                  <a:pt x="4038" y="245"/>
                  <a:pt x="3905" y="156"/>
                  <a:pt x="3570" y="156"/>
                </a:cubicBezTo>
                <a:cubicBezTo>
                  <a:pt x="3570" y="112"/>
                  <a:pt x="3570" y="45"/>
                  <a:pt x="3570" y="22"/>
                </a:cubicBezTo>
                <a:cubicBezTo>
                  <a:pt x="4797" y="22"/>
                  <a:pt x="4797" y="22"/>
                  <a:pt x="4797" y="22"/>
                </a:cubicBezTo>
                <a:cubicBezTo>
                  <a:pt x="4797" y="134"/>
                  <a:pt x="4797" y="134"/>
                  <a:pt x="4797" y="134"/>
                </a:cubicBezTo>
                <a:cubicBezTo>
                  <a:pt x="4574" y="156"/>
                  <a:pt x="4328" y="268"/>
                  <a:pt x="4217" y="447"/>
                </a:cubicBezTo>
                <a:cubicBezTo>
                  <a:pt x="3637" y="1673"/>
                  <a:pt x="3637" y="1673"/>
                  <a:pt x="3637" y="1673"/>
                </a:cubicBezTo>
                <a:cubicBezTo>
                  <a:pt x="3703" y="1829"/>
                  <a:pt x="4262" y="3079"/>
                  <a:pt x="4328" y="3235"/>
                </a:cubicBezTo>
                <a:cubicBezTo>
                  <a:pt x="5533" y="424"/>
                  <a:pt x="5533" y="424"/>
                  <a:pt x="5533" y="424"/>
                </a:cubicBezTo>
                <a:cubicBezTo>
                  <a:pt x="5444" y="201"/>
                  <a:pt x="5176" y="156"/>
                  <a:pt x="5065" y="156"/>
                </a:cubicBezTo>
                <a:cubicBezTo>
                  <a:pt x="5065" y="112"/>
                  <a:pt x="5065" y="45"/>
                  <a:pt x="5065" y="0"/>
                </a:cubicBezTo>
                <a:cubicBezTo>
                  <a:pt x="6336" y="22"/>
                  <a:pt x="6336" y="22"/>
                  <a:pt x="6336" y="22"/>
                </a:cubicBezTo>
                <a:lnTo>
                  <a:pt x="6336" y="22"/>
                </a:lnTo>
                <a:lnTo>
                  <a:pt x="6336" y="156"/>
                </a:lnTo>
                <a:close/>
                <a:moveTo>
                  <a:pt x="6336" y="156"/>
                </a:moveTo>
                <a:lnTo>
                  <a:pt x="6336" y="156"/>
                </a:lnTo>
                <a:close/>
              </a:path>
            </a:pathLst>
          </a:custGeom>
          <a:solidFill>
            <a:schemeClr val="accent1"/>
          </a:solidFill>
          <a:ln>
            <a:noFill/>
          </a:ln>
          <a:effectLst/>
        </p:spPr>
        <p:txBody>
          <a:bodyPr wrap="none" anchor="ctr"/>
          <a:lstStyle/>
          <a:p>
            <a:endParaRPr lang="en-US"/>
          </a:p>
        </p:txBody>
      </p:sp>
      <p:sp>
        <p:nvSpPr>
          <p:cNvPr id="74" name="Freeform 6"/>
          <p:cNvSpPr>
            <a:spLocks noChangeArrowheads="1"/>
          </p:cNvSpPr>
          <p:nvPr/>
        </p:nvSpPr>
        <p:spPr bwMode="auto">
          <a:xfrm>
            <a:off x="7054251" y="5185940"/>
            <a:ext cx="515088" cy="482810"/>
          </a:xfrm>
          <a:custGeom>
            <a:avLst/>
            <a:gdLst>
              <a:gd name="T0" fmla="*/ 2565 w 5065"/>
              <a:gd name="T1" fmla="*/ 0 h 4751"/>
              <a:gd name="T2" fmla="*/ 2565 w 5065"/>
              <a:gd name="T3" fmla="*/ 0 h 4751"/>
              <a:gd name="T4" fmla="*/ 2565 w 5065"/>
              <a:gd name="T5" fmla="*/ 0 h 4751"/>
              <a:gd name="T6" fmla="*/ 2565 w 5065"/>
              <a:gd name="T7" fmla="*/ 0 h 4751"/>
              <a:gd name="T8" fmla="*/ 2565 w 5065"/>
              <a:gd name="T9" fmla="*/ 0 h 4751"/>
              <a:gd name="T10" fmla="*/ 2476 w 5065"/>
              <a:gd name="T11" fmla="*/ 0 h 4751"/>
              <a:gd name="T12" fmla="*/ 1227 w 5065"/>
              <a:gd name="T13" fmla="*/ 803 h 4751"/>
              <a:gd name="T14" fmla="*/ 1160 w 5065"/>
              <a:gd name="T15" fmla="*/ 1828 h 4751"/>
              <a:gd name="T16" fmla="*/ 1160 w 5065"/>
              <a:gd name="T17" fmla="*/ 1940 h 4751"/>
              <a:gd name="T18" fmla="*/ 1071 w 5065"/>
              <a:gd name="T19" fmla="*/ 1962 h 4751"/>
              <a:gd name="T20" fmla="*/ 825 w 5065"/>
              <a:gd name="T21" fmla="*/ 1917 h 4751"/>
              <a:gd name="T22" fmla="*/ 758 w 5065"/>
              <a:gd name="T23" fmla="*/ 1895 h 4751"/>
              <a:gd name="T24" fmla="*/ 513 w 5065"/>
              <a:gd name="T25" fmla="*/ 2051 h 4751"/>
              <a:gd name="T26" fmla="*/ 758 w 5065"/>
              <a:gd name="T27" fmla="*/ 2341 h 4751"/>
              <a:gd name="T28" fmla="*/ 825 w 5065"/>
              <a:gd name="T29" fmla="*/ 2363 h 4751"/>
              <a:gd name="T30" fmla="*/ 1115 w 5065"/>
              <a:gd name="T31" fmla="*/ 2519 h 4751"/>
              <a:gd name="T32" fmla="*/ 1093 w 5065"/>
              <a:gd name="T33" fmla="*/ 2720 h 4751"/>
              <a:gd name="T34" fmla="*/ 1093 w 5065"/>
              <a:gd name="T35" fmla="*/ 2720 h 4751"/>
              <a:gd name="T36" fmla="*/ 89 w 5065"/>
              <a:gd name="T37" fmla="*/ 3568 h 4751"/>
              <a:gd name="T38" fmla="*/ 0 w 5065"/>
              <a:gd name="T39" fmla="*/ 3679 h 4751"/>
              <a:gd name="T40" fmla="*/ 0 w 5065"/>
              <a:gd name="T41" fmla="*/ 3724 h 4751"/>
              <a:gd name="T42" fmla="*/ 669 w 5065"/>
              <a:gd name="T43" fmla="*/ 3992 h 4751"/>
              <a:gd name="T44" fmla="*/ 714 w 5065"/>
              <a:gd name="T45" fmla="*/ 4126 h 4751"/>
              <a:gd name="T46" fmla="*/ 736 w 5065"/>
              <a:gd name="T47" fmla="*/ 4237 h 4751"/>
              <a:gd name="T48" fmla="*/ 847 w 5065"/>
              <a:gd name="T49" fmla="*/ 4326 h 4751"/>
              <a:gd name="T50" fmla="*/ 981 w 5065"/>
              <a:gd name="T51" fmla="*/ 4304 h 4751"/>
              <a:gd name="T52" fmla="*/ 1249 w 5065"/>
              <a:gd name="T53" fmla="*/ 4282 h 4751"/>
              <a:gd name="T54" fmla="*/ 1427 w 5065"/>
              <a:gd name="T55" fmla="*/ 4304 h 4751"/>
              <a:gd name="T56" fmla="*/ 1807 w 5065"/>
              <a:gd name="T57" fmla="*/ 4483 h 4751"/>
              <a:gd name="T58" fmla="*/ 2498 w 5065"/>
              <a:gd name="T59" fmla="*/ 4750 h 4751"/>
              <a:gd name="T60" fmla="*/ 2521 w 5065"/>
              <a:gd name="T61" fmla="*/ 4750 h 4751"/>
              <a:gd name="T62" fmla="*/ 2565 w 5065"/>
              <a:gd name="T63" fmla="*/ 4750 h 4751"/>
              <a:gd name="T64" fmla="*/ 3257 w 5065"/>
              <a:gd name="T65" fmla="*/ 4483 h 4751"/>
              <a:gd name="T66" fmla="*/ 3614 w 5065"/>
              <a:gd name="T67" fmla="*/ 4304 h 4751"/>
              <a:gd name="T68" fmla="*/ 3815 w 5065"/>
              <a:gd name="T69" fmla="*/ 4282 h 4751"/>
              <a:gd name="T70" fmla="*/ 4083 w 5065"/>
              <a:gd name="T71" fmla="*/ 4304 h 4751"/>
              <a:gd name="T72" fmla="*/ 4194 w 5065"/>
              <a:gd name="T73" fmla="*/ 4326 h 4751"/>
              <a:gd name="T74" fmla="*/ 4194 w 5065"/>
              <a:gd name="T75" fmla="*/ 4326 h 4751"/>
              <a:gd name="T76" fmla="*/ 4194 w 5065"/>
              <a:gd name="T77" fmla="*/ 4326 h 4751"/>
              <a:gd name="T78" fmla="*/ 4305 w 5065"/>
              <a:gd name="T79" fmla="*/ 4237 h 4751"/>
              <a:gd name="T80" fmla="*/ 4350 w 5065"/>
              <a:gd name="T81" fmla="*/ 4126 h 4751"/>
              <a:gd name="T82" fmla="*/ 4372 w 5065"/>
              <a:gd name="T83" fmla="*/ 3992 h 4751"/>
              <a:gd name="T84" fmla="*/ 5041 w 5065"/>
              <a:gd name="T85" fmla="*/ 3724 h 4751"/>
              <a:gd name="T86" fmla="*/ 5064 w 5065"/>
              <a:gd name="T87" fmla="*/ 3679 h 4751"/>
              <a:gd name="T88" fmla="*/ 4975 w 5065"/>
              <a:gd name="T89" fmla="*/ 3568 h 4751"/>
              <a:gd name="T90" fmla="*/ 3948 w 5065"/>
              <a:gd name="T91" fmla="*/ 2720 h 4751"/>
              <a:gd name="T92" fmla="*/ 3948 w 5065"/>
              <a:gd name="T93" fmla="*/ 2720 h 4751"/>
              <a:gd name="T94" fmla="*/ 3926 w 5065"/>
              <a:gd name="T95" fmla="*/ 2519 h 4751"/>
              <a:gd name="T96" fmla="*/ 4216 w 5065"/>
              <a:gd name="T97" fmla="*/ 2363 h 4751"/>
              <a:gd name="T98" fmla="*/ 4283 w 5065"/>
              <a:gd name="T99" fmla="*/ 2341 h 4751"/>
              <a:gd name="T100" fmla="*/ 4551 w 5065"/>
              <a:gd name="T101" fmla="*/ 2095 h 4751"/>
              <a:gd name="T102" fmla="*/ 4395 w 5065"/>
              <a:gd name="T103" fmla="*/ 1917 h 4751"/>
              <a:gd name="T104" fmla="*/ 4395 w 5065"/>
              <a:gd name="T105" fmla="*/ 1917 h 4751"/>
              <a:gd name="T106" fmla="*/ 4283 w 5065"/>
              <a:gd name="T107" fmla="*/ 1895 h 4751"/>
              <a:gd name="T108" fmla="*/ 4194 w 5065"/>
              <a:gd name="T109" fmla="*/ 1917 h 4751"/>
              <a:gd name="T110" fmla="*/ 3970 w 5065"/>
              <a:gd name="T111" fmla="*/ 1962 h 4751"/>
              <a:gd name="T112" fmla="*/ 3881 w 5065"/>
              <a:gd name="T113" fmla="*/ 1940 h 4751"/>
              <a:gd name="T114" fmla="*/ 3881 w 5065"/>
              <a:gd name="T115" fmla="*/ 1850 h 4751"/>
              <a:gd name="T116" fmla="*/ 3881 w 5065"/>
              <a:gd name="T117" fmla="*/ 1828 h 4751"/>
              <a:gd name="T118" fmla="*/ 3815 w 5065"/>
              <a:gd name="T119" fmla="*/ 803 h 4751"/>
              <a:gd name="T120" fmla="*/ 2565 w 5065"/>
              <a:gd name="T121" fmla="*/ 0 h 4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65" h="4751">
                <a:moveTo>
                  <a:pt x="2565" y="0"/>
                </a:moveTo>
                <a:lnTo>
                  <a:pt x="2565" y="0"/>
                </a:lnTo>
                <a:lnTo>
                  <a:pt x="2565" y="0"/>
                </a:lnTo>
                <a:lnTo>
                  <a:pt x="2565" y="0"/>
                </a:lnTo>
                <a:lnTo>
                  <a:pt x="2565" y="0"/>
                </a:lnTo>
                <a:lnTo>
                  <a:pt x="2476" y="0"/>
                </a:lnTo>
                <a:cubicBezTo>
                  <a:pt x="2253" y="0"/>
                  <a:pt x="1561" y="44"/>
                  <a:pt x="1227" y="803"/>
                </a:cubicBezTo>
                <a:cubicBezTo>
                  <a:pt x="1115" y="1048"/>
                  <a:pt x="1138" y="1493"/>
                  <a:pt x="1160" y="1828"/>
                </a:cubicBezTo>
                <a:cubicBezTo>
                  <a:pt x="1160" y="1873"/>
                  <a:pt x="1160" y="1917"/>
                  <a:pt x="1160" y="1940"/>
                </a:cubicBezTo>
                <a:cubicBezTo>
                  <a:pt x="1138" y="1962"/>
                  <a:pt x="1115" y="1962"/>
                  <a:pt x="1071" y="1962"/>
                </a:cubicBezTo>
                <a:cubicBezTo>
                  <a:pt x="1003" y="1962"/>
                  <a:pt x="914" y="1940"/>
                  <a:pt x="825" y="1917"/>
                </a:cubicBezTo>
                <a:cubicBezTo>
                  <a:pt x="803" y="1895"/>
                  <a:pt x="781" y="1895"/>
                  <a:pt x="758" y="1895"/>
                </a:cubicBezTo>
                <a:cubicBezTo>
                  <a:pt x="646" y="1895"/>
                  <a:pt x="535" y="1962"/>
                  <a:pt x="513" y="2051"/>
                </a:cubicBezTo>
                <a:cubicBezTo>
                  <a:pt x="490" y="2140"/>
                  <a:pt x="535" y="2230"/>
                  <a:pt x="758" y="2341"/>
                </a:cubicBezTo>
                <a:cubicBezTo>
                  <a:pt x="781" y="2341"/>
                  <a:pt x="803" y="2341"/>
                  <a:pt x="825" y="2363"/>
                </a:cubicBezTo>
                <a:cubicBezTo>
                  <a:pt x="936" y="2386"/>
                  <a:pt x="1071" y="2430"/>
                  <a:pt x="1115" y="2519"/>
                </a:cubicBezTo>
                <a:cubicBezTo>
                  <a:pt x="1138" y="2586"/>
                  <a:pt x="1138" y="2631"/>
                  <a:pt x="1093" y="2720"/>
                </a:cubicBezTo>
                <a:lnTo>
                  <a:pt x="1093" y="2720"/>
                </a:lnTo>
                <a:cubicBezTo>
                  <a:pt x="1071" y="2743"/>
                  <a:pt x="758" y="3457"/>
                  <a:pt x="89" y="3568"/>
                </a:cubicBezTo>
                <a:cubicBezTo>
                  <a:pt x="22" y="3568"/>
                  <a:pt x="0" y="3635"/>
                  <a:pt x="0" y="3679"/>
                </a:cubicBezTo>
                <a:cubicBezTo>
                  <a:pt x="0" y="3702"/>
                  <a:pt x="0" y="3702"/>
                  <a:pt x="0" y="3724"/>
                </a:cubicBezTo>
                <a:cubicBezTo>
                  <a:pt x="44" y="3836"/>
                  <a:pt x="267" y="3925"/>
                  <a:pt x="669" y="3992"/>
                </a:cubicBezTo>
                <a:cubicBezTo>
                  <a:pt x="691" y="4014"/>
                  <a:pt x="691" y="4081"/>
                  <a:pt x="714" y="4126"/>
                </a:cubicBezTo>
                <a:cubicBezTo>
                  <a:pt x="714" y="4148"/>
                  <a:pt x="714" y="4193"/>
                  <a:pt x="736" y="4237"/>
                </a:cubicBezTo>
                <a:cubicBezTo>
                  <a:pt x="736" y="4282"/>
                  <a:pt x="781" y="4326"/>
                  <a:pt x="847" y="4326"/>
                </a:cubicBezTo>
                <a:cubicBezTo>
                  <a:pt x="892" y="4326"/>
                  <a:pt x="936" y="4326"/>
                  <a:pt x="981" y="4304"/>
                </a:cubicBezTo>
                <a:cubicBezTo>
                  <a:pt x="1048" y="4304"/>
                  <a:pt x="1138" y="4282"/>
                  <a:pt x="1249" y="4282"/>
                </a:cubicBezTo>
                <a:cubicBezTo>
                  <a:pt x="1293" y="4282"/>
                  <a:pt x="1360" y="4282"/>
                  <a:pt x="1427" y="4304"/>
                </a:cubicBezTo>
                <a:cubicBezTo>
                  <a:pt x="1561" y="4326"/>
                  <a:pt x="1673" y="4393"/>
                  <a:pt x="1807" y="4483"/>
                </a:cubicBezTo>
                <a:cubicBezTo>
                  <a:pt x="1985" y="4617"/>
                  <a:pt x="2186" y="4750"/>
                  <a:pt x="2498" y="4750"/>
                </a:cubicBezTo>
                <a:cubicBezTo>
                  <a:pt x="2498" y="4750"/>
                  <a:pt x="2498" y="4750"/>
                  <a:pt x="2521" y="4750"/>
                </a:cubicBezTo>
                <a:cubicBezTo>
                  <a:pt x="2521" y="4750"/>
                  <a:pt x="2543" y="4750"/>
                  <a:pt x="2565" y="4750"/>
                </a:cubicBezTo>
                <a:cubicBezTo>
                  <a:pt x="2855" y="4750"/>
                  <a:pt x="3078" y="4617"/>
                  <a:pt x="3257" y="4483"/>
                </a:cubicBezTo>
                <a:cubicBezTo>
                  <a:pt x="3369" y="4393"/>
                  <a:pt x="3480" y="4326"/>
                  <a:pt x="3614" y="4304"/>
                </a:cubicBezTo>
                <a:cubicBezTo>
                  <a:pt x="3681" y="4282"/>
                  <a:pt x="3748" y="4282"/>
                  <a:pt x="3815" y="4282"/>
                </a:cubicBezTo>
                <a:cubicBezTo>
                  <a:pt x="3904" y="4282"/>
                  <a:pt x="3993" y="4282"/>
                  <a:pt x="4083" y="4304"/>
                </a:cubicBezTo>
                <a:cubicBezTo>
                  <a:pt x="4127" y="4326"/>
                  <a:pt x="4172" y="4326"/>
                  <a:pt x="4194" y="4326"/>
                </a:cubicBezTo>
                <a:lnTo>
                  <a:pt x="4194" y="4326"/>
                </a:lnTo>
                <a:lnTo>
                  <a:pt x="4194" y="4326"/>
                </a:lnTo>
                <a:cubicBezTo>
                  <a:pt x="4261" y="4326"/>
                  <a:pt x="4305" y="4282"/>
                  <a:pt x="4305" y="4237"/>
                </a:cubicBezTo>
                <a:cubicBezTo>
                  <a:pt x="4327" y="4193"/>
                  <a:pt x="4327" y="4148"/>
                  <a:pt x="4350" y="4126"/>
                </a:cubicBezTo>
                <a:cubicBezTo>
                  <a:pt x="4350" y="4081"/>
                  <a:pt x="4372" y="4014"/>
                  <a:pt x="4372" y="3992"/>
                </a:cubicBezTo>
                <a:cubicBezTo>
                  <a:pt x="4774" y="3925"/>
                  <a:pt x="4997" y="3836"/>
                  <a:pt x="5041" y="3724"/>
                </a:cubicBezTo>
                <a:cubicBezTo>
                  <a:pt x="5041" y="3702"/>
                  <a:pt x="5064" y="3702"/>
                  <a:pt x="5064" y="3679"/>
                </a:cubicBezTo>
                <a:cubicBezTo>
                  <a:pt x="5064" y="3635"/>
                  <a:pt x="5019" y="3568"/>
                  <a:pt x="4975" y="3568"/>
                </a:cubicBezTo>
                <a:cubicBezTo>
                  <a:pt x="4283" y="3457"/>
                  <a:pt x="3970" y="2743"/>
                  <a:pt x="3948" y="2720"/>
                </a:cubicBezTo>
                <a:lnTo>
                  <a:pt x="3948" y="2720"/>
                </a:lnTo>
                <a:cubicBezTo>
                  <a:pt x="3926" y="2631"/>
                  <a:pt x="3904" y="2586"/>
                  <a:pt x="3926" y="2519"/>
                </a:cubicBezTo>
                <a:cubicBezTo>
                  <a:pt x="3970" y="2430"/>
                  <a:pt x="4105" y="2386"/>
                  <a:pt x="4216" y="2363"/>
                </a:cubicBezTo>
                <a:cubicBezTo>
                  <a:pt x="4238" y="2341"/>
                  <a:pt x="4261" y="2341"/>
                  <a:pt x="4283" y="2341"/>
                </a:cubicBezTo>
                <a:cubicBezTo>
                  <a:pt x="4462" y="2274"/>
                  <a:pt x="4551" y="2185"/>
                  <a:pt x="4551" y="2095"/>
                </a:cubicBezTo>
                <a:cubicBezTo>
                  <a:pt x="4551" y="2006"/>
                  <a:pt x="4484" y="1940"/>
                  <a:pt x="4395" y="1917"/>
                </a:cubicBezTo>
                <a:lnTo>
                  <a:pt x="4395" y="1917"/>
                </a:lnTo>
                <a:cubicBezTo>
                  <a:pt x="4350" y="1895"/>
                  <a:pt x="4327" y="1895"/>
                  <a:pt x="4283" y="1895"/>
                </a:cubicBezTo>
                <a:cubicBezTo>
                  <a:pt x="4261" y="1895"/>
                  <a:pt x="4216" y="1895"/>
                  <a:pt x="4194" y="1917"/>
                </a:cubicBezTo>
                <a:cubicBezTo>
                  <a:pt x="4105" y="1940"/>
                  <a:pt x="4038" y="1962"/>
                  <a:pt x="3970" y="1962"/>
                </a:cubicBezTo>
                <a:cubicBezTo>
                  <a:pt x="3926" y="1962"/>
                  <a:pt x="3904" y="1962"/>
                  <a:pt x="3881" y="1940"/>
                </a:cubicBezTo>
                <a:cubicBezTo>
                  <a:pt x="3881" y="1917"/>
                  <a:pt x="3881" y="1873"/>
                  <a:pt x="3881" y="1850"/>
                </a:cubicBezTo>
                <a:cubicBezTo>
                  <a:pt x="3881" y="1828"/>
                  <a:pt x="3881" y="1828"/>
                  <a:pt x="3881" y="1828"/>
                </a:cubicBezTo>
                <a:cubicBezTo>
                  <a:pt x="3904" y="1493"/>
                  <a:pt x="3948" y="1048"/>
                  <a:pt x="3815" y="803"/>
                </a:cubicBezTo>
                <a:cubicBezTo>
                  <a:pt x="3502" y="44"/>
                  <a:pt x="2788" y="0"/>
                  <a:pt x="2565" y="0"/>
                </a:cubicBezTo>
              </a:path>
            </a:pathLst>
          </a:custGeom>
          <a:solidFill>
            <a:schemeClr val="accent1"/>
          </a:solidFill>
          <a:ln>
            <a:noFill/>
          </a:ln>
          <a:effectLst/>
        </p:spPr>
        <p:txBody>
          <a:bodyPr wrap="none" anchor="ctr"/>
          <a:lstStyle/>
          <a:p>
            <a:endParaRPr lang="en-US"/>
          </a:p>
        </p:txBody>
      </p:sp>
      <p:sp>
        <p:nvSpPr>
          <p:cNvPr id="76" name="Freeform 7"/>
          <p:cNvSpPr>
            <a:spLocks noChangeArrowheads="1"/>
          </p:cNvSpPr>
          <p:nvPr/>
        </p:nvSpPr>
        <p:spPr bwMode="auto">
          <a:xfrm>
            <a:off x="9466538" y="5306436"/>
            <a:ext cx="545398" cy="241818"/>
          </a:xfrm>
          <a:custGeom>
            <a:avLst/>
            <a:gdLst>
              <a:gd name="T0" fmla="*/ 915 w 4129"/>
              <a:gd name="T1" fmla="*/ 1829 h 1830"/>
              <a:gd name="T2" fmla="*/ 915 w 4129"/>
              <a:gd name="T3" fmla="*/ 1829 h 1830"/>
              <a:gd name="T4" fmla="*/ 0 w 4129"/>
              <a:gd name="T5" fmla="*/ 914 h 1830"/>
              <a:gd name="T6" fmla="*/ 915 w 4129"/>
              <a:gd name="T7" fmla="*/ 0 h 1830"/>
              <a:gd name="T8" fmla="*/ 1830 w 4129"/>
              <a:gd name="T9" fmla="*/ 914 h 1830"/>
              <a:gd name="T10" fmla="*/ 915 w 4129"/>
              <a:gd name="T11" fmla="*/ 1829 h 1830"/>
              <a:gd name="T12" fmla="*/ 3213 w 4129"/>
              <a:gd name="T13" fmla="*/ 1829 h 1830"/>
              <a:gd name="T14" fmla="*/ 3213 w 4129"/>
              <a:gd name="T15" fmla="*/ 1829 h 1830"/>
              <a:gd name="T16" fmla="*/ 2298 w 4129"/>
              <a:gd name="T17" fmla="*/ 914 h 1830"/>
              <a:gd name="T18" fmla="*/ 3213 w 4129"/>
              <a:gd name="T19" fmla="*/ 0 h 1830"/>
              <a:gd name="T20" fmla="*/ 4128 w 4129"/>
              <a:gd name="T21" fmla="*/ 914 h 1830"/>
              <a:gd name="T22" fmla="*/ 3213 w 4129"/>
              <a:gd name="T23" fmla="*/ 1829 h 1830"/>
              <a:gd name="T24" fmla="*/ 3213 w 4129"/>
              <a:gd name="T25" fmla="*/ 1829 h 1830"/>
              <a:gd name="T26" fmla="*/ 3213 w 4129"/>
              <a:gd name="T27" fmla="*/ 1829 h 1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29" h="1830">
                <a:moveTo>
                  <a:pt x="915" y="1829"/>
                </a:moveTo>
                <a:lnTo>
                  <a:pt x="915" y="1829"/>
                </a:lnTo>
                <a:cubicBezTo>
                  <a:pt x="424" y="1829"/>
                  <a:pt x="0" y="1428"/>
                  <a:pt x="0" y="914"/>
                </a:cubicBezTo>
                <a:cubicBezTo>
                  <a:pt x="0" y="401"/>
                  <a:pt x="424" y="0"/>
                  <a:pt x="915" y="0"/>
                </a:cubicBezTo>
                <a:cubicBezTo>
                  <a:pt x="1428" y="0"/>
                  <a:pt x="1830" y="401"/>
                  <a:pt x="1830" y="914"/>
                </a:cubicBezTo>
                <a:cubicBezTo>
                  <a:pt x="1830" y="1428"/>
                  <a:pt x="1428" y="1829"/>
                  <a:pt x="915" y="1829"/>
                </a:cubicBezTo>
                <a:close/>
                <a:moveTo>
                  <a:pt x="3213" y="1829"/>
                </a:moveTo>
                <a:lnTo>
                  <a:pt x="3213" y="1829"/>
                </a:lnTo>
                <a:cubicBezTo>
                  <a:pt x="2700" y="1829"/>
                  <a:pt x="2298" y="1428"/>
                  <a:pt x="2298" y="914"/>
                </a:cubicBezTo>
                <a:cubicBezTo>
                  <a:pt x="2298" y="401"/>
                  <a:pt x="2700" y="0"/>
                  <a:pt x="3213" y="0"/>
                </a:cubicBezTo>
                <a:cubicBezTo>
                  <a:pt x="3726" y="0"/>
                  <a:pt x="4128" y="401"/>
                  <a:pt x="4128" y="914"/>
                </a:cubicBezTo>
                <a:cubicBezTo>
                  <a:pt x="4128" y="1428"/>
                  <a:pt x="3726" y="1829"/>
                  <a:pt x="3213" y="1829"/>
                </a:cubicBezTo>
                <a:close/>
                <a:moveTo>
                  <a:pt x="3213" y="1829"/>
                </a:moveTo>
                <a:lnTo>
                  <a:pt x="3213" y="1829"/>
                </a:lnTo>
                <a:close/>
              </a:path>
            </a:pathLst>
          </a:custGeom>
          <a:solidFill>
            <a:schemeClr val="accent1"/>
          </a:solidFill>
          <a:ln>
            <a:noFill/>
          </a:ln>
          <a:effectLst/>
        </p:spPr>
        <p:txBody>
          <a:bodyPr wrap="none" anchor="ctr"/>
          <a:lstStyle/>
          <a:p>
            <a:endParaRPr lang="en-US"/>
          </a:p>
        </p:txBody>
      </p:sp>
      <p:sp>
        <p:nvSpPr>
          <p:cNvPr id="77" name="TextBox 76"/>
          <p:cNvSpPr txBox="1"/>
          <p:nvPr/>
        </p:nvSpPr>
        <p:spPr>
          <a:xfrm>
            <a:off x="5622926" y="5772368"/>
            <a:ext cx="969264" cy="138499"/>
          </a:xfrm>
          <a:prstGeom prst="rect">
            <a:avLst/>
          </a:prstGeom>
          <a:noFill/>
        </p:spPr>
        <p:txBody>
          <a:bodyPr wrap="none" lIns="0" tIns="0" rIns="0" bIns="0" rtlCol="0">
            <a:noAutofit/>
          </a:bodyPr>
          <a:lstStyle/>
          <a:p>
            <a:pPr lvl="0" algn="ctr"/>
            <a:r>
              <a:rPr lang="en-US" sz="1000" b="1">
                <a:latin typeface="Tw Cen MT" panose="020B0602020104020603" pitchFamily="34" charset="77"/>
              </a:rPr>
              <a:t>Wikipedia</a:t>
            </a:r>
          </a:p>
        </p:txBody>
      </p:sp>
      <p:sp>
        <p:nvSpPr>
          <p:cNvPr id="64" name="Oval 63"/>
          <p:cNvSpPr/>
          <p:nvPr/>
        </p:nvSpPr>
        <p:spPr>
          <a:xfrm>
            <a:off x="8035543" y="4003412"/>
            <a:ext cx="967850" cy="967850"/>
          </a:xfrm>
          <a:prstGeom prst="ellipse">
            <a:avLst/>
          </a:prstGeom>
          <a:solidFill>
            <a:schemeClr val="accent1"/>
          </a:solidFill>
          <a:ln w="76200">
            <a:no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a:p>
        </p:txBody>
      </p:sp>
      <p:sp>
        <p:nvSpPr>
          <p:cNvPr id="80" name="Freeform 5">
            <a:extLst>
              <a:ext uri="{FF2B5EF4-FFF2-40B4-BE49-F238E27FC236}">
                <a16:creationId xmlns:a16="http://schemas.microsoft.com/office/drawing/2014/main" id="{E41481AC-CCFE-49BB-9F49-8D0872758494}"/>
              </a:ext>
            </a:extLst>
          </p:cNvPr>
          <p:cNvSpPr>
            <a:spLocks noEditPoints="1"/>
          </p:cNvSpPr>
          <p:nvPr/>
        </p:nvSpPr>
        <p:spPr bwMode="auto">
          <a:xfrm>
            <a:off x="8276894" y="4230474"/>
            <a:ext cx="511899" cy="513727"/>
          </a:xfrm>
          <a:custGeom>
            <a:avLst/>
            <a:gdLst>
              <a:gd name="T0" fmla="*/ 1376 w 1556"/>
              <a:gd name="T1" fmla="*/ 1271 h 1563"/>
              <a:gd name="T2" fmla="*/ 1463 w 1556"/>
              <a:gd name="T3" fmla="*/ 1143 h 1563"/>
              <a:gd name="T4" fmla="*/ 1483 w 1556"/>
              <a:gd name="T5" fmla="*/ 1102 h 1563"/>
              <a:gd name="T6" fmla="*/ 1505 w 1556"/>
              <a:gd name="T7" fmla="*/ 1052 h 1563"/>
              <a:gd name="T8" fmla="*/ 1521 w 1556"/>
              <a:gd name="T9" fmla="*/ 1006 h 1563"/>
              <a:gd name="T10" fmla="*/ 1535 w 1556"/>
              <a:gd name="T11" fmla="*/ 953 h 1563"/>
              <a:gd name="T12" fmla="*/ 1545 w 1556"/>
              <a:gd name="T13" fmla="*/ 904 h 1563"/>
              <a:gd name="T14" fmla="*/ 1553 w 1556"/>
              <a:gd name="T15" fmla="*/ 849 h 1563"/>
              <a:gd name="T16" fmla="*/ 1556 w 1556"/>
              <a:gd name="T17" fmla="*/ 798 h 1563"/>
              <a:gd name="T18" fmla="*/ 1555 w 1556"/>
              <a:gd name="T19" fmla="*/ 740 h 1563"/>
              <a:gd name="T20" fmla="*/ 1551 w 1556"/>
              <a:gd name="T21" fmla="*/ 688 h 1563"/>
              <a:gd name="T22" fmla="*/ 1546 w 1556"/>
              <a:gd name="T23" fmla="*/ 645 h 1563"/>
              <a:gd name="T24" fmla="*/ 1398 w 1556"/>
              <a:gd name="T25" fmla="*/ 305 h 1563"/>
              <a:gd name="T26" fmla="*/ 1369 w 1556"/>
              <a:gd name="T27" fmla="*/ 269 h 1563"/>
              <a:gd name="T28" fmla="*/ 1330 w 1556"/>
              <a:gd name="T29" fmla="*/ 228 h 1563"/>
              <a:gd name="T30" fmla="*/ 1287 w 1556"/>
              <a:gd name="T31" fmla="*/ 188 h 1563"/>
              <a:gd name="T32" fmla="*/ 1245 w 1556"/>
              <a:gd name="T33" fmla="*/ 154 h 1563"/>
              <a:gd name="T34" fmla="*/ 1165 w 1556"/>
              <a:gd name="T35" fmla="*/ 101 h 1563"/>
              <a:gd name="T36" fmla="*/ 1120 w 1556"/>
              <a:gd name="T37" fmla="*/ 77 h 1563"/>
              <a:gd name="T38" fmla="*/ 1068 w 1556"/>
              <a:gd name="T39" fmla="*/ 54 h 1563"/>
              <a:gd name="T40" fmla="*/ 1016 w 1556"/>
              <a:gd name="T41" fmla="*/ 36 h 1563"/>
              <a:gd name="T42" fmla="*/ 961 w 1556"/>
              <a:gd name="T43" fmla="*/ 21 h 1563"/>
              <a:gd name="T44" fmla="*/ 906 w 1556"/>
              <a:gd name="T45" fmla="*/ 10 h 1563"/>
              <a:gd name="T46" fmla="*/ 850 w 1556"/>
              <a:gd name="T47" fmla="*/ 3 h 1563"/>
              <a:gd name="T48" fmla="*/ 782 w 1556"/>
              <a:gd name="T49" fmla="*/ 0 h 1563"/>
              <a:gd name="T50" fmla="*/ 7 w 1556"/>
              <a:gd name="T51" fmla="*/ 774 h 1563"/>
              <a:gd name="T52" fmla="*/ 0 w 1556"/>
              <a:gd name="T53" fmla="*/ 1563 h 1563"/>
              <a:gd name="T54" fmla="*/ 781 w 1556"/>
              <a:gd name="T55" fmla="*/ 1550 h 1563"/>
              <a:gd name="T56" fmla="*/ 811 w 1556"/>
              <a:gd name="T57" fmla="*/ 1549 h 1563"/>
              <a:gd name="T58" fmla="*/ 868 w 1556"/>
              <a:gd name="T59" fmla="*/ 1545 h 1563"/>
              <a:gd name="T60" fmla="*/ 921 w 1556"/>
              <a:gd name="T61" fmla="*/ 1537 h 1563"/>
              <a:gd name="T62" fmla="*/ 972 w 1556"/>
              <a:gd name="T63" fmla="*/ 1526 h 1563"/>
              <a:gd name="T64" fmla="*/ 1022 w 1556"/>
              <a:gd name="T65" fmla="*/ 1511 h 1563"/>
              <a:gd name="T66" fmla="*/ 1071 w 1556"/>
              <a:gd name="T67" fmla="*/ 1494 h 1563"/>
              <a:gd name="T68" fmla="*/ 1118 w 1556"/>
              <a:gd name="T69" fmla="*/ 1472 h 1563"/>
              <a:gd name="T70" fmla="*/ 1163 w 1556"/>
              <a:gd name="T71" fmla="*/ 1449 h 1563"/>
              <a:gd name="T72" fmla="*/ 1207 w 1556"/>
              <a:gd name="T73" fmla="*/ 1422 h 1563"/>
              <a:gd name="T74" fmla="*/ 1248 w 1556"/>
              <a:gd name="T75" fmla="*/ 1393 h 1563"/>
              <a:gd name="T76" fmla="*/ 1289 w 1556"/>
              <a:gd name="T77" fmla="*/ 1360 h 1563"/>
              <a:gd name="T78" fmla="*/ 1324 w 1556"/>
              <a:gd name="T79" fmla="*/ 1327 h 1563"/>
              <a:gd name="T80" fmla="*/ 781 w 1556"/>
              <a:gd name="T81" fmla="*/ 1405 h 1563"/>
              <a:gd name="T82" fmla="*/ 722 w 1556"/>
              <a:gd name="T83" fmla="*/ 1402 h 1563"/>
              <a:gd name="T84" fmla="*/ 241 w 1556"/>
              <a:gd name="T85" fmla="*/ 1165 h 1563"/>
              <a:gd name="T86" fmla="*/ 137 w 1556"/>
              <a:gd name="T87" fmla="*/ 760 h 1563"/>
              <a:gd name="T88" fmla="*/ 820 w 1556"/>
              <a:gd name="T89" fmla="*/ 118 h 1563"/>
              <a:gd name="T90" fmla="*/ 881 w 1556"/>
              <a:gd name="T91" fmla="*/ 124 h 1563"/>
              <a:gd name="T92" fmla="*/ 957 w 1556"/>
              <a:gd name="T93" fmla="*/ 141 h 1563"/>
              <a:gd name="T94" fmla="*/ 995 w 1556"/>
              <a:gd name="T95" fmla="*/ 153 h 1563"/>
              <a:gd name="T96" fmla="*/ 1116 w 1556"/>
              <a:gd name="T97" fmla="*/ 210 h 1563"/>
              <a:gd name="T98" fmla="*/ 1149 w 1556"/>
              <a:gd name="T99" fmla="*/ 232 h 1563"/>
              <a:gd name="T100" fmla="*/ 1210 w 1556"/>
              <a:gd name="T101" fmla="*/ 280 h 1563"/>
              <a:gd name="T102" fmla="*/ 1262 w 1556"/>
              <a:gd name="T103" fmla="*/ 332 h 1563"/>
              <a:gd name="T104" fmla="*/ 1423 w 1556"/>
              <a:gd name="T105" fmla="*/ 709 h 1563"/>
              <a:gd name="T106" fmla="*/ 1425 w 1556"/>
              <a:gd name="T107" fmla="*/ 763 h 1563"/>
              <a:gd name="T108" fmla="*/ 819 w 1556"/>
              <a:gd name="T109" fmla="*/ 1404 h 1563"/>
              <a:gd name="T110" fmla="*/ 798 w 1556"/>
              <a:gd name="T111" fmla="*/ 1084 h 1563"/>
              <a:gd name="T112" fmla="*/ 544 w 1556"/>
              <a:gd name="T113" fmla="*/ 406 h 1563"/>
              <a:gd name="T114" fmla="*/ 630 w 1556"/>
              <a:gd name="T115" fmla="*/ 650 h 1563"/>
              <a:gd name="T116" fmla="*/ 898 w 1556"/>
              <a:gd name="T117" fmla="*/ 948 h 1563"/>
              <a:gd name="T118" fmla="*/ 1160 w 1556"/>
              <a:gd name="T119" fmla="*/ 1040 h 1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6" h="1563">
                <a:moveTo>
                  <a:pt x="1351" y="1299"/>
                </a:moveTo>
                <a:cubicBezTo>
                  <a:pt x="1355" y="1296"/>
                  <a:pt x="1358" y="1292"/>
                  <a:pt x="1361" y="1288"/>
                </a:cubicBezTo>
                <a:cubicBezTo>
                  <a:pt x="1362" y="1287"/>
                  <a:pt x="1363" y="1286"/>
                  <a:pt x="1364" y="1285"/>
                </a:cubicBezTo>
                <a:cubicBezTo>
                  <a:pt x="1368" y="1281"/>
                  <a:pt x="1371" y="1277"/>
                  <a:pt x="1374" y="1273"/>
                </a:cubicBezTo>
                <a:cubicBezTo>
                  <a:pt x="1375" y="1272"/>
                  <a:pt x="1376" y="1271"/>
                  <a:pt x="1376" y="1271"/>
                </a:cubicBezTo>
                <a:cubicBezTo>
                  <a:pt x="1401" y="1241"/>
                  <a:pt x="1424" y="1209"/>
                  <a:pt x="1444" y="1176"/>
                </a:cubicBezTo>
                <a:cubicBezTo>
                  <a:pt x="1444" y="1175"/>
                  <a:pt x="1445" y="1175"/>
                  <a:pt x="1445" y="1175"/>
                </a:cubicBezTo>
                <a:cubicBezTo>
                  <a:pt x="1448" y="1170"/>
                  <a:pt x="1451" y="1165"/>
                  <a:pt x="1453" y="1160"/>
                </a:cubicBezTo>
                <a:cubicBezTo>
                  <a:pt x="1454" y="1159"/>
                  <a:pt x="1455" y="1158"/>
                  <a:pt x="1455" y="1157"/>
                </a:cubicBezTo>
                <a:cubicBezTo>
                  <a:pt x="1458" y="1153"/>
                  <a:pt x="1460" y="1148"/>
                  <a:pt x="1463" y="1143"/>
                </a:cubicBezTo>
                <a:cubicBezTo>
                  <a:pt x="1463" y="1142"/>
                  <a:pt x="1464" y="1141"/>
                  <a:pt x="1465" y="1139"/>
                </a:cubicBezTo>
                <a:cubicBezTo>
                  <a:pt x="1467" y="1135"/>
                  <a:pt x="1470" y="1130"/>
                  <a:pt x="1472" y="1126"/>
                </a:cubicBezTo>
                <a:cubicBezTo>
                  <a:pt x="1473" y="1124"/>
                  <a:pt x="1474" y="1123"/>
                  <a:pt x="1474" y="1121"/>
                </a:cubicBezTo>
                <a:cubicBezTo>
                  <a:pt x="1477" y="1117"/>
                  <a:pt x="1479" y="1112"/>
                  <a:pt x="1481" y="1108"/>
                </a:cubicBezTo>
                <a:cubicBezTo>
                  <a:pt x="1482" y="1106"/>
                  <a:pt x="1483" y="1104"/>
                  <a:pt x="1483" y="1102"/>
                </a:cubicBezTo>
                <a:cubicBezTo>
                  <a:pt x="1485" y="1098"/>
                  <a:pt x="1487" y="1094"/>
                  <a:pt x="1489" y="1090"/>
                </a:cubicBezTo>
                <a:cubicBezTo>
                  <a:pt x="1490" y="1088"/>
                  <a:pt x="1491" y="1086"/>
                  <a:pt x="1492" y="1084"/>
                </a:cubicBezTo>
                <a:cubicBezTo>
                  <a:pt x="1494" y="1080"/>
                  <a:pt x="1495" y="1075"/>
                  <a:pt x="1497" y="1071"/>
                </a:cubicBezTo>
                <a:cubicBezTo>
                  <a:pt x="1498" y="1069"/>
                  <a:pt x="1499" y="1067"/>
                  <a:pt x="1500" y="1065"/>
                </a:cubicBezTo>
                <a:cubicBezTo>
                  <a:pt x="1502" y="1061"/>
                  <a:pt x="1503" y="1056"/>
                  <a:pt x="1505" y="1052"/>
                </a:cubicBezTo>
                <a:cubicBezTo>
                  <a:pt x="1506" y="1050"/>
                  <a:pt x="1507" y="1048"/>
                  <a:pt x="1507" y="1045"/>
                </a:cubicBezTo>
                <a:cubicBezTo>
                  <a:pt x="1509" y="1041"/>
                  <a:pt x="1510" y="1037"/>
                  <a:pt x="1512" y="1033"/>
                </a:cubicBezTo>
                <a:cubicBezTo>
                  <a:pt x="1513" y="1031"/>
                  <a:pt x="1514" y="1028"/>
                  <a:pt x="1514" y="1026"/>
                </a:cubicBezTo>
                <a:cubicBezTo>
                  <a:pt x="1516" y="1022"/>
                  <a:pt x="1517" y="1018"/>
                  <a:pt x="1519" y="1013"/>
                </a:cubicBezTo>
                <a:cubicBezTo>
                  <a:pt x="1519" y="1011"/>
                  <a:pt x="1520" y="1009"/>
                  <a:pt x="1521" y="1006"/>
                </a:cubicBezTo>
                <a:cubicBezTo>
                  <a:pt x="1522" y="1002"/>
                  <a:pt x="1523" y="998"/>
                  <a:pt x="1525" y="994"/>
                </a:cubicBezTo>
                <a:cubicBezTo>
                  <a:pt x="1525" y="991"/>
                  <a:pt x="1526" y="989"/>
                  <a:pt x="1527" y="986"/>
                </a:cubicBezTo>
                <a:cubicBezTo>
                  <a:pt x="1528" y="982"/>
                  <a:pt x="1529" y="978"/>
                  <a:pt x="1530" y="974"/>
                </a:cubicBezTo>
                <a:cubicBezTo>
                  <a:pt x="1531" y="971"/>
                  <a:pt x="1532" y="969"/>
                  <a:pt x="1532" y="966"/>
                </a:cubicBezTo>
                <a:cubicBezTo>
                  <a:pt x="1533" y="962"/>
                  <a:pt x="1534" y="958"/>
                  <a:pt x="1535" y="953"/>
                </a:cubicBezTo>
                <a:cubicBezTo>
                  <a:pt x="1536" y="951"/>
                  <a:pt x="1537" y="948"/>
                  <a:pt x="1537" y="946"/>
                </a:cubicBezTo>
                <a:cubicBezTo>
                  <a:pt x="1538" y="941"/>
                  <a:pt x="1539" y="937"/>
                  <a:pt x="1540" y="933"/>
                </a:cubicBezTo>
                <a:cubicBezTo>
                  <a:pt x="1541" y="930"/>
                  <a:pt x="1541" y="928"/>
                  <a:pt x="1542" y="925"/>
                </a:cubicBezTo>
                <a:cubicBezTo>
                  <a:pt x="1542" y="921"/>
                  <a:pt x="1543" y="917"/>
                  <a:pt x="1544" y="912"/>
                </a:cubicBezTo>
                <a:cubicBezTo>
                  <a:pt x="1544" y="910"/>
                  <a:pt x="1545" y="907"/>
                  <a:pt x="1545" y="904"/>
                </a:cubicBezTo>
                <a:cubicBezTo>
                  <a:pt x="1546" y="900"/>
                  <a:pt x="1547" y="896"/>
                  <a:pt x="1547" y="891"/>
                </a:cubicBezTo>
                <a:cubicBezTo>
                  <a:pt x="1548" y="889"/>
                  <a:pt x="1548" y="886"/>
                  <a:pt x="1549" y="883"/>
                </a:cubicBezTo>
                <a:cubicBezTo>
                  <a:pt x="1549" y="879"/>
                  <a:pt x="1550" y="875"/>
                  <a:pt x="1550" y="870"/>
                </a:cubicBezTo>
                <a:cubicBezTo>
                  <a:pt x="1551" y="868"/>
                  <a:pt x="1551" y="865"/>
                  <a:pt x="1551" y="862"/>
                </a:cubicBezTo>
                <a:cubicBezTo>
                  <a:pt x="1552" y="858"/>
                  <a:pt x="1552" y="853"/>
                  <a:pt x="1553" y="849"/>
                </a:cubicBezTo>
                <a:cubicBezTo>
                  <a:pt x="1553" y="846"/>
                  <a:pt x="1553" y="844"/>
                  <a:pt x="1553" y="841"/>
                </a:cubicBezTo>
                <a:cubicBezTo>
                  <a:pt x="1554" y="837"/>
                  <a:pt x="1554" y="832"/>
                  <a:pt x="1554" y="828"/>
                </a:cubicBezTo>
                <a:cubicBezTo>
                  <a:pt x="1555" y="825"/>
                  <a:pt x="1555" y="822"/>
                  <a:pt x="1555" y="820"/>
                </a:cubicBezTo>
                <a:cubicBezTo>
                  <a:pt x="1555" y="815"/>
                  <a:pt x="1555" y="811"/>
                  <a:pt x="1556" y="806"/>
                </a:cubicBezTo>
                <a:cubicBezTo>
                  <a:pt x="1556" y="803"/>
                  <a:pt x="1556" y="801"/>
                  <a:pt x="1556" y="798"/>
                </a:cubicBezTo>
                <a:cubicBezTo>
                  <a:pt x="1556" y="793"/>
                  <a:pt x="1556" y="789"/>
                  <a:pt x="1556" y="784"/>
                </a:cubicBezTo>
                <a:cubicBezTo>
                  <a:pt x="1556" y="782"/>
                  <a:pt x="1556" y="779"/>
                  <a:pt x="1556" y="776"/>
                </a:cubicBezTo>
                <a:cubicBezTo>
                  <a:pt x="1556" y="772"/>
                  <a:pt x="1556" y="767"/>
                  <a:pt x="1556" y="762"/>
                </a:cubicBezTo>
                <a:cubicBezTo>
                  <a:pt x="1556" y="760"/>
                  <a:pt x="1556" y="757"/>
                  <a:pt x="1556" y="754"/>
                </a:cubicBezTo>
                <a:cubicBezTo>
                  <a:pt x="1556" y="750"/>
                  <a:pt x="1556" y="745"/>
                  <a:pt x="1555" y="740"/>
                </a:cubicBezTo>
                <a:cubicBezTo>
                  <a:pt x="1555" y="738"/>
                  <a:pt x="1555" y="735"/>
                  <a:pt x="1555" y="733"/>
                </a:cubicBezTo>
                <a:cubicBezTo>
                  <a:pt x="1555" y="728"/>
                  <a:pt x="1555" y="723"/>
                  <a:pt x="1554" y="718"/>
                </a:cubicBezTo>
                <a:cubicBezTo>
                  <a:pt x="1554" y="716"/>
                  <a:pt x="1554" y="713"/>
                  <a:pt x="1554" y="710"/>
                </a:cubicBezTo>
                <a:cubicBezTo>
                  <a:pt x="1553" y="706"/>
                  <a:pt x="1553" y="701"/>
                  <a:pt x="1552" y="696"/>
                </a:cubicBezTo>
                <a:cubicBezTo>
                  <a:pt x="1552" y="693"/>
                  <a:pt x="1552" y="691"/>
                  <a:pt x="1551" y="688"/>
                </a:cubicBezTo>
                <a:cubicBezTo>
                  <a:pt x="1551" y="683"/>
                  <a:pt x="1550" y="679"/>
                  <a:pt x="1550" y="674"/>
                </a:cubicBezTo>
                <a:cubicBezTo>
                  <a:pt x="1550" y="673"/>
                  <a:pt x="1550" y="673"/>
                  <a:pt x="1550" y="672"/>
                </a:cubicBezTo>
                <a:cubicBezTo>
                  <a:pt x="1549" y="671"/>
                  <a:pt x="1549" y="669"/>
                  <a:pt x="1549" y="668"/>
                </a:cubicBezTo>
                <a:cubicBezTo>
                  <a:pt x="1548" y="661"/>
                  <a:pt x="1547" y="655"/>
                  <a:pt x="1546" y="648"/>
                </a:cubicBezTo>
                <a:cubicBezTo>
                  <a:pt x="1546" y="647"/>
                  <a:pt x="1546" y="646"/>
                  <a:pt x="1546" y="645"/>
                </a:cubicBezTo>
                <a:cubicBezTo>
                  <a:pt x="1545" y="641"/>
                  <a:pt x="1544" y="636"/>
                  <a:pt x="1543" y="632"/>
                </a:cubicBezTo>
                <a:cubicBezTo>
                  <a:pt x="1524" y="524"/>
                  <a:pt x="1481" y="421"/>
                  <a:pt x="1418" y="332"/>
                </a:cubicBezTo>
                <a:cubicBezTo>
                  <a:pt x="1415" y="329"/>
                  <a:pt x="1413" y="325"/>
                  <a:pt x="1411" y="322"/>
                </a:cubicBezTo>
                <a:cubicBezTo>
                  <a:pt x="1410" y="321"/>
                  <a:pt x="1409" y="320"/>
                  <a:pt x="1408" y="319"/>
                </a:cubicBezTo>
                <a:cubicBezTo>
                  <a:pt x="1405" y="314"/>
                  <a:pt x="1401" y="309"/>
                  <a:pt x="1398" y="305"/>
                </a:cubicBezTo>
                <a:cubicBezTo>
                  <a:pt x="1396" y="303"/>
                  <a:pt x="1395" y="302"/>
                  <a:pt x="1394" y="300"/>
                </a:cubicBezTo>
                <a:cubicBezTo>
                  <a:pt x="1393" y="299"/>
                  <a:pt x="1392" y="298"/>
                  <a:pt x="1392" y="297"/>
                </a:cubicBezTo>
                <a:cubicBezTo>
                  <a:pt x="1389" y="294"/>
                  <a:pt x="1386" y="291"/>
                  <a:pt x="1384" y="287"/>
                </a:cubicBezTo>
                <a:cubicBezTo>
                  <a:pt x="1382" y="285"/>
                  <a:pt x="1379" y="282"/>
                  <a:pt x="1377" y="279"/>
                </a:cubicBezTo>
                <a:cubicBezTo>
                  <a:pt x="1374" y="276"/>
                  <a:pt x="1371" y="273"/>
                  <a:pt x="1369" y="269"/>
                </a:cubicBezTo>
                <a:cubicBezTo>
                  <a:pt x="1366" y="267"/>
                  <a:pt x="1364" y="264"/>
                  <a:pt x="1362" y="261"/>
                </a:cubicBezTo>
                <a:cubicBezTo>
                  <a:pt x="1359" y="258"/>
                  <a:pt x="1356" y="255"/>
                  <a:pt x="1353" y="252"/>
                </a:cubicBezTo>
                <a:cubicBezTo>
                  <a:pt x="1351" y="249"/>
                  <a:pt x="1349" y="247"/>
                  <a:pt x="1346" y="244"/>
                </a:cubicBezTo>
                <a:cubicBezTo>
                  <a:pt x="1343" y="241"/>
                  <a:pt x="1340" y="238"/>
                  <a:pt x="1337" y="235"/>
                </a:cubicBezTo>
                <a:cubicBezTo>
                  <a:pt x="1335" y="233"/>
                  <a:pt x="1333" y="230"/>
                  <a:pt x="1330" y="228"/>
                </a:cubicBezTo>
                <a:cubicBezTo>
                  <a:pt x="1327" y="225"/>
                  <a:pt x="1324" y="222"/>
                  <a:pt x="1321" y="219"/>
                </a:cubicBezTo>
                <a:cubicBezTo>
                  <a:pt x="1319" y="217"/>
                  <a:pt x="1316" y="214"/>
                  <a:pt x="1314" y="212"/>
                </a:cubicBezTo>
                <a:cubicBezTo>
                  <a:pt x="1311" y="209"/>
                  <a:pt x="1308" y="206"/>
                  <a:pt x="1304" y="203"/>
                </a:cubicBezTo>
                <a:cubicBezTo>
                  <a:pt x="1302" y="201"/>
                  <a:pt x="1300" y="199"/>
                  <a:pt x="1297" y="197"/>
                </a:cubicBezTo>
                <a:cubicBezTo>
                  <a:pt x="1294" y="194"/>
                  <a:pt x="1291" y="191"/>
                  <a:pt x="1287" y="188"/>
                </a:cubicBezTo>
                <a:cubicBezTo>
                  <a:pt x="1285" y="186"/>
                  <a:pt x="1283" y="184"/>
                  <a:pt x="1280" y="182"/>
                </a:cubicBezTo>
                <a:cubicBezTo>
                  <a:pt x="1277" y="179"/>
                  <a:pt x="1273" y="176"/>
                  <a:pt x="1270" y="173"/>
                </a:cubicBezTo>
                <a:cubicBezTo>
                  <a:pt x="1268" y="171"/>
                  <a:pt x="1265" y="170"/>
                  <a:pt x="1263" y="168"/>
                </a:cubicBezTo>
                <a:cubicBezTo>
                  <a:pt x="1259" y="165"/>
                  <a:pt x="1256" y="162"/>
                  <a:pt x="1252" y="159"/>
                </a:cubicBezTo>
                <a:cubicBezTo>
                  <a:pt x="1250" y="158"/>
                  <a:pt x="1248" y="156"/>
                  <a:pt x="1245" y="154"/>
                </a:cubicBezTo>
                <a:cubicBezTo>
                  <a:pt x="1242" y="151"/>
                  <a:pt x="1238" y="148"/>
                  <a:pt x="1234" y="146"/>
                </a:cubicBezTo>
                <a:cubicBezTo>
                  <a:pt x="1232" y="144"/>
                  <a:pt x="1230" y="143"/>
                  <a:pt x="1228" y="142"/>
                </a:cubicBezTo>
                <a:cubicBezTo>
                  <a:pt x="1224" y="139"/>
                  <a:pt x="1220" y="136"/>
                  <a:pt x="1216" y="133"/>
                </a:cubicBezTo>
                <a:cubicBezTo>
                  <a:pt x="1215" y="132"/>
                  <a:pt x="1214" y="132"/>
                  <a:pt x="1213" y="131"/>
                </a:cubicBezTo>
                <a:cubicBezTo>
                  <a:pt x="1198" y="121"/>
                  <a:pt x="1181" y="111"/>
                  <a:pt x="1165" y="101"/>
                </a:cubicBezTo>
                <a:cubicBezTo>
                  <a:pt x="1163" y="100"/>
                  <a:pt x="1161" y="99"/>
                  <a:pt x="1159" y="98"/>
                </a:cubicBezTo>
                <a:cubicBezTo>
                  <a:pt x="1155" y="96"/>
                  <a:pt x="1151" y="94"/>
                  <a:pt x="1147" y="91"/>
                </a:cubicBezTo>
                <a:cubicBezTo>
                  <a:pt x="1145" y="90"/>
                  <a:pt x="1142" y="89"/>
                  <a:pt x="1140" y="87"/>
                </a:cubicBezTo>
                <a:cubicBezTo>
                  <a:pt x="1136" y="85"/>
                  <a:pt x="1132" y="83"/>
                  <a:pt x="1128" y="81"/>
                </a:cubicBezTo>
                <a:cubicBezTo>
                  <a:pt x="1125" y="80"/>
                  <a:pt x="1122" y="79"/>
                  <a:pt x="1120" y="77"/>
                </a:cubicBezTo>
                <a:cubicBezTo>
                  <a:pt x="1116" y="75"/>
                  <a:pt x="1112" y="74"/>
                  <a:pt x="1108" y="72"/>
                </a:cubicBezTo>
                <a:cubicBezTo>
                  <a:pt x="1105" y="71"/>
                  <a:pt x="1102" y="69"/>
                  <a:pt x="1099" y="68"/>
                </a:cubicBezTo>
                <a:cubicBezTo>
                  <a:pt x="1096" y="66"/>
                  <a:pt x="1092" y="64"/>
                  <a:pt x="1088" y="63"/>
                </a:cubicBezTo>
                <a:cubicBezTo>
                  <a:pt x="1085" y="62"/>
                  <a:pt x="1082" y="60"/>
                  <a:pt x="1079" y="59"/>
                </a:cubicBezTo>
                <a:cubicBezTo>
                  <a:pt x="1075" y="57"/>
                  <a:pt x="1071" y="56"/>
                  <a:pt x="1068" y="54"/>
                </a:cubicBezTo>
                <a:cubicBezTo>
                  <a:pt x="1064" y="53"/>
                  <a:pt x="1061" y="52"/>
                  <a:pt x="1058" y="51"/>
                </a:cubicBezTo>
                <a:cubicBezTo>
                  <a:pt x="1054" y="49"/>
                  <a:pt x="1051" y="48"/>
                  <a:pt x="1047" y="47"/>
                </a:cubicBezTo>
                <a:cubicBezTo>
                  <a:pt x="1044" y="45"/>
                  <a:pt x="1040" y="44"/>
                  <a:pt x="1037" y="43"/>
                </a:cubicBezTo>
                <a:cubicBezTo>
                  <a:pt x="1033" y="42"/>
                  <a:pt x="1030" y="40"/>
                  <a:pt x="1026" y="39"/>
                </a:cubicBezTo>
                <a:cubicBezTo>
                  <a:pt x="1023" y="38"/>
                  <a:pt x="1019" y="37"/>
                  <a:pt x="1016" y="36"/>
                </a:cubicBezTo>
                <a:cubicBezTo>
                  <a:pt x="1012" y="35"/>
                  <a:pt x="1008" y="34"/>
                  <a:pt x="1005" y="32"/>
                </a:cubicBezTo>
                <a:cubicBezTo>
                  <a:pt x="1001" y="31"/>
                  <a:pt x="998" y="30"/>
                  <a:pt x="994" y="29"/>
                </a:cubicBezTo>
                <a:cubicBezTo>
                  <a:pt x="991" y="28"/>
                  <a:pt x="987" y="27"/>
                  <a:pt x="983" y="26"/>
                </a:cubicBezTo>
                <a:cubicBezTo>
                  <a:pt x="980" y="25"/>
                  <a:pt x="976" y="25"/>
                  <a:pt x="972" y="24"/>
                </a:cubicBezTo>
                <a:cubicBezTo>
                  <a:pt x="969" y="23"/>
                  <a:pt x="965" y="22"/>
                  <a:pt x="961" y="21"/>
                </a:cubicBezTo>
                <a:cubicBezTo>
                  <a:pt x="958" y="20"/>
                  <a:pt x="954" y="19"/>
                  <a:pt x="950" y="18"/>
                </a:cubicBezTo>
                <a:cubicBezTo>
                  <a:pt x="947" y="18"/>
                  <a:pt x="943" y="17"/>
                  <a:pt x="940" y="16"/>
                </a:cubicBezTo>
                <a:cubicBezTo>
                  <a:pt x="936" y="15"/>
                  <a:pt x="932" y="15"/>
                  <a:pt x="928" y="14"/>
                </a:cubicBezTo>
                <a:cubicBezTo>
                  <a:pt x="925" y="13"/>
                  <a:pt x="921" y="12"/>
                  <a:pt x="917" y="12"/>
                </a:cubicBezTo>
                <a:cubicBezTo>
                  <a:pt x="914" y="11"/>
                  <a:pt x="910" y="11"/>
                  <a:pt x="906" y="10"/>
                </a:cubicBezTo>
                <a:cubicBezTo>
                  <a:pt x="902" y="9"/>
                  <a:pt x="899" y="9"/>
                  <a:pt x="895" y="8"/>
                </a:cubicBezTo>
                <a:cubicBezTo>
                  <a:pt x="891" y="8"/>
                  <a:pt x="887" y="7"/>
                  <a:pt x="883" y="7"/>
                </a:cubicBezTo>
                <a:cubicBezTo>
                  <a:pt x="880" y="6"/>
                  <a:pt x="876" y="6"/>
                  <a:pt x="873" y="5"/>
                </a:cubicBezTo>
                <a:cubicBezTo>
                  <a:pt x="869" y="5"/>
                  <a:pt x="864" y="4"/>
                  <a:pt x="860" y="4"/>
                </a:cubicBezTo>
                <a:cubicBezTo>
                  <a:pt x="857" y="4"/>
                  <a:pt x="854" y="3"/>
                  <a:pt x="850" y="3"/>
                </a:cubicBezTo>
                <a:cubicBezTo>
                  <a:pt x="846" y="3"/>
                  <a:pt x="841" y="2"/>
                  <a:pt x="837" y="2"/>
                </a:cubicBezTo>
                <a:cubicBezTo>
                  <a:pt x="834" y="2"/>
                  <a:pt x="831" y="1"/>
                  <a:pt x="827" y="1"/>
                </a:cubicBezTo>
                <a:cubicBezTo>
                  <a:pt x="822" y="1"/>
                  <a:pt x="818" y="1"/>
                  <a:pt x="813" y="1"/>
                </a:cubicBezTo>
                <a:cubicBezTo>
                  <a:pt x="810" y="1"/>
                  <a:pt x="807" y="0"/>
                  <a:pt x="804" y="0"/>
                </a:cubicBezTo>
                <a:cubicBezTo>
                  <a:pt x="797" y="0"/>
                  <a:pt x="790" y="0"/>
                  <a:pt x="782" y="0"/>
                </a:cubicBezTo>
                <a:cubicBezTo>
                  <a:pt x="782" y="0"/>
                  <a:pt x="782" y="0"/>
                  <a:pt x="781" y="0"/>
                </a:cubicBezTo>
                <a:cubicBezTo>
                  <a:pt x="781" y="0"/>
                  <a:pt x="781" y="0"/>
                  <a:pt x="781" y="0"/>
                </a:cubicBezTo>
                <a:cubicBezTo>
                  <a:pt x="781" y="0"/>
                  <a:pt x="781" y="0"/>
                  <a:pt x="781" y="0"/>
                </a:cubicBezTo>
                <a:cubicBezTo>
                  <a:pt x="354" y="0"/>
                  <a:pt x="7" y="347"/>
                  <a:pt x="7" y="774"/>
                </a:cubicBezTo>
                <a:cubicBezTo>
                  <a:pt x="7" y="774"/>
                  <a:pt x="7" y="774"/>
                  <a:pt x="7" y="774"/>
                </a:cubicBezTo>
                <a:cubicBezTo>
                  <a:pt x="7" y="911"/>
                  <a:pt x="42" y="1044"/>
                  <a:pt x="110" y="1162"/>
                </a:cubicBezTo>
                <a:cubicBezTo>
                  <a:pt x="61" y="1339"/>
                  <a:pt x="61" y="1339"/>
                  <a:pt x="61" y="1339"/>
                </a:cubicBezTo>
                <a:cubicBezTo>
                  <a:pt x="0" y="1563"/>
                  <a:pt x="0" y="1563"/>
                  <a:pt x="0" y="1563"/>
                </a:cubicBezTo>
                <a:cubicBezTo>
                  <a:pt x="0" y="1563"/>
                  <a:pt x="0" y="1563"/>
                  <a:pt x="0" y="1563"/>
                </a:cubicBezTo>
                <a:cubicBezTo>
                  <a:pt x="0" y="1563"/>
                  <a:pt x="0" y="1563"/>
                  <a:pt x="0" y="1563"/>
                </a:cubicBezTo>
                <a:cubicBezTo>
                  <a:pt x="411" y="1455"/>
                  <a:pt x="411" y="1455"/>
                  <a:pt x="411" y="1455"/>
                </a:cubicBezTo>
                <a:cubicBezTo>
                  <a:pt x="460" y="1482"/>
                  <a:pt x="513" y="1504"/>
                  <a:pt x="567" y="1519"/>
                </a:cubicBezTo>
                <a:cubicBezTo>
                  <a:pt x="634" y="1539"/>
                  <a:pt x="704" y="1549"/>
                  <a:pt x="775" y="1550"/>
                </a:cubicBezTo>
                <a:cubicBezTo>
                  <a:pt x="777" y="1550"/>
                  <a:pt x="779" y="1550"/>
                  <a:pt x="781" y="1550"/>
                </a:cubicBezTo>
                <a:cubicBezTo>
                  <a:pt x="781" y="1550"/>
                  <a:pt x="781" y="1550"/>
                  <a:pt x="781" y="1550"/>
                </a:cubicBezTo>
                <a:cubicBezTo>
                  <a:pt x="781" y="1550"/>
                  <a:pt x="781" y="1550"/>
                  <a:pt x="781" y="1550"/>
                </a:cubicBezTo>
                <a:cubicBezTo>
                  <a:pt x="781" y="1550"/>
                  <a:pt x="781" y="1550"/>
                  <a:pt x="781" y="1550"/>
                </a:cubicBezTo>
                <a:cubicBezTo>
                  <a:pt x="782" y="1550"/>
                  <a:pt x="782" y="1550"/>
                  <a:pt x="782" y="1550"/>
                </a:cubicBezTo>
                <a:cubicBezTo>
                  <a:pt x="789" y="1550"/>
                  <a:pt x="796" y="1549"/>
                  <a:pt x="803" y="1549"/>
                </a:cubicBezTo>
                <a:cubicBezTo>
                  <a:pt x="806" y="1549"/>
                  <a:pt x="809" y="1549"/>
                  <a:pt x="811" y="1549"/>
                </a:cubicBezTo>
                <a:cubicBezTo>
                  <a:pt x="816" y="1549"/>
                  <a:pt x="820" y="1549"/>
                  <a:pt x="825" y="1548"/>
                </a:cubicBezTo>
                <a:cubicBezTo>
                  <a:pt x="828" y="1548"/>
                  <a:pt x="831" y="1548"/>
                  <a:pt x="834" y="1548"/>
                </a:cubicBezTo>
                <a:cubicBezTo>
                  <a:pt x="838" y="1547"/>
                  <a:pt x="842" y="1547"/>
                  <a:pt x="846" y="1547"/>
                </a:cubicBezTo>
                <a:cubicBezTo>
                  <a:pt x="850" y="1547"/>
                  <a:pt x="853" y="1546"/>
                  <a:pt x="856" y="1546"/>
                </a:cubicBezTo>
                <a:cubicBezTo>
                  <a:pt x="860" y="1546"/>
                  <a:pt x="864" y="1545"/>
                  <a:pt x="868" y="1545"/>
                </a:cubicBezTo>
                <a:cubicBezTo>
                  <a:pt x="871" y="1544"/>
                  <a:pt x="875" y="1544"/>
                  <a:pt x="878" y="1544"/>
                </a:cubicBezTo>
                <a:cubicBezTo>
                  <a:pt x="882" y="1543"/>
                  <a:pt x="885" y="1543"/>
                  <a:pt x="889" y="1542"/>
                </a:cubicBezTo>
                <a:cubicBezTo>
                  <a:pt x="893" y="1542"/>
                  <a:pt x="896" y="1541"/>
                  <a:pt x="899" y="1541"/>
                </a:cubicBezTo>
                <a:cubicBezTo>
                  <a:pt x="903" y="1540"/>
                  <a:pt x="907" y="1539"/>
                  <a:pt x="910" y="1539"/>
                </a:cubicBezTo>
                <a:cubicBezTo>
                  <a:pt x="914" y="1538"/>
                  <a:pt x="917" y="1538"/>
                  <a:pt x="921" y="1537"/>
                </a:cubicBezTo>
                <a:cubicBezTo>
                  <a:pt x="924" y="1536"/>
                  <a:pt x="927" y="1536"/>
                  <a:pt x="931" y="1535"/>
                </a:cubicBezTo>
                <a:cubicBezTo>
                  <a:pt x="934" y="1534"/>
                  <a:pt x="938" y="1534"/>
                  <a:pt x="941" y="1533"/>
                </a:cubicBezTo>
                <a:cubicBezTo>
                  <a:pt x="945" y="1532"/>
                  <a:pt x="948" y="1532"/>
                  <a:pt x="951" y="1531"/>
                </a:cubicBezTo>
                <a:cubicBezTo>
                  <a:pt x="955" y="1530"/>
                  <a:pt x="958" y="1529"/>
                  <a:pt x="962" y="1528"/>
                </a:cubicBezTo>
                <a:cubicBezTo>
                  <a:pt x="965" y="1527"/>
                  <a:pt x="969" y="1527"/>
                  <a:pt x="972" y="1526"/>
                </a:cubicBezTo>
                <a:cubicBezTo>
                  <a:pt x="975" y="1525"/>
                  <a:pt x="979" y="1524"/>
                  <a:pt x="982" y="1523"/>
                </a:cubicBezTo>
                <a:cubicBezTo>
                  <a:pt x="986" y="1522"/>
                  <a:pt x="989" y="1521"/>
                  <a:pt x="992" y="1520"/>
                </a:cubicBezTo>
                <a:cubicBezTo>
                  <a:pt x="996" y="1519"/>
                  <a:pt x="999" y="1518"/>
                  <a:pt x="1003" y="1517"/>
                </a:cubicBezTo>
                <a:cubicBezTo>
                  <a:pt x="1006" y="1516"/>
                  <a:pt x="1009" y="1516"/>
                  <a:pt x="1012" y="1515"/>
                </a:cubicBezTo>
                <a:cubicBezTo>
                  <a:pt x="1016" y="1513"/>
                  <a:pt x="1019" y="1512"/>
                  <a:pt x="1022" y="1511"/>
                </a:cubicBezTo>
                <a:cubicBezTo>
                  <a:pt x="1026" y="1510"/>
                  <a:pt x="1029" y="1509"/>
                  <a:pt x="1032" y="1508"/>
                </a:cubicBezTo>
                <a:cubicBezTo>
                  <a:pt x="1035" y="1507"/>
                  <a:pt x="1039" y="1506"/>
                  <a:pt x="1042" y="1504"/>
                </a:cubicBezTo>
                <a:cubicBezTo>
                  <a:pt x="1045" y="1503"/>
                  <a:pt x="1048" y="1502"/>
                  <a:pt x="1051" y="1501"/>
                </a:cubicBezTo>
                <a:cubicBezTo>
                  <a:pt x="1055" y="1500"/>
                  <a:pt x="1058" y="1498"/>
                  <a:pt x="1062" y="1497"/>
                </a:cubicBezTo>
                <a:cubicBezTo>
                  <a:pt x="1065" y="1496"/>
                  <a:pt x="1068" y="1495"/>
                  <a:pt x="1071" y="1494"/>
                </a:cubicBezTo>
                <a:cubicBezTo>
                  <a:pt x="1074" y="1492"/>
                  <a:pt x="1077" y="1491"/>
                  <a:pt x="1081" y="1489"/>
                </a:cubicBezTo>
                <a:cubicBezTo>
                  <a:pt x="1084" y="1488"/>
                  <a:pt x="1087" y="1487"/>
                  <a:pt x="1090" y="1486"/>
                </a:cubicBezTo>
                <a:cubicBezTo>
                  <a:pt x="1093" y="1484"/>
                  <a:pt x="1096" y="1483"/>
                  <a:pt x="1100" y="1481"/>
                </a:cubicBezTo>
                <a:cubicBezTo>
                  <a:pt x="1103" y="1480"/>
                  <a:pt x="1105" y="1478"/>
                  <a:pt x="1108" y="1477"/>
                </a:cubicBezTo>
                <a:cubicBezTo>
                  <a:pt x="1112" y="1476"/>
                  <a:pt x="1115" y="1474"/>
                  <a:pt x="1118" y="1472"/>
                </a:cubicBezTo>
                <a:cubicBezTo>
                  <a:pt x="1121" y="1471"/>
                  <a:pt x="1124" y="1470"/>
                  <a:pt x="1127" y="1468"/>
                </a:cubicBezTo>
                <a:cubicBezTo>
                  <a:pt x="1130" y="1467"/>
                  <a:pt x="1133" y="1465"/>
                  <a:pt x="1137" y="1463"/>
                </a:cubicBezTo>
                <a:cubicBezTo>
                  <a:pt x="1140" y="1462"/>
                  <a:pt x="1142" y="1460"/>
                  <a:pt x="1145" y="1459"/>
                </a:cubicBezTo>
                <a:cubicBezTo>
                  <a:pt x="1148" y="1457"/>
                  <a:pt x="1152" y="1455"/>
                  <a:pt x="1155" y="1453"/>
                </a:cubicBezTo>
                <a:cubicBezTo>
                  <a:pt x="1158" y="1452"/>
                  <a:pt x="1160" y="1450"/>
                  <a:pt x="1163" y="1449"/>
                </a:cubicBezTo>
                <a:cubicBezTo>
                  <a:pt x="1166" y="1447"/>
                  <a:pt x="1169" y="1445"/>
                  <a:pt x="1173" y="1443"/>
                </a:cubicBezTo>
                <a:cubicBezTo>
                  <a:pt x="1175" y="1442"/>
                  <a:pt x="1178" y="1440"/>
                  <a:pt x="1180" y="1439"/>
                </a:cubicBezTo>
                <a:cubicBezTo>
                  <a:pt x="1184" y="1437"/>
                  <a:pt x="1187" y="1435"/>
                  <a:pt x="1190" y="1433"/>
                </a:cubicBezTo>
                <a:cubicBezTo>
                  <a:pt x="1193" y="1431"/>
                  <a:pt x="1195" y="1430"/>
                  <a:pt x="1198" y="1428"/>
                </a:cubicBezTo>
                <a:cubicBezTo>
                  <a:pt x="1201" y="1426"/>
                  <a:pt x="1204" y="1424"/>
                  <a:pt x="1207" y="1422"/>
                </a:cubicBezTo>
                <a:cubicBezTo>
                  <a:pt x="1210" y="1420"/>
                  <a:pt x="1212" y="1418"/>
                  <a:pt x="1215" y="1417"/>
                </a:cubicBezTo>
                <a:cubicBezTo>
                  <a:pt x="1218" y="1415"/>
                  <a:pt x="1221" y="1412"/>
                  <a:pt x="1224" y="1410"/>
                </a:cubicBezTo>
                <a:cubicBezTo>
                  <a:pt x="1227" y="1408"/>
                  <a:pt x="1229" y="1407"/>
                  <a:pt x="1231" y="1405"/>
                </a:cubicBezTo>
                <a:cubicBezTo>
                  <a:pt x="1235" y="1403"/>
                  <a:pt x="1238" y="1401"/>
                  <a:pt x="1241" y="1398"/>
                </a:cubicBezTo>
                <a:cubicBezTo>
                  <a:pt x="1243" y="1397"/>
                  <a:pt x="1245" y="1395"/>
                  <a:pt x="1248" y="1393"/>
                </a:cubicBezTo>
                <a:cubicBezTo>
                  <a:pt x="1251" y="1391"/>
                  <a:pt x="1254" y="1388"/>
                  <a:pt x="1257" y="1386"/>
                </a:cubicBezTo>
                <a:cubicBezTo>
                  <a:pt x="1259" y="1384"/>
                  <a:pt x="1261" y="1382"/>
                  <a:pt x="1264" y="1381"/>
                </a:cubicBezTo>
                <a:cubicBezTo>
                  <a:pt x="1267" y="1378"/>
                  <a:pt x="1270" y="1376"/>
                  <a:pt x="1273" y="1373"/>
                </a:cubicBezTo>
                <a:cubicBezTo>
                  <a:pt x="1275" y="1371"/>
                  <a:pt x="1277" y="1370"/>
                  <a:pt x="1279" y="1368"/>
                </a:cubicBezTo>
                <a:cubicBezTo>
                  <a:pt x="1282" y="1365"/>
                  <a:pt x="1286" y="1363"/>
                  <a:pt x="1289" y="1360"/>
                </a:cubicBezTo>
                <a:cubicBezTo>
                  <a:pt x="1291" y="1358"/>
                  <a:pt x="1293" y="1357"/>
                  <a:pt x="1295" y="1355"/>
                </a:cubicBezTo>
                <a:cubicBezTo>
                  <a:pt x="1298" y="1352"/>
                  <a:pt x="1301" y="1349"/>
                  <a:pt x="1304" y="1346"/>
                </a:cubicBezTo>
                <a:cubicBezTo>
                  <a:pt x="1306" y="1345"/>
                  <a:pt x="1308" y="1343"/>
                  <a:pt x="1309" y="1341"/>
                </a:cubicBezTo>
                <a:cubicBezTo>
                  <a:pt x="1312" y="1338"/>
                  <a:pt x="1316" y="1335"/>
                  <a:pt x="1319" y="1333"/>
                </a:cubicBezTo>
                <a:cubicBezTo>
                  <a:pt x="1320" y="1331"/>
                  <a:pt x="1322" y="1329"/>
                  <a:pt x="1324" y="1327"/>
                </a:cubicBezTo>
                <a:cubicBezTo>
                  <a:pt x="1327" y="1324"/>
                  <a:pt x="1330" y="1321"/>
                  <a:pt x="1333" y="1318"/>
                </a:cubicBezTo>
                <a:cubicBezTo>
                  <a:pt x="1335" y="1317"/>
                  <a:pt x="1336" y="1315"/>
                  <a:pt x="1338" y="1313"/>
                </a:cubicBezTo>
                <a:cubicBezTo>
                  <a:pt x="1341" y="1310"/>
                  <a:pt x="1344" y="1307"/>
                  <a:pt x="1347" y="1304"/>
                </a:cubicBezTo>
                <a:cubicBezTo>
                  <a:pt x="1349" y="1302"/>
                  <a:pt x="1350" y="1301"/>
                  <a:pt x="1351" y="1299"/>
                </a:cubicBezTo>
                <a:close/>
                <a:moveTo>
                  <a:pt x="781" y="1405"/>
                </a:moveTo>
                <a:cubicBezTo>
                  <a:pt x="777" y="1405"/>
                  <a:pt x="774" y="1405"/>
                  <a:pt x="770" y="1404"/>
                </a:cubicBezTo>
                <a:cubicBezTo>
                  <a:pt x="767" y="1404"/>
                  <a:pt x="763" y="1404"/>
                  <a:pt x="760" y="1404"/>
                </a:cubicBezTo>
                <a:cubicBezTo>
                  <a:pt x="756" y="1404"/>
                  <a:pt x="752" y="1404"/>
                  <a:pt x="749" y="1404"/>
                </a:cubicBezTo>
                <a:cubicBezTo>
                  <a:pt x="745" y="1404"/>
                  <a:pt x="742" y="1403"/>
                  <a:pt x="738" y="1403"/>
                </a:cubicBezTo>
                <a:cubicBezTo>
                  <a:pt x="733" y="1403"/>
                  <a:pt x="727" y="1402"/>
                  <a:pt x="722" y="1402"/>
                </a:cubicBezTo>
                <a:cubicBezTo>
                  <a:pt x="720" y="1402"/>
                  <a:pt x="718" y="1402"/>
                  <a:pt x="717" y="1401"/>
                </a:cubicBezTo>
                <a:cubicBezTo>
                  <a:pt x="624" y="1392"/>
                  <a:pt x="534" y="1363"/>
                  <a:pt x="453" y="1315"/>
                </a:cubicBezTo>
                <a:cubicBezTo>
                  <a:pt x="430" y="1301"/>
                  <a:pt x="430" y="1301"/>
                  <a:pt x="430" y="1301"/>
                </a:cubicBezTo>
                <a:cubicBezTo>
                  <a:pt x="186" y="1365"/>
                  <a:pt x="186" y="1365"/>
                  <a:pt x="186" y="1365"/>
                </a:cubicBezTo>
                <a:cubicBezTo>
                  <a:pt x="241" y="1165"/>
                  <a:pt x="241" y="1165"/>
                  <a:pt x="241" y="1165"/>
                </a:cubicBezTo>
                <a:cubicBezTo>
                  <a:pt x="251" y="1127"/>
                  <a:pt x="251" y="1127"/>
                  <a:pt x="251" y="1127"/>
                </a:cubicBezTo>
                <a:cubicBezTo>
                  <a:pt x="251" y="1127"/>
                  <a:pt x="251" y="1127"/>
                  <a:pt x="251" y="1127"/>
                </a:cubicBezTo>
                <a:cubicBezTo>
                  <a:pt x="251" y="1127"/>
                  <a:pt x="251" y="1127"/>
                  <a:pt x="251" y="1127"/>
                </a:cubicBezTo>
                <a:cubicBezTo>
                  <a:pt x="236" y="1103"/>
                  <a:pt x="236" y="1103"/>
                  <a:pt x="236" y="1103"/>
                </a:cubicBezTo>
                <a:cubicBezTo>
                  <a:pt x="171" y="1000"/>
                  <a:pt x="137" y="882"/>
                  <a:pt x="137" y="760"/>
                </a:cubicBezTo>
                <a:cubicBezTo>
                  <a:pt x="137" y="715"/>
                  <a:pt x="142" y="671"/>
                  <a:pt x="151" y="629"/>
                </a:cubicBezTo>
                <a:cubicBezTo>
                  <a:pt x="212" y="337"/>
                  <a:pt x="472" y="117"/>
                  <a:pt x="782" y="117"/>
                </a:cubicBezTo>
                <a:cubicBezTo>
                  <a:pt x="788" y="117"/>
                  <a:pt x="795" y="117"/>
                  <a:pt x="801" y="117"/>
                </a:cubicBezTo>
                <a:cubicBezTo>
                  <a:pt x="802" y="117"/>
                  <a:pt x="802" y="117"/>
                  <a:pt x="803" y="117"/>
                </a:cubicBezTo>
                <a:cubicBezTo>
                  <a:pt x="809" y="117"/>
                  <a:pt x="814" y="117"/>
                  <a:pt x="820" y="118"/>
                </a:cubicBezTo>
                <a:cubicBezTo>
                  <a:pt x="821" y="118"/>
                  <a:pt x="822" y="118"/>
                  <a:pt x="823" y="118"/>
                </a:cubicBezTo>
                <a:cubicBezTo>
                  <a:pt x="829" y="118"/>
                  <a:pt x="834" y="119"/>
                  <a:pt x="840" y="119"/>
                </a:cubicBezTo>
                <a:cubicBezTo>
                  <a:pt x="840" y="119"/>
                  <a:pt x="841" y="119"/>
                  <a:pt x="842" y="119"/>
                </a:cubicBezTo>
                <a:cubicBezTo>
                  <a:pt x="855" y="121"/>
                  <a:pt x="867" y="122"/>
                  <a:pt x="880" y="124"/>
                </a:cubicBezTo>
                <a:cubicBezTo>
                  <a:pt x="880" y="124"/>
                  <a:pt x="881" y="124"/>
                  <a:pt x="881" y="124"/>
                </a:cubicBezTo>
                <a:cubicBezTo>
                  <a:pt x="887" y="125"/>
                  <a:pt x="893" y="126"/>
                  <a:pt x="898" y="127"/>
                </a:cubicBezTo>
                <a:cubicBezTo>
                  <a:pt x="899" y="127"/>
                  <a:pt x="900" y="128"/>
                  <a:pt x="901" y="128"/>
                </a:cubicBezTo>
                <a:cubicBezTo>
                  <a:pt x="907" y="129"/>
                  <a:pt x="912" y="130"/>
                  <a:pt x="917" y="131"/>
                </a:cubicBezTo>
                <a:cubicBezTo>
                  <a:pt x="918" y="131"/>
                  <a:pt x="919" y="131"/>
                  <a:pt x="920" y="131"/>
                </a:cubicBezTo>
                <a:cubicBezTo>
                  <a:pt x="932" y="134"/>
                  <a:pt x="945" y="137"/>
                  <a:pt x="957" y="141"/>
                </a:cubicBezTo>
                <a:cubicBezTo>
                  <a:pt x="957" y="141"/>
                  <a:pt x="957" y="141"/>
                  <a:pt x="957" y="141"/>
                </a:cubicBezTo>
                <a:cubicBezTo>
                  <a:pt x="963" y="142"/>
                  <a:pt x="969" y="144"/>
                  <a:pt x="974" y="146"/>
                </a:cubicBezTo>
                <a:cubicBezTo>
                  <a:pt x="975" y="146"/>
                  <a:pt x="976" y="146"/>
                  <a:pt x="977" y="147"/>
                </a:cubicBezTo>
                <a:cubicBezTo>
                  <a:pt x="982" y="148"/>
                  <a:pt x="987" y="150"/>
                  <a:pt x="992" y="152"/>
                </a:cubicBezTo>
                <a:cubicBezTo>
                  <a:pt x="993" y="152"/>
                  <a:pt x="994" y="152"/>
                  <a:pt x="995" y="153"/>
                </a:cubicBezTo>
                <a:cubicBezTo>
                  <a:pt x="1013" y="159"/>
                  <a:pt x="1030" y="166"/>
                  <a:pt x="1047" y="174"/>
                </a:cubicBezTo>
                <a:cubicBezTo>
                  <a:pt x="1048" y="174"/>
                  <a:pt x="1049" y="174"/>
                  <a:pt x="1049" y="175"/>
                </a:cubicBezTo>
                <a:cubicBezTo>
                  <a:pt x="1054" y="177"/>
                  <a:pt x="1059" y="179"/>
                  <a:pt x="1064" y="182"/>
                </a:cubicBezTo>
                <a:cubicBezTo>
                  <a:pt x="1065" y="182"/>
                  <a:pt x="1066" y="182"/>
                  <a:pt x="1066" y="183"/>
                </a:cubicBezTo>
                <a:cubicBezTo>
                  <a:pt x="1083" y="191"/>
                  <a:pt x="1100" y="200"/>
                  <a:pt x="1116" y="210"/>
                </a:cubicBezTo>
                <a:cubicBezTo>
                  <a:pt x="1117" y="210"/>
                  <a:pt x="1117" y="211"/>
                  <a:pt x="1118" y="211"/>
                </a:cubicBezTo>
                <a:cubicBezTo>
                  <a:pt x="1123" y="214"/>
                  <a:pt x="1127" y="217"/>
                  <a:pt x="1132" y="220"/>
                </a:cubicBezTo>
                <a:cubicBezTo>
                  <a:pt x="1133" y="221"/>
                  <a:pt x="1133" y="221"/>
                  <a:pt x="1134" y="222"/>
                </a:cubicBezTo>
                <a:cubicBezTo>
                  <a:pt x="1139" y="225"/>
                  <a:pt x="1144" y="228"/>
                  <a:pt x="1149" y="232"/>
                </a:cubicBezTo>
                <a:cubicBezTo>
                  <a:pt x="1149" y="232"/>
                  <a:pt x="1149" y="232"/>
                  <a:pt x="1149" y="232"/>
                </a:cubicBezTo>
                <a:cubicBezTo>
                  <a:pt x="1160" y="239"/>
                  <a:pt x="1170" y="247"/>
                  <a:pt x="1180" y="255"/>
                </a:cubicBezTo>
                <a:cubicBezTo>
                  <a:pt x="1181" y="255"/>
                  <a:pt x="1182" y="256"/>
                  <a:pt x="1182" y="256"/>
                </a:cubicBezTo>
                <a:cubicBezTo>
                  <a:pt x="1186" y="260"/>
                  <a:pt x="1191" y="263"/>
                  <a:pt x="1195" y="267"/>
                </a:cubicBezTo>
                <a:cubicBezTo>
                  <a:pt x="1196" y="268"/>
                  <a:pt x="1197" y="268"/>
                  <a:pt x="1197" y="269"/>
                </a:cubicBezTo>
                <a:cubicBezTo>
                  <a:pt x="1202" y="273"/>
                  <a:pt x="1206" y="276"/>
                  <a:pt x="1210" y="280"/>
                </a:cubicBezTo>
                <a:cubicBezTo>
                  <a:pt x="1211" y="281"/>
                  <a:pt x="1211" y="281"/>
                  <a:pt x="1211" y="281"/>
                </a:cubicBezTo>
                <a:cubicBezTo>
                  <a:pt x="1221" y="290"/>
                  <a:pt x="1230" y="298"/>
                  <a:pt x="1239" y="308"/>
                </a:cubicBezTo>
                <a:cubicBezTo>
                  <a:pt x="1241" y="310"/>
                  <a:pt x="1243" y="312"/>
                  <a:pt x="1245" y="314"/>
                </a:cubicBezTo>
                <a:cubicBezTo>
                  <a:pt x="1248" y="317"/>
                  <a:pt x="1251" y="320"/>
                  <a:pt x="1253" y="322"/>
                </a:cubicBezTo>
                <a:cubicBezTo>
                  <a:pt x="1256" y="326"/>
                  <a:pt x="1259" y="329"/>
                  <a:pt x="1262" y="332"/>
                </a:cubicBezTo>
                <a:cubicBezTo>
                  <a:pt x="1264" y="334"/>
                  <a:pt x="1265" y="336"/>
                  <a:pt x="1267" y="337"/>
                </a:cubicBezTo>
                <a:cubicBezTo>
                  <a:pt x="1352" y="435"/>
                  <a:pt x="1405" y="554"/>
                  <a:pt x="1421" y="682"/>
                </a:cubicBezTo>
                <a:cubicBezTo>
                  <a:pt x="1421" y="682"/>
                  <a:pt x="1421" y="683"/>
                  <a:pt x="1421" y="683"/>
                </a:cubicBezTo>
                <a:cubicBezTo>
                  <a:pt x="1422" y="689"/>
                  <a:pt x="1422" y="695"/>
                  <a:pt x="1423" y="702"/>
                </a:cubicBezTo>
                <a:cubicBezTo>
                  <a:pt x="1423" y="704"/>
                  <a:pt x="1423" y="706"/>
                  <a:pt x="1423" y="709"/>
                </a:cubicBezTo>
                <a:cubicBezTo>
                  <a:pt x="1424" y="713"/>
                  <a:pt x="1424" y="717"/>
                  <a:pt x="1424" y="722"/>
                </a:cubicBezTo>
                <a:cubicBezTo>
                  <a:pt x="1424" y="724"/>
                  <a:pt x="1425" y="727"/>
                  <a:pt x="1425" y="730"/>
                </a:cubicBezTo>
                <a:cubicBezTo>
                  <a:pt x="1425" y="734"/>
                  <a:pt x="1425" y="738"/>
                  <a:pt x="1425" y="742"/>
                </a:cubicBezTo>
                <a:cubicBezTo>
                  <a:pt x="1425" y="745"/>
                  <a:pt x="1425" y="748"/>
                  <a:pt x="1425" y="751"/>
                </a:cubicBezTo>
                <a:cubicBezTo>
                  <a:pt x="1425" y="755"/>
                  <a:pt x="1425" y="759"/>
                  <a:pt x="1425" y="763"/>
                </a:cubicBezTo>
                <a:cubicBezTo>
                  <a:pt x="1425" y="766"/>
                  <a:pt x="1425" y="769"/>
                  <a:pt x="1425" y="771"/>
                </a:cubicBezTo>
                <a:cubicBezTo>
                  <a:pt x="1425" y="775"/>
                  <a:pt x="1425" y="780"/>
                  <a:pt x="1425" y="784"/>
                </a:cubicBezTo>
                <a:cubicBezTo>
                  <a:pt x="1425" y="787"/>
                  <a:pt x="1425" y="789"/>
                  <a:pt x="1425" y="792"/>
                </a:cubicBezTo>
                <a:cubicBezTo>
                  <a:pt x="1425" y="794"/>
                  <a:pt x="1424" y="796"/>
                  <a:pt x="1424" y="798"/>
                </a:cubicBezTo>
                <a:cubicBezTo>
                  <a:pt x="1406" y="1123"/>
                  <a:pt x="1144" y="1385"/>
                  <a:pt x="819" y="1404"/>
                </a:cubicBezTo>
                <a:cubicBezTo>
                  <a:pt x="819" y="1404"/>
                  <a:pt x="818" y="1404"/>
                  <a:pt x="817" y="1404"/>
                </a:cubicBezTo>
                <a:cubicBezTo>
                  <a:pt x="812" y="1404"/>
                  <a:pt x="807" y="1404"/>
                  <a:pt x="802" y="1404"/>
                </a:cubicBezTo>
                <a:cubicBezTo>
                  <a:pt x="801" y="1404"/>
                  <a:pt x="800" y="1404"/>
                  <a:pt x="798" y="1404"/>
                </a:cubicBezTo>
                <a:cubicBezTo>
                  <a:pt x="793" y="1405"/>
                  <a:pt x="787" y="1405"/>
                  <a:pt x="781" y="1405"/>
                </a:cubicBezTo>
                <a:close/>
                <a:moveTo>
                  <a:pt x="798" y="1084"/>
                </a:moveTo>
                <a:cubicBezTo>
                  <a:pt x="601" y="1006"/>
                  <a:pt x="477" y="805"/>
                  <a:pt x="467" y="792"/>
                </a:cubicBezTo>
                <a:cubicBezTo>
                  <a:pt x="457" y="779"/>
                  <a:pt x="388" y="687"/>
                  <a:pt x="388" y="592"/>
                </a:cubicBezTo>
                <a:cubicBezTo>
                  <a:pt x="388" y="496"/>
                  <a:pt x="438" y="449"/>
                  <a:pt x="456" y="430"/>
                </a:cubicBezTo>
                <a:cubicBezTo>
                  <a:pt x="473" y="411"/>
                  <a:pt x="494" y="406"/>
                  <a:pt x="507" y="406"/>
                </a:cubicBezTo>
                <a:cubicBezTo>
                  <a:pt x="520" y="406"/>
                  <a:pt x="533" y="406"/>
                  <a:pt x="544" y="406"/>
                </a:cubicBezTo>
                <a:cubicBezTo>
                  <a:pt x="558" y="407"/>
                  <a:pt x="573" y="408"/>
                  <a:pt x="588" y="440"/>
                </a:cubicBezTo>
                <a:cubicBezTo>
                  <a:pt x="588" y="440"/>
                  <a:pt x="588" y="440"/>
                  <a:pt x="588" y="440"/>
                </a:cubicBezTo>
                <a:cubicBezTo>
                  <a:pt x="605" y="478"/>
                  <a:pt x="643" y="574"/>
                  <a:pt x="647" y="583"/>
                </a:cubicBezTo>
                <a:cubicBezTo>
                  <a:pt x="652" y="593"/>
                  <a:pt x="656" y="604"/>
                  <a:pt x="649" y="617"/>
                </a:cubicBezTo>
                <a:cubicBezTo>
                  <a:pt x="643" y="630"/>
                  <a:pt x="639" y="638"/>
                  <a:pt x="630" y="650"/>
                </a:cubicBezTo>
                <a:cubicBezTo>
                  <a:pt x="620" y="661"/>
                  <a:pt x="609" y="675"/>
                  <a:pt x="601" y="684"/>
                </a:cubicBezTo>
                <a:cubicBezTo>
                  <a:pt x="591" y="693"/>
                  <a:pt x="581" y="704"/>
                  <a:pt x="592" y="723"/>
                </a:cubicBezTo>
                <a:cubicBezTo>
                  <a:pt x="604" y="742"/>
                  <a:pt x="642" y="806"/>
                  <a:pt x="700" y="857"/>
                </a:cubicBezTo>
                <a:cubicBezTo>
                  <a:pt x="774" y="923"/>
                  <a:pt x="836" y="943"/>
                  <a:pt x="856" y="953"/>
                </a:cubicBezTo>
                <a:cubicBezTo>
                  <a:pt x="875" y="963"/>
                  <a:pt x="886" y="961"/>
                  <a:pt x="898" y="948"/>
                </a:cubicBezTo>
                <a:cubicBezTo>
                  <a:pt x="909" y="935"/>
                  <a:pt x="946" y="892"/>
                  <a:pt x="959" y="872"/>
                </a:cubicBezTo>
                <a:cubicBezTo>
                  <a:pt x="972" y="853"/>
                  <a:pt x="985" y="856"/>
                  <a:pt x="1002" y="863"/>
                </a:cubicBezTo>
                <a:cubicBezTo>
                  <a:pt x="1020" y="869"/>
                  <a:pt x="1115" y="916"/>
                  <a:pt x="1135" y="926"/>
                </a:cubicBezTo>
                <a:cubicBezTo>
                  <a:pt x="1154" y="935"/>
                  <a:pt x="1167" y="940"/>
                  <a:pt x="1172" y="948"/>
                </a:cubicBezTo>
                <a:cubicBezTo>
                  <a:pt x="1177" y="956"/>
                  <a:pt x="1177" y="995"/>
                  <a:pt x="1160" y="1040"/>
                </a:cubicBezTo>
                <a:cubicBezTo>
                  <a:pt x="1144" y="1086"/>
                  <a:pt x="1065" y="1129"/>
                  <a:pt x="1030" y="1132"/>
                </a:cubicBezTo>
                <a:cubicBezTo>
                  <a:pt x="994" y="1136"/>
                  <a:pt x="961" y="1148"/>
                  <a:pt x="798" y="108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1" name="Freeform 5">
            <a:extLst>
              <a:ext uri="{FF2B5EF4-FFF2-40B4-BE49-F238E27FC236}">
                <a16:creationId xmlns:a16="http://schemas.microsoft.com/office/drawing/2014/main" id="{94D27CD3-C414-48D3-AD19-B378FAEBEEE7}"/>
              </a:ext>
            </a:extLst>
          </p:cNvPr>
          <p:cNvSpPr>
            <a:spLocks noEditPoints="1"/>
          </p:cNvSpPr>
          <p:nvPr/>
        </p:nvSpPr>
        <p:spPr bwMode="auto">
          <a:xfrm>
            <a:off x="8263519" y="5172046"/>
            <a:ext cx="511899" cy="513727"/>
          </a:xfrm>
          <a:custGeom>
            <a:avLst/>
            <a:gdLst>
              <a:gd name="T0" fmla="*/ 1376 w 1556"/>
              <a:gd name="T1" fmla="*/ 1271 h 1563"/>
              <a:gd name="T2" fmla="*/ 1463 w 1556"/>
              <a:gd name="T3" fmla="*/ 1143 h 1563"/>
              <a:gd name="T4" fmla="*/ 1483 w 1556"/>
              <a:gd name="T5" fmla="*/ 1102 h 1563"/>
              <a:gd name="T6" fmla="*/ 1505 w 1556"/>
              <a:gd name="T7" fmla="*/ 1052 h 1563"/>
              <a:gd name="T8" fmla="*/ 1521 w 1556"/>
              <a:gd name="T9" fmla="*/ 1006 h 1563"/>
              <a:gd name="T10" fmla="*/ 1535 w 1556"/>
              <a:gd name="T11" fmla="*/ 953 h 1563"/>
              <a:gd name="T12" fmla="*/ 1545 w 1556"/>
              <a:gd name="T13" fmla="*/ 904 h 1563"/>
              <a:gd name="T14" fmla="*/ 1553 w 1556"/>
              <a:gd name="T15" fmla="*/ 849 h 1563"/>
              <a:gd name="T16" fmla="*/ 1556 w 1556"/>
              <a:gd name="T17" fmla="*/ 798 h 1563"/>
              <a:gd name="T18" fmla="*/ 1555 w 1556"/>
              <a:gd name="T19" fmla="*/ 740 h 1563"/>
              <a:gd name="T20" fmla="*/ 1551 w 1556"/>
              <a:gd name="T21" fmla="*/ 688 h 1563"/>
              <a:gd name="T22" fmla="*/ 1546 w 1556"/>
              <a:gd name="T23" fmla="*/ 645 h 1563"/>
              <a:gd name="T24" fmla="*/ 1398 w 1556"/>
              <a:gd name="T25" fmla="*/ 305 h 1563"/>
              <a:gd name="T26" fmla="*/ 1369 w 1556"/>
              <a:gd name="T27" fmla="*/ 269 h 1563"/>
              <a:gd name="T28" fmla="*/ 1330 w 1556"/>
              <a:gd name="T29" fmla="*/ 228 h 1563"/>
              <a:gd name="T30" fmla="*/ 1287 w 1556"/>
              <a:gd name="T31" fmla="*/ 188 h 1563"/>
              <a:gd name="T32" fmla="*/ 1245 w 1556"/>
              <a:gd name="T33" fmla="*/ 154 h 1563"/>
              <a:gd name="T34" fmla="*/ 1165 w 1556"/>
              <a:gd name="T35" fmla="*/ 101 h 1563"/>
              <a:gd name="T36" fmla="*/ 1120 w 1556"/>
              <a:gd name="T37" fmla="*/ 77 h 1563"/>
              <a:gd name="T38" fmla="*/ 1068 w 1556"/>
              <a:gd name="T39" fmla="*/ 54 h 1563"/>
              <a:gd name="T40" fmla="*/ 1016 w 1556"/>
              <a:gd name="T41" fmla="*/ 36 h 1563"/>
              <a:gd name="T42" fmla="*/ 961 w 1556"/>
              <a:gd name="T43" fmla="*/ 21 h 1563"/>
              <a:gd name="T44" fmla="*/ 906 w 1556"/>
              <a:gd name="T45" fmla="*/ 10 h 1563"/>
              <a:gd name="T46" fmla="*/ 850 w 1556"/>
              <a:gd name="T47" fmla="*/ 3 h 1563"/>
              <a:gd name="T48" fmla="*/ 782 w 1556"/>
              <a:gd name="T49" fmla="*/ 0 h 1563"/>
              <a:gd name="T50" fmla="*/ 7 w 1556"/>
              <a:gd name="T51" fmla="*/ 774 h 1563"/>
              <a:gd name="T52" fmla="*/ 0 w 1556"/>
              <a:gd name="T53" fmla="*/ 1563 h 1563"/>
              <a:gd name="T54" fmla="*/ 781 w 1556"/>
              <a:gd name="T55" fmla="*/ 1550 h 1563"/>
              <a:gd name="T56" fmla="*/ 811 w 1556"/>
              <a:gd name="T57" fmla="*/ 1549 h 1563"/>
              <a:gd name="T58" fmla="*/ 868 w 1556"/>
              <a:gd name="T59" fmla="*/ 1545 h 1563"/>
              <a:gd name="T60" fmla="*/ 921 w 1556"/>
              <a:gd name="T61" fmla="*/ 1537 h 1563"/>
              <a:gd name="T62" fmla="*/ 972 w 1556"/>
              <a:gd name="T63" fmla="*/ 1526 h 1563"/>
              <a:gd name="T64" fmla="*/ 1022 w 1556"/>
              <a:gd name="T65" fmla="*/ 1511 h 1563"/>
              <a:gd name="T66" fmla="*/ 1071 w 1556"/>
              <a:gd name="T67" fmla="*/ 1494 h 1563"/>
              <a:gd name="T68" fmla="*/ 1118 w 1556"/>
              <a:gd name="T69" fmla="*/ 1472 h 1563"/>
              <a:gd name="T70" fmla="*/ 1163 w 1556"/>
              <a:gd name="T71" fmla="*/ 1449 h 1563"/>
              <a:gd name="T72" fmla="*/ 1207 w 1556"/>
              <a:gd name="T73" fmla="*/ 1422 h 1563"/>
              <a:gd name="T74" fmla="*/ 1248 w 1556"/>
              <a:gd name="T75" fmla="*/ 1393 h 1563"/>
              <a:gd name="T76" fmla="*/ 1289 w 1556"/>
              <a:gd name="T77" fmla="*/ 1360 h 1563"/>
              <a:gd name="T78" fmla="*/ 1324 w 1556"/>
              <a:gd name="T79" fmla="*/ 1327 h 1563"/>
              <a:gd name="T80" fmla="*/ 781 w 1556"/>
              <a:gd name="T81" fmla="*/ 1405 h 1563"/>
              <a:gd name="T82" fmla="*/ 722 w 1556"/>
              <a:gd name="T83" fmla="*/ 1402 h 1563"/>
              <a:gd name="T84" fmla="*/ 241 w 1556"/>
              <a:gd name="T85" fmla="*/ 1165 h 1563"/>
              <a:gd name="T86" fmla="*/ 137 w 1556"/>
              <a:gd name="T87" fmla="*/ 760 h 1563"/>
              <a:gd name="T88" fmla="*/ 820 w 1556"/>
              <a:gd name="T89" fmla="*/ 118 h 1563"/>
              <a:gd name="T90" fmla="*/ 881 w 1556"/>
              <a:gd name="T91" fmla="*/ 124 h 1563"/>
              <a:gd name="T92" fmla="*/ 957 w 1556"/>
              <a:gd name="T93" fmla="*/ 141 h 1563"/>
              <a:gd name="T94" fmla="*/ 995 w 1556"/>
              <a:gd name="T95" fmla="*/ 153 h 1563"/>
              <a:gd name="T96" fmla="*/ 1116 w 1556"/>
              <a:gd name="T97" fmla="*/ 210 h 1563"/>
              <a:gd name="T98" fmla="*/ 1149 w 1556"/>
              <a:gd name="T99" fmla="*/ 232 h 1563"/>
              <a:gd name="T100" fmla="*/ 1210 w 1556"/>
              <a:gd name="T101" fmla="*/ 280 h 1563"/>
              <a:gd name="T102" fmla="*/ 1262 w 1556"/>
              <a:gd name="T103" fmla="*/ 332 h 1563"/>
              <a:gd name="T104" fmla="*/ 1423 w 1556"/>
              <a:gd name="T105" fmla="*/ 709 h 1563"/>
              <a:gd name="T106" fmla="*/ 1425 w 1556"/>
              <a:gd name="T107" fmla="*/ 763 h 1563"/>
              <a:gd name="T108" fmla="*/ 819 w 1556"/>
              <a:gd name="T109" fmla="*/ 1404 h 1563"/>
              <a:gd name="T110" fmla="*/ 798 w 1556"/>
              <a:gd name="T111" fmla="*/ 1084 h 1563"/>
              <a:gd name="T112" fmla="*/ 544 w 1556"/>
              <a:gd name="T113" fmla="*/ 406 h 1563"/>
              <a:gd name="T114" fmla="*/ 630 w 1556"/>
              <a:gd name="T115" fmla="*/ 650 h 1563"/>
              <a:gd name="T116" fmla="*/ 898 w 1556"/>
              <a:gd name="T117" fmla="*/ 948 h 1563"/>
              <a:gd name="T118" fmla="*/ 1160 w 1556"/>
              <a:gd name="T119" fmla="*/ 1040 h 1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56" h="1563">
                <a:moveTo>
                  <a:pt x="1351" y="1299"/>
                </a:moveTo>
                <a:cubicBezTo>
                  <a:pt x="1355" y="1296"/>
                  <a:pt x="1358" y="1292"/>
                  <a:pt x="1361" y="1288"/>
                </a:cubicBezTo>
                <a:cubicBezTo>
                  <a:pt x="1362" y="1287"/>
                  <a:pt x="1363" y="1286"/>
                  <a:pt x="1364" y="1285"/>
                </a:cubicBezTo>
                <a:cubicBezTo>
                  <a:pt x="1368" y="1281"/>
                  <a:pt x="1371" y="1277"/>
                  <a:pt x="1374" y="1273"/>
                </a:cubicBezTo>
                <a:cubicBezTo>
                  <a:pt x="1375" y="1272"/>
                  <a:pt x="1376" y="1271"/>
                  <a:pt x="1376" y="1271"/>
                </a:cubicBezTo>
                <a:cubicBezTo>
                  <a:pt x="1401" y="1241"/>
                  <a:pt x="1424" y="1209"/>
                  <a:pt x="1444" y="1176"/>
                </a:cubicBezTo>
                <a:cubicBezTo>
                  <a:pt x="1444" y="1175"/>
                  <a:pt x="1445" y="1175"/>
                  <a:pt x="1445" y="1175"/>
                </a:cubicBezTo>
                <a:cubicBezTo>
                  <a:pt x="1448" y="1170"/>
                  <a:pt x="1451" y="1165"/>
                  <a:pt x="1453" y="1160"/>
                </a:cubicBezTo>
                <a:cubicBezTo>
                  <a:pt x="1454" y="1159"/>
                  <a:pt x="1455" y="1158"/>
                  <a:pt x="1455" y="1157"/>
                </a:cubicBezTo>
                <a:cubicBezTo>
                  <a:pt x="1458" y="1153"/>
                  <a:pt x="1460" y="1148"/>
                  <a:pt x="1463" y="1143"/>
                </a:cubicBezTo>
                <a:cubicBezTo>
                  <a:pt x="1463" y="1142"/>
                  <a:pt x="1464" y="1141"/>
                  <a:pt x="1465" y="1139"/>
                </a:cubicBezTo>
                <a:cubicBezTo>
                  <a:pt x="1467" y="1135"/>
                  <a:pt x="1470" y="1130"/>
                  <a:pt x="1472" y="1126"/>
                </a:cubicBezTo>
                <a:cubicBezTo>
                  <a:pt x="1473" y="1124"/>
                  <a:pt x="1474" y="1123"/>
                  <a:pt x="1474" y="1121"/>
                </a:cubicBezTo>
                <a:cubicBezTo>
                  <a:pt x="1477" y="1117"/>
                  <a:pt x="1479" y="1112"/>
                  <a:pt x="1481" y="1108"/>
                </a:cubicBezTo>
                <a:cubicBezTo>
                  <a:pt x="1482" y="1106"/>
                  <a:pt x="1483" y="1104"/>
                  <a:pt x="1483" y="1102"/>
                </a:cubicBezTo>
                <a:cubicBezTo>
                  <a:pt x="1485" y="1098"/>
                  <a:pt x="1487" y="1094"/>
                  <a:pt x="1489" y="1090"/>
                </a:cubicBezTo>
                <a:cubicBezTo>
                  <a:pt x="1490" y="1088"/>
                  <a:pt x="1491" y="1086"/>
                  <a:pt x="1492" y="1084"/>
                </a:cubicBezTo>
                <a:cubicBezTo>
                  <a:pt x="1494" y="1080"/>
                  <a:pt x="1495" y="1075"/>
                  <a:pt x="1497" y="1071"/>
                </a:cubicBezTo>
                <a:cubicBezTo>
                  <a:pt x="1498" y="1069"/>
                  <a:pt x="1499" y="1067"/>
                  <a:pt x="1500" y="1065"/>
                </a:cubicBezTo>
                <a:cubicBezTo>
                  <a:pt x="1502" y="1061"/>
                  <a:pt x="1503" y="1056"/>
                  <a:pt x="1505" y="1052"/>
                </a:cubicBezTo>
                <a:cubicBezTo>
                  <a:pt x="1506" y="1050"/>
                  <a:pt x="1507" y="1048"/>
                  <a:pt x="1507" y="1045"/>
                </a:cubicBezTo>
                <a:cubicBezTo>
                  <a:pt x="1509" y="1041"/>
                  <a:pt x="1510" y="1037"/>
                  <a:pt x="1512" y="1033"/>
                </a:cubicBezTo>
                <a:cubicBezTo>
                  <a:pt x="1513" y="1031"/>
                  <a:pt x="1514" y="1028"/>
                  <a:pt x="1514" y="1026"/>
                </a:cubicBezTo>
                <a:cubicBezTo>
                  <a:pt x="1516" y="1022"/>
                  <a:pt x="1517" y="1018"/>
                  <a:pt x="1519" y="1013"/>
                </a:cubicBezTo>
                <a:cubicBezTo>
                  <a:pt x="1519" y="1011"/>
                  <a:pt x="1520" y="1009"/>
                  <a:pt x="1521" y="1006"/>
                </a:cubicBezTo>
                <a:cubicBezTo>
                  <a:pt x="1522" y="1002"/>
                  <a:pt x="1523" y="998"/>
                  <a:pt x="1525" y="994"/>
                </a:cubicBezTo>
                <a:cubicBezTo>
                  <a:pt x="1525" y="991"/>
                  <a:pt x="1526" y="989"/>
                  <a:pt x="1527" y="986"/>
                </a:cubicBezTo>
                <a:cubicBezTo>
                  <a:pt x="1528" y="982"/>
                  <a:pt x="1529" y="978"/>
                  <a:pt x="1530" y="974"/>
                </a:cubicBezTo>
                <a:cubicBezTo>
                  <a:pt x="1531" y="971"/>
                  <a:pt x="1532" y="969"/>
                  <a:pt x="1532" y="966"/>
                </a:cubicBezTo>
                <a:cubicBezTo>
                  <a:pt x="1533" y="962"/>
                  <a:pt x="1534" y="958"/>
                  <a:pt x="1535" y="953"/>
                </a:cubicBezTo>
                <a:cubicBezTo>
                  <a:pt x="1536" y="951"/>
                  <a:pt x="1537" y="948"/>
                  <a:pt x="1537" y="946"/>
                </a:cubicBezTo>
                <a:cubicBezTo>
                  <a:pt x="1538" y="941"/>
                  <a:pt x="1539" y="937"/>
                  <a:pt x="1540" y="933"/>
                </a:cubicBezTo>
                <a:cubicBezTo>
                  <a:pt x="1541" y="930"/>
                  <a:pt x="1541" y="928"/>
                  <a:pt x="1542" y="925"/>
                </a:cubicBezTo>
                <a:cubicBezTo>
                  <a:pt x="1542" y="921"/>
                  <a:pt x="1543" y="917"/>
                  <a:pt x="1544" y="912"/>
                </a:cubicBezTo>
                <a:cubicBezTo>
                  <a:pt x="1544" y="910"/>
                  <a:pt x="1545" y="907"/>
                  <a:pt x="1545" y="904"/>
                </a:cubicBezTo>
                <a:cubicBezTo>
                  <a:pt x="1546" y="900"/>
                  <a:pt x="1547" y="896"/>
                  <a:pt x="1547" y="891"/>
                </a:cubicBezTo>
                <a:cubicBezTo>
                  <a:pt x="1548" y="889"/>
                  <a:pt x="1548" y="886"/>
                  <a:pt x="1549" y="883"/>
                </a:cubicBezTo>
                <a:cubicBezTo>
                  <a:pt x="1549" y="879"/>
                  <a:pt x="1550" y="875"/>
                  <a:pt x="1550" y="870"/>
                </a:cubicBezTo>
                <a:cubicBezTo>
                  <a:pt x="1551" y="868"/>
                  <a:pt x="1551" y="865"/>
                  <a:pt x="1551" y="862"/>
                </a:cubicBezTo>
                <a:cubicBezTo>
                  <a:pt x="1552" y="858"/>
                  <a:pt x="1552" y="853"/>
                  <a:pt x="1553" y="849"/>
                </a:cubicBezTo>
                <a:cubicBezTo>
                  <a:pt x="1553" y="846"/>
                  <a:pt x="1553" y="844"/>
                  <a:pt x="1553" y="841"/>
                </a:cubicBezTo>
                <a:cubicBezTo>
                  <a:pt x="1554" y="837"/>
                  <a:pt x="1554" y="832"/>
                  <a:pt x="1554" y="828"/>
                </a:cubicBezTo>
                <a:cubicBezTo>
                  <a:pt x="1555" y="825"/>
                  <a:pt x="1555" y="822"/>
                  <a:pt x="1555" y="820"/>
                </a:cubicBezTo>
                <a:cubicBezTo>
                  <a:pt x="1555" y="815"/>
                  <a:pt x="1555" y="811"/>
                  <a:pt x="1556" y="806"/>
                </a:cubicBezTo>
                <a:cubicBezTo>
                  <a:pt x="1556" y="803"/>
                  <a:pt x="1556" y="801"/>
                  <a:pt x="1556" y="798"/>
                </a:cubicBezTo>
                <a:cubicBezTo>
                  <a:pt x="1556" y="793"/>
                  <a:pt x="1556" y="789"/>
                  <a:pt x="1556" y="784"/>
                </a:cubicBezTo>
                <a:cubicBezTo>
                  <a:pt x="1556" y="782"/>
                  <a:pt x="1556" y="779"/>
                  <a:pt x="1556" y="776"/>
                </a:cubicBezTo>
                <a:cubicBezTo>
                  <a:pt x="1556" y="772"/>
                  <a:pt x="1556" y="767"/>
                  <a:pt x="1556" y="762"/>
                </a:cubicBezTo>
                <a:cubicBezTo>
                  <a:pt x="1556" y="760"/>
                  <a:pt x="1556" y="757"/>
                  <a:pt x="1556" y="754"/>
                </a:cubicBezTo>
                <a:cubicBezTo>
                  <a:pt x="1556" y="750"/>
                  <a:pt x="1556" y="745"/>
                  <a:pt x="1555" y="740"/>
                </a:cubicBezTo>
                <a:cubicBezTo>
                  <a:pt x="1555" y="738"/>
                  <a:pt x="1555" y="735"/>
                  <a:pt x="1555" y="733"/>
                </a:cubicBezTo>
                <a:cubicBezTo>
                  <a:pt x="1555" y="728"/>
                  <a:pt x="1555" y="723"/>
                  <a:pt x="1554" y="718"/>
                </a:cubicBezTo>
                <a:cubicBezTo>
                  <a:pt x="1554" y="716"/>
                  <a:pt x="1554" y="713"/>
                  <a:pt x="1554" y="710"/>
                </a:cubicBezTo>
                <a:cubicBezTo>
                  <a:pt x="1553" y="706"/>
                  <a:pt x="1553" y="701"/>
                  <a:pt x="1552" y="696"/>
                </a:cubicBezTo>
                <a:cubicBezTo>
                  <a:pt x="1552" y="693"/>
                  <a:pt x="1552" y="691"/>
                  <a:pt x="1551" y="688"/>
                </a:cubicBezTo>
                <a:cubicBezTo>
                  <a:pt x="1551" y="683"/>
                  <a:pt x="1550" y="679"/>
                  <a:pt x="1550" y="674"/>
                </a:cubicBezTo>
                <a:cubicBezTo>
                  <a:pt x="1550" y="673"/>
                  <a:pt x="1550" y="673"/>
                  <a:pt x="1550" y="672"/>
                </a:cubicBezTo>
                <a:cubicBezTo>
                  <a:pt x="1549" y="671"/>
                  <a:pt x="1549" y="669"/>
                  <a:pt x="1549" y="668"/>
                </a:cubicBezTo>
                <a:cubicBezTo>
                  <a:pt x="1548" y="661"/>
                  <a:pt x="1547" y="655"/>
                  <a:pt x="1546" y="648"/>
                </a:cubicBezTo>
                <a:cubicBezTo>
                  <a:pt x="1546" y="647"/>
                  <a:pt x="1546" y="646"/>
                  <a:pt x="1546" y="645"/>
                </a:cubicBezTo>
                <a:cubicBezTo>
                  <a:pt x="1545" y="641"/>
                  <a:pt x="1544" y="636"/>
                  <a:pt x="1543" y="632"/>
                </a:cubicBezTo>
                <a:cubicBezTo>
                  <a:pt x="1524" y="524"/>
                  <a:pt x="1481" y="421"/>
                  <a:pt x="1418" y="332"/>
                </a:cubicBezTo>
                <a:cubicBezTo>
                  <a:pt x="1415" y="329"/>
                  <a:pt x="1413" y="325"/>
                  <a:pt x="1411" y="322"/>
                </a:cubicBezTo>
                <a:cubicBezTo>
                  <a:pt x="1410" y="321"/>
                  <a:pt x="1409" y="320"/>
                  <a:pt x="1408" y="319"/>
                </a:cubicBezTo>
                <a:cubicBezTo>
                  <a:pt x="1405" y="314"/>
                  <a:pt x="1401" y="309"/>
                  <a:pt x="1398" y="305"/>
                </a:cubicBezTo>
                <a:cubicBezTo>
                  <a:pt x="1396" y="303"/>
                  <a:pt x="1395" y="302"/>
                  <a:pt x="1394" y="300"/>
                </a:cubicBezTo>
                <a:cubicBezTo>
                  <a:pt x="1393" y="299"/>
                  <a:pt x="1392" y="298"/>
                  <a:pt x="1392" y="297"/>
                </a:cubicBezTo>
                <a:cubicBezTo>
                  <a:pt x="1389" y="294"/>
                  <a:pt x="1386" y="291"/>
                  <a:pt x="1384" y="287"/>
                </a:cubicBezTo>
                <a:cubicBezTo>
                  <a:pt x="1382" y="285"/>
                  <a:pt x="1379" y="282"/>
                  <a:pt x="1377" y="279"/>
                </a:cubicBezTo>
                <a:cubicBezTo>
                  <a:pt x="1374" y="276"/>
                  <a:pt x="1371" y="273"/>
                  <a:pt x="1369" y="269"/>
                </a:cubicBezTo>
                <a:cubicBezTo>
                  <a:pt x="1366" y="267"/>
                  <a:pt x="1364" y="264"/>
                  <a:pt x="1362" y="261"/>
                </a:cubicBezTo>
                <a:cubicBezTo>
                  <a:pt x="1359" y="258"/>
                  <a:pt x="1356" y="255"/>
                  <a:pt x="1353" y="252"/>
                </a:cubicBezTo>
                <a:cubicBezTo>
                  <a:pt x="1351" y="249"/>
                  <a:pt x="1349" y="247"/>
                  <a:pt x="1346" y="244"/>
                </a:cubicBezTo>
                <a:cubicBezTo>
                  <a:pt x="1343" y="241"/>
                  <a:pt x="1340" y="238"/>
                  <a:pt x="1337" y="235"/>
                </a:cubicBezTo>
                <a:cubicBezTo>
                  <a:pt x="1335" y="233"/>
                  <a:pt x="1333" y="230"/>
                  <a:pt x="1330" y="228"/>
                </a:cubicBezTo>
                <a:cubicBezTo>
                  <a:pt x="1327" y="225"/>
                  <a:pt x="1324" y="222"/>
                  <a:pt x="1321" y="219"/>
                </a:cubicBezTo>
                <a:cubicBezTo>
                  <a:pt x="1319" y="217"/>
                  <a:pt x="1316" y="214"/>
                  <a:pt x="1314" y="212"/>
                </a:cubicBezTo>
                <a:cubicBezTo>
                  <a:pt x="1311" y="209"/>
                  <a:pt x="1308" y="206"/>
                  <a:pt x="1304" y="203"/>
                </a:cubicBezTo>
                <a:cubicBezTo>
                  <a:pt x="1302" y="201"/>
                  <a:pt x="1300" y="199"/>
                  <a:pt x="1297" y="197"/>
                </a:cubicBezTo>
                <a:cubicBezTo>
                  <a:pt x="1294" y="194"/>
                  <a:pt x="1291" y="191"/>
                  <a:pt x="1287" y="188"/>
                </a:cubicBezTo>
                <a:cubicBezTo>
                  <a:pt x="1285" y="186"/>
                  <a:pt x="1283" y="184"/>
                  <a:pt x="1280" y="182"/>
                </a:cubicBezTo>
                <a:cubicBezTo>
                  <a:pt x="1277" y="179"/>
                  <a:pt x="1273" y="176"/>
                  <a:pt x="1270" y="173"/>
                </a:cubicBezTo>
                <a:cubicBezTo>
                  <a:pt x="1268" y="171"/>
                  <a:pt x="1265" y="170"/>
                  <a:pt x="1263" y="168"/>
                </a:cubicBezTo>
                <a:cubicBezTo>
                  <a:pt x="1259" y="165"/>
                  <a:pt x="1256" y="162"/>
                  <a:pt x="1252" y="159"/>
                </a:cubicBezTo>
                <a:cubicBezTo>
                  <a:pt x="1250" y="158"/>
                  <a:pt x="1248" y="156"/>
                  <a:pt x="1245" y="154"/>
                </a:cubicBezTo>
                <a:cubicBezTo>
                  <a:pt x="1242" y="151"/>
                  <a:pt x="1238" y="148"/>
                  <a:pt x="1234" y="146"/>
                </a:cubicBezTo>
                <a:cubicBezTo>
                  <a:pt x="1232" y="144"/>
                  <a:pt x="1230" y="143"/>
                  <a:pt x="1228" y="142"/>
                </a:cubicBezTo>
                <a:cubicBezTo>
                  <a:pt x="1224" y="139"/>
                  <a:pt x="1220" y="136"/>
                  <a:pt x="1216" y="133"/>
                </a:cubicBezTo>
                <a:cubicBezTo>
                  <a:pt x="1215" y="132"/>
                  <a:pt x="1214" y="132"/>
                  <a:pt x="1213" y="131"/>
                </a:cubicBezTo>
                <a:cubicBezTo>
                  <a:pt x="1198" y="121"/>
                  <a:pt x="1181" y="111"/>
                  <a:pt x="1165" y="101"/>
                </a:cubicBezTo>
                <a:cubicBezTo>
                  <a:pt x="1163" y="100"/>
                  <a:pt x="1161" y="99"/>
                  <a:pt x="1159" y="98"/>
                </a:cubicBezTo>
                <a:cubicBezTo>
                  <a:pt x="1155" y="96"/>
                  <a:pt x="1151" y="94"/>
                  <a:pt x="1147" y="91"/>
                </a:cubicBezTo>
                <a:cubicBezTo>
                  <a:pt x="1145" y="90"/>
                  <a:pt x="1142" y="89"/>
                  <a:pt x="1140" y="87"/>
                </a:cubicBezTo>
                <a:cubicBezTo>
                  <a:pt x="1136" y="85"/>
                  <a:pt x="1132" y="83"/>
                  <a:pt x="1128" y="81"/>
                </a:cubicBezTo>
                <a:cubicBezTo>
                  <a:pt x="1125" y="80"/>
                  <a:pt x="1122" y="79"/>
                  <a:pt x="1120" y="77"/>
                </a:cubicBezTo>
                <a:cubicBezTo>
                  <a:pt x="1116" y="75"/>
                  <a:pt x="1112" y="74"/>
                  <a:pt x="1108" y="72"/>
                </a:cubicBezTo>
                <a:cubicBezTo>
                  <a:pt x="1105" y="71"/>
                  <a:pt x="1102" y="69"/>
                  <a:pt x="1099" y="68"/>
                </a:cubicBezTo>
                <a:cubicBezTo>
                  <a:pt x="1096" y="66"/>
                  <a:pt x="1092" y="64"/>
                  <a:pt x="1088" y="63"/>
                </a:cubicBezTo>
                <a:cubicBezTo>
                  <a:pt x="1085" y="62"/>
                  <a:pt x="1082" y="60"/>
                  <a:pt x="1079" y="59"/>
                </a:cubicBezTo>
                <a:cubicBezTo>
                  <a:pt x="1075" y="57"/>
                  <a:pt x="1071" y="56"/>
                  <a:pt x="1068" y="54"/>
                </a:cubicBezTo>
                <a:cubicBezTo>
                  <a:pt x="1064" y="53"/>
                  <a:pt x="1061" y="52"/>
                  <a:pt x="1058" y="51"/>
                </a:cubicBezTo>
                <a:cubicBezTo>
                  <a:pt x="1054" y="49"/>
                  <a:pt x="1051" y="48"/>
                  <a:pt x="1047" y="47"/>
                </a:cubicBezTo>
                <a:cubicBezTo>
                  <a:pt x="1044" y="45"/>
                  <a:pt x="1040" y="44"/>
                  <a:pt x="1037" y="43"/>
                </a:cubicBezTo>
                <a:cubicBezTo>
                  <a:pt x="1033" y="42"/>
                  <a:pt x="1030" y="40"/>
                  <a:pt x="1026" y="39"/>
                </a:cubicBezTo>
                <a:cubicBezTo>
                  <a:pt x="1023" y="38"/>
                  <a:pt x="1019" y="37"/>
                  <a:pt x="1016" y="36"/>
                </a:cubicBezTo>
                <a:cubicBezTo>
                  <a:pt x="1012" y="35"/>
                  <a:pt x="1008" y="34"/>
                  <a:pt x="1005" y="32"/>
                </a:cubicBezTo>
                <a:cubicBezTo>
                  <a:pt x="1001" y="31"/>
                  <a:pt x="998" y="30"/>
                  <a:pt x="994" y="29"/>
                </a:cubicBezTo>
                <a:cubicBezTo>
                  <a:pt x="991" y="28"/>
                  <a:pt x="987" y="27"/>
                  <a:pt x="983" y="26"/>
                </a:cubicBezTo>
                <a:cubicBezTo>
                  <a:pt x="980" y="25"/>
                  <a:pt x="976" y="25"/>
                  <a:pt x="972" y="24"/>
                </a:cubicBezTo>
                <a:cubicBezTo>
                  <a:pt x="969" y="23"/>
                  <a:pt x="965" y="22"/>
                  <a:pt x="961" y="21"/>
                </a:cubicBezTo>
                <a:cubicBezTo>
                  <a:pt x="958" y="20"/>
                  <a:pt x="954" y="19"/>
                  <a:pt x="950" y="18"/>
                </a:cubicBezTo>
                <a:cubicBezTo>
                  <a:pt x="947" y="18"/>
                  <a:pt x="943" y="17"/>
                  <a:pt x="940" y="16"/>
                </a:cubicBezTo>
                <a:cubicBezTo>
                  <a:pt x="936" y="15"/>
                  <a:pt x="932" y="15"/>
                  <a:pt x="928" y="14"/>
                </a:cubicBezTo>
                <a:cubicBezTo>
                  <a:pt x="925" y="13"/>
                  <a:pt x="921" y="12"/>
                  <a:pt x="917" y="12"/>
                </a:cubicBezTo>
                <a:cubicBezTo>
                  <a:pt x="914" y="11"/>
                  <a:pt x="910" y="11"/>
                  <a:pt x="906" y="10"/>
                </a:cubicBezTo>
                <a:cubicBezTo>
                  <a:pt x="902" y="9"/>
                  <a:pt x="899" y="9"/>
                  <a:pt x="895" y="8"/>
                </a:cubicBezTo>
                <a:cubicBezTo>
                  <a:pt x="891" y="8"/>
                  <a:pt x="887" y="7"/>
                  <a:pt x="883" y="7"/>
                </a:cubicBezTo>
                <a:cubicBezTo>
                  <a:pt x="880" y="6"/>
                  <a:pt x="876" y="6"/>
                  <a:pt x="873" y="5"/>
                </a:cubicBezTo>
                <a:cubicBezTo>
                  <a:pt x="869" y="5"/>
                  <a:pt x="864" y="4"/>
                  <a:pt x="860" y="4"/>
                </a:cubicBezTo>
                <a:cubicBezTo>
                  <a:pt x="857" y="4"/>
                  <a:pt x="854" y="3"/>
                  <a:pt x="850" y="3"/>
                </a:cubicBezTo>
                <a:cubicBezTo>
                  <a:pt x="846" y="3"/>
                  <a:pt x="841" y="2"/>
                  <a:pt x="837" y="2"/>
                </a:cubicBezTo>
                <a:cubicBezTo>
                  <a:pt x="834" y="2"/>
                  <a:pt x="831" y="1"/>
                  <a:pt x="827" y="1"/>
                </a:cubicBezTo>
                <a:cubicBezTo>
                  <a:pt x="822" y="1"/>
                  <a:pt x="818" y="1"/>
                  <a:pt x="813" y="1"/>
                </a:cubicBezTo>
                <a:cubicBezTo>
                  <a:pt x="810" y="1"/>
                  <a:pt x="807" y="0"/>
                  <a:pt x="804" y="0"/>
                </a:cubicBezTo>
                <a:cubicBezTo>
                  <a:pt x="797" y="0"/>
                  <a:pt x="790" y="0"/>
                  <a:pt x="782" y="0"/>
                </a:cubicBezTo>
                <a:cubicBezTo>
                  <a:pt x="782" y="0"/>
                  <a:pt x="782" y="0"/>
                  <a:pt x="781" y="0"/>
                </a:cubicBezTo>
                <a:cubicBezTo>
                  <a:pt x="781" y="0"/>
                  <a:pt x="781" y="0"/>
                  <a:pt x="781" y="0"/>
                </a:cubicBezTo>
                <a:cubicBezTo>
                  <a:pt x="781" y="0"/>
                  <a:pt x="781" y="0"/>
                  <a:pt x="781" y="0"/>
                </a:cubicBezTo>
                <a:cubicBezTo>
                  <a:pt x="354" y="0"/>
                  <a:pt x="7" y="347"/>
                  <a:pt x="7" y="774"/>
                </a:cubicBezTo>
                <a:cubicBezTo>
                  <a:pt x="7" y="774"/>
                  <a:pt x="7" y="774"/>
                  <a:pt x="7" y="774"/>
                </a:cubicBezTo>
                <a:cubicBezTo>
                  <a:pt x="7" y="911"/>
                  <a:pt x="42" y="1044"/>
                  <a:pt x="110" y="1162"/>
                </a:cubicBezTo>
                <a:cubicBezTo>
                  <a:pt x="61" y="1339"/>
                  <a:pt x="61" y="1339"/>
                  <a:pt x="61" y="1339"/>
                </a:cubicBezTo>
                <a:cubicBezTo>
                  <a:pt x="0" y="1563"/>
                  <a:pt x="0" y="1563"/>
                  <a:pt x="0" y="1563"/>
                </a:cubicBezTo>
                <a:cubicBezTo>
                  <a:pt x="0" y="1563"/>
                  <a:pt x="0" y="1563"/>
                  <a:pt x="0" y="1563"/>
                </a:cubicBezTo>
                <a:cubicBezTo>
                  <a:pt x="0" y="1563"/>
                  <a:pt x="0" y="1563"/>
                  <a:pt x="0" y="1563"/>
                </a:cubicBezTo>
                <a:cubicBezTo>
                  <a:pt x="411" y="1455"/>
                  <a:pt x="411" y="1455"/>
                  <a:pt x="411" y="1455"/>
                </a:cubicBezTo>
                <a:cubicBezTo>
                  <a:pt x="460" y="1482"/>
                  <a:pt x="513" y="1504"/>
                  <a:pt x="567" y="1519"/>
                </a:cubicBezTo>
                <a:cubicBezTo>
                  <a:pt x="634" y="1539"/>
                  <a:pt x="704" y="1549"/>
                  <a:pt x="775" y="1550"/>
                </a:cubicBezTo>
                <a:cubicBezTo>
                  <a:pt x="777" y="1550"/>
                  <a:pt x="779" y="1550"/>
                  <a:pt x="781" y="1550"/>
                </a:cubicBezTo>
                <a:cubicBezTo>
                  <a:pt x="781" y="1550"/>
                  <a:pt x="781" y="1550"/>
                  <a:pt x="781" y="1550"/>
                </a:cubicBezTo>
                <a:cubicBezTo>
                  <a:pt x="781" y="1550"/>
                  <a:pt x="781" y="1550"/>
                  <a:pt x="781" y="1550"/>
                </a:cubicBezTo>
                <a:cubicBezTo>
                  <a:pt x="781" y="1550"/>
                  <a:pt x="781" y="1550"/>
                  <a:pt x="781" y="1550"/>
                </a:cubicBezTo>
                <a:cubicBezTo>
                  <a:pt x="782" y="1550"/>
                  <a:pt x="782" y="1550"/>
                  <a:pt x="782" y="1550"/>
                </a:cubicBezTo>
                <a:cubicBezTo>
                  <a:pt x="789" y="1550"/>
                  <a:pt x="796" y="1549"/>
                  <a:pt x="803" y="1549"/>
                </a:cubicBezTo>
                <a:cubicBezTo>
                  <a:pt x="806" y="1549"/>
                  <a:pt x="809" y="1549"/>
                  <a:pt x="811" y="1549"/>
                </a:cubicBezTo>
                <a:cubicBezTo>
                  <a:pt x="816" y="1549"/>
                  <a:pt x="820" y="1549"/>
                  <a:pt x="825" y="1548"/>
                </a:cubicBezTo>
                <a:cubicBezTo>
                  <a:pt x="828" y="1548"/>
                  <a:pt x="831" y="1548"/>
                  <a:pt x="834" y="1548"/>
                </a:cubicBezTo>
                <a:cubicBezTo>
                  <a:pt x="838" y="1547"/>
                  <a:pt x="842" y="1547"/>
                  <a:pt x="846" y="1547"/>
                </a:cubicBezTo>
                <a:cubicBezTo>
                  <a:pt x="850" y="1547"/>
                  <a:pt x="853" y="1546"/>
                  <a:pt x="856" y="1546"/>
                </a:cubicBezTo>
                <a:cubicBezTo>
                  <a:pt x="860" y="1546"/>
                  <a:pt x="864" y="1545"/>
                  <a:pt x="868" y="1545"/>
                </a:cubicBezTo>
                <a:cubicBezTo>
                  <a:pt x="871" y="1544"/>
                  <a:pt x="875" y="1544"/>
                  <a:pt x="878" y="1544"/>
                </a:cubicBezTo>
                <a:cubicBezTo>
                  <a:pt x="882" y="1543"/>
                  <a:pt x="885" y="1543"/>
                  <a:pt x="889" y="1542"/>
                </a:cubicBezTo>
                <a:cubicBezTo>
                  <a:pt x="893" y="1542"/>
                  <a:pt x="896" y="1541"/>
                  <a:pt x="899" y="1541"/>
                </a:cubicBezTo>
                <a:cubicBezTo>
                  <a:pt x="903" y="1540"/>
                  <a:pt x="907" y="1539"/>
                  <a:pt x="910" y="1539"/>
                </a:cubicBezTo>
                <a:cubicBezTo>
                  <a:pt x="914" y="1538"/>
                  <a:pt x="917" y="1538"/>
                  <a:pt x="921" y="1537"/>
                </a:cubicBezTo>
                <a:cubicBezTo>
                  <a:pt x="924" y="1536"/>
                  <a:pt x="927" y="1536"/>
                  <a:pt x="931" y="1535"/>
                </a:cubicBezTo>
                <a:cubicBezTo>
                  <a:pt x="934" y="1534"/>
                  <a:pt x="938" y="1534"/>
                  <a:pt x="941" y="1533"/>
                </a:cubicBezTo>
                <a:cubicBezTo>
                  <a:pt x="945" y="1532"/>
                  <a:pt x="948" y="1532"/>
                  <a:pt x="951" y="1531"/>
                </a:cubicBezTo>
                <a:cubicBezTo>
                  <a:pt x="955" y="1530"/>
                  <a:pt x="958" y="1529"/>
                  <a:pt x="962" y="1528"/>
                </a:cubicBezTo>
                <a:cubicBezTo>
                  <a:pt x="965" y="1527"/>
                  <a:pt x="969" y="1527"/>
                  <a:pt x="972" y="1526"/>
                </a:cubicBezTo>
                <a:cubicBezTo>
                  <a:pt x="975" y="1525"/>
                  <a:pt x="979" y="1524"/>
                  <a:pt x="982" y="1523"/>
                </a:cubicBezTo>
                <a:cubicBezTo>
                  <a:pt x="986" y="1522"/>
                  <a:pt x="989" y="1521"/>
                  <a:pt x="992" y="1520"/>
                </a:cubicBezTo>
                <a:cubicBezTo>
                  <a:pt x="996" y="1519"/>
                  <a:pt x="999" y="1518"/>
                  <a:pt x="1003" y="1517"/>
                </a:cubicBezTo>
                <a:cubicBezTo>
                  <a:pt x="1006" y="1516"/>
                  <a:pt x="1009" y="1516"/>
                  <a:pt x="1012" y="1515"/>
                </a:cubicBezTo>
                <a:cubicBezTo>
                  <a:pt x="1016" y="1513"/>
                  <a:pt x="1019" y="1512"/>
                  <a:pt x="1022" y="1511"/>
                </a:cubicBezTo>
                <a:cubicBezTo>
                  <a:pt x="1026" y="1510"/>
                  <a:pt x="1029" y="1509"/>
                  <a:pt x="1032" y="1508"/>
                </a:cubicBezTo>
                <a:cubicBezTo>
                  <a:pt x="1035" y="1507"/>
                  <a:pt x="1039" y="1506"/>
                  <a:pt x="1042" y="1504"/>
                </a:cubicBezTo>
                <a:cubicBezTo>
                  <a:pt x="1045" y="1503"/>
                  <a:pt x="1048" y="1502"/>
                  <a:pt x="1051" y="1501"/>
                </a:cubicBezTo>
                <a:cubicBezTo>
                  <a:pt x="1055" y="1500"/>
                  <a:pt x="1058" y="1498"/>
                  <a:pt x="1062" y="1497"/>
                </a:cubicBezTo>
                <a:cubicBezTo>
                  <a:pt x="1065" y="1496"/>
                  <a:pt x="1068" y="1495"/>
                  <a:pt x="1071" y="1494"/>
                </a:cubicBezTo>
                <a:cubicBezTo>
                  <a:pt x="1074" y="1492"/>
                  <a:pt x="1077" y="1491"/>
                  <a:pt x="1081" y="1489"/>
                </a:cubicBezTo>
                <a:cubicBezTo>
                  <a:pt x="1084" y="1488"/>
                  <a:pt x="1087" y="1487"/>
                  <a:pt x="1090" y="1486"/>
                </a:cubicBezTo>
                <a:cubicBezTo>
                  <a:pt x="1093" y="1484"/>
                  <a:pt x="1096" y="1483"/>
                  <a:pt x="1100" y="1481"/>
                </a:cubicBezTo>
                <a:cubicBezTo>
                  <a:pt x="1103" y="1480"/>
                  <a:pt x="1105" y="1478"/>
                  <a:pt x="1108" y="1477"/>
                </a:cubicBezTo>
                <a:cubicBezTo>
                  <a:pt x="1112" y="1476"/>
                  <a:pt x="1115" y="1474"/>
                  <a:pt x="1118" y="1472"/>
                </a:cubicBezTo>
                <a:cubicBezTo>
                  <a:pt x="1121" y="1471"/>
                  <a:pt x="1124" y="1470"/>
                  <a:pt x="1127" y="1468"/>
                </a:cubicBezTo>
                <a:cubicBezTo>
                  <a:pt x="1130" y="1467"/>
                  <a:pt x="1133" y="1465"/>
                  <a:pt x="1137" y="1463"/>
                </a:cubicBezTo>
                <a:cubicBezTo>
                  <a:pt x="1140" y="1462"/>
                  <a:pt x="1142" y="1460"/>
                  <a:pt x="1145" y="1459"/>
                </a:cubicBezTo>
                <a:cubicBezTo>
                  <a:pt x="1148" y="1457"/>
                  <a:pt x="1152" y="1455"/>
                  <a:pt x="1155" y="1453"/>
                </a:cubicBezTo>
                <a:cubicBezTo>
                  <a:pt x="1158" y="1452"/>
                  <a:pt x="1160" y="1450"/>
                  <a:pt x="1163" y="1449"/>
                </a:cubicBezTo>
                <a:cubicBezTo>
                  <a:pt x="1166" y="1447"/>
                  <a:pt x="1169" y="1445"/>
                  <a:pt x="1173" y="1443"/>
                </a:cubicBezTo>
                <a:cubicBezTo>
                  <a:pt x="1175" y="1442"/>
                  <a:pt x="1178" y="1440"/>
                  <a:pt x="1180" y="1439"/>
                </a:cubicBezTo>
                <a:cubicBezTo>
                  <a:pt x="1184" y="1437"/>
                  <a:pt x="1187" y="1435"/>
                  <a:pt x="1190" y="1433"/>
                </a:cubicBezTo>
                <a:cubicBezTo>
                  <a:pt x="1193" y="1431"/>
                  <a:pt x="1195" y="1430"/>
                  <a:pt x="1198" y="1428"/>
                </a:cubicBezTo>
                <a:cubicBezTo>
                  <a:pt x="1201" y="1426"/>
                  <a:pt x="1204" y="1424"/>
                  <a:pt x="1207" y="1422"/>
                </a:cubicBezTo>
                <a:cubicBezTo>
                  <a:pt x="1210" y="1420"/>
                  <a:pt x="1212" y="1418"/>
                  <a:pt x="1215" y="1417"/>
                </a:cubicBezTo>
                <a:cubicBezTo>
                  <a:pt x="1218" y="1415"/>
                  <a:pt x="1221" y="1412"/>
                  <a:pt x="1224" y="1410"/>
                </a:cubicBezTo>
                <a:cubicBezTo>
                  <a:pt x="1227" y="1408"/>
                  <a:pt x="1229" y="1407"/>
                  <a:pt x="1231" y="1405"/>
                </a:cubicBezTo>
                <a:cubicBezTo>
                  <a:pt x="1235" y="1403"/>
                  <a:pt x="1238" y="1401"/>
                  <a:pt x="1241" y="1398"/>
                </a:cubicBezTo>
                <a:cubicBezTo>
                  <a:pt x="1243" y="1397"/>
                  <a:pt x="1245" y="1395"/>
                  <a:pt x="1248" y="1393"/>
                </a:cubicBezTo>
                <a:cubicBezTo>
                  <a:pt x="1251" y="1391"/>
                  <a:pt x="1254" y="1388"/>
                  <a:pt x="1257" y="1386"/>
                </a:cubicBezTo>
                <a:cubicBezTo>
                  <a:pt x="1259" y="1384"/>
                  <a:pt x="1261" y="1382"/>
                  <a:pt x="1264" y="1381"/>
                </a:cubicBezTo>
                <a:cubicBezTo>
                  <a:pt x="1267" y="1378"/>
                  <a:pt x="1270" y="1376"/>
                  <a:pt x="1273" y="1373"/>
                </a:cubicBezTo>
                <a:cubicBezTo>
                  <a:pt x="1275" y="1371"/>
                  <a:pt x="1277" y="1370"/>
                  <a:pt x="1279" y="1368"/>
                </a:cubicBezTo>
                <a:cubicBezTo>
                  <a:pt x="1282" y="1365"/>
                  <a:pt x="1286" y="1363"/>
                  <a:pt x="1289" y="1360"/>
                </a:cubicBezTo>
                <a:cubicBezTo>
                  <a:pt x="1291" y="1358"/>
                  <a:pt x="1293" y="1357"/>
                  <a:pt x="1295" y="1355"/>
                </a:cubicBezTo>
                <a:cubicBezTo>
                  <a:pt x="1298" y="1352"/>
                  <a:pt x="1301" y="1349"/>
                  <a:pt x="1304" y="1346"/>
                </a:cubicBezTo>
                <a:cubicBezTo>
                  <a:pt x="1306" y="1345"/>
                  <a:pt x="1308" y="1343"/>
                  <a:pt x="1309" y="1341"/>
                </a:cubicBezTo>
                <a:cubicBezTo>
                  <a:pt x="1312" y="1338"/>
                  <a:pt x="1316" y="1335"/>
                  <a:pt x="1319" y="1333"/>
                </a:cubicBezTo>
                <a:cubicBezTo>
                  <a:pt x="1320" y="1331"/>
                  <a:pt x="1322" y="1329"/>
                  <a:pt x="1324" y="1327"/>
                </a:cubicBezTo>
                <a:cubicBezTo>
                  <a:pt x="1327" y="1324"/>
                  <a:pt x="1330" y="1321"/>
                  <a:pt x="1333" y="1318"/>
                </a:cubicBezTo>
                <a:cubicBezTo>
                  <a:pt x="1335" y="1317"/>
                  <a:pt x="1336" y="1315"/>
                  <a:pt x="1338" y="1313"/>
                </a:cubicBezTo>
                <a:cubicBezTo>
                  <a:pt x="1341" y="1310"/>
                  <a:pt x="1344" y="1307"/>
                  <a:pt x="1347" y="1304"/>
                </a:cubicBezTo>
                <a:cubicBezTo>
                  <a:pt x="1349" y="1302"/>
                  <a:pt x="1350" y="1301"/>
                  <a:pt x="1351" y="1299"/>
                </a:cubicBezTo>
                <a:close/>
                <a:moveTo>
                  <a:pt x="781" y="1405"/>
                </a:moveTo>
                <a:cubicBezTo>
                  <a:pt x="777" y="1405"/>
                  <a:pt x="774" y="1405"/>
                  <a:pt x="770" y="1404"/>
                </a:cubicBezTo>
                <a:cubicBezTo>
                  <a:pt x="767" y="1404"/>
                  <a:pt x="763" y="1404"/>
                  <a:pt x="760" y="1404"/>
                </a:cubicBezTo>
                <a:cubicBezTo>
                  <a:pt x="756" y="1404"/>
                  <a:pt x="752" y="1404"/>
                  <a:pt x="749" y="1404"/>
                </a:cubicBezTo>
                <a:cubicBezTo>
                  <a:pt x="745" y="1404"/>
                  <a:pt x="742" y="1403"/>
                  <a:pt x="738" y="1403"/>
                </a:cubicBezTo>
                <a:cubicBezTo>
                  <a:pt x="733" y="1403"/>
                  <a:pt x="727" y="1402"/>
                  <a:pt x="722" y="1402"/>
                </a:cubicBezTo>
                <a:cubicBezTo>
                  <a:pt x="720" y="1402"/>
                  <a:pt x="718" y="1402"/>
                  <a:pt x="717" y="1401"/>
                </a:cubicBezTo>
                <a:cubicBezTo>
                  <a:pt x="624" y="1392"/>
                  <a:pt x="534" y="1363"/>
                  <a:pt x="453" y="1315"/>
                </a:cubicBezTo>
                <a:cubicBezTo>
                  <a:pt x="430" y="1301"/>
                  <a:pt x="430" y="1301"/>
                  <a:pt x="430" y="1301"/>
                </a:cubicBezTo>
                <a:cubicBezTo>
                  <a:pt x="186" y="1365"/>
                  <a:pt x="186" y="1365"/>
                  <a:pt x="186" y="1365"/>
                </a:cubicBezTo>
                <a:cubicBezTo>
                  <a:pt x="241" y="1165"/>
                  <a:pt x="241" y="1165"/>
                  <a:pt x="241" y="1165"/>
                </a:cubicBezTo>
                <a:cubicBezTo>
                  <a:pt x="251" y="1127"/>
                  <a:pt x="251" y="1127"/>
                  <a:pt x="251" y="1127"/>
                </a:cubicBezTo>
                <a:cubicBezTo>
                  <a:pt x="251" y="1127"/>
                  <a:pt x="251" y="1127"/>
                  <a:pt x="251" y="1127"/>
                </a:cubicBezTo>
                <a:cubicBezTo>
                  <a:pt x="251" y="1127"/>
                  <a:pt x="251" y="1127"/>
                  <a:pt x="251" y="1127"/>
                </a:cubicBezTo>
                <a:cubicBezTo>
                  <a:pt x="236" y="1103"/>
                  <a:pt x="236" y="1103"/>
                  <a:pt x="236" y="1103"/>
                </a:cubicBezTo>
                <a:cubicBezTo>
                  <a:pt x="171" y="1000"/>
                  <a:pt x="137" y="882"/>
                  <a:pt x="137" y="760"/>
                </a:cubicBezTo>
                <a:cubicBezTo>
                  <a:pt x="137" y="715"/>
                  <a:pt x="142" y="671"/>
                  <a:pt x="151" y="629"/>
                </a:cubicBezTo>
                <a:cubicBezTo>
                  <a:pt x="212" y="337"/>
                  <a:pt x="472" y="117"/>
                  <a:pt x="782" y="117"/>
                </a:cubicBezTo>
                <a:cubicBezTo>
                  <a:pt x="788" y="117"/>
                  <a:pt x="795" y="117"/>
                  <a:pt x="801" y="117"/>
                </a:cubicBezTo>
                <a:cubicBezTo>
                  <a:pt x="802" y="117"/>
                  <a:pt x="802" y="117"/>
                  <a:pt x="803" y="117"/>
                </a:cubicBezTo>
                <a:cubicBezTo>
                  <a:pt x="809" y="117"/>
                  <a:pt x="814" y="117"/>
                  <a:pt x="820" y="118"/>
                </a:cubicBezTo>
                <a:cubicBezTo>
                  <a:pt x="821" y="118"/>
                  <a:pt x="822" y="118"/>
                  <a:pt x="823" y="118"/>
                </a:cubicBezTo>
                <a:cubicBezTo>
                  <a:pt x="829" y="118"/>
                  <a:pt x="834" y="119"/>
                  <a:pt x="840" y="119"/>
                </a:cubicBezTo>
                <a:cubicBezTo>
                  <a:pt x="840" y="119"/>
                  <a:pt x="841" y="119"/>
                  <a:pt x="842" y="119"/>
                </a:cubicBezTo>
                <a:cubicBezTo>
                  <a:pt x="855" y="121"/>
                  <a:pt x="867" y="122"/>
                  <a:pt x="880" y="124"/>
                </a:cubicBezTo>
                <a:cubicBezTo>
                  <a:pt x="880" y="124"/>
                  <a:pt x="881" y="124"/>
                  <a:pt x="881" y="124"/>
                </a:cubicBezTo>
                <a:cubicBezTo>
                  <a:pt x="887" y="125"/>
                  <a:pt x="893" y="126"/>
                  <a:pt x="898" y="127"/>
                </a:cubicBezTo>
                <a:cubicBezTo>
                  <a:pt x="899" y="127"/>
                  <a:pt x="900" y="128"/>
                  <a:pt x="901" y="128"/>
                </a:cubicBezTo>
                <a:cubicBezTo>
                  <a:pt x="907" y="129"/>
                  <a:pt x="912" y="130"/>
                  <a:pt x="917" y="131"/>
                </a:cubicBezTo>
                <a:cubicBezTo>
                  <a:pt x="918" y="131"/>
                  <a:pt x="919" y="131"/>
                  <a:pt x="920" y="131"/>
                </a:cubicBezTo>
                <a:cubicBezTo>
                  <a:pt x="932" y="134"/>
                  <a:pt x="945" y="137"/>
                  <a:pt x="957" y="141"/>
                </a:cubicBezTo>
                <a:cubicBezTo>
                  <a:pt x="957" y="141"/>
                  <a:pt x="957" y="141"/>
                  <a:pt x="957" y="141"/>
                </a:cubicBezTo>
                <a:cubicBezTo>
                  <a:pt x="963" y="142"/>
                  <a:pt x="969" y="144"/>
                  <a:pt x="974" y="146"/>
                </a:cubicBezTo>
                <a:cubicBezTo>
                  <a:pt x="975" y="146"/>
                  <a:pt x="976" y="146"/>
                  <a:pt x="977" y="147"/>
                </a:cubicBezTo>
                <a:cubicBezTo>
                  <a:pt x="982" y="148"/>
                  <a:pt x="987" y="150"/>
                  <a:pt x="992" y="152"/>
                </a:cubicBezTo>
                <a:cubicBezTo>
                  <a:pt x="993" y="152"/>
                  <a:pt x="994" y="152"/>
                  <a:pt x="995" y="153"/>
                </a:cubicBezTo>
                <a:cubicBezTo>
                  <a:pt x="1013" y="159"/>
                  <a:pt x="1030" y="166"/>
                  <a:pt x="1047" y="174"/>
                </a:cubicBezTo>
                <a:cubicBezTo>
                  <a:pt x="1048" y="174"/>
                  <a:pt x="1049" y="174"/>
                  <a:pt x="1049" y="175"/>
                </a:cubicBezTo>
                <a:cubicBezTo>
                  <a:pt x="1054" y="177"/>
                  <a:pt x="1059" y="179"/>
                  <a:pt x="1064" y="182"/>
                </a:cubicBezTo>
                <a:cubicBezTo>
                  <a:pt x="1065" y="182"/>
                  <a:pt x="1066" y="182"/>
                  <a:pt x="1066" y="183"/>
                </a:cubicBezTo>
                <a:cubicBezTo>
                  <a:pt x="1083" y="191"/>
                  <a:pt x="1100" y="200"/>
                  <a:pt x="1116" y="210"/>
                </a:cubicBezTo>
                <a:cubicBezTo>
                  <a:pt x="1117" y="210"/>
                  <a:pt x="1117" y="211"/>
                  <a:pt x="1118" y="211"/>
                </a:cubicBezTo>
                <a:cubicBezTo>
                  <a:pt x="1123" y="214"/>
                  <a:pt x="1127" y="217"/>
                  <a:pt x="1132" y="220"/>
                </a:cubicBezTo>
                <a:cubicBezTo>
                  <a:pt x="1133" y="221"/>
                  <a:pt x="1133" y="221"/>
                  <a:pt x="1134" y="222"/>
                </a:cubicBezTo>
                <a:cubicBezTo>
                  <a:pt x="1139" y="225"/>
                  <a:pt x="1144" y="228"/>
                  <a:pt x="1149" y="232"/>
                </a:cubicBezTo>
                <a:cubicBezTo>
                  <a:pt x="1149" y="232"/>
                  <a:pt x="1149" y="232"/>
                  <a:pt x="1149" y="232"/>
                </a:cubicBezTo>
                <a:cubicBezTo>
                  <a:pt x="1160" y="239"/>
                  <a:pt x="1170" y="247"/>
                  <a:pt x="1180" y="255"/>
                </a:cubicBezTo>
                <a:cubicBezTo>
                  <a:pt x="1181" y="255"/>
                  <a:pt x="1182" y="256"/>
                  <a:pt x="1182" y="256"/>
                </a:cubicBezTo>
                <a:cubicBezTo>
                  <a:pt x="1186" y="260"/>
                  <a:pt x="1191" y="263"/>
                  <a:pt x="1195" y="267"/>
                </a:cubicBezTo>
                <a:cubicBezTo>
                  <a:pt x="1196" y="268"/>
                  <a:pt x="1197" y="268"/>
                  <a:pt x="1197" y="269"/>
                </a:cubicBezTo>
                <a:cubicBezTo>
                  <a:pt x="1202" y="273"/>
                  <a:pt x="1206" y="276"/>
                  <a:pt x="1210" y="280"/>
                </a:cubicBezTo>
                <a:cubicBezTo>
                  <a:pt x="1211" y="281"/>
                  <a:pt x="1211" y="281"/>
                  <a:pt x="1211" y="281"/>
                </a:cubicBezTo>
                <a:cubicBezTo>
                  <a:pt x="1221" y="290"/>
                  <a:pt x="1230" y="298"/>
                  <a:pt x="1239" y="308"/>
                </a:cubicBezTo>
                <a:cubicBezTo>
                  <a:pt x="1241" y="310"/>
                  <a:pt x="1243" y="312"/>
                  <a:pt x="1245" y="314"/>
                </a:cubicBezTo>
                <a:cubicBezTo>
                  <a:pt x="1248" y="317"/>
                  <a:pt x="1251" y="320"/>
                  <a:pt x="1253" y="322"/>
                </a:cubicBezTo>
                <a:cubicBezTo>
                  <a:pt x="1256" y="326"/>
                  <a:pt x="1259" y="329"/>
                  <a:pt x="1262" y="332"/>
                </a:cubicBezTo>
                <a:cubicBezTo>
                  <a:pt x="1264" y="334"/>
                  <a:pt x="1265" y="336"/>
                  <a:pt x="1267" y="337"/>
                </a:cubicBezTo>
                <a:cubicBezTo>
                  <a:pt x="1352" y="435"/>
                  <a:pt x="1405" y="554"/>
                  <a:pt x="1421" y="682"/>
                </a:cubicBezTo>
                <a:cubicBezTo>
                  <a:pt x="1421" y="682"/>
                  <a:pt x="1421" y="683"/>
                  <a:pt x="1421" y="683"/>
                </a:cubicBezTo>
                <a:cubicBezTo>
                  <a:pt x="1422" y="689"/>
                  <a:pt x="1422" y="695"/>
                  <a:pt x="1423" y="702"/>
                </a:cubicBezTo>
                <a:cubicBezTo>
                  <a:pt x="1423" y="704"/>
                  <a:pt x="1423" y="706"/>
                  <a:pt x="1423" y="709"/>
                </a:cubicBezTo>
                <a:cubicBezTo>
                  <a:pt x="1424" y="713"/>
                  <a:pt x="1424" y="717"/>
                  <a:pt x="1424" y="722"/>
                </a:cubicBezTo>
                <a:cubicBezTo>
                  <a:pt x="1424" y="724"/>
                  <a:pt x="1425" y="727"/>
                  <a:pt x="1425" y="730"/>
                </a:cubicBezTo>
                <a:cubicBezTo>
                  <a:pt x="1425" y="734"/>
                  <a:pt x="1425" y="738"/>
                  <a:pt x="1425" y="742"/>
                </a:cubicBezTo>
                <a:cubicBezTo>
                  <a:pt x="1425" y="745"/>
                  <a:pt x="1425" y="748"/>
                  <a:pt x="1425" y="751"/>
                </a:cubicBezTo>
                <a:cubicBezTo>
                  <a:pt x="1425" y="755"/>
                  <a:pt x="1425" y="759"/>
                  <a:pt x="1425" y="763"/>
                </a:cubicBezTo>
                <a:cubicBezTo>
                  <a:pt x="1425" y="766"/>
                  <a:pt x="1425" y="769"/>
                  <a:pt x="1425" y="771"/>
                </a:cubicBezTo>
                <a:cubicBezTo>
                  <a:pt x="1425" y="775"/>
                  <a:pt x="1425" y="780"/>
                  <a:pt x="1425" y="784"/>
                </a:cubicBezTo>
                <a:cubicBezTo>
                  <a:pt x="1425" y="787"/>
                  <a:pt x="1425" y="789"/>
                  <a:pt x="1425" y="792"/>
                </a:cubicBezTo>
                <a:cubicBezTo>
                  <a:pt x="1425" y="794"/>
                  <a:pt x="1424" y="796"/>
                  <a:pt x="1424" y="798"/>
                </a:cubicBezTo>
                <a:cubicBezTo>
                  <a:pt x="1406" y="1123"/>
                  <a:pt x="1144" y="1385"/>
                  <a:pt x="819" y="1404"/>
                </a:cubicBezTo>
                <a:cubicBezTo>
                  <a:pt x="819" y="1404"/>
                  <a:pt x="818" y="1404"/>
                  <a:pt x="817" y="1404"/>
                </a:cubicBezTo>
                <a:cubicBezTo>
                  <a:pt x="812" y="1404"/>
                  <a:pt x="807" y="1404"/>
                  <a:pt x="802" y="1404"/>
                </a:cubicBezTo>
                <a:cubicBezTo>
                  <a:pt x="801" y="1404"/>
                  <a:pt x="800" y="1404"/>
                  <a:pt x="798" y="1404"/>
                </a:cubicBezTo>
                <a:cubicBezTo>
                  <a:pt x="793" y="1405"/>
                  <a:pt x="787" y="1405"/>
                  <a:pt x="781" y="1405"/>
                </a:cubicBezTo>
                <a:close/>
                <a:moveTo>
                  <a:pt x="798" y="1084"/>
                </a:moveTo>
                <a:cubicBezTo>
                  <a:pt x="601" y="1006"/>
                  <a:pt x="477" y="805"/>
                  <a:pt x="467" y="792"/>
                </a:cubicBezTo>
                <a:cubicBezTo>
                  <a:pt x="457" y="779"/>
                  <a:pt x="388" y="687"/>
                  <a:pt x="388" y="592"/>
                </a:cubicBezTo>
                <a:cubicBezTo>
                  <a:pt x="388" y="496"/>
                  <a:pt x="438" y="449"/>
                  <a:pt x="456" y="430"/>
                </a:cubicBezTo>
                <a:cubicBezTo>
                  <a:pt x="473" y="411"/>
                  <a:pt x="494" y="406"/>
                  <a:pt x="507" y="406"/>
                </a:cubicBezTo>
                <a:cubicBezTo>
                  <a:pt x="520" y="406"/>
                  <a:pt x="533" y="406"/>
                  <a:pt x="544" y="406"/>
                </a:cubicBezTo>
                <a:cubicBezTo>
                  <a:pt x="558" y="407"/>
                  <a:pt x="573" y="408"/>
                  <a:pt x="588" y="440"/>
                </a:cubicBezTo>
                <a:cubicBezTo>
                  <a:pt x="588" y="440"/>
                  <a:pt x="588" y="440"/>
                  <a:pt x="588" y="440"/>
                </a:cubicBezTo>
                <a:cubicBezTo>
                  <a:pt x="605" y="478"/>
                  <a:pt x="643" y="574"/>
                  <a:pt x="647" y="583"/>
                </a:cubicBezTo>
                <a:cubicBezTo>
                  <a:pt x="652" y="593"/>
                  <a:pt x="656" y="604"/>
                  <a:pt x="649" y="617"/>
                </a:cubicBezTo>
                <a:cubicBezTo>
                  <a:pt x="643" y="630"/>
                  <a:pt x="639" y="638"/>
                  <a:pt x="630" y="650"/>
                </a:cubicBezTo>
                <a:cubicBezTo>
                  <a:pt x="620" y="661"/>
                  <a:pt x="609" y="675"/>
                  <a:pt x="601" y="684"/>
                </a:cubicBezTo>
                <a:cubicBezTo>
                  <a:pt x="591" y="693"/>
                  <a:pt x="581" y="704"/>
                  <a:pt x="592" y="723"/>
                </a:cubicBezTo>
                <a:cubicBezTo>
                  <a:pt x="604" y="742"/>
                  <a:pt x="642" y="806"/>
                  <a:pt x="700" y="857"/>
                </a:cubicBezTo>
                <a:cubicBezTo>
                  <a:pt x="774" y="923"/>
                  <a:pt x="836" y="943"/>
                  <a:pt x="856" y="953"/>
                </a:cubicBezTo>
                <a:cubicBezTo>
                  <a:pt x="875" y="963"/>
                  <a:pt x="886" y="961"/>
                  <a:pt x="898" y="948"/>
                </a:cubicBezTo>
                <a:cubicBezTo>
                  <a:pt x="909" y="935"/>
                  <a:pt x="946" y="892"/>
                  <a:pt x="959" y="872"/>
                </a:cubicBezTo>
                <a:cubicBezTo>
                  <a:pt x="972" y="853"/>
                  <a:pt x="985" y="856"/>
                  <a:pt x="1002" y="863"/>
                </a:cubicBezTo>
                <a:cubicBezTo>
                  <a:pt x="1020" y="869"/>
                  <a:pt x="1115" y="916"/>
                  <a:pt x="1135" y="926"/>
                </a:cubicBezTo>
                <a:cubicBezTo>
                  <a:pt x="1154" y="935"/>
                  <a:pt x="1167" y="940"/>
                  <a:pt x="1172" y="948"/>
                </a:cubicBezTo>
                <a:cubicBezTo>
                  <a:pt x="1177" y="956"/>
                  <a:pt x="1177" y="995"/>
                  <a:pt x="1160" y="1040"/>
                </a:cubicBezTo>
                <a:cubicBezTo>
                  <a:pt x="1144" y="1086"/>
                  <a:pt x="1065" y="1129"/>
                  <a:pt x="1030" y="1132"/>
                </a:cubicBezTo>
                <a:cubicBezTo>
                  <a:pt x="994" y="1136"/>
                  <a:pt x="961" y="1148"/>
                  <a:pt x="798" y="10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36646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ocial Media</a:t>
            </a:r>
            <a:endParaRPr lang="en-US" dirty="0"/>
          </a:p>
        </p:txBody>
      </p:sp>
      <p:sp>
        <p:nvSpPr>
          <p:cNvPr id="563" name="Rectangle 5"/>
          <p:cNvSpPr>
            <a:spLocks noChangeArrowheads="1"/>
          </p:cNvSpPr>
          <p:nvPr/>
        </p:nvSpPr>
        <p:spPr bwMode="auto">
          <a:xfrm>
            <a:off x="1896562" y="1330047"/>
            <a:ext cx="395230" cy="392675"/>
          </a:xfrm>
          <a:prstGeom prst="rect">
            <a:avLst/>
          </a:prstGeom>
          <a:solidFill>
            <a:srgbClr val="3D5A9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64" name="Rectangle 6"/>
          <p:cNvSpPr>
            <a:spLocks noChangeArrowheads="1"/>
          </p:cNvSpPr>
          <p:nvPr/>
        </p:nvSpPr>
        <p:spPr bwMode="auto">
          <a:xfrm>
            <a:off x="2382083" y="1330047"/>
            <a:ext cx="392675" cy="392675"/>
          </a:xfrm>
          <a:prstGeom prst="rect">
            <a:avLst/>
          </a:prstGeom>
          <a:solidFill>
            <a:srgbClr val="2AA9E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65" name="Rectangle 7"/>
          <p:cNvSpPr>
            <a:spLocks noChangeArrowheads="1"/>
          </p:cNvSpPr>
          <p:nvPr/>
        </p:nvSpPr>
        <p:spPr bwMode="auto">
          <a:xfrm>
            <a:off x="2865047" y="1330047"/>
            <a:ext cx="392675" cy="3926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66" name="Rectangle 8"/>
          <p:cNvSpPr>
            <a:spLocks noChangeArrowheads="1"/>
          </p:cNvSpPr>
          <p:nvPr/>
        </p:nvSpPr>
        <p:spPr bwMode="auto">
          <a:xfrm>
            <a:off x="3348863" y="1330047"/>
            <a:ext cx="392675" cy="392675"/>
          </a:xfrm>
          <a:prstGeom prst="rect">
            <a:avLst/>
          </a:prstGeom>
          <a:solidFill>
            <a:srgbClr val="BD081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67" name="Rectangle 9"/>
          <p:cNvSpPr>
            <a:spLocks noChangeArrowheads="1"/>
          </p:cNvSpPr>
          <p:nvPr/>
        </p:nvSpPr>
        <p:spPr bwMode="auto">
          <a:xfrm>
            <a:off x="3831828" y="1330047"/>
            <a:ext cx="392675" cy="392675"/>
          </a:xfrm>
          <a:prstGeom prst="rect">
            <a:avLst/>
          </a:prstGeom>
          <a:solidFill>
            <a:srgbClr val="BD081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68" name="Rectangle 10"/>
          <p:cNvSpPr>
            <a:spLocks noChangeArrowheads="1"/>
          </p:cNvSpPr>
          <p:nvPr/>
        </p:nvSpPr>
        <p:spPr bwMode="auto">
          <a:xfrm>
            <a:off x="4317347" y="1330047"/>
            <a:ext cx="392675" cy="392675"/>
          </a:xfrm>
          <a:prstGeom prst="rect">
            <a:avLst/>
          </a:prstGeom>
          <a:solidFill>
            <a:srgbClr val="305F8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69" name="Rectangle 11"/>
          <p:cNvSpPr>
            <a:spLocks noChangeArrowheads="1"/>
          </p:cNvSpPr>
          <p:nvPr/>
        </p:nvSpPr>
        <p:spPr bwMode="auto">
          <a:xfrm>
            <a:off x="1896562" y="1821529"/>
            <a:ext cx="395230" cy="392675"/>
          </a:xfrm>
          <a:prstGeom prst="rect">
            <a:avLst/>
          </a:prstGeom>
          <a:solidFill>
            <a:srgbClr val="F4821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0" name="Rectangle 12"/>
          <p:cNvSpPr>
            <a:spLocks noChangeArrowheads="1"/>
          </p:cNvSpPr>
          <p:nvPr/>
        </p:nvSpPr>
        <p:spPr bwMode="auto">
          <a:xfrm>
            <a:off x="2382083" y="1821529"/>
            <a:ext cx="392675" cy="392675"/>
          </a:xfrm>
          <a:prstGeom prst="rect">
            <a:avLst/>
          </a:prstGeom>
          <a:solidFill>
            <a:srgbClr val="58595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1" name="Rectangle 13"/>
          <p:cNvSpPr>
            <a:spLocks noChangeArrowheads="1"/>
          </p:cNvSpPr>
          <p:nvPr/>
        </p:nvSpPr>
        <p:spPr bwMode="auto">
          <a:xfrm>
            <a:off x="2865047" y="1821529"/>
            <a:ext cx="392675" cy="392675"/>
          </a:xfrm>
          <a:prstGeom prst="rect">
            <a:avLst/>
          </a:prstGeom>
          <a:solidFill>
            <a:srgbClr val="F4821C"/>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2" name="Rectangle 14"/>
          <p:cNvSpPr>
            <a:spLocks noChangeArrowheads="1"/>
          </p:cNvSpPr>
          <p:nvPr/>
        </p:nvSpPr>
        <p:spPr bwMode="auto">
          <a:xfrm>
            <a:off x="3348863" y="1821529"/>
            <a:ext cx="392675" cy="392675"/>
          </a:xfrm>
          <a:prstGeom prst="rect">
            <a:avLst/>
          </a:prstGeom>
          <a:solidFill>
            <a:srgbClr val="E62D2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3" name="Rectangle 15"/>
          <p:cNvSpPr>
            <a:spLocks noChangeArrowheads="1"/>
          </p:cNvSpPr>
          <p:nvPr/>
        </p:nvSpPr>
        <p:spPr bwMode="auto">
          <a:xfrm>
            <a:off x="3831828" y="1821529"/>
            <a:ext cx="392675" cy="392675"/>
          </a:xfrm>
          <a:prstGeom prst="rect">
            <a:avLst/>
          </a:prstGeom>
          <a:solidFill>
            <a:srgbClr val="E62D2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4" name="Rectangle 16"/>
          <p:cNvSpPr>
            <a:spLocks noChangeArrowheads="1"/>
          </p:cNvSpPr>
          <p:nvPr/>
        </p:nvSpPr>
        <p:spPr bwMode="auto">
          <a:xfrm>
            <a:off x="4317347" y="1821529"/>
            <a:ext cx="392675" cy="392675"/>
          </a:xfrm>
          <a:prstGeom prst="rect">
            <a:avLst/>
          </a:prstGeom>
          <a:solidFill>
            <a:srgbClr val="58595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5" name="Rectangle 17"/>
          <p:cNvSpPr>
            <a:spLocks noChangeArrowheads="1"/>
          </p:cNvSpPr>
          <p:nvPr/>
        </p:nvSpPr>
        <p:spPr bwMode="auto">
          <a:xfrm>
            <a:off x="1896562" y="2313011"/>
            <a:ext cx="395230" cy="392675"/>
          </a:xfrm>
          <a:prstGeom prst="rect">
            <a:avLst/>
          </a:prstGeom>
          <a:solidFill>
            <a:srgbClr val="A6A6A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6" name="Rectangle 18"/>
          <p:cNvSpPr>
            <a:spLocks noChangeArrowheads="1"/>
          </p:cNvSpPr>
          <p:nvPr/>
        </p:nvSpPr>
        <p:spPr bwMode="auto">
          <a:xfrm>
            <a:off x="2382083" y="2313011"/>
            <a:ext cx="392675" cy="392675"/>
          </a:xfrm>
          <a:prstGeom prst="rect">
            <a:avLst/>
          </a:prstGeom>
          <a:solidFill>
            <a:srgbClr val="DA4A3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7" name="Rectangle 19"/>
          <p:cNvSpPr>
            <a:spLocks noChangeArrowheads="1"/>
          </p:cNvSpPr>
          <p:nvPr/>
        </p:nvSpPr>
        <p:spPr bwMode="auto">
          <a:xfrm>
            <a:off x="2865047" y="2313011"/>
            <a:ext cx="392675" cy="392675"/>
          </a:xfrm>
          <a:prstGeom prst="rect">
            <a:avLst/>
          </a:prstGeom>
          <a:solidFill>
            <a:srgbClr val="1074A2"/>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8" name="Rectangle 20"/>
          <p:cNvSpPr>
            <a:spLocks noChangeArrowheads="1"/>
          </p:cNvSpPr>
          <p:nvPr/>
        </p:nvSpPr>
        <p:spPr bwMode="auto">
          <a:xfrm>
            <a:off x="3348863" y="2313011"/>
            <a:ext cx="392675" cy="392675"/>
          </a:xfrm>
          <a:prstGeom prst="rect">
            <a:avLst/>
          </a:prstGeom>
          <a:solidFill>
            <a:srgbClr val="652D7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79" name="Rectangle 21"/>
          <p:cNvSpPr>
            <a:spLocks noChangeArrowheads="1"/>
          </p:cNvSpPr>
          <p:nvPr/>
        </p:nvSpPr>
        <p:spPr bwMode="auto">
          <a:xfrm>
            <a:off x="3831828" y="2313011"/>
            <a:ext cx="392675" cy="392675"/>
          </a:xfrm>
          <a:prstGeom prst="rect">
            <a:avLst/>
          </a:prstGeom>
          <a:solidFill>
            <a:srgbClr val="1BB28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0" name="Rectangle 22"/>
          <p:cNvSpPr>
            <a:spLocks noChangeArrowheads="1"/>
          </p:cNvSpPr>
          <p:nvPr/>
        </p:nvSpPr>
        <p:spPr bwMode="auto">
          <a:xfrm>
            <a:off x="4317347" y="2313011"/>
            <a:ext cx="392675" cy="392675"/>
          </a:xfrm>
          <a:prstGeom prst="rect">
            <a:avLst/>
          </a:prstGeom>
          <a:solidFill>
            <a:srgbClr val="AD160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1" name="Rectangle 23"/>
          <p:cNvSpPr>
            <a:spLocks noChangeArrowheads="1"/>
          </p:cNvSpPr>
          <p:nvPr/>
        </p:nvSpPr>
        <p:spPr bwMode="auto">
          <a:xfrm>
            <a:off x="1896562" y="2804494"/>
            <a:ext cx="395230" cy="392675"/>
          </a:xfrm>
          <a:prstGeom prst="rect">
            <a:avLst/>
          </a:prstGeom>
          <a:solidFill>
            <a:srgbClr val="3283C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2" name="Rectangle 24"/>
          <p:cNvSpPr>
            <a:spLocks noChangeArrowheads="1"/>
          </p:cNvSpPr>
          <p:nvPr/>
        </p:nvSpPr>
        <p:spPr bwMode="auto">
          <a:xfrm>
            <a:off x="2382083" y="2804494"/>
            <a:ext cx="392675" cy="392675"/>
          </a:xfrm>
          <a:prstGeom prst="rect">
            <a:avLst/>
          </a:prstGeom>
          <a:solidFill>
            <a:srgbClr val="B3C43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3" name="Rectangle 25"/>
          <p:cNvSpPr>
            <a:spLocks noChangeArrowheads="1"/>
          </p:cNvSpPr>
          <p:nvPr/>
        </p:nvSpPr>
        <p:spPr bwMode="auto">
          <a:xfrm>
            <a:off x="2865047" y="2804494"/>
            <a:ext cx="392675" cy="392675"/>
          </a:xfrm>
          <a:prstGeom prst="rect">
            <a:avLst/>
          </a:prstGeom>
          <a:solidFill>
            <a:srgbClr val="00B2D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4" name="Rectangle 26"/>
          <p:cNvSpPr>
            <a:spLocks noChangeArrowheads="1"/>
          </p:cNvSpPr>
          <p:nvPr/>
        </p:nvSpPr>
        <p:spPr bwMode="auto">
          <a:xfrm>
            <a:off x="3348863" y="2804494"/>
            <a:ext cx="392675" cy="39267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5" name="Rectangle 27"/>
          <p:cNvSpPr>
            <a:spLocks noChangeArrowheads="1"/>
          </p:cNvSpPr>
          <p:nvPr/>
        </p:nvSpPr>
        <p:spPr bwMode="auto">
          <a:xfrm>
            <a:off x="3831828" y="2804494"/>
            <a:ext cx="392675" cy="392675"/>
          </a:xfrm>
          <a:prstGeom prst="rect">
            <a:avLst/>
          </a:prstGeom>
          <a:solidFill>
            <a:srgbClr val="FFC11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6" name="Rectangle 28"/>
          <p:cNvSpPr>
            <a:spLocks noChangeArrowheads="1"/>
          </p:cNvSpPr>
          <p:nvPr/>
        </p:nvSpPr>
        <p:spPr bwMode="auto">
          <a:xfrm>
            <a:off x="4317347" y="2804494"/>
            <a:ext cx="392675" cy="392675"/>
          </a:xfrm>
          <a:prstGeom prst="rect">
            <a:avLst/>
          </a:prstGeom>
          <a:solidFill>
            <a:srgbClr val="FF451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7" name="Rectangle 29"/>
          <p:cNvSpPr>
            <a:spLocks noChangeArrowheads="1"/>
          </p:cNvSpPr>
          <p:nvPr/>
        </p:nvSpPr>
        <p:spPr bwMode="auto">
          <a:xfrm>
            <a:off x="1896562" y="3295976"/>
            <a:ext cx="395230" cy="392675"/>
          </a:xfrm>
          <a:prstGeom prst="rect">
            <a:avLst/>
          </a:prstGeom>
          <a:solidFill>
            <a:srgbClr val="00B4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8" name="Rectangle 30"/>
          <p:cNvSpPr>
            <a:spLocks noChangeArrowheads="1"/>
          </p:cNvSpPr>
          <p:nvPr/>
        </p:nvSpPr>
        <p:spPr bwMode="auto">
          <a:xfrm>
            <a:off x="2382083" y="3295976"/>
            <a:ext cx="392675" cy="392675"/>
          </a:xfrm>
          <a:prstGeom prst="rect">
            <a:avLst/>
          </a:prstGeom>
          <a:solidFill>
            <a:srgbClr val="00A2F4"/>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89" name="Rectangle 31"/>
          <p:cNvSpPr>
            <a:spLocks noChangeArrowheads="1"/>
          </p:cNvSpPr>
          <p:nvPr/>
        </p:nvSpPr>
        <p:spPr bwMode="auto">
          <a:xfrm>
            <a:off x="2865047" y="3295976"/>
            <a:ext cx="392675" cy="392675"/>
          </a:xfrm>
          <a:prstGeom prst="rect">
            <a:avLst/>
          </a:prstGeom>
          <a:solidFill>
            <a:srgbClr val="91009A"/>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0" name="Rectangle 32"/>
          <p:cNvSpPr>
            <a:spLocks noChangeArrowheads="1"/>
          </p:cNvSpPr>
          <p:nvPr/>
        </p:nvSpPr>
        <p:spPr bwMode="auto">
          <a:xfrm>
            <a:off x="3348863" y="3295976"/>
            <a:ext cx="392675" cy="392675"/>
          </a:xfrm>
          <a:prstGeom prst="rect">
            <a:avLst/>
          </a:prstGeom>
          <a:solidFill>
            <a:srgbClr val="F45A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1" name="Rectangle 33"/>
          <p:cNvSpPr>
            <a:spLocks noChangeArrowheads="1"/>
          </p:cNvSpPr>
          <p:nvPr/>
        </p:nvSpPr>
        <p:spPr bwMode="auto">
          <a:xfrm>
            <a:off x="3831828" y="3295976"/>
            <a:ext cx="392675" cy="392675"/>
          </a:xfrm>
          <a:prstGeom prst="rect">
            <a:avLst/>
          </a:prstGeom>
          <a:solidFill>
            <a:srgbClr val="5CBF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2" name="Rectangle 34"/>
          <p:cNvSpPr>
            <a:spLocks noChangeArrowheads="1"/>
          </p:cNvSpPr>
          <p:nvPr/>
        </p:nvSpPr>
        <p:spPr bwMode="auto">
          <a:xfrm>
            <a:off x="4317347" y="3295976"/>
            <a:ext cx="392675" cy="392675"/>
          </a:xfrm>
          <a:prstGeom prst="rect">
            <a:avLst/>
          </a:prstGeom>
          <a:solidFill>
            <a:srgbClr val="F5E2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3" name="Rectangle 35"/>
          <p:cNvSpPr>
            <a:spLocks noChangeArrowheads="1"/>
          </p:cNvSpPr>
          <p:nvPr/>
        </p:nvSpPr>
        <p:spPr bwMode="auto">
          <a:xfrm>
            <a:off x="1896562" y="3787457"/>
            <a:ext cx="395230" cy="395230"/>
          </a:xfrm>
          <a:prstGeom prst="rect">
            <a:avLst/>
          </a:prstGeom>
          <a:solidFill>
            <a:srgbClr val="FF73A5"/>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4" name="Rectangle 36"/>
          <p:cNvSpPr>
            <a:spLocks noChangeArrowheads="1"/>
          </p:cNvSpPr>
          <p:nvPr/>
        </p:nvSpPr>
        <p:spPr bwMode="auto">
          <a:xfrm>
            <a:off x="2382083" y="3787457"/>
            <a:ext cx="392675" cy="395230"/>
          </a:xfrm>
          <a:prstGeom prst="rect">
            <a:avLst/>
          </a:prstGeom>
          <a:solidFill>
            <a:srgbClr val="0078E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5" name="Rectangle 37"/>
          <p:cNvSpPr>
            <a:spLocks noChangeArrowheads="1"/>
          </p:cNvSpPr>
          <p:nvPr/>
        </p:nvSpPr>
        <p:spPr bwMode="auto">
          <a:xfrm>
            <a:off x="2865047" y="3787457"/>
            <a:ext cx="392675" cy="395230"/>
          </a:xfrm>
          <a:prstGeom prst="rect">
            <a:avLst/>
          </a:prstGeom>
          <a:solidFill>
            <a:srgbClr val="0084C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6" name="Rectangle 38"/>
          <p:cNvSpPr>
            <a:spLocks noChangeArrowheads="1"/>
          </p:cNvSpPr>
          <p:nvPr/>
        </p:nvSpPr>
        <p:spPr bwMode="auto">
          <a:xfrm>
            <a:off x="3348863" y="3787457"/>
            <a:ext cx="392675" cy="395230"/>
          </a:xfrm>
          <a:prstGeom prst="rect">
            <a:avLst/>
          </a:prstGeom>
          <a:solidFill>
            <a:srgbClr val="2DA14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7" name="Rectangle 39"/>
          <p:cNvSpPr>
            <a:spLocks noChangeArrowheads="1"/>
          </p:cNvSpPr>
          <p:nvPr/>
        </p:nvSpPr>
        <p:spPr bwMode="auto">
          <a:xfrm>
            <a:off x="3831828" y="3787457"/>
            <a:ext cx="392675" cy="395230"/>
          </a:xfrm>
          <a:prstGeom prst="rect">
            <a:avLst/>
          </a:prstGeom>
          <a:solidFill>
            <a:srgbClr val="FF4F0D"/>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8" name="Rectangle 40"/>
          <p:cNvSpPr>
            <a:spLocks noChangeArrowheads="1"/>
          </p:cNvSpPr>
          <p:nvPr/>
        </p:nvSpPr>
        <p:spPr bwMode="auto">
          <a:xfrm>
            <a:off x="4317347" y="3787457"/>
            <a:ext cx="392675" cy="395230"/>
          </a:xfrm>
          <a:prstGeom prst="rect">
            <a:avLst/>
          </a:prstGeom>
          <a:solidFill>
            <a:srgbClr val="0093D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599" name="Rectangle 41"/>
          <p:cNvSpPr>
            <a:spLocks noChangeArrowheads="1"/>
          </p:cNvSpPr>
          <p:nvPr/>
        </p:nvSpPr>
        <p:spPr bwMode="auto">
          <a:xfrm>
            <a:off x="1896562" y="4281496"/>
            <a:ext cx="395230" cy="392675"/>
          </a:xfrm>
          <a:prstGeom prst="rect">
            <a:avLst/>
          </a:prstGeom>
          <a:solidFill>
            <a:srgbClr val="FFA6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0" name="Rectangle 42"/>
          <p:cNvSpPr>
            <a:spLocks noChangeArrowheads="1"/>
          </p:cNvSpPr>
          <p:nvPr/>
        </p:nvSpPr>
        <p:spPr bwMode="auto">
          <a:xfrm>
            <a:off x="2382083" y="4281496"/>
            <a:ext cx="392675" cy="392675"/>
          </a:xfrm>
          <a:prstGeom prst="rect">
            <a:avLst/>
          </a:prstGeom>
          <a:solidFill>
            <a:srgbClr val="59991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1" name="Rectangle 43"/>
          <p:cNvSpPr>
            <a:spLocks noChangeArrowheads="1"/>
          </p:cNvSpPr>
          <p:nvPr/>
        </p:nvSpPr>
        <p:spPr bwMode="auto">
          <a:xfrm>
            <a:off x="2865047" y="4281496"/>
            <a:ext cx="392675" cy="392675"/>
          </a:xfrm>
          <a:prstGeom prst="rect">
            <a:avLst/>
          </a:prstGeom>
          <a:solidFill>
            <a:srgbClr val="E27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2" name="Rectangle 44"/>
          <p:cNvSpPr>
            <a:spLocks noChangeArrowheads="1"/>
          </p:cNvSpPr>
          <p:nvPr/>
        </p:nvSpPr>
        <p:spPr bwMode="auto">
          <a:xfrm>
            <a:off x="3348863" y="4281496"/>
            <a:ext cx="392675" cy="392675"/>
          </a:xfrm>
          <a:prstGeom prst="rect">
            <a:avLst/>
          </a:prstGeom>
          <a:solidFill>
            <a:srgbClr val="004A8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3" name="Rectangle 45"/>
          <p:cNvSpPr>
            <a:spLocks noChangeArrowheads="1"/>
          </p:cNvSpPr>
          <p:nvPr/>
        </p:nvSpPr>
        <p:spPr bwMode="auto">
          <a:xfrm>
            <a:off x="3831828" y="4281496"/>
            <a:ext cx="392675" cy="392675"/>
          </a:xfrm>
          <a:prstGeom prst="rect">
            <a:avLst/>
          </a:prstGeom>
          <a:solidFill>
            <a:srgbClr val="476BA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4" name="Rectangle 46"/>
          <p:cNvSpPr>
            <a:spLocks noChangeArrowheads="1"/>
          </p:cNvSpPr>
          <p:nvPr/>
        </p:nvSpPr>
        <p:spPr bwMode="auto">
          <a:xfrm>
            <a:off x="4317347" y="4281496"/>
            <a:ext cx="392675" cy="392675"/>
          </a:xfrm>
          <a:prstGeom prst="rect">
            <a:avLst/>
          </a:prstGeom>
          <a:solidFill>
            <a:srgbClr val="FF5C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5" name="Rectangle 48"/>
          <p:cNvSpPr>
            <a:spLocks noChangeArrowheads="1"/>
          </p:cNvSpPr>
          <p:nvPr/>
        </p:nvSpPr>
        <p:spPr bwMode="auto">
          <a:xfrm>
            <a:off x="2382083" y="4772978"/>
            <a:ext cx="392675" cy="392675"/>
          </a:xfrm>
          <a:prstGeom prst="rect">
            <a:avLst/>
          </a:prstGeom>
          <a:solidFill>
            <a:srgbClr val="3A4C8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6" name="Rectangle 49"/>
          <p:cNvSpPr>
            <a:spLocks noChangeArrowheads="1"/>
          </p:cNvSpPr>
          <p:nvPr/>
        </p:nvSpPr>
        <p:spPr bwMode="auto">
          <a:xfrm>
            <a:off x="2865047" y="4772978"/>
            <a:ext cx="392675" cy="392675"/>
          </a:xfrm>
          <a:prstGeom prst="rect">
            <a:avLst/>
          </a:prstGeom>
          <a:solidFill>
            <a:srgbClr val="F68E0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7" name="Rectangle 50"/>
          <p:cNvSpPr>
            <a:spLocks noChangeArrowheads="1"/>
          </p:cNvSpPr>
          <p:nvPr/>
        </p:nvSpPr>
        <p:spPr bwMode="auto">
          <a:xfrm>
            <a:off x="3348863" y="4772978"/>
            <a:ext cx="392675" cy="392675"/>
          </a:xfrm>
          <a:prstGeom prst="rect">
            <a:avLst/>
          </a:prstGeom>
          <a:solidFill>
            <a:srgbClr val="01AADD"/>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8" name="Rectangle 51"/>
          <p:cNvSpPr>
            <a:spLocks noChangeArrowheads="1"/>
          </p:cNvSpPr>
          <p:nvPr/>
        </p:nvSpPr>
        <p:spPr bwMode="auto">
          <a:xfrm>
            <a:off x="3831828" y="4772978"/>
            <a:ext cx="392675" cy="392675"/>
          </a:xfrm>
          <a:prstGeom prst="rect">
            <a:avLst/>
          </a:prstGeom>
          <a:solidFill>
            <a:srgbClr val="CF4D4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09" name="Rectangle 52"/>
          <p:cNvSpPr>
            <a:spLocks noChangeArrowheads="1"/>
          </p:cNvSpPr>
          <p:nvPr/>
        </p:nvSpPr>
        <p:spPr bwMode="auto">
          <a:xfrm>
            <a:off x="4317347" y="4772978"/>
            <a:ext cx="392675" cy="392675"/>
          </a:xfrm>
          <a:prstGeom prst="rect">
            <a:avLst/>
          </a:prstGeom>
          <a:solidFill>
            <a:srgbClr val="00A8E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0" name="Rectangle 53"/>
          <p:cNvSpPr>
            <a:spLocks noChangeArrowheads="1"/>
          </p:cNvSpPr>
          <p:nvPr/>
        </p:nvSpPr>
        <p:spPr bwMode="auto">
          <a:xfrm>
            <a:off x="5284128" y="1330047"/>
            <a:ext cx="392675" cy="392675"/>
          </a:xfrm>
          <a:prstGeom prst="rect">
            <a:avLst/>
          </a:prstGeom>
          <a:solidFill>
            <a:srgbClr val="D54E2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1" name="Rectangle 54"/>
          <p:cNvSpPr>
            <a:spLocks noChangeArrowheads="1"/>
          </p:cNvSpPr>
          <p:nvPr/>
        </p:nvSpPr>
        <p:spPr bwMode="auto">
          <a:xfrm>
            <a:off x="5284128" y="1821529"/>
            <a:ext cx="392675" cy="3926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2" name="Rectangle 55"/>
          <p:cNvSpPr>
            <a:spLocks noChangeArrowheads="1"/>
          </p:cNvSpPr>
          <p:nvPr/>
        </p:nvSpPr>
        <p:spPr bwMode="auto">
          <a:xfrm>
            <a:off x="5284128" y="2313011"/>
            <a:ext cx="392675" cy="392675"/>
          </a:xfrm>
          <a:prstGeom prst="rect">
            <a:avLst/>
          </a:prstGeom>
          <a:solidFill>
            <a:srgbClr val="00ABF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3" name="Rectangle 56"/>
          <p:cNvSpPr>
            <a:spLocks noChangeArrowheads="1"/>
          </p:cNvSpPr>
          <p:nvPr/>
        </p:nvSpPr>
        <p:spPr bwMode="auto">
          <a:xfrm>
            <a:off x="5279869" y="2806197"/>
            <a:ext cx="392675" cy="393527"/>
          </a:xfrm>
          <a:prstGeom prst="rect">
            <a:avLst/>
          </a:prstGeom>
          <a:solidFill>
            <a:srgbClr val="85BF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4" name="Rectangle 57"/>
          <p:cNvSpPr>
            <a:spLocks noChangeArrowheads="1"/>
          </p:cNvSpPr>
          <p:nvPr/>
        </p:nvSpPr>
        <p:spPr bwMode="auto">
          <a:xfrm>
            <a:off x="5284128" y="3295976"/>
            <a:ext cx="392675" cy="392675"/>
          </a:xfrm>
          <a:prstGeom prst="rect">
            <a:avLst/>
          </a:prstGeom>
          <a:solidFill>
            <a:srgbClr val="9E44A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5" name="Rectangle 58"/>
          <p:cNvSpPr>
            <a:spLocks noChangeArrowheads="1"/>
          </p:cNvSpPr>
          <p:nvPr/>
        </p:nvSpPr>
        <p:spPr bwMode="auto">
          <a:xfrm>
            <a:off x="5284128" y="3787457"/>
            <a:ext cx="392675" cy="395230"/>
          </a:xfrm>
          <a:prstGeom prst="rect">
            <a:avLst/>
          </a:prstGeom>
          <a:solidFill>
            <a:srgbClr val="31313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6" name="Rectangle 59"/>
          <p:cNvSpPr>
            <a:spLocks noChangeArrowheads="1"/>
          </p:cNvSpPr>
          <p:nvPr/>
        </p:nvSpPr>
        <p:spPr bwMode="auto">
          <a:xfrm>
            <a:off x="5284128" y="4281496"/>
            <a:ext cx="392675" cy="392675"/>
          </a:xfrm>
          <a:prstGeom prst="rect">
            <a:avLst/>
          </a:prstGeom>
          <a:solidFill>
            <a:srgbClr val="4D75B8"/>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7" name="Rectangle 60"/>
          <p:cNvSpPr>
            <a:spLocks noChangeArrowheads="1"/>
          </p:cNvSpPr>
          <p:nvPr/>
        </p:nvSpPr>
        <p:spPr bwMode="auto">
          <a:xfrm>
            <a:off x="4800312" y="1330047"/>
            <a:ext cx="392675" cy="392675"/>
          </a:xfrm>
          <a:prstGeom prst="rect">
            <a:avLst/>
          </a:prstGeom>
          <a:solidFill>
            <a:srgbClr val="21759B"/>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8" name="Rectangle 61"/>
          <p:cNvSpPr>
            <a:spLocks noChangeArrowheads="1"/>
          </p:cNvSpPr>
          <p:nvPr/>
        </p:nvSpPr>
        <p:spPr bwMode="auto">
          <a:xfrm>
            <a:off x="4800312" y="1821529"/>
            <a:ext cx="392675" cy="3926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19" name="Rectangle 62"/>
          <p:cNvSpPr>
            <a:spLocks noChangeArrowheads="1"/>
          </p:cNvSpPr>
          <p:nvPr/>
        </p:nvSpPr>
        <p:spPr bwMode="auto">
          <a:xfrm>
            <a:off x="4800312" y="2313011"/>
            <a:ext cx="392675" cy="392675"/>
          </a:xfrm>
          <a:prstGeom prst="rect">
            <a:avLst/>
          </a:prstGeom>
          <a:solidFill>
            <a:srgbClr val="FF0087"/>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20" name="Rectangle 63"/>
          <p:cNvSpPr>
            <a:spLocks noChangeArrowheads="1"/>
          </p:cNvSpPr>
          <p:nvPr/>
        </p:nvSpPr>
        <p:spPr bwMode="auto">
          <a:xfrm>
            <a:off x="4800312" y="2804494"/>
            <a:ext cx="392675" cy="392675"/>
          </a:xfrm>
          <a:prstGeom prst="rect">
            <a:avLst/>
          </a:prstGeom>
          <a:solidFill>
            <a:srgbClr val="005D83"/>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21" name="Rectangle 64"/>
          <p:cNvSpPr>
            <a:spLocks noChangeArrowheads="1"/>
          </p:cNvSpPr>
          <p:nvPr/>
        </p:nvSpPr>
        <p:spPr bwMode="auto">
          <a:xfrm>
            <a:off x="4800312" y="3295976"/>
            <a:ext cx="392675" cy="392675"/>
          </a:xfrm>
          <a:prstGeom prst="rect">
            <a:avLst/>
          </a:prstGeom>
          <a:solidFill>
            <a:srgbClr val="FD001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22" name="Rectangle 65"/>
          <p:cNvSpPr>
            <a:spLocks noChangeArrowheads="1"/>
          </p:cNvSpPr>
          <p:nvPr/>
        </p:nvSpPr>
        <p:spPr bwMode="auto">
          <a:xfrm>
            <a:off x="4800312" y="3787457"/>
            <a:ext cx="392675" cy="395230"/>
          </a:xfrm>
          <a:prstGeom prst="rect">
            <a:avLst/>
          </a:prstGeom>
          <a:solidFill>
            <a:srgbClr val="00652D"/>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23" name="Rectangle 66"/>
          <p:cNvSpPr>
            <a:spLocks noChangeArrowheads="1"/>
          </p:cNvSpPr>
          <p:nvPr/>
        </p:nvSpPr>
        <p:spPr bwMode="auto">
          <a:xfrm>
            <a:off x="4800312" y="4281496"/>
            <a:ext cx="392675" cy="392675"/>
          </a:xfrm>
          <a:prstGeom prst="rect">
            <a:avLst/>
          </a:prstGeom>
          <a:solidFill>
            <a:srgbClr val="00605E"/>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26" name="Oval 69"/>
          <p:cNvSpPr>
            <a:spLocks noChangeArrowheads="1"/>
          </p:cNvSpPr>
          <p:nvPr/>
        </p:nvSpPr>
        <p:spPr bwMode="auto">
          <a:xfrm>
            <a:off x="7204911" y="1309603"/>
            <a:ext cx="435264" cy="43526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29" name="Oval 72"/>
          <p:cNvSpPr>
            <a:spLocks noChangeArrowheads="1"/>
          </p:cNvSpPr>
          <p:nvPr/>
        </p:nvSpPr>
        <p:spPr bwMode="auto">
          <a:xfrm>
            <a:off x="6720243" y="1801085"/>
            <a:ext cx="434412" cy="435264"/>
          </a:xfrm>
          <a:prstGeom prst="ellipse">
            <a:avLst/>
          </a:prstGeom>
          <a:solidFill>
            <a:srgbClr val="5859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31" name="Oval 74"/>
          <p:cNvSpPr>
            <a:spLocks noChangeArrowheads="1"/>
          </p:cNvSpPr>
          <p:nvPr/>
        </p:nvSpPr>
        <p:spPr bwMode="auto">
          <a:xfrm>
            <a:off x="7688727" y="1801085"/>
            <a:ext cx="434412" cy="435264"/>
          </a:xfrm>
          <a:prstGeom prst="ellipse">
            <a:avLst/>
          </a:prstGeom>
          <a:solidFill>
            <a:srgbClr val="E62D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33" name="Oval 76"/>
          <p:cNvSpPr>
            <a:spLocks noChangeArrowheads="1"/>
          </p:cNvSpPr>
          <p:nvPr/>
        </p:nvSpPr>
        <p:spPr bwMode="auto">
          <a:xfrm>
            <a:off x="8655508" y="1801085"/>
            <a:ext cx="434412" cy="435264"/>
          </a:xfrm>
          <a:prstGeom prst="ellipse">
            <a:avLst/>
          </a:prstGeom>
          <a:solidFill>
            <a:srgbClr val="58595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34" name="Oval 77"/>
          <p:cNvSpPr>
            <a:spLocks noChangeArrowheads="1"/>
          </p:cNvSpPr>
          <p:nvPr/>
        </p:nvSpPr>
        <p:spPr bwMode="auto">
          <a:xfrm>
            <a:off x="8655508" y="1309603"/>
            <a:ext cx="434412" cy="435264"/>
          </a:xfrm>
          <a:prstGeom prst="ellipse">
            <a:avLst/>
          </a:prstGeom>
          <a:solidFill>
            <a:srgbClr val="305F8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35" name="Oval 78"/>
          <p:cNvSpPr>
            <a:spLocks noChangeArrowheads="1"/>
          </p:cNvSpPr>
          <p:nvPr/>
        </p:nvSpPr>
        <p:spPr bwMode="auto">
          <a:xfrm>
            <a:off x="6236427" y="2292567"/>
            <a:ext cx="435264" cy="435264"/>
          </a:xfrm>
          <a:prstGeom prst="ellipse">
            <a:avLst/>
          </a:prstGeom>
          <a:solidFill>
            <a:srgbClr val="A6A6A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37" name="Oval 80"/>
          <p:cNvSpPr>
            <a:spLocks noChangeArrowheads="1"/>
          </p:cNvSpPr>
          <p:nvPr/>
        </p:nvSpPr>
        <p:spPr bwMode="auto">
          <a:xfrm>
            <a:off x="7688727" y="2292567"/>
            <a:ext cx="434412" cy="435264"/>
          </a:xfrm>
          <a:prstGeom prst="ellipse">
            <a:avLst/>
          </a:prstGeom>
          <a:solidFill>
            <a:srgbClr val="652D7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39" name="Oval 82"/>
          <p:cNvSpPr>
            <a:spLocks noChangeArrowheads="1"/>
          </p:cNvSpPr>
          <p:nvPr/>
        </p:nvSpPr>
        <p:spPr bwMode="auto">
          <a:xfrm>
            <a:off x="8655508" y="2292567"/>
            <a:ext cx="434412" cy="435264"/>
          </a:xfrm>
          <a:prstGeom prst="ellipse">
            <a:avLst/>
          </a:prstGeom>
          <a:solidFill>
            <a:srgbClr val="AD160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41" name="Oval 84"/>
          <p:cNvSpPr>
            <a:spLocks noChangeArrowheads="1"/>
          </p:cNvSpPr>
          <p:nvPr/>
        </p:nvSpPr>
        <p:spPr bwMode="auto">
          <a:xfrm>
            <a:off x="9623992" y="2292567"/>
            <a:ext cx="434412" cy="435264"/>
          </a:xfrm>
          <a:prstGeom prst="ellipse">
            <a:avLst/>
          </a:prstGeom>
          <a:solidFill>
            <a:srgbClr val="00ABF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42" name="Oval 85"/>
          <p:cNvSpPr>
            <a:spLocks noChangeArrowheads="1"/>
          </p:cNvSpPr>
          <p:nvPr/>
        </p:nvSpPr>
        <p:spPr bwMode="auto">
          <a:xfrm>
            <a:off x="6236427" y="2784050"/>
            <a:ext cx="435264" cy="435264"/>
          </a:xfrm>
          <a:prstGeom prst="ellipse">
            <a:avLst/>
          </a:prstGeom>
          <a:solidFill>
            <a:srgbClr val="3283C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43" name="Oval 86"/>
          <p:cNvSpPr>
            <a:spLocks noChangeArrowheads="1"/>
          </p:cNvSpPr>
          <p:nvPr/>
        </p:nvSpPr>
        <p:spPr bwMode="auto">
          <a:xfrm>
            <a:off x="6720243" y="2784050"/>
            <a:ext cx="434412" cy="435264"/>
          </a:xfrm>
          <a:prstGeom prst="ellipse">
            <a:avLst/>
          </a:prstGeom>
          <a:solidFill>
            <a:srgbClr val="B3C43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45" name="Oval 88"/>
          <p:cNvSpPr>
            <a:spLocks noChangeArrowheads="1"/>
          </p:cNvSpPr>
          <p:nvPr/>
        </p:nvSpPr>
        <p:spPr bwMode="auto">
          <a:xfrm>
            <a:off x="7688727" y="2784050"/>
            <a:ext cx="434412" cy="435264"/>
          </a:xfrm>
          <a:prstGeom prst="ellipse">
            <a:avLst/>
          </a:pr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46" name="Oval 89"/>
          <p:cNvSpPr>
            <a:spLocks noChangeArrowheads="1"/>
          </p:cNvSpPr>
          <p:nvPr/>
        </p:nvSpPr>
        <p:spPr bwMode="auto">
          <a:xfrm>
            <a:off x="8171692" y="2784050"/>
            <a:ext cx="435264" cy="435264"/>
          </a:xfrm>
          <a:prstGeom prst="ellipse">
            <a:avLst/>
          </a:prstGeom>
          <a:solidFill>
            <a:srgbClr val="FFC11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48" name="Oval 91"/>
          <p:cNvSpPr>
            <a:spLocks noChangeArrowheads="1"/>
          </p:cNvSpPr>
          <p:nvPr/>
        </p:nvSpPr>
        <p:spPr bwMode="auto">
          <a:xfrm>
            <a:off x="9140175" y="2784050"/>
            <a:ext cx="435264" cy="435264"/>
          </a:xfrm>
          <a:prstGeom prst="ellipse">
            <a:avLst/>
          </a:prstGeom>
          <a:solidFill>
            <a:srgbClr val="005D8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49" name="Oval 92"/>
          <p:cNvSpPr>
            <a:spLocks noChangeArrowheads="1"/>
          </p:cNvSpPr>
          <p:nvPr/>
        </p:nvSpPr>
        <p:spPr bwMode="auto">
          <a:xfrm>
            <a:off x="9623992" y="2784050"/>
            <a:ext cx="434412" cy="435264"/>
          </a:xfrm>
          <a:prstGeom prst="ellipse">
            <a:avLst/>
          </a:prstGeom>
          <a:solidFill>
            <a:srgbClr val="85BF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0" name="Oval 93"/>
          <p:cNvSpPr>
            <a:spLocks noChangeArrowheads="1"/>
          </p:cNvSpPr>
          <p:nvPr/>
        </p:nvSpPr>
        <p:spPr bwMode="auto">
          <a:xfrm>
            <a:off x="6236427" y="3276384"/>
            <a:ext cx="435264" cy="434412"/>
          </a:xfrm>
          <a:prstGeom prst="ellipse">
            <a:avLst/>
          </a:prstGeom>
          <a:solidFill>
            <a:srgbClr val="00B4F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1" name="Oval 94"/>
          <p:cNvSpPr>
            <a:spLocks noChangeArrowheads="1"/>
          </p:cNvSpPr>
          <p:nvPr/>
        </p:nvSpPr>
        <p:spPr bwMode="auto">
          <a:xfrm>
            <a:off x="6720243" y="3276384"/>
            <a:ext cx="434412" cy="434412"/>
          </a:xfrm>
          <a:prstGeom prst="ellipse">
            <a:avLst/>
          </a:prstGeom>
          <a:solidFill>
            <a:srgbClr val="00A2F4"/>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2" name="Oval 95"/>
          <p:cNvSpPr>
            <a:spLocks noChangeArrowheads="1"/>
          </p:cNvSpPr>
          <p:nvPr/>
        </p:nvSpPr>
        <p:spPr bwMode="auto">
          <a:xfrm>
            <a:off x="7204911" y="3276384"/>
            <a:ext cx="435264" cy="434412"/>
          </a:xfrm>
          <a:prstGeom prst="ellipse">
            <a:avLst/>
          </a:prstGeom>
          <a:solidFill>
            <a:srgbClr val="91009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3" name="Oval 96"/>
          <p:cNvSpPr>
            <a:spLocks noChangeArrowheads="1"/>
          </p:cNvSpPr>
          <p:nvPr/>
        </p:nvSpPr>
        <p:spPr bwMode="auto">
          <a:xfrm>
            <a:off x="7688727" y="3276384"/>
            <a:ext cx="434412" cy="434412"/>
          </a:xfrm>
          <a:prstGeom prst="ellipse">
            <a:avLst/>
          </a:prstGeom>
          <a:solidFill>
            <a:srgbClr val="F45A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4" name="Oval 97"/>
          <p:cNvSpPr>
            <a:spLocks noChangeArrowheads="1"/>
          </p:cNvSpPr>
          <p:nvPr/>
        </p:nvSpPr>
        <p:spPr bwMode="auto">
          <a:xfrm>
            <a:off x="8171692" y="3276384"/>
            <a:ext cx="435264" cy="434412"/>
          </a:xfrm>
          <a:prstGeom prst="ellipse">
            <a:avLst/>
          </a:prstGeom>
          <a:solidFill>
            <a:srgbClr val="5CBF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5" name="Oval 98"/>
          <p:cNvSpPr>
            <a:spLocks noChangeArrowheads="1"/>
          </p:cNvSpPr>
          <p:nvPr/>
        </p:nvSpPr>
        <p:spPr bwMode="auto">
          <a:xfrm>
            <a:off x="8655508" y="3276384"/>
            <a:ext cx="434412" cy="434412"/>
          </a:xfrm>
          <a:prstGeom prst="ellipse">
            <a:avLst/>
          </a:prstGeom>
          <a:solidFill>
            <a:srgbClr val="F5E2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6" name="Oval 99"/>
          <p:cNvSpPr>
            <a:spLocks noChangeArrowheads="1"/>
          </p:cNvSpPr>
          <p:nvPr/>
        </p:nvSpPr>
        <p:spPr bwMode="auto">
          <a:xfrm>
            <a:off x="9140175" y="3276384"/>
            <a:ext cx="435264" cy="434412"/>
          </a:xfrm>
          <a:prstGeom prst="ellipse">
            <a:avLst/>
          </a:prstGeom>
          <a:solidFill>
            <a:srgbClr val="FD001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7" name="Oval 100"/>
          <p:cNvSpPr>
            <a:spLocks noChangeArrowheads="1"/>
          </p:cNvSpPr>
          <p:nvPr/>
        </p:nvSpPr>
        <p:spPr bwMode="auto">
          <a:xfrm>
            <a:off x="9623992" y="3276384"/>
            <a:ext cx="434412" cy="434412"/>
          </a:xfrm>
          <a:prstGeom prst="ellipse">
            <a:avLst/>
          </a:prstGeom>
          <a:solidFill>
            <a:srgbClr val="9E44A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8" name="Oval 101"/>
          <p:cNvSpPr>
            <a:spLocks noChangeArrowheads="1"/>
          </p:cNvSpPr>
          <p:nvPr/>
        </p:nvSpPr>
        <p:spPr bwMode="auto">
          <a:xfrm>
            <a:off x="6236427" y="3767866"/>
            <a:ext cx="435264" cy="435264"/>
          </a:xfrm>
          <a:prstGeom prst="ellipse">
            <a:avLst/>
          </a:prstGeom>
          <a:solidFill>
            <a:srgbClr val="FF73A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59" name="Oval 102"/>
          <p:cNvSpPr>
            <a:spLocks noChangeArrowheads="1"/>
          </p:cNvSpPr>
          <p:nvPr/>
        </p:nvSpPr>
        <p:spPr bwMode="auto">
          <a:xfrm>
            <a:off x="6720243" y="3767866"/>
            <a:ext cx="434412" cy="435264"/>
          </a:xfrm>
          <a:prstGeom prst="ellipse">
            <a:avLst/>
          </a:prstGeom>
          <a:solidFill>
            <a:srgbClr val="0078E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60" name="Oval 103"/>
          <p:cNvSpPr>
            <a:spLocks noChangeArrowheads="1"/>
          </p:cNvSpPr>
          <p:nvPr/>
        </p:nvSpPr>
        <p:spPr bwMode="auto">
          <a:xfrm>
            <a:off x="7204911" y="3767866"/>
            <a:ext cx="435264" cy="435264"/>
          </a:xfrm>
          <a:prstGeom prst="ellipse">
            <a:avLst/>
          </a:prstGeom>
          <a:solidFill>
            <a:srgbClr val="0084C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61" name="Oval 104"/>
          <p:cNvSpPr>
            <a:spLocks noChangeArrowheads="1"/>
          </p:cNvSpPr>
          <p:nvPr/>
        </p:nvSpPr>
        <p:spPr bwMode="auto">
          <a:xfrm>
            <a:off x="7688727" y="3767866"/>
            <a:ext cx="434412" cy="435264"/>
          </a:xfrm>
          <a:prstGeom prst="ellipse">
            <a:avLst/>
          </a:prstGeom>
          <a:solidFill>
            <a:srgbClr val="2DA14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62" name="Oval 105"/>
          <p:cNvSpPr>
            <a:spLocks noChangeArrowheads="1"/>
          </p:cNvSpPr>
          <p:nvPr/>
        </p:nvSpPr>
        <p:spPr bwMode="auto">
          <a:xfrm>
            <a:off x="8171692" y="3767866"/>
            <a:ext cx="435264" cy="435264"/>
          </a:xfrm>
          <a:prstGeom prst="ellipse">
            <a:avLst/>
          </a:prstGeom>
          <a:solidFill>
            <a:srgbClr val="FF4F0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63" name="Oval 106"/>
          <p:cNvSpPr>
            <a:spLocks noChangeArrowheads="1"/>
          </p:cNvSpPr>
          <p:nvPr/>
        </p:nvSpPr>
        <p:spPr bwMode="auto">
          <a:xfrm>
            <a:off x="8655508" y="3767866"/>
            <a:ext cx="434412" cy="435264"/>
          </a:xfrm>
          <a:prstGeom prst="ellipse">
            <a:avLst/>
          </a:prstGeom>
          <a:solidFill>
            <a:srgbClr val="0093D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64" name="Oval 107"/>
          <p:cNvSpPr>
            <a:spLocks noChangeArrowheads="1"/>
          </p:cNvSpPr>
          <p:nvPr/>
        </p:nvSpPr>
        <p:spPr bwMode="auto">
          <a:xfrm>
            <a:off x="9140175" y="3767866"/>
            <a:ext cx="435264" cy="435264"/>
          </a:xfrm>
          <a:prstGeom prst="ellipse">
            <a:avLst/>
          </a:prstGeom>
          <a:solidFill>
            <a:srgbClr val="00652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65" name="Oval 108"/>
          <p:cNvSpPr>
            <a:spLocks noChangeArrowheads="1"/>
          </p:cNvSpPr>
          <p:nvPr/>
        </p:nvSpPr>
        <p:spPr bwMode="auto">
          <a:xfrm>
            <a:off x="9623992" y="3767866"/>
            <a:ext cx="434412" cy="435264"/>
          </a:xfrm>
          <a:prstGeom prst="ellipse">
            <a:avLst/>
          </a:prstGeom>
          <a:solidFill>
            <a:srgbClr val="31313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67" name="Oval 110"/>
          <p:cNvSpPr>
            <a:spLocks noChangeArrowheads="1"/>
          </p:cNvSpPr>
          <p:nvPr/>
        </p:nvSpPr>
        <p:spPr bwMode="auto">
          <a:xfrm>
            <a:off x="6720243" y="4259348"/>
            <a:ext cx="434412" cy="435264"/>
          </a:xfrm>
          <a:prstGeom prst="ellipse">
            <a:avLst/>
          </a:prstGeom>
          <a:solidFill>
            <a:srgbClr val="59991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68" name="Oval 111"/>
          <p:cNvSpPr>
            <a:spLocks noChangeArrowheads="1"/>
          </p:cNvSpPr>
          <p:nvPr/>
        </p:nvSpPr>
        <p:spPr bwMode="auto">
          <a:xfrm>
            <a:off x="7204911" y="4259348"/>
            <a:ext cx="435264" cy="435264"/>
          </a:xfrm>
          <a:prstGeom prst="ellipse">
            <a:avLst/>
          </a:prstGeom>
          <a:solidFill>
            <a:srgbClr val="E27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69" name="Oval 112"/>
          <p:cNvSpPr>
            <a:spLocks noChangeArrowheads="1"/>
          </p:cNvSpPr>
          <p:nvPr/>
        </p:nvSpPr>
        <p:spPr bwMode="auto">
          <a:xfrm>
            <a:off x="7688727" y="4259348"/>
            <a:ext cx="434412" cy="435264"/>
          </a:xfrm>
          <a:prstGeom prst="ellipse">
            <a:avLst/>
          </a:prstGeom>
          <a:solidFill>
            <a:srgbClr val="004A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0" name="Oval 113"/>
          <p:cNvSpPr>
            <a:spLocks noChangeArrowheads="1"/>
          </p:cNvSpPr>
          <p:nvPr/>
        </p:nvSpPr>
        <p:spPr bwMode="auto">
          <a:xfrm>
            <a:off x="8171692" y="4259348"/>
            <a:ext cx="435264" cy="435264"/>
          </a:xfrm>
          <a:prstGeom prst="ellipse">
            <a:avLst/>
          </a:prstGeom>
          <a:solidFill>
            <a:srgbClr val="476BA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1" name="Oval 114"/>
          <p:cNvSpPr>
            <a:spLocks noChangeArrowheads="1"/>
          </p:cNvSpPr>
          <p:nvPr/>
        </p:nvSpPr>
        <p:spPr bwMode="auto">
          <a:xfrm>
            <a:off x="8655508" y="4259348"/>
            <a:ext cx="434412" cy="435264"/>
          </a:xfrm>
          <a:prstGeom prst="ellipse">
            <a:avLst/>
          </a:prstGeom>
          <a:solidFill>
            <a:srgbClr val="FF5C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2" name="Oval 115"/>
          <p:cNvSpPr>
            <a:spLocks noChangeArrowheads="1"/>
          </p:cNvSpPr>
          <p:nvPr/>
        </p:nvSpPr>
        <p:spPr bwMode="auto">
          <a:xfrm>
            <a:off x="9140175" y="4259348"/>
            <a:ext cx="435264" cy="435264"/>
          </a:xfrm>
          <a:prstGeom prst="ellipse">
            <a:avLst/>
          </a:prstGeom>
          <a:solidFill>
            <a:srgbClr val="00605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3" name="Oval 116"/>
          <p:cNvSpPr>
            <a:spLocks noChangeArrowheads="1"/>
          </p:cNvSpPr>
          <p:nvPr/>
        </p:nvSpPr>
        <p:spPr bwMode="auto">
          <a:xfrm>
            <a:off x="9623992" y="4259348"/>
            <a:ext cx="434412" cy="435264"/>
          </a:xfrm>
          <a:prstGeom prst="ellipse">
            <a:avLst/>
          </a:prstGeom>
          <a:solidFill>
            <a:srgbClr val="4D75B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4" name="Oval 118"/>
          <p:cNvSpPr>
            <a:spLocks noChangeArrowheads="1"/>
          </p:cNvSpPr>
          <p:nvPr/>
        </p:nvSpPr>
        <p:spPr bwMode="auto">
          <a:xfrm>
            <a:off x="6720243" y="4750831"/>
            <a:ext cx="434412" cy="435264"/>
          </a:xfrm>
          <a:prstGeom prst="ellipse">
            <a:avLst/>
          </a:prstGeom>
          <a:solidFill>
            <a:srgbClr val="3A4C8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5" name="Oval 119"/>
          <p:cNvSpPr>
            <a:spLocks noChangeArrowheads="1"/>
          </p:cNvSpPr>
          <p:nvPr/>
        </p:nvSpPr>
        <p:spPr bwMode="auto">
          <a:xfrm>
            <a:off x="7204911" y="4750831"/>
            <a:ext cx="435264" cy="435264"/>
          </a:xfrm>
          <a:prstGeom prst="ellipse">
            <a:avLst/>
          </a:prstGeom>
          <a:solidFill>
            <a:srgbClr val="F68E0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6" name="Oval 120"/>
          <p:cNvSpPr>
            <a:spLocks noChangeArrowheads="1"/>
          </p:cNvSpPr>
          <p:nvPr/>
        </p:nvSpPr>
        <p:spPr bwMode="auto">
          <a:xfrm>
            <a:off x="7688727" y="4750831"/>
            <a:ext cx="434412" cy="435264"/>
          </a:xfrm>
          <a:prstGeom prst="ellipse">
            <a:avLst/>
          </a:prstGeom>
          <a:solidFill>
            <a:srgbClr val="01AA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7" name="Oval 121"/>
          <p:cNvSpPr>
            <a:spLocks noChangeArrowheads="1"/>
          </p:cNvSpPr>
          <p:nvPr/>
        </p:nvSpPr>
        <p:spPr bwMode="auto">
          <a:xfrm>
            <a:off x="8171692" y="4750831"/>
            <a:ext cx="435264" cy="435264"/>
          </a:xfrm>
          <a:prstGeom prst="ellipse">
            <a:avLst/>
          </a:prstGeom>
          <a:solidFill>
            <a:srgbClr val="CF4D4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8" name="Oval 122"/>
          <p:cNvSpPr>
            <a:spLocks noChangeArrowheads="1"/>
          </p:cNvSpPr>
          <p:nvPr/>
        </p:nvSpPr>
        <p:spPr bwMode="auto">
          <a:xfrm>
            <a:off x="8655508" y="4750831"/>
            <a:ext cx="434412" cy="435264"/>
          </a:xfrm>
          <a:prstGeom prst="ellipse">
            <a:avLst/>
          </a:prstGeom>
          <a:solidFill>
            <a:srgbClr val="00A8E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79" name="Freeform 123"/>
          <p:cNvSpPr>
            <a:spLocks noEditPoints="1"/>
          </p:cNvSpPr>
          <p:nvPr/>
        </p:nvSpPr>
        <p:spPr bwMode="auto">
          <a:xfrm>
            <a:off x="8292646" y="3864118"/>
            <a:ext cx="193356" cy="241908"/>
          </a:xfrm>
          <a:custGeom>
            <a:avLst/>
            <a:gdLst>
              <a:gd name="T0" fmla="*/ 48 w 96"/>
              <a:gd name="T1" fmla="*/ 24 h 120"/>
              <a:gd name="T2" fmla="*/ 14 w 96"/>
              <a:gd name="T3" fmla="*/ 38 h 120"/>
              <a:gd name="T4" fmla="*/ 12 w 96"/>
              <a:gd name="T5" fmla="*/ 40 h 120"/>
              <a:gd name="T6" fmla="*/ 12 w 96"/>
              <a:gd name="T7" fmla="*/ 6 h 120"/>
              <a:gd name="T8" fmla="*/ 6 w 96"/>
              <a:gd name="T9" fmla="*/ 0 h 120"/>
              <a:gd name="T10" fmla="*/ 0 w 96"/>
              <a:gd name="T11" fmla="*/ 6 h 120"/>
              <a:gd name="T12" fmla="*/ 0 w 96"/>
              <a:gd name="T13" fmla="*/ 69 h 120"/>
              <a:gd name="T14" fmla="*/ 0 w 96"/>
              <a:gd name="T15" fmla="*/ 69 h 120"/>
              <a:gd name="T16" fmla="*/ 0 w 96"/>
              <a:gd name="T17" fmla="*/ 72 h 120"/>
              <a:gd name="T18" fmla="*/ 14 w 96"/>
              <a:gd name="T19" fmla="*/ 106 h 120"/>
              <a:gd name="T20" fmla="*/ 48 w 96"/>
              <a:gd name="T21" fmla="*/ 120 h 120"/>
              <a:gd name="T22" fmla="*/ 82 w 96"/>
              <a:gd name="T23" fmla="*/ 106 h 120"/>
              <a:gd name="T24" fmla="*/ 96 w 96"/>
              <a:gd name="T25" fmla="*/ 72 h 120"/>
              <a:gd name="T26" fmla="*/ 82 w 96"/>
              <a:gd name="T27" fmla="*/ 38 h 120"/>
              <a:gd name="T28" fmla="*/ 48 w 96"/>
              <a:gd name="T29" fmla="*/ 24 h 120"/>
              <a:gd name="T30" fmla="*/ 74 w 96"/>
              <a:gd name="T31" fmla="*/ 97 h 120"/>
              <a:gd name="T32" fmla="*/ 48 w 96"/>
              <a:gd name="T33" fmla="*/ 108 h 120"/>
              <a:gd name="T34" fmla="*/ 23 w 96"/>
              <a:gd name="T35" fmla="*/ 97 h 120"/>
              <a:gd name="T36" fmla="*/ 12 w 96"/>
              <a:gd name="T37" fmla="*/ 72 h 120"/>
              <a:gd name="T38" fmla="*/ 23 w 96"/>
              <a:gd name="T39" fmla="*/ 46 h 120"/>
              <a:gd name="T40" fmla="*/ 48 w 96"/>
              <a:gd name="T41" fmla="*/ 36 h 120"/>
              <a:gd name="T42" fmla="*/ 74 w 96"/>
              <a:gd name="T43" fmla="*/ 46 h 120"/>
              <a:gd name="T44" fmla="*/ 84 w 96"/>
              <a:gd name="T45" fmla="*/ 72 h 120"/>
              <a:gd name="T46" fmla="*/ 74 w 96"/>
              <a:gd name="T47" fmla="*/ 9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20">
                <a:moveTo>
                  <a:pt x="48" y="24"/>
                </a:moveTo>
                <a:cubicBezTo>
                  <a:pt x="35" y="24"/>
                  <a:pt x="23" y="29"/>
                  <a:pt x="14" y="38"/>
                </a:cubicBezTo>
                <a:cubicBezTo>
                  <a:pt x="14" y="39"/>
                  <a:pt x="13" y="39"/>
                  <a:pt x="12" y="40"/>
                </a:cubicBezTo>
                <a:cubicBezTo>
                  <a:pt x="12" y="6"/>
                  <a:pt x="12" y="6"/>
                  <a:pt x="12" y="6"/>
                </a:cubicBezTo>
                <a:cubicBezTo>
                  <a:pt x="12" y="3"/>
                  <a:pt x="10" y="0"/>
                  <a:pt x="6" y="0"/>
                </a:cubicBezTo>
                <a:cubicBezTo>
                  <a:pt x="3" y="0"/>
                  <a:pt x="0" y="3"/>
                  <a:pt x="0" y="6"/>
                </a:cubicBezTo>
                <a:cubicBezTo>
                  <a:pt x="0" y="69"/>
                  <a:pt x="0" y="69"/>
                  <a:pt x="0" y="69"/>
                </a:cubicBezTo>
                <a:cubicBezTo>
                  <a:pt x="0" y="69"/>
                  <a:pt x="0" y="69"/>
                  <a:pt x="0" y="69"/>
                </a:cubicBezTo>
                <a:cubicBezTo>
                  <a:pt x="0" y="70"/>
                  <a:pt x="0" y="71"/>
                  <a:pt x="0" y="72"/>
                </a:cubicBezTo>
                <a:cubicBezTo>
                  <a:pt x="0" y="85"/>
                  <a:pt x="6" y="97"/>
                  <a:pt x="14" y="106"/>
                </a:cubicBezTo>
                <a:cubicBezTo>
                  <a:pt x="23" y="114"/>
                  <a:pt x="35" y="120"/>
                  <a:pt x="48" y="120"/>
                </a:cubicBezTo>
                <a:cubicBezTo>
                  <a:pt x="62" y="120"/>
                  <a:pt x="74" y="114"/>
                  <a:pt x="82" y="106"/>
                </a:cubicBezTo>
                <a:cubicBezTo>
                  <a:pt x="91" y="97"/>
                  <a:pt x="96" y="85"/>
                  <a:pt x="96" y="72"/>
                </a:cubicBezTo>
                <a:cubicBezTo>
                  <a:pt x="96" y="59"/>
                  <a:pt x="91" y="47"/>
                  <a:pt x="82" y="38"/>
                </a:cubicBezTo>
                <a:cubicBezTo>
                  <a:pt x="74" y="29"/>
                  <a:pt x="62" y="24"/>
                  <a:pt x="48" y="24"/>
                </a:cubicBezTo>
                <a:close/>
                <a:moveTo>
                  <a:pt x="74" y="97"/>
                </a:moveTo>
                <a:cubicBezTo>
                  <a:pt x="67" y="104"/>
                  <a:pt x="58" y="108"/>
                  <a:pt x="48" y="108"/>
                </a:cubicBezTo>
                <a:cubicBezTo>
                  <a:pt x="38" y="108"/>
                  <a:pt x="29" y="104"/>
                  <a:pt x="23" y="97"/>
                </a:cubicBezTo>
                <a:cubicBezTo>
                  <a:pt x="16" y="91"/>
                  <a:pt x="12" y="82"/>
                  <a:pt x="12" y="72"/>
                </a:cubicBezTo>
                <a:cubicBezTo>
                  <a:pt x="12" y="62"/>
                  <a:pt x="16" y="53"/>
                  <a:pt x="23" y="46"/>
                </a:cubicBezTo>
                <a:cubicBezTo>
                  <a:pt x="29" y="40"/>
                  <a:pt x="38" y="36"/>
                  <a:pt x="48" y="36"/>
                </a:cubicBezTo>
                <a:cubicBezTo>
                  <a:pt x="58" y="36"/>
                  <a:pt x="67" y="40"/>
                  <a:pt x="74" y="46"/>
                </a:cubicBezTo>
                <a:cubicBezTo>
                  <a:pt x="80" y="53"/>
                  <a:pt x="84" y="62"/>
                  <a:pt x="84" y="72"/>
                </a:cubicBezTo>
                <a:cubicBezTo>
                  <a:pt x="84" y="82"/>
                  <a:pt x="80" y="91"/>
                  <a:pt x="74" y="9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80" name="Oval 124"/>
          <p:cNvSpPr>
            <a:spLocks noChangeArrowheads="1"/>
          </p:cNvSpPr>
          <p:nvPr/>
        </p:nvSpPr>
        <p:spPr bwMode="auto">
          <a:xfrm>
            <a:off x="8332681" y="3991036"/>
            <a:ext cx="42589" cy="42589"/>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81" name="Freeform 125"/>
          <p:cNvSpPr>
            <a:spLocks noEditPoints="1"/>
          </p:cNvSpPr>
          <p:nvPr/>
        </p:nvSpPr>
        <p:spPr bwMode="auto">
          <a:xfrm>
            <a:off x="8767944" y="3866674"/>
            <a:ext cx="211244" cy="241057"/>
          </a:xfrm>
          <a:custGeom>
            <a:avLst/>
            <a:gdLst>
              <a:gd name="T0" fmla="*/ 78 w 105"/>
              <a:gd name="T1" fmla="*/ 22 h 120"/>
              <a:gd name="T2" fmla="*/ 61 w 105"/>
              <a:gd name="T3" fmla="*/ 13 h 120"/>
              <a:gd name="T4" fmla="*/ 48 w 105"/>
              <a:gd name="T5" fmla="*/ 0 h 120"/>
              <a:gd name="T6" fmla="*/ 42 w 105"/>
              <a:gd name="T7" fmla="*/ 13 h 120"/>
              <a:gd name="T8" fmla="*/ 28 w 105"/>
              <a:gd name="T9" fmla="*/ 22 h 120"/>
              <a:gd name="T10" fmla="*/ 1 w 105"/>
              <a:gd name="T11" fmla="*/ 68 h 120"/>
              <a:gd name="T12" fmla="*/ 53 w 105"/>
              <a:gd name="T13" fmla="*/ 120 h 120"/>
              <a:gd name="T14" fmla="*/ 105 w 105"/>
              <a:gd name="T15" fmla="*/ 68 h 120"/>
              <a:gd name="T16" fmla="*/ 78 w 105"/>
              <a:gd name="T17" fmla="*/ 22 h 120"/>
              <a:gd name="T18" fmla="*/ 79 w 105"/>
              <a:gd name="T19" fmla="*/ 108 h 120"/>
              <a:gd name="T20" fmla="*/ 67 w 105"/>
              <a:gd name="T21" fmla="*/ 113 h 120"/>
              <a:gd name="T22" fmla="*/ 47 w 105"/>
              <a:gd name="T23" fmla="*/ 109 h 120"/>
              <a:gd name="T24" fmla="*/ 47 w 105"/>
              <a:gd name="T25" fmla="*/ 107 h 120"/>
              <a:gd name="T26" fmla="*/ 49 w 105"/>
              <a:gd name="T27" fmla="*/ 106 h 120"/>
              <a:gd name="T28" fmla="*/ 50 w 105"/>
              <a:gd name="T29" fmla="*/ 106 h 120"/>
              <a:gd name="T30" fmla="*/ 63 w 105"/>
              <a:gd name="T31" fmla="*/ 109 h 120"/>
              <a:gd name="T32" fmla="*/ 78 w 105"/>
              <a:gd name="T33" fmla="*/ 105 h 120"/>
              <a:gd name="T34" fmla="*/ 80 w 105"/>
              <a:gd name="T35" fmla="*/ 106 h 120"/>
              <a:gd name="T36" fmla="*/ 79 w 105"/>
              <a:gd name="T37" fmla="*/ 108 h 120"/>
              <a:gd name="T38" fmla="*/ 59 w 105"/>
              <a:gd name="T39" fmla="*/ 98 h 120"/>
              <a:gd name="T40" fmla="*/ 64 w 105"/>
              <a:gd name="T41" fmla="*/ 94 h 120"/>
              <a:gd name="T42" fmla="*/ 69 w 105"/>
              <a:gd name="T43" fmla="*/ 94 h 120"/>
              <a:gd name="T44" fmla="*/ 74 w 105"/>
              <a:gd name="T45" fmla="*/ 95 h 120"/>
              <a:gd name="T46" fmla="*/ 77 w 105"/>
              <a:gd name="T47" fmla="*/ 99 h 120"/>
              <a:gd name="T48" fmla="*/ 76 w 105"/>
              <a:gd name="T49" fmla="*/ 101 h 120"/>
              <a:gd name="T50" fmla="*/ 74 w 105"/>
              <a:gd name="T51" fmla="*/ 100 h 120"/>
              <a:gd name="T52" fmla="*/ 69 w 105"/>
              <a:gd name="T53" fmla="*/ 97 h 120"/>
              <a:gd name="T54" fmla="*/ 62 w 105"/>
              <a:gd name="T55" fmla="*/ 100 h 120"/>
              <a:gd name="T56" fmla="*/ 58 w 105"/>
              <a:gd name="T57" fmla="*/ 101 h 120"/>
              <a:gd name="T58" fmla="*/ 59 w 105"/>
              <a:gd name="T59" fmla="*/ 98 h 120"/>
              <a:gd name="T60" fmla="*/ 100 w 105"/>
              <a:gd name="T61" fmla="*/ 76 h 120"/>
              <a:gd name="T62" fmla="*/ 97 w 105"/>
              <a:gd name="T63" fmla="*/ 90 h 120"/>
              <a:gd name="T64" fmla="*/ 89 w 105"/>
              <a:gd name="T65" fmla="*/ 95 h 120"/>
              <a:gd name="T66" fmla="*/ 71 w 105"/>
              <a:gd name="T67" fmla="*/ 82 h 120"/>
              <a:gd name="T68" fmla="*/ 39 w 105"/>
              <a:gd name="T69" fmla="*/ 96 h 120"/>
              <a:gd name="T70" fmla="*/ 28 w 105"/>
              <a:gd name="T71" fmla="*/ 94 h 120"/>
              <a:gd name="T72" fmla="*/ 23 w 105"/>
              <a:gd name="T73" fmla="*/ 82 h 120"/>
              <a:gd name="T74" fmla="*/ 41 w 105"/>
              <a:gd name="T75" fmla="*/ 65 h 120"/>
              <a:gd name="T76" fmla="*/ 71 w 105"/>
              <a:gd name="T77" fmla="*/ 78 h 120"/>
              <a:gd name="T78" fmla="*/ 93 w 105"/>
              <a:gd name="T79" fmla="*/ 66 h 120"/>
              <a:gd name="T80" fmla="*/ 100 w 105"/>
              <a:gd name="T81" fmla="*/ 7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5" h="120">
                <a:moveTo>
                  <a:pt x="78" y="22"/>
                </a:moveTo>
                <a:cubicBezTo>
                  <a:pt x="72" y="18"/>
                  <a:pt x="66" y="16"/>
                  <a:pt x="61" y="13"/>
                </a:cubicBezTo>
                <a:cubicBezTo>
                  <a:pt x="57" y="10"/>
                  <a:pt x="52" y="4"/>
                  <a:pt x="48" y="0"/>
                </a:cubicBezTo>
                <a:cubicBezTo>
                  <a:pt x="47" y="8"/>
                  <a:pt x="45" y="11"/>
                  <a:pt x="42" y="13"/>
                </a:cubicBezTo>
                <a:cubicBezTo>
                  <a:pt x="36" y="18"/>
                  <a:pt x="33" y="19"/>
                  <a:pt x="28" y="22"/>
                </a:cubicBezTo>
                <a:cubicBezTo>
                  <a:pt x="23" y="24"/>
                  <a:pt x="0" y="38"/>
                  <a:pt x="1" y="68"/>
                </a:cubicBezTo>
                <a:cubicBezTo>
                  <a:pt x="1" y="98"/>
                  <a:pt x="26" y="120"/>
                  <a:pt x="53" y="120"/>
                </a:cubicBezTo>
                <a:cubicBezTo>
                  <a:pt x="81" y="119"/>
                  <a:pt x="105" y="99"/>
                  <a:pt x="105" y="68"/>
                </a:cubicBezTo>
                <a:cubicBezTo>
                  <a:pt x="104" y="38"/>
                  <a:pt x="82" y="24"/>
                  <a:pt x="78" y="22"/>
                </a:cubicBezTo>
                <a:close/>
                <a:moveTo>
                  <a:pt x="79" y="108"/>
                </a:moveTo>
                <a:cubicBezTo>
                  <a:pt x="78" y="108"/>
                  <a:pt x="73" y="112"/>
                  <a:pt x="67" y="113"/>
                </a:cubicBezTo>
                <a:cubicBezTo>
                  <a:pt x="61" y="113"/>
                  <a:pt x="52" y="114"/>
                  <a:pt x="47" y="109"/>
                </a:cubicBezTo>
                <a:cubicBezTo>
                  <a:pt x="47" y="108"/>
                  <a:pt x="47" y="107"/>
                  <a:pt x="47" y="107"/>
                </a:cubicBezTo>
                <a:cubicBezTo>
                  <a:pt x="48" y="106"/>
                  <a:pt x="48" y="106"/>
                  <a:pt x="49" y="106"/>
                </a:cubicBezTo>
                <a:cubicBezTo>
                  <a:pt x="50" y="106"/>
                  <a:pt x="50" y="106"/>
                  <a:pt x="50" y="106"/>
                </a:cubicBezTo>
                <a:cubicBezTo>
                  <a:pt x="52" y="108"/>
                  <a:pt x="56" y="109"/>
                  <a:pt x="63" y="109"/>
                </a:cubicBezTo>
                <a:cubicBezTo>
                  <a:pt x="70" y="109"/>
                  <a:pt x="76" y="107"/>
                  <a:pt x="78" y="105"/>
                </a:cubicBezTo>
                <a:cubicBezTo>
                  <a:pt x="79" y="105"/>
                  <a:pt x="79" y="105"/>
                  <a:pt x="80" y="106"/>
                </a:cubicBezTo>
                <a:cubicBezTo>
                  <a:pt x="80" y="106"/>
                  <a:pt x="80" y="107"/>
                  <a:pt x="79" y="108"/>
                </a:cubicBezTo>
                <a:close/>
                <a:moveTo>
                  <a:pt x="59" y="98"/>
                </a:moveTo>
                <a:cubicBezTo>
                  <a:pt x="60" y="97"/>
                  <a:pt x="62" y="95"/>
                  <a:pt x="64" y="94"/>
                </a:cubicBezTo>
                <a:cubicBezTo>
                  <a:pt x="66" y="93"/>
                  <a:pt x="67" y="94"/>
                  <a:pt x="69" y="94"/>
                </a:cubicBezTo>
                <a:cubicBezTo>
                  <a:pt x="71" y="94"/>
                  <a:pt x="73" y="94"/>
                  <a:pt x="74" y="95"/>
                </a:cubicBezTo>
                <a:cubicBezTo>
                  <a:pt x="76" y="95"/>
                  <a:pt x="77" y="98"/>
                  <a:pt x="77" y="99"/>
                </a:cubicBezTo>
                <a:cubicBezTo>
                  <a:pt x="77" y="100"/>
                  <a:pt x="77" y="101"/>
                  <a:pt x="76" y="101"/>
                </a:cubicBezTo>
                <a:cubicBezTo>
                  <a:pt x="75" y="102"/>
                  <a:pt x="75" y="101"/>
                  <a:pt x="74" y="100"/>
                </a:cubicBezTo>
                <a:cubicBezTo>
                  <a:pt x="74" y="98"/>
                  <a:pt x="73" y="97"/>
                  <a:pt x="69" y="97"/>
                </a:cubicBezTo>
                <a:cubicBezTo>
                  <a:pt x="65" y="97"/>
                  <a:pt x="64" y="98"/>
                  <a:pt x="62" y="100"/>
                </a:cubicBezTo>
                <a:cubicBezTo>
                  <a:pt x="60" y="101"/>
                  <a:pt x="59" y="102"/>
                  <a:pt x="58" y="101"/>
                </a:cubicBezTo>
                <a:cubicBezTo>
                  <a:pt x="58" y="100"/>
                  <a:pt x="58" y="99"/>
                  <a:pt x="59" y="98"/>
                </a:cubicBezTo>
                <a:close/>
                <a:moveTo>
                  <a:pt x="100" y="76"/>
                </a:moveTo>
                <a:cubicBezTo>
                  <a:pt x="100" y="79"/>
                  <a:pt x="99" y="86"/>
                  <a:pt x="97" y="90"/>
                </a:cubicBezTo>
                <a:cubicBezTo>
                  <a:pt x="94" y="94"/>
                  <a:pt x="92" y="96"/>
                  <a:pt x="89" y="95"/>
                </a:cubicBezTo>
                <a:cubicBezTo>
                  <a:pt x="85" y="95"/>
                  <a:pt x="76" y="82"/>
                  <a:pt x="71" y="82"/>
                </a:cubicBezTo>
                <a:cubicBezTo>
                  <a:pt x="65" y="82"/>
                  <a:pt x="50" y="96"/>
                  <a:pt x="39" y="96"/>
                </a:cubicBezTo>
                <a:cubicBezTo>
                  <a:pt x="32" y="96"/>
                  <a:pt x="30" y="95"/>
                  <a:pt x="28" y="94"/>
                </a:cubicBezTo>
                <a:cubicBezTo>
                  <a:pt x="24" y="91"/>
                  <a:pt x="22" y="87"/>
                  <a:pt x="23" y="82"/>
                </a:cubicBezTo>
                <a:cubicBezTo>
                  <a:pt x="23" y="73"/>
                  <a:pt x="31" y="65"/>
                  <a:pt x="41" y="65"/>
                </a:cubicBezTo>
                <a:cubicBezTo>
                  <a:pt x="55" y="65"/>
                  <a:pt x="64" y="78"/>
                  <a:pt x="71" y="78"/>
                </a:cubicBezTo>
                <a:cubicBezTo>
                  <a:pt x="77" y="78"/>
                  <a:pt x="88" y="66"/>
                  <a:pt x="93" y="66"/>
                </a:cubicBezTo>
                <a:cubicBezTo>
                  <a:pt x="99" y="66"/>
                  <a:pt x="100" y="72"/>
                  <a:pt x="100" y="7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82" name="Freeform 126"/>
          <p:cNvSpPr>
            <a:spLocks/>
          </p:cNvSpPr>
          <p:nvPr/>
        </p:nvSpPr>
        <p:spPr bwMode="auto">
          <a:xfrm>
            <a:off x="9293497" y="3864118"/>
            <a:ext cx="128620" cy="241908"/>
          </a:xfrm>
          <a:custGeom>
            <a:avLst/>
            <a:gdLst>
              <a:gd name="T0" fmla="*/ 51 w 64"/>
              <a:gd name="T1" fmla="*/ 34 h 120"/>
              <a:gd name="T2" fmla="*/ 55 w 64"/>
              <a:gd name="T3" fmla="*/ 35 h 120"/>
              <a:gd name="T4" fmla="*/ 64 w 64"/>
              <a:gd name="T5" fmla="*/ 27 h 120"/>
              <a:gd name="T6" fmla="*/ 55 w 64"/>
              <a:gd name="T7" fmla="*/ 18 h 120"/>
              <a:gd name="T8" fmla="*/ 47 w 64"/>
              <a:gd name="T9" fmla="*/ 27 h 120"/>
              <a:gd name="T10" fmla="*/ 47 w 64"/>
              <a:gd name="T11" fmla="*/ 28 h 120"/>
              <a:gd name="T12" fmla="*/ 36 w 64"/>
              <a:gd name="T13" fmla="*/ 36 h 120"/>
              <a:gd name="T14" fmla="*/ 36 w 64"/>
              <a:gd name="T15" fmla="*/ 0 h 120"/>
              <a:gd name="T16" fmla="*/ 28 w 64"/>
              <a:gd name="T17" fmla="*/ 0 h 120"/>
              <a:gd name="T18" fmla="*/ 28 w 64"/>
              <a:gd name="T19" fmla="*/ 19 h 120"/>
              <a:gd name="T20" fmla="*/ 17 w 64"/>
              <a:gd name="T21" fmla="*/ 11 h 120"/>
              <a:gd name="T22" fmla="*/ 17 w 64"/>
              <a:gd name="T23" fmla="*/ 10 h 120"/>
              <a:gd name="T24" fmla="*/ 9 w 64"/>
              <a:gd name="T25" fmla="*/ 1 h 120"/>
              <a:gd name="T26" fmla="*/ 0 w 64"/>
              <a:gd name="T27" fmla="*/ 10 h 120"/>
              <a:gd name="T28" fmla="*/ 9 w 64"/>
              <a:gd name="T29" fmla="*/ 18 h 120"/>
              <a:gd name="T30" fmla="*/ 13 w 64"/>
              <a:gd name="T31" fmla="*/ 17 h 120"/>
              <a:gd name="T32" fmla="*/ 28 w 64"/>
              <a:gd name="T33" fmla="*/ 28 h 120"/>
              <a:gd name="T34" fmla="*/ 28 w 64"/>
              <a:gd name="T35" fmla="*/ 51 h 120"/>
              <a:gd name="T36" fmla="*/ 17 w 64"/>
              <a:gd name="T37" fmla="*/ 44 h 120"/>
              <a:gd name="T38" fmla="*/ 17 w 64"/>
              <a:gd name="T39" fmla="*/ 42 h 120"/>
              <a:gd name="T40" fmla="*/ 9 w 64"/>
              <a:gd name="T41" fmla="*/ 34 h 120"/>
              <a:gd name="T42" fmla="*/ 0 w 64"/>
              <a:gd name="T43" fmla="*/ 42 h 120"/>
              <a:gd name="T44" fmla="*/ 9 w 64"/>
              <a:gd name="T45" fmla="*/ 51 h 120"/>
              <a:gd name="T46" fmla="*/ 13 w 64"/>
              <a:gd name="T47" fmla="*/ 50 h 120"/>
              <a:gd name="T48" fmla="*/ 28 w 64"/>
              <a:gd name="T49" fmla="*/ 60 h 120"/>
              <a:gd name="T50" fmla="*/ 28 w 64"/>
              <a:gd name="T51" fmla="*/ 86 h 120"/>
              <a:gd name="T52" fmla="*/ 17 w 64"/>
              <a:gd name="T53" fmla="*/ 78 h 120"/>
              <a:gd name="T54" fmla="*/ 17 w 64"/>
              <a:gd name="T55" fmla="*/ 77 h 120"/>
              <a:gd name="T56" fmla="*/ 9 w 64"/>
              <a:gd name="T57" fmla="*/ 68 h 120"/>
              <a:gd name="T58" fmla="*/ 0 w 64"/>
              <a:gd name="T59" fmla="*/ 77 h 120"/>
              <a:gd name="T60" fmla="*/ 9 w 64"/>
              <a:gd name="T61" fmla="*/ 85 h 120"/>
              <a:gd name="T62" fmla="*/ 13 w 64"/>
              <a:gd name="T63" fmla="*/ 84 h 120"/>
              <a:gd name="T64" fmla="*/ 28 w 64"/>
              <a:gd name="T65" fmla="*/ 95 h 120"/>
              <a:gd name="T66" fmla="*/ 28 w 64"/>
              <a:gd name="T67" fmla="*/ 120 h 120"/>
              <a:gd name="T68" fmla="*/ 28 w 64"/>
              <a:gd name="T69" fmla="*/ 120 h 120"/>
              <a:gd name="T70" fmla="*/ 36 w 64"/>
              <a:gd name="T71" fmla="*/ 120 h 120"/>
              <a:gd name="T72" fmla="*/ 36 w 64"/>
              <a:gd name="T73" fmla="*/ 120 h 120"/>
              <a:gd name="T74" fmla="*/ 36 w 64"/>
              <a:gd name="T75" fmla="*/ 112 h 120"/>
              <a:gd name="T76" fmla="*/ 51 w 64"/>
              <a:gd name="T77" fmla="*/ 101 h 120"/>
              <a:gd name="T78" fmla="*/ 55 w 64"/>
              <a:gd name="T79" fmla="*/ 102 h 120"/>
              <a:gd name="T80" fmla="*/ 64 w 64"/>
              <a:gd name="T81" fmla="*/ 94 h 120"/>
              <a:gd name="T82" fmla="*/ 55 w 64"/>
              <a:gd name="T83" fmla="*/ 85 h 120"/>
              <a:gd name="T84" fmla="*/ 47 w 64"/>
              <a:gd name="T85" fmla="*/ 94 h 120"/>
              <a:gd name="T86" fmla="*/ 47 w 64"/>
              <a:gd name="T87" fmla="*/ 95 h 120"/>
              <a:gd name="T88" fmla="*/ 36 w 64"/>
              <a:gd name="T89" fmla="*/ 103 h 120"/>
              <a:gd name="T90" fmla="*/ 36 w 64"/>
              <a:gd name="T91" fmla="*/ 77 h 120"/>
              <a:gd name="T92" fmla="*/ 51 w 64"/>
              <a:gd name="T93" fmla="*/ 67 h 120"/>
              <a:gd name="T94" fmla="*/ 55 w 64"/>
              <a:gd name="T95" fmla="*/ 68 h 120"/>
              <a:gd name="T96" fmla="*/ 64 w 64"/>
              <a:gd name="T97" fmla="*/ 60 h 120"/>
              <a:gd name="T98" fmla="*/ 55 w 64"/>
              <a:gd name="T99" fmla="*/ 51 h 120"/>
              <a:gd name="T100" fmla="*/ 47 w 64"/>
              <a:gd name="T101" fmla="*/ 60 h 120"/>
              <a:gd name="T102" fmla="*/ 47 w 64"/>
              <a:gd name="T103" fmla="*/ 61 h 120"/>
              <a:gd name="T104" fmla="*/ 36 w 64"/>
              <a:gd name="T105" fmla="*/ 68 h 120"/>
              <a:gd name="T106" fmla="*/ 36 w 64"/>
              <a:gd name="T107" fmla="*/ 45 h 120"/>
              <a:gd name="T108" fmla="*/ 51 w 64"/>
              <a:gd name="T109" fmla="*/ 3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 h="120">
                <a:moveTo>
                  <a:pt x="51" y="34"/>
                </a:moveTo>
                <a:cubicBezTo>
                  <a:pt x="52" y="35"/>
                  <a:pt x="54" y="35"/>
                  <a:pt x="55" y="35"/>
                </a:cubicBezTo>
                <a:cubicBezTo>
                  <a:pt x="60" y="35"/>
                  <a:pt x="64" y="32"/>
                  <a:pt x="64" y="27"/>
                </a:cubicBezTo>
                <a:cubicBezTo>
                  <a:pt x="64" y="22"/>
                  <a:pt x="60" y="18"/>
                  <a:pt x="55" y="18"/>
                </a:cubicBezTo>
                <a:cubicBezTo>
                  <a:pt x="51" y="18"/>
                  <a:pt x="47" y="22"/>
                  <a:pt x="47" y="27"/>
                </a:cubicBezTo>
                <a:cubicBezTo>
                  <a:pt x="47" y="27"/>
                  <a:pt x="47" y="28"/>
                  <a:pt x="47" y="28"/>
                </a:cubicBezTo>
                <a:cubicBezTo>
                  <a:pt x="36" y="36"/>
                  <a:pt x="36" y="36"/>
                  <a:pt x="36" y="36"/>
                </a:cubicBezTo>
                <a:cubicBezTo>
                  <a:pt x="36" y="0"/>
                  <a:pt x="36" y="0"/>
                  <a:pt x="36" y="0"/>
                </a:cubicBezTo>
                <a:cubicBezTo>
                  <a:pt x="28" y="0"/>
                  <a:pt x="28" y="0"/>
                  <a:pt x="28" y="0"/>
                </a:cubicBezTo>
                <a:cubicBezTo>
                  <a:pt x="28" y="19"/>
                  <a:pt x="28" y="19"/>
                  <a:pt x="28" y="19"/>
                </a:cubicBezTo>
                <a:cubicBezTo>
                  <a:pt x="17" y="11"/>
                  <a:pt x="17" y="11"/>
                  <a:pt x="17" y="11"/>
                </a:cubicBezTo>
                <a:cubicBezTo>
                  <a:pt x="17" y="11"/>
                  <a:pt x="17" y="10"/>
                  <a:pt x="17" y="10"/>
                </a:cubicBezTo>
                <a:cubicBezTo>
                  <a:pt x="17" y="5"/>
                  <a:pt x="13" y="1"/>
                  <a:pt x="9" y="1"/>
                </a:cubicBezTo>
                <a:cubicBezTo>
                  <a:pt x="4" y="1"/>
                  <a:pt x="0" y="5"/>
                  <a:pt x="0" y="10"/>
                </a:cubicBezTo>
                <a:cubicBezTo>
                  <a:pt x="0" y="14"/>
                  <a:pt x="4" y="18"/>
                  <a:pt x="9" y="18"/>
                </a:cubicBezTo>
                <a:cubicBezTo>
                  <a:pt x="10" y="18"/>
                  <a:pt x="12" y="18"/>
                  <a:pt x="13" y="17"/>
                </a:cubicBezTo>
                <a:cubicBezTo>
                  <a:pt x="28" y="28"/>
                  <a:pt x="28" y="28"/>
                  <a:pt x="28" y="28"/>
                </a:cubicBezTo>
                <a:cubicBezTo>
                  <a:pt x="28" y="51"/>
                  <a:pt x="28" y="51"/>
                  <a:pt x="28" y="51"/>
                </a:cubicBezTo>
                <a:cubicBezTo>
                  <a:pt x="17" y="44"/>
                  <a:pt x="17" y="44"/>
                  <a:pt x="17" y="44"/>
                </a:cubicBezTo>
                <a:cubicBezTo>
                  <a:pt x="17" y="43"/>
                  <a:pt x="17" y="43"/>
                  <a:pt x="17" y="42"/>
                </a:cubicBezTo>
                <a:cubicBezTo>
                  <a:pt x="17" y="38"/>
                  <a:pt x="13" y="34"/>
                  <a:pt x="9" y="34"/>
                </a:cubicBezTo>
                <a:cubicBezTo>
                  <a:pt x="4" y="34"/>
                  <a:pt x="0" y="38"/>
                  <a:pt x="0" y="42"/>
                </a:cubicBezTo>
                <a:cubicBezTo>
                  <a:pt x="0" y="47"/>
                  <a:pt x="4" y="51"/>
                  <a:pt x="9" y="51"/>
                </a:cubicBezTo>
                <a:cubicBezTo>
                  <a:pt x="10" y="51"/>
                  <a:pt x="12" y="50"/>
                  <a:pt x="13" y="50"/>
                </a:cubicBezTo>
                <a:cubicBezTo>
                  <a:pt x="28" y="60"/>
                  <a:pt x="28" y="60"/>
                  <a:pt x="28" y="60"/>
                </a:cubicBezTo>
                <a:cubicBezTo>
                  <a:pt x="28" y="86"/>
                  <a:pt x="28" y="86"/>
                  <a:pt x="28" y="86"/>
                </a:cubicBezTo>
                <a:cubicBezTo>
                  <a:pt x="17" y="78"/>
                  <a:pt x="17" y="78"/>
                  <a:pt x="17" y="78"/>
                </a:cubicBezTo>
                <a:cubicBezTo>
                  <a:pt x="17" y="78"/>
                  <a:pt x="17" y="77"/>
                  <a:pt x="17" y="77"/>
                </a:cubicBezTo>
                <a:cubicBezTo>
                  <a:pt x="17" y="72"/>
                  <a:pt x="13" y="68"/>
                  <a:pt x="9" y="68"/>
                </a:cubicBezTo>
                <a:cubicBezTo>
                  <a:pt x="4" y="68"/>
                  <a:pt x="0" y="72"/>
                  <a:pt x="0" y="77"/>
                </a:cubicBezTo>
                <a:cubicBezTo>
                  <a:pt x="0" y="81"/>
                  <a:pt x="4" y="85"/>
                  <a:pt x="9" y="85"/>
                </a:cubicBezTo>
                <a:cubicBezTo>
                  <a:pt x="10" y="85"/>
                  <a:pt x="12" y="85"/>
                  <a:pt x="13" y="84"/>
                </a:cubicBezTo>
                <a:cubicBezTo>
                  <a:pt x="28" y="95"/>
                  <a:pt x="28" y="95"/>
                  <a:pt x="28" y="95"/>
                </a:cubicBezTo>
                <a:cubicBezTo>
                  <a:pt x="28" y="120"/>
                  <a:pt x="28" y="120"/>
                  <a:pt x="28" y="120"/>
                </a:cubicBezTo>
                <a:cubicBezTo>
                  <a:pt x="28" y="120"/>
                  <a:pt x="28" y="120"/>
                  <a:pt x="28" y="120"/>
                </a:cubicBezTo>
                <a:cubicBezTo>
                  <a:pt x="36" y="120"/>
                  <a:pt x="36" y="120"/>
                  <a:pt x="36" y="120"/>
                </a:cubicBezTo>
                <a:cubicBezTo>
                  <a:pt x="36" y="120"/>
                  <a:pt x="36" y="120"/>
                  <a:pt x="36" y="120"/>
                </a:cubicBezTo>
                <a:cubicBezTo>
                  <a:pt x="36" y="112"/>
                  <a:pt x="36" y="112"/>
                  <a:pt x="36" y="112"/>
                </a:cubicBezTo>
                <a:cubicBezTo>
                  <a:pt x="51" y="101"/>
                  <a:pt x="51" y="101"/>
                  <a:pt x="51" y="101"/>
                </a:cubicBezTo>
                <a:cubicBezTo>
                  <a:pt x="52" y="102"/>
                  <a:pt x="54" y="102"/>
                  <a:pt x="55" y="102"/>
                </a:cubicBezTo>
                <a:cubicBezTo>
                  <a:pt x="60" y="102"/>
                  <a:pt x="64" y="99"/>
                  <a:pt x="64" y="94"/>
                </a:cubicBezTo>
                <a:cubicBezTo>
                  <a:pt x="64" y="89"/>
                  <a:pt x="60" y="85"/>
                  <a:pt x="55" y="85"/>
                </a:cubicBezTo>
                <a:cubicBezTo>
                  <a:pt x="51" y="85"/>
                  <a:pt x="47" y="89"/>
                  <a:pt x="47" y="94"/>
                </a:cubicBezTo>
                <a:cubicBezTo>
                  <a:pt x="47" y="94"/>
                  <a:pt x="47" y="95"/>
                  <a:pt x="47" y="95"/>
                </a:cubicBezTo>
                <a:cubicBezTo>
                  <a:pt x="36" y="103"/>
                  <a:pt x="36" y="103"/>
                  <a:pt x="36" y="103"/>
                </a:cubicBezTo>
                <a:cubicBezTo>
                  <a:pt x="36" y="77"/>
                  <a:pt x="36" y="77"/>
                  <a:pt x="36" y="77"/>
                </a:cubicBezTo>
                <a:cubicBezTo>
                  <a:pt x="51" y="67"/>
                  <a:pt x="51" y="67"/>
                  <a:pt x="51" y="67"/>
                </a:cubicBezTo>
                <a:cubicBezTo>
                  <a:pt x="52" y="68"/>
                  <a:pt x="54" y="68"/>
                  <a:pt x="55" y="68"/>
                </a:cubicBezTo>
                <a:cubicBezTo>
                  <a:pt x="60" y="68"/>
                  <a:pt x="64" y="64"/>
                  <a:pt x="64" y="60"/>
                </a:cubicBezTo>
                <a:cubicBezTo>
                  <a:pt x="64" y="55"/>
                  <a:pt x="60" y="51"/>
                  <a:pt x="55" y="51"/>
                </a:cubicBezTo>
                <a:cubicBezTo>
                  <a:pt x="51" y="51"/>
                  <a:pt x="47" y="55"/>
                  <a:pt x="47" y="60"/>
                </a:cubicBezTo>
                <a:cubicBezTo>
                  <a:pt x="47" y="60"/>
                  <a:pt x="47" y="60"/>
                  <a:pt x="47" y="61"/>
                </a:cubicBezTo>
                <a:cubicBezTo>
                  <a:pt x="36" y="68"/>
                  <a:pt x="36" y="68"/>
                  <a:pt x="36" y="68"/>
                </a:cubicBezTo>
                <a:cubicBezTo>
                  <a:pt x="36" y="45"/>
                  <a:pt x="36" y="45"/>
                  <a:pt x="36" y="45"/>
                </a:cubicBezTo>
                <a:lnTo>
                  <a:pt x="51"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83" name="Freeform 127"/>
          <p:cNvSpPr>
            <a:spLocks/>
          </p:cNvSpPr>
          <p:nvPr/>
        </p:nvSpPr>
        <p:spPr bwMode="auto">
          <a:xfrm>
            <a:off x="9720244" y="3914374"/>
            <a:ext cx="241908" cy="163544"/>
          </a:xfrm>
          <a:custGeom>
            <a:avLst/>
            <a:gdLst>
              <a:gd name="T0" fmla="*/ 7 w 120"/>
              <a:gd name="T1" fmla="*/ 5 h 81"/>
              <a:gd name="T2" fmla="*/ 38 w 120"/>
              <a:gd name="T3" fmla="*/ 76 h 81"/>
              <a:gd name="T4" fmla="*/ 60 w 120"/>
              <a:gd name="T5" fmla="*/ 45 h 81"/>
              <a:gd name="T6" fmla="*/ 81 w 120"/>
              <a:gd name="T7" fmla="*/ 76 h 81"/>
              <a:gd name="T8" fmla="*/ 112 w 120"/>
              <a:gd name="T9" fmla="*/ 5 h 81"/>
              <a:gd name="T10" fmla="*/ 120 w 120"/>
              <a:gd name="T11" fmla="*/ 2 h 81"/>
              <a:gd name="T12" fmla="*/ 119 w 120"/>
              <a:gd name="T13" fmla="*/ 0 h 81"/>
              <a:gd name="T14" fmla="*/ 93 w 120"/>
              <a:gd name="T15" fmla="*/ 0 h 81"/>
              <a:gd name="T16" fmla="*/ 94 w 120"/>
              <a:gd name="T17" fmla="*/ 3 h 81"/>
              <a:gd name="T18" fmla="*/ 97 w 120"/>
              <a:gd name="T19" fmla="*/ 3 h 81"/>
              <a:gd name="T20" fmla="*/ 102 w 120"/>
              <a:gd name="T21" fmla="*/ 9 h 81"/>
              <a:gd name="T22" fmla="*/ 79 w 120"/>
              <a:gd name="T23" fmla="*/ 64 h 81"/>
              <a:gd name="T24" fmla="*/ 66 w 120"/>
              <a:gd name="T25" fmla="*/ 33 h 81"/>
              <a:gd name="T26" fmla="*/ 80 w 120"/>
              <a:gd name="T27" fmla="*/ 5 h 81"/>
              <a:gd name="T28" fmla="*/ 86 w 120"/>
              <a:gd name="T29" fmla="*/ 2 h 81"/>
              <a:gd name="T30" fmla="*/ 86 w 120"/>
              <a:gd name="T31" fmla="*/ 0 h 81"/>
              <a:gd name="T32" fmla="*/ 66 w 120"/>
              <a:gd name="T33" fmla="*/ 0 h 81"/>
              <a:gd name="T34" fmla="*/ 66 w 120"/>
              <a:gd name="T35" fmla="*/ 3 h 81"/>
              <a:gd name="T36" fmla="*/ 68 w 120"/>
              <a:gd name="T37" fmla="*/ 3 h 81"/>
              <a:gd name="T38" fmla="*/ 71 w 120"/>
              <a:gd name="T39" fmla="*/ 9 h 81"/>
              <a:gd name="T40" fmla="*/ 55 w 120"/>
              <a:gd name="T41" fmla="*/ 11 h 81"/>
              <a:gd name="T42" fmla="*/ 56 w 120"/>
              <a:gd name="T43" fmla="*/ 3 h 81"/>
              <a:gd name="T44" fmla="*/ 57 w 120"/>
              <a:gd name="T45" fmla="*/ 0 h 81"/>
              <a:gd name="T46" fmla="*/ 36 w 120"/>
              <a:gd name="T47" fmla="*/ 0 h 81"/>
              <a:gd name="T48" fmla="*/ 36 w 120"/>
              <a:gd name="T49" fmla="*/ 2 h 81"/>
              <a:gd name="T50" fmla="*/ 44 w 120"/>
              <a:gd name="T51" fmla="*/ 12 h 81"/>
              <a:gd name="T52" fmla="*/ 55 w 120"/>
              <a:gd name="T53" fmla="*/ 33 h 81"/>
              <a:gd name="T54" fmla="*/ 45 w 120"/>
              <a:gd name="T55" fmla="*/ 64 h 81"/>
              <a:gd name="T56" fmla="*/ 20 w 120"/>
              <a:gd name="T57" fmla="*/ 9 h 81"/>
              <a:gd name="T58" fmla="*/ 23 w 120"/>
              <a:gd name="T59" fmla="*/ 3 h 81"/>
              <a:gd name="T60" fmla="*/ 29 w 120"/>
              <a:gd name="T61" fmla="*/ 2 h 81"/>
              <a:gd name="T62" fmla="*/ 28 w 120"/>
              <a:gd name="T63" fmla="*/ 0 h 81"/>
              <a:gd name="T64" fmla="*/ 0 w 120"/>
              <a:gd name="T65" fmla="*/ 0 h 81"/>
              <a:gd name="T66" fmla="*/ 1 w 120"/>
              <a:gd name="T67" fmla="*/ 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 h="81">
                <a:moveTo>
                  <a:pt x="1" y="3"/>
                </a:moveTo>
                <a:cubicBezTo>
                  <a:pt x="4" y="3"/>
                  <a:pt x="6" y="4"/>
                  <a:pt x="7" y="5"/>
                </a:cubicBezTo>
                <a:cubicBezTo>
                  <a:pt x="8" y="5"/>
                  <a:pt x="9" y="7"/>
                  <a:pt x="10" y="11"/>
                </a:cubicBezTo>
                <a:cubicBezTo>
                  <a:pt x="17" y="28"/>
                  <a:pt x="31" y="58"/>
                  <a:pt x="38" y="76"/>
                </a:cubicBezTo>
                <a:cubicBezTo>
                  <a:pt x="40" y="80"/>
                  <a:pt x="43" y="81"/>
                  <a:pt x="46" y="76"/>
                </a:cubicBezTo>
                <a:cubicBezTo>
                  <a:pt x="49" y="69"/>
                  <a:pt x="55" y="56"/>
                  <a:pt x="60" y="45"/>
                </a:cubicBezTo>
                <a:cubicBezTo>
                  <a:pt x="64" y="56"/>
                  <a:pt x="70" y="69"/>
                  <a:pt x="73" y="75"/>
                </a:cubicBezTo>
                <a:cubicBezTo>
                  <a:pt x="76" y="80"/>
                  <a:pt x="78" y="81"/>
                  <a:pt x="81" y="76"/>
                </a:cubicBezTo>
                <a:cubicBezTo>
                  <a:pt x="88" y="59"/>
                  <a:pt x="108" y="11"/>
                  <a:pt x="108" y="11"/>
                </a:cubicBezTo>
                <a:cubicBezTo>
                  <a:pt x="109" y="8"/>
                  <a:pt x="110" y="7"/>
                  <a:pt x="112" y="5"/>
                </a:cubicBezTo>
                <a:cubicBezTo>
                  <a:pt x="113" y="4"/>
                  <a:pt x="115" y="3"/>
                  <a:pt x="119" y="3"/>
                </a:cubicBezTo>
                <a:cubicBezTo>
                  <a:pt x="119" y="3"/>
                  <a:pt x="120" y="3"/>
                  <a:pt x="120" y="2"/>
                </a:cubicBezTo>
                <a:cubicBezTo>
                  <a:pt x="120" y="0"/>
                  <a:pt x="120" y="0"/>
                  <a:pt x="120" y="0"/>
                </a:cubicBezTo>
                <a:cubicBezTo>
                  <a:pt x="119" y="0"/>
                  <a:pt x="119" y="0"/>
                  <a:pt x="119" y="0"/>
                </a:cubicBezTo>
                <a:cubicBezTo>
                  <a:pt x="119" y="0"/>
                  <a:pt x="101" y="0"/>
                  <a:pt x="95" y="0"/>
                </a:cubicBezTo>
                <a:cubicBezTo>
                  <a:pt x="93" y="0"/>
                  <a:pt x="93" y="0"/>
                  <a:pt x="93" y="0"/>
                </a:cubicBezTo>
                <a:cubicBezTo>
                  <a:pt x="93" y="2"/>
                  <a:pt x="93" y="2"/>
                  <a:pt x="93" y="2"/>
                </a:cubicBezTo>
                <a:cubicBezTo>
                  <a:pt x="93" y="2"/>
                  <a:pt x="94" y="3"/>
                  <a:pt x="94" y="3"/>
                </a:cubicBezTo>
                <a:cubicBezTo>
                  <a:pt x="94" y="3"/>
                  <a:pt x="95" y="3"/>
                  <a:pt x="95" y="3"/>
                </a:cubicBezTo>
                <a:cubicBezTo>
                  <a:pt x="97" y="3"/>
                  <a:pt x="97" y="3"/>
                  <a:pt x="97" y="3"/>
                </a:cubicBezTo>
                <a:cubicBezTo>
                  <a:pt x="100" y="3"/>
                  <a:pt x="101" y="4"/>
                  <a:pt x="102" y="5"/>
                </a:cubicBezTo>
                <a:cubicBezTo>
                  <a:pt x="103" y="6"/>
                  <a:pt x="103" y="7"/>
                  <a:pt x="102" y="9"/>
                </a:cubicBezTo>
                <a:cubicBezTo>
                  <a:pt x="80" y="64"/>
                  <a:pt x="80" y="64"/>
                  <a:pt x="80" y="64"/>
                </a:cubicBezTo>
                <a:cubicBezTo>
                  <a:pt x="79" y="64"/>
                  <a:pt x="79" y="64"/>
                  <a:pt x="79" y="64"/>
                </a:cubicBezTo>
                <a:cubicBezTo>
                  <a:pt x="65" y="34"/>
                  <a:pt x="65" y="34"/>
                  <a:pt x="65" y="34"/>
                </a:cubicBezTo>
                <a:cubicBezTo>
                  <a:pt x="66" y="34"/>
                  <a:pt x="66" y="33"/>
                  <a:pt x="66" y="33"/>
                </a:cubicBezTo>
                <a:cubicBezTo>
                  <a:pt x="77" y="11"/>
                  <a:pt x="77" y="11"/>
                  <a:pt x="77" y="11"/>
                </a:cubicBezTo>
                <a:cubicBezTo>
                  <a:pt x="78" y="8"/>
                  <a:pt x="80" y="6"/>
                  <a:pt x="80" y="5"/>
                </a:cubicBezTo>
                <a:cubicBezTo>
                  <a:pt x="81" y="4"/>
                  <a:pt x="82" y="3"/>
                  <a:pt x="85" y="3"/>
                </a:cubicBezTo>
                <a:cubicBezTo>
                  <a:pt x="86" y="3"/>
                  <a:pt x="86" y="3"/>
                  <a:pt x="86" y="2"/>
                </a:cubicBezTo>
                <a:cubicBezTo>
                  <a:pt x="86" y="0"/>
                  <a:pt x="86" y="0"/>
                  <a:pt x="86" y="0"/>
                </a:cubicBezTo>
                <a:cubicBezTo>
                  <a:pt x="86" y="0"/>
                  <a:pt x="86" y="0"/>
                  <a:pt x="86" y="0"/>
                </a:cubicBezTo>
                <a:cubicBezTo>
                  <a:pt x="86" y="0"/>
                  <a:pt x="72" y="0"/>
                  <a:pt x="66" y="0"/>
                </a:cubicBezTo>
                <a:cubicBezTo>
                  <a:pt x="66" y="0"/>
                  <a:pt x="66" y="0"/>
                  <a:pt x="66" y="0"/>
                </a:cubicBezTo>
                <a:cubicBezTo>
                  <a:pt x="66" y="2"/>
                  <a:pt x="66" y="2"/>
                  <a:pt x="66" y="2"/>
                </a:cubicBezTo>
                <a:cubicBezTo>
                  <a:pt x="66" y="2"/>
                  <a:pt x="66" y="3"/>
                  <a:pt x="66" y="3"/>
                </a:cubicBezTo>
                <a:cubicBezTo>
                  <a:pt x="67" y="3"/>
                  <a:pt x="67" y="3"/>
                  <a:pt x="67" y="3"/>
                </a:cubicBezTo>
                <a:cubicBezTo>
                  <a:pt x="68" y="3"/>
                  <a:pt x="68" y="3"/>
                  <a:pt x="68" y="3"/>
                </a:cubicBezTo>
                <a:cubicBezTo>
                  <a:pt x="70" y="3"/>
                  <a:pt x="71" y="4"/>
                  <a:pt x="72" y="4"/>
                </a:cubicBezTo>
                <a:cubicBezTo>
                  <a:pt x="72" y="5"/>
                  <a:pt x="73" y="6"/>
                  <a:pt x="71" y="9"/>
                </a:cubicBezTo>
                <a:cubicBezTo>
                  <a:pt x="62" y="28"/>
                  <a:pt x="62" y="28"/>
                  <a:pt x="62" y="28"/>
                </a:cubicBezTo>
                <a:cubicBezTo>
                  <a:pt x="55" y="11"/>
                  <a:pt x="55" y="11"/>
                  <a:pt x="55" y="11"/>
                </a:cubicBezTo>
                <a:cubicBezTo>
                  <a:pt x="52" y="5"/>
                  <a:pt x="51" y="4"/>
                  <a:pt x="55" y="3"/>
                </a:cubicBezTo>
                <a:cubicBezTo>
                  <a:pt x="56" y="3"/>
                  <a:pt x="56" y="3"/>
                  <a:pt x="56" y="3"/>
                </a:cubicBezTo>
                <a:cubicBezTo>
                  <a:pt x="57" y="3"/>
                  <a:pt x="57" y="3"/>
                  <a:pt x="57" y="2"/>
                </a:cubicBezTo>
                <a:cubicBezTo>
                  <a:pt x="57" y="0"/>
                  <a:pt x="57" y="0"/>
                  <a:pt x="57" y="0"/>
                </a:cubicBezTo>
                <a:cubicBezTo>
                  <a:pt x="57" y="0"/>
                  <a:pt x="57" y="0"/>
                  <a:pt x="57" y="0"/>
                </a:cubicBezTo>
                <a:cubicBezTo>
                  <a:pt x="57" y="0"/>
                  <a:pt x="42" y="0"/>
                  <a:pt x="36" y="0"/>
                </a:cubicBezTo>
                <a:cubicBezTo>
                  <a:pt x="36" y="0"/>
                  <a:pt x="36" y="0"/>
                  <a:pt x="36" y="0"/>
                </a:cubicBezTo>
                <a:cubicBezTo>
                  <a:pt x="36" y="2"/>
                  <a:pt x="36" y="2"/>
                  <a:pt x="36" y="2"/>
                </a:cubicBezTo>
                <a:cubicBezTo>
                  <a:pt x="36" y="3"/>
                  <a:pt x="36" y="3"/>
                  <a:pt x="37" y="3"/>
                </a:cubicBezTo>
                <a:cubicBezTo>
                  <a:pt x="41" y="4"/>
                  <a:pt x="41" y="4"/>
                  <a:pt x="44" y="12"/>
                </a:cubicBezTo>
                <a:cubicBezTo>
                  <a:pt x="45" y="13"/>
                  <a:pt x="47" y="16"/>
                  <a:pt x="47" y="16"/>
                </a:cubicBezTo>
                <a:cubicBezTo>
                  <a:pt x="55" y="33"/>
                  <a:pt x="55" y="33"/>
                  <a:pt x="55" y="33"/>
                </a:cubicBezTo>
                <a:cubicBezTo>
                  <a:pt x="55" y="33"/>
                  <a:pt x="56" y="35"/>
                  <a:pt x="57" y="39"/>
                </a:cubicBezTo>
                <a:cubicBezTo>
                  <a:pt x="45" y="64"/>
                  <a:pt x="45" y="64"/>
                  <a:pt x="45" y="64"/>
                </a:cubicBezTo>
                <a:cubicBezTo>
                  <a:pt x="45" y="64"/>
                  <a:pt x="45" y="64"/>
                  <a:pt x="45" y="64"/>
                </a:cubicBezTo>
                <a:cubicBezTo>
                  <a:pt x="45" y="64"/>
                  <a:pt x="26" y="22"/>
                  <a:pt x="20" y="9"/>
                </a:cubicBezTo>
                <a:cubicBezTo>
                  <a:pt x="20" y="7"/>
                  <a:pt x="20" y="6"/>
                  <a:pt x="20" y="5"/>
                </a:cubicBezTo>
                <a:cubicBezTo>
                  <a:pt x="20" y="4"/>
                  <a:pt x="21" y="3"/>
                  <a:pt x="23" y="3"/>
                </a:cubicBezTo>
                <a:cubicBezTo>
                  <a:pt x="27" y="3"/>
                  <a:pt x="27" y="3"/>
                  <a:pt x="27" y="3"/>
                </a:cubicBezTo>
                <a:cubicBezTo>
                  <a:pt x="28" y="3"/>
                  <a:pt x="29" y="3"/>
                  <a:pt x="29" y="2"/>
                </a:cubicBezTo>
                <a:cubicBezTo>
                  <a:pt x="29" y="0"/>
                  <a:pt x="29" y="0"/>
                  <a:pt x="29" y="0"/>
                </a:cubicBezTo>
                <a:cubicBezTo>
                  <a:pt x="28" y="0"/>
                  <a:pt x="28" y="0"/>
                  <a:pt x="28" y="0"/>
                </a:cubicBezTo>
                <a:cubicBezTo>
                  <a:pt x="28" y="0"/>
                  <a:pt x="5" y="0"/>
                  <a:pt x="0" y="0"/>
                </a:cubicBezTo>
                <a:cubicBezTo>
                  <a:pt x="0" y="0"/>
                  <a:pt x="0" y="0"/>
                  <a:pt x="0" y="0"/>
                </a:cubicBezTo>
                <a:cubicBezTo>
                  <a:pt x="0" y="2"/>
                  <a:pt x="0" y="2"/>
                  <a:pt x="0" y="2"/>
                </a:cubicBezTo>
                <a:cubicBezTo>
                  <a:pt x="0" y="3"/>
                  <a:pt x="0" y="3"/>
                  <a:pt x="1" y="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12" name="Group 11"/>
          <p:cNvGrpSpPr/>
          <p:nvPr/>
        </p:nvGrpSpPr>
        <p:grpSpPr>
          <a:xfrm>
            <a:off x="6236427" y="4259348"/>
            <a:ext cx="435264" cy="435264"/>
            <a:chOff x="4712427" y="4259348"/>
            <a:chExt cx="435264" cy="435264"/>
          </a:xfrm>
        </p:grpSpPr>
        <p:sp>
          <p:nvSpPr>
            <p:cNvPr id="666" name="Oval 109"/>
            <p:cNvSpPr>
              <a:spLocks noChangeArrowheads="1"/>
            </p:cNvSpPr>
            <p:nvPr/>
          </p:nvSpPr>
          <p:spPr bwMode="auto">
            <a:xfrm>
              <a:off x="4712427" y="4259348"/>
              <a:ext cx="435264" cy="435264"/>
            </a:xfrm>
            <a:prstGeom prst="ellipse">
              <a:avLst/>
            </a:prstGeom>
            <a:solidFill>
              <a:srgbClr val="FFA6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84" name="Freeform 128"/>
            <p:cNvSpPr>
              <a:spLocks noEditPoints="1"/>
            </p:cNvSpPr>
            <p:nvPr/>
          </p:nvSpPr>
          <p:spPr bwMode="auto">
            <a:xfrm>
              <a:off x="4809531" y="4384561"/>
              <a:ext cx="241057" cy="193356"/>
            </a:xfrm>
            <a:custGeom>
              <a:avLst/>
              <a:gdLst>
                <a:gd name="T0" fmla="*/ 60 w 120"/>
                <a:gd name="T1" fmla="*/ 96 h 96"/>
                <a:gd name="T2" fmla="*/ 120 w 120"/>
                <a:gd name="T3" fmla="*/ 57 h 96"/>
                <a:gd name="T4" fmla="*/ 60 w 120"/>
                <a:gd name="T5" fmla="*/ 18 h 96"/>
                <a:gd name="T6" fmla="*/ 18 w 120"/>
                <a:gd name="T7" fmla="*/ 30 h 96"/>
                <a:gd name="T8" fmla="*/ 18 w 120"/>
                <a:gd name="T9" fmla="*/ 0 h 96"/>
                <a:gd name="T10" fmla="*/ 0 w 120"/>
                <a:gd name="T11" fmla="*/ 0 h 96"/>
                <a:gd name="T12" fmla="*/ 0 w 120"/>
                <a:gd name="T13" fmla="*/ 57 h 96"/>
                <a:gd name="T14" fmla="*/ 0 w 120"/>
                <a:gd name="T15" fmla="*/ 57 h 96"/>
                <a:gd name="T16" fmla="*/ 0 w 120"/>
                <a:gd name="T17" fmla="*/ 57 h 96"/>
                <a:gd name="T18" fmla="*/ 0 w 120"/>
                <a:gd name="T19" fmla="*/ 57 h 96"/>
                <a:gd name="T20" fmla="*/ 0 w 120"/>
                <a:gd name="T21" fmla="*/ 57 h 96"/>
                <a:gd name="T22" fmla="*/ 60 w 120"/>
                <a:gd name="T23" fmla="*/ 96 h 96"/>
                <a:gd name="T24" fmla="*/ 60 w 120"/>
                <a:gd name="T25" fmla="*/ 28 h 96"/>
                <a:gd name="T26" fmla="*/ 102 w 120"/>
                <a:gd name="T27" fmla="*/ 57 h 96"/>
                <a:gd name="T28" fmla="*/ 60 w 120"/>
                <a:gd name="T29" fmla="*/ 87 h 96"/>
                <a:gd name="T30" fmla="*/ 18 w 120"/>
                <a:gd name="T31" fmla="*/ 57 h 96"/>
                <a:gd name="T32" fmla="*/ 60 w 120"/>
                <a:gd name="T33"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96">
                  <a:moveTo>
                    <a:pt x="60" y="96"/>
                  </a:moveTo>
                  <a:cubicBezTo>
                    <a:pt x="94" y="96"/>
                    <a:pt x="120" y="79"/>
                    <a:pt x="120" y="57"/>
                  </a:cubicBezTo>
                  <a:cubicBezTo>
                    <a:pt x="120" y="36"/>
                    <a:pt x="94" y="18"/>
                    <a:pt x="60" y="18"/>
                  </a:cubicBezTo>
                  <a:cubicBezTo>
                    <a:pt x="44" y="18"/>
                    <a:pt x="29" y="23"/>
                    <a:pt x="18" y="30"/>
                  </a:cubicBezTo>
                  <a:cubicBezTo>
                    <a:pt x="18" y="0"/>
                    <a:pt x="18" y="0"/>
                    <a:pt x="18" y="0"/>
                  </a:cubicBezTo>
                  <a:cubicBezTo>
                    <a:pt x="0" y="0"/>
                    <a:pt x="0" y="0"/>
                    <a:pt x="0" y="0"/>
                  </a:cubicBezTo>
                  <a:cubicBezTo>
                    <a:pt x="0" y="57"/>
                    <a:pt x="0" y="57"/>
                    <a:pt x="0" y="57"/>
                  </a:cubicBezTo>
                  <a:cubicBezTo>
                    <a:pt x="0" y="57"/>
                    <a:pt x="0" y="57"/>
                    <a:pt x="0" y="57"/>
                  </a:cubicBezTo>
                  <a:cubicBezTo>
                    <a:pt x="0" y="57"/>
                    <a:pt x="0" y="57"/>
                    <a:pt x="0" y="57"/>
                  </a:cubicBezTo>
                  <a:cubicBezTo>
                    <a:pt x="0" y="57"/>
                    <a:pt x="0" y="57"/>
                    <a:pt x="0" y="57"/>
                  </a:cubicBezTo>
                  <a:cubicBezTo>
                    <a:pt x="0" y="57"/>
                    <a:pt x="0" y="57"/>
                    <a:pt x="0" y="57"/>
                  </a:cubicBezTo>
                  <a:cubicBezTo>
                    <a:pt x="1" y="79"/>
                    <a:pt x="27" y="96"/>
                    <a:pt x="60" y="96"/>
                  </a:cubicBezTo>
                  <a:close/>
                  <a:moveTo>
                    <a:pt x="60" y="28"/>
                  </a:moveTo>
                  <a:cubicBezTo>
                    <a:pt x="84" y="28"/>
                    <a:pt x="102" y="41"/>
                    <a:pt x="102" y="57"/>
                  </a:cubicBezTo>
                  <a:cubicBezTo>
                    <a:pt x="102" y="73"/>
                    <a:pt x="84" y="87"/>
                    <a:pt x="60" y="87"/>
                  </a:cubicBezTo>
                  <a:cubicBezTo>
                    <a:pt x="37" y="87"/>
                    <a:pt x="18" y="73"/>
                    <a:pt x="18" y="57"/>
                  </a:cubicBezTo>
                  <a:cubicBezTo>
                    <a:pt x="18" y="41"/>
                    <a:pt x="37" y="28"/>
                    <a:pt x="60" y="2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
        <p:nvSpPr>
          <p:cNvPr id="685" name="Freeform 129"/>
          <p:cNvSpPr>
            <a:spLocks/>
          </p:cNvSpPr>
          <p:nvPr/>
        </p:nvSpPr>
        <p:spPr bwMode="auto">
          <a:xfrm>
            <a:off x="6850567" y="4359861"/>
            <a:ext cx="179728" cy="246167"/>
          </a:xfrm>
          <a:custGeom>
            <a:avLst/>
            <a:gdLst>
              <a:gd name="T0" fmla="*/ 1 w 89"/>
              <a:gd name="T1" fmla="*/ 79 h 122"/>
              <a:gd name="T2" fmla="*/ 0 w 89"/>
              <a:gd name="T3" fmla="*/ 81 h 122"/>
              <a:gd name="T4" fmla="*/ 0 w 89"/>
              <a:gd name="T5" fmla="*/ 91 h 122"/>
              <a:gd name="T6" fmla="*/ 0 w 89"/>
              <a:gd name="T7" fmla="*/ 93 h 122"/>
              <a:gd name="T8" fmla="*/ 1 w 89"/>
              <a:gd name="T9" fmla="*/ 95 h 122"/>
              <a:gd name="T10" fmla="*/ 5 w 89"/>
              <a:gd name="T11" fmla="*/ 95 h 122"/>
              <a:gd name="T12" fmla="*/ 31 w 89"/>
              <a:gd name="T13" fmla="*/ 100 h 122"/>
              <a:gd name="T14" fmla="*/ 49 w 89"/>
              <a:gd name="T15" fmla="*/ 112 h 122"/>
              <a:gd name="T16" fmla="*/ 69 w 89"/>
              <a:gd name="T17" fmla="*/ 120 h 122"/>
              <a:gd name="T18" fmla="*/ 87 w 89"/>
              <a:gd name="T19" fmla="*/ 93 h 122"/>
              <a:gd name="T20" fmla="*/ 64 w 89"/>
              <a:gd name="T21" fmla="*/ 96 h 122"/>
              <a:gd name="T22" fmla="*/ 44 w 89"/>
              <a:gd name="T23" fmla="*/ 86 h 122"/>
              <a:gd name="T24" fmla="*/ 25 w 89"/>
              <a:gd name="T25" fmla="*/ 80 h 122"/>
              <a:gd name="T26" fmla="*/ 27 w 89"/>
              <a:gd name="T27" fmla="*/ 75 h 122"/>
              <a:gd name="T28" fmla="*/ 34 w 89"/>
              <a:gd name="T29" fmla="*/ 67 h 122"/>
              <a:gd name="T30" fmla="*/ 58 w 89"/>
              <a:gd name="T31" fmla="*/ 40 h 122"/>
              <a:gd name="T32" fmla="*/ 77 w 89"/>
              <a:gd name="T33" fmla="*/ 18 h 122"/>
              <a:gd name="T34" fmla="*/ 80 w 89"/>
              <a:gd name="T35" fmla="*/ 14 h 122"/>
              <a:gd name="T36" fmla="*/ 81 w 89"/>
              <a:gd name="T37" fmla="*/ 4 h 122"/>
              <a:gd name="T38" fmla="*/ 79 w 89"/>
              <a:gd name="T39" fmla="*/ 2 h 122"/>
              <a:gd name="T40" fmla="*/ 79 w 89"/>
              <a:gd name="T41" fmla="*/ 2 h 122"/>
              <a:gd name="T42" fmla="*/ 47 w 89"/>
              <a:gd name="T43" fmla="*/ 5 h 122"/>
              <a:gd name="T44" fmla="*/ 29 w 89"/>
              <a:gd name="T45" fmla="*/ 2 h 122"/>
              <a:gd name="T46" fmla="*/ 26 w 89"/>
              <a:gd name="T47" fmla="*/ 1 h 122"/>
              <a:gd name="T48" fmla="*/ 23 w 89"/>
              <a:gd name="T49" fmla="*/ 1 h 122"/>
              <a:gd name="T50" fmla="*/ 22 w 89"/>
              <a:gd name="T51" fmla="*/ 2 h 122"/>
              <a:gd name="T52" fmla="*/ 16 w 89"/>
              <a:gd name="T53" fmla="*/ 16 h 122"/>
              <a:gd name="T54" fmla="*/ 16 w 89"/>
              <a:gd name="T55" fmla="*/ 20 h 122"/>
              <a:gd name="T56" fmla="*/ 16 w 89"/>
              <a:gd name="T57" fmla="*/ 21 h 122"/>
              <a:gd name="T58" fmla="*/ 16 w 89"/>
              <a:gd name="T59" fmla="*/ 21 h 122"/>
              <a:gd name="T60" fmla="*/ 48 w 89"/>
              <a:gd name="T61" fmla="*/ 23 h 122"/>
              <a:gd name="T62" fmla="*/ 1 w 89"/>
              <a:gd name="T63" fmla="*/ 79 h 122"/>
              <a:gd name="T64" fmla="*/ 1 w 89"/>
              <a:gd name="T65" fmla="*/ 7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9" h="122">
                <a:moveTo>
                  <a:pt x="1" y="79"/>
                </a:moveTo>
                <a:cubicBezTo>
                  <a:pt x="0" y="80"/>
                  <a:pt x="0" y="81"/>
                  <a:pt x="0" y="81"/>
                </a:cubicBezTo>
                <a:cubicBezTo>
                  <a:pt x="0" y="85"/>
                  <a:pt x="0" y="88"/>
                  <a:pt x="0" y="91"/>
                </a:cubicBezTo>
                <a:cubicBezTo>
                  <a:pt x="0" y="91"/>
                  <a:pt x="0" y="92"/>
                  <a:pt x="0" y="93"/>
                </a:cubicBezTo>
                <a:cubicBezTo>
                  <a:pt x="0" y="95"/>
                  <a:pt x="1" y="95"/>
                  <a:pt x="1" y="95"/>
                </a:cubicBezTo>
                <a:cubicBezTo>
                  <a:pt x="2" y="95"/>
                  <a:pt x="4" y="95"/>
                  <a:pt x="5" y="95"/>
                </a:cubicBezTo>
                <a:cubicBezTo>
                  <a:pt x="14" y="95"/>
                  <a:pt x="22" y="95"/>
                  <a:pt x="31" y="100"/>
                </a:cubicBezTo>
                <a:cubicBezTo>
                  <a:pt x="37" y="103"/>
                  <a:pt x="43" y="108"/>
                  <a:pt x="49" y="112"/>
                </a:cubicBezTo>
                <a:cubicBezTo>
                  <a:pt x="55" y="116"/>
                  <a:pt x="62" y="119"/>
                  <a:pt x="69" y="120"/>
                </a:cubicBezTo>
                <a:cubicBezTo>
                  <a:pt x="84" y="122"/>
                  <a:pt x="89" y="105"/>
                  <a:pt x="87" y="93"/>
                </a:cubicBezTo>
                <a:cubicBezTo>
                  <a:pt x="81" y="99"/>
                  <a:pt x="72" y="98"/>
                  <a:pt x="64" y="96"/>
                </a:cubicBezTo>
                <a:cubicBezTo>
                  <a:pt x="56" y="94"/>
                  <a:pt x="44" y="86"/>
                  <a:pt x="44" y="86"/>
                </a:cubicBezTo>
                <a:cubicBezTo>
                  <a:pt x="38" y="82"/>
                  <a:pt x="32" y="80"/>
                  <a:pt x="25" y="80"/>
                </a:cubicBezTo>
                <a:cubicBezTo>
                  <a:pt x="25" y="77"/>
                  <a:pt x="25" y="77"/>
                  <a:pt x="27" y="75"/>
                </a:cubicBezTo>
                <a:cubicBezTo>
                  <a:pt x="30" y="72"/>
                  <a:pt x="32" y="69"/>
                  <a:pt x="34" y="67"/>
                </a:cubicBezTo>
                <a:cubicBezTo>
                  <a:pt x="42" y="58"/>
                  <a:pt x="50" y="49"/>
                  <a:pt x="58" y="40"/>
                </a:cubicBezTo>
                <a:cubicBezTo>
                  <a:pt x="64" y="33"/>
                  <a:pt x="71" y="25"/>
                  <a:pt x="77" y="18"/>
                </a:cubicBezTo>
                <a:cubicBezTo>
                  <a:pt x="78" y="17"/>
                  <a:pt x="80" y="15"/>
                  <a:pt x="80" y="14"/>
                </a:cubicBezTo>
                <a:cubicBezTo>
                  <a:pt x="81" y="11"/>
                  <a:pt x="81" y="7"/>
                  <a:pt x="81" y="4"/>
                </a:cubicBezTo>
                <a:cubicBezTo>
                  <a:pt x="82" y="2"/>
                  <a:pt x="79" y="2"/>
                  <a:pt x="79" y="2"/>
                </a:cubicBezTo>
                <a:cubicBezTo>
                  <a:pt x="79" y="2"/>
                  <a:pt x="79" y="2"/>
                  <a:pt x="79" y="2"/>
                </a:cubicBezTo>
                <a:cubicBezTo>
                  <a:pt x="69" y="4"/>
                  <a:pt x="58" y="5"/>
                  <a:pt x="47" y="5"/>
                </a:cubicBezTo>
                <a:cubicBezTo>
                  <a:pt x="41" y="5"/>
                  <a:pt x="34" y="4"/>
                  <a:pt x="29" y="2"/>
                </a:cubicBezTo>
                <a:cubicBezTo>
                  <a:pt x="29" y="2"/>
                  <a:pt x="27" y="1"/>
                  <a:pt x="26" y="1"/>
                </a:cubicBezTo>
                <a:cubicBezTo>
                  <a:pt x="25" y="0"/>
                  <a:pt x="24" y="0"/>
                  <a:pt x="23" y="1"/>
                </a:cubicBezTo>
                <a:cubicBezTo>
                  <a:pt x="23" y="1"/>
                  <a:pt x="22" y="2"/>
                  <a:pt x="22" y="2"/>
                </a:cubicBezTo>
                <a:cubicBezTo>
                  <a:pt x="19" y="6"/>
                  <a:pt x="16" y="11"/>
                  <a:pt x="16" y="16"/>
                </a:cubicBezTo>
                <a:cubicBezTo>
                  <a:pt x="16" y="17"/>
                  <a:pt x="15" y="19"/>
                  <a:pt x="16" y="20"/>
                </a:cubicBezTo>
                <a:cubicBezTo>
                  <a:pt x="16" y="20"/>
                  <a:pt x="16" y="20"/>
                  <a:pt x="16" y="21"/>
                </a:cubicBezTo>
                <a:cubicBezTo>
                  <a:pt x="16" y="21"/>
                  <a:pt x="16" y="21"/>
                  <a:pt x="16" y="21"/>
                </a:cubicBezTo>
                <a:cubicBezTo>
                  <a:pt x="18" y="23"/>
                  <a:pt x="24" y="28"/>
                  <a:pt x="48" y="23"/>
                </a:cubicBezTo>
                <a:cubicBezTo>
                  <a:pt x="32" y="42"/>
                  <a:pt x="17" y="60"/>
                  <a:pt x="1" y="79"/>
                </a:cubicBezTo>
                <a:cubicBezTo>
                  <a:pt x="1" y="79"/>
                  <a:pt x="1" y="79"/>
                  <a:pt x="1" y="7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86" name="Freeform 130"/>
          <p:cNvSpPr>
            <a:spLocks/>
          </p:cNvSpPr>
          <p:nvPr/>
        </p:nvSpPr>
        <p:spPr bwMode="auto">
          <a:xfrm>
            <a:off x="7452782" y="4517441"/>
            <a:ext cx="114992" cy="108177"/>
          </a:xfrm>
          <a:custGeom>
            <a:avLst/>
            <a:gdLst>
              <a:gd name="T0" fmla="*/ 83 w 135"/>
              <a:gd name="T1" fmla="*/ 49 h 127"/>
              <a:gd name="T2" fmla="*/ 66 w 135"/>
              <a:gd name="T3" fmla="*/ 0 h 127"/>
              <a:gd name="T4" fmla="*/ 52 w 135"/>
              <a:gd name="T5" fmla="*/ 49 h 127"/>
              <a:gd name="T6" fmla="*/ 0 w 135"/>
              <a:gd name="T7" fmla="*/ 49 h 127"/>
              <a:gd name="T8" fmla="*/ 43 w 135"/>
              <a:gd name="T9" fmla="*/ 80 h 127"/>
              <a:gd name="T10" fmla="*/ 26 w 135"/>
              <a:gd name="T11" fmla="*/ 127 h 127"/>
              <a:gd name="T12" fmla="*/ 66 w 135"/>
              <a:gd name="T13" fmla="*/ 97 h 127"/>
              <a:gd name="T14" fmla="*/ 109 w 135"/>
              <a:gd name="T15" fmla="*/ 127 h 127"/>
              <a:gd name="T16" fmla="*/ 92 w 135"/>
              <a:gd name="T17" fmla="*/ 80 h 127"/>
              <a:gd name="T18" fmla="*/ 135 w 135"/>
              <a:gd name="T19" fmla="*/ 49 h 127"/>
              <a:gd name="T20" fmla="*/ 83 w 135"/>
              <a:gd name="T21" fmla="*/ 4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27">
                <a:moveTo>
                  <a:pt x="83" y="49"/>
                </a:moveTo>
                <a:lnTo>
                  <a:pt x="66" y="0"/>
                </a:lnTo>
                <a:lnTo>
                  <a:pt x="52" y="49"/>
                </a:lnTo>
                <a:lnTo>
                  <a:pt x="0" y="49"/>
                </a:lnTo>
                <a:lnTo>
                  <a:pt x="43" y="80"/>
                </a:lnTo>
                <a:lnTo>
                  <a:pt x="26" y="127"/>
                </a:lnTo>
                <a:lnTo>
                  <a:pt x="66" y="97"/>
                </a:lnTo>
                <a:lnTo>
                  <a:pt x="109" y="127"/>
                </a:lnTo>
                <a:lnTo>
                  <a:pt x="92" y="80"/>
                </a:lnTo>
                <a:lnTo>
                  <a:pt x="135" y="49"/>
                </a:lnTo>
                <a:lnTo>
                  <a:pt x="83" y="4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87" name="Freeform 131"/>
          <p:cNvSpPr>
            <a:spLocks/>
          </p:cNvSpPr>
          <p:nvPr/>
        </p:nvSpPr>
        <p:spPr bwMode="auto">
          <a:xfrm>
            <a:off x="7325866" y="4384561"/>
            <a:ext cx="237649" cy="235094"/>
          </a:xfrm>
          <a:custGeom>
            <a:avLst/>
            <a:gdLst>
              <a:gd name="T0" fmla="*/ 75 w 118"/>
              <a:gd name="T1" fmla="*/ 101 h 117"/>
              <a:gd name="T2" fmla="*/ 50 w 118"/>
              <a:gd name="T3" fmla="*/ 83 h 117"/>
              <a:gd name="T4" fmla="*/ 82 w 118"/>
              <a:gd name="T5" fmla="*/ 83 h 117"/>
              <a:gd name="T6" fmla="*/ 91 w 118"/>
              <a:gd name="T7" fmla="*/ 52 h 117"/>
              <a:gd name="T8" fmla="*/ 101 w 118"/>
              <a:gd name="T9" fmla="*/ 83 h 117"/>
              <a:gd name="T10" fmla="*/ 118 w 118"/>
              <a:gd name="T11" fmla="*/ 83 h 117"/>
              <a:gd name="T12" fmla="*/ 91 w 118"/>
              <a:gd name="T13" fmla="*/ 0 h 117"/>
              <a:gd name="T14" fmla="*/ 70 w 118"/>
              <a:gd name="T15" fmla="*/ 66 h 117"/>
              <a:gd name="T16" fmla="*/ 0 w 118"/>
              <a:gd name="T17" fmla="*/ 66 h 117"/>
              <a:gd name="T18" fmla="*/ 70 w 118"/>
              <a:gd name="T19" fmla="*/ 117 h 117"/>
              <a:gd name="T20" fmla="*/ 75 w 118"/>
              <a:gd name="T21" fmla="*/ 10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17">
                <a:moveTo>
                  <a:pt x="75" y="101"/>
                </a:moveTo>
                <a:cubicBezTo>
                  <a:pt x="72" y="98"/>
                  <a:pt x="50" y="83"/>
                  <a:pt x="50" y="83"/>
                </a:cubicBezTo>
                <a:cubicBezTo>
                  <a:pt x="50" y="83"/>
                  <a:pt x="77" y="83"/>
                  <a:pt x="82" y="83"/>
                </a:cubicBezTo>
                <a:cubicBezTo>
                  <a:pt x="83" y="78"/>
                  <a:pt x="91" y="52"/>
                  <a:pt x="91" y="52"/>
                </a:cubicBezTo>
                <a:cubicBezTo>
                  <a:pt x="91" y="52"/>
                  <a:pt x="100" y="78"/>
                  <a:pt x="101" y="83"/>
                </a:cubicBezTo>
                <a:cubicBezTo>
                  <a:pt x="103" y="83"/>
                  <a:pt x="111" y="83"/>
                  <a:pt x="118" y="83"/>
                </a:cubicBezTo>
                <a:cubicBezTo>
                  <a:pt x="91" y="0"/>
                  <a:pt x="91" y="0"/>
                  <a:pt x="91" y="0"/>
                </a:cubicBezTo>
                <a:cubicBezTo>
                  <a:pt x="70" y="66"/>
                  <a:pt x="70" y="66"/>
                  <a:pt x="70" y="66"/>
                </a:cubicBezTo>
                <a:cubicBezTo>
                  <a:pt x="0" y="66"/>
                  <a:pt x="0" y="66"/>
                  <a:pt x="0" y="66"/>
                </a:cubicBezTo>
                <a:cubicBezTo>
                  <a:pt x="70" y="117"/>
                  <a:pt x="70" y="117"/>
                  <a:pt x="70" y="117"/>
                </a:cubicBezTo>
                <a:cubicBezTo>
                  <a:pt x="72" y="111"/>
                  <a:pt x="75" y="103"/>
                  <a:pt x="75" y="10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88" name="Freeform 132"/>
          <p:cNvSpPr>
            <a:spLocks/>
          </p:cNvSpPr>
          <p:nvPr/>
        </p:nvSpPr>
        <p:spPr bwMode="auto">
          <a:xfrm>
            <a:off x="7958745" y="4525108"/>
            <a:ext cx="37479" cy="44293"/>
          </a:xfrm>
          <a:custGeom>
            <a:avLst/>
            <a:gdLst>
              <a:gd name="T0" fmla="*/ 12 w 19"/>
              <a:gd name="T1" fmla="*/ 2 h 22"/>
              <a:gd name="T2" fmla="*/ 1 w 19"/>
              <a:gd name="T3" fmla="*/ 9 h 22"/>
              <a:gd name="T4" fmla="*/ 7 w 19"/>
              <a:gd name="T5" fmla="*/ 21 h 22"/>
              <a:gd name="T6" fmla="*/ 18 w 19"/>
              <a:gd name="T7" fmla="*/ 14 h 22"/>
              <a:gd name="T8" fmla="*/ 12 w 19"/>
              <a:gd name="T9" fmla="*/ 2 h 22"/>
            </a:gdLst>
            <a:ahLst/>
            <a:cxnLst>
              <a:cxn ang="0">
                <a:pos x="T0" y="T1"/>
              </a:cxn>
              <a:cxn ang="0">
                <a:pos x="T2" y="T3"/>
              </a:cxn>
              <a:cxn ang="0">
                <a:pos x="T4" y="T5"/>
              </a:cxn>
              <a:cxn ang="0">
                <a:pos x="T6" y="T7"/>
              </a:cxn>
              <a:cxn ang="0">
                <a:pos x="T8" y="T9"/>
              </a:cxn>
            </a:cxnLst>
            <a:rect l="0" t="0" r="r" b="b"/>
            <a:pathLst>
              <a:path w="19" h="22">
                <a:moveTo>
                  <a:pt x="12" y="2"/>
                </a:moveTo>
                <a:cubicBezTo>
                  <a:pt x="8" y="0"/>
                  <a:pt x="3" y="3"/>
                  <a:pt x="1" y="9"/>
                </a:cubicBezTo>
                <a:cubicBezTo>
                  <a:pt x="0" y="14"/>
                  <a:pt x="2" y="19"/>
                  <a:pt x="7" y="21"/>
                </a:cubicBezTo>
                <a:cubicBezTo>
                  <a:pt x="11" y="22"/>
                  <a:pt x="16" y="19"/>
                  <a:pt x="18" y="14"/>
                </a:cubicBezTo>
                <a:cubicBezTo>
                  <a:pt x="19" y="8"/>
                  <a:pt x="17" y="3"/>
                  <a:pt x="12"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89" name="Freeform 133"/>
          <p:cNvSpPr>
            <a:spLocks noEditPoints="1"/>
          </p:cNvSpPr>
          <p:nvPr/>
        </p:nvSpPr>
        <p:spPr bwMode="auto">
          <a:xfrm>
            <a:off x="7793498" y="4359861"/>
            <a:ext cx="245315" cy="247871"/>
          </a:xfrm>
          <a:custGeom>
            <a:avLst/>
            <a:gdLst>
              <a:gd name="T0" fmla="*/ 103 w 122"/>
              <a:gd name="T1" fmla="*/ 69 h 123"/>
              <a:gd name="T2" fmla="*/ 85 w 122"/>
              <a:gd name="T3" fmla="*/ 62 h 123"/>
              <a:gd name="T4" fmla="*/ 90 w 122"/>
              <a:gd name="T5" fmla="*/ 39 h 123"/>
              <a:gd name="T6" fmla="*/ 79 w 122"/>
              <a:gd name="T7" fmla="*/ 22 h 123"/>
              <a:gd name="T8" fmla="*/ 62 w 122"/>
              <a:gd name="T9" fmla="*/ 15 h 123"/>
              <a:gd name="T10" fmla="*/ 57 w 122"/>
              <a:gd name="T11" fmla="*/ 4 h 123"/>
              <a:gd name="T12" fmla="*/ 75 w 122"/>
              <a:gd name="T13" fmla="*/ 25 h 123"/>
              <a:gd name="T14" fmla="*/ 81 w 122"/>
              <a:gd name="T15" fmla="*/ 36 h 123"/>
              <a:gd name="T16" fmla="*/ 77 w 122"/>
              <a:gd name="T17" fmla="*/ 44 h 123"/>
              <a:gd name="T18" fmla="*/ 72 w 122"/>
              <a:gd name="T19" fmla="*/ 51 h 123"/>
              <a:gd name="T20" fmla="*/ 51 w 122"/>
              <a:gd name="T21" fmla="*/ 24 h 123"/>
              <a:gd name="T22" fmla="*/ 39 w 122"/>
              <a:gd name="T23" fmla="*/ 18 h 123"/>
              <a:gd name="T24" fmla="*/ 31 w 122"/>
              <a:gd name="T25" fmla="*/ 0 h 123"/>
              <a:gd name="T26" fmla="*/ 41 w 122"/>
              <a:gd name="T27" fmla="*/ 27 h 123"/>
              <a:gd name="T28" fmla="*/ 59 w 122"/>
              <a:gd name="T29" fmla="*/ 55 h 123"/>
              <a:gd name="T30" fmla="*/ 46 w 122"/>
              <a:gd name="T31" fmla="*/ 52 h 123"/>
              <a:gd name="T32" fmla="*/ 36 w 122"/>
              <a:gd name="T33" fmla="*/ 46 h 123"/>
              <a:gd name="T34" fmla="*/ 24 w 122"/>
              <a:gd name="T35" fmla="*/ 19 h 123"/>
              <a:gd name="T36" fmla="*/ 0 w 122"/>
              <a:gd name="T37" fmla="*/ 21 h 123"/>
              <a:gd name="T38" fmla="*/ 20 w 122"/>
              <a:gd name="T39" fmla="*/ 23 h 123"/>
              <a:gd name="T40" fmla="*/ 30 w 122"/>
              <a:gd name="T41" fmla="*/ 52 h 123"/>
              <a:gd name="T42" fmla="*/ 41 w 122"/>
              <a:gd name="T43" fmla="*/ 64 h 123"/>
              <a:gd name="T44" fmla="*/ 51 w 122"/>
              <a:gd name="T45" fmla="*/ 71 h 123"/>
              <a:gd name="T46" fmla="*/ 38 w 122"/>
              <a:gd name="T47" fmla="*/ 73 h 123"/>
              <a:gd name="T48" fmla="*/ 23 w 122"/>
              <a:gd name="T49" fmla="*/ 73 h 123"/>
              <a:gd name="T50" fmla="*/ 19 w 122"/>
              <a:gd name="T51" fmla="*/ 43 h 123"/>
              <a:gd name="T52" fmla="*/ 9 w 122"/>
              <a:gd name="T53" fmla="*/ 37 h 123"/>
              <a:gd name="T54" fmla="*/ 12 w 122"/>
              <a:gd name="T55" fmla="*/ 67 h 123"/>
              <a:gd name="T56" fmla="*/ 28 w 122"/>
              <a:gd name="T57" fmla="*/ 86 h 123"/>
              <a:gd name="T58" fmla="*/ 55 w 122"/>
              <a:gd name="T59" fmla="*/ 85 h 123"/>
              <a:gd name="T60" fmla="*/ 59 w 122"/>
              <a:gd name="T61" fmla="*/ 98 h 123"/>
              <a:gd name="T62" fmla="*/ 81 w 122"/>
              <a:gd name="T63" fmla="*/ 120 h 123"/>
              <a:gd name="T64" fmla="*/ 103 w 122"/>
              <a:gd name="T65" fmla="*/ 69 h 123"/>
              <a:gd name="T66" fmla="*/ 106 w 122"/>
              <a:gd name="T67" fmla="*/ 98 h 123"/>
              <a:gd name="T68" fmla="*/ 80 w 122"/>
              <a:gd name="T69" fmla="*/ 114 h 123"/>
              <a:gd name="T70" fmla="*/ 68 w 122"/>
              <a:gd name="T71" fmla="*/ 86 h 123"/>
              <a:gd name="T72" fmla="*/ 94 w 122"/>
              <a:gd name="T73" fmla="*/ 70 h 123"/>
              <a:gd name="T74" fmla="*/ 106 w 122"/>
              <a:gd name="T75" fmla="*/ 9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3">
                <a:moveTo>
                  <a:pt x="103" y="69"/>
                </a:moveTo>
                <a:cubicBezTo>
                  <a:pt x="99" y="65"/>
                  <a:pt x="94" y="65"/>
                  <a:pt x="85" y="62"/>
                </a:cubicBezTo>
                <a:cubicBezTo>
                  <a:pt x="81" y="52"/>
                  <a:pt x="90" y="48"/>
                  <a:pt x="90" y="39"/>
                </a:cubicBezTo>
                <a:cubicBezTo>
                  <a:pt x="90" y="31"/>
                  <a:pt x="83" y="24"/>
                  <a:pt x="79" y="22"/>
                </a:cubicBezTo>
                <a:cubicBezTo>
                  <a:pt x="73" y="18"/>
                  <a:pt x="66" y="18"/>
                  <a:pt x="62" y="15"/>
                </a:cubicBezTo>
                <a:cubicBezTo>
                  <a:pt x="58" y="13"/>
                  <a:pt x="58" y="8"/>
                  <a:pt x="57" y="4"/>
                </a:cubicBezTo>
                <a:cubicBezTo>
                  <a:pt x="54" y="20"/>
                  <a:pt x="67" y="19"/>
                  <a:pt x="75" y="25"/>
                </a:cubicBezTo>
                <a:cubicBezTo>
                  <a:pt x="78" y="27"/>
                  <a:pt x="81" y="31"/>
                  <a:pt x="81" y="36"/>
                </a:cubicBezTo>
                <a:cubicBezTo>
                  <a:pt x="81" y="40"/>
                  <a:pt x="79" y="42"/>
                  <a:pt x="77" y="44"/>
                </a:cubicBezTo>
                <a:cubicBezTo>
                  <a:pt x="75" y="47"/>
                  <a:pt x="74" y="49"/>
                  <a:pt x="72" y="51"/>
                </a:cubicBezTo>
                <a:cubicBezTo>
                  <a:pt x="69" y="38"/>
                  <a:pt x="61" y="29"/>
                  <a:pt x="51" y="24"/>
                </a:cubicBezTo>
                <a:cubicBezTo>
                  <a:pt x="48" y="22"/>
                  <a:pt x="43" y="21"/>
                  <a:pt x="39" y="18"/>
                </a:cubicBezTo>
                <a:cubicBezTo>
                  <a:pt x="34" y="14"/>
                  <a:pt x="33" y="8"/>
                  <a:pt x="31" y="0"/>
                </a:cubicBezTo>
                <a:cubicBezTo>
                  <a:pt x="30" y="14"/>
                  <a:pt x="35" y="21"/>
                  <a:pt x="41" y="27"/>
                </a:cubicBezTo>
                <a:cubicBezTo>
                  <a:pt x="49" y="35"/>
                  <a:pt x="63" y="37"/>
                  <a:pt x="59" y="55"/>
                </a:cubicBezTo>
                <a:cubicBezTo>
                  <a:pt x="54" y="55"/>
                  <a:pt x="50" y="53"/>
                  <a:pt x="46" y="52"/>
                </a:cubicBezTo>
                <a:cubicBezTo>
                  <a:pt x="43" y="50"/>
                  <a:pt x="39" y="49"/>
                  <a:pt x="36" y="46"/>
                </a:cubicBezTo>
                <a:cubicBezTo>
                  <a:pt x="30" y="38"/>
                  <a:pt x="31" y="24"/>
                  <a:pt x="24" y="19"/>
                </a:cubicBezTo>
                <a:cubicBezTo>
                  <a:pt x="19" y="15"/>
                  <a:pt x="6" y="16"/>
                  <a:pt x="0" y="21"/>
                </a:cubicBezTo>
                <a:cubicBezTo>
                  <a:pt x="8" y="19"/>
                  <a:pt x="16" y="19"/>
                  <a:pt x="20" y="23"/>
                </a:cubicBezTo>
                <a:cubicBezTo>
                  <a:pt x="26" y="29"/>
                  <a:pt x="26" y="43"/>
                  <a:pt x="30" y="52"/>
                </a:cubicBezTo>
                <a:cubicBezTo>
                  <a:pt x="32" y="56"/>
                  <a:pt x="37" y="61"/>
                  <a:pt x="41" y="64"/>
                </a:cubicBezTo>
                <a:cubicBezTo>
                  <a:pt x="44" y="66"/>
                  <a:pt x="48" y="67"/>
                  <a:pt x="51" y="71"/>
                </a:cubicBezTo>
                <a:cubicBezTo>
                  <a:pt x="46" y="71"/>
                  <a:pt x="43" y="73"/>
                  <a:pt x="38" y="73"/>
                </a:cubicBezTo>
                <a:cubicBezTo>
                  <a:pt x="33" y="74"/>
                  <a:pt x="27" y="75"/>
                  <a:pt x="23" y="73"/>
                </a:cubicBezTo>
                <a:cubicBezTo>
                  <a:pt x="16" y="68"/>
                  <a:pt x="23" y="52"/>
                  <a:pt x="19" y="43"/>
                </a:cubicBezTo>
                <a:cubicBezTo>
                  <a:pt x="17" y="39"/>
                  <a:pt x="13" y="38"/>
                  <a:pt x="9" y="37"/>
                </a:cubicBezTo>
                <a:cubicBezTo>
                  <a:pt x="19" y="42"/>
                  <a:pt x="11" y="56"/>
                  <a:pt x="12" y="67"/>
                </a:cubicBezTo>
                <a:cubicBezTo>
                  <a:pt x="12" y="78"/>
                  <a:pt x="19" y="85"/>
                  <a:pt x="28" y="86"/>
                </a:cubicBezTo>
                <a:cubicBezTo>
                  <a:pt x="37" y="87"/>
                  <a:pt x="47" y="82"/>
                  <a:pt x="55" y="85"/>
                </a:cubicBezTo>
                <a:cubicBezTo>
                  <a:pt x="60" y="87"/>
                  <a:pt x="58" y="92"/>
                  <a:pt x="59" y="98"/>
                </a:cubicBezTo>
                <a:cubicBezTo>
                  <a:pt x="61" y="109"/>
                  <a:pt x="70" y="119"/>
                  <a:pt x="81" y="120"/>
                </a:cubicBezTo>
                <a:cubicBezTo>
                  <a:pt x="108" y="123"/>
                  <a:pt x="122" y="86"/>
                  <a:pt x="103" y="69"/>
                </a:cubicBezTo>
                <a:close/>
                <a:moveTo>
                  <a:pt x="106" y="98"/>
                </a:moveTo>
                <a:cubicBezTo>
                  <a:pt x="102" y="110"/>
                  <a:pt x="91" y="117"/>
                  <a:pt x="80" y="114"/>
                </a:cubicBezTo>
                <a:cubicBezTo>
                  <a:pt x="70" y="111"/>
                  <a:pt x="64" y="98"/>
                  <a:pt x="68" y="86"/>
                </a:cubicBezTo>
                <a:cubicBezTo>
                  <a:pt x="72" y="74"/>
                  <a:pt x="83" y="67"/>
                  <a:pt x="94" y="70"/>
                </a:cubicBezTo>
                <a:cubicBezTo>
                  <a:pt x="104" y="73"/>
                  <a:pt x="110" y="86"/>
                  <a:pt x="106" y="9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0" name="Freeform 134"/>
          <p:cNvSpPr>
            <a:spLocks noEditPoints="1"/>
          </p:cNvSpPr>
          <p:nvPr/>
        </p:nvSpPr>
        <p:spPr bwMode="auto">
          <a:xfrm>
            <a:off x="8268797" y="4408412"/>
            <a:ext cx="60477" cy="110733"/>
          </a:xfrm>
          <a:custGeom>
            <a:avLst/>
            <a:gdLst>
              <a:gd name="T0" fmla="*/ 71 w 71"/>
              <a:gd name="T1" fmla="*/ 0 h 130"/>
              <a:gd name="T2" fmla="*/ 42 w 71"/>
              <a:gd name="T3" fmla="*/ 0 h 130"/>
              <a:gd name="T4" fmla="*/ 42 w 71"/>
              <a:gd name="T5" fmla="*/ 40 h 130"/>
              <a:gd name="T6" fmla="*/ 0 w 71"/>
              <a:gd name="T7" fmla="*/ 40 h 130"/>
              <a:gd name="T8" fmla="*/ 0 w 71"/>
              <a:gd name="T9" fmla="*/ 130 h 130"/>
              <a:gd name="T10" fmla="*/ 71 w 71"/>
              <a:gd name="T11" fmla="*/ 130 h 130"/>
              <a:gd name="T12" fmla="*/ 71 w 71"/>
              <a:gd name="T13" fmla="*/ 0 h 130"/>
              <a:gd name="T14" fmla="*/ 42 w 71"/>
              <a:gd name="T15" fmla="*/ 106 h 130"/>
              <a:gd name="T16" fmla="*/ 28 w 71"/>
              <a:gd name="T17" fmla="*/ 106 h 130"/>
              <a:gd name="T18" fmla="*/ 28 w 71"/>
              <a:gd name="T19" fmla="*/ 66 h 130"/>
              <a:gd name="T20" fmla="*/ 42 w 71"/>
              <a:gd name="T21" fmla="*/ 66 h 130"/>
              <a:gd name="T22" fmla="*/ 42 w 71"/>
              <a:gd name="T23" fmla="*/ 10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130">
                <a:moveTo>
                  <a:pt x="71" y="0"/>
                </a:moveTo>
                <a:lnTo>
                  <a:pt x="42" y="0"/>
                </a:lnTo>
                <a:lnTo>
                  <a:pt x="42" y="40"/>
                </a:lnTo>
                <a:lnTo>
                  <a:pt x="0" y="40"/>
                </a:lnTo>
                <a:lnTo>
                  <a:pt x="0" y="130"/>
                </a:lnTo>
                <a:lnTo>
                  <a:pt x="71" y="130"/>
                </a:lnTo>
                <a:lnTo>
                  <a:pt x="71" y="0"/>
                </a:lnTo>
                <a:close/>
                <a:moveTo>
                  <a:pt x="42" y="106"/>
                </a:moveTo>
                <a:lnTo>
                  <a:pt x="28" y="106"/>
                </a:lnTo>
                <a:lnTo>
                  <a:pt x="28" y="66"/>
                </a:lnTo>
                <a:lnTo>
                  <a:pt x="42" y="66"/>
                </a:lnTo>
                <a:lnTo>
                  <a:pt x="42" y="10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1" name="Freeform 135"/>
          <p:cNvSpPr>
            <a:spLocks noEditPoints="1"/>
          </p:cNvSpPr>
          <p:nvPr/>
        </p:nvSpPr>
        <p:spPr bwMode="auto">
          <a:xfrm>
            <a:off x="8376974" y="4442484"/>
            <a:ext cx="60477" cy="110733"/>
          </a:xfrm>
          <a:custGeom>
            <a:avLst/>
            <a:gdLst>
              <a:gd name="T0" fmla="*/ 71 w 71"/>
              <a:gd name="T1" fmla="*/ 130 h 130"/>
              <a:gd name="T2" fmla="*/ 71 w 71"/>
              <a:gd name="T3" fmla="*/ 0 h 130"/>
              <a:gd name="T4" fmla="*/ 3 w 71"/>
              <a:gd name="T5" fmla="*/ 0 h 130"/>
              <a:gd name="T6" fmla="*/ 3 w 71"/>
              <a:gd name="T7" fmla="*/ 90 h 130"/>
              <a:gd name="T8" fmla="*/ 45 w 71"/>
              <a:gd name="T9" fmla="*/ 90 h 130"/>
              <a:gd name="T10" fmla="*/ 45 w 71"/>
              <a:gd name="T11" fmla="*/ 104 h 130"/>
              <a:gd name="T12" fmla="*/ 0 w 71"/>
              <a:gd name="T13" fmla="*/ 104 h 130"/>
              <a:gd name="T14" fmla="*/ 0 w 71"/>
              <a:gd name="T15" fmla="*/ 130 h 130"/>
              <a:gd name="T16" fmla="*/ 59 w 71"/>
              <a:gd name="T17" fmla="*/ 130 h 130"/>
              <a:gd name="T18" fmla="*/ 71 w 71"/>
              <a:gd name="T19" fmla="*/ 130 h 130"/>
              <a:gd name="T20" fmla="*/ 45 w 71"/>
              <a:gd name="T21" fmla="*/ 66 h 130"/>
              <a:gd name="T22" fmla="*/ 29 w 71"/>
              <a:gd name="T23" fmla="*/ 66 h 130"/>
              <a:gd name="T24" fmla="*/ 29 w 71"/>
              <a:gd name="T25" fmla="*/ 24 h 130"/>
              <a:gd name="T26" fmla="*/ 45 w 71"/>
              <a:gd name="T27" fmla="*/ 24 h 130"/>
              <a:gd name="T28" fmla="*/ 45 w 71"/>
              <a:gd name="T29" fmla="*/ 6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130">
                <a:moveTo>
                  <a:pt x="71" y="130"/>
                </a:moveTo>
                <a:lnTo>
                  <a:pt x="71" y="0"/>
                </a:lnTo>
                <a:lnTo>
                  <a:pt x="3" y="0"/>
                </a:lnTo>
                <a:lnTo>
                  <a:pt x="3" y="90"/>
                </a:lnTo>
                <a:lnTo>
                  <a:pt x="45" y="90"/>
                </a:lnTo>
                <a:lnTo>
                  <a:pt x="45" y="104"/>
                </a:lnTo>
                <a:lnTo>
                  <a:pt x="0" y="104"/>
                </a:lnTo>
                <a:lnTo>
                  <a:pt x="0" y="130"/>
                </a:lnTo>
                <a:lnTo>
                  <a:pt x="59" y="130"/>
                </a:lnTo>
                <a:lnTo>
                  <a:pt x="71" y="130"/>
                </a:lnTo>
                <a:close/>
                <a:moveTo>
                  <a:pt x="45" y="66"/>
                </a:moveTo>
                <a:lnTo>
                  <a:pt x="29" y="66"/>
                </a:lnTo>
                <a:lnTo>
                  <a:pt x="29" y="24"/>
                </a:lnTo>
                <a:lnTo>
                  <a:pt x="45" y="24"/>
                </a:lnTo>
                <a:lnTo>
                  <a:pt x="45" y="6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2" name="Freeform 136"/>
          <p:cNvSpPr>
            <a:spLocks noEditPoints="1"/>
          </p:cNvSpPr>
          <p:nvPr/>
        </p:nvSpPr>
        <p:spPr bwMode="auto">
          <a:xfrm>
            <a:off x="8449376" y="4442484"/>
            <a:ext cx="60477" cy="110733"/>
          </a:xfrm>
          <a:custGeom>
            <a:avLst/>
            <a:gdLst>
              <a:gd name="T0" fmla="*/ 3 w 71"/>
              <a:gd name="T1" fmla="*/ 90 h 130"/>
              <a:gd name="T2" fmla="*/ 45 w 71"/>
              <a:gd name="T3" fmla="*/ 90 h 130"/>
              <a:gd name="T4" fmla="*/ 45 w 71"/>
              <a:gd name="T5" fmla="*/ 104 h 130"/>
              <a:gd name="T6" fmla="*/ 0 w 71"/>
              <a:gd name="T7" fmla="*/ 104 h 130"/>
              <a:gd name="T8" fmla="*/ 0 w 71"/>
              <a:gd name="T9" fmla="*/ 130 h 130"/>
              <a:gd name="T10" fmla="*/ 60 w 71"/>
              <a:gd name="T11" fmla="*/ 130 h 130"/>
              <a:gd name="T12" fmla="*/ 71 w 71"/>
              <a:gd name="T13" fmla="*/ 130 h 130"/>
              <a:gd name="T14" fmla="*/ 71 w 71"/>
              <a:gd name="T15" fmla="*/ 0 h 130"/>
              <a:gd name="T16" fmla="*/ 3 w 71"/>
              <a:gd name="T17" fmla="*/ 0 h 130"/>
              <a:gd name="T18" fmla="*/ 3 w 71"/>
              <a:gd name="T19" fmla="*/ 90 h 130"/>
              <a:gd name="T20" fmla="*/ 29 w 71"/>
              <a:gd name="T21" fmla="*/ 24 h 130"/>
              <a:gd name="T22" fmla="*/ 45 w 71"/>
              <a:gd name="T23" fmla="*/ 24 h 130"/>
              <a:gd name="T24" fmla="*/ 45 w 71"/>
              <a:gd name="T25" fmla="*/ 66 h 130"/>
              <a:gd name="T26" fmla="*/ 29 w 71"/>
              <a:gd name="T27" fmla="*/ 66 h 130"/>
              <a:gd name="T28" fmla="*/ 29 w 71"/>
              <a:gd name="T29" fmla="*/ 2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130">
                <a:moveTo>
                  <a:pt x="3" y="90"/>
                </a:moveTo>
                <a:lnTo>
                  <a:pt x="45" y="90"/>
                </a:lnTo>
                <a:lnTo>
                  <a:pt x="45" y="104"/>
                </a:lnTo>
                <a:lnTo>
                  <a:pt x="0" y="104"/>
                </a:lnTo>
                <a:lnTo>
                  <a:pt x="0" y="130"/>
                </a:lnTo>
                <a:lnTo>
                  <a:pt x="60" y="130"/>
                </a:lnTo>
                <a:lnTo>
                  <a:pt x="71" y="130"/>
                </a:lnTo>
                <a:lnTo>
                  <a:pt x="71" y="0"/>
                </a:lnTo>
                <a:lnTo>
                  <a:pt x="3" y="0"/>
                </a:lnTo>
                <a:lnTo>
                  <a:pt x="3" y="90"/>
                </a:lnTo>
                <a:close/>
                <a:moveTo>
                  <a:pt x="29" y="24"/>
                </a:moveTo>
                <a:lnTo>
                  <a:pt x="45" y="24"/>
                </a:lnTo>
                <a:lnTo>
                  <a:pt x="45" y="66"/>
                </a:lnTo>
                <a:lnTo>
                  <a:pt x="29" y="66"/>
                </a:lnTo>
                <a:lnTo>
                  <a:pt x="29"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3" name="Rectangle 137"/>
          <p:cNvSpPr>
            <a:spLocks noChangeArrowheads="1"/>
          </p:cNvSpPr>
          <p:nvPr/>
        </p:nvSpPr>
        <p:spPr bwMode="auto">
          <a:xfrm>
            <a:off x="8341197" y="4442484"/>
            <a:ext cx="23850" cy="7666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4" name="Rectangle 138"/>
          <p:cNvSpPr>
            <a:spLocks noChangeArrowheads="1"/>
          </p:cNvSpPr>
          <p:nvPr/>
        </p:nvSpPr>
        <p:spPr bwMode="auto">
          <a:xfrm>
            <a:off x="8341197" y="4410116"/>
            <a:ext cx="23850" cy="20443"/>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5" name="Oval 139"/>
          <p:cNvSpPr>
            <a:spLocks noChangeArrowheads="1"/>
          </p:cNvSpPr>
          <p:nvPr/>
        </p:nvSpPr>
        <p:spPr bwMode="auto">
          <a:xfrm>
            <a:off x="8836087" y="4432261"/>
            <a:ext cx="24702" cy="24702"/>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6" name="Oval 140"/>
          <p:cNvSpPr>
            <a:spLocks noChangeArrowheads="1"/>
          </p:cNvSpPr>
          <p:nvPr/>
        </p:nvSpPr>
        <p:spPr bwMode="auto">
          <a:xfrm>
            <a:off x="8888898" y="4432261"/>
            <a:ext cx="23850" cy="24702"/>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7" name="Freeform 141"/>
          <p:cNvSpPr>
            <a:spLocks noEditPoints="1"/>
          </p:cNvSpPr>
          <p:nvPr/>
        </p:nvSpPr>
        <p:spPr bwMode="auto">
          <a:xfrm>
            <a:off x="8785831" y="4359860"/>
            <a:ext cx="177172" cy="241908"/>
          </a:xfrm>
          <a:custGeom>
            <a:avLst/>
            <a:gdLst>
              <a:gd name="T0" fmla="*/ 74 w 88"/>
              <a:gd name="T1" fmla="*/ 16 h 120"/>
              <a:gd name="T2" fmla="*/ 74 w 88"/>
              <a:gd name="T3" fmla="*/ 0 h 120"/>
              <a:gd name="T4" fmla="*/ 49 w 88"/>
              <a:gd name="T5" fmla="*/ 1 h 120"/>
              <a:gd name="T6" fmla="*/ 16 w 88"/>
              <a:gd name="T7" fmla="*/ 28 h 120"/>
              <a:gd name="T8" fmla="*/ 0 w 88"/>
              <a:gd name="T9" fmla="*/ 35 h 120"/>
              <a:gd name="T10" fmla="*/ 4 w 88"/>
              <a:gd name="T11" fmla="*/ 46 h 120"/>
              <a:gd name="T12" fmla="*/ 13 w 88"/>
              <a:gd name="T13" fmla="*/ 85 h 120"/>
              <a:gd name="T14" fmla="*/ 27 w 88"/>
              <a:gd name="T15" fmla="*/ 103 h 120"/>
              <a:gd name="T16" fmla="*/ 25 w 88"/>
              <a:gd name="T17" fmla="*/ 107 h 120"/>
              <a:gd name="T18" fmla="*/ 15 w 88"/>
              <a:gd name="T19" fmla="*/ 119 h 120"/>
              <a:gd name="T20" fmla="*/ 72 w 88"/>
              <a:gd name="T21" fmla="*/ 120 h 120"/>
              <a:gd name="T22" fmla="*/ 69 w 88"/>
              <a:gd name="T23" fmla="*/ 110 h 120"/>
              <a:gd name="T24" fmla="*/ 59 w 88"/>
              <a:gd name="T25" fmla="*/ 107 h 120"/>
              <a:gd name="T26" fmla="*/ 60 w 88"/>
              <a:gd name="T27" fmla="*/ 103 h 120"/>
              <a:gd name="T28" fmla="*/ 63 w 88"/>
              <a:gd name="T29" fmla="*/ 69 h 120"/>
              <a:gd name="T30" fmla="*/ 83 w 88"/>
              <a:gd name="T31" fmla="*/ 46 h 120"/>
              <a:gd name="T32" fmla="*/ 88 w 88"/>
              <a:gd name="T33" fmla="*/ 35 h 120"/>
              <a:gd name="T34" fmla="*/ 71 w 88"/>
              <a:gd name="T35" fmla="*/ 28 h 120"/>
              <a:gd name="T36" fmla="*/ 51 w 88"/>
              <a:gd name="T37" fmla="*/ 5 h 120"/>
              <a:gd name="T38" fmla="*/ 74 w 88"/>
              <a:gd name="T39" fmla="*/ 3 h 120"/>
              <a:gd name="T40" fmla="*/ 74 w 88"/>
              <a:gd name="T41" fmla="*/ 13 h 120"/>
              <a:gd name="T42" fmla="*/ 74 w 88"/>
              <a:gd name="T43" fmla="*/ 3 h 120"/>
              <a:gd name="T44" fmla="*/ 10 w 88"/>
              <a:gd name="T45" fmla="*/ 28 h 120"/>
              <a:gd name="T46" fmla="*/ 5 w 88"/>
              <a:gd name="T47" fmla="*/ 40 h 120"/>
              <a:gd name="T48" fmla="*/ 58 w 88"/>
              <a:gd name="T49" fmla="*/ 70 h 120"/>
              <a:gd name="T50" fmla="*/ 44 w 88"/>
              <a:gd name="T51" fmla="*/ 117 h 120"/>
              <a:gd name="T52" fmla="*/ 28 w 88"/>
              <a:gd name="T53" fmla="*/ 70 h 120"/>
              <a:gd name="T54" fmla="*/ 58 w 88"/>
              <a:gd name="T55" fmla="*/ 70 h 120"/>
              <a:gd name="T56" fmla="*/ 24 w 88"/>
              <a:gd name="T57" fmla="*/ 72 h 120"/>
              <a:gd name="T58" fmla="*/ 17 w 88"/>
              <a:gd name="T59" fmla="*/ 85 h 120"/>
              <a:gd name="T60" fmla="*/ 25 w 88"/>
              <a:gd name="T61" fmla="*/ 111 h 120"/>
              <a:gd name="T62" fmla="*/ 35 w 88"/>
              <a:gd name="T63" fmla="*/ 117 h 120"/>
              <a:gd name="T64" fmla="*/ 20 w 88"/>
              <a:gd name="T65" fmla="*/ 112 h 120"/>
              <a:gd name="T66" fmla="*/ 66 w 88"/>
              <a:gd name="T67" fmla="*/ 112 h 120"/>
              <a:gd name="T68" fmla="*/ 52 w 88"/>
              <a:gd name="T69" fmla="*/ 117 h 120"/>
              <a:gd name="T70" fmla="*/ 62 w 88"/>
              <a:gd name="T71" fmla="*/ 111 h 120"/>
              <a:gd name="T72" fmla="*/ 61 w 88"/>
              <a:gd name="T73" fmla="*/ 99 h 120"/>
              <a:gd name="T74" fmla="*/ 70 w 88"/>
              <a:gd name="T75" fmla="*/ 85 h 120"/>
              <a:gd name="T76" fmla="*/ 7 w 88"/>
              <a:gd name="T77" fmla="*/ 46 h 120"/>
              <a:gd name="T78" fmla="*/ 80 w 88"/>
              <a:gd name="T79" fmla="*/ 46 h 120"/>
              <a:gd name="T80" fmla="*/ 77 w 88"/>
              <a:gd name="T81" fmla="*/ 28 h 120"/>
              <a:gd name="T82" fmla="*/ 82 w 88"/>
              <a:gd name="T83" fmla="*/ 40 h 120"/>
              <a:gd name="T84" fmla="*/ 77 w 88"/>
              <a:gd name="T85" fmla="*/ 2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120">
                <a:moveTo>
                  <a:pt x="66" y="8"/>
                </a:moveTo>
                <a:cubicBezTo>
                  <a:pt x="66" y="13"/>
                  <a:pt x="70" y="16"/>
                  <a:pt x="74" y="16"/>
                </a:cubicBezTo>
                <a:cubicBezTo>
                  <a:pt x="79" y="16"/>
                  <a:pt x="82" y="13"/>
                  <a:pt x="82" y="8"/>
                </a:cubicBezTo>
                <a:cubicBezTo>
                  <a:pt x="82" y="4"/>
                  <a:pt x="79" y="0"/>
                  <a:pt x="74" y="0"/>
                </a:cubicBezTo>
                <a:cubicBezTo>
                  <a:pt x="71" y="0"/>
                  <a:pt x="68" y="2"/>
                  <a:pt x="66" y="5"/>
                </a:cubicBezTo>
                <a:cubicBezTo>
                  <a:pt x="49" y="1"/>
                  <a:pt x="49" y="1"/>
                  <a:pt x="49" y="1"/>
                </a:cubicBezTo>
                <a:cubicBezTo>
                  <a:pt x="42" y="21"/>
                  <a:pt x="42" y="21"/>
                  <a:pt x="42" y="21"/>
                </a:cubicBezTo>
                <a:cubicBezTo>
                  <a:pt x="32" y="21"/>
                  <a:pt x="23" y="24"/>
                  <a:pt x="16" y="28"/>
                </a:cubicBezTo>
                <a:cubicBezTo>
                  <a:pt x="14" y="26"/>
                  <a:pt x="12" y="25"/>
                  <a:pt x="10" y="25"/>
                </a:cubicBezTo>
                <a:cubicBezTo>
                  <a:pt x="4" y="25"/>
                  <a:pt x="0" y="30"/>
                  <a:pt x="0" y="35"/>
                </a:cubicBezTo>
                <a:cubicBezTo>
                  <a:pt x="0" y="39"/>
                  <a:pt x="1" y="42"/>
                  <a:pt x="4" y="44"/>
                </a:cubicBezTo>
                <a:cubicBezTo>
                  <a:pt x="4" y="44"/>
                  <a:pt x="4" y="45"/>
                  <a:pt x="4" y="46"/>
                </a:cubicBezTo>
                <a:cubicBezTo>
                  <a:pt x="4" y="56"/>
                  <a:pt x="12" y="65"/>
                  <a:pt x="24" y="69"/>
                </a:cubicBezTo>
                <a:cubicBezTo>
                  <a:pt x="18" y="73"/>
                  <a:pt x="13" y="79"/>
                  <a:pt x="13" y="85"/>
                </a:cubicBezTo>
                <a:cubicBezTo>
                  <a:pt x="13" y="93"/>
                  <a:pt x="18" y="99"/>
                  <a:pt x="27" y="103"/>
                </a:cubicBezTo>
                <a:cubicBezTo>
                  <a:pt x="27" y="103"/>
                  <a:pt x="27" y="103"/>
                  <a:pt x="27" y="103"/>
                </a:cubicBezTo>
                <a:cubicBezTo>
                  <a:pt x="27" y="105"/>
                  <a:pt x="28" y="106"/>
                  <a:pt x="28" y="107"/>
                </a:cubicBezTo>
                <a:cubicBezTo>
                  <a:pt x="25" y="107"/>
                  <a:pt x="25" y="107"/>
                  <a:pt x="25" y="107"/>
                </a:cubicBezTo>
                <a:cubicBezTo>
                  <a:pt x="22" y="107"/>
                  <a:pt x="20" y="108"/>
                  <a:pt x="18" y="110"/>
                </a:cubicBezTo>
                <a:cubicBezTo>
                  <a:pt x="15" y="113"/>
                  <a:pt x="15" y="118"/>
                  <a:pt x="15" y="119"/>
                </a:cubicBezTo>
                <a:cubicBezTo>
                  <a:pt x="15" y="120"/>
                  <a:pt x="15" y="120"/>
                  <a:pt x="15" y="120"/>
                </a:cubicBezTo>
                <a:cubicBezTo>
                  <a:pt x="72" y="120"/>
                  <a:pt x="72" y="120"/>
                  <a:pt x="72" y="120"/>
                </a:cubicBezTo>
                <a:cubicBezTo>
                  <a:pt x="72" y="119"/>
                  <a:pt x="72" y="119"/>
                  <a:pt x="72" y="119"/>
                </a:cubicBezTo>
                <a:cubicBezTo>
                  <a:pt x="72" y="118"/>
                  <a:pt x="72" y="113"/>
                  <a:pt x="69" y="110"/>
                </a:cubicBezTo>
                <a:cubicBezTo>
                  <a:pt x="67" y="108"/>
                  <a:pt x="65" y="107"/>
                  <a:pt x="62" y="107"/>
                </a:cubicBezTo>
                <a:cubicBezTo>
                  <a:pt x="59" y="107"/>
                  <a:pt x="59" y="107"/>
                  <a:pt x="59" y="107"/>
                </a:cubicBezTo>
                <a:cubicBezTo>
                  <a:pt x="59" y="106"/>
                  <a:pt x="60" y="104"/>
                  <a:pt x="60" y="102"/>
                </a:cubicBezTo>
                <a:cubicBezTo>
                  <a:pt x="60" y="103"/>
                  <a:pt x="60" y="103"/>
                  <a:pt x="60" y="103"/>
                </a:cubicBezTo>
                <a:cubicBezTo>
                  <a:pt x="68" y="99"/>
                  <a:pt x="73" y="92"/>
                  <a:pt x="73" y="85"/>
                </a:cubicBezTo>
                <a:cubicBezTo>
                  <a:pt x="73" y="79"/>
                  <a:pt x="69" y="73"/>
                  <a:pt x="63" y="69"/>
                </a:cubicBezTo>
                <a:cubicBezTo>
                  <a:pt x="63" y="69"/>
                  <a:pt x="63" y="69"/>
                  <a:pt x="63" y="69"/>
                </a:cubicBezTo>
                <a:cubicBezTo>
                  <a:pt x="75" y="65"/>
                  <a:pt x="83" y="56"/>
                  <a:pt x="83" y="46"/>
                </a:cubicBezTo>
                <a:cubicBezTo>
                  <a:pt x="83" y="46"/>
                  <a:pt x="83" y="45"/>
                  <a:pt x="83" y="44"/>
                </a:cubicBezTo>
                <a:cubicBezTo>
                  <a:pt x="86" y="42"/>
                  <a:pt x="88" y="39"/>
                  <a:pt x="88" y="35"/>
                </a:cubicBezTo>
                <a:cubicBezTo>
                  <a:pt x="88" y="30"/>
                  <a:pt x="83" y="25"/>
                  <a:pt x="77" y="25"/>
                </a:cubicBezTo>
                <a:cubicBezTo>
                  <a:pt x="75" y="25"/>
                  <a:pt x="73" y="26"/>
                  <a:pt x="71" y="28"/>
                </a:cubicBezTo>
                <a:cubicBezTo>
                  <a:pt x="64" y="24"/>
                  <a:pt x="55" y="21"/>
                  <a:pt x="46" y="21"/>
                </a:cubicBezTo>
                <a:cubicBezTo>
                  <a:pt x="51" y="5"/>
                  <a:pt x="51" y="5"/>
                  <a:pt x="51" y="5"/>
                </a:cubicBezTo>
                <a:lnTo>
                  <a:pt x="66" y="8"/>
                </a:lnTo>
                <a:close/>
                <a:moveTo>
                  <a:pt x="74" y="3"/>
                </a:moveTo>
                <a:cubicBezTo>
                  <a:pt x="77" y="3"/>
                  <a:pt x="79" y="5"/>
                  <a:pt x="79" y="8"/>
                </a:cubicBezTo>
                <a:cubicBezTo>
                  <a:pt x="79" y="11"/>
                  <a:pt x="77" y="13"/>
                  <a:pt x="74" y="13"/>
                </a:cubicBezTo>
                <a:cubicBezTo>
                  <a:pt x="71" y="13"/>
                  <a:pt x="69" y="11"/>
                  <a:pt x="69" y="8"/>
                </a:cubicBezTo>
                <a:cubicBezTo>
                  <a:pt x="69" y="5"/>
                  <a:pt x="71" y="3"/>
                  <a:pt x="74" y="3"/>
                </a:cubicBezTo>
                <a:close/>
                <a:moveTo>
                  <a:pt x="3" y="35"/>
                </a:moveTo>
                <a:cubicBezTo>
                  <a:pt x="3" y="32"/>
                  <a:pt x="6" y="28"/>
                  <a:pt x="10" y="28"/>
                </a:cubicBezTo>
                <a:cubicBezTo>
                  <a:pt x="11" y="28"/>
                  <a:pt x="12" y="29"/>
                  <a:pt x="14" y="30"/>
                </a:cubicBezTo>
                <a:cubicBezTo>
                  <a:pt x="10" y="33"/>
                  <a:pt x="7" y="36"/>
                  <a:pt x="5" y="40"/>
                </a:cubicBezTo>
                <a:cubicBezTo>
                  <a:pt x="4" y="39"/>
                  <a:pt x="3" y="37"/>
                  <a:pt x="3" y="35"/>
                </a:cubicBezTo>
                <a:close/>
                <a:moveTo>
                  <a:pt x="58" y="70"/>
                </a:moveTo>
                <a:cubicBezTo>
                  <a:pt x="59" y="71"/>
                  <a:pt x="59" y="71"/>
                  <a:pt x="59" y="71"/>
                </a:cubicBezTo>
                <a:cubicBezTo>
                  <a:pt x="59" y="99"/>
                  <a:pt x="56" y="117"/>
                  <a:pt x="44" y="117"/>
                </a:cubicBezTo>
                <a:cubicBezTo>
                  <a:pt x="29" y="117"/>
                  <a:pt x="28" y="95"/>
                  <a:pt x="28" y="71"/>
                </a:cubicBezTo>
                <a:cubicBezTo>
                  <a:pt x="28" y="70"/>
                  <a:pt x="28" y="70"/>
                  <a:pt x="28" y="70"/>
                </a:cubicBezTo>
                <a:cubicBezTo>
                  <a:pt x="33" y="72"/>
                  <a:pt x="38" y="72"/>
                  <a:pt x="43" y="72"/>
                </a:cubicBezTo>
                <a:cubicBezTo>
                  <a:pt x="49" y="72"/>
                  <a:pt x="54" y="72"/>
                  <a:pt x="58" y="70"/>
                </a:cubicBezTo>
                <a:close/>
                <a:moveTo>
                  <a:pt x="17" y="85"/>
                </a:moveTo>
                <a:cubicBezTo>
                  <a:pt x="17" y="80"/>
                  <a:pt x="20" y="76"/>
                  <a:pt x="24" y="72"/>
                </a:cubicBezTo>
                <a:cubicBezTo>
                  <a:pt x="25" y="83"/>
                  <a:pt x="25" y="92"/>
                  <a:pt x="26" y="99"/>
                </a:cubicBezTo>
                <a:cubicBezTo>
                  <a:pt x="20" y="96"/>
                  <a:pt x="17" y="91"/>
                  <a:pt x="17" y="85"/>
                </a:cubicBezTo>
                <a:close/>
                <a:moveTo>
                  <a:pt x="20" y="112"/>
                </a:moveTo>
                <a:cubicBezTo>
                  <a:pt x="21" y="111"/>
                  <a:pt x="23" y="111"/>
                  <a:pt x="25" y="111"/>
                </a:cubicBezTo>
                <a:cubicBezTo>
                  <a:pt x="30" y="111"/>
                  <a:pt x="30" y="111"/>
                  <a:pt x="30" y="111"/>
                </a:cubicBezTo>
                <a:cubicBezTo>
                  <a:pt x="31" y="113"/>
                  <a:pt x="33" y="115"/>
                  <a:pt x="35" y="117"/>
                </a:cubicBezTo>
                <a:cubicBezTo>
                  <a:pt x="18" y="117"/>
                  <a:pt x="18" y="117"/>
                  <a:pt x="18" y="117"/>
                </a:cubicBezTo>
                <a:cubicBezTo>
                  <a:pt x="18" y="116"/>
                  <a:pt x="19" y="114"/>
                  <a:pt x="20" y="112"/>
                </a:cubicBezTo>
                <a:close/>
                <a:moveTo>
                  <a:pt x="62" y="111"/>
                </a:moveTo>
                <a:cubicBezTo>
                  <a:pt x="64" y="111"/>
                  <a:pt x="65" y="111"/>
                  <a:pt x="66" y="112"/>
                </a:cubicBezTo>
                <a:cubicBezTo>
                  <a:pt x="68" y="114"/>
                  <a:pt x="68" y="116"/>
                  <a:pt x="68" y="117"/>
                </a:cubicBezTo>
                <a:cubicBezTo>
                  <a:pt x="52" y="117"/>
                  <a:pt x="52" y="117"/>
                  <a:pt x="52" y="117"/>
                </a:cubicBezTo>
                <a:cubicBezTo>
                  <a:pt x="54" y="115"/>
                  <a:pt x="56" y="113"/>
                  <a:pt x="57" y="111"/>
                </a:cubicBezTo>
                <a:lnTo>
                  <a:pt x="62" y="111"/>
                </a:lnTo>
                <a:close/>
                <a:moveTo>
                  <a:pt x="70" y="85"/>
                </a:moveTo>
                <a:cubicBezTo>
                  <a:pt x="70" y="91"/>
                  <a:pt x="66" y="96"/>
                  <a:pt x="61" y="99"/>
                </a:cubicBezTo>
                <a:cubicBezTo>
                  <a:pt x="62" y="91"/>
                  <a:pt x="63" y="82"/>
                  <a:pt x="63" y="73"/>
                </a:cubicBezTo>
                <a:cubicBezTo>
                  <a:pt x="67" y="76"/>
                  <a:pt x="70" y="81"/>
                  <a:pt x="70" y="85"/>
                </a:cubicBezTo>
                <a:close/>
                <a:moveTo>
                  <a:pt x="43" y="69"/>
                </a:moveTo>
                <a:cubicBezTo>
                  <a:pt x="23" y="69"/>
                  <a:pt x="7" y="59"/>
                  <a:pt x="7" y="46"/>
                </a:cubicBezTo>
                <a:cubicBezTo>
                  <a:pt x="7" y="34"/>
                  <a:pt x="23" y="24"/>
                  <a:pt x="43" y="24"/>
                </a:cubicBezTo>
                <a:cubicBezTo>
                  <a:pt x="64" y="24"/>
                  <a:pt x="80" y="34"/>
                  <a:pt x="80" y="46"/>
                </a:cubicBezTo>
                <a:cubicBezTo>
                  <a:pt x="80" y="59"/>
                  <a:pt x="64" y="69"/>
                  <a:pt x="43" y="69"/>
                </a:cubicBezTo>
                <a:close/>
                <a:moveTo>
                  <a:pt x="77" y="28"/>
                </a:moveTo>
                <a:cubicBezTo>
                  <a:pt x="81" y="28"/>
                  <a:pt x="84" y="32"/>
                  <a:pt x="84" y="35"/>
                </a:cubicBezTo>
                <a:cubicBezTo>
                  <a:pt x="84" y="37"/>
                  <a:pt x="83" y="39"/>
                  <a:pt x="82" y="40"/>
                </a:cubicBezTo>
                <a:cubicBezTo>
                  <a:pt x="80" y="36"/>
                  <a:pt x="77" y="33"/>
                  <a:pt x="73" y="30"/>
                </a:cubicBezTo>
                <a:cubicBezTo>
                  <a:pt x="75" y="29"/>
                  <a:pt x="76" y="28"/>
                  <a:pt x="77" y="2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8" name="Freeform 142"/>
          <p:cNvSpPr>
            <a:spLocks/>
          </p:cNvSpPr>
          <p:nvPr/>
        </p:nvSpPr>
        <p:spPr bwMode="auto">
          <a:xfrm>
            <a:off x="8842049" y="4470592"/>
            <a:ext cx="63032" cy="16184"/>
          </a:xfrm>
          <a:custGeom>
            <a:avLst/>
            <a:gdLst>
              <a:gd name="T0" fmla="*/ 28 w 31"/>
              <a:gd name="T1" fmla="*/ 1 h 8"/>
              <a:gd name="T2" fmla="*/ 15 w 31"/>
              <a:gd name="T3" fmla="*/ 5 h 8"/>
              <a:gd name="T4" fmla="*/ 3 w 31"/>
              <a:gd name="T5" fmla="*/ 1 h 8"/>
              <a:gd name="T6" fmla="*/ 1 w 31"/>
              <a:gd name="T7" fmla="*/ 1 h 8"/>
              <a:gd name="T8" fmla="*/ 1 w 31"/>
              <a:gd name="T9" fmla="*/ 3 h 8"/>
              <a:gd name="T10" fmla="*/ 15 w 31"/>
              <a:gd name="T11" fmla="*/ 8 h 8"/>
              <a:gd name="T12" fmla="*/ 30 w 31"/>
              <a:gd name="T13" fmla="*/ 3 h 8"/>
              <a:gd name="T14" fmla="*/ 30 w 31"/>
              <a:gd name="T15" fmla="*/ 1 h 8"/>
              <a:gd name="T16" fmla="*/ 28 w 31"/>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8">
                <a:moveTo>
                  <a:pt x="28" y="1"/>
                </a:moveTo>
                <a:cubicBezTo>
                  <a:pt x="28" y="1"/>
                  <a:pt x="24" y="5"/>
                  <a:pt x="15" y="5"/>
                </a:cubicBezTo>
                <a:cubicBezTo>
                  <a:pt x="7" y="5"/>
                  <a:pt x="4" y="1"/>
                  <a:pt x="3" y="1"/>
                </a:cubicBezTo>
                <a:cubicBezTo>
                  <a:pt x="3" y="1"/>
                  <a:pt x="2" y="0"/>
                  <a:pt x="1" y="1"/>
                </a:cubicBezTo>
                <a:cubicBezTo>
                  <a:pt x="1" y="2"/>
                  <a:pt x="0" y="3"/>
                  <a:pt x="1" y="3"/>
                </a:cubicBezTo>
                <a:cubicBezTo>
                  <a:pt x="1" y="3"/>
                  <a:pt x="5" y="8"/>
                  <a:pt x="15" y="8"/>
                </a:cubicBezTo>
                <a:cubicBezTo>
                  <a:pt x="25" y="8"/>
                  <a:pt x="30" y="3"/>
                  <a:pt x="30" y="3"/>
                </a:cubicBezTo>
                <a:cubicBezTo>
                  <a:pt x="31" y="3"/>
                  <a:pt x="31" y="2"/>
                  <a:pt x="30" y="1"/>
                </a:cubicBezTo>
                <a:cubicBezTo>
                  <a:pt x="29" y="1"/>
                  <a:pt x="28" y="1"/>
                  <a:pt x="28"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699" name="Freeform 143"/>
          <p:cNvSpPr>
            <a:spLocks/>
          </p:cNvSpPr>
          <p:nvPr/>
        </p:nvSpPr>
        <p:spPr bwMode="auto">
          <a:xfrm>
            <a:off x="9331828" y="4358156"/>
            <a:ext cx="138842" cy="241908"/>
          </a:xfrm>
          <a:custGeom>
            <a:avLst/>
            <a:gdLst>
              <a:gd name="T0" fmla="*/ 97 w 163"/>
              <a:gd name="T1" fmla="*/ 0 h 284"/>
              <a:gd name="T2" fmla="*/ 0 w 163"/>
              <a:gd name="T3" fmla="*/ 172 h 284"/>
              <a:gd name="T4" fmla="*/ 64 w 163"/>
              <a:gd name="T5" fmla="*/ 284 h 284"/>
              <a:gd name="T6" fmla="*/ 128 w 163"/>
              <a:gd name="T7" fmla="*/ 284 h 284"/>
              <a:gd name="T8" fmla="*/ 66 w 163"/>
              <a:gd name="T9" fmla="*/ 172 h 284"/>
              <a:gd name="T10" fmla="*/ 163 w 163"/>
              <a:gd name="T11" fmla="*/ 0 h 284"/>
              <a:gd name="T12" fmla="*/ 97 w 163"/>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163" h="284">
                <a:moveTo>
                  <a:pt x="97" y="0"/>
                </a:moveTo>
                <a:lnTo>
                  <a:pt x="0" y="172"/>
                </a:lnTo>
                <a:lnTo>
                  <a:pt x="64" y="284"/>
                </a:lnTo>
                <a:lnTo>
                  <a:pt x="128" y="284"/>
                </a:lnTo>
                <a:lnTo>
                  <a:pt x="66" y="172"/>
                </a:lnTo>
                <a:lnTo>
                  <a:pt x="163" y="0"/>
                </a:lnTo>
                <a:lnTo>
                  <a:pt x="9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0" name="Freeform 144"/>
          <p:cNvSpPr>
            <a:spLocks/>
          </p:cNvSpPr>
          <p:nvPr/>
        </p:nvSpPr>
        <p:spPr bwMode="auto">
          <a:xfrm>
            <a:off x="9244947" y="4402450"/>
            <a:ext cx="94549" cy="125213"/>
          </a:xfrm>
          <a:custGeom>
            <a:avLst/>
            <a:gdLst>
              <a:gd name="T0" fmla="*/ 62 w 111"/>
              <a:gd name="T1" fmla="*/ 147 h 147"/>
              <a:gd name="T2" fmla="*/ 111 w 111"/>
              <a:gd name="T3" fmla="*/ 66 h 147"/>
              <a:gd name="T4" fmla="*/ 74 w 111"/>
              <a:gd name="T5" fmla="*/ 0 h 147"/>
              <a:gd name="T6" fmla="*/ 12 w 111"/>
              <a:gd name="T7" fmla="*/ 0 h 147"/>
              <a:gd name="T8" fmla="*/ 50 w 111"/>
              <a:gd name="T9" fmla="*/ 66 h 147"/>
              <a:gd name="T10" fmla="*/ 0 w 111"/>
              <a:gd name="T11" fmla="*/ 147 h 147"/>
              <a:gd name="T12" fmla="*/ 62 w 111"/>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11" h="147">
                <a:moveTo>
                  <a:pt x="62" y="147"/>
                </a:moveTo>
                <a:lnTo>
                  <a:pt x="111" y="66"/>
                </a:lnTo>
                <a:lnTo>
                  <a:pt x="74" y="0"/>
                </a:lnTo>
                <a:lnTo>
                  <a:pt x="12" y="0"/>
                </a:lnTo>
                <a:lnTo>
                  <a:pt x="50" y="66"/>
                </a:lnTo>
                <a:lnTo>
                  <a:pt x="0" y="147"/>
                </a:lnTo>
                <a:lnTo>
                  <a:pt x="62" y="14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1" name="Freeform 145"/>
          <p:cNvSpPr>
            <a:spLocks/>
          </p:cNvSpPr>
          <p:nvPr/>
        </p:nvSpPr>
        <p:spPr bwMode="auto">
          <a:xfrm>
            <a:off x="9710024" y="4448446"/>
            <a:ext cx="262351" cy="64736"/>
          </a:xfrm>
          <a:custGeom>
            <a:avLst/>
            <a:gdLst>
              <a:gd name="T0" fmla="*/ 308 w 308"/>
              <a:gd name="T1" fmla="*/ 76 h 76"/>
              <a:gd name="T2" fmla="*/ 0 w 308"/>
              <a:gd name="T3" fmla="*/ 76 h 76"/>
              <a:gd name="T4" fmla="*/ 0 w 308"/>
              <a:gd name="T5" fmla="*/ 0 h 76"/>
              <a:gd name="T6" fmla="*/ 34 w 308"/>
              <a:gd name="T7" fmla="*/ 0 h 76"/>
              <a:gd name="T8" fmla="*/ 34 w 308"/>
              <a:gd name="T9" fmla="*/ 40 h 76"/>
              <a:gd name="T10" fmla="*/ 275 w 308"/>
              <a:gd name="T11" fmla="*/ 40 h 76"/>
              <a:gd name="T12" fmla="*/ 275 w 308"/>
              <a:gd name="T13" fmla="*/ 0 h 76"/>
              <a:gd name="T14" fmla="*/ 308 w 308"/>
              <a:gd name="T15" fmla="*/ 0 h 76"/>
              <a:gd name="T16" fmla="*/ 308 w 308"/>
              <a:gd name="T1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8" h="76">
                <a:moveTo>
                  <a:pt x="308" y="76"/>
                </a:moveTo>
                <a:lnTo>
                  <a:pt x="0" y="76"/>
                </a:lnTo>
                <a:lnTo>
                  <a:pt x="0" y="0"/>
                </a:lnTo>
                <a:lnTo>
                  <a:pt x="34" y="0"/>
                </a:lnTo>
                <a:lnTo>
                  <a:pt x="34" y="40"/>
                </a:lnTo>
                <a:lnTo>
                  <a:pt x="275" y="40"/>
                </a:lnTo>
                <a:lnTo>
                  <a:pt x="275" y="0"/>
                </a:lnTo>
                <a:lnTo>
                  <a:pt x="308" y="0"/>
                </a:lnTo>
                <a:lnTo>
                  <a:pt x="308" y="7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2" name="Freeform 150"/>
          <p:cNvSpPr>
            <a:spLocks noEditPoints="1"/>
          </p:cNvSpPr>
          <p:nvPr/>
        </p:nvSpPr>
        <p:spPr bwMode="auto">
          <a:xfrm>
            <a:off x="6822459" y="4855602"/>
            <a:ext cx="231687" cy="231687"/>
          </a:xfrm>
          <a:custGeom>
            <a:avLst/>
            <a:gdLst>
              <a:gd name="T0" fmla="*/ 113 w 115"/>
              <a:gd name="T1" fmla="*/ 0 h 115"/>
              <a:gd name="T2" fmla="*/ 2 w 115"/>
              <a:gd name="T3" fmla="*/ 0 h 115"/>
              <a:gd name="T4" fmla="*/ 0 w 115"/>
              <a:gd name="T5" fmla="*/ 2 h 115"/>
              <a:gd name="T6" fmla="*/ 0 w 115"/>
              <a:gd name="T7" fmla="*/ 113 h 115"/>
              <a:gd name="T8" fmla="*/ 2 w 115"/>
              <a:gd name="T9" fmla="*/ 115 h 115"/>
              <a:gd name="T10" fmla="*/ 113 w 115"/>
              <a:gd name="T11" fmla="*/ 115 h 115"/>
              <a:gd name="T12" fmla="*/ 115 w 115"/>
              <a:gd name="T13" fmla="*/ 113 h 115"/>
              <a:gd name="T14" fmla="*/ 115 w 115"/>
              <a:gd name="T15" fmla="*/ 2 h 115"/>
              <a:gd name="T16" fmla="*/ 113 w 115"/>
              <a:gd name="T17" fmla="*/ 0 h 115"/>
              <a:gd name="T18" fmla="*/ 58 w 115"/>
              <a:gd name="T19" fmla="*/ 110 h 115"/>
              <a:gd name="T20" fmla="*/ 58 w 115"/>
              <a:gd name="T21" fmla="*/ 58 h 115"/>
              <a:gd name="T22" fmla="*/ 5 w 115"/>
              <a:gd name="T23" fmla="*/ 58 h 115"/>
              <a:gd name="T24" fmla="*/ 5 w 115"/>
              <a:gd name="T25" fmla="*/ 5 h 115"/>
              <a:gd name="T26" fmla="*/ 58 w 115"/>
              <a:gd name="T27" fmla="*/ 5 h 115"/>
              <a:gd name="T28" fmla="*/ 58 w 115"/>
              <a:gd name="T29" fmla="*/ 58 h 115"/>
              <a:gd name="T30" fmla="*/ 111 w 115"/>
              <a:gd name="T31" fmla="*/ 58 h 115"/>
              <a:gd name="T32" fmla="*/ 111 w 115"/>
              <a:gd name="T33" fmla="*/ 110 h 115"/>
              <a:gd name="T34" fmla="*/ 58 w 115"/>
              <a:gd name="T35" fmla="*/ 11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5" h="115">
                <a:moveTo>
                  <a:pt x="113" y="0"/>
                </a:moveTo>
                <a:cubicBezTo>
                  <a:pt x="2" y="0"/>
                  <a:pt x="2" y="0"/>
                  <a:pt x="2" y="0"/>
                </a:cubicBezTo>
                <a:cubicBezTo>
                  <a:pt x="1" y="0"/>
                  <a:pt x="0" y="1"/>
                  <a:pt x="0" y="2"/>
                </a:cubicBezTo>
                <a:cubicBezTo>
                  <a:pt x="0" y="113"/>
                  <a:pt x="0" y="113"/>
                  <a:pt x="0" y="113"/>
                </a:cubicBezTo>
                <a:cubicBezTo>
                  <a:pt x="0" y="114"/>
                  <a:pt x="1" y="115"/>
                  <a:pt x="2" y="115"/>
                </a:cubicBezTo>
                <a:cubicBezTo>
                  <a:pt x="113" y="115"/>
                  <a:pt x="113" y="115"/>
                  <a:pt x="113" y="115"/>
                </a:cubicBezTo>
                <a:cubicBezTo>
                  <a:pt x="114" y="115"/>
                  <a:pt x="115" y="114"/>
                  <a:pt x="115" y="113"/>
                </a:cubicBezTo>
                <a:cubicBezTo>
                  <a:pt x="115" y="2"/>
                  <a:pt x="115" y="2"/>
                  <a:pt x="115" y="2"/>
                </a:cubicBezTo>
                <a:cubicBezTo>
                  <a:pt x="115" y="1"/>
                  <a:pt x="114" y="0"/>
                  <a:pt x="113" y="0"/>
                </a:cubicBezTo>
                <a:close/>
                <a:moveTo>
                  <a:pt x="58" y="110"/>
                </a:moveTo>
                <a:cubicBezTo>
                  <a:pt x="58" y="58"/>
                  <a:pt x="58" y="58"/>
                  <a:pt x="58" y="58"/>
                </a:cubicBezTo>
                <a:cubicBezTo>
                  <a:pt x="5" y="58"/>
                  <a:pt x="5" y="58"/>
                  <a:pt x="5" y="58"/>
                </a:cubicBezTo>
                <a:cubicBezTo>
                  <a:pt x="5" y="5"/>
                  <a:pt x="5" y="5"/>
                  <a:pt x="5" y="5"/>
                </a:cubicBezTo>
                <a:cubicBezTo>
                  <a:pt x="58" y="5"/>
                  <a:pt x="58" y="5"/>
                  <a:pt x="58" y="5"/>
                </a:cubicBezTo>
                <a:cubicBezTo>
                  <a:pt x="58" y="58"/>
                  <a:pt x="58" y="58"/>
                  <a:pt x="58" y="58"/>
                </a:cubicBezTo>
                <a:cubicBezTo>
                  <a:pt x="111" y="58"/>
                  <a:pt x="111" y="58"/>
                  <a:pt x="111" y="58"/>
                </a:cubicBezTo>
                <a:cubicBezTo>
                  <a:pt x="111" y="110"/>
                  <a:pt x="111" y="110"/>
                  <a:pt x="111" y="110"/>
                </a:cubicBezTo>
                <a:lnTo>
                  <a:pt x="58" y="1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3" name="Freeform 151"/>
          <p:cNvSpPr>
            <a:spLocks noEditPoints="1"/>
          </p:cNvSpPr>
          <p:nvPr/>
        </p:nvSpPr>
        <p:spPr bwMode="auto">
          <a:xfrm>
            <a:off x="2460446" y="4851343"/>
            <a:ext cx="233390" cy="231687"/>
          </a:xfrm>
          <a:custGeom>
            <a:avLst/>
            <a:gdLst>
              <a:gd name="T0" fmla="*/ 114 w 116"/>
              <a:gd name="T1" fmla="*/ 0 h 115"/>
              <a:gd name="T2" fmla="*/ 3 w 116"/>
              <a:gd name="T3" fmla="*/ 0 h 115"/>
              <a:gd name="T4" fmla="*/ 0 w 116"/>
              <a:gd name="T5" fmla="*/ 2 h 115"/>
              <a:gd name="T6" fmla="*/ 0 w 116"/>
              <a:gd name="T7" fmla="*/ 113 h 115"/>
              <a:gd name="T8" fmla="*/ 3 w 116"/>
              <a:gd name="T9" fmla="*/ 115 h 115"/>
              <a:gd name="T10" fmla="*/ 114 w 116"/>
              <a:gd name="T11" fmla="*/ 115 h 115"/>
              <a:gd name="T12" fmla="*/ 116 w 116"/>
              <a:gd name="T13" fmla="*/ 113 h 115"/>
              <a:gd name="T14" fmla="*/ 116 w 116"/>
              <a:gd name="T15" fmla="*/ 2 h 115"/>
              <a:gd name="T16" fmla="*/ 114 w 116"/>
              <a:gd name="T17" fmla="*/ 0 h 115"/>
              <a:gd name="T18" fmla="*/ 58 w 116"/>
              <a:gd name="T19" fmla="*/ 110 h 115"/>
              <a:gd name="T20" fmla="*/ 58 w 116"/>
              <a:gd name="T21" fmla="*/ 57 h 115"/>
              <a:gd name="T22" fmla="*/ 5 w 116"/>
              <a:gd name="T23" fmla="*/ 57 h 115"/>
              <a:gd name="T24" fmla="*/ 5 w 116"/>
              <a:gd name="T25" fmla="*/ 4 h 115"/>
              <a:gd name="T26" fmla="*/ 58 w 116"/>
              <a:gd name="T27" fmla="*/ 4 h 115"/>
              <a:gd name="T28" fmla="*/ 58 w 116"/>
              <a:gd name="T29" fmla="*/ 57 h 115"/>
              <a:gd name="T30" fmla="*/ 111 w 116"/>
              <a:gd name="T31" fmla="*/ 57 h 115"/>
              <a:gd name="T32" fmla="*/ 111 w 116"/>
              <a:gd name="T33" fmla="*/ 110 h 115"/>
              <a:gd name="T34" fmla="*/ 58 w 116"/>
              <a:gd name="T35" fmla="*/ 11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6" h="115">
                <a:moveTo>
                  <a:pt x="114" y="0"/>
                </a:moveTo>
                <a:cubicBezTo>
                  <a:pt x="3" y="0"/>
                  <a:pt x="3" y="0"/>
                  <a:pt x="3" y="0"/>
                </a:cubicBezTo>
                <a:cubicBezTo>
                  <a:pt x="2" y="0"/>
                  <a:pt x="0" y="1"/>
                  <a:pt x="0" y="2"/>
                </a:cubicBezTo>
                <a:cubicBezTo>
                  <a:pt x="0" y="113"/>
                  <a:pt x="0" y="113"/>
                  <a:pt x="0" y="113"/>
                </a:cubicBezTo>
                <a:cubicBezTo>
                  <a:pt x="0" y="114"/>
                  <a:pt x="2" y="115"/>
                  <a:pt x="3" y="115"/>
                </a:cubicBezTo>
                <a:cubicBezTo>
                  <a:pt x="114" y="115"/>
                  <a:pt x="114" y="115"/>
                  <a:pt x="114" y="115"/>
                </a:cubicBezTo>
                <a:cubicBezTo>
                  <a:pt x="115" y="115"/>
                  <a:pt x="116" y="114"/>
                  <a:pt x="116" y="113"/>
                </a:cubicBezTo>
                <a:cubicBezTo>
                  <a:pt x="116" y="2"/>
                  <a:pt x="116" y="2"/>
                  <a:pt x="116" y="2"/>
                </a:cubicBezTo>
                <a:cubicBezTo>
                  <a:pt x="116" y="1"/>
                  <a:pt x="115" y="0"/>
                  <a:pt x="114" y="0"/>
                </a:cubicBezTo>
                <a:close/>
                <a:moveTo>
                  <a:pt x="58" y="110"/>
                </a:moveTo>
                <a:cubicBezTo>
                  <a:pt x="58" y="57"/>
                  <a:pt x="58" y="57"/>
                  <a:pt x="58" y="57"/>
                </a:cubicBezTo>
                <a:cubicBezTo>
                  <a:pt x="5" y="57"/>
                  <a:pt x="5" y="57"/>
                  <a:pt x="5" y="57"/>
                </a:cubicBezTo>
                <a:cubicBezTo>
                  <a:pt x="5" y="4"/>
                  <a:pt x="5" y="4"/>
                  <a:pt x="5" y="4"/>
                </a:cubicBezTo>
                <a:cubicBezTo>
                  <a:pt x="58" y="4"/>
                  <a:pt x="58" y="4"/>
                  <a:pt x="58" y="4"/>
                </a:cubicBezTo>
                <a:cubicBezTo>
                  <a:pt x="58" y="57"/>
                  <a:pt x="58" y="57"/>
                  <a:pt x="58" y="57"/>
                </a:cubicBezTo>
                <a:cubicBezTo>
                  <a:pt x="111" y="57"/>
                  <a:pt x="111" y="57"/>
                  <a:pt x="111" y="57"/>
                </a:cubicBezTo>
                <a:cubicBezTo>
                  <a:pt x="111" y="110"/>
                  <a:pt x="111" y="110"/>
                  <a:pt x="111" y="110"/>
                </a:cubicBezTo>
                <a:lnTo>
                  <a:pt x="58" y="11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4" name="Freeform 152"/>
          <p:cNvSpPr>
            <a:spLocks/>
          </p:cNvSpPr>
          <p:nvPr/>
        </p:nvSpPr>
        <p:spPr bwMode="auto">
          <a:xfrm>
            <a:off x="5348864" y="4445039"/>
            <a:ext cx="263203" cy="63884"/>
          </a:xfrm>
          <a:custGeom>
            <a:avLst/>
            <a:gdLst>
              <a:gd name="T0" fmla="*/ 309 w 309"/>
              <a:gd name="T1" fmla="*/ 75 h 75"/>
              <a:gd name="T2" fmla="*/ 0 w 309"/>
              <a:gd name="T3" fmla="*/ 75 h 75"/>
              <a:gd name="T4" fmla="*/ 0 w 309"/>
              <a:gd name="T5" fmla="*/ 0 h 75"/>
              <a:gd name="T6" fmla="*/ 35 w 309"/>
              <a:gd name="T7" fmla="*/ 0 h 75"/>
              <a:gd name="T8" fmla="*/ 35 w 309"/>
              <a:gd name="T9" fmla="*/ 40 h 75"/>
              <a:gd name="T10" fmla="*/ 274 w 309"/>
              <a:gd name="T11" fmla="*/ 40 h 75"/>
              <a:gd name="T12" fmla="*/ 274 w 309"/>
              <a:gd name="T13" fmla="*/ 0 h 75"/>
              <a:gd name="T14" fmla="*/ 309 w 309"/>
              <a:gd name="T15" fmla="*/ 0 h 75"/>
              <a:gd name="T16" fmla="*/ 309 w 309"/>
              <a:gd name="T17"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9" h="75">
                <a:moveTo>
                  <a:pt x="309" y="75"/>
                </a:moveTo>
                <a:lnTo>
                  <a:pt x="0" y="75"/>
                </a:lnTo>
                <a:lnTo>
                  <a:pt x="0" y="0"/>
                </a:lnTo>
                <a:lnTo>
                  <a:pt x="35" y="0"/>
                </a:lnTo>
                <a:lnTo>
                  <a:pt x="35" y="40"/>
                </a:lnTo>
                <a:lnTo>
                  <a:pt x="274" y="40"/>
                </a:lnTo>
                <a:lnTo>
                  <a:pt x="274" y="0"/>
                </a:lnTo>
                <a:lnTo>
                  <a:pt x="309" y="0"/>
                </a:lnTo>
                <a:lnTo>
                  <a:pt x="309" y="7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5" name="Oval 153"/>
          <p:cNvSpPr>
            <a:spLocks noChangeArrowheads="1"/>
          </p:cNvSpPr>
          <p:nvPr/>
        </p:nvSpPr>
        <p:spPr bwMode="auto">
          <a:xfrm>
            <a:off x="4474075" y="4428854"/>
            <a:ext cx="26406" cy="238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6" name="Oval 154"/>
          <p:cNvSpPr>
            <a:spLocks noChangeArrowheads="1"/>
          </p:cNvSpPr>
          <p:nvPr/>
        </p:nvSpPr>
        <p:spPr bwMode="auto">
          <a:xfrm>
            <a:off x="4526886" y="4428854"/>
            <a:ext cx="26406" cy="2385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7" name="Freeform 155"/>
          <p:cNvSpPr>
            <a:spLocks noEditPoints="1"/>
          </p:cNvSpPr>
          <p:nvPr/>
        </p:nvSpPr>
        <p:spPr bwMode="auto">
          <a:xfrm>
            <a:off x="4423820" y="4355600"/>
            <a:ext cx="177172" cy="241908"/>
          </a:xfrm>
          <a:custGeom>
            <a:avLst/>
            <a:gdLst>
              <a:gd name="T0" fmla="*/ 75 w 88"/>
              <a:gd name="T1" fmla="*/ 16 h 120"/>
              <a:gd name="T2" fmla="*/ 75 w 88"/>
              <a:gd name="T3" fmla="*/ 0 h 120"/>
              <a:gd name="T4" fmla="*/ 50 w 88"/>
              <a:gd name="T5" fmla="*/ 1 h 120"/>
              <a:gd name="T6" fmla="*/ 17 w 88"/>
              <a:gd name="T7" fmla="*/ 28 h 120"/>
              <a:gd name="T8" fmla="*/ 0 w 88"/>
              <a:gd name="T9" fmla="*/ 35 h 120"/>
              <a:gd name="T10" fmla="*/ 5 w 88"/>
              <a:gd name="T11" fmla="*/ 46 h 120"/>
              <a:gd name="T12" fmla="*/ 14 w 88"/>
              <a:gd name="T13" fmla="*/ 85 h 120"/>
              <a:gd name="T14" fmla="*/ 28 w 88"/>
              <a:gd name="T15" fmla="*/ 103 h 120"/>
              <a:gd name="T16" fmla="*/ 25 w 88"/>
              <a:gd name="T17" fmla="*/ 107 h 120"/>
              <a:gd name="T18" fmla="*/ 15 w 88"/>
              <a:gd name="T19" fmla="*/ 119 h 120"/>
              <a:gd name="T20" fmla="*/ 72 w 88"/>
              <a:gd name="T21" fmla="*/ 120 h 120"/>
              <a:gd name="T22" fmla="*/ 69 w 88"/>
              <a:gd name="T23" fmla="*/ 110 h 120"/>
              <a:gd name="T24" fmla="*/ 59 w 88"/>
              <a:gd name="T25" fmla="*/ 107 h 120"/>
              <a:gd name="T26" fmla="*/ 61 w 88"/>
              <a:gd name="T27" fmla="*/ 103 h 120"/>
              <a:gd name="T28" fmla="*/ 63 w 88"/>
              <a:gd name="T29" fmla="*/ 69 h 120"/>
              <a:gd name="T30" fmla="*/ 84 w 88"/>
              <a:gd name="T31" fmla="*/ 46 h 120"/>
              <a:gd name="T32" fmla="*/ 88 w 88"/>
              <a:gd name="T33" fmla="*/ 35 h 120"/>
              <a:gd name="T34" fmla="*/ 71 w 88"/>
              <a:gd name="T35" fmla="*/ 28 h 120"/>
              <a:gd name="T36" fmla="*/ 52 w 88"/>
              <a:gd name="T37" fmla="*/ 5 h 120"/>
              <a:gd name="T38" fmla="*/ 75 w 88"/>
              <a:gd name="T39" fmla="*/ 3 h 120"/>
              <a:gd name="T40" fmla="*/ 75 w 88"/>
              <a:gd name="T41" fmla="*/ 13 h 120"/>
              <a:gd name="T42" fmla="*/ 75 w 88"/>
              <a:gd name="T43" fmla="*/ 3 h 120"/>
              <a:gd name="T44" fmla="*/ 10 w 88"/>
              <a:gd name="T45" fmla="*/ 28 h 120"/>
              <a:gd name="T46" fmla="*/ 6 w 88"/>
              <a:gd name="T47" fmla="*/ 40 h 120"/>
              <a:gd name="T48" fmla="*/ 59 w 88"/>
              <a:gd name="T49" fmla="*/ 70 h 120"/>
              <a:gd name="T50" fmla="*/ 44 w 88"/>
              <a:gd name="T51" fmla="*/ 117 h 120"/>
              <a:gd name="T52" fmla="*/ 29 w 88"/>
              <a:gd name="T53" fmla="*/ 70 h 120"/>
              <a:gd name="T54" fmla="*/ 59 w 88"/>
              <a:gd name="T55" fmla="*/ 70 h 120"/>
              <a:gd name="T56" fmla="*/ 25 w 88"/>
              <a:gd name="T57" fmla="*/ 72 h 120"/>
              <a:gd name="T58" fmla="*/ 17 w 88"/>
              <a:gd name="T59" fmla="*/ 85 h 120"/>
              <a:gd name="T60" fmla="*/ 25 w 88"/>
              <a:gd name="T61" fmla="*/ 110 h 120"/>
              <a:gd name="T62" fmla="*/ 35 w 88"/>
              <a:gd name="T63" fmla="*/ 117 h 120"/>
              <a:gd name="T64" fmla="*/ 21 w 88"/>
              <a:gd name="T65" fmla="*/ 112 h 120"/>
              <a:gd name="T66" fmla="*/ 67 w 88"/>
              <a:gd name="T67" fmla="*/ 112 h 120"/>
              <a:gd name="T68" fmla="*/ 53 w 88"/>
              <a:gd name="T69" fmla="*/ 117 h 120"/>
              <a:gd name="T70" fmla="*/ 63 w 88"/>
              <a:gd name="T71" fmla="*/ 110 h 120"/>
              <a:gd name="T72" fmla="*/ 61 w 88"/>
              <a:gd name="T73" fmla="*/ 99 h 120"/>
              <a:gd name="T74" fmla="*/ 70 w 88"/>
              <a:gd name="T75" fmla="*/ 85 h 120"/>
              <a:gd name="T76" fmla="*/ 8 w 88"/>
              <a:gd name="T77" fmla="*/ 46 h 120"/>
              <a:gd name="T78" fmla="*/ 80 w 88"/>
              <a:gd name="T79" fmla="*/ 46 h 120"/>
              <a:gd name="T80" fmla="*/ 78 w 88"/>
              <a:gd name="T81" fmla="*/ 28 h 120"/>
              <a:gd name="T82" fmla="*/ 82 w 88"/>
              <a:gd name="T83" fmla="*/ 40 h 120"/>
              <a:gd name="T84" fmla="*/ 78 w 88"/>
              <a:gd name="T85" fmla="*/ 2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 h="120">
                <a:moveTo>
                  <a:pt x="66" y="8"/>
                </a:moveTo>
                <a:cubicBezTo>
                  <a:pt x="66" y="13"/>
                  <a:pt x="70" y="16"/>
                  <a:pt x="75" y="16"/>
                </a:cubicBezTo>
                <a:cubicBezTo>
                  <a:pt x="79" y="16"/>
                  <a:pt x="83" y="13"/>
                  <a:pt x="83" y="8"/>
                </a:cubicBezTo>
                <a:cubicBezTo>
                  <a:pt x="83" y="4"/>
                  <a:pt x="79" y="0"/>
                  <a:pt x="75" y="0"/>
                </a:cubicBezTo>
                <a:cubicBezTo>
                  <a:pt x="71" y="0"/>
                  <a:pt x="68" y="2"/>
                  <a:pt x="67" y="5"/>
                </a:cubicBezTo>
                <a:cubicBezTo>
                  <a:pt x="50" y="1"/>
                  <a:pt x="50" y="1"/>
                  <a:pt x="50" y="1"/>
                </a:cubicBezTo>
                <a:cubicBezTo>
                  <a:pt x="43" y="21"/>
                  <a:pt x="43" y="21"/>
                  <a:pt x="43" y="21"/>
                </a:cubicBezTo>
                <a:cubicBezTo>
                  <a:pt x="33" y="21"/>
                  <a:pt x="24" y="24"/>
                  <a:pt x="17" y="28"/>
                </a:cubicBezTo>
                <a:cubicBezTo>
                  <a:pt x="15" y="26"/>
                  <a:pt x="13" y="25"/>
                  <a:pt x="10" y="25"/>
                </a:cubicBezTo>
                <a:cubicBezTo>
                  <a:pt x="5" y="25"/>
                  <a:pt x="0" y="30"/>
                  <a:pt x="0" y="35"/>
                </a:cubicBezTo>
                <a:cubicBezTo>
                  <a:pt x="0" y="39"/>
                  <a:pt x="2" y="42"/>
                  <a:pt x="5" y="43"/>
                </a:cubicBezTo>
                <a:cubicBezTo>
                  <a:pt x="5" y="44"/>
                  <a:pt x="5" y="45"/>
                  <a:pt x="5" y="46"/>
                </a:cubicBezTo>
                <a:cubicBezTo>
                  <a:pt x="5" y="56"/>
                  <a:pt x="13" y="64"/>
                  <a:pt x="25" y="69"/>
                </a:cubicBezTo>
                <a:cubicBezTo>
                  <a:pt x="18" y="73"/>
                  <a:pt x="14" y="79"/>
                  <a:pt x="14" y="85"/>
                </a:cubicBezTo>
                <a:cubicBezTo>
                  <a:pt x="14" y="93"/>
                  <a:pt x="19" y="99"/>
                  <a:pt x="27" y="103"/>
                </a:cubicBezTo>
                <a:cubicBezTo>
                  <a:pt x="28" y="103"/>
                  <a:pt x="28" y="103"/>
                  <a:pt x="28" y="103"/>
                </a:cubicBezTo>
                <a:cubicBezTo>
                  <a:pt x="28" y="104"/>
                  <a:pt x="28" y="106"/>
                  <a:pt x="29" y="107"/>
                </a:cubicBezTo>
                <a:cubicBezTo>
                  <a:pt x="25" y="107"/>
                  <a:pt x="25" y="107"/>
                  <a:pt x="25" y="107"/>
                </a:cubicBezTo>
                <a:cubicBezTo>
                  <a:pt x="23" y="107"/>
                  <a:pt x="20" y="108"/>
                  <a:pt x="18" y="110"/>
                </a:cubicBezTo>
                <a:cubicBezTo>
                  <a:pt x="15" y="113"/>
                  <a:pt x="15" y="118"/>
                  <a:pt x="15" y="119"/>
                </a:cubicBezTo>
                <a:cubicBezTo>
                  <a:pt x="16" y="120"/>
                  <a:pt x="16" y="120"/>
                  <a:pt x="16" y="120"/>
                </a:cubicBezTo>
                <a:cubicBezTo>
                  <a:pt x="72" y="120"/>
                  <a:pt x="72" y="120"/>
                  <a:pt x="72" y="120"/>
                </a:cubicBezTo>
                <a:cubicBezTo>
                  <a:pt x="72" y="119"/>
                  <a:pt x="72" y="119"/>
                  <a:pt x="72" y="119"/>
                </a:cubicBezTo>
                <a:cubicBezTo>
                  <a:pt x="72" y="118"/>
                  <a:pt x="72" y="113"/>
                  <a:pt x="69" y="110"/>
                </a:cubicBezTo>
                <a:cubicBezTo>
                  <a:pt x="67" y="108"/>
                  <a:pt x="65" y="107"/>
                  <a:pt x="63" y="107"/>
                </a:cubicBezTo>
                <a:cubicBezTo>
                  <a:pt x="59" y="107"/>
                  <a:pt x="59" y="107"/>
                  <a:pt x="59" y="107"/>
                </a:cubicBezTo>
                <a:cubicBezTo>
                  <a:pt x="60" y="106"/>
                  <a:pt x="60" y="104"/>
                  <a:pt x="61" y="102"/>
                </a:cubicBezTo>
                <a:cubicBezTo>
                  <a:pt x="61" y="103"/>
                  <a:pt x="61" y="103"/>
                  <a:pt x="61" y="103"/>
                </a:cubicBezTo>
                <a:cubicBezTo>
                  <a:pt x="69" y="99"/>
                  <a:pt x="73" y="92"/>
                  <a:pt x="73" y="85"/>
                </a:cubicBezTo>
                <a:cubicBezTo>
                  <a:pt x="73" y="79"/>
                  <a:pt x="70" y="73"/>
                  <a:pt x="63" y="69"/>
                </a:cubicBezTo>
                <a:cubicBezTo>
                  <a:pt x="63" y="69"/>
                  <a:pt x="63" y="69"/>
                  <a:pt x="63" y="69"/>
                </a:cubicBezTo>
                <a:cubicBezTo>
                  <a:pt x="75" y="64"/>
                  <a:pt x="84" y="56"/>
                  <a:pt x="84" y="46"/>
                </a:cubicBezTo>
                <a:cubicBezTo>
                  <a:pt x="84" y="45"/>
                  <a:pt x="83" y="44"/>
                  <a:pt x="83" y="43"/>
                </a:cubicBezTo>
                <a:cubicBezTo>
                  <a:pt x="86" y="42"/>
                  <a:pt x="88" y="39"/>
                  <a:pt x="88" y="35"/>
                </a:cubicBezTo>
                <a:cubicBezTo>
                  <a:pt x="88" y="30"/>
                  <a:pt x="84" y="25"/>
                  <a:pt x="78" y="25"/>
                </a:cubicBezTo>
                <a:cubicBezTo>
                  <a:pt x="75" y="25"/>
                  <a:pt x="73" y="26"/>
                  <a:pt x="71" y="28"/>
                </a:cubicBezTo>
                <a:cubicBezTo>
                  <a:pt x="65" y="24"/>
                  <a:pt x="56" y="21"/>
                  <a:pt x="46" y="21"/>
                </a:cubicBezTo>
                <a:cubicBezTo>
                  <a:pt x="52" y="5"/>
                  <a:pt x="52" y="5"/>
                  <a:pt x="52" y="5"/>
                </a:cubicBezTo>
                <a:lnTo>
                  <a:pt x="66" y="8"/>
                </a:lnTo>
                <a:close/>
                <a:moveTo>
                  <a:pt x="75" y="3"/>
                </a:moveTo>
                <a:cubicBezTo>
                  <a:pt x="78" y="3"/>
                  <a:pt x="80" y="5"/>
                  <a:pt x="80" y="8"/>
                </a:cubicBezTo>
                <a:cubicBezTo>
                  <a:pt x="80" y="11"/>
                  <a:pt x="78" y="13"/>
                  <a:pt x="75" y="13"/>
                </a:cubicBezTo>
                <a:cubicBezTo>
                  <a:pt x="72" y="13"/>
                  <a:pt x="70" y="11"/>
                  <a:pt x="70" y="8"/>
                </a:cubicBezTo>
                <a:cubicBezTo>
                  <a:pt x="70" y="5"/>
                  <a:pt x="72" y="3"/>
                  <a:pt x="75" y="3"/>
                </a:cubicBezTo>
                <a:close/>
                <a:moveTo>
                  <a:pt x="3" y="35"/>
                </a:moveTo>
                <a:cubicBezTo>
                  <a:pt x="3" y="31"/>
                  <a:pt x="6" y="28"/>
                  <a:pt x="10" y="28"/>
                </a:cubicBezTo>
                <a:cubicBezTo>
                  <a:pt x="12" y="28"/>
                  <a:pt x="13" y="29"/>
                  <a:pt x="14" y="30"/>
                </a:cubicBezTo>
                <a:cubicBezTo>
                  <a:pt x="10" y="33"/>
                  <a:pt x="7" y="36"/>
                  <a:pt x="6" y="40"/>
                </a:cubicBezTo>
                <a:cubicBezTo>
                  <a:pt x="4" y="39"/>
                  <a:pt x="3" y="37"/>
                  <a:pt x="3" y="35"/>
                </a:cubicBezTo>
                <a:close/>
                <a:moveTo>
                  <a:pt x="59" y="70"/>
                </a:moveTo>
                <a:cubicBezTo>
                  <a:pt x="59" y="70"/>
                  <a:pt x="60" y="71"/>
                  <a:pt x="60" y="71"/>
                </a:cubicBezTo>
                <a:cubicBezTo>
                  <a:pt x="60" y="99"/>
                  <a:pt x="57" y="117"/>
                  <a:pt x="44" y="117"/>
                </a:cubicBezTo>
                <a:cubicBezTo>
                  <a:pt x="30" y="117"/>
                  <a:pt x="28" y="95"/>
                  <a:pt x="28" y="70"/>
                </a:cubicBezTo>
                <a:cubicBezTo>
                  <a:pt x="28" y="70"/>
                  <a:pt x="29" y="70"/>
                  <a:pt x="29" y="70"/>
                </a:cubicBezTo>
                <a:cubicBezTo>
                  <a:pt x="34" y="71"/>
                  <a:pt x="39" y="72"/>
                  <a:pt x="44" y="72"/>
                </a:cubicBezTo>
                <a:cubicBezTo>
                  <a:pt x="49" y="72"/>
                  <a:pt x="54" y="71"/>
                  <a:pt x="59" y="70"/>
                </a:cubicBezTo>
                <a:close/>
                <a:moveTo>
                  <a:pt x="17" y="85"/>
                </a:moveTo>
                <a:cubicBezTo>
                  <a:pt x="17" y="80"/>
                  <a:pt x="20" y="76"/>
                  <a:pt x="25" y="72"/>
                </a:cubicBezTo>
                <a:cubicBezTo>
                  <a:pt x="25" y="82"/>
                  <a:pt x="25" y="92"/>
                  <a:pt x="27" y="99"/>
                </a:cubicBezTo>
                <a:cubicBezTo>
                  <a:pt x="21" y="96"/>
                  <a:pt x="17" y="91"/>
                  <a:pt x="17" y="85"/>
                </a:cubicBezTo>
                <a:close/>
                <a:moveTo>
                  <a:pt x="21" y="112"/>
                </a:moveTo>
                <a:cubicBezTo>
                  <a:pt x="22" y="111"/>
                  <a:pt x="23" y="110"/>
                  <a:pt x="25" y="110"/>
                </a:cubicBezTo>
                <a:cubicBezTo>
                  <a:pt x="30" y="110"/>
                  <a:pt x="30" y="110"/>
                  <a:pt x="30" y="110"/>
                </a:cubicBezTo>
                <a:cubicBezTo>
                  <a:pt x="31" y="113"/>
                  <a:pt x="33" y="115"/>
                  <a:pt x="35" y="117"/>
                </a:cubicBezTo>
                <a:cubicBezTo>
                  <a:pt x="19" y="117"/>
                  <a:pt x="19" y="117"/>
                  <a:pt x="19" y="117"/>
                </a:cubicBezTo>
                <a:cubicBezTo>
                  <a:pt x="19" y="116"/>
                  <a:pt x="19" y="114"/>
                  <a:pt x="21" y="112"/>
                </a:cubicBezTo>
                <a:close/>
                <a:moveTo>
                  <a:pt x="63" y="110"/>
                </a:moveTo>
                <a:cubicBezTo>
                  <a:pt x="64" y="110"/>
                  <a:pt x="66" y="111"/>
                  <a:pt x="67" y="112"/>
                </a:cubicBezTo>
                <a:cubicBezTo>
                  <a:pt x="68" y="113"/>
                  <a:pt x="69" y="116"/>
                  <a:pt x="69" y="117"/>
                </a:cubicBezTo>
                <a:cubicBezTo>
                  <a:pt x="53" y="117"/>
                  <a:pt x="53" y="117"/>
                  <a:pt x="53" y="117"/>
                </a:cubicBezTo>
                <a:cubicBezTo>
                  <a:pt x="55" y="115"/>
                  <a:pt x="57" y="113"/>
                  <a:pt x="58" y="110"/>
                </a:cubicBezTo>
                <a:lnTo>
                  <a:pt x="63" y="110"/>
                </a:lnTo>
                <a:close/>
                <a:moveTo>
                  <a:pt x="70" y="85"/>
                </a:moveTo>
                <a:cubicBezTo>
                  <a:pt x="70" y="91"/>
                  <a:pt x="67" y="95"/>
                  <a:pt x="61" y="99"/>
                </a:cubicBezTo>
                <a:cubicBezTo>
                  <a:pt x="63" y="91"/>
                  <a:pt x="63" y="82"/>
                  <a:pt x="63" y="73"/>
                </a:cubicBezTo>
                <a:cubicBezTo>
                  <a:pt x="68" y="76"/>
                  <a:pt x="70" y="81"/>
                  <a:pt x="70" y="85"/>
                </a:cubicBezTo>
                <a:close/>
                <a:moveTo>
                  <a:pt x="44" y="69"/>
                </a:moveTo>
                <a:cubicBezTo>
                  <a:pt x="24" y="69"/>
                  <a:pt x="8" y="59"/>
                  <a:pt x="8" y="46"/>
                </a:cubicBezTo>
                <a:cubicBezTo>
                  <a:pt x="8" y="34"/>
                  <a:pt x="24" y="24"/>
                  <a:pt x="44" y="24"/>
                </a:cubicBezTo>
                <a:cubicBezTo>
                  <a:pt x="64" y="24"/>
                  <a:pt x="80" y="34"/>
                  <a:pt x="80" y="46"/>
                </a:cubicBezTo>
                <a:cubicBezTo>
                  <a:pt x="80" y="59"/>
                  <a:pt x="64" y="69"/>
                  <a:pt x="44" y="69"/>
                </a:cubicBezTo>
                <a:close/>
                <a:moveTo>
                  <a:pt x="78" y="28"/>
                </a:moveTo>
                <a:cubicBezTo>
                  <a:pt x="82" y="28"/>
                  <a:pt x="85" y="31"/>
                  <a:pt x="85" y="35"/>
                </a:cubicBezTo>
                <a:cubicBezTo>
                  <a:pt x="85" y="37"/>
                  <a:pt x="84" y="39"/>
                  <a:pt x="82" y="40"/>
                </a:cubicBezTo>
                <a:cubicBezTo>
                  <a:pt x="81" y="36"/>
                  <a:pt x="78" y="33"/>
                  <a:pt x="74" y="30"/>
                </a:cubicBezTo>
                <a:cubicBezTo>
                  <a:pt x="75" y="29"/>
                  <a:pt x="77" y="28"/>
                  <a:pt x="78" y="2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8" name="Freeform 156"/>
          <p:cNvSpPr>
            <a:spLocks/>
          </p:cNvSpPr>
          <p:nvPr/>
        </p:nvSpPr>
        <p:spPr bwMode="auto">
          <a:xfrm>
            <a:off x="4482594" y="4467185"/>
            <a:ext cx="60477" cy="15332"/>
          </a:xfrm>
          <a:custGeom>
            <a:avLst/>
            <a:gdLst>
              <a:gd name="T0" fmla="*/ 27 w 30"/>
              <a:gd name="T1" fmla="*/ 1 h 8"/>
              <a:gd name="T2" fmla="*/ 15 w 30"/>
              <a:gd name="T3" fmla="*/ 5 h 8"/>
              <a:gd name="T4" fmla="*/ 3 w 30"/>
              <a:gd name="T5" fmla="*/ 1 h 8"/>
              <a:gd name="T6" fmla="*/ 1 w 30"/>
              <a:gd name="T7" fmla="*/ 1 h 8"/>
              <a:gd name="T8" fmla="*/ 1 w 30"/>
              <a:gd name="T9" fmla="*/ 3 h 8"/>
              <a:gd name="T10" fmla="*/ 15 w 30"/>
              <a:gd name="T11" fmla="*/ 8 h 8"/>
              <a:gd name="T12" fmla="*/ 30 w 30"/>
              <a:gd name="T13" fmla="*/ 3 h 8"/>
              <a:gd name="T14" fmla="*/ 30 w 30"/>
              <a:gd name="T15" fmla="*/ 1 h 8"/>
              <a:gd name="T16" fmla="*/ 27 w 30"/>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8">
                <a:moveTo>
                  <a:pt x="27" y="1"/>
                </a:moveTo>
                <a:cubicBezTo>
                  <a:pt x="27" y="1"/>
                  <a:pt x="24" y="5"/>
                  <a:pt x="15" y="5"/>
                </a:cubicBezTo>
                <a:cubicBezTo>
                  <a:pt x="6" y="5"/>
                  <a:pt x="3" y="1"/>
                  <a:pt x="3" y="1"/>
                </a:cubicBezTo>
                <a:cubicBezTo>
                  <a:pt x="2" y="0"/>
                  <a:pt x="1" y="0"/>
                  <a:pt x="1" y="1"/>
                </a:cubicBezTo>
                <a:cubicBezTo>
                  <a:pt x="0" y="2"/>
                  <a:pt x="0" y="2"/>
                  <a:pt x="1" y="3"/>
                </a:cubicBezTo>
                <a:cubicBezTo>
                  <a:pt x="1" y="3"/>
                  <a:pt x="5" y="8"/>
                  <a:pt x="15" y="8"/>
                </a:cubicBezTo>
                <a:cubicBezTo>
                  <a:pt x="25" y="8"/>
                  <a:pt x="30" y="3"/>
                  <a:pt x="30" y="3"/>
                </a:cubicBezTo>
                <a:cubicBezTo>
                  <a:pt x="30" y="3"/>
                  <a:pt x="30" y="2"/>
                  <a:pt x="30" y="1"/>
                </a:cubicBezTo>
                <a:cubicBezTo>
                  <a:pt x="29" y="0"/>
                  <a:pt x="28" y="0"/>
                  <a:pt x="27"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14" name="Group 13"/>
          <p:cNvGrpSpPr/>
          <p:nvPr/>
        </p:nvGrpSpPr>
        <p:grpSpPr>
          <a:xfrm>
            <a:off x="9140175" y="2292567"/>
            <a:ext cx="435264" cy="435264"/>
            <a:chOff x="7616175" y="2292567"/>
            <a:chExt cx="435264" cy="435264"/>
          </a:xfrm>
        </p:grpSpPr>
        <p:sp>
          <p:nvSpPr>
            <p:cNvPr id="640" name="Oval 83"/>
            <p:cNvSpPr>
              <a:spLocks noChangeArrowheads="1"/>
            </p:cNvSpPr>
            <p:nvPr/>
          </p:nvSpPr>
          <p:spPr bwMode="auto">
            <a:xfrm>
              <a:off x="7616175" y="2292567"/>
              <a:ext cx="435264" cy="435264"/>
            </a:xfrm>
            <a:prstGeom prst="ellipse">
              <a:avLst/>
            </a:prstGeom>
            <a:solidFill>
              <a:srgbClr val="FF00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09" name="Oval 157"/>
            <p:cNvSpPr>
              <a:spLocks noChangeArrowheads="1"/>
            </p:cNvSpPr>
            <p:nvPr/>
          </p:nvSpPr>
          <p:spPr bwMode="auto">
            <a:xfrm>
              <a:off x="7704762" y="2453556"/>
              <a:ext cx="114992" cy="1132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10" name="Oval 158"/>
            <p:cNvSpPr>
              <a:spLocks noChangeArrowheads="1"/>
            </p:cNvSpPr>
            <p:nvPr/>
          </p:nvSpPr>
          <p:spPr bwMode="auto">
            <a:xfrm>
              <a:off x="7847862" y="2453556"/>
              <a:ext cx="114992" cy="1132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
        <p:nvSpPr>
          <p:cNvPr id="711" name="Freeform 159"/>
          <p:cNvSpPr>
            <a:spLocks noEditPoints="1"/>
          </p:cNvSpPr>
          <p:nvPr/>
        </p:nvSpPr>
        <p:spPr bwMode="auto">
          <a:xfrm>
            <a:off x="9718540" y="2389671"/>
            <a:ext cx="241908" cy="241908"/>
          </a:xfrm>
          <a:custGeom>
            <a:avLst/>
            <a:gdLst>
              <a:gd name="T0" fmla="*/ 118 w 120"/>
              <a:gd name="T1" fmla="*/ 61 h 120"/>
              <a:gd name="T2" fmla="*/ 61 w 120"/>
              <a:gd name="T3" fmla="*/ 4 h 120"/>
              <a:gd name="T4" fmla="*/ 51 w 120"/>
              <a:gd name="T5" fmla="*/ 5 h 120"/>
              <a:gd name="T6" fmla="*/ 34 w 120"/>
              <a:gd name="T7" fmla="*/ 0 h 120"/>
              <a:gd name="T8" fmla="*/ 0 w 120"/>
              <a:gd name="T9" fmla="*/ 33 h 120"/>
              <a:gd name="T10" fmla="*/ 5 w 120"/>
              <a:gd name="T11" fmla="*/ 49 h 120"/>
              <a:gd name="T12" fmla="*/ 4 w 120"/>
              <a:gd name="T13" fmla="*/ 61 h 120"/>
              <a:gd name="T14" fmla="*/ 61 w 120"/>
              <a:gd name="T15" fmla="*/ 117 h 120"/>
              <a:gd name="T16" fmla="*/ 72 w 120"/>
              <a:gd name="T17" fmla="*/ 116 h 120"/>
              <a:gd name="T18" fmla="*/ 87 w 120"/>
              <a:gd name="T19" fmla="*/ 120 h 120"/>
              <a:gd name="T20" fmla="*/ 120 w 120"/>
              <a:gd name="T21" fmla="*/ 87 h 120"/>
              <a:gd name="T22" fmla="*/ 117 w 120"/>
              <a:gd name="T23" fmla="*/ 73 h 120"/>
              <a:gd name="T24" fmla="*/ 118 w 120"/>
              <a:gd name="T25" fmla="*/ 61 h 120"/>
              <a:gd name="T26" fmla="*/ 90 w 120"/>
              <a:gd name="T27" fmla="*/ 88 h 120"/>
              <a:gd name="T28" fmla="*/ 79 w 120"/>
              <a:gd name="T29" fmla="*/ 96 h 120"/>
              <a:gd name="T30" fmla="*/ 61 w 120"/>
              <a:gd name="T31" fmla="*/ 100 h 120"/>
              <a:gd name="T32" fmla="*/ 40 w 120"/>
              <a:gd name="T33" fmla="*/ 95 h 120"/>
              <a:gd name="T34" fmla="*/ 31 w 120"/>
              <a:gd name="T35" fmla="*/ 87 h 120"/>
              <a:gd name="T36" fmla="*/ 27 w 120"/>
              <a:gd name="T37" fmla="*/ 77 h 120"/>
              <a:gd name="T38" fmla="*/ 30 w 120"/>
              <a:gd name="T39" fmla="*/ 72 h 120"/>
              <a:gd name="T40" fmla="*/ 36 w 120"/>
              <a:gd name="T41" fmla="*/ 69 h 120"/>
              <a:gd name="T42" fmla="*/ 41 w 120"/>
              <a:gd name="T43" fmla="*/ 71 h 120"/>
              <a:gd name="T44" fmla="*/ 44 w 120"/>
              <a:gd name="T45" fmla="*/ 76 h 120"/>
              <a:gd name="T46" fmla="*/ 47 w 120"/>
              <a:gd name="T47" fmla="*/ 82 h 120"/>
              <a:gd name="T48" fmla="*/ 52 w 120"/>
              <a:gd name="T49" fmla="*/ 85 h 120"/>
              <a:gd name="T50" fmla="*/ 61 w 120"/>
              <a:gd name="T51" fmla="*/ 87 h 120"/>
              <a:gd name="T52" fmla="*/ 72 w 120"/>
              <a:gd name="T53" fmla="*/ 84 h 120"/>
              <a:gd name="T54" fmla="*/ 76 w 120"/>
              <a:gd name="T55" fmla="*/ 77 h 120"/>
              <a:gd name="T56" fmla="*/ 74 w 120"/>
              <a:gd name="T57" fmla="*/ 71 h 120"/>
              <a:gd name="T58" fmla="*/ 68 w 120"/>
              <a:gd name="T59" fmla="*/ 68 h 120"/>
              <a:gd name="T60" fmla="*/ 57 w 120"/>
              <a:gd name="T61" fmla="*/ 66 h 120"/>
              <a:gd name="T62" fmla="*/ 42 w 120"/>
              <a:gd name="T63" fmla="*/ 61 h 120"/>
              <a:gd name="T64" fmla="*/ 33 w 120"/>
              <a:gd name="T65" fmla="*/ 54 h 120"/>
              <a:gd name="T66" fmla="*/ 29 w 120"/>
              <a:gd name="T67" fmla="*/ 43 h 120"/>
              <a:gd name="T68" fmla="*/ 33 w 120"/>
              <a:gd name="T69" fmla="*/ 31 h 120"/>
              <a:gd name="T70" fmla="*/ 44 w 120"/>
              <a:gd name="T71" fmla="*/ 24 h 120"/>
              <a:gd name="T72" fmla="*/ 61 w 120"/>
              <a:gd name="T73" fmla="*/ 21 h 120"/>
              <a:gd name="T74" fmla="*/ 74 w 120"/>
              <a:gd name="T75" fmla="*/ 23 h 120"/>
              <a:gd name="T76" fmla="*/ 84 w 120"/>
              <a:gd name="T77" fmla="*/ 27 h 120"/>
              <a:gd name="T78" fmla="*/ 89 w 120"/>
              <a:gd name="T79" fmla="*/ 34 h 120"/>
              <a:gd name="T80" fmla="*/ 91 w 120"/>
              <a:gd name="T81" fmla="*/ 40 h 120"/>
              <a:gd name="T82" fmla="*/ 89 w 120"/>
              <a:gd name="T83" fmla="*/ 45 h 120"/>
              <a:gd name="T84" fmla="*/ 83 w 120"/>
              <a:gd name="T85" fmla="*/ 48 h 120"/>
              <a:gd name="T86" fmla="*/ 78 w 120"/>
              <a:gd name="T87" fmla="*/ 46 h 120"/>
              <a:gd name="T88" fmla="*/ 74 w 120"/>
              <a:gd name="T89" fmla="*/ 42 h 120"/>
              <a:gd name="T90" fmla="*/ 69 w 120"/>
              <a:gd name="T91" fmla="*/ 36 h 120"/>
              <a:gd name="T92" fmla="*/ 60 w 120"/>
              <a:gd name="T93" fmla="*/ 33 h 120"/>
              <a:gd name="T94" fmla="*/ 50 w 120"/>
              <a:gd name="T95" fmla="*/ 36 h 120"/>
              <a:gd name="T96" fmla="*/ 46 w 120"/>
              <a:gd name="T97" fmla="*/ 41 h 120"/>
              <a:gd name="T98" fmla="*/ 47 w 120"/>
              <a:gd name="T99" fmla="*/ 45 h 120"/>
              <a:gd name="T100" fmla="*/ 51 w 120"/>
              <a:gd name="T101" fmla="*/ 47 h 120"/>
              <a:gd name="T102" fmla="*/ 55 w 120"/>
              <a:gd name="T103" fmla="*/ 49 h 120"/>
              <a:gd name="T104" fmla="*/ 63 w 120"/>
              <a:gd name="T105" fmla="*/ 51 h 120"/>
              <a:gd name="T106" fmla="*/ 76 w 120"/>
              <a:gd name="T107" fmla="*/ 54 h 120"/>
              <a:gd name="T108" fmla="*/ 86 w 120"/>
              <a:gd name="T109" fmla="*/ 58 h 120"/>
              <a:gd name="T110" fmla="*/ 92 w 120"/>
              <a:gd name="T111" fmla="*/ 65 h 120"/>
              <a:gd name="T112" fmla="*/ 94 w 120"/>
              <a:gd name="T113" fmla="*/ 75 h 120"/>
              <a:gd name="T114" fmla="*/ 90 w 120"/>
              <a:gd name="T115" fmla="*/ 8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0" h="120">
                <a:moveTo>
                  <a:pt x="118" y="61"/>
                </a:moveTo>
                <a:cubicBezTo>
                  <a:pt x="118" y="30"/>
                  <a:pt x="93" y="4"/>
                  <a:pt x="61" y="4"/>
                </a:cubicBezTo>
                <a:cubicBezTo>
                  <a:pt x="58" y="4"/>
                  <a:pt x="55" y="5"/>
                  <a:pt x="51" y="5"/>
                </a:cubicBezTo>
                <a:cubicBezTo>
                  <a:pt x="46" y="2"/>
                  <a:pt x="40" y="0"/>
                  <a:pt x="34" y="0"/>
                </a:cubicBezTo>
                <a:cubicBezTo>
                  <a:pt x="15" y="0"/>
                  <a:pt x="0" y="15"/>
                  <a:pt x="0" y="33"/>
                </a:cubicBezTo>
                <a:cubicBezTo>
                  <a:pt x="0" y="39"/>
                  <a:pt x="2" y="45"/>
                  <a:pt x="5" y="49"/>
                </a:cubicBezTo>
                <a:cubicBezTo>
                  <a:pt x="4" y="53"/>
                  <a:pt x="4" y="57"/>
                  <a:pt x="4" y="61"/>
                </a:cubicBezTo>
                <a:cubicBezTo>
                  <a:pt x="4" y="92"/>
                  <a:pt x="30" y="117"/>
                  <a:pt x="61" y="117"/>
                </a:cubicBezTo>
                <a:cubicBezTo>
                  <a:pt x="65" y="117"/>
                  <a:pt x="68" y="117"/>
                  <a:pt x="72" y="116"/>
                </a:cubicBezTo>
                <a:cubicBezTo>
                  <a:pt x="76" y="119"/>
                  <a:pt x="82" y="120"/>
                  <a:pt x="87" y="120"/>
                </a:cubicBezTo>
                <a:cubicBezTo>
                  <a:pt x="106" y="120"/>
                  <a:pt x="120" y="105"/>
                  <a:pt x="120" y="87"/>
                </a:cubicBezTo>
                <a:cubicBezTo>
                  <a:pt x="120" y="82"/>
                  <a:pt x="119" y="77"/>
                  <a:pt x="117" y="73"/>
                </a:cubicBezTo>
                <a:cubicBezTo>
                  <a:pt x="118" y="69"/>
                  <a:pt x="118" y="65"/>
                  <a:pt x="118" y="61"/>
                </a:cubicBezTo>
                <a:close/>
                <a:moveTo>
                  <a:pt x="90" y="88"/>
                </a:moveTo>
                <a:cubicBezTo>
                  <a:pt x="88" y="91"/>
                  <a:pt x="84" y="94"/>
                  <a:pt x="79" y="96"/>
                </a:cubicBezTo>
                <a:cubicBezTo>
                  <a:pt x="74" y="98"/>
                  <a:pt x="68" y="100"/>
                  <a:pt x="61" y="100"/>
                </a:cubicBezTo>
                <a:cubicBezTo>
                  <a:pt x="53" y="100"/>
                  <a:pt x="46" y="98"/>
                  <a:pt x="40" y="95"/>
                </a:cubicBezTo>
                <a:cubicBezTo>
                  <a:pt x="37" y="93"/>
                  <a:pt x="33" y="90"/>
                  <a:pt x="31" y="87"/>
                </a:cubicBezTo>
                <a:cubicBezTo>
                  <a:pt x="29" y="84"/>
                  <a:pt x="27" y="80"/>
                  <a:pt x="27" y="77"/>
                </a:cubicBezTo>
                <a:cubicBezTo>
                  <a:pt x="27" y="75"/>
                  <a:pt x="28" y="73"/>
                  <a:pt x="30" y="72"/>
                </a:cubicBezTo>
                <a:cubicBezTo>
                  <a:pt x="31" y="70"/>
                  <a:pt x="33" y="69"/>
                  <a:pt x="36" y="69"/>
                </a:cubicBezTo>
                <a:cubicBezTo>
                  <a:pt x="38" y="69"/>
                  <a:pt x="39" y="70"/>
                  <a:pt x="41" y="71"/>
                </a:cubicBezTo>
                <a:cubicBezTo>
                  <a:pt x="42" y="72"/>
                  <a:pt x="43" y="74"/>
                  <a:pt x="44" y="76"/>
                </a:cubicBezTo>
                <a:cubicBezTo>
                  <a:pt x="45" y="78"/>
                  <a:pt x="46" y="80"/>
                  <a:pt x="47" y="82"/>
                </a:cubicBezTo>
                <a:cubicBezTo>
                  <a:pt x="49" y="83"/>
                  <a:pt x="50" y="84"/>
                  <a:pt x="52" y="85"/>
                </a:cubicBezTo>
                <a:cubicBezTo>
                  <a:pt x="54" y="86"/>
                  <a:pt x="57" y="87"/>
                  <a:pt x="61" y="87"/>
                </a:cubicBezTo>
                <a:cubicBezTo>
                  <a:pt x="65" y="87"/>
                  <a:pt x="69" y="86"/>
                  <a:pt x="72" y="84"/>
                </a:cubicBezTo>
                <a:cubicBezTo>
                  <a:pt x="75" y="82"/>
                  <a:pt x="76" y="80"/>
                  <a:pt x="76" y="77"/>
                </a:cubicBezTo>
                <a:cubicBezTo>
                  <a:pt x="76" y="75"/>
                  <a:pt x="76" y="73"/>
                  <a:pt x="74" y="71"/>
                </a:cubicBezTo>
                <a:cubicBezTo>
                  <a:pt x="73" y="70"/>
                  <a:pt x="70" y="69"/>
                  <a:pt x="68" y="68"/>
                </a:cubicBezTo>
                <a:cubicBezTo>
                  <a:pt x="65" y="67"/>
                  <a:pt x="62" y="66"/>
                  <a:pt x="57" y="66"/>
                </a:cubicBezTo>
                <a:cubicBezTo>
                  <a:pt x="52" y="64"/>
                  <a:pt x="47" y="63"/>
                  <a:pt x="42" y="61"/>
                </a:cubicBezTo>
                <a:cubicBezTo>
                  <a:pt x="38" y="59"/>
                  <a:pt x="35" y="57"/>
                  <a:pt x="33" y="54"/>
                </a:cubicBezTo>
                <a:cubicBezTo>
                  <a:pt x="30" y="51"/>
                  <a:pt x="29" y="47"/>
                  <a:pt x="29" y="43"/>
                </a:cubicBezTo>
                <a:cubicBezTo>
                  <a:pt x="29" y="38"/>
                  <a:pt x="30" y="35"/>
                  <a:pt x="33" y="31"/>
                </a:cubicBezTo>
                <a:cubicBezTo>
                  <a:pt x="35" y="28"/>
                  <a:pt x="39" y="25"/>
                  <a:pt x="44" y="24"/>
                </a:cubicBezTo>
                <a:cubicBezTo>
                  <a:pt x="49" y="22"/>
                  <a:pt x="54" y="21"/>
                  <a:pt x="61" y="21"/>
                </a:cubicBezTo>
                <a:cubicBezTo>
                  <a:pt x="66" y="21"/>
                  <a:pt x="70" y="22"/>
                  <a:pt x="74" y="23"/>
                </a:cubicBezTo>
                <a:cubicBezTo>
                  <a:pt x="78" y="24"/>
                  <a:pt x="81" y="26"/>
                  <a:pt x="84" y="27"/>
                </a:cubicBezTo>
                <a:cubicBezTo>
                  <a:pt x="86" y="29"/>
                  <a:pt x="88" y="31"/>
                  <a:pt x="89" y="34"/>
                </a:cubicBezTo>
                <a:cubicBezTo>
                  <a:pt x="90" y="36"/>
                  <a:pt x="91" y="38"/>
                  <a:pt x="91" y="40"/>
                </a:cubicBezTo>
                <a:cubicBezTo>
                  <a:pt x="91" y="42"/>
                  <a:pt x="90" y="44"/>
                  <a:pt x="89" y="45"/>
                </a:cubicBezTo>
                <a:cubicBezTo>
                  <a:pt x="87" y="47"/>
                  <a:pt x="85" y="48"/>
                  <a:pt x="83" y="48"/>
                </a:cubicBezTo>
                <a:cubicBezTo>
                  <a:pt x="81" y="48"/>
                  <a:pt x="79" y="47"/>
                  <a:pt x="78" y="46"/>
                </a:cubicBezTo>
                <a:cubicBezTo>
                  <a:pt x="77" y="45"/>
                  <a:pt x="76" y="44"/>
                  <a:pt x="74" y="42"/>
                </a:cubicBezTo>
                <a:cubicBezTo>
                  <a:pt x="73" y="39"/>
                  <a:pt x="71" y="37"/>
                  <a:pt x="69" y="36"/>
                </a:cubicBezTo>
                <a:cubicBezTo>
                  <a:pt x="67" y="34"/>
                  <a:pt x="64" y="33"/>
                  <a:pt x="60" y="33"/>
                </a:cubicBezTo>
                <a:cubicBezTo>
                  <a:pt x="56" y="33"/>
                  <a:pt x="52" y="34"/>
                  <a:pt x="50" y="36"/>
                </a:cubicBezTo>
                <a:cubicBezTo>
                  <a:pt x="47" y="37"/>
                  <a:pt x="46" y="39"/>
                  <a:pt x="46" y="41"/>
                </a:cubicBezTo>
                <a:cubicBezTo>
                  <a:pt x="46" y="43"/>
                  <a:pt x="47" y="44"/>
                  <a:pt x="47" y="45"/>
                </a:cubicBezTo>
                <a:cubicBezTo>
                  <a:pt x="48" y="46"/>
                  <a:pt x="49" y="46"/>
                  <a:pt x="51" y="47"/>
                </a:cubicBezTo>
                <a:cubicBezTo>
                  <a:pt x="52" y="48"/>
                  <a:pt x="54" y="48"/>
                  <a:pt x="55" y="49"/>
                </a:cubicBezTo>
                <a:cubicBezTo>
                  <a:pt x="57" y="49"/>
                  <a:pt x="60" y="50"/>
                  <a:pt x="63" y="51"/>
                </a:cubicBezTo>
                <a:cubicBezTo>
                  <a:pt x="68" y="52"/>
                  <a:pt x="72" y="53"/>
                  <a:pt x="76" y="54"/>
                </a:cubicBezTo>
                <a:cubicBezTo>
                  <a:pt x="80" y="55"/>
                  <a:pt x="83" y="57"/>
                  <a:pt x="86" y="58"/>
                </a:cubicBezTo>
                <a:cubicBezTo>
                  <a:pt x="88" y="60"/>
                  <a:pt x="91" y="62"/>
                  <a:pt x="92" y="65"/>
                </a:cubicBezTo>
                <a:cubicBezTo>
                  <a:pt x="94" y="68"/>
                  <a:pt x="94" y="71"/>
                  <a:pt x="94" y="75"/>
                </a:cubicBezTo>
                <a:cubicBezTo>
                  <a:pt x="94" y="80"/>
                  <a:pt x="93" y="84"/>
                  <a:pt x="90" y="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12" name="Freeform 160"/>
          <p:cNvSpPr>
            <a:spLocks/>
          </p:cNvSpPr>
          <p:nvPr/>
        </p:nvSpPr>
        <p:spPr bwMode="auto">
          <a:xfrm>
            <a:off x="6329272" y="2987628"/>
            <a:ext cx="120954" cy="85179"/>
          </a:xfrm>
          <a:custGeom>
            <a:avLst/>
            <a:gdLst>
              <a:gd name="T0" fmla="*/ 0 w 142"/>
              <a:gd name="T1" fmla="*/ 45 h 100"/>
              <a:gd name="T2" fmla="*/ 83 w 142"/>
              <a:gd name="T3" fmla="*/ 100 h 100"/>
              <a:gd name="T4" fmla="*/ 142 w 142"/>
              <a:gd name="T5" fmla="*/ 52 h 100"/>
              <a:gd name="T6" fmla="*/ 59 w 142"/>
              <a:gd name="T7" fmla="*/ 0 h 100"/>
              <a:gd name="T8" fmla="*/ 0 w 142"/>
              <a:gd name="T9" fmla="*/ 45 h 100"/>
            </a:gdLst>
            <a:ahLst/>
            <a:cxnLst>
              <a:cxn ang="0">
                <a:pos x="T0" y="T1"/>
              </a:cxn>
              <a:cxn ang="0">
                <a:pos x="T2" y="T3"/>
              </a:cxn>
              <a:cxn ang="0">
                <a:pos x="T4" y="T5"/>
              </a:cxn>
              <a:cxn ang="0">
                <a:pos x="T6" y="T7"/>
              </a:cxn>
              <a:cxn ang="0">
                <a:pos x="T8" y="T9"/>
              </a:cxn>
            </a:cxnLst>
            <a:rect l="0" t="0" r="r" b="b"/>
            <a:pathLst>
              <a:path w="142" h="100">
                <a:moveTo>
                  <a:pt x="0" y="45"/>
                </a:moveTo>
                <a:lnTo>
                  <a:pt x="83" y="100"/>
                </a:lnTo>
                <a:lnTo>
                  <a:pt x="142" y="52"/>
                </a:lnTo>
                <a:lnTo>
                  <a:pt x="59" y="0"/>
                </a:lnTo>
                <a:lnTo>
                  <a:pt x="0" y="4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13" name="Freeform 161"/>
          <p:cNvSpPr>
            <a:spLocks/>
          </p:cNvSpPr>
          <p:nvPr/>
        </p:nvSpPr>
        <p:spPr bwMode="auto">
          <a:xfrm>
            <a:off x="6329272" y="2901598"/>
            <a:ext cx="120954" cy="86031"/>
          </a:xfrm>
          <a:custGeom>
            <a:avLst/>
            <a:gdLst>
              <a:gd name="T0" fmla="*/ 83 w 142"/>
              <a:gd name="T1" fmla="*/ 0 h 101"/>
              <a:gd name="T2" fmla="*/ 0 w 142"/>
              <a:gd name="T3" fmla="*/ 54 h 101"/>
              <a:gd name="T4" fmla="*/ 59 w 142"/>
              <a:gd name="T5" fmla="*/ 101 h 101"/>
              <a:gd name="T6" fmla="*/ 142 w 142"/>
              <a:gd name="T7" fmla="*/ 49 h 101"/>
              <a:gd name="T8" fmla="*/ 83 w 142"/>
              <a:gd name="T9" fmla="*/ 0 h 101"/>
            </a:gdLst>
            <a:ahLst/>
            <a:cxnLst>
              <a:cxn ang="0">
                <a:pos x="T0" y="T1"/>
              </a:cxn>
              <a:cxn ang="0">
                <a:pos x="T2" y="T3"/>
              </a:cxn>
              <a:cxn ang="0">
                <a:pos x="T4" y="T5"/>
              </a:cxn>
              <a:cxn ang="0">
                <a:pos x="T6" y="T7"/>
              </a:cxn>
              <a:cxn ang="0">
                <a:pos x="T8" y="T9"/>
              </a:cxn>
            </a:cxnLst>
            <a:rect l="0" t="0" r="r" b="b"/>
            <a:pathLst>
              <a:path w="142" h="101">
                <a:moveTo>
                  <a:pt x="83" y="0"/>
                </a:moveTo>
                <a:lnTo>
                  <a:pt x="0" y="54"/>
                </a:lnTo>
                <a:lnTo>
                  <a:pt x="59" y="101"/>
                </a:lnTo>
                <a:lnTo>
                  <a:pt x="142" y="49"/>
                </a:lnTo>
                <a:lnTo>
                  <a:pt x="8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14" name="Freeform 162"/>
          <p:cNvSpPr>
            <a:spLocks/>
          </p:cNvSpPr>
          <p:nvPr/>
        </p:nvSpPr>
        <p:spPr bwMode="auto">
          <a:xfrm>
            <a:off x="6450226" y="2901598"/>
            <a:ext cx="120954" cy="86031"/>
          </a:xfrm>
          <a:custGeom>
            <a:avLst/>
            <a:gdLst>
              <a:gd name="T0" fmla="*/ 59 w 142"/>
              <a:gd name="T1" fmla="*/ 0 h 101"/>
              <a:gd name="T2" fmla="*/ 0 w 142"/>
              <a:gd name="T3" fmla="*/ 49 h 101"/>
              <a:gd name="T4" fmla="*/ 85 w 142"/>
              <a:gd name="T5" fmla="*/ 101 h 101"/>
              <a:gd name="T6" fmla="*/ 142 w 142"/>
              <a:gd name="T7" fmla="*/ 54 h 101"/>
              <a:gd name="T8" fmla="*/ 59 w 142"/>
              <a:gd name="T9" fmla="*/ 0 h 101"/>
            </a:gdLst>
            <a:ahLst/>
            <a:cxnLst>
              <a:cxn ang="0">
                <a:pos x="T0" y="T1"/>
              </a:cxn>
              <a:cxn ang="0">
                <a:pos x="T2" y="T3"/>
              </a:cxn>
              <a:cxn ang="0">
                <a:pos x="T4" y="T5"/>
              </a:cxn>
              <a:cxn ang="0">
                <a:pos x="T6" y="T7"/>
              </a:cxn>
              <a:cxn ang="0">
                <a:pos x="T8" y="T9"/>
              </a:cxn>
            </a:cxnLst>
            <a:rect l="0" t="0" r="r" b="b"/>
            <a:pathLst>
              <a:path w="142" h="101">
                <a:moveTo>
                  <a:pt x="59" y="0"/>
                </a:moveTo>
                <a:lnTo>
                  <a:pt x="0" y="49"/>
                </a:lnTo>
                <a:lnTo>
                  <a:pt x="85" y="101"/>
                </a:lnTo>
                <a:lnTo>
                  <a:pt x="142" y="54"/>
                </a:lnTo>
                <a:lnTo>
                  <a:pt x="59"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15" name="Freeform 163"/>
          <p:cNvSpPr>
            <a:spLocks/>
          </p:cNvSpPr>
          <p:nvPr/>
        </p:nvSpPr>
        <p:spPr bwMode="auto">
          <a:xfrm>
            <a:off x="6450226" y="2987628"/>
            <a:ext cx="120954" cy="85179"/>
          </a:xfrm>
          <a:custGeom>
            <a:avLst/>
            <a:gdLst>
              <a:gd name="T0" fmla="*/ 59 w 142"/>
              <a:gd name="T1" fmla="*/ 100 h 100"/>
              <a:gd name="T2" fmla="*/ 142 w 142"/>
              <a:gd name="T3" fmla="*/ 45 h 100"/>
              <a:gd name="T4" fmla="*/ 85 w 142"/>
              <a:gd name="T5" fmla="*/ 0 h 100"/>
              <a:gd name="T6" fmla="*/ 0 w 142"/>
              <a:gd name="T7" fmla="*/ 52 h 100"/>
              <a:gd name="T8" fmla="*/ 59 w 142"/>
              <a:gd name="T9" fmla="*/ 100 h 100"/>
            </a:gdLst>
            <a:ahLst/>
            <a:cxnLst>
              <a:cxn ang="0">
                <a:pos x="T0" y="T1"/>
              </a:cxn>
              <a:cxn ang="0">
                <a:pos x="T2" y="T3"/>
              </a:cxn>
              <a:cxn ang="0">
                <a:pos x="T4" y="T5"/>
              </a:cxn>
              <a:cxn ang="0">
                <a:pos x="T6" y="T7"/>
              </a:cxn>
              <a:cxn ang="0">
                <a:pos x="T8" y="T9"/>
              </a:cxn>
            </a:cxnLst>
            <a:rect l="0" t="0" r="r" b="b"/>
            <a:pathLst>
              <a:path w="142" h="100">
                <a:moveTo>
                  <a:pt x="59" y="100"/>
                </a:moveTo>
                <a:lnTo>
                  <a:pt x="142" y="45"/>
                </a:lnTo>
                <a:lnTo>
                  <a:pt x="85" y="0"/>
                </a:lnTo>
                <a:lnTo>
                  <a:pt x="0" y="52"/>
                </a:lnTo>
                <a:lnTo>
                  <a:pt x="59" y="10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16" name="Freeform 164"/>
          <p:cNvSpPr>
            <a:spLocks/>
          </p:cNvSpPr>
          <p:nvPr/>
        </p:nvSpPr>
        <p:spPr bwMode="auto">
          <a:xfrm>
            <a:off x="6379529" y="3040438"/>
            <a:ext cx="143101" cy="86882"/>
          </a:xfrm>
          <a:custGeom>
            <a:avLst/>
            <a:gdLst>
              <a:gd name="T0" fmla="*/ 168 w 168"/>
              <a:gd name="T1" fmla="*/ 52 h 102"/>
              <a:gd name="T2" fmla="*/ 168 w 168"/>
              <a:gd name="T3" fmla="*/ 33 h 102"/>
              <a:gd name="T4" fmla="*/ 142 w 168"/>
              <a:gd name="T5" fmla="*/ 49 h 102"/>
              <a:gd name="T6" fmla="*/ 83 w 168"/>
              <a:gd name="T7" fmla="*/ 0 h 102"/>
              <a:gd name="T8" fmla="*/ 24 w 168"/>
              <a:gd name="T9" fmla="*/ 49 h 102"/>
              <a:gd name="T10" fmla="*/ 0 w 168"/>
              <a:gd name="T11" fmla="*/ 33 h 102"/>
              <a:gd name="T12" fmla="*/ 0 w 168"/>
              <a:gd name="T13" fmla="*/ 52 h 102"/>
              <a:gd name="T14" fmla="*/ 83 w 168"/>
              <a:gd name="T15" fmla="*/ 102 h 102"/>
              <a:gd name="T16" fmla="*/ 168 w 168"/>
              <a:gd name="T17" fmla="*/ 5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102">
                <a:moveTo>
                  <a:pt x="168" y="52"/>
                </a:moveTo>
                <a:lnTo>
                  <a:pt x="168" y="33"/>
                </a:lnTo>
                <a:lnTo>
                  <a:pt x="142" y="49"/>
                </a:lnTo>
                <a:lnTo>
                  <a:pt x="83" y="0"/>
                </a:lnTo>
                <a:lnTo>
                  <a:pt x="24" y="49"/>
                </a:lnTo>
                <a:lnTo>
                  <a:pt x="0" y="33"/>
                </a:lnTo>
                <a:lnTo>
                  <a:pt x="0" y="52"/>
                </a:lnTo>
                <a:lnTo>
                  <a:pt x="83" y="102"/>
                </a:lnTo>
                <a:lnTo>
                  <a:pt x="168" y="5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17" name="Freeform 165"/>
          <p:cNvSpPr>
            <a:spLocks noEditPoints="1"/>
          </p:cNvSpPr>
          <p:nvPr/>
        </p:nvSpPr>
        <p:spPr bwMode="auto">
          <a:xfrm>
            <a:off x="6776461" y="2887116"/>
            <a:ext cx="265758" cy="137138"/>
          </a:xfrm>
          <a:custGeom>
            <a:avLst/>
            <a:gdLst>
              <a:gd name="T0" fmla="*/ 71 w 132"/>
              <a:gd name="T1" fmla="*/ 51 h 68"/>
              <a:gd name="T2" fmla="*/ 56 w 132"/>
              <a:gd name="T3" fmla="*/ 20 h 68"/>
              <a:gd name="T4" fmla="*/ 105 w 132"/>
              <a:gd name="T5" fmla="*/ 28 h 68"/>
              <a:gd name="T6" fmla="*/ 87 w 132"/>
              <a:gd name="T7" fmla="*/ 33 h 68"/>
              <a:gd name="T8" fmla="*/ 81 w 132"/>
              <a:gd name="T9" fmla="*/ 23 h 68"/>
              <a:gd name="T10" fmla="*/ 64 w 132"/>
              <a:gd name="T11" fmla="*/ 23 h 68"/>
              <a:gd name="T12" fmla="*/ 77 w 132"/>
              <a:gd name="T13" fmla="*/ 50 h 68"/>
              <a:gd name="T14" fmla="*/ 132 w 132"/>
              <a:gd name="T15" fmla="*/ 33 h 68"/>
              <a:gd name="T16" fmla="*/ 53 w 132"/>
              <a:gd name="T17" fmla="*/ 12 h 68"/>
              <a:gd name="T18" fmla="*/ 52 w 132"/>
              <a:gd name="T19" fmla="*/ 12 h 68"/>
              <a:gd name="T20" fmla="*/ 46 w 132"/>
              <a:gd name="T21" fmla="*/ 0 h 68"/>
              <a:gd name="T22" fmla="*/ 29 w 132"/>
              <a:gd name="T23" fmla="*/ 2 h 68"/>
              <a:gd name="T24" fmla="*/ 36 w 132"/>
              <a:gd name="T25" fmla="*/ 16 h 68"/>
              <a:gd name="T26" fmla="*/ 16 w 132"/>
              <a:gd name="T27" fmla="*/ 68 h 68"/>
              <a:gd name="T28" fmla="*/ 71 w 132"/>
              <a:gd name="T29" fmla="*/ 51 h 68"/>
              <a:gd name="T30" fmla="*/ 41 w 132"/>
              <a:gd name="T31" fmla="*/ 27 h 68"/>
              <a:gd name="T32" fmla="*/ 49 w 132"/>
              <a:gd name="T33" fmla="*/ 44 h 68"/>
              <a:gd name="T34" fmla="*/ 30 w 132"/>
              <a:gd name="T35" fmla="*/ 49 h 68"/>
              <a:gd name="T36" fmla="*/ 41 w 132"/>
              <a:gd name="T37"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68">
                <a:moveTo>
                  <a:pt x="71" y="51"/>
                </a:moveTo>
                <a:cubicBezTo>
                  <a:pt x="56" y="20"/>
                  <a:pt x="56" y="20"/>
                  <a:pt x="56" y="20"/>
                </a:cubicBezTo>
                <a:cubicBezTo>
                  <a:pt x="83" y="12"/>
                  <a:pt x="105" y="28"/>
                  <a:pt x="105" y="28"/>
                </a:cubicBezTo>
                <a:cubicBezTo>
                  <a:pt x="87" y="33"/>
                  <a:pt x="87" y="33"/>
                  <a:pt x="87" y="33"/>
                </a:cubicBezTo>
                <a:cubicBezTo>
                  <a:pt x="81" y="23"/>
                  <a:pt x="81" y="23"/>
                  <a:pt x="81" y="23"/>
                </a:cubicBezTo>
                <a:cubicBezTo>
                  <a:pt x="76" y="22"/>
                  <a:pt x="70" y="22"/>
                  <a:pt x="64" y="23"/>
                </a:cubicBezTo>
                <a:cubicBezTo>
                  <a:pt x="77" y="50"/>
                  <a:pt x="77" y="50"/>
                  <a:pt x="77" y="50"/>
                </a:cubicBezTo>
                <a:cubicBezTo>
                  <a:pt x="132" y="33"/>
                  <a:pt x="132" y="33"/>
                  <a:pt x="132" y="33"/>
                </a:cubicBezTo>
                <a:cubicBezTo>
                  <a:pt x="132" y="33"/>
                  <a:pt x="112" y="1"/>
                  <a:pt x="53" y="12"/>
                </a:cubicBezTo>
                <a:cubicBezTo>
                  <a:pt x="52" y="12"/>
                  <a:pt x="52" y="12"/>
                  <a:pt x="52" y="12"/>
                </a:cubicBezTo>
                <a:cubicBezTo>
                  <a:pt x="46" y="0"/>
                  <a:pt x="46" y="0"/>
                  <a:pt x="46" y="0"/>
                </a:cubicBezTo>
                <a:cubicBezTo>
                  <a:pt x="29" y="2"/>
                  <a:pt x="29" y="2"/>
                  <a:pt x="29" y="2"/>
                </a:cubicBezTo>
                <a:cubicBezTo>
                  <a:pt x="36" y="16"/>
                  <a:pt x="36" y="16"/>
                  <a:pt x="36" y="16"/>
                </a:cubicBezTo>
                <a:cubicBezTo>
                  <a:pt x="0" y="32"/>
                  <a:pt x="16" y="68"/>
                  <a:pt x="16" y="68"/>
                </a:cubicBezTo>
                <a:lnTo>
                  <a:pt x="71" y="51"/>
                </a:lnTo>
                <a:close/>
                <a:moveTo>
                  <a:pt x="41" y="27"/>
                </a:moveTo>
                <a:cubicBezTo>
                  <a:pt x="49" y="44"/>
                  <a:pt x="49" y="44"/>
                  <a:pt x="49" y="44"/>
                </a:cubicBezTo>
                <a:cubicBezTo>
                  <a:pt x="30" y="49"/>
                  <a:pt x="30" y="49"/>
                  <a:pt x="30" y="49"/>
                </a:cubicBezTo>
                <a:cubicBezTo>
                  <a:pt x="30" y="49"/>
                  <a:pt x="25" y="37"/>
                  <a:pt x="4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18" name="Freeform 166"/>
          <p:cNvSpPr>
            <a:spLocks noEditPoints="1"/>
          </p:cNvSpPr>
          <p:nvPr/>
        </p:nvSpPr>
        <p:spPr bwMode="auto">
          <a:xfrm>
            <a:off x="6776461" y="2887116"/>
            <a:ext cx="265758" cy="137138"/>
          </a:xfrm>
          <a:custGeom>
            <a:avLst/>
            <a:gdLst>
              <a:gd name="T0" fmla="*/ 71 w 132"/>
              <a:gd name="T1" fmla="*/ 51 h 68"/>
              <a:gd name="T2" fmla="*/ 56 w 132"/>
              <a:gd name="T3" fmla="*/ 20 h 68"/>
              <a:gd name="T4" fmla="*/ 105 w 132"/>
              <a:gd name="T5" fmla="*/ 28 h 68"/>
              <a:gd name="T6" fmla="*/ 87 w 132"/>
              <a:gd name="T7" fmla="*/ 33 h 68"/>
              <a:gd name="T8" fmla="*/ 81 w 132"/>
              <a:gd name="T9" fmla="*/ 23 h 68"/>
              <a:gd name="T10" fmla="*/ 64 w 132"/>
              <a:gd name="T11" fmla="*/ 23 h 68"/>
              <a:gd name="T12" fmla="*/ 77 w 132"/>
              <a:gd name="T13" fmla="*/ 50 h 68"/>
              <a:gd name="T14" fmla="*/ 132 w 132"/>
              <a:gd name="T15" fmla="*/ 33 h 68"/>
              <a:gd name="T16" fmla="*/ 53 w 132"/>
              <a:gd name="T17" fmla="*/ 12 h 68"/>
              <a:gd name="T18" fmla="*/ 52 w 132"/>
              <a:gd name="T19" fmla="*/ 12 h 68"/>
              <a:gd name="T20" fmla="*/ 46 w 132"/>
              <a:gd name="T21" fmla="*/ 0 h 68"/>
              <a:gd name="T22" fmla="*/ 29 w 132"/>
              <a:gd name="T23" fmla="*/ 2 h 68"/>
              <a:gd name="T24" fmla="*/ 36 w 132"/>
              <a:gd name="T25" fmla="*/ 16 h 68"/>
              <a:gd name="T26" fmla="*/ 16 w 132"/>
              <a:gd name="T27" fmla="*/ 68 h 68"/>
              <a:gd name="T28" fmla="*/ 71 w 132"/>
              <a:gd name="T29" fmla="*/ 51 h 68"/>
              <a:gd name="T30" fmla="*/ 41 w 132"/>
              <a:gd name="T31" fmla="*/ 27 h 68"/>
              <a:gd name="T32" fmla="*/ 49 w 132"/>
              <a:gd name="T33" fmla="*/ 44 h 68"/>
              <a:gd name="T34" fmla="*/ 30 w 132"/>
              <a:gd name="T35" fmla="*/ 49 h 68"/>
              <a:gd name="T36" fmla="*/ 41 w 132"/>
              <a:gd name="T37"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68">
                <a:moveTo>
                  <a:pt x="71" y="51"/>
                </a:moveTo>
                <a:cubicBezTo>
                  <a:pt x="56" y="20"/>
                  <a:pt x="56" y="20"/>
                  <a:pt x="56" y="20"/>
                </a:cubicBezTo>
                <a:cubicBezTo>
                  <a:pt x="83" y="12"/>
                  <a:pt x="105" y="28"/>
                  <a:pt x="105" y="28"/>
                </a:cubicBezTo>
                <a:cubicBezTo>
                  <a:pt x="87" y="33"/>
                  <a:pt x="87" y="33"/>
                  <a:pt x="87" y="33"/>
                </a:cubicBezTo>
                <a:cubicBezTo>
                  <a:pt x="81" y="23"/>
                  <a:pt x="81" y="23"/>
                  <a:pt x="81" y="23"/>
                </a:cubicBezTo>
                <a:cubicBezTo>
                  <a:pt x="76" y="22"/>
                  <a:pt x="70" y="22"/>
                  <a:pt x="64" y="23"/>
                </a:cubicBezTo>
                <a:cubicBezTo>
                  <a:pt x="77" y="50"/>
                  <a:pt x="77" y="50"/>
                  <a:pt x="77" y="50"/>
                </a:cubicBezTo>
                <a:cubicBezTo>
                  <a:pt x="132" y="33"/>
                  <a:pt x="132" y="33"/>
                  <a:pt x="132" y="33"/>
                </a:cubicBezTo>
                <a:cubicBezTo>
                  <a:pt x="132" y="33"/>
                  <a:pt x="112" y="1"/>
                  <a:pt x="53" y="12"/>
                </a:cubicBezTo>
                <a:cubicBezTo>
                  <a:pt x="52" y="12"/>
                  <a:pt x="52" y="12"/>
                  <a:pt x="52" y="12"/>
                </a:cubicBezTo>
                <a:cubicBezTo>
                  <a:pt x="46" y="0"/>
                  <a:pt x="46" y="0"/>
                  <a:pt x="46" y="0"/>
                </a:cubicBezTo>
                <a:cubicBezTo>
                  <a:pt x="29" y="2"/>
                  <a:pt x="29" y="2"/>
                  <a:pt x="29" y="2"/>
                </a:cubicBezTo>
                <a:cubicBezTo>
                  <a:pt x="36" y="16"/>
                  <a:pt x="36" y="16"/>
                  <a:pt x="36" y="16"/>
                </a:cubicBezTo>
                <a:cubicBezTo>
                  <a:pt x="0" y="32"/>
                  <a:pt x="16" y="68"/>
                  <a:pt x="16" y="68"/>
                </a:cubicBezTo>
                <a:lnTo>
                  <a:pt x="71" y="51"/>
                </a:lnTo>
                <a:close/>
                <a:moveTo>
                  <a:pt x="41" y="27"/>
                </a:moveTo>
                <a:cubicBezTo>
                  <a:pt x="49" y="44"/>
                  <a:pt x="49" y="44"/>
                  <a:pt x="49" y="44"/>
                </a:cubicBezTo>
                <a:cubicBezTo>
                  <a:pt x="30" y="49"/>
                  <a:pt x="30" y="49"/>
                  <a:pt x="30" y="49"/>
                </a:cubicBezTo>
                <a:cubicBezTo>
                  <a:pt x="30" y="49"/>
                  <a:pt x="25" y="37"/>
                  <a:pt x="4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19" name="Freeform 167"/>
          <p:cNvSpPr>
            <a:spLocks noEditPoints="1"/>
          </p:cNvSpPr>
          <p:nvPr/>
        </p:nvSpPr>
        <p:spPr bwMode="auto">
          <a:xfrm>
            <a:off x="6776461" y="2887116"/>
            <a:ext cx="265758" cy="137138"/>
          </a:xfrm>
          <a:custGeom>
            <a:avLst/>
            <a:gdLst>
              <a:gd name="T0" fmla="*/ 71 w 132"/>
              <a:gd name="T1" fmla="*/ 51 h 68"/>
              <a:gd name="T2" fmla="*/ 56 w 132"/>
              <a:gd name="T3" fmla="*/ 20 h 68"/>
              <a:gd name="T4" fmla="*/ 105 w 132"/>
              <a:gd name="T5" fmla="*/ 28 h 68"/>
              <a:gd name="T6" fmla="*/ 87 w 132"/>
              <a:gd name="T7" fmla="*/ 33 h 68"/>
              <a:gd name="T8" fmla="*/ 81 w 132"/>
              <a:gd name="T9" fmla="*/ 23 h 68"/>
              <a:gd name="T10" fmla="*/ 64 w 132"/>
              <a:gd name="T11" fmla="*/ 23 h 68"/>
              <a:gd name="T12" fmla="*/ 77 w 132"/>
              <a:gd name="T13" fmla="*/ 50 h 68"/>
              <a:gd name="T14" fmla="*/ 132 w 132"/>
              <a:gd name="T15" fmla="*/ 33 h 68"/>
              <a:gd name="T16" fmla="*/ 53 w 132"/>
              <a:gd name="T17" fmla="*/ 12 h 68"/>
              <a:gd name="T18" fmla="*/ 52 w 132"/>
              <a:gd name="T19" fmla="*/ 12 h 68"/>
              <a:gd name="T20" fmla="*/ 46 w 132"/>
              <a:gd name="T21" fmla="*/ 0 h 68"/>
              <a:gd name="T22" fmla="*/ 29 w 132"/>
              <a:gd name="T23" fmla="*/ 2 h 68"/>
              <a:gd name="T24" fmla="*/ 36 w 132"/>
              <a:gd name="T25" fmla="*/ 16 h 68"/>
              <a:gd name="T26" fmla="*/ 16 w 132"/>
              <a:gd name="T27" fmla="*/ 68 h 68"/>
              <a:gd name="T28" fmla="*/ 71 w 132"/>
              <a:gd name="T29" fmla="*/ 51 h 68"/>
              <a:gd name="T30" fmla="*/ 41 w 132"/>
              <a:gd name="T31" fmla="*/ 27 h 68"/>
              <a:gd name="T32" fmla="*/ 49 w 132"/>
              <a:gd name="T33" fmla="*/ 44 h 68"/>
              <a:gd name="T34" fmla="*/ 30 w 132"/>
              <a:gd name="T35" fmla="*/ 49 h 68"/>
              <a:gd name="T36" fmla="*/ 41 w 132"/>
              <a:gd name="T37"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68">
                <a:moveTo>
                  <a:pt x="71" y="51"/>
                </a:moveTo>
                <a:cubicBezTo>
                  <a:pt x="56" y="20"/>
                  <a:pt x="56" y="20"/>
                  <a:pt x="56" y="20"/>
                </a:cubicBezTo>
                <a:cubicBezTo>
                  <a:pt x="83" y="12"/>
                  <a:pt x="105" y="28"/>
                  <a:pt x="105" y="28"/>
                </a:cubicBezTo>
                <a:cubicBezTo>
                  <a:pt x="87" y="33"/>
                  <a:pt x="87" y="33"/>
                  <a:pt x="87" y="33"/>
                </a:cubicBezTo>
                <a:cubicBezTo>
                  <a:pt x="81" y="23"/>
                  <a:pt x="81" y="23"/>
                  <a:pt x="81" y="23"/>
                </a:cubicBezTo>
                <a:cubicBezTo>
                  <a:pt x="76" y="22"/>
                  <a:pt x="70" y="22"/>
                  <a:pt x="64" y="23"/>
                </a:cubicBezTo>
                <a:cubicBezTo>
                  <a:pt x="77" y="50"/>
                  <a:pt x="77" y="50"/>
                  <a:pt x="77" y="50"/>
                </a:cubicBezTo>
                <a:cubicBezTo>
                  <a:pt x="132" y="33"/>
                  <a:pt x="132" y="33"/>
                  <a:pt x="132" y="33"/>
                </a:cubicBezTo>
                <a:cubicBezTo>
                  <a:pt x="132" y="33"/>
                  <a:pt x="112" y="1"/>
                  <a:pt x="53" y="12"/>
                </a:cubicBezTo>
                <a:cubicBezTo>
                  <a:pt x="52" y="12"/>
                  <a:pt x="52" y="12"/>
                  <a:pt x="52" y="12"/>
                </a:cubicBezTo>
                <a:cubicBezTo>
                  <a:pt x="46" y="0"/>
                  <a:pt x="46" y="0"/>
                  <a:pt x="46" y="0"/>
                </a:cubicBezTo>
                <a:cubicBezTo>
                  <a:pt x="29" y="2"/>
                  <a:pt x="29" y="2"/>
                  <a:pt x="29" y="2"/>
                </a:cubicBezTo>
                <a:cubicBezTo>
                  <a:pt x="36" y="16"/>
                  <a:pt x="36" y="16"/>
                  <a:pt x="36" y="16"/>
                </a:cubicBezTo>
                <a:cubicBezTo>
                  <a:pt x="0" y="32"/>
                  <a:pt x="16" y="68"/>
                  <a:pt x="16" y="68"/>
                </a:cubicBezTo>
                <a:lnTo>
                  <a:pt x="71" y="51"/>
                </a:lnTo>
                <a:close/>
                <a:moveTo>
                  <a:pt x="41" y="27"/>
                </a:moveTo>
                <a:cubicBezTo>
                  <a:pt x="49" y="44"/>
                  <a:pt x="49" y="44"/>
                  <a:pt x="49" y="44"/>
                </a:cubicBezTo>
                <a:cubicBezTo>
                  <a:pt x="30" y="49"/>
                  <a:pt x="30" y="49"/>
                  <a:pt x="30" y="49"/>
                </a:cubicBezTo>
                <a:cubicBezTo>
                  <a:pt x="30" y="49"/>
                  <a:pt x="25" y="37"/>
                  <a:pt x="4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11" name="Group 10"/>
          <p:cNvGrpSpPr/>
          <p:nvPr/>
        </p:nvGrpSpPr>
        <p:grpSpPr>
          <a:xfrm>
            <a:off x="7204911" y="2784050"/>
            <a:ext cx="435264" cy="435264"/>
            <a:chOff x="5680911" y="2784050"/>
            <a:chExt cx="435264" cy="435264"/>
          </a:xfrm>
        </p:grpSpPr>
        <p:sp>
          <p:nvSpPr>
            <p:cNvPr id="644" name="Oval 87"/>
            <p:cNvSpPr>
              <a:spLocks noChangeArrowheads="1"/>
            </p:cNvSpPr>
            <p:nvPr/>
          </p:nvSpPr>
          <p:spPr bwMode="auto">
            <a:xfrm>
              <a:off x="5680911" y="2784050"/>
              <a:ext cx="435264" cy="435264"/>
            </a:xfrm>
            <a:prstGeom prst="ellipse">
              <a:avLst/>
            </a:prstGeom>
            <a:solidFill>
              <a:srgbClr val="00B2D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20" name="Freeform 168"/>
            <p:cNvSpPr>
              <a:spLocks/>
            </p:cNvSpPr>
            <p:nvPr/>
          </p:nvSpPr>
          <p:spPr bwMode="auto">
            <a:xfrm>
              <a:off x="5763535" y="2875191"/>
              <a:ext cx="253833" cy="245315"/>
            </a:xfrm>
            <a:custGeom>
              <a:avLst/>
              <a:gdLst>
                <a:gd name="T0" fmla="*/ 66 w 126"/>
                <a:gd name="T1" fmla="*/ 79 h 122"/>
                <a:gd name="T2" fmla="*/ 56 w 126"/>
                <a:gd name="T3" fmla="*/ 55 h 122"/>
                <a:gd name="T4" fmla="*/ 36 w 126"/>
                <a:gd name="T5" fmla="*/ 14 h 122"/>
                <a:gd name="T6" fmla="*/ 0 w 126"/>
                <a:gd name="T7" fmla="*/ 41 h 122"/>
                <a:gd name="T8" fmla="*/ 5 w 126"/>
                <a:gd name="T9" fmla="*/ 48 h 122"/>
                <a:gd name="T10" fmla="*/ 18 w 126"/>
                <a:gd name="T11" fmla="*/ 44 h 122"/>
                <a:gd name="T12" fmla="*/ 39 w 126"/>
                <a:gd name="T13" fmla="*/ 104 h 122"/>
                <a:gd name="T14" fmla="*/ 64 w 126"/>
                <a:gd name="T15" fmla="*/ 114 h 122"/>
                <a:gd name="T16" fmla="*/ 120 w 126"/>
                <a:gd name="T17" fmla="*/ 38 h 122"/>
                <a:gd name="T18" fmla="*/ 69 w 126"/>
                <a:gd name="T19" fmla="*/ 41 h 122"/>
                <a:gd name="T20" fmla="*/ 83 w 126"/>
                <a:gd name="T21" fmla="*/ 57 h 122"/>
                <a:gd name="T22" fmla="*/ 66 w 126"/>
                <a:gd name="T23" fmla="*/ 7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22">
                  <a:moveTo>
                    <a:pt x="66" y="79"/>
                  </a:moveTo>
                  <a:cubicBezTo>
                    <a:pt x="63" y="79"/>
                    <a:pt x="60" y="70"/>
                    <a:pt x="56" y="55"/>
                  </a:cubicBezTo>
                  <a:cubicBezTo>
                    <a:pt x="52" y="39"/>
                    <a:pt x="53" y="11"/>
                    <a:pt x="36" y="14"/>
                  </a:cubicBezTo>
                  <a:cubicBezTo>
                    <a:pt x="21" y="17"/>
                    <a:pt x="0" y="41"/>
                    <a:pt x="0" y="41"/>
                  </a:cubicBezTo>
                  <a:cubicBezTo>
                    <a:pt x="5" y="48"/>
                    <a:pt x="5" y="48"/>
                    <a:pt x="5" y="48"/>
                  </a:cubicBezTo>
                  <a:cubicBezTo>
                    <a:pt x="5" y="48"/>
                    <a:pt x="15" y="40"/>
                    <a:pt x="18" y="44"/>
                  </a:cubicBezTo>
                  <a:cubicBezTo>
                    <a:pt x="22" y="48"/>
                    <a:pt x="35" y="95"/>
                    <a:pt x="39" y="104"/>
                  </a:cubicBezTo>
                  <a:cubicBezTo>
                    <a:pt x="43" y="112"/>
                    <a:pt x="53" y="122"/>
                    <a:pt x="64" y="114"/>
                  </a:cubicBezTo>
                  <a:cubicBezTo>
                    <a:pt x="75" y="107"/>
                    <a:pt x="113" y="75"/>
                    <a:pt x="120" y="38"/>
                  </a:cubicBezTo>
                  <a:cubicBezTo>
                    <a:pt x="126" y="0"/>
                    <a:pt x="74" y="8"/>
                    <a:pt x="69" y="41"/>
                  </a:cubicBezTo>
                  <a:cubicBezTo>
                    <a:pt x="83" y="33"/>
                    <a:pt x="90" y="44"/>
                    <a:pt x="83" y="57"/>
                  </a:cubicBezTo>
                  <a:cubicBezTo>
                    <a:pt x="76" y="70"/>
                    <a:pt x="70" y="79"/>
                    <a:pt x="66" y="7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21" name="Freeform 169"/>
            <p:cNvSpPr>
              <a:spLocks/>
            </p:cNvSpPr>
            <p:nvPr/>
          </p:nvSpPr>
          <p:spPr bwMode="auto">
            <a:xfrm>
              <a:off x="5763535" y="2875191"/>
              <a:ext cx="253833" cy="245315"/>
            </a:xfrm>
            <a:custGeom>
              <a:avLst/>
              <a:gdLst>
                <a:gd name="T0" fmla="*/ 66 w 126"/>
                <a:gd name="T1" fmla="*/ 79 h 122"/>
                <a:gd name="T2" fmla="*/ 56 w 126"/>
                <a:gd name="T3" fmla="*/ 55 h 122"/>
                <a:gd name="T4" fmla="*/ 36 w 126"/>
                <a:gd name="T5" fmla="*/ 14 h 122"/>
                <a:gd name="T6" fmla="*/ 0 w 126"/>
                <a:gd name="T7" fmla="*/ 41 h 122"/>
                <a:gd name="T8" fmla="*/ 5 w 126"/>
                <a:gd name="T9" fmla="*/ 48 h 122"/>
                <a:gd name="T10" fmla="*/ 18 w 126"/>
                <a:gd name="T11" fmla="*/ 44 h 122"/>
                <a:gd name="T12" fmla="*/ 39 w 126"/>
                <a:gd name="T13" fmla="*/ 104 h 122"/>
                <a:gd name="T14" fmla="*/ 64 w 126"/>
                <a:gd name="T15" fmla="*/ 114 h 122"/>
                <a:gd name="T16" fmla="*/ 120 w 126"/>
                <a:gd name="T17" fmla="*/ 38 h 122"/>
                <a:gd name="T18" fmla="*/ 69 w 126"/>
                <a:gd name="T19" fmla="*/ 41 h 122"/>
                <a:gd name="T20" fmla="*/ 83 w 126"/>
                <a:gd name="T21" fmla="*/ 57 h 122"/>
                <a:gd name="T22" fmla="*/ 66 w 126"/>
                <a:gd name="T23" fmla="*/ 7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22">
                  <a:moveTo>
                    <a:pt x="66" y="79"/>
                  </a:moveTo>
                  <a:cubicBezTo>
                    <a:pt x="63" y="79"/>
                    <a:pt x="60" y="70"/>
                    <a:pt x="56" y="55"/>
                  </a:cubicBezTo>
                  <a:cubicBezTo>
                    <a:pt x="52" y="39"/>
                    <a:pt x="53" y="11"/>
                    <a:pt x="36" y="14"/>
                  </a:cubicBezTo>
                  <a:cubicBezTo>
                    <a:pt x="21" y="17"/>
                    <a:pt x="0" y="41"/>
                    <a:pt x="0" y="41"/>
                  </a:cubicBezTo>
                  <a:cubicBezTo>
                    <a:pt x="5" y="48"/>
                    <a:pt x="5" y="48"/>
                    <a:pt x="5" y="48"/>
                  </a:cubicBezTo>
                  <a:cubicBezTo>
                    <a:pt x="5" y="48"/>
                    <a:pt x="15" y="40"/>
                    <a:pt x="18" y="44"/>
                  </a:cubicBezTo>
                  <a:cubicBezTo>
                    <a:pt x="22" y="48"/>
                    <a:pt x="35" y="95"/>
                    <a:pt x="39" y="104"/>
                  </a:cubicBezTo>
                  <a:cubicBezTo>
                    <a:pt x="43" y="112"/>
                    <a:pt x="53" y="122"/>
                    <a:pt x="64" y="114"/>
                  </a:cubicBezTo>
                  <a:cubicBezTo>
                    <a:pt x="75" y="107"/>
                    <a:pt x="113" y="75"/>
                    <a:pt x="120" y="38"/>
                  </a:cubicBezTo>
                  <a:cubicBezTo>
                    <a:pt x="126" y="0"/>
                    <a:pt x="74" y="8"/>
                    <a:pt x="69" y="41"/>
                  </a:cubicBezTo>
                  <a:cubicBezTo>
                    <a:pt x="83" y="33"/>
                    <a:pt x="90" y="44"/>
                    <a:pt x="83" y="57"/>
                  </a:cubicBezTo>
                  <a:cubicBezTo>
                    <a:pt x="76" y="70"/>
                    <a:pt x="70" y="79"/>
                    <a:pt x="66" y="7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22" name="Freeform 170"/>
            <p:cNvSpPr>
              <a:spLocks/>
            </p:cNvSpPr>
            <p:nvPr/>
          </p:nvSpPr>
          <p:spPr bwMode="auto">
            <a:xfrm>
              <a:off x="5763535" y="2875191"/>
              <a:ext cx="253833" cy="245315"/>
            </a:xfrm>
            <a:custGeom>
              <a:avLst/>
              <a:gdLst>
                <a:gd name="T0" fmla="*/ 66 w 126"/>
                <a:gd name="T1" fmla="*/ 79 h 122"/>
                <a:gd name="T2" fmla="*/ 56 w 126"/>
                <a:gd name="T3" fmla="*/ 55 h 122"/>
                <a:gd name="T4" fmla="*/ 36 w 126"/>
                <a:gd name="T5" fmla="*/ 14 h 122"/>
                <a:gd name="T6" fmla="*/ 0 w 126"/>
                <a:gd name="T7" fmla="*/ 41 h 122"/>
                <a:gd name="T8" fmla="*/ 5 w 126"/>
                <a:gd name="T9" fmla="*/ 48 h 122"/>
                <a:gd name="T10" fmla="*/ 18 w 126"/>
                <a:gd name="T11" fmla="*/ 44 h 122"/>
                <a:gd name="T12" fmla="*/ 39 w 126"/>
                <a:gd name="T13" fmla="*/ 104 h 122"/>
                <a:gd name="T14" fmla="*/ 64 w 126"/>
                <a:gd name="T15" fmla="*/ 114 h 122"/>
                <a:gd name="T16" fmla="*/ 120 w 126"/>
                <a:gd name="T17" fmla="*/ 38 h 122"/>
                <a:gd name="T18" fmla="*/ 69 w 126"/>
                <a:gd name="T19" fmla="*/ 41 h 122"/>
                <a:gd name="T20" fmla="*/ 83 w 126"/>
                <a:gd name="T21" fmla="*/ 57 h 122"/>
                <a:gd name="T22" fmla="*/ 66 w 126"/>
                <a:gd name="T23" fmla="*/ 7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22">
                  <a:moveTo>
                    <a:pt x="66" y="79"/>
                  </a:moveTo>
                  <a:cubicBezTo>
                    <a:pt x="63" y="79"/>
                    <a:pt x="60" y="70"/>
                    <a:pt x="56" y="55"/>
                  </a:cubicBezTo>
                  <a:cubicBezTo>
                    <a:pt x="52" y="39"/>
                    <a:pt x="53" y="11"/>
                    <a:pt x="36" y="14"/>
                  </a:cubicBezTo>
                  <a:cubicBezTo>
                    <a:pt x="21" y="17"/>
                    <a:pt x="0" y="41"/>
                    <a:pt x="0" y="41"/>
                  </a:cubicBezTo>
                  <a:cubicBezTo>
                    <a:pt x="5" y="48"/>
                    <a:pt x="5" y="48"/>
                    <a:pt x="5" y="48"/>
                  </a:cubicBezTo>
                  <a:cubicBezTo>
                    <a:pt x="5" y="48"/>
                    <a:pt x="15" y="40"/>
                    <a:pt x="18" y="44"/>
                  </a:cubicBezTo>
                  <a:cubicBezTo>
                    <a:pt x="22" y="48"/>
                    <a:pt x="35" y="95"/>
                    <a:pt x="39" y="104"/>
                  </a:cubicBezTo>
                  <a:cubicBezTo>
                    <a:pt x="43" y="112"/>
                    <a:pt x="53" y="122"/>
                    <a:pt x="64" y="114"/>
                  </a:cubicBezTo>
                  <a:cubicBezTo>
                    <a:pt x="75" y="107"/>
                    <a:pt x="113" y="75"/>
                    <a:pt x="120" y="38"/>
                  </a:cubicBezTo>
                  <a:cubicBezTo>
                    <a:pt x="126" y="0"/>
                    <a:pt x="74" y="8"/>
                    <a:pt x="69" y="41"/>
                  </a:cubicBezTo>
                  <a:cubicBezTo>
                    <a:pt x="83" y="33"/>
                    <a:pt x="90" y="44"/>
                    <a:pt x="83" y="57"/>
                  </a:cubicBezTo>
                  <a:cubicBezTo>
                    <a:pt x="76" y="70"/>
                    <a:pt x="70" y="79"/>
                    <a:pt x="66" y="7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
        <p:nvSpPr>
          <p:cNvPr id="723" name="Freeform 171"/>
          <p:cNvSpPr>
            <a:spLocks noEditPoints="1"/>
          </p:cNvSpPr>
          <p:nvPr/>
        </p:nvSpPr>
        <p:spPr bwMode="auto">
          <a:xfrm>
            <a:off x="7790943" y="2925447"/>
            <a:ext cx="126917" cy="160988"/>
          </a:xfrm>
          <a:custGeom>
            <a:avLst/>
            <a:gdLst>
              <a:gd name="T0" fmla="*/ 16 w 63"/>
              <a:gd name="T1" fmla="*/ 80 h 80"/>
              <a:gd name="T2" fmla="*/ 38 w 63"/>
              <a:gd name="T3" fmla="*/ 80 h 80"/>
              <a:gd name="T4" fmla="*/ 62 w 63"/>
              <a:gd name="T5" fmla="*/ 55 h 80"/>
              <a:gd name="T6" fmla="*/ 48 w 63"/>
              <a:gd name="T7" fmla="*/ 36 h 80"/>
              <a:gd name="T8" fmla="*/ 59 w 63"/>
              <a:gd name="T9" fmla="*/ 21 h 80"/>
              <a:gd name="T10" fmla="*/ 38 w 63"/>
              <a:gd name="T11" fmla="*/ 0 h 80"/>
              <a:gd name="T12" fmla="*/ 16 w 63"/>
              <a:gd name="T13" fmla="*/ 0 h 80"/>
              <a:gd name="T14" fmla="*/ 16 w 63"/>
              <a:gd name="T15" fmla="*/ 0 h 80"/>
              <a:gd name="T16" fmla="*/ 0 w 63"/>
              <a:gd name="T17" fmla="*/ 0 h 80"/>
              <a:gd name="T18" fmla="*/ 0 w 63"/>
              <a:gd name="T19" fmla="*/ 80 h 80"/>
              <a:gd name="T20" fmla="*/ 16 w 63"/>
              <a:gd name="T21" fmla="*/ 80 h 80"/>
              <a:gd name="T22" fmla="*/ 16 w 63"/>
              <a:gd name="T23" fmla="*/ 14 h 80"/>
              <a:gd name="T24" fmla="*/ 35 w 63"/>
              <a:gd name="T25" fmla="*/ 14 h 80"/>
              <a:gd name="T26" fmla="*/ 38 w 63"/>
              <a:gd name="T27" fmla="*/ 14 h 80"/>
              <a:gd name="T28" fmla="*/ 43 w 63"/>
              <a:gd name="T29" fmla="*/ 22 h 80"/>
              <a:gd name="T30" fmla="*/ 37 w 63"/>
              <a:gd name="T31" fmla="*/ 31 h 80"/>
              <a:gd name="T32" fmla="*/ 16 w 63"/>
              <a:gd name="T33" fmla="*/ 31 h 80"/>
              <a:gd name="T34" fmla="*/ 16 w 63"/>
              <a:gd name="T35" fmla="*/ 14 h 80"/>
              <a:gd name="T36" fmla="*/ 16 w 63"/>
              <a:gd name="T37" fmla="*/ 43 h 80"/>
              <a:gd name="T38" fmla="*/ 38 w 63"/>
              <a:gd name="T39" fmla="*/ 43 h 80"/>
              <a:gd name="T40" fmla="*/ 46 w 63"/>
              <a:gd name="T41" fmla="*/ 54 h 80"/>
              <a:gd name="T42" fmla="*/ 37 w 63"/>
              <a:gd name="T43" fmla="*/ 64 h 80"/>
              <a:gd name="T44" fmla="*/ 36 w 63"/>
              <a:gd name="T45" fmla="*/ 64 h 80"/>
              <a:gd name="T46" fmla="*/ 16 w 63"/>
              <a:gd name="T47" fmla="*/ 64 h 80"/>
              <a:gd name="T48" fmla="*/ 16 w 63"/>
              <a:gd name="T49" fmla="*/ 4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3" h="80">
                <a:moveTo>
                  <a:pt x="16" y="80"/>
                </a:moveTo>
                <a:cubicBezTo>
                  <a:pt x="38" y="80"/>
                  <a:pt x="38" y="80"/>
                  <a:pt x="38" y="80"/>
                </a:cubicBezTo>
                <a:cubicBezTo>
                  <a:pt x="38" y="80"/>
                  <a:pt x="62" y="79"/>
                  <a:pt x="62" y="55"/>
                </a:cubicBezTo>
                <a:cubicBezTo>
                  <a:pt x="62" y="55"/>
                  <a:pt x="63" y="36"/>
                  <a:pt x="48" y="36"/>
                </a:cubicBezTo>
                <a:cubicBezTo>
                  <a:pt x="48" y="36"/>
                  <a:pt x="59" y="35"/>
                  <a:pt x="59" y="21"/>
                </a:cubicBezTo>
                <a:cubicBezTo>
                  <a:pt x="59" y="7"/>
                  <a:pt x="50" y="0"/>
                  <a:pt x="38" y="0"/>
                </a:cubicBezTo>
                <a:cubicBezTo>
                  <a:pt x="16" y="0"/>
                  <a:pt x="16" y="0"/>
                  <a:pt x="16" y="0"/>
                </a:cubicBezTo>
                <a:cubicBezTo>
                  <a:pt x="16" y="0"/>
                  <a:pt x="16" y="0"/>
                  <a:pt x="16" y="0"/>
                </a:cubicBezTo>
                <a:cubicBezTo>
                  <a:pt x="0" y="0"/>
                  <a:pt x="0" y="0"/>
                  <a:pt x="0" y="0"/>
                </a:cubicBezTo>
                <a:cubicBezTo>
                  <a:pt x="0" y="80"/>
                  <a:pt x="0" y="80"/>
                  <a:pt x="0" y="80"/>
                </a:cubicBezTo>
                <a:cubicBezTo>
                  <a:pt x="16" y="80"/>
                  <a:pt x="16" y="80"/>
                  <a:pt x="16" y="80"/>
                </a:cubicBezTo>
                <a:close/>
                <a:moveTo>
                  <a:pt x="16" y="14"/>
                </a:moveTo>
                <a:cubicBezTo>
                  <a:pt x="35" y="14"/>
                  <a:pt x="35" y="14"/>
                  <a:pt x="35" y="14"/>
                </a:cubicBezTo>
                <a:cubicBezTo>
                  <a:pt x="38" y="14"/>
                  <a:pt x="38" y="14"/>
                  <a:pt x="38" y="14"/>
                </a:cubicBezTo>
                <a:cubicBezTo>
                  <a:pt x="38" y="14"/>
                  <a:pt x="43" y="14"/>
                  <a:pt x="43" y="22"/>
                </a:cubicBezTo>
                <a:cubicBezTo>
                  <a:pt x="43" y="30"/>
                  <a:pt x="40" y="31"/>
                  <a:pt x="37" y="31"/>
                </a:cubicBezTo>
                <a:cubicBezTo>
                  <a:pt x="16" y="31"/>
                  <a:pt x="16" y="31"/>
                  <a:pt x="16" y="31"/>
                </a:cubicBezTo>
                <a:lnTo>
                  <a:pt x="16" y="14"/>
                </a:lnTo>
                <a:close/>
                <a:moveTo>
                  <a:pt x="16" y="43"/>
                </a:moveTo>
                <a:cubicBezTo>
                  <a:pt x="38" y="43"/>
                  <a:pt x="38" y="43"/>
                  <a:pt x="38" y="43"/>
                </a:cubicBezTo>
                <a:cubicBezTo>
                  <a:pt x="38" y="43"/>
                  <a:pt x="46" y="43"/>
                  <a:pt x="46" y="54"/>
                </a:cubicBezTo>
                <a:cubicBezTo>
                  <a:pt x="46" y="63"/>
                  <a:pt x="40" y="64"/>
                  <a:pt x="37" y="64"/>
                </a:cubicBezTo>
                <a:cubicBezTo>
                  <a:pt x="36" y="64"/>
                  <a:pt x="36" y="64"/>
                  <a:pt x="36" y="64"/>
                </a:cubicBezTo>
                <a:cubicBezTo>
                  <a:pt x="16" y="64"/>
                  <a:pt x="16" y="64"/>
                  <a:pt x="16" y="64"/>
                </a:cubicBezTo>
                <a:lnTo>
                  <a:pt x="16" y="4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24" name="Freeform 172"/>
          <p:cNvSpPr>
            <a:spLocks noEditPoints="1"/>
          </p:cNvSpPr>
          <p:nvPr/>
        </p:nvSpPr>
        <p:spPr bwMode="auto">
          <a:xfrm>
            <a:off x="7917859" y="2965481"/>
            <a:ext cx="120954" cy="123510"/>
          </a:xfrm>
          <a:custGeom>
            <a:avLst/>
            <a:gdLst>
              <a:gd name="T0" fmla="*/ 30 w 60"/>
              <a:gd name="T1" fmla="*/ 0 h 61"/>
              <a:gd name="T2" fmla="*/ 2 w 60"/>
              <a:gd name="T3" fmla="*/ 30 h 61"/>
              <a:gd name="T4" fmla="*/ 30 w 60"/>
              <a:gd name="T5" fmla="*/ 60 h 61"/>
              <a:gd name="T6" fmla="*/ 56 w 60"/>
              <a:gd name="T7" fmla="*/ 39 h 61"/>
              <a:gd name="T8" fmla="*/ 43 w 60"/>
              <a:gd name="T9" fmla="*/ 39 h 61"/>
              <a:gd name="T10" fmla="*/ 31 w 60"/>
              <a:gd name="T11" fmla="*/ 48 h 61"/>
              <a:gd name="T12" fmla="*/ 18 w 60"/>
              <a:gd name="T13" fmla="*/ 34 h 61"/>
              <a:gd name="T14" fmla="*/ 56 w 60"/>
              <a:gd name="T15" fmla="*/ 34 h 61"/>
              <a:gd name="T16" fmla="*/ 30 w 60"/>
              <a:gd name="T17" fmla="*/ 0 h 61"/>
              <a:gd name="T18" fmla="*/ 17 w 60"/>
              <a:gd name="T19" fmla="*/ 23 h 61"/>
              <a:gd name="T20" fmla="*/ 30 w 60"/>
              <a:gd name="T21" fmla="*/ 11 h 61"/>
              <a:gd name="T22" fmla="*/ 42 w 60"/>
              <a:gd name="T23" fmla="*/ 23 h 61"/>
              <a:gd name="T24" fmla="*/ 17 w 60"/>
              <a:gd name="T25" fmla="*/ 2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61">
                <a:moveTo>
                  <a:pt x="30" y="0"/>
                </a:moveTo>
                <a:cubicBezTo>
                  <a:pt x="2" y="0"/>
                  <a:pt x="2" y="30"/>
                  <a:pt x="2" y="30"/>
                </a:cubicBezTo>
                <a:cubicBezTo>
                  <a:pt x="2" y="30"/>
                  <a:pt x="0" y="60"/>
                  <a:pt x="30" y="60"/>
                </a:cubicBezTo>
                <a:cubicBezTo>
                  <a:pt x="30" y="60"/>
                  <a:pt x="56" y="61"/>
                  <a:pt x="56" y="39"/>
                </a:cubicBezTo>
                <a:cubicBezTo>
                  <a:pt x="43" y="39"/>
                  <a:pt x="43" y="39"/>
                  <a:pt x="43" y="39"/>
                </a:cubicBezTo>
                <a:cubicBezTo>
                  <a:pt x="43" y="39"/>
                  <a:pt x="43" y="48"/>
                  <a:pt x="31" y="48"/>
                </a:cubicBezTo>
                <a:cubicBezTo>
                  <a:pt x="31" y="48"/>
                  <a:pt x="18" y="48"/>
                  <a:pt x="18" y="34"/>
                </a:cubicBezTo>
                <a:cubicBezTo>
                  <a:pt x="56" y="34"/>
                  <a:pt x="56" y="34"/>
                  <a:pt x="56" y="34"/>
                </a:cubicBezTo>
                <a:cubicBezTo>
                  <a:pt x="56" y="34"/>
                  <a:pt x="60" y="0"/>
                  <a:pt x="30" y="0"/>
                </a:cubicBezTo>
                <a:close/>
                <a:moveTo>
                  <a:pt x="17" y="23"/>
                </a:moveTo>
                <a:cubicBezTo>
                  <a:pt x="17" y="23"/>
                  <a:pt x="19" y="11"/>
                  <a:pt x="30" y="11"/>
                </a:cubicBezTo>
                <a:cubicBezTo>
                  <a:pt x="42" y="11"/>
                  <a:pt x="42" y="23"/>
                  <a:pt x="42" y="23"/>
                </a:cubicBezTo>
                <a:lnTo>
                  <a:pt x="17" y="2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25" name="Rectangle 173"/>
          <p:cNvSpPr>
            <a:spLocks noChangeArrowheads="1"/>
          </p:cNvSpPr>
          <p:nvPr/>
        </p:nvSpPr>
        <p:spPr bwMode="auto">
          <a:xfrm>
            <a:off x="7945967" y="2935669"/>
            <a:ext cx="63032" cy="1362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26" name="Freeform 174"/>
          <p:cNvSpPr>
            <a:spLocks/>
          </p:cNvSpPr>
          <p:nvPr/>
        </p:nvSpPr>
        <p:spPr bwMode="auto">
          <a:xfrm>
            <a:off x="8272204" y="3060029"/>
            <a:ext cx="215503" cy="63032"/>
          </a:xfrm>
          <a:custGeom>
            <a:avLst/>
            <a:gdLst>
              <a:gd name="T0" fmla="*/ 2 w 107"/>
              <a:gd name="T1" fmla="*/ 5 h 31"/>
              <a:gd name="T2" fmla="*/ 56 w 107"/>
              <a:gd name="T3" fmla="*/ 31 h 31"/>
              <a:gd name="T4" fmla="*/ 57 w 107"/>
              <a:gd name="T5" fmla="*/ 31 h 31"/>
              <a:gd name="T6" fmla="*/ 100 w 107"/>
              <a:gd name="T7" fmla="*/ 18 h 31"/>
              <a:gd name="T8" fmla="*/ 100 w 107"/>
              <a:gd name="T9" fmla="*/ 18 h 31"/>
              <a:gd name="T10" fmla="*/ 105 w 107"/>
              <a:gd name="T11" fmla="*/ 14 h 31"/>
              <a:gd name="T12" fmla="*/ 107 w 107"/>
              <a:gd name="T13" fmla="*/ 11 h 31"/>
              <a:gd name="T14" fmla="*/ 103 w 107"/>
              <a:gd name="T15" fmla="*/ 8 h 31"/>
              <a:gd name="T16" fmla="*/ 101 w 107"/>
              <a:gd name="T17" fmla="*/ 8 h 31"/>
              <a:gd name="T18" fmla="*/ 99 w 107"/>
              <a:gd name="T19" fmla="*/ 9 h 31"/>
              <a:gd name="T20" fmla="*/ 98 w 107"/>
              <a:gd name="T21" fmla="*/ 10 h 31"/>
              <a:gd name="T22" fmla="*/ 97 w 107"/>
              <a:gd name="T23" fmla="*/ 10 h 31"/>
              <a:gd name="T24" fmla="*/ 97 w 107"/>
              <a:gd name="T25" fmla="*/ 10 h 31"/>
              <a:gd name="T26" fmla="*/ 58 w 107"/>
              <a:gd name="T27" fmla="*/ 19 h 31"/>
              <a:gd name="T28" fmla="*/ 57 w 107"/>
              <a:gd name="T29" fmla="*/ 19 h 31"/>
              <a:gd name="T30" fmla="*/ 5 w 107"/>
              <a:gd name="T31" fmla="*/ 1 h 31"/>
              <a:gd name="T32" fmla="*/ 3 w 107"/>
              <a:gd name="T33" fmla="*/ 0 h 31"/>
              <a:gd name="T34" fmla="*/ 1 w 107"/>
              <a:gd name="T35" fmla="*/ 1 h 31"/>
              <a:gd name="T36" fmla="*/ 0 w 107"/>
              <a:gd name="T37" fmla="*/ 3 h 31"/>
              <a:gd name="T38" fmla="*/ 2 w 107"/>
              <a:gd name="T39"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31">
                <a:moveTo>
                  <a:pt x="2" y="5"/>
                </a:moveTo>
                <a:cubicBezTo>
                  <a:pt x="17" y="19"/>
                  <a:pt x="34" y="31"/>
                  <a:pt x="56" y="31"/>
                </a:cubicBezTo>
                <a:cubicBezTo>
                  <a:pt x="56" y="31"/>
                  <a:pt x="57" y="31"/>
                  <a:pt x="57" y="31"/>
                </a:cubicBezTo>
                <a:cubicBezTo>
                  <a:pt x="72" y="30"/>
                  <a:pt x="88" y="26"/>
                  <a:pt x="100" y="18"/>
                </a:cubicBezTo>
                <a:cubicBezTo>
                  <a:pt x="100" y="18"/>
                  <a:pt x="100" y="18"/>
                  <a:pt x="100" y="18"/>
                </a:cubicBezTo>
                <a:cubicBezTo>
                  <a:pt x="102" y="17"/>
                  <a:pt x="104" y="16"/>
                  <a:pt x="105" y="14"/>
                </a:cubicBezTo>
                <a:cubicBezTo>
                  <a:pt x="106" y="14"/>
                  <a:pt x="107" y="13"/>
                  <a:pt x="107" y="11"/>
                </a:cubicBezTo>
                <a:cubicBezTo>
                  <a:pt x="107" y="9"/>
                  <a:pt x="105" y="8"/>
                  <a:pt x="103" y="8"/>
                </a:cubicBezTo>
                <a:cubicBezTo>
                  <a:pt x="102" y="8"/>
                  <a:pt x="102" y="8"/>
                  <a:pt x="101" y="8"/>
                </a:cubicBezTo>
                <a:cubicBezTo>
                  <a:pt x="101" y="9"/>
                  <a:pt x="100" y="9"/>
                  <a:pt x="99" y="9"/>
                </a:cubicBezTo>
                <a:cubicBezTo>
                  <a:pt x="98" y="10"/>
                  <a:pt x="98" y="10"/>
                  <a:pt x="98" y="10"/>
                </a:cubicBezTo>
                <a:cubicBezTo>
                  <a:pt x="97" y="10"/>
                  <a:pt x="97" y="10"/>
                  <a:pt x="97" y="10"/>
                </a:cubicBezTo>
                <a:cubicBezTo>
                  <a:pt x="97" y="10"/>
                  <a:pt x="97" y="10"/>
                  <a:pt x="97" y="10"/>
                </a:cubicBezTo>
                <a:cubicBezTo>
                  <a:pt x="84" y="15"/>
                  <a:pt x="71" y="18"/>
                  <a:pt x="58" y="19"/>
                </a:cubicBezTo>
                <a:cubicBezTo>
                  <a:pt x="58" y="19"/>
                  <a:pt x="57" y="19"/>
                  <a:pt x="57" y="19"/>
                </a:cubicBezTo>
                <a:cubicBezTo>
                  <a:pt x="37" y="19"/>
                  <a:pt x="21" y="10"/>
                  <a:pt x="5" y="1"/>
                </a:cubicBezTo>
                <a:cubicBezTo>
                  <a:pt x="4" y="0"/>
                  <a:pt x="4" y="0"/>
                  <a:pt x="3" y="0"/>
                </a:cubicBezTo>
                <a:cubicBezTo>
                  <a:pt x="3" y="0"/>
                  <a:pt x="2" y="0"/>
                  <a:pt x="1" y="1"/>
                </a:cubicBezTo>
                <a:cubicBezTo>
                  <a:pt x="1" y="1"/>
                  <a:pt x="0" y="2"/>
                  <a:pt x="0" y="3"/>
                </a:cubicBezTo>
                <a:cubicBezTo>
                  <a:pt x="0" y="4"/>
                  <a:pt x="1" y="5"/>
                  <a:pt x="2"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27" name="Freeform 175"/>
          <p:cNvSpPr>
            <a:spLocks/>
          </p:cNvSpPr>
          <p:nvPr/>
        </p:nvSpPr>
        <p:spPr bwMode="auto">
          <a:xfrm>
            <a:off x="8463855" y="3052363"/>
            <a:ext cx="50256" cy="50256"/>
          </a:xfrm>
          <a:custGeom>
            <a:avLst/>
            <a:gdLst>
              <a:gd name="T0" fmla="*/ 25 w 25"/>
              <a:gd name="T1" fmla="*/ 5 h 25"/>
              <a:gd name="T2" fmla="*/ 25 w 25"/>
              <a:gd name="T3" fmla="*/ 2 h 25"/>
              <a:gd name="T4" fmla="*/ 25 w 25"/>
              <a:gd name="T5" fmla="*/ 2 h 25"/>
              <a:gd name="T6" fmla="*/ 25 w 25"/>
              <a:gd name="T7" fmla="*/ 2 h 25"/>
              <a:gd name="T8" fmla="*/ 23 w 25"/>
              <a:gd name="T9" fmla="*/ 1 h 25"/>
              <a:gd name="T10" fmla="*/ 16 w 25"/>
              <a:gd name="T11" fmla="*/ 0 h 25"/>
              <a:gd name="T12" fmla="*/ 9 w 25"/>
              <a:gd name="T13" fmla="*/ 0 h 25"/>
              <a:gd name="T14" fmla="*/ 9 w 25"/>
              <a:gd name="T15" fmla="*/ 0 h 25"/>
              <a:gd name="T16" fmla="*/ 7 w 25"/>
              <a:gd name="T17" fmla="*/ 1 h 25"/>
              <a:gd name="T18" fmla="*/ 7 w 25"/>
              <a:gd name="T19" fmla="*/ 1 h 25"/>
              <a:gd name="T20" fmla="*/ 6 w 25"/>
              <a:gd name="T21" fmla="*/ 1 h 25"/>
              <a:gd name="T22" fmla="*/ 6 w 25"/>
              <a:gd name="T23" fmla="*/ 1 h 25"/>
              <a:gd name="T24" fmla="*/ 1 w 25"/>
              <a:gd name="T25" fmla="*/ 4 h 25"/>
              <a:gd name="T26" fmla="*/ 0 w 25"/>
              <a:gd name="T27" fmla="*/ 6 h 25"/>
              <a:gd name="T28" fmla="*/ 1 w 25"/>
              <a:gd name="T29" fmla="*/ 8 h 25"/>
              <a:gd name="T30" fmla="*/ 3 w 25"/>
              <a:gd name="T31" fmla="*/ 9 h 25"/>
              <a:gd name="T32" fmla="*/ 3 w 25"/>
              <a:gd name="T33" fmla="*/ 9 h 25"/>
              <a:gd name="T34" fmla="*/ 3 w 25"/>
              <a:gd name="T35" fmla="*/ 9 h 25"/>
              <a:gd name="T36" fmla="*/ 3 w 25"/>
              <a:gd name="T37" fmla="*/ 9 h 25"/>
              <a:gd name="T38" fmla="*/ 8 w 25"/>
              <a:gd name="T39" fmla="*/ 8 h 25"/>
              <a:gd name="T40" fmla="*/ 13 w 25"/>
              <a:gd name="T41" fmla="*/ 8 h 25"/>
              <a:gd name="T42" fmla="*/ 16 w 25"/>
              <a:gd name="T43" fmla="*/ 8 h 25"/>
              <a:gd name="T44" fmla="*/ 16 w 25"/>
              <a:gd name="T45" fmla="*/ 8 h 25"/>
              <a:gd name="T46" fmla="*/ 16 w 25"/>
              <a:gd name="T47" fmla="*/ 8 h 25"/>
              <a:gd name="T48" fmla="*/ 16 w 25"/>
              <a:gd name="T49" fmla="*/ 9 h 25"/>
              <a:gd name="T50" fmla="*/ 15 w 25"/>
              <a:gd name="T51" fmla="*/ 15 h 25"/>
              <a:gd name="T52" fmla="*/ 13 w 25"/>
              <a:gd name="T53" fmla="*/ 21 h 25"/>
              <a:gd name="T54" fmla="*/ 13 w 25"/>
              <a:gd name="T55" fmla="*/ 22 h 25"/>
              <a:gd name="T56" fmla="*/ 14 w 25"/>
              <a:gd name="T57" fmla="*/ 24 h 25"/>
              <a:gd name="T58" fmla="*/ 15 w 25"/>
              <a:gd name="T59" fmla="*/ 25 h 25"/>
              <a:gd name="T60" fmla="*/ 15 w 25"/>
              <a:gd name="T61" fmla="*/ 25 h 25"/>
              <a:gd name="T62" fmla="*/ 17 w 25"/>
              <a:gd name="T63" fmla="*/ 24 h 25"/>
              <a:gd name="T64" fmla="*/ 25 w 25"/>
              <a:gd name="T65" fmla="*/ 5 h 25"/>
              <a:gd name="T66" fmla="*/ 25 w 25"/>
              <a:gd name="T6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25">
                <a:moveTo>
                  <a:pt x="25" y="5"/>
                </a:moveTo>
                <a:cubicBezTo>
                  <a:pt x="25" y="3"/>
                  <a:pt x="25" y="2"/>
                  <a:pt x="25" y="2"/>
                </a:cubicBezTo>
                <a:cubicBezTo>
                  <a:pt x="25" y="2"/>
                  <a:pt x="25" y="2"/>
                  <a:pt x="25" y="2"/>
                </a:cubicBezTo>
                <a:cubicBezTo>
                  <a:pt x="25" y="2"/>
                  <a:pt x="25" y="2"/>
                  <a:pt x="25" y="2"/>
                </a:cubicBezTo>
                <a:cubicBezTo>
                  <a:pt x="24" y="1"/>
                  <a:pt x="23" y="1"/>
                  <a:pt x="23" y="1"/>
                </a:cubicBezTo>
                <a:cubicBezTo>
                  <a:pt x="21" y="0"/>
                  <a:pt x="19" y="0"/>
                  <a:pt x="16" y="0"/>
                </a:cubicBezTo>
                <a:cubicBezTo>
                  <a:pt x="14" y="0"/>
                  <a:pt x="12" y="0"/>
                  <a:pt x="9" y="0"/>
                </a:cubicBezTo>
                <a:cubicBezTo>
                  <a:pt x="9" y="0"/>
                  <a:pt x="9" y="0"/>
                  <a:pt x="9" y="0"/>
                </a:cubicBezTo>
                <a:cubicBezTo>
                  <a:pt x="7" y="1"/>
                  <a:pt x="7" y="1"/>
                  <a:pt x="7" y="1"/>
                </a:cubicBezTo>
                <a:cubicBezTo>
                  <a:pt x="7" y="1"/>
                  <a:pt x="7" y="1"/>
                  <a:pt x="7" y="1"/>
                </a:cubicBezTo>
                <a:cubicBezTo>
                  <a:pt x="6" y="1"/>
                  <a:pt x="6" y="1"/>
                  <a:pt x="6" y="1"/>
                </a:cubicBezTo>
                <a:cubicBezTo>
                  <a:pt x="6" y="1"/>
                  <a:pt x="6" y="1"/>
                  <a:pt x="6" y="1"/>
                </a:cubicBezTo>
                <a:cubicBezTo>
                  <a:pt x="4" y="2"/>
                  <a:pt x="3" y="3"/>
                  <a:pt x="1" y="4"/>
                </a:cubicBezTo>
                <a:cubicBezTo>
                  <a:pt x="1" y="4"/>
                  <a:pt x="0" y="5"/>
                  <a:pt x="0" y="6"/>
                </a:cubicBezTo>
                <a:cubicBezTo>
                  <a:pt x="0" y="7"/>
                  <a:pt x="0" y="8"/>
                  <a:pt x="1" y="8"/>
                </a:cubicBezTo>
                <a:cubicBezTo>
                  <a:pt x="1" y="9"/>
                  <a:pt x="2" y="9"/>
                  <a:pt x="3" y="9"/>
                </a:cubicBezTo>
                <a:cubicBezTo>
                  <a:pt x="3" y="9"/>
                  <a:pt x="3" y="9"/>
                  <a:pt x="3" y="9"/>
                </a:cubicBezTo>
                <a:cubicBezTo>
                  <a:pt x="3" y="9"/>
                  <a:pt x="3" y="9"/>
                  <a:pt x="3" y="9"/>
                </a:cubicBezTo>
                <a:cubicBezTo>
                  <a:pt x="3" y="9"/>
                  <a:pt x="3" y="9"/>
                  <a:pt x="3" y="9"/>
                </a:cubicBezTo>
                <a:cubicBezTo>
                  <a:pt x="4" y="9"/>
                  <a:pt x="6" y="8"/>
                  <a:pt x="8" y="8"/>
                </a:cubicBezTo>
                <a:cubicBezTo>
                  <a:pt x="10" y="8"/>
                  <a:pt x="11" y="8"/>
                  <a:pt x="13" y="8"/>
                </a:cubicBezTo>
                <a:cubicBezTo>
                  <a:pt x="14" y="8"/>
                  <a:pt x="15" y="8"/>
                  <a:pt x="16" y="8"/>
                </a:cubicBezTo>
                <a:cubicBezTo>
                  <a:pt x="16" y="8"/>
                  <a:pt x="16" y="8"/>
                  <a:pt x="16" y="8"/>
                </a:cubicBezTo>
                <a:cubicBezTo>
                  <a:pt x="16" y="8"/>
                  <a:pt x="16" y="8"/>
                  <a:pt x="16" y="8"/>
                </a:cubicBezTo>
                <a:cubicBezTo>
                  <a:pt x="16" y="8"/>
                  <a:pt x="16" y="9"/>
                  <a:pt x="16" y="9"/>
                </a:cubicBezTo>
                <a:cubicBezTo>
                  <a:pt x="16" y="10"/>
                  <a:pt x="16" y="13"/>
                  <a:pt x="15" y="15"/>
                </a:cubicBezTo>
                <a:cubicBezTo>
                  <a:pt x="14" y="17"/>
                  <a:pt x="14" y="19"/>
                  <a:pt x="13" y="21"/>
                </a:cubicBezTo>
                <a:cubicBezTo>
                  <a:pt x="13" y="21"/>
                  <a:pt x="13" y="22"/>
                  <a:pt x="13" y="22"/>
                </a:cubicBezTo>
                <a:cubicBezTo>
                  <a:pt x="13" y="23"/>
                  <a:pt x="13" y="24"/>
                  <a:pt x="14" y="24"/>
                </a:cubicBezTo>
                <a:cubicBezTo>
                  <a:pt x="14" y="25"/>
                  <a:pt x="15" y="25"/>
                  <a:pt x="15" y="25"/>
                </a:cubicBezTo>
                <a:cubicBezTo>
                  <a:pt x="15" y="25"/>
                  <a:pt x="15" y="25"/>
                  <a:pt x="15" y="25"/>
                </a:cubicBezTo>
                <a:cubicBezTo>
                  <a:pt x="16" y="25"/>
                  <a:pt x="17" y="24"/>
                  <a:pt x="17" y="24"/>
                </a:cubicBezTo>
                <a:cubicBezTo>
                  <a:pt x="23" y="19"/>
                  <a:pt x="25" y="10"/>
                  <a:pt x="25" y="5"/>
                </a:cubicBezTo>
                <a:cubicBezTo>
                  <a:pt x="25" y="5"/>
                  <a:pt x="25" y="5"/>
                  <a:pt x="25"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28" name="Freeform 176"/>
          <p:cNvSpPr>
            <a:spLocks noEditPoints="1"/>
          </p:cNvSpPr>
          <p:nvPr/>
        </p:nvSpPr>
        <p:spPr bwMode="auto">
          <a:xfrm>
            <a:off x="8316496" y="2881155"/>
            <a:ext cx="147360" cy="175469"/>
          </a:xfrm>
          <a:custGeom>
            <a:avLst/>
            <a:gdLst>
              <a:gd name="T0" fmla="*/ 45 w 73"/>
              <a:gd name="T1" fmla="*/ 33 h 87"/>
              <a:gd name="T2" fmla="*/ 34 w 73"/>
              <a:gd name="T3" fmla="*/ 34 h 87"/>
              <a:gd name="T4" fmla="*/ 16 w 73"/>
              <a:gd name="T5" fmla="*/ 39 h 87"/>
              <a:gd name="T6" fmla="*/ 0 w 73"/>
              <a:gd name="T7" fmla="*/ 63 h 87"/>
              <a:gd name="T8" fmla="*/ 23 w 73"/>
              <a:gd name="T9" fmla="*/ 87 h 87"/>
              <a:gd name="T10" fmla="*/ 34 w 73"/>
              <a:gd name="T11" fmla="*/ 86 h 87"/>
              <a:gd name="T12" fmla="*/ 48 w 73"/>
              <a:gd name="T13" fmla="*/ 76 h 87"/>
              <a:gd name="T14" fmla="*/ 57 w 73"/>
              <a:gd name="T15" fmla="*/ 86 h 87"/>
              <a:gd name="T16" fmla="*/ 60 w 73"/>
              <a:gd name="T17" fmla="*/ 86 h 87"/>
              <a:gd name="T18" fmla="*/ 72 w 73"/>
              <a:gd name="T19" fmla="*/ 76 h 87"/>
              <a:gd name="T20" fmla="*/ 72 w 73"/>
              <a:gd name="T21" fmla="*/ 72 h 87"/>
              <a:gd name="T22" fmla="*/ 66 w 73"/>
              <a:gd name="T23" fmla="*/ 58 h 87"/>
              <a:gd name="T24" fmla="*/ 66 w 73"/>
              <a:gd name="T25" fmla="*/ 34 h 87"/>
              <a:gd name="T26" fmla="*/ 60 w 73"/>
              <a:gd name="T27" fmla="*/ 8 h 87"/>
              <a:gd name="T28" fmla="*/ 37 w 73"/>
              <a:gd name="T29" fmla="*/ 0 h 87"/>
              <a:gd name="T30" fmla="*/ 34 w 73"/>
              <a:gd name="T31" fmla="*/ 0 h 87"/>
              <a:gd name="T32" fmla="*/ 3 w 73"/>
              <a:gd name="T33" fmla="*/ 23 h 87"/>
              <a:gd name="T34" fmla="*/ 5 w 73"/>
              <a:gd name="T35" fmla="*/ 26 h 87"/>
              <a:gd name="T36" fmla="*/ 19 w 73"/>
              <a:gd name="T37" fmla="*/ 28 h 87"/>
              <a:gd name="T38" fmla="*/ 22 w 73"/>
              <a:gd name="T39" fmla="*/ 25 h 87"/>
              <a:gd name="T40" fmla="*/ 34 w 73"/>
              <a:gd name="T41" fmla="*/ 16 h 87"/>
              <a:gd name="T42" fmla="*/ 35 w 73"/>
              <a:gd name="T43" fmla="*/ 16 h 87"/>
              <a:gd name="T44" fmla="*/ 43 w 73"/>
              <a:gd name="T45" fmla="*/ 20 h 87"/>
              <a:gd name="T46" fmla="*/ 45 w 73"/>
              <a:gd name="T47" fmla="*/ 31 h 87"/>
              <a:gd name="T48" fmla="*/ 45 w 73"/>
              <a:gd name="T49" fmla="*/ 33 h 87"/>
              <a:gd name="T50" fmla="*/ 42 w 73"/>
              <a:gd name="T51" fmla="*/ 65 h 87"/>
              <a:gd name="T52" fmla="*/ 34 w 73"/>
              <a:gd name="T53" fmla="*/ 72 h 87"/>
              <a:gd name="T54" fmla="*/ 31 w 73"/>
              <a:gd name="T55" fmla="*/ 72 h 87"/>
              <a:gd name="T56" fmla="*/ 22 w 73"/>
              <a:gd name="T57" fmla="*/ 61 h 87"/>
              <a:gd name="T58" fmla="*/ 34 w 73"/>
              <a:gd name="T59" fmla="*/ 46 h 87"/>
              <a:gd name="T60" fmla="*/ 45 w 73"/>
              <a:gd name="T61" fmla="*/ 45 h 87"/>
              <a:gd name="T62" fmla="*/ 45 w 73"/>
              <a:gd name="T63" fmla="*/ 49 h 87"/>
              <a:gd name="T64" fmla="*/ 42 w 73"/>
              <a:gd name="T65"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 h="87">
                <a:moveTo>
                  <a:pt x="45" y="33"/>
                </a:moveTo>
                <a:cubicBezTo>
                  <a:pt x="41" y="33"/>
                  <a:pt x="37" y="34"/>
                  <a:pt x="34" y="34"/>
                </a:cubicBezTo>
                <a:cubicBezTo>
                  <a:pt x="27" y="35"/>
                  <a:pt x="21" y="36"/>
                  <a:pt x="16" y="39"/>
                </a:cubicBezTo>
                <a:cubicBezTo>
                  <a:pt x="6" y="42"/>
                  <a:pt x="0" y="51"/>
                  <a:pt x="0" y="63"/>
                </a:cubicBezTo>
                <a:cubicBezTo>
                  <a:pt x="0" y="79"/>
                  <a:pt x="10" y="87"/>
                  <a:pt x="23" y="87"/>
                </a:cubicBezTo>
                <a:cubicBezTo>
                  <a:pt x="27" y="87"/>
                  <a:pt x="30" y="86"/>
                  <a:pt x="34" y="86"/>
                </a:cubicBezTo>
                <a:cubicBezTo>
                  <a:pt x="39" y="84"/>
                  <a:pt x="43" y="81"/>
                  <a:pt x="48" y="76"/>
                </a:cubicBezTo>
                <a:cubicBezTo>
                  <a:pt x="51" y="80"/>
                  <a:pt x="52" y="82"/>
                  <a:pt x="57" y="86"/>
                </a:cubicBezTo>
                <a:cubicBezTo>
                  <a:pt x="58" y="86"/>
                  <a:pt x="59" y="86"/>
                  <a:pt x="60" y="86"/>
                </a:cubicBezTo>
                <a:cubicBezTo>
                  <a:pt x="63" y="83"/>
                  <a:pt x="69" y="78"/>
                  <a:pt x="72" y="76"/>
                </a:cubicBezTo>
                <a:cubicBezTo>
                  <a:pt x="73" y="75"/>
                  <a:pt x="73" y="73"/>
                  <a:pt x="72" y="72"/>
                </a:cubicBezTo>
                <a:cubicBezTo>
                  <a:pt x="69" y="68"/>
                  <a:pt x="66" y="65"/>
                  <a:pt x="66" y="58"/>
                </a:cubicBezTo>
                <a:cubicBezTo>
                  <a:pt x="66" y="34"/>
                  <a:pt x="66" y="34"/>
                  <a:pt x="66" y="34"/>
                </a:cubicBezTo>
                <a:cubicBezTo>
                  <a:pt x="66" y="24"/>
                  <a:pt x="67" y="14"/>
                  <a:pt x="60" y="8"/>
                </a:cubicBezTo>
                <a:cubicBezTo>
                  <a:pt x="54" y="2"/>
                  <a:pt x="44" y="0"/>
                  <a:pt x="37" y="0"/>
                </a:cubicBezTo>
                <a:cubicBezTo>
                  <a:pt x="34" y="0"/>
                  <a:pt x="34" y="0"/>
                  <a:pt x="34" y="0"/>
                </a:cubicBezTo>
                <a:cubicBezTo>
                  <a:pt x="20" y="1"/>
                  <a:pt x="6" y="6"/>
                  <a:pt x="3" y="23"/>
                </a:cubicBezTo>
                <a:cubicBezTo>
                  <a:pt x="2" y="25"/>
                  <a:pt x="4" y="26"/>
                  <a:pt x="5" y="26"/>
                </a:cubicBezTo>
                <a:cubicBezTo>
                  <a:pt x="19" y="28"/>
                  <a:pt x="19" y="28"/>
                  <a:pt x="19" y="28"/>
                </a:cubicBezTo>
                <a:cubicBezTo>
                  <a:pt x="21" y="28"/>
                  <a:pt x="22" y="27"/>
                  <a:pt x="22" y="25"/>
                </a:cubicBezTo>
                <a:cubicBezTo>
                  <a:pt x="23" y="19"/>
                  <a:pt x="28" y="17"/>
                  <a:pt x="34" y="16"/>
                </a:cubicBezTo>
                <a:cubicBezTo>
                  <a:pt x="35" y="16"/>
                  <a:pt x="35" y="16"/>
                  <a:pt x="35" y="16"/>
                </a:cubicBezTo>
                <a:cubicBezTo>
                  <a:pt x="38" y="16"/>
                  <a:pt x="41" y="17"/>
                  <a:pt x="43" y="20"/>
                </a:cubicBezTo>
                <a:cubicBezTo>
                  <a:pt x="45" y="23"/>
                  <a:pt x="45" y="27"/>
                  <a:pt x="45" y="31"/>
                </a:cubicBezTo>
                <a:lnTo>
                  <a:pt x="45" y="33"/>
                </a:lnTo>
                <a:close/>
                <a:moveTo>
                  <a:pt x="42" y="65"/>
                </a:moveTo>
                <a:cubicBezTo>
                  <a:pt x="40" y="68"/>
                  <a:pt x="37" y="71"/>
                  <a:pt x="34" y="72"/>
                </a:cubicBezTo>
                <a:cubicBezTo>
                  <a:pt x="33" y="72"/>
                  <a:pt x="32" y="72"/>
                  <a:pt x="31" y="72"/>
                </a:cubicBezTo>
                <a:cubicBezTo>
                  <a:pt x="26" y="72"/>
                  <a:pt x="22" y="67"/>
                  <a:pt x="22" y="61"/>
                </a:cubicBezTo>
                <a:cubicBezTo>
                  <a:pt x="22" y="52"/>
                  <a:pt x="27" y="48"/>
                  <a:pt x="34" y="46"/>
                </a:cubicBezTo>
                <a:cubicBezTo>
                  <a:pt x="37" y="46"/>
                  <a:pt x="41" y="45"/>
                  <a:pt x="45" y="45"/>
                </a:cubicBezTo>
                <a:cubicBezTo>
                  <a:pt x="45" y="49"/>
                  <a:pt x="45" y="49"/>
                  <a:pt x="45" y="49"/>
                </a:cubicBezTo>
                <a:cubicBezTo>
                  <a:pt x="45" y="55"/>
                  <a:pt x="45" y="59"/>
                  <a:pt x="42" y="6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29" name="Freeform 177"/>
          <p:cNvSpPr>
            <a:spLocks/>
          </p:cNvSpPr>
          <p:nvPr/>
        </p:nvSpPr>
        <p:spPr bwMode="auto">
          <a:xfrm>
            <a:off x="6355679" y="3439075"/>
            <a:ext cx="94549" cy="138842"/>
          </a:xfrm>
          <a:custGeom>
            <a:avLst/>
            <a:gdLst>
              <a:gd name="T0" fmla="*/ 35 w 47"/>
              <a:gd name="T1" fmla="*/ 2 h 69"/>
              <a:gd name="T2" fmla="*/ 24 w 47"/>
              <a:gd name="T3" fmla="*/ 21 h 69"/>
              <a:gd name="T4" fmla="*/ 11 w 47"/>
              <a:gd name="T5" fmla="*/ 43 h 69"/>
              <a:gd name="T6" fmla="*/ 1 w 47"/>
              <a:gd name="T7" fmla="*/ 60 h 69"/>
              <a:gd name="T8" fmla="*/ 2 w 47"/>
              <a:gd name="T9" fmla="*/ 64 h 69"/>
              <a:gd name="T10" fmla="*/ 9 w 47"/>
              <a:gd name="T11" fmla="*/ 68 h 69"/>
              <a:gd name="T12" fmla="*/ 13 w 47"/>
              <a:gd name="T13" fmla="*/ 67 h 69"/>
              <a:gd name="T14" fmla="*/ 27 w 47"/>
              <a:gd name="T15" fmla="*/ 43 h 69"/>
              <a:gd name="T16" fmla="*/ 37 w 47"/>
              <a:gd name="T17" fmla="*/ 27 h 69"/>
              <a:gd name="T18" fmla="*/ 47 w 47"/>
              <a:gd name="T19" fmla="*/ 9 h 69"/>
              <a:gd name="T20" fmla="*/ 46 w 47"/>
              <a:gd name="T21" fmla="*/ 5 h 69"/>
              <a:gd name="T22" fmla="*/ 38 w 47"/>
              <a:gd name="T23" fmla="*/ 1 h 69"/>
              <a:gd name="T24" fmla="*/ 35 w 47"/>
              <a:gd name="T25" fmla="*/ 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69">
                <a:moveTo>
                  <a:pt x="35" y="2"/>
                </a:moveTo>
                <a:cubicBezTo>
                  <a:pt x="24" y="21"/>
                  <a:pt x="24" y="21"/>
                  <a:pt x="24" y="21"/>
                </a:cubicBezTo>
                <a:cubicBezTo>
                  <a:pt x="11" y="43"/>
                  <a:pt x="11" y="43"/>
                  <a:pt x="11" y="43"/>
                </a:cubicBezTo>
                <a:cubicBezTo>
                  <a:pt x="1" y="60"/>
                  <a:pt x="1" y="60"/>
                  <a:pt x="1" y="60"/>
                </a:cubicBezTo>
                <a:cubicBezTo>
                  <a:pt x="0" y="62"/>
                  <a:pt x="1" y="63"/>
                  <a:pt x="2" y="64"/>
                </a:cubicBezTo>
                <a:cubicBezTo>
                  <a:pt x="9" y="68"/>
                  <a:pt x="9" y="68"/>
                  <a:pt x="9" y="68"/>
                </a:cubicBezTo>
                <a:cubicBezTo>
                  <a:pt x="11" y="69"/>
                  <a:pt x="12" y="69"/>
                  <a:pt x="13" y="67"/>
                </a:cubicBezTo>
                <a:cubicBezTo>
                  <a:pt x="27" y="43"/>
                  <a:pt x="27" y="43"/>
                  <a:pt x="27" y="43"/>
                </a:cubicBezTo>
                <a:cubicBezTo>
                  <a:pt x="37" y="27"/>
                  <a:pt x="37" y="27"/>
                  <a:pt x="37" y="27"/>
                </a:cubicBezTo>
                <a:cubicBezTo>
                  <a:pt x="47" y="9"/>
                  <a:pt x="47" y="9"/>
                  <a:pt x="47" y="9"/>
                </a:cubicBezTo>
                <a:cubicBezTo>
                  <a:pt x="47" y="8"/>
                  <a:pt x="47" y="6"/>
                  <a:pt x="46" y="5"/>
                </a:cubicBezTo>
                <a:cubicBezTo>
                  <a:pt x="38" y="1"/>
                  <a:pt x="38" y="1"/>
                  <a:pt x="38" y="1"/>
                </a:cubicBezTo>
                <a:cubicBezTo>
                  <a:pt x="37" y="0"/>
                  <a:pt x="35" y="1"/>
                  <a:pt x="35"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30" name="Freeform 178"/>
          <p:cNvSpPr>
            <a:spLocks/>
          </p:cNvSpPr>
          <p:nvPr/>
        </p:nvSpPr>
        <p:spPr bwMode="auto">
          <a:xfrm>
            <a:off x="6516665" y="3481665"/>
            <a:ext cx="54514" cy="40034"/>
          </a:xfrm>
          <a:custGeom>
            <a:avLst/>
            <a:gdLst>
              <a:gd name="T0" fmla="*/ 25 w 27"/>
              <a:gd name="T1" fmla="*/ 0 h 20"/>
              <a:gd name="T2" fmla="*/ 0 w 27"/>
              <a:gd name="T3" fmla="*/ 0 h 20"/>
              <a:gd name="T4" fmla="*/ 11 w 27"/>
              <a:gd name="T5" fmla="*/ 20 h 20"/>
              <a:gd name="T6" fmla="*/ 25 w 27"/>
              <a:gd name="T7" fmla="*/ 20 h 20"/>
              <a:gd name="T8" fmla="*/ 27 w 27"/>
              <a:gd name="T9" fmla="*/ 16 h 20"/>
              <a:gd name="T10" fmla="*/ 27 w 27"/>
              <a:gd name="T11" fmla="*/ 3 h 20"/>
              <a:gd name="T12" fmla="*/ 25 w 27"/>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7" h="20">
                <a:moveTo>
                  <a:pt x="25" y="0"/>
                </a:moveTo>
                <a:cubicBezTo>
                  <a:pt x="0" y="0"/>
                  <a:pt x="0" y="0"/>
                  <a:pt x="0" y="0"/>
                </a:cubicBezTo>
                <a:cubicBezTo>
                  <a:pt x="3" y="6"/>
                  <a:pt x="11" y="19"/>
                  <a:pt x="11" y="20"/>
                </a:cubicBezTo>
                <a:cubicBezTo>
                  <a:pt x="25" y="20"/>
                  <a:pt x="25" y="20"/>
                  <a:pt x="25" y="20"/>
                </a:cubicBezTo>
                <a:cubicBezTo>
                  <a:pt x="26" y="20"/>
                  <a:pt x="27" y="17"/>
                  <a:pt x="27" y="16"/>
                </a:cubicBezTo>
                <a:cubicBezTo>
                  <a:pt x="27" y="3"/>
                  <a:pt x="27" y="3"/>
                  <a:pt x="27" y="3"/>
                </a:cubicBezTo>
                <a:cubicBezTo>
                  <a:pt x="27" y="1"/>
                  <a:pt x="26" y="0"/>
                  <a:pt x="25"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31" name="Freeform 179"/>
          <p:cNvSpPr>
            <a:spLocks/>
          </p:cNvSpPr>
          <p:nvPr/>
        </p:nvSpPr>
        <p:spPr bwMode="auto">
          <a:xfrm>
            <a:off x="6422117" y="3481665"/>
            <a:ext cx="66440" cy="40034"/>
          </a:xfrm>
          <a:custGeom>
            <a:avLst/>
            <a:gdLst>
              <a:gd name="T0" fmla="*/ 12 w 33"/>
              <a:gd name="T1" fmla="*/ 0 h 20"/>
              <a:gd name="T2" fmla="*/ 0 w 33"/>
              <a:gd name="T3" fmla="*/ 20 h 20"/>
              <a:gd name="T4" fmla="*/ 33 w 33"/>
              <a:gd name="T5" fmla="*/ 20 h 20"/>
              <a:gd name="T6" fmla="*/ 23 w 33"/>
              <a:gd name="T7" fmla="*/ 0 h 20"/>
              <a:gd name="T8" fmla="*/ 12 w 33"/>
              <a:gd name="T9" fmla="*/ 0 h 20"/>
            </a:gdLst>
            <a:ahLst/>
            <a:cxnLst>
              <a:cxn ang="0">
                <a:pos x="T0" y="T1"/>
              </a:cxn>
              <a:cxn ang="0">
                <a:pos x="T2" y="T3"/>
              </a:cxn>
              <a:cxn ang="0">
                <a:pos x="T4" y="T5"/>
              </a:cxn>
              <a:cxn ang="0">
                <a:pos x="T6" y="T7"/>
              </a:cxn>
              <a:cxn ang="0">
                <a:pos x="T8" y="T9"/>
              </a:cxn>
            </a:cxnLst>
            <a:rect l="0" t="0" r="r" b="b"/>
            <a:pathLst>
              <a:path w="33" h="20">
                <a:moveTo>
                  <a:pt x="12" y="0"/>
                </a:moveTo>
                <a:cubicBezTo>
                  <a:pt x="0" y="20"/>
                  <a:pt x="0" y="20"/>
                  <a:pt x="0" y="20"/>
                </a:cubicBezTo>
                <a:cubicBezTo>
                  <a:pt x="33" y="20"/>
                  <a:pt x="33" y="20"/>
                  <a:pt x="33" y="20"/>
                </a:cubicBezTo>
                <a:cubicBezTo>
                  <a:pt x="31" y="15"/>
                  <a:pt x="28" y="10"/>
                  <a:pt x="23" y="0"/>
                </a:cubicBezTo>
                <a:lnTo>
                  <a:pt x="12"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32" name="Freeform 180"/>
          <p:cNvSpPr>
            <a:spLocks/>
          </p:cNvSpPr>
          <p:nvPr/>
        </p:nvSpPr>
        <p:spPr bwMode="auto">
          <a:xfrm>
            <a:off x="6329273" y="3481665"/>
            <a:ext cx="62181" cy="40034"/>
          </a:xfrm>
          <a:custGeom>
            <a:avLst/>
            <a:gdLst>
              <a:gd name="T0" fmla="*/ 3 w 31"/>
              <a:gd name="T1" fmla="*/ 20 h 20"/>
              <a:gd name="T2" fmla="*/ 19 w 31"/>
              <a:gd name="T3" fmla="*/ 20 h 20"/>
              <a:gd name="T4" fmla="*/ 31 w 31"/>
              <a:gd name="T5" fmla="*/ 0 h 20"/>
              <a:gd name="T6" fmla="*/ 3 w 31"/>
              <a:gd name="T7" fmla="*/ 0 h 20"/>
              <a:gd name="T8" fmla="*/ 0 w 31"/>
              <a:gd name="T9" fmla="*/ 3 h 20"/>
              <a:gd name="T10" fmla="*/ 0 w 31"/>
              <a:gd name="T11" fmla="*/ 16 h 20"/>
              <a:gd name="T12" fmla="*/ 3 w 31"/>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31" h="20">
                <a:moveTo>
                  <a:pt x="3" y="20"/>
                </a:moveTo>
                <a:cubicBezTo>
                  <a:pt x="19" y="20"/>
                  <a:pt x="19" y="20"/>
                  <a:pt x="19" y="20"/>
                </a:cubicBezTo>
                <a:cubicBezTo>
                  <a:pt x="31" y="0"/>
                  <a:pt x="31" y="0"/>
                  <a:pt x="31" y="0"/>
                </a:cubicBezTo>
                <a:cubicBezTo>
                  <a:pt x="3" y="0"/>
                  <a:pt x="3" y="0"/>
                  <a:pt x="3" y="0"/>
                </a:cubicBezTo>
                <a:cubicBezTo>
                  <a:pt x="1" y="0"/>
                  <a:pt x="0" y="1"/>
                  <a:pt x="0" y="3"/>
                </a:cubicBezTo>
                <a:cubicBezTo>
                  <a:pt x="0" y="16"/>
                  <a:pt x="0" y="16"/>
                  <a:pt x="0" y="16"/>
                </a:cubicBezTo>
                <a:cubicBezTo>
                  <a:pt x="0" y="17"/>
                  <a:pt x="1" y="20"/>
                  <a:pt x="3"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33" name="Freeform 181"/>
          <p:cNvSpPr>
            <a:spLocks/>
          </p:cNvSpPr>
          <p:nvPr/>
        </p:nvSpPr>
        <p:spPr bwMode="auto">
          <a:xfrm>
            <a:off x="6347160" y="3571954"/>
            <a:ext cx="24702" cy="32368"/>
          </a:xfrm>
          <a:custGeom>
            <a:avLst/>
            <a:gdLst>
              <a:gd name="T0" fmla="*/ 2 w 12"/>
              <a:gd name="T1" fmla="*/ 15 h 16"/>
              <a:gd name="T2" fmla="*/ 11 w 12"/>
              <a:gd name="T3" fmla="*/ 8 h 16"/>
              <a:gd name="T4" fmla="*/ 11 w 12"/>
              <a:gd name="T5" fmla="*/ 5 h 16"/>
              <a:gd name="T6" fmla="*/ 4 w 12"/>
              <a:gd name="T7" fmla="*/ 1 h 16"/>
              <a:gd name="T8" fmla="*/ 1 w 12"/>
              <a:gd name="T9" fmla="*/ 3 h 16"/>
              <a:gd name="T10" fmla="*/ 0 w 12"/>
              <a:gd name="T11" fmla="*/ 14 h 16"/>
              <a:gd name="T12" fmla="*/ 2 w 12"/>
              <a:gd name="T13" fmla="*/ 15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2" y="15"/>
                </a:moveTo>
                <a:cubicBezTo>
                  <a:pt x="11" y="8"/>
                  <a:pt x="11" y="8"/>
                  <a:pt x="11" y="8"/>
                </a:cubicBezTo>
                <a:cubicBezTo>
                  <a:pt x="12" y="7"/>
                  <a:pt x="12" y="6"/>
                  <a:pt x="11" y="5"/>
                </a:cubicBezTo>
                <a:cubicBezTo>
                  <a:pt x="4" y="1"/>
                  <a:pt x="4" y="1"/>
                  <a:pt x="4" y="1"/>
                </a:cubicBezTo>
                <a:cubicBezTo>
                  <a:pt x="2" y="0"/>
                  <a:pt x="1" y="1"/>
                  <a:pt x="1" y="3"/>
                </a:cubicBezTo>
                <a:cubicBezTo>
                  <a:pt x="0" y="14"/>
                  <a:pt x="0" y="14"/>
                  <a:pt x="0" y="14"/>
                </a:cubicBezTo>
                <a:cubicBezTo>
                  <a:pt x="0" y="15"/>
                  <a:pt x="1" y="16"/>
                  <a:pt x="2" y="1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34" name="Freeform 182"/>
          <p:cNvSpPr>
            <a:spLocks/>
          </p:cNvSpPr>
          <p:nvPr/>
        </p:nvSpPr>
        <p:spPr bwMode="auto">
          <a:xfrm>
            <a:off x="6438302" y="3381154"/>
            <a:ext cx="94549" cy="160988"/>
          </a:xfrm>
          <a:custGeom>
            <a:avLst/>
            <a:gdLst>
              <a:gd name="T0" fmla="*/ 45 w 47"/>
              <a:gd name="T1" fmla="*/ 72 h 80"/>
              <a:gd name="T2" fmla="*/ 40 w 47"/>
              <a:gd name="T3" fmla="*/ 63 h 80"/>
              <a:gd name="T4" fmla="*/ 40 w 47"/>
              <a:gd name="T5" fmla="*/ 63 h 80"/>
              <a:gd name="T6" fmla="*/ 40 w 47"/>
              <a:gd name="T7" fmla="*/ 62 h 80"/>
              <a:gd name="T8" fmla="*/ 39 w 47"/>
              <a:gd name="T9" fmla="*/ 61 h 80"/>
              <a:gd name="T10" fmla="*/ 39 w 47"/>
              <a:gd name="T11" fmla="*/ 60 h 80"/>
              <a:gd name="T12" fmla="*/ 38 w 47"/>
              <a:gd name="T13" fmla="*/ 59 h 80"/>
              <a:gd name="T14" fmla="*/ 38 w 47"/>
              <a:gd name="T15" fmla="*/ 59 h 80"/>
              <a:gd name="T16" fmla="*/ 37 w 47"/>
              <a:gd name="T17" fmla="*/ 58 h 80"/>
              <a:gd name="T18" fmla="*/ 37 w 47"/>
              <a:gd name="T19" fmla="*/ 57 h 80"/>
              <a:gd name="T20" fmla="*/ 22 w 47"/>
              <a:gd name="T21" fmla="*/ 30 h 80"/>
              <a:gd name="T22" fmla="*/ 3 w 47"/>
              <a:gd name="T23" fmla="*/ 2 h 80"/>
              <a:gd name="T24" fmla="*/ 14 w 47"/>
              <a:gd name="T25" fmla="*/ 35 h 80"/>
              <a:gd name="T26" fmla="*/ 35 w 47"/>
              <a:gd name="T27" fmla="*/ 79 h 80"/>
              <a:gd name="T28" fmla="*/ 41 w 47"/>
              <a:gd name="T29" fmla="*/ 79 h 80"/>
              <a:gd name="T30" fmla="*/ 45 w 47"/>
              <a:gd name="T31" fmla="*/ 72 h 80"/>
              <a:gd name="T32" fmla="*/ 45 w 47"/>
              <a:gd name="T33" fmla="*/ 7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80">
                <a:moveTo>
                  <a:pt x="45" y="72"/>
                </a:moveTo>
                <a:cubicBezTo>
                  <a:pt x="44" y="70"/>
                  <a:pt x="42" y="67"/>
                  <a:pt x="40" y="63"/>
                </a:cubicBezTo>
                <a:cubicBezTo>
                  <a:pt x="40" y="63"/>
                  <a:pt x="40" y="63"/>
                  <a:pt x="40" y="63"/>
                </a:cubicBezTo>
                <a:cubicBezTo>
                  <a:pt x="40" y="62"/>
                  <a:pt x="40" y="62"/>
                  <a:pt x="40" y="62"/>
                </a:cubicBezTo>
                <a:cubicBezTo>
                  <a:pt x="40" y="62"/>
                  <a:pt x="39" y="61"/>
                  <a:pt x="39" y="61"/>
                </a:cubicBezTo>
                <a:cubicBezTo>
                  <a:pt x="39" y="61"/>
                  <a:pt x="39" y="61"/>
                  <a:pt x="39" y="60"/>
                </a:cubicBezTo>
                <a:cubicBezTo>
                  <a:pt x="39" y="60"/>
                  <a:pt x="39" y="60"/>
                  <a:pt x="38" y="59"/>
                </a:cubicBezTo>
                <a:cubicBezTo>
                  <a:pt x="38" y="59"/>
                  <a:pt x="38" y="59"/>
                  <a:pt x="38" y="59"/>
                </a:cubicBezTo>
                <a:cubicBezTo>
                  <a:pt x="38" y="58"/>
                  <a:pt x="38" y="58"/>
                  <a:pt x="37" y="58"/>
                </a:cubicBezTo>
                <a:cubicBezTo>
                  <a:pt x="37" y="57"/>
                  <a:pt x="37" y="57"/>
                  <a:pt x="37" y="57"/>
                </a:cubicBezTo>
                <a:cubicBezTo>
                  <a:pt x="32" y="48"/>
                  <a:pt x="26" y="36"/>
                  <a:pt x="22" y="30"/>
                </a:cubicBezTo>
                <a:cubicBezTo>
                  <a:pt x="15" y="19"/>
                  <a:pt x="6" y="0"/>
                  <a:pt x="3" y="2"/>
                </a:cubicBezTo>
                <a:cubicBezTo>
                  <a:pt x="0" y="4"/>
                  <a:pt x="11" y="27"/>
                  <a:pt x="14" y="35"/>
                </a:cubicBezTo>
                <a:cubicBezTo>
                  <a:pt x="18" y="44"/>
                  <a:pt x="32" y="77"/>
                  <a:pt x="35" y="79"/>
                </a:cubicBezTo>
                <a:cubicBezTo>
                  <a:pt x="38" y="80"/>
                  <a:pt x="39" y="79"/>
                  <a:pt x="41" y="79"/>
                </a:cubicBezTo>
                <a:cubicBezTo>
                  <a:pt x="43" y="78"/>
                  <a:pt x="47" y="75"/>
                  <a:pt x="45" y="72"/>
                </a:cubicBezTo>
                <a:cubicBezTo>
                  <a:pt x="45" y="72"/>
                  <a:pt x="45" y="72"/>
                  <a:pt x="45" y="7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35" name="Freeform 183"/>
          <p:cNvSpPr>
            <a:spLocks/>
          </p:cNvSpPr>
          <p:nvPr/>
        </p:nvSpPr>
        <p:spPr bwMode="auto">
          <a:xfrm>
            <a:off x="6518370" y="3542142"/>
            <a:ext cx="28109" cy="32368"/>
          </a:xfrm>
          <a:custGeom>
            <a:avLst/>
            <a:gdLst>
              <a:gd name="T0" fmla="*/ 13 w 14"/>
              <a:gd name="T1" fmla="*/ 9 h 16"/>
              <a:gd name="T2" fmla="*/ 10 w 14"/>
              <a:gd name="T3" fmla="*/ 2 h 16"/>
              <a:gd name="T4" fmla="*/ 6 w 14"/>
              <a:gd name="T5" fmla="*/ 1 h 16"/>
              <a:gd name="T6" fmla="*/ 2 w 14"/>
              <a:gd name="T7" fmla="*/ 3 h 16"/>
              <a:gd name="T8" fmla="*/ 1 w 14"/>
              <a:gd name="T9" fmla="*/ 7 h 16"/>
              <a:gd name="T10" fmla="*/ 5 w 14"/>
              <a:gd name="T11" fmla="*/ 14 h 16"/>
              <a:gd name="T12" fmla="*/ 9 w 14"/>
              <a:gd name="T13" fmla="*/ 15 h 16"/>
              <a:gd name="T14" fmla="*/ 12 w 14"/>
              <a:gd name="T15" fmla="*/ 13 h 16"/>
              <a:gd name="T16" fmla="*/ 13 w 14"/>
              <a:gd name="T17"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6">
                <a:moveTo>
                  <a:pt x="13" y="9"/>
                </a:moveTo>
                <a:cubicBezTo>
                  <a:pt x="10" y="2"/>
                  <a:pt x="10" y="2"/>
                  <a:pt x="10" y="2"/>
                </a:cubicBezTo>
                <a:cubicBezTo>
                  <a:pt x="9" y="1"/>
                  <a:pt x="7" y="0"/>
                  <a:pt x="6" y="1"/>
                </a:cubicBezTo>
                <a:cubicBezTo>
                  <a:pt x="2" y="3"/>
                  <a:pt x="2" y="3"/>
                  <a:pt x="2" y="3"/>
                </a:cubicBezTo>
                <a:cubicBezTo>
                  <a:pt x="0" y="4"/>
                  <a:pt x="0" y="6"/>
                  <a:pt x="1" y="7"/>
                </a:cubicBezTo>
                <a:cubicBezTo>
                  <a:pt x="5" y="14"/>
                  <a:pt x="5" y="14"/>
                  <a:pt x="5" y="14"/>
                </a:cubicBezTo>
                <a:cubicBezTo>
                  <a:pt x="6" y="15"/>
                  <a:pt x="8" y="16"/>
                  <a:pt x="9" y="15"/>
                </a:cubicBezTo>
                <a:cubicBezTo>
                  <a:pt x="12" y="13"/>
                  <a:pt x="12" y="13"/>
                  <a:pt x="12" y="13"/>
                </a:cubicBezTo>
                <a:cubicBezTo>
                  <a:pt x="13" y="12"/>
                  <a:pt x="14" y="10"/>
                  <a:pt x="13" y="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36" name="Freeform 184"/>
          <p:cNvSpPr>
            <a:spLocks/>
          </p:cNvSpPr>
          <p:nvPr/>
        </p:nvSpPr>
        <p:spPr bwMode="auto">
          <a:xfrm>
            <a:off x="6534553" y="3564290"/>
            <a:ext cx="34072" cy="45997"/>
          </a:xfrm>
          <a:custGeom>
            <a:avLst/>
            <a:gdLst>
              <a:gd name="T0" fmla="*/ 4 w 17"/>
              <a:gd name="T1" fmla="*/ 8 h 23"/>
              <a:gd name="T2" fmla="*/ 4 w 17"/>
              <a:gd name="T3" fmla="*/ 15 h 23"/>
              <a:gd name="T4" fmla="*/ 15 w 17"/>
              <a:gd name="T5" fmla="*/ 23 h 23"/>
              <a:gd name="T6" fmla="*/ 4 w 17"/>
              <a:gd name="T7" fmla="*/ 8 h 23"/>
            </a:gdLst>
            <a:ahLst/>
            <a:cxnLst>
              <a:cxn ang="0">
                <a:pos x="T0" y="T1"/>
              </a:cxn>
              <a:cxn ang="0">
                <a:pos x="T2" y="T3"/>
              </a:cxn>
              <a:cxn ang="0">
                <a:pos x="T4" y="T5"/>
              </a:cxn>
              <a:cxn ang="0">
                <a:pos x="T6" y="T7"/>
              </a:cxn>
            </a:cxnLst>
            <a:rect l="0" t="0" r="r" b="b"/>
            <a:pathLst>
              <a:path w="17" h="23">
                <a:moveTo>
                  <a:pt x="4" y="8"/>
                </a:moveTo>
                <a:cubicBezTo>
                  <a:pt x="3" y="9"/>
                  <a:pt x="0" y="11"/>
                  <a:pt x="4" y="15"/>
                </a:cubicBezTo>
                <a:cubicBezTo>
                  <a:pt x="7" y="20"/>
                  <a:pt x="14" y="20"/>
                  <a:pt x="15" y="23"/>
                </a:cubicBezTo>
                <a:cubicBezTo>
                  <a:pt x="15" y="23"/>
                  <a:pt x="17" y="0"/>
                  <a:pt x="4" y="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13" name="Group 12"/>
          <p:cNvGrpSpPr/>
          <p:nvPr/>
        </p:nvGrpSpPr>
        <p:grpSpPr>
          <a:xfrm>
            <a:off x="8655508" y="2784050"/>
            <a:ext cx="434412" cy="435264"/>
            <a:chOff x="7131508" y="2784050"/>
            <a:chExt cx="434412" cy="435264"/>
          </a:xfrm>
        </p:grpSpPr>
        <p:sp>
          <p:nvSpPr>
            <p:cNvPr id="647" name="Oval 90"/>
            <p:cNvSpPr>
              <a:spLocks noChangeArrowheads="1"/>
            </p:cNvSpPr>
            <p:nvPr/>
          </p:nvSpPr>
          <p:spPr bwMode="auto">
            <a:xfrm>
              <a:off x="7131508" y="2784050"/>
              <a:ext cx="434412" cy="435264"/>
            </a:xfrm>
            <a:prstGeom prst="ellipse">
              <a:avLst/>
            </a:prstGeom>
            <a:solidFill>
              <a:srgbClr val="FF451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37" name="Freeform 185"/>
            <p:cNvSpPr>
              <a:spLocks/>
            </p:cNvSpPr>
            <p:nvPr/>
          </p:nvSpPr>
          <p:spPr bwMode="auto">
            <a:xfrm>
              <a:off x="7227760" y="2917780"/>
              <a:ext cx="175469" cy="177172"/>
            </a:xfrm>
            <a:custGeom>
              <a:avLst/>
              <a:gdLst>
                <a:gd name="T0" fmla="*/ 53 w 87"/>
                <a:gd name="T1" fmla="*/ 62 h 88"/>
                <a:gd name="T2" fmla="*/ 53 w 87"/>
                <a:gd name="T3" fmla="*/ 26 h 88"/>
                <a:gd name="T4" fmla="*/ 60 w 87"/>
                <a:gd name="T5" fmla="*/ 18 h 88"/>
                <a:gd name="T6" fmla="*/ 68 w 87"/>
                <a:gd name="T7" fmla="*/ 26 h 88"/>
                <a:gd name="T8" fmla="*/ 68 w 87"/>
                <a:gd name="T9" fmla="*/ 33 h 88"/>
                <a:gd name="T10" fmla="*/ 75 w 87"/>
                <a:gd name="T11" fmla="*/ 37 h 88"/>
                <a:gd name="T12" fmla="*/ 87 w 87"/>
                <a:gd name="T13" fmla="*/ 33 h 88"/>
                <a:gd name="T14" fmla="*/ 87 w 87"/>
                <a:gd name="T15" fmla="*/ 26 h 88"/>
                <a:gd name="T16" fmla="*/ 60 w 87"/>
                <a:gd name="T17" fmla="*/ 0 h 88"/>
                <a:gd name="T18" fmla="*/ 34 w 87"/>
                <a:gd name="T19" fmla="*/ 26 h 88"/>
                <a:gd name="T20" fmla="*/ 34 w 87"/>
                <a:gd name="T21" fmla="*/ 62 h 88"/>
                <a:gd name="T22" fmla="*/ 27 w 87"/>
                <a:gd name="T23" fmla="*/ 70 h 88"/>
                <a:gd name="T24" fmla="*/ 19 w 87"/>
                <a:gd name="T25" fmla="*/ 62 h 88"/>
                <a:gd name="T26" fmla="*/ 19 w 87"/>
                <a:gd name="T27" fmla="*/ 48 h 88"/>
                <a:gd name="T28" fmla="*/ 0 w 87"/>
                <a:gd name="T29" fmla="*/ 48 h 88"/>
                <a:gd name="T30" fmla="*/ 0 w 87"/>
                <a:gd name="T31" fmla="*/ 62 h 88"/>
                <a:gd name="T32" fmla="*/ 27 w 87"/>
                <a:gd name="T33" fmla="*/ 88 h 88"/>
                <a:gd name="T34" fmla="*/ 53 w 87"/>
                <a:gd name="T35"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88">
                  <a:moveTo>
                    <a:pt x="53" y="62"/>
                  </a:moveTo>
                  <a:cubicBezTo>
                    <a:pt x="53" y="26"/>
                    <a:pt x="53" y="26"/>
                    <a:pt x="53" y="26"/>
                  </a:cubicBezTo>
                  <a:cubicBezTo>
                    <a:pt x="53" y="22"/>
                    <a:pt x="54" y="18"/>
                    <a:pt x="60" y="18"/>
                  </a:cubicBezTo>
                  <a:cubicBezTo>
                    <a:pt x="67" y="18"/>
                    <a:pt x="68" y="22"/>
                    <a:pt x="68" y="26"/>
                  </a:cubicBezTo>
                  <a:cubicBezTo>
                    <a:pt x="68" y="33"/>
                    <a:pt x="68" y="33"/>
                    <a:pt x="68" y="33"/>
                  </a:cubicBezTo>
                  <a:cubicBezTo>
                    <a:pt x="75" y="37"/>
                    <a:pt x="75" y="37"/>
                    <a:pt x="75" y="37"/>
                  </a:cubicBezTo>
                  <a:cubicBezTo>
                    <a:pt x="87" y="33"/>
                    <a:pt x="87" y="33"/>
                    <a:pt x="87" y="33"/>
                  </a:cubicBezTo>
                  <a:cubicBezTo>
                    <a:pt x="87" y="26"/>
                    <a:pt x="87" y="26"/>
                    <a:pt x="87" y="26"/>
                  </a:cubicBezTo>
                  <a:cubicBezTo>
                    <a:pt x="87" y="12"/>
                    <a:pt x="75" y="0"/>
                    <a:pt x="60" y="0"/>
                  </a:cubicBezTo>
                  <a:cubicBezTo>
                    <a:pt x="46" y="0"/>
                    <a:pt x="34" y="12"/>
                    <a:pt x="34" y="26"/>
                  </a:cubicBezTo>
                  <a:cubicBezTo>
                    <a:pt x="34" y="62"/>
                    <a:pt x="34" y="62"/>
                    <a:pt x="34" y="62"/>
                  </a:cubicBezTo>
                  <a:cubicBezTo>
                    <a:pt x="34" y="65"/>
                    <a:pt x="32" y="70"/>
                    <a:pt x="27" y="70"/>
                  </a:cubicBezTo>
                  <a:cubicBezTo>
                    <a:pt x="21" y="70"/>
                    <a:pt x="19" y="65"/>
                    <a:pt x="19" y="62"/>
                  </a:cubicBezTo>
                  <a:cubicBezTo>
                    <a:pt x="19" y="48"/>
                    <a:pt x="19" y="48"/>
                    <a:pt x="19" y="48"/>
                  </a:cubicBezTo>
                  <a:cubicBezTo>
                    <a:pt x="0" y="48"/>
                    <a:pt x="0" y="48"/>
                    <a:pt x="0" y="48"/>
                  </a:cubicBezTo>
                  <a:cubicBezTo>
                    <a:pt x="0" y="62"/>
                    <a:pt x="0" y="62"/>
                    <a:pt x="0" y="62"/>
                  </a:cubicBezTo>
                  <a:cubicBezTo>
                    <a:pt x="0" y="76"/>
                    <a:pt x="12" y="88"/>
                    <a:pt x="27" y="88"/>
                  </a:cubicBezTo>
                  <a:cubicBezTo>
                    <a:pt x="42" y="88"/>
                    <a:pt x="53" y="76"/>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38" name="Freeform 186"/>
            <p:cNvSpPr>
              <a:spLocks/>
            </p:cNvSpPr>
            <p:nvPr/>
          </p:nvSpPr>
          <p:spPr bwMode="auto">
            <a:xfrm>
              <a:off x="7364898" y="3014033"/>
              <a:ext cx="104770" cy="80920"/>
            </a:xfrm>
            <a:custGeom>
              <a:avLst/>
              <a:gdLst>
                <a:gd name="T0" fmla="*/ 34 w 52"/>
                <a:gd name="T1" fmla="*/ 14 h 40"/>
                <a:gd name="T2" fmla="*/ 26 w 52"/>
                <a:gd name="T3" fmla="*/ 22 h 40"/>
                <a:gd name="T4" fmla="*/ 19 w 52"/>
                <a:gd name="T5" fmla="*/ 14 h 40"/>
                <a:gd name="T6" fmla="*/ 19 w 52"/>
                <a:gd name="T7" fmla="*/ 0 h 40"/>
                <a:gd name="T8" fmla="*/ 7 w 52"/>
                <a:gd name="T9" fmla="*/ 4 h 40"/>
                <a:gd name="T10" fmla="*/ 0 w 52"/>
                <a:gd name="T11" fmla="*/ 0 h 40"/>
                <a:gd name="T12" fmla="*/ 0 w 52"/>
                <a:gd name="T13" fmla="*/ 15 h 40"/>
                <a:gd name="T14" fmla="*/ 26 w 52"/>
                <a:gd name="T15" fmla="*/ 40 h 40"/>
                <a:gd name="T16" fmla="*/ 52 w 52"/>
                <a:gd name="T17" fmla="*/ 14 h 40"/>
                <a:gd name="T18" fmla="*/ 52 w 52"/>
                <a:gd name="T19" fmla="*/ 0 h 40"/>
                <a:gd name="T20" fmla="*/ 34 w 52"/>
                <a:gd name="T21" fmla="*/ 0 h 40"/>
                <a:gd name="T22" fmla="*/ 34 w 52"/>
                <a:gd name="T23"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40">
                  <a:moveTo>
                    <a:pt x="34" y="14"/>
                  </a:moveTo>
                  <a:cubicBezTo>
                    <a:pt x="34" y="17"/>
                    <a:pt x="32" y="22"/>
                    <a:pt x="26" y="22"/>
                  </a:cubicBezTo>
                  <a:cubicBezTo>
                    <a:pt x="21" y="22"/>
                    <a:pt x="19" y="17"/>
                    <a:pt x="19" y="14"/>
                  </a:cubicBezTo>
                  <a:cubicBezTo>
                    <a:pt x="19" y="0"/>
                    <a:pt x="19" y="0"/>
                    <a:pt x="19" y="0"/>
                  </a:cubicBezTo>
                  <a:cubicBezTo>
                    <a:pt x="7" y="4"/>
                    <a:pt x="7" y="4"/>
                    <a:pt x="7" y="4"/>
                  </a:cubicBezTo>
                  <a:cubicBezTo>
                    <a:pt x="0" y="0"/>
                    <a:pt x="0" y="0"/>
                    <a:pt x="0" y="0"/>
                  </a:cubicBezTo>
                  <a:cubicBezTo>
                    <a:pt x="0" y="15"/>
                    <a:pt x="0" y="15"/>
                    <a:pt x="0" y="15"/>
                  </a:cubicBezTo>
                  <a:cubicBezTo>
                    <a:pt x="0" y="29"/>
                    <a:pt x="11" y="40"/>
                    <a:pt x="26" y="40"/>
                  </a:cubicBezTo>
                  <a:cubicBezTo>
                    <a:pt x="40" y="40"/>
                    <a:pt x="52" y="28"/>
                    <a:pt x="52" y="14"/>
                  </a:cubicBezTo>
                  <a:cubicBezTo>
                    <a:pt x="52" y="0"/>
                    <a:pt x="52" y="0"/>
                    <a:pt x="52" y="0"/>
                  </a:cubicBezTo>
                  <a:cubicBezTo>
                    <a:pt x="34" y="0"/>
                    <a:pt x="34" y="0"/>
                    <a:pt x="34" y="0"/>
                  </a:cubicBezTo>
                  <a:lnTo>
                    <a:pt x="34" y="1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
        <p:nvSpPr>
          <p:cNvPr id="739" name="Freeform 187"/>
          <p:cNvSpPr>
            <a:spLocks/>
          </p:cNvSpPr>
          <p:nvPr/>
        </p:nvSpPr>
        <p:spPr bwMode="auto">
          <a:xfrm>
            <a:off x="7287535" y="3428854"/>
            <a:ext cx="227428" cy="145656"/>
          </a:xfrm>
          <a:custGeom>
            <a:avLst/>
            <a:gdLst>
              <a:gd name="T0" fmla="*/ 47 w 113"/>
              <a:gd name="T1" fmla="*/ 45 h 72"/>
              <a:gd name="T2" fmla="*/ 46 w 113"/>
              <a:gd name="T3" fmla="*/ 65 h 72"/>
              <a:gd name="T4" fmla="*/ 31 w 113"/>
              <a:gd name="T5" fmla="*/ 67 h 72"/>
              <a:gd name="T6" fmla="*/ 30 w 113"/>
              <a:gd name="T7" fmla="*/ 72 h 72"/>
              <a:gd name="T8" fmla="*/ 54 w 113"/>
              <a:gd name="T9" fmla="*/ 72 h 72"/>
              <a:gd name="T10" fmla="*/ 82 w 113"/>
              <a:gd name="T11" fmla="*/ 72 h 72"/>
              <a:gd name="T12" fmla="*/ 83 w 113"/>
              <a:gd name="T13" fmla="*/ 66 h 72"/>
              <a:gd name="T14" fmla="*/ 66 w 113"/>
              <a:gd name="T15" fmla="*/ 66 h 72"/>
              <a:gd name="T16" fmla="*/ 65 w 113"/>
              <a:gd name="T17" fmla="*/ 45 h 72"/>
              <a:gd name="T18" fmla="*/ 97 w 113"/>
              <a:gd name="T19" fmla="*/ 18 h 72"/>
              <a:gd name="T20" fmla="*/ 100 w 113"/>
              <a:gd name="T21" fmla="*/ 17 h 72"/>
              <a:gd name="T22" fmla="*/ 108 w 113"/>
              <a:gd name="T23" fmla="*/ 17 h 72"/>
              <a:gd name="T24" fmla="*/ 110 w 113"/>
              <a:gd name="T25" fmla="*/ 15 h 72"/>
              <a:gd name="T26" fmla="*/ 110 w 113"/>
              <a:gd name="T27" fmla="*/ 15 h 72"/>
              <a:gd name="T28" fmla="*/ 113 w 113"/>
              <a:gd name="T29" fmla="*/ 10 h 72"/>
              <a:gd name="T30" fmla="*/ 113 w 113"/>
              <a:gd name="T31" fmla="*/ 10 h 72"/>
              <a:gd name="T32" fmla="*/ 113 w 113"/>
              <a:gd name="T33" fmla="*/ 10 h 72"/>
              <a:gd name="T34" fmla="*/ 66 w 113"/>
              <a:gd name="T35" fmla="*/ 10 h 72"/>
              <a:gd name="T36" fmla="*/ 68 w 113"/>
              <a:gd name="T37" fmla="*/ 17 h 72"/>
              <a:gd name="T38" fmla="*/ 81 w 113"/>
              <a:gd name="T39" fmla="*/ 17 h 72"/>
              <a:gd name="T40" fmla="*/ 59 w 113"/>
              <a:gd name="T41" fmla="*/ 37 h 72"/>
              <a:gd name="T42" fmla="*/ 37 w 113"/>
              <a:gd name="T43" fmla="*/ 7 h 72"/>
              <a:gd name="T44" fmla="*/ 54 w 113"/>
              <a:gd name="T45" fmla="*/ 7 h 72"/>
              <a:gd name="T46" fmla="*/ 54 w 113"/>
              <a:gd name="T47" fmla="*/ 2 h 72"/>
              <a:gd name="T48" fmla="*/ 54 w 113"/>
              <a:gd name="T49" fmla="*/ 1 h 72"/>
              <a:gd name="T50" fmla="*/ 54 w 113"/>
              <a:gd name="T51" fmla="*/ 0 h 72"/>
              <a:gd name="T52" fmla="*/ 54 w 113"/>
              <a:gd name="T53" fmla="*/ 0 h 72"/>
              <a:gd name="T54" fmla="*/ 0 w 113"/>
              <a:gd name="T55" fmla="*/ 0 h 72"/>
              <a:gd name="T56" fmla="*/ 0 w 113"/>
              <a:gd name="T57" fmla="*/ 7 h 72"/>
              <a:gd name="T58" fmla="*/ 16 w 113"/>
              <a:gd name="T59" fmla="*/ 7 h 72"/>
              <a:gd name="T60" fmla="*/ 47 w 113"/>
              <a:gd name="T61" fmla="*/ 4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72">
                <a:moveTo>
                  <a:pt x="47" y="45"/>
                </a:moveTo>
                <a:cubicBezTo>
                  <a:pt x="47" y="47"/>
                  <a:pt x="47" y="64"/>
                  <a:pt x="46" y="65"/>
                </a:cubicBezTo>
                <a:cubicBezTo>
                  <a:pt x="44" y="67"/>
                  <a:pt x="33" y="67"/>
                  <a:pt x="31" y="67"/>
                </a:cubicBezTo>
                <a:cubicBezTo>
                  <a:pt x="30" y="72"/>
                  <a:pt x="30" y="72"/>
                  <a:pt x="30" y="72"/>
                </a:cubicBezTo>
                <a:cubicBezTo>
                  <a:pt x="35" y="72"/>
                  <a:pt x="50" y="72"/>
                  <a:pt x="54" y="72"/>
                </a:cubicBezTo>
                <a:cubicBezTo>
                  <a:pt x="64" y="72"/>
                  <a:pt x="80" y="72"/>
                  <a:pt x="82" y="72"/>
                </a:cubicBezTo>
                <a:cubicBezTo>
                  <a:pt x="83" y="66"/>
                  <a:pt x="83" y="66"/>
                  <a:pt x="83" y="66"/>
                </a:cubicBezTo>
                <a:cubicBezTo>
                  <a:pt x="80" y="66"/>
                  <a:pt x="67" y="66"/>
                  <a:pt x="66" y="66"/>
                </a:cubicBezTo>
                <a:cubicBezTo>
                  <a:pt x="65" y="63"/>
                  <a:pt x="65" y="46"/>
                  <a:pt x="65" y="45"/>
                </a:cubicBezTo>
                <a:cubicBezTo>
                  <a:pt x="67" y="39"/>
                  <a:pt x="94" y="19"/>
                  <a:pt x="97" y="18"/>
                </a:cubicBezTo>
                <a:cubicBezTo>
                  <a:pt x="97" y="18"/>
                  <a:pt x="98" y="17"/>
                  <a:pt x="100" y="17"/>
                </a:cubicBezTo>
                <a:cubicBezTo>
                  <a:pt x="108" y="17"/>
                  <a:pt x="108" y="17"/>
                  <a:pt x="108" y="17"/>
                </a:cubicBezTo>
                <a:cubicBezTo>
                  <a:pt x="110" y="15"/>
                  <a:pt x="110" y="15"/>
                  <a:pt x="110" y="15"/>
                </a:cubicBezTo>
                <a:cubicBezTo>
                  <a:pt x="110" y="15"/>
                  <a:pt x="110" y="15"/>
                  <a:pt x="110" y="15"/>
                </a:cubicBezTo>
                <a:cubicBezTo>
                  <a:pt x="113" y="10"/>
                  <a:pt x="113" y="10"/>
                  <a:pt x="113" y="10"/>
                </a:cubicBezTo>
                <a:cubicBezTo>
                  <a:pt x="113" y="10"/>
                  <a:pt x="113" y="10"/>
                  <a:pt x="113" y="10"/>
                </a:cubicBezTo>
                <a:cubicBezTo>
                  <a:pt x="113" y="10"/>
                  <a:pt x="113" y="10"/>
                  <a:pt x="113" y="10"/>
                </a:cubicBezTo>
                <a:cubicBezTo>
                  <a:pt x="66" y="10"/>
                  <a:pt x="66" y="10"/>
                  <a:pt x="66" y="10"/>
                </a:cubicBezTo>
                <a:cubicBezTo>
                  <a:pt x="68" y="17"/>
                  <a:pt x="68" y="17"/>
                  <a:pt x="68" y="17"/>
                </a:cubicBezTo>
                <a:cubicBezTo>
                  <a:pt x="81" y="17"/>
                  <a:pt x="81" y="17"/>
                  <a:pt x="81" y="17"/>
                </a:cubicBezTo>
                <a:cubicBezTo>
                  <a:pt x="59" y="37"/>
                  <a:pt x="59" y="37"/>
                  <a:pt x="59" y="37"/>
                </a:cubicBezTo>
                <a:cubicBezTo>
                  <a:pt x="55" y="31"/>
                  <a:pt x="45" y="18"/>
                  <a:pt x="37" y="7"/>
                </a:cubicBezTo>
                <a:cubicBezTo>
                  <a:pt x="54" y="7"/>
                  <a:pt x="54" y="7"/>
                  <a:pt x="54" y="7"/>
                </a:cubicBezTo>
                <a:cubicBezTo>
                  <a:pt x="54" y="2"/>
                  <a:pt x="54" y="2"/>
                  <a:pt x="54" y="2"/>
                </a:cubicBezTo>
                <a:cubicBezTo>
                  <a:pt x="54" y="1"/>
                  <a:pt x="54" y="1"/>
                  <a:pt x="54" y="1"/>
                </a:cubicBezTo>
                <a:cubicBezTo>
                  <a:pt x="54" y="1"/>
                  <a:pt x="54" y="0"/>
                  <a:pt x="54" y="0"/>
                </a:cubicBezTo>
                <a:cubicBezTo>
                  <a:pt x="54" y="0"/>
                  <a:pt x="54" y="0"/>
                  <a:pt x="54" y="0"/>
                </a:cubicBezTo>
                <a:cubicBezTo>
                  <a:pt x="0" y="0"/>
                  <a:pt x="0" y="0"/>
                  <a:pt x="0" y="0"/>
                </a:cubicBezTo>
                <a:cubicBezTo>
                  <a:pt x="0" y="7"/>
                  <a:pt x="0" y="7"/>
                  <a:pt x="0" y="7"/>
                </a:cubicBezTo>
                <a:cubicBezTo>
                  <a:pt x="16" y="7"/>
                  <a:pt x="16" y="7"/>
                  <a:pt x="16" y="7"/>
                </a:cubicBezTo>
                <a:cubicBezTo>
                  <a:pt x="22" y="12"/>
                  <a:pt x="46" y="42"/>
                  <a:pt x="47" y="4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0" name="Freeform 188"/>
          <p:cNvSpPr>
            <a:spLocks/>
          </p:cNvSpPr>
          <p:nvPr/>
        </p:nvSpPr>
        <p:spPr bwMode="auto">
          <a:xfrm>
            <a:off x="7497075" y="3479111"/>
            <a:ext cx="32368" cy="68995"/>
          </a:xfrm>
          <a:custGeom>
            <a:avLst/>
            <a:gdLst>
              <a:gd name="T0" fmla="*/ 0 w 16"/>
              <a:gd name="T1" fmla="*/ 0 h 34"/>
              <a:gd name="T2" fmla="*/ 1 w 16"/>
              <a:gd name="T3" fmla="*/ 33 h 34"/>
              <a:gd name="T4" fmla="*/ 8 w 16"/>
              <a:gd name="T5" fmla="*/ 34 h 34"/>
              <a:gd name="T6" fmla="*/ 16 w 16"/>
              <a:gd name="T7" fmla="*/ 1 h 34"/>
              <a:gd name="T8" fmla="*/ 0 w 16"/>
              <a:gd name="T9" fmla="*/ 0 h 34"/>
            </a:gdLst>
            <a:ahLst/>
            <a:cxnLst>
              <a:cxn ang="0">
                <a:pos x="T0" y="T1"/>
              </a:cxn>
              <a:cxn ang="0">
                <a:pos x="T2" y="T3"/>
              </a:cxn>
              <a:cxn ang="0">
                <a:pos x="T4" y="T5"/>
              </a:cxn>
              <a:cxn ang="0">
                <a:pos x="T6" y="T7"/>
              </a:cxn>
              <a:cxn ang="0">
                <a:pos x="T8" y="T9"/>
              </a:cxn>
            </a:cxnLst>
            <a:rect l="0" t="0" r="r" b="b"/>
            <a:pathLst>
              <a:path w="16" h="34">
                <a:moveTo>
                  <a:pt x="0" y="0"/>
                </a:moveTo>
                <a:cubicBezTo>
                  <a:pt x="1" y="33"/>
                  <a:pt x="1" y="33"/>
                  <a:pt x="1" y="33"/>
                </a:cubicBezTo>
                <a:cubicBezTo>
                  <a:pt x="8" y="34"/>
                  <a:pt x="8" y="34"/>
                  <a:pt x="8" y="34"/>
                </a:cubicBezTo>
                <a:cubicBezTo>
                  <a:pt x="16" y="1"/>
                  <a:pt x="16" y="1"/>
                  <a:pt x="16" y="1"/>
                </a:cubicBezTo>
                <a:cubicBezTo>
                  <a:pt x="15" y="1"/>
                  <a:pt x="2" y="0"/>
                  <a:pt x="0"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1" name="Freeform 189"/>
          <p:cNvSpPr>
            <a:spLocks/>
          </p:cNvSpPr>
          <p:nvPr/>
        </p:nvSpPr>
        <p:spPr bwMode="auto">
          <a:xfrm>
            <a:off x="7495371" y="3555772"/>
            <a:ext cx="17888" cy="18739"/>
          </a:xfrm>
          <a:custGeom>
            <a:avLst/>
            <a:gdLst>
              <a:gd name="T0" fmla="*/ 19 w 21"/>
              <a:gd name="T1" fmla="*/ 22 h 22"/>
              <a:gd name="T2" fmla="*/ 21 w 21"/>
              <a:gd name="T3" fmla="*/ 3 h 22"/>
              <a:gd name="T4" fmla="*/ 12 w 21"/>
              <a:gd name="T5" fmla="*/ 3 h 22"/>
              <a:gd name="T6" fmla="*/ 0 w 21"/>
              <a:gd name="T7" fmla="*/ 0 h 22"/>
              <a:gd name="T8" fmla="*/ 0 w 21"/>
              <a:gd name="T9" fmla="*/ 19 h 22"/>
              <a:gd name="T10" fmla="*/ 9 w 21"/>
              <a:gd name="T11" fmla="*/ 22 h 22"/>
              <a:gd name="T12" fmla="*/ 19 w 21"/>
              <a:gd name="T13" fmla="*/ 22 h 22"/>
            </a:gdLst>
            <a:ahLst/>
            <a:cxnLst>
              <a:cxn ang="0">
                <a:pos x="T0" y="T1"/>
              </a:cxn>
              <a:cxn ang="0">
                <a:pos x="T2" y="T3"/>
              </a:cxn>
              <a:cxn ang="0">
                <a:pos x="T4" y="T5"/>
              </a:cxn>
              <a:cxn ang="0">
                <a:pos x="T6" y="T7"/>
              </a:cxn>
              <a:cxn ang="0">
                <a:pos x="T8" y="T9"/>
              </a:cxn>
              <a:cxn ang="0">
                <a:pos x="T10" y="T11"/>
              </a:cxn>
              <a:cxn ang="0">
                <a:pos x="T12" y="T13"/>
              </a:cxn>
            </a:cxnLst>
            <a:rect l="0" t="0" r="r" b="b"/>
            <a:pathLst>
              <a:path w="21" h="22">
                <a:moveTo>
                  <a:pt x="19" y="22"/>
                </a:moveTo>
                <a:lnTo>
                  <a:pt x="21" y="3"/>
                </a:lnTo>
                <a:lnTo>
                  <a:pt x="12" y="3"/>
                </a:lnTo>
                <a:lnTo>
                  <a:pt x="0" y="0"/>
                </a:lnTo>
                <a:lnTo>
                  <a:pt x="0" y="19"/>
                </a:lnTo>
                <a:lnTo>
                  <a:pt x="9" y="22"/>
                </a:lnTo>
                <a:lnTo>
                  <a:pt x="19" y="2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2" name="Freeform 190"/>
          <p:cNvSpPr>
            <a:spLocks/>
          </p:cNvSpPr>
          <p:nvPr/>
        </p:nvSpPr>
        <p:spPr bwMode="auto">
          <a:xfrm>
            <a:off x="6915303" y="3390525"/>
            <a:ext cx="17888" cy="36627"/>
          </a:xfrm>
          <a:custGeom>
            <a:avLst/>
            <a:gdLst>
              <a:gd name="T0" fmla="*/ 9 w 9"/>
              <a:gd name="T1" fmla="*/ 0 h 18"/>
              <a:gd name="T2" fmla="*/ 0 w 9"/>
              <a:gd name="T3" fmla="*/ 14 h 18"/>
              <a:gd name="T4" fmla="*/ 0 w 9"/>
              <a:gd name="T5" fmla="*/ 18 h 18"/>
              <a:gd name="T6" fmla="*/ 3 w 9"/>
              <a:gd name="T7" fmla="*/ 18 h 18"/>
              <a:gd name="T8" fmla="*/ 3 w 9"/>
              <a:gd name="T9" fmla="*/ 14 h 18"/>
              <a:gd name="T10" fmla="*/ 9 w 9"/>
              <a:gd name="T11" fmla="*/ 4 h 18"/>
              <a:gd name="T12" fmla="*/ 9 w 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9" y="0"/>
                </a:moveTo>
                <a:cubicBezTo>
                  <a:pt x="4" y="2"/>
                  <a:pt x="0" y="4"/>
                  <a:pt x="0" y="14"/>
                </a:cubicBezTo>
                <a:cubicBezTo>
                  <a:pt x="0" y="18"/>
                  <a:pt x="0" y="18"/>
                  <a:pt x="0" y="18"/>
                </a:cubicBezTo>
                <a:cubicBezTo>
                  <a:pt x="3" y="18"/>
                  <a:pt x="3" y="18"/>
                  <a:pt x="3" y="18"/>
                </a:cubicBezTo>
                <a:cubicBezTo>
                  <a:pt x="3" y="14"/>
                  <a:pt x="3" y="14"/>
                  <a:pt x="3" y="14"/>
                </a:cubicBezTo>
                <a:cubicBezTo>
                  <a:pt x="3" y="7"/>
                  <a:pt x="5" y="6"/>
                  <a:pt x="9" y="4"/>
                </a:cubicBezTo>
                <a:cubicBezTo>
                  <a:pt x="9" y="2"/>
                  <a:pt x="9" y="1"/>
                  <a:pt x="9"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3" name="Freeform 191"/>
          <p:cNvSpPr>
            <a:spLocks/>
          </p:cNvSpPr>
          <p:nvPr/>
        </p:nvSpPr>
        <p:spPr bwMode="auto">
          <a:xfrm>
            <a:off x="6951078" y="3384561"/>
            <a:ext cx="24702" cy="32368"/>
          </a:xfrm>
          <a:custGeom>
            <a:avLst/>
            <a:gdLst>
              <a:gd name="T0" fmla="*/ 0 w 12"/>
              <a:gd name="T1" fmla="*/ 1 h 16"/>
              <a:gd name="T2" fmla="*/ 1 w 12"/>
              <a:gd name="T3" fmla="*/ 4 h 16"/>
              <a:gd name="T4" fmla="*/ 9 w 12"/>
              <a:gd name="T5" fmla="*/ 14 h 16"/>
              <a:gd name="T6" fmla="*/ 9 w 12"/>
              <a:gd name="T7" fmla="*/ 16 h 16"/>
              <a:gd name="T8" fmla="*/ 12 w 12"/>
              <a:gd name="T9" fmla="*/ 15 h 16"/>
              <a:gd name="T10" fmla="*/ 12 w 12"/>
              <a:gd name="T11" fmla="*/ 14 h 16"/>
              <a:gd name="T12" fmla="*/ 0 w 12"/>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0" y="1"/>
                </a:moveTo>
                <a:cubicBezTo>
                  <a:pt x="0" y="2"/>
                  <a:pt x="1" y="3"/>
                  <a:pt x="1" y="4"/>
                </a:cubicBezTo>
                <a:cubicBezTo>
                  <a:pt x="9" y="3"/>
                  <a:pt x="9" y="7"/>
                  <a:pt x="9" y="14"/>
                </a:cubicBezTo>
                <a:cubicBezTo>
                  <a:pt x="9" y="16"/>
                  <a:pt x="9" y="16"/>
                  <a:pt x="9" y="16"/>
                </a:cubicBezTo>
                <a:cubicBezTo>
                  <a:pt x="12" y="15"/>
                  <a:pt x="12" y="15"/>
                  <a:pt x="12" y="15"/>
                </a:cubicBezTo>
                <a:cubicBezTo>
                  <a:pt x="12" y="14"/>
                  <a:pt x="12" y="14"/>
                  <a:pt x="12" y="14"/>
                </a:cubicBezTo>
                <a:cubicBezTo>
                  <a:pt x="12" y="3"/>
                  <a:pt x="10" y="0"/>
                  <a:pt x="0"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4" name="Freeform 192"/>
          <p:cNvSpPr>
            <a:spLocks/>
          </p:cNvSpPr>
          <p:nvPr/>
        </p:nvSpPr>
        <p:spPr bwMode="auto">
          <a:xfrm>
            <a:off x="6881231" y="3364971"/>
            <a:ext cx="66440" cy="69847"/>
          </a:xfrm>
          <a:custGeom>
            <a:avLst/>
            <a:gdLst>
              <a:gd name="T0" fmla="*/ 3 w 33"/>
              <a:gd name="T1" fmla="*/ 34 h 35"/>
              <a:gd name="T2" fmla="*/ 3 w 33"/>
              <a:gd name="T3" fmla="*/ 20 h 35"/>
              <a:gd name="T4" fmla="*/ 16 w 33"/>
              <a:gd name="T5" fmla="*/ 6 h 35"/>
              <a:gd name="T6" fmla="*/ 30 w 33"/>
              <a:gd name="T7" fmla="*/ 17 h 35"/>
              <a:gd name="T8" fmla="*/ 30 w 33"/>
              <a:gd name="T9" fmla="*/ 29 h 35"/>
              <a:gd name="T10" fmla="*/ 33 w 33"/>
              <a:gd name="T11" fmla="*/ 28 h 35"/>
              <a:gd name="T12" fmla="*/ 33 w 33"/>
              <a:gd name="T13" fmla="*/ 17 h 35"/>
              <a:gd name="T14" fmla="*/ 15 w 33"/>
              <a:gd name="T15" fmla="*/ 3 h 35"/>
              <a:gd name="T16" fmla="*/ 0 w 33"/>
              <a:gd name="T17" fmla="*/ 20 h 35"/>
              <a:gd name="T18" fmla="*/ 0 w 33"/>
              <a:gd name="T19" fmla="*/ 35 h 35"/>
              <a:gd name="T20" fmla="*/ 3 w 33"/>
              <a:gd name="T21"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5">
                <a:moveTo>
                  <a:pt x="3" y="34"/>
                </a:moveTo>
                <a:cubicBezTo>
                  <a:pt x="3" y="20"/>
                  <a:pt x="3" y="20"/>
                  <a:pt x="3" y="20"/>
                </a:cubicBezTo>
                <a:cubicBezTo>
                  <a:pt x="3" y="11"/>
                  <a:pt x="7" y="8"/>
                  <a:pt x="16" y="6"/>
                </a:cubicBezTo>
                <a:cubicBezTo>
                  <a:pt x="29" y="3"/>
                  <a:pt x="30" y="12"/>
                  <a:pt x="30" y="17"/>
                </a:cubicBezTo>
                <a:cubicBezTo>
                  <a:pt x="30" y="29"/>
                  <a:pt x="30" y="29"/>
                  <a:pt x="30" y="29"/>
                </a:cubicBezTo>
                <a:cubicBezTo>
                  <a:pt x="33" y="28"/>
                  <a:pt x="33" y="28"/>
                  <a:pt x="33" y="28"/>
                </a:cubicBezTo>
                <a:cubicBezTo>
                  <a:pt x="33" y="17"/>
                  <a:pt x="33" y="17"/>
                  <a:pt x="33" y="17"/>
                </a:cubicBezTo>
                <a:cubicBezTo>
                  <a:pt x="33" y="7"/>
                  <a:pt x="30" y="0"/>
                  <a:pt x="15" y="3"/>
                </a:cubicBezTo>
                <a:cubicBezTo>
                  <a:pt x="8" y="5"/>
                  <a:pt x="0" y="7"/>
                  <a:pt x="0" y="20"/>
                </a:cubicBezTo>
                <a:cubicBezTo>
                  <a:pt x="0" y="35"/>
                  <a:pt x="0" y="35"/>
                  <a:pt x="0" y="35"/>
                </a:cubicBezTo>
                <a:cubicBezTo>
                  <a:pt x="3" y="34"/>
                  <a:pt x="3" y="34"/>
                  <a:pt x="3" y="3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5" name="Freeform 193"/>
          <p:cNvSpPr>
            <a:spLocks noEditPoints="1"/>
          </p:cNvSpPr>
          <p:nvPr/>
        </p:nvSpPr>
        <p:spPr bwMode="auto">
          <a:xfrm>
            <a:off x="6832679" y="3416929"/>
            <a:ext cx="209540" cy="193356"/>
          </a:xfrm>
          <a:custGeom>
            <a:avLst/>
            <a:gdLst>
              <a:gd name="T0" fmla="*/ 206 w 246"/>
              <a:gd name="T1" fmla="*/ 0 h 227"/>
              <a:gd name="T2" fmla="*/ 0 w 246"/>
              <a:gd name="T3" fmla="*/ 40 h 227"/>
              <a:gd name="T4" fmla="*/ 0 w 246"/>
              <a:gd name="T5" fmla="*/ 187 h 227"/>
              <a:gd name="T6" fmla="*/ 206 w 246"/>
              <a:gd name="T7" fmla="*/ 227 h 227"/>
              <a:gd name="T8" fmla="*/ 246 w 246"/>
              <a:gd name="T9" fmla="*/ 213 h 227"/>
              <a:gd name="T10" fmla="*/ 246 w 246"/>
              <a:gd name="T11" fmla="*/ 14 h 227"/>
              <a:gd name="T12" fmla="*/ 206 w 246"/>
              <a:gd name="T13" fmla="*/ 0 h 227"/>
              <a:gd name="T14" fmla="*/ 206 w 246"/>
              <a:gd name="T15" fmla="*/ 0 h 227"/>
              <a:gd name="T16" fmla="*/ 90 w 246"/>
              <a:gd name="T17" fmla="*/ 156 h 227"/>
              <a:gd name="T18" fmla="*/ 45 w 246"/>
              <a:gd name="T19" fmla="*/ 152 h 227"/>
              <a:gd name="T20" fmla="*/ 45 w 246"/>
              <a:gd name="T21" fmla="*/ 114 h 227"/>
              <a:gd name="T22" fmla="*/ 90 w 246"/>
              <a:gd name="T23" fmla="*/ 114 h 227"/>
              <a:gd name="T24" fmla="*/ 90 w 246"/>
              <a:gd name="T25" fmla="*/ 156 h 227"/>
              <a:gd name="T26" fmla="*/ 90 w 246"/>
              <a:gd name="T27" fmla="*/ 109 h 227"/>
              <a:gd name="T28" fmla="*/ 45 w 246"/>
              <a:gd name="T29" fmla="*/ 109 h 227"/>
              <a:gd name="T30" fmla="*/ 45 w 246"/>
              <a:gd name="T31" fmla="*/ 73 h 227"/>
              <a:gd name="T32" fmla="*/ 90 w 246"/>
              <a:gd name="T33" fmla="*/ 66 h 227"/>
              <a:gd name="T34" fmla="*/ 90 w 246"/>
              <a:gd name="T35" fmla="*/ 109 h 227"/>
              <a:gd name="T36" fmla="*/ 154 w 246"/>
              <a:gd name="T37" fmla="*/ 166 h 227"/>
              <a:gd name="T38" fmla="*/ 95 w 246"/>
              <a:gd name="T39" fmla="*/ 159 h 227"/>
              <a:gd name="T40" fmla="*/ 95 w 246"/>
              <a:gd name="T41" fmla="*/ 114 h 227"/>
              <a:gd name="T42" fmla="*/ 154 w 246"/>
              <a:gd name="T43" fmla="*/ 114 h 227"/>
              <a:gd name="T44" fmla="*/ 154 w 246"/>
              <a:gd name="T45" fmla="*/ 166 h 227"/>
              <a:gd name="T46" fmla="*/ 154 w 246"/>
              <a:gd name="T47" fmla="*/ 109 h 227"/>
              <a:gd name="T48" fmla="*/ 95 w 246"/>
              <a:gd name="T49" fmla="*/ 109 h 227"/>
              <a:gd name="T50" fmla="*/ 95 w 246"/>
              <a:gd name="T51" fmla="*/ 66 h 227"/>
              <a:gd name="T52" fmla="*/ 154 w 246"/>
              <a:gd name="T53" fmla="*/ 59 h 227"/>
              <a:gd name="T54" fmla="*/ 154 w 246"/>
              <a:gd name="T55" fmla="*/ 109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27">
                <a:moveTo>
                  <a:pt x="206" y="0"/>
                </a:moveTo>
                <a:lnTo>
                  <a:pt x="0" y="40"/>
                </a:lnTo>
                <a:lnTo>
                  <a:pt x="0" y="187"/>
                </a:lnTo>
                <a:lnTo>
                  <a:pt x="206" y="227"/>
                </a:lnTo>
                <a:lnTo>
                  <a:pt x="246" y="213"/>
                </a:lnTo>
                <a:lnTo>
                  <a:pt x="246" y="14"/>
                </a:lnTo>
                <a:lnTo>
                  <a:pt x="206" y="0"/>
                </a:lnTo>
                <a:lnTo>
                  <a:pt x="206" y="0"/>
                </a:lnTo>
                <a:close/>
                <a:moveTo>
                  <a:pt x="90" y="156"/>
                </a:moveTo>
                <a:lnTo>
                  <a:pt x="45" y="152"/>
                </a:lnTo>
                <a:lnTo>
                  <a:pt x="45" y="114"/>
                </a:lnTo>
                <a:lnTo>
                  <a:pt x="90" y="114"/>
                </a:lnTo>
                <a:lnTo>
                  <a:pt x="90" y="156"/>
                </a:lnTo>
                <a:close/>
                <a:moveTo>
                  <a:pt x="90" y="109"/>
                </a:moveTo>
                <a:lnTo>
                  <a:pt x="45" y="109"/>
                </a:lnTo>
                <a:lnTo>
                  <a:pt x="45" y="73"/>
                </a:lnTo>
                <a:lnTo>
                  <a:pt x="90" y="66"/>
                </a:lnTo>
                <a:lnTo>
                  <a:pt x="90" y="109"/>
                </a:lnTo>
                <a:close/>
                <a:moveTo>
                  <a:pt x="154" y="166"/>
                </a:moveTo>
                <a:lnTo>
                  <a:pt x="95" y="159"/>
                </a:lnTo>
                <a:lnTo>
                  <a:pt x="95" y="114"/>
                </a:lnTo>
                <a:lnTo>
                  <a:pt x="154" y="114"/>
                </a:lnTo>
                <a:lnTo>
                  <a:pt x="154" y="166"/>
                </a:lnTo>
                <a:close/>
                <a:moveTo>
                  <a:pt x="154" y="109"/>
                </a:moveTo>
                <a:lnTo>
                  <a:pt x="95" y="109"/>
                </a:lnTo>
                <a:lnTo>
                  <a:pt x="95" y="66"/>
                </a:lnTo>
                <a:lnTo>
                  <a:pt x="154" y="59"/>
                </a:lnTo>
                <a:lnTo>
                  <a:pt x="154" y="10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6" name="Freeform 194"/>
          <p:cNvSpPr>
            <a:spLocks noEditPoints="1"/>
          </p:cNvSpPr>
          <p:nvPr/>
        </p:nvSpPr>
        <p:spPr bwMode="auto">
          <a:xfrm>
            <a:off x="8264537" y="3381155"/>
            <a:ext cx="247871" cy="245315"/>
          </a:xfrm>
          <a:custGeom>
            <a:avLst/>
            <a:gdLst>
              <a:gd name="T0" fmla="*/ 64 w 123"/>
              <a:gd name="T1" fmla="*/ 0 h 122"/>
              <a:gd name="T2" fmla="*/ 44 w 123"/>
              <a:gd name="T3" fmla="*/ 3 h 122"/>
              <a:gd name="T4" fmla="*/ 33 w 123"/>
              <a:gd name="T5" fmla="*/ 7 h 122"/>
              <a:gd name="T6" fmla="*/ 41 w 123"/>
              <a:gd name="T7" fmla="*/ 11 h 122"/>
              <a:gd name="T8" fmla="*/ 56 w 123"/>
              <a:gd name="T9" fmla="*/ 16 h 122"/>
              <a:gd name="T10" fmla="*/ 68 w 123"/>
              <a:gd name="T11" fmla="*/ 17 h 122"/>
              <a:gd name="T12" fmla="*/ 94 w 123"/>
              <a:gd name="T13" fmla="*/ 9 h 122"/>
              <a:gd name="T14" fmla="*/ 88 w 123"/>
              <a:gd name="T15" fmla="*/ 6 h 122"/>
              <a:gd name="T16" fmla="*/ 64 w 123"/>
              <a:gd name="T17" fmla="*/ 0 h 122"/>
              <a:gd name="T18" fmla="*/ 101 w 123"/>
              <a:gd name="T19" fmla="*/ 14 h 122"/>
              <a:gd name="T20" fmla="*/ 96 w 123"/>
              <a:gd name="T21" fmla="*/ 17 h 122"/>
              <a:gd name="T22" fmla="*/ 84 w 123"/>
              <a:gd name="T23" fmla="*/ 26 h 122"/>
              <a:gd name="T24" fmla="*/ 77 w 123"/>
              <a:gd name="T25" fmla="*/ 32 h 122"/>
              <a:gd name="T26" fmla="*/ 85 w 123"/>
              <a:gd name="T27" fmla="*/ 42 h 122"/>
              <a:gd name="T28" fmla="*/ 110 w 123"/>
              <a:gd name="T29" fmla="*/ 92 h 122"/>
              <a:gd name="T30" fmla="*/ 110 w 123"/>
              <a:gd name="T31" fmla="*/ 98 h 122"/>
              <a:gd name="T32" fmla="*/ 114 w 123"/>
              <a:gd name="T33" fmla="*/ 92 h 122"/>
              <a:gd name="T34" fmla="*/ 122 w 123"/>
              <a:gd name="T35" fmla="*/ 57 h 122"/>
              <a:gd name="T36" fmla="*/ 117 w 123"/>
              <a:gd name="T37" fmla="*/ 34 h 122"/>
              <a:gd name="T38" fmla="*/ 107 w 123"/>
              <a:gd name="T39" fmla="*/ 19 h 122"/>
              <a:gd name="T40" fmla="*/ 101 w 123"/>
              <a:gd name="T41" fmla="*/ 14 h 122"/>
              <a:gd name="T42" fmla="*/ 25 w 123"/>
              <a:gd name="T43" fmla="*/ 15 h 122"/>
              <a:gd name="T44" fmla="*/ 21 w 123"/>
              <a:gd name="T45" fmla="*/ 16 h 122"/>
              <a:gd name="T46" fmla="*/ 5 w 123"/>
              <a:gd name="T47" fmla="*/ 41 h 122"/>
              <a:gd name="T48" fmla="*/ 12 w 123"/>
              <a:gd name="T49" fmla="*/ 93 h 122"/>
              <a:gd name="T50" fmla="*/ 15 w 123"/>
              <a:gd name="T51" fmla="*/ 95 h 122"/>
              <a:gd name="T52" fmla="*/ 41 w 123"/>
              <a:gd name="T53" fmla="*/ 42 h 122"/>
              <a:gd name="T54" fmla="*/ 49 w 123"/>
              <a:gd name="T55" fmla="*/ 32 h 122"/>
              <a:gd name="T56" fmla="*/ 41 w 123"/>
              <a:gd name="T57" fmla="*/ 26 h 122"/>
              <a:gd name="T58" fmla="*/ 29 w 123"/>
              <a:gd name="T59" fmla="*/ 16 h 122"/>
              <a:gd name="T60" fmla="*/ 25 w 123"/>
              <a:gd name="T61" fmla="*/ 15 h 122"/>
              <a:gd name="T62" fmla="*/ 62 w 123"/>
              <a:gd name="T63" fmla="*/ 46 h 122"/>
              <a:gd name="T64" fmla="*/ 52 w 123"/>
              <a:gd name="T65" fmla="*/ 55 h 122"/>
              <a:gd name="T66" fmla="*/ 19 w 123"/>
              <a:gd name="T67" fmla="*/ 99 h 122"/>
              <a:gd name="T68" fmla="*/ 49 w 123"/>
              <a:gd name="T69" fmla="*/ 119 h 122"/>
              <a:gd name="T70" fmla="*/ 98 w 123"/>
              <a:gd name="T71" fmla="*/ 109 h 122"/>
              <a:gd name="T72" fmla="*/ 101 w 123"/>
              <a:gd name="T73" fmla="*/ 85 h 122"/>
              <a:gd name="T74" fmla="*/ 67 w 123"/>
              <a:gd name="T75" fmla="*/ 49 h 122"/>
              <a:gd name="T76" fmla="*/ 62 w 123"/>
              <a:gd name="T77" fmla="*/ 4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22">
                <a:moveTo>
                  <a:pt x="64" y="0"/>
                </a:moveTo>
                <a:cubicBezTo>
                  <a:pt x="57" y="0"/>
                  <a:pt x="50" y="1"/>
                  <a:pt x="44" y="3"/>
                </a:cubicBezTo>
                <a:cubicBezTo>
                  <a:pt x="38" y="5"/>
                  <a:pt x="34" y="7"/>
                  <a:pt x="33" y="7"/>
                </a:cubicBezTo>
                <a:cubicBezTo>
                  <a:pt x="33" y="8"/>
                  <a:pt x="37" y="9"/>
                  <a:pt x="41" y="11"/>
                </a:cubicBezTo>
                <a:cubicBezTo>
                  <a:pt x="46" y="12"/>
                  <a:pt x="53" y="15"/>
                  <a:pt x="56" y="16"/>
                </a:cubicBezTo>
                <a:cubicBezTo>
                  <a:pt x="63" y="21"/>
                  <a:pt x="63" y="21"/>
                  <a:pt x="68" y="17"/>
                </a:cubicBezTo>
                <a:cubicBezTo>
                  <a:pt x="74" y="13"/>
                  <a:pt x="90" y="8"/>
                  <a:pt x="94" y="9"/>
                </a:cubicBezTo>
                <a:cubicBezTo>
                  <a:pt x="95" y="10"/>
                  <a:pt x="92" y="8"/>
                  <a:pt x="88" y="6"/>
                </a:cubicBezTo>
                <a:cubicBezTo>
                  <a:pt x="81" y="2"/>
                  <a:pt x="72" y="0"/>
                  <a:pt x="64" y="0"/>
                </a:cubicBezTo>
                <a:close/>
                <a:moveTo>
                  <a:pt x="101" y="14"/>
                </a:moveTo>
                <a:cubicBezTo>
                  <a:pt x="96" y="17"/>
                  <a:pt x="96" y="17"/>
                  <a:pt x="96" y="17"/>
                </a:cubicBezTo>
                <a:cubicBezTo>
                  <a:pt x="93" y="18"/>
                  <a:pt x="88" y="22"/>
                  <a:pt x="84" y="26"/>
                </a:cubicBezTo>
                <a:cubicBezTo>
                  <a:pt x="77" y="32"/>
                  <a:pt x="77" y="32"/>
                  <a:pt x="77" y="32"/>
                </a:cubicBezTo>
                <a:cubicBezTo>
                  <a:pt x="85" y="42"/>
                  <a:pt x="85" y="42"/>
                  <a:pt x="85" y="42"/>
                </a:cubicBezTo>
                <a:cubicBezTo>
                  <a:pt x="101" y="63"/>
                  <a:pt x="110" y="81"/>
                  <a:pt x="110" y="92"/>
                </a:cubicBezTo>
                <a:cubicBezTo>
                  <a:pt x="110" y="98"/>
                  <a:pt x="110" y="98"/>
                  <a:pt x="110" y="98"/>
                </a:cubicBezTo>
                <a:cubicBezTo>
                  <a:pt x="114" y="92"/>
                  <a:pt x="114" y="92"/>
                  <a:pt x="114" y="92"/>
                </a:cubicBezTo>
                <a:cubicBezTo>
                  <a:pt x="121" y="82"/>
                  <a:pt x="123" y="72"/>
                  <a:pt x="122" y="57"/>
                </a:cubicBezTo>
                <a:cubicBezTo>
                  <a:pt x="122" y="45"/>
                  <a:pt x="121" y="42"/>
                  <a:pt x="117" y="34"/>
                </a:cubicBezTo>
                <a:cubicBezTo>
                  <a:pt x="115" y="29"/>
                  <a:pt x="110" y="23"/>
                  <a:pt x="107" y="19"/>
                </a:cubicBezTo>
                <a:lnTo>
                  <a:pt x="101" y="14"/>
                </a:lnTo>
                <a:close/>
                <a:moveTo>
                  <a:pt x="25" y="15"/>
                </a:moveTo>
                <a:cubicBezTo>
                  <a:pt x="24" y="15"/>
                  <a:pt x="23" y="15"/>
                  <a:pt x="21" y="16"/>
                </a:cubicBezTo>
                <a:cubicBezTo>
                  <a:pt x="17" y="19"/>
                  <a:pt x="9" y="32"/>
                  <a:pt x="5" y="41"/>
                </a:cubicBezTo>
                <a:cubicBezTo>
                  <a:pt x="0" y="56"/>
                  <a:pt x="3" y="79"/>
                  <a:pt x="12" y="93"/>
                </a:cubicBezTo>
                <a:cubicBezTo>
                  <a:pt x="16" y="98"/>
                  <a:pt x="16" y="99"/>
                  <a:pt x="15" y="95"/>
                </a:cubicBezTo>
                <a:cubicBezTo>
                  <a:pt x="13" y="87"/>
                  <a:pt x="25" y="62"/>
                  <a:pt x="41" y="42"/>
                </a:cubicBezTo>
                <a:cubicBezTo>
                  <a:pt x="49" y="32"/>
                  <a:pt x="49" y="32"/>
                  <a:pt x="49" y="32"/>
                </a:cubicBezTo>
                <a:cubicBezTo>
                  <a:pt x="41" y="26"/>
                  <a:pt x="41" y="26"/>
                  <a:pt x="41" y="26"/>
                </a:cubicBezTo>
                <a:cubicBezTo>
                  <a:pt x="37" y="22"/>
                  <a:pt x="32" y="18"/>
                  <a:pt x="29" y="16"/>
                </a:cubicBezTo>
                <a:cubicBezTo>
                  <a:pt x="27" y="15"/>
                  <a:pt x="26" y="15"/>
                  <a:pt x="25" y="15"/>
                </a:cubicBezTo>
                <a:close/>
                <a:moveTo>
                  <a:pt x="62" y="46"/>
                </a:moveTo>
                <a:cubicBezTo>
                  <a:pt x="52" y="55"/>
                  <a:pt x="52" y="55"/>
                  <a:pt x="52" y="55"/>
                </a:cubicBezTo>
                <a:cubicBezTo>
                  <a:pt x="35" y="70"/>
                  <a:pt x="19" y="91"/>
                  <a:pt x="19" y="99"/>
                </a:cubicBezTo>
                <a:cubicBezTo>
                  <a:pt x="19" y="104"/>
                  <a:pt x="34" y="115"/>
                  <a:pt x="49" y="119"/>
                </a:cubicBezTo>
                <a:cubicBezTo>
                  <a:pt x="64" y="122"/>
                  <a:pt x="85" y="118"/>
                  <a:pt x="98" y="109"/>
                </a:cubicBezTo>
                <a:cubicBezTo>
                  <a:pt x="109" y="101"/>
                  <a:pt x="109" y="98"/>
                  <a:pt x="101" y="85"/>
                </a:cubicBezTo>
                <a:cubicBezTo>
                  <a:pt x="96" y="78"/>
                  <a:pt x="74" y="54"/>
                  <a:pt x="67" y="49"/>
                </a:cubicBezTo>
                <a:lnTo>
                  <a:pt x="62" y="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7" name="Freeform 195"/>
          <p:cNvSpPr>
            <a:spLocks/>
          </p:cNvSpPr>
          <p:nvPr/>
        </p:nvSpPr>
        <p:spPr bwMode="auto">
          <a:xfrm>
            <a:off x="7805423" y="3378600"/>
            <a:ext cx="212947" cy="246167"/>
          </a:xfrm>
          <a:custGeom>
            <a:avLst/>
            <a:gdLst>
              <a:gd name="T0" fmla="*/ 15 w 106"/>
              <a:gd name="T1" fmla="*/ 119 h 122"/>
              <a:gd name="T2" fmla="*/ 50 w 106"/>
              <a:gd name="T3" fmla="*/ 119 h 122"/>
              <a:gd name="T4" fmla="*/ 85 w 106"/>
              <a:gd name="T5" fmla="*/ 119 h 122"/>
              <a:gd name="T6" fmla="*/ 96 w 106"/>
              <a:gd name="T7" fmla="*/ 120 h 122"/>
              <a:gd name="T8" fmla="*/ 97 w 106"/>
              <a:gd name="T9" fmla="*/ 108 h 122"/>
              <a:gd name="T10" fmla="*/ 95 w 106"/>
              <a:gd name="T11" fmla="*/ 87 h 122"/>
              <a:gd name="T12" fmla="*/ 90 w 106"/>
              <a:gd name="T13" fmla="*/ 101 h 122"/>
              <a:gd name="T14" fmla="*/ 64 w 106"/>
              <a:gd name="T15" fmla="*/ 111 h 122"/>
              <a:gd name="T16" fmla="*/ 34 w 106"/>
              <a:gd name="T17" fmla="*/ 106 h 122"/>
              <a:gd name="T18" fmla="*/ 33 w 106"/>
              <a:gd name="T19" fmla="*/ 85 h 122"/>
              <a:gd name="T20" fmla="*/ 34 w 106"/>
              <a:gd name="T21" fmla="*/ 63 h 122"/>
              <a:gd name="T22" fmla="*/ 71 w 106"/>
              <a:gd name="T23" fmla="*/ 64 h 122"/>
              <a:gd name="T24" fmla="*/ 80 w 106"/>
              <a:gd name="T25" fmla="*/ 77 h 122"/>
              <a:gd name="T26" fmla="*/ 82 w 106"/>
              <a:gd name="T27" fmla="*/ 64 h 122"/>
              <a:gd name="T28" fmla="*/ 82 w 106"/>
              <a:gd name="T29" fmla="*/ 51 h 122"/>
              <a:gd name="T30" fmla="*/ 78 w 106"/>
              <a:gd name="T31" fmla="*/ 39 h 122"/>
              <a:gd name="T32" fmla="*/ 72 w 106"/>
              <a:gd name="T33" fmla="*/ 53 h 122"/>
              <a:gd name="T34" fmla="*/ 65 w 106"/>
              <a:gd name="T35" fmla="*/ 54 h 122"/>
              <a:gd name="T36" fmla="*/ 33 w 106"/>
              <a:gd name="T37" fmla="*/ 53 h 122"/>
              <a:gd name="T38" fmla="*/ 33 w 106"/>
              <a:gd name="T39" fmla="*/ 16 h 122"/>
              <a:gd name="T40" fmla="*/ 53 w 106"/>
              <a:gd name="T41" fmla="*/ 11 h 122"/>
              <a:gd name="T42" fmla="*/ 86 w 106"/>
              <a:gd name="T43" fmla="*/ 18 h 122"/>
              <a:gd name="T44" fmla="*/ 90 w 106"/>
              <a:gd name="T45" fmla="*/ 28 h 122"/>
              <a:gd name="T46" fmla="*/ 93 w 106"/>
              <a:gd name="T47" fmla="*/ 13 h 122"/>
              <a:gd name="T48" fmla="*/ 95 w 106"/>
              <a:gd name="T49" fmla="*/ 3 h 122"/>
              <a:gd name="T50" fmla="*/ 87 w 106"/>
              <a:gd name="T51" fmla="*/ 2 h 122"/>
              <a:gd name="T52" fmla="*/ 12 w 106"/>
              <a:gd name="T53" fmla="*/ 3 h 122"/>
              <a:gd name="T54" fmla="*/ 3 w 106"/>
              <a:gd name="T55" fmla="*/ 5 h 122"/>
              <a:gd name="T56" fmla="*/ 15 w 106"/>
              <a:gd name="T57" fmla="*/ 13 h 122"/>
              <a:gd name="T58" fmla="*/ 18 w 106"/>
              <a:gd name="T59" fmla="*/ 23 h 122"/>
              <a:gd name="T60" fmla="*/ 18 w 106"/>
              <a:gd name="T61" fmla="*/ 62 h 122"/>
              <a:gd name="T62" fmla="*/ 18 w 106"/>
              <a:gd name="T63" fmla="*/ 101 h 122"/>
              <a:gd name="T64" fmla="*/ 15 w 106"/>
              <a:gd name="T65" fmla="*/ 110 h 122"/>
              <a:gd name="T66" fmla="*/ 1 w 106"/>
              <a:gd name="T67" fmla="*/ 119 h 122"/>
              <a:gd name="T68" fmla="*/ 15 w 106"/>
              <a:gd name="T69" fmla="*/ 11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 h="122">
                <a:moveTo>
                  <a:pt x="15" y="119"/>
                </a:moveTo>
                <a:cubicBezTo>
                  <a:pt x="26" y="119"/>
                  <a:pt x="38" y="119"/>
                  <a:pt x="50" y="119"/>
                </a:cubicBezTo>
                <a:cubicBezTo>
                  <a:pt x="62" y="119"/>
                  <a:pt x="75" y="119"/>
                  <a:pt x="85" y="119"/>
                </a:cubicBezTo>
                <a:cubicBezTo>
                  <a:pt x="89" y="120"/>
                  <a:pt x="93" y="122"/>
                  <a:pt x="96" y="120"/>
                </a:cubicBezTo>
                <a:cubicBezTo>
                  <a:pt x="98" y="117"/>
                  <a:pt x="96" y="112"/>
                  <a:pt x="97" y="108"/>
                </a:cubicBezTo>
                <a:cubicBezTo>
                  <a:pt x="98" y="100"/>
                  <a:pt x="106" y="89"/>
                  <a:pt x="95" y="87"/>
                </a:cubicBezTo>
                <a:cubicBezTo>
                  <a:pt x="90" y="92"/>
                  <a:pt x="93" y="96"/>
                  <a:pt x="90" y="101"/>
                </a:cubicBezTo>
                <a:cubicBezTo>
                  <a:pt x="87" y="108"/>
                  <a:pt x="75" y="110"/>
                  <a:pt x="64" y="111"/>
                </a:cubicBezTo>
                <a:cubicBezTo>
                  <a:pt x="54" y="112"/>
                  <a:pt x="37" y="113"/>
                  <a:pt x="34" y="106"/>
                </a:cubicBezTo>
                <a:cubicBezTo>
                  <a:pt x="31" y="101"/>
                  <a:pt x="33" y="92"/>
                  <a:pt x="33" y="85"/>
                </a:cubicBezTo>
                <a:cubicBezTo>
                  <a:pt x="33" y="77"/>
                  <a:pt x="32" y="69"/>
                  <a:pt x="34" y="63"/>
                </a:cubicBezTo>
                <a:cubicBezTo>
                  <a:pt x="46" y="64"/>
                  <a:pt x="62" y="59"/>
                  <a:pt x="71" y="64"/>
                </a:cubicBezTo>
                <a:cubicBezTo>
                  <a:pt x="76" y="68"/>
                  <a:pt x="73" y="75"/>
                  <a:pt x="80" y="77"/>
                </a:cubicBezTo>
                <a:cubicBezTo>
                  <a:pt x="84" y="76"/>
                  <a:pt x="82" y="70"/>
                  <a:pt x="82" y="64"/>
                </a:cubicBezTo>
                <a:cubicBezTo>
                  <a:pt x="82" y="61"/>
                  <a:pt x="82" y="56"/>
                  <a:pt x="82" y="51"/>
                </a:cubicBezTo>
                <a:cubicBezTo>
                  <a:pt x="82" y="46"/>
                  <a:pt x="84" y="39"/>
                  <a:pt x="78" y="39"/>
                </a:cubicBezTo>
                <a:cubicBezTo>
                  <a:pt x="73" y="43"/>
                  <a:pt x="77" y="49"/>
                  <a:pt x="72" y="53"/>
                </a:cubicBezTo>
                <a:cubicBezTo>
                  <a:pt x="70" y="54"/>
                  <a:pt x="67" y="54"/>
                  <a:pt x="65" y="54"/>
                </a:cubicBezTo>
                <a:cubicBezTo>
                  <a:pt x="55" y="55"/>
                  <a:pt x="41" y="55"/>
                  <a:pt x="33" y="53"/>
                </a:cubicBezTo>
                <a:cubicBezTo>
                  <a:pt x="32" y="42"/>
                  <a:pt x="32" y="27"/>
                  <a:pt x="33" y="16"/>
                </a:cubicBezTo>
                <a:cubicBezTo>
                  <a:pt x="37" y="11"/>
                  <a:pt x="47" y="11"/>
                  <a:pt x="53" y="11"/>
                </a:cubicBezTo>
                <a:cubicBezTo>
                  <a:pt x="65" y="11"/>
                  <a:pt x="83" y="12"/>
                  <a:pt x="86" y="18"/>
                </a:cubicBezTo>
                <a:cubicBezTo>
                  <a:pt x="88" y="21"/>
                  <a:pt x="86" y="28"/>
                  <a:pt x="90" y="28"/>
                </a:cubicBezTo>
                <a:cubicBezTo>
                  <a:pt x="96" y="30"/>
                  <a:pt x="93" y="18"/>
                  <a:pt x="93" y="13"/>
                </a:cubicBezTo>
                <a:cubicBezTo>
                  <a:pt x="94" y="8"/>
                  <a:pt x="95" y="6"/>
                  <a:pt x="95" y="3"/>
                </a:cubicBezTo>
                <a:cubicBezTo>
                  <a:pt x="92" y="0"/>
                  <a:pt x="89" y="1"/>
                  <a:pt x="87" y="2"/>
                </a:cubicBezTo>
                <a:cubicBezTo>
                  <a:pt x="66" y="4"/>
                  <a:pt x="35" y="3"/>
                  <a:pt x="12" y="3"/>
                </a:cubicBezTo>
                <a:cubicBezTo>
                  <a:pt x="10" y="3"/>
                  <a:pt x="5" y="1"/>
                  <a:pt x="3" y="5"/>
                </a:cubicBezTo>
                <a:cubicBezTo>
                  <a:pt x="2" y="12"/>
                  <a:pt x="11" y="9"/>
                  <a:pt x="15" y="13"/>
                </a:cubicBezTo>
                <a:cubicBezTo>
                  <a:pt x="16" y="14"/>
                  <a:pt x="18" y="19"/>
                  <a:pt x="18" y="23"/>
                </a:cubicBezTo>
                <a:cubicBezTo>
                  <a:pt x="19" y="33"/>
                  <a:pt x="18" y="47"/>
                  <a:pt x="18" y="62"/>
                </a:cubicBezTo>
                <a:cubicBezTo>
                  <a:pt x="18" y="77"/>
                  <a:pt x="19" y="92"/>
                  <a:pt x="18" y="101"/>
                </a:cubicBezTo>
                <a:cubicBezTo>
                  <a:pt x="18" y="104"/>
                  <a:pt x="16" y="110"/>
                  <a:pt x="15" y="110"/>
                </a:cubicBezTo>
                <a:cubicBezTo>
                  <a:pt x="11" y="115"/>
                  <a:pt x="0" y="110"/>
                  <a:pt x="1" y="119"/>
                </a:cubicBezTo>
                <a:cubicBezTo>
                  <a:pt x="5" y="122"/>
                  <a:pt x="10" y="120"/>
                  <a:pt x="15" y="11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8" name="Freeform 196"/>
          <p:cNvSpPr>
            <a:spLocks/>
          </p:cNvSpPr>
          <p:nvPr/>
        </p:nvSpPr>
        <p:spPr bwMode="auto">
          <a:xfrm>
            <a:off x="8756020" y="3376895"/>
            <a:ext cx="241057" cy="225724"/>
          </a:xfrm>
          <a:custGeom>
            <a:avLst/>
            <a:gdLst>
              <a:gd name="T0" fmla="*/ 39 w 120"/>
              <a:gd name="T1" fmla="*/ 7 h 112"/>
              <a:gd name="T2" fmla="*/ 29 w 120"/>
              <a:gd name="T3" fmla="*/ 20 h 112"/>
              <a:gd name="T4" fmla="*/ 27 w 120"/>
              <a:gd name="T5" fmla="*/ 36 h 112"/>
              <a:gd name="T6" fmla="*/ 27 w 120"/>
              <a:gd name="T7" fmla="*/ 47 h 112"/>
              <a:gd name="T8" fmla="*/ 22 w 120"/>
              <a:gd name="T9" fmla="*/ 47 h 112"/>
              <a:gd name="T10" fmla="*/ 18 w 120"/>
              <a:gd name="T11" fmla="*/ 45 h 112"/>
              <a:gd name="T12" fmla="*/ 14 w 120"/>
              <a:gd name="T13" fmla="*/ 46 h 112"/>
              <a:gd name="T14" fmla="*/ 12 w 120"/>
              <a:gd name="T15" fmla="*/ 50 h 112"/>
              <a:gd name="T16" fmla="*/ 13 w 120"/>
              <a:gd name="T17" fmla="*/ 52 h 112"/>
              <a:gd name="T18" fmla="*/ 15 w 120"/>
              <a:gd name="T19" fmla="*/ 53 h 112"/>
              <a:gd name="T20" fmla="*/ 23 w 120"/>
              <a:gd name="T21" fmla="*/ 57 h 112"/>
              <a:gd name="T22" fmla="*/ 25 w 120"/>
              <a:gd name="T23" fmla="*/ 66 h 112"/>
              <a:gd name="T24" fmla="*/ 13 w 120"/>
              <a:gd name="T25" fmla="*/ 81 h 112"/>
              <a:gd name="T26" fmla="*/ 3 w 120"/>
              <a:gd name="T27" fmla="*/ 85 h 112"/>
              <a:gd name="T28" fmla="*/ 0 w 120"/>
              <a:gd name="T29" fmla="*/ 87 h 112"/>
              <a:gd name="T30" fmla="*/ 2 w 120"/>
              <a:gd name="T31" fmla="*/ 91 h 112"/>
              <a:gd name="T32" fmla="*/ 10 w 120"/>
              <a:gd name="T33" fmla="*/ 94 h 112"/>
              <a:gd name="T34" fmla="*/ 16 w 120"/>
              <a:gd name="T35" fmla="*/ 95 h 112"/>
              <a:gd name="T36" fmla="*/ 17 w 120"/>
              <a:gd name="T37" fmla="*/ 101 h 112"/>
              <a:gd name="T38" fmla="*/ 21 w 120"/>
              <a:gd name="T39" fmla="*/ 102 h 112"/>
              <a:gd name="T40" fmla="*/ 34 w 120"/>
              <a:gd name="T41" fmla="*/ 102 h 112"/>
              <a:gd name="T42" fmla="*/ 46 w 120"/>
              <a:gd name="T43" fmla="*/ 108 h 112"/>
              <a:gd name="T44" fmla="*/ 46 w 120"/>
              <a:gd name="T45" fmla="*/ 109 h 112"/>
              <a:gd name="T46" fmla="*/ 56 w 120"/>
              <a:gd name="T47" fmla="*/ 112 h 112"/>
              <a:gd name="T48" fmla="*/ 65 w 120"/>
              <a:gd name="T49" fmla="*/ 112 h 112"/>
              <a:gd name="T50" fmla="*/ 71 w 120"/>
              <a:gd name="T51" fmla="*/ 110 h 112"/>
              <a:gd name="T52" fmla="*/ 84 w 120"/>
              <a:gd name="T53" fmla="*/ 102 h 112"/>
              <a:gd name="T54" fmla="*/ 90 w 120"/>
              <a:gd name="T55" fmla="*/ 101 h 112"/>
              <a:gd name="T56" fmla="*/ 100 w 120"/>
              <a:gd name="T57" fmla="*/ 102 h 112"/>
              <a:gd name="T58" fmla="*/ 102 w 120"/>
              <a:gd name="T59" fmla="*/ 101 h 112"/>
              <a:gd name="T60" fmla="*/ 103 w 120"/>
              <a:gd name="T61" fmla="*/ 100 h 112"/>
              <a:gd name="T62" fmla="*/ 105 w 120"/>
              <a:gd name="T63" fmla="*/ 95 h 112"/>
              <a:gd name="T64" fmla="*/ 107 w 120"/>
              <a:gd name="T65" fmla="*/ 94 h 112"/>
              <a:gd name="T66" fmla="*/ 116 w 120"/>
              <a:gd name="T67" fmla="*/ 92 h 112"/>
              <a:gd name="T68" fmla="*/ 119 w 120"/>
              <a:gd name="T69" fmla="*/ 89 h 112"/>
              <a:gd name="T70" fmla="*/ 119 w 120"/>
              <a:gd name="T71" fmla="*/ 86 h 112"/>
              <a:gd name="T72" fmla="*/ 119 w 120"/>
              <a:gd name="T73" fmla="*/ 86 h 112"/>
              <a:gd name="T74" fmla="*/ 119 w 120"/>
              <a:gd name="T75" fmla="*/ 86 h 112"/>
              <a:gd name="T76" fmla="*/ 115 w 120"/>
              <a:gd name="T77" fmla="*/ 84 h 112"/>
              <a:gd name="T78" fmla="*/ 94 w 120"/>
              <a:gd name="T79" fmla="*/ 63 h 112"/>
              <a:gd name="T80" fmla="*/ 94 w 120"/>
              <a:gd name="T81" fmla="*/ 59 h 112"/>
              <a:gd name="T82" fmla="*/ 99 w 120"/>
              <a:gd name="T83" fmla="*/ 56 h 112"/>
              <a:gd name="T84" fmla="*/ 107 w 120"/>
              <a:gd name="T85" fmla="*/ 52 h 112"/>
              <a:gd name="T86" fmla="*/ 108 w 120"/>
              <a:gd name="T87" fmla="*/ 51 h 112"/>
              <a:gd name="T88" fmla="*/ 108 w 120"/>
              <a:gd name="T89" fmla="*/ 48 h 112"/>
              <a:gd name="T90" fmla="*/ 105 w 120"/>
              <a:gd name="T91" fmla="*/ 46 h 112"/>
              <a:gd name="T92" fmla="*/ 101 w 120"/>
              <a:gd name="T93" fmla="*/ 46 h 112"/>
              <a:gd name="T94" fmla="*/ 97 w 120"/>
              <a:gd name="T95" fmla="*/ 47 h 112"/>
              <a:gd name="T96" fmla="*/ 92 w 120"/>
              <a:gd name="T97" fmla="*/ 47 h 112"/>
              <a:gd name="T98" fmla="*/ 92 w 120"/>
              <a:gd name="T99" fmla="*/ 46 h 112"/>
              <a:gd name="T100" fmla="*/ 93 w 120"/>
              <a:gd name="T101" fmla="*/ 37 h 112"/>
              <a:gd name="T102" fmla="*/ 92 w 120"/>
              <a:gd name="T103" fmla="*/ 24 h 112"/>
              <a:gd name="T104" fmla="*/ 65 w 120"/>
              <a:gd name="T105" fmla="*/ 0 h 112"/>
              <a:gd name="T106" fmla="*/ 59 w 120"/>
              <a:gd name="T107"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112">
                <a:moveTo>
                  <a:pt x="59" y="0"/>
                </a:moveTo>
                <a:cubicBezTo>
                  <a:pt x="52" y="0"/>
                  <a:pt x="45" y="2"/>
                  <a:pt x="39" y="7"/>
                </a:cubicBezTo>
                <a:cubicBezTo>
                  <a:pt x="34" y="10"/>
                  <a:pt x="31" y="15"/>
                  <a:pt x="29" y="20"/>
                </a:cubicBezTo>
                <a:cubicBezTo>
                  <a:pt x="29" y="20"/>
                  <a:pt x="29" y="20"/>
                  <a:pt x="29" y="20"/>
                </a:cubicBezTo>
                <a:cubicBezTo>
                  <a:pt x="27" y="25"/>
                  <a:pt x="27" y="31"/>
                  <a:pt x="27" y="36"/>
                </a:cubicBezTo>
                <a:cubicBezTo>
                  <a:pt x="27" y="36"/>
                  <a:pt x="27" y="36"/>
                  <a:pt x="27" y="36"/>
                </a:cubicBezTo>
                <a:cubicBezTo>
                  <a:pt x="27" y="40"/>
                  <a:pt x="28" y="43"/>
                  <a:pt x="27" y="46"/>
                </a:cubicBezTo>
                <a:cubicBezTo>
                  <a:pt x="27" y="47"/>
                  <a:pt x="27" y="47"/>
                  <a:pt x="27" y="47"/>
                </a:cubicBezTo>
                <a:cubicBezTo>
                  <a:pt x="26" y="47"/>
                  <a:pt x="24" y="47"/>
                  <a:pt x="22" y="47"/>
                </a:cubicBezTo>
                <a:cubicBezTo>
                  <a:pt x="22" y="47"/>
                  <a:pt x="22" y="47"/>
                  <a:pt x="22" y="47"/>
                </a:cubicBezTo>
                <a:cubicBezTo>
                  <a:pt x="21" y="46"/>
                  <a:pt x="19" y="46"/>
                  <a:pt x="18" y="45"/>
                </a:cubicBezTo>
                <a:cubicBezTo>
                  <a:pt x="18" y="45"/>
                  <a:pt x="18" y="45"/>
                  <a:pt x="18" y="45"/>
                </a:cubicBezTo>
                <a:cubicBezTo>
                  <a:pt x="16" y="45"/>
                  <a:pt x="15" y="46"/>
                  <a:pt x="14" y="46"/>
                </a:cubicBezTo>
                <a:cubicBezTo>
                  <a:pt x="14" y="46"/>
                  <a:pt x="14" y="46"/>
                  <a:pt x="14" y="46"/>
                </a:cubicBezTo>
                <a:cubicBezTo>
                  <a:pt x="14" y="46"/>
                  <a:pt x="14" y="46"/>
                  <a:pt x="14" y="46"/>
                </a:cubicBezTo>
                <a:cubicBezTo>
                  <a:pt x="13" y="47"/>
                  <a:pt x="12" y="48"/>
                  <a:pt x="12" y="50"/>
                </a:cubicBezTo>
                <a:cubicBezTo>
                  <a:pt x="12" y="50"/>
                  <a:pt x="12" y="50"/>
                  <a:pt x="12" y="50"/>
                </a:cubicBezTo>
                <a:cubicBezTo>
                  <a:pt x="12" y="51"/>
                  <a:pt x="13" y="52"/>
                  <a:pt x="13" y="52"/>
                </a:cubicBezTo>
                <a:cubicBezTo>
                  <a:pt x="14" y="53"/>
                  <a:pt x="14" y="53"/>
                  <a:pt x="15" y="53"/>
                </a:cubicBezTo>
                <a:cubicBezTo>
                  <a:pt x="15" y="53"/>
                  <a:pt x="15" y="53"/>
                  <a:pt x="15" y="53"/>
                </a:cubicBezTo>
                <a:cubicBezTo>
                  <a:pt x="17" y="55"/>
                  <a:pt x="20" y="56"/>
                  <a:pt x="23" y="57"/>
                </a:cubicBezTo>
                <a:cubicBezTo>
                  <a:pt x="23" y="57"/>
                  <a:pt x="23" y="57"/>
                  <a:pt x="23" y="57"/>
                </a:cubicBezTo>
                <a:cubicBezTo>
                  <a:pt x="24" y="57"/>
                  <a:pt x="26" y="59"/>
                  <a:pt x="26" y="60"/>
                </a:cubicBezTo>
                <a:cubicBezTo>
                  <a:pt x="27" y="62"/>
                  <a:pt x="26" y="64"/>
                  <a:pt x="25" y="66"/>
                </a:cubicBezTo>
                <a:cubicBezTo>
                  <a:pt x="25" y="66"/>
                  <a:pt x="25" y="66"/>
                  <a:pt x="25" y="66"/>
                </a:cubicBezTo>
                <a:cubicBezTo>
                  <a:pt x="22" y="72"/>
                  <a:pt x="18" y="77"/>
                  <a:pt x="13" y="81"/>
                </a:cubicBezTo>
                <a:cubicBezTo>
                  <a:pt x="10" y="82"/>
                  <a:pt x="7" y="84"/>
                  <a:pt x="4" y="85"/>
                </a:cubicBezTo>
                <a:cubicBezTo>
                  <a:pt x="3" y="85"/>
                  <a:pt x="3" y="85"/>
                  <a:pt x="3" y="85"/>
                </a:cubicBezTo>
                <a:cubicBezTo>
                  <a:pt x="3" y="85"/>
                  <a:pt x="1" y="85"/>
                  <a:pt x="0" y="87"/>
                </a:cubicBezTo>
                <a:cubicBezTo>
                  <a:pt x="0" y="87"/>
                  <a:pt x="0" y="87"/>
                  <a:pt x="0" y="87"/>
                </a:cubicBezTo>
                <a:cubicBezTo>
                  <a:pt x="0" y="88"/>
                  <a:pt x="0" y="89"/>
                  <a:pt x="1" y="90"/>
                </a:cubicBezTo>
                <a:cubicBezTo>
                  <a:pt x="1" y="90"/>
                  <a:pt x="1" y="90"/>
                  <a:pt x="2" y="91"/>
                </a:cubicBezTo>
                <a:cubicBezTo>
                  <a:pt x="2" y="91"/>
                  <a:pt x="2" y="91"/>
                  <a:pt x="2" y="91"/>
                </a:cubicBezTo>
                <a:cubicBezTo>
                  <a:pt x="5" y="92"/>
                  <a:pt x="8" y="93"/>
                  <a:pt x="10" y="94"/>
                </a:cubicBezTo>
                <a:cubicBezTo>
                  <a:pt x="10" y="94"/>
                  <a:pt x="10" y="94"/>
                  <a:pt x="10" y="94"/>
                </a:cubicBezTo>
                <a:cubicBezTo>
                  <a:pt x="12" y="94"/>
                  <a:pt x="14" y="94"/>
                  <a:pt x="16" y="95"/>
                </a:cubicBezTo>
                <a:cubicBezTo>
                  <a:pt x="16" y="95"/>
                  <a:pt x="16" y="95"/>
                  <a:pt x="16" y="96"/>
                </a:cubicBezTo>
                <a:cubicBezTo>
                  <a:pt x="17" y="98"/>
                  <a:pt x="17" y="100"/>
                  <a:pt x="17" y="101"/>
                </a:cubicBezTo>
                <a:cubicBezTo>
                  <a:pt x="18" y="102"/>
                  <a:pt x="18" y="102"/>
                  <a:pt x="19" y="102"/>
                </a:cubicBezTo>
                <a:cubicBezTo>
                  <a:pt x="20" y="103"/>
                  <a:pt x="20" y="102"/>
                  <a:pt x="21" y="102"/>
                </a:cubicBezTo>
                <a:cubicBezTo>
                  <a:pt x="21" y="102"/>
                  <a:pt x="21" y="102"/>
                  <a:pt x="21" y="102"/>
                </a:cubicBezTo>
                <a:cubicBezTo>
                  <a:pt x="25" y="101"/>
                  <a:pt x="30" y="101"/>
                  <a:pt x="34" y="102"/>
                </a:cubicBezTo>
                <a:cubicBezTo>
                  <a:pt x="34" y="102"/>
                  <a:pt x="34" y="102"/>
                  <a:pt x="34" y="102"/>
                </a:cubicBezTo>
                <a:cubicBezTo>
                  <a:pt x="38" y="103"/>
                  <a:pt x="42" y="106"/>
                  <a:pt x="46" y="108"/>
                </a:cubicBezTo>
                <a:cubicBezTo>
                  <a:pt x="46" y="108"/>
                  <a:pt x="46" y="109"/>
                  <a:pt x="46" y="109"/>
                </a:cubicBezTo>
                <a:cubicBezTo>
                  <a:pt x="46" y="109"/>
                  <a:pt x="46" y="109"/>
                  <a:pt x="46" y="109"/>
                </a:cubicBezTo>
                <a:cubicBezTo>
                  <a:pt x="49" y="110"/>
                  <a:pt x="53" y="112"/>
                  <a:pt x="56" y="112"/>
                </a:cubicBezTo>
                <a:cubicBezTo>
                  <a:pt x="56" y="112"/>
                  <a:pt x="56" y="112"/>
                  <a:pt x="56" y="112"/>
                </a:cubicBezTo>
                <a:cubicBezTo>
                  <a:pt x="56" y="112"/>
                  <a:pt x="56" y="112"/>
                  <a:pt x="56" y="112"/>
                </a:cubicBezTo>
                <a:cubicBezTo>
                  <a:pt x="59" y="112"/>
                  <a:pt x="62" y="112"/>
                  <a:pt x="65" y="112"/>
                </a:cubicBezTo>
                <a:cubicBezTo>
                  <a:pt x="65" y="112"/>
                  <a:pt x="65" y="112"/>
                  <a:pt x="65" y="112"/>
                </a:cubicBezTo>
                <a:cubicBezTo>
                  <a:pt x="67" y="112"/>
                  <a:pt x="69" y="111"/>
                  <a:pt x="71" y="110"/>
                </a:cubicBezTo>
                <a:cubicBezTo>
                  <a:pt x="71" y="110"/>
                  <a:pt x="71" y="110"/>
                  <a:pt x="72" y="110"/>
                </a:cubicBezTo>
                <a:cubicBezTo>
                  <a:pt x="76" y="107"/>
                  <a:pt x="80" y="104"/>
                  <a:pt x="84" y="102"/>
                </a:cubicBezTo>
                <a:cubicBezTo>
                  <a:pt x="84" y="102"/>
                  <a:pt x="84" y="102"/>
                  <a:pt x="84" y="102"/>
                </a:cubicBezTo>
                <a:cubicBezTo>
                  <a:pt x="86" y="102"/>
                  <a:pt x="88" y="102"/>
                  <a:pt x="90" y="101"/>
                </a:cubicBezTo>
                <a:cubicBezTo>
                  <a:pt x="90" y="101"/>
                  <a:pt x="90" y="101"/>
                  <a:pt x="90" y="101"/>
                </a:cubicBezTo>
                <a:cubicBezTo>
                  <a:pt x="93" y="101"/>
                  <a:pt x="97" y="102"/>
                  <a:pt x="100" y="102"/>
                </a:cubicBezTo>
                <a:cubicBezTo>
                  <a:pt x="101" y="102"/>
                  <a:pt x="101" y="102"/>
                  <a:pt x="101" y="102"/>
                </a:cubicBezTo>
                <a:cubicBezTo>
                  <a:pt x="101" y="102"/>
                  <a:pt x="102" y="102"/>
                  <a:pt x="102" y="101"/>
                </a:cubicBezTo>
                <a:cubicBezTo>
                  <a:pt x="102" y="101"/>
                  <a:pt x="102" y="101"/>
                  <a:pt x="102" y="101"/>
                </a:cubicBezTo>
                <a:cubicBezTo>
                  <a:pt x="103" y="100"/>
                  <a:pt x="103" y="100"/>
                  <a:pt x="103" y="100"/>
                </a:cubicBezTo>
                <a:cubicBezTo>
                  <a:pt x="103" y="100"/>
                  <a:pt x="103" y="100"/>
                  <a:pt x="103" y="100"/>
                </a:cubicBezTo>
                <a:cubicBezTo>
                  <a:pt x="103" y="98"/>
                  <a:pt x="104" y="96"/>
                  <a:pt x="105" y="95"/>
                </a:cubicBezTo>
                <a:cubicBezTo>
                  <a:pt x="105" y="94"/>
                  <a:pt x="106" y="94"/>
                  <a:pt x="107" y="94"/>
                </a:cubicBezTo>
                <a:cubicBezTo>
                  <a:pt x="107" y="94"/>
                  <a:pt x="107" y="94"/>
                  <a:pt x="107" y="94"/>
                </a:cubicBezTo>
                <a:cubicBezTo>
                  <a:pt x="110" y="94"/>
                  <a:pt x="113" y="93"/>
                  <a:pt x="116" y="92"/>
                </a:cubicBezTo>
                <a:cubicBezTo>
                  <a:pt x="116" y="92"/>
                  <a:pt x="116" y="92"/>
                  <a:pt x="116" y="92"/>
                </a:cubicBezTo>
                <a:cubicBezTo>
                  <a:pt x="117" y="91"/>
                  <a:pt x="118" y="91"/>
                  <a:pt x="119" y="89"/>
                </a:cubicBezTo>
                <a:cubicBezTo>
                  <a:pt x="119" y="89"/>
                  <a:pt x="119" y="89"/>
                  <a:pt x="119" y="89"/>
                </a:cubicBezTo>
                <a:cubicBezTo>
                  <a:pt x="119" y="89"/>
                  <a:pt x="119" y="89"/>
                  <a:pt x="119" y="89"/>
                </a:cubicBezTo>
                <a:cubicBezTo>
                  <a:pt x="120" y="88"/>
                  <a:pt x="120" y="86"/>
                  <a:pt x="119" y="86"/>
                </a:cubicBezTo>
                <a:cubicBezTo>
                  <a:pt x="119" y="86"/>
                  <a:pt x="119" y="86"/>
                  <a:pt x="119" y="86"/>
                </a:cubicBezTo>
                <a:cubicBezTo>
                  <a:pt x="119" y="86"/>
                  <a:pt x="119" y="86"/>
                  <a:pt x="119" y="86"/>
                </a:cubicBezTo>
                <a:cubicBezTo>
                  <a:pt x="119" y="86"/>
                  <a:pt x="119" y="86"/>
                  <a:pt x="119" y="86"/>
                </a:cubicBezTo>
                <a:cubicBezTo>
                  <a:pt x="119" y="86"/>
                  <a:pt x="119" y="86"/>
                  <a:pt x="119" y="86"/>
                </a:cubicBezTo>
                <a:cubicBezTo>
                  <a:pt x="117" y="85"/>
                  <a:pt x="116" y="85"/>
                  <a:pt x="115" y="84"/>
                </a:cubicBezTo>
                <a:cubicBezTo>
                  <a:pt x="115" y="84"/>
                  <a:pt x="115" y="84"/>
                  <a:pt x="115" y="84"/>
                </a:cubicBezTo>
                <a:cubicBezTo>
                  <a:pt x="108" y="82"/>
                  <a:pt x="103" y="78"/>
                  <a:pt x="99" y="73"/>
                </a:cubicBezTo>
                <a:cubicBezTo>
                  <a:pt x="97" y="70"/>
                  <a:pt x="95" y="67"/>
                  <a:pt x="94" y="63"/>
                </a:cubicBezTo>
                <a:cubicBezTo>
                  <a:pt x="94" y="63"/>
                  <a:pt x="94" y="63"/>
                  <a:pt x="94" y="63"/>
                </a:cubicBezTo>
                <a:cubicBezTo>
                  <a:pt x="93" y="62"/>
                  <a:pt x="93" y="60"/>
                  <a:pt x="94" y="59"/>
                </a:cubicBezTo>
                <a:cubicBezTo>
                  <a:pt x="94" y="59"/>
                  <a:pt x="94" y="59"/>
                  <a:pt x="94" y="59"/>
                </a:cubicBezTo>
                <a:cubicBezTo>
                  <a:pt x="95" y="58"/>
                  <a:pt x="97" y="57"/>
                  <a:pt x="99" y="56"/>
                </a:cubicBezTo>
                <a:cubicBezTo>
                  <a:pt x="99" y="56"/>
                  <a:pt x="99" y="56"/>
                  <a:pt x="99" y="56"/>
                </a:cubicBezTo>
                <a:cubicBezTo>
                  <a:pt x="102" y="55"/>
                  <a:pt x="104" y="54"/>
                  <a:pt x="107" y="52"/>
                </a:cubicBezTo>
                <a:cubicBezTo>
                  <a:pt x="107" y="52"/>
                  <a:pt x="107" y="52"/>
                  <a:pt x="107" y="52"/>
                </a:cubicBezTo>
                <a:cubicBezTo>
                  <a:pt x="107" y="52"/>
                  <a:pt x="107" y="51"/>
                  <a:pt x="108" y="51"/>
                </a:cubicBezTo>
                <a:cubicBezTo>
                  <a:pt x="108" y="50"/>
                  <a:pt x="108" y="49"/>
                  <a:pt x="108" y="48"/>
                </a:cubicBezTo>
                <a:cubicBezTo>
                  <a:pt x="108" y="48"/>
                  <a:pt x="108" y="48"/>
                  <a:pt x="108" y="48"/>
                </a:cubicBezTo>
                <a:cubicBezTo>
                  <a:pt x="107" y="47"/>
                  <a:pt x="106" y="46"/>
                  <a:pt x="105" y="46"/>
                </a:cubicBezTo>
                <a:cubicBezTo>
                  <a:pt x="105" y="46"/>
                  <a:pt x="105" y="46"/>
                  <a:pt x="105" y="46"/>
                </a:cubicBezTo>
                <a:cubicBezTo>
                  <a:pt x="104" y="45"/>
                  <a:pt x="102" y="45"/>
                  <a:pt x="101" y="46"/>
                </a:cubicBezTo>
                <a:cubicBezTo>
                  <a:pt x="101" y="46"/>
                  <a:pt x="101" y="46"/>
                  <a:pt x="101" y="46"/>
                </a:cubicBezTo>
                <a:cubicBezTo>
                  <a:pt x="101" y="46"/>
                  <a:pt x="101" y="46"/>
                  <a:pt x="101" y="46"/>
                </a:cubicBezTo>
                <a:cubicBezTo>
                  <a:pt x="99" y="46"/>
                  <a:pt x="98" y="47"/>
                  <a:pt x="97" y="47"/>
                </a:cubicBezTo>
                <a:cubicBezTo>
                  <a:pt x="97" y="47"/>
                  <a:pt x="97" y="47"/>
                  <a:pt x="97" y="47"/>
                </a:cubicBezTo>
                <a:cubicBezTo>
                  <a:pt x="95" y="47"/>
                  <a:pt x="94" y="47"/>
                  <a:pt x="92" y="47"/>
                </a:cubicBezTo>
                <a:cubicBezTo>
                  <a:pt x="92" y="46"/>
                  <a:pt x="92" y="46"/>
                  <a:pt x="92" y="46"/>
                </a:cubicBezTo>
                <a:cubicBezTo>
                  <a:pt x="92" y="46"/>
                  <a:pt x="92" y="46"/>
                  <a:pt x="92" y="46"/>
                </a:cubicBezTo>
                <a:cubicBezTo>
                  <a:pt x="92" y="43"/>
                  <a:pt x="92" y="40"/>
                  <a:pt x="93" y="37"/>
                </a:cubicBezTo>
                <a:cubicBezTo>
                  <a:pt x="93" y="37"/>
                  <a:pt x="93" y="37"/>
                  <a:pt x="93" y="37"/>
                </a:cubicBezTo>
                <a:cubicBezTo>
                  <a:pt x="93" y="33"/>
                  <a:pt x="93" y="29"/>
                  <a:pt x="92" y="24"/>
                </a:cubicBezTo>
                <a:cubicBezTo>
                  <a:pt x="92" y="24"/>
                  <a:pt x="92" y="24"/>
                  <a:pt x="92" y="24"/>
                </a:cubicBezTo>
                <a:cubicBezTo>
                  <a:pt x="91" y="17"/>
                  <a:pt x="86" y="10"/>
                  <a:pt x="80" y="6"/>
                </a:cubicBezTo>
                <a:cubicBezTo>
                  <a:pt x="75" y="3"/>
                  <a:pt x="70" y="1"/>
                  <a:pt x="65" y="0"/>
                </a:cubicBezTo>
                <a:cubicBezTo>
                  <a:pt x="65" y="0"/>
                  <a:pt x="65" y="0"/>
                  <a:pt x="65" y="0"/>
                </a:cubicBezTo>
                <a:cubicBezTo>
                  <a:pt x="63" y="0"/>
                  <a:pt x="61" y="0"/>
                  <a:pt x="59"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49" name="Freeform 197"/>
          <p:cNvSpPr>
            <a:spLocks noEditPoints="1"/>
          </p:cNvSpPr>
          <p:nvPr/>
        </p:nvSpPr>
        <p:spPr bwMode="auto">
          <a:xfrm>
            <a:off x="9779018" y="2882857"/>
            <a:ext cx="132879" cy="66440"/>
          </a:xfrm>
          <a:custGeom>
            <a:avLst/>
            <a:gdLst>
              <a:gd name="T0" fmla="*/ 49 w 66"/>
              <a:gd name="T1" fmla="*/ 10 h 33"/>
              <a:gd name="T2" fmla="*/ 50 w 66"/>
              <a:gd name="T3" fmla="*/ 8 h 33"/>
              <a:gd name="T4" fmla="*/ 52 w 66"/>
              <a:gd name="T5" fmla="*/ 6 h 33"/>
              <a:gd name="T6" fmla="*/ 55 w 66"/>
              <a:gd name="T7" fmla="*/ 2 h 33"/>
              <a:gd name="T8" fmla="*/ 54 w 66"/>
              <a:gd name="T9" fmla="*/ 0 h 33"/>
              <a:gd name="T10" fmla="*/ 53 w 66"/>
              <a:gd name="T11" fmla="*/ 1 h 33"/>
              <a:gd name="T12" fmla="*/ 49 w 66"/>
              <a:gd name="T13" fmla="*/ 5 h 33"/>
              <a:gd name="T14" fmla="*/ 48 w 66"/>
              <a:gd name="T15" fmla="*/ 7 h 33"/>
              <a:gd name="T16" fmla="*/ 47 w 66"/>
              <a:gd name="T17" fmla="*/ 9 h 33"/>
              <a:gd name="T18" fmla="*/ 33 w 66"/>
              <a:gd name="T19" fmla="*/ 7 h 33"/>
              <a:gd name="T20" fmla="*/ 19 w 66"/>
              <a:gd name="T21" fmla="*/ 9 h 33"/>
              <a:gd name="T22" fmla="*/ 17 w 66"/>
              <a:gd name="T23" fmla="*/ 7 h 33"/>
              <a:gd name="T24" fmla="*/ 16 w 66"/>
              <a:gd name="T25" fmla="*/ 5 h 33"/>
              <a:gd name="T26" fmla="*/ 13 w 66"/>
              <a:gd name="T27" fmla="*/ 1 h 33"/>
              <a:gd name="T28" fmla="*/ 11 w 66"/>
              <a:gd name="T29" fmla="*/ 0 h 33"/>
              <a:gd name="T30" fmla="*/ 11 w 66"/>
              <a:gd name="T31" fmla="*/ 2 h 33"/>
              <a:gd name="T32" fmla="*/ 14 w 66"/>
              <a:gd name="T33" fmla="*/ 6 h 33"/>
              <a:gd name="T34" fmla="*/ 15 w 66"/>
              <a:gd name="T35" fmla="*/ 8 h 33"/>
              <a:gd name="T36" fmla="*/ 16 w 66"/>
              <a:gd name="T37" fmla="*/ 10 h 33"/>
              <a:gd name="T38" fmla="*/ 0 w 66"/>
              <a:gd name="T39" fmla="*/ 33 h 33"/>
              <a:gd name="T40" fmla="*/ 66 w 66"/>
              <a:gd name="T41" fmla="*/ 33 h 33"/>
              <a:gd name="T42" fmla="*/ 49 w 66"/>
              <a:gd name="T43" fmla="*/ 10 h 33"/>
              <a:gd name="T44" fmla="*/ 19 w 66"/>
              <a:gd name="T45" fmla="*/ 24 h 33"/>
              <a:gd name="T46" fmla="*/ 15 w 66"/>
              <a:gd name="T47" fmla="*/ 21 h 33"/>
              <a:gd name="T48" fmla="*/ 19 w 66"/>
              <a:gd name="T49" fmla="*/ 17 h 33"/>
              <a:gd name="T50" fmla="*/ 22 w 66"/>
              <a:gd name="T51" fmla="*/ 21 h 33"/>
              <a:gd name="T52" fmla="*/ 19 w 66"/>
              <a:gd name="T53" fmla="*/ 24 h 33"/>
              <a:gd name="T54" fmla="*/ 47 w 66"/>
              <a:gd name="T55" fmla="*/ 24 h 33"/>
              <a:gd name="T56" fmla="*/ 43 w 66"/>
              <a:gd name="T57" fmla="*/ 21 h 33"/>
              <a:gd name="T58" fmla="*/ 47 w 66"/>
              <a:gd name="T59" fmla="*/ 17 h 33"/>
              <a:gd name="T60" fmla="*/ 50 w 66"/>
              <a:gd name="T61" fmla="*/ 21 h 33"/>
              <a:gd name="T62" fmla="*/ 47 w 66"/>
              <a:gd name="T63"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33">
                <a:moveTo>
                  <a:pt x="49" y="10"/>
                </a:moveTo>
                <a:cubicBezTo>
                  <a:pt x="50" y="8"/>
                  <a:pt x="50" y="8"/>
                  <a:pt x="50" y="8"/>
                </a:cubicBezTo>
                <a:cubicBezTo>
                  <a:pt x="52" y="6"/>
                  <a:pt x="52" y="6"/>
                  <a:pt x="52" y="6"/>
                </a:cubicBezTo>
                <a:cubicBezTo>
                  <a:pt x="55" y="2"/>
                  <a:pt x="55" y="2"/>
                  <a:pt x="55" y="2"/>
                </a:cubicBezTo>
                <a:cubicBezTo>
                  <a:pt x="55" y="1"/>
                  <a:pt x="55" y="1"/>
                  <a:pt x="54" y="0"/>
                </a:cubicBezTo>
                <a:cubicBezTo>
                  <a:pt x="54" y="0"/>
                  <a:pt x="53" y="0"/>
                  <a:pt x="53" y="1"/>
                </a:cubicBezTo>
                <a:cubicBezTo>
                  <a:pt x="49" y="5"/>
                  <a:pt x="49" y="5"/>
                  <a:pt x="49" y="5"/>
                </a:cubicBezTo>
                <a:cubicBezTo>
                  <a:pt x="48" y="7"/>
                  <a:pt x="48" y="7"/>
                  <a:pt x="48" y="7"/>
                </a:cubicBezTo>
                <a:cubicBezTo>
                  <a:pt x="47" y="9"/>
                  <a:pt x="47" y="9"/>
                  <a:pt x="47" y="9"/>
                </a:cubicBezTo>
                <a:cubicBezTo>
                  <a:pt x="42" y="8"/>
                  <a:pt x="38" y="7"/>
                  <a:pt x="33" y="7"/>
                </a:cubicBezTo>
                <a:cubicBezTo>
                  <a:pt x="28" y="7"/>
                  <a:pt x="23" y="8"/>
                  <a:pt x="19" y="9"/>
                </a:cubicBezTo>
                <a:cubicBezTo>
                  <a:pt x="17" y="7"/>
                  <a:pt x="17" y="7"/>
                  <a:pt x="17" y="7"/>
                </a:cubicBezTo>
                <a:cubicBezTo>
                  <a:pt x="16" y="5"/>
                  <a:pt x="16" y="5"/>
                  <a:pt x="16" y="5"/>
                </a:cubicBezTo>
                <a:cubicBezTo>
                  <a:pt x="13" y="1"/>
                  <a:pt x="13" y="1"/>
                  <a:pt x="13" y="1"/>
                </a:cubicBezTo>
                <a:cubicBezTo>
                  <a:pt x="12" y="0"/>
                  <a:pt x="12" y="0"/>
                  <a:pt x="11" y="0"/>
                </a:cubicBezTo>
                <a:cubicBezTo>
                  <a:pt x="11" y="1"/>
                  <a:pt x="10" y="1"/>
                  <a:pt x="11" y="2"/>
                </a:cubicBezTo>
                <a:cubicBezTo>
                  <a:pt x="14" y="6"/>
                  <a:pt x="14" y="6"/>
                  <a:pt x="14" y="6"/>
                </a:cubicBezTo>
                <a:cubicBezTo>
                  <a:pt x="15" y="8"/>
                  <a:pt x="15" y="8"/>
                  <a:pt x="15" y="8"/>
                </a:cubicBezTo>
                <a:cubicBezTo>
                  <a:pt x="16" y="10"/>
                  <a:pt x="16" y="10"/>
                  <a:pt x="16" y="10"/>
                </a:cubicBezTo>
                <a:cubicBezTo>
                  <a:pt x="6" y="15"/>
                  <a:pt x="0" y="23"/>
                  <a:pt x="0" y="33"/>
                </a:cubicBezTo>
                <a:cubicBezTo>
                  <a:pt x="66" y="33"/>
                  <a:pt x="66" y="33"/>
                  <a:pt x="66" y="33"/>
                </a:cubicBezTo>
                <a:cubicBezTo>
                  <a:pt x="66" y="23"/>
                  <a:pt x="59" y="15"/>
                  <a:pt x="49" y="10"/>
                </a:cubicBezTo>
                <a:close/>
                <a:moveTo>
                  <a:pt x="19" y="24"/>
                </a:moveTo>
                <a:cubicBezTo>
                  <a:pt x="17" y="24"/>
                  <a:pt x="15" y="23"/>
                  <a:pt x="15" y="21"/>
                </a:cubicBezTo>
                <a:cubicBezTo>
                  <a:pt x="15" y="19"/>
                  <a:pt x="17" y="17"/>
                  <a:pt x="19" y="17"/>
                </a:cubicBezTo>
                <a:cubicBezTo>
                  <a:pt x="20" y="17"/>
                  <a:pt x="22" y="19"/>
                  <a:pt x="22" y="21"/>
                </a:cubicBezTo>
                <a:cubicBezTo>
                  <a:pt x="22" y="23"/>
                  <a:pt x="20" y="24"/>
                  <a:pt x="19" y="24"/>
                </a:cubicBezTo>
                <a:close/>
                <a:moveTo>
                  <a:pt x="47" y="24"/>
                </a:moveTo>
                <a:cubicBezTo>
                  <a:pt x="45" y="24"/>
                  <a:pt x="43" y="23"/>
                  <a:pt x="43" y="21"/>
                </a:cubicBezTo>
                <a:cubicBezTo>
                  <a:pt x="43" y="19"/>
                  <a:pt x="45" y="17"/>
                  <a:pt x="47" y="17"/>
                </a:cubicBezTo>
                <a:cubicBezTo>
                  <a:pt x="49" y="17"/>
                  <a:pt x="50" y="19"/>
                  <a:pt x="50" y="21"/>
                </a:cubicBezTo>
                <a:cubicBezTo>
                  <a:pt x="50" y="23"/>
                  <a:pt x="49" y="24"/>
                  <a:pt x="47" y="2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0" name="Freeform 198"/>
          <p:cNvSpPr>
            <a:spLocks/>
          </p:cNvSpPr>
          <p:nvPr/>
        </p:nvSpPr>
        <p:spPr bwMode="auto">
          <a:xfrm>
            <a:off x="9779018" y="2959519"/>
            <a:ext cx="132879" cy="165247"/>
          </a:xfrm>
          <a:custGeom>
            <a:avLst/>
            <a:gdLst>
              <a:gd name="T0" fmla="*/ 66 w 66"/>
              <a:gd name="T1" fmla="*/ 51 h 82"/>
              <a:gd name="T2" fmla="*/ 66 w 66"/>
              <a:gd name="T3" fmla="*/ 11 h 82"/>
              <a:gd name="T4" fmla="*/ 66 w 66"/>
              <a:gd name="T5" fmla="*/ 6 h 82"/>
              <a:gd name="T6" fmla="*/ 66 w 66"/>
              <a:gd name="T7" fmla="*/ 0 h 82"/>
              <a:gd name="T8" fmla="*/ 65 w 66"/>
              <a:gd name="T9" fmla="*/ 0 h 82"/>
              <a:gd name="T10" fmla="*/ 0 w 66"/>
              <a:gd name="T11" fmla="*/ 0 h 82"/>
              <a:gd name="T12" fmla="*/ 0 w 66"/>
              <a:gd name="T13" fmla="*/ 0 h 82"/>
              <a:gd name="T14" fmla="*/ 0 w 66"/>
              <a:gd name="T15" fmla="*/ 6 h 82"/>
              <a:gd name="T16" fmla="*/ 0 w 66"/>
              <a:gd name="T17" fmla="*/ 11 h 82"/>
              <a:gd name="T18" fmla="*/ 0 w 66"/>
              <a:gd name="T19" fmla="*/ 51 h 82"/>
              <a:gd name="T20" fmla="*/ 7 w 66"/>
              <a:gd name="T21" fmla="*/ 58 h 82"/>
              <a:gd name="T22" fmla="*/ 12 w 66"/>
              <a:gd name="T23" fmla="*/ 58 h 82"/>
              <a:gd name="T24" fmla="*/ 12 w 66"/>
              <a:gd name="T25" fmla="*/ 60 h 82"/>
              <a:gd name="T26" fmla="*/ 12 w 66"/>
              <a:gd name="T27" fmla="*/ 61 h 82"/>
              <a:gd name="T28" fmla="*/ 12 w 66"/>
              <a:gd name="T29" fmla="*/ 63 h 82"/>
              <a:gd name="T30" fmla="*/ 12 w 66"/>
              <a:gd name="T31" fmla="*/ 75 h 82"/>
              <a:gd name="T32" fmla="*/ 19 w 66"/>
              <a:gd name="T33" fmla="*/ 82 h 82"/>
              <a:gd name="T34" fmla="*/ 26 w 66"/>
              <a:gd name="T35" fmla="*/ 75 h 82"/>
              <a:gd name="T36" fmla="*/ 26 w 66"/>
              <a:gd name="T37" fmla="*/ 63 h 82"/>
              <a:gd name="T38" fmla="*/ 26 w 66"/>
              <a:gd name="T39" fmla="*/ 61 h 82"/>
              <a:gd name="T40" fmla="*/ 26 w 66"/>
              <a:gd name="T41" fmla="*/ 60 h 82"/>
              <a:gd name="T42" fmla="*/ 26 w 66"/>
              <a:gd name="T43" fmla="*/ 58 h 82"/>
              <a:gd name="T44" fmla="*/ 39 w 66"/>
              <a:gd name="T45" fmla="*/ 58 h 82"/>
              <a:gd name="T46" fmla="*/ 39 w 66"/>
              <a:gd name="T47" fmla="*/ 60 h 82"/>
              <a:gd name="T48" fmla="*/ 39 w 66"/>
              <a:gd name="T49" fmla="*/ 61 h 82"/>
              <a:gd name="T50" fmla="*/ 39 w 66"/>
              <a:gd name="T51" fmla="*/ 63 h 82"/>
              <a:gd name="T52" fmla="*/ 39 w 66"/>
              <a:gd name="T53" fmla="*/ 75 h 82"/>
              <a:gd name="T54" fmla="*/ 46 w 66"/>
              <a:gd name="T55" fmla="*/ 82 h 82"/>
              <a:gd name="T56" fmla="*/ 53 w 66"/>
              <a:gd name="T57" fmla="*/ 75 h 82"/>
              <a:gd name="T58" fmla="*/ 53 w 66"/>
              <a:gd name="T59" fmla="*/ 63 h 82"/>
              <a:gd name="T60" fmla="*/ 53 w 66"/>
              <a:gd name="T61" fmla="*/ 61 h 82"/>
              <a:gd name="T62" fmla="*/ 53 w 66"/>
              <a:gd name="T63" fmla="*/ 60 h 82"/>
              <a:gd name="T64" fmla="*/ 53 w 66"/>
              <a:gd name="T65" fmla="*/ 58 h 82"/>
              <a:gd name="T66" fmla="*/ 58 w 66"/>
              <a:gd name="T67" fmla="*/ 58 h 82"/>
              <a:gd name="T68" fmla="*/ 66 w 66"/>
              <a:gd name="T69" fmla="*/ 5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82">
                <a:moveTo>
                  <a:pt x="66" y="51"/>
                </a:moveTo>
                <a:cubicBezTo>
                  <a:pt x="66" y="11"/>
                  <a:pt x="66" y="11"/>
                  <a:pt x="66" y="11"/>
                </a:cubicBezTo>
                <a:cubicBezTo>
                  <a:pt x="66" y="6"/>
                  <a:pt x="66" y="6"/>
                  <a:pt x="66" y="6"/>
                </a:cubicBezTo>
                <a:cubicBezTo>
                  <a:pt x="66" y="0"/>
                  <a:pt x="66" y="0"/>
                  <a:pt x="66" y="0"/>
                </a:cubicBezTo>
                <a:cubicBezTo>
                  <a:pt x="65" y="0"/>
                  <a:pt x="65" y="0"/>
                  <a:pt x="65" y="0"/>
                </a:cubicBezTo>
                <a:cubicBezTo>
                  <a:pt x="0" y="0"/>
                  <a:pt x="0" y="0"/>
                  <a:pt x="0" y="0"/>
                </a:cubicBezTo>
                <a:cubicBezTo>
                  <a:pt x="0" y="0"/>
                  <a:pt x="0" y="0"/>
                  <a:pt x="0" y="0"/>
                </a:cubicBezTo>
                <a:cubicBezTo>
                  <a:pt x="0" y="6"/>
                  <a:pt x="0" y="6"/>
                  <a:pt x="0" y="6"/>
                </a:cubicBezTo>
                <a:cubicBezTo>
                  <a:pt x="0" y="11"/>
                  <a:pt x="0" y="11"/>
                  <a:pt x="0" y="11"/>
                </a:cubicBezTo>
                <a:cubicBezTo>
                  <a:pt x="0" y="51"/>
                  <a:pt x="0" y="51"/>
                  <a:pt x="0" y="51"/>
                </a:cubicBezTo>
                <a:cubicBezTo>
                  <a:pt x="0" y="55"/>
                  <a:pt x="3" y="58"/>
                  <a:pt x="7" y="58"/>
                </a:cubicBezTo>
                <a:cubicBezTo>
                  <a:pt x="12" y="58"/>
                  <a:pt x="12" y="58"/>
                  <a:pt x="12" y="58"/>
                </a:cubicBezTo>
                <a:cubicBezTo>
                  <a:pt x="12" y="59"/>
                  <a:pt x="12" y="60"/>
                  <a:pt x="12" y="60"/>
                </a:cubicBezTo>
                <a:cubicBezTo>
                  <a:pt x="12" y="61"/>
                  <a:pt x="12" y="61"/>
                  <a:pt x="12" y="61"/>
                </a:cubicBezTo>
                <a:cubicBezTo>
                  <a:pt x="12" y="63"/>
                  <a:pt x="12" y="63"/>
                  <a:pt x="12" y="63"/>
                </a:cubicBezTo>
                <a:cubicBezTo>
                  <a:pt x="12" y="75"/>
                  <a:pt x="12" y="75"/>
                  <a:pt x="12" y="75"/>
                </a:cubicBezTo>
                <a:cubicBezTo>
                  <a:pt x="12" y="79"/>
                  <a:pt x="15" y="82"/>
                  <a:pt x="19" y="82"/>
                </a:cubicBezTo>
                <a:cubicBezTo>
                  <a:pt x="23" y="82"/>
                  <a:pt x="26" y="79"/>
                  <a:pt x="26" y="75"/>
                </a:cubicBezTo>
                <a:cubicBezTo>
                  <a:pt x="26" y="63"/>
                  <a:pt x="26" y="63"/>
                  <a:pt x="26" y="63"/>
                </a:cubicBezTo>
                <a:cubicBezTo>
                  <a:pt x="26" y="61"/>
                  <a:pt x="26" y="61"/>
                  <a:pt x="26" y="61"/>
                </a:cubicBezTo>
                <a:cubicBezTo>
                  <a:pt x="26" y="60"/>
                  <a:pt x="26" y="60"/>
                  <a:pt x="26" y="60"/>
                </a:cubicBezTo>
                <a:cubicBezTo>
                  <a:pt x="26" y="60"/>
                  <a:pt x="26" y="59"/>
                  <a:pt x="26" y="58"/>
                </a:cubicBezTo>
                <a:cubicBezTo>
                  <a:pt x="39" y="58"/>
                  <a:pt x="39" y="58"/>
                  <a:pt x="39" y="58"/>
                </a:cubicBezTo>
                <a:cubicBezTo>
                  <a:pt x="39" y="59"/>
                  <a:pt x="39" y="60"/>
                  <a:pt x="39" y="60"/>
                </a:cubicBezTo>
                <a:cubicBezTo>
                  <a:pt x="39" y="61"/>
                  <a:pt x="39" y="61"/>
                  <a:pt x="39" y="61"/>
                </a:cubicBezTo>
                <a:cubicBezTo>
                  <a:pt x="39" y="63"/>
                  <a:pt x="39" y="63"/>
                  <a:pt x="39" y="63"/>
                </a:cubicBezTo>
                <a:cubicBezTo>
                  <a:pt x="39" y="75"/>
                  <a:pt x="39" y="75"/>
                  <a:pt x="39" y="75"/>
                </a:cubicBezTo>
                <a:cubicBezTo>
                  <a:pt x="39" y="79"/>
                  <a:pt x="42" y="82"/>
                  <a:pt x="46" y="82"/>
                </a:cubicBezTo>
                <a:cubicBezTo>
                  <a:pt x="50" y="82"/>
                  <a:pt x="53" y="79"/>
                  <a:pt x="53" y="75"/>
                </a:cubicBezTo>
                <a:cubicBezTo>
                  <a:pt x="53" y="63"/>
                  <a:pt x="53" y="63"/>
                  <a:pt x="53" y="63"/>
                </a:cubicBezTo>
                <a:cubicBezTo>
                  <a:pt x="53" y="61"/>
                  <a:pt x="53" y="61"/>
                  <a:pt x="53" y="61"/>
                </a:cubicBezTo>
                <a:cubicBezTo>
                  <a:pt x="53" y="60"/>
                  <a:pt x="53" y="60"/>
                  <a:pt x="53" y="60"/>
                </a:cubicBezTo>
                <a:cubicBezTo>
                  <a:pt x="53" y="60"/>
                  <a:pt x="53" y="59"/>
                  <a:pt x="53" y="58"/>
                </a:cubicBezTo>
                <a:cubicBezTo>
                  <a:pt x="58" y="58"/>
                  <a:pt x="58" y="58"/>
                  <a:pt x="58" y="58"/>
                </a:cubicBezTo>
                <a:cubicBezTo>
                  <a:pt x="62" y="58"/>
                  <a:pt x="66" y="55"/>
                  <a:pt x="66"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1" name="Freeform 199"/>
          <p:cNvSpPr>
            <a:spLocks/>
          </p:cNvSpPr>
          <p:nvPr/>
        </p:nvSpPr>
        <p:spPr bwMode="auto">
          <a:xfrm>
            <a:off x="9740688" y="2959518"/>
            <a:ext cx="28109" cy="88586"/>
          </a:xfrm>
          <a:custGeom>
            <a:avLst/>
            <a:gdLst>
              <a:gd name="T0" fmla="*/ 0 w 14"/>
              <a:gd name="T1" fmla="*/ 7 h 44"/>
              <a:gd name="T2" fmla="*/ 0 w 14"/>
              <a:gd name="T3" fmla="*/ 37 h 44"/>
              <a:gd name="T4" fmla="*/ 7 w 14"/>
              <a:gd name="T5" fmla="*/ 44 h 44"/>
              <a:gd name="T6" fmla="*/ 14 w 14"/>
              <a:gd name="T7" fmla="*/ 37 h 44"/>
              <a:gd name="T8" fmla="*/ 14 w 14"/>
              <a:gd name="T9" fmla="*/ 7 h 44"/>
              <a:gd name="T10" fmla="*/ 7 w 14"/>
              <a:gd name="T11" fmla="*/ 0 h 44"/>
              <a:gd name="T12" fmla="*/ 0 w 14"/>
              <a:gd name="T13" fmla="*/ 7 h 44"/>
            </a:gdLst>
            <a:ahLst/>
            <a:cxnLst>
              <a:cxn ang="0">
                <a:pos x="T0" y="T1"/>
              </a:cxn>
              <a:cxn ang="0">
                <a:pos x="T2" y="T3"/>
              </a:cxn>
              <a:cxn ang="0">
                <a:pos x="T4" y="T5"/>
              </a:cxn>
              <a:cxn ang="0">
                <a:pos x="T6" y="T7"/>
              </a:cxn>
              <a:cxn ang="0">
                <a:pos x="T8" y="T9"/>
              </a:cxn>
              <a:cxn ang="0">
                <a:pos x="T10" y="T11"/>
              </a:cxn>
              <a:cxn ang="0">
                <a:pos x="T12" y="T13"/>
              </a:cxn>
            </a:cxnLst>
            <a:rect l="0" t="0" r="r" b="b"/>
            <a:pathLst>
              <a:path w="14" h="44">
                <a:moveTo>
                  <a:pt x="0" y="7"/>
                </a:moveTo>
                <a:cubicBezTo>
                  <a:pt x="0" y="37"/>
                  <a:pt x="0" y="37"/>
                  <a:pt x="0" y="37"/>
                </a:cubicBezTo>
                <a:cubicBezTo>
                  <a:pt x="0" y="41"/>
                  <a:pt x="3" y="44"/>
                  <a:pt x="7" y="44"/>
                </a:cubicBezTo>
                <a:cubicBezTo>
                  <a:pt x="11" y="44"/>
                  <a:pt x="14" y="41"/>
                  <a:pt x="14" y="37"/>
                </a:cubicBezTo>
                <a:cubicBezTo>
                  <a:pt x="14" y="7"/>
                  <a:pt x="14" y="7"/>
                  <a:pt x="14" y="7"/>
                </a:cubicBezTo>
                <a:cubicBezTo>
                  <a:pt x="14" y="3"/>
                  <a:pt x="11" y="0"/>
                  <a:pt x="7" y="0"/>
                </a:cubicBezTo>
                <a:cubicBezTo>
                  <a:pt x="3" y="0"/>
                  <a:pt x="0"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2" name="Freeform 200"/>
          <p:cNvSpPr>
            <a:spLocks/>
          </p:cNvSpPr>
          <p:nvPr/>
        </p:nvSpPr>
        <p:spPr bwMode="auto">
          <a:xfrm>
            <a:off x="9922119" y="2959518"/>
            <a:ext cx="28109" cy="88586"/>
          </a:xfrm>
          <a:custGeom>
            <a:avLst/>
            <a:gdLst>
              <a:gd name="T0" fmla="*/ 0 w 14"/>
              <a:gd name="T1" fmla="*/ 7 h 44"/>
              <a:gd name="T2" fmla="*/ 0 w 14"/>
              <a:gd name="T3" fmla="*/ 37 h 44"/>
              <a:gd name="T4" fmla="*/ 7 w 14"/>
              <a:gd name="T5" fmla="*/ 44 h 44"/>
              <a:gd name="T6" fmla="*/ 14 w 14"/>
              <a:gd name="T7" fmla="*/ 37 h 44"/>
              <a:gd name="T8" fmla="*/ 14 w 14"/>
              <a:gd name="T9" fmla="*/ 7 h 44"/>
              <a:gd name="T10" fmla="*/ 7 w 14"/>
              <a:gd name="T11" fmla="*/ 0 h 44"/>
              <a:gd name="T12" fmla="*/ 0 w 14"/>
              <a:gd name="T13" fmla="*/ 7 h 44"/>
            </a:gdLst>
            <a:ahLst/>
            <a:cxnLst>
              <a:cxn ang="0">
                <a:pos x="T0" y="T1"/>
              </a:cxn>
              <a:cxn ang="0">
                <a:pos x="T2" y="T3"/>
              </a:cxn>
              <a:cxn ang="0">
                <a:pos x="T4" y="T5"/>
              </a:cxn>
              <a:cxn ang="0">
                <a:pos x="T6" y="T7"/>
              </a:cxn>
              <a:cxn ang="0">
                <a:pos x="T8" y="T9"/>
              </a:cxn>
              <a:cxn ang="0">
                <a:pos x="T10" y="T11"/>
              </a:cxn>
              <a:cxn ang="0">
                <a:pos x="T12" y="T13"/>
              </a:cxn>
            </a:cxnLst>
            <a:rect l="0" t="0" r="r" b="b"/>
            <a:pathLst>
              <a:path w="14" h="44">
                <a:moveTo>
                  <a:pt x="0" y="7"/>
                </a:moveTo>
                <a:cubicBezTo>
                  <a:pt x="0" y="37"/>
                  <a:pt x="0" y="37"/>
                  <a:pt x="0" y="37"/>
                </a:cubicBezTo>
                <a:cubicBezTo>
                  <a:pt x="0" y="41"/>
                  <a:pt x="3" y="44"/>
                  <a:pt x="7" y="44"/>
                </a:cubicBezTo>
                <a:cubicBezTo>
                  <a:pt x="11" y="44"/>
                  <a:pt x="14" y="41"/>
                  <a:pt x="14" y="37"/>
                </a:cubicBezTo>
                <a:cubicBezTo>
                  <a:pt x="14" y="7"/>
                  <a:pt x="14" y="7"/>
                  <a:pt x="14" y="7"/>
                </a:cubicBezTo>
                <a:cubicBezTo>
                  <a:pt x="14" y="3"/>
                  <a:pt x="11" y="0"/>
                  <a:pt x="7" y="0"/>
                </a:cubicBezTo>
                <a:cubicBezTo>
                  <a:pt x="3" y="0"/>
                  <a:pt x="0"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3" name="Freeform 201"/>
          <p:cNvSpPr>
            <a:spLocks noEditPoints="1"/>
          </p:cNvSpPr>
          <p:nvPr/>
        </p:nvSpPr>
        <p:spPr bwMode="auto">
          <a:xfrm>
            <a:off x="9259426" y="2893079"/>
            <a:ext cx="211244" cy="241908"/>
          </a:xfrm>
          <a:custGeom>
            <a:avLst/>
            <a:gdLst>
              <a:gd name="T0" fmla="*/ 23 w 105"/>
              <a:gd name="T1" fmla="*/ 0 h 120"/>
              <a:gd name="T2" fmla="*/ 18 w 105"/>
              <a:gd name="T3" fmla="*/ 5 h 120"/>
              <a:gd name="T4" fmla="*/ 0 w 105"/>
              <a:gd name="T5" fmla="*/ 116 h 120"/>
              <a:gd name="T6" fmla="*/ 4 w 105"/>
              <a:gd name="T7" fmla="*/ 120 h 120"/>
              <a:gd name="T8" fmla="*/ 24 w 105"/>
              <a:gd name="T9" fmla="*/ 120 h 120"/>
              <a:gd name="T10" fmla="*/ 30 w 105"/>
              <a:gd name="T11" fmla="*/ 115 h 120"/>
              <a:gd name="T12" fmla="*/ 35 w 105"/>
              <a:gd name="T13" fmla="*/ 85 h 120"/>
              <a:gd name="T14" fmla="*/ 41 w 105"/>
              <a:gd name="T15" fmla="*/ 80 h 120"/>
              <a:gd name="T16" fmla="*/ 54 w 105"/>
              <a:gd name="T17" fmla="*/ 80 h 120"/>
              <a:gd name="T18" fmla="*/ 103 w 105"/>
              <a:gd name="T19" fmla="*/ 39 h 120"/>
              <a:gd name="T20" fmla="*/ 98 w 105"/>
              <a:gd name="T21" fmla="*/ 11 h 120"/>
              <a:gd name="T22" fmla="*/ 67 w 105"/>
              <a:gd name="T23" fmla="*/ 0 h 120"/>
              <a:gd name="T24" fmla="*/ 23 w 105"/>
              <a:gd name="T25" fmla="*/ 0 h 120"/>
              <a:gd name="T26" fmla="*/ 71 w 105"/>
              <a:gd name="T27" fmla="*/ 40 h 120"/>
              <a:gd name="T28" fmla="*/ 46 w 105"/>
              <a:gd name="T29" fmla="*/ 56 h 120"/>
              <a:gd name="T30" fmla="*/ 39 w 105"/>
              <a:gd name="T31" fmla="*/ 56 h 120"/>
              <a:gd name="T32" fmla="*/ 44 w 105"/>
              <a:gd name="T33" fmla="*/ 27 h 120"/>
              <a:gd name="T34" fmla="*/ 48 w 105"/>
              <a:gd name="T35" fmla="*/ 24 h 120"/>
              <a:gd name="T36" fmla="*/ 51 w 105"/>
              <a:gd name="T37" fmla="*/ 24 h 120"/>
              <a:gd name="T38" fmla="*/ 69 w 105"/>
              <a:gd name="T39" fmla="*/ 28 h 120"/>
              <a:gd name="T40" fmla="*/ 71 w 105"/>
              <a:gd name="T41"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 h="120">
                <a:moveTo>
                  <a:pt x="23" y="0"/>
                </a:moveTo>
                <a:cubicBezTo>
                  <a:pt x="21" y="0"/>
                  <a:pt x="18" y="2"/>
                  <a:pt x="18" y="5"/>
                </a:cubicBezTo>
                <a:cubicBezTo>
                  <a:pt x="0" y="116"/>
                  <a:pt x="0" y="116"/>
                  <a:pt x="0" y="116"/>
                </a:cubicBezTo>
                <a:cubicBezTo>
                  <a:pt x="0" y="118"/>
                  <a:pt x="2" y="120"/>
                  <a:pt x="4" y="120"/>
                </a:cubicBezTo>
                <a:cubicBezTo>
                  <a:pt x="24" y="120"/>
                  <a:pt x="24" y="120"/>
                  <a:pt x="24" y="120"/>
                </a:cubicBezTo>
                <a:cubicBezTo>
                  <a:pt x="27" y="120"/>
                  <a:pt x="30" y="118"/>
                  <a:pt x="30" y="115"/>
                </a:cubicBezTo>
                <a:cubicBezTo>
                  <a:pt x="35" y="85"/>
                  <a:pt x="35" y="85"/>
                  <a:pt x="35" y="85"/>
                </a:cubicBezTo>
                <a:cubicBezTo>
                  <a:pt x="35" y="82"/>
                  <a:pt x="38" y="80"/>
                  <a:pt x="41" y="80"/>
                </a:cubicBezTo>
                <a:cubicBezTo>
                  <a:pt x="54" y="80"/>
                  <a:pt x="54" y="80"/>
                  <a:pt x="54" y="80"/>
                </a:cubicBezTo>
                <a:cubicBezTo>
                  <a:pt x="83" y="80"/>
                  <a:pt x="99" y="66"/>
                  <a:pt x="103" y="39"/>
                </a:cubicBezTo>
                <a:cubicBezTo>
                  <a:pt x="105" y="27"/>
                  <a:pt x="103" y="17"/>
                  <a:pt x="98" y="11"/>
                </a:cubicBezTo>
                <a:cubicBezTo>
                  <a:pt x="92" y="3"/>
                  <a:pt x="81" y="0"/>
                  <a:pt x="67" y="0"/>
                </a:cubicBezTo>
                <a:lnTo>
                  <a:pt x="23" y="0"/>
                </a:lnTo>
                <a:close/>
                <a:moveTo>
                  <a:pt x="71" y="40"/>
                </a:moveTo>
                <a:cubicBezTo>
                  <a:pt x="69" y="56"/>
                  <a:pt x="57" y="56"/>
                  <a:pt x="46" y="56"/>
                </a:cubicBezTo>
                <a:cubicBezTo>
                  <a:pt x="39" y="56"/>
                  <a:pt x="39" y="56"/>
                  <a:pt x="39" y="56"/>
                </a:cubicBezTo>
                <a:cubicBezTo>
                  <a:pt x="44" y="27"/>
                  <a:pt x="44" y="27"/>
                  <a:pt x="44" y="27"/>
                </a:cubicBezTo>
                <a:cubicBezTo>
                  <a:pt x="44" y="25"/>
                  <a:pt x="46" y="24"/>
                  <a:pt x="48" y="24"/>
                </a:cubicBezTo>
                <a:cubicBezTo>
                  <a:pt x="51" y="24"/>
                  <a:pt x="51" y="24"/>
                  <a:pt x="51" y="24"/>
                </a:cubicBezTo>
                <a:cubicBezTo>
                  <a:pt x="58" y="24"/>
                  <a:pt x="66" y="24"/>
                  <a:pt x="69" y="28"/>
                </a:cubicBezTo>
                <a:cubicBezTo>
                  <a:pt x="72" y="31"/>
                  <a:pt x="72" y="35"/>
                  <a:pt x="71"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4" name="Freeform 202"/>
          <p:cNvSpPr>
            <a:spLocks noEditPoints="1"/>
          </p:cNvSpPr>
          <p:nvPr/>
        </p:nvSpPr>
        <p:spPr bwMode="auto">
          <a:xfrm>
            <a:off x="6335235" y="3868377"/>
            <a:ext cx="241908" cy="241908"/>
          </a:xfrm>
          <a:custGeom>
            <a:avLst/>
            <a:gdLst>
              <a:gd name="T0" fmla="*/ 109 w 120"/>
              <a:gd name="T1" fmla="*/ 27 h 120"/>
              <a:gd name="T2" fmla="*/ 93 w 120"/>
              <a:gd name="T3" fmla="*/ 11 h 120"/>
              <a:gd name="T4" fmla="*/ 72 w 120"/>
              <a:gd name="T5" fmla="*/ 2 h 120"/>
              <a:gd name="T6" fmla="*/ 48 w 120"/>
              <a:gd name="T7" fmla="*/ 2 h 120"/>
              <a:gd name="T8" fmla="*/ 26 w 120"/>
              <a:gd name="T9" fmla="*/ 11 h 120"/>
              <a:gd name="T10" fmla="*/ 10 w 120"/>
              <a:gd name="T11" fmla="*/ 27 h 120"/>
              <a:gd name="T12" fmla="*/ 1 w 120"/>
              <a:gd name="T13" fmla="*/ 48 h 120"/>
              <a:gd name="T14" fmla="*/ 1 w 120"/>
              <a:gd name="T15" fmla="*/ 72 h 120"/>
              <a:gd name="T16" fmla="*/ 10 w 120"/>
              <a:gd name="T17" fmla="*/ 94 h 120"/>
              <a:gd name="T18" fmla="*/ 26 w 120"/>
              <a:gd name="T19" fmla="*/ 110 h 120"/>
              <a:gd name="T20" fmla="*/ 48 w 120"/>
              <a:gd name="T21" fmla="*/ 119 h 120"/>
              <a:gd name="T22" fmla="*/ 72 w 120"/>
              <a:gd name="T23" fmla="*/ 119 h 120"/>
              <a:gd name="T24" fmla="*/ 93 w 120"/>
              <a:gd name="T25" fmla="*/ 110 h 120"/>
              <a:gd name="T26" fmla="*/ 109 w 120"/>
              <a:gd name="T27" fmla="*/ 94 h 120"/>
              <a:gd name="T28" fmla="*/ 118 w 120"/>
              <a:gd name="T29" fmla="*/ 72 h 120"/>
              <a:gd name="T30" fmla="*/ 118 w 120"/>
              <a:gd name="T31" fmla="*/ 48 h 120"/>
              <a:gd name="T32" fmla="*/ 60 w 120"/>
              <a:gd name="T33" fmla="*/ 9 h 120"/>
              <a:gd name="T34" fmla="*/ 67 w 120"/>
              <a:gd name="T35" fmla="*/ 40 h 120"/>
              <a:gd name="T36" fmla="*/ 60 w 120"/>
              <a:gd name="T37" fmla="*/ 9 h 120"/>
              <a:gd name="T38" fmla="*/ 47 w 120"/>
              <a:gd name="T39" fmla="*/ 11 h 120"/>
              <a:gd name="T40" fmla="*/ 47 w 120"/>
              <a:gd name="T41" fmla="*/ 11 h 120"/>
              <a:gd name="T42" fmla="*/ 57 w 120"/>
              <a:gd name="T43" fmla="*/ 43 h 120"/>
              <a:gd name="T44" fmla="*/ 38 w 120"/>
              <a:gd name="T45" fmla="*/ 14 h 120"/>
              <a:gd name="T46" fmla="*/ 8 w 120"/>
              <a:gd name="T47" fmla="*/ 60 h 120"/>
              <a:gd name="T48" fmla="*/ 61 w 120"/>
              <a:gd name="T49" fmla="*/ 51 h 120"/>
              <a:gd name="T50" fmla="*/ 63 w 120"/>
              <a:gd name="T51" fmla="*/ 61 h 120"/>
              <a:gd name="T52" fmla="*/ 22 w 120"/>
              <a:gd name="T53" fmla="*/ 95 h 120"/>
              <a:gd name="T54" fmla="*/ 28 w 120"/>
              <a:gd name="T55" fmla="*/ 101 h 120"/>
              <a:gd name="T56" fmla="*/ 27 w 120"/>
              <a:gd name="T57" fmla="*/ 100 h 120"/>
              <a:gd name="T58" fmla="*/ 68 w 120"/>
              <a:gd name="T59" fmla="*/ 69 h 120"/>
              <a:gd name="T60" fmla="*/ 80 w 120"/>
              <a:gd name="T61" fmla="*/ 108 h 120"/>
              <a:gd name="T62" fmla="*/ 88 w 120"/>
              <a:gd name="T63" fmla="*/ 103 h 120"/>
              <a:gd name="T64" fmla="*/ 110 w 120"/>
              <a:gd name="T65" fmla="*/ 68 h 120"/>
              <a:gd name="T66" fmla="*/ 75 w 120"/>
              <a:gd name="T67" fmla="*/ 58 h 120"/>
              <a:gd name="T68" fmla="*/ 71 w 120"/>
              <a:gd name="T69" fmla="*/ 48 h 120"/>
              <a:gd name="T70" fmla="*/ 111 w 120"/>
              <a:gd name="T71" fmla="*/ 6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20">
                <a:moveTo>
                  <a:pt x="115" y="37"/>
                </a:moveTo>
                <a:cubicBezTo>
                  <a:pt x="113" y="33"/>
                  <a:pt x="112" y="30"/>
                  <a:pt x="109" y="27"/>
                </a:cubicBezTo>
                <a:cubicBezTo>
                  <a:pt x="107" y="24"/>
                  <a:pt x="105" y="21"/>
                  <a:pt x="102" y="18"/>
                </a:cubicBezTo>
                <a:cubicBezTo>
                  <a:pt x="99" y="15"/>
                  <a:pt x="96" y="13"/>
                  <a:pt x="93" y="11"/>
                </a:cubicBezTo>
                <a:cubicBezTo>
                  <a:pt x="90" y="8"/>
                  <a:pt x="87" y="7"/>
                  <a:pt x="83" y="5"/>
                </a:cubicBezTo>
                <a:cubicBezTo>
                  <a:pt x="79" y="4"/>
                  <a:pt x="76" y="2"/>
                  <a:pt x="72" y="2"/>
                </a:cubicBezTo>
                <a:cubicBezTo>
                  <a:pt x="68" y="1"/>
                  <a:pt x="64" y="0"/>
                  <a:pt x="60" y="0"/>
                </a:cubicBezTo>
                <a:cubicBezTo>
                  <a:pt x="56" y="0"/>
                  <a:pt x="52" y="1"/>
                  <a:pt x="48" y="2"/>
                </a:cubicBezTo>
                <a:cubicBezTo>
                  <a:pt x="44" y="2"/>
                  <a:pt x="40" y="4"/>
                  <a:pt x="36" y="5"/>
                </a:cubicBezTo>
                <a:cubicBezTo>
                  <a:pt x="33" y="7"/>
                  <a:pt x="29" y="8"/>
                  <a:pt x="26" y="11"/>
                </a:cubicBezTo>
                <a:cubicBezTo>
                  <a:pt x="23" y="13"/>
                  <a:pt x="20" y="15"/>
                  <a:pt x="17" y="18"/>
                </a:cubicBezTo>
                <a:cubicBezTo>
                  <a:pt x="15" y="21"/>
                  <a:pt x="12" y="24"/>
                  <a:pt x="10" y="27"/>
                </a:cubicBezTo>
                <a:cubicBezTo>
                  <a:pt x="8" y="30"/>
                  <a:pt x="6" y="33"/>
                  <a:pt x="4" y="37"/>
                </a:cubicBezTo>
                <a:cubicBezTo>
                  <a:pt x="3" y="41"/>
                  <a:pt x="2" y="44"/>
                  <a:pt x="1" y="48"/>
                </a:cubicBezTo>
                <a:cubicBezTo>
                  <a:pt x="0" y="52"/>
                  <a:pt x="0" y="56"/>
                  <a:pt x="0" y="60"/>
                </a:cubicBezTo>
                <a:cubicBezTo>
                  <a:pt x="0" y="64"/>
                  <a:pt x="0" y="68"/>
                  <a:pt x="1" y="72"/>
                </a:cubicBezTo>
                <a:cubicBezTo>
                  <a:pt x="2" y="76"/>
                  <a:pt x="3" y="80"/>
                  <a:pt x="4" y="84"/>
                </a:cubicBezTo>
                <a:cubicBezTo>
                  <a:pt x="6" y="87"/>
                  <a:pt x="8" y="91"/>
                  <a:pt x="10" y="94"/>
                </a:cubicBezTo>
                <a:cubicBezTo>
                  <a:pt x="12" y="97"/>
                  <a:pt x="15" y="100"/>
                  <a:pt x="17" y="103"/>
                </a:cubicBezTo>
                <a:cubicBezTo>
                  <a:pt x="20" y="105"/>
                  <a:pt x="23" y="108"/>
                  <a:pt x="26" y="110"/>
                </a:cubicBezTo>
                <a:cubicBezTo>
                  <a:pt x="29" y="112"/>
                  <a:pt x="33" y="114"/>
                  <a:pt x="36" y="116"/>
                </a:cubicBezTo>
                <a:cubicBezTo>
                  <a:pt x="40" y="117"/>
                  <a:pt x="44" y="118"/>
                  <a:pt x="48" y="119"/>
                </a:cubicBezTo>
                <a:cubicBezTo>
                  <a:pt x="52" y="120"/>
                  <a:pt x="56" y="120"/>
                  <a:pt x="60" y="120"/>
                </a:cubicBezTo>
                <a:cubicBezTo>
                  <a:pt x="64" y="120"/>
                  <a:pt x="68" y="120"/>
                  <a:pt x="72" y="119"/>
                </a:cubicBezTo>
                <a:cubicBezTo>
                  <a:pt x="76" y="118"/>
                  <a:pt x="79" y="117"/>
                  <a:pt x="83" y="116"/>
                </a:cubicBezTo>
                <a:cubicBezTo>
                  <a:pt x="87" y="114"/>
                  <a:pt x="90" y="112"/>
                  <a:pt x="93" y="110"/>
                </a:cubicBezTo>
                <a:cubicBezTo>
                  <a:pt x="96" y="108"/>
                  <a:pt x="99" y="105"/>
                  <a:pt x="102" y="103"/>
                </a:cubicBezTo>
                <a:cubicBezTo>
                  <a:pt x="105" y="100"/>
                  <a:pt x="107" y="97"/>
                  <a:pt x="109" y="94"/>
                </a:cubicBezTo>
                <a:cubicBezTo>
                  <a:pt x="112" y="91"/>
                  <a:pt x="113" y="87"/>
                  <a:pt x="115" y="84"/>
                </a:cubicBezTo>
                <a:cubicBezTo>
                  <a:pt x="117" y="80"/>
                  <a:pt x="118" y="76"/>
                  <a:pt x="118" y="72"/>
                </a:cubicBezTo>
                <a:cubicBezTo>
                  <a:pt x="119" y="68"/>
                  <a:pt x="120" y="64"/>
                  <a:pt x="120" y="60"/>
                </a:cubicBezTo>
                <a:cubicBezTo>
                  <a:pt x="120" y="56"/>
                  <a:pt x="119" y="52"/>
                  <a:pt x="118" y="48"/>
                </a:cubicBezTo>
                <a:cubicBezTo>
                  <a:pt x="118" y="44"/>
                  <a:pt x="117" y="41"/>
                  <a:pt x="115" y="37"/>
                </a:cubicBezTo>
                <a:close/>
                <a:moveTo>
                  <a:pt x="60" y="9"/>
                </a:moveTo>
                <a:cubicBezTo>
                  <a:pt x="73" y="9"/>
                  <a:pt x="85" y="14"/>
                  <a:pt x="94" y="22"/>
                </a:cubicBezTo>
                <a:cubicBezTo>
                  <a:pt x="93" y="22"/>
                  <a:pt x="86" y="33"/>
                  <a:pt x="67" y="40"/>
                </a:cubicBezTo>
                <a:cubicBezTo>
                  <a:pt x="58" y="24"/>
                  <a:pt x="48" y="12"/>
                  <a:pt x="48" y="11"/>
                </a:cubicBezTo>
                <a:cubicBezTo>
                  <a:pt x="52" y="10"/>
                  <a:pt x="56" y="9"/>
                  <a:pt x="60" y="9"/>
                </a:cubicBezTo>
                <a:close/>
                <a:moveTo>
                  <a:pt x="47" y="11"/>
                </a:moveTo>
                <a:cubicBezTo>
                  <a:pt x="47" y="11"/>
                  <a:pt x="47" y="11"/>
                  <a:pt x="47" y="11"/>
                </a:cubicBezTo>
                <a:cubicBezTo>
                  <a:pt x="47" y="11"/>
                  <a:pt x="47" y="11"/>
                  <a:pt x="47" y="11"/>
                </a:cubicBezTo>
                <a:cubicBezTo>
                  <a:pt x="47" y="11"/>
                  <a:pt x="47" y="11"/>
                  <a:pt x="47" y="11"/>
                </a:cubicBezTo>
                <a:close/>
                <a:moveTo>
                  <a:pt x="38" y="14"/>
                </a:moveTo>
                <a:cubicBezTo>
                  <a:pt x="39" y="15"/>
                  <a:pt x="48" y="28"/>
                  <a:pt x="57" y="43"/>
                </a:cubicBezTo>
                <a:cubicBezTo>
                  <a:pt x="32" y="50"/>
                  <a:pt x="11" y="50"/>
                  <a:pt x="10" y="50"/>
                </a:cubicBezTo>
                <a:cubicBezTo>
                  <a:pt x="13" y="34"/>
                  <a:pt x="24" y="21"/>
                  <a:pt x="38" y="14"/>
                </a:cubicBezTo>
                <a:close/>
                <a:moveTo>
                  <a:pt x="22" y="95"/>
                </a:moveTo>
                <a:cubicBezTo>
                  <a:pt x="13" y="85"/>
                  <a:pt x="8" y="73"/>
                  <a:pt x="8" y="60"/>
                </a:cubicBezTo>
                <a:cubicBezTo>
                  <a:pt x="8" y="60"/>
                  <a:pt x="8" y="59"/>
                  <a:pt x="9" y="59"/>
                </a:cubicBezTo>
                <a:cubicBezTo>
                  <a:pt x="9" y="59"/>
                  <a:pt x="35" y="59"/>
                  <a:pt x="61" y="51"/>
                </a:cubicBezTo>
                <a:cubicBezTo>
                  <a:pt x="63" y="54"/>
                  <a:pt x="64" y="57"/>
                  <a:pt x="65" y="60"/>
                </a:cubicBezTo>
                <a:cubicBezTo>
                  <a:pt x="65" y="60"/>
                  <a:pt x="64" y="60"/>
                  <a:pt x="63" y="61"/>
                </a:cubicBezTo>
                <a:cubicBezTo>
                  <a:pt x="36" y="70"/>
                  <a:pt x="22" y="95"/>
                  <a:pt x="22" y="95"/>
                </a:cubicBezTo>
                <a:cubicBezTo>
                  <a:pt x="22" y="95"/>
                  <a:pt x="22" y="95"/>
                  <a:pt x="22" y="95"/>
                </a:cubicBezTo>
                <a:close/>
                <a:moveTo>
                  <a:pt x="60" y="112"/>
                </a:moveTo>
                <a:cubicBezTo>
                  <a:pt x="48" y="112"/>
                  <a:pt x="37" y="107"/>
                  <a:pt x="28" y="101"/>
                </a:cubicBezTo>
                <a:cubicBezTo>
                  <a:pt x="28" y="101"/>
                  <a:pt x="28" y="101"/>
                  <a:pt x="28" y="101"/>
                </a:cubicBezTo>
                <a:cubicBezTo>
                  <a:pt x="28" y="101"/>
                  <a:pt x="28" y="100"/>
                  <a:pt x="27" y="100"/>
                </a:cubicBezTo>
                <a:cubicBezTo>
                  <a:pt x="27" y="100"/>
                  <a:pt x="28" y="100"/>
                  <a:pt x="28" y="101"/>
                </a:cubicBezTo>
                <a:cubicBezTo>
                  <a:pt x="28" y="100"/>
                  <a:pt x="38" y="79"/>
                  <a:pt x="68" y="69"/>
                </a:cubicBezTo>
                <a:cubicBezTo>
                  <a:pt x="69" y="69"/>
                  <a:pt x="69" y="69"/>
                  <a:pt x="69" y="69"/>
                </a:cubicBezTo>
                <a:cubicBezTo>
                  <a:pt x="76" y="87"/>
                  <a:pt x="79" y="103"/>
                  <a:pt x="80" y="108"/>
                </a:cubicBezTo>
                <a:cubicBezTo>
                  <a:pt x="74" y="110"/>
                  <a:pt x="67" y="112"/>
                  <a:pt x="60" y="112"/>
                </a:cubicBezTo>
                <a:close/>
                <a:moveTo>
                  <a:pt x="88" y="103"/>
                </a:moveTo>
                <a:cubicBezTo>
                  <a:pt x="88" y="100"/>
                  <a:pt x="85" y="85"/>
                  <a:pt x="78" y="66"/>
                </a:cubicBezTo>
                <a:cubicBezTo>
                  <a:pt x="95" y="64"/>
                  <a:pt x="109" y="68"/>
                  <a:pt x="110" y="68"/>
                </a:cubicBezTo>
                <a:cubicBezTo>
                  <a:pt x="108" y="83"/>
                  <a:pt x="100" y="95"/>
                  <a:pt x="88" y="103"/>
                </a:cubicBezTo>
                <a:close/>
                <a:moveTo>
                  <a:pt x="75" y="58"/>
                </a:moveTo>
                <a:cubicBezTo>
                  <a:pt x="75" y="57"/>
                  <a:pt x="75" y="56"/>
                  <a:pt x="74" y="55"/>
                </a:cubicBezTo>
                <a:cubicBezTo>
                  <a:pt x="73" y="53"/>
                  <a:pt x="72" y="50"/>
                  <a:pt x="71" y="48"/>
                </a:cubicBezTo>
                <a:cubicBezTo>
                  <a:pt x="91" y="40"/>
                  <a:pt x="99" y="28"/>
                  <a:pt x="99" y="28"/>
                </a:cubicBezTo>
                <a:cubicBezTo>
                  <a:pt x="106" y="36"/>
                  <a:pt x="111" y="48"/>
                  <a:pt x="111" y="60"/>
                </a:cubicBezTo>
                <a:cubicBezTo>
                  <a:pt x="110" y="60"/>
                  <a:pt x="93" y="56"/>
                  <a:pt x="75" y="5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5" name="Freeform 203"/>
          <p:cNvSpPr>
            <a:spLocks/>
          </p:cNvSpPr>
          <p:nvPr/>
        </p:nvSpPr>
        <p:spPr bwMode="auto">
          <a:xfrm>
            <a:off x="9798609" y="3381154"/>
            <a:ext cx="91142" cy="90290"/>
          </a:xfrm>
          <a:custGeom>
            <a:avLst/>
            <a:gdLst>
              <a:gd name="T0" fmla="*/ 0 w 45"/>
              <a:gd name="T1" fmla="*/ 4 h 45"/>
              <a:gd name="T2" fmla="*/ 45 w 45"/>
              <a:gd name="T3" fmla="*/ 45 h 45"/>
              <a:gd name="T4" fmla="*/ 45 w 45"/>
              <a:gd name="T5" fmla="*/ 5 h 45"/>
              <a:gd name="T6" fmla="*/ 20 w 45"/>
              <a:gd name="T7" fmla="*/ 0 h 45"/>
              <a:gd name="T8" fmla="*/ 0 w 45"/>
              <a:gd name="T9" fmla="*/ 4 h 45"/>
            </a:gdLst>
            <a:ahLst/>
            <a:cxnLst>
              <a:cxn ang="0">
                <a:pos x="T0" y="T1"/>
              </a:cxn>
              <a:cxn ang="0">
                <a:pos x="T2" y="T3"/>
              </a:cxn>
              <a:cxn ang="0">
                <a:pos x="T4" y="T5"/>
              </a:cxn>
              <a:cxn ang="0">
                <a:pos x="T6" y="T7"/>
              </a:cxn>
              <a:cxn ang="0">
                <a:pos x="T8" y="T9"/>
              </a:cxn>
            </a:cxnLst>
            <a:rect l="0" t="0" r="r" b="b"/>
            <a:pathLst>
              <a:path w="45" h="45">
                <a:moveTo>
                  <a:pt x="0" y="4"/>
                </a:moveTo>
                <a:cubicBezTo>
                  <a:pt x="1" y="5"/>
                  <a:pt x="43" y="44"/>
                  <a:pt x="45" y="45"/>
                </a:cubicBezTo>
                <a:cubicBezTo>
                  <a:pt x="45" y="43"/>
                  <a:pt x="45" y="6"/>
                  <a:pt x="45" y="5"/>
                </a:cubicBezTo>
                <a:cubicBezTo>
                  <a:pt x="37" y="2"/>
                  <a:pt x="29" y="0"/>
                  <a:pt x="20" y="0"/>
                </a:cubicBezTo>
                <a:cubicBezTo>
                  <a:pt x="13" y="0"/>
                  <a:pt x="6" y="1"/>
                  <a:pt x="0"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6" name="Freeform 204"/>
          <p:cNvSpPr>
            <a:spLocks/>
          </p:cNvSpPr>
          <p:nvPr/>
        </p:nvSpPr>
        <p:spPr bwMode="auto">
          <a:xfrm>
            <a:off x="9728762" y="3501257"/>
            <a:ext cx="50256" cy="103067"/>
          </a:xfrm>
          <a:custGeom>
            <a:avLst/>
            <a:gdLst>
              <a:gd name="T0" fmla="*/ 25 w 25"/>
              <a:gd name="T1" fmla="*/ 51 h 51"/>
              <a:gd name="T2" fmla="*/ 25 w 25"/>
              <a:gd name="T3" fmla="*/ 0 h 51"/>
              <a:gd name="T4" fmla="*/ 0 w 25"/>
              <a:gd name="T5" fmla="*/ 22 h 51"/>
              <a:gd name="T6" fmla="*/ 25 w 25"/>
              <a:gd name="T7" fmla="*/ 51 h 51"/>
            </a:gdLst>
            <a:ahLst/>
            <a:cxnLst>
              <a:cxn ang="0">
                <a:pos x="T0" y="T1"/>
              </a:cxn>
              <a:cxn ang="0">
                <a:pos x="T2" y="T3"/>
              </a:cxn>
              <a:cxn ang="0">
                <a:pos x="T4" y="T5"/>
              </a:cxn>
              <a:cxn ang="0">
                <a:pos x="T6" y="T7"/>
              </a:cxn>
            </a:cxnLst>
            <a:rect l="0" t="0" r="r" b="b"/>
            <a:pathLst>
              <a:path w="25" h="51">
                <a:moveTo>
                  <a:pt x="25" y="51"/>
                </a:moveTo>
                <a:cubicBezTo>
                  <a:pt x="25" y="49"/>
                  <a:pt x="25" y="3"/>
                  <a:pt x="25" y="0"/>
                </a:cubicBezTo>
                <a:cubicBezTo>
                  <a:pt x="23" y="2"/>
                  <a:pt x="0" y="22"/>
                  <a:pt x="0" y="22"/>
                </a:cubicBezTo>
                <a:cubicBezTo>
                  <a:pt x="5" y="34"/>
                  <a:pt x="13" y="45"/>
                  <a:pt x="25"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7" name="Freeform 206"/>
          <p:cNvSpPr>
            <a:spLocks/>
          </p:cNvSpPr>
          <p:nvPr/>
        </p:nvSpPr>
        <p:spPr bwMode="auto">
          <a:xfrm>
            <a:off x="9718540" y="3394782"/>
            <a:ext cx="112436" cy="138842"/>
          </a:xfrm>
          <a:custGeom>
            <a:avLst/>
            <a:gdLst>
              <a:gd name="T0" fmla="*/ 56 w 56"/>
              <a:gd name="T1" fmla="*/ 20 h 69"/>
              <a:gd name="T2" fmla="*/ 33 w 56"/>
              <a:gd name="T3" fmla="*/ 0 h 69"/>
              <a:gd name="T4" fmla="*/ 0 w 56"/>
              <a:gd name="T5" fmla="*/ 53 h 69"/>
              <a:gd name="T6" fmla="*/ 3 w 56"/>
              <a:gd name="T7" fmla="*/ 69 h 69"/>
              <a:gd name="T8" fmla="*/ 56 w 56"/>
              <a:gd name="T9" fmla="*/ 20 h 69"/>
            </a:gdLst>
            <a:ahLst/>
            <a:cxnLst>
              <a:cxn ang="0">
                <a:pos x="T0" y="T1"/>
              </a:cxn>
              <a:cxn ang="0">
                <a:pos x="T2" y="T3"/>
              </a:cxn>
              <a:cxn ang="0">
                <a:pos x="T4" y="T5"/>
              </a:cxn>
              <a:cxn ang="0">
                <a:pos x="T6" y="T7"/>
              </a:cxn>
              <a:cxn ang="0">
                <a:pos x="T8" y="T9"/>
              </a:cxn>
            </a:cxnLst>
            <a:rect l="0" t="0" r="r" b="b"/>
            <a:pathLst>
              <a:path w="56" h="69">
                <a:moveTo>
                  <a:pt x="56" y="20"/>
                </a:moveTo>
                <a:cubicBezTo>
                  <a:pt x="55" y="19"/>
                  <a:pt x="34" y="0"/>
                  <a:pt x="33" y="0"/>
                </a:cubicBezTo>
                <a:cubicBezTo>
                  <a:pt x="13" y="10"/>
                  <a:pt x="0" y="30"/>
                  <a:pt x="0" y="53"/>
                </a:cubicBezTo>
                <a:cubicBezTo>
                  <a:pt x="0" y="58"/>
                  <a:pt x="1" y="64"/>
                  <a:pt x="3" y="69"/>
                </a:cubicBezTo>
                <a:cubicBezTo>
                  <a:pt x="4" y="67"/>
                  <a:pt x="55" y="21"/>
                  <a:pt x="56" y="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8" name="Freeform 207"/>
          <p:cNvSpPr>
            <a:spLocks/>
          </p:cNvSpPr>
          <p:nvPr/>
        </p:nvSpPr>
        <p:spPr bwMode="auto">
          <a:xfrm>
            <a:off x="9790943" y="3554068"/>
            <a:ext cx="156729" cy="68143"/>
          </a:xfrm>
          <a:custGeom>
            <a:avLst/>
            <a:gdLst>
              <a:gd name="T0" fmla="*/ 0 w 78"/>
              <a:gd name="T1" fmla="*/ 29 h 34"/>
              <a:gd name="T2" fmla="*/ 19 w 78"/>
              <a:gd name="T3" fmla="*/ 34 h 34"/>
              <a:gd name="T4" fmla="*/ 30 w 78"/>
              <a:gd name="T5" fmla="*/ 34 h 34"/>
              <a:gd name="T6" fmla="*/ 78 w 78"/>
              <a:gd name="T7" fmla="*/ 0 h 34"/>
              <a:gd name="T8" fmla="*/ 0 w 78"/>
              <a:gd name="T9" fmla="*/ 0 h 34"/>
              <a:gd name="T10" fmla="*/ 0 w 78"/>
              <a:gd name="T11" fmla="*/ 29 h 34"/>
            </a:gdLst>
            <a:ahLst/>
            <a:cxnLst>
              <a:cxn ang="0">
                <a:pos x="T0" y="T1"/>
              </a:cxn>
              <a:cxn ang="0">
                <a:pos x="T2" y="T3"/>
              </a:cxn>
              <a:cxn ang="0">
                <a:pos x="T4" y="T5"/>
              </a:cxn>
              <a:cxn ang="0">
                <a:pos x="T6" y="T7"/>
              </a:cxn>
              <a:cxn ang="0">
                <a:pos x="T8" y="T9"/>
              </a:cxn>
              <a:cxn ang="0">
                <a:pos x="T10" y="T11"/>
              </a:cxn>
            </a:cxnLst>
            <a:rect l="0" t="0" r="r" b="b"/>
            <a:pathLst>
              <a:path w="78" h="34">
                <a:moveTo>
                  <a:pt x="0" y="29"/>
                </a:moveTo>
                <a:cubicBezTo>
                  <a:pt x="6" y="32"/>
                  <a:pt x="12" y="33"/>
                  <a:pt x="19" y="34"/>
                </a:cubicBezTo>
                <a:cubicBezTo>
                  <a:pt x="30" y="34"/>
                  <a:pt x="30" y="34"/>
                  <a:pt x="30" y="34"/>
                </a:cubicBezTo>
                <a:cubicBezTo>
                  <a:pt x="51" y="32"/>
                  <a:pt x="69" y="19"/>
                  <a:pt x="78" y="0"/>
                </a:cubicBezTo>
                <a:cubicBezTo>
                  <a:pt x="76" y="0"/>
                  <a:pt x="1" y="0"/>
                  <a:pt x="0" y="0"/>
                </a:cubicBezTo>
                <a:cubicBezTo>
                  <a:pt x="0" y="1"/>
                  <a:pt x="0" y="28"/>
                  <a:pt x="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59" name="Freeform 208"/>
          <p:cNvSpPr>
            <a:spLocks/>
          </p:cNvSpPr>
          <p:nvPr/>
        </p:nvSpPr>
        <p:spPr bwMode="auto">
          <a:xfrm>
            <a:off x="9903378" y="3399042"/>
            <a:ext cx="57070" cy="143101"/>
          </a:xfrm>
          <a:custGeom>
            <a:avLst/>
            <a:gdLst>
              <a:gd name="T0" fmla="*/ 28 w 28"/>
              <a:gd name="T1" fmla="*/ 51 h 71"/>
              <a:gd name="T2" fmla="*/ 0 w 28"/>
              <a:gd name="T3" fmla="*/ 0 h 71"/>
              <a:gd name="T4" fmla="*/ 0 w 28"/>
              <a:gd name="T5" fmla="*/ 71 h 71"/>
              <a:gd name="T6" fmla="*/ 25 w 28"/>
              <a:gd name="T7" fmla="*/ 71 h 71"/>
              <a:gd name="T8" fmla="*/ 28 w 28"/>
              <a:gd name="T9" fmla="*/ 51 h 71"/>
            </a:gdLst>
            <a:ahLst/>
            <a:cxnLst>
              <a:cxn ang="0">
                <a:pos x="T0" y="T1"/>
              </a:cxn>
              <a:cxn ang="0">
                <a:pos x="T2" y="T3"/>
              </a:cxn>
              <a:cxn ang="0">
                <a:pos x="T4" y="T5"/>
              </a:cxn>
              <a:cxn ang="0">
                <a:pos x="T6" y="T7"/>
              </a:cxn>
              <a:cxn ang="0">
                <a:pos x="T8" y="T9"/>
              </a:cxn>
            </a:cxnLst>
            <a:rect l="0" t="0" r="r" b="b"/>
            <a:pathLst>
              <a:path w="28" h="71">
                <a:moveTo>
                  <a:pt x="28" y="51"/>
                </a:moveTo>
                <a:cubicBezTo>
                  <a:pt x="28" y="30"/>
                  <a:pt x="17" y="11"/>
                  <a:pt x="0" y="0"/>
                </a:cubicBezTo>
                <a:cubicBezTo>
                  <a:pt x="0" y="2"/>
                  <a:pt x="0" y="70"/>
                  <a:pt x="0" y="71"/>
                </a:cubicBezTo>
                <a:cubicBezTo>
                  <a:pt x="1" y="71"/>
                  <a:pt x="24" y="71"/>
                  <a:pt x="25" y="71"/>
                </a:cubicBezTo>
                <a:cubicBezTo>
                  <a:pt x="27" y="64"/>
                  <a:pt x="28" y="58"/>
                  <a:pt x="28"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0" name="Freeform 209"/>
          <p:cNvSpPr>
            <a:spLocks/>
          </p:cNvSpPr>
          <p:nvPr/>
        </p:nvSpPr>
        <p:spPr bwMode="auto">
          <a:xfrm>
            <a:off x="6865047" y="4037883"/>
            <a:ext cx="193356" cy="56218"/>
          </a:xfrm>
          <a:custGeom>
            <a:avLst/>
            <a:gdLst>
              <a:gd name="T0" fmla="*/ 42 w 227"/>
              <a:gd name="T1" fmla="*/ 0 h 66"/>
              <a:gd name="T2" fmla="*/ 2 w 227"/>
              <a:gd name="T3" fmla="*/ 64 h 66"/>
              <a:gd name="T4" fmla="*/ 0 w 227"/>
              <a:gd name="T5" fmla="*/ 66 h 66"/>
              <a:gd name="T6" fmla="*/ 5 w 227"/>
              <a:gd name="T7" fmla="*/ 66 h 66"/>
              <a:gd name="T8" fmla="*/ 184 w 227"/>
              <a:gd name="T9" fmla="*/ 66 h 66"/>
              <a:gd name="T10" fmla="*/ 184 w 227"/>
              <a:gd name="T11" fmla="*/ 66 h 66"/>
              <a:gd name="T12" fmla="*/ 187 w 227"/>
              <a:gd name="T13" fmla="*/ 66 h 66"/>
              <a:gd name="T14" fmla="*/ 227 w 227"/>
              <a:gd name="T15" fmla="*/ 0 h 66"/>
              <a:gd name="T16" fmla="*/ 42 w 227"/>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66">
                <a:moveTo>
                  <a:pt x="42" y="0"/>
                </a:moveTo>
                <a:lnTo>
                  <a:pt x="2" y="64"/>
                </a:lnTo>
                <a:lnTo>
                  <a:pt x="0" y="66"/>
                </a:lnTo>
                <a:lnTo>
                  <a:pt x="5" y="66"/>
                </a:lnTo>
                <a:lnTo>
                  <a:pt x="184" y="66"/>
                </a:lnTo>
                <a:lnTo>
                  <a:pt x="184" y="66"/>
                </a:lnTo>
                <a:lnTo>
                  <a:pt x="187" y="66"/>
                </a:lnTo>
                <a:lnTo>
                  <a:pt x="227" y="0"/>
                </a:lnTo>
                <a:lnTo>
                  <a:pt x="42"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1" name="Freeform 210"/>
          <p:cNvSpPr>
            <a:spLocks/>
          </p:cNvSpPr>
          <p:nvPr/>
        </p:nvSpPr>
        <p:spPr bwMode="auto">
          <a:xfrm>
            <a:off x="6906785" y="3884562"/>
            <a:ext cx="151618" cy="134583"/>
          </a:xfrm>
          <a:custGeom>
            <a:avLst/>
            <a:gdLst>
              <a:gd name="T0" fmla="*/ 86 w 178"/>
              <a:gd name="T1" fmla="*/ 2 h 158"/>
              <a:gd name="T2" fmla="*/ 86 w 178"/>
              <a:gd name="T3" fmla="*/ 0 h 158"/>
              <a:gd name="T4" fmla="*/ 83 w 178"/>
              <a:gd name="T5" fmla="*/ 0 h 158"/>
              <a:gd name="T6" fmla="*/ 5 w 178"/>
              <a:gd name="T7" fmla="*/ 0 h 158"/>
              <a:gd name="T8" fmla="*/ 0 w 178"/>
              <a:gd name="T9" fmla="*/ 0 h 158"/>
              <a:gd name="T10" fmla="*/ 3 w 178"/>
              <a:gd name="T11" fmla="*/ 5 h 158"/>
              <a:gd name="T12" fmla="*/ 93 w 178"/>
              <a:gd name="T13" fmla="*/ 158 h 158"/>
              <a:gd name="T14" fmla="*/ 95 w 178"/>
              <a:gd name="T15" fmla="*/ 158 h 158"/>
              <a:gd name="T16" fmla="*/ 95 w 178"/>
              <a:gd name="T17" fmla="*/ 158 h 158"/>
              <a:gd name="T18" fmla="*/ 173 w 178"/>
              <a:gd name="T19" fmla="*/ 158 h 158"/>
              <a:gd name="T20" fmla="*/ 178 w 178"/>
              <a:gd name="T21" fmla="*/ 158 h 158"/>
              <a:gd name="T22" fmla="*/ 175 w 178"/>
              <a:gd name="T23" fmla="*/ 156 h 158"/>
              <a:gd name="T24" fmla="*/ 86 w 178"/>
              <a:gd name="T25" fmla="*/ 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8" h="158">
                <a:moveTo>
                  <a:pt x="86" y="2"/>
                </a:moveTo>
                <a:lnTo>
                  <a:pt x="86" y="0"/>
                </a:lnTo>
                <a:lnTo>
                  <a:pt x="83" y="0"/>
                </a:lnTo>
                <a:lnTo>
                  <a:pt x="5" y="0"/>
                </a:lnTo>
                <a:lnTo>
                  <a:pt x="0" y="0"/>
                </a:lnTo>
                <a:lnTo>
                  <a:pt x="3" y="5"/>
                </a:lnTo>
                <a:lnTo>
                  <a:pt x="93" y="158"/>
                </a:lnTo>
                <a:lnTo>
                  <a:pt x="95" y="158"/>
                </a:lnTo>
                <a:lnTo>
                  <a:pt x="95" y="158"/>
                </a:lnTo>
                <a:lnTo>
                  <a:pt x="173" y="158"/>
                </a:lnTo>
                <a:lnTo>
                  <a:pt x="178" y="158"/>
                </a:lnTo>
                <a:lnTo>
                  <a:pt x="175" y="156"/>
                </a:lnTo>
                <a:lnTo>
                  <a:pt x="86" y="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2" name="Freeform 211"/>
          <p:cNvSpPr>
            <a:spLocks/>
          </p:cNvSpPr>
          <p:nvPr/>
        </p:nvSpPr>
        <p:spPr bwMode="auto">
          <a:xfrm>
            <a:off x="6816495" y="3892228"/>
            <a:ext cx="114992" cy="195911"/>
          </a:xfrm>
          <a:custGeom>
            <a:avLst/>
            <a:gdLst>
              <a:gd name="T0" fmla="*/ 135 w 135"/>
              <a:gd name="T1" fmla="*/ 71 h 230"/>
              <a:gd name="T2" fmla="*/ 135 w 135"/>
              <a:gd name="T3" fmla="*/ 69 h 230"/>
              <a:gd name="T4" fmla="*/ 95 w 135"/>
              <a:gd name="T5" fmla="*/ 5 h 230"/>
              <a:gd name="T6" fmla="*/ 92 w 135"/>
              <a:gd name="T7" fmla="*/ 0 h 230"/>
              <a:gd name="T8" fmla="*/ 90 w 135"/>
              <a:gd name="T9" fmla="*/ 5 h 230"/>
              <a:gd name="T10" fmla="*/ 0 w 135"/>
              <a:gd name="T11" fmla="*/ 157 h 230"/>
              <a:gd name="T12" fmla="*/ 0 w 135"/>
              <a:gd name="T13" fmla="*/ 159 h 230"/>
              <a:gd name="T14" fmla="*/ 0 w 135"/>
              <a:gd name="T15" fmla="*/ 159 h 230"/>
              <a:gd name="T16" fmla="*/ 40 w 135"/>
              <a:gd name="T17" fmla="*/ 225 h 230"/>
              <a:gd name="T18" fmla="*/ 43 w 135"/>
              <a:gd name="T19" fmla="*/ 230 h 230"/>
              <a:gd name="T20" fmla="*/ 45 w 135"/>
              <a:gd name="T21" fmla="*/ 225 h 230"/>
              <a:gd name="T22" fmla="*/ 135 w 135"/>
              <a:gd name="T23" fmla="*/ 74 h 230"/>
              <a:gd name="T24" fmla="*/ 135 w 135"/>
              <a:gd name="T25" fmla="*/ 7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5" h="230">
                <a:moveTo>
                  <a:pt x="135" y="71"/>
                </a:moveTo>
                <a:lnTo>
                  <a:pt x="135" y="69"/>
                </a:lnTo>
                <a:lnTo>
                  <a:pt x="95" y="5"/>
                </a:lnTo>
                <a:lnTo>
                  <a:pt x="92" y="0"/>
                </a:lnTo>
                <a:lnTo>
                  <a:pt x="90" y="5"/>
                </a:lnTo>
                <a:lnTo>
                  <a:pt x="0" y="157"/>
                </a:lnTo>
                <a:lnTo>
                  <a:pt x="0" y="159"/>
                </a:lnTo>
                <a:lnTo>
                  <a:pt x="0" y="159"/>
                </a:lnTo>
                <a:lnTo>
                  <a:pt x="40" y="225"/>
                </a:lnTo>
                <a:lnTo>
                  <a:pt x="43" y="230"/>
                </a:lnTo>
                <a:lnTo>
                  <a:pt x="45" y="225"/>
                </a:lnTo>
                <a:lnTo>
                  <a:pt x="135" y="74"/>
                </a:lnTo>
                <a:lnTo>
                  <a:pt x="135" y="7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3" name="Freeform 212"/>
          <p:cNvSpPr>
            <a:spLocks noEditPoints="1"/>
          </p:cNvSpPr>
          <p:nvPr/>
        </p:nvSpPr>
        <p:spPr bwMode="auto">
          <a:xfrm>
            <a:off x="7257723" y="3852193"/>
            <a:ext cx="305793" cy="258092"/>
          </a:xfrm>
          <a:custGeom>
            <a:avLst/>
            <a:gdLst>
              <a:gd name="T0" fmla="*/ 152 w 152"/>
              <a:gd name="T1" fmla="*/ 1 h 128"/>
              <a:gd name="T2" fmla="*/ 152 w 152"/>
              <a:gd name="T3" fmla="*/ 3 h 128"/>
              <a:gd name="T4" fmla="*/ 152 w 152"/>
              <a:gd name="T5" fmla="*/ 50 h 128"/>
              <a:gd name="T6" fmla="*/ 150 w 152"/>
              <a:gd name="T7" fmla="*/ 53 h 128"/>
              <a:gd name="T8" fmla="*/ 121 w 152"/>
              <a:gd name="T9" fmla="*/ 77 h 128"/>
              <a:gd name="T10" fmla="*/ 118 w 152"/>
              <a:gd name="T11" fmla="*/ 79 h 128"/>
              <a:gd name="T12" fmla="*/ 122 w 152"/>
              <a:gd name="T13" fmla="*/ 81 h 128"/>
              <a:gd name="T14" fmla="*/ 122 w 152"/>
              <a:gd name="T15" fmla="*/ 85 h 128"/>
              <a:gd name="T16" fmla="*/ 86 w 152"/>
              <a:gd name="T17" fmla="*/ 120 h 128"/>
              <a:gd name="T18" fmla="*/ 78 w 152"/>
              <a:gd name="T19" fmla="*/ 128 h 128"/>
              <a:gd name="T20" fmla="*/ 76 w 152"/>
              <a:gd name="T21" fmla="*/ 127 h 128"/>
              <a:gd name="T22" fmla="*/ 40 w 152"/>
              <a:gd name="T23" fmla="*/ 90 h 128"/>
              <a:gd name="T24" fmla="*/ 37 w 152"/>
              <a:gd name="T25" fmla="*/ 89 h 128"/>
              <a:gd name="T26" fmla="*/ 10 w 152"/>
              <a:gd name="T27" fmla="*/ 70 h 128"/>
              <a:gd name="T28" fmla="*/ 34 w 152"/>
              <a:gd name="T29" fmla="*/ 24 h 128"/>
              <a:gd name="T30" fmla="*/ 69 w 152"/>
              <a:gd name="T31" fmla="*/ 44 h 128"/>
              <a:gd name="T32" fmla="*/ 70 w 152"/>
              <a:gd name="T33" fmla="*/ 46 h 128"/>
              <a:gd name="T34" fmla="*/ 78 w 152"/>
              <a:gd name="T35" fmla="*/ 37 h 128"/>
              <a:gd name="T36" fmla="*/ 88 w 152"/>
              <a:gd name="T37" fmla="*/ 47 h 128"/>
              <a:gd name="T38" fmla="*/ 97 w 152"/>
              <a:gd name="T39" fmla="*/ 57 h 128"/>
              <a:gd name="T40" fmla="*/ 151 w 152"/>
              <a:gd name="T41" fmla="*/ 0 h 128"/>
              <a:gd name="T42" fmla="*/ 152 w 152"/>
              <a:gd name="T43" fmla="*/ 1 h 128"/>
              <a:gd name="T44" fmla="*/ 76 w 152"/>
              <a:gd name="T45" fmla="*/ 87 h 128"/>
              <a:gd name="T46" fmla="*/ 75 w 152"/>
              <a:gd name="T47" fmla="*/ 86 h 128"/>
              <a:gd name="T48" fmla="*/ 65 w 152"/>
              <a:gd name="T49" fmla="*/ 69 h 128"/>
              <a:gd name="T50" fmla="*/ 65 w 152"/>
              <a:gd name="T51" fmla="*/ 66 h 128"/>
              <a:gd name="T52" fmla="*/ 67 w 152"/>
              <a:gd name="T53" fmla="*/ 51 h 128"/>
              <a:gd name="T54" fmla="*/ 35 w 152"/>
              <a:gd name="T55" fmla="*/ 29 h 128"/>
              <a:gd name="T56" fmla="*/ 12 w 152"/>
              <a:gd name="T57" fmla="*/ 61 h 128"/>
              <a:gd name="T58" fmla="*/ 45 w 152"/>
              <a:gd name="T59" fmla="*/ 84 h 128"/>
              <a:gd name="T60" fmla="*/ 49 w 152"/>
              <a:gd name="T61" fmla="*/ 85 h 128"/>
              <a:gd name="T62" fmla="*/ 73 w 152"/>
              <a:gd name="T63" fmla="*/ 106 h 128"/>
              <a:gd name="T64" fmla="*/ 77 w 152"/>
              <a:gd name="T65" fmla="*/ 106 h 128"/>
              <a:gd name="T66" fmla="*/ 112 w 152"/>
              <a:gd name="T67" fmla="*/ 78 h 128"/>
              <a:gd name="T68" fmla="*/ 147 w 152"/>
              <a:gd name="T69" fmla="*/ 50 h 128"/>
              <a:gd name="T70" fmla="*/ 148 w 152"/>
              <a:gd name="T71" fmla="*/ 47 h 128"/>
              <a:gd name="T72" fmla="*/ 148 w 152"/>
              <a:gd name="T73" fmla="*/ 12 h 128"/>
              <a:gd name="T74" fmla="*/ 148 w 152"/>
              <a:gd name="T75" fmla="*/ 10 h 128"/>
              <a:gd name="T76" fmla="*/ 76 w 152"/>
              <a:gd name="T77" fmla="*/ 8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2" h="128">
                <a:moveTo>
                  <a:pt x="152" y="1"/>
                </a:moveTo>
                <a:cubicBezTo>
                  <a:pt x="152" y="1"/>
                  <a:pt x="152" y="2"/>
                  <a:pt x="152" y="3"/>
                </a:cubicBezTo>
                <a:cubicBezTo>
                  <a:pt x="152" y="18"/>
                  <a:pt x="152" y="34"/>
                  <a:pt x="152" y="50"/>
                </a:cubicBezTo>
                <a:cubicBezTo>
                  <a:pt x="152" y="51"/>
                  <a:pt x="151" y="52"/>
                  <a:pt x="150" y="53"/>
                </a:cubicBezTo>
                <a:cubicBezTo>
                  <a:pt x="140" y="61"/>
                  <a:pt x="131" y="69"/>
                  <a:pt x="121" y="77"/>
                </a:cubicBezTo>
                <a:cubicBezTo>
                  <a:pt x="120" y="77"/>
                  <a:pt x="120" y="78"/>
                  <a:pt x="118" y="79"/>
                </a:cubicBezTo>
                <a:cubicBezTo>
                  <a:pt x="120" y="80"/>
                  <a:pt x="121" y="81"/>
                  <a:pt x="122" y="81"/>
                </a:cubicBezTo>
                <a:cubicBezTo>
                  <a:pt x="123" y="82"/>
                  <a:pt x="123" y="83"/>
                  <a:pt x="122" y="85"/>
                </a:cubicBezTo>
                <a:cubicBezTo>
                  <a:pt x="110" y="96"/>
                  <a:pt x="98" y="108"/>
                  <a:pt x="86" y="120"/>
                </a:cubicBezTo>
                <a:cubicBezTo>
                  <a:pt x="83" y="123"/>
                  <a:pt x="81" y="126"/>
                  <a:pt x="78" y="128"/>
                </a:cubicBezTo>
                <a:cubicBezTo>
                  <a:pt x="77" y="128"/>
                  <a:pt x="77" y="127"/>
                  <a:pt x="76" y="127"/>
                </a:cubicBezTo>
                <a:cubicBezTo>
                  <a:pt x="64" y="114"/>
                  <a:pt x="52" y="102"/>
                  <a:pt x="40" y="90"/>
                </a:cubicBezTo>
                <a:cubicBezTo>
                  <a:pt x="39" y="90"/>
                  <a:pt x="38" y="89"/>
                  <a:pt x="37" y="89"/>
                </a:cubicBezTo>
                <a:cubicBezTo>
                  <a:pt x="24" y="88"/>
                  <a:pt x="15" y="81"/>
                  <a:pt x="10" y="70"/>
                </a:cubicBezTo>
                <a:cubicBezTo>
                  <a:pt x="0" y="51"/>
                  <a:pt x="13" y="28"/>
                  <a:pt x="34" y="24"/>
                </a:cubicBezTo>
                <a:cubicBezTo>
                  <a:pt x="49" y="22"/>
                  <a:pt x="63" y="30"/>
                  <a:pt x="69" y="44"/>
                </a:cubicBezTo>
                <a:cubicBezTo>
                  <a:pt x="69" y="44"/>
                  <a:pt x="70" y="45"/>
                  <a:pt x="70" y="46"/>
                </a:cubicBezTo>
                <a:cubicBezTo>
                  <a:pt x="73" y="43"/>
                  <a:pt x="75" y="40"/>
                  <a:pt x="78" y="37"/>
                </a:cubicBezTo>
                <a:cubicBezTo>
                  <a:pt x="81" y="41"/>
                  <a:pt x="85" y="44"/>
                  <a:pt x="88" y="47"/>
                </a:cubicBezTo>
                <a:cubicBezTo>
                  <a:pt x="91" y="51"/>
                  <a:pt x="94" y="54"/>
                  <a:pt x="97" y="57"/>
                </a:cubicBezTo>
                <a:cubicBezTo>
                  <a:pt x="115" y="38"/>
                  <a:pt x="133" y="19"/>
                  <a:pt x="151" y="0"/>
                </a:cubicBezTo>
                <a:cubicBezTo>
                  <a:pt x="151" y="1"/>
                  <a:pt x="152" y="1"/>
                  <a:pt x="152" y="1"/>
                </a:cubicBezTo>
                <a:close/>
                <a:moveTo>
                  <a:pt x="76" y="87"/>
                </a:moveTo>
                <a:cubicBezTo>
                  <a:pt x="76" y="86"/>
                  <a:pt x="75" y="86"/>
                  <a:pt x="75" y="86"/>
                </a:cubicBezTo>
                <a:cubicBezTo>
                  <a:pt x="72" y="80"/>
                  <a:pt x="68" y="74"/>
                  <a:pt x="65" y="69"/>
                </a:cubicBezTo>
                <a:cubicBezTo>
                  <a:pt x="65" y="68"/>
                  <a:pt x="65" y="67"/>
                  <a:pt x="65" y="66"/>
                </a:cubicBezTo>
                <a:cubicBezTo>
                  <a:pt x="67" y="62"/>
                  <a:pt x="67" y="57"/>
                  <a:pt x="67" y="51"/>
                </a:cubicBezTo>
                <a:cubicBezTo>
                  <a:pt x="64" y="37"/>
                  <a:pt x="50" y="26"/>
                  <a:pt x="35" y="29"/>
                </a:cubicBezTo>
                <a:cubicBezTo>
                  <a:pt x="21" y="31"/>
                  <a:pt x="9" y="45"/>
                  <a:pt x="12" y="61"/>
                </a:cubicBezTo>
                <a:cubicBezTo>
                  <a:pt x="14" y="77"/>
                  <a:pt x="29" y="87"/>
                  <a:pt x="45" y="84"/>
                </a:cubicBezTo>
                <a:cubicBezTo>
                  <a:pt x="47" y="83"/>
                  <a:pt x="48" y="84"/>
                  <a:pt x="49" y="85"/>
                </a:cubicBezTo>
                <a:cubicBezTo>
                  <a:pt x="57" y="92"/>
                  <a:pt x="65" y="99"/>
                  <a:pt x="73" y="106"/>
                </a:cubicBezTo>
                <a:cubicBezTo>
                  <a:pt x="75" y="108"/>
                  <a:pt x="75" y="108"/>
                  <a:pt x="77" y="106"/>
                </a:cubicBezTo>
                <a:cubicBezTo>
                  <a:pt x="89" y="97"/>
                  <a:pt x="100" y="88"/>
                  <a:pt x="112" y="78"/>
                </a:cubicBezTo>
                <a:cubicBezTo>
                  <a:pt x="124" y="69"/>
                  <a:pt x="135" y="59"/>
                  <a:pt x="147" y="50"/>
                </a:cubicBezTo>
                <a:cubicBezTo>
                  <a:pt x="148" y="49"/>
                  <a:pt x="148" y="48"/>
                  <a:pt x="148" y="47"/>
                </a:cubicBezTo>
                <a:cubicBezTo>
                  <a:pt x="148" y="35"/>
                  <a:pt x="148" y="24"/>
                  <a:pt x="148" y="12"/>
                </a:cubicBezTo>
                <a:cubicBezTo>
                  <a:pt x="148" y="12"/>
                  <a:pt x="148" y="11"/>
                  <a:pt x="148" y="10"/>
                </a:cubicBezTo>
                <a:cubicBezTo>
                  <a:pt x="124" y="36"/>
                  <a:pt x="100" y="61"/>
                  <a:pt x="76" y="87"/>
                </a:cubicBezTo>
                <a:close/>
              </a:path>
            </a:pathLst>
          </a:custGeom>
          <a:solidFill>
            <a:srgbClr val="FCFC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4" name="Freeform 213"/>
          <p:cNvSpPr>
            <a:spLocks/>
          </p:cNvSpPr>
          <p:nvPr/>
        </p:nvSpPr>
        <p:spPr bwMode="auto">
          <a:xfrm>
            <a:off x="9234724" y="3428854"/>
            <a:ext cx="241908" cy="145656"/>
          </a:xfrm>
          <a:custGeom>
            <a:avLst/>
            <a:gdLst>
              <a:gd name="T0" fmla="*/ 95 w 120"/>
              <a:gd name="T1" fmla="*/ 61 h 72"/>
              <a:gd name="T2" fmla="*/ 81 w 120"/>
              <a:gd name="T3" fmla="*/ 49 h 72"/>
              <a:gd name="T4" fmla="*/ 70 w 120"/>
              <a:gd name="T5" fmla="*/ 22 h 72"/>
              <a:gd name="T6" fmla="*/ 36 w 120"/>
              <a:gd name="T7" fmla="*/ 0 h 72"/>
              <a:gd name="T8" fmla="*/ 0 w 120"/>
              <a:gd name="T9" fmla="*/ 36 h 72"/>
              <a:gd name="T10" fmla="*/ 36 w 120"/>
              <a:gd name="T11" fmla="*/ 72 h 72"/>
              <a:gd name="T12" fmla="*/ 64 w 120"/>
              <a:gd name="T13" fmla="*/ 59 h 72"/>
              <a:gd name="T14" fmla="*/ 64 w 120"/>
              <a:gd name="T15" fmla="*/ 58 h 72"/>
              <a:gd name="T16" fmla="*/ 60 w 120"/>
              <a:gd name="T17" fmla="*/ 47 h 72"/>
              <a:gd name="T18" fmla="*/ 59 w 120"/>
              <a:gd name="T19" fmla="*/ 47 h 72"/>
              <a:gd name="T20" fmla="*/ 58 w 120"/>
              <a:gd name="T21" fmla="*/ 47 h 72"/>
              <a:gd name="T22" fmla="*/ 36 w 120"/>
              <a:gd name="T23" fmla="*/ 61 h 72"/>
              <a:gd name="T24" fmla="*/ 11 w 120"/>
              <a:gd name="T25" fmla="*/ 36 h 72"/>
              <a:gd name="T26" fmla="*/ 36 w 120"/>
              <a:gd name="T27" fmla="*/ 11 h 72"/>
              <a:gd name="T28" fmla="*/ 59 w 120"/>
              <a:gd name="T29" fmla="*/ 26 h 72"/>
              <a:gd name="T30" fmla="*/ 70 w 120"/>
              <a:gd name="T31" fmla="*/ 52 h 72"/>
              <a:gd name="T32" fmla="*/ 71 w 120"/>
              <a:gd name="T33" fmla="*/ 54 h 72"/>
              <a:gd name="T34" fmla="*/ 96 w 120"/>
              <a:gd name="T35" fmla="*/ 72 h 72"/>
              <a:gd name="T36" fmla="*/ 120 w 120"/>
              <a:gd name="T37" fmla="*/ 50 h 72"/>
              <a:gd name="T38" fmla="*/ 102 w 120"/>
              <a:gd name="T39" fmla="*/ 30 h 72"/>
              <a:gd name="T40" fmla="*/ 99 w 120"/>
              <a:gd name="T41" fmla="*/ 29 h 72"/>
              <a:gd name="T42" fmla="*/ 87 w 120"/>
              <a:gd name="T43" fmla="*/ 19 h 72"/>
              <a:gd name="T44" fmla="*/ 95 w 120"/>
              <a:gd name="T45" fmla="*/ 11 h 72"/>
              <a:gd name="T46" fmla="*/ 105 w 120"/>
              <a:gd name="T47" fmla="*/ 16 h 72"/>
              <a:gd name="T48" fmla="*/ 106 w 120"/>
              <a:gd name="T49" fmla="*/ 16 h 72"/>
              <a:gd name="T50" fmla="*/ 113 w 120"/>
              <a:gd name="T51" fmla="*/ 12 h 72"/>
              <a:gd name="T52" fmla="*/ 114 w 120"/>
              <a:gd name="T53" fmla="*/ 12 h 72"/>
              <a:gd name="T54" fmla="*/ 113 w 120"/>
              <a:gd name="T55" fmla="*/ 11 h 72"/>
              <a:gd name="T56" fmla="*/ 96 w 120"/>
              <a:gd name="T57" fmla="*/ 1 h 72"/>
              <a:gd name="T58" fmla="*/ 76 w 120"/>
              <a:gd name="T59" fmla="*/ 19 h 72"/>
              <a:gd name="T60" fmla="*/ 97 w 120"/>
              <a:gd name="T61" fmla="*/ 40 h 72"/>
              <a:gd name="T62" fmla="*/ 109 w 120"/>
              <a:gd name="T63" fmla="*/ 50 h 72"/>
              <a:gd name="T64" fmla="*/ 95 w 120"/>
              <a:gd name="T65" fmla="*/ 6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72">
                <a:moveTo>
                  <a:pt x="95" y="61"/>
                </a:moveTo>
                <a:cubicBezTo>
                  <a:pt x="87" y="60"/>
                  <a:pt x="84" y="56"/>
                  <a:pt x="81" y="49"/>
                </a:cubicBezTo>
                <a:cubicBezTo>
                  <a:pt x="76" y="37"/>
                  <a:pt x="70" y="22"/>
                  <a:pt x="70" y="22"/>
                </a:cubicBezTo>
                <a:cubicBezTo>
                  <a:pt x="63" y="8"/>
                  <a:pt x="51" y="0"/>
                  <a:pt x="36" y="0"/>
                </a:cubicBezTo>
                <a:cubicBezTo>
                  <a:pt x="16" y="0"/>
                  <a:pt x="0" y="16"/>
                  <a:pt x="0" y="36"/>
                </a:cubicBezTo>
                <a:cubicBezTo>
                  <a:pt x="0" y="56"/>
                  <a:pt x="16" y="72"/>
                  <a:pt x="36" y="72"/>
                </a:cubicBezTo>
                <a:cubicBezTo>
                  <a:pt x="47" y="72"/>
                  <a:pt x="57" y="67"/>
                  <a:pt x="64" y="59"/>
                </a:cubicBezTo>
                <a:cubicBezTo>
                  <a:pt x="64" y="59"/>
                  <a:pt x="64" y="58"/>
                  <a:pt x="64" y="58"/>
                </a:cubicBezTo>
                <a:cubicBezTo>
                  <a:pt x="60" y="47"/>
                  <a:pt x="60" y="47"/>
                  <a:pt x="60" y="47"/>
                </a:cubicBezTo>
                <a:cubicBezTo>
                  <a:pt x="60" y="47"/>
                  <a:pt x="59" y="47"/>
                  <a:pt x="59" y="47"/>
                </a:cubicBezTo>
                <a:cubicBezTo>
                  <a:pt x="59" y="47"/>
                  <a:pt x="58" y="47"/>
                  <a:pt x="58" y="47"/>
                </a:cubicBezTo>
                <a:cubicBezTo>
                  <a:pt x="54" y="56"/>
                  <a:pt x="45" y="61"/>
                  <a:pt x="36" y="61"/>
                </a:cubicBezTo>
                <a:cubicBezTo>
                  <a:pt x="23" y="61"/>
                  <a:pt x="11" y="50"/>
                  <a:pt x="11" y="36"/>
                </a:cubicBezTo>
                <a:cubicBezTo>
                  <a:pt x="11" y="22"/>
                  <a:pt x="23" y="11"/>
                  <a:pt x="36" y="11"/>
                </a:cubicBezTo>
                <a:cubicBezTo>
                  <a:pt x="46" y="11"/>
                  <a:pt x="55" y="17"/>
                  <a:pt x="59" y="26"/>
                </a:cubicBezTo>
                <a:cubicBezTo>
                  <a:pt x="70" y="52"/>
                  <a:pt x="70" y="52"/>
                  <a:pt x="70" y="52"/>
                </a:cubicBezTo>
                <a:cubicBezTo>
                  <a:pt x="71" y="54"/>
                  <a:pt x="71" y="54"/>
                  <a:pt x="71" y="54"/>
                </a:cubicBezTo>
                <a:cubicBezTo>
                  <a:pt x="77" y="66"/>
                  <a:pt x="84" y="72"/>
                  <a:pt x="96" y="72"/>
                </a:cubicBezTo>
                <a:cubicBezTo>
                  <a:pt x="110" y="72"/>
                  <a:pt x="120" y="62"/>
                  <a:pt x="120" y="50"/>
                </a:cubicBezTo>
                <a:cubicBezTo>
                  <a:pt x="120" y="38"/>
                  <a:pt x="113" y="33"/>
                  <a:pt x="102" y="30"/>
                </a:cubicBezTo>
                <a:cubicBezTo>
                  <a:pt x="101" y="29"/>
                  <a:pt x="100" y="29"/>
                  <a:pt x="99" y="29"/>
                </a:cubicBezTo>
                <a:cubicBezTo>
                  <a:pt x="91" y="26"/>
                  <a:pt x="87" y="25"/>
                  <a:pt x="87" y="19"/>
                </a:cubicBezTo>
                <a:cubicBezTo>
                  <a:pt x="87" y="14"/>
                  <a:pt x="90" y="11"/>
                  <a:pt x="95" y="11"/>
                </a:cubicBezTo>
                <a:cubicBezTo>
                  <a:pt x="99" y="11"/>
                  <a:pt x="102" y="12"/>
                  <a:pt x="105" y="16"/>
                </a:cubicBezTo>
                <a:cubicBezTo>
                  <a:pt x="105" y="16"/>
                  <a:pt x="105" y="17"/>
                  <a:pt x="106" y="16"/>
                </a:cubicBezTo>
                <a:cubicBezTo>
                  <a:pt x="113" y="12"/>
                  <a:pt x="113" y="12"/>
                  <a:pt x="113" y="12"/>
                </a:cubicBezTo>
                <a:cubicBezTo>
                  <a:pt x="113" y="12"/>
                  <a:pt x="113" y="12"/>
                  <a:pt x="114" y="12"/>
                </a:cubicBezTo>
                <a:cubicBezTo>
                  <a:pt x="114" y="12"/>
                  <a:pt x="114" y="12"/>
                  <a:pt x="113" y="11"/>
                </a:cubicBezTo>
                <a:cubicBezTo>
                  <a:pt x="109" y="4"/>
                  <a:pt x="104" y="1"/>
                  <a:pt x="96" y="1"/>
                </a:cubicBezTo>
                <a:cubicBezTo>
                  <a:pt x="84" y="1"/>
                  <a:pt x="76" y="8"/>
                  <a:pt x="76" y="19"/>
                </a:cubicBezTo>
                <a:cubicBezTo>
                  <a:pt x="76" y="31"/>
                  <a:pt x="83" y="35"/>
                  <a:pt x="97" y="40"/>
                </a:cubicBezTo>
                <a:cubicBezTo>
                  <a:pt x="105" y="43"/>
                  <a:pt x="109" y="44"/>
                  <a:pt x="109" y="50"/>
                </a:cubicBezTo>
                <a:cubicBezTo>
                  <a:pt x="109" y="56"/>
                  <a:pt x="103" y="61"/>
                  <a:pt x="95" y="6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5" name="Freeform 214"/>
          <p:cNvSpPr>
            <a:spLocks noEditPoints="1"/>
          </p:cNvSpPr>
          <p:nvPr/>
        </p:nvSpPr>
        <p:spPr bwMode="auto">
          <a:xfrm>
            <a:off x="7787536" y="3908411"/>
            <a:ext cx="241057" cy="145656"/>
          </a:xfrm>
          <a:custGeom>
            <a:avLst/>
            <a:gdLst>
              <a:gd name="T0" fmla="*/ 60 w 120"/>
              <a:gd name="T1" fmla="*/ 0 h 72"/>
              <a:gd name="T2" fmla="*/ 20 w 120"/>
              <a:gd name="T3" fmla="*/ 16 h 72"/>
              <a:gd name="T4" fmla="*/ 0 w 120"/>
              <a:gd name="T5" fmla="*/ 16 h 72"/>
              <a:gd name="T6" fmla="*/ 8 w 120"/>
              <a:gd name="T7" fmla="*/ 24 h 72"/>
              <a:gd name="T8" fmla="*/ 0 w 120"/>
              <a:gd name="T9" fmla="*/ 44 h 72"/>
              <a:gd name="T10" fmla="*/ 28 w 120"/>
              <a:gd name="T11" fmla="*/ 72 h 72"/>
              <a:gd name="T12" fmla="*/ 52 w 120"/>
              <a:gd name="T13" fmla="*/ 60 h 72"/>
              <a:gd name="T14" fmla="*/ 60 w 120"/>
              <a:gd name="T15" fmla="*/ 72 h 72"/>
              <a:gd name="T16" fmla="*/ 68 w 120"/>
              <a:gd name="T17" fmla="*/ 60 h 72"/>
              <a:gd name="T18" fmla="*/ 92 w 120"/>
              <a:gd name="T19" fmla="*/ 72 h 72"/>
              <a:gd name="T20" fmla="*/ 120 w 120"/>
              <a:gd name="T21" fmla="*/ 44 h 72"/>
              <a:gd name="T22" fmla="*/ 112 w 120"/>
              <a:gd name="T23" fmla="*/ 24 h 72"/>
              <a:gd name="T24" fmla="*/ 120 w 120"/>
              <a:gd name="T25" fmla="*/ 16 h 72"/>
              <a:gd name="T26" fmla="*/ 100 w 120"/>
              <a:gd name="T27" fmla="*/ 16 h 72"/>
              <a:gd name="T28" fmla="*/ 60 w 120"/>
              <a:gd name="T29" fmla="*/ 0 h 72"/>
              <a:gd name="T30" fmla="*/ 60 w 120"/>
              <a:gd name="T31" fmla="*/ 4 h 72"/>
              <a:gd name="T32" fmla="*/ 92 w 120"/>
              <a:gd name="T33" fmla="*/ 16 h 72"/>
              <a:gd name="T34" fmla="*/ 60 w 120"/>
              <a:gd name="T35" fmla="*/ 56 h 72"/>
              <a:gd name="T36" fmla="*/ 28 w 120"/>
              <a:gd name="T37" fmla="*/ 16 h 72"/>
              <a:gd name="T38" fmla="*/ 60 w 120"/>
              <a:gd name="T39" fmla="*/ 4 h 72"/>
              <a:gd name="T40" fmla="*/ 28 w 120"/>
              <a:gd name="T41" fmla="*/ 24 h 72"/>
              <a:gd name="T42" fmla="*/ 48 w 120"/>
              <a:gd name="T43" fmla="*/ 44 h 72"/>
              <a:gd name="T44" fmla="*/ 28 w 120"/>
              <a:gd name="T45" fmla="*/ 64 h 72"/>
              <a:gd name="T46" fmla="*/ 8 w 120"/>
              <a:gd name="T47" fmla="*/ 44 h 72"/>
              <a:gd name="T48" fmla="*/ 28 w 120"/>
              <a:gd name="T49" fmla="*/ 24 h 72"/>
              <a:gd name="T50" fmla="*/ 92 w 120"/>
              <a:gd name="T51" fmla="*/ 24 h 72"/>
              <a:gd name="T52" fmla="*/ 112 w 120"/>
              <a:gd name="T53" fmla="*/ 44 h 72"/>
              <a:gd name="T54" fmla="*/ 92 w 120"/>
              <a:gd name="T55" fmla="*/ 64 h 72"/>
              <a:gd name="T56" fmla="*/ 72 w 120"/>
              <a:gd name="T57" fmla="*/ 44 h 72"/>
              <a:gd name="T58" fmla="*/ 92 w 120"/>
              <a:gd name="T59" fmla="*/ 24 h 72"/>
              <a:gd name="T60" fmla="*/ 28 w 120"/>
              <a:gd name="T61" fmla="*/ 32 h 72"/>
              <a:gd name="T62" fmla="*/ 16 w 120"/>
              <a:gd name="T63" fmla="*/ 44 h 72"/>
              <a:gd name="T64" fmla="*/ 28 w 120"/>
              <a:gd name="T65" fmla="*/ 56 h 72"/>
              <a:gd name="T66" fmla="*/ 40 w 120"/>
              <a:gd name="T67" fmla="*/ 44 h 72"/>
              <a:gd name="T68" fmla="*/ 28 w 120"/>
              <a:gd name="T69" fmla="*/ 32 h 72"/>
              <a:gd name="T70" fmla="*/ 92 w 120"/>
              <a:gd name="T71" fmla="*/ 32 h 72"/>
              <a:gd name="T72" fmla="*/ 80 w 120"/>
              <a:gd name="T73" fmla="*/ 44 h 72"/>
              <a:gd name="T74" fmla="*/ 92 w 120"/>
              <a:gd name="T75" fmla="*/ 56 h 72"/>
              <a:gd name="T76" fmla="*/ 104 w 120"/>
              <a:gd name="T77" fmla="*/ 44 h 72"/>
              <a:gd name="T78" fmla="*/ 92 w 120"/>
              <a:gd name="T79" fmla="*/ 32 h 72"/>
              <a:gd name="T80" fmla="*/ 28 w 120"/>
              <a:gd name="T81" fmla="*/ 36 h 72"/>
              <a:gd name="T82" fmla="*/ 36 w 120"/>
              <a:gd name="T83" fmla="*/ 44 h 72"/>
              <a:gd name="T84" fmla="*/ 28 w 120"/>
              <a:gd name="T85" fmla="*/ 52 h 72"/>
              <a:gd name="T86" fmla="*/ 20 w 120"/>
              <a:gd name="T87" fmla="*/ 44 h 72"/>
              <a:gd name="T88" fmla="*/ 28 w 120"/>
              <a:gd name="T89" fmla="*/ 36 h 72"/>
              <a:gd name="T90" fmla="*/ 92 w 120"/>
              <a:gd name="T91" fmla="*/ 36 h 72"/>
              <a:gd name="T92" fmla="*/ 100 w 120"/>
              <a:gd name="T93" fmla="*/ 44 h 72"/>
              <a:gd name="T94" fmla="*/ 92 w 120"/>
              <a:gd name="T95" fmla="*/ 52 h 72"/>
              <a:gd name="T96" fmla="*/ 84 w 120"/>
              <a:gd name="T97" fmla="*/ 44 h 72"/>
              <a:gd name="T98" fmla="*/ 92 w 120"/>
              <a:gd name="T99" fmla="*/ 36 h 72"/>
              <a:gd name="T100" fmla="*/ 28 w 120"/>
              <a:gd name="T101" fmla="*/ 40 h 72"/>
              <a:gd name="T102" fmla="*/ 24 w 120"/>
              <a:gd name="T103" fmla="*/ 44 h 72"/>
              <a:gd name="T104" fmla="*/ 28 w 120"/>
              <a:gd name="T105" fmla="*/ 48 h 72"/>
              <a:gd name="T106" fmla="*/ 32 w 120"/>
              <a:gd name="T107" fmla="*/ 44 h 72"/>
              <a:gd name="T108" fmla="*/ 28 w 120"/>
              <a:gd name="T109" fmla="*/ 40 h 72"/>
              <a:gd name="T110" fmla="*/ 92 w 120"/>
              <a:gd name="T111" fmla="*/ 40 h 72"/>
              <a:gd name="T112" fmla="*/ 88 w 120"/>
              <a:gd name="T113" fmla="*/ 44 h 72"/>
              <a:gd name="T114" fmla="*/ 92 w 120"/>
              <a:gd name="T115" fmla="*/ 48 h 72"/>
              <a:gd name="T116" fmla="*/ 96 w 120"/>
              <a:gd name="T117" fmla="*/ 44 h 72"/>
              <a:gd name="T118" fmla="*/ 92 w 120"/>
              <a:gd name="T119"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72">
                <a:moveTo>
                  <a:pt x="60" y="0"/>
                </a:moveTo>
                <a:cubicBezTo>
                  <a:pt x="44" y="0"/>
                  <a:pt x="32" y="4"/>
                  <a:pt x="20" y="16"/>
                </a:cubicBezTo>
                <a:cubicBezTo>
                  <a:pt x="0" y="16"/>
                  <a:pt x="0" y="16"/>
                  <a:pt x="0" y="16"/>
                </a:cubicBezTo>
                <a:cubicBezTo>
                  <a:pt x="0" y="16"/>
                  <a:pt x="0" y="22"/>
                  <a:pt x="8" y="24"/>
                </a:cubicBezTo>
                <a:cubicBezTo>
                  <a:pt x="4" y="29"/>
                  <a:pt x="0" y="38"/>
                  <a:pt x="0" y="44"/>
                </a:cubicBezTo>
                <a:cubicBezTo>
                  <a:pt x="0" y="61"/>
                  <a:pt x="11" y="72"/>
                  <a:pt x="28" y="72"/>
                </a:cubicBezTo>
                <a:cubicBezTo>
                  <a:pt x="37" y="72"/>
                  <a:pt x="46" y="67"/>
                  <a:pt x="52" y="60"/>
                </a:cubicBezTo>
                <a:cubicBezTo>
                  <a:pt x="60" y="72"/>
                  <a:pt x="60" y="72"/>
                  <a:pt x="60" y="72"/>
                </a:cubicBezTo>
                <a:cubicBezTo>
                  <a:pt x="68" y="60"/>
                  <a:pt x="68" y="60"/>
                  <a:pt x="68" y="60"/>
                </a:cubicBezTo>
                <a:cubicBezTo>
                  <a:pt x="73" y="67"/>
                  <a:pt x="82" y="72"/>
                  <a:pt x="92" y="72"/>
                </a:cubicBezTo>
                <a:cubicBezTo>
                  <a:pt x="108" y="72"/>
                  <a:pt x="120" y="61"/>
                  <a:pt x="120" y="44"/>
                </a:cubicBezTo>
                <a:cubicBezTo>
                  <a:pt x="120" y="38"/>
                  <a:pt x="115" y="29"/>
                  <a:pt x="112" y="24"/>
                </a:cubicBezTo>
                <a:cubicBezTo>
                  <a:pt x="120" y="22"/>
                  <a:pt x="120" y="16"/>
                  <a:pt x="120" y="16"/>
                </a:cubicBezTo>
                <a:cubicBezTo>
                  <a:pt x="100" y="16"/>
                  <a:pt x="100" y="16"/>
                  <a:pt x="100" y="16"/>
                </a:cubicBezTo>
                <a:cubicBezTo>
                  <a:pt x="88" y="4"/>
                  <a:pt x="76" y="0"/>
                  <a:pt x="60" y="0"/>
                </a:cubicBezTo>
                <a:close/>
                <a:moveTo>
                  <a:pt x="60" y="4"/>
                </a:moveTo>
                <a:cubicBezTo>
                  <a:pt x="80" y="4"/>
                  <a:pt x="92" y="16"/>
                  <a:pt x="92" y="16"/>
                </a:cubicBezTo>
                <a:cubicBezTo>
                  <a:pt x="76" y="16"/>
                  <a:pt x="60" y="36"/>
                  <a:pt x="60" y="56"/>
                </a:cubicBezTo>
                <a:cubicBezTo>
                  <a:pt x="60" y="36"/>
                  <a:pt x="44" y="16"/>
                  <a:pt x="28" y="16"/>
                </a:cubicBezTo>
                <a:cubicBezTo>
                  <a:pt x="28" y="16"/>
                  <a:pt x="40" y="4"/>
                  <a:pt x="60" y="4"/>
                </a:cubicBezTo>
                <a:close/>
                <a:moveTo>
                  <a:pt x="28" y="24"/>
                </a:moveTo>
                <a:cubicBezTo>
                  <a:pt x="39" y="24"/>
                  <a:pt x="48" y="33"/>
                  <a:pt x="48" y="44"/>
                </a:cubicBezTo>
                <a:cubicBezTo>
                  <a:pt x="48" y="55"/>
                  <a:pt x="39" y="64"/>
                  <a:pt x="28" y="64"/>
                </a:cubicBezTo>
                <a:cubicBezTo>
                  <a:pt x="17" y="64"/>
                  <a:pt x="8" y="55"/>
                  <a:pt x="8" y="44"/>
                </a:cubicBezTo>
                <a:cubicBezTo>
                  <a:pt x="8" y="33"/>
                  <a:pt x="17" y="24"/>
                  <a:pt x="28" y="24"/>
                </a:cubicBezTo>
                <a:close/>
                <a:moveTo>
                  <a:pt x="92" y="24"/>
                </a:moveTo>
                <a:cubicBezTo>
                  <a:pt x="103" y="24"/>
                  <a:pt x="112" y="33"/>
                  <a:pt x="112" y="44"/>
                </a:cubicBezTo>
                <a:cubicBezTo>
                  <a:pt x="112" y="55"/>
                  <a:pt x="103" y="64"/>
                  <a:pt x="92" y="64"/>
                </a:cubicBezTo>
                <a:cubicBezTo>
                  <a:pt x="81" y="64"/>
                  <a:pt x="72" y="55"/>
                  <a:pt x="72" y="44"/>
                </a:cubicBezTo>
                <a:cubicBezTo>
                  <a:pt x="72" y="33"/>
                  <a:pt x="81" y="24"/>
                  <a:pt x="92" y="24"/>
                </a:cubicBezTo>
                <a:close/>
                <a:moveTo>
                  <a:pt x="28" y="32"/>
                </a:moveTo>
                <a:cubicBezTo>
                  <a:pt x="21" y="32"/>
                  <a:pt x="16" y="38"/>
                  <a:pt x="16" y="44"/>
                </a:cubicBezTo>
                <a:cubicBezTo>
                  <a:pt x="16" y="51"/>
                  <a:pt x="21" y="56"/>
                  <a:pt x="28" y="56"/>
                </a:cubicBezTo>
                <a:cubicBezTo>
                  <a:pt x="34" y="56"/>
                  <a:pt x="40" y="51"/>
                  <a:pt x="40" y="44"/>
                </a:cubicBezTo>
                <a:cubicBezTo>
                  <a:pt x="40" y="38"/>
                  <a:pt x="34" y="32"/>
                  <a:pt x="28" y="32"/>
                </a:cubicBezTo>
                <a:close/>
                <a:moveTo>
                  <a:pt x="92" y="32"/>
                </a:moveTo>
                <a:cubicBezTo>
                  <a:pt x="85" y="32"/>
                  <a:pt x="80" y="38"/>
                  <a:pt x="80" y="44"/>
                </a:cubicBezTo>
                <a:cubicBezTo>
                  <a:pt x="80" y="51"/>
                  <a:pt x="85" y="56"/>
                  <a:pt x="92" y="56"/>
                </a:cubicBezTo>
                <a:cubicBezTo>
                  <a:pt x="98" y="56"/>
                  <a:pt x="104" y="51"/>
                  <a:pt x="104" y="44"/>
                </a:cubicBezTo>
                <a:cubicBezTo>
                  <a:pt x="104" y="38"/>
                  <a:pt x="98" y="32"/>
                  <a:pt x="92" y="32"/>
                </a:cubicBezTo>
                <a:close/>
                <a:moveTo>
                  <a:pt x="28" y="36"/>
                </a:moveTo>
                <a:cubicBezTo>
                  <a:pt x="32" y="36"/>
                  <a:pt x="36" y="40"/>
                  <a:pt x="36" y="44"/>
                </a:cubicBezTo>
                <a:cubicBezTo>
                  <a:pt x="36" y="49"/>
                  <a:pt x="32" y="52"/>
                  <a:pt x="28" y="52"/>
                </a:cubicBezTo>
                <a:cubicBezTo>
                  <a:pt x="23" y="52"/>
                  <a:pt x="20" y="49"/>
                  <a:pt x="20" y="44"/>
                </a:cubicBezTo>
                <a:cubicBezTo>
                  <a:pt x="20" y="40"/>
                  <a:pt x="23" y="36"/>
                  <a:pt x="28" y="36"/>
                </a:cubicBezTo>
                <a:close/>
                <a:moveTo>
                  <a:pt x="92" y="36"/>
                </a:moveTo>
                <a:cubicBezTo>
                  <a:pt x="96" y="36"/>
                  <a:pt x="100" y="40"/>
                  <a:pt x="100" y="44"/>
                </a:cubicBezTo>
                <a:cubicBezTo>
                  <a:pt x="100" y="49"/>
                  <a:pt x="96" y="52"/>
                  <a:pt x="92" y="52"/>
                </a:cubicBezTo>
                <a:cubicBezTo>
                  <a:pt x="87" y="52"/>
                  <a:pt x="84" y="49"/>
                  <a:pt x="84" y="44"/>
                </a:cubicBezTo>
                <a:cubicBezTo>
                  <a:pt x="84" y="40"/>
                  <a:pt x="87" y="36"/>
                  <a:pt x="92" y="36"/>
                </a:cubicBezTo>
                <a:close/>
                <a:moveTo>
                  <a:pt x="28" y="40"/>
                </a:moveTo>
                <a:cubicBezTo>
                  <a:pt x="25" y="40"/>
                  <a:pt x="24" y="42"/>
                  <a:pt x="24" y="44"/>
                </a:cubicBezTo>
                <a:cubicBezTo>
                  <a:pt x="24" y="47"/>
                  <a:pt x="25" y="48"/>
                  <a:pt x="28" y="48"/>
                </a:cubicBezTo>
                <a:cubicBezTo>
                  <a:pt x="30" y="48"/>
                  <a:pt x="32" y="47"/>
                  <a:pt x="32" y="44"/>
                </a:cubicBezTo>
                <a:cubicBezTo>
                  <a:pt x="32" y="42"/>
                  <a:pt x="30" y="40"/>
                  <a:pt x="28" y="40"/>
                </a:cubicBezTo>
                <a:close/>
                <a:moveTo>
                  <a:pt x="92" y="40"/>
                </a:moveTo>
                <a:cubicBezTo>
                  <a:pt x="89" y="40"/>
                  <a:pt x="88" y="42"/>
                  <a:pt x="88" y="44"/>
                </a:cubicBezTo>
                <a:cubicBezTo>
                  <a:pt x="88" y="47"/>
                  <a:pt x="89" y="48"/>
                  <a:pt x="92" y="48"/>
                </a:cubicBezTo>
                <a:cubicBezTo>
                  <a:pt x="94" y="48"/>
                  <a:pt x="96" y="47"/>
                  <a:pt x="96" y="44"/>
                </a:cubicBezTo>
                <a:cubicBezTo>
                  <a:pt x="96" y="42"/>
                  <a:pt x="94" y="40"/>
                  <a:pt x="92"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6" name="Freeform 215"/>
          <p:cNvSpPr>
            <a:spLocks noEditPoints="1"/>
          </p:cNvSpPr>
          <p:nvPr/>
        </p:nvSpPr>
        <p:spPr bwMode="auto">
          <a:xfrm>
            <a:off x="3932338" y="3860712"/>
            <a:ext cx="193356" cy="241057"/>
          </a:xfrm>
          <a:custGeom>
            <a:avLst/>
            <a:gdLst>
              <a:gd name="T0" fmla="*/ 48 w 96"/>
              <a:gd name="T1" fmla="*/ 24 h 120"/>
              <a:gd name="T2" fmla="*/ 14 w 96"/>
              <a:gd name="T3" fmla="*/ 38 h 120"/>
              <a:gd name="T4" fmla="*/ 12 w 96"/>
              <a:gd name="T5" fmla="*/ 40 h 120"/>
              <a:gd name="T6" fmla="*/ 12 w 96"/>
              <a:gd name="T7" fmla="*/ 6 h 120"/>
              <a:gd name="T8" fmla="*/ 6 w 96"/>
              <a:gd name="T9" fmla="*/ 0 h 120"/>
              <a:gd name="T10" fmla="*/ 0 w 96"/>
              <a:gd name="T11" fmla="*/ 6 h 120"/>
              <a:gd name="T12" fmla="*/ 0 w 96"/>
              <a:gd name="T13" fmla="*/ 69 h 120"/>
              <a:gd name="T14" fmla="*/ 0 w 96"/>
              <a:gd name="T15" fmla="*/ 69 h 120"/>
              <a:gd name="T16" fmla="*/ 0 w 96"/>
              <a:gd name="T17" fmla="*/ 72 h 120"/>
              <a:gd name="T18" fmla="*/ 14 w 96"/>
              <a:gd name="T19" fmla="*/ 106 h 120"/>
              <a:gd name="T20" fmla="*/ 48 w 96"/>
              <a:gd name="T21" fmla="*/ 120 h 120"/>
              <a:gd name="T22" fmla="*/ 82 w 96"/>
              <a:gd name="T23" fmla="*/ 106 h 120"/>
              <a:gd name="T24" fmla="*/ 96 w 96"/>
              <a:gd name="T25" fmla="*/ 72 h 120"/>
              <a:gd name="T26" fmla="*/ 82 w 96"/>
              <a:gd name="T27" fmla="*/ 38 h 120"/>
              <a:gd name="T28" fmla="*/ 48 w 96"/>
              <a:gd name="T29" fmla="*/ 24 h 120"/>
              <a:gd name="T30" fmla="*/ 73 w 96"/>
              <a:gd name="T31" fmla="*/ 97 h 120"/>
              <a:gd name="T32" fmla="*/ 48 w 96"/>
              <a:gd name="T33" fmla="*/ 108 h 120"/>
              <a:gd name="T34" fmla="*/ 22 w 96"/>
              <a:gd name="T35" fmla="*/ 97 h 120"/>
              <a:gd name="T36" fmla="*/ 12 w 96"/>
              <a:gd name="T37" fmla="*/ 72 h 120"/>
              <a:gd name="T38" fmla="*/ 22 w 96"/>
              <a:gd name="T39" fmla="*/ 46 h 120"/>
              <a:gd name="T40" fmla="*/ 48 w 96"/>
              <a:gd name="T41" fmla="*/ 36 h 120"/>
              <a:gd name="T42" fmla="*/ 73 w 96"/>
              <a:gd name="T43" fmla="*/ 46 h 120"/>
              <a:gd name="T44" fmla="*/ 84 w 96"/>
              <a:gd name="T45" fmla="*/ 72 h 120"/>
              <a:gd name="T46" fmla="*/ 73 w 96"/>
              <a:gd name="T47" fmla="*/ 9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20">
                <a:moveTo>
                  <a:pt x="48" y="24"/>
                </a:moveTo>
                <a:cubicBezTo>
                  <a:pt x="35" y="24"/>
                  <a:pt x="23" y="29"/>
                  <a:pt x="14" y="38"/>
                </a:cubicBezTo>
                <a:cubicBezTo>
                  <a:pt x="13" y="39"/>
                  <a:pt x="13" y="39"/>
                  <a:pt x="12" y="40"/>
                </a:cubicBezTo>
                <a:cubicBezTo>
                  <a:pt x="12" y="6"/>
                  <a:pt x="12" y="6"/>
                  <a:pt x="12" y="6"/>
                </a:cubicBezTo>
                <a:cubicBezTo>
                  <a:pt x="12" y="2"/>
                  <a:pt x="9" y="0"/>
                  <a:pt x="6" y="0"/>
                </a:cubicBezTo>
                <a:cubicBezTo>
                  <a:pt x="3" y="0"/>
                  <a:pt x="0" y="2"/>
                  <a:pt x="0" y="6"/>
                </a:cubicBezTo>
                <a:cubicBezTo>
                  <a:pt x="0" y="69"/>
                  <a:pt x="0" y="69"/>
                  <a:pt x="0" y="69"/>
                </a:cubicBezTo>
                <a:cubicBezTo>
                  <a:pt x="0" y="69"/>
                  <a:pt x="0" y="69"/>
                  <a:pt x="0" y="69"/>
                </a:cubicBezTo>
                <a:cubicBezTo>
                  <a:pt x="0" y="70"/>
                  <a:pt x="0" y="71"/>
                  <a:pt x="0" y="72"/>
                </a:cubicBezTo>
                <a:cubicBezTo>
                  <a:pt x="0" y="85"/>
                  <a:pt x="5" y="97"/>
                  <a:pt x="14" y="106"/>
                </a:cubicBezTo>
                <a:cubicBezTo>
                  <a:pt x="23" y="114"/>
                  <a:pt x="35" y="120"/>
                  <a:pt x="48" y="120"/>
                </a:cubicBezTo>
                <a:cubicBezTo>
                  <a:pt x="61" y="120"/>
                  <a:pt x="73" y="114"/>
                  <a:pt x="82" y="106"/>
                </a:cubicBezTo>
                <a:cubicBezTo>
                  <a:pt x="91" y="97"/>
                  <a:pt x="96" y="85"/>
                  <a:pt x="96" y="72"/>
                </a:cubicBezTo>
                <a:cubicBezTo>
                  <a:pt x="96" y="58"/>
                  <a:pt x="91" y="46"/>
                  <a:pt x="82" y="38"/>
                </a:cubicBezTo>
                <a:cubicBezTo>
                  <a:pt x="73" y="29"/>
                  <a:pt x="61" y="24"/>
                  <a:pt x="48" y="24"/>
                </a:cubicBezTo>
                <a:close/>
                <a:moveTo>
                  <a:pt x="73" y="97"/>
                </a:moveTo>
                <a:cubicBezTo>
                  <a:pt x="67" y="104"/>
                  <a:pt x="58" y="108"/>
                  <a:pt x="48" y="108"/>
                </a:cubicBezTo>
                <a:cubicBezTo>
                  <a:pt x="38" y="108"/>
                  <a:pt x="29" y="104"/>
                  <a:pt x="22" y="97"/>
                </a:cubicBezTo>
                <a:cubicBezTo>
                  <a:pt x="16" y="91"/>
                  <a:pt x="12" y="82"/>
                  <a:pt x="12" y="72"/>
                </a:cubicBezTo>
                <a:cubicBezTo>
                  <a:pt x="12" y="62"/>
                  <a:pt x="16" y="53"/>
                  <a:pt x="22" y="46"/>
                </a:cubicBezTo>
                <a:cubicBezTo>
                  <a:pt x="29" y="40"/>
                  <a:pt x="38" y="36"/>
                  <a:pt x="48" y="36"/>
                </a:cubicBezTo>
                <a:cubicBezTo>
                  <a:pt x="58" y="36"/>
                  <a:pt x="67" y="40"/>
                  <a:pt x="73" y="46"/>
                </a:cubicBezTo>
                <a:cubicBezTo>
                  <a:pt x="80" y="53"/>
                  <a:pt x="84" y="62"/>
                  <a:pt x="84" y="72"/>
                </a:cubicBezTo>
                <a:cubicBezTo>
                  <a:pt x="84" y="82"/>
                  <a:pt x="80" y="91"/>
                  <a:pt x="73" y="9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7" name="Oval 216"/>
          <p:cNvSpPr>
            <a:spLocks noChangeArrowheads="1"/>
          </p:cNvSpPr>
          <p:nvPr/>
        </p:nvSpPr>
        <p:spPr bwMode="auto">
          <a:xfrm>
            <a:off x="3973224" y="3987627"/>
            <a:ext cx="41738" cy="4173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8" name="Freeform 217"/>
          <p:cNvSpPr>
            <a:spLocks noEditPoints="1"/>
          </p:cNvSpPr>
          <p:nvPr/>
        </p:nvSpPr>
        <p:spPr bwMode="auto">
          <a:xfrm>
            <a:off x="4407636" y="3860711"/>
            <a:ext cx="209540" cy="243612"/>
          </a:xfrm>
          <a:custGeom>
            <a:avLst/>
            <a:gdLst>
              <a:gd name="T0" fmla="*/ 78 w 104"/>
              <a:gd name="T1" fmla="*/ 23 h 121"/>
              <a:gd name="T2" fmla="*/ 60 w 104"/>
              <a:gd name="T3" fmla="*/ 14 h 121"/>
              <a:gd name="T4" fmla="*/ 48 w 104"/>
              <a:gd name="T5" fmla="*/ 0 h 121"/>
              <a:gd name="T6" fmla="*/ 42 w 104"/>
              <a:gd name="T7" fmla="*/ 14 h 121"/>
              <a:gd name="T8" fmla="*/ 27 w 104"/>
              <a:gd name="T9" fmla="*/ 23 h 121"/>
              <a:gd name="T10" fmla="*/ 0 w 104"/>
              <a:gd name="T11" fmla="*/ 69 h 121"/>
              <a:gd name="T12" fmla="*/ 53 w 104"/>
              <a:gd name="T13" fmla="*/ 120 h 121"/>
              <a:gd name="T14" fmla="*/ 104 w 104"/>
              <a:gd name="T15" fmla="*/ 69 h 121"/>
              <a:gd name="T16" fmla="*/ 78 w 104"/>
              <a:gd name="T17" fmla="*/ 23 h 121"/>
              <a:gd name="T18" fmla="*/ 79 w 104"/>
              <a:gd name="T19" fmla="*/ 109 h 121"/>
              <a:gd name="T20" fmla="*/ 67 w 104"/>
              <a:gd name="T21" fmla="*/ 114 h 121"/>
              <a:gd name="T22" fmla="*/ 47 w 104"/>
              <a:gd name="T23" fmla="*/ 110 h 121"/>
              <a:gd name="T24" fmla="*/ 47 w 104"/>
              <a:gd name="T25" fmla="*/ 108 h 121"/>
              <a:gd name="T26" fmla="*/ 49 w 104"/>
              <a:gd name="T27" fmla="*/ 107 h 121"/>
              <a:gd name="T28" fmla="*/ 50 w 104"/>
              <a:gd name="T29" fmla="*/ 107 h 121"/>
              <a:gd name="T30" fmla="*/ 63 w 104"/>
              <a:gd name="T31" fmla="*/ 110 h 121"/>
              <a:gd name="T32" fmla="*/ 77 w 104"/>
              <a:gd name="T33" fmla="*/ 106 h 121"/>
              <a:gd name="T34" fmla="*/ 79 w 104"/>
              <a:gd name="T35" fmla="*/ 107 h 121"/>
              <a:gd name="T36" fmla="*/ 79 w 104"/>
              <a:gd name="T37" fmla="*/ 109 h 121"/>
              <a:gd name="T38" fmla="*/ 59 w 104"/>
              <a:gd name="T39" fmla="*/ 99 h 121"/>
              <a:gd name="T40" fmla="*/ 64 w 104"/>
              <a:gd name="T41" fmla="*/ 95 h 121"/>
              <a:gd name="T42" fmla="*/ 69 w 104"/>
              <a:gd name="T43" fmla="*/ 94 h 121"/>
              <a:gd name="T44" fmla="*/ 74 w 104"/>
              <a:gd name="T45" fmla="*/ 95 h 121"/>
              <a:gd name="T46" fmla="*/ 77 w 104"/>
              <a:gd name="T47" fmla="*/ 100 h 121"/>
              <a:gd name="T48" fmla="*/ 76 w 104"/>
              <a:gd name="T49" fmla="*/ 102 h 121"/>
              <a:gd name="T50" fmla="*/ 74 w 104"/>
              <a:gd name="T51" fmla="*/ 101 h 121"/>
              <a:gd name="T52" fmla="*/ 68 w 104"/>
              <a:gd name="T53" fmla="*/ 98 h 121"/>
              <a:gd name="T54" fmla="*/ 61 w 104"/>
              <a:gd name="T55" fmla="*/ 101 h 121"/>
              <a:gd name="T56" fmla="*/ 58 w 104"/>
              <a:gd name="T57" fmla="*/ 102 h 121"/>
              <a:gd name="T58" fmla="*/ 59 w 104"/>
              <a:gd name="T59" fmla="*/ 99 h 121"/>
              <a:gd name="T60" fmla="*/ 100 w 104"/>
              <a:gd name="T61" fmla="*/ 77 h 121"/>
              <a:gd name="T62" fmla="*/ 96 w 104"/>
              <a:gd name="T63" fmla="*/ 91 h 121"/>
              <a:gd name="T64" fmla="*/ 88 w 104"/>
              <a:gd name="T65" fmla="*/ 96 h 121"/>
              <a:gd name="T66" fmla="*/ 71 w 104"/>
              <a:gd name="T67" fmla="*/ 83 h 121"/>
              <a:gd name="T68" fmla="*/ 38 w 104"/>
              <a:gd name="T69" fmla="*/ 97 h 121"/>
              <a:gd name="T70" fmla="*/ 27 w 104"/>
              <a:gd name="T71" fmla="*/ 94 h 121"/>
              <a:gd name="T72" fmla="*/ 22 w 104"/>
              <a:gd name="T73" fmla="*/ 83 h 121"/>
              <a:gd name="T74" fmla="*/ 41 w 104"/>
              <a:gd name="T75" fmla="*/ 66 h 121"/>
              <a:gd name="T76" fmla="*/ 71 w 104"/>
              <a:gd name="T77" fmla="*/ 79 h 121"/>
              <a:gd name="T78" fmla="*/ 93 w 104"/>
              <a:gd name="T79" fmla="*/ 67 h 121"/>
              <a:gd name="T80" fmla="*/ 100 w 104"/>
              <a:gd name="T81" fmla="*/ 77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 h="121">
                <a:moveTo>
                  <a:pt x="78" y="23"/>
                </a:moveTo>
                <a:cubicBezTo>
                  <a:pt x="72" y="19"/>
                  <a:pt x="66" y="17"/>
                  <a:pt x="60" y="14"/>
                </a:cubicBezTo>
                <a:cubicBezTo>
                  <a:pt x="57" y="11"/>
                  <a:pt x="52" y="5"/>
                  <a:pt x="48" y="0"/>
                </a:cubicBezTo>
                <a:cubicBezTo>
                  <a:pt x="47" y="8"/>
                  <a:pt x="44" y="12"/>
                  <a:pt x="42" y="14"/>
                </a:cubicBezTo>
                <a:cubicBezTo>
                  <a:pt x="36" y="19"/>
                  <a:pt x="32" y="20"/>
                  <a:pt x="27" y="23"/>
                </a:cubicBezTo>
                <a:cubicBezTo>
                  <a:pt x="23" y="25"/>
                  <a:pt x="0" y="39"/>
                  <a:pt x="0" y="69"/>
                </a:cubicBezTo>
                <a:cubicBezTo>
                  <a:pt x="0" y="99"/>
                  <a:pt x="25" y="121"/>
                  <a:pt x="53" y="120"/>
                </a:cubicBezTo>
                <a:cubicBezTo>
                  <a:pt x="80" y="120"/>
                  <a:pt x="104" y="100"/>
                  <a:pt x="104" y="69"/>
                </a:cubicBezTo>
                <a:cubicBezTo>
                  <a:pt x="104" y="39"/>
                  <a:pt x="81" y="25"/>
                  <a:pt x="78" y="23"/>
                </a:cubicBezTo>
                <a:close/>
                <a:moveTo>
                  <a:pt x="79" y="109"/>
                </a:moveTo>
                <a:cubicBezTo>
                  <a:pt x="78" y="109"/>
                  <a:pt x="73" y="113"/>
                  <a:pt x="67" y="114"/>
                </a:cubicBezTo>
                <a:cubicBezTo>
                  <a:pt x="60" y="114"/>
                  <a:pt x="52" y="115"/>
                  <a:pt x="47" y="110"/>
                </a:cubicBezTo>
                <a:cubicBezTo>
                  <a:pt x="46" y="109"/>
                  <a:pt x="46" y="108"/>
                  <a:pt x="47" y="108"/>
                </a:cubicBezTo>
                <a:cubicBezTo>
                  <a:pt x="48" y="107"/>
                  <a:pt x="48" y="107"/>
                  <a:pt x="49" y="107"/>
                </a:cubicBezTo>
                <a:cubicBezTo>
                  <a:pt x="49" y="107"/>
                  <a:pt x="49" y="107"/>
                  <a:pt x="50" y="107"/>
                </a:cubicBezTo>
                <a:cubicBezTo>
                  <a:pt x="52" y="109"/>
                  <a:pt x="55" y="110"/>
                  <a:pt x="63" y="110"/>
                </a:cubicBezTo>
                <a:cubicBezTo>
                  <a:pt x="70" y="110"/>
                  <a:pt x="75" y="108"/>
                  <a:pt x="77" y="106"/>
                </a:cubicBezTo>
                <a:cubicBezTo>
                  <a:pt x="78" y="106"/>
                  <a:pt x="79" y="106"/>
                  <a:pt x="79" y="107"/>
                </a:cubicBezTo>
                <a:cubicBezTo>
                  <a:pt x="79" y="107"/>
                  <a:pt x="79" y="108"/>
                  <a:pt x="79" y="109"/>
                </a:cubicBezTo>
                <a:close/>
                <a:moveTo>
                  <a:pt x="59" y="99"/>
                </a:moveTo>
                <a:cubicBezTo>
                  <a:pt x="60" y="98"/>
                  <a:pt x="62" y="96"/>
                  <a:pt x="64" y="95"/>
                </a:cubicBezTo>
                <a:cubicBezTo>
                  <a:pt x="66" y="94"/>
                  <a:pt x="67" y="94"/>
                  <a:pt x="69" y="94"/>
                </a:cubicBezTo>
                <a:cubicBezTo>
                  <a:pt x="71" y="94"/>
                  <a:pt x="73" y="95"/>
                  <a:pt x="74" y="95"/>
                </a:cubicBezTo>
                <a:cubicBezTo>
                  <a:pt x="75" y="96"/>
                  <a:pt x="76" y="98"/>
                  <a:pt x="77" y="100"/>
                </a:cubicBezTo>
                <a:cubicBezTo>
                  <a:pt x="77" y="101"/>
                  <a:pt x="77" y="101"/>
                  <a:pt x="76" y="102"/>
                </a:cubicBezTo>
                <a:cubicBezTo>
                  <a:pt x="75" y="102"/>
                  <a:pt x="75" y="102"/>
                  <a:pt x="74" y="101"/>
                </a:cubicBezTo>
                <a:cubicBezTo>
                  <a:pt x="73" y="99"/>
                  <a:pt x="72" y="98"/>
                  <a:pt x="68" y="98"/>
                </a:cubicBezTo>
                <a:cubicBezTo>
                  <a:pt x="64" y="98"/>
                  <a:pt x="63" y="99"/>
                  <a:pt x="61" y="101"/>
                </a:cubicBezTo>
                <a:cubicBezTo>
                  <a:pt x="59" y="102"/>
                  <a:pt x="59" y="103"/>
                  <a:pt x="58" y="102"/>
                </a:cubicBezTo>
                <a:cubicBezTo>
                  <a:pt x="57" y="101"/>
                  <a:pt x="57" y="100"/>
                  <a:pt x="59" y="99"/>
                </a:cubicBezTo>
                <a:close/>
                <a:moveTo>
                  <a:pt x="100" y="77"/>
                </a:moveTo>
                <a:cubicBezTo>
                  <a:pt x="100" y="80"/>
                  <a:pt x="99" y="87"/>
                  <a:pt x="96" y="91"/>
                </a:cubicBezTo>
                <a:cubicBezTo>
                  <a:pt x="93" y="95"/>
                  <a:pt x="92" y="96"/>
                  <a:pt x="88" y="96"/>
                </a:cubicBezTo>
                <a:cubicBezTo>
                  <a:pt x="84" y="96"/>
                  <a:pt x="76" y="83"/>
                  <a:pt x="71" y="83"/>
                </a:cubicBezTo>
                <a:cubicBezTo>
                  <a:pt x="64" y="83"/>
                  <a:pt x="50" y="97"/>
                  <a:pt x="38" y="97"/>
                </a:cubicBezTo>
                <a:cubicBezTo>
                  <a:pt x="32" y="97"/>
                  <a:pt x="30" y="96"/>
                  <a:pt x="27" y="94"/>
                </a:cubicBezTo>
                <a:cubicBezTo>
                  <a:pt x="24" y="92"/>
                  <a:pt x="22" y="88"/>
                  <a:pt x="22" y="83"/>
                </a:cubicBezTo>
                <a:cubicBezTo>
                  <a:pt x="22" y="74"/>
                  <a:pt x="31" y="66"/>
                  <a:pt x="41" y="66"/>
                </a:cubicBezTo>
                <a:cubicBezTo>
                  <a:pt x="54" y="65"/>
                  <a:pt x="64" y="79"/>
                  <a:pt x="71" y="79"/>
                </a:cubicBezTo>
                <a:cubicBezTo>
                  <a:pt x="76" y="79"/>
                  <a:pt x="87" y="67"/>
                  <a:pt x="93" y="67"/>
                </a:cubicBezTo>
                <a:cubicBezTo>
                  <a:pt x="98" y="67"/>
                  <a:pt x="100" y="73"/>
                  <a:pt x="100" y="7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69" name="Freeform 218"/>
          <p:cNvSpPr>
            <a:spLocks/>
          </p:cNvSpPr>
          <p:nvPr/>
        </p:nvSpPr>
        <p:spPr bwMode="auto">
          <a:xfrm>
            <a:off x="4934042" y="3860712"/>
            <a:ext cx="128620" cy="241057"/>
          </a:xfrm>
          <a:custGeom>
            <a:avLst/>
            <a:gdLst>
              <a:gd name="T0" fmla="*/ 50 w 64"/>
              <a:gd name="T1" fmla="*/ 34 h 120"/>
              <a:gd name="T2" fmla="*/ 55 w 64"/>
              <a:gd name="T3" fmla="*/ 35 h 120"/>
              <a:gd name="T4" fmla="*/ 64 w 64"/>
              <a:gd name="T5" fmla="*/ 27 h 120"/>
              <a:gd name="T6" fmla="*/ 55 w 64"/>
              <a:gd name="T7" fmla="*/ 18 h 120"/>
              <a:gd name="T8" fmla="*/ 46 w 64"/>
              <a:gd name="T9" fmla="*/ 27 h 120"/>
              <a:gd name="T10" fmla="*/ 46 w 64"/>
              <a:gd name="T11" fmla="*/ 28 h 120"/>
              <a:gd name="T12" fmla="*/ 36 w 64"/>
              <a:gd name="T13" fmla="*/ 36 h 120"/>
              <a:gd name="T14" fmla="*/ 36 w 64"/>
              <a:gd name="T15" fmla="*/ 0 h 120"/>
              <a:gd name="T16" fmla="*/ 27 w 64"/>
              <a:gd name="T17" fmla="*/ 0 h 120"/>
              <a:gd name="T18" fmla="*/ 27 w 64"/>
              <a:gd name="T19" fmla="*/ 19 h 120"/>
              <a:gd name="T20" fmla="*/ 17 w 64"/>
              <a:gd name="T21" fmla="*/ 11 h 120"/>
              <a:gd name="T22" fmla="*/ 17 w 64"/>
              <a:gd name="T23" fmla="*/ 9 h 120"/>
              <a:gd name="T24" fmla="*/ 8 w 64"/>
              <a:gd name="T25" fmla="*/ 1 h 120"/>
              <a:gd name="T26" fmla="*/ 0 w 64"/>
              <a:gd name="T27" fmla="*/ 9 h 120"/>
              <a:gd name="T28" fmla="*/ 8 w 64"/>
              <a:gd name="T29" fmla="*/ 18 h 120"/>
              <a:gd name="T30" fmla="*/ 12 w 64"/>
              <a:gd name="T31" fmla="*/ 17 h 120"/>
              <a:gd name="T32" fmla="*/ 27 w 64"/>
              <a:gd name="T33" fmla="*/ 28 h 120"/>
              <a:gd name="T34" fmla="*/ 27 w 64"/>
              <a:gd name="T35" fmla="*/ 51 h 120"/>
              <a:gd name="T36" fmla="*/ 17 w 64"/>
              <a:gd name="T37" fmla="*/ 44 h 120"/>
              <a:gd name="T38" fmla="*/ 17 w 64"/>
              <a:gd name="T39" fmla="*/ 42 h 120"/>
              <a:gd name="T40" fmla="*/ 8 w 64"/>
              <a:gd name="T41" fmla="*/ 34 h 120"/>
              <a:gd name="T42" fmla="*/ 0 w 64"/>
              <a:gd name="T43" fmla="*/ 42 h 120"/>
              <a:gd name="T44" fmla="*/ 8 w 64"/>
              <a:gd name="T45" fmla="*/ 51 h 120"/>
              <a:gd name="T46" fmla="*/ 12 w 64"/>
              <a:gd name="T47" fmla="*/ 50 h 120"/>
              <a:gd name="T48" fmla="*/ 27 w 64"/>
              <a:gd name="T49" fmla="*/ 60 h 120"/>
              <a:gd name="T50" fmla="*/ 27 w 64"/>
              <a:gd name="T51" fmla="*/ 86 h 120"/>
              <a:gd name="T52" fmla="*/ 17 w 64"/>
              <a:gd name="T53" fmla="*/ 78 h 120"/>
              <a:gd name="T54" fmla="*/ 17 w 64"/>
              <a:gd name="T55" fmla="*/ 77 h 120"/>
              <a:gd name="T56" fmla="*/ 8 w 64"/>
              <a:gd name="T57" fmla="*/ 68 h 120"/>
              <a:gd name="T58" fmla="*/ 0 w 64"/>
              <a:gd name="T59" fmla="*/ 77 h 120"/>
              <a:gd name="T60" fmla="*/ 8 w 64"/>
              <a:gd name="T61" fmla="*/ 85 h 120"/>
              <a:gd name="T62" fmla="*/ 12 w 64"/>
              <a:gd name="T63" fmla="*/ 84 h 120"/>
              <a:gd name="T64" fmla="*/ 27 w 64"/>
              <a:gd name="T65" fmla="*/ 94 h 120"/>
              <a:gd name="T66" fmla="*/ 27 w 64"/>
              <a:gd name="T67" fmla="*/ 120 h 120"/>
              <a:gd name="T68" fmla="*/ 28 w 64"/>
              <a:gd name="T69" fmla="*/ 120 h 120"/>
              <a:gd name="T70" fmla="*/ 35 w 64"/>
              <a:gd name="T71" fmla="*/ 120 h 120"/>
              <a:gd name="T72" fmla="*/ 36 w 64"/>
              <a:gd name="T73" fmla="*/ 120 h 120"/>
              <a:gd name="T74" fmla="*/ 36 w 64"/>
              <a:gd name="T75" fmla="*/ 111 h 120"/>
              <a:gd name="T76" fmla="*/ 50 w 64"/>
              <a:gd name="T77" fmla="*/ 101 h 120"/>
              <a:gd name="T78" fmla="*/ 55 w 64"/>
              <a:gd name="T79" fmla="*/ 102 h 120"/>
              <a:gd name="T80" fmla="*/ 64 w 64"/>
              <a:gd name="T81" fmla="*/ 94 h 120"/>
              <a:gd name="T82" fmla="*/ 55 w 64"/>
              <a:gd name="T83" fmla="*/ 85 h 120"/>
              <a:gd name="T84" fmla="*/ 46 w 64"/>
              <a:gd name="T85" fmla="*/ 94 h 120"/>
              <a:gd name="T86" fmla="*/ 46 w 64"/>
              <a:gd name="T87" fmla="*/ 95 h 120"/>
              <a:gd name="T88" fmla="*/ 36 w 64"/>
              <a:gd name="T89" fmla="*/ 102 h 120"/>
              <a:gd name="T90" fmla="*/ 36 w 64"/>
              <a:gd name="T91" fmla="*/ 77 h 120"/>
              <a:gd name="T92" fmla="*/ 50 w 64"/>
              <a:gd name="T93" fmla="*/ 67 h 120"/>
              <a:gd name="T94" fmla="*/ 55 w 64"/>
              <a:gd name="T95" fmla="*/ 68 h 120"/>
              <a:gd name="T96" fmla="*/ 64 w 64"/>
              <a:gd name="T97" fmla="*/ 60 h 120"/>
              <a:gd name="T98" fmla="*/ 55 w 64"/>
              <a:gd name="T99" fmla="*/ 51 h 120"/>
              <a:gd name="T100" fmla="*/ 46 w 64"/>
              <a:gd name="T101" fmla="*/ 60 h 120"/>
              <a:gd name="T102" fmla="*/ 46 w 64"/>
              <a:gd name="T103" fmla="*/ 61 h 120"/>
              <a:gd name="T104" fmla="*/ 36 w 64"/>
              <a:gd name="T105" fmla="*/ 68 h 120"/>
              <a:gd name="T106" fmla="*/ 36 w 64"/>
              <a:gd name="T107" fmla="*/ 45 h 120"/>
              <a:gd name="T108" fmla="*/ 50 w 64"/>
              <a:gd name="T109" fmla="*/ 3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4" h="120">
                <a:moveTo>
                  <a:pt x="50" y="34"/>
                </a:moveTo>
                <a:cubicBezTo>
                  <a:pt x="52" y="35"/>
                  <a:pt x="53" y="35"/>
                  <a:pt x="55" y="35"/>
                </a:cubicBezTo>
                <a:cubicBezTo>
                  <a:pt x="60" y="35"/>
                  <a:pt x="64" y="32"/>
                  <a:pt x="64" y="27"/>
                </a:cubicBezTo>
                <a:cubicBezTo>
                  <a:pt x="64" y="22"/>
                  <a:pt x="60" y="18"/>
                  <a:pt x="55" y="18"/>
                </a:cubicBezTo>
                <a:cubicBezTo>
                  <a:pt x="50" y="18"/>
                  <a:pt x="46" y="22"/>
                  <a:pt x="46" y="27"/>
                </a:cubicBezTo>
                <a:cubicBezTo>
                  <a:pt x="46" y="27"/>
                  <a:pt x="46" y="28"/>
                  <a:pt x="46" y="28"/>
                </a:cubicBezTo>
                <a:cubicBezTo>
                  <a:pt x="36" y="36"/>
                  <a:pt x="36" y="36"/>
                  <a:pt x="36" y="36"/>
                </a:cubicBezTo>
                <a:cubicBezTo>
                  <a:pt x="36" y="0"/>
                  <a:pt x="36" y="0"/>
                  <a:pt x="36" y="0"/>
                </a:cubicBezTo>
                <a:cubicBezTo>
                  <a:pt x="27" y="0"/>
                  <a:pt x="27" y="0"/>
                  <a:pt x="27" y="0"/>
                </a:cubicBezTo>
                <a:cubicBezTo>
                  <a:pt x="27" y="19"/>
                  <a:pt x="27" y="19"/>
                  <a:pt x="27" y="19"/>
                </a:cubicBezTo>
                <a:cubicBezTo>
                  <a:pt x="17" y="11"/>
                  <a:pt x="17" y="11"/>
                  <a:pt x="17" y="11"/>
                </a:cubicBezTo>
                <a:cubicBezTo>
                  <a:pt x="17" y="11"/>
                  <a:pt x="17" y="10"/>
                  <a:pt x="17" y="9"/>
                </a:cubicBezTo>
                <a:cubicBezTo>
                  <a:pt x="17" y="5"/>
                  <a:pt x="13" y="1"/>
                  <a:pt x="8" y="1"/>
                </a:cubicBezTo>
                <a:cubicBezTo>
                  <a:pt x="3" y="1"/>
                  <a:pt x="0" y="5"/>
                  <a:pt x="0" y="9"/>
                </a:cubicBezTo>
                <a:cubicBezTo>
                  <a:pt x="0" y="14"/>
                  <a:pt x="3" y="18"/>
                  <a:pt x="8" y="18"/>
                </a:cubicBezTo>
                <a:cubicBezTo>
                  <a:pt x="10" y="18"/>
                  <a:pt x="11" y="18"/>
                  <a:pt x="12" y="17"/>
                </a:cubicBezTo>
                <a:cubicBezTo>
                  <a:pt x="27" y="28"/>
                  <a:pt x="27" y="28"/>
                  <a:pt x="27" y="28"/>
                </a:cubicBezTo>
                <a:cubicBezTo>
                  <a:pt x="27" y="51"/>
                  <a:pt x="27" y="51"/>
                  <a:pt x="27" y="51"/>
                </a:cubicBezTo>
                <a:cubicBezTo>
                  <a:pt x="17" y="44"/>
                  <a:pt x="17" y="44"/>
                  <a:pt x="17" y="44"/>
                </a:cubicBezTo>
                <a:cubicBezTo>
                  <a:pt x="17" y="43"/>
                  <a:pt x="17" y="43"/>
                  <a:pt x="17" y="42"/>
                </a:cubicBezTo>
                <a:cubicBezTo>
                  <a:pt x="17" y="38"/>
                  <a:pt x="13" y="34"/>
                  <a:pt x="8" y="34"/>
                </a:cubicBezTo>
                <a:cubicBezTo>
                  <a:pt x="3" y="34"/>
                  <a:pt x="0" y="38"/>
                  <a:pt x="0" y="42"/>
                </a:cubicBezTo>
                <a:cubicBezTo>
                  <a:pt x="0" y="47"/>
                  <a:pt x="3" y="51"/>
                  <a:pt x="8" y="51"/>
                </a:cubicBezTo>
                <a:cubicBezTo>
                  <a:pt x="10" y="51"/>
                  <a:pt x="11" y="50"/>
                  <a:pt x="12" y="50"/>
                </a:cubicBezTo>
                <a:cubicBezTo>
                  <a:pt x="27" y="60"/>
                  <a:pt x="27" y="60"/>
                  <a:pt x="27" y="60"/>
                </a:cubicBezTo>
                <a:cubicBezTo>
                  <a:pt x="27" y="86"/>
                  <a:pt x="27" y="86"/>
                  <a:pt x="27" y="86"/>
                </a:cubicBezTo>
                <a:cubicBezTo>
                  <a:pt x="17" y="78"/>
                  <a:pt x="17" y="78"/>
                  <a:pt x="17" y="78"/>
                </a:cubicBezTo>
                <a:cubicBezTo>
                  <a:pt x="17" y="77"/>
                  <a:pt x="17" y="77"/>
                  <a:pt x="17" y="77"/>
                </a:cubicBezTo>
                <a:cubicBezTo>
                  <a:pt x="17" y="72"/>
                  <a:pt x="13" y="68"/>
                  <a:pt x="8" y="68"/>
                </a:cubicBezTo>
                <a:cubicBezTo>
                  <a:pt x="3" y="68"/>
                  <a:pt x="0" y="72"/>
                  <a:pt x="0" y="77"/>
                </a:cubicBezTo>
                <a:cubicBezTo>
                  <a:pt x="0" y="81"/>
                  <a:pt x="3" y="85"/>
                  <a:pt x="8" y="85"/>
                </a:cubicBezTo>
                <a:cubicBezTo>
                  <a:pt x="10" y="85"/>
                  <a:pt x="11" y="85"/>
                  <a:pt x="12" y="84"/>
                </a:cubicBezTo>
                <a:cubicBezTo>
                  <a:pt x="27" y="94"/>
                  <a:pt x="27" y="94"/>
                  <a:pt x="27" y="94"/>
                </a:cubicBezTo>
                <a:cubicBezTo>
                  <a:pt x="27" y="120"/>
                  <a:pt x="27" y="120"/>
                  <a:pt x="27" y="120"/>
                </a:cubicBezTo>
                <a:cubicBezTo>
                  <a:pt x="28" y="120"/>
                  <a:pt x="28" y="120"/>
                  <a:pt x="28" y="120"/>
                </a:cubicBezTo>
                <a:cubicBezTo>
                  <a:pt x="35" y="120"/>
                  <a:pt x="35" y="120"/>
                  <a:pt x="35" y="120"/>
                </a:cubicBezTo>
                <a:cubicBezTo>
                  <a:pt x="36" y="120"/>
                  <a:pt x="36" y="120"/>
                  <a:pt x="36" y="120"/>
                </a:cubicBezTo>
                <a:cubicBezTo>
                  <a:pt x="36" y="111"/>
                  <a:pt x="36" y="111"/>
                  <a:pt x="36" y="111"/>
                </a:cubicBezTo>
                <a:cubicBezTo>
                  <a:pt x="50" y="101"/>
                  <a:pt x="50" y="101"/>
                  <a:pt x="50" y="101"/>
                </a:cubicBezTo>
                <a:cubicBezTo>
                  <a:pt x="52" y="102"/>
                  <a:pt x="53" y="102"/>
                  <a:pt x="55" y="102"/>
                </a:cubicBezTo>
                <a:cubicBezTo>
                  <a:pt x="60" y="102"/>
                  <a:pt x="64" y="99"/>
                  <a:pt x="64" y="94"/>
                </a:cubicBezTo>
                <a:cubicBezTo>
                  <a:pt x="64" y="89"/>
                  <a:pt x="60" y="85"/>
                  <a:pt x="55" y="85"/>
                </a:cubicBezTo>
                <a:cubicBezTo>
                  <a:pt x="50" y="85"/>
                  <a:pt x="46" y="89"/>
                  <a:pt x="46" y="94"/>
                </a:cubicBezTo>
                <a:cubicBezTo>
                  <a:pt x="46" y="94"/>
                  <a:pt x="46" y="95"/>
                  <a:pt x="46" y="95"/>
                </a:cubicBezTo>
                <a:cubicBezTo>
                  <a:pt x="36" y="102"/>
                  <a:pt x="36" y="102"/>
                  <a:pt x="36" y="102"/>
                </a:cubicBezTo>
                <a:cubicBezTo>
                  <a:pt x="36" y="77"/>
                  <a:pt x="36" y="77"/>
                  <a:pt x="36" y="77"/>
                </a:cubicBezTo>
                <a:cubicBezTo>
                  <a:pt x="50" y="67"/>
                  <a:pt x="50" y="67"/>
                  <a:pt x="50" y="67"/>
                </a:cubicBezTo>
                <a:cubicBezTo>
                  <a:pt x="52" y="68"/>
                  <a:pt x="53" y="68"/>
                  <a:pt x="55" y="68"/>
                </a:cubicBezTo>
                <a:cubicBezTo>
                  <a:pt x="60" y="68"/>
                  <a:pt x="64" y="64"/>
                  <a:pt x="64" y="60"/>
                </a:cubicBezTo>
                <a:cubicBezTo>
                  <a:pt x="64" y="55"/>
                  <a:pt x="60" y="51"/>
                  <a:pt x="55" y="51"/>
                </a:cubicBezTo>
                <a:cubicBezTo>
                  <a:pt x="50" y="51"/>
                  <a:pt x="46" y="55"/>
                  <a:pt x="46" y="60"/>
                </a:cubicBezTo>
                <a:cubicBezTo>
                  <a:pt x="46" y="60"/>
                  <a:pt x="46" y="60"/>
                  <a:pt x="46" y="61"/>
                </a:cubicBezTo>
                <a:cubicBezTo>
                  <a:pt x="36" y="68"/>
                  <a:pt x="36" y="68"/>
                  <a:pt x="36" y="68"/>
                </a:cubicBezTo>
                <a:cubicBezTo>
                  <a:pt x="36" y="45"/>
                  <a:pt x="36" y="45"/>
                  <a:pt x="36" y="45"/>
                </a:cubicBezTo>
                <a:lnTo>
                  <a:pt x="50"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0" name="Freeform 219"/>
          <p:cNvSpPr>
            <a:spLocks/>
          </p:cNvSpPr>
          <p:nvPr/>
        </p:nvSpPr>
        <p:spPr bwMode="auto">
          <a:xfrm>
            <a:off x="5358232" y="3908412"/>
            <a:ext cx="241908" cy="165247"/>
          </a:xfrm>
          <a:custGeom>
            <a:avLst/>
            <a:gdLst>
              <a:gd name="T0" fmla="*/ 7 w 120"/>
              <a:gd name="T1" fmla="*/ 5 h 82"/>
              <a:gd name="T2" fmla="*/ 39 w 120"/>
              <a:gd name="T3" fmla="*/ 77 h 82"/>
              <a:gd name="T4" fmla="*/ 61 w 120"/>
              <a:gd name="T5" fmla="*/ 46 h 82"/>
              <a:gd name="T6" fmla="*/ 81 w 120"/>
              <a:gd name="T7" fmla="*/ 77 h 82"/>
              <a:gd name="T8" fmla="*/ 112 w 120"/>
              <a:gd name="T9" fmla="*/ 6 h 82"/>
              <a:gd name="T10" fmla="*/ 120 w 120"/>
              <a:gd name="T11" fmla="*/ 3 h 82"/>
              <a:gd name="T12" fmla="*/ 120 w 120"/>
              <a:gd name="T13" fmla="*/ 0 h 82"/>
              <a:gd name="T14" fmla="*/ 93 w 120"/>
              <a:gd name="T15" fmla="*/ 1 h 82"/>
              <a:gd name="T16" fmla="*/ 95 w 120"/>
              <a:gd name="T17" fmla="*/ 4 h 82"/>
              <a:gd name="T18" fmla="*/ 98 w 120"/>
              <a:gd name="T19" fmla="*/ 4 h 82"/>
              <a:gd name="T20" fmla="*/ 103 w 120"/>
              <a:gd name="T21" fmla="*/ 10 h 82"/>
              <a:gd name="T22" fmla="*/ 80 w 120"/>
              <a:gd name="T23" fmla="*/ 65 h 82"/>
              <a:gd name="T24" fmla="*/ 66 w 120"/>
              <a:gd name="T25" fmla="*/ 34 h 82"/>
              <a:gd name="T26" fmla="*/ 81 w 120"/>
              <a:gd name="T27" fmla="*/ 6 h 82"/>
              <a:gd name="T28" fmla="*/ 87 w 120"/>
              <a:gd name="T29" fmla="*/ 3 h 82"/>
              <a:gd name="T30" fmla="*/ 87 w 120"/>
              <a:gd name="T31" fmla="*/ 1 h 82"/>
              <a:gd name="T32" fmla="*/ 67 w 120"/>
              <a:gd name="T33" fmla="*/ 1 h 82"/>
              <a:gd name="T34" fmla="*/ 67 w 120"/>
              <a:gd name="T35" fmla="*/ 4 h 82"/>
              <a:gd name="T36" fmla="*/ 68 w 120"/>
              <a:gd name="T37" fmla="*/ 4 h 82"/>
              <a:gd name="T38" fmla="*/ 72 w 120"/>
              <a:gd name="T39" fmla="*/ 10 h 82"/>
              <a:gd name="T40" fmla="*/ 55 w 120"/>
              <a:gd name="T41" fmla="*/ 12 h 82"/>
              <a:gd name="T42" fmla="*/ 57 w 120"/>
              <a:gd name="T43" fmla="*/ 4 h 82"/>
              <a:gd name="T44" fmla="*/ 57 w 120"/>
              <a:gd name="T45" fmla="*/ 1 h 82"/>
              <a:gd name="T46" fmla="*/ 36 w 120"/>
              <a:gd name="T47" fmla="*/ 1 h 82"/>
              <a:gd name="T48" fmla="*/ 36 w 120"/>
              <a:gd name="T49" fmla="*/ 3 h 82"/>
              <a:gd name="T50" fmla="*/ 45 w 120"/>
              <a:gd name="T51" fmla="*/ 12 h 82"/>
              <a:gd name="T52" fmla="*/ 55 w 120"/>
              <a:gd name="T53" fmla="*/ 34 h 82"/>
              <a:gd name="T54" fmla="*/ 46 w 120"/>
              <a:gd name="T55" fmla="*/ 65 h 82"/>
              <a:gd name="T56" fmla="*/ 21 w 120"/>
              <a:gd name="T57" fmla="*/ 10 h 82"/>
              <a:gd name="T58" fmla="*/ 24 w 120"/>
              <a:gd name="T59" fmla="*/ 4 h 82"/>
              <a:gd name="T60" fmla="*/ 29 w 120"/>
              <a:gd name="T61" fmla="*/ 3 h 82"/>
              <a:gd name="T62" fmla="*/ 28 w 120"/>
              <a:gd name="T63" fmla="*/ 1 h 82"/>
              <a:gd name="T64" fmla="*/ 0 w 120"/>
              <a:gd name="T65" fmla="*/ 1 h 82"/>
              <a:gd name="T66" fmla="*/ 2 w 120"/>
              <a:gd name="T67" fmla="*/ 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0" h="82">
                <a:moveTo>
                  <a:pt x="2" y="4"/>
                </a:moveTo>
                <a:cubicBezTo>
                  <a:pt x="5" y="4"/>
                  <a:pt x="7" y="5"/>
                  <a:pt x="7" y="5"/>
                </a:cubicBezTo>
                <a:cubicBezTo>
                  <a:pt x="8" y="6"/>
                  <a:pt x="9" y="8"/>
                  <a:pt x="11" y="11"/>
                </a:cubicBezTo>
                <a:cubicBezTo>
                  <a:pt x="17" y="29"/>
                  <a:pt x="32" y="59"/>
                  <a:pt x="39" y="77"/>
                </a:cubicBezTo>
                <a:cubicBezTo>
                  <a:pt x="41" y="81"/>
                  <a:pt x="43" y="82"/>
                  <a:pt x="46" y="76"/>
                </a:cubicBezTo>
                <a:cubicBezTo>
                  <a:pt x="50" y="70"/>
                  <a:pt x="56" y="57"/>
                  <a:pt x="61" y="46"/>
                </a:cubicBezTo>
                <a:cubicBezTo>
                  <a:pt x="65" y="57"/>
                  <a:pt x="71" y="70"/>
                  <a:pt x="74" y="76"/>
                </a:cubicBezTo>
                <a:cubicBezTo>
                  <a:pt x="76" y="81"/>
                  <a:pt x="79" y="82"/>
                  <a:pt x="81" y="77"/>
                </a:cubicBezTo>
                <a:cubicBezTo>
                  <a:pt x="88" y="60"/>
                  <a:pt x="108" y="12"/>
                  <a:pt x="108" y="12"/>
                </a:cubicBezTo>
                <a:cubicBezTo>
                  <a:pt x="109" y="9"/>
                  <a:pt x="111" y="7"/>
                  <a:pt x="112" y="6"/>
                </a:cubicBezTo>
                <a:cubicBezTo>
                  <a:pt x="114" y="5"/>
                  <a:pt x="116" y="4"/>
                  <a:pt x="119" y="4"/>
                </a:cubicBezTo>
                <a:cubicBezTo>
                  <a:pt x="120" y="4"/>
                  <a:pt x="120" y="4"/>
                  <a:pt x="120" y="3"/>
                </a:cubicBezTo>
                <a:cubicBezTo>
                  <a:pt x="120" y="1"/>
                  <a:pt x="120" y="1"/>
                  <a:pt x="120" y="1"/>
                </a:cubicBezTo>
                <a:cubicBezTo>
                  <a:pt x="120" y="0"/>
                  <a:pt x="120" y="0"/>
                  <a:pt x="120" y="0"/>
                </a:cubicBezTo>
                <a:cubicBezTo>
                  <a:pt x="120" y="0"/>
                  <a:pt x="101" y="0"/>
                  <a:pt x="95" y="0"/>
                </a:cubicBezTo>
                <a:cubicBezTo>
                  <a:pt x="93" y="1"/>
                  <a:pt x="93" y="1"/>
                  <a:pt x="93" y="1"/>
                </a:cubicBezTo>
                <a:cubicBezTo>
                  <a:pt x="93" y="3"/>
                  <a:pt x="93" y="3"/>
                  <a:pt x="93" y="3"/>
                </a:cubicBezTo>
                <a:cubicBezTo>
                  <a:pt x="93" y="3"/>
                  <a:pt x="94" y="4"/>
                  <a:pt x="95" y="4"/>
                </a:cubicBezTo>
                <a:cubicBezTo>
                  <a:pt x="95" y="4"/>
                  <a:pt x="95" y="4"/>
                  <a:pt x="96" y="4"/>
                </a:cubicBezTo>
                <a:cubicBezTo>
                  <a:pt x="98" y="4"/>
                  <a:pt x="98" y="4"/>
                  <a:pt x="98" y="4"/>
                </a:cubicBezTo>
                <a:cubicBezTo>
                  <a:pt x="100" y="4"/>
                  <a:pt x="101" y="5"/>
                  <a:pt x="102" y="6"/>
                </a:cubicBezTo>
                <a:cubicBezTo>
                  <a:pt x="103" y="7"/>
                  <a:pt x="103" y="8"/>
                  <a:pt x="103" y="10"/>
                </a:cubicBezTo>
                <a:cubicBezTo>
                  <a:pt x="81" y="65"/>
                  <a:pt x="81" y="65"/>
                  <a:pt x="81" y="65"/>
                </a:cubicBezTo>
                <a:cubicBezTo>
                  <a:pt x="80" y="65"/>
                  <a:pt x="80" y="65"/>
                  <a:pt x="80" y="65"/>
                </a:cubicBezTo>
                <a:cubicBezTo>
                  <a:pt x="66" y="35"/>
                  <a:pt x="66" y="35"/>
                  <a:pt x="66" y="35"/>
                </a:cubicBezTo>
                <a:cubicBezTo>
                  <a:pt x="66" y="34"/>
                  <a:pt x="66" y="34"/>
                  <a:pt x="66" y="34"/>
                </a:cubicBezTo>
                <a:cubicBezTo>
                  <a:pt x="78" y="12"/>
                  <a:pt x="78" y="12"/>
                  <a:pt x="78" y="12"/>
                </a:cubicBezTo>
                <a:cubicBezTo>
                  <a:pt x="79" y="9"/>
                  <a:pt x="80" y="7"/>
                  <a:pt x="81" y="6"/>
                </a:cubicBezTo>
                <a:cubicBezTo>
                  <a:pt x="82" y="4"/>
                  <a:pt x="83" y="4"/>
                  <a:pt x="86" y="4"/>
                </a:cubicBezTo>
                <a:cubicBezTo>
                  <a:pt x="87" y="4"/>
                  <a:pt x="87" y="4"/>
                  <a:pt x="87" y="3"/>
                </a:cubicBezTo>
                <a:cubicBezTo>
                  <a:pt x="87" y="1"/>
                  <a:pt x="87" y="1"/>
                  <a:pt x="87" y="1"/>
                </a:cubicBezTo>
                <a:cubicBezTo>
                  <a:pt x="87" y="1"/>
                  <a:pt x="87" y="1"/>
                  <a:pt x="87" y="1"/>
                </a:cubicBezTo>
                <a:cubicBezTo>
                  <a:pt x="87" y="1"/>
                  <a:pt x="73" y="0"/>
                  <a:pt x="67" y="1"/>
                </a:cubicBezTo>
                <a:cubicBezTo>
                  <a:pt x="67" y="1"/>
                  <a:pt x="67" y="1"/>
                  <a:pt x="67" y="1"/>
                </a:cubicBezTo>
                <a:cubicBezTo>
                  <a:pt x="67" y="3"/>
                  <a:pt x="67" y="3"/>
                  <a:pt x="67" y="3"/>
                </a:cubicBezTo>
                <a:cubicBezTo>
                  <a:pt x="67" y="3"/>
                  <a:pt x="67" y="4"/>
                  <a:pt x="67" y="4"/>
                </a:cubicBezTo>
                <a:cubicBezTo>
                  <a:pt x="67" y="4"/>
                  <a:pt x="67" y="4"/>
                  <a:pt x="67" y="4"/>
                </a:cubicBezTo>
                <a:cubicBezTo>
                  <a:pt x="68" y="4"/>
                  <a:pt x="68" y="4"/>
                  <a:pt x="68" y="4"/>
                </a:cubicBezTo>
                <a:cubicBezTo>
                  <a:pt x="71" y="4"/>
                  <a:pt x="72" y="5"/>
                  <a:pt x="72" y="5"/>
                </a:cubicBezTo>
                <a:cubicBezTo>
                  <a:pt x="73" y="6"/>
                  <a:pt x="73" y="7"/>
                  <a:pt x="72" y="10"/>
                </a:cubicBezTo>
                <a:cubicBezTo>
                  <a:pt x="63" y="29"/>
                  <a:pt x="63" y="29"/>
                  <a:pt x="63" y="29"/>
                </a:cubicBezTo>
                <a:cubicBezTo>
                  <a:pt x="55" y="12"/>
                  <a:pt x="55" y="12"/>
                  <a:pt x="55" y="12"/>
                </a:cubicBezTo>
                <a:cubicBezTo>
                  <a:pt x="53" y="6"/>
                  <a:pt x="52" y="4"/>
                  <a:pt x="56" y="4"/>
                </a:cubicBezTo>
                <a:cubicBezTo>
                  <a:pt x="57" y="4"/>
                  <a:pt x="57" y="4"/>
                  <a:pt x="57" y="4"/>
                </a:cubicBezTo>
                <a:cubicBezTo>
                  <a:pt x="58" y="4"/>
                  <a:pt x="57" y="4"/>
                  <a:pt x="57" y="3"/>
                </a:cubicBezTo>
                <a:cubicBezTo>
                  <a:pt x="57" y="1"/>
                  <a:pt x="57" y="1"/>
                  <a:pt x="57" y="1"/>
                </a:cubicBezTo>
                <a:cubicBezTo>
                  <a:pt x="57" y="1"/>
                  <a:pt x="57" y="1"/>
                  <a:pt x="57" y="1"/>
                </a:cubicBezTo>
                <a:cubicBezTo>
                  <a:pt x="57" y="1"/>
                  <a:pt x="43" y="1"/>
                  <a:pt x="36" y="1"/>
                </a:cubicBezTo>
                <a:cubicBezTo>
                  <a:pt x="36" y="1"/>
                  <a:pt x="36" y="1"/>
                  <a:pt x="36" y="1"/>
                </a:cubicBezTo>
                <a:cubicBezTo>
                  <a:pt x="36" y="3"/>
                  <a:pt x="36" y="3"/>
                  <a:pt x="36" y="3"/>
                </a:cubicBezTo>
                <a:cubicBezTo>
                  <a:pt x="36" y="4"/>
                  <a:pt x="37" y="4"/>
                  <a:pt x="38" y="4"/>
                </a:cubicBezTo>
                <a:cubicBezTo>
                  <a:pt x="41" y="4"/>
                  <a:pt x="41" y="5"/>
                  <a:pt x="45" y="12"/>
                </a:cubicBezTo>
                <a:cubicBezTo>
                  <a:pt x="46" y="14"/>
                  <a:pt x="47" y="17"/>
                  <a:pt x="47" y="17"/>
                </a:cubicBezTo>
                <a:cubicBezTo>
                  <a:pt x="55" y="34"/>
                  <a:pt x="55" y="34"/>
                  <a:pt x="55" y="34"/>
                </a:cubicBezTo>
                <a:cubicBezTo>
                  <a:pt x="55" y="34"/>
                  <a:pt x="56" y="36"/>
                  <a:pt x="58" y="40"/>
                </a:cubicBezTo>
                <a:cubicBezTo>
                  <a:pt x="46" y="65"/>
                  <a:pt x="46" y="65"/>
                  <a:pt x="46" y="65"/>
                </a:cubicBezTo>
                <a:cubicBezTo>
                  <a:pt x="45" y="65"/>
                  <a:pt x="45" y="65"/>
                  <a:pt x="45" y="65"/>
                </a:cubicBezTo>
                <a:cubicBezTo>
                  <a:pt x="45" y="65"/>
                  <a:pt x="26" y="23"/>
                  <a:pt x="21" y="10"/>
                </a:cubicBezTo>
                <a:cubicBezTo>
                  <a:pt x="20" y="8"/>
                  <a:pt x="20" y="7"/>
                  <a:pt x="20" y="6"/>
                </a:cubicBezTo>
                <a:cubicBezTo>
                  <a:pt x="20" y="5"/>
                  <a:pt x="21" y="4"/>
                  <a:pt x="24" y="4"/>
                </a:cubicBezTo>
                <a:cubicBezTo>
                  <a:pt x="28" y="4"/>
                  <a:pt x="28" y="4"/>
                  <a:pt x="28" y="4"/>
                </a:cubicBezTo>
                <a:cubicBezTo>
                  <a:pt x="28" y="4"/>
                  <a:pt x="29" y="4"/>
                  <a:pt x="29" y="3"/>
                </a:cubicBezTo>
                <a:cubicBezTo>
                  <a:pt x="29" y="1"/>
                  <a:pt x="29" y="1"/>
                  <a:pt x="29" y="1"/>
                </a:cubicBezTo>
                <a:cubicBezTo>
                  <a:pt x="28" y="1"/>
                  <a:pt x="28" y="1"/>
                  <a:pt x="28" y="1"/>
                </a:cubicBezTo>
                <a:cubicBezTo>
                  <a:pt x="28" y="1"/>
                  <a:pt x="6" y="1"/>
                  <a:pt x="1" y="1"/>
                </a:cubicBezTo>
                <a:cubicBezTo>
                  <a:pt x="0" y="1"/>
                  <a:pt x="0" y="1"/>
                  <a:pt x="0" y="1"/>
                </a:cubicBezTo>
                <a:cubicBezTo>
                  <a:pt x="0" y="3"/>
                  <a:pt x="0" y="3"/>
                  <a:pt x="0" y="3"/>
                </a:cubicBezTo>
                <a:cubicBezTo>
                  <a:pt x="0" y="4"/>
                  <a:pt x="1" y="4"/>
                  <a:pt x="2"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1" name="Freeform 220"/>
          <p:cNvSpPr>
            <a:spLocks noEditPoints="1"/>
          </p:cNvSpPr>
          <p:nvPr/>
        </p:nvSpPr>
        <p:spPr bwMode="auto">
          <a:xfrm>
            <a:off x="1973223" y="4380302"/>
            <a:ext cx="241908" cy="193356"/>
          </a:xfrm>
          <a:custGeom>
            <a:avLst/>
            <a:gdLst>
              <a:gd name="T0" fmla="*/ 60 w 120"/>
              <a:gd name="T1" fmla="*/ 96 h 96"/>
              <a:gd name="T2" fmla="*/ 120 w 120"/>
              <a:gd name="T3" fmla="*/ 57 h 96"/>
              <a:gd name="T4" fmla="*/ 60 w 120"/>
              <a:gd name="T5" fmla="*/ 18 h 96"/>
              <a:gd name="T6" fmla="*/ 17 w 120"/>
              <a:gd name="T7" fmla="*/ 30 h 96"/>
              <a:gd name="T8" fmla="*/ 17 w 120"/>
              <a:gd name="T9" fmla="*/ 0 h 96"/>
              <a:gd name="T10" fmla="*/ 0 w 120"/>
              <a:gd name="T11" fmla="*/ 0 h 96"/>
              <a:gd name="T12" fmla="*/ 0 w 120"/>
              <a:gd name="T13" fmla="*/ 57 h 96"/>
              <a:gd name="T14" fmla="*/ 0 w 120"/>
              <a:gd name="T15" fmla="*/ 57 h 96"/>
              <a:gd name="T16" fmla="*/ 0 w 120"/>
              <a:gd name="T17" fmla="*/ 57 h 96"/>
              <a:gd name="T18" fmla="*/ 0 w 120"/>
              <a:gd name="T19" fmla="*/ 57 h 96"/>
              <a:gd name="T20" fmla="*/ 0 w 120"/>
              <a:gd name="T21" fmla="*/ 57 h 96"/>
              <a:gd name="T22" fmla="*/ 60 w 120"/>
              <a:gd name="T23" fmla="*/ 96 h 96"/>
              <a:gd name="T24" fmla="*/ 60 w 120"/>
              <a:gd name="T25" fmla="*/ 28 h 96"/>
              <a:gd name="T26" fmla="*/ 102 w 120"/>
              <a:gd name="T27" fmla="*/ 57 h 96"/>
              <a:gd name="T28" fmla="*/ 60 w 120"/>
              <a:gd name="T29" fmla="*/ 86 h 96"/>
              <a:gd name="T30" fmla="*/ 18 w 120"/>
              <a:gd name="T31" fmla="*/ 57 h 96"/>
              <a:gd name="T32" fmla="*/ 60 w 120"/>
              <a:gd name="T33" fmla="*/ 2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0" h="96">
                <a:moveTo>
                  <a:pt x="60" y="96"/>
                </a:moveTo>
                <a:cubicBezTo>
                  <a:pt x="93" y="96"/>
                  <a:pt x="120" y="79"/>
                  <a:pt x="120" y="57"/>
                </a:cubicBezTo>
                <a:cubicBezTo>
                  <a:pt x="120" y="36"/>
                  <a:pt x="93" y="18"/>
                  <a:pt x="60" y="18"/>
                </a:cubicBezTo>
                <a:cubicBezTo>
                  <a:pt x="43" y="18"/>
                  <a:pt x="28" y="22"/>
                  <a:pt x="17" y="30"/>
                </a:cubicBezTo>
                <a:cubicBezTo>
                  <a:pt x="17" y="0"/>
                  <a:pt x="17" y="0"/>
                  <a:pt x="17" y="0"/>
                </a:cubicBezTo>
                <a:cubicBezTo>
                  <a:pt x="0" y="0"/>
                  <a:pt x="0" y="0"/>
                  <a:pt x="0" y="0"/>
                </a:cubicBezTo>
                <a:cubicBezTo>
                  <a:pt x="0" y="57"/>
                  <a:pt x="0" y="57"/>
                  <a:pt x="0" y="57"/>
                </a:cubicBezTo>
                <a:cubicBezTo>
                  <a:pt x="0" y="57"/>
                  <a:pt x="0" y="57"/>
                  <a:pt x="0" y="57"/>
                </a:cubicBezTo>
                <a:cubicBezTo>
                  <a:pt x="0" y="57"/>
                  <a:pt x="0" y="57"/>
                  <a:pt x="0" y="57"/>
                </a:cubicBezTo>
                <a:cubicBezTo>
                  <a:pt x="0" y="57"/>
                  <a:pt x="0" y="57"/>
                  <a:pt x="0" y="57"/>
                </a:cubicBezTo>
                <a:cubicBezTo>
                  <a:pt x="0" y="57"/>
                  <a:pt x="0" y="57"/>
                  <a:pt x="0" y="57"/>
                </a:cubicBezTo>
                <a:cubicBezTo>
                  <a:pt x="0" y="79"/>
                  <a:pt x="27" y="96"/>
                  <a:pt x="60" y="96"/>
                </a:cubicBezTo>
                <a:close/>
                <a:moveTo>
                  <a:pt x="60" y="28"/>
                </a:moveTo>
                <a:cubicBezTo>
                  <a:pt x="83" y="28"/>
                  <a:pt x="102" y="41"/>
                  <a:pt x="102" y="57"/>
                </a:cubicBezTo>
                <a:cubicBezTo>
                  <a:pt x="102" y="73"/>
                  <a:pt x="83" y="86"/>
                  <a:pt x="60" y="86"/>
                </a:cubicBezTo>
                <a:cubicBezTo>
                  <a:pt x="37" y="86"/>
                  <a:pt x="18" y="73"/>
                  <a:pt x="18" y="57"/>
                </a:cubicBezTo>
                <a:cubicBezTo>
                  <a:pt x="18" y="41"/>
                  <a:pt x="37" y="28"/>
                  <a:pt x="60" y="2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2" name="Freeform 221"/>
          <p:cNvSpPr>
            <a:spLocks/>
          </p:cNvSpPr>
          <p:nvPr/>
        </p:nvSpPr>
        <p:spPr bwMode="auto">
          <a:xfrm>
            <a:off x="2488557" y="4355601"/>
            <a:ext cx="181431" cy="246167"/>
          </a:xfrm>
          <a:custGeom>
            <a:avLst/>
            <a:gdLst>
              <a:gd name="T0" fmla="*/ 1 w 90"/>
              <a:gd name="T1" fmla="*/ 79 h 122"/>
              <a:gd name="T2" fmla="*/ 0 w 90"/>
              <a:gd name="T3" fmla="*/ 81 h 122"/>
              <a:gd name="T4" fmla="*/ 0 w 90"/>
              <a:gd name="T5" fmla="*/ 91 h 122"/>
              <a:gd name="T6" fmla="*/ 0 w 90"/>
              <a:gd name="T7" fmla="*/ 93 h 122"/>
              <a:gd name="T8" fmla="*/ 2 w 90"/>
              <a:gd name="T9" fmla="*/ 95 h 122"/>
              <a:gd name="T10" fmla="*/ 5 w 90"/>
              <a:gd name="T11" fmla="*/ 95 h 122"/>
              <a:gd name="T12" fmla="*/ 31 w 90"/>
              <a:gd name="T13" fmla="*/ 99 h 122"/>
              <a:gd name="T14" fmla="*/ 50 w 90"/>
              <a:gd name="T15" fmla="*/ 112 h 122"/>
              <a:gd name="T16" fmla="*/ 70 w 90"/>
              <a:gd name="T17" fmla="*/ 120 h 122"/>
              <a:gd name="T18" fmla="*/ 88 w 90"/>
              <a:gd name="T19" fmla="*/ 93 h 122"/>
              <a:gd name="T20" fmla="*/ 64 w 90"/>
              <a:gd name="T21" fmla="*/ 96 h 122"/>
              <a:gd name="T22" fmla="*/ 44 w 90"/>
              <a:gd name="T23" fmla="*/ 86 h 122"/>
              <a:gd name="T24" fmla="*/ 26 w 90"/>
              <a:gd name="T25" fmla="*/ 80 h 122"/>
              <a:gd name="T26" fmla="*/ 28 w 90"/>
              <a:gd name="T27" fmla="*/ 75 h 122"/>
              <a:gd name="T28" fmla="*/ 35 w 90"/>
              <a:gd name="T29" fmla="*/ 66 h 122"/>
              <a:gd name="T30" fmla="*/ 58 w 90"/>
              <a:gd name="T31" fmla="*/ 40 h 122"/>
              <a:gd name="T32" fmla="*/ 78 w 90"/>
              <a:gd name="T33" fmla="*/ 18 h 122"/>
              <a:gd name="T34" fmla="*/ 81 w 90"/>
              <a:gd name="T35" fmla="*/ 14 h 122"/>
              <a:gd name="T36" fmla="*/ 82 w 90"/>
              <a:gd name="T37" fmla="*/ 4 h 122"/>
              <a:gd name="T38" fmla="*/ 80 w 90"/>
              <a:gd name="T39" fmla="*/ 2 h 122"/>
              <a:gd name="T40" fmla="*/ 80 w 90"/>
              <a:gd name="T41" fmla="*/ 2 h 122"/>
              <a:gd name="T42" fmla="*/ 47 w 90"/>
              <a:gd name="T43" fmla="*/ 5 h 122"/>
              <a:gd name="T44" fmla="*/ 29 w 90"/>
              <a:gd name="T45" fmla="*/ 2 h 122"/>
              <a:gd name="T46" fmla="*/ 27 w 90"/>
              <a:gd name="T47" fmla="*/ 0 h 122"/>
              <a:gd name="T48" fmla="*/ 24 w 90"/>
              <a:gd name="T49" fmla="*/ 1 h 122"/>
              <a:gd name="T50" fmla="*/ 22 w 90"/>
              <a:gd name="T51" fmla="*/ 2 h 122"/>
              <a:gd name="T52" fmla="*/ 16 w 90"/>
              <a:gd name="T53" fmla="*/ 15 h 122"/>
              <a:gd name="T54" fmla="*/ 17 w 90"/>
              <a:gd name="T55" fmla="*/ 20 h 122"/>
              <a:gd name="T56" fmla="*/ 17 w 90"/>
              <a:gd name="T57" fmla="*/ 21 h 122"/>
              <a:gd name="T58" fmla="*/ 17 w 90"/>
              <a:gd name="T59" fmla="*/ 21 h 122"/>
              <a:gd name="T60" fmla="*/ 49 w 90"/>
              <a:gd name="T61" fmla="*/ 23 h 122"/>
              <a:gd name="T62" fmla="*/ 1 w 90"/>
              <a:gd name="T63" fmla="*/ 79 h 122"/>
              <a:gd name="T64" fmla="*/ 1 w 90"/>
              <a:gd name="T65" fmla="*/ 79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122">
                <a:moveTo>
                  <a:pt x="1" y="79"/>
                </a:moveTo>
                <a:cubicBezTo>
                  <a:pt x="0" y="80"/>
                  <a:pt x="0" y="81"/>
                  <a:pt x="0" y="81"/>
                </a:cubicBezTo>
                <a:cubicBezTo>
                  <a:pt x="0" y="85"/>
                  <a:pt x="0" y="88"/>
                  <a:pt x="0" y="91"/>
                </a:cubicBezTo>
                <a:cubicBezTo>
                  <a:pt x="0" y="91"/>
                  <a:pt x="0" y="92"/>
                  <a:pt x="0" y="93"/>
                </a:cubicBezTo>
                <a:cubicBezTo>
                  <a:pt x="1" y="94"/>
                  <a:pt x="1" y="95"/>
                  <a:pt x="2" y="95"/>
                </a:cubicBezTo>
                <a:cubicBezTo>
                  <a:pt x="3" y="95"/>
                  <a:pt x="4" y="95"/>
                  <a:pt x="5" y="95"/>
                </a:cubicBezTo>
                <a:cubicBezTo>
                  <a:pt x="15" y="95"/>
                  <a:pt x="23" y="95"/>
                  <a:pt x="31" y="99"/>
                </a:cubicBezTo>
                <a:cubicBezTo>
                  <a:pt x="38" y="103"/>
                  <a:pt x="43" y="108"/>
                  <a:pt x="50" y="112"/>
                </a:cubicBezTo>
                <a:cubicBezTo>
                  <a:pt x="56" y="115"/>
                  <a:pt x="63" y="119"/>
                  <a:pt x="70" y="120"/>
                </a:cubicBezTo>
                <a:cubicBezTo>
                  <a:pt x="84" y="122"/>
                  <a:pt x="90" y="105"/>
                  <a:pt x="88" y="93"/>
                </a:cubicBezTo>
                <a:cubicBezTo>
                  <a:pt x="81" y="98"/>
                  <a:pt x="72" y="98"/>
                  <a:pt x="64" y="96"/>
                </a:cubicBezTo>
                <a:cubicBezTo>
                  <a:pt x="56" y="94"/>
                  <a:pt x="44" y="86"/>
                  <a:pt x="44" y="86"/>
                </a:cubicBezTo>
                <a:cubicBezTo>
                  <a:pt x="39" y="82"/>
                  <a:pt x="32" y="80"/>
                  <a:pt x="26" y="80"/>
                </a:cubicBezTo>
                <a:cubicBezTo>
                  <a:pt x="26" y="77"/>
                  <a:pt x="26" y="77"/>
                  <a:pt x="28" y="75"/>
                </a:cubicBezTo>
                <a:cubicBezTo>
                  <a:pt x="30" y="72"/>
                  <a:pt x="33" y="69"/>
                  <a:pt x="35" y="66"/>
                </a:cubicBezTo>
                <a:cubicBezTo>
                  <a:pt x="43" y="58"/>
                  <a:pt x="50" y="49"/>
                  <a:pt x="58" y="40"/>
                </a:cubicBezTo>
                <a:cubicBezTo>
                  <a:pt x="65" y="33"/>
                  <a:pt x="71" y="25"/>
                  <a:pt x="78" y="18"/>
                </a:cubicBezTo>
                <a:cubicBezTo>
                  <a:pt x="78" y="17"/>
                  <a:pt x="81" y="15"/>
                  <a:pt x="81" y="14"/>
                </a:cubicBezTo>
                <a:cubicBezTo>
                  <a:pt x="81" y="11"/>
                  <a:pt x="82" y="7"/>
                  <a:pt x="82" y="4"/>
                </a:cubicBezTo>
                <a:cubicBezTo>
                  <a:pt x="82" y="2"/>
                  <a:pt x="80" y="2"/>
                  <a:pt x="80" y="2"/>
                </a:cubicBezTo>
                <a:cubicBezTo>
                  <a:pt x="80" y="2"/>
                  <a:pt x="80" y="2"/>
                  <a:pt x="80" y="2"/>
                </a:cubicBezTo>
                <a:cubicBezTo>
                  <a:pt x="69" y="4"/>
                  <a:pt x="58" y="5"/>
                  <a:pt x="47" y="5"/>
                </a:cubicBezTo>
                <a:cubicBezTo>
                  <a:pt x="41" y="5"/>
                  <a:pt x="35" y="4"/>
                  <a:pt x="29" y="2"/>
                </a:cubicBezTo>
                <a:cubicBezTo>
                  <a:pt x="29" y="2"/>
                  <a:pt x="28" y="1"/>
                  <a:pt x="27" y="0"/>
                </a:cubicBezTo>
                <a:cubicBezTo>
                  <a:pt x="25" y="0"/>
                  <a:pt x="24" y="0"/>
                  <a:pt x="24" y="1"/>
                </a:cubicBezTo>
                <a:cubicBezTo>
                  <a:pt x="23" y="1"/>
                  <a:pt x="23" y="2"/>
                  <a:pt x="22" y="2"/>
                </a:cubicBezTo>
                <a:cubicBezTo>
                  <a:pt x="19" y="6"/>
                  <a:pt x="17" y="11"/>
                  <a:pt x="16" y="15"/>
                </a:cubicBezTo>
                <a:cubicBezTo>
                  <a:pt x="16" y="17"/>
                  <a:pt x="16" y="19"/>
                  <a:pt x="17" y="20"/>
                </a:cubicBezTo>
                <a:cubicBezTo>
                  <a:pt x="17" y="20"/>
                  <a:pt x="17" y="20"/>
                  <a:pt x="17" y="21"/>
                </a:cubicBezTo>
                <a:cubicBezTo>
                  <a:pt x="17" y="21"/>
                  <a:pt x="17" y="21"/>
                  <a:pt x="17" y="21"/>
                </a:cubicBezTo>
                <a:cubicBezTo>
                  <a:pt x="18" y="23"/>
                  <a:pt x="24" y="28"/>
                  <a:pt x="49" y="23"/>
                </a:cubicBezTo>
                <a:cubicBezTo>
                  <a:pt x="33" y="42"/>
                  <a:pt x="17" y="60"/>
                  <a:pt x="1" y="79"/>
                </a:cubicBezTo>
                <a:cubicBezTo>
                  <a:pt x="1" y="79"/>
                  <a:pt x="1" y="79"/>
                  <a:pt x="1" y="7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3" name="Freeform 222"/>
          <p:cNvSpPr>
            <a:spLocks/>
          </p:cNvSpPr>
          <p:nvPr/>
        </p:nvSpPr>
        <p:spPr bwMode="auto">
          <a:xfrm>
            <a:off x="3093326" y="4513182"/>
            <a:ext cx="112436" cy="109029"/>
          </a:xfrm>
          <a:custGeom>
            <a:avLst/>
            <a:gdLst>
              <a:gd name="T0" fmla="*/ 82 w 132"/>
              <a:gd name="T1" fmla="*/ 50 h 128"/>
              <a:gd name="T2" fmla="*/ 66 w 132"/>
              <a:gd name="T3" fmla="*/ 0 h 128"/>
              <a:gd name="T4" fmla="*/ 49 w 132"/>
              <a:gd name="T5" fmla="*/ 50 h 128"/>
              <a:gd name="T6" fmla="*/ 0 w 132"/>
              <a:gd name="T7" fmla="*/ 50 h 128"/>
              <a:gd name="T8" fmla="*/ 40 w 132"/>
              <a:gd name="T9" fmla="*/ 78 h 128"/>
              <a:gd name="T10" fmla="*/ 23 w 132"/>
              <a:gd name="T11" fmla="*/ 128 h 128"/>
              <a:gd name="T12" fmla="*/ 66 w 132"/>
              <a:gd name="T13" fmla="*/ 97 h 128"/>
              <a:gd name="T14" fmla="*/ 108 w 132"/>
              <a:gd name="T15" fmla="*/ 128 h 128"/>
              <a:gd name="T16" fmla="*/ 92 w 132"/>
              <a:gd name="T17" fmla="*/ 78 h 128"/>
              <a:gd name="T18" fmla="*/ 132 w 132"/>
              <a:gd name="T19" fmla="*/ 50 h 128"/>
              <a:gd name="T20" fmla="*/ 82 w 132"/>
              <a:gd name="T21" fmla="*/ 5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2" h="128">
                <a:moveTo>
                  <a:pt x="82" y="50"/>
                </a:moveTo>
                <a:lnTo>
                  <a:pt x="66" y="0"/>
                </a:lnTo>
                <a:lnTo>
                  <a:pt x="49" y="50"/>
                </a:lnTo>
                <a:lnTo>
                  <a:pt x="0" y="50"/>
                </a:lnTo>
                <a:lnTo>
                  <a:pt x="40" y="78"/>
                </a:lnTo>
                <a:lnTo>
                  <a:pt x="23" y="128"/>
                </a:lnTo>
                <a:lnTo>
                  <a:pt x="66" y="97"/>
                </a:lnTo>
                <a:lnTo>
                  <a:pt x="108" y="128"/>
                </a:lnTo>
                <a:lnTo>
                  <a:pt x="92" y="78"/>
                </a:lnTo>
                <a:lnTo>
                  <a:pt x="132" y="50"/>
                </a:lnTo>
                <a:lnTo>
                  <a:pt x="82" y="5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4" name="Freeform 223"/>
          <p:cNvSpPr>
            <a:spLocks/>
          </p:cNvSpPr>
          <p:nvPr/>
        </p:nvSpPr>
        <p:spPr bwMode="auto">
          <a:xfrm>
            <a:off x="2963854" y="4380302"/>
            <a:ext cx="240204" cy="235946"/>
          </a:xfrm>
          <a:custGeom>
            <a:avLst/>
            <a:gdLst>
              <a:gd name="T0" fmla="*/ 76 w 119"/>
              <a:gd name="T1" fmla="*/ 101 h 117"/>
              <a:gd name="T2" fmla="*/ 50 w 119"/>
              <a:gd name="T3" fmla="*/ 82 h 117"/>
              <a:gd name="T4" fmla="*/ 82 w 119"/>
              <a:gd name="T5" fmla="*/ 82 h 117"/>
              <a:gd name="T6" fmla="*/ 92 w 119"/>
              <a:gd name="T7" fmla="*/ 52 h 117"/>
              <a:gd name="T8" fmla="*/ 102 w 119"/>
              <a:gd name="T9" fmla="*/ 82 h 117"/>
              <a:gd name="T10" fmla="*/ 119 w 119"/>
              <a:gd name="T11" fmla="*/ 82 h 117"/>
              <a:gd name="T12" fmla="*/ 92 w 119"/>
              <a:gd name="T13" fmla="*/ 0 h 117"/>
              <a:gd name="T14" fmla="*/ 70 w 119"/>
              <a:gd name="T15" fmla="*/ 66 h 117"/>
              <a:gd name="T16" fmla="*/ 0 w 119"/>
              <a:gd name="T17" fmla="*/ 66 h 117"/>
              <a:gd name="T18" fmla="*/ 71 w 119"/>
              <a:gd name="T19" fmla="*/ 117 h 117"/>
              <a:gd name="T20" fmla="*/ 76 w 119"/>
              <a:gd name="T21" fmla="*/ 10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9" h="117">
                <a:moveTo>
                  <a:pt x="76" y="101"/>
                </a:moveTo>
                <a:cubicBezTo>
                  <a:pt x="72" y="98"/>
                  <a:pt x="50" y="82"/>
                  <a:pt x="50" y="82"/>
                </a:cubicBezTo>
                <a:cubicBezTo>
                  <a:pt x="50" y="82"/>
                  <a:pt x="78" y="82"/>
                  <a:pt x="82" y="82"/>
                </a:cubicBezTo>
                <a:cubicBezTo>
                  <a:pt x="84" y="78"/>
                  <a:pt x="92" y="52"/>
                  <a:pt x="92" y="52"/>
                </a:cubicBezTo>
                <a:cubicBezTo>
                  <a:pt x="92" y="52"/>
                  <a:pt x="100" y="78"/>
                  <a:pt x="102" y="82"/>
                </a:cubicBezTo>
                <a:cubicBezTo>
                  <a:pt x="104" y="82"/>
                  <a:pt x="112" y="82"/>
                  <a:pt x="119" y="82"/>
                </a:cubicBezTo>
                <a:cubicBezTo>
                  <a:pt x="92" y="0"/>
                  <a:pt x="92" y="0"/>
                  <a:pt x="92" y="0"/>
                </a:cubicBezTo>
                <a:cubicBezTo>
                  <a:pt x="70" y="66"/>
                  <a:pt x="70" y="66"/>
                  <a:pt x="70" y="66"/>
                </a:cubicBezTo>
                <a:cubicBezTo>
                  <a:pt x="0" y="66"/>
                  <a:pt x="0" y="66"/>
                  <a:pt x="0" y="66"/>
                </a:cubicBezTo>
                <a:cubicBezTo>
                  <a:pt x="71" y="117"/>
                  <a:pt x="71" y="117"/>
                  <a:pt x="71" y="117"/>
                </a:cubicBezTo>
                <a:cubicBezTo>
                  <a:pt x="73" y="111"/>
                  <a:pt x="75" y="103"/>
                  <a:pt x="76" y="10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5" name="Freeform 224"/>
          <p:cNvSpPr>
            <a:spLocks/>
          </p:cNvSpPr>
          <p:nvPr/>
        </p:nvSpPr>
        <p:spPr bwMode="auto">
          <a:xfrm>
            <a:off x="3596733" y="4520848"/>
            <a:ext cx="40034" cy="44293"/>
          </a:xfrm>
          <a:custGeom>
            <a:avLst/>
            <a:gdLst>
              <a:gd name="T0" fmla="*/ 13 w 20"/>
              <a:gd name="T1" fmla="*/ 2 h 22"/>
              <a:gd name="T2" fmla="*/ 2 w 20"/>
              <a:gd name="T3" fmla="*/ 9 h 22"/>
              <a:gd name="T4" fmla="*/ 7 w 20"/>
              <a:gd name="T5" fmla="*/ 20 h 22"/>
              <a:gd name="T6" fmla="*/ 18 w 20"/>
              <a:gd name="T7" fmla="*/ 13 h 22"/>
              <a:gd name="T8" fmla="*/ 13 w 20"/>
              <a:gd name="T9" fmla="*/ 2 h 22"/>
            </a:gdLst>
            <a:ahLst/>
            <a:cxnLst>
              <a:cxn ang="0">
                <a:pos x="T0" y="T1"/>
              </a:cxn>
              <a:cxn ang="0">
                <a:pos x="T2" y="T3"/>
              </a:cxn>
              <a:cxn ang="0">
                <a:pos x="T4" y="T5"/>
              </a:cxn>
              <a:cxn ang="0">
                <a:pos x="T6" y="T7"/>
              </a:cxn>
              <a:cxn ang="0">
                <a:pos x="T8" y="T9"/>
              </a:cxn>
            </a:cxnLst>
            <a:rect l="0" t="0" r="r" b="b"/>
            <a:pathLst>
              <a:path w="20" h="22">
                <a:moveTo>
                  <a:pt x="13" y="2"/>
                </a:moveTo>
                <a:cubicBezTo>
                  <a:pt x="8" y="0"/>
                  <a:pt x="3" y="3"/>
                  <a:pt x="2" y="9"/>
                </a:cubicBezTo>
                <a:cubicBezTo>
                  <a:pt x="0" y="14"/>
                  <a:pt x="3" y="19"/>
                  <a:pt x="7" y="20"/>
                </a:cubicBezTo>
                <a:cubicBezTo>
                  <a:pt x="12" y="22"/>
                  <a:pt x="17" y="19"/>
                  <a:pt x="18" y="13"/>
                </a:cubicBezTo>
                <a:cubicBezTo>
                  <a:pt x="20" y="8"/>
                  <a:pt x="17" y="3"/>
                  <a:pt x="13"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6" name="Freeform 225"/>
          <p:cNvSpPr>
            <a:spLocks noEditPoints="1"/>
          </p:cNvSpPr>
          <p:nvPr/>
        </p:nvSpPr>
        <p:spPr bwMode="auto">
          <a:xfrm>
            <a:off x="3433190" y="4355601"/>
            <a:ext cx="246167" cy="247871"/>
          </a:xfrm>
          <a:custGeom>
            <a:avLst/>
            <a:gdLst>
              <a:gd name="T0" fmla="*/ 103 w 122"/>
              <a:gd name="T1" fmla="*/ 69 h 123"/>
              <a:gd name="T2" fmla="*/ 84 w 122"/>
              <a:gd name="T3" fmla="*/ 62 h 123"/>
              <a:gd name="T4" fmla="*/ 90 w 122"/>
              <a:gd name="T5" fmla="*/ 39 h 123"/>
              <a:gd name="T6" fmla="*/ 78 w 122"/>
              <a:gd name="T7" fmla="*/ 22 h 123"/>
              <a:gd name="T8" fmla="*/ 61 w 122"/>
              <a:gd name="T9" fmla="*/ 15 h 123"/>
              <a:gd name="T10" fmla="*/ 56 w 122"/>
              <a:gd name="T11" fmla="*/ 4 h 123"/>
              <a:gd name="T12" fmla="*/ 74 w 122"/>
              <a:gd name="T13" fmla="*/ 25 h 123"/>
              <a:gd name="T14" fmla="*/ 81 w 122"/>
              <a:gd name="T15" fmla="*/ 36 h 123"/>
              <a:gd name="T16" fmla="*/ 77 w 122"/>
              <a:gd name="T17" fmla="*/ 44 h 123"/>
              <a:gd name="T18" fmla="*/ 71 w 122"/>
              <a:gd name="T19" fmla="*/ 51 h 123"/>
              <a:gd name="T20" fmla="*/ 51 w 122"/>
              <a:gd name="T21" fmla="*/ 24 h 123"/>
              <a:gd name="T22" fmla="*/ 39 w 122"/>
              <a:gd name="T23" fmla="*/ 18 h 123"/>
              <a:gd name="T24" fmla="*/ 31 w 122"/>
              <a:gd name="T25" fmla="*/ 0 h 123"/>
              <a:gd name="T26" fmla="*/ 40 w 122"/>
              <a:gd name="T27" fmla="*/ 27 h 123"/>
              <a:gd name="T28" fmla="*/ 58 w 122"/>
              <a:gd name="T29" fmla="*/ 55 h 123"/>
              <a:gd name="T30" fmla="*/ 46 w 122"/>
              <a:gd name="T31" fmla="*/ 52 h 123"/>
              <a:gd name="T32" fmla="*/ 36 w 122"/>
              <a:gd name="T33" fmla="*/ 46 h 123"/>
              <a:gd name="T34" fmla="*/ 24 w 122"/>
              <a:gd name="T35" fmla="*/ 19 h 123"/>
              <a:gd name="T36" fmla="*/ 0 w 122"/>
              <a:gd name="T37" fmla="*/ 20 h 123"/>
              <a:gd name="T38" fmla="*/ 20 w 122"/>
              <a:gd name="T39" fmla="*/ 23 h 123"/>
              <a:gd name="T40" fmla="*/ 29 w 122"/>
              <a:gd name="T41" fmla="*/ 52 h 123"/>
              <a:gd name="T42" fmla="*/ 40 w 122"/>
              <a:gd name="T43" fmla="*/ 64 h 123"/>
              <a:gd name="T44" fmla="*/ 51 w 122"/>
              <a:gd name="T45" fmla="*/ 71 h 123"/>
              <a:gd name="T46" fmla="*/ 37 w 122"/>
              <a:gd name="T47" fmla="*/ 73 h 123"/>
              <a:gd name="T48" fmla="*/ 23 w 122"/>
              <a:gd name="T49" fmla="*/ 73 h 123"/>
              <a:gd name="T50" fmla="*/ 18 w 122"/>
              <a:gd name="T51" fmla="*/ 43 h 123"/>
              <a:gd name="T52" fmla="*/ 8 w 122"/>
              <a:gd name="T53" fmla="*/ 37 h 123"/>
              <a:gd name="T54" fmla="*/ 11 w 122"/>
              <a:gd name="T55" fmla="*/ 67 h 123"/>
              <a:gd name="T56" fmla="*/ 27 w 122"/>
              <a:gd name="T57" fmla="*/ 86 h 123"/>
              <a:gd name="T58" fmla="*/ 55 w 122"/>
              <a:gd name="T59" fmla="*/ 85 h 123"/>
              <a:gd name="T60" fmla="*/ 59 w 122"/>
              <a:gd name="T61" fmla="*/ 98 h 123"/>
              <a:gd name="T62" fmla="*/ 80 w 122"/>
              <a:gd name="T63" fmla="*/ 120 h 123"/>
              <a:gd name="T64" fmla="*/ 103 w 122"/>
              <a:gd name="T65" fmla="*/ 69 h 123"/>
              <a:gd name="T66" fmla="*/ 106 w 122"/>
              <a:gd name="T67" fmla="*/ 98 h 123"/>
              <a:gd name="T68" fmla="*/ 80 w 122"/>
              <a:gd name="T69" fmla="*/ 114 h 123"/>
              <a:gd name="T70" fmla="*/ 68 w 122"/>
              <a:gd name="T71" fmla="*/ 86 h 123"/>
              <a:gd name="T72" fmla="*/ 93 w 122"/>
              <a:gd name="T73" fmla="*/ 70 h 123"/>
              <a:gd name="T74" fmla="*/ 106 w 122"/>
              <a:gd name="T75" fmla="*/ 9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2" h="123">
                <a:moveTo>
                  <a:pt x="103" y="69"/>
                </a:moveTo>
                <a:cubicBezTo>
                  <a:pt x="98" y="65"/>
                  <a:pt x="94" y="65"/>
                  <a:pt x="84" y="62"/>
                </a:cubicBezTo>
                <a:cubicBezTo>
                  <a:pt x="81" y="52"/>
                  <a:pt x="90" y="48"/>
                  <a:pt x="90" y="39"/>
                </a:cubicBezTo>
                <a:cubicBezTo>
                  <a:pt x="90" y="31"/>
                  <a:pt x="83" y="24"/>
                  <a:pt x="78" y="22"/>
                </a:cubicBezTo>
                <a:cubicBezTo>
                  <a:pt x="73" y="18"/>
                  <a:pt x="66" y="18"/>
                  <a:pt x="61" y="15"/>
                </a:cubicBezTo>
                <a:cubicBezTo>
                  <a:pt x="58" y="13"/>
                  <a:pt x="58" y="8"/>
                  <a:pt x="56" y="4"/>
                </a:cubicBezTo>
                <a:cubicBezTo>
                  <a:pt x="53" y="20"/>
                  <a:pt x="67" y="19"/>
                  <a:pt x="74" y="25"/>
                </a:cubicBezTo>
                <a:cubicBezTo>
                  <a:pt x="77" y="27"/>
                  <a:pt x="81" y="31"/>
                  <a:pt x="81" y="36"/>
                </a:cubicBezTo>
                <a:cubicBezTo>
                  <a:pt x="81" y="40"/>
                  <a:pt x="78" y="42"/>
                  <a:pt x="77" y="44"/>
                </a:cubicBezTo>
                <a:cubicBezTo>
                  <a:pt x="75" y="47"/>
                  <a:pt x="73" y="49"/>
                  <a:pt x="71" y="51"/>
                </a:cubicBezTo>
                <a:cubicBezTo>
                  <a:pt x="69" y="38"/>
                  <a:pt x="60" y="29"/>
                  <a:pt x="51" y="24"/>
                </a:cubicBezTo>
                <a:cubicBezTo>
                  <a:pt x="47" y="21"/>
                  <a:pt x="42" y="21"/>
                  <a:pt x="39" y="18"/>
                </a:cubicBezTo>
                <a:cubicBezTo>
                  <a:pt x="34" y="14"/>
                  <a:pt x="32" y="8"/>
                  <a:pt x="31" y="0"/>
                </a:cubicBezTo>
                <a:cubicBezTo>
                  <a:pt x="30" y="14"/>
                  <a:pt x="34" y="21"/>
                  <a:pt x="40" y="27"/>
                </a:cubicBezTo>
                <a:cubicBezTo>
                  <a:pt x="49" y="35"/>
                  <a:pt x="63" y="37"/>
                  <a:pt x="58" y="55"/>
                </a:cubicBezTo>
                <a:cubicBezTo>
                  <a:pt x="53" y="54"/>
                  <a:pt x="49" y="53"/>
                  <a:pt x="46" y="52"/>
                </a:cubicBezTo>
                <a:cubicBezTo>
                  <a:pt x="43" y="50"/>
                  <a:pt x="38" y="49"/>
                  <a:pt x="36" y="46"/>
                </a:cubicBezTo>
                <a:cubicBezTo>
                  <a:pt x="29" y="38"/>
                  <a:pt x="31" y="24"/>
                  <a:pt x="24" y="19"/>
                </a:cubicBezTo>
                <a:cubicBezTo>
                  <a:pt x="19" y="15"/>
                  <a:pt x="5" y="16"/>
                  <a:pt x="0" y="20"/>
                </a:cubicBezTo>
                <a:cubicBezTo>
                  <a:pt x="7" y="19"/>
                  <a:pt x="15" y="19"/>
                  <a:pt x="20" y="23"/>
                </a:cubicBezTo>
                <a:cubicBezTo>
                  <a:pt x="26" y="29"/>
                  <a:pt x="25" y="43"/>
                  <a:pt x="29" y="52"/>
                </a:cubicBezTo>
                <a:cubicBezTo>
                  <a:pt x="32" y="56"/>
                  <a:pt x="37" y="61"/>
                  <a:pt x="40" y="64"/>
                </a:cubicBezTo>
                <a:cubicBezTo>
                  <a:pt x="43" y="66"/>
                  <a:pt x="48" y="67"/>
                  <a:pt x="51" y="71"/>
                </a:cubicBezTo>
                <a:cubicBezTo>
                  <a:pt x="46" y="71"/>
                  <a:pt x="42" y="72"/>
                  <a:pt x="37" y="73"/>
                </a:cubicBezTo>
                <a:cubicBezTo>
                  <a:pt x="33" y="74"/>
                  <a:pt x="27" y="75"/>
                  <a:pt x="23" y="73"/>
                </a:cubicBezTo>
                <a:cubicBezTo>
                  <a:pt x="16" y="68"/>
                  <a:pt x="22" y="52"/>
                  <a:pt x="18" y="43"/>
                </a:cubicBezTo>
                <a:cubicBezTo>
                  <a:pt x="16" y="39"/>
                  <a:pt x="13" y="38"/>
                  <a:pt x="8" y="37"/>
                </a:cubicBezTo>
                <a:cubicBezTo>
                  <a:pt x="19" y="42"/>
                  <a:pt x="11" y="56"/>
                  <a:pt x="11" y="67"/>
                </a:cubicBezTo>
                <a:cubicBezTo>
                  <a:pt x="12" y="78"/>
                  <a:pt x="18" y="85"/>
                  <a:pt x="27" y="86"/>
                </a:cubicBezTo>
                <a:cubicBezTo>
                  <a:pt x="37" y="87"/>
                  <a:pt x="47" y="82"/>
                  <a:pt x="55" y="85"/>
                </a:cubicBezTo>
                <a:cubicBezTo>
                  <a:pt x="59" y="87"/>
                  <a:pt x="58" y="92"/>
                  <a:pt x="59" y="98"/>
                </a:cubicBezTo>
                <a:cubicBezTo>
                  <a:pt x="61" y="109"/>
                  <a:pt x="69" y="119"/>
                  <a:pt x="80" y="120"/>
                </a:cubicBezTo>
                <a:cubicBezTo>
                  <a:pt x="108" y="123"/>
                  <a:pt x="122" y="86"/>
                  <a:pt x="103" y="69"/>
                </a:cubicBezTo>
                <a:close/>
                <a:moveTo>
                  <a:pt x="106" y="98"/>
                </a:moveTo>
                <a:cubicBezTo>
                  <a:pt x="102" y="110"/>
                  <a:pt x="91" y="117"/>
                  <a:pt x="80" y="114"/>
                </a:cubicBezTo>
                <a:cubicBezTo>
                  <a:pt x="70" y="111"/>
                  <a:pt x="64" y="98"/>
                  <a:pt x="68" y="86"/>
                </a:cubicBezTo>
                <a:cubicBezTo>
                  <a:pt x="71" y="74"/>
                  <a:pt x="83" y="67"/>
                  <a:pt x="93" y="70"/>
                </a:cubicBezTo>
                <a:cubicBezTo>
                  <a:pt x="104" y="73"/>
                  <a:pt x="109" y="85"/>
                  <a:pt x="106" y="9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7" name="Freeform 226"/>
          <p:cNvSpPr>
            <a:spLocks noEditPoints="1"/>
          </p:cNvSpPr>
          <p:nvPr/>
        </p:nvSpPr>
        <p:spPr bwMode="auto">
          <a:xfrm>
            <a:off x="3908489" y="4404153"/>
            <a:ext cx="60477" cy="110733"/>
          </a:xfrm>
          <a:custGeom>
            <a:avLst/>
            <a:gdLst>
              <a:gd name="T0" fmla="*/ 71 w 71"/>
              <a:gd name="T1" fmla="*/ 0 h 130"/>
              <a:gd name="T2" fmla="*/ 43 w 71"/>
              <a:gd name="T3" fmla="*/ 0 h 130"/>
              <a:gd name="T4" fmla="*/ 43 w 71"/>
              <a:gd name="T5" fmla="*/ 40 h 130"/>
              <a:gd name="T6" fmla="*/ 0 w 71"/>
              <a:gd name="T7" fmla="*/ 40 h 130"/>
              <a:gd name="T8" fmla="*/ 0 w 71"/>
              <a:gd name="T9" fmla="*/ 130 h 130"/>
              <a:gd name="T10" fmla="*/ 71 w 71"/>
              <a:gd name="T11" fmla="*/ 130 h 130"/>
              <a:gd name="T12" fmla="*/ 71 w 71"/>
              <a:gd name="T13" fmla="*/ 0 h 130"/>
              <a:gd name="T14" fmla="*/ 43 w 71"/>
              <a:gd name="T15" fmla="*/ 107 h 130"/>
              <a:gd name="T16" fmla="*/ 28 w 71"/>
              <a:gd name="T17" fmla="*/ 107 h 130"/>
              <a:gd name="T18" fmla="*/ 28 w 71"/>
              <a:gd name="T19" fmla="*/ 64 h 130"/>
              <a:gd name="T20" fmla="*/ 43 w 71"/>
              <a:gd name="T21" fmla="*/ 64 h 130"/>
              <a:gd name="T22" fmla="*/ 43 w 71"/>
              <a:gd name="T23" fmla="*/ 10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 h="130">
                <a:moveTo>
                  <a:pt x="71" y="0"/>
                </a:moveTo>
                <a:lnTo>
                  <a:pt x="43" y="0"/>
                </a:lnTo>
                <a:lnTo>
                  <a:pt x="43" y="40"/>
                </a:lnTo>
                <a:lnTo>
                  <a:pt x="0" y="40"/>
                </a:lnTo>
                <a:lnTo>
                  <a:pt x="0" y="130"/>
                </a:lnTo>
                <a:lnTo>
                  <a:pt x="71" y="130"/>
                </a:lnTo>
                <a:lnTo>
                  <a:pt x="71" y="0"/>
                </a:lnTo>
                <a:close/>
                <a:moveTo>
                  <a:pt x="43" y="107"/>
                </a:moveTo>
                <a:lnTo>
                  <a:pt x="28" y="107"/>
                </a:lnTo>
                <a:lnTo>
                  <a:pt x="28" y="64"/>
                </a:lnTo>
                <a:lnTo>
                  <a:pt x="43" y="64"/>
                </a:lnTo>
                <a:lnTo>
                  <a:pt x="43" y="10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8" name="Freeform 227"/>
          <p:cNvSpPr>
            <a:spLocks noEditPoints="1"/>
          </p:cNvSpPr>
          <p:nvPr/>
        </p:nvSpPr>
        <p:spPr bwMode="auto">
          <a:xfrm>
            <a:off x="4017518" y="4438225"/>
            <a:ext cx="60477" cy="111585"/>
          </a:xfrm>
          <a:custGeom>
            <a:avLst/>
            <a:gdLst>
              <a:gd name="T0" fmla="*/ 71 w 71"/>
              <a:gd name="T1" fmla="*/ 131 h 131"/>
              <a:gd name="T2" fmla="*/ 71 w 71"/>
              <a:gd name="T3" fmla="*/ 0 h 131"/>
              <a:gd name="T4" fmla="*/ 0 w 71"/>
              <a:gd name="T5" fmla="*/ 0 h 131"/>
              <a:gd name="T6" fmla="*/ 0 w 71"/>
              <a:gd name="T7" fmla="*/ 90 h 131"/>
              <a:gd name="T8" fmla="*/ 42 w 71"/>
              <a:gd name="T9" fmla="*/ 90 h 131"/>
              <a:gd name="T10" fmla="*/ 42 w 71"/>
              <a:gd name="T11" fmla="*/ 105 h 131"/>
              <a:gd name="T12" fmla="*/ 0 w 71"/>
              <a:gd name="T13" fmla="*/ 105 h 131"/>
              <a:gd name="T14" fmla="*/ 0 w 71"/>
              <a:gd name="T15" fmla="*/ 131 h 131"/>
              <a:gd name="T16" fmla="*/ 59 w 71"/>
              <a:gd name="T17" fmla="*/ 131 h 131"/>
              <a:gd name="T18" fmla="*/ 71 w 71"/>
              <a:gd name="T19" fmla="*/ 131 h 131"/>
              <a:gd name="T20" fmla="*/ 42 w 71"/>
              <a:gd name="T21" fmla="*/ 67 h 131"/>
              <a:gd name="T22" fmla="*/ 28 w 71"/>
              <a:gd name="T23" fmla="*/ 67 h 131"/>
              <a:gd name="T24" fmla="*/ 28 w 71"/>
              <a:gd name="T25" fmla="*/ 24 h 131"/>
              <a:gd name="T26" fmla="*/ 42 w 71"/>
              <a:gd name="T27" fmla="*/ 24 h 131"/>
              <a:gd name="T28" fmla="*/ 42 w 71"/>
              <a:gd name="T29" fmla="*/ 6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131">
                <a:moveTo>
                  <a:pt x="71" y="131"/>
                </a:moveTo>
                <a:lnTo>
                  <a:pt x="71" y="0"/>
                </a:lnTo>
                <a:lnTo>
                  <a:pt x="0" y="0"/>
                </a:lnTo>
                <a:lnTo>
                  <a:pt x="0" y="90"/>
                </a:lnTo>
                <a:lnTo>
                  <a:pt x="42" y="90"/>
                </a:lnTo>
                <a:lnTo>
                  <a:pt x="42" y="105"/>
                </a:lnTo>
                <a:lnTo>
                  <a:pt x="0" y="105"/>
                </a:lnTo>
                <a:lnTo>
                  <a:pt x="0" y="131"/>
                </a:lnTo>
                <a:lnTo>
                  <a:pt x="59" y="131"/>
                </a:lnTo>
                <a:lnTo>
                  <a:pt x="71" y="131"/>
                </a:lnTo>
                <a:close/>
                <a:moveTo>
                  <a:pt x="42" y="67"/>
                </a:moveTo>
                <a:lnTo>
                  <a:pt x="28" y="67"/>
                </a:lnTo>
                <a:lnTo>
                  <a:pt x="28" y="24"/>
                </a:lnTo>
                <a:lnTo>
                  <a:pt x="42" y="24"/>
                </a:lnTo>
                <a:lnTo>
                  <a:pt x="42" y="6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79" name="Freeform 228"/>
          <p:cNvSpPr>
            <a:spLocks noEditPoints="1"/>
          </p:cNvSpPr>
          <p:nvPr/>
        </p:nvSpPr>
        <p:spPr bwMode="auto">
          <a:xfrm>
            <a:off x="4089920" y="4438225"/>
            <a:ext cx="60477" cy="111585"/>
          </a:xfrm>
          <a:custGeom>
            <a:avLst/>
            <a:gdLst>
              <a:gd name="T0" fmla="*/ 0 w 71"/>
              <a:gd name="T1" fmla="*/ 90 h 131"/>
              <a:gd name="T2" fmla="*/ 42 w 71"/>
              <a:gd name="T3" fmla="*/ 90 h 131"/>
              <a:gd name="T4" fmla="*/ 42 w 71"/>
              <a:gd name="T5" fmla="*/ 105 h 131"/>
              <a:gd name="T6" fmla="*/ 0 w 71"/>
              <a:gd name="T7" fmla="*/ 105 h 131"/>
              <a:gd name="T8" fmla="*/ 0 w 71"/>
              <a:gd name="T9" fmla="*/ 131 h 131"/>
              <a:gd name="T10" fmla="*/ 59 w 71"/>
              <a:gd name="T11" fmla="*/ 131 h 131"/>
              <a:gd name="T12" fmla="*/ 71 w 71"/>
              <a:gd name="T13" fmla="*/ 131 h 131"/>
              <a:gd name="T14" fmla="*/ 71 w 71"/>
              <a:gd name="T15" fmla="*/ 0 h 131"/>
              <a:gd name="T16" fmla="*/ 0 w 71"/>
              <a:gd name="T17" fmla="*/ 0 h 131"/>
              <a:gd name="T18" fmla="*/ 0 w 71"/>
              <a:gd name="T19" fmla="*/ 90 h 131"/>
              <a:gd name="T20" fmla="*/ 28 w 71"/>
              <a:gd name="T21" fmla="*/ 24 h 131"/>
              <a:gd name="T22" fmla="*/ 42 w 71"/>
              <a:gd name="T23" fmla="*/ 24 h 131"/>
              <a:gd name="T24" fmla="*/ 42 w 71"/>
              <a:gd name="T25" fmla="*/ 67 h 131"/>
              <a:gd name="T26" fmla="*/ 28 w 71"/>
              <a:gd name="T27" fmla="*/ 67 h 131"/>
              <a:gd name="T28" fmla="*/ 28 w 71"/>
              <a:gd name="T29" fmla="*/ 2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131">
                <a:moveTo>
                  <a:pt x="0" y="90"/>
                </a:moveTo>
                <a:lnTo>
                  <a:pt x="42" y="90"/>
                </a:lnTo>
                <a:lnTo>
                  <a:pt x="42" y="105"/>
                </a:lnTo>
                <a:lnTo>
                  <a:pt x="0" y="105"/>
                </a:lnTo>
                <a:lnTo>
                  <a:pt x="0" y="131"/>
                </a:lnTo>
                <a:lnTo>
                  <a:pt x="59" y="131"/>
                </a:lnTo>
                <a:lnTo>
                  <a:pt x="71" y="131"/>
                </a:lnTo>
                <a:lnTo>
                  <a:pt x="71" y="0"/>
                </a:lnTo>
                <a:lnTo>
                  <a:pt x="0" y="0"/>
                </a:lnTo>
                <a:lnTo>
                  <a:pt x="0" y="90"/>
                </a:lnTo>
                <a:close/>
                <a:moveTo>
                  <a:pt x="28" y="24"/>
                </a:moveTo>
                <a:lnTo>
                  <a:pt x="42" y="24"/>
                </a:lnTo>
                <a:lnTo>
                  <a:pt x="42" y="67"/>
                </a:lnTo>
                <a:lnTo>
                  <a:pt x="28" y="67"/>
                </a:lnTo>
                <a:lnTo>
                  <a:pt x="28"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80" name="Rectangle 229"/>
          <p:cNvSpPr>
            <a:spLocks noChangeArrowheads="1"/>
          </p:cNvSpPr>
          <p:nvPr/>
        </p:nvSpPr>
        <p:spPr bwMode="auto">
          <a:xfrm>
            <a:off x="3980890" y="4438225"/>
            <a:ext cx="24702" cy="7666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81" name="Rectangle 230"/>
          <p:cNvSpPr>
            <a:spLocks noChangeArrowheads="1"/>
          </p:cNvSpPr>
          <p:nvPr/>
        </p:nvSpPr>
        <p:spPr bwMode="auto">
          <a:xfrm>
            <a:off x="3980890" y="4406709"/>
            <a:ext cx="24702" cy="1959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82" name="Freeform 231"/>
          <p:cNvSpPr>
            <a:spLocks/>
          </p:cNvSpPr>
          <p:nvPr/>
        </p:nvSpPr>
        <p:spPr bwMode="auto">
          <a:xfrm>
            <a:off x="4971521" y="4353897"/>
            <a:ext cx="139693" cy="241908"/>
          </a:xfrm>
          <a:custGeom>
            <a:avLst/>
            <a:gdLst>
              <a:gd name="T0" fmla="*/ 97 w 164"/>
              <a:gd name="T1" fmla="*/ 0 h 284"/>
              <a:gd name="T2" fmla="*/ 0 w 164"/>
              <a:gd name="T3" fmla="*/ 173 h 284"/>
              <a:gd name="T4" fmla="*/ 62 w 164"/>
              <a:gd name="T5" fmla="*/ 284 h 284"/>
              <a:gd name="T6" fmla="*/ 128 w 164"/>
              <a:gd name="T7" fmla="*/ 284 h 284"/>
              <a:gd name="T8" fmla="*/ 64 w 164"/>
              <a:gd name="T9" fmla="*/ 173 h 284"/>
              <a:gd name="T10" fmla="*/ 164 w 164"/>
              <a:gd name="T11" fmla="*/ 0 h 284"/>
              <a:gd name="T12" fmla="*/ 97 w 164"/>
              <a:gd name="T13" fmla="*/ 0 h 284"/>
            </a:gdLst>
            <a:ahLst/>
            <a:cxnLst>
              <a:cxn ang="0">
                <a:pos x="T0" y="T1"/>
              </a:cxn>
              <a:cxn ang="0">
                <a:pos x="T2" y="T3"/>
              </a:cxn>
              <a:cxn ang="0">
                <a:pos x="T4" y="T5"/>
              </a:cxn>
              <a:cxn ang="0">
                <a:pos x="T6" y="T7"/>
              </a:cxn>
              <a:cxn ang="0">
                <a:pos x="T8" y="T9"/>
              </a:cxn>
              <a:cxn ang="0">
                <a:pos x="T10" y="T11"/>
              </a:cxn>
              <a:cxn ang="0">
                <a:pos x="T12" y="T13"/>
              </a:cxn>
            </a:cxnLst>
            <a:rect l="0" t="0" r="r" b="b"/>
            <a:pathLst>
              <a:path w="164" h="284">
                <a:moveTo>
                  <a:pt x="97" y="0"/>
                </a:moveTo>
                <a:lnTo>
                  <a:pt x="0" y="173"/>
                </a:lnTo>
                <a:lnTo>
                  <a:pt x="62" y="284"/>
                </a:lnTo>
                <a:lnTo>
                  <a:pt x="128" y="284"/>
                </a:lnTo>
                <a:lnTo>
                  <a:pt x="64" y="173"/>
                </a:lnTo>
                <a:lnTo>
                  <a:pt x="164" y="0"/>
                </a:lnTo>
                <a:lnTo>
                  <a:pt x="9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83" name="Freeform 232"/>
          <p:cNvSpPr>
            <a:spLocks/>
          </p:cNvSpPr>
          <p:nvPr/>
        </p:nvSpPr>
        <p:spPr bwMode="auto">
          <a:xfrm>
            <a:off x="4885491" y="4398191"/>
            <a:ext cx="92845" cy="125213"/>
          </a:xfrm>
          <a:custGeom>
            <a:avLst/>
            <a:gdLst>
              <a:gd name="T0" fmla="*/ 61 w 109"/>
              <a:gd name="T1" fmla="*/ 147 h 147"/>
              <a:gd name="T2" fmla="*/ 109 w 109"/>
              <a:gd name="T3" fmla="*/ 66 h 147"/>
              <a:gd name="T4" fmla="*/ 73 w 109"/>
              <a:gd name="T5" fmla="*/ 0 h 147"/>
              <a:gd name="T6" fmla="*/ 12 w 109"/>
              <a:gd name="T7" fmla="*/ 0 h 147"/>
              <a:gd name="T8" fmla="*/ 47 w 109"/>
              <a:gd name="T9" fmla="*/ 66 h 147"/>
              <a:gd name="T10" fmla="*/ 0 w 109"/>
              <a:gd name="T11" fmla="*/ 147 h 147"/>
              <a:gd name="T12" fmla="*/ 61 w 109"/>
              <a:gd name="T13" fmla="*/ 147 h 147"/>
            </a:gdLst>
            <a:ahLst/>
            <a:cxnLst>
              <a:cxn ang="0">
                <a:pos x="T0" y="T1"/>
              </a:cxn>
              <a:cxn ang="0">
                <a:pos x="T2" y="T3"/>
              </a:cxn>
              <a:cxn ang="0">
                <a:pos x="T4" y="T5"/>
              </a:cxn>
              <a:cxn ang="0">
                <a:pos x="T6" y="T7"/>
              </a:cxn>
              <a:cxn ang="0">
                <a:pos x="T8" y="T9"/>
              </a:cxn>
              <a:cxn ang="0">
                <a:pos x="T10" y="T11"/>
              </a:cxn>
              <a:cxn ang="0">
                <a:pos x="T12" y="T13"/>
              </a:cxn>
            </a:cxnLst>
            <a:rect l="0" t="0" r="r" b="b"/>
            <a:pathLst>
              <a:path w="109" h="147">
                <a:moveTo>
                  <a:pt x="61" y="147"/>
                </a:moveTo>
                <a:lnTo>
                  <a:pt x="109" y="66"/>
                </a:lnTo>
                <a:lnTo>
                  <a:pt x="73" y="0"/>
                </a:lnTo>
                <a:lnTo>
                  <a:pt x="12" y="0"/>
                </a:lnTo>
                <a:lnTo>
                  <a:pt x="47" y="66"/>
                </a:lnTo>
                <a:lnTo>
                  <a:pt x="0" y="147"/>
                </a:lnTo>
                <a:lnTo>
                  <a:pt x="61" y="14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84" name="Freeform 233"/>
          <p:cNvSpPr>
            <a:spLocks/>
          </p:cNvSpPr>
          <p:nvPr/>
        </p:nvSpPr>
        <p:spPr bwMode="auto">
          <a:xfrm>
            <a:off x="6320754" y="2425446"/>
            <a:ext cx="258092" cy="241908"/>
          </a:xfrm>
          <a:custGeom>
            <a:avLst/>
            <a:gdLst>
              <a:gd name="T0" fmla="*/ 124 w 128"/>
              <a:gd name="T1" fmla="*/ 18 h 120"/>
              <a:gd name="T2" fmla="*/ 128 w 128"/>
              <a:gd name="T3" fmla="*/ 78 h 120"/>
              <a:gd name="T4" fmla="*/ 106 w 128"/>
              <a:gd name="T5" fmla="*/ 114 h 120"/>
              <a:gd name="T6" fmla="*/ 87 w 128"/>
              <a:gd name="T7" fmla="*/ 117 h 120"/>
              <a:gd name="T8" fmla="*/ 51 w 128"/>
              <a:gd name="T9" fmla="*/ 117 h 120"/>
              <a:gd name="T10" fmla="*/ 33 w 128"/>
              <a:gd name="T11" fmla="*/ 114 h 120"/>
              <a:gd name="T12" fmla="*/ 6 w 128"/>
              <a:gd name="T13" fmla="*/ 33 h 120"/>
              <a:gd name="T14" fmla="*/ 37 w 128"/>
              <a:gd name="T15" fmla="*/ 4 h 120"/>
              <a:gd name="T16" fmla="*/ 53 w 128"/>
              <a:gd name="T17" fmla="*/ 6 h 120"/>
              <a:gd name="T18" fmla="*/ 81 w 128"/>
              <a:gd name="T19" fmla="*/ 6 h 120"/>
              <a:gd name="T20" fmla="*/ 119 w 128"/>
              <a:gd name="T21" fmla="*/ 12 h 120"/>
              <a:gd name="T22" fmla="*/ 124 w 128"/>
              <a:gd name="T23"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120">
                <a:moveTo>
                  <a:pt x="124" y="18"/>
                </a:moveTo>
                <a:cubicBezTo>
                  <a:pt x="102" y="33"/>
                  <a:pt x="102" y="64"/>
                  <a:pt x="128" y="78"/>
                </a:cubicBezTo>
                <a:cubicBezTo>
                  <a:pt x="123" y="92"/>
                  <a:pt x="116" y="104"/>
                  <a:pt x="106" y="114"/>
                </a:cubicBezTo>
                <a:cubicBezTo>
                  <a:pt x="100" y="118"/>
                  <a:pt x="93" y="120"/>
                  <a:pt x="87" y="117"/>
                </a:cubicBezTo>
                <a:cubicBezTo>
                  <a:pt x="75" y="111"/>
                  <a:pt x="63" y="111"/>
                  <a:pt x="51" y="117"/>
                </a:cubicBezTo>
                <a:cubicBezTo>
                  <a:pt x="45" y="120"/>
                  <a:pt x="38" y="119"/>
                  <a:pt x="33" y="114"/>
                </a:cubicBezTo>
                <a:cubicBezTo>
                  <a:pt x="11" y="91"/>
                  <a:pt x="0" y="65"/>
                  <a:pt x="6" y="33"/>
                </a:cubicBezTo>
                <a:cubicBezTo>
                  <a:pt x="10" y="17"/>
                  <a:pt x="21" y="7"/>
                  <a:pt x="37" y="4"/>
                </a:cubicBezTo>
                <a:cubicBezTo>
                  <a:pt x="43" y="3"/>
                  <a:pt x="49" y="4"/>
                  <a:pt x="53" y="6"/>
                </a:cubicBezTo>
                <a:cubicBezTo>
                  <a:pt x="63" y="10"/>
                  <a:pt x="72" y="10"/>
                  <a:pt x="81" y="6"/>
                </a:cubicBezTo>
                <a:cubicBezTo>
                  <a:pt x="95" y="0"/>
                  <a:pt x="108" y="3"/>
                  <a:pt x="119" y="12"/>
                </a:cubicBezTo>
                <a:cubicBezTo>
                  <a:pt x="121" y="13"/>
                  <a:pt x="122" y="16"/>
                  <a:pt x="124" y="1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85" name="Freeform 234"/>
          <p:cNvSpPr>
            <a:spLocks/>
          </p:cNvSpPr>
          <p:nvPr/>
        </p:nvSpPr>
        <p:spPr bwMode="auto">
          <a:xfrm>
            <a:off x="6450227" y="2357303"/>
            <a:ext cx="68143" cy="72402"/>
          </a:xfrm>
          <a:custGeom>
            <a:avLst/>
            <a:gdLst>
              <a:gd name="T0" fmla="*/ 32 w 34"/>
              <a:gd name="T1" fmla="*/ 0 h 36"/>
              <a:gd name="T2" fmla="*/ 3 w 34"/>
              <a:gd name="T3" fmla="*/ 35 h 36"/>
              <a:gd name="T4" fmla="*/ 32 w 34"/>
              <a:gd name="T5" fmla="*/ 0 h 36"/>
            </a:gdLst>
            <a:ahLst/>
            <a:cxnLst>
              <a:cxn ang="0">
                <a:pos x="T0" y="T1"/>
              </a:cxn>
              <a:cxn ang="0">
                <a:pos x="T2" y="T3"/>
              </a:cxn>
              <a:cxn ang="0">
                <a:pos x="T4" y="T5"/>
              </a:cxn>
            </a:cxnLst>
            <a:rect l="0" t="0" r="r" b="b"/>
            <a:pathLst>
              <a:path w="34" h="36">
                <a:moveTo>
                  <a:pt x="32" y="0"/>
                </a:moveTo>
                <a:cubicBezTo>
                  <a:pt x="34" y="18"/>
                  <a:pt x="18" y="36"/>
                  <a:pt x="3" y="35"/>
                </a:cubicBezTo>
                <a:cubicBezTo>
                  <a:pt x="0" y="19"/>
                  <a:pt x="15" y="1"/>
                  <a:pt x="32"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9" name="Group 8"/>
          <p:cNvGrpSpPr/>
          <p:nvPr/>
        </p:nvGrpSpPr>
        <p:grpSpPr>
          <a:xfrm>
            <a:off x="7204911" y="2292567"/>
            <a:ext cx="435264" cy="435264"/>
            <a:chOff x="5680911" y="2292567"/>
            <a:chExt cx="435264" cy="435264"/>
          </a:xfrm>
        </p:grpSpPr>
        <p:sp>
          <p:nvSpPr>
            <p:cNvPr id="636" name="Oval 79"/>
            <p:cNvSpPr>
              <a:spLocks noChangeArrowheads="1"/>
            </p:cNvSpPr>
            <p:nvPr/>
          </p:nvSpPr>
          <p:spPr bwMode="auto">
            <a:xfrm>
              <a:off x="5680911" y="2292567"/>
              <a:ext cx="435264" cy="435264"/>
            </a:xfrm>
            <a:prstGeom prst="ellipse">
              <a:avLst/>
            </a:prstGeom>
            <a:solidFill>
              <a:srgbClr val="1074A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86" name="Freeform 235"/>
            <p:cNvSpPr>
              <a:spLocks/>
            </p:cNvSpPr>
            <p:nvPr/>
          </p:nvSpPr>
          <p:spPr bwMode="auto">
            <a:xfrm>
              <a:off x="5862342" y="2453555"/>
              <a:ext cx="159285" cy="169506"/>
            </a:xfrm>
            <a:custGeom>
              <a:avLst/>
              <a:gdLst>
                <a:gd name="T0" fmla="*/ 54 w 79"/>
                <a:gd name="T1" fmla="*/ 84 h 84"/>
                <a:gd name="T2" fmla="*/ 53 w 79"/>
                <a:gd name="T3" fmla="*/ 82 h 84"/>
                <a:gd name="T4" fmla="*/ 53 w 79"/>
                <a:gd name="T5" fmla="*/ 41 h 84"/>
                <a:gd name="T6" fmla="*/ 53 w 79"/>
                <a:gd name="T7" fmla="*/ 33 h 84"/>
                <a:gd name="T8" fmla="*/ 38 w 79"/>
                <a:gd name="T9" fmla="*/ 23 h 84"/>
                <a:gd name="T10" fmla="*/ 26 w 79"/>
                <a:gd name="T11" fmla="*/ 35 h 84"/>
                <a:gd name="T12" fmla="*/ 25 w 79"/>
                <a:gd name="T13" fmla="*/ 44 h 84"/>
                <a:gd name="T14" fmla="*/ 25 w 79"/>
                <a:gd name="T15" fmla="*/ 82 h 84"/>
                <a:gd name="T16" fmla="*/ 25 w 79"/>
                <a:gd name="T17" fmla="*/ 84 h 84"/>
                <a:gd name="T18" fmla="*/ 23 w 79"/>
                <a:gd name="T19" fmla="*/ 84 h 84"/>
                <a:gd name="T20" fmla="*/ 0 w 79"/>
                <a:gd name="T21" fmla="*/ 84 h 84"/>
                <a:gd name="T22" fmla="*/ 0 w 79"/>
                <a:gd name="T23" fmla="*/ 82 h 84"/>
                <a:gd name="T24" fmla="*/ 0 w 79"/>
                <a:gd name="T25" fmla="*/ 4 h 84"/>
                <a:gd name="T26" fmla="*/ 0 w 79"/>
                <a:gd name="T27" fmla="*/ 2 h 84"/>
                <a:gd name="T28" fmla="*/ 24 w 79"/>
                <a:gd name="T29" fmla="*/ 2 h 84"/>
                <a:gd name="T30" fmla="*/ 24 w 79"/>
                <a:gd name="T31" fmla="*/ 13 h 84"/>
                <a:gd name="T32" fmla="*/ 25 w 79"/>
                <a:gd name="T33" fmla="*/ 13 h 84"/>
                <a:gd name="T34" fmla="*/ 43 w 79"/>
                <a:gd name="T35" fmla="*/ 1 h 84"/>
                <a:gd name="T36" fmla="*/ 64 w 79"/>
                <a:gd name="T37" fmla="*/ 3 h 84"/>
                <a:gd name="T38" fmla="*/ 77 w 79"/>
                <a:gd name="T39" fmla="*/ 19 h 84"/>
                <a:gd name="T40" fmla="*/ 79 w 79"/>
                <a:gd name="T41" fmla="*/ 35 h 84"/>
                <a:gd name="T42" fmla="*/ 79 w 79"/>
                <a:gd name="T43" fmla="*/ 82 h 84"/>
                <a:gd name="T44" fmla="*/ 79 w 79"/>
                <a:gd name="T45" fmla="*/ 84 h 84"/>
                <a:gd name="T46" fmla="*/ 54 w 79"/>
                <a:gd name="T4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84">
                  <a:moveTo>
                    <a:pt x="54" y="84"/>
                  </a:moveTo>
                  <a:cubicBezTo>
                    <a:pt x="54" y="83"/>
                    <a:pt x="53" y="83"/>
                    <a:pt x="53" y="82"/>
                  </a:cubicBezTo>
                  <a:cubicBezTo>
                    <a:pt x="53" y="69"/>
                    <a:pt x="54" y="55"/>
                    <a:pt x="53" y="41"/>
                  </a:cubicBezTo>
                  <a:cubicBezTo>
                    <a:pt x="53" y="38"/>
                    <a:pt x="53" y="36"/>
                    <a:pt x="53" y="33"/>
                  </a:cubicBezTo>
                  <a:cubicBezTo>
                    <a:pt x="51" y="25"/>
                    <a:pt x="46" y="22"/>
                    <a:pt x="38" y="23"/>
                  </a:cubicBezTo>
                  <a:cubicBezTo>
                    <a:pt x="31" y="23"/>
                    <a:pt x="27" y="27"/>
                    <a:pt x="26" y="35"/>
                  </a:cubicBezTo>
                  <a:cubicBezTo>
                    <a:pt x="25" y="38"/>
                    <a:pt x="25" y="41"/>
                    <a:pt x="25" y="44"/>
                  </a:cubicBezTo>
                  <a:cubicBezTo>
                    <a:pt x="25" y="57"/>
                    <a:pt x="25" y="70"/>
                    <a:pt x="25" y="82"/>
                  </a:cubicBezTo>
                  <a:cubicBezTo>
                    <a:pt x="25" y="83"/>
                    <a:pt x="25" y="83"/>
                    <a:pt x="25" y="84"/>
                  </a:cubicBezTo>
                  <a:cubicBezTo>
                    <a:pt x="24" y="84"/>
                    <a:pt x="24" y="84"/>
                    <a:pt x="23" y="84"/>
                  </a:cubicBezTo>
                  <a:cubicBezTo>
                    <a:pt x="16" y="84"/>
                    <a:pt x="8" y="84"/>
                    <a:pt x="0" y="84"/>
                  </a:cubicBezTo>
                  <a:cubicBezTo>
                    <a:pt x="0" y="83"/>
                    <a:pt x="0" y="83"/>
                    <a:pt x="0" y="82"/>
                  </a:cubicBezTo>
                  <a:cubicBezTo>
                    <a:pt x="0" y="56"/>
                    <a:pt x="0" y="30"/>
                    <a:pt x="0" y="4"/>
                  </a:cubicBezTo>
                  <a:cubicBezTo>
                    <a:pt x="0" y="2"/>
                    <a:pt x="0" y="2"/>
                    <a:pt x="0" y="2"/>
                  </a:cubicBezTo>
                  <a:cubicBezTo>
                    <a:pt x="24" y="2"/>
                    <a:pt x="24" y="2"/>
                    <a:pt x="24" y="2"/>
                  </a:cubicBezTo>
                  <a:cubicBezTo>
                    <a:pt x="24" y="13"/>
                    <a:pt x="24" y="13"/>
                    <a:pt x="24" y="13"/>
                  </a:cubicBezTo>
                  <a:cubicBezTo>
                    <a:pt x="25" y="13"/>
                    <a:pt x="25" y="13"/>
                    <a:pt x="25" y="13"/>
                  </a:cubicBezTo>
                  <a:cubicBezTo>
                    <a:pt x="29" y="6"/>
                    <a:pt x="35" y="2"/>
                    <a:pt x="43" y="1"/>
                  </a:cubicBezTo>
                  <a:cubicBezTo>
                    <a:pt x="50" y="0"/>
                    <a:pt x="57" y="0"/>
                    <a:pt x="64" y="3"/>
                  </a:cubicBezTo>
                  <a:cubicBezTo>
                    <a:pt x="71" y="6"/>
                    <a:pt x="74" y="12"/>
                    <a:pt x="77" y="19"/>
                  </a:cubicBezTo>
                  <a:cubicBezTo>
                    <a:pt x="78" y="24"/>
                    <a:pt x="79" y="30"/>
                    <a:pt x="79" y="35"/>
                  </a:cubicBezTo>
                  <a:cubicBezTo>
                    <a:pt x="79" y="51"/>
                    <a:pt x="79" y="67"/>
                    <a:pt x="79" y="82"/>
                  </a:cubicBezTo>
                  <a:cubicBezTo>
                    <a:pt x="79" y="83"/>
                    <a:pt x="79" y="83"/>
                    <a:pt x="79" y="84"/>
                  </a:cubicBezTo>
                  <a:cubicBezTo>
                    <a:pt x="70" y="84"/>
                    <a:pt x="62" y="84"/>
                    <a:pt x="54" y="84"/>
                  </a:cubicBezTo>
                </a:path>
              </a:pathLst>
            </a:custGeom>
            <a:solidFill>
              <a:srgbClr val="FCFD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87" name="Freeform 236"/>
            <p:cNvSpPr>
              <a:spLocks/>
            </p:cNvSpPr>
            <p:nvPr/>
          </p:nvSpPr>
          <p:spPr bwMode="auto">
            <a:xfrm>
              <a:off x="5779718" y="2457814"/>
              <a:ext cx="50256" cy="165247"/>
            </a:xfrm>
            <a:custGeom>
              <a:avLst/>
              <a:gdLst>
                <a:gd name="T0" fmla="*/ 0 w 25"/>
                <a:gd name="T1" fmla="*/ 82 h 82"/>
                <a:gd name="T2" fmla="*/ 0 w 25"/>
                <a:gd name="T3" fmla="*/ 80 h 82"/>
                <a:gd name="T4" fmla="*/ 0 w 25"/>
                <a:gd name="T5" fmla="*/ 2 h 82"/>
                <a:gd name="T6" fmla="*/ 0 w 25"/>
                <a:gd name="T7" fmla="*/ 0 h 82"/>
                <a:gd name="T8" fmla="*/ 25 w 25"/>
                <a:gd name="T9" fmla="*/ 0 h 82"/>
                <a:gd name="T10" fmla="*/ 25 w 25"/>
                <a:gd name="T11" fmla="*/ 2 h 82"/>
                <a:gd name="T12" fmla="*/ 25 w 25"/>
                <a:gd name="T13" fmla="*/ 80 h 82"/>
                <a:gd name="T14" fmla="*/ 25 w 25"/>
                <a:gd name="T15" fmla="*/ 82 h 82"/>
                <a:gd name="T16" fmla="*/ 0 w 25"/>
                <a:gd name="T1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82">
                  <a:moveTo>
                    <a:pt x="0" y="82"/>
                  </a:moveTo>
                  <a:cubicBezTo>
                    <a:pt x="0" y="81"/>
                    <a:pt x="0" y="81"/>
                    <a:pt x="0" y="80"/>
                  </a:cubicBezTo>
                  <a:cubicBezTo>
                    <a:pt x="0" y="54"/>
                    <a:pt x="0" y="28"/>
                    <a:pt x="0" y="2"/>
                  </a:cubicBezTo>
                  <a:cubicBezTo>
                    <a:pt x="0" y="0"/>
                    <a:pt x="0" y="0"/>
                    <a:pt x="0" y="0"/>
                  </a:cubicBezTo>
                  <a:cubicBezTo>
                    <a:pt x="25" y="0"/>
                    <a:pt x="25" y="0"/>
                    <a:pt x="25" y="0"/>
                  </a:cubicBezTo>
                  <a:cubicBezTo>
                    <a:pt x="25" y="2"/>
                    <a:pt x="25" y="2"/>
                    <a:pt x="25" y="2"/>
                  </a:cubicBezTo>
                  <a:cubicBezTo>
                    <a:pt x="25" y="28"/>
                    <a:pt x="25" y="54"/>
                    <a:pt x="25" y="80"/>
                  </a:cubicBezTo>
                  <a:cubicBezTo>
                    <a:pt x="25" y="81"/>
                    <a:pt x="25" y="81"/>
                    <a:pt x="25" y="82"/>
                  </a:cubicBezTo>
                  <a:cubicBezTo>
                    <a:pt x="17" y="82"/>
                    <a:pt x="8" y="82"/>
                    <a:pt x="0" y="8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88" name="Oval 237"/>
            <p:cNvSpPr>
              <a:spLocks noChangeArrowheads="1"/>
            </p:cNvSpPr>
            <p:nvPr/>
          </p:nvSpPr>
          <p:spPr bwMode="auto">
            <a:xfrm>
              <a:off x="5775460" y="2377746"/>
              <a:ext cx="58774" cy="57922"/>
            </a:xfrm>
            <a:prstGeom prst="ellipse">
              <a:avLst/>
            </a:prstGeom>
            <a:solidFill>
              <a:srgbClr val="FCFD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
        <p:nvSpPr>
          <p:cNvPr id="789" name="Freeform 238"/>
          <p:cNvSpPr>
            <a:spLocks/>
          </p:cNvSpPr>
          <p:nvPr/>
        </p:nvSpPr>
        <p:spPr bwMode="auto">
          <a:xfrm>
            <a:off x="7888047" y="2516587"/>
            <a:ext cx="126917" cy="114992"/>
          </a:xfrm>
          <a:custGeom>
            <a:avLst/>
            <a:gdLst>
              <a:gd name="T0" fmla="*/ 63 w 63"/>
              <a:gd name="T1" fmla="*/ 57 h 57"/>
              <a:gd name="T2" fmla="*/ 63 w 63"/>
              <a:gd name="T3" fmla="*/ 57 h 57"/>
              <a:gd name="T4" fmla="*/ 56 w 63"/>
              <a:gd name="T5" fmla="*/ 56 h 57"/>
              <a:gd name="T6" fmla="*/ 50 w 63"/>
              <a:gd name="T7" fmla="*/ 54 h 57"/>
              <a:gd name="T8" fmla="*/ 43 w 63"/>
              <a:gd name="T9" fmla="*/ 53 h 57"/>
              <a:gd name="T10" fmla="*/ 36 w 63"/>
              <a:gd name="T11" fmla="*/ 51 h 57"/>
              <a:gd name="T12" fmla="*/ 28 w 63"/>
              <a:gd name="T13" fmla="*/ 50 h 57"/>
              <a:gd name="T14" fmla="*/ 20 w 63"/>
              <a:gd name="T15" fmla="*/ 48 h 57"/>
              <a:gd name="T16" fmla="*/ 11 w 63"/>
              <a:gd name="T17" fmla="*/ 47 h 57"/>
              <a:gd name="T18" fmla="*/ 2 w 63"/>
              <a:gd name="T19" fmla="*/ 45 h 57"/>
              <a:gd name="T20" fmla="*/ 0 w 63"/>
              <a:gd name="T21" fmla="*/ 44 h 57"/>
              <a:gd name="T22" fmla="*/ 0 w 63"/>
              <a:gd name="T23" fmla="*/ 44 h 57"/>
              <a:gd name="T24" fmla="*/ 0 w 63"/>
              <a:gd name="T25" fmla="*/ 9 h 57"/>
              <a:gd name="T26" fmla="*/ 0 w 63"/>
              <a:gd name="T27" fmla="*/ 0 h 57"/>
              <a:gd name="T28" fmla="*/ 8 w 63"/>
              <a:gd name="T29" fmla="*/ 0 h 57"/>
              <a:gd name="T30" fmla="*/ 14 w 63"/>
              <a:gd name="T31" fmla="*/ 0 h 57"/>
              <a:gd name="T32" fmla="*/ 26 w 63"/>
              <a:gd name="T33" fmla="*/ 0 h 57"/>
              <a:gd name="T34" fmla="*/ 34 w 63"/>
              <a:gd name="T35" fmla="*/ 0 h 57"/>
              <a:gd name="T36" fmla="*/ 43 w 63"/>
              <a:gd name="T37" fmla="*/ 0 h 57"/>
              <a:gd name="T38" fmla="*/ 51 w 63"/>
              <a:gd name="T39" fmla="*/ 0 h 57"/>
              <a:gd name="T40" fmla="*/ 61 w 63"/>
              <a:gd name="T41" fmla="*/ 1 h 57"/>
              <a:gd name="T42" fmla="*/ 63 w 63"/>
              <a:gd name="T43" fmla="*/ 1 h 57"/>
              <a:gd name="T44" fmla="*/ 63 w 63"/>
              <a:gd name="T4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3" h="57">
                <a:moveTo>
                  <a:pt x="63" y="57"/>
                </a:moveTo>
                <a:cubicBezTo>
                  <a:pt x="63" y="57"/>
                  <a:pt x="63" y="57"/>
                  <a:pt x="63" y="57"/>
                </a:cubicBezTo>
                <a:cubicBezTo>
                  <a:pt x="61" y="56"/>
                  <a:pt x="59" y="56"/>
                  <a:pt x="56" y="56"/>
                </a:cubicBezTo>
                <a:cubicBezTo>
                  <a:pt x="54" y="55"/>
                  <a:pt x="52" y="55"/>
                  <a:pt x="50" y="54"/>
                </a:cubicBezTo>
                <a:cubicBezTo>
                  <a:pt x="48" y="54"/>
                  <a:pt x="45" y="53"/>
                  <a:pt x="43" y="53"/>
                </a:cubicBezTo>
                <a:cubicBezTo>
                  <a:pt x="41" y="52"/>
                  <a:pt x="38" y="52"/>
                  <a:pt x="36" y="51"/>
                </a:cubicBezTo>
                <a:cubicBezTo>
                  <a:pt x="33" y="51"/>
                  <a:pt x="30" y="50"/>
                  <a:pt x="28" y="50"/>
                </a:cubicBezTo>
                <a:cubicBezTo>
                  <a:pt x="25" y="49"/>
                  <a:pt x="22" y="49"/>
                  <a:pt x="20" y="48"/>
                </a:cubicBezTo>
                <a:cubicBezTo>
                  <a:pt x="17" y="48"/>
                  <a:pt x="14" y="47"/>
                  <a:pt x="11" y="47"/>
                </a:cubicBezTo>
                <a:cubicBezTo>
                  <a:pt x="8" y="46"/>
                  <a:pt x="5" y="45"/>
                  <a:pt x="2" y="45"/>
                </a:cubicBezTo>
                <a:cubicBezTo>
                  <a:pt x="1" y="45"/>
                  <a:pt x="1" y="45"/>
                  <a:pt x="0" y="44"/>
                </a:cubicBezTo>
                <a:cubicBezTo>
                  <a:pt x="0" y="44"/>
                  <a:pt x="0" y="44"/>
                  <a:pt x="0" y="44"/>
                </a:cubicBezTo>
                <a:cubicBezTo>
                  <a:pt x="0" y="32"/>
                  <a:pt x="0" y="21"/>
                  <a:pt x="0" y="9"/>
                </a:cubicBezTo>
                <a:cubicBezTo>
                  <a:pt x="0" y="6"/>
                  <a:pt x="0" y="3"/>
                  <a:pt x="0" y="0"/>
                </a:cubicBezTo>
                <a:cubicBezTo>
                  <a:pt x="3" y="0"/>
                  <a:pt x="5" y="0"/>
                  <a:pt x="8" y="0"/>
                </a:cubicBezTo>
                <a:cubicBezTo>
                  <a:pt x="10" y="0"/>
                  <a:pt x="12" y="0"/>
                  <a:pt x="14" y="0"/>
                </a:cubicBezTo>
                <a:cubicBezTo>
                  <a:pt x="18" y="0"/>
                  <a:pt x="22" y="0"/>
                  <a:pt x="26" y="0"/>
                </a:cubicBezTo>
                <a:cubicBezTo>
                  <a:pt x="29" y="0"/>
                  <a:pt x="31" y="0"/>
                  <a:pt x="34" y="0"/>
                </a:cubicBezTo>
                <a:cubicBezTo>
                  <a:pt x="37" y="0"/>
                  <a:pt x="40" y="0"/>
                  <a:pt x="43" y="0"/>
                </a:cubicBezTo>
                <a:cubicBezTo>
                  <a:pt x="46" y="0"/>
                  <a:pt x="48" y="0"/>
                  <a:pt x="51" y="0"/>
                </a:cubicBezTo>
                <a:cubicBezTo>
                  <a:pt x="54" y="1"/>
                  <a:pt x="57" y="1"/>
                  <a:pt x="61" y="1"/>
                </a:cubicBezTo>
                <a:cubicBezTo>
                  <a:pt x="62" y="1"/>
                  <a:pt x="62" y="1"/>
                  <a:pt x="63" y="1"/>
                </a:cubicBezTo>
                <a:cubicBezTo>
                  <a:pt x="63" y="57"/>
                  <a:pt x="63" y="57"/>
                  <a:pt x="63" y="5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0" name="Freeform 239"/>
          <p:cNvSpPr>
            <a:spLocks/>
          </p:cNvSpPr>
          <p:nvPr/>
        </p:nvSpPr>
        <p:spPr bwMode="auto">
          <a:xfrm>
            <a:off x="7888047" y="2391375"/>
            <a:ext cx="126917" cy="114992"/>
          </a:xfrm>
          <a:custGeom>
            <a:avLst/>
            <a:gdLst>
              <a:gd name="T0" fmla="*/ 0 w 63"/>
              <a:gd name="T1" fmla="*/ 12 h 57"/>
              <a:gd name="T2" fmla="*/ 2 w 63"/>
              <a:gd name="T3" fmla="*/ 12 h 57"/>
              <a:gd name="T4" fmla="*/ 12 w 63"/>
              <a:gd name="T5" fmla="*/ 10 h 57"/>
              <a:gd name="T6" fmla="*/ 22 w 63"/>
              <a:gd name="T7" fmla="*/ 8 h 57"/>
              <a:gd name="T8" fmla="*/ 28 w 63"/>
              <a:gd name="T9" fmla="*/ 7 h 57"/>
              <a:gd name="T10" fmla="*/ 37 w 63"/>
              <a:gd name="T11" fmla="*/ 5 h 57"/>
              <a:gd name="T12" fmla="*/ 46 w 63"/>
              <a:gd name="T13" fmla="*/ 3 h 57"/>
              <a:gd name="T14" fmla="*/ 53 w 63"/>
              <a:gd name="T15" fmla="*/ 2 h 57"/>
              <a:gd name="T16" fmla="*/ 63 w 63"/>
              <a:gd name="T17" fmla="*/ 0 h 57"/>
              <a:gd name="T18" fmla="*/ 63 w 63"/>
              <a:gd name="T19" fmla="*/ 0 h 57"/>
              <a:gd name="T20" fmla="*/ 63 w 63"/>
              <a:gd name="T21" fmla="*/ 0 h 57"/>
              <a:gd name="T22" fmla="*/ 63 w 63"/>
              <a:gd name="T23" fmla="*/ 55 h 57"/>
              <a:gd name="T24" fmla="*/ 63 w 63"/>
              <a:gd name="T25" fmla="*/ 56 h 57"/>
              <a:gd name="T26" fmla="*/ 56 w 63"/>
              <a:gd name="T27" fmla="*/ 56 h 57"/>
              <a:gd name="T28" fmla="*/ 47 w 63"/>
              <a:gd name="T29" fmla="*/ 56 h 57"/>
              <a:gd name="T30" fmla="*/ 39 w 63"/>
              <a:gd name="T31" fmla="*/ 56 h 57"/>
              <a:gd name="T32" fmla="*/ 30 w 63"/>
              <a:gd name="T33" fmla="*/ 56 h 57"/>
              <a:gd name="T34" fmla="*/ 21 w 63"/>
              <a:gd name="T35" fmla="*/ 56 h 57"/>
              <a:gd name="T36" fmla="*/ 12 w 63"/>
              <a:gd name="T37" fmla="*/ 57 h 57"/>
              <a:gd name="T38" fmla="*/ 3 w 63"/>
              <a:gd name="T39" fmla="*/ 57 h 57"/>
              <a:gd name="T40" fmla="*/ 0 w 63"/>
              <a:gd name="T41" fmla="*/ 57 h 57"/>
              <a:gd name="T42" fmla="*/ 0 w 63"/>
              <a:gd name="T43" fmla="*/ 56 h 57"/>
              <a:gd name="T44" fmla="*/ 0 w 63"/>
              <a:gd name="T45" fmla="*/ 13 h 57"/>
              <a:gd name="T46" fmla="*/ 0 w 63"/>
              <a:gd name="T47" fmla="*/ 1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57">
                <a:moveTo>
                  <a:pt x="0" y="12"/>
                </a:moveTo>
                <a:cubicBezTo>
                  <a:pt x="1" y="12"/>
                  <a:pt x="1" y="12"/>
                  <a:pt x="2" y="12"/>
                </a:cubicBezTo>
                <a:cubicBezTo>
                  <a:pt x="6" y="11"/>
                  <a:pt x="9" y="10"/>
                  <a:pt x="12" y="10"/>
                </a:cubicBezTo>
                <a:cubicBezTo>
                  <a:pt x="15" y="9"/>
                  <a:pt x="18" y="9"/>
                  <a:pt x="22" y="8"/>
                </a:cubicBezTo>
                <a:cubicBezTo>
                  <a:pt x="24" y="7"/>
                  <a:pt x="26" y="7"/>
                  <a:pt x="28" y="7"/>
                </a:cubicBezTo>
                <a:cubicBezTo>
                  <a:pt x="31" y="6"/>
                  <a:pt x="34" y="5"/>
                  <a:pt x="37" y="5"/>
                </a:cubicBezTo>
                <a:cubicBezTo>
                  <a:pt x="40" y="4"/>
                  <a:pt x="43" y="4"/>
                  <a:pt x="46" y="3"/>
                </a:cubicBezTo>
                <a:cubicBezTo>
                  <a:pt x="48" y="3"/>
                  <a:pt x="51" y="2"/>
                  <a:pt x="53" y="2"/>
                </a:cubicBezTo>
                <a:cubicBezTo>
                  <a:pt x="56" y="1"/>
                  <a:pt x="60" y="0"/>
                  <a:pt x="63" y="0"/>
                </a:cubicBezTo>
                <a:cubicBezTo>
                  <a:pt x="63" y="0"/>
                  <a:pt x="63" y="0"/>
                  <a:pt x="63" y="0"/>
                </a:cubicBezTo>
                <a:cubicBezTo>
                  <a:pt x="63" y="0"/>
                  <a:pt x="63" y="0"/>
                  <a:pt x="63" y="0"/>
                </a:cubicBezTo>
                <a:cubicBezTo>
                  <a:pt x="63" y="19"/>
                  <a:pt x="63" y="37"/>
                  <a:pt x="63" y="55"/>
                </a:cubicBezTo>
                <a:cubicBezTo>
                  <a:pt x="63" y="56"/>
                  <a:pt x="63" y="56"/>
                  <a:pt x="63" y="56"/>
                </a:cubicBezTo>
                <a:cubicBezTo>
                  <a:pt x="61" y="56"/>
                  <a:pt x="58" y="56"/>
                  <a:pt x="56" y="56"/>
                </a:cubicBezTo>
                <a:cubicBezTo>
                  <a:pt x="53" y="56"/>
                  <a:pt x="50" y="56"/>
                  <a:pt x="47" y="56"/>
                </a:cubicBezTo>
                <a:cubicBezTo>
                  <a:pt x="44" y="56"/>
                  <a:pt x="42" y="56"/>
                  <a:pt x="39" y="56"/>
                </a:cubicBezTo>
                <a:cubicBezTo>
                  <a:pt x="36" y="56"/>
                  <a:pt x="33" y="56"/>
                  <a:pt x="30" y="56"/>
                </a:cubicBezTo>
                <a:cubicBezTo>
                  <a:pt x="27" y="56"/>
                  <a:pt x="24" y="56"/>
                  <a:pt x="21" y="56"/>
                </a:cubicBezTo>
                <a:cubicBezTo>
                  <a:pt x="12" y="57"/>
                  <a:pt x="12" y="57"/>
                  <a:pt x="12" y="57"/>
                </a:cubicBezTo>
                <a:cubicBezTo>
                  <a:pt x="9" y="57"/>
                  <a:pt x="6" y="57"/>
                  <a:pt x="3" y="57"/>
                </a:cubicBezTo>
                <a:cubicBezTo>
                  <a:pt x="2" y="57"/>
                  <a:pt x="1" y="57"/>
                  <a:pt x="0" y="57"/>
                </a:cubicBezTo>
                <a:cubicBezTo>
                  <a:pt x="0" y="56"/>
                  <a:pt x="0" y="56"/>
                  <a:pt x="0" y="56"/>
                </a:cubicBezTo>
                <a:cubicBezTo>
                  <a:pt x="0" y="42"/>
                  <a:pt x="0" y="27"/>
                  <a:pt x="0" y="13"/>
                </a:cubicBezTo>
                <a:cubicBezTo>
                  <a:pt x="0" y="13"/>
                  <a:pt x="0" y="13"/>
                  <a:pt x="0" y="1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1" name="Freeform 240"/>
          <p:cNvSpPr>
            <a:spLocks/>
          </p:cNvSpPr>
          <p:nvPr/>
        </p:nvSpPr>
        <p:spPr bwMode="auto">
          <a:xfrm>
            <a:off x="7796906" y="2417780"/>
            <a:ext cx="79217" cy="88586"/>
          </a:xfrm>
          <a:custGeom>
            <a:avLst/>
            <a:gdLst>
              <a:gd name="T0" fmla="*/ 0 w 39"/>
              <a:gd name="T1" fmla="*/ 8 h 44"/>
              <a:gd name="T2" fmla="*/ 39 w 39"/>
              <a:gd name="T3" fmla="*/ 0 h 44"/>
              <a:gd name="T4" fmla="*/ 39 w 39"/>
              <a:gd name="T5" fmla="*/ 44 h 44"/>
              <a:gd name="T6" fmla="*/ 38 w 39"/>
              <a:gd name="T7" fmla="*/ 44 h 44"/>
              <a:gd name="T8" fmla="*/ 31 w 39"/>
              <a:gd name="T9" fmla="*/ 44 h 44"/>
              <a:gd name="T10" fmla="*/ 22 w 39"/>
              <a:gd name="T11" fmla="*/ 44 h 44"/>
              <a:gd name="T12" fmla="*/ 13 w 39"/>
              <a:gd name="T13" fmla="*/ 44 h 44"/>
              <a:gd name="T14" fmla="*/ 4 w 39"/>
              <a:gd name="T15" fmla="*/ 44 h 44"/>
              <a:gd name="T16" fmla="*/ 0 w 39"/>
              <a:gd name="T17" fmla="*/ 44 h 44"/>
              <a:gd name="T18" fmla="*/ 0 w 39"/>
              <a:gd name="T19"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4">
                <a:moveTo>
                  <a:pt x="0" y="8"/>
                </a:moveTo>
                <a:cubicBezTo>
                  <a:pt x="13" y="6"/>
                  <a:pt x="26" y="3"/>
                  <a:pt x="39" y="0"/>
                </a:cubicBezTo>
                <a:cubicBezTo>
                  <a:pt x="39" y="44"/>
                  <a:pt x="39" y="44"/>
                  <a:pt x="39" y="44"/>
                </a:cubicBezTo>
                <a:cubicBezTo>
                  <a:pt x="39" y="44"/>
                  <a:pt x="39" y="44"/>
                  <a:pt x="38" y="44"/>
                </a:cubicBezTo>
                <a:cubicBezTo>
                  <a:pt x="36" y="44"/>
                  <a:pt x="33" y="44"/>
                  <a:pt x="31" y="44"/>
                </a:cubicBezTo>
                <a:cubicBezTo>
                  <a:pt x="28" y="44"/>
                  <a:pt x="25" y="44"/>
                  <a:pt x="22" y="44"/>
                </a:cubicBezTo>
                <a:cubicBezTo>
                  <a:pt x="19" y="44"/>
                  <a:pt x="16" y="44"/>
                  <a:pt x="13" y="44"/>
                </a:cubicBezTo>
                <a:cubicBezTo>
                  <a:pt x="10" y="44"/>
                  <a:pt x="7" y="44"/>
                  <a:pt x="4" y="44"/>
                </a:cubicBezTo>
                <a:cubicBezTo>
                  <a:pt x="3" y="44"/>
                  <a:pt x="1" y="44"/>
                  <a:pt x="0" y="44"/>
                </a:cubicBezTo>
                <a:lnTo>
                  <a:pt x="0"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2" name="Freeform 241"/>
          <p:cNvSpPr>
            <a:spLocks/>
          </p:cNvSpPr>
          <p:nvPr/>
        </p:nvSpPr>
        <p:spPr bwMode="auto">
          <a:xfrm>
            <a:off x="7796906" y="2514032"/>
            <a:ext cx="79217" cy="88586"/>
          </a:xfrm>
          <a:custGeom>
            <a:avLst/>
            <a:gdLst>
              <a:gd name="T0" fmla="*/ 39 w 39"/>
              <a:gd name="T1" fmla="*/ 44 h 44"/>
              <a:gd name="T2" fmla="*/ 0 w 39"/>
              <a:gd name="T3" fmla="*/ 36 h 44"/>
              <a:gd name="T4" fmla="*/ 0 w 39"/>
              <a:gd name="T5" fmla="*/ 0 h 44"/>
              <a:gd name="T6" fmla="*/ 0 w 39"/>
              <a:gd name="T7" fmla="*/ 0 h 44"/>
              <a:gd name="T8" fmla="*/ 9 w 39"/>
              <a:gd name="T9" fmla="*/ 1 h 44"/>
              <a:gd name="T10" fmla="*/ 18 w 39"/>
              <a:gd name="T11" fmla="*/ 1 h 44"/>
              <a:gd name="T12" fmla="*/ 26 w 39"/>
              <a:gd name="T13" fmla="*/ 1 h 44"/>
              <a:gd name="T14" fmla="*/ 35 w 39"/>
              <a:gd name="T15" fmla="*/ 1 h 44"/>
              <a:gd name="T16" fmla="*/ 39 w 39"/>
              <a:gd name="T17" fmla="*/ 1 h 44"/>
              <a:gd name="T18" fmla="*/ 39 w 39"/>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44">
                <a:moveTo>
                  <a:pt x="39" y="44"/>
                </a:moveTo>
                <a:cubicBezTo>
                  <a:pt x="26" y="42"/>
                  <a:pt x="13" y="39"/>
                  <a:pt x="0" y="36"/>
                </a:cubicBezTo>
                <a:cubicBezTo>
                  <a:pt x="0" y="0"/>
                  <a:pt x="0" y="0"/>
                  <a:pt x="0" y="0"/>
                </a:cubicBezTo>
                <a:cubicBezTo>
                  <a:pt x="0" y="0"/>
                  <a:pt x="0" y="0"/>
                  <a:pt x="0" y="0"/>
                </a:cubicBezTo>
                <a:cubicBezTo>
                  <a:pt x="3" y="0"/>
                  <a:pt x="6" y="0"/>
                  <a:pt x="9" y="1"/>
                </a:cubicBezTo>
                <a:cubicBezTo>
                  <a:pt x="12" y="1"/>
                  <a:pt x="15" y="1"/>
                  <a:pt x="18" y="1"/>
                </a:cubicBezTo>
                <a:cubicBezTo>
                  <a:pt x="21" y="1"/>
                  <a:pt x="23" y="1"/>
                  <a:pt x="26" y="1"/>
                </a:cubicBezTo>
                <a:cubicBezTo>
                  <a:pt x="29" y="1"/>
                  <a:pt x="32" y="1"/>
                  <a:pt x="35" y="1"/>
                </a:cubicBezTo>
                <a:cubicBezTo>
                  <a:pt x="36" y="1"/>
                  <a:pt x="38" y="1"/>
                  <a:pt x="39" y="1"/>
                </a:cubicBezTo>
                <a:lnTo>
                  <a:pt x="39" y="4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3" name="Freeform 242"/>
          <p:cNvSpPr>
            <a:spLocks/>
          </p:cNvSpPr>
          <p:nvPr/>
        </p:nvSpPr>
        <p:spPr bwMode="auto">
          <a:xfrm>
            <a:off x="7888046" y="2416076"/>
            <a:ext cx="0" cy="90290"/>
          </a:xfrm>
          <a:custGeom>
            <a:avLst/>
            <a:gdLst>
              <a:gd name="T0" fmla="*/ 0 h 45"/>
              <a:gd name="T1" fmla="*/ 1 h 45"/>
              <a:gd name="T2" fmla="*/ 44 h 45"/>
              <a:gd name="T3" fmla="*/ 45 h 45"/>
              <a:gd name="T4" fmla="*/ 44 h 45"/>
              <a:gd name="T5" fmla="*/ 1 h 45"/>
              <a:gd name="T6" fmla="*/ 0 h 45"/>
            </a:gdLst>
            <a:ahLst/>
            <a:cxnLst>
              <a:cxn ang="0">
                <a:pos x="0" y="T0"/>
              </a:cxn>
              <a:cxn ang="0">
                <a:pos x="0" y="T1"/>
              </a:cxn>
              <a:cxn ang="0">
                <a:pos x="0" y="T2"/>
              </a:cxn>
              <a:cxn ang="0">
                <a:pos x="0" y="T3"/>
              </a:cxn>
              <a:cxn ang="0">
                <a:pos x="0" y="T4"/>
              </a:cxn>
              <a:cxn ang="0">
                <a:pos x="0" y="T5"/>
              </a:cxn>
              <a:cxn ang="0">
                <a:pos x="0" y="T6"/>
              </a:cxn>
            </a:cxnLst>
            <a:rect l="0" t="0" r="r" b="b"/>
            <a:pathLst>
              <a:path h="45">
                <a:moveTo>
                  <a:pt x="0" y="0"/>
                </a:moveTo>
                <a:cubicBezTo>
                  <a:pt x="0" y="1"/>
                  <a:pt x="0" y="1"/>
                  <a:pt x="0" y="1"/>
                </a:cubicBezTo>
                <a:cubicBezTo>
                  <a:pt x="0" y="15"/>
                  <a:pt x="0" y="30"/>
                  <a:pt x="0" y="44"/>
                </a:cubicBezTo>
                <a:cubicBezTo>
                  <a:pt x="0" y="44"/>
                  <a:pt x="0" y="44"/>
                  <a:pt x="0" y="45"/>
                </a:cubicBezTo>
                <a:cubicBezTo>
                  <a:pt x="0" y="45"/>
                  <a:pt x="0" y="44"/>
                  <a:pt x="0" y="44"/>
                </a:cubicBezTo>
                <a:cubicBezTo>
                  <a:pt x="0" y="30"/>
                  <a:pt x="0" y="15"/>
                  <a:pt x="0" y="1"/>
                </a:cubicBezTo>
                <a:cubicBezTo>
                  <a:pt x="0" y="1"/>
                  <a:pt x="0" y="1"/>
                  <a:pt x="0"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4" name="Freeform 243"/>
          <p:cNvSpPr>
            <a:spLocks/>
          </p:cNvSpPr>
          <p:nvPr/>
        </p:nvSpPr>
        <p:spPr bwMode="auto">
          <a:xfrm>
            <a:off x="7888046" y="2516587"/>
            <a:ext cx="0" cy="88586"/>
          </a:xfrm>
          <a:custGeom>
            <a:avLst/>
            <a:gdLst>
              <a:gd name="T0" fmla="*/ 0 h 44"/>
              <a:gd name="T1" fmla="*/ 9 h 44"/>
              <a:gd name="T2" fmla="*/ 44 h 44"/>
              <a:gd name="T3" fmla="*/ 44 h 44"/>
              <a:gd name="T4" fmla="*/ 44 h 44"/>
              <a:gd name="T5" fmla="*/ 1 h 44"/>
              <a:gd name="T6" fmla="*/ 0 h 44"/>
            </a:gdLst>
            <a:ahLst/>
            <a:cxnLst>
              <a:cxn ang="0">
                <a:pos x="0" y="T0"/>
              </a:cxn>
              <a:cxn ang="0">
                <a:pos x="0" y="T1"/>
              </a:cxn>
              <a:cxn ang="0">
                <a:pos x="0" y="T2"/>
              </a:cxn>
              <a:cxn ang="0">
                <a:pos x="0" y="T3"/>
              </a:cxn>
              <a:cxn ang="0">
                <a:pos x="0" y="T4"/>
              </a:cxn>
              <a:cxn ang="0">
                <a:pos x="0" y="T5"/>
              </a:cxn>
              <a:cxn ang="0">
                <a:pos x="0" y="T6"/>
              </a:cxn>
            </a:cxnLst>
            <a:rect l="0" t="0" r="r" b="b"/>
            <a:pathLst>
              <a:path h="44">
                <a:moveTo>
                  <a:pt x="0" y="0"/>
                </a:moveTo>
                <a:cubicBezTo>
                  <a:pt x="0" y="3"/>
                  <a:pt x="0" y="6"/>
                  <a:pt x="0" y="9"/>
                </a:cubicBezTo>
                <a:cubicBezTo>
                  <a:pt x="0" y="21"/>
                  <a:pt x="0" y="32"/>
                  <a:pt x="0" y="44"/>
                </a:cubicBezTo>
                <a:cubicBezTo>
                  <a:pt x="0" y="44"/>
                  <a:pt x="0" y="44"/>
                  <a:pt x="0" y="44"/>
                </a:cubicBezTo>
                <a:cubicBezTo>
                  <a:pt x="0" y="44"/>
                  <a:pt x="0" y="44"/>
                  <a:pt x="0" y="44"/>
                </a:cubicBezTo>
                <a:cubicBezTo>
                  <a:pt x="0" y="29"/>
                  <a:pt x="0" y="15"/>
                  <a:pt x="0" y="1"/>
                </a:cubicBezTo>
                <a:cubicBezTo>
                  <a:pt x="0" y="0"/>
                  <a:pt x="0" y="0"/>
                  <a:pt x="0"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5" name="Freeform 244"/>
          <p:cNvSpPr>
            <a:spLocks/>
          </p:cNvSpPr>
          <p:nvPr/>
        </p:nvSpPr>
        <p:spPr bwMode="auto">
          <a:xfrm>
            <a:off x="8802017" y="2383708"/>
            <a:ext cx="76661" cy="120954"/>
          </a:xfrm>
          <a:custGeom>
            <a:avLst/>
            <a:gdLst>
              <a:gd name="T0" fmla="*/ 38 w 38"/>
              <a:gd name="T1" fmla="*/ 52 h 60"/>
              <a:gd name="T2" fmla="*/ 37 w 38"/>
              <a:gd name="T3" fmla="*/ 56 h 60"/>
              <a:gd name="T4" fmla="*/ 30 w 38"/>
              <a:gd name="T5" fmla="*/ 58 h 60"/>
              <a:gd name="T6" fmla="*/ 26 w 38"/>
              <a:gd name="T7" fmla="*/ 55 h 60"/>
              <a:gd name="T8" fmla="*/ 1 w 38"/>
              <a:gd name="T9" fmla="*/ 15 h 60"/>
              <a:gd name="T10" fmla="*/ 3 w 38"/>
              <a:gd name="T11" fmla="*/ 8 h 60"/>
              <a:gd name="T12" fmla="*/ 17 w 38"/>
              <a:gd name="T13" fmla="*/ 3 h 60"/>
              <a:gd name="T14" fmla="*/ 29 w 38"/>
              <a:gd name="T15" fmla="*/ 1 h 60"/>
              <a:gd name="T16" fmla="*/ 35 w 38"/>
              <a:gd name="T17" fmla="*/ 6 h 60"/>
              <a:gd name="T18" fmla="*/ 36 w 38"/>
              <a:gd name="T19" fmla="*/ 26 h 60"/>
              <a:gd name="T20" fmla="*/ 37 w 38"/>
              <a:gd name="T21" fmla="*/ 35 h 60"/>
              <a:gd name="T22" fmla="*/ 38 w 38"/>
              <a:gd name="T23" fmla="*/ 5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0">
                <a:moveTo>
                  <a:pt x="38" y="52"/>
                </a:moveTo>
                <a:cubicBezTo>
                  <a:pt x="38" y="53"/>
                  <a:pt x="37" y="55"/>
                  <a:pt x="37" y="56"/>
                </a:cubicBezTo>
                <a:cubicBezTo>
                  <a:pt x="36" y="59"/>
                  <a:pt x="32" y="60"/>
                  <a:pt x="30" y="58"/>
                </a:cubicBezTo>
                <a:cubicBezTo>
                  <a:pt x="29" y="57"/>
                  <a:pt x="27" y="56"/>
                  <a:pt x="26" y="55"/>
                </a:cubicBezTo>
                <a:cubicBezTo>
                  <a:pt x="18" y="41"/>
                  <a:pt x="10" y="28"/>
                  <a:pt x="1" y="15"/>
                </a:cubicBezTo>
                <a:cubicBezTo>
                  <a:pt x="0" y="12"/>
                  <a:pt x="0" y="10"/>
                  <a:pt x="3" y="8"/>
                </a:cubicBezTo>
                <a:cubicBezTo>
                  <a:pt x="7" y="6"/>
                  <a:pt x="12" y="4"/>
                  <a:pt x="17" y="3"/>
                </a:cubicBezTo>
                <a:cubicBezTo>
                  <a:pt x="21" y="2"/>
                  <a:pt x="25" y="1"/>
                  <a:pt x="29" y="1"/>
                </a:cubicBezTo>
                <a:cubicBezTo>
                  <a:pt x="32" y="0"/>
                  <a:pt x="34" y="2"/>
                  <a:pt x="35" y="6"/>
                </a:cubicBezTo>
                <a:cubicBezTo>
                  <a:pt x="35" y="12"/>
                  <a:pt x="36" y="19"/>
                  <a:pt x="36" y="26"/>
                </a:cubicBezTo>
                <a:cubicBezTo>
                  <a:pt x="36" y="29"/>
                  <a:pt x="37" y="32"/>
                  <a:pt x="37" y="35"/>
                </a:cubicBezTo>
                <a:cubicBezTo>
                  <a:pt x="37" y="41"/>
                  <a:pt x="37" y="46"/>
                  <a:pt x="38" y="5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6" name="Freeform 245"/>
          <p:cNvSpPr>
            <a:spLocks/>
          </p:cNvSpPr>
          <p:nvPr/>
        </p:nvSpPr>
        <p:spPr bwMode="auto">
          <a:xfrm>
            <a:off x="8893158" y="2456112"/>
            <a:ext cx="75809" cy="68143"/>
          </a:xfrm>
          <a:custGeom>
            <a:avLst/>
            <a:gdLst>
              <a:gd name="T0" fmla="*/ 38 w 38"/>
              <a:gd name="T1" fmla="*/ 22 h 34"/>
              <a:gd name="T2" fmla="*/ 34 w 38"/>
              <a:gd name="T3" fmla="*/ 27 h 34"/>
              <a:gd name="T4" fmla="*/ 12 w 38"/>
              <a:gd name="T5" fmla="*/ 32 h 34"/>
              <a:gd name="T6" fmla="*/ 7 w 38"/>
              <a:gd name="T7" fmla="*/ 33 h 34"/>
              <a:gd name="T8" fmla="*/ 2 w 38"/>
              <a:gd name="T9" fmla="*/ 31 h 34"/>
              <a:gd name="T10" fmla="*/ 2 w 38"/>
              <a:gd name="T11" fmla="*/ 25 h 34"/>
              <a:gd name="T12" fmla="*/ 13 w 38"/>
              <a:gd name="T13" fmla="*/ 10 h 34"/>
              <a:gd name="T14" fmla="*/ 18 w 38"/>
              <a:gd name="T15" fmla="*/ 3 h 34"/>
              <a:gd name="T16" fmla="*/ 25 w 38"/>
              <a:gd name="T17" fmla="*/ 2 h 34"/>
              <a:gd name="T18" fmla="*/ 37 w 38"/>
              <a:gd name="T19" fmla="*/ 20 h 34"/>
              <a:gd name="T20" fmla="*/ 38 w 38"/>
              <a:gd name="T21"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34">
                <a:moveTo>
                  <a:pt x="38" y="22"/>
                </a:moveTo>
                <a:cubicBezTo>
                  <a:pt x="38" y="25"/>
                  <a:pt x="37" y="26"/>
                  <a:pt x="34" y="27"/>
                </a:cubicBezTo>
                <a:cubicBezTo>
                  <a:pt x="27" y="29"/>
                  <a:pt x="19" y="30"/>
                  <a:pt x="12" y="32"/>
                </a:cubicBezTo>
                <a:cubicBezTo>
                  <a:pt x="10" y="33"/>
                  <a:pt x="9" y="33"/>
                  <a:pt x="7" y="33"/>
                </a:cubicBezTo>
                <a:cubicBezTo>
                  <a:pt x="5" y="34"/>
                  <a:pt x="3" y="33"/>
                  <a:pt x="2" y="31"/>
                </a:cubicBezTo>
                <a:cubicBezTo>
                  <a:pt x="0" y="29"/>
                  <a:pt x="0" y="27"/>
                  <a:pt x="2" y="25"/>
                </a:cubicBezTo>
                <a:cubicBezTo>
                  <a:pt x="5" y="20"/>
                  <a:pt x="9" y="15"/>
                  <a:pt x="13" y="10"/>
                </a:cubicBezTo>
                <a:cubicBezTo>
                  <a:pt x="14" y="8"/>
                  <a:pt x="16" y="5"/>
                  <a:pt x="18" y="3"/>
                </a:cubicBezTo>
                <a:cubicBezTo>
                  <a:pt x="20" y="0"/>
                  <a:pt x="23" y="0"/>
                  <a:pt x="25" y="2"/>
                </a:cubicBezTo>
                <a:cubicBezTo>
                  <a:pt x="31" y="7"/>
                  <a:pt x="35" y="13"/>
                  <a:pt x="37" y="20"/>
                </a:cubicBezTo>
                <a:cubicBezTo>
                  <a:pt x="38" y="21"/>
                  <a:pt x="38" y="22"/>
                  <a:pt x="38" y="2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7" name="Freeform 246"/>
          <p:cNvSpPr>
            <a:spLocks/>
          </p:cNvSpPr>
          <p:nvPr/>
        </p:nvSpPr>
        <p:spPr bwMode="auto">
          <a:xfrm>
            <a:off x="8782425" y="2497849"/>
            <a:ext cx="75809" cy="60477"/>
          </a:xfrm>
          <a:custGeom>
            <a:avLst/>
            <a:gdLst>
              <a:gd name="T0" fmla="*/ 0 w 38"/>
              <a:gd name="T1" fmla="*/ 17 h 30"/>
              <a:gd name="T2" fmla="*/ 2 w 38"/>
              <a:gd name="T3" fmla="*/ 4 h 30"/>
              <a:gd name="T4" fmla="*/ 6 w 38"/>
              <a:gd name="T5" fmla="*/ 1 h 30"/>
              <a:gd name="T6" fmla="*/ 8 w 38"/>
              <a:gd name="T7" fmla="*/ 1 h 30"/>
              <a:gd name="T8" fmla="*/ 31 w 38"/>
              <a:gd name="T9" fmla="*/ 10 h 30"/>
              <a:gd name="T10" fmla="*/ 34 w 38"/>
              <a:gd name="T11" fmla="*/ 11 h 30"/>
              <a:gd name="T12" fmla="*/ 37 w 38"/>
              <a:gd name="T13" fmla="*/ 19 h 30"/>
              <a:gd name="T14" fmla="*/ 34 w 38"/>
              <a:gd name="T15" fmla="*/ 21 h 30"/>
              <a:gd name="T16" fmla="*/ 7 w 38"/>
              <a:gd name="T17" fmla="*/ 30 h 30"/>
              <a:gd name="T18" fmla="*/ 1 w 38"/>
              <a:gd name="T19" fmla="*/ 26 h 30"/>
              <a:gd name="T20" fmla="*/ 0 w 38"/>
              <a:gd name="T21" fmla="*/ 1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30">
                <a:moveTo>
                  <a:pt x="0" y="17"/>
                </a:moveTo>
                <a:cubicBezTo>
                  <a:pt x="1" y="13"/>
                  <a:pt x="1" y="9"/>
                  <a:pt x="2" y="4"/>
                </a:cubicBezTo>
                <a:cubicBezTo>
                  <a:pt x="2" y="3"/>
                  <a:pt x="3" y="1"/>
                  <a:pt x="6" y="1"/>
                </a:cubicBezTo>
                <a:cubicBezTo>
                  <a:pt x="6" y="0"/>
                  <a:pt x="7" y="0"/>
                  <a:pt x="8" y="1"/>
                </a:cubicBezTo>
                <a:cubicBezTo>
                  <a:pt x="16" y="4"/>
                  <a:pt x="23" y="7"/>
                  <a:pt x="31" y="10"/>
                </a:cubicBezTo>
                <a:cubicBezTo>
                  <a:pt x="32" y="10"/>
                  <a:pt x="33" y="11"/>
                  <a:pt x="34" y="11"/>
                </a:cubicBezTo>
                <a:cubicBezTo>
                  <a:pt x="37" y="12"/>
                  <a:pt x="38" y="16"/>
                  <a:pt x="37" y="19"/>
                </a:cubicBezTo>
                <a:cubicBezTo>
                  <a:pt x="36" y="20"/>
                  <a:pt x="35" y="21"/>
                  <a:pt x="34" y="21"/>
                </a:cubicBezTo>
                <a:cubicBezTo>
                  <a:pt x="25" y="24"/>
                  <a:pt x="16" y="27"/>
                  <a:pt x="7" y="30"/>
                </a:cubicBezTo>
                <a:cubicBezTo>
                  <a:pt x="4" y="30"/>
                  <a:pt x="2" y="29"/>
                  <a:pt x="1" y="26"/>
                </a:cubicBezTo>
                <a:cubicBezTo>
                  <a:pt x="1" y="23"/>
                  <a:pt x="1" y="20"/>
                  <a:pt x="0" y="17"/>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8" name="Freeform 247"/>
          <p:cNvSpPr>
            <a:spLocks/>
          </p:cNvSpPr>
          <p:nvPr/>
        </p:nvSpPr>
        <p:spPr bwMode="auto">
          <a:xfrm>
            <a:off x="8894861" y="2544698"/>
            <a:ext cx="76661" cy="68143"/>
          </a:xfrm>
          <a:custGeom>
            <a:avLst/>
            <a:gdLst>
              <a:gd name="T0" fmla="*/ 7 w 38"/>
              <a:gd name="T1" fmla="*/ 0 h 34"/>
              <a:gd name="T2" fmla="*/ 13 w 38"/>
              <a:gd name="T3" fmla="*/ 2 h 34"/>
              <a:gd name="T4" fmla="*/ 34 w 38"/>
              <a:gd name="T5" fmla="*/ 9 h 34"/>
              <a:gd name="T6" fmla="*/ 37 w 38"/>
              <a:gd name="T7" fmla="*/ 15 h 34"/>
              <a:gd name="T8" fmla="*/ 23 w 38"/>
              <a:gd name="T9" fmla="*/ 32 h 34"/>
              <a:gd name="T10" fmla="*/ 16 w 38"/>
              <a:gd name="T11" fmla="*/ 31 h 34"/>
              <a:gd name="T12" fmla="*/ 2 w 38"/>
              <a:gd name="T13" fmla="*/ 8 h 34"/>
              <a:gd name="T14" fmla="*/ 7 w 38"/>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34">
                <a:moveTo>
                  <a:pt x="7" y="0"/>
                </a:moveTo>
                <a:cubicBezTo>
                  <a:pt x="9" y="0"/>
                  <a:pt x="11" y="1"/>
                  <a:pt x="13" y="2"/>
                </a:cubicBezTo>
                <a:cubicBezTo>
                  <a:pt x="20" y="4"/>
                  <a:pt x="27" y="6"/>
                  <a:pt x="34" y="9"/>
                </a:cubicBezTo>
                <a:cubicBezTo>
                  <a:pt x="37" y="10"/>
                  <a:pt x="38" y="12"/>
                  <a:pt x="37" y="15"/>
                </a:cubicBezTo>
                <a:cubicBezTo>
                  <a:pt x="34" y="22"/>
                  <a:pt x="29" y="28"/>
                  <a:pt x="23" y="32"/>
                </a:cubicBezTo>
                <a:cubicBezTo>
                  <a:pt x="21" y="34"/>
                  <a:pt x="18" y="34"/>
                  <a:pt x="16" y="31"/>
                </a:cubicBezTo>
                <a:cubicBezTo>
                  <a:pt x="11" y="23"/>
                  <a:pt x="7" y="16"/>
                  <a:pt x="2" y="8"/>
                </a:cubicBezTo>
                <a:cubicBezTo>
                  <a:pt x="0" y="5"/>
                  <a:pt x="2" y="0"/>
                  <a:pt x="7"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799" name="Freeform 248"/>
          <p:cNvSpPr>
            <a:spLocks/>
          </p:cNvSpPr>
          <p:nvPr/>
        </p:nvSpPr>
        <p:spPr bwMode="auto">
          <a:xfrm>
            <a:off x="8818199" y="2552364"/>
            <a:ext cx="58774" cy="79217"/>
          </a:xfrm>
          <a:custGeom>
            <a:avLst/>
            <a:gdLst>
              <a:gd name="T0" fmla="*/ 29 w 29"/>
              <a:gd name="T1" fmla="*/ 20 h 39"/>
              <a:gd name="T2" fmla="*/ 29 w 29"/>
              <a:gd name="T3" fmla="*/ 33 h 39"/>
              <a:gd name="T4" fmla="*/ 23 w 29"/>
              <a:gd name="T5" fmla="*/ 39 h 39"/>
              <a:gd name="T6" fmla="*/ 3 w 29"/>
              <a:gd name="T7" fmla="*/ 31 h 39"/>
              <a:gd name="T8" fmla="*/ 2 w 29"/>
              <a:gd name="T9" fmla="*/ 24 h 39"/>
              <a:gd name="T10" fmla="*/ 16 w 29"/>
              <a:gd name="T11" fmla="*/ 7 h 39"/>
              <a:gd name="T12" fmla="*/ 20 w 29"/>
              <a:gd name="T13" fmla="*/ 3 h 39"/>
              <a:gd name="T14" fmla="*/ 29 w 29"/>
              <a:gd name="T15" fmla="*/ 4 h 39"/>
              <a:gd name="T16" fmla="*/ 29 w 29"/>
              <a:gd name="T17" fmla="*/ 6 h 39"/>
              <a:gd name="T18" fmla="*/ 29 w 29"/>
              <a:gd name="T19" fmla="*/ 20 h 39"/>
              <a:gd name="T20" fmla="*/ 29 w 29"/>
              <a:gd name="T2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39">
                <a:moveTo>
                  <a:pt x="29" y="20"/>
                </a:moveTo>
                <a:cubicBezTo>
                  <a:pt x="29" y="24"/>
                  <a:pt x="29" y="29"/>
                  <a:pt x="29" y="33"/>
                </a:cubicBezTo>
                <a:cubicBezTo>
                  <a:pt x="29" y="37"/>
                  <a:pt x="27" y="39"/>
                  <a:pt x="23" y="39"/>
                </a:cubicBezTo>
                <a:cubicBezTo>
                  <a:pt x="16" y="38"/>
                  <a:pt x="9" y="35"/>
                  <a:pt x="3" y="31"/>
                </a:cubicBezTo>
                <a:cubicBezTo>
                  <a:pt x="0" y="29"/>
                  <a:pt x="0" y="27"/>
                  <a:pt x="2" y="24"/>
                </a:cubicBezTo>
                <a:cubicBezTo>
                  <a:pt x="7" y="18"/>
                  <a:pt x="12" y="13"/>
                  <a:pt x="16" y="7"/>
                </a:cubicBezTo>
                <a:cubicBezTo>
                  <a:pt x="18" y="6"/>
                  <a:pt x="19" y="4"/>
                  <a:pt x="20" y="3"/>
                </a:cubicBezTo>
                <a:cubicBezTo>
                  <a:pt x="22" y="0"/>
                  <a:pt x="27" y="1"/>
                  <a:pt x="29" y="4"/>
                </a:cubicBezTo>
                <a:cubicBezTo>
                  <a:pt x="29" y="5"/>
                  <a:pt x="29" y="6"/>
                  <a:pt x="29" y="6"/>
                </a:cubicBezTo>
                <a:cubicBezTo>
                  <a:pt x="29" y="11"/>
                  <a:pt x="29" y="16"/>
                  <a:pt x="29" y="20"/>
                </a:cubicBezTo>
                <a:cubicBezTo>
                  <a:pt x="29" y="20"/>
                  <a:pt x="29" y="20"/>
                  <a:pt x="29" y="2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03" name="Oval 252"/>
          <p:cNvSpPr>
            <a:spLocks noChangeArrowheads="1"/>
          </p:cNvSpPr>
          <p:nvPr/>
        </p:nvSpPr>
        <p:spPr bwMode="auto">
          <a:xfrm>
            <a:off x="4869306" y="2451852"/>
            <a:ext cx="112436" cy="1132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04" name="Oval 253"/>
          <p:cNvSpPr>
            <a:spLocks noChangeArrowheads="1"/>
          </p:cNvSpPr>
          <p:nvPr/>
        </p:nvSpPr>
        <p:spPr bwMode="auto">
          <a:xfrm>
            <a:off x="5012406" y="2451852"/>
            <a:ext cx="114140" cy="113288"/>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05" name="Freeform 254"/>
          <p:cNvSpPr>
            <a:spLocks noEditPoints="1"/>
          </p:cNvSpPr>
          <p:nvPr/>
        </p:nvSpPr>
        <p:spPr bwMode="auto">
          <a:xfrm>
            <a:off x="5358232" y="2387116"/>
            <a:ext cx="241908" cy="241908"/>
          </a:xfrm>
          <a:custGeom>
            <a:avLst/>
            <a:gdLst>
              <a:gd name="T0" fmla="*/ 118 w 120"/>
              <a:gd name="T1" fmla="*/ 61 h 120"/>
              <a:gd name="T2" fmla="*/ 61 w 120"/>
              <a:gd name="T3" fmla="*/ 5 h 120"/>
              <a:gd name="T4" fmla="*/ 51 w 120"/>
              <a:gd name="T5" fmla="*/ 6 h 120"/>
              <a:gd name="T6" fmla="*/ 33 w 120"/>
              <a:gd name="T7" fmla="*/ 0 h 120"/>
              <a:gd name="T8" fmla="*/ 0 w 120"/>
              <a:gd name="T9" fmla="*/ 33 h 120"/>
              <a:gd name="T10" fmla="*/ 5 w 120"/>
              <a:gd name="T11" fmla="*/ 50 h 120"/>
              <a:gd name="T12" fmla="*/ 4 w 120"/>
              <a:gd name="T13" fmla="*/ 61 h 120"/>
              <a:gd name="T14" fmla="*/ 61 w 120"/>
              <a:gd name="T15" fmla="*/ 118 h 120"/>
              <a:gd name="T16" fmla="*/ 71 w 120"/>
              <a:gd name="T17" fmla="*/ 117 h 120"/>
              <a:gd name="T18" fmla="*/ 87 w 120"/>
              <a:gd name="T19" fmla="*/ 120 h 120"/>
              <a:gd name="T20" fmla="*/ 120 w 120"/>
              <a:gd name="T21" fmla="*/ 88 h 120"/>
              <a:gd name="T22" fmla="*/ 117 w 120"/>
              <a:gd name="T23" fmla="*/ 73 h 120"/>
              <a:gd name="T24" fmla="*/ 118 w 120"/>
              <a:gd name="T25" fmla="*/ 61 h 120"/>
              <a:gd name="T26" fmla="*/ 90 w 120"/>
              <a:gd name="T27" fmla="*/ 88 h 120"/>
              <a:gd name="T28" fmla="*/ 79 w 120"/>
              <a:gd name="T29" fmla="*/ 97 h 120"/>
              <a:gd name="T30" fmla="*/ 61 w 120"/>
              <a:gd name="T31" fmla="*/ 100 h 120"/>
              <a:gd name="T32" fmla="*/ 40 w 120"/>
              <a:gd name="T33" fmla="*/ 96 h 120"/>
              <a:gd name="T34" fmla="*/ 31 w 120"/>
              <a:gd name="T35" fmla="*/ 87 h 120"/>
              <a:gd name="T36" fmla="*/ 27 w 120"/>
              <a:gd name="T37" fmla="*/ 77 h 120"/>
              <a:gd name="T38" fmla="*/ 29 w 120"/>
              <a:gd name="T39" fmla="*/ 72 h 120"/>
              <a:gd name="T40" fmla="*/ 35 w 120"/>
              <a:gd name="T41" fmla="*/ 70 h 120"/>
              <a:gd name="T42" fmla="*/ 40 w 120"/>
              <a:gd name="T43" fmla="*/ 71 h 120"/>
              <a:gd name="T44" fmla="*/ 44 w 120"/>
              <a:gd name="T45" fmla="*/ 76 h 120"/>
              <a:gd name="T46" fmla="*/ 47 w 120"/>
              <a:gd name="T47" fmla="*/ 82 h 120"/>
              <a:gd name="T48" fmla="*/ 52 w 120"/>
              <a:gd name="T49" fmla="*/ 86 h 120"/>
              <a:gd name="T50" fmla="*/ 60 w 120"/>
              <a:gd name="T51" fmla="*/ 87 h 120"/>
              <a:gd name="T52" fmla="*/ 72 w 120"/>
              <a:gd name="T53" fmla="*/ 84 h 120"/>
              <a:gd name="T54" fmla="*/ 76 w 120"/>
              <a:gd name="T55" fmla="*/ 77 h 120"/>
              <a:gd name="T56" fmla="*/ 74 w 120"/>
              <a:gd name="T57" fmla="*/ 72 h 120"/>
              <a:gd name="T58" fmla="*/ 68 w 120"/>
              <a:gd name="T59" fmla="*/ 68 h 120"/>
              <a:gd name="T60" fmla="*/ 57 w 120"/>
              <a:gd name="T61" fmla="*/ 66 h 120"/>
              <a:gd name="T62" fmla="*/ 42 w 120"/>
              <a:gd name="T63" fmla="*/ 61 h 120"/>
              <a:gd name="T64" fmla="*/ 32 w 120"/>
              <a:gd name="T65" fmla="*/ 54 h 120"/>
              <a:gd name="T66" fmla="*/ 29 w 120"/>
              <a:gd name="T67" fmla="*/ 43 h 120"/>
              <a:gd name="T68" fmla="*/ 33 w 120"/>
              <a:gd name="T69" fmla="*/ 32 h 120"/>
              <a:gd name="T70" fmla="*/ 44 w 120"/>
              <a:gd name="T71" fmla="*/ 24 h 120"/>
              <a:gd name="T72" fmla="*/ 60 w 120"/>
              <a:gd name="T73" fmla="*/ 21 h 120"/>
              <a:gd name="T74" fmla="*/ 74 w 120"/>
              <a:gd name="T75" fmla="*/ 23 h 120"/>
              <a:gd name="T76" fmla="*/ 83 w 120"/>
              <a:gd name="T77" fmla="*/ 28 h 120"/>
              <a:gd name="T78" fmla="*/ 89 w 120"/>
              <a:gd name="T79" fmla="*/ 34 h 120"/>
              <a:gd name="T80" fmla="*/ 91 w 120"/>
              <a:gd name="T81" fmla="*/ 40 h 120"/>
              <a:gd name="T82" fmla="*/ 88 w 120"/>
              <a:gd name="T83" fmla="*/ 46 h 120"/>
              <a:gd name="T84" fmla="*/ 82 w 120"/>
              <a:gd name="T85" fmla="*/ 48 h 120"/>
              <a:gd name="T86" fmla="*/ 77 w 120"/>
              <a:gd name="T87" fmla="*/ 47 h 120"/>
              <a:gd name="T88" fmla="*/ 74 w 120"/>
              <a:gd name="T89" fmla="*/ 42 h 120"/>
              <a:gd name="T90" fmla="*/ 69 w 120"/>
              <a:gd name="T91" fmla="*/ 36 h 120"/>
              <a:gd name="T92" fmla="*/ 59 w 120"/>
              <a:gd name="T93" fmla="*/ 34 h 120"/>
              <a:gd name="T94" fmla="*/ 49 w 120"/>
              <a:gd name="T95" fmla="*/ 36 h 120"/>
              <a:gd name="T96" fmla="*/ 46 w 120"/>
              <a:gd name="T97" fmla="*/ 42 h 120"/>
              <a:gd name="T98" fmla="*/ 47 w 120"/>
              <a:gd name="T99" fmla="*/ 45 h 120"/>
              <a:gd name="T100" fmla="*/ 50 w 120"/>
              <a:gd name="T101" fmla="*/ 48 h 120"/>
              <a:gd name="T102" fmla="*/ 55 w 120"/>
              <a:gd name="T103" fmla="*/ 49 h 120"/>
              <a:gd name="T104" fmla="*/ 63 w 120"/>
              <a:gd name="T105" fmla="*/ 51 h 120"/>
              <a:gd name="T106" fmla="*/ 76 w 120"/>
              <a:gd name="T107" fmla="*/ 54 h 120"/>
              <a:gd name="T108" fmla="*/ 85 w 120"/>
              <a:gd name="T109" fmla="*/ 59 h 120"/>
              <a:gd name="T110" fmla="*/ 92 w 120"/>
              <a:gd name="T111" fmla="*/ 66 h 120"/>
              <a:gd name="T112" fmla="*/ 94 w 120"/>
              <a:gd name="T113" fmla="*/ 76 h 120"/>
              <a:gd name="T114" fmla="*/ 90 w 120"/>
              <a:gd name="T115" fmla="*/ 8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0" h="120">
                <a:moveTo>
                  <a:pt x="118" y="61"/>
                </a:moveTo>
                <a:cubicBezTo>
                  <a:pt x="118" y="30"/>
                  <a:pt x="92" y="5"/>
                  <a:pt x="61" y="5"/>
                </a:cubicBezTo>
                <a:cubicBezTo>
                  <a:pt x="57" y="5"/>
                  <a:pt x="54" y="5"/>
                  <a:pt x="51" y="6"/>
                </a:cubicBezTo>
                <a:cubicBezTo>
                  <a:pt x="46" y="2"/>
                  <a:pt x="40" y="0"/>
                  <a:pt x="33" y="0"/>
                </a:cubicBezTo>
                <a:cubicBezTo>
                  <a:pt x="15" y="0"/>
                  <a:pt x="0" y="15"/>
                  <a:pt x="0" y="33"/>
                </a:cubicBezTo>
                <a:cubicBezTo>
                  <a:pt x="0" y="39"/>
                  <a:pt x="2" y="45"/>
                  <a:pt x="5" y="50"/>
                </a:cubicBezTo>
                <a:cubicBezTo>
                  <a:pt x="4" y="53"/>
                  <a:pt x="4" y="57"/>
                  <a:pt x="4" y="61"/>
                </a:cubicBezTo>
                <a:cubicBezTo>
                  <a:pt x="4" y="92"/>
                  <a:pt x="29" y="118"/>
                  <a:pt x="61" y="118"/>
                </a:cubicBezTo>
                <a:cubicBezTo>
                  <a:pt x="64" y="118"/>
                  <a:pt x="68" y="117"/>
                  <a:pt x="71" y="117"/>
                </a:cubicBezTo>
                <a:cubicBezTo>
                  <a:pt x="76" y="119"/>
                  <a:pt x="81" y="120"/>
                  <a:pt x="87" y="120"/>
                </a:cubicBezTo>
                <a:cubicBezTo>
                  <a:pt x="105" y="120"/>
                  <a:pt x="120" y="106"/>
                  <a:pt x="120" y="88"/>
                </a:cubicBezTo>
                <a:cubicBezTo>
                  <a:pt x="120" y="83"/>
                  <a:pt x="119" y="78"/>
                  <a:pt x="117" y="73"/>
                </a:cubicBezTo>
                <a:cubicBezTo>
                  <a:pt x="118" y="69"/>
                  <a:pt x="118" y="65"/>
                  <a:pt x="118" y="61"/>
                </a:cubicBezTo>
                <a:close/>
                <a:moveTo>
                  <a:pt x="90" y="88"/>
                </a:moveTo>
                <a:cubicBezTo>
                  <a:pt x="87" y="92"/>
                  <a:pt x="84" y="95"/>
                  <a:pt x="79" y="97"/>
                </a:cubicBezTo>
                <a:cubicBezTo>
                  <a:pt x="73" y="99"/>
                  <a:pt x="67" y="100"/>
                  <a:pt x="61" y="100"/>
                </a:cubicBezTo>
                <a:cubicBezTo>
                  <a:pt x="52" y="100"/>
                  <a:pt x="46" y="98"/>
                  <a:pt x="40" y="96"/>
                </a:cubicBezTo>
                <a:cubicBezTo>
                  <a:pt x="36" y="94"/>
                  <a:pt x="33" y="91"/>
                  <a:pt x="31" y="87"/>
                </a:cubicBezTo>
                <a:cubicBezTo>
                  <a:pt x="28" y="84"/>
                  <a:pt x="27" y="81"/>
                  <a:pt x="27" y="77"/>
                </a:cubicBezTo>
                <a:cubicBezTo>
                  <a:pt x="27" y="75"/>
                  <a:pt x="28" y="73"/>
                  <a:pt x="29" y="72"/>
                </a:cubicBezTo>
                <a:cubicBezTo>
                  <a:pt x="31" y="70"/>
                  <a:pt x="33" y="70"/>
                  <a:pt x="35" y="70"/>
                </a:cubicBezTo>
                <a:cubicBezTo>
                  <a:pt x="37" y="70"/>
                  <a:pt x="39" y="70"/>
                  <a:pt x="40" y="71"/>
                </a:cubicBezTo>
                <a:cubicBezTo>
                  <a:pt x="42" y="73"/>
                  <a:pt x="43" y="74"/>
                  <a:pt x="44" y="76"/>
                </a:cubicBezTo>
                <a:cubicBezTo>
                  <a:pt x="45" y="79"/>
                  <a:pt x="46" y="80"/>
                  <a:pt x="47" y="82"/>
                </a:cubicBezTo>
                <a:cubicBezTo>
                  <a:pt x="48" y="83"/>
                  <a:pt x="50" y="85"/>
                  <a:pt x="52" y="86"/>
                </a:cubicBezTo>
                <a:cubicBezTo>
                  <a:pt x="54" y="87"/>
                  <a:pt x="57" y="87"/>
                  <a:pt x="60" y="87"/>
                </a:cubicBezTo>
                <a:cubicBezTo>
                  <a:pt x="65" y="87"/>
                  <a:pt x="69" y="86"/>
                  <a:pt x="72" y="84"/>
                </a:cubicBezTo>
                <a:cubicBezTo>
                  <a:pt x="75" y="82"/>
                  <a:pt x="76" y="80"/>
                  <a:pt x="76" y="77"/>
                </a:cubicBezTo>
                <a:cubicBezTo>
                  <a:pt x="76" y="75"/>
                  <a:pt x="75" y="73"/>
                  <a:pt x="74" y="72"/>
                </a:cubicBezTo>
                <a:cubicBezTo>
                  <a:pt x="72" y="70"/>
                  <a:pt x="70" y="69"/>
                  <a:pt x="68" y="68"/>
                </a:cubicBezTo>
                <a:cubicBezTo>
                  <a:pt x="65" y="68"/>
                  <a:pt x="62" y="67"/>
                  <a:pt x="57" y="66"/>
                </a:cubicBezTo>
                <a:cubicBezTo>
                  <a:pt x="51" y="65"/>
                  <a:pt x="46" y="63"/>
                  <a:pt x="42" y="61"/>
                </a:cubicBezTo>
                <a:cubicBezTo>
                  <a:pt x="38" y="60"/>
                  <a:pt x="35" y="57"/>
                  <a:pt x="32" y="54"/>
                </a:cubicBezTo>
                <a:cubicBezTo>
                  <a:pt x="30" y="51"/>
                  <a:pt x="29" y="48"/>
                  <a:pt x="29" y="43"/>
                </a:cubicBezTo>
                <a:cubicBezTo>
                  <a:pt x="29" y="39"/>
                  <a:pt x="30" y="35"/>
                  <a:pt x="33" y="32"/>
                </a:cubicBezTo>
                <a:cubicBezTo>
                  <a:pt x="35" y="28"/>
                  <a:pt x="39" y="26"/>
                  <a:pt x="44" y="24"/>
                </a:cubicBezTo>
                <a:cubicBezTo>
                  <a:pt x="48" y="22"/>
                  <a:pt x="54" y="21"/>
                  <a:pt x="60" y="21"/>
                </a:cubicBezTo>
                <a:cubicBezTo>
                  <a:pt x="66" y="21"/>
                  <a:pt x="70" y="22"/>
                  <a:pt x="74" y="23"/>
                </a:cubicBezTo>
                <a:cubicBezTo>
                  <a:pt x="78" y="24"/>
                  <a:pt x="81" y="26"/>
                  <a:pt x="83" y="28"/>
                </a:cubicBezTo>
                <a:cubicBezTo>
                  <a:pt x="86" y="30"/>
                  <a:pt x="88" y="32"/>
                  <a:pt x="89" y="34"/>
                </a:cubicBezTo>
                <a:cubicBezTo>
                  <a:pt x="90" y="36"/>
                  <a:pt x="91" y="38"/>
                  <a:pt x="91" y="40"/>
                </a:cubicBezTo>
                <a:cubicBezTo>
                  <a:pt x="91" y="42"/>
                  <a:pt x="90" y="44"/>
                  <a:pt x="88" y="46"/>
                </a:cubicBezTo>
                <a:cubicBezTo>
                  <a:pt x="87" y="47"/>
                  <a:pt x="85" y="48"/>
                  <a:pt x="82" y="48"/>
                </a:cubicBezTo>
                <a:cubicBezTo>
                  <a:pt x="80" y="48"/>
                  <a:pt x="79" y="48"/>
                  <a:pt x="77" y="47"/>
                </a:cubicBezTo>
                <a:cubicBezTo>
                  <a:pt x="76" y="46"/>
                  <a:pt x="75" y="44"/>
                  <a:pt x="74" y="42"/>
                </a:cubicBezTo>
                <a:cubicBezTo>
                  <a:pt x="73" y="40"/>
                  <a:pt x="71" y="37"/>
                  <a:pt x="69" y="36"/>
                </a:cubicBezTo>
                <a:cubicBezTo>
                  <a:pt x="67" y="35"/>
                  <a:pt x="64" y="34"/>
                  <a:pt x="59" y="34"/>
                </a:cubicBezTo>
                <a:cubicBezTo>
                  <a:pt x="55" y="34"/>
                  <a:pt x="52" y="35"/>
                  <a:pt x="49" y="36"/>
                </a:cubicBezTo>
                <a:cubicBezTo>
                  <a:pt x="47" y="38"/>
                  <a:pt x="46" y="40"/>
                  <a:pt x="46" y="42"/>
                </a:cubicBezTo>
                <a:cubicBezTo>
                  <a:pt x="46" y="43"/>
                  <a:pt x="46" y="44"/>
                  <a:pt x="47" y="45"/>
                </a:cubicBezTo>
                <a:cubicBezTo>
                  <a:pt x="48" y="46"/>
                  <a:pt x="49" y="47"/>
                  <a:pt x="50" y="48"/>
                </a:cubicBezTo>
                <a:cubicBezTo>
                  <a:pt x="52" y="48"/>
                  <a:pt x="53" y="49"/>
                  <a:pt x="55" y="49"/>
                </a:cubicBezTo>
                <a:cubicBezTo>
                  <a:pt x="57" y="50"/>
                  <a:pt x="59" y="50"/>
                  <a:pt x="63" y="51"/>
                </a:cubicBezTo>
                <a:cubicBezTo>
                  <a:pt x="68" y="52"/>
                  <a:pt x="72" y="53"/>
                  <a:pt x="76" y="54"/>
                </a:cubicBezTo>
                <a:cubicBezTo>
                  <a:pt x="79" y="56"/>
                  <a:pt x="83" y="57"/>
                  <a:pt x="85" y="59"/>
                </a:cubicBezTo>
                <a:cubicBezTo>
                  <a:pt x="88" y="61"/>
                  <a:pt x="90" y="63"/>
                  <a:pt x="92" y="66"/>
                </a:cubicBezTo>
                <a:cubicBezTo>
                  <a:pt x="93" y="68"/>
                  <a:pt x="94" y="72"/>
                  <a:pt x="94" y="76"/>
                </a:cubicBezTo>
                <a:cubicBezTo>
                  <a:pt x="94" y="80"/>
                  <a:pt x="93" y="84"/>
                  <a:pt x="90" y="8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06" name="Freeform 255"/>
          <p:cNvSpPr>
            <a:spLocks/>
          </p:cNvSpPr>
          <p:nvPr/>
        </p:nvSpPr>
        <p:spPr bwMode="auto">
          <a:xfrm>
            <a:off x="1968964" y="2985924"/>
            <a:ext cx="120954" cy="86882"/>
          </a:xfrm>
          <a:custGeom>
            <a:avLst/>
            <a:gdLst>
              <a:gd name="T0" fmla="*/ 0 w 142"/>
              <a:gd name="T1" fmla="*/ 47 h 102"/>
              <a:gd name="T2" fmla="*/ 83 w 142"/>
              <a:gd name="T3" fmla="*/ 102 h 102"/>
              <a:gd name="T4" fmla="*/ 142 w 142"/>
              <a:gd name="T5" fmla="*/ 52 h 102"/>
              <a:gd name="T6" fmla="*/ 57 w 142"/>
              <a:gd name="T7" fmla="*/ 0 h 102"/>
              <a:gd name="T8" fmla="*/ 0 w 142"/>
              <a:gd name="T9" fmla="*/ 47 h 102"/>
            </a:gdLst>
            <a:ahLst/>
            <a:cxnLst>
              <a:cxn ang="0">
                <a:pos x="T0" y="T1"/>
              </a:cxn>
              <a:cxn ang="0">
                <a:pos x="T2" y="T3"/>
              </a:cxn>
              <a:cxn ang="0">
                <a:pos x="T4" y="T5"/>
              </a:cxn>
              <a:cxn ang="0">
                <a:pos x="T6" y="T7"/>
              </a:cxn>
              <a:cxn ang="0">
                <a:pos x="T8" y="T9"/>
              </a:cxn>
            </a:cxnLst>
            <a:rect l="0" t="0" r="r" b="b"/>
            <a:pathLst>
              <a:path w="142" h="102">
                <a:moveTo>
                  <a:pt x="0" y="47"/>
                </a:moveTo>
                <a:lnTo>
                  <a:pt x="83" y="102"/>
                </a:lnTo>
                <a:lnTo>
                  <a:pt x="142" y="52"/>
                </a:lnTo>
                <a:lnTo>
                  <a:pt x="57" y="0"/>
                </a:lnTo>
                <a:lnTo>
                  <a:pt x="0" y="4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07" name="Freeform 256"/>
          <p:cNvSpPr>
            <a:spLocks/>
          </p:cNvSpPr>
          <p:nvPr/>
        </p:nvSpPr>
        <p:spPr bwMode="auto">
          <a:xfrm>
            <a:off x="1968964" y="2899041"/>
            <a:ext cx="120954" cy="86882"/>
          </a:xfrm>
          <a:custGeom>
            <a:avLst/>
            <a:gdLst>
              <a:gd name="T0" fmla="*/ 83 w 142"/>
              <a:gd name="T1" fmla="*/ 0 h 102"/>
              <a:gd name="T2" fmla="*/ 0 w 142"/>
              <a:gd name="T3" fmla="*/ 55 h 102"/>
              <a:gd name="T4" fmla="*/ 57 w 142"/>
              <a:gd name="T5" fmla="*/ 102 h 102"/>
              <a:gd name="T6" fmla="*/ 142 w 142"/>
              <a:gd name="T7" fmla="*/ 50 h 102"/>
              <a:gd name="T8" fmla="*/ 83 w 142"/>
              <a:gd name="T9" fmla="*/ 0 h 102"/>
            </a:gdLst>
            <a:ahLst/>
            <a:cxnLst>
              <a:cxn ang="0">
                <a:pos x="T0" y="T1"/>
              </a:cxn>
              <a:cxn ang="0">
                <a:pos x="T2" y="T3"/>
              </a:cxn>
              <a:cxn ang="0">
                <a:pos x="T4" y="T5"/>
              </a:cxn>
              <a:cxn ang="0">
                <a:pos x="T6" y="T7"/>
              </a:cxn>
              <a:cxn ang="0">
                <a:pos x="T8" y="T9"/>
              </a:cxn>
            </a:cxnLst>
            <a:rect l="0" t="0" r="r" b="b"/>
            <a:pathLst>
              <a:path w="142" h="102">
                <a:moveTo>
                  <a:pt x="83" y="0"/>
                </a:moveTo>
                <a:lnTo>
                  <a:pt x="0" y="55"/>
                </a:lnTo>
                <a:lnTo>
                  <a:pt x="57" y="102"/>
                </a:lnTo>
                <a:lnTo>
                  <a:pt x="142" y="50"/>
                </a:lnTo>
                <a:lnTo>
                  <a:pt x="83"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08" name="Freeform 257"/>
          <p:cNvSpPr>
            <a:spLocks/>
          </p:cNvSpPr>
          <p:nvPr/>
        </p:nvSpPr>
        <p:spPr bwMode="auto">
          <a:xfrm>
            <a:off x="2089918" y="2899041"/>
            <a:ext cx="120954" cy="86882"/>
          </a:xfrm>
          <a:custGeom>
            <a:avLst/>
            <a:gdLst>
              <a:gd name="T0" fmla="*/ 57 w 142"/>
              <a:gd name="T1" fmla="*/ 0 h 102"/>
              <a:gd name="T2" fmla="*/ 0 w 142"/>
              <a:gd name="T3" fmla="*/ 50 h 102"/>
              <a:gd name="T4" fmla="*/ 83 w 142"/>
              <a:gd name="T5" fmla="*/ 102 h 102"/>
              <a:gd name="T6" fmla="*/ 142 w 142"/>
              <a:gd name="T7" fmla="*/ 55 h 102"/>
              <a:gd name="T8" fmla="*/ 57 w 142"/>
              <a:gd name="T9" fmla="*/ 0 h 102"/>
            </a:gdLst>
            <a:ahLst/>
            <a:cxnLst>
              <a:cxn ang="0">
                <a:pos x="T0" y="T1"/>
              </a:cxn>
              <a:cxn ang="0">
                <a:pos x="T2" y="T3"/>
              </a:cxn>
              <a:cxn ang="0">
                <a:pos x="T4" y="T5"/>
              </a:cxn>
              <a:cxn ang="0">
                <a:pos x="T6" y="T7"/>
              </a:cxn>
              <a:cxn ang="0">
                <a:pos x="T8" y="T9"/>
              </a:cxn>
            </a:cxnLst>
            <a:rect l="0" t="0" r="r" b="b"/>
            <a:pathLst>
              <a:path w="142" h="102">
                <a:moveTo>
                  <a:pt x="57" y="0"/>
                </a:moveTo>
                <a:lnTo>
                  <a:pt x="0" y="50"/>
                </a:lnTo>
                <a:lnTo>
                  <a:pt x="83" y="102"/>
                </a:lnTo>
                <a:lnTo>
                  <a:pt x="142" y="55"/>
                </a:lnTo>
                <a:lnTo>
                  <a:pt x="5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09" name="Freeform 258"/>
          <p:cNvSpPr>
            <a:spLocks/>
          </p:cNvSpPr>
          <p:nvPr/>
        </p:nvSpPr>
        <p:spPr bwMode="auto">
          <a:xfrm>
            <a:off x="2089918" y="2985924"/>
            <a:ext cx="120954" cy="86882"/>
          </a:xfrm>
          <a:custGeom>
            <a:avLst/>
            <a:gdLst>
              <a:gd name="T0" fmla="*/ 57 w 142"/>
              <a:gd name="T1" fmla="*/ 102 h 102"/>
              <a:gd name="T2" fmla="*/ 142 w 142"/>
              <a:gd name="T3" fmla="*/ 47 h 102"/>
              <a:gd name="T4" fmla="*/ 83 w 142"/>
              <a:gd name="T5" fmla="*/ 0 h 102"/>
              <a:gd name="T6" fmla="*/ 0 w 142"/>
              <a:gd name="T7" fmla="*/ 52 h 102"/>
              <a:gd name="T8" fmla="*/ 57 w 142"/>
              <a:gd name="T9" fmla="*/ 102 h 102"/>
            </a:gdLst>
            <a:ahLst/>
            <a:cxnLst>
              <a:cxn ang="0">
                <a:pos x="T0" y="T1"/>
              </a:cxn>
              <a:cxn ang="0">
                <a:pos x="T2" y="T3"/>
              </a:cxn>
              <a:cxn ang="0">
                <a:pos x="T4" y="T5"/>
              </a:cxn>
              <a:cxn ang="0">
                <a:pos x="T6" y="T7"/>
              </a:cxn>
              <a:cxn ang="0">
                <a:pos x="T8" y="T9"/>
              </a:cxn>
            </a:cxnLst>
            <a:rect l="0" t="0" r="r" b="b"/>
            <a:pathLst>
              <a:path w="142" h="102">
                <a:moveTo>
                  <a:pt x="57" y="102"/>
                </a:moveTo>
                <a:lnTo>
                  <a:pt x="142" y="47"/>
                </a:lnTo>
                <a:lnTo>
                  <a:pt x="83" y="0"/>
                </a:lnTo>
                <a:lnTo>
                  <a:pt x="0" y="52"/>
                </a:lnTo>
                <a:lnTo>
                  <a:pt x="57" y="102"/>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0" name="Freeform 259"/>
          <p:cNvSpPr>
            <a:spLocks/>
          </p:cNvSpPr>
          <p:nvPr/>
        </p:nvSpPr>
        <p:spPr bwMode="auto">
          <a:xfrm>
            <a:off x="2017517" y="3040439"/>
            <a:ext cx="143101" cy="84327"/>
          </a:xfrm>
          <a:custGeom>
            <a:avLst/>
            <a:gdLst>
              <a:gd name="T0" fmla="*/ 168 w 168"/>
              <a:gd name="T1" fmla="*/ 49 h 99"/>
              <a:gd name="T2" fmla="*/ 168 w 168"/>
              <a:gd name="T3" fmla="*/ 31 h 99"/>
              <a:gd name="T4" fmla="*/ 144 w 168"/>
              <a:gd name="T5" fmla="*/ 47 h 99"/>
              <a:gd name="T6" fmla="*/ 85 w 168"/>
              <a:gd name="T7" fmla="*/ 0 h 99"/>
              <a:gd name="T8" fmla="*/ 26 w 168"/>
              <a:gd name="T9" fmla="*/ 47 h 99"/>
              <a:gd name="T10" fmla="*/ 0 w 168"/>
              <a:gd name="T11" fmla="*/ 31 h 99"/>
              <a:gd name="T12" fmla="*/ 0 w 168"/>
              <a:gd name="T13" fmla="*/ 49 h 99"/>
              <a:gd name="T14" fmla="*/ 85 w 168"/>
              <a:gd name="T15" fmla="*/ 99 h 99"/>
              <a:gd name="T16" fmla="*/ 168 w 168"/>
              <a:gd name="T17" fmla="*/ 4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9">
                <a:moveTo>
                  <a:pt x="168" y="49"/>
                </a:moveTo>
                <a:lnTo>
                  <a:pt x="168" y="31"/>
                </a:lnTo>
                <a:lnTo>
                  <a:pt x="144" y="47"/>
                </a:lnTo>
                <a:lnTo>
                  <a:pt x="85" y="0"/>
                </a:lnTo>
                <a:lnTo>
                  <a:pt x="26" y="47"/>
                </a:lnTo>
                <a:lnTo>
                  <a:pt x="0" y="31"/>
                </a:lnTo>
                <a:lnTo>
                  <a:pt x="0" y="49"/>
                </a:lnTo>
                <a:lnTo>
                  <a:pt x="85" y="99"/>
                </a:lnTo>
                <a:lnTo>
                  <a:pt x="168" y="4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1" name="Freeform 260"/>
          <p:cNvSpPr>
            <a:spLocks noEditPoints="1"/>
          </p:cNvSpPr>
          <p:nvPr/>
        </p:nvSpPr>
        <p:spPr bwMode="auto">
          <a:xfrm>
            <a:off x="2414450" y="2909263"/>
            <a:ext cx="267462" cy="137138"/>
          </a:xfrm>
          <a:custGeom>
            <a:avLst/>
            <a:gdLst>
              <a:gd name="T0" fmla="*/ 71 w 133"/>
              <a:gd name="T1" fmla="*/ 52 h 68"/>
              <a:gd name="T2" fmla="*/ 56 w 133"/>
              <a:gd name="T3" fmla="*/ 20 h 68"/>
              <a:gd name="T4" fmla="*/ 106 w 133"/>
              <a:gd name="T5" fmla="*/ 29 h 68"/>
              <a:gd name="T6" fmla="*/ 87 w 133"/>
              <a:gd name="T7" fmla="*/ 34 h 68"/>
              <a:gd name="T8" fmla="*/ 82 w 133"/>
              <a:gd name="T9" fmla="*/ 24 h 68"/>
              <a:gd name="T10" fmla="*/ 65 w 133"/>
              <a:gd name="T11" fmla="*/ 23 h 68"/>
              <a:gd name="T12" fmla="*/ 78 w 133"/>
              <a:gd name="T13" fmla="*/ 50 h 68"/>
              <a:gd name="T14" fmla="*/ 133 w 133"/>
              <a:gd name="T15" fmla="*/ 34 h 68"/>
              <a:gd name="T16" fmla="*/ 53 w 133"/>
              <a:gd name="T17" fmla="*/ 12 h 68"/>
              <a:gd name="T18" fmla="*/ 52 w 133"/>
              <a:gd name="T19" fmla="*/ 12 h 68"/>
              <a:gd name="T20" fmla="*/ 46 w 133"/>
              <a:gd name="T21" fmla="*/ 0 h 68"/>
              <a:gd name="T22" fmla="*/ 29 w 133"/>
              <a:gd name="T23" fmla="*/ 2 h 68"/>
              <a:gd name="T24" fmla="*/ 36 w 133"/>
              <a:gd name="T25" fmla="*/ 17 h 68"/>
              <a:gd name="T26" fmla="*/ 16 w 133"/>
              <a:gd name="T27" fmla="*/ 68 h 68"/>
              <a:gd name="T28" fmla="*/ 71 w 133"/>
              <a:gd name="T29" fmla="*/ 52 h 68"/>
              <a:gd name="T30" fmla="*/ 41 w 133"/>
              <a:gd name="T31" fmla="*/ 27 h 68"/>
              <a:gd name="T32" fmla="*/ 49 w 133"/>
              <a:gd name="T33" fmla="*/ 44 h 68"/>
              <a:gd name="T34" fmla="*/ 31 w 133"/>
              <a:gd name="T35" fmla="*/ 49 h 68"/>
              <a:gd name="T36" fmla="*/ 41 w 133"/>
              <a:gd name="T37"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68">
                <a:moveTo>
                  <a:pt x="71" y="52"/>
                </a:moveTo>
                <a:cubicBezTo>
                  <a:pt x="56" y="20"/>
                  <a:pt x="56" y="20"/>
                  <a:pt x="56" y="20"/>
                </a:cubicBezTo>
                <a:cubicBezTo>
                  <a:pt x="83" y="12"/>
                  <a:pt x="106" y="29"/>
                  <a:pt x="106" y="29"/>
                </a:cubicBezTo>
                <a:cubicBezTo>
                  <a:pt x="87" y="34"/>
                  <a:pt x="87" y="34"/>
                  <a:pt x="87" y="34"/>
                </a:cubicBezTo>
                <a:cubicBezTo>
                  <a:pt x="82" y="24"/>
                  <a:pt x="82" y="24"/>
                  <a:pt x="82" y="24"/>
                </a:cubicBezTo>
                <a:cubicBezTo>
                  <a:pt x="77" y="23"/>
                  <a:pt x="71" y="22"/>
                  <a:pt x="65" y="23"/>
                </a:cubicBezTo>
                <a:cubicBezTo>
                  <a:pt x="78" y="50"/>
                  <a:pt x="78" y="50"/>
                  <a:pt x="78" y="50"/>
                </a:cubicBezTo>
                <a:cubicBezTo>
                  <a:pt x="133" y="34"/>
                  <a:pt x="133" y="34"/>
                  <a:pt x="133" y="34"/>
                </a:cubicBezTo>
                <a:cubicBezTo>
                  <a:pt x="133" y="34"/>
                  <a:pt x="113" y="2"/>
                  <a:pt x="53" y="12"/>
                </a:cubicBezTo>
                <a:cubicBezTo>
                  <a:pt x="53" y="12"/>
                  <a:pt x="53" y="12"/>
                  <a:pt x="52" y="12"/>
                </a:cubicBezTo>
                <a:cubicBezTo>
                  <a:pt x="46" y="0"/>
                  <a:pt x="46" y="0"/>
                  <a:pt x="46" y="0"/>
                </a:cubicBezTo>
                <a:cubicBezTo>
                  <a:pt x="29" y="2"/>
                  <a:pt x="29" y="2"/>
                  <a:pt x="29" y="2"/>
                </a:cubicBezTo>
                <a:cubicBezTo>
                  <a:pt x="36" y="17"/>
                  <a:pt x="36" y="17"/>
                  <a:pt x="36" y="17"/>
                </a:cubicBezTo>
                <a:cubicBezTo>
                  <a:pt x="0" y="32"/>
                  <a:pt x="16" y="68"/>
                  <a:pt x="16" y="68"/>
                </a:cubicBezTo>
                <a:lnTo>
                  <a:pt x="71" y="52"/>
                </a:lnTo>
                <a:close/>
                <a:moveTo>
                  <a:pt x="41" y="27"/>
                </a:moveTo>
                <a:cubicBezTo>
                  <a:pt x="49" y="44"/>
                  <a:pt x="49" y="44"/>
                  <a:pt x="49" y="44"/>
                </a:cubicBezTo>
                <a:cubicBezTo>
                  <a:pt x="31" y="49"/>
                  <a:pt x="31" y="49"/>
                  <a:pt x="31" y="49"/>
                </a:cubicBezTo>
                <a:cubicBezTo>
                  <a:pt x="31" y="49"/>
                  <a:pt x="26" y="37"/>
                  <a:pt x="4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2" name="Freeform 261"/>
          <p:cNvSpPr>
            <a:spLocks noEditPoints="1"/>
          </p:cNvSpPr>
          <p:nvPr/>
        </p:nvSpPr>
        <p:spPr bwMode="auto">
          <a:xfrm>
            <a:off x="2414450" y="2909263"/>
            <a:ext cx="267462" cy="137138"/>
          </a:xfrm>
          <a:custGeom>
            <a:avLst/>
            <a:gdLst>
              <a:gd name="T0" fmla="*/ 71 w 133"/>
              <a:gd name="T1" fmla="*/ 52 h 68"/>
              <a:gd name="T2" fmla="*/ 56 w 133"/>
              <a:gd name="T3" fmla="*/ 20 h 68"/>
              <a:gd name="T4" fmla="*/ 106 w 133"/>
              <a:gd name="T5" fmla="*/ 29 h 68"/>
              <a:gd name="T6" fmla="*/ 87 w 133"/>
              <a:gd name="T7" fmla="*/ 34 h 68"/>
              <a:gd name="T8" fmla="*/ 82 w 133"/>
              <a:gd name="T9" fmla="*/ 24 h 68"/>
              <a:gd name="T10" fmla="*/ 65 w 133"/>
              <a:gd name="T11" fmla="*/ 23 h 68"/>
              <a:gd name="T12" fmla="*/ 78 w 133"/>
              <a:gd name="T13" fmla="*/ 50 h 68"/>
              <a:gd name="T14" fmla="*/ 133 w 133"/>
              <a:gd name="T15" fmla="*/ 34 h 68"/>
              <a:gd name="T16" fmla="*/ 53 w 133"/>
              <a:gd name="T17" fmla="*/ 12 h 68"/>
              <a:gd name="T18" fmla="*/ 52 w 133"/>
              <a:gd name="T19" fmla="*/ 12 h 68"/>
              <a:gd name="T20" fmla="*/ 46 w 133"/>
              <a:gd name="T21" fmla="*/ 0 h 68"/>
              <a:gd name="T22" fmla="*/ 29 w 133"/>
              <a:gd name="T23" fmla="*/ 2 h 68"/>
              <a:gd name="T24" fmla="*/ 36 w 133"/>
              <a:gd name="T25" fmla="*/ 17 h 68"/>
              <a:gd name="T26" fmla="*/ 16 w 133"/>
              <a:gd name="T27" fmla="*/ 68 h 68"/>
              <a:gd name="T28" fmla="*/ 71 w 133"/>
              <a:gd name="T29" fmla="*/ 52 h 68"/>
              <a:gd name="T30" fmla="*/ 41 w 133"/>
              <a:gd name="T31" fmla="*/ 27 h 68"/>
              <a:gd name="T32" fmla="*/ 49 w 133"/>
              <a:gd name="T33" fmla="*/ 44 h 68"/>
              <a:gd name="T34" fmla="*/ 31 w 133"/>
              <a:gd name="T35" fmla="*/ 49 h 68"/>
              <a:gd name="T36" fmla="*/ 41 w 133"/>
              <a:gd name="T37"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68">
                <a:moveTo>
                  <a:pt x="71" y="52"/>
                </a:moveTo>
                <a:cubicBezTo>
                  <a:pt x="56" y="20"/>
                  <a:pt x="56" y="20"/>
                  <a:pt x="56" y="20"/>
                </a:cubicBezTo>
                <a:cubicBezTo>
                  <a:pt x="83" y="12"/>
                  <a:pt x="106" y="29"/>
                  <a:pt x="106" y="29"/>
                </a:cubicBezTo>
                <a:cubicBezTo>
                  <a:pt x="87" y="34"/>
                  <a:pt x="87" y="34"/>
                  <a:pt x="87" y="34"/>
                </a:cubicBezTo>
                <a:cubicBezTo>
                  <a:pt x="82" y="24"/>
                  <a:pt x="82" y="24"/>
                  <a:pt x="82" y="24"/>
                </a:cubicBezTo>
                <a:cubicBezTo>
                  <a:pt x="77" y="23"/>
                  <a:pt x="71" y="22"/>
                  <a:pt x="65" y="23"/>
                </a:cubicBezTo>
                <a:cubicBezTo>
                  <a:pt x="78" y="50"/>
                  <a:pt x="78" y="50"/>
                  <a:pt x="78" y="50"/>
                </a:cubicBezTo>
                <a:cubicBezTo>
                  <a:pt x="133" y="34"/>
                  <a:pt x="133" y="34"/>
                  <a:pt x="133" y="34"/>
                </a:cubicBezTo>
                <a:cubicBezTo>
                  <a:pt x="133" y="34"/>
                  <a:pt x="113" y="2"/>
                  <a:pt x="53" y="12"/>
                </a:cubicBezTo>
                <a:cubicBezTo>
                  <a:pt x="53" y="12"/>
                  <a:pt x="53" y="12"/>
                  <a:pt x="52" y="12"/>
                </a:cubicBezTo>
                <a:cubicBezTo>
                  <a:pt x="46" y="0"/>
                  <a:pt x="46" y="0"/>
                  <a:pt x="46" y="0"/>
                </a:cubicBezTo>
                <a:cubicBezTo>
                  <a:pt x="29" y="2"/>
                  <a:pt x="29" y="2"/>
                  <a:pt x="29" y="2"/>
                </a:cubicBezTo>
                <a:cubicBezTo>
                  <a:pt x="36" y="17"/>
                  <a:pt x="36" y="17"/>
                  <a:pt x="36" y="17"/>
                </a:cubicBezTo>
                <a:cubicBezTo>
                  <a:pt x="0" y="32"/>
                  <a:pt x="16" y="68"/>
                  <a:pt x="16" y="68"/>
                </a:cubicBezTo>
                <a:lnTo>
                  <a:pt x="71" y="52"/>
                </a:lnTo>
                <a:close/>
                <a:moveTo>
                  <a:pt x="41" y="27"/>
                </a:moveTo>
                <a:cubicBezTo>
                  <a:pt x="49" y="44"/>
                  <a:pt x="49" y="44"/>
                  <a:pt x="49" y="44"/>
                </a:cubicBezTo>
                <a:cubicBezTo>
                  <a:pt x="31" y="49"/>
                  <a:pt x="31" y="49"/>
                  <a:pt x="31" y="49"/>
                </a:cubicBezTo>
                <a:cubicBezTo>
                  <a:pt x="31" y="49"/>
                  <a:pt x="26" y="37"/>
                  <a:pt x="4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3" name="Freeform 262"/>
          <p:cNvSpPr>
            <a:spLocks noEditPoints="1"/>
          </p:cNvSpPr>
          <p:nvPr/>
        </p:nvSpPr>
        <p:spPr bwMode="auto">
          <a:xfrm>
            <a:off x="2414450" y="2909263"/>
            <a:ext cx="267462" cy="137138"/>
          </a:xfrm>
          <a:custGeom>
            <a:avLst/>
            <a:gdLst>
              <a:gd name="T0" fmla="*/ 71 w 133"/>
              <a:gd name="T1" fmla="*/ 52 h 68"/>
              <a:gd name="T2" fmla="*/ 56 w 133"/>
              <a:gd name="T3" fmla="*/ 20 h 68"/>
              <a:gd name="T4" fmla="*/ 106 w 133"/>
              <a:gd name="T5" fmla="*/ 29 h 68"/>
              <a:gd name="T6" fmla="*/ 87 w 133"/>
              <a:gd name="T7" fmla="*/ 34 h 68"/>
              <a:gd name="T8" fmla="*/ 82 w 133"/>
              <a:gd name="T9" fmla="*/ 24 h 68"/>
              <a:gd name="T10" fmla="*/ 65 w 133"/>
              <a:gd name="T11" fmla="*/ 23 h 68"/>
              <a:gd name="T12" fmla="*/ 78 w 133"/>
              <a:gd name="T13" fmla="*/ 50 h 68"/>
              <a:gd name="T14" fmla="*/ 133 w 133"/>
              <a:gd name="T15" fmla="*/ 34 h 68"/>
              <a:gd name="T16" fmla="*/ 53 w 133"/>
              <a:gd name="T17" fmla="*/ 12 h 68"/>
              <a:gd name="T18" fmla="*/ 52 w 133"/>
              <a:gd name="T19" fmla="*/ 12 h 68"/>
              <a:gd name="T20" fmla="*/ 46 w 133"/>
              <a:gd name="T21" fmla="*/ 0 h 68"/>
              <a:gd name="T22" fmla="*/ 29 w 133"/>
              <a:gd name="T23" fmla="*/ 2 h 68"/>
              <a:gd name="T24" fmla="*/ 36 w 133"/>
              <a:gd name="T25" fmla="*/ 17 h 68"/>
              <a:gd name="T26" fmla="*/ 16 w 133"/>
              <a:gd name="T27" fmla="*/ 68 h 68"/>
              <a:gd name="T28" fmla="*/ 71 w 133"/>
              <a:gd name="T29" fmla="*/ 52 h 68"/>
              <a:gd name="T30" fmla="*/ 41 w 133"/>
              <a:gd name="T31" fmla="*/ 27 h 68"/>
              <a:gd name="T32" fmla="*/ 49 w 133"/>
              <a:gd name="T33" fmla="*/ 44 h 68"/>
              <a:gd name="T34" fmla="*/ 31 w 133"/>
              <a:gd name="T35" fmla="*/ 49 h 68"/>
              <a:gd name="T36" fmla="*/ 41 w 133"/>
              <a:gd name="T37" fmla="*/ 2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3" h="68">
                <a:moveTo>
                  <a:pt x="71" y="52"/>
                </a:moveTo>
                <a:cubicBezTo>
                  <a:pt x="56" y="20"/>
                  <a:pt x="56" y="20"/>
                  <a:pt x="56" y="20"/>
                </a:cubicBezTo>
                <a:cubicBezTo>
                  <a:pt x="83" y="12"/>
                  <a:pt x="106" y="29"/>
                  <a:pt x="106" y="29"/>
                </a:cubicBezTo>
                <a:cubicBezTo>
                  <a:pt x="87" y="34"/>
                  <a:pt x="87" y="34"/>
                  <a:pt x="87" y="34"/>
                </a:cubicBezTo>
                <a:cubicBezTo>
                  <a:pt x="82" y="24"/>
                  <a:pt x="82" y="24"/>
                  <a:pt x="82" y="24"/>
                </a:cubicBezTo>
                <a:cubicBezTo>
                  <a:pt x="77" y="23"/>
                  <a:pt x="71" y="22"/>
                  <a:pt x="65" y="23"/>
                </a:cubicBezTo>
                <a:cubicBezTo>
                  <a:pt x="78" y="50"/>
                  <a:pt x="78" y="50"/>
                  <a:pt x="78" y="50"/>
                </a:cubicBezTo>
                <a:cubicBezTo>
                  <a:pt x="133" y="34"/>
                  <a:pt x="133" y="34"/>
                  <a:pt x="133" y="34"/>
                </a:cubicBezTo>
                <a:cubicBezTo>
                  <a:pt x="133" y="34"/>
                  <a:pt x="113" y="2"/>
                  <a:pt x="53" y="12"/>
                </a:cubicBezTo>
                <a:cubicBezTo>
                  <a:pt x="53" y="12"/>
                  <a:pt x="53" y="12"/>
                  <a:pt x="52" y="12"/>
                </a:cubicBezTo>
                <a:cubicBezTo>
                  <a:pt x="46" y="0"/>
                  <a:pt x="46" y="0"/>
                  <a:pt x="46" y="0"/>
                </a:cubicBezTo>
                <a:cubicBezTo>
                  <a:pt x="29" y="2"/>
                  <a:pt x="29" y="2"/>
                  <a:pt x="29" y="2"/>
                </a:cubicBezTo>
                <a:cubicBezTo>
                  <a:pt x="36" y="17"/>
                  <a:pt x="36" y="17"/>
                  <a:pt x="36" y="17"/>
                </a:cubicBezTo>
                <a:cubicBezTo>
                  <a:pt x="0" y="32"/>
                  <a:pt x="16" y="68"/>
                  <a:pt x="16" y="68"/>
                </a:cubicBezTo>
                <a:lnTo>
                  <a:pt x="71" y="52"/>
                </a:lnTo>
                <a:close/>
                <a:moveTo>
                  <a:pt x="41" y="27"/>
                </a:moveTo>
                <a:cubicBezTo>
                  <a:pt x="49" y="44"/>
                  <a:pt x="49" y="44"/>
                  <a:pt x="49" y="44"/>
                </a:cubicBezTo>
                <a:cubicBezTo>
                  <a:pt x="31" y="49"/>
                  <a:pt x="31" y="49"/>
                  <a:pt x="31" y="49"/>
                </a:cubicBezTo>
                <a:cubicBezTo>
                  <a:pt x="31" y="49"/>
                  <a:pt x="26" y="37"/>
                  <a:pt x="41" y="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4" name="Freeform 263"/>
          <p:cNvSpPr>
            <a:spLocks/>
          </p:cNvSpPr>
          <p:nvPr/>
        </p:nvSpPr>
        <p:spPr bwMode="auto">
          <a:xfrm>
            <a:off x="2928080" y="2875191"/>
            <a:ext cx="253833" cy="243612"/>
          </a:xfrm>
          <a:custGeom>
            <a:avLst/>
            <a:gdLst>
              <a:gd name="T0" fmla="*/ 66 w 126"/>
              <a:gd name="T1" fmla="*/ 78 h 121"/>
              <a:gd name="T2" fmla="*/ 56 w 126"/>
              <a:gd name="T3" fmla="*/ 54 h 121"/>
              <a:gd name="T4" fmla="*/ 36 w 126"/>
              <a:gd name="T5" fmla="*/ 13 h 121"/>
              <a:gd name="T6" fmla="*/ 0 w 126"/>
              <a:gd name="T7" fmla="*/ 41 h 121"/>
              <a:gd name="T8" fmla="*/ 5 w 126"/>
              <a:gd name="T9" fmla="*/ 47 h 121"/>
              <a:gd name="T10" fmla="*/ 18 w 126"/>
              <a:gd name="T11" fmla="*/ 43 h 121"/>
              <a:gd name="T12" fmla="*/ 38 w 126"/>
              <a:gd name="T13" fmla="*/ 103 h 121"/>
              <a:gd name="T14" fmla="*/ 64 w 126"/>
              <a:gd name="T15" fmla="*/ 114 h 121"/>
              <a:gd name="T16" fmla="*/ 119 w 126"/>
              <a:gd name="T17" fmla="*/ 37 h 121"/>
              <a:gd name="T18" fmla="*/ 69 w 126"/>
              <a:gd name="T19" fmla="*/ 40 h 121"/>
              <a:gd name="T20" fmla="*/ 83 w 126"/>
              <a:gd name="T21" fmla="*/ 57 h 121"/>
              <a:gd name="T22" fmla="*/ 66 w 126"/>
              <a:gd name="T23" fmla="*/ 7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21">
                <a:moveTo>
                  <a:pt x="66" y="78"/>
                </a:moveTo>
                <a:cubicBezTo>
                  <a:pt x="63" y="78"/>
                  <a:pt x="60" y="69"/>
                  <a:pt x="56" y="54"/>
                </a:cubicBezTo>
                <a:cubicBezTo>
                  <a:pt x="52" y="38"/>
                  <a:pt x="52" y="10"/>
                  <a:pt x="36" y="13"/>
                </a:cubicBezTo>
                <a:cubicBezTo>
                  <a:pt x="20" y="16"/>
                  <a:pt x="0" y="41"/>
                  <a:pt x="0" y="41"/>
                </a:cubicBezTo>
                <a:cubicBezTo>
                  <a:pt x="5" y="47"/>
                  <a:pt x="5" y="47"/>
                  <a:pt x="5" y="47"/>
                </a:cubicBezTo>
                <a:cubicBezTo>
                  <a:pt x="5" y="47"/>
                  <a:pt x="15" y="39"/>
                  <a:pt x="18" y="43"/>
                </a:cubicBezTo>
                <a:cubicBezTo>
                  <a:pt x="21" y="47"/>
                  <a:pt x="34" y="94"/>
                  <a:pt x="38" y="103"/>
                </a:cubicBezTo>
                <a:cubicBezTo>
                  <a:pt x="42" y="111"/>
                  <a:pt x="52" y="121"/>
                  <a:pt x="64" y="114"/>
                </a:cubicBezTo>
                <a:cubicBezTo>
                  <a:pt x="75" y="107"/>
                  <a:pt x="112" y="75"/>
                  <a:pt x="119" y="37"/>
                </a:cubicBezTo>
                <a:cubicBezTo>
                  <a:pt x="126" y="0"/>
                  <a:pt x="74" y="8"/>
                  <a:pt x="69" y="40"/>
                </a:cubicBezTo>
                <a:cubicBezTo>
                  <a:pt x="82" y="32"/>
                  <a:pt x="90" y="44"/>
                  <a:pt x="83" y="57"/>
                </a:cubicBezTo>
                <a:cubicBezTo>
                  <a:pt x="76" y="70"/>
                  <a:pt x="69" y="78"/>
                  <a:pt x="66" y="7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5" name="Freeform 264"/>
          <p:cNvSpPr>
            <a:spLocks/>
          </p:cNvSpPr>
          <p:nvPr/>
        </p:nvSpPr>
        <p:spPr bwMode="auto">
          <a:xfrm>
            <a:off x="2928080" y="2875191"/>
            <a:ext cx="253833" cy="243612"/>
          </a:xfrm>
          <a:custGeom>
            <a:avLst/>
            <a:gdLst>
              <a:gd name="T0" fmla="*/ 66 w 126"/>
              <a:gd name="T1" fmla="*/ 78 h 121"/>
              <a:gd name="T2" fmla="*/ 56 w 126"/>
              <a:gd name="T3" fmla="*/ 54 h 121"/>
              <a:gd name="T4" fmla="*/ 36 w 126"/>
              <a:gd name="T5" fmla="*/ 13 h 121"/>
              <a:gd name="T6" fmla="*/ 0 w 126"/>
              <a:gd name="T7" fmla="*/ 41 h 121"/>
              <a:gd name="T8" fmla="*/ 5 w 126"/>
              <a:gd name="T9" fmla="*/ 47 h 121"/>
              <a:gd name="T10" fmla="*/ 18 w 126"/>
              <a:gd name="T11" fmla="*/ 43 h 121"/>
              <a:gd name="T12" fmla="*/ 38 w 126"/>
              <a:gd name="T13" fmla="*/ 103 h 121"/>
              <a:gd name="T14" fmla="*/ 64 w 126"/>
              <a:gd name="T15" fmla="*/ 114 h 121"/>
              <a:gd name="T16" fmla="*/ 119 w 126"/>
              <a:gd name="T17" fmla="*/ 37 h 121"/>
              <a:gd name="T18" fmla="*/ 69 w 126"/>
              <a:gd name="T19" fmla="*/ 40 h 121"/>
              <a:gd name="T20" fmla="*/ 83 w 126"/>
              <a:gd name="T21" fmla="*/ 57 h 121"/>
              <a:gd name="T22" fmla="*/ 66 w 126"/>
              <a:gd name="T23" fmla="*/ 7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21">
                <a:moveTo>
                  <a:pt x="66" y="78"/>
                </a:moveTo>
                <a:cubicBezTo>
                  <a:pt x="63" y="78"/>
                  <a:pt x="60" y="69"/>
                  <a:pt x="56" y="54"/>
                </a:cubicBezTo>
                <a:cubicBezTo>
                  <a:pt x="52" y="38"/>
                  <a:pt x="52" y="10"/>
                  <a:pt x="36" y="13"/>
                </a:cubicBezTo>
                <a:cubicBezTo>
                  <a:pt x="20" y="16"/>
                  <a:pt x="0" y="41"/>
                  <a:pt x="0" y="41"/>
                </a:cubicBezTo>
                <a:cubicBezTo>
                  <a:pt x="5" y="47"/>
                  <a:pt x="5" y="47"/>
                  <a:pt x="5" y="47"/>
                </a:cubicBezTo>
                <a:cubicBezTo>
                  <a:pt x="5" y="47"/>
                  <a:pt x="15" y="39"/>
                  <a:pt x="18" y="43"/>
                </a:cubicBezTo>
                <a:cubicBezTo>
                  <a:pt x="21" y="47"/>
                  <a:pt x="34" y="94"/>
                  <a:pt x="38" y="103"/>
                </a:cubicBezTo>
                <a:cubicBezTo>
                  <a:pt x="42" y="111"/>
                  <a:pt x="52" y="121"/>
                  <a:pt x="64" y="114"/>
                </a:cubicBezTo>
                <a:cubicBezTo>
                  <a:pt x="75" y="107"/>
                  <a:pt x="112" y="75"/>
                  <a:pt x="119" y="37"/>
                </a:cubicBezTo>
                <a:cubicBezTo>
                  <a:pt x="126" y="0"/>
                  <a:pt x="74" y="8"/>
                  <a:pt x="69" y="40"/>
                </a:cubicBezTo>
                <a:cubicBezTo>
                  <a:pt x="82" y="32"/>
                  <a:pt x="90" y="44"/>
                  <a:pt x="83" y="57"/>
                </a:cubicBezTo>
                <a:cubicBezTo>
                  <a:pt x="76" y="70"/>
                  <a:pt x="69" y="78"/>
                  <a:pt x="66" y="7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6" name="Freeform 265"/>
          <p:cNvSpPr>
            <a:spLocks/>
          </p:cNvSpPr>
          <p:nvPr/>
        </p:nvSpPr>
        <p:spPr bwMode="auto">
          <a:xfrm>
            <a:off x="2928080" y="2875191"/>
            <a:ext cx="253833" cy="243612"/>
          </a:xfrm>
          <a:custGeom>
            <a:avLst/>
            <a:gdLst>
              <a:gd name="T0" fmla="*/ 66 w 126"/>
              <a:gd name="T1" fmla="*/ 78 h 121"/>
              <a:gd name="T2" fmla="*/ 56 w 126"/>
              <a:gd name="T3" fmla="*/ 54 h 121"/>
              <a:gd name="T4" fmla="*/ 36 w 126"/>
              <a:gd name="T5" fmla="*/ 13 h 121"/>
              <a:gd name="T6" fmla="*/ 0 w 126"/>
              <a:gd name="T7" fmla="*/ 41 h 121"/>
              <a:gd name="T8" fmla="*/ 5 w 126"/>
              <a:gd name="T9" fmla="*/ 47 h 121"/>
              <a:gd name="T10" fmla="*/ 18 w 126"/>
              <a:gd name="T11" fmla="*/ 43 h 121"/>
              <a:gd name="T12" fmla="*/ 38 w 126"/>
              <a:gd name="T13" fmla="*/ 103 h 121"/>
              <a:gd name="T14" fmla="*/ 64 w 126"/>
              <a:gd name="T15" fmla="*/ 114 h 121"/>
              <a:gd name="T16" fmla="*/ 119 w 126"/>
              <a:gd name="T17" fmla="*/ 37 h 121"/>
              <a:gd name="T18" fmla="*/ 69 w 126"/>
              <a:gd name="T19" fmla="*/ 40 h 121"/>
              <a:gd name="T20" fmla="*/ 83 w 126"/>
              <a:gd name="T21" fmla="*/ 57 h 121"/>
              <a:gd name="T22" fmla="*/ 66 w 126"/>
              <a:gd name="T23" fmla="*/ 7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21">
                <a:moveTo>
                  <a:pt x="66" y="78"/>
                </a:moveTo>
                <a:cubicBezTo>
                  <a:pt x="63" y="78"/>
                  <a:pt x="60" y="69"/>
                  <a:pt x="56" y="54"/>
                </a:cubicBezTo>
                <a:cubicBezTo>
                  <a:pt x="52" y="38"/>
                  <a:pt x="52" y="10"/>
                  <a:pt x="36" y="13"/>
                </a:cubicBezTo>
                <a:cubicBezTo>
                  <a:pt x="20" y="16"/>
                  <a:pt x="0" y="41"/>
                  <a:pt x="0" y="41"/>
                </a:cubicBezTo>
                <a:cubicBezTo>
                  <a:pt x="5" y="47"/>
                  <a:pt x="5" y="47"/>
                  <a:pt x="5" y="47"/>
                </a:cubicBezTo>
                <a:cubicBezTo>
                  <a:pt x="5" y="47"/>
                  <a:pt x="15" y="39"/>
                  <a:pt x="18" y="43"/>
                </a:cubicBezTo>
                <a:cubicBezTo>
                  <a:pt x="21" y="47"/>
                  <a:pt x="34" y="94"/>
                  <a:pt x="38" y="103"/>
                </a:cubicBezTo>
                <a:cubicBezTo>
                  <a:pt x="42" y="111"/>
                  <a:pt x="52" y="121"/>
                  <a:pt x="64" y="114"/>
                </a:cubicBezTo>
                <a:cubicBezTo>
                  <a:pt x="75" y="107"/>
                  <a:pt x="112" y="75"/>
                  <a:pt x="119" y="37"/>
                </a:cubicBezTo>
                <a:cubicBezTo>
                  <a:pt x="126" y="0"/>
                  <a:pt x="74" y="8"/>
                  <a:pt x="69" y="40"/>
                </a:cubicBezTo>
                <a:cubicBezTo>
                  <a:pt x="82" y="32"/>
                  <a:pt x="90" y="44"/>
                  <a:pt x="83" y="57"/>
                </a:cubicBezTo>
                <a:cubicBezTo>
                  <a:pt x="76" y="70"/>
                  <a:pt x="69" y="78"/>
                  <a:pt x="66" y="7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7" name="Freeform 266"/>
          <p:cNvSpPr>
            <a:spLocks noEditPoints="1"/>
          </p:cNvSpPr>
          <p:nvPr/>
        </p:nvSpPr>
        <p:spPr bwMode="auto">
          <a:xfrm>
            <a:off x="3431487" y="2923743"/>
            <a:ext cx="124361" cy="160988"/>
          </a:xfrm>
          <a:custGeom>
            <a:avLst/>
            <a:gdLst>
              <a:gd name="T0" fmla="*/ 16 w 62"/>
              <a:gd name="T1" fmla="*/ 80 h 80"/>
              <a:gd name="T2" fmla="*/ 38 w 62"/>
              <a:gd name="T3" fmla="*/ 80 h 80"/>
              <a:gd name="T4" fmla="*/ 61 w 62"/>
              <a:gd name="T5" fmla="*/ 56 h 80"/>
              <a:gd name="T6" fmla="*/ 47 w 62"/>
              <a:gd name="T7" fmla="*/ 36 h 80"/>
              <a:gd name="T8" fmla="*/ 59 w 62"/>
              <a:gd name="T9" fmla="*/ 21 h 80"/>
              <a:gd name="T10" fmla="*/ 38 w 62"/>
              <a:gd name="T11" fmla="*/ 0 h 80"/>
              <a:gd name="T12" fmla="*/ 16 w 62"/>
              <a:gd name="T13" fmla="*/ 0 h 80"/>
              <a:gd name="T14" fmla="*/ 15 w 62"/>
              <a:gd name="T15" fmla="*/ 0 h 80"/>
              <a:gd name="T16" fmla="*/ 0 w 62"/>
              <a:gd name="T17" fmla="*/ 0 h 80"/>
              <a:gd name="T18" fmla="*/ 0 w 62"/>
              <a:gd name="T19" fmla="*/ 80 h 80"/>
              <a:gd name="T20" fmla="*/ 15 w 62"/>
              <a:gd name="T21" fmla="*/ 80 h 80"/>
              <a:gd name="T22" fmla="*/ 16 w 62"/>
              <a:gd name="T23" fmla="*/ 80 h 80"/>
              <a:gd name="T24" fmla="*/ 16 w 62"/>
              <a:gd name="T25" fmla="*/ 14 h 80"/>
              <a:gd name="T26" fmla="*/ 35 w 62"/>
              <a:gd name="T27" fmla="*/ 14 h 80"/>
              <a:gd name="T28" fmla="*/ 38 w 62"/>
              <a:gd name="T29" fmla="*/ 14 h 80"/>
              <a:gd name="T30" fmla="*/ 43 w 62"/>
              <a:gd name="T31" fmla="*/ 22 h 80"/>
              <a:gd name="T32" fmla="*/ 36 w 62"/>
              <a:gd name="T33" fmla="*/ 32 h 80"/>
              <a:gd name="T34" fmla="*/ 16 w 62"/>
              <a:gd name="T35" fmla="*/ 32 h 80"/>
              <a:gd name="T36" fmla="*/ 16 w 62"/>
              <a:gd name="T37" fmla="*/ 14 h 80"/>
              <a:gd name="T38" fmla="*/ 16 w 62"/>
              <a:gd name="T39" fmla="*/ 44 h 80"/>
              <a:gd name="T40" fmla="*/ 38 w 62"/>
              <a:gd name="T41" fmla="*/ 44 h 80"/>
              <a:gd name="T42" fmla="*/ 46 w 62"/>
              <a:gd name="T43" fmla="*/ 55 h 80"/>
              <a:gd name="T44" fmla="*/ 37 w 62"/>
              <a:gd name="T45" fmla="*/ 65 h 80"/>
              <a:gd name="T46" fmla="*/ 35 w 62"/>
              <a:gd name="T47" fmla="*/ 65 h 80"/>
              <a:gd name="T48" fmla="*/ 16 w 62"/>
              <a:gd name="T49" fmla="*/ 65 h 80"/>
              <a:gd name="T50" fmla="*/ 16 w 62"/>
              <a:gd name="T51" fmla="*/ 4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80">
                <a:moveTo>
                  <a:pt x="16" y="80"/>
                </a:moveTo>
                <a:cubicBezTo>
                  <a:pt x="38" y="80"/>
                  <a:pt x="38" y="80"/>
                  <a:pt x="38" y="80"/>
                </a:cubicBezTo>
                <a:cubicBezTo>
                  <a:pt x="38" y="80"/>
                  <a:pt x="61" y="79"/>
                  <a:pt x="61" y="56"/>
                </a:cubicBezTo>
                <a:cubicBezTo>
                  <a:pt x="61" y="56"/>
                  <a:pt x="62" y="36"/>
                  <a:pt x="47" y="36"/>
                </a:cubicBezTo>
                <a:cubicBezTo>
                  <a:pt x="47" y="36"/>
                  <a:pt x="59" y="35"/>
                  <a:pt x="59" y="21"/>
                </a:cubicBezTo>
                <a:cubicBezTo>
                  <a:pt x="59" y="7"/>
                  <a:pt x="49" y="0"/>
                  <a:pt x="38" y="0"/>
                </a:cubicBezTo>
                <a:cubicBezTo>
                  <a:pt x="16" y="0"/>
                  <a:pt x="16" y="0"/>
                  <a:pt x="16" y="0"/>
                </a:cubicBezTo>
                <a:cubicBezTo>
                  <a:pt x="15" y="0"/>
                  <a:pt x="15" y="0"/>
                  <a:pt x="15" y="0"/>
                </a:cubicBezTo>
                <a:cubicBezTo>
                  <a:pt x="0" y="0"/>
                  <a:pt x="0" y="0"/>
                  <a:pt x="0" y="0"/>
                </a:cubicBezTo>
                <a:cubicBezTo>
                  <a:pt x="0" y="80"/>
                  <a:pt x="0" y="80"/>
                  <a:pt x="0" y="80"/>
                </a:cubicBezTo>
                <a:cubicBezTo>
                  <a:pt x="15" y="80"/>
                  <a:pt x="15" y="80"/>
                  <a:pt x="15" y="80"/>
                </a:cubicBezTo>
                <a:lnTo>
                  <a:pt x="16" y="80"/>
                </a:lnTo>
                <a:close/>
                <a:moveTo>
                  <a:pt x="16" y="14"/>
                </a:moveTo>
                <a:cubicBezTo>
                  <a:pt x="35" y="14"/>
                  <a:pt x="35" y="14"/>
                  <a:pt x="35" y="14"/>
                </a:cubicBezTo>
                <a:cubicBezTo>
                  <a:pt x="38" y="14"/>
                  <a:pt x="38" y="14"/>
                  <a:pt x="38" y="14"/>
                </a:cubicBezTo>
                <a:cubicBezTo>
                  <a:pt x="38" y="14"/>
                  <a:pt x="43" y="14"/>
                  <a:pt x="43" y="22"/>
                </a:cubicBezTo>
                <a:cubicBezTo>
                  <a:pt x="43" y="31"/>
                  <a:pt x="40" y="32"/>
                  <a:pt x="36" y="32"/>
                </a:cubicBezTo>
                <a:cubicBezTo>
                  <a:pt x="16" y="32"/>
                  <a:pt x="16" y="32"/>
                  <a:pt x="16" y="32"/>
                </a:cubicBezTo>
                <a:lnTo>
                  <a:pt x="16" y="14"/>
                </a:lnTo>
                <a:close/>
                <a:moveTo>
                  <a:pt x="16" y="44"/>
                </a:moveTo>
                <a:cubicBezTo>
                  <a:pt x="38" y="44"/>
                  <a:pt x="38" y="44"/>
                  <a:pt x="38" y="44"/>
                </a:cubicBezTo>
                <a:cubicBezTo>
                  <a:pt x="38" y="44"/>
                  <a:pt x="46" y="44"/>
                  <a:pt x="46" y="55"/>
                </a:cubicBezTo>
                <a:cubicBezTo>
                  <a:pt x="46" y="64"/>
                  <a:pt x="40" y="65"/>
                  <a:pt x="37" y="65"/>
                </a:cubicBezTo>
                <a:cubicBezTo>
                  <a:pt x="36" y="65"/>
                  <a:pt x="36" y="65"/>
                  <a:pt x="35" y="65"/>
                </a:cubicBezTo>
                <a:cubicBezTo>
                  <a:pt x="16" y="65"/>
                  <a:pt x="16" y="65"/>
                  <a:pt x="16" y="65"/>
                </a:cubicBezTo>
                <a:lnTo>
                  <a:pt x="16" y="4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8" name="Freeform 267"/>
          <p:cNvSpPr>
            <a:spLocks noEditPoints="1"/>
          </p:cNvSpPr>
          <p:nvPr/>
        </p:nvSpPr>
        <p:spPr bwMode="auto">
          <a:xfrm>
            <a:off x="3555847" y="2963778"/>
            <a:ext cx="123510" cy="125213"/>
          </a:xfrm>
          <a:custGeom>
            <a:avLst/>
            <a:gdLst>
              <a:gd name="T0" fmla="*/ 31 w 61"/>
              <a:gd name="T1" fmla="*/ 0 h 62"/>
              <a:gd name="T2" fmla="*/ 2 w 61"/>
              <a:gd name="T3" fmla="*/ 30 h 62"/>
              <a:gd name="T4" fmla="*/ 31 w 61"/>
              <a:gd name="T5" fmla="*/ 60 h 62"/>
              <a:gd name="T6" fmla="*/ 56 w 61"/>
              <a:gd name="T7" fmla="*/ 39 h 62"/>
              <a:gd name="T8" fmla="*/ 43 w 61"/>
              <a:gd name="T9" fmla="*/ 39 h 62"/>
              <a:gd name="T10" fmla="*/ 31 w 61"/>
              <a:gd name="T11" fmla="*/ 48 h 62"/>
              <a:gd name="T12" fmla="*/ 18 w 61"/>
              <a:gd name="T13" fmla="*/ 34 h 62"/>
              <a:gd name="T14" fmla="*/ 57 w 61"/>
              <a:gd name="T15" fmla="*/ 34 h 62"/>
              <a:gd name="T16" fmla="*/ 31 w 61"/>
              <a:gd name="T17" fmla="*/ 0 h 62"/>
              <a:gd name="T18" fmla="*/ 18 w 61"/>
              <a:gd name="T19" fmla="*/ 24 h 62"/>
              <a:gd name="T20" fmla="*/ 31 w 61"/>
              <a:gd name="T21" fmla="*/ 12 h 62"/>
              <a:gd name="T22" fmla="*/ 42 w 61"/>
              <a:gd name="T23" fmla="*/ 24 h 62"/>
              <a:gd name="T24" fmla="*/ 18 w 61"/>
              <a:gd name="T25" fmla="*/ 2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2">
                <a:moveTo>
                  <a:pt x="31" y="0"/>
                </a:moveTo>
                <a:cubicBezTo>
                  <a:pt x="2" y="0"/>
                  <a:pt x="2" y="30"/>
                  <a:pt x="2" y="30"/>
                </a:cubicBezTo>
                <a:cubicBezTo>
                  <a:pt x="2" y="30"/>
                  <a:pt x="0" y="60"/>
                  <a:pt x="31" y="60"/>
                </a:cubicBezTo>
                <a:cubicBezTo>
                  <a:pt x="31" y="60"/>
                  <a:pt x="56" y="62"/>
                  <a:pt x="56" y="39"/>
                </a:cubicBezTo>
                <a:cubicBezTo>
                  <a:pt x="43" y="39"/>
                  <a:pt x="43" y="39"/>
                  <a:pt x="43" y="39"/>
                </a:cubicBezTo>
                <a:cubicBezTo>
                  <a:pt x="43" y="39"/>
                  <a:pt x="44" y="48"/>
                  <a:pt x="31" y="48"/>
                </a:cubicBezTo>
                <a:cubicBezTo>
                  <a:pt x="31" y="48"/>
                  <a:pt x="18" y="49"/>
                  <a:pt x="18" y="34"/>
                </a:cubicBezTo>
                <a:cubicBezTo>
                  <a:pt x="57" y="34"/>
                  <a:pt x="57" y="34"/>
                  <a:pt x="57" y="34"/>
                </a:cubicBezTo>
                <a:cubicBezTo>
                  <a:pt x="57" y="34"/>
                  <a:pt x="61" y="0"/>
                  <a:pt x="31" y="0"/>
                </a:cubicBezTo>
                <a:close/>
                <a:moveTo>
                  <a:pt x="18" y="24"/>
                </a:moveTo>
                <a:cubicBezTo>
                  <a:pt x="18" y="24"/>
                  <a:pt x="20" y="12"/>
                  <a:pt x="31" y="12"/>
                </a:cubicBezTo>
                <a:cubicBezTo>
                  <a:pt x="43" y="12"/>
                  <a:pt x="42" y="24"/>
                  <a:pt x="42" y="24"/>
                </a:cubicBezTo>
                <a:lnTo>
                  <a:pt x="18" y="2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19" name="Rectangle 268"/>
          <p:cNvSpPr>
            <a:spLocks noChangeArrowheads="1"/>
          </p:cNvSpPr>
          <p:nvPr/>
        </p:nvSpPr>
        <p:spPr bwMode="auto">
          <a:xfrm>
            <a:off x="3586512" y="2933114"/>
            <a:ext cx="62181" cy="14481"/>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0" name="Freeform 269"/>
          <p:cNvSpPr>
            <a:spLocks/>
          </p:cNvSpPr>
          <p:nvPr/>
        </p:nvSpPr>
        <p:spPr bwMode="auto">
          <a:xfrm>
            <a:off x="3912748" y="3058326"/>
            <a:ext cx="212947" cy="62181"/>
          </a:xfrm>
          <a:custGeom>
            <a:avLst/>
            <a:gdLst>
              <a:gd name="T0" fmla="*/ 1 w 106"/>
              <a:gd name="T1" fmla="*/ 6 h 31"/>
              <a:gd name="T2" fmla="*/ 56 w 106"/>
              <a:gd name="T3" fmla="*/ 31 h 31"/>
              <a:gd name="T4" fmla="*/ 57 w 106"/>
              <a:gd name="T5" fmla="*/ 31 h 31"/>
              <a:gd name="T6" fmla="*/ 100 w 106"/>
              <a:gd name="T7" fmla="*/ 18 h 31"/>
              <a:gd name="T8" fmla="*/ 100 w 106"/>
              <a:gd name="T9" fmla="*/ 18 h 31"/>
              <a:gd name="T10" fmla="*/ 105 w 106"/>
              <a:gd name="T11" fmla="*/ 15 h 31"/>
              <a:gd name="T12" fmla="*/ 106 w 106"/>
              <a:gd name="T13" fmla="*/ 12 h 31"/>
              <a:gd name="T14" fmla="*/ 103 w 106"/>
              <a:gd name="T15" fmla="*/ 8 h 31"/>
              <a:gd name="T16" fmla="*/ 101 w 106"/>
              <a:gd name="T17" fmla="*/ 9 h 31"/>
              <a:gd name="T18" fmla="*/ 99 w 106"/>
              <a:gd name="T19" fmla="*/ 10 h 31"/>
              <a:gd name="T20" fmla="*/ 98 w 106"/>
              <a:gd name="T21" fmla="*/ 10 h 31"/>
              <a:gd name="T22" fmla="*/ 97 w 106"/>
              <a:gd name="T23" fmla="*/ 10 h 31"/>
              <a:gd name="T24" fmla="*/ 97 w 106"/>
              <a:gd name="T25" fmla="*/ 10 h 31"/>
              <a:gd name="T26" fmla="*/ 58 w 106"/>
              <a:gd name="T27" fmla="*/ 19 h 31"/>
              <a:gd name="T28" fmla="*/ 57 w 106"/>
              <a:gd name="T29" fmla="*/ 19 h 31"/>
              <a:gd name="T30" fmla="*/ 5 w 106"/>
              <a:gd name="T31" fmla="*/ 1 h 31"/>
              <a:gd name="T32" fmla="*/ 3 w 106"/>
              <a:gd name="T33" fmla="*/ 0 h 31"/>
              <a:gd name="T34" fmla="*/ 1 w 106"/>
              <a:gd name="T35" fmla="*/ 1 h 31"/>
              <a:gd name="T36" fmla="*/ 0 w 106"/>
              <a:gd name="T37" fmla="*/ 3 h 31"/>
              <a:gd name="T38" fmla="*/ 1 w 106"/>
              <a:gd name="T3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6" h="31">
                <a:moveTo>
                  <a:pt x="1" y="6"/>
                </a:moveTo>
                <a:cubicBezTo>
                  <a:pt x="17" y="19"/>
                  <a:pt x="33" y="31"/>
                  <a:pt x="56" y="31"/>
                </a:cubicBezTo>
                <a:cubicBezTo>
                  <a:pt x="56" y="31"/>
                  <a:pt x="57" y="31"/>
                  <a:pt x="57" y="31"/>
                </a:cubicBezTo>
                <a:cubicBezTo>
                  <a:pt x="71" y="31"/>
                  <a:pt x="87" y="26"/>
                  <a:pt x="100" y="18"/>
                </a:cubicBezTo>
                <a:cubicBezTo>
                  <a:pt x="100" y="18"/>
                  <a:pt x="100" y="18"/>
                  <a:pt x="100" y="18"/>
                </a:cubicBezTo>
                <a:cubicBezTo>
                  <a:pt x="102" y="17"/>
                  <a:pt x="103" y="16"/>
                  <a:pt x="105" y="15"/>
                </a:cubicBezTo>
                <a:cubicBezTo>
                  <a:pt x="106" y="14"/>
                  <a:pt x="106" y="13"/>
                  <a:pt x="106" y="12"/>
                </a:cubicBezTo>
                <a:cubicBezTo>
                  <a:pt x="106" y="10"/>
                  <a:pt x="105" y="8"/>
                  <a:pt x="103" y="8"/>
                </a:cubicBezTo>
                <a:cubicBezTo>
                  <a:pt x="102" y="8"/>
                  <a:pt x="102" y="8"/>
                  <a:pt x="101" y="9"/>
                </a:cubicBezTo>
                <a:cubicBezTo>
                  <a:pt x="100" y="9"/>
                  <a:pt x="100" y="9"/>
                  <a:pt x="99" y="10"/>
                </a:cubicBezTo>
                <a:cubicBezTo>
                  <a:pt x="98" y="10"/>
                  <a:pt x="98" y="10"/>
                  <a:pt x="98" y="10"/>
                </a:cubicBezTo>
                <a:cubicBezTo>
                  <a:pt x="97" y="10"/>
                  <a:pt x="97" y="10"/>
                  <a:pt x="97" y="10"/>
                </a:cubicBezTo>
                <a:cubicBezTo>
                  <a:pt x="97" y="10"/>
                  <a:pt x="97" y="10"/>
                  <a:pt x="97" y="10"/>
                </a:cubicBezTo>
                <a:cubicBezTo>
                  <a:pt x="84" y="16"/>
                  <a:pt x="71" y="19"/>
                  <a:pt x="58" y="19"/>
                </a:cubicBezTo>
                <a:cubicBezTo>
                  <a:pt x="58" y="19"/>
                  <a:pt x="57" y="19"/>
                  <a:pt x="57" y="19"/>
                </a:cubicBezTo>
                <a:cubicBezTo>
                  <a:pt x="37" y="19"/>
                  <a:pt x="21" y="10"/>
                  <a:pt x="5" y="1"/>
                </a:cubicBezTo>
                <a:cubicBezTo>
                  <a:pt x="4" y="1"/>
                  <a:pt x="4" y="0"/>
                  <a:pt x="3" y="0"/>
                </a:cubicBezTo>
                <a:cubicBezTo>
                  <a:pt x="2" y="0"/>
                  <a:pt x="2" y="1"/>
                  <a:pt x="1" y="1"/>
                </a:cubicBezTo>
                <a:cubicBezTo>
                  <a:pt x="0" y="2"/>
                  <a:pt x="0" y="2"/>
                  <a:pt x="0" y="3"/>
                </a:cubicBezTo>
                <a:cubicBezTo>
                  <a:pt x="0" y="4"/>
                  <a:pt x="1" y="5"/>
                  <a:pt x="1" y="6"/>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1" name="Freeform 270"/>
          <p:cNvSpPr>
            <a:spLocks/>
          </p:cNvSpPr>
          <p:nvPr/>
        </p:nvSpPr>
        <p:spPr bwMode="auto">
          <a:xfrm>
            <a:off x="4103549" y="3050660"/>
            <a:ext cx="51107" cy="50256"/>
          </a:xfrm>
          <a:custGeom>
            <a:avLst/>
            <a:gdLst>
              <a:gd name="T0" fmla="*/ 25 w 25"/>
              <a:gd name="T1" fmla="*/ 5 h 25"/>
              <a:gd name="T2" fmla="*/ 24 w 25"/>
              <a:gd name="T3" fmla="*/ 2 h 25"/>
              <a:gd name="T4" fmla="*/ 24 w 25"/>
              <a:gd name="T5" fmla="*/ 2 h 25"/>
              <a:gd name="T6" fmla="*/ 24 w 25"/>
              <a:gd name="T7" fmla="*/ 2 h 25"/>
              <a:gd name="T8" fmla="*/ 23 w 25"/>
              <a:gd name="T9" fmla="*/ 1 h 25"/>
              <a:gd name="T10" fmla="*/ 16 w 25"/>
              <a:gd name="T11" fmla="*/ 0 h 25"/>
              <a:gd name="T12" fmla="*/ 9 w 25"/>
              <a:gd name="T13" fmla="*/ 1 h 25"/>
              <a:gd name="T14" fmla="*/ 9 w 25"/>
              <a:gd name="T15" fmla="*/ 0 h 25"/>
              <a:gd name="T16" fmla="*/ 7 w 25"/>
              <a:gd name="T17" fmla="*/ 1 h 25"/>
              <a:gd name="T18" fmla="*/ 7 w 25"/>
              <a:gd name="T19" fmla="*/ 1 h 25"/>
              <a:gd name="T20" fmla="*/ 5 w 25"/>
              <a:gd name="T21" fmla="*/ 2 h 25"/>
              <a:gd name="T22" fmla="*/ 5 w 25"/>
              <a:gd name="T23" fmla="*/ 2 h 25"/>
              <a:gd name="T24" fmla="*/ 1 w 25"/>
              <a:gd name="T25" fmla="*/ 4 h 25"/>
              <a:gd name="T26" fmla="*/ 0 w 25"/>
              <a:gd name="T27" fmla="*/ 7 h 25"/>
              <a:gd name="T28" fmla="*/ 1 w 25"/>
              <a:gd name="T29" fmla="*/ 9 h 25"/>
              <a:gd name="T30" fmla="*/ 2 w 25"/>
              <a:gd name="T31" fmla="*/ 9 h 25"/>
              <a:gd name="T32" fmla="*/ 3 w 25"/>
              <a:gd name="T33" fmla="*/ 9 h 25"/>
              <a:gd name="T34" fmla="*/ 3 w 25"/>
              <a:gd name="T35" fmla="*/ 9 h 25"/>
              <a:gd name="T36" fmla="*/ 3 w 25"/>
              <a:gd name="T37" fmla="*/ 9 h 25"/>
              <a:gd name="T38" fmla="*/ 8 w 25"/>
              <a:gd name="T39" fmla="*/ 8 h 25"/>
              <a:gd name="T40" fmla="*/ 12 w 25"/>
              <a:gd name="T41" fmla="*/ 8 h 25"/>
              <a:gd name="T42" fmla="*/ 15 w 25"/>
              <a:gd name="T43" fmla="*/ 8 h 25"/>
              <a:gd name="T44" fmla="*/ 16 w 25"/>
              <a:gd name="T45" fmla="*/ 9 h 25"/>
              <a:gd name="T46" fmla="*/ 16 w 25"/>
              <a:gd name="T47" fmla="*/ 9 h 25"/>
              <a:gd name="T48" fmla="*/ 16 w 25"/>
              <a:gd name="T49" fmla="*/ 9 h 25"/>
              <a:gd name="T50" fmla="*/ 15 w 25"/>
              <a:gd name="T51" fmla="*/ 15 h 25"/>
              <a:gd name="T52" fmla="*/ 13 w 25"/>
              <a:gd name="T53" fmla="*/ 21 h 25"/>
              <a:gd name="T54" fmla="*/ 12 w 25"/>
              <a:gd name="T55" fmla="*/ 23 h 25"/>
              <a:gd name="T56" fmla="*/ 13 w 25"/>
              <a:gd name="T57" fmla="*/ 24 h 25"/>
              <a:gd name="T58" fmla="*/ 15 w 25"/>
              <a:gd name="T59" fmla="*/ 25 h 25"/>
              <a:gd name="T60" fmla="*/ 15 w 25"/>
              <a:gd name="T61" fmla="*/ 25 h 25"/>
              <a:gd name="T62" fmla="*/ 17 w 25"/>
              <a:gd name="T63" fmla="*/ 24 h 25"/>
              <a:gd name="T64" fmla="*/ 25 w 25"/>
              <a:gd name="T65" fmla="*/ 6 h 25"/>
              <a:gd name="T66" fmla="*/ 25 w 25"/>
              <a:gd name="T67"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25">
                <a:moveTo>
                  <a:pt x="25" y="5"/>
                </a:moveTo>
                <a:cubicBezTo>
                  <a:pt x="25" y="4"/>
                  <a:pt x="25" y="3"/>
                  <a:pt x="24" y="2"/>
                </a:cubicBezTo>
                <a:cubicBezTo>
                  <a:pt x="24" y="2"/>
                  <a:pt x="24" y="2"/>
                  <a:pt x="24" y="2"/>
                </a:cubicBezTo>
                <a:cubicBezTo>
                  <a:pt x="24" y="2"/>
                  <a:pt x="24" y="2"/>
                  <a:pt x="24" y="2"/>
                </a:cubicBezTo>
                <a:cubicBezTo>
                  <a:pt x="24" y="1"/>
                  <a:pt x="23" y="1"/>
                  <a:pt x="23" y="1"/>
                </a:cubicBezTo>
                <a:cubicBezTo>
                  <a:pt x="21" y="0"/>
                  <a:pt x="19" y="0"/>
                  <a:pt x="16" y="0"/>
                </a:cubicBezTo>
                <a:cubicBezTo>
                  <a:pt x="14" y="0"/>
                  <a:pt x="11" y="0"/>
                  <a:pt x="9" y="1"/>
                </a:cubicBezTo>
                <a:cubicBezTo>
                  <a:pt x="9" y="0"/>
                  <a:pt x="9" y="0"/>
                  <a:pt x="9" y="0"/>
                </a:cubicBezTo>
                <a:cubicBezTo>
                  <a:pt x="7" y="1"/>
                  <a:pt x="7" y="1"/>
                  <a:pt x="7" y="1"/>
                </a:cubicBezTo>
                <a:cubicBezTo>
                  <a:pt x="7" y="1"/>
                  <a:pt x="7" y="1"/>
                  <a:pt x="7" y="1"/>
                </a:cubicBezTo>
                <a:cubicBezTo>
                  <a:pt x="5" y="2"/>
                  <a:pt x="5" y="2"/>
                  <a:pt x="5" y="2"/>
                </a:cubicBezTo>
                <a:cubicBezTo>
                  <a:pt x="5" y="2"/>
                  <a:pt x="5" y="2"/>
                  <a:pt x="5" y="2"/>
                </a:cubicBezTo>
                <a:cubicBezTo>
                  <a:pt x="4" y="2"/>
                  <a:pt x="2" y="3"/>
                  <a:pt x="1" y="4"/>
                </a:cubicBezTo>
                <a:cubicBezTo>
                  <a:pt x="0" y="5"/>
                  <a:pt x="0" y="5"/>
                  <a:pt x="0" y="7"/>
                </a:cubicBezTo>
                <a:cubicBezTo>
                  <a:pt x="0" y="7"/>
                  <a:pt x="0" y="8"/>
                  <a:pt x="1" y="9"/>
                </a:cubicBezTo>
                <a:cubicBezTo>
                  <a:pt x="1" y="9"/>
                  <a:pt x="2" y="9"/>
                  <a:pt x="2" y="9"/>
                </a:cubicBezTo>
                <a:cubicBezTo>
                  <a:pt x="2" y="9"/>
                  <a:pt x="3" y="9"/>
                  <a:pt x="3" y="9"/>
                </a:cubicBezTo>
                <a:cubicBezTo>
                  <a:pt x="3" y="9"/>
                  <a:pt x="3" y="9"/>
                  <a:pt x="3" y="9"/>
                </a:cubicBezTo>
                <a:cubicBezTo>
                  <a:pt x="3" y="9"/>
                  <a:pt x="3" y="9"/>
                  <a:pt x="3" y="9"/>
                </a:cubicBezTo>
                <a:cubicBezTo>
                  <a:pt x="4" y="9"/>
                  <a:pt x="6" y="9"/>
                  <a:pt x="8" y="8"/>
                </a:cubicBezTo>
                <a:cubicBezTo>
                  <a:pt x="9" y="8"/>
                  <a:pt x="11" y="8"/>
                  <a:pt x="12" y="8"/>
                </a:cubicBezTo>
                <a:cubicBezTo>
                  <a:pt x="14" y="8"/>
                  <a:pt x="15" y="8"/>
                  <a:pt x="15" y="8"/>
                </a:cubicBezTo>
                <a:cubicBezTo>
                  <a:pt x="16" y="8"/>
                  <a:pt x="16" y="9"/>
                  <a:pt x="16" y="9"/>
                </a:cubicBezTo>
                <a:cubicBezTo>
                  <a:pt x="16" y="9"/>
                  <a:pt x="16" y="9"/>
                  <a:pt x="16" y="9"/>
                </a:cubicBezTo>
                <a:cubicBezTo>
                  <a:pt x="16" y="9"/>
                  <a:pt x="16" y="9"/>
                  <a:pt x="16" y="9"/>
                </a:cubicBezTo>
                <a:cubicBezTo>
                  <a:pt x="16" y="11"/>
                  <a:pt x="16" y="13"/>
                  <a:pt x="15" y="15"/>
                </a:cubicBezTo>
                <a:cubicBezTo>
                  <a:pt x="14" y="18"/>
                  <a:pt x="13" y="20"/>
                  <a:pt x="13" y="21"/>
                </a:cubicBezTo>
                <a:cubicBezTo>
                  <a:pt x="12" y="22"/>
                  <a:pt x="12" y="22"/>
                  <a:pt x="12" y="23"/>
                </a:cubicBezTo>
                <a:cubicBezTo>
                  <a:pt x="12" y="23"/>
                  <a:pt x="13" y="24"/>
                  <a:pt x="13" y="24"/>
                </a:cubicBezTo>
                <a:cubicBezTo>
                  <a:pt x="14" y="25"/>
                  <a:pt x="14" y="25"/>
                  <a:pt x="15" y="25"/>
                </a:cubicBezTo>
                <a:cubicBezTo>
                  <a:pt x="15" y="25"/>
                  <a:pt x="15" y="25"/>
                  <a:pt x="15" y="25"/>
                </a:cubicBezTo>
                <a:cubicBezTo>
                  <a:pt x="16" y="25"/>
                  <a:pt x="17" y="25"/>
                  <a:pt x="17" y="24"/>
                </a:cubicBezTo>
                <a:cubicBezTo>
                  <a:pt x="23" y="19"/>
                  <a:pt x="25" y="11"/>
                  <a:pt x="25" y="6"/>
                </a:cubicBezTo>
                <a:cubicBezTo>
                  <a:pt x="25" y="5"/>
                  <a:pt x="25" y="5"/>
                  <a:pt x="25" y="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2" name="Freeform 271"/>
          <p:cNvSpPr>
            <a:spLocks noEditPoints="1"/>
          </p:cNvSpPr>
          <p:nvPr/>
        </p:nvSpPr>
        <p:spPr bwMode="auto">
          <a:xfrm>
            <a:off x="3957040" y="2879451"/>
            <a:ext cx="146508" cy="174617"/>
          </a:xfrm>
          <a:custGeom>
            <a:avLst/>
            <a:gdLst>
              <a:gd name="T0" fmla="*/ 45 w 73"/>
              <a:gd name="T1" fmla="*/ 34 h 87"/>
              <a:gd name="T2" fmla="*/ 33 w 73"/>
              <a:gd name="T3" fmla="*/ 35 h 87"/>
              <a:gd name="T4" fmla="*/ 16 w 73"/>
              <a:gd name="T5" fmla="*/ 39 h 87"/>
              <a:gd name="T6" fmla="*/ 0 w 73"/>
              <a:gd name="T7" fmla="*/ 64 h 87"/>
              <a:gd name="T8" fmla="*/ 22 w 73"/>
              <a:gd name="T9" fmla="*/ 87 h 87"/>
              <a:gd name="T10" fmla="*/ 33 w 73"/>
              <a:gd name="T11" fmla="*/ 86 h 87"/>
              <a:gd name="T12" fmla="*/ 47 w 73"/>
              <a:gd name="T13" fmla="*/ 76 h 87"/>
              <a:gd name="T14" fmla="*/ 56 w 73"/>
              <a:gd name="T15" fmla="*/ 86 h 87"/>
              <a:gd name="T16" fmla="*/ 60 w 73"/>
              <a:gd name="T17" fmla="*/ 86 h 87"/>
              <a:gd name="T18" fmla="*/ 72 w 73"/>
              <a:gd name="T19" fmla="*/ 76 h 87"/>
              <a:gd name="T20" fmla="*/ 72 w 73"/>
              <a:gd name="T21" fmla="*/ 72 h 87"/>
              <a:gd name="T22" fmla="*/ 66 w 73"/>
              <a:gd name="T23" fmla="*/ 58 h 87"/>
              <a:gd name="T24" fmla="*/ 66 w 73"/>
              <a:gd name="T25" fmla="*/ 34 h 87"/>
              <a:gd name="T26" fmla="*/ 59 w 73"/>
              <a:gd name="T27" fmla="*/ 8 h 87"/>
              <a:gd name="T28" fmla="*/ 36 w 73"/>
              <a:gd name="T29" fmla="*/ 0 h 87"/>
              <a:gd name="T30" fmla="*/ 33 w 73"/>
              <a:gd name="T31" fmla="*/ 0 h 87"/>
              <a:gd name="T32" fmla="*/ 2 w 73"/>
              <a:gd name="T33" fmla="*/ 24 h 87"/>
              <a:gd name="T34" fmla="*/ 4 w 73"/>
              <a:gd name="T35" fmla="*/ 27 h 87"/>
              <a:gd name="T36" fmla="*/ 19 w 73"/>
              <a:gd name="T37" fmla="*/ 29 h 87"/>
              <a:gd name="T38" fmla="*/ 22 w 73"/>
              <a:gd name="T39" fmla="*/ 26 h 87"/>
              <a:gd name="T40" fmla="*/ 33 w 73"/>
              <a:gd name="T41" fmla="*/ 16 h 87"/>
              <a:gd name="T42" fmla="*/ 34 w 73"/>
              <a:gd name="T43" fmla="*/ 16 h 87"/>
              <a:gd name="T44" fmla="*/ 43 w 73"/>
              <a:gd name="T45" fmla="*/ 20 h 87"/>
              <a:gd name="T46" fmla="*/ 45 w 73"/>
              <a:gd name="T47" fmla="*/ 31 h 87"/>
              <a:gd name="T48" fmla="*/ 45 w 73"/>
              <a:gd name="T49" fmla="*/ 34 h 87"/>
              <a:gd name="T50" fmla="*/ 42 w 73"/>
              <a:gd name="T51" fmla="*/ 65 h 87"/>
              <a:gd name="T52" fmla="*/ 33 w 73"/>
              <a:gd name="T53" fmla="*/ 72 h 87"/>
              <a:gd name="T54" fmla="*/ 31 w 73"/>
              <a:gd name="T55" fmla="*/ 72 h 87"/>
              <a:gd name="T56" fmla="*/ 22 w 73"/>
              <a:gd name="T57" fmla="*/ 61 h 87"/>
              <a:gd name="T58" fmla="*/ 33 w 73"/>
              <a:gd name="T59" fmla="*/ 47 h 87"/>
              <a:gd name="T60" fmla="*/ 45 w 73"/>
              <a:gd name="T61" fmla="*/ 46 h 87"/>
              <a:gd name="T62" fmla="*/ 45 w 73"/>
              <a:gd name="T63" fmla="*/ 49 h 87"/>
              <a:gd name="T64" fmla="*/ 42 w 73"/>
              <a:gd name="T65" fmla="*/ 6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3" h="87">
                <a:moveTo>
                  <a:pt x="45" y="34"/>
                </a:moveTo>
                <a:cubicBezTo>
                  <a:pt x="41" y="34"/>
                  <a:pt x="37" y="34"/>
                  <a:pt x="33" y="35"/>
                </a:cubicBezTo>
                <a:cubicBezTo>
                  <a:pt x="27" y="35"/>
                  <a:pt x="21" y="36"/>
                  <a:pt x="16" y="39"/>
                </a:cubicBezTo>
                <a:cubicBezTo>
                  <a:pt x="6" y="43"/>
                  <a:pt x="0" y="51"/>
                  <a:pt x="0" y="64"/>
                </a:cubicBezTo>
                <a:cubicBezTo>
                  <a:pt x="0" y="79"/>
                  <a:pt x="10" y="87"/>
                  <a:pt x="22" y="87"/>
                </a:cubicBezTo>
                <a:cubicBezTo>
                  <a:pt x="27" y="87"/>
                  <a:pt x="30" y="87"/>
                  <a:pt x="33" y="86"/>
                </a:cubicBezTo>
                <a:cubicBezTo>
                  <a:pt x="38" y="84"/>
                  <a:pt x="42" y="82"/>
                  <a:pt x="47" y="76"/>
                </a:cubicBezTo>
                <a:cubicBezTo>
                  <a:pt x="50" y="80"/>
                  <a:pt x="51" y="82"/>
                  <a:pt x="56" y="86"/>
                </a:cubicBezTo>
                <a:cubicBezTo>
                  <a:pt x="58" y="87"/>
                  <a:pt x="59" y="87"/>
                  <a:pt x="60" y="86"/>
                </a:cubicBezTo>
                <a:cubicBezTo>
                  <a:pt x="63" y="83"/>
                  <a:pt x="69" y="79"/>
                  <a:pt x="72" y="76"/>
                </a:cubicBezTo>
                <a:cubicBezTo>
                  <a:pt x="73" y="75"/>
                  <a:pt x="73" y="73"/>
                  <a:pt x="72" y="72"/>
                </a:cubicBezTo>
                <a:cubicBezTo>
                  <a:pt x="69" y="68"/>
                  <a:pt x="66" y="65"/>
                  <a:pt x="66" y="58"/>
                </a:cubicBezTo>
                <a:cubicBezTo>
                  <a:pt x="66" y="34"/>
                  <a:pt x="66" y="34"/>
                  <a:pt x="66" y="34"/>
                </a:cubicBezTo>
                <a:cubicBezTo>
                  <a:pt x="66" y="24"/>
                  <a:pt x="67" y="15"/>
                  <a:pt x="59" y="8"/>
                </a:cubicBezTo>
                <a:cubicBezTo>
                  <a:pt x="53" y="2"/>
                  <a:pt x="44" y="0"/>
                  <a:pt x="36" y="0"/>
                </a:cubicBezTo>
                <a:cubicBezTo>
                  <a:pt x="33" y="0"/>
                  <a:pt x="33" y="0"/>
                  <a:pt x="33" y="0"/>
                </a:cubicBezTo>
                <a:cubicBezTo>
                  <a:pt x="20" y="1"/>
                  <a:pt x="5" y="7"/>
                  <a:pt x="2" y="24"/>
                </a:cubicBezTo>
                <a:cubicBezTo>
                  <a:pt x="2" y="26"/>
                  <a:pt x="3" y="26"/>
                  <a:pt x="4" y="27"/>
                </a:cubicBezTo>
                <a:cubicBezTo>
                  <a:pt x="19" y="29"/>
                  <a:pt x="19" y="29"/>
                  <a:pt x="19" y="29"/>
                </a:cubicBezTo>
                <a:cubicBezTo>
                  <a:pt x="21" y="28"/>
                  <a:pt x="22" y="27"/>
                  <a:pt x="22" y="26"/>
                </a:cubicBezTo>
                <a:cubicBezTo>
                  <a:pt x="23" y="20"/>
                  <a:pt x="28" y="17"/>
                  <a:pt x="33" y="16"/>
                </a:cubicBezTo>
                <a:cubicBezTo>
                  <a:pt x="34" y="16"/>
                  <a:pt x="34" y="16"/>
                  <a:pt x="34" y="16"/>
                </a:cubicBezTo>
                <a:cubicBezTo>
                  <a:pt x="37" y="16"/>
                  <a:pt x="41" y="18"/>
                  <a:pt x="43" y="20"/>
                </a:cubicBezTo>
                <a:cubicBezTo>
                  <a:pt x="45" y="24"/>
                  <a:pt x="45" y="28"/>
                  <a:pt x="45" y="31"/>
                </a:cubicBezTo>
                <a:lnTo>
                  <a:pt x="45" y="34"/>
                </a:lnTo>
                <a:close/>
                <a:moveTo>
                  <a:pt x="42" y="65"/>
                </a:moveTo>
                <a:cubicBezTo>
                  <a:pt x="40" y="69"/>
                  <a:pt x="37" y="71"/>
                  <a:pt x="33" y="72"/>
                </a:cubicBezTo>
                <a:cubicBezTo>
                  <a:pt x="33" y="72"/>
                  <a:pt x="32" y="72"/>
                  <a:pt x="31" y="72"/>
                </a:cubicBezTo>
                <a:cubicBezTo>
                  <a:pt x="25" y="72"/>
                  <a:pt x="22" y="68"/>
                  <a:pt x="22" y="61"/>
                </a:cubicBezTo>
                <a:cubicBezTo>
                  <a:pt x="22" y="53"/>
                  <a:pt x="27" y="49"/>
                  <a:pt x="33" y="47"/>
                </a:cubicBezTo>
                <a:cubicBezTo>
                  <a:pt x="37" y="46"/>
                  <a:pt x="41" y="46"/>
                  <a:pt x="45" y="46"/>
                </a:cubicBezTo>
                <a:cubicBezTo>
                  <a:pt x="45" y="49"/>
                  <a:pt x="45" y="49"/>
                  <a:pt x="45" y="49"/>
                </a:cubicBezTo>
                <a:cubicBezTo>
                  <a:pt x="45" y="55"/>
                  <a:pt x="45" y="60"/>
                  <a:pt x="42" y="6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3" name="Freeform 272"/>
          <p:cNvSpPr>
            <a:spLocks/>
          </p:cNvSpPr>
          <p:nvPr/>
        </p:nvSpPr>
        <p:spPr bwMode="auto">
          <a:xfrm>
            <a:off x="1995371" y="3439075"/>
            <a:ext cx="94549" cy="137138"/>
          </a:xfrm>
          <a:custGeom>
            <a:avLst/>
            <a:gdLst>
              <a:gd name="T0" fmla="*/ 34 w 47"/>
              <a:gd name="T1" fmla="*/ 1 h 68"/>
              <a:gd name="T2" fmla="*/ 23 w 47"/>
              <a:gd name="T3" fmla="*/ 21 h 68"/>
              <a:gd name="T4" fmla="*/ 11 w 47"/>
              <a:gd name="T5" fmla="*/ 42 h 68"/>
              <a:gd name="T6" fmla="*/ 1 w 47"/>
              <a:gd name="T7" fmla="*/ 60 h 68"/>
              <a:gd name="T8" fmla="*/ 2 w 47"/>
              <a:gd name="T9" fmla="*/ 63 h 68"/>
              <a:gd name="T10" fmla="*/ 9 w 47"/>
              <a:gd name="T11" fmla="*/ 68 h 68"/>
              <a:gd name="T12" fmla="*/ 13 w 47"/>
              <a:gd name="T13" fmla="*/ 67 h 68"/>
              <a:gd name="T14" fmla="*/ 27 w 47"/>
              <a:gd name="T15" fmla="*/ 42 h 68"/>
              <a:gd name="T16" fmla="*/ 36 w 47"/>
              <a:gd name="T17" fmla="*/ 26 h 68"/>
              <a:gd name="T18" fmla="*/ 46 w 47"/>
              <a:gd name="T19" fmla="*/ 8 h 68"/>
              <a:gd name="T20" fmla="*/ 45 w 47"/>
              <a:gd name="T21" fmla="*/ 4 h 68"/>
              <a:gd name="T22" fmla="*/ 38 w 47"/>
              <a:gd name="T23" fmla="*/ 0 h 68"/>
              <a:gd name="T24" fmla="*/ 34 w 47"/>
              <a:gd name="T25" fmla="*/ 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68">
                <a:moveTo>
                  <a:pt x="34" y="1"/>
                </a:moveTo>
                <a:cubicBezTo>
                  <a:pt x="23" y="21"/>
                  <a:pt x="23" y="21"/>
                  <a:pt x="23" y="21"/>
                </a:cubicBezTo>
                <a:cubicBezTo>
                  <a:pt x="11" y="42"/>
                  <a:pt x="11" y="42"/>
                  <a:pt x="11" y="42"/>
                </a:cubicBezTo>
                <a:cubicBezTo>
                  <a:pt x="1" y="60"/>
                  <a:pt x="1" y="60"/>
                  <a:pt x="1" y="60"/>
                </a:cubicBezTo>
                <a:cubicBezTo>
                  <a:pt x="0" y="61"/>
                  <a:pt x="1" y="63"/>
                  <a:pt x="2" y="63"/>
                </a:cubicBezTo>
                <a:cubicBezTo>
                  <a:pt x="9" y="68"/>
                  <a:pt x="9" y="68"/>
                  <a:pt x="9" y="68"/>
                </a:cubicBezTo>
                <a:cubicBezTo>
                  <a:pt x="10" y="68"/>
                  <a:pt x="12" y="68"/>
                  <a:pt x="13" y="67"/>
                </a:cubicBezTo>
                <a:cubicBezTo>
                  <a:pt x="27" y="42"/>
                  <a:pt x="27" y="42"/>
                  <a:pt x="27" y="42"/>
                </a:cubicBezTo>
                <a:cubicBezTo>
                  <a:pt x="36" y="26"/>
                  <a:pt x="36" y="26"/>
                  <a:pt x="36" y="26"/>
                </a:cubicBezTo>
                <a:cubicBezTo>
                  <a:pt x="46" y="8"/>
                  <a:pt x="46" y="8"/>
                  <a:pt x="46" y="8"/>
                </a:cubicBezTo>
                <a:cubicBezTo>
                  <a:pt x="47" y="7"/>
                  <a:pt x="47" y="5"/>
                  <a:pt x="45" y="4"/>
                </a:cubicBezTo>
                <a:cubicBezTo>
                  <a:pt x="38" y="0"/>
                  <a:pt x="38" y="0"/>
                  <a:pt x="38" y="0"/>
                </a:cubicBezTo>
                <a:cubicBezTo>
                  <a:pt x="37" y="0"/>
                  <a:pt x="35" y="0"/>
                  <a:pt x="34" y="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4" name="Freeform 273"/>
          <p:cNvSpPr>
            <a:spLocks/>
          </p:cNvSpPr>
          <p:nvPr/>
        </p:nvSpPr>
        <p:spPr bwMode="auto">
          <a:xfrm>
            <a:off x="2156358" y="3481666"/>
            <a:ext cx="54514" cy="38331"/>
          </a:xfrm>
          <a:custGeom>
            <a:avLst/>
            <a:gdLst>
              <a:gd name="T0" fmla="*/ 24 w 27"/>
              <a:gd name="T1" fmla="*/ 0 h 19"/>
              <a:gd name="T2" fmla="*/ 0 w 27"/>
              <a:gd name="T3" fmla="*/ 0 h 19"/>
              <a:gd name="T4" fmla="*/ 11 w 27"/>
              <a:gd name="T5" fmla="*/ 19 h 19"/>
              <a:gd name="T6" fmla="*/ 24 w 27"/>
              <a:gd name="T7" fmla="*/ 19 h 19"/>
              <a:gd name="T8" fmla="*/ 27 w 27"/>
              <a:gd name="T9" fmla="*/ 15 h 19"/>
              <a:gd name="T10" fmla="*/ 27 w 27"/>
              <a:gd name="T11" fmla="*/ 2 h 19"/>
              <a:gd name="T12" fmla="*/ 24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4" y="0"/>
                </a:moveTo>
                <a:cubicBezTo>
                  <a:pt x="0" y="0"/>
                  <a:pt x="0" y="0"/>
                  <a:pt x="0" y="0"/>
                </a:cubicBezTo>
                <a:cubicBezTo>
                  <a:pt x="3" y="5"/>
                  <a:pt x="11" y="18"/>
                  <a:pt x="11" y="19"/>
                </a:cubicBezTo>
                <a:cubicBezTo>
                  <a:pt x="24" y="19"/>
                  <a:pt x="24" y="19"/>
                  <a:pt x="24" y="19"/>
                </a:cubicBezTo>
                <a:cubicBezTo>
                  <a:pt x="26" y="19"/>
                  <a:pt x="27" y="16"/>
                  <a:pt x="27" y="15"/>
                </a:cubicBezTo>
                <a:cubicBezTo>
                  <a:pt x="27" y="2"/>
                  <a:pt x="27" y="2"/>
                  <a:pt x="27" y="2"/>
                </a:cubicBezTo>
                <a:cubicBezTo>
                  <a:pt x="27" y="1"/>
                  <a:pt x="26" y="0"/>
                  <a:pt x="2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5" name="Freeform 274"/>
          <p:cNvSpPr>
            <a:spLocks/>
          </p:cNvSpPr>
          <p:nvPr/>
        </p:nvSpPr>
        <p:spPr bwMode="auto">
          <a:xfrm>
            <a:off x="2061809" y="3481666"/>
            <a:ext cx="66440" cy="38331"/>
          </a:xfrm>
          <a:custGeom>
            <a:avLst/>
            <a:gdLst>
              <a:gd name="T0" fmla="*/ 12 w 33"/>
              <a:gd name="T1" fmla="*/ 0 h 19"/>
              <a:gd name="T2" fmla="*/ 0 w 33"/>
              <a:gd name="T3" fmla="*/ 19 h 19"/>
              <a:gd name="T4" fmla="*/ 33 w 33"/>
              <a:gd name="T5" fmla="*/ 19 h 19"/>
              <a:gd name="T6" fmla="*/ 23 w 33"/>
              <a:gd name="T7" fmla="*/ 0 h 19"/>
              <a:gd name="T8" fmla="*/ 12 w 33"/>
              <a:gd name="T9" fmla="*/ 0 h 19"/>
            </a:gdLst>
            <a:ahLst/>
            <a:cxnLst>
              <a:cxn ang="0">
                <a:pos x="T0" y="T1"/>
              </a:cxn>
              <a:cxn ang="0">
                <a:pos x="T2" y="T3"/>
              </a:cxn>
              <a:cxn ang="0">
                <a:pos x="T4" y="T5"/>
              </a:cxn>
              <a:cxn ang="0">
                <a:pos x="T6" y="T7"/>
              </a:cxn>
              <a:cxn ang="0">
                <a:pos x="T8" y="T9"/>
              </a:cxn>
            </a:cxnLst>
            <a:rect l="0" t="0" r="r" b="b"/>
            <a:pathLst>
              <a:path w="33" h="19">
                <a:moveTo>
                  <a:pt x="12" y="0"/>
                </a:moveTo>
                <a:cubicBezTo>
                  <a:pt x="0" y="19"/>
                  <a:pt x="0" y="19"/>
                  <a:pt x="0" y="19"/>
                </a:cubicBezTo>
                <a:cubicBezTo>
                  <a:pt x="33" y="19"/>
                  <a:pt x="33" y="19"/>
                  <a:pt x="33" y="19"/>
                </a:cubicBezTo>
                <a:cubicBezTo>
                  <a:pt x="31" y="14"/>
                  <a:pt x="27" y="9"/>
                  <a:pt x="23" y="0"/>
                </a:cubicBezTo>
                <a:lnTo>
                  <a:pt x="12"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6" name="Freeform 275"/>
          <p:cNvSpPr>
            <a:spLocks/>
          </p:cNvSpPr>
          <p:nvPr/>
        </p:nvSpPr>
        <p:spPr bwMode="auto">
          <a:xfrm>
            <a:off x="1968965" y="3481666"/>
            <a:ext cx="60477" cy="38331"/>
          </a:xfrm>
          <a:custGeom>
            <a:avLst/>
            <a:gdLst>
              <a:gd name="T0" fmla="*/ 2 w 30"/>
              <a:gd name="T1" fmla="*/ 19 h 19"/>
              <a:gd name="T2" fmla="*/ 18 w 30"/>
              <a:gd name="T3" fmla="*/ 19 h 19"/>
              <a:gd name="T4" fmla="*/ 30 w 30"/>
              <a:gd name="T5" fmla="*/ 0 h 19"/>
              <a:gd name="T6" fmla="*/ 2 w 30"/>
              <a:gd name="T7" fmla="*/ 0 h 19"/>
              <a:gd name="T8" fmla="*/ 0 w 30"/>
              <a:gd name="T9" fmla="*/ 2 h 19"/>
              <a:gd name="T10" fmla="*/ 0 w 30"/>
              <a:gd name="T11" fmla="*/ 15 h 19"/>
              <a:gd name="T12" fmla="*/ 2 w 30"/>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30" h="19">
                <a:moveTo>
                  <a:pt x="2" y="19"/>
                </a:moveTo>
                <a:cubicBezTo>
                  <a:pt x="18" y="19"/>
                  <a:pt x="18" y="19"/>
                  <a:pt x="18" y="19"/>
                </a:cubicBezTo>
                <a:cubicBezTo>
                  <a:pt x="30" y="0"/>
                  <a:pt x="30" y="0"/>
                  <a:pt x="30" y="0"/>
                </a:cubicBezTo>
                <a:cubicBezTo>
                  <a:pt x="2" y="0"/>
                  <a:pt x="2" y="0"/>
                  <a:pt x="2" y="0"/>
                </a:cubicBezTo>
                <a:cubicBezTo>
                  <a:pt x="1" y="0"/>
                  <a:pt x="0" y="1"/>
                  <a:pt x="0" y="2"/>
                </a:cubicBezTo>
                <a:cubicBezTo>
                  <a:pt x="0" y="15"/>
                  <a:pt x="0" y="15"/>
                  <a:pt x="0" y="15"/>
                </a:cubicBezTo>
                <a:cubicBezTo>
                  <a:pt x="0" y="16"/>
                  <a:pt x="1" y="19"/>
                  <a:pt x="2" y="1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7" name="Freeform 276"/>
          <p:cNvSpPr>
            <a:spLocks/>
          </p:cNvSpPr>
          <p:nvPr/>
        </p:nvSpPr>
        <p:spPr bwMode="auto">
          <a:xfrm>
            <a:off x="1985148" y="3571954"/>
            <a:ext cx="26406" cy="30664"/>
          </a:xfrm>
          <a:custGeom>
            <a:avLst/>
            <a:gdLst>
              <a:gd name="T0" fmla="*/ 2 w 13"/>
              <a:gd name="T1" fmla="*/ 14 h 15"/>
              <a:gd name="T2" fmla="*/ 12 w 13"/>
              <a:gd name="T3" fmla="*/ 8 h 15"/>
              <a:gd name="T4" fmla="*/ 12 w 13"/>
              <a:gd name="T5" fmla="*/ 5 h 15"/>
              <a:gd name="T6" fmla="*/ 4 w 13"/>
              <a:gd name="T7" fmla="*/ 1 h 15"/>
              <a:gd name="T8" fmla="*/ 2 w 13"/>
              <a:gd name="T9" fmla="*/ 2 h 15"/>
              <a:gd name="T10" fmla="*/ 1 w 13"/>
              <a:gd name="T11" fmla="*/ 13 h 15"/>
              <a:gd name="T12" fmla="*/ 2 w 13"/>
              <a:gd name="T13" fmla="*/ 14 h 15"/>
            </a:gdLst>
            <a:ahLst/>
            <a:cxnLst>
              <a:cxn ang="0">
                <a:pos x="T0" y="T1"/>
              </a:cxn>
              <a:cxn ang="0">
                <a:pos x="T2" y="T3"/>
              </a:cxn>
              <a:cxn ang="0">
                <a:pos x="T4" y="T5"/>
              </a:cxn>
              <a:cxn ang="0">
                <a:pos x="T6" y="T7"/>
              </a:cxn>
              <a:cxn ang="0">
                <a:pos x="T8" y="T9"/>
              </a:cxn>
              <a:cxn ang="0">
                <a:pos x="T10" y="T11"/>
              </a:cxn>
              <a:cxn ang="0">
                <a:pos x="T12" y="T13"/>
              </a:cxn>
            </a:cxnLst>
            <a:rect l="0" t="0" r="r" b="b"/>
            <a:pathLst>
              <a:path w="13" h="15">
                <a:moveTo>
                  <a:pt x="2" y="14"/>
                </a:moveTo>
                <a:cubicBezTo>
                  <a:pt x="12" y="8"/>
                  <a:pt x="12" y="8"/>
                  <a:pt x="12" y="8"/>
                </a:cubicBezTo>
                <a:cubicBezTo>
                  <a:pt x="13" y="7"/>
                  <a:pt x="13" y="6"/>
                  <a:pt x="12" y="5"/>
                </a:cubicBezTo>
                <a:cubicBezTo>
                  <a:pt x="4" y="1"/>
                  <a:pt x="4" y="1"/>
                  <a:pt x="4" y="1"/>
                </a:cubicBezTo>
                <a:cubicBezTo>
                  <a:pt x="3" y="0"/>
                  <a:pt x="2" y="0"/>
                  <a:pt x="2" y="2"/>
                </a:cubicBezTo>
                <a:cubicBezTo>
                  <a:pt x="1" y="13"/>
                  <a:pt x="1" y="13"/>
                  <a:pt x="1" y="13"/>
                </a:cubicBezTo>
                <a:cubicBezTo>
                  <a:pt x="0" y="14"/>
                  <a:pt x="1" y="15"/>
                  <a:pt x="2" y="1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8" name="Freeform 277"/>
          <p:cNvSpPr>
            <a:spLocks/>
          </p:cNvSpPr>
          <p:nvPr/>
        </p:nvSpPr>
        <p:spPr bwMode="auto">
          <a:xfrm>
            <a:off x="2076291" y="3381155"/>
            <a:ext cx="94549" cy="158433"/>
          </a:xfrm>
          <a:custGeom>
            <a:avLst/>
            <a:gdLst>
              <a:gd name="T0" fmla="*/ 45 w 47"/>
              <a:gd name="T1" fmla="*/ 71 h 79"/>
              <a:gd name="T2" fmla="*/ 41 w 47"/>
              <a:gd name="T3" fmla="*/ 62 h 79"/>
              <a:gd name="T4" fmla="*/ 41 w 47"/>
              <a:gd name="T5" fmla="*/ 62 h 79"/>
              <a:gd name="T6" fmla="*/ 40 w 47"/>
              <a:gd name="T7" fmla="*/ 61 h 79"/>
              <a:gd name="T8" fmla="*/ 40 w 47"/>
              <a:gd name="T9" fmla="*/ 60 h 79"/>
              <a:gd name="T10" fmla="*/ 40 w 47"/>
              <a:gd name="T11" fmla="*/ 60 h 79"/>
              <a:gd name="T12" fmla="*/ 39 w 47"/>
              <a:gd name="T13" fmla="*/ 59 h 79"/>
              <a:gd name="T14" fmla="*/ 39 w 47"/>
              <a:gd name="T15" fmla="*/ 58 h 79"/>
              <a:gd name="T16" fmla="*/ 38 w 47"/>
              <a:gd name="T17" fmla="*/ 57 h 79"/>
              <a:gd name="T18" fmla="*/ 38 w 47"/>
              <a:gd name="T19" fmla="*/ 57 h 79"/>
              <a:gd name="T20" fmla="*/ 23 w 47"/>
              <a:gd name="T21" fmla="*/ 29 h 79"/>
              <a:gd name="T22" fmla="*/ 4 w 47"/>
              <a:gd name="T23" fmla="*/ 1 h 79"/>
              <a:gd name="T24" fmla="*/ 15 w 47"/>
              <a:gd name="T25" fmla="*/ 35 h 79"/>
              <a:gd name="T26" fmla="*/ 36 w 47"/>
              <a:gd name="T27" fmla="*/ 78 h 79"/>
              <a:gd name="T28" fmla="*/ 42 w 47"/>
              <a:gd name="T29" fmla="*/ 78 h 79"/>
              <a:gd name="T30" fmla="*/ 46 w 47"/>
              <a:gd name="T31" fmla="*/ 71 h 79"/>
              <a:gd name="T32" fmla="*/ 45 w 47"/>
              <a:gd name="T33" fmla="*/ 7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79">
                <a:moveTo>
                  <a:pt x="45" y="71"/>
                </a:moveTo>
                <a:cubicBezTo>
                  <a:pt x="45" y="70"/>
                  <a:pt x="43" y="66"/>
                  <a:pt x="41" y="62"/>
                </a:cubicBezTo>
                <a:cubicBezTo>
                  <a:pt x="41" y="62"/>
                  <a:pt x="41" y="62"/>
                  <a:pt x="41" y="62"/>
                </a:cubicBezTo>
                <a:cubicBezTo>
                  <a:pt x="41" y="62"/>
                  <a:pt x="40" y="61"/>
                  <a:pt x="40" y="61"/>
                </a:cubicBezTo>
                <a:cubicBezTo>
                  <a:pt x="40" y="61"/>
                  <a:pt x="40" y="61"/>
                  <a:pt x="40" y="60"/>
                </a:cubicBezTo>
                <a:cubicBezTo>
                  <a:pt x="40" y="60"/>
                  <a:pt x="40" y="60"/>
                  <a:pt x="40" y="60"/>
                </a:cubicBezTo>
                <a:cubicBezTo>
                  <a:pt x="39" y="59"/>
                  <a:pt x="39" y="59"/>
                  <a:pt x="39" y="59"/>
                </a:cubicBezTo>
                <a:cubicBezTo>
                  <a:pt x="39" y="59"/>
                  <a:pt x="39" y="58"/>
                  <a:pt x="39" y="58"/>
                </a:cubicBezTo>
                <a:cubicBezTo>
                  <a:pt x="39" y="58"/>
                  <a:pt x="38" y="57"/>
                  <a:pt x="38" y="57"/>
                </a:cubicBezTo>
                <a:cubicBezTo>
                  <a:pt x="38" y="57"/>
                  <a:pt x="38" y="57"/>
                  <a:pt x="38" y="57"/>
                </a:cubicBezTo>
                <a:cubicBezTo>
                  <a:pt x="33" y="47"/>
                  <a:pt x="26" y="35"/>
                  <a:pt x="23" y="29"/>
                </a:cubicBezTo>
                <a:cubicBezTo>
                  <a:pt x="16" y="18"/>
                  <a:pt x="6" y="0"/>
                  <a:pt x="4" y="1"/>
                </a:cubicBezTo>
                <a:cubicBezTo>
                  <a:pt x="0" y="3"/>
                  <a:pt x="11" y="26"/>
                  <a:pt x="15" y="35"/>
                </a:cubicBezTo>
                <a:cubicBezTo>
                  <a:pt x="19" y="43"/>
                  <a:pt x="33" y="77"/>
                  <a:pt x="36" y="78"/>
                </a:cubicBezTo>
                <a:cubicBezTo>
                  <a:pt x="39" y="79"/>
                  <a:pt x="40" y="79"/>
                  <a:pt x="42" y="78"/>
                </a:cubicBezTo>
                <a:cubicBezTo>
                  <a:pt x="44" y="77"/>
                  <a:pt x="47" y="74"/>
                  <a:pt x="46" y="71"/>
                </a:cubicBezTo>
                <a:cubicBezTo>
                  <a:pt x="46" y="71"/>
                  <a:pt x="46" y="71"/>
                  <a:pt x="45" y="7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29" name="Freeform 278"/>
          <p:cNvSpPr>
            <a:spLocks/>
          </p:cNvSpPr>
          <p:nvPr/>
        </p:nvSpPr>
        <p:spPr bwMode="auto">
          <a:xfrm>
            <a:off x="2156358" y="3542143"/>
            <a:ext cx="30664" cy="29813"/>
          </a:xfrm>
          <a:custGeom>
            <a:avLst/>
            <a:gdLst>
              <a:gd name="T0" fmla="*/ 14 w 15"/>
              <a:gd name="T1" fmla="*/ 8 h 15"/>
              <a:gd name="T2" fmla="*/ 10 w 15"/>
              <a:gd name="T3" fmla="*/ 2 h 15"/>
              <a:gd name="T4" fmla="*/ 6 w 15"/>
              <a:gd name="T5" fmla="*/ 0 h 15"/>
              <a:gd name="T6" fmla="*/ 2 w 15"/>
              <a:gd name="T7" fmla="*/ 2 h 15"/>
              <a:gd name="T8" fmla="*/ 1 w 15"/>
              <a:gd name="T9" fmla="*/ 6 h 15"/>
              <a:gd name="T10" fmla="*/ 6 w 15"/>
              <a:gd name="T11" fmla="*/ 13 h 15"/>
              <a:gd name="T12" fmla="*/ 10 w 15"/>
              <a:gd name="T13" fmla="*/ 14 h 15"/>
              <a:gd name="T14" fmla="*/ 13 w 15"/>
              <a:gd name="T15" fmla="*/ 13 h 15"/>
              <a:gd name="T16" fmla="*/ 14 w 15"/>
              <a:gd name="T17"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5">
                <a:moveTo>
                  <a:pt x="14" y="8"/>
                </a:moveTo>
                <a:cubicBezTo>
                  <a:pt x="10" y="2"/>
                  <a:pt x="10" y="2"/>
                  <a:pt x="10" y="2"/>
                </a:cubicBezTo>
                <a:cubicBezTo>
                  <a:pt x="10" y="0"/>
                  <a:pt x="8" y="0"/>
                  <a:pt x="6" y="0"/>
                </a:cubicBezTo>
                <a:cubicBezTo>
                  <a:pt x="2" y="2"/>
                  <a:pt x="2" y="2"/>
                  <a:pt x="2" y="2"/>
                </a:cubicBezTo>
                <a:cubicBezTo>
                  <a:pt x="1" y="3"/>
                  <a:pt x="0" y="5"/>
                  <a:pt x="1" y="6"/>
                </a:cubicBezTo>
                <a:cubicBezTo>
                  <a:pt x="6" y="13"/>
                  <a:pt x="6" y="13"/>
                  <a:pt x="6" y="13"/>
                </a:cubicBezTo>
                <a:cubicBezTo>
                  <a:pt x="6" y="15"/>
                  <a:pt x="8" y="15"/>
                  <a:pt x="10" y="14"/>
                </a:cubicBezTo>
                <a:cubicBezTo>
                  <a:pt x="13" y="13"/>
                  <a:pt x="13" y="13"/>
                  <a:pt x="13" y="13"/>
                </a:cubicBezTo>
                <a:cubicBezTo>
                  <a:pt x="14" y="12"/>
                  <a:pt x="15" y="10"/>
                  <a:pt x="14" y="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0" name="Freeform 279"/>
          <p:cNvSpPr>
            <a:spLocks/>
          </p:cNvSpPr>
          <p:nvPr/>
        </p:nvSpPr>
        <p:spPr bwMode="auto">
          <a:xfrm>
            <a:off x="2175097" y="3564289"/>
            <a:ext cx="31516" cy="44293"/>
          </a:xfrm>
          <a:custGeom>
            <a:avLst/>
            <a:gdLst>
              <a:gd name="T0" fmla="*/ 4 w 16"/>
              <a:gd name="T1" fmla="*/ 7 h 22"/>
              <a:gd name="T2" fmla="*/ 3 w 16"/>
              <a:gd name="T3" fmla="*/ 15 h 22"/>
              <a:gd name="T4" fmla="*/ 14 w 16"/>
              <a:gd name="T5" fmla="*/ 22 h 22"/>
              <a:gd name="T6" fmla="*/ 4 w 16"/>
              <a:gd name="T7" fmla="*/ 7 h 22"/>
            </a:gdLst>
            <a:ahLst/>
            <a:cxnLst>
              <a:cxn ang="0">
                <a:pos x="T0" y="T1"/>
              </a:cxn>
              <a:cxn ang="0">
                <a:pos x="T2" y="T3"/>
              </a:cxn>
              <a:cxn ang="0">
                <a:pos x="T4" y="T5"/>
              </a:cxn>
              <a:cxn ang="0">
                <a:pos x="T6" y="T7"/>
              </a:cxn>
            </a:cxnLst>
            <a:rect l="0" t="0" r="r" b="b"/>
            <a:pathLst>
              <a:path w="16" h="22">
                <a:moveTo>
                  <a:pt x="4" y="7"/>
                </a:moveTo>
                <a:cubicBezTo>
                  <a:pt x="3" y="8"/>
                  <a:pt x="0" y="10"/>
                  <a:pt x="3" y="15"/>
                </a:cubicBezTo>
                <a:cubicBezTo>
                  <a:pt x="6" y="19"/>
                  <a:pt x="13" y="19"/>
                  <a:pt x="14" y="22"/>
                </a:cubicBezTo>
                <a:cubicBezTo>
                  <a:pt x="14" y="22"/>
                  <a:pt x="16" y="0"/>
                  <a:pt x="4"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1" name="Freeform 280"/>
          <p:cNvSpPr>
            <a:spLocks/>
          </p:cNvSpPr>
          <p:nvPr/>
        </p:nvSpPr>
        <p:spPr bwMode="auto">
          <a:xfrm>
            <a:off x="4392305" y="2915225"/>
            <a:ext cx="172913" cy="177172"/>
          </a:xfrm>
          <a:custGeom>
            <a:avLst/>
            <a:gdLst>
              <a:gd name="T0" fmla="*/ 53 w 86"/>
              <a:gd name="T1" fmla="*/ 62 h 88"/>
              <a:gd name="T2" fmla="*/ 53 w 86"/>
              <a:gd name="T3" fmla="*/ 26 h 88"/>
              <a:gd name="T4" fmla="*/ 60 w 86"/>
              <a:gd name="T5" fmla="*/ 19 h 88"/>
              <a:gd name="T6" fmla="*/ 68 w 86"/>
              <a:gd name="T7" fmla="*/ 26 h 88"/>
              <a:gd name="T8" fmla="*/ 68 w 86"/>
              <a:gd name="T9" fmla="*/ 33 h 88"/>
              <a:gd name="T10" fmla="*/ 75 w 86"/>
              <a:gd name="T11" fmla="*/ 37 h 88"/>
              <a:gd name="T12" fmla="*/ 86 w 86"/>
              <a:gd name="T13" fmla="*/ 33 h 88"/>
              <a:gd name="T14" fmla="*/ 86 w 86"/>
              <a:gd name="T15" fmla="*/ 26 h 88"/>
              <a:gd name="T16" fmla="*/ 60 w 86"/>
              <a:gd name="T17" fmla="*/ 0 h 88"/>
              <a:gd name="T18" fmla="*/ 34 w 86"/>
              <a:gd name="T19" fmla="*/ 26 h 88"/>
              <a:gd name="T20" fmla="*/ 34 w 86"/>
              <a:gd name="T21" fmla="*/ 62 h 88"/>
              <a:gd name="T22" fmla="*/ 26 w 86"/>
              <a:gd name="T23" fmla="*/ 70 h 88"/>
              <a:gd name="T24" fmla="*/ 19 w 86"/>
              <a:gd name="T25" fmla="*/ 62 h 88"/>
              <a:gd name="T26" fmla="*/ 19 w 86"/>
              <a:gd name="T27" fmla="*/ 48 h 88"/>
              <a:gd name="T28" fmla="*/ 0 w 86"/>
              <a:gd name="T29" fmla="*/ 48 h 88"/>
              <a:gd name="T30" fmla="*/ 0 w 86"/>
              <a:gd name="T31" fmla="*/ 62 h 88"/>
              <a:gd name="T32" fmla="*/ 27 w 86"/>
              <a:gd name="T33" fmla="*/ 88 h 88"/>
              <a:gd name="T34" fmla="*/ 53 w 86"/>
              <a:gd name="T35"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6" h="88">
                <a:moveTo>
                  <a:pt x="53" y="62"/>
                </a:moveTo>
                <a:cubicBezTo>
                  <a:pt x="53" y="26"/>
                  <a:pt x="53" y="26"/>
                  <a:pt x="53" y="26"/>
                </a:cubicBezTo>
                <a:cubicBezTo>
                  <a:pt x="53" y="23"/>
                  <a:pt x="54" y="19"/>
                  <a:pt x="60" y="19"/>
                </a:cubicBezTo>
                <a:cubicBezTo>
                  <a:pt x="66" y="19"/>
                  <a:pt x="68" y="23"/>
                  <a:pt x="68" y="26"/>
                </a:cubicBezTo>
                <a:cubicBezTo>
                  <a:pt x="68" y="33"/>
                  <a:pt x="68" y="33"/>
                  <a:pt x="68" y="33"/>
                </a:cubicBezTo>
                <a:cubicBezTo>
                  <a:pt x="75" y="37"/>
                  <a:pt x="75" y="37"/>
                  <a:pt x="75" y="37"/>
                </a:cubicBezTo>
                <a:cubicBezTo>
                  <a:pt x="86" y="33"/>
                  <a:pt x="86" y="33"/>
                  <a:pt x="86" y="33"/>
                </a:cubicBezTo>
                <a:cubicBezTo>
                  <a:pt x="86" y="26"/>
                  <a:pt x="86" y="26"/>
                  <a:pt x="86" y="26"/>
                </a:cubicBezTo>
                <a:cubicBezTo>
                  <a:pt x="86" y="12"/>
                  <a:pt x="75" y="0"/>
                  <a:pt x="60" y="0"/>
                </a:cubicBezTo>
                <a:cubicBezTo>
                  <a:pt x="45" y="0"/>
                  <a:pt x="34" y="12"/>
                  <a:pt x="34" y="26"/>
                </a:cubicBezTo>
                <a:cubicBezTo>
                  <a:pt x="34" y="62"/>
                  <a:pt x="34" y="62"/>
                  <a:pt x="34" y="62"/>
                </a:cubicBezTo>
                <a:cubicBezTo>
                  <a:pt x="34" y="66"/>
                  <a:pt x="32" y="70"/>
                  <a:pt x="26" y="70"/>
                </a:cubicBezTo>
                <a:cubicBezTo>
                  <a:pt x="21" y="70"/>
                  <a:pt x="19" y="66"/>
                  <a:pt x="19" y="62"/>
                </a:cubicBezTo>
                <a:cubicBezTo>
                  <a:pt x="19" y="48"/>
                  <a:pt x="19" y="48"/>
                  <a:pt x="19" y="48"/>
                </a:cubicBezTo>
                <a:cubicBezTo>
                  <a:pt x="0" y="48"/>
                  <a:pt x="0" y="48"/>
                  <a:pt x="0" y="48"/>
                </a:cubicBezTo>
                <a:cubicBezTo>
                  <a:pt x="0" y="62"/>
                  <a:pt x="0" y="62"/>
                  <a:pt x="0" y="62"/>
                </a:cubicBezTo>
                <a:cubicBezTo>
                  <a:pt x="0" y="77"/>
                  <a:pt x="12" y="88"/>
                  <a:pt x="27" y="88"/>
                </a:cubicBezTo>
                <a:cubicBezTo>
                  <a:pt x="42" y="88"/>
                  <a:pt x="53" y="77"/>
                  <a:pt x="53" y="6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2" name="Freeform 281"/>
          <p:cNvSpPr>
            <a:spLocks/>
          </p:cNvSpPr>
          <p:nvPr/>
        </p:nvSpPr>
        <p:spPr bwMode="auto">
          <a:xfrm>
            <a:off x="4528590" y="3012329"/>
            <a:ext cx="104770" cy="80068"/>
          </a:xfrm>
          <a:custGeom>
            <a:avLst/>
            <a:gdLst>
              <a:gd name="T0" fmla="*/ 34 w 52"/>
              <a:gd name="T1" fmla="*/ 14 h 40"/>
              <a:gd name="T2" fmla="*/ 26 w 52"/>
              <a:gd name="T3" fmla="*/ 22 h 40"/>
              <a:gd name="T4" fmla="*/ 18 w 52"/>
              <a:gd name="T5" fmla="*/ 14 h 40"/>
              <a:gd name="T6" fmla="*/ 18 w 52"/>
              <a:gd name="T7" fmla="*/ 0 h 40"/>
              <a:gd name="T8" fmla="*/ 7 w 52"/>
              <a:gd name="T9" fmla="*/ 4 h 40"/>
              <a:gd name="T10" fmla="*/ 0 w 52"/>
              <a:gd name="T11" fmla="*/ 0 h 40"/>
              <a:gd name="T12" fmla="*/ 0 w 52"/>
              <a:gd name="T13" fmla="*/ 15 h 40"/>
              <a:gd name="T14" fmla="*/ 25 w 52"/>
              <a:gd name="T15" fmla="*/ 40 h 40"/>
              <a:gd name="T16" fmla="*/ 52 w 52"/>
              <a:gd name="T17" fmla="*/ 14 h 40"/>
              <a:gd name="T18" fmla="*/ 52 w 52"/>
              <a:gd name="T19" fmla="*/ 0 h 40"/>
              <a:gd name="T20" fmla="*/ 34 w 52"/>
              <a:gd name="T21" fmla="*/ 0 h 40"/>
              <a:gd name="T22" fmla="*/ 34 w 52"/>
              <a:gd name="T23" fmla="*/ 1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40">
                <a:moveTo>
                  <a:pt x="34" y="14"/>
                </a:moveTo>
                <a:cubicBezTo>
                  <a:pt x="34" y="18"/>
                  <a:pt x="31" y="22"/>
                  <a:pt x="26" y="22"/>
                </a:cubicBezTo>
                <a:cubicBezTo>
                  <a:pt x="20" y="22"/>
                  <a:pt x="18" y="18"/>
                  <a:pt x="18" y="14"/>
                </a:cubicBezTo>
                <a:cubicBezTo>
                  <a:pt x="18" y="0"/>
                  <a:pt x="18" y="0"/>
                  <a:pt x="18" y="0"/>
                </a:cubicBezTo>
                <a:cubicBezTo>
                  <a:pt x="7" y="4"/>
                  <a:pt x="7" y="4"/>
                  <a:pt x="7" y="4"/>
                </a:cubicBezTo>
                <a:cubicBezTo>
                  <a:pt x="0" y="0"/>
                  <a:pt x="0" y="0"/>
                  <a:pt x="0" y="0"/>
                </a:cubicBezTo>
                <a:cubicBezTo>
                  <a:pt x="0" y="15"/>
                  <a:pt x="0" y="15"/>
                  <a:pt x="0" y="15"/>
                </a:cubicBezTo>
                <a:cubicBezTo>
                  <a:pt x="0" y="29"/>
                  <a:pt x="10" y="40"/>
                  <a:pt x="25" y="40"/>
                </a:cubicBezTo>
                <a:cubicBezTo>
                  <a:pt x="40" y="40"/>
                  <a:pt x="52" y="29"/>
                  <a:pt x="52" y="14"/>
                </a:cubicBezTo>
                <a:cubicBezTo>
                  <a:pt x="52" y="0"/>
                  <a:pt x="52" y="0"/>
                  <a:pt x="52" y="0"/>
                </a:cubicBezTo>
                <a:cubicBezTo>
                  <a:pt x="34" y="0"/>
                  <a:pt x="34" y="0"/>
                  <a:pt x="34" y="0"/>
                </a:cubicBezTo>
                <a:lnTo>
                  <a:pt x="34" y="1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3" name="Freeform 282"/>
          <p:cNvSpPr>
            <a:spLocks/>
          </p:cNvSpPr>
          <p:nvPr/>
        </p:nvSpPr>
        <p:spPr bwMode="auto">
          <a:xfrm>
            <a:off x="2928079" y="3427150"/>
            <a:ext cx="227428" cy="144804"/>
          </a:xfrm>
          <a:custGeom>
            <a:avLst/>
            <a:gdLst>
              <a:gd name="T0" fmla="*/ 46 w 113"/>
              <a:gd name="T1" fmla="*/ 45 h 72"/>
              <a:gd name="T2" fmla="*/ 46 w 113"/>
              <a:gd name="T3" fmla="*/ 65 h 72"/>
              <a:gd name="T4" fmla="*/ 30 w 113"/>
              <a:gd name="T5" fmla="*/ 67 h 72"/>
              <a:gd name="T6" fmla="*/ 30 w 113"/>
              <a:gd name="T7" fmla="*/ 72 h 72"/>
              <a:gd name="T8" fmla="*/ 54 w 113"/>
              <a:gd name="T9" fmla="*/ 72 h 72"/>
              <a:gd name="T10" fmla="*/ 82 w 113"/>
              <a:gd name="T11" fmla="*/ 72 h 72"/>
              <a:gd name="T12" fmla="*/ 82 w 113"/>
              <a:gd name="T13" fmla="*/ 67 h 72"/>
              <a:gd name="T14" fmla="*/ 65 w 113"/>
              <a:gd name="T15" fmla="*/ 66 h 72"/>
              <a:gd name="T16" fmla="*/ 65 w 113"/>
              <a:gd name="T17" fmla="*/ 45 h 72"/>
              <a:gd name="T18" fmla="*/ 96 w 113"/>
              <a:gd name="T19" fmla="*/ 18 h 72"/>
              <a:gd name="T20" fmla="*/ 99 w 113"/>
              <a:gd name="T21" fmla="*/ 18 h 72"/>
              <a:gd name="T22" fmla="*/ 108 w 113"/>
              <a:gd name="T23" fmla="*/ 18 h 72"/>
              <a:gd name="T24" fmla="*/ 109 w 113"/>
              <a:gd name="T25" fmla="*/ 16 h 72"/>
              <a:gd name="T26" fmla="*/ 109 w 113"/>
              <a:gd name="T27" fmla="*/ 16 h 72"/>
              <a:gd name="T28" fmla="*/ 113 w 113"/>
              <a:gd name="T29" fmla="*/ 11 h 72"/>
              <a:gd name="T30" fmla="*/ 112 w 113"/>
              <a:gd name="T31" fmla="*/ 11 h 72"/>
              <a:gd name="T32" fmla="*/ 113 w 113"/>
              <a:gd name="T33" fmla="*/ 10 h 72"/>
              <a:gd name="T34" fmla="*/ 66 w 113"/>
              <a:gd name="T35" fmla="*/ 10 h 72"/>
              <a:gd name="T36" fmla="*/ 68 w 113"/>
              <a:gd name="T37" fmla="*/ 18 h 72"/>
              <a:gd name="T38" fmla="*/ 81 w 113"/>
              <a:gd name="T39" fmla="*/ 18 h 72"/>
              <a:gd name="T40" fmla="*/ 59 w 113"/>
              <a:gd name="T41" fmla="*/ 37 h 72"/>
              <a:gd name="T42" fmla="*/ 37 w 113"/>
              <a:gd name="T43" fmla="*/ 8 h 72"/>
              <a:gd name="T44" fmla="*/ 53 w 113"/>
              <a:gd name="T45" fmla="*/ 8 h 72"/>
              <a:gd name="T46" fmla="*/ 53 w 113"/>
              <a:gd name="T47" fmla="*/ 2 h 72"/>
              <a:gd name="T48" fmla="*/ 53 w 113"/>
              <a:gd name="T49" fmla="*/ 1 h 72"/>
              <a:gd name="T50" fmla="*/ 53 w 113"/>
              <a:gd name="T51" fmla="*/ 1 h 72"/>
              <a:gd name="T52" fmla="*/ 53 w 113"/>
              <a:gd name="T53" fmla="*/ 0 h 72"/>
              <a:gd name="T54" fmla="*/ 0 w 113"/>
              <a:gd name="T55" fmla="*/ 0 h 72"/>
              <a:gd name="T56" fmla="*/ 0 w 113"/>
              <a:gd name="T57" fmla="*/ 8 h 72"/>
              <a:gd name="T58" fmla="*/ 16 w 113"/>
              <a:gd name="T59" fmla="*/ 8 h 72"/>
              <a:gd name="T60" fmla="*/ 46 w 113"/>
              <a:gd name="T61" fmla="*/ 4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72">
                <a:moveTo>
                  <a:pt x="46" y="45"/>
                </a:moveTo>
                <a:cubicBezTo>
                  <a:pt x="47" y="48"/>
                  <a:pt x="47" y="64"/>
                  <a:pt x="46" y="65"/>
                </a:cubicBezTo>
                <a:cubicBezTo>
                  <a:pt x="44" y="68"/>
                  <a:pt x="33" y="67"/>
                  <a:pt x="30" y="67"/>
                </a:cubicBezTo>
                <a:cubicBezTo>
                  <a:pt x="30" y="72"/>
                  <a:pt x="30" y="72"/>
                  <a:pt x="30" y="72"/>
                </a:cubicBezTo>
                <a:cubicBezTo>
                  <a:pt x="34" y="72"/>
                  <a:pt x="49" y="72"/>
                  <a:pt x="54" y="72"/>
                </a:cubicBezTo>
                <a:cubicBezTo>
                  <a:pt x="63" y="72"/>
                  <a:pt x="80" y="72"/>
                  <a:pt x="82" y="72"/>
                </a:cubicBezTo>
                <a:cubicBezTo>
                  <a:pt x="82" y="67"/>
                  <a:pt x="82" y="67"/>
                  <a:pt x="82" y="67"/>
                </a:cubicBezTo>
                <a:cubicBezTo>
                  <a:pt x="80" y="66"/>
                  <a:pt x="67" y="67"/>
                  <a:pt x="65" y="66"/>
                </a:cubicBezTo>
                <a:cubicBezTo>
                  <a:pt x="65" y="64"/>
                  <a:pt x="64" y="47"/>
                  <a:pt x="65" y="45"/>
                </a:cubicBezTo>
                <a:cubicBezTo>
                  <a:pt x="67" y="40"/>
                  <a:pt x="93" y="19"/>
                  <a:pt x="96" y="18"/>
                </a:cubicBezTo>
                <a:cubicBezTo>
                  <a:pt x="97" y="18"/>
                  <a:pt x="98" y="18"/>
                  <a:pt x="99" y="18"/>
                </a:cubicBezTo>
                <a:cubicBezTo>
                  <a:pt x="108" y="18"/>
                  <a:pt x="108" y="18"/>
                  <a:pt x="108" y="18"/>
                </a:cubicBezTo>
                <a:cubicBezTo>
                  <a:pt x="109" y="16"/>
                  <a:pt x="109" y="16"/>
                  <a:pt x="109" y="16"/>
                </a:cubicBezTo>
                <a:cubicBezTo>
                  <a:pt x="109" y="16"/>
                  <a:pt x="109" y="16"/>
                  <a:pt x="109" y="16"/>
                </a:cubicBezTo>
                <a:cubicBezTo>
                  <a:pt x="113" y="11"/>
                  <a:pt x="113" y="11"/>
                  <a:pt x="113" y="11"/>
                </a:cubicBezTo>
                <a:cubicBezTo>
                  <a:pt x="113" y="11"/>
                  <a:pt x="113" y="11"/>
                  <a:pt x="112" y="11"/>
                </a:cubicBezTo>
                <a:cubicBezTo>
                  <a:pt x="113" y="10"/>
                  <a:pt x="113" y="10"/>
                  <a:pt x="113" y="10"/>
                </a:cubicBezTo>
                <a:cubicBezTo>
                  <a:pt x="66" y="10"/>
                  <a:pt x="66" y="10"/>
                  <a:pt x="66" y="10"/>
                </a:cubicBezTo>
                <a:cubicBezTo>
                  <a:pt x="68" y="18"/>
                  <a:pt x="68" y="18"/>
                  <a:pt x="68" y="18"/>
                </a:cubicBezTo>
                <a:cubicBezTo>
                  <a:pt x="81" y="18"/>
                  <a:pt x="81" y="18"/>
                  <a:pt x="81" y="18"/>
                </a:cubicBezTo>
                <a:cubicBezTo>
                  <a:pt x="59" y="37"/>
                  <a:pt x="59" y="37"/>
                  <a:pt x="59" y="37"/>
                </a:cubicBezTo>
                <a:cubicBezTo>
                  <a:pt x="55" y="31"/>
                  <a:pt x="44" y="18"/>
                  <a:pt x="37" y="8"/>
                </a:cubicBezTo>
                <a:cubicBezTo>
                  <a:pt x="53" y="8"/>
                  <a:pt x="53" y="8"/>
                  <a:pt x="53" y="8"/>
                </a:cubicBezTo>
                <a:cubicBezTo>
                  <a:pt x="53" y="2"/>
                  <a:pt x="53" y="2"/>
                  <a:pt x="53" y="2"/>
                </a:cubicBezTo>
                <a:cubicBezTo>
                  <a:pt x="53" y="1"/>
                  <a:pt x="53" y="1"/>
                  <a:pt x="53" y="1"/>
                </a:cubicBezTo>
                <a:cubicBezTo>
                  <a:pt x="53" y="1"/>
                  <a:pt x="53" y="1"/>
                  <a:pt x="53" y="1"/>
                </a:cubicBezTo>
                <a:cubicBezTo>
                  <a:pt x="53" y="0"/>
                  <a:pt x="53" y="0"/>
                  <a:pt x="53" y="0"/>
                </a:cubicBezTo>
                <a:cubicBezTo>
                  <a:pt x="0" y="0"/>
                  <a:pt x="0" y="0"/>
                  <a:pt x="0" y="0"/>
                </a:cubicBezTo>
                <a:cubicBezTo>
                  <a:pt x="0" y="8"/>
                  <a:pt x="0" y="8"/>
                  <a:pt x="0" y="8"/>
                </a:cubicBezTo>
                <a:cubicBezTo>
                  <a:pt x="16" y="8"/>
                  <a:pt x="16" y="8"/>
                  <a:pt x="16" y="8"/>
                </a:cubicBezTo>
                <a:cubicBezTo>
                  <a:pt x="22" y="13"/>
                  <a:pt x="45" y="42"/>
                  <a:pt x="46" y="4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4" name="Freeform 283"/>
          <p:cNvSpPr>
            <a:spLocks/>
          </p:cNvSpPr>
          <p:nvPr/>
        </p:nvSpPr>
        <p:spPr bwMode="auto">
          <a:xfrm>
            <a:off x="3137619" y="3477407"/>
            <a:ext cx="31516" cy="68995"/>
          </a:xfrm>
          <a:custGeom>
            <a:avLst/>
            <a:gdLst>
              <a:gd name="T0" fmla="*/ 0 w 16"/>
              <a:gd name="T1" fmla="*/ 0 h 34"/>
              <a:gd name="T2" fmla="*/ 0 w 16"/>
              <a:gd name="T3" fmla="*/ 34 h 34"/>
              <a:gd name="T4" fmla="*/ 7 w 16"/>
              <a:gd name="T5" fmla="*/ 34 h 34"/>
              <a:gd name="T6" fmla="*/ 16 w 16"/>
              <a:gd name="T7" fmla="*/ 2 h 34"/>
              <a:gd name="T8" fmla="*/ 0 w 16"/>
              <a:gd name="T9" fmla="*/ 0 h 34"/>
            </a:gdLst>
            <a:ahLst/>
            <a:cxnLst>
              <a:cxn ang="0">
                <a:pos x="T0" y="T1"/>
              </a:cxn>
              <a:cxn ang="0">
                <a:pos x="T2" y="T3"/>
              </a:cxn>
              <a:cxn ang="0">
                <a:pos x="T4" y="T5"/>
              </a:cxn>
              <a:cxn ang="0">
                <a:pos x="T6" y="T7"/>
              </a:cxn>
              <a:cxn ang="0">
                <a:pos x="T8" y="T9"/>
              </a:cxn>
            </a:cxnLst>
            <a:rect l="0" t="0" r="r" b="b"/>
            <a:pathLst>
              <a:path w="16" h="34">
                <a:moveTo>
                  <a:pt x="0" y="0"/>
                </a:moveTo>
                <a:cubicBezTo>
                  <a:pt x="0" y="34"/>
                  <a:pt x="0" y="34"/>
                  <a:pt x="0" y="34"/>
                </a:cubicBezTo>
                <a:cubicBezTo>
                  <a:pt x="7" y="34"/>
                  <a:pt x="7" y="34"/>
                  <a:pt x="7" y="34"/>
                </a:cubicBezTo>
                <a:cubicBezTo>
                  <a:pt x="16" y="2"/>
                  <a:pt x="16" y="2"/>
                  <a:pt x="16" y="2"/>
                </a:cubicBezTo>
                <a:cubicBezTo>
                  <a:pt x="14" y="2"/>
                  <a:pt x="2" y="0"/>
                  <a:pt x="0"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5" name="Freeform 284"/>
          <p:cNvSpPr>
            <a:spLocks/>
          </p:cNvSpPr>
          <p:nvPr/>
        </p:nvSpPr>
        <p:spPr bwMode="auto">
          <a:xfrm>
            <a:off x="3135064" y="3555770"/>
            <a:ext cx="18739" cy="16184"/>
          </a:xfrm>
          <a:custGeom>
            <a:avLst/>
            <a:gdLst>
              <a:gd name="T0" fmla="*/ 19 w 22"/>
              <a:gd name="T1" fmla="*/ 19 h 19"/>
              <a:gd name="T2" fmla="*/ 22 w 22"/>
              <a:gd name="T3" fmla="*/ 3 h 19"/>
              <a:gd name="T4" fmla="*/ 12 w 22"/>
              <a:gd name="T5" fmla="*/ 0 h 19"/>
              <a:gd name="T6" fmla="*/ 0 w 22"/>
              <a:gd name="T7" fmla="*/ 0 h 19"/>
              <a:gd name="T8" fmla="*/ 0 w 22"/>
              <a:gd name="T9" fmla="*/ 19 h 19"/>
              <a:gd name="T10" fmla="*/ 10 w 22"/>
              <a:gd name="T11" fmla="*/ 19 h 19"/>
              <a:gd name="T12" fmla="*/ 19 w 22"/>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2" h="19">
                <a:moveTo>
                  <a:pt x="19" y="19"/>
                </a:moveTo>
                <a:lnTo>
                  <a:pt x="22" y="3"/>
                </a:lnTo>
                <a:lnTo>
                  <a:pt x="12" y="0"/>
                </a:lnTo>
                <a:lnTo>
                  <a:pt x="0" y="0"/>
                </a:lnTo>
                <a:lnTo>
                  <a:pt x="0" y="19"/>
                </a:lnTo>
                <a:lnTo>
                  <a:pt x="10" y="19"/>
                </a:lnTo>
                <a:lnTo>
                  <a:pt x="19" y="1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6" name="Freeform 285"/>
          <p:cNvSpPr>
            <a:spLocks/>
          </p:cNvSpPr>
          <p:nvPr/>
        </p:nvSpPr>
        <p:spPr bwMode="auto">
          <a:xfrm>
            <a:off x="2554996" y="3390524"/>
            <a:ext cx="18739" cy="36627"/>
          </a:xfrm>
          <a:custGeom>
            <a:avLst/>
            <a:gdLst>
              <a:gd name="T0" fmla="*/ 9 w 9"/>
              <a:gd name="T1" fmla="*/ 0 h 18"/>
              <a:gd name="T2" fmla="*/ 0 w 9"/>
              <a:gd name="T3" fmla="*/ 13 h 18"/>
              <a:gd name="T4" fmla="*/ 0 w 9"/>
              <a:gd name="T5" fmla="*/ 18 h 18"/>
              <a:gd name="T6" fmla="*/ 3 w 9"/>
              <a:gd name="T7" fmla="*/ 17 h 18"/>
              <a:gd name="T8" fmla="*/ 3 w 9"/>
              <a:gd name="T9" fmla="*/ 13 h 18"/>
              <a:gd name="T10" fmla="*/ 9 w 9"/>
              <a:gd name="T11" fmla="*/ 3 h 18"/>
              <a:gd name="T12" fmla="*/ 9 w 9"/>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 h="18">
                <a:moveTo>
                  <a:pt x="9" y="0"/>
                </a:moveTo>
                <a:cubicBezTo>
                  <a:pt x="4" y="2"/>
                  <a:pt x="0" y="3"/>
                  <a:pt x="0" y="13"/>
                </a:cubicBezTo>
                <a:cubicBezTo>
                  <a:pt x="0" y="18"/>
                  <a:pt x="0" y="18"/>
                  <a:pt x="0" y="18"/>
                </a:cubicBezTo>
                <a:cubicBezTo>
                  <a:pt x="3" y="17"/>
                  <a:pt x="3" y="17"/>
                  <a:pt x="3" y="17"/>
                </a:cubicBezTo>
                <a:cubicBezTo>
                  <a:pt x="3" y="13"/>
                  <a:pt x="3" y="13"/>
                  <a:pt x="3" y="13"/>
                </a:cubicBezTo>
                <a:cubicBezTo>
                  <a:pt x="3" y="6"/>
                  <a:pt x="5" y="5"/>
                  <a:pt x="9" y="3"/>
                </a:cubicBezTo>
                <a:cubicBezTo>
                  <a:pt x="9" y="2"/>
                  <a:pt x="9" y="1"/>
                  <a:pt x="9"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7" name="Freeform 286"/>
          <p:cNvSpPr>
            <a:spLocks/>
          </p:cNvSpPr>
          <p:nvPr/>
        </p:nvSpPr>
        <p:spPr bwMode="auto">
          <a:xfrm>
            <a:off x="2591622" y="3382857"/>
            <a:ext cx="23850" cy="32368"/>
          </a:xfrm>
          <a:custGeom>
            <a:avLst/>
            <a:gdLst>
              <a:gd name="T0" fmla="*/ 0 w 12"/>
              <a:gd name="T1" fmla="*/ 2 h 16"/>
              <a:gd name="T2" fmla="*/ 0 w 12"/>
              <a:gd name="T3" fmla="*/ 5 h 16"/>
              <a:gd name="T4" fmla="*/ 8 w 12"/>
              <a:gd name="T5" fmla="*/ 14 h 16"/>
              <a:gd name="T6" fmla="*/ 8 w 12"/>
              <a:gd name="T7" fmla="*/ 16 h 16"/>
              <a:gd name="T8" fmla="*/ 12 w 12"/>
              <a:gd name="T9" fmla="*/ 16 h 16"/>
              <a:gd name="T10" fmla="*/ 12 w 12"/>
              <a:gd name="T11" fmla="*/ 14 h 16"/>
              <a:gd name="T12" fmla="*/ 0 w 12"/>
              <a:gd name="T13" fmla="*/ 2 h 16"/>
            </a:gdLst>
            <a:ahLst/>
            <a:cxnLst>
              <a:cxn ang="0">
                <a:pos x="T0" y="T1"/>
              </a:cxn>
              <a:cxn ang="0">
                <a:pos x="T2" y="T3"/>
              </a:cxn>
              <a:cxn ang="0">
                <a:pos x="T4" y="T5"/>
              </a:cxn>
              <a:cxn ang="0">
                <a:pos x="T6" y="T7"/>
              </a:cxn>
              <a:cxn ang="0">
                <a:pos x="T8" y="T9"/>
              </a:cxn>
              <a:cxn ang="0">
                <a:pos x="T10" y="T11"/>
              </a:cxn>
              <a:cxn ang="0">
                <a:pos x="T12" y="T13"/>
              </a:cxn>
            </a:cxnLst>
            <a:rect l="0" t="0" r="r" b="b"/>
            <a:pathLst>
              <a:path w="12" h="16">
                <a:moveTo>
                  <a:pt x="0" y="2"/>
                </a:moveTo>
                <a:cubicBezTo>
                  <a:pt x="0" y="3"/>
                  <a:pt x="0" y="4"/>
                  <a:pt x="0" y="5"/>
                </a:cubicBezTo>
                <a:cubicBezTo>
                  <a:pt x="9" y="4"/>
                  <a:pt x="8" y="7"/>
                  <a:pt x="8" y="14"/>
                </a:cubicBezTo>
                <a:cubicBezTo>
                  <a:pt x="8" y="16"/>
                  <a:pt x="8" y="16"/>
                  <a:pt x="8" y="16"/>
                </a:cubicBezTo>
                <a:cubicBezTo>
                  <a:pt x="12" y="16"/>
                  <a:pt x="12" y="16"/>
                  <a:pt x="12" y="16"/>
                </a:cubicBezTo>
                <a:cubicBezTo>
                  <a:pt x="12" y="14"/>
                  <a:pt x="12" y="14"/>
                  <a:pt x="12" y="14"/>
                </a:cubicBezTo>
                <a:cubicBezTo>
                  <a:pt x="12" y="3"/>
                  <a:pt x="10" y="0"/>
                  <a:pt x="0" y="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8" name="Freeform 287"/>
          <p:cNvSpPr>
            <a:spLocks/>
          </p:cNvSpPr>
          <p:nvPr/>
        </p:nvSpPr>
        <p:spPr bwMode="auto">
          <a:xfrm>
            <a:off x="2519220" y="3362415"/>
            <a:ext cx="66440" cy="70699"/>
          </a:xfrm>
          <a:custGeom>
            <a:avLst/>
            <a:gdLst>
              <a:gd name="T0" fmla="*/ 3 w 33"/>
              <a:gd name="T1" fmla="*/ 35 h 35"/>
              <a:gd name="T2" fmla="*/ 3 w 33"/>
              <a:gd name="T3" fmla="*/ 20 h 35"/>
              <a:gd name="T4" fmla="*/ 17 w 33"/>
              <a:gd name="T5" fmla="*/ 7 h 35"/>
              <a:gd name="T6" fmla="*/ 30 w 33"/>
              <a:gd name="T7" fmla="*/ 17 h 35"/>
              <a:gd name="T8" fmla="*/ 30 w 33"/>
              <a:gd name="T9" fmla="*/ 29 h 35"/>
              <a:gd name="T10" fmla="*/ 33 w 33"/>
              <a:gd name="T11" fmla="*/ 29 h 35"/>
              <a:gd name="T12" fmla="*/ 33 w 33"/>
              <a:gd name="T13" fmla="*/ 17 h 35"/>
              <a:gd name="T14" fmla="*/ 16 w 33"/>
              <a:gd name="T15" fmla="*/ 3 h 35"/>
              <a:gd name="T16" fmla="*/ 0 w 33"/>
              <a:gd name="T17" fmla="*/ 20 h 35"/>
              <a:gd name="T18" fmla="*/ 0 w 33"/>
              <a:gd name="T19" fmla="*/ 35 h 35"/>
              <a:gd name="T20" fmla="*/ 3 w 33"/>
              <a:gd name="T21"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5">
                <a:moveTo>
                  <a:pt x="3" y="35"/>
                </a:moveTo>
                <a:cubicBezTo>
                  <a:pt x="3" y="20"/>
                  <a:pt x="3" y="20"/>
                  <a:pt x="3" y="20"/>
                </a:cubicBezTo>
                <a:cubicBezTo>
                  <a:pt x="3" y="11"/>
                  <a:pt x="8" y="9"/>
                  <a:pt x="17" y="7"/>
                </a:cubicBezTo>
                <a:cubicBezTo>
                  <a:pt x="29" y="4"/>
                  <a:pt x="30" y="12"/>
                  <a:pt x="30" y="17"/>
                </a:cubicBezTo>
                <a:cubicBezTo>
                  <a:pt x="30" y="29"/>
                  <a:pt x="30" y="29"/>
                  <a:pt x="30" y="29"/>
                </a:cubicBezTo>
                <a:cubicBezTo>
                  <a:pt x="33" y="29"/>
                  <a:pt x="33" y="29"/>
                  <a:pt x="33" y="29"/>
                </a:cubicBezTo>
                <a:cubicBezTo>
                  <a:pt x="33" y="17"/>
                  <a:pt x="33" y="17"/>
                  <a:pt x="33" y="17"/>
                </a:cubicBezTo>
                <a:cubicBezTo>
                  <a:pt x="33" y="8"/>
                  <a:pt x="30" y="0"/>
                  <a:pt x="16" y="3"/>
                </a:cubicBezTo>
                <a:cubicBezTo>
                  <a:pt x="8" y="5"/>
                  <a:pt x="0" y="7"/>
                  <a:pt x="0" y="20"/>
                </a:cubicBezTo>
                <a:cubicBezTo>
                  <a:pt x="0" y="35"/>
                  <a:pt x="0" y="35"/>
                  <a:pt x="0" y="35"/>
                </a:cubicBezTo>
                <a:cubicBezTo>
                  <a:pt x="3" y="35"/>
                  <a:pt x="3" y="35"/>
                  <a:pt x="3" y="35"/>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39" name="Freeform 288"/>
          <p:cNvSpPr>
            <a:spLocks noEditPoints="1"/>
          </p:cNvSpPr>
          <p:nvPr/>
        </p:nvSpPr>
        <p:spPr bwMode="auto">
          <a:xfrm>
            <a:off x="2472371" y="3415225"/>
            <a:ext cx="209540" cy="195060"/>
          </a:xfrm>
          <a:custGeom>
            <a:avLst/>
            <a:gdLst>
              <a:gd name="T0" fmla="*/ 204 w 246"/>
              <a:gd name="T1" fmla="*/ 0 h 229"/>
              <a:gd name="T2" fmla="*/ 0 w 246"/>
              <a:gd name="T3" fmla="*/ 42 h 229"/>
              <a:gd name="T4" fmla="*/ 0 w 246"/>
              <a:gd name="T5" fmla="*/ 189 h 229"/>
              <a:gd name="T6" fmla="*/ 204 w 246"/>
              <a:gd name="T7" fmla="*/ 229 h 229"/>
              <a:gd name="T8" fmla="*/ 246 w 246"/>
              <a:gd name="T9" fmla="*/ 213 h 229"/>
              <a:gd name="T10" fmla="*/ 246 w 246"/>
              <a:gd name="T11" fmla="*/ 16 h 229"/>
              <a:gd name="T12" fmla="*/ 204 w 246"/>
              <a:gd name="T13" fmla="*/ 0 h 229"/>
              <a:gd name="T14" fmla="*/ 204 w 246"/>
              <a:gd name="T15" fmla="*/ 0 h 229"/>
              <a:gd name="T16" fmla="*/ 90 w 246"/>
              <a:gd name="T17" fmla="*/ 158 h 229"/>
              <a:gd name="T18" fmla="*/ 43 w 246"/>
              <a:gd name="T19" fmla="*/ 151 h 229"/>
              <a:gd name="T20" fmla="*/ 43 w 246"/>
              <a:gd name="T21" fmla="*/ 113 h 229"/>
              <a:gd name="T22" fmla="*/ 90 w 246"/>
              <a:gd name="T23" fmla="*/ 113 h 229"/>
              <a:gd name="T24" fmla="*/ 90 w 246"/>
              <a:gd name="T25" fmla="*/ 158 h 229"/>
              <a:gd name="T26" fmla="*/ 90 w 246"/>
              <a:gd name="T27" fmla="*/ 109 h 229"/>
              <a:gd name="T28" fmla="*/ 43 w 246"/>
              <a:gd name="T29" fmla="*/ 109 h 229"/>
              <a:gd name="T30" fmla="*/ 43 w 246"/>
              <a:gd name="T31" fmla="*/ 75 h 229"/>
              <a:gd name="T32" fmla="*/ 90 w 246"/>
              <a:gd name="T33" fmla="*/ 68 h 229"/>
              <a:gd name="T34" fmla="*/ 90 w 246"/>
              <a:gd name="T35" fmla="*/ 109 h 229"/>
              <a:gd name="T36" fmla="*/ 152 w 246"/>
              <a:gd name="T37" fmla="*/ 165 h 229"/>
              <a:gd name="T38" fmla="*/ 95 w 246"/>
              <a:gd name="T39" fmla="*/ 158 h 229"/>
              <a:gd name="T40" fmla="*/ 95 w 246"/>
              <a:gd name="T41" fmla="*/ 113 h 229"/>
              <a:gd name="T42" fmla="*/ 152 w 246"/>
              <a:gd name="T43" fmla="*/ 113 h 229"/>
              <a:gd name="T44" fmla="*/ 152 w 246"/>
              <a:gd name="T45" fmla="*/ 165 h 229"/>
              <a:gd name="T46" fmla="*/ 152 w 246"/>
              <a:gd name="T47" fmla="*/ 109 h 229"/>
              <a:gd name="T48" fmla="*/ 95 w 246"/>
              <a:gd name="T49" fmla="*/ 109 h 229"/>
              <a:gd name="T50" fmla="*/ 95 w 246"/>
              <a:gd name="T51" fmla="*/ 68 h 229"/>
              <a:gd name="T52" fmla="*/ 152 w 246"/>
              <a:gd name="T53" fmla="*/ 59 h 229"/>
              <a:gd name="T54" fmla="*/ 152 w 246"/>
              <a:gd name="T55" fmla="*/ 10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6" h="229">
                <a:moveTo>
                  <a:pt x="204" y="0"/>
                </a:moveTo>
                <a:lnTo>
                  <a:pt x="0" y="42"/>
                </a:lnTo>
                <a:lnTo>
                  <a:pt x="0" y="189"/>
                </a:lnTo>
                <a:lnTo>
                  <a:pt x="204" y="229"/>
                </a:lnTo>
                <a:lnTo>
                  <a:pt x="246" y="213"/>
                </a:lnTo>
                <a:lnTo>
                  <a:pt x="246" y="16"/>
                </a:lnTo>
                <a:lnTo>
                  <a:pt x="204" y="0"/>
                </a:lnTo>
                <a:lnTo>
                  <a:pt x="204" y="0"/>
                </a:lnTo>
                <a:close/>
                <a:moveTo>
                  <a:pt x="90" y="158"/>
                </a:moveTo>
                <a:lnTo>
                  <a:pt x="43" y="151"/>
                </a:lnTo>
                <a:lnTo>
                  <a:pt x="43" y="113"/>
                </a:lnTo>
                <a:lnTo>
                  <a:pt x="90" y="113"/>
                </a:lnTo>
                <a:lnTo>
                  <a:pt x="90" y="158"/>
                </a:lnTo>
                <a:close/>
                <a:moveTo>
                  <a:pt x="90" y="109"/>
                </a:moveTo>
                <a:lnTo>
                  <a:pt x="43" y="109"/>
                </a:lnTo>
                <a:lnTo>
                  <a:pt x="43" y="75"/>
                </a:lnTo>
                <a:lnTo>
                  <a:pt x="90" y="68"/>
                </a:lnTo>
                <a:lnTo>
                  <a:pt x="90" y="109"/>
                </a:lnTo>
                <a:close/>
                <a:moveTo>
                  <a:pt x="152" y="165"/>
                </a:moveTo>
                <a:lnTo>
                  <a:pt x="95" y="158"/>
                </a:lnTo>
                <a:lnTo>
                  <a:pt x="95" y="113"/>
                </a:lnTo>
                <a:lnTo>
                  <a:pt x="152" y="113"/>
                </a:lnTo>
                <a:lnTo>
                  <a:pt x="152" y="165"/>
                </a:lnTo>
                <a:close/>
                <a:moveTo>
                  <a:pt x="152" y="109"/>
                </a:moveTo>
                <a:lnTo>
                  <a:pt x="95" y="109"/>
                </a:lnTo>
                <a:lnTo>
                  <a:pt x="95" y="68"/>
                </a:lnTo>
                <a:lnTo>
                  <a:pt x="152" y="59"/>
                </a:lnTo>
                <a:lnTo>
                  <a:pt x="152" y="10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0" name="Freeform 289"/>
          <p:cNvSpPr>
            <a:spLocks noEditPoints="1"/>
          </p:cNvSpPr>
          <p:nvPr/>
        </p:nvSpPr>
        <p:spPr bwMode="auto">
          <a:xfrm>
            <a:off x="3902526" y="3378599"/>
            <a:ext cx="247871" cy="247871"/>
          </a:xfrm>
          <a:custGeom>
            <a:avLst/>
            <a:gdLst>
              <a:gd name="T0" fmla="*/ 64 w 123"/>
              <a:gd name="T1" fmla="*/ 0 h 123"/>
              <a:gd name="T2" fmla="*/ 45 w 123"/>
              <a:gd name="T3" fmla="*/ 3 h 123"/>
              <a:gd name="T4" fmla="*/ 34 w 123"/>
              <a:gd name="T5" fmla="*/ 8 h 123"/>
              <a:gd name="T6" fmla="*/ 42 w 123"/>
              <a:gd name="T7" fmla="*/ 11 h 123"/>
              <a:gd name="T8" fmla="*/ 57 w 123"/>
              <a:gd name="T9" fmla="*/ 17 h 123"/>
              <a:gd name="T10" fmla="*/ 69 w 123"/>
              <a:gd name="T11" fmla="*/ 18 h 123"/>
              <a:gd name="T12" fmla="*/ 94 w 123"/>
              <a:gd name="T13" fmla="*/ 10 h 123"/>
              <a:gd name="T14" fmla="*/ 88 w 123"/>
              <a:gd name="T15" fmla="*/ 6 h 123"/>
              <a:gd name="T16" fmla="*/ 64 w 123"/>
              <a:gd name="T17" fmla="*/ 0 h 123"/>
              <a:gd name="T18" fmla="*/ 102 w 123"/>
              <a:gd name="T19" fmla="*/ 14 h 123"/>
              <a:gd name="T20" fmla="*/ 97 w 123"/>
              <a:gd name="T21" fmla="*/ 17 h 123"/>
              <a:gd name="T22" fmla="*/ 85 w 123"/>
              <a:gd name="T23" fmla="*/ 26 h 123"/>
              <a:gd name="T24" fmla="*/ 78 w 123"/>
              <a:gd name="T25" fmla="*/ 33 h 123"/>
              <a:gd name="T26" fmla="*/ 86 w 123"/>
              <a:gd name="T27" fmla="*/ 43 h 123"/>
              <a:gd name="T28" fmla="*/ 111 w 123"/>
              <a:gd name="T29" fmla="*/ 93 h 123"/>
              <a:gd name="T30" fmla="*/ 111 w 123"/>
              <a:gd name="T31" fmla="*/ 98 h 123"/>
              <a:gd name="T32" fmla="*/ 115 w 123"/>
              <a:gd name="T33" fmla="*/ 92 h 123"/>
              <a:gd name="T34" fmla="*/ 123 w 123"/>
              <a:gd name="T35" fmla="*/ 57 h 123"/>
              <a:gd name="T36" fmla="*/ 118 w 123"/>
              <a:gd name="T37" fmla="*/ 35 h 123"/>
              <a:gd name="T38" fmla="*/ 108 w 123"/>
              <a:gd name="T39" fmla="*/ 20 h 123"/>
              <a:gd name="T40" fmla="*/ 102 w 123"/>
              <a:gd name="T41" fmla="*/ 14 h 123"/>
              <a:gd name="T42" fmla="*/ 25 w 123"/>
              <a:gd name="T43" fmla="*/ 15 h 123"/>
              <a:gd name="T44" fmla="*/ 22 w 123"/>
              <a:gd name="T45" fmla="*/ 17 h 123"/>
              <a:gd name="T46" fmla="*/ 6 w 123"/>
              <a:gd name="T47" fmla="*/ 41 h 123"/>
              <a:gd name="T48" fmla="*/ 13 w 123"/>
              <a:gd name="T49" fmla="*/ 93 h 123"/>
              <a:gd name="T50" fmla="*/ 16 w 123"/>
              <a:gd name="T51" fmla="*/ 95 h 123"/>
              <a:gd name="T52" fmla="*/ 41 w 123"/>
              <a:gd name="T53" fmla="*/ 43 h 123"/>
              <a:gd name="T54" fmla="*/ 49 w 123"/>
              <a:gd name="T55" fmla="*/ 33 h 123"/>
              <a:gd name="T56" fmla="*/ 42 w 123"/>
              <a:gd name="T57" fmla="*/ 26 h 123"/>
              <a:gd name="T58" fmla="*/ 30 w 123"/>
              <a:gd name="T59" fmla="*/ 17 h 123"/>
              <a:gd name="T60" fmla="*/ 25 w 123"/>
              <a:gd name="T61" fmla="*/ 15 h 123"/>
              <a:gd name="T62" fmla="*/ 63 w 123"/>
              <a:gd name="T63" fmla="*/ 46 h 123"/>
              <a:gd name="T64" fmla="*/ 53 w 123"/>
              <a:gd name="T65" fmla="*/ 55 h 123"/>
              <a:gd name="T66" fmla="*/ 19 w 123"/>
              <a:gd name="T67" fmla="*/ 99 h 123"/>
              <a:gd name="T68" fmla="*/ 49 w 123"/>
              <a:gd name="T69" fmla="*/ 119 h 123"/>
              <a:gd name="T70" fmla="*/ 99 w 123"/>
              <a:gd name="T71" fmla="*/ 109 h 123"/>
              <a:gd name="T72" fmla="*/ 102 w 123"/>
              <a:gd name="T73" fmla="*/ 86 h 123"/>
              <a:gd name="T74" fmla="*/ 67 w 123"/>
              <a:gd name="T75" fmla="*/ 49 h 123"/>
              <a:gd name="T76" fmla="*/ 63 w 123"/>
              <a:gd name="T77" fmla="*/ 4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23">
                <a:moveTo>
                  <a:pt x="64" y="0"/>
                </a:moveTo>
                <a:cubicBezTo>
                  <a:pt x="58" y="0"/>
                  <a:pt x="51" y="1"/>
                  <a:pt x="45" y="3"/>
                </a:cubicBezTo>
                <a:cubicBezTo>
                  <a:pt x="39" y="5"/>
                  <a:pt x="34" y="7"/>
                  <a:pt x="34" y="8"/>
                </a:cubicBezTo>
                <a:cubicBezTo>
                  <a:pt x="34" y="8"/>
                  <a:pt x="37" y="10"/>
                  <a:pt x="42" y="11"/>
                </a:cubicBezTo>
                <a:cubicBezTo>
                  <a:pt x="47" y="12"/>
                  <a:pt x="53" y="15"/>
                  <a:pt x="57" y="17"/>
                </a:cubicBezTo>
                <a:cubicBezTo>
                  <a:pt x="64" y="21"/>
                  <a:pt x="63" y="21"/>
                  <a:pt x="69" y="18"/>
                </a:cubicBezTo>
                <a:cubicBezTo>
                  <a:pt x="75" y="14"/>
                  <a:pt x="91" y="9"/>
                  <a:pt x="94" y="10"/>
                </a:cubicBezTo>
                <a:cubicBezTo>
                  <a:pt x="96" y="10"/>
                  <a:pt x="93" y="8"/>
                  <a:pt x="88" y="6"/>
                </a:cubicBezTo>
                <a:cubicBezTo>
                  <a:pt x="81" y="2"/>
                  <a:pt x="73" y="0"/>
                  <a:pt x="64" y="0"/>
                </a:cubicBezTo>
                <a:close/>
                <a:moveTo>
                  <a:pt x="102" y="14"/>
                </a:moveTo>
                <a:cubicBezTo>
                  <a:pt x="97" y="17"/>
                  <a:pt x="97" y="17"/>
                  <a:pt x="97" y="17"/>
                </a:cubicBezTo>
                <a:cubicBezTo>
                  <a:pt x="94" y="18"/>
                  <a:pt x="89" y="23"/>
                  <a:pt x="85" y="26"/>
                </a:cubicBezTo>
                <a:cubicBezTo>
                  <a:pt x="78" y="33"/>
                  <a:pt x="78" y="33"/>
                  <a:pt x="78" y="33"/>
                </a:cubicBezTo>
                <a:cubicBezTo>
                  <a:pt x="86" y="43"/>
                  <a:pt x="86" y="43"/>
                  <a:pt x="86" y="43"/>
                </a:cubicBezTo>
                <a:cubicBezTo>
                  <a:pt x="102" y="63"/>
                  <a:pt x="111" y="81"/>
                  <a:pt x="111" y="93"/>
                </a:cubicBezTo>
                <a:cubicBezTo>
                  <a:pt x="111" y="98"/>
                  <a:pt x="111" y="98"/>
                  <a:pt x="111" y="98"/>
                </a:cubicBezTo>
                <a:cubicBezTo>
                  <a:pt x="115" y="92"/>
                  <a:pt x="115" y="92"/>
                  <a:pt x="115" y="92"/>
                </a:cubicBezTo>
                <a:cubicBezTo>
                  <a:pt x="121" y="82"/>
                  <a:pt x="123" y="72"/>
                  <a:pt x="123" y="57"/>
                </a:cubicBezTo>
                <a:cubicBezTo>
                  <a:pt x="123" y="46"/>
                  <a:pt x="122" y="43"/>
                  <a:pt x="118" y="35"/>
                </a:cubicBezTo>
                <a:cubicBezTo>
                  <a:pt x="116" y="30"/>
                  <a:pt x="111" y="23"/>
                  <a:pt x="108" y="20"/>
                </a:cubicBezTo>
                <a:lnTo>
                  <a:pt x="102" y="14"/>
                </a:lnTo>
                <a:close/>
                <a:moveTo>
                  <a:pt x="25" y="15"/>
                </a:moveTo>
                <a:cubicBezTo>
                  <a:pt x="24" y="15"/>
                  <a:pt x="23" y="15"/>
                  <a:pt x="22" y="17"/>
                </a:cubicBezTo>
                <a:cubicBezTo>
                  <a:pt x="17" y="19"/>
                  <a:pt x="9" y="32"/>
                  <a:pt x="6" y="41"/>
                </a:cubicBezTo>
                <a:cubicBezTo>
                  <a:pt x="0" y="56"/>
                  <a:pt x="3" y="79"/>
                  <a:pt x="13" y="93"/>
                </a:cubicBezTo>
                <a:cubicBezTo>
                  <a:pt x="16" y="98"/>
                  <a:pt x="17" y="99"/>
                  <a:pt x="16" y="95"/>
                </a:cubicBezTo>
                <a:cubicBezTo>
                  <a:pt x="13" y="88"/>
                  <a:pt x="26" y="63"/>
                  <a:pt x="41" y="43"/>
                </a:cubicBezTo>
                <a:cubicBezTo>
                  <a:pt x="49" y="33"/>
                  <a:pt x="49" y="33"/>
                  <a:pt x="49" y="33"/>
                </a:cubicBezTo>
                <a:cubicBezTo>
                  <a:pt x="42" y="26"/>
                  <a:pt x="42" y="26"/>
                  <a:pt x="42" y="26"/>
                </a:cubicBezTo>
                <a:cubicBezTo>
                  <a:pt x="38" y="22"/>
                  <a:pt x="32" y="18"/>
                  <a:pt x="30" y="17"/>
                </a:cubicBezTo>
                <a:cubicBezTo>
                  <a:pt x="28" y="16"/>
                  <a:pt x="26" y="15"/>
                  <a:pt x="25" y="15"/>
                </a:cubicBezTo>
                <a:close/>
                <a:moveTo>
                  <a:pt x="63" y="46"/>
                </a:moveTo>
                <a:cubicBezTo>
                  <a:pt x="53" y="55"/>
                  <a:pt x="53" y="55"/>
                  <a:pt x="53" y="55"/>
                </a:cubicBezTo>
                <a:cubicBezTo>
                  <a:pt x="35" y="71"/>
                  <a:pt x="19" y="92"/>
                  <a:pt x="19" y="99"/>
                </a:cubicBezTo>
                <a:cubicBezTo>
                  <a:pt x="19" y="105"/>
                  <a:pt x="35" y="115"/>
                  <a:pt x="49" y="119"/>
                </a:cubicBezTo>
                <a:cubicBezTo>
                  <a:pt x="65" y="123"/>
                  <a:pt x="86" y="119"/>
                  <a:pt x="99" y="109"/>
                </a:cubicBezTo>
                <a:cubicBezTo>
                  <a:pt x="110" y="101"/>
                  <a:pt x="110" y="98"/>
                  <a:pt x="102" y="86"/>
                </a:cubicBezTo>
                <a:cubicBezTo>
                  <a:pt x="97" y="78"/>
                  <a:pt x="74" y="54"/>
                  <a:pt x="67" y="49"/>
                </a:cubicBezTo>
                <a:lnTo>
                  <a:pt x="63" y="4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1" name="Freeform 290"/>
          <p:cNvSpPr>
            <a:spLocks/>
          </p:cNvSpPr>
          <p:nvPr/>
        </p:nvSpPr>
        <p:spPr bwMode="auto">
          <a:xfrm>
            <a:off x="3443412" y="3376895"/>
            <a:ext cx="215503" cy="247871"/>
          </a:xfrm>
          <a:custGeom>
            <a:avLst/>
            <a:gdLst>
              <a:gd name="T0" fmla="*/ 16 w 107"/>
              <a:gd name="T1" fmla="*/ 120 h 123"/>
              <a:gd name="T2" fmla="*/ 50 w 107"/>
              <a:gd name="T3" fmla="*/ 120 h 123"/>
              <a:gd name="T4" fmla="*/ 85 w 107"/>
              <a:gd name="T5" fmla="*/ 120 h 123"/>
              <a:gd name="T6" fmla="*/ 96 w 107"/>
              <a:gd name="T7" fmla="*/ 120 h 123"/>
              <a:gd name="T8" fmla="*/ 98 w 107"/>
              <a:gd name="T9" fmla="*/ 108 h 123"/>
              <a:gd name="T10" fmla="*/ 95 w 107"/>
              <a:gd name="T11" fmla="*/ 88 h 123"/>
              <a:gd name="T12" fmla="*/ 91 w 107"/>
              <a:gd name="T13" fmla="*/ 102 h 123"/>
              <a:gd name="T14" fmla="*/ 65 w 107"/>
              <a:gd name="T15" fmla="*/ 111 h 123"/>
              <a:gd name="T16" fmla="*/ 35 w 107"/>
              <a:gd name="T17" fmla="*/ 106 h 123"/>
              <a:gd name="T18" fmla="*/ 33 w 107"/>
              <a:gd name="T19" fmla="*/ 85 h 123"/>
              <a:gd name="T20" fmla="*/ 35 w 107"/>
              <a:gd name="T21" fmla="*/ 63 h 123"/>
              <a:gd name="T22" fmla="*/ 71 w 107"/>
              <a:gd name="T23" fmla="*/ 65 h 123"/>
              <a:gd name="T24" fmla="*/ 81 w 107"/>
              <a:gd name="T25" fmla="*/ 77 h 123"/>
              <a:gd name="T26" fmla="*/ 82 w 107"/>
              <a:gd name="T27" fmla="*/ 65 h 123"/>
              <a:gd name="T28" fmla="*/ 82 w 107"/>
              <a:gd name="T29" fmla="*/ 52 h 123"/>
              <a:gd name="T30" fmla="*/ 79 w 107"/>
              <a:gd name="T31" fmla="*/ 40 h 123"/>
              <a:gd name="T32" fmla="*/ 73 w 107"/>
              <a:gd name="T33" fmla="*/ 53 h 123"/>
              <a:gd name="T34" fmla="*/ 65 w 107"/>
              <a:gd name="T35" fmla="*/ 55 h 123"/>
              <a:gd name="T36" fmla="*/ 34 w 107"/>
              <a:gd name="T37" fmla="*/ 54 h 123"/>
              <a:gd name="T38" fmla="*/ 34 w 107"/>
              <a:gd name="T39" fmla="*/ 16 h 123"/>
              <a:gd name="T40" fmla="*/ 54 w 107"/>
              <a:gd name="T41" fmla="*/ 12 h 123"/>
              <a:gd name="T42" fmla="*/ 87 w 107"/>
              <a:gd name="T43" fmla="*/ 18 h 123"/>
              <a:gd name="T44" fmla="*/ 90 w 107"/>
              <a:gd name="T45" fmla="*/ 29 h 123"/>
              <a:gd name="T46" fmla="*/ 94 w 107"/>
              <a:gd name="T47" fmla="*/ 13 h 123"/>
              <a:gd name="T48" fmla="*/ 95 w 107"/>
              <a:gd name="T49" fmla="*/ 3 h 123"/>
              <a:gd name="T50" fmla="*/ 88 w 107"/>
              <a:gd name="T51" fmla="*/ 2 h 123"/>
              <a:gd name="T52" fmla="*/ 13 w 107"/>
              <a:gd name="T53" fmla="*/ 3 h 123"/>
              <a:gd name="T54" fmla="*/ 4 w 107"/>
              <a:gd name="T55" fmla="*/ 5 h 123"/>
              <a:gd name="T56" fmla="*/ 16 w 107"/>
              <a:gd name="T57" fmla="*/ 13 h 123"/>
              <a:gd name="T58" fmla="*/ 19 w 107"/>
              <a:gd name="T59" fmla="*/ 23 h 123"/>
              <a:gd name="T60" fmla="*/ 19 w 107"/>
              <a:gd name="T61" fmla="*/ 62 h 123"/>
              <a:gd name="T62" fmla="*/ 19 w 107"/>
              <a:gd name="T63" fmla="*/ 102 h 123"/>
              <a:gd name="T64" fmla="*/ 16 w 107"/>
              <a:gd name="T65" fmla="*/ 111 h 123"/>
              <a:gd name="T66" fmla="*/ 1 w 107"/>
              <a:gd name="T67" fmla="*/ 119 h 123"/>
              <a:gd name="T68" fmla="*/ 16 w 107"/>
              <a:gd name="T69" fmla="*/ 12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123">
                <a:moveTo>
                  <a:pt x="16" y="120"/>
                </a:moveTo>
                <a:cubicBezTo>
                  <a:pt x="26" y="119"/>
                  <a:pt x="39" y="120"/>
                  <a:pt x="50" y="120"/>
                </a:cubicBezTo>
                <a:cubicBezTo>
                  <a:pt x="63" y="120"/>
                  <a:pt x="75" y="119"/>
                  <a:pt x="85" y="120"/>
                </a:cubicBezTo>
                <a:cubicBezTo>
                  <a:pt x="89" y="120"/>
                  <a:pt x="93" y="123"/>
                  <a:pt x="96" y="120"/>
                </a:cubicBezTo>
                <a:cubicBezTo>
                  <a:pt x="99" y="117"/>
                  <a:pt x="97" y="113"/>
                  <a:pt x="98" y="108"/>
                </a:cubicBezTo>
                <a:cubicBezTo>
                  <a:pt x="99" y="100"/>
                  <a:pt x="107" y="90"/>
                  <a:pt x="95" y="88"/>
                </a:cubicBezTo>
                <a:cubicBezTo>
                  <a:pt x="90" y="92"/>
                  <a:pt x="94" y="96"/>
                  <a:pt x="91" y="102"/>
                </a:cubicBezTo>
                <a:cubicBezTo>
                  <a:pt x="88" y="108"/>
                  <a:pt x="76" y="110"/>
                  <a:pt x="65" y="111"/>
                </a:cubicBezTo>
                <a:cubicBezTo>
                  <a:pt x="55" y="112"/>
                  <a:pt x="38" y="113"/>
                  <a:pt x="35" y="106"/>
                </a:cubicBezTo>
                <a:cubicBezTo>
                  <a:pt x="32" y="101"/>
                  <a:pt x="33" y="92"/>
                  <a:pt x="33" y="85"/>
                </a:cubicBezTo>
                <a:cubicBezTo>
                  <a:pt x="33" y="77"/>
                  <a:pt x="32" y="69"/>
                  <a:pt x="35" y="63"/>
                </a:cubicBezTo>
                <a:cubicBezTo>
                  <a:pt x="47" y="64"/>
                  <a:pt x="63" y="59"/>
                  <a:pt x="71" y="65"/>
                </a:cubicBezTo>
                <a:cubicBezTo>
                  <a:pt x="77" y="68"/>
                  <a:pt x="74" y="75"/>
                  <a:pt x="81" y="77"/>
                </a:cubicBezTo>
                <a:cubicBezTo>
                  <a:pt x="85" y="76"/>
                  <a:pt x="83" y="70"/>
                  <a:pt x="82" y="65"/>
                </a:cubicBezTo>
                <a:cubicBezTo>
                  <a:pt x="82" y="61"/>
                  <a:pt x="82" y="56"/>
                  <a:pt x="82" y="52"/>
                </a:cubicBezTo>
                <a:cubicBezTo>
                  <a:pt x="83" y="46"/>
                  <a:pt x="85" y="40"/>
                  <a:pt x="79" y="40"/>
                </a:cubicBezTo>
                <a:cubicBezTo>
                  <a:pt x="74" y="43"/>
                  <a:pt x="78" y="50"/>
                  <a:pt x="73" y="53"/>
                </a:cubicBezTo>
                <a:cubicBezTo>
                  <a:pt x="71" y="54"/>
                  <a:pt x="68" y="55"/>
                  <a:pt x="65" y="55"/>
                </a:cubicBezTo>
                <a:cubicBezTo>
                  <a:pt x="56" y="56"/>
                  <a:pt x="42" y="55"/>
                  <a:pt x="34" y="54"/>
                </a:cubicBezTo>
                <a:cubicBezTo>
                  <a:pt x="33" y="42"/>
                  <a:pt x="33" y="27"/>
                  <a:pt x="34" y="16"/>
                </a:cubicBezTo>
                <a:cubicBezTo>
                  <a:pt x="38" y="12"/>
                  <a:pt x="48" y="12"/>
                  <a:pt x="54" y="12"/>
                </a:cubicBezTo>
                <a:cubicBezTo>
                  <a:pt x="66" y="12"/>
                  <a:pt x="83" y="13"/>
                  <a:pt x="87" y="18"/>
                </a:cubicBezTo>
                <a:cubicBezTo>
                  <a:pt x="89" y="21"/>
                  <a:pt x="87" y="28"/>
                  <a:pt x="90" y="29"/>
                </a:cubicBezTo>
                <a:cubicBezTo>
                  <a:pt x="97" y="30"/>
                  <a:pt x="94" y="18"/>
                  <a:pt x="94" y="13"/>
                </a:cubicBezTo>
                <a:cubicBezTo>
                  <a:pt x="94" y="9"/>
                  <a:pt x="96" y="6"/>
                  <a:pt x="95" y="3"/>
                </a:cubicBezTo>
                <a:cubicBezTo>
                  <a:pt x="93" y="0"/>
                  <a:pt x="90" y="2"/>
                  <a:pt x="88" y="2"/>
                </a:cubicBezTo>
                <a:cubicBezTo>
                  <a:pt x="67" y="5"/>
                  <a:pt x="35" y="3"/>
                  <a:pt x="13" y="3"/>
                </a:cubicBezTo>
                <a:cubicBezTo>
                  <a:pt x="10" y="3"/>
                  <a:pt x="6" y="2"/>
                  <a:pt x="4" y="5"/>
                </a:cubicBezTo>
                <a:cubicBezTo>
                  <a:pt x="3" y="12"/>
                  <a:pt x="12" y="9"/>
                  <a:pt x="16" y="13"/>
                </a:cubicBezTo>
                <a:cubicBezTo>
                  <a:pt x="17" y="14"/>
                  <a:pt x="18" y="20"/>
                  <a:pt x="19" y="23"/>
                </a:cubicBezTo>
                <a:cubicBezTo>
                  <a:pt x="20" y="33"/>
                  <a:pt x="19" y="48"/>
                  <a:pt x="19" y="62"/>
                </a:cubicBezTo>
                <a:cubicBezTo>
                  <a:pt x="19" y="77"/>
                  <a:pt x="20" y="92"/>
                  <a:pt x="19" y="102"/>
                </a:cubicBezTo>
                <a:cubicBezTo>
                  <a:pt x="18" y="105"/>
                  <a:pt x="16" y="110"/>
                  <a:pt x="16" y="111"/>
                </a:cubicBezTo>
                <a:cubicBezTo>
                  <a:pt x="11" y="115"/>
                  <a:pt x="0" y="110"/>
                  <a:pt x="1" y="119"/>
                </a:cubicBezTo>
                <a:cubicBezTo>
                  <a:pt x="5" y="122"/>
                  <a:pt x="11" y="120"/>
                  <a:pt x="16" y="12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2" name="Freeform 291"/>
          <p:cNvSpPr>
            <a:spLocks/>
          </p:cNvSpPr>
          <p:nvPr/>
        </p:nvSpPr>
        <p:spPr bwMode="auto">
          <a:xfrm>
            <a:off x="4394007" y="3376894"/>
            <a:ext cx="243612" cy="225724"/>
          </a:xfrm>
          <a:custGeom>
            <a:avLst/>
            <a:gdLst>
              <a:gd name="T0" fmla="*/ 39 w 121"/>
              <a:gd name="T1" fmla="*/ 6 h 112"/>
              <a:gd name="T2" fmla="*/ 29 w 121"/>
              <a:gd name="T3" fmla="*/ 19 h 112"/>
              <a:gd name="T4" fmla="*/ 28 w 121"/>
              <a:gd name="T5" fmla="*/ 35 h 112"/>
              <a:gd name="T6" fmla="*/ 28 w 121"/>
              <a:gd name="T7" fmla="*/ 46 h 112"/>
              <a:gd name="T8" fmla="*/ 23 w 121"/>
              <a:gd name="T9" fmla="*/ 46 h 112"/>
              <a:gd name="T10" fmla="*/ 19 w 121"/>
              <a:gd name="T11" fmla="*/ 45 h 112"/>
              <a:gd name="T12" fmla="*/ 15 w 121"/>
              <a:gd name="T13" fmla="*/ 46 h 112"/>
              <a:gd name="T14" fmla="*/ 12 w 121"/>
              <a:gd name="T15" fmla="*/ 49 h 112"/>
              <a:gd name="T16" fmla="*/ 14 w 121"/>
              <a:gd name="T17" fmla="*/ 51 h 112"/>
              <a:gd name="T18" fmla="*/ 15 w 121"/>
              <a:gd name="T19" fmla="*/ 53 h 112"/>
              <a:gd name="T20" fmla="*/ 23 w 121"/>
              <a:gd name="T21" fmla="*/ 56 h 112"/>
              <a:gd name="T22" fmla="*/ 26 w 121"/>
              <a:gd name="T23" fmla="*/ 66 h 112"/>
              <a:gd name="T24" fmla="*/ 13 w 121"/>
              <a:gd name="T25" fmla="*/ 80 h 112"/>
              <a:gd name="T26" fmla="*/ 4 w 121"/>
              <a:gd name="T27" fmla="*/ 84 h 112"/>
              <a:gd name="T28" fmla="*/ 1 w 121"/>
              <a:gd name="T29" fmla="*/ 86 h 112"/>
              <a:gd name="T30" fmla="*/ 3 w 121"/>
              <a:gd name="T31" fmla="*/ 90 h 112"/>
              <a:gd name="T32" fmla="*/ 11 w 121"/>
              <a:gd name="T33" fmla="*/ 93 h 112"/>
              <a:gd name="T34" fmla="*/ 16 w 121"/>
              <a:gd name="T35" fmla="*/ 94 h 112"/>
              <a:gd name="T36" fmla="*/ 18 w 121"/>
              <a:gd name="T37" fmla="*/ 101 h 112"/>
              <a:gd name="T38" fmla="*/ 21 w 121"/>
              <a:gd name="T39" fmla="*/ 102 h 112"/>
              <a:gd name="T40" fmla="*/ 35 w 121"/>
              <a:gd name="T41" fmla="*/ 101 h 112"/>
              <a:gd name="T42" fmla="*/ 47 w 121"/>
              <a:gd name="T43" fmla="*/ 108 h 112"/>
              <a:gd name="T44" fmla="*/ 47 w 121"/>
              <a:gd name="T45" fmla="*/ 108 h 112"/>
              <a:gd name="T46" fmla="*/ 57 w 121"/>
              <a:gd name="T47" fmla="*/ 112 h 112"/>
              <a:gd name="T48" fmla="*/ 65 w 121"/>
              <a:gd name="T49" fmla="*/ 111 h 112"/>
              <a:gd name="T50" fmla="*/ 72 w 121"/>
              <a:gd name="T51" fmla="*/ 109 h 112"/>
              <a:gd name="T52" fmla="*/ 85 w 121"/>
              <a:gd name="T53" fmla="*/ 101 h 112"/>
              <a:gd name="T54" fmla="*/ 90 w 121"/>
              <a:gd name="T55" fmla="*/ 101 h 112"/>
              <a:gd name="T56" fmla="*/ 101 w 121"/>
              <a:gd name="T57" fmla="*/ 101 h 112"/>
              <a:gd name="T58" fmla="*/ 103 w 121"/>
              <a:gd name="T59" fmla="*/ 101 h 112"/>
              <a:gd name="T60" fmla="*/ 103 w 121"/>
              <a:gd name="T61" fmla="*/ 100 h 112"/>
              <a:gd name="T62" fmla="*/ 105 w 121"/>
              <a:gd name="T63" fmla="*/ 94 h 112"/>
              <a:gd name="T64" fmla="*/ 108 w 121"/>
              <a:gd name="T65" fmla="*/ 93 h 112"/>
              <a:gd name="T66" fmla="*/ 117 w 121"/>
              <a:gd name="T67" fmla="*/ 91 h 112"/>
              <a:gd name="T68" fmla="*/ 120 w 121"/>
              <a:gd name="T69" fmla="*/ 89 h 112"/>
              <a:gd name="T70" fmla="*/ 119 w 121"/>
              <a:gd name="T71" fmla="*/ 85 h 112"/>
              <a:gd name="T72" fmla="*/ 119 w 121"/>
              <a:gd name="T73" fmla="*/ 85 h 112"/>
              <a:gd name="T74" fmla="*/ 119 w 121"/>
              <a:gd name="T75" fmla="*/ 85 h 112"/>
              <a:gd name="T76" fmla="*/ 115 w 121"/>
              <a:gd name="T77" fmla="*/ 84 h 112"/>
              <a:gd name="T78" fmla="*/ 94 w 121"/>
              <a:gd name="T79" fmla="*/ 63 h 112"/>
              <a:gd name="T80" fmla="*/ 95 w 121"/>
              <a:gd name="T81" fmla="*/ 59 h 112"/>
              <a:gd name="T82" fmla="*/ 100 w 121"/>
              <a:gd name="T83" fmla="*/ 55 h 112"/>
              <a:gd name="T84" fmla="*/ 107 w 121"/>
              <a:gd name="T85" fmla="*/ 52 h 112"/>
              <a:gd name="T86" fmla="*/ 108 w 121"/>
              <a:gd name="T87" fmla="*/ 50 h 112"/>
              <a:gd name="T88" fmla="*/ 108 w 121"/>
              <a:gd name="T89" fmla="*/ 48 h 112"/>
              <a:gd name="T90" fmla="*/ 106 w 121"/>
              <a:gd name="T91" fmla="*/ 45 h 112"/>
              <a:gd name="T92" fmla="*/ 101 w 121"/>
              <a:gd name="T93" fmla="*/ 45 h 112"/>
              <a:gd name="T94" fmla="*/ 98 w 121"/>
              <a:gd name="T95" fmla="*/ 46 h 112"/>
              <a:gd name="T96" fmla="*/ 93 w 121"/>
              <a:gd name="T97" fmla="*/ 46 h 112"/>
              <a:gd name="T98" fmla="*/ 93 w 121"/>
              <a:gd name="T99" fmla="*/ 45 h 112"/>
              <a:gd name="T100" fmla="*/ 93 w 121"/>
              <a:gd name="T101" fmla="*/ 37 h 112"/>
              <a:gd name="T102" fmla="*/ 93 w 121"/>
              <a:gd name="T103" fmla="*/ 23 h 112"/>
              <a:gd name="T104" fmla="*/ 65 w 121"/>
              <a:gd name="T105" fmla="*/ 0 h 112"/>
              <a:gd name="T106" fmla="*/ 60 w 121"/>
              <a:gd name="T107"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1" h="112">
                <a:moveTo>
                  <a:pt x="60" y="0"/>
                </a:moveTo>
                <a:cubicBezTo>
                  <a:pt x="53" y="0"/>
                  <a:pt x="45" y="2"/>
                  <a:pt x="39" y="6"/>
                </a:cubicBezTo>
                <a:cubicBezTo>
                  <a:pt x="35" y="10"/>
                  <a:pt x="31" y="14"/>
                  <a:pt x="29" y="19"/>
                </a:cubicBezTo>
                <a:cubicBezTo>
                  <a:pt x="29" y="19"/>
                  <a:pt x="29" y="19"/>
                  <a:pt x="29" y="19"/>
                </a:cubicBezTo>
                <a:cubicBezTo>
                  <a:pt x="27" y="25"/>
                  <a:pt x="27" y="30"/>
                  <a:pt x="28" y="35"/>
                </a:cubicBezTo>
                <a:cubicBezTo>
                  <a:pt x="28" y="35"/>
                  <a:pt x="28" y="35"/>
                  <a:pt x="28" y="35"/>
                </a:cubicBezTo>
                <a:cubicBezTo>
                  <a:pt x="28" y="39"/>
                  <a:pt x="28" y="43"/>
                  <a:pt x="28" y="46"/>
                </a:cubicBezTo>
                <a:cubicBezTo>
                  <a:pt x="28" y="46"/>
                  <a:pt x="28" y="46"/>
                  <a:pt x="28" y="46"/>
                </a:cubicBezTo>
                <a:cubicBezTo>
                  <a:pt x="26" y="46"/>
                  <a:pt x="24" y="46"/>
                  <a:pt x="23" y="46"/>
                </a:cubicBezTo>
                <a:cubicBezTo>
                  <a:pt x="23" y="46"/>
                  <a:pt x="23" y="46"/>
                  <a:pt x="23" y="46"/>
                </a:cubicBezTo>
                <a:cubicBezTo>
                  <a:pt x="21" y="46"/>
                  <a:pt x="20" y="45"/>
                  <a:pt x="19" y="45"/>
                </a:cubicBezTo>
                <a:cubicBezTo>
                  <a:pt x="19" y="45"/>
                  <a:pt x="19" y="45"/>
                  <a:pt x="19" y="45"/>
                </a:cubicBezTo>
                <a:cubicBezTo>
                  <a:pt x="17" y="45"/>
                  <a:pt x="16" y="45"/>
                  <a:pt x="15" y="46"/>
                </a:cubicBezTo>
                <a:cubicBezTo>
                  <a:pt x="15" y="46"/>
                  <a:pt x="15" y="46"/>
                  <a:pt x="15" y="46"/>
                </a:cubicBezTo>
                <a:cubicBezTo>
                  <a:pt x="15" y="46"/>
                  <a:pt x="15" y="46"/>
                  <a:pt x="15" y="46"/>
                </a:cubicBezTo>
                <a:cubicBezTo>
                  <a:pt x="14" y="46"/>
                  <a:pt x="13" y="47"/>
                  <a:pt x="12" y="49"/>
                </a:cubicBezTo>
                <a:cubicBezTo>
                  <a:pt x="12" y="49"/>
                  <a:pt x="12" y="49"/>
                  <a:pt x="12" y="49"/>
                </a:cubicBezTo>
                <a:cubicBezTo>
                  <a:pt x="13" y="50"/>
                  <a:pt x="13" y="51"/>
                  <a:pt x="14" y="51"/>
                </a:cubicBezTo>
                <a:cubicBezTo>
                  <a:pt x="14" y="52"/>
                  <a:pt x="15" y="52"/>
                  <a:pt x="15" y="52"/>
                </a:cubicBezTo>
                <a:cubicBezTo>
                  <a:pt x="15" y="52"/>
                  <a:pt x="15" y="52"/>
                  <a:pt x="15" y="53"/>
                </a:cubicBezTo>
                <a:cubicBezTo>
                  <a:pt x="18" y="54"/>
                  <a:pt x="21" y="55"/>
                  <a:pt x="23" y="56"/>
                </a:cubicBezTo>
                <a:cubicBezTo>
                  <a:pt x="23" y="56"/>
                  <a:pt x="23" y="56"/>
                  <a:pt x="23" y="56"/>
                </a:cubicBezTo>
                <a:cubicBezTo>
                  <a:pt x="25" y="57"/>
                  <a:pt x="27" y="58"/>
                  <a:pt x="27" y="60"/>
                </a:cubicBezTo>
                <a:cubicBezTo>
                  <a:pt x="27" y="61"/>
                  <a:pt x="27" y="64"/>
                  <a:pt x="26" y="66"/>
                </a:cubicBezTo>
                <a:cubicBezTo>
                  <a:pt x="26" y="66"/>
                  <a:pt x="26" y="66"/>
                  <a:pt x="26" y="66"/>
                </a:cubicBezTo>
                <a:cubicBezTo>
                  <a:pt x="23" y="71"/>
                  <a:pt x="18" y="76"/>
                  <a:pt x="13" y="80"/>
                </a:cubicBezTo>
                <a:cubicBezTo>
                  <a:pt x="11" y="82"/>
                  <a:pt x="7" y="83"/>
                  <a:pt x="4" y="84"/>
                </a:cubicBezTo>
                <a:cubicBezTo>
                  <a:pt x="4" y="84"/>
                  <a:pt x="4" y="84"/>
                  <a:pt x="4" y="84"/>
                </a:cubicBezTo>
                <a:cubicBezTo>
                  <a:pt x="3" y="84"/>
                  <a:pt x="2" y="85"/>
                  <a:pt x="1" y="86"/>
                </a:cubicBezTo>
                <a:cubicBezTo>
                  <a:pt x="1" y="86"/>
                  <a:pt x="1" y="86"/>
                  <a:pt x="1" y="86"/>
                </a:cubicBezTo>
                <a:cubicBezTo>
                  <a:pt x="0" y="87"/>
                  <a:pt x="1" y="88"/>
                  <a:pt x="1" y="89"/>
                </a:cubicBezTo>
                <a:cubicBezTo>
                  <a:pt x="2" y="89"/>
                  <a:pt x="2" y="90"/>
                  <a:pt x="3" y="90"/>
                </a:cubicBezTo>
                <a:cubicBezTo>
                  <a:pt x="3" y="90"/>
                  <a:pt x="3" y="90"/>
                  <a:pt x="3" y="90"/>
                </a:cubicBezTo>
                <a:cubicBezTo>
                  <a:pt x="5" y="92"/>
                  <a:pt x="8" y="92"/>
                  <a:pt x="11" y="93"/>
                </a:cubicBezTo>
                <a:cubicBezTo>
                  <a:pt x="11" y="93"/>
                  <a:pt x="11" y="93"/>
                  <a:pt x="11" y="93"/>
                </a:cubicBezTo>
                <a:cubicBezTo>
                  <a:pt x="13" y="93"/>
                  <a:pt x="15" y="94"/>
                  <a:pt x="16" y="94"/>
                </a:cubicBezTo>
                <a:cubicBezTo>
                  <a:pt x="16" y="94"/>
                  <a:pt x="17" y="95"/>
                  <a:pt x="17" y="96"/>
                </a:cubicBezTo>
                <a:cubicBezTo>
                  <a:pt x="17" y="97"/>
                  <a:pt x="18" y="99"/>
                  <a:pt x="18" y="101"/>
                </a:cubicBezTo>
                <a:cubicBezTo>
                  <a:pt x="18" y="101"/>
                  <a:pt x="19" y="102"/>
                  <a:pt x="19" y="102"/>
                </a:cubicBezTo>
                <a:cubicBezTo>
                  <a:pt x="20" y="102"/>
                  <a:pt x="21" y="102"/>
                  <a:pt x="21" y="102"/>
                </a:cubicBezTo>
                <a:cubicBezTo>
                  <a:pt x="21" y="102"/>
                  <a:pt x="21" y="102"/>
                  <a:pt x="21" y="102"/>
                </a:cubicBezTo>
                <a:cubicBezTo>
                  <a:pt x="26" y="101"/>
                  <a:pt x="30" y="100"/>
                  <a:pt x="35" y="101"/>
                </a:cubicBezTo>
                <a:cubicBezTo>
                  <a:pt x="35" y="101"/>
                  <a:pt x="35" y="101"/>
                  <a:pt x="35" y="101"/>
                </a:cubicBezTo>
                <a:cubicBezTo>
                  <a:pt x="39" y="102"/>
                  <a:pt x="43" y="105"/>
                  <a:pt x="47" y="108"/>
                </a:cubicBezTo>
                <a:cubicBezTo>
                  <a:pt x="47" y="108"/>
                  <a:pt x="47" y="108"/>
                  <a:pt x="47" y="108"/>
                </a:cubicBezTo>
                <a:cubicBezTo>
                  <a:pt x="47" y="108"/>
                  <a:pt x="47" y="108"/>
                  <a:pt x="47" y="108"/>
                </a:cubicBezTo>
                <a:cubicBezTo>
                  <a:pt x="50" y="110"/>
                  <a:pt x="53" y="111"/>
                  <a:pt x="57" y="112"/>
                </a:cubicBezTo>
                <a:cubicBezTo>
                  <a:pt x="57" y="112"/>
                  <a:pt x="57" y="112"/>
                  <a:pt x="57" y="112"/>
                </a:cubicBezTo>
                <a:cubicBezTo>
                  <a:pt x="57" y="112"/>
                  <a:pt x="57" y="112"/>
                  <a:pt x="57" y="112"/>
                </a:cubicBezTo>
                <a:cubicBezTo>
                  <a:pt x="60" y="112"/>
                  <a:pt x="63" y="112"/>
                  <a:pt x="65" y="111"/>
                </a:cubicBezTo>
                <a:cubicBezTo>
                  <a:pt x="65" y="111"/>
                  <a:pt x="65" y="111"/>
                  <a:pt x="65" y="111"/>
                </a:cubicBezTo>
                <a:cubicBezTo>
                  <a:pt x="68" y="111"/>
                  <a:pt x="70" y="110"/>
                  <a:pt x="72" y="109"/>
                </a:cubicBezTo>
                <a:cubicBezTo>
                  <a:pt x="72" y="109"/>
                  <a:pt x="72" y="109"/>
                  <a:pt x="72" y="109"/>
                </a:cubicBezTo>
                <a:cubicBezTo>
                  <a:pt x="77" y="106"/>
                  <a:pt x="81" y="103"/>
                  <a:pt x="85" y="101"/>
                </a:cubicBezTo>
                <a:cubicBezTo>
                  <a:pt x="85" y="101"/>
                  <a:pt x="85" y="101"/>
                  <a:pt x="85" y="101"/>
                </a:cubicBezTo>
                <a:cubicBezTo>
                  <a:pt x="86" y="101"/>
                  <a:pt x="88" y="101"/>
                  <a:pt x="90" y="101"/>
                </a:cubicBezTo>
                <a:cubicBezTo>
                  <a:pt x="90" y="101"/>
                  <a:pt x="90" y="101"/>
                  <a:pt x="90" y="101"/>
                </a:cubicBezTo>
                <a:cubicBezTo>
                  <a:pt x="94" y="101"/>
                  <a:pt x="98" y="101"/>
                  <a:pt x="101" y="101"/>
                </a:cubicBezTo>
                <a:cubicBezTo>
                  <a:pt x="101" y="101"/>
                  <a:pt x="101" y="101"/>
                  <a:pt x="102" y="101"/>
                </a:cubicBezTo>
                <a:cubicBezTo>
                  <a:pt x="102" y="101"/>
                  <a:pt x="103" y="101"/>
                  <a:pt x="103" y="101"/>
                </a:cubicBezTo>
                <a:cubicBezTo>
                  <a:pt x="103" y="100"/>
                  <a:pt x="103" y="100"/>
                  <a:pt x="103" y="100"/>
                </a:cubicBezTo>
                <a:cubicBezTo>
                  <a:pt x="103" y="100"/>
                  <a:pt x="103" y="99"/>
                  <a:pt x="103" y="100"/>
                </a:cubicBezTo>
                <a:cubicBezTo>
                  <a:pt x="103" y="100"/>
                  <a:pt x="103" y="100"/>
                  <a:pt x="103" y="99"/>
                </a:cubicBezTo>
                <a:cubicBezTo>
                  <a:pt x="104" y="97"/>
                  <a:pt x="104" y="95"/>
                  <a:pt x="105" y="94"/>
                </a:cubicBezTo>
                <a:cubicBezTo>
                  <a:pt x="106" y="94"/>
                  <a:pt x="107" y="93"/>
                  <a:pt x="108" y="93"/>
                </a:cubicBezTo>
                <a:cubicBezTo>
                  <a:pt x="108" y="93"/>
                  <a:pt x="108" y="93"/>
                  <a:pt x="108" y="93"/>
                </a:cubicBezTo>
                <a:cubicBezTo>
                  <a:pt x="111" y="93"/>
                  <a:pt x="114" y="92"/>
                  <a:pt x="116" y="91"/>
                </a:cubicBezTo>
                <a:cubicBezTo>
                  <a:pt x="117" y="91"/>
                  <a:pt x="117" y="91"/>
                  <a:pt x="117" y="91"/>
                </a:cubicBezTo>
                <a:cubicBezTo>
                  <a:pt x="118" y="90"/>
                  <a:pt x="119" y="90"/>
                  <a:pt x="120" y="89"/>
                </a:cubicBezTo>
                <a:cubicBezTo>
                  <a:pt x="120" y="89"/>
                  <a:pt x="120" y="89"/>
                  <a:pt x="120" y="89"/>
                </a:cubicBezTo>
                <a:cubicBezTo>
                  <a:pt x="120" y="89"/>
                  <a:pt x="120" y="89"/>
                  <a:pt x="120" y="89"/>
                </a:cubicBezTo>
                <a:cubicBezTo>
                  <a:pt x="121" y="87"/>
                  <a:pt x="121" y="86"/>
                  <a:pt x="119" y="85"/>
                </a:cubicBezTo>
                <a:cubicBezTo>
                  <a:pt x="119" y="85"/>
                  <a:pt x="119" y="85"/>
                  <a:pt x="119" y="85"/>
                </a:cubicBezTo>
                <a:cubicBezTo>
                  <a:pt x="119" y="85"/>
                  <a:pt x="119" y="85"/>
                  <a:pt x="119" y="85"/>
                </a:cubicBezTo>
                <a:cubicBezTo>
                  <a:pt x="119" y="85"/>
                  <a:pt x="119" y="85"/>
                  <a:pt x="119" y="85"/>
                </a:cubicBezTo>
                <a:cubicBezTo>
                  <a:pt x="119" y="85"/>
                  <a:pt x="119" y="85"/>
                  <a:pt x="119" y="85"/>
                </a:cubicBezTo>
                <a:cubicBezTo>
                  <a:pt x="118" y="84"/>
                  <a:pt x="116" y="84"/>
                  <a:pt x="115" y="84"/>
                </a:cubicBezTo>
                <a:cubicBezTo>
                  <a:pt x="115" y="84"/>
                  <a:pt x="115" y="84"/>
                  <a:pt x="115" y="84"/>
                </a:cubicBezTo>
                <a:cubicBezTo>
                  <a:pt x="109" y="82"/>
                  <a:pt x="104" y="77"/>
                  <a:pt x="100" y="72"/>
                </a:cubicBezTo>
                <a:cubicBezTo>
                  <a:pt x="97" y="69"/>
                  <a:pt x="96" y="66"/>
                  <a:pt x="94" y="63"/>
                </a:cubicBezTo>
                <a:cubicBezTo>
                  <a:pt x="94" y="63"/>
                  <a:pt x="94" y="63"/>
                  <a:pt x="94" y="63"/>
                </a:cubicBezTo>
                <a:cubicBezTo>
                  <a:pt x="94" y="61"/>
                  <a:pt x="94" y="60"/>
                  <a:pt x="95" y="59"/>
                </a:cubicBezTo>
                <a:cubicBezTo>
                  <a:pt x="95" y="59"/>
                  <a:pt x="95" y="59"/>
                  <a:pt x="95" y="59"/>
                </a:cubicBezTo>
                <a:cubicBezTo>
                  <a:pt x="96" y="57"/>
                  <a:pt x="98" y="56"/>
                  <a:pt x="100" y="55"/>
                </a:cubicBezTo>
                <a:cubicBezTo>
                  <a:pt x="100" y="55"/>
                  <a:pt x="100" y="55"/>
                  <a:pt x="100" y="55"/>
                </a:cubicBezTo>
                <a:cubicBezTo>
                  <a:pt x="102" y="54"/>
                  <a:pt x="105" y="53"/>
                  <a:pt x="107" y="52"/>
                </a:cubicBezTo>
                <a:cubicBezTo>
                  <a:pt x="107" y="52"/>
                  <a:pt x="107" y="52"/>
                  <a:pt x="107" y="51"/>
                </a:cubicBezTo>
                <a:cubicBezTo>
                  <a:pt x="108" y="51"/>
                  <a:pt x="108" y="51"/>
                  <a:pt x="108" y="50"/>
                </a:cubicBezTo>
                <a:cubicBezTo>
                  <a:pt x="109" y="50"/>
                  <a:pt x="109" y="49"/>
                  <a:pt x="108" y="48"/>
                </a:cubicBezTo>
                <a:cubicBezTo>
                  <a:pt x="108" y="48"/>
                  <a:pt x="108" y="48"/>
                  <a:pt x="108" y="48"/>
                </a:cubicBezTo>
                <a:cubicBezTo>
                  <a:pt x="108" y="46"/>
                  <a:pt x="107" y="46"/>
                  <a:pt x="106" y="45"/>
                </a:cubicBezTo>
                <a:cubicBezTo>
                  <a:pt x="106" y="45"/>
                  <a:pt x="106" y="45"/>
                  <a:pt x="106" y="45"/>
                </a:cubicBezTo>
                <a:cubicBezTo>
                  <a:pt x="104" y="44"/>
                  <a:pt x="103" y="44"/>
                  <a:pt x="101" y="45"/>
                </a:cubicBezTo>
                <a:cubicBezTo>
                  <a:pt x="101" y="45"/>
                  <a:pt x="101" y="45"/>
                  <a:pt x="101" y="45"/>
                </a:cubicBezTo>
                <a:cubicBezTo>
                  <a:pt x="101" y="45"/>
                  <a:pt x="101" y="45"/>
                  <a:pt x="101" y="45"/>
                </a:cubicBezTo>
                <a:cubicBezTo>
                  <a:pt x="100" y="45"/>
                  <a:pt x="99" y="46"/>
                  <a:pt x="98" y="46"/>
                </a:cubicBezTo>
                <a:cubicBezTo>
                  <a:pt x="98" y="46"/>
                  <a:pt x="98" y="46"/>
                  <a:pt x="97" y="46"/>
                </a:cubicBezTo>
                <a:cubicBezTo>
                  <a:pt x="96" y="46"/>
                  <a:pt x="94" y="46"/>
                  <a:pt x="93" y="46"/>
                </a:cubicBezTo>
                <a:cubicBezTo>
                  <a:pt x="93" y="46"/>
                  <a:pt x="93" y="45"/>
                  <a:pt x="93" y="45"/>
                </a:cubicBezTo>
                <a:cubicBezTo>
                  <a:pt x="93" y="45"/>
                  <a:pt x="93" y="45"/>
                  <a:pt x="93" y="45"/>
                </a:cubicBezTo>
                <a:cubicBezTo>
                  <a:pt x="93" y="42"/>
                  <a:pt x="93" y="40"/>
                  <a:pt x="93" y="37"/>
                </a:cubicBezTo>
                <a:cubicBezTo>
                  <a:pt x="93" y="37"/>
                  <a:pt x="93" y="37"/>
                  <a:pt x="93" y="37"/>
                </a:cubicBezTo>
                <a:cubicBezTo>
                  <a:pt x="93" y="32"/>
                  <a:pt x="94" y="28"/>
                  <a:pt x="93" y="24"/>
                </a:cubicBezTo>
                <a:cubicBezTo>
                  <a:pt x="93" y="24"/>
                  <a:pt x="93" y="24"/>
                  <a:pt x="93" y="23"/>
                </a:cubicBezTo>
                <a:cubicBezTo>
                  <a:pt x="91" y="16"/>
                  <a:pt x="87" y="9"/>
                  <a:pt x="81" y="5"/>
                </a:cubicBezTo>
                <a:cubicBezTo>
                  <a:pt x="76" y="2"/>
                  <a:pt x="71" y="0"/>
                  <a:pt x="65" y="0"/>
                </a:cubicBezTo>
                <a:cubicBezTo>
                  <a:pt x="65" y="0"/>
                  <a:pt x="65" y="0"/>
                  <a:pt x="65" y="0"/>
                </a:cubicBezTo>
                <a:cubicBezTo>
                  <a:pt x="64" y="0"/>
                  <a:pt x="62" y="0"/>
                  <a:pt x="60"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3" name="Freeform 292"/>
          <p:cNvSpPr>
            <a:spLocks noEditPoints="1"/>
          </p:cNvSpPr>
          <p:nvPr/>
        </p:nvSpPr>
        <p:spPr bwMode="auto">
          <a:xfrm>
            <a:off x="5417007" y="2881154"/>
            <a:ext cx="132879" cy="68143"/>
          </a:xfrm>
          <a:custGeom>
            <a:avLst/>
            <a:gdLst>
              <a:gd name="T0" fmla="*/ 50 w 66"/>
              <a:gd name="T1" fmla="*/ 10 h 34"/>
              <a:gd name="T2" fmla="*/ 51 w 66"/>
              <a:gd name="T3" fmla="*/ 9 h 34"/>
              <a:gd name="T4" fmla="*/ 52 w 66"/>
              <a:gd name="T5" fmla="*/ 7 h 34"/>
              <a:gd name="T6" fmla="*/ 55 w 66"/>
              <a:gd name="T7" fmla="*/ 2 h 34"/>
              <a:gd name="T8" fmla="*/ 55 w 66"/>
              <a:gd name="T9" fmla="*/ 1 h 34"/>
              <a:gd name="T10" fmla="*/ 53 w 66"/>
              <a:gd name="T11" fmla="*/ 1 h 34"/>
              <a:gd name="T12" fmla="*/ 50 w 66"/>
              <a:gd name="T13" fmla="*/ 6 h 34"/>
              <a:gd name="T14" fmla="*/ 49 w 66"/>
              <a:gd name="T15" fmla="*/ 8 h 34"/>
              <a:gd name="T16" fmla="*/ 47 w 66"/>
              <a:gd name="T17" fmla="*/ 10 h 34"/>
              <a:gd name="T18" fmla="*/ 33 w 66"/>
              <a:gd name="T19" fmla="*/ 7 h 34"/>
              <a:gd name="T20" fmla="*/ 19 w 66"/>
              <a:gd name="T21" fmla="*/ 10 h 34"/>
              <a:gd name="T22" fmla="*/ 18 w 66"/>
              <a:gd name="T23" fmla="*/ 8 h 34"/>
              <a:gd name="T24" fmla="*/ 17 w 66"/>
              <a:gd name="T25" fmla="*/ 6 h 34"/>
              <a:gd name="T26" fmla="*/ 13 w 66"/>
              <a:gd name="T27" fmla="*/ 1 h 34"/>
              <a:gd name="T28" fmla="*/ 12 w 66"/>
              <a:gd name="T29" fmla="*/ 1 h 34"/>
              <a:gd name="T30" fmla="*/ 12 w 66"/>
              <a:gd name="T31" fmla="*/ 2 h 34"/>
              <a:gd name="T32" fmla="*/ 14 w 66"/>
              <a:gd name="T33" fmla="*/ 7 h 34"/>
              <a:gd name="T34" fmla="*/ 16 w 66"/>
              <a:gd name="T35" fmla="*/ 9 h 34"/>
              <a:gd name="T36" fmla="*/ 17 w 66"/>
              <a:gd name="T37" fmla="*/ 10 h 34"/>
              <a:gd name="T38" fmla="*/ 0 w 66"/>
              <a:gd name="T39" fmla="*/ 34 h 34"/>
              <a:gd name="T40" fmla="*/ 66 w 66"/>
              <a:gd name="T41" fmla="*/ 34 h 34"/>
              <a:gd name="T42" fmla="*/ 50 w 66"/>
              <a:gd name="T43" fmla="*/ 10 h 34"/>
              <a:gd name="T44" fmla="*/ 19 w 66"/>
              <a:gd name="T45" fmla="*/ 24 h 34"/>
              <a:gd name="T46" fmla="*/ 16 w 66"/>
              <a:gd name="T47" fmla="*/ 21 h 34"/>
              <a:gd name="T48" fmla="*/ 19 w 66"/>
              <a:gd name="T49" fmla="*/ 17 h 34"/>
              <a:gd name="T50" fmla="*/ 23 w 66"/>
              <a:gd name="T51" fmla="*/ 21 h 34"/>
              <a:gd name="T52" fmla="*/ 19 w 66"/>
              <a:gd name="T53" fmla="*/ 24 h 34"/>
              <a:gd name="T54" fmla="*/ 48 w 66"/>
              <a:gd name="T55" fmla="*/ 24 h 34"/>
              <a:gd name="T56" fmla="*/ 44 w 66"/>
              <a:gd name="T57" fmla="*/ 21 h 34"/>
              <a:gd name="T58" fmla="*/ 48 w 66"/>
              <a:gd name="T59" fmla="*/ 17 h 34"/>
              <a:gd name="T60" fmla="*/ 51 w 66"/>
              <a:gd name="T61" fmla="*/ 21 h 34"/>
              <a:gd name="T62" fmla="*/ 48 w 66"/>
              <a:gd name="T63" fmla="*/ 2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 h="34">
                <a:moveTo>
                  <a:pt x="50" y="10"/>
                </a:moveTo>
                <a:cubicBezTo>
                  <a:pt x="51" y="9"/>
                  <a:pt x="51" y="9"/>
                  <a:pt x="51" y="9"/>
                </a:cubicBezTo>
                <a:cubicBezTo>
                  <a:pt x="52" y="7"/>
                  <a:pt x="52" y="7"/>
                  <a:pt x="52" y="7"/>
                </a:cubicBezTo>
                <a:cubicBezTo>
                  <a:pt x="55" y="2"/>
                  <a:pt x="55" y="2"/>
                  <a:pt x="55" y="2"/>
                </a:cubicBezTo>
                <a:cubicBezTo>
                  <a:pt x="56" y="2"/>
                  <a:pt x="55" y="1"/>
                  <a:pt x="55" y="1"/>
                </a:cubicBezTo>
                <a:cubicBezTo>
                  <a:pt x="54" y="0"/>
                  <a:pt x="54" y="0"/>
                  <a:pt x="53" y="1"/>
                </a:cubicBezTo>
                <a:cubicBezTo>
                  <a:pt x="50" y="6"/>
                  <a:pt x="50" y="6"/>
                  <a:pt x="50" y="6"/>
                </a:cubicBezTo>
                <a:cubicBezTo>
                  <a:pt x="49" y="8"/>
                  <a:pt x="49" y="8"/>
                  <a:pt x="49" y="8"/>
                </a:cubicBezTo>
                <a:cubicBezTo>
                  <a:pt x="47" y="10"/>
                  <a:pt x="47" y="10"/>
                  <a:pt x="47" y="10"/>
                </a:cubicBezTo>
                <a:cubicBezTo>
                  <a:pt x="43" y="8"/>
                  <a:pt x="38" y="7"/>
                  <a:pt x="33" y="7"/>
                </a:cubicBezTo>
                <a:cubicBezTo>
                  <a:pt x="28" y="7"/>
                  <a:pt x="24" y="8"/>
                  <a:pt x="19" y="10"/>
                </a:cubicBezTo>
                <a:cubicBezTo>
                  <a:pt x="18" y="8"/>
                  <a:pt x="18" y="8"/>
                  <a:pt x="18" y="8"/>
                </a:cubicBezTo>
                <a:cubicBezTo>
                  <a:pt x="17" y="6"/>
                  <a:pt x="17" y="6"/>
                  <a:pt x="17" y="6"/>
                </a:cubicBezTo>
                <a:cubicBezTo>
                  <a:pt x="13" y="1"/>
                  <a:pt x="13" y="1"/>
                  <a:pt x="13" y="1"/>
                </a:cubicBezTo>
                <a:cubicBezTo>
                  <a:pt x="13" y="0"/>
                  <a:pt x="12" y="0"/>
                  <a:pt x="12" y="1"/>
                </a:cubicBezTo>
                <a:cubicBezTo>
                  <a:pt x="11" y="1"/>
                  <a:pt x="11" y="2"/>
                  <a:pt x="12" y="2"/>
                </a:cubicBezTo>
                <a:cubicBezTo>
                  <a:pt x="14" y="7"/>
                  <a:pt x="14" y="7"/>
                  <a:pt x="14" y="7"/>
                </a:cubicBezTo>
                <a:cubicBezTo>
                  <a:pt x="16" y="9"/>
                  <a:pt x="16" y="9"/>
                  <a:pt x="16" y="9"/>
                </a:cubicBezTo>
                <a:cubicBezTo>
                  <a:pt x="17" y="10"/>
                  <a:pt x="17" y="10"/>
                  <a:pt x="17" y="10"/>
                </a:cubicBezTo>
                <a:cubicBezTo>
                  <a:pt x="7" y="15"/>
                  <a:pt x="0" y="24"/>
                  <a:pt x="0" y="34"/>
                </a:cubicBezTo>
                <a:cubicBezTo>
                  <a:pt x="66" y="34"/>
                  <a:pt x="66" y="34"/>
                  <a:pt x="66" y="34"/>
                </a:cubicBezTo>
                <a:cubicBezTo>
                  <a:pt x="66" y="24"/>
                  <a:pt x="60" y="15"/>
                  <a:pt x="50" y="10"/>
                </a:cubicBezTo>
                <a:close/>
                <a:moveTo>
                  <a:pt x="19" y="24"/>
                </a:moveTo>
                <a:cubicBezTo>
                  <a:pt x="17" y="24"/>
                  <a:pt x="16" y="23"/>
                  <a:pt x="16" y="21"/>
                </a:cubicBezTo>
                <a:cubicBezTo>
                  <a:pt x="16" y="19"/>
                  <a:pt x="17" y="17"/>
                  <a:pt x="19" y="17"/>
                </a:cubicBezTo>
                <a:cubicBezTo>
                  <a:pt x="21" y="17"/>
                  <a:pt x="23" y="19"/>
                  <a:pt x="23" y="21"/>
                </a:cubicBezTo>
                <a:cubicBezTo>
                  <a:pt x="23" y="23"/>
                  <a:pt x="21" y="24"/>
                  <a:pt x="19" y="24"/>
                </a:cubicBezTo>
                <a:close/>
                <a:moveTo>
                  <a:pt x="48" y="24"/>
                </a:moveTo>
                <a:cubicBezTo>
                  <a:pt x="46" y="24"/>
                  <a:pt x="44" y="23"/>
                  <a:pt x="44" y="21"/>
                </a:cubicBezTo>
                <a:cubicBezTo>
                  <a:pt x="44" y="19"/>
                  <a:pt x="46" y="17"/>
                  <a:pt x="48" y="17"/>
                </a:cubicBezTo>
                <a:cubicBezTo>
                  <a:pt x="50" y="17"/>
                  <a:pt x="51" y="19"/>
                  <a:pt x="51" y="21"/>
                </a:cubicBezTo>
                <a:cubicBezTo>
                  <a:pt x="51" y="23"/>
                  <a:pt x="50" y="24"/>
                  <a:pt x="48" y="2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4" name="Freeform 293"/>
          <p:cNvSpPr>
            <a:spLocks/>
          </p:cNvSpPr>
          <p:nvPr/>
        </p:nvSpPr>
        <p:spPr bwMode="auto">
          <a:xfrm>
            <a:off x="5417007" y="2957815"/>
            <a:ext cx="132879" cy="165247"/>
          </a:xfrm>
          <a:custGeom>
            <a:avLst/>
            <a:gdLst>
              <a:gd name="T0" fmla="*/ 66 w 66"/>
              <a:gd name="T1" fmla="*/ 51 h 82"/>
              <a:gd name="T2" fmla="*/ 66 w 66"/>
              <a:gd name="T3" fmla="*/ 11 h 82"/>
              <a:gd name="T4" fmla="*/ 66 w 66"/>
              <a:gd name="T5" fmla="*/ 6 h 82"/>
              <a:gd name="T6" fmla="*/ 66 w 66"/>
              <a:gd name="T7" fmla="*/ 0 h 82"/>
              <a:gd name="T8" fmla="*/ 66 w 66"/>
              <a:gd name="T9" fmla="*/ 0 h 82"/>
              <a:gd name="T10" fmla="*/ 1 w 66"/>
              <a:gd name="T11" fmla="*/ 0 h 82"/>
              <a:gd name="T12" fmla="*/ 0 w 66"/>
              <a:gd name="T13" fmla="*/ 0 h 82"/>
              <a:gd name="T14" fmla="*/ 0 w 66"/>
              <a:gd name="T15" fmla="*/ 6 h 82"/>
              <a:gd name="T16" fmla="*/ 0 w 66"/>
              <a:gd name="T17" fmla="*/ 11 h 82"/>
              <a:gd name="T18" fmla="*/ 0 w 66"/>
              <a:gd name="T19" fmla="*/ 51 h 82"/>
              <a:gd name="T20" fmla="*/ 8 w 66"/>
              <a:gd name="T21" fmla="*/ 59 h 82"/>
              <a:gd name="T22" fmla="*/ 13 w 66"/>
              <a:gd name="T23" fmla="*/ 59 h 82"/>
              <a:gd name="T24" fmla="*/ 13 w 66"/>
              <a:gd name="T25" fmla="*/ 61 h 82"/>
              <a:gd name="T26" fmla="*/ 13 w 66"/>
              <a:gd name="T27" fmla="*/ 61 h 82"/>
              <a:gd name="T28" fmla="*/ 13 w 66"/>
              <a:gd name="T29" fmla="*/ 63 h 82"/>
              <a:gd name="T30" fmla="*/ 13 w 66"/>
              <a:gd name="T31" fmla="*/ 75 h 82"/>
              <a:gd name="T32" fmla="*/ 20 w 66"/>
              <a:gd name="T33" fmla="*/ 82 h 82"/>
              <a:gd name="T34" fmla="*/ 27 w 66"/>
              <a:gd name="T35" fmla="*/ 75 h 82"/>
              <a:gd name="T36" fmla="*/ 27 w 66"/>
              <a:gd name="T37" fmla="*/ 63 h 82"/>
              <a:gd name="T38" fmla="*/ 27 w 66"/>
              <a:gd name="T39" fmla="*/ 61 h 82"/>
              <a:gd name="T40" fmla="*/ 27 w 66"/>
              <a:gd name="T41" fmla="*/ 61 h 82"/>
              <a:gd name="T42" fmla="*/ 27 w 66"/>
              <a:gd name="T43" fmla="*/ 59 h 82"/>
              <a:gd name="T44" fmla="*/ 40 w 66"/>
              <a:gd name="T45" fmla="*/ 59 h 82"/>
              <a:gd name="T46" fmla="*/ 40 w 66"/>
              <a:gd name="T47" fmla="*/ 61 h 82"/>
              <a:gd name="T48" fmla="*/ 40 w 66"/>
              <a:gd name="T49" fmla="*/ 61 h 82"/>
              <a:gd name="T50" fmla="*/ 40 w 66"/>
              <a:gd name="T51" fmla="*/ 63 h 82"/>
              <a:gd name="T52" fmla="*/ 40 w 66"/>
              <a:gd name="T53" fmla="*/ 75 h 82"/>
              <a:gd name="T54" fmla="*/ 47 w 66"/>
              <a:gd name="T55" fmla="*/ 82 h 82"/>
              <a:gd name="T56" fmla="*/ 54 w 66"/>
              <a:gd name="T57" fmla="*/ 75 h 82"/>
              <a:gd name="T58" fmla="*/ 54 w 66"/>
              <a:gd name="T59" fmla="*/ 63 h 82"/>
              <a:gd name="T60" fmla="*/ 54 w 66"/>
              <a:gd name="T61" fmla="*/ 61 h 82"/>
              <a:gd name="T62" fmla="*/ 54 w 66"/>
              <a:gd name="T63" fmla="*/ 61 h 82"/>
              <a:gd name="T64" fmla="*/ 54 w 66"/>
              <a:gd name="T65" fmla="*/ 59 h 82"/>
              <a:gd name="T66" fmla="*/ 59 w 66"/>
              <a:gd name="T67" fmla="*/ 59 h 82"/>
              <a:gd name="T68" fmla="*/ 66 w 66"/>
              <a:gd name="T69" fmla="*/ 5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82">
                <a:moveTo>
                  <a:pt x="66" y="51"/>
                </a:moveTo>
                <a:cubicBezTo>
                  <a:pt x="66" y="11"/>
                  <a:pt x="66" y="11"/>
                  <a:pt x="66" y="11"/>
                </a:cubicBezTo>
                <a:cubicBezTo>
                  <a:pt x="66" y="6"/>
                  <a:pt x="66" y="6"/>
                  <a:pt x="66" y="6"/>
                </a:cubicBezTo>
                <a:cubicBezTo>
                  <a:pt x="66" y="0"/>
                  <a:pt x="66" y="0"/>
                  <a:pt x="66" y="0"/>
                </a:cubicBezTo>
                <a:cubicBezTo>
                  <a:pt x="66" y="0"/>
                  <a:pt x="66" y="0"/>
                  <a:pt x="66" y="0"/>
                </a:cubicBezTo>
                <a:cubicBezTo>
                  <a:pt x="1" y="0"/>
                  <a:pt x="1" y="0"/>
                  <a:pt x="1" y="0"/>
                </a:cubicBezTo>
                <a:cubicBezTo>
                  <a:pt x="0" y="0"/>
                  <a:pt x="0" y="0"/>
                  <a:pt x="0" y="0"/>
                </a:cubicBezTo>
                <a:cubicBezTo>
                  <a:pt x="0" y="6"/>
                  <a:pt x="0" y="6"/>
                  <a:pt x="0" y="6"/>
                </a:cubicBezTo>
                <a:cubicBezTo>
                  <a:pt x="0" y="11"/>
                  <a:pt x="0" y="11"/>
                  <a:pt x="0" y="11"/>
                </a:cubicBezTo>
                <a:cubicBezTo>
                  <a:pt x="0" y="51"/>
                  <a:pt x="0" y="51"/>
                  <a:pt x="0" y="51"/>
                </a:cubicBezTo>
                <a:cubicBezTo>
                  <a:pt x="0" y="56"/>
                  <a:pt x="4" y="59"/>
                  <a:pt x="8" y="59"/>
                </a:cubicBezTo>
                <a:cubicBezTo>
                  <a:pt x="13" y="59"/>
                  <a:pt x="13" y="59"/>
                  <a:pt x="13" y="59"/>
                </a:cubicBezTo>
                <a:cubicBezTo>
                  <a:pt x="13" y="59"/>
                  <a:pt x="13" y="60"/>
                  <a:pt x="13" y="61"/>
                </a:cubicBezTo>
                <a:cubicBezTo>
                  <a:pt x="13" y="61"/>
                  <a:pt x="13" y="61"/>
                  <a:pt x="13" y="61"/>
                </a:cubicBezTo>
                <a:cubicBezTo>
                  <a:pt x="13" y="63"/>
                  <a:pt x="13" y="63"/>
                  <a:pt x="13" y="63"/>
                </a:cubicBezTo>
                <a:cubicBezTo>
                  <a:pt x="13" y="75"/>
                  <a:pt x="13" y="75"/>
                  <a:pt x="13" y="75"/>
                </a:cubicBezTo>
                <a:cubicBezTo>
                  <a:pt x="13" y="79"/>
                  <a:pt x="16" y="82"/>
                  <a:pt x="20" y="82"/>
                </a:cubicBezTo>
                <a:cubicBezTo>
                  <a:pt x="24" y="82"/>
                  <a:pt x="27" y="79"/>
                  <a:pt x="27" y="75"/>
                </a:cubicBezTo>
                <a:cubicBezTo>
                  <a:pt x="27" y="63"/>
                  <a:pt x="27" y="63"/>
                  <a:pt x="27" y="63"/>
                </a:cubicBezTo>
                <a:cubicBezTo>
                  <a:pt x="27" y="61"/>
                  <a:pt x="27" y="61"/>
                  <a:pt x="27" y="61"/>
                </a:cubicBezTo>
                <a:cubicBezTo>
                  <a:pt x="27" y="61"/>
                  <a:pt x="27" y="61"/>
                  <a:pt x="27" y="61"/>
                </a:cubicBezTo>
                <a:cubicBezTo>
                  <a:pt x="27" y="60"/>
                  <a:pt x="27" y="59"/>
                  <a:pt x="27" y="59"/>
                </a:cubicBezTo>
                <a:cubicBezTo>
                  <a:pt x="40" y="59"/>
                  <a:pt x="40" y="59"/>
                  <a:pt x="40" y="59"/>
                </a:cubicBezTo>
                <a:cubicBezTo>
                  <a:pt x="40" y="59"/>
                  <a:pt x="40" y="60"/>
                  <a:pt x="40" y="61"/>
                </a:cubicBezTo>
                <a:cubicBezTo>
                  <a:pt x="40" y="61"/>
                  <a:pt x="40" y="61"/>
                  <a:pt x="40" y="61"/>
                </a:cubicBezTo>
                <a:cubicBezTo>
                  <a:pt x="40" y="63"/>
                  <a:pt x="40" y="63"/>
                  <a:pt x="40" y="63"/>
                </a:cubicBezTo>
                <a:cubicBezTo>
                  <a:pt x="40" y="75"/>
                  <a:pt x="40" y="75"/>
                  <a:pt x="40" y="75"/>
                </a:cubicBezTo>
                <a:cubicBezTo>
                  <a:pt x="40" y="79"/>
                  <a:pt x="43" y="82"/>
                  <a:pt x="47" y="82"/>
                </a:cubicBezTo>
                <a:cubicBezTo>
                  <a:pt x="51" y="82"/>
                  <a:pt x="54" y="79"/>
                  <a:pt x="54" y="75"/>
                </a:cubicBezTo>
                <a:cubicBezTo>
                  <a:pt x="54" y="63"/>
                  <a:pt x="54" y="63"/>
                  <a:pt x="54" y="63"/>
                </a:cubicBezTo>
                <a:cubicBezTo>
                  <a:pt x="54" y="61"/>
                  <a:pt x="54" y="61"/>
                  <a:pt x="54" y="61"/>
                </a:cubicBezTo>
                <a:cubicBezTo>
                  <a:pt x="54" y="61"/>
                  <a:pt x="54" y="61"/>
                  <a:pt x="54" y="61"/>
                </a:cubicBezTo>
                <a:cubicBezTo>
                  <a:pt x="54" y="60"/>
                  <a:pt x="54" y="59"/>
                  <a:pt x="54" y="59"/>
                </a:cubicBezTo>
                <a:cubicBezTo>
                  <a:pt x="59" y="59"/>
                  <a:pt x="59" y="59"/>
                  <a:pt x="59" y="59"/>
                </a:cubicBezTo>
                <a:cubicBezTo>
                  <a:pt x="63" y="59"/>
                  <a:pt x="66" y="56"/>
                  <a:pt x="66"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5" name="Freeform 294"/>
          <p:cNvSpPr>
            <a:spLocks/>
          </p:cNvSpPr>
          <p:nvPr/>
        </p:nvSpPr>
        <p:spPr bwMode="auto">
          <a:xfrm>
            <a:off x="5378676" y="2957814"/>
            <a:ext cx="29813" cy="88586"/>
          </a:xfrm>
          <a:custGeom>
            <a:avLst/>
            <a:gdLst>
              <a:gd name="T0" fmla="*/ 0 w 15"/>
              <a:gd name="T1" fmla="*/ 7 h 44"/>
              <a:gd name="T2" fmla="*/ 0 w 15"/>
              <a:gd name="T3" fmla="*/ 37 h 44"/>
              <a:gd name="T4" fmla="*/ 7 w 15"/>
              <a:gd name="T5" fmla="*/ 44 h 44"/>
              <a:gd name="T6" fmla="*/ 15 w 15"/>
              <a:gd name="T7" fmla="*/ 37 h 44"/>
              <a:gd name="T8" fmla="*/ 15 w 15"/>
              <a:gd name="T9" fmla="*/ 7 h 44"/>
              <a:gd name="T10" fmla="*/ 7 w 15"/>
              <a:gd name="T11" fmla="*/ 0 h 44"/>
              <a:gd name="T12" fmla="*/ 0 w 15"/>
              <a:gd name="T13" fmla="*/ 7 h 44"/>
            </a:gdLst>
            <a:ahLst/>
            <a:cxnLst>
              <a:cxn ang="0">
                <a:pos x="T0" y="T1"/>
              </a:cxn>
              <a:cxn ang="0">
                <a:pos x="T2" y="T3"/>
              </a:cxn>
              <a:cxn ang="0">
                <a:pos x="T4" y="T5"/>
              </a:cxn>
              <a:cxn ang="0">
                <a:pos x="T6" y="T7"/>
              </a:cxn>
              <a:cxn ang="0">
                <a:pos x="T8" y="T9"/>
              </a:cxn>
              <a:cxn ang="0">
                <a:pos x="T10" y="T11"/>
              </a:cxn>
              <a:cxn ang="0">
                <a:pos x="T12" y="T13"/>
              </a:cxn>
            </a:cxnLst>
            <a:rect l="0" t="0" r="r" b="b"/>
            <a:pathLst>
              <a:path w="15" h="44">
                <a:moveTo>
                  <a:pt x="0" y="7"/>
                </a:moveTo>
                <a:cubicBezTo>
                  <a:pt x="0" y="37"/>
                  <a:pt x="0" y="37"/>
                  <a:pt x="0" y="37"/>
                </a:cubicBezTo>
                <a:cubicBezTo>
                  <a:pt x="0" y="41"/>
                  <a:pt x="4" y="44"/>
                  <a:pt x="7" y="44"/>
                </a:cubicBezTo>
                <a:cubicBezTo>
                  <a:pt x="11" y="44"/>
                  <a:pt x="15" y="41"/>
                  <a:pt x="15" y="37"/>
                </a:cubicBezTo>
                <a:cubicBezTo>
                  <a:pt x="15" y="7"/>
                  <a:pt x="15" y="7"/>
                  <a:pt x="15" y="7"/>
                </a:cubicBezTo>
                <a:cubicBezTo>
                  <a:pt x="15" y="3"/>
                  <a:pt x="11" y="0"/>
                  <a:pt x="7" y="0"/>
                </a:cubicBezTo>
                <a:cubicBezTo>
                  <a:pt x="4" y="0"/>
                  <a:pt x="0"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6" name="Freeform 295"/>
          <p:cNvSpPr>
            <a:spLocks/>
          </p:cNvSpPr>
          <p:nvPr/>
        </p:nvSpPr>
        <p:spPr bwMode="auto">
          <a:xfrm>
            <a:off x="5560108" y="2957814"/>
            <a:ext cx="28109" cy="88586"/>
          </a:xfrm>
          <a:custGeom>
            <a:avLst/>
            <a:gdLst>
              <a:gd name="T0" fmla="*/ 0 w 14"/>
              <a:gd name="T1" fmla="*/ 7 h 44"/>
              <a:gd name="T2" fmla="*/ 0 w 14"/>
              <a:gd name="T3" fmla="*/ 37 h 44"/>
              <a:gd name="T4" fmla="*/ 7 w 14"/>
              <a:gd name="T5" fmla="*/ 44 h 44"/>
              <a:gd name="T6" fmla="*/ 14 w 14"/>
              <a:gd name="T7" fmla="*/ 37 h 44"/>
              <a:gd name="T8" fmla="*/ 14 w 14"/>
              <a:gd name="T9" fmla="*/ 7 h 44"/>
              <a:gd name="T10" fmla="*/ 7 w 14"/>
              <a:gd name="T11" fmla="*/ 0 h 44"/>
              <a:gd name="T12" fmla="*/ 0 w 14"/>
              <a:gd name="T13" fmla="*/ 7 h 44"/>
            </a:gdLst>
            <a:ahLst/>
            <a:cxnLst>
              <a:cxn ang="0">
                <a:pos x="T0" y="T1"/>
              </a:cxn>
              <a:cxn ang="0">
                <a:pos x="T2" y="T3"/>
              </a:cxn>
              <a:cxn ang="0">
                <a:pos x="T4" y="T5"/>
              </a:cxn>
              <a:cxn ang="0">
                <a:pos x="T6" y="T7"/>
              </a:cxn>
              <a:cxn ang="0">
                <a:pos x="T8" y="T9"/>
              </a:cxn>
              <a:cxn ang="0">
                <a:pos x="T10" y="T11"/>
              </a:cxn>
              <a:cxn ang="0">
                <a:pos x="T12" y="T13"/>
              </a:cxn>
            </a:cxnLst>
            <a:rect l="0" t="0" r="r" b="b"/>
            <a:pathLst>
              <a:path w="14" h="44">
                <a:moveTo>
                  <a:pt x="0" y="7"/>
                </a:moveTo>
                <a:cubicBezTo>
                  <a:pt x="0" y="37"/>
                  <a:pt x="0" y="37"/>
                  <a:pt x="0" y="37"/>
                </a:cubicBezTo>
                <a:cubicBezTo>
                  <a:pt x="0" y="41"/>
                  <a:pt x="3" y="44"/>
                  <a:pt x="7" y="44"/>
                </a:cubicBezTo>
                <a:cubicBezTo>
                  <a:pt x="11" y="44"/>
                  <a:pt x="14" y="41"/>
                  <a:pt x="14" y="37"/>
                </a:cubicBezTo>
                <a:cubicBezTo>
                  <a:pt x="14" y="7"/>
                  <a:pt x="14" y="7"/>
                  <a:pt x="14" y="7"/>
                </a:cubicBezTo>
                <a:cubicBezTo>
                  <a:pt x="14" y="3"/>
                  <a:pt x="11" y="0"/>
                  <a:pt x="7" y="0"/>
                </a:cubicBezTo>
                <a:cubicBezTo>
                  <a:pt x="3" y="0"/>
                  <a:pt x="0" y="3"/>
                  <a:pt x="0" y="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7" name="Freeform 296"/>
          <p:cNvSpPr>
            <a:spLocks noEditPoints="1"/>
          </p:cNvSpPr>
          <p:nvPr/>
        </p:nvSpPr>
        <p:spPr bwMode="auto">
          <a:xfrm>
            <a:off x="4897416" y="2891375"/>
            <a:ext cx="213799" cy="241908"/>
          </a:xfrm>
          <a:custGeom>
            <a:avLst/>
            <a:gdLst>
              <a:gd name="T0" fmla="*/ 24 w 106"/>
              <a:gd name="T1" fmla="*/ 0 h 120"/>
              <a:gd name="T2" fmla="*/ 18 w 106"/>
              <a:gd name="T3" fmla="*/ 5 h 120"/>
              <a:gd name="T4" fmla="*/ 1 w 106"/>
              <a:gd name="T5" fmla="*/ 116 h 120"/>
              <a:gd name="T6" fmla="*/ 4 w 106"/>
              <a:gd name="T7" fmla="*/ 120 h 120"/>
              <a:gd name="T8" fmla="*/ 25 w 106"/>
              <a:gd name="T9" fmla="*/ 120 h 120"/>
              <a:gd name="T10" fmla="*/ 31 w 106"/>
              <a:gd name="T11" fmla="*/ 115 h 120"/>
              <a:gd name="T12" fmla="*/ 36 w 106"/>
              <a:gd name="T13" fmla="*/ 85 h 120"/>
              <a:gd name="T14" fmla="*/ 41 w 106"/>
              <a:gd name="T15" fmla="*/ 80 h 120"/>
              <a:gd name="T16" fmla="*/ 55 w 106"/>
              <a:gd name="T17" fmla="*/ 80 h 120"/>
              <a:gd name="T18" fmla="*/ 104 w 106"/>
              <a:gd name="T19" fmla="*/ 39 h 120"/>
              <a:gd name="T20" fmla="*/ 99 w 106"/>
              <a:gd name="T21" fmla="*/ 11 h 120"/>
              <a:gd name="T22" fmla="*/ 67 w 106"/>
              <a:gd name="T23" fmla="*/ 0 h 120"/>
              <a:gd name="T24" fmla="*/ 24 w 106"/>
              <a:gd name="T25" fmla="*/ 0 h 120"/>
              <a:gd name="T26" fmla="*/ 72 w 106"/>
              <a:gd name="T27" fmla="*/ 40 h 120"/>
              <a:gd name="T28" fmla="*/ 47 w 106"/>
              <a:gd name="T29" fmla="*/ 56 h 120"/>
              <a:gd name="T30" fmla="*/ 40 w 106"/>
              <a:gd name="T31" fmla="*/ 56 h 120"/>
              <a:gd name="T32" fmla="*/ 45 w 106"/>
              <a:gd name="T33" fmla="*/ 27 h 120"/>
              <a:gd name="T34" fmla="*/ 48 w 106"/>
              <a:gd name="T35" fmla="*/ 24 h 120"/>
              <a:gd name="T36" fmla="*/ 51 w 106"/>
              <a:gd name="T37" fmla="*/ 24 h 120"/>
              <a:gd name="T38" fmla="*/ 70 w 106"/>
              <a:gd name="T39" fmla="*/ 28 h 120"/>
              <a:gd name="T40" fmla="*/ 72 w 106"/>
              <a:gd name="T41"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120">
                <a:moveTo>
                  <a:pt x="24" y="0"/>
                </a:moveTo>
                <a:cubicBezTo>
                  <a:pt x="21" y="0"/>
                  <a:pt x="19" y="2"/>
                  <a:pt x="18" y="5"/>
                </a:cubicBezTo>
                <a:cubicBezTo>
                  <a:pt x="1" y="116"/>
                  <a:pt x="1" y="116"/>
                  <a:pt x="1" y="116"/>
                </a:cubicBezTo>
                <a:cubicBezTo>
                  <a:pt x="0" y="118"/>
                  <a:pt x="2" y="120"/>
                  <a:pt x="4" y="120"/>
                </a:cubicBezTo>
                <a:cubicBezTo>
                  <a:pt x="25" y="120"/>
                  <a:pt x="25" y="120"/>
                  <a:pt x="25" y="120"/>
                </a:cubicBezTo>
                <a:cubicBezTo>
                  <a:pt x="28" y="120"/>
                  <a:pt x="30" y="118"/>
                  <a:pt x="31" y="115"/>
                </a:cubicBezTo>
                <a:cubicBezTo>
                  <a:pt x="36" y="85"/>
                  <a:pt x="36" y="85"/>
                  <a:pt x="36" y="85"/>
                </a:cubicBezTo>
                <a:cubicBezTo>
                  <a:pt x="36" y="82"/>
                  <a:pt x="38" y="80"/>
                  <a:pt x="41" y="80"/>
                </a:cubicBezTo>
                <a:cubicBezTo>
                  <a:pt x="55" y="80"/>
                  <a:pt x="55" y="80"/>
                  <a:pt x="55" y="80"/>
                </a:cubicBezTo>
                <a:cubicBezTo>
                  <a:pt x="83" y="80"/>
                  <a:pt x="100" y="66"/>
                  <a:pt x="104" y="39"/>
                </a:cubicBezTo>
                <a:cubicBezTo>
                  <a:pt x="106" y="27"/>
                  <a:pt x="104" y="18"/>
                  <a:pt x="99" y="11"/>
                </a:cubicBezTo>
                <a:cubicBezTo>
                  <a:pt x="92" y="4"/>
                  <a:pt x="82" y="0"/>
                  <a:pt x="67" y="0"/>
                </a:cubicBezTo>
                <a:lnTo>
                  <a:pt x="24" y="0"/>
                </a:lnTo>
                <a:close/>
                <a:moveTo>
                  <a:pt x="72" y="40"/>
                </a:moveTo>
                <a:cubicBezTo>
                  <a:pt x="70" y="56"/>
                  <a:pt x="58" y="56"/>
                  <a:pt x="47" y="56"/>
                </a:cubicBezTo>
                <a:cubicBezTo>
                  <a:pt x="40" y="56"/>
                  <a:pt x="40" y="56"/>
                  <a:pt x="40" y="56"/>
                </a:cubicBezTo>
                <a:cubicBezTo>
                  <a:pt x="45" y="27"/>
                  <a:pt x="45" y="27"/>
                  <a:pt x="45" y="27"/>
                </a:cubicBezTo>
                <a:cubicBezTo>
                  <a:pt x="45" y="25"/>
                  <a:pt x="46" y="24"/>
                  <a:pt x="48" y="24"/>
                </a:cubicBezTo>
                <a:cubicBezTo>
                  <a:pt x="51" y="24"/>
                  <a:pt x="51" y="24"/>
                  <a:pt x="51" y="24"/>
                </a:cubicBezTo>
                <a:cubicBezTo>
                  <a:pt x="59" y="24"/>
                  <a:pt x="66" y="24"/>
                  <a:pt x="70" y="28"/>
                </a:cubicBezTo>
                <a:cubicBezTo>
                  <a:pt x="72" y="31"/>
                  <a:pt x="73" y="35"/>
                  <a:pt x="72"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8" name="Freeform 297"/>
          <p:cNvSpPr>
            <a:spLocks noEditPoints="1"/>
          </p:cNvSpPr>
          <p:nvPr/>
        </p:nvSpPr>
        <p:spPr bwMode="auto">
          <a:xfrm>
            <a:off x="1973223" y="3868377"/>
            <a:ext cx="241908" cy="241908"/>
          </a:xfrm>
          <a:custGeom>
            <a:avLst/>
            <a:gdLst>
              <a:gd name="T0" fmla="*/ 110 w 120"/>
              <a:gd name="T1" fmla="*/ 26 h 120"/>
              <a:gd name="T2" fmla="*/ 94 w 120"/>
              <a:gd name="T3" fmla="*/ 10 h 120"/>
              <a:gd name="T4" fmla="*/ 72 w 120"/>
              <a:gd name="T5" fmla="*/ 1 h 120"/>
              <a:gd name="T6" fmla="*/ 48 w 120"/>
              <a:gd name="T7" fmla="*/ 1 h 120"/>
              <a:gd name="T8" fmla="*/ 27 w 120"/>
              <a:gd name="T9" fmla="*/ 10 h 120"/>
              <a:gd name="T10" fmla="*/ 11 w 120"/>
              <a:gd name="T11" fmla="*/ 26 h 120"/>
              <a:gd name="T12" fmla="*/ 2 w 120"/>
              <a:gd name="T13" fmla="*/ 48 h 120"/>
              <a:gd name="T14" fmla="*/ 2 w 120"/>
              <a:gd name="T15" fmla="*/ 72 h 120"/>
              <a:gd name="T16" fmla="*/ 11 w 120"/>
              <a:gd name="T17" fmla="*/ 93 h 120"/>
              <a:gd name="T18" fmla="*/ 27 w 120"/>
              <a:gd name="T19" fmla="*/ 109 h 120"/>
              <a:gd name="T20" fmla="*/ 48 w 120"/>
              <a:gd name="T21" fmla="*/ 118 h 120"/>
              <a:gd name="T22" fmla="*/ 72 w 120"/>
              <a:gd name="T23" fmla="*/ 118 h 120"/>
              <a:gd name="T24" fmla="*/ 94 w 120"/>
              <a:gd name="T25" fmla="*/ 109 h 120"/>
              <a:gd name="T26" fmla="*/ 110 w 120"/>
              <a:gd name="T27" fmla="*/ 93 h 120"/>
              <a:gd name="T28" fmla="*/ 119 w 120"/>
              <a:gd name="T29" fmla="*/ 72 h 120"/>
              <a:gd name="T30" fmla="*/ 119 w 120"/>
              <a:gd name="T31" fmla="*/ 48 h 120"/>
              <a:gd name="T32" fmla="*/ 60 w 120"/>
              <a:gd name="T33" fmla="*/ 8 h 120"/>
              <a:gd name="T34" fmla="*/ 67 w 120"/>
              <a:gd name="T35" fmla="*/ 40 h 120"/>
              <a:gd name="T36" fmla="*/ 60 w 120"/>
              <a:gd name="T37" fmla="*/ 8 h 120"/>
              <a:gd name="T38" fmla="*/ 48 w 120"/>
              <a:gd name="T39" fmla="*/ 10 h 120"/>
              <a:gd name="T40" fmla="*/ 48 w 120"/>
              <a:gd name="T41" fmla="*/ 10 h 120"/>
              <a:gd name="T42" fmla="*/ 58 w 120"/>
              <a:gd name="T43" fmla="*/ 43 h 120"/>
              <a:gd name="T44" fmla="*/ 39 w 120"/>
              <a:gd name="T45" fmla="*/ 13 h 120"/>
              <a:gd name="T46" fmla="*/ 9 w 120"/>
              <a:gd name="T47" fmla="*/ 60 h 120"/>
              <a:gd name="T48" fmla="*/ 62 w 120"/>
              <a:gd name="T49" fmla="*/ 51 h 120"/>
              <a:gd name="T50" fmla="*/ 64 w 120"/>
              <a:gd name="T51" fmla="*/ 60 h 120"/>
              <a:gd name="T52" fmla="*/ 22 w 120"/>
              <a:gd name="T53" fmla="*/ 94 h 120"/>
              <a:gd name="T54" fmla="*/ 29 w 120"/>
              <a:gd name="T55" fmla="*/ 100 h 120"/>
              <a:gd name="T56" fmla="*/ 28 w 120"/>
              <a:gd name="T57" fmla="*/ 99 h 120"/>
              <a:gd name="T58" fmla="*/ 69 w 120"/>
              <a:gd name="T59" fmla="*/ 68 h 120"/>
              <a:gd name="T60" fmla="*/ 80 w 120"/>
              <a:gd name="T61" fmla="*/ 107 h 120"/>
              <a:gd name="T62" fmla="*/ 89 w 120"/>
              <a:gd name="T63" fmla="*/ 102 h 120"/>
              <a:gd name="T64" fmla="*/ 111 w 120"/>
              <a:gd name="T65" fmla="*/ 68 h 120"/>
              <a:gd name="T66" fmla="*/ 76 w 120"/>
              <a:gd name="T67" fmla="*/ 57 h 120"/>
              <a:gd name="T68" fmla="*/ 71 w 120"/>
              <a:gd name="T69" fmla="*/ 47 h 120"/>
              <a:gd name="T70" fmla="*/ 112 w 120"/>
              <a:gd name="T71" fmla="*/ 5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20">
                <a:moveTo>
                  <a:pt x="116" y="36"/>
                </a:moveTo>
                <a:cubicBezTo>
                  <a:pt x="114" y="33"/>
                  <a:pt x="112" y="29"/>
                  <a:pt x="110" y="26"/>
                </a:cubicBezTo>
                <a:cubicBezTo>
                  <a:pt x="108" y="23"/>
                  <a:pt x="106" y="20"/>
                  <a:pt x="103" y="17"/>
                </a:cubicBezTo>
                <a:cubicBezTo>
                  <a:pt x="100" y="15"/>
                  <a:pt x="97" y="12"/>
                  <a:pt x="94" y="10"/>
                </a:cubicBezTo>
                <a:cubicBezTo>
                  <a:pt x="91" y="8"/>
                  <a:pt x="87" y="6"/>
                  <a:pt x="84" y="4"/>
                </a:cubicBezTo>
                <a:cubicBezTo>
                  <a:pt x="80" y="3"/>
                  <a:pt x="76" y="2"/>
                  <a:pt x="72" y="1"/>
                </a:cubicBezTo>
                <a:cubicBezTo>
                  <a:pt x="69" y="0"/>
                  <a:pt x="64" y="0"/>
                  <a:pt x="60" y="0"/>
                </a:cubicBezTo>
                <a:cubicBezTo>
                  <a:pt x="56" y="0"/>
                  <a:pt x="52" y="0"/>
                  <a:pt x="48" y="1"/>
                </a:cubicBezTo>
                <a:cubicBezTo>
                  <a:pt x="44" y="2"/>
                  <a:pt x="41" y="3"/>
                  <a:pt x="37" y="4"/>
                </a:cubicBezTo>
                <a:cubicBezTo>
                  <a:pt x="33" y="6"/>
                  <a:pt x="30" y="8"/>
                  <a:pt x="27" y="10"/>
                </a:cubicBezTo>
                <a:cubicBezTo>
                  <a:pt x="24" y="12"/>
                  <a:pt x="21" y="15"/>
                  <a:pt x="18" y="17"/>
                </a:cubicBezTo>
                <a:cubicBezTo>
                  <a:pt x="15" y="20"/>
                  <a:pt x="13" y="23"/>
                  <a:pt x="11" y="26"/>
                </a:cubicBezTo>
                <a:cubicBezTo>
                  <a:pt x="8" y="29"/>
                  <a:pt x="7" y="33"/>
                  <a:pt x="5" y="36"/>
                </a:cubicBezTo>
                <a:cubicBezTo>
                  <a:pt x="4" y="40"/>
                  <a:pt x="2" y="44"/>
                  <a:pt x="2" y="48"/>
                </a:cubicBezTo>
                <a:cubicBezTo>
                  <a:pt x="1" y="52"/>
                  <a:pt x="0" y="56"/>
                  <a:pt x="0" y="60"/>
                </a:cubicBezTo>
                <a:cubicBezTo>
                  <a:pt x="0" y="64"/>
                  <a:pt x="1" y="68"/>
                  <a:pt x="2" y="72"/>
                </a:cubicBezTo>
                <a:cubicBezTo>
                  <a:pt x="2" y="76"/>
                  <a:pt x="4" y="79"/>
                  <a:pt x="5" y="83"/>
                </a:cubicBezTo>
                <a:cubicBezTo>
                  <a:pt x="7" y="87"/>
                  <a:pt x="8" y="90"/>
                  <a:pt x="11" y="93"/>
                </a:cubicBezTo>
                <a:cubicBezTo>
                  <a:pt x="13" y="96"/>
                  <a:pt x="15" y="99"/>
                  <a:pt x="18" y="102"/>
                </a:cubicBezTo>
                <a:cubicBezTo>
                  <a:pt x="21" y="105"/>
                  <a:pt x="24" y="107"/>
                  <a:pt x="27" y="109"/>
                </a:cubicBezTo>
                <a:cubicBezTo>
                  <a:pt x="30" y="112"/>
                  <a:pt x="33" y="113"/>
                  <a:pt x="37" y="115"/>
                </a:cubicBezTo>
                <a:cubicBezTo>
                  <a:pt x="41" y="117"/>
                  <a:pt x="44" y="118"/>
                  <a:pt x="48" y="118"/>
                </a:cubicBezTo>
                <a:cubicBezTo>
                  <a:pt x="52" y="119"/>
                  <a:pt x="56" y="120"/>
                  <a:pt x="60" y="120"/>
                </a:cubicBezTo>
                <a:cubicBezTo>
                  <a:pt x="64" y="120"/>
                  <a:pt x="69" y="119"/>
                  <a:pt x="72" y="118"/>
                </a:cubicBezTo>
                <a:cubicBezTo>
                  <a:pt x="76" y="118"/>
                  <a:pt x="80" y="117"/>
                  <a:pt x="84" y="115"/>
                </a:cubicBezTo>
                <a:cubicBezTo>
                  <a:pt x="87" y="113"/>
                  <a:pt x="91" y="112"/>
                  <a:pt x="94" y="109"/>
                </a:cubicBezTo>
                <a:cubicBezTo>
                  <a:pt x="97" y="107"/>
                  <a:pt x="100" y="105"/>
                  <a:pt x="103" y="102"/>
                </a:cubicBezTo>
                <a:cubicBezTo>
                  <a:pt x="106" y="99"/>
                  <a:pt x="108" y="96"/>
                  <a:pt x="110" y="93"/>
                </a:cubicBezTo>
                <a:cubicBezTo>
                  <a:pt x="112" y="90"/>
                  <a:pt x="114" y="87"/>
                  <a:pt x="116" y="83"/>
                </a:cubicBezTo>
                <a:cubicBezTo>
                  <a:pt x="117" y="79"/>
                  <a:pt x="118" y="76"/>
                  <a:pt x="119" y="72"/>
                </a:cubicBezTo>
                <a:cubicBezTo>
                  <a:pt x="120" y="68"/>
                  <a:pt x="120" y="64"/>
                  <a:pt x="120" y="60"/>
                </a:cubicBezTo>
                <a:cubicBezTo>
                  <a:pt x="120" y="56"/>
                  <a:pt x="120" y="52"/>
                  <a:pt x="119" y="48"/>
                </a:cubicBezTo>
                <a:cubicBezTo>
                  <a:pt x="118" y="44"/>
                  <a:pt x="117" y="40"/>
                  <a:pt x="116" y="36"/>
                </a:cubicBezTo>
                <a:close/>
                <a:moveTo>
                  <a:pt x="60" y="8"/>
                </a:moveTo>
                <a:cubicBezTo>
                  <a:pt x="73" y="8"/>
                  <a:pt x="85" y="13"/>
                  <a:pt x="94" y="21"/>
                </a:cubicBezTo>
                <a:cubicBezTo>
                  <a:pt x="94" y="21"/>
                  <a:pt x="87" y="33"/>
                  <a:pt x="67" y="40"/>
                </a:cubicBezTo>
                <a:cubicBezTo>
                  <a:pt x="59" y="24"/>
                  <a:pt x="49" y="11"/>
                  <a:pt x="48" y="10"/>
                </a:cubicBezTo>
                <a:cubicBezTo>
                  <a:pt x="52" y="9"/>
                  <a:pt x="56" y="8"/>
                  <a:pt x="60" y="8"/>
                </a:cubicBezTo>
                <a:close/>
                <a:moveTo>
                  <a:pt x="48" y="10"/>
                </a:moveTo>
                <a:cubicBezTo>
                  <a:pt x="48" y="10"/>
                  <a:pt x="48" y="10"/>
                  <a:pt x="48" y="10"/>
                </a:cubicBezTo>
                <a:cubicBezTo>
                  <a:pt x="48" y="10"/>
                  <a:pt x="48" y="10"/>
                  <a:pt x="48" y="10"/>
                </a:cubicBezTo>
                <a:cubicBezTo>
                  <a:pt x="48" y="10"/>
                  <a:pt x="48" y="10"/>
                  <a:pt x="48" y="10"/>
                </a:cubicBezTo>
                <a:close/>
                <a:moveTo>
                  <a:pt x="39" y="13"/>
                </a:moveTo>
                <a:cubicBezTo>
                  <a:pt x="39" y="14"/>
                  <a:pt x="49" y="27"/>
                  <a:pt x="58" y="43"/>
                </a:cubicBezTo>
                <a:cubicBezTo>
                  <a:pt x="33" y="49"/>
                  <a:pt x="12" y="49"/>
                  <a:pt x="10" y="49"/>
                </a:cubicBezTo>
                <a:cubicBezTo>
                  <a:pt x="14" y="33"/>
                  <a:pt x="24" y="20"/>
                  <a:pt x="39" y="13"/>
                </a:cubicBezTo>
                <a:close/>
                <a:moveTo>
                  <a:pt x="22" y="94"/>
                </a:moveTo>
                <a:cubicBezTo>
                  <a:pt x="14" y="85"/>
                  <a:pt x="9" y="73"/>
                  <a:pt x="9" y="60"/>
                </a:cubicBezTo>
                <a:cubicBezTo>
                  <a:pt x="9" y="59"/>
                  <a:pt x="9" y="59"/>
                  <a:pt x="9" y="58"/>
                </a:cubicBezTo>
                <a:cubicBezTo>
                  <a:pt x="10" y="58"/>
                  <a:pt x="35" y="59"/>
                  <a:pt x="62" y="51"/>
                </a:cubicBezTo>
                <a:cubicBezTo>
                  <a:pt x="63" y="54"/>
                  <a:pt x="65" y="57"/>
                  <a:pt x="66" y="59"/>
                </a:cubicBezTo>
                <a:cubicBezTo>
                  <a:pt x="65" y="60"/>
                  <a:pt x="65" y="60"/>
                  <a:pt x="64" y="60"/>
                </a:cubicBezTo>
                <a:cubicBezTo>
                  <a:pt x="36" y="69"/>
                  <a:pt x="22" y="94"/>
                  <a:pt x="22" y="94"/>
                </a:cubicBezTo>
                <a:cubicBezTo>
                  <a:pt x="22" y="94"/>
                  <a:pt x="22" y="94"/>
                  <a:pt x="22" y="94"/>
                </a:cubicBezTo>
                <a:close/>
                <a:moveTo>
                  <a:pt x="60" y="111"/>
                </a:moveTo>
                <a:cubicBezTo>
                  <a:pt x="48" y="111"/>
                  <a:pt x="38" y="107"/>
                  <a:pt x="29" y="100"/>
                </a:cubicBezTo>
                <a:cubicBezTo>
                  <a:pt x="29" y="100"/>
                  <a:pt x="29" y="100"/>
                  <a:pt x="29" y="100"/>
                </a:cubicBezTo>
                <a:cubicBezTo>
                  <a:pt x="29" y="100"/>
                  <a:pt x="28" y="100"/>
                  <a:pt x="28" y="99"/>
                </a:cubicBezTo>
                <a:cubicBezTo>
                  <a:pt x="28" y="99"/>
                  <a:pt x="29" y="100"/>
                  <a:pt x="29" y="100"/>
                </a:cubicBezTo>
                <a:cubicBezTo>
                  <a:pt x="29" y="100"/>
                  <a:pt x="39" y="79"/>
                  <a:pt x="69" y="68"/>
                </a:cubicBezTo>
                <a:cubicBezTo>
                  <a:pt x="69" y="68"/>
                  <a:pt x="69" y="68"/>
                  <a:pt x="69" y="68"/>
                </a:cubicBezTo>
                <a:cubicBezTo>
                  <a:pt x="77" y="87"/>
                  <a:pt x="80" y="102"/>
                  <a:pt x="80" y="107"/>
                </a:cubicBezTo>
                <a:cubicBezTo>
                  <a:pt x="74" y="109"/>
                  <a:pt x="67" y="111"/>
                  <a:pt x="60" y="111"/>
                </a:cubicBezTo>
                <a:close/>
                <a:moveTo>
                  <a:pt x="89" y="102"/>
                </a:moveTo>
                <a:cubicBezTo>
                  <a:pt x="88" y="99"/>
                  <a:pt x="86" y="84"/>
                  <a:pt x="79" y="66"/>
                </a:cubicBezTo>
                <a:cubicBezTo>
                  <a:pt x="96" y="63"/>
                  <a:pt x="110" y="67"/>
                  <a:pt x="111" y="68"/>
                </a:cubicBezTo>
                <a:cubicBezTo>
                  <a:pt x="109" y="82"/>
                  <a:pt x="101" y="94"/>
                  <a:pt x="89" y="102"/>
                </a:cubicBezTo>
                <a:close/>
                <a:moveTo>
                  <a:pt x="76" y="57"/>
                </a:moveTo>
                <a:cubicBezTo>
                  <a:pt x="76" y="57"/>
                  <a:pt x="75" y="56"/>
                  <a:pt x="75" y="55"/>
                </a:cubicBezTo>
                <a:cubicBezTo>
                  <a:pt x="74" y="52"/>
                  <a:pt x="73" y="50"/>
                  <a:pt x="71" y="47"/>
                </a:cubicBezTo>
                <a:cubicBezTo>
                  <a:pt x="92" y="39"/>
                  <a:pt x="100" y="27"/>
                  <a:pt x="100" y="27"/>
                </a:cubicBezTo>
                <a:cubicBezTo>
                  <a:pt x="107" y="36"/>
                  <a:pt x="111" y="47"/>
                  <a:pt x="112" y="59"/>
                </a:cubicBezTo>
                <a:cubicBezTo>
                  <a:pt x="111" y="59"/>
                  <a:pt x="94" y="55"/>
                  <a:pt x="76" y="5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49" name="Freeform 298"/>
          <p:cNvSpPr>
            <a:spLocks/>
          </p:cNvSpPr>
          <p:nvPr/>
        </p:nvSpPr>
        <p:spPr bwMode="auto">
          <a:xfrm>
            <a:off x="5437450" y="3378599"/>
            <a:ext cx="91993" cy="92845"/>
          </a:xfrm>
          <a:custGeom>
            <a:avLst/>
            <a:gdLst>
              <a:gd name="T0" fmla="*/ 0 w 46"/>
              <a:gd name="T1" fmla="*/ 4 h 46"/>
              <a:gd name="T2" fmla="*/ 46 w 46"/>
              <a:gd name="T3" fmla="*/ 46 h 46"/>
              <a:gd name="T4" fmla="*/ 46 w 46"/>
              <a:gd name="T5" fmla="*/ 6 h 46"/>
              <a:gd name="T6" fmla="*/ 21 w 46"/>
              <a:gd name="T7" fmla="*/ 0 h 46"/>
              <a:gd name="T8" fmla="*/ 0 w 46"/>
              <a:gd name="T9" fmla="*/ 4 h 46"/>
            </a:gdLst>
            <a:ahLst/>
            <a:cxnLst>
              <a:cxn ang="0">
                <a:pos x="T0" y="T1"/>
              </a:cxn>
              <a:cxn ang="0">
                <a:pos x="T2" y="T3"/>
              </a:cxn>
              <a:cxn ang="0">
                <a:pos x="T4" y="T5"/>
              </a:cxn>
              <a:cxn ang="0">
                <a:pos x="T6" y="T7"/>
              </a:cxn>
              <a:cxn ang="0">
                <a:pos x="T8" y="T9"/>
              </a:cxn>
            </a:cxnLst>
            <a:rect l="0" t="0" r="r" b="b"/>
            <a:pathLst>
              <a:path w="46" h="46">
                <a:moveTo>
                  <a:pt x="0" y="4"/>
                </a:moveTo>
                <a:cubicBezTo>
                  <a:pt x="2" y="6"/>
                  <a:pt x="44" y="44"/>
                  <a:pt x="46" y="46"/>
                </a:cubicBezTo>
                <a:cubicBezTo>
                  <a:pt x="46" y="43"/>
                  <a:pt x="46" y="7"/>
                  <a:pt x="46" y="6"/>
                </a:cubicBezTo>
                <a:cubicBezTo>
                  <a:pt x="38" y="2"/>
                  <a:pt x="30" y="0"/>
                  <a:pt x="21" y="0"/>
                </a:cubicBezTo>
                <a:cubicBezTo>
                  <a:pt x="14" y="0"/>
                  <a:pt x="7" y="2"/>
                  <a:pt x="0" y="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0" name="Freeform 299"/>
          <p:cNvSpPr>
            <a:spLocks/>
          </p:cNvSpPr>
          <p:nvPr/>
        </p:nvSpPr>
        <p:spPr bwMode="auto">
          <a:xfrm>
            <a:off x="5366750" y="3499552"/>
            <a:ext cx="50256" cy="104770"/>
          </a:xfrm>
          <a:custGeom>
            <a:avLst/>
            <a:gdLst>
              <a:gd name="T0" fmla="*/ 25 w 25"/>
              <a:gd name="T1" fmla="*/ 52 h 52"/>
              <a:gd name="T2" fmla="*/ 25 w 25"/>
              <a:gd name="T3" fmla="*/ 0 h 52"/>
              <a:gd name="T4" fmla="*/ 0 w 25"/>
              <a:gd name="T5" fmla="*/ 23 h 52"/>
              <a:gd name="T6" fmla="*/ 25 w 25"/>
              <a:gd name="T7" fmla="*/ 52 h 52"/>
            </a:gdLst>
            <a:ahLst/>
            <a:cxnLst>
              <a:cxn ang="0">
                <a:pos x="T0" y="T1"/>
              </a:cxn>
              <a:cxn ang="0">
                <a:pos x="T2" y="T3"/>
              </a:cxn>
              <a:cxn ang="0">
                <a:pos x="T4" y="T5"/>
              </a:cxn>
              <a:cxn ang="0">
                <a:pos x="T6" y="T7"/>
              </a:cxn>
            </a:cxnLst>
            <a:rect l="0" t="0" r="r" b="b"/>
            <a:pathLst>
              <a:path w="25" h="52">
                <a:moveTo>
                  <a:pt x="25" y="52"/>
                </a:moveTo>
                <a:cubicBezTo>
                  <a:pt x="25" y="49"/>
                  <a:pt x="25" y="3"/>
                  <a:pt x="25" y="0"/>
                </a:cubicBezTo>
                <a:cubicBezTo>
                  <a:pt x="23" y="2"/>
                  <a:pt x="1" y="22"/>
                  <a:pt x="0" y="23"/>
                </a:cubicBezTo>
                <a:cubicBezTo>
                  <a:pt x="5" y="35"/>
                  <a:pt x="14" y="45"/>
                  <a:pt x="25" y="52"/>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1" name="Freeform 300"/>
          <p:cNvSpPr>
            <a:spLocks/>
          </p:cNvSpPr>
          <p:nvPr/>
        </p:nvSpPr>
        <p:spPr bwMode="auto">
          <a:xfrm>
            <a:off x="5358232" y="3393079"/>
            <a:ext cx="113288" cy="138842"/>
          </a:xfrm>
          <a:custGeom>
            <a:avLst/>
            <a:gdLst>
              <a:gd name="T0" fmla="*/ 56 w 56"/>
              <a:gd name="T1" fmla="*/ 21 h 69"/>
              <a:gd name="T2" fmla="*/ 33 w 56"/>
              <a:gd name="T3" fmla="*/ 0 h 69"/>
              <a:gd name="T4" fmla="*/ 0 w 56"/>
              <a:gd name="T5" fmla="*/ 53 h 69"/>
              <a:gd name="T6" fmla="*/ 2 w 56"/>
              <a:gd name="T7" fmla="*/ 69 h 69"/>
              <a:gd name="T8" fmla="*/ 56 w 56"/>
              <a:gd name="T9" fmla="*/ 21 h 69"/>
            </a:gdLst>
            <a:ahLst/>
            <a:cxnLst>
              <a:cxn ang="0">
                <a:pos x="T0" y="T1"/>
              </a:cxn>
              <a:cxn ang="0">
                <a:pos x="T2" y="T3"/>
              </a:cxn>
              <a:cxn ang="0">
                <a:pos x="T4" y="T5"/>
              </a:cxn>
              <a:cxn ang="0">
                <a:pos x="T6" y="T7"/>
              </a:cxn>
              <a:cxn ang="0">
                <a:pos x="T8" y="T9"/>
              </a:cxn>
            </a:cxnLst>
            <a:rect l="0" t="0" r="r" b="b"/>
            <a:pathLst>
              <a:path w="56" h="69">
                <a:moveTo>
                  <a:pt x="56" y="21"/>
                </a:moveTo>
                <a:cubicBezTo>
                  <a:pt x="55" y="20"/>
                  <a:pt x="33" y="1"/>
                  <a:pt x="33" y="0"/>
                </a:cubicBezTo>
                <a:cubicBezTo>
                  <a:pt x="13" y="10"/>
                  <a:pt x="0" y="31"/>
                  <a:pt x="0" y="53"/>
                </a:cubicBezTo>
                <a:cubicBezTo>
                  <a:pt x="0" y="59"/>
                  <a:pt x="1" y="64"/>
                  <a:pt x="2" y="69"/>
                </a:cubicBezTo>
                <a:cubicBezTo>
                  <a:pt x="4" y="68"/>
                  <a:pt x="54" y="22"/>
                  <a:pt x="56" y="2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2" name="Freeform 301"/>
          <p:cNvSpPr>
            <a:spLocks/>
          </p:cNvSpPr>
          <p:nvPr/>
        </p:nvSpPr>
        <p:spPr bwMode="auto">
          <a:xfrm>
            <a:off x="5430636" y="3554067"/>
            <a:ext cx="157581" cy="66440"/>
          </a:xfrm>
          <a:custGeom>
            <a:avLst/>
            <a:gdLst>
              <a:gd name="T0" fmla="*/ 0 w 78"/>
              <a:gd name="T1" fmla="*/ 28 h 33"/>
              <a:gd name="T2" fmla="*/ 19 w 78"/>
              <a:gd name="T3" fmla="*/ 33 h 33"/>
              <a:gd name="T4" fmla="*/ 30 w 78"/>
              <a:gd name="T5" fmla="*/ 33 h 33"/>
              <a:gd name="T6" fmla="*/ 78 w 78"/>
              <a:gd name="T7" fmla="*/ 0 h 33"/>
              <a:gd name="T8" fmla="*/ 0 w 78"/>
              <a:gd name="T9" fmla="*/ 0 h 33"/>
              <a:gd name="T10" fmla="*/ 0 w 78"/>
              <a:gd name="T11" fmla="*/ 28 h 33"/>
            </a:gdLst>
            <a:ahLst/>
            <a:cxnLst>
              <a:cxn ang="0">
                <a:pos x="T0" y="T1"/>
              </a:cxn>
              <a:cxn ang="0">
                <a:pos x="T2" y="T3"/>
              </a:cxn>
              <a:cxn ang="0">
                <a:pos x="T4" y="T5"/>
              </a:cxn>
              <a:cxn ang="0">
                <a:pos x="T6" y="T7"/>
              </a:cxn>
              <a:cxn ang="0">
                <a:pos x="T8" y="T9"/>
              </a:cxn>
              <a:cxn ang="0">
                <a:pos x="T10" y="T11"/>
              </a:cxn>
            </a:cxnLst>
            <a:rect l="0" t="0" r="r" b="b"/>
            <a:pathLst>
              <a:path w="78" h="33">
                <a:moveTo>
                  <a:pt x="0" y="28"/>
                </a:moveTo>
                <a:cubicBezTo>
                  <a:pt x="6" y="31"/>
                  <a:pt x="12" y="33"/>
                  <a:pt x="19" y="33"/>
                </a:cubicBezTo>
                <a:cubicBezTo>
                  <a:pt x="30" y="33"/>
                  <a:pt x="30" y="33"/>
                  <a:pt x="30" y="33"/>
                </a:cubicBezTo>
                <a:cubicBezTo>
                  <a:pt x="50" y="31"/>
                  <a:pt x="69" y="19"/>
                  <a:pt x="78" y="0"/>
                </a:cubicBezTo>
                <a:cubicBezTo>
                  <a:pt x="76" y="0"/>
                  <a:pt x="1" y="0"/>
                  <a:pt x="0" y="0"/>
                </a:cubicBezTo>
                <a:cubicBezTo>
                  <a:pt x="0" y="1"/>
                  <a:pt x="0" y="27"/>
                  <a:pt x="0" y="28"/>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3" name="Freeform 302"/>
          <p:cNvSpPr>
            <a:spLocks/>
          </p:cNvSpPr>
          <p:nvPr/>
        </p:nvSpPr>
        <p:spPr bwMode="auto">
          <a:xfrm>
            <a:off x="5541367" y="3396487"/>
            <a:ext cx="58774" cy="143101"/>
          </a:xfrm>
          <a:custGeom>
            <a:avLst/>
            <a:gdLst>
              <a:gd name="T0" fmla="*/ 29 w 29"/>
              <a:gd name="T1" fmla="*/ 51 h 71"/>
              <a:gd name="T2" fmla="*/ 0 w 29"/>
              <a:gd name="T3" fmla="*/ 0 h 71"/>
              <a:gd name="T4" fmla="*/ 0 w 29"/>
              <a:gd name="T5" fmla="*/ 71 h 71"/>
              <a:gd name="T6" fmla="*/ 26 w 29"/>
              <a:gd name="T7" fmla="*/ 71 h 71"/>
              <a:gd name="T8" fmla="*/ 29 w 29"/>
              <a:gd name="T9" fmla="*/ 51 h 71"/>
            </a:gdLst>
            <a:ahLst/>
            <a:cxnLst>
              <a:cxn ang="0">
                <a:pos x="T0" y="T1"/>
              </a:cxn>
              <a:cxn ang="0">
                <a:pos x="T2" y="T3"/>
              </a:cxn>
              <a:cxn ang="0">
                <a:pos x="T4" y="T5"/>
              </a:cxn>
              <a:cxn ang="0">
                <a:pos x="T6" y="T7"/>
              </a:cxn>
              <a:cxn ang="0">
                <a:pos x="T8" y="T9"/>
              </a:cxn>
            </a:cxnLst>
            <a:rect l="0" t="0" r="r" b="b"/>
            <a:pathLst>
              <a:path w="29" h="71">
                <a:moveTo>
                  <a:pt x="29" y="51"/>
                </a:moveTo>
                <a:cubicBezTo>
                  <a:pt x="29" y="31"/>
                  <a:pt x="18" y="11"/>
                  <a:pt x="0" y="0"/>
                </a:cubicBezTo>
                <a:cubicBezTo>
                  <a:pt x="0" y="3"/>
                  <a:pt x="0" y="70"/>
                  <a:pt x="0" y="71"/>
                </a:cubicBezTo>
                <a:cubicBezTo>
                  <a:pt x="1" y="71"/>
                  <a:pt x="25" y="71"/>
                  <a:pt x="26" y="71"/>
                </a:cubicBezTo>
                <a:cubicBezTo>
                  <a:pt x="28" y="65"/>
                  <a:pt x="29" y="58"/>
                  <a:pt x="29" y="5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4" name="Freeform 303"/>
          <p:cNvSpPr>
            <a:spLocks/>
          </p:cNvSpPr>
          <p:nvPr/>
        </p:nvSpPr>
        <p:spPr bwMode="auto">
          <a:xfrm>
            <a:off x="2504739" y="4037883"/>
            <a:ext cx="193356" cy="56218"/>
          </a:xfrm>
          <a:custGeom>
            <a:avLst/>
            <a:gdLst>
              <a:gd name="T0" fmla="*/ 40 w 227"/>
              <a:gd name="T1" fmla="*/ 0 h 66"/>
              <a:gd name="T2" fmla="*/ 3 w 227"/>
              <a:gd name="T3" fmla="*/ 61 h 66"/>
              <a:gd name="T4" fmla="*/ 0 w 227"/>
              <a:gd name="T5" fmla="*/ 66 h 66"/>
              <a:gd name="T6" fmla="*/ 5 w 227"/>
              <a:gd name="T7" fmla="*/ 66 h 66"/>
              <a:gd name="T8" fmla="*/ 182 w 227"/>
              <a:gd name="T9" fmla="*/ 66 h 66"/>
              <a:gd name="T10" fmla="*/ 185 w 227"/>
              <a:gd name="T11" fmla="*/ 66 h 66"/>
              <a:gd name="T12" fmla="*/ 185 w 227"/>
              <a:gd name="T13" fmla="*/ 64 h 66"/>
              <a:gd name="T14" fmla="*/ 227 w 227"/>
              <a:gd name="T15" fmla="*/ 0 h 66"/>
              <a:gd name="T16" fmla="*/ 40 w 227"/>
              <a:gd name="T1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66">
                <a:moveTo>
                  <a:pt x="40" y="0"/>
                </a:moveTo>
                <a:lnTo>
                  <a:pt x="3" y="61"/>
                </a:lnTo>
                <a:lnTo>
                  <a:pt x="0" y="66"/>
                </a:lnTo>
                <a:lnTo>
                  <a:pt x="5" y="66"/>
                </a:lnTo>
                <a:lnTo>
                  <a:pt x="182" y="66"/>
                </a:lnTo>
                <a:lnTo>
                  <a:pt x="185" y="66"/>
                </a:lnTo>
                <a:lnTo>
                  <a:pt x="185" y="64"/>
                </a:lnTo>
                <a:lnTo>
                  <a:pt x="227" y="0"/>
                </a:lnTo>
                <a:lnTo>
                  <a:pt x="4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5" name="Freeform 304"/>
          <p:cNvSpPr>
            <a:spLocks/>
          </p:cNvSpPr>
          <p:nvPr/>
        </p:nvSpPr>
        <p:spPr bwMode="auto">
          <a:xfrm>
            <a:off x="2547330" y="3884562"/>
            <a:ext cx="150767" cy="134583"/>
          </a:xfrm>
          <a:custGeom>
            <a:avLst/>
            <a:gdLst>
              <a:gd name="T0" fmla="*/ 85 w 177"/>
              <a:gd name="T1" fmla="*/ 0 h 158"/>
              <a:gd name="T2" fmla="*/ 83 w 177"/>
              <a:gd name="T3" fmla="*/ 0 h 158"/>
              <a:gd name="T4" fmla="*/ 83 w 177"/>
              <a:gd name="T5" fmla="*/ 0 h 158"/>
              <a:gd name="T6" fmla="*/ 5 w 177"/>
              <a:gd name="T7" fmla="*/ 0 h 158"/>
              <a:gd name="T8" fmla="*/ 0 w 177"/>
              <a:gd name="T9" fmla="*/ 0 h 158"/>
              <a:gd name="T10" fmla="*/ 2 w 177"/>
              <a:gd name="T11" fmla="*/ 5 h 158"/>
              <a:gd name="T12" fmla="*/ 92 w 177"/>
              <a:gd name="T13" fmla="*/ 156 h 158"/>
              <a:gd name="T14" fmla="*/ 92 w 177"/>
              <a:gd name="T15" fmla="*/ 158 h 158"/>
              <a:gd name="T16" fmla="*/ 94 w 177"/>
              <a:gd name="T17" fmla="*/ 158 h 158"/>
              <a:gd name="T18" fmla="*/ 172 w 177"/>
              <a:gd name="T19" fmla="*/ 158 h 158"/>
              <a:gd name="T20" fmla="*/ 177 w 177"/>
              <a:gd name="T21" fmla="*/ 158 h 158"/>
              <a:gd name="T22" fmla="*/ 175 w 177"/>
              <a:gd name="T23" fmla="*/ 154 h 158"/>
              <a:gd name="T24" fmla="*/ 85 w 177"/>
              <a:gd name="T2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58">
                <a:moveTo>
                  <a:pt x="85" y="0"/>
                </a:moveTo>
                <a:lnTo>
                  <a:pt x="83" y="0"/>
                </a:lnTo>
                <a:lnTo>
                  <a:pt x="83" y="0"/>
                </a:lnTo>
                <a:lnTo>
                  <a:pt x="5" y="0"/>
                </a:lnTo>
                <a:lnTo>
                  <a:pt x="0" y="0"/>
                </a:lnTo>
                <a:lnTo>
                  <a:pt x="2" y="5"/>
                </a:lnTo>
                <a:lnTo>
                  <a:pt x="92" y="156"/>
                </a:lnTo>
                <a:lnTo>
                  <a:pt x="92" y="158"/>
                </a:lnTo>
                <a:lnTo>
                  <a:pt x="94" y="158"/>
                </a:lnTo>
                <a:lnTo>
                  <a:pt x="172" y="158"/>
                </a:lnTo>
                <a:lnTo>
                  <a:pt x="177" y="158"/>
                </a:lnTo>
                <a:lnTo>
                  <a:pt x="175" y="154"/>
                </a:lnTo>
                <a:lnTo>
                  <a:pt x="8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6" name="Freeform 305"/>
          <p:cNvSpPr>
            <a:spLocks/>
          </p:cNvSpPr>
          <p:nvPr/>
        </p:nvSpPr>
        <p:spPr bwMode="auto">
          <a:xfrm>
            <a:off x="2457039" y="3890524"/>
            <a:ext cx="114140" cy="195060"/>
          </a:xfrm>
          <a:custGeom>
            <a:avLst/>
            <a:gdLst>
              <a:gd name="T0" fmla="*/ 134 w 134"/>
              <a:gd name="T1" fmla="*/ 71 h 229"/>
              <a:gd name="T2" fmla="*/ 132 w 134"/>
              <a:gd name="T3" fmla="*/ 71 h 229"/>
              <a:gd name="T4" fmla="*/ 94 w 134"/>
              <a:gd name="T5" fmla="*/ 5 h 229"/>
              <a:gd name="T6" fmla="*/ 92 w 134"/>
              <a:gd name="T7" fmla="*/ 0 h 229"/>
              <a:gd name="T8" fmla="*/ 89 w 134"/>
              <a:gd name="T9" fmla="*/ 5 h 229"/>
              <a:gd name="T10" fmla="*/ 0 w 134"/>
              <a:gd name="T11" fmla="*/ 159 h 229"/>
              <a:gd name="T12" fmla="*/ 0 w 134"/>
              <a:gd name="T13" fmla="*/ 159 h 229"/>
              <a:gd name="T14" fmla="*/ 0 w 134"/>
              <a:gd name="T15" fmla="*/ 161 h 229"/>
              <a:gd name="T16" fmla="*/ 40 w 134"/>
              <a:gd name="T17" fmla="*/ 227 h 229"/>
              <a:gd name="T18" fmla="*/ 42 w 134"/>
              <a:gd name="T19" fmla="*/ 229 h 229"/>
              <a:gd name="T20" fmla="*/ 44 w 134"/>
              <a:gd name="T21" fmla="*/ 227 h 229"/>
              <a:gd name="T22" fmla="*/ 132 w 134"/>
              <a:gd name="T23" fmla="*/ 73 h 229"/>
              <a:gd name="T24" fmla="*/ 134 w 134"/>
              <a:gd name="T25" fmla="*/ 7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4" h="229">
                <a:moveTo>
                  <a:pt x="134" y="71"/>
                </a:moveTo>
                <a:lnTo>
                  <a:pt x="132" y="71"/>
                </a:lnTo>
                <a:lnTo>
                  <a:pt x="94" y="5"/>
                </a:lnTo>
                <a:lnTo>
                  <a:pt x="92" y="0"/>
                </a:lnTo>
                <a:lnTo>
                  <a:pt x="89" y="5"/>
                </a:lnTo>
                <a:lnTo>
                  <a:pt x="0" y="159"/>
                </a:lnTo>
                <a:lnTo>
                  <a:pt x="0" y="159"/>
                </a:lnTo>
                <a:lnTo>
                  <a:pt x="0" y="161"/>
                </a:lnTo>
                <a:lnTo>
                  <a:pt x="40" y="227"/>
                </a:lnTo>
                <a:lnTo>
                  <a:pt x="42" y="229"/>
                </a:lnTo>
                <a:lnTo>
                  <a:pt x="44" y="227"/>
                </a:lnTo>
                <a:lnTo>
                  <a:pt x="132" y="73"/>
                </a:lnTo>
                <a:lnTo>
                  <a:pt x="134" y="7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7" name="Freeform 306"/>
          <p:cNvSpPr>
            <a:spLocks noEditPoints="1"/>
          </p:cNvSpPr>
          <p:nvPr/>
        </p:nvSpPr>
        <p:spPr bwMode="auto">
          <a:xfrm>
            <a:off x="2897415" y="3852193"/>
            <a:ext cx="304089" cy="258092"/>
          </a:xfrm>
          <a:custGeom>
            <a:avLst/>
            <a:gdLst>
              <a:gd name="T0" fmla="*/ 151 w 151"/>
              <a:gd name="T1" fmla="*/ 0 h 128"/>
              <a:gd name="T2" fmla="*/ 151 w 151"/>
              <a:gd name="T3" fmla="*/ 2 h 128"/>
              <a:gd name="T4" fmla="*/ 151 w 151"/>
              <a:gd name="T5" fmla="*/ 49 h 128"/>
              <a:gd name="T6" fmla="*/ 150 w 151"/>
              <a:gd name="T7" fmla="*/ 52 h 128"/>
              <a:gd name="T8" fmla="*/ 121 w 151"/>
              <a:gd name="T9" fmla="*/ 76 h 128"/>
              <a:gd name="T10" fmla="*/ 118 w 151"/>
              <a:gd name="T11" fmla="*/ 78 h 128"/>
              <a:gd name="T12" fmla="*/ 122 w 151"/>
              <a:gd name="T13" fmla="*/ 81 h 128"/>
              <a:gd name="T14" fmla="*/ 121 w 151"/>
              <a:gd name="T15" fmla="*/ 84 h 128"/>
              <a:gd name="T16" fmla="*/ 86 w 151"/>
              <a:gd name="T17" fmla="*/ 120 h 128"/>
              <a:gd name="T18" fmla="*/ 78 w 151"/>
              <a:gd name="T19" fmla="*/ 128 h 128"/>
              <a:gd name="T20" fmla="*/ 76 w 151"/>
              <a:gd name="T21" fmla="*/ 126 h 128"/>
              <a:gd name="T22" fmla="*/ 40 w 151"/>
              <a:gd name="T23" fmla="*/ 90 h 128"/>
              <a:gd name="T24" fmla="*/ 37 w 151"/>
              <a:gd name="T25" fmla="*/ 88 h 128"/>
              <a:gd name="T26" fmla="*/ 9 w 151"/>
              <a:gd name="T27" fmla="*/ 69 h 128"/>
              <a:gd name="T28" fmla="*/ 33 w 151"/>
              <a:gd name="T29" fmla="*/ 24 h 128"/>
              <a:gd name="T30" fmla="*/ 69 w 151"/>
              <a:gd name="T31" fmla="*/ 43 h 128"/>
              <a:gd name="T32" fmla="*/ 70 w 151"/>
              <a:gd name="T33" fmla="*/ 45 h 128"/>
              <a:gd name="T34" fmla="*/ 77 w 151"/>
              <a:gd name="T35" fmla="*/ 37 h 128"/>
              <a:gd name="T36" fmla="*/ 87 w 151"/>
              <a:gd name="T37" fmla="*/ 47 h 128"/>
              <a:gd name="T38" fmla="*/ 97 w 151"/>
              <a:gd name="T39" fmla="*/ 57 h 128"/>
              <a:gd name="T40" fmla="*/ 151 w 151"/>
              <a:gd name="T41" fmla="*/ 0 h 128"/>
              <a:gd name="T42" fmla="*/ 151 w 151"/>
              <a:gd name="T43" fmla="*/ 0 h 128"/>
              <a:gd name="T44" fmla="*/ 76 w 151"/>
              <a:gd name="T45" fmla="*/ 86 h 128"/>
              <a:gd name="T46" fmla="*/ 75 w 151"/>
              <a:gd name="T47" fmla="*/ 85 h 128"/>
              <a:gd name="T48" fmla="*/ 65 w 151"/>
              <a:gd name="T49" fmla="*/ 68 h 128"/>
              <a:gd name="T50" fmla="*/ 65 w 151"/>
              <a:gd name="T51" fmla="*/ 66 h 128"/>
              <a:gd name="T52" fmla="*/ 66 w 151"/>
              <a:gd name="T53" fmla="*/ 51 h 128"/>
              <a:gd name="T54" fmla="*/ 34 w 151"/>
              <a:gd name="T55" fmla="*/ 28 h 128"/>
              <a:gd name="T56" fmla="*/ 11 w 151"/>
              <a:gd name="T57" fmla="*/ 60 h 128"/>
              <a:gd name="T58" fmla="*/ 45 w 151"/>
              <a:gd name="T59" fmla="*/ 83 h 128"/>
              <a:gd name="T60" fmla="*/ 49 w 151"/>
              <a:gd name="T61" fmla="*/ 84 h 128"/>
              <a:gd name="T62" fmla="*/ 72 w 151"/>
              <a:gd name="T63" fmla="*/ 106 h 128"/>
              <a:gd name="T64" fmla="*/ 77 w 151"/>
              <a:gd name="T65" fmla="*/ 106 h 128"/>
              <a:gd name="T66" fmla="*/ 112 w 151"/>
              <a:gd name="T67" fmla="*/ 77 h 128"/>
              <a:gd name="T68" fmla="*/ 147 w 151"/>
              <a:gd name="T69" fmla="*/ 49 h 128"/>
              <a:gd name="T70" fmla="*/ 148 w 151"/>
              <a:gd name="T71" fmla="*/ 46 h 128"/>
              <a:gd name="T72" fmla="*/ 148 w 151"/>
              <a:gd name="T73" fmla="*/ 12 h 128"/>
              <a:gd name="T74" fmla="*/ 148 w 151"/>
              <a:gd name="T75" fmla="*/ 9 h 128"/>
              <a:gd name="T76" fmla="*/ 76 w 151"/>
              <a:gd name="T77" fmla="*/ 8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1" h="128">
                <a:moveTo>
                  <a:pt x="151" y="0"/>
                </a:moveTo>
                <a:cubicBezTo>
                  <a:pt x="151" y="1"/>
                  <a:pt x="151" y="1"/>
                  <a:pt x="151" y="2"/>
                </a:cubicBezTo>
                <a:cubicBezTo>
                  <a:pt x="151" y="18"/>
                  <a:pt x="151" y="33"/>
                  <a:pt x="151" y="49"/>
                </a:cubicBezTo>
                <a:cubicBezTo>
                  <a:pt x="151" y="51"/>
                  <a:pt x="151" y="52"/>
                  <a:pt x="150" y="52"/>
                </a:cubicBezTo>
                <a:cubicBezTo>
                  <a:pt x="140" y="60"/>
                  <a:pt x="130" y="68"/>
                  <a:pt x="121" y="76"/>
                </a:cubicBezTo>
                <a:cubicBezTo>
                  <a:pt x="120" y="76"/>
                  <a:pt x="119" y="77"/>
                  <a:pt x="118" y="78"/>
                </a:cubicBezTo>
                <a:cubicBezTo>
                  <a:pt x="119" y="79"/>
                  <a:pt x="120" y="80"/>
                  <a:pt x="122" y="81"/>
                </a:cubicBezTo>
                <a:cubicBezTo>
                  <a:pt x="123" y="82"/>
                  <a:pt x="123" y="83"/>
                  <a:pt x="121" y="84"/>
                </a:cubicBezTo>
                <a:cubicBezTo>
                  <a:pt x="110" y="96"/>
                  <a:pt x="98" y="108"/>
                  <a:pt x="86" y="120"/>
                </a:cubicBezTo>
                <a:cubicBezTo>
                  <a:pt x="83" y="122"/>
                  <a:pt x="81" y="125"/>
                  <a:pt x="78" y="128"/>
                </a:cubicBezTo>
                <a:cubicBezTo>
                  <a:pt x="77" y="127"/>
                  <a:pt x="76" y="126"/>
                  <a:pt x="76" y="126"/>
                </a:cubicBezTo>
                <a:cubicBezTo>
                  <a:pt x="64" y="114"/>
                  <a:pt x="52" y="102"/>
                  <a:pt x="40" y="90"/>
                </a:cubicBezTo>
                <a:cubicBezTo>
                  <a:pt x="39" y="89"/>
                  <a:pt x="38" y="88"/>
                  <a:pt x="37" y="88"/>
                </a:cubicBezTo>
                <a:cubicBezTo>
                  <a:pt x="24" y="87"/>
                  <a:pt x="15" y="81"/>
                  <a:pt x="9" y="69"/>
                </a:cubicBezTo>
                <a:cubicBezTo>
                  <a:pt x="0" y="50"/>
                  <a:pt x="12" y="27"/>
                  <a:pt x="33" y="24"/>
                </a:cubicBezTo>
                <a:cubicBezTo>
                  <a:pt x="48" y="21"/>
                  <a:pt x="63" y="29"/>
                  <a:pt x="69" y="43"/>
                </a:cubicBezTo>
                <a:cubicBezTo>
                  <a:pt x="69" y="44"/>
                  <a:pt x="69" y="44"/>
                  <a:pt x="70" y="45"/>
                </a:cubicBezTo>
                <a:cubicBezTo>
                  <a:pt x="72" y="42"/>
                  <a:pt x="75" y="40"/>
                  <a:pt x="77" y="37"/>
                </a:cubicBezTo>
                <a:cubicBezTo>
                  <a:pt x="81" y="40"/>
                  <a:pt x="84" y="43"/>
                  <a:pt x="87" y="47"/>
                </a:cubicBezTo>
                <a:cubicBezTo>
                  <a:pt x="91" y="50"/>
                  <a:pt x="94" y="53"/>
                  <a:pt x="97" y="57"/>
                </a:cubicBezTo>
                <a:cubicBezTo>
                  <a:pt x="115" y="37"/>
                  <a:pt x="133" y="19"/>
                  <a:pt x="151" y="0"/>
                </a:cubicBezTo>
                <a:cubicBezTo>
                  <a:pt x="151" y="0"/>
                  <a:pt x="151" y="0"/>
                  <a:pt x="151" y="0"/>
                </a:cubicBezTo>
                <a:close/>
                <a:moveTo>
                  <a:pt x="76" y="86"/>
                </a:moveTo>
                <a:cubicBezTo>
                  <a:pt x="75" y="86"/>
                  <a:pt x="75" y="85"/>
                  <a:pt x="75" y="85"/>
                </a:cubicBezTo>
                <a:cubicBezTo>
                  <a:pt x="72" y="80"/>
                  <a:pt x="68" y="74"/>
                  <a:pt x="65" y="68"/>
                </a:cubicBezTo>
                <a:cubicBezTo>
                  <a:pt x="64" y="68"/>
                  <a:pt x="64" y="66"/>
                  <a:pt x="65" y="66"/>
                </a:cubicBezTo>
                <a:cubicBezTo>
                  <a:pt x="67" y="61"/>
                  <a:pt x="67" y="56"/>
                  <a:pt x="66" y="51"/>
                </a:cubicBezTo>
                <a:cubicBezTo>
                  <a:pt x="64" y="36"/>
                  <a:pt x="49" y="26"/>
                  <a:pt x="34" y="28"/>
                </a:cubicBezTo>
                <a:cubicBezTo>
                  <a:pt x="20" y="30"/>
                  <a:pt x="9" y="44"/>
                  <a:pt x="11" y="60"/>
                </a:cubicBezTo>
                <a:cubicBezTo>
                  <a:pt x="14" y="76"/>
                  <a:pt x="29" y="86"/>
                  <a:pt x="45" y="83"/>
                </a:cubicBezTo>
                <a:cubicBezTo>
                  <a:pt x="46" y="83"/>
                  <a:pt x="47" y="83"/>
                  <a:pt x="49" y="84"/>
                </a:cubicBezTo>
                <a:cubicBezTo>
                  <a:pt x="57" y="91"/>
                  <a:pt x="64" y="98"/>
                  <a:pt x="72" y="106"/>
                </a:cubicBezTo>
                <a:cubicBezTo>
                  <a:pt x="74" y="108"/>
                  <a:pt x="74" y="108"/>
                  <a:pt x="77" y="106"/>
                </a:cubicBezTo>
                <a:cubicBezTo>
                  <a:pt x="88" y="96"/>
                  <a:pt x="100" y="87"/>
                  <a:pt x="112" y="77"/>
                </a:cubicBezTo>
                <a:cubicBezTo>
                  <a:pt x="123" y="68"/>
                  <a:pt x="135" y="59"/>
                  <a:pt x="147" y="49"/>
                </a:cubicBezTo>
                <a:cubicBezTo>
                  <a:pt x="147" y="48"/>
                  <a:pt x="148" y="47"/>
                  <a:pt x="148" y="46"/>
                </a:cubicBezTo>
                <a:cubicBezTo>
                  <a:pt x="148" y="35"/>
                  <a:pt x="148" y="23"/>
                  <a:pt x="148" y="12"/>
                </a:cubicBezTo>
                <a:cubicBezTo>
                  <a:pt x="148" y="11"/>
                  <a:pt x="148" y="11"/>
                  <a:pt x="148" y="9"/>
                </a:cubicBezTo>
                <a:cubicBezTo>
                  <a:pt x="123" y="35"/>
                  <a:pt x="100" y="60"/>
                  <a:pt x="76" y="86"/>
                </a:cubicBezTo>
                <a:close/>
              </a:path>
            </a:pathLst>
          </a:custGeom>
          <a:solidFill>
            <a:srgbClr val="FCFC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8" name="Freeform 307"/>
          <p:cNvSpPr>
            <a:spLocks/>
          </p:cNvSpPr>
          <p:nvPr/>
        </p:nvSpPr>
        <p:spPr bwMode="auto">
          <a:xfrm>
            <a:off x="2889749" y="4821529"/>
            <a:ext cx="333901" cy="299830"/>
          </a:xfrm>
          <a:custGeom>
            <a:avLst/>
            <a:gdLst>
              <a:gd name="T0" fmla="*/ 124 w 166"/>
              <a:gd name="T1" fmla="*/ 3 h 149"/>
              <a:gd name="T2" fmla="*/ 151 w 166"/>
              <a:gd name="T3" fmla="*/ 23 h 149"/>
              <a:gd name="T4" fmla="*/ 153 w 166"/>
              <a:gd name="T5" fmla="*/ 26 h 149"/>
              <a:gd name="T6" fmla="*/ 151 w 166"/>
              <a:gd name="T7" fmla="*/ 13 h 149"/>
              <a:gd name="T8" fmla="*/ 161 w 166"/>
              <a:gd name="T9" fmla="*/ 39 h 149"/>
              <a:gd name="T10" fmla="*/ 164 w 166"/>
              <a:gd name="T11" fmla="*/ 56 h 149"/>
              <a:gd name="T12" fmla="*/ 166 w 166"/>
              <a:gd name="T13" fmla="*/ 48 h 149"/>
              <a:gd name="T14" fmla="*/ 156 w 166"/>
              <a:gd name="T15" fmla="*/ 102 h 149"/>
              <a:gd name="T16" fmla="*/ 49 w 166"/>
              <a:gd name="T17" fmla="*/ 141 h 149"/>
              <a:gd name="T18" fmla="*/ 6 w 166"/>
              <a:gd name="T19" fmla="*/ 74 h 149"/>
              <a:gd name="T20" fmla="*/ 1 w 166"/>
              <a:gd name="T21" fmla="*/ 82 h 149"/>
              <a:gd name="T22" fmla="*/ 5 w 166"/>
              <a:gd name="T23" fmla="*/ 54 h 149"/>
              <a:gd name="T24" fmla="*/ 0 w 166"/>
              <a:gd name="T25" fmla="*/ 61 h 149"/>
              <a:gd name="T26" fmla="*/ 10 w 166"/>
              <a:gd name="T27" fmla="*/ 33 h 149"/>
              <a:gd name="T28" fmla="*/ 14 w 166"/>
              <a:gd name="T29" fmla="*/ 10 h 149"/>
              <a:gd name="T30" fmla="*/ 23 w 166"/>
              <a:gd name="T31" fmla="*/ 12 h 149"/>
              <a:gd name="T32" fmla="*/ 46 w 166"/>
              <a:gd name="T33" fmla="*/ 18 h 149"/>
              <a:gd name="T34" fmla="*/ 68 w 166"/>
              <a:gd name="T35" fmla="*/ 9 h 149"/>
              <a:gd name="T36" fmla="*/ 67 w 166"/>
              <a:gd name="T37" fmla="*/ 11 h 149"/>
              <a:gd name="T38" fmla="*/ 59 w 166"/>
              <a:gd name="T39" fmla="*/ 26 h 149"/>
              <a:gd name="T40" fmla="*/ 78 w 166"/>
              <a:gd name="T41" fmla="*/ 33 h 149"/>
              <a:gd name="T42" fmla="*/ 77 w 166"/>
              <a:gd name="T43" fmla="*/ 41 h 149"/>
              <a:gd name="T44" fmla="*/ 65 w 166"/>
              <a:gd name="T45" fmla="*/ 56 h 149"/>
              <a:gd name="T46" fmla="*/ 61 w 166"/>
              <a:gd name="T47" fmla="*/ 61 h 149"/>
              <a:gd name="T48" fmla="*/ 56 w 166"/>
              <a:gd name="T49" fmla="*/ 74 h 149"/>
              <a:gd name="T50" fmla="*/ 78 w 166"/>
              <a:gd name="T51" fmla="*/ 79 h 149"/>
              <a:gd name="T52" fmla="*/ 100 w 166"/>
              <a:gd name="T53" fmla="*/ 81 h 149"/>
              <a:gd name="T54" fmla="*/ 97 w 166"/>
              <a:gd name="T55" fmla="*/ 86 h 149"/>
              <a:gd name="T56" fmla="*/ 87 w 166"/>
              <a:gd name="T57" fmla="*/ 91 h 149"/>
              <a:gd name="T58" fmla="*/ 62 w 166"/>
              <a:gd name="T59" fmla="*/ 97 h 149"/>
              <a:gd name="T60" fmla="*/ 90 w 166"/>
              <a:gd name="T61" fmla="*/ 109 h 149"/>
              <a:gd name="T62" fmla="*/ 124 w 166"/>
              <a:gd name="T63" fmla="*/ 88 h 149"/>
              <a:gd name="T64" fmla="*/ 126 w 166"/>
              <a:gd name="T65" fmla="*/ 87 h 149"/>
              <a:gd name="T66" fmla="*/ 123 w 166"/>
              <a:gd name="T67" fmla="*/ 100 h 149"/>
              <a:gd name="T68" fmla="*/ 131 w 166"/>
              <a:gd name="T69" fmla="*/ 86 h 149"/>
              <a:gd name="T70" fmla="*/ 137 w 166"/>
              <a:gd name="T71" fmla="*/ 70 h 149"/>
              <a:gd name="T72" fmla="*/ 142 w 166"/>
              <a:gd name="T73" fmla="*/ 41 h 149"/>
              <a:gd name="T74" fmla="*/ 109 w 166"/>
              <a:gd name="T75" fmla="*/ 12 h 149"/>
              <a:gd name="T76" fmla="*/ 125 w 166"/>
              <a:gd name="T77" fmla="*/ 9 h 149"/>
              <a:gd name="T78" fmla="*/ 105 w 166"/>
              <a:gd name="T79" fmla="*/ 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49">
                <a:moveTo>
                  <a:pt x="103" y="1"/>
                </a:moveTo>
                <a:cubicBezTo>
                  <a:pt x="110" y="0"/>
                  <a:pt x="117" y="1"/>
                  <a:pt x="124" y="3"/>
                </a:cubicBezTo>
                <a:cubicBezTo>
                  <a:pt x="128" y="4"/>
                  <a:pt x="132" y="5"/>
                  <a:pt x="136" y="7"/>
                </a:cubicBezTo>
                <a:cubicBezTo>
                  <a:pt x="143" y="10"/>
                  <a:pt x="147" y="16"/>
                  <a:pt x="151" y="23"/>
                </a:cubicBezTo>
                <a:cubicBezTo>
                  <a:pt x="152" y="24"/>
                  <a:pt x="152" y="25"/>
                  <a:pt x="153" y="26"/>
                </a:cubicBezTo>
                <a:cubicBezTo>
                  <a:pt x="153" y="26"/>
                  <a:pt x="153" y="26"/>
                  <a:pt x="153" y="26"/>
                </a:cubicBezTo>
                <a:cubicBezTo>
                  <a:pt x="153" y="22"/>
                  <a:pt x="152" y="18"/>
                  <a:pt x="150" y="14"/>
                </a:cubicBezTo>
                <a:cubicBezTo>
                  <a:pt x="150" y="14"/>
                  <a:pt x="151" y="14"/>
                  <a:pt x="151" y="13"/>
                </a:cubicBezTo>
                <a:cubicBezTo>
                  <a:pt x="152" y="15"/>
                  <a:pt x="153" y="16"/>
                  <a:pt x="154" y="18"/>
                </a:cubicBezTo>
                <a:cubicBezTo>
                  <a:pt x="157" y="25"/>
                  <a:pt x="160" y="32"/>
                  <a:pt x="161" y="39"/>
                </a:cubicBezTo>
                <a:cubicBezTo>
                  <a:pt x="162" y="44"/>
                  <a:pt x="162" y="49"/>
                  <a:pt x="163" y="54"/>
                </a:cubicBezTo>
                <a:cubicBezTo>
                  <a:pt x="163" y="55"/>
                  <a:pt x="163" y="56"/>
                  <a:pt x="164" y="56"/>
                </a:cubicBezTo>
                <a:cubicBezTo>
                  <a:pt x="164" y="54"/>
                  <a:pt x="165" y="51"/>
                  <a:pt x="165" y="48"/>
                </a:cubicBezTo>
                <a:cubicBezTo>
                  <a:pt x="165" y="48"/>
                  <a:pt x="166" y="48"/>
                  <a:pt x="166" y="48"/>
                </a:cubicBezTo>
                <a:cubicBezTo>
                  <a:pt x="166" y="49"/>
                  <a:pt x="166" y="50"/>
                  <a:pt x="166" y="51"/>
                </a:cubicBezTo>
                <a:cubicBezTo>
                  <a:pt x="166" y="69"/>
                  <a:pt x="163" y="86"/>
                  <a:pt x="156" y="102"/>
                </a:cubicBezTo>
                <a:cubicBezTo>
                  <a:pt x="145" y="126"/>
                  <a:pt x="126" y="141"/>
                  <a:pt x="100" y="146"/>
                </a:cubicBezTo>
                <a:cubicBezTo>
                  <a:pt x="83" y="149"/>
                  <a:pt x="66" y="149"/>
                  <a:pt x="49" y="141"/>
                </a:cubicBezTo>
                <a:cubicBezTo>
                  <a:pt x="30" y="133"/>
                  <a:pt x="17" y="118"/>
                  <a:pt x="11" y="99"/>
                </a:cubicBezTo>
                <a:cubicBezTo>
                  <a:pt x="8" y="91"/>
                  <a:pt x="7" y="83"/>
                  <a:pt x="6" y="74"/>
                </a:cubicBezTo>
                <a:cubicBezTo>
                  <a:pt x="5" y="77"/>
                  <a:pt x="3" y="79"/>
                  <a:pt x="2" y="82"/>
                </a:cubicBezTo>
                <a:cubicBezTo>
                  <a:pt x="2" y="82"/>
                  <a:pt x="1" y="82"/>
                  <a:pt x="1" y="82"/>
                </a:cubicBezTo>
                <a:cubicBezTo>
                  <a:pt x="2" y="77"/>
                  <a:pt x="2" y="73"/>
                  <a:pt x="3" y="68"/>
                </a:cubicBezTo>
                <a:cubicBezTo>
                  <a:pt x="4" y="64"/>
                  <a:pt x="5" y="59"/>
                  <a:pt x="5" y="54"/>
                </a:cubicBezTo>
                <a:cubicBezTo>
                  <a:pt x="4" y="57"/>
                  <a:pt x="2" y="59"/>
                  <a:pt x="1" y="61"/>
                </a:cubicBezTo>
                <a:cubicBezTo>
                  <a:pt x="0" y="61"/>
                  <a:pt x="0" y="61"/>
                  <a:pt x="0" y="61"/>
                </a:cubicBezTo>
                <a:cubicBezTo>
                  <a:pt x="2" y="54"/>
                  <a:pt x="3" y="48"/>
                  <a:pt x="6" y="42"/>
                </a:cubicBezTo>
                <a:cubicBezTo>
                  <a:pt x="7" y="39"/>
                  <a:pt x="9" y="36"/>
                  <a:pt x="10" y="33"/>
                </a:cubicBezTo>
                <a:cubicBezTo>
                  <a:pt x="10" y="32"/>
                  <a:pt x="11" y="31"/>
                  <a:pt x="11" y="30"/>
                </a:cubicBezTo>
                <a:cubicBezTo>
                  <a:pt x="10" y="23"/>
                  <a:pt x="11" y="16"/>
                  <a:pt x="14" y="10"/>
                </a:cubicBezTo>
                <a:cubicBezTo>
                  <a:pt x="15" y="7"/>
                  <a:pt x="17" y="5"/>
                  <a:pt x="18" y="3"/>
                </a:cubicBezTo>
                <a:cubicBezTo>
                  <a:pt x="20" y="6"/>
                  <a:pt x="21" y="10"/>
                  <a:pt x="23" y="12"/>
                </a:cubicBezTo>
                <a:cubicBezTo>
                  <a:pt x="25" y="17"/>
                  <a:pt x="28" y="19"/>
                  <a:pt x="34" y="18"/>
                </a:cubicBezTo>
                <a:cubicBezTo>
                  <a:pt x="38" y="17"/>
                  <a:pt x="42" y="18"/>
                  <a:pt x="46" y="18"/>
                </a:cubicBezTo>
                <a:cubicBezTo>
                  <a:pt x="47" y="18"/>
                  <a:pt x="48" y="18"/>
                  <a:pt x="49" y="17"/>
                </a:cubicBezTo>
                <a:cubicBezTo>
                  <a:pt x="54" y="12"/>
                  <a:pt x="61" y="10"/>
                  <a:pt x="68" y="9"/>
                </a:cubicBezTo>
                <a:cubicBezTo>
                  <a:pt x="68" y="9"/>
                  <a:pt x="69" y="9"/>
                  <a:pt x="70" y="9"/>
                </a:cubicBezTo>
                <a:cubicBezTo>
                  <a:pt x="68" y="10"/>
                  <a:pt x="68" y="11"/>
                  <a:pt x="67" y="11"/>
                </a:cubicBezTo>
                <a:cubicBezTo>
                  <a:pt x="62" y="15"/>
                  <a:pt x="60" y="19"/>
                  <a:pt x="59" y="24"/>
                </a:cubicBezTo>
                <a:cubicBezTo>
                  <a:pt x="58" y="24"/>
                  <a:pt x="58" y="25"/>
                  <a:pt x="59" y="26"/>
                </a:cubicBezTo>
                <a:cubicBezTo>
                  <a:pt x="60" y="29"/>
                  <a:pt x="64" y="32"/>
                  <a:pt x="68" y="33"/>
                </a:cubicBezTo>
                <a:cubicBezTo>
                  <a:pt x="71" y="33"/>
                  <a:pt x="75" y="33"/>
                  <a:pt x="78" y="33"/>
                </a:cubicBezTo>
                <a:cubicBezTo>
                  <a:pt x="81" y="33"/>
                  <a:pt x="81" y="33"/>
                  <a:pt x="81" y="36"/>
                </a:cubicBezTo>
                <a:cubicBezTo>
                  <a:pt x="81" y="38"/>
                  <a:pt x="79" y="40"/>
                  <a:pt x="77" y="41"/>
                </a:cubicBezTo>
                <a:cubicBezTo>
                  <a:pt x="74" y="43"/>
                  <a:pt x="72" y="45"/>
                  <a:pt x="69" y="47"/>
                </a:cubicBezTo>
                <a:cubicBezTo>
                  <a:pt x="64" y="50"/>
                  <a:pt x="64" y="50"/>
                  <a:pt x="65" y="56"/>
                </a:cubicBezTo>
                <a:cubicBezTo>
                  <a:pt x="66" y="58"/>
                  <a:pt x="66" y="60"/>
                  <a:pt x="66" y="62"/>
                </a:cubicBezTo>
                <a:cubicBezTo>
                  <a:pt x="64" y="62"/>
                  <a:pt x="62" y="61"/>
                  <a:pt x="61" y="61"/>
                </a:cubicBezTo>
                <a:cubicBezTo>
                  <a:pt x="56" y="59"/>
                  <a:pt x="51" y="63"/>
                  <a:pt x="52" y="68"/>
                </a:cubicBezTo>
                <a:cubicBezTo>
                  <a:pt x="53" y="70"/>
                  <a:pt x="54" y="73"/>
                  <a:pt x="56" y="74"/>
                </a:cubicBezTo>
                <a:cubicBezTo>
                  <a:pt x="59" y="76"/>
                  <a:pt x="62" y="78"/>
                  <a:pt x="65" y="80"/>
                </a:cubicBezTo>
                <a:cubicBezTo>
                  <a:pt x="69" y="82"/>
                  <a:pt x="73" y="81"/>
                  <a:pt x="78" y="79"/>
                </a:cubicBezTo>
                <a:cubicBezTo>
                  <a:pt x="80" y="78"/>
                  <a:pt x="83" y="77"/>
                  <a:pt x="86" y="76"/>
                </a:cubicBezTo>
                <a:cubicBezTo>
                  <a:pt x="91" y="75"/>
                  <a:pt x="96" y="77"/>
                  <a:pt x="100" y="81"/>
                </a:cubicBezTo>
                <a:cubicBezTo>
                  <a:pt x="101" y="82"/>
                  <a:pt x="101" y="83"/>
                  <a:pt x="101" y="85"/>
                </a:cubicBezTo>
                <a:cubicBezTo>
                  <a:pt x="100" y="86"/>
                  <a:pt x="99" y="86"/>
                  <a:pt x="97" y="86"/>
                </a:cubicBezTo>
                <a:cubicBezTo>
                  <a:pt x="95" y="86"/>
                  <a:pt x="94" y="87"/>
                  <a:pt x="92" y="88"/>
                </a:cubicBezTo>
                <a:cubicBezTo>
                  <a:pt x="90" y="89"/>
                  <a:pt x="89" y="90"/>
                  <a:pt x="87" y="91"/>
                </a:cubicBezTo>
                <a:cubicBezTo>
                  <a:pt x="80" y="96"/>
                  <a:pt x="72" y="97"/>
                  <a:pt x="64" y="97"/>
                </a:cubicBezTo>
                <a:cubicBezTo>
                  <a:pt x="63" y="97"/>
                  <a:pt x="63" y="97"/>
                  <a:pt x="62" y="97"/>
                </a:cubicBezTo>
                <a:cubicBezTo>
                  <a:pt x="67" y="101"/>
                  <a:pt x="72" y="104"/>
                  <a:pt x="78" y="106"/>
                </a:cubicBezTo>
                <a:cubicBezTo>
                  <a:pt x="82" y="108"/>
                  <a:pt x="86" y="109"/>
                  <a:pt x="90" y="109"/>
                </a:cubicBezTo>
                <a:cubicBezTo>
                  <a:pt x="100" y="110"/>
                  <a:pt x="108" y="107"/>
                  <a:pt x="115" y="100"/>
                </a:cubicBezTo>
                <a:cubicBezTo>
                  <a:pt x="118" y="96"/>
                  <a:pt x="121" y="92"/>
                  <a:pt x="124" y="88"/>
                </a:cubicBezTo>
                <a:cubicBezTo>
                  <a:pt x="125" y="88"/>
                  <a:pt x="125" y="87"/>
                  <a:pt x="125" y="87"/>
                </a:cubicBezTo>
                <a:cubicBezTo>
                  <a:pt x="125" y="87"/>
                  <a:pt x="126" y="87"/>
                  <a:pt x="126" y="87"/>
                </a:cubicBezTo>
                <a:cubicBezTo>
                  <a:pt x="125" y="91"/>
                  <a:pt x="124" y="95"/>
                  <a:pt x="123" y="100"/>
                </a:cubicBezTo>
                <a:cubicBezTo>
                  <a:pt x="123" y="100"/>
                  <a:pt x="123" y="100"/>
                  <a:pt x="123" y="100"/>
                </a:cubicBezTo>
                <a:cubicBezTo>
                  <a:pt x="124" y="99"/>
                  <a:pt x="125" y="98"/>
                  <a:pt x="126" y="97"/>
                </a:cubicBezTo>
                <a:cubicBezTo>
                  <a:pt x="129" y="94"/>
                  <a:pt x="130" y="90"/>
                  <a:pt x="131" y="86"/>
                </a:cubicBezTo>
                <a:cubicBezTo>
                  <a:pt x="132" y="79"/>
                  <a:pt x="132" y="72"/>
                  <a:pt x="131" y="64"/>
                </a:cubicBezTo>
                <a:cubicBezTo>
                  <a:pt x="134" y="65"/>
                  <a:pt x="136" y="68"/>
                  <a:pt x="137" y="70"/>
                </a:cubicBezTo>
                <a:cubicBezTo>
                  <a:pt x="140" y="60"/>
                  <a:pt x="140" y="49"/>
                  <a:pt x="138" y="38"/>
                </a:cubicBezTo>
                <a:cubicBezTo>
                  <a:pt x="139" y="39"/>
                  <a:pt x="141" y="40"/>
                  <a:pt x="142" y="41"/>
                </a:cubicBezTo>
                <a:cubicBezTo>
                  <a:pt x="143" y="42"/>
                  <a:pt x="144" y="43"/>
                  <a:pt x="145" y="44"/>
                </a:cubicBezTo>
                <a:cubicBezTo>
                  <a:pt x="140" y="26"/>
                  <a:pt x="127" y="16"/>
                  <a:pt x="109" y="12"/>
                </a:cubicBezTo>
                <a:cubicBezTo>
                  <a:pt x="109" y="11"/>
                  <a:pt x="109" y="11"/>
                  <a:pt x="109" y="11"/>
                </a:cubicBezTo>
                <a:cubicBezTo>
                  <a:pt x="114" y="10"/>
                  <a:pt x="119" y="10"/>
                  <a:pt x="125" y="9"/>
                </a:cubicBezTo>
                <a:cubicBezTo>
                  <a:pt x="124" y="8"/>
                  <a:pt x="123" y="7"/>
                  <a:pt x="122" y="7"/>
                </a:cubicBezTo>
                <a:cubicBezTo>
                  <a:pt x="116" y="5"/>
                  <a:pt x="111" y="3"/>
                  <a:pt x="105" y="2"/>
                </a:cubicBezTo>
                <a:cubicBezTo>
                  <a:pt x="104" y="1"/>
                  <a:pt x="104" y="1"/>
                  <a:pt x="103" y="1"/>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59" name="Freeform 308"/>
          <p:cNvSpPr>
            <a:spLocks noEditPoints="1"/>
          </p:cNvSpPr>
          <p:nvPr/>
        </p:nvSpPr>
        <p:spPr bwMode="auto">
          <a:xfrm>
            <a:off x="3393156" y="4821530"/>
            <a:ext cx="299830" cy="296423"/>
          </a:xfrm>
          <a:custGeom>
            <a:avLst/>
            <a:gdLst>
              <a:gd name="T0" fmla="*/ 35 w 149"/>
              <a:gd name="T1" fmla="*/ 42 h 147"/>
              <a:gd name="T2" fmla="*/ 17 w 149"/>
              <a:gd name="T3" fmla="*/ 60 h 147"/>
              <a:gd name="T4" fmla="*/ 16 w 149"/>
              <a:gd name="T5" fmla="*/ 60 h 147"/>
              <a:gd name="T6" fmla="*/ 17 w 149"/>
              <a:gd name="T7" fmla="*/ 56 h 147"/>
              <a:gd name="T8" fmla="*/ 84 w 149"/>
              <a:gd name="T9" fmla="*/ 9 h 147"/>
              <a:gd name="T10" fmla="*/ 89 w 149"/>
              <a:gd name="T11" fmla="*/ 8 h 147"/>
              <a:gd name="T12" fmla="*/ 123 w 149"/>
              <a:gd name="T13" fmla="*/ 1 h 147"/>
              <a:gd name="T14" fmla="*/ 143 w 149"/>
              <a:gd name="T15" fmla="*/ 19 h 147"/>
              <a:gd name="T16" fmla="*/ 141 w 149"/>
              <a:gd name="T17" fmla="*/ 39 h 147"/>
              <a:gd name="T18" fmla="*/ 141 w 149"/>
              <a:gd name="T19" fmla="*/ 45 h 147"/>
              <a:gd name="T20" fmla="*/ 148 w 149"/>
              <a:gd name="T21" fmla="*/ 81 h 147"/>
              <a:gd name="T22" fmla="*/ 54 w 149"/>
              <a:gd name="T23" fmla="*/ 81 h 147"/>
              <a:gd name="T24" fmla="*/ 67 w 149"/>
              <a:gd name="T25" fmla="*/ 104 h 147"/>
              <a:gd name="T26" fmla="*/ 106 w 149"/>
              <a:gd name="T27" fmla="*/ 97 h 147"/>
              <a:gd name="T28" fmla="*/ 112 w 149"/>
              <a:gd name="T29" fmla="*/ 94 h 147"/>
              <a:gd name="T30" fmla="*/ 145 w 149"/>
              <a:gd name="T31" fmla="*/ 94 h 147"/>
              <a:gd name="T32" fmla="*/ 143 w 149"/>
              <a:gd name="T33" fmla="*/ 98 h 147"/>
              <a:gd name="T34" fmla="*/ 55 w 149"/>
              <a:gd name="T35" fmla="*/ 133 h 147"/>
              <a:gd name="T36" fmla="*/ 47 w 149"/>
              <a:gd name="T37" fmla="*/ 133 h 147"/>
              <a:gd name="T38" fmla="*/ 21 w 149"/>
              <a:gd name="T39" fmla="*/ 139 h 147"/>
              <a:gd name="T40" fmla="*/ 0 w 149"/>
              <a:gd name="T41" fmla="*/ 118 h 147"/>
              <a:gd name="T42" fmla="*/ 10 w 149"/>
              <a:gd name="T43" fmla="*/ 81 h 147"/>
              <a:gd name="T44" fmla="*/ 33 w 149"/>
              <a:gd name="T45" fmla="*/ 47 h 147"/>
              <a:gd name="T46" fmla="*/ 37 w 149"/>
              <a:gd name="T47" fmla="*/ 43 h 147"/>
              <a:gd name="T48" fmla="*/ 35 w 149"/>
              <a:gd name="T49" fmla="*/ 42 h 147"/>
              <a:gd name="T50" fmla="*/ 41 w 149"/>
              <a:gd name="T51" fmla="*/ 39 h 147"/>
              <a:gd name="T52" fmla="*/ 41 w 149"/>
              <a:gd name="T53" fmla="*/ 38 h 147"/>
              <a:gd name="T54" fmla="*/ 40 w 149"/>
              <a:gd name="T55" fmla="*/ 39 h 147"/>
              <a:gd name="T56" fmla="*/ 39 w 149"/>
              <a:gd name="T57" fmla="*/ 39 h 147"/>
              <a:gd name="T58" fmla="*/ 38 w 149"/>
              <a:gd name="T59" fmla="*/ 41 h 147"/>
              <a:gd name="T60" fmla="*/ 37 w 149"/>
              <a:gd name="T61" fmla="*/ 42 h 147"/>
              <a:gd name="T62" fmla="*/ 38 w 149"/>
              <a:gd name="T63" fmla="*/ 41 h 147"/>
              <a:gd name="T64" fmla="*/ 40 w 149"/>
              <a:gd name="T65" fmla="*/ 40 h 147"/>
              <a:gd name="T66" fmla="*/ 41 w 149"/>
              <a:gd name="T67" fmla="*/ 39 h 147"/>
              <a:gd name="T68" fmla="*/ 54 w 149"/>
              <a:gd name="T69" fmla="*/ 63 h 147"/>
              <a:gd name="T70" fmla="*/ 108 w 149"/>
              <a:gd name="T71" fmla="*/ 63 h 147"/>
              <a:gd name="T72" fmla="*/ 83 w 149"/>
              <a:gd name="T73" fmla="*/ 39 h 147"/>
              <a:gd name="T74" fmla="*/ 54 w 149"/>
              <a:gd name="T75" fmla="*/ 63 h 147"/>
              <a:gd name="T76" fmla="*/ 18 w 149"/>
              <a:gd name="T77" fmla="*/ 95 h 147"/>
              <a:gd name="T78" fmla="*/ 10 w 149"/>
              <a:gd name="T79" fmla="*/ 121 h 147"/>
              <a:gd name="T80" fmla="*/ 23 w 149"/>
              <a:gd name="T81" fmla="*/ 134 h 147"/>
              <a:gd name="T82" fmla="*/ 47 w 149"/>
              <a:gd name="T83" fmla="*/ 129 h 147"/>
              <a:gd name="T84" fmla="*/ 18 w 149"/>
              <a:gd name="T85" fmla="*/ 95 h 147"/>
              <a:gd name="T86" fmla="*/ 106 w 149"/>
              <a:gd name="T87" fmla="*/ 14 h 147"/>
              <a:gd name="T88" fmla="*/ 138 w 149"/>
              <a:gd name="T89" fmla="*/ 38 h 147"/>
              <a:gd name="T90" fmla="*/ 141 w 149"/>
              <a:gd name="T91" fmla="*/ 21 h 147"/>
              <a:gd name="T92" fmla="*/ 130 w 149"/>
              <a:gd name="T93" fmla="*/ 9 h 147"/>
              <a:gd name="T94" fmla="*/ 106 w 149"/>
              <a:gd name="T95" fmla="*/ 1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9" h="147">
                <a:moveTo>
                  <a:pt x="35" y="42"/>
                </a:moveTo>
                <a:cubicBezTo>
                  <a:pt x="29" y="48"/>
                  <a:pt x="23" y="54"/>
                  <a:pt x="17" y="60"/>
                </a:cubicBezTo>
                <a:cubicBezTo>
                  <a:pt x="17" y="60"/>
                  <a:pt x="16" y="60"/>
                  <a:pt x="16" y="60"/>
                </a:cubicBezTo>
                <a:cubicBezTo>
                  <a:pt x="16" y="59"/>
                  <a:pt x="17" y="57"/>
                  <a:pt x="17" y="56"/>
                </a:cubicBezTo>
                <a:cubicBezTo>
                  <a:pt x="26" y="27"/>
                  <a:pt x="53" y="8"/>
                  <a:pt x="84" y="9"/>
                </a:cubicBezTo>
                <a:cubicBezTo>
                  <a:pt x="86" y="9"/>
                  <a:pt x="88" y="8"/>
                  <a:pt x="89" y="8"/>
                </a:cubicBezTo>
                <a:cubicBezTo>
                  <a:pt x="100" y="4"/>
                  <a:pt x="112" y="0"/>
                  <a:pt x="123" y="1"/>
                </a:cubicBezTo>
                <a:cubicBezTo>
                  <a:pt x="136" y="1"/>
                  <a:pt x="143" y="7"/>
                  <a:pt x="143" y="19"/>
                </a:cubicBezTo>
                <a:cubicBezTo>
                  <a:pt x="144" y="25"/>
                  <a:pt x="142" y="32"/>
                  <a:pt x="141" y="39"/>
                </a:cubicBezTo>
                <a:cubicBezTo>
                  <a:pt x="140" y="41"/>
                  <a:pt x="140" y="43"/>
                  <a:pt x="141" y="45"/>
                </a:cubicBezTo>
                <a:cubicBezTo>
                  <a:pt x="147" y="56"/>
                  <a:pt x="149" y="68"/>
                  <a:pt x="148" y="81"/>
                </a:cubicBezTo>
                <a:cubicBezTo>
                  <a:pt x="116" y="81"/>
                  <a:pt x="85" y="81"/>
                  <a:pt x="54" y="81"/>
                </a:cubicBezTo>
                <a:cubicBezTo>
                  <a:pt x="54" y="92"/>
                  <a:pt x="59" y="99"/>
                  <a:pt x="67" y="104"/>
                </a:cubicBezTo>
                <a:cubicBezTo>
                  <a:pt x="80" y="112"/>
                  <a:pt x="97" y="109"/>
                  <a:pt x="106" y="97"/>
                </a:cubicBezTo>
                <a:cubicBezTo>
                  <a:pt x="107" y="94"/>
                  <a:pt x="109" y="94"/>
                  <a:pt x="112" y="94"/>
                </a:cubicBezTo>
                <a:cubicBezTo>
                  <a:pt x="123" y="94"/>
                  <a:pt x="133" y="94"/>
                  <a:pt x="145" y="94"/>
                </a:cubicBezTo>
                <a:cubicBezTo>
                  <a:pt x="144" y="95"/>
                  <a:pt x="144" y="97"/>
                  <a:pt x="143" y="98"/>
                </a:cubicBezTo>
                <a:cubicBezTo>
                  <a:pt x="129" y="131"/>
                  <a:pt x="89" y="147"/>
                  <a:pt x="55" y="133"/>
                </a:cubicBezTo>
                <a:cubicBezTo>
                  <a:pt x="52" y="132"/>
                  <a:pt x="50" y="132"/>
                  <a:pt x="47" y="133"/>
                </a:cubicBezTo>
                <a:cubicBezTo>
                  <a:pt x="39" y="136"/>
                  <a:pt x="31" y="139"/>
                  <a:pt x="21" y="139"/>
                </a:cubicBezTo>
                <a:cubicBezTo>
                  <a:pt x="8" y="139"/>
                  <a:pt x="0" y="132"/>
                  <a:pt x="0" y="118"/>
                </a:cubicBezTo>
                <a:cubicBezTo>
                  <a:pt x="0" y="105"/>
                  <a:pt x="4" y="93"/>
                  <a:pt x="10" y="81"/>
                </a:cubicBezTo>
                <a:cubicBezTo>
                  <a:pt x="16" y="69"/>
                  <a:pt x="24" y="57"/>
                  <a:pt x="33" y="47"/>
                </a:cubicBezTo>
                <a:cubicBezTo>
                  <a:pt x="34" y="46"/>
                  <a:pt x="36" y="45"/>
                  <a:pt x="37" y="43"/>
                </a:cubicBezTo>
                <a:cubicBezTo>
                  <a:pt x="36" y="43"/>
                  <a:pt x="36" y="42"/>
                  <a:pt x="35" y="42"/>
                </a:cubicBezTo>
                <a:close/>
                <a:moveTo>
                  <a:pt x="41" y="39"/>
                </a:moveTo>
                <a:cubicBezTo>
                  <a:pt x="41" y="39"/>
                  <a:pt x="41" y="39"/>
                  <a:pt x="41" y="38"/>
                </a:cubicBezTo>
                <a:cubicBezTo>
                  <a:pt x="41" y="39"/>
                  <a:pt x="40" y="39"/>
                  <a:pt x="40" y="39"/>
                </a:cubicBezTo>
                <a:cubicBezTo>
                  <a:pt x="40" y="39"/>
                  <a:pt x="40" y="39"/>
                  <a:pt x="39" y="39"/>
                </a:cubicBezTo>
                <a:cubicBezTo>
                  <a:pt x="39" y="40"/>
                  <a:pt x="38" y="40"/>
                  <a:pt x="38" y="41"/>
                </a:cubicBezTo>
                <a:cubicBezTo>
                  <a:pt x="38" y="41"/>
                  <a:pt x="37" y="42"/>
                  <a:pt x="37" y="42"/>
                </a:cubicBezTo>
                <a:cubicBezTo>
                  <a:pt x="38" y="42"/>
                  <a:pt x="38" y="42"/>
                  <a:pt x="38" y="41"/>
                </a:cubicBezTo>
                <a:cubicBezTo>
                  <a:pt x="39" y="41"/>
                  <a:pt x="39" y="40"/>
                  <a:pt x="40" y="40"/>
                </a:cubicBezTo>
                <a:cubicBezTo>
                  <a:pt x="40" y="40"/>
                  <a:pt x="40" y="39"/>
                  <a:pt x="41" y="39"/>
                </a:cubicBezTo>
                <a:close/>
                <a:moveTo>
                  <a:pt x="54" y="63"/>
                </a:moveTo>
                <a:cubicBezTo>
                  <a:pt x="72" y="63"/>
                  <a:pt x="90" y="63"/>
                  <a:pt x="108" y="63"/>
                </a:cubicBezTo>
                <a:cubicBezTo>
                  <a:pt x="109" y="51"/>
                  <a:pt x="97" y="40"/>
                  <a:pt x="83" y="39"/>
                </a:cubicBezTo>
                <a:cubicBezTo>
                  <a:pt x="68" y="39"/>
                  <a:pt x="55" y="49"/>
                  <a:pt x="54" y="63"/>
                </a:cubicBezTo>
                <a:close/>
                <a:moveTo>
                  <a:pt x="18" y="95"/>
                </a:moveTo>
                <a:cubicBezTo>
                  <a:pt x="14" y="104"/>
                  <a:pt x="10" y="112"/>
                  <a:pt x="10" y="121"/>
                </a:cubicBezTo>
                <a:cubicBezTo>
                  <a:pt x="11" y="129"/>
                  <a:pt x="15" y="134"/>
                  <a:pt x="23" y="134"/>
                </a:cubicBezTo>
                <a:cubicBezTo>
                  <a:pt x="31" y="135"/>
                  <a:pt x="39" y="132"/>
                  <a:pt x="47" y="129"/>
                </a:cubicBezTo>
                <a:cubicBezTo>
                  <a:pt x="33" y="121"/>
                  <a:pt x="24" y="110"/>
                  <a:pt x="18" y="95"/>
                </a:cubicBezTo>
                <a:close/>
                <a:moveTo>
                  <a:pt x="106" y="14"/>
                </a:moveTo>
                <a:cubicBezTo>
                  <a:pt x="119" y="19"/>
                  <a:pt x="130" y="27"/>
                  <a:pt x="138" y="38"/>
                </a:cubicBezTo>
                <a:cubicBezTo>
                  <a:pt x="139" y="33"/>
                  <a:pt x="141" y="27"/>
                  <a:pt x="141" y="21"/>
                </a:cubicBezTo>
                <a:cubicBezTo>
                  <a:pt x="141" y="15"/>
                  <a:pt x="137" y="10"/>
                  <a:pt x="130" y="9"/>
                </a:cubicBezTo>
                <a:cubicBezTo>
                  <a:pt x="121" y="8"/>
                  <a:pt x="114" y="11"/>
                  <a:pt x="106" y="14"/>
                </a:cubicBezTo>
                <a:close/>
              </a:path>
            </a:pathLst>
          </a:custGeom>
          <a:solidFill>
            <a:srgbClr val="FBFDF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0" name="Freeform 309"/>
          <p:cNvSpPr>
            <a:spLocks/>
          </p:cNvSpPr>
          <p:nvPr/>
        </p:nvSpPr>
        <p:spPr bwMode="auto">
          <a:xfrm>
            <a:off x="3469818" y="4899894"/>
            <a:ext cx="3407" cy="4259"/>
          </a:xfrm>
          <a:custGeom>
            <a:avLst/>
            <a:gdLst>
              <a:gd name="T0" fmla="*/ 2 w 2"/>
              <a:gd name="T1" fmla="*/ 1 h 2"/>
              <a:gd name="T2" fmla="*/ 0 w 2"/>
              <a:gd name="T3" fmla="*/ 2 h 2"/>
              <a:gd name="T4" fmla="*/ 0 w 2"/>
              <a:gd name="T5" fmla="*/ 2 h 2"/>
              <a:gd name="T6" fmla="*/ 1 w 2"/>
              <a:gd name="T7" fmla="*/ 0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1" y="1"/>
                  <a:pt x="1" y="2"/>
                  <a:pt x="0" y="2"/>
                </a:cubicBezTo>
                <a:cubicBezTo>
                  <a:pt x="0" y="2"/>
                  <a:pt x="0" y="2"/>
                  <a:pt x="0" y="2"/>
                </a:cubicBezTo>
                <a:cubicBezTo>
                  <a:pt x="0" y="1"/>
                  <a:pt x="1" y="1"/>
                  <a:pt x="1" y="0"/>
                </a:cubicBezTo>
                <a:cubicBezTo>
                  <a:pt x="1" y="1"/>
                  <a:pt x="2" y="1"/>
                  <a:pt x="2" y="1"/>
                </a:cubicBezTo>
                <a:close/>
              </a:path>
            </a:pathLst>
          </a:custGeom>
          <a:solidFill>
            <a:srgbClr val="01AA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1" name="Freeform 310"/>
          <p:cNvSpPr>
            <a:spLocks/>
          </p:cNvSpPr>
          <p:nvPr/>
        </p:nvSpPr>
        <p:spPr bwMode="auto">
          <a:xfrm>
            <a:off x="3473224" y="4898190"/>
            <a:ext cx="2556" cy="1704"/>
          </a:xfrm>
          <a:custGeom>
            <a:avLst/>
            <a:gdLst>
              <a:gd name="T0" fmla="*/ 0 w 1"/>
              <a:gd name="T1" fmla="*/ 1 h 1"/>
              <a:gd name="T2" fmla="*/ 1 w 1"/>
              <a:gd name="T3" fmla="*/ 0 h 1"/>
              <a:gd name="T4" fmla="*/ 1 w 1"/>
              <a:gd name="T5" fmla="*/ 1 h 1"/>
              <a:gd name="T6" fmla="*/ 0 w 1"/>
              <a:gd name="T7" fmla="*/ 1 h 1"/>
            </a:gdLst>
            <a:ahLst/>
            <a:cxnLst>
              <a:cxn ang="0">
                <a:pos x="T0" y="T1"/>
              </a:cxn>
              <a:cxn ang="0">
                <a:pos x="T2" y="T3"/>
              </a:cxn>
              <a:cxn ang="0">
                <a:pos x="T4" y="T5"/>
              </a:cxn>
              <a:cxn ang="0">
                <a:pos x="T6" y="T7"/>
              </a:cxn>
            </a:cxnLst>
            <a:rect l="0" t="0" r="r" b="b"/>
            <a:pathLst>
              <a:path w="1" h="1">
                <a:moveTo>
                  <a:pt x="0" y="1"/>
                </a:moveTo>
                <a:cubicBezTo>
                  <a:pt x="0" y="1"/>
                  <a:pt x="1" y="1"/>
                  <a:pt x="1" y="0"/>
                </a:cubicBezTo>
                <a:cubicBezTo>
                  <a:pt x="1" y="1"/>
                  <a:pt x="1" y="1"/>
                  <a:pt x="1" y="1"/>
                </a:cubicBezTo>
                <a:cubicBezTo>
                  <a:pt x="0" y="1"/>
                  <a:pt x="0" y="1"/>
                  <a:pt x="0" y="1"/>
                </a:cubicBezTo>
                <a:close/>
              </a:path>
            </a:pathLst>
          </a:custGeom>
          <a:solidFill>
            <a:srgbClr val="01AA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2" name="Freeform 311"/>
          <p:cNvSpPr>
            <a:spLocks/>
          </p:cNvSpPr>
          <p:nvPr/>
        </p:nvSpPr>
        <p:spPr bwMode="auto">
          <a:xfrm>
            <a:off x="3471521" y="4899893"/>
            <a:ext cx="4259" cy="1704"/>
          </a:xfrm>
          <a:custGeom>
            <a:avLst/>
            <a:gdLst>
              <a:gd name="T0" fmla="*/ 2 w 2"/>
              <a:gd name="T1" fmla="*/ 0 h 1"/>
              <a:gd name="T2" fmla="*/ 1 w 2"/>
              <a:gd name="T3" fmla="*/ 1 h 1"/>
              <a:gd name="T4" fmla="*/ 0 w 2"/>
              <a:gd name="T5" fmla="*/ 0 h 1"/>
              <a:gd name="T6" fmla="*/ 1 w 2"/>
              <a:gd name="T7" fmla="*/ 0 h 1"/>
              <a:gd name="T8" fmla="*/ 2 w 2"/>
              <a:gd name="T9" fmla="*/ 0 h 1"/>
            </a:gdLst>
            <a:ahLst/>
            <a:cxnLst>
              <a:cxn ang="0">
                <a:pos x="T0" y="T1"/>
              </a:cxn>
              <a:cxn ang="0">
                <a:pos x="T2" y="T3"/>
              </a:cxn>
              <a:cxn ang="0">
                <a:pos x="T4" y="T5"/>
              </a:cxn>
              <a:cxn ang="0">
                <a:pos x="T6" y="T7"/>
              </a:cxn>
              <a:cxn ang="0">
                <a:pos x="T8" y="T9"/>
              </a:cxn>
            </a:cxnLst>
            <a:rect l="0" t="0" r="r" b="b"/>
            <a:pathLst>
              <a:path w="2" h="1">
                <a:moveTo>
                  <a:pt x="2" y="0"/>
                </a:moveTo>
                <a:cubicBezTo>
                  <a:pt x="1" y="0"/>
                  <a:pt x="1" y="1"/>
                  <a:pt x="1" y="1"/>
                </a:cubicBezTo>
                <a:cubicBezTo>
                  <a:pt x="1" y="1"/>
                  <a:pt x="0" y="1"/>
                  <a:pt x="0" y="0"/>
                </a:cubicBezTo>
                <a:cubicBezTo>
                  <a:pt x="1" y="0"/>
                  <a:pt x="1" y="0"/>
                  <a:pt x="1" y="0"/>
                </a:cubicBezTo>
                <a:cubicBezTo>
                  <a:pt x="1" y="0"/>
                  <a:pt x="1" y="0"/>
                  <a:pt x="2" y="0"/>
                </a:cubicBezTo>
                <a:close/>
              </a:path>
            </a:pathLst>
          </a:custGeom>
          <a:solidFill>
            <a:srgbClr val="01AA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3" name="Freeform 312"/>
          <p:cNvSpPr>
            <a:spLocks/>
          </p:cNvSpPr>
          <p:nvPr/>
        </p:nvSpPr>
        <p:spPr bwMode="auto">
          <a:xfrm>
            <a:off x="3467261" y="4904153"/>
            <a:ext cx="2556" cy="1704"/>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1"/>
                  <a:pt x="1" y="1"/>
                  <a:pt x="0" y="1"/>
                </a:cubicBezTo>
                <a:cubicBezTo>
                  <a:pt x="0" y="1"/>
                  <a:pt x="1" y="0"/>
                  <a:pt x="1" y="0"/>
                </a:cubicBezTo>
                <a:cubicBezTo>
                  <a:pt x="1" y="0"/>
                  <a:pt x="1" y="0"/>
                  <a:pt x="1" y="0"/>
                </a:cubicBezTo>
                <a:close/>
              </a:path>
            </a:pathLst>
          </a:custGeom>
          <a:solidFill>
            <a:srgbClr val="01AA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4" name="Freeform 313"/>
          <p:cNvSpPr>
            <a:spLocks noEditPoints="1"/>
          </p:cNvSpPr>
          <p:nvPr/>
        </p:nvSpPr>
        <p:spPr bwMode="auto">
          <a:xfrm>
            <a:off x="4359937" y="4801087"/>
            <a:ext cx="310051" cy="326235"/>
          </a:xfrm>
          <a:custGeom>
            <a:avLst/>
            <a:gdLst>
              <a:gd name="T0" fmla="*/ 75 w 154"/>
              <a:gd name="T1" fmla="*/ 162 h 162"/>
              <a:gd name="T2" fmla="*/ 1 w 154"/>
              <a:gd name="T3" fmla="*/ 91 h 162"/>
              <a:gd name="T4" fmla="*/ 41 w 154"/>
              <a:gd name="T5" fmla="*/ 20 h 162"/>
              <a:gd name="T6" fmla="*/ 43 w 154"/>
              <a:gd name="T7" fmla="*/ 17 h 162"/>
              <a:gd name="T8" fmla="*/ 55 w 154"/>
              <a:gd name="T9" fmla="*/ 1 h 162"/>
              <a:gd name="T10" fmla="*/ 73 w 154"/>
              <a:gd name="T11" fmla="*/ 9 h 162"/>
              <a:gd name="T12" fmla="*/ 77 w 154"/>
              <a:gd name="T13" fmla="*/ 12 h 162"/>
              <a:gd name="T14" fmla="*/ 151 w 154"/>
              <a:gd name="T15" fmla="*/ 83 h 162"/>
              <a:gd name="T16" fmla="*/ 84 w 154"/>
              <a:gd name="T17" fmla="*/ 162 h 162"/>
              <a:gd name="T18" fmla="*/ 75 w 154"/>
              <a:gd name="T19" fmla="*/ 162 h 162"/>
              <a:gd name="T20" fmla="*/ 64 w 154"/>
              <a:gd name="T21" fmla="*/ 33 h 162"/>
              <a:gd name="T22" fmla="*/ 22 w 154"/>
              <a:gd name="T23" fmla="*/ 96 h 162"/>
              <a:gd name="T24" fmla="*/ 28 w 154"/>
              <a:gd name="T25" fmla="*/ 96 h 162"/>
              <a:gd name="T26" fmla="*/ 28 w 154"/>
              <a:gd name="T27" fmla="*/ 97 h 162"/>
              <a:gd name="T28" fmla="*/ 22 w 154"/>
              <a:gd name="T29" fmla="*/ 100 h 162"/>
              <a:gd name="T30" fmla="*/ 31 w 154"/>
              <a:gd name="T31" fmla="*/ 119 h 162"/>
              <a:gd name="T32" fmla="*/ 82 w 154"/>
              <a:gd name="T33" fmla="*/ 142 h 162"/>
              <a:gd name="T34" fmla="*/ 85 w 154"/>
              <a:gd name="T35" fmla="*/ 139 h 162"/>
              <a:gd name="T36" fmla="*/ 85 w 154"/>
              <a:gd name="T37" fmla="*/ 135 h 162"/>
              <a:gd name="T38" fmla="*/ 88 w 154"/>
              <a:gd name="T39" fmla="*/ 138 h 162"/>
              <a:gd name="T40" fmla="*/ 91 w 154"/>
              <a:gd name="T41" fmla="*/ 140 h 162"/>
              <a:gd name="T42" fmla="*/ 131 w 154"/>
              <a:gd name="T43" fmla="*/ 83 h 162"/>
              <a:gd name="T44" fmla="*/ 126 w 154"/>
              <a:gd name="T45" fmla="*/ 78 h 162"/>
              <a:gd name="T46" fmla="*/ 124 w 154"/>
              <a:gd name="T47" fmla="*/ 78 h 162"/>
              <a:gd name="T48" fmla="*/ 124 w 154"/>
              <a:gd name="T49" fmla="*/ 77 h 162"/>
              <a:gd name="T50" fmla="*/ 130 w 154"/>
              <a:gd name="T51" fmla="*/ 74 h 162"/>
              <a:gd name="T52" fmla="*/ 68 w 154"/>
              <a:gd name="T53" fmla="*/ 33 h 162"/>
              <a:gd name="T54" fmla="*/ 68 w 154"/>
              <a:gd name="T55" fmla="*/ 40 h 162"/>
              <a:gd name="T56" fmla="*/ 67 w 154"/>
              <a:gd name="T57" fmla="*/ 40 h 162"/>
              <a:gd name="T58" fmla="*/ 64 w 154"/>
              <a:gd name="T59" fmla="*/ 33 h 162"/>
              <a:gd name="T60" fmla="*/ 50 w 154"/>
              <a:gd name="T61" fmla="*/ 16 h 162"/>
              <a:gd name="T62" fmla="*/ 67 w 154"/>
              <a:gd name="T63" fmla="*/ 12 h 162"/>
              <a:gd name="T64" fmla="*/ 57 w 154"/>
              <a:gd name="T65" fmla="*/ 7 h 162"/>
              <a:gd name="T66" fmla="*/ 50 w 154"/>
              <a:gd name="T67" fmla="*/ 1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62">
                <a:moveTo>
                  <a:pt x="75" y="162"/>
                </a:moveTo>
                <a:cubicBezTo>
                  <a:pt x="35" y="162"/>
                  <a:pt x="2" y="130"/>
                  <a:pt x="1" y="91"/>
                </a:cubicBezTo>
                <a:cubicBezTo>
                  <a:pt x="0" y="59"/>
                  <a:pt x="14" y="36"/>
                  <a:pt x="41" y="20"/>
                </a:cubicBezTo>
                <a:cubicBezTo>
                  <a:pt x="43" y="19"/>
                  <a:pt x="43" y="19"/>
                  <a:pt x="43" y="17"/>
                </a:cubicBezTo>
                <a:cubicBezTo>
                  <a:pt x="43" y="9"/>
                  <a:pt x="48" y="3"/>
                  <a:pt x="55" y="1"/>
                </a:cubicBezTo>
                <a:cubicBezTo>
                  <a:pt x="62" y="0"/>
                  <a:pt x="70" y="3"/>
                  <a:pt x="73" y="9"/>
                </a:cubicBezTo>
                <a:cubicBezTo>
                  <a:pt x="74" y="11"/>
                  <a:pt x="75" y="12"/>
                  <a:pt x="77" y="12"/>
                </a:cubicBezTo>
                <a:cubicBezTo>
                  <a:pt x="117" y="12"/>
                  <a:pt x="149" y="43"/>
                  <a:pt x="151" y="83"/>
                </a:cubicBezTo>
                <a:cubicBezTo>
                  <a:pt x="154" y="123"/>
                  <a:pt x="123" y="158"/>
                  <a:pt x="84" y="162"/>
                </a:cubicBezTo>
                <a:cubicBezTo>
                  <a:pt x="81" y="162"/>
                  <a:pt x="78" y="162"/>
                  <a:pt x="75" y="162"/>
                </a:cubicBezTo>
                <a:close/>
                <a:moveTo>
                  <a:pt x="64" y="33"/>
                </a:moveTo>
                <a:cubicBezTo>
                  <a:pt x="34" y="40"/>
                  <a:pt x="16" y="70"/>
                  <a:pt x="22" y="96"/>
                </a:cubicBezTo>
                <a:cubicBezTo>
                  <a:pt x="24" y="96"/>
                  <a:pt x="26" y="96"/>
                  <a:pt x="28" y="96"/>
                </a:cubicBezTo>
                <a:cubicBezTo>
                  <a:pt x="28" y="96"/>
                  <a:pt x="28" y="97"/>
                  <a:pt x="28" y="97"/>
                </a:cubicBezTo>
                <a:cubicBezTo>
                  <a:pt x="26" y="98"/>
                  <a:pt x="24" y="99"/>
                  <a:pt x="22" y="100"/>
                </a:cubicBezTo>
                <a:cubicBezTo>
                  <a:pt x="24" y="107"/>
                  <a:pt x="27" y="114"/>
                  <a:pt x="31" y="119"/>
                </a:cubicBezTo>
                <a:cubicBezTo>
                  <a:pt x="44" y="136"/>
                  <a:pt x="61" y="144"/>
                  <a:pt x="82" y="142"/>
                </a:cubicBezTo>
                <a:cubicBezTo>
                  <a:pt x="84" y="142"/>
                  <a:pt x="85" y="141"/>
                  <a:pt x="85" y="139"/>
                </a:cubicBezTo>
                <a:cubicBezTo>
                  <a:pt x="85" y="137"/>
                  <a:pt x="85" y="136"/>
                  <a:pt x="85" y="135"/>
                </a:cubicBezTo>
                <a:cubicBezTo>
                  <a:pt x="87" y="136"/>
                  <a:pt x="87" y="137"/>
                  <a:pt x="88" y="138"/>
                </a:cubicBezTo>
                <a:cubicBezTo>
                  <a:pt x="88" y="140"/>
                  <a:pt x="90" y="141"/>
                  <a:pt x="91" y="140"/>
                </a:cubicBezTo>
                <a:cubicBezTo>
                  <a:pt x="116" y="133"/>
                  <a:pt x="133" y="109"/>
                  <a:pt x="131" y="83"/>
                </a:cubicBezTo>
                <a:cubicBezTo>
                  <a:pt x="131" y="78"/>
                  <a:pt x="131" y="78"/>
                  <a:pt x="126" y="78"/>
                </a:cubicBezTo>
                <a:cubicBezTo>
                  <a:pt x="125" y="78"/>
                  <a:pt x="125" y="78"/>
                  <a:pt x="124" y="78"/>
                </a:cubicBezTo>
                <a:cubicBezTo>
                  <a:pt x="124" y="77"/>
                  <a:pt x="124" y="77"/>
                  <a:pt x="124" y="77"/>
                </a:cubicBezTo>
                <a:cubicBezTo>
                  <a:pt x="126" y="76"/>
                  <a:pt x="128" y="75"/>
                  <a:pt x="130" y="74"/>
                </a:cubicBezTo>
                <a:cubicBezTo>
                  <a:pt x="123" y="44"/>
                  <a:pt x="92" y="28"/>
                  <a:pt x="68" y="33"/>
                </a:cubicBezTo>
                <a:cubicBezTo>
                  <a:pt x="68" y="35"/>
                  <a:pt x="68" y="37"/>
                  <a:pt x="68" y="40"/>
                </a:cubicBezTo>
                <a:cubicBezTo>
                  <a:pt x="67" y="40"/>
                  <a:pt x="67" y="40"/>
                  <a:pt x="67" y="40"/>
                </a:cubicBezTo>
                <a:cubicBezTo>
                  <a:pt x="66" y="38"/>
                  <a:pt x="65" y="35"/>
                  <a:pt x="64" y="33"/>
                </a:cubicBezTo>
                <a:close/>
                <a:moveTo>
                  <a:pt x="50" y="16"/>
                </a:moveTo>
                <a:cubicBezTo>
                  <a:pt x="56" y="15"/>
                  <a:pt x="62" y="13"/>
                  <a:pt x="67" y="12"/>
                </a:cubicBezTo>
                <a:cubicBezTo>
                  <a:pt x="65" y="8"/>
                  <a:pt x="61" y="6"/>
                  <a:pt x="57" y="7"/>
                </a:cubicBezTo>
                <a:cubicBezTo>
                  <a:pt x="53" y="8"/>
                  <a:pt x="50" y="12"/>
                  <a:pt x="50" y="16"/>
                </a:cubicBezTo>
                <a:close/>
              </a:path>
            </a:pathLst>
          </a:custGeom>
          <a:solidFill>
            <a:srgbClr val="FCFDF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5" name="Freeform 314"/>
          <p:cNvSpPr>
            <a:spLocks/>
          </p:cNvSpPr>
          <p:nvPr/>
        </p:nvSpPr>
        <p:spPr bwMode="auto">
          <a:xfrm>
            <a:off x="4460447" y="4825788"/>
            <a:ext cx="34072" cy="7666"/>
          </a:xfrm>
          <a:custGeom>
            <a:avLst/>
            <a:gdLst>
              <a:gd name="T0" fmla="*/ 17 w 17"/>
              <a:gd name="T1" fmla="*/ 0 h 4"/>
              <a:gd name="T2" fmla="*/ 0 w 17"/>
              <a:gd name="T3" fmla="*/ 4 h 4"/>
            </a:gdLst>
            <a:ahLst/>
            <a:cxnLst>
              <a:cxn ang="0">
                <a:pos x="T0" y="T1"/>
              </a:cxn>
              <a:cxn ang="0">
                <a:pos x="T2" y="T3"/>
              </a:cxn>
            </a:cxnLst>
            <a:rect l="0" t="0" r="r" b="b"/>
            <a:pathLst>
              <a:path w="17" h="4">
                <a:moveTo>
                  <a:pt x="17" y="0"/>
                </a:moveTo>
                <a:cubicBezTo>
                  <a:pt x="12" y="1"/>
                  <a:pt x="6" y="3"/>
                  <a:pt x="0" y="4"/>
                </a:cubicBezTo>
              </a:path>
            </a:pathLst>
          </a:custGeom>
          <a:solidFill>
            <a:srgbClr val="00A8E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6" name="Freeform 315"/>
          <p:cNvSpPr>
            <a:spLocks noEditPoints="1"/>
          </p:cNvSpPr>
          <p:nvPr/>
        </p:nvSpPr>
        <p:spPr bwMode="auto">
          <a:xfrm>
            <a:off x="4442561" y="4904153"/>
            <a:ext cx="142249" cy="147360"/>
          </a:xfrm>
          <a:custGeom>
            <a:avLst/>
            <a:gdLst>
              <a:gd name="T0" fmla="*/ 42 w 71"/>
              <a:gd name="T1" fmla="*/ 70 h 73"/>
              <a:gd name="T2" fmla="*/ 36 w 71"/>
              <a:gd name="T3" fmla="*/ 57 h 73"/>
              <a:gd name="T4" fmla="*/ 33 w 71"/>
              <a:gd name="T5" fmla="*/ 55 h 73"/>
              <a:gd name="T6" fmla="*/ 31 w 71"/>
              <a:gd name="T7" fmla="*/ 54 h 73"/>
              <a:gd name="T8" fmla="*/ 22 w 71"/>
              <a:gd name="T9" fmla="*/ 56 h 73"/>
              <a:gd name="T10" fmla="*/ 4 w 71"/>
              <a:gd name="T11" fmla="*/ 71 h 73"/>
              <a:gd name="T12" fmla="*/ 2 w 71"/>
              <a:gd name="T13" fmla="*/ 73 h 73"/>
              <a:gd name="T14" fmla="*/ 3 w 71"/>
              <a:gd name="T15" fmla="*/ 71 h 73"/>
              <a:gd name="T16" fmla="*/ 18 w 71"/>
              <a:gd name="T17" fmla="*/ 49 h 73"/>
              <a:gd name="T18" fmla="*/ 19 w 71"/>
              <a:gd name="T19" fmla="*/ 46 h 73"/>
              <a:gd name="T20" fmla="*/ 15 w 71"/>
              <a:gd name="T21" fmla="*/ 44 h 73"/>
              <a:gd name="T22" fmla="*/ 0 w 71"/>
              <a:gd name="T23" fmla="*/ 43 h 73"/>
              <a:gd name="T24" fmla="*/ 13 w 71"/>
              <a:gd name="T25" fmla="*/ 36 h 73"/>
              <a:gd name="T26" fmla="*/ 17 w 71"/>
              <a:gd name="T27" fmla="*/ 32 h 73"/>
              <a:gd name="T28" fmla="*/ 19 w 71"/>
              <a:gd name="T29" fmla="*/ 26 h 73"/>
              <a:gd name="T30" fmla="*/ 14 w 71"/>
              <a:gd name="T31" fmla="*/ 22 h 73"/>
              <a:gd name="T32" fmla="*/ 16 w 71"/>
              <a:gd name="T33" fmla="*/ 22 h 73"/>
              <a:gd name="T34" fmla="*/ 25 w 71"/>
              <a:gd name="T35" fmla="*/ 20 h 73"/>
              <a:gd name="T36" fmla="*/ 27 w 71"/>
              <a:gd name="T37" fmla="*/ 17 h 73"/>
              <a:gd name="T38" fmla="*/ 29 w 71"/>
              <a:gd name="T39" fmla="*/ 2 h 73"/>
              <a:gd name="T40" fmla="*/ 36 w 71"/>
              <a:gd name="T41" fmla="*/ 14 h 73"/>
              <a:gd name="T42" fmla="*/ 40 w 71"/>
              <a:gd name="T43" fmla="*/ 18 h 73"/>
              <a:gd name="T44" fmla="*/ 49 w 71"/>
              <a:gd name="T45" fmla="*/ 16 h 73"/>
              <a:gd name="T46" fmla="*/ 66 w 71"/>
              <a:gd name="T47" fmla="*/ 1 h 73"/>
              <a:gd name="T48" fmla="*/ 69 w 71"/>
              <a:gd name="T49" fmla="*/ 0 h 73"/>
              <a:gd name="T50" fmla="*/ 67 w 71"/>
              <a:gd name="T51" fmla="*/ 2 h 73"/>
              <a:gd name="T52" fmla="*/ 52 w 71"/>
              <a:gd name="T53" fmla="*/ 24 h 73"/>
              <a:gd name="T54" fmla="*/ 52 w 71"/>
              <a:gd name="T55" fmla="*/ 27 h 73"/>
              <a:gd name="T56" fmla="*/ 54 w 71"/>
              <a:gd name="T57" fmla="*/ 28 h 73"/>
              <a:gd name="T58" fmla="*/ 71 w 71"/>
              <a:gd name="T59" fmla="*/ 29 h 73"/>
              <a:gd name="T60" fmla="*/ 57 w 71"/>
              <a:gd name="T61" fmla="*/ 36 h 73"/>
              <a:gd name="T62" fmla="*/ 55 w 71"/>
              <a:gd name="T63" fmla="*/ 46 h 73"/>
              <a:gd name="T64" fmla="*/ 58 w 71"/>
              <a:gd name="T65" fmla="*/ 50 h 73"/>
              <a:gd name="T66" fmla="*/ 57 w 71"/>
              <a:gd name="T67" fmla="*/ 50 h 73"/>
              <a:gd name="T68" fmla="*/ 43 w 71"/>
              <a:gd name="T69" fmla="*/ 53 h 73"/>
              <a:gd name="T70" fmla="*/ 43 w 71"/>
              <a:gd name="T71" fmla="*/ 56 h 73"/>
              <a:gd name="T72" fmla="*/ 43 w 71"/>
              <a:gd name="T73" fmla="*/ 69 h 73"/>
              <a:gd name="T74" fmla="*/ 42 w 71"/>
              <a:gd name="T75" fmla="*/ 70 h 73"/>
              <a:gd name="T76" fmla="*/ 22 w 71"/>
              <a:gd name="T77" fmla="*/ 44 h 73"/>
              <a:gd name="T78" fmla="*/ 42 w 71"/>
              <a:gd name="T79" fmla="*/ 22 h 73"/>
              <a:gd name="T80" fmla="*/ 24 w 71"/>
              <a:gd name="T81" fmla="*/ 25 h 73"/>
              <a:gd name="T82" fmla="*/ 22 w 71"/>
              <a:gd name="T83" fmla="*/ 44 h 73"/>
              <a:gd name="T84" fmla="*/ 29 w 71"/>
              <a:gd name="T85" fmla="*/ 50 h 73"/>
              <a:gd name="T86" fmla="*/ 47 w 71"/>
              <a:gd name="T87" fmla="*/ 45 h 73"/>
              <a:gd name="T88" fmla="*/ 48 w 71"/>
              <a:gd name="T89" fmla="*/ 29 h 73"/>
              <a:gd name="T90" fmla="*/ 29 w 71"/>
              <a:gd name="T91" fmla="*/ 5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73">
                <a:moveTo>
                  <a:pt x="42" y="70"/>
                </a:moveTo>
                <a:cubicBezTo>
                  <a:pt x="40" y="65"/>
                  <a:pt x="38" y="61"/>
                  <a:pt x="36" y="57"/>
                </a:cubicBezTo>
                <a:cubicBezTo>
                  <a:pt x="35" y="56"/>
                  <a:pt x="34" y="55"/>
                  <a:pt x="33" y="55"/>
                </a:cubicBezTo>
                <a:cubicBezTo>
                  <a:pt x="32" y="54"/>
                  <a:pt x="31" y="54"/>
                  <a:pt x="31" y="54"/>
                </a:cubicBezTo>
                <a:cubicBezTo>
                  <a:pt x="27" y="52"/>
                  <a:pt x="25" y="54"/>
                  <a:pt x="22" y="56"/>
                </a:cubicBezTo>
                <a:cubicBezTo>
                  <a:pt x="16" y="61"/>
                  <a:pt x="10" y="66"/>
                  <a:pt x="4" y="71"/>
                </a:cubicBezTo>
                <a:cubicBezTo>
                  <a:pt x="3" y="72"/>
                  <a:pt x="3" y="72"/>
                  <a:pt x="2" y="73"/>
                </a:cubicBezTo>
                <a:cubicBezTo>
                  <a:pt x="2" y="72"/>
                  <a:pt x="2" y="72"/>
                  <a:pt x="3" y="71"/>
                </a:cubicBezTo>
                <a:cubicBezTo>
                  <a:pt x="8" y="64"/>
                  <a:pt x="13" y="56"/>
                  <a:pt x="18" y="49"/>
                </a:cubicBezTo>
                <a:cubicBezTo>
                  <a:pt x="19" y="48"/>
                  <a:pt x="19" y="47"/>
                  <a:pt x="19" y="46"/>
                </a:cubicBezTo>
                <a:cubicBezTo>
                  <a:pt x="19" y="44"/>
                  <a:pt x="17" y="44"/>
                  <a:pt x="15" y="44"/>
                </a:cubicBezTo>
                <a:cubicBezTo>
                  <a:pt x="10" y="44"/>
                  <a:pt x="5" y="44"/>
                  <a:pt x="0" y="43"/>
                </a:cubicBezTo>
                <a:cubicBezTo>
                  <a:pt x="4" y="41"/>
                  <a:pt x="9" y="38"/>
                  <a:pt x="13" y="36"/>
                </a:cubicBezTo>
                <a:cubicBezTo>
                  <a:pt x="15" y="35"/>
                  <a:pt x="17" y="34"/>
                  <a:pt x="17" y="32"/>
                </a:cubicBezTo>
                <a:cubicBezTo>
                  <a:pt x="17" y="30"/>
                  <a:pt x="18" y="28"/>
                  <a:pt x="19" y="26"/>
                </a:cubicBezTo>
                <a:cubicBezTo>
                  <a:pt x="17" y="25"/>
                  <a:pt x="16" y="23"/>
                  <a:pt x="14" y="22"/>
                </a:cubicBezTo>
                <a:cubicBezTo>
                  <a:pt x="15" y="22"/>
                  <a:pt x="16" y="22"/>
                  <a:pt x="16" y="22"/>
                </a:cubicBezTo>
                <a:cubicBezTo>
                  <a:pt x="19" y="24"/>
                  <a:pt x="22" y="23"/>
                  <a:pt x="25" y="20"/>
                </a:cubicBezTo>
                <a:cubicBezTo>
                  <a:pt x="26" y="19"/>
                  <a:pt x="27" y="18"/>
                  <a:pt x="27" y="17"/>
                </a:cubicBezTo>
                <a:cubicBezTo>
                  <a:pt x="28" y="12"/>
                  <a:pt x="28" y="7"/>
                  <a:pt x="29" y="2"/>
                </a:cubicBezTo>
                <a:cubicBezTo>
                  <a:pt x="31" y="6"/>
                  <a:pt x="34" y="10"/>
                  <a:pt x="36" y="14"/>
                </a:cubicBezTo>
                <a:cubicBezTo>
                  <a:pt x="37" y="16"/>
                  <a:pt x="38" y="17"/>
                  <a:pt x="40" y="18"/>
                </a:cubicBezTo>
                <a:cubicBezTo>
                  <a:pt x="44" y="20"/>
                  <a:pt x="46" y="18"/>
                  <a:pt x="49" y="16"/>
                </a:cubicBezTo>
                <a:cubicBezTo>
                  <a:pt x="55" y="11"/>
                  <a:pt x="60" y="6"/>
                  <a:pt x="66" y="1"/>
                </a:cubicBezTo>
                <a:cubicBezTo>
                  <a:pt x="67" y="1"/>
                  <a:pt x="68" y="0"/>
                  <a:pt x="69" y="0"/>
                </a:cubicBezTo>
                <a:cubicBezTo>
                  <a:pt x="68" y="1"/>
                  <a:pt x="68" y="2"/>
                  <a:pt x="67" y="2"/>
                </a:cubicBezTo>
                <a:cubicBezTo>
                  <a:pt x="62" y="10"/>
                  <a:pt x="57" y="17"/>
                  <a:pt x="52" y="24"/>
                </a:cubicBezTo>
                <a:cubicBezTo>
                  <a:pt x="52" y="25"/>
                  <a:pt x="51" y="26"/>
                  <a:pt x="52" y="27"/>
                </a:cubicBezTo>
                <a:cubicBezTo>
                  <a:pt x="52" y="28"/>
                  <a:pt x="54" y="28"/>
                  <a:pt x="54" y="28"/>
                </a:cubicBezTo>
                <a:cubicBezTo>
                  <a:pt x="60" y="28"/>
                  <a:pt x="65" y="28"/>
                  <a:pt x="71" y="29"/>
                </a:cubicBezTo>
                <a:cubicBezTo>
                  <a:pt x="66" y="31"/>
                  <a:pt x="61" y="33"/>
                  <a:pt x="57" y="36"/>
                </a:cubicBezTo>
                <a:cubicBezTo>
                  <a:pt x="53" y="37"/>
                  <a:pt x="52" y="43"/>
                  <a:pt x="55" y="46"/>
                </a:cubicBezTo>
                <a:cubicBezTo>
                  <a:pt x="56" y="47"/>
                  <a:pt x="57" y="49"/>
                  <a:pt x="58" y="50"/>
                </a:cubicBezTo>
                <a:cubicBezTo>
                  <a:pt x="57" y="50"/>
                  <a:pt x="57" y="51"/>
                  <a:pt x="57" y="50"/>
                </a:cubicBezTo>
                <a:cubicBezTo>
                  <a:pt x="50" y="48"/>
                  <a:pt x="48" y="48"/>
                  <a:pt x="43" y="53"/>
                </a:cubicBezTo>
                <a:cubicBezTo>
                  <a:pt x="43" y="54"/>
                  <a:pt x="43" y="55"/>
                  <a:pt x="43" y="56"/>
                </a:cubicBezTo>
                <a:cubicBezTo>
                  <a:pt x="43" y="60"/>
                  <a:pt x="43" y="65"/>
                  <a:pt x="43" y="69"/>
                </a:cubicBezTo>
                <a:cubicBezTo>
                  <a:pt x="42" y="70"/>
                  <a:pt x="42" y="70"/>
                  <a:pt x="42" y="70"/>
                </a:cubicBezTo>
                <a:close/>
                <a:moveTo>
                  <a:pt x="22" y="44"/>
                </a:moveTo>
                <a:cubicBezTo>
                  <a:pt x="27" y="35"/>
                  <a:pt x="34" y="28"/>
                  <a:pt x="42" y="22"/>
                </a:cubicBezTo>
                <a:cubicBezTo>
                  <a:pt x="36" y="19"/>
                  <a:pt x="28" y="21"/>
                  <a:pt x="24" y="25"/>
                </a:cubicBezTo>
                <a:cubicBezTo>
                  <a:pt x="19" y="30"/>
                  <a:pt x="18" y="38"/>
                  <a:pt x="22" y="44"/>
                </a:cubicBezTo>
                <a:close/>
                <a:moveTo>
                  <a:pt x="29" y="50"/>
                </a:moveTo>
                <a:cubicBezTo>
                  <a:pt x="36" y="53"/>
                  <a:pt x="43" y="51"/>
                  <a:pt x="47" y="45"/>
                </a:cubicBezTo>
                <a:cubicBezTo>
                  <a:pt x="51" y="40"/>
                  <a:pt x="52" y="33"/>
                  <a:pt x="48" y="29"/>
                </a:cubicBezTo>
                <a:cubicBezTo>
                  <a:pt x="44" y="37"/>
                  <a:pt x="38" y="44"/>
                  <a:pt x="29" y="50"/>
                </a:cubicBezTo>
                <a:close/>
              </a:path>
            </a:pathLst>
          </a:custGeom>
          <a:solidFill>
            <a:srgbClr val="FCFDF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7" name="Freeform 316"/>
          <p:cNvSpPr>
            <a:spLocks/>
          </p:cNvSpPr>
          <p:nvPr/>
        </p:nvSpPr>
        <p:spPr bwMode="auto">
          <a:xfrm>
            <a:off x="3983445" y="4922040"/>
            <a:ext cx="196764" cy="203578"/>
          </a:xfrm>
          <a:custGeom>
            <a:avLst/>
            <a:gdLst>
              <a:gd name="T0" fmla="*/ 45 w 98"/>
              <a:gd name="T1" fmla="*/ 7 h 101"/>
              <a:gd name="T2" fmla="*/ 88 w 98"/>
              <a:gd name="T3" fmla="*/ 0 h 101"/>
              <a:gd name="T4" fmla="*/ 75 w 98"/>
              <a:gd name="T5" fmla="*/ 74 h 101"/>
              <a:gd name="T6" fmla="*/ 0 w 98"/>
              <a:gd name="T7" fmla="*/ 92 h 101"/>
              <a:gd name="T8" fmla="*/ 18 w 98"/>
              <a:gd name="T9" fmla="*/ 72 h 101"/>
              <a:gd name="T10" fmla="*/ 43 w 98"/>
              <a:gd name="T11" fmla="*/ 45 h 101"/>
              <a:gd name="T12" fmla="*/ 47 w 98"/>
              <a:gd name="T13" fmla="*/ 10 h 101"/>
              <a:gd name="T14" fmla="*/ 45 w 98"/>
              <a:gd name="T15" fmla="*/ 7 h 1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01">
                <a:moveTo>
                  <a:pt x="45" y="7"/>
                </a:moveTo>
                <a:cubicBezTo>
                  <a:pt x="60" y="5"/>
                  <a:pt x="74" y="2"/>
                  <a:pt x="88" y="0"/>
                </a:cubicBezTo>
                <a:cubicBezTo>
                  <a:pt x="98" y="19"/>
                  <a:pt x="96" y="51"/>
                  <a:pt x="75" y="74"/>
                </a:cubicBezTo>
                <a:cubicBezTo>
                  <a:pt x="54" y="97"/>
                  <a:pt x="22" y="101"/>
                  <a:pt x="0" y="92"/>
                </a:cubicBezTo>
                <a:cubicBezTo>
                  <a:pt x="6" y="86"/>
                  <a:pt x="12" y="79"/>
                  <a:pt x="18" y="72"/>
                </a:cubicBezTo>
                <a:cubicBezTo>
                  <a:pt x="27" y="63"/>
                  <a:pt x="35" y="54"/>
                  <a:pt x="43" y="45"/>
                </a:cubicBezTo>
                <a:cubicBezTo>
                  <a:pt x="52" y="35"/>
                  <a:pt x="54" y="22"/>
                  <a:pt x="47" y="10"/>
                </a:cubicBezTo>
                <a:cubicBezTo>
                  <a:pt x="46" y="10"/>
                  <a:pt x="46" y="9"/>
                  <a:pt x="45" y="7"/>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8" name="Freeform 317"/>
          <p:cNvSpPr>
            <a:spLocks/>
          </p:cNvSpPr>
          <p:nvPr/>
        </p:nvSpPr>
        <p:spPr bwMode="auto">
          <a:xfrm>
            <a:off x="3880380" y="4865823"/>
            <a:ext cx="141397" cy="239353"/>
          </a:xfrm>
          <a:custGeom>
            <a:avLst/>
            <a:gdLst>
              <a:gd name="T0" fmla="*/ 47 w 70"/>
              <a:gd name="T1" fmla="*/ 119 h 119"/>
              <a:gd name="T2" fmla="*/ 4 w 70"/>
              <a:gd name="T3" fmla="*/ 64 h 119"/>
              <a:gd name="T4" fmla="*/ 27 w 70"/>
              <a:gd name="T5" fmla="*/ 0 h 119"/>
              <a:gd name="T6" fmla="*/ 28 w 70"/>
              <a:gd name="T7" fmla="*/ 4 h 119"/>
              <a:gd name="T8" fmla="*/ 45 w 70"/>
              <a:gd name="T9" fmla="*/ 58 h 119"/>
              <a:gd name="T10" fmla="*/ 70 w 70"/>
              <a:gd name="T11" fmla="*/ 82 h 119"/>
              <a:gd name="T12" fmla="*/ 47 w 70"/>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70" h="119">
                <a:moveTo>
                  <a:pt x="47" y="119"/>
                </a:moveTo>
                <a:cubicBezTo>
                  <a:pt x="23" y="108"/>
                  <a:pt x="8" y="90"/>
                  <a:pt x="4" y="64"/>
                </a:cubicBezTo>
                <a:cubicBezTo>
                  <a:pt x="0" y="39"/>
                  <a:pt x="8" y="18"/>
                  <a:pt x="27" y="0"/>
                </a:cubicBezTo>
                <a:cubicBezTo>
                  <a:pt x="28" y="2"/>
                  <a:pt x="28" y="3"/>
                  <a:pt x="28" y="4"/>
                </a:cubicBezTo>
                <a:cubicBezTo>
                  <a:pt x="34" y="22"/>
                  <a:pt x="40" y="40"/>
                  <a:pt x="45" y="58"/>
                </a:cubicBezTo>
                <a:cubicBezTo>
                  <a:pt x="49" y="70"/>
                  <a:pt x="56" y="79"/>
                  <a:pt x="70" y="82"/>
                </a:cubicBezTo>
                <a:cubicBezTo>
                  <a:pt x="62" y="94"/>
                  <a:pt x="55" y="107"/>
                  <a:pt x="47" y="119"/>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69" name="Freeform 318"/>
          <p:cNvSpPr>
            <a:spLocks/>
          </p:cNvSpPr>
          <p:nvPr/>
        </p:nvSpPr>
        <p:spPr bwMode="auto">
          <a:xfrm>
            <a:off x="3939153" y="4823233"/>
            <a:ext cx="221465" cy="116695"/>
          </a:xfrm>
          <a:custGeom>
            <a:avLst/>
            <a:gdLst>
              <a:gd name="T0" fmla="*/ 110 w 110"/>
              <a:gd name="T1" fmla="*/ 46 h 58"/>
              <a:gd name="T2" fmla="*/ 101 w 110"/>
              <a:gd name="T3" fmla="*/ 46 h 58"/>
              <a:gd name="T4" fmla="*/ 50 w 110"/>
              <a:gd name="T5" fmla="*/ 46 h 58"/>
              <a:gd name="T6" fmla="*/ 21 w 110"/>
              <a:gd name="T7" fmla="*/ 58 h 58"/>
              <a:gd name="T8" fmla="*/ 0 w 110"/>
              <a:gd name="T9" fmla="*/ 20 h 58"/>
              <a:gd name="T10" fmla="*/ 63 w 110"/>
              <a:gd name="T11" fmla="*/ 6 h 58"/>
              <a:gd name="T12" fmla="*/ 110 w 110"/>
              <a:gd name="T13" fmla="*/ 46 h 58"/>
            </a:gdLst>
            <a:ahLst/>
            <a:cxnLst>
              <a:cxn ang="0">
                <a:pos x="T0" y="T1"/>
              </a:cxn>
              <a:cxn ang="0">
                <a:pos x="T2" y="T3"/>
              </a:cxn>
              <a:cxn ang="0">
                <a:pos x="T4" y="T5"/>
              </a:cxn>
              <a:cxn ang="0">
                <a:pos x="T6" y="T7"/>
              </a:cxn>
              <a:cxn ang="0">
                <a:pos x="T8" y="T9"/>
              </a:cxn>
              <a:cxn ang="0">
                <a:pos x="T10" y="T11"/>
              </a:cxn>
              <a:cxn ang="0">
                <a:pos x="T12" y="T13"/>
              </a:cxn>
            </a:cxnLst>
            <a:rect l="0" t="0" r="r" b="b"/>
            <a:pathLst>
              <a:path w="110" h="58">
                <a:moveTo>
                  <a:pt x="110" y="46"/>
                </a:moveTo>
                <a:cubicBezTo>
                  <a:pt x="106" y="46"/>
                  <a:pt x="104" y="46"/>
                  <a:pt x="101" y="46"/>
                </a:cubicBezTo>
                <a:cubicBezTo>
                  <a:pt x="84" y="46"/>
                  <a:pt x="67" y="46"/>
                  <a:pt x="50" y="46"/>
                </a:cubicBezTo>
                <a:cubicBezTo>
                  <a:pt x="36" y="46"/>
                  <a:pt x="31" y="48"/>
                  <a:pt x="21" y="58"/>
                </a:cubicBezTo>
                <a:cubicBezTo>
                  <a:pt x="14" y="46"/>
                  <a:pt x="7" y="33"/>
                  <a:pt x="0" y="20"/>
                </a:cubicBezTo>
                <a:cubicBezTo>
                  <a:pt x="19" y="5"/>
                  <a:pt x="40" y="0"/>
                  <a:pt x="63" y="6"/>
                </a:cubicBezTo>
                <a:cubicBezTo>
                  <a:pt x="85" y="12"/>
                  <a:pt x="100" y="25"/>
                  <a:pt x="110" y="46"/>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0" name="Freeform 319"/>
          <p:cNvSpPr>
            <a:spLocks/>
          </p:cNvSpPr>
          <p:nvPr/>
        </p:nvSpPr>
        <p:spPr bwMode="auto">
          <a:xfrm>
            <a:off x="3985149" y="4928003"/>
            <a:ext cx="88586" cy="91142"/>
          </a:xfrm>
          <a:custGeom>
            <a:avLst/>
            <a:gdLst>
              <a:gd name="T0" fmla="*/ 44 w 44"/>
              <a:gd name="T1" fmla="*/ 23 h 45"/>
              <a:gd name="T2" fmla="*/ 22 w 44"/>
              <a:gd name="T3" fmla="*/ 45 h 45"/>
              <a:gd name="T4" fmla="*/ 0 w 44"/>
              <a:gd name="T5" fmla="*/ 22 h 45"/>
              <a:gd name="T6" fmla="*/ 22 w 44"/>
              <a:gd name="T7" fmla="*/ 0 h 45"/>
              <a:gd name="T8" fmla="*/ 44 w 44"/>
              <a:gd name="T9" fmla="*/ 23 h 45"/>
            </a:gdLst>
            <a:ahLst/>
            <a:cxnLst>
              <a:cxn ang="0">
                <a:pos x="T0" y="T1"/>
              </a:cxn>
              <a:cxn ang="0">
                <a:pos x="T2" y="T3"/>
              </a:cxn>
              <a:cxn ang="0">
                <a:pos x="T4" y="T5"/>
              </a:cxn>
              <a:cxn ang="0">
                <a:pos x="T6" y="T7"/>
              </a:cxn>
              <a:cxn ang="0">
                <a:pos x="T8" y="T9"/>
              </a:cxn>
            </a:cxnLst>
            <a:rect l="0" t="0" r="r" b="b"/>
            <a:pathLst>
              <a:path w="44" h="45">
                <a:moveTo>
                  <a:pt x="44" y="23"/>
                </a:moveTo>
                <a:cubicBezTo>
                  <a:pt x="44" y="35"/>
                  <a:pt x="34" y="45"/>
                  <a:pt x="22" y="45"/>
                </a:cubicBezTo>
                <a:cubicBezTo>
                  <a:pt x="10" y="45"/>
                  <a:pt x="0" y="35"/>
                  <a:pt x="0" y="22"/>
                </a:cubicBezTo>
                <a:cubicBezTo>
                  <a:pt x="0" y="11"/>
                  <a:pt x="11" y="0"/>
                  <a:pt x="22" y="0"/>
                </a:cubicBezTo>
                <a:cubicBezTo>
                  <a:pt x="34" y="1"/>
                  <a:pt x="44" y="11"/>
                  <a:pt x="44" y="23"/>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1" name="Freeform 320"/>
          <p:cNvSpPr>
            <a:spLocks/>
          </p:cNvSpPr>
          <p:nvPr/>
        </p:nvSpPr>
        <p:spPr bwMode="auto">
          <a:xfrm>
            <a:off x="7251761" y="4841972"/>
            <a:ext cx="333901" cy="299830"/>
          </a:xfrm>
          <a:custGeom>
            <a:avLst/>
            <a:gdLst>
              <a:gd name="T0" fmla="*/ 125 w 166"/>
              <a:gd name="T1" fmla="*/ 2 h 149"/>
              <a:gd name="T2" fmla="*/ 151 w 166"/>
              <a:gd name="T3" fmla="*/ 22 h 149"/>
              <a:gd name="T4" fmla="*/ 153 w 166"/>
              <a:gd name="T5" fmla="*/ 25 h 149"/>
              <a:gd name="T6" fmla="*/ 151 w 166"/>
              <a:gd name="T7" fmla="*/ 13 h 149"/>
              <a:gd name="T8" fmla="*/ 161 w 166"/>
              <a:gd name="T9" fmla="*/ 39 h 149"/>
              <a:gd name="T10" fmla="*/ 164 w 166"/>
              <a:gd name="T11" fmla="*/ 56 h 149"/>
              <a:gd name="T12" fmla="*/ 166 w 166"/>
              <a:gd name="T13" fmla="*/ 47 h 149"/>
              <a:gd name="T14" fmla="*/ 156 w 166"/>
              <a:gd name="T15" fmla="*/ 102 h 149"/>
              <a:gd name="T16" fmla="*/ 50 w 166"/>
              <a:gd name="T17" fmla="*/ 141 h 149"/>
              <a:gd name="T18" fmla="*/ 6 w 166"/>
              <a:gd name="T19" fmla="*/ 74 h 149"/>
              <a:gd name="T20" fmla="*/ 1 w 166"/>
              <a:gd name="T21" fmla="*/ 82 h 149"/>
              <a:gd name="T22" fmla="*/ 6 w 166"/>
              <a:gd name="T23" fmla="*/ 54 h 149"/>
              <a:gd name="T24" fmla="*/ 0 w 166"/>
              <a:gd name="T25" fmla="*/ 60 h 149"/>
              <a:gd name="T26" fmla="*/ 10 w 166"/>
              <a:gd name="T27" fmla="*/ 32 h 149"/>
              <a:gd name="T28" fmla="*/ 14 w 166"/>
              <a:gd name="T29" fmla="*/ 9 h 149"/>
              <a:gd name="T30" fmla="*/ 23 w 166"/>
              <a:gd name="T31" fmla="*/ 12 h 149"/>
              <a:gd name="T32" fmla="*/ 46 w 166"/>
              <a:gd name="T33" fmla="*/ 18 h 149"/>
              <a:gd name="T34" fmla="*/ 68 w 166"/>
              <a:gd name="T35" fmla="*/ 9 h 149"/>
              <a:gd name="T36" fmla="*/ 67 w 166"/>
              <a:gd name="T37" fmla="*/ 11 h 149"/>
              <a:gd name="T38" fmla="*/ 59 w 166"/>
              <a:gd name="T39" fmla="*/ 25 h 149"/>
              <a:gd name="T40" fmla="*/ 78 w 166"/>
              <a:gd name="T41" fmla="*/ 32 h 149"/>
              <a:gd name="T42" fmla="*/ 78 w 166"/>
              <a:gd name="T43" fmla="*/ 41 h 149"/>
              <a:gd name="T44" fmla="*/ 66 w 166"/>
              <a:gd name="T45" fmla="*/ 55 h 149"/>
              <a:gd name="T46" fmla="*/ 61 w 166"/>
              <a:gd name="T47" fmla="*/ 60 h 149"/>
              <a:gd name="T48" fmla="*/ 56 w 166"/>
              <a:gd name="T49" fmla="*/ 73 h 149"/>
              <a:gd name="T50" fmla="*/ 78 w 166"/>
              <a:gd name="T51" fmla="*/ 79 h 149"/>
              <a:gd name="T52" fmla="*/ 100 w 166"/>
              <a:gd name="T53" fmla="*/ 80 h 149"/>
              <a:gd name="T54" fmla="*/ 97 w 166"/>
              <a:gd name="T55" fmla="*/ 86 h 149"/>
              <a:gd name="T56" fmla="*/ 87 w 166"/>
              <a:gd name="T57" fmla="*/ 91 h 149"/>
              <a:gd name="T58" fmla="*/ 62 w 166"/>
              <a:gd name="T59" fmla="*/ 96 h 149"/>
              <a:gd name="T60" fmla="*/ 90 w 166"/>
              <a:gd name="T61" fmla="*/ 109 h 149"/>
              <a:gd name="T62" fmla="*/ 125 w 166"/>
              <a:gd name="T63" fmla="*/ 87 h 149"/>
              <a:gd name="T64" fmla="*/ 126 w 166"/>
              <a:gd name="T65" fmla="*/ 87 h 149"/>
              <a:gd name="T66" fmla="*/ 124 w 166"/>
              <a:gd name="T67" fmla="*/ 99 h 149"/>
              <a:gd name="T68" fmla="*/ 131 w 166"/>
              <a:gd name="T69" fmla="*/ 85 h 149"/>
              <a:gd name="T70" fmla="*/ 138 w 166"/>
              <a:gd name="T71" fmla="*/ 70 h 149"/>
              <a:gd name="T72" fmla="*/ 142 w 166"/>
              <a:gd name="T73" fmla="*/ 41 h 149"/>
              <a:gd name="T74" fmla="*/ 109 w 166"/>
              <a:gd name="T75" fmla="*/ 11 h 149"/>
              <a:gd name="T76" fmla="*/ 125 w 166"/>
              <a:gd name="T77" fmla="*/ 8 h 149"/>
              <a:gd name="T78" fmla="*/ 106 w 166"/>
              <a:gd name="T79" fmla="*/ 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149">
                <a:moveTo>
                  <a:pt x="103" y="1"/>
                </a:moveTo>
                <a:cubicBezTo>
                  <a:pt x="110" y="0"/>
                  <a:pt x="118" y="0"/>
                  <a:pt x="125" y="2"/>
                </a:cubicBezTo>
                <a:cubicBezTo>
                  <a:pt x="128" y="4"/>
                  <a:pt x="132" y="5"/>
                  <a:pt x="136" y="6"/>
                </a:cubicBezTo>
                <a:cubicBezTo>
                  <a:pt x="143" y="10"/>
                  <a:pt x="148" y="16"/>
                  <a:pt x="151" y="22"/>
                </a:cubicBezTo>
                <a:cubicBezTo>
                  <a:pt x="152" y="23"/>
                  <a:pt x="152" y="24"/>
                  <a:pt x="153" y="25"/>
                </a:cubicBezTo>
                <a:cubicBezTo>
                  <a:pt x="153" y="25"/>
                  <a:pt x="153" y="25"/>
                  <a:pt x="153" y="25"/>
                </a:cubicBezTo>
                <a:cubicBezTo>
                  <a:pt x="153" y="21"/>
                  <a:pt x="152" y="17"/>
                  <a:pt x="151" y="13"/>
                </a:cubicBezTo>
                <a:cubicBezTo>
                  <a:pt x="151" y="13"/>
                  <a:pt x="151" y="13"/>
                  <a:pt x="151" y="13"/>
                </a:cubicBezTo>
                <a:cubicBezTo>
                  <a:pt x="152" y="14"/>
                  <a:pt x="153" y="16"/>
                  <a:pt x="154" y="17"/>
                </a:cubicBezTo>
                <a:cubicBezTo>
                  <a:pt x="158" y="24"/>
                  <a:pt x="160" y="31"/>
                  <a:pt x="161" y="39"/>
                </a:cubicBezTo>
                <a:cubicBezTo>
                  <a:pt x="162" y="44"/>
                  <a:pt x="163" y="49"/>
                  <a:pt x="164" y="54"/>
                </a:cubicBezTo>
                <a:cubicBezTo>
                  <a:pt x="164" y="55"/>
                  <a:pt x="164" y="55"/>
                  <a:pt x="164" y="56"/>
                </a:cubicBezTo>
                <a:cubicBezTo>
                  <a:pt x="165" y="53"/>
                  <a:pt x="165" y="50"/>
                  <a:pt x="166" y="47"/>
                </a:cubicBezTo>
                <a:cubicBezTo>
                  <a:pt x="166" y="47"/>
                  <a:pt x="166" y="47"/>
                  <a:pt x="166" y="47"/>
                </a:cubicBezTo>
                <a:cubicBezTo>
                  <a:pt x="166" y="48"/>
                  <a:pt x="166" y="49"/>
                  <a:pt x="166" y="50"/>
                </a:cubicBezTo>
                <a:cubicBezTo>
                  <a:pt x="166" y="68"/>
                  <a:pt x="164" y="85"/>
                  <a:pt x="156" y="102"/>
                </a:cubicBezTo>
                <a:cubicBezTo>
                  <a:pt x="145" y="126"/>
                  <a:pt x="127" y="140"/>
                  <a:pt x="101" y="145"/>
                </a:cubicBezTo>
                <a:cubicBezTo>
                  <a:pt x="83" y="149"/>
                  <a:pt x="66" y="148"/>
                  <a:pt x="50" y="141"/>
                </a:cubicBezTo>
                <a:cubicBezTo>
                  <a:pt x="31" y="132"/>
                  <a:pt x="18" y="118"/>
                  <a:pt x="11" y="98"/>
                </a:cubicBezTo>
                <a:cubicBezTo>
                  <a:pt x="8" y="90"/>
                  <a:pt x="7" y="82"/>
                  <a:pt x="6" y="74"/>
                </a:cubicBezTo>
                <a:cubicBezTo>
                  <a:pt x="5" y="76"/>
                  <a:pt x="4" y="79"/>
                  <a:pt x="2" y="82"/>
                </a:cubicBezTo>
                <a:cubicBezTo>
                  <a:pt x="2" y="82"/>
                  <a:pt x="2" y="82"/>
                  <a:pt x="1" y="82"/>
                </a:cubicBezTo>
                <a:cubicBezTo>
                  <a:pt x="2" y="77"/>
                  <a:pt x="3" y="72"/>
                  <a:pt x="3" y="68"/>
                </a:cubicBezTo>
                <a:cubicBezTo>
                  <a:pt x="4" y="63"/>
                  <a:pt x="5" y="58"/>
                  <a:pt x="6" y="54"/>
                </a:cubicBezTo>
                <a:cubicBezTo>
                  <a:pt x="4" y="56"/>
                  <a:pt x="2" y="58"/>
                  <a:pt x="1" y="61"/>
                </a:cubicBezTo>
                <a:cubicBezTo>
                  <a:pt x="1" y="61"/>
                  <a:pt x="0" y="60"/>
                  <a:pt x="0" y="60"/>
                </a:cubicBezTo>
                <a:cubicBezTo>
                  <a:pt x="2" y="54"/>
                  <a:pt x="4" y="47"/>
                  <a:pt x="6" y="41"/>
                </a:cubicBezTo>
                <a:cubicBezTo>
                  <a:pt x="7" y="38"/>
                  <a:pt x="9" y="35"/>
                  <a:pt x="10" y="32"/>
                </a:cubicBezTo>
                <a:cubicBezTo>
                  <a:pt x="11" y="31"/>
                  <a:pt x="11" y="31"/>
                  <a:pt x="11" y="30"/>
                </a:cubicBezTo>
                <a:cubicBezTo>
                  <a:pt x="11" y="23"/>
                  <a:pt x="11" y="16"/>
                  <a:pt x="14" y="9"/>
                </a:cubicBezTo>
                <a:cubicBezTo>
                  <a:pt x="16" y="7"/>
                  <a:pt x="17" y="5"/>
                  <a:pt x="19" y="2"/>
                </a:cubicBezTo>
                <a:cubicBezTo>
                  <a:pt x="20" y="6"/>
                  <a:pt x="22" y="9"/>
                  <a:pt x="23" y="12"/>
                </a:cubicBezTo>
                <a:cubicBezTo>
                  <a:pt x="25" y="16"/>
                  <a:pt x="29" y="18"/>
                  <a:pt x="34" y="17"/>
                </a:cubicBezTo>
                <a:cubicBezTo>
                  <a:pt x="38" y="16"/>
                  <a:pt x="42" y="17"/>
                  <a:pt x="46" y="18"/>
                </a:cubicBezTo>
                <a:cubicBezTo>
                  <a:pt x="47" y="18"/>
                  <a:pt x="48" y="18"/>
                  <a:pt x="49" y="17"/>
                </a:cubicBezTo>
                <a:cubicBezTo>
                  <a:pt x="54" y="12"/>
                  <a:pt x="61" y="9"/>
                  <a:pt x="68" y="9"/>
                </a:cubicBezTo>
                <a:cubicBezTo>
                  <a:pt x="69" y="8"/>
                  <a:pt x="69" y="9"/>
                  <a:pt x="70" y="9"/>
                </a:cubicBezTo>
                <a:cubicBezTo>
                  <a:pt x="69" y="10"/>
                  <a:pt x="68" y="10"/>
                  <a:pt x="67" y="11"/>
                </a:cubicBezTo>
                <a:cubicBezTo>
                  <a:pt x="63" y="14"/>
                  <a:pt x="60" y="18"/>
                  <a:pt x="59" y="23"/>
                </a:cubicBezTo>
                <a:cubicBezTo>
                  <a:pt x="59" y="24"/>
                  <a:pt x="59" y="25"/>
                  <a:pt x="59" y="25"/>
                </a:cubicBezTo>
                <a:cubicBezTo>
                  <a:pt x="60" y="29"/>
                  <a:pt x="64" y="32"/>
                  <a:pt x="68" y="32"/>
                </a:cubicBezTo>
                <a:cubicBezTo>
                  <a:pt x="72" y="32"/>
                  <a:pt x="75" y="32"/>
                  <a:pt x="78" y="32"/>
                </a:cubicBezTo>
                <a:cubicBezTo>
                  <a:pt x="81" y="32"/>
                  <a:pt x="81" y="33"/>
                  <a:pt x="81" y="35"/>
                </a:cubicBezTo>
                <a:cubicBezTo>
                  <a:pt x="81" y="38"/>
                  <a:pt x="80" y="40"/>
                  <a:pt x="78" y="41"/>
                </a:cubicBezTo>
                <a:cubicBezTo>
                  <a:pt x="75" y="43"/>
                  <a:pt x="72" y="44"/>
                  <a:pt x="69" y="46"/>
                </a:cubicBezTo>
                <a:cubicBezTo>
                  <a:pt x="64" y="50"/>
                  <a:pt x="65" y="50"/>
                  <a:pt x="66" y="55"/>
                </a:cubicBezTo>
                <a:cubicBezTo>
                  <a:pt x="66" y="57"/>
                  <a:pt x="66" y="59"/>
                  <a:pt x="66" y="62"/>
                </a:cubicBezTo>
                <a:cubicBezTo>
                  <a:pt x="64" y="61"/>
                  <a:pt x="63" y="61"/>
                  <a:pt x="61" y="60"/>
                </a:cubicBezTo>
                <a:cubicBezTo>
                  <a:pt x="57" y="59"/>
                  <a:pt x="52" y="63"/>
                  <a:pt x="53" y="68"/>
                </a:cubicBezTo>
                <a:cubicBezTo>
                  <a:pt x="53" y="70"/>
                  <a:pt x="55" y="72"/>
                  <a:pt x="56" y="73"/>
                </a:cubicBezTo>
                <a:cubicBezTo>
                  <a:pt x="59" y="76"/>
                  <a:pt x="62" y="78"/>
                  <a:pt x="65" y="79"/>
                </a:cubicBezTo>
                <a:cubicBezTo>
                  <a:pt x="69" y="81"/>
                  <a:pt x="74" y="80"/>
                  <a:pt x="78" y="79"/>
                </a:cubicBezTo>
                <a:cubicBezTo>
                  <a:pt x="81" y="78"/>
                  <a:pt x="83" y="76"/>
                  <a:pt x="86" y="76"/>
                </a:cubicBezTo>
                <a:cubicBezTo>
                  <a:pt x="92" y="75"/>
                  <a:pt x="96" y="77"/>
                  <a:pt x="100" y="80"/>
                </a:cubicBezTo>
                <a:cubicBezTo>
                  <a:pt x="101" y="81"/>
                  <a:pt x="102" y="83"/>
                  <a:pt x="101" y="84"/>
                </a:cubicBezTo>
                <a:cubicBezTo>
                  <a:pt x="100" y="86"/>
                  <a:pt x="99" y="86"/>
                  <a:pt x="97" y="86"/>
                </a:cubicBezTo>
                <a:cubicBezTo>
                  <a:pt x="96" y="86"/>
                  <a:pt x="94" y="86"/>
                  <a:pt x="93" y="87"/>
                </a:cubicBezTo>
                <a:cubicBezTo>
                  <a:pt x="91" y="88"/>
                  <a:pt x="89" y="89"/>
                  <a:pt x="87" y="91"/>
                </a:cubicBezTo>
                <a:cubicBezTo>
                  <a:pt x="80" y="96"/>
                  <a:pt x="72" y="97"/>
                  <a:pt x="64" y="96"/>
                </a:cubicBezTo>
                <a:cubicBezTo>
                  <a:pt x="64" y="96"/>
                  <a:pt x="63" y="96"/>
                  <a:pt x="62" y="96"/>
                </a:cubicBezTo>
                <a:cubicBezTo>
                  <a:pt x="68" y="100"/>
                  <a:pt x="73" y="104"/>
                  <a:pt x="79" y="106"/>
                </a:cubicBezTo>
                <a:cubicBezTo>
                  <a:pt x="82" y="107"/>
                  <a:pt x="86" y="108"/>
                  <a:pt x="90" y="109"/>
                </a:cubicBezTo>
                <a:cubicBezTo>
                  <a:pt x="100" y="110"/>
                  <a:pt x="108" y="106"/>
                  <a:pt x="115" y="99"/>
                </a:cubicBezTo>
                <a:cubicBezTo>
                  <a:pt x="119" y="96"/>
                  <a:pt x="122" y="91"/>
                  <a:pt x="125" y="87"/>
                </a:cubicBezTo>
                <a:cubicBezTo>
                  <a:pt x="125" y="87"/>
                  <a:pt x="125" y="87"/>
                  <a:pt x="125" y="87"/>
                </a:cubicBezTo>
                <a:cubicBezTo>
                  <a:pt x="126" y="87"/>
                  <a:pt x="126" y="87"/>
                  <a:pt x="126" y="87"/>
                </a:cubicBezTo>
                <a:cubicBezTo>
                  <a:pt x="125" y="91"/>
                  <a:pt x="124" y="95"/>
                  <a:pt x="123" y="99"/>
                </a:cubicBezTo>
                <a:cubicBezTo>
                  <a:pt x="123" y="99"/>
                  <a:pt x="124" y="99"/>
                  <a:pt x="124" y="99"/>
                </a:cubicBezTo>
                <a:cubicBezTo>
                  <a:pt x="125" y="98"/>
                  <a:pt x="126" y="97"/>
                  <a:pt x="126" y="96"/>
                </a:cubicBezTo>
                <a:cubicBezTo>
                  <a:pt x="129" y="93"/>
                  <a:pt x="130" y="89"/>
                  <a:pt x="131" y="85"/>
                </a:cubicBezTo>
                <a:cubicBezTo>
                  <a:pt x="132" y="78"/>
                  <a:pt x="132" y="71"/>
                  <a:pt x="132" y="63"/>
                </a:cubicBezTo>
                <a:cubicBezTo>
                  <a:pt x="135" y="65"/>
                  <a:pt x="136" y="67"/>
                  <a:pt x="138" y="70"/>
                </a:cubicBezTo>
                <a:cubicBezTo>
                  <a:pt x="140" y="59"/>
                  <a:pt x="141" y="49"/>
                  <a:pt x="139" y="38"/>
                </a:cubicBezTo>
                <a:cubicBezTo>
                  <a:pt x="140" y="39"/>
                  <a:pt x="141" y="39"/>
                  <a:pt x="142" y="41"/>
                </a:cubicBezTo>
                <a:cubicBezTo>
                  <a:pt x="143" y="42"/>
                  <a:pt x="144" y="43"/>
                  <a:pt x="145" y="44"/>
                </a:cubicBezTo>
                <a:cubicBezTo>
                  <a:pt x="140" y="25"/>
                  <a:pt x="127" y="15"/>
                  <a:pt x="109" y="11"/>
                </a:cubicBezTo>
                <a:cubicBezTo>
                  <a:pt x="109" y="11"/>
                  <a:pt x="109" y="11"/>
                  <a:pt x="109" y="11"/>
                </a:cubicBezTo>
                <a:cubicBezTo>
                  <a:pt x="115" y="10"/>
                  <a:pt x="120" y="9"/>
                  <a:pt x="125" y="8"/>
                </a:cubicBezTo>
                <a:cubicBezTo>
                  <a:pt x="124" y="7"/>
                  <a:pt x="123" y="6"/>
                  <a:pt x="122" y="6"/>
                </a:cubicBezTo>
                <a:cubicBezTo>
                  <a:pt x="116" y="4"/>
                  <a:pt x="111" y="3"/>
                  <a:pt x="106" y="1"/>
                </a:cubicBezTo>
                <a:cubicBezTo>
                  <a:pt x="105" y="1"/>
                  <a:pt x="104" y="1"/>
                  <a:pt x="103" y="1"/>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2" name="Freeform 321"/>
          <p:cNvSpPr>
            <a:spLocks noEditPoints="1"/>
          </p:cNvSpPr>
          <p:nvPr/>
        </p:nvSpPr>
        <p:spPr bwMode="auto">
          <a:xfrm>
            <a:off x="7746650" y="4825788"/>
            <a:ext cx="302385" cy="293868"/>
          </a:xfrm>
          <a:custGeom>
            <a:avLst/>
            <a:gdLst>
              <a:gd name="T0" fmla="*/ 36 w 150"/>
              <a:gd name="T1" fmla="*/ 42 h 146"/>
              <a:gd name="T2" fmla="*/ 17 w 150"/>
              <a:gd name="T3" fmla="*/ 60 h 146"/>
              <a:gd name="T4" fmla="*/ 16 w 150"/>
              <a:gd name="T5" fmla="*/ 60 h 146"/>
              <a:gd name="T6" fmla="*/ 18 w 150"/>
              <a:gd name="T7" fmla="*/ 55 h 146"/>
              <a:gd name="T8" fmla="*/ 84 w 150"/>
              <a:gd name="T9" fmla="*/ 8 h 146"/>
              <a:gd name="T10" fmla="*/ 90 w 150"/>
              <a:gd name="T11" fmla="*/ 7 h 146"/>
              <a:gd name="T12" fmla="*/ 124 w 150"/>
              <a:gd name="T13" fmla="*/ 0 h 146"/>
              <a:gd name="T14" fmla="*/ 144 w 150"/>
              <a:gd name="T15" fmla="*/ 18 h 146"/>
              <a:gd name="T16" fmla="*/ 141 w 150"/>
              <a:gd name="T17" fmla="*/ 38 h 146"/>
              <a:gd name="T18" fmla="*/ 141 w 150"/>
              <a:gd name="T19" fmla="*/ 45 h 146"/>
              <a:gd name="T20" fmla="*/ 148 w 150"/>
              <a:gd name="T21" fmla="*/ 81 h 146"/>
              <a:gd name="T22" fmla="*/ 54 w 150"/>
              <a:gd name="T23" fmla="*/ 81 h 146"/>
              <a:gd name="T24" fmla="*/ 68 w 150"/>
              <a:gd name="T25" fmla="*/ 104 h 146"/>
              <a:gd name="T26" fmla="*/ 106 w 150"/>
              <a:gd name="T27" fmla="*/ 96 h 146"/>
              <a:gd name="T28" fmla="*/ 112 w 150"/>
              <a:gd name="T29" fmla="*/ 93 h 146"/>
              <a:gd name="T30" fmla="*/ 145 w 150"/>
              <a:gd name="T31" fmla="*/ 93 h 146"/>
              <a:gd name="T32" fmla="*/ 144 w 150"/>
              <a:gd name="T33" fmla="*/ 97 h 146"/>
              <a:gd name="T34" fmla="*/ 55 w 150"/>
              <a:gd name="T35" fmla="*/ 132 h 146"/>
              <a:gd name="T36" fmla="*/ 47 w 150"/>
              <a:gd name="T37" fmla="*/ 132 h 146"/>
              <a:gd name="T38" fmla="*/ 22 w 150"/>
              <a:gd name="T39" fmla="*/ 138 h 146"/>
              <a:gd name="T40" fmla="*/ 0 w 150"/>
              <a:gd name="T41" fmla="*/ 118 h 146"/>
              <a:gd name="T42" fmla="*/ 10 w 150"/>
              <a:gd name="T43" fmla="*/ 81 h 146"/>
              <a:gd name="T44" fmla="*/ 34 w 150"/>
              <a:gd name="T45" fmla="*/ 47 h 146"/>
              <a:gd name="T46" fmla="*/ 37 w 150"/>
              <a:gd name="T47" fmla="*/ 43 h 146"/>
              <a:gd name="T48" fmla="*/ 36 w 150"/>
              <a:gd name="T49" fmla="*/ 42 h 146"/>
              <a:gd name="T50" fmla="*/ 41 w 150"/>
              <a:gd name="T51" fmla="*/ 39 h 146"/>
              <a:gd name="T52" fmla="*/ 41 w 150"/>
              <a:gd name="T53" fmla="*/ 38 h 146"/>
              <a:gd name="T54" fmla="*/ 41 w 150"/>
              <a:gd name="T55" fmla="*/ 38 h 146"/>
              <a:gd name="T56" fmla="*/ 40 w 150"/>
              <a:gd name="T57" fmla="*/ 39 h 146"/>
              <a:gd name="T58" fmla="*/ 38 w 150"/>
              <a:gd name="T59" fmla="*/ 40 h 146"/>
              <a:gd name="T60" fmla="*/ 38 w 150"/>
              <a:gd name="T61" fmla="*/ 41 h 146"/>
              <a:gd name="T62" fmla="*/ 39 w 150"/>
              <a:gd name="T63" fmla="*/ 41 h 146"/>
              <a:gd name="T64" fmla="*/ 40 w 150"/>
              <a:gd name="T65" fmla="*/ 39 h 146"/>
              <a:gd name="T66" fmla="*/ 41 w 150"/>
              <a:gd name="T67" fmla="*/ 39 h 146"/>
              <a:gd name="T68" fmla="*/ 54 w 150"/>
              <a:gd name="T69" fmla="*/ 63 h 146"/>
              <a:gd name="T70" fmla="*/ 109 w 150"/>
              <a:gd name="T71" fmla="*/ 63 h 146"/>
              <a:gd name="T72" fmla="*/ 83 w 150"/>
              <a:gd name="T73" fmla="*/ 39 h 146"/>
              <a:gd name="T74" fmla="*/ 54 w 150"/>
              <a:gd name="T75" fmla="*/ 63 h 146"/>
              <a:gd name="T76" fmla="*/ 18 w 150"/>
              <a:gd name="T77" fmla="*/ 94 h 146"/>
              <a:gd name="T78" fmla="*/ 11 w 150"/>
              <a:gd name="T79" fmla="*/ 121 h 146"/>
              <a:gd name="T80" fmla="*/ 23 w 150"/>
              <a:gd name="T81" fmla="*/ 134 h 146"/>
              <a:gd name="T82" fmla="*/ 47 w 150"/>
              <a:gd name="T83" fmla="*/ 128 h 146"/>
              <a:gd name="T84" fmla="*/ 18 w 150"/>
              <a:gd name="T85" fmla="*/ 94 h 146"/>
              <a:gd name="T86" fmla="*/ 106 w 150"/>
              <a:gd name="T87" fmla="*/ 13 h 146"/>
              <a:gd name="T88" fmla="*/ 138 w 150"/>
              <a:gd name="T89" fmla="*/ 38 h 146"/>
              <a:gd name="T90" fmla="*/ 141 w 150"/>
              <a:gd name="T91" fmla="*/ 21 h 146"/>
              <a:gd name="T92" fmla="*/ 130 w 150"/>
              <a:gd name="T93" fmla="*/ 9 h 146"/>
              <a:gd name="T94" fmla="*/ 106 w 150"/>
              <a:gd name="T95" fmla="*/ 1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 h="146">
                <a:moveTo>
                  <a:pt x="36" y="42"/>
                </a:moveTo>
                <a:cubicBezTo>
                  <a:pt x="30" y="48"/>
                  <a:pt x="23" y="54"/>
                  <a:pt x="17" y="60"/>
                </a:cubicBezTo>
                <a:cubicBezTo>
                  <a:pt x="17" y="60"/>
                  <a:pt x="17" y="60"/>
                  <a:pt x="16" y="60"/>
                </a:cubicBezTo>
                <a:cubicBezTo>
                  <a:pt x="17" y="58"/>
                  <a:pt x="17" y="57"/>
                  <a:pt x="18" y="55"/>
                </a:cubicBezTo>
                <a:cubicBezTo>
                  <a:pt x="27" y="26"/>
                  <a:pt x="53" y="8"/>
                  <a:pt x="84" y="8"/>
                </a:cubicBezTo>
                <a:cubicBezTo>
                  <a:pt x="86" y="8"/>
                  <a:pt x="88" y="8"/>
                  <a:pt x="90" y="7"/>
                </a:cubicBezTo>
                <a:cubicBezTo>
                  <a:pt x="101" y="3"/>
                  <a:pt x="112" y="0"/>
                  <a:pt x="124" y="0"/>
                </a:cubicBezTo>
                <a:cubicBezTo>
                  <a:pt x="136" y="0"/>
                  <a:pt x="143" y="7"/>
                  <a:pt x="144" y="18"/>
                </a:cubicBezTo>
                <a:cubicBezTo>
                  <a:pt x="144" y="25"/>
                  <a:pt x="142" y="32"/>
                  <a:pt x="141" y="38"/>
                </a:cubicBezTo>
                <a:cubicBezTo>
                  <a:pt x="140" y="40"/>
                  <a:pt x="140" y="42"/>
                  <a:pt x="141" y="45"/>
                </a:cubicBezTo>
                <a:cubicBezTo>
                  <a:pt x="147" y="56"/>
                  <a:pt x="150" y="68"/>
                  <a:pt x="148" y="81"/>
                </a:cubicBezTo>
                <a:cubicBezTo>
                  <a:pt x="117" y="81"/>
                  <a:pt x="86" y="81"/>
                  <a:pt x="54" y="81"/>
                </a:cubicBezTo>
                <a:cubicBezTo>
                  <a:pt x="55" y="91"/>
                  <a:pt x="59" y="99"/>
                  <a:pt x="68" y="104"/>
                </a:cubicBezTo>
                <a:cubicBezTo>
                  <a:pt x="81" y="112"/>
                  <a:pt x="97" y="108"/>
                  <a:pt x="106" y="96"/>
                </a:cubicBezTo>
                <a:cubicBezTo>
                  <a:pt x="108" y="94"/>
                  <a:pt x="110" y="93"/>
                  <a:pt x="112" y="93"/>
                </a:cubicBezTo>
                <a:cubicBezTo>
                  <a:pt x="123" y="93"/>
                  <a:pt x="134" y="93"/>
                  <a:pt x="145" y="93"/>
                </a:cubicBezTo>
                <a:cubicBezTo>
                  <a:pt x="144" y="95"/>
                  <a:pt x="144" y="96"/>
                  <a:pt x="144" y="97"/>
                </a:cubicBezTo>
                <a:cubicBezTo>
                  <a:pt x="130" y="131"/>
                  <a:pt x="90" y="146"/>
                  <a:pt x="55" y="132"/>
                </a:cubicBezTo>
                <a:cubicBezTo>
                  <a:pt x="52" y="131"/>
                  <a:pt x="50" y="131"/>
                  <a:pt x="47" y="132"/>
                </a:cubicBezTo>
                <a:cubicBezTo>
                  <a:pt x="39" y="136"/>
                  <a:pt x="31" y="138"/>
                  <a:pt x="22" y="138"/>
                </a:cubicBezTo>
                <a:cubicBezTo>
                  <a:pt x="8" y="138"/>
                  <a:pt x="0" y="131"/>
                  <a:pt x="0" y="118"/>
                </a:cubicBezTo>
                <a:cubicBezTo>
                  <a:pt x="0" y="105"/>
                  <a:pt x="5" y="92"/>
                  <a:pt x="10" y="81"/>
                </a:cubicBezTo>
                <a:cubicBezTo>
                  <a:pt x="16" y="68"/>
                  <a:pt x="24" y="57"/>
                  <a:pt x="34" y="47"/>
                </a:cubicBezTo>
                <a:cubicBezTo>
                  <a:pt x="35" y="45"/>
                  <a:pt x="36" y="44"/>
                  <a:pt x="37" y="43"/>
                </a:cubicBezTo>
                <a:cubicBezTo>
                  <a:pt x="37" y="42"/>
                  <a:pt x="36" y="42"/>
                  <a:pt x="36" y="42"/>
                </a:cubicBezTo>
                <a:close/>
                <a:moveTo>
                  <a:pt x="41" y="39"/>
                </a:moveTo>
                <a:cubicBezTo>
                  <a:pt x="41" y="38"/>
                  <a:pt x="41" y="38"/>
                  <a:pt x="41" y="38"/>
                </a:cubicBezTo>
                <a:cubicBezTo>
                  <a:pt x="41" y="38"/>
                  <a:pt x="41" y="38"/>
                  <a:pt x="41" y="38"/>
                </a:cubicBezTo>
                <a:cubicBezTo>
                  <a:pt x="40" y="38"/>
                  <a:pt x="40" y="39"/>
                  <a:pt x="40" y="39"/>
                </a:cubicBezTo>
                <a:cubicBezTo>
                  <a:pt x="39" y="39"/>
                  <a:pt x="39" y="40"/>
                  <a:pt x="38" y="40"/>
                </a:cubicBezTo>
                <a:cubicBezTo>
                  <a:pt x="38" y="41"/>
                  <a:pt x="38" y="41"/>
                  <a:pt x="38" y="41"/>
                </a:cubicBezTo>
                <a:cubicBezTo>
                  <a:pt x="38" y="41"/>
                  <a:pt x="38" y="41"/>
                  <a:pt x="39" y="41"/>
                </a:cubicBezTo>
                <a:cubicBezTo>
                  <a:pt x="39" y="40"/>
                  <a:pt x="40" y="40"/>
                  <a:pt x="40" y="39"/>
                </a:cubicBezTo>
                <a:cubicBezTo>
                  <a:pt x="40" y="39"/>
                  <a:pt x="41" y="39"/>
                  <a:pt x="41" y="39"/>
                </a:cubicBezTo>
                <a:close/>
                <a:moveTo>
                  <a:pt x="54" y="63"/>
                </a:moveTo>
                <a:cubicBezTo>
                  <a:pt x="72" y="63"/>
                  <a:pt x="91" y="63"/>
                  <a:pt x="109" y="63"/>
                </a:cubicBezTo>
                <a:cubicBezTo>
                  <a:pt x="109" y="51"/>
                  <a:pt x="97" y="39"/>
                  <a:pt x="83" y="39"/>
                </a:cubicBezTo>
                <a:cubicBezTo>
                  <a:pt x="68" y="38"/>
                  <a:pt x="55" y="49"/>
                  <a:pt x="54" y="63"/>
                </a:cubicBezTo>
                <a:close/>
                <a:moveTo>
                  <a:pt x="18" y="94"/>
                </a:moveTo>
                <a:cubicBezTo>
                  <a:pt x="14" y="103"/>
                  <a:pt x="10" y="111"/>
                  <a:pt x="11" y="121"/>
                </a:cubicBezTo>
                <a:cubicBezTo>
                  <a:pt x="11" y="128"/>
                  <a:pt x="16" y="133"/>
                  <a:pt x="23" y="134"/>
                </a:cubicBezTo>
                <a:cubicBezTo>
                  <a:pt x="31" y="134"/>
                  <a:pt x="39" y="132"/>
                  <a:pt x="47" y="128"/>
                </a:cubicBezTo>
                <a:cubicBezTo>
                  <a:pt x="34" y="120"/>
                  <a:pt x="24" y="109"/>
                  <a:pt x="18" y="94"/>
                </a:cubicBezTo>
                <a:close/>
                <a:moveTo>
                  <a:pt x="106" y="13"/>
                </a:moveTo>
                <a:cubicBezTo>
                  <a:pt x="120" y="19"/>
                  <a:pt x="130" y="27"/>
                  <a:pt x="138" y="38"/>
                </a:cubicBezTo>
                <a:cubicBezTo>
                  <a:pt x="140" y="32"/>
                  <a:pt x="141" y="27"/>
                  <a:pt x="141" y="21"/>
                </a:cubicBezTo>
                <a:cubicBezTo>
                  <a:pt x="141" y="14"/>
                  <a:pt x="137" y="10"/>
                  <a:pt x="130" y="9"/>
                </a:cubicBezTo>
                <a:cubicBezTo>
                  <a:pt x="122" y="7"/>
                  <a:pt x="114" y="10"/>
                  <a:pt x="106" y="13"/>
                </a:cubicBezTo>
                <a:close/>
              </a:path>
            </a:pathLst>
          </a:custGeom>
          <a:solidFill>
            <a:srgbClr val="FBFDF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3" name="Freeform 322"/>
          <p:cNvSpPr>
            <a:spLocks/>
          </p:cNvSpPr>
          <p:nvPr/>
        </p:nvSpPr>
        <p:spPr bwMode="auto">
          <a:xfrm>
            <a:off x="7831829" y="4895636"/>
            <a:ext cx="3407" cy="4259"/>
          </a:xfrm>
          <a:custGeom>
            <a:avLst/>
            <a:gdLst>
              <a:gd name="T0" fmla="*/ 2 w 2"/>
              <a:gd name="T1" fmla="*/ 0 h 2"/>
              <a:gd name="T2" fmla="*/ 1 w 2"/>
              <a:gd name="T3" fmla="*/ 2 h 2"/>
              <a:gd name="T4" fmla="*/ 0 w 2"/>
              <a:gd name="T5" fmla="*/ 1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cubicBezTo>
                  <a:pt x="2" y="1"/>
                  <a:pt x="1" y="1"/>
                  <a:pt x="1" y="2"/>
                </a:cubicBezTo>
                <a:cubicBezTo>
                  <a:pt x="1" y="2"/>
                  <a:pt x="0" y="1"/>
                  <a:pt x="0" y="1"/>
                </a:cubicBezTo>
                <a:cubicBezTo>
                  <a:pt x="1" y="1"/>
                  <a:pt x="1" y="0"/>
                  <a:pt x="2" y="0"/>
                </a:cubicBezTo>
                <a:cubicBezTo>
                  <a:pt x="2" y="0"/>
                  <a:pt x="2" y="0"/>
                  <a:pt x="2" y="0"/>
                </a:cubicBezTo>
                <a:close/>
              </a:path>
            </a:pathLst>
          </a:custGeom>
          <a:solidFill>
            <a:srgbClr val="01AA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4" name="Freeform 323"/>
          <p:cNvSpPr>
            <a:spLocks/>
          </p:cNvSpPr>
          <p:nvPr/>
        </p:nvSpPr>
        <p:spPr bwMode="auto">
          <a:xfrm>
            <a:off x="7835235" y="4893931"/>
            <a:ext cx="2556" cy="1704"/>
          </a:xfrm>
          <a:custGeom>
            <a:avLst/>
            <a:gdLst>
              <a:gd name="T0" fmla="*/ 0 w 1"/>
              <a:gd name="T1" fmla="*/ 0 h 1"/>
              <a:gd name="T2" fmla="*/ 1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1" y="0"/>
                  <a:pt x="1" y="0"/>
                  <a:pt x="1" y="0"/>
                </a:cubicBezTo>
                <a:cubicBezTo>
                  <a:pt x="1" y="0"/>
                  <a:pt x="1" y="0"/>
                  <a:pt x="1" y="1"/>
                </a:cubicBezTo>
                <a:cubicBezTo>
                  <a:pt x="1" y="0"/>
                  <a:pt x="1" y="0"/>
                  <a:pt x="0" y="0"/>
                </a:cubicBezTo>
                <a:close/>
              </a:path>
            </a:pathLst>
          </a:custGeom>
          <a:solidFill>
            <a:srgbClr val="01AA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5" name="Freeform 324"/>
          <p:cNvSpPr>
            <a:spLocks/>
          </p:cNvSpPr>
          <p:nvPr/>
        </p:nvSpPr>
        <p:spPr bwMode="auto">
          <a:xfrm>
            <a:off x="7835235" y="4893931"/>
            <a:ext cx="2556" cy="1704"/>
          </a:xfrm>
          <a:custGeom>
            <a:avLst/>
            <a:gdLst>
              <a:gd name="T0" fmla="*/ 1 w 1"/>
              <a:gd name="T1" fmla="*/ 1 h 1"/>
              <a:gd name="T2" fmla="*/ 0 w 1"/>
              <a:gd name="T3" fmla="*/ 1 h 1"/>
              <a:gd name="T4" fmla="*/ 0 w 1"/>
              <a:gd name="T5" fmla="*/ 1 h 1"/>
              <a:gd name="T6" fmla="*/ 0 w 1"/>
              <a:gd name="T7" fmla="*/ 0 h 1"/>
              <a:gd name="T8" fmla="*/ 1 w 1"/>
              <a:gd name="T9" fmla="*/ 1 h 1"/>
            </a:gdLst>
            <a:ahLst/>
            <a:cxnLst>
              <a:cxn ang="0">
                <a:pos x="T0" y="T1"/>
              </a:cxn>
              <a:cxn ang="0">
                <a:pos x="T2" y="T3"/>
              </a:cxn>
              <a:cxn ang="0">
                <a:pos x="T4" y="T5"/>
              </a:cxn>
              <a:cxn ang="0">
                <a:pos x="T6" y="T7"/>
              </a:cxn>
              <a:cxn ang="0">
                <a:pos x="T8" y="T9"/>
              </a:cxn>
            </a:cxnLst>
            <a:rect l="0" t="0" r="r" b="b"/>
            <a:pathLst>
              <a:path w="1" h="1">
                <a:moveTo>
                  <a:pt x="1" y="1"/>
                </a:moveTo>
                <a:cubicBezTo>
                  <a:pt x="1" y="1"/>
                  <a:pt x="0" y="1"/>
                  <a:pt x="0" y="1"/>
                </a:cubicBezTo>
                <a:cubicBezTo>
                  <a:pt x="0" y="1"/>
                  <a:pt x="0" y="1"/>
                  <a:pt x="0" y="1"/>
                </a:cubicBezTo>
                <a:cubicBezTo>
                  <a:pt x="0" y="1"/>
                  <a:pt x="0" y="0"/>
                  <a:pt x="0" y="0"/>
                </a:cubicBezTo>
                <a:cubicBezTo>
                  <a:pt x="1" y="0"/>
                  <a:pt x="1" y="0"/>
                  <a:pt x="1" y="1"/>
                </a:cubicBezTo>
                <a:close/>
              </a:path>
            </a:pathLst>
          </a:custGeom>
          <a:solidFill>
            <a:srgbClr val="01AA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6" name="Freeform 325"/>
          <p:cNvSpPr>
            <a:spLocks/>
          </p:cNvSpPr>
          <p:nvPr/>
        </p:nvSpPr>
        <p:spPr bwMode="auto">
          <a:xfrm>
            <a:off x="7831828" y="4898190"/>
            <a:ext cx="1704" cy="1704"/>
          </a:xfrm>
          <a:custGeom>
            <a:avLst/>
            <a:gdLst>
              <a:gd name="T0" fmla="*/ 1 w 1"/>
              <a:gd name="T1" fmla="*/ 1 h 1"/>
              <a:gd name="T2" fmla="*/ 0 w 1"/>
              <a:gd name="T3" fmla="*/ 1 h 1"/>
              <a:gd name="T4" fmla="*/ 0 w 1"/>
              <a:gd name="T5" fmla="*/ 0 h 1"/>
              <a:gd name="T6" fmla="*/ 1 w 1"/>
              <a:gd name="T7" fmla="*/ 1 h 1"/>
            </a:gdLst>
            <a:ahLst/>
            <a:cxnLst>
              <a:cxn ang="0">
                <a:pos x="T0" y="T1"/>
              </a:cxn>
              <a:cxn ang="0">
                <a:pos x="T2" y="T3"/>
              </a:cxn>
              <a:cxn ang="0">
                <a:pos x="T4" y="T5"/>
              </a:cxn>
              <a:cxn ang="0">
                <a:pos x="T6" y="T7"/>
              </a:cxn>
            </a:cxnLst>
            <a:rect l="0" t="0" r="r" b="b"/>
            <a:pathLst>
              <a:path w="1" h="1">
                <a:moveTo>
                  <a:pt x="1" y="1"/>
                </a:moveTo>
                <a:cubicBezTo>
                  <a:pt x="0" y="1"/>
                  <a:pt x="0" y="1"/>
                  <a:pt x="0" y="1"/>
                </a:cubicBezTo>
                <a:cubicBezTo>
                  <a:pt x="0" y="1"/>
                  <a:pt x="0" y="1"/>
                  <a:pt x="0" y="0"/>
                </a:cubicBezTo>
                <a:cubicBezTo>
                  <a:pt x="0" y="0"/>
                  <a:pt x="1" y="1"/>
                  <a:pt x="1" y="1"/>
                </a:cubicBezTo>
                <a:close/>
              </a:path>
            </a:pathLst>
          </a:custGeom>
          <a:solidFill>
            <a:srgbClr val="01AAD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7" name="Freeform 326"/>
          <p:cNvSpPr>
            <a:spLocks noEditPoints="1"/>
          </p:cNvSpPr>
          <p:nvPr/>
        </p:nvSpPr>
        <p:spPr bwMode="auto">
          <a:xfrm>
            <a:off x="8721948" y="4795125"/>
            <a:ext cx="310051" cy="328791"/>
          </a:xfrm>
          <a:custGeom>
            <a:avLst/>
            <a:gdLst>
              <a:gd name="T0" fmla="*/ 75 w 154"/>
              <a:gd name="T1" fmla="*/ 163 h 163"/>
              <a:gd name="T2" fmla="*/ 1 w 154"/>
              <a:gd name="T3" fmla="*/ 91 h 163"/>
              <a:gd name="T4" fmla="*/ 41 w 154"/>
              <a:gd name="T5" fmla="*/ 21 h 163"/>
              <a:gd name="T6" fmla="*/ 44 w 154"/>
              <a:gd name="T7" fmla="*/ 17 h 163"/>
              <a:gd name="T8" fmla="*/ 56 w 154"/>
              <a:gd name="T9" fmla="*/ 2 h 163"/>
              <a:gd name="T10" fmla="*/ 74 w 154"/>
              <a:gd name="T11" fmla="*/ 10 h 163"/>
              <a:gd name="T12" fmla="*/ 77 w 154"/>
              <a:gd name="T13" fmla="*/ 12 h 163"/>
              <a:gd name="T14" fmla="*/ 152 w 154"/>
              <a:gd name="T15" fmla="*/ 83 h 163"/>
              <a:gd name="T16" fmla="*/ 84 w 154"/>
              <a:gd name="T17" fmla="*/ 162 h 163"/>
              <a:gd name="T18" fmla="*/ 75 w 154"/>
              <a:gd name="T19" fmla="*/ 163 h 163"/>
              <a:gd name="T20" fmla="*/ 64 w 154"/>
              <a:gd name="T21" fmla="*/ 34 h 163"/>
              <a:gd name="T22" fmla="*/ 22 w 154"/>
              <a:gd name="T23" fmla="*/ 97 h 163"/>
              <a:gd name="T24" fmla="*/ 29 w 154"/>
              <a:gd name="T25" fmla="*/ 97 h 163"/>
              <a:gd name="T26" fmla="*/ 29 w 154"/>
              <a:gd name="T27" fmla="*/ 97 h 163"/>
              <a:gd name="T28" fmla="*/ 23 w 154"/>
              <a:gd name="T29" fmla="*/ 100 h 163"/>
              <a:gd name="T30" fmla="*/ 32 w 154"/>
              <a:gd name="T31" fmla="*/ 120 h 163"/>
              <a:gd name="T32" fmla="*/ 83 w 154"/>
              <a:gd name="T33" fmla="*/ 142 h 163"/>
              <a:gd name="T34" fmla="*/ 85 w 154"/>
              <a:gd name="T35" fmla="*/ 139 h 163"/>
              <a:gd name="T36" fmla="*/ 86 w 154"/>
              <a:gd name="T37" fmla="*/ 135 h 163"/>
              <a:gd name="T38" fmla="*/ 88 w 154"/>
              <a:gd name="T39" fmla="*/ 139 h 163"/>
              <a:gd name="T40" fmla="*/ 92 w 154"/>
              <a:gd name="T41" fmla="*/ 140 h 163"/>
              <a:gd name="T42" fmla="*/ 132 w 154"/>
              <a:gd name="T43" fmla="*/ 84 h 163"/>
              <a:gd name="T44" fmla="*/ 126 w 154"/>
              <a:gd name="T45" fmla="*/ 78 h 163"/>
              <a:gd name="T46" fmla="*/ 124 w 154"/>
              <a:gd name="T47" fmla="*/ 78 h 163"/>
              <a:gd name="T48" fmla="*/ 124 w 154"/>
              <a:gd name="T49" fmla="*/ 78 h 163"/>
              <a:gd name="T50" fmla="*/ 130 w 154"/>
              <a:gd name="T51" fmla="*/ 75 h 163"/>
              <a:gd name="T52" fmla="*/ 68 w 154"/>
              <a:gd name="T53" fmla="*/ 33 h 163"/>
              <a:gd name="T54" fmla="*/ 68 w 154"/>
              <a:gd name="T55" fmla="*/ 40 h 163"/>
              <a:gd name="T56" fmla="*/ 67 w 154"/>
              <a:gd name="T57" fmla="*/ 40 h 163"/>
              <a:gd name="T58" fmla="*/ 64 w 154"/>
              <a:gd name="T59" fmla="*/ 34 h 163"/>
              <a:gd name="T60" fmla="*/ 50 w 154"/>
              <a:gd name="T61" fmla="*/ 17 h 163"/>
              <a:gd name="T62" fmla="*/ 68 w 154"/>
              <a:gd name="T63" fmla="*/ 12 h 163"/>
              <a:gd name="T64" fmla="*/ 57 w 154"/>
              <a:gd name="T65" fmla="*/ 8 h 163"/>
              <a:gd name="T66" fmla="*/ 50 w 154"/>
              <a:gd name="T67" fmla="*/ 1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163">
                <a:moveTo>
                  <a:pt x="75" y="163"/>
                </a:moveTo>
                <a:cubicBezTo>
                  <a:pt x="36" y="162"/>
                  <a:pt x="3" y="130"/>
                  <a:pt x="1" y="91"/>
                </a:cubicBezTo>
                <a:cubicBezTo>
                  <a:pt x="0" y="60"/>
                  <a:pt x="14" y="36"/>
                  <a:pt x="41" y="21"/>
                </a:cubicBezTo>
                <a:cubicBezTo>
                  <a:pt x="43" y="20"/>
                  <a:pt x="44" y="19"/>
                  <a:pt x="44" y="17"/>
                </a:cubicBezTo>
                <a:cubicBezTo>
                  <a:pt x="44" y="10"/>
                  <a:pt x="49" y="3"/>
                  <a:pt x="56" y="2"/>
                </a:cubicBezTo>
                <a:cubicBezTo>
                  <a:pt x="63" y="0"/>
                  <a:pt x="70" y="3"/>
                  <a:pt x="74" y="10"/>
                </a:cubicBezTo>
                <a:cubicBezTo>
                  <a:pt x="74" y="12"/>
                  <a:pt x="75" y="12"/>
                  <a:pt x="77" y="12"/>
                </a:cubicBezTo>
                <a:cubicBezTo>
                  <a:pt x="117" y="13"/>
                  <a:pt x="149" y="43"/>
                  <a:pt x="152" y="83"/>
                </a:cubicBezTo>
                <a:cubicBezTo>
                  <a:pt x="154" y="123"/>
                  <a:pt x="124" y="159"/>
                  <a:pt x="84" y="162"/>
                </a:cubicBezTo>
                <a:cubicBezTo>
                  <a:pt x="81" y="162"/>
                  <a:pt x="78" y="163"/>
                  <a:pt x="75" y="163"/>
                </a:cubicBezTo>
                <a:close/>
                <a:moveTo>
                  <a:pt x="64" y="34"/>
                </a:moveTo>
                <a:cubicBezTo>
                  <a:pt x="34" y="40"/>
                  <a:pt x="17" y="71"/>
                  <a:pt x="22" y="97"/>
                </a:cubicBezTo>
                <a:cubicBezTo>
                  <a:pt x="24" y="97"/>
                  <a:pt x="27" y="97"/>
                  <a:pt x="29" y="97"/>
                </a:cubicBezTo>
                <a:cubicBezTo>
                  <a:pt x="29" y="97"/>
                  <a:pt x="29" y="97"/>
                  <a:pt x="29" y="97"/>
                </a:cubicBezTo>
                <a:cubicBezTo>
                  <a:pt x="27" y="98"/>
                  <a:pt x="25" y="99"/>
                  <a:pt x="23" y="100"/>
                </a:cubicBezTo>
                <a:cubicBezTo>
                  <a:pt x="24" y="107"/>
                  <a:pt x="27" y="114"/>
                  <a:pt x="32" y="120"/>
                </a:cubicBezTo>
                <a:cubicBezTo>
                  <a:pt x="45" y="137"/>
                  <a:pt x="62" y="144"/>
                  <a:pt x="83" y="142"/>
                </a:cubicBezTo>
                <a:cubicBezTo>
                  <a:pt x="85" y="142"/>
                  <a:pt x="86" y="141"/>
                  <a:pt x="85" y="139"/>
                </a:cubicBezTo>
                <a:cubicBezTo>
                  <a:pt x="85" y="138"/>
                  <a:pt x="86" y="137"/>
                  <a:pt x="86" y="135"/>
                </a:cubicBezTo>
                <a:cubicBezTo>
                  <a:pt x="87" y="136"/>
                  <a:pt x="88" y="138"/>
                  <a:pt x="88" y="139"/>
                </a:cubicBezTo>
                <a:cubicBezTo>
                  <a:pt x="89" y="141"/>
                  <a:pt x="90" y="141"/>
                  <a:pt x="92" y="140"/>
                </a:cubicBezTo>
                <a:cubicBezTo>
                  <a:pt x="117" y="133"/>
                  <a:pt x="133" y="110"/>
                  <a:pt x="132" y="84"/>
                </a:cubicBezTo>
                <a:cubicBezTo>
                  <a:pt x="131" y="79"/>
                  <a:pt x="131" y="79"/>
                  <a:pt x="126" y="78"/>
                </a:cubicBezTo>
                <a:cubicBezTo>
                  <a:pt x="126" y="78"/>
                  <a:pt x="125" y="78"/>
                  <a:pt x="124" y="78"/>
                </a:cubicBezTo>
                <a:cubicBezTo>
                  <a:pt x="124" y="78"/>
                  <a:pt x="124" y="78"/>
                  <a:pt x="124" y="78"/>
                </a:cubicBezTo>
                <a:cubicBezTo>
                  <a:pt x="126" y="77"/>
                  <a:pt x="128" y="76"/>
                  <a:pt x="130" y="75"/>
                </a:cubicBezTo>
                <a:cubicBezTo>
                  <a:pt x="123" y="45"/>
                  <a:pt x="93" y="28"/>
                  <a:pt x="68" y="33"/>
                </a:cubicBezTo>
                <a:cubicBezTo>
                  <a:pt x="68" y="36"/>
                  <a:pt x="68" y="38"/>
                  <a:pt x="68" y="40"/>
                </a:cubicBezTo>
                <a:cubicBezTo>
                  <a:pt x="68" y="40"/>
                  <a:pt x="68" y="40"/>
                  <a:pt x="67" y="40"/>
                </a:cubicBezTo>
                <a:cubicBezTo>
                  <a:pt x="66" y="38"/>
                  <a:pt x="65" y="36"/>
                  <a:pt x="64" y="34"/>
                </a:cubicBezTo>
                <a:close/>
                <a:moveTo>
                  <a:pt x="50" y="17"/>
                </a:moveTo>
                <a:cubicBezTo>
                  <a:pt x="56" y="15"/>
                  <a:pt x="62" y="14"/>
                  <a:pt x="68" y="12"/>
                </a:cubicBezTo>
                <a:cubicBezTo>
                  <a:pt x="65" y="8"/>
                  <a:pt x="61" y="7"/>
                  <a:pt x="57" y="8"/>
                </a:cubicBezTo>
                <a:cubicBezTo>
                  <a:pt x="53" y="9"/>
                  <a:pt x="50" y="12"/>
                  <a:pt x="50" y="17"/>
                </a:cubicBezTo>
                <a:close/>
              </a:path>
            </a:pathLst>
          </a:custGeom>
          <a:solidFill>
            <a:srgbClr val="FCFDF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8" name="Freeform 327"/>
          <p:cNvSpPr>
            <a:spLocks/>
          </p:cNvSpPr>
          <p:nvPr/>
        </p:nvSpPr>
        <p:spPr bwMode="auto">
          <a:xfrm>
            <a:off x="8822459" y="4819825"/>
            <a:ext cx="35775" cy="9370"/>
          </a:xfrm>
          <a:custGeom>
            <a:avLst/>
            <a:gdLst>
              <a:gd name="T0" fmla="*/ 18 w 18"/>
              <a:gd name="T1" fmla="*/ 0 h 5"/>
              <a:gd name="T2" fmla="*/ 0 w 18"/>
              <a:gd name="T3" fmla="*/ 5 h 5"/>
            </a:gdLst>
            <a:ahLst/>
            <a:cxnLst>
              <a:cxn ang="0">
                <a:pos x="T0" y="T1"/>
              </a:cxn>
              <a:cxn ang="0">
                <a:pos x="T2" y="T3"/>
              </a:cxn>
            </a:cxnLst>
            <a:rect l="0" t="0" r="r" b="b"/>
            <a:pathLst>
              <a:path w="18" h="5">
                <a:moveTo>
                  <a:pt x="18" y="0"/>
                </a:moveTo>
                <a:cubicBezTo>
                  <a:pt x="12" y="2"/>
                  <a:pt x="6" y="3"/>
                  <a:pt x="0" y="5"/>
                </a:cubicBezTo>
              </a:path>
            </a:pathLst>
          </a:custGeom>
          <a:solidFill>
            <a:srgbClr val="00A8E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79" name="Freeform 328"/>
          <p:cNvSpPr>
            <a:spLocks noEditPoints="1"/>
          </p:cNvSpPr>
          <p:nvPr/>
        </p:nvSpPr>
        <p:spPr bwMode="auto">
          <a:xfrm>
            <a:off x="8804572" y="4898190"/>
            <a:ext cx="142249" cy="146508"/>
          </a:xfrm>
          <a:custGeom>
            <a:avLst/>
            <a:gdLst>
              <a:gd name="T0" fmla="*/ 42 w 71"/>
              <a:gd name="T1" fmla="*/ 70 h 73"/>
              <a:gd name="T2" fmla="*/ 36 w 71"/>
              <a:gd name="T3" fmla="*/ 57 h 73"/>
              <a:gd name="T4" fmla="*/ 33 w 71"/>
              <a:gd name="T5" fmla="*/ 55 h 73"/>
              <a:gd name="T6" fmla="*/ 31 w 71"/>
              <a:gd name="T7" fmla="*/ 55 h 73"/>
              <a:gd name="T8" fmla="*/ 22 w 71"/>
              <a:gd name="T9" fmla="*/ 57 h 73"/>
              <a:gd name="T10" fmla="*/ 4 w 71"/>
              <a:gd name="T11" fmla="*/ 72 h 73"/>
              <a:gd name="T12" fmla="*/ 2 w 71"/>
              <a:gd name="T13" fmla="*/ 73 h 73"/>
              <a:gd name="T14" fmla="*/ 3 w 71"/>
              <a:gd name="T15" fmla="*/ 71 h 73"/>
              <a:gd name="T16" fmla="*/ 19 w 71"/>
              <a:gd name="T17" fmla="*/ 49 h 73"/>
              <a:gd name="T18" fmla="*/ 19 w 71"/>
              <a:gd name="T19" fmla="*/ 46 h 73"/>
              <a:gd name="T20" fmla="*/ 16 w 71"/>
              <a:gd name="T21" fmla="*/ 44 h 73"/>
              <a:gd name="T22" fmla="*/ 0 w 71"/>
              <a:gd name="T23" fmla="*/ 43 h 73"/>
              <a:gd name="T24" fmla="*/ 13 w 71"/>
              <a:gd name="T25" fmla="*/ 37 h 73"/>
              <a:gd name="T26" fmla="*/ 17 w 71"/>
              <a:gd name="T27" fmla="*/ 32 h 73"/>
              <a:gd name="T28" fmla="*/ 19 w 71"/>
              <a:gd name="T29" fmla="*/ 27 h 73"/>
              <a:gd name="T30" fmla="*/ 15 w 71"/>
              <a:gd name="T31" fmla="*/ 22 h 73"/>
              <a:gd name="T32" fmla="*/ 16 w 71"/>
              <a:gd name="T33" fmla="*/ 22 h 73"/>
              <a:gd name="T34" fmla="*/ 25 w 71"/>
              <a:gd name="T35" fmla="*/ 21 h 73"/>
              <a:gd name="T36" fmla="*/ 27 w 71"/>
              <a:gd name="T37" fmla="*/ 17 h 73"/>
              <a:gd name="T38" fmla="*/ 30 w 71"/>
              <a:gd name="T39" fmla="*/ 2 h 73"/>
              <a:gd name="T40" fmla="*/ 36 w 71"/>
              <a:gd name="T41" fmla="*/ 15 h 73"/>
              <a:gd name="T42" fmla="*/ 41 w 71"/>
              <a:gd name="T43" fmla="*/ 19 h 73"/>
              <a:gd name="T44" fmla="*/ 49 w 71"/>
              <a:gd name="T45" fmla="*/ 16 h 73"/>
              <a:gd name="T46" fmla="*/ 67 w 71"/>
              <a:gd name="T47" fmla="*/ 2 h 73"/>
              <a:gd name="T48" fmla="*/ 69 w 71"/>
              <a:gd name="T49" fmla="*/ 0 h 73"/>
              <a:gd name="T50" fmla="*/ 67 w 71"/>
              <a:gd name="T51" fmla="*/ 3 h 73"/>
              <a:gd name="T52" fmla="*/ 52 w 71"/>
              <a:gd name="T53" fmla="*/ 24 h 73"/>
              <a:gd name="T54" fmla="*/ 52 w 71"/>
              <a:gd name="T55" fmla="*/ 27 h 73"/>
              <a:gd name="T56" fmla="*/ 55 w 71"/>
              <a:gd name="T57" fmla="*/ 29 h 73"/>
              <a:gd name="T58" fmla="*/ 71 w 71"/>
              <a:gd name="T59" fmla="*/ 29 h 73"/>
              <a:gd name="T60" fmla="*/ 57 w 71"/>
              <a:gd name="T61" fmla="*/ 36 h 73"/>
              <a:gd name="T62" fmla="*/ 55 w 71"/>
              <a:gd name="T63" fmla="*/ 47 h 73"/>
              <a:gd name="T64" fmla="*/ 58 w 71"/>
              <a:gd name="T65" fmla="*/ 51 h 73"/>
              <a:gd name="T66" fmla="*/ 57 w 71"/>
              <a:gd name="T67" fmla="*/ 51 h 73"/>
              <a:gd name="T68" fmla="*/ 44 w 71"/>
              <a:gd name="T69" fmla="*/ 53 h 73"/>
              <a:gd name="T70" fmla="*/ 43 w 71"/>
              <a:gd name="T71" fmla="*/ 56 h 73"/>
              <a:gd name="T72" fmla="*/ 43 w 71"/>
              <a:gd name="T73" fmla="*/ 70 h 73"/>
              <a:gd name="T74" fmla="*/ 42 w 71"/>
              <a:gd name="T75" fmla="*/ 70 h 73"/>
              <a:gd name="T76" fmla="*/ 22 w 71"/>
              <a:gd name="T77" fmla="*/ 44 h 73"/>
              <a:gd name="T78" fmla="*/ 42 w 71"/>
              <a:gd name="T79" fmla="*/ 23 h 73"/>
              <a:gd name="T80" fmla="*/ 24 w 71"/>
              <a:gd name="T81" fmla="*/ 26 h 73"/>
              <a:gd name="T82" fmla="*/ 22 w 71"/>
              <a:gd name="T83" fmla="*/ 44 h 73"/>
              <a:gd name="T84" fmla="*/ 30 w 71"/>
              <a:gd name="T85" fmla="*/ 50 h 73"/>
              <a:gd name="T86" fmla="*/ 48 w 71"/>
              <a:gd name="T87" fmla="*/ 46 h 73"/>
              <a:gd name="T88" fmla="*/ 49 w 71"/>
              <a:gd name="T89" fmla="*/ 29 h 73"/>
              <a:gd name="T90" fmla="*/ 30 w 71"/>
              <a:gd name="T91" fmla="*/ 5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73">
                <a:moveTo>
                  <a:pt x="42" y="70"/>
                </a:moveTo>
                <a:cubicBezTo>
                  <a:pt x="40" y="66"/>
                  <a:pt x="38" y="61"/>
                  <a:pt x="36" y="57"/>
                </a:cubicBezTo>
                <a:cubicBezTo>
                  <a:pt x="35" y="56"/>
                  <a:pt x="34" y="56"/>
                  <a:pt x="33" y="55"/>
                </a:cubicBezTo>
                <a:cubicBezTo>
                  <a:pt x="33" y="55"/>
                  <a:pt x="32" y="55"/>
                  <a:pt x="31" y="55"/>
                </a:cubicBezTo>
                <a:cubicBezTo>
                  <a:pt x="28" y="53"/>
                  <a:pt x="25" y="54"/>
                  <a:pt x="22" y="57"/>
                </a:cubicBezTo>
                <a:cubicBezTo>
                  <a:pt x="17" y="62"/>
                  <a:pt x="10" y="67"/>
                  <a:pt x="4" y="72"/>
                </a:cubicBezTo>
                <a:cubicBezTo>
                  <a:pt x="4" y="72"/>
                  <a:pt x="3" y="73"/>
                  <a:pt x="2" y="73"/>
                </a:cubicBezTo>
                <a:cubicBezTo>
                  <a:pt x="2" y="73"/>
                  <a:pt x="3" y="72"/>
                  <a:pt x="3" y="71"/>
                </a:cubicBezTo>
                <a:cubicBezTo>
                  <a:pt x="8" y="64"/>
                  <a:pt x="13" y="57"/>
                  <a:pt x="19" y="49"/>
                </a:cubicBezTo>
                <a:cubicBezTo>
                  <a:pt x="19" y="49"/>
                  <a:pt x="20" y="47"/>
                  <a:pt x="19" y="46"/>
                </a:cubicBezTo>
                <a:cubicBezTo>
                  <a:pt x="19" y="45"/>
                  <a:pt x="18" y="44"/>
                  <a:pt x="16" y="44"/>
                </a:cubicBezTo>
                <a:cubicBezTo>
                  <a:pt x="11" y="44"/>
                  <a:pt x="5" y="44"/>
                  <a:pt x="0" y="43"/>
                </a:cubicBezTo>
                <a:cubicBezTo>
                  <a:pt x="5" y="41"/>
                  <a:pt x="9" y="39"/>
                  <a:pt x="13" y="37"/>
                </a:cubicBezTo>
                <a:cubicBezTo>
                  <a:pt x="16" y="36"/>
                  <a:pt x="17" y="35"/>
                  <a:pt x="17" y="32"/>
                </a:cubicBezTo>
                <a:cubicBezTo>
                  <a:pt x="17" y="30"/>
                  <a:pt x="18" y="29"/>
                  <a:pt x="19" y="27"/>
                </a:cubicBezTo>
                <a:cubicBezTo>
                  <a:pt x="18" y="25"/>
                  <a:pt x="16" y="24"/>
                  <a:pt x="15" y="22"/>
                </a:cubicBezTo>
                <a:cubicBezTo>
                  <a:pt x="16" y="22"/>
                  <a:pt x="16" y="22"/>
                  <a:pt x="16" y="22"/>
                </a:cubicBezTo>
                <a:cubicBezTo>
                  <a:pt x="20" y="24"/>
                  <a:pt x="23" y="24"/>
                  <a:pt x="25" y="21"/>
                </a:cubicBezTo>
                <a:cubicBezTo>
                  <a:pt x="26" y="20"/>
                  <a:pt x="27" y="18"/>
                  <a:pt x="27" y="17"/>
                </a:cubicBezTo>
                <a:cubicBezTo>
                  <a:pt x="28" y="12"/>
                  <a:pt x="28" y="7"/>
                  <a:pt x="30" y="2"/>
                </a:cubicBezTo>
                <a:cubicBezTo>
                  <a:pt x="32" y="6"/>
                  <a:pt x="34" y="10"/>
                  <a:pt x="36" y="15"/>
                </a:cubicBezTo>
                <a:cubicBezTo>
                  <a:pt x="37" y="17"/>
                  <a:pt x="39" y="18"/>
                  <a:pt x="41" y="19"/>
                </a:cubicBezTo>
                <a:cubicBezTo>
                  <a:pt x="44" y="20"/>
                  <a:pt x="47" y="19"/>
                  <a:pt x="49" y="16"/>
                </a:cubicBezTo>
                <a:cubicBezTo>
                  <a:pt x="55" y="11"/>
                  <a:pt x="61" y="6"/>
                  <a:pt x="67" y="2"/>
                </a:cubicBezTo>
                <a:cubicBezTo>
                  <a:pt x="67" y="1"/>
                  <a:pt x="68" y="1"/>
                  <a:pt x="69" y="0"/>
                </a:cubicBezTo>
                <a:cubicBezTo>
                  <a:pt x="68" y="1"/>
                  <a:pt x="68" y="2"/>
                  <a:pt x="67" y="3"/>
                </a:cubicBezTo>
                <a:cubicBezTo>
                  <a:pt x="62" y="10"/>
                  <a:pt x="57" y="17"/>
                  <a:pt x="52" y="24"/>
                </a:cubicBezTo>
                <a:cubicBezTo>
                  <a:pt x="52" y="25"/>
                  <a:pt x="52" y="27"/>
                  <a:pt x="52" y="27"/>
                </a:cubicBezTo>
                <a:cubicBezTo>
                  <a:pt x="53" y="28"/>
                  <a:pt x="54" y="29"/>
                  <a:pt x="55" y="29"/>
                </a:cubicBezTo>
                <a:cubicBezTo>
                  <a:pt x="60" y="29"/>
                  <a:pt x="66" y="29"/>
                  <a:pt x="71" y="29"/>
                </a:cubicBezTo>
                <a:cubicBezTo>
                  <a:pt x="67" y="32"/>
                  <a:pt x="62" y="34"/>
                  <a:pt x="57" y="36"/>
                </a:cubicBezTo>
                <a:cubicBezTo>
                  <a:pt x="53" y="38"/>
                  <a:pt x="52" y="44"/>
                  <a:pt x="55" y="47"/>
                </a:cubicBezTo>
                <a:cubicBezTo>
                  <a:pt x="56" y="48"/>
                  <a:pt x="57" y="49"/>
                  <a:pt x="58" y="51"/>
                </a:cubicBezTo>
                <a:cubicBezTo>
                  <a:pt x="57" y="51"/>
                  <a:pt x="57" y="51"/>
                  <a:pt x="57" y="51"/>
                </a:cubicBezTo>
                <a:cubicBezTo>
                  <a:pt x="51" y="48"/>
                  <a:pt x="49" y="48"/>
                  <a:pt x="44" y="53"/>
                </a:cubicBezTo>
                <a:cubicBezTo>
                  <a:pt x="43" y="54"/>
                  <a:pt x="43" y="55"/>
                  <a:pt x="43" y="56"/>
                </a:cubicBezTo>
                <a:cubicBezTo>
                  <a:pt x="43" y="61"/>
                  <a:pt x="43" y="65"/>
                  <a:pt x="43" y="70"/>
                </a:cubicBezTo>
                <a:cubicBezTo>
                  <a:pt x="43" y="70"/>
                  <a:pt x="42" y="70"/>
                  <a:pt x="42" y="70"/>
                </a:cubicBezTo>
                <a:close/>
                <a:moveTo>
                  <a:pt x="22" y="44"/>
                </a:moveTo>
                <a:cubicBezTo>
                  <a:pt x="27" y="36"/>
                  <a:pt x="34" y="29"/>
                  <a:pt x="42" y="23"/>
                </a:cubicBezTo>
                <a:cubicBezTo>
                  <a:pt x="36" y="20"/>
                  <a:pt x="29" y="21"/>
                  <a:pt x="24" y="26"/>
                </a:cubicBezTo>
                <a:cubicBezTo>
                  <a:pt x="19" y="31"/>
                  <a:pt x="19" y="38"/>
                  <a:pt x="22" y="44"/>
                </a:cubicBezTo>
                <a:close/>
                <a:moveTo>
                  <a:pt x="30" y="50"/>
                </a:moveTo>
                <a:cubicBezTo>
                  <a:pt x="36" y="53"/>
                  <a:pt x="44" y="51"/>
                  <a:pt x="48" y="46"/>
                </a:cubicBezTo>
                <a:cubicBezTo>
                  <a:pt x="52" y="41"/>
                  <a:pt x="52" y="34"/>
                  <a:pt x="49" y="29"/>
                </a:cubicBezTo>
                <a:cubicBezTo>
                  <a:pt x="44" y="38"/>
                  <a:pt x="38" y="45"/>
                  <a:pt x="30" y="50"/>
                </a:cubicBezTo>
                <a:close/>
              </a:path>
            </a:pathLst>
          </a:custGeom>
          <a:solidFill>
            <a:srgbClr val="FCFDFE"/>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80" name="Freeform 329"/>
          <p:cNvSpPr>
            <a:spLocks/>
          </p:cNvSpPr>
          <p:nvPr/>
        </p:nvSpPr>
        <p:spPr bwMode="auto">
          <a:xfrm>
            <a:off x="8344606" y="4916079"/>
            <a:ext cx="197615" cy="205281"/>
          </a:xfrm>
          <a:custGeom>
            <a:avLst/>
            <a:gdLst>
              <a:gd name="T0" fmla="*/ 45 w 98"/>
              <a:gd name="T1" fmla="*/ 8 h 102"/>
              <a:gd name="T2" fmla="*/ 89 w 98"/>
              <a:gd name="T3" fmla="*/ 0 h 102"/>
              <a:gd name="T4" fmla="*/ 75 w 98"/>
              <a:gd name="T5" fmla="*/ 74 h 102"/>
              <a:gd name="T6" fmla="*/ 0 w 98"/>
              <a:gd name="T7" fmla="*/ 93 h 102"/>
              <a:gd name="T8" fmla="*/ 19 w 98"/>
              <a:gd name="T9" fmla="*/ 73 h 102"/>
              <a:gd name="T10" fmla="*/ 44 w 98"/>
              <a:gd name="T11" fmla="*/ 46 h 102"/>
              <a:gd name="T12" fmla="*/ 47 w 98"/>
              <a:gd name="T13" fmla="*/ 11 h 102"/>
              <a:gd name="T14" fmla="*/ 45 w 98"/>
              <a:gd name="T15" fmla="*/ 8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02">
                <a:moveTo>
                  <a:pt x="45" y="8"/>
                </a:moveTo>
                <a:cubicBezTo>
                  <a:pt x="60" y="5"/>
                  <a:pt x="75" y="3"/>
                  <a:pt x="89" y="0"/>
                </a:cubicBezTo>
                <a:cubicBezTo>
                  <a:pt x="98" y="20"/>
                  <a:pt x="96" y="51"/>
                  <a:pt x="75" y="74"/>
                </a:cubicBezTo>
                <a:cubicBezTo>
                  <a:pt x="54" y="97"/>
                  <a:pt x="23" y="102"/>
                  <a:pt x="0" y="93"/>
                </a:cubicBezTo>
                <a:cubicBezTo>
                  <a:pt x="6" y="86"/>
                  <a:pt x="12" y="79"/>
                  <a:pt x="19" y="73"/>
                </a:cubicBezTo>
                <a:cubicBezTo>
                  <a:pt x="27" y="64"/>
                  <a:pt x="35" y="55"/>
                  <a:pt x="44" y="46"/>
                </a:cubicBezTo>
                <a:cubicBezTo>
                  <a:pt x="53" y="36"/>
                  <a:pt x="54" y="22"/>
                  <a:pt x="47" y="11"/>
                </a:cubicBezTo>
                <a:cubicBezTo>
                  <a:pt x="47" y="10"/>
                  <a:pt x="46" y="9"/>
                  <a:pt x="45" y="8"/>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81" name="Freeform 330"/>
          <p:cNvSpPr>
            <a:spLocks/>
          </p:cNvSpPr>
          <p:nvPr/>
        </p:nvSpPr>
        <p:spPr bwMode="auto">
          <a:xfrm>
            <a:off x="8242391" y="4861564"/>
            <a:ext cx="140545" cy="240205"/>
          </a:xfrm>
          <a:custGeom>
            <a:avLst/>
            <a:gdLst>
              <a:gd name="T0" fmla="*/ 47 w 70"/>
              <a:gd name="T1" fmla="*/ 119 h 119"/>
              <a:gd name="T2" fmla="*/ 4 w 70"/>
              <a:gd name="T3" fmla="*/ 64 h 119"/>
              <a:gd name="T4" fmla="*/ 27 w 70"/>
              <a:gd name="T5" fmla="*/ 0 h 119"/>
              <a:gd name="T6" fmla="*/ 29 w 70"/>
              <a:gd name="T7" fmla="*/ 3 h 119"/>
              <a:gd name="T8" fmla="*/ 46 w 70"/>
              <a:gd name="T9" fmla="*/ 58 h 119"/>
              <a:gd name="T10" fmla="*/ 70 w 70"/>
              <a:gd name="T11" fmla="*/ 81 h 119"/>
              <a:gd name="T12" fmla="*/ 47 w 70"/>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70" h="119">
                <a:moveTo>
                  <a:pt x="47" y="119"/>
                </a:moveTo>
                <a:cubicBezTo>
                  <a:pt x="23" y="108"/>
                  <a:pt x="8" y="90"/>
                  <a:pt x="4" y="64"/>
                </a:cubicBezTo>
                <a:cubicBezTo>
                  <a:pt x="0" y="39"/>
                  <a:pt x="9" y="18"/>
                  <a:pt x="27" y="0"/>
                </a:cubicBezTo>
                <a:cubicBezTo>
                  <a:pt x="28" y="1"/>
                  <a:pt x="28" y="2"/>
                  <a:pt x="29" y="3"/>
                </a:cubicBezTo>
                <a:cubicBezTo>
                  <a:pt x="34" y="21"/>
                  <a:pt x="40" y="40"/>
                  <a:pt x="46" y="58"/>
                </a:cubicBezTo>
                <a:cubicBezTo>
                  <a:pt x="49" y="70"/>
                  <a:pt x="57" y="78"/>
                  <a:pt x="70" y="81"/>
                </a:cubicBezTo>
                <a:cubicBezTo>
                  <a:pt x="62" y="94"/>
                  <a:pt x="55" y="106"/>
                  <a:pt x="47" y="119"/>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82" name="Freeform 331"/>
          <p:cNvSpPr>
            <a:spLocks/>
          </p:cNvSpPr>
          <p:nvPr/>
        </p:nvSpPr>
        <p:spPr bwMode="auto">
          <a:xfrm>
            <a:off x="8300313" y="4819826"/>
            <a:ext cx="222317" cy="116695"/>
          </a:xfrm>
          <a:custGeom>
            <a:avLst/>
            <a:gdLst>
              <a:gd name="T0" fmla="*/ 110 w 110"/>
              <a:gd name="T1" fmla="*/ 46 h 58"/>
              <a:gd name="T2" fmla="*/ 101 w 110"/>
              <a:gd name="T3" fmla="*/ 46 h 58"/>
              <a:gd name="T4" fmla="*/ 50 w 110"/>
              <a:gd name="T5" fmla="*/ 46 h 58"/>
              <a:gd name="T6" fmla="*/ 22 w 110"/>
              <a:gd name="T7" fmla="*/ 58 h 58"/>
              <a:gd name="T8" fmla="*/ 0 w 110"/>
              <a:gd name="T9" fmla="*/ 19 h 58"/>
              <a:gd name="T10" fmla="*/ 63 w 110"/>
              <a:gd name="T11" fmla="*/ 6 h 58"/>
              <a:gd name="T12" fmla="*/ 110 w 110"/>
              <a:gd name="T13" fmla="*/ 46 h 58"/>
            </a:gdLst>
            <a:ahLst/>
            <a:cxnLst>
              <a:cxn ang="0">
                <a:pos x="T0" y="T1"/>
              </a:cxn>
              <a:cxn ang="0">
                <a:pos x="T2" y="T3"/>
              </a:cxn>
              <a:cxn ang="0">
                <a:pos x="T4" y="T5"/>
              </a:cxn>
              <a:cxn ang="0">
                <a:pos x="T6" y="T7"/>
              </a:cxn>
              <a:cxn ang="0">
                <a:pos x="T8" y="T9"/>
              </a:cxn>
              <a:cxn ang="0">
                <a:pos x="T10" y="T11"/>
              </a:cxn>
              <a:cxn ang="0">
                <a:pos x="T12" y="T13"/>
              </a:cxn>
            </a:cxnLst>
            <a:rect l="0" t="0" r="r" b="b"/>
            <a:pathLst>
              <a:path w="110" h="58">
                <a:moveTo>
                  <a:pt x="110" y="46"/>
                </a:moveTo>
                <a:cubicBezTo>
                  <a:pt x="107" y="46"/>
                  <a:pt x="104" y="46"/>
                  <a:pt x="101" y="46"/>
                </a:cubicBezTo>
                <a:cubicBezTo>
                  <a:pt x="84" y="46"/>
                  <a:pt x="67" y="46"/>
                  <a:pt x="50" y="46"/>
                </a:cubicBezTo>
                <a:cubicBezTo>
                  <a:pt x="36" y="46"/>
                  <a:pt x="32" y="47"/>
                  <a:pt x="22" y="58"/>
                </a:cubicBezTo>
                <a:cubicBezTo>
                  <a:pt x="14" y="45"/>
                  <a:pt x="7" y="32"/>
                  <a:pt x="0" y="19"/>
                </a:cubicBezTo>
                <a:cubicBezTo>
                  <a:pt x="19" y="5"/>
                  <a:pt x="40" y="0"/>
                  <a:pt x="63" y="6"/>
                </a:cubicBezTo>
                <a:cubicBezTo>
                  <a:pt x="85" y="11"/>
                  <a:pt x="100" y="25"/>
                  <a:pt x="110" y="46"/>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83" name="Freeform 332"/>
          <p:cNvSpPr>
            <a:spLocks/>
          </p:cNvSpPr>
          <p:nvPr/>
        </p:nvSpPr>
        <p:spPr bwMode="auto">
          <a:xfrm>
            <a:off x="8347160" y="4924595"/>
            <a:ext cx="90290" cy="88586"/>
          </a:xfrm>
          <a:custGeom>
            <a:avLst/>
            <a:gdLst>
              <a:gd name="T0" fmla="*/ 45 w 45"/>
              <a:gd name="T1" fmla="*/ 22 h 44"/>
              <a:gd name="T2" fmla="*/ 23 w 45"/>
              <a:gd name="T3" fmla="*/ 44 h 44"/>
              <a:gd name="T4" fmla="*/ 0 w 45"/>
              <a:gd name="T5" fmla="*/ 22 h 44"/>
              <a:gd name="T6" fmla="*/ 23 w 45"/>
              <a:gd name="T7" fmla="*/ 0 h 44"/>
              <a:gd name="T8" fmla="*/ 45 w 45"/>
              <a:gd name="T9" fmla="*/ 22 h 44"/>
            </a:gdLst>
            <a:ahLst/>
            <a:cxnLst>
              <a:cxn ang="0">
                <a:pos x="T0" y="T1"/>
              </a:cxn>
              <a:cxn ang="0">
                <a:pos x="T2" y="T3"/>
              </a:cxn>
              <a:cxn ang="0">
                <a:pos x="T4" y="T5"/>
              </a:cxn>
              <a:cxn ang="0">
                <a:pos x="T6" y="T7"/>
              </a:cxn>
              <a:cxn ang="0">
                <a:pos x="T8" y="T9"/>
              </a:cxn>
            </a:cxnLst>
            <a:rect l="0" t="0" r="r" b="b"/>
            <a:pathLst>
              <a:path w="45" h="44">
                <a:moveTo>
                  <a:pt x="45" y="22"/>
                </a:moveTo>
                <a:cubicBezTo>
                  <a:pt x="45" y="34"/>
                  <a:pt x="35" y="44"/>
                  <a:pt x="23" y="44"/>
                </a:cubicBezTo>
                <a:cubicBezTo>
                  <a:pt x="10" y="44"/>
                  <a:pt x="0" y="34"/>
                  <a:pt x="0" y="22"/>
                </a:cubicBezTo>
                <a:cubicBezTo>
                  <a:pt x="0" y="10"/>
                  <a:pt x="11" y="0"/>
                  <a:pt x="23" y="0"/>
                </a:cubicBezTo>
                <a:cubicBezTo>
                  <a:pt x="35" y="0"/>
                  <a:pt x="45" y="10"/>
                  <a:pt x="45" y="22"/>
                </a:cubicBezTo>
                <a:close/>
              </a:path>
            </a:pathLst>
          </a:custGeom>
          <a:solidFill>
            <a:srgbClr val="FEFDFD"/>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84" name="Freeform 333"/>
          <p:cNvSpPr>
            <a:spLocks/>
          </p:cNvSpPr>
          <p:nvPr/>
        </p:nvSpPr>
        <p:spPr bwMode="auto">
          <a:xfrm>
            <a:off x="4875268" y="3427150"/>
            <a:ext cx="241908" cy="144804"/>
          </a:xfrm>
          <a:custGeom>
            <a:avLst/>
            <a:gdLst>
              <a:gd name="T0" fmla="*/ 95 w 120"/>
              <a:gd name="T1" fmla="*/ 61 h 72"/>
              <a:gd name="T2" fmla="*/ 81 w 120"/>
              <a:gd name="T3" fmla="*/ 49 h 72"/>
              <a:gd name="T4" fmla="*/ 69 w 120"/>
              <a:gd name="T5" fmla="*/ 23 h 72"/>
              <a:gd name="T6" fmla="*/ 36 w 120"/>
              <a:gd name="T7" fmla="*/ 0 h 72"/>
              <a:gd name="T8" fmla="*/ 0 w 120"/>
              <a:gd name="T9" fmla="*/ 36 h 72"/>
              <a:gd name="T10" fmla="*/ 36 w 120"/>
              <a:gd name="T11" fmla="*/ 72 h 72"/>
              <a:gd name="T12" fmla="*/ 64 w 120"/>
              <a:gd name="T13" fmla="*/ 59 h 72"/>
              <a:gd name="T14" fmla="*/ 64 w 120"/>
              <a:gd name="T15" fmla="*/ 58 h 72"/>
              <a:gd name="T16" fmla="*/ 59 w 120"/>
              <a:gd name="T17" fmla="*/ 48 h 72"/>
              <a:gd name="T18" fmla="*/ 59 w 120"/>
              <a:gd name="T19" fmla="*/ 47 h 72"/>
              <a:gd name="T20" fmla="*/ 58 w 120"/>
              <a:gd name="T21" fmla="*/ 48 h 72"/>
              <a:gd name="T22" fmla="*/ 36 w 120"/>
              <a:gd name="T23" fmla="*/ 61 h 72"/>
              <a:gd name="T24" fmla="*/ 11 w 120"/>
              <a:gd name="T25" fmla="*/ 36 h 72"/>
              <a:gd name="T26" fmla="*/ 36 w 120"/>
              <a:gd name="T27" fmla="*/ 12 h 72"/>
              <a:gd name="T28" fmla="*/ 59 w 120"/>
              <a:gd name="T29" fmla="*/ 26 h 72"/>
              <a:gd name="T30" fmla="*/ 70 w 120"/>
              <a:gd name="T31" fmla="*/ 52 h 72"/>
              <a:gd name="T32" fmla="*/ 71 w 120"/>
              <a:gd name="T33" fmla="*/ 55 h 72"/>
              <a:gd name="T34" fmla="*/ 95 w 120"/>
              <a:gd name="T35" fmla="*/ 72 h 72"/>
              <a:gd name="T36" fmla="*/ 120 w 120"/>
              <a:gd name="T37" fmla="*/ 51 h 72"/>
              <a:gd name="T38" fmla="*/ 101 w 120"/>
              <a:gd name="T39" fmla="*/ 30 h 72"/>
              <a:gd name="T40" fmla="*/ 98 w 120"/>
              <a:gd name="T41" fmla="*/ 29 h 72"/>
              <a:gd name="T42" fmla="*/ 86 w 120"/>
              <a:gd name="T43" fmla="*/ 19 h 72"/>
              <a:gd name="T44" fmla="*/ 95 w 120"/>
              <a:gd name="T45" fmla="*/ 11 h 72"/>
              <a:gd name="T46" fmla="*/ 104 w 120"/>
              <a:gd name="T47" fmla="*/ 16 h 72"/>
              <a:gd name="T48" fmla="*/ 105 w 120"/>
              <a:gd name="T49" fmla="*/ 17 h 72"/>
              <a:gd name="T50" fmla="*/ 113 w 120"/>
              <a:gd name="T51" fmla="*/ 13 h 72"/>
              <a:gd name="T52" fmla="*/ 113 w 120"/>
              <a:gd name="T53" fmla="*/ 12 h 72"/>
              <a:gd name="T54" fmla="*/ 113 w 120"/>
              <a:gd name="T55" fmla="*/ 12 h 72"/>
              <a:gd name="T56" fmla="*/ 95 w 120"/>
              <a:gd name="T57" fmla="*/ 1 h 72"/>
              <a:gd name="T58" fmla="*/ 75 w 120"/>
              <a:gd name="T59" fmla="*/ 20 h 72"/>
              <a:gd name="T60" fmla="*/ 97 w 120"/>
              <a:gd name="T61" fmla="*/ 40 h 72"/>
              <a:gd name="T62" fmla="*/ 109 w 120"/>
              <a:gd name="T63" fmla="*/ 50 h 72"/>
              <a:gd name="T64" fmla="*/ 95 w 120"/>
              <a:gd name="T65" fmla="*/ 6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 h="72">
                <a:moveTo>
                  <a:pt x="95" y="61"/>
                </a:moveTo>
                <a:cubicBezTo>
                  <a:pt x="86" y="61"/>
                  <a:pt x="84" y="56"/>
                  <a:pt x="81" y="49"/>
                </a:cubicBezTo>
                <a:cubicBezTo>
                  <a:pt x="75" y="37"/>
                  <a:pt x="69" y="23"/>
                  <a:pt x="69" y="23"/>
                </a:cubicBezTo>
                <a:cubicBezTo>
                  <a:pt x="63" y="8"/>
                  <a:pt x="51" y="0"/>
                  <a:pt x="36" y="0"/>
                </a:cubicBezTo>
                <a:cubicBezTo>
                  <a:pt x="16" y="0"/>
                  <a:pt x="0" y="16"/>
                  <a:pt x="0" y="36"/>
                </a:cubicBezTo>
                <a:cubicBezTo>
                  <a:pt x="0" y="56"/>
                  <a:pt x="16" y="72"/>
                  <a:pt x="36" y="72"/>
                </a:cubicBezTo>
                <a:cubicBezTo>
                  <a:pt x="47" y="72"/>
                  <a:pt x="57" y="68"/>
                  <a:pt x="64" y="59"/>
                </a:cubicBezTo>
                <a:cubicBezTo>
                  <a:pt x="64" y="59"/>
                  <a:pt x="64" y="59"/>
                  <a:pt x="64" y="58"/>
                </a:cubicBezTo>
                <a:cubicBezTo>
                  <a:pt x="59" y="48"/>
                  <a:pt x="59" y="48"/>
                  <a:pt x="59" y="48"/>
                </a:cubicBezTo>
                <a:cubicBezTo>
                  <a:pt x="59" y="48"/>
                  <a:pt x="59" y="47"/>
                  <a:pt x="59" y="47"/>
                </a:cubicBezTo>
                <a:cubicBezTo>
                  <a:pt x="58" y="47"/>
                  <a:pt x="58" y="48"/>
                  <a:pt x="58" y="48"/>
                </a:cubicBezTo>
                <a:cubicBezTo>
                  <a:pt x="54" y="56"/>
                  <a:pt x="45" y="61"/>
                  <a:pt x="36" y="61"/>
                </a:cubicBezTo>
                <a:cubicBezTo>
                  <a:pt x="22" y="61"/>
                  <a:pt x="11" y="50"/>
                  <a:pt x="11" y="36"/>
                </a:cubicBezTo>
                <a:cubicBezTo>
                  <a:pt x="11" y="23"/>
                  <a:pt x="22" y="12"/>
                  <a:pt x="36" y="12"/>
                </a:cubicBezTo>
                <a:cubicBezTo>
                  <a:pt x="46" y="12"/>
                  <a:pt x="55" y="18"/>
                  <a:pt x="59" y="26"/>
                </a:cubicBezTo>
                <a:cubicBezTo>
                  <a:pt x="70" y="52"/>
                  <a:pt x="70" y="52"/>
                  <a:pt x="70" y="52"/>
                </a:cubicBezTo>
                <a:cubicBezTo>
                  <a:pt x="71" y="55"/>
                  <a:pt x="71" y="55"/>
                  <a:pt x="71" y="55"/>
                </a:cubicBezTo>
                <a:cubicBezTo>
                  <a:pt x="76" y="67"/>
                  <a:pt x="84" y="72"/>
                  <a:pt x="95" y="72"/>
                </a:cubicBezTo>
                <a:cubicBezTo>
                  <a:pt x="109" y="72"/>
                  <a:pt x="120" y="63"/>
                  <a:pt x="120" y="51"/>
                </a:cubicBezTo>
                <a:cubicBezTo>
                  <a:pt x="120" y="38"/>
                  <a:pt x="113" y="34"/>
                  <a:pt x="101" y="30"/>
                </a:cubicBezTo>
                <a:cubicBezTo>
                  <a:pt x="100" y="30"/>
                  <a:pt x="99" y="29"/>
                  <a:pt x="98" y="29"/>
                </a:cubicBezTo>
                <a:cubicBezTo>
                  <a:pt x="91" y="27"/>
                  <a:pt x="86" y="25"/>
                  <a:pt x="86" y="19"/>
                </a:cubicBezTo>
                <a:cubicBezTo>
                  <a:pt x="86" y="15"/>
                  <a:pt x="90" y="11"/>
                  <a:pt x="95" y="11"/>
                </a:cubicBezTo>
                <a:cubicBezTo>
                  <a:pt x="99" y="11"/>
                  <a:pt x="102" y="13"/>
                  <a:pt x="104" y="16"/>
                </a:cubicBezTo>
                <a:cubicBezTo>
                  <a:pt x="104" y="17"/>
                  <a:pt x="105" y="17"/>
                  <a:pt x="105" y="17"/>
                </a:cubicBezTo>
                <a:cubicBezTo>
                  <a:pt x="113" y="13"/>
                  <a:pt x="113" y="13"/>
                  <a:pt x="113" y="13"/>
                </a:cubicBezTo>
                <a:cubicBezTo>
                  <a:pt x="113" y="13"/>
                  <a:pt x="113" y="13"/>
                  <a:pt x="113" y="12"/>
                </a:cubicBezTo>
                <a:cubicBezTo>
                  <a:pt x="113" y="12"/>
                  <a:pt x="113" y="12"/>
                  <a:pt x="113" y="12"/>
                </a:cubicBezTo>
                <a:cubicBezTo>
                  <a:pt x="109" y="5"/>
                  <a:pt x="103" y="1"/>
                  <a:pt x="95" y="1"/>
                </a:cubicBezTo>
                <a:cubicBezTo>
                  <a:pt x="83" y="1"/>
                  <a:pt x="75" y="8"/>
                  <a:pt x="75" y="20"/>
                </a:cubicBezTo>
                <a:cubicBezTo>
                  <a:pt x="75" y="31"/>
                  <a:pt x="83" y="36"/>
                  <a:pt x="97" y="40"/>
                </a:cubicBezTo>
                <a:cubicBezTo>
                  <a:pt x="105" y="43"/>
                  <a:pt x="109" y="45"/>
                  <a:pt x="109" y="50"/>
                </a:cubicBezTo>
                <a:cubicBezTo>
                  <a:pt x="109" y="57"/>
                  <a:pt x="103" y="61"/>
                  <a:pt x="95" y="61"/>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85" name="Freeform 334"/>
          <p:cNvSpPr>
            <a:spLocks noEditPoints="1"/>
          </p:cNvSpPr>
          <p:nvPr/>
        </p:nvSpPr>
        <p:spPr bwMode="auto">
          <a:xfrm>
            <a:off x="3425524" y="3908411"/>
            <a:ext cx="241057" cy="145656"/>
          </a:xfrm>
          <a:custGeom>
            <a:avLst/>
            <a:gdLst>
              <a:gd name="T0" fmla="*/ 60 w 120"/>
              <a:gd name="T1" fmla="*/ 0 h 72"/>
              <a:gd name="T2" fmla="*/ 20 w 120"/>
              <a:gd name="T3" fmla="*/ 16 h 72"/>
              <a:gd name="T4" fmla="*/ 0 w 120"/>
              <a:gd name="T5" fmla="*/ 16 h 72"/>
              <a:gd name="T6" fmla="*/ 8 w 120"/>
              <a:gd name="T7" fmla="*/ 24 h 72"/>
              <a:gd name="T8" fmla="*/ 0 w 120"/>
              <a:gd name="T9" fmla="*/ 44 h 72"/>
              <a:gd name="T10" fmla="*/ 28 w 120"/>
              <a:gd name="T11" fmla="*/ 72 h 72"/>
              <a:gd name="T12" fmla="*/ 52 w 120"/>
              <a:gd name="T13" fmla="*/ 60 h 72"/>
              <a:gd name="T14" fmla="*/ 60 w 120"/>
              <a:gd name="T15" fmla="*/ 72 h 72"/>
              <a:gd name="T16" fmla="*/ 68 w 120"/>
              <a:gd name="T17" fmla="*/ 60 h 72"/>
              <a:gd name="T18" fmla="*/ 92 w 120"/>
              <a:gd name="T19" fmla="*/ 72 h 72"/>
              <a:gd name="T20" fmla="*/ 120 w 120"/>
              <a:gd name="T21" fmla="*/ 44 h 72"/>
              <a:gd name="T22" fmla="*/ 112 w 120"/>
              <a:gd name="T23" fmla="*/ 24 h 72"/>
              <a:gd name="T24" fmla="*/ 120 w 120"/>
              <a:gd name="T25" fmla="*/ 16 h 72"/>
              <a:gd name="T26" fmla="*/ 100 w 120"/>
              <a:gd name="T27" fmla="*/ 16 h 72"/>
              <a:gd name="T28" fmla="*/ 60 w 120"/>
              <a:gd name="T29" fmla="*/ 0 h 72"/>
              <a:gd name="T30" fmla="*/ 60 w 120"/>
              <a:gd name="T31" fmla="*/ 4 h 72"/>
              <a:gd name="T32" fmla="*/ 92 w 120"/>
              <a:gd name="T33" fmla="*/ 16 h 72"/>
              <a:gd name="T34" fmla="*/ 60 w 120"/>
              <a:gd name="T35" fmla="*/ 56 h 72"/>
              <a:gd name="T36" fmla="*/ 28 w 120"/>
              <a:gd name="T37" fmla="*/ 16 h 72"/>
              <a:gd name="T38" fmla="*/ 60 w 120"/>
              <a:gd name="T39" fmla="*/ 4 h 72"/>
              <a:gd name="T40" fmla="*/ 28 w 120"/>
              <a:gd name="T41" fmla="*/ 24 h 72"/>
              <a:gd name="T42" fmla="*/ 48 w 120"/>
              <a:gd name="T43" fmla="*/ 44 h 72"/>
              <a:gd name="T44" fmla="*/ 28 w 120"/>
              <a:gd name="T45" fmla="*/ 64 h 72"/>
              <a:gd name="T46" fmla="*/ 8 w 120"/>
              <a:gd name="T47" fmla="*/ 44 h 72"/>
              <a:gd name="T48" fmla="*/ 28 w 120"/>
              <a:gd name="T49" fmla="*/ 24 h 72"/>
              <a:gd name="T50" fmla="*/ 92 w 120"/>
              <a:gd name="T51" fmla="*/ 24 h 72"/>
              <a:gd name="T52" fmla="*/ 112 w 120"/>
              <a:gd name="T53" fmla="*/ 44 h 72"/>
              <a:gd name="T54" fmla="*/ 92 w 120"/>
              <a:gd name="T55" fmla="*/ 64 h 72"/>
              <a:gd name="T56" fmla="*/ 72 w 120"/>
              <a:gd name="T57" fmla="*/ 44 h 72"/>
              <a:gd name="T58" fmla="*/ 92 w 120"/>
              <a:gd name="T59" fmla="*/ 24 h 72"/>
              <a:gd name="T60" fmla="*/ 28 w 120"/>
              <a:gd name="T61" fmla="*/ 32 h 72"/>
              <a:gd name="T62" fmla="*/ 16 w 120"/>
              <a:gd name="T63" fmla="*/ 44 h 72"/>
              <a:gd name="T64" fmla="*/ 28 w 120"/>
              <a:gd name="T65" fmla="*/ 56 h 72"/>
              <a:gd name="T66" fmla="*/ 40 w 120"/>
              <a:gd name="T67" fmla="*/ 44 h 72"/>
              <a:gd name="T68" fmla="*/ 28 w 120"/>
              <a:gd name="T69" fmla="*/ 32 h 72"/>
              <a:gd name="T70" fmla="*/ 92 w 120"/>
              <a:gd name="T71" fmla="*/ 32 h 72"/>
              <a:gd name="T72" fmla="*/ 80 w 120"/>
              <a:gd name="T73" fmla="*/ 44 h 72"/>
              <a:gd name="T74" fmla="*/ 92 w 120"/>
              <a:gd name="T75" fmla="*/ 56 h 72"/>
              <a:gd name="T76" fmla="*/ 104 w 120"/>
              <a:gd name="T77" fmla="*/ 44 h 72"/>
              <a:gd name="T78" fmla="*/ 92 w 120"/>
              <a:gd name="T79" fmla="*/ 32 h 72"/>
              <a:gd name="T80" fmla="*/ 28 w 120"/>
              <a:gd name="T81" fmla="*/ 36 h 72"/>
              <a:gd name="T82" fmla="*/ 36 w 120"/>
              <a:gd name="T83" fmla="*/ 44 h 72"/>
              <a:gd name="T84" fmla="*/ 28 w 120"/>
              <a:gd name="T85" fmla="*/ 52 h 72"/>
              <a:gd name="T86" fmla="*/ 20 w 120"/>
              <a:gd name="T87" fmla="*/ 44 h 72"/>
              <a:gd name="T88" fmla="*/ 28 w 120"/>
              <a:gd name="T89" fmla="*/ 36 h 72"/>
              <a:gd name="T90" fmla="*/ 92 w 120"/>
              <a:gd name="T91" fmla="*/ 36 h 72"/>
              <a:gd name="T92" fmla="*/ 100 w 120"/>
              <a:gd name="T93" fmla="*/ 44 h 72"/>
              <a:gd name="T94" fmla="*/ 92 w 120"/>
              <a:gd name="T95" fmla="*/ 52 h 72"/>
              <a:gd name="T96" fmla="*/ 84 w 120"/>
              <a:gd name="T97" fmla="*/ 44 h 72"/>
              <a:gd name="T98" fmla="*/ 92 w 120"/>
              <a:gd name="T99" fmla="*/ 36 h 72"/>
              <a:gd name="T100" fmla="*/ 28 w 120"/>
              <a:gd name="T101" fmla="*/ 40 h 72"/>
              <a:gd name="T102" fmla="*/ 24 w 120"/>
              <a:gd name="T103" fmla="*/ 44 h 72"/>
              <a:gd name="T104" fmla="*/ 28 w 120"/>
              <a:gd name="T105" fmla="*/ 48 h 72"/>
              <a:gd name="T106" fmla="*/ 32 w 120"/>
              <a:gd name="T107" fmla="*/ 44 h 72"/>
              <a:gd name="T108" fmla="*/ 28 w 120"/>
              <a:gd name="T109" fmla="*/ 40 h 72"/>
              <a:gd name="T110" fmla="*/ 92 w 120"/>
              <a:gd name="T111" fmla="*/ 40 h 72"/>
              <a:gd name="T112" fmla="*/ 88 w 120"/>
              <a:gd name="T113" fmla="*/ 44 h 72"/>
              <a:gd name="T114" fmla="*/ 92 w 120"/>
              <a:gd name="T115" fmla="*/ 48 h 72"/>
              <a:gd name="T116" fmla="*/ 96 w 120"/>
              <a:gd name="T117" fmla="*/ 44 h 72"/>
              <a:gd name="T118" fmla="*/ 92 w 120"/>
              <a:gd name="T119" fmla="*/ 4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72">
                <a:moveTo>
                  <a:pt x="60" y="0"/>
                </a:moveTo>
                <a:cubicBezTo>
                  <a:pt x="44" y="0"/>
                  <a:pt x="32" y="4"/>
                  <a:pt x="20" y="16"/>
                </a:cubicBezTo>
                <a:cubicBezTo>
                  <a:pt x="0" y="16"/>
                  <a:pt x="0" y="16"/>
                  <a:pt x="0" y="16"/>
                </a:cubicBezTo>
                <a:cubicBezTo>
                  <a:pt x="0" y="16"/>
                  <a:pt x="0" y="22"/>
                  <a:pt x="8" y="24"/>
                </a:cubicBezTo>
                <a:cubicBezTo>
                  <a:pt x="5" y="29"/>
                  <a:pt x="0" y="37"/>
                  <a:pt x="0" y="44"/>
                </a:cubicBezTo>
                <a:cubicBezTo>
                  <a:pt x="0" y="60"/>
                  <a:pt x="12" y="72"/>
                  <a:pt x="28" y="72"/>
                </a:cubicBezTo>
                <a:cubicBezTo>
                  <a:pt x="38" y="72"/>
                  <a:pt x="47" y="66"/>
                  <a:pt x="52" y="60"/>
                </a:cubicBezTo>
                <a:cubicBezTo>
                  <a:pt x="60" y="72"/>
                  <a:pt x="60" y="72"/>
                  <a:pt x="60" y="72"/>
                </a:cubicBezTo>
                <a:cubicBezTo>
                  <a:pt x="68" y="60"/>
                  <a:pt x="68" y="60"/>
                  <a:pt x="68" y="60"/>
                </a:cubicBezTo>
                <a:cubicBezTo>
                  <a:pt x="74" y="66"/>
                  <a:pt x="83" y="72"/>
                  <a:pt x="92" y="72"/>
                </a:cubicBezTo>
                <a:cubicBezTo>
                  <a:pt x="109" y="72"/>
                  <a:pt x="120" y="60"/>
                  <a:pt x="120" y="44"/>
                </a:cubicBezTo>
                <a:cubicBezTo>
                  <a:pt x="120" y="37"/>
                  <a:pt x="116" y="29"/>
                  <a:pt x="112" y="24"/>
                </a:cubicBezTo>
                <a:cubicBezTo>
                  <a:pt x="120" y="22"/>
                  <a:pt x="120" y="16"/>
                  <a:pt x="120" y="16"/>
                </a:cubicBezTo>
                <a:cubicBezTo>
                  <a:pt x="100" y="16"/>
                  <a:pt x="100" y="16"/>
                  <a:pt x="100" y="16"/>
                </a:cubicBezTo>
                <a:cubicBezTo>
                  <a:pt x="88" y="4"/>
                  <a:pt x="76" y="0"/>
                  <a:pt x="60" y="0"/>
                </a:cubicBezTo>
                <a:close/>
                <a:moveTo>
                  <a:pt x="60" y="4"/>
                </a:moveTo>
                <a:cubicBezTo>
                  <a:pt x="80" y="4"/>
                  <a:pt x="92" y="16"/>
                  <a:pt x="92" y="16"/>
                </a:cubicBezTo>
                <a:cubicBezTo>
                  <a:pt x="76" y="16"/>
                  <a:pt x="60" y="36"/>
                  <a:pt x="60" y="56"/>
                </a:cubicBezTo>
                <a:cubicBezTo>
                  <a:pt x="60" y="36"/>
                  <a:pt x="44" y="16"/>
                  <a:pt x="28" y="16"/>
                </a:cubicBezTo>
                <a:cubicBezTo>
                  <a:pt x="28" y="16"/>
                  <a:pt x="40" y="4"/>
                  <a:pt x="60" y="4"/>
                </a:cubicBezTo>
                <a:close/>
                <a:moveTo>
                  <a:pt x="28" y="24"/>
                </a:moveTo>
                <a:cubicBezTo>
                  <a:pt x="39" y="24"/>
                  <a:pt x="48" y="33"/>
                  <a:pt x="48" y="44"/>
                </a:cubicBezTo>
                <a:cubicBezTo>
                  <a:pt x="48" y="55"/>
                  <a:pt x="39" y="64"/>
                  <a:pt x="28" y="64"/>
                </a:cubicBezTo>
                <a:cubicBezTo>
                  <a:pt x="17" y="64"/>
                  <a:pt x="8" y="55"/>
                  <a:pt x="8" y="44"/>
                </a:cubicBezTo>
                <a:cubicBezTo>
                  <a:pt x="8" y="33"/>
                  <a:pt x="17" y="24"/>
                  <a:pt x="28" y="24"/>
                </a:cubicBezTo>
                <a:close/>
                <a:moveTo>
                  <a:pt x="92" y="24"/>
                </a:moveTo>
                <a:cubicBezTo>
                  <a:pt x="103" y="24"/>
                  <a:pt x="112" y="33"/>
                  <a:pt x="112" y="44"/>
                </a:cubicBezTo>
                <a:cubicBezTo>
                  <a:pt x="112" y="55"/>
                  <a:pt x="103" y="64"/>
                  <a:pt x="92" y="64"/>
                </a:cubicBezTo>
                <a:cubicBezTo>
                  <a:pt x="81" y="64"/>
                  <a:pt x="72" y="55"/>
                  <a:pt x="72" y="44"/>
                </a:cubicBezTo>
                <a:cubicBezTo>
                  <a:pt x="72" y="33"/>
                  <a:pt x="81" y="24"/>
                  <a:pt x="92" y="24"/>
                </a:cubicBezTo>
                <a:close/>
                <a:moveTo>
                  <a:pt x="28" y="32"/>
                </a:moveTo>
                <a:cubicBezTo>
                  <a:pt x="22" y="32"/>
                  <a:pt x="16" y="37"/>
                  <a:pt x="16" y="44"/>
                </a:cubicBezTo>
                <a:cubicBezTo>
                  <a:pt x="16" y="50"/>
                  <a:pt x="22" y="56"/>
                  <a:pt x="28" y="56"/>
                </a:cubicBezTo>
                <a:cubicBezTo>
                  <a:pt x="35" y="56"/>
                  <a:pt x="40" y="50"/>
                  <a:pt x="40" y="44"/>
                </a:cubicBezTo>
                <a:cubicBezTo>
                  <a:pt x="40" y="37"/>
                  <a:pt x="35" y="32"/>
                  <a:pt x="28" y="32"/>
                </a:cubicBezTo>
                <a:close/>
                <a:moveTo>
                  <a:pt x="92" y="32"/>
                </a:moveTo>
                <a:cubicBezTo>
                  <a:pt x="86" y="32"/>
                  <a:pt x="80" y="37"/>
                  <a:pt x="80" y="44"/>
                </a:cubicBezTo>
                <a:cubicBezTo>
                  <a:pt x="80" y="50"/>
                  <a:pt x="86" y="56"/>
                  <a:pt x="92" y="56"/>
                </a:cubicBezTo>
                <a:cubicBezTo>
                  <a:pt x="99" y="56"/>
                  <a:pt x="104" y="50"/>
                  <a:pt x="104" y="44"/>
                </a:cubicBezTo>
                <a:cubicBezTo>
                  <a:pt x="104" y="37"/>
                  <a:pt x="99" y="32"/>
                  <a:pt x="92" y="32"/>
                </a:cubicBezTo>
                <a:close/>
                <a:moveTo>
                  <a:pt x="28" y="36"/>
                </a:moveTo>
                <a:cubicBezTo>
                  <a:pt x="33" y="36"/>
                  <a:pt x="36" y="39"/>
                  <a:pt x="36" y="44"/>
                </a:cubicBezTo>
                <a:cubicBezTo>
                  <a:pt x="36" y="48"/>
                  <a:pt x="33" y="52"/>
                  <a:pt x="28" y="52"/>
                </a:cubicBezTo>
                <a:cubicBezTo>
                  <a:pt x="24" y="52"/>
                  <a:pt x="20" y="48"/>
                  <a:pt x="20" y="44"/>
                </a:cubicBezTo>
                <a:cubicBezTo>
                  <a:pt x="20" y="39"/>
                  <a:pt x="24" y="36"/>
                  <a:pt x="28" y="36"/>
                </a:cubicBezTo>
                <a:close/>
                <a:moveTo>
                  <a:pt x="92" y="36"/>
                </a:moveTo>
                <a:cubicBezTo>
                  <a:pt x="97" y="36"/>
                  <a:pt x="100" y="39"/>
                  <a:pt x="100" y="44"/>
                </a:cubicBezTo>
                <a:cubicBezTo>
                  <a:pt x="100" y="48"/>
                  <a:pt x="97" y="52"/>
                  <a:pt x="92" y="52"/>
                </a:cubicBezTo>
                <a:cubicBezTo>
                  <a:pt x="88" y="52"/>
                  <a:pt x="84" y="48"/>
                  <a:pt x="84" y="44"/>
                </a:cubicBezTo>
                <a:cubicBezTo>
                  <a:pt x="84" y="39"/>
                  <a:pt x="88" y="36"/>
                  <a:pt x="92" y="36"/>
                </a:cubicBezTo>
                <a:close/>
                <a:moveTo>
                  <a:pt x="28" y="40"/>
                </a:moveTo>
                <a:cubicBezTo>
                  <a:pt x="26" y="40"/>
                  <a:pt x="24" y="42"/>
                  <a:pt x="24" y="44"/>
                </a:cubicBezTo>
                <a:cubicBezTo>
                  <a:pt x="24" y="46"/>
                  <a:pt x="26" y="48"/>
                  <a:pt x="28" y="48"/>
                </a:cubicBezTo>
                <a:cubicBezTo>
                  <a:pt x="31" y="48"/>
                  <a:pt x="32" y="46"/>
                  <a:pt x="32" y="44"/>
                </a:cubicBezTo>
                <a:cubicBezTo>
                  <a:pt x="32" y="42"/>
                  <a:pt x="31" y="40"/>
                  <a:pt x="28" y="40"/>
                </a:cubicBezTo>
                <a:close/>
                <a:moveTo>
                  <a:pt x="92" y="40"/>
                </a:moveTo>
                <a:cubicBezTo>
                  <a:pt x="90" y="40"/>
                  <a:pt x="88" y="42"/>
                  <a:pt x="88" y="44"/>
                </a:cubicBezTo>
                <a:cubicBezTo>
                  <a:pt x="88" y="46"/>
                  <a:pt x="90" y="48"/>
                  <a:pt x="92" y="48"/>
                </a:cubicBezTo>
                <a:cubicBezTo>
                  <a:pt x="95" y="48"/>
                  <a:pt x="96" y="46"/>
                  <a:pt x="96" y="44"/>
                </a:cubicBezTo>
                <a:cubicBezTo>
                  <a:pt x="96" y="42"/>
                  <a:pt x="95" y="40"/>
                  <a:pt x="92" y="4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8" name="Group 7"/>
          <p:cNvGrpSpPr/>
          <p:nvPr/>
        </p:nvGrpSpPr>
        <p:grpSpPr>
          <a:xfrm>
            <a:off x="8171692" y="2292567"/>
            <a:ext cx="435264" cy="435264"/>
            <a:chOff x="6647692" y="2292567"/>
            <a:chExt cx="435264" cy="435264"/>
          </a:xfrm>
        </p:grpSpPr>
        <p:sp>
          <p:nvSpPr>
            <p:cNvPr id="638" name="Oval 81"/>
            <p:cNvSpPr>
              <a:spLocks noChangeArrowheads="1"/>
            </p:cNvSpPr>
            <p:nvPr/>
          </p:nvSpPr>
          <p:spPr bwMode="auto">
            <a:xfrm>
              <a:off x="6647692" y="2292567"/>
              <a:ext cx="435264" cy="435264"/>
            </a:xfrm>
            <a:prstGeom prst="ellipse">
              <a:avLst/>
            </a:prstGeom>
            <a:solidFill>
              <a:srgbClr val="1BB28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86" name="Freeform 335"/>
            <p:cNvSpPr>
              <a:spLocks/>
            </p:cNvSpPr>
            <p:nvPr/>
          </p:nvSpPr>
          <p:spPr bwMode="auto">
            <a:xfrm>
              <a:off x="6762683" y="2401596"/>
              <a:ext cx="206985" cy="237649"/>
            </a:xfrm>
            <a:custGeom>
              <a:avLst/>
              <a:gdLst>
                <a:gd name="T0" fmla="*/ 62 w 103"/>
                <a:gd name="T1" fmla="*/ 84 h 118"/>
                <a:gd name="T2" fmla="*/ 70 w 103"/>
                <a:gd name="T3" fmla="*/ 70 h 118"/>
                <a:gd name="T4" fmla="*/ 50 w 103"/>
                <a:gd name="T5" fmla="*/ 40 h 118"/>
                <a:gd name="T6" fmla="*/ 53 w 103"/>
                <a:gd name="T7" fmla="*/ 13 h 118"/>
                <a:gd name="T8" fmla="*/ 72 w 103"/>
                <a:gd name="T9" fmla="*/ 0 h 118"/>
                <a:gd name="T10" fmla="*/ 89 w 103"/>
                <a:gd name="T11" fmla="*/ 3 h 118"/>
                <a:gd name="T12" fmla="*/ 102 w 103"/>
                <a:gd name="T13" fmla="*/ 20 h 118"/>
                <a:gd name="T14" fmla="*/ 102 w 103"/>
                <a:gd name="T15" fmla="*/ 37 h 118"/>
                <a:gd name="T16" fmla="*/ 99 w 103"/>
                <a:gd name="T17" fmla="*/ 48 h 118"/>
                <a:gd name="T18" fmla="*/ 93 w 103"/>
                <a:gd name="T19" fmla="*/ 49 h 118"/>
                <a:gd name="T20" fmla="*/ 82 w 103"/>
                <a:gd name="T21" fmla="*/ 44 h 118"/>
                <a:gd name="T22" fmla="*/ 83 w 103"/>
                <a:gd name="T23" fmla="*/ 39 h 118"/>
                <a:gd name="T24" fmla="*/ 83 w 103"/>
                <a:gd name="T25" fmla="*/ 23 h 118"/>
                <a:gd name="T26" fmla="*/ 75 w 103"/>
                <a:gd name="T27" fmla="*/ 18 h 118"/>
                <a:gd name="T28" fmla="*/ 69 w 103"/>
                <a:gd name="T29" fmla="*/ 25 h 118"/>
                <a:gd name="T30" fmla="*/ 69 w 103"/>
                <a:gd name="T31" fmla="*/ 39 h 118"/>
                <a:gd name="T32" fmla="*/ 86 w 103"/>
                <a:gd name="T33" fmla="*/ 58 h 118"/>
                <a:gd name="T34" fmla="*/ 102 w 103"/>
                <a:gd name="T35" fmla="*/ 58 h 118"/>
                <a:gd name="T36" fmla="*/ 103 w 103"/>
                <a:gd name="T37" fmla="*/ 59 h 118"/>
                <a:gd name="T38" fmla="*/ 103 w 103"/>
                <a:gd name="T39" fmla="*/ 71 h 118"/>
                <a:gd name="T40" fmla="*/ 89 w 103"/>
                <a:gd name="T41" fmla="*/ 74 h 118"/>
                <a:gd name="T42" fmla="*/ 77 w 103"/>
                <a:gd name="T43" fmla="*/ 93 h 118"/>
                <a:gd name="T44" fmla="*/ 57 w 103"/>
                <a:gd name="T45" fmla="*/ 115 h 118"/>
                <a:gd name="T46" fmla="*/ 46 w 103"/>
                <a:gd name="T47" fmla="*/ 117 h 118"/>
                <a:gd name="T48" fmla="*/ 36 w 103"/>
                <a:gd name="T49" fmla="*/ 109 h 118"/>
                <a:gd name="T50" fmla="*/ 15 w 103"/>
                <a:gd name="T51" fmla="*/ 77 h 118"/>
                <a:gd name="T52" fmla="*/ 3 w 103"/>
                <a:gd name="T53" fmla="*/ 37 h 118"/>
                <a:gd name="T54" fmla="*/ 0 w 103"/>
                <a:gd name="T55" fmla="*/ 19 h 118"/>
                <a:gd name="T56" fmla="*/ 1 w 103"/>
                <a:gd name="T57" fmla="*/ 18 h 118"/>
                <a:gd name="T58" fmla="*/ 19 w 103"/>
                <a:gd name="T59" fmla="*/ 18 h 118"/>
                <a:gd name="T60" fmla="*/ 20 w 103"/>
                <a:gd name="T61" fmla="*/ 19 h 118"/>
                <a:gd name="T62" fmla="*/ 22 w 103"/>
                <a:gd name="T63" fmla="*/ 32 h 118"/>
                <a:gd name="T64" fmla="*/ 34 w 103"/>
                <a:gd name="T65" fmla="*/ 73 h 118"/>
                <a:gd name="T66" fmla="*/ 50 w 103"/>
                <a:gd name="T67" fmla="*/ 9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118">
                  <a:moveTo>
                    <a:pt x="50" y="98"/>
                  </a:moveTo>
                  <a:cubicBezTo>
                    <a:pt x="52" y="97"/>
                    <a:pt x="59" y="89"/>
                    <a:pt x="62" y="84"/>
                  </a:cubicBezTo>
                  <a:cubicBezTo>
                    <a:pt x="65" y="80"/>
                    <a:pt x="70" y="72"/>
                    <a:pt x="71" y="70"/>
                  </a:cubicBezTo>
                  <a:cubicBezTo>
                    <a:pt x="71" y="70"/>
                    <a:pt x="70" y="70"/>
                    <a:pt x="70" y="70"/>
                  </a:cubicBezTo>
                  <a:cubicBezTo>
                    <a:pt x="63" y="66"/>
                    <a:pt x="58" y="60"/>
                    <a:pt x="54" y="53"/>
                  </a:cubicBezTo>
                  <a:cubicBezTo>
                    <a:pt x="52" y="49"/>
                    <a:pt x="51" y="44"/>
                    <a:pt x="50" y="40"/>
                  </a:cubicBezTo>
                  <a:cubicBezTo>
                    <a:pt x="49" y="36"/>
                    <a:pt x="49" y="32"/>
                    <a:pt x="49" y="28"/>
                  </a:cubicBezTo>
                  <a:cubicBezTo>
                    <a:pt x="50" y="23"/>
                    <a:pt x="51" y="18"/>
                    <a:pt x="53" y="13"/>
                  </a:cubicBezTo>
                  <a:cubicBezTo>
                    <a:pt x="56" y="9"/>
                    <a:pt x="59" y="5"/>
                    <a:pt x="64" y="3"/>
                  </a:cubicBezTo>
                  <a:cubicBezTo>
                    <a:pt x="66" y="2"/>
                    <a:pt x="69" y="1"/>
                    <a:pt x="72" y="0"/>
                  </a:cubicBezTo>
                  <a:cubicBezTo>
                    <a:pt x="74" y="0"/>
                    <a:pt x="76" y="0"/>
                    <a:pt x="79" y="0"/>
                  </a:cubicBezTo>
                  <a:cubicBezTo>
                    <a:pt x="82" y="0"/>
                    <a:pt x="86" y="1"/>
                    <a:pt x="89" y="3"/>
                  </a:cubicBezTo>
                  <a:cubicBezTo>
                    <a:pt x="94" y="5"/>
                    <a:pt x="97" y="8"/>
                    <a:pt x="99" y="12"/>
                  </a:cubicBezTo>
                  <a:cubicBezTo>
                    <a:pt x="100" y="14"/>
                    <a:pt x="101" y="17"/>
                    <a:pt x="102" y="20"/>
                  </a:cubicBezTo>
                  <a:cubicBezTo>
                    <a:pt x="103" y="23"/>
                    <a:pt x="103" y="27"/>
                    <a:pt x="103" y="30"/>
                  </a:cubicBezTo>
                  <a:cubicBezTo>
                    <a:pt x="103" y="32"/>
                    <a:pt x="102" y="34"/>
                    <a:pt x="102" y="37"/>
                  </a:cubicBezTo>
                  <a:cubicBezTo>
                    <a:pt x="102" y="40"/>
                    <a:pt x="101" y="43"/>
                    <a:pt x="100" y="46"/>
                  </a:cubicBezTo>
                  <a:cubicBezTo>
                    <a:pt x="99" y="46"/>
                    <a:pt x="99" y="47"/>
                    <a:pt x="99" y="48"/>
                  </a:cubicBezTo>
                  <a:cubicBezTo>
                    <a:pt x="99" y="49"/>
                    <a:pt x="98" y="49"/>
                    <a:pt x="98" y="49"/>
                  </a:cubicBezTo>
                  <a:cubicBezTo>
                    <a:pt x="97" y="49"/>
                    <a:pt x="95" y="49"/>
                    <a:pt x="93" y="49"/>
                  </a:cubicBezTo>
                  <a:cubicBezTo>
                    <a:pt x="90" y="49"/>
                    <a:pt x="87" y="48"/>
                    <a:pt x="84" y="46"/>
                  </a:cubicBezTo>
                  <a:cubicBezTo>
                    <a:pt x="83" y="45"/>
                    <a:pt x="82" y="44"/>
                    <a:pt x="82" y="44"/>
                  </a:cubicBezTo>
                  <a:cubicBezTo>
                    <a:pt x="82" y="43"/>
                    <a:pt x="82" y="43"/>
                    <a:pt x="82" y="43"/>
                  </a:cubicBezTo>
                  <a:cubicBezTo>
                    <a:pt x="82" y="41"/>
                    <a:pt x="82" y="40"/>
                    <a:pt x="83" y="39"/>
                  </a:cubicBezTo>
                  <a:cubicBezTo>
                    <a:pt x="83" y="35"/>
                    <a:pt x="84" y="32"/>
                    <a:pt x="84" y="28"/>
                  </a:cubicBezTo>
                  <a:cubicBezTo>
                    <a:pt x="84" y="26"/>
                    <a:pt x="83" y="24"/>
                    <a:pt x="83" y="23"/>
                  </a:cubicBezTo>
                  <a:cubicBezTo>
                    <a:pt x="82" y="22"/>
                    <a:pt x="82" y="21"/>
                    <a:pt x="81" y="20"/>
                  </a:cubicBezTo>
                  <a:cubicBezTo>
                    <a:pt x="80" y="18"/>
                    <a:pt x="78" y="17"/>
                    <a:pt x="75" y="18"/>
                  </a:cubicBezTo>
                  <a:cubicBezTo>
                    <a:pt x="73" y="18"/>
                    <a:pt x="72" y="19"/>
                    <a:pt x="71" y="20"/>
                  </a:cubicBezTo>
                  <a:cubicBezTo>
                    <a:pt x="70" y="21"/>
                    <a:pt x="69" y="23"/>
                    <a:pt x="69" y="25"/>
                  </a:cubicBezTo>
                  <a:cubicBezTo>
                    <a:pt x="68" y="27"/>
                    <a:pt x="68" y="30"/>
                    <a:pt x="68" y="33"/>
                  </a:cubicBezTo>
                  <a:cubicBezTo>
                    <a:pt x="68" y="35"/>
                    <a:pt x="68" y="37"/>
                    <a:pt x="69" y="39"/>
                  </a:cubicBezTo>
                  <a:cubicBezTo>
                    <a:pt x="70" y="43"/>
                    <a:pt x="71" y="47"/>
                    <a:pt x="74" y="50"/>
                  </a:cubicBezTo>
                  <a:cubicBezTo>
                    <a:pt x="77" y="54"/>
                    <a:pt x="81" y="57"/>
                    <a:pt x="86" y="58"/>
                  </a:cubicBezTo>
                  <a:cubicBezTo>
                    <a:pt x="89" y="59"/>
                    <a:pt x="92" y="59"/>
                    <a:pt x="96" y="59"/>
                  </a:cubicBezTo>
                  <a:cubicBezTo>
                    <a:pt x="98" y="59"/>
                    <a:pt x="100" y="59"/>
                    <a:pt x="102" y="58"/>
                  </a:cubicBezTo>
                  <a:cubicBezTo>
                    <a:pt x="102" y="58"/>
                    <a:pt x="102" y="58"/>
                    <a:pt x="103" y="58"/>
                  </a:cubicBezTo>
                  <a:cubicBezTo>
                    <a:pt x="103" y="59"/>
                    <a:pt x="103" y="59"/>
                    <a:pt x="103" y="59"/>
                  </a:cubicBezTo>
                  <a:cubicBezTo>
                    <a:pt x="103" y="61"/>
                    <a:pt x="103" y="62"/>
                    <a:pt x="103" y="64"/>
                  </a:cubicBezTo>
                  <a:cubicBezTo>
                    <a:pt x="103" y="66"/>
                    <a:pt x="103" y="69"/>
                    <a:pt x="103" y="71"/>
                  </a:cubicBezTo>
                  <a:cubicBezTo>
                    <a:pt x="103" y="72"/>
                    <a:pt x="103" y="72"/>
                    <a:pt x="103" y="72"/>
                  </a:cubicBezTo>
                  <a:cubicBezTo>
                    <a:pt x="98" y="73"/>
                    <a:pt x="93" y="74"/>
                    <a:pt x="89" y="74"/>
                  </a:cubicBezTo>
                  <a:cubicBezTo>
                    <a:pt x="89" y="74"/>
                    <a:pt x="88" y="74"/>
                    <a:pt x="88" y="75"/>
                  </a:cubicBezTo>
                  <a:cubicBezTo>
                    <a:pt x="85" y="81"/>
                    <a:pt x="81" y="87"/>
                    <a:pt x="77" y="93"/>
                  </a:cubicBezTo>
                  <a:cubicBezTo>
                    <a:pt x="73" y="99"/>
                    <a:pt x="68" y="104"/>
                    <a:pt x="64" y="109"/>
                  </a:cubicBezTo>
                  <a:cubicBezTo>
                    <a:pt x="61" y="111"/>
                    <a:pt x="59" y="113"/>
                    <a:pt x="57" y="115"/>
                  </a:cubicBezTo>
                  <a:cubicBezTo>
                    <a:pt x="55" y="116"/>
                    <a:pt x="54" y="116"/>
                    <a:pt x="52" y="117"/>
                  </a:cubicBezTo>
                  <a:cubicBezTo>
                    <a:pt x="50" y="118"/>
                    <a:pt x="48" y="117"/>
                    <a:pt x="46" y="117"/>
                  </a:cubicBezTo>
                  <a:cubicBezTo>
                    <a:pt x="45" y="116"/>
                    <a:pt x="44" y="116"/>
                    <a:pt x="43" y="115"/>
                  </a:cubicBezTo>
                  <a:cubicBezTo>
                    <a:pt x="40" y="113"/>
                    <a:pt x="38" y="111"/>
                    <a:pt x="36" y="109"/>
                  </a:cubicBezTo>
                  <a:cubicBezTo>
                    <a:pt x="32" y="106"/>
                    <a:pt x="29" y="101"/>
                    <a:pt x="26" y="97"/>
                  </a:cubicBezTo>
                  <a:cubicBezTo>
                    <a:pt x="22" y="91"/>
                    <a:pt x="18" y="84"/>
                    <a:pt x="15" y="77"/>
                  </a:cubicBezTo>
                  <a:cubicBezTo>
                    <a:pt x="12" y="69"/>
                    <a:pt x="9" y="61"/>
                    <a:pt x="7" y="53"/>
                  </a:cubicBezTo>
                  <a:cubicBezTo>
                    <a:pt x="5" y="48"/>
                    <a:pt x="4" y="43"/>
                    <a:pt x="3" y="37"/>
                  </a:cubicBezTo>
                  <a:cubicBezTo>
                    <a:pt x="2" y="34"/>
                    <a:pt x="2" y="30"/>
                    <a:pt x="1" y="27"/>
                  </a:cubicBezTo>
                  <a:cubicBezTo>
                    <a:pt x="1" y="24"/>
                    <a:pt x="0" y="21"/>
                    <a:pt x="0" y="19"/>
                  </a:cubicBezTo>
                  <a:cubicBezTo>
                    <a:pt x="0" y="18"/>
                    <a:pt x="0" y="18"/>
                    <a:pt x="0" y="18"/>
                  </a:cubicBezTo>
                  <a:cubicBezTo>
                    <a:pt x="0" y="17"/>
                    <a:pt x="0" y="18"/>
                    <a:pt x="1" y="18"/>
                  </a:cubicBezTo>
                  <a:cubicBezTo>
                    <a:pt x="3" y="18"/>
                    <a:pt x="6" y="18"/>
                    <a:pt x="8" y="18"/>
                  </a:cubicBezTo>
                  <a:cubicBezTo>
                    <a:pt x="12" y="18"/>
                    <a:pt x="15" y="18"/>
                    <a:pt x="19" y="18"/>
                  </a:cubicBezTo>
                  <a:cubicBezTo>
                    <a:pt x="19" y="18"/>
                    <a:pt x="19" y="18"/>
                    <a:pt x="20" y="18"/>
                  </a:cubicBezTo>
                  <a:cubicBezTo>
                    <a:pt x="20" y="18"/>
                    <a:pt x="20" y="19"/>
                    <a:pt x="20" y="19"/>
                  </a:cubicBezTo>
                  <a:cubicBezTo>
                    <a:pt x="20" y="21"/>
                    <a:pt x="20" y="23"/>
                    <a:pt x="21" y="25"/>
                  </a:cubicBezTo>
                  <a:cubicBezTo>
                    <a:pt x="21" y="28"/>
                    <a:pt x="22" y="30"/>
                    <a:pt x="22" y="32"/>
                  </a:cubicBezTo>
                  <a:cubicBezTo>
                    <a:pt x="22" y="36"/>
                    <a:pt x="23" y="39"/>
                    <a:pt x="24" y="42"/>
                  </a:cubicBezTo>
                  <a:cubicBezTo>
                    <a:pt x="26" y="53"/>
                    <a:pt x="30" y="63"/>
                    <a:pt x="34" y="73"/>
                  </a:cubicBezTo>
                  <a:cubicBezTo>
                    <a:pt x="38" y="82"/>
                    <a:pt x="44" y="90"/>
                    <a:pt x="50" y="98"/>
                  </a:cubicBezTo>
                  <a:cubicBezTo>
                    <a:pt x="50" y="98"/>
                    <a:pt x="50" y="98"/>
                    <a:pt x="50" y="9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
        <p:nvSpPr>
          <p:cNvPr id="887" name="Oval 336"/>
          <p:cNvSpPr>
            <a:spLocks noChangeArrowheads="1"/>
          </p:cNvSpPr>
          <p:nvPr/>
        </p:nvSpPr>
        <p:spPr bwMode="auto">
          <a:xfrm>
            <a:off x="9140175" y="1801085"/>
            <a:ext cx="435264" cy="43526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88" name="Oval 337"/>
          <p:cNvSpPr>
            <a:spLocks noChangeArrowheads="1"/>
          </p:cNvSpPr>
          <p:nvPr/>
        </p:nvSpPr>
        <p:spPr bwMode="auto">
          <a:xfrm>
            <a:off x="9623992" y="1801085"/>
            <a:ext cx="434412" cy="43526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89" name="Oval 338"/>
          <p:cNvSpPr>
            <a:spLocks noChangeArrowheads="1"/>
          </p:cNvSpPr>
          <p:nvPr/>
        </p:nvSpPr>
        <p:spPr bwMode="auto">
          <a:xfrm>
            <a:off x="7686173" y="1307047"/>
            <a:ext cx="439523" cy="437820"/>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90" name="Freeform 339"/>
          <p:cNvSpPr>
            <a:spLocks/>
          </p:cNvSpPr>
          <p:nvPr/>
        </p:nvSpPr>
        <p:spPr bwMode="auto">
          <a:xfrm>
            <a:off x="7710874" y="1331749"/>
            <a:ext cx="388416" cy="388416"/>
          </a:xfrm>
          <a:custGeom>
            <a:avLst/>
            <a:gdLst>
              <a:gd name="T0" fmla="*/ 97 w 193"/>
              <a:gd name="T1" fmla="*/ 0 h 193"/>
              <a:gd name="T2" fmla="*/ 0 w 193"/>
              <a:gd name="T3" fmla="*/ 97 h 193"/>
              <a:gd name="T4" fmla="*/ 62 w 193"/>
              <a:gd name="T5" fmla="*/ 187 h 193"/>
              <a:gd name="T6" fmla="*/ 62 w 193"/>
              <a:gd name="T7" fmla="*/ 159 h 193"/>
              <a:gd name="T8" fmla="*/ 73 w 193"/>
              <a:gd name="T9" fmla="*/ 111 h 193"/>
              <a:gd name="T10" fmla="*/ 70 w 193"/>
              <a:gd name="T11" fmla="*/ 97 h 193"/>
              <a:gd name="T12" fmla="*/ 88 w 193"/>
              <a:gd name="T13" fmla="*/ 73 h 193"/>
              <a:gd name="T14" fmla="*/ 100 w 193"/>
              <a:gd name="T15" fmla="*/ 87 h 193"/>
              <a:gd name="T16" fmla="*/ 92 w 193"/>
              <a:gd name="T17" fmla="*/ 119 h 193"/>
              <a:gd name="T18" fmla="*/ 106 w 193"/>
              <a:gd name="T19" fmla="*/ 136 h 193"/>
              <a:gd name="T20" fmla="*/ 137 w 193"/>
              <a:gd name="T21" fmla="*/ 92 h 193"/>
              <a:gd name="T22" fmla="*/ 96 w 193"/>
              <a:gd name="T23" fmla="*/ 53 h 193"/>
              <a:gd name="T24" fmla="*/ 53 w 193"/>
              <a:gd name="T25" fmla="*/ 95 h 193"/>
              <a:gd name="T26" fmla="*/ 60 w 193"/>
              <a:gd name="T27" fmla="*/ 117 h 193"/>
              <a:gd name="T28" fmla="*/ 61 w 193"/>
              <a:gd name="T29" fmla="*/ 119 h 193"/>
              <a:gd name="T30" fmla="*/ 58 w 193"/>
              <a:gd name="T31" fmla="*/ 130 h 193"/>
              <a:gd name="T32" fmla="*/ 55 w 193"/>
              <a:gd name="T33" fmla="*/ 132 h 193"/>
              <a:gd name="T34" fmla="*/ 35 w 193"/>
              <a:gd name="T35" fmla="*/ 94 h 193"/>
              <a:gd name="T36" fmla="*/ 99 w 193"/>
              <a:gd name="T37" fmla="*/ 36 h 193"/>
              <a:gd name="T38" fmla="*/ 158 w 193"/>
              <a:gd name="T39" fmla="*/ 92 h 193"/>
              <a:gd name="T40" fmla="*/ 108 w 193"/>
              <a:gd name="T41" fmla="*/ 152 h 193"/>
              <a:gd name="T42" fmla="*/ 86 w 193"/>
              <a:gd name="T43" fmla="*/ 141 h 193"/>
              <a:gd name="T44" fmla="*/ 80 w 193"/>
              <a:gd name="T45" fmla="*/ 164 h 193"/>
              <a:gd name="T46" fmla="*/ 68 w 193"/>
              <a:gd name="T47" fmla="*/ 189 h 193"/>
              <a:gd name="T48" fmla="*/ 97 w 193"/>
              <a:gd name="T49" fmla="*/ 193 h 193"/>
              <a:gd name="T50" fmla="*/ 193 w 193"/>
              <a:gd name="T51" fmla="*/ 97 h 193"/>
              <a:gd name="T52" fmla="*/ 97 w 193"/>
              <a:gd name="T53"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3" h="193">
                <a:moveTo>
                  <a:pt x="97" y="0"/>
                </a:moveTo>
                <a:cubicBezTo>
                  <a:pt x="44" y="0"/>
                  <a:pt x="0" y="43"/>
                  <a:pt x="0" y="97"/>
                </a:cubicBezTo>
                <a:cubicBezTo>
                  <a:pt x="0" y="138"/>
                  <a:pt x="26" y="172"/>
                  <a:pt x="62" y="187"/>
                </a:cubicBezTo>
                <a:cubicBezTo>
                  <a:pt x="61" y="179"/>
                  <a:pt x="60" y="167"/>
                  <a:pt x="62" y="159"/>
                </a:cubicBezTo>
                <a:cubicBezTo>
                  <a:pt x="64" y="151"/>
                  <a:pt x="73" y="111"/>
                  <a:pt x="73" y="111"/>
                </a:cubicBezTo>
                <a:cubicBezTo>
                  <a:pt x="73" y="111"/>
                  <a:pt x="70" y="105"/>
                  <a:pt x="70" y="97"/>
                </a:cubicBezTo>
                <a:cubicBezTo>
                  <a:pt x="70" y="83"/>
                  <a:pt x="78" y="73"/>
                  <a:pt x="88" y="73"/>
                </a:cubicBezTo>
                <a:cubicBezTo>
                  <a:pt x="96" y="73"/>
                  <a:pt x="100" y="79"/>
                  <a:pt x="100" y="87"/>
                </a:cubicBezTo>
                <a:cubicBezTo>
                  <a:pt x="100" y="95"/>
                  <a:pt x="95" y="107"/>
                  <a:pt x="92" y="119"/>
                </a:cubicBezTo>
                <a:cubicBezTo>
                  <a:pt x="90" y="128"/>
                  <a:pt x="97" y="136"/>
                  <a:pt x="106" y="136"/>
                </a:cubicBezTo>
                <a:cubicBezTo>
                  <a:pt x="124" y="136"/>
                  <a:pt x="137" y="118"/>
                  <a:pt x="137" y="92"/>
                </a:cubicBezTo>
                <a:cubicBezTo>
                  <a:pt x="137" y="69"/>
                  <a:pt x="120" y="53"/>
                  <a:pt x="96" y="53"/>
                </a:cubicBezTo>
                <a:cubicBezTo>
                  <a:pt x="69" y="53"/>
                  <a:pt x="53" y="73"/>
                  <a:pt x="53" y="95"/>
                </a:cubicBezTo>
                <a:cubicBezTo>
                  <a:pt x="53" y="103"/>
                  <a:pt x="56" y="112"/>
                  <a:pt x="60" y="117"/>
                </a:cubicBezTo>
                <a:cubicBezTo>
                  <a:pt x="61" y="118"/>
                  <a:pt x="61" y="119"/>
                  <a:pt x="61" y="119"/>
                </a:cubicBezTo>
                <a:cubicBezTo>
                  <a:pt x="60" y="123"/>
                  <a:pt x="58" y="129"/>
                  <a:pt x="58" y="130"/>
                </a:cubicBezTo>
                <a:cubicBezTo>
                  <a:pt x="58" y="132"/>
                  <a:pt x="57" y="133"/>
                  <a:pt x="55" y="132"/>
                </a:cubicBezTo>
                <a:cubicBezTo>
                  <a:pt x="43" y="126"/>
                  <a:pt x="35" y="108"/>
                  <a:pt x="35" y="94"/>
                </a:cubicBezTo>
                <a:cubicBezTo>
                  <a:pt x="35" y="64"/>
                  <a:pt x="57" y="36"/>
                  <a:pt x="99" y="36"/>
                </a:cubicBezTo>
                <a:cubicBezTo>
                  <a:pt x="132" y="36"/>
                  <a:pt x="158" y="60"/>
                  <a:pt x="158" y="92"/>
                </a:cubicBezTo>
                <a:cubicBezTo>
                  <a:pt x="158" y="125"/>
                  <a:pt x="137" y="152"/>
                  <a:pt x="108" y="152"/>
                </a:cubicBezTo>
                <a:cubicBezTo>
                  <a:pt x="99" y="152"/>
                  <a:pt x="89" y="147"/>
                  <a:pt x="86" y="141"/>
                </a:cubicBezTo>
                <a:cubicBezTo>
                  <a:pt x="86" y="141"/>
                  <a:pt x="81" y="159"/>
                  <a:pt x="80" y="164"/>
                </a:cubicBezTo>
                <a:cubicBezTo>
                  <a:pt x="78" y="172"/>
                  <a:pt x="72" y="182"/>
                  <a:pt x="68" y="189"/>
                </a:cubicBezTo>
                <a:cubicBezTo>
                  <a:pt x="77" y="192"/>
                  <a:pt x="87" y="193"/>
                  <a:pt x="97" y="193"/>
                </a:cubicBezTo>
                <a:cubicBezTo>
                  <a:pt x="150" y="193"/>
                  <a:pt x="193" y="150"/>
                  <a:pt x="193" y="97"/>
                </a:cubicBezTo>
                <a:cubicBezTo>
                  <a:pt x="193" y="43"/>
                  <a:pt x="150" y="0"/>
                  <a:pt x="97" y="0"/>
                </a:cubicBezTo>
              </a:path>
            </a:pathLst>
          </a:custGeom>
          <a:solidFill>
            <a:srgbClr val="BD08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3" name="Group 2"/>
          <p:cNvGrpSpPr/>
          <p:nvPr/>
        </p:nvGrpSpPr>
        <p:grpSpPr>
          <a:xfrm>
            <a:off x="6236427" y="1309603"/>
            <a:ext cx="435264" cy="435264"/>
            <a:chOff x="4712427" y="1309603"/>
            <a:chExt cx="435264" cy="435264"/>
          </a:xfrm>
        </p:grpSpPr>
        <p:sp>
          <p:nvSpPr>
            <p:cNvPr id="624" name="Oval 67"/>
            <p:cNvSpPr>
              <a:spLocks noChangeArrowheads="1"/>
            </p:cNvSpPr>
            <p:nvPr/>
          </p:nvSpPr>
          <p:spPr bwMode="auto">
            <a:xfrm>
              <a:off x="4712427" y="1309603"/>
              <a:ext cx="435264" cy="435264"/>
            </a:xfrm>
            <a:prstGeom prst="ellipse">
              <a:avLst/>
            </a:prstGeom>
            <a:solidFill>
              <a:srgbClr val="3D5A9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91" name="Freeform 340"/>
            <p:cNvSpPr>
              <a:spLocks/>
            </p:cNvSpPr>
            <p:nvPr/>
          </p:nvSpPr>
          <p:spPr bwMode="auto">
            <a:xfrm>
              <a:off x="4827418" y="1367524"/>
              <a:ext cx="171210" cy="330494"/>
            </a:xfrm>
            <a:custGeom>
              <a:avLst/>
              <a:gdLst>
                <a:gd name="T0" fmla="*/ 55 w 85"/>
                <a:gd name="T1" fmla="*/ 164 h 164"/>
                <a:gd name="T2" fmla="*/ 55 w 85"/>
                <a:gd name="T3" fmla="*/ 89 h 164"/>
                <a:gd name="T4" fmla="*/ 80 w 85"/>
                <a:gd name="T5" fmla="*/ 89 h 164"/>
                <a:gd name="T6" fmla="*/ 84 w 85"/>
                <a:gd name="T7" fmla="*/ 60 h 164"/>
                <a:gd name="T8" fmla="*/ 55 w 85"/>
                <a:gd name="T9" fmla="*/ 60 h 164"/>
                <a:gd name="T10" fmla="*/ 55 w 85"/>
                <a:gd name="T11" fmla="*/ 41 h 164"/>
                <a:gd name="T12" fmla="*/ 70 w 85"/>
                <a:gd name="T13" fmla="*/ 27 h 164"/>
                <a:gd name="T14" fmla="*/ 85 w 85"/>
                <a:gd name="T15" fmla="*/ 27 h 164"/>
                <a:gd name="T16" fmla="*/ 85 w 85"/>
                <a:gd name="T17" fmla="*/ 1 h 164"/>
                <a:gd name="T18" fmla="*/ 63 w 85"/>
                <a:gd name="T19" fmla="*/ 0 h 164"/>
                <a:gd name="T20" fmla="*/ 25 w 85"/>
                <a:gd name="T21" fmla="*/ 38 h 164"/>
                <a:gd name="T22" fmla="*/ 25 w 85"/>
                <a:gd name="T23" fmla="*/ 60 h 164"/>
                <a:gd name="T24" fmla="*/ 0 w 85"/>
                <a:gd name="T25" fmla="*/ 60 h 164"/>
                <a:gd name="T26" fmla="*/ 0 w 85"/>
                <a:gd name="T27" fmla="*/ 89 h 164"/>
                <a:gd name="T28" fmla="*/ 25 w 85"/>
                <a:gd name="T29" fmla="*/ 89 h 164"/>
                <a:gd name="T30" fmla="*/ 25 w 85"/>
                <a:gd name="T31" fmla="*/ 164 h 164"/>
                <a:gd name="T32" fmla="*/ 55 w 85"/>
                <a:gd name="T33"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164">
                  <a:moveTo>
                    <a:pt x="55" y="164"/>
                  </a:moveTo>
                  <a:cubicBezTo>
                    <a:pt x="55" y="89"/>
                    <a:pt x="55" y="89"/>
                    <a:pt x="55" y="89"/>
                  </a:cubicBezTo>
                  <a:cubicBezTo>
                    <a:pt x="80" y="89"/>
                    <a:pt x="80" y="89"/>
                    <a:pt x="80" y="89"/>
                  </a:cubicBezTo>
                  <a:cubicBezTo>
                    <a:pt x="84" y="60"/>
                    <a:pt x="84" y="60"/>
                    <a:pt x="84" y="60"/>
                  </a:cubicBezTo>
                  <a:cubicBezTo>
                    <a:pt x="55" y="60"/>
                    <a:pt x="55" y="60"/>
                    <a:pt x="55" y="60"/>
                  </a:cubicBezTo>
                  <a:cubicBezTo>
                    <a:pt x="55" y="41"/>
                    <a:pt x="55" y="41"/>
                    <a:pt x="55" y="41"/>
                  </a:cubicBezTo>
                  <a:cubicBezTo>
                    <a:pt x="55" y="33"/>
                    <a:pt x="58" y="27"/>
                    <a:pt x="70" y="27"/>
                  </a:cubicBezTo>
                  <a:cubicBezTo>
                    <a:pt x="85" y="27"/>
                    <a:pt x="85" y="27"/>
                    <a:pt x="85" y="27"/>
                  </a:cubicBezTo>
                  <a:cubicBezTo>
                    <a:pt x="85" y="1"/>
                    <a:pt x="85" y="1"/>
                    <a:pt x="85" y="1"/>
                  </a:cubicBezTo>
                  <a:cubicBezTo>
                    <a:pt x="83" y="0"/>
                    <a:pt x="73" y="0"/>
                    <a:pt x="63" y="0"/>
                  </a:cubicBezTo>
                  <a:cubicBezTo>
                    <a:pt x="40" y="0"/>
                    <a:pt x="25" y="13"/>
                    <a:pt x="25" y="38"/>
                  </a:cubicBezTo>
                  <a:cubicBezTo>
                    <a:pt x="25" y="60"/>
                    <a:pt x="25" y="60"/>
                    <a:pt x="25" y="60"/>
                  </a:cubicBezTo>
                  <a:cubicBezTo>
                    <a:pt x="0" y="60"/>
                    <a:pt x="0" y="60"/>
                    <a:pt x="0" y="60"/>
                  </a:cubicBezTo>
                  <a:cubicBezTo>
                    <a:pt x="0" y="89"/>
                    <a:pt x="0" y="89"/>
                    <a:pt x="0" y="89"/>
                  </a:cubicBezTo>
                  <a:cubicBezTo>
                    <a:pt x="25" y="89"/>
                    <a:pt x="25" y="89"/>
                    <a:pt x="25" y="89"/>
                  </a:cubicBezTo>
                  <a:cubicBezTo>
                    <a:pt x="25" y="164"/>
                    <a:pt x="25" y="164"/>
                    <a:pt x="25" y="164"/>
                  </a:cubicBezTo>
                  <a:lnTo>
                    <a:pt x="55" y="16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grpSp>
        <p:nvGrpSpPr>
          <p:cNvPr id="4" name="Group 3"/>
          <p:cNvGrpSpPr/>
          <p:nvPr/>
        </p:nvGrpSpPr>
        <p:grpSpPr>
          <a:xfrm>
            <a:off x="6720243" y="1309603"/>
            <a:ext cx="434412" cy="435264"/>
            <a:chOff x="5196243" y="1309603"/>
            <a:chExt cx="434412" cy="435264"/>
          </a:xfrm>
        </p:grpSpPr>
        <p:sp>
          <p:nvSpPr>
            <p:cNvPr id="625" name="Oval 68"/>
            <p:cNvSpPr>
              <a:spLocks noChangeArrowheads="1"/>
            </p:cNvSpPr>
            <p:nvPr/>
          </p:nvSpPr>
          <p:spPr bwMode="auto">
            <a:xfrm>
              <a:off x="5196243" y="1309603"/>
              <a:ext cx="434412" cy="435264"/>
            </a:xfrm>
            <a:prstGeom prst="ellipse">
              <a:avLst/>
            </a:prstGeom>
            <a:solidFill>
              <a:srgbClr val="2AA9E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92" name="Freeform 341"/>
            <p:cNvSpPr>
              <a:spLocks/>
            </p:cNvSpPr>
            <p:nvPr/>
          </p:nvSpPr>
          <p:spPr bwMode="auto">
            <a:xfrm>
              <a:off x="5268645" y="1405855"/>
              <a:ext cx="291312" cy="240205"/>
            </a:xfrm>
            <a:custGeom>
              <a:avLst/>
              <a:gdLst>
                <a:gd name="T0" fmla="*/ 145 w 145"/>
                <a:gd name="T1" fmla="*/ 14 h 119"/>
                <a:gd name="T2" fmla="*/ 128 w 145"/>
                <a:gd name="T3" fmla="*/ 19 h 119"/>
                <a:gd name="T4" fmla="*/ 141 w 145"/>
                <a:gd name="T5" fmla="*/ 3 h 119"/>
                <a:gd name="T6" fmla="*/ 122 w 145"/>
                <a:gd name="T7" fmla="*/ 10 h 119"/>
                <a:gd name="T8" fmla="*/ 100 w 145"/>
                <a:gd name="T9" fmla="*/ 0 h 119"/>
                <a:gd name="T10" fmla="*/ 71 w 145"/>
                <a:gd name="T11" fmla="*/ 30 h 119"/>
                <a:gd name="T12" fmla="*/ 71 w 145"/>
                <a:gd name="T13" fmla="*/ 37 h 119"/>
                <a:gd name="T14" fmla="*/ 10 w 145"/>
                <a:gd name="T15" fmla="*/ 6 h 119"/>
                <a:gd name="T16" fmla="*/ 6 w 145"/>
                <a:gd name="T17" fmla="*/ 21 h 119"/>
                <a:gd name="T18" fmla="*/ 19 w 145"/>
                <a:gd name="T19" fmla="*/ 46 h 119"/>
                <a:gd name="T20" fmla="*/ 6 w 145"/>
                <a:gd name="T21" fmla="*/ 42 h 119"/>
                <a:gd name="T22" fmla="*/ 6 w 145"/>
                <a:gd name="T23" fmla="*/ 42 h 119"/>
                <a:gd name="T24" fmla="*/ 30 w 145"/>
                <a:gd name="T25" fmla="*/ 72 h 119"/>
                <a:gd name="T26" fmla="*/ 22 w 145"/>
                <a:gd name="T27" fmla="*/ 73 h 119"/>
                <a:gd name="T28" fmla="*/ 16 w 145"/>
                <a:gd name="T29" fmla="*/ 72 h 119"/>
                <a:gd name="T30" fmla="*/ 44 w 145"/>
                <a:gd name="T31" fmla="*/ 93 h 119"/>
                <a:gd name="T32" fmla="*/ 7 w 145"/>
                <a:gd name="T33" fmla="*/ 106 h 119"/>
                <a:gd name="T34" fmla="*/ 0 w 145"/>
                <a:gd name="T35" fmla="*/ 105 h 119"/>
                <a:gd name="T36" fmla="*/ 45 w 145"/>
                <a:gd name="T37" fmla="*/ 119 h 119"/>
                <a:gd name="T38" fmla="*/ 130 w 145"/>
                <a:gd name="T39" fmla="*/ 34 h 119"/>
                <a:gd name="T40" fmla="*/ 130 w 145"/>
                <a:gd name="T41" fmla="*/ 30 h 119"/>
                <a:gd name="T42" fmla="*/ 145 w 145"/>
                <a:gd name="T43" fmla="*/ 1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 h="119">
                  <a:moveTo>
                    <a:pt x="145" y="14"/>
                  </a:moveTo>
                  <a:cubicBezTo>
                    <a:pt x="140" y="17"/>
                    <a:pt x="134" y="18"/>
                    <a:pt x="128" y="19"/>
                  </a:cubicBezTo>
                  <a:cubicBezTo>
                    <a:pt x="134" y="16"/>
                    <a:pt x="139" y="10"/>
                    <a:pt x="141" y="3"/>
                  </a:cubicBezTo>
                  <a:cubicBezTo>
                    <a:pt x="135" y="6"/>
                    <a:pt x="129" y="9"/>
                    <a:pt x="122" y="10"/>
                  </a:cubicBezTo>
                  <a:cubicBezTo>
                    <a:pt x="117" y="4"/>
                    <a:pt x="109" y="0"/>
                    <a:pt x="100" y="0"/>
                  </a:cubicBezTo>
                  <a:cubicBezTo>
                    <a:pt x="84" y="0"/>
                    <a:pt x="71" y="14"/>
                    <a:pt x="71" y="30"/>
                  </a:cubicBezTo>
                  <a:cubicBezTo>
                    <a:pt x="71" y="33"/>
                    <a:pt x="71" y="35"/>
                    <a:pt x="71" y="37"/>
                  </a:cubicBezTo>
                  <a:cubicBezTo>
                    <a:pt x="47" y="36"/>
                    <a:pt x="25" y="24"/>
                    <a:pt x="10" y="6"/>
                  </a:cubicBezTo>
                  <a:cubicBezTo>
                    <a:pt x="7" y="10"/>
                    <a:pt x="6" y="15"/>
                    <a:pt x="6" y="21"/>
                  </a:cubicBezTo>
                  <a:cubicBezTo>
                    <a:pt x="6" y="31"/>
                    <a:pt x="11" y="40"/>
                    <a:pt x="19" y="46"/>
                  </a:cubicBezTo>
                  <a:cubicBezTo>
                    <a:pt x="14" y="46"/>
                    <a:pt x="10" y="44"/>
                    <a:pt x="6" y="42"/>
                  </a:cubicBezTo>
                  <a:cubicBezTo>
                    <a:pt x="6" y="42"/>
                    <a:pt x="6" y="42"/>
                    <a:pt x="6" y="42"/>
                  </a:cubicBezTo>
                  <a:cubicBezTo>
                    <a:pt x="6" y="57"/>
                    <a:pt x="16" y="69"/>
                    <a:pt x="30" y="72"/>
                  </a:cubicBezTo>
                  <a:cubicBezTo>
                    <a:pt x="27" y="72"/>
                    <a:pt x="24" y="73"/>
                    <a:pt x="22" y="73"/>
                  </a:cubicBezTo>
                  <a:cubicBezTo>
                    <a:pt x="20" y="73"/>
                    <a:pt x="18" y="73"/>
                    <a:pt x="16" y="72"/>
                  </a:cubicBezTo>
                  <a:cubicBezTo>
                    <a:pt x="20" y="84"/>
                    <a:pt x="31" y="93"/>
                    <a:pt x="44" y="93"/>
                  </a:cubicBezTo>
                  <a:cubicBezTo>
                    <a:pt x="34" y="101"/>
                    <a:pt x="21" y="106"/>
                    <a:pt x="7" y="106"/>
                  </a:cubicBezTo>
                  <a:cubicBezTo>
                    <a:pt x="4" y="106"/>
                    <a:pt x="2" y="106"/>
                    <a:pt x="0" y="105"/>
                  </a:cubicBezTo>
                  <a:cubicBezTo>
                    <a:pt x="13" y="114"/>
                    <a:pt x="29" y="119"/>
                    <a:pt x="45" y="119"/>
                  </a:cubicBezTo>
                  <a:cubicBezTo>
                    <a:pt x="100" y="119"/>
                    <a:pt x="130" y="73"/>
                    <a:pt x="130" y="34"/>
                  </a:cubicBezTo>
                  <a:cubicBezTo>
                    <a:pt x="130" y="33"/>
                    <a:pt x="130" y="31"/>
                    <a:pt x="130" y="30"/>
                  </a:cubicBezTo>
                  <a:cubicBezTo>
                    <a:pt x="136" y="26"/>
                    <a:pt x="141" y="20"/>
                    <a:pt x="145" y="1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
        <p:nvSpPr>
          <p:cNvPr id="893" name="Freeform 342"/>
          <p:cNvSpPr>
            <a:spLocks/>
          </p:cNvSpPr>
          <p:nvPr/>
        </p:nvSpPr>
        <p:spPr bwMode="auto">
          <a:xfrm>
            <a:off x="7259426" y="1442483"/>
            <a:ext cx="326235" cy="215503"/>
          </a:xfrm>
          <a:custGeom>
            <a:avLst/>
            <a:gdLst>
              <a:gd name="T0" fmla="*/ 15 w 162"/>
              <a:gd name="T1" fmla="*/ 20 h 107"/>
              <a:gd name="T2" fmla="*/ 1 w 162"/>
              <a:gd name="T3" fmla="*/ 6 h 107"/>
              <a:gd name="T4" fmla="*/ 0 w 162"/>
              <a:gd name="T5" fmla="*/ 6 h 107"/>
              <a:gd name="T6" fmla="*/ 0 w 162"/>
              <a:gd name="T7" fmla="*/ 3 h 107"/>
              <a:gd name="T8" fmla="*/ 0 w 162"/>
              <a:gd name="T9" fmla="*/ 0 h 107"/>
              <a:gd name="T10" fmla="*/ 0 w 162"/>
              <a:gd name="T11" fmla="*/ 0 h 107"/>
              <a:gd name="T12" fmla="*/ 41 w 162"/>
              <a:gd name="T13" fmla="*/ 0 h 107"/>
              <a:gd name="T14" fmla="*/ 41 w 162"/>
              <a:gd name="T15" fmla="*/ 6 h 107"/>
              <a:gd name="T16" fmla="*/ 31 w 162"/>
              <a:gd name="T17" fmla="*/ 15 h 107"/>
              <a:gd name="T18" fmla="*/ 61 w 162"/>
              <a:gd name="T19" fmla="*/ 84 h 107"/>
              <a:gd name="T20" fmla="*/ 79 w 162"/>
              <a:gd name="T21" fmla="*/ 51 h 107"/>
              <a:gd name="T22" fmla="*/ 60 w 162"/>
              <a:gd name="T23" fmla="*/ 10 h 107"/>
              <a:gd name="T24" fmla="*/ 46 w 162"/>
              <a:gd name="T25" fmla="*/ 6 h 107"/>
              <a:gd name="T26" fmla="*/ 46 w 162"/>
              <a:gd name="T27" fmla="*/ 0 h 107"/>
              <a:gd name="T28" fmla="*/ 85 w 162"/>
              <a:gd name="T29" fmla="*/ 0 h 107"/>
              <a:gd name="T30" fmla="*/ 85 w 162"/>
              <a:gd name="T31" fmla="*/ 6 h 107"/>
              <a:gd name="T32" fmla="*/ 78 w 162"/>
              <a:gd name="T33" fmla="*/ 11 h 107"/>
              <a:gd name="T34" fmla="*/ 89 w 162"/>
              <a:gd name="T35" fmla="*/ 35 h 107"/>
              <a:gd name="T36" fmla="*/ 100 w 162"/>
              <a:gd name="T37" fmla="*/ 12 h 107"/>
              <a:gd name="T38" fmla="*/ 90 w 162"/>
              <a:gd name="T39" fmla="*/ 5 h 107"/>
              <a:gd name="T40" fmla="*/ 89 w 162"/>
              <a:gd name="T41" fmla="*/ 0 h 107"/>
              <a:gd name="T42" fmla="*/ 124 w 162"/>
              <a:gd name="T43" fmla="*/ 0 h 107"/>
              <a:gd name="T44" fmla="*/ 124 w 162"/>
              <a:gd name="T45" fmla="*/ 5 h 107"/>
              <a:gd name="T46" fmla="*/ 111 w 162"/>
              <a:gd name="T47" fmla="*/ 11 h 107"/>
              <a:gd name="T48" fmla="*/ 94 w 162"/>
              <a:gd name="T49" fmla="*/ 45 h 107"/>
              <a:gd name="T50" fmla="*/ 110 w 162"/>
              <a:gd name="T51" fmla="*/ 81 h 107"/>
              <a:gd name="T52" fmla="*/ 140 w 162"/>
              <a:gd name="T53" fmla="*/ 13 h 107"/>
              <a:gd name="T54" fmla="*/ 129 w 162"/>
              <a:gd name="T55" fmla="*/ 6 h 107"/>
              <a:gd name="T56" fmla="*/ 129 w 162"/>
              <a:gd name="T57" fmla="*/ 0 h 107"/>
              <a:gd name="T58" fmla="*/ 162 w 162"/>
              <a:gd name="T59" fmla="*/ 0 h 107"/>
              <a:gd name="T60" fmla="*/ 162 w 162"/>
              <a:gd name="T61" fmla="*/ 6 h 107"/>
              <a:gd name="T62" fmla="*/ 157 w 162"/>
              <a:gd name="T63" fmla="*/ 7 h 107"/>
              <a:gd name="T64" fmla="*/ 151 w 162"/>
              <a:gd name="T65" fmla="*/ 13 h 107"/>
              <a:gd name="T66" fmla="*/ 110 w 162"/>
              <a:gd name="T67" fmla="*/ 107 h 107"/>
              <a:gd name="T68" fmla="*/ 103 w 162"/>
              <a:gd name="T69" fmla="*/ 107 h 107"/>
              <a:gd name="T70" fmla="*/ 84 w 162"/>
              <a:gd name="T71" fmla="*/ 62 h 107"/>
              <a:gd name="T72" fmla="*/ 60 w 162"/>
              <a:gd name="T73" fmla="*/ 107 h 107"/>
              <a:gd name="T74" fmla="*/ 53 w 162"/>
              <a:gd name="T75" fmla="*/ 107 h 107"/>
              <a:gd name="T76" fmla="*/ 15 w 162"/>
              <a:gd name="T77" fmla="*/ 2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07">
                <a:moveTo>
                  <a:pt x="15" y="20"/>
                </a:moveTo>
                <a:cubicBezTo>
                  <a:pt x="11" y="14"/>
                  <a:pt x="5" y="8"/>
                  <a:pt x="1" y="6"/>
                </a:cubicBezTo>
                <a:cubicBezTo>
                  <a:pt x="0" y="6"/>
                  <a:pt x="0" y="6"/>
                  <a:pt x="0" y="6"/>
                </a:cubicBezTo>
                <a:cubicBezTo>
                  <a:pt x="0" y="3"/>
                  <a:pt x="0" y="3"/>
                  <a:pt x="0" y="3"/>
                </a:cubicBezTo>
                <a:cubicBezTo>
                  <a:pt x="0" y="0"/>
                  <a:pt x="0" y="0"/>
                  <a:pt x="0" y="0"/>
                </a:cubicBezTo>
                <a:cubicBezTo>
                  <a:pt x="0" y="0"/>
                  <a:pt x="0" y="0"/>
                  <a:pt x="0" y="0"/>
                </a:cubicBezTo>
                <a:cubicBezTo>
                  <a:pt x="41" y="0"/>
                  <a:pt x="41" y="0"/>
                  <a:pt x="41" y="0"/>
                </a:cubicBezTo>
                <a:cubicBezTo>
                  <a:pt x="41" y="1"/>
                  <a:pt x="41" y="4"/>
                  <a:pt x="41" y="6"/>
                </a:cubicBezTo>
                <a:cubicBezTo>
                  <a:pt x="36" y="6"/>
                  <a:pt x="29" y="9"/>
                  <a:pt x="31" y="15"/>
                </a:cubicBezTo>
                <a:cubicBezTo>
                  <a:pt x="42" y="38"/>
                  <a:pt x="51" y="61"/>
                  <a:pt x="61" y="84"/>
                </a:cubicBezTo>
                <a:cubicBezTo>
                  <a:pt x="79" y="51"/>
                  <a:pt x="79" y="51"/>
                  <a:pt x="79" y="51"/>
                </a:cubicBezTo>
                <a:cubicBezTo>
                  <a:pt x="72" y="37"/>
                  <a:pt x="67" y="23"/>
                  <a:pt x="60" y="10"/>
                </a:cubicBezTo>
                <a:cubicBezTo>
                  <a:pt x="57" y="6"/>
                  <a:pt x="51" y="6"/>
                  <a:pt x="46" y="6"/>
                </a:cubicBezTo>
                <a:cubicBezTo>
                  <a:pt x="46" y="0"/>
                  <a:pt x="46" y="0"/>
                  <a:pt x="46" y="0"/>
                </a:cubicBezTo>
                <a:cubicBezTo>
                  <a:pt x="85" y="0"/>
                  <a:pt x="85" y="0"/>
                  <a:pt x="85" y="0"/>
                </a:cubicBezTo>
                <a:cubicBezTo>
                  <a:pt x="85" y="6"/>
                  <a:pt x="85" y="6"/>
                  <a:pt x="85" y="6"/>
                </a:cubicBezTo>
                <a:cubicBezTo>
                  <a:pt x="81" y="6"/>
                  <a:pt x="77" y="7"/>
                  <a:pt x="78" y="11"/>
                </a:cubicBezTo>
                <a:cubicBezTo>
                  <a:pt x="89" y="35"/>
                  <a:pt x="89" y="35"/>
                  <a:pt x="89" y="35"/>
                </a:cubicBezTo>
                <a:cubicBezTo>
                  <a:pt x="92" y="28"/>
                  <a:pt x="96" y="20"/>
                  <a:pt x="100" y="12"/>
                </a:cubicBezTo>
                <a:cubicBezTo>
                  <a:pt x="101" y="6"/>
                  <a:pt x="94" y="6"/>
                  <a:pt x="90" y="5"/>
                </a:cubicBezTo>
                <a:cubicBezTo>
                  <a:pt x="89" y="0"/>
                  <a:pt x="89" y="0"/>
                  <a:pt x="89" y="0"/>
                </a:cubicBezTo>
                <a:cubicBezTo>
                  <a:pt x="124" y="0"/>
                  <a:pt x="124" y="0"/>
                  <a:pt x="124" y="0"/>
                </a:cubicBezTo>
                <a:cubicBezTo>
                  <a:pt x="124" y="5"/>
                  <a:pt x="124" y="5"/>
                  <a:pt x="124" y="5"/>
                </a:cubicBezTo>
                <a:cubicBezTo>
                  <a:pt x="119" y="6"/>
                  <a:pt x="114" y="7"/>
                  <a:pt x="111" y="11"/>
                </a:cubicBezTo>
                <a:cubicBezTo>
                  <a:pt x="105" y="22"/>
                  <a:pt x="100" y="33"/>
                  <a:pt x="94" y="45"/>
                </a:cubicBezTo>
                <a:cubicBezTo>
                  <a:pt x="100" y="57"/>
                  <a:pt x="105" y="70"/>
                  <a:pt x="110" y="81"/>
                </a:cubicBezTo>
                <a:cubicBezTo>
                  <a:pt x="140" y="13"/>
                  <a:pt x="140" y="13"/>
                  <a:pt x="140" y="13"/>
                </a:cubicBezTo>
                <a:cubicBezTo>
                  <a:pt x="138" y="8"/>
                  <a:pt x="133" y="7"/>
                  <a:pt x="129" y="6"/>
                </a:cubicBezTo>
                <a:cubicBezTo>
                  <a:pt x="129" y="0"/>
                  <a:pt x="129" y="0"/>
                  <a:pt x="129" y="0"/>
                </a:cubicBezTo>
                <a:cubicBezTo>
                  <a:pt x="162" y="0"/>
                  <a:pt x="162" y="0"/>
                  <a:pt x="162" y="0"/>
                </a:cubicBezTo>
                <a:cubicBezTo>
                  <a:pt x="162" y="6"/>
                  <a:pt x="162" y="6"/>
                  <a:pt x="162" y="6"/>
                </a:cubicBezTo>
                <a:cubicBezTo>
                  <a:pt x="160" y="6"/>
                  <a:pt x="159" y="6"/>
                  <a:pt x="157" y="7"/>
                </a:cubicBezTo>
                <a:cubicBezTo>
                  <a:pt x="155" y="8"/>
                  <a:pt x="152" y="11"/>
                  <a:pt x="151" y="13"/>
                </a:cubicBezTo>
                <a:cubicBezTo>
                  <a:pt x="110" y="107"/>
                  <a:pt x="110" y="107"/>
                  <a:pt x="110" y="107"/>
                </a:cubicBezTo>
                <a:cubicBezTo>
                  <a:pt x="103" y="107"/>
                  <a:pt x="103" y="107"/>
                  <a:pt x="103" y="107"/>
                </a:cubicBezTo>
                <a:cubicBezTo>
                  <a:pt x="84" y="62"/>
                  <a:pt x="84" y="62"/>
                  <a:pt x="84" y="62"/>
                </a:cubicBezTo>
                <a:cubicBezTo>
                  <a:pt x="60" y="107"/>
                  <a:pt x="60" y="107"/>
                  <a:pt x="60" y="107"/>
                </a:cubicBezTo>
                <a:cubicBezTo>
                  <a:pt x="53" y="107"/>
                  <a:pt x="53" y="107"/>
                  <a:pt x="53" y="107"/>
                </a:cubicBezTo>
                <a:cubicBezTo>
                  <a:pt x="39" y="79"/>
                  <a:pt x="30" y="48"/>
                  <a:pt x="15" y="20"/>
                </a:cubicBezTo>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94" name="Freeform 343"/>
          <p:cNvSpPr>
            <a:spLocks noEditPoints="1"/>
          </p:cNvSpPr>
          <p:nvPr/>
        </p:nvSpPr>
        <p:spPr bwMode="auto">
          <a:xfrm>
            <a:off x="8747501" y="1399892"/>
            <a:ext cx="252130" cy="252130"/>
          </a:xfrm>
          <a:custGeom>
            <a:avLst/>
            <a:gdLst>
              <a:gd name="T0" fmla="*/ 111 w 125"/>
              <a:gd name="T1" fmla="*/ 0 h 125"/>
              <a:gd name="T2" fmla="*/ 15 w 125"/>
              <a:gd name="T3" fmla="*/ 0 h 125"/>
              <a:gd name="T4" fmla="*/ 0 w 125"/>
              <a:gd name="T5" fmla="*/ 15 h 125"/>
              <a:gd name="T6" fmla="*/ 0 w 125"/>
              <a:gd name="T7" fmla="*/ 111 h 125"/>
              <a:gd name="T8" fmla="*/ 15 w 125"/>
              <a:gd name="T9" fmla="*/ 125 h 125"/>
              <a:gd name="T10" fmla="*/ 111 w 125"/>
              <a:gd name="T11" fmla="*/ 125 h 125"/>
              <a:gd name="T12" fmla="*/ 125 w 125"/>
              <a:gd name="T13" fmla="*/ 111 h 125"/>
              <a:gd name="T14" fmla="*/ 125 w 125"/>
              <a:gd name="T15" fmla="*/ 15 h 125"/>
              <a:gd name="T16" fmla="*/ 111 w 125"/>
              <a:gd name="T17" fmla="*/ 0 h 125"/>
              <a:gd name="T18" fmla="*/ 63 w 125"/>
              <a:gd name="T19" fmla="*/ 39 h 125"/>
              <a:gd name="T20" fmla="*/ 87 w 125"/>
              <a:gd name="T21" fmla="*/ 63 h 125"/>
              <a:gd name="T22" fmla="*/ 63 w 125"/>
              <a:gd name="T23" fmla="*/ 87 h 125"/>
              <a:gd name="T24" fmla="*/ 39 w 125"/>
              <a:gd name="T25" fmla="*/ 63 h 125"/>
              <a:gd name="T26" fmla="*/ 63 w 125"/>
              <a:gd name="T27" fmla="*/ 39 h 125"/>
              <a:gd name="T28" fmla="*/ 111 w 125"/>
              <a:gd name="T29" fmla="*/ 106 h 125"/>
              <a:gd name="T30" fmla="*/ 106 w 125"/>
              <a:gd name="T31" fmla="*/ 111 h 125"/>
              <a:gd name="T32" fmla="*/ 20 w 125"/>
              <a:gd name="T33" fmla="*/ 111 h 125"/>
              <a:gd name="T34" fmla="*/ 15 w 125"/>
              <a:gd name="T35" fmla="*/ 106 h 125"/>
              <a:gd name="T36" fmla="*/ 15 w 125"/>
              <a:gd name="T37" fmla="*/ 53 h 125"/>
              <a:gd name="T38" fmla="*/ 26 w 125"/>
              <a:gd name="T39" fmla="*/ 53 h 125"/>
              <a:gd name="T40" fmla="*/ 24 w 125"/>
              <a:gd name="T41" fmla="*/ 63 h 125"/>
              <a:gd name="T42" fmla="*/ 63 w 125"/>
              <a:gd name="T43" fmla="*/ 101 h 125"/>
              <a:gd name="T44" fmla="*/ 101 w 125"/>
              <a:gd name="T45" fmla="*/ 63 h 125"/>
              <a:gd name="T46" fmla="*/ 100 w 125"/>
              <a:gd name="T47" fmla="*/ 53 h 125"/>
              <a:gd name="T48" fmla="*/ 111 w 125"/>
              <a:gd name="T49" fmla="*/ 53 h 125"/>
              <a:gd name="T50" fmla="*/ 111 w 125"/>
              <a:gd name="T51" fmla="*/ 106 h 125"/>
              <a:gd name="T52" fmla="*/ 111 w 125"/>
              <a:gd name="T53" fmla="*/ 34 h 125"/>
              <a:gd name="T54" fmla="*/ 106 w 125"/>
              <a:gd name="T55" fmla="*/ 39 h 125"/>
              <a:gd name="T56" fmla="*/ 92 w 125"/>
              <a:gd name="T57" fmla="*/ 39 h 125"/>
              <a:gd name="T58" fmla="*/ 87 w 125"/>
              <a:gd name="T59" fmla="*/ 34 h 125"/>
              <a:gd name="T60" fmla="*/ 87 w 125"/>
              <a:gd name="T61" fmla="*/ 20 h 125"/>
              <a:gd name="T62" fmla="*/ 92 w 125"/>
              <a:gd name="T63" fmla="*/ 15 h 125"/>
              <a:gd name="T64" fmla="*/ 106 w 125"/>
              <a:gd name="T65" fmla="*/ 15 h 125"/>
              <a:gd name="T66" fmla="*/ 111 w 125"/>
              <a:gd name="T67" fmla="*/ 20 h 125"/>
              <a:gd name="T68" fmla="*/ 111 w 125"/>
              <a:gd name="T69" fmla="*/ 3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111" y="0"/>
                </a:moveTo>
                <a:cubicBezTo>
                  <a:pt x="15" y="0"/>
                  <a:pt x="15" y="0"/>
                  <a:pt x="15" y="0"/>
                </a:cubicBezTo>
                <a:cubicBezTo>
                  <a:pt x="7" y="0"/>
                  <a:pt x="0" y="7"/>
                  <a:pt x="0" y="15"/>
                </a:cubicBezTo>
                <a:cubicBezTo>
                  <a:pt x="0" y="111"/>
                  <a:pt x="0" y="111"/>
                  <a:pt x="0" y="111"/>
                </a:cubicBezTo>
                <a:cubicBezTo>
                  <a:pt x="0" y="119"/>
                  <a:pt x="7" y="125"/>
                  <a:pt x="15" y="125"/>
                </a:cubicBezTo>
                <a:cubicBezTo>
                  <a:pt x="111" y="125"/>
                  <a:pt x="111" y="125"/>
                  <a:pt x="111" y="125"/>
                </a:cubicBezTo>
                <a:cubicBezTo>
                  <a:pt x="119" y="125"/>
                  <a:pt x="125" y="119"/>
                  <a:pt x="125" y="111"/>
                </a:cubicBezTo>
                <a:cubicBezTo>
                  <a:pt x="125" y="15"/>
                  <a:pt x="125" y="15"/>
                  <a:pt x="125" y="15"/>
                </a:cubicBezTo>
                <a:cubicBezTo>
                  <a:pt x="125" y="7"/>
                  <a:pt x="119" y="0"/>
                  <a:pt x="111" y="0"/>
                </a:cubicBezTo>
                <a:moveTo>
                  <a:pt x="63" y="39"/>
                </a:moveTo>
                <a:cubicBezTo>
                  <a:pt x="76" y="39"/>
                  <a:pt x="87" y="50"/>
                  <a:pt x="87" y="63"/>
                </a:cubicBezTo>
                <a:cubicBezTo>
                  <a:pt x="87" y="76"/>
                  <a:pt x="76" y="87"/>
                  <a:pt x="63" y="87"/>
                </a:cubicBezTo>
                <a:cubicBezTo>
                  <a:pt x="50" y="87"/>
                  <a:pt x="39" y="76"/>
                  <a:pt x="39" y="63"/>
                </a:cubicBezTo>
                <a:cubicBezTo>
                  <a:pt x="39" y="50"/>
                  <a:pt x="50" y="39"/>
                  <a:pt x="63" y="39"/>
                </a:cubicBezTo>
                <a:moveTo>
                  <a:pt x="111" y="106"/>
                </a:moveTo>
                <a:cubicBezTo>
                  <a:pt x="111" y="109"/>
                  <a:pt x="109" y="111"/>
                  <a:pt x="106" y="111"/>
                </a:cubicBezTo>
                <a:cubicBezTo>
                  <a:pt x="20" y="111"/>
                  <a:pt x="20" y="111"/>
                  <a:pt x="20" y="111"/>
                </a:cubicBezTo>
                <a:cubicBezTo>
                  <a:pt x="17" y="111"/>
                  <a:pt x="15" y="109"/>
                  <a:pt x="15" y="106"/>
                </a:cubicBezTo>
                <a:cubicBezTo>
                  <a:pt x="15" y="53"/>
                  <a:pt x="15" y="53"/>
                  <a:pt x="15" y="53"/>
                </a:cubicBezTo>
                <a:cubicBezTo>
                  <a:pt x="26" y="53"/>
                  <a:pt x="26" y="53"/>
                  <a:pt x="26" y="53"/>
                </a:cubicBezTo>
                <a:cubicBezTo>
                  <a:pt x="25" y="56"/>
                  <a:pt x="24" y="59"/>
                  <a:pt x="24" y="63"/>
                </a:cubicBezTo>
                <a:cubicBezTo>
                  <a:pt x="24" y="84"/>
                  <a:pt x="42" y="101"/>
                  <a:pt x="63" y="101"/>
                </a:cubicBezTo>
                <a:cubicBezTo>
                  <a:pt x="84" y="101"/>
                  <a:pt x="101" y="84"/>
                  <a:pt x="101" y="63"/>
                </a:cubicBezTo>
                <a:cubicBezTo>
                  <a:pt x="101" y="59"/>
                  <a:pt x="101" y="56"/>
                  <a:pt x="100" y="53"/>
                </a:cubicBezTo>
                <a:cubicBezTo>
                  <a:pt x="111" y="53"/>
                  <a:pt x="111" y="53"/>
                  <a:pt x="111" y="53"/>
                </a:cubicBezTo>
                <a:lnTo>
                  <a:pt x="111" y="106"/>
                </a:lnTo>
                <a:close/>
                <a:moveTo>
                  <a:pt x="111" y="34"/>
                </a:moveTo>
                <a:cubicBezTo>
                  <a:pt x="111" y="37"/>
                  <a:pt x="109" y="39"/>
                  <a:pt x="106" y="39"/>
                </a:cubicBezTo>
                <a:cubicBezTo>
                  <a:pt x="92" y="39"/>
                  <a:pt x="92" y="39"/>
                  <a:pt x="92" y="39"/>
                </a:cubicBezTo>
                <a:cubicBezTo>
                  <a:pt x="89" y="39"/>
                  <a:pt x="87" y="37"/>
                  <a:pt x="87" y="34"/>
                </a:cubicBezTo>
                <a:cubicBezTo>
                  <a:pt x="87" y="20"/>
                  <a:pt x="87" y="20"/>
                  <a:pt x="87" y="20"/>
                </a:cubicBezTo>
                <a:cubicBezTo>
                  <a:pt x="87" y="17"/>
                  <a:pt x="89" y="15"/>
                  <a:pt x="92" y="15"/>
                </a:cubicBezTo>
                <a:cubicBezTo>
                  <a:pt x="106" y="15"/>
                  <a:pt x="106" y="15"/>
                  <a:pt x="106" y="15"/>
                </a:cubicBezTo>
                <a:cubicBezTo>
                  <a:pt x="109" y="15"/>
                  <a:pt x="111" y="17"/>
                  <a:pt x="111" y="20"/>
                </a:cubicBezTo>
                <a:lnTo>
                  <a:pt x="111" y="3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5" name="Group 4"/>
          <p:cNvGrpSpPr/>
          <p:nvPr/>
        </p:nvGrpSpPr>
        <p:grpSpPr>
          <a:xfrm>
            <a:off x="8171692" y="1309603"/>
            <a:ext cx="435264" cy="435264"/>
            <a:chOff x="6647692" y="1309603"/>
            <a:chExt cx="435264" cy="435264"/>
          </a:xfrm>
        </p:grpSpPr>
        <p:sp>
          <p:nvSpPr>
            <p:cNvPr id="627" name="Oval 70"/>
            <p:cNvSpPr>
              <a:spLocks noChangeArrowheads="1"/>
            </p:cNvSpPr>
            <p:nvPr/>
          </p:nvSpPr>
          <p:spPr bwMode="auto">
            <a:xfrm>
              <a:off x="6647692" y="1309603"/>
              <a:ext cx="435264" cy="435264"/>
            </a:xfrm>
            <a:prstGeom prst="ellipse">
              <a:avLst/>
            </a:prstGeom>
            <a:solidFill>
              <a:srgbClr val="BD08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95" name="Freeform 344"/>
            <p:cNvSpPr>
              <a:spLocks/>
            </p:cNvSpPr>
            <p:nvPr/>
          </p:nvSpPr>
          <p:spPr bwMode="auto">
            <a:xfrm>
              <a:off x="6746499" y="1370079"/>
              <a:ext cx="241908" cy="314310"/>
            </a:xfrm>
            <a:custGeom>
              <a:avLst/>
              <a:gdLst>
                <a:gd name="T0" fmla="*/ 64 w 120"/>
                <a:gd name="T1" fmla="*/ 0 h 156"/>
                <a:gd name="T2" fmla="*/ 0 w 120"/>
                <a:gd name="T3" fmla="*/ 56 h 156"/>
                <a:gd name="T4" fmla="*/ 18 w 120"/>
                <a:gd name="T5" fmla="*/ 90 h 156"/>
                <a:gd name="T6" fmla="*/ 23 w 120"/>
                <a:gd name="T7" fmla="*/ 88 h 156"/>
                <a:gd name="T8" fmla="*/ 25 w 120"/>
                <a:gd name="T9" fmla="*/ 80 h 156"/>
                <a:gd name="T10" fmla="*/ 23 w 120"/>
                <a:gd name="T11" fmla="*/ 75 h 156"/>
                <a:gd name="T12" fmla="*/ 17 w 120"/>
                <a:gd name="T13" fmla="*/ 58 h 156"/>
                <a:gd name="T14" fmla="*/ 61 w 120"/>
                <a:gd name="T15" fmla="*/ 15 h 156"/>
                <a:gd name="T16" fmla="*/ 98 w 120"/>
                <a:gd name="T17" fmla="*/ 49 h 156"/>
                <a:gd name="T18" fmla="*/ 70 w 120"/>
                <a:gd name="T19" fmla="*/ 97 h 156"/>
                <a:gd name="T20" fmla="*/ 56 w 120"/>
                <a:gd name="T21" fmla="*/ 80 h 156"/>
                <a:gd name="T22" fmla="*/ 64 w 120"/>
                <a:gd name="T23" fmla="*/ 48 h 156"/>
                <a:gd name="T24" fmla="*/ 52 w 120"/>
                <a:gd name="T25" fmla="*/ 35 h 156"/>
                <a:gd name="T26" fmla="*/ 35 w 120"/>
                <a:gd name="T27" fmla="*/ 58 h 156"/>
                <a:gd name="T28" fmla="*/ 38 w 120"/>
                <a:gd name="T29" fmla="*/ 72 h 156"/>
                <a:gd name="T30" fmla="*/ 26 w 120"/>
                <a:gd name="T31" fmla="*/ 120 h 156"/>
                <a:gd name="T32" fmla="*/ 26 w 120"/>
                <a:gd name="T33" fmla="*/ 154 h 156"/>
                <a:gd name="T34" fmla="*/ 28 w 120"/>
                <a:gd name="T35" fmla="*/ 155 h 156"/>
                <a:gd name="T36" fmla="*/ 44 w 120"/>
                <a:gd name="T37" fmla="*/ 126 h 156"/>
                <a:gd name="T38" fmla="*/ 50 w 120"/>
                <a:gd name="T39" fmla="*/ 101 h 156"/>
                <a:gd name="T40" fmla="*/ 72 w 120"/>
                <a:gd name="T41" fmla="*/ 112 h 156"/>
                <a:gd name="T42" fmla="*/ 120 w 120"/>
                <a:gd name="T43" fmla="*/ 51 h 156"/>
                <a:gd name="T44" fmla="*/ 64 w 120"/>
                <a:gd name="T4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6">
                  <a:moveTo>
                    <a:pt x="64" y="0"/>
                  </a:moveTo>
                  <a:cubicBezTo>
                    <a:pt x="21" y="0"/>
                    <a:pt x="0" y="30"/>
                    <a:pt x="0" y="56"/>
                  </a:cubicBezTo>
                  <a:cubicBezTo>
                    <a:pt x="0" y="71"/>
                    <a:pt x="6" y="85"/>
                    <a:pt x="18" y="90"/>
                  </a:cubicBezTo>
                  <a:cubicBezTo>
                    <a:pt x="20" y="91"/>
                    <a:pt x="22" y="90"/>
                    <a:pt x="23" y="88"/>
                  </a:cubicBezTo>
                  <a:cubicBezTo>
                    <a:pt x="23" y="86"/>
                    <a:pt x="24" y="82"/>
                    <a:pt x="25" y="80"/>
                  </a:cubicBezTo>
                  <a:cubicBezTo>
                    <a:pt x="25" y="78"/>
                    <a:pt x="25" y="77"/>
                    <a:pt x="23" y="75"/>
                  </a:cubicBezTo>
                  <a:cubicBezTo>
                    <a:pt x="20" y="71"/>
                    <a:pt x="17" y="66"/>
                    <a:pt x="17" y="58"/>
                  </a:cubicBezTo>
                  <a:cubicBezTo>
                    <a:pt x="17" y="35"/>
                    <a:pt x="34" y="15"/>
                    <a:pt x="61" y="15"/>
                  </a:cubicBezTo>
                  <a:cubicBezTo>
                    <a:pt x="85" y="15"/>
                    <a:pt x="98" y="30"/>
                    <a:pt x="98" y="49"/>
                  </a:cubicBezTo>
                  <a:cubicBezTo>
                    <a:pt x="98" y="75"/>
                    <a:pt x="87" y="97"/>
                    <a:pt x="70" y="97"/>
                  </a:cubicBezTo>
                  <a:cubicBezTo>
                    <a:pt x="61" y="97"/>
                    <a:pt x="54" y="89"/>
                    <a:pt x="56" y="80"/>
                  </a:cubicBezTo>
                  <a:cubicBezTo>
                    <a:pt x="59" y="68"/>
                    <a:pt x="64" y="56"/>
                    <a:pt x="64" y="48"/>
                  </a:cubicBezTo>
                  <a:cubicBezTo>
                    <a:pt x="64" y="41"/>
                    <a:pt x="60" y="35"/>
                    <a:pt x="52" y="35"/>
                  </a:cubicBezTo>
                  <a:cubicBezTo>
                    <a:pt x="42" y="35"/>
                    <a:pt x="35" y="45"/>
                    <a:pt x="35" y="58"/>
                  </a:cubicBezTo>
                  <a:cubicBezTo>
                    <a:pt x="35" y="66"/>
                    <a:pt x="38" y="72"/>
                    <a:pt x="38" y="72"/>
                  </a:cubicBezTo>
                  <a:cubicBezTo>
                    <a:pt x="38" y="72"/>
                    <a:pt x="28" y="113"/>
                    <a:pt x="26" y="120"/>
                  </a:cubicBezTo>
                  <a:cubicBezTo>
                    <a:pt x="23" y="135"/>
                    <a:pt x="26" y="152"/>
                    <a:pt x="26" y="154"/>
                  </a:cubicBezTo>
                  <a:cubicBezTo>
                    <a:pt x="26" y="155"/>
                    <a:pt x="27" y="156"/>
                    <a:pt x="28" y="155"/>
                  </a:cubicBezTo>
                  <a:cubicBezTo>
                    <a:pt x="29" y="154"/>
                    <a:pt x="40" y="140"/>
                    <a:pt x="44" y="126"/>
                  </a:cubicBezTo>
                  <a:cubicBezTo>
                    <a:pt x="45" y="122"/>
                    <a:pt x="50" y="101"/>
                    <a:pt x="50" y="101"/>
                  </a:cubicBezTo>
                  <a:cubicBezTo>
                    <a:pt x="53" y="107"/>
                    <a:pt x="63" y="112"/>
                    <a:pt x="72" y="112"/>
                  </a:cubicBezTo>
                  <a:cubicBezTo>
                    <a:pt x="101" y="112"/>
                    <a:pt x="120" y="86"/>
                    <a:pt x="120" y="51"/>
                  </a:cubicBezTo>
                  <a:cubicBezTo>
                    <a:pt x="120" y="25"/>
                    <a:pt x="98" y="0"/>
                    <a:pt x="64"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grpSp>
        <p:nvGrpSpPr>
          <p:cNvPr id="16" name="Group 15"/>
          <p:cNvGrpSpPr/>
          <p:nvPr/>
        </p:nvGrpSpPr>
        <p:grpSpPr>
          <a:xfrm>
            <a:off x="6236427" y="1801085"/>
            <a:ext cx="435264" cy="435264"/>
            <a:chOff x="4712427" y="1801085"/>
            <a:chExt cx="435264" cy="435264"/>
          </a:xfrm>
        </p:grpSpPr>
        <p:sp>
          <p:nvSpPr>
            <p:cNvPr id="628" name="Oval 71"/>
            <p:cNvSpPr>
              <a:spLocks noChangeArrowheads="1"/>
            </p:cNvSpPr>
            <p:nvPr/>
          </p:nvSpPr>
          <p:spPr bwMode="auto">
            <a:xfrm>
              <a:off x="4712427" y="1801085"/>
              <a:ext cx="435264" cy="435264"/>
            </a:xfrm>
            <a:prstGeom prst="ellipse">
              <a:avLst/>
            </a:prstGeom>
            <a:solidFill>
              <a:srgbClr val="F482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96" name="Freeform 345"/>
            <p:cNvSpPr>
              <a:spLocks noEditPoints="1"/>
            </p:cNvSpPr>
            <p:nvPr/>
          </p:nvSpPr>
          <p:spPr bwMode="auto">
            <a:xfrm>
              <a:off x="4781422" y="1863266"/>
              <a:ext cx="304089" cy="306644"/>
            </a:xfrm>
            <a:custGeom>
              <a:avLst/>
              <a:gdLst>
                <a:gd name="T0" fmla="*/ 150 w 151"/>
                <a:gd name="T1" fmla="*/ 66 h 152"/>
                <a:gd name="T2" fmla="*/ 140 w 151"/>
                <a:gd name="T3" fmla="*/ 57 h 152"/>
                <a:gd name="T4" fmla="*/ 132 w 151"/>
                <a:gd name="T5" fmla="*/ 57 h 152"/>
                <a:gd name="T6" fmla="*/ 132 w 151"/>
                <a:gd name="T7" fmla="*/ 57 h 152"/>
                <a:gd name="T8" fmla="*/ 122 w 151"/>
                <a:gd name="T9" fmla="*/ 48 h 152"/>
                <a:gd name="T10" fmla="*/ 122 w 151"/>
                <a:gd name="T11" fmla="*/ 48 h 152"/>
                <a:gd name="T12" fmla="*/ 72 w 151"/>
                <a:gd name="T13" fmla="*/ 0 h 152"/>
                <a:gd name="T14" fmla="*/ 48 w 151"/>
                <a:gd name="T15" fmla="*/ 1 h 152"/>
                <a:gd name="T16" fmla="*/ 0 w 151"/>
                <a:gd name="T17" fmla="*/ 51 h 152"/>
                <a:gd name="T18" fmla="*/ 2 w 151"/>
                <a:gd name="T19" fmla="*/ 104 h 152"/>
                <a:gd name="T20" fmla="*/ 51 w 151"/>
                <a:gd name="T21" fmla="*/ 151 h 152"/>
                <a:gd name="T22" fmla="*/ 103 w 151"/>
                <a:gd name="T23" fmla="*/ 150 h 152"/>
                <a:gd name="T24" fmla="*/ 151 w 151"/>
                <a:gd name="T25" fmla="*/ 100 h 152"/>
                <a:gd name="T26" fmla="*/ 150 w 151"/>
                <a:gd name="T27" fmla="*/ 66 h 152"/>
                <a:gd name="T28" fmla="*/ 48 w 151"/>
                <a:gd name="T29" fmla="*/ 40 h 152"/>
                <a:gd name="T30" fmla="*/ 76 w 151"/>
                <a:gd name="T31" fmla="*/ 40 h 152"/>
                <a:gd name="T32" fmla="*/ 85 w 151"/>
                <a:gd name="T33" fmla="*/ 49 h 152"/>
                <a:gd name="T34" fmla="*/ 76 w 151"/>
                <a:gd name="T35" fmla="*/ 58 h 152"/>
                <a:gd name="T36" fmla="*/ 48 w 151"/>
                <a:gd name="T37" fmla="*/ 58 h 152"/>
                <a:gd name="T38" fmla="*/ 39 w 151"/>
                <a:gd name="T39" fmla="*/ 49 h 152"/>
                <a:gd name="T40" fmla="*/ 48 w 151"/>
                <a:gd name="T41" fmla="*/ 40 h 152"/>
                <a:gd name="T42" fmla="*/ 103 w 151"/>
                <a:gd name="T43" fmla="*/ 112 h 152"/>
                <a:gd name="T44" fmla="*/ 48 w 151"/>
                <a:gd name="T45" fmla="*/ 112 h 152"/>
                <a:gd name="T46" fmla="*/ 39 w 151"/>
                <a:gd name="T47" fmla="*/ 103 h 152"/>
                <a:gd name="T48" fmla="*/ 48 w 151"/>
                <a:gd name="T49" fmla="*/ 94 h 152"/>
                <a:gd name="T50" fmla="*/ 103 w 151"/>
                <a:gd name="T51" fmla="*/ 94 h 152"/>
                <a:gd name="T52" fmla="*/ 112 w 151"/>
                <a:gd name="T53" fmla="*/ 103 h 152"/>
                <a:gd name="T54" fmla="*/ 103 w 151"/>
                <a:gd name="T5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1" h="152">
                  <a:moveTo>
                    <a:pt x="150" y="66"/>
                  </a:moveTo>
                  <a:cubicBezTo>
                    <a:pt x="150" y="61"/>
                    <a:pt x="145" y="56"/>
                    <a:pt x="140" y="57"/>
                  </a:cubicBezTo>
                  <a:cubicBezTo>
                    <a:pt x="132" y="57"/>
                    <a:pt x="132" y="57"/>
                    <a:pt x="132" y="57"/>
                  </a:cubicBezTo>
                  <a:cubicBezTo>
                    <a:pt x="132" y="57"/>
                    <a:pt x="132" y="57"/>
                    <a:pt x="132" y="57"/>
                  </a:cubicBezTo>
                  <a:cubicBezTo>
                    <a:pt x="127" y="57"/>
                    <a:pt x="122" y="53"/>
                    <a:pt x="122" y="48"/>
                  </a:cubicBezTo>
                  <a:cubicBezTo>
                    <a:pt x="122" y="48"/>
                    <a:pt x="122" y="48"/>
                    <a:pt x="122" y="48"/>
                  </a:cubicBezTo>
                  <a:cubicBezTo>
                    <a:pt x="121" y="21"/>
                    <a:pt x="99" y="0"/>
                    <a:pt x="72" y="0"/>
                  </a:cubicBezTo>
                  <a:cubicBezTo>
                    <a:pt x="48" y="1"/>
                    <a:pt x="48" y="1"/>
                    <a:pt x="48" y="1"/>
                  </a:cubicBezTo>
                  <a:cubicBezTo>
                    <a:pt x="21" y="2"/>
                    <a:pt x="0" y="24"/>
                    <a:pt x="0" y="51"/>
                  </a:cubicBezTo>
                  <a:cubicBezTo>
                    <a:pt x="2" y="104"/>
                    <a:pt x="2" y="104"/>
                    <a:pt x="2" y="104"/>
                  </a:cubicBezTo>
                  <a:cubicBezTo>
                    <a:pt x="2" y="130"/>
                    <a:pt x="24" y="152"/>
                    <a:pt x="51" y="151"/>
                  </a:cubicBezTo>
                  <a:cubicBezTo>
                    <a:pt x="103" y="150"/>
                    <a:pt x="103" y="150"/>
                    <a:pt x="103" y="150"/>
                  </a:cubicBezTo>
                  <a:cubicBezTo>
                    <a:pt x="130" y="149"/>
                    <a:pt x="151" y="127"/>
                    <a:pt x="151" y="100"/>
                  </a:cubicBezTo>
                  <a:lnTo>
                    <a:pt x="150" y="66"/>
                  </a:lnTo>
                  <a:close/>
                  <a:moveTo>
                    <a:pt x="48" y="40"/>
                  </a:moveTo>
                  <a:cubicBezTo>
                    <a:pt x="76" y="40"/>
                    <a:pt x="76" y="40"/>
                    <a:pt x="76" y="40"/>
                  </a:cubicBezTo>
                  <a:cubicBezTo>
                    <a:pt x="81" y="40"/>
                    <a:pt x="85" y="44"/>
                    <a:pt x="85" y="49"/>
                  </a:cubicBezTo>
                  <a:cubicBezTo>
                    <a:pt x="85" y="54"/>
                    <a:pt x="81" y="58"/>
                    <a:pt x="76" y="58"/>
                  </a:cubicBezTo>
                  <a:cubicBezTo>
                    <a:pt x="48" y="58"/>
                    <a:pt x="48" y="58"/>
                    <a:pt x="48" y="58"/>
                  </a:cubicBezTo>
                  <a:cubicBezTo>
                    <a:pt x="43" y="58"/>
                    <a:pt x="39" y="54"/>
                    <a:pt x="39" y="49"/>
                  </a:cubicBezTo>
                  <a:cubicBezTo>
                    <a:pt x="39" y="44"/>
                    <a:pt x="43" y="40"/>
                    <a:pt x="48" y="40"/>
                  </a:cubicBezTo>
                  <a:moveTo>
                    <a:pt x="103" y="112"/>
                  </a:moveTo>
                  <a:cubicBezTo>
                    <a:pt x="48" y="112"/>
                    <a:pt x="48" y="112"/>
                    <a:pt x="48" y="112"/>
                  </a:cubicBezTo>
                  <a:cubicBezTo>
                    <a:pt x="43" y="112"/>
                    <a:pt x="39" y="108"/>
                    <a:pt x="39" y="103"/>
                  </a:cubicBezTo>
                  <a:cubicBezTo>
                    <a:pt x="39" y="98"/>
                    <a:pt x="43" y="94"/>
                    <a:pt x="48" y="94"/>
                  </a:cubicBezTo>
                  <a:cubicBezTo>
                    <a:pt x="103" y="94"/>
                    <a:pt x="103" y="94"/>
                    <a:pt x="103" y="94"/>
                  </a:cubicBezTo>
                  <a:cubicBezTo>
                    <a:pt x="108" y="94"/>
                    <a:pt x="112" y="98"/>
                    <a:pt x="112" y="103"/>
                  </a:cubicBezTo>
                  <a:cubicBezTo>
                    <a:pt x="112" y="108"/>
                    <a:pt x="108" y="112"/>
                    <a:pt x="103" y="11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
        <p:nvSpPr>
          <p:cNvPr id="897" name="Oval 346"/>
          <p:cNvSpPr>
            <a:spLocks noChangeArrowheads="1"/>
          </p:cNvSpPr>
          <p:nvPr/>
        </p:nvSpPr>
        <p:spPr bwMode="auto">
          <a:xfrm>
            <a:off x="6884638" y="1939927"/>
            <a:ext cx="97104" cy="9710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98" name="Rectangle 347"/>
          <p:cNvSpPr>
            <a:spLocks noChangeArrowheads="1"/>
          </p:cNvSpPr>
          <p:nvPr/>
        </p:nvSpPr>
        <p:spPr bwMode="auto">
          <a:xfrm>
            <a:off x="6897415" y="2044697"/>
            <a:ext cx="72402" cy="132879"/>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99" name="Freeform 348"/>
          <p:cNvSpPr>
            <a:spLocks/>
          </p:cNvSpPr>
          <p:nvPr/>
        </p:nvSpPr>
        <p:spPr bwMode="auto">
          <a:xfrm>
            <a:off x="6814793" y="1871783"/>
            <a:ext cx="237649" cy="195060"/>
          </a:xfrm>
          <a:custGeom>
            <a:avLst/>
            <a:gdLst>
              <a:gd name="T0" fmla="*/ 59 w 118"/>
              <a:gd name="T1" fmla="*/ 0 h 97"/>
              <a:gd name="T2" fmla="*/ 0 w 118"/>
              <a:gd name="T3" fmla="*/ 59 h 97"/>
              <a:gd name="T4" fmla="*/ 11 w 118"/>
              <a:gd name="T5" fmla="*/ 93 h 97"/>
              <a:gd name="T6" fmla="*/ 13 w 118"/>
              <a:gd name="T7" fmla="*/ 96 h 97"/>
              <a:gd name="T8" fmla="*/ 16 w 118"/>
              <a:gd name="T9" fmla="*/ 95 h 97"/>
              <a:gd name="T10" fmla="*/ 27 w 118"/>
              <a:gd name="T11" fmla="*/ 91 h 97"/>
              <a:gd name="T12" fmla="*/ 33 w 118"/>
              <a:gd name="T13" fmla="*/ 89 h 97"/>
              <a:gd name="T14" fmla="*/ 29 w 118"/>
              <a:gd name="T15" fmla="*/ 84 h 97"/>
              <a:gd name="T16" fmla="*/ 20 w 118"/>
              <a:gd name="T17" fmla="*/ 59 h 97"/>
              <a:gd name="T18" fmla="*/ 59 w 118"/>
              <a:gd name="T19" fmla="*/ 20 h 97"/>
              <a:gd name="T20" fmla="*/ 98 w 118"/>
              <a:gd name="T21" fmla="*/ 59 h 97"/>
              <a:gd name="T22" fmla="*/ 89 w 118"/>
              <a:gd name="T23" fmla="*/ 85 h 97"/>
              <a:gd name="T24" fmla="*/ 84 w 118"/>
              <a:gd name="T25" fmla="*/ 90 h 97"/>
              <a:gd name="T26" fmla="*/ 91 w 118"/>
              <a:gd name="T27" fmla="*/ 92 h 97"/>
              <a:gd name="T28" fmla="*/ 101 w 118"/>
              <a:gd name="T29" fmla="*/ 96 h 97"/>
              <a:gd name="T30" fmla="*/ 104 w 118"/>
              <a:gd name="T31" fmla="*/ 97 h 97"/>
              <a:gd name="T32" fmla="*/ 107 w 118"/>
              <a:gd name="T33" fmla="*/ 94 h 97"/>
              <a:gd name="T34" fmla="*/ 118 w 118"/>
              <a:gd name="T35" fmla="*/ 59 h 97"/>
              <a:gd name="T36" fmla="*/ 59 w 118"/>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97">
                <a:moveTo>
                  <a:pt x="59" y="0"/>
                </a:moveTo>
                <a:cubicBezTo>
                  <a:pt x="26" y="0"/>
                  <a:pt x="0" y="27"/>
                  <a:pt x="0" y="59"/>
                </a:cubicBezTo>
                <a:cubicBezTo>
                  <a:pt x="0" y="72"/>
                  <a:pt x="4" y="83"/>
                  <a:pt x="11" y="93"/>
                </a:cubicBezTo>
                <a:cubicBezTo>
                  <a:pt x="13" y="96"/>
                  <a:pt x="13" y="96"/>
                  <a:pt x="13" y="96"/>
                </a:cubicBezTo>
                <a:cubicBezTo>
                  <a:pt x="16" y="95"/>
                  <a:pt x="16" y="95"/>
                  <a:pt x="16" y="95"/>
                </a:cubicBezTo>
                <a:cubicBezTo>
                  <a:pt x="20" y="94"/>
                  <a:pt x="23" y="92"/>
                  <a:pt x="27" y="91"/>
                </a:cubicBezTo>
                <a:cubicBezTo>
                  <a:pt x="33" y="89"/>
                  <a:pt x="33" y="89"/>
                  <a:pt x="33" y="89"/>
                </a:cubicBezTo>
                <a:cubicBezTo>
                  <a:pt x="29" y="84"/>
                  <a:pt x="29" y="84"/>
                  <a:pt x="29" y="84"/>
                </a:cubicBezTo>
                <a:cubicBezTo>
                  <a:pt x="23" y="77"/>
                  <a:pt x="20" y="68"/>
                  <a:pt x="20" y="59"/>
                </a:cubicBezTo>
                <a:cubicBezTo>
                  <a:pt x="20" y="38"/>
                  <a:pt x="37" y="20"/>
                  <a:pt x="59" y="20"/>
                </a:cubicBezTo>
                <a:cubicBezTo>
                  <a:pt x="80" y="20"/>
                  <a:pt x="98" y="38"/>
                  <a:pt x="98" y="59"/>
                </a:cubicBezTo>
                <a:cubicBezTo>
                  <a:pt x="98" y="69"/>
                  <a:pt x="95" y="77"/>
                  <a:pt x="89" y="85"/>
                </a:cubicBezTo>
                <a:cubicBezTo>
                  <a:pt x="84" y="90"/>
                  <a:pt x="84" y="90"/>
                  <a:pt x="84" y="90"/>
                </a:cubicBezTo>
                <a:cubicBezTo>
                  <a:pt x="91" y="92"/>
                  <a:pt x="91" y="92"/>
                  <a:pt x="91" y="92"/>
                </a:cubicBezTo>
                <a:cubicBezTo>
                  <a:pt x="94" y="93"/>
                  <a:pt x="98" y="94"/>
                  <a:pt x="101" y="96"/>
                </a:cubicBezTo>
                <a:cubicBezTo>
                  <a:pt x="104" y="97"/>
                  <a:pt x="104" y="97"/>
                  <a:pt x="104" y="97"/>
                </a:cubicBezTo>
                <a:cubicBezTo>
                  <a:pt x="107" y="94"/>
                  <a:pt x="107" y="94"/>
                  <a:pt x="107" y="94"/>
                </a:cubicBezTo>
                <a:cubicBezTo>
                  <a:pt x="114" y="84"/>
                  <a:pt x="118" y="72"/>
                  <a:pt x="118" y="59"/>
                </a:cubicBezTo>
                <a:cubicBezTo>
                  <a:pt x="118" y="27"/>
                  <a:pt x="92" y="0"/>
                  <a:pt x="59"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0" name="Freeform 349"/>
          <p:cNvSpPr>
            <a:spLocks/>
          </p:cNvSpPr>
          <p:nvPr/>
        </p:nvSpPr>
        <p:spPr bwMode="auto">
          <a:xfrm>
            <a:off x="9178507" y="1948445"/>
            <a:ext cx="100511" cy="231687"/>
          </a:xfrm>
          <a:custGeom>
            <a:avLst/>
            <a:gdLst>
              <a:gd name="T0" fmla="*/ 0 w 50"/>
              <a:gd name="T1" fmla="*/ 36 h 115"/>
              <a:gd name="T2" fmla="*/ 50 w 50"/>
              <a:gd name="T3" fmla="*/ 115 h 115"/>
              <a:gd name="T4" fmla="*/ 8 w 50"/>
              <a:gd name="T5" fmla="*/ 0 h 115"/>
              <a:gd name="T6" fmla="*/ 0 w 50"/>
              <a:gd name="T7" fmla="*/ 36 h 115"/>
            </a:gdLst>
            <a:ahLst/>
            <a:cxnLst>
              <a:cxn ang="0">
                <a:pos x="T0" y="T1"/>
              </a:cxn>
              <a:cxn ang="0">
                <a:pos x="T2" y="T3"/>
              </a:cxn>
              <a:cxn ang="0">
                <a:pos x="T4" y="T5"/>
              </a:cxn>
              <a:cxn ang="0">
                <a:pos x="T6" y="T7"/>
              </a:cxn>
            </a:cxnLst>
            <a:rect l="0" t="0" r="r" b="b"/>
            <a:pathLst>
              <a:path w="50" h="115">
                <a:moveTo>
                  <a:pt x="0" y="36"/>
                </a:moveTo>
                <a:cubicBezTo>
                  <a:pt x="0" y="71"/>
                  <a:pt x="21" y="101"/>
                  <a:pt x="50" y="115"/>
                </a:cubicBezTo>
                <a:cubicBezTo>
                  <a:pt x="8" y="0"/>
                  <a:pt x="8" y="0"/>
                  <a:pt x="8" y="0"/>
                </a:cubicBezTo>
                <a:cubicBezTo>
                  <a:pt x="3" y="10"/>
                  <a:pt x="0" y="23"/>
                  <a:pt x="0" y="36"/>
                </a:cubicBezTo>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1" name="Freeform 350"/>
          <p:cNvSpPr>
            <a:spLocks/>
          </p:cNvSpPr>
          <p:nvPr/>
        </p:nvSpPr>
        <p:spPr bwMode="auto">
          <a:xfrm>
            <a:off x="9206616" y="1841120"/>
            <a:ext cx="270017" cy="288757"/>
          </a:xfrm>
          <a:custGeom>
            <a:avLst/>
            <a:gdLst>
              <a:gd name="T0" fmla="*/ 134 w 134"/>
              <a:gd name="T1" fmla="*/ 84 h 143"/>
              <a:gd name="T2" fmla="*/ 127 w 134"/>
              <a:gd name="T3" fmla="*/ 60 h 143"/>
              <a:gd name="T4" fmla="*/ 118 w 134"/>
              <a:gd name="T5" fmla="*/ 39 h 143"/>
              <a:gd name="T6" fmla="*/ 133 w 134"/>
              <a:gd name="T7" fmla="*/ 23 h 143"/>
              <a:gd name="T8" fmla="*/ 134 w 134"/>
              <a:gd name="T9" fmla="*/ 23 h 143"/>
              <a:gd name="T10" fmla="*/ 74 w 134"/>
              <a:gd name="T11" fmla="*/ 0 h 143"/>
              <a:gd name="T12" fmla="*/ 0 w 134"/>
              <a:gd name="T13" fmla="*/ 40 h 143"/>
              <a:gd name="T14" fmla="*/ 6 w 134"/>
              <a:gd name="T15" fmla="*/ 40 h 143"/>
              <a:gd name="T16" fmla="*/ 30 w 134"/>
              <a:gd name="T17" fmla="*/ 39 h 143"/>
              <a:gd name="T18" fmla="*/ 31 w 134"/>
              <a:gd name="T19" fmla="*/ 46 h 143"/>
              <a:gd name="T20" fmla="*/ 20 w 134"/>
              <a:gd name="T21" fmla="*/ 47 h 143"/>
              <a:gd name="T22" fmla="*/ 52 w 134"/>
              <a:gd name="T23" fmla="*/ 143 h 143"/>
              <a:gd name="T24" fmla="*/ 72 w 134"/>
              <a:gd name="T25" fmla="*/ 84 h 143"/>
              <a:gd name="T26" fmla="*/ 58 w 134"/>
              <a:gd name="T27" fmla="*/ 47 h 143"/>
              <a:gd name="T28" fmla="*/ 49 w 134"/>
              <a:gd name="T29" fmla="*/ 46 h 143"/>
              <a:gd name="T30" fmla="*/ 49 w 134"/>
              <a:gd name="T31" fmla="*/ 39 h 143"/>
              <a:gd name="T32" fmla="*/ 72 w 134"/>
              <a:gd name="T33" fmla="*/ 40 h 143"/>
              <a:gd name="T34" fmla="*/ 96 w 134"/>
              <a:gd name="T35" fmla="*/ 39 h 143"/>
              <a:gd name="T36" fmla="*/ 97 w 134"/>
              <a:gd name="T37" fmla="*/ 46 h 143"/>
              <a:gd name="T38" fmla="*/ 87 w 134"/>
              <a:gd name="T39" fmla="*/ 47 h 143"/>
              <a:gd name="T40" fmla="*/ 118 w 134"/>
              <a:gd name="T41" fmla="*/ 142 h 143"/>
              <a:gd name="T42" fmla="*/ 127 w 134"/>
              <a:gd name="T43" fmla="*/ 113 h 143"/>
              <a:gd name="T44" fmla="*/ 134 w 134"/>
              <a:gd name="T45" fmla="*/ 8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143">
                <a:moveTo>
                  <a:pt x="134" y="84"/>
                </a:moveTo>
                <a:cubicBezTo>
                  <a:pt x="134" y="73"/>
                  <a:pt x="130" y="66"/>
                  <a:pt x="127" y="60"/>
                </a:cubicBezTo>
                <a:cubicBezTo>
                  <a:pt x="123" y="52"/>
                  <a:pt x="118" y="46"/>
                  <a:pt x="118" y="39"/>
                </a:cubicBezTo>
                <a:cubicBezTo>
                  <a:pt x="118" y="31"/>
                  <a:pt x="124" y="23"/>
                  <a:pt x="133" y="23"/>
                </a:cubicBezTo>
                <a:cubicBezTo>
                  <a:pt x="134" y="23"/>
                  <a:pt x="134" y="23"/>
                  <a:pt x="134" y="23"/>
                </a:cubicBezTo>
                <a:cubicBezTo>
                  <a:pt x="118" y="9"/>
                  <a:pt x="97" y="0"/>
                  <a:pt x="74" y="0"/>
                </a:cubicBezTo>
                <a:cubicBezTo>
                  <a:pt x="44" y="0"/>
                  <a:pt x="16" y="16"/>
                  <a:pt x="0" y="40"/>
                </a:cubicBezTo>
                <a:cubicBezTo>
                  <a:pt x="3" y="40"/>
                  <a:pt x="5" y="40"/>
                  <a:pt x="6" y="40"/>
                </a:cubicBezTo>
                <a:cubicBezTo>
                  <a:pt x="15" y="40"/>
                  <a:pt x="30" y="39"/>
                  <a:pt x="30" y="39"/>
                </a:cubicBezTo>
                <a:cubicBezTo>
                  <a:pt x="35" y="38"/>
                  <a:pt x="35" y="45"/>
                  <a:pt x="31" y="46"/>
                </a:cubicBezTo>
                <a:cubicBezTo>
                  <a:pt x="31" y="46"/>
                  <a:pt x="26" y="47"/>
                  <a:pt x="20" y="47"/>
                </a:cubicBezTo>
                <a:cubicBezTo>
                  <a:pt x="52" y="143"/>
                  <a:pt x="52" y="143"/>
                  <a:pt x="52" y="143"/>
                </a:cubicBezTo>
                <a:cubicBezTo>
                  <a:pt x="72" y="84"/>
                  <a:pt x="72" y="84"/>
                  <a:pt x="72" y="84"/>
                </a:cubicBezTo>
                <a:cubicBezTo>
                  <a:pt x="58" y="47"/>
                  <a:pt x="58" y="47"/>
                  <a:pt x="58" y="47"/>
                </a:cubicBezTo>
                <a:cubicBezTo>
                  <a:pt x="53" y="47"/>
                  <a:pt x="49" y="46"/>
                  <a:pt x="49" y="46"/>
                </a:cubicBezTo>
                <a:cubicBezTo>
                  <a:pt x="44" y="46"/>
                  <a:pt x="45" y="38"/>
                  <a:pt x="49" y="39"/>
                </a:cubicBezTo>
                <a:cubicBezTo>
                  <a:pt x="49" y="39"/>
                  <a:pt x="64" y="40"/>
                  <a:pt x="72" y="40"/>
                </a:cubicBezTo>
                <a:cubicBezTo>
                  <a:pt x="82" y="40"/>
                  <a:pt x="96" y="39"/>
                  <a:pt x="96" y="39"/>
                </a:cubicBezTo>
                <a:cubicBezTo>
                  <a:pt x="101" y="38"/>
                  <a:pt x="101" y="45"/>
                  <a:pt x="97" y="46"/>
                </a:cubicBezTo>
                <a:cubicBezTo>
                  <a:pt x="97" y="46"/>
                  <a:pt x="92" y="47"/>
                  <a:pt x="87" y="47"/>
                </a:cubicBezTo>
                <a:cubicBezTo>
                  <a:pt x="118" y="142"/>
                  <a:pt x="118" y="142"/>
                  <a:pt x="118" y="142"/>
                </a:cubicBezTo>
                <a:cubicBezTo>
                  <a:pt x="127" y="113"/>
                  <a:pt x="127" y="113"/>
                  <a:pt x="127" y="113"/>
                </a:cubicBezTo>
                <a:cubicBezTo>
                  <a:pt x="131" y="100"/>
                  <a:pt x="134" y="92"/>
                  <a:pt x="134" y="84"/>
                </a:cubicBezTo>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2" name="Freeform 351"/>
          <p:cNvSpPr>
            <a:spLocks/>
          </p:cNvSpPr>
          <p:nvPr/>
        </p:nvSpPr>
        <p:spPr bwMode="auto">
          <a:xfrm>
            <a:off x="9305424" y="2034475"/>
            <a:ext cx="110733" cy="163544"/>
          </a:xfrm>
          <a:custGeom>
            <a:avLst/>
            <a:gdLst>
              <a:gd name="T0" fmla="*/ 27 w 55"/>
              <a:gd name="T1" fmla="*/ 0 h 81"/>
              <a:gd name="T2" fmla="*/ 0 w 55"/>
              <a:gd name="T3" fmla="*/ 77 h 81"/>
              <a:gd name="T4" fmla="*/ 25 w 55"/>
              <a:gd name="T5" fmla="*/ 81 h 81"/>
              <a:gd name="T6" fmla="*/ 55 w 55"/>
              <a:gd name="T7" fmla="*/ 76 h 81"/>
              <a:gd name="T8" fmla="*/ 54 w 55"/>
              <a:gd name="T9" fmla="*/ 75 h 81"/>
              <a:gd name="T10" fmla="*/ 27 w 55"/>
              <a:gd name="T11" fmla="*/ 0 h 81"/>
            </a:gdLst>
            <a:ahLst/>
            <a:cxnLst>
              <a:cxn ang="0">
                <a:pos x="T0" y="T1"/>
              </a:cxn>
              <a:cxn ang="0">
                <a:pos x="T2" y="T3"/>
              </a:cxn>
              <a:cxn ang="0">
                <a:pos x="T4" y="T5"/>
              </a:cxn>
              <a:cxn ang="0">
                <a:pos x="T6" y="T7"/>
              </a:cxn>
              <a:cxn ang="0">
                <a:pos x="T8" y="T9"/>
              </a:cxn>
              <a:cxn ang="0">
                <a:pos x="T10" y="T11"/>
              </a:cxn>
            </a:cxnLst>
            <a:rect l="0" t="0" r="r" b="b"/>
            <a:pathLst>
              <a:path w="55" h="81">
                <a:moveTo>
                  <a:pt x="27" y="0"/>
                </a:moveTo>
                <a:cubicBezTo>
                  <a:pt x="0" y="77"/>
                  <a:pt x="0" y="77"/>
                  <a:pt x="0" y="77"/>
                </a:cubicBezTo>
                <a:cubicBezTo>
                  <a:pt x="8" y="80"/>
                  <a:pt x="17" y="81"/>
                  <a:pt x="25" y="81"/>
                </a:cubicBezTo>
                <a:cubicBezTo>
                  <a:pt x="36" y="81"/>
                  <a:pt x="45" y="79"/>
                  <a:pt x="55" y="76"/>
                </a:cubicBezTo>
                <a:cubicBezTo>
                  <a:pt x="55" y="75"/>
                  <a:pt x="54" y="75"/>
                  <a:pt x="54" y="75"/>
                </a:cubicBezTo>
                <a:lnTo>
                  <a:pt x="27" y="0"/>
                </a:lnTo>
                <a:close/>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3" name="Freeform 352"/>
          <p:cNvSpPr>
            <a:spLocks/>
          </p:cNvSpPr>
          <p:nvPr/>
        </p:nvSpPr>
        <p:spPr bwMode="auto">
          <a:xfrm>
            <a:off x="9446820" y="1933965"/>
            <a:ext cx="88586" cy="240205"/>
          </a:xfrm>
          <a:custGeom>
            <a:avLst/>
            <a:gdLst>
              <a:gd name="T0" fmla="*/ 33 w 44"/>
              <a:gd name="T1" fmla="*/ 0 h 119"/>
              <a:gd name="T2" fmla="*/ 34 w 44"/>
              <a:gd name="T3" fmla="*/ 9 h 119"/>
              <a:gd name="T4" fmla="*/ 27 w 44"/>
              <a:gd name="T5" fmla="*/ 41 h 119"/>
              <a:gd name="T6" fmla="*/ 0 w 44"/>
              <a:gd name="T7" fmla="*/ 119 h 119"/>
              <a:gd name="T8" fmla="*/ 44 w 44"/>
              <a:gd name="T9" fmla="*/ 43 h 119"/>
              <a:gd name="T10" fmla="*/ 33 w 44"/>
              <a:gd name="T11" fmla="*/ 0 h 119"/>
            </a:gdLst>
            <a:ahLst/>
            <a:cxnLst>
              <a:cxn ang="0">
                <a:pos x="T0" y="T1"/>
              </a:cxn>
              <a:cxn ang="0">
                <a:pos x="T2" y="T3"/>
              </a:cxn>
              <a:cxn ang="0">
                <a:pos x="T4" y="T5"/>
              </a:cxn>
              <a:cxn ang="0">
                <a:pos x="T6" y="T7"/>
              </a:cxn>
              <a:cxn ang="0">
                <a:pos x="T8" y="T9"/>
              </a:cxn>
              <a:cxn ang="0">
                <a:pos x="T10" y="T11"/>
              </a:cxn>
            </a:cxnLst>
            <a:rect l="0" t="0" r="r" b="b"/>
            <a:pathLst>
              <a:path w="44" h="119">
                <a:moveTo>
                  <a:pt x="33" y="0"/>
                </a:moveTo>
                <a:cubicBezTo>
                  <a:pt x="33" y="3"/>
                  <a:pt x="34" y="6"/>
                  <a:pt x="34" y="9"/>
                </a:cubicBezTo>
                <a:cubicBezTo>
                  <a:pt x="34" y="18"/>
                  <a:pt x="32" y="28"/>
                  <a:pt x="27" y="41"/>
                </a:cubicBezTo>
                <a:cubicBezTo>
                  <a:pt x="0" y="119"/>
                  <a:pt x="0" y="119"/>
                  <a:pt x="0" y="119"/>
                </a:cubicBezTo>
                <a:cubicBezTo>
                  <a:pt x="26" y="103"/>
                  <a:pt x="44" y="75"/>
                  <a:pt x="44" y="43"/>
                </a:cubicBezTo>
                <a:cubicBezTo>
                  <a:pt x="44" y="27"/>
                  <a:pt x="40" y="12"/>
                  <a:pt x="33" y="0"/>
                </a:cubicBezTo>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4" name="Freeform 353"/>
          <p:cNvSpPr>
            <a:spLocks noEditPoints="1"/>
          </p:cNvSpPr>
          <p:nvPr/>
        </p:nvSpPr>
        <p:spPr bwMode="auto">
          <a:xfrm>
            <a:off x="9150397" y="1811307"/>
            <a:ext cx="414822" cy="417377"/>
          </a:xfrm>
          <a:custGeom>
            <a:avLst/>
            <a:gdLst>
              <a:gd name="T0" fmla="*/ 102 w 206"/>
              <a:gd name="T1" fmla="*/ 0 h 207"/>
              <a:gd name="T2" fmla="*/ 0 w 206"/>
              <a:gd name="T3" fmla="*/ 104 h 207"/>
              <a:gd name="T4" fmla="*/ 102 w 206"/>
              <a:gd name="T5" fmla="*/ 207 h 207"/>
              <a:gd name="T6" fmla="*/ 206 w 206"/>
              <a:gd name="T7" fmla="*/ 104 h 207"/>
              <a:gd name="T8" fmla="*/ 102 w 206"/>
              <a:gd name="T9" fmla="*/ 0 h 207"/>
              <a:gd name="T10" fmla="*/ 102 w 206"/>
              <a:gd name="T11" fmla="*/ 202 h 207"/>
              <a:gd name="T12" fmla="*/ 4 w 206"/>
              <a:gd name="T13" fmla="*/ 104 h 207"/>
              <a:gd name="T14" fmla="*/ 102 w 206"/>
              <a:gd name="T15" fmla="*/ 5 h 207"/>
              <a:gd name="T16" fmla="*/ 201 w 206"/>
              <a:gd name="T17" fmla="*/ 104 h 207"/>
              <a:gd name="T18" fmla="*/ 102 w 206"/>
              <a:gd name="T19" fmla="*/ 20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07">
                <a:moveTo>
                  <a:pt x="102" y="0"/>
                </a:moveTo>
                <a:cubicBezTo>
                  <a:pt x="46" y="0"/>
                  <a:pt x="0" y="46"/>
                  <a:pt x="0" y="104"/>
                </a:cubicBezTo>
                <a:cubicBezTo>
                  <a:pt x="0" y="160"/>
                  <a:pt x="46" y="207"/>
                  <a:pt x="102" y="207"/>
                </a:cubicBezTo>
                <a:cubicBezTo>
                  <a:pt x="160" y="207"/>
                  <a:pt x="206" y="160"/>
                  <a:pt x="206" y="104"/>
                </a:cubicBezTo>
                <a:cubicBezTo>
                  <a:pt x="206" y="46"/>
                  <a:pt x="160" y="0"/>
                  <a:pt x="102" y="0"/>
                </a:cubicBezTo>
                <a:moveTo>
                  <a:pt x="102" y="202"/>
                </a:moveTo>
                <a:cubicBezTo>
                  <a:pt x="48" y="202"/>
                  <a:pt x="4" y="158"/>
                  <a:pt x="4" y="104"/>
                </a:cubicBezTo>
                <a:cubicBezTo>
                  <a:pt x="4" y="49"/>
                  <a:pt x="48" y="5"/>
                  <a:pt x="102" y="5"/>
                </a:cubicBezTo>
                <a:cubicBezTo>
                  <a:pt x="157" y="5"/>
                  <a:pt x="201" y="49"/>
                  <a:pt x="201" y="104"/>
                </a:cubicBezTo>
                <a:cubicBezTo>
                  <a:pt x="201" y="158"/>
                  <a:pt x="157" y="202"/>
                  <a:pt x="102" y="202"/>
                </a:cubicBezTo>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5" name="Freeform 354"/>
          <p:cNvSpPr>
            <a:spLocks/>
          </p:cNvSpPr>
          <p:nvPr/>
        </p:nvSpPr>
        <p:spPr bwMode="auto">
          <a:xfrm>
            <a:off x="9662323" y="1948445"/>
            <a:ext cx="100511" cy="231687"/>
          </a:xfrm>
          <a:custGeom>
            <a:avLst/>
            <a:gdLst>
              <a:gd name="T0" fmla="*/ 0 w 50"/>
              <a:gd name="T1" fmla="*/ 36 h 115"/>
              <a:gd name="T2" fmla="*/ 50 w 50"/>
              <a:gd name="T3" fmla="*/ 115 h 115"/>
              <a:gd name="T4" fmla="*/ 8 w 50"/>
              <a:gd name="T5" fmla="*/ 0 h 115"/>
              <a:gd name="T6" fmla="*/ 0 w 50"/>
              <a:gd name="T7" fmla="*/ 36 h 115"/>
            </a:gdLst>
            <a:ahLst/>
            <a:cxnLst>
              <a:cxn ang="0">
                <a:pos x="T0" y="T1"/>
              </a:cxn>
              <a:cxn ang="0">
                <a:pos x="T2" y="T3"/>
              </a:cxn>
              <a:cxn ang="0">
                <a:pos x="T4" y="T5"/>
              </a:cxn>
              <a:cxn ang="0">
                <a:pos x="T6" y="T7"/>
              </a:cxn>
            </a:cxnLst>
            <a:rect l="0" t="0" r="r" b="b"/>
            <a:pathLst>
              <a:path w="50" h="115">
                <a:moveTo>
                  <a:pt x="0" y="36"/>
                </a:moveTo>
                <a:cubicBezTo>
                  <a:pt x="0" y="71"/>
                  <a:pt x="21" y="101"/>
                  <a:pt x="50" y="115"/>
                </a:cubicBezTo>
                <a:cubicBezTo>
                  <a:pt x="8" y="0"/>
                  <a:pt x="8" y="0"/>
                  <a:pt x="8" y="0"/>
                </a:cubicBezTo>
                <a:cubicBezTo>
                  <a:pt x="3" y="10"/>
                  <a:pt x="0" y="23"/>
                  <a:pt x="0" y="36"/>
                </a:cubicBezTo>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6" name="Freeform 355"/>
          <p:cNvSpPr>
            <a:spLocks/>
          </p:cNvSpPr>
          <p:nvPr/>
        </p:nvSpPr>
        <p:spPr bwMode="auto">
          <a:xfrm>
            <a:off x="9692135" y="1841120"/>
            <a:ext cx="268314" cy="288757"/>
          </a:xfrm>
          <a:custGeom>
            <a:avLst/>
            <a:gdLst>
              <a:gd name="T0" fmla="*/ 133 w 133"/>
              <a:gd name="T1" fmla="*/ 84 h 143"/>
              <a:gd name="T2" fmla="*/ 126 w 133"/>
              <a:gd name="T3" fmla="*/ 60 h 143"/>
              <a:gd name="T4" fmla="*/ 117 w 133"/>
              <a:gd name="T5" fmla="*/ 39 h 143"/>
              <a:gd name="T6" fmla="*/ 132 w 133"/>
              <a:gd name="T7" fmla="*/ 23 h 143"/>
              <a:gd name="T8" fmla="*/ 133 w 133"/>
              <a:gd name="T9" fmla="*/ 23 h 143"/>
              <a:gd name="T10" fmla="*/ 73 w 133"/>
              <a:gd name="T11" fmla="*/ 0 h 143"/>
              <a:gd name="T12" fmla="*/ 0 w 133"/>
              <a:gd name="T13" fmla="*/ 40 h 143"/>
              <a:gd name="T14" fmla="*/ 6 w 133"/>
              <a:gd name="T15" fmla="*/ 40 h 143"/>
              <a:gd name="T16" fmla="*/ 29 w 133"/>
              <a:gd name="T17" fmla="*/ 39 h 143"/>
              <a:gd name="T18" fmla="*/ 30 w 133"/>
              <a:gd name="T19" fmla="*/ 46 h 143"/>
              <a:gd name="T20" fmla="*/ 20 w 133"/>
              <a:gd name="T21" fmla="*/ 47 h 143"/>
              <a:gd name="T22" fmla="*/ 52 w 133"/>
              <a:gd name="T23" fmla="*/ 143 h 143"/>
              <a:gd name="T24" fmla="*/ 71 w 133"/>
              <a:gd name="T25" fmla="*/ 84 h 143"/>
              <a:gd name="T26" fmla="*/ 57 w 133"/>
              <a:gd name="T27" fmla="*/ 47 h 143"/>
              <a:gd name="T28" fmla="*/ 48 w 133"/>
              <a:gd name="T29" fmla="*/ 46 h 143"/>
              <a:gd name="T30" fmla="*/ 49 w 133"/>
              <a:gd name="T31" fmla="*/ 39 h 143"/>
              <a:gd name="T32" fmla="*/ 72 w 133"/>
              <a:gd name="T33" fmla="*/ 40 h 143"/>
              <a:gd name="T34" fmla="*/ 95 w 133"/>
              <a:gd name="T35" fmla="*/ 39 h 143"/>
              <a:gd name="T36" fmla="*/ 96 w 133"/>
              <a:gd name="T37" fmla="*/ 46 h 143"/>
              <a:gd name="T38" fmla="*/ 86 w 133"/>
              <a:gd name="T39" fmla="*/ 47 h 143"/>
              <a:gd name="T40" fmla="*/ 118 w 133"/>
              <a:gd name="T41" fmla="*/ 142 h 143"/>
              <a:gd name="T42" fmla="*/ 127 w 133"/>
              <a:gd name="T43" fmla="*/ 113 h 143"/>
              <a:gd name="T44" fmla="*/ 133 w 133"/>
              <a:gd name="T45" fmla="*/ 8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143">
                <a:moveTo>
                  <a:pt x="133" y="84"/>
                </a:moveTo>
                <a:cubicBezTo>
                  <a:pt x="133" y="73"/>
                  <a:pt x="129" y="66"/>
                  <a:pt x="126" y="60"/>
                </a:cubicBezTo>
                <a:cubicBezTo>
                  <a:pt x="122" y="52"/>
                  <a:pt x="117" y="46"/>
                  <a:pt x="117" y="39"/>
                </a:cubicBezTo>
                <a:cubicBezTo>
                  <a:pt x="117" y="31"/>
                  <a:pt x="124" y="23"/>
                  <a:pt x="132" y="23"/>
                </a:cubicBezTo>
                <a:cubicBezTo>
                  <a:pt x="133" y="23"/>
                  <a:pt x="133" y="23"/>
                  <a:pt x="133" y="23"/>
                </a:cubicBezTo>
                <a:cubicBezTo>
                  <a:pt x="118" y="9"/>
                  <a:pt x="96" y="0"/>
                  <a:pt x="73" y="0"/>
                </a:cubicBezTo>
                <a:cubicBezTo>
                  <a:pt x="43" y="0"/>
                  <a:pt x="16" y="16"/>
                  <a:pt x="0" y="40"/>
                </a:cubicBezTo>
                <a:cubicBezTo>
                  <a:pt x="2" y="40"/>
                  <a:pt x="4" y="40"/>
                  <a:pt x="6" y="40"/>
                </a:cubicBezTo>
                <a:cubicBezTo>
                  <a:pt x="14" y="40"/>
                  <a:pt x="29" y="39"/>
                  <a:pt x="29" y="39"/>
                </a:cubicBezTo>
                <a:cubicBezTo>
                  <a:pt x="34" y="38"/>
                  <a:pt x="34" y="45"/>
                  <a:pt x="30" y="46"/>
                </a:cubicBezTo>
                <a:cubicBezTo>
                  <a:pt x="30" y="46"/>
                  <a:pt x="25" y="47"/>
                  <a:pt x="20" y="47"/>
                </a:cubicBezTo>
                <a:cubicBezTo>
                  <a:pt x="52" y="143"/>
                  <a:pt x="52" y="143"/>
                  <a:pt x="52" y="143"/>
                </a:cubicBezTo>
                <a:cubicBezTo>
                  <a:pt x="71" y="84"/>
                  <a:pt x="71" y="84"/>
                  <a:pt x="71" y="84"/>
                </a:cubicBezTo>
                <a:cubicBezTo>
                  <a:pt x="57" y="47"/>
                  <a:pt x="57" y="47"/>
                  <a:pt x="57" y="47"/>
                </a:cubicBezTo>
                <a:cubicBezTo>
                  <a:pt x="52" y="47"/>
                  <a:pt x="48" y="46"/>
                  <a:pt x="48" y="46"/>
                </a:cubicBezTo>
                <a:cubicBezTo>
                  <a:pt x="43" y="46"/>
                  <a:pt x="44" y="38"/>
                  <a:pt x="49" y="39"/>
                </a:cubicBezTo>
                <a:cubicBezTo>
                  <a:pt x="49" y="39"/>
                  <a:pt x="63" y="40"/>
                  <a:pt x="72" y="40"/>
                </a:cubicBezTo>
                <a:cubicBezTo>
                  <a:pt x="81" y="40"/>
                  <a:pt x="95" y="39"/>
                  <a:pt x="95" y="39"/>
                </a:cubicBezTo>
                <a:cubicBezTo>
                  <a:pt x="100" y="38"/>
                  <a:pt x="101" y="45"/>
                  <a:pt x="96" y="46"/>
                </a:cubicBezTo>
                <a:cubicBezTo>
                  <a:pt x="96" y="46"/>
                  <a:pt x="91" y="47"/>
                  <a:pt x="86" y="47"/>
                </a:cubicBezTo>
                <a:cubicBezTo>
                  <a:pt x="118" y="142"/>
                  <a:pt x="118" y="142"/>
                  <a:pt x="118" y="142"/>
                </a:cubicBezTo>
                <a:cubicBezTo>
                  <a:pt x="127" y="113"/>
                  <a:pt x="127" y="113"/>
                  <a:pt x="127" y="113"/>
                </a:cubicBezTo>
                <a:cubicBezTo>
                  <a:pt x="131" y="100"/>
                  <a:pt x="133" y="92"/>
                  <a:pt x="133" y="84"/>
                </a:cubicBezTo>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7" name="Freeform 356"/>
          <p:cNvSpPr>
            <a:spLocks/>
          </p:cNvSpPr>
          <p:nvPr/>
        </p:nvSpPr>
        <p:spPr bwMode="auto">
          <a:xfrm>
            <a:off x="9790943" y="2034475"/>
            <a:ext cx="109029" cy="163544"/>
          </a:xfrm>
          <a:custGeom>
            <a:avLst/>
            <a:gdLst>
              <a:gd name="T0" fmla="*/ 26 w 54"/>
              <a:gd name="T1" fmla="*/ 0 h 81"/>
              <a:gd name="T2" fmla="*/ 0 w 54"/>
              <a:gd name="T3" fmla="*/ 77 h 81"/>
              <a:gd name="T4" fmla="*/ 24 w 54"/>
              <a:gd name="T5" fmla="*/ 81 h 81"/>
              <a:gd name="T6" fmla="*/ 54 w 54"/>
              <a:gd name="T7" fmla="*/ 76 h 81"/>
              <a:gd name="T8" fmla="*/ 53 w 54"/>
              <a:gd name="T9" fmla="*/ 75 h 81"/>
              <a:gd name="T10" fmla="*/ 26 w 54"/>
              <a:gd name="T11" fmla="*/ 0 h 81"/>
            </a:gdLst>
            <a:ahLst/>
            <a:cxnLst>
              <a:cxn ang="0">
                <a:pos x="T0" y="T1"/>
              </a:cxn>
              <a:cxn ang="0">
                <a:pos x="T2" y="T3"/>
              </a:cxn>
              <a:cxn ang="0">
                <a:pos x="T4" y="T5"/>
              </a:cxn>
              <a:cxn ang="0">
                <a:pos x="T6" y="T7"/>
              </a:cxn>
              <a:cxn ang="0">
                <a:pos x="T8" y="T9"/>
              </a:cxn>
              <a:cxn ang="0">
                <a:pos x="T10" y="T11"/>
              </a:cxn>
            </a:cxnLst>
            <a:rect l="0" t="0" r="r" b="b"/>
            <a:pathLst>
              <a:path w="54" h="81">
                <a:moveTo>
                  <a:pt x="26" y="0"/>
                </a:moveTo>
                <a:cubicBezTo>
                  <a:pt x="0" y="77"/>
                  <a:pt x="0" y="77"/>
                  <a:pt x="0" y="77"/>
                </a:cubicBezTo>
                <a:cubicBezTo>
                  <a:pt x="7" y="80"/>
                  <a:pt x="16" y="81"/>
                  <a:pt x="24" y="81"/>
                </a:cubicBezTo>
                <a:cubicBezTo>
                  <a:pt x="35" y="81"/>
                  <a:pt x="44" y="79"/>
                  <a:pt x="54" y="76"/>
                </a:cubicBezTo>
                <a:cubicBezTo>
                  <a:pt x="54" y="75"/>
                  <a:pt x="53" y="75"/>
                  <a:pt x="53" y="75"/>
                </a:cubicBezTo>
                <a:lnTo>
                  <a:pt x="26" y="0"/>
                </a:lnTo>
                <a:close/>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8" name="Freeform 357"/>
          <p:cNvSpPr>
            <a:spLocks/>
          </p:cNvSpPr>
          <p:nvPr/>
        </p:nvSpPr>
        <p:spPr bwMode="auto">
          <a:xfrm>
            <a:off x="9929784" y="1933965"/>
            <a:ext cx="88586" cy="240205"/>
          </a:xfrm>
          <a:custGeom>
            <a:avLst/>
            <a:gdLst>
              <a:gd name="T0" fmla="*/ 34 w 44"/>
              <a:gd name="T1" fmla="*/ 0 h 119"/>
              <a:gd name="T2" fmla="*/ 34 w 44"/>
              <a:gd name="T3" fmla="*/ 9 h 119"/>
              <a:gd name="T4" fmla="*/ 27 w 44"/>
              <a:gd name="T5" fmla="*/ 41 h 119"/>
              <a:gd name="T6" fmla="*/ 0 w 44"/>
              <a:gd name="T7" fmla="*/ 119 h 119"/>
              <a:gd name="T8" fmla="*/ 44 w 44"/>
              <a:gd name="T9" fmla="*/ 43 h 119"/>
              <a:gd name="T10" fmla="*/ 34 w 44"/>
              <a:gd name="T11" fmla="*/ 0 h 119"/>
            </a:gdLst>
            <a:ahLst/>
            <a:cxnLst>
              <a:cxn ang="0">
                <a:pos x="T0" y="T1"/>
              </a:cxn>
              <a:cxn ang="0">
                <a:pos x="T2" y="T3"/>
              </a:cxn>
              <a:cxn ang="0">
                <a:pos x="T4" y="T5"/>
              </a:cxn>
              <a:cxn ang="0">
                <a:pos x="T6" y="T7"/>
              </a:cxn>
              <a:cxn ang="0">
                <a:pos x="T8" y="T9"/>
              </a:cxn>
              <a:cxn ang="0">
                <a:pos x="T10" y="T11"/>
              </a:cxn>
            </a:cxnLst>
            <a:rect l="0" t="0" r="r" b="b"/>
            <a:pathLst>
              <a:path w="44" h="119">
                <a:moveTo>
                  <a:pt x="34" y="0"/>
                </a:moveTo>
                <a:cubicBezTo>
                  <a:pt x="34" y="3"/>
                  <a:pt x="34" y="6"/>
                  <a:pt x="34" y="9"/>
                </a:cubicBezTo>
                <a:cubicBezTo>
                  <a:pt x="34" y="18"/>
                  <a:pt x="32" y="28"/>
                  <a:pt x="27" y="41"/>
                </a:cubicBezTo>
                <a:cubicBezTo>
                  <a:pt x="0" y="119"/>
                  <a:pt x="0" y="119"/>
                  <a:pt x="0" y="119"/>
                </a:cubicBezTo>
                <a:cubicBezTo>
                  <a:pt x="26" y="103"/>
                  <a:pt x="44" y="75"/>
                  <a:pt x="44" y="43"/>
                </a:cubicBezTo>
                <a:cubicBezTo>
                  <a:pt x="44" y="27"/>
                  <a:pt x="40" y="12"/>
                  <a:pt x="34" y="0"/>
                </a:cubicBezTo>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09" name="Freeform 358"/>
          <p:cNvSpPr>
            <a:spLocks noEditPoints="1"/>
          </p:cNvSpPr>
          <p:nvPr/>
        </p:nvSpPr>
        <p:spPr bwMode="auto">
          <a:xfrm>
            <a:off x="9634213" y="1811307"/>
            <a:ext cx="414822" cy="417377"/>
          </a:xfrm>
          <a:custGeom>
            <a:avLst/>
            <a:gdLst>
              <a:gd name="T0" fmla="*/ 103 w 206"/>
              <a:gd name="T1" fmla="*/ 0 h 207"/>
              <a:gd name="T2" fmla="*/ 0 w 206"/>
              <a:gd name="T3" fmla="*/ 104 h 207"/>
              <a:gd name="T4" fmla="*/ 103 w 206"/>
              <a:gd name="T5" fmla="*/ 207 h 207"/>
              <a:gd name="T6" fmla="*/ 206 w 206"/>
              <a:gd name="T7" fmla="*/ 104 h 207"/>
              <a:gd name="T8" fmla="*/ 103 w 206"/>
              <a:gd name="T9" fmla="*/ 0 h 207"/>
              <a:gd name="T10" fmla="*/ 103 w 206"/>
              <a:gd name="T11" fmla="*/ 202 h 207"/>
              <a:gd name="T12" fmla="*/ 4 w 206"/>
              <a:gd name="T13" fmla="*/ 104 h 207"/>
              <a:gd name="T14" fmla="*/ 103 w 206"/>
              <a:gd name="T15" fmla="*/ 5 h 207"/>
              <a:gd name="T16" fmla="*/ 201 w 206"/>
              <a:gd name="T17" fmla="*/ 104 h 207"/>
              <a:gd name="T18" fmla="*/ 103 w 206"/>
              <a:gd name="T19" fmla="*/ 20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07">
                <a:moveTo>
                  <a:pt x="103" y="0"/>
                </a:moveTo>
                <a:cubicBezTo>
                  <a:pt x="46" y="0"/>
                  <a:pt x="0" y="46"/>
                  <a:pt x="0" y="104"/>
                </a:cubicBezTo>
                <a:cubicBezTo>
                  <a:pt x="0" y="160"/>
                  <a:pt x="46" y="207"/>
                  <a:pt x="103" y="207"/>
                </a:cubicBezTo>
                <a:cubicBezTo>
                  <a:pt x="160" y="207"/>
                  <a:pt x="206" y="160"/>
                  <a:pt x="206" y="104"/>
                </a:cubicBezTo>
                <a:cubicBezTo>
                  <a:pt x="206" y="46"/>
                  <a:pt x="160" y="0"/>
                  <a:pt x="103" y="0"/>
                </a:cubicBezTo>
                <a:moveTo>
                  <a:pt x="103" y="202"/>
                </a:moveTo>
                <a:cubicBezTo>
                  <a:pt x="48" y="202"/>
                  <a:pt x="4" y="158"/>
                  <a:pt x="4" y="104"/>
                </a:cubicBezTo>
                <a:cubicBezTo>
                  <a:pt x="4" y="49"/>
                  <a:pt x="48" y="5"/>
                  <a:pt x="103" y="5"/>
                </a:cubicBezTo>
                <a:cubicBezTo>
                  <a:pt x="157" y="5"/>
                  <a:pt x="201" y="49"/>
                  <a:pt x="201" y="104"/>
                </a:cubicBezTo>
                <a:cubicBezTo>
                  <a:pt x="201" y="158"/>
                  <a:pt x="157" y="202"/>
                  <a:pt x="103" y="202"/>
                </a:cubicBezTo>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0" name="Oval 359"/>
          <p:cNvSpPr>
            <a:spLocks noChangeArrowheads="1"/>
          </p:cNvSpPr>
          <p:nvPr/>
        </p:nvSpPr>
        <p:spPr bwMode="auto">
          <a:xfrm>
            <a:off x="9140175" y="1309603"/>
            <a:ext cx="435264" cy="435264"/>
          </a:xfrm>
          <a:prstGeom prst="ellipse">
            <a:avLst/>
          </a:pr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1" name="Oval 360"/>
          <p:cNvSpPr>
            <a:spLocks noChangeArrowheads="1"/>
          </p:cNvSpPr>
          <p:nvPr/>
        </p:nvSpPr>
        <p:spPr bwMode="auto">
          <a:xfrm>
            <a:off x="9623992" y="1309603"/>
            <a:ext cx="434412" cy="435264"/>
          </a:xfrm>
          <a:prstGeom prst="ellipse">
            <a:avLst/>
          </a:pr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2" name="Freeform 361"/>
          <p:cNvSpPr>
            <a:spLocks/>
          </p:cNvSpPr>
          <p:nvPr/>
        </p:nvSpPr>
        <p:spPr bwMode="auto">
          <a:xfrm>
            <a:off x="7805422" y="1898190"/>
            <a:ext cx="233390" cy="239353"/>
          </a:xfrm>
          <a:custGeom>
            <a:avLst/>
            <a:gdLst>
              <a:gd name="T0" fmla="*/ 0 w 274"/>
              <a:gd name="T1" fmla="*/ 281 h 281"/>
              <a:gd name="T2" fmla="*/ 274 w 274"/>
              <a:gd name="T3" fmla="*/ 142 h 281"/>
              <a:gd name="T4" fmla="*/ 0 w 274"/>
              <a:gd name="T5" fmla="*/ 0 h 281"/>
              <a:gd name="T6" fmla="*/ 0 w 274"/>
              <a:gd name="T7" fmla="*/ 281 h 281"/>
            </a:gdLst>
            <a:ahLst/>
            <a:cxnLst>
              <a:cxn ang="0">
                <a:pos x="T0" y="T1"/>
              </a:cxn>
              <a:cxn ang="0">
                <a:pos x="T2" y="T3"/>
              </a:cxn>
              <a:cxn ang="0">
                <a:pos x="T4" y="T5"/>
              </a:cxn>
              <a:cxn ang="0">
                <a:pos x="T6" y="T7"/>
              </a:cxn>
            </a:cxnLst>
            <a:rect l="0" t="0" r="r" b="b"/>
            <a:pathLst>
              <a:path w="274" h="281">
                <a:moveTo>
                  <a:pt x="0" y="281"/>
                </a:moveTo>
                <a:lnTo>
                  <a:pt x="274" y="142"/>
                </a:lnTo>
                <a:lnTo>
                  <a:pt x="0" y="0"/>
                </a:lnTo>
                <a:lnTo>
                  <a:pt x="0" y="28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3" name="Freeform 362"/>
          <p:cNvSpPr>
            <a:spLocks/>
          </p:cNvSpPr>
          <p:nvPr/>
        </p:nvSpPr>
        <p:spPr bwMode="auto">
          <a:xfrm>
            <a:off x="7805422" y="1898189"/>
            <a:ext cx="233390" cy="136286"/>
          </a:xfrm>
          <a:custGeom>
            <a:avLst/>
            <a:gdLst>
              <a:gd name="T0" fmla="*/ 0 w 274"/>
              <a:gd name="T1" fmla="*/ 0 h 160"/>
              <a:gd name="T2" fmla="*/ 241 w 274"/>
              <a:gd name="T3" fmla="*/ 160 h 160"/>
              <a:gd name="T4" fmla="*/ 274 w 274"/>
              <a:gd name="T5" fmla="*/ 144 h 160"/>
              <a:gd name="T6" fmla="*/ 0 w 274"/>
              <a:gd name="T7" fmla="*/ 0 h 160"/>
            </a:gdLst>
            <a:ahLst/>
            <a:cxnLst>
              <a:cxn ang="0">
                <a:pos x="T0" y="T1"/>
              </a:cxn>
              <a:cxn ang="0">
                <a:pos x="T2" y="T3"/>
              </a:cxn>
              <a:cxn ang="0">
                <a:pos x="T4" y="T5"/>
              </a:cxn>
              <a:cxn ang="0">
                <a:pos x="T6" y="T7"/>
              </a:cxn>
            </a:cxnLst>
            <a:rect l="0" t="0" r="r" b="b"/>
            <a:pathLst>
              <a:path w="274" h="160">
                <a:moveTo>
                  <a:pt x="0" y="0"/>
                </a:moveTo>
                <a:lnTo>
                  <a:pt x="241" y="160"/>
                </a:lnTo>
                <a:lnTo>
                  <a:pt x="274" y="144"/>
                </a:lnTo>
                <a:lnTo>
                  <a:pt x="0" y="0"/>
                </a:lnTo>
                <a:close/>
              </a:path>
            </a:pathLst>
          </a:custGeom>
          <a:solidFill>
            <a:srgbClr val="E7E2E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6" name="Group 5"/>
          <p:cNvGrpSpPr/>
          <p:nvPr/>
        </p:nvGrpSpPr>
        <p:grpSpPr>
          <a:xfrm>
            <a:off x="8171692" y="1801085"/>
            <a:ext cx="435264" cy="435264"/>
            <a:chOff x="6647692" y="1801085"/>
            <a:chExt cx="435264" cy="435264"/>
          </a:xfrm>
        </p:grpSpPr>
        <p:sp>
          <p:nvSpPr>
            <p:cNvPr id="632" name="Oval 75"/>
            <p:cNvSpPr>
              <a:spLocks noChangeArrowheads="1"/>
            </p:cNvSpPr>
            <p:nvPr/>
          </p:nvSpPr>
          <p:spPr bwMode="auto">
            <a:xfrm>
              <a:off x="6647692" y="1801085"/>
              <a:ext cx="435264" cy="435264"/>
            </a:xfrm>
            <a:prstGeom prst="ellipse">
              <a:avLst/>
            </a:prstGeom>
            <a:solidFill>
              <a:srgbClr val="E62D2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4" name="Freeform 363"/>
            <p:cNvSpPr>
              <a:spLocks/>
            </p:cNvSpPr>
            <p:nvPr/>
          </p:nvSpPr>
          <p:spPr bwMode="auto">
            <a:xfrm>
              <a:off x="6887896" y="2065139"/>
              <a:ext cx="13629" cy="60477"/>
            </a:xfrm>
            <a:custGeom>
              <a:avLst/>
              <a:gdLst>
                <a:gd name="T0" fmla="*/ 3 w 7"/>
                <a:gd name="T1" fmla="*/ 0 h 30"/>
                <a:gd name="T2" fmla="*/ 0 w 7"/>
                <a:gd name="T3" fmla="*/ 1 h 30"/>
                <a:gd name="T4" fmla="*/ 0 w 7"/>
                <a:gd name="T5" fmla="*/ 28 h 30"/>
                <a:gd name="T6" fmla="*/ 3 w 7"/>
                <a:gd name="T7" fmla="*/ 30 h 30"/>
                <a:gd name="T8" fmla="*/ 7 w 7"/>
                <a:gd name="T9" fmla="*/ 24 h 30"/>
                <a:gd name="T10" fmla="*/ 7 w 7"/>
                <a:gd name="T11" fmla="*/ 5 h 30"/>
                <a:gd name="T12" fmla="*/ 3 w 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 h="30">
                  <a:moveTo>
                    <a:pt x="3" y="0"/>
                  </a:moveTo>
                  <a:cubicBezTo>
                    <a:pt x="2" y="0"/>
                    <a:pt x="1" y="0"/>
                    <a:pt x="0" y="1"/>
                  </a:cubicBezTo>
                  <a:cubicBezTo>
                    <a:pt x="0" y="28"/>
                    <a:pt x="0" y="28"/>
                    <a:pt x="0" y="28"/>
                  </a:cubicBezTo>
                  <a:cubicBezTo>
                    <a:pt x="1" y="29"/>
                    <a:pt x="2" y="30"/>
                    <a:pt x="3" y="30"/>
                  </a:cubicBezTo>
                  <a:cubicBezTo>
                    <a:pt x="6" y="30"/>
                    <a:pt x="7" y="28"/>
                    <a:pt x="7" y="24"/>
                  </a:cubicBezTo>
                  <a:cubicBezTo>
                    <a:pt x="7" y="5"/>
                    <a:pt x="7" y="5"/>
                    <a:pt x="7" y="5"/>
                  </a:cubicBezTo>
                  <a:cubicBezTo>
                    <a:pt x="7" y="2"/>
                    <a:pt x="6" y="0"/>
                    <a:pt x="3"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5" name="Freeform 364"/>
            <p:cNvSpPr>
              <a:spLocks/>
            </p:cNvSpPr>
            <p:nvPr/>
          </p:nvSpPr>
          <p:spPr bwMode="auto">
            <a:xfrm>
              <a:off x="6944114" y="2065139"/>
              <a:ext cx="16184" cy="17888"/>
            </a:xfrm>
            <a:custGeom>
              <a:avLst/>
              <a:gdLst>
                <a:gd name="T0" fmla="*/ 4 w 8"/>
                <a:gd name="T1" fmla="*/ 0 h 9"/>
                <a:gd name="T2" fmla="*/ 0 w 8"/>
                <a:gd name="T3" fmla="*/ 6 h 9"/>
                <a:gd name="T4" fmla="*/ 0 w 8"/>
                <a:gd name="T5" fmla="*/ 9 h 9"/>
                <a:gd name="T6" fmla="*/ 8 w 8"/>
                <a:gd name="T7" fmla="*/ 9 h 9"/>
                <a:gd name="T8" fmla="*/ 8 w 8"/>
                <a:gd name="T9" fmla="*/ 6 h 9"/>
                <a:gd name="T10" fmla="*/ 4 w 8"/>
                <a:gd name="T11" fmla="*/ 0 h 9"/>
              </a:gdLst>
              <a:ahLst/>
              <a:cxnLst>
                <a:cxn ang="0">
                  <a:pos x="T0" y="T1"/>
                </a:cxn>
                <a:cxn ang="0">
                  <a:pos x="T2" y="T3"/>
                </a:cxn>
                <a:cxn ang="0">
                  <a:pos x="T4" y="T5"/>
                </a:cxn>
                <a:cxn ang="0">
                  <a:pos x="T6" y="T7"/>
                </a:cxn>
                <a:cxn ang="0">
                  <a:pos x="T8" y="T9"/>
                </a:cxn>
                <a:cxn ang="0">
                  <a:pos x="T10" y="T11"/>
                </a:cxn>
              </a:cxnLst>
              <a:rect l="0" t="0" r="r" b="b"/>
              <a:pathLst>
                <a:path w="8" h="9">
                  <a:moveTo>
                    <a:pt x="4" y="0"/>
                  </a:moveTo>
                  <a:cubicBezTo>
                    <a:pt x="1" y="0"/>
                    <a:pt x="0" y="2"/>
                    <a:pt x="0" y="6"/>
                  </a:cubicBezTo>
                  <a:cubicBezTo>
                    <a:pt x="0" y="9"/>
                    <a:pt x="0" y="9"/>
                    <a:pt x="0" y="9"/>
                  </a:cubicBezTo>
                  <a:cubicBezTo>
                    <a:pt x="8" y="9"/>
                    <a:pt x="8" y="9"/>
                    <a:pt x="8" y="9"/>
                  </a:cubicBezTo>
                  <a:cubicBezTo>
                    <a:pt x="8" y="6"/>
                    <a:pt x="8" y="6"/>
                    <a:pt x="8" y="6"/>
                  </a:cubicBezTo>
                  <a:cubicBezTo>
                    <a:pt x="8" y="2"/>
                    <a:pt x="6" y="0"/>
                    <a:pt x="4"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6" name="Freeform 365"/>
            <p:cNvSpPr>
              <a:spLocks noEditPoints="1"/>
            </p:cNvSpPr>
            <p:nvPr/>
          </p:nvSpPr>
          <p:spPr bwMode="auto">
            <a:xfrm>
              <a:off x="6738833" y="1990182"/>
              <a:ext cx="257240" cy="181431"/>
            </a:xfrm>
            <a:custGeom>
              <a:avLst/>
              <a:gdLst>
                <a:gd name="T0" fmla="*/ 122 w 128"/>
                <a:gd name="T1" fmla="*/ 7 h 90"/>
                <a:gd name="T2" fmla="*/ 64 w 128"/>
                <a:gd name="T3" fmla="*/ 0 h 90"/>
                <a:gd name="T4" fmla="*/ 19 w 128"/>
                <a:gd name="T5" fmla="*/ 2 h 90"/>
                <a:gd name="T6" fmla="*/ 1 w 128"/>
                <a:gd name="T7" fmla="*/ 20 h 90"/>
                <a:gd name="T8" fmla="*/ 0 w 128"/>
                <a:gd name="T9" fmla="*/ 50 h 90"/>
                <a:gd name="T10" fmla="*/ 6 w 128"/>
                <a:gd name="T11" fmla="*/ 84 h 90"/>
                <a:gd name="T12" fmla="*/ 64 w 128"/>
                <a:gd name="T13" fmla="*/ 90 h 90"/>
                <a:gd name="T14" fmla="*/ 122 w 128"/>
                <a:gd name="T15" fmla="*/ 84 h 90"/>
                <a:gd name="T16" fmla="*/ 128 w 128"/>
                <a:gd name="T17" fmla="*/ 50 h 90"/>
                <a:gd name="T18" fmla="*/ 127 w 128"/>
                <a:gd name="T19" fmla="*/ 20 h 90"/>
                <a:gd name="T20" fmla="*/ 20 w 128"/>
                <a:gd name="T21" fmla="*/ 73 h 90"/>
                <a:gd name="T22" fmla="*/ 10 w 128"/>
                <a:gd name="T23" fmla="*/ 23 h 90"/>
                <a:gd name="T24" fmla="*/ 38 w 128"/>
                <a:gd name="T25" fmla="*/ 15 h 90"/>
                <a:gd name="T26" fmla="*/ 28 w 128"/>
                <a:gd name="T27" fmla="*/ 23 h 90"/>
                <a:gd name="T28" fmla="*/ 59 w 128"/>
                <a:gd name="T29" fmla="*/ 73 h 90"/>
                <a:gd name="T30" fmla="*/ 51 w 128"/>
                <a:gd name="T31" fmla="*/ 68 h 90"/>
                <a:gd name="T32" fmla="*/ 37 w 128"/>
                <a:gd name="T33" fmla="*/ 70 h 90"/>
                <a:gd name="T34" fmla="*/ 37 w 128"/>
                <a:gd name="T35" fmla="*/ 30 h 90"/>
                <a:gd name="T36" fmla="*/ 44 w 128"/>
                <a:gd name="T37" fmla="*/ 62 h 90"/>
                <a:gd name="T38" fmla="*/ 46 w 128"/>
                <a:gd name="T39" fmla="*/ 67 h 90"/>
                <a:gd name="T40" fmla="*/ 51 w 128"/>
                <a:gd name="T41" fmla="*/ 30 h 90"/>
                <a:gd name="T42" fmla="*/ 59 w 128"/>
                <a:gd name="T43" fmla="*/ 73 h 90"/>
                <a:gd name="T44" fmla="*/ 88 w 128"/>
                <a:gd name="T45" fmla="*/ 69 h 90"/>
                <a:gd name="T46" fmla="*/ 74 w 128"/>
                <a:gd name="T47" fmla="*/ 69 h 90"/>
                <a:gd name="T48" fmla="*/ 66 w 128"/>
                <a:gd name="T49" fmla="*/ 73 h 90"/>
                <a:gd name="T50" fmla="*/ 74 w 128"/>
                <a:gd name="T51" fmla="*/ 15 h 90"/>
                <a:gd name="T52" fmla="*/ 82 w 128"/>
                <a:gd name="T53" fmla="*/ 30 h 90"/>
                <a:gd name="T54" fmla="*/ 89 w 128"/>
                <a:gd name="T55" fmla="*/ 43 h 90"/>
                <a:gd name="T56" fmla="*/ 118 w 128"/>
                <a:gd name="T57" fmla="*/ 53 h 90"/>
                <a:gd name="T58" fmla="*/ 102 w 128"/>
                <a:gd name="T59" fmla="*/ 61 h 90"/>
                <a:gd name="T60" fmla="*/ 109 w 128"/>
                <a:gd name="T61" fmla="*/ 63 h 90"/>
                <a:gd name="T62" fmla="*/ 118 w 128"/>
                <a:gd name="T63" fmla="*/ 58 h 90"/>
                <a:gd name="T64" fmla="*/ 117 w 128"/>
                <a:gd name="T65" fmla="*/ 64 h 90"/>
                <a:gd name="T66" fmla="*/ 106 w 128"/>
                <a:gd name="T67" fmla="*/ 74 h 90"/>
                <a:gd name="T68" fmla="*/ 94 w 128"/>
                <a:gd name="T69" fmla="*/ 59 h 90"/>
                <a:gd name="T70" fmla="*/ 97 w 128"/>
                <a:gd name="T71" fmla="*/ 34 h 90"/>
                <a:gd name="T72" fmla="*/ 115 w 128"/>
                <a:gd name="T73" fmla="*/ 34 h 90"/>
                <a:gd name="T74" fmla="*/ 118 w 128"/>
                <a:gd name="T75" fmla="*/ 5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90">
                  <a:moveTo>
                    <a:pt x="127" y="20"/>
                  </a:moveTo>
                  <a:cubicBezTo>
                    <a:pt x="127" y="20"/>
                    <a:pt x="126" y="11"/>
                    <a:pt x="122" y="7"/>
                  </a:cubicBezTo>
                  <a:cubicBezTo>
                    <a:pt x="117" y="2"/>
                    <a:pt x="112" y="2"/>
                    <a:pt x="109" y="2"/>
                  </a:cubicBezTo>
                  <a:cubicBezTo>
                    <a:pt x="91" y="0"/>
                    <a:pt x="64" y="0"/>
                    <a:pt x="64" y="0"/>
                  </a:cubicBezTo>
                  <a:cubicBezTo>
                    <a:pt x="64" y="0"/>
                    <a:pt x="64" y="0"/>
                    <a:pt x="64" y="0"/>
                  </a:cubicBezTo>
                  <a:cubicBezTo>
                    <a:pt x="64" y="0"/>
                    <a:pt x="37" y="0"/>
                    <a:pt x="19" y="2"/>
                  </a:cubicBezTo>
                  <a:cubicBezTo>
                    <a:pt x="17" y="2"/>
                    <a:pt x="11" y="2"/>
                    <a:pt x="6" y="7"/>
                  </a:cubicBezTo>
                  <a:cubicBezTo>
                    <a:pt x="2" y="11"/>
                    <a:pt x="1" y="20"/>
                    <a:pt x="1" y="20"/>
                  </a:cubicBezTo>
                  <a:cubicBezTo>
                    <a:pt x="1" y="20"/>
                    <a:pt x="0" y="30"/>
                    <a:pt x="0" y="40"/>
                  </a:cubicBezTo>
                  <a:cubicBezTo>
                    <a:pt x="0" y="50"/>
                    <a:pt x="0" y="50"/>
                    <a:pt x="0" y="50"/>
                  </a:cubicBezTo>
                  <a:cubicBezTo>
                    <a:pt x="0" y="60"/>
                    <a:pt x="1" y="71"/>
                    <a:pt x="1" y="71"/>
                  </a:cubicBezTo>
                  <a:cubicBezTo>
                    <a:pt x="1" y="71"/>
                    <a:pt x="2" y="80"/>
                    <a:pt x="6" y="84"/>
                  </a:cubicBezTo>
                  <a:cubicBezTo>
                    <a:pt x="11" y="89"/>
                    <a:pt x="18" y="88"/>
                    <a:pt x="20" y="89"/>
                  </a:cubicBezTo>
                  <a:cubicBezTo>
                    <a:pt x="31" y="90"/>
                    <a:pt x="64" y="90"/>
                    <a:pt x="64" y="90"/>
                  </a:cubicBezTo>
                  <a:cubicBezTo>
                    <a:pt x="64" y="90"/>
                    <a:pt x="91" y="90"/>
                    <a:pt x="109" y="89"/>
                  </a:cubicBezTo>
                  <a:cubicBezTo>
                    <a:pt x="112" y="89"/>
                    <a:pt x="117" y="89"/>
                    <a:pt x="122" y="84"/>
                  </a:cubicBezTo>
                  <a:cubicBezTo>
                    <a:pt x="126" y="80"/>
                    <a:pt x="127" y="71"/>
                    <a:pt x="127" y="71"/>
                  </a:cubicBezTo>
                  <a:cubicBezTo>
                    <a:pt x="127" y="71"/>
                    <a:pt x="128" y="60"/>
                    <a:pt x="128" y="50"/>
                  </a:cubicBezTo>
                  <a:cubicBezTo>
                    <a:pt x="128" y="40"/>
                    <a:pt x="128" y="40"/>
                    <a:pt x="128" y="40"/>
                  </a:cubicBezTo>
                  <a:cubicBezTo>
                    <a:pt x="128" y="30"/>
                    <a:pt x="127" y="20"/>
                    <a:pt x="127" y="20"/>
                  </a:cubicBezTo>
                  <a:moveTo>
                    <a:pt x="28" y="73"/>
                  </a:moveTo>
                  <a:cubicBezTo>
                    <a:pt x="20" y="73"/>
                    <a:pt x="20" y="73"/>
                    <a:pt x="20" y="73"/>
                  </a:cubicBezTo>
                  <a:cubicBezTo>
                    <a:pt x="20" y="23"/>
                    <a:pt x="20" y="23"/>
                    <a:pt x="20" y="23"/>
                  </a:cubicBezTo>
                  <a:cubicBezTo>
                    <a:pt x="10" y="23"/>
                    <a:pt x="10" y="23"/>
                    <a:pt x="10" y="23"/>
                  </a:cubicBezTo>
                  <a:cubicBezTo>
                    <a:pt x="10" y="15"/>
                    <a:pt x="10" y="15"/>
                    <a:pt x="10" y="15"/>
                  </a:cubicBezTo>
                  <a:cubicBezTo>
                    <a:pt x="38" y="15"/>
                    <a:pt x="38" y="15"/>
                    <a:pt x="38" y="15"/>
                  </a:cubicBezTo>
                  <a:cubicBezTo>
                    <a:pt x="38" y="23"/>
                    <a:pt x="38" y="23"/>
                    <a:pt x="38" y="23"/>
                  </a:cubicBezTo>
                  <a:cubicBezTo>
                    <a:pt x="28" y="23"/>
                    <a:pt x="28" y="23"/>
                    <a:pt x="28" y="23"/>
                  </a:cubicBezTo>
                  <a:lnTo>
                    <a:pt x="28" y="73"/>
                  </a:lnTo>
                  <a:close/>
                  <a:moveTo>
                    <a:pt x="59" y="73"/>
                  </a:moveTo>
                  <a:cubicBezTo>
                    <a:pt x="51" y="73"/>
                    <a:pt x="51" y="73"/>
                    <a:pt x="51" y="73"/>
                  </a:cubicBezTo>
                  <a:cubicBezTo>
                    <a:pt x="51" y="68"/>
                    <a:pt x="51" y="68"/>
                    <a:pt x="51" y="68"/>
                  </a:cubicBezTo>
                  <a:cubicBezTo>
                    <a:pt x="48" y="72"/>
                    <a:pt x="45" y="74"/>
                    <a:pt x="42" y="74"/>
                  </a:cubicBezTo>
                  <a:cubicBezTo>
                    <a:pt x="40" y="74"/>
                    <a:pt x="38" y="73"/>
                    <a:pt x="37" y="70"/>
                  </a:cubicBezTo>
                  <a:cubicBezTo>
                    <a:pt x="37" y="69"/>
                    <a:pt x="37" y="67"/>
                    <a:pt x="37" y="64"/>
                  </a:cubicBezTo>
                  <a:cubicBezTo>
                    <a:pt x="37" y="30"/>
                    <a:pt x="37" y="30"/>
                    <a:pt x="37" y="30"/>
                  </a:cubicBezTo>
                  <a:cubicBezTo>
                    <a:pt x="44" y="30"/>
                    <a:pt x="44" y="30"/>
                    <a:pt x="44" y="30"/>
                  </a:cubicBezTo>
                  <a:cubicBezTo>
                    <a:pt x="44" y="62"/>
                    <a:pt x="44" y="62"/>
                    <a:pt x="44" y="62"/>
                  </a:cubicBezTo>
                  <a:cubicBezTo>
                    <a:pt x="44" y="64"/>
                    <a:pt x="44" y="65"/>
                    <a:pt x="44" y="65"/>
                  </a:cubicBezTo>
                  <a:cubicBezTo>
                    <a:pt x="45" y="66"/>
                    <a:pt x="45" y="67"/>
                    <a:pt x="46" y="67"/>
                  </a:cubicBezTo>
                  <a:cubicBezTo>
                    <a:pt x="48" y="67"/>
                    <a:pt x="49" y="65"/>
                    <a:pt x="51" y="63"/>
                  </a:cubicBezTo>
                  <a:cubicBezTo>
                    <a:pt x="51" y="30"/>
                    <a:pt x="51" y="30"/>
                    <a:pt x="51" y="30"/>
                  </a:cubicBezTo>
                  <a:cubicBezTo>
                    <a:pt x="59" y="30"/>
                    <a:pt x="59" y="30"/>
                    <a:pt x="59" y="30"/>
                  </a:cubicBezTo>
                  <a:lnTo>
                    <a:pt x="59" y="73"/>
                  </a:lnTo>
                  <a:close/>
                  <a:moveTo>
                    <a:pt x="89" y="60"/>
                  </a:moveTo>
                  <a:cubicBezTo>
                    <a:pt x="89" y="64"/>
                    <a:pt x="88" y="67"/>
                    <a:pt x="88" y="69"/>
                  </a:cubicBezTo>
                  <a:cubicBezTo>
                    <a:pt x="87" y="72"/>
                    <a:pt x="85" y="74"/>
                    <a:pt x="82" y="74"/>
                  </a:cubicBezTo>
                  <a:cubicBezTo>
                    <a:pt x="79" y="74"/>
                    <a:pt x="76" y="72"/>
                    <a:pt x="74" y="69"/>
                  </a:cubicBezTo>
                  <a:cubicBezTo>
                    <a:pt x="74" y="73"/>
                    <a:pt x="74" y="73"/>
                    <a:pt x="74" y="73"/>
                  </a:cubicBezTo>
                  <a:cubicBezTo>
                    <a:pt x="66" y="73"/>
                    <a:pt x="66" y="73"/>
                    <a:pt x="66" y="73"/>
                  </a:cubicBezTo>
                  <a:cubicBezTo>
                    <a:pt x="66" y="15"/>
                    <a:pt x="66" y="15"/>
                    <a:pt x="66" y="15"/>
                  </a:cubicBezTo>
                  <a:cubicBezTo>
                    <a:pt x="74" y="15"/>
                    <a:pt x="74" y="15"/>
                    <a:pt x="74" y="15"/>
                  </a:cubicBezTo>
                  <a:cubicBezTo>
                    <a:pt x="74" y="34"/>
                    <a:pt x="74" y="34"/>
                    <a:pt x="74" y="34"/>
                  </a:cubicBezTo>
                  <a:cubicBezTo>
                    <a:pt x="76" y="31"/>
                    <a:pt x="79" y="30"/>
                    <a:pt x="82" y="30"/>
                  </a:cubicBezTo>
                  <a:cubicBezTo>
                    <a:pt x="85" y="30"/>
                    <a:pt x="87" y="31"/>
                    <a:pt x="88" y="34"/>
                  </a:cubicBezTo>
                  <a:cubicBezTo>
                    <a:pt x="88" y="36"/>
                    <a:pt x="89" y="39"/>
                    <a:pt x="89" y="43"/>
                  </a:cubicBezTo>
                  <a:lnTo>
                    <a:pt x="89" y="60"/>
                  </a:lnTo>
                  <a:close/>
                  <a:moveTo>
                    <a:pt x="118" y="53"/>
                  </a:moveTo>
                  <a:cubicBezTo>
                    <a:pt x="102" y="53"/>
                    <a:pt x="102" y="53"/>
                    <a:pt x="102" y="53"/>
                  </a:cubicBezTo>
                  <a:cubicBezTo>
                    <a:pt x="102" y="61"/>
                    <a:pt x="102" y="61"/>
                    <a:pt x="102" y="61"/>
                  </a:cubicBezTo>
                  <a:cubicBezTo>
                    <a:pt x="102" y="65"/>
                    <a:pt x="103" y="67"/>
                    <a:pt x="106" y="67"/>
                  </a:cubicBezTo>
                  <a:cubicBezTo>
                    <a:pt x="108" y="67"/>
                    <a:pt x="109" y="66"/>
                    <a:pt x="109" y="63"/>
                  </a:cubicBezTo>
                  <a:cubicBezTo>
                    <a:pt x="110" y="63"/>
                    <a:pt x="110" y="61"/>
                    <a:pt x="110" y="58"/>
                  </a:cubicBezTo>
                  <a:cubicBezTo>
                    <a:pt x="118" y="58"/>
                    <a:pt x="118" y="58"/>
                    <a:pt x="118" y="58"/>
                  </a:cubicBezTo>
                  <a:cubicBezTo>
                    <a:pt x="118" y="59"/>
                    <a:pt x="118" y="59"/>
                    <a:pt x="118" y="59"/>
                  </a:cubicBezTo>
                  <a:cubicBezTo>
                    <a:pt x="118" y="62"/>
                    <a:pt x="117" y="64"/>
                    <a:pt x="117" y="64"/>
                  </a:cubicBezTo>
                  <a:cubicBezTo>
                    <a:pt x="117" y="66"/>
                    <a:pt x="117" y="68"/>
                    <a:pt x="116" y="69"/>
                  </a:cubicBezTo>
                  <a:cubicBezTo>
                    <a:pt x="113" y="72"/>
                    <a:pt x="110" y="74"/>
                    <a:pt x="106" y="74"/>
                  </a:cubicBezTo>
                  <a:cubicBezTo>
                    <a:pt x="102" y="74"/>
                    <a:pt x="99" y="72"/>
                    <a:pt x="97" y="69"/>
                  </a:cubicBezTo>
                  <a:cubicBezTo>
                    <a:pt x="95" y="67"/>
                    <a:pt x="94" y="64"/>
                    <a:pt x="94" y="59"/>
                  </a:cubicBezTo>
                  <a:cubicBezTo>
                    <a:pt x="94" y="44"/>
                    <a:pt x="94" y="44"/>
                    <a:pt x="94" y="44"/>
                  </a:cubicBezTo>
                  <a:cubicBezTo>
                    <a:pt x="94" y="39"/>
                    <a:pt x="95" y="36"/>
                    <a:pt x="97" y="34"/>
                  </a:cubicBezTo>
                  <a:cubicBezTo>
                    <a:pt x="99" y="31"/>
                    <a:pt x="102" y="30"/>
                    <a:pt x="106" y="30"/>
                  </a:cubicBezTo>
                  <a:cubicBezTo>
                    <a:pt x="110" y="30"/>
                    <a:pt x="113" y="31"/>
                    <a:pt x="115" y="34"/>
                  </a:cubicBezTo>
                  <a:cubicBezTo>
                    <a:pt x="117" y="36"/>
                    <a:pt x="118" y="39"/>
                    <a:pt x="118" y="44"/>
                  </a:cubicBezTo>
                  <a:lnTo>
                    <a:pt x="118" y="5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7" name="Freeform 366"/>
            <p:cNvSpPr>
              <a:spLocks noEditPoints="1"/>
            </p:cNvSpPr>
            <p:nvPr/>
          </p:nvSpPr>
          <p:spPr bwMode="auto">
            <a:xfrm>
              <a:off x="6786533" y="1859858"/>
              <a:ext cx="160988" cy="118399"/>
            </a:xfrm>
            <a:custGeom>
              <a:avLst/>
              <a:gdLst>
                <a:gd name="T0" fmla="*/ 20 w 80"/>
                <a:gd name="T1" fmla="*/ 35 h 59"/>
                <a:gd name="T2" fmla="*/ 20 w 80"/>
                <a:gd name="T3" fmla="*/ 59 h 59"/>
                <a:gd name="T4" fmla="*/ 11 w 80"/>
                <a:gd name="T5" fmla="*/ 59 h 59"/>
                <a:gd name="T6" fmla="*/ 11 w 80"/>
                <a:gd name="T7" fmla="*/ 35 h 59"/>
                <a:gd name="T8" fmla="*/ 6 w 80"/>
                <a:gd name="T9" fmla="*/ 16 h 59"/>
                <a:gd name="T10" fmla="*/ 0 w 80"/>
                <a:gd name="T11" fmla="*/ 0 h 59"/>
                <a:gd name="T12" fmla="*/ 9 w 80"/>
                <a:gd name="T13" fmla="*/ 0 h 59"/>
                <a:gd name="T14" fmla="*/ 15 w 80"/>
                <a:gd name="T15" fmla="*/ 23 h 59"/>
                <a:gd name="T16" fmla="*/ 21 w 80"/>
                <a:gd name="T17" fmla="*/ 0 h 59"/>
                <a:gd name="T18" fmla="*/ 30 w 80"/>
                <a:gd name="T19" fmla="*/ 0 h 59"/>
                <a:gd name="T20" fmla="*/ 20 w 80"/>
                <a:gd name="T21" fmla="*/ 35 h 59"/>
                <a:gd name="T22" fmla="*/ 49 w 80"/>
                <a:gd name="T23" fmla="*/ 55 h 59"/>
                <a:gd name="T24" fmla="*/ 40 w 80"/>
                <a:gd name="T25" fmla="*/ 59 h 59"/>
                <a:gd name="T26" fmla="*/ 31 w 80"/>
                <a:gd name="T27" fmla="*/ 55 h 59"/>
                <a:gd name="T28" fmla="*/ 28 w 80"/>
                <a:gd name="T29" fmla="*/ 45 h 59"/>
                <a:gd name="T30" fmla="*/ 28 w 80"/>
                <a:gd name="T31" fmla="*/ 29 h 59"/>
                <a:gd name="T32" fmla="*/ 31 w 80"/>
                <a:gd name="T33" fmla="*/ 19 h 59"/>
                <a:gd name="T34" fmla="*/ 40 w 80"/>
                <a:gd name="T35" fmla="*/ 15 h 59"/>
                <a:gd name="T36" fmla="*/ 49 w 80"/>
                <a:gd name="T37" fmla="*/ 19 h 59"/>
                <a:gd name="T38" fmla="*/ 52 w 80"/>
                <a:gd name="T39" fmla="*/ 29 h 59"/>
                <a:gd name="T40" fmla="*/ 52 w 80"/>
                <a:gd name="T41" fmla="*/ 45 h 59"/>
                <a:gd name="T42" fmla="*/ 49 w 80"/>
                <a:gd name="T43" fmla="*/ 55 h 59"/>
                <a:gd name="T44" fmla="*/ 44 w 80"/>
                <a:gd name="T45" fmla="*/ 28 h 59"/>
                <a:gd name="T46" fmla="*/ 40 w 80"/>
                <a:gd name="T47" fmla="*/ 22 h 59"/>
                <a:gd name="T48" fmla="*/ 36 w 80"/>
                <a:gd name="T49" fmla="*/ 28 h 59"/>
                <a:gd name="T50" fmla="*/ 36 w 80"/>
                <a:gd name="T51" fmla="*/ 46 h 59"/>
                <a:gd name="T52" fmla="*/ 40 w 80"/>
                <a:gd name="T53" fmla="*/ 52 h 59"/>
                <a:gd name="T54" fmla="*/ 44 w 80"/>
                <a:gd name="T55" fmla="*/ 46 h 59"/>
                <a:gd name="T56" fmla="*/ 44 w 80"/>
                <a:gd name="T57" fmla="*/ 28 h 59"/>
                <a:gd name="T58" fmla="*/ 73 w 80"/>
                <a:gd name="T59" fmla="*/ 59 h 59"/>
                <a:gd name="T60" fmla="*/ 73 w 80"/>
                <a:gd name="T61" fmla="*/ 54 h 59"/>
                <a:gd name="T62" fmla="*/ 64 w 80"/>
                <a:gd name="T63" fmla="*/ 59 h 59"/>
                <a:gd name="T64" fmla="*/ 58 w 80"/>
                <a:gd name="T65" fmla="*/ 56 h 59"/>
                <a:gd name="T66" fmla="*/ 58 w 80"/>
                <a:gd name="T67" fmla="*/ 49 h 59"/>
                <a:gd name="T68" fmla="*/ 58 w 80"/>
                <a:gd name="T69" fmla="*/ 15 h 59"/>
                <a:gd name="T70" fmla="*/ 66 w 80"/>
                <a:gd name="T71" fmla="*/ 15 h 59"/>
                <a:gd name="T72" fmla="*/ 66 w 80"/>
                <a:gd name="T73" fmla="*/ 47 h 59"/>
                <a:gd name="T74" fmla="*/ 66 w 80"/>
                <a:gd name="T75" fmla="*/ 50 h 59"/>
                <a:gd name="T76" fmla="*/ 68 w 80"/>
                <a:gd name="T77" fmla="*/ 52 h 59"/>
                <a:gd name="T78" fmla="*/ 73 w 80"/>
                <a:gd name="T79" fmla="*/ 48 h 59"/>
                <a:gd name="T80" fmla="*/ 73 w 80"/>
                <a:gd name="T81" fmla="*/ 15 h 59"/>
                <a:gd name="T82" fmla="*/ 80 w 80"/>
                <a:gd name="T83" fmla="*/ 15 h 59"/>
                <a:gd name="T84" fmla="*/ 80 w 80"/>
                <a:gd name="T85" fmla="*/ 59 h 59"/>
                <a:gd name="T86" fmla="*/ 73 w 80"/>
                <a:gd name="T8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 h="59">
                  <a:moveTo>
                    <a:pt x="20" y="35"/>
                  </a:moveTo>
                  <a:cubicBezTo>
                    <a:pt x="20" y="59"/>
                    <a:pt x="20" y="59"/>
                    <a:pt x="20" y="59"/>
                  </a:cubicBezTo>
                  <a:cubicBezTo>
                    <a:pt x="11" y="59"/>
                    <a:pt x="11" y="59"/>
                    <a:pt x="11" y="59"/>
                  </a:cubicBezTo>
                  <a:cubicBezTo>
                    <a:pt x="11" y="35"/>
                    <a:pt x="11" y="35"/>
                    <a:pt x="11" y="35"/>
                  </a:cubicBezTo>
                  <a:cubicBezTo>
                    <a:pt x="10" y="31"/>
                    <a:pt x="8" y="25"/>
                    <a:pt x="6" y="16"/>
                  </a:cubicBezTo>
                  <a:cubicBezTo>
                    <a:pt x="4" y="11"/>
                    <a:pt x="2" y="6"/>
                    <a:pt x="0" y="0"/>
                  </a:cubicBezTo>
                  <a:cubicBezTo>
                    <a:pt x="9" y="0"/>
                    <a:pt x="9" y="0"/>
                    <a:pt x="9" y="0"/>
                  </a:cubicBezTo>
                  <a:cubicBezTo>
                    <a:pt x="15" y="23"/>
                    <a:pt x="15" y="23"/>
                    <a:pt x="15" y="23"/>
                  </a:cubicBezTo>
                  <a:cubicBezTo>
                    <a:pt x="21" y="0"/>
                    <a:pt x="21" y="0"/>
                    <a:pt x="21" y="0"/>
                  </a:cubicBezTo>
                  <a:cubicBezTo>
                    <a:pt x="30" y="0"/>
                    <a:pt x="30" y="0"/>
                    <a:pt x="30" y="0"/>
                  </a:cubicBezTo>
                  <a:lnTo>
                    <a:pt x="20" y="35"/>
                  </a:lnTo>
                  <a:close/>
                  <a:moveTo>
                    <a:pt x="49" y="55"/>
                  </a:moveTo>
                  <a:cubicBezTo>
                    <a:pt x="47" y="58"/>
                    <a:pt x="44" y="59"/>
                    <a:pt x="40" y="59"/>
                  </a:cubicBezTo>
                  <a:cubicBezTo>
                    <a:pt x="36" y="59"/>
                    <a:pt x="33" y="58"/>
                    <a:pt x="31" y="55"/>
                  </a:cubicBezTo>
                  <a:cubicBezTo>
                    <a:pt x="29" y="53"/>
                    <a:pt x="28" y="49"/>
                    <a:pt x="28" y="45"/>
                  </a:cubicBezTo>
                  <a:cubicBezTo>
                    <a:pt x="28" y="29"/>
                    <a:pt x="28" y="29"/>
                    <a:pt x="28" y="29"/>
                  </a:cubicBezTo>
                  <a:cubicBezTo>
                    <a:pt x="28" y="25"/>
                    <a:pt x="29" y="21"/>
                    <a:pt x="31" y="19"/>
                  </a:cubicBezTo>
                  <a:cubicBezTo>
                    <a:pt x="33" y="16"/>
                    <a:pt x="36" y="15"/>
                    <a:pt x="40" y="15"/>
                  </a:cubicBezTo>
                  <a:cubicBezTo>
                    <a:pt x="44" y="15"/>
                    <a:pt x="47" y="16"/>
                    <a:pt x="49" y="19"/>
                  </a:cubicBezTo>
                  <a:cubicBezTo>
                    <a:pt x="51" y="21"/>
                    <a:pt x="52" y="25"/>
                    <a:pt x="52" y="29"/>
                  </a:cubicBezTo>
                  <a:cubicBezTo>
                    <a:pt x="52" y="45"/>
                    <a:pt x="52" y="45"/>
                    <a:pt x="52" y="45"/>
                  </a:cubicBezTo>
                  <a:cubicBezTo>
                    <a:pt x="52" y="49"/>
                    <a:pt x="51" y="53"/>
                    <a:pt x="49" y="55"/>
                  </a:cubicBezTo>
                  <a:moveTo>
                    <a:pt x="44" y="28"/>
                  </a:moveTo>
                  <a:cubicBezTo>
                    <a:pt x="44" y="24"/>
                    <a:pt x="43" y="22"/>
                    <a:pt x="40" y="22"/>
                  </a:cubicBezTo>
                  <a:cubicBezTo>
                    <a:pt x="38" y="22"/>
                    <a:pt x="36" y="24"/>
                    <a:pt x="36" y="28"/>
                  </a:cubicBezTo>
                  <a:cubicBezTo>
                    <a:pt x="36" y="46"/>
                    <a:pt x="36" y="46"/>
                    <a:pt x="36" y="46"/>
                  </a:cubicBezTo>
                  <a:cubicBezTo>
                    <a:pt x="36" y="50"/>
                    <a:pt x="38" y="52"/>
                    <a:pt x="40" y="52"/>
                  </a:cubicBezTo>
                  <a:cubicBezTo>
                    <a:pt x="43" y="52"/>
                    <a:pt x="44" y="50"/>
                    <a:pt x="44" y="46"/>
                  </a:cubicBezTo>
                  <a:lnTo>
                    <a:pt x="44" y="28"/>
                  </a:lnTo>
                  <a:close/>
                  <a:moveTo>
                    <a:pt x="73" y="59"/>
                  </a:moveTo>
                  <a:cubicBezTo>
                    <a:pt x="73" y="54"/>
                    <a:pt x="73" y="54"/>
                    <a:pt x="73" y="54"/>
                  </a:cubicBezTo>
                  <a:cubicBezTo>
                    <a:pt x="69" y="57"/>
                    <a:pt x="66" y="59"/>
                    <a:pt x="64" y="59"/>
                  </a:cubicBezTo>
                  <a:cubicBezTo>
                    <a:pt x="61" y="59"/>
                    <a:pt x="59" y="58"/>
                    <a:pt x="58" y="56"/>
                  </a:cubicBezTo>
                  <a:cubicBezTo>
                    <a:pt x="58" y="55"/>
                    <a:pt x="58" y="53"/>
                    <a:pt x="58" y="49"/>
                  </a:cubicBezTo>
                  <a:cubicBezTo>
                    <a:pt x="58" y="15"/>
                    <a:pt x="58" y="15"/>
                    <a:pt x="58" y="15"/>
                  </a:cubicBezTo>
                  <a:cubicBezTo>
                    <a:pt x="66" y="15"/>
                    <a:pt x="66" y="15"/>
                    <a:pt x="66" y="15"/>
                  </a:cubicBezTo>
                  <a:cubicBezTo>
                    <a:pt x="66" y="47"/>
                    <a:pt x="66" y="47"/>
                    <a:pt x="66" y="47"/>
                  </a:cubicBezTo>
                  <a:cubicBezTo>
                    <a:pt x="66" y="49"/>
                    <a:pt x="66" y="50"/>
                    <a:pt x="66" y="50"/>
                  </a:cubicBezTo>
                  <a:cubicBezTo>
                    <a:pt x="66" y="51"/>
                    <a:pt x="67" y="52"/>
                    <a:pt x="68" y="52"/>
                  </a:cubicBezTo>
                  <a:cubicBezTo>
                    <a:pt x="69" y="52"/>
                    <a:pt x="71" y="51"/>
                    <a:pt x="73" y="48"/>
                  </a:cubicBezTo>
                  <a:cubicBezTo>
                    <a:pt x="73" y="15"/>
                    <a:pt x="73" y="15"/>
                    <a:pt x="73" y="15"/>
                  </a:cubicBezTo>
                  <a:cubicBezTo>
                    <a:pt x="80" y="15"/>
                    <a:pt x="80" y="15"/>
                    <a:pt x="80" y="15"/>
                  </a:cubicBezTo>
                  <a:cubicBezTo>
                    <a:pt x="80" y="59"/>
                    <a:pt x="80" y="59"/>
                    <a:pt x="80" y="59"/>
                  </a:cubicBezTo>
                  <a:lnTo>
                    <a:pt x="73" y="5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grpSp>
        <p:nvGrpSpPr>
          <p:cNvPr id="15" name="Group 14"/>
          <p:cNvGrpSpPr/>
          <p:nvPr/>
        </p:nvGrpSpPr>
        <p:grpSpPr>
          <a:xfrm>
            <a:off x="7204911" y="1801085"/>
            <a:ext cx="435264" cy="435264"/>
            <a:chOff x="5680911" y="1801085"/>
            <a:chExt cx="435264" cy="435264"/>
          </a:xfrm>
        </p:grpSpPr>
        <p:sp>
          <p:nvSpPr>
            <p:cNvPr id="630" name="Oval 73"/>
            <p:cNvSpPr>
              <a:spLocks noChangeArrowheads="1"/>
            </p:cNvSpPr>
            <p:nvPr/>
          </p:nvSpPr>
          <p:spPr bwMode="auto">
            <a:xfrm>
              <a:off x="5680911" y="1801085"/>
              <a:ext cx="435264" cy="435264"/>
            </a:xfrm>
            <a:prstGeom prst="ellipse">
              <a:avLst/>
            </a:prstGeom>
            <a:solidFill>
              <a:srgbClr val="F4821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8" name="Oval 367"/>
            <p:cNvSpPr>
              <a:spLocks noChangeArrowheads="1"/>
            </p:cNvSpPr>
            <p:nvPr/>
          </p:nvSpPr>
          <p:spPr bwMode="auto">
            <a:xfrm>
              <a:off x="5775460" y="2078768"/>
              <a:ext cx="68995" cy="68995"/>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19" name="Freeform 368"/>
            <p:cNvSpPr>
              <a:spLocks/>
            </p:cNvSpPr>
            <p:nvPr/>
          </p:nvSpPr>
          <p:spPr bwMode="auto">
            <a:xfrm>
              <a:off x="5775460" y="1976553"/>
              <a:ext cx="171210" cy="171210"/>
            </a:xfrm>
            <a:custGeom>
              <a:avLst/>
              <a:gdLst>
                <a:gd name="T0" fmla="*/ 0 w 85"/>
                <a:gd name="T1" fmla="*/ 25 h 85"/>
                <a:gd name="T2" fmla="*/ 42 w 85"/>
                <a:gd name="T3" fmla="*/ 43 h 85"/>
                <a:gd name="T4" fmla="*/ 60 w 85"/>
                <a:gd name="T5" fmla="*/ 85 h 85"/>
                <a:gd name="T6" fmla="*/ 85 w 85"/>
                <a:gd name="T7" fmla="*/ 85 h 85"/>
                <a:gd name="T8" fmla="*/ 0 w 85"/>
                <a:gd name="T9" fmla="*/ 0 h 85"/>
                <a:gd name="T10" fmla="*/ 0 w 85"/>
                <a:gd name="T11" fmla="*/ 25 h 85"/>
              </a:gdLst>
              <a:ahLst/>
              <a:cxnLst>
                <a:cxn ang="0">
                  <a:pos x="T0" y="T1"/>
                </a:cxn>
                <a:cxn ang="0">
                  <a:pos x="T2" y="T3"/>
                </a:cxn>
                <a:cxn ang="0">
                  <a:pos x="T4" y="T5"/>
                </a:cxn>
                <a:cxn ang="0">
                  <a:pos x="T6" y="T7"/>
                </a:cxn>
                <a:cxn ang="0">
                  <a:pos x="T8" y="T9"/>
                </a:cxn>
                <a:cxn ang="0">
                  <a:pos x="T10" y="T11"/>
                </a:cxn>
              </a:cxnLst>
              <a:rect l="0" t="0" r="r" b="b"/>
              <a:pathLst>
                <a:path w="85" h="85">
                  <a:moveTo>
                    <a:pt x="0" y="25"/>
                  </a:moveTo>
                  <a:cubicBezTo>
                    <a:pt x="16" y="25"/>
                    <a:pt x="31" y="31"/>
                    <a:pt x="42" y="43"/>
                  </a:cubicBezTo>
                  <a:cubicBezTo>
                    <a:pt x="54" y="54"/>
                    <a:pt x="60" y="69"/>
                    <a:pt x="60" y="85"/>
                  </a:cubicBezTo>
                  <a:cubicBezTo>
                    <a:pt x="85" y="85"/>
                    <a:pt x="85" y="85"/>
                    <a:pt x="85" y="85"/>
                  </a:cubicBezTo>
                  <a:cubicBezTo>
                    <a:pt x="85" y="38"/>
                    <a:pt x="47" y="0"/>
                    <a:pt x="0" y="0"/>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20" name="Freeform 369"/>
            <p:cNvSpPr>
              <a:spLocks/>
            </p:cNvSpPr>
            <p:nvPr/>
          </p:nvSpPr>
          <p:spPr bwMode="auto">
            <a:xfrm>
              <a:off x="5775460" y="1887967"/>
              <a:ext cx="259796" cy="259796"/>
            </a:xfrm>
            <a:custGeom>
              <a:avLst/>
              <a:gdLst>
                <a:gd name="T0" fmla="*/ 0 w 129"/>
                <a:gd name="T1" fmla="*/ 25 h 129"/>
                <a:gd name="T2" fmla="*/ 104 w 129"/>
                <a:gd name="T3" fmla="*/ 129 h 129"/>
                <a:gd name="T4" fmla="*/ 129 w 129"/>
                <a:gd name="T5" fmla="*/ 129 h 129"/>
                <a:gd name="T6" fmla="*/ 0 w 129"/>
                <a:gd name="T7" fmla="*/ 0 h 129"/>
                <a:gd name="T8" fmla="*/ 0 w 129"/>
                <a:gd name="T9" fmla="*/ 25 h 129"/>
              </a:gdLst>
              <a:ahLst/>
              <a:cxnLst>
                <a:cxn ang="0">
                  <a:pos x="T0" y="T1"/>
                </a:cxn>
                <a:cxn ang="0">
                  <a:pos x="T2" y="T3"/>
                </a:cxn>
                <a:cxn ang="0">
                  <a:pos x="T4" y="T5"/>
                </a:cxn>
                <a:cxn ang="0">
                  <a:pos x="T6" y="T7"/>
                </a:cxn>
                <a:cxn ang="0">
                  <a:pos x="T8" y="T9"/>
                </a:cxn>
              </a:cxnLst>
              <a:rect l="0" t="0" r="r" b="b"/>
              <a:pathLst>
                <a:path w="129" h="129">
                  <a:moveTo>
                    <a:pt x="0" y="25"/>
                  </a:moveTo>
                  <a:cubicBezTo>
                    <a:pt x="57" y="25"/>
                    <a:pt x="104" y="72"/>
                    <a:pt x="104" y="129"/>
                  </a:cubicBezTo>
                  <a:cubicBezTo>
                    <a:pt x="129" y="129"/>
                    <a:pt x="129" y="129"/>
                    <a:pt x="129" y="129"/>
                  </a:cubicBezTo>
                  <a:cubicBezTo>
                    <a:pt x="129" y="58"/>
                    <a:pt x="71" y="0"/>
                    <a:pt x="0" y="0"/>
                  </a:cubicBezTo>
                  <a:lnTo>
                    <a:pt x="0" y="25"/>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sp>
        <p:nvSpPr>
          <p:cNvPr id="921" name="Freeform 370"/>
          <p:cNvSpPr>
            <a:spLocks/>
          </p:cNvSpPr>
          <p:nvPr/>
        </p:nvSpPr>
        <p:spPr bwMode="auto">
          <a:xfrm>
            <a:off x="9178507" y="1454408"/>
            <a:ext cx="100511" cy="231687"/>
          </a:xfrm>
          <a:custGeom>
            <a:avLst/>
            <a:gdLst>
              <a:gd name="T0" fmla="*/ 0 w 50"/>
              <a:gd name="T1" fmla="*/ 36 h 115"/>
              <a:gd name="T2" fmla="*/ 50 w 50"/>
              <a:gd name="T3" fmla="*/ 115 h 115"/>
              <a:gd name="T4" fmla="*/ 8 w 50"/>
              <a:gd name="T5" fmla="*/ 0 h 115"/>
              <a:gd name="T6" fmla="*/ 0 w 50"/>
              <a:gd name="T7" fmla="*/ 36 h 115"/>
            </a:gdLst>
            <a:ahLst/>
            <a:cxnLst>
              <a:cxn ang="0">
                <a:pos x="T0" y="T1"/>
              </a:cxn>
              <a:cxn ang="0">
                <a:pos x="T2" y="T3"/>
              </a:cxn>
              <a:cxn ang="0">
                <a:pos x="T4" y="T5"/>
              </a:cxn>
              <a:cxn ang="0">
                <a:pos x="T6" y="T7"/>
              </a:cxn>
            </a:cxnLst>
            <a:rect l="0" t="0" r="r" b="b"/>
            <a:pathLst>
              <a:path w="50" h="115">
                <a:moveTo>
                  <a:pt x="0" y="36"/>
                </a:moveTo>
                <a:cubicBezTo>
                  <a:pt x="0" y="71"/>
                  <a:pt x="21" y="101"/>
                  <a:pt x="50" y="115"/>
                </a:cubicBezTo>
                <a:cubicBezTo>
                  <a:pt x="8" y="0"/>
                  <a:pt x="8" y="0"/>
                  <a:pt x="8" y="0"/>
                </a:cubicBezTo>
                <a:cubicBezTo>
                  <a:pt x="3" y="11"/>
                  <a:pt x="0" y="23"/>
                  <a:pt x="0" y="3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22" name="Freeform 371"/>
          <p:cNvSpPr>
            <a:spLocks/>
          </p:cNvSpPr>
          <p:nvPr/>
        </p:nvSpPr>
        <p:spPr bwMode="auto">
          <a:xfrm>
            <a:off x="9206616" y="1347934"/>
            <a:ext cx="270017" cy="287905"/>
          </a:xfrm>
          <a:custGeom>
            <a:avLst/>
            <a:gdLst>
              <a:gd name="T0" fmla="*/ 134 w 134"/>
              <a:gd name="T1" fmla="*/ 84 h 143"/>
              <a:gd name="T2" fmla="*/ 127 w 134"/>
              <a:gd name="T3" fmla="*/ 60 h 143"/>
              <a:gd name="T4" fmla="*/ 118 w 134"/>
              <a:gd name="T5" fmla="*/ 39 h 143"/>
              <a:gd name="T6" fmla="*/ 133 w 134"/>
              <a:gd name="T7" fmla="*/ 23 h 143"/>
              <a:gd name="T8" fmla="*/ 134 w 134"/>
              <a:gd name="T9" fmla="*/ 23 h 143"/>
              <a:gd name="T10" fmla="*/ 74 w 134"/>
              <a:gd name="T11" fmla="*/ 0 h 143"/>
              <a:gd name="T12" fmla="*/ 0 w 134"/>
              <a:gd name="T13" fmla="*/ 40 h 143"/>
              <a:gd name="T14" fmla="*/ 6 w 134"/>
              <a:gd name="T15" fmla="*/ 40 h 143"/>
              <a:gd name="T16" fmla="*/ 30 w 134"/>
              <a:gd name="T17" fmla="*/ 39 h 143"/>
              <a:gd name="T18" fmla="*/ 31 w 134"/>
              <a:gd name="T19" fmla="*/ 46 h 143"/>
              <a:gd name="T20" fmla="*/ 20 w 134"/>
              <a:gd name="T21" fmla="*/ 47 h 143"/>
              <a:gd name="T22" fmla="*/ 52 w 134"/>
              <a:gd name="T23" fmla="*/ 143 h 143"/>
              <a:gd name="T24" fmla="*/ 72 w 134"/>
              <a:gd name="T25" fmla="*/ 85 h 143"/>
              <a:gd name="T26" fmla="*/ 58 w 134"/>
              <a:gd name="T27" fmla="*/ 47 h 143"/>
              <a:gd name="T28" fmla="*/ 49 w 134"/>
              <a:gd name="T29" fmla="*/ 46 h 143"/>
              <a:gd name="T30" fmla="*/ 49 w 134"/>
              <a:gd name="T31" fmla="*/ 39 h 143"/>
              <a:gd name="T32" fmla="*/ 72 w 134"/>
              <a:gd name="T33" fmla="*/ 40 h 143"/>
              <a:gd name="T34" fmla="*/ 96 w 134"/>
              <a:gd name="T35" fmla="*/ 39 h 143"/>
              <a:gd name="T36" fmla="*/ 97 w 134"/>
              <a:gd name="T37" fmla="*/ 46 h 143"/>
              <a:gd name="T38" fmla="*/ 87 w 134"/>
              <a:gd name="T39" fmla="*/ 47 h 143"/>
              <a:gd name="T40" fmla="*/ 118 w 134"/>
              <a:gd name="T41" fmla="*/ 142 h 143"/>
              <a:gd name="T42" fmla="*/ 127 w 134"/>
              <a:gd name="T43" fmla="*/ 113 h 143"/>
              <a:gd name="T44" fmla="*/ 134 w 134"/>
              <a:gd name="T45" fmla="*/ 8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4" h="143">
                <a:moveTo>
                  <a:pt x="134" y="84"/>
                </a:moveTo>
                <a:cubicBezTo>
                  <a:pt x="134" y="74"/>
                  <a:pt x="130" y="66"/>
                  <a:pt x="127" y="60"/>
                </a:cubicBezTo>
                <a:cubicBezTo>
                  <a:pt x="123" y="52"/>
                  <a:pt x="118" y="46"/>
                  <a:pt x="118" y="39"/>
                </a:cubicBezTo>
                <a:cubicBezTo>
                  <a:pt x="118" y="31"/>
                  <a:pt x="124" y="23"/>
                  <a:pt x="133" y="23"/>
                </a:cubicBezTo>
                <a:cubicBezTo>
                  <a:pt x="134" y="23"/>
                  <a:pt x="134" y="23"/>
                  <a:pt x="134" y="23"/>
                </a:cubicBezTo>
                <a:cubicBezTo>
                  <a:pt x="118" y="9"/>
                  <a:pt x="97" y="0"/>
                  <a:pt x="74" y="0"/>
                </a:cubicBezTo>
                <a:cubicBezTo>
                  <a:pt x="44" y="0"/>
                  <a:pt x="16" y="16"/>
                  <a:pt x="0" y="40"/>
                </a:cubicBezTo>
                <a:cubicBezTo>
                  <a:pt x="3" y="40"/>
                  <a:pt x="5" y="40"/>
                  <a:pt x="6" y="40"/>
                </a:cubicBezTo>
                <a:cubicBezTo>
                  <a:pt x="15" y="40"/>
                  <a:pt x="30" y="39"/>
                  <a:pt x="30" y="39"/>
                </a:cubicBezTo>
                <a:cubicBezTo>
                  <a:pt x="35" y="39"/>
                  <a:pt x="35" y="46"/>
                  <a:pt x="31" y="46"/>
                </a:cubicBezTo>
                <a:cubicBezTo>
                  <a:pt x="31" y="46"/>
                  <a:pt x="26" y="47"/>
                  <a:pt x="20" y="47"/>
                </a:cubicBezTo>
                <a:cubicBezTo>
                  <a:pt x="52" y="143"/>
                  <a:pt x="52" y="143"/>
                  <a:pt x="52" y="143"/>
                </a:cubicBezTo>
                <a:cubicBezTo>
                  <a:pt x="72" y="85"/>
                  <a:pt x="72" y="85"/>
                  <a:pt x="72" y="85"/>
                </a:cubicBezTo>
                <a:cubicBezTo>
                  <a:pt x="58" y="47"/>
                  <a:pt x="58" y="47"/>
                  <a:pt x="58" y="47"/>
                </a:cubicBezTo>
                <a:cubicBezTo>
                  <a:pt x="53" y="47"/>
                  <a:pt x="49" y="46"/>
                  <a:pt x="49" y="46"/>
                </a:cubicBezTo>
                <a:cubicBezTo>
                  <a:pt x="44" y="46"/>
                  <a:pt x="45" y="39"/>
                  <a:pt x="49" y="39"/>
                </a:cubicBezTo>
                <a:cubicBezTo>
                  <a:pt x="49" y="39"/>
                  <a:pt x="64" y="40"/>
                  <a:pt x="72" y="40"/>
                </a:cubicBezTo>
                <a:cubicBezTo>
                  <a:pt x="82" y="40"/>
                  <a:pt x="96" y="39"/>
                  <a:pt x="96" y="39"/>
                </a:cubicBezTo>
                <a:cubicBezTo>
                  <a:pt x="101" y="39"/>
                  <a:pt x="101" y="46"/>
                  <a:pt x="97" y="46"/>
                </a:cubicBezTo>
                <a:cubicBezTo>
                  <a:pt x="97" y="46"/>
                  <a:pt x="92" y="47"/>
                  <a:pt x="87" y="47"/>
                </a:cubicBezTo>
                <a:cubicBezTo>
                  <a:pt x="118" y="142"/>
                  <a:pt x="118" y="142"/>
                  <a:pt x="118" y="142"/>
                </a:cubicBezTo>
                <a:cubicBezTo>
                  <a:pt x="127" y="113"/>
                  <a:pt x="127" y="113"/>
                  <a:pt x="127" y="113"/>
                </a:cubicBezTo>
                <a:cubicBezTo>
                  <a:pt x="131" y="101"/>
                  <a:pt x="134" y="92"/>
                  <a:pt x="134"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23" name="Freeform 372"/>
          <p:cNvSpPr>
            <a:spLocks/>
          </p:cNvSpPr>
          <p:nvPr/>
        </p:nvSpPr>
        <p:spPr bwMode="auto">
          <a:xfrm>
            <a:off x="9305424" y="1542993"/>
            <a:ext cx="110733" cy="160988"/>
          </a:xfrm>
          <a:custGeom>
            <a:avLst/>
            <a:gdLst>
              <a:gd name="T0" fmla="*/ 27 w 55"/>
              <a:gd name="T1" fmla="*/ 0 h 80"/>
              <a:gd name="T2" fmla="*/ 0 w 55"/>
              <a:gd name="T3" fmla="*/ 77 h 80"/>
              <a:gd name="T4" fmla="*/ 25 w 55"/>
              <a:gd name="T5" fmla="*/ 80 h 80"/>
              <a:gd name="T6" fmla="*/ 55 w 55"/>
              <a:gd name="T7" fmla="*/ 75 h 80"/>
              <a:gd name="T8" fmla="*/ 54 w 55"/>
              <a:gd name="T9" fmla="*/ 74 h 80"/>
              <a:gd name="T10" fmla="*/ 27 w 55"/>
              <a:gd name="T11" fmla="*/ 0 h 80"/>
            </a:gdLst>
            <a:ahLst/>
            <a:cxnLst>
              <a:cxn ang="0">
                <a:pos x="T0" y="T1"/>
              </a:cxn>
              <a:cxn ang="0">
                <a:pos x="T2" y="T3"/>
              </a:cxn>
              <a:cxn ang="0">
                <a:pos x="T4" y="T5"/>
              </a:cxn>
              <a:cxn ang="0">
                <a:pos x="T6" y="T7"/>
              </a:cxn>
              <a:cxn ang="0">
                <a:pos x="T8" y="T9"/>
              </a:cxn>
              <a:cxn ang="0">
                <a:pos x="T10" y="T11"/>
              </a:cxn>
            </a:cxnLst>
            <a:rect l="0" t="0" r="r" b="b"/>
            <a:pathLst>
              <a:path w="55" h="80">
                <a:moveTo>
                  <a:pt x="27" y="0"/>
                </a:moveTo>
                <a:cubicBezTo>
                  <a:pt x="0" y="77"/>
                  <a:pt x="0" y="77"/>
                  <a:pt x="0" y="77"/>
                </a:cubicBezTo>
                <a:cubicBezTo>
                  <a:pt x="8" y="79"/>
                  <a:pt x="17" y="80"/>
                  <a:pt x="25" y="80"/>
                </a:cubicBezTo>
                <a:cubicBezTo>
                  <a:pt x="36" y="80"/>
                  <a:pt x="45" y="78"/>
                  <a:pt x="55" y="75"/>
                </a:cubicBezTo>
                <a:cubicBezTo>
                  <a:pt x="55" y="75"/>
                  <a:pt x="54" y="75"/>
                  <a:pt x="54" y="74"/>
                </a:cubicBezTo>
                <a:lnTo>
                  <a:pt x="27"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24" name="Freeform 373"/>
          <p:cNvSpPr>
            <a:spLocks/>
          </p:cNvSpPr>
          <p:nvPr/>
        </p:nvSpPr>
        <p:spPr bwMode="auto">
          <a:xfrm>
            <a:off x="9446820" y="1440779"/>
            <a:ext cx="88586" cy="239353"/>
          </a:xfrm>
          <a:custGeom>
            <a:avLst/>
            <a:gdLst>
              <a:gd name="T0" fmla="*/ 33 w 44"/>
              <a:gd name="T1" fmla="*/ 0 h 119"/>
              <a:gd name="T2" fmla="*/ 34 w 44"/>
              <a:gd name="T3" fmla="*/ 9 h 119"/>
              <a:gd name="T4" fmla="*/ 27 w 44"/>
              <a:gd name="T5" fmla="*/ 41 h 119"/>
              <a:gd name="T6" fmla="*/ 0 w 44"/>
              <a:gd name="T7" fmla="*/ 119 h 119"/>
              <a:gd name="T8" fmla="*/ 44 w 44"/>
              <a:gd name="T9" fmla="*/ 43 h 119"/>
              <a:gd name="T10" fmla="*/ 33 w 44"/>
              <a:gd name="T11" fmla="*/ 0 h 119"/>
            </a:gdLst>
            <a:ahLst/>
            <a:cxnLst>
              <a:cxn ang="0">
                <a:pos x="T0" y="T1"/>
              </a:cxn>
              <a:cxn ang="0">
                <a:pos x="T2" y="T3"/>
              </a:cxn>
              <a:cxn ang="0">
                <a:pos x="T4" y="T5"/>
              </a:cxn>
              <a:cxn ang="0">
                <a:pos x="T6" y="T7"/>
              </a:cxn>
              <a:cxn ang="0">
                <a:pos x="T8" y="T9"/>
              </a:cxn>
              <a:cxn ang="0">
                <a:pos x="T10" y="T11"/>
              </a:cxn>
            </a:cxnLst>
            <a:rect l="0" t="0" r="r" b="b"/>
            <a:pathLst>
              <a:path w="44" h="119">
                <a:moveTo>
                  <a:pt x="33" y="0"/>
                </a:moveTo>
                <a:cubicBezTo>
                  <a:pt x="33" y="3"/>
                  <a:pt x="34" y="6"/>
                  <a:pt x="34" y="9"/>
                </a:cubicBezTo>
                <a:cubicBezTo>
                  <a:pt x="34" y="18"/>
                  <a:pt x="32" y="28"/>
                  <a:pt x="27" y="41"/>
                </a:cubicBezTo>
                <a:cubicBezTo>
                  <a:pt x="0" y="119"/>
                  <a:pt x="0" y="119"/>
                  <a:pt x="0" y="119"/>
                </a:cubicBezTo>
                <a:cubicBezTo>
                  <a:pt x="26" y="104"/>
                  <a:pt x="44" y="75"/>
                  <a:pt x="44" y="43"/>
                </a:cubicBezTo>
                <a:cubicBezTo>
                  <a:pt x="44" y="28"/>
                  <a:pt x="40" y="13"/>
                  <a:pt x="33"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25" name="Freeform 374"/>
          <p:cNvSpPr>
            <a:spLocks noEditPoints="1"/>
          </p:cNvSpPr>
          <p:nvPr/>
        </p:nvSpPr>
        <p:spPr bwMode="auto">
          <a:xfrm>
            <a:off x="9150397" y="1317269"/>
            <a:ext cx="414822" cy="417377"/>
          </a:xfrm>
          <a:custGeom>
            <a:avLst/>
            <a:gdLst>
              <a:gd name="T0" fmla="*/ 102 w 206"/>
              <a:gd name="T1" fmla="*/ 0 h 207"/>
              <a:gd name="T2" fmla="*/ 0 w 206"/>
              <a:gd name="T3" fmla="*/ 104 h 207"/>
              <a:gd name="T4" fmla="*/ 102 w 206"/>
              <a:gd name="T5" fmla="*/ 207 h 207"/>
              <a:gd name="T6" fmla="*/ 206 w 206"/>
              <a:gd name="T7" fmla="*/ 104 h 207"/>
              <a:gd name="T8" fmla="*/ 102 w 206"/>
              <a:gd name="T9" fmla="*/ 0 h 207"/>
              <a:gd name="T10" fmla="*/ 102 w 206"/>
              <a:gd name="T11" fmla="*/ 202 h 207"/>
              <a:gd name="T12" fmla="*/ 4 w 206"/>
              <a:gd name="T13" fmla="*/ 104 h 207"/>
              <a:gd name="T14" fmla="*/ 102 w 206"/>
              <a:gd name="T15" fmla="*/ 5 h 207"/>
              <a:gd name="T16" fmla="*/ 201 w 206"/>
              <a:gd name="T17" fmla="*/ 104 h 207"/>
              <a:gd name="T18" fmla="*/ 102 w 206"/>
              <a:gd name="T19" fmla="*/ 20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07">
                <a:moveTo>
                  <a:pt x="102" y="0"/>
                </a:moveTo>
                <a:cubicBezTo>
                  <a:pt x="46" y="0"/>
                  <a:pt x="0" y="47"/>
                  <a:pt x="0" y="104"/>
                </a:cubicBezTo>
                <a:cubicBezTo>
                  <a:pt x="0" y="161"/>
                  <a:pt x="46" y="207"/>
                  <a:pt x="102" y="207"/>
                </a:cubicBezTo>
                <a:cubicBezTo>
                  <a:pt x="160" y="207"/>
                  <a:pt x="206" y="161"/>
                  <a:pt x="206" y="104"/>
                </a:cubicBezTo>
                <a:cubicBezTo>
                  <a:pt x="206" y="47"/>
                  <a:pt x="160" y="0"/>
                  <a:pt x="102" y="0"/>
                </a:cubicBezTo>
                <a:moveTo>
                  <a:pt x="102" y="202"/>
                </a:moveTo>
                <a:cubicBezTo>
                  <a:pt x="48" y="202"/>
                  <a:pt x="4" y="158"/>
                  <a:pt x="4" y="104"/>
                </a:cubicBezTo>
                <a:cubicBezTo>
                  <a:pt x="4" y="50"/>
                  <a:pt x="48" y="5"/>
                  <a:pt x="102" y="5"/>
                </a:cubicBezTo>
                <a:cubicBezTo>
                  <a:pt x="157" y="5"/>
                  <a:pt x="201" y="50"/>
                  <a:pt x="201" y="104"/>
                </a:cubicBezTo>
                <a:cubicBezTo>
                  <a:pt x="201" y="158"/>
                  <a:pt x="157" y="202"/>
                  <a:pt x="102" y="20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26" name="Freeform 375"/>
          <p:cNvSpPr>
            <a:spLocks/>
          </p:cNvSpPr>
          <p:nvPr/>
        </p:nvSpPr>
        <p:spPr bwMode="auto">
          <a:xfrm>
            <a:off x="9662323" y="1454408"/>
            <a:ext cx="100511" cy="231687"/>
          </a:xfrm>
          <a:custGeom>
            <a:avLst/>
            <a:gdLst>
              <a:gd name="T0" fmla="*/ 0 w 50"/>
              <a:gd name="T1" fmla="*/ 36 h 115"/>
              <a:gd name="T2" fmla="*/ 50 w 50"/>
              <a:gd name="T3" fmla="*/ 115 h 115"/>
              <a:gd name="T4" fmla="*/ 8 w 50"/>
              <a:gd name="T5" fmla="*/ 0 h 115"/>
              <a:gd name="T6" fmla="*/ 0 w 50"/>
              <a:gd name="T7" fmla="*/ 36 h 115"/>
            </a:gdLst>
            <a:ahLst/>
            <a:cxnLst>
              <a:cxn ang="0">
                <a:pos x="T0" y="T1"/>
              </a:cxn>
              <a:cxn ang="0">
                <a:pos x="T2" y="T3"/>
              </a:cxn>
              <a:cxn ang="0">
                <a:pos x="T4" y="T5"/>
              </a:cxn>
              <a:cxn ang="0">
                <a:pos x="T6" y="T7"/>
              </a:cxn>
            </a:cxnLst>
            <a:rect l="0" t="0" r="r" b="b"/>
            <a:pathLst>
              <a:path w="50" h="115">
                <a:moveTo>
                  <a:pt x="0" y="36"/>
                </a:moveTo>
                <a:cubicBezTo>
                  <a:pt x="0" y="71"/>
                  <a:pt x="21" y="101"/>
                  <a:pt x="50" y="115"/>
                </a:cubicBezTo>
                <a:cubicBezTo>
                  <a:pt x="8" y="0"/>
                  <a:pt x="8" y="0"/>
                  <a:pt x="8" y="0"/>
                </a:cubicBezTo>
                <a:cubicBezTo>
                  <a:pt x="3" y="11"/>
                  <a:pt x="0" y="23"/>
                  <a:pt x="0" y="3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27" name="Freeform 376"/>
          <p:cNvSpPr>
            <a:spLocks/>
          </p:cNvSpPr>
          <p:nvPr/>
        </p:nvSpPr>
        <p:spPr bwMode="auto">
          <a:xfrm>
            <a:off x="9692135" y="1347934"/>
            <a:ext cx="268314" cy="287905"/>
          </a:xfrm>
          <a:custGeom>
            <a:avLst/>
            <a:gdLst>
              <a:gd name="T0" fmla="*/ 133 w 133"/>
              <a:gd name="T1" fmla="*/ 84 h 143"/>
              <a:gd name="T2" fmla="*/ 126 w 133"/>
              <a:gd name="T3" fmla="*/ 60 h 143"/>
              <a:gd name="T4" fmla="*/ 117 w 133"/>
              <a:gd name="T5" fmla="*/ 39 h 143"/>
              <a:gd name="T6" fmla="*/ 132 w 133"/>
              <a:gd name="T7" fmla="*/ 23 h 143"/>
              <a:gd name="T8" fmla="*/ 133 w 133"/>
              <a:gd name="T9" fmla="*/ 23 h 143"/>
              <a:gd name="T10" fmla="*/ 73 w 133"/>
              <a:gd name="T11" fmla="*/ 0 h 143"/>
              <a:gd name="T12" fmla="*/ 0 w 133"/>
              <a:gd name="T13" fmla="*/ 40 h 143"/>
              <a:gd name="T14" fmla="*/ 6 w 133"/>
              <a:gd name="T15" fmla="*/ 40 h 143"/>
              <a:gd name="T16" fmla="*/ 29 w 133"/>
              <a:gd name="T17" fmla="*/ 39 h 143"/>
              <a:gd name="T18" fmla="*/ 30 w 133"/>
              <a:gd name="T19" fmla="*/ 46 h 143"/>
              <a:gd name="T20" fmla="*/ 20 w 133"/>
              <a:gd name="T21" fmla="*/ 47 h 143"/>
              <a:gd name="T22" fmla="*/ 52 w 133"/>
              <a:gd name="T23" fmla="*/ 143 h 143"/>
              <a:gd name="T24" fmla="*/ 71 w 133"/>
              <a:gd name="T25" fmla="*/ 85 h 143"/>
              <a:gd name="T26" fmla="*/ 57 w 133"/>
              <a:gd name="T27" fmla="*/ 47 h 143"/>
              <a:gd name="T28" fmla="*/ 48 w 133"/>
              <a:gd name="T29" fmla="*/ 46 h 143"/>
              <a:gd name="T30" fmla="*/ 49 w 133"/>
              <a:gd name="T31" fmla="*/ 39 h 143"/>
              <a:gd name="T32" fmla="*/ 72 w 133"/>
              <a:gd name="T33" fmla="*/ 40 h 143"/>
              <a:gd name="T34" fmla="*/ 95 w 133"/>
              <a:gd name="T35" fmla="*/ 39 h 143"/>
              <a:gd name="T36" fmla="*/ 96 w 133"/>
              <a:gd name="T37" fmla="*/ 46 h 143"/>
              <a:gd name="T38" fmla="*/ 86 w 133"/>
              <a:gd name="T39" fmla="*/ 47 h 143"/>
              <a:gd name="T40" fmla="*/ 118 w 133"/>
              <a:gd name="T41" fmla="*/ 142 h 143"/>
              <a:gd name="T42" fmla="*/ 127 w 133"/>
              <a:gd name="T43" fmla="*/ 113 h 143"/>
              <a:gd name="T44" fmla="*/ 133 w 133"/>
              <a:gd name="T45" fmla="*/ 8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3" h="143">
                <a:moveTo>
                  <a:pt x="133" y="84"/>
                </a:moveTo>
                <a:cubicBezTo>
                  <a:pt x="133" y="74"/>
                  <a:pt x="129" y="66"/>
                  <a:pt x="126" y="60"/>
                </a:cubicBezTo>
                <a:cubicBezTo>
                  <a:pt x="122" y="52"/>
                  <a:pt x="117" y="46"/>
                  <a:pt x="117" y="39"/>
                </a:cubicBezTo>
                <a:cubicBezTo>
                  <a:pt x="117" y="31"/>
                  <a:pt x="124" y="23"/>
                  <a:pt x="132" y="23"/>
                </a:cubicBezTo>
                <a:cubicBezTo>
                  <a:pt x="133" y="23"/>
                  <a:pt x="133" y="23"/>
                  <a:pt x="133" y="23"/>
                </a:cubicBezTo>
                <a:cubicBezTo>
                  <a:pt x="118" y="9"/>
                  <a:pt x="96" y="0"/>
                  <a:pt x="73" y="0"/>
                </a:cubicBezTo>
                <a:cubicBezTo>
                  <a:pt x="43" y="0"/>
                  <a:pt x="16" y="16"/>
                  <a:pt x="0" y="40"/>
                </a:cubicBezTo>
                <a:cubicBezTo>
                  <a:pt x="2" y="40"/>
                  <a:pt x="4" y="40"/>
                  <a:pt x="6" y="40"/>
                </a:cubicBezTo>
                <a:cubicBezTo>
                  <a:pt x="14" y="40"/>
                  <a:pt x="29" y="39"/>
                  <a:pt x="29" y="39"/>
                </a:cubicBezTo>
                <a:cubicBezTo>
                  <a:pt x="34" y="39"/>
                  <a:pt x="34" y="46"/>
                  <a:pt x="30" y="46"/>
                </a:cubicBezTo>
                <a:cubicBezTo>
                  <a:pt x="30" y="46"/>
                  <a:pt x="25" y="47"/>
                  <a:pt x="20" y="47"/>
                </a:cubicBezTo>
                <a:cubicBezTo>
                  <a:pt x="52" y="143"/>
                  <a:pt x="52" y="143"/>
                  <a:pt x="52" y="143"/>
                </a:cubicBezTo>
                <a:cubicBezTo>
                  <a:pt x="71" y="85"/>
                  <a:pt x="71" y="85"/>
                  <a:pt x="71" y="85"/>
                </a:cubicBezTo>
                <a:cubicBezTo>
                  <a:pt x="57" y="47"/>
                  <a:pt x="57" y="47"/>
                  <a:pt x="57" y="47"/>
                </a:cubicBezTo>
                <a:cubicBezTo>
                  <a:pt x="52" y="47"/>
                  <a:pt x="48" y="46"/>
                  <a:pt x="48" y="46"/>
                </a:cubicBezTo>
                <a:cubicBezTo>
                  <a:pt x="43" y="46"/>
                  <a:pt x="44" y="39"/>
                  <a:pt x="49" y="39"/>
                </a:cubicBezTo>
                <a:cubicBezTo>
                  <a:pt x="49" y="39"/>
                  <a:pt x="63" y="40"/>
                  <a:pt x="72" y="40"/>
                </a:cubicBezTo>
                <a:cubicBezTo>
                  <a:pt x="81" y="40"/>
                  <a:pt x="95" y="39"/>
                  <a:pt x="95" y="39"/>
                </a:cubicBezTo>
                <a:cubicBezTo>
                  <a:pt x="100" y="39"/>
                  <a:pt x="101" y="46"/>
                  <a:pt x="96" y="46"/>
                </a:cubicBezTo>
                <a:cubicBezTo>
                  <a:pt x="96" y="46"/>
                  <a:pt x="91" y="47"/>
                  <a:pt x="86" y="47"/>
                </a:cubicBezTo>
                <a:cubicBezTo>
                  <a:pt x="118" y="142"/>
                  <a:pt x="118" y="142"/>
                  <a:pt x="118" y="142"/>
                </a:cubicBezTo>
                <a:cubicBezTo>
                  <a:pt x="127" y="113"/>
                  <a:pt x="127" y="113"/>
                  <a:pt x="127" y="113"/>
                </a:cubicBezTo>
                <a:cubicBezTo>
                  <a:pt x="131" y="101"/>
                  <a:pt x="133" y="92"/>
                  <a:pt x="133" y="8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28" name="Freeform 377"/>
          <p:cNvSpPr>
            <a:spLocks/>
          </p:cNvSpPr>
          <p:nvPr/>
        </p:nvSpPr>
        <p:spPr bwMode="auto">
          <a:xfrm>
            <a:off x="9790943" y="1542993"/>
            <a:ext cx="109029" cy="160988"/>
          </a:xfrm>
          <a:custGeom>
            <a:avLst/>
            <a:gdLst>
              <a:gd name="T0" fmla="*/ 26 w 54"/>
              <a:gd name="T1" fmla="*/ 0 h 80"/>
              <a:gd name="T2" fmla="*/ 0 w 54"/>
              <a:gd name="T3" fmla="*/ 77 h 80"/>
              <a:gd name="T4" fmla="*/ 24 w 54"/>
              <a:gd name="T5" fmla="*/ 80 h 80"/>
              <a:gd name="T6" fmla="*/ 54 w 54"/>
              <a:gd name="T7" fmla="*/ 75 h 80"/>
              <a:gd name="T8" fmla="*/ 53 w 54"/>
              <a:gd name="T9" fmla="*/ 74 h 80"/>
              <a:gd name="T10" fmla="*/ 26 w 54"/>
              <a:gd name="T11" fmla="*/ 0 h 80"/>
            </a:gdLst>
            <a:ahLst/>
            <a:cxnLst>
              <a:cxn ang="0">
                <a:pos x="T0" y="T1"/>
              </a:cxn>
              <a:cxn ang="0">
                <a:pos x="T2" y="T3"/>
              </a:cxn>
              <a:cxn ang="0">
                <a:pos x="T4" y="T5"/>
              </a:cxn>
              <a:cxn ang="0">
                <a:pos x="T6" y="T7"/>
              </a:cxn>
              <a:cxn ang="0">
                <a:pos x="T8" y="T9"/>
              </a:cxn>
              <a:cxn ang="0">
                <a:pos x="T10" y="T11"/>
              </a:cxn>
            </a:cxnLst>
            <a:rect l="0" t="0" r="r" b="b"/>
            <a:pathLst>
              <a:path w="54" h="80">
                <a:moveTo>
                  <a:pt x="26" y="0"/>
                </a:moveTo>
                <a:cubicBezTo>
                  <a:pt x="0" y="77"/>
                  <a:pt x="0" y="77"/>
                  <a:pt x="0" y="77"/>
                </a:cubicBezTo>
                <a:cubicBezTo>
                  <a:pt x="7" y="79"/>
                  <a:pt x="16" y="80"/>
                  <a:pt x="24" y="80"/>
                </a:cubicBezTo>
                <a:cubicBezTo>
                  <a:pt x="35" y="80"/>
                  <a:pt x="44" y="78"/>
                  <a:pt x="54" y="75"/>
                </a:cubicBezTo>
                <a:cubicBezTo>
                  <a:pt x="54" y="75"/>
                  <a:pt x="53" y="75"/>
                  <a:pt x="53" y="74"/>
                </a:cubicBezTo>
                <a:lnTo>
                  <a:pt x="26"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29" name="Freeform 378"/>
          <p:cNvSpPr>
            <a:spLocks/>
          </p:cNvSpPr>
          <p:nvPr/>
        </p:nvSpPr>
        <p:spPr bwMode="auto">
          <a:xfrm>
            <a:off x="9929784" y="1440779"/>
            <a:ext cx="88586" cy="239353"/>
          </a:xfrm>
          <a:custGeom>
            <a:avLst/>
            <a:gdLst>
              <a:gd name="T0" fmla="*/ 34 w 44"/>
              <a:gd name="T1" fmla="*/ 0 h 119"/>
              <a:gd name="T2" fmla="*/ 34 w 44"/>
              <a:gd name="T3" fmla="*/ 9 h 119"/>
              <a:gd name="T4" fmla="*/ 27 w 44"/>
              <a:gd name="T5" fmla="*/ 41 h 119"/>
              <a:gd name="T6" fmla="*/ 0 w 44"/>
              <a:gd name="T7" fmla="*/ 119 h 119"/>
              <a:gd name="T8" fmla="*/ 44 w 44"/>
              <a:gd name="T9" fmla="*/ 43 h 119"/>
              <a:gd name="T10" fmla="*/ 34 w 44"/>
              <a:gd name="T11" fmla="*/ 0 h 119"/>
            </a:gdLst>
            <a:ahLst/>
            <a:cxnLst>
              <a:cxn ang="0">
                <a:pos x="T0" y="T1"/>
              </a:cxn>
              <a:cxn ang="0">
                <a:pos x="T2" y="T3"/>
              </a:cxn>
              <a:cxn ang="0">
                <a:pos x="T4" y="T5"/>
              </a:cxn>
              <a:cxn ang="0">
                <a:pos x="T6" y="T7"/>
              </a:cxn>
              <a:cxn ang="0">
                <a:pos x="T8" y="T9"/>
              </a:cxn>
              <a:cxn ang="0">
                <a:pos x="T10" y="T11"/>
              </a:cxn>
            </a:cxnLst>
            <a:rect l="0" t="0" r="r" b="b"/>
            <a:pathLst>
              <a:path w="44" h="119">
                <a:moveTo>
                  <a:pt x="34" y="0"/>
                </a:moveTo>
                <a:cubicBezTo>
                  <a:pt x="34" y="3"/>
                  <a:pt x="34" y="6"/>
                  <a:pt x="34" y="9"/>
                </a:cubicBezTo>
                <a:cubicBezTo>
                  <a:pt x="34" y="18"/>
                  <a:pt x="32" y="28"/>
                  <a:pt x="27" y="41"/>
                </a:cubicBezTo>
                <a:cubicBezTo>
                  <a:pt x="0" y="119"/>
                  <a:pt x="0" y="119"/>
                  <a:pt x="0" y="119"/>
                </a:cubicBezTo>
                <a:cubicBezTo>
                  <a:pt x="26" y="104"/>
                  <a:pt x="44" y="75"/>
                  <a:pt x="44" y="43"/>
                </a:cubicBezTo>
                <a:cubicBezTo>
                  <a:pt x="44" y="28"/>
                  <a:pt x="40" y="13"/>
                  <a:pt x="34"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0" name="Freeform 379"/>
          <p:cNvSpPr>
            <a:spLocks noEditPoints="1"/>
          </p:cNvSpPr>
          <p:nvPr/>
        </p:nvSpPr>
        <p:spPr bwMode="auto">
          <a:xfrm>
            <a:off x="9634213" y="1317269"/>
            <a:ext cx="414822" cy="417377"/>
          </a:xfrm>
          <a:custGeom>
            <a:avLst/>
            <a:gdLst>
              <a:gd name="T0" fmla="*/ 103 w 206"/>
              <a:gd name="T1" fmla="*/ 0 h 207"/>
              <a:gd name="T2" fmla="*/ 0 w 206"/>
              <a:gd name="T3" fmla="*/ 104 h 207"/>
              <a:gd name="T4" fmla="*/ 103 w 206"/>
              <a:gd name="T5" fmla="*/ 207 h 207"/>
              <a:gd name="T6" fmla="*/ 206 w 206"/>
              <a:gd name="T7" fmla="*/ 104 h 207"/>
              <a:gd name="T8" fmla="*/ 103 w 206"/>
              <a:gd name="T9" fmla="*/ 0 h 207"/>
              <a:gd name="T10" fmla="*/ 103 w 206"/>
              <a:gd name="T11" fmla="*/ 202 h 207"/>
              <a:gd name="T12" fmla="*/ 4 w 206"/>
              <a:gd name="T13" fmla="*/ 104 h 207"/>
              <a:gd name="T14" fmla="*/ 103 w 206"/>
              <a:gd name="T15" fmla="*/ 5 h 207"/>
              <a:gd name="T16" fmla="*/ 201 w 206"/>
              <a:gd name="T17" fmla="*/ 104 h 207"/>
              <a:gd name="T18" fmla="*/ 103 w 206"/>
              <a:gd name="T19" fmla="*/ 20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07">
                <a:moveTo>
                  <a:pt x="103" y="0"/>
                </a:moveTo>
                <a:cubicBezTo>
                  <a:pt x="46" y="0"/>
                  <a:pt x="0" y="47"/>
                  <a:pt x="0" y="104"/>
                </a:cubicBezTo>
                <a:cubicBezTo>
                  <a:pt x="0" y="161"/>
                  <a:pt x="46" y="207"/>
                  <a:pt x="103" y="207"/>
                </a:cubicBezTo>
                <a:cubicBezTo>
                  <a:pt x="160" y="207"/>
                  <a:pt x="206" y="161"/>
                  <a:pt x="206" y="104"/>
                </a:cubicBezTo>
                <a:cubicBezTo>
                  <a:pt x="206" y="47"/>
                  <a:pt x="160" y="0"/>
                  <a:pt x="103" y="0"/>
                </a:cubicBezTo>
                <a:moveTo>
                  <a:pt x="103" y="202"/>
                </a:moveTo>
                <a:cubicBezTo>
                  <a:pt x="48" y="202"/>
                  <a:pt x="4" y="158"/>
                  <a:pt x="4" y="104"/>
                </a:cubicBezTo>
                <a:cubicBezTo>
                  <a:pt x="4" y="50"/>
                  <a:pt x="48" y="5"/>
                  <a:pt x="103" y="5"/>
                </a:cubicBezTo>
                <a:cubicBezTo>
                  <a:pt x="157" y="5"/>
                  <a:pt x="201" y="50"/>
                  <a:pt x="201" y="104"/>
                </a:cubicBezTo>
                <a:cubicBezTo>
                  <a:pt x="201" y="158"/>
                  <a:pt x="157" y="202"/>
                  <a:pt x="103" y="20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1" name="Freeform 380"/>
          <p:cNvSpPr>
            <a:spLocks noEditPoints="1"/>
          </p:cNvSpPr>
          <p:nvPr/>
        </p:nvSpPr>
        <p:spPr bwMode="auto">
          <a:xfrm>
            <a:off x="8723651" y="1944186"/>
            <a:ext cx="153322" cy="221465"/>
          </a:xfrm>
          <a:custGeom>
            <a:avLst/>
            <a:gdLst>
              <a:gd name="T0" fmla="*/ 0 w 76"/>
              <a:gd name="T1" fmla="*/ 32 h 110"/>
              <a:gd name="T2" fmla="*/ 0 w 76"/>
              <a:gd name="T3" fmla="*/ 28 h 110"/>
              <a:gd name="T4" fmla="*/ 0 w 76"/>
              <a:gd name="T5" fmla="*/ 12 h 110"/>
              <a:gd name="T6" fmla="*/ 1 w 76"/>
              <a:gd name="T7" fmla="*/ 6 h 110"/>
              <a:gd name="T8" fmla="*/ 8 w 76"/>
              <a:gd name="T9" fmla="*/ 0 h 110"/>
              <a:gd name="T10" fmla="*/ 17 w 76"/>
              <a:gd name="T11" fmla="*/ 2 h 110"/>
              <a:gd name="T12" fmla="*/ 21 w 76"/>
              <a:gd name="T13" fmla="*/ 9 h 110"/>
              <a:gd name="T14" fmla="*/ 22 w 76"/>
              <a:gd name="T15" fmla="*/ 21 h 110"/>
              <a:gd name="T16" fmla="*/ 22 w 76"/>
              <a:gd name="T17" fmla="*/ 37 h 110"/>
              <a:gd name="T18" fmla="*/ 22 w 76"/>
              <a:gd name="T19" fmla="*/ 38 h 110"/>
              <a:gd name="T20" fmla="*/ 28 w 76"/>
              <a:gd name="T21" fmla="*/ 36 h 110"/>
              <a:gd name="T22" fmla="*/ 61 w 76"/>
              <a:gd name="T23" fmla="*/ 43 h 110"/>
              <a:gd name="T24" fmla="*/ 75 w 76"/>
              <a:gd name="T25" fmla="*/ 76 h 110"/>
              <a:gd name="T26" fmla="*/ 43 w 76"/>
              <a:gd name="T27" fmla="*/ 109 h 110"/>
              <a:gd name="T28" fmla="*/ 38 w 76"/>
              <a:gd name="T29" fmla="*/ 110 h 110"/>
              <a:gd name="T30" fmla="*/ 37 w 76"/>
              <a:gd name="T31" fmla="*/ 110 h 110"/>
              <a:gd name="T32" fmla="*/ 35 w 76"/>
              <a:gd name="T33" fmla="*/ 110 h 110"/>
              <a:gd name="T34" fmla="*/ 29 w 76"/>
              <a:gd name="T35" fmla="*/ 109 h 110"/>
              <a:gd name="T36" fmla="*/ 0 w 76"/>
              <a:gd name="T37" fmla="*/ 73 h 110"/>
              <a:gd name="T38" fmla="*/ 0 w 76"/>
              <a:gd name="T39" fmla="*/ 53 h 110"/>
              <a:gd name="T40" fmla="*/ 0 w 76"/>
              <a:gd name="T41" fmla="*/ 49 h 110"/>
              <a:gd name="T42" fmla="*/ 0 w 76"/>
              <a:gd name="T43" fmla="*/ 32 h 110"/>
              <a:gd name="T44" fmla="*/ 54 w 76"/>
              <a:gd name="T45" fmla="*/ 72 h 110"/>
              <a:gd name="T46" fmla="*/ 38 w 76"/>
              <a:gd name="T47" fmla="*/ 56 h 110"/>
              <a:gd name="T48" fmla="*/ 22 w 76"/>
              <a:gd name="T49" fmla="*/ 72 h 110"/>
              <a:gd name="T50" fmla="*/ 37 w 76"/>
              <a:gd name="T51" fmla="*/ 88 h 110"/>
              <a:gd name="T52" fmla="*/ 54 w 76"/>
              <a:gd name="T53" fmla="*/ 7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110">
                <a:moveTo>
                  <a:pt x="0" y="32"/>
                </a:moveTo>
                <a:cubicBezTo>
                  <a:pt x="0" y="31"/>
                  <a:pt x="0" y="30"/>
                  <a:pt x="0" y="28"/>
                </a:cubicBezTo>
                <a:cubicBezTo>
                  <a:pt x="0" y="23"/>
                  <a:pt x="0" y="17"/>
                  <a:pt x="0" y="12"/>
                </a:cubicBezTo>
                <a:cubicBezTo>
                  <a:pt x="0" y="10"/>
                  <a:pt x="1" y="8"/>
                  <a:pt x="1" y="6"/>
                </a:cubicBezTo>
                <a:cubicBezTo>
                  <a:pt x="3" y="2"/>
                  <a:pt x="5" y="1"/>
                  <a:pt x="8" y="0"/>
                </a:cubicBezTo>
                <a:cubicBezTo>
                  <a:pt x="12" y="0"/>
                  <a:pt x="15" y="0"/>
                  <a:pt x="17" y="2"/>
                </a:cubicBezTo>
                <a:cubicBezTo>
                  <a:pt x="20" y="4"/>
                  <a:pt x="21" y="6"/>
                  <a:pt x="21" y="9"/>
                </a:cubicBezTo>
                <a:cubicBezTo>
                  <a:pt x="21" y="13"/>
                  <a:pt x="22" y="17"/>
                  <a:pt x="22" y="21"/>
                </a:cubicBezTo>
                <a:cubicBezTo>
                  <a:pt x="22" y="26"/>
                  <a:pt x="22" y="32"/>
                  <a:pt x="22" y="37"/>
                </a:cubicBezTo>
                <a:cubicBezTo>
                  <a:pt x="22" y="37"/>
                  <a:pt x="22" y="38"/>
                  <a:pt x="22" y="38"/>
                </a:cubicBezTo>
                <a:cubicBezTo>
                  <a:pt x="24" y="37"/>
                  <a:pt x="26" y="37"/>
                  <a:pt x="28" y="36"/>
                </a:cubicBezTo>
                <a:cubicBezTo>
                  <a:pt x="40" y="33"/>
                  <a:pt x="51" y="35"/>
                  <a:pt x="61" y="43"/>
                </a:cubicBezTo>
                <a:cubicBezTo>
                  <a:pt x="71" y="51"/>
                  <a:pt x="76" y="62"/>
                  <a:pt x="75" y="76"/>
                </a:cubicBezTo>
                <a:cubicBezTo>
                  <a:pt x="73" y="93"/>
                  <a:pt x="60" y="107"/>
                  <a:pt x="43" y="109"/>
                </a:cubicBezTo>
                <a:cubicBezTo>
                  <a:pt x="41" y="110"/>
                  <a:pt x="40" y="110"/>
                  <a:pt x="38" y="110"/>
                </a:cubicBezTo>
                <a:cubicBezTo>
                  <a:pt x="37" y="110"/>
                  <a:pt x="37" y="110"/>
                  <a:pt x="37" y="110"/>
                </a:cubicBezTo>
                <a:cubicBezTo>
                  <a:pt x="36" y="110"/>
                  <a:pt x="36" y="110"/>
                  <a:pt x="35" y="110"/>
                </a:cubicBezTo>
                <a:cubicBezTo>
                  <a:pt x="33" y="109"/>
                  <a:pt x="31" y="109"/>
                  <a:pt x="29" y="109"/>
                </a:cubicBezTo>
                <a:cubicBezTo>
                  <a:pt x="12" y="105"/>
                  <a:pt x="1" y="90"/>
                  <a:pt x="0" y="73"/>
                </a:cubicBezTo>
                <a:cubicBezTo>
                  <a:pt x="0" y="66"/>
                  <a:pt x="0" y="60"/>
                  <a:pt x="0" y="53"/>
                </a:cubicBezTo>
                <a:cubicBezTo>
                  <a:pt x="0" y="52"/>
                  <a:pt x="0" y="51"/>
                  <a:pt x="0" y="49"/>
                </a:cubicBezTo>
                <a:lnTo>
                  <a:pt x="0" y="32"/>
                </a:lnTo>
                <a:close/>
                <a:moveTo>
                  <a:pt x="54" y="72"/>
                </a:moveTo>
                <a:cubicBezTo>
                  <a:pt x="54" y="64"/>
                  <a:pt x="46" y="57"/>
                  <a:pt x="38" y="56"/>
                </a:cubicBezTo>
                <a:cubicBezTo>
                  <a:pt x="29" y="56"/>
                  <a:pt x="22" y="64"/>
                  <a:pt x="22" y="72"/>
                </a:cubicBezTo>
                <a:cubicBezTo>
                  <a:pt x="22" y="81"/>
                  <a:pt x="29" y="88"/>
                  <a:pt x="37" y="88"/>
                </a:cubicBezTo>
                <a:cubicBezTo>
                  <a:pt x="46" y="88"/>
                  <a:pt x="54" y="81"/>
                  <a:pt x="54" y="7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2" name="Freeform 381"/>
          <p:cNvSpPr>
            <a:spLocks/>
          </p:cNvSpPr>
          <p:nvPr/>
        </p:nvSpPr>
        <p:spPr bwMode="auto">
          <a:xfrm>
            <a:off x="8797756" y="1867525"/>
            <a:ext cx="234242" cy="224021"/>
          </a:xfrm>
          <a:custGeom>
            <a:avLst/>
            <a:gdLst>
              <a:gd name="T0" fmla="*/ 15 w 116"/>
              <a:gd name="T1" fmla="*/ 0 h 111"/>
              <a:gd name="T2" fmla="*/ 17 w 116"/>
              <a:gd name="T3" fmla="*/ 0 h 111"/>
              <a:gd name="T4" fmla="*/ 65 w 116"/>
              <a:gd name="T5" fmla="*/ 13 h 111"/>
              <a:gd name="T6" fmla="*/ 90 w 116"/>
              <a:gd name="T7" fmla="*/ 33 h 111"/>
              <a:gd name="T8" fmla="*/ 116 w 116"/>
              <a:gd name="T9" fmla="*/ 89 h 111"/>
              <a:gd name="T10" fmla="*/ 116 w 116"/>
              <a:gd name="T11" fmla="*/ 101 h 111"/>
              <a:gd name="T12" fmla="*/ 107 w 116"/>
              <a:gd name="T13" fmla="*/ 110 h 111"/>
              <a:gd name="T14" fmla="*/ 100 w 116"/>
              <a:gd name="T15" fmla="*/ 110 h 111"/>
              <a:gd name="T16" fmla="*/ 93 w 116"/>
              <a:gd name="T17" fmla="*/ 103 h 111"/>
              <a:gd name="T18" fmla="*/ 92 w 116"/>
              <a:gd name="T19" fmla="*/ 98 h 111"/>
              <a:gd name="T20" fmla="*/ 75 w 116"/>
              <a:gd name="T21" fmla="*/ 52 h 111"/>
              <a:gd name="T22" fmla="*/ 26 w 116"/>
              <a:gd name="T23" fmla="*/ 24 h 111"/>
              <a:gd name="T24" fmla="*/ 12 w 116"/>
              <a:gd name="T25" fmla="*/ 23 h 111"/>
              <a:gd name="T26" fmla="*/ 6 w 116"/>
              <a:gd name="T27" fmla="*/ 21 h 111"/>
              <a:gd name="T28" fmla="*/ 0 w 116"/>
              <a:gd name="T29" fmla="*/ 14 h 111"/>
              <a:gd name="T30" fmla="*/ 0 w 116"/>
              <a:gd name="T31" fmla="*/ 8 h 111"/>
              <a:gd name="T32" fmla="*/ 7 w 116"/>
              <a:gd name="T33" fmla="*/ 0 h 111"/>
              <a:gd name="T34" fmla="*/ 11 w 116"/>
              <a:gd name="T35" fmla="*/ 0 h 111"/>
              <a:gd name="T36" fmla="*/ 15 w 116"/>
              <a:gd name="T3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6" h="111">
                <a:moveTo>
                  <a:pt x="15" y="0"/>
                </a:moveTo>
                <a:cubicBezTo>
                  <a:pt x="15" y="0"/>
                  <a:pt x="16" y="0"/>
                  <a:pt x="17" y="0"/>
                </a:cubicBezTo>
                <a:cubicBezTo>
                  <a:pt x="34" y="0"/>
                  <a:pt x="50" y="5"/>
                  <a:pt x="65" y="13"/>
                </a:cubicBezTo>
                <a:cubicBezTo>
                  <a:pt x="74" y="19"/>
                  <a:pt x="82" y="25"/>
                  <a:pt x="90" y="33"/>
                </a:cubicBezTo>
                <a:cubicBezTo>
                  <a:pt x="104" y="49"/>
                  <a:pt x="113" y="67"/>
                  <a:pt x="116" y="89"/>
                </a:cubicBezTo>
                <a:cubicBezTo>
                  <a:pt x="116" y="93"/>
                  <a:pt x="116" y="97"/>
                  <a:pt x="116" y="101"/>
                </a:cubicBezTo>
                <a:cubicBezTo>
                  <a:pt x="116" y="106"/>
                  <a:pt x="113" y="109"/>
                  <a:pt x="107" y="110"/>
                </a:cubicBezTo>
                <a:cubicBezTo>
                  <a:pt x="105" y="111"/>
                  <a:pt x="103" y="111"/>
                  <a:pt x="100" y="110"/>
                </a:cubicBezTo>
                <a:cubicBezTo>
                  <a:pt x="96" y="109"/>
                  <a:pt x="94" y="107"/>
                  <a:pt x="93" y="103"/>
                </a:cubicBezTo>
                <a:cubicBezTo>
                  <a:pt x="92" y="101"/>
                  <a:pt x="92" y="100"/>
                  <a:pt x="92" y="98"/>
                </a:cubicBezTo>
                <a:cubicBezTo>
                  <a:pt x="91" y="81"/>
                  <a:pt x="86" y="66"/>
                  <a:pt x="75" y="52"/>
                </a:cubicBezTo>
                <a:cubicBezTo>
                  <a:pt x="62" y="37"/>
                  <a:pt x="46" y="27"/>
                  <a:pt x="26" y="24"/>
                </a:cubicBezTo>
                <a:cubicBezTo>
                  <a:pt x="21" y="23"/>
                  <a:pt x="17" y="23"/>
                  <a:pt x="12" y="23"/>
                </a:cubicBezTo>
                <a:cubicBezTo>
                  <a:pt x="10" y="22"/>
                  <a:pt x="8" y="22"/>
                  <a:pt x="6" y="21"/>
                </a:cubicBezTo>
                <a:cubicBezTo>
                  <a:pt x="2" y="20"/>
                  <a:pt x="0" y="18"/>
                  <a:pt x="0" y="14"/>
                </a:cubicBezTo>
                <a:cubicBezTo>
                  <a:pt x="0" y="12"/>
                  <a:pt x="0" y="10"/>
                  <a:pt x="0" y="8"/>
                </a:cubicBezTo>
                <a:cubicBezTo>
                  <a:pt x="1" y="4"/>
                  <a:pt x="3" y="1"/>
                  <a:pt x="7" y="0"/>
                </a:cubicBezTo>
                <a:cubicBezTo>
                  <a:pt x="8" y="0"/>
                  <a:pt x="10" y="0"/>
                  <a:pt x="11" y="0"/>
                </a:cubicBezTo>
                <a:lnTo>
                  <a:pt x="1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3" name="Freeform 382"/>
          <p:cNvSpPr>
            <a:spLocks/>
          </p:cNvSpPr>
          <p:nvPr/>
        </p:nvSpPr>
        <p:spPr bwMode="auto">
          <a:xfrm>
            <a:off x="8796054" y="1942483"/>
            <a:ext cx="156729" cy="149063"/>
          </a:xfrm>
          <a:custGeom>
            <a:avLst/>
            <a:gdLst>
              <a:gd name="T0" fmla="*/ 78 w 78"/>
              <a:gd name="T1" fmla="*/ 60 h 74"/>
              <a:gd name="T2" fmla="*/ 77 w 78"/>
              <a:gd name="T3" fmla="*/ 65 h 74"/>
              <a:gd name="T4" fmla="*/ 69 w 78"/>
              <a:gd name="T5" fmla="*/ 73 h 74"/>
              <a:gd name="T6" fmla="*/ 62 w 78"/>
              <a:gd name="T7" fmla="*/ 73 h 74"/>
              <a:gd name="T8" fmla="*/ 53 w 78"/>
              <a:gd name="T9" fmla="*/ 64 h 74"/>
              <a:gd name="T10" fmla="*/ 51 w 78"/>
              <a:gd name="T11" fmla="*/ 51 h 74"/>
              <a:gd name="T12" fmla="*/ 20 w 78"/>
              <a:gd name="T13" fmla="*/ 24 h 74"/>
              <a:gd name="T14" fmla="*/ 11 w 78"/>
              <a:gd name="T15" fmla="*/ 23 h 74"/>
              <a:gd name="T16" fmla="*/ 6 w 78"/>
              <a:gd name="T17" fmla="*/ 22 h 74"/>
              <a:gd name="T18" fmla="*/ 1 w 78"/>
              <a:gd name="T19" fmla="*/ 15 h 74"/>
              <a:gd name="T20" fmla="*/ 2 w 78"/>
              <a:gd name="T21" fmla="*/ 7 h 74"/>
              <a:gd name="T22" fmla="*/ 11 w 78"/>
              <a:gd name="T23" fmla="*/ 1 h 74"/>
              <a:gd name="T24" fmla="*/ 21 w 78"/>
              <a:gd name="T25" fmla="*/ 1 h 74"/>
              <a:gd name="T26" fmla="*/ 52 w 78"/>
              <a:gd name="T27" fmla="*/ 13 h 74"/>
              <a:gd name="T28" fmla="*/ 76 w 78"/>
              <a:gd name="T29" fmla="*/ 50 h 74"/>
              <a:gd name="T30" fmla="*/ 78 w 78"/>
              <a:gd name="T31" fmla="*/ 6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 h="74">
                <a:moveTo>
                  <a:pt x="78" y="60"/>
                </a:moveTo>
                <a:cubicBezTo>
                  <a:pt x="77" y="62"/>
                  <a:pt x="77" y="63"/>
                  <a:pt x="77" y="65"/>
                </a:cubicBezTo>
                <a:cubicBezTo>
                  <a:pt x="76" y="69"/>
                  <a:pt x="74" y="72"/>
                  <a:pt x="69" y="73"/>
                </a:cubicBezTo>
                <a:cubicBezTo>
                  <a:pt x="67" y="74"/>
                  <a:pt x="64" y="74"/>
                  <a:pt x="62" y="73"/>
                </a:cubicBezTo>
                <a:cubicBezTo>
                  <a:pt x="57" y="73"/>
                  <a:pt x="54" y="69"/>
                  <a:pt x="53" y="64"/>
                </a:cubicBezTo>
                <a:cubicBezTo>
                  <a:pt x="53" y="60"/>
                  <a:pt x="52" y="55"/>
                  <a:pt x="51" y="51"/>
                </a:cubicBezTo>
                <a:cubicBezTo>
                  <a:pt x="46" y="36"/>
                  <a:pt x="35" y="27"/>
                  <a:pt x="20" y="24"/>
                </a:cubicBezTo>
                <a:cubicBezTo>
                  <a:pt x="17" y="24"/>
                  <a:pt x="14" y="24"/>
                  <a:pt x="11" y="23"/>
                </a:cubicBezTo>
                <a:cubicBezTo>
                  <a:pt x="9" y="23"/>
                  <a:pt x="8" y="23"/>
                  <a:pt x="6" y="22"/>
                </a:cubicBezTo>
                <a:cubicBezTo>
                  <a:pt x="3" y="21"/>
                  <a:pt x="1" y="18"/>
                  <a:pt x="1" y="15"/>
                </a:cubicBezTo>
                <a:cubicBezTo>
                  <a:pt x="0" y="12"/>
                  <a:pt x="1" y="9"/>
                  <a:pt x="2" y="7"/>
                </a:cubicBezTo>
                <a:cubicBezTo>
                  <a:pt x="4" y="2"/>
                  <a:pt x="7" y="1"/>
                  <a:pt x="11" y="1"/>
                </a:cubicBezTo>
                <a:cubicBezTo>
                  <a:pt x="14" y="0"/>
                  <a:pt x="18" y="1"/>
                  <a:pt x="21" y="1"/>
                </a:cubicBezTo>
                <a:cubicBezTo>
                  <a:pt x="32" y="3"/>
                  <a:pt x="42" y="7"/>
                  <a:pt x="52" y="13"/>
                </a:cubicBezTo>
                <a:cubicBezTo>
                  <a:pt x="64" y="22"/>
                  <a:pt x="73" y="34"/>
                  <a:pt x="76" y="50"/>
                </a:cubicBezTo>
                <a:cubicBezTo>
                  <a:pt x="77" y="53"/>
                  <a:pt x="77" y="57"/>
                  <a:pt x="78" y="6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4" name="Freeform 383"/>
          <p:cNvSpPr>
            <a:spLocks noEditPoints="1"/>
          </p:cNvSpPr>
          <p:nvPr/>
        </p:nvSpPr>
        <p:spPr bwMode="auto">
          <a:xfrm>
            <a:off x="3876121" y="1374340"/>
            <a:ext cx="304089" cy="304089"/>
          </a:xfrm>
          <a:custGeom>
            <a:avLst/>
            <a:gdLst>
              <a:gd name="T0" fmla="*/ 76 w 151"/>
              <a:gd name="T1" fmla="*/ 0 h 151"/>
              <a:gd name="T2" fmla="*/ 0 w 151"/>
              <a:gd name="T3" fmla="*/ 76 h 151"/>
              <a:gd name="T4" fmla="*/ 76 w 151"/>
              <a:gd name="T5" fmla="*/ 151 h 151"/>
              <a:gd name="T6" fmla="*/ 151 w 151"/>
              <a:gd name="T7" fmla="*/ 76 h 151"/>
              <a:gd name="T8" fmla="*/ 76 w 151"/>
              <a:gd name="T9" fmla="*/ 0 h 151"/>
              <a:gd name="T10" fmla="*/ 76 w 151"/>
              <a:gd name="T11" fmla="*/ 143 h 151"/>
              <a:gd name="T12" fmla="*/ 56 w 151"/>
              <a:gd name="T13" fmla="*/ 140 h 151"/>
              <a:gd name="T14" fmla="*/ 64 w 151"/>
              <a:gd name="T15" fmla="*/ 122 h 151"/>
              <a:gd name="T16" fmla="*/ 68 w 151"/>
              <a:gd name="T17" fmla="*/ 106 h 151"/>
              <a:gd name="T18" fmla="*/ 84 w 151"/>
              <a:gd name="T19" fmla="*/ 114 h 151"/>
              <a:gd name="T20" fmla="*/ 119 w 151"/>
              <a:gd name="T21" fmla="*/ 72 h 151"/>
              <a:gd name="T22" fmla="*/ 77 w 151"/>
              <a:gd name="T23" fmla="*/ 33 h 151"/>
              <a:gd name="T24" fmla="*/ 33 w 151"/>
              <a:gd name="T25" fmla="*/ 74 h 151"/>
              <a:gd name="T26" fmla="*/ 47 w 151"/>
              <a:gd name="T27" fmla="*/ 100 h 151"/>
              <a:gd name="T28" fmla="*/ 49 w 151"/>
              <a:gd name="T29" fmla="*/ 99 h 151"/>
              <a:gd name="T30" fmla="*/ 51 w 151"/>
              <a:gd name="T31" fmla="*/ 92 h 151"/>
              <a:gd name="T32" fmla="*/ 50 w 151"/>
              <a:gd name="T33" fmla="*/ 90 h 151"/>
              <a:gd name="T34" fmla="*/ 45 w 151"/>
              <a:gd name="T35" fmla="*/ 74 h 151"/>
              <a:gd name="T36" fmla="*/ 76 w 151"/>
              <a:gd name="T37" fmla="*/ 45 h 151"/>
              <a:gd name="T38" fmla="*/ 104 w 151"/>
              <a:gd name="T39" fmla="*/ 72 h 151"/>
              <a:gd name="T40" fmla="*/ 82 w 151"/>
              <a:gd name="T41" fmla="*/ 103 h 151"/>
              <a:gd name="T42" fmla="*/ 73 w 151"/>
              <a:gd name="T43" fmla="*/ 91 h 151"/>
              <a:gd name="T44" fmla="*/ 78 w 151"/>
              <a:gd name="T45" fmla="*/ 69 h 151"/>
              <a:gd name="T46" fmla="*/ 70 w 151"/>
              <a:gd name="T47" fmla="*/ 59 h 151"/>
              <a:gd name="T48" fmla="*/ 57 w 151"/>
              <a:gd name="T49" fmla="*/ 76 h 151"/>
              <a:gd name="T50" fmla="*/ 59 w 151"/>
              <a:gd name="T51" fmla="*/ 86 h 151"/>
              <a:gd name="T52" fmla="*/ 52 w 151"/>
              <a:gd name="T53" fmla="*/ 119 h 151"/>
              <a:gd name="T54" fmla="*/ 51 w 151"/>
              <a:gd name="T55" fmla="*/ 138 h 151"/>
              <a:gd name="T56" fmla="*/ 9 w 151"/>
              <a:gd name="T57" fmla="*/ 76 h 151"/>
              <a:gd name="T58" fmla="*/ 76 w 151"/>
              <a:gd name="T59" fmla="*/ 8 h 151"/>
              <a:gd name="T60" fmla="*/ 143 w 151"/>
              <a:gd name="T61" fmla="*/ 76 h 151"/>
              <a:gd name="T62" fmla="*/ 76 w 151"/>
              <a:gd name="T63"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1" h="151">
                <a:moveTo>
                  <a:pt x="76" y="0"/>
                </a:moveTo>
                <a:cubicBezTo>
                  <a:pt x="34" y="0"/>
                  <a:pt x="0" y="34"/>
                  <a:pt x="0" y="76"/>
                </a:cubicBezTo>
                <a:cubicBezTo>
                  <a:pt x="0" y="117"/>
                  <a:pt x="34" y="151"/>
                  <a:pt x="76" y="151"/>
                </a:cubicBezTo>
                <a:cubicBezTo>
                  <a:pt x="118" y="151"/>
                  <a:pt x="151" y="117"/>
                  <a:pt x="151" y="76"/>
                </a:cubicBezTo>
                <a:cubicBezTo>
                  <a:pt x="151" y="34"/>
                  <a:pt x="118" y="0"/>
                  <a:pt x="76" y="0"/>
                </a:cubicBezTo>
                <a:close/>
                <a:moveTo>
                  <a:pt x="76" y="143"/>
                </a:moveTo>
                <a:cubicBezTo>
                  <a:pt x="69" y="143"/>
                  <a:pt x="62" y="142"/>
                  <a:pt x="56" y="140"/>
                </a:cubicBezTo>
                <a:cubicBezTo>
                  <a:pt x="59" y="135"/>
                  <a:pt x="63" y="128"/>
                  <a:pt x="64" y="122"/>
                </a:cubicBezTo>
                <a:cubicBezTo>
                  <a:pt x="65" y="119"/>
                  <a:pt x="68" y="106"/>
                  <a:pt x="68" y="106"/>
                </a:cubicBezTo>
                <a:cubicBezTo>
                  <a:pt x="71" y="110"/>
                  <a:pt x="77" y="114"/>
                  <a:pt x="84" y="114"/>
                </a:cubicBezTo>
                <a:cubicBezTo>
                  <a:pt x="104" y="114"/>
                  <a:pt x="119" y="95"/>
                  <a:pt x="119" y="72"/>
                </a:cubicBezTo>
                <a:cubicBezTo>
                  <a:pt x="119" y="50"/>
                  <a:pt x="101" y="33"/>
                  <a:pt x="77" y="33"/>
                </a:cubicBezTo>
                <a:cubicBezTo>
                  <a:pt x="48" y="33"/>
                  <a:pt x="33" y="53"/>
                  <a:pt x="33" y="74"/>
                </a:cubicBezTo>
                <a:cubicBezTo>
                  <a:pt x="33" y="84"/>
                  <a:pt x="38" y="96"/>
                  <a:pt x="47" y="100"/>
                </a:cubicBezTo>
                <a:cubicBezTo>
                  <a:pt x="48" y="101"/>
                  <a:pt x="48" y="100"/>
                  <a:pt x="49" y="99"/>
                </a:cubicBezTo>
                <a:cubicBezTo>
                  <a:pt x="49" y="98"/>
                  <a:pt x="50" y="94"/>
                  <a:pt x="51" y="92"/>
                </a:cubicBezTo>
                <a:cubicBezTo>
                  <a:pt x="51" y="91"/>
                  <a:pt x="51" y="90"/>
                  <a:pt x="50" y="90"/>
                </a:cubicBezTo>
                <a:cubicBezTo>
                  <a:pt x="47" y="86"/>
                  <a:pt x="45" y="80"/>
                  <a:pt x="45" y="74"/>
                </a:cubicBezTo>
                <a:cubicBezTo>
                  <a:pt x="45" y="59"/>
                  <a:pt x="56" y="45"/>
                  <a:pt x="76" y="45"/>
                </a:cubicBezTo>
                <a:cubicBezTo>
                  <a:pt x="92" y="45"/>
                  <a:pt x="104" y="56"/>
                  <a:pt x="104" y="72"/>
                </a:cubicBezTo>
                <a:cubicBezTo>
                  <a:pt x="104" y="91"/>
                  <a:pt x="94" y="103"/>
                  <a:pt x="82" y="103"/>
                </a:cubicBezTo>
                <a:cubicBezTo>
                  <a:pt x="76" y="103"/>
                  <a:pt x="71" y="98"/>
                  <a:pt x="73" y="91"/>
                </a:cubicBezTo>
                <a:cubicBezTo>
                  <a:pt x="74" y="83"/>
                  <a:pt x="78" y="74"/>
                  <a:pt x="78" y="69"/>
                </a:cubicBezTo>
                <a:cubicBezTo>
                  <a:pt x="78" y="64"/>
                  <a:pt x="75" y="59"/>
                  <a:pt x="70" y="59"/>
                </a:cubicBezTo>
                <a:cubicBezTo>
                  <a:pt x="63" y="59"/>
                  <a:pt x="57" y="66"/>
                  <a:pt x="57" y="76"/>
                </a:cubicBezTo>
                <a:cubicBezTo>
                  <a:pt x="57" y="82"/>
                  <a:pt x="59" y="86"/>
                  <a:pt x="59" y="86"/>
                </a:cubicBezTo>
                <a:cubicBezTo>
                  <a:pt x="59" y="86"/>
                  <a:pt x="53" y="114"/>
                  <a:pt x="52" y="119"/>
                </a:cubicBezTo>
                <a:cubicBezTo>
                  <a:pt x="50" y="125"/>
                  <a:pt x="51" y="133"/>
                  <a:pt x="51" y="138"/>
                </a:cubicBezTo>
                <a:cubicBezTo>
                  <a:pt x="26" y="128"/>
                  <a:pt x="9" y="104"/>
                  <a:pt x="9" y="76"/>
                </a:cubicBezTo>
                <a:cubicBezTo>
                  <a:pt x="9" y="39"/>
                  <a:pt x="39" y="8"/>
                  <a:pt x="76" y="8"/>
                </a:cubicBezTo>
                <a:cubicBezTo>
                  <a:pt x="113" y="8"/>
                  <a:pt x="143" y="39"/>
                  <a:pt x="143" y="76"/>
                </a:cubicBezTo>
                <a:cubicBezTo>
                  <a:pt x="143" y="113"/>
                  <a:pt x="113" y="143"/>
                  <a:pt x="76" y="143"/>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5" name="Freeform 384"/>
          <p:cNvSpPr>
            <a:spLocks/>
          </p:cNvSpPr>
          <p:nvPr/>
        </p:nvSpPr>
        <p:spPr bwMode="auto">
          <a:xfrm>
            <a:off x="2055848" y="1392226"/>
            <a:ext cx="172913" cy="330494"/>
          </a:xfrm>
          <a:custGeom>
            <a:avLst/>
            <a:gdLst>
              <a:gd name="T0" fmla="*/ 56 w 86"/>
              <a:gd name="T1" fmla="*/ 164 h 164"/>
              <a:gd name="T2" fmla="*/ 56 w 86"/>
              <a:gd name="T3" fmla="*/ 89 h 164"/>
              <a:gd name="T4" fmla="*/ 81 w 86"/>
              <a:gd name="T5" fmla="*/ 89 h 164"/>
              <a:gd name="T6" fmla="*/ 85 w 86"/>
              <a:gd name="T7" fmla="*/ 60 h 164"/>
              <a:gd name="T8" fmla="*/ 56 w 86"/>
              <a:gd name="T9" fmla="*/ 60 h 164"/>
              <a:gd name="T10" fmla="*/ 56 w 86"/>
              <a:gd name="T11" fmla="*/ 41 h 164"/>
              <a:gd name="T12" fmla="*/ 70 w 86"/>
              <a:gd name="T13" fmla="*/ 27 h 164"/>
              <a:gd name="T14" fmla="*/ 86 w 86"/>
              <a:gd name="T15" fmla="*/ 27 h 164"/>
              <a:gd name="T16" fmla="*/ 86 w 86"/>
              <a:gd name="T17" fmla="*/ 1 h 164"/>
              <a:gd name="T18" fmla="*/ 63 w 86"/>
              <a:gd name="T19" fmla="*/ 0 h 164"/>
              <a:gd name="T20" fmla="*/ 26 w 86"/>
              <a:gd name="T21" fmla="*/ 38 h 164"/>
              <a:gd name="T22" fmla="*/ 26 w 86"/>
              <a:gd name="T23" fmla="*/ 60 h 164"/>
              <a:gd name="T24" fmla="*/ 0 w 86"/>
              <a:gd name="T25" fmla="*/ 60 h 164"/>
              <a:gd name="T26" fmla="*/ 0 w 86"/>
              <a:gd name="T27" fmla="*/ 89 h 164"/>
              <a:gd name="T28" fmla="*/ 26 w 86"/>
              <a:gd name="T29" fmla="*/ 89 h 164"/>
              <a:gd name="T30" fmla="*/ 26 w 86"/>
              <a:gd name="T31" fmla="*/ 164 h 164"/>
              <a:gd name="T32" fmla="*/ 56 w 86"/>
              <a:gd name="T33"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6" h="164">
                <a:moveTo>
                  <a:pt x="56" y="164"/>
                </a:moveTo>
                <a:cubicBezTo>
                  <a:pt x="56" y="89"/>
                  <a:pt x="56" y="89"/>
                  <a:pt x="56" y="89"/>
                </a:cubicBezTo>
                <a:cubicBezTo>
                  <a:pt x="81" y="89"/>
                  <a:pt x="81" y="89"/>
                  <a:pt x="81" y="89"/>
                </a:cubicBezTo>
                <a:cubicBezTo>
                  <a:pt x="85" y="60"/>
                  <a:pt x="85" y="60"/>
                  <a:pt x="85" y="60"/>
                </a:cubicBezTo>
                <a:cubicBezTo>
                  <a:pt x="56" y="60"/>
                  <a:pt x="56" y="60"/>
                  <a:pt x="56" y="60"/>
                </a:cubicBezTo>
                <a:cubicBezTo>
                  <a:pt x="56" y="41"/>
                  <a:pt x="56" y="41"/>
                  <a:pt x="56" y="41"/>
                </a:cubicBezTo>
                <a:cubicBezTo>
                  <a:pt x="56" y="33"/>
                  <a:pt x="58" y="27"/>
                  <a:pt x="70" y="27"/>
                </a:cubicBezTo>
                <a:cubicBezTo>
                  <a:pt x="86" y="27"/>
                  <a:pt x="86" y="27"/>
                  <a:pt x="86" y="27"/>
                </a:cubicBezTo>
                <a:cubicBezTo>
                  <a:pt x="86" y="1"/>
                  <a:pt x="86" y="1"/>
                  <a:pt x="86" y="1"/>
                </a:cubicBezTo>
                <a:cubicBezTo>
                  <a:pt x="83" y="0"/>
                  <a:pt x="74" y="0"/>
                  <a:pt x="63" y="0"/>
                </a:cubicBezTo>
                <a:cubicBezTo>
                  <a:pt x="41" y="0"/>
                  <a:pt x="26" y="13"/>
                  <a:pt x="26" y="38"/>
                </a:cubicBezTo>
                <a:cubicBezTo>
                  <a:pt x="26" y="60"/>
                  <a:pt x="26" y="60"/>
                  <a:pt x="26" y="60"/>
                </a:cubicBezTo>
                <a:cubicBezTo>
                  <a:pt x="0" y="60"/>
                  <a:pt x="0" y="60"/>
                  <a:pt x="0" y="60"/>
                </a:cubicBezTo>
                <a:cubicBezTo>
                  <a:pt x="0" y="89"/>
                  <a:pt x="0" y="89"/>
                  <a:pt x="0" y="89"/>
                </a:cubicBezTo>
                <a:cubicBezTo>
                  <a:pt x="26" y="89"/>
                  <a:pt x="26" y="89"/>
                  <a:pt x="26" y="89"/>
                </a:cubicBezTo>
                <a:cubicBezTo>
                  <a:pt x="26" y="164"/>
                  <a:pt x="26" y="164"/>
                  <a:pt x="26" y="164"/>
                </a:cubicBezTo>
                <a:lnTo>
                  <a:pt x="56" y="16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6" name="Freeform 385"/>
          <p:cNvSpPr>
            <a:spLocks/>
          </p:cNvSpPr>
          <p:nvPr/>
        </p:nvSpPr>
        <p:spPr bwMode="auto">
          <a:xfrm>
            <a:off x="2430635" y="1405856"/>
            <a:ext cx="293867" cy="240205"/>
          </a:xfrm>
          <a:custGeom>
            <a:avLst/>
            <a:gdLst>
              <a:gd name="T0" fmla="*/ 146 w 146"/>
              <a:gd name="T1" fmla="*/ 14 h 119"/>
              <a:gd name="T2" fmla="*/ 129 w 146"/>
              <a:gd name="T3" fmla="*/ 19 h 119"/>
              <a:gd name="T4" fmla="*/ 142 w 146"/>
              <a:gd name="T5" fmla="*/ 3 h 119"/>
              <a:gd name="T6" fmla="*/ 123 w 146"/>
              <a:gd name="T7" fmla="*/ 10 h 119"/>
              <a:gd name="T8" fmla="*/ 101 w 146"/>
              <a:gd name="T9" fmla="*/ 0 h 119"/>
              <a:gd name="T10" fmla="*/ 71 w 146"/>
              <a:gd name="T11" fmla="*/ 30 h 119"/>
              <a:gd name="T12" fmla="*/ 72 w 146"/>
              <a:gd name="T13" fmla="*/ 37 h 119"/>
              <a:gd name="T14" fmla="*/ 11 w 146"/>
              <a:gd name="T15" fmla="*/ 6 h 119"/>
              <a:gd name="T16" fmla="*/ 7 w 146"/>
              <a:gd name="T17" fmla="*/ 21 h 119"/>
              <a:gd name="T18" fmla="*/ 20 w 146"/>
              <a:gd name="T19" fmla="*/ 46 h 119"/>
              <a:gd name="T20" fmla="*/ 6 w 146"/>
              <a:gd name="T21" fmla="*/ 42 h 119"/>
              <a:gd name="T22" fmla="*/ 6 w 146"/>
              <a:gd name="T23" fmla="*/ 42 h 119"/>
              <a:gd name="T24" fmla="*/ 30 w 146"/>
              <a:gd name="T25" fmla="*/ 72 h 119"/>
              <a:gd name="T26" fmla="*/ 22 w 146"/>
              <a:gd name="T27" fmla="*/ 73 h 119"/>
              <a:gd name="T28" fmla="*/ 17 w 146"/>
              <a:gd name="T29" fmla="*/ 72 h 119"/>
              <a:gd name="T30" fmla="*/ 45 w 146"/>
              <a:gd name="T31" fmla="*/ 93 h 119"/>
              <a:gd name="T32" fmla="*/ 8 w 146"/>
              <a:gd name="T33" fmla="*/ 106 h 119"/>
              <a:gd name="T34" fmla="*/ 0 w 146"/>
              <a:gd name="T35" fmla="*/ 105 h 119"/>
              <a:gd name="T36" fmla="*/ 46 w 146"/>
              <a:gd name="T37" fmla="*/ 119 h 119"/>
              <a:gd name="T38" fmla="*/ 131 w 146"/>
              <a:gd name="T39" fmla="*/ 34 h 119"/>
              <a:gd name="T40" fmla="*/ 131 w 146"/>
              <a:gd name="T41" fmla="*/ 30 h 119"/>
              <a:gd name="T42" fmla="*/ 146 w 146"/>
              <a:gd name="T43" fmla="*/ 1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 h="119">
                <a:moveTo>
                  <a:pt x="146" y="14"/>
                </a:moveTo>
                <a:cubicBezTo>
                  <a:pt x="141" y="17"/>
                  <a:pt x="135" y="18"/>
                  <a:pt x="129" y="19"/>
                </a:cubicBezTo>
                <a:cubicBezTo>
                  <a:pt x="135" y="16"/>
                  <a:pt x="140" y="10"/>
                  <a:pt x="142" y="3"/>
                </a:cubicBezTo>
                <a:cubicBezTo>
                  <a:pt x="136" y="6"/>
                  <a:pt x="130" y="9"/>
                  <a:pt x="123" y="10"/>
                </a:cubicBezTo>
                <a:cubicBezTo>
                  <a:pt x="118" y="4"/>
                  <a:pt x="110" y="0"/>
                  <a:pt x="101" y="0"/>
                </a:cubicBezTo>
                <a:cubicBezTo>
                  <a:pt x="85" y="0"/>
                  <a:pt x="71" y="14"/>
                  <a:pt x="71" y="30"/>
                </a:cubicBezTo>
                <a:cubicBezTo>
                  <a:pt x="71" y="33"/>
                  <a:pt x="72" y="35"/>
                  <a:pt x="72" y="37"/>
                </a:cubicBezTo>
                <a:cubicBezTo>
                  <a:pt x="47" y="36"/>
                  <a:pt x="25" y="24"/>
                  <a:pt x="11" y="6"/>
                </a:cubicBezTo>
                <a:cubicBezTo>
                  <a:pt x="8" y="10"/>
                  <a:pt x="7" y="15"/>
                  <a:pt x="7" y="21"/>
                </a:cubicBezTo>
                <a:cubicBezTo>
                  <a:pt x="7" y="31"/>
                  <a:pt x="12" y="40"/>
                  <a:pt x="20" y="46"/>
                </a:cubicBezTo>
                <a:cubicBezTo>
                  <a:pt x="15" y="46"/>
                  <a:pt x="10" y="44"/>
                  <a:pt x="6" y="42"/>
                </a:cubicBezTo>
                <a:cubicBezTo>
                  <a:pt x="6" y="42"/>
                  <a:pt x="6" y="42"/>
                  <a:pt x="6" y="42"/>
                </a:cubicBezTo>
                <a:cubicBezTo>
                  <a:pt x="6" y="57"/>
                  <a:pt x="17" y="69"/>
                  <a:pt x="30" y="72"/>
                </a:cubicBezTo>
                <a:cubicBezTo>
                  <a:pt x="28" y="72"/>
                  <a:pt x="25" y="73"/>
                  <a:pt x="22" y="73"/>
                </a:cubicBezTo>
                <a:cubicBezTo>
                  <a:pt x="20" y="73"/>
                  <a:pt x="19" y="73"/>
                  <a:pt x="17" y="72"/>
                </a:cubicBezTo>
                <a:cubicBezTo>
                  <a:pt x="21" y="84"/>
                  <a:pt x="32" y="93"/>
                  <a:pt x="45" y="93"/>
                </a:cubicBezTo>
                <a:cubicBezTo>
                  <a:pt x="34" y="101"/>
                  <a:pt x="22" y="106"/>
                  <a:pt x="8" y="106"/>
                </a:cubicBezTo>
                <a:cubicBezTo>
                  <a:pt x="5" y="106"/>
                  <a:pt x="3" y="106"/>
                  <a:pt x="0" y="105"/>
                </a:cubicBezTo>
                <a:cubicBezTo>
                  <a:pt x="14" y="114"/>
                  <a:pt x="29" y="119"/>
                  <a:pt x="46" y="119"/>
                </a:cubicBezTo>
                <a:cubicBezTo>
                  <a:pt x="101" y="119"/>
                  <a:pt x="131" y="73"/>
                  <a:pt x="131" y="34"/>
                </a:cubicBezTo>
                <a:cubicBezTo>
                  <a:pt x="131" y="33"/>
                  <a:pt x="131" y="31"/>
                  <a:pt x="131" y="30"/>
                </a:cubicBezTo>
                <a:cubicBezTo>
                  <a:pt x="137" y="26"/>
                  <a:pt x="142" y="20"/>
                  <a:pt x="146" y="14"/>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7" name="Freeform 386"/>
          <p:cNvSpPr>
            <a:spLocks/>
          </p:cNvSpPr>
          <p:nvPr/>
        </p:nvSpPr>
        <p:spPr bwMode="auto">
          <a:xfrm>
            <a:off x="2899969" y="1418633"/>
            <a:ext cx="323680" cy="215503"/>
          </a:xfrm>
          <a:custGeom>
            <a:avLst/>
            <a:gdLst>
              <a:gd name="T0" fmla="*/ 15 w 161"/>
              <a:gd name="T1" fmla="*/ 20 h 107"/>
              <a:gd name="T2" fmla="*/ 0 w 161"/>
              <a:gd name="T3" fmla="*/ 6 h 107"/>
              <a:gd name="T4" fmla="*/ 0 w 161"/>
              <a:gd name="T5" fmla="*/ 6 h 107"/>
              <a:gd name="T6" fmla="*/ 0 w 161"/>
              <a:gd name="T7" fmla="*/ 3 h 107"/>
              <a:gd name="T8" fmla="*/ 0 w 161"/>
              <a:gd name="T9" fmla="*/ 0 h 107"/>
              <a:gd name="T10" fmla="*/ 0 w 161"/>
              <a:gd name="T11" fmla="*/ 0 h 107"/>
              <a:gd name="T12" fmla="*/ 41 w 161"/>
              <a:gd name="T13" fmla="*/ 0 h 107"/>
              <a:gd name="T14" fmla="*/ 41 w 161"/>
              <a:gd name="T15" fmla="*/ 6 h 107"/>
              <a:gd name="T16" fmla="*/ 31 w 161"/>
              <a:gd name="T17" fmla="*/ 15 h 107"/>
              <a:gd name="T18" fmla="*/ 61 w 161"/>
              <a:gd name="T19" fmla="*/ 84 h 107"/>
              <a:gd name="T20" fmla="*/ 79 w 161"/>
              <a:gd name="T21" fmla="*/ 51 h 107"/>
              <a:gd name="T22" fmla="*/ 59 w 161"/>
              <a:gd name="T23" fmla="*/ 10 h 107"/>
              <a:gd name="T24" fmla="*/ 46 w 161"/>
              <a:gd name="T25" fmla="*/ 6 h 107"/>
              <a:gd name="T26" fmla="*/ 46 w 161"/>
              <a:gd name="T27" fmla="*/ 0 h 107"/>
              <a:gd name="T28" fmla="*/ 85 w 161"/>
              <a:gd name="T29" fmla="*/ 0 h 107"/>
              <a:gd name="T30" fmla="*/ 85 w 161"/>
              <a:gd name="T31" fmla="*/ 6 h 107"/>
              <a:gd name="T32" fmla="*/ 78 w 161"/>
              <a:gd name="T33" fmla="*/ 11 h 107"/>
              <a:gd name="T34" fmla="*/ 89 w 161"/>
              <a:gd name="T35" fmla="*/ 35 h 107"/>
              <a:gd name="T36" fmla="*/ 99 w 161"/>
              <a:gd name="T37" fmla="*/ 12 h 107"/>
              <a:gd name="T38" fmla="*/ 89 w 161"/>
              <a:gd name="T39" fmla="*/ 5 h 107"/>
              <a:gd name="T40" fmla="*/ 89 w 161"/>
              <a:gd name="T41" fmla="*/ 0 h 107"/>
              <a:gd name="T42" fmla="*/ 124 w 161"/>
              <a:gd name="T43" fmla="*/ 0 h 107"/>
              <a:gd name="T44" fmla="*/ 124 w 161"/>
              <a:gd name="T45" fmla="*/ 5 h 107"/>
              <a:gd name="T46" fmla="*/ 111 w 161"/>
              <a:gd name="T47" fmla="*/ 11 h 107"/>
              <a:gd name="T48" fmla="*/ 94 w 161"/>
              <a:gd name="T49" fmla="*/ 45 h 107"/>
              <a:gd name="T50" fmla="*/ 110 w 161"/>
              <a:gd name="T51" fmla="*/ 81 h 107"/>
              <a:gd name="T52" fmla="*/ 140 w 161"/>
              <a:gd name="T53" fmla="*/ 13 h 107"/>
              <a:gd name="T54" fmla="*/ 129 w 161"/>
              <a:gd name="T55" fmla="*/ 6 h 107"/>
              <a:gd name="T56" fmla="*/ 128 w 161"/>
              <a:gd name="T57" fmla="*/ 0 h 107"/>
              <a:gd name="T58" fmla="*/ 161 w 161"/>
              <a:gd name="T59" fmla="*/ 0 h 107"/>
              <a:gd name="T60" fmla="*/ 161 w 161"/>
              <a:gd name="T61" fmla="*/ 6 h 107"/>
              <a:gd name="T62" fmla="*/ 157 w 161"/>
              <a:gd name="T63" fmla="*/ 7 h 107"/>
              <a:gd name="T64" fmla="*/ 150 w 161"/>
              <a:gd name="T65" fmla="*/ 13 h 107"/>
              <a:gd name="T66" fmla="*/ 110 w 161"/>
              <a:gd name="T67" fmla="*/ 107 h 107"/>
              <a:gd name="T68" fmla="*/ 103 w 161"/>
              <a:gd name="T69" fmla="*/ 107 h 107"/>
              <a:gd name="T70" fmla="*/ 83 w 161"/>
              <a:gd name="T71" fmla="*/ 62 h 107"/>
              <a:gd name="T72" fmla="*/ 60 w 161"/>
              <a:gd name="T73" fmla="*/ 107 h 107"/>
              <a:gd name="T74" fmla="*/ 53 w 161"/>
              <a:gd name="T75" fmla="*/ 107 h 107"/>
              <a:gd name="T76" fmla="*/ 15 w 161"/>
              <a:gd name="T77" fmla="*/ 2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 h="107">
                <a:moveTo>
                  <a:pt x="15" y="20"/>
                </a:moveTo>
                <a:cubicBezTo>
                  <a:pt x="11" y="14"/>
                  <a:pt x="5" y="8"/>
                  <a:pt x="0" y="6"/>
                </a:cubicBezTo>
                <a:cubicBezTo>
                  <a:pt x="0" y="6"/>
                  <a:pt x="0" y="6"/>
                  <a:pt x="0" y="6"/>
                </a:cubicBezTo>
                <a:cubicBezTo>
                  <a:pt x="0" y="3"/>
                  <a:pt x="0" y="3"/>
                  <a:pt x="0" y="3"/>
                </a:cubicBezTo>
                <a:cubicBezTo>
                  <a:pt x="0" y="0"/>
                  <a:pt x="0" y="0"/>
                  <a:pt x="0" y="0"/>
                </a:cubicBezTo>
                <a:cubicBezTo>
                  <a:pt x="0" y="0"/>
                  <a:pt x="0" y="0"/>
                  <a:pt x="0" y="0"/>
                </a:cubicBezTo>
                <a:cubicBezTo>
                  <a:pt x="41" y="0"/>
                  <a:pt x="41" y="0"/>
                  <a:pt x="41" y="0"/>
                </a:cubicBezTo>
                <a:cubicBezTo>
                  <a:pt x="41" y="1"/>
                  <a:pt x="41" y="4"/>
                  <a:pt x="41" y="6"/>
                </a:cubicBezTo>
                <a:cubicBezTo>
                  <a:pt x="36" y="6"/>
                  <a:pt x="29" y="9"/>
                  <a:pt x="31" y="15"/>
                </a:cubicBezTo>
                <a:cubicBezTo>
                  <a:pt x="41" y="38"/>
                  <a:pt x="51" y="61"/>
                  <a:pt x="61" y="84"/>
                </a:cubicBezTo>
                <a:cubicBezTo>
                  <a:pt x="79" y="51"/>
                  <a:pt x="79" y="51"/>
                  <a:pt x="79" y="51"/>
                </a:cubicBezTo>
                <a:cubicBezTo>
                  <a:pt x="72" y="37"/>
                  <a:pt x="67" y="23"/>
                  <a:pt x="59" y="10"/>
                </a:cubicBezTo>
                <a:cubicBezTo>
                  <a:pt x="57" y="6"/>
                  <a:pt x="50" y="6"/>
                  <a:pt x="46" y="6"/>
                </a:cubicBezTo>
                <a:cubicBezTo>
                  <a:pt x="46" y="0"/>
                  <a:pt x="46" y="0"/>
                  <a:pt x="46" y="0"/>
                </a:cubicBezTo>
                <a:cubicBezTo>
                  <a:pt x="85" y="0"/>
                  <a:pt x="85" y="0"/>
                  <a:pt x="85" y="0"/>
                </a:cubicBezTo>
                <a:cubicBezTo>
                  <a:pt x="85" y="6"/>
                  <a:pt x="85" y="6"/>
                  <a:pt x="85" y="6"/>
                </a:cubicBezTo>
                <a:cubicBezTo>
                  <a:pt x="81" y="6"/>
                  <a:pt x="77" y="7"/>
                  <a:pt x="78" y="11"/>
                </a:cubicBezTo>
                <a:cubicBezTo>
                  <a:pt x="89" y="35"/>
                  <a:pt x="89" y="35"/>
                  <a:pt x="89" y="35"/>
                </a:cubicBezTo>
                <a:cubicBezTo>
                  <a:pt x="92" y="28"/>
                  <a:pt x="96" y="20"/>
                  <a:pt x="99" y="12"/>
                </a:cubicBezTo>
                <a:cubicBezTo>
                  <a:pt x="101" y="6"/>
                  <a:pt x="94" y="6"/>
                  <a:pt x="89" y="5"/>
                </a:cubicBezTo>
                <a:cubicBezTo>
                  <a:pt x="89" y="0"/>
                  <a:pt x="89" y="0"/>
                  <a:pt x="89" y="0"/>
                </a:cubicBezTo>
                <a:cubicBezTo>
                  <a:pt x="124" y="0"/>
                  <a:pt x="124" y="0"/>
                  <a:pt x="124" y="0"/>
                </a:cubicBezTo>
                <a:cubicBezTo>
                  <a:pt x="124" y="5"/>
                  <a:pt x="124" y="5"/>
                  <a:pt x="124" y="5"/>
                </a:cubicBezTo>
                <a:cubicBezTo>
                  <a:pt x="119" y="6"/>
                  <a:pt x="114" y="7"/>
                  <a:pt x="111" y="11"/>
                </a:cubicBezTo>
                <a:cubicBezTo>
                  <a:pt x="104" y="22"/>
                  <a:pt x="99" y="33"/>
                  <a:pt x="94" y="45"/>
                </a:cubicBezTo>
                <a:cubicBezTo>
                  <a:pt x="99" y="57"/>
                  <a:pt x="105" y="70"/>
                  <a:pt x="110" y="81"/>
                </a:cubicBezTo>
                <a:cubicBezTo>
                  <a:pt x="140" y="13"/>
                  <a:pt x="140" y="13"/>
                  <a:pt x="140" y="13"/>
                </a:cubicBezTo>
                <a:cubicBezTo>
                  <a:pt x="138" y="8"/>
                  <a:pt x="133" y="7"/>
                  <a:pt x="129" y="6"/>
                </a:cubicBezTo>
                <a:cubicBezTo>
                  <a:pt x="128" y="0"/>
                  <a:pt x="128" y="0"/>
                  <a:pt x="128" y="0"/>
                </a:cubicBezTo>
                <a:cubicBezTo>
                  <a:pt x="161" y="0"/>
                  <a:pt x="161" y="0"/>
                  <a:pt x="161" y="0"/>
                </a:cubicBezTo>
                <a:cubicBezTo>
                  <a:pt x="161" y="6"/>
                  <a:pt x="161" y="6"/>
                  <a:pt x="161" y="6"/>
                </a:cubicBezTo>
                <a:cubicBezTo>
                  <a:pt x="160" y="6"/>
                  <a:pt x="158" y="6"/>
                  <a:pt x="157" y="7"/>
                </a:cubicBezTo>
                <a:cubicBezTo>
                  <a:pt x="154" y="8"/>
                  <a:pt x="152" y="11"/>
                  <a:pt x="150" y="13"/>
                </a:cubicBezTo>
                <a:cubicBezTo>
                  <a:pt x="110" y="107"/>
                  <a:pt x="110" y="107"/>
                  <a:pt x="110" y="107"/>
                </a:cubicBezTo>
                <a:cubicBezTo>
                  <a:pt x="103" y="107"/>
                  <a:pt x="103" y="107"/>
                  <a:pt x="103" y="107"/>
                </a:cubicBezTo>
                <a:cubicBezTo>
                  <a:pt x="83" y="62"/>
                  <a:pt x="83" y="62"/>
                  <a:pt x="83" y="62"/>
                </a:cubicBezTo>
                <a:cubicBezTo>
                  <a:pt x="60" y="107"/>
                  <a:pt x="60" y="107"/>
                  <a:pt x="60" y="107"/>
                </a:cubicBezTo>
                <a:cubicBezTo>
                  <a:pt x="53" y="107"/>
                  <a:pt x="53" y="107"/>
                  <a:pt x="53" y="107"/>
                </a:cubicBezTo>
                <a:cubicBezTo>
                  <a:pt x="39" y="79"/>
                  <a:pt x="29" y="48"/>
                  <a:pt x="15" y="20"/>
                </a:cubicBezTo>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8" name="Freeform 387"/>
          <p:cNvSpPr>
            <a:spLocks noEditPoints="1"/>
          </p:cNvSpPr>
          <p:nvPr/>
        </p:nvSpPr>
        <p:spPr bwMode="auto">
          <a:xfrm>
            <a:off x="4359936" y="1371783"/>
            <a:ext cx="307496" cy="308348"/>
          </a:xfrm>
          <a:custGeom>
            <a:avLst/>
            <a:gdLst>
              <a:gd name="T0" fmla="*/ 135 w 153"/>
              <a:gd name="T1" fmla="*/ 0 h 153"/>
              <a:gd name="T2" fmla="*/ 17 w 153"/>
              <a:gd name="T3" fmla="*/ 0 h 153"/>
              <a:gd name="T4" fmla="*/ 0 w 153"/>
              <a:gd name="T5" fmla="*/ 18 h 153"/>
              <a:gd name="T6" fmla="*/ 0 w 153"/>
              <a:gd name="T7" fmla="*/ 136 h 153"/>
              <a:gd name="T8" fmla="*/ 17 w 153"/>
              <a:gd name="T9" fmla="*/ 153 h 153"/>
              <a:gd name="T10" fmla="*/ 135 w 153"/>
              <a:gd name="T11" fmla="*/ 153 h 153"/>
              <a:gd name="T12" fmla="*/ 153 w 153"/>
              <a:gd name="T13" fmla="*/ 136 h 153"/>
              <a:gd name="T14" fmla="*/ 153 w 153"/>
              <a:gd name="T15" fmla="*/ 18 h 153"/>
              <a:gd name="T16" fmla="*/ 135 w 153"/>
              <a:gd name="T17" fmla="*/ 0 h 153"/>
              <a:gd name="T18" fmla="*/ 76 w 153"/>
              <a:gd name="T19" fmla="*/ 47 h 153"/>
              <a:gd name="T20" fmla="*/ 106 w 153"/>
              <a:gd name="T21" fmla="*/ 77 h 153"/>
              <a:gd name="T22" fmla="*/ 76 w 153"/>
              <a:gd name="T23" fmla="*/ 106 h 153"/>
              <a:gd name="T24" fmla="*/ 47 w 153"/>
              <a:gd name="T25" fmla="*/ 77 h 153"/>
              <a:gd name="T26" fmla="*/ 76 w 153"/>
              <a:gd name="T27" fmla="*/ 47 h 153"/>
              <a:gd name="T28" fmla="*/ 135 w 153"/>
              <a:gd name="T29" fmla="*/ 130 h 153"/>
              <a:gd name="T30" fmla="*/ 129 w 153"/>
              <a:gd name="T31" fmla="*/ 136 h 153"/>
              <a:gd name="T32" fmla="*/ 23 w 153"/>
              <a:gd name="T33" fmla="*/ 136 h 153"/>
              <a:gd name="T34" fmla="*/ 17 w 153"/>
              <a:gd name="T35" fmla="*/ 130 h 153"/>
              <a:gd name="T36" fmla="*/ 17 w 153"/>
              <a:gd name="T37" fmla="*/ 65 h 153"/>
              <a:gd name="T38" fmla="*/ 31 w 153"/>
              <a:gd name="T39" fmla="*/ 65 h 153"/>
              <a:gd name="T40" fmla="*/ 29 w 153"/>
              <a:gd name="T41" fmla="*/ 77 h 153"/>
              <a:gd name="T42" fmla="*/ 76 w 153"/>
              <a:gd name="T43" fmla="*/ 124 h 153"/>
              <a:gd name="T44" fmla="*/ 123 w 153"/>
              <a:gd name="T45" fmla="*/ 77 h 153"/>
              <a:gd name="T46" fmla="*/ 122 w 153"/>
              <a:gd name="T47" fmla="*/ 65 h 153"/>
              <a:gd name="T48" fmla="*/ 135 w 153"/>
              <a:gd name="T49" fmla="*/ 65 h 153"/>
              <a:gd name="T50" fmla="*/ 135 w 153"/>
              <a:gd name="T51" fmla="*/ 130 h 153"/>
              <a:gd name="T52" fmla="*/ 135 w 153"/>
              <a:gd name="T53" fmla="*/ 41 h 153"/>
              <a:gd name="T54" fmla="*/ 129 w 153"/>
              <a:gd name="T55" fmla="*/ 47 h 153"/>
              <a:gd name="T56" fmla="*/ 111 w 153"/>
              <a:gd name="T57" fmla="*/ 47 h 153"/>
              <a:gd name="T58" fmla="*/ 106 w 153"/>
              <a:gd name="T59" fmla="*/ 41 h 153"/>
              <a:gd name="T60" fmla="*/ 106 w 153"/>
              <a:gd name="T61" fmla="*/ 24 h 153"/>
              <a:gd name="T62" fmla="*/ 111 w 153"/>
              <a:gd name="T63" fmla="*/ 18 h 153"/>
              <a:gd name="T64" fmla="*/ 129 w 153"/>
              <a:gd name="T65" fmla="*/ 18 h 153"/>
              <a:gd name="T66" fmla="*/ 135 w 153"/>
              <a:gd name="T67" fmla="*/ 24 h 153"/>
              <a:gd name="T68" fmla="*/ 135 w 153"/>
              <a:gd name="T69" fmla="*/ 4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153">
                <a:moveTo>
                  <a:pt x="135" y="0"/>
                </a:moveTo>
                <a:cubicBezTo>
                  <a:pt x="17" y="0"/>
                  <a:pt x="17" y="0"/>
                  <a:pt x="17" y="0"/>
                </a:cubicBezTo>
                <a:cubicBezTo>
                  <a:pt x="7" y="0"/>
                  <a:pt x="0" y="8"/>
                  <a:pt x="0" y="18"/>
                </a:cubicBezTo>
                <a:cubicBezTo>
                  <a:pt x="0" y="136"/>
                  <a:pt x="0" y="136"/>
                  <a:pt x="0" y="136"/>
                </a:cubicBezTo>
                <a:cubicBezTo>
                  <a:pt x="0" y="145"/>
                  <a:pt x="7" y="153"/>
                  <a:pt x="17" y="153"/>
                </a:cubicBezTo>
                <a:cubicBezTo>
                  <a:pt x="135" y="153"/>
                  <a:pt x="135" y="153"/>
                  <a:pt x="135" y="153"/>
                </a:cubicBezTo>
                <a:cubicBezTo>
                  <a:pt x="145" y="153"/>
                  <a:pt x="153" y="145"/>
                  <a:pt x="153" y="136"/>
                </a:cubicBezTo>
                <a:cubicBezTo>
                  <a:pt x="153" y="18"/>
                  <a:pt x="153" y="18"/>
                  <a:pt x="153" y="18"/>
                </a:cubicBezTo>
                <a:cubicBezTo>
                  <a:pt x="153" y="8"/>
                  <a:pt x="145" y="0"/>
                  <a:pt x="135" y="0"/>
                </a:cubicBezTo>
                <a:moveTo>
                  <a:pt x="76" y="47"/>
                </a:moveTo>
                <a:cubicBezTo>
                  <a:pt x="92" y="47"/>
                  <a:pt x="106" y="61"/>
                  <a:pt x="106" y="77"/>
                </a:cubicBezTo>
                <a:cubicBezTo>
                  <a:pt x="106" y="93"/>
                  <a:pt x="92" y="106"/>
                  <a:pt x="76" y="106"/>
                </a:cubicBezTo>
                <a:cubicBezTo>
                  <a:pt x="60" y="106"/>
                  <a:pt x="47" y="93"/>
                  <a:pt x="47" y="77"/>
                </a:cubicBezTo>
                <a:cubicBezTo>
                  <a:pt x="47" y="61"/>
                  <a:pt x="60" y="47"/>
                  <a:pt x="76" y="47"/>
                </a:cubicBezTo>
                <a:moveTo>
                  <a:pt x="135" y="130"/>
                </a:moveTo>
                <a:cubicBezTo>
                  <a:pt x="135" y="133"/>
                  <a:pt x="132" y="136"/>
                  <a:pt x="129" y="136"/>
                </a:cubicBezTo>
                <a:cubicBezTo>
                  <a:pt x="23" y="136"/>
                  <a:pt x="23" y="136"/>
                  <a:pt x="23" y="136"/>
                </a:cubicBezTo>
                <a:cubicBezTo>
                  <a:pt x="20" y="136"/>
                  <a:pt x="17" y="133"/>
                  <a:pt x="17" y="130"/>
                </a:cubicBezTo>
                <a:cubicBezTo>
                  <a:pt x="17" y="65"/>
                  <a:pt x="17" y="65"/>
                  <a:pt x="17" y="65"/>
                </a:cubicBezTo>
                <a:cubicBezTo>
                  <a:pt x="31" y="65"/>
                  <a:pt x="31" y="65"/>
                  <a:pt x="31" y="65"/>
                </a:cubicBezTo>
                <a:cubicBezTo>
                  <a:pt x="30" y="69"/>
                  <a:pt x="29" y="73"/>
                  <a:pt x="29" y="77"/>
                </a:cubicBezTo>
                <a:cubicBezTo>
                  <a:pt x="29" y="103"/>
                  <a:pt x="50" y="124"/>
                  <a:pt x="76" y="124"/>
                </a:cubicBezTo>
                <a:cubicBezTo>
                  <a:pt x="102" y="124"/>
                  <a:pt x="123" y="103"/>
                  <a:pt x="123" y="77"/>
                </a:cubicBezTo>
                <a:cubicBezTo>
                  <a:pt x="123" y="73"/>
                  <a:pt x="123" y="69"/>
                  <a:pt x="122" y="65"/>
                </a:cubicBezTo>
                <a:cubicBezTo>
                  <a:pt x="135" y="65"/>
                  <a:pt x="135" y="65"/>
                  <a:pt x="135" y="65"/>
                </a:cubicBezTo>
                <a:lnTo>
                  <a:pt x="135" y="130"/>
                </a:lnTo>
                <a:close/>
                <a:moveTo>
                  <a:pt x="135" y="41"/>
                </a:moveTo>
                <a:cubicBezTo>
                  <a:pt x="135" y="45"/>
                  <a:pt x="132" y="47"/>
                  <a:pt x="129" y="47"/>
                </a:cubicBezTo>
                <a:cubicBezTo>
                  <a:pt x="111" y="47"/>
                  <a:pt x="111" y="47"/>
                  <a:pt x="111" y="47"/>
                </a:cubicBezTo>
                <a:cubicBezTo>
                  <a:pt x="108" y="47"/>
                  <a:pt x="106" y="45"/>
                  <a:pt x="106" y="41"/>
                </a:cubicBezTo>
                <a:cubicBezTo>
                  <a:pt x="106" y="24"/>
                  <a:pt x="106" y="24"/>
                  <a:pt x="106" y="24"/>
                </a:cubicBezTo>
                <a:cubicBezTo>
                  <a:pt x="106" y="21"/>
                  <a:pt x="108" y="18"/>
                  <a:pt x="111" y="18"/>
                </a:cubicBezTo>
                <a:cubicBezTo>
                  <a:pt x="129" y="18"/>
                  <a:pt x="129" y="18"/>
                  <a:pt x="129" y="18"/>
                </a:cubicBezTo>
                <a:cubicBezTo>
                  <a:pt x="132" y="18"/>
                  <a:pt x="135" y="21"/>
                  <a:pt x="135" y="24"/>
                </a:cubicBezTo>
                <a:lnTo>
                  <a:pt x="135" y="4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39" name="Freeform 388"/>
          <p:cNvSpPr>
            <a:spLocks/>
          </p:cNvSpPr>
          <p:nvPr/>
        </p:nvSpPr>
        <p:spPr bwMode="auto">
          <a:xfrm>
            <a:off x="3422968" y="1370079"/>
            <a:ext cx="241908" cy="314310"/>
          </a:xfrm>
          <a:custGeom>
            <a:avLst/>
            <a:gdLst>
              <a:gd name="T0" fmla="*/ 64 w 120"/>
              <a:gd name="T1" fmla="*/ 0 h 156"/>
              <a:gd name="T2" fmla="*/ 0 w 120"/>
              <a:gd name="T3" fmla="*/ 56 h 156"/>
              <a:gd name="T4" fmla="*/ 18 w 120"/>
              <a:gd name="T5" fmla="*/ 90 h 156"/>
              <a:gd name="T6" fmla="*/ 23 w 120"/>
              <a:gd name="T7" fmla="*/ 88 h 156"/>
              <a:gd name="T8" fmla="*/ 24 w 120"/>
              <a:gd name="T9" fmla="*/ 80 h 156"/>
              <a:gd name="T10" fmla="*/ 23 w 120"/>
              <a:gd name="T11" fmla="*/ 75 h 156"/>
              <a:gd name="T12" fmla="*/ 17 w 120"/>
              <a:gd name="T13" fmla="*/ 58 h 156"/>
              <a:gd name="T14" fmla="*/ 61 w 120"/>
              <a:gd name="T15" fmla="*/ 15 h 156"/>
              <a:gd name="T16" fmla="*/ 98 w 120"/>
              <a:gd name="T17" fmla="*/ 49 h 156"/>
              <a:gd name="T18" fmla="*/ 70 w 120"/>
              <a:gd name="T19" fmla="*/ 97 h 156"/>
              <a:gd name="T20" fmla="*/ 56 w 120"/>
              <a:gd name="T21" fmla="*/ 80 h 156"/>
              <a:gd name="T22" fmla="*/ 64 w 120"/>
              <a:gd name="T23" fmla="*/ 48 h 156"/>
              <a:gd name="T24" fmla="*/ 52 w 120"/>
              <a:gd name="T25" fmla="*/ 35 h 156"/>
              <a:gd name="T26" fmla="*/ 35 w 120"/>
              <a:gd name="T27" fmla="*/ 58 h 156"/>
              <a:gd name="T28" fmla="*/ 37 w 120"/>
              <a:gd name="T29" fmla="*/ 72 h 156"/>
              <a:gd name="T30" fmla="*/ 26 w 120"/>
              <a:gd name="T31" fmla="*/ 120 h 156"/>
              <a:gd name="T32" fmla="*/ 26 w 120"/>
              <a:gd name="T33" fmla="*/ 154 h 156"/>
              <a:gd name="T34" fmla="*/ 28 w 120"/>
              <a:gd name="T35" fmla="*/ 155 h 156"/>
              <a:gd name="T36" fmla="*/ 44 w 120"/>
              <a:gd name="T37" fmla="*/ 126 h 156"/>
              <a:gd name="T38" fmla="*/ 50 w 120"/>
              <a:gd name="T39" fmla="*/ 101 h 156"/>
              <a:gd name="T40" fmla="*/ 72 w 120"/>
              <a:gd name="T41" fmla="*/ 112 h 156"/>
              <a:gd name="T42" fmla="*/ 120 w 120"/>
              <a:gd name="T43" fmla="*/ 51 h 156"/>
              <a:gd name="T44" fmla="*/ 64 w 120"/>
              <a:gd name="T4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 h="156">
                <a:moveTo>
                  <a:pt x="64" y="0"/>
                </a:moveTo>
                <a:cubicBezTo>
                  <a:pt x="21" y="0"/>
                  <a:pt x="0" y="30"/>
                  <a:pt x="0" y="56"/>
                </a:cubicBezTo>
                <a:cubicBezTo>
                  <a:pt x="0" y="71"/>
                  <a:pt x="6" y="85"/>
                  <a:pt x="18" y="90"/>
                </a:cubicBezTo>
                <a:cubicBezTo>
                  <a:pt x="20" y="91"/>
                  <a:pt x="22" y="90"/>
                  <a:pt x="23" y="88"/>
                </a:cubicBezTo>
                <a:cubicBezTo>
                  <a:pt x="23" y="86"/>
                  <a:pt x="24" y="82"/>
                  <a:pt x="24" y="80"/>
                </a:cubicBezTo>
                <a:cubicBezTo>
                  <a:pt x="25" y="78"/>
                  <a:pt x="25" y="77"/>
                  <a:pt x="23" y="75"/>
                </a:cubicBezTo>
                <a:cubicBezTo>
                  <a:pt x="20" y="71"/>
                  <a:pt x="17" y="66"/>
                  <a:pt x="17" y="58"/>
                </a:cubicBezTo>
                <a:cubicBezTo>
                  <a:pt x="17" y="35"/>
                  <a:pt x="34" y="15"/>
                  <a:pt x="61" y="15"/>
                </a:cubicBezTo>
                <a:cubicBezTo>
                  <a:pt x="85" y="15"/>
                  <a:pt x="98" y="30"/>
                  <a:pt x="98" y="49"/>
                </a:cubicBezTo>
                <a:cubicBezTo>
                  <a:pt x="98" y="75"/>
                  <a:pt x="87" y="97"/>
                  <a:pt x="70" y="97"/>
                </a:cubicBezTo>
                <a:cubicBezTo>
                  <a:pt x="61" y="97"/>
                  <a:pt x="54" y="89"/>
                  <a:pt x="56" y="80"/>
                </a:cubicBezTo>
                <a:cubicBezTo>
                  <a:pt x="59" y="68"/>
                  <a:pt x="64" y="56"/>
                  <a:pt x="64" y="48"/>
                </a:cubicBezTo>
                <a:cubicBezTo>
                  <a:pt x="64" y="41"/>
                  <a:pt x="60" y="35"/>
                  <a:pt x="52" y="35"/>
                </a:cubicBezTo>
                <a:cubicBezTo>
                  <a:pt x="42" y="35"/>
                  <a:pt x="35" y="45"/>
                  <a:pt x="35" y="58"/>
                </a:cubicBezTo>
                <a:cubicBezTo>
                  <a:pt x="35" y="66"/>
                  <a:pt x="37" y="72"/>
                  <a:pt x="37" y="72"/>
                </a:cubicBezTo>
                <a:cubicBezTo>
                  <a:pt x="37" y="72"/>
                  <a:pt x="28" y="113"/>
                  <a:pt x="26" y="120"/>
                </a:cubicBezTo>
                <a:cubicBezTo>
                  <a:pt x="23" y="135"/>
                  <a:pt x="25" y="152"/>
                  <a:pt x="26" y="154"/>
                </a:cubicBezTo>
                <a:cubicBezTo>
                  <a:pt x="26" y="155"/>
                  <a:pt x="27" y="156"/>
                  <a:pt x="28" y="155"/>
                </a:cubicBezTo>
                <a:cubicBezTo>
                  <a:pt x="29" y="154"/>
                  <a:pt x="40" y="140"/>
                  <a:pt x="44" y="126"/>
                </a:cubicBezTo>
                <a:cubicBezTo>
                  <a:pt x="45" y="122"/>
                  <a:pt x="50" y="101"/>
                  <a:pt x="50" y="101"/>
                </a:cubicBezTo>
                <a:cubicBezTo>
                  <a:pt x="53" y="107"/>
                  <a:pt x="62" y="112"/>
                  <a:pt x="72" y="112"/>
                </a:cubicBezTo>
                <a:cubicBezTo>
                  <a:pt x="101" y="112"/>
                  <a:pt x="120" y="86"/>
                  <a:pt x="120" y="51"/>
                </a:cubicBezTo>
                <a:cubicBezTo>
                  <a:pt x="120" y="25"/>
                  <a:pt x="98" y="0"/>
                  <a:pt x="64"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0" name="Freeform 389"/>
          <p:cNvSpPr>
            <a:spLocks noEditPoints="1"/>
          </p:cNvSpPr>
          <p:nvPr/>
        </p:nvSpPr>
        <p:spPr bwMode="auto">
          <a:xfrm>
            <a:off x="1939152" y="1867524"/>
            <a:ext cx="304089" cy="306644"/>
          </a:xfrm>
          <a:custGeom>
            <a:avLst/>
            <a:gdLst>
              <a:gd name="T0" fmla="*/ 150 w 151"/>
              <a:gd name="T1" fmla="*/ 67 h 152"/>
              <a:gd name="T2" fmla="*/ 140 w 151"/>
              <a:gd name="T3" fmla="*/ 57 h 152"/>
              <a:gd name="T4" fmla="*/ 132 w 151"/>
              <a:gd name="T5" fmla="*/ 57 h 152"/>
              <a:gd name="T6" fmla="*/ 132 w 151"/>
              <a:gd name="T7" fmla="*/ 57 h 152"/>
              <a:gd name="T8" fmla="*/ 122 w 151"/>
              <a:gd name="T9" fmla="*/ 48 h 152"/>
              <a:gd name="T10" fmla="*/ 122 w 151"/>
              <a:gd name="T11" fmla="*/ 48 h 152"/>
              <a:gd name="T12" fmla="*/ 72 w 151"/>
              <a:gd name="T13" fmla="*/ 1 h 152"/>
              <a:gd name="T14" fmla="*/ 48 w 151"/>
              <a:gd name="T15" fmla="*/ 1 h 152"/>
              <a:gd name="T16" fmla="*/ 0 w 151"/>
              <a:gd name="T17" fmla="*/ 51 h 152"/>
              <a:gd name="T18" fmla="*/ 1 w 151"/>
              <a:gd name="T19" fmla="*/ 104 h 152"/>
              <a:gd name="T20" fmla="*/ 51 w 151"/>
              <a:gd name="T21" fmla="*/ 152 h 152"/>
              <a:gd name="T22" fmla="*/ 103 w 151"/>
              <a:gd name="T23" fmla="*/ 150 h 152"/>
              <a:gd name="T24" fmla="*/ 151 w 151"/>
              <a:gd name="T25" fmla="*/ 101 h 152"/>
              <a:gd name="T26" fmla="*/ 150 w 151"/>
              <a:gd name="T27" fmla="*/ 67 h 152"/>
              <a:gd name="T28" fmla="*/ 48 w 151"/>
              <a:gd name="T29" fmla="*/ 40 h 152"/>
              <a:gd name="T30" fmla="*/ 76 w 151"/>
              <a:gd name="T31" fmla="*/ 40 h 152"/>
              <a:gd name="T32" fmla="*/ 85 w 151"/>
              <a:gd name="T33" fmla="*/ 50 h 152"/>
              <a:gd name="T34" fmla="*/ 76 w 151"/>
              <a:gd name="T35" fmla="*/ 59 h 152"/>
              <a:gd name="T36" fmla="*/ 48 w 151"/>
              <a:gd name="T37" fmla="*/ 59 h 152"/>
              <a:gd name="T38" fmla="*/ 39 w 151"/>
              <a:gd name="T39" fmla="*/ 50 h 152"/>
              <a:gd name="T40" fmla="*/ 48 w 151"/>
              <a:gd name="T41" fmla="*/ 40 h 152"/>
              <a:gd name="T42" fmla="*/ 103 w 151"/>
              <a:gd name="T43" fmla="*/ 112 h 152"/>
              <a:gd name="T44" fmla="*/ 48 w 151"/>
              <a:gd name="T45" fmla="*/ 112 h 152"/>
              <a:gd name="T46" fmla="*/ 39 w 151"/>
              <a:gd name="T47" fmla="*/ 104 h 152"/>
              <a:gd name="T48" fmla="*/ 48 w 151"/>
              <a:gd name="T49" fmla="*/ 95 h 152"/>
              <a:gd name="T50" fmla="*/ 103 w 151"/>
              <a:gd name="T51" fmla="*/ 95 h 152"/>
              <a:gd name="T52" fmla="*/ 112 w 151"/>
              <a:gd name="T53" fmla="*/ 104 h 152"/>
              <a:gd name="T54" fmla="*/ 103 w 151"/>
              <a:gd name="T55"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1" h="152">
                <a:moveTo>
                  <a:pt x="150" y="67"/>
                </a:moveTo>
                <a:cubicBezTo>
                  <a:pt x="150" y="61"/>
                  <a:pt x="145" y="57"/>
                  <a:pt x="140" y="57"/>
                </a:cubicBezTo>
                <a:cubicBezTo>
                  <a:pt x="132" y="57"/>
                  <a:pt x="132" y="57"/>
                  <a:pt x="132" y="57"/>
                </a:cubicBezTo>
                <a:cubicBezTo>
                  <a:pt x="132" y="57"/>
                  <a:pt x="132" y="57"/>
                  <a:pt x="132" y="57"/>
                </a:cubicBezTo>
                <a:cubicBezTo>
                  <a:pt x="126" y="57"/>
                  <a:pt x="122" y="53"/>
                  <a:pt x="122" y="48"/>
                </a:cubicBezTo>
                <a:cubicBezTo>
                  <a:pt x="122" y="48"/>
                  <a:pt x="122" y="48"/>
                  <a:pt x="122" y="48"/>
                </a:cubicBezTo>
                <a:cubicBezTo>
                  <a:pt x="121" y="22"/>
                  <a:pt x="99" y="0"/>
                  <a:pt x="72" y="1"/>
                </a:cubicBezTo>
                <a:cubicBezTo>
                  <a:pt x="48" y="1"/>
                  <a:pt x="48" y="1"/>
                  <a:pt x="48" y="1"/>
                </a:cubicBezTo>
                <a:cubicBezTo>
                  <a:pt x="21" y="2"/>
                  <a:pt x="0" y="24"/>
                  <a:pt x="0" y="51"/>
                </a:cubicBezTo>
                <a:cubicBezTo>
                  <a:pt x="1" y="104"/>
                  <a:pt x="1" y="104"/>
                  <a:pt x="1" y="104"/>
                </a:cubicBezTo>
                <a:cubicBezTo>
                  <a:pt x="2" y="131"/>
                  <a:pt x="24" y="152"/>
                  <a:pt x="51" y="152"/>
                </a:cubicBezTo>
                <a:cubicBezTo>
                  <a:pt x="103" y="150"/>
                  <a:pt x="103" y="150"/>
                  <a:pt x="103" y="150"/>
                </a:cubicBezTo>
                <a:cubicBezTo>
                  <a:pt x="130" y="150"/>
                  <a:pt x="151" y="128"/>
                  <a:pt x="151" y="101"/>
                </a:cubicBezTo>
                <a:lnTo>
                  <a:pt x="150" y="67"/>
                </a:lnTo>
                <a:close/>
                <a:moveTo>
                  <a:pt x="48" y="40"/>
                </a:moveTo>
                <a:cubicBezTo>
                  <a:pt x="76" y="40"/>
                  <a:pt x="76" y="40"/>
                  <a:pt x="76" y="40"/>
                </a:cubicBezTo>
                <a:cubicBezTo>
                  <a:pt x="81" y="40"/>
                  <a:pt x="85" y="44"/>
                  <a:pt x="85" y="50"/>
                </a:cubicBezTo>
                <a:cubicBezTo>
                  <a:pt x="85" y="55"/>
                  <a:pt x="81" y="59"/>
                  <a:pt x="76" y="59"/>
                </a:cubicBezTo>
                <a:cubicBezTo>
                  <a:pt x="48" y="59"/>
                  <a:pt x="48" y="59"/>
                  <a:pt x="48" y="59"/>
                </a:cubicBezTo>
                <a:cubicBezTo>
                  <a:pt x="43" y="59"/>
                  <a:pt x="39" y="55"/>
                  <a:pt x="39" y="50"/>
                </a:cubicBezTo>
                <a:cubicBezTo>
                  <a:pt x="39" y="44"/>
                  <a:pt x="43" y="40"/>
                  <a:pt x="48" y="40"/>
                </a:cubicBezTo>
                <a:moveTo>
                  <a:pt x="103" y="112"/>
                </a:moveTo>
                <a:cubicBezTo>
                  <a:pt x="48" y="112"/>
                  <a:pt x="48" y="112"/>
                  <a:pt x="48" y="112"/>
                </a:cubicBezTo>
                <a:cubicBezTo>
                  <a:pt x="43" y="112"/>
                  <a:pt x="39" y="108"/>
                  <a:pt x="39" y="104"/>
                </a:cubicBezTo>
                <a:cubicBezTo>
                  <a:pt x="39" y="99"/>
                  <a:pt x="43" y="95"/>
                  <a:pt x="48" y="95"/>
                </a:cubicBezTo>
                <a:cubicBezTo>
                  <a:pt x="103" y="95"/>
                  <a:pt x="103" y="95"/>
                  <a:pt x="103" y="95"/>
                </a:cubicBezTo>
                <a:cubicBezTo>
                  <a:pt x="108" y="95"/>
                  <a:pt x="112" y="99"/>
                  <a:pt x="112" y="104"/>
                </a:cubicBezTo>
                <a:cubicBezTo>
                  <a:pt x="112" y="108"/>
                  <a:pt x="108" y="112"/>
                  <a:pt x="103" y="11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1" name="Oval 390"/>
          <p:cNvSpPr>
            <a:spLocks noChangeArrowheads="1"/>
          </p:cNvSpPr>
          <p:nvPr/>
        </p:nvSpPr>
        <p:spPr bwMode="auto">
          <a:xfrm>
            <a:off x="2532850" y="1928002"/>
            <a:ext cx="94549" cy="97104"/>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2" name="Rectangle 391"/>
          <p:cNvSpPr>
            <a:spLocks noChangeArrowheads="1"/>
          </p:cNvSpPr>
          <p:nvPr/>
        </p:nvSpPr>
        <p:spPr bwMode="auto">
          <a:xfrm>
            <a:off x="2545626" y="2034475"/>
            <a:ext cx="69847" cy="131176"/>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3" name="Freeform 392"/>
          <p:cNvSpPr>
            <a:spLocks/>
          </p:cNvSpPr>
          <p:nvPr/>
        </p:nvSpPr>
        <p:spPr bwMode="auto">
          <a:xfrm>
            <a:off x="2460447" y="1861562"/>
            <a:ext cx="237649" cy="195060"/>
          </a:xfrm>
          <a:custGeom>
            <a:avLst/>
            <a:gdLst>
              <a:gd name="T0" fmla="*/ 59 w 118"/>
              <a:gd name="T1" fmla="*/ 0 h 97"/>
              <a:gd name="T2" fmla="*/ 0 w 118"/>
              <a:gd name="T3" fmla="*/ 59 h 97"/>
              <a:gd name="T4" fmla="*/ 11 w 118"/>
              <a:gd name="T5" fmla="*/ 93 h 97"/>
              <a:gd name="T6" fmla="*/ 13 w 118"/>
              <a:gd name="T7" fmla="*/ 96 h 97"/>
              <a:gd name="T8" fmla="*/ 17 w 118"/>
              <a:gd name="T9" fmla="*/ 94 h 97"/>
              <a:gd name="T10" fmla="*/ 27 w 118"/>
              <a:gd name="T11" fmla="*/ 91 h 97"/>
              <a:gd name="T12" fmla="*/ 34 w 118"/>
              <a:gd name="T13" fmla="*/ 89 h 97"/>
              <a:gd name="T14" fmla="*/ 29 w 118"/>
              <a:gd name="T15" fmla="*/ 84 h 97"/>
              <a:gd name="T16" fmla="*/ 20 w 118"/>
              <a:gd name="T17" fmla="*/ 59 h 97"/>
              <a:gd name="T18" fmla="*/ 59 w 118"/>
              <a:gd name="T19" fmla="*/ 20 h 97"/>
              <a:gd name="T20" fmla="*/ 98 w 118"/>
              <a:gd name="T21" fmla="*/ 59 h 97"/>
              <a:gd name="T22" fmla="*/ 89 w 118"/>
              <a:gd name="T23" fmla="*/ 84 h 97"/>
              <a:gd name="T24" fmla="*/ 85 w 118"/>
              <a:gd name="T25" fmla="*/ 89 h 97"/>
              <a:gd name="T26" fmla="*/ 91 w 118"/>
              <a:gd name="T27" fmla="*/ 91 h 97"/>
              <a:gd name="T28" fmla="*/ 102 w 118"/>
              <a:gd name="T29" fmla="*/ 95 h 97"/>
              <a:gd name="T30" fmla="*/ 105 w 118"/>
              <a:gd name="T31" fmla="*/ 97 h 97"/>
              <a:gd name="T32" fmla="*/ 107 w 118"/>
              <a:gd name="T33" fmla="*/ 94 h 97"/>
              <a:gd name="T34" fmla="*/ 118 w 118"/>
              <a:gd name="T35" fmla="*/ 59 h 97"/>
              <a:gd name="T36" fmla="*/ 59 w 118"/>
              <a:gd name="T3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97">
                <a:moveTo>
                  <a:pt x="59" y="0"/>
                </a:moveTo>
                <a:cubicBezTo>
                  <a:pt x="27" y="0"/>
                  <a:pt x="0" y="26"/>
                  <a:pt x="0" y="59"/>
                </a:cubicBezTo>
                <a:cubicBezTo>
                  <a:pt x="0" y="71"/>
                  <a:pt x="4" y="83"/>
                  <a:pt x="11" y="93"/>
                </a:cubicBezTo>
                <a:cubicBezTo>
                  <a:pt x="13" y="96"/>
                  <a:pt x="13" y="96"/>
                  <a:pt x="13" y="96"/>
                </a:cubicBezTo>
                <a:cubicBezTo>
                  <a:pt x="17" y="94"/>
                  <a:pt x="17" y="94"/>
                  <a:pt x="17" y="94"/>
                </a:cubicBezTo>
                <a:cubicBezTo>
                  <a:pt x="20" y="93"/>
                  <a:pt x="24" y="92"/>
                  <a:pt x="27" y="91"/>
                </a:cubicBezTo>
                <a:cubicBezTo>
                  <a:pt x="34" y="89"/>
                  <a:pt x="34" y="89"/>
                  <a:pt x="34" y="89"/>
                </a:cubicBezTo>
                <a:cubicBezTo>
                  <a:pt x="29" y="84"/>
                  <a:pt x="29" y="84"/>
                  <a:pt x="29" y="84"/>
                </a:cubicBezTo>
                <a:cubicBezTo>
                  <a:pt x="24" y="77"/>
                  <a:pt x="20" y="68"/>
                  <a:pt x="20" y="59"/>
                </a:cubicBezTo>
                <a:cubicBezTo>
                  <a:pt x="20" y="37"/>
                  <a:pt x="38" y="20"/>
                  <a:pt x="59" y="20"/>
                </a:cubicBezTo>
                <a:cubicBezTo>
                  <a:pt x="81" y="20"/>
                  <a:pt x="98" y="37"/>
                  <a:pt x="98" y="59"/>
                </a:cubicBezTo>
                <a:cubicBezTo>
                  <a:pt x="98" y="68"/>
                  <a:pt x="95" y="77"/>
                  <a:pt x="89" y="84"/>
                </a:cubicBezTo>
                <a:cubicBezTo>
                  <a:pt x="85" y="89"/>
                  <a:pt x="85" y="89"/>
                  <a:pt x="85" y="89"/>
                </a:cubicBezTo>
                <a:cubicBezTo>
                  <a:pt x="91" y="91"/>
                  <a:pt x="91" y="91"/>
                  <a:pt x="91" y="91"/>
                </a:cubicBezTo>
                <a:cubicBezTo>
                  <a:pt x="95" y="92"/>
                  <a:pt x="98" y="94"/>
                  <a:pt x="102" y="95"/>
                </a:cubicBezTo>
                <a:cubicBezTo>
                  <a:pt x="105" y="97"/>
                  <a:pt x="105" y="97"/>
                  <a:pt x="105" y="97"/>
                </a:cubicBezTo>
                <a:cubicBezTo>
                  <a:pt x="107" y="94"/>
                  <a:pt x="107" y="94"/>
                  <a:pt x="107" y="94"/>
                </a:cubicBezTo>
                <a:cubicBezTo>
                  <a:pt x="114" y="84"/>
                  <a:pt x="118" y="71"/>
                  <a:pt x="118" y="59"/>
                </a:cubicBezTo>
                <a:cubicBezTo>
                  <a:pt x="118" y="26"/>
                  <a:pt x="92" y="0"/>
                  <a:pt x="59"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4" name="Freeform 393"/>
          <p:cNvSpPr>
            <a:spLocks/>
          </p:cNvSpPr>
          <p:nvPr/>
        </p:nvSpPr>
        <p:spPr bwMode="auto">
          <a:xfrm>
            <a:off x="4857381" y="1470591"/>
            <a:ext cx="78365" cy="179728"/>
          </a:xfrm>
          <a:custGeom>
            <a:avLst/>
            <a:gdLst>
              <a:gd name="T0" fmla="*/ 0 w 39"/>
              <a:gd name="T1" fmla="*/ 28 h 89"/>
              <a:gd name="T2" fmla="*/ 39 w 39"/>
              <a:gd name="T3" fmla="*/ 89 h 89"/>
              <a:gd name="T4" fmla="*/ 6 w 39"/>
              <a:gd name="T5" fmla="*/ 0 h 89"/>
              <a:gd name="T6" fmla="*/ 0 w 39"/>
              <a:gd name="T7" fmla="*/ 28 h 89"/>
            </a:gdLst>
            <a:ahLst/>
            <a:cxnLst>
              <a:cxn ang="0">
                <a:pos x="T0" y="T1"/>
              </a:cxn>
              <a:cxn ang="0">
                <a:pos x="T2" y="T3"/>
              </a:cxn>
              <a:cxn ang="0">
                <a:pos x="T4" y="T5"/>
              </a:cxn>
              <a:cxn ang="0">
                <a:pos x="T6" y="T7"/>
              </a:cxn>
            </a:cxnLst>
            <a:rect l="0" t="0" r="r" b="b"/>
            <a:pathLst>
              <a:path w="39" h="89">
                <a:moveTo>
                  <a:pt x="0" y="28"/>
                </a:moveTo>
                <a:cubicBezTo>
                  <a:pt x="0" y="55"/>
                  <a:pt x="16" y="78"/>
                  <a:pt x="39" y="89"/>
                </a:cubicBezTo>
                <a:cubicBezTo>
                  <a:pt x="6" y="0"/>
                  <a:pt x="6" y="0"/>
                  <a:pt x="6" y="0"/>
                </a:cubicBezTo>
                <a:cubicBezTo>
                  <a:pt x="3" y="8"/>
                  <a:pt x="0" y="18"/>
                  <a:pt x="0" y="2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5" name="Freeform 394"/>
          <p:cNvSpPr>
            <a:spLocks/>
          </p:cNvSpPr>
          <p:nvPr/>
        </p:nvSpPr>
        <p:spPr bwMode="auto">
          <a:xfrm>
            <a:off x="4881232" y="1387968"/>
            <a:ext cx="207837" cy="224021"/>
          </a:xfrm>
          <a:custGeom>
            <a:avLst/>
            <a:gdLst>
              <a:gd name="T0" fmla="*/ 103 w 103"/>
              <a:gd name="T1" fmla="*/ 65 h 111"/>
              <a:gd name="T2" fmla="*/ 98 w 103"/>
              <a:gd name="T3" fmla="*/ 46 h 111"/>
              <a:gd name="T4" fmla="*/ 91 w 103"/>
              <a:gd name="T5" fmla="*/ 30 h 111"/>
              <a:gd name="T6" fmla="*/ 103 w 103"/>
              <a:gd name="T7" fmla="*/ 18 h 111"/>
              <a:gd name="T8" fmla="*/ 103 w 103"/>
              <a:gd name="T9" fmla="*/ 18 h 111"/>
              <a:gd name="T10" fmla="*/ 57 w 103"/>
              <a:gd name="T11" fmla="*/ 0 h 111"/>
              <a:gd name="T12" fmla="*/ 0 w 103"/>
              <a:gd name="T13" fmla="*/ 31 h 111"/>
              <a:gd name="T14" fmla="*/ 4 w 103"/>
              <a:gd name="T15" fmla="*/ 31 h 111"/>
              <a:gd name="T16" fmla="*/ 23 w 103"/>
              <a:gd name="T17" fmla="*/ 30 h 111"/>
              <a:gd name="T18" fmla="*/ 23 w 103"/>
              <a:gd name="T19" fmla="*/ 36 h 111"/>
              <a:gd name="T20" fmla="*/ 15 w 103"/>
              <a:gd name="T21" fmla="*/ 36 h 111"/>
              <a:gd name="T22" fmla="*/ 40 w 103"/>
              <a:gd name="T23" fmla="*/ 111 h 111"/>
              <a:gd name="T24" fmla="*/ 55 w 103"/>
              <a:gd name="T25" fmla="*/ 66 h 111"/>
              <a:gd name="T26" fmla="*/ 45 w 103"/>
              <a:gd name="T27" fmla="*/ 36 h 111"/>
              <a:gd name="T28" fmla="*/ 37 w 103"/>
              <a:gd name="T29" fmla="*/ 36 h 111"/>
              <a:gd name="T30" fmla="*/ 38 w 103"/>
              <a:gd name="T31" fmla="*/ 30 h 111"/>
              <a:gd name="T32" fmla="*/ 56 w 103"/>
              <a:gd name="T33" fmla="*/ 31 h 111"/>
              <a:gd name="T34" fmla="*/ 74 w 103"/>
              <a:gd name="T35" fmla="*/ 30 h 111"/>
              <a:gd name="T36" fmla="*/ 74 w 103"/>
              <a:gd name="T37" fmla="*/ 36 h 111"/>
              <a:gd name="T38" fmla="*/ 67 w 103"/>
              <a:gd name="T39" fmla="*/ 36 h 111"/>
              <a:gd name="T40" fmla="*/ 91 w 103"/>
              <a:gd name="T41" fmla="*/ 110 h 111"/>
              <a:gd name="T42" fmla="*/ 98 w 103"/>
              <a:gd name="T43" fmla="*/ 88 h 111"/>
              <a:gd name="T44" fmla="*/ 103 w 103"/>
              <a:gd name="T45" fmla="*/ 6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3" h="111">
                <a:moveTo>
                  <a:pt x="103" y="65"/>
                </a:moveTo>
                <a:cubicBezTo>
                  <a:pt x="103" y="57"/>
                  <a:pt x="101" y="51"/>
                  <a:pt x="98" y="46"/>
                </a:cubicBezTo>
                <a:cubicBezTo>
                  <a:pt x="95" y="40"/>
                  <a:pt x="91" y="36"/>
                  <a:pt x="91" y="30"/>
                </a:cubicBezTo>
                <a:cubicBezTo>
                  <a:pt x="91" y="24"/>
                  <a:pt x="96" y="18"/>
                  <a:pt x="103" y="18"/>
                </a:cubicBezTo>
                <a:cubicBezTo>
                  <a:pt x="103" y="18"/>
                  <a:pt x="103" y="18"/>
                  <a:pt x="103" y="18"/>
                </a:cubicBezTo>
                <a:cubicBezTo>
                  <a:pt x="91" y="7"/>
                  <a:pt x="75" y="0"/>
                  <a:pt x="57" y="0"/>
                </a:cubicBezTo>
                <a:cubicBezTo>
                  <a:pt x="33" y="0"/>
                  <a:pt x="12" y="12"/>
                  <a:pt x="0" y="31"/>
                </a:cubicBezTo>
                <a:cubicBezTo>
                  <a:pt x="2" y="31"/>
                  <a:pt x="3" y="31"/>
                  <a:pt x="4" y="31"/>
                </a:cubicBezTo>
                <a:cubicBezTo>
                  <a:pt x="11" y="31"/>
                  <a:pt x="23" y="30"/>
                  <a:pt x="23" y="30"/>
                </a:cubicBezTo>
                <a:cubicBezTo>
                  <a:pt x="26" y="30"/>
                  <a:pt x="27" y="35"/>
                  <a:pt x="23" y="36"/>
                </a:cubicBezTo>
                <a:cubicBezTo>
                  <a:pt x="23" y="36"/>
                  <a:pt x="19" y="36"/>
                  <a:pt x="15" y="36"/>
                </a:cubicBezTo>
                <a:cubicBezTo>
                  <a:pt x="40" y="111"/>
                  <a:pt x="40" y="111"/>
                  <a:pt x="40" y="111"/>
                </a:cubicBezTo>
                <a:cubicBezTo>
                  <a:pt x="55" y="66"/>
                  <a:pt x="55" y="66"/>
                  <a:pt x="55" y="66"/>
                </a:cubicBezTo>
                <a:cubicBezTo>
                  <a:pt x="45" y="36"/>
                  <a:pt x="45" y="36"/>
                  <a:pt x="45" y="36"/>
                </a:cubicBezTo>
                <a:cubicBezTo>
                  <a:pt x="41" y="36"/>
                  <a:pt x="37" y="36"/>
                  <a:pt x="37" y="36"/>
                </a:cubicBezTo>
                <a:cubicBezTo>
                  <a:pt x="34" y="36"/>
                  <a:pt x="34" y="30"/>
                  <a:pt x="38" y="30"/>
                </a:cubicBezTo>
                <a:cubicBezTo>
                  <a:pt x="38" y="30"/>
                  <a:pt x="49" y="31"/>
                  <a:pt x="56" y="31"/>
                </a:cubicBezTo>
                <a:cubicBezTo>
                  <a:pt x="63" y="31"/>
                  <a:pt x="74" y="30"/>
                  <a:pt x="74" y="30"/>
                </a:cubicBezTo>
                <a:cubicBezTo>
                  <a:pt x="78" y="30"/>
                  <a:pt x="78" y="35"/>
                  <a:pt x="74" y="36"/>
                </a:cubicBezTo>
                <a:cubicBezTo>
                  <a:pt x="74" y="36"/>
                  <a:pt x="71" y="36"/>
                  <a:pt x="67" y="36"/>
                </a:cubicBezTo>
                <a:cubicBezTo>
                  <a:pt x="91" y="110"/>
                  <a:pt x="91" y="110"/>
                  <a:pt x="91" y="110"/>
                </a:cubicBezTo>
                <a:cubicBezTo>
                  <a:pt x="98" y="88"/>
                  <a:pt x="98" y="88"/>
                  <a:pt x="98" y="88"/>
                </a:cubicBezTo>
                <a:cubicBezTo>
                  <a:pt x="101" y="78"/>
                  <a:pt x="103" y="71"/>
                  <a:pt x="103" y="65"/>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6" name="Freeform 395"/>
          <p:cNvSpPr>
            <a:spLocks/>
          </p:cNvSpPr>
          <p:nvPr/>
        </p:nvSpPr>
        <p:spPr bwMode="auto">
          <a:xfrm>
            <a:off x="4957893" y="1539587"/>
            <a:ext cx="84327" cy="124361"/>
          </a:xfrm>
          <a:custGeom>
            <a:avLst/>
            <a:gdLst>
              <a:gd name="T0" fmla="*/ 20 w 42"/>
              <a:gd name="T1" fmla="*/ 0 h 62"/>
              <a:gd name="T2" fmla="*/ 0 w 42"/>
              <a:gd name="T3" fmla="*/ 60 h 62"/>
              <a:gd name="T4" fmla="*/ 19 w 42"/>
              <a:gd name="T5" fmla="*/ 62 h 62"/>
              <a:gd name="T6" fmla="*/ 42 w 42"/>
              <a:gd name="T7" fmla="*/ 59 h 62"/>
              <a:gd name="T8" fmla="*/ 41 w 42"/>
              <a:gd name="T9" fmla="*/ 58 h 62"/>
              <a:gd name="T10" fmla="*/ 20 w 42"/>
              <a:gd name="T11" fmla="*/ 0 h 62"/>
            </a:gdLst>
            <a:ahLst/>
            <a:cxnLst>
              <a:cxn ang="0">
                <a:pos x="T0" y="T1"/>
              </a:cxn>
              <a:cxn ang="0">
                <a:pos x="T2" y="T3"/>
              </a:cxn>
              <a:cxn ang="0">
                <a:pos x="T4" y="T5"/>
              </a:cxn>
              <a:cxn ang="0">
                <a:pos x="T6" y="T7"/>
              </a:cxn>
              <a:cxn ang="0">
                <a:pos x="T8" y="T9"/>
              </a:cxn>
              <a:cxn ang="0">
                <a:pos x="T10" y="T11"/>
              </a:cxn>
            </a:cxnLst>
            <a:rect l="0" t="0" r="r" b="b"/>
            <a:pathLst>
              <a:path w="42" h="62">
                <a:moveTo>
                  <a:pt x="20" y="0"/>
                </a:moveTo>
                <a:cubicBezTo>
                  <a:pt x="0" y="60"/>
                  <a:pt x="0" y="60"/>
                  <a:pt x="0" y="60"/>
                </a:cubicBezTo>
                <a:cubicBezTo>
                  <a:pt x="6" y="61"/>
                  <a:pt x="13" y="62"/>
                  <a:pt x="19" y="62"/>
                </a:cubicBezTo>
                <a:cubicBezTo>
                  <a:pt x="27" y="62"/>
                  <a:pt x="35" y="61"/>
                  <a:pt x="42" y="59"/>
                </a:cubicBezTo>
                <a:cubicBezTo>
                  <a:pt x="42" y="58"/>
                  <a:pt x="41" y="58"/>
                  <a:pt x="41" y="58"/>
                </a:cubicBezTo>
                <a:lnTo>
                  <a:pt x="20"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7" name="Freeform 396"/>
          <p:cNvSpPr>
            <a:spLocks/>
          </p:cNvSpPr>
          <p:nvPr/>
        </p:nvSpPr>
        <p:spPr bwMode="auto">
          <a:xfrm>
            <a:off x="5066922" y="1460369"/>
            <a:ext cx="68143" cy="185690"/>
          </a:xfrm>
          <a:custGeom>
            <a:avLst/>
            <a:gdLst>
              <a:gd name="T0" fmla="*/ 26 w 34"/>
              <a:gd name="T1" fmla="*/ 0 h 92"/>
              <a:gd name="T2" fmla="*/ 26 w 34"/>
              <a:gd name="T3" fmla="*/ 7 h 92"/>
              <a:gd name="T4" fmla="*/ 21 w 34"/>
              <a:gd name="T5" fmla="*/ 31 h 92"/>
              <a:gd name="T6" fmla="*/ 0 w 34"/>
              <a:gd name="T7" fmla="*/ 92 h 92"/>
              <a:gd name="T8" fmla="*/ 34 w 34"/>
              <a:gd name="T9" fmla="*/ 33 h 92"/>
              <a:gd name="T10" fmla="*/ 26 w 34"/>
              <a:gd name="T11" fmla="*/ 0 h 92"/>
            </a:gdLst>
            <a:ahLst/>
            <a:cxnLst>
              <a:cxn ang="0">
                <a:pos x="T0" y="T1"/>
              </a:cxn>
              <a:cxn ang="0">
                <a:pos x="T2" y="T3"/>
              </a:cxn>
              <a:cxn ang="0">
                <a:pos x="T4" y="T5"/>
              </a:cxn>
              <a:cxn ang="0">
                <a:pos x="T6" y="T7"/>
              </a:cxn>
              <a:cxn ang="0">
                <a:pos x="T8" y="T9"/>
              </a:cxn>
              <a:cxn ang="0">
                <a:pos x="T10" y="T11"/>
              </a:cxn>
            </a:cxnLst>
            <a:rect l="0" t="0" r="r" b="b"/>
            <a:pathLst>
              <a:path w="34" h="92">
                <a:moveTo>
                  <a:pt x="26" y="0"/>
                </a:moveTo>
                <a:cubicBezTo>
                  <a:pt x="26" y="2"/>
                  <a:pt x="26" y="4"/>
                  <a:pt x="26" y="7"/>
                </a:cubicBezTo>
                <a:cubicBezTo>
                  <a:pt x="26" y="14"/>
                  <a:pt x="25" y="21"/>
                  <a:pt x="21" y="31"/>
                </a:cubicBezTo>
                <a:cubicBezTo>
                  <a:pt x="0" y="92"/>
                  <a:pt x="0" y="92"/>
                  <a:pt x="0" y="92"/>
                </a:cubicBezTo>
                <a:cubicBezTo>
                  <a:pt x="20" y="80"/>
                  <a:pt x="34" y="58"/>
                  <a:pt x="34" y="33"/>
                </a:cubicBezTo>
                <a:cubicBezTo>
                  <a:pt x="34" y="21"/>
                  <a:pt x="31" y="9"/>
                  <a:pt x="26"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8" name="Freeform 397"/>
          <p:cNvSpPr>
            <a:spLocks noEditPoints="1"/>
          </p:cNvSpPr>
          <p:nvPr/>
        </p:nvSpPr>
        <p:spPr bwMode="auto">
          <a:xfrm>
            <a:off x="4835234" y="1365821"/>
            <a:ext cx="321976" cy="322828"/>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6 h 160"/>
              <a:gd name="T12" fmla="*/ 4 w 160"/>
              <a:gd name="T13" fmla="*/ 80 h 160"/>
              <a:gd name="T14" fmla="*/ 80 w 160"/>
              <a:gd name="T15" fmla="*/ 3 h 160"/>
              <a:gd name="T16" fmla="*/ 157 w 160"/>
              <a:gd name="T17" fmla="*/ 80 h 160"/>
              <a:gd name="T18" fmla="*/ 80 w 160"/>
              <a:gd name="T19" fmla="*/ 1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0"/>
                </a:moveTo>
                <a:cubicBezTo>
                  <a:pt x="36" y="0"/>
                  <a:pt x="0" y="35"/>
                  <a:pt x="0" y="80"/>
                </a:cubicBezTo>
                <a:cubicBezTo>
                  <a:pt x="0" y="124"/>
                  <a:pt x="36" y="160"/>
                  <a:pt x="80" y="160"/>
                </a:cubicBezTo>
                <a:cubicBezTo>
                  <a:pt x="125" y="160"/>
                  <a:pt x="160" y="124"/>
                  <a:pt x="160" y="80"/>
                </a:cubicBezTo>
                <a:cubicBezTo>
                  <a:pt x="160" y="35"/>
                  <a:pt x="125" y="0"/>
                  <a:pt x="80" y="0"/>
                </a:cubicBezTo>
                <a:moveTo>
                  <a:pt x="80" y="156"/>
                </a:moveTo>
                <a:cubicBezTo>
                  <a:pt x="38" y="156"/>
                  <a:pt x="4" y="122"/>
                  <a:pt x="4" y="80"/>
                </a:cubicBezTo>
                <a:cubicBezTo>
                  <a:pt x="4" y="38"/>
                  <a:pt x="38" y="3"/>
                  <a:pt x="80" y="3"/>
                </a:cubicBezTo>
                <a:cubicBezTo>
                  <a:pt x="122" y="3"/>
                  <a:pt x="157" y="38"/>
                  <a:pt x="157" y="80"/>
                </a:cubicBezTo>
                <a:cubicBezTo>
                  <a:pt x="157" y="122"/>
                  <a:pt x="122" y="156"/>
                  <a:pt x="80" y="15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49" name="Freeform 398"/>
          <p:cNvSpPr>
            <a:spLocks/>
          </p:cNvSpPr>
          <p:nvPr/>
        </p:nvSpPr>
        <p:spPr bwMode="auto">
          <a:xfrm>
            <a:off x="5342050" y="1470591"/>
            <a:ext cx="79217" cy="179728"/>
          </a:xfrm>
          <a:custGeom>
            <a:avLst/>
            <a:gdLst>
              <a:gd name="T0" fmla="*/ 0 w 39"/>
              <a:gd name="T1" fmla="*/ 28 h 89"/>
              <a:gd name="T2" fmla="*/ 39 w 39"/>
              <a:gd name="T3" fmla="*/ 89 h 89"/>
              <a:gd name="T4" fmla="*/ 6 w 39"/>
              <a:gd name="T5" fmla="*/ 0 h 89"/>
              <a:gd name="T6" fmla="*/ 0 w 39"/>
              <a:gd name="T7" fmla="*/ 28 h 89"/>
            </a:gdLst>
            <a:ahLst/>
            <a:cxnLst>
              <a:cxn ang="0">
                <a:pos x="T0" y="T1"/>
              </a:cxn>
              <a:cxn ang="0">
                <a:pos x="T2" y="T3"/>
              </a:cxn>
              <a:cxn ang="0">
                <a:pos x="T4" y="T5"/>
              </a:cxn>
              <a:cxn ang="0">
                <a:pos x="T6" y="T7"/>
              </a:cxn>
            </a:cxnLst>
            <a:rect l="0" t="0" r="r" b="b"/>
            <a:pathLst>
              <a:path w="39" h="89">
                <a:moveTo>
                  <a:pt x="0" y="28"/>
                </a:moveTo>
                <a:cubicBezTo>
                  <a:pt x="0" y="55"/>
                  <a:pt x="16" y="78"/>
                  <a:pt x="39" y="89"/>
                </a:cubicBezTo>
                <a:cubicBezTo>
                  <a:pt x="6" y="0"/>
                  <a:pt x="6" y="0"/>
                  <a:pt x="6" y="0"/>
                </a:cubicBezTo>
                <a:cubicBezTo>
                  <a:pt x="2" y="8"/>
                  <a:pt x="0" y="18"/>
                  <a:pt x="0" y="2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0" name="Freeform 399"/>
          <p:cNvSpPr>
            <a:spLocks/>
          </p:cNvSpPr>
          <p:nvPr/>
        </p:nvSpPr>
        <p:spPr bwMode="auto">
          <a:xfrm>
            <a:off x="5364196" y="1387968"/>
            <a:ext cx="207837" cy="224021"/>
          </a:xfrm>
          <a:custGeom>
            <a:avLst/>
            <a:gdLst>
              <a:gd name="T0" fmla="*/ 103 w 103"/>
              <a:gd name="T1" fmla="*/ 65 h 111"/>
              <a:gd name="T2" fmla="*/ 98 w 103"/>
              <a:gd name="T3" fmla="*/ 46 h 111"/>
              <a:gd name="T4" fmla="*/ 91 w 103"/>
              <a:gd name="T5" fmla="*/ 30 h 111"/>
              <a:gd name="T6" fmla="*/ 103 w 103"/>
              <a:gd name="T7" fmla="*/ 18 h 111"/>
              <a:gd name="T8" fmla="*/ 103 w 103"/>
              <a:gd name="T9" fmla="*/ 18 h 111"/>
              <a:gd name="T10" fmla="*/ 57 w 103"/>
              <a:gd name="T11" fmla="*/ 0 h 111"/>
              <a:gd name="T12" fmla="*/ 0 w 103"/>
              <a:gd name="T13" fmla="*/ 31 h 111"/>
              <a:gd name="T14" fmla="*/ 5 w 103"/>
              <a:gd name="T15" fmla="*/ 31 h 111"/>
              <a:gd name="T16" fmla="*/ 23 w 103"/>
              <a:gd name="T17" fmla="*/ 30 h 111"/>
              <a:gd name="T18" fmla="*/ 23 w 103"/>
              <a:gd name="T19" fmla="*/ 36 h 111"/>
              <a:gd name="T20" fmla="*/ 16 w 103"/>
              <a:gd name="T21" fmla="*/ 36 h 111"/>
              <a:gd name="T22" fmla="*/ 40 w 103"/>
              <a:gd name="T23" fmla="*/ 111 h 111"/>
              <a:gd name="T24" fmla="*/ 55 w 103"/>
              <a:gd name="T25" fmla="*/ 66 h 111"/>
              <a:gd name="T26" fmla="*/ 45 w 103"/>
              <a:gd name="T27" fmla="*/ 36 h 111"/>
              <a:gd name="T28" fmla="*/ 38 w 103"/>
              <a:gd name="T29" fmla="*/ 36 h 111"/>
              <a:gd name="T30" fmla="*/ 38 w 103"/>
              <a:gd name="T31" fmla="*/ 30 h 111"/>
              <a:gd name="T32" fmla="*/ 56 w 103"/>
              <a:gd name="T33" fmla="*/ 31 h 111"/>
              <a:gd name="T34" fmla="*/ 74 w 103"/>
              <a:gd name="T35" fmla="*/ 30 h 111"/>
              <a:gd name="T36" fmla="*/ 75 w 103"/>
              <a:gd name="T37" fmla="*/ 36 h 111"/>
              <a:gd name="T38" fmla="*/ 67 w 103"/>
              <a:gd name="T39" fmla="*/ 36 h 111"/>
              <a:gd name="T40" fmla="*/ 92 w 103"/>
              <a:gd name="T41" fmla="*/ 110 h 111"/>
              <a:gd name="T42" fmla="*/ 98 w 103"/>
              <a:gd name="T43" fmla="*/ 88 h 111"/>
              <a:gd name="T44" fmla="*/ 103 w 103"/>
              <a:gd name="T45" fmla="*/ 6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3" h="111">
                <a:moveTo>
                  <a:pt x="103" y="65"/>
                </a:moveTo>
                <a:cubicBezTo>
                  <a:pt x="103" y="57"/>
                  <a:pt x="101" y="51"/>
                  <a:pt x="98" y="46"/>
                </a:cubicBezTo>
                <a:cubicBezTo>
                  <a:pt x="95" y="40"/>
                  <a:pt x="91" y="36"/>
                  <a:pt x="91" y="30"/>
                </a:cubicBezTo>
                <a:cubicBezTo>
                  <a:pt x="91" y="24"/>
                  <a:pt x="96" y="18"/>
                  <a:pt x="103" y="18"/>
                </a:cubicBezTo>
                <a:cubicBezTo>
                  <a:pt x="103" y="18"/>
                  <a:pt x="103" y="18"/>
                  <a:pt x="103" y="18"/>
                </a:cubicBezTo>
                <a:cubicBezTo>
                  <a:pt x="92" y="7"/>
                  <a:pt x="75" y="0"/>
                  <a:pt x="57" y="0"/>
                </a:cubicBezTo>
                <a:cubicBezTo>
                  <a:pt x="33" y="0"/>
                  <a:pt x="12" y="12"/>
                  <a:pt x="0" y="31"/>
                </a:cubicBezTo>
                <a:cubicBezTo>
                  <a:pt x="2" y="31"/>
                  <a:pt x="3" y="31"/>
                  <a:pt x="5" y="31"/>
                </a:cubicBezTo>
                <a:cubicBezTo>
                  <a:pt x="11" y="31"/>
                  <a:pt x="23" y="30"/>
                  <a:pt x="23" y="30"/>
                </a:cubicBezTo>
                <a:cubicBezTo>
                  <a:pt x="27" y="30"/>
                  <a:pt x="27" y="35"/>
                  <a:pt x="23" y="36"/>
                </a:cubicBezTo>
                <a:cubicBezTo>
                  <a:pt x="23" y="36"/>
                  <a:pt x="20" y="36"/>
                  <a:pt x="16" y="36"/>
                </a:cubicBezTo>
                <a:cubicBezTo>
                  <a:pt x="40" y="111"/>
                  <a:pt x="40" y="111"/>
                  <a:pt x="40" y="111"/>
                </a:cubicBezTo>
                <a:cubicBezTo>
                  <a:pt x="55" y="66"/>
                  <a:pt x="55" y="66"/>
                  <a:pt x="55" y="66"/>
                </a:cubicBezTo>
                <a:cubicBezTo>
                  <a:pt x="45" y="36"/>
                  <a:pt x="45" y="36"/>
                  <a:pt x="45" y="36"/>
                </a:cubicBezTo>
                <a:cubicBezTo>
                  <a:pt x="41" y="36"/>
                  <a:pt x="38" y="36"/>
                  <a:pt x="38" y="36"/>
                </a:cubicBezTo>
                <a:cubicBezTo>
                  <a:pt x="34" y="36"/>
                  <a:pt x="34" y="30"/>
                  <a:pt x="38" y="30"/>
                </a:cubicBezTo>
                <a:cubicBezTo>
                  <a:pt x="38" y="30"/>
                  <a:pt x="49" y="31"/>
                  <a:pt x="56" y="31"/>
                </a:cubicBezTo>
                <a:cubicBezTo>
                  <a:pt x="63" y="31"/>
                  <a:pt x="74" y="30"/>
                  <a:pt x="74" y="30"/>
                </a:cubicBezTo>
                <a:cubicBezTo>
                  <a:pt x="78" y="30"/>
                  <a:pt x="78" y="35"/>
                  <a:pt x="75" y="36"/>
                </a:cubicBezTo>
                <a:cubicBezTo>
                  <a:pt x="75" y="36"/>
                  <a:pt x="71" y="36"/>
                  <a:pt x="67" y="36"/>
                </a:cubicBezTo>
                <a:cubicBezTo>
                  <a:pt x="92" y="110"/>
                  <a:pt x="92" y="110"/>
                  <a:pt x="92" y="110"/>
                </a:cubicBezTo>
                <a:cubicBezTo>
                  <a:pt x="98" y="88"/>
                  <a:pt x="98" y="88"/>
                  <a:pt x="98" y="88"/>
                </a:cubicBezTo>
                <a:cubicBezTo>
                  <a:pt x="102" y="78"/>
                  <a:pt x="103" y="71"/>
                  <a:pt x="103" y="65"/>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1" name="Freeform 400"/>
          <p:cNvSpPr>
            <a:spLocks/>
          </p:cNvSpPr>
          <p:nvPr/>
        </p:nvSpPr>
        <p:spPr bwMode="auto">
          <a:xfrm>
            <a:off x="5440857" y="1539587"/>
            <a:ext cx="85179" cy="124361"/>
          </a:xfrm>
          <a:custGeom>
            <a:avLst/>
            <a:gdLst>
              <a:gd name="T0" fmla="*/ 21 w 42"/>
              <a:gd name="T1" fmla="*/ 0 h 62"/>
              <a:gd name="T2" fmla="*/ 0 w 42"/>
              <a:gd name="T3" fmla="*/ 60 h 62"/>
              <a:gd name="T4" fmla="*/ 19 w 42"/>
              <a:gd name="T5" fmla="*/ 62 h 62"/>
              <a:gd name="T6" fmla="*/ 42 w 42"/>
              <a:gd name="T7" fmla="*/ 59 h 62"/>
              <a:gd name="T8" fmla="*/ 42 w 42"/>
              <a:gd name="T9" fmla="*/ 58 h 62"/>
              <a:gd name="T10" fmla="*/ 21 w 42"/>
              <a:gd name="T11" fmla="*/ 0 h 62"/>
            </a:gdLst>
            <a:ahLst/>
            <a:cxnLst>
              <a:cxn ang="0">
                <a:pos x="T0" y="T1"/>
              </a:cxn>
              <a:cxn ang="0">
                <a:pos x="T2" y="T3"/>
              </a:cxn>
              <a:cxn ang="0">
                <a:pos x="T4" y="T5"/>
              </a:cxn>
              <a:cxn ang="0">
                <a:pos x="T6" y="T7"/>
              </a:cxn>
              <a:cxn ang="0">
                <a:pos x="T8" y="T9"/>
              </a:cxn>
              <a:cxn ang="0">
                <a:pos x="T10" y="T11"/>
              </a:cxn>
            </a:cxnLst>
            <a:rect l="0" t="0" r="r" b="b"/>
            <a:pathLst>
              <a:path w="42" h="62">
                <a:moveTo>
                  <a:pt x="21" y="0"/>
                </a:moveTo>
                <a:cubicBezTo>
                  <a:pt x="0" y="60"/>
                  <a:pt x="0" y="60"/>
                  <a:pt x="0" y="60"/>
                </a:cubicBezTo>
                <a:cubicBezTo>
                  <a:pt x="6" y="61"/>
                  <a:pt x="13" y="62"/>
                  <a:pt x="19" y="62"/>
                </a:cubicBezTo>
                <a:cubicBezTo>
                  <a:pt x="27" y="62"/>
                  <a:pt x="35" y="61"/>
                  <a:pt x="42" y="59"/>
                </a:cubicBezTo>
                <a:cubicBezTo>
                  <a:pt x="42" y="58"/>
                  <a:pt x="42" y="58"/>
                  <a:pt x="42" y="58"/>
                </a:cubicBezTo>
                <a:lnTo>
                  <a:pt x="21"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2" name="Freeform 401"/>
          <p:cNvSpPr>
            <a:spLocks/>
          </p:cNvSpPr>
          <p:nvPr/>
        </p:nvSpPr>
        <p:spPr bwMode="auto">
          <a:xfrm>
            <a:off x="5549886" y="1460369"/>
            <a:ext cx="68143" cy="185690"/>
          </a:xfrm>
          <a:custGeom>
            <a:avLst/>
            <a:gdLst>
              <a:gd name="T0" fmla="*/ 26 w 34"/>
              <a:gd name="T1" fmla="*/ 0 h 92"/>
              <a:gd name="T2" fmla="*/ 26 w 34"/>
              <a:gd name="T3" fmla="*/ 7 h 92"/>
              <a:gd name="T4" fmla="*/ 21 w 34"/>
              <a:gd name="T5" fmla="*/ 31 h 92"/>
              <a:gd name="T6" fmla="*/ 0 w 34"/>
              <a:gd name="T7" fmla="*/ 92 h 92"/>
              <a:gd name="T8" fmla="*/ 34 w 34"/>
              <a:gd name="T9" fmla="*/ 33 h 92"/>
              <a:gd name="T10" fmla="*/ 26 w 34"/>
              <a:gd name="T11" fmla="*/ 0 h 92"/>
            </a:gdLst>
            <a:ahLst/>
            <a:cxnLst>
              <a:cxn ang="0">
                <a:pos x="T0" y="T1"/>
              </a:cxn>
              <a:cxn ang="0">
                <a:pos x="T2" y="T3"/>
              </a:cxn>
              <a:cxn ang="0">
                <a:pos x="T4" y="T5"/>
              </a:cxn>
              <a:cxn ang="0">
                <a:pos x="T6" y="T7"/>
              </a:cxn>
              <a:cxn ang="0">
                <a:pos x="T8" y="T9"/>
              </a:cxn>
              <a:cxn ang="0">
                <a:pos x="T10" y="T11"/>
              </a:cxn>
            </a:cxnLst>
            <a:rect l="0" t="0" r="r" b="b"/>
            <a:pathLst>
              <a:path w="34" h="92">
                <a:moveTo>
                  <a:pt x="26" y="0"/>
                </a:moveTo>
                <a:cubicBezTo>
                  <a:pt x="26" y="2"/>
                  <a:pt x="26" y="4"/>
                  <a:pt x="26" y="7"/>
                </a:cubicBezTo>
                <a:cubicBezTo>
                  <a:pt x="26" y="14"/>
                  <a:pt x="25" y="21"/>
                  <a:pt x="21" y="31"/>
                </a:cubicBezTo>
                <a:cubicBezTo>
                  <a:pt x="0" y="92"/>
                  <a:pt x="0" y="92"/>
                  <a:pt x="0" y="92"/>
                </a:cubicBezTo>
                <a:cubicBezTo>
                  <a:pt x="20" y="80"/>
                  <a:pt x="34" y="58"/>
                  <a:pt x="34" y="33"/>
                </a:cubicBezTo>
                <a:cubicBezTo>
                  <a:pt x="34" y="21"/>
                  <a:pt x="31" y="9"/>
                  <a:pt x="26"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3" name="Freeform 402"/>
          <p:cNvSpPr>
            <a:spLocks noEditPoints="1"/>
          </p:cNvSpPr>
          <p:nvPr/>
        </p:nvSpPr>
        <p:spPr bwMode="auto">
          <a:xfrm>
            <a:off x="5319902" y="1365821"/>
            <a:ext cx="322828" cy="322828"/>
          </a:xfrm>
          <a:custGeom>
            <a:avLst/>
            <a:gdLst>
              <a:gd name="T0" fmla="*/ 79 w 160"/>
              <a:gd name="T1" fmla="*/ 0 h 160"/>
              <a:gd name="T2" fmla="*/ 0 w 160"/>
              <a:gd name="T3" fmla="*/ 80 h 160"/>
              <a:gd name="T4" fmla="*/ 79 w 160"/>
              <a:gd name="T5" fmla="*/ 160 h 160"/>
              <a:gd name="T6" fmla="*/ 160 w 160"/>
              <a:gd name="T7" fmla="*/ 80 h 160"/>
              <a:gd name="T8" fmla="*/ 79 w 160"/>
              <a:gd name="T9" fmla="*/ 0 h 160"/>
              <a:gd name="T10" fmla="*/ 79 w 160"/>
              <a:gd name="T11" fmla="*/ 156 h 160"/>
              <a:gd name="T12" fmla="*/ 3 w 160"/>
              <a:gd name="T13" fmla="*/ 80 h 160"/>
              <a:gd name="T14" fmla="*/ 79 w 160"/>
              <a:gd name="T15" fmla="*/ 3 h 160"/>
              <a:gd name="T16" fmla="*/ 156 w 160"/>
              <a:gd name="T17" fmla="*/ 80 h 160"/>
              <a:gd name="T18" fmla="*/ 79 w 160"/>
              <a:gd name="T19" fmla="*/ 1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79" y="0"/>
                </a:moveTo>
                <a:cubicBezTo>
                  <a:pt x="35" y="0"/>
                  <a:pt x="0" y="35"/>
                  <a:pt x="0" y="80"/>
                </a:cubicBezTo>
                <a:cubicBezTo>
                  <a:pt x="0" y="124"/>
                  <a:pt x="35" y="160"/>
                  <a:pt x="79" y="160"/>
                </a:cubicBezTo>
                <a:cubicBezTo>
                  <a:pt x="124" y="160"/>
                  <a:pt x="160" y="124"/>
                  <a:pt x="160" y="80"/>
                </a:cubicBezTo>
                <a:cubicBezTo>
                  <a:pt x="160" y="35"/>
                  <a:pt x="124" y="0"/>
                  <a:pt x="79" y="0"/>
                </a:cubicBezTo>
                <a:moveTo>
                  <a:pt x="79" y="156"/>
                </a:moveTo>
                <a:cubicBezTo>
                  <a:pt x="37" y="156"/>
                  <a:pt x="3" y="122"/>
                  <a:pt x="3" y="80"/>
                </a:cubicBezTo>
                <a:cubicBezTo>
                  <a:pt x="3" y="38"/>
                  <a:pt x="37" y="3"/>
                  <a:pt x="79" y="3"/>
                </a:cubicBezTo>
                <a:cubicBezTo>
                  <a:pt x="122" y="3"/>
                  <a:pt x="156" y="38"/>
                  <a:pt x="156" y="80"/>
                </a:cubicBezTo>
                <a:cubicBezTo>
                  <a:pt x="156" y="122"/>
                  <a:pt x="122" y="156"/>
                  <a:pt x="79" y="15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4" name="Freeform 403"/>
          <p:cNvSpPr>
            <a:spLocks/>
          </p:cNvSpPr>
          <p:nvPr/>
        </p:nvSpPr>
        <p:spPr bwMode="auto">
          <a:xfrm>
            <a:off x="4857381" y="1962073"/>
            <a:ext cx="78365" cy="179728"/>
          </a:xfrm>
          <a:custGeom>
            <a:avLst/>
            <a:gdLst>
              <a:gd name="T0" fmla="*/ 0 w 39"/>
              <a:gd name="T1" fmla="*/ 28 h 89"/>
              <a:gd name="T2" fmla="*/ 39 w 39"/>
              <a:gd name="T3" fmla="*/ 89 h 89"/>
              <a:gd name="T4" fmla="*/ 6 w 39"/>
              <a:gd name="T5" fmla="*/ 0 h 89"/>
              <a:gd name="T6" fmla="*/ 0 w 39"/>
              <a:gd name="T7" fmla="*/ 28 h 89"/>
            </a:gdLst>
            <a:ahLst/>
            <a:cxnLst>
              <a:cxn ang="0">
                <a:pos x="T0" y="T1"/>
              </a:cxn>
              <a:cxn ang="0">
                <a:pos x="T2" y="T3"/>
              </a:cxn>
              <a:cxn ang="0">
                <a:pos x="T4" y="T5"/>
              </a:cxn>
              <a:cxn ang="0">
                <a:pos x="T6" y="T7"/>
              </a:cxn>
            </a:cxnLst>
            <a:rect l="0" t="0" r="r" b="b"/>
            <a:pathLst>
              <a:path w="39" h="89">
                <a:moveTo>
                  <a:pt x="0" y="28"/>
                </a:moveTo>
                <a:cubicBezTo>
                  <a:pt x="0" y="55"/>
                  <a:pt x="16" y="78"/>
                  <a:pt x="39" y="89"/>
                </a:cubicBezTo>
                <a:cubicBezTo>
                  <a:pt x="6" y="0"/>
                  <a:pt x="6" y="0"/>
                  <a:pt x="6" y="0"/>
                </a:cubicBezTo>
                <a:cubicBezTo>
                  <a:pt x="3" y="8"/>
                  <a:pt x="0" y="18"/>
                  <a:pt x="0" y="28"/>
                </a:cubicBezTo>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5" name="Freeform 404"/>
          <p:cNvSpPr>
            <a:spLocks/>
          </p:cNvSpPr>
          <p:nvPr/>
        </p:nvSpPr>
        <p:spPr bwMode="auto">
          <a:xfrm>
            <a:off x="4881232" y="1879450"/>
            <a:ext cx="207837" cy="224021"/>
          </a:xfrm>
          <a:custGeom>
            <a:avLst/>
            <a:gdLst>
              <a:gd name="T0" fmla="*/ 103 w 103"/>
              <a:gd name="T1" fmla="*/ 65 h 111"/>
              <a:gd name="T2" fmla="*/ 98 w 103"/>
              <a:gd name="T3" fmla="*/ 46 h 111"/>
              <a:gd name="T4" fmla="*/ 91 w 103"/>
              <a:gd name="T5" fmla="*/ 30 h 111"/>
              <a:gd name="T6" fmla="*/ 103 w 103"/>
              <a:gd name="T7" fmla="*/ 18 h 111"/>
              <a:gd name="T8" fmla="*/ 103 w 103"/>
              <a:gd name="T9" fmla="*/ 18 h 111"/>
              <a:gd name="T10" fmla="*/ 57 w 103"/>
              <a:gd name="T11" fmla="*/ 0 h 111"/>
              <a:gd name="T12" fmla="*/ 0 w 103"/>
              <a:gd name="T13" fmla="*/ 31 h 111"/>
              <a:gd name="T14" fmla="*/ 4 w 103"/>
              <a:gd name="T15" fmla="*/ 31 h 111"/>
              <a:gd name="T16" fmla="*/ 23 w 103"/>
              <a:gd name="T17" fmla="*/ 30 h 111"/>
              <a:gd name="T18" fmla="*/ 23 w 103"/>
              <a:gd name="T19" fmla="*/ 36 h 111"/>
              <a:gd name="T20" fmla="*/ 15 w 103"/>
              <a:gd name="T21" fmla="*/ 36 h 111"/>
              <a:gd name="T22" fmla="*/ 40 w 103"/>
              <a:gd name="T23" fmla="*/ 111 h 111"/>
              <a:gd name="T24" fmla="*/ 55 w 103"/>
              <a:gd name="T25" fmla="*/ 66 h 111"/>
              <a:gd name="T26" fmla="*/ 45 w 103"/>
              <a:gd name="T27" fmla="*/ 36 h 111"/>
              <a:gd name="T28" fmla="*/ 37 w 103"/>
              <a:gd name="T29" fmla="*/ 36 h 111"/>
              <a:gd name="T30" fmla="*/ 38 w 103"/>
              <a:gd name="T31" fmla="*/ 30 h 111"/>
              <a:gd name="T32" fmla="*/ 56 w 103"/>
              <a:gd name="T33" fmla="*/ 31 h 111"/>
              <a:gd name="T34" fmla="*/ 74 w 103"/>
              <a:gd name="T35" fmla="*/ 30 h 111"/>
              <a:gd name="T36" fmla="*/ 74 w 103"/>
              <a:gd name="T37" fmla="*/ 36 h 111"/>
              <a:gd name="T38" fmla="*/ 67 w 103"/>
              <a:gd name="T39" fmla="*/ 36 h 111"/>
              <a:gd name="T40" fmla="*/ 91 w 103"/>
              <a:gd name="T41" fmla="*/ 110 h 111"/>
              <a:gd name="T42" fmla="*/ 98 w 103"/>
              <a:gd name="T43" fmla="*/ 88 h 111"/>
              <a:gd name="T44" fmla="*/ 103 w 103"/>
              <a:gd name="T45" fmla="*/ 6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3" h="111">
                <a:moveTo>
                  <a:pt x="103" y="65"/>
                </a:moveTo>
                <a:cubicBezTo>
                  <a:pt x="103" y="57"/>
                  <a:pt x="101" y="51"/>
                  <a:pt x="98" y="46"/>
                </a:cubicBezTo>
                <a:cubicBezTo>
                  <a:pt x="95" y="40"/>
                  <a:pt x="91" y="36"/>
                  <a:pt x="91" y="30"/>
                </a:cubicBezTo>
                <a:cubicBezTo>
                  <a:pt x="91" y="24"/>
                  <a:pt x="96" y="18"/>
                  <a:pt x="103" y="18"/>
                </a:cubicBezTo>
                <a:cubicBezTo>
                  <a:pt x="103" y="18"/>
                  <a:pt x="103" y="18"/>
                  <a:pt x="103" y="18"/>
                </a:cubicBezTo>
                <a:cubicBezTo>
                  <a:pt x="91" y="7"/>
                  <a:pt x="75" y="0"/>
                  <a:pt x="57" y="0"/>
                </a:cubicBezTo>
                <a:cubicBezTo>
                  <a:pt x="33" y="0"/>
                  <a:pt x="12" y="12"/>
                  <a:pt x="0" y="31"/>
                </a:cubicBezTo>
                <a:cubicBezTo>
                  <a:pt x="2" y="31"/>
                  <a:pt x="3" y="31"/>
                  <a:pt x="4" y="31"/>
                </a:cubicBezTo>
                <a:cubicBezTo>
                  <a:pt x="11" y="31"/>
                  <a:pt x="23" y="30"/>
                  <a:pt x="23" y="30"/>
                </a:cubicBezTo>
                <a:cubicBezTo>
                  <a:pt x="26" y="30"/>
                  <a:pt x="27" y="35"/>
                  <a:pt x="23" y="36"/>
                </a:cubicBezTo>
                <a:cubicBezTo>
                  <a:pt x="23" y="36"/>
                  <a:pt x="19" y="36"/>
                  <a:pt x="15" y="36"/>
                </a:cubicBezTo>
                <a:cubicBezTo>
                  <a:pt x="40" y="111"/>
                  <a:pt x="40" y="111"/>
                  <a:pt x="40" y="111"/>
                </a:cubicBezTo>
                <a:cubicBezTo>
                  <a:pt x="55" y="66"/>
                  <a:pt x="55" y="66"/>
                  <a:pt x="55" y="66"/>
                </a:cubicBezTo>
                <a:cubicBezTo>
                  <a:pt x="45" y="36"/>
                  <a:pt x="45" y="36"/>
                  <a:pt x="45" y="36"/>
                </a:cubicBezTo>
                <a:cubicBezTo>
                  <a:pt x="41" y="36"/>
                  <a:pt x="37" y="36"/>
                  <a:pt x="37" y="36"/>
                </a:cubicBezTo>
                <a:cubicBezTo>
                  <a:pt x="34" y="36"/>
                  <a:pt x="34" y="30"/>
                  <a:pt x="38" y="30"/>
                </a:cubicBezTo>
                <a:cubicBezTo>
                  <a:pt x="38" y="30"/>
                  <a:pt x="49" y="31"/>
                  <a:pt x="56" y="31"/>
                </a:cubicBezTo>
                <a:cubicBezTo>
                  <a:pt x="63" y="31"/>
                  <a:pt x="74" y="30"/>
                  <a:pt x="74" y="30"/>
                </a:cubicBezTo>
                <a:cubicBezTo>
                  <a:pt x="78" y="30"/>
                  <a:pt x="78" y="35"/>
                  <a:pt x="74" y="36"/>
                </a:cubicBezTo>
                <a:cubicBezTo>
                  <a:pt x="74" y="36"/>
                  <a:pt x="71" y="36"/>
                  <a:pt x="67" y="36"/>
                </a:cubicBezTo>
                <a:cubicBezTo>
                  <a:pt x="91" y="110"/>
                  <a:pt x="91" y="110"/>
                  <a:pt x="91" y="110"/>
                </a:cubicBezTo>
                <a:cubicBezTo>
                  <a:pt x="98" y="88"/>
                  <a:pt x="98" y="88"/>
                  <a:pt x="98" y="88"/>
                </a:cubicBezTo>
                <a:cubicBezTo>
                  <a:pt x="101" y="78"/>
                  <a:pt x="103" y="71"/>
                  <a:pt x="103" y="65"/>
                </a:cubicBezTo>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6" name="Freeform 405"/>
          <p:cNvSpPr>
            <a:spLocks/>
          </p:cNvSpPr>
          <p:nvPr/>
        </p:nvSpPr>
        <p:spPr bwMode="auto">
          <a:xfrm>
            <a:off x="4957893" y="2031069"/>
            <a:ext cx="84327" cy="124361"/>
          </a:xfrm>
          <a:custGeom>
            <a:avLst/>
            <a:gdLst>
              <a:gd name="T0" fmla="*/ 20 w 42"/>
              <a:gd name="T1" fmla="*/ 0 h 62"/>
              <a:gd name="T2" fmla="*/ 0 w 42"/>
              <a:gd name="T3" fmla="*/ 60 h 62"/>
              <a:gd name="T4" fmla="*/ 19 w 42"/>
              <a:gd name="T5" fmla="*/ 62 h 62"/>
              <a:gd name="T6" fmla="*/ 42 w 42"/>
              <a:gd name="T7" fmla="*/ 59 h 62"/>
              <a:gd name="T8" fmla="*/ 41 w 42"/>
              <a:gd name="T9" fmla="*/ 58 h 62"/>
              <a:gd name="T10" fmla="*/ 20 w 42"/>
              <a:gd name="T11" fmla="*/ 0 h 62"/>
            </a:gdLst>
            <a:ahLst/>
            <a:cxnLst>
              <a:cxn ang="0">
                <a:pos x="T0" y="T1"/>
              </a:cxn>
              <a:cxn ang="0">
                <a:pos x="T2" y="T3"/>
              </a:cxn>
              <a:cxn ang="0">
                <a:pos x="T4" y="T5"/>
              </a:cxn>
              <a:cxn ang="0">
                <a:pos x="T6" y="T7"/>
              </a:cxn>
              <a:cxn ang="0">
                <a:pos x="T8" y="T9"/>
              </a:cxn>
              <a:cxn ang="0">
                <a:pos x="T10" y="T11"/>
              </a:cxn>
            </a:cxnLst>
            <a:rect l="0" t="0" r="r" b="b"/>
            <a:pathLst>
              <a:path w="42" h="62">
                <a:moveTo>
                  <a:pt x="20" y="0"/>
                </a:moveTo>
                <a:cubicBezTo>
                  <a:pt x="0" y="60"/>
                  <a:pt x="0" y="60"/>
                  <a:pt x="0" y="60"/>
                </a:cubicBezTo>
                <a:cubicBezTo>
                  <a:pt x="6" y="61"/>
                  <a:pt x="13" y="62"/>
                  <a:pt x="19" y="62"/>
                </a:cubicBezTo>
                <a:cubicBezTo>
                  <a:pt x="27" y="62"/>
                  <a:pt x="35" y="61"/>
                  <a:pt x="42" y="59"/>
                </a:cubicBezTo>
                <a:cubicBezTo>
                  <a:pt x="42" y="58"/>
                  <a:pt x="41" y="58"/>
                  <a:pt x="41" y="58"/>
                </a:cubicBezTo>
                <a:lnTo>
                  <a:pt x="20" y="0"/>
                </a:lnTo>
                <a:close/>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7" name="Freeform 407"/>
          <p:cNvSpPr>
            <a:spLocks/>
          </p:cNvSpPr>
          <p:nvPr/>
        </p:nvSpPr>
        <p:spPr bwMode="auto">
          <a:xfrm>
            <a:off x="5066922" y="1951852"/>
            <a:ext cx="68143" cy="185690"/>
          </a:xfrm>
          <a:custGeom>
            <a:avLst/>
            <a:gdLst>
              <a:gd name="T0" fmla="*/ 26 w 34"/>
              <a:gd name="T1" fmla="*/ 0 h 92"/>
              <a:gd name="T2" fmla="*/ 26 w 34"/>
              <a:gd name="T3" fmla="*/ 7 h 92"/>
              <a:gd name="T4" fmla="*/ 21 w 34"/>
              <a:gd name="T5" fmla="*/ 32 h 92"/>
              <a:gd name="T6" fmla="*/ 0 w 34"/>
              <a:gd name="T7" fmla="*/ 92 h 92"/>
              <a:gd name="T8" fmla="*/ 34 w 34"/>
              <a:gd name="T9" fmla="*/ 33 h 92"/>
              <a:gd name="T10" fmla="*/ 26 w 34"/>
              <a:gd name="T11" fmla="*/ 0 h 92"/>
            </a:gdLst>
            <a:ahLst/>
            <a:cxnLst>
              <a:cxn ang="0">
                <a:pos x="T0" y="T1"/>
              </a:cxn>
              <a:cxn ang="0">
                <a:pos x="T2" y="T3"/>
              </a:cxn>
              <a:cxn ang="0">
                <a:pos x="T4" y="T5"/>
              </a:cxn>
              <a:cxn ang="0">
                <a:pos x="T6" y="T7"/>
              </a:cxn>
              <a:cxn ang="0">
                <a:pos x="T8" y="T9"/>
              </a:cxn>
              <a:cxn ang="0">
                <a:pos x="T10" y="T11"/>
              </a:cxn>
            </a:cxnLst>
            <a:rect l="0" t="0" r="r" b="b"/>
            <a:pathLst>
              <a:path w="34" h="92">
                <a:moveTo>
                  <a:pt x="26" y="0"/>
                </a:moveTo>
                <a:cubicBezTo>
                  <a:pt x="26" y="2"/>
                  <a:pt x="26" y="4"/>
                  <a:pt x="26" y="7"/>
                </a:cubicBezTo>
                <a:cubicBezTo>
                  <a:pt x="26" y="14"/>
                  <a:pt x="25" y="21"/>
                  <a:pt x="21" y="32"/>
                </a:cubicBezTo>
                <a:cubicBezTo>
                  <a:pt x="0" y="92"/>
                  <a:pt x="0" y="92"/>
                  <a:pt x="0" y="92"/>
                </a:cubicBezTo>
                <a:cubicBezTo>
                  <a:pt x="20" y="80"/>
                  <a:pt x="34" y="58"/>
                  <a:pt x="34" y="33"/>
                </a:cubicBezTo>
                <a:cubicBezTo>
                  <a:pt x="34" y="21"/>
                  <a:pt x="31" y="10"/>
                  <a:pt x="26" y="0"/>
                </a:cubicBezTo>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8" name="Freeform 408"/>
          <p:cNvSpPr>
            <a:spLocks noEditPoints="1"/>
          </p:cNvSpPr>
          <p:nvPr/>
        </p:nvSpPr>
        <p:spPr bwMode="auto">
          <a:xfrm>
            <a:off x="4835234" y="1857303"/>
            <a:ext cx="321976" cy="322828"/>
          </a:xfrm>
          <a:custGeom>
            <a:avLst/>
            <a:gdLst>
              <a:gd name="T0" fmla="*/ 80 w 160"/>
              <a:gd name="T1" fmla="*/ 0 h 160"/>
              <a:gd name="T2" fmla="*/ 0 w 160"/>
              <a:gd name="T3" fmla="*/ 80 h 160"/>
              <a:gd name="T4" fmla="*/ 80 w 160"/>
              <a:gd name="T5" fmla="*/ 160 h 160"/>
              <a:gd name="T6" fmla="*/ 160 w 160"/>
              <a:gd name="T7" fmla="*/ 80 h 160"/>
              <a:gd name="T8" fmla="*/ 80 w 160"/>
              <a:gd name="T9" fmla="*/ 0 h 160"/>
              <a:gd name="T10" fmla="*/ 80 w 160"/>
              <a:gd name="T11" fmla="*/ 156 h 160"/>
              <a:gd name="T12" fmla="*/ 4 w 160"/>
              <a:gd name="T13" fmla="*/ 80 h 160"/>
              <a:gd name="T14" fmla="*/ 80 w 160"/>
              <a:gd name="T15" fmla="*/ 3 h 160"/>
              <a:gd name="T16" fmla="*/ 157 w 160"/>
              <a:gd name="T17" fmla="*/ 80 h 160"/>
              <a:gd name="T18" fmla="*/ 80 w 160"/>
              <a:gd name="T19" fmla="*/ 1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80" y="0"/>
                </a:moveTo>
                <a:cubicBezTo>
                  <a:pt x="36" y="0"/>
                  <a:pt x="0" y="35"/>
                  <a:pt x="0" y="80"/>
                </a:cubicBezTo>
                <a:cubicBezTo>
                  <a:pt x="0" y="124"/>
                  <a:pt x="36" y="160"/>
                  <a:pt x="80" y="160"/>
                </a:cubicBezTo>
                <a:cubicBezTo>
                  <a:pt x="125" y="160"/>
                  <a:pt x="160" y="124"/>
                  <a:pt x="160" y="80"/>
                </a:cubicBezTo>
                <a:cubicBezTo>
                  <a:pt x="160" y="35"/>
                  <a:pt x="125" y="0"/>
                  <a:pt x="80" y="0"/>
                </a:cubicBezTo>
                <a:moveTo>
                  <a:pt x="80" y="156"/>
                </a:moveTo>
                <a:cubicBezTo>
                  <a:pt x="38" y="156"/>
                  <a:pt x="4" y="122"/>
                  <a:pt x="4" y="80"/>
                </a:cubicBezTo>
                <a:cubicBezTo>
                  <a:pt x="4" y="38"/>
                  <a:pt x="38" y="3"/>
                  <a:pt x="80" y="3"/>
                </a:cubicBezTo>
                <a:cubicBezTo>
                  <a:pt x="122" y="3"/>
                  <a:pt x="157" y="38"/>
                  <a:pt x="157" y="80"/>
                </a:cubicBezTo>
                <a:cubicBezTo>
                  <a:pt x="157" y="122"/>
                  <a:pt x="122" y="156"/>
                  <a:pt x="80" y="156"/>
                </a:cubicBezTo>
              </a:path>
            </a:pathLst>
          </a:custGeom>
          <a:solidFill>
            <a:srgbClr val="21759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59" name="Freeform 409"/>
          <p:cNvSpPr>
            <a:spLocks/>
          </p:cNvSpPr>
          <p:nvPr/>
        </p:nvSpPr>
        <p:spPr bwMode="auto">
          <a:xfrm>
            <a:off x="5342050" y="1962073"/>
            <a:ext cx="79217" cy="179728"/>
          </a:xfrm>
          <a:custGeom>
            <a:avLst/>
            <a:gdLst>
              <a:gd name="T0" fmla="*/ 0 w 39"/>
              <a:gd name="T1" fmla="*/ 28 h 89"/>
              <a:gd name="T2" fmla="*/ 39 w 39"/>
              <a:gd name="T3" fmla="*/ 89 h 89"/>
              <a:gd name="T4" fmla="*/ 6 w 39"/>
              <a:gd name="T5" fmla="*/ 0 h 89"/>
              <a:gd name="T6" fmla="*/ 0 w 39"/>
              <a:gd name="T7" fmla="*/ 28 h 89"/>
            </a:gdLst>
            <a:ahLst/>
            <a:cxnLst>
              <a:cxn ang="0">
                <a:pos x="T0" y="T1"/>
              </a:cxn>
              <a:cxn ang="0">
                <a:pos x="T2" y="T3"/>
              </a:cxn>
              <a:cxn ang="0">
                <a:pos x="T4" y="T5"/>
              </a:cxn>
              <a:cxn ang="0">
                <a:pos x="T6" y="T7"/>
              </a:cxn>
            </a:cxnLst>
            <a:rect l="0" t="0" r="r" b="b"/>
            <a:pathLst>
              <a:path w="39" h="89">
                <a:moveTo>
                  <a:pt x="0" y="28"/>
                </a:moveTo>
                <a:cubicBezTo>
                  <a:pt x="0" y="55"/>
                  <a:pt x="16" y="78"/>
                  <a:pt x="39" y="89"/>
                </a:cubicBezTo>
                <a:cubicBezTo>
                  <a:pt x="6" y="0"/>
                  <a:pt x="6" y="0"/>
                  <a:pt x="6" y="0"/>
                </a:cubicBezTo>
                <a:cubicBezTo>
                  <a:pt x="2" y="8"/>
                  <a:pt x="0" y="18"/>
                  <a:pt x="0" y="28"/>
                </a:cubicBezTo>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0" name="Freeform 410"/>
          <p:cNvSpPr>
            <a:spLocks/>
          </p:cNvSpPr>
          <p:nvPr/>
        </p:nvSpPr>
        <p:spPr bwMode="auto">
          <a:xfrm>
            <a:off x="5364196" y="1879450"/>
            <a:ext cx="207837" cy="224021"/>
          </a:xfrm>
          <a:custGeom>
            <a:avLst/>
            <a:gdLst>
              <a:gd name="T0" fmla="*/ 103 w 103"/>
              <a:gd name="T1" fmla="*/ 65 h 111"/>
              <a:gd name="T2" fmla="*/ 98 w 103"/>
              <a:gd name="T3" fmla="*/ 46 h 111"/>
              <a:gd name="T4" fmla="*/ 91 w 103"/>
              <a:gd name="T5" fmla="*/ 30 h 111"/>
              <a:gd name="T6" fmla="*/ 103 w 103"/>
              <a:gd name="T7" fmla="*/ 18 h 111"/>
              <a:gd name="T8" fmla="*/ 103 w 103"/>
              <a:gd name="T9" fmla="*/ 18 h 111"/>
              <a:gd name="T10" fmla="*/ 57 w 103"/>
              <a:gd name="T11" fmla="*/ 0 h 111"/>
              <a:gd name="T12" fmla="*/ 0 w 103"/>
              <a:gd name="T13" fmla="*/ 31 h 111"/>
              <a:gd name="T14" fmla="*/ 5 w 103"/>
              <a:gd name="T15" fmla="*/ 31 h 111"/>
              <a:gd name="T16" fmla="*/ 23 w 103"/>
              <a:gd name="T17" fmla="*/ 30 h 111"/>
              <a:gd name="T18" fmla="*/ 23 w 103"/>
              <a:gd name="T19" fmla="*/ 36 h 111"/>
              <a:gd name="T20" fmla="*/ 16 w 103"/>
              <a:gd name="T21" fmla="*/ 36 h 111"/>
              <a:gd name="T22" fmla="*/ 40 w 103"/>
              <a:gd name="T23" fmla="*/ 111 h 111"/>
              <a:gd name="T24" fmla="*/ 55 w 103"/>
              <a:gd name="T25" fmla="*/ 66 h 111"/>
              <a:gd name="T26" fmla="*/ 45 w 103"/>
              <a:gd name="T27" fmla="*/ 36 h 111"/>
              <a:gd name="T28" fmla="*/ 38 w 103"/>
              <a:gd name="T29" fmla="*/ 36 h 111"/>
              <a:gd name="T30" fmla="*/ 38 w 103"/>
              <a:gd name="T31" fmla="*/ 30 h 111"/>
              <a:gd name="T32" fmla="*/ 56 w 103"/>
              <a:gd name="T33" fmla="*/ 31 h 111"/>
              <a:gd name="T34" fmla="*/ 74 w 103"/>
              <a:gd name="T35" fmla="*/ 30 h 111"/>
              <a:gd name="T36" fmla="*/ 75 w 103"/>
              <a:gd name="T37" fmla="*/ 36 h 111"/>
              <a:gd name="T38" fmla="*/ 67 w 103"/>
              <a:gd name="T39" fmla="*/ 36 h 111"/>
              <a:gd name="T40" fmla="*/ 92 w 103"/>
              <a:gd name="T41" fmla="*/ 110 h 111"/>
              <a:gd name="T42" fmla="*/ 98 w 103"/>
              <a:gd name="T43" fmla="*/ 88 h 111"/>
              <a:gd name="T44" fmla="*/ 103 w 103"/>
              <a:gd name="T45" fmla="*/ 6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3" h="111">
                <a:moveTo>
                  <a:pt x="103" y="65"/>
                </a:moveTo>
                <a:cubicBezTo>
                  <a:pt x="103" y="57"/>
                  <a:pt x="101" y="51"/>
                  <a:pt x="98" y="46"/>
                </a:cubicBezTo>
                <a:cubicBezTo>
                  <a:pt x="95" y="40"/>
                  <a:pt x="91" y="36"/>
                  <a:pt x="91" y="30"/>
                </a:cubicBezTo>
                <a:cubicBezTo>
                  <a:pt x="91" y="24"/>
                  <a:pt x="96" y="18"/>
                  <a:pt x="103" y="18"/>
                </a:cubicBezTo>
                <a:cubicBezTo>
                  <a:pt x="103" y="18"/>
                  <a:pt x="103" y="18"/>
                  <a:pt x="103" y="18"/>
                </a:cubicBezTo>
                <a:cubicBezTo>
                  <a:pt x="92" y="7"/>
                  <a:pt x="75" y="0"/>
                  <a:pt x="57" y="0"/>
                </a:cubicBezTo>
                <a:cubicBezTo>
                  <a:pt x="33" y="0"/>
                  <a:pt x="12" y="12"/>
                  <a:pt x="0" y="31"/>
                </a:cubicBezTo>
                <a:cubicBezTo>
                  <a:pt x="2" y="31"/>
                  <a:pt x="3" y="31"/>
                  <a:pt x="5" y="31"/>
                </a:cubicBezTo>
                <a:cubicBezTo>
                  <a:pt x="11" y="31"/>
                  <a:pt x="23" y="30"/>
                  <a:pt x="23" y="30"/>
                </a:cubicBezTo>
                <a:cubicBezTo>
                  <a:pt x="27" y="30"/>
                  <a:pt x="27" y="35"/>
                  <a:pt x="23" y="36"/>
                </a:cubicBezTo>
                <a:cubicBezTo>
                  <a:pt x="23" y="36"/>
                  <a:pt x="20" y="36"/>
                  <a:pt x="16" y="36"/>
                </a:cubicBezTo>
                <a:cubicBezTo>
                  <a:pt x="40" y="111"/>
                  <a:pt x="40" y="111"/>
                  <a:pt x="40" y="111"/>
                </a:cubicBezTo>
                <a:cubicBezTo>
                  <a:pt x="55" y="66"/>
                  <a:pt x="55" y="66"/>
                  <a:pt x="55" y="66"/>
                </a:cubicBezTo>
                <a:cubicBezTo>
                  <a:pt x="45" y="36"/>
                  <a:pt x="45" y="36"/>
                  <a:pt x="45" y="36"/>
                </a:cubicBezTo>
                <a:cubicBezTo>
                  <a:pt x="41" y="36"/>
                  <a:pt x="38" y="36"/>
                  <a:pt x="38" y="36"/>
                </a:cubicBezTo>
                <a:cubicBezTo>
                  <a:pt x="34" y="36"/>
                  <a:pt x="34" y="30"/>
                  <a:pt x="38" y="30"/>
                </a:cubicBezTo>
                <a:cubicBezTo>
                  <a:pt x="38" y="30"/>
                  <a:pt x="49" y="31"/>
                  <a:pt x="56" y="31"/>
                </a:cubicBezTo>
                <a:cubicBezTo>
                  <a:pt x="63" y="31"/>
                  <a:pt x="74" y="30"/>
                  <a:pt x="74" y="30"/>
                </a:cubicBezTo>
                <a:cubicBezTo>
                  <a:pt x="78" y="30"/>
                  <a:pt x="78" y="35"/>
                  <a:pt x="75" y="36"/>
                </a:cubicBezTo>
                <a:cubicBezTo>
                  <a:pt x="75" y="36"/>
                  <a:pt x="71" y="36"/>
                  <a:pt x="67" y="36"/>
                </a:cubicBezTo>
                <a:cubicBezTo>
                  <a:pt x="92" y="110"/>
                  <a:pt x="92" y="110"/>
                  <a:pt x="92" y="110"/>
                </a:cubicBezTo>
                <a:cubicBezTo>
                  <a:pt x="98" y="88"/>
                  <a:pt x="98" y="88"/>
                  <a:pt x="98" y="88"/>
                </a:cubicBezTo>
                <a:cubicBezTo>
                  <a:pt x="102" y="78"/>
                  <a:pt x="103" y="71"/>
                  <a:pt x="103" y="65"/>
                </a:cubicBezTo>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1" name="Freeform 411"/>
          <p:cNvSpPr>
            <a:spLocks/>
          </p:cNvSpPr>
          <p:nvPr/>
        </p:nvSpPr>
        <p:spPr bwMode="auto">
          <a:xfrm>
            <a:off x="5440857" y="2031069"/>
            <a:ext cx="85179" cy="124361"/>
          </a:xfrm>
          <a:custGeom>
            <a:avLst/>
            <a:gdLst>
              <a:gd name="T0" fmla="*/ 21 w 42"/>
              <a:gd name="T1" fmla="*/ 0 h 62"/>
              <a:gd name="T2" fmla="*/ 0 w 42"/>
              <a:gd name="T3" fmla="*/ 60 h 62"/>
              <a:gd name="T4" fmla="*/ 19 w 42"/>
              <a:gd name="T5" fmla="*/ 62 h 62"/>
              <a:gd name="T6" fmla="*/ 42 w 42"/>
              <a:gd name="T7" fmla="*/ 59 h 62"/>
              <a:gd name="T8" fmla="*/ 42 w 42"/>
              <a:gd name="T9" fmla="*/ 58 h 62"/>
              <a:gd name="T10" fmla="*/ 21 w 42"/>
              <a:gd name="T11" fmla="*/ 0 h 62"/>
            </a:gdLst>
            <a:ahLst/>
            <a:cxnLst>
              <a:cxn ang="0">
                <a:pos x="T0" y="T1"/>
              </a:cxn>
              <a:cxn ang="0">
                <a:pos x="T2" y="T3"/>
              </a:cxn>
              <a:cxn ang="0">
                <a:pos x="T4" y="T5"/>
              </a:cxn>
              <a:cxn ang="0">
                <a:pos x="T6" y="T7"/>
              </a:cxn>
              <a:cxn ang="0">
                <a:pos x="T8" y="T9"/>
              </a:cxn>
              <a:cxn ang="0">
                <a:pos x="T10" y="T11"/>
              </a:cxn>
            </a:cxnLst>
            <a:rect l="0" t="0" r="r" b="b"/>
            <a:pathLst>
              <a:path w="42" h="62">
                <a:moveTo>
                  <a:pt x="21" y="0"/>
                </a:moveTo>
                <a:cubicBezTo>
                  <a:pt x="0" y="60"/>
                  <a:pt x="0" y="60"/>
                  <a:pt x="0" y="60"/>
                </a:cubicBezTo>
                <a:cubicBezTo>
                  <a:pt x="6" y="61"/>
                  <a:pt x="13" y="62"/>
                  <a:pt x="19" y="62"/>
                </a:cubicBezTo>
                <a:cubicBezTo>
                  <a:pt x="27" y="62"/>
                  <a:pt x="35" y="61"/>
                  <a:pt x="42" y="59"/>
                </a:cubicBezTo>
                <a:cubicBezTo>
                  <a:pt x="42" y="58"/>
                  <a:pt x="42" y="58"/>
                  <a:pt x="42" y="58"/>
                </a:cubicBezTo>
                <a:lnTo>
                  <a:pt x="21" y="0"/>
                </a:lnTo>
                <a:close/>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2" name="Freeform 412"/>
          <p:cNvSpPr>
            <a:spLocks/>
          </p:cNvSpPr>
          <p:nvPr/>
        </p:nvSpPr>
        <p:spPr bwMode="auto">
          <a:xfrm>
            <a:off x="5549886" y="1951852"/>
            <a:ext cx="68143" cy="185690"/>
          </a:xfrm>
          <a:custGeom>
            <a:avLst/>
            <a:gdLst>
              <a:gd name="T0" fmla="*/ 26 w 34"/>
              <a:gd name="T1" fmla="*/ 0 h 92"/>
              <a:gd name="T2" fmla="*/ 26 w 34"/>
              <a:gd name="T3" fmla="*/ 7 h 92"/>
              <a:gd name="T4" fmla="*/ 21 w 34"/>
              <a:gd name="T5" fmla="*/ 32 h 92"/>
              <a:gd name="T6" fmla="*/ 0 w 34"/>
              <a:gd name="T7" fmla="*/ 92 h 92"/>
              <a:gd name="T8" fmla="*/ 34 w 34"/>
              <a:gd name="T9" fmla="*/ 33 h 92"/>
              <a:gd name="T10" fmla="*/ 26 w 34"/>
              <a:gd name="T11" fmla="*/ 0 h 92"/>
            </a:gdLst>
            <a:ahLst/>
            <a:cxnLst>
              <a:cxn ang="0">
                <a:pos x="T0" y="T1"/>
              </a:cxn>
              <a:cxn ang="0">
                <a:pos x="T2" y="T3"/>
              </a:cxn>
              <a:cxn ang="0">
                <a:pos x="T4" y="T5"/>
              </a:cxn>
              <a:cxn ang="0">
                <a:pos x="T6" y="T7"/>
              </a:cxn>
              <a:cxn ang="0">
                <a:pos x="T8" y="T9"/>
              </a:cxn>
              <a:cxn ang="0">
                <a:pos x="T10" y="T11"/>
              </a:cxn>
            </a:cxnLst>
            <a:rect l="0" t="0" r="r" b="b"/>
            <a:pathLst>
              <a:path w="34" h="92">
                <a:moveTo>
                  <a:pt x="26" y="0"/>
                </a:moveTo>
                <a:cubicBezTo>
                  <a:pt x="26" y="2"/>
                  <a:pt x="26" y="4"/>
                  <a:pt x="26" y="7"/>
                </a:cubicBezTo>
                <a:cubicBezTo>
                  <a:pt x="26" y="14"/>
                  <a:pt x="25" y="21"/>
                  <a:pt x="21" y="32"/>
                </a:cubicBezTo>
                <a:cubicBezTo>
                  <a:pt x="0" y="92"/>
                  <a:pt x="0" y="92"/>
                  <a:pt x="0" y="92"/>
                </a:cubicBezTo>
                <a:cubicBezTo>
                  <a:pt x="20" y="80"/>
                  <a:pt x="34" y="58"/>
                  <a:pt x="34" y="33"/>
                </a:cubicBezTo>
                <a:cubicBezTo>
                  <a:pt x="34" y="21"/>
                  <a:pt x="31" y="10"/>
                  <a:pt x="26" y="0"/>
                </a:cubicBezTo>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3" name="Freeform 413"/>
          <p:cNvSpPr>
            <a:spLocks noEditPoints="1"/>
          </p:cNvSpPr>
          <p:nvPr/>
        </p:nvSpPr>
        <p:spPr bwMode="auto">
          <a:xfrm>
            <a:off x="5319902" y="1857303"/>
            <a:ext cx="322828" cy="322828"/>
          </a:xfrm>
          <a:custGeom>
            <a:avLst/>
            <a:gdLst>
              <a:gd name="T0" fmla="*/ 79 w 160"/>
              <a:gd name="T1" fmla="*/ 0 h 160"/>
              <a:gd name="T2" fmla="*/ 0 w 160"/>
              <a:gd name="T3" fmla="*/ 80 h 160"/>
              <a:gd name="T4" fmla="*/ 79 w 160"/>
              <a:gd name="T5" fmla="*/ 160 h 160"/>
              <a:gd name="T6" fmla="*/ 160 w 160"/>
              <a:gd name="T7" fmla="*/ 80 h 160"/>
              <a:gd name="T8" fmla="*/ 79 w 160"/>
              <a:gd name="T9" fmla="*/ 0 h 160"/>
              <a:gd name="T10" fmla="*/ 79 w 160"/>
              <a:gd name="T11" fmla="*/ 156 h 160"/>
              <a:gd name="T12" fmla="*/ 3 w 160"/>
              <a:gd name="T13" fmla="*/ 80 h 160"/>
              <a:gd name="T14" fmla="*/ 79 w 160"/>
              <a:gd name="T15" fmla="*/ 3 h 160"/>
              <a:gd name="T16" fmla="*/ 156 w 160"/>
              <a:gd name="T17" fmla="*/ 80 h 160"/>
              <a:gd name="T18" fmla="*/ 79 w 160"/>
              <a:gd name="T19" fmla="*/ 15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 h="160">
                <a:moveTo>
                  <a:pt x="79" y="0"/>
                </a:moveTo>
                <a:cubicBezTo>
                  <a:pt x="35" y="0"/>
                  <a:pt x="0" y="35"/>
                  <a:pt x="0" y="80"/>
                </a:cubicBezTo>
                <a:cubicBezTo>
                  <a:pt x="0" y="124"/>
                  <a:pt x="35" y="160"/>
                  <a:pt x="79" y="160"/>
                </a:cubicBezTo>
                <a:cubicBezTo>
                  <a:pt x="124" y="160"/>
                  <a:pt x="160" y="124"/>
                  <a:pt x="160" y="80"/>
                </a:cubicBezTo>
                <a:cubicBezTo>
                  <a:pt x="160" y="35"/>
                  <a:pt x="124" y="0"/>
                  <a:pt x="79" y="0"/>
                </a:cubicBezTo>
                <a:moveTo>
                  <a:pt x="79" y="156"/>
                </a:moveTo>
                <a:cubicBezTo>
                  <a:pt x="37" y="156"/>
                  <a:pt x="3" y="122"/>
                  <a:pt x="3" y="80"/>
                </a:cubicBezTo>
                <a:cubicBezTo>
                  <a:pt x="3" y="38"/>
                  <a:pt x="37" y="3"/>
                  <a:pt x="79" y="3"/>
                </a:cubicBezTo>
                <a:cubicBezTo>
                  <a:pt x="122" y="3"/>
                  <a:pt x="156" y="38"/>
                  <a:pt x="156" y="80"/>
                </a:cubicBezTo>
                <a:cubicBezTo>
                  <a:pt x="156" y="122"/>
                  <a:pt x="122" y="156"/>
                  <a:pt x="79" y="156"/>
                </a:cubicBezTo>
              </a:path>
            </a:pathLst>
          </a:custGeom>
          <a:solidFill>
            <a:srgbClr val="D54E2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4" name="Freeform 414"/>
          <p:cNvSpPr>
            <a:spLocks/>
          </p:cNvSpPr>
          <p:nvPr/>
        </p:nvSpPr>
        <p:spPr bwMode="auto">
          <a:xfrm>
            <a:off x="3427227" y="1898190"/>
            <a:ext cx="233390" cy="239353"/>
          </a:xfrm>
          <a:custGeom>
            <a:avLst/>
            <a:gdLst>
              <a:gd name="T0" fmla="*/ 0 w 274"/>
              <a:gd name="T1" fmla="*/ 281 h 281"/>
              <a:gd name="T2" fmla="*/ 274 w 274"/>
              <a:gd name="T3" fmla="*/ 142 h 281"/>
              <a:gd name="T4" fmla="*/ 0 w 274"/>
              <a:gd name="T5" fmla="*/ 0 h 281"/>
              <a:gd name="T6" fmla="*/ 0 w 274"/>
              <a:gd name="T7" fmla="*/ 281 h 281"/>
            </a:gdLst>
            <a:ahLst/>
            <a:cxnLst>
              <a:cxn ang="0">
                <a:pos x="T0" y="T1"/>
              </a:cxn>
              <a:cxn ang="0">
                <a:pos x="T2" y="T3"/>
              </a:cxn>
              <a:cxn ang="0">
                <a:pos x="T4" y="T5"/>
              </a:cxn>
              <a:cxn ang="0">
                <a:pos x="T6" y="T7"/>
              </a:cxn>
            </a:cxnLst>
            <a:rect l="0" t="0" r="r" b="b"/>
            <a:pathLst>
              <a:path w="274" h="281">
                <a:moveTo>
                  <a:pt x="0" y="281"/>
                </a:moveTo>
                <a:lnTo>
                  <a:pt x="274" y="142"/>
                </a:lnTo>
                <a:lnTo>
                  <a:pt x="0" y="0"/>
                </a:lnTo>
                <a:lnTo>
                  <a:pt x="0" y="28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5" name="Freeform 415"/>
          <p:cNvSpPr>
            <a:spLocks/>
          </p:cNvSpPr>
          <p:nvPr/>
        </p:nvSpPr>
        <p:spPr bwMode="auto">
          <a:xfrm>
            <a:off x="3427227" y="1898189"/>
            <a:ext cx="233390" cy="136286"/>
          </a:xfrm>
          <a:custGeom>
            <a:avLst/>
            <a:gdLst>
              <a:gd name="T0" fmla="*/ 0 w 274"/>
              <a:gd name="T1" fmla="*/ 0 h 160"/>
              <a:gd name="T2" fmla="*/ 241 w 274"/>
              <a:gd name="T3" fmla="*/ 160 h 160"/>
              <a:gd name="T4" fmla="*/ 274 w 274"/>
              <a:gd name="T5" fmla="*/ 144 h 160"/>
              <a:gd name="T6" fmla="*/ 0 w 274"/>
              <a:gd name="T7" fmla="*/ 0 h 160"/>
            </a:gdLst>
            <a:ahLst/>
            <a:cxnLst>
              <a:cxn ang="0">
                <a:pos x="T0" y="T1"/>
              </a:cxn>
              <a:cxn ang="0">
                <a:pos x="T2" y="T3"/>
              </a:cxn>
              <a:cxn ang="0">
                <a:pos x="T4" y="T5"/>
              </a:cxn>
              <a:cxn ang="0">
                <a:pos x="T6" y="T7"/>
              </a:cxn>
            </a:cxnLst>
            <a:rect l="0" t="0" r="r" b="b"/>
            <a:pathLst>
              <a:path w="274" h="160">
                <a:moveTo>
                  <a:pt x="0" y="0"/>
                </a:moveTo>
                <a:lnTo>
                  <a:pt x="241" y="160"/>
                </a:lnTo>
                <a:lnTo>
                  <a:pt x="274" y="144"/>
                </a:lnTo>
                <a:lnTo>
                  <a:pt x="0" y="0"/>
                </a:lnTo>
                <a:close/>
              </a:path>
            </a:pathLst>
          </a:custGeom>
          <a:solidFill>
            <a:srgbClr val="E7E2E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6" name="Freeform 416"/>
          <p:cNvSpPr>
            <a:spLocks/>
          </p:cNvSpPr>
          <p:nvPr/>
        </p:nvSpPr>
        <p:spPr bwMode="auto">
          <a:xfrm>
            <a:off x="4047330" y="2065140"/>
            <a:ext cx="14481" cy="60477"/>
          </a:xfrm>
          <a:custGeom>
            <a:avLst/>
            <a:gdLst>
              <a:gd name="T0" fmla="*/ 4 w 7"/>
              <a:gd name="T1" fmla="*/ 0 h 30"/>
              <a:gd name="T2" fmla="*/ 0 w 7"/>
              <a:gd name="T3" fmla="*/ 1 h 30"/>
              <a:gd name="T4" fmla="*/ 0 w 7"/>
              <a:gd name="T5" fmla="*/ 28 h 30"/>
              <a:gd name="T6" fmla="*/ 4 w 7"/>
              <a:gd name="T7" fmla="*/ 30 h 30"/>
              <a:gd name="T8" fmla="*/ 7 w 7"/>
              <a:gd name="T9" fmla="*/ 24 h 30"/>
              <a:gd name="T10" fmla="*/ 7 w 7"/>
              <a:gd name="T11" fmla="*/ 5 h 30"/>
              <a:gd name="T12" fmla="*/ 4 w 7"/>
              <a:gd name="T13" fmla="*/ 0 h 30"/>
            </a:gdLst>
            <a:ahLst/>
            <a:cxnLst>
              <a:cxn ang="0">
                <a:pos x="T0" y="T1"/>
              </a:cxn>
              <a:cxn ang="0">
                <a:pos x="T2" y="T3"/>
              </a:cxn>
              <a:cxn ang="0">
                <a:pos x="T4" y="T5"/>
              </a:cxn>
              <a:cxn ang="0">
                <a:pos x="T6" y="T7"/>
              </a:cxn>
              <a:cxn ang="0">
                <a:pos x="T8" y="T9"/>
              </a:cxn>
              <a:cxn ang="0">
                <a:pos x="T10" y="T11"/>
              </a:cxn>
              <a:cxn ang="0">
                <a:pos x="T12" y="T13"/>
              </a:cxn>
            </a:cxnLst>
            <a:rect l="0" t="0" r="r" b="b"/>
            <a:pathLst>
              <a:path w="7" h="30">
                <a:moveTo>
                  <a:pt x="4" y="0"/>
                </a:moveTo>
                <a:cubicBezTo>
                  <a:pt x="3" y="0"/>
                  <a:pt x="2" y="0"/>
                  <a:pt x="0" y="1"/>
                </a:cubicBezTo>
                <a:cubicBezTo>
                  <a:pt x="0" y="28"/>
                  <a:pt x="0" y="28"/>
                  <a:pt x="0" y="28"/>
                </a:cubicBezTo>
                <a:cubicBezTo>
                  <a:pt x="2" y="29"/>
                  <a:pt x="3" y="30"/>
                  <a:pt x="4" y="30"/>
                </a:cubicBezTo>
                <a:cubicBezTo>
                  <a:pt x="6" y="30"/>
                  <a:pt x="7" y="28"/>
                  <a:pt x="7" y="24"/>
                </a:cubicBezTo>
                <a:cubicBezTo>
                  <a:pt x="7" y="5"/>
                  <a:pt x="7" y="5"/>
                  <a:pt x="7" y="5"/>
                </a:cubicBezTo>
                <a:cubicBezTo>
                  <a:pt x="7" y="2"/>
                  <a:pt x="6" y="0"/>
                  <a:pt x="4"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7" name="Freeform 417"/>
          <p:cNvSpPr>
            <a:spLocks/>
          </p:cNvSpPr>
          <p:nvPr/>
        </p:nvSpPr>
        <p:spPr bwMode="auto">
          <a:xfrm>
            <a:off x="4106104" y="2065139"/>
            <a:ext cx="13629" cy="17888"/>
          </a:xfrm>
          <a:custGeom>
            <a:avLst/>
            <a:gdLst>
              <a:gd name="T0" fmla="*/ 4 w 7"/>
              <a:gd name="T1" fmla="*/ 0 h 9"/>
              <a:gd name="T2" fmla="*/ 0 w 7"/>
              <a:gd name="T3" fmla="*/ 6 h 9"/>
              <a:gd name="T4" fmla="*/ 0 w 7"/>
              <a:gd name="T5" fmla="*/ 9 h 9"/>
              <a:gd name="T6" fmla="*/ 7 w 7"/>
              <a:gd name="T7" fmla="*/ 9 h 9"/>
              <a:gd name="T8" fmla="*/ 7 w 7"/>
              <a:gd name="T9" fmla="*/ 6 h 9"/>
              <a:gd name="T10" fmla="*/ 4 w 7"/>
              <a:gd name="T11" fmla="*/ 0 h 9"/>
            </a:gdLst>
            <a:ahLst/>
            <a:cxnLst>
              <a:cxn ang="0">
                <a:pos x="T0" y="T1"/>
              </a:cxn>
              <a:cxn ang="0">
                <a:pos x="T2" y="T3"/>
              </a:cxn>
              <a:cxn ang="0">
                <a:pos x="T4" y="T5"/>
              </a:cxn>
              <a:cxn ang="0">
                <a:pos x="T6" y="T7"/>
              </a:cxn>
              <a:cxn ang="0">
                <a:pos x="T8" y="T9"/>
              </a:cxn>
              <a:cxn ang="0">
                <a:pos x="T10" y="T11"/>
              </a:cxn>
            </a:cxnLst>
            <a:rect l="0" t="0" r="r" b="b"/>
            <a:pathLst>
              <a:path w="7" h="9">
                <a:moveTo>
                  <a:pt x="4" y="0"/>
                </a:moveTo>
                <a:cubicBezTo>
                  <a:pt x="1" y="0"/>
                  <a:pt x="0" y="2"/>
                  <a:pt x="0" y="6"/>
                </a:cubicBezTo>
                <a:cubicBezTo>
                  <a:pt x="0" y="9"/>
                  <a:pt x="0" y="9"/>
                  <a:pt x="0" y="9"/>
                </a:cubicBezTo>
                <a:cubicBezTo>
                  <a:pt x="7" y="9"/>
                  <a:pt x="7" y="9"/>
                  <a:pt x="7" y="9"/>
                </a:cubicBezTo>
                <a:cubicBezTo>
                  <a:pt x="7" y="6"/>
                  <a:pt x="7" y="6"/>
                  <a:pt x="7" y="6"/>
                </a:cubicBezTo>
                <a:cubicBezTo>
                  <a:pt x="7" y="2"/>
                  <a:pt x="6" y="0"/>
                  <a:pt x="4"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8" name="Freeform 418"/>
          <p:cNvSpPr>
            <a:spLocks noEditPoints="1"/>
          </p:cNvSpPr>
          <p:nvPr/>
        </p:nvSpPr>
        <p:spPr bwMode="auto">
          <a:xfrm>
            <a:off x="3900822" y="1990183"/>
            <a:ext cx="257240" cy="181431"/>
          </a:xfrm>
          <a:custGeom>
            <a:avLst/>
            <a:gdLst>
              <a:gd name="T0" fmla="*/ 122 w 128"/>
              <a:gd name="T1" fmla="*/ 7 h 90"/>
              <a:gd name="T2" fmla="*/ 64 w 128"/>
              <a:gd name="T3" fmla="*/ 0 h 90"/>
              <a:gd name="T4" fmla="*/ 19 w 128"/>
              <a:gd name="T5" fmla="*/ 2 h 90"/>
              <a:gd name="T6" fmla="*/ 1 w 128"/>
              <a:gd name="T7" fmla="*/ 20 h 90"/>
              <a:gd name="T8" fmla="*/ 0 w 128"/>
              <a:gd name="T9" fmla="*/ 50 h 90"/>
              <a:gd name="T10" fmla="*/ 6 w 128"/>
              <a:gd name="T11" fmla="*/ 84 h 90"/>
              <a:gd name="T12" fmla="*/ 64 w 128"/>
              <a:gd name="T13" fmla="*/ 90 h 90"/>
              <a:gd name="T14" fmla="*/ 122 w 128"/>
              <a:gd name="T15" fmla="*/ 84 h 90"/>
              <a:gd name="T16" fmla="*/ 128 w 128"/>
              <a:gd name="T17" fmla="*/ 50 h 90"/>
              <a:gd name="T18" fmla="*/ 127 w 128"/>
              <a:gd name="T19" fmla="*/ 20 h 90"/>
              <a:gd name="T20" fmla="*/ 19 w 128"/>
              <a:gd name="T21" fmla="*/ 73 h 90"/>
              <a:gd name="T22" fmla="*/ 10 w 128"/>
              <a:gd name="T23" fmla="*/ 23 h 90"/>
              <a:gd name="T24" fmla="*/ 37 w 128"/>
              <a:gd name="T25" fmla="*/ 15 h 90"/>
              <a:gd name="T26" fmla="*/ 28 w 128"/>
              <a:gd name="T27" fmla="*/ 23 h 90"/>
              <a:gd name="T28" fmla="*/ 59 w 128"/>
              <a:gd name="T29" fmla="*/ 73 h 90"/>
              <a:gd name="T30" fmla="*/ 51 w 128"/>
              <a:gd name="T31" fmla="*/ 68 h 90"/>
              <a:gd name="T32" fmla="*/ 37 w 128"/>
              <a:gd name="T33" fmla="*/ 70 h 90"/>
              <a:gd name="T34" fmla="*/ 36 w 128"/>
              <a:gd name="T35" fmla="*/ 30 h 90"/>
              <a:gd name="T36" fmla="*/ 44 w 128"/>
              <a:gd name="T37" fmla="*/ 62 h 90"/>
              <a:gd name="T38" fmla="*/ 46 w 128"/>
              <a:gd name="T39" fmla="*/ 67 h 90"/>
              <a:gd name="T40" fmla="*/ 51 w 128"/>
              <a:gd name="T41" fmla="*/ 30 h 90"/>
              <a:gd name="T42" fmla="*/ 59 w 128"/>
              <a:gd name="T43" fmla="*/ 73 h 90"/>
              <a:gd name="T44" fmla="*/ 88 w 128"/>
              <a:gd name="T45" fmla="*/ 69 h 90"/>
              <a:gd name="T46" fmla="*/ 73 w 128"/>
              <a:gd name="T47" fmla="*/ 69 h 90"/>
              <a:gd name="T48" fmla="*/ 65 w 128"/>
              <a:gd name="T49" fmla="*/ 73 h 90"/>
              <a:gd name="T50" fmla="*/ 73 w 128"/>
              <a:gd name="T51" fmla="*/ 15 h 90"/>
              <a:gd name="T52" fmla="*/ 81 w 128"/>
              <a:gd name="T53" fmla="*/ 30 h 90"/>
              <a:gd name="T54" fmla="*/ 88 w 128"/>
              <a:gd name="T55" fmla="*/ 43 h 90"/>
              <a:gd name="T56" fmla="*/ 117 w 128"/>
              <a:gd name="T57" fmla="*/ 53 h 90"/>
              <a:gd name="T58" fmla="*/ 102 w 128"/>
              <a:gd name="T59" fmla="*/ 61 h 90"/>
              <a:gd name="T60" fmla="*/ 109 w 128"/>
              <a:gd name="T61" fmla="*/ 63 h 90"/>
              <a:gd name="T62" fmla="*/ 117 w 128"/>
              <a:gd name="T63" fmla="*/ 58 h 90"/>
              <a:gd name="T64" fmla="*/ 117 w 128"/>
              <a:gd name="T65" fmla="*/ 64 h 90"/>
              <a:gd name="T66" fmla="*/ 106 w 128"/>
              <a:gd name="T67" fmla="*/ 74 h 90"/>
              <a:gd name="T68" fmla="*/ 94 w 128"/>
              <a:gd name="T69" fmla="*/ 59 h 90"/>
              <a:gd name="T70" fmla="*/ 96 w 128"/>
              <a:gd name="T71" fmla="*/ 34 h 90"/>
              <a:gd name="T72" fmla="*/ 115 w 128"/>
              <a:gd name="T73" fmla="*/ 34 h 90"/>
              <a:gd name="T74" fmla="*/ 117 w 128"/>
              <a:gd name="T75" fmla="*/ 5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90">
                <a:moveTo>
                  <a:pt x="127" y="20"/>
                </a:moveTo>
                <a:cubicBezTo>
                  <a:pt x="127" y="20"/>
                  <a:pt x="126" y="11"/>
                  <a:pt x="122" y="7"/>
                </a:cubicBezTo>
                <a:cubicBezTo>
                  <a:pt x="117" y="2"/>
                  <a:pt x="111" y="2"/>
                  <a:pt x="109" y="2"/>
                </a:cubicBezTo>
                <a:cubicBezTo>
                  <a:pt x="91" y="0"/>
                  <a:pt x="64" y="0"/>
                  <a:pt x="64" y="0"/>
                </a:cubicBezTo>
                <a:cubicBezTo>
                  <a:pt x="64" y="0"/>
                  <a:pt x="64" y="0"/>
                  <a:pt x="64" y="0"/>
                </a:cubicBezTo>
                <a:cubicBezTo>
                  <a:pt x="64" y="0"/>
                  <a:pt x="37" y="0"/>
                  <a:pt x="19" y="2"/>
                </a:cubicBezTo>
                <a:cubicBezTo>
                  <a:pt x="16" y="2"/>
                  <a:pt x="11" y="2"/>
                  <a:pt x="6" y="7"/>
                </a:cubicBezTo>
                <a:cubicBezTo>
                  <a:pt x="2" y="11"/>
                  <a:pt x="1" y="20"/>
                  <a:pt x="1" y="20"/>
                </a:cubicBezTo>
                <a:cubicBezTo>
                  <a:pt x="1" y="20"/>
                  <a:pt x="0" y="30"/>
                  <a:pt x="0" y="40"/>
                </a:cubicBezTo>
                <a:cubicBezTo>
                  <a:pt x="0" y="50"/>
                  <a:pt x="0" y="50"/>
                  <a:pt x="0" y="50"/>
                </a:cubicBezTo>
                <a:cubicBezTo>
                  <a:pt x="0" y="60"/>
                  <a:pt x="1" y="71"/>
                  <a:pt x="1" y="71"/>
                </a:cubicBezTo>
                <a:cubicBezTo>
                  <a:pt x="1" y="71"/>
                  <a:pt x="2" y="80"/>
                  <a:pt x="6" y="84"/>
                </a:cubicBezTo>
                <a:cubicBezTo>
                  <a:pt x="11" y="89"/>
                  <a:pt x="17" y="88"/>
                  <a:pt x="20" y="89"/>
                </a:cubicBezTo>
                <a:cubicBezTo>
                  <a:pt x="30" y="90"/>
                  <a:pt x="64" y="90"/>
                  <a:pt x="64" y="90"/>
                </a:cubicBezTo>
                <a:cubicBezTo>
                  <a:pt x="64" y="90"/>
                  <a:pt x="91" y="90"/>
                  <a:pt x="109" y="89"/>
                </a:cubicBezTo>
                <a:cubicBezTo>
                  <a:pt x="111" y="89"/>
                  <a:pt x="117" y="89"/>
                  <a:pt x="122" y="84"/>
                </a:cubicBezTo>
                <a:cubicBezTo>
                  <a:pt x="126" y="80"/>
                  <a:pt x="127" y="71"/>
                  <a:pt x="127" y="71"/>
                </a:cubicBezTo>
                <a:cubicBezTo>
                  <a:pt x="127" y="71"/>
                  <a:pt x="128" y="60"/>
                  <a:pt x="128" y="50"/>
                </a:cubicBezTo>
                <a:cubicBezTo>
                  <a:pt x="128" y="40"/>
                  <a:pt x="128" y="40"/>
                  <a:pt x="128" y="40"/>
                </a:cubicBezTo>
                <a:cubicBezTo>
                  <a:pt x="128" y="30"/>
                  <a:pt x="127" y="20"/>
                  <a:pt x="127" y="20"/>
                </a:cubicBezTo>
                <a:moveTo>
                  <a:pt x="28" y="73"/>
                </a:moveTo>
                <a:cubicBezTo>
                  <a:pt x="19" y="73"/>
                  <a:pt x="19" y="73"/>
                  <a:pt x="19" y="73"/>
                </a:cubicBezTo>
                <a:cubicBezTo>
                  <a:pt x="19" y="23"/>
                  <a:pt x="19" y="23"/>
                  <a:pt x="19" y="23"/>
                </a:cubicBezTo>
                <a:cubicBezTo>
                  <a:pt x="10" y="23"/>
                  <a:pt x="10" y="23"/>
                  <a:pt x="10" y="23"/>
                </a:cubicBezTo>
                <a:cubicBezTo>
                  <a:pt x="10" y="15"/>
                  <a:pt x="10" y="15"/>
                  <a:pt x="10" y="15"/>
                </a:cubicBezTo>
                <a:cubicBezTo>
                  <a:pt x="37" y="15"/>
                  <a:pt x="37" y="15"/>
                  <a:pt x="37" y="15"/>
                </a:cubicBezTo>
                <a:cubicBezTo>
                  <a:pt x="37" y="23"/>
                  <a:pt x="37" y="23"/>
                  <a:pt x="37" y="23"/>
                </a:cubicBezTo>
                <a:cubicBezTo>
                  <a:pt x="28" y="23"/>
                  <a:pt x="28" y="23"/>
                  <a:pt x="28" y="23"/>
                </a:cubicBezTo>
                <a:lnTo>
                  <a:pt x="28" y="73"/>
                </a:lnTo>
                <a:close/>
                <a:moveTo>
                  <a:pt x="59" y="73"/>
                </a:moveTo>
                <a:cubicBezTo>
                  <a:pt x="51" y="73"/>
                  <a:pt x="51" y="73"/>
                  <a:pt x="51" y="73"/>
                </a:cubicBezTo>
                <a:cubicBezTo>
                  <a:pt x="51" y="68"/>
                  <a:pt x="51" y="68"/>
                  <a:pt x="51" y="68"/>
                </a:cubicBezTo>
                <a:cubicBezTo>
                  <a:pt x="48" y="72"/>
                  <a:pt x="45" y="74"/>
                  <a:pt x="42" y="74"/>
                </a:cubicBezTo>
                <a:cubicBezTo>
                  <a:pt x="39" y="74"/>
                  <a:pt x="38" y="73"/>
                  <a:pt x="37" y="70"/>
                </a:cubicBezTo>
                <a:cubicBezTo>
                  <a:pt x="37" y="69"/>
                  <a:pt x="36" y="67"/>
                  <a:pt x="36" y="64"/>
                </a:cubicBezTo>
                <a:cubicBezTo>
                  <a:pt x="36" y="30"/>
                  <a:pt x="36" y="30"/>
                  <a:pt x="36" y="30"/>
                </a:cubicBezTo>
                <a:cubicBezTo>
                  <a:pt x="44" y="30"/>
                  <a:pt x="44" y="30"/>
                  <a:pt x="44" y="30"/>
                </a:cubicBezTo>
                <a:cubicBezTo>
                  <a:pt x="44" y="62"/>
                  <a:pt x="44" y="62"/>
                  <a:pt x="44" y="62"/>
                </a:cubicBezTo>
                <a:cubicBezTo>
                  <a:pt x="44" y="64"/>
                  <a:pt x="44" y="65"/>
                  <a:pt x="44" y="65"/>
                </a:cubicBezTo>
                <a:cubicBezTo>
                  <a:pt x="44" y="66"/>
                  <a:pt x="45" y="67"/>
                  <a:pt x="46" y="67"/>
                </a:cubicBezTo>
                <a:cubicBezTo>
                  <a:pt x="48" y="67"/>
                  <a:pt x="49" y="65"/>
                  <a:pt x="51" y="63"/>
                </a:cubicBezTo>
                <a:cubicBezTo>
                  <a:pt x="51" y="30"/>
                  <a:pt x="51" y="30"/>
                  <a:pt x="51" y="30"/>
                </a:cubicBezTo>
                <a:cubicBezTo>
                  <a:pt x="59" y="30"/>
                  <a:pt x="59" y="30"/>
                  <a:pt x="59" y="30"/>
                </a:cubicBezTo>
                <a:lnTo>
                  <a:pt x="59" y="73"/>
                </a:lnTo>
                <a:close/>
                <a:moveTo>
                  <a:pt x="88" y="60"/>
                </a:moveTo>
                <a:cubicBezTo>
                  <a:pt x="88" y="64"/>
                  <a:pt x="88" y="67"/>
                  <a:pt x="88" y="69"/>
                </a:cubicBezTo>
                <a:cubicBezTo>
                  <a:pt x="86" y="72"/>
                  <a:pt x="84" y="74"/>
                  <a:pt x="81" y="74"/>
                </a:cubicBezTo>
                <a:cubicBezTo>
                  <a:pt x="79" y="74"/>
                  <a:pt x="76" y="72"/>
                  <a:pt x="73" y="69"/>
                </a:cubicBezTo>
                <a:cubicBezTo>
                  <a:pt x="73" y="73"/>
                  <a:pt x="73" y="73"/>
                  <a:pt x="73" y="73"/>
                </a:cubicBezTo>
                <a:cubicBezTo>
                  <a:pt x="65" y="73"/>
                  <a:pt x="65" y="73"/>
                  <a:pt x="65" y="73"/>
                </a:cubicBezTo>
                <a:cubicBezTo>
                  <a:pt x="65" y="15"/>
                  <a:pt x="65" y="15"/>
                  <a:pt x="65" y="15"/>
                </a:cubicBezTo>
                <a:cubicBezTo>
                  <a:pt x="73" y="15"/>
                  <a:pt x="73" y="15"/>
                  <a:pt x="73" y="15"/>
                </a:cubicBezTo>
                <a:cubicBezTo>
                  <a:pt x="73" y="34"/>
                  <a:pt x="73" y="34"/>
                  <a:pt x="73" y="34"/>
                </a:cubicBezTo>
                <a:cubicBezTo>
                  <a:pt x="76" y="31"/>
                  <a:pt x="78" y="30"/>
                  <a:pt x="81" y="30"/>
                </a:cubicBezTo>
                <a:cubicBezTo>
                  <a:pt x="84" y="30"/>
                  <a:pt x="86" y="31"/>
                  <a:pt x="88" y="34"/>
                </a:cubicBezTo>
                <a:cubicBezTo>
                  <a:pt x="88" y="36"/>
                  <a:pt x="88" y="39"/>
                  <a:pt x="88" y="43"/>
                </a:cubicBezTo>
                <a:lnTo>
                  <a:pt x="88" y="60"/>
                </a:lnTo>
                <a:close/>
                <a:moveTo>
                  <a:pt x="117" y="53"/>
                </a:moveTo>
                <a:cubicBezTo>
                  <a:pt x="102" y="53"/>
                  <a:pt x="102" y="53"/>
                  <a:pt x="102" y="53"/>
                </a:cubicBezTo>
                <a:cubicBezTo>
                  <a:pt x="102" y="61"/>
                  <a:pt x="102" y="61"/>
                  <a:pt x="102" y="61"/>
                </a:cubicBezTo>
                <a:cubicBezTo>
                  <a:pt x="102" y="65"/>
                  <a:pt x="103" y="67"/>
                  <a:pt x="106" y="67"/>
                </a:cubicBezTo>
                <a:cubicBezTo>
                  <a:pt x="108" y="67"/>
                  <a:pt x="109" y="66"/>
                  <a:pt x="109" y="63"/>
                </a:cubicBezTo>
                <a:cubicBezTo>
                  <a:pt x="109" y="63"/>
                  <a:pt x="109" y="61"/>
                  <a:pt x="109" y="58"/>
                </a:cubicBezTo>
                <a:cubicBezTo>
                  <a:pt x="117" y="58"/>
                  <a:pt x="117" y="58"/>
                  <a:pt x="117" y="58"/>
                </a:cubicBezTo>
                <a:cubicBezTo>
                  <a:pt x="117" y="59"/>
                  <a:pt x="117" y="59"/>
                  <a:pt x="117" y="59"/>
                </a:cubicBezTo>
                <a:cubicBezTo>
                  <a:pt x="117" y="62"/>
                  <a:pt x="117" y="64"/>
                  <a:pt x="117" y="64"/>
                </a:cubicBezTo>
                <a:cubicBezTo>
                  <a:pt x="117" y="66"/>
                  <a:pt x="116" y="68"/>
                  <a:pt x="115" y="69"/>
                </a:cubicBezTo>
                <a:cubicBezTo>
                  <a:pt x="113" y="72"/>
                  <a:pt x="110" y="74"/>
                  <a:pt x="106" y="74"/>
                </a:cubicBezTo>
                <a:cubicBezTo>
                  <a:pt x="102" y="74"/>
                  <a:pt x="99" y="72"/>
                  <a:pt x="96" y="69"/>
                </a:cubicBezTo>
                <a:cubicBezTo>
                  <a:pt x="95" y="67"/>
                  <a:pt x="94" y="64"/>
                  <a:pt x="94" y="59"/>
                </a:cubicBezTo>
                <a:cubicBezTo>
                  <a:pt x="94" y="44"/>
                  <a:pt x="94" y="44"/>
                  <a:pt x="94" y="44"/>
                </a:cubicBezTo>
                <a:cubicBezTo>
                  <a:pt x="94" y="39"/>
                  <a:pt x="95" y="36"/>
                  <a:pt x="96" y="34"/>
                </a:cubicBezTo>
                <a:cubicBezTo>
                  <a:pt x="99" y="31"/>
                  <a:pt x="102" y="30"/>
                  <a:pt x="106" y="30"/>
                </a:cubicBezTo>
                <a:cubicBezTo>
                  <a:pt x="110" y="30"/>
                  <a:pt x="113" y="31"/>
                  <a:pt x="115" y="34"/>
                </a:cubicBezTo>
                <a:cubicBezTo>
                  <a:pt x="116" y="36"/>
                  <a:pt x="117" y="39"/>
                  <a:pt x="117" y="44"/>
                </a:cubicBezTo>
                <a:lnTo>
                  <a:pt x="117" y="53"/>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69" name="Freeform 419"/>
          <p:cNvSpPr>
            <a:spLocks noEditPoints="1"/>
          </p:cNvSpPr>
          <p:nvPr/>
        </p:nvSpPr>
        <p:spPr bwMode="auto">
          <a:xfrm>
            <a:off x="3948522" y="1859859"/>
            <a:ext cx="161840" cy="118399"/>
          </a:xfrm>
          <a:custGeom>
            <a:avLst/>
            <a:gdLst>
              <a:gd name="T0" fmla="*/ 19 w 80"/>
              <a:gd name="T1" fmla="*/ 35 h 59"/>
              <a:gd name="T2" fmla="*/ 19 w 80"/>
              <a:gd name="T3" fmla="*/ 59 h 59"/>
              <a:gd name="T4" fmla="*/ 11 w 80"/>
              <a:gd name="T5" fmla="*/ 59 h 59"/>
              <a:gd name="T6" fmla="*/ 11 w 80"/>
              <a:gd name="T7" fmla="*/ 35 h 59"/>
              <a:gd name="T8" fmla="*/ 5 w 80"/>
              <a:gd name="T9" fmla="*/ 16 h 59"/>
              <a:gd name="T10" fmla="*/ 0 w 80"/>
              <a:gd name="T11" fmla="*/ 0 h 59"/>
              <a:gd name="T12" fmla="*/ 9 w 80"/>
              <a:gd name="T13" fmla="*/ 0 h 59"/>
              <a:gd name="T14" fmla="*/ 15 w 80"/>
              <a:gd name="T15" fmla="*/ 23 h 59"/>
              <a:gd name="T16" fmla="*/ 21 w 80"/>
              <a:gd name="T17" fmla="*/ 0 h 59"/>
              <a:gd name="T18" fmla="*/ 30 w 80"/>
              <a:gd name="T19" fmla="*/ 0 h 59"/>
              <a:gd name="T20" fmla="*/ 19 w 80"/>
              <a:gd name="T21" fmla="*/ 35 h 59"/>
              <a:gd name="T22" fmla="*/ 49 w 80"/>
              <a:gd name="T23" fmla="*/ 55 h 59"/>
              <a:gd name="T24" fmla="*/ 40 w 80"/>
              <a:gd name="T25" fmla="*/ 59 h 59"/>
              <a:gd name="T26" fmla="*/ 31 w 80"/>
              <a:gd name="T27" fmla="*/ 55 h 59"/>
              <a:gd name="T28" fmla="*/ 28 w 80"/>
              <a:gd name="T29" fmla="*/ 45 h 59"/>
              <a:gd name="T30" fmla="*/ 28 w 80"/>
              <a:gd name="T31" fmla="*/ 29 h 59"/>
              <a:gd name="T32" fmla="*/ 31 w 80"/>
              <a:gd name="T33" fmla="*/ 19 h 59"/>
              <a:gd name="T34" fmla="*/ 40 w 80"/>
              <a:gd name="T35" fmla="*/ 15 h 59"/>
              <a:gd name="T36" fmla="*/ 49 w 80"/>
              <a:gd name="T37" fmla="*/ 19 h 59"/>
              <a:gd name="T38" fmla="*/ 51 w 80"/>
              <a:gd name="T39" fmla="*/ 29 h 59"/>
              <a:gd name="T40" fmla="*/ 51 w 80"/>
              <a:gd name="T41" fmla="*/ 45 h 59"/>
              <a:gd name="T42" fmla="*/ 49 w 80"/>
              <a:gd name="T43" fmla="*/ 55 h 59"/>
              <a:gd name="T44" fmla="*/ 44 w 80"/>
              <a:gd name="T45" fmla="*/ 28 h 59"/>
              <a:gd name="T46" fmla="*/ 40 w 80"/>
              <a:gd name="T47" fmla="*/ 22 h 59"/>
              <a:gd name="T48" fmla="*/ 36 w 80"/>
              <a:gd name="T49" fmla="*/ 28 h 59"/>
              <a:gd name="T50" fmla="*/ 36 w 80"/>
              <a:gd name="T51" fmla="*/ 46 h 59"/>
              <a:gd name="T52" fmla="*/ 40 w 80"/>
              <a:gd name="T53" fmla="*/ 52 h 59"/>
              <a:gd name="T54" fmla="*/ 44 w 80"/>
              <a:gd name="T55" fmla="*/ 46 h 59"/>
              <a:gd name="T56" fmla="*/ 44 w 80"/>
              <a:gd name="T57" fmla="*/ 28 h 59"/>
              <a:gd name="T58" fmla="*/ 72 w 80"/>
              <a:gd name="T59" fmla="*/ 59 h 59"/>
              <a:gd name="T60" fmla="*/ 72 w 80"/>
              <a:gd name="T61" fmla="*/ 54 h 59"/>
              <a:gd name="T62" fmla="*/ 63 w 80"/>
              <a:gd name="T63" fmla="*/ 59 h 59"/>
              <a:gd name="T64" fmla="*/ 58 w 80"/>
              <a:gd name="T65" fmla="*/ 56 h 59"/>
              <a:gd name="T66" fmla="*/ 57 w 80"/>
              <a:gd name="T67" fmla="*/ 49 h 59"/>
              <a:gd name="T68" fmla="*/ 57 w 80"/>
              <a:gd name="T69" fmla="*/ 15 h 59"/>
              <a:gd name="T70" fmla="*/ 65 w 80"/>
              <a:gd name="T71" fmla="*/ 15 h 59"/>
              <a:gd name="T72" fmla="*/ 65 w 80"/>
              <a:gd name="T73" fmla="*/ 47 h 59"/>
              <a:gd name="T74" fmla="*/ 65 w 80"/>
              <a:gd name="T75" fmla="*/ 50 h 59"/>
              <a:gd name="T76" fmla="*/ 67 w 80"/>
              <a:gd name="T77" fmla="*/ 52 h 59"/>
              <a:gd name="T78" fmla="*/ 72 w 80"/>
              <a:gd name="T79" fmla="*/ 48 h 59"/>
              <a:gd name="T80" fmla="*/ 72 w 80"/>
              <a:gd name="T81" fmla="*/ 15 h 59"/>
              <a:gd name="T82" fmla="*/ 80 w 80"/>
              <a:gd name="T83" fmla="*/ 15 h 59"/>
              <a:gd name="T84" fmla="*/ 80 w 80"/>
              <a:gd name="T85" fmla="*/ 59 h 59"/>
              <a:gd name="T86" fmla="*/ 72 w 80"/>
              <a:gd name="T8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 h="59">
                <a:moveTo>
                  <a:pt x="19" y="35"/>
                </a:moveTo>
                <a:cubicBezTo>
                  <a:pt x="19" y="59"/>
                  <a:pt x="19" y="59"/>
                  <a:pt x="19" y="59"/>
                </a:cubicBezTo>
                <a:cubicBezTo>
                  <a:pt x="11" y="59"/>
                  <a:pt x="11" y="59"/>
                  <a:pt x="11" y="59"/>
                </a:cubicBezTo>
                <a:cubicBezTo>
                  <a:pt x="11" y="35"/>
                  <a:pt x="11" y="35"/>
                  <a:pt x="11" y="35"/>
                </a:cubicBezTo>
                <a:cubicBezTo>
                  <a:pt x="10" y="31"/>
                  <a:pt x="8" y="25"/>
                  <a:pt x="5" y="16"/>
                </a:cubicBezTo>
                <a:cubicBezTo>
                  <a:pt x="3" y="11"/>
                  <a:pt x="1" y="6"/>
                  <a:pt x="0" y="0"/>
                </a:cubicBezTo>
                <a:cubicBezTo>
                  <a:pt x="9" y="0"/>
                  <a:pt x="9" y="0"/>
                  <a:pt x="9" y="0"/>
                </a:cubicBezTo>
                <a:cubicBezTo>
                  <a:pt x="15" y="23"/>
                  <a:pt x="15" y="23"/>
                  <a:pt x="15" y="23"/>
                </a:cubicBezTo>
                <a:cubicBezTo>
                  <a:pt x="21" y="0"/>
                  <a:pt x="21" y="0"/>
                  <a:pt x="21" y="0"/>
                </a:cubicBezTo>
                <a:cubicBezTo>
                  <a:pt x="30" y="0"/>
                  <a:pt x="30" y="0"/>
                  <a:pt x="30" y="0"/>
                </a:cubicBezTo>
                <a:lnTo>
                  <a:pt x="19" y="35"/>
                </a:lnTo>
                <a:close/>
                <a:moveTo>
                  <a:pt x="49" y="55"/>
                </a:moveTo>
                <a:cubicBezTo>
                  <a:pt x="47" y="58"/>
                  <a:pt x="44" y="59"/>
                  <a:pt x="40" y="59"/>
                </a:cubicBezTo>
                <a:cubicBezTo>
                  <a:pt x="36" y="59"/>
                  <a:pt x="33" y="58"/>
                  <a:pt x="31" y="55"/>
                </a:cubicBezTo>
                <a:cubicBezTo>
                  <a:pt x="29" y="53"/>
                  <a:pt x="28" y="49"/>
                  <a:pt x="28" y="45"/>
                </a:cubicBezTo>
                <a:cubicBezTo>
                  <a:pt x="28" y="29"/>
                  <a:pt x="28" y="29"/>
                  <a:pt x="28" y="29"/>
                </a:cubicBezTo>
                <a:cubicBezTo>
                  <a:pt x="28" y="25"/>
                  <a:pt x="29" y="21"/>
                  <a:pt x="31" y="19"/>
                </a:cubicBezTo>
                <a:cubicBezTo>
                  <a:pt x="33" y="16"/>
                  <a:pt x="36" y="15"/>
                  <a:pt x="40" y="15"/>
                </a:cubicBezTo>
                <a:cubicBezTo>
                  <a:pt x="44" y="15"/>
                  <a:pt x="47" y="16"/>
                  <a:pt x="49" y="19"/>
                </a:cubicBezTo>
                <a:cubicBezTo>
                  <a:pt x="51" y="21"/>
                  <a:pt x="51" y="25"/>
                  <a:pt x="51" y="29"/>
                </a:cubicBezTo>
                <a:cubicBezTo>
                  <a:pt x="51" y="45"/>
                  <a:pt x="51" y="45"/>
                  <a:pt x="51" y="45"/>
                </a:cubicBezTo>
                <a:cubicBezTo>
                  <a:pt x="51" y="49"/>
                  <a:pt x="51" y="53"/>
                  <a:pt x="49" y="55"/>
                </a:cubicBezTo>
                <a:moveTo>
                  <a:pt x="44" y="28"/>
                </a:moveTo>
                <a:cubicBezTo>
                  <a:pt x="44" y="24"/>
                  <a:pt x="42" y="22"/>
                  <a:pt x="40" y="22"/>
                </a:cubicBezTo>
                <a:cubicBezTo>
                  <a:pt x="37" y="22"/>
                  <a:pt x="36" y="24"/>
                  <a:pt x="36" y="28"/>
                </a:cubicBezTo>
                <a:cubicBezTo>
                  <a:pt x="36" y="46"/>
                  <a:pt x="36" y="46"/>
                  <a:pt x="36" y="46"/>
                </a:cubicBezTo>
                <a:cubicBezTo>
                  <a:pt x="36" y="50"/>
                  <a:pt x="37" y="52"/>
                  <a:pt x="40" y="52"/>
                </a:cubicBezTo>
                <a:cubicBezTo>
                  <a:pt x="42" y="52"/>
                  <a:pt x="44" y="50"/>
                  <a:pt x="44" y="46"/>
                </a:cubicBezTo>
                <a:lnTo>
                  <a:pt x="44" y="28"/>
                </a:lnTo>
                <a:close/>
                <a:moveTo>
                  <a:pt x="72" y="59"/>
                </a:moveTo>
                <a:cubicBezTo>
                  <a:pt x="72" y="54"/>
                  <a:pt x="72" y="54"/>
                  <a:pt x="72" y="54"/>
                </a:cubicBezTo>
                <a:cubicBezTo>
                  <a:pt x="69" y="57"/>
                  <a:pt x="66" y="59"/>
                  <a:pt x="63" y="59"/>
                </a:cubicBezTo>
                <a:cubicBezTo>
                  <a:pt x="61" y="59"/>
                  <a:pt x="59" y="58"/>
                  <a:pt x="58" y="56"/>
                </a:cubicBezTo>
                <a:cubicBezTo>
                  <a:pt x="58" y="55"/>
                  <a:pt x="57" y="53"/>
                  <a:pt x="57" y="49"/>
                </a:cubicBezTo>
                <a:cubicBezTo>
                  <a:pt x="57" y="15"/>
                  <a:pt x="57" y="15"/>
                  <a:pt x="57" y="15"/>
                </a:cubicBezTo>
                <a:cubicBezTo>
                  <a:pt x="65" y="15"/>
                  <a:pt x="65" y="15"/>
                  <a:pt x="65" y="15"/>
                </a:cubicBezTo>
                <a:cubicBezTo>
                  <a:pt x="65" y="47"/>
                  <a:pt x="65" y="47"/>
                  <a:pt x="65" y="47"/>
                </a:cubicBezTo>
                <a:cubicBezTo>
                  <a:pt x="65" y="49"/>
                  <a:pt x="65" y="50"/>
                  <a:pt x="65" y="50"/>
                </a:cubicBezTo>
                <a:cubicBezTo>
                  <a:pt x="66" y="51"/>
                  <a:pt x="66" y="52"/>
                  <a:pt x="67" y="52"/>
                </a:cubicBezTo>
                <a:cubicBezTo>
                  <a:pt x="69" y="52"/>
                  <a:pt x="71" y="51"/>
                  <a:pt x="72" y="48"/>
                </a:cubicBezTo>
                <a:cubicBezTo>
                  <a:pt x="72" y="15"/>
                  <a:pt x="72" y="15"/>
                  <a:pt x="72" y="15"/>
                </a:cubicBezTo>
                <a:cubicBezTo>
                  <a:pt x="80" y="15"/>
                  <a:pt x="80" y="15"/>
                  <a:pt x="80" y="15"/>
                </a:cubicBezTo>
                <a:cubicBezTo>
                  <a:pt x="80" y="59"/>
                  <a:pt x="80" y="59"/>
                  <a:pt x="80" y="59"/>
                </a:cubicBezTo>
                <a:lnTo>
                  <a:pt x="72" y="59"/>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0" name="Oval 420"/>
          <p:cNvSpPr>
            <a:spLocks noChangeArrowheads="1"/>
          </p:cNvSpPr>
          <p:nvPr/>
        </p:nvSpPr>
        <p:spPr bwMode="auto">
          <a:xfrm>
            <a:off x="2922116" y="2085582"/>
            <a:ext cx="74106" cy="74106"/>
          </a:xfrm>
          <a:prstGeom prst="ellipse">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1" name="Freeform 421"/>
          <p:cNvSpPr>
            <a:spLocks/>
          </p:cNvSpPr>
          <p:nvPr/>
        </p:nvSpPr>
        <p:spPr bwMode="auto">
          <a:xfrm>
            <a:off x="2922116" y="1972295"/>
            <a:ext cx="187394" cy="187394"/>
          </a:xfrm>
          <a:custGeom>
            <a:avLst/>
            <a:gdLst>
              <a:gd name="T0" fmla="*/ 0 w 93"/>
              <a:gd name="T1" fmla="*/ 27 h 93"/>
              <a:gd name="T2" fmla="*/ 46 w 93"/>
              <a:gd name="T3" fmla="*/ 46 h 93"/>
              <a:gd name="T4" fmla="*/ 66 w 93"/>
              <a:gd name="T5" fmla="*/ 93 h 93"/>
              <a:gd name="T6" fmla="*/ 93 w 93"/>
              <a:gd name="T7" fmla="*/ 93 h 93"/>
              <a:gd name="T8" fmla="*/ 0 w 93"/>
              <a:gd name="T9" fmla="*/ 0 h 93"/>
              <a:gd name="T10" fmla="*/ 0 w 93"/>
              <a:gd name="T11" fmla="*/ 27 h 93"/>
            </a:gdLst>
            <a:ahLst/>
            <a:cxnLst>
              <a:cxn ang="0">
                <a:pos x="T0" y="T1"/>
              </a:cxn>
              <a:cxn ang="0">
                <a:pos x="T2" y="T3"/>
              </a:cxn>
              <a:cxn ang="0">
                <a:pos x="T4" y="T5"/>
              </a:cxn>
              <a:cxn ang="0">
                <a:pos x="T6" y="T7"/>
              </a:cxn>
              <a:cxn ang="0">
                <a:pos x="T8" y="T9"/>
              </a:cxn>
              <a:cxn ang="0">
                <a:pos x="T10" y="T11"/>
              </a:cxn>
            </a:cxnLst>
            <a:rect l="0" t="0" r="r" b="b"/>
            <a:pathLst>
              <a:path w="93" h="93">
                <a:moveTo>
                  <a:pt x="0" y="27"/>
                </a:moveTo>
                <a:cubicBezTo>
                  <a:pt x="17" y="27"/>
                  <a:pt x="34" y="34"/>
                  <a:pt x="46" y="46"/>
                </a:cubicBezTo>
                <a:cubicBezTo>
                  <a:pt x="59" y="59"/>
                  <a:pt x="66" y="76"/>
                  <a:pt x="66" y="93"/>
                </a:cubicBezTo>
                <a:cubicBezTo>
                  <a:pt x="93" y="93"/>
                  <a:pt x="93" y="93"/>
                  <a:pt x="93" y="93"/>
                </a:cubicBezTo>
                <a:cubicBezTo>
                  <a:pt x="93" y="42"/>
                  <a:pt x="51" y="0"/>
                  <a:pt x="0" y="0"/>
                </a:cubicBezTo>
                <a:lnTo>
                  <a:pt x="0" y="2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2" name="Freeform 422"/>
          <p:cNvSpPr>
            <a:spLocks/>
          </p:cNvSpPr>
          <p:nvPr/>
        </p:nvSpPr>
        <p:spPr bwMode="auto">
          <a:xfrm>
            <a:off x="2922116" y="1876042"/>
            <a:ext cx="281942" cy="283646"/>
          </a:xfrm>
          <a:custGeom>
            <a:avLst/>
            <a:gdLst>
              <a:gd name="T0" fmla="*/ 0 w 140"/>
              <a:gd name="T1" fmla="*/ 27 h 141"/>
              <a:gd name="T2" fmla="*/ 113 w 140"/>
              <a:gd name="T3" fmla="*/ 141 h 141"/>
              <a:gd name="T4" fmla="*/ 140 w 140"/>
              <a:gd name="T5" fmla="*/ 141 h 141"/>
              <a:gd name="T6" fmla="*/ 0 w 140"/>
              <a:gd name="T7" fmla="*/ 0 h 141"/>
              <a:gd name="T8" fmla="*/ 0 w 140"/>
              <a:gd name="T9" fmla="*/ 27 h 141"/>
            </a:gdLst>
            <a:ahLst/>
            <a:cxnLst>
              <a:cxn ang="0">
                <a:pos x="T0" y="T1"/>
              </a:cxn>
              <a:cxn ang="0">
                <a:pos x="T2" y="T3"/>
              </a:cxn>
              <a:cxn ang="0">
                <a:pos x="T4" y="T5"/>
              </a:cxn>
              <a:cxn ang="0">
                <a:pos x="T6" y="T7"/>
              </a:cxn>
              <a:cxn ang="0">
                <a:pos x="T8" y="T9"/>
              </a:cxn>
            </a:cxnLst>
            <a:rect l="0" t="0" r="r" b="b"/>
            <a:pathLst>
              <a:path w="140" h="141">
                <a:moveTo>
                  <a:pt x="0" y="27"/>
                </a:moveTo>
                <a:cubicBezTo>
                  <a:pt x="62" y="27"/>
                  <a:pt x="113" y="78"/>
                  <a:pt x="113" y="141"/>
                </a:cubicBezTo>
                <a:cubicBezTo>
                  <a:pt x="140" y="141"/>
                  <a:pt x="140" y="141"/>
                  <a:pt x="140" y="141"/>
                </a:cubicBezTo>
                <a:cubicBezTo>
                  <a:pt x="140" y="63"/>
                  <a:pt x="77" y="0"/>
                  <a:pt x="0" y="0"/>
                </a:cubicBezTo>
                <a:lnTo>
                  <a:pt x="0" y="2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3" name="Freeform 423"/>
          <p:cNvSpPr>
            <a:spLocks noEditPoints="1"/>
          </p:cNvSpPr>
          <p:nvPr/>
        </p:nvSpPr>
        <p:spPr bwMode="auto">
          <a:xfrm>
            <a:off x="4359936" y="1944186"/>
            <a:ext cx="152470" cy="221465"/>
          </a:xfrm>
          <a:custGeom>
            <a:avLst/>
            <a:gdLst>
              <a:gd name="T0" fmla="*/ 0 w 76"/>
              <a:gd name="T1" fmla="*/ 32 h 110"/>
              <a:gd name="T2" fmla="*/ 0 w 76"/>
              <a:gd name="T3" fmla="*/ 28 h 110"/>
              <a:gd name="T4" fmla="*/ 0 w 76"/>
              <a:gd name="T5" fmla="*/ 12 h 110"/>
              <a:gd name="T6" fmla="*/ 1 w 76"/>
              <a:gd name="T7" fmla="*/ 6 h 110"/>
              <a:gd name="T8" fmla="*/ 8 w 76"/>
              <a:gd name="T9" fmla="*/ 0 h 110"/>
              <a:gd name="T10" fmla="*/ 17 w 76"/>
              <a:gd name="T11" fmla="*/ 2 h 110"/>
              <a:gd name="T12" fmla="*/ 21 w 76"/>
              <a:gd name="T13" fmla="*/ 9 h 110"/>
              <a:gd name="T14" fmla="*/ 21 w 76"/>
              <a:gd name="T15" fmla="*/ 21 h 110"/>
              <a:gd name="T16" fmla="*/ 21 w 76"/>
              <a:gd name="T17" fmla="*/ 37 h 110"/>
              <a:gd name="T18" fmla="*/ 21 w 76"/>
              <a:gd name="T19" fmla="*/ 38 h 110"/>
              <a:gd name="T20" fmla="*/ 28 w 76"/>
              <a:gd name="T21" fmla="*/ 36 h 110"/>
              <a:gd name="T22" fmla="*/ 60 w 76"/>
              <a:gd name="T23" fmla="*/ 43 h 110"/>
              <a:gd name="T24" fmla="*/ 75 w 76"/>
              <a:gd name="T25" fmla="*/ 76 h 110"/>
              <a:gd name="T26" fmla="*/ 42 w 76"/>
              <a:gd name="T27" fmla="*/ 109 h 110"/>
              <a:gd name="T28" fmla="*/ 38 w 76"/>
              <a:gd name="T29" fmla="*/ 110 h 110"/>
              <a:gd name="T30" fmla="*/ 36 w 76"/>
              <a:gd name="T31" fmla="*/ 110 h 110"/>
              <a:gd name="T32" fmla="*/ 35 w 76"/>
              <a:gd name="T33" fmla="*/ 110 h 110"/>
              <a:gd name="T34" fmla="*/ 28 w 76"/>
              <a:gd name="T35" fmla="*/ 109 h 110"/>
              <a:gd name="T36" fmla="*/ 0 w 76"/>
              <a:gd name="T37" fmla="*/ 73 h 110"/>
              <a:gd name="T38" fmla="*/ 0 w 76"/>
              <a:gd name="T39" fmla="*/ 53 h 110"/>
              <a:gd name="T40" fmla="*/ 0 w 76"/>
              <a:gd name="T41" fmla="*/ 49 h 110"/>
              <a:gd name="T42" fmla="*/ 0 w 76"/>
              <a:gd name="T43" fmla="*/ 32 h 110"/>
              <a:gd name="T44" fmla="*/ 53 w 76"/>
              <a:gd name="T45" fmla="*/ 72 h 110"/>
              <a:gd name="T46" fmla="*/ 37 w 76"/>
              <a:gd name="T47" fmla="*/ 56 h 110"/>
              <a:gd name="T48" fmla="*/ 21 w 76"/>
              <a:gd name="T49" fmla="*/ 72 h 110"/>
              <a:gd name="T50" fmla="*/ 37 w 76"/>
              <a:gd name="T51" fmla="*/ 88 h 110"/>
              <a:gd name="T52" fmla="*/ 53 w 76"/>
              <a:gd name="T53" fmla="*/ 7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110">
                <a:moveTo>
                  <a:pt x="0" y="32"/>
                </a:moveTo>
                <a:cubicBezTo>
                  <a:pt x="0" y="31"/>
                  <a:pt x="0" y="30"/>
                  <a:pt x="0" y="28"/>
                </a:cubicBezTo>
                <a:cubicBezTo>
                  <a:pt x="0" y="23"/>
                  <a:pt x="0" y="17"/>
                  <a:pt x="0" y="12"/>
                </a:cubicBezTo>
                <a:cubicBezTo>
                  <a:pt x="0" y="10"/>
                  <a:pt x="0" y="8"/>
                  <a:pt x="1" y="6"/>
                </a:cubicBezTo>
                <a:cubicBezTo>
                  <a:pt x="2" y="2"/>
                  <a:pt x="5" y="1"/>
                  <a:pt x="8" y="0"/>
                </a:cubicBezTo>
                <a:cubicBezTo>
                  <a:pt x="11" y="0"/>
                  <a:pt x="14" y="0"/>
                  <a:pt x="17" y="2"/>
                </a:cubicBezTo>
                <a:cubicBezTo>
                  <a:pt x="19" y="4"/>
                  <a:pt x="20" y="6"/>
                  <a:pt x="21" y="9"/>
                </a:cubicBezTo>
                <a:cubicBezTo>
                  <a:pt x="21" y="13"/>
                  <a:pt x="21" y="17"/>
                  <a:pt x="21" y="21"/>
                </a:cubicBezTo>
                <a:cubicBezTo>
                  <a:pt x="21" y="26"/>
                  <a:pt x="21" y="32"/>
                  <a:pt x="21" y="37"/>
                </a:cubicBezTo>
                <a:cubicBezTo>
                  <a:pt x="21" y="37"/>
                  <a:pt x="21" y="38"/>
                  <a:pt x="21" y="38"/>
                </a:cubicBezTo>
                <a:cubicBezTo>
                  <a:pt x="24" y="37"/>
                  <a:pt x="26" y="37"/>
                  <a:pt x="28" y="36"/>
                </a:cubicBezTo>
                <a:cubicBezTo>
                  <a:pt x="40" y="33"/>
                  <a:pt x="51" y="35"/>
                  <a:pt x="60" y="43"/>
                </a:cubicBezTo>
                <a:cubicBezTo>
                  <a:pt x="71" y="51"/>
                  <a:pt x="76" y="62"/>
                  <a:pt x="75" y="76"/>
                </a:cubicBezTo>
                <a:cubicBezTo>
                  <a:pt x="73" y="93"/>
                  <a:pt x="60" y="107"/>
                  <a:pt x="42" y="109"/>
                </a:cubicBezTo>
                <a:cubicBezTo>
                  <a:pt x="41" y="110"/>
                  <a:pt x="39" y="110"/>
                  <a:pt x="38" y="110"/>
                </a:cubicBezTo>
                <a:cubicBezTo>
                  <a:pt x="36" y="110"/>
                  <a:pt x="36" y="110"/>
                  <a:pt x="36" y="110"/>
                </a:cubicBezTo>
                <a:cubicBezTo>
                  <a:pt x="36" y="110"/>
                  <a:pt x="35" y="110"/>
                  <a:pt x="35" y="110"/>
                </a:cubicBezTo>
                <a:cubicBezTo>
                  <a:pt x="33" y="109"/>
                  <a:pt x="30" y="109"/>
                  <a:pt x="28" y="109"/>
                </a:cubicBezTo>
                <a:cubicBezTo>
                  <a:pt x="12" y="105"/>
                  <a:pt x="0" y="90"/>
                  <a:pt x="0" y="73"/>
                </a:cubicBezTo>
                <a:cubicBezTo>
                  <a:pt x="0" y="66"/>
                  <a:pt x="0" y="60"/>
                  <a:pt x="0" y="53"/>
                </a:cubicBezTo>
                <a:cubicBezTo>
                  <a:pt x="0" y="52"/>
                  <a:pt x="0" y="51"/>
                  <a:pt x="0" y="49"/>
                </a:cubicBezTo>
                <a:lnTo>
                  <a:pt x="0" y="32"/>
                </a:lnTo>
                <a:close/>
                <a:moveTo>
                  <a:pt x="53" y="72"/>
                </a:moveTo>
                <a:cubicBezTo>
                  <a:pt x="53" y="64"/>
                  <a:pt x="46" y="57"/>
                  <a:pt x="37" y="56"/>
                </a:cubicBezTo>
                <a:cubicBezTo>
                  <a:pt x="29" y="56"/>
                  <a:pt x="21" y="64"/>
                  <a:pt x="21" y="72"/>
                </a:cubicBezTo>
                <a:cubicBezTo>
                  <a:pt x="21" y="81"/>
                  <a:pt x="29" y="88"/>
                  <a:pt x="37" y="88"/>
                </a:cubicBezTo>
                <a:cubicBezTo>
                  <a:pt x="46" y="88"/>
                  <a:pt x="53" y="81"/>
                  <a:pt x="53" y="7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4" name="Freeform 424"/>
          <p:cNvSpPr>
            <a:spLocks/>
          </p:cNvSpPr>
          <p:nvPr/>
        </p:nvSpPr>
        <p:spPr bwMode="auto">
          <a:xfrm>
            <a:off x="4432338" y="1867525"/>
            <a:ext cx="235094" cy="224021"/>
          </a:xfrm>
          <a:custGeom>
            <a:avLst/>
            <a:gdLst>
              <a:gd name="T0" fmla="*/ 15 w 117"/>
              <a:gd name="T1" fmla="*/ 0 h 111"/>
              <a:gd name="T2" fmla="*/ 18 w 117"/>
              <a:gd name="T3" fmla="*/ 0 h 111"/>
              <a:gd name="T4" fmla="*/ 65 w 117"/>
              <a:gd name="T5" fmla="*/ 13 h 111"/>
              <a:gd name="T6" fmla="*/ 90 w 117"/>
              <a:gd name="T7" fmla="*/ 33 h 111"/>
              <a:gd name="T8" fmla="*/ 116 w 117"/>
              <a:gd name="T9" fmla="*/ 89 h 111"/>
              <a:gd name="T10" fmla="*/ 117 w 117"/>
              <a:gd name="T11" fmla="*/ 101 h 111"/>
              <a:gd name="T12" fmla="*/ 108 w 117"/>
              <a:gd name="T13" fmla="*/ 110 h 111"/>
              <a:gd name="T14" fmla="*/ 101 w 117"/>
              <a:gd name="T15" fmla="*/ 110 h 111"/>
              <a:gd name="T16" fmla="*/ 93 w 117"/>
              <a:gd name="T17" fmla="*/ 103 h 111"/>
              <a:gd name="T18" fmla="*/ 93 w 117"/>
              <a:gd name="T19" fmla="*/ 98 h 111"/>
              <a:gd name="T20" fmla="*/ 75 w 117"/>
              <a:gd name="T21" fmla="*/ 52 h 111"/>
              <a:gd name="T22" fmla="*/ 27 w 117"/>
              <a:gd name="T23" fmla="*/ 24 h 111"/>
              <a:gd name="T24" fmla="*/ 12 w 117"/>
              <a:gd name="T25" fmla="*/ 23 h 111"/>
              <a:gd name="T26" fmla="*/ 7 w 117"/>
              <a:gd name="T27" fmla="*/ 21 h 111"/>
              <a:gd name="T28" fmla="*/ 1 w 117"/>
              <a:gd name="T29" fmla="*/ 14 h 111"/>
              <a:gd name="T30" fmla="*/ 1 w 117"/>
              <a:gd name="T31" fmla="*/ 8 h 111"/>
              <a:gd name="T32" fmla="*/ 8 w 117"/>
              <a:gd name="T33" fmla="*/ 0 h 111"/>
              <a:gd name="T34" fmla="*/ 11 w 117"/>
              <a:gd name="T35" fmla="*/ 0 h 111"/>
              <a:gd name="T36" fmla="*/ 15 w 117"/>
              <a:gd name="T37"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111">
                <a:moveTo>
                  <a:pt x="15" y="0"/>
                </a:moveTo>
                <a:cubicBezTo>
                  <a:pt x="16" y="0"/>
                  <a:pt x="17" y="0"/>
                  <a:pt x="18" y="0"/>
                </a:cubicBezTo>
                <a:cubicBezTo>
                  <a:pt x="35" y="0"/>
                  <a:pt x="51" y="5"/>
                  <a:pt x="65" y="13"/>
                </a:cubicBezTo>
                <a:cubicBezTo>
                  <a:pt x="75" y="19"/>
                  <a:pt x="83" y="25"/>
                  <a:pt x="90" y="33"/>
                </a:cubicBezTo>
                <a:cubicBezTo>
                  <a:pt x="105" y="49"/>
                  <a:pt x="114" y="67"/>
                  <a:pt x="116" y="89"/>
                </a:cubicBezTo>
                <a:cubicBezTo>
                  <a:pt x="117" y="93"/>
                  <a:pt x="117" y="97"/>
                  <a:pt x="117" y="101"/>
                </a:cubicBezTo>
                <a:cubicBezTo>
                  <a:pt x="116" y="106"/>
                  <a:pt x="113" y="109"/>
                  <a:pt x="108" y="110"/>
                </a:cubicBezTo>
                <a:cubicBezTo>
                  <a:pt x="106" y="111"/>
                  <a:pt x="103" y="111"/>
                  <a:pt x="101" y="110"/>
                </a:cubicBezTo>
                <a:cubicBezTo>
                  <a:pt x="97" y="109"/>
                  <a:pt x="94" y="107"/>
                  <a:pt x="93" y="103"/>
                </a:cubicBezTo>
                <a:cubicBezTo>
                  <a:pt x="93" y="101"/>
                  <a:pt x="93" y="100"/>
                  <a:pt x="93" y="98"/>
                </a:cubicBezTo>
                <a:cubicBezTo>
                  <a:pt x="92" y="81"/>
                  <a:pt x="86" y="66"/>
                  <a:pt x="75" y="52"/>
                </a:cubicBezTo>
                <a:cubicBezTo>
                  <a:pt x="63" y="37"/>
                  <a:pt x="47" y="27"/>
                  <a:pt x="27" y="24"/>
                </a:cubicBezTo>
                <a:cubicBezTo>
                  <a:pt x="22" y="23"/>
                  <a:pt x="17" y="23"/>
                  <a:pt x="12" y="23"/>
                </a:cubicBezTo>
                <a:cubicBezTo>
                  <a:pt x="10" y="22"/>
                  <a:pt x="8" y="22"/>
                  <a:pt x="7" y="21"/>
                </a:cubicBezTo>
                <a:cubicBezTo>
                  <a:pt x="3" y="20"/>
                  <a:pt x="1" y="18"/>
                  <a:pt x="1" y="14"/>
                </a:cubicBezTo>
                <a:cubicBezTo>
                  <a:pt x="0" y="12"/>
                  <a:pt x="1" y="10"/>
                  <a:pt x="1" y="8"/>
                </a:cubicBezTo>
                <a:cubicBezTo>
                  <a:pt x="2" y="4"/>
                  <a:pt x="4" y="1"/>
                  <a:pt x="8" y="0"/>
                </a:cubicBezTo>
                <a:cubicBezTo>
                  <a:pt x="9" y="0"/>
                  <a:pt x="10" y="0"/>
                  <a:pt x="11" y="0"/>
                </a:cubicBezTo>
                <a:lnTo>
                  <a:pt x="15" y="0"/>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5" name="Freeform 425"/>
          <p:cNvSpPr>
            <a:spLocks/>
          </p:cNvSpPr>
          <p:nvPr/>
        </p:nvSpPr>
        <p:spPr bwMode="auto">
          <a:xfrm>
            <a:off x="4432338" y="1942483"/>
            <a:ext cx="155026" cy="149063"/>
          </a:xfrm>
          <a:custGeom>
            <a:avLst/>
            <a:gdLst>
              <a:gd name="T0" fmla="*/ 77 w 77"/>
              <a:gd name="T1" fmla="*/ 60 h 74"/>
              <a:gd name="T2" fmla="*/ 77 w 77"/>
              <a:gd name="T3" fmla="*/ 65 h 74"/>
              <a:gd name="T4" fmla="*/ 69 w 77"/>
              <a:gd name="T5" fmla="*/ 73 h 74"/>
              <a:gd name="T6" fmla="*/ 61 w 77"/>
              <a:gd name="T7" fmla="*/ 73 h 74"/>
              <a:gd name="T8" fmla="*/ 53 w 77"/>
              <a:gd name="T9" fmla="*/ 64 h 74"/>
              <a:gd name="T10" fmla="*/ 51 w 77"/>
              <a:gd name="T11" fmla="*/ 51 h 74"/>
              <a:gd name="T12" fmla="*/ 19 w 77"/>
              <a:gd name="T13" fmla="*/ 24 h 74"/>
              <a:gd name="T14" fmla="*/ 11 w 77"/>
              <a:gd name="T15" fmla="*/ 23 h 74"/>
              <a:gd name="T16" fmla="*/ 6 w 77"/>
              <a:gd name="T17" fmla="*/ 22 h 74"/>
              <a:gd name="T18" fmla="*/ 1 w 77"/>
              <a:gd name="T19" fmla="*/ 15 h 74"/>
              <a:gd name="T20" fmla="*/ 1 w 77"/>
              <a:gd name="T21" fmla="*/ 7 h 74"/>
              <a:gd name="T22" fmla="*/ 11 w 77"/>
              <a:gd name="T23" fmla="*/ 1 h 74"/>
              <a:gd name="T24" fmla="*/ 20 w 77"/>
              <a:gd name="T25" fmla="*/ 1 h 74"/>
              <a:gd name="T26" fmla="*/ 51 w 77"/>
              <a:gd name="T27" fmla="*/ 13 h 74"/>
              <a:gd name="T28" fmla="*/ 76 w 77"/>
              <a:gd name="T29" fmla="*/ 50 h 74"/>
              <a:gd name="T30" fmla="*/ 77 w 77"/>
              <a:gd name="T31" fmla="*/ 6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7" h="74">
                <a:moveTo>
                  <a:pt x="77" y="60"/>
                </a:moveTo>
                <a:cubicBezTo>
                  <a:pt x="77" y="62"/>
                  <a:pt x="77" y="63"/>
                  <a:pt x="77" y="65"/>
                </a:cubicBezTo>
                <a:cubicBezTo>
                  <a:pt x="76" y="69"/>
                  <a:pt x="73" y="72"/>
                  <a:pt x="69" y="73"/>
                </a:cubicBezTo>
                <a:cubicBezTo>
                  <a:pt x="67" y="74"/>
                  <a:pt x="64" y="74"/>
                  <a:pt x="61" y="73"/>
                </a:cubicBezTo>
                <a:cubicBezTo>
                  <a:pt x="57" y="73"/>
                  <a:pt x="54" y="69"/>
                  <a:pt x="53" y="64"/>
                </a:cubicBezTo>
                <a:cubicBezTo>
                  <a:pt x="53" y="60"/>
                  <a:pt x="52" y="55"/>
                  <a:pt x="51" y="51"/>
                </a:cubicBezTo>
                <a:cubicBezTo>
                  <a:pt x="45" y="36"/>
                  <a:pt x="35" y="27"/>
                  <a:pt x="19" y="24"/>
                </a:cubicBezTo>
                <a:cubicBezTo>
                  <a:pt x="16" y="24"/>
                  <a:pt x="13" y="24"/>
                  <a:pt x="11" y="23"/>
                </a:cubicBezTo>
                <a:cubicBezTo>
                  <a:pt x="9" y="23"/>
                  <a:pt x="7" y="23"/>
                  <a:pt x="6" y="22"/>
                </a:cubicBezTo>
                <a:cubicBezTo>
                  <a:pt x="3" y="21"/>
                  <a:pt x="1" y="18"/>
                  <a:pt x="1" y="15"/>
                </a:cubicBezTo>
                <a:cubicBezTo>
                  <a:pt x="0" y="12"/>
                  <a:pt x="0" y="9"/>
                  <a:pt x="1" y="7"/>
                </a:cubicBezTo>
                <a:cubicBezTo>
                  <a:pt x="3" y="2"/>
                  <a:pt x="7" y="1"/>
                  <a:pt x="11" y="1"/>
                </a:cubicBezTo>
                <a:cubicBezTo>
                  <a:pt x="14" y="0"/>
                  <a:pt x="17" y="1"/>
                  <a:pt x="20" y="1"/>
                </a:cubicBezTo>
                <a:cubicBezTo>
                  <a:pt x="32" y="3"/>
                  <a:pt x="42" y="7"/>
                  <a:pt x="51" y="13"/>
                </a:cubicBezTo>
                <a:cubicBezTo>
                  <a:pt x="64" y="22"/>
                  <a:pt x="72" y="34"/>
                  <a:pt x="76" y="50"/>
                </a:cubicBezTo>
                <a:cubicBezTo>
                  <a:pt x="76" y="53"/>
                  <a:pt x="77" y="57"/>
                  <a:pt x="77" y="6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6" name="Freeform 426"/>
          <p:cNvSpPr>
            <a:spLocks/>
          </p:cNvSpPr>
          <p:nvPr/>
        </p:nvSpPr>
        <p:spPr bwMode="auto">
          <a:xfrm>
            <a:off x="3924673" y="2399894"/>
            <a:ext cx="207837" cy="237649"/>
          </a:xfrm>
          <a:custGeom>
            <a:avLst/>
            <a:gdLst>
              <a:gd name="T0" fmla="*/ 63 w 103"/>
              <a:gd name="T1" fmla="*/ 84 h 118"/>
              <a:gd name="T2" fmla="*/ 71 w 103"/>
              <a:gd name="T3" fmla="*/ 70 h 118"/>
              <a:gd name="T4" fmla="*/ 51 w 103"/>
              <a:gd name="T5" fmla="*/ 40 h 118"/>
              <a:gd name="T6" fmla="*/ 54 w 103"/>
              <a:gd name="T7" fmla="*/ 14 h 118"/>
              <a:gd name="T8" fmla="*/ 73 w 103"/>
              <a:gd name="T9" fmla="*/ 1 h 118"/>
              <a:gd name="T10" fmla="*/ 90 w 103"/>
              <a:gd name="T11" fmla="*/ 3 h 118"/>
              <a:gd name="T12" fmla="*/ 103 w 103"/>
              <a:gd name="T13" fmla="*/ 21 h 118"/>
              <a:gd name="T14" fmla="*/ 103 w 103"/>
              <a:gd name="T15" fmla="*/ 37 h 118"/>
              <a:gd name="T16" fmla="*/ 99 w 103"/>
              <a:gd name="T17" fmla="*/ 49 h 118"/>
              <a:gd name="T18" fmla="*/ 94 w 103"/>
              <a:gd name="T19" fmla="*/ 49 h 118"/>
              <a:gd name="T20" fmla="*/ 82 w 103"/>
              <a:gd name="T21" fmla="*/ 44 h 118"/>
              <a:gd name="T22" fmla="*/ 83 w 103"/>
              <a:gd name="T23" fmla="*/ 39 h 118"/>
              <a:gd name="T24" fmla="*/ 83 w 103"/>
              <a:gd name="T25" fmla="*/ 23 h 118"/>
              <a:gd name="T26" fmla="*/ 76 w 103"/>
              <a:gd name="T27" fmla="*/ 18 h 118"/>
              <a:gd name="T28" fmla="*/ 69 w 103"/>
              <a:gd name="T29" fmla="*/ 25 h 118"/>
              <a:gd name="T30" fmla="*/ 69 w 103"/>
              <a:gd name="T31" fmla="*/ 40 h 118"/>
              <a:gd name="T32" fmla="*/ 87 w 103"/>
              <a:gd name="T33" fmla="*/ 59 h 118"/>
              <a:gd name="T34" fmla="*/ 103 w 103"/>
              <a:gd name="T35" fmla="*/ 59 h 118"/>
              <a:gd name="T36" fmla="*/ 103 w 103"/>
              <a:gd name="T37" fmla="*/ 59 h 118"/>
              <a:gd name="T38" fmla="*/ 103 w 103"/>
              <a:gd name="T39" fmla="*/ 72 h 118"/>
              <a:gd name="T40" fmla="*/ 89 w 103"/>
              <a:gd name="T41" fmla="*/ 74 h 118"/>
              <a:gd name="T42" fmla="*/ 77 w 103"/>
              <a:gd name="T43" fmla="*/ 94 h 118"/>
              <a:gd name="T44" fmla="*/ 57 w 103"/>
              <a:gd name="T45" fmla="*/ 115 h 118"/>
              <a:gd name="T46" fmla="*/ 47 w 103"/>
              <a:gd name="T47" fmla="*/ 117 h 118"/>
              <a:gd name="T48" fmla="*/ 37 w 103"/>
              <a:gd name="T49" fmla="*/ 110 h 118"/>
              <a:gd name="T50" fmla="*/ 16 w 103"/>
              <a:gd name="T51" fmla="*/ 77 h 118"/>
              <a:gd name="T52" fmla="*/ 4 w 103"/>
              <a:gd name="T53" fmla="*/ 38 h 118"/>
              <a:gd name="T54" fmla="*/ 1 w 103"/>
              <a:gd name="T55" fmla="*/ 19 h 118"/>
              <a:gd name="T56" fmla="*/ 1 w 103"/>
              <a:gd name="T57" fmla="*/ 18 h 118"/>
              <a:gd name="T58" fmla="*/ 19 w 103"/>
              <a:gd name="T59" fmla="*/ 18 h 118"/>
              <a:gd name="T60" fmla="*/ 21 w 103"/>
              <a:gd name="T61" fmla="*/ 19 h 118"/>
              <a:gd name="T62" fmla="*/ 23 w 103"/>
              <a:gd name="T63" fmla="*/ 33 h 118"/>
              <a:gd name="T64" fmla="*/ 35 w 103"/>
              <a:gd name="T65" fmla="*/ 73 h 118"/>
              <a:gd name="T66" fmla="*/ 51 w 103"/>
              <a:gd name="T67" fmla="*/ 9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118">
                <a:moveTo>
                  <a:pt x="51" y="99"/>
                </a:moveTo>
                <a:cubicBezTo>
                  <a:pt x="53" y="97"/>
                  <a:pt x="59" y="90"/>
                  <a:pt x="63" y="84"/>
                </a:cubicBezTo>
                <a:cubicBezTo>
                  <a:pt x="66" y="80"/>
                  <a:pt x="71" y="72"/>
                  <a:pt x="71" y="70"/>
                </a:cubicBezTo>
                <a:cubicBezTo>
                  <a:pt x="71" y="70"/>
                  <a:pt x="71" y="70"/>
                  <a:pt x="71" y="70"/>
                </a:cubicBezTo>
                <a:cubicBezTo>
                  <a:pt x="64" y="66"/>
                  <a:pt x="58" y="60"/>
                  <a:pt x="55" y="53"/>
                </a:cubicBezTo>
                <a:cubicBezTo>
                  <a:pt x="53" y="49"/>
                  <a:pt x="52" y="45"/>
                  <a:pt x="51" y="40"/>
                </a:cubicBezTo>
                <a:cubicBezTo>
                  <a:pt x="50" y="36"/>
                  <a:pt x="50" y="32"/>
                  <a:pt x="50" y="28"/>
                </a:cubicBezTo>
                <a:cubicBezTo>
                  <a:pt x="50" y="23"/>
                  <a:pt x="52" y="18"/>
                  <a:pt x="54" y="14"/>
                </a:cubicBezTo>
                <a:cubicBezTo>
                  <a:pt x="57" y="9"/>
                  <a:pt x="60" y="6"/>
                  <a:pt x="65" y="3"/>
                </a:cubicBezTo>
                <a:cubicBezTo>
                  <a:pt x="67" y="2"/>
                  <a:pt x="70" y="1"/>
                  <a:pt x="73" y="1"/>
                </a:cubicBezTo>
                <a:cubicBezTo>
                  <a:pt x="75" y="0"/>
                  <a:pt x="77" y="0"/>
                  <a:pt x="79" y="0"/>
                </a:cubicBezTo>
                <a:cubicBezTo>
                  <a:pt x="83" y="1"/>
                  <a:pt x="87" y="1"/>
                  <a:pt x="90" y="3"/>
                </a:cubicBezTo>
                <a:cubicBezTo>
                  <a:pt x="94" y="5"/>
                  <a:pt x="97" y="8"/>
                  <a:pt x="100" y="12"/>
                </a:cubicBezTo>
                <a:cubicBezTo>
                  <a:pt x="101" y="15"/>
                  <a:pt x="102" y="18"/>
                  <a:pt x="103" y="21"/>
                </a:cubicBezTo>
                <a:cubicBezTo>
                  <a:pt x="103" y="24"/>
                  <a:pt x="103" y="27"/>
                  <a:pt x="103" y="30"/>
                </a:cubicBezTo>
                <a:cubicBezTo>
                  <a:pt x="103" y="32"/>
                  <a:pt x="103" y="35"/>
                  <a:pt x="103" y="37"/>
                </a:cubicBezTo>
                <a:cubicBezTo>
                  <a:pt x="102" y="40"/>
                  <a:pt x="101" y="43"/>
                  <a:pt x="100" y="46"/>
                </a:cubicBezTo>
                <a:cubicBezTo>
                  <a:pt x="100" y="47"/>
                  <a:pt x="100" y="48"/>
                  <a:pt x="99" y="49"/>
                </a:cubicBezTo>
                <a:cubicBezTo>
                  <a:pt x="99" y="49"/>
                  <a:pt x="99" y="49"/>
                  <a:pt x="99" y="49"/>
                </a:cubicBezTo>
                <a:cubicBezTo>
                  <a:pt x="97" y="49"/>
                  <a:pt x="96" y="50"/>
                  <a:pt x="94" y="49"/>
                </a:cubicBezTo>
                <a:cubicBezTo>
                  <a:pt x="91" y="49"/>
                  <a:pt x="88" y="48"/>
                  <a:pt x="85" y="46"/>
                </a:cubicBezTo>
                <a:cubicBezTo>
                  <a:pt x="84" y="46"/>
                  <a:pt x="83" y="45"/>
                  <a:pt x="82" y="44"/>
                </a:cubicBezTo>
                <a:cubicBezTo>
                  <a:pt x="82" y="44"/>
                  <a:pt x="82" y="43"/>
                  <a:pt x="82" y="43"/>
                </a:cubicBezTo>
                <a:cubicBezTo>
                  <a:pt x="83" y="42"/>
                  <a:pt x="83" y="40"/>
                  <a:pt x="83" y="39"/>
                </a:cubicBezTo>
                <a:cubicBezTo>
                  <a:pt x="84" y="36"/>
                  <a:pt x="85" y="32"/>
                  <a:pt x="84" y="28"/>
                </a:cubicBezTo>
                <a:cubicBezTo>
                  <a:pt x="84" y="26"/>
                  <a:pt x="84" y="25"/>
                  <a:pt x="83" y="23"/>
                </a:cubicBezTo>
                <a:cubicBezTo>
                  <a:pt x="83" y="22"/>
                  <a:pt x="82" y="21"/>
                  <a:pt x="82" y="20"/>
                </a:cubicBezTo>
                <a:cubicBezTo>
                  <a:pt x="80" y="18"/>
                  <a:pt x="78" y="18"/>
                  <a:pt x="76" y="18"/>
                </a:cubicBezTo>
                <a:cubicBezTo>
                  <a:pt x="74" y="18"/>
                  <a:pt x="73" y="19"/>
                  <a:pt x="71" y="20"/>
                </a:cubicBezTo>
                <a:cubicBezTo>
                  <a:pt x="70" y="22"/>
                  <a:pt x="70" y="23"/>
                  <a:pt x="69" y="25"/>
                </a:cubicBezTo>
                <a:cubicBezTo>
                  <a:pt x="69" y="28"/>
                  <a:pt x="68" y="31"/>
                  <a:pt x="69" y="33"/>
                </a:cubicBezTo>
                <a:cubicBezTo>
                  <a:pt x="69" y="35"/>
                  <a:pt x="69" y="38"/>
                  <a:pt x="69" y="40"/>
                </a:cubicBezTo>
                <a:cubicBezTo>
                  <a:pt x="70" y="44"/>
                  <a:pt x="72" y="47"/>
                  <a:pt x="75" y="51"/>
                </a:cubicBezTo>
                <a:cubicBezTo>
                  <a:pt x="78" y="55"/>
                  <a:pt x="82" y="57"/>
                  <a:pt x="87" y="59"/>
                </a:cubicBezTo>
                <a:cubicBezTo>
                  <a:pt x="90" y="59"/>
                  <a:pt x="93" y="60"/>
                  <a:pt x="96" y="60"/>
                </a:cubicBezTo>
                <a:cubicBezTo>
                  <a:pt x="98" y="60"/>
                  <a:pt x="101" y="59"/>
                  <a:pt x="103" y="59"/>
                </a:cubicBezTo>
                <a:cubicBezTo>
                  <a:pt x="103" y="59"/>
                  <a:pt x="103" y="59"/>
                  <a:pt x="103" y="59"/>
                </a:cubicBezTo>
                <a:cubicBezTo>
                  <a:pt x="103" y="59"/>
                  <a:pt x="103" y="59"/>
                  <a:pt x="103" y="59"/>
                </a:cubicBezTo>
                <a:cubicBezTo>
                  <a:pt x="103" y="61"/>
                  <a:pt x="103" y="62"/>
                  <a:pt x="103" y="64"/>
                </a:cubicBezTo>
                <a:cubicBezTo>
                  <a:pt x="103" y="67"/>
                  <a:pt x="103" y="69"/>
                  <a:pt x="103" y="72"/>
                </a:cubicBezTo>
                <a:cubicBezTo>
                  <a:pt x="103" y="72"/>
                  <a:pt x="103" y="72"/>
                  <a:pt x="103" y="73"/>
                </a:cubicBezTo>
                <a:cubicBezTo>
                  <a:pt x="99" y="74"/>
                  <a:pt x="94" y="74"/>
                  <a:pt x="89" y="74"/>
                </a:cubicBezTo>
                <a:cubicBezTo>
                  <a:pt x="89" y="75"/>
                  <a:pt x="89" y="75"/>
                  <a:pt x="89" y="75"/>
                </a:cubicBezTo>
                <a:cubicBezTo>
                  <a:pt x="86" y="82"/>
                  <a:pt x="82" y="88"/>
                  <a:pt x="77" y="94"/>
                </a:cubicBezTo>
                <a:cubicBezTo>
                  <a:pt x="73" y="99"/>
                  <a:pt x="69" y="104"/>
                  <a:pt x="64" y="109"/>
                </a:cubicBezTo>
                <a:cubicBezTo>
                  <a:pt x="62" y="111"/>
                  <a:pt x="60" y="113"/>
                  <a:pt x="57" y="115"/>
                </a:cubicBezTo>
                <a:cubicBezTo>
                  <a:pt x="56" y="116"/>
                  <a:pt x="55" y="117"/>
                  <a:pt x="53" y="117"/>
                </a:cubicBezTo>
                <a:cubicBezTo>
                  <a:pt x="51" y="118"/>
                  <a:pt x="49" y="118"/>
                  <a:pt x="47" y="117"/>
                </a:cubicBezTo>
                <a:cubicBezTo>
                  <a:pt x="46" y="117"/>
                  <a:pt x="44" y="116"/>
                  <a:pt x="43" y="115"/>
                </a:cubicBezTo>
                <a:cubicBezTo>
                  <a:pt x="41" y="114"/>
                  <a:pt x="39" y="112"/>
                  <a:pt x="37" y="110"/>
                </a:cubicBezTo>
                <a:cubicBezTo>
                  <a:pt x="33" y="106"/>
                  <a:pt x="30" y="102"/>
                  <a:pt x="27" y="97"/>
                </a:cubicBezTo>
                <a:cubicBezTo>
                  <a:pt x="22" y="91"/>
                  <a:pt x="19" y="84"/>
                  <a:pt x="16" y="77"/>
                </a:cubicBezTo>
                <a:cubicBezTo>
                  <a:pt x="12" y="70"/>
                  <a:pt x="10" y="62"/>
                  <a:pt x="7" y="54"/>
                </a:cubicBezTo>
                <a:cubicBezTo>
                  <a:pt x="6" y="48"/>
                  <a:pt x="5" y="43"/>
                  <a:pt x="4" y="38"/>
                </a:cubicBezTo>
                <a:cubicBezTo>
                  <a:pt x="3" y="34"/>
                  <a:pt x="2" y="31"/>
                  <a:pt x="2" y="27"/>
                </a:cubicBezTo>
                <a:cubicBezTo>
                  <a:pt x="1" y="24"/>
                  <a:pt x="1" y="22"/>
                  <a:pt x="1" y="19"/>
                </a:cubicBezTo>
                <a:cubicBezTo>
                  <a:pt x="0" y="19"/>
                  <a:pt x="0" y="18"/>
                  <a:pt x="0" y="18"/>
                </a:cubicBezTo>
                <a:cubicBezTo>
                  <a:pt x="1" y="18"/>
                  <a:pt x="1" y="18"/>
                  <a:pt x="1" y="18"/>
                </a:cubicBezTo>
                <a:cubicBezTo>
                  <a:pt x="4" y="18"/>
                  <a:pt x="6" y="18"/>
                  <a:pt x="9" y="18"/>
                </a:cubicBezTo>
                <a:cubicBezTo>
                  <a:pt x="12" y="18"/>
                  <a:pt x="16" y="18"/>
                  <a:pt x="19" y="18"/>
                </a:cubicBezTo>
                <a:cubicBezTo>
                  <a:pt x="20" y="18"/>
                  <a:pt x="20" y="18"/>
                  <a:pt x="20" y="18"/>
                </a:cubicBezTo>
                <a:cubicBezTo>
                  <a:pt x="20" y="18"/>
                  <a:pt x="21" y="19"/>
                  <a:pt x="21" y="19"/>
                </a:cubicBezTo>
                <a:cubicBezTo>
                  <a:pt x="21" y="21"/>
                  <a:pt x="21" y="23"/>
                  <a:pt x="21" y="25"/>
                </a:cubicBezTo>
                <a:cubicBezTo>
                  <a:pt x="22" y="28"/>
                  <a:pt x="22" y="30"/>
                  <a:pt x="23" y="33"/>
                </a:cubicBezTo>
                <a:cubicBezTo>
                  <a:pt x="23" y="36"/>
                  <a:pt x="24" y="39"/>
                  <a:pt x="24" y="42"/>
                </a:cubicBezTo>
                <a:cubicBezTo>
                  <a:pt x="27" y="53"/>
                  <a:pt x="30" y="63"/>
                  <a:pt x="35" y="73"/>
                </a:cubicBezTo>
                <a:cubicBezTo>
                  <a:pt x="39" y="82"/>
                  <a:pt x="44" y="90"/>
                  <a:pt x="51" y="98"/>
                </a:cubicBezTo>
                <a:cubicBezTo>
                  <a:pt x="51" y="98"/>
                  <a:pt x="51" y="98"/>
                  <a:pt x="51" y="9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7" name="Freeform 427"/>
          <p:cNvSpPr>
            <a:spLocks noEditPoints="1"/>
          </p:cNvSpPr>
          <p:nvPr/>
        </p:nvSpPr>
        <p:spPr bwMode="auto">
          <a:xfrm>
            <a:off x="2382083" y="2367526"/>
            <a:ext cx="223169" cy="338161"/>
          </a:xfrm>
          <a:custGeom>
            <a:avLst/>
            <a:gdLst>
              <a:gd name="T0" fmla="*/ 0 w 111"/>
              <a:gd name="T1" fmla="*/ 20 h 168"/>
              <a:gd name="T2" fmla="*/ 27 w 111"/>
              <a:gd name="T3" fmla="*/ 4 h 168"/>
              <a:gd name="T4" fmla="*/ 53 w 111"/>
              <a:gd name="T5" fmla="*/ 1 h 168"/>
              <a:gd name="T6" fmla="*/ 109 w 111"/>
              <a:gd name="T7" fmla="*/ 1 h 168"/>
              <a:gd name="T8" fmla="*/ 111 w 111"/>
              <a:gd name="T9" fmla="*/ 1 h 168"/>
              <a:gd name="T10" fmla="*/ 97 w 111"/>
              <a:gd name="T11" fmla="*/ 8 h 168"/>
              <a:gd name="T12" fmla="*/ 89 w 111"/>
              <a:gd name="T13" fmla="*/ 10 h 168"/>
              <a:gd name="T14" fmla="*/ 76 w 111"/>
              <a:gd name="T15" fmla="*/ 10 h 168"/>
              <a:gd name="T16" fmla="*/ 81 w 111"/>
              <a:gd name="T17" fmla="*/ 15 h 168"/>
              <a:gd name="T18" fmla="*/ 91 w 111"/>
              <a:gd name="T19" fmla="*/ 67 h 168"/>
              <a:gd name="T20" fmla="*/ 74 w 111"/>
              <a:gd name="T21" fmla="*/ 85 h 168"/>
              <a:gd name="T22" fmla="*/ 67 w 111"/>
              <a:gd name="T23" fmla="*/ 93 h 168"/>
              <a:gd name="T24" fmla="*/ 68 w 111"/>
              <a:gd name="T25" fmla="*/ 108 h 168"/>
              <a:gd name="T26" fmla="*/ 76 w 111"/>
              <a:gd name="T27" fmla="*/ 115 h 168"/>
              <a:gd name="T28" fmla="*/ 97 w 111"/>
              <a:gd name="T29" fmla="*/ 134 h 168"/>
              <a:gd name="T30" fmla="*/ 104 w 111"/>
              <a:gd name="T31" fmla="*/ 167 h 168"/>
              <a:gd name="T32" fmla="*/ 104 w 111"/>
              <a:gd name="T33" fmla="*/ 168 h 168"/>
              <a:gd name="T34" fmla="*/ 86 w 111"/>
              <a:gd name="T35" fmla="*/ 168 h 168"/>
              <a:gd name="T36" fmla="*/ 79 w 111"/>
              <a:gd name="T37" fmla="*/ 151 h 168"/>
              <a:gd name="T38" fmla="*/ 57 w 111"/>
              <a:gd name="T39" fmla="*/ 133 h 168"/>
              <a:gd name="T40" fmla="*/ 55 w 111"/>
              <a:gd name="T41" fmla="*/ 133 h 168"/>
              <a:gd name="T42" fmla="*/ 31 w 111"/>
              <a:gd name="T43" fmla="*/ 135 h 168"/>
              <a:gd name="T44" fmla="*/ 0 w 111"/>
              <a:gd name="T45" fmla="*/ 154 h 168"/>
              <a:gd name="T46" fmla="*/ 0 w 111"/>
              <a:gd name="T47" fmla="*/ 135 h 168"/>
              <a:gd name="T48" fmla="*/ 47 w 111"/>
              <a:gd name="T49" fmla="*/ 125 h 168"/>
              <a:gd name="T50" fmla="*/ 41 w 111"/>
              <a:gd name="T51" fmla="*/ 95 h 168"/>
              <a:gd name="T52" fmla="*/ 39 w 111"/>
              <a:gd name="T53" fmla="*/ 96 h 168"/>
              <a:gd name="T54" fmla="*/ 24 w 111"/>
              <a:gd name="T55" fmla="*/ 95 h 168"/>
              <a:gd name="T56" fmla="*/ 0 w 111"/>
              <a:gd name="T57" fmla="*/ 84 h 168"/>
              <a:gd name="T58" fmla="*/ 0 w 111"/>
              <a:gd name="T59" fmla="*/ 82 h 168"/>
              <a:gd name="T60" fmla="*/ 0 w 111"/>
              <a:gd name="T61" fmla="*/ 22 h 168"/>
              <a:gd name="T62" fmla="*/ 0 w 111"/>
              <a:gd name="T63" fmla="*/ 20 h 168"/>
              <a:gd name="T64" fmla="*/ 71 w 111"/>
              <a:gd name="T65" fmla="*/ 59 h 168"/>
              <a:gd name="T66" fmla="*/ 69 w 111"/>
              <a:gd name="T67" fmla="*/ 45 h 168"/>
              <a:gd name="T68" fmla="*/ 52 w 111"/>
              <a:gd name="T69" fmla="*/ 15 h 168"/>
              <a:gd name="T70" fmla="*/ 13 w 111"/>
              <a:gd name="T71" fmla="*/ 27 h 168"/>
              <a:gd name="T72" fmla="*/ 12 w 111"/>
              <a:gd name="T73" fmla="*/ 48 h 168"/>
              <a:gd name="T74" fmla="*/ 25 w 111"/>
              <a:gd name="T75" fmla="*/ 78 h 168"/>
              <a:gd name="T76" fmla="*/ 51 w 111"/>
              <a:gd name="T77" fmla="*/ 87 h 168"/>
              <a:gd name="T78" fmla="*/ 70 w 111"/>
              <a:gd name="T79" fmla="*/ 70 h 168"/>
              <a:gd name="T80" fmla="*/ 71 w 111"/>
              <a:gd name="T81" fmla="*/ 59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168">
                <a:moveTo>
                  <a:pt x="0" y="20"/>
                </a:moveTo>
                <a:cubicBezTo>
                  <a:pt x="7" y="12"/>
                  <a:pt x="16" y="7"/>
                  <a:pt x="27" y="4"/>
                </a:cubicBezTo>
                <a:cubicBezTo>
                  <a:pt x="35" y="2"/>
                  <a:pt x="44" y="1"/>
                  <a:pt x="53" y="1"/>
                </a:cubicBezTo>
                <a:cubicBezTo>
                  <a:pt x="72" y="0"/>
                  <a:pt x="90" y="0"/>
                  <a:pt x="109" y="1"/>
                </a:cubicBezTo>
                <a:cubicBezTo>
                  <a:pt x="109" y="1"/>
                  <a:pt x="110" y="1"/>
                  <a:pt x="111" y="1"/>
                </a:cubicBezTo>
                <a:cubicBezTo>
                  <a:pt x="106" y="3"/>
                  <a:pt x="101" y="6"/>
                  <a:pt x="97" y="8"/>
                </a:cubicBezTo>
                <a:cubicBezTo>
                  <a:pt x="94" y="10"/>
                  <a:pt x="92" y="11"/>
                  <a:pt x="89" y="10"/>
                </a:cubicBezTo>
                <a:cubicBezTo>
                  <a:pt x="85" y="10"/>
                  <a:pt x="81" y="10"/>
                  <a:pt x="76" y="10"/>
                </a:cubicBezTo>
                <a:cubicBezTo>
                  <a:pt x="78" y="12"/>
                  <a:pt x="80" y="13"/>
                  <a:pt x="81" y="15"/>
                </a:cubicBezTo>
                <a:cubicBezTo>
                  <a:pt x="96" y="28"/>
                  <a:pt x="100" y="51"/>
                  <a:pt x="91" y="67"/>
                </a:cubicBezTo>
                <a:cubicBezTo>
                  <a:pt x="87" y="75"/>
                  <a:pt x="81" y="80"/>
                  <a:pt x="74" y="85"/>
                </a:cubicBezTo>
                <a:cubicBezTo>
                  <a:pt x="71" y="88"/>
                  <a:pt x="69" y="90"/>
                  <a:pt x="67" y="93"/>
                </a:cubicBezTo>
                <a:cubicBezTo>
                  <a:pt x="64" y="97"/>
                  <a:pt x="64" y="105"/>
                  <a:pt x="68" y="108"/>
                </a:cubicBezTo>
                <a:cubicBezTo>
                  <a:pt x="71" y="111"/>
                  <a:pt x="73" y="113"/>
                  <a:pt x="76" y="115"/>
                </a:cubicBezTo>
                <a:cubicBezTo>
                  <a:pt x="84" y="121"/>
                  <a:pt x="91" y="127"/>
                  <a:pt x="97" y="134"/>
                </a:cubicBezTo>
                <a:cubicBezTo>
                  <a:pt x="104" y="144"/>
                  <a:pt x="106" y="155"/>
                  <a:pt x="104" y="167"/>
                </a:cubicBezTo>
                <a:cubicBezTo>
                  <a:pt x="104" y="167"/>
                  <a:pt x="104" y="168"/>
                  <a:pt x="104" y="168"/>
                </a:cubicBezTo>
                <a:cubicBezTo>
                  <a:pt x="98" y="168"/>
                  <a:pt x="92" y="168"/>
                  <a:pt x="86" y="168"/>
                </a:cubicBezTo>
                <a:cubicBezTo>
                  <a:pt x="86" y="161"/>
                  <a:pt x="83" y="156"/>
                  <a:pt x="79" y="151"/>
                </a:cubicBezTo>
                <a:cubicBezTo>
                  <a:pt x="73" y="144"/>
                  <a:pt x="64" y="139"/>
                  <a:pt x="57" y="133"/>
                </a:cubicBezTo>
                <a:cubicBezTo>
                  <a:pt x="56" y="133"/>
                  <a:pt x="55" y="133"/>
                  <a:pt x="55" y="133"/>
                </a:cubicBezTo>
                <a:cubicBezTo>
                  <a:pt x="47" y="132"/>
                  <a:pt x="39" y="133"/>
                  <a:pt x="31" y="135"/>
                </a:cubicBezTo>
                <a:cubicBezTo>
                  <a:pt x="18" y="137"/>
                  <a:pt x="6" y="142"/>
                  <a:pt x="0" y="154"/>
                </a:cubicBezTo>
                <a:cubicBezTo>
                  <a:pt x="0" y="135"/>
                  <a:pt x="0" y="135"/>
                  <a:pt x="0" y="135"/>
                </a:cubicBezTo>
                <a:cubicBezTo>
                  <a:pt x="15" y="128"/>
                  <a:pt x="30" y="126"/>
                  <a:pt x="47" y="125"/>
                </a:cubicBezTo>
                <a:cubicBezTo>
                  <a:pt x="39" y="116"/>
                  <a:pt x="36" y="107"/>
                  <a:pt x="41" y="95"/>
                </a:cubicBezTo>
                <a:cubicBezTo>
                  <a:pt x="40" y="96"/>
                  <a:pt x="40" y="96"/>
                  <a:pt x="39" y="96"/>
                </a:cubicBezTo>
                <a:cubicBezTo>
                  <a:pt x="34" y="96"/>
                  <a:pt x="29" y="96"/>
                  <a:pt x="24" y="95"/>
                </a:cubicBezTo>
                <a:cubicBezTo>
                  <a:pt x="14" y="94"/>
                  <a:pt x="7" y="90"/>
                  <a:pt x="0" y="84"/>
                </a:cubicBezTo>
                <a:cubicBezTo>
                  <a:pt x="0" y="83"/>
                  <a:pt x="0" y="82"/>
                  <a:pt x="0" y="82"/>
                </a:cubicBezTo>
                <a:cubicBezTo>
                  <a:pt x="0" y="62"/>
                  <a:pt x="0" y="42"/>
                  <a:pt x="0" y="22"/>
                </a:cubicBezTo>
                <a:cubicBezTo>
                  <a:pt x="0" y="22"/>
                  <a:pt x="0" y="21"/>
                  <a:pt x="0" y="20"/>
                </a:cubicBezTo>
                <a:moveTo>
                  <a:pt x="71" y="59"/>
                </a:moveTo>
                <a:cubicBezTo>
                  <a:pt x="71" y="55"/>
                  <a:pt x="70" y="50"/>
                  <a:pt x="69" y="45"/>
                </a:cubicBezTo>
                <a:cubicBezTo>
                  <a:pt x="66" y="34"/>
                  <a:pt x="62" y="23"/>
                  <a:pt x="52" y="15"/>
                </a:cubicBezTo>
                <a:cubicBezTo>
                  <a:pt x="39" y="4"/>
                  <a:pt x="18" y="10"/>
                  <a:pt x="13" y="27"/>
                </a:cubicBezTo>
                <a:cubicBezTo>
                  <a:pt x="11" y="34"/>
                  <a:pt x="11" y="41"/>
                  <a:pt x="12" y="48"/>
                </a:cubicBezTo>
                <a:cubicBezTo>
                  <a:pt x="14" y="59"/>
                  <a:pt x="18" y="69"/>
                  <a:pt x="25" y="78"/>
                </a:cubicBezTo>
                <a:cubicBezTo>
                  <a:pt x="32" y="86"/>
                  <a:pt x="40" y="90"/>
                  <a:pt x="51" y="87"/>
                </a:cubicBezTo>
                <a:cubicBezTo>
                  <a:pt x="60" y="85"/>
                  <a:pt x="68" y="80"/>
                  <a:pt x="70" y="70"/>
                </a:cubicBezTo>
                <a:cubicBezTo>
                  <a:pt x="71" y="67"/>
                  <a:pt x="71" y="63"/>
                  <a:pt x="71" y="59"/>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8" name="Freeform 428"/>
          <p:cNvSpPr>
            <a:spLocks/>
          </p:cNvSpPr>
          <p:nvPr/>
        </p:nvSpPr>
        <p:spPr bwMode="auto">
          <a:xfrm>
            <a:off x="2618029" y="2369229"/>
            <a:ext cx="150767" cy="149063"/>
          </a:xfrm>
          <a:custGeom>
            <a:avLst/>
            <a:gdLst>
              <a:gd name="T0" fmla="*/ 0 w 177"/>
              <a:gd name="T1" fmla="*/ 107 h 175"/>
              <a:gd name="T2" fmla="*/ 0 w 177"/>
              <a:gd name="T3" fmla="*/ 66 h 175"/>
              <a:gd name="T4" fmla="*/ 68 w 177"/>
              <a:gd name="T5" fmla="*/ 66 h 175"/>
              <a:gd name="T6" fmla="*/ 68 w 177"/>
              <a:gd name="T7" fmla="*/ 0 h 175"/>
              <a:gd name="T8" fmla="*/ 108 w 177"/>
              <a:gd name="T9" fmla="*/ 0 h 175"/>
              <a:gd name="T10" fmla="*/ 108 w 177"/>
              <a:gd name="T11" fmla="*/ 66 h 175"/>
              <a:gd name="T12" fmla="*/ 177 w 177"/>
              <a:gd name="T13" fmla="*/ 66 h 175"/>
              <a:gd name="T14" fmla="*/ 177 w 177"/>
              <a:gd name="T15" fmla="*/ 107 h 175"/>
              <a:gd name="T16" fmla="*/ 108 w 177"/>
              <a:gd name="T17" fmla="*/ 107 h 175"/>
              <a:gd name="T18" fmla="*/ 108 w 177"/>
              <a:gd name="T19" fmla="*/ 175 h 175"/>
              <a:gd name="T20" fmla="*/ 68 w 177"/>
              <a:gd name="T21" fmla="*/ 175 h 175"/>
              <a:gd name="T22" fmla="*/ 68 w 177"/>
              <a:gd name="T23" fmla="*/ 107 h 175"/>
              <a:gd name="T24" fmla="*/ 0 w 177"/>
              <a:gd name="T25" fmla="*/ 10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5">
                <a:moveTo>
                  <a:pt x="0" y="107"/>
                </a:moveTo>
                <a:lnTo>
                  <a:pt x="0" y="66"/>
                </a:lnTo>
                <a:lnTo>
                  <a:pt x="68" y="66"/>
                </a:lnTo>
                <a:lnTo>
                  <a:pt x="68" y="0"/>
                </a:lnTo>
                <a:lnTo>
                  <a:pt x="108" y="0"/>
                </a:lnTo>
                <a:lnTo>
                  <a:pt x="108" y="66"/>
                </a:lnTo>
                <a:lnTo>
                  <a:pt x="177" y="66"/>
                </a:lnTo>
                <a:lnTo>
                  <a:pt x="177" y="107"/>
                </a:lnTo>
                <a:lnTo>
                  <a:pt x="108" y="107"/>
                </a:lnTo>
                <a:lnTo>
                  <a:pt x="108" y="175"/>
                </a:lnTo>
                <a:lnTo>
                  <a:pt x="68" y="175"/>
                </a:lnTo>
                <a:lnTo>
                  <a:pt x="68" y="107"/>
                </a:lnTo>
                <a:lnTo>
                  <a:pt x="0" y="107"/>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79" name="Freeform 429"/>
          <p:cNvSpPr>
            <a:spLocks/>
          </p:cNvSpPr>
          <p:nvPr/>
        </p:nvSpPr>
        <p:spPr bwMode="auto">
          <a:xfrm>
            <a:off x="1961298" y="2423743"/>
            <a:ext cx="258092" cy="241908"/>
          </a:xfrm>
          <a:custGeom>
            <a:avLst/>
            <a:gdLst>
              <a:gd name="T0" fmla="*/ 124 w 128"/>
              <a:gd name="T1" fmla="*/ 18 h 120"/>
              <a:gd name="T2" fmla="*/ 128 w 128"/>
              <a:gd name="T3" fmla="*/ 78 h 120"/>
              <a:gd name="T4" fmla="*/ 105 w 128"/>
              <a:gd name="T5" fmla="*/ 114 h 120"/>
              <a:gd name="T6" fmla="*/ 87 w 128"/>
              <a:gd name="T7" fmla="*/ 117 h 120"/>
              <a:gd name="T8" fmla="*/ 51 w 128"/>
              <a:gd name="T9" fmla="*/ 117 h 120"/>
              <a:gd name="T10" fmla="*/ 33 w 128"/>
              <a:gd name="T11" fmla="*/ 114 h 120"/>
              <a:gd name="T12" fmla="*/ 6 w 128"/>
              <a:gd name="T13" fmla="*/ 34 h 120"/>
              <a:gd name="T14" fmla="*/ 37 w 128"/>
              <a:gd name="T15" fmla="*/ 4 h 120"/>
              <a:gd name="T16" fmla="*/ 53 w 128"/>
              <a:gd name="T17" fmla="*/ 6 h 120"/>
              <a:gd name="T18" fmla="*/ 81 w 128"/>
              <a:gd name="T19" fmla="*/ 6 h 120"/>
              <a:gd name="T20" fmla="*/ 119 w 128"/>
              <a:gd name="T21" fmla="*/ 12 h 120"/>
              <a:gd name="T22" fmla="*/ 124 w 128"/>
              <a:gd name="T23" fmla="*/ 1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120">
                <a:moveTo>
                  <a:pt x="124" y="18"/>
                </a:moveTo>
                <a:cubicBezTo>
                  <a:pt x="101" y="33"/>
                  <a:pt x="101" y="64"/>
                  <a:pt x="128" y="78"/>
                </a:cubicBezTo>
                <a:cubicBezTo>
                  <a:pt x="123" y="92"/>
                  <a:pt x="116" y="104"/>
                  <a:pt x="105" y="114"/>
                </a:cubicBezTo>
                <a:cubicBezTo>
                  <a:pt x="100" y="119"/>
                  <a:pt x="93" y="120"/>
                  <a:pt x="87" y="117"/>
                </a:cubicBezTo>
                <a:cubicBezTo>
                  <a:pt x="74" y="111"/>
                  <a:pt x="63" y="111"/>
                  <a:pt x="51" y="117"/>
                </a:cubicBezTo>
                <a:cubicBezTo>
                  <a:pt x="44" y="120"/>
                  <a:pt x="38" y="119"/>
                  <a:pt x="33" y="114"/>
                </a:cubicBezTo>
                <a:cubicBezTo>
                  <a:pt x="11" y="92"/>
                  <a:pt x="0" y="65"/>
                  <a:pt x="6" y="34"/>
                </a:cubicBezTo>
                <a:cubicBezTo>
                  <a:pt x="9" y="18"/>
                  <a:pt x="20" y="7"/>
                  <a:pt x="37" y="4"/>
                </a:cubicBezTo>
                <a:cubicBezTo>
                  <a:pt x="42" y="3"/>
                  <a:pt x="48" y="4"/>
                  <a:pt x="53" y="6"/>
                </a:cubicBezTo>
                <a:cubicBezTo>
                  <a:pt x="63" y="10"/>
                  <a:pt x="71" y="10"/>
                  <a:pt x="81" y="6"/>
                </a:cubicBezTo>
                <a:cubicBezTo>
                  <a:pt x="94" y="0"/>
                  <a:pt x="107" y="3"/>
                  <a:pt x="119" y="12"/>
                </a:cubicBezTo>
                <a:cubicBezTo>
                  <a:pt x="120" y="14"/>
                  <a:pt x="122" y="16"/>
                  <a:pt x="124" y="18"/>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0" name="Freeform 430"/>
          <p:cNvSpPr>
            <a:spLocks/>
          </p:cNvSpPr>
          <p:nvPr/>
        </p:nvSpPr>
        <p:spPr bwMode="auto">
          <a:xfrm>
            <a:off x="2088216" y="2357303"/>
            <a:ext cx="70699" cy="72402"/>
          </a:xfrm>
          <a:custGeom>
            <a:avLst/>
            <a:gdLst>
              <a:gd name="T0" fmla="*/ 33 w 35"/>
              <a:gd name="T1" fmla="*/ 0 h 36"/>
              <a:gd name="T2" fmla="*/ 3 w 35"/>
              <a:gd name="T3" fmla="*/ 34 h 36"/>
              <a:gd name="T4" fmla="*/ 33 w 35"/>
              <a:gd name="T5" fmla="*/ 0 h 36"/>
            </a:gdLst>
            <a:ahLst/>
            <a:cxnLst>
              <a:cxn ang="0">
                <a:pos x="T0" y="T1"/>
              </a:cxn>
              <a:cxn ang="0">
                <a:pos x="T2" y="T3"/>
              </a:cxn>
              <a:cxn ang="0">
                <a:pos x="T4" y="T5"/>
              </a:cxn>
            </a:cxnLst>
            <a:rect l="0" t="0" r="r" b="b"/>
            <a:pathLst>
              <a:path w="35" h="36">
                <a:moveTo>
                  <a:pt x="33" y="0"/>
                </a:moveTo>
                <a:cubicBezTo>
                  <a:pt x="35" y="18"/>
                  <a:pt x="19" y="36"/>
                  <a:pt x="3" y="34"/>
                </a:cubicBezTo>
                <a:cubicBezTo>
                  <a:pt x="0" y="19"/>
                  <a:pt x="16" y="1"/>
                  <a:pt x="33"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1" name="Freeform 431"/>
          <p:cNvSpPr>
            <a:spLocks/>
          </p:cNvSpPr>
          <p:nvPr/>
        </p:nvSpPr>
        <p:spPr bwMode="auto">
          <a:xfrm>
            <a:off x="3026887" y="2451852"/>
            <a:ext cx="158433" cy="169506"/>
          </a:xfrm>
          <a:custGeom>
            <a:avLst/>
            <a:gdLst>
              <a:gd name="T0" fmla="*/ 53 w 79"/>
              <a:gd name="T1" fmla="*/ 84 h 84"/>
              <a:gd name="T2" fmla="*/ 53 w 79"/>
              <a:gd name="T3" fmla="*/ 83 h 84"/>
              <a:gd name="T4" fmla="*/ 53 w 79"/>
              <a:gd name="T5" fmla="*/ 42 h 84"/>
              <a:gd name="T6" fmla="*/ 52 w 79"/>
              <a:gd name="T7" fmla="*/ 33 h 84"/>
              <a:gd name="T8" fmla="*/ 38 w 79"/>
              <a:gd name="T9" fmla="*/ 23 h 84"/>
              <a:gd name="T10" fmla="*/ 26 w 79"/>
              <a:gd name="T11" fmla="*/ 35 h 84"/>
              <a:gd name="T12" fmla="*/ 25 w 79"/>
              <a:gd name="T13" fmla="*/ 45 h 84"/>
              <a:gd name="T14" fmla="*/ 25 w 79"/>
              <a:gd name="T15" fmla="*/ 83 h 84"/>
              <a:gd name="T16" fmla="*/ 25 w 79"/>
              <a:gd name="T17" fmla="*/ 84 h 84"/>
              <a:gd name="T18" fmla="*/ 23 w 79"/>
              <a:gd name="T19" fmla="*/ 84 h 84"/>
              <a:gd name="T20" fmla="*/ 0 w 79"/>
              <a:gd name="T21" fmla="*/ 84 h 84"/>
              <a:gd name="T22" fmla="*/ 0 w 79"/>
              <a:gd name="T23" fmla="*/ 83 h 84"/>
              <a:gd name="T24" fmla="*/ 0 w 79"/>
              <a:gd name="T25" fmla="*/ 4 h 84"/>
              <a:gd name="T26" fmla="*/ 0 w 79"/>
              <a:gd name="T27" fmla="*/ 3 h 84"/>
              <a:gd name="T28" fmla="*/ 24 w 79"/>
              <a:gd name="T29" fmla="*/ 3 h 84"/>
              <a:gd name="T30" fmla="*/ 24 w 79"/>
              <a:gd name="T31" fmla="*/ 14 h 84"/>
              <a:gd name="T32" fmla="*/ 24 w 79"/>
              <a:gd name="T33" fmla="*/ 13 h 84"/>
              <a:gd name="T34" fmla="*/ 43 w 79"/>
              <a:gd name="T35" fmla="*/ 1 h 84"/>
              <a:gd name="T36" fmla="*/ 63 w 79"/>
              <a:gd name="T37" fmla="*/ 3 h 84"/>
              <a:gd name="T38" fmla="*/ 76 w 79"/>
              <a:gd name="T39" fmla="*/ 19 h 84"/>
              <a:gd name="T40" fmla="*/ 78 w 79"/>
              <a:gd name="T41" fmla="*/ 35 h 84"/>
              <a:gd name="T42" fmla="*/ 79 w 79"/>
              <a:gd name="T43" fmla="*/ 83 h 84"/>
              <a:gd name="T44" fmla="*/ 78 w 79"/>
              <a:gd name="T45" fmla="*/ 84 h 84"/>
              <a:gd name="T46" fmla="*/ 53 w 79"/>
              <a:gd name="T4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84">
                <a:moveTo>
                  <a:pt x="53" y="84"/>
                </a:moveTo>
                <a:cubicBezTo>
                  <a:pt x="53" y="84"/>
                  <a:pt x="53" y="83"/>
                  <a:pt x="53" y="83"/>
                </a:cubicBezTo>
                <a:cubicBezTo>
                  <a:pt x="53" y="69"/>
                  <a:pt x="53" y="55"/>
                  <a:pt x="53" y="42"/>
                </a:cubicBezTo>
                <a:cubicBezTo>
                  <a:pt x="53" y="39"/>
                  <a:pt x="53" y="36"/>
                  <a:pt x="52" y="33"/>
                </a:cubicBezTo>
                <a:cubicBezTo>
                  <a:pt x="51" y="26"/>
                  <a:pt x="46" y="22"/>
                  <a:pt x="38" y="23"/>
                </a:cubicBezTo>
                <a:cubicBezTo>
                  <a:pt x="31" y="24"/>
                  <a:pt x="27" y="28"/>
                  <a:pt x="26" y="35"/>
                </a:cubicBezTo>
                <a:cubicBezTo>
                  <a:pt x="25" y="38"/>
                  <a:pt x="25" y="41"/>
                  <a:pt x="25" y="45"/>
                </a:cubicBezTo>
                <a:cubicBezTo>
                  <a:pt x="25" y="57"/>
                  <a:pt x="25" y="70"/>
                  <a:pt x="25" y="83"/>
                </a:cubicBezTo>
                <a:cubicBezTo>
                  <a:pt x="25" y="83"/>
                  <a:pt x="25" y="84"/>
                  <a:pt x="25" y="84"/>
                </a:cubicBezTo>
                <a:cubicBezTo>
                  <a:pt x="24" y="84"/>
                  <a:pt x="24" y="84"/>
                  <a:pt x="23" y="84"/>
                </a:cubicBezTo>
                <a:cubicBezTo>
                  <a:pt x="15" y="84"/>
                  <a:pt x="7" y="84"/>
                  <a:pt x="0" y="84"/>
                </a:cubicBezTo>
                <a:cubicBezTo>
                  <a:pt x="0" y="84"/>
                  <a:pt x="0" y="83"/>
                  <a:pt x="0" y="83"/>
                </a:cubicBezTo>
                <a:cubicBezTo>
                  <a:pt x="0" y="57"/>
                  <a:pt x="0" y="30"/>
                  <a:pt x="0" y="4"/>
                </a:cubicBezTo>
                <a:cubicBezTo>
                  <a:pt x="0" y="3"/>
                  <a:pt x="0" y="3"/>
                  <a:pt x="0" y="3"/>
                </a:cubicBezTo>
                <a:cubicBezTo>
                  <a:pt x="24" y="3"/>
                  <a:pt x="24" y="3"/>
                  <a:pt x="24" y="3"/>
                </a:cubicBezTo>
                <a:cubicBezTo>
                  <a:pt x="24" y="14"/>
                  <a:pt x="24" y="14"/>
                  <a:pt x="24" y="14"/>
                </a:cubicBezTo>
                <a:cubicBezTo>
                  <a:pt x="24" y="13"/>
                  <a:pt x="24" y="13"/>
                  <a:pt x="24" y="13"/>
                </a:cubicBezTo>
                <a:cubicBezTo>
                  <a:pt x="29" y="6"/>
                  <a:pt x="35" y="2"/>
                  <a:pt x="43" y="1"/>
                </a:cubicBezTo>
                <a:cubicBezTo>
                  <a:pt x="50" y="0"/>
                  <a:pt x="57" y="0"/>
                  <a:pt x="63" y="3"/>
                </a:cubicBezTo>
                <a:cubicBezTo>
                  <a:pt x="70" y="6"/>
                  <a:pt x="74" y="12"/>
                  <a:pt x="76" y="19"/>
                </a:cubicBezTo>
                <a:cubicBezTo>
                  <a:pt x="78" y="24"/>
                  <a:pt x="78" y="30"/>
                  <a:pt x="78" y="35"/>
                </a:cubicBezTo>
                <a:cubicBezTo>
                  <a:pt x="79" y="51"/>
                  <a:pt x="79" y="67"/>
                  <a:pt x="79" y="83"/>
                </a:cubicBezTo>
                <a:cubicBezTo>
                  <a:pt x="79" y="83"/>
                  <a:pt x="78" y="84"/>
                  <a:pt x="78" y="84"/>
                </a:cubicBezTo>
                <a:cubicBezTo>
                  <a:pt x="70" y="84"/>
                  <a:pt x="62" y="84"/>
                  <a:pt x="53" y="84"/>
                </a:cubicBezTo>
              </a:path>
            </a:pathLst>
          </a:custGeom>
          <a:solidFill>
            <a:srgbClr val="FCFD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2" name="Freeform 432"/>
          <p:cNvSpPr>
            <a:spLocks/>
          </p:cNvSpPr>
          <p:nvPr/>
        </p:nvSpPr>
        <p:spPr bwMode="auto">
          <a:xfrm>
            <a:off x="2941708" y="2457814"/>
            <a:ext cx="52811" cy="163544"/>
          </a:xfrm>
          <a:custGeom>
            <a:avLst/>
            <a:gdLst>
              <a:gd name="T0" fmla="*/ 0 w 26"/>
              <a:gd name="T1" fmla="*/ 81 h 81"/>
              <a:gd name="T2" fmla="*/ 0 w 26"/>
              <a:gd name="T3" fmla="*/ 80 h 81"/>
              <a:gd name="T4" fmla="*/ 0 w 26"/>
              <a:gd name="T5" fmla="*/ 1 h 81"/>
              <a:gd name="T6" fmla="*/ 0 w 26"/>
              <a:gd name="T7" fmla="*/ 0 h 81"/>
              <a:gd name="T8" fmla="*/ 26 w 26"/>
              <a:gd name="T9" fmla="*/ 0 h 81"/>
              <a:gd name="T10" fmla="*/ 26 w 26"/>
              <a:gd name="T11" fmla="*/ 1 h 81"/>
              <a:gd name="T12" fmla="*/ 26 w 26"/>
              <a:gd name="T13" fmla="*/ 80 h 81"/>
              <a:gd name="T14" fmla="*/ 26 w 26"/>
              <a:gd name="T15" fmla="*/ 81 h 81"/>
              <a:gd name="T16" fmla="*/ 0 w 26"/>
              <a:gd name="T17"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81">
                <a:moveTo>
                  <a:pt x="0" y="81"/>
                </a:moveTo>
                <a:cubicBezTo>
                  <a:pt x="0" y="81"/>
                  <a:pt x="0" y="80"/>
                  <a:pt x="0" y="80"/>
                </a:cubicBezTo>
                <a:cubicBezTo>
                  <a:pt x="0" y="53"/>
                  <a:pt x="0" y="27"/>
                  <a:pt x="0" y="1"/>
                </a:cubicBezTo>
                <a:cubicBezTo>
                  <a:pt x="0" y="0"/>
                  <a:pt x="0" y="0"/>
                  <a:pt x="0" y="0"/>
                </a:cubicBezTo>
                <a:cubicBezTo>
                  <a:pt x="26" y="0"/>
                  <a:pt x="26" y="0"/>
                  <a:pt x="26" y="0"/>
                </a:cubicBezTo>
                <a:cubicBezTo>
                  <a:pt x="26" y="1"/>
                  <a:pt x="26" y="1"/>
                  <a:pt x="26" y="1"/>
                </a:cubicBezTo>
                <a:cubicBezTo>
                  <a:pt x="26" y="27"/>
                  <a:pt x="26" y="53"/>
                  <a:pt x="26" y="80"/>
                </a:cubicBezTo>
                <a:cubicBezTo>
                  <a:pt x="26" y="80"/>
                  <a:pt x="26" y="81"/>
                  <a:pt x="26" y="81"/>
                </a:cubicBezTo>
                <a:cubicBezTo>
                  <a:pt x="17" y="81"/>
                  <a:pt x="9" y="81"/>
                  <a:pt x="0" y="81"/>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3" name="Freeform 433"/>
          <p:cNvSpPr>
            <a:spLocks/>
          </p:cNvSpPr>
          <p:nvPr/>
        </p:nvSpPr>
        <p:spPr bwMode="auto">
          <a:xfrm>
            <a:off x="2938301" y="2375192"/>
            <a:ext cx="59625" cy="60477"/>
          </a:xfrm>
          <a:custGeom>
            <a:avLst/>
            <a:gdLst>
              <a:gd name="T0" fmla="*/ 0 w 30"/>
              <a:gd name="T1" fmla="*/ 15 h 30"/>
              <a:gd name="T2" fmla="*/ 15 w 30"/>
              <a:gd name="T3" fmla="*/ 0 h 30"/>
              <a:gd name="T4" fmla="*/ 30 w 30"/>
              <a:gd name="T5" fmla="*/ 15 h 30"/>
              <a:gd name="T6" fmla="*/ 15 w 30"/>
              <a:gd name="T7" fmla="*/ 29 h 30"/>
              <a:gd name="T8" fmla="*/ 0 w 30"/>
              <a:gd name="T9" fmla="*/ 15 h 30"/>
            </a:gdLst>
            <a:ahLst/>
            <a:cxnLst>
              <a:cxn ang="0">
                <a:pos x="T0" y="T1"/>
              </a:cxn>
              <a:cxn ang="0">
                <a:pos x="T2" y="T3"/>
              </a:cxn>
              <a:cxn ang="0">
                <a:pos x="T4" y="T5"/>
              </a:cxn>
              <a:cxn ang="0">
                <a:pos x="T6" y="T7"/>
              </a:cxn>
              <a:cxn ang="0">
                <a:pos x="T8" y="T9"/>
              </a:cxn>
            </a:cxnLst>
            <a:rect l="0" t="0" r="r" b="b"/>
            <a:pathLst>
              <a:path w="30" h="30">
                <a:moveTo>
                  <a:pt x="0" y="15"/>
                </a:moveTo>
                <a:cubicBezTo>
                  <a:pt x="0" y="7"/>
                  <a:pt x="7" y="0"/>
                  <a:pt x="15" y="0"/>
                </a:cubicBezTo>
                <a:cubicBezTo>
                  <a:pt x="23" y="0"/>
                  <a:pt x="30" y="7"/>
                  <a:pt x="30" y="15"/>
                </a:cubicBezTo>
                <a:cubicBezTo>
                  <a:pt x="30" y="23"/>
                  <a:pt x="23" y="30"/>
                  <a:pt x="15" y="29"/>
                </a:cubicBezTo>
                <a:cubicBezTo>
                  <a:pt x="7" y="29"/>
                  <a:pt x="0" y="23"/>
                  <a:pt x="0" y="15"/>
                </a:cubicBezTo>
              </a:path>
            </a:pathLst>
          </a:custGeom>
          <a:solidFill>
            <a:srgbClr val="FCFD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4" name="Freeform 434"/>
          <p:cNvSpPr>
            <a:spLocks/>
          </p:cNvSpPr>
          <p:nvPr/>
        </p:nvSpPr>
        <p:spPr bwMode="auto">
          <a:xfrm>
            <a:off x="3526035" y="2514032"/>
            <a:ext cx="128620" cy="114992"/>
          </a:xfrm>
          <a:custGeom>
            <a:avLst/>
            <a:gdLst>
              <a:gd name="T0" fmla="*/ 64 w 64"/>
              <a:gd name="T1" fmla="*/ 57 h 57"/>
              <a:gd name="T2" fmla="*/ 64 w 64"/>
              <a:gd name="T3" fmla="*/ 57 h 57"/>
              <a:gd name="T4" fmla="*/ 57 w 64"/>
              <a:gd name="T5" fmla="*/ 56 h 57"/>
              <a:gd name="T6" fmla="*/ 50 w 64"/>
              <a:gd name="T7" fmla="*/ 55 h 57"/>
              <a:gd name="T8" fmla="*/ 44 w 64"/>
              <a:gd name="T9" fmla="*/ 53 h 57"/>
              <a:gd name="T10" fmla="*/ 36 w 64"/>
              <a:gd name="T11" fmla="*/ 52 h 57"/>
              <a:gd name="T12" fmla="*/ 29 w 64"/>
              <a:gd name="T13" fmla="*/ 50 h 57"/>
              <a:gd name="T14" fmla="*/ 20 w 64"/>
              <a:gd name="T15" fmla="*/ 49 h 57"/>
              <a:gd name="T16" fmla="*/ 12 w 64"/>
              <a:gd name="T17" fmla="*/ 47 h 57"/>
              <a:gd name="T18" fmla="*/ 3 w 64"/>
              <a:gd name="T19" fmla="*/ 45 h 57"/>
              <a:gd name="T20" fmla="*/ 0 w 64"/>
              <a:gd name="T21" fmla="*/ 45 h 57"/>
              <a:gd name="T22" fmla="*/ 0 w 64"/>
              <a:gd name="T23" fmla="*/ 44 h 57"/>
              <a:gd name="T24" fmla="*/ 0 w 64"/>
              <a:gd name="T25" fmla="*/ 10 h 57"/>
              <a:gd name="T26" fmla="*/ 0 w 64"/>
              <a:gd name="T27" fmla="*/ 0 h 57"/>
              <a:gd name="T28" fmla="*/ 9 w 64"/>
              <a:gd name="T29" fmla="*/ 0 h 57"/>
              <a:gd name="T30" fmla="*/ 15 w 64"/>
              <a:gd name="T31" fmla="*/ 0 h 57"/>
              <a:gd name="T32" fmla="*/ 26 w 64"/>
              <a:gd name="T33" fmla="*/ 1 h 57"/>
              <a:gd name="T34" fmla="*/ 35 w 64"/>
              <a:gd name="T35" fmla="*/ 1 h 57"/>
              <a:gd name="T36" fmla="*/ 44 w 64"/>
              <a:gd name="T37" fmla="*/ 1 h 57"/>
              <a:gd name="T38" fmla="*/ 51 w 64"/>
              <a:gd name="T39" fmla="*/ 1 h 57"/>
              <a:gd name="T40" fmla="*/ 61 w 64"/>
              <a:gd name="T41" fmla="*/ 1 h 57"/>
              <a:gd name="T42" fmla="*/ 64 w 64"/>
              <a:gd name="T43" fmla="*/ 1 h 57"/>
              <a:gd name="T44" fmla="*/ 64 w 64"/>
              <a:gd name="T4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57">
                <a:moveTo>
                  <a:pt x="64" y="57"/>
                </a:moveTo>
                <a:cubicBezTo>
                  <a:pt x="64" y="57"/>
                  <a:pt x="64" y="57"/>
                  <a:pt x="64" y="57"/>
                </a:cubicBezTo>
                <a:cubicBezTo>
                  <a:pt x="61" y="57"/>
                  <a:pt x="59" y="56"/>
                  <a:pt x="57" y="56"/>
                </a:cubicBezTo>
                <a:cubicBezTo>
                  <a:pt x="55" y="56"/>
                  <a:pt x="53" y="55"/>
                  <a:pt x="50" y="55"/>
                </a:cubicBezTo>
                <a:cubicBezTo>
                  <a:pt x="48" y="54"/>
                  <a:pt x="46" y="54"/>
                  <a:pt x="44" y="53"/>
                </a:cubicBezTo>
                <a:cubicBezTo>
                  <a:pt x="41" y="53"/>
                  <a:pt x="39" y="52"/>
                  <a:pt x="36" y="52"/>
                </a:cubicBezTo>
                <a:cubicBezTo>
                  <a:pt x="34" y="51"/>
                  <a:pt x="31" y="51"/>
                  <a:pt x="29" y="50"/>
                </a:cubicBezTo>
                <a:cubicBezTo>
                  <a:pt x="26" y="50"/>
                  <a:pt x="23" y="49"/>
                  <a:pt x="20" y="49"/>
                </a:cubicBezTo>
                <a:cubicBezTo>
                  <a:pt x="17" y="48"/>
                  <a:pt x="15" y="48"/>
                  <a:pt x="12" y="47"/>
                </a:cubicBezTo>
                <a:cubicBezTo>
                  <a:pt x="9" y="46"/>
                  <a:pt x="6" y="46"/>
                  <a:pt x="3" y="45"/>
                </a:cubicBezTo>
                <a:cubicBezTo>
                  <a:pt x="2" y="45"/>
                  <a:pt x="1" y="45"/>
                  <a:pt x="0" y="45"/>
                </a:cubicBezTo>
                <a:cubicBezTo>
                  <a:pt x="0" y="45"/>
                  <a:pt x="0" y="44"/>
                  <a:pt x="0" y="44"/>
                </a:cubicBezTo>
                <a:cubicBezTo>
                  <a:pt x="0" y="33"/>
                  <a:pt x="0" y="21"/>
                  <a:pt x="0" y="10"/>
                </a:cubicBezTo>
                <a:cubicBezTo>
                  <a:pt x="0" y="7"/>
                  <a:pt x="0" y="3"/>
                  <a:pt x="0" y="0"/>
                </a:cubicBezTo>
                <a:cubicBezTo>
                  <a:pt x="3" y="0"/>
                  <a:pt x="6" y="0"/>
                  <a:pt x="9" y="0"/>
                </a:cubicBezTo>
                <a:cubicBezTo>
                  <a:pt x="11" y="0"/>
                  <a:pt x="13" y="0"/>
                  <a:pt x="15" y="0"/>
                </a:cubicBezTo>
                <a:cubicBezTo>
                  <a:pt x="19" y="0"/>
                  <a:pt x="22" y="1"/>
                  <a:pt x="26" y="1"/>
                </a:cubicBezTo>
                <a:cubicBezTo>
                  <a:pt x="29" y="1"/>
                  <a:pt x="32" y="1"/>
                  <a:pt x="35" y="1"/>
                </a:cubicBezTo>
                <a:cubicBezTo>
                  <a:pt x="38" y="1"/>
                  <a:pt x="41" y="1"/>
                  <a:pt x="44" y="1"/>
                </a:cubicBezTo>
                <a:cubicBezTo>
                  <a:pt x="46" y="1"/>
                  <a:pt x="49" y="1"/>
                  <a:pt x="51" y="1"/>
                </a:cubicBezTo>
                <a:cubicBezTo>
                  <a:pt x="55" y="1"/>
                  <a:pt x="58" y="1"/>
                  <a:pt x="61" y="1"/>
                </a:cubicBezTo>
                <a:cubicBezTo>
                  <a:pt x="62" y="1"/>
                  <a:pt x="63" y="1"/>
                  <a:pt x="64" y="1"/>
                </a:cubicBezTo>
                <a:cubicBezTo>
                  <a:pt x="64" y="57"/>
                  <a:pt x="64" y="57"/>
                  <a:pt x="64" y="5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5" name="Freeform 435"/>
          <p:cNvSpPr>
            <a:spLocks/>
          </p:cNvSpPr>
          <p:nvPr/>
        </p:nvSpPr>
        <p:spPr bwMode="auto">
          <a:xfrm>
            <a:off x="3526035" y="2389671"/>
            <a:ext cx="128620" cy="114992"/>
          </a:xfrm>
          <a:custGeom>
            <a:avLst/>
            <a:gdLst>
              <a:gd name="T0" fmla="*/ 0 w 64"/>
              <a:gd name="T1" fmla="*/ 13 h 57"/>
              <a:gd name="T2" fmla="*/ 3 w 64"/>
              <a:gd name="T3" fmla="*/ 12 h 57"/>
              <a:gd name="T4" fmla="*/ 13 w 64"/>
              <a:gd name="T5" fmla="*/ 10 h 57"/>
              <a:gd name="T6" fmla="*/ 22 w 64"/>
              <a:gd name="T7" fmla="*/ 8 h 57"/>
              <a:gd name="T8" fmla="*/ 29 w 64"/>
              <a:gd name="T9" fmla="*/ 7 h 57"/>
              <a:gd name="T10" fmla="*/ 37 w 64"/>
              <a:gd name="T11" fmla="*/ 5 h 57"/>
              <a:gd name="T12" fmla="*/ 47 w 64"/>
              <a:gd name="T13" fmla="*/ 3 h 57"/>
              <a:gd name="T14" fmla="*/ 54 w 64"/>
              <a:gd name="T15" fmla="*/ 2 h 57"/>
              <a:gd name="T16" fmla="*/ 64 w 64"/>
              <a:gd name="T17" fmla="*/ 0 h 57"/>
              <a:gd name="T18" fmla="*/ 64 w 64"/>
              <a:gd name="T19" fmla="*/ 0 h 57"/>
              <a:gd name="T20" fmla="*/ 64 w 64"/>
              <a:gd name="T21" fmla="*/ 1 h 57"/>
              <a:gd name="T22" fmla="*/ 64 w 64"/>
              <a:gd name="T23" fmla="*/ 56 h 57"/>
              <a:gd name="T24" fmla="*/ 63 w 64"/>
              <a:gd name="T25" fmla="*/ 56 h 57"/>
              <a:gd name="T26" fmla="*/ 57 w 64"/>
              <a:gd name="T27" fmla="*/ 56 h 57"/>
              <a:gd name="T28" fmla="*/ 48 w 64"/>
              <a:gd name="T29" fmla="*/ 57 h 57"/>
              <a:gd name="T30" fmla="*/ 40 w 64"/>
              <a:gd name="T31" fmla="*/ 57 h 57"/>
              <a:gd name="T32" fmla="*/ 30 w 64"/>
              <a:gd name="T33" fmla="*/ 57 h 57"/>
              <a:gd name="T34" fmla="*/ 21 w 64"/>
              <a:gd name="T35" fmla="*/ 57 h 57"/>
              <a:gd name="T36" fmla="*/ 13 w 64"/>
              <a:gd name="T37" fmla="*/ 57 h 57"/>
              <a:gd name="T38" fmla="*/ 4 w 64"/>
              <a:gd name="T39" fmla="*/ 57 h 57"/>
              <a:gd name="T40" fmla="*/ 0 w 64"/>
              <a:gd name="T41" fmla="*/ 57 h 57"/>
              <a:gd name="T42" fmla="*/ 0 w 64"/>
              <a:gd name="T43" fmla="*/ 56 h 57"/>
              <a:gd name="T44" fmla="*/ 0 w 64"/>
              <a:gd name="T45" fmla="*/ 13 h 57"/>
              <a:gd name="T46" fmla="*/ 0 w 64"/>
              <a:gd name="T47" fmla="*/ 13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57">
                <a:moveTo>
                  <a:pt x="0" y="13"/>
                </a:moveTo>
                <a:cubicBezTo>
                  <a:pt x="1" y="12"/>
                  <a:pt x="2" y="12"/>
                  <a:pt x="3" y="12"/>
                </a:cubicBezTo>
                <a:cubicBezTo>
                  <a:pt x="6" y="11"/>
                  <a:pt x="10" y="11"/>
                  <a:pt x="13" y="10"/>
                </a:cubicBezTo>
                <a:cubicBezTo>
                  <a:pt x="16" y="10"/>
                  <a:pt x="19" y="9"/>
                  <a:pt x="22" y="8"/>
                </a:cubicBezTo>
                <a:cubicBezTo>
                  <a:pt x="24" y="8"/>
                  <a:pt x="27" y="7"/>
                  <a:pt x="29" y="7"/>
                </a:cubicBezTo>
                <a:cubicBezTo>
                  <a:pt x="32" y="6"/>
                  <a:pt x="35" y="6"/>
                  <a:pt x="37" y="5"/>
                </a:cubicBezTo>
                <a:cubicBezTo>
                  <a:pt x="41" y="5"/>
                  <a:pt x="44" y="4"/>
                  <a:pt x="47" y="3"/>
                </a:cubicBezTo>
                <a:cubicBezTo>
                  <a:pt x="49" y="3"/>
                  <a:pt x="51" y="3"/>
                  <a:pt x="54" y="2"/>
                </a:cubicBezTo>
                <a:cubicBezTo>
                  <a:pt x="57" y="1"/>
                  <a:pt x="60" y="1"/>
                  <a:pt x="64" y="0"/>
                </a:cubicBezTo>
                <a:cubicBezTo>
                  <a:pt x="64" y="0"/>
                  <a:pt x="64" y="0"/>
                  <a:pt x="64" y="0"/>
                </a:cubicBezTo>
                <a:cubicBezTo>
                  <a:pt x="64" y="0"/>
                  <a:pt x="64" y="0"/>
                  <a:pt x="64" y="1"/>
                </a:cubicBezTo>
                <a:cubicBezTo>
                  <a:pt x="64" y="19"/>
                  <a:pt x="64" y="37"/>
                  <a:pt x="64" y="56"/>
                </a:cubicBezTo>
                <a:cubicBezTo>
                  <a:pt x="64" y="56"/>
                  <a:pt x="64" y="56"/>
                  <a:pt x="63" y="56"/>
                </a:cubicBezTo>
                <a:cubicBezTo>
                  <a:pt x="61" y="56"/>
                  <a:pt x="59" y="56"/>
                  <a:pt x="57" y="56"/>
                </a:cubicBezTo>
                <a:cubicBezTo>
                  <a:pt x="54" y="56"/>
                  <a:pt x="51" y="56"/>
                  <a:pt x="48" y="57"/>
                </a:cubicBezTo>
                <a:cubicBezTo>
                  <a:pt x="45" y="57"/>
                  <a:pt x="42" y="57"/>
                  <a:pt x="40" y="57"/>
                </a:cubicBezTo>
                <a:cubicBezTo>
                  <a:pt x="37" y="57"/>
                  <a:pt x="33" y="57"/>
                  <a:pt x="30" y="57"/>
                </a:cubicBezTo>
                <a:cubicBezTo>
                  <a:pt x="27" y="57"/>
                  <a:pt x="24" y="57"/>
                  <a:pt x="21" y="57"/>
                </a:cubicBezTo>
                <a:cubicBezTo>
                  <a:pt x="13" y="57"/>
                  <a:pt x="13" y="57"/>
                  <a:pt x="13" y="57"/>
                </a:cubicBezTo>
                <a:cubicBezTo>
                  <a:pt x="10" y="57"/>
                  <a:pt x="7" y="57"/>
                  <a:pt x="4" y="57"/>
                </a:cubicBezTo>
                <a:cubicBezTo>
                  <a:pt x="3" y="57"/>
                  <a:pt x="2" y="57"/>
                  <a:pt x="0" y="57"/>
                </a:cubicBezTo>
                <a:cubicBezTo>
                  <a:pt x="0" y="57"/>
                  <a:pt x="0" y="57"/>
                  <a:pt x="0" y="56"/>
                </a:cubicBezTo>
                <a:cubicBezTo>
                  <a:pt x="0" y="42"/>
                  <a:pt x="0" y="28"/>
                  <a:pt x="0" y="13"/>
                </a:cubicBezTo>
                <a:cubicBezTo>
                  <a:pt x="0" y="13"/>
                  <a:pt x="0" y="13"/>
                  <a:pt x="0" y="13"/>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6" name="Freeform 436"/>
          <p:cNvSpPr>
            <a:spLocks/>
          </p:cNvSpPr>
          <p:nvPr/>
        </p:nvSpPr>
        <p:spPr bwMode="auto">
          <a:xfrm>
            <a:off x="3435745" y="2417780"/>
            <a:ext cx="80068" cy="88586"/>
          </a:xfrm>
          <a:custGeom>
            <a:avLst/>
            <a:gdLst>
              <a:gd name="T0" fmla="*/ 0 w 40"/>
              <a:gd name="T1" fmla="*/ 8 h 44"/>
              <a:gd name="T2" fmla="*/ 40 w 40"/>
              <a:gd name="T3" fmla="*/ 0 h 44"/>
              <a:gd name="T4" fmla="*/ 40 w 40"/>
              <a:gd name="T5" fmla="*/ 43 h 44"/>
              <a:gd name="T6" fmla="*/ 39 w 40"/>
              <a:gd name="T7" fmla="*/ 43 h 44"/>
              <a:gd name="T8" fmla="*/ 32 w 40"/>
              <a:gd name="T9" fmla="*/ 43 h 44"/>
              <a:gd name="T10" fmla="*/ 22 w 40"/>
              <a:gd name="T11" fmla="*/ 43 h 44"/>
              <a:gd name="T12" fmla="*/ 14 w 40"/>
              <a:gd name="T13" fmla="*/ 43 h 44"/>
              <a:gd name="T14" fmla="*/ 5 w 40"/>
              <a:gd name="T15" fmla="*/ 43 h 44"/>
              <a:gd name="T16" fmla="*/ 0 w 40"/>
              <a:gd name="T17" fmla="*/ 43 h 44"/>
              <a:gd name="T18" fmla="*/ 0 w 40"/>
              <a:gd name="T19"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4">
                <a:moveTo>
                  <a:pt x="0" y="8"/>
                </a:moveTo>
                <a:cubicBezTo>
                  <a:pt x="14" y="5"/>
                  <a:pt x="27" y="2"/>
                  <a:pt x="40" y="0"/>
                </a:cubicBezTo>
                <a:cubicBezTo>
                  <a:pt x="40" y="43"/>
                  <a:pt x="40" y="43"/>
                  <a:pt x="40" y="43"/>
                </a:cubicBezTo>
                <a:cubicBezTo>
                  <a:pt x="40" y="43"/>
                  <a:pt x="39" y="43"/>
                  <a:pt x="39" y="43"/>
                </a:cubicBezTo>
                <a:cubicBezTo>
                  <a:pt x="36" y="43"/>
                  <a:pt x="34" y="43"/>
                  <a:pt x="32" y="43"/>
                </a:cubicBezTo>
                <a:cubicBezTo>
                  <a:pt x="29" y="43"/>
                  <a:pt x="25" y="43"/>
                  <a:pt x="22" y="43"/>
                </a:cubicBezTo>
                <a:cubicBezTo>
                  <a:pt x="19" y="43"/>
                  <a:pt x="17" y="43"/>
                  <a:pt x="14" y="43"/>
                </a:cubicBezTo>
                <a:cubicBezTo>
                  <a:pt x="11" y="43"/>
                  <a:pt x="8" y="43"/>
                  <a:pt x="5" y="43"/>
                </a:cubicBezTo>
                <a:cubicBezTo>
                  <a:pt x="3" y="44"/>
                  <a:pt x="2" y="43"/>
                  <a:pt x="0" y="43"/>
                </a:cubicBezTo>
                <a:lnTo>
                  <a:pt x="0" y="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7" name="Freeform 437"/>
          <p:cNvSpPr>
            <a:spLocks/>
          </p:cNvSpPr>
          <p:nvPr/>
        </p:nvSpPr>
        <p:spPr bwMode="auto">
          <a:xfrm>
            <a:off x="3435745" y="2514032"/>
            <a:ext cx="80068" cy="88586"/>
          </a:xfrm>
          <a:custGeom>
            <a:avLst/>
            <a:gdLst>
              <a:gd name="T0" fmla="*/ 40 w 40"/>
              <a:gd name="T1" fmla="*/ 44 h 44"/>
              <a:gd name="T2" fmla="*/ 0 w 40"/>
              <a:gd name="T3" fmla="*/ 36 h 44"/>
              <a:gd name="T4" fmla="*/ 0 w 40"/>
              <a:gd name="T5" fmla="*/ 0 h 44"/>
              <a:gd name="T6" fmla="*/ 1 w 40"/>
              <a:gd name="T7" fmla="*/ 0 h 44"/>
              <a:gd name="T8" fmla="*/ 9 w 40"/>
              <a:gd name="T9" fmla="*/ 0 h 44"/>
              <a:gd name="T10" fmla="*/ 18 w 40"/>
              <a:gd name="T11" fmla="*/ 0 h 44"/>
              <a:gd name="T12" fmla="*/ 27 w 40"/>
              <a:gd name="T13" fmla="*/ 0 h 44"/>
              <a:gd name="T14" fmla="*/ 36 w 40"/>
              <a:gd name="T15" fmla="*/ 0 h 44"/>
              <a:gd name="T16" fmla="*/ 40 w 40"/>
              <a:gd name="T17" fmla="*/ 0 h 44"/>
              <a:gd name="T18" fmla="*/ 40 w 40"/>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4">
                <a:moveTo>
                  <a:pt x="40" y="44"/>
                </a:moveTo>
                <a:cubicBezTo>
                  <a:pt x="27" y="41"/>
                  <a:pt x="14" y="38"/>
                  <a:pt x="0" y="36"/>
                </a:cubicBezTo>
                <a:cubicBezTo>
                  <a:pt x="0" y="0"/>
                  <a:pt x="0" y="0"/>
                  <a:pt x="0" y="0"/>
                </a:cubicBezTo>
                <a:cubicBezTo>
                  <a:pt x="1" y="0"/>
                  <a:pt x="1" y="0"/>
                  <a:pt x="1" y="0"/>
                </a:cubicBezTo>
                <a:cubicBezTo>
                  <a:pt x="4" y="0"/>
                  <a:pt x="7" y="0"/>
                  <a:pt x="9" y="0"/>
                </a:cubicBezTo>
                <a:cubicBezTo>
                  <a:pt x="12" y="0"/>
                  <a:pt x="15" y="0"/>
                  <a:pt x="18" y="0"/>
                </a:cubicBezTo>
                <a:cubicBezTo>
                  <a:pt x="21" y="0"/>
                  <a:pt x="24" y="0"/>
                  <a:pt x="27" y="0"/>
                </a:cubicBezTo>
                <a:cubicBezTo>
                  <a:pt x="30" y="0"/>
                  <a:pt x="33" y="0"/>
                  <a:pt x="36" y="0"/>
                </a:cubicBezTo>
                <a:cubicBezTo>
                  <a:pt x="37" y="0"/>
                  <a:pt x="39" y="0"/>
                  <a:pt x="40" y="0"/>
                </a:cubicBezTo>
                <a:lnTo>
                  <a:pt x="40" y="44"/>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8" name="Freeform 438"/>
          <p:cNvSpPr>
            <a:spLocks/>
          </p:cNvSpPr>
          <p:nvPr/>
        </p:nvSpPr>
        <p:spPr bwMode="auto">
          <a:xfrm>
            <a:off x="3526035" y="2416076"/>
            <a:ext cx="0" cy="88586"/>
          </a:xfrm>
          <a:custGeom>
            <a:avLst/>
            <a:gdLst>
              <a:gd name="T0" fmla="*/ 0 h 44"/>
              <a:gd name="T1" fmla="*/ 0 h 44"/>
              <a:gd name="T2" fmla="*/ 43 h 44"/>
              <a:gd name="T3" fmla="*/ 44 h 44"/>
              <a:gd name="T4" fmla="*/ 43 h 44"/>
              <a:gd name="T5" fmla="*/ 0 h 44"/>
              <a:gd name="T6" fmla="*/ 0 h 44"/>
            </a:gdLst>
            <a:ahLst/>
            <a:cxnLst>
              <a:cxn ang="0">
                <a:pos x="0" y="T0"/>
              </a:cxn>
              <a:cxn ang="0">
                <a:pos x="0" y="T1"/>
              </a:cxn>
              <a:cxn ang="0">
                <a:pos x="0" y="T2"/>
              </a:cxn>
              <a:cxn ang="0">
                <a:pos x="0" y="T3"/>
              </a:cxn>
              <a:cxn ang="0">
                <a:pos x="0" y="T4"/>
              </a:cxn>
              <a:cxn ang="0">
                <a:pos x="0" y="T5"/>
              </a:cxn>
              <a:cxn ang="0">
                <a:pos x="0" y="T6"/>
              </a:cxn>
            </a:cxnLst>
            <a:rect l="0" t="0" r="r" b="b"/>
            <a:pathLst>
              <a:path h="44">
                <a:moveTo>
                  <a:pt x="0" y="0"/>
                </a:moveTo>
                <a:cubicBezTo>
                  <a:pt x="0" y="0"/>
                  <a:pt x="0" y="0"/>
                  <a:pt x="0" y="0"/>
                </a:cubicBezTo>
                <a:cubicBezTo>
                  <a:pt x="0" y="15"/>
                  <a:pt x="0" y="29"/>
                  <a:pt x="0" y="43"/>
                </a:cubicBezTo>
                <a:cubicBezTo>
                  <a:pt x="0" y="44"/>
                  <a:pt x="0" y="44"/>
                  <a:pt x="0" y="44"/>
                </a:cubicBezTo>
                <a:cubicBezTo>
                  <a:pt x="0" y="44"/>
                  <a:pt x="0" y="44"/>
                  <a:pt x="0" y="43"/>
                </a:cubicBezTo>
                <a:cubicBezTo>
                  <a:pt x="0" y="29"/>
                  <a:pt x="0" y="15"/>
                  <a:pt x="0" y="0"/>
                </a:cubicBezTo>
                <a:cubicBezTo>
                  <a:pt x="0" y="0"/>
                  <a:pt x="0" y="0"/>
                  <a:pt x="0"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89" name="Freeform 439"/>
          <p:cNvSpPr>
            <a:spLocks/>
          </p:cNvSpPr>
          <p:nvPr/>
        </p:nvSpPr>
        <p:spPr bwMode="auto">
          <a:xfrm>
            <a:off x="3526035" y="2514032"/>
            <a:ext cx="0" cy="91142"/>
          </a:xfrm>
          <a:custGeom>
            <a:avLst/>
            <a:gdLst>
              <a:gd name="T0" fmla="*/ 0 h 45"/>
              <a:gd name="T1" fmla="*/ 10 h 45"/>
              <a:gd name="T2" fmla="*/ 44 h 45"/>
              <a:gd name="T3" fmla="*/ 45 h 45"/>
              <a:gd name="T4" fmla="*/ 44 h 45"/>
              <a:gd name="T5" fmla="*/ 1 h 45"/>
              <a:gd name="T6" fmla="*/ 0 h 45"/>
            </a:gdLst>
            <a:ahLst/>
            <a:cxnLst>
              <a:cxn ang="0">
                <a:pos x="0" y="T0"/>
              </a:cxn>
              <a:cxn ang="0">
                <a:pos x="0" y="T1"/>
              </a:cxn>
              <a:cxn ang="0">
                <a:pos x="0" y="T2"/>
              </a:cxn>
              <a:cxn ang="0">
                <a:pos x="0" y="T3"/>
              </a:cxn>
              <a:cxn ang="0">
                <a:pos x="0" y="T4"/>
              </a:cxn>
              <a:cxn ang="0">
                <a:pos x="0" y="T5"/>
              </a:cxn>
              <a:cxn ang="0">
                <a:pos x="0" y="T6"/>
              </a:cxn>
            </a:cxnLst>
            <a:rect l="0" t="0" r="r" b="b"/>
            <a:pathLst>
              <a:path h="45">
                <a:moveTo>
                  <a:pt x="0" y="0"/>
                </a:moveTo>
                <a:cubicBezTo>
                  <a:pt x="0" y="3"/>
                  <a:pt x="0" y="7"/>
                  <a:pt x="0" y="10"/>
                </a:cubicBezTo>
                <a:cubicBezTo>
                  <a:pt x="0" y="21"/>
                  <a:pt x="0" y="33"/>
                  <a:pt x="0" y="44"/>
                </a:cubicBezTo>
                <a:cubicBezTo>
                  <a:pt x="0" y="44"/>
                  <a:pt x="0" y="45"/>
                  <a:pt x="0" y="45"/>
                </a:cubicBezTo>
                <a:cubicBezTo>
                  <a:pt x="0" y="45"/>
                  <a:pt x="0" y="44"/>
                  <a:pt x="0" y="44"/>
                </a:cubicBezTo>
                <a:cubicBezTo>
                  <a:pt x="0" y="30"/>
                  <a:pt x="0" y="15"/>
                  <a:pt x="0" y="1"/>
                </a:cubicBezTo>
                <a:cubicBezTo>
                  <a:pt x="0" y="1"/>
                  <a:pt x="0" y="1"/>
                  <a:pt x="0"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90" name="Freeform 440"/>
          <p:cNvSpPr>
            <a:spLocks/>
          </p:cNvSpPr>
          <p:nvPr/>
        </p:nvSpPr>
        <p:spPr bwMode="auto">
          <a:xfrm>
            <a:off x="4440005" y="2383708"/>
            <a:ext cx="76661" cy="120954"/>
          </a:xfrm>
          <a:custGeom>
            <a:avLst/>
            <a:gdLst>
              <a:gd name="T0" fmla="*/ 38 w 38"/>
              <a:gd name="T1" fmla="*/ 52 h 60"/>
              <a:gd name="T2" fmla="*/ 37 w 38"/>
              <a:gd name="T3" fmla="*/ 56 h 60"/>
              <a:gd name="T4" fmla="*/ 30 w 38"/>
              <a:gd name="T5" fmla="*/ 58 h 60"/>
              <a:gd name="T6" fmla="*/ 27 w 38"/>
              <a:gd name="T7" fmla="*/ 54 h 60"/>
              <a:gd name="T8" fmla="*/ 2 w 38"/>
              <a:gd name="T9" fmla="*/ 14 h 60"/>
              <a:gd name="T10" fmla="*/ 4 w 38"/>
              <a:gd name="T11" fmla="*/ 8 h 60"/>
              <a:gd name="T12" fmla="*/ 18 w 38"/>
              <a:gd name="T13" fmla="*/ 2 h 60"/>
              <a:gd name="T14" fmla="*/ 30 w 38"/>
              <a:gd name="T15" fmla="*/ 0 h 60"/>
              <a:gd name="T16" fmla="*/ 35 w 38"/>
              <a:gd name="T17" fmla="*/ 5 h 60"/>
              <a:gd name="T18" fmla="*/ 37 w 38"/>
              <a:gd name="T19" fmla="*/ 25 h 60"/>
              <a:gd name="T20" fmla="*/ 37 w 38"/>
              <a:gd name="T21" fmla="*/ 35 h 60"/>
              <a:gd name="T22" fmla="*/ 38 w 38"/>
              <a:gd name="T23" fmla="*/ 5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0">
                <a:moveTo>
                  <a:pt x="38" y="52"/>
                </a:moveTo>
                <a:cubicBezTo>
                  <a:pt x="38" y="53"/>
                  <a:pt x="38" y="54"/>
                  <a:pt x="37" y="56"/>
                </a:cubicBezTo>
                <a:cubicBezTo>
                  <a:pt x="36" y="59"/>
                  <a:pt x="33" y="60"/>
                  <a:pt x="30" y="58"/>
                </a:cubicBezTo>
                <a:cubicBezTo>
                  <a:pt x="29" y="57"/>
                  <a:pt x="28" y="55"/>
                  <a:pt x="27" y="54"/>
                </a:cubicBezTo>
                <a:cubicBezTo>
                  <a:pt x="19" y="41"/>
                  <a:pt x="10" y="28"/>
                  <a:pt x="2" y="14"/>
                </a:cubicBezTo>
                <a:cubicBezTo>
                  <a:pt x="0" y="12"/>
                  <a:pt x="1" y="10"/>
                  <a:pt x="4" y="8"/>
                </a:cubicBezTo>
                <a:cubicBezTo>
                  <a:pt x="8" y="5"/>
                  <a:pt x="13" y="4"/>
                  <a:pt x="18" y="2"/>
                </a:cubicBezTo>
                <a:cubicBezTo>
                  <a:pt x="21" y="1"/>
                  <a:pt x="26" y="1"/>
                  <a:pt x="30" y="0"/>
                </a:cubicBezTo>
                <a:cubicBezTo>
                  <a:pt x="33" y="0"/>
                  <a:pt x="35" y="2"/>
                  <a:pt x="35" y="5"/>
                </a:cubicBezTo>
                <a:cubicBezTo>
                  <a:pt x="36" y="12"/>
                  <a:pt x="36" y="18"/>
                  <a:pt x="37" y="25"/>
                </a:cubicBezTo>
                <a:cubicBezTo>
                  <a:pt x="37" y="28"/>
                  <a:pt x="37" y="31"/>
                  <a:pt x="37" y="35"/>
                </a:cubicBezTo>
                <a:cubicBezTo>
                  <a:pt x="38" y="40"/>
                  <a:pt x="38" y="46"/>
                  <a:pt x="38" y="5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91" name="Freeform 441"/>
          <p:cNvSpPr>
            <a:spLocks/>
          </p:cNvSpPr>
          <p:nvPr/>
        </p:nvSpPr>
        <p:spPr bwMode="auto">
          <a:xfrm>
            <a:off x="4532850" y="2453556"/>
            <a:ext cx="74957" cy="68995"/>
          </a:xfrm>
          <a:custGeom>
            <a:avLst/>
            <a:gdLst>
              <a:gd name="T0" fmla="*/ 37 w 37"/>
              <a:gd name="T1" fmla="*/ 22 h 34"/>
              <a:gd name="T2" fmla="*/ 34 w 37"/>
              <a:gd name="T3" fmla="*/ 27 h 34"/>
              <a:gd name="T4" fmla="*/ 11 w 37"/>
              <a:gd name="T5" fmla="*/ 33 h 34"/>
              <a:gd name="T6" fmla="*/ 7 w 37"/>
              <a:gd name="T7" fmla="*/ 34 h 34"/>
              <a:gd name="T8" fmla="*/ 1 w 37"/>
              <a:gd name="T9" fmla="*/ 31 h 34"/>
              <a:gd name="T10" fmla="*/ 1 w 37"/>
              <a:gd name="T11" fmla="*/ 25 h 34"/>
              <a:gd name="T12" fmla="*/ 12 w 37"/>
              <a:gd name="T13" fmla="*/ 10 h 34"/>
              <a:gd name="T14" fmla="*/ 17 w 37"/>
              <a:gd name="T15" fmla="*/ 4 h 34"/>
              <a:gd name="T16" fmla="*/ 25 w 37"/>
              <a:gd name="T17" fmla="*/ 3 h 34"/>
              <a:gd name="T18" fmla="*/ 37 w 37"/>
              <a:gd name="T19" fmla="*/ 21 h 34"/>
              <a:gd name="T20" fmla="*/ 37 w 37"/>
              <a:gd name="T21"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4">
                <a:moveTo>
                  <a:pt x="37" y="22"/>
                </a:moveTo>
                <a:cubicBezTo>
                  <a:pt x="37" y="25"/>
                  <a:pt x="36" y="26"/>
                  <a:pt x="34" y="27"/>
                </a:cubicBezTo>
                <a:cubicBezTo>
                  <a:pt x="26" y="29"/>
                  <a:pt x="19" y="31"/>
                  <a:pt x="11" y="33"/>
                </a:cubicBezTo>
                <a:cubicBezTo>
                  <a:pt x="10" y="33"/>
                  <a:pt x="8" y="33"/>
                  <a:pt x="7" y="34"/>
                </a:cubicBezTo>
                <a:cubicBezTo>
                  <a:pt x="5" y="34"/>
                  <a:pt x="3" y="33"/>
                  <a:pt x="1" y="31"/>
                </a:cubicBezTo>
                <a:cubicBezTo>
                  <a:pt x="0" y="29"/>
                  <a:pt x="0" y="27"/>
                  <a:pt x="1" y="25"/>
                </a:cubicBezTo>
                <a:cubicBezTo>
                  <a:pt x="5" y="20"/>
                  <a:pt x="9" y="15"/>
                  <a:pt x="12" y="10"/>
                </a:cubicBezTo>
                <a:cubicBezTo>
                  <a:pt x="14" y="8"/>
                  <a:pt x="16" y="6"/>
                  <a:pt x="17" y="4"/>
                </a:cubicBezTo>
                <a:cubicBezTo>
                  <a:pt x="20" y="1"/>
                  <a:pt x="22" y="0"/>
                  <a:pt x="25" y="3"/>
                </a:cubicBezTo>
                <a:cubicBezTo>
                  <a:pt x="30" y="8"/>
                  <a:pt x="34" y="14"/>
                  <a:pt x="37" y="21"/>
                </a:cubicBezTo>
                <a:cubicBezTo>
                  <a:pt x="37" y="21"/>
                  <a:pt x="37" y="22"/>
                  <a:pt x="37" y="22"/>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92" name="Freeform 442"/>
          <p:cNvSpPr>
            <a:spLocks/>
          </p:cNvSpPr>
          <p:nvPr/>
        </p:nvSpPr>
        <p:spPr bwMode="auto">
          <a:xfrm>
            <a:off x="4422117" y="2497849"/>
            <a:ext cx="74106" cy="60477"/>
          </a:xfrm>
          <a:custGeom>
            <a:avLst/>
            <a:gdLst>
              <a:gd name="T0" fmla="*/ 0 w 37"/>
              <a:gd name="T1" fmla="*/ 16 h 30"/>
              <a:gd name="T2" fmla="*/ 2 w 37"/>
              <a:gd name="T3" fmla="*/ 4 h 30"/>
              <a:gd name="T4" fmla="*/ 5 w 37"/>
              <a:gd name="T5" fmla="*/ 0 h 30"/>
              <a:gd name="T6" fmla="*/ 8 w 37"/>
              <a:gd name="T7" fmla="*/ 0 h 30"/>
              <a:gd name="T8" fmla="*/ 31 w 37"/>
              <a:gd name="T9" fmla="*/ 9 h 30"/>
              <a:gd name="T10" fmla="*/ 33 w 37"/>
              <a:gd name="T11" fmla="*/ 10 h 30"/>
              <a:gd name="T12" fmla="*/ 36 w 37"/>
              <a:gd name="T13" fmla="*/ 18 h 30"/>
              <a:gd name="T14" fmla="*/ 33 w 37"/>
              <a:gd name="T15" fmla="*/ 21 h 30"/>
              <a:gd name="T16" fmla="*/ 7 w 37"/>
              <a:gd name="T17" fmla="*/ 29 h 30"/>
              <a:gd name="T18" fmla="*/ 1 w 37"/>
              <a:gd name="T19" fmla="*/ 26 h 30"/>
              <a:gd name="T20" fmla="*/ 0 w 37"/>
              <a:gd name="T21" fmla="*/ 1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30">
                <a:moveTo>
                  <a:pt x="0" y="16"/>
                </a:moveTo>
                <a:cubicBezTo>
                  <a:pt x="0" y="12"/>
                  <a:pt x="1" y="8"/>
                  <a:pt x="2" y="4"/>
                </a:cubicBezTo>
                <a:cubicBezTo>
                  <a:pt x="2" y="2"/>
                  <a:pt x="3" y="0"/>
                  <a:pt x="5" y="0"/>
                </a:cubicBezTo>
                <a:cubicBezTo>
                  <a:pt x="6" y="0"/>
                  <a:pt x="7" y="0"/>
                  <a:pt x="8" y="0"/>
                </a:cubicBezTo>
                <a:cubicBezTo>
                  <a:pt x="15" y="3"/>
                  <a:pt x="23" y="6"/>
                  <a:pt x="31" y="9"/>
                </a:cubicBezTo>
                <a:cubicBezTo>
                  <a:pt x="31" y="10"/>
                  <a:pt x="32" y="10"/>
                  <a:pt x="33" y="10"/>
                </a:cubicBezTo>
                <a:cubicBezTo>
                  <a:pt x="37" y="12"/>
                  <a:pt x="37" y="16"/>
                  <a:pt x="36" y="18"/>
                </a:cubicBezTo>
                <a:cubicBezTo>
                  <a:pt x="36" y="19"/>
                  <a:pt x="35" y="20"/>
                  <a:pt x="33" y="21"/>
                </a:cubicBezTo>
                <a:cubicBezTo>
                  <a:pt x="25" y="23"/>
                  <a:pt x="16" y="26"/>
                  <a:pt x="7" y="29"/>
                </a:cubicBezTo>
                <a:cubicBezTo>
                  <a:pt x="4" y="30"/>
                  <a:pt x="2" y="29"/>
                  <a:pt x="1" y="26"/>
                </a:cubicBezTo>
                <a:cubicBezTo>
                  <a:pt x="0" y="23"/>
                  <a:pt x="0" y="20"/>
                  <a:pt x="0" y="16"/>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93" name="Freeform 443"/>
          <p:cNvSpPr>
            <a:spLocks/>
          </p:cNvSpPr>
          <p:nvPr/>
        </p:nvSpPr>
        <p:spPr bwMode="auto">
          <a:xfrm>
            <a:off x="4532850" y="2542994"/>
            <a:ext cx="78365" cy="69847"/>
          </a:xfrm>
          <a:custGeom>
            <a:avLst/>
            <a:gdLst>
              <a:gd name="T0" fmla="*/ 8 w 39"/>
              <a:gd name="T1" fmla="*/ 0 h 35"/>
              <a:gd name="T2" fmla="*/ 14 w 39"/>
              <a:gd name="T3" fmla="*/ 2 h 35"/>
              <a:gd name="T4" fmla="*/ 35 w 39"/>
              <a:gd name="T5" fmla="*/ 9 h 35"/>
              <a:gd name="T6" fmla="*/ 38 w 39"/>
              <a:gd name="T7" fmla="*/ 16 h 35"/>
              <a:gd name="T8" fmla="*/ 24 w 39"/>
              <a:gd name="T9" fmla="*/ 33 h 35"/>
              <a:gd name="T10" fmla="*/ 17 w 39"/>
              <a:gd name="T11" fmla="*/ 31 h 35"/>
              <a:gd name="T12" fmla="*/ 3 w 39"/>
              <a:gd name="T13" fmla="*/ 8 h 35"/>
              <a:gd name="T14" fmla="*/ 8 w 39"/>
              <a:gd name="T15" fmla="*/ 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5">
                <a:moveTo>
                  <a:pt x="8" y="0"/>
                </a:moveTo>
                <a:cubicBezTo>
                  <a:pt x="9" y="1"/>
                  <a:pt x="12" y="1"/>
                  <a:pt x="14" y="2"/>
                </a:cubicBezTo>
                <a:cubicBezTo>
                  <a:pt x="21" y="4"/>
                  <a:pt x="28" y="7"/>
                  <a:pt x="35" y="9"/>
                </a:cubicBezTo>
                <a:cubicBezTo>
                  <a:pt x="37" y="10"/>
                  <a:pt x="39" y="13"/>
                  <a:pt x="38" y="16"/>
                </a:cubicBezTo>
                <a:cubicBezTo>
                  <a:pt x="34" y="22"/>
                  <a:pt x="30" y="28"/>
                  <a:pt x="24" y="33"/>
                </a:cubicBezTo>
                <a:cubicBezTo>
                  <a:pt x="22" y="35"/>
                  <a:pt x="19" y="35"/>
                  <a:pt x="17" y="31"/>
                </a:cubicBezTo>
                <a:cubicBezTo>
                  <a:pt x="12" y="24"/>
                  <a:pt x="7" y="16"/>
                  <a:pt x="3" y="8"/>
                </a:cubicBezTo>
                <a:cubicBezTo>
                  <a:pt x="0" y="5"/>
                  <a:pt x="3" y="0"/>
                  <a:pt x="8" y="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94" name="Freeform 444"/>
          <p:cNvSpPr>
            <a:spLocks/>
          </p:cNvSpPr>
          <p:nvPr/>
        </p:nvSpPr>
        <p:spPr bwMode="auto">
          <a:xfrm>
            <a:off x="4458743" y="2552364"/>
            <a:ext cx="57922" cy="79217"/>
          </a:xfrm>
          <a:custGeom>
            <a:avLst/>
            <a:gdLst>
              <a:gd name="T0" fmla="*/ 29 w 29"/>
              <a:gd name="T1" fmla="*/ 20 h 39"/>
              <a:gd name="T2" fmla="*/ 29 w 29"/>
              <a:gd name="T3" fmla="*/ 32 h 39"/>
              <a:gd name="T4" fmla="*/ 22 w 29"/>
              <a:gd name="T5" fmla="*/ 38 h 39"/>
              <a:gd name="T6" fmla="*/ 3 w 29"/>
              <a:gd name="T7" fmla="*/ 31 h 39"/>
              <a:gd name="T8" fmla="*/ 2 w 29"/>
              <a:gd name="T9" fmla="*/ 23 h 39"/>
              <a:gd name="T10" fmla="*/ 16 w 29"/>
              <a:gd name="T11" fmla="*/ 6 h 39"/>
              <a:gd name="T12" fmla="*/ 20 w 29"/>
              <a:gd name="T13" fmla="*/ 2 h 39"/>
              <a:gd name="T14" fmla="*/ 28 w 29"/>
              <a:gd name="T15" fmla="*/ 3 h 39"/>
              <a:gd name="T16" fmla="*/ 29 w 29"/>
              <a:gd name="T17" fmla="*/ 6 h 39"/>
              <a:gd name="T18" fmla="*/ 29 w 29"/>
              <a:gd name="T19" fmla="*/ 20 h 39"/>
              <a:gd name="T20" fmla="*/ 29 w 29"/>
              <a:gd name="T21" fmla="*/ 2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39">
                <a:moveTo>
                  <a:pt x="29" y="20"/>
                </a:moveTo>
                <a:cubicBezTo>
                  <a:pt x="29" y="24"/>
                  <a:pt x="29" y="28"/>
                  <a:pt x="29" y="32"/>
                </a:cubicBezTo>
                <a:cubicBezTo>
                  <a:pt x="29" y="37"/>
                  <a:pt x="27" y="39"/>
                  <a:pt x="22" y="38"/>
                </a:cubicBezTo>
                <a:cubicBezTo>
                  <a:pt x="15" y="37"/>
                  <a:pt x="9" y="35"/>
                  <a:pt x="3" y="31"/>
                </a:cubicBezTo>
                <a:cubicBezTo>
                  <a:pt x="0" y="29"/>
                  <a:pt x="0" y="26"/>
                  <a:pt x="2" y="23"/>
                </a:cubicBezTo>
                <a:cubicBezTo>
                  <a:pt x="7" y="18"/>
                  <a:pt x="11" y="12"/>
                  <a:pt x="16" y="6"/>
                </a:cubicBezTo>
                <a:cubicBezTo>
                  <a:pt x="17" y="5"/>
                  <a:pt x="18" y="4"/>
                  <a:pt x="20" y="2"/>
                </a:cubicBezTo>
                <a:cubicBezTo>
                  <a:pt x="22" y="0"/>
                  <a:pt x="27" y="0"/>
                  <a:pt x="28" y="3"/>
                </a:cubicBezTo>
                <a:cubicBezTo>
                  <a:pt x="29" y="4"/>
                  <a:pt x="29" y="5"/>
                  <a:pt x="29" y="6"/>
                </a:cubicBezTo>
                <a:cubicBezTo>
                  <a:pt x="29" y="10"/>
                  <a:pt x="29" y="15"/>
                  <a:pt x="29" y="20"/>
                </a:cubicBezTo>
                <a:cubicBezTo>
                  <a:pt x="29" y="20"/>
                  <a:pt x="29" y="20"/>
                  <a:pt x="29" y="20"/>
                </a:cubicBezTo>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nvGrpSpPr>
          <p:cNvPr id="10" name="Group 9"/>
          <p:cNvGrpSpPr/>
          <p:nvPr/>
        </p:nvGrpSpPr>
        <p:grpSpPr>
          <a:xfrm>
            <a:off x="6720244" y="2292568"/>
            <a:ext cx="434413" cy="435265"/>
            <a:chOff x="5196243" y="2292567"/>
            <a:chExt cx="434413" cy="435265"/>
          </a:xfrm>
        </p:grpSpPr>
        <p:sp>
          <p:nvSpPr>
            <p:cNvPr id="800" name="Freeform 249"/>
            <p:cNvSpPr>
              <a:spLocks/>
            </p:cNvSpPr>
            <p:nvPr/>
          </p:nvSpPr>
          <p:spPr bwMode="auto">
            <a:xfrm>
              <a:off x="5199650" y="2544697"/>
              <a:ext cx="92845" cy="88586"/>
            </a:xfrm>
            <a:custGeom>
              <a:avLst/>
              <a:gdLst>
                <a:gd name="T0" fmla="*/ 40 w 46"/>
                <a:gd name="T1" fmla="*/ 10 h 44"/>
                <a:gd name="T2" fmla="*/ 37 w 46"/>
                <a:gd name="T3" fmla="*/ 10 h 44"/>
                <a:gd name="T4" fmla="*/ 22 w 46"/>
                <a:gd name="T5" fmla="*/ 10 h 44"/>
                <a:gd name="T6" fmla="*/ 0 w 46"/>
                <a:gd name="T7" fmla="*/ 0 h 44"/>
                <a:gd name="T8" fmla="*/ 17 w 46"/>
                <a:gd name="T9" fmla="*/ 44 h 44"/>
                <a:gd name="T10" fmla="*/ 46 w 46"/>
                <a:gd name="T11" fmla="*/ 40 h 44"/>
                <a:gd name="T12" fmla="*/ 40 w 46"/>
                <a:gd name="T13" fmla="*/ 10 h 44"/>
              </a:gdLst>
              <a:ahLst/>
              <a:cxnLst>
                <a:cxn ang="0">
                  <a:pos x="T0" y="T1"/>
                </a:cxn>
                <a:cxn ang="0">
                  <a:pos x="T2" y="T3"/>
                </a:cxn>
                <a:cxn ang="0">
                  <a:pos x="T4" y="T5"/>
                </a:cxn>
                <a:cxn ang="0">
                  <a:pos x="T6" y="T7"/>
                </a:cxn>
                <a:cxn ang="0">
                  <a:pos x="T8" y="T9"/>
                </a:cxn>
                <a:cxn ang="0">
                  <a:pos x="T10" y="T11"/>
                </a:cxn>
                <a:cxn ang="0">
                  <a:pos x="T12" y="T13"/>
                </a:cxn>
              </a:cxnLst>
              <a:rect l="0" t="0" r="r" b="b"/>
              <a:pathLst>
                <a:path w="46" h="44">
                  <a:moveTo>
                    <a:pt x="40" y="10"/>
                  </a:moveTo>
                  <a:cubicBezTo>
                    <a:pt x="39" y="10"/>
                    <a:pt x="38" y="10"/>
                    <a:pt x="37" y="10"/>
                  </a:cubicBezTo>
                  <a:cubicBezTo>
                    <a:pt x="32" y="10"/>
                    <a:pt x="27" y="10"/>
                    <a:pt x="22" y="10"/>
                  </a:cubicBezTo>
                  <a:cubicBezTo>
                    <a:pt x="13" y="9"/>
                    <a:pt x="6" y="5"/>
                    <a:pt x="0" y="0"/>
                  </a:cubicBezTo>
                  <a:cubicBezTo>
                    <a:pt x="2" y="16"/>
                    <a:pt x="9" y="31"/>
                    <a:pt x="17" y="44"/>
                  </a:cubicBezTo>
                  <a:cubicBezTo>
                    <a:pt x="26" y="42"/>
                    <a:pt x="36" y="41"/>
                    <a:pt x="46" y="40"/>
                  </a:cubicBezTo>
                  <a:cubicBezTo>
                    <a:pt x="38" y="31"/>
                    <a:pt x="34" y="21"/>
                    <a:pt x="40" y="10"/>
                  </a:cubicBezTo>
                  <a:close/>
                </a:path>
              </a:pathLst>
            </a:custGeom>
            <a:solidFill>
              <a:srgbClr val="DA4A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01" name="Freeform 250"/>
            <p:cNvSpPr>
              <a:spLocks/>
            </p:cNvSpPr>
            <p:nvPr/>
          </p:nvSpPr>
          <p:spPr bwMode="auto">
            <a:xfrm>
              <a:off x="5218390" y="2375191"/>
              <a:ext cx="124361" cy="177172"/>
            </a:xfrm>
            <a:custGeom>
              <a:avLst/>
              <a:gdLst>
                <a:gd name="T0" fmla="*/ 60 w 62"/>
                <a:gd name="T1" fmla="*/ 68 h 88"/>
                <a:gd name="T2" fmla="*/ 62 w 62"/>
                <a:gd name="T3" fmla="*/ 56 h 88"/>
                <a:gd name="T4" fmla="*/ 60 w 62"/>
                <a:gd name="T5" fmla="*/ 42 h 88"/>
                <a:gd name="T6" fmla="*/ 42 w 62"/>
                <a:gd name="T7" fmla="*/ 11 h 88"/>
                <a:gd name="T8" fmla="*/ 2 w 62"/>
                <a:gd name="T9" fmla="*/ 23 h 88"/>
                <a:gd name="T10" fmla="*/ 1 w 62"/>
                <a:gd name="T11" fmla="*/ 45 h 88"/>
                <a:gd name="T12" fmla="*/ 14 w 62"/>
                <a:gd name="T13" fmla="*/ 76 h 88"/>
                <a:gd name="T14" fmla="*/ 41 w 62"/>
                <a:gd name="T15" fmla="*/ 86 h 88"/>
                <a:gd name="T16" fmla="*/ 60 w 62"/>
                <a:gd name="T17" fmla="*/ 6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88">
                  <a:moveTo>
                    <a:pt x="60" y="68"/>
                  </a:moveTo>
                  <a:cubicBezTo>
                    <a:pt x="61" y="64"/>
                    <a:pt x="61" y="61"/>
                    <a:pt x="62" y="56"/>
                  </a:cubicBezTo>
                  <a:cubicBezTo>
                    <a:pt x="61" y="52"/>
                    <a:pt x="61" y="47"/>
                    <a:pt x="60" y="42"/>
                  </a:cubicBezTo>
                  <a:cubicBezTo>
                    <a:pt x="57" y="30"/>
                    <a:pt x="52" y="19"/>
                    <a:pt x="42" y="11"/>
                  </a:cubicBezTo>
                  <a:cubicBezTo>
                    <a:pt x="28" y="0"/>
                    <a:pt x="7" y="6"/>
                    <a:pt x="2" y="23"/>
                  </a:cubicBezTo>
                  <a:cubicBezTo>
                    <a:pt x="0" y="31"/>
                    <a:pt x="0" y="38"/>
                    <a:pt x="1" y="45"/>
                  </a:cubicBezTo>
                  <a:cubicBezTo>
                    <a:pt x="3" y="56"/>
                    <a:pt x="6" y="67"/>
                    <a:pt x="14" y="76"/>
                  </a:cubicBezTo>
                  <a:cubicBezTo>
                    <a:pt x="21" y="84"/>
                    <a:pt x="30" y="88"/>
                    <a:pt x="41" y="86"/>
                  </a:cubicBezTo>
                  <a:cubicBezTo>
                    <a:pt x="50" y="84"/>
                    <a:pt x="58" y="78"/>
                    <a:pt x="60" y="68"/>
                  </a:cubicBezTo>
                  <a:close/>
                </a:path>
              </a:pathLst>
            </a:custGeom>
            <a:solidFill>
              <a:srgbClr val="DA4A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802" name="Freeform 251"/>
            <p:cNvSpPr>
              <a:spLocks noEditPoints="1"/>
            </p:cNvSpPr>
            <p:nvPr/>
          </p:nvSpPr>
          <p:spPr bwMode="auto">
            <a:xfrm>
              <a:off x="5196243" y="2367525"/>
              <a:ext cx="227428" cy="360307"/>
            </a:xfrm>
            <a:custGeom>
              <a:avLst/>
              <a:gdLst>
                <a:gd name="T0" fmla="*/ 56 w 113"/>
                <a:gd name="T1" fmla="*/ 136 h 179"/>
                <a:gd name="T2" fmla="*/ 58 w 113"/>
                <a:gd name="T3" fmla="*/ 137 h 179"/>
                <a:gd name="T4" fmla="*/ 81 w 113"/>
                <a:gd name="T5" fmla="*/ 155 h 179"/>
                <a:gd name="T6" fmla="*/ 88 w 113"/>
                <a:gd name="T7" fmla="*/ 177 h 179"/>
                <a:gd name="T8" fmla="*/ 105 w 113"/>
                <a:gd name="T9" fmla="*/ 179 h 179"/>
                <a:gd name="T10" fmla="*/ 106 w 113"/>
                <a:gd name="T11" fmla="*/ 172 h 179"/>
                <a:gd name="T12" fmla="*/ 99 w 113"/>
                <a:gd name="T13" fmla="*/ 138 h 179"/>
                <a:gd name="T14" fmla="*/ 78 w 113"/>
                <a:gd name="T15" fmla="*/ 118 h 179"/>
                <a:gd name="T16" fmla="*/ 69 w 113"/>
                <a:gd name="T17" fmla="*/ 111 h 179"/>
                <a:gd name="T18" fmla="*/ 68 w 113"/>
                <a:gd name="T19" fmla="*/ 95 h 179"/>
                <a:gd name="T20" fmla="*/ 76 w 113"/>
                <a:gd name="T21" fmla="*/ 88 h 179"/>
                <a:gd name="T22" fmla="*/ 93 w 113"/>
                <a:gd name="T23" fmla="*/ 69 h 179"/>
                <a:gd name="T24" fmla="*/ 83 w 113"/>
                <a:gd name="T25" fmla="*/ 15 h 179"/>
                <a:gd name="T26" fmla="*/ 78 w 113"/>
                <a:gd name="T27" fmla="*/ 10 h 179"/>
                <a:gd name="T28" fmla="*/ 91 w 113"/>
                <a:gd name="T29" fmla="*/ 10 h 179"/>
                <a:gd name="T30" fmla="*/ 99 w 113"/>
                <a:gd name="T31" fmla="*/ 8 h 179"/>
                <a:gd name="T32" fmla="*/ 113 w 113"/>
                <a:gd name="T33" fmla="*/ 0 h 179"/>
                <a:gd name="T34" fmla="*/ 111 w 113"/>
                <a:gd name="T35" fmla="*/ 0 h 179"/>
                <a:gd name="T36" fmla="*/ 54 w 113"/>
                <a:gd name="T37" fmla="*/ 0 h 179"/>
                <a:gd name="T38" fmla="*/ 27 w 113"/>
                <a:gd name="T39" fmla="*/ 4 h 179"/>
                <a:gd name="T40" fmla="*/ 23 w 113"/>
                <a:gd name="T41" fmla="*/ 5 h 179"/>
                <a:gd name="T42" fmla="*/ 0 w 113"/>
                <a:gd name="T43" fmla="*/ 71 h 179"/>
                <a:gd name="T44" fmla="*/ 2 w 113"/>
                <a:gd name="T45" fmla="*/ 88 h 179"/>
                <a:gd name="T46" fmla="*/ 24 w 113"/>
                <a:gd name="T47" fmla="*/ 98 h 179"/>
                <a:gd name="T48" fmla="*/ 39 w 113"/>
                <a:gd name="T49" fmla="*/ 98 h 179"/>
                <a:gd name="T50" fmla="*/ 42 w 113"/>
                <a:gd name="T51" fmla="*/ 98 h 179"/>
                <a:gd name="T52" fmla="*/ 48 w 113"/>
                <a:gd name="T53" fmla="*/ 128 h 179"/>
                <a:gd name="T54" fmla="*/ 19 w 113"/>
                <a:gd name="T55" fmla="*/ 132 h 179"/>
                <a:gd name="T56" fmla="*/ 25 w 113"/>
                <a:gd name="T57" fmla="*/ 140 h 179"/>
                <a:gd name="T58" fmla="*/ 31 w 113"/>
                <a:gd name="T59" fmla="*/ 138 h 179"/>
                <a:gd name="T60" fmla="*/ 56 w 113"/>
                <a:gd name="T61" fmla="*/ 136 h 179"/>
                <a:gd name="T62" fmla="*/ 25 w 113"/>
                <a:gd name="T63" fmla="*/ 80 h 179"/>
                <a:gd name="T64" fmla="*/ 12 w 113"/>
                <a:gd name="T65" fmla="*/ 49 h 179"/>
                <a:gd name="T66" fmla="*/ 13 w 113"/>
                <a:gd name="T67" fmla="*/ 27 h 179"/>
                <a:gd name="T68" fmla="*/ 53 w 113"/>
                <a:gd name="T69" fmla="*/ 15 h 179"/>
                <a:gd name="T70" fmla="*/ 71 w 113"/>
                <a:gd name="T71" fmla="*/ 46 h 179"/>
                <a:gd name="T72" fmla="*/ 73 w 113"/>
                <a:gd name="T73" fmla="*/ 60 h 179"/>
                <a:gd name="T74" fmla="*/ 71 w 113"/>
                <a:gd name="T75" fmla="*/ 72 h 179"/>
                <a:gd name="T76" fmla="*/ 52 w 113"/>
                <a:gd name="T77" fmla="*/ 90 h 179"/>
                <a:gd name="T78" fmla="*/ 25 w 113"/>
                <a:gd name="T79" fmla="*/ 8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3" h="179">
                  <a:moveTo>
                    <a:pt x="56" y="136"/>
                  </a:moveTo>
                  <a:cubicBezTo>
                    <a:pt x="56" y="136"/>
                    <a:pt x="57" y="136"/>
                    <a:pt x="58" y="137"/>
                  </a:cubicBezTo>
                  <a:cubicBezTo>
                    <a:pt x="66" y="143"/>
                    <a:pt x="74" y="148"/>
                    <a:pt x="81" y="155"/>
                  </a:cubicBezTo>
                  <a:cubicBezTo>
                    <a:pt x="85" y="160"/>
                    <a:pt x="89" y="166"/>
                    <a:pt x="88" y="177"/>
                  </a:cubicBezTo>
                  <a:cubicBezTo>
                    <a:pt x="94" y="178"/>
                    <a:pt x="99" y="179"/>
                    <a:pt x="105" y="179"/>
                  </a:cubicBezTo>
                  <a:cubicBezTo>
                    <a:pt x="105" y="178"/>
                    <a:pt x="106" y="172"/>
                    <a:pt x="106" y="172"/>
                  </a:cubicBezTo>
                  <a:cubicBezTo>
                    <a:pt x="109" y="159"/>
                    <a:pt x="107" y="148"/>
                    <a:pt x="99" y="138"/>
                  </a:cubicBezTo>
                  <a:cubicBezTo>
                    <a:pt x="93" y="130"/>
                    <a:pt x="85" y="124"/>
                    <a:pt x="78" y="118"/>
                  </a:cubicBezTo>
                  <a:cubicBezTo>
                    <a:pt x="75" y="116"/>
                    <a:pt x="72" y="113"/>
                    <a:pt x="69" y="111"/>
                  </a:cubicBezTo>
                  <a:cubicBezTo>
                    <a:pt x="65" y="108"/>
                    <a:pt x="65" y="99"/>
                    <a:pt x="68" y="95"/>
                  </a:cubicBezTo>
                  <a:cubicBezTo>
                    <a:pt x="70" y="93"/>
                    <a:pt x="73" y="90"/>
                    <a:pt x="76" y="88"/>
                  </a:cubicBezTo>
                  <a:cubicBezTo>
                    <a:pt x="82" y="82"/>
                    <a:pt x="89" y="77"/>
                    <a:pt x="93" y="69"/>
                  </a:cubicBezTo>
                  <a:cubicBezTo>
                    <a:pt x="102" y="52"/>
                    <a:pt x="98" y="28"/>
                    <a:pt x="83" y="15"/>
                  </a:cubicBezTo>
                  <a:cubicBezTo>
                    <a:pt x="82" y="13"/>
                    <a:pt x="80" y="12"/>
                    <a:pt x="78" y="10"/>
                  </a:cubicBezTo>
                  <a:cubicBezTo>
                    <a:pt x="83" y="10"/>
                    <a:pt x="87" y="10"/>
                    <a:pt x="91" y="10"/>
                  </a:cubicBezTo>
                  <a:cubicBezTo>
                    <a:pt x="94" y="10"/>
                    <a:pt x="97" y="10"/>
                    <a:pt x="99" y="8"/>
                  </a:cubicBezTo>
                  <a:cubicBezTo>
                    <a:pt x="104" y="5"/>
                    <a:pt x="108" y="3"/>
                    <a:pt x="113" y="0"/>
                  </a:cubicBezTo>
                  <a:cubicBezTo>
                    <a:pt x="112" y="0"/>
                    <a:pt x="112" y="0"/>
                    <a:pt x="111" y="0"/>
                  </a:cubicBezTo>
                  <a:cubicBezTo>
                    <a:pt x="92" y="0"/>
                    <a:pt x="73" y="0"/>
                    <a:pt x="54" y="0"/>
                  </a:cubicBezTo>
                  <a:cubicBezTo>
                    <a:pt x="45" y="0"/>
                    <a:pt x="36" y="1"/>
                    <a:pt x="27" y="4"/>
                  </a:cubicBezTo>
                  <a:cubicBezTo>
                    <a:pt x="26" y="4"/>
                    <a:pt x="24" y="4"/>
                    <a:pt x="23" y="5"/>
                  </a:cubicBezTo>
                  <a:cubicBezTo>
                    <a:pt x="9" y="23"/>
                    <a:pt x="0" y="46"/>
                    <a:pt x="0" y="71"/>
                  </a:cubicBezTo>
                  <a:cubicBezTo>
                    <a:pt x="0" y="77"/>
                    <a:pt x="1" y="82"/>
                    <a:pt x="2" y="88"/>
                  </a:cubicBezTo>
                  <a:cubicBezTo>
                    <a:pt x="8" y="93"/>
                    <a:pt x="15" y="97"/>
                    <a:pt x="24" y="98"/>
                  </a:cubicBezTo>
                  <a:cubicBezTo>
                    <a:pt x="29" y="98"/>
                    <a:pt x="34" y="98"/>
                    <a:pt x="39" y="98"/>
                  </a:cubicBezTo>
                  <a:cubicBezTo>
                    <a:pt x="40" y="98"/>
                    <a:pt x="41" y="98"/>
                    <a:pt x="42" y="98"/>
                  </a:cubicBezTo>
                  <a:cubicBezTo>
                    <a:pt x="36" y="109"/>
                    <a:pt x="40" y="119"/>
                    <a:pt x="48" y="128"/>
                  </a:cubicBezTo>
                  <a:cubicBezTo>
                    <a:pt x="38" y="129"/>
                    <a:pt x="28" y="130"/>
                    <a:pt x="19" y="132"/>
                  </a:cubicBezTo>
                  <a:cubicBezTo>
                    <a:pt x="21" y="134"/>
                    <a:pt x="23" y="137"/>
                    <a:pt x="25" y="140"/>
                  </a:cubicBezTo>
                  <a:cubicBezTo>
                    <a:pt x="27" y="139"/>
                    <a:pt x="29" y="139"/>
                    <a:pt x="31" y="138"/>
                  </a:cubicBezTo>
                  <a:cubicBezTo>
                    <a:pt x="39" y="137"/>
                    <a:pt x="47" y="136"/>
                    <a:pt x="56" y="136"/>
                  </a:cubicBezTo>
                  <a:close/>
                  <a:moveTo>
                    <a:pt x="25" y="80"/>
                  </a:moveTo>
                  <a:cubicBezTo>
                    <a:pt x="17" y="71"/>
                    <a:pt x="14" y="60"/>
                    <a:pt x="12" y="49"/>
                  </a:cubicBezTo>
                  <a:cubicBezTo>
                    <a:pt x="11" y="42"/>
                    <a:pt x="11" y="35"/>
                    <a:pt x="13" y="27"/>
                  </a:cubicBezTo>
                  <a:cubicBezTo>
                    <a:pt x="18" y="10"/>
                    <a:pt x="39" y="4"/>
                    <a:pt x="53" y="15"/>
                  </a:cubicBezTo>
                  <a:cubicBezTo>
                    <a:pt x="63" y="23"/>
                    <a:pt x="68" y="34"/>
                    <a:pt x="71" y="46"/>
                  </a:cubicBezTo>
                  <a:cubicBezTo>
                    <a:pt x="72" y="51"/>
                    <a:pt x="72" y="56"/>
                    <a:pt x="73" y="60"/>
                  </a:cubicBezTo>
                  <a:cubicBezTo>
                    <a:pt x="72" y="65"/>
                    <a:pt x="72" y="68"/>
                    <a:pt x="71" y="72"/>
                  </a:cubicBezTo>
                  <a:cubicBezTo>
                    <a:pt x="69" y="82"/>
                    <a:pt x="61" y="88"/>
                    <a:pt x="52" y="90"/>
                  </a:cubicBezTo>
                  <a:cubicBezTo>
                    <a:pt x="41" y="92"/>
                    <a:pt x="32" y="88"/>
                    <a:pt x="25" y="8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95" name="Freeform 445"/>
            <p:cNvSpPr>
              <a:spLocks/>
            </p:cNvSpPr>
            <p:nvPr/>
          </p:nvSpPr>
          <p:spPr bwMode="auto">
            <a:xfrm>
              <a:off x="5242240" y="2292567"/>
              <a:ext cx="388416" cy="435264"/>
            </a:xfrm>
            <a:custGeom>
              <a:avLst/>
              <a:gdLst>
                <a:gd name="T0" fmla="*/ 85 w 193"/>
                <a:gd name="T1" fmla="*/ 0 h 216"/>
                <a:gd name="T2" fmla="*/ 0 w 193"/>
                <a:gd name="T3" fmla="*/ 42 h 216"/>
                <a:gd name="T4" fmla="*/ 4 w 193"/>
                <a:gd name="T5" fmla="*/ 41 h 216"/>
                <a:gd name="T6" fmla="*/ 31 w 193"/>
                <a:gd name="T7" fmla="*/ 37 h 216"/>
                <a:gd name="T8" fmla="*/ 88 w 193"/>
                <a:gd name="T9" fmla="*/ 37 h 216"/>
                <a:gd name="T10" fmla="*/ 90 w 193"/>
                <a:gd name="T11" fmla="*/ 37 h 216"/>
                <a:gd name="T12" fmla="*/ 76 w 193"/>
                <a:gd name="T13" fmla="*/ 45 h 216"/>
                <a:gd name="T14" fmla="*/ 68 w 193"/>
                <a:gd name="T15" fmla="*/ 47 h 216"/>
                <a:gd name="T16" fmla="*/ 55 w 193"/>
                <a:gd name="T17" fmla="*/ 47 h 216"/>
                <a:gd name="T18" fmla="*/ 60 w 193"/>
                <a:gd name="T19" fmla="*/ 52 h 216"/>
                <a:gd name="T20" fmla="*/ 70 w 193"/>
                <a:gd name="T21" fmla="*/ 106 h 216"/>
                <a:gd name="T22" fmla="*/ 53 w 193"/>
                <a:gd name="T23" fmla="*/ 125 h 216"/>
                <a:gd name="T24" fmla="*/ 45 w 193"/>
                <a:gd name="T25" fmla="*/ 132 h 216"/>
                <a:gd name="T26" fmla="*/ 46 w 193"/>
                <a:gd name="T27" fmla="*/ 148 h 216"/>
                <a:gd name="T28" fmla="*/ 55 w 193"/>
                <a:gd name="T29" fmla="*/ 155 h 216"/>
                <a:gd name="T30" fmla="*/ 76 w 193"/>
                <a:gd name="T31" fmla="*/ 175 h 216"/>
                <a:gd name="T32" fmla="*/ 83 w 193"/>
                <a:gd name="T33" fmla="*/ 209 h 216"/>
                <a:gd name="T34" fmla="*/ 83 w 193"/>
                <a:gd name="T35" fmla="*/ 210 h 216"/>
                <a:gd name="T36" fmla="*/ 65 w 193"/>
                <a:gd name="T37" fmla="*/ 210 h 216"/>
                <a:gd name="T38" fmla="*/ 58 w 193"/>
                <a:gd name="T39" fmla="*/ 192 h 216"/>
                <a:gd name="T40" fmla="*/ 35 w 193"/>
                <a:gd name="T41" fmla="*/ 174 h 216"/>
                <a:gd name="T42" fmla="*/ 33 w 193"/>
                <a:gd name="T43" fmla="*/ 173 h 216"/>
                <a:gd name="T44" fmla="*/ 8 w 193"/>
                <a:gd name="T45" fmla="*/ 175 h 216"/>
                <a:gd name="T46" fmla="*/ 2 w 193"/>
                <a:gd name="T47" fmla="*/ 177 h 216"/>
                <a:gd name="T48" fmla="*/ 85 w 193"/>
                <a:gd name="T49" fmla="*/ 216 h 216"/>
                <a:gd name="T50" fmla="*/ 193 w 193"/>
                <a:gd name="T51" fmla="*/ 108 h 216"/>
                <a:gd name="T52" fmla="*/ 85 w 193"/>
                <a:gd name="T53" fmla="*/ 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3" h="216">
                  <a:moveTo>
                    <a:pt x="85" y="0"/>
                  </a:moveTo>
                  <a:cubicBezTo>
                    <a:pt x="51" y="0"/>
                    <a:pt x="20" y="16"/>
                    <a:pt x="0" y="42"/>
                  </a:cubicBezTo>
                  <a:cubicBezTo>
                    <a:pt x="1" y="41"/>
                    <a:pt x="3" y="41"/>
                    <a:pt x="4" y="41"/>
                  </a:cubicBezTo>
                  <a:cubicBezTo>
                    <a:pt x="13" y="38"/>
                    <a:pt x="22" y="37"/>
                    <a:pt x="31" y="37"/>
                  </a:cubicBezTo>
                  <a:cubicBezTo>
                    <a:pt x="50" y="37"/>
                    <a:pt x="69" y="37"/>
                    <a:pt x="88" y="37"/>
                  </a:cubicBezTo>
                  <a:cubicBezTo>
                    <a:pt x="89" y="37"/>
                    <a:pt x="89" y="37"/>
                    <a:pt x="90" y="37"/>
                  </a:cubicBezTo>
                  <a:cubicBezTo>
                    <a:pt x="85" y="40"/>
                    <a:pt x="81" y="42"/>
                    <a:pt x="76" y="45"/>
                  </a:cubicBezTo>
                  <a:cubicBezTo>
                    <a:pt x="74" y="47"/>
                    <a:pt x="71" y="47"/>
                    <a:pt x="68" y="47"/>
                  </a:cubicBezTo>
                  <a:cubicBezTo>
                    <a:pt x="64" y="47"/>
                    <a:pt x="60" y="47"/>
                    <a:pt x="55" y="47"/>
                  </a:cubicBezTo>
                  <a:cubicBezTo>
                    <a:pt x="57" y="49"/>
                    <a:pt x="59" y="50"/>
                    <a:pt x="60" y="52"/>
                  </a:cubicBezTo>
                  <a:cubicBezTo>
                    <a:pt x="75" y="65"/>
                    <a:pt x="79" y="89"/>
                    <a:pt x="70" y="106"/>
                  </a:cubicBezTo>
                  <a:cubicBezTo>
                    <a:pt x="66" y="114"/>
                    <a:pt x="59" y="119"/>
                    <a:pt x="53" y="125"/>
                  </a:cubicBezTo>
                  <a:cubicBezTo>
                    <a:pt x="50" y="127"/>
                    <a:pt x="47" y="130"/>
                    <a:pt x="45" y="132"/>
                  </a:cubicBezTo>
                  <a:cubicBezTo>
                    <a:pt x="42" y="136"/>
                    <a:pt x="42" y="145"/>
                    <a:pt x="46" y="148"/>
                  </a:cubicBezTo>
                  <a:cubicBezTo>
                    <a:pt x="49" y="150"/>
                    <a:pt x="52" y="153"/>
                    <a:pt x="55" y="155"/>
                  </a:cubicBezTo>
                  <a:cubicBezTo>
                    <a:pt x="62" y="161"/>
                    <a:pt x="70" y="167"/>
                    <a:pt x="76" y="175"/>
                  </a:cubicBezTo>
                  <a:cubicBezTo>
                    <a:pt x="84" y="185"/>
                    <a:pt x="86" y="196"/>
                    <a:pt x="83" y="209"/>
                  </a:cubicBezTo>
                  <a:cubicBezTo>
                    <a:pt x="83" y="209"/>
                    <a:pt x="83" y="209"/>
                    <a:pt x="83" y="210"/>
                  </a:cubicBezTo>
                  <a:cubicBezTo>
                    <a:pt x="77" y="210"/>
                    <a:pt x="71" y="210"/>
                    <a:pt x="65" y="210"/>
                  </a:cubicBezTo>
                  <a:cubicBezTo>
                    <a:pt x="65" y="203"/>
                    <a:pt x="62" y="197"/>
                    <a:pt x="58" y="192"/>
                  </a:cubicBezTo>
                  <a:cubicBezTo>
                    <a:pt x="51" y="185"/>
                    <a:pt x="43" y="180"/>
                    <a:pt x="35" y="174"/>
                  </a:cubicBezTo>
                  <a:cubicBezTo>
                    <a:pt x="34" y="173"/>
                    <a:pt x="33" y="173"/>
                    <a:pt x="33" y="173"/>
                  </a:cubicBezTo>
                  <a:cubicBezTo>
                    <a:pt x="24" y="173"/>
                    <a:pt x="16" y="174"/>
                    <a:pt x="8" y="175"/>
                  </a:cubicBezTo>
                  <a:cubicBezTo>
                    <a:pt x="6" y="176"/>
                    <a:pt x="4" y="176"/>
                    <a:pt x="2" y="177"/>
                  </a:cubicBezTo>
                  <a:cubicBezTo>
                    <a:pt x="22" y="201"/>
                    <a:pt x="52" y="216"/>
                    <a:pt x="85" y="216"/>
                  </a:cubicBezTo>
                  <a:cubicBezTo>
                    <a:pt x="145" y="216"/>
                    <a:pt x="193" y="167"/>
                    <a:pt x="193" y="108"/>
                  </a:cubicBezTo>
                  <a:cubicBezTo>
                    <a:pt x="193" y="48"/>
                    <a:pt x="145" y="0"/>
                    <a:pt x="85" y="0"/>
                  </a:cubicBezTo>
                  <a:close/>
                </a:path>
              </a:pathLst>
            </a:custGeom>
            <a:solidFill>
              <a:srgbClr val="DA4A3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sp>
          <p:nvSpPr>
            <p:cNvPr id="996" name="Freeform 446"/>
            <p:cNvSpPr>
              <a:spLocks/>
            </p:cNvSpPr>
            <p:nvPr/>
          </p:nvSpPr>
          <p:spPr bwMode="auto">
            <a:xfrm>
              <a:off x="5437299" y="2367525"/>
              <a:ext cx="155026" cy="155026"/>
            </a:xfrm>
            <a:custGeom>
              <a:avLst/>
              <a:gdLst>
                <a:gd name="T0" fmla="*/ 0 w 182"/>
                <a:gd name="T1" fmla="*/ 111 h 182"/>
                <a:gd name="T2" fmla="*/ 0 w 182"/>
                <a:gd name="T3" fmla="*/ 71 h 182"/>
                <a:gd name="T4" fmla="*/ 71 w 182"/>
                <a:gd name="T5" fmla="*/ 71 h 182"/>
                <a:gd name="T6" fmla="*/ 71 w 182"/>
                <a:gd name="T7" fmla="*/ 0 h 182"/>
                <a:gd name="T8" fmla="*/ 111 w 182"/>
                <a:gd name="T9" fmla="*/ 0 h 182"/>
                <a:gd name="T10" fmla="*/ 111 w 182"/>
                <a:gd name="T11" fmla="*/ 71 h 182"/>
                <a:gd name="T12" fmla="*/ 182 w 182"/>
                <a:gd name="T13" fmla="*/ 71 h 182"/>
                <a:gd name="T14" fmla="*/ 182 w 182"/>
                <a:gd name="T15" fmla="*/ 111 h 182"/>
                <a:gd name="T16" fmla="*/ 111 w 182"/>
                <a:gd name="T17" fmla="*/ 111 h 182"/>
                <a:gd name="T18" fmla="*/ 111 w 182"/>
                <a:gd name="T19" fmla="*/ 182 h 182"/>
                <a:gd name="T20" fmla="*/ 71 w 182"/>
                <a:gd name="T21" fmla="*/ 182 h 182"/>
                <a:gd name="T22" fmla="*/ 71 w 182"/>
                <a:gd name="T23" fmla="*/ 111 h 182"/>
                <a:gd name="T24" fmla="*/ 0 w 182"/>
                <a:gd name="T25" fmla="*/ 11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182">
                  <a:moveTo>
                    <a:pt x="0" y="111"/>
                  </a:moveTo>
                  <a:lnTo>
                    <a:pt x="0" y="71"/>
                  </a:lnTo>
                  <a:lnTo>
                    <a:pt x="71" y="71"/>
                  </a:lnTo>
                  <a:lnTo>
                    <a:pt x="71" y="0"/>
                  </a:lnTo>
                  <a:lnTo>
                    <a:pt x="111" y="0"/>
                  </a:lnTo>
                  <a:lnTo>
                    <a:pt x="111" y="71"/>
                  </a:lnTo>
                  <a:lnTo>
                    <a:pt x="182" y="71"/>
                  </a:lnTo>
                  <a:lnTo>
                    <a:pt x="182" y="111"/>
                  </a:lnTo>
                  <a:lnTo>
                    <a:pt x="111" y="111"/>
                  </a:lnTo>
                  <a:lnTo>
                    <a:pt x="111" y="182"/>
                  </a:lnTo>
                  <a:lnTo>
                    <a:pt x="71" y="182"/>
                  </a:lnTo>
                  <a:lnTo>
                    <a:pt x="71" y="111"/>
                  </a:lnTo>
                  <a:lnTo>
                    <a:pt x="0" y="111"/>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US" kern="0">
                <a:solidFill>
                  <a:sysClr val="windowText" lastClr="000000"/>
                </a:solidFill>
              </a:endParaRPr>
            </a:p>
          </p:txBody>
        </p:sp>
      </p:grpSp>
      <p:grpSp>
        <p:nvGrpSpPr>
          <p:cNvPr id="18" name="Group 17"/>
          <p:cNvGrpSpPr/>
          <p:nvPr/>
        </p:nvGrpSpPr>
        <p:grpSpPr>
          <a:xfrm>
            <a:off x="2020332" y="5701400"/>
            <a:ext cx="2448457" cy="329854"/>
            <a:chOff x="5829561" y="3105066"/>
            <a:chExt cx="2448457" cy="329854"/>
          </a:xfrm>
        </p:grpSpPr>
        <p:sp>
          <p:nvSpPr>
            <p:cNvPr id="1144" name="Freeform 6"/>
            <p:cNvSpPr>
              <a:spLocks noEditPoints="1"/>
            </p:cNvSpPr>
            <p:nvPr/>
          </p:nvSpPr>
          <p:spPr bwMode="auto">
            <a:xfrm>
              <a:off x="7948479" y="3105066"/>
              <a:ext cx="329539" cy="329854"/>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76 w 323"/>
                <a:gd name="T11" fmla="*/ 201 h 323"/>
                <a:gd name="T12" fmla="*/ 151 w 323"/>
                <a:gd name="T13" fmla="*/ 189 h 323"/>
                <a:gd name="T14" fmla="*/ 143 w 323"/>
                <a:gd name="T15" fmla="*/ 217 h 323"/>
                <a:gd name="T16" fmla="*/ 125 w 323"/>
                <a:gd name="T17" fmla="*/ 250 h 323"/>
                <a:gd name="T18" fmla="*/ 122 w 323"/>
                <a:gd name="T19" fmla="*/ 250 h 323"/>
                <a:gd name="T20" fmla="*/ 123 w 323"/>
                <a:gd name="T21" fmla="*/ 211 h 323"/>
                <a:gd name="T22" fmla="*/ 136 w 323"/>
                <a:gd name="T23" fmla="*/ 155 h 323"/>
                <a:gd name="T24" fmla="*/ 133 w 323"/>
                <a:gd name="T25" fmla="*/ 139 h 323"/>
                <a:gd name="T26" fmla="*/ 152 w 323"/>
                <a:gd name="T27" fmla="*/ 112 h 323"/>
                <a:gd name="T28" fmla="*/ 166 w 323"/>
                <a:gd name="T29" fmla="*/ 128 h 323"/>
                <a:gd name="T30" fmla="*/ 157 w 323"/>
                <a:gd name="T31" fmla="*/ 164 h 323"/>
                <a:gd name="T32" fmla="*/ 173 w 323"/>
                <a:gd name="T33" fmla="*/ 184 h 323"/>
                <a:gd name="T34" fmla="*/ 206 w 323"/>
                <a:gd name="T35" fmla="*/ 129 h 323"/>
                <a:gd name="T36" fmla="*/ 163 w 323"/>
                <a:gd name="T37" fmla="*/ 90 h 323"/>
                <a:gd name="T38" fmla="*/ 113 w 323"/>
                <a:gd name="T39" fmla="*/ 139 h 323"/>
                <a:gd name="T40" fmla="*/ 120 w 323"/>
                <a:gd name="T41" fmla="*/ 159 h 323"/>
                <a:gd name="T42" fmla="*/ 121 w 323"/>
                <a:gd name="T43" fmla="*/ 165 h 323"/>
                <a:gd name="T44" fmla="*/ 119 w 323"/>
                <a:gd name="T45" fmla="*/ 173 h 323"/>
                <a:gd name="T46" fmla="*/ 114 w 323"/>
                <a:gd name="T47" fmla="*/ 176 h 323"/>
                <a:gd name="T48" fmla="*/ 93 w 323"/>
                <a:gd name="T49" fmla="*/ 137 h 323"/>
                <a:gd name="T50" fmla="*/ 166 w 323"/>
                <a:gd name="T51" fmla="*/ 73 h 323"/>
                <a:gd name="T52" fmla="*/ 231 w 323"/>
                <a:gd name="T53" fmla="*/ 131 h 323"/>
                <a:gd name="T54" fmla="*/ 176 w 323"/>
                <a:gd name="T55" fmla="*/ 20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76" y="201"/>
                  </a:moveTo>
                  <a:cubicBezTo>
                    <a:pt x="164" y="201"/>
                    <a:pt x="154" y="195"/>
                    <a:pt x="151" y="189"/>
                  </a:cubicBezTo>
                  <a:cubicBezTo>
                    <a:pt x="151" y="189"/>
                    <a:pt x="145" y="212"/>
                    <a:pt x="143" y="217"/>
                  </a:cubicBezTo>
                  <a:cubicBezTo>
                    <a:pt x="139" y="233"/>
                    <a:pt x="126" y="249"/>
                    <a:pt x="125" y="250"/>
                  </a:cubicBezTo>
                  <a:cubicBezTo>
                    <a:pt x="124" y="251"/>
                    <a:pt x="123" y="251"/>
                    <a:pt x="122" y="250"/>
                  </a:cubicBezTo>
                  <a:cubicBezTo>
                    <a:pt x="122" y="248"/>
                    <a:pt x="119" y="227"/>
                    <a:pt x="123" y="211"/>
                  </a:cubicBezTo>
                  <a:cubicBezTo>
                    <a:pt x="125" y="202"/>
                    <a:pt x="136" y="155"/>
                    <a:pt x="136" y="155"/>
                  </a:cubicBezTo>
                  <a:cubicBezTo>
                    <a:pt x="136" y="155"/>
                    <a:pt x="133" y="149"/>
                    <a:pt x="133" y="139"/>
                  </a:cubicBezTo>
                  <a:cubicBezTo>
                    <a:pt x="133" y="124"/>
                    <a:pt x="141" y="112"/>
                    <a:pt x="152" y="112"/>
                  </a:cubicBezTo>
                  <a:cubicBezTo>
                    <a:pt x="162" y="112"/>
                    <a:pt x="166" y="119"/>
                    <a:pt x="166" y="128"/>
                  </a:cubicBezTo>
                  <a:cubicBezTo>
                    <a:pt x="166" y="137"/>
                    <a:pt x="160" y="151"/>
                    <a:pt x="157" y="164"/>
                  </a:cubicBezTo>
                  <a:cubicBezTo>
                    <a:pt x="155" y="175"/>
                    <a:pt x="163" y="184"/>
                    <a:pt x="173" y="184"/>
                  </a:cubicBezTo>
                  <a:cubicBezTo>
                    <a:pt x="193" y="184"/>
                    <a:pt x="206" y="159"/>
                    <a:pt x="206" y="129"/>
                  </a:cubicBezTo>
                  <a:cubicBezTo>
                    <a:pt x="206" y="107"/>
                    <a:pt x="191" y="90"/>
                    <a:pt x="163" y="90"/>
                  </a:cubicBezTo>
                  <a:cubicBezTo>
                    <a:pt x="132" y="90"/>
                    <a:pt x="113" y="113"/>
                    <a:pt x="113" y="139"/>
                  </a:cubicBezTo>
                  <a:cubicBezTo>
                    <a:pt x="113" y="148"/>
                    <a:pt x="115" y="154"/>
                    <a:pt x="120" y="159"/>
                  </a:cubicBezTo>
                  <a:cubicBezTo>
                    <a:pt x="121" y="161"/>
                    <a:pt x="122" y="162"/>
                    <a:pt x="121" y="165"/>
                  </a:cubicBezTo>
                  <a:cubicBezTo>
                    <a:pt x="121" y="167"/>
                    <a:pt x="119" y="171"/>
                    <a:pt x="119" y="173"/>
                  </a:cubicBezTo>
                  <a:cubicBezTo>
                    <a:pt x="118" y="176"/>
                    <a:pt x="116" y="177"/>
                    <a:pt x="114" y="176"/>
                  </a:cubicBezTo>
                  <a:cubicBezTo>
                    <a:pt x="100" y="170"/>
                    <a:pt x="93" y="154"/>
                    <a:pt x="93" y="137"/>
                  </a:cubicBezTo>
                  <a:cubicBezTo>
                    <a:pt x="93" y="108"/>
                    <a:pt x="117" y="73"/>
                    <a:pt x="166" y="73"/>
                  </a:cubicBezTo>
                  <a:cubicBezTo>
                    <a:pt x="205" y="73"/>
                    <a:pt x="231" y="101"/>
                    <a:pt x="231" y="131"/>
                  </a:cubicBezTo>
                  <a:cubicBezTo>
                    <a:pt x="231" y="171"/>
                    <a:pt x="208" y="201"/>
                    <a:pt x="176" y="20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45" name="Freeform 7"/>
            <p:cNvSpPr>
              <a:spLocks noEditPoints="1"/>
            </p:cNvSpPr>
            <p:nvPr/>
          </p:nvSpPr>
          <p:spPr bwMode="auto">
            <a:xfrm>
              <a:off x="5829561" y="3105066"/>
              <a:ext cx="329539" cy="329854"/>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97 w 323"/>
                <a:gd name="T11" fmla="*/ 162 h 323"/>
                <a:gd name="T12" fmla="*/ 175 w 323"/>
                <a:gd name="T13" fmla="*/ 162 h 323"/>
                <a:gd name="T14" fmla="*/ 175 w 323"/>
                <a:gd name="T15" fmla="*/ 244 h 323"/>
                <a:gd name="T16" fmla="*/ 140 w 323"/>
                <a:gd name="T17" fmla="*/ 244 h 323"/>
                <a:gd name="T18" fmla="*/ 140 w 323"/>
                <a:gd name="T19" fmla="*/ 162 h 323"/>
                <a:gd name="T20" fmla="*/ 123 w 323"/>
                <a:gd name="T21" fmla="*/ 162 h 323"/>
                <a:gd name="T22" fmla="*/ 123 w 323"/>
                <a:gd name="T23" fmla="*/ 133 h 323"/>
                <a:gd name="T24" fmla="*/ 140 w 323"/>
                <a:gd name="T25" fmla="*/ 133 h 323"/>
                <a:gd name="T26" fmla="*/ 140 w 323"/>
                <a:gd name="T27" fmla="*/ 116 h 323"/>
                <a:gd name="T28" fmla="*/ 177 w 323"/>
                <a:gd name="T29" fmla="*/ 79 h 323"/>
                <a:gd name="T30" fmla="*/ 200 w 323"/>
                <a:gd name="T31" fmla="*/ 79 h 323"/>
                <a:gd name="T32" fmla="*/ 200 w 323"/>
                <a:gd name="T33" fmla="*/ 108 h 323"/>
                <a:gd name="T34" fmla="*/ 186 w 323"/>
                <a:gd name="T35" fmla="*/ 108 h 323"/>
                <a:gd name="T36" fmla="*/ 175 w 323"/>
                <a:gd name="T37" fmla="*/ 119 h 323"/>
                <a:gd name="T38" fmla="*/ 175 w 323"/>
                <a:gd name="T39" fmla="*/ 133 h 323"/>
                <a:gd name="T40" fmla="*/ 200 w 323"/>
                <a:gd name="T41" fmla="*/ 133 h 323"/>
                <a:gd name="T42" fmla="*/ 197 w 323"/>
                <a:gd name="T43" fmla="*/ 16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97" y="162"/>
                  </a:moveTo>
                  <a:cubicBezTo>
                    <a:pt x="175" y="162"/>
                    <a:pt x="175" y="162"/>
                    <a:pt x="175" y="162"/>
                  </a:cubicBezTo>
                  <a:cubicBezTo>
                    <a:pt x="175" y="244"/>
                    <a:pt x="175" y="244"/>
                    <a:pt x="175" y="244"/>
                  </a:cubicBezTo>
                  <a:cubicBezTo>
                    <a:pt x="140" y="244"/>
                    <a:pt x="140" y="244"/>
                    <a:pt x="140" y="244"/>
                  </a:cubicBezTo>
                  <a:cubicBezTo>
                    <a:pt x="140" y="162"/>
                    <a:pt x="140" y="162"/>
                    <a:pt x="140" y="162"/>
                  </a:cubicBezTo>
                  <a:cubicBezTo>
                    <a:pt x="123" y="162"/>
                    <a:pt x="123" y="162"/>
                    <a:pt x="123" y="162"/>
                  </a:cubicBezTo>
                  <a:cubicBezTo>
                    <a:pt x="123" y="133"/>
                    <a:pt x="123" y="133"/>
                    <a:pt x="123" y="133"/>
                  </a:cubicBezTo>
                  <a:cubicBezTo>
                    <a:pt x="140" y="133"/>
                    <a:pt x="140" y="133"/>
                    <a:pt x="140" y="133"/>
                  </a:cubicBezTo>
                  <a:cubicBezTo>
                    <a:pt x="140" y="116"/>
                    <a:pt x="140" y="116"/>
                    <a:pt x="140" y="116"/>
                  </a:cubicBezTo>
                  <a:cubicBezTo>
                    <a:pt x="140" y="93"/>
                    <a:pt x="150" y="79"/>
                    <a:pt x="177" y="79"/>
                  </a:cubicBezTo>
                  <a:cubicBezTo>
                    <a:pt x="200" y="79"/>
                    <a:pt x="200" y="79"/>
                    <a:pt x="200" y="79"/>
                  </a:cubicBezTo>
                  <a:cubicBezTo>
                    <a:pt x="200" y="108"/>
                    <a:pt x="200" y="108"/>
                    <a:pt x="200" y="108"/>
                  </a:cubicBezTo>
                  <a:cubicBezTo>
                    <a:pt x="186" y="108"/>
                    <a:pt x="186" y="108"/>
                    <a:pt x="186" y="108"/>
                  </a:cubicBezTo>
                  <a:cubicBezTo>
                    <a:pt x="175" y="108"/>
                    <a:pt x="175" y="112"/>
                    <a:pt x="175" y="119"/>
                  </a:cubicBezTo>
                  <a:cubicBezTo>
                    <a:pt x="175" y="133"/>
                    <a:pt x="175" y="133"/>
                    <a:pt x="175" y="133"/>
                  </a:cubicBezTo>
                  <a:cubicBezTo>
                    <a:pt x="200" y="133"/>
                    <a:pt x="200" y="133"/>
                    <a:pt x="200" y="133"/>
                  </a:cubicBezTo>
                  <a:lnTo>
                    <a:pt x="197" y="16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46" name="Freeform 8"/>
            <p:cNvSpPr>
              <a:spLocks noEditPoints="1"/>
            </p:cNvSpPr>
            <p:nvPr/>
          </p:nvSpPr>
          <p:spPr bwMode="auto">
            <a:xfrm>
              <a:off x="6677129" y="3105066"/>
              <a:ext cx="329539" cy="329854"/>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232 w 323"/>
                <a:gd name="T11" fmla="*/ 132 h 323"/>
                <a:gd name="T12" fmla="*/ 232 w 323"/>
                <a:gd name="T13" fmla="*/ 137 h 323"/>
                <a:gd name="T14" fmla="*/ 129 w 323"/>
                <a:gd name="T15" fmla="*/ 241 h 323"/>
                <a:gd name="T16" fmla="*/ 73 w 323"/>
                <a:gd name="T17" fmla="*/ 224 h 323"/>
                <a:gd name="T18" fmla="*/ 82 w 323"/>
                <a:gd name="T19" fmla="*/ 225 h 323"/>
                <a:gd name="T20" fmla="*/ 127 w 323"/>
                <a:gd name="T21" fmla="*/ 209 h 323"/>
                <a:gd name="T22" fmla="*/ 93 w 323"/>
                <a:gd name="T23" fmla="*/ 184 h 323"/>
                <a:gd name="T24" fmla="*/ 100 w 323"/>
                <a:gd name="T25" fmla="*/ 185 h 323"/>
                <a:gd name="T26" fmla="*/ 110 w 323"/>
                <a:gd name="T27" fmla="*/ 183 h 323"/>
                <a:gd name="T28" fmla="*/ 80 w 323"/>
                <a:gd name="T29" fmla="*/ 148 h 323"/>
                <a:gd name="T30" fmla="*/ 80 w 323"/>
                <a:gd name="T31" fmla="*/ 147 h 323"/>
                <a:gd name="T32" fmla="*/ 97 w 323"/>
                <a:gd name="T33" fmla="*/ 152 h 323"/>
                <a:gd name="T34" fmla="*/ 81 w 323"/>
                <a:gd name="T35" fmla="*/ 122 h 323"/>
                <a:gd name="T36" fmla="*/ 86 w 323"/>
                <a:gd name="T37" fmla="*/ 103 h 323"/>
                <a:gd name="T38" fmla="*/ 161 w 323"/>
                <a:gd name="T39" fmla="*/ 141 h 323"/>
                <a:gd name="T40" fmla="*/ 160 w 323"/>
                <a:gd name="T41" fmla="*/ 133 h 323"/>
                <a:gd name="T42" fmla="*/ 196 w 323"/>
                <a:gd name="T43" fmla="*/ 97 h 323"/>
                <a:gd name="T44" fmla="*/ 222 w 323"/>
                <a:gd name="T45" fmla="*/ 108 h 323"/>
                <a:gd name="T46" fmla="*/ 246 w 323"/>
                <a:gd name="T47" fmla="*/ 99 h 323"/>
                <a:gd name="T48" fmla="*/ 230 w 323"/>
                <a:gd name="T49" fmla="*/ 119 h 323"/>
                <a:gd name="T50" fmla="*/ 250 w 323"/>
                <a:gd name="T51" fmla="*/ 114 h 323"/>
                <a:gd name="T52" fmla="*/ 232 w 323"/>
                <a:gd name="T53" fmla="*/ 13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232" y="132"/>
                  </a:moveTo>
                  <a:cubicBezTo>
                    <a:pt x="232" y="134"/>
                    <a:pt x="232" y="136"/>
                    <a:pt x="232" y="137"/>
                  </a:cubicBezTo>
                  <a:cubicBezTo>
                    <a:pt x="232" y="185"/>
                    <a:pt x="196" y="241"/>
                    <a:pt x="129" y="241"/>
                  </a:cubicBezTo>
                  <a:cubicBezTo>
                    <a:pt x="108" y="241"/>
                    <a:pt x="89" y="235"/>
                    <a:pt x="73" y="224"/>
                  </a:cubicBezTo>
                  <a:cubicBezTo>
                    <a:pt x="76" y="225"/>
                    <a:pt x="79" y="225"/>
                    <a:pt x="82" y="225"/>
                  </a:cubicBezTo>
                  <a:cubicBezTo>
                    <a:pt x="99" y="225"/>
                    <a:pt x="115" y="219"/>
                    <a:pt x="127" y="209"/>
                  </a:cubicBezTo>
                  <a:cubicBezTo>
                    <a:pt x="111" y="209"/>
                    <a:pt x="98" y="198"/>
                    <a:pt x="93" y="184"/>
                  </a:cubicBezTo>
                  <a:cubicBezTo>
                    <a:pt x="95" y="184"/>
                    <a:pt x="98" y="185"/>
                    <a:pt x="100" y="185"/>
                  </a:cubicBezTo>
                  <a:cubicBezTo>
                    <a:pt x="103" y="185"/>
                    <a:pt x="106" y="184"/>
                    <a:pt x="110" y="183"/>
                  </a:cubicBezTo>
                  <a:cubicBezTo>
                    <a:pt x="93" y="180"/>
                    <a:pt x="80" y="165"/>
                    <a:pt x="80" y="148"/>
                  </a:cubicBezTo>
                  <a:cubicBezTo>
                    <a:pt x="80" y="148"/>
                    <a:pt x="80" y="147"/>
                    <a:pt x="80" y="147"/>
                  </a:cubicBezTo>
                  <a:cubicBezTo>
                    <a:pt x="85" y="150"/>
                    <a:pt x="91" y="152"/>
                    <a:pt x="97" y="152"/>
                  </a:cubicBezTo>
                  <a:cubicBezTo>
                    <a:pt x="87" y="145"/>
                    <a:pt x="81" y="134"/>
                    <a:pt x="81" y="122"/>
                  </a:cubicBezTo>
                  <a:cubicBezTo>
                    <a:pt x="81" y="115"/>
                    <a:pt x="82" y="109"/>
                    <a:pt x="86" y="103"/>
                  </a:cubicBezTo>
                  <a:cubicBezTo>
                    <a:pt x="104" y="125"/>
                    <a:pt x="130" y="140"/>
                    <a:pt x="161" y="141"/>
                  </a:cubicBezTo>
                  <a:cubicBezTo>
                    <a:pt x="160" y="139"/>
                    <a:pt x="160" y="136"/>
                    <a:pt x="160" y="133"/>
                  </a:cubicBezTo>
                  <a:cubicBezTo>
                    <a:pt x="160" y="113"/>
                    <a:pt x="176" y="97"/>
                    <a:pt x="196" y="97"/>
                  </a:cubicBezTo>
                  <a:cubicBezTo>
                    <a:pt x="206" y="97"/>
                    <a:pt x="216" y="101"/>
                    <a:pt x="222" y="108"/>
                  </a:cubicBezTo>
                  <a:cubicBezTo>
                    <a:pt x="231" y="106"/>
                    <a:pt x="238" y="103"/>
                    <a:pt x="246" y="99"/>
                  </a:cubicBezTo>
                  <a:cubicBezTo>
                    <a:pt x="243" y="108"/>
                    <a:pt x="237" y="115"/>
                    <a:pt x="230" y="119"/>
                  </a:cubicBezTo>
                  <a:cubicBezTo>
                    <a:pt x="237" y="118"/>
                    <a:pt x="244" y="117"/>
                    <a:pt x="250" y="114"/>
                  </a:cubicBezTo>
                  <a:cubicBezTo>
                    <a:pt x="246" y="121"/>
                    <a:pt x="239" y="127"/>
                    <a:pt x="232" y="13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47" name="Freeform 9"/>
            <p:cNvSpPr>
              <a:spLocks noEditPoints="1"/>
            </p:cNvSpPr>
            <p:nvPr/>
          </p:nvSpPr>
          <p:spPr bwMode="auto">
            <a:xfrm>
              <a:off x="7524697" y="3105066"/>
              <a:ext cx="329539" cy="329854"/>
            </a:xfrm>
            <a:custGeom>
              <a:avLst/>
              <a:gdLst>
                <a:gd name="T0" fmla="*/ 162 w 323"/>
                <a:gd name="T1" fmla="*/ 0 h 323"/>
                <a:gd name="T2" fmla="*/ 0 w 323"/>
                <a:gd name="T3" fmla="*/ 162 h 323"/>
                <a:gd name="T4" fmla="*/ 162 w 323"/>
                <a:gd name="T5" fmla="*/ 323 h 323"/>
                <a:gd name="T6" fmla="*/ 323 w 323"/>
                <a:gd name="T7" fmla="*/ 162 h 323"/>
                <a:gd name="T8" fmla="*/ 162 w 323"/>
                <a:gd name="T9" fmla="*/ 0 h 323"/>
                <a:gd name="T10" fmla="*/ 116 w 323"/>
                <a:gd name="T11" fmla="*/ 237 h 323"/>
                <a:gd name="T12" fmla="*/ 84 w 323"/>
                <a:gd name="T13" fmla="*/ 237 h 323"/>
                <a:gd name="T14" fmla="*/ 84 w 323"/>
                <a:gd name="T15" fmla="*/ 135 h 323"/>
                <a:gd name="T16" fmla="*/ 116 w 323"/>
                <a:gd name="T17" fmla="*/ 135 h 323"/>
                <a:gd name="T18" fmla="*/ 116 w 323"/>
                <a:gd name="T19" fmla="*/ 237 h 323"/>
                <a:gd name="T20" fmla="*/ 99 w 323"/>
                <a:gd name="T21" fmla="*/ 122 h 323"/>
                <a:gd name="T22" fmla="*/ 99 w 323"/>
                <a:gd name="T23" fmla="*/ 122 h 323"/>
                <a:gd name="T24" fmla="*/ 80 w 323"/>
                <a:gd name="T25" fmla="*/ 104 h 323"/>
                <a:gd name="T26" fmla="*/ 99 w 323"/>
                <a:gd name="T27" fmla="*/ 86 h 323"/>
                <a:gd name="T28" fmla="*/ 119 w 323"/>
                <a:gd name="T29" fmla="*/ 104 h 323"/>
                <a:gd name="T30" fmla="*/ 99 w 323"/>
                <a:gd name="T31" fmla="*/ 122 h 323"/>
                <a:gd name="T32" fmla="*/ 244 w 323"/>
                <a:gd name="T33" fmla="*/ 237 h 323"/>
                <a:gd name="T34" fmla="*/ 208 w 323"/>
                <a:gd name="T35" fmla="*/ 237 h 323"/>
                <a:gd name="T36" fmla="*/ 208 w 323"/>
                <a:gd name="T37" fmla="*/ 184 h 323"/>
                <a:gd name="T38" fmla="*/ 189 w 323"/>
                <a:gd name="T39" fmla="*/ 161 h 323"/>
                <a:gd name="T40" fmla="*/ 172 w 323"/>
                <a:gd name="T41" fmla="*/ 173 h 323"/>
                <a:gd name="T42" fmla="*/ 171 w 323"/>
                <a:gd name="T43" fmla="*/ 182 h 323"/>
                <a:gd name="T44" fmla="*/ 171 w 323"/>
                <a:gd name="T45" fmla="*/ 237 h 323"/>
                <a:gd name="T46" fmla="*/ 135 w 323"/>
                <a:gd name="T47" fmla="*/ 237 h 323"/>
                <a:gd name="T48" fmla="*/ 135 w 323"/>
                <a:gd name="T49" fmla="*/ 135 h 323"/>
                <a:gd name="T50" fmla="*/ 171 w 323"/>
                <a:gd name="T51" fmla="*/ 135 h 323"/>
                <a:gd name="T52" fmla="*/ 171 w 323"/>
                <a:gd name="T53" fmla="*/ 151 h 323"/>
                <a:gd name="T54" fmla="*/ 203 w 323"/>
                <a:gd name="T55" fmla="*/ 134 h 323"/>
                <a:gd name="T56" fmla="*/ 244 w 323"/>
                <a:gd name="T57" fmla="*/ 180 h 323"/>
                <a:gd name="T58" fmla="*/ 244 w 323"/>
                <a:gd name="T59" fmla="*/ 23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3" h="323">
                  <a:moveTo>
                    <a:pt x="162" y="0"/>
                  </a:moveTo>
                  <a:cubicBezTo>
                    <a:pt x="73" y="0"/>
                    <a:pt x="0" y="73"/>
                    <a:pt x="0" y="162"/>
                  </a:cubicBezTo>
                  <a:cubicBezTo>
                    <a:pt x="0" y="251"/>
                    <a:pt x="73" y="323"/>
                    <a:pt x="162" y="323"/>
                  </a:cubicBezTo>
                  <a:cubicBezTo>
                    <a:pt x="251" y="323"/>
                    <a:pt x="323" y="251"/>
                    <a:pt x="323" y="162"/>
                  </a:cubicBezTo>
                  <a:cubicBezTo>
                    <a:pt x="323" y="73"/>
                    <a:pt x="251" y="0"/>
                    <a:pt x="162" y="0"/>
                  </a:cubicBezTo>
                  <a:close/>
                  <a:moveTo>
                    <a:pt x="116" y="237"/>
                  </a:moveTo>
                  <a:cubicBezTo>
                    <a:pt x="84" y="237"/>
                    <a:pt x="84" y="237"/>
                    <a:pt x="84" y="237"/>
                  </a:cubicBezTo>
                  <a:cubicBezTo>
                    <a:pt x="84" y="135"/>
                    <a:pt x="84" y="135"/>
                    <a:pt x="84" y="135"/>
                  </a:cubicBezTo>
                  <a:cubicBezTo>
                    <a:pt x="116" y="135"/>
                    <a:pt x="116" y="135"/>
                    <a:pt x="116" y="135"/>
                  </a:cubicBezTo>
                  <a:lnTo>
                    <a:pt x="116" y="237"/>
                  </a:lnTo>
                  <a:close/>
                  <a:moveTo>
                    <a:pt x="99" y="122"/>
                  </a:moveTo>
                  <a:cubicBezTo>
                    <a:pt x="99" y="122"/>
                    <a:pt x="99" y="122"/>
                    <a:pt x="99" y="122"/>
                  </a:cubicBezTo>
                  <a:cubicBezTo>
                    <a:pt x="87" y="122"/>
                    <a:pt x="80" y="114"/>
                    <a:pt x="80" y="104"/>
                  </a:cubicBezTo>
                  <a:cubicBezTo>
                    <a:pt x="80" y="94"/>
                    <a:pt x="87" y="86"/>
                    <a:pt x="99" y="86"/>
                  </a:cubicBezTo>
                  <a:cubicBezTo>
                    <a:pt x="111" y="86"/>
                    <a:pt x="118" y="94"/>
                    <a:pt x="119" y="104"/>
                  </a:cubicBezTo>
                  <a:cubicBezTo>
                    <a:pt x="119" y="114"/>
                    <a:pt x="111" y="122"/>
                    <a:pt x="99" y="122"/>
                  </a:cubicBezTo>
                  <a:close/>
                  <a:moveTo>
                    <a:pt x="244" y="237"/>
                  </a:moveTo>
                  <a:cubicBezTo>
                    <a:pt x="208" y="237"/>
                    <a:pt x="208" y="237"/>
                    <a:pt x="208" y="237"/>
                  </a:cubicBezTo>
                  <a:cubicBezTo>
                    <a:pt x="208" y="184"/>
                    <a:pt x="208" y="184"/>
                    <a:pt x="208" y="184"/>
                  </a:cubicBezTo>
                  <a:cubicBezTo>
                    <a:pt x="208" y="170"/>
                    <a:pt x="202" y="161"/>
                    <a:pt x="189" y="161"/>
                  </a:cubicBezTo>
                  <a:cubicBezTo>
                    <a:pt x="180" y="161"/>
                    <a:pt x="175" y="167"/>
                    <a:pt x="172" y="173"/>
                  </a:cubicBezTo>
                  <a:cubicBezTo>
                    <a:pt x="171" y="176"/>
                    <a:pt x="171" y="179"/>
                    <a:pt x="171" y="182"/>
                  </a:cubicBezTo>
                  <a:cubicBezTo>
                    <a:pt x="171" y="237"/>
                    <a:pt x="171" y="237"/>
                    <a:pt x="171" y="237"/>
                  </a:cubicBezTo>
                  <a:cubicBezTo>
                    <a:pt x="135" y="237"/>
                    <a:pt x="135" y="237"/>
                    <a:pt x="135" y="237"/>
                  </a:cubicBezTo>
                  <a:cubicBezTo>
                    <a:pt x="135" y="237"/>
                    <a:pt x="136" y="143"/>
                    <a:pt x="135" y="135"/>
                  </a:cubicBezTo>
                  <a:cubicBezTo>
                    <a:pt x="171" y="135"/>
                    <a:pt x="171" y="135"/>
                    <a:pt x="171" y="135"/>
                  </a:cubicBezTo>
                  <a:cubicBezTo>
                    <a:pt x="171" y="151"/>
                    <a:pt x="171" y="151"/>
                    <a:pt x="171" y="151"/>
                  </a:cubicBezTo>
                  <a:cubicBezTo>
                    <a:pt x="173" y="144"/>
                    <a:pt x="185" y="134"/>
                    <a:pt x="203" y="134"/>
                  </a:cubicBezTo>
                  <a:cubicBezTo>
                    <a:pt x="226" y="134"/>
                    <a:pt x="244" y="148"/>
                    <a:pt x="244" y="180"/>
                  </a:cubicBezTo>
                  <a:lnTo>
                    <a:pt x="244" y="23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48" name="Freeform 10"/>
            <p:cNvSpPr>
              <a:spLocks noEditPoints="1"/>
            </p:cNvSpPr>
            <p:nvPr/>
          </p:nvSpPr>
          <p:spPr bwMode="auto">
            <a:xfrm>
              <a:off x="7100913" y="3105066"/>
              <a:ext cx="329539" cy="329854"/>
            </a:xfrm>
            <a:custGeom>
              <a:avLst/>
              <a:gdLst>
                <a:gd name="T0" fmla="*/ 228 w 323"/>
                <a:gd name="T1" fmla="*/ 125 h 323"/>
                <a:gd name="T2" fmla="*/ 228 w 323"/>
                <a:gd name="T3" fmla="*/ 194 h 323"/>
                <a:gd name="T4" fmla="*/ 245 w 323"/>
                <a:gd name="T5" fmla="*/ 189 h 323"/>
                <a:gd name="T6" fmla="*/ 245 w 323"/>
                <a:gd name="T7" fmla="*/ 148 h 323"/>
                <a:gd name="T8" fmla="*/ 232 w 323"/>
                <a:gd name="T9" fmla="*/ 186 h 323"/>
                <a:gd name="T10" fmla="*/ 232 w 323"/>
                <a:gd name="T11" fmla="*/ 150 h 323"/>
                <a:gd name="T12" fmla="*/ 86 w 323"/>
                <a:gd name="T13" fmla="*/ 157 h 323"/>
                <a:gd name="T14" fmla="*/ 77 w 323"/>
                <a:gd name="T15" fmla="*/ 179 h 323"/>
                <a:gd name="T16" fmla="*/ 86 w 323"/>
                <a:gd name="T17" fmla="*/ 157 h 323"/>
                <a:gd name="T18" fmla="*/ 210 w 323"/>
                <a:gd name="T19" fmla="*/ 194 h 323"/>
                <a:gd name="T20" fmla="*/ 190 w 323"/>
                <a:gd name="T21" fmla="*/ 195 h 323"/>
                <a:gd name="T22" fmla="*/ 184 w 323"/>
                <a:gd name="T23" fmla="*/ 142 h 323"/>
                <a:gd name="T24" fmla="*/ 193 w 323"/>
                <a:gd name="T25" fmla="*/ 184 h 323"/>
                <a:gd name="T26" fmla="*/ 201 w 323"/>
                <a:gd name="T27" fmla="*/ 142 h 323"/>
                <a:gd name="T28" fmla="*/ 182 w 323"/>
                <a:gd name="T29" fmla="*/ 135 h 323"/>
                <a:gd name="T30" fmla="*/ 161 w 323"/>
                <a:gd name="T31" fmla="*/ 194 h 323"/>
                <a:gd name="T32" fmla="*/ 150 w 323"/>
                <a:gd name="T33" fmla="*/ 125 h 323"/>
                <a:gd name="T34" fmla="*/ 253 w 323"/>
                <a:gd name="T35" fmla="*/ 159 h 323"/>
                <a:gd name="T36" fmla="*/ 267 w 323"/>
                <a:gd name="T37" fmla="*/ 195 h 323"/>
                <a:gd name="T38" fmla="*/ 281 w 323"/>
                <a:gd name="T39" fmla="*/ 177 h 323"/>
                <a:gd name="T40" fmla="*/ 271 w 323"/>
                <a:gd name="T41" fmla="*/ 182 h 323"/>
                <a:gd name="T42" fmla="*/ 262 w 323"/>
                <a:gd name="T43" fmla="*/ 170 h 323"/>
                <a:gd name="T44" fmla="*/ 278 w 323"/>
                <a:gd name="T45" fmla="*/ 147 h 323"/>
                <a:gd name="T46" fmla="*/ 262 w 323"/>
                <a:gd name="T47" fmla="*/ 162 h 323"/>
                <a:gd name="T48" fmla="*/ 272 w 323"/>
                <a:gd name="T49" fmla="*/ 157 h 323"/>
                <a:gd name="T50" fmla="*/ 0 w 323"/>
                <a:gd name="T51" fmla="*/ 161 h 323"/>
                <a:gd name="T52" fmla="*/ 162 w 323"/>
                <a:gd name="T53" fmla="*/ 0 h 323"/>
                <a:gd name="T54" fmla="*/ 44 w 323"/>
                <a:gd name="T55" fmla="*/ 194 h 323"/>
                <a:gd name="T56" fmla="*/ 31 w 323"/>
                <a:gd name="T57" fmla="*/ 124 h 323"/>
                <a:gd name="T58" fmla="*/ 57 w 323"/>
                <a:gd name="T59" fmla="*/ 124 h 323"/>
                <a:gd name="T60" fmla="*/ 95 w 323"/>
                <a:gd name="T61" fmla="*/ 177 h 323"/>
                <a:gd name="T62" fmla="*/ 70 w 323"/>
                <a:gd name="T63" fmla="*/ 189 h 323"/>
                <a:gd name="T64" fmla="*/ 70 w 323"/>
                <a:gd name="T65" fmla="*/ 147 h 323"/>
                <a:gd name="T66" fmla="*/ 95 w 323"/>
                <a:gd name="T67" fmla="*/ 159 h 323"/>
                <a:gd name="T68" fmla="*/ 121 w 323"/>
                <a:gd name="T69" fmla="*/ 194 h 323"/>
                <a:gd name="T70" fmla="*/ 104 w 323"/>
                <a:gd name="T71" fmla="*/ 191 h 323"/>
                <a:gd name="T72" fmla="*/ 112 w 323"/>
                <a:gd name="T73" fmla="*/ 142 h 323"/>
                <a:gd name="T74" fmla="*/ 115 w 323"/>
                <a:gd name="T75" fmla="*/ 186 h 323"/>
                <a:gd name="T76" fmla="*/ 130 w 323"/>
                <a:gd name="T77" fmla="*/ 142 h 323"/>
                <a:gd name="T78" fmla="*/ 215 w 323"/>
                <a:gd name="T79" fmla="*/ 214 h 323"/>
                <a:gd name="T80" fmla="*/ 138 w 323"/>
                <a:gd name="T81" fmla="*/ 161 h 323"/>
                <a:gd name="T82" fmla="*/ 215 w 323"/>
                <a:gd name="T83" fmla="*/ 107 h 323"/>
                <a:gd name="T84" fmla="*/ 292 w 323"/>
                <a:gd name="T85" fmla="*/ 161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3" h="323">
                  <a:moveTo>
                    <a:pt x="237" y="142"/>
                  </a:moveTo>
                  <a:cubicBezTo>
                    <a:pt x="234" y="142"/>
                    <a:pt x="231" y="144"/>
                    <a:pt x="228" y="147"/>
                  </a:cubicBezTo>
                  <a:cubicBezTo>
                    <a:pt x="228" y="125"/>
                    <a:pt x="228" y="125"/>
                    <a:pt x="228" y="125"/>
                  </a:cubicBezTo>
                  <a:cubicBezTo>
                    <a:pt x="218" y="125"/>
                    <a:pt x="218" y="125"/>
                    <a:pt x="218" y="125"/>
                  </a:cubicBezTo>
                  <a:cubicBezTo>
                    <a:pt x="218" y="194"/>
                    <a:pt x="218" y="194"/>
                    <a:pt x="218" y="194"/>
                  </a:cubicBezTo>
                  <a:cubicBezTo>
                    <a:pt x="228" y="194"/>
                    <a:pt x="228" y="194"/>
                    <a:pt x="228" y="194"/>
                  </a:cubicBezTo>
                  <a:cubicBezTo>
                    <a:pt x="228" y="189"/>
                    <a:pt x="228" y="189"/>
                    <a:pt x="228" y="189"/>
                  </a:cubicBezTo>
                  <a:cubicBezTo>
                    <a:pt x="231" y="193"/>
                    <a:pt x="234" y="195"/>
                    <a:pt x="237" y="195"/>
                  </a:cubicBezTo>
                  <a:cubicBezTo>
                    <a:pt x="241" y="195"/>
                    <a:pt x="244" y="193"/>
                    <a:pt x="245" y="189"/>
                  </a:cubicBezTo>
                  <a:cubicBezTo>
                    <a:pt x="245" y="187"/>
                    <a:pt x="246" y="183"/>
                    <a:pt x="246" y="178"/>
                  </a:cubicBezTo>
                  <a:cubicBezTo>
                    <a:pt x="246" y="158"/>
                    <a:pt x="246" y="158"/>
                    <a:pt x="246" y="158"/>
                  </a:cubicBezTo>
                  <a:cubicBezTo>
                    <a:pt x="246" y="153"/>
                    <a:pt x="245" y="150"/>
                    <a:pt x="245" y="148"/>
                  </a:cubicBezTo>
                  <a:cubicBezTo>
                    <a:pt x="244" y="144"/>
                    <a:pt x="241" y="142"/>
                    <a:pt x="237" y="142"/>
                  </a:cubicBezTo>
                  <a:close/>
                  <a:moveTo>
                    <a:pt x="236" y="179"/>
                  </a:moveTo>
                  <a:cubicBezTo>
                    <a:pt x="236" y="184"/>
                    <a:pt x="235" y="186"/>
                    <a:pt x="232" y="186"/>
                  </a:cubicBezTo>
                  <a:cubicBezTo>
                    <a:pt x="231" y="186"/>
                    <a:pt x="229" y="185"/>
                    <a:pt x="228" y="184"/>
                  </a:cubicBezTo>
                  <a:cubicBezTo>
                    <a:pt x="228" y="152"/>
                    <a:pt x="228" y="152"/>
                    <a:pt x="228" y="152"/>
                  </a:cubicBezTo>
                  <a:cubicBezTo>
                    <a:pt x="229" y="151"/>
                    <a:pt x="231" y="150"/>
                    <a:pt x="232" y="150"/>
                  </a:cubicBezTo>
                  <a:cubicBezTo>
                    <a:pt x="235" y="150"/>
                    <a:pt x="236" y="153"/>
                    <a:pt x="236" y="157"/>
                  </a:cubicBezTo>
                  <a:lnTo>
                    <a:pt x="236" y="179"/>
                  </a:lnTo>
                  <a:close/>
                  <a:moveTo>
                    <a:pt x="86" y="157"/>
                  </a:moveTo>
                  <a:cubicBezTo>
                    <a:pt x="86" y="179"/>
                    <a:pt x="86" y="179"/>
                    <a:pt x="86" y="179"/>
                  </a:cubicBezTo>
                  <a:cubicBezTo>
                    <a:pt x="86" y="184"/>
                    <a:pt x="84" y="186"/>
                    <a:pt x="81" y="186"/>
                  </a:cubicBezTo>
                  <a:cubicBezTo>
                    <a:pt x="78" y="186"/>
                    <a:pt x="77" y="184"/>
                    <a:pt x="77" y="179"/>
                  </a:cubicBezTo>
                  <a:cubicBezTo>
                    <a:pt x="77" y="157"/>
                    <a:pt x="77" y="157"/>
                    <a:pt x="77" y="157"/>
                  </a:cubicBezTo>
                  <a:cubicBezTo>
                    <a:pt x="77" y="152"/>
                    <a:pt x="78" y="150"/>
                    <a:pt x="81" y="150"/>
                  </a:cubicBezTo>
                  <a:cubicBezTo>
                    <a:pt x="84" y="150"/>
                    <a:pt x="86" y="152"/>
                    <a:pt x="86" y="157"/>
                  </a:cubicBezTo>
                  <a:close/>
                  <a:moveTo>
                    <a:pt x="201" y="142"/>
                  </a:moveTo>
                  <a:cubicBezTo>
                    <a:pt x="210" y="142"/>
                    <a:pt x="210" y="142"/>
                    <a:pt x="210" y="142"/>
                  </a:cubicBezTo>
                  <a:cubicBezTo>
                    <a:pt x="210" y="194"/>
                    <a:pt x="210" y="194"/>
                    <a:pt x="210" y="194"/>
                  </a:cubicBezTo>
                  <a:cubicBezTo>
                    <a:pt x="201" y="194"/>
                    <a:pt x="201" y="194"/>
                    <a:pt x="201" y="194"/>
                  </a:cubicBezTo>
                  <a:cubicBezTo>
                    <a:pt x="201" y="188"/>
                    <a:pt x="201" y="188"/>
                    <a:pt x="201" y="188"/>
                  </a:cubicBezTo>
                  <a:cubicBezTo>
                    <a:pt x="197" y="193"/>
                    <a:pt x="194" y="195"/>
                    <a:pt x="190" y="195"/>
                  </a:cubicBezTo>
                  <a:cubicBezTo>
                    <a:pt x="187" y="195"/>
                    <a:pt x="185" y="193"/>
                    <a:pt x="184" y="191"/>
                  </a:cubicBezTo>
                  <a:cubicBezTo>
                    <a:pt x="184" y="189"/>
                    <a:pt x="184" y="187"/>
                    <a:pt x="184" y="183"/>
                  </a:cubicBezTo>
                  <a:cubicBezTo>
                    <a:pt x="184" y="142"/>
                    <a:pt x="184" y="142"/>
                    <a:pt x="184" y="142"/>
                  </a:cubicBezTo>
                  <a:cubicBezTo>
                    <a:pt x="193" y="142"/>
                    <a:pt x="193" y="142"/>
                    <a:pt x="193" y="142"/>
                  </a:cubicBezTo>
                  <a:cubicBezTo>
                    <a:pt x="193" y="180"/>
                    <a:pt x="193" y="180"/>
                    <a:pt x="193" y="180"/>
                  </a:cubicBezTo>
                  <a:cubicBezTo>
                    <a:pt x="193" y="183"/>
                    <a:pt x="193" y="184"/>
                    <a:pt x="193" y="184"/>
                  </a:cubicBezTo>
                  <a:cubicBezTo>
                    <a:pt x="193" y="185"/>
                    <a:pt x="194" y="186"/>
                    <a:pt x="195" y="186"/>
                  </a:cubicBezTo>
                  <a:cubicBezTo>
                    <a:pt x="197" y="186"/>
                    <a:pt x="199" y="185"/>
                    <a:pt x="201" y="182"/>
                  </a:cubicBezTo>
                  <a:lnTo>
                    <a:pt x="201" y="142"/>
                  </a:lnTo>
                  <a:close/>
                  <a:moveTo>
                    <a:pt x="150" y="125"/>
                  </a:moveTo>
                  <a:cubicBezTo>
                    <a:pt x="182" y="125"/>
                    <a:pt x="182" y="125"/>
                    <a:pt x="182" y="125"/>
                  </a:cubicBezTo>
                  <a:cubicBezTo>
                    <a:pt x="182" y="135"/>
                    <a:pt x="182" y="135"/>
                    <a:pt x="182" y="135"/>
                  </a:cubicBezTo>
                  <a:cubicBezTo>
                    <a:pt x="171" y="135"/>
                    <a:pt x="171" y="135"/>
                    <a:pt x="171" y="135"/>
                  </a:cubicBezTo>
                  <a:cubicBezTo>
                    <a:pt x="171" y="194"/>
                    <a:pt x="171" y="194"/>
                    <a:pt x="171" y="194"/>
                  </a:cubicBezTo>
                  <a:cubicBezTo>
                    <a:pt x="161" y="194"/>
                    <a:pt x="161" y="194"/>
                    <a:pt x="161" y="194"/>
                  </a:cubicBezTo>
                  <a:cubicBezTo>
                    <a:pt x="161" y="135"/>
                    <a:pt x="161" y="135"/>
                    <a:pt x="161" y="135"/>
                  </a:cubicBezTo>
                  <a:cubicBezTo>
                    <a:pt x="150" y="135"/>
                    <a:pt x="150" y="135"/>
                    <a:pt x="150" y="135"/>
                  </a:cubicBezTo>
                  <a:lnTo>
                    <a:pt x="150" y="125"/>
                  </a:lnTo>
                  <a:close/>
                  <a:moveTo>
                    <a:pt x="267" y="142"/>
                  </a:moveTo>
                  <a:cubicBezTo>
                    <a:pt x="262" y="142"/>
                    <a:pt x="259" y="144"/>
                    <a:pt x="256" y="147"/>
                  </a:cubicBezTo>
                  <a:cubicBezTo>
                    <a:pt x="254" y="150"/>
                    <a:pt x="253" y="154"/>
                    <a:pt x="253" y="159"/>
                  </a:cubicBezTo>
                  <a:cubicBezTo>
                    <a:pt x="253" y="177"/>
                    <a:pt x="253" y="177"/>
                    <a:pt x="253" y="177"/>
                  </a:cubicBezTo>
                  <a:cubicBezTo>
                    <a:pt x="253" y="183"/>
                    <a:pt x="254" y="187"/>
                    <a:pt x="256" y="189"/>
                  </a:cubicBezTo>
                  <a:cubicBezTo>
                    <a:pt x="259" y="193"/>
                    <a:pt x="262" y="195"/>
                    <a:pt x="267" y="195"/>
                  </a:cubicBezTo>
                  <a:cubicBezTo>
                    <a:pt x="272" y="195"/>
                    <a:pt x="276" y="193"/>
                    <a:pt x="279" y="189"/>
                  </a:cubicBezTo>
                  <a:cubicBezTo>
                    <a:pt x="280" y="187"/>
                    <a:pt x="280" y="186"/>
                    <a:pt x="281" y="183"/>
                  </a:cubicBezTo>
                  <a:cubicBezTo>
                    <a:pt x="281" y="183"/>
                    <a:pt x="281" y="180"/>
                    <a:pt x="281" y="177"/>
                  </a:cubicBezTo>
                  <a:cubicBezTo>
                    <a:pt x="281" y="176"/>
                    <a:pt x="281" y="176"/>
                    <a:pt x="281" y="176"/>
                  </a:cubicBezTo>
                  <a:cubicBezTo>
                    <a:pt x="271" y="176"/>
                    <a:pt x="271" y="176"/>
                    <a:pt x="271" y="176"/>
                  </a:cubicBezTo>
                  <a:cubicBezTo>
                    <a:pt x="271" y="180"/>
                    <a:pt x="271" y="182"/>
                    <a:pt x="271" y="182"/>
                  </a:cubicBezTo>
                  <a:cubicBezTo>
                    <a:pt x="271" y="185"/>
                    <a:pt x="269" y="186"/>
                    <a:pt x="267" y="186"/>
                  </a:cubicBezTo>
                  <a:cubicBezTo>
                    <a:pt x="264" y="186"/>
                    <a:pt x="262" y="184"/>
                    <a:pt x="262" y="179"/>
                  </a:cubicBezTo>
                  <a:cubicBezTo>
                    <a:pt x="262" y="170"/>
                    <a:pt x="262" y="170"/>
                    <a:pt x="262" y="170"/>
                  </a:cubicBezTo>
                  <a:cubicBezTo>
                    <a:pt x="281" y="170"/>
                    <a:pt x="281" y="170"/>
                    <a:pt x="281" y="170"/>
                  </a:cubicBezTo>
                  <a:cubicBezTo>
                    <a:pt x="281" y="159"/>
                    <a:pt x="281" y="159"/>
                    <a:pt x="281" y="159"/>
                  </a:cubicBezTo>
                  <a:cubicBezTo>
                    <a:pt x="281" y="154"/>
                    <a:pt x="280" y="150"/>
                    <a:pt x="278" y="147"/>
                  </a:cubicBezTo>
                  <a:cubicBezTo>
                    <a:pt x="275" y="144"/>
                    <a:pt x="272" y="142"/>
                    <a:pt x="267" y="142"/>
                  </a:cubicBezTo>
                  <a:close/>
                  <a:moveTo>
                    <a:pt x="272" y="162"/>
                  </a:moveTo>
                  <a:cubicBezTo>
                    <a:pt x="262" y="162"/>
                    <a:pt x="262" y="162"/>
                    <a:pt x="262" y="162"/>
                  </a:cubicBezTo>
                  <a:cubicBezTo>
                    <a:pt x="262" y="157"/>
                    <a:pt x="262" y="157"/>
                    <a:pt x="262" y="157"/>
                  </a:cubicBezTo>
                  <a:cubicBezTo>
                    <a:pt x="262" y="153"/>
                    <a:pt x="264" y="150"/>
                    <a:pt x="267" y="150"/>
                  </a:cubicBezTo>
                  <a:cubicBezTo>
                    <a:pt x="270" y="150"/>
                    <a:pt x="272" y="153"/>
                    <a:pt x="272" y="157"/>
                  </a:cubicBezTo>
                  <a:lnTo>
                    <a:pt x="272" y="162"/>
                  </a:lnTo>
                  <a:close/>
                  <a:moveTo>
                    <a:pt x="162" y="0"/>
                  </a:moveTo>
                  <a:cubicBezTo>
                    <a:pt x="73" y="0"/>
                    <a:pt x="0" y="72"/>
                    <a:pt x="0" y="161"/>
                  </a:cubicBezTo>
                  <a:cubicBezTo>
                    <a:pt x="0" y="250"/>
                    <a:pt x="73" y="323"/>
                    <a:pt x="162" y="323"/>
                  </a:cubicBezTo>
                  <a:cubicBezTo>
                    <a:pt x="251" y="323"/>
                    <a:pt x="323" y="250"/>
                    <a:pt x="323" y="161"/>
                  </a:cubicBezTo>
                  <a:cubicBezTo>
                    <a:pt x="323" y="72"/>
                    <a:pt x="251" y="0"/>
                    <a:pt x="162" y="0"/>
                  </a:cubicBezTo>
                  <a:close/>
                  <a:moveTo>
                    <a:pt x="55" y="166"/>
                  </a:moveTo>
                  <a:cubicBezTo>
                    <a:pt x="55" y="194"/>
                    <a:pt x="55" y="194"/>
                    <a:pt x="55" y="194"/>
                  </a:cubicBezTo>
                  <a:cubicBezTo>
                    <a:pt x="44" y="194"/>
                    <a:pt x="44" y="194"/>
                    <a:pt x="44" y="194"/>
                  </a:cubicBezTo>
                  <a:cubicBezTo>
                    <a:pt x="44" y="166"/>
                    <a:pt x="44" y="166"/>
                    <a:pt x="44" y="166"/>
                  </a:cubicBezTo>
                  <a:cubicBezTo>
                    <a:pt x="43" y="161"/>
                    <a:pt x="41" y="153"/>
                    <a:pt x="38" y="144"/>
                  </a:cubicBezTo>
                  <a:cubicBezTo>
                    <a:pt x="36" y="137"/>
                    <a:pt x="33" y="131"/>
                    <a:pt x="31" y="124"/>
                  </a:cubicBezTo>
                  <a:cubicBezTo>
                    <a:pt x="42" y="124"/>
                    <a:pt x="42" y="124"/>
                    <a:pt x="42" y="124"/>
                  </a:cubicBezTo>
                  <a:cubicBezTo>
                    <a:pt x="50" y="152"/>
                    <a:pt x="50" y="152"/>
                    <a:pt x="50" y="152"/>
                  </a:cubicBezTo>
                  <a:cubicBezTo>
                    <a:pt x="57" y="124"/>
                    <a:pt x="57" y="124"/>
                    <a:pt x="57" y="124"/>
                  </a:cubicBezTo>
                  <a:cubicBezTo>
                    <a:pt x="67" y="124"/>
                    <a:pt x="67" y="124"/>
                    <a:pt x="67" y="124"/>
                  </a:cubicBezTo>
                  <a:lnTo>
                    <a:pt x="55" y="166"/>
                  </a:lnTo>
                  <a:close/>
                  <a:moveTo>
                    <a:pt x="95" y="177"/>
                  </a:moveTo>
                  <a:cubicBezTo>
                    <a:pt x="95" y="183"/>
                    <a:pt x="94" y="187"/>
                    <a:pt x="92" y="189"/>
                  </a:cubicBezTo>
                  <a:cubicBezTo>
                    <a:pt x="90" y="193"/>
                    <a:pt x="86" y="195"/>
                    <a:pt x="81" y="195"/>
                  </a:cubicBezTo>
                  <a:cubicBezTo>
                    <a:pt x="77" y="195"/>
                    <a:pt x="73" y="193"/>
                    <a:pt x="70" y="189"/>
                  </a:cubicBezTo>
                  <a:cubicBezTo>
                    <a:pt x="68" y="187"/>
                    <a:pt x="67" y="183"/>
                    <a:pt x="67" y="177"/>
                  </a:cubicBezTo>
                  <a:cubicBezTo>
                    <a:pt x="67" y="159"/>
                    <a:pt x="67" y="159"/>
                    <a:pt x="67" y="159"/>
                  </a:cubicBezTo>
                  <a:cubicBezTo>
                    <a:pt x="67" y="153"/>
                    <a:pt x="68" y="149"/>
                    <a:pt x="70" y="147"/>
                  </a:cubicBezTo>
                  <a:cubicBezTo>
                    <a:pt x="73" y="143"/>
                    <a:pt x="77" y="141"/>
                    <a:pt x="81" y="141"/>
                  </a:cubicBezTo>
                  <a:cubicBezTo>
                    <a:pt x="86" y="141"/>
                    <a:pt x="90" y="143"/>
                    <a:pt x="92" y="147"/>
                  </a:cubicBezTo>
                  <a:cubicBezTo>
                    <a:pt x="94" y="149"/>
                    <a:pt x="95" y="153"/>
                    <a:pt x="95" y="159"/>
                  </a:cubicBezTo>
                  <a:lnTo>
                    <a:pt x="95" y="177"/>
                  </a:lnTo>
                  <a:close/>
                  <a:moveTo>
                    <a:pt x="130" y="194"/>
                  </a:moveTo>
                  <a:cubicBezTo>
                    <a:pt x="121" y="194"/>
                    <a:pt x="121" y="194"/>
                    <a:pt x="121" y="194"/>
                  </a:cubicBezTo>
                  <a:cubicBezTo>
                    <a:pt x="121" y="188"/>
                    <a:pt x="121" y="188"/>
                    <a:pt x="121" y="188"/>
                  </a:cubicBezTo>
                  <a:cubicBezTo>
                    <a:pt x="117" y="193"/>
                    <a:pt x="113" y="195"/>
                    <a:pt x="110" y="195"/>
                  </a:cubicBezTo>
                  <a:cubicBezTo>
                    <a:pt x="107" y="195"/>
                    <a:pt x="105" y="193"/>
                    <a:pt x="104" y="191"/>
                  </a:cubicBezTo>
                  <a:cubicBezTo>
                    <a:pt x="103" y="189"/>
                    <a:pt x="103" y="187"/>
                    <a:pt x="103" y="183"/>
                  </a:cubicBezTo>
                  <a:cubicBezTo>
                    <a:pt x="103" y="142"/>
                    <a:pt x="103" y="142"/>
                    <a:pt x="103" y="142"/>
                  </a:cubicBezTo>
                  <a:cubicBezTo>
                    <a:pt x="112" y="142"/>
                    <a:pt x="112" y="142"/>
                    <a:pt x="112" y="142"/>
                  </a:cubicBezTo>
                  <a:cubicBezTo>
                    <a:pt x="112" y="180"/>
                    <a:pt x="112" y="180"/>
                    <a:pt x="112" y="180"/>
                  </a:cubicBezTo>
                  <a:cubicBezTo>
                    <a:pt x="112" y="182"/>
                    <a:pt x="112" y="184"/>
                    <a:pt x="112" y="184"/>
                  </a:cubicBezTo>
                  <a:cubicBezTo>
                    <a:pt x="113" y="185"/>
                    <a:pt x="113" y="186"/>
                    <a:pt x="115" y="186"/>
                  </a:cubicBezTo>
                  <a:cubicBezTo>
                    <a:pt x="116" y="186"/>
                    <a:pt x="118" y="185"/>
                    <a:pt x="121" y="182"/>
                  </a:cubicBezTo>
                  <a:cubicBezTo>
                    <a:pt x="121" y="142"/>
                    <a:pt x="121" y="142"/>
                    <a:pt x="121" y="142"/>
                  </a:cubicBezTo>
                  <a:cubicBezTo>
                    <a:pt x="130" y="142"/>
                    <a:pt x="130" y="142"/>
                    <a:pt x="130" y="142"/>
                  </a:cubicBezTo>
                  <a:lnTo>
                    <a:pt x="130" y="194"/>
                  </a:lnTo>
                  <a:close/>
                  <a:moveTo>
                    <a:pt x="273" y="212"/>
                  </a:moveTo>
                  <a:cubicBezTo>
                    <a:pt x="254" y="214"/>
                    <a:pt x="235" y="214"/>
                    <a:pt x="215" y="214"/>
                  </a:cubicBezTo>
                  <a:cubicBezTo>
                    <a:pt x="196" y="214"/>
                    <a:pt x="177" y="214"/>
                    <a:pt x="158" y="212"/>
                  </a:cubicBezTo>
                  <a:cubicBezTo>
                    <a:pt x="149" y="211"/>
                    <a:pt x="143" y="205"/>
                    <a:pt x="141" y="197"/>
                  </a:cubicBezTo>
                  <a:cubicBezTo>
                    <a:pt x="138" y="185"/>
                    <a:pt x="138" y="173"/>
                    <a:pt x="138" y="161"/>
                  </a:cubicBezTo>
                  <a:cubicBezTo>
                    <a:pt x="138" y="149"/>
                    <a:pt x="138" y="136"/>
                    <a:pt x="141" y="124"/>
                  </a:cubicBezTo>
                  <a:cubicBezTo>
                    <a:pt x="143" y="116"/>
                    <a:pt x="150" y="110"/>
                    <a:pt x="158" y="109"/>
                  </a:cubicBezTo>
                  <a:cubicBezTo>
                    <a:pt x="177" y="107"/>
                    <a:pt x="196" y="107"/>
                    <a:pt x="215" y="107"/>
                  </a:cubicBezTo>
                  <a:cubicBezTo>
                    <a:pt x="235" y="107"/>
                    <a:pt x="254" y="107"/>
                    <a:pt x="273" y="109"/>
                  </a:cubicBezTo>
                  <a:cubicBezTo>
                    <a:pt x="281" y="110"/>
                    <a:pt x="288" y="116"/>
                    <a:pt x="290" y="124"/>
                  </a:cubicBezTo>
                  <a:cubicBezTo>
                    <a:pt x="292" y="136"/>
                    <a:pt x="292" y="149"/>
                    <a:pt x="292" y="161"/>
                  </a:cubicBezTo>
                  <a:cubicBezTo>
                    <a:pt x="292" y="173"/>
                    <a:pt x="292" y="185"/>
                    <a:pt x="290" y="197"/>
                  </a:cubicBezTo>
                  <a:cubicBezTo>
                    <a:pt x="288" y="205"/>
                    <a:pt x="281" y="211"/>
                    <a:pt x="273" y="21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49" name="Freeform 6"/>
            <p:cNvSpPr>
              <a:spLocks noEditPoints="1"/>
            </p:cNvSpPr>
            <p:nvPr/>
          </p:nvSpPr>
          <p:spPr bwMode="auto">
            <a:xfrm>
              <a:off x="6253345" y="3105066"/>
              <a:ext cx="329539" cy="329854"/>
            </a:xfrm>
            <a:custGeom>
              <a:avLst/>
              <a:gdLst>
                <a:gd name="T0" fmla="*/ 71 w 323"/>
                <a:gd name="T1" fmla="*/ 183 h 323"/>
                <a:gd name="T2" fmla="*/ 23 w 323"/>
                <a:gd name="T3" fmla="*/ 128 h 323"/>
                <a:gd name="T4" fmla="*/ 57 w 323"/>
                <a:gd name="T5" fmla="*/ 76 h 323"/>
                <a:gd name="T6" fmla="*/ 105 w 323"/>
                <a:gd name="T7" fmla="*/ 130 h 323"/>
                <a:gd name="T8" fmla="*/ 71 w 323"/>
                <a:gd name="T9" fmla="*/ 183 h 323"/>
                <a:gd name="T10" fmla="*/ 20 w 323"/>
                <a:gd name="T11" fmla="*/ 239 h 323"/>
                <a:gd name="T12" fmla="*/ 59 w 323"/>
                <a:gd name="T13" fmla="*/ 232 h 323"/>
                <a:gd name="T14" fmla="*/ 74 w 323"/>
                <a:gd name="T15" fmla="*/ 232 h 323"/>
                <a:gd name="T16" fmla="*/ 62 w 323"/>
                <a:gd name="T17" fmla="*/ 208 h 323"/>
                <a:gd name="T18" fmla="*/ 67 w 323"/>
                <a:gd name="T19" fmla="*/ 192 h 323"/>
                <a:gd name="T20" fmla="*/ 58 w 323"/>
                <a:gd name="T21" fmla="*/ 192 h 323"/>
                <a:gd name="T22" fmla="*/ 0 w 323"/>
                <a:gd name="T23" fmla="*/ 160 h 323"/>
                <a:gd name="T24" fmla="*/ 0 w 323"/>
                <a:gd name="T25" fmla="*/ 162 h 323"/>
                <a:gd name="T26" fmla="*/ 20 w 323"/>
                <a:gd name="T27" fmla="*/ 239 h 323"/>
                <a:gd name="T28" fmla="*/ 323 w 323"/>
                <a:gd name="T29" fmla="*/ 162 h 323"/>
                <a:gd name="T30" fmla="*/ 162 w 323"/>
                <a:gd name="T31" fmla="*/ 323 h 323"/>
                <a:gd name="T32" fmla="*/ 134 w 323"/>
                <a:gd name="T33" fmla="*/ 321 h 323"/>
                <a:gd name="T34" fmla="*/ 149 w 323"/>
                <a:gd name="T35" fmla="*/ 284 h 323"/>
                <a:gd name="T36" fmla="*/ 118 w 323"/>
                <a:gd name="T37" fmla="*/ 227 h 323"/>
                <a:gd name="T38" fmla="*/ 95 w 323"/>
                <a:gd name="T39" fmla="*/ 200 h 323"/>
                <a:gd name="T40" fmla="*/ 112 w 323"/>
                <a:gd name="T41" fmla="*/ 175 h 323"/>
                <a:gd name="T42" fmla="*/ 137 w 323"/>
                <a:gd name="T43" fmla="*/ 129 h 323"/>
                <a:gd name="T44" fmla="*/ 108 w 323"/>
                <a:gd name="T45" fmla="*/ 78 h 323"/>
                <a:gd name="T46" fmla="*/ 136 w 323"/>
                <a:gd name="T47" fmla="*/ 78 h 323"/>
                <a:gd name="T48" fmla="*/ 156 w 323"/>
                <a:gd name="T49" fmla="*/ 64 h 323"/>
                <a:gd name="T50" fmla="*/ 68 w 323"/>
                <a:gd name="T51" fmla="*/ 64 h 323"/>
                <a:gd name="T52" fmla="*/ 24 w 323"/>
                <a:gd name="T53" fmla="*/ 77 h 323"/>
                <a:gd name="T54" fmla="*/ 162 w 323"/>
                <a:gd name="T55" fmla="*/ 0 h 323"/>
                <a:gd name="T56" fmla="*/ 323 w 323"/>
                <a:gd name="T57" fmla="*/ 162 h 323"/>
                <a:gd name="T58" fmla="*/ 292 w 323"/>
                <a:gd name="T59" fmla="*/ 138 h 323"/>
                <a:gd name="T60" fmla="*/ 292 w 323"/>
                <a:gd name="T61" fmla="*/ 117 h 323"/>
                <a:gd name="T62" fmla="*/ 239 w 323"/>
                <a:gd name="T63" fmla="*/ 117 h 323"/>
                <a:gd name="T64" fmla="*/ 239 w 323"/>
                <a:gd name="T65" fmla="*/ 64 h 323"/>
                <a:gd name="T66" fmla="*/ 217 w 323"/>
                <a:gd name="T67" fmla="*/ 64 h 323"/>
                <a:gd name="T68" fmla="*/ 217 w 323"/>
                <a:gd name="T69" fmla="*/ 117 h 323"/>
                <a:gd name="T70" fmla="*/ 164 w 323"/>
                <a:gd name="T71" fmla="*/ 117 h 323"/>
                <a:gd name="T72" fmla="*/ 164 w 323"/>
                <a:gd name="T73" fmla="*/ 138 h 323"/>
                <a:gd name="T74" fmla="*/ 217 w 323"/>
                <a:gd name="T75" fmla="*/ 138 h 323"/>
                <a:gd name="T76" fmla="*/ 217 w 323"/>
                <a:gd name="T77" fmla="*/ 192 h 323"/>
                <a:gd name="T78" fmla="*/ 239 w 323"/>
                <a:gd name="T79" fmla="*/ 192 h 323"/>
                <a:gd name="T80" fmla="*/ 239 w 323"/>
                <a:gd name="T81" fmla="*/ 138 h 323"/>
                <a:gd name="T82" fmla="*/ 292 w 323"/>
                <a:gd name="T83" fmla="*/ 138 h 323"/>
                <a:gd name="T84" fmla="*/ 90 w 323"/>
                <a:gd name="T85" fmla="*/ 244 h 323"/>
                <a:gd name="T86" fmla="*/ 68 w 323"/>
                <a:gd name="T87" fmla="*/ 241 h 323"/>
                <a:gd name="T88" fmla="*/ 28 w 323"/>
                <a:gd name="T89" fmla="*/ 251 h 323"/>
                <a:gd name="T90" fmla="*/ 116 w 323"/>
                <a:gd name="T91" fmla="*/ 316 h 323"/>
                <a:gd name="T92" fmla="*/ 126 w 323"/>
                <a:gd name="T93" fmla="*/ 287 h 323"/>
                <a:gd name="T94" fmla="*/ 125 w 323"/>
                <a:gd name="T95" fmla="*/ 278 h 323"/>
                <a:gd name="T96" fmla="*/ 90 w 323"/>
                <a:gd name="T97" fmla="*/ 244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3" h="323">
                  <a:moveTo>
                    <a:pt x="71" y="183"/>
                  </a:moveTo>
                  <a:cubicBezTo>
                    <a:pt x="49" y="182"/>
                    <a:pt x="27" y="158"/>
                    <a:pt x="23" y="128"/>
                  </a:cubicBezTo>
                  <a:cubicBezTo>
                    <a:pt x="19" y="98"/>
                    <a:pt x="34" y="76"/>
                    <a:pt x="57" y="76"/>
                  </a:cubicBezTo>
                  <a:cubicBezTo>
                    <a:pt x="80" y="77"/>
                    <a:pt x="101" y="101"/>
                    <a:pt x="105" y="130"/>
                  </a:cubicBezTo>
                  <a:cubicBezTo>
                    <a:pt x="109" y="160"/>
                    <a:pt x="94" y="184"/>
                    <a:pt x="71" y="183"/>
                  </a:cubicBezTo>
                  <a:close/>
                  <a:moveTo>
                    <a:pt x="20" y="239"/>
                  </a:moveTo>
                  <a:cubicBezTo>
                    <a:pt x="32" y="235"/>
                    <a:pt x="45" y="232"/>
                    <a:pt x="59" y="232"/>
                  </a:cubicBezTo>
                  <a:cubicBezTo>
                    <a:pt x="64" y="232"/>
                    <a:pt x="69" y="232"/>
                    <a:pt x="74" y="232"/>
                  </a:cubicBezTo>
                  <a:cubicBezTo>
                    <a:pt x="67" y="226"/>
                    <a:pt x="62" y="218"/>
                    <a:pt x="62" y="208"/>
                  </a:cubicBezTo>
                  <a:cubicBezTo>
                    <a:pt x="62" y="202"/>
                    <a:pt x="64" y="197"/>
                    <a:pt x="67" y="192"/>
                  </a:cubicBezTo>
                  <a:cubicBezTo>
                    <a:pt x="64" y="192"/>
                    <a:pt x="61" y="192"/>
                    <a:pt x="58" y="192"/>
                  </a:cubicBezTo>
                  <a:cubicBezTo>
                    <a:pt x="32" y="192"/>
                    <a:pt x="11" y="179"/>
                    <a:pt x="0" y="160"/>
                  </a:cubicBezTo>
                  <a:cubicBezTo>
                    <a:pt x="0" y="161"/>
                    <a:pt x="0" y="161"/>
                    <a:pt x="0" y="162"/>
                  </a:cubicBezTo>
                  <a:cubicBezTo>
                    <a:pt x="0" y="190"/>
                    <a:pt x="8" y="216"/>
                    <a:pt x="20" y="239"/>
                  </a:cubicBezTo>
                  <a:close/>
                  <a:moveTo>
                    <a:pt x="323" y="162"/>
                  </a:moveTo>
                  <a:cubicBezTo>
                    <a:pt x="323" y="251"/>
                    <a:pt x="251" y="323"/>
                    <a:pt x="162" y="323"/>
                  </a:cubicBezTo>
                  <a:cubicBezTo>
                    <a:pt x="152" y="323"/>
                    <a:pt x="143" y="322"/>
                    <a:pt x="134" y="321"/>
                  </a:cubicBezTo>
                  <a:cubicBezTo>
                    <a:pt x="143" y="310"/>
                    <a:pt x="149" y="297"/>
                    <a:pt x="149" y="284"/>
                  </a:cubicBezTo>
                  <a:cubicBezTo>
                    <a:pt x="149" y="258"/>
                    <a:pt x="141" y="243"/>
                    <a:pt x="118" y="227"/>
                  </a:cubicBezTo>
                  <a:cubicBezTo>
                    <a:pt x="110" y="221"/>
                    <a:pt x="95" y="208"/>
                    <a:pt x="95" y="200"/>
                  </a:cubicBezTo>
                  <a:cubicBezTo>
                    <a:pt x="95" y="190"/>
                    <a:pt x="98" y="186"/>
                    <a:pt x="112" y="175"/>
                  </a:cubicBezTo>
                  <a:cubicBezTo>
                    <a:pt x="126" y="163"/>
                    <a:pt x="137" y="147"/>
                    <a:pt x="137" y="129"/>
                  </a:cubicBezTo>
                  <a:cubicBezTo>
                    <a:pt x="137" y="107"/>
                    <a:pt x="127" y="85"/>
                    <a:pt x="108" y="78"/>
                  </a:cubicBezTo>
                  <a:cubicBezTo>
                    <a:pt x="136" y="78"/>
                    <a:pt x="136" y="78"/>
                    <a:pt x="136" y="78"/>
                  </a:cubicBezTo>
                  <a:cubicBezTo>
                    <a:pt x="156" y="64"/>
                    <a:pt x="156" y="64"/>
                    <a:pt x="156" y="64"/>
                  </a:cubicBezTo>
                  <a:cubicBezTo>
                    <a:pt x="68" y="64"/>
                    <a:pt x="68" y="64"/>
                    <a:pt x="68" y="64"/>
                  </a:cubicBezTo>
                  <a:cubicBezTo>
                    <a:pt x="52" y="64"/>
                    <a:pt x="37" y="69"/>
                    <a:pt x="24" y="77"/>
                  </a:cubicBezTo>
                  <a:cubicBezTo>
                    <a:pt x="53" y="31"/>
                    <a:pt x="104" y="0"/>
                    <a:pt x="162" y="0"/>
                  </a:cubicBezTo>
                  <a:cubicBezTo>
                    <a:pt x="251" y="0"/>
                    <a:pt x="323" y="72"/>
                    <a:pt x="323" y="162"/>
                  </a:cubicBezTo>
                  <a:close/>
                  <a:moveTo>
                    <a:pt x="292" y="138"/>
                  </a:moveTo>
                  <a:cubicBezTo>
                    <a:pt x="292" y="117"/>
                    <a:pt x="292" y="117"/>
                    <a:pt x="292" y="117"/>
                  </a:cubicBezTo>
                  <a:cubicBezTo>
                    <a:pt x="239" y="117"/>
                    <a:pt x="239" y="117"/>
                    <a:pt x="239" y="117"/>
                  </a:cubicBezTo>
                  <a:cubicBezTo>
                    <a:pt x="239" y="64"/>
                    <a:pt x="239" y="64"/>
                    <a:pt x="239" y="64"/>
                  </a:cubicBezTo>
                  <a:cubicBezTo>
                    <a:pt x="217" y="64"/>
                    <a:pt x="217" y="64"/>
                    <a:pt x="217" y="64"/>
                  </a:cubicBezTo>
                  <a:cubicBezTo>
                    <a:pt x="217" y="117"/>
                    <a:pt x="217" y="117"/>
                    <a:pt x="217" y="117"/>
                  </a:cubicBezTo>
                  <a:cubicBezTo>
                    <a:pt x="164" y="117"/>
                    <a:pt x="164" y="117"/>
                    <a:pt x="164" y="117"/>
                  </a:cubicBezTo>
                  <a:cubicBezTo>
                    <a:pt x="164" y="138"/>
                    <a:pt x="164" y="138"/>
                    <a:pt x="164" y="138"/>
                  </a:cubicBezTo>
                  <a:cubicBezTo>
                    <a:pt x="217" y="138"/>
                    <a:pt x="217" y="138"/>
                    <a:pt x="217" y="138"/>
                  </a:cubicBezTo>
                  <a:cubicBezTo>
                    <a:pt x="217" y="192"/>
                    <a:pt x="217" y="192"/>
                    <a:pt x="217" y="192"/>
                  </a:cubicBezTo>
                  <a:cubicBezTo>
                    <a:pt x="239" y="192"/>
                    <a:pt x="239" y="192"/>
                    <a:pt x="239" y="192"/>
                  </a:cubicBezTo>
                  <a:cubicBezTo>
                    <a:pt x="239" y="138"/>
                    <a:pt x="239" y="138"/>
                    <a:pt x="239" y="138"/>
                  </a:cubicBezTo>
                  <a:lnTo>
                    <a:pt x="292" y="138"/>
                  </a:lnTo>
                  <a:close/>
                  <a:moveTo>
                    <a:pt x="90" y="244"/>
                  </a:moveTo>
                  <a:cubicBezTo>
                    <a:pt x="83" y="242"/>
                    <a:pt x="76" y="241"/>
                    <a:pt x="68" y="241"/>
                  </a:cubicBezTo>
                  <a:cubicBezTo>
                    <a:pt x="53" y="240"/>
                    <a:pt x="39" y="244"/>
                    <a:pt x="28" y="251"/>
                  </a:cubicBezTo>
                  <a:cubicBezTo>
                    <a:pt x="48" y="282"/>
                    <a:pt x="79" y="306"/>
                    <a:pt x="116" y="316"/>
                  </a:cubicBezTo>
                  <a:cubicBezTo>
                    <a:pt x="123" y="309"/>
                    <a:pt x="126" y="299"/>
                    <a:pt x="126" y="287"/>
                  </a:cubicBezTo>
                  <a:cubicBezTo>
                    <a:pt x="126" y="284"/>
                    <a:pt x="126" y="281"/>
                    <a:pt x="125" y="278"/>
                  </a:cubicBezTo>
                  <a:cubicBezTo>
                    <a:pt x="121" y="264"/>
                    <a:pt x="108" y="257"/>
                    <a:pt x="90" y="2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7644884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ocial Media Library (SVGs)</a:t>
            </a:r>
          </a:p>
        </p:txBody>
      </p:sp>
      <p:grpSp>
        <p:nvGrpSpPr>
          <p:cNvPr id="96" name="Group 95">
            <a:extLst>
              <a:ext uri="{FF2B5EF4-FFF2-40B4-BE49-F238E27FC236}">
                <a16:creationId xmlns:a16="http://schemas.microsoft.com/office/drawing/2014/main" id="{30623939-D63C-C340-8C52-115D89BA6F97}"/>
              </a:ext>
            </a:extLst>
          </p:cNvPr>
          <p:cNvGrpSpPr/>
          <p:nvPr/>
        </p:nvGrpSpPr>
        <p:grpSpPr>
          <a:xfrm>
            <a:off x="1435784" y="2680527"/>
            <a:ext cx="9320432" cy="1496947"/>
            <a:chOff x="2263467" y="2661815"/>
            <a:chExt cx="7665066" cy="1231080"/>
          </a:xfrm>
        </p:grpSpPr>
        <p:pic>
          <p:nvPicPr>
            <p:cNvPr id="54" name="Graphic 53">
              <a:extLst>
                <a:ext uri="{FF2B5EF4-FFF2-40B4-BE49-F238E27FC236}">
                  <a16:creationId xmlns:a16="http://schemas.microsoft.com/office/drawing/2014/main" id="{A4A2B03E-4D16-B046-806B-D6468544E29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63467" y="3501623"/>
              <a:ext cx="723569" cy="320040"/>
            </a:xfrm>
            <a:prstGeom prst="rect">
              <a:avLst/>
            </a:prstGeom>
          </p:spPr>
        </p:pic>
        <p:pic>
          <p:nvPicPr>
            <p:cNvPr id="60" name="Graphic 59">
              <a:extLst>
                <a:ext uri="{FF2B5EF4-FFF2-40B4-BE49-F238E27FC236}">
                  <a16:creationId xmlns:a16="http://schemas.microsoft.com/office/drawing/2014/main" id="{B14DF288-4E51-7B4B-85E4-45B6E7E90FD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14054" y="3521821"/>
              <a:ext cx="998728" cy="279644"/>
            </a:xfrm>
            <a:prstGeom prst="rect">
              <a:avLst/>
            </a:prstGeom>
          </p:spPr>
        </p:pic>
        <p:pic>
          <p:nvPicPr>
            <p:cNvPr id="65" name="Graphic 64">
              <a:extLst>
                <a:ext uri="{FF2B5EF4-FFF2-40B4-BE49-F238E27FC236}">
                  <a16:creationId xmlns:a16="http://schemas.microsoft.com/office/drawing/2014/main" id="{5A5601A4-8830-C24C-9952-6C7479B7E63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639801" y="3501623"/>
              <a:ext cx="988592" cy="320040"/>
            </a:xfrm>
            <a:prstGeom prst="rect">
              <a:avLst/>
            </a:prstGeom>
          </p:spPr>
        </p:pic>
        <p:pic>
          <p:nvPicPr>
            <p:cNvPr id="79" name="Graphic 78">
              <a:extLst>
                <a:ext uri="{FF2B5EF4-FFF2-40B4-BE49-F238E27FC236}">
                  <a16:creationId xmlns:a16="http://schemas.microsoft.com/office/drawing/2014/main" id="{4B4F7A81-35B4-1346-A0FD-EDBADB9EAC6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55412" y="3430392"/>
              <a:ext cx="402696" cy="462503"/>
            </a:xfrm>
            <a:prstGeom prst="rect">
              <a:avLst/>
            </a:prstGeom>
          </p:spPr>
        </p:pic>
        <p:pic>
          <p:nvPicPr>
            <p:cNvPr id="83" name="Graphic 82">
              <a:extLst>
                <a:ext uri="{FF2B5EF4-FFF2-40B4-BE49-F238E27FC236}">
                  <a16:creationId xmlns:a16="http://schemas.microsoft.com/office/drawing/2014/main" id="{7F254223-D9A3-1941-BE9D-8EFFF5DDE00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85127" y="3478763"/>
              <a:ext cx="365371" cy="365760"/>
            </a:xfrm>
            <a:prstGeom prst="rect">
              <a:avLst/>
            </a:prstGeom>
          </p:spPr>
        </p:pic>
        <p:pic>
          <p:nvPicPr>
            <p:cNvPr id="85" name="Graphic 84">
              <a:extLst>
                <a:ext uri="{FF2B5EF4-FFF2-40B4-BE49-F238E27FC236}">
                  <a16:creationId xmlns:a16="http://schemas.microsoft.com/office/drawing/2014/main" id="{A848E752-B9C8-4146-891D-17478FF1854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77517" y="3501623"/>
              <a:ext cx="1170877" cy="320040"/>
            </a:xfrm>
            <a:prstGeom prst="rect">
              <a:avLst/>
            </a:prstGeom>
          </p:spPr>
        </p:pic>
        <p:pic>
          <p:nvPicPr>
            <p:cNvPr id="87" name="Graphic 86">
              <a:extLst>
                <a:ext uri="{FF2B5EF4-FFF2-40B4-BE49-F238E27FC236}">
                  <a16:creationId xmlns:a16="http://schemas.microsoft.com/office/drawing/2014/main" id="{3F785215-BF05-6041-AB33-23345152A52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875411" y="3501623"/>
              <a:ext cx="1053122" cy="320040"/>
            </a:xfrm>
            <a:prstGeom prst="rect">
              <a:avLst/>
            </a:prstGeom>
          </p:spPr>
        </p:pic>
        <p:pic>
          <p:nvPicPr>
            <p:cNvPr id="93" name="Graphic 92">
              <a:extLst>
                <a:ext uri="{FF2B5EF4-FFF2-40B4-BE49-F238E27FC236}">
                  <a16:creationId xmlns:a16="http://schemas.microsoft.com/office/drawing/2014/main" id="{24DACDAC-07B2-654A-A82E-1F918141A8F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898380" y="2661815"/>
              <a:ext cx="946205" cy="320040"/>
            </a:xfrm>
            <a:prstGeom prst="rect">
              <a:avLst/>
            </a:prstGeom>
          </p:spPr>
        </p:pic>
        <p:pic>
          <p:nvPicPr>
            <p:cNvPr id="18" name="Graphic 17">
              <a:extLst>
                <a:ext uri="{FF2B5EF4-FFF2-40B4-BE49-F238E27FC236}">
                  <a16:creationId xmlns:a16="http://schemas.microsoft.com/office/drawing/2014/main" id="{B4F75963-0951-8241-ACDA-0031E881A115}"/>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346297" y="2661815"/>
              <a:ext cx="1311617" cy="320040"/>
            </a:xfrm>
            <a:prstGeom prst="rect">
              <a:avLst/>
            </a:prstGeom>
          </p:spPr>
        </p:pic>
        <p:pic>
          <p:nvPicPr>
            <p:cNvPr id="31" name="Graphic 30">
              <a:extLst>
                <a:ext uri="{FF2B5EF4-FFF2-40B4-BE49-F238E27FC236}">
                  <a16:creationId xmlns:a16="http://schemas.microsoft.com/office/drawing/2014/main" id="{CAF54E74-4827-AE4F-AAAB-C5BD03C6B06D}"/>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987065" y="2685769"/>
              <a:ext cx="1118766" cy="272132"/>
            </a:xfrm>
            <a:prstGeom prst="rect">
              <a:avLst/>
            </a:prstGeom>
          </p:spPr>
        </p:pic>
        <p:pic>
          <p:nvPicPr>
            <p:cNvPr id="36" name="Graphic 35">
              <a:extLst>
                <a:ext uri="{FF2B5EF4-FFF2-40B4-BE49-F238E27FC236}">
                  <a16:creationId xmlns:a16="http://schemas.microsoft.com/office/drawing/2014/main" id="{BF2D5BAF-FB78-8E43-BC48-8BADF650439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353107" y="2661815"/>
              <a:ext cx="393492" cy="320040"/>
            </a:xfrm>
            <a:prstGeom prst="rect">
              <a:avLst/>
            </a:prstGeom>
          </p:spPr>
        </p:pic>
        <p:pic>
          <p:nvPicPr>
            <p:cNvPr id="48" name="Graphic 47">
              <a:extLst>
                <a:ext uri="{FF2B5EF4-FFF2-40B4-BE49-F238E27FC236}">
                  <a16:creationId xmlns:a16="http://schemas.microsoft.com/office/drawing/2014/main" id="{5008D21E-3365-104A-B28C-D332FA1A337F}"/>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263467" y="2661815"/>
              <a:ext cx="849174" cy="320040"/>
            </a:xfrm>
            <a:prstGeom prst="rect">
              <a:avLst/>
            </a:prstGeom>
          </p:spPr>
        </p:pic>
        <p:pic>
          <p:nvPicPr>
            <p:cNvPr id="89" name="Graphic 88">
              <a:extLst>
                <a:ext uri="{FF2B5EF4-FFF2-40B4-BE49-F238E27FC236}">
                  <a16:creationId xmlns:a16="http://schemas.microsoft.com/office/drawing/2014/main" id="{0FE39451-33D8-6446-90F4-C60ADB53D6A7}"/>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085051" y="2661815"/>
              <a:ext cx="320040" cy="320040"/>
            </a:xfrm>
            <a:prstGeom prst="rect">
              <a:avLst/>
            </a:prstGeom>
          </p:spPr>
        </p:pic>
        <p:pic>
          <p:nvPicPr>
            <p:cNvPr id="91" name="Graphic 90">
              <a:extLst>
                <a:ext uri="{FF2B5EF4-FFF2-40B4-BE49-F238E27FC236}">
                  <a16:creationId xmlns:a16="http://schemas.microsoft.com/office/drawing/2014/main" id="{BD18E2BB-6441-9444-A6B5-88BFA92EB8D4}"/>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8645557" y="2680033"/>
              <a:ext cx="1282975" cy="283605"/>
            </a:xfrm>
            <a:prstGeom prst="rect">
              <a:avLst/>
            </a:prstGeom>
          </p:spPr>
        </p:pic>
      </p:grpSp>
    </p:spTree>
    <p:extLst>
      <p:ext uri="{BB962C8B-B14F-4D97-AF65-F5344CB8AC3E}">
        <p14:creationId xmlns:p14="http://schemas.microsoft.com/office/powerpoint/2010/main" val="18227349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Black Vignette .</a:t>
            </a:r>
            <a:r>
              <a:rPr lang="en-US" dirty="0" err="1"/>
              <a:t>pngs</a:t>
            </a:r>
            <a:r>
              <a:rPr lang="en-US" dirty="0"/>
              <a:t> (resize to full screen or to fit photo)</a:t>
            </a:r>
          </a:p>
        </p:txBody>
      </p:sp>
      <p:grpSp>
        <p:nvGrpSpPr>
          <p:cNvPr id="13" name="Group 12">
            <a:extLst>
              <a:ext uri="{FF2B5EF4-FFF2-40B4-BE49-F238E27FC236}">
                <a16:creationId xmlns:a16="http://schemas.microsoft.com/office/drawing/2014/main" id="{291B2519-93F1-724B-82CE-11C02E248B8A}"/>
              </a:ext>
            </a:extLst>
          </p:cNvPr>
          <p:cNvGrpSpPr/>
          <p:nvPr/>
        </p:nvGrpSpPr>
        <p:grpSpPr>
          <a:xfrm>
            <a:off x="898774" y="1416229"/>
            <a:ext cx="6585833" cy="4339802"/>
            <a:chOff x="898774" y="1416229"/>
            <a:chExt cx="6585833" cy="4339802"/>
          </a:xfrm>
        </p:grpSpPr>
        <p:pic>
          <p:nvPicPr>
            <p:cNvPr id="4" name="Picture 3" descr="vignett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8774" y="1416230"/>
              <a:ext cx="3500218" cy="2076067"/>
            </a:xfrm>
            <a:prstGeom prst="rect">
              <a:avLst/>
            </a:prstGeom>
          </p:spPr>
        </p:pic>
        <p:pic>
          <p:nvPicPr>
            <p:cNvPr id="5" name="Picture 4" descr="vignette.png"/>
            <p:cNvPicPr>
              <a:picLocks/>
            </p:cNvPicPr>
            <p:nvPr/>
          </p:nvPicPr>
          <p:blipFill>
            <a:blip r:embed="rId2">
              <a:extLst>
                <a:ext uri="{28A0092B-C50C-407E-A947-70E740481C1C}">
                  <a14:useLocalDpi xmlns:a14="http://schemas.microsoft.com/office/drawing/2010/main" val="0"/>
                </a:ext>
              </a:extLst>
            </a:blip>
            <a:stretch>
              <a:fillRect/>
            </a:stretch>
          </p:blipFill>
          <p:spPr>
            <a:xfrm>
              <a:off x="4723083" y="1416229"/>
              <a:ext cx="2761524" cy="2071142"/>
            </a:xfrm>
            <a:prstGeom prst="rect">
              <a:avLst/>
            </a:prstGeom>
          </p:spPr>
        </p:pic>
        <p:pic>
          <p:nvPicPr>
            <p:cNvPr id="6" name="Picture 5" descr="vignette-lighte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8774" y="3692091"/>
              <a:ext cx="3500218" cy="2063940"/>
            </a:xfrm>
            <a:prstGeom prst="rect">
              <a:avLst/>
            </a:prstGeom>
          </p:spPr>
        </p:pic>
        <p:pic>
          <p:nvPicPr>
            <p:cNvPr id="7" name="Picture 6" descr="vignette-lighter.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23083" y="3692091"/>
              <a:ext cx="2761524" cy="2063940"/>
            </a:xfrm>
            <a:prstGeom prst="rect">
              <a:avLst/>
            </a:prstGeom>
          </p:spPr>
        </p:pic>
      </p:grpSp>
      <p:pic>
        <p:nvPicPr>
          <p:cNvPr id="8" name="Picture 7" descr="IMG_8765.jpg">
            <a:extLst>
              <a:ext uri="{FF2B5EF4-FFF2-40B4-BE49-F238E27FC236}">
                <a16:creationId xmlns:a16="http://schemas.microsoft.com/office/drawing/2014/main" id="{37B768EF-A37B-4144-8CD3-11704657020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94219" y="2451800"/>
            <a:ext cx="2984985" cy="1989990"/>
          </a:xfrm>
          <a:prstGeom prst="rect">
            <a:avLst/>
          </a:prstGeom>
        </p:spPr>
      </p:pic>
      <p:pic>
        <p:nvPicPr>
          <p:cNvPr id="9" name="Picture 8" descr="vignette.png">
            <a:extLst>
              <a:ext uri="{FF2B5EF4-FFF2-40B4-BE49-F238E27FC236}">
                <a16:creationId xmlns:a16="http://schemas.microsoft.com/office/drawing/2014/main" id="{83CA91C6-B3DE-A549-991C-75EB9373F4C2}"/>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8576910" y="2616501"/>
            <a:ext cx="2984985" cy="1989990"/>
          </a:xfrm>
          <a:prstGeom prst="rect">
            <a:avLst/>
          </a:prstGeom>
        </p:spPr>
      </p:pic>
      <p:sp>
        <p:nvSpPr>
          <p:cNvPr id="12" name="Title 2">
            <a:extLst>
              <a:ext uri="{FF2B5EF4-FFF2-40B4-BE49-F238E27FC236}">
                <a16:creationId xmlns:a16="http://schemas.microsoft.com/office/drawing/2014/main" id="{6C66C35A-39EC-8E45-9E4D-FD6B4E112DD2}"/>
              </a:ext>
            </a:extLst>
          </p:cNvPr>
          <p:cNvSpPr txBox="1">
            <a:spLocks/>
          </p:cNvSpPr>
          <p:nvPr/>
        </p:nvSpPr>
        <p:spPr>
          <a:xfrm>
            <a:off x="8312157" y="4889623"/>
            <a:ext cx="3532550" cy="419629"/>
          </a:xfrm>
          <a:prstGeom prst="rect">
            <a:avLst/>
          </a:prstGeom>
        </p:spPr>
        <p:txBody>
          <a:bodyPr vert="horz" lIns="91440" tIns="45720" rIns="91440" bIns="45720" rtlCol="0" anchor="ctr">
            <a:normAutofit/>
          </a:bodyPr>
          <a:lstStyle>
            <a:lvl1pPr algn="l" defTabSz="457200" rtl="0" eaLnBrk="1" latinLnBrk="0" hangingPunct="1">
              <a:spcBef>
                <a:spcPct val="0"/>
              </a:spcBef>
              <a:buNone/>
              <a:defRPr lang="en-US" sz="2000" b="0" i="0" kern="1200">
                <a:solidFill>
                  <a:srgbClr val="7F7F7F"/>
                </a:solidFill>
                <a:latin typeface="Tw Cen MT Regular"/>
                <a:ea typeface="+mj-ea"/>
                <a:cs typeface="Gill Sans"/>
              </a:defRPr>
            </a:lvl1pPr>
          </a:lstStyle>
          <a:p>
            <a:pPr algn="ctr"/>
            <a:r>
              <a:rPr lang="en-US" sz="1600" i="1" dirty="0"/>
              <a:t>Place over an image for added depth</a:t>
            </a:r>
          </a:p>
        </p:txBody>
      </p:sp>
    </p:spTree>
    <p:extLst>
      <p:ext uri="{BB962C8B-B14F-4D97-AF65-F5344CB8AC3E}">
        <p14:creationId xmlns:p14="http://schemas.microsoft.com/office/powerpoint/2010/main" val="23680327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orted Shapes &amp; Elements (PPT Native)</a:t>
            </a:r>
          </a:p>
        </p:txBody>
      </p:sp>
      <p:grpSp>
        <p:nvGrpSpPr>
          <p:cNvPr id="3" name="Group 11"/>
          <p:cNvGrpSpPr/>
          <p:nvPr/>
        </p:nvGrpSpPr>
        <p:grpSpPr>
          <a:xfrm>
            <a:off x="10720464" y="0"/>
            <a:ext cx="1481671" cy="1481671"/>
            <a:chOff x="7670796" y="0"/>
            <a:chExt cx="1481671" cy="1481671"/>
          </a:xfrm>
        </p:grpSpPr>
        <p:sp>
          <p:nvSpPr>
            <p:cNvPr id="4" name="Right Triangle 3"/>
            <p:cNvSpPr/>
            <p:nvPr/>
          </p:nvSpPr>
          <p:spPr>
            <a:xfrm rot="10800000">
              <a:off x="7670796" y="0"/>
              <a:ext cx="1481671" cy="1481671"/>
            </a:xfrm>
            <a:prstGeom prst="rtTriangle">
              <a:avLst/>
            </a:prstGeom>
            <a:solidFill>
              <a:srgbClr val="EC1EBC"/>
            </a:solidFill>
            <a:ln>
              <a:noFill/>
            </a:ln>
            <a:effectLst>
              <a:outerShdw blurRad="127000" dist="38100" dir="19740000">
                <a:schemeClr val="tx1">
                  <a:alpha val="2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sp>
          <p:nvSpPr>
            <p:cNvPr id="5" name="TextBox 4"/>
            <p:cNvSpPr txBox="1"/>
            <p:nvPr/>
          </p:nvSpPr>
          <p:spPr>
            <a:xfrm rot="2700000">
              <a:off x="8062560" y="329152"/>
              <a:ext cx="1048685" cy="455894"/>
            </a:xfrm>
            <a:prstGeom prst="rect">
              <a:avLst/>
            </a:prstGeom>
            <a:noFill/>
          </p:spPr>
          <p:txBody>
            <a:bodyPr wrap="none" rtlCol="0">
              <a:spAutoFit/>
            </a:bodyPr>
            <a:lstStyle/>
            <a:p>
              <a:pPr algn="ctr">
                <a:lnSpc>
                  <a:spcPts val="1400"/>
                </a:lnSpc>
              </a:pPr>
              <a:r>
                <a:rPr lang="en-US" sz="1500" cap="all" dirty="0">
                  <a:solidFill>
                    <a:schemeClr val="bg1"/>
                  </a:solidFill>
                  <a:latin typeface="Tw Cen MT Regular"/>
                  <a:cs typeface="Gill Sans"/>
                </a:rPr>
                <a:t>Design in</a:t>
              </a:r>
              <a:br>
                <a:rPr lang="en-US" sz="1500" cap="all" dirty="0">
                  <a:solidFill>
                    <a:schemeClr val="bg1"/>
                  </a:solidFill>
                  <a:latin typeface="Tw Cen MT Regular"/>
                  <a:cs typeface="Gill Sans"/>
                </a:rPr>
              </a:br>
              <a:r>
                <a:rPr lang="en-US" sz="1500" cap="all" dirty="0">
                  <a:solidFill>
                    <a:schemeClr val="bg1"/>
                  </a:solidFill>
                  <a:latin typeface="Tw Cen MT Regular"/>
                  <a:cs typeface="Gill Sans"/>
                </a:rPr>
                <a:t>Progress</a:t>
              </a:r>
            </a:p>
          </p:txBody>
        </p:sp>
      </p:grpSp>
      <p:grpSp>
        <p:nvGrpSpPr>
          <p:cNvPr id="6" name="Group 7"/>
          <p:cNvGrpSpPr/>
          <p:nvPr/>
        </p:nvGrpSpPr>
        <p:grpSpPr>
          <a:xfrm>
            <a:off x="9532341" y="3"/>
            <a:ext cx="1481671" cy="1481671"/>
            <a:chOff x="7670796" y="0"/>
            <a:chExt cx="1481671" cy="1481671"/>
          </a:xfrm>
        </p:grpSpPr>
        <p:sp>
          <p:nvSpPr>
            <p:cNvPr id="7" name="Freeform 6"/>
            <p:cNvSpPr/>
            <p:nvPr/>
          </p:nvSpPr>
          <p:spPr>
            <a:xfrm rot="10800000">
              <a:off x="7670796" y="0"/>
              <a:ext cx="1481671" cy="1481671"/>
            </a:xfrm>
            <a:custGeom>
              <a:avLst/>
              <a:gdLst>
                <a:gd name="connsiteX0" fmla="*/ 0 w 1481671"/>
                <a:gd name="connsiteY0" fmla="*/ 1481671 h 1481671"/>
                <a:gd name="connsiteX1" fmla="*/ 0 w 1481671"/>
                <a:gd name="connsiteY1" fmla="*/ 0 h 1481671"/>
                <a:gd name="connsiteX2" fmla="*/ 1481671 w 1481671"/>
                <a:gd name="connsiteY2" fmla="*/ 1481671 h 1481671"/>
                <a:gd name="connsiteX3" fmla="*/ 0 w 1481671"/>
                <a:gd name="connsiteY3" fmla="*/ 1481671 h 1481671"/>
                <a:gd name="connsiteX0" fmla="*/ 0 w 1481671"/>
                <a:gd name="connsiteY0" fmla="*/ 1481671 h 1485904"/>
                <a:gd name="connsiteX1" fmla="*/ 0 w 1481671"/>
                <a:gd name="connsiteY1" fmla="*/ 0 h 1485904"/>
                <a:gd name="connsiteX2" fmla="*/ 1481671 w 1481671"/>
                <a:gd name="connsiteY2" fmla="*/ 1481671 h 1485904"/>
                <a:gd name="connsiteX3" fmla="*/ 787400 w 1481671"/>
                <a:gd name="connsiteY3" fmla="*/ 1485904 h 1485904"/>
                <a:gd name="connsiteX4" fmla="*/ 0 w 1481671"/>
                <a:gd name="connsiteY4" fmla="*/ 1481671 h 1485904"/>
                <a:gd name="connsiteX0" fmla="*/ 0 w 1481671"/>
                <a:gd name="connsiteY0" fmla="*/ 1481671 h 1481671"/>
                <a:gd name="connsiteX1" fmla="*/ 0 w 1481671"/>
                <a:gd name="connsiteY1" fmla="*/ 0 h 1481671"/>
                <a:gd name="connsiteX2" fmla="*/ 1481671 w 1481671"/>
                <a:gd name="connsiteY2" fmla="*/ 1481671 h 1481671"/>
                <a:gd name="connsiteX3" fmla="*/ 736600 w 1481671"/>
                <a:gd name="connsiteY3" fmla="*/ 1481670 h 1481671"/>
                <a:gd name="connsiteX4" fmla="*/ 0 w 1481671"/>
                <a:gd name="connsiteY4" fmla="*/ 1481671 h 1481671"/>
                <a:gd name="connsiteX0" fmla="*/ 0 w 1481671"/>
                <a:gd name="connsiteY0" fmla="*/ 1481671 h 1481671"/>
                <a:gd name="connsiteX1" fmla="*/ 5292 w 1481671"/>
                <a:gd name="connsiteY1" fmla="*/ 678396 h 1481671"/>
                <a:gd name="connsiteX2" fmla="*/ 0 w 1481671"/>
                <a:gd name="connsiteY2" fmla="*/ 0 h 1481671"/>
                <a:gd name="connsiteX3" fmla="*/ 1481671 w 1481671"/>
                <a:gd name="connsiteY3" fmla="*/ 1481671 h 1481671"/>
                <a:gd name="connsiteX4" fmla="*/ 736600 w 1481671"/>
                <a:gd name="connsiteY4" fmla="*/ 1481670 h 1481671"/>
                <a:gd name="connsiteX5" fmla="*/ 0 w 1481671"/>
                <a:gd name="connsiteY5" fmla="*/ 1481671 h 1481671"/>
                <a:gd name="connsiteX0" fmla="*/ 0 w 1481671"/>
                <a:gd name="connsiteY0" fmla="*/ 1481671 h 1481671"/>
                <a:gd name="connsiteX1" fmla="*/ 5292 w 1481671"/>
                <a:gd name="connsiteY1" fmla="*/ 678396 h 1481671"/>
                <a:gd name="connsiteX2" fmla="*/ 5292 w 1481671"/>
                <a:gd name="connsiteY2" fmla="*/ 726021 h 1481671"/>
                <a:gd name="connsiteX3" fmla="*/ 0 w 1481671"/>
                <a:gd name="connsiteY3" fmla="*/ 0 h 1481671"/>
                <a:gd name="connsiteX4" fmla="*/ 1481671 w 1481671"/>
                <a:gd name="connsiteY4" fmla="*/ 1481671 h 1481671"/>
                <a:gd name="connsiteX5" fmla="*/ 736600 w 1481671"/>
                <a:gd name="connsiteY5" fmla="*/ 1481670 h 1481671"/>
                <a:gd name="connsiteX6" fmla="*/ 0 w 1481671"/>
                <a:gd name="connsiteY6" fmla="*/ 1481671 h 1481671"/>
                <a:gd name="connsiteX0" fmla="*/ 0 w 1481671"/>
                <a:gd name="connsiteY0" fmla="*/ 1481671 h 1481671"/>
                <a:gd name="connsiteX1" fmla="*/ 5292 w 1481671"/>
                <a:gd name="connsiteY1" fmla="*/ 678396 h 1481671"/>
                <a:gd name="connsiteX2" fmla="*/ 5292 w 1481671"/>
                <a:gd name="connsiteY2" fmla="*/ 726021 h 1481671"/>
                <a:gd name="connsiteX3" fmla="*/ 5292 w 1481671"/>
                <a:gd name="connsiteY3" fmla="*/ 741896 h 1481671"/>
                <a:gd name="connsiteX4" fmla="*/ 0 w 1481671"/>
                <a:gd name="connsiteY4" fmla="*/ 0 h 1481671"/>
                <a:gd name="connsiteX5" fmla="*/ 1481671 w 1481671"/>
                <a:gd name="connsiteY5" fmla="*/ 1481671 h 1481671"/>
                <a:gd name="connsiteX6" fmla="*/ 736600 w 1481671"/>
                <a:gd name="connsiteY6" fmla="*/ 1481670 h 1481671"/>
                <a:gd name="connsiteX7" fmla="*/ 0 w 1481671"/>
                <a:gd name="connsiteY7" fmla="*/ 1481671 h 1481671"/>
                <a:gd name="connsiteX0" fmla="*/ 736600 w 1481671"/>
                <a:gd name="connsiteY0" fmla="*/ 1481670 h 1481671"/>
                <a:gd name="connsiteX1" fmla="*/ 5292 w 1481671"/>
                <a:gd name="connsiteY1" fmla="*/ 678396 h 1481671"/>
                <a:gd name="connsiteX2" fmla="*/ 5292 w 1481671"/>
                <a:gd name="connsiteY2" fmla="*/ 726021 h 1481671"/>
                <a:gd name="connsiteX3" fmla="*/ 5292 w 1481671"/>
                <a:gd name="connsiteY3" fmla="*/ 741896 h 1481671"/>
                <a:gd name="connsiteX4" fmla="*/ 0 w 1481671"/>
                <a:gd name="connsiteY4" fmla="*/ 0 h 1481671"/>
                <a:gd name="connsiteX5" fmla="*/ 1481671 w 1481671"/>
                <a:gd name="connsiteY5" fmla="*/ 1481671 h 1481671"/>
                <a:gd name="connsiteX6" fmla="*/ 736600 w 1481671"/>
                <a:gd name="connsiteY6" fmla="*/ 1481670 h 1481671"/>
                <a:gd name="connsiteX0" fmla="*/ 736600 w 1481671"/>
                <a:gd name="connsiteY0" fmla="*/ 1481670 h 1481671"/>
                <a:gd name="connsiteX1" fmla="*/ 5292 w 1481671"/>
                <a:gd name="connsiteY1" fmla="*/ 678396 h 1481671"/>
                <a:gd name="connsiteX2" fmla="*/ 5292 w 1481671"/>
                <a:gd name="connsiteY2" fmla="*/ 726021 h 1481671"/>
                <a:gd name="connsiteX3" fmla="*/ 5292 w 1481671"/>
                <a:gd name="connsiteY3" fmla="*/ 741896 h 1481671"/>
                <a:gd name="connsiteX4" fmla="*/ 2118 w 1481671"/>
                <a:gd name="connsiteY4" fmla="*/ 599021 h 1481671"/>
                <a:gd name="connsiteX5" fmla="*/ 0 w 1481671"/>
                <a:gd name="connsiteY5" fmla="*/ 0 h 1481671"/>
                <a:gd name="connsiteX6" fmla="*/ 1481671 w 1481671"/>
                <a:gd name="connsiteY6" fmla="*/ 1481671 h 1481671"/>
                <a:gd name="connsiteX7" fmla="*/ 736600 w 1481671"/>
                <a:gd name="connsiteY7" fmla="*/ 1481670 h 1481671"/>
                <a:gd name="connsiteX0" fmla="*/ 829732 w 1574803"/>
                <a:gd name="connsiteY0" fmla="*/ 1481670 h 1481671"/>
                <a:gd name="connsiteX1" fmla="*/ 98424 w 1574803"/>
                <a:gd name="connsiteY1" fmla="*/ 678396 h 1481671"/>
                <a:gd name="connsiteX2" fmla="*/ 98424 w 1574803"/>
                <a:gd name="connsiteY2" fmla="*/ 726021 h 1481671"/>
                <a:gd name="connsiteX3" fmla="*/ 98424 w 1574803"/>
                <a:gd name="connsiteY3" fmla="*/ 741896 h 1481671"/>
                <a:gd name="connsiteX4" fmla="*/ 0 w 1574803"/>
                <a:gd name="connsiteY4" fmla="*/ 633946 h 1481671"/>
                <a:gd name="connsiteX5" fmla="*/ 95250 w 1574803"/>
                <a:gd name="connsiteY5" fmla="*/ 599021 h 1481671"/>
                <a:gd name="connsiteX6" fmla="*/ 93132 w 1574803"/>
                <a:gd name="connsiteY6" fmla="*/ 0 h 1481671"/>
                <a:gd name="connsiteX7" fmla="*/ 1574803 w 1574803"/>
                <a:gd name="connsiteY7" fmla="*/ 1481671 h 1481671"/>
                <a:gd name="connsiteX8" fmla="*/ 829732 w 1574803"/>
                <a:gd name="connsiteY8" fmla="*/ 1481670 h 1481671"/>
                <a:gd name="connsiteX0" fmla="*/ 736600 w 1481671"/>
                <a:gd name="connsiteY0" fmla="*/ 1481670 h 1481671"/>
                <a:gd name="connsiteX1" fmla="*/ 5292 w 1481671"/>
                <a:gd name="connsiteY1" fmla="*/ 678396 h 1481671"/>
                <a:gd name="connsiteX2" fmla="*/ 5292 w 1481671"/>
                <a:gd name="connsiteY2" fmla="*/ 726021 h 1481671"/>
                <a:gd name="connsiteX3" fmla="*/ 5292 w 1481671"/>
                <a:gd name="connsiteY3" fmla="*/ 741896 h 1481671"/>
                <a:gd name="connsiteX4" fmla="*/ 2118 w 1481671"/>
                <a:gd name="connsiteY4" fmla="*/ 599021 h 1481671"/>
                <a:gd name="connsiteX5" fmla="*/ 0 w 1481671"/>
                <a:gd name="connsiteY5" fmla="*/ 0 h 1481671"/>
                <a:gd name="connsiteX6" fmla="*/ 1481671 w 1481671"/>
                <a:gd name="connsiteY6" fmla="*/ 1481671 h 1481671"/>
                <a:gd name="connsiteX7" fmla="*/ 736600 w 1481671"/>
                <a:gd name="connsiteY7" fmla="*/ 1481670 h 1481671"/>
                <a:gd name="connsiteX0" fmla="*/ 2118 w 1481671"/>
                <a:gd name="connsiteY0" fmla="*/ 599021 h 1481671"/>
                <a:gd name="connsiteX1" fmla="*/ 0 w 1481671"/>
                <a:gd name="connsiteY1" fmla="*/ 0 h 1481671"/>
                <a:gd name="connsiteX2" fmla="*/ 1481671 w 1481671"/>
                <a:gd name="connsiteY2" fmla="*/ 1481671 h 1481671"/>
                <a:gd name="connsiteX3" fmla="*/ 736600 w 1481671"/>
                <a:gd name="connsiteY3" fmla="*/ 1481670 h 1481671"/>
                <a:gd name="connsiteX4" fmla="*/ 5292 w 1481671"/>
                <a:gd name="connsiteY4" fmla="*/ 678396 h 1481671"/>
                <a:gd name="connsiteX5" fmla="*/ 5292 w 1481671"/>
                <a:gd name="connsiteY5" fmla="*/ 726021 h 1481671"/>
                <a:gd name="connsiteX6" fmla="*/ 96732 w 1481671"/>
                <a:gd name="connsiteY6" fmla="*/ 833336 h 1481671"/>
                <a:gd name="connsiteX0" fmla="*/ 2118 w 1481671"/>
                <a:gd name="connsiteY0" fmla="*/ 599021 h 1481671"/>
                <a:gd name="connsiteX1" fmla="*/ 0 w 1481671"/>
                <a:gd name="connsiteY1" fmla="*/ 0 h 1481671"/>
                <a:gd name="connsiteX2" fmla="*/ 1481671 w 1481671"/>
                <a:gd name="connsiteY2" fmla="*/ 1481671 h 1481671"/>
                <a:gd name="connsiteX3" fmla="*/ 736600 w 1481671"/>
                <a:gd name="connsiteY3" fmla="*/ 1481670 h 1481671"/>
                <a:gd name="connsiteX4" fmla="*/ 5292 w 1481671"/>
                <a:gd name="connsiteY4" fmla="*/ 678396 h 1481671"/>
                <a:gd name="connsiteX5" fmla="*/ 5292 w 1481671"/>
                <a:gd name="connsiteY5" fmla="*/ 726021 h 1481671"/>
                <a:gd name="connsiteX0" fmla="*/ 2118 w 1481671"/>
                <a:gd name="connsiteY0" fmla="*/ 599021 h 1481671"/>
                <a:gd name="connsiteX1" fmla="*/ 0 w 1481671"/>
                <a:gd name="connsiteY1" fmla="*/ 0 h 1481671"/>
                <a:gd name="connsiteX2" fmla="*/ 1481671 w 1481671"/>
                <a:gd name="connsiteY2" fmla="*/ 1481671 h 1481671"/>
                <a:gd name="connsiteX3" fmla="*/ 736600 w 1481671"/>
                <a:gd name="connsiteY3" fmla="*/ 1481670 h 1481671"/>
                <a:gd name="connsiteX4" fmla="*/ 5292 w 1481671"/>
                <a:gd name="connsiteY4" fmla="*/ 678396 h 1481671"/>
                <a:gd name="connsiteX0" fmla="*/ 0 w 1481671"/>
                <a:gd name="connsiteY0" fmla="*/ 0 h 1481671"/>
                <a:gd name="connsiteX1" fmla="*/ 1481671 w 1481671"/>
                <a:gd name="connsiteY1" fmla="*/ 1481671 h 1481671"/>
                <a:gd name="connsiteX2" fmla="*/ 736600 w 1481671"/>
                <a:gd name="connsiteY2" fmla="*/ 1481670 h 1481671"/>
                <a:gd name="connsiteX3" fmla="*/ 5292 w 1481671"/>
                <a:gd name="connsiteY3" fmla="*/ 678396 h 1481671"/>
                <a:gd name="connsiteX0" fmla="*/ 1058 w 1482729"/>
                <a:gd name="connsiteY0" fmla="*/ 0 h 1481671"/>
                <a:gd name="connsiteX1" fmla="*/ 1482729 w 1482729"/>
                <a:gd name="connsiteY1" fmla="*/ 1481671 h 1481671"/>
                <a:gd name="connsiteX2" fmla="*/ 737658 w 1482729"/>
                <a:gd name="connsiteY2" fmla="*/ 1481670 h 1481671"/>
                <a:gd name="connsiteX3" fmla="*/ 0 w 1482729"/>
                <a:gd name="connsiteY3" fmla="*/ 678395 h 1481671"/>
                <a:gd name="connsiteX0" fmla="*/ 0 w 1481671"/>
                <a:gd name="connsiteY0" fmla="*/ 0 h 1481671"/>
                <a:gd name="connsiteX1" fmla="*/ 1481671 w 1481671"/>
                <a:gd name="connsiteY1" fmla="*/ 1481671 h 1481671"/>
                <a:gd name="connsiteX2" fmla="*/ 736600 w 1481671"/>
                <a:gd name="connsiteY2" fmla="*/ 1481670 h 1481671"/>
                <a:gd name="connsiteX3" fmla="*/ 2117 w 1481671"/>
                <a:gd name="connsiteY3" fmla="*/ 716495 h 1481671"/>
              </a:gdLst>
              <a:ahLst/>
              <a:cxnLst>
                <a:cxn ang="0">
                  <a:pos x="connsiteX0" y="connsiteY0"/>
                </a:cxn>
                <a:cxn ang="0">
                  <a:pos x="connsiteX1" y="connsiteY1"/>
                </a:cxn>
                <a:cxn ang="0">
                  <a:pos x="connsiteX2" y="connsiteY2"/>
                </a:cxn>
                <a:cxn ang="0">
                  <a:pos x="connsiteX3" y="connsiteY3"/>
                </a:cxn>
              </a:cxnLst>
              <a:rect l="l" t="t" r="r" b="b"/>
              <a:pathLst>
                <a:path w="1481671" h="1481671">
                  <a:moveTo>
                    <a:pt x="0" y="0"/>
                  </a:moveTo>
                  <a:lnTo>
                    <a:pt x="1481671" y="1481671"/>
                  </a:lnTo>
                  <a:lnTo>
                    <a:pt x="736600" y="1481670"/>
                  </a:lnTo>
                  <a:lnTo>
                    <a:pt x="2117" y="716495"/>
                  </a:lnTo>
                </a:path>
              </a:pathLst>
            </a:custGeom>
            <a:solidFill>
              <a:srgbClr val="EC1EBC"/>
            </a:solidFill>
            <a:ln>
              <a:noFill/>
            </a:ln>
            <a:effectLst>
              <a:outerShdw blurRad="127000" dist="38100" dir="19740000">
                <a:schemeClr val="tx1">
                  <a:alpha val="2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sp>
          <p:nvSpPr>
            <p:cNvPr id="8" name="TextBox 7"/>
            <p:cNvSpPr txBox="1"/>
            <p:nvPr/>
          </p:nvSpPr>
          <p:spPr>
            <a:xfrm rot="2774279">
              <a:off x="8046685" y="341852"/>
              <a:ext cx="1048685" cy="455894"/>
            </a:xfrm>
            <a:prstGeom prst="rect">
              <a:avLst/>
            </a:prstGeom>
            <a:noFill/>
          </p:spPr>
          <p:txBody>
            <a:bodyPr wrap="none" rtlCol="0">
              <a:spAutoFit/>
            </a:bodyPr>
            <a:lstStyle/>
            <a:p>
              <a:pPr algn="ctr">
                <a:lnSpc>
                  <a:spcPts val="1400"/>
                </a:lnSpc>
              </a:pPr>
              <a:r>
                <a:rPr lang="en-US" sz="1500" cap="all" dirty="0">
                  <a:solidFill>
                    <a:schemeClr val="bg1"/>
                  </a:solidFill>
                  <a:latin typeface="Tw Cen MT Regular"/>
                  <a:cs typeface="Gill Sans"/>
                </a:rPr>
                <a:t>Design in</a:t>
              </a:r>
              <a:br>
                <a:rPr lang="en-US" sz="1500" cap="all" dirty="0">
                  <a:solidFill>
                    <a:schemeClr val="bg1"/>
                  </a:solidFill>
                  <a:latin typeface="Tw Cen MT Regular"/>
                  <a:cs typeface="Gill Sans"/>
                </a:rPr>
              </a:br>
              <a:r>
                <a:rPr lang="en-US" sz="1500" cap="all" dirty="0">
                  <a:solidFill>
                    <a:schemeClr val="bg1"/>
                  </a:solidFill>
                  <a:latin typeface="Tw Cen MT Regular"/>
                  <a:cs typeface="Gill Sans"/>
                </a:rPr>
                <a:t>Progress</a:t>
              </a:r>
            </a:p>
          </p:txBody>
        </p:sp>
      </p:grpSp>
      <p:sp>
        <p:nvSpPr>
          <p:cNvPr id="32" name="Line">
            <a:extLst>
              <a:ext uri="{FF2B5EF4-FFF2-40B4-BE49-F238E27FC236}">
                <a16:creationId xmlns:a16="http://schemas.microsoft.com/office/drawing/2014/main" id="{92E45978-A420-C645-A976-B97C98017735}"/>
              </a:ext>
            </a:extLst>
          </p:cNvPr>
          <p:cNvSpPr/>
          <p:nvPr/>
        </p:nvSpPr>
        <p:spPr>
          <a:xfrm rot="5400000">
            <a:off x="825890" y="1676491"/>
            <a:ext cx="1009733" cy="2895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0" y="0"/>
                </a:lnTo>
              </a:path>
            </a:pathLst>
          </a:custGeom>
          <a:ln w="12700">
            <a:solidFill>
              <a:srgbClr val="000000"/>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3" name="Line">
            <a:extLst>
              <a:ext uri="{FF2B5EF4-FFF2-40B4-BE49-F238E27FC236}">
                <a16:creationId xmlns:a16="http://schemas.microsoft.com/office/drawing/2014/main" id="{0DEDC48B-0A97-A649-84FC-B7A1438F5EBA}"/>
              </a:ext>
            </a:extLst>
          </p:cNvPr>
          <p:cNvSpPr/>
          <p:nvPr/>
        </p:nvSpPr>
        <p:spPr>
          <a:xfrm rot="5400000">
            <a:off x="389645" y="1687055"/>
            <a:ext cx="1009734" cy="268376"/>
          </a:xfrm>
          <a:custGeom>
            <a:avLst/>
            <a:gdLst>
              <a:gd name="connsiteX0" fmla="*/ 21600 w 21600"/>
              <a:gd name="connsiteY0" fmla="*/ 21600 h 21600"/>
              <a:gd name="connsiteX1" fmla="*/ 0 w 21600"/>
              <a:gd name="connsiteY1" fmla="*/ 21600 h 21600"/>
              <a:gd name="connsiteX2" fmla="*/ 0 w 21600"/>
              <a:gd name="connsiteY2" fmla="*/ 0 h 21600"/>
            </a:gdLst>
            <a:ahLst/>
            <a:cxnLst>
              <a:cxn ang="0">
                <a:pos x="connsiteX0" y="connsiteY0"/>
              </a:cxn>
              <a:cxn ang="0">
                <a:pos x="connsiteX1" y="connsiteY1"/>
              </a:cxn>
              <a:cxn ang="0">
                <a:pos x="connsiteX2" y="connsiteY2"/>
              </a:cxn>
            </a:cxnLst>
            <a:rect l="l" t="t" r="r" b="b"/>
            <a:pathLst>
              <a:path w="21600" h="21600" extrusionOk="0">
                <a:moveTo>
                  <a:pt x="21600" y="21600"/>
                </a:moveTo>
                <a:lnTo>
                  <a:pt x="0" y="21600"/>
                </a:lnTo>
                <a:lnTo>
                  <a:pt x="0" y="0"/>
                </a:lnTo>
              </a:path>
            </a:pathLst>
          </a:custGeom>
          <a:ln w="12700">
            <a:solidFill>
              <a:srgbClr val="000000"/>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34" name="Title 2">
            <a:extLst>
              <a:ext uri="{FF2B5EF4-FFF2-40B4-BE49-F238E27FC236}">
                <a16:creationId xmlns:a16="http://schemas.microsoft.com/office/drawing/2014/main" id="{9C6C764F-F70D-9949-B705-EE76F45D0831}"/>
              </a:ext>
            </a:extLst>
          </p:cNvPr>
          <p:cNvSpPr txBox="1">
            <a:spLocks/>
          </p:cNvSpPr>
          <p:nvPr/>
        </p:nvSpPr>
        <p:spPr>
          <a:xfrm>
            <a:off x="2374128" y="1393671"/>
            <a:ext cx="3219475" cy="619693"/>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en-US" sz="2000" b="0" i="0" kern="1200">
                <a:solidFill>
                  <a:srgbClr val="7F7F7F"/>
                </a:solidFill>
                <a:latin typeface="Tw Cen MT Regular"/>
                <a:ea typeface="+mj-ea"/>
                <a:cs typeface="Gill Sans"/>
              </a:defRPr>
            </a:lvl1pPr>
          </a:lstStyle>
          <a:p>
            <a:pPr>
              <a:lnSpc>
                <a:spcPct val="90000"/>
              </a:lnSpc>
            </a:pPr>
            <a:r>
              <a:rPr lang="en-US" sz="1600" i="1" dirty="0"/>
              <a:t>True angles and brackets </a:t>
            </a:r>
            <a:br>
              <a:rPr lang="en-US" sz="1600" i="1" dirty="0"/>
            </a:br>
            <a:r>
              <a:rPr lang="en-US" sz="1600" i="1" dirty="0"/>
              <a:t>(no more awkward corners with gaps!)</a:t>
            </a:r>
          </a:p>
        </p:txBody>
      </p:sp>
      <p:sp>
        <p:nvSpPr>
          <p:cNvPr id="35" name="Title 2">
            <a:extLst>
              <a:ext uri="{FF2B5EF4-FFF2-40B4-BE49-F238E27FC236}">
                <a16:creationId xmlns:a16="http://schemas.microsoft.com/office/drawing/2014/main" id="{0186E517-DE91-914C-8B11-C98F9298941A}"/>
              </a:ext>
            </a:extLst>
          </p:cNvPr>
          <p:cNvSpPr txBox="1">
            <a:spLocks/>
          </p:cNvSpPr>
          <p:nvPr/>
        </p:nvSpPr>
        <p:spPr>
          <a:xfrm>
            <a:off x="7090611" y="417868"/>
            <a:ext cx="2724055" cy="619693"/>
          </a:xfrm>
          <a:prstGeom prst="rect">
            <a:avLst/>
          </a:prstGeom>
        </p:spPr>
        <p:txBody>
          <a:bodyPr vert="horz" lIns="91440" tIns="45720" rIns="91440" bIns="45720" rtlCol="0" anchor="t">
            <a:noAutofit/>
          </a:bodyPr>
          <a:lstStyle>
            <a:lvl1pPr algn="l" defTabSz="457200" rtl="0" eaLnBrk="1" latinLnBrk="0" hangingPunct="1">
              <a:spcBef>
                <a:spcPct val="0"/>
              </a:spcBef>
              <a:buNone/>
              <a:defRPr lang="en-US" sz="2000" b="0" i="0" kern="1200">
                <a:solidFill>
                  <a:srgbClr val="7F7F7F"/>
                </a:solidFill>
                <a:latin typeface="Tw Cen MT Regular"/>
                <a:ea typeface="+mj-ea"/>
                <a:cs typeface="Gill Sans"/>
              </a:defRPr>
            </a:lvl1pPr>
          </a:lstStyle>
          <a:p>
            <a:pPr>
              <a:lnSpc>
                <a:spcPct val="90000"/>
              </a:lnSpc>
            </a:pPr>
            <a:r>
              <a:rPr lang="en-US" sz="1600" i="1" dirty="0"/>
              <a:t>Make sure your colleagues know a slide is still in progress</a:t>
            </a:r>
          </a:p>
        </p:txBody>
      </p:sp>
      <p:sp>
        <p:nvSpPr>
          <p:cNvPr id="36" name="Rectangle 7">
            <a:extLst>
              <a:ext uri="{FF2B5EF4-FFF2-40B4-BE49-F238E27FC236}">
                <a16:creationId xmlns:a16="http://schemas.microsoft.com/office/drawing/2014/main" id="{2C3BB402-6A31-FB44-92A7-86E1A887B6A7}"/>
              </a:ext>
            </a:extLst>
          </p:cNvPr>
          <p:cNvSpPr>
            <a:spLocks noChangeArrowheads="1"/>
          </p:cNvSpPr>
          <p:nvPr/>
        </p:nvSpPr>
        <p:spPr bwMode="auto">
          <a:xfrm>
            <a:off x="567450" y="2964811"/>
            <a:ext cx="1203965" cy="1203965"/>
          </a:xfrm>
          <a:prstGeom prst="rect">
            <a:avLst/>
          </a:prstGeom>
          <a:noFill/>
          <a:ln w="9525" cap="flat">
            <a:noFill/>
            <a:round/>
            <a:headEnd/>
            <a:tailEnd/>
          </a:ln>
          <a:effectLst/>
        </p:spPr>
        <p:txBody>
          <a:bodyPr lIns="0" tIns="0" rIns="0" bIns="0" anchor="t">
            <a:prstTxWarp prst="textArchUp">
              <a:avLst/>
            </a:prstTxWarp>
            <a:spAutoFit/>
          </a:bodyPr>
          <a:lstStyle>
            <a:lvl1pPr>
              <a:tabLst>
                <a:tab pos="723900" algn="l"/>
                <a:tab pos="1447800" algn="l"/>
                <a:tab pos="2171700" algn="l"/>
                <a:tab pos="2895600" algn="l"/>
              </a:tabLst>
              <a:defRPr>
                <a:solidFill>
                  <a:srgbClr val="000000"/>
                </a:solidFill>
                <a:latin typeface="Arial" charset="0"/>
                <a:ea typeface="SimSun" charset="-122"/>
                <a:cs typeface="SimSun" charset="-122"/>
              </a:defRPr>
            </a:lvl1pPr>
            <a:lvl2pPr>
              <a:tabLst>
                <a:tab pos="723900" algn="l"/>
                <a:tab pos="1447800" algn="l"/>
                <a:tab pos="2171700" algn="l"/>
                <a:tab pos="2895600" algn="l"/>
              </a:tabLst>
              <a:defRPr>
                <a:solidFill>
                  <a:srgbClr val="000000"/>
                </a:solidFill>
                <a:latin typeface="Arial" charset="0"/>
                <a:ea typeface="SimSun" charset="-122"/>
                <a:cs typeface="SimSun" charset="-122"/>
              </a:defRPr>
            </a:lvl2pPr>
            <a:lvl3pPr>
              <a:tabLst>
                <a:tab pos="723900" algn="l"/>
                <a:tab pos="1447800" algn="l"/>
                <a:tab pos="2171700" algn="l"/>
                <a:tab pos="2895600" algn="l"/>
              </a:tabLst>
              <a:defRPr>
                <a:solidFill>
                  <a:srgbClr val="000000"/>
                </a:solidFill>
                <a:latin typeface="Arial" charset="0"/>
                <a:ea typeface="SimSun" charset="-122"/>
                <a:cs typeface="SimSun" charset="-122"/>
              </a:defRPr>
            </a:lvl3pPr>
            <a:lvl4pPr>
              <a:tabLst>
                <a:tab pos="723900" algn="l"/>
                <a:tab pos="1447800" algn="l"/>
                <a:tab pos="2171700" algn="l"/>
                <a:tab pos="2895600" algn="l"/>
              </a:tabLst>
              <a:defRPr>
                <a:solidFill>
                  <a:srgbClr val="000000"/>
                </a:solidFill>
                <a:latin typeface="Arial" charset="0"/>
                <a:ea typeface="SimSun" charset="-122"/>
                <a:cs typeface="SimSun" charset="-122"/>
              </a:defRPr>
            </a:lvl4pPr>
            <a:lvl5pPr>
              <a:tabLst>
                <a:tab pos="723900" algn="l"/>
                <a:tab pos="1447800" algn="l"/>
                <a:tab pos="2171700" algn="l"/>
                <a:tab pos="2895600" algn="l"/>
              </a:tabLst>
              <a:defRPr>
                <a:solidFill>
                  <a:srgbClr val="000000"/>
                </a:solidFill>
                <a:latin typeface="Arial" charset="0"/>
                <a:ea typeface="SimSun" charset="-122"/>
                <a:cs typeface="SimSun" charset="-122"/>
              </a:defRPr>
            </a:lvl5pPr>
            <a:lvl6pPr marL="25146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6pPr>
            <a:lvl7pPr marL="29718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7pPr>
            <a:lvl8pPr marL="34290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8pPr>
            <a:lvl9pPr marL="3886200" indent="-228600" defTabSz="457200" fontAlgn="base" hangingPunct="0">
              <a:lnSpc>
                <a:spcPct val="93000"/>
              </a:lnSpc>
              <a:spcBef>
                <a:spcPct val="0"/>
              </a:spcBef>
              <a:spcAft>
                <a:spcPct val="0"/>
              </a:spcAft>
              <a:buClr>
                <a:srgbClr val="000000"/>
              </a:buClr>
              <a:buSzPct val="100000"/>
              <a:buFont typeface="Times New Roman" charset="0"/>
              <a:tabLst>
                <a:tab pos="723900" algn="l"/>
                <a:tab pos="1447800" algn="l"/>
                <a:tab pos="2171700" algn="l"/>
                <a:tab pos="2895600" algn="l"/>
              </a:tabLst>
              <a:defRPr>
                <a:solidFill>
                  <a:srgbClr val="000000"/>
                </a:solidFill>
                <a:latin typeface="Arial" charset="0"/>
                <a:ea typeface="SimSun" charset="-122"/>
                <a:cs typeface="SimSun" charset="-122"/>
              </a:defRPr>
            </a:lvl9pPr>
          </a:lstStyle>
          <a:p>
            <a:pPr algn="ctr">
              <a:lnSpc>
                <a:spcPct val="90000"/>
              </a:lnSpc>
            </a:pPr>
            <a:r>
              <a:rPr lang="en-US" altLang="x-none" sz="1200" b="1" spc="300" dirty="0">
                <a:solidFill>
                  <a:schemeClr val="accent1"/>
                </a:solidFill>
                <a:latin typeface="+mj-lt"/>
                <a:ea typeface="Gotham Light" charset="0"/>
                <a:cs typeface="Gotham Light" charset="0"/>
              </a:rPr>
              <a:t>THIS IS</a:t>
            </a:r>
            <a:br>
              <a:rPr lang="en-US" altLang="x-none" sz="1200" b="1" spc="300" dirty="0">
                <a:solidFill>
                  <a:schemeClr val="accent1"/>
                </a:solidFill>
                <a:latin typeface="+mj-lt"/>
                <a:ea typeface="Gotham Light" charset="0"/>
                <a:cs typeface="Gotham Light" charset="0"/>
              </a:rPr>
            </a:br>
            <a:r>
              <a:rPr lang="en-US" altLang="x-none" sz="1200" b="1" spc="300" dirty="0">
                <a:solidFill>
                  <a:schemeClr val="accent1"/>
                </a:solidFill>
                <a:latin typeface="+mj-lt"/>
                <a:ea typeface="Gotham Light" charset="0"/>
                <a:cs typeface="Gotham Light" charset="0"/>
              </a:rPr>
              <a:t> CURVED TEXT</a:t>
            </a:r>
          </a:p>
        </p:txBody>
      </p:sp>
      <p:sp>
        <p:nvSpPr>
          <p:cNvPr id="37" name="Title 2">
            <a:extLst>
              <a:ext uri="{FF2B5EF4-FFF2-40B4-BE49-F238E27FC236}">
                <a16:creationId xmlns:a16="http://schemas.microsoft.com/office/drawing/2014/main" id="{0119D3C6-BBAD-F242-8D18-90636804295F}"/>
              </a:ext>
            </a:extLst>
          </p:cNvPr>
          <p:cNvSpPr txBox="1">
            <a:spLocks/>
          </p:cNvSpPr>
          <p:nvPr/>
        </p:nvSpPr>
        <p:spPr>
          <a:xfrm>
            <a:off x="2357556" y="2714554"/>
            <a:ext cx="2999462" cy="619693"/>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en-US" sz="2000" b="0" i="0" kern="1200">
                <a:solidFill>
                  <a:srgbClr val="7F7F7F"/>
                </a:solidFill>
                <a:latin typeface="Tw Cen MT Regular"/>
                <a:ea typeface="+mj-ea"/>
                <a:cs typeface="Gill Sans"/>
              </a:defRPr>
            </a:lvl1pPr>
          </a:lstStyle>
          <a:p>
            <a:pPr>
              <a:lnSpc>
                <a:spcPct val="90000"/>
              </a:lnSpc>
            </a:pPr>
            <a:r>
              <a:rPr lang="en-US" sz="1600" i="1" dirty="0"/>
              <a:t>Save time creating text on a curve by simply editing this sample</a:t>
            </a:r>
          </a:p>
        </p:txBody>
      </p:sp>
      <p:sp>
        <p:nvSpPr>
          <p:cNvPr id="38" name="Oval 37">
            <a:extLst>
              <a:ext uri="{FF2B5EF4-FFF2-40B4-BE49-F238E27FC236}">
                <a16:creationId xmlns:a16="http://schemas.microsoft.com/office/drawing/2014/main" id="{E7FA711A-D2D7-AE45-BDE1-327FEAFD8D07}"/>
              </a:ext>
            </a:extLst>
          </p:cNvPr>
          <p:cNvSpPr/>
          <p:nvPr/>
        </p:nvSpPr>
        <p:spPr>
          <a:xfrm>
            <a:off x="813678" y="4906786"/>
            <a:ext cx="1031164" cy="1031164"/>
          </a:xfrm>
          <a:prstGeom prst="ellipse">
            <a:avLst/>
          </a:prstGeom>
          <a:solidFill>
            <a:schemeClr val="tx1">
              <a:alpha val="55000"/>
            </a:schemeClr>
          </a:solidFill>
          <a:ln>
            <a:noFill/>
          </a:ln>
          <a:effectLst>
            <a:outerShdw blurRad="40000" dist="23000" dir="5400000" rotWithShape="0">
              <a:srgbClr val="000000">
                <a:alpha val="35000"/>
              </a:srgbClr>
            </a:outerShdw>
            <a:softEdge rad="292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585193F1-067D-DE45-9114-11616A3CBC65}"/>
              </a:ext>
            </a:extLst>
          </p:cNvPr>
          <p:cNvSpPr/>
          <p:nvPr/>
        </p:nvSpPr>
        <p:spPr>
          <a:xfrm>
            <a:off x="-96228" y="4168776"/>
            <a:ext cx="2691893" cy="738010"/>
          </a:xfrm>
          <a:prstGeom prst="ellipse">
            <a:avLst/>
          </a:prstGeom>
          <a:solidFill>
            <a:schemeClr val="tx1">
              <a:alpha val="55000"/>
            </a:schemeClr>
          </a:solidFill>
          <a:ln>
            <a:noFill/>
          </a:ln>
          <a:effectLst>
            <a:outerShdw blurRad="40000" dist="23000" dir="5400000" rotWithShape="0">
              <a:srgbClr val="000000">
                <a:alpha val="35000"/>
              </a:srgbClr>
            </a:outerShdw>
            <a:softEdge rad="2921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Title 2">
            <a:extLst>
              <a:ext uri="{FF2B5EF4-FFF2-40B4-BE49-F238E27FC236}">
                <a16:creationId xmlns:a16="http://schemas.microsoft.com/office/drawing/2014/main" id="{C81CD095-D7AB-8946-B0AB-13F12DF9A601}"/>
              </a:ext>
            </a:extLst>
          </p:cNvPr>
          <p:cNvSpPr txBox="1">
            <a:spLocks/>
          </p:cNvSpPr>
          <p:nvPr/>
        </p:nvSpPr>
        <p:spPr>
          <a:xfrm>
            <a:off x="2357556" y="4168776"/>
            <a:ext cx="2999462" cy="619693"/>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en-US" sz="2000" b="0" i="0" kern="1200">
                <a:solidFill>
                  <a:srgbClr val="7F7F7F"/>
                </a:solidFill>
                <a:latin typeface="Tw Cen MT Regular"/>
                <a:ea typeface="+mj-ea"/>
                <a:cs typeface="Gill Sans"/>
              </a:defRPr>
            </a:lvl1pPr>
          </a:lstStyle>
          <a:p>
            <a:pPr>
              <a:lnSpc>
                <a:spcPct val="90000"/>
              </a:lnSpc>
            </a:pPr>
            <a:r>
              <a:rPr lang="en-US" sz="1600" i="1" dirty="0"/>
              <a:t>Manual soft shadows</a:t>
            </a:r>
          </a:p>
        </p:txBody>
      </p:sp>
      <p:grpSp>
        <p:nvGrpSpPr>
          <p:cNvPr id="10" name="Group 9">
            <a:extLst>
              <a:ext uri="{FF2B5EF4-FFF2-40B4-BE49-F238E27FC236}">
                <a16:creationId xmlns:a16="http://schemas.microsoft.com/office/drawing/2014/main" id="{F8B1DA37-6988-0047-9F6A-E075D7E68BEE}"/>
              </a:ext>
            </a:extLst>
          </p:cNvPr>
          <p:cNvGrpSpPr/>
          <p:nvPr/>
        </p:nvGrpSpPr>
        <p:grpSpPr>
          <a:xfrm>
            <a:off x="10263520" y="1942198"/>
            <a:ext cx="1905000" cy="457200"/>
            <a:chOff x="10263520" y="1942198"/>
            <a:chExt cx="1905000" cy="457200"/>
          </a:xfrm>
        </p:grpSpPr>
        <p:sp>
          <p:nvSpPr>
            <p:cNvPr id="41" name="Chevron 11">
              <a:extLst>
                <a:ext uri="{FF2B5EF4-FFF2-40B4-BE49-F238E27FC236}">
                  <a16:creationId xmlns:a16="http://schemas.microsoft.com/office/drawing/2014/main" id="{EC3811EB-59EF-C848-84C3-AAFECD0CA1F7}"/>
                </a:ext>
              </a:extLst>
            </p:cNvPr>
            <p:cNvSpPr/>
            <p:nvPr/>
          </p:nvSpPr>
          <p:spPr>
            <a:xfrm>
              <a:off x="10263520" y="1942198"/>
              <a:ext cx="1905000" cy="457200"/>
            </a:xfrm>
            <a:custGeom>
              <a:avLst/>
              <a:gdLst/>
              <a:ahLst/>
              <a:cxnLst/>
              <a:rect l="l" t="t" r="r" b="b"/>
              <a:pathLst>
                <a:path w="1905000" h="484632">
                  <a:moveTo>
                    <a:pt x="0" y="0"/>
                  </a:moveTo>
                  <a:lnTo>
                    <a:pt x="1905000" y="0"/>
                  </a:lnTo>
                  <a:lnTo>
                    <a:pt x="1905000" y="484632"/>
                  </a:lnTo>
                  <a:lnTo>
                    <a:pt x="0" y="484632"/>
                  </a:lnTo>
                  <a:lnTo>
                    <a:pt x="140718" y="242316"/>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29" tIns="45714" rIns="182880" bIns="45714" rtlCol="0" anchor="ctr"/>
            <a:lstStyle/>
            <a:p>
              <a:pPr algn="r"/>
              <a:r>
                <a:rPr lang="en-US" sz="1600" dirty="0">
                  <a:solidFill>
                    <a:schemeClr val="bg1"/>
                  </a:solidFill>
                  <a:latin typeface="Arial"/>
                  <a:cs typeface="Arial"/>
                </a:rPr>
                <a:t>#hashtag</a:t>
              </a:r>
            </a:p>
          </p:txBody>
        </p:sp>
        <p:sp>
          <p:nvSpPr>
            <p:cNvPr id="42" name="AutoShape 1">
              <a:extLst>
                <a:ext uri="{FF2B5EF4-FFF2-40B4-BE49-F238E27FC236}">
                  <a16:creationId xmlns:a16="http://schemas.microsoft.com/office/drawing/2014/main" id="{B6417BB1-940B-F94D-98A3-E562604B4B4F}"/>
                </a:ext>
              </a:extLst>
            </p:cNvPr>
            <p:cNvSpPr>
              <a:spLocks/>
            </p:cNvSpPr>
            <p:nvPr/>
          </p:nvSpPr>
          <p:spPr bwMode="auto">
            <a:xfrm>
              <a:off x="10505292" y="2025543"/>
              <a:ext cx="357554" cy="290513"/>
            </a:xfrm>
            <a:custGeom>
              <a:avLst/>
              <a:gdLst/>
              <a:ahLst/>
              <a:cxnLst/>
              <a:rect l="0" t="0" r="r" b="b"/>
              <a:pathLst>
                <a:path w="21600" h="21600">
                  <a:moveTo>
                    <a:pt x="21600" y="2557"/>
                  </a:moveTo>
                  <a:cubicBezTo>
                    <a:pt x="20805" y="2991"/>
                    <a:pt x="19951" y="3284"/>
                    <a:pt x="19055" y="3416"/>
                  </a:cubicBezTo>
                  <a:cubicBezTo>
                    <a:pt x="19970" y="2741"/>
                    <a:pt x="20672" y="1672"/>
                    <a:pt x="21003" y="399"/>
                  </a:cubicBezTo>
                  <a:cubicBezTo>
                    <a:pt x="20147" y="1024"/>
                    <a:pt x="19199" y="1477"/>
                    <a:pt x="18189" y="1722"/>
                  </a:cubicBezTo>
                  <a:cubicBezTo>
                    <a:pt x="17381" y="662"/>
                    <a:pt x="16229" y="0"/>
                    <a:pt x="14955" y="0"/>
                  </a:cubicBezTo>
                  <a:cubicBezTo>
                    <a:pt x="12507" y="0"/>
                    <a:pt x="10523" y="2441"/>
                    <a:pt x="10523" y="5453"/>
                  </a:cubicBezTo>
                  <a:cubicBezTo>
                    <a:pt x="10523" y="5880"/>
                    <a:pt x="10562" y="6296"/>
                    <a:pt x="10638" y="6695"/>
                  </a:cubicBezTo>
                  <a:cubicBezTo>
                    <a:pt x="6955" y="6468"/>
                    <a:pt x="3689" y="4297"/>
                    <a:pt x="1504" y="998"/>
                  </a:cubicBezTo>
                  <a:cubicBezTo>
                    <a:pt x="1122" y="1803"/>
                    <a:pt x="904" y="2740"/>
                    <a:pt x="904" y="3739"/>
                  </a:cubicBezTo>
                  <a:cubicBezTo>
                    <a:pt x="904" y="5631"/>
                    <a:pt x="1686" y="7300"/>
                    <a:pt x="2875" y="8278"/>
                  </a:cubicBezTo>
                  <a:cubicBezTo>
                    <a:pt x="2149" y="8250"/>
                    <a:pt x="1465" y="8005"/>
                    <a:pt x="868" y="7596"/>
                  </a:cubicBezTo>
                  <a:cubicBezTo>
                    <a:pt x="868" y="7619"/>
                    <a:pt x="868" y="7642"/>
                    <a:pt x="868" y="7665"/>
                  </a:cubicBezTo>
                  <a:cubicBezTo>
                    <a:pt x="868" y="10307"/>
                    <a:pt x="2395" y="12511"/>
                    <a:pt x="4422" y="13012"/>
                  </a:cubicBezTo>
                  <a:cubicBezTo>
                    <a:pt x="4051" y="13136"/>
                    <a:pt x="3659" y="13203"/>
                    <a:pt x="3255" y="13203"/>
                  </a:cubicBezTo>
                  <a:cubicBezTo>
                    <a:pt x="2969" y="13203"/>
                    <a:pt x="2692" y="13169"/>
                    <a:pt x="2421" y="13105"/>
                  </a:cubicBezTo>
                  <a:cubicBezTo>
                    <a:pt x="2985" y="15271"/>
                    <a:pt x="4622" y="16848"/>
                    <a:pt x="6561" y="16892"/>
                  </a:cubicBezTo>
                  <a:cubicBezTo>
                    <a:pt x="5044" y="18354"/>
                    <a:pt x="3133" y="19226"/>
                    <a:pt x="1057" y="19226"/>
                  </a:cubicBezTo>
                  <a:cubicBezTo>
                    <a:pt x="699" y="19226"/>
                    <a:pt x="347" y="19200"/>
                    <a:pt x="0" y="19150"/>
                  </a:cubicBezTo>
                  <a:cubicBezTo>
                    <a:pt x="1961" y="20697"/>
                    <a:pt x="4291" y="21600"/>
                    <a:pt x="6793" y="21600"/>
                  </a:cubicBezTo>
                  <a:cubicBezTo>
                    <a:pt x="14944" y="21600"/>
                    <a:pt x="19402" y="13291"/>
                    <a:pt x="19402" y="6085"/>
                  </a:cubicBezTo>
                  <a:cubicBezTo>
                    <a:pt x="19402" y="5849"/>
                    <a:pt x="19397" y="5614"/>
                    <a:pt x="19389" y="5380"/>
                  </a:cubicBezTo>
                  <a:cubicBezTo>
                    <a:pt x="20255" y="4611"/>
                    <a:pt x="21006" y="3650"/>
                    <a:pt x="21600" y="2557"/>
                  </a:cubicBezTo>
                  <a:close/>
                  <a:moveTo>
                    <a:pt x="21600" y="2557"/>
                  </a:moveTo>
                </a:path>
              </a:pathLst>
            </a:custGeom>
            <a:solidFill>
              <a:schemeClr val="bg1"/>
            </a:solidFill>
            <a:ln>
              <a:noFill/>
            </a:ln>
          </p:spPr>
          <p:txBody>
            <a:bodyPr lIns="0" tIns="0" rIns="0" bIns="0"/>
            <a:lstStyle/>
            <a:p>
              <a:endParaRPr lang="en-US"/>
            </a:p>
          </p:txBody>
        </p:sp>
      </p:grpSp>
      <p:grpSp>
        <p:nvGrpSpPr>
          <p:cNvPr id="12" name="Group 11">
            <a:extLst>
              <a:ext uri="{FF2B5EF4-FFF2-40B4-BE49-F238E27FC236}">
                <a16:creationId xmlns:a16="http://schemas.microsoft.com/office/drawing/2014/main" id="{2BB4E846-5DBA-C74A-B813-15A3AD30E5F1}"/>
              </a:ext>
            </a:extLst>
          </p:cNvPr>
          <p:cNvGrpSpPr/>
          <p:nvPr/>
        </p:nvGrpSpPr>
        <p:grpSpPr>
          <a:xfrm>
            <a:off x="10263520" y="2624581"/>
            <a:ext cx="1905000" cy="457200"/>
            <a:chOff x="10263520" y="2624581"/>
            <a:chExt cx="1905000" cy="457200"/>
          </a:xfrm>
        </p:grpSpPr>
        <p:sp>
          <p:nvSpPr>
            <p:cNvPr id="44" name="Chevron 11">
              <a:extLst>
                <a:ext uri="{FF2B5EF4-FFF2-40B4-BE49-F238E27FC236}">
                  <a16:creationId xmlns:a16="http://schemas.microsoft.com/office/drawing/2014/main" id="{FC533F5D-42FF-5D4B-AAC7-D79AB4F1A486}"/>
                </a:ext>
              </a:extLst>
            </p:cNvPr>
            <p:cNvSpPr/>
            <p:nvPr/>
          </p:nvSpPr>
          <p:spPr>
            <a:xfrm>
              <a:off x="10263520" y="2624581"/>
              <a:ext cx="1905000" cy="457200"/>
            </a:xfrm>
            <a:custGeom>
              <a:avLst/>
              <a:gdLst/>
              <a:ahLst/>
              <a:cxnLst/>
              <a:rect l="l" t="t" r="r" b="b"/>
              <a:pathLst>
                <a:path w="1905000" h="484632">
                  <a:moveTo>
                    <a:pt x="0" y="0"/>
                  </a:moveTo>
                  <a:lnTo>
                    <a:pt x="1905000" y="0"/>
                  </a:lnTo>
                  <a:lnTo>
                    <a:pt x="1905000" y="484632"/>
                  </a:lnTo>
                  <a:lnTo>
                    <a:pt x="0" y="484632"/>
                  </a:lnTo>
                  <a:lnTo>
                    <a:pt x="140718" y="242316"/>
                  </a:lnTo>
                  <a:close/>
                </a:path>
              </a:pathLst>
            </a:custGeom>
            <a:solidFill>
              <a:schemeClr val="bg1"/>
            </a:solidFill>
            <a:ln w="3175" cmpd="sng">
              <a:noFill/>
            </a:ln>
            <a:effectLst>
              <a:outerShdw blurRad="101600" dist="254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91429" tIns="45714" rIns="182880" bIns="45714" rtlCol="0" anchor="ctr"/>
            <a:lstStyle/>
            <a:p>
              <a:pPr algn="r"/>
              <a:r>
                <a:rPr lang="en-US" sz="1600" dirty="0">
                  <a:solidFill>
                    <a:schemeClr val="tx1"/>
                  </a:solidFill>
                  <a:latin typeface="Arial"/>
                  <a:cs typeface="Arial"/>
                </a:rPr>
                <a:t>#hashtag</a:t>
              </a:r>
            </a:p>
          </p:txBody>
        </p:sp>
        <p:sp>
          <p:nvSpPr>
            <p:cNvPr id="45" name="AutoShape 1">
              <a:extLst>
                <a:ext uri="{FF2B5EF4-FFF2-40B4-BE49-F238E27FC236}">
                  <a16:creationId xmlns:a16="http://schemas.microsoft.com/office/drawing/2014/main" id="{605D8CAB-9347-A941-9EDA-73475A6202D0}"/>
                </a:ext>
              </a:extLst>
            </p:cNvPr>
            <p:cNvSpPr>
              <a:spLocks/>
            </p:cNvSpPr>
            <p:nvPr/>
          </p:nvSpPr>
          <p:spPr bwMode="auto">
            <a:xfrm>
              <a:off x="10505292" y="2707926"/>
              <a:ext cx="357554" cy="290513"/>
            </a:xfrm>
            <a:custGeom>
              <a:avLst/>
              <a:gdLst/>
              <a:ahLst/>
              <a:cxnLst/>
              <a:rect l="0" t="0" r="r" b="b"/>
              <a:pathLst>
                <a:path w="21600" h="21600">
                  <a:moveTo>
                    <a:pt x="21600" y="2557"/>
                  </a:moveTo>
                  <a:cubicBezTo>
                    <a:pt x="20805" y="2991"/>
                    <a:pt x="19951" y="3284"/>
                    <a:pt x="19055" y="3416"/>
                  </a:cubicBezTo>
                  <a:cubicBezTo>
                    <a:pt x="19970" y="2741"/>
                    <a:pt x="20672" y="1672"/>
                    <a:pt x="21003" y="399"/>
                  </a:cubicBezTo>
                  <a:cubicBezTo>
                    <a:pt x="20147" y="1024"/>
                    <a:pt x="19199" y="1477"/>
                    <a:pt x="18189" y="1722"/>
                  </a:cubicBezTo>
                  <a:cubicBezTo>
                    <a:pt x="17381" y="662"/>
                    <a:pt x="16229" y="0"/>
                    <a:pt x="14955" y="0"/>
                  </a:cubicBezTo>
                  <a:cubicBezTo>
                    <a:pt x="12507" y="0"/>
                    <a:pt x="10523" y="2441"/>
                    <a:pt x="10523" y="5453"/>
                  </a:cubicBezTo>
                  <a:cubicBezTo>
                    <a:pt x="10523" y="5880"/>
                    <a:pt x="10562" y="6296"/>
                    <a:pt x="10638" y="6695"/>
                  </a:cubicBezTo>
                  <a:cubicBezTo>
                    <a:pt x="6955" y="6468"/>
                    <a:pt x="3689" y="4297"/>
                    <a:pt x="1504" y="998"/>
                  </a:cubicBezTo>
                  <a:cubicBezTo>
                    <a:pt x="1122" y="1803"/>
                    <a:pt x="904" y="2740"/>
                    <a:pt x="904" y="3739"/>
                  </a:cubicBezTo>
                  <a:cubicBezTo>
                    <a:pt x="904" y="5631"/>
                    <a:pt x="1686" y="7300"/>
                    <a:pt x="2875" y="8278"/>
                  </a:cubicBezTo>
                  <a:cubicBezTo>
                    <a:pt x="2149" y="8250"/>
                    <a:pt x="1465" y="8005"/>
                    <a:pt x="868" y="7596"/>
                  </a:cubicBezTo>
                  <a:cubicBezTo>
                    <a:pt x="868" y="7619"/>
                    <a:pt x="868" y="7642"/>
                    <a:pt x="868" y="7665"/>
                  </a:cubicBezTo>
                  <a:cubicBezTo>
                    <a:pt x="868" y="10307"/>
                    <a:pt x="2395" y="12511"/>
                    <a:pt x="4422" y="13012"/>
                  </a:cubicBezTo>
                  <a:cubicBezTo>
                    <a:pt x="4051" y="13136"/>
                    <a:pt x="3659" y="13203"/>
                    <a:pt x="3255" y="13203"/>
                  </a:cubicBezTo>
                  <a:cubicBezTo>
                    <a:pt x="2969" y="13203"/>
                    <a:pt x="2692" y="13169"/>
                    <a:pt x="2421" y="13105"/>
                  </a:cubicBezTo>
                  <a:cubicBezTo>
                    <a:pt x="2985" y="15271"/>
                    <a:pt x="4622" y="16848"/>
                    <a:pt x="6561" y="16892"/>
                  </a:cubicBezTo>
                  <a:cubicBezTo>
                    <a:pt x="5044" y="18354"/>
                    <a:pt x="3133" y="19226"/>
                    <a:pt x="1057" y="19226"/>
                  </a:cubicBezTo>
                  <a:cubicBezTo>
                    <a:pt x="699" y="19226"/>
                    <a:pt x="347" y="19200"/>
                    <a:pt x="0" y="19150"/>
                  </a:cubicBezTo>
                  <a:cubicBezTo>
                    <a:pt x="1961" y="20697"/>
                    <a:pt x="4291" y="21600"/>
                    <a:pt x="6793" y="21600"/>
                  </a:cubicBezTo>
                  <a:cubicBezTo>
                    <a:pt x="14944" y="21600"/>
                    <a:pt x="19402" y="13291"/>
                    <a:pt x="19402" y="6085"/>
                  </a:cubicBezTo>
                  <a:cubicBezTo>
                    <a:pt x="19402" y="5849"/>
                    <a:pt x="19397" y="5614"/>
                    <a:pt x="19389" y="5380"/>
                  </a:cubicBezTo>
                  <a:cubicBezTo>
                    <a:pt x="20255" y="4611"/>
                    <a:pt x="21006" y="3650"/>
                    <a:pt x="21600" y="2557"/>
                  </a:cubicBezTo>
                  <a:close/>
                  <a:moveTo>
                    <a:pt x="21600" y="2557"/>
                  </a:moveTo>
                </a:path>
              </a:pathLst>
            </a:custGeom>
            <a:solidFill>
              <a:schemeClr val="tx1"/>
            </a:solidFill>
            <a:ln>
              <a:noFill/>
            </a:ln>
          </p:spPr>
          <p:txBody>
            <a:bodyPr lIns="0" tIns="0" rIns="0" bIns="0"/>
            <a:lstStyle/>
            <a:p>
              <a:endParaRPr lang="en-US"/>
            </a:p>
          </p:txBody>
        </p:sp>
      </p:grpSp>
      <p:grpSp>
        <p:nvGrpSpPr>
          <p:cNvPr id="13" name="Group 12">
            <a:extLst>
              <a:ext uri="{FF2B5EF4-FFF2-40B4-BE49-F238E27FC236}">
                <a16:creationId xmlns:a16="http://schemas.microsoft.com/office/drawing/2014/main" id="{CF566631-D370-5441-A898-BB2E5A91FA25}"/>
              </a:ext>
            </a:extLst>
          </p:cNvPr>
          <p:cNvGrpSpPr/>
          <p:nvPr/>
        </p:nvGrpSpPr>
        <p:grpSpPr>
          <a:xfrm>
            <a:off x="10263520" y="3250314"/>
            <a:ext cx="1905000" cy="457200"/>
            <a:chOff x="10263520" y="3250314"/>
            <a:chExt cx="1905000" cy="457200"/>
          </a:xfrm>
        </p:grpSpPr>
        <p:sp>
          <p:nvSpPr>
            <p:cNvPr id="47" name="Chevron 11">
              <a:extLst>
                <a:ext uri="{FF2B5EF4-FFF2-40B4-BE49-F238E27FC236}">
                  <a16:creationId xmlns:a16="http://schemas.microsoft.com/office/drawing/2014/main" id="{916E0E74-6589-7E44-961B-23F8F5D8643A}"/>
                </a:ext>
              </a:extLst>
            </p:cNvPr>
            <p:cNvSpPr/>
            <p:nvPr/>
          </p:nvSpPr>
          <p:spPr>
            <a:xfrm>
              <a:off x="10263520" y="3250314"/>
              <a:ext cx="1905000" cy="457200"/>
            </a:xfrm>
            <a:custGeom>
              <a:avLst/>
              <a:gdLst/>
              <a:ahLst/>
              <a:cxnLst/>
              <a:rect l="l" t="t" r="r" b="b"/>
              <a:pathLst>
                <a:path w="1905000" h="484632">
                  <a:moveTo>
                    <a:pt x="0" y="0"/>
                  </a:moveTo>
                  <a:lnTo>
                    <a:pt x="1905000" y="0"/>
                  </a:lnTo>
                  <a:lnTo>
                    <a:pt x="1905000" y="484632"/>
                  </a:lnTo>
                  <a:lnTo>
                    <a:pt x="0" y="484632"/>
                  </a:lnTo>
                  <a:lnTo>
                    <a:pt x="140718" y="242316"/>
                  </a:lnTo>
                  <a:close/>
                </a:path>
              </a:pathLst>
            </a:custGeom>
            <a:gradFill flip="none" rotWithShape="1">
              <a:gsLst>
                <a:gs pos="0">
                  <a:srgbClr val="E63E21"/>
                </a:gs>
                <a:gs pos="100000">
                  <a:srgbClr val="FCCC21"/>
                </a:gs>
              </a:gsLst>
              <a:lin ang="1440000" scaled="0"/>
              <a:tileRect/>
            </a:gradFill>
            <a:ln>
              <a:noFill/>
            </a:ln>
            <a:effectLst/>
          </p:spPr>
          <p:style>
            <a:lnRef idx="1">
              <a:schemeClr val="accent1"/>
            </a:lnRef>
            <a:fillRef idx="3">
              <a:schemeClr val="accent1"/>
            </a:fillRef>
            <a:effectRef idx="2">
              <a:schemeClr val="accent1"/>
            </a:effectRef>
            <a:fontRef idx="minor">
              <a:schemeClr val="lt1"/>
            </a:fontRef>
          </p:style>
          <p:txBody>
            <a:bodyPr rIns="182880" rtlCol="0" anchor="ctr"/>
            <a:lstStyle/>
            <a:p>
              <a:pPr algn="r"/>
              <a:r>
                <a:rPr lang="en-US" sz="1600" dirty="0">
                  <a:solidFill>
                    <a:schemeClr val="bg1"/>
                  </a:solidFill>
                  <a:latin typeface="Arial"/>
                  <a:cs typeface="Arial"/>
                </a:rPr>
                <a:t>#hashtag</a:t>
              </a:r>
            </a:p>
          </p:txBody>
        </p:sp>
        <p:sp>
          <p:nvSpPr>
            <p:cNvPr id="48" name="AutoShape 1">
              <a:extLst>
                <a:ext uri="{FF2B5EF4-FFF2-40B4-BE49-F238E27FC236}">
                  <a16:creationId xmlns:a16="http://schemas.microsoft.com/office/drawing/2014/main" id="{E34DECF5-25DC-E84B-9D8D-5EF63C04C545}"/>
                </a:ext>
              </a:extLst>
            </p:cNvPr>
            <p:cNvSpPr>
              <a:spLocks/>
            </p:cNvSpPr>
            <p:nvPr/>
          </p:nvSpPr>
          <p:spPr bwMode="auto">
            <a:xfrm>
              <a:off x="10505292" y="3333659"/>
              <a:ext cx="357554" cy="290513"/>
            </a:xfrm>
            <a:custGeom>
              <a:avLst/>
              <a:gdLst/>
              <a:ahLst/>
              <a:cxnLst/>
              <a:rect l="0" t="0" r="r" b="b"/>
              <a:pathLst>
                <a:path w="21600" h="21600">
                  <a:moveTo>
                    <a:pt x="21600" y="2557"/>
                  </a:moveTo>
                  <a:cubicBezTo>
                    <a:pt x="20805" y="2991"/>
                    <a:pt x="19951" y="3284"/>
                    <a:pt x="19055" y="3416"/>
                  </a:cubicBezTo>
                  <a:cubicBezTo>
                    <a:pt x="19970" y="2741"/>
                    <a:pt x="20672" y="1672"/>
                    <a:pt x="21003" y="399"/>
                  </a:cubicBezTo>
                  <a:cubicBezTo>
                    <a:pt x="20147" y="1024"/>
                    <a:pt x="19199" y="1477"/>
                    <a:pt x="18189" y="1722"/>
                  </a:cubicBezTo>
                  <a:cubicBezTo>
                    <a:pt x="17381" y="662"/>
                    <a:pt x="16229" y="0"/>
                    <a:pt x="14955" y="0"/>
                  </a:cubicBezTo>
                  <a:cubicBezTo>
                    <a:pt x="12507" y="0"/>
                    <a:pt x="10523" y="2441"/>
                    <a:pt x="10523" y="5453"/>
                  </a:cubicBezTo>
                  <a:cubicBezTo>
                    <a:pt x="10523" y="5880"/>
                    <a:pt x="10562" y="6296"/>
                    <a:pt x="10638" y="6695"/>
                  </a:cubicBezTo>
                  <a:cubicBezTo>
                    <a:pt x="6955" y="6468"/>
                    <a:pt x="3689" y="4297"/>
                    <a:pt x="1504" y="998"/>
                  </a:cubicBezTo>
                  <a:cubicBezTo>
                    <a:pt x="1122" y="1803"/>
                    <a:pt x="904" y="2740"/>
                    <a:pt x="904" y="3739"/>
                  </a:cubicBezTo>
                  <a:cubicBezTo>
                    <a:pt x="904" y="5631"/>
                    <a:pt x="1686" y="7300"/>
                    <a:pt x="2875" y="8278"/>
                  </a:cubicBezTo>
                  <a:cubicBezTo>
                    <a:pt x="2149" y="8250"/>
                    <a:pt x="1465" y="8005"/>
                    <a:pt x="868" y="7596"/>
                  </a:cubicBezTo>
                  <a:cubicBezTo>
                    <a:pt x="868" y="7619"/>
                    <a:pt x="868" y="7642"/>
                    <a:pt x="868" y="7665"/>
                  </a:cubicBezTo>
                  <a:cubicBezTo>
                    <a:pt x="868" y="10307"/>
                    <a:pt x="2395" y="12511"/>
                    <a:pt x="4422" y="13012"/>
                  </a:cubicBezTo>
                  <a:cubicBezTo>
                    <a:pt x="4051" y="13136"/>
                    <a:pt x="3659" y="13203"/>
                    <a:pt x="3255" y="13203"/>
                  </a:cubicBezTo>
                  <a:cubicBezTo>
                    <a:pt x="2969" y="13203"/>
                    <a:pt x="2692" y="13169"/>
                    <a:pt x="2421" y="13105"/>
                  </a:cubicBezTo>
                  <a:cubicBezTo>
                    <a:pt x="2985" y="15271"/>
                    <a:pt x="4622" y="16848"/>
                    <a:pt x="6561" y="16892"/>
                  </a:cubicBezTo>
                  <a:cubicBezTo>
                    <a:pt x="5044" y="18354"/>
                    <a:pt x="3133" y="19226"/>
                    <a:pt x="1057" y="19226"/>
                  </a:cubicBezTo>
                  <a:cubicBezTo>
                    <a:pt x="699" y="19226"/>
                    <a:pt x="347" y="19200"/>
                    <a:pt x="0" y="19150"/>
                  </a:cubicBezTo>
                  <a:cubicBezTo>
                    <a:pt x="1961" y="20697"/>
                    <a:pt x="4291" y="21600"/>
                    <a:pt x="6793" y="21600"/>
                  </a:cubicBezTo>
                  <a:cubicBezTo>
                    <a:pt x="14944" y="21600"/>
                    <a:pt x="19402" y="13291"/>
                    <a:pt x="19402" y="6085"/>
                  </a:cubicBezTo>
                  <a:cubicBezTo>
                    <a:pt x="19402" y="5849"/>
                    <a:pt x="19397" y="5614"/>
                    <a:pt x="19389" y="5380"/>
                  </a:cubicBezTo>
                  <a:cubicBezTo>
                    <a:pt x="20255" y="4611"/>
                    <a:pt x="21006" y="3650"/>
                    <a:pt x="21600" y="2557"/>
                  </a:cubicBezTo>
                  <a:close/>
                  <a:moveTo>
                    <a:pt x="21600" y="2557"/>
                  </a:moveTo>
                </a:path>
              </a:pathLst>
            </a:custGeom>
            <a:solidFill>
              <a:schemeClr val="bg1"/>
            </a:solidFill>
            <a:ln>
              <a:noFill/>
            </a:ln>
          </p:spPr>
          <p:txBody>
            <a:bodyPr lIns="0" tIns="0" rIns="0" bIns="0"/>
            <a:lstStyle/>
            <a:p>
              <a:endParaRPr lang="en-US"/>
            </a:p>
          </p:txBody>
        </p:sp>
      </p:grpSp>
      <p:sp>
        <p:nvSpPr>
          <p:cNvPr id="50" name="Title 2">
            <a:extLst>
              <a:ext uri="{FF2B5EF4-FFF2-40B4-BE49-F238E27FC236}">
                <a16:creationId xmlns:a16="http://schemas.microsoft.com/office/drawing/2014/main" id="{94A5FD60-43B6-A443-9315-EAE0D6C19EDB}"/>
              </a:ext>
            </a:extLst>
          </p:cNvPr>
          <p:cNvSpPr txBox="1">
            <a:spLocks/>
          </p:cNvSpPr>
          <p:nvPr/>
        </p:nvSpPr>
        <p:spPr>
          <a:xfrm>
            <a:off x="7090611" y="2551468"/>
            <a:ext cx="2955541" cy="619693"/>
          </a:xfrm>
          <a:prstGeom prst="rect">
            <a:avLst/>
          </a:prstGeom>
        </p:spPr>
        <p:txBody>
          <a:bodyPr vert="horz" lIns="91440" tIns="45720" rIns="91440" bIns="45720" rtlCol="0" anchor="ctr">
            <a:noAutofit/>
          </a:bodyPr>
          <a:lstStyle>
            <a:lvl1pPr algn="l" defTabSz="457200" rtl="0" eaLnBrk="1" latinLnBrk="0" hangingPunct="1">
              <a:spcBef>
                <a:spcPct val="0"/>
              </a:spcBef>
              <a:buNone/>
              <a:defRPr lang="en-US" sz="2000" b="0" i="0" kern="1200">
                <a:solidFill>
                  <a:srgbClr val="7F7F7F"/>
                </a:solidFill>
                <a:latin typeface="Tw Cen MT Regular"/>
                <a:ea typeface="+mj-ea"/>
                <a:cs typeface="Gill Sans"/>
              </a:defRPr>
            </a:lvl1pPr>
          </a:lstStyle>
          <a:p>
            <a:pPr>
              <a:lnSpc>
                <a:spcPct val="90000"/>
              </a:lnSpc>
            </a:pPr>
            <a:r>
              <a:rPr lang="en-US" sz="1600" i="1" dirty="0"/>
              <a:t>Want your conference presentation shared? Place a hashtag label at the top right of every slide</a:t>
            </a:r>
          </a:p>
        </p:txBody>
      </p:sp>
      <p:sp>
        <p:nvSpPr>
          <p:cNvPr id="28" name="Line">
            <a:extLst>
              <a:ext uri="{FF2B5EF4-FFF2-40B4-BE49-F238E27FC236}">
                <a16:creationId xmlns:a16="http://schemas.microsoft.com/office/drawing/2014/main" id="{E2C4A902-3294-1E4F-953C-40DD3047EA00}"/>
              </a:ext>
            </a:extLst>
          </p:cNvPr>
          <p:cNvSpPr/>
          <p:nvPr/>
        </p:nvSpPr>
        <p:spPr>
          <a:xfrm flipH="1">
            <a:off x="1632813" y="1316376"/>
            <a:ext cx="584010" cy="999680"/>
          </a:xfrm>
          <a:custGeom>
            <a:avLst/>
            <a:gdLst>
              <a:gd name="connsiteX0" fmla="*/ 15514 w 15514"/>
              <a:gd name="connsiteY0" fmla="*/ 21600 h 21600"/>
              <a:gd name="connsiteX1" fmla="*/ 10800 w 15514"/>
              <a:gd name="connsiteY1" fmla="*/ 21600 h 21600"/>
              <a:gd name="connsiteX2" fmla="*/ 10800 w 15514"/>
              <a:gd name="connsiteY2" fmla="*/ 0 h 21600"/>
              <a:gd name="connsiteX3" fmla="*/ 0 w 15514"/>
              <a:gd name="connsiteY3" fmla="*/ 0 h 21600"/>
              <a:gd name="connsiteX0" fmla="*/ 13888 w 13888"/>
              <a:gd name="connsiteY0" fmla="*/ 21600 h 21600"/>
              <a:gd name="connsiteX1" fmla="*/ 10800 w 13888"/>
              <a:gd name="connsiteY1" fmla="*/ 21600 h 21600"/>
              <a:gd name="connsiteX2" fmla="*/ 10800 w 13888"/>
              <a:gd name="connsiteY2" fmla="*/ 0 h 21600"/>
              <a:gd name="connsiteX3" fmla="*/ 0 w 13888"/>
              <a:gd name="connsiteY3" fmla="*/ 0 h 21600"/>
            </a:gdLst>
            <a:ahLst/>
            <a:cxnLst>
              <a:cxn ang="0">
                <a:pos x="connsiteX0" y="connsiteY0"/>
              </a:cxn>
              <a:cxn ang="0">
                <a:pos x="connsiteX1" y="connsiteY1"/>
              </a:cxn>
              <a:cxn ang="0">
                <a:pos x="connsiteX2" y="connsiteY2"/>
              </a:cxn>
              <a:cxn ang="0">
                <a:pos x="connsiteX3" y="connsiteY3"/>
              </a:cxn>
            </a:cxnLst>
            <a:rect l="l" t="t" r="r" b="b"/>
            <a:pathLst>
              <a:path w="13888" h="21600" extrusionOk="0">
                <a:moveTo>
                  <a:pt x="13888" y="21600"/>
                </a:moveTo>
                <a:lnTo>
                  <a:pt x="10800" y="21600"/>
                </a:lnTo>
                <a:lnTo>
                  <a:pt x="10800" y="0"/>
                </a:lnTo>
                <a:lnTo>
                  <a:pt x="0" y="0"/>
                </a:lnTo>
              </a:path>
            </a:pathLst>
          </a:custGeom>
          <a:ln w="12700">
            <a:solidFill>
              <a:srgbClr val="000000"/>
            </a:solidFill>
            <a:miter lim="400000"/>
          </a:ln>
        </p:spPr>
        <p:txBody>
          <a:bodyPr lIns="38100" tIns="38100" rIns="38100" bIns="38100" anchor="ctr"/>
          <a:lstStyle/>
          <a:p>
            <a:endParaRPr sz="3000">
              <a:solidFill>
                <a:srgbClr val="FFFFFF"/>
              </a:solidFill>
              <a:effectLst>
                <a:outerShdw blurRad="38100" dist="12700" dir="5400000" rotWithShape="0">
                  <a:srgbClr val="000000">
                    <a:alpha val="50000"/>
                  </a:srgbClr>
                </a:outerShdw>
              </a:effectLst>
            </a:endParaRPr>
          </a:p>
        </p:txBody>
      </p:sp>
      <p:sp>
        <p:nvSpPr>
          <p:cNvPr id="29" name="Line">
            <a:extLst>
              <a:ext uri="{FF2B5EF4-FFF2-40B4-BE49-F238E27FC236}">
                <a16:creationId xmlns:a16="http://schemas.microsoft.com/office/drawing/2014/main" id="{50FBFB5D-6434-AA4D-B6BF-D503DF2405D0}"/>
              </a:ext>
            </a:extLst>
          </p:cNvPr>
          <p:cNvSpPr/>
          <p:nvPr/>
        </p:nvSpPr>
        <p:spPr>
          <a:xfrm rot="10800000" flipH="1">
            <a:off x="162510" y="1316375"/>
            <a:ext cx="458033" cy="999680"/>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0800" y="21600"/>
                </a:lnTo>
                <a:lnTo>
                  <a:pt x="10800" y="0"/>
                </a:lnTo>
                <a:lnTo>
                  <a:pt x="0" y="0"/>
                </a:lnTo>
              </a:path>
            </a:pathLst>
          </a:custGeom>
          <a:ln w="12700">
            <a:solidFill>
              <a:srgbClr val="000000"/>
            </a:solidFill>
            <a:miter lim="400000"/>
          </a:ln>
        </p:spPr>
        <p:txBody>
          <a:bodyPr lIns="38100" tIns="38100" rIns="38100" bIns="38100" anchor="ctr"/>
          <a:lstStyle/>
          <a:p>
            <a:endParaRPr sz="300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3371774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sorted Shapes &amp; Elements (PPT Native)</a:t>
            </a:r>
          </a:p>
        </p:txBody>
      </p:sp>
      <p:sp>
        <p:nvSpPr>
          <p:cNvPr id="27" name="AutoShape 6"/>
          <p:cNvSpPr>
            <a:spLocks/>
          </p:cNvSpPr>
          <p:nvPr/>
        </p:nvSpPr>
        <p:spPr bwMode="auto">
          <a:xfrm>
            <a:off x="5276161" y="2452457"/>
            <a:ext cx="395288" cy="904875"/>
          </a:xfrm>
          <a:custGeom>
            <a:avLst/>
            <a:gdLst/>
            <a:ahLst/>
            <a:cxnLst/>
            <a:rect l="0" t="0" r="r" b="b"/>
            <a:pathLst>
              <a:path w="21600" h="21600">
                <a:moveTo>
                  <a:pt x="20287" y="4649"/>
                </a:moveTo>
                <a:cubicBezTo>
                  <a:pt x="20207" y="4649"/>
                  <a:pt x="20168" y="4671"/>
                  <a:pt x="20168" y="4714"/>
                </a:cubicBezTo>
                <a:cubicBezTo>
                  <a:pt x="20168" y="4758"/>
                  <a:pt x="20207" y="4771"/>
                  <a:pt x="20287" y="4753"/>
                </a:cubicBezTo>
                <a:cubicBezTo>
                  <a:pt x="20366" y="4736"/>
                  <a:pt x="20407" y="4714"/>
                  <a:pt x="20407" y="4688"/>
                </a:cubicBezTo>
                <a:cubicBezTo>
                  <a:pt x="20407" y="4662"/>
                  <a:pt x="20366" y="4649"/>
                  <a:pt x="20287" y="4649"/>
                </a:cubicBezTo>
                <a:close/>
                <a:moveTo>
                  <a:pt x="18378" y="5145"/>
                </a:moveTo>
                <a:lnTo>
                  <a:pt x="18617" y="5145"/>
                </a:lnTo>
                <a:lnTo>
                  <a:pt x="18617" y="5041"/>
                </a:lnTo>
                <a:cubicBezTo>
                  <a:pt x="18617" y="5041"/>
                  <a:pt x="18378" y="5145"/>
                  <a:pt x="18378" y="5145"/>
                </a:cubicBezTo>
                <a:close/>
                <a:moveTo>
                  <a:pt x="19213" y="6791"/>
                </a:moveTo>
                <a:cubicBezTo>
                  <a:pt x="19292" y="6808"/>
                  <a:pt x="19263" y="6839"/>
                  <a:pt x="19124" y="6882"/>
                </a:cubicBezTo>
                <a:cubicBezTo>
                  <a:pt x="18984" y="6926"/>
                  <a:pt x="18935" y="6965"/>
                  <a:pt x="18974" y="7000"/>
                </a:cubicBezTo>
                <a:lnTo>
                  <a:pt x="19034" y="7026"/>
                </a:lnTo>
                <a:cubicBezTo>
                  <a:pt x="18915" y="7165"/>
                  <a:pt x="18815" y="7296"/>
                  <a:pt x="18736" y="7418"/>
                </a:cubicBezTo>
                <a:cubicBezTo>
                  <a:pt x="18656" y="7522"/>
                  <a:pt x="18586" y="7618"/>
                  <a:pt x="18527" y="7705"/>
                </a:cubicBezTo>
                <a:cubicBezTo>
                  <a:pt x="18467" y="7792"/>
                  <a:pt x="18417" y="7853"/>
                  <a:pt x="18378" y="7888"/>
                </a:cubicBezTo>
                <a:cubicBezTo>
                  <a:pt x="18338" y="7923"/>
                  <a:pt x="18258" y="7958"/>
                  <a:pt x="18139" y="7992"/>
                </a:cubicBezTo>
                <a:cubicBezTo>
                  <a:pt x="18020" y="8027"/>
                  <a:pt x="17939" y="8053"/>
                  <a:pt x="17901" y="8071"/>
                </a:cubicBezTo>
                <a:cubicBezTo>
                  <a:pt x="17860" y="8053"/>
                  <a:pt x="17841" y="8036"/>
                  <a:pt x="17841" y="8018"/>
                </a:cubicBezTo>
                <a:lnTo>
                  <a:pt x="17841" y="7966"/>
                </a:lnTo>
                <a:cubicBezTo>
                  <a:pt x="17841" y="7792"/>
                  <a:pt x="17901" y="7662"/>
                  <a:pt x="18020" y="7574"/>
                </a:cubicBezTo>
                <a:cubicBezTo>
                  <a:pt x="18139" y="7487"/>
                  <a:pt x="18288" y="7414"/>
                  <a:pt x="18467" y="7352"/>
                </a:cubicBezTo>
                <a:cubicBezTo>
                  <a:pt x="18646" y="7292"/>
                  <a:pt x="18805" y="7222"/>
                  <a:pt x="18945" y="7143"/>
                </a:cubicBezTo>
                <a:cubicBezTo>
                  <a:pt x="19084" y="7065"/>
                  <a:pt x="19173" y="6947"/>
                  <a:pt x="19213" y="6791"/>
                </a:cubicBezTo>
                <a:close/>
                <a:moveTo>
                  <a:pt x="17304" y="3892"/>
                </a:moveTo>
                <a:cubicBezTo>
                  <a:pt x="17224" y="3875"/>
                  <a:pt x="17184" y="3888"/>
                  <a:pt x="17184" y="3931"/>
                </a:cubicBezTo>
                <a:cubicBezTo>
                  <a:pt x="17184" y="3975"/>
                  <a:pt x="17224" y="3996"/>
                  <a:pt x="17304" y="3996"/>
                </a:cubicBezTo>
                <a:cubicBezTo>
                  <a:pt x="17383" y="3979"/>
                  <a:pt x="17423" y="3957"/>
                  <a:pt x="17423" y="3931"/>
                </a:cubicBezTo>
                <a:cubicBezTo>
                  <a:pt x="17423" y="3905"/>
                  <a:pt x="17383" y="3892"/>
                  <a:pt x="17304" y="3892"/>
                </a:cubicBezTo>
                <a:close/>
                <a:moveTo>
                  <a:pt x="17006" y="5642"/>
                </a:moveTo>
                <a:cubicBezTo>
                  <a:pt x="16965" y="5694"/>
                  <a:pt x="16925" y="5737"/>
                  <a:pt x="16886" y="5772"/>
                </a:cubicBezTo>
                <a:cubicBezTo>
                  <a:pt x="16846" y="5824"/>
                  <a:pt x="16827" y="5877"/>
                  <a:pt x="16827" y="5929"/>
                </a:cubicBezTo>
                <a:lnTo>
                  <a:pt x="16827" y="6007"/>
                </a:lnTo>
                <a:lnTo>
                  <a:pt x="17006" y="5981"/>
                </a:lnTo>
                <a:cubicBezTo>
                  <a:pt x="17006" y="5981"/>
                  <a:pt x="17006" y="5642"/>
                  <a:pt x="17006" y="5642"/>
                </a:cubicBezTo>
                <a:close/>
                <a:moveTo>
                  <a:pt x="16707" y="6399"/>
                </a:moveTo>
                <a:cubicBezTo>
                  <a:pt x="16548" y="6417"/>
                  <a:pt x="16458" y="6456"/>
                  <a:pt x="16439" y="6517"/>
                </a:cubicBezTo>
                <a:cubicBezTo>
                  <a:pt x="16418" y="6578"/>
                  <a:pt x="16428" y="6625"/>
                  <a:pt x="16468" y="6660"/>
                </a:cubicBezTo>
                <a:lnTo>
                  <a:pt x="16767" y="6660"/>
                </a:lnTo>
                <a:cubicBezTo>
                  <a:pt x="16767" y="6660"/>
                  <a:pt x="16707" y="6399"/>
                  <a:pt x="16707" y="6399"/>
                </a:cubicBezTo>
                <a:close/>
                <a:moveTo>
                  <a:pt x="16051" y="4675"/>
                </a:moveTo>
                <a:cubicBezTo>
                  <a:pt x="16051" y="4745"/>
                  <a:pt x="16090" y="4819"/>
                  <a:pt x="16170" y="4897"/>
                </a:cubicBezTo>
                <a:cubicBezTo>
                  <a:pt x="16249" y="4975"/>
                  <a:pt x="16388" y="5015"/>
                  <a:pt x="16588" y="5015"/>
                </a:cubicBezTo>
                <a:lnTo>
                  <a:pt x="16767" y="5015"/>
                </a:lnTo>
                <a:cubicBezTo>
                  <a:pt x="16727" y="4962"/>
                  <a:pt x="16767" y="4862"/>
                  <a:pt x="16886" y="4714"/>
                </a:cubicBezTo>
                <a:cubicBezTo>
                  <a:pt x="17006" y="4567"/>
                  <a:pt x="17044" y="4458"/>
                  <a:pt x="17006" y="4388"/>
                </a:cubicBezTo>
                <a:cubicBezTo>
                  <a:pt x="17006" y="4353"/>
                  <a:pt x="16946" y="4292"/>
                  <a:pt x="16827" y="4205"/>
                </a:cubicBezTo>
                <a:cubicBezTo>
                  <a:pt x="16707" y="4118"/>
                  <a:pt x="16647" y="4057"/>
                  <a:pt x="16647" y="4022"/>
                </a:cubicBezTo>
                <a:cubicBezTo>
                  <a:pt x="16528" y="4127"/>
                  <a:pt x="16388" y="4227"/>
                  <a:pt x="16230" y="4323"/>
                </a:cubicBezTo>
                <a:cubicBezTo>
                  <a:pt x="16070" y="4419"/>
                  <a:pt x="16011" y="4536"/>
                  <a:pt x="16051" y="4675"/>
                </a:cubicBezTo>
                <a:close/>
                <a:moveTo>
                  <a:pt x="15573" y="6138"/>
                </a:moveTo>
                <a:cubicBezTo>
                  <a:pt x="15493" y="6138"/>
                  <a:pt x="15454" y="6168"/>
                  <a:pt x="15454" y="6229"/>
                </a:cubicBezTo>
                <a:cubicBezTo>
                  <a:pt x="15454" y="6290"/>
                  <a:pt x="15493" y="6321"/>
                  <a:pt x="15573" y="6321"/>
                </a:cubicBezTo>
                <a:cubicBezTo>
                  <a:pt x="15693" y="6303"/>
                  <a:pt x="15752" y="6264"/>
                  <a:pt x="15752" y="6203"/>
                </a:cubicBezTo>
                <a:cubicBezTo>
                  <a:pt x="15752" y="6142"/>
                  <a:pt x="15693" y="6121"/>
                  <a:pt x="15573" y="6138"/>
                </a:cubicBezTo>
                <a:close/>
                <a:moveTo>
                  <a:pt x="15335" y="2481"/>
                </a:moveTo>
                <a:cubicBezTo>
                  <a:pt x="15335" y="2586"/>
                  <a:pt x="15354" y="2690"/>
                  <a:pt x="15394" y="2795"/>
                </a:cubicBezTo>
                <a:cubicBezTo>
                  <a:pt x="15433" y="2899"/>
                  <a:pt x="15593" y="2943"/>
                  <a:pt x="15872" y="2925"/>
                </a:cubicBezTo>
                <a:lnTo>
                  <a:pt x="16111" y="2925"/>
                </a:lnTo>
                <a:lnTo>
                  <a:pt x="15812" y="2455"/>
                </a:lnTo>
                <a:cubicBezTo>
                  <a:pt x="15812" y="2455"/>
                  <a:pt x="15335" y="2481"/>
                  <a:pt x="15335" y="2481"/>
                </a:cubicBezTo>
                <a:close/>
                <a:moveTo>
                  <a:pt x="14857" y="3030"/>
                </a:moveTo>
                <a:lnTo>
                  <a:pt x="15096" y="3030"/>
                </a:lnTo>
                <a:lnTo>
                  <a:pt x="15096" y="2951"/>
                </a:lnTo>
                <a:lnTo>
                  <a:pt x="14857" y="2951"/>
                </a:lnTo>
                <a:cubicBezTo>
                  <a:pt x="14857" y="2951"/>
                  <a:pt x="14857" y="3030"/>
                  <a:pt x="14857" y="3030"/>
                </a:cubicBezTo>
                <a:close/>
                <a:moveTo>
                  <a:pt x="14559" y="4936"/>
                </a:moveTo>
                <a:cubicBezTo>
                  <a:pt x="14598" y="4989"/>
                  <a:pt x="14628" y="5045"/>
                  <a:pt x="14649" y="5106"/>
                </a:cubicBezTo>
                <a:cubicBezTo>
                  <a:pt x="14668" y="5167"/>
                  <a:pt x="14738" y="5207"/>
                  <a:pt x="14857" y="5224"/>
                </a:cubicBezTo>
                <a:lnTo>
                  <a:pt x="14798" y="4936"/>
                </a:lnTo>
                <a:cubicBezTo>
                  <a:pt x="14798" y="4936"/>
                  <a:pt x="14559" y="4936"/>
                  <a:pt x="14559" y="4936"/>
                </a:cubicBezTo>
                <a:close/>
                <a:moveTo>
                  <a:pt x="13783" y="3160"/>
                </a:moveTo>
                <a:cubicBezTo>
                  <a:pt x="13703" y="3160"/>
                  <a:pt x="13664" y="3186"/>
                  <a:pt x="13664" y="3239"/>
                </a:cubicBezTo>
                <a:cubicBezTo>
                  <a:pt x="13664" y="3291"/>
                  <a:pt x="13703" y="3317"/>
                  <a:pt x="13783" y="3317"/>
                </a:cubicBezTo>
                <a:cubicBezTo>
                  <a:pt x="13903" y="3317"/>
                  <a:pt x="13962" y="3291"/>
                  <a:pt x="13962" y="3239"/>
                </a:cubicBezTo>
                <a:cubicBezTo>
                  <a:pt x="13962" y="3186"/>
                  <a:pt x="13903" y="3160"/>
                  <a:pt x="13783" y="3160"/>
                </a:cubicBezTo>
                <a:close/>
                <a:moveTo>
                  <a:pt x="13664" y="1672"/>
                </a:moveTo>
                <a:cubicBezTo>
                  <a:pt x="13385" y="1672"/>
                  <a:pt x="13206" y="1737"/>
                  <a:pt x="13127" y="1867"/>
                </a:cubicBezTo>
                <a:cubicBezTo>
                  <a:pt x="13047" y="1998"/>
                  <a:pt x="13008" y="2107"/>
                  <a:pt x="13008" y="2194"/>
                </a:cubicBezTo>
                <a:cubicBezTo>
                  <a:pt x="13286" y="2177"/>
                  <a:pt x="13475" y="2107"/>
                  <a:pt x="13574" y="1985"/>
                </a:cubicBezTo>
                <a:cubicBezTo>
                  <a:pt x="13673" y="1863"/>
                  <a:pt x="13703" y="1759"/>
                  <a:pt x="13664" y="1672"/>
                </a:cubicBezTo>
                <a:close/>
                <a:moveTo>
                  <a:pt x="12829" y="496"/>
                </a:moveTo>
                <a:cubicBezTo>
                  <a:pt x="12868" y="584"/>
                  <a:pt x="13047" y="670"/>
                  <a:pt x="13366" y="757"/>
                </a:cubicBezTo>
                <a:lnTo>
                  <a:pt x="13366" y="731"/>
                </a:lnTo>
                <a:cubicBezTo>
                  <a:pt x="13286" y="557"/>
                  <a:pt x="13107" y="479"/>
                  <a:pt x="12829" y="496"/>
                </a:cubicBezTo>
                <a:close/>
                <a:moveTo>
                  <a:pt x="12351" y="3082"/>
                </a:moveTo>
                <a:lnTo>
                  <a:pt x="12590" y="3082"/>
                </a:lnTo>
                <a:cubicBezTo>
                  <a:pt x="12590" y="3030"/>
                  <a:pt x="12510" y="2969"/>
                  <a:pt x="12351" y="2899"/>
                </a:cubicBezTo>
                <a:cubicBezTo>
                  <a:pt x="12351" y="2899"/>
                  <a:pt x="12351" y="3082"/>
                  <a:pt x="12351" y="3082"/>
                </a:cubicBezTo>
                <a:close/>
                <a:moveTo>
                  <a:pt x="12411" y="1985"/>
                </a:moveTo>
                <a:cubicBezTo>
                  <a:pt x="12490" y="1985"/>
                  <a:pt x="12590" y="1955"/>
                  <a:pt x="12710" y="1894"/>
                </a:cubicBezTo>
                <a:cubicBezTo>
                  <a:pt x="12829" y="1833"/>
                  <a:pt x="12938" y="1759"/>
                  <a:pt x="13038" y="1672"/>
                </a:cubicBezTo>
                <a:cubicBezTo>
                  <a:pt x="13136" y="1585"/>
                  <a:pt x="13226" y="1506"/>
                  <a:pt x="13306" y="1437"/>
                </a:cubicBezTo>
                <a:cubicBezTo>
                  <a:pt x="13385" y="1367"/>
                  <a:pt x="13425" y="1323"/>
                  <a:pt x="13425" y="1306"/>
                </a:cubicBezTo>
                <a:cubicBezTo>
                  <a:pt x="13345" y="1097"/>
                  <a:pt x="13047" y="992"/>
                  <a:pt x="12530" y="992"/>
                </a:cubicBezTo>
                <a:lnTo>
                  <a:pt x="12292" y="992"/>
                </a:lnTo>
                <a:cubicBezTo>
                  <a:pt x="12292" y="992"/>
                  <a:pt x="12411" y="1985"/>
                  <a:pt x="12411" y="1985"/>
                </a:cubicBezTo>
                <a:close/>
                <a:moveTo>
                  <a:pt x="12710" y="5067"/>
                </a:moveTo>
                <a:cubicBezTo>
                  <a:pt x="12710" y="5311"/>
                  <a:pt x="12490" y="5502"/>
                  <a:pt x="12053" y="5642"/>
                </a:cubicBezTo>
                <a:cubicBezTo>
                  <a:pt x="12053" y="5607"/>
                  <a:pt x="12032" y="5572"/>
                  <a:pt x="11993" y="5537"/>
                </a:cubicBezTo>
                <a:cubicBezTo>
                  <a:pt x="11953" y="5502"/>
                  <a:pt x="11934" y="5468"/>
                  <a:pt x="11934" y="5433"/>
                </a:cubicBezTo>
                <a:cubicBezTo>
                  <a:pt x="11934" y="5293"/>
                  <a:pt x="11973" y="5197"/>
                  <a:pt x="12053" y="5145"/>
                </a:cubicBezTo>
                <a:cubicBezTo>
                  <a:pt x="12132" y="5093"/>
                  <a:pt x="12351" y="5067"/>
                  <a:pt x="12710" y="5067"/>
                </a:cubicBezTo>
                <a:close/>
                <a:moveTo>
                  <a:pt x="11874" y="8671"/>
                </a:moveTo>
                <a:cubicBezTo>
                  <a:pt x="11874" y="8724"/>
                  <a:pt x="11934" y="8750"/>
                  <a:pt x="12053" y="8750"/>
                </a:cubicBezTo>
                <a:cubicBezTo>
                  <a:pt x="12172" y="8750"/>
                  <a:pt x="12252" y="8750"/>
                  <a:pt x="12292" y="8750"/>
                </a:cubicBezTo>
                <a:cubicBezTo>
                  <a:pt x="12292" y="8715"/>
                  <a:pt x="12281" y="8663"/>
                  <a:pt x="12262" y="8593"/>
                </a:cubicBezTo>
                <a:cubicBezTo>
                  <a:pt x="12241" y="8524"/>
                  <a:pt x="12172" y="8497"/>
                  <a:pt x="12053" y="8515"/>
                </a:cubicBezTo>
                <a:cubicBezTo>
                  <a:pt x="12013" y="8515"/>
                  <a:pt x="11973" y="8537"/>
                  <a:pt x="11934" y="8580"/>
                </a:cubicBezTo>
                <a:cubicBezTo>
                  <a:pt x="11894" y="8624"/>
                  <a:pt x="11874" y="8654"/>
                  <a:pt x="11874" y="8671"/>
                </a:cubicBezTo>
                <a:close/>
                <a:moveTo>
                  <a:pt x="11576" y="9403"/>
                </a:moveTo>
                <a:cubicBezTo>
                  <a:pt x="11536" y="9368"/>
                  <a:pt x="11595" y="9281"/>
                  <a:pt x="11755" y="9142"/>
                </a:cubicBezTo>
                <a:lnTo>
                  <a:pt x="11993" y="8933"/>
                </a:lnTo>
                <a:lnTo>
                  <a:pt x="12172" y="8933"/>
                </a:lnTo>
                <a:cubicBezTo>
                  <a:pt x="12211" y="8915"/>
                  <a:pt x="12271" y="8915"/>
                  <a:pt x="12351" y="8933"/>
                </a:cubicBezTo>
                <a:cubicBezTo>
                  <a:pt x="12431" y="8950"/>
                  <a:pt x="12510" y="8968"/>
                  <a:pt x="12590" y="8985"/>
                </a:cubicBezTo>
                <a:cubicBezTo>
                  <a:pt x="12510" y="9020"/>
                  <a:pt x="12460" y="9085"/>
                  <a:pt x="12441" y="9181"/>
                </a:cubicBezTo>
                <a:cubicBezTo>
                  <a:pt x="12420" y="9277"/>
                  <a:pt x="12431" y="9342"/>
                  <a:pt x="12471" y="9377"/>
                </a:cubicBezTo>
                <a:cubicBezTo>
                  <a:pt x="12471" y="9429"/>
                  <a:pt x="12530" y="9533"/>
                  <a:pt x="12650" y="9690"/>
                </a:cubicBezTo>
                <a:cubicBezTo>
                  <a:pt x="12769" y="9847"/>
                  <a:pt x="12927" y="9951"/>
                  <a:pt x="13127" y="10003"/>
                </a:cubicBezTo>
                <a:lnTo>
                  <a:pt x="13008" y="10003"/>
                </a:lnTo>
                <a:cubicBezTo>
                  <a:pt x="12609" y="10021"/>
                  <a:pt x="12271" y="9960"/>
                  <a:pt x="11993" y="9821"/>
                </a:cubicBezTo>
                <a:cubicBezTo>
                  <a:pt x="11714" y="9681"/>
                  <a:pt x="11576" y="9542"/>
                  <a:pt x="11576" y="9403"/>
                </a:cubicBezTo>
                <a:close/>
                <a:moveTo>
                  <a:pt x="11516" y="1019"/>
                </a:moveTo>
                <a:cubicBezTo>
                  <a:pt x="11397" y="1019"/>
                  <a:pt x="11346" y="1049"/>
                  <a:pt x="11367" y="1110"/>
                </a:cubicBezTo>
                <a:cubicBezTo>
                  <a:pt x="11386" y="1171"/>
                  <a:pt x="11456" y="1201"/>
                  <a:pt x="11576" y="1201"/>
                </a:cubicBezTo>
                <a:cubicBezTo>
                  <a:pt x="11655" y="1201"/>
                  <a:pt x="11685" y="1171"/>
                  <a:pt x="11665" y="1110"/>
                </a:cubicBezTo>
                <a:cubicBezTo>
                  <a:pt x="11645" y="1049"/>
                  <a:pt x="11595" y="1019"/>
                  <a:pt x="11516" y="1019"/>
                </a:cubicBezTo>
                <a:close/>
                <a:moveTo>
                  <a:pt x="10979" y="7600"/>
                </a:moveTo>
                <a:cubicBezTo>
                  <a:pt x="10979" y="7636"/>
                  <a:pt x="11068" y="7696"/>
                  <a:pt x="11248" y="7783"/>
                </a:cubicBezTo>
                <a:cubicBezTo>
                  <a:pt x="11427" y="7871"/>
                  <a:pt x="11576" y="7914"/>
                  <a:pt x="11695" y="7914"/>
                </a:cubicBezTo>
                <a:lnTo>
                  <a:pt x="12411" y="7209"/>
                </a:lnTo>
                <a:cubicBezTo>
                  <a:pt x="12331" y="7192"/>
                  <a:pt x="12182" y="7174"/>
                  <a:pt x="11963" y="7156"/>
                </a:cubicBezTo>
                <a:cubicBezTo>
                  <a:pt x="11745" y="7139"/>
                  <a:pt x="11595" y="7130"/>
                  <a:pt x="11516" y="7130"/>
                </a:cubicBezTo>
                <a:lnTo>
                  <a:pt x="11277" y="7130"/>
                </a:lnTo>
                <a:lnTo>
                  <a:pt x="11098" y="7130"/>
                </a:lnTo>
                <a:cubicBezTo>
                  <a:pt x="11058" y="7165"/>
                  <a:pt x="11029" y="7226"/>
                  <a:pt x="11009" y="7313"/>
                </a:cubicBezTo>
                <a:cubicBezTo>
                  <a:pt x="10988" y="7400"/>
                  <a:pt x="10979" y="7461"/>
                  <a:pt x="10979" y="7496"/>
                </a:cubicBezTo>
                <a:cubicBezTo>
                  <a:pt x="10979" y="7496"/>
                  <a:pt x="10979" y="7600"/>
                  <a:pt x="10979" y="7600"/>
                </a:cubicBezTo>
                <a:close/>
                <a:moveTo>
                  <a:pt x="9965" y="836"/>
                </a:moveTo>
                <a:cubicBezTo>
                  <a:pt x="9885" y="836"/>
                  <a:pt x="9845" y="871"/>
                  <a:pt x="9845" y="940"/>
                </a:cubicBezTo>
                <a:cubicBezTo>
                  <a:pt x="9845" y="1010"/>
                  <a:pt x="9885" y="1045"/>
                  <a:pt x="9965" y="1045"/>
                </a:cubicBezTo>
                <a:cubicBezTo>
                  <a:pt x="10123" y="1045"/>
                  <a:pt x="10203" y="1010"/>
                  <a:pt x="10203" y="940"/>
                </a:cubicBezTo>
                <a:cubicBezTo>
                  <a:pt x="10203" y="871"/>
                  <a:pt x="10123" y="836"/>
                  <a:pt x="9965" y="836"/>
                </a:cubicBezTo>
                <a:close/>
                <a:moveTo>
                  <a:pt x="10740" y="235"/>
                </a:moveTo>
                <a:cubicBezTo>
                  <a:pt x="10103" y="253"/>
                  <a:pt x="9805" y="401"/>
                  <a:pt x="9845" y="679"/>
                </a:cubicBezTo>
                <a:lnTo>
                  <a:pt x="9845" y="836"/>
                </a:lnTo>
                <a:cubicBezTo>
                  <a:pt x="10084" y="766"/>
                  <a:pt x="10293" y="684"/>
                  <a:pt x="10472" y="588"/>
                </a:cubicBezTo>
                <a:cubicBezTo>
                  <a:pt x="10651" y="492"/>
                  <a:pt x="10740" y="375"/>
                  <a:pt x="10740" y="235"/>
                </a:cubicBezTo>
                <a:close/>
                <a:moveTo>
                  <a:pt x="9070" y="19328"/>
                </a:moveTo>
                <a:lnTo>
                  <a:pt x="9607" y="19328"/>
                </a:lnTo>
                <a:lnTo>
                  <a:pt x="9249" y="19249"/>
                </a:lnTo>
                <a:cubicBezTo>
                  <a:pt x="9249" y="19249"/>
                  <a:pt x="9070" y="19328"/>
                  <a:pt x="9070" y="19328"/>
                </a:cubicBezTo>
                <a:close/>
                <a:moveTo>
                  <a:pt x="8891" y="7809"/>
                </a:moveTo>
                <a:cubicBezTo>
                  <a:pt x="8851" y="7809"/>
                  <a:pt x="8831" y="7827"/>
                  <a:pt x="8831" y="7862"/>
                </a:cubicBezTo>
                <a:cubicBezTo>
                  <a:pt x="8831" y="7897"/>
                  <a:pt x="8851" y="7914"/>
                  <a:pt x="8891" y="7914"/>
                </a:cubicBezTo>
                <a:cubicBezTo>
                  <a:pt x="8970" y="7897"/>
                  <a:pt x="9010" y="7875"/>
                  <a:pt x="9010" y="7849"/>
                </a:cubicBezTo>
                <a:cubicBezTo>
                  <a:pt x="9010" y="7823"/>
                  <a:pt x="8970" y="7809"/>
                  <a:pt x="8891" y="7809"/>
                </a:cubicBezTo>
                <a:close/>
                <a:moveTo>
                  <a:pt x="8652" y="7365"/>
                </a:moveTo>
                <a:cubicBezTo>
                  <a:pt x="8572" y="7348"/>
                  <a:pt x="8533" y="7361"/>
                  <a:pt x="8533" y="7405"/>
                </a:cubicBezTo>
                <a:cubicBezTo>
                  <a:pt x="8533" y="7448"/>
                  <a:pt x="8572" y="7461"/>
                  <a:pt x="8652" y="7444"/>
                </a:cubicBezTo>
                <a:cubicBezTo>
                  <a:pt x="8731" y="7444"/>
                  <a:pt x="8771" y="7431"/>
                  <a:pt x="8771" y="7405"/>
                </a:cubicBezTo>
                <a:cubicBezTo>
                  <a:pt x="8771" y="7378"/>
                  <a:pt x="8731" y="7365"/>
                  <a:pt x="8652" y="7365"/>
                </a:cubicBezTo>
                <a:close/>
                <a:moveTo>
                  <a:pt x="8533" y="862"/>
                </a:moveTo>
                <a:cubicBezTo>
                  <a:pt x="8533" y="914"/>
                  <a:pt x="8542" y="966"/>
                  <a:pt x="8562" y="1019"/>
                </a:cubicBezTo>
                <a:cubicBezTo>
                  <a:pt x="8582" y="1071"/>
                  <a:pt x="8631" y="1114"/>
                  <a:pt x="8712" y="1149"/>
                </a:cubicBezTo>
                <a:lnTo>
                  <a:pt x="8712" y="862"/>
                </a:lnTo>
                <a:cubicBezTo>
                  <a:pt x="8712" y="862"/>
                  <a:pt x="8533" y="862"/>
                  <a:pt x="8533" y="862"/>
                </a:cubicBezTo>
                <a:close/>
                <a:moveTo>
                  <a:pt x="8234" y="15436"/>
                </a:moveTo>
                <a:cubicBezTo>
                  <a:pt x="8274" y="15436"/>
                  <a:pt x="8354" y="15432"/>
                  <a:pt x="8473" y="15423"/>
                </a:cubicBezTo>
                <a:cubicBezTo>
                  <a:pt x="8592" y="15414"/>
                  <a:pt x="8691" y="15401"/>
                  <a:pt x="8771" y="15384"/>
                </a:cubicBezTo>
                <a:cubicBezTo>
                  <a:pt x="8851" y="15384"/>
                  <a:pt x="8980" y="15384"/>
                  <a:pt x="9159" y="15384"/>
                </a:cubicBezTo>
                <a:cubicBezTo>
                  <a:pt x="9338" y="15384"/>
                  <a:pt x="9467" y="15428"/>
                  <a:pt x="9547" y="15514"/>
                </a:cubicBezTo>
                <a:cubicBezTo>
                  <a:pt x="9467" y="15550"/>
                  <a:pt x="9377" y="15606"/>
                  <a:pt x="9278" y="15684"/>
                </a:cubicBezTo>
                <a:cubicBezTo>
                  <a:pt x="9179" y="15763"/>
                  <a:pt x="9049" y="15819"/>
                  <a:pt x="8891" y="15854"/>
                </a:cubicBezTo>
                <a:cubicBezTo>
                  <a:pt x="8771" y="15837"/>
                  <a:pt x="8652" y="15772"/>
                  <a:pt x="8533" y="15658"/>
                </a:cubicBezTo>
                <a:cubicBezTo>
                  <a:pt x="8413" y="15545"/>
                  <a:pt x="8313" y="15471"/>
                  <a:pt x="8234" y="15436"/>
                </a:cubicBezTo>
                <a:close/>
                <a:moveTo>
                  <a:pt x="8055" y="10500"/>
                </a:moveTo>
                <a:cubicBezTo>
                  <a:pt x="8015" y="10483"/>
                  <a:pt x="8005" y="10491"/>
                  <a:pt x="8026" y="10526"/>
                </a:cubicBezTo>
                <a:cubicBezTo>
                  <a:pt x="8045" y="10561"/>
                  <a:pt x="8075" y="10578"/>
                  <a:pt x="8115" y="10578"/>
                </a:cubicBezTo>
                <a:cubicBezTo>
                  <a:pt x="8194" y="10578"/>
                  <a:pt x="8224" y="10569"/>
                  <a:pt x="8205" y="10552"/>
                </a:cubicBezTo>
                <a:cubicBezTo>
                  <a:pt x="8184" y="10535"/>
                  <a:pt x="8135" y="10517"/>
                  <a:pt x="8055" y="10500"/>
                </a:cubicBezTo>
                <a:close/>
                <a:moveTo>
                  <a:pt x="7995" y="3630"/>
                </a:moveTo>
                <a:lnTo>
                  <a:pt x="8234" y="3552"/>
                </a:lnTo>
                <a:lnTo>
                  <a:pt x="7995" y="3578"/>
                </a:lnTo>
                <a:cubicBezTo>
                  <a:pt x="7995" y="3578"/>
                  <a:pt x="7995" y="3630"/>
                  <a:pt x="7995" y="3630"/>
                </a:cubicBezTo>
                <a:close/>
                <a:moveTo>
                  <a:pt x="7995" y="20817"/>
                </a:moveTo>
                <a:cubicBezTo>
                  <a:pt x="7876" y="20834"/>
                  <a:pt x="7826" y="20877"/>
                  <a:pt x="7846" y="20947"/>
                </a:cubicBezTo>
                <a:cubicBezTo>
                  <a:pt x="7866" y="21017"/>
                  <a:pt x="7936" y="21043"/>
                  <a:pt x="8055" y="21025"/>
                </a:cubicBezTo>
                <a:cubicBezTo>
                  <a:pt x="8135" y="21025"/>
                  <a:pt x="8164" y="20990"/>
                  <a:pt x="8145" y="20921"/>
                </a:cubicBezTo>
                <a:cubicBezTo>
                  <a:pt x="8124" y="20851"/>
                  <a:pt x="8075" y="20817"/>
                  <a:pt x="7995" y="20817"/>
                </a:cubicBezTo>
                <a:close/>
                <a:moveTo>
                  <a:pt x="7936" y="10317"/>
                </a:moveTo>
                <a:cubicBezTo>
                  <a:pt x="7817" y="10317"/>
                  <a:pt x="7757" y="10347"/>
                  <a:pt x="7757" y="10408"/>
                </a:cubicBezTo>
                <a:cubicBezTo>
                  <a:pt x="7757" y="10470"/>
                  <a:pt x="7817" y="10500"/>
                  <a:pt x="7936" y="10500"/>
                </a:cubicBezTo>
                <a:cubicBezTo>
                  <a:pt x="8015" y="10500"/>
                  <a:pt x="8055" y="10470"/>
                  <a:pt x="8055" y="10408"/>
                </a:cubicBezTo>
                <a:cubicBezTo>
                  <a:pt x="8055" y="10347"/>
                  <a:pt x="8015" y="10317"/>
                  <a:pt x="7936" y="10317"/>
                </a:cubicBezTo>
                <a:close/>
                <a:moveTo>
                  <a:pt x="7578" y="19040"/>
                </a:moveTo>
                <a:lnTo>
                  <a:pt x="7817" y="19014"/>
                </a:lnTo>
                <a:lnTo>
                  <a:pt x="7578" y="18936"/>
                </a:lnTo>
                <a:cubicBezTo>
                  <a:pt x="7578" y="18936"/>
                  <a:pt x="7578" y="19040"/>
                  <a:pt x="7578" y="19040"/>
                </a:cubicBezTo>
                <a:close/>
                <a:moveTo>
                  <a:pt x="8115" y="19798"/>
                </a:moveTo>
                <a:cubicBezTo>
                  <a:pt x="7915" y="19798"/>
                  <a:pt x="7747" y="19815"/>
                  <a:pt x="7608" y="19850"/>
                </a:cubicBezTo>
                <a:cubicBezTo>
                  <a:pt x="7468" y="19885"/>
                  <a:pt x="7418" y="19955"/>
                  <a:pt x="7459" y="20059"/>
                </a:cubicBezTo>
                <a:cubicBezTo>
                  <a:pt x="7936" y="20024"/>
                  <a:pt x="8154" y="19937"/>
                  <a:pt x="8115" y="19798"/>
                </a:cubicBezTo>
                <a:close/>
                <a:moveTo>
                  <a:pt x="7041" y="8227"/>
                </a:moveTo>
                <a:lnTo>
                  <a:pt x="7220" y="8201"/>
                </a:lnTo>
                <a:lnTo>
                  <a:pt x="7220" y="8097"/>
                </a:lnTo>
                <a:lnTo>
                  <a:pt x="7041" y="8123"/>
                </a:lnTo>
                <a:cubicBezTo>
                  <a:pt x="7041" y="8123"/>
                  <a:pt x="7041" y="8227"/>
                  <a:pt x="7041" y="8227"/>
                </a:cubicBezTo>
                <a:close/>
                <a:moveTo>
                  <a:pt x="7518" y="9377"/>
                </a:moveTo>
                <a:cubicBezTo>
                  <a:pt x="7597" y="9516"/>
                  <a:pt x="7736" y="9586"/>
                  <a:pt x="7936" y="9586"/>
                </a:cubicBezTo>
                <a:cubicBezTo>
                  <a:pt x="7817" y="9481"/>
                  <a:pt x="7886" y="9346"/>
                  <a:pt x="8145" y="9181"/>
                </a:cubicBezTo>
                <a:cubicBezTo>
                  <a:pt x="8403" y="9015"/>
                  <a:pt x="8741" y="8846"/>
                  <a:pt x="9159" y="8671"/>
                </a:cubicBezTo>
                <a:cubicBezTo>
                  <a:pt x="9577" y="8497"/>
                  <a:pt x="10004" y="8349"/>
                  <a:pt x="10442" y="8227"/>
                </a:cubicBezTo>
                <a:cubicBezTo>
                  <a:pt x="10879" y="8106"/>
                  <a:pt x="11197" y="8045"/>
                  <a:pt x="11397" y="8045"/>
                </a:cubicBezTo>
                <a:cubicBezTo>
                  <a:pt x="11316" y="8045"/>
                  <a:pt x="11137" y="8031"/>
                  <a:pt x="10860" y="8005"/>
                </a:cubicBezTo>
                <a:cubicBezTo>
                  <a:pt x="10581" y="7979"/>
                  <a:pt x="10421" y="7975"/>
                  <a:pt x="10382" y="7992"/>
                </a:cubicBezTo>
                <a:cubicBezTo>
                  <a:pt x="10302" y="7992"/>
                  <a:pt x="10193" y="8036"/>
                  <a:pt x="10054" y="8123"/>
                </a:cubicBezTo>
                <a:cubicBezTo>
                  <a:pt x="9914" y="8210"/>
                  <a:pt x="9825" y="8262"/>
                  <a:pt x="9786" y="8280"/>
                </a:cubicBezTo>
                <a:cubicBezTo>
                  <a:pt x="9746" y="8280"/>
                  <a:pt x="9666" y="8267"/>
                  <a:pt x="9547" y="8240"/>
                </a:cubicBezTo>
                <a:cubicBezTo>
                  <a:pt x="9428" y="8214"/>
                  <a:pt x="9347" y="8193"/>
                  <a:pt x="9308" y="8175"/>
                </a:cubicBezTo>
                <a:lnTo>
                  <a:pt x="9249" y="8175"/>
                </a:lnTo>
                <a:cubicBezTo>
                  <a:pt x="9049" y="8175"/>
                  <a:pt x="8880" y="8249"/>
                  <a:pt x="8741" y="8397"/>
                </a:cubicBezTo>
                <a:cubicBezTo>
                  <a:pt x="8602" y="8545"/>
                  <a:pt x="8533" y="8628"/>
                  <a:pt x="8533" y="8645"/>
                </a:cubicBezTo>
                <a:cubicBezTo>
                  <a:pt x="8533" y="8611"/>
                  <a:pt x="8473" y="8550"/>
                  <a:pt x="8354" y="8462"/>
                </a:cubicBezTo>
                <a:cubicBezTo>
                  <a:pt x="8234" y="8375"/>
                  <a:pt x="8135" y="8332"/>
                  <a:pt x="8055" y="8332"/>
                </a:cubicBezTo>
                <a:cubicBezTo>
                  <a:pt x="7975" y="8262"/>
                  <a:pt x="7915" y="8227"/>
                  <a:pt x="7876" y="8227"/>
                </a:cubicBezTo>
                <a:cubicBezTo>
                  <a:pt x="7915" y="8367"/>
                  <a:pt x="7856" y="8489"/>
                  <a:pt x="7697" y="8593"/>
                </a:cubicBezTo>
                <a:cubicBezTo>
                  <a:pt x="7538" y="8698"/>
                  <a:pt x="7259" y="8759"/>
                  <a:pt x="6862" y="8776"/>
                </a:cubicBezTo>
                <a:lnTo>
                  <a:pt x="6862" y="8854"/>
                </a:lnTo>
                <a:lnTo>
                  <a:pt x="6862" y="8880"/>
                </a:lnTo>
                <a:cubicBezTo>
                  <a:pt x="6941" y="8898"/>
                  <a:pt x="7011" y="8942"/>
                  <a:pt x="7071" y="9011"/>
                </a:cubicBezTo>
                <a:cubicBezTo>
                  <a:pt x="7131" y="9081"/>
                  <a:pt x="7160" y="9124"/>
                  <a:pt x="7160" y="9142"/>
                </a:cubicBezTo>
                <a:cubicBezTo>
                  <a:pt x="7199" y="9107"/>
                  <a:pt x="7259" y="9068"/>
                  <a:pt x="7339" y="9024"/>
                </a:cubicBezTo>
                <a:cubicBezTo>
                  <a:pt x="7418" y="8981"/>
                  <a:pt x="7498" y="8959"/>
                  <a:pt x="7578" y="8959"/>
                </a:cubicBezTo>
                <a:lnTo>
                  <a:pt x="7757" y="8959"/>
                </a:lnTo>
                <a:cubicBezTo>
                  <a:pt x="7757" y="9046"/>
                  <a:pt x="7717" y="9120"/>
                  <a:pt x="7638" y="9181"/>
                </a:cubicBezTo>
                <a:cubicBezTo>
                  <a:pt x="7558" y="9242"/>
                  <a:pt x="7518" y="9307"/>
                  <a:pt x="7518" y="9377"/>
                </a:cubicBezTo>
                <a:close/>
                <a:moveTo>
                  <a:pt x="6683" y="20216"/>
                </a:moveTo>
                <a:cubicBezTo>
                  <a:pt x="6722" y="20390"/>
                  <a:pt x="6782" y="20546"/>
                  <a:pt x="6862" y="20686"/>
                </a:cubicBezTo>
                <a:cubicBezTo>
                  <a:pt x="6941" y="20825"/>
                  <a:pt x="7001" y="20990"/>
                  <a:pt x="7041" y="21182"/>
                </a:cubicBezTo>
                <a:cubicBezTo>
                  <a:pt x="7280" y="21182"/>
                  <a:pt x="7459" y="21121"/>
                  <a:pt x="7578" y="20999"/>
                </a:cubicBezTo>
                <a:cubicBezTo>
                  <a:pt x="7697" y="20877"/>
                  <a:pt x="7757" y="20799"/>
                  <a:pt x="7757" y="20764"/>
                </a:cubicBezTo>
                <a:cubicBezTo>
                  <a:pt x="7597" y="20729"/>
                  <a:pt x="7498" y="20686"/>
                  <a:pt x="7459" y="20634"/>
                </a:cubicBezTo>
                <a:cubicBezTo>
                  <a:pt x="7418" y="20581"/>
                  <a:pt x="7369" y="20520"/>
                  <a:pt x="7310" y="20451"/>
                </a:cubicBezTo>
                <a:cubicBezTo>
                  <a:pt x="7250" y="20381"/>
                  <a:pt x="7180" y="20316"/>
                  <a:pt x="7100" y="20255"/>
                </a:cubicBezTo>
                <a:cubicBezTo>
                  <a:pt x="7020" y="20194"/>
                  <a:pt x="6881" y="20146"/>
                  <a:pt x="6683" y="20111"/>
                </a:cubicBezTo>
                <a:cubicBezTo>
                  <a:pt x="6683" y="20111"/>
                  <a:pt x="6683" y="20216"/>
                  <a:pt x="6683" y="20216"/>
                </a:cubicBezTo>
                <a:close/>
                <a:moveTo>
                  <a:pt x="6444" y="1123"/>
                </a:moveTo>
                <a:cubicBezTo>
                  <a:pt x="6564" y="1175"/>
                  <a:pt x="6722" y="1201"/>
                  <a:pt x="6922" y="1201"/>
                </a:cubicBezTo>
                <a:lnTo>
                  <a:pt x="6922" y="966"/>
                </a:lnTo>
                <a:cubicBezTo>
                  <a:pt x="6762" y="966"/>
                  <a:pt x="6603" y="1019"/>
                  <a:pt x="6444" y="1123"/>
                </a:cubicBezTo>
                <a:close/>
                <a:moveTo>
                  <a:pt x="6444" y="2377"/>
                </a:moveTo>
                <a:cubicBezTo>
                  <a:pt x="6285" y="2377"/>
                  <a:pt x="6206" y="2412"/>
                  <a:pt x="6206" y="2481"/>
                </a:cubicBezTo>
                <a:cubicBezTo>
                  <a:pt x="6206" y="2516"/>
                  <a:pt x="6195" y="2590"/>
                  <a:pt x="6176" y="2703"/>
                </a:cubicBezTo>
                <a:cubicBezTo>
                  <a:pt x="6155" y="2817"/>
                  <a:pt x="6146" y="2891"/>
                  <a:pt x="6146" y="2925"/>
                </a:cubicBezTo>
                <a:lnTo>
                  <a:pt x="6504" y="2925"/>
                </a:lnTo>
                <a:cubicBezTo>
                  <a:pt x="6504" y="2891"/>
                  <a:pt x="6523" y="2847"/>
                  <a:pt x="6564" y="2795"/>
                </a:cubicBezTo>
                <a:cubicBezTo>
                  <a:pt x="6564" y="2760"/>
                  <a:pt x="6573" y="2725"/>
                  <a:pt x="6593" y="2690"/>
                </a:cubicBezTo>
                <a:cubicBezTo>
                  <a:pt x="6613" y="2656"/>
                  <a:pt x="6623" y="2621"/>
                  <a:pt x="6623" y="2586"/>
                </a:cubicBezTo>
                <a:lnTo>
                  <a:pt x="6623" y="2534"/>
                </a:lnTo>
                <a:lnTo>
                  <a:pt x="6623" y="2481"/>
                </a:lnTo>
                <a:cubicBezTo>
                  <a:pt x="6623" y="2412"/>
                  <a:pt x="6564" y="2377"/>
                  <a:pt x="6444" y="2377"/>
                </a:cubicBezTo>
                <a:close/>
                <a:moveTo>
                  <a:pt x="5967" y="1724"/>
                </a:moveTo>
                <a:cubicBezTo>
                  <a:pt x="6006" y="1759"/>
                  <a:pt x="6036" y="1828"/>
                  <a:pt x="6056" y="1933"/>
                </a:cubicBezTo>
                <a:cubicBezTo>
                  <a:pt x="6076" y="2037"/>
                  <a:pt x="6185" y="2098"/>
                  <a:pt x="6384" y="2116"/>
                </a:cubicBezTo>
                <a:cubicBezTo>
                  <a:pt x="6504" y="2098"/>
                  <a:pt x="6564" y="2037"/>
                  <a:pt x="6564" y="1933"/>
                </a:cubicBezTo>
                <a:cubicBezTo>
                  <a:pt x="6564" y="1794"/>
                  <a:pt x="6364" y="1724"/>
                  <a:pt x="5967" y="1724"/>
                </a:cubicBezTo>
                <a:close/>
                <a:moveTo>
                  <a:pt x="6146" y="20425"/>
                </a:moveTo>
                <a:lnTo>
                  <a:pt x="6086" y="20320"/>
                </a:lnTo>
                <a:lnTo>
                  <a:pt x="5848" y="20320"/>
                </a:lnTo>
                <a:cubicBezTo>
                  <a:pt x="5848" y="20320"/>
                  <a:pt x="6146" y="20425"/>
                  <a:pt x="6146" y="20425"/>
                </a:cubicBezTo>
                <a:close/>
                <a:moveTo>
                  <a:pt x="5489" y="1750"/>
                </a:moveTo>
                <a:cubicBezTo>
                  <a:pt x="5409" y="1767"/>
                  <a:pt x="5380" y="1807"/>
                  <a:pt x="5400" y="1867"/>
                </a:cubicBezTo>
                <a:cubicBezTo>
                  <a:pt x="5420" y="1929"/>
                  <a:pt x="5469" y="1950"/>
                  <a:pt x="5549" y="1933"/>
                </a:cubicBezTo>
                <a:cubicBezTo>
                  <a:pt x="5629" y="1933"/>
                  <a:pt x="5658" y="1903"/>
                  <a:pt x="5639" y="1841"/>
                </a:cubicBezTo>
                <a:cubicBezTo>
                  <a:pt x="5618" y="1781"/>
                  <a:pt x="5569" y="1750"/>
                  <a:pt x="5489" y="1750"/>
                </a:cubicBezTo>
                <a:close/>
                <a:moveTo>
                  <a:pt x="5370" y="8645"/>
                </a:moveTo>
                <a:cubicBezTo>
                  <a:pt x="5370" y="8680"/>
                  <a:pt x="5380" y="8728"/>
                  <a:pt x="5400" y="8789"/>
                </a:cubicBezTo>
                <a:cubicBezTo>
                  <a:pt x="5420" y="8850"/>
                  <a:pt x="5489" y="8889"/>
                  <a:pt x="5609" y="8906"/>
                </a:cubicBezTo>
                <a:cubicBezTo>
                  <a:pt x="5768" y="8872"/>
                  <a:pt x="5857" y="8824"/>
                  <a:pt x="5877" y="8763"/>
                </a:cubicBezTo>
                <a:cubicBezTo>
                  <a:pt x="5897" y="8702"/>
                  <a:pt x="5907" y="8654"/>
                  <a:pt x="5907" y="8619"/>
                </a:cubicBezTo>
                <a:cubicBezTo>
                  <a:pt x="5907" y="8619"/>
                  <a:pt x="5370" y="8645"/>
                  <a:pt x="5370" y="8645"/>
                </a:cubicBezTo>
                <a:close/>
                <a:moveTo>
                  <a:pt x="5191" y="18126"/>
                </a:moveTo>
                <a:lnTo>
                  <a:pt x="5430" y="18048"/>
                </a:lnTo>
                <a:lnTo>
                  <a:pt x="5191" y="17943"/>
                </a:lnTo>
                <a:cubicBezTo>
                  <a:pt x="5191" y="17943"/>
                  <a:pt x="5191" y="18126"/>
                  <a:pt x="5191" y="18126"/>
                </a:cubicBezTo>
                <a:close/>
                <a:moveTo>
                  <a:pt x="5191" y="10578"/>
                </a:moveTo>
                <a:cubicBezTo>
                  <a:pt x="5708" y="10578"/>
                  <a:pt x="5967" y="10483"/>
                  <a:pt x="5967" y="10291"/>
                </a:cubicBezTo>
                <a:lnTo>
                  <a:pt x="5132" y="10291"/>
                </a:lnTo>
                <a:cubicBezTo>
                  <a:pt x="5132" y="10291"/>
                  <a:pt x="5191" y="10578"/>
                  <a:pt x="5191" y="10578"/>
                </a:cubicBezTo>
                <a:close/>
                <a:moveTo>
                  <a:pt x="5012" y="18544"/>
                </a:moveTo>
                <a:cubicBezTo>
                  <a:pt x="4932" y="18509"/>
                  <a:pt x="4893" y="18535"/>
                  <a:pt x="4893" y="18622"/>
                </a:cubicBezTo>
                <a:cubicBezTo>
                  <a:pt x="4893" y="18709"/>
                  <a:pt x="4932" y="18736"/>
                  <a:pt x="5012" y="18701"/>
                </a:cubicBezTo>
                <a:cubicBezTo>
                  <a:pt x="5091" y="18683"/>
                  <a:pt x="5132" y="18653"/>
                  <a:pt x="5132" y="18609"/>
                </a:cubicBezTo>
                <a:cubicBezTo>
                  <a:pt x="5132" y="18566"/>
                  <a:pt x="5091" y="18544"/>
                  <a:pt x="5012" y="18544"/>
                </a:cubicBezTo>
                <a:close/>
                <a:moveTo>
                  <a:pt x="4416" y="12772"/>
                </a:moveTo>
                <a:lnTo>
                  <a:pt x="4654" y="12772"/>
                </a:lnTo>
                <a:lnTo>
                  <a:pt x="4594" y="12589"/>
                </a:lnTo>
                <a:lnTo>
                  <a:pt x="4356" y="12589"/>
                </a:lnTo>
                <a:cubicBezTo>
                  <a:pt x="4356" y="12589"/>
                  <a:pt x="4416" y="12772"/>
                  <a:pt x="4416" y="12772"/>
                </a:cubicBezTo>
                <a:close/>
                <a:moveTo>
                  <a:pt x="4356" y="10134"/>
                </a:moveTo>
                <a:cubicBezTo>
                  <a:pt x="4356" y="10152"/>
                  <a:pt x="4386" y="10165"/>
                  <a:pt x="4445" y="10173"/>
                </a:cubicBezTo>
                <a:cubicBezTo>
                  <a:pt x="4505" y="10182"/>
                  <a:pt x="4555" y="10195"/>
                  <a:pt x="4594" y="10212"/>
                </a:cubicBezTo>
                <a:cubicBezTo>
                  <a:pt x="4753" y="10178"/>
                  <a:pt x="4823" y="10108"/>
                  <a:pt x="4804" y="10003"/>
                </a:cubicBezTo>
                <a:cubicBezTo>
                  <a:pt x="4783" y="9899"/>
                  <a:pt x="4773" y="9830"/>
                  <a:pt x="4773" y="9795"/>
                </a:cubicBezTo>
                <a:cubicBezTo>
                  <a:pt x="4416" y="9830"/>
                  <a:pt x="4276" y="9925"/>
                  <a:pt x="4356" y="10082"/>
                </a:cubicBezTo>
                <a:cubicBezTo>
                  <a:pt x="4356" y="10082"/>
                  <a:pt x="4356" y="10134"/>
                  <a:pt x="4356" y="10134"/>
                </a:cubicBezTo>
                <a:close/>
                <a:moveTo>
                  <a:pt x="4416" y="13216"/>
                </a:moveTo>
                <a:cubicBezTo>
                  <a:pt x="4335" y="13216"/>
                  <a:pt x="4306" y="13247"/>
                  <a:pt x="4326" y="13307"/>
                </a:cubicBezTo>
                <a:cubicBezTo>
                  <a:pt x="4346" y="13369"/>
                  <a:pt x="4395" y="13399"/>
                  <a:pt x="4475" y="13399"/>
                </a:cubicBezTo>
                <a:cubicBezTo>
                  <a:pt x="4594" y="13399"/>
                  <a:pt x="4644" y="13369"/>
                  <a:pt x="4624" y="13307"/>
                </a:cubicBezTo>
                <a:cubicBezTo>
                  <a:pt x="4604" y="13247"/>
                  <a:pt x="4535" y="13216"/>
                  <a:pt x="4416" y="13216"/>
                </a:cubicBezTo>
                <a:close/>
                <a:moveTo>
                  <a:pt x="4177" y="1619"/>
                </a:moveTo>
                <a:lnTo>
                  <a:pt x="4416" y="1593"/>
                </a:lnTo>
                <a:lnTo>
                  <a:pt x="4416" y="1410"/>
                </a:lnTo>
                <a:lnTo>
                  <a:pt x="4177" y="1437"/>
                </a:lnTo>
                <a:cubicBezTo>
                  <a:pt x="4177" y="1437"/>
                  <a:pt x="4177" y="1619"/>
                  <a:pt x="4177" y="1619"/>
                </a:cubicBezTo>
                <a:close/>
                <a:moveTo>
                  <a:pt x="3998" y="10761"/>
                </a:moveTo>
                <a:cubicBezTo>
                  <a:pt x="4037" y="10778"/>
                  <a:pt x="4067" y="10805"/>
                  <a:pt x="4087" y="10839"/>
                </a:cubicBezTo>
                <a:cubicBezTo>
                  <a:pt x="4107" y="10874"/>
                  <a:pt x="4137" y="10909"/>
                  <a:pt x="4177" y="10944"/>
                </a:cubicBezTo>
                <a:lnTo>
                  <a:pt x="4296" y="10944"/>
                </a:lnTo>
                <a:lnTo>
                  <a:pt x="4416" y="10944"/>
                </a:lnTo>
                <a:cubicBezTo>
                  <a:pt x="4455" y="10927"/>
                  <a:pt x="4495" y="10914"/>
                  <a:pt x="4535" y="10904"/>
                </a:cubicBezTo>
                <a:cubicBezTo>
                  <a:pt x="4574" y="10896"/>
                  <a:pt x="4614" y="10883"/>
                  <a:pt x="4654" y="10865"/>
                </a:cubicBezTo>
                <a:cubicBezTo>
                  <a:pt x="4614" y="10778"/>
                  <a:pt x="4455" y="10735"/>
                  <a:pt x="4177" y="10735"/>
                </a:cubicBezTo>
                <a:cubicBezTo>
                  <a:pt x="4137" y="10735"/>
                  <a:pt x="4107" y="10739"/>
                  <a:pt x="4087" y="10748"/>
                </a:cubicBezTo>
                <a:cubicBezTo>
                  <a:pt x="4067" y="10757"/>
                  <a:pt x="4037" y="10761"/>
                  <a:pt x="3998" y="10761"/>
                </a:cubicBezTo>
                <a:close/>
                <a:moveTo>
                  <a:pt x="6564" y="21339"/>
                </a:moveTo>
                <a:cubicBezTo>
                  <a:pt x="6523" y="21339"/>
                  <a:pt x="6464" y="21356"/>
                  <a:pt x="6384" y="21391"/>
                </a:cubicBezTo>
                <a:cubicBezTo>
                  <a:pt x="6345" y="21408"/>
                  <a:pt x="6285" y="21417"/>
                  <a:pt x="6206" y="21417"/>
                </a:cubicBezTo>
                <a:cubicBezTo>
                  <a:pt x="6166" y="21417"/>
                  <a:pt x="6146" y="21421"/>
                  <a:pt x="6146" y="21430"/>
                </a:cubicBezTo>
                <a:cubicBezTo>
                  <a:pt x="6146" y="21439"/>
                  <a:pt x="6125" y="21443"/>
                  <a:pt x="6086" y="21443"/>
                </a:cubicBezTo>
                <a:lnTo>
                  <a:pt x="6027" y="21443"/>
                </a:lnTo>
                <a:cubicBezTo>
                  <a:pt x="6027" y="21304"/>
                  <a:pt x="5976" y="21217"/>
                  <a:pt x="5877" y="21182"/>
                </a:cubicBezTo>
                <a:cubicBezTo>
                  <a:pt x="5778" y="21147"/>
                  <a:pt x="5728" y="21086"/>
                  <a:pt x="5728" y="20999"/>
                </a:cubicBezTo>
                <a:cubicBezTo>
                  <a:pt x="5807" y="20999"/>
                  <a:pt x="5937" y="20990"/>
                  <a:pt x="6116" y="20973"/>
                </a:cubicBezTo>
                <a:cubicBezTo>
                  <a:pt x="6295" y="20956"/>
                  <a:pt x="6364" y="20903"/>
                  <a:pt x="6325" y="20817"/>
                </a:cubicBezTo>
                <a:cubicBezTo>
                  <a:pt x="6046" y="20677"/>
                  <a:pt x="5788" y="20555"/>
                  <a:pt x="5549" y="20451"/>
                </a:cubicBezTo>
                <a:cubicBezTo>
                  <a:pt x="5350" y="20364"/>
                  <a:pt x="5141" y="20281"/>
                  <a:pt x="4923" y="20203"/>
                </a:cubicBezTo>
                <a:cubicBezTo>
                  <a:pt x="4704" y="20124"/>
                  <a:pt x="4555" y="20085"/>
                  <a:pt x="4475" y="20085"/>
                </a:cubicBezTo>
                <a:lnTo>
                  <a:pt x="4416" y="20085"/>
                </a:lnTo>
                <a:cubicBezTo>
                  <a:pt x="4335" y="20102"/>
                  <a:pt x="4237" y="20137"/>
                  <a:pt x="4117" y="20190"/>
                </a:cubicBezTo>
                <a:cubicBezTo>
                  <a:pt x="3998" y="20242"/>
                  <a:pt x="3938" y="20277"/>
                  <a:pt x="3938" y="20294"/>
                </a:cubicBezTo>
                <a:cubicBezTo>
                  <a:pt x="3779" y="20155"/>
                  <a:pt x="3560" y="19968"/>
                  <a:pt x="3282" y="19733"/>
                </a:cubicBezTo>
                <a:cubicBezTo>
                  <a:pt x="3003" y="19497"/>
                  <a:pt x="2844" y="19293"/>
                  <a:pt x="2804" y="19119"/>
                </a:cubicBezTo>
                <a:cubicBezTo>
                  <a:pt x="2804" y="18979"/>
                  <a:pt x="2944" y="18901"/>
                  <a:pt x="3222" y="18884"/>
                </a:cubicBezTo>
                <a:cubicBezTo>
                  <a:pt x="3500" y="18866"/>
                  <a:pt x="3679" y="18814"/>
                  <a:pt x="3759" y="18727"/>
                </a:cubicBezTo>
                <a:cubicBezTo>
                  <a:pt x="4157" y="18431"/>
                  <a:pt x="4565" y="18139"/>
                  <a:pt x="4982" y="17852"/>
                </a:cubicBezTo>
                <a:cubicBezTo>
                  <a:pt x="5400" y="17565"/>
                  <a:pt x="6006" y="17378"/>
                  <a:pt x="6802" y="17291"/>
                </a:cubicBezTo>
                <a:cubicBezTo>
                  <a:pt x="6841" y="17291"/>
                  <a:pt x="6911" y="17273"/>
                  <a:pt x="7011" y="17238"/>
                </a:cubicBezTo>
                <a:cubicBezTo>
                  <a:pt x="7110" y="17204"/>
                  <a:pt x="7180" y="17195"/>
                  <a:pt x="7220" y="17212"/>
                </a:cubicBezTo>
                <a:cubicBezTo>
                  <a:pt x="7299" y="17212"/>
                  <a:pt x="7389" y="17225"/>
                  <a:pt x="7488" y="17251"/>
                </a:cubicBezTo>
                <a:cubicBezTo>
                  <a:pt x="7587" y="17277"/>
                  <a:pt x="7638" y="17308"/>
                  <a:pt x="7638" y="17343"/>
                </a:cubicBezTo>
                <a:cubicBezTo>
                  <a:pt x="7638" y="17308"/>
                  <a:pt x="7657" y="17260"/>
                  <a:pt x="7697" y="17199"/>
                </a:cubicBezTo>
                <a:cubicBezTo>
                  <a:pt x="7736" y="17138"/>
                  <a:pt x="7757" y="17091"/>
                  <a:pt x="7757" y="17055"/>
                </a:cubicBezTo>
                <a:lnTo>
                  <a:pt x="7876" y="17055"/>
                </a:lnTo>
                <a:cubicBezTo>
                  <a:pt x="8115" y="17055"/>
                  <a:pt x="8303" y="17138"/>
                  <a:pt x="8443" y="17304"/>
                </a:cubicBezTo>
                <a:cubicBezTo>
                  <a:pt x="8582" y="17469"/>
                  <a:pt x="8712" y="17648"/>
                  <a:pt x="8831" y="17839"/>
                </a:cubicBezTo>
                <a:cubicBezTo>
                  <a:pt x="8950" y="18031"/>
                  <a:pt x="9070" y="18218"/>
                  <a:pt x="9189" y="18400"/>
                </a:cubicBezTo>
                <a:cubicBezTo>
                  <a:pt x="9308" y="18583"/>
                  <a:pt x="9447" y="18683"/>
                  <a:pt x="9607" y="18701"/>
                </a:cubicBezTo>
                <a:cubicBezTo>
                  <a:pt x="9526" y="18561"/>
                  <a:pt x="9607" y="18475"/>
                  <a:pt x="9845" y="18440"/>
                </a:cubicBezTo>
                <a:cubicBezTo>
                  <a:pt x="10004" y="18509"/>
                  <a:pt x="10084" y="18596"/>
                  <a:pt x="10084" y="18701"/>
                </a:cubicBezTo>
                <a:cubicBezTo>
                  <a:pt x="10123" y="18770"/>
                  <a:pt x="10103" y="18836"/>
                  <a:pt x="10024" y="18897"/>
                </a:cubicBezTo>
                <a:cubicBezTo>
                  <a:pt x="9944" y="18958"/>
                  <a:pt x="9905" y="19031"/>
                  <a:pt x="9905" y="19119"/>
                </a:cubicBezTo>
                <a:lnTo>
                  <a:pt x="9905" y="19145"/>
                </a:lnTo>
                <a:cubicBezTo>
                  <a:pt x="9944" y="19180"/>
                  <a:pt x="10014" y="19210"/>
                  <a:pt x="10114" y="19236"/>
                </a:cubicBezTo>
                <a:cubicBezTo>
                  <a:pt x="10213" y="19262"/>
                  <a:pt x="10302" y="19284"/>
                  <a:pt x="10382" y="19302"/>
                </a:cubicBezTo>
                <a:cubicBezTo>
                  <a:pt x="10382" y="19319"/>
                  <a:pt x="10442" y="19328"/>
                  <a:pt x="10561" y="19328"/>
                </a:cubicBezTo>
                <a:cubicBezTo>
                  <a:pt x="10561" y="19449"/>
                  <a:pt x="10600" y="19550"/>
                  <a:pt x="10681" y="19628"/>
                </a:cubicBezTo>
                <a:cubicBezTo>
                  <a:pt x="10760" y="19706"/>
                  <a:pt x="10819" y="19798"/>
                  <a:pt x="10860" y="19902"/>
                </a:cubicBezTo>
                <a:cubicBezTo>
                  <a:pt x="10860" y="20164"/>
                  <a:pt x="10541" y="20311"/>
                  <a:pt x="9905" y="20346"/>
                </a:cubicBezTo>
                <a:cubicBezTo>
                  <a:pt x="9507" y="20346"/>
                  <a:pt x="9249" y="20285"/>
                  <a:pt x="9129" y="20164"/>
                </a:cubicBezTo>
                <a:cubicBezTo>
                  <a:pt x="9010" y="20198"/>
                  <a:pt x="8900" y="20281"/>
                  <a:pt x="8801" y="20412"/>
                </a:cubicBezTo>
                <a:cubicBezTo>
                  <a:pt x="8701" y="20542"/>
                  <a:pt x="8612" y="20677"/>
                  <a:pt x="8533" y="20817"/>
                </a:cubicBezTo>
                <a:cubicBezTo>
                  <a:pt x="8453" y="20956"/>
                  <a:pt x="8373" y="21082"/>
                  <a:pt x="8294" y="21195"/>
                </a:cubicBezTo>
                <a:cubicBezTo>
                  <a:pt x="8214" y="21308"/>
                  <a:pt x="8135" y="21365"/>
                  <a:pt x="8055" y="21365"/>
                </a:cubicBezTo>
                <a:cubicBezTo>
                  <a:pt x="7975" y="21365"/>
                  <a:pt x="7896" y="21356"/>
                  <a:pt x="7817" y="21339"/>
                </a:cubicBezTo>
                <a:cubicBezTo>
                  <a:pt x="7736" y="21339"/>
                  <a:pt x="7677" y="21330"/>
                  <a:pt x="7638" y="21313"/>
                </a:cubicBezTo>
                <a:lnTo>
                  <a:pt x="7518" y="21313"/>
                </a:lnTo>
                <a:cubicBezTo>
                  <a:pt x="7199" y="21313"/>
                  <a:pt x="7020" y="21360"/>
                  <a:pt x="6981" y="21456"/>
                </a:cubicBezTo>
                <a:cubicBezTo>
                  <a:pt x="6941" y="21552"/>
                  <a:pt x="6822" y="21600"/>
                  <a:pt x="6623" y="21600"/>
                </a:cubicBezTo>
                <a:cubicBezTo>
                  <a:pt x="6623" y="21600"/>
                  <a:pt x="6564" y="21339"/>
                  <a:pt x="6564" y="21339"/>
                </a:cubicBezTo>
                <a:close/>
                <a:moveTo>
                  <a:pt x="2506" y="10682"/>
                </a:moveTo>
                <a:lnTo>
                  <a:pt x="2983" y="10682"/>
                </a:lnTo>
                <a:cubicBezTo>
                  <a:pt x="2944" y="10596"/>
                  <a:pt x="2764" y="10535"/>
                  <a:pt x="2447" y="10500"/>
                </a:cubicBezTo>
                <a:cubicBezTo>
                  <a:pt x="2447" y="10500"/>
                  <a:pt x="2506" y="10682"/>
                  <a:pt x="2506" y="10682"/>
                </a:cubicBezTo>
                <a:close/>
                <a:moveTo>
                  <a:pt x="1372" y="1854"/>
                </a:moveTo>
                <a:cubicBezTo>
                  <a:pt x="1372" y="1820"/>
                  <a:pt x="1322" y="1802"/>
                  <a:pt x="1223" y="1802"/>
                </a:cubicBezTo>
                <a:cubicBezTo>
                  <a:pt x="1123" y="1802"/>
                  <a:pt x="1113" y="1820"/>
                  <a:pt x="1193" y="1854"/>
                </a:cubicBezTo>
                <a:cubicBezTo>
                  <a:pt x="1193" y="1889"/>
                  <a:pt x="1223" y="1907"/>
                  <a:pt x="1283" y="1907"/>
                </a:cubicBezTo>
                <a:cubicBezTo>
                  <a:pt x="1343" y="1907"/>
                  <a:pt x="1372" y="1889"/>
                  <a:pt x="1372" y="1854"/>
                </a:cubicBezTo>
                <a:close/>
                <a:moveTo>
                  <a:pt x="6086" y="14861"/>
                </a:moveTo>
                <a:cubicBezTo>
                  <a:pt x="6046" y="14861"/>
                  <a:pt x="5976" y="14875"/>
                  <a:pt x="5877" y="14901"/>
                </a:cubicBezTo>
                <a:cubicBezTo>
                  <a:pt x="5778" y="14927"/>
                  <a:pt x="5708" y="14940"/>
                  <a:pt x="5669" y="14940"/>
                </a:cubicBezTo>
                <a:cubicBezTo>
                  <a:pt x="5549" y="14940"/>
                  <a:pt x="5460" y="14901"/>
                  <a:pt x="5400" y="14822"/>
                </a:cubicBezTo>
                <a:cubicBezTo>
                  <a:pt x="5340" y="14744"/>
                  <a:pt x="5300" y="14657"/>
                  <a:pt x="5281" y="14561"/>
                </a:cubicBezTo>
                <a:cubicBezTo>
                  <a:pt x="5260" y="14466"/>
                  <a:pt x="5251" y="14374"/>
                  <a:pt x="5251" y="14287"/>
                </a:cubicBezTo>
                <a:cubicBezTo>
                  <a:pt x="5251" y="14200"/>
                  <a:pt x="5251" y="14148"/>
                  <a:pt x="5251" y="14130"/>
                </a:cubicBezTo>
                <a:cubicBezTo>
                  <a:pt x="5051" y="14148"/>
                  <a:pt x="4902" y="14191"/>
                  <a:pt x="4804" y="14261"/>
                </a:cubicBezTo>
                <a:cubicBezTo>
                  <a:pt x="4704" y="14331"/>
                  <a:pt x="4555" y="14365"/>
                  <a:pt x="4356" y="14365"/>
                </a:cubicBezTo>
                <a:lnTo>
                  <a:pt x="4296" y="13634"/>
                </a:lnTo>
                <a:cubicBezTo>
                  <a:pt x="4256" y="13634"/>
                  <a:pt x="4216" y="13625"/>
                  <a:pt x="4177" y="13608"/>
                </a:cubicBezTo>
                <a:cubicBezTo>
                  <a:pt x="4137" y="13608"/>
                  <a:pt x="4097" y="13599"/>
                  <a:pt x="4058" y="13582"/>
                </a:cubicBezTo>
                <a:cubicBezTo>
                  <a:pt x="4058" y="13599"/>
                  <a:pt x="4028" y="13634"/>
                  <a:pt x="3968" y="13686"/>
                </a:cubicBezTo>
                <a:cubicBezTo>
                  <a:pt x="3909" y="13738"/>
                  <a:pt x="3878" y="13773"/>
                  <a:pt x="3878" y="13791"/>
                </a:cubicBezTo>
                <a:lnTo>
                  <a:pt x="3759" y="13791"/>
                </a:lnTo>
                <a:cubicBezTo>
                  <a:pt x="3679" y="13791"/>
                  <a:pt x="3590" y="13764"/>
                  <a:pt x="3491" y="13712"/>
                </a:cubicBezTo>
                <a:cubicBezTo>
                  <a:pt x="3391" y="13660"/>
                  <a:pt x="3312" y="13595"/>
                  <a:pt x="3252" y="13516"/>
                </a:cubicBezTo>
                <a:cubicBezTo>
                  <a:pt x="3192" y="13438"/>
                  <a:pt x="3133" y="13364"/>
                  <a:pt x="3073" y="13294"/>
                </a:cubicBezTo>
                <a:cubicBezTo>
                  <a:pt x="3014" y="13225"/>
                  <a:pt x="2983" y="13181"/>
                  <a:pt x="2983" y="13164"/>
                </a:cubicBezTo>
                <a:cubicBezTo>
                  <a:pt x="2944" y="13129"/>
                  <a:pt x="2854" y="13051"/>
                  <a:pt x="2715" y="12929"/>
                </a:cubicBezTo>
                <a:cubicBezTo>
                  <a:pt x="2575" y="12807"/>
                  <a:pt x="2426" y="12676"/>
                  <a:pt x="2267" y="12537"/>
                </a:cubicBezTo>
                <a:cubicBezTo>
                  <a:pt x="2108" y="12398"/>
                  <a:pt x="1959" y="12267"/>
                  <a:pt x="1820" y="12145"/>
                </a:cubicBezTo>
                <a:cubicBezTo>
                  <a:pt x="1680" y="12024"/>
                  <a:pt x="1611" y="11945"/>
                  <a:pt x="1611" y="11910"/>
                </a:cubicBezTo>
                <a:cubicBezTo>
                  <a:pt x="1571" y="11753"/>
                  <a:pt x="1531" y="11623"/>
                  <a:pt x="1492" y="11518"/>
                </a:cubicBezTo>
                <a:cubicBezTo>
                  <a:pt x="1452" y="11414"/>
                  <a:pt x="1412" y="11305"/>
                  <a:pt x="1372" y="11192"/>
                </a:cubicBezTo>
                <a:cubicBezTo>
                  <a:pt x="1333" y="11079"/>
                  <a:pt x="1292" y="10987"/>
                  <a:pt x="1253" y="10918"/>
                </a:cubicBezTo>
                <a:lnTo>
                  <a:pt x="1253" y="10787"/>
                </a:lnTo>
                <a:cubicBezTo>
                  <a:pt x="1292" y="10596"/>
                  <a:pt x="1352" y="10413"/>
                  <a:pt x="1432" y="10238"/>
                </a:cubicBezTo>
                <a:cubicBezTo>
                  <a:pt x="1511" y="10099"/>
                  <a:pt x="1571" y="9964"/>
                  <a:pt x="1611" y="9834"/>
                </a:cubicBezTo>
                <a:cubicBezTo>
                  <a:pt x="1650" y="9703"/>
                  <a:pt x="1690" y="9621"/>
                  <a:pt x="1731" y="9586"/>
                </a:cubicBezTo>
                <a:cubicBezTo>
                  <a:pt x="1731" y="9568"/>
                  <a:pt x="1829" y="9581"/>
                  <a:pt x="2029" y="9625"/>
                </a:cubicBezTo>
                <a:cubicBezTo>
                  <a:pt x="2227" y="9668"/>
                  <a:pt x="2347" y="9690"/>
                  <a:pt x="2387" y="9690"/>
                </a:cubicBezTo>
                <a:lnTo>
                  <a:pt x="2506" y="9690"/>
                </a:lnTo>
                <a:lnTo>
                  <a:pt x="2626" y="9690"/>
                </a:lnTo>
                <a:lnTo>
                  <a:pt x="2745" y="9742"/>
                </a:lnTo>
                <a:lnTo>
                  <a:pt x="2804" y="9768"/>
                </a:lnTo>
                <a:cubicBezTo>
                  <a:pt x="2804" y="9786"/>
                  <a:pt x="2775" y="9817"/>
                  <a:pt x="2715" y="9860"/>
                </a:cubicBezTo>
                <a:cubicBezTo>
                  <a:pt x="2655" y="9903"/>
                  <a:pt x="2626" y="9934"/>
                  <a:pt x="2626" y="9951"/>
                </a:cubicBezTo>
                <a:cubicBezTo>
                  <a:pt x="2626" y="9969"/>
                  <a:pt x="2635" y="9990"/>
                  <a:pt x="2655" y="10017"/>
                </a:cubicBezTo>
                <a:cubicBezTo>
                  <a:pt x="2675" y="10043"/>
                  <a:pt x="2685" y="10073"/>
                  <a:pt x="2685" y="10108"/>
                </a:cubicBezTo>
                <a:cubicBezTo>
                  <a:pt x="2685" y="10230"/>
                  <a:pt x="2735" y="10295"/>
                  <a:pt x="2834" y="10304"/>
                </a:cubicBezTo>
                <a:cubicBezTo>
                  <a:pt x="2933" y="10313"/>
                  <a:pt x="3082" y="10317"/>
                  <a:pt x="3282" y="10317"/>
                </a:cubicBezTo>
                <a:cubicBezTo>
                  <a:pt x="3282" y="10230"/>
                  <a:pt x="3242" y="10152"/>
                  <a:pt x="3163" y="10082"/>
                </a:cubicBezTo>
                <a:cubicBezTo>
                  <a:pt x="3082" y="10012"/>
                  <a:pt x="3033" y="9947"/>
                  <a:pt x="3014" y="9886"/>
                </a:cubicBezTo>
                <a:cubicBezTo>
                  <a:pt x="2993" y="9825"/>
                  <a:pt x="3023" y="9773"/>
                  <a:pt x="3103" y="9729"/>
                </a:cubicBezTo>
                <a:cubicBezTo>
                  <a:pt x="3182" y="9686"/>
                  <a:pt x="3361" y="9638"/>
                  <a:pt x="3640" y="9586"/>
                </a:cubicBezTo>
                <a:cubicBezTo>
                  <a:pt x="3918" y="9551"/>
                  <a:pt x="4058" y="9577"/>
                  <a:pt x="4058" y="9664"/>
                </a:cubicBezTo>
                <a:cubicBezTo>
                  <a:pt x="4097" y="9507"/>
                  <a:pt x="4237" y="9420"/>
                  <a:pt x="4475" y="9403"/>
                </a:cubicBezTo>
                <a:cubicBezTo>
                  <a:pt x="4714" y="9386"/>
                  <a:pt x="4972" y="9377"/>
                  <a:pt x="5251" y="9377"/>
                </a:cubicBezTo>
                <a:cubicBezTo>
                  <a:pt x="5251" y="9185"/>
                  <a:pt x="5151" y="9011"/>
                  <a:pt x="4953" y="8854"/>
                </a:cubicBezTo>
                <a:cubicBezTo>
                  <a:pt x="4753" y="8698"/>
                  <a:pt x="4416" y="8602"/>
                  <a:pt x="3938" y="8567"/>
                </a:cubicBezTo>
                <a:cubicBezTo>
                  <a:pt x="3779" y="8637"/>
                  <a:pt x="3709" y="8750"/>
                  <a:pt x="3729" y="8906"/>
                </a:cubicBezTo>
                <a:cubicBezTo>
                  <a:pt x="3749" y="9063"/>
                  <a:pt x="3759" y="9177"/>
                  <a:pt x="3759" y="9246"/>
                </a:cubicBezTo>
                <a:cubicBezTo>
                  <a:pt x="3640" y="9246"/>
                  <a:pt x="3470" y="9259"/>
                  <a:pt x="3252" y="9285"/>
                </a:cubicBezTo>
                <a:cubicBezTo>
                  <a:pt x="3033" y="9311"/>
                  <a:pt x="2844" y="9324"/>
                  <a:pt x="2685" y="9324"/>
                </a:cubicBezTo>
                <a:cubicBezTo>
                  <a:pt x="2526" y="9324"/>
                  <a:pt x="2417" y="9303"/>
                  <a:pt x="2357" y="9259"/>
                </a:cubicBezTo>
                <a:cubicBezTo>
                  <a:pt x="2297" y="9216"/>
                  <a:pt x="2366" y="9124"/>
                  <a:pt x="2566" y="8985"/>
                </a:cubicBezTo>
                <a:cubicBezTo>
                  <a:pt x="2804" y="8985"/>
                  <a:pt x="2963" y="8968"/>
                  <a:pt x="3043" y="8933"/>
                </a:cubicBezTo>
                <a:cubicBezTo>
                  <a:pt x="3122" y="8898"/>
                  <a:pt x="3172" y="8859"/>
                  <a:pt x="3192" y="8815"/>
                </a:cubicBezTo>
                <a:cubicBezTo>
                  <a:pt x="3212" y="8772"/>
                  <a:pt x="3222" y="8724"/>
                  <a:pt x="3222" y="8671"/>
                </a:cubicBezTo>
                <a:cubicBezTo>
                  <a:pt x="3222" y="8619"/>
                  <a:pt x="3262" y="8558"/>
                  <a:pt x="3342" y="8489"/>
                </a:cubicBezTo>
                <a:cubicBezTo>
                  <a:pt x="3381" y="8454"/>
                  <a:pt x="3530" y="8389"/>
                  <a:pt x="3789" y="8293"/>
                </a:cubicBezTo>
                <a:cubicBezTo>
                  <a:pt x="4047" y="8197"/>
                  <a:pt x="4346" y="8097"/>
                  <a:pt x="4684" y="7992"/>
                </a:cubicBezTo>
                <a:cubicBezTo>
                  <a:pt x="5021" y="7888"/>
                  <a:pt x="5330" y="7788"/>
                  <a:pt x="5609" y="7692"/>
                </a:cubicBezTo>
                <a:cubicBezTo>
                  <a:pt x="5887" y="7596"/>
                  <a:pt x="6066" y="7531"/>
                  <a:pt x="6146" y="7496"/>
                </a:cubicBezTo>
                <a:cubicBezTo>
                  <a:pt x="6185" y="7461"/>
                  <a:pt x="6245" y="7435"/>
                  <a:pt x="6325" y="7418"/>
                </a:cubicBezTo>
                <a:cubicBezTo>
                  <a:pt x="6404" y="7400"/>
                  <a:pt x="6483" y="7374"/>
                  <a:pt x="6564" y="7339"/>
                </a:cubicBezTo>
                <a:lnTo>
                  <a:pt x="6623" y="7313"/>
                </a:lnTo>
                <a:cubicBezTo>
                  <a:pt x="6862" y="7296"/>
                  <a:pt x="7071" y="7383"/>
                  <a:pt x="7250" y="7574"/>
                </a:cubicBezTo>
                <a:cubicBezTo>
                  <a:pt x="7429" y="7766"/>
                  <a:pt x="7578" y="7888"/>
                  <a:pt x="7697" y="7940"/>
                </a:cubicBezTo>
                <a:cubicBezTo>
                  <a:pt x="7736" y="7958"/>
                  <a:pt x="7787" y="7949"/>
                  <a:pt x="7846" y="7914"/>
                </a:cubicBezTo>
                <a:cubicBezTo>
                  <a:pt x="7906" y="7879"/>
                  <a:pt x="7956" y="7862"/>
                  <a:pt x="7995" y="7862"/>
                </a:cubicBezTo>
                <a:cubicBezTo>
                  <a:pt x="7956" y="7740"/>
                  <a:pt x="7876" y="7636"/>
                  <a:pt x="7757" y="7548"/>
                </a:cubicBezTo>
                <a:cubicBezTo>
                  <a:pt x="7638" y="7461"/>
                  <a:pt x="7558" y="7357"/>
                  <a:pt x="7518" y="7235"/>
                </a:cubicBezTo>
                <a:cubicBezTo>
                  <a:pt x="7796" y="7235"/>
                  <a:pt x="7956" y="7192"/>
                  <a:pt x="7995" y="7104"/>
                </a:cubicBezTo>
                <a:cubicBezTo>
                  <a:pt x="8035" y="7017"/>
                  <a:pt x="8115" y="6930"/>
                  <a:pt x="8234" y="6843"/>
                </a:cubicBezTo>
                <a:cubicBezTo>
                  <a:pt x="8234" y="6791"/>
                  <a:pt x="8274" y="6712"/>
                  <a:pt x="8354" y="6608"/>
                </a:cubicBezTo>
                <a:cubicBezTo>
                  <a:pt x="8433" y="6503"/>
                  <a:pt x="8492" y="6451"/>
                  <a:pt x="8533" y="6451"/>
                </a:cubicBezTo>
                <a:lnTo>
                  <a:pt x="8652" y="6451"/>
                </a:lnTo>
                <a:cubicBezTo>
                  <a:pt x="8652" y="6503"/>
                  <a:pt x="8682" y="6578"/>
                  <a:pt x="8741" y="6673"/>
                </a:cubicBezTo>
                <a:cubicBezTo>
                  <a:pt x="8801" y="6769"/>
                  <a:pt x="8930" y="6817"/>
                  <a:pt x="9129" y="6817"/>
                </a:cubicBezTo>
                <a:lnTo>
                  <a:pt x="9189" y="6817"/>
                </a:lnTo>
                <a:cubicBezTo>
                  <a:pt x="9347" y="6573"/>
                  <a:pt x="9567" y="6343"/>
                  <a:pt x="9845" y="6125"/>
                </a:cubicBezTo>
                <a:cubicBezTo>
                  <a:pt x="10123" y="5907"/>
                  <a:pt x="10502" y="5720"/>
                  <a:pt x="10979" y="5563"/>
                </a:cubicBezTo>
                <a:lnTo>
                  <a:pt x="11039" y="5563"/>
                </a:lnTo>
                <a:cubicBezTo>
                  <a:pt x="11158" y="5563"/>
                  <a:pt x="11287" y="5598"/>
                  <a:pt x="11427" y="5668"/>
                </a:cubicBezTo>
                <a:cubicBezTo>
                  <a:pt x="11565" y="5737"/>
                  <a:pt x="11695" y="5820"/>
                  <a:pt x="11814" y="5916"/>
                </a:cubicBezTo>
                <a:cubicBezTo>
                  <a:pt x="11934" y="6012"/>
                  <a:pt x="12053" y="6094"/>
                  <a:pt x="12172" y="6164"/>
                </a:cubicBezTo>
                <a:cubicBezTo>
                  <a:pt x="12292" y="6234"/>
                  <a:pt x="12411" y="6268"/>
                  <a:pt x="12530" y="6268"/>
                </a:cubicBezTo>
                <a:cubicBezTo>
                  <a:pt x="12570" y="6268"/>
                  <a:pt x="12640" y="6238"/>
                  <a:pt x="12739" y="6177"/>
                </a:cubicBezTo>
                <a:cubicBezTo>
                  <a:pt x="12838" y="6116"/>
                  <a:pt x="12938" y="6042"/>
                  <a:pt x="13038" y="5955"/>
                </a:cubicBezTo>
                <a:cubicBezTo>
                  <a:pt x="13136" y="5868"/>
                  <a:pt x="13226" y="5790"/>
                  <a:pt x="13306" y="5720"/>
                </a:cubicBezTo>
                <a:cubicBezTo>
                  <a:pt x="13385" y="5651"/>
                  <a:pt x="13425" y="5598"/>
                  <a:pt x="13425" y="5563"/>
                </a:cubicBezTo>
                <a:lnTo>
                  <a:pt x="13425" y="5511"/>
                </a:lnTo>
                <a:cubicBezTo>
                  <a:pt x="13505" y="5494"/>
                  <a:pt x="13584" y="5468"/>
                  <a:pt x="13664" y="5433"/>
                </a:cubicBezTo>
                <a:cubicBezTo>
                  <a:pt x="13743" y="5398"/>
                  <a:pt x="13803" y="5372"/>
                  <a:pt x="13843" y="5354"/>
                </a:cubicBezTo>
                <a:lnTo>
                  <a:pt x="13843" y="5276"/>
                </a:lnTo>
                <a:cubicBezTo>
                  <a:pt x="13843" y="5189"/>
                  <a:pt x="13754" y="5128"/>
                  <a:pt x="13574" y="5093"/>
                </a:cubicBezTo>
                <a:cubicBezTo>
                  <a:pt x="13395" y="5058"/>
                  <a:pt x="13286" y="4980"/>
                  <a:pt x="13246" y="4858"/>
                </a:cubicBezTo>
                <a:cubicBezTo>
                  <a:pt x="13524" y="4858"/>
                  <a:pt x="13673" y="4884"/>
                  <a:pt x="13694" y="4936"/>
                </a:cubicBezTo>
                <a:cubicBezTo>
                  <a:pt x="13713" y="4989"/>
                  <a:pt x="13882" y="5015"/>
                  <a:pt x="14201" y="5015"/>
                </a:cubicBezTo>
                <a:cubicBezTo>
                  <a:pt x="14201" y="4928"/>
                  <a:pt x="14240" y="4854"/>
                  <a:pt x="14320" y="4793"/>
                </a:cubicBezTo>
                <a:cubicBezTo>
                  <a:pt x="14400" y="4732"/>
                  <a:pt x="14489" y="4667"/>
                  <a:pt x="14589" y="4597"/>
                </a:cubicBezTo>
                <a:cubicBezTo>
                  <a:pt x="14688" y="4528"/>
                  <a:pt x="14777" y="4453"/>
                  <a:pt x="14857" y="4375"/>
                </a:cubicBezTo>
                <a:cubicBezTo>
                  <a:pt x="14937" y="4296"/>
                  <a:pt x="14977" y="4188"/>
                  <a:pt x="14977" y="4048"/>
                </a:cubicBezTo>
                <a:cubicBezTo>
                  <a:pt x="14937" y="3927"/>
                  <a:pt x="14897" y="3813"/>
                  <a:pt x="14857" y="3709"/>
                </a:cubicBezTo>
                <a:cubicBezTo>
                  <a:pt x="14817" y="3604"/>
                  <a:pt x="14619" y="3535"/>
                  <a:pt x="14261" y="3500"/>
                </a:cubicBezTo>
                <a:cubicBezTo>
                  <a:pt x="14261" y="3535"/>
                  <a:pt x="14210" y="3574"/>
                  <a:pt x="14112" y="3617"/>
                </a:cubicBezTo>
                <a:cubicBezTo>
                  <a:pt x="14012" y="3661"/>
                  <a:pt x="13922" y="3692"/>
                  <a:pt x="13843" y="3709"/>
                </a:cubicBezTo>
                <a:cubicBezTo>
                  <a:pt x="13843" y="3726"/>
                  <a:pt x="13793" y="3713"/>
                  <a:pt x="13694" y="3670"/>
                </a:cubicBezTo>
                <a:cubicBezTo>
                  <a:pt x="13594" y="3626"/>
                  <a:pt x="13524" y="3604"/>
                  <a:pt x="13485" y="3604"/>
                </a:cubicBezTo>
                <a:lnTo>
                  <a:pt x="13366" y="3604"/>
                </a:lnTo>
                <a:lnTo>
                  <a:pt x="13246" y="3604"/>
                </a:lnTo>
                <a:cubicBezTo>
                  <a:pt x="13206" y="3604"/>
                  <a:pt x="13136" y="3626"/>
                  <a:pt x="13038" y="3670"/>
                </a:cubicBezTo>
                <a:cubicBezTo>
                  <a:pt x="12938" y="3713"/>
                  <a:pt x="12868" y="3735"/>
                  <a:pt x="12829" y="3735"/>
                </a:cubicBezTo>
                <a:cubicBezTo>
                  <a:pt x="12669" y="3735"/>
                  <a:pt x="12590" y="3700"/>
                  <a:pt x="12590" y="3630"/>
                </a:cubicBezTo>
                <a:cubicBezTo>
                  <a:pt x="12669" y="3613"/>
                  <a:pt x="12749" y="3587"/>
                  <a:pt x="12829" y="3552"/>
                </a:cubicBezTo>
                <a:cubicBezTo>
                  <a:pt x="12908" y="3517"/>
                  <a:pt x="12968" y="3491"/>
                  <a:pt x="13008" y="3474"/>
                </a:cubicBezTo>
                <a:cubicBezTo>
                  <a:pt x="13008" y="3457"/>
                  <a:pt x="12997" y="3439"/>
                  <a:pt x="12978" y="3422"/>
                </a:cubicBezTo>
                <a:cubicBezTo>
                  <a:pt x="12958" y="3404"/>
                  <a:pt x="12948" y="3387"/>
                  <a:pt x="12948" y="3369"/>
                </a:cubicBezTo>
                <a:lnTo>
                  <a:pt x="12888" y="3369"/>
                </a:lnTo>
                <a:cubicBezTo>
                  <a:pt x="12848" y="3369"/>
                  <a:pt x="12808" y="3361"/>
                  <a:pt x="12769" y="3343"/>
                </a:cubicBezTo>
                <a:cubicBezTo>
                  <a:pt x="12769" y="3361"/>
                  <a:pt x="12719" y="3382"/>
                  <a:pt x="12620" y="3408"/>
                </a:cubicBezTo>
                <a:cubicBezTo>
                  <a:pt x="12520" y="3435"/>
                  <a:pt x="12450" y="3457"/>
                  <a:pt x="12411" y="3474"/>
                </a:cubicBezTo>
                <a:cubicBezTo>
                  <a:pt x="12211" y="3265"/>
                  <a:pt x="11943" y="3165"/>
                  <a:pt x="11606" y="3173"/>
                </a:cubicBezTo>
                <a:cubicBezTo>
                  <a:pt x="11267" y="3182"/>
                  <a:pt x="10899" y="3169"/>
                  <a:pt x="10502" y="3134"/>
                </a:cubicBezTo>
                <a:cubicBezTo>
                  <a:pt x="10541" y="3239"/>
                  <a:pt x="10561" y="3322"/>
                  <a:pt x="10561" y="3382"/>
                </a:cubicBezTo>
                <a:cubicBezTo>
                  <a:pt x="10561" y="3444"/>
                  <a:pt x="10532" y="3496"/>
                  <a:pt x="10472" y="3539"/>
                </a:cubicBezTo>
                <a:cubicBezTo>
                  <a:pt x="10412" y="3583"/>
                  <a:pt x="10302" y="3596"/>
                  <a:pt x="10144" y="3578"/>
                </a:cubicBezTo>
                <a:cubicBezTo>
                  <a:pt x="10064" y="3578"/>
                  <a:pt x="9965" y="3557"/>
                  <a:pt x="9845" y="3513"/>
                </a:cubicBezTo>
                <a:cubicBezTo>
                  <a:pt x="9726" y="3470"/>
                  <a:pt x="9666" y="3431"/>
                  <a:pt x="9666" y="3395"/>
                </a:cubicBezTo>
                <a:lnTo>
                  <a:pt x="8652" y="3892"/>
                </a:lnTo>
                <a:lnTo>
                  <a:pt x="8533" y="3892"/>
                </a:lnTo>
                <a:lnTo>
                  <a:pt x="8413" y="3892"/>
                </a:lnTo>
                <a:cubicBezTo>
                  <a:pt x="8373" y="3892"/>
                  <a:pt x="8333" y="3883"/>
                  <a:pt x="8294" y="3866"/>
                </a:cubicBezTo>
                <a:cubicBezTo>
                  <a:pt x="8254" y="3848"/>
                  <a:pt x="8234" y="3831"/>
                  <a:pt x="8234" y="3813"/>
                </a:cubicBezTo>
                <a:lnTo>
                  <a:pt x="8115" y="3787"/>
                </a:lnTo>
                <a:cubicBezTo>
                  <a:pt x="7995" y="3805"/>
                  <a:pt x="7915" y="3844"/>
                  <a:pt x="7876" y="3905"/>
                </a:cubicBezTo>
                <a:cubicBezTo>
                  <a:pt x="7836" y="3966"/>
                  <a:pt x="7817" y="4022"/>
                  <a:pt x="7817" y="4074"/>
                </a:cubicBezTo>
                <a:cubicBezTo>
                  <a:pt x="7379" y="4074"/>
                  <a:pt x="6941" y="4114"/>
                  <a:pt x="6504" y="4192"/>
                </a:cubicBezTo>
                <a:cubicBezTo>
                  <a:pt x="6066" y="4270"/>
                  <a:pt x="5609" y="4319"/>
                  <a:pt x="5132" y="4336"/>
                </a:cubicBezTo>
                <a:cubicBezTo>
                  <a:pt x="5091" y="4458"/>
                  <a:pt x="4972" y="4523"/>
                  <a:pt x="4773" y="4531"/>
                </a:cubicBezTo>
                <a:cubicBezTo>
                  <a:pt x="4574" y="4541"/>
                  <a:pt x="4375" y="4554"/>
                  <a:pt x="4177" y="4571"/>
                </a:cubicBezTo>
                <a:cubicBezTo>
                  <a:pt x="4097" y="4571"/>
                  <a:pt x="3977" y="4571"/>
                  <a:pt x="3819" y="4571"/>
                </a:cubicBezTo>
                <a:cubicBezTo>
                  <a:pt x="3660" y="4571"/>
                  <a:pt x="3560" y="4562"/>
                  <a:pt x="3521" y="4545"/>
                </a:cubicBezTo>
                <a:cubicBezTo>
                  <a:pt x="3480" y="4458"/>
                  <a:pt x="3381" y="4362"/>
                  <a:pt x="3222" y="4257"/>
                </a:cubicBezTo>
                <a:cubicBezTo>
                  <a:pt x="3063" y="4153"/>
                  <a:pt x="2903" y="4048"/>
                  <a:pt x="2745" y="3944"/>
                </a:cubicBezTo>
                <a:cubicBezTo>
                  <a:pt x="2585" y="3839"/>
                  <a:pt x="2426" y="3748"/>
                  <a:pt x="2267" y="3670"/>
                </a:cubicBezTo>
                <a:cubicBezTo>
                  <a:pt x="2108" y="3591"/>
                  <a:pt x="2008" y="3526"/>
                  <a:pt x="1969" y="3474"/>
                </a:cubicBezTo>
                <a:cubicBezTo>
                  <a:pt x="2049" y="3474"/>
                  <a:pt x="2088" y="3435"/>
                  <a:pt x="2088" y="3356"/>
                </a:cubicBezTo>
                <a:cubicBezTo>
                  <a:pt x="2088" y="3278"/>
                  <a:pt x="2088" y="3230"/>
                  <a:pt x="2088" y="3213"/>
                </a:cubicBezTo>
                <a:cubicBezTo>
                  <a:pt x="2008" y="3143"/>
                  <a:pt x="1859" y="3052"/>
                  <a:pt x="1641" y="2938"/>
                </a:cubicBezTo>
                <a:cubicBezTo>
                  <a:pt x="1422" y="2825"/>
                  <a:pt x="1193" y="2703"/>
                  <a:pt x="955" y="2573"/>
                </a:cubicBezTo>
                <a:cubicBezTo>
                  <a:pt x="716" y="2442"/>
                  <a:pt x="497" y="2312"/>
                  <a:pt x="298" y="2181"/>
                </a:cubicBezTo>
                <a:cubicBezTo>
                  <a:pt x="99" y="2050"/>
                  <a:pt x="0" y="1933"/>
                  <a:pt x="0" y="1828"/>
                </a:cubicBezTo>
                <a:cubicBezTo>
                  <a:pt x="0" y="1689"/>
                  <a:pt x="69" y="1615"/>
                  <a:pt x="209" y="1606"/>
                </a:cubicBezTo>
                <a:cubicBezTo>
                  <a:pt x="348" y="1598"/>
                  <a:pt x="576" y="1585"/>
                  <a:pt x="895" y="1567"/>
                </a:cubicBezTo>
                <a:cubicBezTo>
                  <a:pt x="1213" y="1567"/>
                  <a:pt x="1482" y="1593"/>
                  <a:pt x="1701" y="1645"/>
                </a:cubicBezTo>
                <a:cubicBezTo>
                  <a:pt x="1919" y="1698"/>
                  <a:pt x="2168" y="1724"/>
                  <a:pt x="2447" y="1724"/>
                </a:cubicBezTo>
                <a:cubicBezTo>
                  <a:pt x="2447" y="1672"/>
                  <a:pt x="2447" y="1598"/>
                  <a:pt x="2447" y="1502"/>
                </a:cubicBezTo>
                <a:cubicBezTo>
                  <a:pt x="2447" y="1406"/>
                  <a:pt x="2447" y="1310"/>
                  <a:pt x="2447" y="1214"/>
                </a:cubicBezTo>
                <a:cubicBezTo>
                  <a:pt x="2447" y="1119"/>
                  <a:pt x="2466" y="1032"/>
                  <a:pt x="2506" y="953"/>
                </a:cubicBezTo>
                <a:cubicBezTo>
                  <a:pt x="2545" y="875"/>
                  <a:pt x="2605" y="836"/>
                  <a:pt x="2685" y="836"/>
                </a:cubicBezTo>
                <a:cubicBezTo>
                  <a:pt x="2963" y="801"/>
                  <a:pt x="3163" y="766"/>
                  <a:pt x="3282" y="731"/>
                </a:cubicBezTo>
                <a:cubicBezTo>
                  <a:pt x="3401" y="697"/>
                  <a:pt x="3470" y="666"/>
                  <a:pt x="3491" y="640"/>
                </a:cubicBezTo>
                <a:cubicBezTo>
                  <a:pt x="3510" y="614"/>
                  <a:pt x="3521" y="588"/>
                  <a:pt x="3521" y="562"/>
                </a:cubicBezTo>
                <a:cubicBezTo>
                  <a:pt x="3521" y="535"/>
                  <a:pt x="3580" y="522"/>
                  <a:pt x="3699" y="522"/>
                </a:cubicBezTo>
                <a:cubicBezTo>
                  <a:pt x="3898" y="488"/>
                  <a:pt x="4137" y="470"/>
                  <a:pt x="4416" y="470"/>
                </a:cubicBezTo>
                <a:cubicBezTo>
                  <a:pt x="4693" y="470"/>
                  <a:pt x="4953" y="453"/>
                  <a:pt x="5191" y="418"/>
                </a:cubicBezTo>
                <a:cubicBezTo>
                  <a:pt x="5390" y="348"/>
                  <a:pt x="5529" y="283"/>
                  <a:pt x="5609" y="222"/>
                </a:cubicBezTo>
                <a:cubicBezTo>
                  <a:pt x="5688" y="161"/>
                  <a:pt x="5827" y="131"/>
                  <a:pt x="6027" y="131"/>
                </a:cubicBezTo>
                <a:lnTo>
                  <a:pt x="6146" y="131"/>
                </a:lnTo>
                <a:lnTo>
                  <a:pt x="5549" y="653"/>
                </a:lnTo>
                <a:cubicBezTo>
                  <a:pt x="5986" y="705"/>
                  <a:pt x="6415" y="744"/>
                  <a:pt x="6832" y="770"/>
                </a:cubicBezTo>
                <a:cubicBezTo>
                  <a:pt x="7250" y="797"/>
                  <a:pt x="7677" y="801"/>
                  <a:pt x="8115" y="784"/>
                </a:cubicBezTo>
                <a:cubicBezTo>
                  <a:pt x="8274" y="784"/>
                  <a:pt x="8363" y="766"/>
                  <a:pt x="8383" y="731"/>
                </a:cubicBezTo>
                <a:cubicBezTo>
                  <a:pt x="8403" y="697"/>
                  <a:pt x="8413" y="653"/>
                  <a:pt x="8413" y="601"/>
                </a:cubicBezTo>
                <a:cubicBezTo>
                  <a:pt x="8413" y="548"/>
                  <a:pt x="8423" y="496"/>
                  <a:pt x="8443" y="444"/>
                </a:cubicBezTo>
                <a:cubicBezTo>
                  <a:pt x="8463" y="392"/>
                  <a:pt x="8533" y="357"/>
                  <a:pt x="8652" y="339"/>
                </a:cubicBezTo>
                <a:cubicBezTo>
                  <a:pt x="8652" y="357"/>
                  <a:pt x="8682" y="401"/>
                  <a:pt x="8741" y="470"/>
                </a:cubicBezTo>
                <a:cubicBezTo>
                  <a:pt x="8801" y="540"/>
                  <a:pt x="8870" y="584"/>
                  <a:pt x="8950" y="601"/>
                </a:cubicBezTo>
                <a:lnTo>
                  <a:pt x="9010" y="601"/>
                </a:lnTo>
                <a:lnTo>
                  <a:pt x="9129" y="601"/>
                </a:lnTo>
                <a:cubicBezTo>
                  <a:pt x="9169" y="566"/>
                  <a:pt x="9298" y="501"/>
                  <a:pt x="9517" y="405"/>
                </a:cubicBezTo>
                <a:cubicBezTo>
                  <a:pt x="9735" y="309"/>
                  <a:pt x="9865" y="244"/>
                  <a:pt x="9905" y="209"/>
                </a:cubicBezTo>
                <a:cubicBezTo>
                  <a:pt x="9984" y="192"/>
                  <a:pt x="10074" y="170"/>
                  <a:pt x="10173" y="144"/>
                </a:cubicBezTo>
                <a:cubicBezTo>
                  <a:pt x="10272" y="117"/>
                  <a:pt x="10342" y="104"/>
                  <a:pt x="10382" y="104"/>
                </a:cubicBezTo>
                <a:cubicBezTo>
                  <a:pt x="10462" y="87"/>
                  <a:pt x="10600" y="104"/>
                  <a:pt x="10800" y="157"/>
                </a:cubicBezTo>
                <a:cubicBezTo>
                  <a:pt x="10999" y="209"/>
                  <a:pt x="11137" y="253"/>
                  <a:pt x="11218" y="287"/>
                </a:cubicBezTo>
                <a:lnTo>
                  <a:pt x="11218" y="392"/>
                </a:lnTo>
                <a:cubicBezTo>
                  <a:pt x="11218" y="479"/>
                  <a:pt x="11188" y="557"/>
                  <a:pt x="11128" y="627"/>
                </a:cubicBezTo>
                <a:cubicBezTo>
                  <a:pt x="11068" y="697"/>
                  <a:pt x="11039" y="775"/>
                  <a:pt x="11039" y="862"/>
                </a:cubicBezTo>
                <a:lnTo>
                  <a:pt x="11039" y="914"/>
                </a:lnTo>
                <a:cubicBezTo>
                  <a:pt x="11078" y="932"/>
                  <a:pt x="11118" y="953"/>
                  <a:pt x="11158" y="979"/>
                </a:cubicBezTo>
                <a:cubicBezTo>
                  <a:pt x="11197" y="1006"/>
                  <a:pt x="11237" y="1019"/>
                  <a:pt x="11277" y="1019"/>
                </a:cubicBezTo>
                <a:cubicBezTo>
                  <a:pt x="11397" y="949"/>
                  <a:pt x="11466" y="858"/>
                  <a:pt x="11486" y="744"/>
                </a:cubicBezTo>
                <a:cubicBezTo>
                  <a:pt x="11506" y="631"/>
                  <a:pt x="11525" y="527"/>
                  <a:pt x="11546" y="431"/>
                </a:cubicBezTo>
                <a:cubicBezTo>
                  <a:pt x="11565" y="335"/>
                  <a:pt x="11615" y="248"/>
                  <a:pt x="11695" y="170"/>
                </a:cubicBezTo>
                <a:cubicBezTo>
                  <a:pt x="11774" y="91"/>
                  <a:pt x="11913" y="35"/>
                  <a:pt x="12113" y="0"/>
                </a:cubicBezTo>
                <a:lnTo>
                  <a:pt x="12172" y="548"/>
                </a:lnTo>
                <a:lnTo>
                  <a:pt x="12292" y="601"/>
                </a:lnTo>
                <a:cubicBezTo>
                  <a:pt x="12371" y="653"/>
                  <a:pt x="12450" y="662"/>
                  <a:pt x="12530" y="627"/>
                </a:cubicBezTo>
                <a:cubicBezTo>
                  <a:pt x="12650" y="540"/>
                  <a:pt x="12710" y="475"/>
                  <a:pt x="12710" y="431"/>
                </a:cubicBezTo>
                <a:cubicBezTo>
                  <a:pt x="12710" y="388"/>
                  <a:pt x="12699" y="361"/>
                  <a:pt x="12679" y="353"/>
                </a:cubicBezTo>
                <a:cubicBezTo>
                  <a:pt x="12659" y="344"/>
                  <a:pt x="12659" y="335"/>
                  <a:pt x="12679" y="326"/>
                </a:cubicBezTo>
                <a:cubicBezTo>
                  <a:pt x="12699" y="318"/>
                  <a:pt x="12808" y="313"/>
                  <a:pt x="13008" y="313"/>
                </a:cubicBezTo>
                <a:cubicBezTo>
                  <a:pt x="13206" y="313"/>
                  <a:pt x="13475" y="331"/>
                  <a:pt x="13813" y="366"/>
                </a:cubicBezTo>
                <a:cubicBezTo>
                  <a:pt x="14151" y="401"/>
                  <a:pt x="14340" y="479"/>
                  <a:pt x="14380" y="601"/>
                </a:cubicBezTo>
                <a:lnTo>
                  <a:pt x="14380" y="653"/>
                </a:lnTo>
                <a:cubicBezTo>
                  <a:pt x="14380" y="670"/>
                  <a:pt x="14350" y="705"/>
                  <a:pt x="14290" y="757"/>
                </a:cubicBezTo>
                <a:cubicBezTo>
                  <a:pt x="14231" y="810"/>
                  <a:pt x="14201" y="845"/>
                  <a:pt x="14201" y="862"/>
                </a:cubicBezTo>
                <a:lnTo>
                  <a:pt x="14201" y="914"/>
                </a:lnTo>
                <a:cubicBezTo>
                  <a:pt x="14201" y="966"/>
                  <a:pt x="14280" y="997"/>
                  <a:pt x="14440" y="1006"/>
                </a:cubicBezTo>
                <a:cubicBezTo>
                  <a:pt x="14598" y="1014"/>
                  <a:pt x="14738" y="1019"/>
                  <a:pt x="14857" y="1019"/>
                </a:cubicBezTo>
                <a:cubicBezTo>
                  <a:pt x="15016" y="1019"/>
                  <a:pt x="15116" y="1006"/>
                  <a:pt x="15156" y="979"/>
                </a:cubicBezTo>
                <a:cubicBezTo>
                  <a:pt x="15195" y="953"/>
                  <a:pt x="15295" y="940"/>
                  <a:pt x="15454" y="940"/>
                </a:cubicBezTo>
                <a:cubicBezTo>
                  <a:pt x="15533" y="940"/>
                  <a:pt x="15672" y="979"/>
                  <a:pt x="15872" y="1058"/>
                </a:cubicBezTo>
                <a:cubicBezTo>
                  <a:pt x="16070" y="1136"/>
                  <a:pt x="16289" y="1228"/>
                  <a:pt x="16528" y="1332"/>
                </a:cubicBezTo>
                <a:cubicBezTo>
                  <a:pt x="16767" y="1437"/>
                  <a:pt x="16976" y="1537"/>
                  <a:pt x="17155" y="1632"/>
                </a:cubicBezTo>
                <a:cubicBezTo>
                  <a:pt x="17334" y="1728"/>
                  <a:pt x="17423" y="1785"/>
                  <a:pt x="17423" y="1802"/>
                </a:cubicBezTo>
                <a:cubicBezTo>
                  <a:pt x="17462" y="1820"/>
                  <a:pt x="17552" y="1898"/>
                  <a:pt x="17691" y="2037"/>
                </a:cubicBezTo>
                <a:cubicBezTo>
                  <a:pt x="17831" y="2177"/>
                  <a:pt x="17920" y="2281"/>
                  <a:pt x="17960" y="2351"/>
                </a:cubicBezTo>
                <a:cubicBezTo>
                  <a:pt x="17999" y="2455"/>
                  <a:pt x="18050" y="2516"/>
                  <a:pt x="18109" y="2534"/>
                </a:cubicBezTo>
                <a:cubicBezTo>
                  <a:pt x="18169" y="2551"/>
                  <a:pt x="18238" y="2560"/>
                  <a:pt x="18318" y="2560"/>
                </a:cubicBezTo>
                <a:cubicBezTo>
                  <a:pt x="18397" y="2560"/>
                  <a:pt x="18487" y="2560"/>
                  <a:pt x="18586" y="2560"/>
                </a:cubicBezTo>
                <a:cubicBezTo>
                  <a:pt x="18685" y="2560"/>
                  <a:pt x="18815" y="2595"/>
                  <a:pt x="18974" y="2664"/>
                </a:cubicBezTo>
                <a:cubicBezTo>
                  <a:pt x="19491" y="2891"/>
                  <a:pt x="19998" y="3139"/>
                  <a:pt x="20496" y="3408"/>
                </a:cubicBezTo>
                <a:cubicBezTo>
                  <a:pt x="20993" y="3679"/>
                  <a:pt x="21162" y="3988"/>
                  <a:pt x="21003" y="4336"/>
                </a:cubicBezTo>
                <a:cubicBezTo>
                  <a:pt x="21123" y="4283"/>
                  <a:pt x="21302" y="4257"/>
                  <a:pt x="21540" y="4257"/>
                </a:cubicBezTo>
                <a:cubicBezTo>
                  <a:pt x="21540" y="4362"/>
                  <a:pt x="21530" y="4445"/>
                  <a:pt x="21510" y="4505"/>
                </a:cubicBezTo>
                <a:cubicBezTo>
                  <a:pt x="21490" y="4567"/>
                  <a:pt x="21460" y="4614"/>
                  <a:pt x="21421" y="4649"/>
                </a:cubicBezTo>
                <a:cubicBezTo>
                  <a:pt x="21381" y="4684"/>
                  <a:pt x="21351" y="4719"/>
                  <a:pt x="21331" y="4753"/>
                </a:cubicBezTo>
                <a:cubicBezTo>
                  <a:pt x="21311" y="4789"/>
                  <a:pt x="21302" y="4841"/>
                  <a:pt x="21302" y="4910"/>
                </a:cubicBezTo>
                <a:cubicBezTo>
                  <a:pt x="21302" y="4980"/>
                  <a:pt x="21351" y="5024"/>
                  <a:pt x="21451" y="5041"/>
                </a:cubicBezTo>
                <a:cubicBezTo>
                  <a:pt x="21550" y="5058"/>
                  <a:pt x="21600" y="5084"/>
                  <a:pt x="21600" y="5119"/>
                </a:cubicBezTo>
                <a:cubicBezTo>
                  <a:pt x="21600" y="5224"/>
                  <a:pt x="21490" y="5289"/>
                  <a:pt x="21272" y="5315"/>
                </a:cubicBezTo>
                <a:cubicBezTo>
                  <a:pt x="21053" y="5341"/>
                  <a:pt x="20884" y="5389"/>
                  <a:pt x="20764" y="5459"/>
                </a:cubicBezTo>
                <a:lnTo>
                  <a:pt x="20705" y="5511"/>
                </a:lnTo>
                <a:cubicBezTo>
                  <a:pt x="20705" y="5528"/>
                  <a:pt x="20725" y="5546"/>
                  <a:pt x="20764" y="5563"/>
                </a:cubicBezTo>
                <a:cubicBezTo>
                  <a:pt x="20804" y="5563"/>
                  <a:pt x="20854" y="5589"/>
                  <a:pt x="20914" y="5642"/>
                </a:cubicBezTo>
                <a:cubicBezTo>
                  <a:pt x="20973" y="5694"/>
                  <a:pt x="21003" y="5729"/>
                  <a:pt x="21003" y="5746"/>
                </a:cubicBezTo>
                <a:cubicBezTo>
                  <a:pt x="20923" y="5850"/>
                  <a:pt x="20784" y="6003"/>
                  <a:pt x="20585" y="6203"/>
                </a:cubicBezTo>
                <a:cubicBezTo>
                  <a:pt x="20386" y="6403"/>
                  <a:pt x="20128" y="6503"/>
                  <a:pt x="19810" y="6503"/>
                </a:cubicBezTo>
                <a:cubicBezTo>
                  <a:pt x="19610" y="6503"/>
                  <a:pt x="19461" y="6477"/>
                  <a:pt x="19362" y="6425"/>
                </a:cubicBezTo>
                <a:cubicBezTo>
                  <a:pt x="19263" y="6373"/>
                  <a:pt x="19183" y="6317"/>
                  <a:pt x="19124" y="6255"/>
                </a:cubicBezTo>
                <a:cubicBezTo>
                  <a:pt x="19064" y="6195"/>
                  <a:pt x="18994" y="6134"/>
                  <a:pt x="18915" y="6072"/>
                </a:cubicBezTo>
                <a:cubicBezTo>
                  <a:pt x="18834" y="6012"/>
                  <a:pt x="18715" y="5981"/>
                  <a:pt x="18557" y="5981"/>
                </a:cubicBezTo>
                <a:cubicBezTo>
                  <a:pt x="18596" y="6155"/>
                  <a:pt x="18656" y="6277"/>
                  <a:pt x="18736" y="6347"/>
                </a:cubicBezTo>
                <a:cubicBezTo>
                  <a:pt x="18815" y="6417"/>
                  <a:pt x="18915" y="6530"/>
                  <a:pt x="19034" y="6686"/>
                </a:cubicBezTo>
                <a:lnTo>
                  <a:pt x="18915" y="6712"/>
                </a:lnTo>
                <a:cubicBezTo>
                  <a:pt x="18636" y="6712"/>
                  <a:pt x="18387" y="6652"/>
                  <a:pt x="18169" y="6530"/>
                </a:cubicBezTo>
                <a:cubicBezTo>
                  <a:pt x="17950" y="6408"/>
                  <a:pt x="17741" y="6321"/>
                  <a:pt x="17542" y="6268"/>
                </a:cubicBezTo>
                <a:cubicBezTo>
                  <a:pt x="17462" y="6268"/>
                  <a:pt x="17403" y="6281"/>
                  <a:pt x="17363" y="6308"/>
                </a:cubicBezTo>
                <a:cubicBezTo>
                  <a:pt x="17324" y="6334"/>
                  <a:pt x="17283" y="6356"/>
                  <a:pt x="17244" y="6373"/>
                </a:cubicBezTo>
                <a:cubicBezTo>
                  <a:pt x="17244" y="6390"/>
                  <a:pt x="17304" y="6430"/>
                  <a:pt x="17423" y="6490"/>
                </a:cubicBezTo>
                <a:cubicBezTo>
                  <a:pt x="17542" y="6552"/>
                  <a:pt x="17671" y="6617"/>
                  <a:pt x="17811" y="6686"/>
                </a:cubicBezTo>
                <a:cubicBezTo>
                  <a:pt x="17950" y="6756"/>
                  <a:pt x="18079" y="6821"/>
                  <a:pt x="18199" y="6882"/>
                </a:cubicBezTo>
                <a:cubicBezTo>
                  <a:pt x="18318" y="6943"/>
                  <a:pt x="18378" y="6983"/>
                  <a:pt x="18378" y="7000"/>
                </a:cubicBezTo>
                <a:cubicBezTo>
                  <a:pt x="18378" y="7017"/>
                  <a:pt x="18268" y="7056"/>
                  <a:pt x="18050" y="7117"/>
                </a:cubicBezTo>
                <a:cubicBezTo>
                  <a:pt x="17831" y="7178"/>
                  <a:pt x="17741" y="7226"/>
                  <a:pt x="17781" y="7261"/>
                </a:cubicBezTo>
                <a:lnTo>
                  <a:pt x="17006" y="7209"/>
                </a:lnTo>
                <a:cubicBezTo>
                  <a:pt x="17006" y="7296"/>
                  <a:pt x="17075" y="7427"/>
                  <a:pt x="17214" y="7600"/>
                </a:cubicBezTo>
                <a:cubicBezTo>
                  <a:pt x="17353" y="7775"/>
                  <a:pt x="17304" y="7888"/>
                  <a:pt x="17065" y="7940"/>
                </a:cubicBezTo>
                <a:cubicBezTo>
                  <a:pt x="17065" y="7905"/>
                  <a:pt x="17015" y="7840"/>
                  <a:pt x="16916" y="7744"/>
                </a:cubicBezTo>
                <a:cubicBezTo>
                  <a:pt x="16816" y="7649"/>
                  <a:pt x="16707" y="7553"/>
                  <a:pt x="16588" y="7457"/>
                </a:cubicBezTo>
                <a:cubicBezTo>
                  <a:pt x="16468" y="7361"/>
                  <a:pt x="16339" y="7278"/>
                  <a:pt x="16200" y="7209"/>
                </a:cubicBezTo>
                <a:cubicBezTo>
                  <a:pt x="16060" y="7139"/>
                  <a:pt x="15971" y="7104"/>
                  <a:pt x="15931" y="7104"/>
                </a:cubicBezTo>
                <a:cubicBezTo>
                  <a:pt x="16011" y="7331"/>
                  <a:pt x="16051" y="7514"/>
                  <a:pt x="16051" y="7653"/>
                </a:cubicBezTo>
                <a:cubicBezTo>
                  <a:pt x="16051" y="7792"/>
                  <a:pt x="15981" y="7927"/>
                  <a:pt x="15842" y="8058"/>
                </a:cubicBezTo>
                <a:cubicBezTo>
                  <a:pt x="15702" y="8188"/>
                  <a:pt x="15454" y="8280"/>
                  <a:pt x="15096" y="8332"/>
                </a:cubicBezTo>
                <a:cubicBezTo>
                  <a:pt x="15096" y="8297"/>
                  <a:pt x="15076" y="8271"/>
                  <a:pt x="15036" y="8253"/>
                </a:cubicBezTo>
                <a:cubicBezTo>
                  <a:pt x="15036" y="8167"/>
                  <a:pt x="14996" y="8040"/>
                  <a:pt x="14917" y="7875"/>
                </a:cubicBezTo>
                <a:cubicBezTo>
                  <a:pt x="14837" y="7709"/>
                  <a:pt x="14837" y="7583"/>
                  <a:pt x="14917" y="7496"/>
                </a:cubicBezTo>
                <a:lnTo>
                  <a:pt x="14917" y="7444"/>
                </a:lnTo>
                <a:lnTo>
                  <a:pt x="14917" y="7418"/>
                </a:lnTo>
                <a:cubicBezTo>
                  <a:pt x="14917" y="7400"/>
                  <a:pt x="14887" y="7383"/>
                  <a:pt x="14828" y="7365"/>
                </a:cubicBezTo>
                <a:cubicBezTo>
                  <a:pt x="14768" y="7348"/>
                  <a:pt x="14717" y="7331"/>
                  <a:pt x="14678" y="7313"/>
                </a:cubicBezTo>
                <a:cubicBezTo>
                  <a:pt x="14519" y="7383"/>
                  <a:pt x="14419" y="7479"/>
                  <a:pt x="14380" y="7600"/>
                </a:cubicBezTo>
                <a:cubicBezTo>
                  <a:pt x="14340" y="7722"/>
                  <a:pt x="14300" y="7849"/>
                  <a:pt x="14261" y="7979"/>
                </a:cubicBezTo>
                <a:cubicBezTo>
                  <a:pt x="14220" y="8110"/>
                  <a:pt x="14161" y="8223"/>
                  <a:pt x="14082" y="8319"/>
                </a:cubicBezTo>
                <a:cubicBezTo>
                  <a:pt x="14002" y="8415"/>
                  <a:pt x="13843" y="8462"/>
                  <a:pt x="13605" y="8462"/>
                </a:cubicBezTo>
                <a:lnTo>
                  <a:pt x="13545" y="8462"/>
                </a:lnTo>
                <a:cubicBezTo>
                  <a:pt x="13345" y="8375"/>
                  <a:pt x="13166" y="8267"/>
                  <a:pt x="13008" y="8136"/>
                </a:cubicBezTo>
                <a:cubicBezTo>
                  <a:pt x="12848" y="8005"/>
                  <a:pt x="12629" y="7940"/>
                  <a:pt x="12351" y="7940"/>
                </a:cubicBezTo>
                <a:cubicBezTo>
                  <a:pt x="12351" y="8045"/>
                  <a:pt x="12441" y="8171"/>
                  <a:pt x="12620" y="8319"/>
                </a:cubicBezTo>
                <a:cubicBezTo>
                  <a:pt x="12799" y="8467"/>
                  <a:pt x="12888" y="8611"/>
                  <a:pt x="12888" y="8750"/>
                </a:cubicBezTo>
                <a:cubicBezTo>
                  <a:pt x="12888" y="8802"/>
                  <a:pt x="12778" y="8837"/>
                  <a:pt x="12560" y="8854"/>
                </a:cubicBezTo>
                <a:cubicBezTo>
                  <a:pt x="12341" y="8872"/>
                  <a:pt x="12092" y="8893"/>
                  <a:pt x="11814" y="8920"/>
                </a:cubicBezTo>
                <a:cubicBezTo>
                  <a:pt x="11536" y="8946"/>
                  <a:pt x="11287" y="8985"/>
                  <a:pt x="11068" y="9037"/>
                </a:cubicBezTo>
                <a:cubicBezTo>
                  <a:pt x="10849" y="9089"/>
                  <a:pt x="10740" y="9185"/>
                  <a:pt x="10740" y="9324"/>
                </a:cubicBezTo>
                <a:cubicBezTo>
                  <a:pt x="10780" y="9481"/>
                  <a:pt x="10919" y="9660"/>
                  <a:pt x="11158" y="9860"/>
                </a:cubicBezTo>
                <a:cubicBezTo>
                  <a:pt x="11397" y="10060"/>
                  <a:pt x="11516" y="10238"/>
                  <a:pt x="11516" y="10395"/>
                </a:cubicBezTo>
                <a:lnTo>
                  <a:pt x="11158" y="10343"/>
                </a:lnTo>
                <a:cubicBezTo>
                  <a:pt x="11039" y="10326"/>
                  <a:pt x="10939" y="10300"/>
                  <a:pt x="10860" y="10265"/>
                </a:cubicBezTo>
                <a:cubicBezTo>
                  <a:pt x="10819" y="10265"/>
                  <a:pt x="10780" y="10256"/>
                  <a:pt x="10740" y="10238"/>
                </a:cubicBezTo>
                <a:lnTo>
                  <a:pt x="10621" y="10186"/>
                </a:lnTo>
                <a:lnTo>
                  <a:pt x="10502" y="10186"/>
                </a:lnTo>
                <a:lnTo>
                  <a:pt x="10382" y="10186"/>
                </a:lnTo>
                <a:cubicBezTo>
                  <a:pt x="10342" y="10186"/>
                  <a:pt x="10283" y="10204"/>
                  <a:pt x="10203" y="10238"/>
                </a:cubicBezTo>
                <a:cubicBezTo>
                  <a:pt x="10163" y="10256"/>
                  <a:pt x="10103" y="10265"/>
                  <a:pt x="10024" y="10265"/>
                </a:cubicBezTo>
                <a:cubicBezTo>
                  <a:pt x="9984" y="10265"/>
                  <a:pt x="9935" y="10252"/>
                  <a:pt x="9875" y="10225"/>
                </a:cubicBezTo>
                <a:cubicBezTo>
                  <a:pt x="9816" y="10199"/>
                  <a:pt x="9765" y="10195"/>
                  <a:pt x="9726" y="10212"/>
                </a:cubicBezTo>
                <a:lnTo>
                  <a:pt x="9368" y="10291"/>
                </a:lnTo>
                <a:lnTo>
                  <a:pt x="9010" y="10291"/>
                </a:lnTo>
                <a:cubicBezTo>
                  <a:pt x="9010" y="10395"/>
                  <a:pt x="9119" y="10478"/>
                  <a:pt x="9338" y="10539"/>
                </a:cubicBezTo>
                <a:cubicBezTo>
                  <a:pt x="9556" y="10600"/>
                  <a:pt x="9666" y="10700"/>
                  <a:pt x="9666" y="10839"/>
                </a:cubicBezTo>
                <a:lnTo>
                  <a:pt x="8950" y="11257"/>
                </a:lnTo>
                <a:cubicBezTo>
                  <a:pt x="8751" y="11362"/>
                  <a:pt x="8572" y="11457"/>
                  <a:pt x="8413" y="11544"/>
                </a:cubicBezTo>
                <a:cubicBezTo>
                  <a:pt x="8254" y="11632"/>
                  <a:pt x="8154" y="11675"/>
                  <a:pt x="8115" y="11675"/>
                </a:cubicBezTo>
                <a:cubicBezTo>
                  <a:pt x="8035" y="11658"/>
                  <a:pt x="7936" y="11614"/>
                  <a:pt x="7817" y="11544"/>
                </a:cubicBezTo>
                <a:cubicBezTo>
                  <a:pt x="7697" y="11475"/>
                  <a:pt x="7617" y="11431"/>
                  <a:pt x="7578" y="11414"/>
                </a:cubicBezTo>
                <a:lnTo>
                  <a:pt x="7578" y="11362"/>
                </a:lnTo>
                <a:lnTo>
                  <a:pt x="7578" y="11309"/>
                </a:lnTo>
                <a:cubicBezTo>
                  <a:pt x="7657" y="11275"/>
                  <a:pt x="7766" y="11227"/>
                  <a:pt x="7906" y="11166"/>
                </a:cubicBezTo>
                <a:cubicBezTo>
                  <a:pt x="8045" y="11105"/>
                  <a:pt x="8115" y="11066"/>
                  <a:pt x="8115" y="11048"/>
                </a:cubicBezTo>
                <a:cubicBezTo>
                  <a:pt x="8354" y="11013"/>
                  <a:pt x="8552" y="11031"/>
                  <a:pt x="8712" y="11100"/>
                </a:cubicBezTo>
                <a:lnTo>
                  <a:pt x="8652" y="10839"/>
                </a:lnTo>
                <a:cubicBezTo>
                  <a:pt x="8492" y="10839"/>
                  <a:pt x="8393" y="10848"/>
                  <a:pt x="8354" y="10865"/>
                </a:cubicBezTo>
                <a:cubicBezTo>
                  <a:pt x="8313" y="10865"/>
                  <a:pt x="8254" y="10883"/>
                  <a:pt x="8175" y="10918"/>
                </a:cubicBezTo>
                <a:cubicBezTo>
                  <a:pt x="8135" y="10935"/>
                  <a:pt x="8075" y="10944"/>
                  <a:pt x="7995" y="10944"/>
                </a:cubicBezTo>
                <a:cubicBezTo>
                  <a:pt x="7717" y="10944"/>
                  <a:pt x="7478" y="10918"/>
                  <a:pt x="7280" y="10865"/>
                </a:cubicBezTo>
                <a:cubicBezTo>
                  <a:pt x="7080" y="10813"/>
                  <a:pt x="6862" y="10787"/>
                  <a:pt x="6623" y="10787"/>
                </a:cubicBezTo>
                <a:cubicBezTo>
                  <a:pt x="5867" y="10805"/>
                  <a:pt x="5529" y="10979"/>
                  <a:pt x="5609" y="11309"/>
                </a:cubicBezTo>
                <a:cubicBezTo>
                  <a:pt x="5171" y="11327"/>
                  <a:pt x="4714" y="11266"/>
                  <a:pt x="4237" y="11126"/>
                </a:cubicBezTo>
                <a:cubicBezTo>
                  <a:pt x="3759" y="10987"/>
                  <a:pt x="3401" y="10927"/>
                  <a:pt x="3163" y="10944"/>
                </a:cubicBezTo>
                <a:cubicBezTo>
                  <a:pt x="3122" y="10944"/>
                  <a:pt x="3103" y="10948"/>
                  <a:pt x="3103" y="10957"/>
                </a:cubicBezTo>
                <a:cubicBezTo>
                  <a:pt x="3103" y="10966"/>
                  <a:pt x="3082" y="10970"/>
                  <a:pt x="3043" y="10970"/>
                </a:cubicBezTo>
                <a:lnTo>
                  <a:pt x="2924" y="10970"/>
                </a:lnTo>
                <a:cubicBezTo>
                  <a:pt x="2884" y="10987"/>
                  <a:pt x="2824" y="11005"/>
                  <a:pt x="2745" y="11022"/>
                </a:cubicBezTo>
                <a:cubicBezTo>
                  <a:pt x="2705" y="11040"/>
                  <a:pt x="2645" y="11048"/>
                  <a:pt x="2566" y="11048"/>
                </a:cubicBezTo>
                <a:lnTo>
                  <a:pt x="2506" y="11048"/>
                </a:lnTo>
                <a:lnTo>
                  <a:pt x="2327" y="10970"/>
                </a:lnTo>
                <a:lnTo>
                  <a:pt x="2208" y="10970"/>
                </a:lnTo>
                <a:lnTo>
                  <a:pt x="2148" y="10996"/>
                </a:lnTo>
                <a:cubicBezTo>
                  <a:pt x="2108" y="10996"/>
                  <a:pt x="2049" y="11013"/>
                  <a:pt x="1969" y="11048"/>
                </a:cubicBezTo>
                <a:lnTo>
                  <a:pt x="1910" y="11074"/>
                </a:lnTo>
                <a:lnTo>
                  <a:pt x="2029" y="11779"/>
                </a:lnTo>
                <a:cubicBezTo>
                  <a:pt x="2187" y="11779"/>
                  <a:pt x="2307" y="11753"/>
                  <a:pt x="2387" y="11701"/>
                </a:cubicBezTo>
                <a:cubicBezTo>
                  <a:pt x="2466" y="11649"/>
                  <a:pt x="2536" y="11597"/>
                  <a:pt x="2596" y="11544"/>
                </a:cubicBezTo>
                <a:cubicBezTo>
                  <a:pt x="2655" y="11492"/>
                  <a:pt x="2724" y="11444"/>
                  <a:pt x="2804" y="11401"/>
                </a:cubicBezTo>
                <a:cubicBezTo>
                  <a:pt x="2884" y="11358"/>
                  <a:pt x="2983" y="11335"/>
                  <a:pt x="3103" y="11335"/>
                </a:cubicBezTo>
                <a:cubicBezTo>
                  <a:pt x="3262" y="11335"/>
                  <a:pt x="3361" y="11362"/>
                  <a:pt x="3401" y="11414"/>
                </a:cubicBezTo>
                <a:cubicBezTo>
                  <a:pt x="3440" y="11466"/>
                  <a:pt x="3451" y="11527"/>
                  <a:pt x="3431" y="11597"/>
                </a:cubicBezTo>
                <a:cubicBezTo>
                  <a:pt x="3411" y="11666"/>
                  <a:pt x="3411" y="11727"/>
                  <a:pt x="3431" y="11779"/>
                </a:cubicBezTo>
                <a:cubicBezTo>
                  <a:pt x="3451" y="11832"/>
                  <a:pt x="3540" y="11858"/>
                  <a:pt x="3699" y="11858"/>
                </a:cubicBezTo>
                <a:cubicBezTo>
                  <a:pt x="3739" y="11841"/>
                  <a:pt x="3798" y="11823"/>
                  <a:pt x="3878" y="11806"/>
                </a:cubicBezTo>
                <a:lnTo>
                  <a:pt x="4117" y="11753"/>
                </a:lnTo>
                <a:lnTo>
                  <a:pt x="4177" y="11753"/>
                </a:lnTo>
                <a:lnTo>
                  <a:pt x="4296" y="11753"/>
                </a:lnTo>
                <a:cubicBezTo>
                  <a:pt x="4216" y="11823"/>
                  <a:pt x="4167" y="11875"/>
                  <a:pt x="4147" y="11910"/>
                </a:cubicBezTo>
                <a:cubicBezTo>
                  <a:pt x="4126" y="11945"/>
                  <a:pt x="4117" y="12006"/>
                  <a:pt x="4117" y="12093"/>
                </a:cubicBezTo>
                <a:cubicBezTo>
                  <a:pt x="4117" y="12128"/>
                  <a:pt x="4126" y="12171"/>
                  <a:pt x="4147" y="12223"/>
                </a:cubicBezTo>
                <a:cubicBezTo>
                  <a:pt x="4167" y="12276"/>
                  <a:pt x="4237" y="12302"/>
                  <a:pt x="4356" y="12302"/>
                </a:cubicBezTo>
                <a:cubicBezTo>
                  <a:pt x="4475" y="12128"/>
                  <a:pt x="4744" y="11914"/>
                  <a:pt x="5161" y="11662"/>
                </a:cubicBezTo>
                <a:cubicBezTo>
                  <a:pt x="5579" y="11410"/>
                  <a:pt x="5967" y="11275"/>
                  <a:pt x="6325" y="11257"/>
                </a:cubicBezTo>
                <a:cubicBezTo>
                  <a:pt x="6483" y="11257"/>
                  <a:pt x="6603" y="11292"/>
                  <a:pt x="6683" y="11362"/>
                </a:cubicBezTo>
                <a:cubicBezTo>
                  <a:pt x="6762" y="11431"/>
                  <a:pt x="6822" y="11514"/>
                  <a:pt x="6862" y="11610"/>
                </a:cubicBezTo>
                <a:cubicBezTo>
                  <a:pt x="6901" y="11706"/>
                  <a:pt x="6911" y="11806"/>
                  <a:pt x="6892" y="11910"/>
                </a:cubicBezTo>
                <a:cubicBezTo>
                  <a:pt x="6871" y="12014"/>
                  <a:pt x="6841" y="12102"/>
                  <a:pt x="6802" y="12171"/>
                </a:cubicBezTo>
                <a:cubicBezTo>
                  <a:pt x="6841" y="12154"/>
                  <a:pt x="7011" y="12089"/>
                  <a:pt x="7310" y="11975"/>
                </a:cubicBezTo>
                <a:cubicBezTo>
                  <a:pt x="7608" y="11862"/>
                  <a:pt x="7796" y="11806"/>
                  <a:pt x="7876" y="11806"/>
                </a:cubicBezTo>
                <a:cubicBezTo>
                  <a:pt x="8035" y="11806"/>
                  <a:pt x="8184" y="11841"/>
                  <a:pt x="8324" y="11910"/>
                </a:cubicBezTo>
                <a:cubicBezTo>
                  <a:pt x="8463" y="11980"/>
                  <a:pt x="8592" y="12067"/>
                  <a:pt x="8712" y="12171"/>
                </a:cubicBezTo>
                <a:cubicBezTo>
                  <a:pt x="8831" y="12276"/>
                  <a:pt x="8930" y="12385"/>
                  <a:pt x="9010" y="12498"/>
                </a:cubicBezTo>
                <a:cubicBezTo>
                  <a:pt x="9089" y="12611"/>
                  <a:pt x="9169" y="12703"/>
                  <a:pt x="9249" y="12772"/>
                </a:cubicBezTo>
                <a:cubicBezTo>
                  <a:pt x="8851" y="12964"/>
                  <a:pt x="8622" y="13238"/>
                  <a:pt x="8562" y="13595"/>
                </a:cubicBezTo>
                <a:cubicBezTo>
                  <a:pt x="8503" y="13952"/>
                  <a:pt x="8492" y="14252"/>
                  <a:pt x="8533" y="14496"/>
                </a:cubicBezTo>
                <a:cubicBezTo>
                  <a:pt x="8533" y="14583"/>
                  <a:pt x="8582" y="14661"/>
                  <a:pt x="8682" y="14731"/>
                </a:cubicBezTo>
                <a:cubicBezTo>
                  <a:pt x="8781" y="14801"/>
                  <a:pt x="8851" y="14879"/>
                  <a:pt x="8891" y="14966"/>
                </a:cubicBezTo>
                <a:cubicBezTo>
                  <a:pt x="8533" y="14983"/>
                  <a:pt x="8224" y="14931"/>
                  <a:pt x="7966" y="14809"/>
                </a:cubicBezTo>
                <a:cubicBezTo>
                  <a:pt x="7707" y="14688"/>
                  <a:pt x="7438" y="14635"/>
                  <a:pt x="7160" y="14653"/>
                </a:cubicBezTo>
                <a:cubicBezTo>
                  <a:pt x="7160" y="14670"/>
                  <a:pt x="7150" y="14701"/>
                  <a:pt x="7131" y="14744"/>
                </a:cubicBezTo>
                <a:cubicBezTo>
                  <a:pt x="7110" y="14788"/>
                  <a:pt x="7100" y="14818"/>
                  <a:pt x="7100" y="14835"/>
                </a:cubicBezTo>
                <a:cubicBezTo>
                  <a:pt x="7140" y="14835"/>
                  <a:pt x="7199" y="14861"/>
                  <a:pt x="7280" y="14914"/>
                </a:cubicBezTo>
                <a:cubicBezTo>
                  <a:pt x="7359" y="14966"/>
                  <a:pt x="7399" y="15001"/>
                  <a:pt x="7399" y="15018"/>
                </a:cubicBezTo>
                <a:cubicBezTo>
                  <a:pt x="7399" y="15036"/>
                  <a:pt x="7379" y="15044"/>
                  <a:pt x="7339" y="15044"/>
                </a:cubicBezTo>
                <a:cubicBezTo>
                  <a:pt x="7299" y="15062"/>
                  <a:pt x="7240" y="15070"/>
                  <a:pt x="7160" y="15070"/>
                </a:cubicBezTo>
                <a:cubicBezTo>
                  <a:pt x="7080" y="15070"/>
                  <a:pt x="6941" y="15049"/>
                  <a:pt x="6743" y="15005"/>
                </a:cubicBezTo>
                <a:cubicBezTo>
                  <a:pt x="6543" y="14962"/>
                  <a:pt x="6384" y="14931"/>
                  <a:pt x="6265" y="14914"/>
                </a:cubicBezTo>
                <a:cubicBezTo>
                  <a:pt x="6265" y="14879"/>
                  <a:pt x="6206" y="14861"/>
                  <a:pt x="6086" y="14861"/>
                </a:cubicBezTo>
                <a:close/>
                <a:moveTo>
                  <a:pt x="6086" y="14861"/>
                </a:moveTo>
              </a:path>
            </a:pathLst>
          </a:custGeom>
          <a:solidFill>
            <a:srgbClr val="C00000"/>
          </a:solidFill>
          <a:ln>
            <a:noFill/>
          </a:ln>
        </p:spPr>
        <p:txBody>
          <a:bodyPr lIns="0" tIns="0" rIns="0" bIns="0"/>
          <a:lstStyle/>
          <a:p>
            <a:pPr defTabSz="914400">
              <a:defRPr/>
            </a:pPr>
            <a:endParaRPr lang="en-US" kern="0">
              <a:solidFill>
                <a:sysClr val="windowText" lastClr="000000"/>
              </a:solidFill>
            </a:endParaRPr>
          </a:p>
        </p:txBody>
      </p:sp>
      <p:grpSp>
        <p:nvGrpSpPr>
          <p:cNvPr id="43" name="Gruppieren 59">
            <a:extLst>
              <a:ext uri="{FF2B5EF4-FFF2-40B4-BE49-F238E27FC236}">
                <a16:creationId xmlns:a16="http://schemas.microsoft.com/office/drawing/2014/main" id="{4E2AB646-A244-3142-A2DF-316344152522}"/>
              </a:ext>
            </a:extLst>
          </p:cNvPr>
          <p:cNvGrpSpPr/>
          <p:nvPr/>
        </p:nvGrpSpPr>
        <p:grpSpPr>
          <a:xfrm rot="16200000">
            <a:off x="3320503" y="1842172"/>
            <a:ext cx="307390" cy="2083453"/>
            <a:chOff x="6784428" y="2149563"/>
            <a:chExt cx="191509" cy="1285841"/>
          </a:xfrm>
          <a:solidFill>
            <a:srgbClr val="C00000"/>
          </a:solidFill>
        </p:grpSpPr>
        <p:sp>
          <p:nvSpPr>
            <p:cNvPr id="46" name="Freeform 5">
              <a:extLst>
                <a:ext uri="{FF2B5EF4-FFF2-40B4-BE49-F238E27FC236}">
                  <a16:creationId xmlns:a16="http://schemas.microsoft.com/office/drawing/2014/main" id="{B305C7B6-7862-5E44-A417-7CE7223F6707}"/>
                </a:ext>
              </a:extLst>
            </p:cNvPr>
            <p:cNvSpPr>
              <a:spLocks/>
            </p:cNvSpPr>
            <p:nvPr/>
          </p:nvSpPr>
          <p:spPr bwMode="auto">
            <a:xfrm rot="5017868">
              <a:off x="6222522" y="2725579"/>
              <a:ext cx="1285841" cy="133810"/>
            </a:xfrm>
            <a:custGeom>
              <a:avLst/>
              <a:gdLst>
                <a:gd name="T0" fmla="*/ 9 w 192"/>
                <a:gd name="T1" fmla="*/ 7 h 57"/>
                <a:gd name="T2" fmla="*/ 19 w 192"/>
                <a:gd name="T3" fmla="*/ 9 h 57"/>
                <a:gd name="T4" fmla="*/ 39 w 192"/>
                <a:gd name="T5" fmla="*/ 14 h 57"/>
                <a:gd name="T6" fmla="*/ 96 w 192"/>
                <a:gd name="T7" fmla="*/ 30 h 57"/>
                <a:gd name="T8" fmla="*/ 183 w 192"/>
                <a:gd name="T9" fmla="*/ 56 h 57"/>
                <a:gd name="T10" fmla="*/ 187 w 192"/>
                <a:gd name="T11" fmla="*/ 51 h 57"/>
                <a:gd name="T12" fmla="*/ 84 w 192"/>
                <a:gd name="T13" fmla="*/ 20 h 57"/>
                <a:gd name="T14" fmla="*/ 26 w 192"/>
                <a:gd name="T15" fmla="*/ 5 h 57"/>
                <a:gd name="T16" fmla="*/ 4 w 192"/>
                <a:gd name="T17" fmla="*/ 4 h 57"/>
                <a:gd name="T18" fmla="*/ 9 w 192"/>
                <a:gd name="T19" fmla="*/ 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57">
                  <a:moveTo>
                    <a:pt x="9" y="7"/>
                  </a:moveTo>
                  <a:cubicBezTo>
                    <a:pt x="7" y="8"/>
                    <a:pt x="16" y="9"/>
                    <a:pt x="19" y="9"/>
                  </a:cubicBezTo>
                  <a:cubicBezTo>
                    <a:pt x="25" y="11"/>
                    <a:pt x="32" y="12"/>
                    <a:pt x="39" y="14"/>
                  </a:cubicBezTo>
                  <a:cubicBezTo>
                    <a:pt x="58" y="19"/>
                    <a:pt x="77" y="24"/>
                    <a:pt x="96" y="30"/>
                  </a:cubicBezTo>
                  <a:cubicBezTo>
                    <a:pt x="125" y="38"/>
                    <a:pt x="154" y="46"/>
                    <a:pt x="183" y="56"/>
                  </a:cubicBezTo>
                  <a:cubicBezTo>
                    <a:pt x="186" y="57"/>
                    <a:pt x="192" y="53"/>
                    <a:pt x="187" y="51"/>
                  </a:cubicBezTo>
                  <a:cubicBezTo>
                    <a:pt x="154" y="39"/>
                    <a:pt x="119" y="30"/>
                    <a:pt x="84" y="20"/>
                  </a:cubicBezTo>
                  <a:cubicBezTo>
                    <a:pt x="65" y="15"/>
                    <a:pt x="45" y="9"/>
                    <a:pt x="26" y="5"/>
                  </a:cubicBezTo>
                  <a:cubicBezTo>
                    <a:pt x="20" y="4"/>
                    <a:pt x="9" y="0"/>
                    <a:pt x="4" y="4"/>
                  </a:cubicBezTo>
                  <a:cubicBezTo>
                    <a:pt x="0" y="7"/>
                    <a:pt x="6" y="9"/>
                    <a:pt x="9" y="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13ADE3"/>
                </a:solidFill>
              </a:endParaRPr>
            </a:p>
          </p:txBody>
        </p:sp>
        <p:sp>
          <p:nvSpPr>
            <p:cNvPr id="49" name="Freeform 12">
              <a:extLst>
                <a:ext uri="{FF2B5EF4-FFF2-40B4-BE49-F238E27FC236}">
                  <a16:creationId xmlns:a16="http://schemas.microsoft.com/office/drawing/2014/main" id="{149A8D3C-C43C-AB4A-90AF-7EF09153AA97}"/>
                </a:ext>
              </a:extLst>
            </p:cNvPr>
            <p:cNvSpPr>
              <a:spLocks/>
            </p:cNvSpPr>
            <p:nvPr/>
          </p:nvSpPr>
          <p:spPr bwMode="auto">
            <a:xfrm rot="5709789">
              <a:off x="6704368" y="3223336"/>
              <a:ext cx="263389" cy="103269"/>
            </a:xfrm>
            <a:custGeom>
              <a:avLst/>
              <a:gdLst>
                <a:gd name="T0" fmla="*/ 5 w 144"/>
                <a:gd name="T1" fmla="*/ 50 h 51"/>
                <a:gd name="T2" fmla="*/ 139 w 144"/>
                <a:gd name="T3" fmla="*/ 6 h 51"/>
                <a:gd name="T4" fmla="*/ 136 w 144"/>
                <a:gd name="T5" fmla="*/ 2 h 51"/>
                <a:gd name="T6" fmla="*/ 6 w 144"/>
                <a:gd name="T7" fmla="*/ 45 h 51"/>
                <a:gd name="T8" fmla="*/ 5 w 144"/>
                <a:gd name="T9" fmla="*/ 50 h 51"/>
              </a:gdLst>
              <a:ahLst/>
              <a:cxnLst>
                <a:cxn ang="0">
                  <a:pos x="T0" y="T1"/>
                </a:cxn>
                <a:cxn ang="0">
                  <a:pos x="T2" y="T3"/>
                </a:cxn>
                <a:cxn ang="0">
                  <a:pos x="T4" y="T5"/>
                </a:cxn>
                <a:cxn ang="0">
                  <a:pos x="T6" y="T7"/>
                </a:cxn>
                <a:cxn ang="0">
                  <a:pos x="T8" y="T9"/>
                </a:cxn>
              </a:cxnLst>
              <a:rect l="0" t="0" r="r" b="b"/>
              <a:pathLst>
                <a:path w="144" h="51">
                  <a:moveTo>
                    <a:pt x="5" y="50"/>
                  </a:moveTo>
                  <a:cubicBezTo>
                    <a:pt x="51" y="43"/>
                    <a:pt x="98" y="27"/>
                    <a:pt x="139" y="6"/>
                  </a:cubicBezTo>
                  <a:cubicBezTo>
                    <a:pt x="144" y="4"/>
                    <a:pt x="140" y="0"/>
                    <a:pt x="136" y="2"/>
                  </a:cubicBezTo>
                  <a:cubicBezTo>
                    <a:pt x="96" y="22"/>
                    <a:pt x="51" y="38"/>
                    <a:pt x="6" y="45"/>
                  </a:cubicBezTo>
                  <a:cubicBezTo>
                    <a:pt x="2" y="45"/>
                    <a:pt x="0" y="51"/>
                    <a:pt x="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3ADE3"/>
                </a:solidFill>
              </a:endParaRPr>
            </a:p>
          </p:txBody>
        </p:sp>
        <p:sp>
          <p:nvSpPr>
            <p:cNvPr id="51" name="Freeform 13">
              <a:extLst>
                <a:ext uri="{FF2B5EF4-FFF2-40B4-BE49-F238E27FC236}">
                  <a16:creationId xmlns:a16="http://schemas.microsoft.com/office/drawing/2014/main" id="{B6062716-8CBD-9548-B512-06E5F36BDE6B}"/>
                </a:ext>
              </a:extLst>
            </p:cNvPr>
            <p:cNvSpPr>
              <a:spLocks/>
            </p:cNvSpPr>
            <p:nvPr/>
          </p:nvSpPr>
          <p:spPr bwMode="auto">
            <a:xfrm rot="5197075">
              <a:off x="6798057" y="3228282"/>
              <a:ext cx="245830" cy="109931"/>
            </a:xfrm>
            <a:custGeom>
              <a:avLst/>
              <a:gdLst>
                <a:gd name="T0" fmla="*/ 135 w 137"/>
                <a:gd name="T1" fmla="*/ 47 h 52"/>
                <a:gd name="T2" fmla="*/ 9 w 137"/>
                <a:gd name="T3" fmla="*/ 1 h 52"/>
                <a:gd name="T4" fmla="*/ 3 w 137"/>
                <a:gd name="T5" fmla="*/ 4 h 52"/>
                <a:gd name="T6" fmla="*/ 128 w 137"/>
                <a:gd name="T7" fmla="*/ 51 h 52"/>
                <a:gd name="T8" fmla="*/ 135 w 137"/>
                <a:gd name="T9" fmla="*/ 47 h 52"/>
              </a:gdLst>
              <a:ahLst/>
              <a:cxnLst>
                <a:cxn ang="0">
                  <a:pos x="T0" y="T1"/>
                </a:cxn>
                <a:cxn ang="0">
                  <a:pos x="T2" y="T3"/>
                </a:cxn>
                <a:cxn ang="0">
                  <a:pos x="T4" y="T5"/>
                </a:cxn>
                <a:cxn ang="0">
                  <a:pos x="T6" y="T7"/>
                </a:cxn>
                <a:cxn ang="0">
                  <a:pos x="T8" y="T9"/>
                </a:cxn>
              </a:cxnLst>
              <a:rect l="0" t="0" r="r" b="b"/>
              <a:pathLst>
                <a:path w="137" h="52">
                  <a:moveTo>
                    <a:pt x="135" y="47"/>
                  </a:moveTo>
                  <a:cubicBezTo>
                    <a:pt x="94" y="29"/>
                    <a:pt x="50" y="19"/>
                    <a:pt x="9" y="1"/>
                  </a:cubicBezTo>
                  <a:cubicBezTo>
                    <a:pt x="7" y="0"/>
                    <a:pt x="0" y="3"/>
                    <a:pt x="3" y="4"/>
                  </a:cubicBezTo>
                  <a:cubicBezTo>
                    <a:pt x="44" y="22"/>
                    <a:pt x="88" y="32"/>
                    <a:pt x="128" y="51"/>
                  </a:cubicBezTo>
                  <a:cubicBezTo>
                    <a:pt x="130" y="52"/>
                    <a:pt x="137" y="49"/>
                    <a:pt x="135"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13ADE3"/>
                </a:solidFill>
              </a:endParaRPr>
            </a:p>
          </p:txBody>
        </p:sp>
      </p:grpSp>
      <p:sp>
        <p:nvSpPr>
          <p:cNvPr id="52" name="AutoShape 1">
            <a:extLst>
              <a:ext uri="{FF2B5EF4-FFF2-40B4-BE49-F238E27FC236}">
                <a16:creationId xmlns:a16="http://schemas.microsoft.com/office/drawing/2014/main" id="{01367020-A587-9A4E-9367-97DD214BED23}"/>
              </a:ext>
            </a:extLst>
          </p:cNvPr>
          <p:cNvSpPr>
            <a:spLocks/>
          </p:cNvSpPr>
          <p:nvPr/>
        </p:nvSpPr>
        <p:spPr bwMode="auto">
          <a:xfrm>
            <a:off x="6933388" y="1328995"/>
            <a:ext cx="1004888" cy="627063"/>
          </a:xfrm>
          <a:custGeom>
            <a:avLst/>
            <a:gdLst/>
            <a:ahLst/>
            <a:cxnLst/>
            <a:rect l="0" t="0" r="r" b="b"/>
            <a:pathLst>
              <a:path w="21537" h="21512">
                <a:moveTo>
                  <a:pt x="7568" y="2754"/>
                </a:moveTo>
                <a:cubicBezTo>
                  <a:pt x="7691" y="2630"/>
                  <a:pt x="7726" y="2620"/>
                  <a:pt x="7796" y="2484"/>
                </a:cubicBezTo>
                <a:cubicBezTo>
                  <a:pt x="7811" y="2457"/>
                  <a:pt x="7890" y="2500"/>
                  <a:pt x="7911" y="2484"/>
                </a:cubicBezTo>
                <a:cubicBezTo>
                  <a:pt x="7982" y="2429"/>
                  <a:pt x="7980" y="2391"/>
                  <a:pt x="8026" y="2304"/>
                </a:cubicBezTo>
                <a:cubicBezTo>
                  <a:pt x="8038" y="2281"/>
                  <a:pt x="8176" y="2306"/>
                  <a:pt x="8198" y="2304"/>
                </a:cubicBezTo>
                <a:cubicBezTo>
                  <a:pt x="8264" y="2298"/>
                  <a:pt x="8223" y="2246"/>
                  <a:pt x="8255" y="2214"/>
                </a:cubicBezTo>
                <a:cubicBezTo>
                  <a:pt x="8430" y="2035"/>
                  <a:pt x="8653" y="1951"/>
                  <a:pt x="8828" y="1854"/>
                </a:cubicBezTo>
                <a:cubicBezTo>
                  <a:pt x="8877" y="1826"/>
                  <a:pt x="8953" y="1888"/>
                  <a:pt x="9000" y="1854"/>
                </a:cubicBezTo>
                <a:cubicBezTo>
                  <a:pt x="9022" y="1837"/>
                  <a:pt x="9030" y="1692"/>
                  <a:pt x="9057" y="1674"/>
                </a:cubicBezTo>
                <a:cubicBezTo>
                  <a:pt x="9097" y="1645"/>
                  <a:pt x="9339" y="1786"/>
                  <a:pt x="9286" y="1493"/>
                </a:cubicBezTo>
                <a:cubicBezTo>
                  <a:pt x="8800" y="1396"/>
                  <a:pt x="8290" y="1377"/>
                  <a:pt x="7796" y="1403"/>
                </a:cubicBezTo>
                <a:cubicBezTo>
                  <a:pt x="7710" y="1408"/>
                  <a:pt x="7737" y="1508"/>
                  <a:pt x="7682" y="1403"/>
                </a:cubicBezTo>
                <a:cubicBezTo>
                  <a:pt x="7562" y="1173"/>
                  <a:pt x="7366" y="1572"/>
                  <a:pt x="7281" y="1403"/>
                </a:cubicBezTo>
                <a:cubicBezTo>
                  <a:pt x="7255" y="1351"/>
                  <a:pt x="7204" y="1489"/>
                  <a:pt x="7224" y="1493"/>
                </a:cubicBezTo>
                <a:cubicBezTo>
                  <a:pt x="7141" y="1475"/>
                  <a:pt x="7159" y="1397"/>
                  <a:pt x="7109" y="1493"/>
                </a:cubicBezTo>
                <a:cubicBezTo>
                  <a:pt x="7098" y="1515"/>
                  <a:pt x="7014" y="1485"/>
                  <a:pt x="6994" y="1493"/>
                </a:cubicBezTo>
                <a:cubicBezTo>
                  <a:pt x="6946" y="1514"/>
                  <a:pt x="6843" y="1585"/>
                  <a:pt x="6823" y="1583"/>
                </a:cubicBezTo>
                <a:cubicBezTo>
                  <a:pt x="6787" y="1581"/>
                  <a:pt x="6758" y="1493"/>
                  <a:pt x="6765" y="1493"/>
                </a:cubicBezTo>
                <a:cubicBezTo>
                  <a:pt x="6708" y="1488"/>
                  <a:pt x="6697" y="1571"/>
                  <a:pt x="6651" y="1583"/>
                </a:cubicBezTo>
                <a:cubicBezTo>
                  <a:pt x="6378" y="1654"/>
                  <a:pt x="6096" y="1743"/>
                  <a:pt x="5849" y="1763"/>
                </a:cubicBezTo>
                <a:cubicBezTo>
                  <a:pt x="5800" y="1767"/>
                  <a:pt x="5801" y="1850"/>
                  <a:pt x="5792" y="1854"/>
                </a:cubicBezTo>
                <a:cubicBezTo>
                  <a:pt x="5565" y="1929"/>
                  <a:pt x="5404" y="1932"/>
                  <a:pt x="5218" y="2034"/>
                </a:cubicBezTo>
                <a:cubicBezTo>
                  <a:pt x="5213" y="2037"/>
                  <a:pt x="5223" y="2115"/>
                  <a:pt x="5218" y="2124"/>
                </a:cubicBezTo>
                <a:cubicBezTo>
                  <a:pt x="5207" y="2146"/>
                  <a:pt x="5123" y="2115"/>
                  <a:pt x="5104" y="2124"/>
                </a:cubicBezTo>
                <a:cubicBezTo>
                  <a:pt x="4975" y="2179"/>
                  <a:pt x="4960" y="2202"/>
                  <a:pt x="4817" y="2214"/>
                </a:cubicBezTo>
                <a:cubicBezTo>
                  <a:pt x="4765" y="2218"/>
                  <a:pt x="4774" y="2298"/>
                  <a:pt x="4760" y="2304"/>
                </a:cubicBezTo>
                <a:cubicBezTo>
                  <a:pt x="4482" y="2416"/>
                  <a:pt x="4070" y="2540"/>
                  <a:pt x="3958" y="2754"/>
                </a:cubicBezTo>
                <a:cubicBezTo>
                  <a:pt x="3945" y="2779"/>
                  <a:pt x="3864" y="2741"/>
                  <a:pt x="3844" y="2754"/>
                </a:cubicBezTo>
                <a:cubicBezTo>
                  <a:pt x="3771" y="2800"/>
                  <a:pt x="3772" y="2849"/>
                  <a:pt x="3729" y="2934"/>
                </a:cubicBezTo>
                <a:cubicBezTo>
                  <a:pt x="3702" y="2987"/>
                  <a:pt x="3652" y="2849"/>
                  <a:pt x="3672" y="2844"/>
                </a:cubicBezTo>
                <a:cubicBezTo>
                  <a:pt x="3599" y="2860"/>
                  <a:pt x="3594" y="2953"/>
                  <a:pt x="3557" y="3024"/>
                </a:cubicBezTo>
                <a:cubicBezTo>
                  <a:pt x="3543" y="3050"/>
                  <a:pt x="3463" y="3009"/>
                  <a:pt x="3443" y="3024"/>
                </a:cubicBezTo>
                <a:cubicBezTo>
                  <a:pt x="3435" y="3029"/>
                  <a:pt x="3448" y="3104"/>
                  <a:pt x="3443" y="3114"/>
                </a:cubicBezTo>
                <a:cubicBezTo>
                  <a:pt x="3428" y="3141"/>
                  <a:pt x="3349" y="3098"/>
                  <a:pt x="3328" y="3114"/>
                </a:cubicBezTo>
                <a:cubicBezTo>
                  <a:pt x="3321" y="3120"/>
                  <a:pt x="3333" y="3194"/>
                  <a:pt x="3328" y="3204"/>
                </a:cubicBezTo>
                <a:cubicBezTo>
                  <a:pt x="3314" y="3231"/>
                  <a:pt x="3234" y="3189"/>
                  <a:pt x="3213" y="3204"/>
                </a:cubicBezTo>
                <a:cubicBezTo>
                  <a:pt x="3206" y="3210"/>
                  <a:pt x="3219" y="3284"/>
                  <a:pt x="3213" y="3294"/>
                </a:cubicBezTo>
                <a:cubicBezTo>
                  <a:pt x="3199" y="3322"/>
                  <a:pt x="3120" y="3276"/>
                  <a:pt x="3098" y="3294"/>
                </a:cubicBezTo>
                <a:cubicBezTo>
                  <a:pt x="3090" y="3301"/>
                  <a:pt x="3105" y="3373"/>
                  <a:pt x="3098" y="3384"/>
                </a:cubicBezTo>
                <a:cubicBezTo>
                  <a:pt x="3083" y="3414"/>
                  <a:pt x="3004" y="3361"/>
                  <a:pt x="2984" y="3384"/>
                </a:cubicBezTo>
                <a:cubicBezTo>
                  <a:pt x="2956" y="3417"/>
                  <a:pt x="2959" y="3536"/>
                  <a:pt x="2927" y="3565"/>
                </a:cubicBezTo>
                <a:cubicBezTo>
                  <a:pt x="2883" y="3603"/>
                  <a:pt x="2800" y="3531"/>
                  <a:pt x="2755" y="3565"/>
                </a:cubicBezTo>
                <a:cubicBezTo>
                  <a:pt x="2735" y="3579"/>
                  <a:pt x="2721" y="3722"/>
                  <a:pt x="2697" y="3745"/>
                </a:cubicBezTo>
                <a:cubicBezTo>
                  <a:pt x="2636" y="3804"/>
                  <a:pt x="2535" y="3864"/>
                  <a:pt x="2468" y="3925"/>
                </a:cubicBezTo>
                <a:cubicBezTo>
                  <a:pt x="2460" y="3932"/>
                  <a:pt x="2475" y="4003"/>
                  <a:pt x="2468" y="4015"/>
                </a:cubicBezTo>
                <a:cubicBezTo>
                  <a:pt x="2455" y="4041"/>
                  <a:pt x="2375" y="3999"/>
                  <a:pt x="2354" y="4015"/>
                </a:cubicBezTo>
                <a:cubicBezTo>
                  <a:pt x="2347" y="4020"/>
                  <a:pt x="2359" y="4094"/>
                  <a:pt x="2354" y="4105"/>
                </a:cubicBezTo>
                <a:cubicBezTo>
                  <a:pt x="2338" y="4135"/>
                  <a:pt x="2260" y="4082"/>
                  <a:pt x="2239" y="4105"/>
                </a:cubicBezTo>
                <a:cubicBezTo>
                  <a:pt x="2180" y="4171"/>
                  <a:pt x="2139" y="4280"/>
                  <a:pt x="2067" y="4375"/>
                </a:cubicBezTo>
                <a:cubicBezTo>
                  <a:pt x="2012" y="4448"/>
                  <a:pt x="1949" y="4578"/>
                  <a:pt x="1895" y="4645"/>
                </a:cubicBezTo>
                <a:cubicBezTo>
                  <a:pt x="1827" y="4732"/>
                  <a:pt x="1727" y="4749"/>
                  <a:pt x="1666" y="4825"/>
                </a:cubicBezTo>
                <a:cubicBezTo>
                  <a:pt x="1560" y="4959"/>
                  <a:pt x="1475" y="5179"/>
                  <a:pt x="1437" y="5276"/>
                </a:cubicBezTo>
                <a:cubicBezTo>
                  <a:pt x="1409" y="5346"/>
                  <a:pt x="1325" y="5469"/>
                  <a:pt x="1322" y="5546"/>
                </a:cubicBezTo>
                <a:cubicBezTo>
                  <a:pt x="1319" y="5657"/>
                  <a:pt x="1185" y="5862"/>
                  <a:pt x="1151" y="5906"/>
                </a:cubicBezTo>
                <a:cubicBezTo>
                  <a:pt x="1131" y="5931"/>
                  <a:pt x="1107" y="6143"/>
                  <a:pt x="1093" y="6176"/>
                </a:cubicBezTo>
                <a:cubicBezTo>
                  <a:pt x="1021" y="6345"/>
                  <a:pt x="1005" y="6551"/>
                  <a:pt x="979" y="6716"/>
                </a:cubicBezTo>
                <a:cubicBezTo>
                  <a:pt x="948" y="6911"/>
                  <a:pt x="898" y="7075"/>
                  <a:pt x="864" y="7346"/>
                </a:cubicBezTo>
                <a:cubicBezTo>
                  <a:pt x="788" y="7965"/>
                  <a:pt x="735" y="8713"/>
                  <a:pt x="749" y="9148"/>
                </a:cubicBezTo>
                <a:cubicBezTo>
                  <a:pt x="752" y="9218"/>
                  <a:pt x="806" y="9230"/>
                  <a:pt x="807" y="9238"/>
                </a:cubicBezTo>
                <a:cubicBezTo>
                  <a:pt x="817" y="9328"/>
                  <a:pt x="752" y="9306"/>
                  <a:pt x="749" y="9328"/>
                </a:cubicBezTo>
                <a:cubicBezTo>
                  <a:pt x="738" y="9417"/>
                  <a:pt x="805" y="9399"/>
                  <a:pt x="807" y="9418"/>
                </a:cubicBezTo>
                <a:cubicBezTo>
                  <a:pt x="866" y="9960"/>
                  <a:pt x="917" y="10651"/>
                  <a:pt x="979" y="11039"/>
                </a:cubicBezTo>
                <a:cubicBezTo>
                  <a:pt x="989" y="11099"/>
                  <a:pt x="1034" y="11117"/>
                  <a:pt x="1036" y="11129"/>
                </a:cubicBezTo>
                <a:cubicBezTo>
                  <a:pt x="1068" y="11293"/>
                  <a:pt x="1058" y="11517"/>
                  <a:pt x="1093" y="11669"/>
                </a:cubicBezTo>
                <a:cubicBezTo>
                  <a:pt x="1102" y="11706"/>
                  <a:pt x="1192" y="11804"/>
                  <a:pt x="1208" y="11849"/>
                </a:cubicBezTo>
                <a:cubicBezTo>
                  <a:pt x="1237" y="11932"/>
                  <a:pt x="1248" y="12054"/>
                  <a:pt x="1265" y="12120"/>
                </a:cubicBezTo>
                <a:cubicBezTo>
                  <a:pt x="1324" y="12348"/>
                  <a:pt x="1389" y="12676"/>
                  <a:pt x="1437" y="12840"/>
                </a:cubicBezTo>
                <a:cubicBezTo>
                  <a:pt x="1451" y="12886"/>
                  <a:pt x="1480" y="12838"/>
                  <a:pt x="1495" y="12929"/>
                </a:cubicBezTo>
                <a:cubicBezTo>
                  <a:pt x="1514" y="13050"/>
                  <a:pt x="1507" y="13127"/>
                  <a:pt x="1552" y="13200"/>
                </a:cubicBezTo>
                <a:cubicBezTo>
                  <a:pt x="1566" y="13224"/>
                  <a:pt x="1650" y="13379"/>
                  <a:pt x="1666" y="13380"/>
                </a:cubicBezTo>
                <a:cubicBezTo>
                  <a:pt x="1752" y="13387"/>
                  <a:pt x="1778" y="13639"/>
                  <a:pt x="1781" y="13740"/>
                </a:cubicBezTo>
                <a:cubicBezTo>
                  <a:pt x="1785" y="13869"/>
                  <a:pt x="1849" y="13771"/>
                  <a:pt x="1895" y="13830"/>
                </a:cubicBezTo>
                <a:cubicBezTo>
                  <a:pt x="1914" y="13853"/>
                  <a:pt x="1883" y="13978"/>
                  <a:pt x="1895" y="14010"/>
                </a:cubicBezTo>
                <a:cubicBezTo>
                  <a:pt x="1900" y="14024"/>
                  <a:pt x="1944" y="14000"/>
                  <a:pt x="1953" y="14010"/>
                </a:cubicBezTo>
                <a:cubicBezTo>
                  <a:pt x="1998" y="14069"/>
                  <a:pt x="1973" y="14294"/>
                  <a:pt x="2010" y="14371"/>
                </a:cubicBezTo>
                <a:cubicBezTo>
                  <a:pt x="2074" y="14490"/>
                  <a:pt x="2235" y="14517"/>
                  <a:pt x="2239" y="14641"/>
                </a:cubicBezTo>
                <a:cubicBezTo>
                  <a:pt x="2243" y="14749"/>
                  <a:pt x="2326" y="14954"/>
                  <a:pt x="2354" y="15001"/>
                </a:cubicBezTo>
                <a:cubicBezTo>
                  <a:pt x="2425" y="15121"/>
                  <a:pt x="2599" y="15219"/>
                  <a:pt x="2640" y="15271"/>
                </a:cubicBezTo>
                <a:cubicBezTo>
                  <a:pt x="2659" y="15296"/>
                  <a:pt x="2624" y="15420"/>
                  <a:pt x="2640" y="15451"/>
                </a:cubicBezTo>
                <a:cubicBezTo>
                  <a:pt x="2676" y="15518"/>
                  <a:pt x="2772" y="15480"/>
                  <a:pt x="2812" y="15541"/>
                </a:cubicBezTo>
                <a:cubicBezTo>
                  <a:pt x="2920" y="15707"/>
                  <a:pt x="2966" y="15993"/>
                  <a:pt x="3041" y="16082"/>
                </a:cubicBezTo>
                <a:cubicBezTo>
                  <a:pt x="3108" y="16161"/>
                  <a:pt x="3207" y="16088"/>
                  <a:pt x="3213" y="16262"/>
                </a:cubicBezTo>
                <a:cubicBezTo>
                  <a:pt x="3219" y="16436"/>
                  <a:pt x="3331" y="16268"/>
                  <a:pt x="3385" y="16352"/>
                </a:cubicBezTo>
                <a:cubicBezTo>
                  <a:pt x="3403" y="16379"/>
                  <a:pt x="3366" y="16508"/>
                  <a:pt x="3385" y="16532"/>
                </a:cubicBezTo>
                <a:cubicBezTo>
                  <a:pt x="3459" y="16624"/>
                  <a:pt x="3549" y="16765"/>
                  <a:pt x="3672" y="16712"/>
                </a:cubicBezTo>
                <a:cubicBezTo>
                  <a:pt x="3692" y="16956"/>
                  <a:pt x="3896" y="16931"/>
                  <a:pt x="3900" y="17072"/>
                </a:cubicBezTo>
                <a:cubicBezTo>
                  <a:pt x="3904" y="17173"/>
                  <a:pt x="3922" y="17118"/>
                  <a:pt x="3958" y="17162"/>
                </a:cubicBezTo>
                <a:cubicBezTo>
                  <a:pt x="4084" y="17319"/>
                  <a:pt x="4282" y="17535"/>
                  <a:pt x="4359" y="17613"/>
                </a:cubicBezTo>
                <a:cubicBezTo>
                  <a:pt x="4423" y="17678"/>
                  <a:pt x="4468" y="17729"/>
                  <a:pt x="4531" y="17793"/>
                </a:cubicBezTo>
                <a:cubicBezTo>
                  <a:pt x="4642" y="17904"/>
                  <a:pt x="4733" y="18001"/>
                  <a:pt x="4817" y="18062"/>
                </a:cubicBezTo>
                <a:cubicBezTo>
                  <a:pt x="4865" y="18097"/>
                  <a:pt x="4942" y="18028"/>
                  <a:pt x="4989" y="18062"/>
                </a:cubicBezTo>
                <a:cubicBezTo>
                  <a:pt x="5011" y="18079"/>
                  <a:pt x="5021" y="18222"/>
                  <a:pt x="5046" y="18243"/>
                </a:cubicBezTo>
                <a:cubicBezTo>
                  <a:pt x="5115" y="18300"/>
                  <a:pt x="5150" y="18379"/>
                  <a:pt x="5218" y="18423"/>
                </a:cubicBezTo>
                <a:cubicBezTo>
                  <a:pt x="5308" y="18480"/>
                  <a:pt x="5383" y="18463"/>
                  <a:pt x="5447" y="18513"/>
                </a:cubicBezTo>
                <a:cubicBezTo>
                  <a:pt x="5454" y="18517"/>
                  <a:pt x="5484" y="18582"/>
                  <a:pt x="5505" y="18603"/>
                </a:cubicBezTo>
                <a:cubicBezTo>
                  <a:pt x="5674" y="18773"/>
                  <a:pt x="6040" y="18910"/>
                  <a:pt x="6135" y="19054"/>
                </a:cubicBezTo>
                <a:cubicBezTo>
                  <a:pt x="6221" y="19183"/>
                  <a:pt x="6388" y="19191"/>
                  <a:pt x="6479" y="19234"/>
                </a:cubicBezTo>
                <a:cubicBezTo>
                  <a:pt x="6571" y="19277"/>
                  <a:pt x="6670" y="19277"/>
                  <a:pt x="6765" y="19323"/>
                </a:cubicBezTo>
                <a:cubicBezTo>
                  <a:pt x="6843" y="19361"/>
                  <a:pt x="6867" y="19453"/>
                  <a:pt x="6937" y="19504"/>
                </a:cubicBezTo>
                <a:cubicBezTo>
                  <a:pt x="7020" y="19564"/>
                  <a:pt x="7082" y="19552"/>
                  <a:pt x="7166" y="19594"/>
                </a:cubicBezTo>
                <a:cubicBezTo>
                  <a:pt x="7501" y="19755"/>
                  <a:pt x="7807" y="19776"/>
                  <a:pt x="8141" y="19864"/>
                </a:cubicBezTo>
                <a:cubicBezTo>
                  <a:pt x="8304" y="19907"/>
                  <a:pt x="8424" y="20069"/>
                  <a:pt x="8484" y="19954"/>
                </a:cubicBezTo>
                <a:cubicBezTo>
                  <a:pt x="8518" y="19889"/>
                  <a:pt x="8645" y="20045"/>
                  <a:pt x="8656" y="20044"/>
                </a:cubicBezTo>
                <a:cubicBezTo>
                  <a:pt x="8685" y="20042"/>
                  <a:pt x="8685" y="19930"/>
                  <a:pt x="8771" y="19954"/>
                </a:cubicBezTo>
                <a:cubicBezTo>
                  <a:pt x="8761" y="19951"/>
                  <a:pt x="8808" y="20031"/>
                  <a:pt x="8828" y="20044"/>
                </a:cubicBezTo>
                <a:cubicBezTo>
                  <a:pt x="8842" y="20052"/>
                  <a:pt x="8870" y="20043"/>
                  <a:pt x="8885" y="20044"/>
                </a:cubicBezTo>
                <a:cubicBezTo>
                  <a:pt x="8925" y="20047"/>
                  <a:pt x="8944" y="20135"/>
                  <a:pt x="8942" y="20134"/>
                </a:cubicBezTo>
                <a:cubicBezTo>
                  <a:pt x="9049" y="20152"/>
                  <a:pt x="9071" y="20048"/>
                  <a:pt x="9172" y="20044"/>
                </a:cubicBezTo>
                <a:cubicBezTo>
                  <a:pt x="9263" y="20041"/>
                  <a:pt x="9368" y="20128"/>
                  <a:pt x="9458" y="20134"/>
                </a:cubicBezTo>
                <a:cubicBezTo>
                  <a:pt x="9848" y="20160"/>
                  <a:pt x="10246" y="20172"/>
                  <a:pt x="10661" y="20134"/>
                </a:cubicBezTo>
                <a:cubicBezTo>
                  <a:pt x="10783" y="20123"/>
                  <a:pt x="10916" y="20062"/>
                  <a:pt x="11062" y="20044"/>
                </a:cubicBezTo>
                <a:cubicBezTo>
                  <a:pt x="11119" y="20037"/>
                  <a:pt x="11177" y="20049"/>
                  <a:pt x="11234" y="20044"/>
                </a:cubicBezTo>
                <a:cubicBezTo>
                  <a:pt x="11267" y="20041"/>
                  <a:pt x="11303" y="19953"/>
                  <a:pt x="11291" y="19954"/>
                </a:cubicBezTo>
                <a:cubicBezTo>
                  <a:pt x="11349" y="19952"/>
                  <a:pt x="11360" y="20028"/>
                  <a:pt x="11406" y="20044"/>
                </a:cubicBezTo>
                <a:cubicBezTo>
                  <a:pt x="11579" y="20103"/>
                  <a:pt x="11627" y="19977"/>
                  <a:pt x="11692" y="19954"/>
                </a:cubicBezTo>
                <a:cubicBezTo>
                  <a:pt x="11883" y="19888"/>
                  <a:pt x="12052" y="20078"/>
                  <a:pt x="12093" y="19774"/>
                </a:cubicBezTo>
                <a:cubicBezTo>
                  <a:pt x="12283" y="19837"/>
                  <a:pt x="12488" y="19821"/>
                  <a:pt x="12667" y="19774"/>
                </a:cubicBezTo>
                <a:cubicBezTo>
                  <a:pt x="12670" y="19773"/>
                  <a:pt x="12663" y="19690"/>
                  <a:pt x="12667" y="19684"/>
                </a:cubicBezTo>
                <a:cubicBezTo>
                  <a:pt x="12678" y="19661"/>
                  <a:pt x="12762" y="19692"/>
                  <a:pt x="12781" y="19684"/>
                </a:cubicBezTo>
                <a:cubicBezTo>
                  <a:pt x="12853" y="19651"/>
                  <a:pt x="12903" y="19614"/>
                  <a:pt x="12953" y="19594"/>
                </a:cubicBezTo>
                <a:cubicBezTo>
                  <a:pt x="13199" y="19491"/>
                  <a:pt x="13453" y="19508"/>
                  <a:pt x="13640" y="19414"/>
                </a:cubicBezTo>
                <a:cubicBezTo>
                  <a:pt x="13646" y="19411"/>
                  <a:pt x="13636" y="19331"/>
                  <a:pt x="13640" y="19323"/>
                </a:cubicBezTo>
                <a:cubicBezTo>
                  <a:pt x="13644" y="19316"/>
                  <a:pt x="13814" y="19233"/>
                  <a:pt x="13812" y="19234"/>
                </a:cubicBezTo>
                <a:cubicBezTo>
                  <a:pt x="13848" y="19219"/>
                  <a:pt x="13892" y="19249"/>
                  <a:pt x="13927" y="19234"/>
                </a:cubicBezTo>
                <a:cubicBezTo>
                  <a:pt x="14027" y="19187"/>
                  <a:pt x="14092" y="19114"/>
                  <a:pt x="14214" y="19054"/>
                </a:cubicBezTo>
                <a:cubicBezTo>
                  <a:pt x="14375" y="18973"/>
                  <a:pt x="14506" y="18971"/>
                  <a:pt x="14557" y="18873"/>
                </a:cubicBezTo>
                <a:cubicBezTo>
                  <a:pt x="14570" y="18848"/>
                  <a:pt x="14652" y="18885"/>
                  <a:pt x="14672" y="18873"/>
                </a:cubicBezTo>
                <a:cubicBezTo>
                  <a:pt x="14806" y="18794"/>
                  <a:pt x="15005" y="18630"/>
                  <a:pt x="15073" y="18603"/>
                </a:cubicBezTo>
                <a:cubicBezTo>
                  <a:pt x="15143" y="18575"/>
                  <a:pt x="15149" y="18587"/>
                  <a:pt x="15188" y="18513"/>
                </a:cubicBezTo>
                <a:cubicBezTo>
                  <a:pt x="15192" y="18505"/>
                  <a:pt x="15362" y="18422"/>
                  <a:pt x="15359" y="18423"/>
                </a:cubicBezTo>
                <a:cubicBezTo>
                  <a:pt x="15430" y="18396"/>
                  <a:pt x="15435" y="18407"/>
                  <a:pt x="15474" y="18333"/>
                </a:cubicBezTo>
                <a:cubicBezTo>
                  <a:pt x="15490" y="18301"/>
                  <a:pt x="15625" y="18265"/>
                  <a:pt x="15646" y="18243"/>
                </a:cubicBezTo>
                <a:cubicBezTo>
                  <a:pt x="15721" y="18163"/>
                  <a:pt x="15763" y="18194"/>
                  <a:pt x="15875" y="18153"/>
                </a:cubicBezTo>
                <a:cubicBezTo>
                  <a:pt x="15950" y="18125"/>
                  <a:pt x="15942" y="18004"/>
                  <a:pt x="15990" y="17972"/>
                </a:cubicBezTo>
                <a:cubicBezTo>
                  <a:pt x="16038" y="17941"/>
                  <a:pt x="16111" y="17997"/>
                  <a:pt x="16162" y="17972"/>
                </a:cubicBezTo>
                <a:cubicBezTo>
                  <a:pt x="16182" y="17963"/>
                  <a:pt x="16248" y="17813"/>
                  <a:pt x="16276" y="17793"/>
                </a:cubicBezTo>
                <a:cubicBezTo>
                  <a:pt x="16473" y="17648"/>
                  <a:pt x="16748" y="17536"/>
                  <a:pt x="16849" y="17342"/>
                </a:cubicBezTo>
                <a:cubicBezTo>
                  <a:pt x="16864" y="17313"/>
                  <a:pt x="16943" y="17365"/>
                  <a:pt x="16963" y="17342"/>
                </a:cubicBezTo>
                <a:cubicBezTo>
                  <a:pt x="17008" y="17294"/>
                  <a:pt x="17020" y="17213"/>
                  <a:pt x="17078" y="17162"/>
                </a:cubicBezTo>
                <a:cubicBezTo>
                  <a:pt x="17169" y="17084"/>
                  <a:pt x="17257" y="17002"/>
                  <a:pt x="17307" y="16982"/>
                </a:cubicBezTo>
                <a:cubicBezTo>
                  <a:pt x="17455" y="16924"/>
                  <a:pt x="17454" y="16901"/>
                  <a:pt x="17536" y="16802"/>
                </a:cubicBezTo>
                <a:cubicBezTo>
                  <a:pt x="17579" y="16751"/>
                  <a:pt x="17614" y="16662"/>
                  <a:pt x="17651" y="16622"/>
                </a:cubicBezTo>
                <a:cubicBezTo>
                  <a:pt x="17756" y="16508"/>
                  <a:pt x="17890" y="16466"/>
                  <a:pt x="17995" y="16352"/>
                </a:cubicBezTo>
                <a:cubicBezTo>
                  <a:pt x="18031" y="16312"/>
                  <a:pt x="18067" y="16221"/>
                  <a:pt x="18110" y="16172"/>
                </a:cubicBezTo>
                <a:cubicBezTo>
                  <a:pt x="18285" y="15965"/>
                  <a:pt x="18424" y="15806"/>
                  <a:pt x="18567" y="15631"/>
                </a:cubicBezTo>
                <a:cubicBezTo>
                  <a:pt x="18754" y="15404"/>
                  <a:pt x="18970" y="15164"/>
                  <a:pt x="19141" y="14911"/>
                </a:cubicBezTo>
                <a:cubicBezTo>
                  <a:pt x="19262" y="14731"/>
                  <a:pt x="19652" y="14132"/>
                  <a:pt x="19656" y="14010"/>
                </a:cubicBezTo>
                <a:cubicBezTo>
                  <a:pt x="19660" y="13908"/>
                  <a:pt x="19697" y="13968"/>
                  <a:pt x="19713" y="13920"/>
                </a:cubicBezTo>
                <a:cubicBezTo>
                  <a:pt x="19742" y="13840"/>
                  <a:pt x="19735" y="13733"/>
                  <a:pt x="19771" y="13650"/>
                </a:cubicBezTo>
                <a:cubicBezTo>
                  <a:pt x="19787" y="13613"/>
                  <a:pt x="19864" y="13596"/>
                  <a:pt x="19885" y="13560"/>
                </a:cubicBezTo>
                <a:cubicBezTo>
                  <a:pt x="19935" y="13476"/>
                  <a:pt x="19943" y="13364"/>
                  <a:pt x="20000" y="13290"/>
                </a:cubicBezTo>
                <a:cubicBezTo>
                  <a:pt x="20019" y="13266"/>
                  <a:pt x="19985" y="13142"/>
                  <a:pt x="20000" y="13110"/>
                </a:cubicBezTo>
                <a:cubicBezTo>
                  <a:pt x="20029" y="13045"/>
                  <a:pt x="20082" y="13011"/>
                  <a:pt x="20115" y="12929"/>
                </a:cubicBezTo>
                <a:cubicBezTo>
                  <a:pt x="20227" y="12649"/>
                  <a:pt x="20298" y="12498"/>
                  <a:pt x="20344" y="12210"/>
                </a:cubicBezTo>
                <a:cubicBezTo>
                  <a:pt x="20356" y="12134"/>
                  <a:pt x="20393" y="12150"/>
                  <a:pt x="20401" y="12120"/>
                </a:cubicBezTo>
                <a:cubicBezTo>
                  <a:pt x="20481" y="11828"/>
                  <a:pt x="20535" y="11550"/>
                  <a:pt x="20573" y="11309"/>
                </a:cubicBezTo>
                <a:cubicBezTo>
                  <a:pt x="20602" y="11126"/>
                  <a:pt x="20659" y="11036"/>
                  <a:pt x="20688" y="10859"/>
                </a:cubicBezTo>
                <a:cubicBezTo>
                  <a:pt x="20735" y="10557"/>
                  <a:pt x="20834" y="10011"/>
                  <a:pt x="20860" y="9418"/>
                </a:cubicBezTo>
                <a:cubicBezTo>
                  <a:pt x="20876" y="9012"/>
                  <a:pt x="20894" y="8482"/>
                  <a:pt x="20860" y="8157"/>
                </a:cubicBezTo>
                <a:cubicBezTo>
                  <a:pt x="20847" y="8039"/>
                  <a:pt x="20777" y="7925"/>
                  <a:pt x="20745" y="7797"/>
                </a:cubicBezTo>
                <a:cubicBezTo>
                  <a:pt x="20710" y="7659"/>
                  <a:pt x="20710" y="7576"/>
                  <a:pt x="20688" y="7437"/>
                </a:cubicBezTo>
                <a:cubicBezTo>
                  <a:pt x="20662" y="7275"/>
                  <a:pt x="20577" y="7205"/>
                  <a:pt x="20573" y="7077"/>
                </a:cubicBezTo>
                <a:cubicBezTo>
                  <a:pt x="20570" y="6981"/>
                  <a:pt x="20526" y="7027"/>
                  <a:pt x="20516" y="6987"/>
                </a:cubicBezTo>
                <a:cubicBezTo>
                  <a:pt x="20470" y="6819"/>
                  <a:pt x="20435" y="6673"/>
                  <a:pt x="20459" y="6446"/>
                </a:cubicBezTo>
                <a:cubicBezTo>
                  <a:pt x="20259" y="6378"/>
                  <a:pt x="20225" y="6029"/>
                  <a:pt x="20115" y="5816"/>
                </a:cubicBezTo>
                <a:cubicBezTo>
                  <a:pt x="20008" y="5610"/>
                  <a:pt x="19826" y="5468"/>
                  <a:pt x="19771" y="5185"/>
                </a:cubicBezTo>
                <a:cubicBezTo>
                  <a:pt x="19490" y="5023"/>
                  <a:pt x="19313" y="4639"/>
                  <a:pt x="19083" y="4375"/>
                </a:cubicBezTo>
                <a:cubicBezTo>
                  <a:pt x="19034" y="4317"/>
                  <a:pt x="19064" y="4293"/>
                  <a:pt x="18969" y="4285"/>
                </a:cubicBezTo>
                <a:cubicBezTo>
                  <a:pt x="18863" y="4276"/>
                  <a:pt x="18836" y="4089"/>
                  <a:pt x="18797" y="4015"/>
                </a:cubicBezTo>
                <a:cubicBezTo>
                  <a:pt x="18781" y="3985"/>
                  <a:pt x="18644" y="3944"/>
                  <a:pt x="18625" y="3925"/>
                </a:cubicBezTo>
                <a:cubicBezTo>
                  <a:pt x="18561" y="3860"/>
                  <a:pt x="18557" y="3833"/>
                  <a:pt x="18511" y="3745"/>
                </a:cubicBezTo>
                <a:cubicBezTo>
                  <a:pt x="18497" y="3718"/>
                  <a:pt x="18417" y="3760"/>
                  <a:pt x="18395" y="3745"/>
                </a:cubicBezTo>
                <a:cubicBezTo>
                  <a:pt x="18389" y="3739"/>
                  <a:pt x="18401" y="3665"/>
                  <a:pt x="18395" y="3654"/>
                </a:cubicBezTo>
                <a:cubicBezTo>
                  <a:pt x="18382" y="3628"/>
                  <a:pt x="18302" y="3671"/>
                  <a:pt x="18281" y="3654"/>
                </a:cubicBezTo>
                <a:cubicBezTo>
                  <a:pt x="18142" y="3543"/>
                  <a:pt x="18020" y="3396"/>
                  <a:pt x="17880" y="3294"/>
                </a:cubicBezTo>
                <a:cubicBezTo>
                  <a:pt x="17798" y="3235"/>
                  <a:pt x="17712" y="3251"/>
                  <a:pt x="17651" y="3204"/>
                </a:cubicBezTo>
                <a:cubicBezTo>
                  <a:pt x="17643" y="3199"/>
                  <a:pt x="17656" y="3125"/>
                  <a:pt x="17651" y="3114"/>
                </a:cubicBezTo>
                <a:cubicBezTo>
                  <a:pt x="17637" y="3088"/>
                  <a:pt x="17557" y="3130"/>
                  <a:pt x="17536" y="3114"/>
                </a:cubicBezTo>
                <a:cubicBezTo>
                  <a:pt x="17529" y="3109"/>
                  <a:pt x="17542" y="3035"/>
                  <a:pt x="17536" y="3024"/>
                </a:cubicBezTo>
                <a:cubicBezTo>
                  <a:pt x="17523" y="3000"/>
                  <a:pt x="17442" y="3036"/>
                  <a:pt x="17422" y="3024"/>
                </a:cubicBezTo>
                <a:cubicBezTo>
                  <a:pt x="17280" y="2939"/>
                  <a:pt x="17107" y="2824"/>
                  <a:pt x="16963" y="2754"/>
                </a:cubicBezTo>
                <a:cubicBezTo>
                  <a:pt x="16809" y="2678"/>
                  <a:pt x="16606" y="2750"/>
                  <a:pt x="16505" y="2484"/>
                </a:cubicBezTo>
                <a:cubicBezTo>
                  <a:pt x="16430" y="2466"/>
                  <a:pt x="16477" y="2607"/>
                  <a:pt x="16448" y="2664"/>
                </a:cubicBezTo>
                <a:cubicBezTo>
                  <a:pt x="16417" y="2724"/>
                  <a:pt x="16379" y="2572"/>
                  <a:pt x="16391" y="2574"/>
                </a:cubicBezTo>
                <a:cubicBezTo>
                  <a:pt x="16322" y="2559"/>
                  <a:pt x="16261" y="2521"/>
                  <a:pt x="16162" y="2484"/>
                </a:cubicBezTo>
                <a:cubicBezTo>
                  <a:pt x="16156" y="2482"/>
                  <a:pt x="16165" y="2401"/>
                  <a:pt x="16162" y="2393"/>
                </a:cubicBezTo>
                <a:cubicBezTo>
                  <a:pt x="16069" y="2249"/>
                  <a:pt x="15631" y="2518"/>
                  <a:pt x="15703" y="2214"/>
                </a:cubicBezTo>
                <a:cubicBezTo>
                  <a:pt x="15637" y="2208"/>
                  <a:pt x="15616" y="2249"/>
                  <a:pt x="15588" y="2304"/>
                </a:cubicBezTo>
                <a:cubicBezTo>
                  <a:pt x="15561" y="2358"/>
                  <a:pt x="15514" y="2216"/>
                  <a:pt x="15531" y="2214"/>
                </a:cubicBezTo>
                <a:cubicBezTo>
                  <a:pt x="15274" y="2246"/>
                  <a:pt x="15344" y="2318"/>
                  <a:pt x="15245" y="2124"/>
                </a:cubicBezTo>
                <a:cubicBezTo>
                  <a:pt x="15220" y="2074"/>
                  <a:pt x="15165" y="2206"/>
                  <a:pt x="15188" y="2214"/>
                </a:cubicBezTo>
                <a:cubicBezTo>
                  <a:pt x="15042" y="2164"/>
                  <a:pt x="15012" y="2143"/>
                  <a:pt x="14901" y="2124"/>
                </a:cubicBezTo>
                <a:cubicBezTo>
                  <a:pt x="14709" y="2090"/>
                  <a:pt x="14622" y="1996"/>
                  <a:pt x="14557" y="2124"/>
                </a:cubicBezTo>
                <a:cubicBezTo>
                  <a:pt x="14527" y="2183"/>
                  <a:pt x="14488" y="2032"/>
                  <a:pt x="14500" y="2034"/>
                </a:cubicBezTo>
                <a:cubicBezTo>
                  <a:pt x="14405" y="2018"/>
                  <a:pt x="14308" y="2045"/>
                  <a:pt x="14214" y="2034"/>
                </a:cubicBezTo>
                <a:cubicBezTo>
                  <a:pt x="14112" y="2021"/>
                  <a:pt x="14028" y="1951"/>
                  <a:pt x="13927" y="1943"/>
                </a:cubicBezTo>
                <a:cubicBezTo>
                  <a:pt x="13938" y="1944"/>
                  <a:pt x="13902" y="2027"/>
                  <a:pt x="13869" y="2034"/>
                </a:cubicBezTo>
                <a:cubicBezTo>
                  <a:pt x="13812" y="2045"/>
                  <a:pt x="13802" y="1943"/>
                  <a:pt x="13755" y="1943"/>
                </a:cubicBezTo>
                <a:cubicBezTo>
                  <a:pt x="13541" y="1943"/>
                  <a:pt x="13590" y="2044"/>
                  <a:pt x="13526" y="1943"/>
                </a:cubicBezTo>
                <a:cubicBezTo>
                  <a:pt x="13476" y="1866"/>
                  <a:pt x="13349" y="2033"/>
                  <a:pt x="13354" y="2034"/>
                </a:cubicBezTo>
                <a:cubicBezTo>
                  <a:pt x="13231" y="2029"/>
                  <a:pt x="13170" y="1943"/>
                  <a:pt x="13067" y="1943"/>
                </a:cubicBezTo>
                <a:cubicBezTo>
                  <a:pt x="12973" y="1944"/>
                  <a:pt x="12876" y="1935"/>
                  <a:pt x="12781" y="1943"/>
                </a:cubicBezTo>
                <a:cubicBezTo>
                  <a:pt x="12729" y="1948"/>
                  <a:pt x="12738" y="2028"/>
                  <a:pt x="12724" y="2034"/>
                </a:cubicBezTo>
                <a:cubicBezTo>
                  <a:pt x="12670" y="2056"/>
                  <a:pt x="12653" y="1943"/>
                  <a:pt x="12609" y="1943"/>
                </a:cubicBezTo>
                <a:cubicBezTo>
                  <a:pt x="12542" y="1945"/>
                  <a:pt x="12525" y="1974"/>
                  <a:pt x="12495" y="2034"/>
                </a:cubicBezTo>
                <a:cubicBezTo>
                  <a:pt x="12488" y="2046"/>
                  <a:pt x="12170" y="1761"/>
                  <a:pt x="12151" y="2034"/>
                </a:cubicBezTo>
                <a:cubicBezTo>
                  <a:pt x="12194" y="2128"/>
                  <a:pt x="12274" y="2200"/>
                  <a:pt x="12323" y="2304"/>
                </a:cubicBezTo>
                <a:cubicBezTo>
                  <a:pt x="12357" y="2378"/>
                  <a:pt x="12424" y="2488"/>
                  <a:pt x="12438" y="2574"/>
                </a:cubicBezTo>
                <a:cubicBezTo>
                  <a:pt x="12455" y="2685"/>
                  <a:pt x="12448" y="2694"/>
                  <a:pt x="12495" y="2754"/>
                </a:cubicBezTo>
                <a:cubicBezTo>
                  <a:pt x="12512" y="2777"/>
                  <a:pt x="12483" y="2901"/>
                  <a:pt x="12495" y="2934"/>
                </a:cubicBezTo>
                <a:cubicBezTo>
                  <a:pt x="12513" y="2986"/>
                  <a:pt x="12590" y="3055"/>
                  <a:pt x="12609" y="3114"/>
                </a:cubicBezTo>
                <a:cubicBezTo>
                  <a:pt x="12615" y="3133"/>
                  <a:pt x="12608" y="3183"/>
                  <a:pt x="12609" y="3204"/>
                </a:cubicBezTo>
                <a:cubicBezTo>
                  <a:pt x="12612" y="3301"/>
                  <a:pt x="12655" y="3253"/>
                  <a:pt x="12667" y="3294"/>
                </a:cubicBezTo>
                <a:cubicBezTo>
                  <a:pt x="12740" y="3560"/>
                  <a:pt x="12678" y="3504"/>
                  <a:pt x="12667" y="3654"/>
                </a:cubicBezTo>
                <a:cubicBezTo>
                  <a:pt x="12655" y="3798"/>
                  <a:pt x="12854" y="4098"/>
                  <a:pt x="12724" y="4105"/>
                </a:cubicBezTo>
                <a:cubicBezTo>
                  <a:pt x="12715" y="4211"/>
                  <a:pt x="12734" y="4360"/>
                  <a:pt x="12667" y="4375"/>
                </a:cubicBezTo>
                <a:cubicBezTo>
                  <a:pt x="12643" y="4113"/>
                  <a:pt x="12429" y="4027"/>
                  <a:pt x="12380" y="3925"/>
                </a:cubicBezTo>
                <a:cubicBezTo>
                  <a:pt x="12330" y="3820"/>
                  <a:pt x="12376" y="3664"/>
                  <a:pt x="12266" y="3654"/>
                </a:cubicBezTo>
                <a:cubicBezTo>
                  <a:pt x="12199" y="3649"/>
                  <a:pt x="12239" y="3612"/>
                  <a:pt x="12208" y="3565"/>
                </a:cubicBezTo>
                <a:cubicBezTo>
                  <a:pt x="12094" y="3390"/>
                  <a:pt x="11941" y="2940"/>
                  <a:pt x="11865" y="2934"/>
                </a:cubicBezTo>
                <a:cubicBezTo>
                  <a:pt x="11759" y="2925"/>
                  <a:pt x="11731" y="2738"/>
                  <a:pt x="11692" y="2664"/>
                </a:cubicBezTo>
                <a:cubicBezTo>
                  <a:pt x="11680" y="2639"/>
                  <a:pt x="11598" y="2677"/>
                  <a:pt x="11578" y="2664"/>
                </a:cubicBezTo>
                <a:cubicBezTo>
                  <a:pt x="11505" y="2618"/>
                  <a:pt x="11507" y="2569"/>
                  <a:pt x="11463" y="2484"/>
                </a:cubicBezTo>
                <a:cubicBezTo>
                  <a:pt x="11447" y="2451"/>
                  <a:pt x="11255" y="2414"/>
                  <a:pt x="11234" y="2393"/>
                </a:cubicBezTo>
                <a:cubicBezTo>
                  <a:pt x="11183" y="2343"/>
                  <a:pt x="11112" y="2172"/>
                  <a:pt x="11062" y="2124"/>
                </a:cubicBezTo>
                <a:cubicBezTo>
                  <a:pt x="10873" y="2247"/>
                  <a:pt x="10641" y="2249"/>
                  <a:pt x="10432" y="2304"/>
                </a:cubicBezTo>
                <a:cubicBezTo>
                  <a:pt x="10215" y="2361"/>
                  <a:pt x="10046" y="2525"/>
                  <a:pt x="9859" y="2393"/>
                </a:cubicBezTo>
                <a:cubicBezTo>
                  <a:pt x="9845" y="2483"/>
                  <a:pt x="9798" y="2549"/>
                  <a:pt x="9744" y="2574"/>
                </a:cubicBezTo>
                <a:cubicBezTo>
                  <a:pt x="9686" y="2601"/>
                  <a:pt x="9703" y="2490"/>
                  <a:pt x="9687" y="2484"/>
                </a:cubicBezTo>
                <a:cubicBezTo>
                  <a:pt x="9630" y="2460"/>
                  <a:pt x="9567" y="2639"/>
                  <a:pt x="9515" y="2664"/>
                </a:cubicBezTo>
                <a:cubicBezTo>
                  <a:pt x="9326" y="2754"/>
                  <a:pt x="9264" y="2693"/>
                  <a:pt x="9114" y="2754"/>
                </a:cubicBezTo>
                <a:cubicBezTo>
                  <a:pt x="9109" y="2756"/>
                  <a:pt x="9119" y="2837"/>
                  <a:pt x="9114" y="2844"/>
                </a:cubicBezTo>
                <a:cubicBezTo>
                  <a:pt x="9082" y="2895"/>
                  <a:pt x="8931" y="2819"/>
                  <a:pt x="8885" y="2844"/>
                </a:cubicBezTo>
                <a:cubicBezTo>
                  <a:pt x="8808" y="2885"/>
                  <a:pt x="8787" y="2990"/>
                  <a:pt x="8713" y="3024"/>
                </a:cubicBezTo>
                <a:cubicBezTo>
                  <a:pt x="8743" y="3010"/>
                  <a:pt x="8675" y="2938"/>
                  <a:pt x="8656" y="2934"/>
                </a:cubicBezTo>
                <a:cubicBezTo>
                  <a:pt x="8562" y="2916"/>
                  <a:pt x="8489" y="3109"/>
                  <a:pt x="8427" y="3114"/>
                </a:cubicBezTo>
                <a:cubicBezTo>
                  <a:pt x="8371" y="3119"/>
                  <a:pt x="8389" y="3195"/>
                  <a:pt x="8370" y="3204"/>
                </a:cubicBezTo>
                <a:cubicBezTo>
                  <a:pt x="8195" y="3293"/>
                  <a:pt x="8098" y="3222"/>
                  <a:pt x="8026" y="3294"/>
                </a:cubicBezTo>
                <a:cubicBezTo>
                  <a:pt x="7861" y="3460"/>
                  <a:pt x="7628" y="3476"/>
                  <a:pt x="7453" y="3565"/>
                </a:cubicBezTo>
                <a:cubicBezTo>
                  <a:pt x="7375" y="3604"/>
                  <a:pt x="7355" y="3705"/>
                  <a:pt x="7281" y="3745"/>
                </a:cubicBezTo>
                <a:cubicBezTo>
                  <a:pt x="7235" y="3769"/>
                  <a:pt x="7158" y="3741"/>
                  <a:pt x="7109" y="3745"/>
                </a:cubicBezTo>
                <a:cubicBezTo>
                  <a:pt x="7058" y="3749"/>
                  <a:pt x="7065" y="3829"/>
                  <a:pt x="7052" y="3834"/>
                </a:cubicBezTo>
                <a:cubicBezTo>
                  <a:pt x="6828" y="3922"/>
                  <a:pt x="6563" y="3931"/>
                  <a:pt x="6479" y="4015"/>
                </a:cubicBezTo>
                <a:cubicBezTo>
                  <a:pt x="6370" y="4124"/>
                  <a:pt x="6378" y="4184"/>
                  <a:pt x="6250" y="4195"/>
                </a:cubicBezTo>
                <a:cubicBezTo>
                  <a:pt x="6186" y="4200"/>
                  <a:pt x="6221" y="4262"/>
                  <a:pt x="6192" y="4285"/>
                </a:cubicBezTo>
                <a:cubicBezTo>
                  <a:pt x="6111" y="4349"/>
                  <a:pt x="6043" y="4314"/>
                  <a:pt x="5963" y="4375"/>
                </a:cubicBezTo>
                <a:cubicBezTo>
                  <a:pt x="5924" y="4406"/>
                  <a:pt x="5830" y="4773"/>
                  <a:pt x="5792" y="4465"/>
                </a:cubicBezTo>
                <a:cubicBezTo>
                  <a:pt x="5849" y="4465"/>
                  <a:pt x="5859" y="4392"/>
                  <a:pt x="5906" y="4375"/>
                </a:cubicBezTo>
                <a:cubicBezTo>
                  <a:pt x="6423" y="3805"/>
                  <a:pt x="7084" y="3239"/>
                  <a:pt x="7568" y="2754"/>
                </a:cubicBezTo>
                <a:close/>
                <a:moveTo>
                  <a:pt x="17823" y="1493"/>
                </a:moveTo>
                <a:cubicBezTo>
                  <a:pt x="17882" y="1674"/>
                  <a:pt x="18040" y="1568"/>
                  <a:pt x="18110" y="1583"/>
                </a:cubicBezTo>
                <a:cubicBezTo>
                  <a:pt x="18098" y="1581"/>
                  <a:pt x="18136" y="1733"/>
                  <a:pt x="18166" y="1674"/>
                </a:cubicBezTo>
                <a:cubicBezTo>
                  <a:pt x="18253" y="1503"/>
                  <a:pt x="18245" y="1773"/>
                  <a:pt x="18395" y="1854"/>
                </a:cubicBezTo>
                <a:cubicBezTo>
                  <a:pt x="18478" y="1898"/>
                  <a:pt x="18620" y="1782"/>
                  <a:pt x="18625" y="1943"/>
                </a:cubicBezTo>
                <a:cubicBezTo>
                  <a:pt x="18703" y="2053"/>
                  <a:pt x="18824" y="2054"/>
                  <a:pt x="18912" y="2124"/>
                </a:cubicBezTo>
                <a:cubicBezTo>
                  <a:pt x="18973" y="2172"/>
                  <a:pt x="18980" y="2254"/>
                  <a:pt x="19026" y="2304"/>
                </a:cubicBezTo>
                <a:cubicBezTo>
                  <a:pt x="19047" y="2326"/>
                  <a:pt x="19125" y="2274"/>
                  <a:pt x="19141" y="2304"/>
                </a:cubicBezTo>
                <a:cubicBezTo>
                  <a:pt x="19179" y="2377"/>
                  <a:pt x="19184" y="2366"/>
                  <a:pt x="19255" y="2393"/>
                </a:cubicBezTo>
                <a:cubicBezTo>
                  <a:pt x="19359" y="2434"/>
                  <a:pt x="19360" y="2615"/>
                  <a:pt x="19484" y="2664"/>
                </a:cubicBezTo>
                <a:cubicBezTo>
                  <a:pt x="19591" y="2706"/>
                  <a:pt x="19646" y="2665"/>
                  <a:pt x="19713" y="2754"/>
                </a:cubicBezTo>
                <a:cubicBezTo>
                  <a:pt x="19879" y="3125"/>
                  <a:pt x="20133" y="3355"/>
                  <a:pt x="20401" y="3565"/>
                </a:cubicBezTo>
                <a:cubicBezTo>
                  <a:pt x="20442" y="3894"/>
                  <a:pt x="20634" y="4012"/>
                  <a:pt x="20745" y="4285"/>
                </a:cubicBezTo>
                <a:cubicBezTo>
                  <a:pt x="20785" y="4383"/>
                  <a:pt x="20818" y="4454"/>
                  <a:pt x="20860" y="4555"/>
                </a:cubicBezTo>
                <a:cubicBezTo>
                  <a:pt x="20892" y="4635"/>
                  <a:pt x="20967" y="4752"/>
                  <a:pt x="21031" y="4915"/>
                </a:cubicBezTo>
                <a:cubicBezTo>
                  <a:pt x="21055" y="4975"/>
                  <a:pt x="21063" y="5032"/>
                  <a:pt x="21088" y="5096"/>
                </a:cubicBezTo>
                <a:cubicBezTo>
                  <a:pt x="21125" y="5185"/>
                  <a:pt x="21201" y="5292"/>
                  <a:pt x="21260" y="5455"/>
                </a:cubicBezTo>
                <a:cubicBezTo>
                  <a:pt x="21272" y="5489"/>
                  <a:pt x="21243" y="5613"/>
                  <a:pt x="21260" y="5636"/>
                </a:cubicBezTo>
                <a:cubicBezTo>
                  <a:pt x="21380" y="5789"/>
                  <a:pt x="21312" y="5728"/>
                  <a:pt x="21375" y="6086"/>
                </a:cubicBezTo>
                <a:cubicBezTo>
                  <a:pt x="21389" y="6165"/>
                  <a:pt x="21484" y="6229"/>
                  <a:pt x="21490" y="6266"/>
                </a:cubicBezTo>
                <a:cubicBezTo>
                  <a:pt x="21498" y="6324"/>
                  <a:pt x="21429" y="6367"/>
                  <a:pt x="21432" y="6446"/>
                </a:cubicBezTo>
                <a:cubicBezTo>
                  <a:pt x="21432" y="6435"/>
                  <a:pt x="21488" y="6480"/>
                  <a:pt x="21490" y="6536"/>
                </a:cubicBezTo>
                <a:cubicBezTo>
                  <a:pt x="21491" y="6565"/>
                  <a:pt x="21487" y="6598"/>
                  <a:pt x="21490" y="6626"/>
                </a:cubicBezTo>
                <a:cubicBezTo>
                  <a:pt x="21575" y="7381"/>
                  <a:pt x="21553" y="8936"/>
                  <a:pt x="21375" y="9868"/>
                </a:cubicBezTo>
                <a:cubicBezTo>
                  <a:pt x="21325" y="10127"/>
                  <a:pt x="21268" y="10440"/>
                  <a:pt x="21203" y="10679"/>
                </a:cubicBezTo>
                <a:cubicBezTo>
                  <a:pt x="21193" y="10719"/>
                  <a:pt x="21149" y="10672"/>
                  <a:pt x="21146" y="10769"/>
                </a:cubicBezTo>
                <a:cubicBezTo>
                  <a:pt x="21143" y="10845"/>
                  <a:pt x="21079" y="11100"/>
                  <a:pt x="21031" y="11219"/>
                </a:cubicBezTo>
                <a:cubicBezTo>
                  <a:pt x="21019" y="11250"/>
                  <a:pt x="20993" y="11465"/>
                  <a:pt x="20974" y="11489"/>
                </a:cubicBezTo>
                <a:cubicBezTo>
                  <a:pt x="20967" y="11498"/>
                  <a:pt x="20920" y="11477"/>
                  <a:pt x="20917" y="11489"/>
                </a:cubicBezTo>
                <a:cubicBezTo>
                  <a:pt x="20907" y="11522"/>
                  <a:pt x="20933" y="11647"/>
                  <a:pt x="20917" y="11669"/>
                </a:cubicBezTo>
                <a:cubicBezTo>
                  <a:pt x="20860" y="11742"/>
                  <a:pt x="20843" y="11748"/>
                  <a:pt x="20802" y="11849"/>
                </a:cubicBezTo>
                <a:cubicBezTo>
                  <a:pt x="20790" y="11880"/>
                  <a:pt x="20763" y="12095"/>
                  <a:pt x="20745" y="12120"/>
                </a:cubicBezTo>
                <a:cubicBezTo>
                  <a:pt x="20738" y="12128"/>
                  <a:pt x="20691" y="12109"/>
                  <a:pt x="20688" y="12120"/>
                </a:cubicBezTo>
                <a:cubicBezTo>
                  <a:pt x="20678" y="12152"/>
                  <a:pt x="20704" y="12278"/>
                  <a:pt x="20688" y="12299"/>
                </a:cubicBezTo>
                <a:cubicBezTo>
                  <a:pt x="20631" y="12371"/>
                  <a:pt x="20614" y="12379"/>
                  <a:pt x="20573" y="12480"/>
                </a:cubicBezTo>
                <a:cubicBezTo>
                  <a:pt x="20560" y="12511"/>
                  <a:pt x="20535" y="12725"/>
                  <a:pt x="20516" y="12749"/>
                </a:cubicBezTo>
                <a:cubicBezTo>
                  <a:pt x="20428" y="12863"/>
                  <a:pt x="20379" y="12992"/>
                  <a:pt x="20286" y="13200"/>
                </a:cubicBezTo>
                <a:cubicBezTo>
                  <a:pt x="20242" y="13300"/>
                  <a:pt x="20159" y="13380"/>
                  <a:pt x="20115" y="13470"/>
                </a:cubicBezTo>
                <a:cubicBezTo>
                  <a:pt x="20099" y="13501"/>
                  <a:pt x="20134" y="13625"/>
                  <a:pt x="20115" y="13650"/>
                </a:cubicBezTo>
                <a:cubicBezTo>
                  <a:pt x="20092" y="13679"/>
                  <a:pt x="20017" y="13705"/>
                  <a:pt x="20000" y="13740"/>
                </a:cubicBezTo>
                <a:cubicBezTo>
                  <a:pt x="19940" y="13862"/>
                  <a:pt x="19944" y="13993"/>
                  <a:pt x="19885" y="14101"/>
                </a:cubicBezTo>
                <a:cubicBezTo>
                  <a:pt x="19844" y="14177"/>
                  <a:pt x="19754" y="14204"/>
                  <a:pt x="19713" y="14280"/>
                </a:cubicBezTo>
                <a:cubicBezTo>
                  <a:pt x="19664" y="14376"/>
                  <a:pt x="19656" y="14536"/>
                  <a:pt x="19599" y="14641"/>
                </a:cubicBezTo>
                <a:cubicBezTo>
                  <a:pt x="19487" y="14845"/>
                  <a:pt x="19230" y="15108"/>
                  <a:pt x="19083" y="15361"/>
                </a:cubicBezTo>
                <a:cubicBezTo>
                  <a:pt x="19066" y="15391"/>
                  <a:pt x="19103" y="15516"/>
                  <a:pt x="19083" y="15541"/>
                </a:cubicBezTo>
                <a:cubicBezTo>
                  <a:pt x="19034" y="15605"/>
                  <a:pt x="19012" y="15653"/>
                  <a:pt x="18969" y="15722"/>
                </a:cubicBezTo>
                <a:cubicBezTo>
                  <a:pt x="18951" y="15750"/>
                  <a:pt x="18870" y="15691"/>
                  <a:pt x="18854" y="15722"/>
                </a:cubicBezTo>
                <a:cubicBezTo>
                  <a:pt x="18845" y="15740"/>
                  <a:pt x="18863" y="15794"/>
                  <a:pt x="18854" y="15812"/>
                </a:cubicBezTo>
                <a:cubicBezTo>
                  <a:pt x="18818" y="15883"/>
                  <a:pt x="18709" y="16052"/>
                  <a:pt x="18625" y="16172"/>
                </a:cubicBezTo>
                <a:cubicBezTo>
                  <a:pt x="18494" y="16360"/>
                  <a:pt x="18294" y="16573"/>
                  <a:pt x="18110" y="16802"/>
                </a:cubicBezTo>
                <a:cubicBezTo>
                  <a:pt x="18049" y="16877"/>
                  <a:pt x="18004" y="16989"/>
                  <a:pt x="17937" y="17072"/>
                </a:cubicBezTo>
                <a:cubicBezTo>
                  <a:pt x="17840" y="17193"/>
                  <a:pt x="17667" y="17256"/>
                  <a:pt x="17536" y="17433"/>
                </a:cubicBezTo>
                <a:cubicBezTo>
                  <a:pt x="17492" y="17492"/>
                  <a:pt x="17469" y="17654"/>
                  <a:pt x="17422" y="17703"/>
                </a:cubicBezTo>
                <a:cubicBezTo>
                  <a:pt x="17401" y="17724"/>
                  <a:pt x="17322" y="17673"/>
                  <a:pt x="17307" y="17703"/>
                </a:cubicBezTo>
                <a:cubicBezTo>
                  <a:pt x="17302" y="17713"/>
                  <a:pt x="17314" y="17787"/>
                  <a:pt x="17307" y="17793"/>
                </a:cubicBezTo>
                <a:cubicBezTo>
                  <a:pt x="17287" y="17808"/>
                  <a:pt x="17207" y="17766"/>
                  <a:pt x="17193" y="17793"/>
                </a:cubicBezTo>
                <a:cubicBezTo>
                  <a:pt x="17147" y="17881"/>
                  <a:pt x="17142" y="17908"/>
                  <a:pt x="17078" y="17972"/>
                </a:cubicBezTo>
                <a:cubicBezTo>
                  <a:pt x="17059" y="17992"/>
                  <a:pt x="16921" y="18033"/>
                  <a:pt x="16906" y="18062"/>
                </a:cubicBezTo>
                <a:cubicBezTo>
                  <a:pt x="16685" y="18488"/>
                  <a:pt x="16177" y="18693"/>
                  <a:pt x="15818" y="19054"/>
                </a:cubicBezTo>
                <a:cubicBezTo>
                  <a:pt x="15729" y="19142"/>
                  <a:pt x="15477" y="19302"/>
                  <a:pt x="15302" y="19414"/>
                </a:cubicBezTo>
                <a:cubicBezTo>
                  <a:pt x="15277" y="19430"/>
                  <a:pt x="15305" y="19499"/>
                  <a:pt x="15245" y="19504"/>
                </a:cubicBezTo>
                <a:cubicBezTo>
                  <a:pt x="15223" y="19505"/>
                  <a:pt x="15085" y="19481"/>
                  <a:pt x="15073" y="19504"/>
                </a:cubicBezTo>
                <a:cubicBezTo>
                  <a:pt x="15005" y="19635"/>
                  <a:pt x="14784" y="19767"/>
                  <a:pt x="14615" y="19864"/>
                </a:cubicBezTo>
                <a:cubicBezTo>
                  <a:pt x="14523" y="19916"/>
                  <a:pt x="14373" y="19941"/>
                  <a:pt x="14270" y="20044"/>
                </a:cubicBezTo>
                <a:cubicBezTo>
                  <a:pt x="14239" y="20076"/>
                  <a:pt x="14280" y="20128"/>
                  <a:pt x="14214" y="20134"/>
                </a:cubicBezTo>
                <a:cubicBezTo>
                  <a:pt x="14142" y="20140"/>
                  <a:pt x="14033" y="20166"/>
                  <a:pt x="13927" y="20224"/>
                </a:cubicBezTo>
                <a:cubicBezTo>
                  <a:pt x="13906" y="20236"/>
                  <a:pt x="13927" y="20309"/>
                  <a:pt x="13869" y="20314"/>
                </a:cubicBezTo>
                <a:cubicBezTo>
                  <a:pt x="13848" y="20316"/>
                  <a:pt x="13710" y="20291"/>
                  <a:pt x="13698" y="20314"/>
                </a:cubicBezTo>
                <a:cubicBezTo>
                  <a:pt x="13617" y="20470"/>
                  <a:pt x="13404" y="20494"/>
                  <a:pt x="13182" y="20584"/>
                </a:cubicBezTo>
                <a:cubicBezTo>
                  <a:pt x="13168" y="20590"/>
                  <a:pt x="13176" y="20670"/>
                  <a:pt x="13125" y="20674"/>
                </a:cubicBezTo>
                <a:cubicBezTo>
                  <a:pt x="12976" y="20686"/>
                  <a:pt x="12976" y="20738"/>
                  <a:pt x="12838" y="20764"/>
                </a:cubicBezTo>
                <a:cubicBezTo>
                  <a:pt x="12697" y="20791"/>
                  <a:pt x="12682" y="20798"/>
                  <a:pt x="12552" y="20855"/>
                </a:cubicBezTo>
                <a:cubicBezTo>
                  <a:pt x="12533" y="20862"/>
                  <a:pt x="12449" y="20832"/>
                  <a:pt x="12438" y="20855"/>
                </a:cubicBezTo>
                <a:cubicBezTo>
                  <a:pt x="12345" y="21031"/>
                  <a:pt x="12218" y="20921"/>
                  <a:pt x="11979" y="21035"/>
                </a:cubicBezTo>
                <a:cubicBezTo>
                  <a:pt x="11946" y="21050"/>
                  <a:pt x="11924" y="21124"/>
                  <a:pt x="11922" y="21125"/>
                </a:cubicBezTo>
                <a:cubicBezTo>
                  <a:pt x="11731" y="21185"/>
                  <a:pt x="11528" y="21170"/>
                  <a:pt x="11349" y="21214"/>
                </a:cubicBezTo>
                <a:cubicBezTo>
                  <a:pt x="11344" y="21216"/>
                  <a:pt x="11336" y="21301"/>
                  <a:pt x="11291" y="21304"/>
                </a:cubicBezTo>
                <a:cubicBezTo>
                  <a:pt x="11215" y="21311"/>
                  <a:pt x="11138" y="21295"/>
                  <a:pt x="11062" y="21304"/>
                </a:cubicBezTo>
                <a:cubicBezTo>
                  <a:pt x="11021" y="21310"/>
                  <a:pt x="10999" y="21416"/>
                  <a:pt x="10948" y="21394"/>
                </a:cubicBezTo>
                <a:cubicBezTo>
                  <a:pt x="10930" y="21387"/>
                  <a:pt x="10950" y="21294"/>
                  <a:pt x="10890" y="21304"/>
                </a:cubicBezTo>
                <a:cubicBezTo>
                  <a:pt x="10892" y="21304"/>
                  <a:pt x="10873" y="21392"/>
                  <a:pt x="10833" y="21394"/>
                </a:cubicBezTo>
                <a:cubicBezTo>
                  <a:pt x="10693" y="21406"/>
                  <a:pt x="10517" y="21369"/>
                  <a:pt x="10318" y="21394"/>
                </a:cubicBezTo>
                <a:cubicBezTo>
                  <a:pt x="10250" y="21403"/>
                  <a:pt x="10203" y="21471"/>
                  <a:pt x="10031" y="21485"/>
                </a:cubicBezTo>
                <a:cubicBezTo>
                  <a:pt x="9452" y="21533"/>
                  <a:pt x="8552" y="21524"/>
                  <a:pt x="7969" y="21394"/>
                </a:cubicBezTo>
                <a:cubicBezTo>
                  <a:pt x="7969" y="21394"/>
                  <a:pt x="7848" y="21224"/>
                  <a:pt x="7796" y="21304"/>
                </a:cubicBezTo>
                <a:cubicBezTo>
                  <a:pt x="7751" y="21377"/>
                  <a:pt x="7768" y="21344"/>
                  <a:pt x="7568" y="21304"/>
                </a:cubicBezTo>
                <a:cubicBezTo>
                  <a:pt x="7527" y="21296"/>
                  <a:pt x="7503" y="21194"/>
                  <a:pt x="7453" y="21214"/>
                </a:cubicBezTo>
                <a:cubicBezTo>
                  <a:pt x="7435" y="21222"/>
                  <a:pt x="7455" y="21313"/>
                  <a:pt x="7395" y="21304"/>
                </a:cubicBezTo>
                <a:cubicBezTo>
                  <a:pt x="7273" y="21287"/>
                  <a:pt x="7089" y="21175"/>
                  <a:pt x="6937" y="21125"/>
                </a:cubicBezTo>
                <a:cubicBezTo>
                  <a:pt x="6895" y="21111"/>
                  <a:pt x="6737" y="21170"/>
                  <a:pt x="6708" y="21125"/>
                </a:cubicBezTo>
                <a:cubicBezTo>
                  <a:pt x="6681" y="21083"/>
                  <a:pt x="6656" y="20918"/>
                  <a:pt x="6593" y="20945"/>
                </a:cubicBezTo>
                <a:cubicBezTo>
                  <a:pt x="6576" y="20951"/>
                  <a:pt x="6596" y="21046"/>
                  <a:pt x="6536" y="21035"/>
                </a:cubicBezTo>
                <a:cubicBezTo>
                  <a:pt x="6495" y="21027"/>
                  <a:pt x="6384" y="20977"/>
                  <a:pt x="6307" y="20945"/>
                </a:cubicBezTo>
                <a:cubicBezTo>
                  <a:pt x="6266" y="20927"/>
                  <a:pt x="6144" y="20901"/>
                  <a:pt x="6078" y="20855"/>
                </a:cubicBezTo>
                <a:cubicBezTo>
                  <a:pt x="6069" y="20848"/>
                  <a:pt x="6001" y="20615"/>
                  <a:pt x="5963" y="20674"/>
                </a:cubicBezTo>
                <a:cubicBezTo>
                  <a:pt x="5877" y="20809"/>
                  <a:pt x="5946" y="20667"/>
                  <a:pt x="5792" y="20584"/>
                </a:cubicBezTo>
                <a:cubicBezTo>
                  <a:pt x="5746" y="20560"/>
                  <a:pt x="5594" y="20635"/>
                  <a:pt x="5562" y="20584"/>
                </a:cubicBezTo>
                <a:cubicBezTo>
                  <a:pt x="5557" y="20576"/>
                  <a:pt x="5568" y="20497"/>
                  <a:pt x="5562" y="20494"/>
                </a:cubicBezTo>
                <a:cubicBezTo>
                  <a:pt x="5444" y="20434"/>
                  <a:pt x="5307" y="20286"/>
                  <a:pt x="5161" y="20404"/>
                </a:cubicBezTo>
                <a:cubicBezTo>
                  <a:pt x="5032" y="20072"/>
                  <a:pt x="4799" y="20053"/>
                  <a:pt x="4588" y="19864"/>
                </a:cubicBezTo>
                <a:cubicBezTo>
                  <a:pt x="4591" y="19866"/>
                  <a:pt x="4564" y="19709"/>
                  <a:pt x="4531" y="19774"/>
                </a:cubicBezTo>
                <a:cubicBezTo>
                  <a:pt x="4529" y="19777"/>
                  <a:pt x="4531" y="19864"/>
                  <a:pt x="4531" y="19864"/>
                </a:cubicBezTo>
                <a:cubicBezTo>
                  <a:pt x="4395" y="19795"/>
                  <a:pt x="4358" y="19810"/>
                  <a:pt x="4302" y="19684"/>
                </a:cubicBezTo>
                <a:cubicBezTo>
                  <a:pt x="4243" y="19596"/>
                  <a:pt x="4186" y="19506"/>
                  <a:pt x="4130" y="19414"/>
                </a:cubicBezTo>
                <a:cubicBezTo>
                  <a:pt x="4048" y="19361"/>
                  <a:pt x="3981" y="19388"/>
                  <a:pt x="3900" y="19323"/>
                </a:cubicBezTo>
                <a:cubicBezTo>
                  <a:pt x="3862" y="19292"/>
                  <a:pt x="3820" y="19175"/>
                  <a:pt x="3786" y="19143"/>
                </a:cubicBezTo>
                <a:cubicBezTo>
                  <a:pt x="3694" y="19059"/>
                  <a:pt x="3491" y="19043"/>
                  <a:pt x="3499" y="18783"/>
                </a:cubicBezTo>
                <a:cubicBezTo>
                  <a:pt x="3420" y="18773"/>
                  <a:pt x="3384" y="18745"/>
                  <a:pt x="3328" y="18693"/>
                </a:cubicBezTo>
                <a:cubicBezTo>
                  <a:pt x="3241" y="18613"/>
                  <a:pt x="3169" y="18534"/>
                  <a:pt x="3041" y="18423"/>
                </a:cubicBezTo>
                <a:cubicBezTo>
                  <a:pt x="3011" y="18396"/>
                  <a:pt x="3049" y="18338"/>
                  <a:pt x="2984" y="18333"/>
                </a:cubicBezTo>
                <a:cubicBezTo>
                  <a:pt x="2841" y="18321"/>
                  <a:pt x="2721" y="17927"/>
                  <a:pt x="2583" y="17793"/>
                </a:cubicBezTo>
                <a:cubicBezTo>
                  <a:pt x="2492" y="17704"/>
                  <a:pt x="2354" y="17515"/>
                  <a:pt x="2239" y="17342"/>
                </a:cubicBezTo>
                <a:cubicBezTo>
                  <a:pt x="2194" y="17274"/>
                  <a:pt x="2177" y="17081"/>
                  <a:pt x="2067" y="17072"/>
                </a:cubicBezTo>
                <a:cubicBezTo>
                  <a:pt x="1916" y="17060"/>
                  <a:pt x="1932" y="16822"/>
                  <a:pt x="1838" y="16622"/>
                </a:cubicBezTo>
                <a:cubicBezTo>
                  <a:pt x="1824" y="16592"/>
                  <a:pt x="1741" y="16649"/>
                  <a:pt x="1724" y="16622"/>
                </a:cubicBezTo>
                <a:cubicBezTo>
                  <a:pt x="1675" y="16547"/>
                  <a:pt x="1695" y="16366"/>
                  <a:pt x="1666" y="16262"/>
                </a:cubicBezTo>
                <a:cubicBezTo>
                  <a:pt x="1493" y="16290"/>
                  <a:pt x="1459" y="16011"/>
                  <a:pt x="1380" y="15812"/>
                </a:cubicBezTo>
                <a:cubicBezTo>
                  <a:pt x="1357" y="15753"/>
                  <a:pt x="1285" y="15684"/>
                  <a:pt x="1265" y="15631"/>
                </a:cubicBezTo>
                <a:cubicBezTo>
                  <a:pt x="1229" y="15535"/>
                  <a:pt x="1239" y="15449"/>
                  <a:pt x="1208" y="15361"/>
                </a:cubicBezTo>
                <a:cubicBezTo>
                  <a:pt x="1191" y="15314"/>
                  <a:pt x="1154" y="15373"/>
                  <a:pt x="1151" y="15271"/>
                </a:cubicBezTo>
                <a:cubicBezTo>
                  <a:pt x="1147" y="15180"/>
                  <a:pt x="1062" y="15090"/>
                  <a:pt x="1036" y="15001"/>
                </a:cubicBezTo>
                <a:cubicBezTo>
                  <a:pt x="1026" y="14968"/>
                  <a:pt x="1053" y="14842"/>
                  <a:pt x="1036" y="14820"/>
                </a:cubicBezTo>
                <a:cubicBezTo>
                  <a:pt x="1028" y="14811"/>
                  <a:pt x="985" y="14834"/>
                  <a:pt x="979" y="14820"/>
                </a:cubicBezTo>
                <a:cubicBezTo>
                  <a:pt x="959" y="14774"/>
                  <a:pt x="949" y="14596"/>
                  <a:pt x="921" y="14551"/>
                </a:cubicBezTo>
                <a:cubicBezTo>
                  <a:pt x="894" y="14506"/>
                  <a:pt x="788" y="14579"/>
                  <a:pt x="807" y="14461"/>
                </a:cubicBezTo>
                <a:cubicBezTo>
                  <a:pt x="799" y="14195"/>
                  <a:pt x="669" y="14041"/>
                  <a:pt x="635" y="13830"/>
                </a:cubicBezTo>
                <a:cubicBezTo>
                  <a:pt x="627" y="13777"/>
                  <a:pt x="649" y="13700"/>
                  <a:pt x="635" y="13650"/>
                </a:cubicBezTo>
                <a:cubicBezTo>
                  <a:pt x="620" y="13596"/>
                  <a:pt x="532" y="13513"/>
                  <a:pt x="521" y="13470"/>
                </a:cubicBezTo>
                <a:cubicBezTo>
                  <a:pt x="507" y="13420"/>
                  <a:pt x="529" y="13344"/>
                  <a:pt x="521" y="13290"/>
                </a:cubicBezTo>
                <a:cubicBezTo>
                  <a:pt x="498" y="13148"/>
                  <a:pt x="396" y="12927"/>
                  <a:pt x="349" y="12660"/>
                </a:cubicBezTo>
                <a:cubicBezTo>
                  <a:pt x="344" y="12632"/>
                  <a:pt x="279" y="12664"/>
                  <a:pt x="291" y="12569"/>
                </a:cubicBezTo>
                <a:cubicBezTo>
                  <a:pt x="294" y="12550"/>
                  <a:pt x="366" y="12569"/>
                  <a:pt x="349" y="12480"/>
                </a:cubicBezTo>
                <a:cubicBezTo>
                  <a:pt x="339" y="12432"/>
                  <a:pt x="240" y="12334"/>
                  <a:pt x="234" y="12299"/>
                </a:cubicBezTo>
                <a:cubicBezTo>
                  <a:pt x="213" y="12189"/>
                  <a:pt x="252" y="12051"/>
                  <a:pt x="234" y="11939"/>
                </a:cubicBezTo>
                <a:cubicBezTo>
                  <a:pt x="225" y="11877"/>
                  <a:pt x="178" y="11859"/>
                  <a:pt x="177" y="11849"/>
                </a:cubicBezTo>
                <a:cubicBezTo>
                  <a:pt x="168" y="11784"/>
                  <a:pt x="230" y="11738"/>
                  <a:pt x="234" y="11759"/>
                </a:cubicBezTo>
                <a:cubicBezTo>
                  <a:pt x="219" y="11691"/>
                  <a:pt x="123" y="11606"/>
                  <a:pt x="120" y="11579"/>
                </a:cubicBezTo>
                <a:cubicBezTo>
                  <a:pt x="104" y="11465"/>
                  <a:pt x="129" y="11335"/>
                  <a:pt x="120" y="11219"/>
                </a:cubicBezTo>
                <a:cubicBezTo>
                  <a:pt x="107" y="11078"/>
                  <a:pt x="74" y="11064"/>
                  <a:pt x="62" y="10949"/>
                </a:cubicBezTo>
                <a:cubicBezTo>
                  <a:pt x="57" y="10896"/>
                  <a:pt x="158" y="10779"/>
                  <a:pt x="120" y="10679"/>
                </a:cubicBezTo>
                <a:cubicBezTo>
                  <a:pt x="106" y="10643"/>
                  <a:pt x="-25" y="10699"/>
                  <a:pt x="5" y="10588"/>
                </a:cubicBezTo>
                <a:cubicBezTo>
                  <a:pt x="46" y="10305"/>
                  <a:pt x="57" y="10042"/>
                  <a:pt x="62" y="9778"/>
                </a:cubicBezTo>
                <a:cubicBezTo>
                  <a:pt x="65" y="9616"/>
                  <a:pt x="-4" y="9589"/>
                  <a:pt x="5" y="9418"/>
                </a:cubicBezTo>
                <a:cubicBezTo>
                  <a:pt x="3" y="9448"/>
                  <a:pt x="57" y="9357"/>
                  <a:pt x="62" y="9328"/>
                </a:cubicBezTo>
                <a:cubicBezTo>
                  <a:pt x="85" y="9184"/>
                  <a:pt x="86" y="8857"/>
                  <a:pt x="120" y="8607"/>
                </a:cubicBezTo>
                <a:cubicBezTo>
                  <a:pt x="131" y="8521"/>
                  <a:pt x="168" y="8468"/>
                  <a:pt x="177" y="8338"/>
                </a:cubicBezTo>
                <a:cubicBezTo>
                  <a:pt x="192" y="8113"/>
                  <a:pt x="182" y="8041"/>
                  <a:pt x="234" y="7797"/>
                </a:cubicBezTo>
                <a:cubicBezTo>
                  <a:pt x="241" y="7765"/>
                  <a:pt x="288" y="7796"/>
                  <a:pt x="291" y="7707"/>
                </a:cubicBezTo>
                <a:cubicBezTo>
                  <a:pt x="297" y="7527"/>
                  <a:pt x="433" y="7267"/>
                  <a:pt x="463" y="7077"/>
                </a:cubicBezTo>
                <a:cubicBezTo>
                  <a:pt x="509" y="6786"/>
                  <a:pt x="586" y="6636"/>
                  <a:pt x="692" y="6356"/>
                </a:cubicBezTo>
                <a:cubicBezTo>
                  <a:pt x="725" y="6271"/>
                  <a:pt x="777" y="6243"/>
                  <a:pt x="807" y="6176"/>
                </a:cubicBezTo>
                <a:cubicBezTo>
                  <a:pt x="822" y="6144"/>
                  <a:pt x="788" y="6020"/>
                  <a:pt x="807" y="5996"/>
                </a:cubicBezTo>
                <a:cubicBezTo>
                  <a:pt x="815" y="5985"/>
                  <a:pt x="859" y="6010"/>
                  <a:pt x="864" y="5996"/>
                </a:cubicBezTo>
                <a:cubicBezTo>
                  <a:pt x="920" y="5861"/>
                  <a:pt x="927" y="5744"/>
                  <a:pt x="979" y="5636"/>
                </a:cubicBezTo>
                <a:cubicBezTo>
                  <a:pt x="1013" y="5563"/>
                  <a:pt x="1058" y="5547"/>
                  <a:pt x="1093" y="5455"/>
                </a:cubicBezTo>
                <a:cubicBezTo>
                  <a:pt x="1150" y="5312"/>
                  <a:pt x="1276" y="5197"/>
                  <a:pt x="1380" y="5005"/>
                </a:cubicBezTo>
                <a:cubicBezTo>
                  <a:pt x="1419" y="4933"/>
                  <a:pt x="1397" y="4803"/>
                  <a:pt x="1437" y="4735"/>
                </a:cubicBezTo>
                <a:cubicBezTo>
                  <a:pt x="1556" y="4535"/>
                  <a:pt x="1788" y="4273"/>
                  <a:pt x="1953" y="4015"/>
                </a:cubicBezTo>
                <a:cubicBezTo>
                  <a:pt x="2017" y="3913"/>
                  <a:pt x="2056" y="3749"/>
                  <a:pt x="2125" y="3654"/>
                </a:cubicBezTo>
                <a:cubicBezTo>
                  <a:pt x="2170" y="3592"/>
                  <a:pt x="2244" y="3626"/>
                  <a:pt x="2296" y="3565"/>
                </a:cubicBezTo>
                <a:cubicBezTo>
                  <a:pt x="2330" y="3525"/>
                  <a:pt x="2401" y="3215"/>
                  <a:pt x="2526" y="3204"/>
                </a:cubicBezTo>
                <a:cubicBezTo>
                  <a:pt x="2627" y="3196"/>
                  <a:pt x="2691" y="2914"/>
                  <a:pt x="2869" y="2844"/>
                </a:cubicBezTo>
                <a:cubicBezTo>
                  <a:pt x="2928" y="2821"/>
                  <a:pt x="2988" y="2718"/>
                  <a:pt x="3041" y="2664"/>
                </a:cubicBezTo>
                <a:cubicBezTo>
                  <a:pt x="3091" y="2613"/>
                  <a:pt x="3116" y="2528"/>
                  <a:pt x="3156" y="2484"/>
                </a:cubicBezTo>
                <a:cubicBezTo>
                  <a:pt x="3177" y="2461"/>
                  <a:pt x="3255" y="2513"/>
                  <a:pt x="3270" y="2484"/>
                </a:cubicBezTo>
                <a:cubicBezTo>
                  <a:pt x="3278" y="2470"/>
                  <a:pt x="3262" y="2403"/>
                  <a:pt x="3270" y="2393"/>
                </a:cubicBezTo>
                <a:cubicBezTo>
                  <a:pt x="3313" y="2347"/>
                  <a:pt x="3395" y="2360"/>
                  <a:pt x="3443" y="2304"/>
                </a:cubicBezTo>
                <a:cubicBezTo>
                  <a:pt x="3467" y="2275"/>
                  <a:pt x="3477" y="2145"/>
                  <a:pt x="3499" y="2124"/>
                </a:cubicBezTo>
                <a:cubicBezTo>
                  <a:pt x="3560" y="2068"/>
                  <a:pt x="3616" y="2079"/>
                  <a:pt x="3672" y="2034"/>
                </a:cubicBezTo>
                <a:cubicBezTo>
                  <a:pt x="3714" y="2000"/>
                  <a:pt x="3739" y="1979"/>
                  <a:pt x="3786" y="1943"/>
                </a:cubicBezTo>
                <a:cubicBezTo>
                  <a:pt x="3881" y="1873"/>
                  <a:pt x="3981" y="1832"/>
                  <a:pt x="4073" y="1763"/>
                </a:cubicBezTo>
                <a:cubicBezTo>
                  <a:pt x="4111" y="1734"/>
                  <a:pt x="4154" y="1612"/>
                  <a:pt x="4187" y="1583"/>
                </a:cubicBezTo>
                <a:cubicBezTo>
                  <a:pt x="4208" y="1565"/>
                  <a:pt x="4287" y="1611"/>
                  <a:pt x="4302" y="1583"/>
                </a:cubicBezTo>
                <a:cubicBezTo>
                  <a:pt x="4307" y="1574"/>
                  <a:pt x="4295" y="1498"/>
                  <a:pt x="4302" y="1493"/>
                </a:cubicBezTo>
                <a:cubicBezTo>
                  <a:pt x="4466" y="1381"/>
                  <a:pt x="4692" y="1346"/>
                  <a:pt x="4875" y="1223"/>
                </a:cubicBezTo>
                <a:cubicBezTo>
                  <a:pt x="4895" y="1210"/>
                  <a:pt x="4884" y="1152"/>
                  <a:pt x="4932" y="1133"/>
                </a:cubicBezTo>
                <a:cubicBezTo>
                  <a:pt x="5081" y="1074"/>
                  <a:pt x="5265" y="954"/>
                  <a:pt x="5447" y="863"/>
                </a:cubicBezTo>
                <a:cubicBezTo>
                  <a:pt x="5529" y="822"/>
                  <a:pt x="5643" y="814"/>
                  <a:pt x="5734" y="773"/>
                </a:cubicBezTo>
                <a:cubicBezTo>
                  <a:pt x="6120" y="601"/>
                  <a:pt x="6518" y="308"/>
                  <a:pt x="6937" y="413"/>
                </a:cubicBezTo>
                <a:cubicBezTo>
                  <a:pt x="7104" y="170"/>
                  <a:pt x="7398" y="191"/>
                  <a:pt x="7682" y="143"/>
                </a:cubicBezTo>
                <a:cubicBezTo>
                  <a:pt x="7690" y="141"/>
                  <a:pt x="7686" y="36"/>
                  <a:pt x="7739" y="52"/>
                </a:cubicBezTo>
                <a:cubicBezTo>
                  <a:pt x="7745" y="55"/>
                  <a:pt x="7753" y="135"/>
                  <a:pt x="7796" y="143"/>
                </a:cubicBezTo>
                <a:cubicBezTo>
                  <a:pt x="7974" y="172"/>
                  <a:pt x="8173" y="108"/>
                  <a:pt x="8370" y="52"/>
                </a:cubicBezTo>
                <a:cubicBezTo>
                  <a:pt x="8388" y="47"/>
                  <a:pt x="8474" y="72"/>
                  <a:pt x="8484" y="52"/>
                </a:cubicBezTo>
                <a:cubicBezTo>
                  <a:pt x="8546" y="-67"/>
                  <a:pt x="8502" y="55"/>
                  <a:pt x="8541" y="52"/>
                </a:cubicBezTo>
                <a:cubicBezTo>
                  <a:pt x="8838" y="35"/>
                  <a:pt x="9129" y="16"/>
                  <a:pt x="9458" y="52"/>
                </a:cubicBezTo>
                <a:cubicBezTo>
                  <a:pt x="9472" y="54"/>
                  <a:pt x="9515" y="177"/>
                  <a:pt x="9573" y="143"/>
                </a:cubicBezTo>
                <a:cubicBezTo>
                  <a:pt x="9596" y="128"/>
                  <a:pt x="9568" y="46"/>
                  <a:pt x="9630" y="52"/>
                </a:cubicBezTo>
                <a:cubicBezTo>
                  <a:pt x="9678" y="58"/>
                  <a:pt x="9686" y="148"/>
                  <a:pt x="9744" y="143"/>
                </a:cubicBezTo>
                <a:cubicBezTo>
                  <a:pt x="9737" y="143"/>
                  <a:pt x="9767" y="55"/>
                  <a:pt x="9802" y="52"/>
                </a:cubicBezTo>
                <a:cubicBezTo>
                  <a:pt x="9840" y="49"/>
                  <a:pt x="9903" y="136"/>
                  <a:pt x="9974" y="143"/>
                </a:cubicBezTo>
                <a:cubicBezTo>
                  <a:pt x="10126" y="156"/>
                  <a:pt x="10332" y="177"/>
                  <a:pt x="10490" y="233"/>
                </a:cubicBezTo>
                <a:cubicBezTo>
                  <a:pt x="10520" y="243"/>
                  <a:pt x="10741" y="255"/>
                  <a:pt x="10776" y="323"/>
                </a:cubicBezTo>
                <a:cubicBezTo>
                  <a:pt x="10810" y="389"/>
                  <a:pt x="10884" y="490"/>
                  <a:pt x="10948" y="503"/>
                </a:cubicBezTo>
                <a:cubicBezTo>
                  <a:pt x="10929" y="499"/>
                  <a:pt x="10978" y="360"/>
                  <a:pt x="11005" y="413"/>
                </a:cubicBezTo>
                <a:cubicBezTo>
                  <a:pt x="11072" y="544"/>
                  <a:pt x="11332" y="827"/>
                  <a:pt x="11520" y="863"/>
                </a:cubicBezTo>
                <a:cubicBezTo>
                  <a:pt x="11648" y="887"/>
                  <a:pt x="11747" y="810"/>
                  <a:pt x="11865" y="773"/>
                </a:cubicBezTo>
                <a:cubicBezTo>
                  <a:pt x="11919" y="756"/>
                  <a:pt x="11982" y="791"/>
                  <a:pt x="12036" y="773"/>
                </a:cubicBezTo>
                <a:cubicBezTo>
                  <a:pt x="12047" y="769"/>
                  <a:pt x="12220" y="596"/>
                  <a:pt x="12266" y="683"/>
                </a:cubicBezTo>
                <a:cubicBezTo>
                  <a:pt x="12320" y="788"/>
                  <a:pt x="12293" y="687"/>
                  <a:pt x="12380" y="683"/>
                </a:cubicBezTo>
                <a:cubicBezTo>
                  <a:pt x="12495" y="677"/>
                  <a:pt x="12609" y="692"/>
                  <a:pt x="12724" y="683"/>
                </a:cubicBezTo>
                <a:cubicBezTo>
                  <a:pt x="12851" y="672"/>
                  <a:pt x="12952" y="588"/>
                  <a:pt x="13067" y="593"/>
                </a:cubicBezTo>
                <a:cubicBezTo>
                  <a:pt x="13053" y="592"/>
                  <a:pt x="13095" y="740"/>
                  <a:pt x="13125" y="683"/>
                </a:cubicBezTo>
                <a:cubicBezTo>
                  <a:pt x="13181" y="572"/>
                  <a:pt x="13151" y="688"/>
                  <a:pt x="13239" y="683"/>
                </a:cubicBezTo>
                <a:cubicBezTo>
                  <a:pt x="13344" y="677"/>
                  <a:pt x="13411" y="609"/>
                  <a:pt x="13526" y="593"/>
                </a:cubicBezTo>
                <a:cubicBezTo>
                  <a:pt x="13652" y="575"/>
                  <a:pt x="13837" y="535"/>
                  <a:pt x="13984" y="593"/>
                </a:cubicBezTo>
                <a:cubicBezTo>
                  <a:pt x="14007" y="602"/>
                  <a:pt x="14058" y="683"/>
                  <a:pt x="14041" y="683"/>
                </a:cubicBezTo>
                <a:cubicBezTo>
                  <a:pt x="14088" y="683"/>
                  <a:pt x="14098" y="587"/>
                  <a:pt x="14156" y="593"/>
                </a:cubicBezTo>
                <a:cubicBezTo>
                  <a:pt x="14149" y="592"/>
                  <a:pt x="14178" y="680"/>
                  <a:pt x="14214" y="683"/>
                </a:cubicBezTo>
                <a:cubicBezTo>
                  <a:pt x="14228" y="684"/>
                  <a:pt x="14311" y="559"/>
                  <a:pt x="14328" y="593"/>
                </a:cubicBezTo>
                <a:cubicBezTo>
                  <a:pt x="14383" y="701"/>
                  <a:pt x="14356" y="593"/>
                  <a:pt x="14443" y="593"/>
                </a:cubicBezTo>
                <a:cubicBezTo>
                  <a:pt x="14489" y="593"/>
                  <a:pt x="14499" y="683"/>
                  <a:pt x="14557" y="683"/>
                </a:cubicBezTo>
                <a:cubicBezTo>
                  <a:pt x="14544" y="683"/>
                  <a:pt x="14583" y="596"/>
                  <a:pt x="14615" y="593"/>
                </a:cubicBezTo>
                <a:cubicBezTo>
                  <a:pt x="14709" y="585"/>
                  <a:pt x="14711" y="676"/>
                  <a:pt x="14786" y="683"/>
                </a:cubicBezTo>
                <a:cubicBezTo>
                  <a:pt x="15163" y="715"/>
                  <a:pt x="15579" y="697"/>
                  <a:pt x="15932" y="773"/>
                </a:cubicBezTo>
                <a:cubicBezTo>
                  <a:pt x="16193" y="829"/>
                  <a:pt x="16432" y="1019"/>
                  <a:pt x="16734" y="1043"/>
                </a:cubicBezTo>
                <a:cubicBezTo>
                  <a:pt x="16778" y="1047"/>
                  <a:pt x="16794" y="930"/>
                  <a:pt x="16849" y="953"/>
                </a:cubicBezTo>
                <a:cubicBezTo>
                  <a:pt x="16893" y="971"/>
                  <a:pt x="16886" y="1127"/>
                  <a:pt x="16963" y="1133"/>
                </a:cubicBezTo>
                <a:cubicBezTo>
                  <a:pt x="16985" y="1135"/>
                  <a:pt x="17123" y="1110"/>
                  <a:pt x="17136" y="1133"/>
                </a:cubicBezTo>
                <a:cubicBezTo>
                  <a:pt x="17202" y="1261"/>
                  <a:pt x="17236" y="1141"/>
                  <a:pt x="17422" y="1223"/>
                </a:cubicBezTo>
                <a:cubicBezTo>
                  <a:pt x="17438" y="1230"/>
                  <a:pt x="17426" y="1309"/>
                  <a:pt x="17479" y="1313"/>
                </a:cubicBezTo>
                <a:cubicBezTo>
                  <a:pt x="17659" y="1328"/>
                  <a:pt x="17628" y="1413"/>
                  <a:pt x="17823" y="1493"/>
                </a:cubicBezTo>
                <a:close/>
                <a:moveTo>
                  <a:pt x="17823" y="1493"/>
                </a:moveTo>
              </a:path>
            </a:pathLst>
          </a:custGeom>
          <a:solidFill>
            <a:srgbClr val="C00000"/>
          </a:solidFill>
          <a:ln>
            <a:solidFill>
              <a:srgbClr val="C00000"/>
            </a:solidFill>
          </a:ln>
        </p:spPr>
        <p:txBody>
          <a:bodyPr lIns="0" tIns="0" rIns="0" bIns="0"/>
          <a:lstStyle/>
          <a:p>
            <a:endParaRPr lang="en-US"/>
          </a:p>
        </p:txBody>
      </p:sp>
      <p:sp>
        <p:nvSpPr>
          <p:cNvPr id="53" name="AutoShape 2">
            <a:extLst>
              <a:ext uri="{FF2B5EF4-FFF2-40B4-BE49-F238E27FC236}">
                <a16:creationId xmlns:a16="http://schemas.microsoft.com/office/drawing/2014/main" id="{078833A4-EB47-0647-B31D-704D2CD9839A}"/>
              </a:ext>
            </a:extLst>
          </p:cNvPr>
          <p:cNvSpPr>
            <a:spLocks/>
          </p:cNvSpPr>
          <p:nvPr/>
        </p:nvSpPr>
        <p:spPr bwMode="auto">
          <a:xfrm>
            <a:off x="5545567" y="1122620"/>
            <a:ext cx="1127125" cy="833438"/>
          </a:xfrm>
          <a:custGeom>
            <a:avLst/>
            <a:gdLst/>
            <a:ahLst/>
            <a:cxnLst/>
            <a:rect l="0" t="0" r="r" b="b"/>
            <a:pathLst>
              <a:path w="21543" h="21521">
                <a:moveTo>
                  <a:pt x="1664" y="8705"/>
                </a:moveTo>
                <a:cubicBezTo>
                  <a:pt x="1680" y="8617"/>
                  <a:pt x="1711" y="8661"/>
                  <a:pt x="1730" y="8616"/>
                </a:cubicBezTo>
                <a:cubicBezTo>
                  <a:pt x="1831" y="8374"/>
                  <a:pt x="1913" y="8133"/>
                  <a:pt x="1995" y="7988"/>
                </a:cubicBezTo>
                <a:cubicBezTo>
                  <a:pt x="2027" y="7931"/>
                  <a:pt x="2125" y="7784"/>
                  <a:pt x="2128" y="7718"/>
                </a:cubicBezTo>
                <a:cubicBezTo>
                  <a:pt x="2131" y="7617"/>
                  <a:pt x="2174" y="7676"/>
                  <a:pt x="2193" y="7628"/>
                </a:cubicBezTo>
                <a:cubicBezTo>
                  <a:pt x="2274" y="7431"/>
                  <a:pt x="2319" y="7301"/>
                  <a:pt x="2392" y="7180"/>
                </a:cubicBezTo>
                <a:cubicBezTo>
                  <a:pt x="2519" y="6970"/>
                  <a:pt x="2616" y="6819"/>
                  <a:pt x="2723" y="6642"/>
                </a:cubicBezTo>
                <a:cubicBezTo>
                  <a:pt x="2802" y="6509"/>
                  <a:pt x="2985" y="6271"/>
                  <a:pt x="2988" y="6192"/>
                </a:cubicBezTo>
                <a:cubicBezTo>
                  <a:pt x="2992" y="6087"/>
                  <a:pt x="3025" y="6154"/>
                  <a:pt x="3054" y="6103"/>
                </a:cubicBezTo>
                <a:cubicBezTo>
                  <a:pt x="3326" y="5635"/>
                  <a:pt x="3757" y="5044"/>
                  <a:pt x="4047" y="4757"/>
                </a:cubicBezTo>
                <a:cubicBezTo>
                  <a:pt x="4166" y="4639"/>
                  <a:pt x="4237" y="4476"/>
                  <a:pt x="4312" y="4398"/>
                </a:cubicBezTo>
                <a:cubicBezTo>
                  <a:pt x="4367" y="4341"/>
                  <a:pt x="4453" y="4369"/>
                  <a:pt x="4511" y="4309"/>
                </a:cubicBezTo>
                <a:cubicBezTo>
                  <a:pt x="4621" y="4192"/>
                  <a:pt x="4662" y="4063"/>
                  <a:pt x="4775" y="3949"/>
                </a:cubicBezTo>
                <a:cubicBezTo>
                  <a:pt x="4871" y="3853"/>
                  <a:pt x="4993" y="3790"/>
                  <a:pt x="5107" y="3680"/>
                </a:cubicBezTo>
                <a:cubicBezTo>
                  <a:pt x="5138" y="3649"/>
                  <a:pt x="5140" y="3534"/>
                  <a:pt x="5172" y="3500"/>
                </a:cubicBezTo>
                <a:cubicBezTo>
                  <a:pt x="5227" y="3446"/>
                  <a:pt x="5322" y="3455"/>
                  <a:pt x="5371" y="3410"/>
                </a:cubicBezTo>
                <a:cubicBezTo>
                  <a:pt x="5413" y="3372"/>
                  <a:pt x="5458" y="3270"/>
                  <a:pt x="5504" y="3231"/>
                </a:cubicBezTo>
                <a:cubicBezTo>
                  <a:pt x="5580" y="3167"/>
                  <a:pt x="5648" y="3142"/>
                  <a:pt x="5702" y="3052"/>
                </a:cubicBezTo>
                <a:cubicBezTo>
                  <a:pt x="5720" y="3022"/>
                  <a:pt x="5811" y="3074"/>
                  <a:pt x="5835" y="3052"/>
                </a:cubicBezTo>
                <a:cubicBezTo>
                  <a:pt x="5886" y="3004"/>
                  <a:pt x="5900" y="2922"/>
                  <a:pt x="5967" y="2872"/>
                </a:cubicBezTo>
                <a:cubicBezTo>
                  <a:pt x="6036" y="2820"/>
                  <a:pt x="6087" y="2836"/>
                  <a:pt x="6166" y="2783"/>
                </a:cubicBezTo>
                <a:cubicBezTo>
                  <a:pt x="6338" y="2666"/>
                  <a:pt x="6458" y="2536"/>
                  <a:pt x="6629" y="2423"/>
                </a:cubicBezTo>
                <a:cubicBezTo>
                  <a:pt x="6696" y="2378"/>
                  <a:pt x="6754" y="2387"/>
                  <a:pt x="6828" y="2334"/>
                </a:cubicBezTo>
                <a:cubicBezTo>
                  <a:pt x="6864" y="2306"/>
                  <a:pt x="6916" y="2181"/>
                  <a:pt x="6960" y="2154"/>
                </a:cubicBezTo>
                <a:cubicBezTo>
                  <a:pt x="7070" y="2086"/>
                  <a:pt x="7240" y="2038"/>
                  <a:pt x="7357" y="1974"/>
                </a:cubicBezTo>
                <a:cubicBezTo>
                  <a:pt x="7475" y="1910"/>
                  <a:pt x="7556" y="1817"/>
                  <a:pt x="7622" y="1795"/>
                </a:cubicBezTo>
                <a:cubicBezTo>
                  <a:pt x="7838" y="1722"/>
                  <a:pt x="7935" y="1685"/>
                  <a:pt x="8086" y="1615"/>
                </a:cubicBezTo>
                <a:cubicBezTo>
                  <a:pt x="8357" y="1490"/>
                  <a:pt x="8617" y="1426"/>
                  <a:pt x="8880" y="1346"/>
                </a:cubicBezTo>
                <a:cubicBezTo>
                  <a:pt x="8909" y="1338"/>
                  <a:pt x="8867" y="1235"/>
                  <a:pt x="8946" y="1256"/>
                </a:cubicBezTo>
                <a:cubicBezTo>
                  <a:pt x="8975" y="1265"/>
                  <a:pt x="8933" y="1361"/>
                  <a:pt x="9012" y="1346"/>
                </a:cubicBezTo>
                <a:cubicBezTo>
                  <a:pt x="9010" y="1346"/>
                  <a:pt x="9040" y="1269"/>
                  <a:pt x="9079" y="1256"/>
                </a:cubicBezTo>
                <a:cubicBezTo>
                  <a:pt x="9185" y="1221"/>
                  <a:pt x="9278" y="1188"/>
                  <a:pt x="9344" y="1166"/>
                </a:cubicBezTo>
                <a:cubicBezTo>
                  <a:pt x="9427" y="1141"/>
                  <a:pt x="9524" y="1190"/>
                  <a:pt x="9608" y="1166"/>
                </a:cubicBezTo>
                <a:cubicBezTo>
                  <a:pt x="9746" y="1128"/>
                  <a:pt x="9872" y="1016"/>
                  <a:pt x="10006" y="987"/>
                </a:cubicBezTo>
                <a:cubicBezTo>
                  <a:pt x="10177" y="950"/>
                  <a:pt x="10334" y="1020"/>
                  <a:pt x="10535" y="987"/>
                </a:cubicBezTo>
                <a:cubicBezTo>
                  <a:pt x="10531" y="988"/>
                  <a:pt x="10564" y="910"/>
                  <a:pt x="10602" y="898"/>
                </a:cubicBezTo>
                <a:cubicBezTo>
                  <a:pt x="10737" y="852"/>
                  <a:pt x="10943" y="999"/>
                  <a:pt x="10932" y="808"/>
                </a:cubicBezTo>
                <a:cubicBezTo>
                  <a:pt x="10738" y="826"/>
                  <a:pt x="10685" y="666"/>
                  <a:pt x="10602" y="808"/>
                </a:cubicBezTo>
                <a:cubicBezTo>
                  <a:pt x="10552" y="892"/>
                  <a:pt x="10507" y="541"/>
                  <a:pt x="10403" y="718"/>
                </a:cubicBezTo>
                <a:cubicBezTo>
                  <a:pt x="10415" y="697"/>
                  <a:pt x="10194" y="638"/>
                  <a:pt x="10138" y="628"/>
                </a:cubicBezTo>
                <a:cubicBezTo>
                  <a:pt x="10023" y="608"/>
                  <a:pt x="9841" y="543"/>
                  <a:pt x="9740" y="538"/>
                </a:cubicBezTo>
                <a:cubicBezTo>
                  <a:pt x="9739" y="538"/>
                  <a:pt x="9743" y="624"/>
                  <a:pt x="9740" y="628"/>
                </a:cubicBezTo>
                <a:cubicBezTo>
                  <a:pt x="9654" y="771"/>
                  <a:pt x="9212" y="538"/>
                  <a:pt x="9277" y="538"/>
                </a:cubicBezTo>
                <a:cubicBezTo>
                  <a:pt x="9210" y="538"/>
                  <a:pt x="9200" y="625"/>
                  <a:pt x="9145" y="628"/>
                </a:cubicBezTo>
                <a:cubicBezTo>
                  <a:pt x="8921" y="641"/>
                  <a:pt x="8805" y="621"/>
                  <a:pt x="8748" y="718"/>
                </a:cubicBezTo>
                <a:cubicBezTo>
                  <a:pt x="8713" y="776"/>
                  <a:pt x="8666" y="627"/>
                  <a:pt x="8681" y="628"/>
                </a:cubicBezTo>
                <a:cubicBezTo>
                  <a:pt x="8457" y="608"/>
                  <a:pt x="8416" y="704"/>
                  <a:pt x="8218" y="718"/>
                </a:cubicBezTo>
                <a:cubicBezTo>
                  <a:pt x="8162" y="722"/>
                  <a:pt x="8163" y="804"/>
                  <a:pt x="8152" y="808"/>
                </a:cubicBezTo>
                <a:cubicBezTo>
                  <a:pt x="7891" y="883"/>
                  <a:pt x="7692" y="918"/>
                  <a:pt x="7490" y="987"/>
                </a:cubicBezTo>
                <a:cubicBezTo>
                  <a:pt x="7363" y="1031"/>
                  <a:pt x="7197" y="1031"/>
                  <a:pt x="7093" y="1077"/>
                </a:cubicBezTo>
                <a:cubicBezTo>
                  <a:pt x="7086" y="1080"/>
                  <a:pt x="7097" y="1158"/>
                  <a:pt x="7093" y="1166"/>
                </a:cubicBezTo>
                <a:cubicBezTo>
                  <a:pt x="7077" y="1193"/>
                  <a:pt x="6984" y="1151"/>
                  <a:pt x="6960" y="1166"/>
                </a:cubicBezTo>
                <a:cubicBezTo>
                  <a:pt x="6952" y="1172"/>
                  <a:pt x="6967" y="1246"/>
                  <a:pt x="6960" y="1256"/>
                </a:cubicBezTo>
                <a:cubicBezTo>
                  <a:pt x="6945" y="1282"/>
                  <a:pt x="6851" y="1244"/>
                  <a:pt x="6828" y="1256"/>
                </a:cubicBezTo>
                <a:cubicBezTo>
                  <a:pt x="6493" y="1448"/>
                  <a:pt x="6189" y="1612"/>
                  <a:pt x="5901" y="1795"/>
                </a:cubicBezTo>
                <a:cubicBezTo>
                  <a:pt x="5893" y="1800"/>
                  <a:pt x="5907" y="1875"/>
                  <a:pt x="5901" y="1885"/>
                </a:cubicBezTo>
                <a:cubicBezTo>
                  <a:pt x="5886" y="1909"/>
                  <a:pt x="5792" y="1872"/>
                  <a:pt x="5768" y="1885"/>
                </a:cubicBezTo>
                <a:cubicBezTo>
                  <a:pt x="5545" y="2006"/>
                  <a:pt x="5345" y="2158"/>
                  <a:pt x="5239" y="2334"/>
                </a:cubicBezTo>
                <a:cubicBezTo>
                  <a:pt x="5221" y="2362"/>
                  <a:pt x="5131" y="2311"/>
                  <a:pt x="5107" y="2334"/>
                </a:cubicBezTo>
                <a:cubicBezTo>
                  <a:pt x="5077" y="2361"/>
                  <a:pt x="5072" y="2481"/>
                  <a:pt x="5040" y="2513"/>
                </a:cubicBezTo>
                <a:cubicBezTo>
                  <a:pt x="4988" y="2566"/>
                  <a:pt x="4889" y="2561"/>
                  <a:pt x="4842" y="2602"/>
                </a:cubicBezTo>
                <a:cubicBezTo>
                  <a:pt x="4832" y="2612"/>
                  <a:pt x="4850" y="2680"/>
                  <a:pt x="4842" y="2692"/>
                </a:cubicBezTo>
                <a:cubicBezTo>
                  <a:pt x="4826" y="2719"/>
                  <a:pt x="4733" y="2678"/>
                  <a:pt x="4709" y="2692"/>
                </a:cubicBezTo>
                <a:cubicBezTo>
                  <a:pt x="4701" y="2698"/>
                  <a:pt x="4716" y="2772"/>
                  <a:pt x="4709" y="2783"/>
                </a:cubicBezTo>
                <a:cubicBezTo>
                  <a:pt x="4692" y="2811"/>
                  <a:pt x="4601" y="2762"/>
                  <a:pt x="4577" y="2783"/>
                </a:cubicBezTo>
                <a:cubicBezTo>
                  <a:pt x="4511" y="2837"/>
                  <a:pt x="4445" y="2990"/>
                  <a:pt x="4378" y="3052"/>
                </a:cubicBezTo>
                <a:cubicBezTo>
                  <a:pt x="4307" y="3118"/>
                  <a:pt x="4298" y="3143"/>
                  <a:pt x="4246" y="3231"/>
                </a:cubicBezTo>
                <a:cubicBezTo>
                  <a:pt x="4228" y="3261"/>
                  <a:pt x="4137" y="3208"/>
                  <a:pt x="4113" y="3231"/>
                </a:cubicBezTo>
                <a:cubicBezTo>
                  <a:pt x="4084" y="3259"/>
                  <a:pt x="4075" y="3375"/>
                  <a:pt x="4047" y="3410"/>
                </a:cubicBezTo>
                <a:cubicBezTo>
                  <a:pt x="3996" y="3476"/>
                  <a:pt x="3907" y="3439"/>
                  <a:pt x="3849" y="3500"/>
                </a:cubicBezTo>
                <a:cubicBezTo>
                  <a:pt x="3783" y="3570"/>
                  <a:pt x="3721" y="3689"/>
                  <a:pt x="3650" y="3770"/>
                </a:cubicBezTo>
                <a:cubicBezTo>
                  <a:pt x="3505" y="3933"/>
                  <a:pt x="3406" y="4074"/>
                  <a:pt x="3319" y="4218"/>
                </a:cubicBezTo>
                <a:cubicBezTo>
                  <a:pt x="3301" y="4248"/>
                  <a:pt x="3210" y="4194"/>
                  <a:pt x="3186" y="4218"/>
                </a:cubicBezTo>
                <a:cubicBezTo>
                  <a:pt x="3107" y="4304"/>
                  <a:pt x="3062" y="4483"/>
                  <a:pt x="2988" y="4577"/>
                </a:cubicBezTo>
                <a:cubicBezTo>
                  <a:pt x="2840" y="4765"/>
                  <a:pt x="2653" y="4924"/>
                  <a:pt x="2524" y="5116"/>
                </a:cubicBezTo>
                <a:cubicBezTo>
                  <a:pt x="2464" y="5205"/>
                  <a:pt x="2457" y="5366"/>
                  <a:pt x="2392" y="5475"/>
                </a:cubicBezTo>
                <a:cubicBezTo>
                  <a:pt x="2321" y="5594"/>
                  <a:pt x="2181" y="5645"/>
                  <a:pt x="2128" y="5743"/>
                </a:cubicBezTo>
                <a:cubicBezTo>
                  <a:pt x="2106" y="5782"/>
                  <a:pt x="2142" y="5879"/>
                  <a:pt x="2128" y="5924"/>
                </a:cubicBezTo>
                <a:cubicBezTo>
                  <a:pt x="2117" y="5954"/>
                  <a:pt x="2011" y="5976"/>
                  <a:pt x="1995" y="6013"/>
                </a:cubicBezTo>
                <a:cubicBezTo>
                  <a:pt x="1977" y="6055"/>
                  <a:pt x="1929" y="6270"/>
                  <a:pt x="1929" y="6282"/>
                </a:cubicBezTo>
                <a:cubicBezTo>
                  <a:pt x="1922" y="6450"/>
                  <a:pt x="1736" y="6588"/>
                  <a:pt x="1730" y="6731"/>
                </a:cubicBezTo>
                <a:cubicBezTo>
                  <a:pt x="1726" y="6835"/>
                  <a:pt x="1688" y="6772"/>
                  <a:pt x="1664" y="6821"/>
                </a:cubicBezTo>
                <a:cubicBezTo>
                  <a:pt x="1523" y="7115"/>
                  <a:pt x="1414" y="7636"/>
                  <a:pt x="1333" y="7808"/>
                </a:cubicBezTo>
                <a:cubicBezTo>
                  <a:pt x="1231" y="8024"/>
                  <a:pt x="1187" y="8414"/>
                  <a:pt x="1134" y="8526"/>
                </a:cubicBezTo>
                <a:cubicBezTo>
                  <a:pt x="1025" y="8757"/>
                  <a:pt x="1159" y="8784"/>
                  <a:pt x="1068" y="8885"/>
                </a:cubicBezTo>
                <a:cubicBezTo>
                  <a:pt x="1061" y="8893"/>
                  <a:pt x="1002" y="9153"/>
                  <a:pt x="1002" y="9155"/>
                </a:cubicBezTo>
                <a:cubicBezTo>
                  <a:pt x="932" y="9468"/>
                  <a:pt x="962" y="9610"/>
                  <a:pt x="935" y="9873"/>
                </a:cubicBezTo>
                <a:cubicBezTo>
                  <a:pt x="937" y="9861"/>
                  <a:pt x="1004" y="9895"/>
                  <a:pt x="1002" y="9962"/>
                </a:cubicBezTo>
                <a:cubicBezTo>
                  <a:pt x="1002" y="9965"/>
                  <a:pt x="940" y="9958"/>
                  <a:pt x="935" y="9962"/>
                </a:cubicBezTo>
                <a:cubicBezTo>
                  <a:pt x="921" y="9978"/>
                  <a:pt x="940" y="10113"/>
                  <a:pt x="935" y="10142"/>
                </a:cubicBezTo>
                <a:cubicBezTo>
                  <a:pt x="902" y="10398"/>
                  <a:pt x="867" y="10516"/>
                  <a:pt x="935" y="10590"/>
                </a:cubicBezTo>
                <a:cubicBezTo>
                  <a:pt x="924" y="10576"/>
                  <a:pt x="873" y="10867"/>
                  <a:pt x="870" y="10949"/>
                </a:cubicBezTo>
                <a:cubicBezTo>
                  <a:pt x="820" y="12147"/>
                  <a:pt x="1111" y="13209"/>
                  <a:pt x="1333" y="13911"/>
                </a:cubicBezTo>
                <a:cubicBezTo>
                  <a:pt x="1349" y="13963"/>
                  <a:pt x="1397" y="14046"/>
                  <a:pt x="1399" y="14090"/>
                </a:cubicBezTo>
                <a:cubicBezTo>
                  <a:pt x="1404" y="14209"/>
                  <a:pt x="1514" y="14172"/>
                  <a:pt x="1531" y="14270"/>
                </a:cubicBezTo>
                <a:cubicBezTo>
                  <a:pt x="1542" y="14324"/>
                  <a:pt x="1517" y="14397"/>
                  <a:pt x="1531" y="14449"/>
                </a:cubicBezTo>
                <a:cubicBezTo>
                  <a:pt x="1595" y="14676"/>
                  <a:pt x="1730" y="14831"/>
                  <a:pt x="1796" y="14988"/>
                </a:cubicBezTo>
                <a:cubicBezTo>
                  <a:pt x="1815" y="15034"/>
                  <a:pt x="1780" y="15120"/>
                  <a:pt x="1796" y="15167"/>
                </a:cubicBezTo>
                <a:cubicBezTo>
                  <a:pt x="1806" y="15196"/>
                  <a:pt x="1912" y="15224"/>
                  <a:pt x="1929" y="15257"/>
                </a:cubicBezTo>
                <a:cubicBezTo>
                  <a:pt x="1944" y="15287"/>
                  <a:pt x="1994" y="15410"/>
                  <a:pt x="1995" y="15436"/>
                </a:cubicBezTo>
                <a:cubicBezTo>
                  <a:pt x="2000" y="15565"/>
                  <a:pt x="2123" y="15587"/>
                  <a:pt x="2128" y="15706"/>
                </a:cubicBezTo>
                <a:cubicBezTo>
                  <a:pt x="2131" y="15816"/>
                  <a:pt x="2211" y="15833"/>
                  <a:pt x="2260" y="15885"/>
                </a:cubicBezTo>
                <a:cubicBezTo>
                  <a:pt x="2375" y="16009"/>
                  <a:pt x="2399" y="16205"/>
                  <a:pt x="2458" y="16333"/>
                </a:cubicBezTo>
                <a:cubicBezTo>
                  <a:pt x="2622" y="16346"/>
                  <a:pt x="2684" y="16578"/>
                  <a:pt x="2789" y="16693"/>
                </a:cubicBezTo>
                <a:cubicBezTo>
                  <a:pt x="2897" y="16811"/>
                  <a:pt x="2965" y="16817"/>
                  <a:pt x="3054" y="16872"/>
                </a:cubicBezTo>
                <a:cubicBezTo>
                  <a:pt x="3072" y="16883"/>
                  <a:pt x="3102" y="17030"/>
                  <a:pt x="3121" y="17052"/>
                </a:cubicBezTo>
                <a:cubicBezTo>
                  <a:pt x="3144" y="17081"/>
                  <a:pt x="3230" y="17021"/>
                  <a:pt x="3253" y="17052"/>
                </a:cubicBezTo>
                <a:cubicBezTo>
                  <a:pt x="3275" y="17082"/>
                  <a:pt x="3231" y="17200"/>
                  <a:pt x="3253" y="17231"/>
                </a:cubicBezTo>
                <a:cubicBezTo>
                  <a:pt x="3355" y="17377"/>
                  <a:pt x="3457" y="17490"/>
                  <a:pt x="3518" y="17590"/>
                </a:cubicBezTo>
                <a:cubicBezTo>
                  <a:pt x="3536" y="17620"/>
                  <a:pt x="3627" y="17565"/>
                  <a:pt x="3650" y="17590"/>
                </a:cubicBezTo>
                <a:cubicBezTo>
                  <a:pt x="3745" y="17693"/>
                  <a:pt x="3756" y="17853"/>
                  <a:pt x="3849" y="17860"/>
                </a:cubicBezTo>
                <a:cubicBezTo>
                  <a:pt x="3925" y="17865"/>
                  <a:pt x="3878" y="17918"/>
                  <a:pt x="3914" y="17950"/>
                </a:cubicBezTo>
                <a:cubicBezTo>
                  <a:pt x="4023" y="18044"/>
                  <a:pt x="4111" y="18062"/>
                  <a:pt x="4179" y="18129"/>
                </a:cubicBezTo>
                <a:cubicBezTo>
                  <a:pt x="4222" y="18171"/>
                  <a:pt x="4264" y="18269"/>
                  <a:pt x="4312" y="18308"/>
                </a:cubicBezTo>
                <a:cubicBezTo>
                  <a:pt x="4361" y="18348"/>
                  <a:pt x="4458" y="18275"/>
                  <a:pt x="4511" y="18308"/>
                </a:cubicBezTo>
                <a:cubicBezTo>
                  <a:pt x="4534" y="18324"/>
                  <a:pt x="4550" y="18465"/>
                  <a:pt x="4577" y="18487"/>
                </a:cubicBezTo>
                <a:cubicBezTo>
                  <a:pt x="4640" y="18542"/>
                  <a:pt x="4706" y="18644"/>
                  <a:pt x="4775" y="18667"/>
                </a:cubicBezTo>
                <a:cubicBezTo>
                  <a:pt x="4813" y="18680"/>
                  <a:pt x="4874" y="18644"/>
                  <a:pt x="4908" y="18667"/>
                </a:cubicBezTo>
                <a:cubicBezTo>
                  <a:pt x="4934" y="18685"/>
                  <a:pt x="4942" y="18826"/>
                  <a:pt x="4974" y="18847"/>
                </a:cubicBezTo>
                <a:cubicBezTo>
                  <a:pt x="5074" y="18911"/>
                  <a:pt x="5110" y="18832"/>
                  <a:pt x="5172" y="18936"/>
                </a:cubicBezTo>
                <a:cubicBezTo>
                  <a:pt x="5187" y="18961"/>
                  <a:pt x="5282" y="18924"/>
                  <a:pt x="5305" y="18936"/>
                </a:cubicBezTo>
                <a:cubicBezTo>
                  <a:pt x="5479" y="19026"/>
                  <a:pt x="5589" y="19103"/>
                  <a:pt x="5702" y="19205"/>
                </a:cubicBezTo>
                <a:cubicBezTo>
                  <a:pt x="5790" y="19285"/>
                  <a:pt x="5841" y="19244"/>
                  <a:pt x="5967" y="19295"/>
                </a:cubicBezTo>
                <a:cubicBezTo>
                  <a:pt x="5992" y="19306"/>
                  <a:pt x="6065" y="19460"/>
                  <a:pt x="6100" y="19475"/>
                </a:cubicBezTo>
                <a:cubicBezTo>
                  <a:pt x="6156" y="19500"/>
                  <a:pt x="6239" y="19466"/>
                  <a:pt x="6298" y="19475"/>
                </a:cubicBezTo>
                <a:cubicBezTo>
                  <a:pt x="6470" y="19500"/>
                  <a:pt x="6761" y="19593"/>
                  <a:pt x="6828" y="19655"/>
                </a:cubicBezTo>
                <a:cubicBezTo>
                  <a:pt x="6949" y="19764"/>
                  <a:pt x="7170" y="19787"/>
                  <a:pt x="7357" y="19834"/>
                </a:cubicBezTo>
                <a:cubicBezTo>
                  <a:pt x="7550" y="19882"/>
                  <a:pt x="7846" y="20014"/>
                  <a:pt x="7887" y="20014"/>
                </a:cubicBezTo>
                <a:cubicBezTo>
                  <a:pt x="7925" y="20014"/>
                  <a:pt x="7969" y="19925"/>
                  <a:pt x="7953" y="19924"/>
                </a:cubicBezTo>
                <a:cubicBezTo>
                  <a:pt x="8048" y="19927"/>
                  <a:pt x="8092" y="20005"/>
                  <a:pt x="8152" y="20014"/>
                </a:cubicBezTo>
                <a:cubicBezTo>
                  <a:pt x="8239" y="20025"/>
                  <a:pt x="8330" y="19998"/>
                  <a:pt x="8416" y="20014"/>
                </a:cubicBezTo>
                <a:cubicBezTo>
                  <a:pt x="8502" y="20029"/>
                  <a:pt x="8562" y="20097"/>
                  <a:pt x="8615" y="20103"/>
                </a:cubicBezTo>
                <a:cubicBezTo>
                  <a:pt x="8609" y="20103"/>
                  <a:pt x="8633" y="20014"/>
                  <a:pt x="8681" y="20014"/>
                </a:cubicBezTo>
                <a:cubicBezTo>
                  <a:pt x="8735" y="20014"/>
                  <a:pt x="8743" y="20103"/>
                  <a:pt x="8748" y="20103"/>
                </a:cubicBezTo>
                <a:cubicBezTo>
                  <a:pt x="8958" y="20140"/>
                  <a:pt x="9128" y="20077"/>
                  <a:pt x="9277" y="20103"/>
                </a:cubicBezTo>
                <a:cubicBezTo>
                  <a:pt x="9507" y="20144"/>
                  <a:pt x="9394" y="20154"/>
                  <a:pt x="9542" y="20103"/>
                </a:cubicBezTo>
                <a:cubicBezTo>
                  <a:pt x="9582" y="20090"/>
                  <a:pt x="9633" y="20107"/>
                  <a:pt x="9674" y="20103"/>
                </a:cubicBezTo>
                <a:cubicBezTo>
                  <a:pt x="9930" y="20078"/>
                  <a:pt x="9988" y="20043"/>
                  <a:pt x="10138" y="20014"/>
                </a:cubicBezTo>
                <a:cubicBezTo>
                  <a:pt x="10245" y="19993"/>
                  <a:pt x="10360" y="20025"/>
                  <a:pt x="10469" y="20014"/>
                </a:cubicBezTo>
                <a:cubicBezTo>
                  <a:pt x="10707" y="19988"/>
                  <a:pt x="10750" y="19931"/>
                  <a:pt x="10800" y="20014"/>
                </a:cubicBezTo>
                <a:cubicBezTo>
                  <a:pt x="10861" y="20114"/>
                  <a:pt x="11100" y="19932"/>
                  <a:pt x="11131" y="19924"/>
                </a:cubicBezTo>
                <a:cubicBezTo>
                  <a:pt x="11193" y="19908"/>
                  <a:pt x="11266" y="19928"/>
                  <a:pt x="11330" y="19924"/>
                </a:cubicBezTo>
                <a:cubicBezTo>
                  <a:pt x="11383" y="19920"/>
                  <a:pt x="11389" y="19836"/>
                  <a:pt x="11395" y="19834"/>
                </a:cubicBezTo>
                <a:cubicBezTo>
                  <a:pt x="11549" y="19797"/>
                  <a:pt x="11712" y="19785"/>
                  <a:pt x="11860" y="19744"/>
                </a:cubicBezTo>
                <a:cubicBezTo>
                  <a:pt x="12022" y="19700"/>
                  <a:pt x="12146" y="19619"/>
                  <a:pt x="12323" y="19565"/>
                </a:cubicBezTo>
                <a:cubicBezTo>
                  <a:pt x="12302" y="19571"/>
                  <a:pt x="12351" y="19655"/>
                  <a:pt x="12388" y="19655"/>
                </a:cubicBezTo>
                <a:cubicBezTo>
                  <a:pt x="12449" y="19655"/>
                  <a:pt x="12441" y="19569"/>
                  <a:pt x="12455" y="19565"/>
                </a:cubicBezTo>
                <a:cubicBezTo>
                  <a:pt x="13072" y="19384"/>
                  <a:pt x="13752" y="19078"/>
                  <a:pt x="14243" y="18847"/>
                </a:cubicBezTo>
                <a:cubicBezTo>
                  <a:pt x="14442" y="18753"/>
                  <a:pt x="14527" y="18664"/>
                  <a:pt x="14639" y="18578"/>
                </a:cubicBezTo>
                <a:cubicBezTo>
                  <a:pt x="14726" y="18511"/>
                  <a:pt x="14792" y="18553"/>
                  <a:pt x="14904" y="18487"/>
                </a:cubicBezTo>
                <a:cubicBezTo>
                  <a:pt x="15043" y="18407"/>
                  <a:pt x="15041" y="18352"/>
                  <a:pt x="15169" y="18308"/>
                </a:cubicBezTo>
                <a:cubicBezTo>
                  <a:pt x="15237" y="18285"/>
                  <a:pt x="15266" y="18138"/>
                  <a:pt x="15302" y="18129"/>
                </a:cubicBezTo>
                <a:cubicBezTo>
                  <a:pt x="15331" y="18120"/>
                  <a:pt x="15400" y="18205"/>
                  <a:pt x="15368" y="18218"/>
                </a:cubicBezTo>
                <a:cubicBezTo>
                  <a:pt x="15457" y="18181"/>
                  <a:pt x="15487" y="18092"/>
                  <a:pt x="15567" y="18039"/>
                </a:cubicBezTo>
                <a:cubicBezTo>
                  <a:pt x="15708" y="17947"/>
                  <a:pt x="15762" y="17869"/>
                  <a:pt x="15898" y="17860"/>
                </a:cubicBezTo>
                <a:cubicBezTo>
                  <a:pt x="15970" y="17854"/>
                  <a:pt x="15932" y="17791"/>
                  <a:pt x="15964" y="17770"/>
                </a:cubicBezTo>
                <a:cubicBezTo>
                  <a:pt x="16105" y="17677"/>
                  <a:pt x="16159" y="17600"/>
                  <a:pt x="16295" y="17590"/>
                </a:cubicBezTo>
                <a:cubicBezTo>
                  <a:pt x="16369" y="17585"/>
                  <a:pt x="16327" y="17525"/>
                  <a:pt x="16361" y="17500"/>
                </a:cubicBezTo>
                <a:cubicBezTo>
                  <a:pt x="16594" y="17334"/>
                  <a:pt x="16862" y="17158"/>
                  <a:pt x="17089" y="16963"/>
                </a:cubicBezTo>
                <a:cubicBezTo>
                  <a:pt x="17129" y="16928"/>
                  <a:pt x="17176" y="16819"/>
                  <a:pt x="17222" y="16783"/>
                </a:cubicBezTo>
                <a:cubicBezTo>
                  <a:pt x="17255" y="16757"/>
                  <a:pt x="17319" y="16804"/>
                  <a:pt x="17354" y="16783"/>
                </a:cubicBezTo>
                <a:cubicBezTo>
                  <a:pt x="17375" y="16769"/>
                  <a:pt x="17396" y="16625"/>
                  <a:pt x="17420" y="16603"/>
                </a:cubicBezTo>
                <a:cubicBezTo>
                  <a:pt x="17560" y="16476"/>
                  <a:pt x="17611" y="16457"/>
                  <a:pt x="17685" y="16333"/>
                </a:cubicBezTo>
                <a:cubicBezTo>
                  <a:pt x="17703" y="16305"/>
                  <a:pt x="17794" y="16357"/>
                  <a:pt x="17818" y="16333"/>
                </a:cubicBezTo>
                <a:cubicBezTo>
                  <a:pt x="17916" y="16237"/>
                  <a:pt x="17979" y="16083"/>
                  <a:pt x="18082" y="15975"/>
                </a:cubicBezTo>
                <a:cubicBezTo>
                  <a:pt x="18192" y="15859"/>
                  <a:pt x="18256" y="15851"/>
                  <a:pt x="18347" y="15796"/>
                </a:cubicBezTo>
                <a:cubicBezTo>
                  <a:pt x="18365" y="15784"/>
                  <a:pt x="18394" y="15638"/>
                  <a:pt x="18413" y="15616"/>
                </a:cubicBezTo>
                <a:cubicBezTo>
                  <a:pt x="18522" y="15492"/>
                  <a:pt x="18638" y="15387"/>
                  <a:pt x="18744" y="15257"/>
                </a:cubicBezTo>
                <a:cubicBezTo>
                  <a:pt x="18835" y="15146"/>
                  <a:pt x="18898" y="15064"/>
                  <a:pt x="18943" y="14988"/>
                </a:cubicBezTo>
                <a:cubicBezTo>
                  <a:pt x="18954" y="14970"/>
                  <a:pt x="18932" y="14916"/>
                  <a:pt x="18943" y="14898"/>
                </a:cubicBezTo>
                <a:cubicBezTo>
                  <a:pt x="18961" y="14867"/>
                  <a:pt x="19054" y="14926"/>
                  <a:pt x="19075" y="14898"/>
                </a:cubicBezTo>
                <a:cubicBezTo>
                  <a:pt x="19123" y="14833"/>
                  <a:pt x="19096" y="14699"/>
                  <a:pt x="19142" y="14629"/>
                </a:cubicBezTo>
                <a:cubicBezTo>
                  <a:pt x="19180" y="14569"/>
                  <a:pt x="19302" y="14597"/>
                  <a:pt x="19339" y="14539"/>
                </a:cubicBezTo>
                <a:cubicBezTo>
                  <a:pt x="19381" y="14477"/>
                  <a:pt x="19372" y="14330"/>
                  <a:pt x="19406" y="14270"/>
                </a:cubicBezTo>
                <a:cubicBezTo>
                  <a:pt x="19450" y="14195"/>
                  <a:pt x="19560" y="14167"/>
                  <a:pt x="19605" y="14090"/>
                </a:cubicBezTo>
                <a:cubicBezTo>
                  <a:pt x="19641" y="14027"/>
                  <a:pt x="19646" y="13878"/>
                  <a:pt x="19671" y="13821"/>
                </a:cubicBezTo>
                <a:cubicBezTo>
                  <a:pt x="19681" y="13798"/>
                  <a:pt x="19717" y="13773"/>
                  <a:pt x="19737" y="13731"/>
                </a:cubicBezTo>
                <a:cubicBezTo>
                  <a:pt x="19828" y="13539"/>
                  <a:pt x="19995" y="13372"/>
                  <a:pt x="20002" y="13192"/>
                </a:cubicBezTo>
                <a:cubicBezTo>
                  <a:pt x="20007" y="13053"/>
                  <a:pt x="20103" y="12926"/>
                  <a:pt x="20134" y="12834"/>
                </a:cubicBezTo>
                <a:cubicBezTo>
                  <a:pt x="20151" y="12785"/>
                  <a:pt x="20199" y="12696"/>
                  <a:pt x="20201" y="12654"/>
                </a:cubicBezTo>
                <a:cubicBezTo>
                  <a:pt x="20204" y="12558"/>
                  <a:pt x="20254" y="12606"/>
                  <a:pt x="20267" y="12564"/>
                </a:cubicBezTo>
                <a:cubicBezTo>
                  <a:pt x="20405" y="12138"/>
                  <a:pt x="20454" y="11695"/>
                  <a:pt x="20532" y="11308"/>
                </a:cubicBezTo>
                <a:cubicBezTo>
                  <a:pt x="20574" y="11096"/>
                  <a:pt x="20639" y="10880"/>
                  <a:pt x="20664" y="10680"/>
                </a:cubicBezTo>
                <a:cubicBezTo>
                  <a:pt x="20766" y="9867"/>
                  <a:pt x="20703" y="8914"/>
                  <a:pt x="20598" y="8346"/>
                </a:cubicBezTo>
                <a:cubicBezTo>
                  <a:pt x="20574" y="8218"/>
                  <a:pt x="20573" y="8165"/>
                  <a:pt x="20532" y="8077"/>
                </a:cubicBezTo>
                <a:cubicBezTo>
                  <a:pt x="20475" y="7956"/>
                  <a:pt x="20498" y="7895"/>
                  <a:pt x="20466" y="7718"/>
                </a:cubicBezTo>
                <a:cubicBezTo>
                  <a:pt x="20435" y="7552"/>
                  <a:pt x="20382" y="7420"/>
                  <a:pt x="20333" y="7270"/>
                </a:cubicBezTo>
                <a:cubicBezTo>
                  <a:pt x="20309" y="7194"/>
                  <a:pt x="20306" y="7075"/>
                  <a:pt x="20267" y="7000"/>
                </a:cubicBezTo>
                <a:cubicBezTo>
                  <a:pt x="20230" y="6928"/>
                  <a:pt x="20100" y="6899"/>
                  <a:pt x="20069" y="6821"/>
                </a:cubicBezTo>
                <a:cubicBezTo>
                  <a:pt x="20035" y="6741"/>
                  <a:pt x="20132" y="6743"/>
                  <a:pt x="20134" y="6731"/>
                </a:cubicBezTo>
                <a:cubicBezTo>
                  <a:pt x="20148" y="6663"/>
                  <a:pt x="20027" y="6514"/>
                  <a:pt x="20002" y="6462"/>
                </a:cubicBezTo>
                <a:cubicBezTo>
                  <a:pt x="19914" y="6273"/>
                  <a:pt x="19832" y="6141"/>
                  <a:pt x="19737" y="6013"/>
                </a:cubicBezTo>
                <a:cubicBezTo>
                  <a:pt x="19671" y="5924"/>
                  <a:pt x="19562" y="5810"/>
                  <a:pt x="19473" y="5743"/>
                </a:cubicBezTo>
                <a:cubicBezTo>
                  <a:pt x="19326" y="5473"/>
                  <a:pt x="19143" y="5317"/>
                  <a:pt x="19075" y="5026"/>
                </a:cubicBezTo>
                <a:cubicBezTo>
                  <a:pt x="18790" y="4999"/>
                  <a:pt x="18630" y="4678"/>
                  <a:pt x="18413" y="4488"/>
                </a:cubicBezTo>
                <a:cubicBezTo>
                  <a:pt x="18195" y="4295"/>
                  <a:pt x="17901" y="4183"/>
                  <a:pt x="17751" y="3859"/>
                </a:cubicBezTo>
                <a:cubicBezTo>
                  <a:pt x="17501" y="3829"/>
                  <a:pt x="17390" y="3736"/>
                  <a:pt x="17222" y="3680"/>
                </a:cubicBezTo>
                <a:cubicBezTo>
                  <a:pt x="17138" y="3651"/>
                  <a:pt x="17159" y="3538"/>
                  <a:pt x="17089" y="3500"/>
                </a:cubicBezTo>
                <a:cubicBezTo>
                  <a:pt x="16988" y="3446"/>
                  <a:pt x="16927" y="3445"/>
                  <a:pt x="16824" y="3410"/>
                </a:cubicBezTo>
                <a:cubicBezTo>
                  <a:pt x="16740" y="3382"/>
                  <a:pt x="16707" y="3237"/>
                  <a:pt x="16626" y="3231"/>
                </a:cubicBezTo>
                <a:cubicBezTo>
                  <a:pt x="16558" y="3226"/>
                  <a:pt x="16585" y="3153"/>
                  <a:pt x="16560" y="3141"/>
                </a:cubicBezTo>
                <a:cubicBezTo>
                  <a:pt x="16492" y="3108"/>
                  <a:pt x="16459" y="3258"/>
                  <a:pt x="16361" y="3231"/>
                </a:cubicBezTo>
                <a:cubicBezTo>
                  <a:pt x="16356" y="3229"/>
                  <a:pt x="16366" y="3148"/>
                  <a:pt x="16361" y="3141"/>
                </a:cubicBezTo>
                <a:cubicBezTo>
                  <a:pt x="16311" y="3073"/>
                  <a:pt x="16239" y="3087"/>
                  <a:pt x="16162" y="3052"/>
                </a:cubicBezTo>
                <a:cubicBezTo>
                  <a:pt x="15878" y="2921"/>
                  <a:pt x="15624" y="2804"/>
                  <a:pt x="15302" y="2692"/>
                </a:cubicBezTo>
                <a:cubicBezTo>
                  <a:pt x="15311" y="2696"/>
                  <a:pt x="15288" y="2797"/>
                  <a:pt x="15236" y="2783"/>
                </a:cubicBezTo>
                <a:cubicBezTo>
                  <a:pt x="15234" y="2782"/>
                  <a:pt x="15177" y="2612"/>
                  <a:pt x="15169" y="2602"/>
                </a:cubicBezTo>
                <a:cubicBezTo>
                  <a:pt x="15134" y="2555"/>
                  <a:pt x="14956" y="2622"/>
                  <a:pt x="14904" y="2602"/>
                </a:cubicBezTo>
                <a:cubicBezTo>
                  <a:pt x="14762" y="2550"/>
                  <a:pt x="14594" y="2461"/>
                  <a:pt x="14441" y="2423"/>
                </a:cubicBezTo>
                <a:cubicBezTo>
                  <a:pt x="14332" y="2396"/>
                  <a:pt x="14297" y="2426"/>
                  <a:pt x="14243" y="2334"/>
                </a:cubicBezTo>
                <a:cubicBezTo>
                  <a:pt x="14239" y="2328"/>
                  <a:pt x="14057" y="2447"/>
                  <a:pt x="13977" y="2423"/>
                </a:cubicBezTo>
                <a:cubicBezTo>
                  <a:pt x="13807" y="2373"/>
                  <a:pt x="13801" y="2187"/>
                  <a:pt x="13713" y="2334"/>
                </a:cubicBezTo>
                <a:cubicBezTo>
                  <a:pt x="13675" y="2396"/>
                  <a:pt x="13585" y="2251"/>
                  <a:pt x="13581" y="2244"/>
                </a:cubicBezTo>
                <a:cubicBezTo>
                  <a:pt x="13569" y="2226"/>
                  <a:pt x="13468" y="2247"/>
                  <a:pt x="13448" y="2244"/>
                </a:cubicBezTo>
                <a:cubicBezTo>
                  <a:pt x="13222" y="2207"/>
                  <a:pt x="13162" y="2168"/>
                  <a:pt x="13117" y="2244"/>
                </a:cubicBezTo>
                <a:cubicBezTo>
                  <a:pt x="13108" y="2259"/>
                  <a:pt x="13001" y="2245"/>
                  <a:pt x="12985" y="2244"/>
                </a:cubicBezTo>
                <a:cubicBezTo>
                  <a:pt x="12627" y="2216"/>
                  <a:pt x="12281" y="2030"/>
                  <a:pt x="11925" y="2244"/>
                </a:cubicBezTo>
                <a:cubicBezTo>
                  <a:pt x="11796" y="1983"/>
                  <a:pt x="11634" y="2086"/>
                  <a:pt x="11595" y="2154"/>
                </a:cubicBezTo>
                <a:cubicBezTo>
                  <a:pt x="11564" y="2206"/>
                  <a:pt x="11506" y="2068"/>
                  <a:pt x="11528" y="2064"/>
                </a:cubicBezTo>
                <a:cubicBezTo>
                  <a:pt x="11442" y="2079"/>
                  <a:pt x="11436" y="2145"/>
                  <a:pt x="11330" y="2154"/>
                </a:cubicBezTo>
                <a:cubicBezTo>
                  <a:pt x="10774" y="2200"/>
                  <a:pt x="10453" y="2183"/>
                  <a:pt x="10072" y="2244"/>
                </a:cubicBezTo>
                <a:cubicBezTo>
                  <a:pt x="9972" y="2260"/>
                  <a:pt x="9854" y="2334"/>
                  <a:pt x="9807" y="2334"/>
                </a:cubicBezTo>
                <a:cubicBezTo>
                  <a:pt x="9742" y="2334"/>
                  <a:pt x="9726" y="2240"/>
                  <a:pt x="9674" y="2244"/>
                </a:cubicBezTo>
                <a:cubicBezTo>
                  <a:pt x="9609" y="2248"/>
                  <a:pt x="9631" y="2323"/>
                  <a:pt x="9608" y="2334"/>
                </a:cubicBezTo>
                <a:cubicBezTo>
                  <a:pt x="9264" y="2489"/>
                  <a:pt x="8823" y="2422"/>
                  <a:pt x="8483" y="2513"/>
                </a:cubicBezTo>
                <a:cubicBezTo>
                  <a:pt x="8482" y="2513"/>
                  <a:pt x="8455" y="2588"/>
                  <a:pt x="8416" y="2602"/>
                </a:cubicBezTo>
                <a:cubicBezTo>
                  <a:pt x="8309" y="2647"/>
                  <a:pt x="8278" y="2593"/>
                  <a:pt x="8218" y="2692"/>
                </a:cubicBezTo>
                <a:cubicBezTo>
                  <a:pt x="8203" y="2717"/>
                  <a:pt x="8109" y="2680"/>
                  <a:pt x="8086" y="2692"/>
                </a:cubicBezTo>
                <a:cubicBezTo>
                  <a:pt x="7941" y="2770"/>
                  <a:pt x="7774" y="2814"/>
                  <a:pt x="7622" y="2872"/>
                </a:cubicBezTo>
                <a:cubicBezTo>
                  <a:pt x="7499" y="2919"/>
                  <a:pt x="7385" y="2923"/>
                  <a:pt x="7291" y="2962"/>
                </a:cubicBezTo>
                <a:cubicBezTo>
                  <a:pt x="7232" y="2986"/>
                  <a:pt x="7255" y="3029"/>
                  <a:pt x="7225" y="3052"/>
                </a:cubicBezTo>
                <a:cubicBezTo>
                  <a:pt x="7102" y="3142"/>
                  <a:pt x="6906" y="3157"/>
                  <a:pt x="6761" y="3231"/>
                </a:cubicBezTo>
                <a:cubicBezTo>
                  <a:pt x="6684" y="3271"/>
                  <a:pt x="6664" y="3314"/>
                  <a:pt x="6563" y="3321"/>
                </a:cubicBezTo>
                <a:cubicBezTo>
                  <a:pt x="6494" y="3326"/>
                  <a:pt x="6525" y="3395"/>
                  <a:pt x="6497" y="3410"/>
                </a:cubicBezTo>
                <a:cubicBezTo>
                  <a:pt x="6396" y="3465"/>
                  <a:pt x="6243" y="3452"/>
                  <a:pt x="6166" y="3500"/>
                </a:cubicBezTo>
                <a:cubicBezTo>
                  <a:pt x="6153" y="3508"/>
                  <a:pt x="6111" y="3661"/>
                  <a:pt x="6100" y="3680"/>
                </a:cubicBezTo>
                <a:cubicBezTo>
                  <a:pt x="6083" y="3708"/>
                  <a:pt x="5992" y="3661"/>
                  <a:pt x="5967" y="3680"/>
                </a:cubicBezTo>
                <a:cubicBezTo>
                  <a:pt x="5958" y="3687"/>
                  <a:pt x="5974" y="3757"/>
                  <a:pt x="5967" y="3770"/>
                </a:cubicBezTo>
                <a:cubicBezTo>
                  <a:pt x="5951" y="3795"/>
                  <a:pt x="5859" y="3754"/>
                  <a:pt x="5835" y="3770"/>
                </a:cubicBezTo>
                <a:cubicBezTo>
                  <a:pt x="5827" y="3775"/>
                  <a:pt x="5841" y="3849"/>
                  <a:pt x="5835" y="3859"/>
                </a:cubicBezTo>
                <a:cubicBezTo>
                  <a:pt x="5819" y="3886"/>
                  <a:pt x="5727" y="3842"/>
                  <a:pt x="5702" y="3859"/>
                </a:cubicBezTo>
                <a:cubicBezTo>
                  <a:pt x="5694" y="3866"/>
                  <a:pt x="5709" y="3937"/>
                  <a:pt x="5702" y="3949"/>
                </a:cubicBezTo>
                <a:cubicBezTo>
                  <a:pt x="5687" y="3975"/>
                  <a:pt x="5594" y="3933"/>
                  <a:pt x="5570" y="3949"/>
                </a:cubicBezTo>
                <a:cubicBezTo>
                  <a:pt x="5562" y="3954"/>
                  <a:pt x="5576" y="4029"/>
                  <a:pt x="5570" y="4039"/>
                </a:cubicBezTo>
                <a:cubicBezTo>
                  <a:pt x="5554" y="4065"/>
                  <a:pt x="5462" y="4023"/>
                  <a:pt x="5437" y="4039"/>
                </a:cubicBezTo>
                <a:cubicBezTo>
                  <a:pt x="5429" y="4044"/>
                  <a:pt x="5444" y="4118"/>
                  <a:pt x="5437" y="4128"/>
                </a:cubicBezTo>
                <a:cubicBezTo>
                  <a:pt x="5421" y="4155"/>
                  <a:pt x="5329" y="4113"/>
                  <a:pt x="5305" y="4128"/>
                </a:cubicBezTo>
                <a:cubicBezTo>
                  <a:pt x="5297" y="4134"/>
                  <a:pt x="5311" y="4208"/>
                  <a:pt x="5305" y="4218"/>
                </a:cubicBezTo>
                <a:cubicBezTo>
                  <a:pt x="5288" y="4247"/>
                  <a:pt x="5197" y="4199"/>
                  <a:pt x="5172" y="4218"/>
                </a:cubicBezTo>
                <a:cubicBezTo>
                  <a:pt x="5155" y="4233"/>
                  <a:pt x="5121" y="4373"/>
                  <a:pt x="5107" y="4398"/>
                </a:cubicBezTo>
                <a:cubicBezTo>
                  <a:pt x="5089" y="4426"/>
                  <a:pt x="4998" y="4376"/>
                  <a:pt x="4974" y="4398"/>
                </a:cubicBezTo>
                <a:cubicBezTo>
                  <a:pt x="4911" y="4453"/>
                  <a:pt x="4832" y="4616"/>
                  <a:pt x="4775" y="4667"/>
                </a:cubicBezTo>
                <a:cubicBezTo>
                  <a:pt x="4765" y="4676"/>
                  <a:pt x="4722" y="4666"/>
                  <a:pt x="4709" y="4667"/>
                </a:cubicBezTo>
                <a:cubicBezTo>
                  <a:pt x="4641" y="4672"/>
                  <a:pt x="4562" y="4797"/>
                  <a:pt x="4511" y="4846"/>
                </a:cubicBezTo>
                <a:cubicBezTo>
                  <a:pt x="4400" y="4953"/>
                  <a:pt x="4265" y="5199"/>
                  <a:pt x="4179" y="5205"/>
                </a:cubicBezTo>
                <a:cubicBezTo>
                  <a:pt x="4034" y="5216"/>
                  <a:pt x="3933" y="5558"/>
                  <a:pt x="3849" y="5564"/>
                </a:cubicBezTo>
                <a:cubicBezTo>
                  <a:pt x="3780" y="5570"/>
                  <a:pt x="3701" y="5694"/>
                  <a:pt x="3650" y="5743"/>
                </a:cubicBezTo>
                <a:cubicBezTo>
                  <a:pt x="3572" y="5820"/>
                  <a:pt x="3543" y="5904"/>
                  <a:pt x="3451" y="6013"/>
                </a:cubicBezTo>
                <a:cubicBezTo>
                  <a:pt x="3169" y="6349"/>
                  <a:pt x="2874" y="6664"/>
                  <a:pt x="2657" y="7000"/>
                </a:cubicBezTo>
                <a:cubicBezTo>
                  <a:pt x="2636" y="7032"/>
                  <a:pt x="2671" y="7139"/>
                  <a:pt x="2657" y="7180"/>
                </a:cubicBezTo>
                <a:cubicBezTo>
                  <a:pt x="2649" y="7204"/>
                  <a:pt x="2541" y="7243"/>
                  <a:pt x="2524" y="7270"/>
                </a:cubicBezTo>
                <a:cubicBezTo>
                  <a:pt x="2455" y="7381"/>
                  <a:pt x="2328" y="7571"/>
                  <a:pt x="2326" y="7628"/>
                </a:cubicBezTo>
                <a:cubicBezTo>
                  <a:pt x="2322" y="7722"/>
                  <a:pt x="2230" y="7828"/>
                  <a:pt x="2193" y="7898"/>
                </a:cubicBezTo>
                <a:cubicBezTo>
                  <a:pt x="2126" y="8025"/>
                  <a:pt x="1998" y="8186"/>
                  <a:pt x="1995" y="8257"/>
                </a:cubicBezTo>
                <a:cubicBezTo>
                  <a:pt x="1991" y="8360"/>
                  <a:pt x="1952" y="8296"/>
                  <a:pt x="1929" y="8346"/>
                </a:cubicBezTo>
                <a:cubicBezTo>
                  <a:pt x="1837" y="8539"/>
                  <a:pt x="1831" y="8594"/>
                  <a:pt x="1730" y="8705"/>
                </a:cubicBezTo>
                <a:cubicBezTo>
                  <a:pt x="1709" y="8729"/>
                  <a:pt x="1745" y="8852"/>
                  <a:pt x="1730" y="8885"/>
                </a:cubicBezTo>
                <a:cubicBezTo>
                  <a:pt x="1713" y="8923"/>
                  <a:pt x="1620" y="8935"/>
                  <a:pt x="1598" y="8975"/>
                </a:cubicBezTo>
                <a:cubicBezTo>
                  <a:pt x="1524" y="9107"/>
                  <a:pt x="1531" y="9487"/>
                  <a:pt x="1399" y="9513"/>
                </a:cubicBezTo>
                <a:cubicBezTo>
                  <a:pt x="1440" y="9176"/>
                  <a:pt x="1623" y="8927"/>
                  <a:pt x="1664" y="8705"/>
                </a:cubicBezTo>
                <a:close/>
                <a:moveTo>
                  <a:pt x="2657" y="18936"/>
                </a:moveTo>
                <a:cubicBezTo>
                  <a:pt x="2610" y="18871"/>
                  <a:pt x="2580" y="18815"/>
                  <a:pt x="2524" y="18757"/>
                </a:cubicBezTo>
                <a:cubicBezTo>
                  <a:pt x="2489" y="18720"/>
                  <a:pt x="2426" y="18710"/>
                  <a:pt x="2392" y="18667"/>
                </a:cubicBezTo>
                <a:cubicBezTo>
                  <a:pt x="2235" y="18469"/>
                  <a:pt x="2137" y="18254"/>
                  <a:pt x="1929" y="18039"/>
                </a:cubicBezTo>
                <a:cubicBezTo>
                  <a:pt x="1872" y="17980"/>
                  <a:pt x="1862" y="17912"/>
                  <a:pt x="1796" y="17860"/>
                </a:cubicBezTo>
                <a:cubicBezTo>
                  <a:pt x="1744" y="17818"/>
                  <a:pt x="1659" y="17885"/>
                  <a:pt x="1664" y="17770"/>
                </a:cubicBezTo>
                <a:cubicBezTo>
                  <a:pt x="1654" y="17549"/>
                  <a:pt x="1493" y="17480"/>
                  <a:pt x="1399" y="17321"/>
                </a:cubicBezTo>
                <a:cubicBezTo>
                  <a:pt x="1371" y="17275"/>
                  <a:pt x="1285" y="17188"/>
                  <a:pt x="1267" y="17142"/>
                </a:cubicBezTo>
                <a:cubicBezTo>
                  <a:pt x="1226" y="17039"/>
                  <a:pt x="1247" y="16957"/>
                  <a:pt x="1200" y="16872"/>
                </a:cubicBezTo>
                <a:cubicBezTo>
                  <a:pt x="1184" y="16842"/>
                  <a:pt x="1088" y="16899"/>
                  <a:pt x="1068" y="16872"/>
                </a:cubicBezTo>
                <a:cubicBezTo>
                  <a:pt x="1048" y="16846"/>
                  <a:pt x="1047" y="16518"/>
                  <a:pt x="1002" y="16424"/>
                </a:cubicBezTo>
                <a:cubicBezTo>
                  <a:pt x="977" y="16373"/>
                  <a:pt x="904" y="16301"/>
                  <a:pt x="870" y="16244"/>
                </a:cubicBezTo>
                <a:cubicBezTo>
                  <a:pt x="843" y="16200"/>
                  <a:pt x="753" y="16108"/>
                  <a:pt x="737" y="16065"/>
                </a:cubicBezTo>
                <a:cubicBezTo>
                  <a:pt x="652" y="15839"/>
                  <a:pt x="622" y="15532"/>
                  <a:pt x="539" y="15257"/>
                </a:cubicBezTo>
                <a:cubicBezTo>
                  <a:pt x="498" y="15125"/>
                  <a:pt x="441" y="15012"/>
                  <a:pt x="406" y="14898"/>
                </a:cubicBezTo>
                <a:cubicBezTo>
                  <a:pt x="394" y="14858"/>
                  <a:pt x="344" y="14904"/>
                  <a:pt x="340" y="14808"/>
                </a:cubicBezTo>
                <a:cubicBezTo>
                  <a:pt x="331" y="14585"/>
                  <a:pt x="314" y="14562"/>
                  <a:pt x="274" y="14359"/>
                </a:cubicBezTo>
                <a:cubicBezTo>
                  <a:pt x="268" y="14330"/>
                  <a:pt x="290" y="14198"/>
                  <a:pt x="274" y="14180"/>
                </a:cubicBezTo>
                <a:cubicBezTo>
                  <a:pt x="185" y="14082"/>
                  <a:pt x="256" y="14025"/>
                  <a:pt x="207" y="13731"/>
                </a:cubicBezTo>
                <a:cubicBezTo>
                  <a:pt x="205" y="13715"/>
                  <a:pt x="144" y="13719"/>
                  <a:pt x="141" y="13641"/>
                </a:cubicBezTo>
                <a:cubicBezTo>
                  <a:pt x="137" y="13531"/>
                  <a:pt x="162" y="13388"/>
                  <a:pt x="141" y="13282"/>
                </a:cubicBezTo>
                <a:cubicBezTo>
                  <a:pt x="137" y="13260"/>
                  <a:pt x="78" y="13275"/>
                  <a:pt x="75" y="13192"/>
                </a:cubicBezTo>
                <a:cubicBezTo>
                  <a:pt x="74" y="13169"/>
                  <a:pt x="82" y="13125"/>
                  <a:pt x="75" y="13103"/>
                </a:cubicBezTo>
                <a:cubicBezTo>
                  <a:pt x="68" y="13079"/>
                  <a:pt x="7" y="12988"/>
                  <a:pt x="9" y="13013"/>
                </a:cubicBezTo>
                <a:cubicBezTo>
                  <a:pt x="-7" y="12817"/>
                  <a:pt x="131" y="12778"/>
                  <a:pt x="75" y="12475"/>
                </a:cubicBezTo>
                <a:cubicBezTo>
                  <a:pt x="59" y="12388"/>
                  <a:pt x="-27" y="12276"/>
                  <a:pt x="9" y="12116"/>
                </a:cubicBezTo>
                <a:cubicBezTo>
                  <a:pt x="25" y="12043"/>
                  <a:pt x="97" y="11968"/>
                  <a:pt x="75" y="11847"/>
                </a:cubicBezTo>
                <a:cubicBezTo>
                  <a:pt x="49" y="11702"/>
                  <a:pt x="23" y="11459"/>
                  <a:pt x="75" y="11039"/>
                </a:cubicBezTo>
                <a:cubicBezTo>
                  <a:pt x="84" y="10967"/>
                  <a:pt x="123" y="10881"/>
                  <a:pt x="141" y="10770"/>
                </a:cubicBezTo>
                <a:cubicBezTo>
                  <a:pt x="151" y="10713"/>
                  <a:pt x="131" y="10646"/>
                  <a:pt x="141" y="10590"/>
                </a:cubicBezTo>
                <a:cubicBezTo>
                  <a:pt x="160" y="10488"/>
                  <a:pt x="219" y="10064"/>
                  <a:pt x="274" y="9782"/>
                </a:cubicBezTo>
                <a:cubicBezTo>
                  <a:pt x="275" y="9778"/>
                  <a:pt x="330" y="9747"/>
                  <a:pt x="340" y="9693"/>
                </a:cubicBezTo>
                <a:cubicBezTo>
                  <a:pt x="368" y="9538"/>
                  <a:pt x="353" y="9449"/>
                  <a:pt x="406" y="9243"/>
                </a:cubicBezTo>
                <a:cubicBezTo>
                  <a:pt x="414" y="9211"/>
                  <a:pt x="468" y="9245"/>
                  <a:pt x="472" y="9155"/>
                </a:cubicBezTo>
                <a:cubicBezTo>
                  <a:pt x="473" y="9130"/>
                  <a:pt x="466" y="9087"/>
                  <a:pt x="472" y="9064"/>
                </a:cubicBezTo>
                <a:cubicBezTo>
                  <a:pt x="499" y="8975"/>
                  <a:pt x="515" y="8921"/>
                  <a:pt x="539" y="8795"/>
                </a:cubicBezTo>
                <a:cubicBezTo>
                  <a:pt x="554" y="8708"/>
                  <a:pt x="592" y="8747"/>
                  <a:pt x="605" y="8705"/>
                </a:cubicBezTo>
                <a:cubicBezTo>
                  <a:pt x="665" y="8507"/>
                  <a:pt x="676" y="8334"/>
                  <a:pt x="737" y="8167"/>
                </a:cubicBezTo>
                <a:cubicBezTo>
                  <a:pt x="753" y="8123"/>
                  <a:pt x="799" y="8176"/>
                  <a:pt x="803" y="8077"/>
                </a:cubicBezTo>
                <a:cubicBezTo>
                  <a:pt x="805" y="8036"/>
                  <a:pt x="853" y="7947"/>
                  <a:pt x="870" y="7898"/>
                </a:cubicBezTo>
                <a:cubicBezTo>
                  <a:pt x="892" y="7830"/>
                  <a:pt x="901" y="7711"/>
                  <a:pt x="935" y="7628"/>
                </a:cubicBezTo>
                <a:cubicBezTo>
                  <a:pt x="951" y="7591"/>
                  <a:pt x="1057" y="7570"/>
                  <a:pt x="1068" y="7539"/>
                </a:cubicBezTo>
                <a:cubicBezTo>
                  <a:pt x="1084" y="7491"/>
                  <a:pt x="1049" y="7404"/>
                  <a:pt x="1068" y="7359"/>
                </a:cubicBezTo>
                <a:cubicBezTo>
                  <a:pt x="1095" y="7298"/>
                  <a:pt x="1175" y="7234"/>
                  <a:pt x="1200" y="7180"/>
                </a:cubicBezTo>
                <a:cubicBezTo>
                  <a:pt x="1228" y="7120"/>
                  <a:pt x="1236" y="7064"/>
                  <a:pt x="1267" y="7000"/>
                </a:cubicBezTo>
                <a:cubicBezTo>
                  <a:pt x="1287" y="6958"/>
                  <a:pt x="1323" y="6933"/>
                  <a:pt x="1333" y="6910"/>
                </a:cubicBezTo>
                <a:cubicBezTo>
                  <a:pt x="1393" y="6773"/>
                  <a:pt x="1453" y="6644"/>
                  <a:pt x="1531" y="6462"/>
                </a:cubicBezTo>
                <a:cubicBezTo>
                  <a:pt x="1559" y="6398"/>
                  <a:pt x="1560" y="6266"/>
                  <a:pt x="1598" y="6192"/>
                </a:cubicBezTo>
                <a:cubicBezTo>
                  <a:pt x="1637" y="6116"/>
                  <a:pt x="1758" y="6087"/>
                  <a:pt x="1796" y="6013"/>
                </a:cubicBezTo>
                <a:cubicBezTo>
                  <a:pt x="1841" y="5926"/>
                  <a:pt x="1817" y="5821"/>
                  <a:pt x="1863" y="5743"/>
                </a:cubicBezTo>
                <a:cubicBezTo>
                  <a:pt x="1934" y="5623"/>
                  <a:pt x="2052" y="5511"/>
                  <a:pt x="2128" y="5385"/>
                </a:cubicBezTo>
                <a:cubicBezTo>
                  <a:pt x="2227" y="5217"/>
                  <a:pt x="2301" y="5080"/>
                  <a:pt x="2392" y="4937"/>
                </a:cubicBezTo>
                <a:cubicBezTo>
                  <a:pt x="2792" y="4306"/>
                  <a:pt x="3330" y="3612"/>
                  <a:pt x="3849" y="3052"/>
                </a:cubicBezTo>
                <a:cubicBezTo>
                  <a:pt x="3869" y="3029"/>
                  <a:pt x="3896" y="2883"/>
                  <a:pt x="3914" y="2872"/>
                </a:cubicBezTo>
                <a:cubicBezTo>
                  <a:pt x="4006" y="2816"/>
                  <a:pt x="4064" y="2796"/>
                  <a:pt x="4179" y="2692"/>
                </a:cubicBezTo>
                <a:cubicBezTo>
                  <a:pt x="4300" y="2584"/>
                  <a:pt x="4399" y="2531"/>
                  <a:pt x="4511" y="2423"/>
                </a:cubicBezTo>
                <a:cubicBezTo>
                  <a:pt x="4534" y="2401"/>
                  <a:pt x="4556" y="2256"/>
                  <a:pt x="4577" y="2244"/>
                </a:cubicBezTo>
                <a:cubicBezTo>
                  <a:pt x="4668" y="2188"/>
                  <a:pt x="4727" y="2170"/>
                  <a:pt x="4842" y="2064"/>
                </a:cubicBezTo>
                <a:cubicBezTo>
                  <a:pt x="4898" y="2013"/>
                  <a:pt x="4899" y="1935"/>
                  <a:pt x="4974" y="1885"/>
                </a:cubicBezTo>
                <a:cubicBezTo>
                  <a:pt x="5053" y="1831"/>
                  <a:pt x="5105" y="1850"/>
                  <a:pt x="5172" y="1795"/>
                </a:cubicBezTo>
                <a:cubicBezTo>
                  <a:pt x="5248" y="1734"/>
                  <a:pt x="5291" y="1674"/>
                  <a:pt x="5371" y="1615"/>
                </a:cubicBezTo>
                <a:cubicBezTo>
                  <a:pt x="5427" y="1575"/>
                  <a:pt x="5501" y="1577"/>
                  <a:pt x="5570" y="1526"/>
                </a:cubicBezTo>
                <a:cubicBezTo>
                  <a:pt x="5598" y="1505"/>
                  <a:pt x="5612" y="1361"/>
                  <a:pt x="5636" y="1346"/>
                </a:cubicBezTo>
                <a:cubicBezTo>
                  <a:pt x="5741" y="1283"/>
                  <a:pt x="5823" y="1344"/>
                  <a:pt x="5967" y="1256"/>
                </a:cubicBezTo>
                <a:cubicBezTo>
                  <a:pt x="5998" y="1238"/>
                  <a:pt x="5962" y="1172"/>
                  <a:pt x="6033" y="1166"/>
                </a:cubicBezTo>
                <a:cubicBezTo>
                  <a:pt x="6145" y="1158"/>
                  <a:pt x="6106" y="1118"/>
                  <a:pt x="6166" y="1077"/>
                </a:cubicBezTo>
                <a:cubicBezTo>
                  <a:pt x="6303" y="983"/>
                  <a:pt x="6538" y="916"/>
                  <a:pt x="6761" y="808"/>
                </a:cubicBezTo>
                <a:cubicBezTo>
                  <a:pt x="6787" y="796"/>
                  <a:pt x="6761" y="723"/>
                  <a:pt x="6828" y="718"/>
                </a:cubicBezTo>
                <a:cubicBezTo>
                  <a:pt x="6845" y="717"/>
                  <a:pt x="6878" y="727"/>
                  <a:pt x="6894" y="718"/>
                </a:cubicBezTo>
                <a:cubicBezTo>
                  <a:pt x="7183" y="561"/>
                  <a:pt x="7701" y="421"/>
                  <a:pt x="8086" y="269"/>
                </a:cubicBezTo>
                <a:cubicBezTo>
                  <a:pt x="8300" y="185"/>
                  <a:pt x="8523" y="121"/>
                  <a:pt x="8880" y="90"/>
                </a:cubicBezTo>
                <a:cubicBezTo>
                  <a:pt x="8943" y="84"/>
                  <a:pt x="9018" y="108"/>
                  <a:pt x="9079" y="90"/>
                </a:cubicBezTo>
                <a:cubicBezTo>
                  <a:pt x="9133" y="73"/>
                  <a:pt x="9143" y="2"/>
                  <a:pt x="9211" y="0"/>
                </a:cubicBezTo>
                <a:cubicBezTo>
                  <a:pt x="9387" y="-5"/>
                  <a:pt x="9590" y="75"/>
                  <a:pt x="9740" y="90"/>
                </a:cubicBezTo>
                <a:cubicBezTo>
                  <a:pt x="9873" y="103"/>
                  <a:pt x="10343" y="-9"/>
                  <a:pt x="10403" y="90"/>
                </a:cubicBezTo>
                <a:cubicBezTo>
                  <a:pt x="10409" y="100"/>
                  <a:pt x="10394" y="175"/>
                  <a:pt x="10403" y="180"/>
                </a:cubicBezTo>
                <a:cubicBezTo>
                  <a:pt x="10427" y="195"/>
                  <a:pt x="10519" y="153"/>
                  <a:pt x="10535" y="180"/>
                </a:cubicBezTo>
                <a:cubicBezTo>
                  <a:pt x="10645" y="362"/>
                  <a:pt x="10915" y="165"/>
                  <a:pt x="11065" y="359"/>
                </a:cubicBezTo>
                <a:cubicBezTo>
                  <a:pt x="11111" y="419"/>
                  <a:pt x="11264" y="448"/>
                  <a:pt x="11395" y="538"/>
                </a:cubicBezTo>
                <a:cubicBezTo>
                  <a:pt x="11514" y="620"/>
                  <a:pt x="11661" y="774"/>
                  <a:pt x="11793" y="808"/>
                </a:cubicBezTo>
                <a:cubicBezTo>
                  <a:pt x="11901" y="836"/>
                  <a:pt x="11907" y="708"/>
                  <a:pt x="11991" y="718"/>
                </a:cubicBezTo>
                <a:cubicBezTo>
                  <a:pt x="11988" y="717"/>
                  <a:pt x="12013" y="804"/>
                  <a:pt x="12058" y="808"/>
                </a:cubicBezTo>
                <a:cubicBezTo>
                  <a:pt x="12203" y="818"/>
                  <a:pt x="12278" y="715"/>
                  <a:pt x="12521" y="718"/>
                </a:cubicBezTo>
                <a:cubicBezTo>
                  <a:pt x="12490" y="718"/>
                  <a:pt x="12572" y="803"/>
                  <a:pt x="12588" y="808"/>
                </a:cubicBezTo>
                <a:cubicBezTo>
                  <a:pt x="12690" y="843"/>
                  <a:pt x="12914" y="854"/>
                  <a:pt x="13051" y="808"/>
                </a:cubicBezTo>
                <a:cubicBezTo>
                  <a:pt x="13077" y="799"/>
                  <a:pt x="13136" y="718"/>
                  <a:pt x="13117" y="718"/>
                </a:cubicBezTo>
                <a:cubicBezTo>
                  <a:pt x="13148" y="718"/>
                  <a:pt x="13304" y="781"/>
                  <a:pt x="13382" y="808"/>
                </a:cubicBezTo>
                <a:cubicBezTo>
                  <a:pt x="13408" y="816"/>
                  <a:pt x="13467" y="898"/>
                  <a:pt x="13448" y="898"/>
                </a:cubicBezTo>
                <a:cubicBezTo>
                  <a:pt x="13503" y="898"/>
                  <a:pt x="13513" y="804"/>
                  <a:pt x="13581" y="808"/>
                </a:cubicBezTo>
                <a:cubicBezTo>
                  <a:pt x="13640" y="811"/>
                  <a:pt x="13681" y="915"/>
                  <a:pt x="13779" y="898"/>
                </a:cubicBezTo>
                <a:cubicBezTo>
                  <a:pt x="13834" y="888"/>
                  <a:pt x="13845" y="800"/>
                  <a:pt x="13911" y="808"/>
                </a:cubicBezTo>
                <a:cubicBezTo>
                  <a:pt x="13965" y="813"/>
                  <a:pt x="14022" y="885"/>
                  <a:pt x="14110" y="898"/>
                </a:cubicBezTo>
                <a:cubicBezTo>
                  <a:pt x="14327" y="929"/>
                  <a:pt x="14589" y="926"/>
                  <a:pt x="14904" y="987"/>
                </a:cubicBezTo>
                <a:cubicBezTo>
                  <a:pt x="14925" y="992"/>
                  <a:pt x="15025" y="969"/>
                  <a:pt x="15037" y="987"/>
                </a:cubicBezTo>
                <a:cubicBezTo>
                  <a:pt x="15081" y="1061"/>
                  <a:pt x="15087" y="1049"/>
                  <a:pt x="15169" y="1077"/>
                </a:cubicBezTo>
                <a:cubicBezTo>
                  <a:pt x="15204" y="1089"/>
                  <a:pt x="15243" y="1167"/>
                  <a:pt x="15236" y="1166"/>
                </a:cubicBezTo>
                <a:cubicBezTo>
                  <a:pt x="15428" y="1192"/>
                  <a:pt x="15331" y="1077"/>
                  <a:pt x="15567" y="1166"/>
                </a:cubicBezTo>
                <a:cubicBezTo>
                  <a:pt x="15588" y="1175"/>
                  <a:pt x="15686" y="1144"/>
                  <a:pt x="15699" y="1166"/>
                </a:cubicBezTo>
                <a:cubicBezTo>
                  <a:pt x="15751" y="1254"/>
                  <a:pt x="15789" y="1239"/>
                  <a:pt x="15898" y="1256"/>
                </a:cubicBezTo>
                <a:cubicBezTo>
                  <a:pt x="15917" y="1260"/>
                  <a:pt x="16019" y="1238"/>
                  <a:pt x="16030" y="1256"/>
                </a:cubicBezTo>
                <a:cubicBezTo>
                  <a:pt x="16073" y="1329"/>
                  <a:pt x="16225" y="1354"/>
                  <a:pt x="16427" y="1436"/>
                </a:cubicBezTo>
                <a:cubicBezTo>
                  <a:pt x="16520" y="1474"/>
                  <a:pt x="16649" y="1574"/>
                  <a:pt x="16758" y="1615"/>
                </a:cubicBezTo>
                <a:cubicBezTo>
                  <a:pt x="16864" y="1656"/>
                  <a:pt x="17040" y="1666"/>
                  <a:pt x="17155" y="1705"/>
                </a:cubicBezTo>
                <a:cubicBezTo>
                  <a:pt x="17171" y="1711"/>
                  <a:pt x="17163" y="1791"/>
                  <a:pt x="17222" y="1795"/>
                </a:cubicBezTo>
                <a:cubicBezTo>
                  <a:pt x="17374" y="1806"/>
                  <a:pt x="17441" y="1784"/>
                  <a:pt x="17553" y="1885"/>
                </a:cubicBezTo>
                <a:cubicBezTo>
                  <a:pt x="17577" y="1907"/>
                  <a:pt x="17732" y="1943"/>
                  <a:pt x="17751" y="1974"/>
                </a:cubicBezTo>
                <a:cubicBezTo>
                  <a:pt x="17758" y="1985"/>
                  <a:pt x="17743" y="2058"/>
                  <a:pt x="17751" y="2064"/>
                </a:cubicBezTo>
                <a:cubicBezTo>
                  <a:pt x="17775" y="2081"/>
                  <a:pt x="17868" y="2038"/>
                  <a:pt x="17883" y="2064"/>
                </a:cubicBezTo>
                <a:cubicBezTo>
                  <a:pt x="17890" y="2075"/>
                  <a:pt x="17875" y="2149"/>
                  <a:pt x="17883" y="2154"/>
                </a:cubicBezTo>
                <a:cubicBezTo>
                  <a:pt x="17908" y="2169"/>
                  <a:pt x="18000" y="2128"/>
                  <a:pt x="18016" y="2154"/>
                </a:cubicBezTo>
                <a:cubicBezTo>
                  <a:pt x="18063" y="2231"/>
                  <a:pt x="18163" y="2222"/>
                  <a:pt x="18347" y="2334"/>
                </a:cubicBezTo>
                <a:cubicBezTo>
                  <a:pt x="18377" y="2352"/>
                  <a:pt x="18342" y="2418"/>
                  <a:pt x="18413" y="2423"/>
                </a:cubicBezTo>
                <a:cubicBezTo>
                  <a:pt x="18427" y="2424"/>
                  <a:pt x="18576" y="2488"/>
                  <a:pt x="18612" y="2513"/>
                </a:cubicBezTo>
                <a:cubicBezTo>
                  <a:pt x="18631" y="2526"/>
                  <a:pt x="18595" y="2671"/>
                  <a:pt x="18612" y="2692"/>
                </a:cubicBezTo>
                <a:cubicBezTo>
                  <a:pt x="18654" y="2749"/>
                  <a:pt x="18840" y="2632"/>
                  <a:pt x="18876" y="2692"/>
                </a:cubicBezTo>
                <a:cubicBezTo>
                  <a:pt x="18926" y="2775"/>
                  <a:pt x="19014" y="2868"/>
                  <a:pt x="19142" y="2962"/>
                </a:cubicBezTo>
                <a:cubicBezTo>
                  <a:pt x="19205" y="3008"/>
                  <a:pt x="19263" y="3136"/>
                  <a:pt x="19339" y="3141"/>
                </a:cubicBezTo>
                <a:cubicBezTo>
                  <a:pt x="19436" y="3148"/>
                  <a:pt x="19483" y="3312"/>
                  <a:pt x="19605" y="3321"/>
                </a:cubicBezTo>
                <a:cubicBezTo>
                  <a:pt x="19705" y="3328"/>
                  <a:pt x="19800" y="3585"/>
                  <a:pt x="19936" y="3770"/>
                </a:cubicBezTo>
                <a:cubicBezTo>
                  <a:pt x="20039" y="3910"/>
                  <a:pt x="20191" y="4018"/>
                  <a:pt x="20267" y="4128"/>
                </a:cubicBezTo>
                <a:cubicBezTo>
                  <a:pt x="20287" y="4158"/>
                  <a:pt x="20244" y="4283"/>
                  <a:pt x="20267" y="4309"/>
                </a:cubicBezTo>
                <a:cubicBezTo>
                  <a:pt x="20299" y="4344"/>
                  <a:pt x="20370" y="4356"/>
                  <a:pt x="20399" y="4398"/>
                </a:cubicBezTo>
                <a:cubicBezTo>
                  <a:pt x="20441" y="4458"/>
                  <a:pt x="20491" y="4518"/>
                  <a:pt x="20532" y="4577"/>
                </a:cubicBezTo>
                <a:cubicBezTo>
                  <a:pt x="20615" y="4697"/>
                  <a:pt x="20750" y="4847"/>
                  <a:pt x="20797" y="4937"/>
                </a:cubicBezTo>
                <a:cubicBezTo>
                  <a:pt x="20852" y="5041"/>
                  <a:pt x="20819" y="5174"/>
                  <a:pt x="20862" y="5295"/>
                </a:cubicBezTo>
                <a:cubicBezTo>
                  <a:pt x="20879" y="5339"/>
                  <a:pt x="20925" y="5286"/>
                  <a:pt x="20929" y="5385"/>
                </a:cubicBezTo>
                <a:cubicBezTo>
                  <a:pt x="20933" y="5504"/>
                  <a:pt x="21057" y="5525"/>
                  <a:pt x="21062" y="5654"/>
                </a:cubicBezTo>
                <a:cubicBezTo>
                  <a:pt x="21063" y="5699"/>
                  <a:pt x="21111" y="5781"/>
                  <a:pt x="21128" y="5834"/>
                </a:cubicBezTo>
                <a:cubicBezTo>
                  <a:pt x="21251" y="6226"/>
                  <a:pt x="21365" y="6642"/>
                  <a:pt x="21459" y="7180"/>
                </a:cubicBezTo>
                <a:cubicBezTo>
                  <a:pt x="21573" y="7835"/>
                  <a:pt x="21569" y="8949"/>
                  <a:pt x="21459" y="9782"/>
                </a:cubicBezTo>
                <a:cubicBezTo>
                  <a:pt x="21460" y="9772"/>
                  <a:pt x="21400" y="9830"/>
                  <a:pt x="21392" y="9873"/>
                </a:cubicBezTo>
                <a:cubicBezTo>
                  <a:pt x="21374" y="9968"/>
                  <a:pt x="21433" y="10212"/>
                  <a:pt x="21392" y="10410"/>
                </a:cubicBezTo>
                <a:cubicBezTo>
                  <a:pt x="21387" y="10435"/>
                  <a:pt x="21329" y="10417"/>
                  <a:pt x="21326" y="10500"/>
                </a:cubicBezTo>
                <a:cubicBezTo>
                  <a:pt x="21323" y="10576"/>
                  <a:pt x="21250" y="10830"/>
                  <a:pt x="21194" y="10949"/>
                </a:cubicBezTo>
                <a:cubicBezTo>
                  <a:pt x="21148" y="11047"/>
                  <a:pt x="21088" y="11380"/>
                  <a:pt x="20995" y="11577"/>
                </a:cubicBezTo>
                <a:cubicBezTo>
                  <a:pt x="20946" y="11681"/>
                  <a:pt x="20978" y="11798"/>
                  <a:pt x="20929" y="11936"/>
                </a:cubicBezTo>
                <a:cubicBezTo>
                  <a:pt x="20914" y="11980"/>
                  <a:pt x="20810" y="11990"/>
                  <a:pt x="20797" y="12026"/>
                </a:cubicBezTo>
                <a:cubicBezTo>
                  <a:pt x="20751" y="12147"/>
                  <a:pt x="20780" y="12264"/>
                  <a:pt x="20730" y="12385"/>
                </a:cubicBezTo>
                <a:cubicBezTo>
                  <a:pt x="20710" y="12433"/>
                  <a:pt x="20668" y="12373"/>
                  <a:pt x="20664" y="12475"/>
                </a:cubicBezTo>
                <a:cubicBezTo>
                  <a:pt x="20659" y="12594"/>
                  <a:pt x="20537" y="12615"/>
                  <a:pt x="20532" y="12744"/>
                </a:cubicBezTo>
                <a:cubicBezTo>
                  <a:pt x="20531" y="12773"/>
                  <a:pt x="20481" y="12890"/>
                  <a:pt x="20466" y="12924"/>
                </a:cubicBezTo>
                <a:cubicBezTo>
                  <a:pt x="20287" y="13302"/>
                  <a:pt x="20063" y="13660"/>
                  <a:pt x="19869" y="14001"/>
                </a:cubicBezTo>
                <a:cubicBezTo>
                  <a:pt x="19769" y="14178"/>
                  <a:pt x="19710" y="14377"/>
                  <a:pt x="19605" y="14539"/>
                </a:cubicBezTo>
                <a:cubicBezTo>
                  <a:pt x="19504" y="14694"/>
                  <a:pt x="19379" y="14830"/>
                  <a:pt x="19274" y="14988"/>
                </a:cubicBezTo>
                <a:cubicBezTo>
                  <a:pt x="19056" y="15317"/>
                  <a:pt x="18854" y="15660"/>
                  <a:pt x="18612" y="15975"/>
                </a:cubicBezTo>
                <a:cubicBezTo>
                  <a:pt x="18389" y="16266"/>
                  <a:pt x="18135" y="16502"/>
                  <a:pt x="17883" y="16783"/>
                </a:cubicBezTo>
                <a:cubicBezTo>
                  <a:pt x="17800" y="16876"/>
                  <a:pt x="17777" y="16957"/>
                  <a:pt x="17685" y="17052"/>
                </a:cubicBezTo>
                <a:cubicBezTo>
                  <a:pt x="17635" y="17103"/>
                  <a:pt x="17512" y="17314"/>
                  <a:pt x="17420" y="17321"/>
                </a:cubicBezTo>
                <a:cubicBezTo>
                  <a:pt x="17402" y="17323"/>
                  <a:pt x="17308" y="17391"/>
                  <a:pt x="17288" y="17411"/>
                </a:cubicBezTo>
                <a:cubicBezTo>
                  <a:pt x="17265" y="17434"/>
                  <a:pt x="17242" y="17578"/>
                  <a:pt x="17222" y="17590"/>
                </a:cubicBezTo>
                <a:cubicBezTo>
                  <a:pt x="17093" y="17669"/>
                  <a:pt x="17010" y="17653"/>
                  <a:pt x="16891" y="17770"/>
                </a:cubicBezTo>
                <a:cubicBezTo>
                  <a:pt x="16868" y="17792"/>
                  <a:pt x="16845" y="17937"/>
                  <a:pt x="16824" y="17950"/>
                </a:cubicBezTo>
                <a:cubicBezTo>
                  <a:pt x="16791" y="17970"/>
                  <a:pt x="16721" y="17922"/>
                  <a:pt x="16692" y="17950"/>
                </a:cubicBezTo>
                <a:cubicBezTo>
                  <a:pt x="16668" y="17972"/>
                  <a:pt x="16646" y="18116"/>
                  <a:pt x="16626" y="18129"/>
                </a:cubicBezTo>
                <a:cubicBezTo>
                  <a:pt x="16592" y="18150"/>
                  <a:pt x="16524" y="18101"/>
                  <a:pt x="16493" y="18129"/>
                </a:cubicBezTo>
                <a:cubicBezTo>
                  <a:pt x="16469" y="18151"/>
                  <a:pt x="16448" y="18295"/>
                  <a:pt x="16427" y="18308"/>
                </a:cubicBezTo>
                <a:cubicBezTo>
                  <a:pt x="16347" y="18358"/>
                  <a:pt x="16233" y="18326"/>
                  <a:pt x="16162" y="18398"/>
                </a:cubicBezTo>
                <a:cubicBezTo>
                  <a:pt x="16138" y="18423"/>
                  <a:pt x="16119" y="18562"/>
                  <a:pt x="16097" y="18578"/>
                </a:cubicBezTo>
                <a:cubicBezTo>
                  <a:pt x="15995" y="18647"/>
                  <a:pt x="15913" y="18605"/>
                  <a:pt x="15831" y="18667"/>
                </a:cubicBezTo>
                <a:cubicBezTo>
                  <a:pt x="15796" y="18694"/>
                  <a:pt x="15840" y="18752"/>
                  <a:pt x="15765" y="18757"/>
                </a:cubicBezTo>
                <a:cubicBezTo>
                  <a:pt x="15677" y="18764"/>
                  <a:pt x="15661" y="18930"/>
                  <a:pt x="15567" y="18936"/>
                </a:cubicBezTo>
                <a:cubicBezTo>
                  <a:pt x="15455" y="18945"/>
                  <a:pt x="15494" y="18986"/>
                  <a:pt x="15434" y="19026"/>
                </a:cubicBezTo>
                <a:cubicBezTo>
                  <a:pt x="15343" y="19089"/>
                  <a:pt x="15265" y="19054"/>
                  <a:pt x="15169" y="19117"/>
                </a:cubicBezTo>
                <a:cubicBezTo>
                  <a:pt x="15137" y="19138"/>
                  <a:pt x="15176" y="19200"/>
                  <a:pt x="15103" y="19205"/>
                </a:cubicBezTo>
                <a:cubicBezTo>
                  <a:pt x="15072" y="19208"/>
                  <a:pt x="15007" y="19273"/>
                  <a:pt x="14971" y="19295"/>
                </a:cubicBezTo>
                <a:cubicBezTo>
                  <a:pt x="14801" y="19402"/>
                  <a:pt x="14670" y="19464"/>
                  <a:pt x="14507" y="19565"/>
                </a:cubicBezTo>
                <a:cubicBezTo>
                  <a:pt x="14476" y="19584"/>
                  <a:pt x="14513" y="19650"/>
                  <a:pt x="14441" y="19655"/>
                </a:cubicBezTo>
                <a:cubicBezTo>
                  <a:pt x="14307" y="19664"/>
                  <a:pt x="14232" y="19729"/>
                  <a:pt x="14110" y="19834"/>
                </a:cubicBezTo>
                <a:cubicBezTo>
                  <a:pt x="14061" y="19876"/>
                  <a:pt x="13916" y="19950"/>
                  <a:pt x="13779" y="20014"/>
                </a:cubicBezTo>
                <a:cubicBezTo>
                  <a:pt x="13715" y="20043"/>
                  <a:pt x="13608" y="20054"/>
                  <a:pt x="13514" y="20103"/>
                </a:cubicBezTo>
                <a:cubicBezTo>
                  <a:pt x="13431" y="20147"/>
                  <a:pt x="13402" y="20235"/>
                  <a:pt x="13316" y="20283"/>
                </a:cubicBezTo>
                <a:cubicBezTo>
                  <a:pt x="13171" y="20363"/>
                  <a:pt x="13065" y="20336"/>
                  <a:pt x="12918" y="20463"/>
                </a:cubicBezTo>
                <a:cubicBezTo>
                  <a:pt x="12849" y="20523"/>
                  <a:pt x="12646" y="20472"/>
                  <a:pt x="12588" y="20551"/>
                </a:cubicBezTo>
                <a:cubicBezTo>
                  <a:pt x="12581" y="20560"/>
                  <a:pt x="12594" y="20639"/>
                  <a:pt x="12588" y="20642"/>
                </a:cubicBezTo>
                <a:cubicBezTo>
                  <a:pt x="12408" y="20718"/>
                  <a:pt x="12179" y="20751"/>
                  <a:pt x="11991" y="20821"/>
                </a:cubicBezTo>
                <a:cubicBezTo>
                  <a:pt x="11526" y="20996"/>
                  <a:pt x="10924" y="21150"/>
                  <a:pt x="10336" y="21270"/>
                </a:cubicBezTo>
                <a:cubicBezTo>
                  <a:pt x="10282" y="21282"/>
                  <a:pt x="10271" y="21365"/>
                  <a:pt x="10204" y="21360"/>
                </a:cubicBezTo>
                <a:cubicBezTo>
                  <a:pt x="10213" y="21361"/>
                  <a:pt x="10179" y="21273"/>
                  <a:pt x="10138" y="21270"/>
                </a:cubicBezTo>
                <a:cubicBezTo>
                  <a:pt x="10050" y="21264"/>
                  <a:pt x="9723" y="21440"/>
                  <a:pt x="9542" y="21449"/>
                </a:cubicBezTo>
                <a:cubicBezTo>
                  <a:pt x="9489" y="21452"/>
                  <a:pt x="9477" y="21349"/>
                  <a:pt x="9410" y="21360"/>
                </a:cubicBezTo>
                <a:cubicBezTo>
                  <a:pt x="9362" y="21368"/>
                  <a:pt x="9344" y="21449"/>
                  <a:pt x="9344" y="21449"/>
                </a:cubicBezTo>
                <a:cubicBezTo>
                  <a:pt x="8924" y="21485"/>
                  <a:pt x="8303" y="21591"/>
                  <a:pt x="7887" y="21449"/>
                </a:cubicBezTo>
                <a:cubicBezTo>
                  <a:pt x="7848" y="21436"/>
                  <a:pt x="7819" y="21359"/>
                  <a:pt x="7821" y="21360"/>
                </a:cubicBezTo>
                <a:cubicBezTo>
                  <a:pt x="7742" y="21345"/>
                  <a:pt x="7783" y="21442"/>
                  <a:pt x="7755" y="21449"/>
                </a:cubicBezTo>
                <a:cubicBezTo>
                  <a:pt x="7908" y="21408"/>
                  <a:pt x="7304" y="21381"/>
                  <a:pt x="7291" y="21360"/>
                </a:cubicBezTo>
                <a:cubicBezTo>
                  <a:pt x="7232" y="21261"/>
                  <a:pt x="7229" y="21368"/>
                  <a:pt x="7093" y="21360"/>
                </a:cubicBezTo>
                <a:cubicBezTo>
                  <a:pt x="7044" y="21357"/>
                  <a:pt x="6976" y="21285"/>
                  <a:pt x="6894" y="21270"/>
                </a:cubicBezTo>
                <a:cubicBezTo>
                  <a:pt x="6834" y="21259"/>
                  <a:pt x="6845" y="21185"/>
                  <a:pt x="6828" y="21181"/>
                </a:cubicBezTo>
                <a:cubicBezTo>
                  <a:pt x="6814" y="21177"/>
                  <a:pt x="6669" y="21336"/>
                  <a:pt x="6629" y="21270"/>
                </a:cubicBezTo>
                <a:cubicBezTo>
                  <a:pt x="6540" y="21122"/>
                  <a:pt x="6015" y="21090"/>
                  <a:pt x="5768" y="21001"/>
                </a:cubicBezTo>
                <a:cubicBezTo>
                  <a:pt x="5765" y="21000"/>
                  <a:pt x="5743" y="20925"/>
                  <a:pt x="5702" y="20911"/>
                </a:cubicBezTo>
                <a:cubicBezTo>
                  <a:pt x="5606" y="20878"/>
                  <a:pt x="5482" y="20876"/>
                  <a:pt x="5371" y="20821"/>
                </a:cubicBezTo>
                <a:cubicBezTo>
                  <a:pt x="5265" y="20768"/>
                  <a:pt x="5162" y="20701"/>
                  <a:pt x="5040" y="20642"/>
                </a:cubicBezTo>
                <a:cubicBezTo>
                  <a:pt x="5076" y="20659"/>
                  <a:pt x="5002" y="20739"/>
                  <a:pt x="4974" y="20732"/>
                </a:cubicBezTo>
                <a:cubicBezTo>
                  <a:pt x="5005" y="20739"/>
                  <a:pt x="4909" y="20642"/>
                  <a:pt x="4908" y="20642"/>
                </a:cubicBezTo>
                <a:cubicBezTo>
                  <a:pt x="4869" y="20611"/>
                  <a:pt x="4810" y="20485"/>
                  <a:pt x="4775" y="20463"/>
                </a:cubicBezTo>
                <a:cubicBezTo>
                  <a:pt x="4708" y="20418"/>
                  <a:pt x="4572" y="20517"/>
                  <a:pt x="4511" y="20463"/>
                </a:cubicBezTo>
                <a:cubicBezTo>
                  <a:pt x="4466" y="20422"/>
                  <a:pt x="4514" y="20327"/>
                  <a:pt x="4444" y="20283"/>
                </a:cubicBezTo>
                <a:cubicBezTo>
                  <a:pt x="4409" y="20260"/>
                  <a:pt x="4350" y="20296"/>
                  <a:pt x="4312" y="20283"/>
                </a:cubicBezTo>
                <a:cubicBezTo>
                  <a:pt x="4241" y="20259"/>
                  <a:pt x="4262" y="20131"/>
                  <a:pt x="4179" y="20103"/>
                </a:cubicBezTo>
                <a:cubicBezTo>
                  <a:pt x="4143" y="20091"/>
                  <a:pt x="4081" y="20126"/>
                  <a:pt x="4047" y="20103"/>
                </a:cubicBezTo>
                <a:cubicBezTo>
                  <a:pt x="3976" y="20055"/>
                  <a:pt x="3968" y="19973"/>
                  <a:pt x="3914" y="19924"/>
                </a:cubicBezTo>
                <a:cubicBezTo>
                  <a:pt x="3891" y="19901"/>
                  <a:pt x="3800" y="19953"/>
                  <a:pt x="3782" y="19924"/>
                </a:cubicBezTo>
                <a:cubicBezTo>
                  <a:pt x="3728" y="19834"/>
                  <a:pt x="3661" y="19805"/>
                  <a:pt x="3584" y="19744"/>
                </a:cubicBezTo>
                <a:cubicBezTo>
                  <a:pt x="3535" y="19707"/>
                  <a:pt x="3485" y="19586"/>
                  <a:pt x="3451" y="19565"/>
                </a:cubicBezTo>
                <a:cubicBezTo>
                  <a:pt x="3380" y="19519"/>
                  <a:pt x="3404" y="19649"/>
                  <a:pt x="3386" y="19655"/>
                </a:cubicBezTo>
                <a:cubicBezTo>
                  <a:pt x="3350" y="19665"/>
                  <a:pt x="3223" y="19506"/>
                  <a:pt x="3186" y="19475"/>
                </a:cubicBezTo>
                <a:cubicBezTo>
                  <a:pt x="3146" y="19440"/>
                  <a:pt x="3091" y="19323"/>
                  <a:pt x="3054" y="19295"/>
                </a:cubicBezTo>
                <a:cubicBezTo>
                  <a:pt x="3030" y="19277"/>
                  <a:pt x="2938" y="19323"/>
                  <a:pt x="2922" y="19295"/>
                </a:cubicBezTo>
                <a:cubicBezTo>
                  <a:pt x="2891" y="19245"/>
                  <a:pt x="2956" y="19073"/>
                  <a:pt x="2922" y="19026"/>
                </a:cubicBezTo>
                <a:cubicBezTo>
                  <a:pt x="2866" y="18952"/>
                  <a:pt x="2632" y="19120"/>
                  <a:pt x="2657" y="18936"/>
                </a:cubicBezTo>
                <a:close/>
                <a:moveTo>
                  <a:pt x="2657" y="18936"/>
                </a:moveTo>
              </a:path>
            </a:pathLst>
          </a:custGeom>
          <a:solidFill>
            <a:srgbClr val="C00000"/>
          </a:solidFill>
          <a:ln>
            <a:solidFill>
              <a:srgbClr val="C00000"/>
            </a:solidFill>
          </a:ln>
          <a:extLst>
            <a:ext uri="{91240B29-F687-4f45-9708-019B960494DF}">
              <a14:hiddenLine xmlns="" xmlns:a14="http://schemas.microsoft.com/office/drawing/2010/main" w="12700" cap="flat">
                <a:solidFill>
                  <a:schemeClr val="tx1"/>
                </a:solidFill>
                <a:miter lim="800000"/>
                <a:headEnd type="none" w="med" len="med"/>
                <a:tailEnd type="none" w="med" len="med"/>
              </a14:hiddenLine>
            </a:ext>
          </a:extLst>
        </p:spPr>
        <p:txBody>
          <a:bodyPr lIns="0" tIns="0" rIns="0" bIns="0"/>
          <a:lstStyle/>
          <a:p>
            <a:endParaRPr lang="en-US"/>
          </a:p>
        </p:txBody>
      </p:sp>
      <p:sp>
        <p:nvSpPr>
          <p:cNvPr id="54" name="AutoShape 1">
            <a:extLst>
              <a:ext uri="{FF2B5EF4-FFF2-40B4-BE49-F238E27FC236}">
                <a16:creationId xmlns:a16="http://schemas.microsoft.com/office/drawing/2014/main" id="{AC7448E4-460D-CE44-82A2-49D723750B58}"/>
              </a:ext>
            </a:extLst>
          </p:cNvPr>
          <p:cNvSpPr>
            <a:spLocks/>
          </p:cNvSpPr>
          <p:nvPr/>
        </p:nvSpPr>
        <p:spPr bwMode="auto">
          <a:xfrm>
            <a:off x="4037018" y="1448058"/>
            <a:ext cx="1171575" cy="508000"/>
          </a:xfrm>
          <a:custGeom>
            <a:avLst/>
            <a:gdLst/>
            <a:ahLst/>
            <a:cxnLst/>
            <a:rect l="0" t="0" r="r" b="b"/>
            <a:pathLst>
              <a:path w="14442" h="16863">
                <a:moveTo>
                  <a:pt x="4783" y="1619"/>
                </a:moveTo>
                <a:cubicBezTo>
                  <a:pt x="7650" y="-3208"/>
                  <a:pt x="18459" y="3362"/>
                  <a:pt x="12855" y="13385"/>
                </a:cubicBezTo>
                <a:cubicBezTo>
                  <a:pt x="10056" y="18392"/>
                  <a:pt x="3590" y="17937"/>
                  <a:pt x="959" y="12386"/>
                </a:cubicBezTo>
                <a:cubicBezTo>
                  <a:pt x="-3141" y="3737"/>
                  <a:pt x="7079" y="-2447"/>
                  <a:pt x="9718" y="1479"/>
                </a:cubicBezTo>
              </a:path>
            </a:pathLst>
          </a:custGeom>
          <a:noFill/>
          <a:ln w="12700" cap="flat">
            <a:solidFill>
              <a:srgbClr val="C00000"/>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endParaRPr lang="en-US"/>
          </a:p>
        </p:txBody>
      </p:sp>
      <p:sp>
        <p:nvSpPr>
          <p:cNvPr id="55" name="AutoShape 1">
            <a:extLst>
              <a:ext uri="{FF2B5EF4-FFF2-40B4-BE49-F238E27FC236}">
                <a16:creationId xmlns:a16="http://schemas.microsoft.com/office/drawing/2014/main" id="{086A8ECE-BC11-6F41-BD25-DC04BC266574}"/>
              </a:ext>
            </a:extLst>
          </p:cNvPr>
          <p:cNvSpPr>
            <a:spLocks/>
          </p:cNvSpPr>
          <p:nvPr/>
        </p:nvSpPr>
        <p:spPr bwMode="auto">
          <a:xfrm>
            <a:off x="2274249" y="1219320"/>
            <a:ext cx="1280856" cy="736738"/>
          </a:xfrm>
          <a:custGeom>
            <a:avLst/>
            <a:gdLst/>
            <a:ahLst/>
            <a:cxnLst/>
            <a:rect l="0" t="0" r="r" b="b"/>
            <a:pathLst>
              <a:path w="21044" h="16515">
                <a:moveTo>
                  <a:pt x="5828" y="630"/>
                </a:moveTo>
                <a:cubicBezTo>
                  <a:pt x="7360" y="426"/>
                  <a:pt x="20651" y="-362"/>
                  <a:pt x="21033" y="7379"/>
                </a:cubicBezTo>
                <a:cubicBezTo>
                  <a:pt x="21598" y="18818"/>
                  <a:pt x="3" y="20512"/>
                  <a:pt x="0" y="6716"/>
                </a:cubicBezTo>
                <a:cubicBezTo>
                  <a:pt x="-2" y="-352"/>
                  <a:pt x="9750" y="-1088"/>
                  <a:pt x="11903" y="1072"/>
                </a:cubicBezTo>
              </a:path>
            </a:pathLst>
          </a:custGeom>
          <a:noFill/>
          <a:ln w="12700" cap="flat">
            <a:solidFill>
              <a:srgbClr val="C00000"/>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endParaRPr lang="en-US"/>
          </a:p>
        </p:txBody>
      </p:sp>
      <p:grpSp>
        <p:nvGrpSpPr>
          <p:cNvPr id="14" name="Group 13">
            <a:extLst>
              <a:ext uri="{FF2B5EF4-FFF2-40B4-BE49-F238E27FC236}">
                <a16:creationId xmlns:a16="http://schemas.microsoft.com/office/drawing/2014/main" id="{1D2D3730-7801-5743-9C40-20131F4B0E1D}"/>
              </a:ext>
            </a:extLst>
          </p:cNvPr>
          <p:cNvGrpSpPr/>
          <p:nvPr/>
        </p:nvGrpSpPr>
        <p:grpSpPr>
          <a:xfrm>
            <a:off x="8409449" y="1122620"/>
            <a:ext cx="3514802" cy="2819400"/>
            <a:chOff x="365985" y="1126958"/>
            <a:chExt cx="4273214" cy="3427761"/>
          </a:xfrm>
        </p:grpSpPr>
        <p:sp>
          <p:nvSpPr>
            <p:cNvPr id="56" name="AutoShape 1">
              <a:extLst>
                <a:ext uri="{FF2B5EF4-FFF2-40B4-BE49-F238E27FC236}">
                  <a16:creationId xmlns:a16="http://schemas.microsoft.com/office/drawing/2014/main" id="{549195AB-51D3-8B42-9FCB-F03B85D0E620}"/>
                </a:ext>
              </a:extLst>
            </p:cNvPr>
            <p:cNvSpPr>
              <a:spLocks/>
            </p:cNvSpPr>
            <p:nvPr/>
          </p:nvSpPr>
          <p:spPr bwMode="auto">
            <a:xfrm>
              <a:off x="365985" y="1495260"/>
              <a:ext cx="1244600" cy="269875"/>
            </a:xfrm>
            <a:custGeom>
              <a:avLst/>
              <a:gdLst/>
              <a:ahLst/>
              <a:cxnLst/>
              <a:rect l="0" t="0" r="r" b="b"/>
              <a:pathLst>
                <a:path w="21589" h="21534">
                  <a:moveTo>
                    <a:pt x="4213" y="149"/>
                  </a:moveTo>
                  <a:cubicBezTo>
                    <a:pt x="5030" y="239"/>
                    <a:pt x="5776" y="162"/>
                    <a:pt x="6614" y="290"/>
                  </a:cubicBezTo>
                  <a:cubicBezTo>
                    <a:pt x="7138" y="369"/>
                    <a:pt x="7735" y="209"/>
                    <a:pt x="8291" y="337"/>
                  </a:cubicBezTo>
                  <a:cubicBezTo>
                    <a:pt x="8854" y="467"/>
                    <a:pt x="9358" y="290"/>
                    <a:pt x="9937" y="290"/>
                  </a:cubicBezTo>
                  <a:cubicBezTo>
                    <a:pt x="11112" y="290"/>
                    <a:pt x="12382" y="320"/>
                    <a:pt x="13412" y="149"/>
                  </a:cubicBezTo>
                  <a:cubicBezTo>
                    <a:pt x="14009" y="191"/>
                    <a:pt x="14937" y="258"/>
                    <a:pt x="15476" y="196"/>
                  </a:cubicBezTo>
                  <a:cubicBezTo>
                    <a:pt x="16913" y="33"/>
                    <a:pt x="18460" y="170"/>
                    <a:pt x="19719" y="56"/>
                  </a:cubicBezTo>
                  <a:cubicBezTo>
                    <a:pt x="20252" y="6"/>
                    <a:pt x="20732" y="-12"/>
                    <a:pt x="21201" y="8"/>
                  </a:cubicBezTo>
                  <a:cubicBezTo>
                    <a:pt x="21244" y="80"/>
                    <a:pt x="21176" y="185"/>
                    <a:pt x="21211" y="337"/>
                  </a:cubicBezTo>
                  <a:cubicBezTo>
                    <a:pt x="21239" y="708"/>
                    <a:pt x="21357" y="636"/>
                    <a:pt x="21343" y="992"/>
                  </a:cubicBezTo>
                  <a:cubicBezTo>
                    <a:pt x="21394" y="913"/>
                    <a:pt x="21302" y="1140"/>
                    <a:pt x="21302" y="1273"/>
                  </a:cubicBezTo>
                  <a:cubicBezTo>
                    <a:pt x="21297" y="1552"/>
                    <a:pt x="21369" y="1467"/>
                    <a:pt x="21374" y="1696"/>
                  </a:cubicBezTo>
                  <a:cubicBezTo>
                    <a:pt x="21365" y="1985"/>
                    <a:pt x="21322" y="2110"/>
                    <a:pt x="21282" y="2257"/>
                  </a:cubicBezTo>
                  <a:cubicBezTo>
                    <a:pt x="21339" y="2516"/>
                    <a:pt x="21452" y="2511"/>
                    <a:pt x="21528" y="2680"/>
                  </a:cubicBezTo>
                  <a:cubicBezTo>
                    <a:pt x="21432" y="2912"/>
                    <a:pt x="21351" y="3214"/>
                    <a:pt x="21323" y="3757"/>
                  </a:cubicBezTo>
                  <a:cubicBezTo>
                    <a:pt x="21361" y="4016"/>
                    <a:pt x="21390" y="4061"/>
                    <a:pt x="21456" y="4320"/>
                  </a:cubicBezTo>
                  <a:cubicBezTo>
                    <a:pt x="21428" y="4579"/>
                    <a:pt x="21379" y="4744"/>
                    <a:pt x="21334" y="4928"/>
                  </a:cubicBezTo>
                  <a:cubicBezTo>
                    <a:pt x="21397" y="5029"/>
                    <a:pt x="21309" y="5189"/>
                    <a:pt x="21272" y="5350"/>
                  </a:cubicBezTo>
                  <a:cubicBezTo>
                    <a:pt x="21306" y="5622"/>
                    <a:pt x="21359" y="5707"/>
                    <a:pt x="21323" y="5960"/>
                  </a:cubicBezTo>
                  <a:cubicBezTo>
                    <a:pt x="21397" y="6197"/>
                    <a:pt x="21512" y="6249"/>
                    <a:pt x="21569" y="6569"/>
                  </a:cubicBezTo>
                  <a:cubicBezTo>
                    <a:pt x="21526" y="7124"/>
                    <a:pt x="21378" y="7191"/>
                    <a:pt x="21293" y="7552"/>
                  </a:cubicBezTo>
                  <a:cubicBezTo>
                    <a:pt x="21304" y="8438"/>
                    <a:pt x="21342" y="9117"/>
                    <a:pt x="21416" y="9803"/>
                  </a:cubicBezTo>
                  <a:cubicBezTo>
                    <a:pt x="21451" y="10140"/>
                    <a:pt x="21516" y="10379"/>
                    <a:pt x="21497" y="10880"/>
                  </a:cubicBezTo>
                  <a:cubicBezTo>
                    <a:pt x="21314" y="11586"/>
                    <a:pt x="21241" y="11734"/>
                    <a:pt x="21037" y="12333"/>
                  </a:cubicBezTo>
                  <a:cubicBezTo>
                    <a:pt x="21043" y="12477"/>
                    <a:pt x="21074" y="12753"/>
                    <a:pt x="21088" y="12706"/>
                  </a:cubicBezTo>
                  <a:cubicBezTo>
                    <a:pt x="21051" y="13123"/>
                    <a:pt x="21193" y="14232"/>
                    <a:pt x="21078" y="14581"/>
                  </a:cubicBezTo>
                  <a:cubicBezTo>
                    <a:pt x="21111" y="14915"/>
                    <a:pt x="21139" y="15272"/>
                    <a:pt x="21160" y="15658"/>
                  </a:cubicBezTo>
                  <a:cubicBezTo>
                    <a:pt x="21231" y="15817"/>
                    <a:pt x="21291" y="16173"/>
                    <a:pt x="21384" y="16456"/>
                  </a:cubicBezTo>
                  <a:cubicBezTo>
                    <a:pt x="21348" y="16764"/>
                    <a:pt x="21422" y="16882"/>
                    <a:pt x="21446" y="17158"/>
                  </a:cubicBezTo>
                  <a:cubicBezTo>
                    <a:pt x="21456" y="17279"/>
                    <a:pt x="21440" y="17397"/>
                    <a:pt x="21446" y="17534"/>
                  </a:cubicBezTo>
                  <a:cubicBezTo>
                    <a:pt x="21462" y="17903"/>
                    <a:pt x="21530" y="18455"/>
                    <a:pt x="21589" y="18564"/>
                  </a:cubicBezTo>
                  <a:cubicBezTo>
                    <a:pt x="21484" y="18900"/>
                    <a:pt x="21520" y="19202"/>
                    <a:pt x="21507" y="19876"/>
                  </a:cubicBezTo>
                  <a:cubicBezTo>
                    <a:pt x="21351" y="20233"/>
                    <a:pt x="21176" y="20223"/>
                    <a:pt x="21017" y="20345"/>
                  </a:cubicBezTo>
                  <a:cubicBezTo>
                    <a:pt x="20682" y="20598"/>
                    <a:pt x="20357" y="20955"/>
                    <a:pt x="20045" y="21047"/>
                  </a:cubicBezTo>
                  <a:cubicBezTo>
                    <a:pt x="19854" y="21105"/>
                    <a:pt x="19638" y="21111"/>
                    <a:pt x="19432" y="21188"/>
                  </a:cubicBezTo>
                  <a:cubicBezTo>
                    <a:pt x="18787" y="21430"/>
                    <a:pt x="18126" y="21166"/>
                    <a:pt x="17459" y="21282"/>
                  </a:cubicBezTo>
                  <a:cubicBezTo>
                    <a:pt x="16356" y="21475"/>
                    <a:pt x="15224" y="21451"/>
                    <a:pt x="13933" y="21423"/>
                  </a:cubicBezTo>
                  <a:cubicBezTo>
                    <a:pt x="13409" y="21411"/>
                    <a:pt x="12879" y="21513"/>
                    <a:pt x="12349" y="21517"/>
                  </a:cubicBezTo>
                  <a:cubicBezTo>
                    <a:pt x="12359" y="21517"/>
                    <a:pt x="12292" y="21430"/>
                    <a:pt x="12247" y="21423"/>
                  </a:cubicBezTo>
                  <a:cubicBezTo>
                    <a:pt x="11938" y="21365"/>
                    <a:pt x="11451" y="21471"/>
                    <a:pt x="11225" y="21423"/>
                  </a:cubicBezTo>
                  <a:cubicBezTo>
                    <a:pt x="10912" y="21355"/>
                    <a:pt x="10624" y="21440"/>
                    <a:pt x="10356" y="21470"/>
                  </a:cubicBezTo>
                  <a:cubicBezTo>
                    <a:pt x="9725" y="21539"/>
                    <a:pt x="9001" y="21588"/>
                    <a:pt x="8209" y="21423"/>
                  </a:cubicBezTo>
                  <a:cubicBezTo>
                    <a:pt x="7775" y="21333"/>
                    <a:pt x="7327" y="21466"/>
                    <a:pt x="6881" y="21376"/>
                  </a:cubicBezTo>
                  <a:cubicBezTo>
                    <a:pt x="5824" y="21164"/>
                    <a:pt x="4734" y="21442"/>
                    <a:pt x="3743" y="21235"/>
                  </a:cubicBezTo>
                  <a:cubicBezTo>
                    <a:pt x="3131" y="21108"/>
                    <a:pt x="2494" y="21216"/>
                    <a:pt x="1912" y="21282"/>
                  </a:cubicBezTo>
                  <a:cubicBezTo>
                    <a:pt x="1903" y="21148"/>
                    <a:pt x="1886" y="21162"/>
                    <a:pt x="1851" y="21141"/>
                  </a:cubicBezTo>
                  <a:cubicBezTo>
                    <a:pt x="1387" y="20867"/>
                    <a:pt x="962" y="21124"/>
                    <a:pt x="523" y="20674"/>
                  </a:cubicBezTo>
                  <a:cubicBezTo>
                    <a:pt x="352" y="20499"/>
                    <a:pt x="188" y="20231"/>
                    <a:pt x="52" y="19876"/>
                  </a:cubicBezTo>
                  <a:cubicBezTo>
                    <a:pt x="95" y="19609"/>
                    <a:pt x="17" y="19486"/>
                    <a:pt x="104" y="19221"/>
                  </a:cubicBezTo>
                  <a:cubicBezTo>
                    <a:pt x="90" y="19093"/>
                    <a:pt x="9" y="19029"/>
                    <a:pt x="1" y="19033"/>
                  </a:cubicBezTo>
                  <a:cubicBezTo>
                    <a:pt x="-11" y="18631"/>
                    <a:pt x="78" y="18596"/>
                    <a:pt x="104" y="18236"/>
                  </a:cubicBezTo>
                  <a:cubicBezTo>
                    <a:pt x="149" y="17586"/>
                    <a:pt x="54" y="16740"/>
                    <a:pt x="124" y="16409"/>
                  </a:cubicBezTo>
                  <a:cubicBezTo>
                    <a:pt x="140" y="16115"/>
                    <a:pt x="51" y="16057"/>
                    <a:pt x="83" y="15846"/>
                  </a:cubicBezTo>
                  <a:cubicBezTo>
                    <a:pt x="109" y="15706"/>
                    <a:pt x="162" y="15783"/>
                    <a:pt x="185" y="15471"/>
                  </a:cubicBezTo>
                  <a:cubicBezTo>
                    <a:pt x="226" y="14921"/>
                    <a:pt x="95" y="13498"/>
                    <a:pt x="144" y="13128"/>
                  </a:cubicBezTo>
                  <a:cubicBezTo>
                    <a:pt x="188" y="12565"/>
                    <a:pt x="278" y="12422"/>
                    <a:pt x="257" y="11628"/>
                  </a:cubicBezTo>
                  <a:cubicBezTo>
                    <a:pt x="302" y="11381"/>
                    <a:pt x="367" y="11384"/>
                    <a:pt x="389" y="10974"/>
                  </a:cubicBezTo>
                  <a:cubicBezTo>
                    <a:pt x="438" y="10929"/>
                    <a:pt x="475" y="11109"/>
                    <a:pt x="502" y="11020"/>
                  </a:cubicBezTo>
                  <a:cubicBezTo>
                    <a:pt x="592" y="10611"/>
                    <a:pt x="716" y="10438"/>
                    <a:pt x="778" y="9988"/>
                  </a:cubicBezTo>
                  <a:cubicBezTo>
                    <a:pt x="817" y="9711"/>
                    <a:pt x="804" y="9331"/>
                    <a:pt x="850" y="9004"/>
                  </a:cubicBezTo>
                  <a:cubicBezTo>
                    <a:pt x="884" y="8759"/>
                    <a:pt x="1030" y="8483"/>
                    <a:pt x="1116" y="8256"/>
                  </a:cubicBezTo>
                  <a:cubicBezTo>
                    <a:pt x="1215" y="7989"/>
                    <a:pt x="1304" y="7691"/>
                    <a:pt x="1360" y="7505"/>
                  </a:cubicBezTo>
                  <a:cubicBezTo>
                    <a:pt x="1607" y="6702"/>
                    <a:pt x="1890" y="5996"/>
                    <a:pt x="2158" y="5303"/>
                  </a:cubicBezTo>
                  <a:cubicBezTo>
                    <a:pt x="2242" y="5085"/>
                    <a:pt x="2299" y="4825"/>
                    <a:pt x="2373" y="4601"/>
                  </a:cubicBezTo>
                  <a:cubicBezTo>
                    <a:pt x="2558" y="4040"/>
                    <a:pt x="2743" y="3599"/>
                    <a:pt x="2945" y="3149"/>
                  </a:cubicBezTo>
                  <a:cubicBezTo>
                    <a:pt x="2945" y="3131"/>
                    <a:pt x="2945" y="3117"/>
                    <a:pt x="2945" y="3101"/>
                  </a:cubicBezTo>
                  <a:cubicBezTo>
                    <a:pt x="2902" y="3147"/>
                    <a:pt x="2942" y="2961"/>
                    <a:pt x="2945" y="3101"/>
                  </a:cubicBezTo>
                  <a:cubicBezTo>
                    <a:pt x="3040" y="2740"/>
                    <a:pt x="3158" y="2777"/>
                    <a:pt x="3313" y="2726"/>
                  </a:cubicBezTo>
                  <a:cubicBezTo>
                    <a:pt x="3570" y="2644"/>
                    <a:pt x="3789" y="2084"/>
                    <a:pt x="3998" y="1790"/>
                  </a:cubicBezTo>
                  <a:cubicBezTo>
                    <a:pt x="4100" y="1384"/>
                    <a:pt x="4118" y="588"/>
                    <a:pt x="4213" y="149"/>
                  </a:cubicBezTo>
                  <a:close/>
                  <a:moveTo>
                    <a:pt x="4213" y="149"/>
                  </a:moveTo>
                </a:path>
              </a:pathLst>
            </a:custGeom>
            <a:solidFill>
              <a:schemeClr val="accent1"/>
            </a:solidFill>
            <a:ln>
              <a:noFill/>
            </a:ln>
          </p:spPr>
          <p:txBody>
            <a:bodyPr lIns="0" tIns="0" rIns="0" bIns="0"/>
            <a:lstStyle/>
            <a:p>
              <a:endParaRPr lang="en-US"/>
            </a:p>
          </p:txBody>
        </p:sp>
        <p:sp>
          <p:nvSpPr>
            <p:cNvPr id="57" name="AutoShape 2">
              <a:extLst>
                <a:ext uri="{FF2B5EF4-FFF2-40B4-BE49-F238E27FC236}">
                  <a16:creationId xmlns:a16="http://schemas.microsoft.com/office/drawing/2014/main" id="{1FA3297E-0AD0-AE4B-B1FD-3DD25B874C72}"/>
                </a:ext>
              </a:extLst>
            </p:cNvPr>
            <p:cNvSpPr>
              <a:spLocks/>
            </p:cNvSpPr>
            <p:nvPr/>
          </p:nvSpPr>
          <p:spPr bwMode="auto">
            <a:xfrm>
              <a:off x="3394599" y="2710448"/>
              <a:ext cx="1244600" cy="269875"/>
            </a:xfrm>
            <a:custGeom>
              <a:avLst/>
              <a:gdLst/>
              <a:ahLst/>
              <a:cxnLst/>
              <a:rect l="0" t="0" r="r" b="b"/>
              <a:pathLst>
                <a:path w="21589" h="21534">
                  <a:moveTo>
                    <a:pt x="17376" y="21385"/>
                  </a:moveTo>
                  <a:cubicBezTo>
                    <a:pt x="16559" y="21295"/>
                    <a:pt x="15813" y="21371"/>
                    <a:pt x="14975" y="21244"/>
                  </a:cubicBezTo>
                  <a:cubicBezTo>
                    <a:pt x="14451" y="21165"/>
                    <a:pt x="13854" y="21325"/>
                    <a:pt x="13298" y="21197"/>
                  </a:cubicBezTo>
                  <a:cubicBezTo>
                    <a:pt x="12735" y="21067"/>
                    <a:pt x="12231" y="21244"/>
                    <a:pt x="11652" y="21244"/>
                  </a:cubicBezTo>
                  <a:cubicBezTo>
                    <a:pt x="10477" y="21244"/>
                    <a:pt x="9207" y="21214"/>
                    <a:pt x="8177" y="21385"/>
                  </a:cubicBezTo>
                  <a:cubicBezTo>
                    <a:pt x="7580" y="21343"/>
                    <a:pt x="6652" y="21276"/>
                    <a:pt x="6113" y="21338"/>
                  </a:cubicBezTo>
                  <a:cubicBezTo>
                    <a:pt x="4676" y="21501"/>
                    <a:pt x="3129" y="21364"/>
                    <a:pt x="1870" y="21478"/>
                  </a:cubicBezTo>
                  <a:cubicBezTo>
                    <a:pt x="1337" y="21528"/>
                    <a:pt x="857" y="21546"/>
                    <a:pt x="388" y="21526"/>
                  </a:cubicBezTo>
                  <a:cubicBezTo>
                    <a:pt x="345" y="21454"/>
                    <a:pt x="413" y="21349"/>
                    <a:pt x="378" y="21197"/>
                  </a:cubicBezTo>
                  <a:cubicBezTo>
                    <a:pt x="350" y="20826"/>
                    <a:pt x="232" y="20898"/>
                    <a:pt x="246" y="20542"/>
                  </a:cubicBezTo>
                  <a:cubicBezTo>
                    <a:pt x="195" y="20621"/>
                    <a:pt x="287" y="20394"/>
                    <a:pt x="287" y="20260"/>
                  </a:cubicBezTo>
                  <a:cubicBezTo>
                    <a:pt x="292" y="19982"/>
                    <a:pt x="219" y="20067"/>
                    <a:pt x="215" y="19838"/>
                  </a:cubicBezTo>
                  <a:cubicBezTo>
                    <a:pt x="224" y="19549"/>
                    <a:pt x="267" y="19424"/>
                    <a:pt x="307" y="19277"/>
                  </a:cubicBezTo>
                  <a:cubicBezTo>
                    <a:pt x="250" y="19018"/>
                    <a:pt x="137" y="19023"/>
                    <a:pt x="61" y="18854"/>
                  </a:cubicBezTo>
                  <a:cubicBezTo>
                    <a:pt x="157" y="18622"/>
                    <a:pt x="237" y="18320"/>
                    <a:pt x="266" y="17777"/>
                  </a:cubicBezTo>
                  <a:cubicBezTo>
                    <a:pt x="228" y="17518"/>
                    <a:pt x="199" y="17473"/>
                    <a:pt x="133" y="17214"/>
                  </a:cubicBezTo>
                  <a:cubicBezTo>
                    <a:pt x="161" y="16955"/>
                    <a:pt x="210" y="16790"/>
                    <a:pt x="255" y="16606"/>
                  </a:cubicBezTo>
                  <a:cubicBezTo>
                    <a:pt x="192" y="16505"/>
                    <a:pt x="280" y="16345"/>
                    <a:pt x="317" y="16184"/>
                  </a:cubicBezTo>
                  <a:cubicBezTo>
                    <a:pt x="283" y="15912"/>
                    <a:pt x="230" y="15827"/>
                    <a:pt x="266" y="15574"/>
                  </a:cubicBezTo>
                  <a:cubicBezTo>
                    <a:pt x="192" y="15337"/>
                    <a:pt x="77" y="15285"/>
                    <a:pt x="20" y="14965"/>
                  </a:cubicBezTo>
                  <a:cubicBezTo>
                    <a:pt x="63" y="14410"/>
                    <a:pt x="211" y="14343"/>
                    <a:pt x="296" y="13982"/>
                  </a:cubicBezTo>
                  <a:cubicBezTo>
                    <a:pt x="285" y="13096"/>
                    <a:pt x="247" y="12417"/>
                    <a:pt x="174" y="11731"/>
                  </a:cubicBezTo>
                  <a:cubicBezTo>
                    <a:pt x="138" y="11394"/>
                    <a:pt x="73" y="11155"/>
                    <a:pt x="92" y="10654"/>
                  </a:cubicBezTo>
                  <a:cubicBezTo>
                    <a:pt x="275" y="9948"/>
                    <a:pt x="348" y="9800"/>
                    <a:pt x="552" y="9201"/>
                  </a:cubicBezTo>
                  <a:cubicBezTo>
                    <a:pt x="546" y="9057"/>
                    <a:pt x="515" y="8781"/>
                    <a:pt x="501" y="8828"/>
                  </a:cubicBezTo>
                  <a:cubicBezTo>
                    <a:pt x="538" y="8411"/>
                    <a:pt x="396" y="7302"/>
                    <a:pt x="511" y="6953"/>
                  </a:cubicBezTo>
                  <a:cubicBezTo>
                    <a:pt x="478" y="6619"/>
                    <a:pt x="450" y="6262"/>
                    <a:pt x="429" y="5876"/>
                  </a:cubicBezTo>
                  <a:cubicBezTo>
                    <a:pt x="358" y="5717"/>
                    <a:pt x="298" y="5361"/>
                    <a:pt x="205" y="5078"/>
                  </a:cubicBezTo>
                  <a:cubicBezTo>
                    <a:pt x="241" y="4770"/>
                    <a:pt x="167" y="4652"/>
                    <a:pt x="143" y="4376"/>
                  </a:cubicBezTo>
                  <a:cubicBezTo>
                    <a:pt x="133" y="4255"/>
                    <a:pt x="149" y="4137"/>
                    <a:pt x="143" y="4000"/>
                  </a:cubicBezTo>
                  <a:cubicBezTo>
                    <a:pt x="127" y="3631"/>
                    <a:pt x="59" y="3079"/>
                    <a:pt x="0" y="2970"/>
                  </a:cubicBezTo>
                  <a:cubicBezTo>
                    <a:pt x="105" y="2634"/>
                    <a:pt x="69" y="2332"/>
                    <a:pt x="82" y="1658"/>
                  </a:cubicBezTo>
                  <a:cubicBezTo>
                    <a:pt x="237" y="1301"/>
                    <a:pt x="413" y="1311"/>
                    <a:pt x="572" y="1189"/>
                  </a:cubicBezTo>
                  <a:cubicBezTo>
                    <a:pt x="906" y="936"/>
                    <a:pt x="1232" y="578"/>
                    <a:pt x="1544" y="487"/>
                  </a:cubicBezTo>
                  <a:cubicBezTo>
                    <a:pt x="1735" y="429"/>
                    <a:pt x="1951" y="423"/>
                    <a:pt x="2157" y="346"/>
                  </a:cubicBezTo>
                  <a:cubicBezTo>
                    <a:pt x="2802" y="104"/>
                    <a:pt x="3463" y="368"/>
                    <a:pt x="4130" y="252"/>
                  </a:cubicBezTo>
                  <a:cubicBezTo>
                    <a:pt x="5233" y="58"/>
                    <a:pt x="6365" y="83"/>
                    <a:pt x="7656" y="111"/>
                  </a:cubicBezTo>
                  <a:cubicBezTo>
                    <a:pt x="8181" y="122"/>
                    <a:pt x="8710" y="21"/>
                    <a:pt x="9240" y="17"/>
                  </a:cubicBezTo>
                  <a:cubicBezTo>
                    <a:pt x="9230" y="17"/>
                    <a:pt x="9297" y="104"/>
                    <a:pt x="9342" y="111"/>
                  </a:cubicBezTo>
                  <a:cubicBezTo>
                    <a:pt x="9651" y="169"/>
                    <a:pt x="10138" y="62"/>
                    <a:pt x="10364" y="111"/>
                  </a:cubicBezTo>
                  <a:cubicBezTo>
                    <a:pt x="10677" y="179"/>
                    <a:pt x="10965" y="94"/>
                    <a:pt x="11233" y="64"/>
                  </a:cubicBezTo>
                  <a:cubicBezTo>
                    <a:pt x="11865" y="-5"/>
                    <a:pt x="12588" y="-54"/>
                    <a:pt x="13380" y="111"/>
                  </a:cubicBezTo>
                  <a:cubicBezTo>
                    <a:pt x="13814" y="201"/>
                    <a:pt x="14262" y="68"/>
                    <a:pt x="14708" y="158"/>
                  </a:cubicBezTo>
                  <a:cubicBezTo>
                    <a:pt x="15765" y="370"/>
                    <a:pt x="16855" y="92"/>
                    <a:pt x="17846" y="299"/>
                  </a:cubicBezTo>
                  <a:cubicBezTo>
                    <a:pt x="18458" y="426"/>
                    <a:pt x="19095" y="318"/>
                    <a:pt x="19677" y="252"/>
                  </a:cubicBezTo>
                  <a:cubicBezTo>
                    <a:pt x="19686" y="385"/>
                    <a:pt x="19703" y="372"/>
                    <a:pt x="19738" y="393"/>
                  </a:cubicBezTo>
                  <a:cubicBezTo>
                    <a:pt x="20201" y="667"/>
                    <a:pt x="20626" y="410"/>
                    <a:pt x="21066" y="860"/>
                  </a:cubicBezTo>
                  <a:cubicBezTo>
                    <a:pt x="21237" y="1035"/>
                    <a:pt x="21401" y="1303"/>
                    <a:pt x="21537" y="1658"/>
                  </a:cubicBezTo>
                  <a:cubicBezTo>
                    <a:pt x="21494" y="1925"/>
                    <a:pt x="21572" y="2048"/>
                    <a:pt x="21485" y="2313"/>
                  </a:cubicBezTo>
                  <a:cubicBezTo>
                    <a:pt x="21499" y="2440"/>
                    <a:pt x="21580" y="2505"/>
                    <a:pt x="21588" y="2501"/>
                  </a:cubicBezTo>
                  <a:cubicBezTo>
                    <a:pt x="21600" y="2902"/>
                    <a:pt x="21511" y="2938"/>
                    <a:pt x="21485" y="3298"/>
                  </a:cubicBezTo>
                  <a:cubicBezTo>
                    <a:pt x="21440" y="3947"/>
                    <a:pt x="21535" y="4794"/>
                    <a:pt x="21465" y="5125"/>
                  </a:cubicBezTo>
                  <a:cubicBezTo>
                    <a:pt x="21449" y="5419"/>
                    <a:pt x="21538" y="5477"/>
                    <a:pt x="21506" y="5688"/>
                  </a:cubicBezTo>
                  <a:cubicBezTo>
                    <a:pt x="21480" y="5828"/>
                    <a:pt x="21427" y="5751"/>
                    <a:pt x="21404" y="6063"/>
                  </a:cubicBezTo>
                  <a:cubicBezTo>
                    <a:pt x="21363" y="6613"/>
                    <a:pt x="21494" y="8036"/>
                    <a:pt x="21445" y="8406"/>
                  </a:cubicBezTo>
                  <a:cubicBezTo>
                    <a:pt x="21401" y="8968"/>
                    <a:pt x="21311" y="9111"/>
                    <a:pt x="21332" y="9906"/>
                  </a:cubicBezTo>
                  <a:cubicBezTo>
                    <a:pt x="21287" y="10153"/>
                    <a:pt x="21223" y="10149"/>
                    <a:pt x="21200" y="10560"/>
                  </a:cubicBezTo>
                  <a:cubicBezTo>
                    <a:pt x="21151" y="10605"/>
                    <a:pt x="21114" y="10425"/>
                    <a:pt x="21087" y="10514"/>
                  </a:cubicBezTo>
                  <a:cubicBezTo>
                    <a:pt x="20997" y="10923"/>
                    <a:pt x="20873" y="11096"/>
                    <a:pt x="20811" y="11546"/>
                  </a:cubicBezTo>
                  <a:cubicBezTo>
                    <a:pt x="20772" y="11823"/>
                    <a:pt x="20785" y="12202"/>
                    <a:pt x="20740" y="12529"/>
                  </a:cubicBezTo>
                  <a:cubicBezTo>
                    <a:pt x="20705" y="12775"/>
                    <a:pt x="20559" y="13051"/>
                    <a:pt x="20473" y="13278"/>
                  </a:cubicBezTo>
                  <a:cubicBezTo>
                    <a:pt x="20374" y="13545"/>
                    <a:pt x="20285" y="13843"/>
                    <a:pt x="20229" y="14029"/>
                  </a:cubicBezTo>
                  <a:cubicBezTo>
                    <a:pt x="19982" y="14832"/>
                    <a:pt x="19699" y="15538"/>
                    <a:pt x="19431" y="16230"/>
                  </a:cubicBezTo>
                  <a:cubicBezTo>
                    <a:pt x="19347" y="16449"/>
                    <a:pt x="19290" y="16709"/>
                    <a:pt x="19216" y="16933"/>
                  </a:cubicBezTo>
                  <a:cubicBezTo>
                    <a:pt x="19031" y="17494"/>
                    <a:pt x="18846" y="17935"/>
                    <a:pt x="18644" y="18385"/>
                  </a:cubicBezTo>
                  <a:cubicBezTo>
                    <a:pt x="18644" y="18402"/>
                    <a:pt x="18644" y="18417"/>
                    <a:pt x="18644" y="18433"/>
                  </a:cubicBezTo>
                  <a:cubicBezTo>
                    <a:pt x="18687" y="18387"/>
                    <a:pt x="18646" y="18573"/>
                    <a:pt x="18644" y="18433"/>
                  </a:cubicBezTo>
                  <a:cubicBezTo>
                    <a:pt x="18549" y="18794"/>
                    <a:pt x="18431" y="18757"/>
                    <a:pt x="18276" y="18808"/>
                  </a:cubicBezTo>
                  <a:cubicBezTo>
                    <a:pt x="18019" y="18890"/>
                    <a:pt x="17800" y="19450"/>
                    <a:pt x="17591" y="19744"/>
                  </a:cubicBezTo>
                  <a:cubicBezTo>
                    <a:pt x="17489" y="20150"/>
                    <a:pt x="17471" y="20946"/>
                    <a:pt x="17376" y="21385"/>
                  </a:cubicBezTo>
                  <a:close/>
                  <a:moveTo>
                    <a:pt x="17376" y="21385"/>
                  </a:moveTo>
                </a:path>
              </a:pathLst>
            </a:custGeom>
            <a:solidFill>
              <a:schemeClr val="accent1"/>
            </a:solidFill>
            <a:ln>
              <a:noFill/>
            </a:ln>
          </p:spPr>
          <p:txBody>
            <a:bodyPr lIns="0" tIns="0" rIns="0" bIns="0"/>
            <a:lstStyle/>
            <a:p>
              <a:endParaRPr lang="en-US"/>
            </a:p>
          </p:txBody>
        </p:sp>
        <p:sp>
          <p:nvSpPr>
            <p:cNvPr id="58" name="AutoShape 3">
              <a:extLst>
                <a:ext uri="{FF2B5EF4-FFF2-40B4-BE49-F238E27FC236}">
                  <a16:creationId xmlns:a16="http://schemas.microsoft.com/office/drawing/2014/main" id="{EFCED7F0-750A-DB45-9FB9-87C84821F66C}"/>
                </a:ext>
              </a:extLst>
            </p:cNvPr>
            <p:cNvSpPr>
              <a:spLocks/>
            </p:cNvSpPr>
            <p:nvPr/>
          </p:nvSpPr>
          <p:spPr bwMode="auto">
            <a:xfrm>
              <a:off x="365985" y="1850860"/>
              <a:ext cx="1535112" cy="276225"/>
            </a:xfrm>
            <a:custGeom>
              <a:avLst/>
              <a:gdLst/>
              <a:ahLst/>
              <a:cxnLst/>
              <a:rect l="0" t="0" r="r" b="b"/>
              <a:pathLst>
                <a:path w="21543" h="21477">
                  <a:moveTo>
                    <a:pt x="137" y="2157"/>
                  </a:moveTo>
                  <a:cubicBezTo>
                    <a:pt x="163" y="1707"/>
                    <a:pt x="244" y="1288"/>
                    <a:pt x="242" y="820"/>
                  </a:cubicBezTo>
                  <a:cubicBezTo>
                    <a:pt x="241" y="521"/>
                    <a:pt x="185" y="521"/>
                    <a:pt x="183" y="137"/>
                  </a:cubicBezTo>
                  <a:cubicBezTo>
                    <a:pt x="315" y="-111"/>
                    <a:pt x="460" y="51"/>
                    <a:pt x="605" y="62"/>
                  </a:cubicBezTo>
                  <a:cubicBezTo>
                    <a:pt x="749" y="73"/>
                    <a:pt x="902" y="60"/>
                    <a:pt x="1052" y="78"/>
                  </a:cubicBezTo>
                  <a:cubicBezTo>
                    <a:pt x="1725" y="154"/>
                    <a:pt x="2514" y="253"/>
                    <a:pt x="3314" y="198"/>
                  </a:cubicBezTo>
                  <a:cubicBezTo>
                    <a:pt x="5087" y="77"/>
                    <a:pt x="7075" y="611"/>
                    <a:pt x="8977" y="269"/>
                  </a:cubicBezTo>
                  <a:cubicBezTo>
                    <a:pt x="10409" y="187"/>
                    <a:pt x="12354" y="300"/>
                    <a:pt x="13937" y="251"/>
                  </a:cubicBezTo>
                  <a:cubicBezTo>
                    <a:pt x="14209" y="244"/>
                    <a:pt x="14479" y="203"/>
                    <a:pt x="14757" y="242"/>
                  </a:cubicBezTo>
                  <a:cubicBezTo>
                    <a:pt x="16831" y="530"/>
                    <a:pt x="19249" y="-27"/>
                    <a:pt x="21356" y="65"/>
                  </a:cubicBezTo>
                  <a:cubicBezTo>
                    <a:pt x="21376" y="763"/>
                    <a:pt x="21387" y="930"/>
                    <a:pt x="21459" y="1342"/>
                  </a:cubicBezTo>
                  <a:cubicBezTo>
                    <a:pt x="21495" y="1553"/>
                    <a:pt x="21538" y="1643"/>
                    <a:pt x="21542" y="1933"/>
                  </a:cubicBezTo>
                  <a:cubicBezTo>
                    <a:pt x="21553" y="2511"/>
                    <a:pt x="21423" y="2911"/>
                    <a:pt x="21447" y="3589"/>
                  </a:cubicBezTo>
                  <a:cubicBezTo>
                    <a:pt x="21422" y="3655"/>
                    <a:pt x="21402" y="3969"/>
                    <a:pt x="21374" y="4189"/>
                  </a:cubicBezTo>
                  <a:cubicBezTo>
                    <a:pt x="21348" y="4395"/>
                    <a:pt x="21292" y="4589"/>
                    <a:pt x="21317" y="4744"/>
                  </a:cubicBezTo>
                  <a:cubicBezTo>
                    <a:pt x="21294" y="4672"/>
                    <a:pt x="21274" y="4755"/>
                    <a:pt x="21251" y="4793"/>
                  </a:cubicBezTo>
                  <a:cubicBezTo>
                    <a:pt x="21239" y="4814"/>
                    <a:pt x="21213" y="4852"/>
                    <a:pt x="21201" y="4889"/>
                  </a:cubicBezTo>
                  <a:cubicBezTo>
                    <a:pt x="21190" y="4925"/>
                    <a:pt x="21182" y="5069"/>
                    <a:pt x="21169" y="5120"/>
                  </a:cubicBezTo>
                  <a:cubicBezTo>
                    <a:pt x="21161" y="5150"/>
                    <a:pt x="21171" y="4995"/>
                    <a:pt x="21160" y="5031"/>
                  </a:cubicBezTo>
                  <a:cubicBezTo>
                    <a:pt x="21004" y="5548"/>
                    <a:pt x="20880" y="6323"/>
                    <a:pt x="20675" y="6439"/>
                  </a:cubicBezTo>
                  <a:cubicBezTo>
                    <a:pt x="20596" y="7682"/>
                    <a:pt x="20411" y="7658"/>
                    <a:pt x="20374" y="8750"/>
                  </a:cubicBezTo>
                  <a:cubicBezTo>
                    <a:pt x="20297" y="8660"/>
                    <a:pt x="20250" y="8983"/>
                    <a:pt x="20217" y="9174"/>
                  </a:cubicBezTo>
                  <a:cubicBezTo>
                    <a:pt x="20159" y="9512"/>
                    <a:pt x="20106" y="9773"/>
                    <a:pt x="20037" y="10057"/>
                  </a:cubicBezTo>
                  <a:cubicBezTo>
                    <a:pt x="20036" y="10426"/>
                    <a:pt x="19998" y="10603"/>
                    <a:pt x="19964" y="10796"/>
                  </a:cubicBezTo>
                  <a:cubicBezTo>
                    <a:pt x="19942" y="11651"/>
                    <a:pt x="19870" y="12277"/>
                    <a:pt x="19837" y="13050"/>
                  </a:cubicBezTo>
                  <a:cubicBezTo>
                    <a:pt x="19800" y="13911"/>
                    <a:pt x="19820" y="14969"/>
                    <a:pt x="19785" y="15942"/>
                  </a:cubicBezTo>
                  <a:cubicBezTo>
                    <a:pt x="19715" y="16184"/>
                    <a:pt x="19678" y="16473"/>
                    <a:pt x="19580" y="16735"/>
                  </a:cubicBezTo>
                  <a:cubicBezTo>
                    <a:pt x="19591" y="17062"/>
                    <a:pt x="19695" y="17393"/>
                    <a:pt x="19690" y="18103"/>
                  </a:cubicBezTo>
                  <a:cubicBezTo>
                    <a:pt x="19688" y="18419"/>
                    <a:pt x="19634" y="18814"/>
                    <a:pt x="19627" y="19208"/>
                  </a:cubicBezTo>
                  <a:cubicBezTo>
                    <a:pt x="19618" y="19715"/>
                    <a:pt x="19649" y="20013"/>
                    <a:pt x="19605" y="20356"/>
                  </a:cubicBezTo>
                  <a:cubicBezTo>
                    <a:pt x="19570" y="20620"/>
                    <a:pt x="19439" y="20949"/>
                    <a:pt x="19366" y="21059"/>
                  </a:cubicBezTo>
                  <a:cubicBezTo>
                    <a:pt x="19253" y="21232"/>
                    <a:pt x="19123" y="21194"/>
                    <a:pt x="18986" y="21269"/>
                  </a:cubicBezTo>
                  <a:cubicBezTo>
                    <a:pt x="18874" y="21329"/>
                    <a:pt x="18751" y="21489"/>
                    <a:pt x="18638" y="21476"/>
                  </a:cubicBezTo>
                  <a:cubicBezTo>
                    <a:pt x="18406" y="21447"/>
                    <a:pt x="18176" y="21126"/>
                    <a:pt x="17942" y="21065"/>
                  </a:cubicBezTo>
                  <a:cubicBezTo>
                    <a:pt x="17706" y="21004"/>
                    <a:pt x="17463" y="21156"/>
                    <a:pt x="17221" y="21160"/>
                  </a:cubicBezTo>
                  <a:cubicBezTo>
                    <a:pt x="16969" y="21164"/>
                    <a:pt x="16716" y="21281"/>
                    <a:pt x="16460" y="21303"/>
                  </a:cubicBezTo>
                  <a:cubicBezTo>
                    <a:pt x="14763" y="21458"/>
                    <a:pt x="13034" y="21126"/>
                    <a:pt x="11301" y="21243"/>
                  </a:cubicBezTo>
                  <a:cubicBezTo>
                    <a:pt x="9858" y="21342"/>
                    <a:pt x="8536" y="21252"/>
                    <a:pt x="7061" y="21030"/>
                  </a:cubicBezTo>
                  <a:cubicBezTo>
                    <a:pt x="5876" y="20672"/>
                    <a:pt x="4386" y="21358"/>
                    <a:pt x="3045" y="21120"/>
                  </a:cubicBezTo>
                  <a:cubicBezTo>
                    <a:pt x="2794" y="21076"/>
                    <a:pt x="2443" y="21087"/>
                    <a:pt x="2159" y="21043"/>
                  </a:cubicBezTo>
                  <a:cubicBezTo>
                    <a:pt x="1879" y="21001"/>
                    <a:pt x="1609" y="20703"/>
                    <a:pt x="1355" y="20686"/>
                  </a:cubicBezTo>
                  <a:cubicBezTo>
                    <a:pt x="1152" y="20672"/>
                    <a:pt x="978" y="20990"/>
                    <a:pt x="793" y="21090"/>
                  </a:cubicBezTo>
                  <a:cubicBezTo>
                    <a:pt x="532" y="21236"/>
                    <a:pt x="419" y="20264"/>
                    <a:pt x="252" y="19981"/>
                  </a:cubicBezTo>
                  <a:cubicBezTo>
                    <a:pt x="242" y="19515"/>
                    <a:pt x="226" y="19080"/>
                    <a:pt x="208" y="18656"/>
                  </a:cubicBezTo>
                  <a:cubicBezTo>
                    <a:pt x="209" y="18584"/>
                    <a:pt x="234" y="18518"/>
                    <a:pt x="248" y="18287"/>
                  </a:cubicBezTo>
                  <a:cubicBezTo>
                    <a:pt x="260" y="18078"/>
                    <a:pt x="277" y="17578"/>
                    <a:pt x="205" y="17464"/>
                  </a:cubicBezTo>
                  <a:cubicBezTo>
                    <a:pt x="207" y="17297"/>
                    <a:pt x="248" y="17185"/>
                    <a:pt x="229" y="17049"/>
                  </a:cubicBezTo>
                  <a:cubicBezTo>
                    <a:pt x="189" y="16673"/>
                    <a:pt x="186" y="16085"/>
                    <a:pt x="94" y="16005"/>
                  </a:cubicBezTo>
                  <a:cubicBezTo>
                    <a:pt x="224" y="15647"/>
                    <a:pt x="57" y="15061"/>
                    <a:pt x="0" y="14589"/>
                  </a:cubicBezTo>
                  <a:cubicBezTo>
                    <a:pt x="9" y="14415"/>
                    <a:pt x="56" y="14440"/>
                    <a:pt x="65" y="14264"/>
                  </a:cubicBezTo>
                  <a:cubicBezTo>
                    <a:pt x="-47" y="13801"/>
                    <a:pt x="108" y="12966"/>
                    <a:pt x="12" y="12481"/>
                  </a:cubicBezTo>
                  <a:cubicBezTo>
                    <a:pt x="20" y="12279"/>
                    <a:pt x="40" y="12149"/>
                    <a:pt x="52" y="11972"/>
                  </a:cubicBezTo>
                  <a:cubicBezTo>
                    <a:pt x="78" y="11804"/>
                    <a:pt x="-14" y="11717"/>
                    <a:pt x="18" y="11517"/>
                  </a:cubicBezTo>
                  <a:cubicBezTo>
                    <a:pt x="63" y="11197"/>
                    <a:pt x="189" y="11139"/>
                    <a:pt x="232" y="10952"/>
                  </a:cubicBezTo>
                  <a:cubicBezTo>
                    <a:pt x="250" y="10893"/>
                    <a:pt x="188" y="10897"/>
                    <a:pt x="182" y="10817"/>
                  </a:cubicBezTo>
                  <a:cubicBezTo>
                    <a:pt x="187" y="10502"/>
                    <a:pt x="247" y="10555"/>
                    <a:pt x="264" y="10217"/>
                  </a:cubicBezTo>
                  <a:cubicBezTo>
                    <a:pt x="290" y="9664"/>
                    <a:pt x="240" y="8893"/>
                    <a:pt x="234" y="8385"/>
                  </a:cubicBezTo>
                  <a:cubicBezTo>
                    <a:pt x="200" y="8096"/>
                    <a:pt x="112" y="7684"/>
                    <a:pt x="92" y="7616"/>
                  </a:cubicBezTo>
                  <a:cubicBezTo>
                    <a:pt x="104" y="7318"/>
                    <a:pt x="276" y="7063"/>
                    <a:pt x="264" y="6778"/>
                  </a:cubicBezTo>
                  <a:cubicBezTo>
                    <a:pt x="354" y="6435"/>
                    <a:pt x="240" y="6191"/>
                    <a:pt x="237" y="5818"/>
                  </a:cubicBezTo>
                  <a:cubicBezTo>
                    <a:pt x="234" y="5392"/>
                    <a:pt x="279" y="5240"/>
                    <a:pt x="285" y="4852"/>
                  </a:cubicBezTo>
                  <a:cubicBezTo>
                    <a:pt x="205" y="4481"/>
                    <a:pt x="233" y="3849"/>
                    <a:pt x="173" y="3347"/>
                  </a:cubicBezTo>
                  <a:cubicBezTo>
                    <a:pt x="180" y="3156"/>
                    <a:pt x="184" y="2950"/>
                    <a:pt x="197" y="2796"/>
                  </a:cubicBezTo>
                  <a:cubicBezTo>
                    <a:pt x="185" y="2542"/>
                    <a:pt x="155" y="2388"/>
                    <a:pt x="137" y="2157"/>
                  </a:cubicBezTo>
                  <a:close/>
                  <a:moveTo>
                    <a:pt x="137" y="2157"/>
                  </a:moveTo>
                </a:path>
              </a:pathLst>
            </a:custGeom>
            <a:solidFill>
              <a:schemeClr val="accent1"/>
            </a:solidFill>
            <a:ln>
              <a:noFill/>
            </a:ln>
          </p:spPr>
          <p:txBody>
            <a:bodyPr lIns="0" tIns="0" rIns="0" bIns="0"/>
            <a:lstStyle/>
            <a:p>
              <a:endParaRPr lang="en-US"/>
            </a:p>
          </p:txBody>
        </p:sp>
        <p:sp>
          <p:nvSpPr>
            <p:cNvPr id="59" name="AutoShape 4">
              <a:extLst>
                <a:ext uri="{FF2B5EF4-FFF2-40B4-BE49-F238E27FC236}">
                  <a16:creationId xmlns:a16="http://schemas.microsoft.com/office/drawing/2014/main" id="{EF22CAE5-E49D-5E4D-AFBB-09BA2FEA8A9C}"/>
                </a:ext>
              </a:extLst>
            </p:cNvPr>
            <p:cNvSpPr>
              <a:spLocks/>
            </p:cNvSpPr>
            <p:nvPr/>
          </p:nvSpPr>
          <p:spPr bwMode="auto">
            <a:xfrm>
              <a:off x="365985" y="1126958"/>
              <a:ext cx="1533525" cy="276225"/>
            </a:xfrm>
            <a:custGeom>
              <a:avLst/>
              <a:gdLst/>
              <a:ahLst/>
              <a:cxnLst/>
              <a:rect l="0" t="0" r="r" b="b"/>
              <a:pathLst>
                <a:path w="21543" h="21477">
                  <a:moveTo>
                    <a:pt x="137" y="2157"/>
                  </a:moveTo>
                  <a:cubicBezTo>
                    <a:pt x="163" y="1707"/>
                    <a:pt x="244" y="1288"/>
                    <a:pt x="242" y="820"/>
                  </a:cubicBezTo>
                  <a:cubicBezTo>
                    <a:pt x="241" y="521"/>
                    <a:pt x="185" y="521"/>
                    <a:pt x="183" y="137"/>
                  </a:cubicBezTo>
                  <a:cubicBezTo>
                    <a:pt x="315" y="-111"/>
                    <a:pt x="460" y="51"/>
                    <a:pt x="605" y="62"/>
                  </a:cubicBezTo>
                  <a:cubicBezTo>
                    <a:pt x="749" y="73"/>
                    <a:pt x="902" y="60"/>
                    <a:pt x="1052" y="78"/>
                  </a:cubicBezTo>
                  <a:cubicBezTo>
                    <a:pt x="1725" y="154"/>
                    <a:pt x="2514" y="253"/>
                    <a:pt x="3314" y="198"/>
                  </a:cubicBezTo>
                  <a:cubicBezTo>
                    <a:pt x="5087" y="77"/>
                    <a:pt x="7075" y="611"/>
                    <a:pt x="8977" y="269"/>
                  </a:cubicBezTo>
                  <a:cubicBezTo>
                    <a:pt x="10409" y="187"/>
                    <a:pt x="12354" y="300"/>
                    <a:pt x="13937" y="251"/>
                  </a:cubicBezTo>
                  <a:cubicBezTo>
                    <a:pt x="14209" y="243"/>
                    <a:pt x="14479" y="203"/>
                    <a:pt x="14757" y="241"/>
                  </a:cubicBezTo>
                  <a:cubicBezTo>
                    <a:pt x="16831" y="530"/>
                    <a:pt x="19249" y="-27"/>
                    <a:pt x="21356" y="65"/>
                  </a:cubicBezTo>
                  <a:cubicBezTo>
                    <a:pt x="21376" y="763"/>
                    <a:pt x="21387" y="930"/>
                    <a:pt x="21459" y="1341"/>
                  </a:cubicBezTo>
                  <a:cubicBezTo>
                    <a:pt x="21495" y="1553"/>
                    <a:pt x="21538" y="1643"/>
                    <a:pt x="21542" y="1933"/>
                  </a:cubicBezTo>
                  <a:cubicBezTo>
                    <a:pt x="21553" y="2511"/>
                    <a:pt x="21423" y="2911"/>
                    <a:pt x="21447" y="3589"/>
                  </a:cubicBezTo>
                  <a:cubicBezTo>
                    <a:pt x="21422" y="3655"/>
                    <a:pt x="21402" y="3969"/>
                    <a:pt x="21374" y="4189"/>
                  </a:cubicBezTo>
                  <a:cubicBezTo>
                    <a:pt x="21348" y="4395"/>
                    <a:pt x="21292" y="4589"/>
                    <a:pt x="21317" y="4744"/>
                  </a:cubicBezTo>
                  <a:cubicBezTo>
                    <a:pt x="21294" y="4672"/>
                    <a:pt x="21274" y="4755"/>
                    <a:pt x="21251" y="4793"/>
                  </a:cubicBezTo>
                  <a:cubicBezTo>
                    <a:pt x="21238" y="4814"/>
                    <a:pt x="21213" y="4852"/>
                    <a:pt x="21201" y="4889"/>
                  </a:cubicBezTo>
                  <a:cubicBezTo>
                    <a:pt x="21190" y="4925"/>
                    <a:pt x="21181" y="5069"/>
                    <a:pt x="21169" y="5120"/>
                  </a:cubicBezTo>
                  <a:cubicBezTo>
                    <a:pt x="21161" y="5150"/>
                    <a:pt x="21171" y="4995"/>
                    <a:pt x="21160" y="5030"/>
                  </a:cubicBezTo>
                  <a:cubicBezTo>
                    <a:pt x="21004" y="5548"/>
                    <a:pt x="20880" y="6323"/>
                    <a:pt x="20675" y="6438"/>
                  </a:cubicBezTo>
                  <a:cubicBezTo>
                    <a:pt x="20596" y="7682"/>
                    <a:pt x="20411" y="7658"/>
                    <a:pt x="20373" y="8750"/>
                  </a:cubicBezTo>
                  <a:cubicBezTo>
                    <a:pt x="20297" y="8660"/>
                    <a:pt x="20250" y="8983"/>
                    <a:pt x="20217" y="9174"/>
                  </a:cubicBezTo>
                  <a:cubicBezTo>
                    <a:pt x="20159" y="9512"/>
                    <a:pt x="20106" y="9773"/>
                    <a:pt x="20037" y="10057"/>
                  </a:cubicBezTo>
                  <a:cubicBezTo>
                    <a:pt x="20036" y="10427"/>
                    <a:pt x="19998" y="10603"/>
                    <a:pt x="19964" y="10796"/>
                  </a:cubicBezTo>
                  <a:cubicBezTo>
                    <a:pt x="19942" y="11651"/>
                    <a:pt x="19870" y="12277"/>
                    <a:pt x="19837" y="13050"/>
                  </a:cubicBezTo>
                  <a:cubicBezTo>
                    <a:pt x="19800" y="13911"/>
                    <a:pt x="19820" y="14969"/>
                    <a:pt x="19785" y="15942"/>
                  </a:cubicBezTo>
                  <a:cubicBezTo>
                    <a:pt x="19715" y="16184"/>
                    <a:pt x="19678" y="16473"/>
                    <a:pt x="19580" y="16735"/>
                  </a:cubicBezTo>
                  <a:cubicBezTo>
                    <a:pt x="19591" y="17062"/>
                    <a:pt x="19695" y="17393"/>
                    <a:pt x="19690" y="18103"/>
                  </a:cubicBezTo>
                  <a:cubicBezTo>
                    <a:pt x="19688" y="18419"/>
                    <a:pt x="19634" y="18814"/>
                    <a:pt x="19627" y="19209"/>
                  </a:cubicBezTo>
                  <a:cubicBezTo>
                    <a:pt x="19618" y="19715"/>
                    <a:pt x="19649" y="20013"/>
                    <a:pt x="19605" y="20356"/>
                  </a:cubicBezTo>
                  <a:cubicBezTo>
                    <a:pt x="19570" y="20620"/>
                    <a:pt x="19439" y="20949"/>
                    <a:pt x="19366" y="21060"/>
                  </a:cubicBezTo>
                  <a:cubicBezTo>
                    <a:pt x="19252" y="21232"/>
                    <a:pt x="19123" y="21194"/>
                    <a:pt x="18986" y="21269"/>
                  </a:cubicBezTo>
                  <a:cubicBezTo>
                    <a:pt x="18874" y="21329"/>
                    <a:pt x="18750" y="21489"/>
                    <a:pt x="18638" y="21476"/>
                  </a:cubicBezTo>
                  <a:cubicBezTo>
                    <a:pt x="18405" y="21447"/>
                    <a:pt x="18176" y="21126"/>
                    <a:pt x="17942" y="21065"/>
                  </a:cubicBezTo>
                  <a:cubicBezTo>
                    <a:pt x="17706" y="21004"/>
                    <a:pt x="17463" y="21156"/>
                    <a:pt x="17221" y="21160"/>
                  </a:cubicBezTo>
                  <a:cubicBezTo>
                    <a:pt x="16969" y="21164"/>
                    <a:pt x="16716" y="21281"/>
                    <a:pt x="16460" y="21303"/>
                  </a:cubicBezTo>
                  <a:cubicBezTo>
                    <a:pt x="14763" y="21458"/>
                    <a:pt x="13034" y="21126"/>
                    <a:pt x="11301" y="21243"/>
                  </a:cubicBezTo>
                  <a:cubicBezTo>
                    <a:pt x="9858" y="21342"/>
                    <a:pt x="8536" y="21252"/>
                    <a:pt x="7061" y="21030"/>
                  </a:cubicBezTo>
                  <a:cubicBezTo>
                    <a:pt x="5876" y="20672"/>
                    <a:pt x="4386" y="21358"/>
                    <a:pt x="3045" y="21120"/>
                  </a:cubicBezTo>
                  <a:cubicBezTo>
                    <a:pt x="2794" y="21076"/>
                    <a:pt x="2443" y="21087"/>
                    <a:pt x="2159" y="21043"/>
                  </a:cubicBezTo>
                  <a:cubicBezTo>
                    <a:pt x="1879" y="21001"/>
                    <a:pt x="1609" y="20703"/>
                    <a:pt x="1355" y="20686"/>
                  </a:cubicBezTo>
                  <a:cubicBezTo>
                    <a:pt x="1152" y="20672"/>
                    <a:pt x="978" y="20990"/>
                    <a:pt x="793" y="21090"/>
                  </a:cubicBezTo>
                  <a:cubicBezTo>
                    <a:pt x="532" y="21235"/>
                    <a:pt x="419" y="20264"/>
                    <a:pt x="252" y="19981"/>
                  </a:cubicBezTo>
                  <a:cubicBezTo>
                    <a:pt x="242" y="19515"/>
                    <a:pt x="226" y="19080"/>
                    <a:pt x="208" y="18656"/>
                  </a:cubicBezTo>
                  <a:cubicBezTo>
                    <a:pt x="209" y="18584"/>
                    <a:pt x="234" y="18518"/>
                    <a:pt x="248" y="18287"/>
                  </a:cubicBezTo>
                  <a:cubicBezTo>
                    <a:pt x="260" y="18078"/>
                    <a:pt x="277" y="17578"/>
                    <a:pt x="205" y="17464"/>
                  </a:cubicBezTo>
                  <a:cubicBezTo>
                    <a:pt x="207" y="17297"/>
                    <a:pt x="248" y="17185"/>
                    <a:pt x="229" y="17049"/>
                  </a:cubicBezTo>
                  <a:cubicBezTo>
                    <a:pt x="189" y="16673"/>
                    <a:pt x="186" y="16085"/>
                    <a:pt x="94" y="16005"/>
                  </a:cubicBezTo>
                  <a:cubicBezTo>
                    <a:pt x="224" y="15647"/>
                    <a:pt x="57" y="15061"/>
                    <a:pt x="0" y="14589"/>
                  </a:cubicBezTo>
                  <a:cubicBezTo>
                    <a:pt x="10" y="14415"/>
                    <a:pt x="56" y="14440"/>
                    <a:pt x="65" y="14264"/>
                  </a:cubicBezTo>
                  <a:cubicBezTo>
                    <a:pt x="-47" y="13801"/>
                    <a:pt x="108" y="12966"/>
                    <a:pt x="12" y="12481"/>
                  </a:cubicBezTo>
                  <a:cubicBezTo>
                    <a:pt x="20" y="12279"/>
                    <a:pt x="40" y="12149"/>
                    <a:pt x="52" y="11972"/>
                  </a:cubicBezTo>
                  <a:cubicBezTo>
                    <a:pt x="78" y="11804"/>
                    <a:pt x="-14" y="11717"/>
                    <a:pt x="18" y="11517"/>
                  </a:cubicBezTo>
                  <a:cubicBezTo>
                    <a:pt x="63" y="11197"/>
                    <a:pt x="189" y="11139"/>
                    <a:pt x="232" y="10952"/>
                  </a:cubicBezTo>
                  <a:cubicBezTo>
                    <a:pt x="250" y="10893"/>
                    <a:pt x="188" y="10897"/>
                    <a:pt x="182" y="10817"/>
                  </a:cubicBezTo>
                  <a:cubicBezTo>
                    <a:pt x="187" y="10502"/>
                    <a:pt x="247" y="10555"/>
                    <a:pt x="264" y="10217"/>
                  </a:cubicBezTo>
                  <a:cubicBezTo>
                    <a:pt x="290" y="9664"/>
                    <a:pt x="240" y="8893"/>
                    <a:pt x="234" y="8385"/>
                  </a:cubicBezTo>
                  <a:cubicBezTo>
                    <a:pt x="200" y="8096"/>
                    <a:pt x="112" y="7684"/>
                    <a:pt x="92" y="7616"/>
                  </a:cubicBezTo>
                  <a:cubicBezTo>
                    <a:pt x="104" y="7318"/>
                    <a:pt x="276" y="7063"/>
                    <a:pt x="264" y="6778"/>
                  </a:cubicBezTo>
                  <a:cubicBezTo>
                    <a:pt x="354" y="6435"/>
                    <a:pt x="240" y="6191"/>
                    <a:pt x="237" y="5818"/>
                  </a:cubicBezTo>
                  <a:cubicBezTo>
                    <a:pt x="234" y="5392"/>
                    <a:pt x="279" y="5240"/>
                    <a:pt x="285" y="4852"/>
                  </a:cubicBezTo>
                  <a:cubicBezTo>
                    <a:pt x="205" y="4481"/>
                    <a:pt x="233" y="3849"/>
                    <a:pt x="173" y="3347"/>
                  </a:cubicBezTo>
                  <a:cubicBezTo>
                    <a:pt x="180" y="3156"/>
                    <a:pt x="184" y="2950"/>
                    <a:pt x="197" y="2796"/>
                  </a:cubicBezTo>
                  <a:cubicBezTo>
                    <a:pt x="185" y="2542"/>
                    <a:pt x="155" y="2388"/>
                    <a:pt x="137" y="2157"/>
                  </a:cubicBezTo>
                  <a:close/>
                  <a:moveTo>
                    <a:pt x="137" y="2157"/>
                  </a:moveTo>
                </a:path>
              </a:pathLst>
            </a:custGeom>
            <a:solidFill>
              <a:schemeClr val="accent1"/>
            </a:solidFill>
            <a:ln>
              <a:noFill/>
            </a:ln>
          </p:spPr>
          <p:txBody>
            <a:bodyPr lIns="0" tIns="0" rIns="0" bIns="0"/>
            <a:lstStyle/>
            <a:p>
              <a:endParaRPr lang="en-US"/>
            </a:p>
          </p:txBody>
        </p:sp>
        <p:sp>
          <p:nvSpPr>
            <p:cNvPr id="60" name="AutoShape 5">
              <a:extLst>
                <a:ext uri="{FF2B5EF4-FFF2-40B4-BE49-F238E27FC236}">
                  <a16:creationId xmlns:a16="http://schemas.microsoft.com/office/drawing/2014/main" id="{A63E004E-8E6B-DD47-A744-09B4D099B9E7}"/>
                </a:ext>
              </a:extLst>
            </p:cNvPr>
            <p:cNvSpPr>
              <a:spLocks/>
            </p:cNvSpPr>
            <p:nvPr/>
          </p:nvSpPr>
          <p:spPr bwMode="auto">
            <a:xfrm>
              <a:off x="365985" y="2600160"/>
              <a:ext cx="2052638" cy="277813"/>
            </a:xfrm>
            <a:custGeom>
              <a:avLst/>
              <a:gdLst/>
              <a:ahLst/>
              <a:cxnLst/>
              <a:rect l="0" t="0" r="r" b="b"/>
              <a:pathLst>
                <a:path w="21587" h="21565">
                  <a:moveTo>
                    <a:pt x="1241" y="3424"/>
                  </a:moveTo>
                  <a:cubicBezTo>
                    <a:pt x="1224" y="3166"/>
                    <a:pt x="1167" y="3215"/>
                    <a:pt x="1153" y="2936"/>
                  </a:cubicBezTo>
                  <a:cubicBezTo>
                    <a:pt x="1165" y="2737"/>
                    <a:pt x="1188" y="2477"/>
                    <a:pt x="1176" y="2247"/>
                  </a:cubicBezTo>
                  <a:cubicBezTo>
                    <a:pt x="1184" y="1957"/>
                    <a:pt x="1203" y="2039"/>
                    <a:pt x="1205" y="1741"/>
                  </a:cubicBezTo>
                  <a:cubicBezTo>
                    <a:pt x="1208" y="1408"/>
                    <a:pt x="1158" y="1060"/>
                    <a:pt x="1172" y="788"/>
                  </a:cubicBezTo>
                  <a:cubicBezTo>
                    <a:pt x="1186" y="514"/>
                    <a:pt x="1279" y="395"/>
                    <a:pt x="1325" y="355"/>
                  </a:cubicBezTo>
                  <a:cubicBezTo>
                    <a:pt x="1524" y="185"/>
                    <a:pt x="1748" y="360"/>
                    <a:pt x="1964" y="351"/>
                  </a:cubicBezTo>
                  <a:cubicBezTo>
                    <a:pt x="3461" y="283"/>
                    <a:pt x="4891" y="596"/>
                    <a:pt x="6348" y="376"/>
                  </a:cubicBezTo>
                  <a:cubicBezTo>
                    <a:pt x="6784" y="311"/>
                    <a:pt x="7218" y="382"/>
                    <a:pt x="7643" y="320"/>
                  </a:cubicBezTo>
                  <a:cubicBezTo>
                    <a:pt x="7854" y="287"/>
                    <a:pt x="8051" y="231"/>
                    <a:pt x="8245" y="274"/>
                  </a:cubicBezTo>
                  <a:cubicBezTo>
                    <a:pt x="8427" y="316"/>
                    <a:pt x="8635" y="298"/>
                    <a:pt x="8828" y="278"/>
                  </a:cubicBezTo>
                  <a:cubicBezTo>
                    <a:pt x="9422" y="212"/>
                    <a:pt x="10091" y="298"/>
                    <a:pt x="10700" y="270"/>
                  </a:cubicBezTo>
                  <a:cubicBezTo>
                    <a:pt x="11300" y="243"/>
                    <a:pt x="11909" y="240"/>
                    <a:pt x="12554" y="357"/>
                  </a:cubicBezTo>
                  <a:cubicBezTo>
                    <a:pt x="12753" y="393"/>
                    <a:pt x="12951" y="374"/>
                    <a:pt x="13149" y="358"/>
                  </a:cubicBezTo>
                  <a:cubicBezTo>
                    <a:pt x="13352" y="342"/>
                    <a:pt x="13555" y="374"/>
                    <a:pt x="13757" y="360"/>
                  </a:cubicBezTo>
                  <a:cubicBezTo>
                    <a:pt x="14571" y="292"/>
                    <a:pt x="15452" y="216"/>
                    <a:pt x="16237" y="353"/>
                  </a:cubicBezTo>
                  <a:cubicBezTo>
                    <a:pt x="17093" y="499"/>
                    <a:pt x="17925" y="340"/>
                    <a:pt x="18767" y="428"/>
                  </a:cubicBezTo>
                  <a:cubicBezTo>
                    <a:pt x="19623" y="517"/>
                    <a:pt x="20462" y="128"/>
                    <a:pt x="21314" y="0"/>
                  </a:cubicBezTo>
                  <a:cubicBezTo>
                    <a:pt x="21325" y="415"/>
                    <a:pt x="21347" y="683"/>
                    <a:pt x="21366" y="859"/>
                  </a:cubicBezTo>
                  <a:cubicBezTo>
                    <a:pt x="21381" y="998"/>
                    <a:pt x="21402" y="1107"/>
                    <a:pt x="21405" y="1354"/>
                  </a:cubicBezTo>
                  <a:cubicBezTo>
                    <a:pt x="21408" y="1810"/>
                    <a:pt x="21345" y="2119"/>
                    <a:pt x="21365" y="2819"/>
                  </a:cubicBezTo>
                  <a:cubicBezTo>
                    <a:pt x="21437" y="3396"/>
                    <a:pt x="21600" y="3232"/>
                    <a:pt x="21586" y="4247"/>
                  </a:cubicBezTo>
                  <a:cubicBezTo>
                    <a:pt x="21578" y="4854"/>
                    <a:pt x="21514" y="4638"/>
                    <a:pt x="21496" y="5172"/>
                  </a:cubicBezTo>
                  <a:cubicBezTo>
                    <a:pt x="21499" y="5434"/>
                    <a:pt x="21551" y="5040"/>
                    <a:pt x="21546" y="5347"/>
                  </a:cubicBezTo>
                  <a:cubicBezTo>
                    <a:pt x="21546" y="6191"/>
                    <a:pt x="21452" y="6600"/>
                    <a:pt x="21421" y="7236"/>
                  </a:cubicBezTo>
                  <a:cubicBezTo>
                    <a:pt x="21397" y="7723"/>
                    <a:pt x="21423" y="8502"/>
                    <a:pt x="21357" y="8843"/>
                  </a:cubicBezTo>
                  <a:cubicBezTo>
                    <a:pt x="21358" y="9084"/>
                    <a:pt x="21359" y="9329"/>
                    <a:pt x="21359" y="9572"/>
                  </a:cubicBezTo>
                  <a:cubicBezTo>
                    <a:pt x="21341" y="9782"/>
                    <a:pt x="21270" y="9829"/>
                    <a:pt x="21280" y="10085"/>
                  </a:cubicBezTo>
                  <a:cubicBezTo>
                    <a:pt x="21311" y="9884"/>
                    <a:pt x="21296" y="10273"/>
                    <a:pt x="21336" y="10030"/>
                  </a:cubicBezTo>
                  <a:cubicBezTo>
                    <a:pt x="21354" y="10434"/>
                    <a:pt x="21297" y="10557"/>
                    <a:pt x="21283" y="10951"/>
                  </a:cubicBezTo>
                  <a:cubicBezTo>
                    <a:pt x="21273" y="11219"/>
                    <a:pt x="21298" y="12095"/>
                    <a:pt x="21280" y="12273"/>
                  </a:cubicBezTo>
                  <a:cubicBezTo>
                    <a:pt x="21255" y="12527"/>
                    <a:pt x="21206" y="12649"/>
                    <a:pt x="21189" y="12928"/>
                  </a:cubicBezTo>
                  <a:cubicBezTo>
                    <a:pt x="21166" y="13143"/>
                    <a:pt x="21223" y="13074"/>
                    <a:pt x="21215" y="13333"/>
                  </a:cubicBezTo>
                  <a:cubicBezTo>
                    <a:pt x="21102" y="14495"/>
                    <a:pt x="20958" y="14841"/>
                    <a:pt x="20882" y="16255"/>
                  </a:cubicBezTo>
                  <a:cubicBezTo>
                    <a:pt x="20859" y="16677"/>
                    <a:pt x="20847" y="17229"/>
                    <a:pt x="20811" y="17545"/>
                  </a:cubicBezTo>
                  <a:cubicBezTo>
                    <a:pt x="20758" y="18005"/>
                    <a:pt x="20665" y="18162"/>
                    <a:pt x="20635" y="18802"/>
                  </a:cubicBezTo>
                  <a:cubicBezTo>
                    <a:pt x="20622" y="18990"/>
                    <a:pt x="20649" y="19571"/>
                    <a:pt x="20649" y="19531"/>
                  </a:cubicBezTo>
                  <a:cubicBezTo>
                    <a:pt x="20652" y="19686"/>
                    <a:pt x="20642" y="19854"/>
                    <a:pt x="20663" y="20029"/>
                  </a:cubicBezTo>
                  <a:cubicBezTo>
                    <a:pt x="20668" y="20077"/>
                    <a:pt x="20702" y="20042"/>
                    <a:pt x="20682" y="20208"/>
                  </a:cubicBezTo>
                  <a:cubicBezTo>
                    <a:pt x="20627" y="20612"/>
                    <a:pt x="20485" y="20683"/>
                    <a:pt x="20367" y="20758"/>
                  </a:cubicBezTo>
                  <a:cubicBezTo>
                    <a:pt x="20234" y="20842"/>
                    <a:pt x="20131" y="21105"/>
                    <a:pt x="20034" y="21173"/>
                  </a:cubicBezTo>
                  <a:cubicBezTo>
                    <a:pt x="19904" y="21264"/>
                    <a:pt x="19768" y="21235"/>
                    <a:pt x="19631" y="21326"/>
                  </a:cubicBezTo>
                  <a:cubicBezTo>
                    <a:pt x="19496" y="21414"/>
                    <a:pt x="19363" y="21403"/>
                    <a:pt x="19228" y="21385"/>
                  </a:cubicBezTo>
                  <a:cubicBezTo>
                    <a:pt x="18951" y="21352"/>
                    <a:pt x="18667" y="21516"/>
                    <a:pt x="18391" y="21556"/>
                  </a:cubicBezTo>
                  <a:cubicBezTo>
                    <a:pt x="18123" y="21596"/>
                    <a:pt x="17850" y="21494"/>
                    <a:pt x="17579" y="21359"/>
                  </a:cubicBezTo>
                  <a:cubicBezTo>
                    <a:pt x="17301" y="21220"/>
                    <a:pt x="17024" y="21169"/>
                    <a:pt x="16735" y="21213"/>
                  </a:cubicBezTo>
                  <a:cubicBezTo>
                    <a:pt x="16448" y="21255"/>
                    <a:pt x="16157" y="21158"/>
                    <a:pt x="15874" y="21297"/>
                  </a:cubicBezTo>
                  <a:cubicBezTo>
                    <a:pt x="15593" y="21432"/>
                    <a:pt x="15314" y="21598"/>
                    <a:pt x="15049" y="21465"/>
                  </a:cubicBezTo>
                  <a:cubicBezTo>
                    <a:pt x="14532" y="21205"/>
                    <a:pt x="14029" y="21224"/>
                    <a:pt x="13566" y="21048"/>
                  </a:cubicBezTo>
                  <a:cubicBezTo>
                    <a:pt x="13015" y="21370"/>
                    <a:pt x="12469" y="21123"/>
                    <a:pt x="11918" y="21205"/>
                  </a:cubicBezTo>
                  <a:cubicBezTo>
                    <a:pt x="11644" y="21246"/>
                    <a:pt x="11386" y="21331"/>
                    <a:pt x="11118" y="21372"/>
                  </a:cubicBezTo>
                  <a:cubicBezTo>
                    <a:pt x="10848" y="21412"/>
                    <a:pt x="10581" y="21301"/>
                    <a:pt x="10312" y="21310"/>
                  </a:cubicBezTo>
                  <a:cubicBezTo>
                    <a:pt x="9755" y="21331"/>
                    <a:pt x="9236" y="21600"/>
                    <a:pt x="8688" y="21553"/>
                  </a:cubicBezTo>
                  <a:cubicBezTo>
                    <a:pt x="8439" y="21532"/>
                    <a:pt x="8197" y="21396"/>
                    <a:pt x="7943" y="21301"/>
                  </a:cubicBezTo>
                  <a:cubicBezTo>
                    <a:pt x="7678" y="21202"/>
                    <a:pt x="7408" y="21290"/>
                    <a:pt x="7119" y="21333"/>
                  </a:cubicBezTo>
                  <a:cubicBezTo>
                    <a:pt x="6507" y="21425"/>
                    <a:pt x="5908" y="21286"/>
                    <a:pt x="5302" y="21377"/>
                  </a:cubicBezTo>
                  <a:cubicBezTo>
                    <a:pt x="4699" y="21469"/>
                    <a:pt x="4094" y="21487"/>
                    <a:pt x="3517" y="21372"/>
                  </a:cubicBezTo>
                  <a:cubicBezTo>
                    <a:pt x="2936" y="21257"/>
                    <a:pt x="2348" y="21001"/>
                    <a:pt x="1755" y="21089"/>
                  </a:cubicBezTo>
                  <a:cubicBezTo>
                    <a:pt x="1459" y="21132"/>
                    <a:pt x="1149" y="21180"/>
                    <a:pt x="857" y="21224"/>
                  </a:cubicBezTo>
                  <a:cubicBezTo>
                    <a:pt x="547" y="21271"/>
                    <a:pt x="265" y="21341"/>
                    <a:pt x="0" y="20851"/>
                  </a:cubicBezTo>
                  <a:cubicBezTo>
                    <a:pt x="35" y="20466"/>
                    <a:pt x="17" y="20091"/>
                    <a:pt x="40" y="19613"/>
                  </a:cubicBezTo>
                  <a:cubicBezTo>
                    <a:pt x="55" y="19291"/>
                    <a:pt x="105" y="19068"/>
                    <a:pt x="118" y="18736"/>
                  </a:cubicBezTo>
                  <a:cubicBezTo>
                    <a:pt x="127" y="18497"/>
                    <a:pt x="126" y="18221"/>
                    <a:pt x="135" y="17958"/>
                  </a:cubicBezTo>
                  <a:cubicBezTo>
                    <a:pt x="142" y="17715"/>
                    <a:pt x="149" y="17461"/>
                    <a:pt x="157" y="17223"/>
                  </a:cubicBezTo>
                  <a:cubicBezTo>
                    <a:pt x="173" y="16734"/>
                    <a:pt x="171" y="16223"/>
                    <a:pt x="197" y="15804"/>
                  </a:cubicBezTo>
                  <a:cubicBezTo>
                    <a:pt x="231" y="15240"/>
                    <a:pt x="317" y="14957"/>
                    <a:pt x="348" y="14414"/>
                  </a:cubicBezTo>
                  <a:cubicBezTo>
                    <a:pt x="500" y="13928"/>
                    <a:pt x="631" y="13207"/>
                    <a:pt x="814" y="12838"/>
                  </a:cubicBezTo>
                  <a:cubicBezTo>
                    <a:pt x="794" y="11970"/>
                    <a:pt x="868" y="11883"/>
                    <a:pt x="890" y="11184"/>
                  </a:cubicBezTo>
                  <a:cubicBezTo>
                    <a:pt x="899" y="10923"/>
                    <a:pt x="894" y="10622"/>
                    <a:pt x="901" y="10363"/>
                  </a:cubicBezTo>
                  <a:cubicBezTo>
                    <a:pt x="911" y="9957"/>
                    <a:pt x="949" y="9627"/>
                    <a:pt x="916" y="9220"/>
                  </a:cubicBezTo>
                  <a:cubicBezTo>
                    <a:pt x="953" y="9000"/>
                    <a:pt x="979" y="8712"/>
                    <a:pt x="1007" y="8430"/>
                  </a:cubicBezTo>
                  <a:cubicBezTo>
                    <a:pt x="1006" y="8193"/>
                    <a:pt x="978" y="7959"/>
                    <a:pt x="993" y="7749"/>
                  </a:cubicBezTo>
                  <a:cubicBezTo>
                    <a:pt x="999" y="7648"/>
                    <a:pt x="1036" y="7184"/>
                    <a:pt x="1046" y="7056"/>
                  </a:cubicBezTo>
                  <a:cubicBezTo>
                    <a:pt x="1045" y="6231"/>
                    <a:pt x="1127" y="5244"/>
                    <a:pt x="1146" y="4715"/>
                  </a:cubicBezTo>
                  <a:cubicBezTo>
                    <a:pt x="1185" y="4218"/>
                    <a:pt x="1167" y="3670"/>
                    <a:pt x="1241" y="3424"/>
                  </a:cubicBezTo>
                  <a:close/>
                  <a:moveTo>
                    <a:pt x="1241" y="3424"/>
                  </a:moveTo>
                </a:path>
              </a:pathLst>
            </a:custGeom>
            <a:solidFill>
              <a:schemeClr val="accent1"/>
            </a:solidFill>
            <a:ln>
              <a:noFill/>
            </a:ln>
          </p:spPr>
          <p:txBody>
            <a:bodyPr lIns="0" tIns="0" rIns="0" bIns="0"/>
            <a:lstStyle/>
            <a:p>
              <a:endParaRPr lang="en-US"/>
            </a:p>
          </p:txBody>
        </p:sp>
        <p:sp>
          <p:nvSpPr>
            <p:cNvPr id="61" name="AutoShape 6">
              <a:extLst>
                <a:ext uri="{FF2B5EF4-FFF2-40B4-BE49-F238E27FC236}">
                  <a16:creationId xmlns:a16="http://schemas.microsoft.com/office/drawing/2014/main" id="{C6ABA217-D164-3E45-AD3E-70C90AA8C22E}"/>
                </a:ext>
              </a:extLst>
            </p:cNvPr>
            <p:cNvSpPr>
              <a:spLocks/>
            </p:cNvSpPr>
            <p:nvPr/>
          </p:nvSpPr>
          <p:spPr bwMode="auto">
            <a:xfrm>
              <a:off x="365985" y="2968460"/>
              <a:ext cx="2774950" cy="284163"/>
            </a:xfrm>
            <a:custGeom>
              <a:avLst/>
              <a:gdLst/>
              <a:ahLst/>
              <a:cxnLst/>
              <a:rect l="0" t="0" r="r" b="b"/>
              <a:pathLst>
                <a:path w="21581" h="21464">
                  <a:moveTo>
                    <a:pt x="706" y="4357"/>
                  </a:moveTo>
                  <a:cubicBezTo>
                    <a:pt x="712" y="3869"/>
                    <a:pt x="657" y="3653"/>
                    <a:pt x="635" y="3298"/>
                  </a:cubicBezTo>
                  <a:cubicBezTo>
                    <a:pt x="659" y="2904"/>
                    <a:pt x="647" y="2444"/>
                    <a:pt x="665" y="1912"/>
                  </a:cubicBezTo>
                  <a:cubicBezTo>
                    <a:pt x="672" y="1730"/>
                    <a:pt x="682" y="1746"/>
                    <a:pt x="683" y="1555"/>
                  </a:cubicBezTo>
                  <a:cubicBezTo>
                    <a:pt x="687" y="988"/>
                    <a:pt x="635" y="531"/>
                    <a:pt x="658" y="0"/>
                  </a:cubicBezTo>
                  <a:cubicBezTo>
                    <a:pt x="885" y="252"/>
                    <a:pt x="1082" y="-15"/>
                    <a:pt x="1318" y="78"/>
                  </a:cubicBezTo>
                  <a:cubicBezTo>
                    <a:pt x="1917" y="310"/>
                    <a:pt x="2534" y="499"/>
                    <a:pt x="3172" y="467"/>
                  </a:cubicBezTo>
                  <a:cubicBezTo>
                    <a:pt x="3380" y="456"/>
                    <a:pt x="3591" y="588"/>
                    <a:pt x="3801" y="595"/>
                  </a:cubicBezTo>
                  <a:cubicBezTo>
                    <a:pt x="4432" y="613"/>
                    <a:pt x="5095" y="756"/>
                    <a:pt x="5727" y="660"/>
                  </a:cubicBezTo>
                  <a:cubicBezTo>
                    <a:pt x="6346" y="567"/>
                    <a:pt x="7055" y="567"/>
                    <a:pt x="7667" y="458"/>
                  </a:cubicBezTo>
                  <a:cubicBezTo>
                    <a:pt x="8494" y="310"/>
                    <a:pt x="9378" y="131"/>
                    <a:pt x="10221" y="296"/>
                  </a:cubicBezTo>
                  <a:cubicBezTo>
                    <a:pt x="10544" y="360"/>
                    <a:pt x="10886" y="360"/>
                    <a:pt x="11148" y="424"/>
                  </a:cubicBezTo>
                  <a:cubicBezTo>
                    <a:pt x="11245" y="447"/>
                    <a:pt x="11341" y="563"/>
                    <a:pt x="11433" y="560"/>
                  </a:cubicBezTo>
                  <a:cubicBezTo>
                    <a:pt x="11536" y="552"/>
                    <a:pt x="11646" y="465"/>
                    <a:pt x="11749" y="512"/>
                  </a:cubicBezTo>
                  <a:cubicBezTo>
                    <a:pt x="11963" y="606"/>
                    <a:pt x="12306" y="372"/>
                    <a:pt x="12616" y="513"/>
                  </a:cubicBezTo>
                  <a:cubicBezTo>
                    <a:pt x="12833" y="613"/>
                    <a:pt x="13053" y="581"/>
                    <a:pt x="13272" y="460"/>
                  </a:cubicBezTo>
                  <a:cubicBezTo>
                    <a:pt x="13489" y="339"/>
                    <a:pt x="13707" y="428"/>
                    <a:pt x="13928" y="406"/>
                  </a:cubicBezTo>
                  <a:cubicBezTo>
                    <a:pt x="14363" y="364"/>
                    <a:pt x="14787" y="462"/>
                    <a:pt x="15203" y="392"/>
                  </a:cubicBezTo>
                  <a:cubicBezTo>
                    <a:pt x="15617" y="324"/>
                    <a:pt x="16027" y="264"/>
                    <a:pt x="16432" y="385"/>
                  </a:cubicBezTo>
                  <a:cubicBezTo>
                    <a:pt x="16656" y="452"/>
                    <a:pt x="16880" y="339"/>
                    <a:pt x="17102" y="374"/>
                  </a:cubicBezTo>
                  <a:cubicBezTo>
                    <a:pt x="17713" y="471"/>
                    <a:pt x="18390" y="313"/>
                    <a:pt x="19060" y="212"/>
                  </a:cubicBezTo>
                  <a:cubicBezTo>
                    <a:pt x="19720" y="113"/>
                    <a:pt x="20358" y="151"/>
                    <a:pt x="20941" y="374"/>
                  </a:cubicBezTo>
                  <a:cubicBezTo>
                    <a:pt x="21097" y="435"/>
                    <a:pt x="21251" y="570"/>
                    <a:pt x="21409" y="617"/>
                  </a:cubicBezTo>
                  <a:cubicBezTo>
                    <a:pt x="21457" y="629"/>
                    <a:pt x="21513" y="503"/>
                    <a:pt x="21556" y="816"/>
                  </a:cubicBezTo>
                  <a:cubicBezTo>
                    <a:pt x="21564" y="1166"/>
                    <a:pt x="21586" y="1548"/>
                    <a:pt x="21581" y="1837"/>
                  </a:cubicBezTo>
                  <a:cubicBezTo>
                    <a:pt x="21574" y="2215"/>
                    <a:pt x="21507" y="2395"/>
                    <a:pt x="21518" y="2915"/>
                  </a:cubicBezTo>
                  <a:cubicBezTo>
                    <a:pt x="21497" y="2968"/>
                    <a:pt x="21477" y="3022"/>
                    <a:pt x="21468" y="3189"/>
                  </a:cubicBezTo>
                  <a:cubicBezTo>
                    <a:pt x="21466" y="3486"/>
                    <a:pt x="21477" y="3646"/>
                    <a:pt x="21474" y="3946"/>
                  </a:cubicBezTo>
                  <a:cubicBezTo>
                    <a:pt x="21443" y="4272"/>
                    <a:pt x="21424" y="4649"/>
                    <a:pt x="21398" y="4804"/>
                  </a:cubicBezTo>
                  <a:cubicBezTo>
                    <a:pt x="21381" y="5027"/>
                    <a:pt x="21403" y="4940"/>
                    <a:pt x="21403" y="5205"/>
                  </a:cubicBezTo>
                  <a:cubicBezTo>
                    <a:pt x="21387" y="5409"/>
                    <a:pt x="21358" y="5482"/>
                    <a:pt x="21344" y="5703"/>
                  </a:cubicBezTo>
                  <a:cubicBezTo>
                    <a:pt x="21351" y="6040"/>
                    <a:pt x="21355" y="6657"/>
                    <a:pt x="21309" y="6733"/>
                  </a:cubicBezTo>
                  <a:cubicBezTo>
                    <a:pt x="21347" y="7239"/>
                    <a:pt x="21296" y="7528"/>
                    <a:pt x="21279" y="7985"/>
                  </a:cubicBezTo>
                  <a:cubicBezTo>
                    <a:pt x="21265" y="8347"/>
                    <a:pt x="21269" y="8643"/>
                    <a:pt x="21257" y="8834"/>
                  </a:cubicBezTo>
                  <a:cubicBezTo>
                    <a:pt x="21244" y="9061"/>
                    <a:pt x="21219" y="9205"/>
                    <a:pt x="21203" y="9198"/>
                  </a:cubicBezTo>
                  <a:cubicBezTo>
                    <a:pt x="21234" y="10517"/>
                    <a:pt x="21147" y="11129"/>
                    <a:pt x="21120" y="11974"/>
                  </a:cubicBezTo>
                  <a:cubicBezTo>
                    <a:pt x="21093" y="12245"/>
                    <a:pt x="21052" y="12385"/>
                    <a:pt x="21034" y="12745"/>
                  </a:cubicBezTo>
                  <a:cubicBezTo>
                    <a:pt x="21034" y="13055"/>
                    <a:pt x="21057" y="13005"/>
                    <a:pt x="21054" y="13364"/>
                  </a:cubicBezTo>
                  <a:cubicBezTo>
                    <a:pt x="21050" y="13696"/>
                    <a:pt x="20988" y="14208"/>
                    <a:pt x="20973" y="14447"/>
                  </a:cubicBezTo>
                  <a:cubicBezTo>
                    <a:pt x="20964" y="14576"/>
                    <a:pt x="20967" y="14615"/>
                    <a:pt x="20959" y="14672"/>
                  </a:cubicBezTo>
                  <a:cubicBezTo>
                    <a:pt x="20933" y="14868"/>
                    <a:pt x="20954" y="15204"/>
                    <a:pt x="20956" y="15651"/>
                  </a:cubicBezTo>
                  <a:cubicBezTo>
                    <a:pt x="20929" y="15760"/>
                    <a:pt x="20903" y="15881"/>
                    <a:pt x="20874" y="15974"/>
                  </a:cubicBezTo>
                  <a:cubicBezTo>
                    <a:pt x="20869" y="16331"/>
                    <a:pt x="20892" y="16401"/>
                    <a:pt x="20889" y="16731"/>
                  </a:cubicBezTo>
                  <a:cubicBezTo>
                    <a:pt x="20858" y="16966"/>
                    <a:pt x="20823" y="17055"/>
                    <a:pt x="20784" y="17235"/>
                  </a:cubicBezTo>
                  <a:cubicBezTo>
                    <a:pt x="20753" y="17383"/>
                    <a:pt x="20731" y="17659"/>
                    <a:pt x="20698" y="17828"/>
                  </a:cubicBezTo>
                  <a:cubicBezTo>
                    <a:pt x="20662" y="18019"/>
                    <a:pt x="20615" y="18063"/>
                    <a:pt x="20575" y="18247"/>
                  </a:cubicBezTo>
                  <a:cubicBezTo>
                    <a:pt x="20538" y="18419"/>
                    <a:pt x="20515" y="18832"/>
                    <a:pt x="20480" y="19020"/>
                  </a:cubicBezTo>
                  <a:cubicBezTo>
                    <a:pt x="20423" y="19319"/>
                    <a:pt x="20344" y="19309"/>
                    <a:pt x="20288" y="19583"/>
                  </a:cubicBezTo>
                  <a:cubicBezTo>
                    <a:pt x="20260" y="19723"/>
                    <a:pt x="20244" y="19942"/>
                    <a:pt x="20220" y="20083"/>
                  </a:cubicBezTo>
                  <a:cubicBezTo>
                    <a:pt x="20205" y="20322"/>
                    <a:pt x="20239" y="20659"/>
                    <a:pt x="20226" y="20973"/>
                  </a:cubicBezTo>
                  <a:cubicBezTo>
                    <a:pt x="19993" y="21585"/>
                    <a:pt x="19673" y="21215"/>
                    <a:pt x="19410" y="21096"/>
                  </a:cubicBezTo>
                  <a:cubicBezTo>
                    <a:pt x="19211" y="21005"/>
                    <a:pt x="19013" y="20941"/>
                    <a:pt x="18827" y="20872"/>
                  </a:cubicBezTo>
                  <a:cubicBezTo>
                    <a:pt x="18387" y="20707"/>
                    <a:pt x="17967" y="20957"/>
                    <a:pt x="17515" y="21025"/>
                  </a:cubicBezTo>
                  <a:cubicBezTo>
                    <a:pt x="17081" y="21091"/>
                    <a:pt x="16709" y="20927"/>
                    <a:pt x="16314" y="21073"/>
                  </a:cubicBezTo>
                  <a:cubicBezTo>
                    <a:pt x="15737" y="21285"/>
                    <a:pt x="15106" y="21342"/>
                    <a:pt x="14438" y="21444"/>
                  </a:cubicBezTo>
                  <a:cubicBezTo>
                    <a:pt x="14043" y="21503"/>
                    <a:pt x="13635" y="21237"/>
                    <a:pt x="13209" y="21094"/>
                  </a:cubicBezTo>
                  <a:cubicBezTo>
                    <a:pt x="13019" y="21030"/>
                    <a:pt x="12826" y="20929"/>
                    <a:pt x="12631" y="20959"/>
                  </a:cubicBezTo>
                  <a:cubicBezTo>
                    <a:pt x="12420" y="20991"/>
                    <a:pt x="12210" y="21189"/>
                    <a:pt x="12003" y="21276"/>
                  </a:cubicBezTo>
                  <a:cubicBezTo>
                    <a:pt x="11795" y="21364"/>
                    <a:pt x="11589" y="21295"/>
                    <a:pt x="11383" y="21280"/>
                  </a:cubicBezTo>
                  <a:cubicBezTo>
                    <a:pt x="10951" y="21252"/>
                    <a:pt x="10522" y="21560"/>
                    <a:pt x="10081" y="21432"/>
                  </a:cubicBezTo>
                  <a:cubicBezTo>
                    <a:pt x="9666" y="21312"/>
                    <a:pt x="9256" y="21457"/>
                    <a:pt x="8833" y="21353"/>
                  </a:cubicBezTo>
                  <a:cubicBezTo>
                    <a:pt x="8750" y="21332"/>
                    <a:pt x="8655" y="21307"/>
                    <a:pt x="8563" y="21305"/>
                  </a:cubicBezTo>
                  <a:cubicBezTo>
                    <a:pt x="8559" y="21305"/>
                    <a:pt x="8540" y="21396"/>
                    <a:pt x="8540" y="21396"/>
                  </a:cubicBezTo>
                  <a:cubicBezTo>
                    <a:pt x="7430" y="21225"/>
                    <a:pt x="6234" y="21185"/>
                    <a:pt x="5136" y="21062"/>
                  </a:cubicBezTo>
                  <a:cubicBezTo>
                    <a:pt x="4721" y="21016"/>
                    <a:pt x="4326" y="21107"/>
                    <a:pt x="3925" y="21112"/>
                  </a:cubicBezTo>
                  <a:cubicBezTo>
                    <a:pt x="3540" y="21116"/>
                    <a:pt x="3146" y="20682"/>
                    <a:pt x="2718" y="20670"/>
                  </a:cubicBezTo>
                  <a:cubicBezTo>
                    <a:pt x="2354" y="20659"/>
                    <a:pt x="1944" y="20536"/>
                    <a:pt x="1548" y="20579"/>
                  </a:cubicBezTo>
                  <a:cubicBezTo>
                    <a:pt x="1125" y="20623"/>
                    <a:pt x="697" y="20686"/>
                    <a:pt x="264" y="20816"/>
                  </a:cubicBezTo>
                  <a:cubicBezTo>
                    <a:pt x="185" y="20600"/>
                    <a:pt x="81" y="20552"/>
                    <a:pt x="6" y="20188"/>
                  </a:cubicBezTo>
                  <a:cubicBezTo>
                    <a:pt x="-14" y="20174"/>
                    <a:pt x="24" y="20056"/>
                    <a:pt x="20" y="19917"/>
                  </a:cubicBezTo>
                  <a:cubicBezTo>
                    <a:pt x="29" y="19583"/>
                    <a:pt x="49" y="19100"/>
                    <a:pt x="23" y="18893"/>
                  </a:cubicBezTo>
                  <a:cubicBezTo>
                    <a:pt x="59" y="18504"/>
                    <a:pt x="69" y="18336"/>
                    <a:pt x="108" y="18078"/>
                  </a:cubicBezTo>
                  <a:cubicBezTo>
                    <a:pt x="96" y="17782"/>
                    <a:pt x="84" y="17859"/>
                    <a:pt x="89" y="17635"/>
                  </a:cubicBezTo>
                  <a:cubicBezTo>
                    <a:pt x="102" y="17084"/>
                    <a:pt x="130" y="17389"/>
                    <a:pt x="185" y="17043"/>
                  </a:cubicBezTo>
                  <a:cubicBezTo>
                    <a:pt x="225" y="16788"/>
                    <a:pt x="269" y="16368"/>
                    <a:pt x="234" y="15965"/>
                  </a:cubicBezTo>
                  <a:cubicBezTo>
                    <a:pt x="283" y="15760"/>
                    <a:pt x="302" y="15182"/>
                    <a:pt x="323" y="14572"/>
                  </a:cubicBezTo>
                  <a:cubicBezTo>
                    <a:pt x="397" y="14198"/>
                    <a:pt x="435" y="13747"/>
                    <a:pt x="458" y="12902"/>
                  </a:cubicBezTo>
                  <a:cubicBezTo>
                    <a:pt x="485" y="12575"/>
                    <a:pt x="525" y="12363"/>
                    <a:pt x="558" y="12085"/>
                  </a:cubicBezTo>
                  <a:cubicBezTo>
                    <a:pt x="567" y="11964"/>
                    <a:pt x="533" y="11878"/>
                    <a:pt x="543" y="11598"/>
                  </a:cubicBezTo>
                  <a:cubicBezTo>
                    <a:pt x="590" y="11311"/>
                    <a:pt x="587" y="10815"/>
                    <a:pt x="619" y="10561"/>
                  </a:cubicBezTo>
                  <a:cubicBezTo>
                    <a:pt x="624" y="10278"/>
                    <a:pt x="590" y="10369"/>
                    <a:pt x="587" y="10165"/>
                  </a:cubicBezTo>
                  <a:cubicBezTo>
                    <a:pt x="633" y="9635"/>
                    <a:pt x="662" y="8865"/>
                    <a:pt x="647" y="8019"/>
                  </a:cubicBezTo>
                  <a:cubicBezTo>
                    <a:pt x="641" y="7642"/>
                    <a:pt x="615" y="7461"/>
                    <a:pt x="619" y="7177"/>
                  </a:cubicBezTo>
                  <a:cubicBezTo>
                    <a:pt x="620" y="7038"/>
                    <a:pt x="643" y="7084"/>
                    <a:pt x="655" y="6860"/>
                  </a:cubicBezTo>
                  <a:cubicBezTo>
                    <a:pt x="649" y="6529"/>
                    <a:pt x="658" y="6290"/>
                    <a:pt x="653" y="6014"/>
                  </a:cubicBezTo>
                  <a:cubicBezTo>
                    <a:pt x="647" y="5612"/>
                    <a:pt x="620" y="5344"/>
                    <a:pt x="629" y="5038"/>
                  </a:cubicBezTo>
                  <a:cubicBezTo>
                    <a:pt x="635" y="4841"/>
                    <a:pt x="678" y="4750"/>
                    <a:pt x="688" y="4494"/>
                  </a:cubicBezTo>
                  <a:cubicBezTo>
                    <a:pt x="687" y="4503"/>
                    <a:pt x="704" y="4305"/>
                    <a:pt x="706" y="4357"/>
                  </a:cubicBezTo>
                  <a:close/>
                  <a:moveTo>
                    <a:pt x="706" y="4357"/>
                  </a:moveTo>
                </a:path>
              </a:pathLst>
            </a:custGeom>
            <a:solidFill>
              <a:schemeClr val="accent1"/>
            </a:solidFill>
            <a:ln>
              <a:noFill/>
            </a:ln>
          </p:spPr>
          <p:txBody>
            <a:bodyPr lIns="0" tIns="0" rIns="0" bIns="0"/>
            <a:lstStyle/>
            <a:p>
              <a:endParaRPr lang="en-US"/>
            </a:p>
          </p:txBody>
        </p:sp>
        <p:sp>
          <p:nvSpPr>
            <p:cNvPr id="62" name="AutoShape 7">
              <a:extLst>
                <a:ext uri="{FF2B5EF4-FFF2-40B4-BE49-F238E27FC236}">
                  <a16:creationId xmlns:a16="http://schemas.microsoft.com/office/drawing/2014/main" id="{FBC393C1-DECC-AC42-B9F2-7755AA2BD132}"/>
                </a:ext>
              </a:extLst>
            </p:cNvPr>
            <p:cNvSpPr>
              <a:spLocks/>
            </p:cNvSpPr>
            <p:nvPr/>
          </p:nvSpPr>
          <p:spPr bwMode="auto">
            <a:xfrm>
              <a:off x="365985" y="3747978"/>
              <a:ext cx="2773363" cy="282575"/>
            </a:xfrm>
            <a:custGeom>
              <a:avLst/>
              <a:gdLst/>
              <a:ahLst/>
              <a:cxnLst/>
              <a:rect l="0" t="0" r="r" b="b"/>
              <a:pathLst>
                <a:path w="21581" h="21464">
                  <a:moveTo>
                    <a:pt x="706" y="4356"/>
                  </a:moveTo>
                  <a:cubicBezTo>
                    <a:pt x="712" y="3869"/>
                    <a:pt x="657" y="3654"/>
                    <a:pt x="635" y="3298"/>
                  </a:cubicBezTo>
                  <a:cubicBezTo>
                    <a:pt x="659" y="2904"/>
                    <a:pt x="647" y="2443"/>
                    <a:pt x="665" y="1912"/>
                  </a:cubicBezTo>
                  <a:cubicBezTo>
                    <a:pt x="672" y="1729"/>
                    <a:pt x="682" y="1746"/>
                    <a:pt x="683" y="1555"/>
                  </a:cubicBezTo>
                  <a:cubicBezTo>
                    <a:pt x="687" y="987"/>
                    <a:pt x="635" y="531"/>
                    <a:pt x="658" y="0"/>
                  </a:cubicBezTo>
                  <a:cubicBezTo>
                    <a:pt x="885" y="253"/>
                    <a:pt x="1082" y="-15"/>
                    <a:pt x="1318" y="78"/>
                  </a:cubicBezTo>
                  <a:cubicBezTo>
                    <a:pt x="1917" y="309"/>
                    <a:pt x="2534" y="499"/>
                    <a:pt x="3172" y="466"/>
                  </a:cubicBezTo>
                  <a:cubicBezTo>
                    <a:pt x="3380" y="455"/>
                    <a:pt x="3591" y="587"/>
                    <a:pt x="3801" y="595"/>
                  </a:cubicBezTo>
                  <a:cubicBezTo>
                    <a:pt x="4432" y="613"/>
                    <a:pt x="5095" y="756"/>
                    <a:pt x="5727" y="659"/>
                  </a:cubicBezTo>
                  <a:cubicBezTo>
                    <a:pt x="6346" y="567"/>
                    <a:pt x="7055" y="567"/>
                    <a:pt x="7667" y="458"/>
                  </a:cubicBezTo>
                  <a:cubicBezTo>
                    <a:pt x="8494" y="309"/>
                    <a:pt x="9378" y="131"/>
                    <a:pt x="10221" y="295"/>
                  </a:cubicBezTo>
                  <a:cubicBezTo>
                    <a:pt x="10544" y="360"/>
                    <a:pt x="10886" y="360"/>
                    <a:pt x="11148" y="423"/>
                  </a:cubicBezTo>
                  <a:cubicBezTo>
                    <a:pt x="11245" y="447"/>
                    <a:pt x="11341" y="563"/>
                    <a:pt x="11433" y="559"/>
                  </a:cubicBezTo>
                  <a:cubicBezTo>
                    <a:pt x="11536" y="552"/>
                    <a:pt x="11646" y="465"/>
                    <a:pt x="11749" y="511"/>
                  </a:cubicBezTo>
                  <a:cubicBezTo>
                    <a:pt x="11963" y="605"/>
                    <a:pt x="12306" y="372"/>
                    <a:pt x="12616" y="513"/>
                  </a:cubicBezTo>
                  <a:cubicBezTo>
                    <a:pt x="12833" y="613"/>
                    <a:pt x="13053" y="581"/>
                    <a:pt x="13272" y="459"/>
                  </a:cubicBezTo>
                  <a:cubicBezTo>
                    <a:pt x="13488" y="338"/>
                    <a:pt x="13708" y="427"/>
                    <a:pt x="13928" y="406"/>
                  </a:cubicBezTo>
                  <a:cubicBezTo>
                    <a:pt x="14363" y="363"/>
                    <a:pt x="14787" y="462"/>
                    <a:pt x="15203" y="392"/>
                  </a:cubicBezTo>
                  <a:cubicBezTo>
                    <a:pt x="15617" y="324"/>
                    <a:pt x="16027" y="263"/>
                    <a:pt x="16432" y="385"/>
                  </a:cubicBezTo>
                  <a:cubicBezTo>
                    <a:pt x="16656" y="452"/>
                    <a:pt x="16880" y="338"/>
                    <a:pt x="17102" y="374"/>
                  </a:cubicBezTo>
                  <a:cubicBezTo>
                    <a:pt x="17713" y="470"/>
                    <a:pt x="18390" y="313"/>
                    <a:pt x="19060" y="212"/>
                  </a:cubicBezTo>
                  <a:cubicBezTo>
                    <a:pt x="19720" y="113"/>
                    <a:pt x="20358" y="151"/>
                    <a:pt x="20941" y="374"/>
                  </a:cubicBezTo>
                  <a:cubicBezTo>
                    <a:pt x="21097" y="435"/>
                    <a:pt x="21251" y="570"/>
                    <a:pt x="21409" y="616"/>
                  </a:cubicBezTo>
                  <a:cubicBezTo>
                    <a:pt x="21457" y="629"/>
                    <a:pt x="21513" y="503"/>
                    <a:pt x="21556" y="816"/>
                  </a:cubicBezTo>
                  <a:cubicBezTo>
                    <a:pt x="21564" y="1166"/>
                    <a:pt x="21586" y="1548"/>
                    <a:pt x="21581" y="1836"/>
                  </a:cubicBezTo>
                  <a:cubicBezTo>
                    <a:pt x="21574" y="2215"/>
                    <a:pt x="21507" y="2395"/>
                    <a:pt x="21518" y="2914"/>
                  </a:cubicBezTo>
                  <a:cubicBezTo>
                    <a:pt x="21497" y="2968"/>
                    <a:pt x="21477" y="3022"/>
                    <a:pt x="21468" y="3189"/>
                  </a:cubicBezTo>
                  <a:cubicBezTo>
                    <a:pt x="21466" y="3485"/>
                    <a:pt x="21477" y="3646"/>
                    <a:pt x="21474" y="3946"/>
                  </a:cubicBezTo>
                  <a:cubicBezTo>
                    <a:pt x="21444" y="4272"/>
                    <a:pt x="21424" y="4649"/>
                    <a:pt x="21398" y="4804"/>
                  </a:cubicBezTo>
                  <a:cubicBezTo>
                    <a:pt x="21381" y="5027"/>
                    <a:pt x="21403" y="4939"/>
                    <a:pt x="21403" y="5205"/>
                  </a:cubicBezTo>
                  <a:cubicBezTo>
                    <a:pt x="21387" y="5409"/>
                    <a:pt x="21358" y="5482"/>
                    <a:pt x="21344" y="5703"/>
                  </a:cubicBezTo>
                  <a:cubicBezTo>
                    <a:pt x="21351" y="6041"/>
                    <a:pt x="21355" y="6658"/>
                    <a:pt x="21309" y="6732"/>
                  </a:cubicBezTo>
                  <a:cubicBezTo>
                    <a:pt x="21347" y="7239"/>
                    <a:pt x="21296" y="7528"/>
                    <a:pt x="21279" y="7984"/>
                  </a:cubicBezTo>
                  <a:cubicBezTo>
                    <a:pt x="21265" y="8348"/>
                    <a:pt x="21269" y="8643"/>
                    <a:pt x="21257" y="8834"/>
                  </a:cubicBezTo>
                  <a:cubicBezTo>
                    <a:pt x="21244" y="9061"/>
                    <a:pt x="21219" y="9205"/>
                    <a:pt x="21203" y="9199"/>
                  </a:cubicBezTo>
                  <a:cubicBezTo>
                    <a:pt x="21234" y="10517"/>
                    <a:pt x="21147" y="11128"/>
                    <a:pt x="21120" y="11974"/>
                  </a:cubicBezTo>
                  <a:cubicBezTo>
                    <a:pt x="21093" y="12245"/>
                    <a:pt x="21052" y="12385"/>
                    <a:pt x="21034" y="12745"/>
                  </a:cubicBezTo>
                  <a:cubicBezTo>
                    <a:pt x="21034" y="13055"/>
                    <a:pt x="21057" y="13005"/>
                    <a:pt x="21054" y="13364"/>
                  </a:cubicBezTo>
                  <a:cubicBezTo>
                    <a:pt x="21050" y="13696"/>
                    <a:pt x="20988" y="14209"/>
                    <a:pt x="20973" y="14447"/>
                  </a:cubicBezTo>
                  <a:cubicBezTo>
                    <a:pt x="20964" y="14576"/>
                    <a:pt x="20967" y="14615"/>
                    <a:pt x="20959" y="14672"/>
                  </a:cubicBezTo>
                  <a:cubicBezTo>
                    <a:pt x="20933" y="14868"/>
                    <a:pt x="20954" y="15203"/>
                    <a:pt x="20956" y="15651"/>
                  </a:cubicBezTo>
                  <a:cubicBezTo>
                    <a:pt x="20929" y="15760"/>
                    <a:pt x="20903" y="15882"/>
                    <a:pt x="20874" y="15974"/>
                  </a:cubicBezTo>
                  <a:cubicBezTo>
                    <a:pt x="20869" y="16331"/>
                    <a:pt x="20892" y="16401"/>
                    <a:pt x="20889" y="16730"/>
                  </a:cubicBezTo>
                  <a:cubicBezTo>
                    <a:pt x="20858" y="16967"/>
                    <a:pt x="20823" y="17056"/>
                    <a:pt x="20784" y="17235"/>
                  </a:cubicBezTo>
                  <a:cubicBezTo>
                    <a:pt x="20753" y="17383"/>
                    <a:pt x="20731" y="17658"/>
                    <a:pt x="20698" y="17827"/>
                  </a:cubicBezTo>
                  <a:cubicBezTo>
                    <a:pt x="20662" y="18019"/>
                    <a:pt x="20615" y="18064"/>
                    <a:pt x="20575" y="18247"/>
                  </a:cubicBezTo>
                  <a:cubicBezTo>
                    <a:pt x="20538" y="18419"/>
                    <a:pt x="20515" y="18833"/>
                    <a:pt x="20480" y="19020"/>
                  </a:cubicBezTo>
                  <a:cubicBezTo>
                    <a:pt x="20423" y="19320"/>
                    <a:pt x="20344" y="19308"/>
                    <a:pt x="20288" y="19583"/>
                  </a:cubicBezTo>
                  <a:cubicBezTo>
                    <a:pt x="20260" y="19723"/>
                    <a:pt x="20244" y="19942"/>
                    <a:pt x="20220" y="20083"/>
                  </a:cubicBezTo>
                  <a:cubicBezTo>
                    <a:pt x="20205" y="20322"/>
                    <a:pt x="20239" y="20659"/>
                    <a:pt x="20226" y="20973"/>
                  </a:cubicBezTo>
                  <a:cubicBezTo>
                    <a:pt x="19993" y="21585"/>
                    <a:pt x="19673" y="21216"/>
                    <a:pt x="19410" y="21096"/>
                  </a:cubicBezTo>
                  <a:cubicBezTo>
                    <a:pt x="19211" y="21005"/>
                    <a:pt x="19013" y="20941"/>
                    <a:pt x="18827" y="20871"/>
                  </a:cubicBezTo>
                  <a:cubicBezTo>
                    <a:pt x="18387" y="20707"/>
                    <a:pt x="17967" y="20957"/>
                    <a:pt x="17515" y="21026"/>
                  </a:cubicBezTo>
                  <a:cubicBezTo>
                    <a:pt x="17081" y="21091"/>
                    <a:pt x="16709" y="20926"/>
                    <a:pt x="16314" y="21074"/>
                  </a:cubicBezTo>
                  <a:cubicBezTo>
                    <a:pt x="15737" y="21286"/>
                    <a:pt x="15106" y="21342"/>
                    <a:pt x="14438" y="21444"/>
                  </a:cubicBezTo>
                  <a:cubicBezTo>
                    <a:pt x="14043" y="21503"/>
                    <a:pt x="13635" y="21237"/>
                    <a:pt x="13209" y="21095"/>
                  </a:cubicBezTo>
                  <a:cubicBezTo>
                    <a:pt x="13019" y="21030"/>
                    <a:pt x="12826" y="20929"/>
                    <a:pt x="12631" y="20959"/>
                  </a:cubicBezTo>
                  <a:cubicBezTo>
                    <a:pt x="12420" y="20991"/>
                    <a:pt x="12210" y="21190"/>
                    <a:pt x="12003" y="21277"/>
                  </a:cubicBezTo>
                  <a:cubicBezTo>
                    <a:pt x="11795" y="21364"/>
                    <a:pt x="11589" y="21295"/>
                    <a:pt x="11383" y="21281"/>
                  </a:cubicBezTo>
                  <a:cubicBezTo>
                    <a:pt x="10951" y="21251"/>
                    <a:pt x="10522" y="21561"/>
                    <a:pt x="10081" y="21432"/>
                  </a:cubicBezTo>
                  <a:cubicBezTo>
                    <a:pt x="9666" y="21312"/>
                    <a:pt x="9256" y="21457"/>
                    <a:pt x="8833" y="21354"/>
                  </a:cubicBezTo>
                  <a:cubicBezTo>
                    <a:pt x="8750" y="21332"/>
                    <a:pt x="8655" y="21307"/>
                    <a:pt x="8563" y="21305"/>
                  </a:cubicBezTo>
                  <a:cubicBezTo>
                    <a:pt x="8559" y="21305"/>
                    <a:pt x="8540" y="21397"/>
                    <a:pt x="8540" y="21397"/>
                  </a:cubicBezTo>
                  <a:cubicBezTo>
                    <a:pt x="7430" y="21224"/>
                    <a:pt x="6234" y="21186"/>
                    <a:pt x="5136" y="21062"/>
                  </a:cubicBezTo>
                  <a:cubicBezTo>
                    <a:pt x="4721" y="21016"/>
                    <a:pt x="4326" y="21107"/>
                    <a:pt x="3925" y="21113"/>
                  </a:cubicBezTo>
                  <a:cubicBezTo>
                    <a:pt x="3540" y="21117"/>
                    <a:pt x="3146" y="20683"/>
                    <a:pt x="2718" y="20670"/>
                  </a:cubicBezTo>
                  <a:cubicBezTo>
                    <a:pt x="2354" y="20659"/>
                    <a:pt x="1944" y="20537"/>
                    <a:pt x="1548" y="20579"/>
                  </a:cubicBezTo>
                  <a:cubicBezTo>
                    <a:pt x="1125" y="20624"/>
                    <a:pt x="697" y="20687"/>
                    <a:pt x="264" y="20816"/>
                  </a:cubicBezTo>
                  <a:cubicBezTo>
                    <a:pt x="185" y="20600"/>
                    <a:pt x="81" y="20552"/>
                    <a:pt x="6" y="20188"/>
                  </a:cubicBezTo>
                  <a:cubicBezTo>
                    <a:pt x="-14" y="20174"/>
                    <a:pt x="23" y="20056"/>
                    <a:pt x="20" y="19917"/>
                  </a:cubicBezTo>
                  <a:cubicBezTo>
                    <a:pt x="29" y="19583"/>
                    <a:pt x="49" y="19101"/>
                    <a:pt x="23" y="18893"/>
                  </a:cubicBezTo>
                  <a:cubicBezTo>
                    <a:pt x="59" y="18504"/>
                    <a:pt x="69" y="18337"/>
                    <a:pt x="108" y="18078"/>
                  </a:cubicBezTo>
                  <a:cubicBezTo>
                    <a:pt x="96" y="17781"/>
                    <a:pt x="84" y="17858"/>
                    <a:pt x="89" y="17635"/>
                  </a:cubicBezTo>
                  <a:cubicBezTo>
                    <a:pt x="102" y="17085"/>
                    <a:pt x="130" y="17389"/>
                    <a:pt x="185" y="17043"/>
                  </a:cubicBezTo>
                  <a:cubicBezTo>
                    <a:pt x="225" y="16788"/>
                    <a:pt x="269" y="16369"/>
                    <a:pt x="234" y="15965"/>
                  </a:cubicBezTo>
                  <a:cubicBezTo>
                    <a:pt x="283" y="15760"/>
                    <a:pt x="302" y="15182"/>
                    <a:pt x="323" y="14572"/>
                  </a:cubicBezTo>
                  <a:cubicBezTo>
                    <a:pt x="397" y="14197"/>
                    <a:pt x="435" y="13748"/>
                    <a:pt x="458" y="12902"/>
                  </a:cubicBezTo>
                  <a:cubicBezTo>
                    <a:pt x="485" y="12575"/>
                    <a:pt x="525" y="12363"/>
                    <a:pt x="558" y="12085"/>
                  </a:cubicBezTo>
                  <a:cubicBezTo>
                    <a:pt x="567" y="11964"/>
                    <a:pt x="533" y="11878"/>
                    <a:pt x="543" y="11598"/>
                  </a:cubicBezTo>
                  <a:cubicBezTo>
                    <a:pt x="590" y="11311"/>
                    <a:pt x="587" y="10814"/>
                    <a:pt x="619" y="10562"/>
                  </a:cubicBezTo>
                  <a:cubicBezTo>
                    <a:pt x="624" y="10278"/>
                    <a:pt x="590" y="10369"/>
                    <a:pt x="587" y="10165"/>
                  </a:cubicBezTo>
                  <a:cubicBezTo>
                    <a:pt x="633" y="9635"/>
                    <a:pt x="662" y="8865"/>
                    <a:pt x="647" y="8019"/>
                  </a:cubicBezTo>
                  <a:cubicBezTo>
                    <a:pt x="641" y="7642"/>
                    <a:pt x="615" y="7461"/>
                    <a:pt x="619" y="7177"/>
                  </a:cubicBezTo>
                  <a:cubicBezTo>
                    <a:pt x="620" y="7037"/>
                    <a:pt x="643" y="7084"/>
                    <a:pt x="655" y="6859"/>
                  </a:cubicBezTo>
                  <a:cubicBezTo>
                    <a:pt x="649" y="6529"/>
                    <a:pt x="658" y="6291"/>
                    <a:pt x="653" y="6013"/>
                  </a:cubicBezTo>
                  <a:cubicBezTo>
                    <a:pt x="647" y="5611"/>
                    <a:pt x="620" y="5344"/>
                    <a:pt x="629" y="5038"/>
                  </a:cubicBezTo>
                  <a:cubicBezTo>
                    <a:pt x="635" y="4841"/>
                    <a:pt x="678" y="4750"/>
                    <a:pt x="688" y="4494"/>
                  </a:cubicBezTo>
                  <a:cubicBezTo>
                    <a:pt x="687" y="4502"/>
                    <a:pt x="704" y="4304"/>
                    <a:pt x="706" y="4356"/>
                  </a:cubicBezTo>
                  <a:close/>
                  <a:moveTo>
                    <a:pt x="706" y="4356"/>
                  </a:moveTo>
                </a:path>
              </a:pathLst>
            </a:custGeom>
            <a:solidFill>
              <a:schemeClr val="accent1"/>
            </a:solidFill>
            <a:ln>
              <a:noFill/>
            </a:ln>
          </p:spPr>
          <p:txBody>
            <a:bodyPr lIns="0" tIns="0" rIns="0" bIns="0"/>
            <a:lstStyle/>
            <a:p>
              <a:endParaRPr lang="en-US"/>
            </a:p>
          </p:txBody>
        </p:sp>
        <p:sp>
          <p:nvSpPr>
            <p:cNvPr id="63" name="AutoShape 8">
              <a:extLst>
                <a:ext uri="{FF2B5EF4-FFF2-40B4-BE49-F238E27FC236}">
                  <a16:creationId xmlns:a16="http://schemas.microsoft.com/office/drawing/2014/main" id="{8D17157B-66FF-3C4D-966F-F3C21776DDF6}"/>
                </a:ext>
              </a:extLst>
            </p:cNvPr>
            <p:cNvSpPr>
              <a:spLocks/>
            </p:cNvSpPr>
            <p:nvPr/>
          </p:nvSpPr>
          <p:spPr bwMode="auto">
            <a:xfrm>
              <a:off x="3394599" y="1975854"/>
              <a:ext cx="439738" cy="271463"/>
            </a:xfrm>
            <a:custGeom>
              <a:avLst/>
              <a:gdLst/>
              <a:ahLst/>
              <a:cxnLst/>
              <a:rect l="0" t="0" r="r" b="b"/>
              <a:pathLst>
                <a:path w="21326" h="21473">
                  <a:moveTo>
                    <a:pt x="747" y="417"/>
                  </a:moveTo>
                  <a:cubicBezTo>
                    <a:pt x="842" y="386"/>
                    <a:pt x="996" y="136"/>
                    <a:pt x="1117" y="0"/>
                  </a:cubicBezTo>
                  <a:cubicBezTo>
                    <a:pt x="2901" y="5"/>
                    <a:pt x="4339" y="117"/>
                    <a:pt x="6235" y="0"/>
                  </a:cubicBezTo>
                  <a:cubicBezTo>
                    <a:pt x="6279" y="15"/>
                    <a:pt x="6210" y="82"/>
                    <a:pt x="6263" y="93"/>
                  </a:cubicBezTo>
                  <a:cubicBezTo>
                    <a:pt x="9042" y="26"/>
                    <a:pt x="11653" y="386"/>
                    <a:pt x="14495" y="324"/>
                  </a:cubicBezTo>
                  <a:cubicBezTo>
                    <a:pt x="16232" y="577"/>
                    <a:pt x="19239" y="545"/>
                    <a:pt x="21066" y="557"/>
                  </a:cubicBezTo>
                  <a:cubicBezTo>
                    <a:pt x="20954" y="1137"/>
                    <a:pt x="21176" y="1225"/>
                    <a:pt x="21268" y="1579"/>
                  </a:cubicBezTo>
                  <a:cubicBezTo>
                    <a:pt x="21261" y="1817"/>
                    <a:pt x="21050" y="1722"/>
                    <a:pt x="21009" y="1905"/>
                  </a:cubicBezTo>
                  <a:cubicBezTo>
                    <a:pt x="21174" y="2444"/>
                    <a:pt x="21156" y="2424"/>
                    <a:pt x="21325" y="2650"/>
                  </a:cubicBezTo>
                  <a:cubicBezTo>
                    <a:pt x="21217" y="2558"/>
                    <a:pt x="21268" y="3027"/>
                    <a:pt x="21124" y="3206"/>
                  </a:cubicBezTo>
                  <a:cubicBezTo>
                    <a:pt x="21140" y="3366"/>
                    <a:pt x="21254" y="3368"/>
                    <a:pt x="21295" y="3485"/>
                  </a:cubicBezTo>
                  <a:cubicBezTo>
                    <a:pt x="21332" y="3983"/>
                    <a:pt x="21202" y="4006"/>
                    <a:pt x="21066" y="4274"/>
                  </a:cubicBezTo>
                  <a:cubicBezTo>
                    <a:pt x="21041" y="4993"/>
                    <a:pt x="20675" y="5155"/>
                    <a:pt x="20496" y="5622"/>
                  </a:cubicBezTo>
                  <a:cubicBezTo>
                    <a:pt x="20567" y="5900"/>
                    <a:pt x="20677" y="5941"/>
                    <a:pt x="20695" y="6181"/>
                  </a:cubicBezTo>
                  <a:cubicBezTo>
                    <a:pt x="20728" y="6568"/>
                    <a:pt x="20450" y="6762"/>
                    <a:pt x="20324" y="7063"/>
                  </a:cubicBezTo>
                  <a:cubicBezTo>
                    <a:pt x="20315" y="7233"/>
                    <a:pt x="20329" y="7367"/>
                    <a:pt x="20352" y="7482"/>
                  </a:cubicBezTo>
                  <a:cubicBezTo>
                    <a:pt x="20235" y="7631"/>
                    <a:pt x="20070" y="7704"/>
                    <a:pt x="19954" y="7855"/>
                  </a:cubicBezTo>
                  <a:cubicBezTo>
                    <a:pt x="20057" y="8955"/>
                    <a:pt x="19853" y="9207"/>
                    <a:pt x="19809" y="9899"/>
                  </a:cubicBezTo>
                  <a:cubicBezTo>
                    <a:pt x="19660" y="9934"/>
                    <a:pt x="19532" y="10005"/>
                    <a:pt x="19466" y="10178"/>
                  </a:cubicBezTo>
                  <a:cubicBezTo>
                    <a:pt x="19573" y="10560"/>
                    <a:pt x="19740" y="11051"/>
                    <a:pt x="19610" y="11433"/>
                  </a:cubicBezTo>
                  <a:cubicBezTo>
                    <a:pt x="19241" y="12043"/>
                    <a:pt x="19324" y="12904"/>
                    <a:pt x="18981" y="13293"/>
                  </a:cubicBezTo>
                  <a:cubicBezTo>
                    <a:pt x="18701" y="13607"/>
                    <a:pt x="18426" y="13527"/>
                    <a:pt x="18238" y="13896"/>
                  </a:cubicBezTo>
                  <a:cubicBezTo>
                    <a:pt x="18207" y="13959"/>
                    <a:pt x="18136" y="14082"/>
                    <a:pt x="18096" y="14175"/>
                  </a:cubicBezTo>
                  <a:cubicBezTo>
                    <a:pt x="17927" y="14561"/>
                    <a:pt x="17886" y="15139"/>
                    <a:pt x="17497" y="15570"/>
                  </a:cubicBezTo>
                  <a:cubicBezTo>
                    <a:pt x="17513" y="15695"/>
                    <a:pt x="17412" y="15860"/>
                    <a:pt x="17497" y="15942"/>
                  </a:cubicBezTo>
                  <a:cubicBezTo>
                    <a:pt x="17357" y="16300"/>
                    <a:pt x="17197" y="16743"/>
                    <a:pt x="17123" y="17243"/>
                  </a:cubicBezTo>
                  <a:cubicBezTo>
                    <a:pt x="17096" y="17442"/>
                    <a:pt x="17169" y="17245"/>
                    <a:pt x="17038" y="17336"/>
                  </a:cubicBezTo>
                  <a:cubicBezTo>
                    <a:pt x="16842" y="17474"/>
                    <a:pt x="16800" y="18165"/>
                    <a:pt x="16438" y="18079"/>
                  </a:cubicBezTo>
                  <a:cubicBezTo>
                    <a:pt x="16363" y="18221"/>
                    <a:pt x="16334" y="18435"/>
                    <a:pt x="16267" y="18591"/>
                  </a:cubicBezTo>
                  <a:cubicBezTo>
                    <a:pt x="16193" y="18682"/>
                    <a:pt x="16141" y="18530"/>
                    <a:pt x="16038" y="18638"/>
                  </a:cubicBezTo>
                  <a:cubicBezTo>
                    <a:pt x="16159" y="19388"/>
                    <a:pt x="15669" y="19472"/>
                    <a:pt x="15580" y="20032"/>
                  </a:cubicBezTo>
                  <a:cubicBezTo>
                    <a:pt x="15509" y="20072"/>
                    <a:pt x="15426" y="20092"/>
                    <a:pt x="15324" y="20077"/>
                  </a:cubicBezTo>
                  <a:cubicBezTo>
                    <a:pt x="15363" y="20542"/>
                    <a:pt x="15502" y="20628"/>
                    <a:pt x="15465" y="21147"/>
                  </a:cubicBezTo>
                  <a:cubicBezTo>
                    <a:pt x="14655" y="21600"/>
                    <a:pt x="13597" y="21499"/>
                    <a:pt x="12580" y="21334"/>
                  </a:cubicBezTo>
                  <a:cubicBezTo>
                    <a:pt x="11548" y="21164"/>
                    <a:pt x="10309" y="21272"/>
                    <a:pt x="9379" y="21194"/>
                  </a:cubicBezTo>
                  <a:cubicBezTo>
                    <a:pt x="8479" y="21118"/>
                    <a:pt x="7581" y="21168"/>
                    <a:pt x="6691" y="21100"/>
                  </a:cubicBezTo>
                  <a:cubicBezTo>
                    <a:pt x="6327" y="21073"/>
                    <a:pt x="5960" y="21086"/>
                    <a:pt x="5605" y="21055"/>
                  </a:cubicBezTo>
                  <a:cubicBezTo>
                    <a:pt x="3879" y="20894"/>
                    <a:pt x="2303" y="20114"/>
                    <a:pt x="831" y="19893"/>
                  </a:cubicBezTo>
                  <a:cubicBezTo>
                    <a:pt x="836" y="19797"/>
                    <a:pt x="554" y="19632"/>
                    <a:pt x="490" y="19660"/>
                  </a:cubicBezTo>
                  <a:cubicBezTo>
                    <a:pt x="412" y="19243"/>
                    <a:pt x="-268" y="18744"/>
                    <a:pt x="116" y="18126"/>
                  </a:cubicBezTo>
                  <a:cubicBezTo>
                    <a:pt x="94" y="17759"/>
                    <a:pt x="-7" y="17523"/>
                    <a:pt x="32" y="17057"/>
                  </a:cubicBezTo>
                  <a:cubicBezTo>
                    <a:pt x="487" y="16737"/>
                    <a:pt x="884" y="16285"/>
                    <a:pt x="1147" y="15756"/>
                  </a:cubicBezTo>
                  <a:cubicBezTo>
                    <a:pt x="1149" y="15279"/>
                    <a:pt x="923" y="15463"/>
                    <a:pt x="774" y="15244"/>
                  </a:cubicBezTo>
                  <a:cubicBezTo>
                    <a:pt x="854" y="15045"/>
                    <a:pt x="987" y="14965"/>
                    <a:pt x="945" y="14687"/>
                  </a:cubicBezTo>
                  <a:cubicBezTo>
                    <a:pt x="842" y="14518"/>
                    <a:pt x="753" y="14605"/>
                    <a:pt x="689" y="14361"/>
                  </a:cubicBezTo>
                  <a:cubicBezTo>
                    <a:pt x="680" y="14089"/>
                    <a:pt x="808" y="14054"/>
                    <a:pt x="861" y="13942"/>
                  </a:cubicBezTo>
                  <a:cubicBezTo>
                    <a:pt x="877" y="13907"/>
                    <a:pt x="1053" y="13548"/>
                    <a:pt x="975" y="13060"/>
                  </a:cubicBezTo>
                  <a:cubicBezTo>
                    <a:pt x="959" y="12963"/>
                    <a:pt x="886" y="12920"/>
                    <a:pt x="888" y="12781"/>
                  </a:cubicBezTo>
                  <a:cubicBezTo>
                    <a:pt x="893" y="12503"/>
                    <a:pt x="1033" y="12407"/>
                    <a:pt x="1033" y="12131"/>
                  </a:cubicBezTo>
                  <a:cubicBezTo>
                    <a:pt x="701" y="11595"/>
                    <a:pt x="487" y="11587"/>
                    <a:pt x="346" y="10828"/>
                  </a:cubicBezTo>
                  <a:cubicBezTo>
                    <a:pt x="707" y="10487"/>
                    <a:pt x="1078" y="10208"/>
                    <a:pt x="1404" y="9712"/>
                  </a:cubicBezTo>
                  <a:cubicBezTo>
                    <a:pt x="1186" y="9653"/>
                    <a:pt x="1266" y="9357"/>
                    <a:pt x="1204" y="9016"/>
                  </a:cubicBezTo>
                  <a:cubicBezTo>
                    <a:pt x="1243" y="8931"/>
                    <a:pt x="1415" y="8769"/>
                    <a:pt x="1431" y="8505"/>
                  </a:cubicBezTo>
                  <a:cubicBezTo>
                    <a:pt x="1346" y="8248"/>
                    <a:pt x="1129" y="8145"/>
                    <a:pt x="1090" y="7948"/>
                  </a:cubicBezTo>
                  <a:cubicBezTo>
                    <a:pt x="1147" y="7723"/>
                    <a:pt x="1135" y="7648"/>
                    <a:pt x="1147" y="7389"/>
                  </a:cubicBezTo>
                  <a:cubicBezTo>
                    <a:pt x="705" y="6816"/>
                    <a:pt x="1259" y="5269"/>
                    <a:pt x="945" y="4507"/>
                  </a:cubicBezTo>
                  <a:cubicBezTo>
                    <a:pt x="1245" y="4174"/>
                    <a:pt x="1154" y="3109"/>
                    <a:pt x="1147" y="2650"/>
                  </a:cubicBezTo>
                  <a:cubicBezTo>
                    <a:pt x="1142" y="2431"/>
                    <a:pt x="1190" y="2238"/>
                    <a:pt x="1175" y="2137"/>
                  </a:cubicBezTo>
                  <a:cubicBezTo>
                    <a:pt x="1138" y="1882"/>
                    <a:pt x="911" y="1763"/>
                    <a:pt x="888" y="1579"/>
                  </a:cubicBezTo>
                  <a:cubicBezTo>
                    <a:pt x="886" y="1562"/>
                    <a:pt x="1005" y="1197"/>
                    <a:pt x="1003" y="1209"/>
                  </a:cubicBezTo>
                  <a:cubicBezTo>
                    <a:pt x="1028" y="730"/>
                    <a:pt x="730" y="854"/>
                    <a:pt x="747" y="417"/>
                  </a:cubicBezTo>
                  <a:close/>
                  <a:moveTo>
                    <a:pt x="747" y="417"/>
                  </a:moveTo>
                </a:path>
              </a:pathLst>
            </a:custGeom>
            <a:solidFill>
              <a:schemeClr val="accent1"/>
            </a:solidFill>
            <a:ln>
              <a:noFill/>
            </a:ln>
          </p:spPr>
          <p:txBody>
            <a:bodyPr lIns="0" tIns="0" rIns="0" bIns="0"/>
            <a:lstStyle/>
            <a:p>
              <a:endParaRPr lang="en-US"/>
            </a:p>
          </p:txBody>
        </p:sp>
        <p:sp>
          <p:nvSpPr>
            <p:cNvPr id="66" name="AutoShape 9">
              <a:extLst>
                <a:ext uri="{FF2B5EF4-FFF2-40B4-BE49-F238E27FC236}">
                  <a16:creationId xmlns:a16="http://schemas.microsoft.com/office/drawing/2014/main" id="{308EF494-F080-2D42-859A-D9F799035B4E}"/>
                </a:ext>
              </a:extLst>
            </p:cNvPr>
            <p:cNvSpPr>
              <a:spLocks/>
            </p:cNvSpPr>
            <p:nvPr/>
          </p:nvSpPr>
          <p:spPr bwMode="auto">
            <a:xfrm>
              <a:off x="3394599" y="2350170"/>
              <a:ext cx="555625" cy="265113"/>
            </a:xfrm>
            <a:custGeom>
              <a:avLst/>
              <a:gdLst/>
              <a:ahLst/>
              <a:cxnLst/>
              <a:rect l="0" t="0" r="r" b="b"/>
              <a:pathLst>
                <a:path w="21524" h="21114">
                  <a:moveTo>
                    <a:pt x="4600" y="819"/>
                  </a:moveTo>
                  <a:cubicBezTo>
                    <a:pt x="4585" y="620"/>
                    <a:pt x="4543" y="504"/>
                    <a:pt x="4545" y="268"/>
                  </a:cubicBezTo>
                  <a:cubicBezTo>
                    <a:pt x="7174" y="-334"/>
                    <a:pt x="9596" y="287"/>
                    <a:pt x="11883" y="130"/>
                  </a:cubicBezTo>
                  <a:cubicBezTo>
                    <a:pt x="13303" y="33"/>
                    <a:pt x="15186" y="328"/>
                    <a:pt x="16843" y="179"/>
                  </a:cubicBezTo>
                  <a:cubicBezTo>
                    <a:pt x="16880" y="186"/>
                    <a:pt x="16829" y="265"/>
                    <a:pt x="16873" y="268"/>
                  </a:cubicBezTo>
                  <a:cubicBezTo>
                    <a:pt x="18383" y="111"/>
                    <a:pt x="20166" y="-143"/>
                    <a:pt x="21501" y="160"/>
                  </a:cubicBezTo>
                  <a:cubicBezTo>
                    <a:pt x="21600" y="923"/>
                    <a:pt x="21335" y="1159"/>
                    <a:pt x="21441" y="1911"/>
                  </a:cubicBezTo>
                  <a:cubicBezTo>
                    <a:pt x="21326" y="1971"/>
                    <a:pt x="21416" y="2094"/>
                    <a:pt x="21310" y="2038"/>
                  </a:cubicBezTo>
                  <a:cubicBezTo>
                    <a:pt x="21264" y="2210"/>
                    <a:pt x="21405" y="2266"/>
                    <a:pt x="21405" y="2487"/>
                  </a:cubicBezTo>
                  <a:cubicBezTo>
                    <a:pt x="20913" y="2842"/>
                    <a:pt x="20765" y="1540"/>
                    <a:pt x="20358" y="1839"/>
                  </a:cubicBezTo>
                  <a:cubicBezTo>
                    <a:pt x="20334" y="1959"/>
                    <a:pt x="20542" y="2307"/>
                    <a:pt x="20521" y="2270"/>
                  </a:cubicBezTo>
                  <a:cubicBezTo>
                    <a:pt x="20579" y="2663"/>
                    <a:pt x="20371" y="2618"/>
                    <a:pt x="20347" y="2876"/>
                  </a:cubicBezTo>
                  <a:cubicBezTo>
                    <a:pt x="20478" y="3418"/>
                    <a:pt x="20321" y="3766"/>
                    <a:pt x="20429" y="4316"/>
                  </a:cubicBezTo>
                  <a:cubicBezTo>
                    <a:pt x="20354" y="4376"/>
                    <a:pt x="20230" y="4649"/>
                    <a:pt x="20110" y="4765"/>
                  </a:cubicBezTo>
                  <a:cubicBezTo>
                    <a:pt x="20120" y="4847"/>
                    <a:pt x="20270" y="4840"/>
                    <a:pt x="20210" y="4929"/>
                  </a:cubicBezTo>
                  <a:cubicBezTo>
                    <a:pt x="20164" y="5206"/>
                    <a:pt x="20036" y="5353"/>
                    <a:pt x="19947" y="5554"/>
                  </a:cubicBezTo>
                  <a:cubicBezTo>
                    <a:pt x="20000" y="5704"/>
                    <a:pt x="20018" y="5853"/>
                    <a:pt x="20038" y="5958"/>
                  </a:cubicBezTo>
                  <a:cubicBezTo>
                    <a:pt x="19936" y="6254"/>
                    <a:pt x="19951" y="6250"/>
                    <a:pt x="19841" y="6519"/>
                  </a:cubicBezTo>
                  <a:cubicBezTo>
                    <a:pt x="19876" y="6736"/>
                    <a:pt x="19923" y="6912"/>
                    <a:pt x="19945" y="7155"/>
                  </a:cubicBezTo>
                  <a:cubicBezTo>
                    <a:pt x="19938" y="7380"/>
                    <a:pt x="19804" y="7402"/>
                    <a:pt x="19788" y="7615"/>
                  </a:cubicBezTo>
                  <a:cubicBezTo>
                    <a:pt x="19993" y="8008"/>
                    <a:pt x="19644" y="8532"/>
                    <a:pt x="19912" y="8996"/>
                  </a:cubicBezTo>
                  <a:cubicBezTo>
                    <a:pt x="19815" y="9232"/>
                    <a:pt x="19649" y="9355"/>
                    <a:pt x="19733" y="9886"/>
                  </a:cubicBezTo>
                  <a:cubicBezTo>
                    <a:pt x="19508" y="10028"/>
                    <a:pt x="19649" y="10945"/>
                    <a:pt x="19481" y="11121"/>
                  </a:cubicBezTo>
                  <a:cubicBezTo>
                    <a:pt x="19483" y="11312"/>
                    <a:pt x="19616" y="11439"/>
                    <a:pt x="19574" y="11566"/>
                  </a:cubicBezTo>
                  <a:cubicBezTo>
                    <a:pt x="19280" y="12045"/>
                    <a:pt x="19114" y="12729"/>
                    <a:pt x="18741" y="13081"/>
                  </a:cubicBezTo>
                  <a:cubicBezTo>
                    <a:pt x="18736" y="13253"/>
                    <a:pt x="18729" y="13425"/>
                    <a:pt x="18750" y="13642"/>
                  </a:cubicBezTo>
                  <a:cubicBezTo>
                    <a:pt x="18443" y="13829"/>
                    <a:pt x="18454" y="14536"/>
                    <a:pt x="18272" y="14929"/>
                  </a:cubicBezTo>
                  <a:cubicBezTo>
                    <a:pt x="18286" y="15138"/>
                    <a:pt x="18369" y="15224"/>
                    <a:pt x="18363" y="15333"/>
                  </a:cubicBezTo>
                  <a:cubicBezTo>
                    <a:pt x="18332" y="15396"/>
                    <a:pt x="18135" y="15434"/>
                    <a:pt x="18054" y="15546"/>
                  </a:cubicBezTo>
                  <a:cubicBezTo>
                    <a:pt x="18031" y="15999"/>
                    <a:pt x="17755" y="16040"/>
                    <a:pt x="17767" y="16553"/>
                  </a:cubicBezTo>
                  <a:cubicBezTo>
                    <a:pt x="17415" y="16960"/>
                    <a:pt x="17411" y="17499"/>
                    <a:pt x="17083" y="17843"/>
                  </a:cubicBezTo>
                  <a:cubicBezTo>
                    <a:pt x="17072" y="18019"/>
                    <a:pt x="17135" y="18082"/>
                    <a:pt x="17101" y="18168"/>
                  </a:cubicBezTo>
                  <a:cubicBezTo>
                    <a:pt x="16688" y="18382"/>
                    <a:pt x="16202" y="18351"/>
                    <a:pt x="15933" y="18632"/>
                  </a:cubicBezTo>
                  <a:cubicBezTo>
                    <a:pt x="15875" y="19242"/>
                    <a:pt x="15676" y="19541"/>
                    <a:pt x="15448" y="19781"/>
                  </a:cubicBezTo>
                  <a:cubicBezTo>
                    <a:pt x="15475" y="20031"/>
                    <a:pt x="15513" y="20248"/>
                    <a:pt x="15553" y="20462"/>
                  </a:cubicBezTo>
                  <a:cubicBezTo>
                    <a:pt x="15495" y="20476"/>
                    <a:pt x="15424" y="20476"/>
                    <a:pt x="15398" y="20544"/>
                  </a:cubicBezTo>
                  <a:cubicBezTo>
                    <a:pt x="15437" y="20679"/>
                    <a:pt x="15424" y="20944"/>
                    <a:pt x="15473" y="21045"/>
                  </a:cubicBezTo>
                  <a:cubicBezTo>
                    <a:pt x="12178" y="21266"/>
                    <a:pt x="9096" y="20873"/>
                    <a:pt x="5899" y="21008"/>
                  </a:cubicBezTo>
                  <a:cubicBezTo>
                    <a:pt x="5862" y="20996"/>
                    <a:pt x="5913" y="20922"/>
                    <a:pt x="5870" y="20918"/>
                  </a:cubicBezTo>
                  <a:cubicBezTo>
                    <a:pt x="4426" y="20873"/>
                    <a:pt x="2813" y="20652"/>
                    <a:pt x="1306" y="20589"/>
                  </a:cubicBezTo>
                  <a:cubicBezTo>
                    <a:pt x="1122" y="20436"/>
                    <a:pt x="775" y="19803"/>
                    <a:pt x="608" y="19201"/>
                  </a:cubicBezTo>
                  <a:cubicBezTo>
                    <a:pt x="484" y="18748"/>
                    <a:pt x="429" y="18154"/>
                    <a:pt x="312" y="17626"/>
                  </a:cubicBezTo>
                  <a:cubicBezTo>
                    <a:pt x="199" y="17110"/>
                    <a:pt x="38" y="16653"/>
                    <a:pt x="0" y="16149"/>
                  </a:cubicBezTo>
                  <a:cubicBezTo>
                    <a:pt x="208" y="15752"/>
                    <a:pt x="700" y="15213"/>
                    <a:pt x="831" y="14588"/>
                  </a:cubicBezTo>
                  <a:cubicBezTo>
                    <a:pt x="817" y="14483"/>
                    <a:pt x="722" y="14588"/>
                    <a:pt x="729" y="14424"/>
                  </a:cubicBezTo>
                  <a:cubicBezTo>
                    <a:pt x="992" y="14255"/>
                    <a:pt x="1171" y="14540"/>
                    <a:pt x="1430" y="14637"/>
                  </a:cubicBezTo>
                  <a:cubicBezTo>
                    <a:pt x="1578" y="14230"/>
                    <a:pt x="1799" y="13616"/>
                    <a:pt x="1938" y="13059"/>
                  </a:cubicBezTo>
                  <a:cubicBezTo>
                    <a:pt x="1918" y="12932"/>
                    <a:pt x="1843" y="12950"/>
                    <a:pt x="1792" y="12905"/>
                  </a:cubicBezTo>
                  <a:cubicBezTo>
                    <a:pt x="1801" y="12695"/>
                    <a:pt x="1803" y="12251"/>
                    <a:pt x="1796" y="12153"/>
                  </a:cubicBezTo>
                  <a:cubicBezTo>
                    <a:pt x="2192" y="11390"/>
                    <a:pt x="2693" y="9987"/>
                    <a:pt x="2755" y="8824"/>
                  </a:cubicBezTo>
                  <a:cubicBezTo>
                    <a:pt x="2850" y="8225"/>
                    <a:pt x="3045" y="7380"/>
                    <a:pt x="3206" y="6646"/>
                  </a:cubicBezTo>
                  <a:cubicBezTo>
                    <a:pt x="3210" y="6441"/>
                    <a:pt x="3153" y="6396"/>
                    <a:pt x="3157" y="6190"/>
                  </a:cubicBezTo>
                  <a:cubicBezTo>
                    <a:pt x="3263" y="5424"/>
                    <a:pt x="3701" y="5031"/>
                    <a:pt x="3992" y="4301"/>
                  </a:cubicBezTo>
                  <a:cubicBezTo>
                    <a:pt x="4063" y="3579"/>
                    <a:pt x="4074" y="2334"/>
                    <a:pt x="4205" y="1993"/>
                  </a:cubicBezTo>
                  <a:cubicBezTo>
                    <a:pt x="4209" y="1395"/>
                    <a:pt x="4467" y="1207"/>
                    <a:pt x="4600" y="819"/>
                  </a:cubicBezTo>
                  <a:close/>
                  <a:moveTo>
                    <a:pt x="4600" y="819"/>
                  </a:moveTo>
                </a:path>
              </a:pathLst>
            </a:custGeom>
            <a:solidFill>
              <a:schemeClr val="accent1"/>
            </a:solidFill>
            <a:ln>
              <a:noFill/>
            </a:ln>
          </p:spPr>
          <p:txBody>
            <a:bodyPr lIns="0" tIns="0" rIns="0" bIns="0"/>
            <a:lstStyle/>
            <a:p>
              <a:endParaRPr lang="en-US"/>
            </a:p>
          </p:txBody>
        </p:sp>
        <p:sp>
          <p:nvSpPr>
            <p:cNvPr id="67" name="AutoShape 10">
              <a:extLst>
                <a:ext uri="{FF2B5EF4-FFF2-40B4-BE49-F238E27FC236}">
                  <a16:creationId xmlns:a16="http://schemas.microsoft.com/office/drawing/2014/main" id="{A4AED1D4-C8D4-0846-A5C2-B64AD8276E24}"/>
                </a:ext>
              </a:extLst>
            </p:cNvPr>
            <p:cNvSpPr>
              <a:spLocks/>
            </p:cNvSpPr>
            <p:nvPr/>
          </p:nvSpPr>
          <p:spPr bwMode="auto">
            <a:xfrm>
              <a:off x="3394599" y="1594854"/>
              <a:ext cx="963613" cy="292100"/>
            </a:xfrm>
            <a:custGeom>
              <a:avLst/>
              <a:gdLst/>
              <a:ahLst/>
              <a:cxnLst/>
              <a:rect l="0" t="0" r="r" b="b"/>
              <a:pathLst>
                <a:path w="21517" h="21371">
                  <a:moveTo>
                    <a:pt x="21457" y="0"/>
                  </a:moveTo>
                  <a:cubicBezTo>
                    <a:pt x="21457" y="0"/>
                    <a:pt x="20611" y="255"/>
                    <a:pt x="19894" y="306"/>
                  </a:cubicBezTo>
                  <a:cubicBezTo>
                    <a:pt x="19175" y="354"/>
                    <a:pt x="17914" y="430"/>
                    <a:pt x="17207" y="330"/>
                  </a:cubicBezTo>
                  <a:cubicBezTo>
                    <a:pt x="16499" y="228"/>
                    <a:pt x="15191" y="245"/>
                    <a:pt x="15191" y="245"/>
                  </a:cubicBezTo>
                  <a:cubicBezTo>
                    <a:pt x="15191" y="245"/>
                    <a:pt x="13704" y="435"/>
                    <a:pt x="12559" y="475"/>
                  </a:cubicBezTo>
                  <a:cubicBezTo>
                    <a:pt x="11413" y="514"/>
                    <a:pt x="11332" y="312"/>
                    <a:pt x="9500" y="312"/>
                  </a:cubicBezTo>
                  <a:cubicBezTo>
                    <a:pt x="7667" y="312"/>
                    <a:pt x="6462" y="232"/>
                    <a:pt x="5497" y="228"/>
                  </a:cubicBezTo>
                  <a:cubicBezTo>
                    <a:pt x="4532" y="223"/>
                    <a:pt x="2671" y="523"/>
                    <a:pt x="1542" y="349"/>
                  </a:cubicBezTo>
                  <a:cubicBezTo>
                    <a:pt x="413" y="175"/>
                    <a:pt x="-57" y="-169"/>
                    <a:pt x="5" y="205"/>
                  </a:cubicBezTo>
                  <a:cubicBezTo>
                    <a:pt x="68" y="578"/>
                    <a:pt x="36" y="2612"/>
                    <a:pt x="65" y="3013"/>
                  </a:cubicBezTo>
                  <a:cubicBezTo>
                    <a:pt x="96" y="3417"/>
                    <a:pt x="58" y="6947"/>
                    <a:pt x="84" y="7385"/>
                  </a:cubicBezTo>
                  <a:cubicBezTo>
                    <a:pt x="110" y="7820"/>
                    <a:pt x="186" y="11911"/>
                    <a:pt x="131" y="12468"/>
                  </a:cubicBezTo>
                  <a:cubicBezTo>
                    <a:pt x="77" y="13025"/>
                    <a:pt x="90" y="17162"/>
                    <a:pt x="145" y="17706"/>
                  </a:cubicBezTo>
                  <a:cubicBezTo>
                    <a:pt x="199" y="18249"/>
                    <a:pt x="274" y="21295"/>
                    <a:pt x="237" y="21362"/>
                  </a:cubicBezTo>
                  <a:cubicBezTo>
                    <a:pt x="201" y="21431"/>
                    <a:pt x="365" y="21124"/>
                    <a:pt x="541" y="21071"/>
                  </a:cubicBezTo>
                  <a:cubicBezTo>
                    <a:pt x="717" y="21015"/>
                    <a:pt x="1657" y="20772"/>
                    <a:pt x="2304" y="20908"/>
                  </a:cubicBezTo>
                  <a:cubicBezTo>
                    <a:pt x="2951" y="21045"/>
                    <a:pt x="5679" y="20967"/>
                    <a:pt x="6085" y="20894"/>
                  </a:cubicBezTo>
                  <a:cubicBezTo>
                    <a:pt x="6493" y="20822"/>
                    <a:pt x="8197" y="20922"/>
                    <a:pt x="8598" y="20893"/>
                  </a:cubicBezTo>
                  <a:cubicBezTo>
                    <a:pt x="8999" y="20864"/>
                    <a:pt x="10321" y="20907"/>
                    <a:pt x="10586" y="20874"/>
                  </a:cubicBezTo>
                  <a:cubicBezTo>
                    <a:pt x="10851" y="20839"/>
                    <a:pt x="12324" y="20610"/>
                    <a:pt x="12610" y="20638"/>
                  </a:cubicBezTo>
                  <a:cubicBezTo>
                    <a:pt x="12895" y="20665"/>
                    <a:pt x="15372" y="20901"/>
                    <a:pt x="15599" y="20913"/>
                  </a:cubicBezTo>
                  <a:cubicBezTo>
                    <a:pt x="15825" y="20929"/>
                    <a:pt x="17839" y="20884"/>
                    <a:pt x="18214" y="20879"/>
                  </a:cubicBezTo>
                  <a:cubicBezTo>
                    <a:pt x="18590" y="20874"/>
                    <a:pt x="21188" y="21031"/>
                    <a:pt x="21318" y="21056"/>
                  </a:cubicBezTo>
                  <a:cubicBezTo>
                    <a:pt x="21447" y="21082"/>
                    <a:pt x="21453" y="20510"/>
                    <a:pt x="21446" y="20404"/>
                  </a:cubicBezTo>
                  <a:cubicBezTo>
                    <a:pt x="21439" y="20299"/>
                    <a:pt x="21448" y="16393"/>
                    <a:pt x="21420" y="15119"/>
                  </a:cubicBezTo>
                  <a:cubicBezTo>
                    <a:pt x="21390" y="13846"/>
                    <a:pt x="21543" y="5819"/>
                    <a:pt x="21512" y="4743"/>
                  </a:cubicBezTo>
                  <a:cubicBezTo>
                    <a:pt x="21483" y="3667"/>
                    <a:pt x="21457" y="0"/>
                    <a:pt x="21457" y="0"/>
                  </a:cubicBezTo>
                  <a:close/>
                  <a:moveTo>
                    <a:pt x="21457" y="0"/>
                  </a:moveTo>
                </a:path>
              </a:pathLst>
            </a:custGeom>
            <a:solidFill>
              <a:schemeClr val="accent1"/>
            </a:solidFill>
            <a:ln>
              <a:noFill/>
            </a:ln>
          </p:spPr>
          <p:txBody>
            <a:bodyPr lIns="0" tIns="0" rIns="0" bIns="0"/>
            <a:lstStyle/>
            <a:p>
              <a:endParaRPr lang="en-US"/>
            </a:p>
          </p:txBody>
        </p:sp>
        <p:sp>
          <p:nvSpPr>
            <p:cNvPr id="68" name="AutoShape 11">
              <a:extLst>
                <a:ext uri="{FF2B5EF4-FFF2-40B4-BE49-F238E27FC236}">
                  <a16:creationId xmlns:a16="http://schemas.microsoft.com/office/drawing/2014/main" id="{1F055702-EC0E-B642-9BB3-37341D7DB8CA}"/>
                </a:ext>
              </a:extLst>
            </p:cNvPr>
            <p:cNvSpPr>
              <a:spLocks/>
            </p:cNvSpPr>
            <p:nvPr/>
          </p:nvSpPr>
          <p:spPr bwMode="auto">
            <a:xfrm>
              <a:off x="3394599" y="1186448"/>
              <a:ext cx="965200" cy="292100"/>
            </a:xfrm>
            <a:custGeom>
              <a:avLst/>
              <a:gdLst/>
              <a:ahLst/>
              <a:cxnLst/>
              <a:rect l="0" t="0" r="r" b="b"/>
              <a:pathLst>
                <a:path w="21517" h="21372">
                  <a:moveTo>
                    <a:pt x="21457" y="0"/>
                  </a:moveTo>
                  <a:cubicBezTo>
                    <a:pt x="21457" y="0"/>
                    <a:pt x="20611" y="255"/>
                    <a:pt x="19894" y="306"/>
                  </a:cubicBezTo>
                  <a:cubicBezTo>
                    <a:pt x="19175" y="354"/>
                    <a:pt x="17914" y="430"/>
                    <a:pt x="17207" y="330"/>
                  </a:cubicBezTo>
                  <a:cubicBezTo>
                    <a:pt x="16499" y="228"/>
                    <a:pt x="15191" y="245"/>
                    <a:pt x="15191" y="245"/>
                  </a:cubicBezTo>
                  <a:cubicBezTo>
                    <a:pt x="15191" y="245"/>
                    <a:pt x="13704" y="435"/>
                    <a:pt x="12559" y="475"/>
                  </a:cubicBezTo>
                  <a:cubicBezTo>
                    <a:pt x="11413" y="514"/>
                    <a:pt x="11332" y="312"/>
                    <a:pt x="9500" y="312"/>
                  </a:cubicBezTo>
                  <a:cubicBezTo>
                    <a:pt x="7667" y="312"/>
                    <a:pt x="6462" y="232"/>
                    <a:pt x="5497" y="228"/>
                  </a:cubicBezTo>
                  <a:cubicBezTo>
                    <a:pt x="4532" y="223"/>
                    <a:pt x="2671" y="523"/>
                    <a:pt x="1542" y="349"/>
                  </a:cubicBezTo>
                  <a:cubicBezTo>
                    <a:pt x="413" y="175"/>
                    <a:pt x="-57" y="-169"/>
                    <a:pt x="5" y="205"/>
                  </a:cubicBezTo>
                  <a:cubicBezTo>
                    <a:pt x="68" y="578"/>
                    <a:pt x="36" y="2612"/>
                    <a:pt x="65" y="3013"/>
                  </a:cubicBezTo>
                  <a:cubicBezTo>
                    <a:pt x="96" y="3417"/>
                    <a:pt x="58" y="6947"/>
                    <a:pt x="84" y="7385"/>
                  </a:cubicBezTo>
                  <a:cubicBezTo>
                    <a:pt x="110" y="7820"/>
                    <a:pt x="186" y="11911"/>
                    <a:pt x="131" y="12468"/>
                  </a:cubicBezTo>
                  <a:cubicBezTo>
                    <a:pt x="77" y="13025"/>
                    <a:pt x="90" y="17163"/>
                    <a:pt x="145" y="17706"/>
                  </a:cubicBezTo>
                  <a:cubicBezTo>
                    <a:pt x="199" y="18249"/>
                    <a:pt x="274" y="21295"/>
                    <a:pt x="237" y="21362"/>
                  </a:cubicBezTo>
                  <a:cubicBezTo>
                    <a:pt x="201" y="21431"/>
                    <a:pt x="365" y="21124"/>
                    <a:pt x="541" y="21071"/>
                  </a:cubicBezTo>
                  <a:cubicBezTo>
                    <a:pt x="717" y="21015"/>
                    <a:pt x="1656" y="20772"/>
                    <a:pt x="2304" y="20908"/>
                  </a:cubicBezTo>
                  <a:cubicBezTo>
                    <a:pt x="2951" y="21045"/>
                    <a:pt x="5679" y="20967"/>
                    <a:pt x="6085" y="20894"/>
                  </a:cubicBezTo>
                  <a:cubicBezTo>
                    <a:pt x="6493" y="20822"/>
                    <a:pt x="8197" y="20922"/>
                    <a:pt x="8598" y="20893"/>
                  </a:cubicBezTo>
                  <a:cubicBezTo>
                    <a:pt x="8999" y="20864"/>
                    <a:pt x="10321" y="20907"/>
                    <a:pt x="10585" y="20874"/>
                  </a:cubicBezTo>
                  <a:cubicBezTo>
                    <a:pt x="10851" y="20839"/>
                    <a:pt x="12324" y="20610"/>
                    <a:pt x="12610" y="20638"/>
                  </a:cubicBezTo>
                  <a:cubicBezTo>
                    <a:pt x="12895" y="20665"/>
                    <a:pt x="15372" y="20901"/>
                    <a:pt x="15599" y="20913"/>
                  </a:cubicBezTo>
                  <a:cubicBezTo>
                    <a:pt x="15825" y="20929"/>
                    <a:pt x="17839" y="20884"/>
                    <a:pt x="18214" y="20879"/>
                  </a:cubicBezTo>
                  <a:cubicBezTo>
                    <a:pt x="18590" y="20874"/>
                    <a:pt x="21188" y="21031"/>
                    <a:pt x="21318" y="21057"/>
                  </a:cubicBezTo>
                  <a:cubicBezTo>
                    <a:pt x="21447" y="21082"/>
                    <a:pt x="21453" y="20510"/>
                    <a:pt x="21446" y="20404"/>
                  </a:cubicBezTo>
                  <a:cubicBezTo>
                    <a:pt x="21439" y="20299"/>
                    <a:pt x="21448" y="16393"/>
                    <a:pt x="21420" y="15119"/>
                  </a:cubicBezTo>
                  <a:cubicBezTo>
                    <a:pt x="21390" y="13846"/>
                    <a:pt x="21543" y="5819"/>
                    <a:pt x="21512" y="4743"/>
                  </a:cubicBezTo>
                  <a:cubicBezTo>
                    <a:pt x="21483" y="3667"/>
                    <a:pt x="21457" y="0"/>
                    <a:pt x="21457" y="0"/>
                  </a:cubicBezTo>
                  <a:close/>
                  <a:moveTo>
                    <a:pt x="21457" y="0"/>
                  </a:moveTo>
                </a:path>
              </a:pathLst>
            </a:custGeom>
            <a:solidFill>
              <a:schemeClr val="accent1"/>
            </a:solidFill>
            <a:ln>
              <a:noFill/>
            </a:ln>
          </p:spPr>
          <p:txBody>
            <a:bodyPr lIns="0" tIns="0" rIns="0" bIns="0"/>
            <a:lstStyle/>
            <a:p>
              <a:endParaRPr lang="en-US"/>
            </a:p>
          </p:txBody>
        </p:sp>
        <p:sp>
          <p:nvSpPr>
            <p:cNvPr id="69" name="AutoShape 12">
              <a:extLst>
                <a:ext uri="{FF2B5EF4-FFF2-40B4-BE49-F238E27FC236}">
                  <a16:creationId xmlns:a16="http://schemas.microsoft.com/office/drawing/2014/main" id="{8DB62BA0-F675-254F-AB1A-B66C0BE78E83}"/>
                </a:ext>
              </a:extLst>
            </p:cNvPr>
            <p:cNvSpPr>
              <a:spLocks/>
            </p:cNvSpPr>
            <p:nvPr/>
          </p:nvSpPr>
          <p:spPr bwMode="auto">
            <a:xfrm>
              <a:off x="3394599" y="3081420"/>
              <a:ext cx="468313" cy="293688"/>
            </a:xfrm>
            <a:custGeom>
              <a:avLst/>
              <a:gdLst/>
              <a:ahLst/>
              <a:cxnLst/>
              <a:rect l="0" t="0" r="r" b="b"/>
              <a:pathLst>
                <a:path w="21437" h="21360">
                  <a:moveTo>
                    <a:pt x="21350" y="498"/>
                  </a:moveTo>
                  <a:cubicBezTo>
                    <a:pt x="21350" y="498"/>
                    <a:pt x="19619" y="720"/>
                    <a:pt x="18147" y="740"/>
                  </a:cubicBezTo>
                  <a:cubicBezTo>
                    <a:pt x="16674" y="762"/>
                    <a:pt x="13240" y="431"/>
                    <a:pt x="11263" y="392"/>
                  </a:cubicBezTo>
                  <a:cubicBezTo>
                    <a:pt x="9287" y="351"/>
                    <a:pt x="5471" y="578"/>
                    <a:pt x="3160" y="363"/>
                  </a:cubicBezTo>
                  <a:cubicBezTo>
                    <a:pt x="847" y="147"/>
                    <a:pt x="-114" y="-210"/>
                    <a:pt x="11" y="162"/>
                  </a:cubicBezTo>
                  <a:cubicBezTo>
                    <a:pt x="139" y="535"/>
                    <a:pt x="55" y="2551"/>
                    <a:pt x="115" y="2951"/>
                  </a:cubicBezTo>
                  <a:cubicBezTo>
                    <a:pt x="173" y="3350"/>
                    <a:pt x="72" y="6847"/>
                    <a:pt x="121" y="7282"/>
                  </a:cubicBezTo>
                  <a:cubicBezTo>
                    <a:pt x="171" y="7714"/>
                    <a:pt x="296" y="11772"/>
                    <a:pt x="182" y="12320"/>
                  </a:cubicBezTo>
                  <a:cubicBezTo>
                    <a:pt x="65" y="12871"/>
                    <a:pt x="65" y="16970"/>
                    <a:pt x="171" y="17512"/>
                  </a:cubicBezTo>
                  <a:cubicBezTo>
                    <a:pt x="277" y="18052"/>
                    <a:pt x="408" y="21074"/>
                    <a:pt x="333" y="21139"/>
                  </a:cubicBezTo>
                  <a:cubicBezTo>
                    <a:pt x="259" y="21205"/>
                    <a:pt x="598" y="20908"/>
                    <a:pt x="959" y="20860"/>
                  </a:cubicBezTo>
                  <a:cubicBezTo>
                    <a:pt x="1319" y="20814"/>
                    <a:pt x="3246" y="20607"/>
                    <a:pt x="4571" y="20768"/>
                  </a:cubicBezTo>
                  <a:cubicBezTo>
                    <a:pt x="5896" y="20927"/>
                    <a:pt x="20649" y="21329"/>
                    <a:pt x="20914" y="21359"/>
                  </a:cubicBezTo>
                  <a:cubicBezTo>
                    <a:pt x="21180" y="21390"/>
                    <a:pt x="21197" y="20823"/>
                    <a:pt x="21181" y="20718"/>
                  </a:cubicBezTo>
                  <a:cubicBezTo>
                    <a:pt x="21167" y="20614"/>
                    <a:pt x="21216" y="16741"/>
                    <a:pt x="21164" y="15480"/>
                  </a:cubicBezTo>
                  <a:cubicBezTo>
                    <a:pt x="21115" y="14216"/>
                    <a:pt x="21486" y="6267"/>
                    <a:pt x="21432" y="5200"/>
                  </a:cubicBezTo>
                  <a:cubicBezTo>
                    <a:pt x="21380" y="4132"/>
                    <a:pt x="21350" y="498"/>
                    <a:pt x="21350" y="498"/>
                  </a:cubicBezTo>
                  <a:close/>
                  <a:moveTo>
                    <a:pt x="21350" y="498"/>
                  </a:moveTo>
                </a:path>
              </a:pathLst>
            </a:custGeom>
            <a:solidFill>
              <a:schemeClr val="accent1"/>
            </a:solidFill>
            <a:ln>
              <a:noFill/>
            </a:ln>
          </p:spPr>
          <p:txBody>
            <a:bodyPr lIns="0" tIns="0" rIns="0" bIns="0"/>
            <a:lstStyle/>
            <a:p>
              <a:endParaRPr lang="en-US"/>
            </a:p>
          </p:txBody>
        </p:sp>
        <p:sp>
          <p:nvSpPr>
            <p:cNvPr id="70" name="AutoShape 13">
              <a:extLst>
                <a:ext uri="{FF2B5EF4-FFF2-40B4-BE49-F238E27FC236}">
                  <a16:creationId xmlns:a16="http://schemas.microsoft.com/office/drawing/2014/main" id="{095F34BE-8314-9D43-9DB0-1A73EDDF9AE2}"/>
                </a:ext>
              </a:extLst>
            </p:cNvPr>
            <p:cNvSpPr>
              <a:spLocks/>
            </p:cNvSpPr>
            <p:nvPr/>
          </p:nvSpPr>
          <p:spPr bwMode="auto">
            <a:xfrm>
              <a:off x="365985" y="3324060"/>
              <a:ext cx="2838450" cy="303213"/>
            </a:xfrm>
            <a:custGeom>
              <a:avLst/>
              <a:gdLst/>
              <a:ahLst/>
              <a:cxnLst/>
              <a:rect l="0" t="0" r="r" b="b"/>
              <a:pathLst>
                <a:path w="21563" h="21543">
                  <a:moveTo>
                    <a:pt x="21548" y="0"/>
                  </a:moveTo>
                  <a:cubicBezTo>
                    <a:pt x="21548" y="0"/>
                    <a:pt x="21136" y="249"/>
                    <a:pt x="20787" y="296"/>
                  </a:cubicBezTo>
                  <a:cubicBezTo>
                    <a:pt x="20438" y="344"/>
                    <a:pt x="8710" y="1211"/>
                    <a:pt x="8366" y="1114"/>
                  </a:cubicBezTo>
                  <a:cubicBezTo>
                    <a:pt x="8023" y="1017"/>
                    <a:pt x="7387" y="1034"/>
                    <a:pt x="7387" y="1034"/>
                  </a:cubicBezTo>
                  <a:cubicBezTo>
                    <a:pt x="7387" y="1034"/>
                    <a:pt x="6663" y="1219"/>
                    <a:pt x="6106" y="1258"/>
                  </a:cubicBezTo>
                  <a:cubicBezTo>
                    <a:pt x="5549" y="1297"/>
                    <a:pt x="5510" y="1101"/>
                    <a:pt x="4619" y="1101"/>
                  </a:cubicBezTo>
                  <a:cubicBezTo>
                    <a:pt x="3728" y="1102"/>
                    <a:pt x="3142" y="1024"/>
                    <a:pt x="2673" y="1020"/>
                  </a:cubicBezTo>
                  <a:cubicBezTo>
                    <a:pt x="2204" y="1017"/>
                    <a:pt x="1297" y="1308"/>
                    <a:pt x="749" y="1141"/>
                  </a:cubicBezTo>
                  <a:cubicBezTo>
                    <a:pt x="201" y="970"/>
                    <a:pt x="-27" y="639"/>
                    <a:pt x="2" y="1001"/>
                  </a:cubicBezTo>
                  <a:cubicBezTo>
                    <a:pt x="32" y="1363"/>
                    <a:pt x="10" y="3337"/>
                    <a:pt x="23" y="3727"/>
                  </a:cubicBezTo>
                  <a:cubicBezTo>
                    <a:pt x="36" y="4119"/>
                    <a:pt x="8" y="7545"/>
                    <a:pt x="20" y="7968"/>
                  </a:cubicBezTo>
                  <a:cubicBezTo>
                    <a:pt x="31" y="8391"/>
                    <a:pt x="56" y="12362"/>
                    <a:pt x="28" y="12902"/>
                  </a:cubicBezTo>
                  <a:cubicBezTo>
                    <a:pt x="0" y="13442"/>
                    <a:pt x="-6" y="17455"/>
                    <a:pt x="19" y="17984"/>
                  </a:cubicBezTo>
                  <a:cubicBezTo>
                    <a:pt x="43" y="18511"/>
                    <a:pt x="71" y="21467"/>
                    <a:pt x="53" y="21533"/>
                  </a:cubicBezTo>
                  <a:cubicBezTo>
                    <a:pt x="35" y="21600"/>
                    <a:pt x="116" y="21300"/>
                    <a:pt x="202" y="21249"/>
                  </a:cubicBezTo>
                  <a:cubicBezTo>
                    <a:pt x="287" y="21196"/>
                    <a:pt x="745" y="20959"/>
                    <a:pt x="1059" y="21091"/>
                  </a:cubicBezTo>
                  <a:cubicBezTo>
                    <a:pt x="1374" y="21223"/>
                    <a:pt x="2700" y="21146"/>
                    <a:pt x="2898" y="21076"/>
                  </a:cubicBezTo>
                  <a:cubicBezTo>
                    <a:pt x="3097" y="21006"/>
                    <a:pt x="3925" y="21103"/>
                    <a:pt x="4120" y="21074"/>
                  </a:cubicBezTo>
                  <a:cubicBezTo>
                    <a:pt x="4315" y="21044"/>
                    <a:pt x="4958" y="21086"/>
                    <a:pt x="5087" y="21054"/>
                  </a:cubicBezTo>
                  <a:cubicBezTo>
                    <a:pt x="5216" y="21021"/>
                    <a:pt x="5933" y="20797"/>
                    <a:pt x="6072" y="20823"/>
                  </a:cubicBezTo>
                  <a:cubicBezTo>
                    <a:pt x="6210" y="20850"/>
                    <a:pt x="7414" y="21079"/>
                    <a:pt x="7524" y="21091"/>
                  </a:cubicBezTo>
                  <a:cubicBezTo>
                    <a:pt x="7635" y="21104"/>
                    <a:pt x="8614" y="21061"/>
                    <a:pt x="8796" y="21056"/>
                  </a:cubicBezTo>
                  <a:cubicBezTo>
                    <a:pt x="8979" y="21050"/>
                    <a:pt x="21356" y="20408"/>
                    <a:pt x="21419" y="20433"/>
                  </a:cubicBezTo>
                  <a:cubicBezTo>
                    <a:pt x="21482" y="20458"/>
                    <a:pt x="21487" y="19902"/>
                    <a:pt x="21483" y="19800"/>
                  </a:cubicBezTo>
                  <a:cubicBezTo>
                    <a:pt x="21480" y="19697"/>
                    <a:pt x="21496" y="15906"/>
                    <a:pt x="21486" y="14672"/>
                  </a:cubicBezTo>
                  <a:cubicBezTo>
                    <a:pt x="21476" y="13436"/>
                    <a:pt x="21573" y="5646"/>
                    <a:pt x="21562" y="4602"/>
                  </a:cubicBezTo>
                  <a:cubicBezTo>
                    <a:pt x="21550" y="3558"/>
                    <a:pt x="21548" y="0"/>
                    <a:pt x="21548" y="0"/>
                  </a:cubicBezTo>
                  <a:close/>
                  <a:moveTo>
                    <a:pt x="21548" y="0"/>
                  </a:moveTo>
                </a:path>
              </a:pathLst>
            </a:custGeom>
            <a:solidFill>
              <a:schemeClr val="accent1"/>
            </a:solidFill>
            <a:ln>
              <a:noFill/>
            </a:ln>
          </p:spPr>
          <p:txBody>
            <a:bodyPr lIns="0" tIns="0" rIns="0" bIns="0"/>
            <a:lstStyle/>
            <a:p>
              <a:endParaRPr lang="en-US"/>
            </a:p>
          </p:txBody>
        </p:sp>
        <p:sp>
          <p:nvSpPr>
            <p:cNvPr id="71" name="AutoShape 14">
              <a:extLst>
                <a:ext uri="{FF2B5EF4-FFF2-40B4-BE49-F238E27FC236}">
                  <a16:creationId xmlns:a16="http://schemas.microsoft.com/office/drawing/2014/main" id="{76331DCD-4710-9545-9702-B23D12A74816}"/>
                </a:ext>
              </a:extLst>
            </p:cNvPr>
            <p:cNvSpPr>
              <a:spLocks/>
            </p:cNvSpPr>
            <p:nvPr/>
          </p:nvSpPr>
          <p:spPr bwMode="auto">
            <a:xfrm>
              <a:off x="365985" y="2231860"/>
              <a:ext cx="1989138" cy="298450"/>
            </a:xfrm>
            <a:custGeom>
              <a:avLst/>
              <a:gdLst/>
              <a:ahLst/>
              <a:cxnLst/>
              <a:rect l="0" t="0" r="r" b="b"/>
              <a:pathLst>
                <a:path w="21561" h="21363">
                  <a:moveTo>
                    <a:pt x="21540" y="805"/>
                  </a:moveTo>
                  <a:cubicBezTo>
                    <a:pt x="21540" y="805"/>
                    <a:pt x="21129" y="1023"/>
                    <a:pt x="20779" y="1043"/>
                  </a:cubicBezTo>
                  <a:cubicBezTo>
                    <a:pt x="20430" y="1065"/>
                    <a:pt x="8707" y="1040"/>
                    <a:pt x="8363" y="916"/>
                  </a:cubicBezTo>
                  <a:cubicBezTo>
                    <a:pt x="8020" y="789"/>
                    <a:pt x="7384" y="759"/>
                    <a:pt x="7384" y="759"/>
                  </a:cubicBezTo>
                  <a:cubicBezTo>
                    <a:pt x="7384" y="759"/>
                    <a:pt x="6661" y="889"/>
                    <a:pt x="6104" y="885"/>
                  </a:cubicBezTo>
                  <a:cubicBezTo>
                    <a:pt x="5547" y="882"/>
                    <a:pt x="5508" y="682"/>
                    <a:pt x="4617" y="614"/>
                  </a:cubicBezTo>
                  <a:cubicBezTo>
                    <a:pt x="3727" y="547"/>
                    <a:pt x="3141" y="424"/>
                    <a:pt x="2672" y="383"/>
                  </a:cubicBezTo>
                  <a:cubicBezTo>
                    <a:pt x="2202" y="344"/>
                    <a:pt x="1297" y="568"/>
                    <a:pt x="749" y="357"/>
                  </a:cubicBezTo>
                  <a:cubicBezTo>
                    <a:pt x="200" y="144"/>
                    <a:pt x="-28" y="-208"/>
                    <a:pt x="2" y="159"/>
                  </a:cubicBezTo>
                  <a:cubicBezTo>
                    <a:pt x="32" y="526"/>
                    <a:pt x="12" y="2511"/>
                    <a:pt x="26" y="2905"/>
                  </a:cubicBezTo>
                  <a:cubicBezTo>
                    <a:pt x="40" y="3299"/>
                    <a:pt x="16" y="6746"/>
                    <a:pt x="28" y="7173"/>
                  </a:cubicBezTo>
                  <a:cubicBezTo>
                    <a:pt x="40" y="7601"/>
                    <a:pt x="70" y="11597"/>
                    <a:pt x="42" y="12140"/>
                  </a:cubicBezTo>
                  <a:cubicBezTo>
                    <a:pt x="15" y="12683"/>
                    <a:pt x="15" y="16723"/>
                    <a:pt x="40" y="17255"/>
                  </a:cubicBezTo>
                  <a:cubicBezTo>
                    <a:pt x="65" y="17787"/>
                    <a:pt x="96" y="20765"/>
                    <a:pt x="78" y="20829"/>
                  </a:cubicBezTo>
                  <a:cubicBezTo>
                    <a:pt x="61" y="20895"/>
                    <a:pt x="141" y="20600"/>
                    <a:pt x="227" y="20554"/>
                  </a:cubicBezTo>
                  <a:cubicBezTo>
                    <a:pt x="312" y="20509"/>
                    <a:pt x="770" y="20305"/>
                    <a:pt x="1084" y="20462"/>
                  </a:cubicBezTo>
                  <a:cubicBezTo>
                    <a:pt x="1399" y="20620"/>
                    <a:pt x="2724" y="20644"/>
                    <a:pt x="2922" y="20588"/>
                  </a:cubicBezTo>
                  <a:cubicBezTo>
                    <a:pt x="3120" y="20531"/>
                    <a:pt x="3949" y="20695"/>
                    <a:pt x="4143" y="20680"/>
                  </a:cubicBezTo>
                  <a:cubicBezTo>
                    <a:pt x="4339" y="20664"/>
                    <a:pt x="4981" y="20757"/>
                    <a:pt x="5110" y="20733"/>
                  </a:cubicBezTo>
                  <a:cubicBezTo>
                    <a:pt x="5239" y="20710"/>
                    <a:pt x="5956" y="20539"/>
                    <a:pt x="6095" y="20578"/>
                  </a:cubicBezTo>
                  <a:cubicBezTo>
                    <a:pt x="6233" y="20616"/>
                    <a:pt x="7437" y="20937"/>
                    <a:pt x="7547" y="20959"/>
                  </a:cubicBezTo>
                  <a:cubicBezTo>
                    <a:pt x="7657" y="20981"/>
                    <a:pt x="8636" y="21011"/>
                    <a:pt x="8819" y="21019"/>
                  </a:cubicBezTo>
                  <a:cubicBezTo>
                    <a:pt x="9001" y="21030"/>
                    <a:pt x="21373" y="21332"/>
                    <a:pt x="21436" y="21362"/>
                  </a:cubicBezTo>
                  <a:cubicBezTo>
                    <a:pt x="21500" y="21392"/>
                    <a:pt x="21503" y="20833"/>
                    <a:pt x="21500" y="20730"/>
                  </a:cubicBezTo>
                  <a:cubicBezTo>
                    <a:pt x="21496" y="20626"/>
                    <a:pt x="21508" y="16812"/>
                    <a:pt x="21496" y="15567"/>
                  </a:cubicBezTo>
                  <a:cubicBezTo>
                    <a:pt x="21484" y="14323"/>
                    <a:pt x="21572" y="6489"/>
                    <a:pt x="21559" y="5438"/>
                  </a:cubicBezTo>
                  <a:cubicBezTo>
                    <a:pt x="21547" y="4385"/>
                    <a:pt x="21540" y="805"/>
                    <a:pt x="21540" y="805"/>
                  </a:cubicBezTo>
                  <a:close/>
                  <a:moveTo>
                    <a:pt x="21540" y="805"/>
                  </a:moveTo>
                </a:path>
              </a:pathLst>
            </a:custGeom>
            <a:solidFill>
              <a:schemeClr val="accent1"/>
            </a:solidFill>
            <a:ln>
              <a:noFill/>
            </a:ln>
          </p:spPr>
          <p:txBody>
            <a:bodyPr lIns="0" tIns="0" rIns="0" bIns="0"/>
            <a:lstStyle/>
            <a:p>
              <a:endParaRPr lang="en-US"/>
            </a:p>
          </p:txBody>
        </p:sp>
        <p:sp>
          <p:nvSpPr>
            <p:cNvPr id="72" name="AutoShape 1">
              <a:extLst>
                <a:ext uri="{FF2B5EF4-FFF2-40B4-BE49-F238E27FC236}">
                  <a16:creationId xmlns:a16="http://schemas.microsoft.com/office/drawing/2014/main" id="{EEDC27DF-C0B1-6B49-8E70-986B6C54E403}"/>
                </a:ext>
              </a:extLst>
            </p:cNvPr>
            <p:cNvSpPr>
              <a:spLocks/>
            </p:cNvSpPr>
            <p:nvPr/>
          </p:nvSpPr>
          <p:spPr bwMode="auto">
            <a:xfrm flipV="1">
              <a:off x="365985" y="4159225"/>
              <a:ext cx="2929768" cy="395494"/>
            </a:xfrm>
            <a:custGeom>
              <a:avLst/>
              <a:gdLst/>
              <a:ahLst/>
              <a:cxnLst/>
              <a:rect l="0" t="0" r="r" b="b"/>
              <a:pathLst>
                <a:path w="21600" h="21600">
                  <a:moveTo>
                    <a:pt x="18783" y="21450"/>
                  </a:moveTo>
                  <a:cubicBezTo>
                    <a:pt x="17574" y="20375"/>
                    <a:pt x="9418" y="19904"/>
                    <a:pt x="7323" y="20379"/>
                  </a:cubicBezTo>
                  <a:cubicBezTo>
                    <a:pt x="7260" y="20369"/>
                    <a:pt x="7197" y="20360"/>
                    <a:pt x="7133" y="20349"/>
                  </a:cubicBezTo>
                  <a:cubicBezTo>
                    <a:pt x="5990" y="20482"/>
                    <a:pt x="4603" y="20297"/>
                    <a:pt x="3635" y="19375"/>
                  </a:cubicBezTo>
                  <a:cubicBezTo>
                    <a:pt x="3192" y="18805"/>
                    <a:pt x="2741" y="18111"/>
                    <a:pt x="2292" y="17441"/>
                  </a:cubicBezTo>
                  <a:cubicBezTo>
                    <a:pt x="2501" y="17042"/>
                    <a:pt x="2694" y="16642"/>
                    <a:pt x="2862" y="16248"/>
                  </a:cubicBezTo>
                  <a:cubicBezTo>
                    <a:pt x="2404" y="16300"/>
                    <a:pt x="1947" y="16353"/>
                    <a:pt x="1772" y="15914"/>
                  </a:cubicBezTo>
                  <a:cubicBezTo>
                    <a:pt x="799" y="14878"/>
                    <a:pt x="1350" y="13665"/>
                    <a:pt x="1724" y="12014"/>
                  </a:cubicBezTo>
                  <a:cubicBezTo>
                    <a:pt x="1994" y="11291"/>
                    <a:pt x="1629" y="10184"/>
                    <a:pt x="2051" y="9447"/>
                  </a:cubicBezTo>
                  <a:cubicBezTo>
                    <a:pt x="1747" y="9481"/>
                    <a:pt x="1595" y="9499"/>
                    <a:pt x="1290" y="9535"/>
                  </a:cubicBezTo>
                  <a:cubicBezTo>
                    <a:pt x="1255" y="8848"/>
                    <a:pt x="2228" y="9886"/>
                    <a:pt x="2016" y="8761"/>
                  </a:cubicBezTo>
                  <a:cubicBezTo>
                    <a:pt x="1723" y="9024"/>
                    <a:pt x="1395" y="8604"/>
                    <a:pt x="1091" y="8639"/>
                  </a:cubicBezTo>
                  <a:cubicBezTo>
                    <a:pt x="1196" y="7708"/>
                    <a:pt x="2145" y="8288"/>
                    <a:pt x="2098" y="7373"/>
                  </a:cubicBezTo>
                  <a:cubicBezTo>
                    <a:pt x="1934" y="7161"/>
                    <a:pt x="1243" y="8621"/>
                    <a:pt x="1184" y="7479"/>
                  </a:cubicBezTo>
                  <a:cubicBezTo>
                    <a:pt x="1173" y="7249"/>
                    <a:pt x="1477" y="7215"/>
                    <a:pt x="1629" y="7197"/>
                  </a:cubicBezTo>
                  <a:cubicBezTo>
                    <a:pt x="692" y="6846"/>
                    <a:pt x="176" y="5757"/>
                    <a:pt x="1031" y="4509"/>
                  </a:cubicBezTo>
                  <a:cubicBezTo>
                    <a:pt x="734" y="4544"/>
                    <a:pt x="314" y="5028"/>
                    <a:pt x="0" y="4872"/>
                  </a:cubicBezTo>
                  <a:cubicBezTo>
                    <a:pt x="0" y="4865"/>
                    <a:pt x="2" y="4860"/>
                    <a:pt x="2" y="4853"/>
                  </a:cubicBezTo>
                  <a:cubicBezTo>
                    <a:pt x="159" y="4815"/>
                    <a:pt x="430" y="4578"/>
                    <a:pt x="574" y="4562"/>
                  </a:cubicBezTo>
                  <a:cubicBezTo>
                    <a:pt x="396" y="4582"/>
                    <a:pt x="218" y="4603"/>
                    <a:pt x="39" y="4624"/>
                  </a:cubicBezTo>
                  <a:cubicBezTo>
                    <a:pt x="67" y="4463"/>
                    <a:pt x="99" y="4305"/>
                    <a:pt x="133" y="4147"/>
                  </a:cubicBezTo>
                  <a:cubicBezTo>
                    <a:pt x="266" y="4006"/>
                    <a:pt x="400" y="3893"/>
                    <a:pt x="539" y="3876"/>
                  </a:cubicBezTo>
                  <a:cubicBezTo>
                    <a:pt x="421" y="3890"/>
                    <a:pt x="302" y="3903"/>
                    <a:pt x="183" y="3917"/>
                  </a:cubicBezTo>
                  <a:cubicBezTo>
                    <a:pt x="272" y="3545"/>
                    <a:pt x="374" y="3184"/>
                    <a:pt x="486" y="2847"/>
                  </a:cubicBezTo>
                  <a:cubicBezTo>
                    <a:pt x="908" y="2110"/>
                    <a:pt x="1312" y="1029"/>
                    <a:pt x="1541" y="1002"/>
                  </a:cubicBezTo>
                  <a:cubicBezTo>
                    <a:pt x="3384" y="459"/>
                    <a:pt x="5236" y="76"/>
                    <a:pt x="7078" y="0"/>
                  </a:cubicBezTo>
                  <a:cubicBezTo>
                    <a:pt x="7081" y="425"/>
                    <a:pt x="6983" y="850"/>
                    <a:pt x="7136" y="1046"/>
                  </a:cubicBezTo>
                  <a:cubicBezTo>
                    <a:pt x="7616" y="1449"/>
                    <a:pt x="8002" y="24"/>
                    <a:pt x="8483" y="428"/>
                  </a:cubicBezTo>
                  <a:cubicBezTo>
                    <a:pt x="8494" y="657"/>
                    <a:pt x="8506" y="885"/>
                    <a:pt x="8518" y="1114"/>
                  </a:cubicBezTo>
                  <a:cubicBezTo>
                    <a:pt x="8890" y="822"/>
                    <a:pt x="9277" y="439"/>
                    <a:pt x="9673" y="116"/>
                  </a:cubicBezTo>
                  <a:cubicBezTo>
                    <a:pt x="10401" y="216"/>
                    <a:pt x="11126" y="378"/>
                    <a:pt x="11848" y="609"/>
                  </a:cubicBezTo>
                  <a:cubicBezTo>
                    <a:pt x="11829" y="860"/>
                    <a:pt x="11820" y="1091"/>
                    <a:pt x="11892" y="1182"/>
                  </a:cubicBezTo>
                  <a:cubicBezTo>
                    <a:pt x="12192" y="1366"/>
                    <a:pt x="12608" y="1125"/>
                    <a:pt x="13039" y="1053"/>
                  </a:cubicBezTo>
                  <a:cubicBezTo>
                    <a:pt x="13103" y="1093"/>
                    <a:pt x="13166" y="1134"/>
                    <a:pt x="13229" y="1172"/>
                  </a:cubicBezTo>
                  <a:cubicBezTo>
                    <a:pt x="13278" y="1321"/>
                    <a:pt x="13291" y="1561"/>
                    <a:pt x="13299" y="1709"/>
                  </a:cubicBezTo>
                  <a:cubicBezTo>
                    <a:pt x="13493" y="1686"/>
                    <a:pt x="13667" y="1621"/>
                    <a:pt x="13827" y="1547"/>
                  </a:cubicBezTo>
                  <a:cubicBezTo>
                    <a:pt x="15942" y="2898"/>
                    <a:pt x="18090" y="1857"/>
                    <a:pt x="20417" y="3426"/>
                  </a:cubicBezTo>
                  <a:cubicBezTo>
                    <a:pt x="20815" y="3937"/>
                    <a:pt x="21212" y="3561"/>
                    <a:pt x="21600" y="3891"/>
                  </a:cubicBezTo>
                  <a:lnTo>
                    <a:pt x="21600" y="21600"/>
                  </a:lnTo>
                  <a:cubicBezTo>
                    <a:pt x="20728" y="21515"/>
                    <a:pt x="19809" y="21445"/>
                    <a:pt x="18783" y="21450"/>
                  </a:cubicBezTo>
                  <a:close/>
                  <a:moveTo>
                    <a:pt x="18783" y="21450"/>
                  </a:moveTo>
                </a:path>
              </a:pathLst>
            </a:custGeom>
            <a:solidFill>
              <a:schemeClr val="accent1"/>
            </a:solidFill>
            <a:ln>
              <a:noFill/>
            </a:ln>
          </p:spPr>
          <p:txBody>
            <a:bodyPr lIns="0" tIns="0" rIns="0" bIns="0"/>
            <a:lstStyle/>
            <a:p>
              <a:endParaRPr lang="en-US"/>
            </a:p>
          </p:txBody>
        </p:sp>
      </p:grpSp>
      <p:sp>
        <p:nvSpPr>
          <p:cNvPr id="73" name="AutoShape 1">
            <a:extLst>
              <a:ext uri="{FF2B5EF4-FFF2-40B4-BE49-F238E27FC236}">
                <a16:creationId xmlns:a16="http://schemas.microsoft.com/office/drawing/2014/main" id="{BC2DBD2A-EE8D-2849-A588-7F45706A77A1}"/>
              </a:ext>
            </a:extLst>
          </p:cNvPr>
          <p:cNvSpPr>
            <a:spLocks/>
          </p:cNvSpPr>
          <p:nvPr/>
        </p:nvSpPr>
        <p:spPr bwMode="auto">
          <a:xfrm>
            <a:off x="6296717" y="2199784"/>
            <a:ext cx="1273341" cy="1157548"/>
          </a:xfrm>
          <a:custGeom>
            <a:avLst/>
            <a:gdLst/>
            <a:ahLst/>
            <a:cxnLst/>
            <a:rect l="0" t="0" r="r" b="b"/>
            <a:pathLst>
              <a:path w="21527" h="21588">
                <a:moveTo>
                  <a:pt x="11546" y="42"/>
                </a:moveTo>
                <a:cubicBezTo>
                  <a:pt x="11537" y="31"/>
                  <a:pt x="11539" y="-6"/>
                  <a:pt x="11548" y="0"/>
                </a:cubicBezTo>
                <a:cubicBezTo>
                  <a:pt x="11559" y="7"/>
                  <a:pt x="11569" y="49"/>
                  <a:pt x="11560" y="49"/>
                </a:cubicBezTo>
                <a:cubicBezTo>
                  <a:pt x="11556" y="49"/>
                  <a:pt x="11550" y="46"/>
                  <a:pt x="11546" y="42"/>
                </a:cubicBezTo>
                <a:cubicBezTo>
                  <a:pt x="11546" y="42"/>
                  <a:pt x="11546" y="42"/>
                  <a:pt x="11546" y="42"/>
                </a:cubicBezTo>
                <a:close/>
                <a:moveTo>
                  <a:pt x="20930" y="2521"/>
                </a:moveTo>
                <a:cubicBezTo>
                  <a:pt x="20946" y="2481"/>
                  <a:pt x="20966" y="2523"/>
                  <a:pt x="20935" y="2534"/>
                </a:cubicBezTo>
                <a:cubicBezTo>
                  <a:pt x="20928" y="2537"/>
                  <a:pt x="20926" y="2531"/>
                  <a:pt x="20930" y="2521"/>
                </a:cubicBezTo>
                <a:cubicBezTo>
                  <a:pt x="20930" y="2521"/>
                  <a:pt x="20930" y="2521"/>
                  <a:pt x="20930" y="2521"/>
                </a:cubicBezTo>
                <a:close/>
                <a:moveTo>
                  <a:pt x="21020" y="3098"/>
                </a:moveTo>
                <a:cubicBezTo>
                  <a:pt x="21020" y="3087"/>
                  <a:pt x="21058" y="3055"/>
                  <a:pt x="21071" y="3055"/>
                </a:cubicBezTo>
                <a:cubicBezTo>
                  <a:pt x="21083" y="3055"/>
                  <a:pt x="21059" y="3085"/>
                  <a:pt x="21038" y="3098"/>
                </a:cubicBezTo>
                <a:cubicBezTo>
                  <a:pt x="21026" y="3105"/>
                  <a:pt x="21020" y="3105"/>
                  <a:pt x="21020" y="3098"/>
                </a:cubicBezTo>
                <a:cubicBezTo>
                  <a:pt x="21020" y="3098"/>
                  <a:pt x="21020" y="3098"/>
                  <a:pt x="21020" y="3098"/>
                </a:cubicBezTo>
                <a:close/>
                <a:moveTo>
                  <a:pt x="20147" y="3128"/>
                </a:moveTo>
                <a:cubicBezTo>
                  <a:pt x="20147" y="3078"/>
                  <a:pt x="20264" y="3071"/>
                  <a:pt x="20186" y="3121"/>
                </a:cubicBezTo>
                <a:cubicBezTo>
                  <a:pt x="20154" y="3142"/>
                  <a:pt x="20147" y="3144"/>
                  <a:pt x="20147" y="3128"/>
                </a:cubicBezTo>
                <a:cubicBezTo>
                  <a:pt x="20147" y="3128"/>
                  <a:pt x="20147" y="3128"/>
                  <a:pt x="20147" y="3128"/>
                </a:cubicBezTo>
                <a:close/>
                <a:moveTo>
                  <a:pt x="21483" y="3149"/>
                </a:moveTo>
                <a:cubicBezTo>
                  <a:pt x="21485" y="3142"/>
                  <a:pt x="21497" y="3132"/>
                  <a:pt x="21510" y="3127"/>
                </a:cubicBezTo>
                <a:cubicBezTo>
                  <a:pt x="21532" y="3118"/>
                  <a:pt x="21532" y="3118"/>
                  <a:pt x="21515" y="3139"/>
                </a:cubicBezTo>
                <a:cubicBezTo>
                  <a:pt x="21495" y="3162"/>
                  <a:pt x="21477" y="3168"/>
                  <a:pt x="21483" y="3149"/>
                </a:cubicBezTo>
                <a:cubicBezTo>
                  <a:pt x="21483" y="3149"/>
                  <a:pt x="21483" y="3149"/>
                  <a:pt x="21483" y="3149"/>
                </a:cubicBezTo>
                <a:close/>
                <a:moveTo>
                  <a:pt x="20123" y="3150"/>
                </a:moveTo>
                <a:cubicBezTo>
                  <a:pt x="20139" y="3122"/>
                  <a:pt x="20144" y="3161"/>
                  <a:pt x="20127" y="3161"/>
                </a:cubicBezTo>
                <a:cubicBezTo>
                  <a:pt x="20122" y="3161"/>
                  <a:pt x="20119" y="3156"/>
                  <a:pt x="20123" y="3150"/>
                </a:cubicBezTo>
                <a:cubicBezTo>
                  <a:pt x="20123" y="3150"/>
                  <a:pt x="20123" y="3150"/>
                  <a:pt x="20123" y="3150"/>
                </a:cubicBezTo>
                <a:close/>
                <a:moveTo>
                  <a:pt x="20895" y="3197"/>
                </a:moveTo>
                <a:cubicBezTo>
                  <a:pt x="20895" y="3177"/>
                  <a:pt x="20918" y="3150"/>
                  <a:pt x="20936" y="3150"/>
                </a:cubicBezTo>
                <a:cubicBezTo>
                  <a:pt x="20948" y="3150"/>
                  <a:pt x="20969" y="3138"/>
                  <a:pt x="20984" y="3122"/>
                </a:cubicBezTo>
                <a:cubicBezTo>
                  <a:pt x="21002" y="3103"/>
                  <a:pt x="21010" y="3098"/>
                  <a:pt x="21010" y="3108"/>
                </a:cubicBezTo>
                <a:cubicBezTo>
                  <a:pt x="21010" y="3127"/>
                  <a:pt x="20948" y="3176"/>
                  <a:pt x="20935" y="3167"/>
                </a:cubicBezTo>
                <a:cubicBezTo>
                  <a:pt x="20930" y="3164"/>
                  <a:pt x="20924" y="3170"/>
                  <a:pt x="20921" y="3182"/>
                </a:cubicBezTo>
                <a:cubicBezTo>
                  <a:pt x="20917" y="3200"/>
                  <a:pt x="20895" y="3213"/>
                  <a:pt x="20895" y="3197"/>
                </a:cubicBezTo>
                <a:cubicBezTo>
                  <a:pt x="20895" y="3197"/>
                  <a:pt x="20895" y="3197"/>
                  <a:pt x="20895" y="3197"/>
                </a:cubicBezTo>
                <a:close/>
                <a:moveTo>
                  <a:pt x="20046" y="3224"/>
                </a:moveTo>
                <a:cubicBezTo>
                  <a:pt x="20056" y="3209"/>
                  <a:pt x="20073" y="3212"/>
                  <a:pt x="20065" y="3224"/>
                </a:cubicBezTo>
                <a:cubicBezTo>
                  <a:pt x="20062" y="3230"/>
                  <a:pt x="20055" y="3235"/>
                  <a:pt x="20050" y="3235"/>
                </a:cubicBezTo>
                <a:cubicBezTo>
                  <a:pt x="20045" y="3235"/>
                  <a:pt x="20043" y="3230"/>
                  <a:pt x="20046" y="3224"/>
                </a:cubicBezTo>
                <a:cubicBezTo>
                  <a:pt x="20046" y="3224"/>
                  <a:pt x="20046" y="3224"/>
                  <a:pt x="20046" y="3224"/>
                </a:cubicBezTo>
                <a:close/>
                <a:moveTo>
                  <a:pt x="21361" y="3235"/>
                </a:moveTo>
                <a:cubicBezTo>
                  <a:pt x="21387" y="3203"/>
                  <a:pt x="21392" y="3228"/>
                  <a:pt x="21431" y="3187"/>
                </a:cubicBezTo>
                <a:cubicBezTo>
                  <a:pt x="21482" y="3134"/>
                  <a:pt x="21477" y="3182"/>
                  <a:pt x="21457" y="3182"/>
                </a:cubicBezTo>
                <a:cubicBezTo>
                  <a:pt x="21449" y="3182"/>
                  <a:pt x="21440" y="3188"/>
                  <a:pt x="21436" y="3195"/>
                </a:cubicBezTo>
                <a:cubicBezTo>
                  <a:pt x="21425" y="3214"/>
                  <a:pt x="21369" y="3256"/>
                  <a:pt x="21355" y="3256"/>
                </a:cubicBezTo>
                <a:cubicBezTo>
                  <a:pt x="21348" y="3256"/>
                  <a:pt x="21350" y="3247"/>
                  <a:pt x="21361" y="3235"/>
                </a:cubicBezTo>
                <a:cubicBezTo>
                  <a:pt x="21361" y="3235"/>
                  <a:pt x="21361" y="3235"/>
                  <a:pt x="21361" y="3235"/>
                </a:cubicBezTo>
                <a:close/>
                <a:moveTo>
                  <a:pt x="21325" y="3270"/>
                </a:moveTo>
                <a:cubicBezTo>
                  <a:pt x="21341" y="3263"/>
                  <a:pt x="21357" y="3277"/>
                  <a:pt x="21331" y="3277"/>
                </a:cubicBezTo>
                <a:cubicBezTo>
                  <a:pt x="21320" y="3276"/>
                  <a:pt x="21318" y="3273"/>
                  <a:pt x="21325" y="3270"/>
                </a:cubicBezTo>
                <a:cubicBezTo>
                  <a:pt x="21325" y="3270"/>
                  <a:pt x="21325" y="3270"/>
                  <a:pt x="21325" y="3270"/>
                </a:cubicBezTo>
                <a:close/>
                <a:moveTo>
                  <a:pt x="20781" y="3291"/>
                </a:moveTo>
                <a:cubicBezTo>
                  <a:pt x="20780" y="3277"/>
                  <a:pt x="20829" y="3231"/>
                  <a:pt x="20836" y="3239"/>
                </a:cubicBezTo>
                <a:cubicBezTo>
                  <a:pt x="20843" y="3248"/>
                  <a:pt x="20818" y="3277"/>
                  <a:pt x="20804" y="3277"/>
                </a:cubicBezTo>
                <a:cubicBezTo>
                  <a:pt x="20797" y="3277"/>
                  <a:pt x="20789" y="3283"/>
                  <a:pt x="20786" y="3290"/>
                </a:cubicBezTo>
                <a:cubicBezTo>
                  <a:pt x="20783" y="3300"/>
                  <a:pt x="20781" y="3300"/>
                  <a:pt x="20781" y="3291"/>
                </a:cubicBezTo>
                <a:cubicBezTo>
                  <a:pt x="20781" y="3291"/>
                  <a:pt x="20781" y="3291"/>
                  <a:pt x="20781" y="3291"/>
                </a:cubicBezTo>
                <a:close/>
                <a:moveTo>
                  <a:pt x="19960" y="3293"/>
                </a:moveTo>
                <a:cubicBezTo>
                  <a:pt x="19998" y="3258"/>
                  <a:pt x="20017" y="3259"/>
                  <a:pt x="19979" y="3293"/>
                </a:cubicBezTo>
                <a:cubicBezTo>
                  <a:pt x="19963" y="3308"/>
                  <a:pt x="19946" y="3319"/>
                  <a:pt x="19941" y="3319"/>
                </a:cubicBezTo>
                <a:cubicBezTo>
                  <a:pt x="19935" y="3319"/>
                  <a:pt x="19944" y="3308"/>
                  <a:pt x="19960" y="3293"/>
                </a:cubicBezTo>
                <a:cubicBezTo>
                  <a:pt x="19960" y="3293"/>
                  <a:pt x="19960" y="3293"/>
                  <a:pt x="19960" y="3293"/>
                </a:cubicBezTo>
                <a:close/>
                <a:moveTo>
                  <a:pt x="20617" y="3374"/>
                </a:moveTo>
                <a:cubicBezTo>
                  <a:pt x="20617" y="3362"/>
                  <a:pt x="20663" y="3335"/>
                  <a:pt x="20671" y="3343"/>
                </a:cubicBezTo>
                <a:cubicBezTo>
                  <a:pt x="20674" y="3346"/>
                  <a:pt x="20663" y="3358"/>
                  <a:pt x="20647" y="3366"/>
                </a:cubicBezTo>
                <a:cubicBezTo>
                  <a:pt x="20630" y="3376"/>
                  <a:pt x="20617" y="3380"/>
                  <a:pt x="20617" y="3374"/>
                </a:cubicBezTo>
                <a:cubicBezTo>
                  <a:pt x="20617" y="3374"/>
                  <a:pt x="20617" y="3374"/>
                  <a:pt x="20617" y="3374"/>
                </a:cubicBezTo>
                <a:close/>
                <a:moveTo>
                  <a:pt x="20554" y="3431"/>
                </a:moveTo>
                <a:cubicBezTo>
                  <a:pt x="20578" y="3410"/>
                  <a:pt x="20598" y="3409"/>
                  <a:pt x="20573" y="3431"/>
                </a:cubicBezTo>
                <a:cubicBezTo>
                  <a:pt x="20563" y="3439"/>
                  <a:pt x="20550" y="3446"/>
                  <a:pt x="20545" y="3446"/>
                </a:cubicBezTo>
                <a:cubicBezTo>
                  <a:pt x="20540" y="3446"/>
                  <a:pt x="20544" y="3439"/>
                  <a:pt x="20554" y="3431"/>
                </a:cubicBezTo>
                <a:cubicBezTo>
                  <a:pt x="20554" y="3431"/>
                  <a:pt x="20554" y="3431"/>
                  <a:pt x="20554" y="3431"/>
                </a:cubicBezTo>
                <a:close/>
                <a:moveTo>
                  <a:pt x="19783" y="3449"/>
                </a:moveTo>
                <a:cubicBezTo>
                  <a:pt x="19783" y="3425"/>
                  <a:pt x="19749" y="3462"/>
                  <a:pt x="19772" y="3433"/>
                </a:cubicBezTo>
                <a:cubicBezTo>
                  <a:pt x="19792" y="3404"/>
                  <a:pt x="19791" y="3429"/>
                  <a:pt x="19832" y="3386"/>
                </a:cubicBezTo>
                <a:cubicBezTo>
                  <a:pt x="19873" y="3344"/>
                  <a:pt x="19863" y="3388"/>
                  <a:pt x="19833" y="3410"/>
                </a:cubicBezTo>
                <a:cubicBezTo>
                  <a:pt x="19819" y="3420"/>
                  <a:pt x="19801" y="3436"/>
                  <a:pt x="19795" y="3446"/>
                </a:cubicBezTo>
                <a:cubicBezTo>
                  <a:pt x="19786" y="3458"/>
                  <a:pt x="19783" y="3458"/>
                  <a:pt x="19783" y="3449"/>
                </a:cubicBezTo>
                <a:cubicBezTo>
                  <a:pt x="19783" y="3449"/>
                  <a:pt x="19783" y="3449"/>
                  <a:pt x="19783" y="3449"/>
                </a:cubicBezTo>
                <a:close/>
                <a:moveTo>
                  <a:pt x="20566" y="3459"/>
                </a:moveTo>
                <a:cubicBezTo>
                  <a:pt x="20642" y="3388"/>
                  <a:pt x="20761" y="3299"/>
                  <a:pt x="20761" y="3314"/>
                </a:cubicBezTo>
                <a:cubicBezTo>
                  <a:pt x="20761" y="3323"/>
                  <a:pt x="20758" y="3330"/>
                  <a:pt x="20753" y="3330"/>
                </a:cubicBezTo>
                <a:cubicBezTo>
                  <a:pt x="20745" y="3330"/>
                  <a:pt x="20683" y="3393"/>
                  <a:pt x="20670" y="3393"/>
                </a:cubicBezTo>
                <a:cubicBezTo>
                  <a:pt x="20659" y="3393"/>
                  <a:pt x="20566" y="3490"/>
                  <a:pt x="20543" y="3489"/>
                </a:cubicBezTo>
                <a:cubicBezTo>
                  <a:pt x="20539" y="3488"/>
                  <a:pt x="20549" y="3475"/>
                  <a:pt x="20566" y="3459"/>
                </a:cubicBezTo>
                <a:cubicBezTo>
                  <a:pt x="20566" y="3459"/>
                  <a:pt x="20566" y="3459"/>
                  <a:pt x="20566" y="3459"/>
                </a:cubicBezTo>
                <a:close/>
                <a:moveTo>
                  <a:pt x="20478" y="3489"/>
                </a:moveTo>
                <a:cubicBezTo>
                  <a:pt x="20495" y="3462"/>
                  <a:pt x="20498" y="3500"/>
                  <a:pt x="20482" y="3500"/>
                </a:cubicBezTo>
                <a:cubicBezTo>
                  <a:pt x="20476" y="3500"/>
                  <a:pt x="20475" y="3495"/>
                  <a:pt x="20478" y="3489"/>
                </a:cubicBezTo>
                <a:cubicBezTo>
                  <a:pt x="20478" y="3489"/>
                  <a:pt x="20478" y="3489"/>
                  <a:pt x="20478" y="3489"/>
                </a:cubicBezTo>
                <a:close/>
                <a:moveTo>
                  <a:pt x="20214" y="3500"/>
                </a:moveTo>
                <a:cubicBezTo>
                  <a:pt x="20214" y="3487"/>
                  <a:pt x="20233" y="3473"/>
                  <a:pt x="20233" y="3488"/>
                </a:cubicBezTo>
                <a:cubicBezTo>
                  <a:pt x="20233" y="3493"/>
                  <a:pt x="20229" y="3501"/>
                  <a:pt x="20224" y="3504"/>
                </a:cubicBezTo>
                <a:cubicBezTo>
                  <a:pt x="20219" y="3508"/>
                  <a:pt x="20214" y="3507"/>
                  <a:pt x="20214" y="3500"/>
                </a:cubicBezTo>
                <a:cubicBezTo>
                  <a:pt x="20214" y="3500"/>
                  <a:pt x="20214" y="3500"/>
                  <a:pt x="20214" y="3500"/>
                </a:cubicBezTo>
                <a:close/>
                <a:moveTo>
                  <a:pt x="20445" y="3510"/>
                </a:moveTo>
                <a:cubicBezTo>
                  <a:pt x="20445" y="3496"/>
                  <a:pt x="20466" y="3496"/>
                  <a:pt x="20459" y="3510"/>
                </a:cubicBezTo>
                <a:cubicBezTo>
                  <a:pt x="20455" y="3516"/>
                  <a:pt x="20451" y="3520"/>
                  <a:pt x="20449" y="3520"/>
                </a:cubicBezTo>
                <a:cubicBezTo>
                  <a:pt x="20446" y="3520"/>
                  <a:pt x="20445" y="3516"/>
                  <a:pt x="20445" y="3510"/>
                </a:cubicBezTo>
                <a:cubicBezTo>
                  <a:pt x="20445" y="3510"/>
                  <a:pt x="20445" y="3510"/>
                  <a:pt x="20445" y="3510"/>
                </a:cubicBezTo>
                <a:close/>
                <a:moveTo>
                  <a:pt x="20387" y="3566"/>
                </a:moveTo>
                <a:cubicBezTo>
                  <a:pt x="20387" y="3554"/>
                  <a:pt x="20426" y="3528"/>
                  <a:pt x="20432" y="3535"/>
                </a:cubicBezTo>
                <a:cubicBezTo>
                  <a:pt x="20439" y="3543"/>
                  <a:pt x="20410" y="3573"/>
                  <a:pt x="20397" y="3573"/>
                </a:cubicBezTo>
                <a:cubicBezTo>
                  <a:pt x="20391" y="3573"/>
                  <a:pt x="20387" y="3570"/>
                  <a:pt x="20387" y="3566"/>
                </a:cubicBezTo>
                <a:cubicBezTo>
                  <a:pt x="20387" y="3566"/>
                  <a:pt x="20387" y="3566"/>
                  <a:pt x="20387" y="3566"/>
                </a:cubicBezTo>
                <a:close/>
                <a:moveTo>
                  <a:pt x="20305" y="3563"/>
                </a:moveTo>
                <a:cubicBezTo>
                  <a:pt x="20321" y="3534"/>
                  <a:pt x="20326" y="3573"/>
                  <a:pt x="20309" y="3573"/>
                </a:cubicBezTo>
                <a:cubicBezTo>
                  <a:pt x="20304" y="3573"/>
                  <a:pt x="20302" y="3569"/>
                  <a:pt x="20305" y="3563"/>
                </a:cubicBezTo>
                <a:cubicBezTo>
                  <a:pt x="20305" y="3563"/>
                  <a:pt x="20305" y="3563"/>
                  <a:pt x="20305" y="3563"/>
                </a:cubicBezTo>
                <a:close/>
                <a:moveTo>
                  <a:pt x="20886" y="3585"/>
                </a:moveTo>
                <a:cubicBezTo>
                  <a:pt x="20886" y="3570"/>
                  <a:pt x="20903" y="3561"/>
                  <a:pt x="20909" y="3572"/>
                </a:cubicBezTo>
                <a:cubicBezTo>
                  <a:pt x="20912" y="3577"/>
                  <a:pt x="20908" y="3585"/>
                  <a:pt x="20900" y="3588"/>
                </a:cubicBezTo>
                <a:cubicBezTo>
                  <a:pt x="20892" y="3591"/>
                  <a:pt x="20886" y="3589"/>
                  <a:pt x="20886" y="3585"/>
                </a:cubicBezTo>
                <a:cubicBezTo>
                  <a:pt x="20886" y="3585"/>
                  <a:pt x="20886" y="3585"/>
                  <a:pt x="20886" y="3585"/>
                </a:cubicBezTo>
                <a:close/>
                <a:moveTo>
                  <a:pt x="19590" y="3585"/>
                </a:moveTo>
                <a:cubicBezTo>
                  <a:pt x="19590" y="3573"/>
                  <a:pt x="19633" y="3549"/>
                  <a:pt x="19641" y="3538"/>
                </a:cubicBezTo>
                <a:cubicBezTo>
                  <a:pt x="19646" y="3529"/>
                  <a:pt x="19648" y="3530"/>
                  <a:pt x="19648" y="3539"/>
                </a:cubicBezTo>
                <a:cubicBezTo>
                  <a:pt x="19648" y="3553"/>
                  <a:pt x="19611" y="3595"/>
                  <a:pt x="19598" y="3595"/>
                </a:cubicBezTo>
                <a:cubicBezTo>
                  <a:pt x="19594" y="3595"/>
                  <a:pt x="19590" y="3590"/>
                  <a:pt x="19590" y="3585"/>
                </a:cubicBezTo>
                <a:cubicBezTo>
                  <a:pt x="19590" y="3585"/>
                  <a:pt x="19590" y="3585"/>
                  <a:pt x="19590" y="3585"/>
                </a:cubicBezTo>
                <a:close/>
                <a:moveTo>
                  <a:pt x="21159" y="3616"/>
                </a:moveTo>
                <a:cubicBezTo>
                  <a:pt x="21171" y="3598"/>
                  <a:pt x="21199" y="3627"/>
                  <a:pt x="21169" y="3627"/>
                </a:cubicBezTo>
                <a:cubicBezTo>
                  <a:pt x="21160" y="3627"/>
                  <a:pt x="21156" y="3622"/>
                  <a:pt x="21159" y="3616"/>
                </a:cubicBezTo>
                <a:cubicBezTo>
                  <a:pt x="21159" y="3616"/>
                  <a:pt x="21159" y="3616"/>
                  <a:pt x="21159" y="3616"/>
                </a:cubicBezTo>
                <a:close/>
                <a:moveTo>
                  <a:pt x="20763" y="3670"/>
                </a:moveTo>
                <a:cubicBezTo>
                  <a:pt x="20770" y="3642"/>
                  <a:pt x="20795" y="3668"/>
                  <a:pt x="20770" y="3677"/>
                </a:cubicBezTo>
                <a:cubicBezTo>
                  <a:pt x="20764" y="3680"/>
                  <a:pt x="20761" y="3676"/>
                  <a:pt x="20763" y="3670"/>
                </a:cubicBezTo>
                <a:cubicBezTo>
                  <a:pt x="20763" y="3670"/>
                  <a:pt x="20763" y="3670"/>
                  <a:pt x="20763" y="3670"/>
                </a:cubicBezTo>
                <a:close/>
                <a:moveTo>
                  <a:pt x="19456" y="3701"/>
                </a:moveTo>
                <a:cubicBezTo>
                  <a:pt x="19456" y="3686"/>
                  <a:pt x="19479" y="3687"/>
                  <a:pt x="19470" y="3701"/>
                </a:cubicBezTo>
                <a:cubicBezTo>
                  <a:pt x="19467" y="3706"/>
                  <a:pt x="19462" y="3711"/>
                  <a:pt x="19460" y="3711"/>
                </a:cubicBezTo>
                <a:cubicBezTo>
                  <a:pt x="19458" y="3711"/>
                  <a:pt x="19456" y="3706"/>
                  <a:pt x="19456" y="3701"/>
                </a:cubicBezTo>
                <a:cubicBezTo>
                  <a:pt x="19456" y="3701"/>
                  <a:pt x="19456" y="3701"/>
                  <a:pt x="19456" y="3701"/>
                </a:cubicBezTo>
                <a:close/>
                <a:moveTo>
                  <a:pt x="20027" y="3732"/>
                </a:moveTo>
                <a:cubicBezTo>
                  <a:pt x="20042" y="3705"/>
                  <a:pt x="20049" y="3743"/>
                  <a:pt x="20032" y="3743"/>
                </a:cubicBezTo>
                <a:cubicBezTo>
                  <a:pt x="20026" y="3743"/>
                  <a:pt x="20024" y="3738"/>
                  <a:pt x="20027" y="3732"/>
                </a:cubicBezTo>
                <a:cubicBezTo>
                  <a:pt x="20027" y="3732"/>
                  <a:pt x="20027" y="3732"/>
                  <a:pt x="20027" y="3732"/>
                </a:cubicBezTo>
                <a:close/>
                <a:moveTo>
                  <a:pt x="21125" y="3754"/>
                </a:moveTo>
                <a:cubicBezTo>
                  <a:pt x="21125" y="3748"/>
                  <a:pt x="21135" y="3738"/>
                  <a:pt x="21147" y="3731"/>
                </a:cubicBezTo>
                <a:cubicBezTo>
                  <a:pt x="21169" y="3719"/>
                  <a:pt x="21169" y="3719"/>
                  <a:pt x="21151" y="3741"/>
                </a:cubicBezTo>
                <a:cubicBezTo>
                  <a:pt x="21130" y="3766"/>
                  <a:pt x="21125" y="3769"/>
                  <a:pt x="21125" y="3754"/>
                </a:cubicBezTo>
                <a:cubicBezTo>
                  <a:pt x="21125" y="3754"/>
                  <a:pt x="21125" y="3754"/>
                  <a:pt x="21125" y="3754"/>
                </a:cubicBezTo>
                <a:close/>
                <a:moveTo>
                  <a:pt x="19639" y="3770"/>
                </a:moveTo>
                <a:cubicBezTo>
                  <a:pt x="19639" y="3763"/>
                  <a:pt x="19667" y="3737"/>
                  <a:pt x="19667" y="3751"/>
                </a:cubicBezTo>
                <a:cubicBezTo>
                  <a:pt x="19667" y="3757"/>
                  <a:pt x="19661" y="3765"/>
                  <a:pt x="19653" y="3768"/>
                </a:cubicBezTo>
                <a:cubicBezTo>
                  <a:pt x="19645" y="3771"/>
                  <a:pt x="19639" y="3772"/>
                  <a:pt x="19639" y="3770"/>
                </a:cubicBezTo>
                <a:cubicBezTo>
                  <a:pt x="19639" y="3770"/>
                  <a:pt x="19639" y="3770"/>
                  <a:pt x="19639" y="3770"/>
                </a:cubicBezTo>
                <a:close/>
                <a:moveTo>
                  <a:pt x="20627" y="3770"/>
                </a:moveTo>
                <a:cubicBezTo>
                  <a:pt x="20627" y="3753"/>
                  <a:pt x="20637" y="3743"/>
                  <a:pt x="20665" y="3738"/>
                </a:cubicBezTo>
                <a:cubicBezTo>
                  <a:pt x="20691" y="3732"/>
                  <a:pt x="20689" y="3738"/>
                  <a:pt x="20655" y="3764"/>
                </a:cubicBezTo>
                <a:cubicBezTo>
                  <a:pt x="20632" y="3782"/>
                  <a:pt x="20627" y="3783"/>
                  <a:pt x="20627" y="3770"/>
                </a:cubicBezTo>
                <a:cubicBezTo>
                  <a:pt x="20627" y="3770"/>
                  <a:pt x="20627" y="3770"/>
                  <a:pt x="20627" y="3770"/>
                </a:cubicBezTo>
                <a:close/>
                <a:moveTo>
                  <a:pt x="19607" y="3794"/>
                </a:moveTo>
                <a:cubicBezTo>
                  <a:pt x="19623" y="3776"/>
                  <a:pt x="19635" y="3791"/>
                  <a:pt x="19613" y="3801"/>
                </a:cubicBezTo>
                <a:cubicBezTo>
                  <a:pt x="19599" y="3806"/>
                  <a:pt x="19598" y="3805"/>
                  <a:pt x="19607" y="3794"/>
                </a:cubicBezTo>
                <a:cubicBezTo>
                  <a:pt x="19607" y="3794"/>
                  <a:pt x="19607" y="3794"/>
                  <a:pt x="19607" y="3794"/>
                </a:cubicBezTo>
                <a:close/>
                <a:moveTo>
                  <a:pt x="20569" y="3814"/>
                </a:moveTo>
                <a:cubicBezTo>
                  <a:pt x="20569" y="3794"/>
                  <a:pt x="20605" y="3772"/>
                  <a:pt x="20613" y="3787"/>
                </a:cubicBezTo>
                <a:cubicBezTo>
                  <a:pt x="20617" y="3794"/>
                  <a:pt x="20616" y="3796"/>
                  <a:pt x="20609" y="3792"/>
                </a:cubicBezTo>
                <a:cubicBezTo>
                  <a:pt x="20592" y="3780"/>
                  <a:pt x="20606" y="3812"/>
                  <a:pt x="20584" y="3820"/>
                </a:cubicBezTo>
                <a:cubicBezTo>
                  <a:pt x="20576" y="3824"/>
                  <a:pt x="20569" y="3821"/>
                  <a:pt x="20569" y="3814"/>
                </a:cubicBezTo>
                <a:cubicBezTo>
                  <a:pt x="20569" y="3814"/>
                  <a:pt x="20569" y="3814"/>
                  <a:pt x="20569" y="3814"/>
                </a:cubicBezTo>
                <a:close/>
                <a:moveTo>
                  <a:pt x="19965" y="3840"/>
                </a:moveTo>
                <a:cubicBezTo>
                  <a:pt x="19965" y="3797"/>
                  <a:pt x="20097" y="3749"/>
                  <a:pt x="20085" y="3754"/>
                </a:cubicBezTo>
                <a:cubicBezTo>
                  <a:pt x="20024" y="3803"/>
                  <a:pt x="19965" y="3875"/>
                  <a:pt x="19965" y="3840"/>
                </a:cubicBezTo>
                <a:cubicBezTo>
                  <a:pt x="19965" y="3840"/>
                  <a:pt x="19965" y="3840"/>
                  <a:pt x="19965" y="3840"/>
                </a:cubicBezTo>
                <a:close/>
                <a:moveTo>
                  <a:pt x="19495" y="3851"/>
                </a:moveTo>
                <a:cubicBezTo>
                  <a:pt x="19496" y="3817"/>
                  <a:pt x="19615" y="3730"/>
                  <a:pt x="19541" y="3822"/>
                </a:cubicBezTo>
                <a:cubicBezTo>
                  <a:pt x="19513" y="3857"/>
                  <a:pt x="19494" y="3870"/>
                  <a:pt x="19495" y="3851"/>
                </a:cubicBezTo>
                <a:cubicBezTo>
                  <a:pt x="19495" y="3851"/>
                  <a:pt x="19495" y="3851"/>
                  <a:pt x="19495" y="3851"/>
                </a:cubicBezTo>
                <a:close/>
                <a:moveTo>
                  <a:pt x="19216" y="3901"/>
                </a:moveTo>
                <a:cubicBezTo>
                  <a:pt x="19216" y="3887"/>
                  <a:pt x="19239" y="3888"/>
                  <a:pt x="19231" y="3901"/>
                </a:cubicBezTo>
                <a:cubicBezTo>
                  <a:pt x="19227" y="3908"/>
                  <a:pt x="19223" y="3912"/>
                  <a:pt x="19221" y="3912"/>
                </a:cubicBezTo>
                <a:cubicBezTo>
                  <a:pt x="19218" y="3912"/>
                  <a:pt x="19216" y="3908"/>
                  <a:pt x="19216" y="3901"/>
                </a:cubicBezTo>
                <a:cubicBezTo>
                  <a:pt x="19216" y="3901"/>
                  <a:pt x="19216" y="3901"/>
                  <a:pt x="19216" y="3901"/>
                </a:cubicBezTo>
                <a:close/>
                <a:moveTo>
                  <a:pt x="19421" y="3907"/>
                </a:moveTo>
                <a:cubicBezTo>
                  <a:pt x="19459" y="3865"/>
                  <a:pt x="19442" y="3923"/>
                  <a:pt x="19421" y="3923"/>
                </a:cubicBezTo>
                <a:cubicBezTo>
                  <a:pt x="19408" y="3923"/>
                  <a:pt x="19408" y="3920"/>
                  <a:pt x="19421" y="3907"/>
                </a:cubicBezTo>
                <a:cubicBezTo>
                  <a:pt x="19421" y="3907"/>
                  <a:pt x="19421" y="3907"/>
                  <a:pt x="19421" y="3907"/>
                </a:cubicBezTo>
                <a:close/>
                <a:moveTo>
                  <a:pt x="20166" y="3982"/>
                </a:moveTo>
                <a:cubicBezTo>
                  <a:pt x="20166" y="3974"/>
                  <a:pt x="20195" y="3949"/>
                  <a:pt x="20195" y="3962"/>
                </a:cubicBezTo>
                <a:cubicBezTo>
                  <a:pt x="20195" y="3969"/>
                  <a:pt x="20188" y="3976"/>
                  <a:pt x="20181" y="3979"/>
                </a:cubicBezTo>
                <a:cubicBezTo>
                  <a:pt x="20173" y="3983"/>
                  <a:pt x="20166" y="3984"/>
                  <a:pt x="20166" y="3982"/>
                </a:cubicBezTo>
                <a:cubicBezTo>
                  <a:pt x="20166" y="3982"/>
                  <a:pt x="20166" y="3982"/>
                  <a:pt x="20166" y="3982"/>
                </a:cubicBezTo>
                <a:close/>
                <a:moveTo>
                  <a:pt x="20130" y="4012"/>
                </a:moveTo>
                <a:cubicBezTo>
                  <a:pt x="20152" y="3985"/>
                  <a:pt x="20166" y="4003"/>
                  <a:pt x="20136" y="4018"/>
                </a:cubicBezTo>
                <a:cubicBezTo>
                  <a:pt x="20114" y="4031"/>
                  <a:pt x="20114" y="4030"/>
                  <a:pt x="20130" y="4012"/>
                </a:cubicBezTo>
                <a:cubicBezTo>
                  <a:pt x="20130" y="4012"/>
                  <a:pt x="20130" y="4012"/>
                  <a:pt x="20130" y="4012"/>
                </a:cubicBezTo>
                <a:close/>
                <a:moveTo>
                  <a:pt x="20329" y="4140"/>
                </a:moveTo>
                <a:cubicBezTo>
                  <a:pt x="20329" y="4140"/>
                  <a:pt x="20427" y="4058"/>
                  <a:pt x="20444" y="4040"/>
                </a:cubicBezTo>
                <a:cubicBezTo>
                  <a:pt x="20507" y="3977"/>
                  <a:pt x="20494" y="4031"/>
                  <a:pt x="20383" y="4116"/>
                </a:cubicBezTo>
                <a:cubicBezTo>
                  <a:pt x="20345" y="4143"/>
                  <a:pt x="20329" y="4151"/>
                  <a:pt x="20329" y="4140"/>
                </a:cubicBezTo>
                <a:cubicBezTo>
                  <a:pt x="20329" y="4140"/>
                  <a:pt x="20329" y="4140"/>
                  <a:pt x="20329" y="4140"/>
                </a:cubicBezTo>
                <a:close/>
                <a:moveTo>
                  <a:pt x="20204" y="4243"/>
                </a:moveTo>
                <a:cubicBezTo>
                  <a:pt x="20204" y="4232"/>
                  <a:pt x="20301" y="4152"/>
                  <a:pt x="20301" y="4165"/>
                </a:cubicBezTo>
                <a:cubicBezTo>
                  <a:pt x="20301" y="4177"/>
                  <a:pt x="20224" y="4228"/>
                  <a:pt x="20224" y="4242"/>
                </a:cubicBezTo>
                <a:cubicBezTo>
                  <a:pt x="20224" y="4247"/>
                  <a:pt x="20219" y="4251"/>
                  <a:pt x="20214" y="4251"/>
                </a:cubicBezTo>
                <a:cubicBezTo>
                  <a:pt x="20209" y="4251"/>
                  <a:pt x="20204" y="4247"/>
                  <a:pt x="20204" y="4243"/>
                </a:cubicBezTo>
                <a:cubicBezTo>
                  <a:pt x="20204" y="4243"/>
                  <a:pt x="20204" y="4243"/>
                  <a:pt x="20204" y="4243"/>
                </a:cubicBezTo>
                <a:close/>
                <a:moveTo>
                  <a:pt x="18746" y="4337"/>
                </a:moveTo>
                <a:cubicBezTo>
                  <a:pt x="18746" y="4324"/>
                  <a:pt x="18775" y="4299"/>
                  <a:pt x="18775" y="4309"/>
                </a:cubicBezTo>
                <a:cubicBezTo>
                  <a:pt x="18775" y="4321"/>
                  <a:pt x="18809" y="4264"/>
                  <a:pt x="18817" y="4273"/>
                </a:cubicBezTo>
                <a:cubicBezTo>
                  <a:pt x="18825" y="4281"/>
                  <a:pt x="18771" y="4346"/>
                  <a:pt x="18757" y="4346"/>
                </a:cubicBezTo>
                <a:cubicBezTo>
                  <a:pt x="18751" y="4346"/>
                  <a:pt x="18746" y="4342"/>
                  <a:pt x="18746" y="4337"/>
                </a:cubicBezTo>
                <a:cubicBezTo>
                  <a:pt x="18746" y="4337"/>
                  <a:pt x="18746" y="4337"/>
                  <a:pt x="18746" y="4337"/>
                </a:cubicBezTo>
                <a:close/>
                <a:moveTo>
                  <a:pt x="20071" y="4349"/>
                </a:moveTo>
                <a:cubicBezTo>
                  <a:pt x="20089" y="4318"/>
                  <a:pt x="20099" y="4331"/>
                  <a:pt x="20075" y="4355"/>
                </a:cubicBezTo>
                <a:cubicBezTo>
                  <a:pt x="20059" y="4372"/>
                  <a:pt x="20059" y="4371"/>
                  <a:pt x="20071" y="4349"/>
                </a:cubicBezTo>
                <a:cubicBezTo>
                  <a:pt x="20071" y="4349"/>
                  <a:pt x="20071" y="4349"/>
                  <a:pt x="20071" y="4349"/>
                </a:cubicBezTo>
                <a:close/>
                <a:moveTo>
                  <a:pt x="18648" y="4435"/>
                </a:moveTo>
                <a:cubicBezTo>
                  <a:pt x="18641" y="4428"/>
                  <a:pt x="18712" y="4357"/>
                  <a:pt x="18726" y="4357"/>
                </a:cubicBezTo>
                <a:cubicBezTo>
                  <a:pt x="18743" y="4357"/>
                  <a:pt x="18708" y="4409"/>
                  <a:pt x="18679" y="4425"/>
                </a:cubicBezTo>
                <a:cubicBezTo>
                  <a:pt x="18664" y="4434"/>
                  <a:pt x="18650" y="4438"/>
                  <a:pt x="18648" y="4435"/>
                </a:cubicBezTo>
                <a:cubicBezTo>
                  <a:pt x="18648" y="4435"/>
                  <a:pt x="18648" y="4435"/>
                  <a:pt x="18648" y="4435"/>
                </a:cubicBezTo>
                <a:close/>
                <a:moveTo>
                  <a:pt x="18506" y="4561"/>
                </a:moveTo>
                <a:cubicBezTo>
                  <a:pt x="18506" y="4548"/>
                  <a:pt x="18540" y="4519"/>
                  <a:pt x="18549" y="4510"/>
                </a:cubicBezTo>
                <a:cubicBezTo>
                  <a:pt x="18505" y="4572"/>
                  <a:pt x="18506" y="4575"/>
                  <a:pt x="18506" y="4561"/>
                </a:cubicBezTo>
                <a:cubicBezTo>
                  <a:pt x="18506" y="4561"/>
                  <a:pt x="18506" y="4561"/>
                  <a:pt x="18506" y="4561"/>
                </a:cubicBezTo>
                <a:close/>
                <a:moveTo>
                  <a:pt x="20086" y="4571"/>
                </a:moveTo>
                <a:cubicBezTo>
                  <a:pt x="20079" y="4557"/>
                  <a:pt x="20121" y="4545"/>
                  <a:pt x="20116" y="4561"/>
                </a:cubicBezTo>
                <a:cubicBezTo>
                  <a:pt x="20111" y="4577"/>
                  <a:pt x="20093" y="4582"/>
                  <a:pt x="20086" y="4571"/>
                </a:cubicBezTo>
                <a:cubicBezTo>
                  <a:pt x="20086" y="4571"/>
                  <a:pt x="20086" y="4571"/>
                  <a:pt x="20086" y="4571"/>
                </a:cubicBezTo>
                <a:close/>
                <a:moveTo>
                  <a:pt x="20010" y="4588"/>
                </a:moveTo>
                <a:cubicBezTo>
                  <a:pt x="19979" y="4570"/>
                  <a:pt x="20022" y="4567"/>
                  <a:pt x="20022" y="4528"/>
                </a:cubicBezTo>
                <a:cubicBezTo>
                  <a:pt x="20022" y="4494"/>
                  <a:pt x="20034" y="4549"/>
                  <a:pt x="20045" y="4527"/>
                </a:cubicBezTo>
                <a:cubicBezTo>
                  <a:pt x="20054" y="4511"/>
                  <a:pt x="20081" y="4513"/>
                  <a:pt x="20058" y="4527"/>
                </a:cubicBezTo>
                <a:cubicBezTo>
                  <a:pt x="20049" y="4533"/>
                  <a:pt x="20042" y="4546"/>
                  <a:pt x="20041" y="4555"/>
                </a:cubicBezTo>
                <a:cubicBezTo>
                  <a:pt x="20041" y="4586"/>
                  <a:pt x="20029" y="4600"/>
                  <a:pt x="20010" y="4588"/>
                </a:cubicBezTo>
                <a:cubicBezTo>
                  <a:pt x="20010" y="4588"/>
                  <a:pt x="20010" y="4588"/>
                  <a:pt x="20010" y="4588"/>
                </a:cubicBezTo>
                <a:close/>
                <a:moveTo>
                  <a:pt x="18470" y="4587"/>
                </a:moveTo>
                <a:cubicBezTo>
                  <a:pt x="18475" y="4572"/>
                  <a:pt x="18497" y="4563"/>
                  <a:pt x="18497" y="4577"/>
                </a:cubicBezTo>
                <a:cubicBezTo>
                  <a:pt x="18497" y="4582"/>
                  <a:pt x="18490" y="4590"/>
                  <a:pt x="18481" y="4594"/>
                </a:cubicBezTo>
                <a:cubicBezTo>
                  <a:pt x="18472" y="4598"/>
                  <a:pt x="18468" y="4595"/>
                  <a:pt x="18470" y="4587"/>
                </a:cubicBezTo>
                <a:cubicBezTo>
                  <a:pt x="18470" y="4587"/>
                  <a:pt x="18470" y="4587"/>
                  <a:pt x="18470" y="4587"/>
                </a:cubicBezTo>
                <a:close/>
                <a:moveTo>
                  <a:pt x="19785" y="4598"/>
                </a:moveTo>
                <a:cubicBezTo>
                  <a:pt x="19791" y="4577"/>
                  <a:pt x="19849" y="4548"/>
                  <a:pt x="19849" y="4529"/>
                </a:cubicBezTo>
                <a:cubicBezTo>
                  <a:pt x="19851" y="4509"/>
                  <a:pt x="19861" y="4526"/>
                  <a:pt x="19888" y="4494"/>
                </a:cubicBezTo>
                <a:cubicBezTo>
                  <a:pt x="19898" y="4482"/>
                  <a:pt x="19907" y="4475"/>
                  <a:pt x="19907" y="4478"/>
                </a:cubicBezTo>
                <a:cubicBezTo>
                  <a:pt x="19907" y="4484"/>
                  <a:pt x="19931" y="4463"/>
                  <a:pt x="19986" y="4411"/>
                </a:cubicBezTo>
                <a:cubicBezTo>
                  <a:pt x="20035" y="4362"/>
                  <a:pt x="20067" y="4371"/>
                  <a:pt x="19951" y="4468"/>
                </a:cubicBezTo>
                <a:cubicBezTo>
                  <a:pt x="19913" y="4499"/>
                  <a:pt x="19866" y="4565"/>
                  <a:pt x="19834" y="4575"/>
                </a:cubicBezTo>
                <a:cubicBezTo>
                  <a:pt x="19822" y="4579"/>
                  <a:pt x="19810" y="4588"/>
                  <a:pt x="19807" y="4596"/>
                </a:cubicBezTo>
                <a:cubicBezTo>
                  <a:pt x="19801" y="4614"/>
                  <a:pt x="19779" y="4616"/>
                  <a:pt x="19785" y="4598"/>
                </a:cubicBezTo>
                <a:cubicBezTo>
                  <a:pt x="19785" y="4598"/>
                  <a:pt x="19785" y="4598"/>
                  <a:pt x="19785" y="4598"/>
                </a:cubicBezTo>
                <a:close/>
                <a:moveTo>
                  <a:pt x="19746" y="4644"/>
                </a:moveTo>
                <a:cubicBezTo>
                  <a:pt x="19750" y="4601"/>
                  <a:pt x="19794" y="4599"/>
                  <a:pt x="19758" y="4648"/>
                </a:cubicBezTo>
                <a:cubicBezTo>
                  <a:pt x="19744" y="4668"/>
                  <a:pt x="19744" y="4668"/>
                  <a:pt x="19746" y="4644"/>
                </a:cubicBezTo>
                <a:cubicBezTo>
                  <a:pt x="19746" y="4644"/>
                  <a:pt x="19746" y="4644"/>
                  <a:pt x="19746" y="4644"/>
                </a:cubicBezTo>
                <a:close/>
                <a:moveTo>
                  <a:pt x="18372" y="4671"/>
                </a:moveTo>
                <a:cubicBezTo>
                  <a:pt x="18372" y="4664"/>
                  <a:pt x="18424" y="4626"/>
                  <a:pt x="18416" y="4641"/>
                </a:cubicBezTo>
                <a:cubicBezTo>
                  <a:pt x="18409" y="4654"/>
                  <a:pt x="18372" y="4679"/>
                  <a:pt x="18372" y="4671"/>
                </a:cubicBezTo>
                <a:cubicBezTo>
                  <a:pt x="18372" y="4671"/>
                  <a:pt x="18372" y="4671"/>
                  <a:pt x="18372" y="4671"/>
                </a:cubicBezTo>
                <a:close/>
                <a:moveTo>
                  <a:pt x="19979" y="4671"/>
                </a:moveTo>
                <a:cubicBezTo>
                  <a:pt x="19966" y="4633"/>
                  <a:pt x="19999" y="4632"/>
                  <a:pt x="19991" y="4671"/>
                </a:cubicBezTo>
                <a:cubicBezTo>
                  <a:pt x="19987" y="4690"/>
                  <a:pt x="19986" y="4690"/>
                  <a:pt x="19979" y="4671"/>
                </a:cubicBezTo>
                <a:cubicBezTo>
                  <a:pt x="19979" y="4671"/>
                  <a:pt x="19979" y="4671"/>
                  <a:pt x="19979" y="4671"/>
                </a:cubicBezTo>
                <a:close/>
                <a:moveTo>
                  <a:pt x="19686" y="4675"/>
                </a:moveTo>
                <a:cubicBezTo>
                  <a:pt x="19693" y="4661"/>
                  <a:pt x="19702" y="4656"/>
                  <a:pt x="19712" y="4660"/>
                </a:cubicBezTo>
                <a:cubicBezTo>
                  <a:pt x="19726" y="4667"/>
                  <a:pt x="19726" y="4668"/>
                  <a:pt x="19710" y="4681"/>
                </a:cubicBezTo>
                <a:cubicBezTo>
                  <a:pt x="19685" y="4702"/>
                  <a:pt x="19675" y="4698"/>
                  <a:pt x="19686" y="4675"/>
                </a:cubicBezTo>
                <a:cubicBezTo>
                  <a:pt x="19686" y="4675"/>
                  <a:pt x="19686" y="4675"/>
                  <a:pt x="19686" y="4675"/>
                </a:cubicBezTo>
                <a:close/>
                <a:moveTo>
                  <a:pt x="19941" y="4696"/>
                </a:moveTo>
                <a:cubicBezTo>
                  <a:pt x="19929" y="4675"/>
                  <a:pt x="19979" y="4648"/>
                  <a:pt x="19957" y="4690"/>
                </a:cubicBezTo>
                <a:cubicBezTo>
                  <a:pt x="19950" y="4704"/>
                  <a:pt x="19946" y="4706"/>
                  <a:pt x="19941" y="4696"/>
                </a:cubicBezTo>
                <a:cubicBezTo>
                  <a:pt x="19941" y="4696"/>
                  <a:pt x="19941" y="4696"/>
                  <a:pt x="19941" y="4696"/>
                </a:cubicBezTo>
                <a:close/>
                <a:moveTo>
                  <a:pt x="18353" y="4702"/>
                </a:moveTo>
                <a:cubicBezTo>
                  <a:pt x="18353" y="4666"/>
                  <a:pt x="18390" y="4696"/>
                  <a:pt x="18362" y="4711"/>
                </a:cubicBezTo>
                <a:cubicBezTo>
                  <a:pt x="18357" y="4715"/>
                  <a:pt x="18353" y="4710"/>
                  <a:pt x="18353" y="4702"/>
                </a:cubicBezTo>
                <a:cubicBezTo>
                  <a:pt x="18353" y="4702"/>
                  <a:pt x="18353" y="4702"/>
                  <a:pt x="18353" y="4702"/>
                </a:cubicBezTo>
                <a:close/>
                <a:moveTo>
                  <a:pt x="19610" y="4752"/>
                </a:moveTo>
                <a:cubicBezTo>
                  <a:pt x="19610" y="4728"/>
                  <a:pt x="19708" y="4656"/>
                  <a:pt x="19639" y="4733"/>
                </a:cubicBezTo>
                <a:cubicBezTo>
                  <a:pt x="19623" y="4749"/>
                  <a:pt x="19610" y="4758"/>
                  <a:pt x="19610" y="4752"/>
                </a:cubicBezTo>
                <a:cubicBezTo>
                  <a:pt x="19610" y="4752"/>
                  <a:pt x="19610" y="4752"/>
                  <a:pt x="19610" y="4752"/>
                </a:cubicBezTo>
                <a:close/>
                <a:moveTo>
                  <a:pt x="19562" y="4779"/>
                </a:moveTo>
                <a:cubicBezTo>
                  <a:pt x="19562" y="4763"/>
                  <a:pt x="19581" y="4787"/>
                  <a:pt x="19581" y="4770"/>
                </a:cubicBezTo>
                <a:cubicBezTo>
                  <a:pt x="19581" y="4756"/>
                  <a:pt x="19608" y="4751"/>
                  <a:pt x="19590" y="4775"/>
                </a:cubicBezTo>
                <a:cubicBezTo>
                  <a:pt x="19577" y="4794"/>
                  <a:pt x="19562" y="4796"/>
                  <a:pt x="19562" y="4779"/>
                </a:cubicBezTo>
                <a:cubicBezTo>
                  <a:pt x="19562" y="4779"/>
                  <a:pt x="19562" y="4779"/>
                  <a:pt x="19562" y="4779"/>
                </a:cubicBezTo>
                <a:close/>
                <a:moveTo>
                  <a:pt x="19528" y="4812"/>
                </a:moveTo>
                <a:cubicBezTo>
                  <a:pt x="19538" y="4797"/>
                  <a:pt x="19555" y="4800"/>
                  <a:pt x="19547" y="4812"/>
                </a:cubicBezTo>
                <a:cubicBezTo>
                  <a:pt x="19544" y="4817"/>
                  <a:pt x="19537" y="4822"/>
                  <a:pt x="19531" y="4822"/>
                </a:cubicBezTo>
                <a:cubicBezTo>
                  <a:pt x="19526" y="4822"/>
                  <a:pt x="19525" y="4817"/>
                  <a:pt x="19528" y="4812"/>
                </a:cubicBezTo>
                <a:cubicBezTo>
                  <a:pt x="19528" y="4812"/>
                  <a:pt x="19528" y="4812"/>
                  <a:pt x="19528" y="4812"/>
                </a:cubicBezTo>
                <a:close/>
                <a:moveTo>
                  <a:pt x="18218" y="4823"/>
                </a:moveTo>
                <a:cubicBezTo>
                  <a:pt x="18218" y="4817"/>
                  <a:pt x="18227" y="4807"/>
                  <a:pt x="18238" y="4801"/>
                </a:cubicBezTo>
                <a:cubicBezTo>
                  <a:pt x="18249" y="4794"/>
                  <a:pt x="18271" y="4774"/>
                  <a:pt x="18286" y="4756"/>
                </a:cubicBezTo>
                <a:cubicBezTo>
                  <a:pt x="18326" y="4709"/>
                  <a:pt x="18316" y="4746"/>
                  <a:pt x="18300" y="4752"/>
                </a:cubicBezTo>
                <a:cubicBezTo>
                  <a:pt x="18292" y="4756"/>
                  <a:pt x="18286" y="4765"/>
                  <a:pt x="18286" y="4774"/>
                </a:cubicBezTo>
                <a:cubicBezTo>
                  <a:pt x="18286" y="4783"/>
                  <a:pt x="18273" y="4799"/>
                  <a:pt x="18258" y="4811"/>
                </a:cubicBezTo>
                <a:cubicBezTo>
                  <a:pt x="18227" y="4836"/>
                  <a:pt x="18218" y="4838"/>
                  <a:pt x="18218" y="4823"/>
                </a:cubicBezTo>
                <a:cubicBezTo>
                  <a:pt x="18218" y="4823"/>
                  <a:pt x="18218" y="4823"/>
                  <a:pt x="18218" y="4823"/>
                </a:cubicBezTo>
                <a:close/>
                <a:moveTo>
                  <a:pt x="19681" y="4832"/>
                </a:moveTo>
                <a:cubicBezTo>
                  <a:pt x="19671" y="4815"/>
                  <a:pt x="19699" y="4806"/>
                  <a:pt x="19708" y="4780"/>
                </a:cubicBezTo>
                <a:cubicBezTo>
                  <a:pt x="19712" y="4767"/>
                  <a:pt x="19714" y="4768"/>
                  <a:pt x="19721" y="4784"/>
                </a:cubicBezTo>
                <a:cubicBezTo>
                  <a:pt x="19733" y="4817"/>
                  <a:pt x="19697" y="4860"/>
                  <a:pt x="19681" y="4832"/>
                </a:cubicBezTo>
                <a:cubicBezTo>
                  <a:pt x="19681" y="4832"/>
                  <a:pt x="19681" y="4832"/>
                  <a:pt x="19681" y="4832"/>
                </a:cubicBezTo>
                <a:close/>
                <a:moveTo>
                  <a:pt x="19456" y="4865"/>
                </a:moveTo>
                <a:cubicBezTo>
                  <a:pt x="19456" y="4850"/>
                  <a:pt x="19479" y="4850"/>
                  <a:pt x="19470" y="4865"/>
                </a:cubicBezTo>
                <a:cubicBezTo>
                  <a:pt x="19467" y="4871"/>
                  <a:pt x="19462" y="4875"/>
                  <a:pt x="19460" y="4875"/>
                </a:cubicBezTo>
                <a:cubicBezTo>
                  <a:pt x="19458" y="4875"/>
                  <a:pt x="19456" y="4871"/>
                  <a:pt x="19456" y="4865"/>
                </a:cubicBezTo>
                <a:cubicBezTo>
                  <a:pt x="19456" y="4865"/>
                  <a:pt x="19456" y="4865"/>
                  <a:pt x="19456" y="4865"/>
                </a:cubicBezTo>
                <a:close/>
                <a:moveTo>
                  <a:pt x="19441" y="4897"/>
                </a:moveTo>
                <a:cubicBezTo>
                  <a:pt x="19458" y="4868"/>
                  <a:pt x="19462" y="4907"/>
                  <a:pt x="19446" y="4907"/>
                </a:cubicBezTo>
                <a:cubicBezTo>
                  <a:pt x="19440" y="4907"/>
                  <a:pt x="19439" y="4902"/>
                  <a:pt x="19441" y="4897"/>
                </a:cubicBezTo>
                <a:cubicBezTo>
                  <a:pt x="19441" y="4897"/>
                  <a:pt x="19441" y="4897"/>
                  <a:pt x="19441" y="4897"/>
                </a:cubicBezTo>
                <a:close/>
                <a:moveTo>
                  <a:pt x="19398" y="4929"/>
                </a:moveTo>
                <a:cubicBezTo>
                  <a:pt x="19398" y="4915"/>
                  <a:pt x="19418" y="4901"/>
                  <a:pt x="19418" y="4922"/>
                </a:cubicBezTo>
                <a:cubicBezTo>
                  <a:pt x="19418" y="4932"/>
                  <a:pt x="19413" y="4939"/>
                  <a:pt x="19408" y="4939"/>
                </a:cubicBezTo>
                <a:cubicBezTo>
                  <a:pt x="19403" y="4939"/>
                  <a:pt x="19398" y="4934"/>
                  <a:pt x="19398" y="4929"/>
                </a:cubicBezTo>
                <a:cubicBezTo>
                  <a:pt x="19398" y="4929"/>
                  <a:pt x="19398" y="4929"/>
                  <a:pt x="19398" y="4929"/>
                </a:cubicBezTo>
                <a:close/>
                <a:moveTo>
                  <a:pt x="18055" y="4991"/>
                </a:moveTo>
                <a:cubicBezTo>
                  <a:pt x="18055" y="4958"/>
                  <a:pt x="18195" y="4820"/>
                  <a:pt x="18101" y="4944"/>
                </a:cubicBezTo>
                <a:cubicBezTo>
                  <a:pt x="18092" y="4956"/>
                  <a:pt x="18078" y="4975"/>
                  <a:pt x="18071" y="4987"/>
                </a:cubicBezTo>
                <a:cubicBezTo>
                  <a:pt x="18058" y="5004"/>
                  <a:pt x="18055" y="5005"/>
                  <a:pt x="18055" y="4991"/>
                </a:cubicBezTo>
                <a:cubicBezTo>
                  <a:pt x="18055" y="4991"/>
                  <a:pt x="18055" y="4991"/>
                  <a:pt x="18055" y="4991"/>
                </a:cubicBezTo>
                <a:close/>
                <a:moveTo>
                  <a:pt x="19267" y="5043"/>
                </a:moveTo>
                <a:cubicBezTo>
                  <a:pt x="19271" y="5027"/>
                  <a:pt x="19296" y="5015"/>
                  <a:pt x="19287" y="5039"/>
                </a:cubicBezTo>
                <a:cubicBezTo>
                  <a:pt x="19280" y="5058"/>
                  <a:pt x="19261" y="5062"/>
                  <a:pt x="19267" y="5043"/>
                </a:cubicBezTo>
                <a:cubicBezTo>
                  <a:pt x="19267" y="5043"/>
                  <a:pt x="19267" y="5043"/>
                  <a:pt x="19267" y="5043"/>
                </a:cubicBezTo>
                <a:close/>
                <a:moveTo>
                  <a:pt x="19241" y="5077"/>
                </a:moveTo>
                <a:cubicBezTo>
                  <a:pt x="19234" y="5064"/>
                  <a:pt x="19254" y="5048"/>
                  <a:pt x="19254" y="5071"/>
                </a:cubicBezTo>
                <a:cubicBezTo>
                  <a:pt x="19254" y="5089"/>
                  <a:pt x="19249" y="5092"/>
                  <a:pt x="19241" y="5077"/>
                </a:cubicBezTo>
                <a:cubicBezTo>
                  <a:pt x="19241" y="5077"/>
                  <a:pt x="19241" y="5077"/>
                  <a:pt x="19241" y="5077"/>
                </a:cubicBezTo>
                <a:close/>
                <a:moveTo>
                  <a:pt x="19199" y="5106"/>
                </a:moveTo>
                <a:cubicBezTo>
                  <a:pt x="19210" y="5071"/>
                  <a:pt x="19246" y="5097"/>
                  <a:pt x="19210" y="5113"/>
                </a:cubicBezTo>
                <a:cubicBezTo>
                  <a:pt x="19201" y="5117"/>
                  <a:pt x="19197" y="5114"/>
                  <a:pt x="19199" y="5106"/>
                </a:cubicBezTo>
                <a:cubicBezTo>
                  <a:pt x="19199" y="5106"/>
                  <a:pt x="19199" y="5106"/>
                  <a:pt x="19199" y="5106"/>
                </a:cubicBezTo>
                <a:close/>
                <a:moveTo>
                  <a:pt x="19113" y="5182"/>
                </a:moveTo>
                <a:cubicBezTo>
                  <a:pt x="19118" y="5165"/>
                  <a:pt x="19159" y="5133"/>
                  <a:pt x="19159" y="5147"/>
                </a:cubicBezTo>
                <a:cubicBezTo>
                  <a:pt x="19158" y="5152"/>
                  <a:pt x="19147" y="5165"/>
                  <a:pt x="19133" y="5176"/>
                </a:cubicBezTo>
                <a:cubicBezTo>
                  <a:pt x="19118" y="5188"/>
                  <a:pt x="19110" y="5191"/>
                  <a:pt x="19113" y="5182"/>
                </a:cubicBezTo>
                <a:cubicBezTo>
                  <a:pt x="19113" y="5182"/>
                  <a:pt x="19113" y="5182"/>
                  <a:pt x="19113" y="5182"/>
                </a:cubicBezTo>
                <a:close/>
                <a:moveTo>
                  <a:pt x="19518" y="5364"/>
                </a:moveTo>
                <a:cubicBezTo>
                  <a:pt x="19537" y="5340"/>
                  <a:pt x="19542" y="5337"/>
                  <a:pt x="19542" y="5349"/>
                </a:cubicBezTo>
                <a:cubicBezTo>
                  <a:pt x="19542" y="5353"/>
                  <a:pt x="19533" y="5364"/>
                  <a:pt x="19521" y="5372"/>
                </a:cubicBezTo>
                <a:cubicBezTo>
                  <a:pt x="19499" y="5387"/>
                  <a:pt x="19499" y="5387"/>
                  <a:pt x="19518" y="5364"/>
                </a:cubicBezTo>
                <a:cubicBezTo>
                  <a:pt x="19518" y="5364"/>
                  <a:pt x="19518" y="5364"/>
                  <a:pt x="19518" y="5364"/>
                </a:cubicBezTo>
                <a:close/>
                <a:moveTo>
                  <a:pt x="19460" y="5417"/>
                </a:moveTo>
                <a:cubicBezTo>
                  <a:pt x="19480" y="5391"/>
                  <a:pt x="19485" y="5389"/>
                  <a:pt x="19485" y="5404"/>
                </a:cubicBezTo>
                <a:cubicBezTo>
                  <a:pt x="19485" y="5410"/>
                  <a:pt x="19475" y="5420"/>
                  <a:pt x="19463" y="5427"/>
                </a:cubicBezTo>
                <a:cubicBezTo>
                  <a:pt x="19442" y="5439"/>
                  <a:pt x="19441" y="5439"/>
                  <a:pt x="19460" y="5417"/>
                </a:cubicBezTo>
                <a:cubicBezTo>
                  <a:pt x="19460" y="5417"/>
                  <a:pt x="19460" y="5417"/>
                  <a:pt x="19460" y="5417"/>
                </a:cubicBezTo>
                <a:close/>
                <a:moveTo>
                  <a:pt x="18871" y="6040"/>
                </a:moveTo>
                <a:cubicBezTo>
                  <a:pt x="18871" y="6025"/>
                  <a:pt x="18893" y="6026"/>
                  <a:pt x="18885" y="6040"/>
                </a:cubicBezTo>
                <a:cubicBezTo>
                  <a:pt x="18882" y="6046"/>
                  <a:pt x="18877" y="6050"/>
                  <a:pt x="18875" y="6050"/>
                </a:cubicBezTo>
                <a:cubicBezTo>
                  <a:pt x="18873" y="6050"/>
                  <a:pt x="18871" y="6046"/>
                  <a:pt x="18871" y="6040"/>
                </a:cubicBezTo>
                <a:cubicBezTo>
                  <a:pt x="18871" y="6040"/>
                  <a:pt x="18871" y="6040"/>
                  <a:pt x="18871" y="6040"/>
                </a:cubicBezTo>
                <a:close/>
                <a:moveTo>
                  <a:pt x="18650" y="6259"/>
                </a:moveTo>
                <a:cubicBezTo>
                  <a:pt x="18650" y="6254"/>
                  <a:pt x="18709" y="6193"/>
                  <a:pt x="18706" y="6210"/>
                </a:cubicBezTo>
                <a:cubicBezTo>
                  <a:pt x="18702" y="6230"/>
                  <a:pt x="18650" y="6276"/>
                  <a:pt x="18650" y="6259"/>
                </a:cubicBezTo>
                <a:cubicBezTo>
                  <a:pt x="18650" y="6259"/>
                  <a:pt x="18650" y="6259"/>
                  <a:pt x="18650" y="6259"/>
                </a:cubicBezTo>
                <a:close/>
                <a:moveTo>
                  <a:pt x="18295" y="6596"/>
                </a:moveTo>
                <a:cubicBezTo>
                  <a:pt x="18295" y="6577"/>
                  <a:pt x="18299" y="6571"/>
                  <a:pt x="18309" y="6576"/>
                </a:cubicBezTo>
                <a:cubicBezTo>
                  <a:pt x="18326" y="6583"/>
                  <a:pt x="18326" y="6583"/>
                  <a:pt x="18318" y="6605"/>
                </a:cubicBezTo>
                <a:cubicBezTo>
                  <a:pt x="18309" y="6631"/>
                  <a:pt x="18295" y="6625"/>
                  <a:pt x="18295" y="6596"/>
                </a:cubicBezTo>
                <a:cubicBezTo>
                  <a:pt x="18295" y="6596"/>
                  <a:pt x="18295" y="6596"/>
                  <a:pt x="18295" y="6596"/>
                </a:cubicBezTo>
                <a:close/>
                <a:moveTo>
                  <a:pt x="17999" y="6999"/>
                </a:moveTo>
                <a:cubicBezTo>
                  <a:pt x="17983" y="6978"/>
                  <a:pt x="18003" y="6966"/>
                  <a:pt x="18012" y="6989"/>
                </a:cubicBezTo>
                <a:cubicBezTo>
                  <a:pt x="18019" y="7012"/>
                  <a:pt x="18012" y="7017"/>
                  <a:pt x="17999" y="6999"/>
                </a:cubicBezTo>
                <a:cubicBezTo>
                  <a:pt x="17999" y="6999"/>
                  <a:pt x="17999" y="6999"/>
                  <a:pt x="17999" y="6999"/>
                </a:cubicBezTo>
                <a:close/>
                <a:moveTo>
                  <a:pt x="17901" y="7199"/>
                </a:moveTo>
                <a:cubicBezTo>
                  <a:pt x="17901" y="7180"/>
                  <a:pt x="17940" y="7174"/>
                  <a:pt x="17921" y="7199"/>
                </a:cubicBezTo>
                <a:cubicBezTo>
                  <a:pt x="17914" y="7208"/>
                  <a:pt x="17907" y="7215"/>
                  <a:pt x="17905" y="7215"/>
                </a:cubicBezTo>
                <a:cubicBezTo>
                  <a:pt x="17904" y="7215"/>
                  <a:pt x="17901" y="7208"/>
                  <a:pt x="17901" y="7199"/>
                </a:cubicBezTo>
                <a:cubicBezTo>
                  <a:pt x="17901" y="7199"/>
                  <a:pt x="17901" y="7199"/>
                  <a:pt x="17901" y="7199"/>
                </a:cubicBezTo>
                <a:close/>
                <a:moveTo>
                  <a:pt x="17585" y="7761"/>
                </a:moveTo>
                <a:cubicBezTo>
                  <a:pt x="17585" y="7752"/>
                  <a:pt x="17624" y="7709"/>
                  <a:pt x="17624" y="7721"/>
                </a:cubicBezTo>
                <a:cubicBezTo>
                  <a:pt x="17624" y="7726"/>
                  <a:pt x="17615" y="7739"/>
                  <a:pt x="17604" y="7749"/>
                </a:cubicBezTo>
                <a:cubicBezTo>
                  <a:pt x="17593" y="7759"/>
                  <a:pt x="17585" y="7765"/>
                  <a:pt x="17585" y="7761"/>
                </a:cubicBezTo>
                <a:cubicBezTo>
                  <a:pt x="17585" y="7761"/>
                  <a:pt x="17585" y="7761"/>
                  <a:pt x="17585" y="7761"/>
                </a:cubicBezTo>
                <a:close/>
                <a:moveTo>
                  <a:pt x="17748" y="7781"/>
                </a:moveTo>
                <a:cubicBezTo>
                  <a:pt x="17748" y="7776"/>
                  <a:pt x="17799" y="7740"/>
                  <a:pt x="17778" y="7768"/>
                </a:cubicBezTo>
                <a:cubicBezTo>
                  <a:pt x="17766" y="7785"/>
                  <a:pt x="17748" y="7793"/>
                  <a:pt x="17748" y="7781"/>
                </a:cubicBezTo>
                <a:cubicBezTo>
                  <a:pt x="17748" y="7781"/>
                  <a:pt x="17748" y="7781"/>
                  <a:pt x="17748" y="7781"/>
                </a:cubicBezTo>
                <a:close/>
                <a:moveTo>
                  <a:pt x="17513" y="7840"/>
                </a:moveTo>
                <a:cubicBezTo>
                  <a:pt x="17551" y="7793"/>
                  <a:pt x="17534" y="7844"/>
                  <a:pt x="17511" y="7855"/>
                </a:cubicBezTo>
                <a:cubicBezTo>
                  <a:pt x="17498" y="7860"/>
                  <a:pt x="17498" y="7857"/>
                  <a:pt x="17513" y="7840"/>
                </a:cubicBezTo>
                <a:cubicBezTo>
                  <a:pt x="17513" y="7840"/>
                  <a:pt x="17513" y="7840"/>
                  <a:pt x="17513" y="7840"/>
                </a:cubicBezTo>
                <a:close/>
                <a:moveTo>
                  <a:pt x="17169" y="8130"/>
                </a:moveTo>
                <a:cubicBezTo>
                  <a:pt x="17183" y="8088"/>
                  <a:pt x="17188" y="8146"/>
                  <a:pt x="17172" y="8146"/>
                </a:cubicBezTo>
                <a:cubicBezTo>
                  <a:pt x="17167" y="8146"/>
                  <a:pt x="17166" y="8139"/>
                  <a:pt x="17169" y="8130"/>
                </a:cubicBezTo>
                <a:cubicBezTo>
                  <a:pt x="17169" y="8130"/>
                  <a:pt x="17169" y="8130"/>
                  <a:pt x="17169" y="8130"/>
                </a:cubicBezTo>
                <a:close/>
                <a:moveTo>
                  <a:pt x="17604" y="8147"/>
                </a:moveTo>
                <a:cubicBezTo>
                  <a:pt x="17604" y="8098"/>
                  <a:pt x="17642" y="8142"/>
                  <a:pt x="17614" y="8162"/>
                </a:cubicBezTo>
                <a:cubicBezTo>
                  <a:pt x="17609" y="8166"/>
                  <a:pt x="17604" y="8159"/>
                  <a:pt x="17604" y="8147"/>
                </a:cubicBezTo>
                <a:cubicBezTo>
                  <a:pt x="17604" y="8147"/>
                  <a:pt x="17604" y="8147"/>
                  <a:pt x="17604" y="8147"/>
                </a:cubicBezTo>
                <a:close/>
                <a:moveTo>
                  <a:pt x="17163" y="8184"/>
                </a:moveTo>
                <a:cubicBezTo>
                  <a:pt x="17163" y="8177"/>
                  <a:pt x="17201" y="8154"/>
                  <a:pt x="17201" y="8161"/>
                </a:cubicBezTo>
                <a:cubicBezTo>
                  <a:pt x="17201" y="8164"/>
                  <a:pt x="17193" y="8172"/>
                  <a:pt x="17182" y="8178"/>
                </a:cubicBezTo>
                <a:cubicBezTo>
                  <a:pt x="17172" y="8184"/>
                  <a:pt x="17163" y="8187"/>
                  <a:pt x="17163" y="8184"/>
                </a:cubicBezTo>
                <a:cubicBezTo>
                  <a:pt x="17163" y="8184"/>
                  <a:pt x="17163" y="8184"/>
                  <a:pt x="17163" y="8184"/>
                </a:cubicBezTo>
                <a:close/>
                <a:moveTo>
                  <a:pt x="17140" y="8247"/>
                </a:moveTo>
                <a:cubicBezTo>
                  <a:pt x="17147" y="8227"/>
                  <a:pt x="17164" y="8225"/>
                  <a:pt x="17157" y="8247"/>
                </a:cubicBezTo>
                <a:cubicBezTo>
                  <a:pt x="17154" y="8256"/>
                  <a:pt x="17147" y="8263"/>
                  <a:pt x="17143" y="8263"/>
                </a:cubicBezTo>
                <a:cubicBezTo>
                  <a:pt x="17139" y="8263"/>
                  <a:pt x="17137" y="8256"/>
                  <a:pt x="17140" y="8247"/>
                </a:cubicBezTo>
                <a:cubicBezTo>
                  <a:pt x="17140" y="8247"/>
                  <a:pt x="17140" y="8247"/>
                  <a:pt x="17140" y="8247"/>
                </a:cubicBezTo>
                <a:close/>
                <a:moveTo>
                  <a:pt x="17086" y="8330"/>
                </a:moveTo>
                <a:cubicBezTo>
                  <a:pt x="17086" y="8317"/>
                  <a:pt x="17131" y="8272"/>
                  <a:pt x="17118" y="8310"/>
                </a:cubicBezTo>
                <a:cubicBezTo>
                  <a:pt x="17113" y="8324"/>
                  <a:pt x="17086" y="8341"/>
                  <a:pt x="17086" y="8330"/>
                </a:cubicBezTo>
                <a:cubicBezTo>
                  <a:pt x="17086" y="8330"/>
                  <a:pt x="17086" y="8330"/>
                  <a:pt x="17086" y="8330"/>
                </a:cubicBezTo>
                <a:close/>
                <a:moveTo>
                  <a:pt x="16916" y="8512"/>
                </a:moveTo>
                <a:cubicBezTo>
                  <a:pt x="16941" y="8493"/>
                  <a:pt x="16924" y="8490"/>
                  <a:pt x="16954" y="8454"/>
                </a:cubicBezTo>
                <a:lnTo>
                  <a:pt x="16976" y="8427"/>
                </a:lnTo>
                <a:cubicBezTo>
                  <a:pt x="16905" y="8493"/>
                  <a:pt x="16925" y="8451"/>
                  <a:pt x="16952" y="8420"/>
                </a:cubicBezTo>
                <a:cubicBezTo>
                  <a:pt x="16999" y="8365"/>
                  <a:pt x="16983" y="8332"/>
                  <a:pt x="17008" y="8341"/>
                </a:cubicBezTo>
                <a:cubicBezTo>
                  <a:pt x="17017" y="8345"/>
                  <a:pt x="17030" y="8337"/>
                  <a:pt x="17044" y="8318"/>
                </a:cubicBezTo>
                <a:cubicBezTo>
                  <a:pt x="17073" y="8281"/>
                  <a:pt x="17093" y="8287"/>
                  <a:pt x="17033" y="8351"/>
                </a:cubicBezTo>
                <a:cubicBezTo>
                  <a:pt x="17005" y="8381"/>
                  <a:pt x="16990" y="8406"/>
                  <a:pt x="16993" y="8418"/>
                </a:cubicBezTo>
                <a:cubicBezTo>
                  <a:pt x="16997" y="8447"/>
                  <a:pt x="16952" y="8478"/>
                  <a:pt x="16952" y="8491"/>
                </a:cubicBezTo>
                <a:cubicBezTo>
                  <a:pt x="16952" y="8501"/>
                  <a:pt x="16921" y="8526"/>
                  <a:pt x="16908" y="8526"/>
                </a:cubicBezTo>
                <a:cubicBezTo>
                  <a:pt x="16903" y="8526"/>
                  <a:pt x="16907" y="8520"/>
                  <a:pt x="16916" y="8512"/>
                </a:cubicBezTo>
                <a:cubicBezTo>
                  <a:pt x="16916" y="8512"/>
                  <a:pt x="16916" y="8512"/>
                  <a:pt x="16916" y="8512"/>
                </a:cubicBezTo>
                <a:close/>
                <a:moveTo>
                  <a:pt x="16875" y="8553"/>
                </a:moveTo>
                <a:cubicBezTo>
                  <a:pt x="16901" y="8519"/>
                  <a:pt x="16898" y="8569"/>
                  <a:pt x="16873" y="8569"/>
                </a:cubicBezTo>
                <a:cubicBezTo>
                  <a:pt x="16867" y="8569"/>
                  <a:pt x="16867" y="8564"/>
                  <a:pt x="16875" y="8553"/>
                </a:cubicBezTo>
                <a:cubicBezTo>
                  <a:pt x="16875" y="8553"/>
                  <a:pt x="16875" y="8553"/>
                  <a:pt x="16875" y="8553"/>
                </a:cubicBezTo>
                <a:close/>
                <a:moveTo>
                  <a:pt x="16692" y="8756"/>
                </a:moveTo>
                <a:cubicBezTo>
                  <a:pt x="16698" y="8747"/>
                  <a:pt x="16705" y="8725"/>
                  <a:pt x="16708" y="8707"/>
                </a:cubicBezTo>
                <a:cubicBezTo>
                  <a:pt x="16710" y="8688"/>
                  <a:pt x="16714" y="8669"/>
                  <a:pt x="16718" y="8666"/>
                </a:cubicBezTo>
                <a:cubicBezTo>
                  <a:pt x="16721" y="8662"/>
                  <a:pt x="16721" y="8673"/>
                  <a:pt x="16718" y="8691"/>
                </a:cubicBezTo>
                <a:cubicBezTo>
                  <a:pt x="16711" y="8718"/>
                  <a:pt x="16713" y="8720"/>
                  <a:pt x="16726" y="8707"/>
                </a:cubicBezTo>
                <a:cubicBezTo>
                  <a:pt x="16769" y="8671"/>
                  <a:pt x="16705" y="8771"/>
                  <a:pt x="16691" y="8771"/>
                </a:cubicBezTo>
                <a:cubicBezTo>
                  <a:pt x="16685" y="8771"/>
                  <a:pt x="16685" y="8765"/>
                  <a:pt x="16692" y="8756"/>
                </a:cubicBezTo>
                <a:cubicBezTo>
                  <a:pt x="16692" y="8756"/>
                  <a:pt x="16692" y="8756"/>
                  <a:pt x="16692" y="8756"/>
                </a:cubicBezTo>
                <a:close/>
                <a:moveTo>
                  <a:pt x="16618" y="8849"/>
                </a:moveTo>
                <a:cubicBezTo>
                  <a:pt x="16657" y="8748"/>
                  <a:pt x="16657" y="8755"/>
                  <a:pt x="16667" y="8778"/>
                </a:cubicBezTo>
                <a:cubicBezTo>
                  <a:pt x="16674" y="8795"/>
                  <a:pt x="16673" y="8807"/>
                  <a:pt x="16664" y="8818"/>
                </a:cubicBezTo>
                <a:cubicBezTo>
                  <a:pt x="16649" y="8838"/>
                  <a:pt x="16612" y="8862"/>
                  <a:pt x="16618" y="8849"/>
                </a:cubicBezTo>
                <a:cubicBezTo>
                  <a:pt x="16618" y="8849"/>
                  <a:pt x="16618" y="8849"/>
                  <a:pt x="16618" y="8849"/>
                </a:cubicBezTo>
                <a:close/>
                <a:moveTo>
                  <a:pt x="16510" y="8963"/>
                </a:moveTo>
                <a:cubicBezTo>
                  <a:pt x="16510" y="8950"/>
                  <a:pt x="16627" y="8826"/>
                  <a:pt x="16583" y="8901"/>
                </a:cubicBezTo>
                <a:cubicBezTo>
                  <a:pt x="16566" y="8930"/>
                  <a:pt x="16510" y="8976"/>
                  <a:pt x="16510" y="8963"/>
                </a:cubicBezTo>
                <a:cubicBezTo>
                  <a:pt x="16510" y="8963"/>
                  <a:pt x="16510" y="8963"/>
                  <a:pt x="16510" y="8963"/>
                </a:cubicBezTo>
                <a:close/>
                <a:moveTo>
                  <a:pt x="16366" y="9112"/>
                </a:moveTo>
                <a:cubicBezTo>
                  <a:pt x="16366" y="9051"/>
                  <a:pt x="16424" y="9084"/>
                  <a:pt x="16424" y="9047"/>
                </a:cubicBezTo>
                <a:cubicBezTo>
                  <a:pt x="16424" y="9022"/>
                  <a:pt x="16462" y="8976"/>
                  <a:pt x="16462" y="8992"/>
                </a:cubicBezTo>
                <a:cubicBezTo>
                  <a:pt x="16462" y="9015"/>
                  <a:pt x="16512" y="8991"/>
                  <a:pt x="16479" y="9019"/>
                </a:cubicBezTo>
                <a:cubicBezTo>
                  <a:pt x="16454" y="9038"/>
                  <a:pt x="16470" y="9053"/>
                  <a:pt x="16443" y="9061"/>
                </a:cubicBezTo>
                <a:cubicBezTo>
                  <a:pt x="16433" y="9065"/>
                  <a:pt x="16421" y="9080"/>
                  <a:pt x="16418" y="9094"/>
                </a:cubicBezTo>
                <a:cubicBezTo>
                  <a:pt x="16415" y="9108"/>
                  <a:pt x="16409" y="9120"/>
                  <a:pt x="16405" y="9120"/>
                </a:cubicBezTo>
                <a:cubicBezTo>
                  <a:pt x="16400" y="9120"/>
                  <a:pt x="16390" y="9123"/>
                  <a:pt x="16382" y="9127"/>
                </a:cubicBezTo>
                <a:cubicBezTo>
                  <a:pt x="16371" y="9130"/>
                  <a:pt x="16366" y="9127"/>
                  <a:pt x="16366" y="9112"/>
                </a:cubicBezTo>
                <a:cubicBezTo>
                  <a:pt x="16366" y="9112"/>
                  <a:pt x="16366" y="9112"/>
                  <a:pt x="16366" y="9112"/>
                </a:cubicBezTo>
                <a:close/>
                <a:moveTo>
                  <a:pt x="16208" y="9268"/>
                </a:moveTo>
                <a:cubicBezTo>
                  <a:pt x="16226" y="9241"/>
                  <a:pt x="16228" y="9279"/>
                  <a:pt x="16212" y="9279"/>
                </a:cubicBezTo>
                <a:cubicBezTo>
                  <a:pt x="16207" y="9279"/>
                  <a:pt x="16205" y="9274"/>
                  <a:pt x="16208" y="9268"/>
                </a:cubicBezTo>
                <a:cubicBezTo>
                  <a:pt x="16208" y="9268"/>
                  <a:pt x="16208" y="9268"/>
                  <a:pt x="16208" y="9268"/>
                </a:cubicBezTo>
                <a:close/>
                <a:moveTo>
                  <a:pt x="16229" y="9282"/>
                </a:moveTo>
                <a:cubicBezTo>
                  <a:pt x="16244" y="9241"/>
                  <a:pt x="16266" y="9296"/>
                  <a:pt x="16238" y="9296"/>
                </a:cubicBezTo>
                <a:cubicBezTo>
                  <a:pt x="16230" y="9296"/>
                  <a:pt x="16227" y="9290"/>
                  <a:pt x="16229" y="9282"/>
                </a:cubicBezTo>
                <a:cubicBezTo>
                  <a:pt x="16229" y="9282"/>
                  <a:pt x="16229" y="9282"/>
                  <a:pt x="16229" y="9282"/>
                </a:cubicBezTo>
                <a:close/>
                <a:moveTo>
                  <a:pt x="16153" y="9377"/>
                </a:moveTo>
                <a:cubicBezTo>
                  <a:pt x="16174" y="9368"/>
                  <a:pt x="16158" y="9312"/>
                  <a:pt x="16174" y="9342"/>
                </a:cubicBezTo>
                <a:cubicBezTo>
                  <a:pt x="16190" y="9369"/>
                  <a:pt x="16185" y="9385"/>
                  <a:pt x="16163" y="9384"/>
                </a:cubicBezTo>
                <a:cubicBezTo>
                  <a:pt x="16151" y="9383"/>
                  <a:pt x="16146" y="9381"/>
                  <a:pt x="16153" y="9377"/>
                </a:cubicBezTo>
                <a:cubicBezTo>
                  <a:pt x="16153" y="9377"/>
                  <a:pt x="16153" y="9377"/>
                  <a:pt x="16153" y="9377"/>
                </a:cubicBezTo>
                <a:close/>
                <a:moveTo>
                  <a:pt x="15964" y="9696"/>
                </a:moveTo>
                <a:cubicBezTo>
                  <a:pt x="15966" y="9668"/>
                  <a:pt x="15976" y="9701"/>
                  <a:pt x="15969" y="9710"/>
                </a:cubicBezTo>
                <a:cubicBezTo>
                  <a:pt x="15966" y="9713"/>
                  <a:pt x="15963" y="9707"/>
                  <a:pt x="15964" y="9696"/>
                </a:cubicBezTo>
                <a:cubicBezTo>
                  <a:pt x="15964" y="9696"/>
                  <a:pt x="15964" y="9696"/>
                  <a:pt x="15964" y="9696"/>
                </a:cubicBezTo>
                <a:close/>
                <a:moveTo>
                  <a:pt x="14429" y="11898"/>
                </a:moveTo>
                <a:cubicBezTo>
                  <a:pt x="14429" y="11868"/>
                  <a:pt x="14442" y="11903"/>
                  <a:pt x="14434" y="11911"/>
                </a:cubicBezTo>
                <a:cubicBezTo>
                  <a:pt x="14431" y="11915"/>
                  <a:pt x="14428" y="11909"/>
                  <a:pt x="14429" y="11898"/>
                </a:cubicBezTo>
                <a:cubicBezTo>
                  <a:pt x="14429" y="11898"/>
                  <a:pt x="14429" y="11898"/>
                  <a:pt x="14429" y="11898"/>
                </a:cubicBezTo>
                <a:close/>
                <a:moveTo>
                  <a:pt x="14308" y="12084"/>
                </a:moveTo>
                <a:cubicBezTo>
                  <a:pt x="14325" y="12057"/>
                  <a:pt x="14329" y="12094"/>
                  <a:pt x="14313" y="12094"/>
                </a:cubicBezTo>
                <a:cubicBezTo>
                  <a:pt x="14307" y="12094"/>
                  <a:pt x="14305" y="12089"/>
                  <a:pt x="14308" y="12084"/>
                </a:cubicBezTo>
                <a:cubicBezTo>
                  <a:pt x="14308" y="12084"/>
                  <a:pt x="14308" y="12084"/>
                  <a:pt x="14308" y="12084"/>
                </a:cubicBezTo>
                <a:close/>
                <a:moveTo>
                  <a:pt x="14280" y="12123"/>
                </a:moveTo>
                <a:cubicBezTo>
                  <a:pt x="14289" y="12098"/>
                  <a:pt x="14301" y="12111"/>
                  <a:pt x="14285" y="12129"/>
                </a:cubicBezTo>
                <a:cubicBezTo>
                  <a:pt x="14276" y="12139"/>
                  <a:pt x="14275" y="12138"/>
                  <a:pt x="14280" y="12123"/>
                </a:cubicBezTo>
                <a:cubicBezTo>
                  <a:pt x="14280" y="12123"/>
                  <a:pt x="14280" y="12123"/>
                  <a:pt x="14280" y="12123"/>
                </a:cubicBezTo>
                <a:close/>
                <a:moveTo>
                  <a:pt x="13853" y="12922"/>
                </a:moveTo>
                <a:cubicBezTo>
                  <a:pt x="13853" y="12908"/>
                  <a:pt x="13884" y="12894"/>
                  <a:pt x="13879" y="12911"/>
                </a:cubicBezTo>
                <a:cubicBezTo>
                  <a:pt x="13874" y="12927"/>
                  <a:pt x="13853" y="12935"/>
                  <a:pt x="13853" y="12922"/>
                </a:cubicBezTo>
                <a:cubicBezTo>
                  <a:pt x="13853" y="12922"/>
                  <a:pt x="13853" y="12922"/>
                  <a:pt x="13853" y="12922"/>
                </a:cubicBezTo>
                <a:close/>
                <a:moveTo>
                  <a:pt x="13723" y="13016"/>
                </a:moveTo>
                <a:cubicBezTo>
                  <a:pt x="13717" y="13004"/>
                  <a:pt x="13732" y="12992"/>
                  <a:pt x="13741" y="13001"/>
                </a:cubicBezTo>
                <a:cubicBezTo>
                  <a:pt x="13750" y="13012"/>
                  <a:pt x="13748" y="13026"/>
                  <a:pt x="13738" y="13026"/>
                </a:cubicBezTo>
                <a:cubicBezTo>
                  <a:pt x="13733" y="13026"/>
                  <a:pt x="13726" y="13021"/>
                  <a:pt x="13723" y="13016"/>
                </a:cubicBezTo>
                <a:cubicBezTo>
                  <a:pt x="13723" y="13016"/>
                  <a:pt x="13723" y="13016"/>
                  <a:pt x="13723" y="13016"/>
                </a:cubicBezTo>
                <a:close/>
                <a:moveTo>
                  <a:pt x="13248" y="13716"/>
                </a:moveTo>
                <a:cubicBezTo>
                  <a:pt x="13248" y="13703"/>
                  <a:pt x="13319" y="13629"/>
                  <a:pt x="13310" y="13653"/>
                </a:cubicBezTo>
                <a:cubicBezTo>
                  <a:pt x="13300" y="13681"/>
                  <a:pt x="13286" y="13664"/>
                  <a:pt x="13286" y="13687"/>
                </a:cubicBezTo>
                <a:cubicBezTo>
                  <a:pt x="13286" y="13695"/>
                  <a:pt x="13278" y="13707"/>
                  <a:pt x="13267" y="13713"/>
                </a:cubicBezTo>
                <a:cubicBezTo>
                  <a:pt x="13257" y="13720"/>
                  <a:pt x="13248" y="13721"/>
                  <a:pt x="13248" y="13716"/>
                </a:cubicBezTo>
                <a:cubicBezTo>
                  <a:pt x="13248" y="13716"/>
                  <a:pt x="13248" y="13716"/>
                  <a:pt x="13248" y="13716"/>
                </a:cubicBezTo>
                <a:close/>
                <a:moveTo>
                  <a:pt x="7363" y="17113"/>
                </a:moveTo>
                <a:cubicBezTo>
                  <a:pt x="7349" y="17097"/>
                  <a:pt x="7337" y="17079"/>
                  <a:pt x="7337" y="17072"/>
                </a:cubicBezTo>
                <a:cubicBezTo>
                  <a:pt x="7337" y="17066"/>
                  <a:pt x="7332" y="17058"/>
                  <a:pt x="7326" y="17056"/>
                </a:cubicBezTo>
                <a:cubicBezTo>
                  <a:pt x="7315" y="17052"/>
                  <a:pt x="7308" y="17015"/>
                  <a:pt x="7365" y="17090"/>
                </a:cubicBezTo>
                <a:cubicBezTo>
                  <a:pt x="7408" y="17146"/>
                  <a:pt x="7407" y="17163"/>
                  <a:pt x="7363" y="17113"/>
                </a:cubicBezTo>
                <a:cubicBezTo>
                  <a:pt x="7363" y="17113"/>
                  <a:pt x="7363" y="17113"/>
                  <a:pt x="7363" y="17113"/>
                </a:cubicBezTo>
                <a:close/>
                <a:moveTo>
                  <a:pt x="7436" y="17204"/>
                </a:moveTo>
                <a:cubicBezTo>
                  <a:pt x="7417" y="17177"/>
                  <a:pt x="7411" y="17161"/>
                  <a:pt x="7422" y="17168"/>
                </a:cubicBezTo>
                <a:cubicBezTo>
                  <a:pt x="7434" y="17176"/>
                  <a:pt x="7457" y="17217"/>
                  <a:pt x="7449" y="17217"/>
                </a:cubicBezTo>
                <a:cubicBezTo>
                  <a:pt x="7447" y="17217"/>
                  <a:pt x="7441" y="17211"/>
                  <a:pt x="7436" y="17204"/>
                </a:cubicBezTo>
                <a:cubicBezTo>
                  <a:pt x="7436" y="17204"/>
                  <a:pt x="7436" y="17204"/>
                  <a:pt x="7436" y="17204"/>
                </a:cubicBezTo>
                <a:close/>
                <a:moveTo>
                  <a:pt x="11004" y="17380"/>
                </a:moveTo>
                <a:cubicBezTo>
                  <a:pt x="11004" y="17352"/>
                  <a:pt x="11016" y="17384"/>
                  <a:pt x="11009" y="17395"/>
                </a:cubicBezTo>
                <a:cubicBezTo>
                  <a:pt x="11005" y="17398"/>
                  <a:pt x="11003" y="17391"/>
                  <a:pt x="11004" y="17380"/>
                </a:cubicBezTo>
                <a:cubicBezTo>
                  <a:pt x="11004" y="17380"/>
                  <a:pt x="11004" y="17380"/>
                  <a:pt x="11004" y="17380"/>
                </a:cubicBezTo>
                <a:close/>
                <a:moveTo>
                  <a:pt x="7578" y="17397"/>
                </a:moveTo>
                <a:cubicBezTo>
                  <a:pt x="7578" y="17377"/>
                  <a:pt x="7612" y="17408"/>
                  <a:pt x="7587" y="17408"/>
                </a:cubicBezTo>
                <a:cubicBezTo>
                  <a:pt x="7582" y="17408"/>
                  <a:pt x="7578" y="17402"/>
                  <a:pt x="7578" y="17397"/>
                </a:cubicBezTo>
                <a:cubicBezTo>
                  <a:pt x="7578" y="17397"/>
                  <a:pt x="7578" y="17397"/>
                  <a:pt x="7578" y="17397"/>
                </a:cubicBezTo>
                <a:close/>
                <a:moveTo>
                  <a:pt x="7614" y="17442"/>
                </a:moveTo>
                <a:cubicBezTo>
                  <a:pt x="7603" y="17425"/>
                  <a:pt x="7603" y="17425"/>
                  <a:pt x="7618" y="17438"/>
                </a:cubicBezTo>
                <a:cubicBezTo>
                  <a:pt x="7634" y="17452"/>
                  <a:pt x="7639" y="17460"/>
                  <a:pt x="7632" y="17460"/>
                </a:cubicBezTo>
                <a:cubicBezTo>
                  <a:pt x="7629" y="17460"/>
                  <a:pt x="7621" y="17452"/>
                  <a:pt x="7614" y="17442"/>
                </a:cubicBezTo>
                <a:cubicBezTo>
                  <a:pt x="7614" y="17442"/>
                  <a:pt x="7614" y="17442"/>
                  <a:pt x="7614" y="17442"/>
                </a:cubicBezTo>
                <a:close/>
                <a:moveTo>
                  <a:pt x="10802" y="17645"/>
                </a:moveTo>
                <a:cubicBezTo>
                  <a:pt x="10802" y="17631"/>
                  <a:pt x="10846" y="17512"/>
                  <a:pt x="10832" y="17599"/>
                </a:cubicBezTo>
                <a:cubicBezTo>
                  <a:pt x="10829" y="17625"/>
                  <a:pt x="10831" y="17629"/>
                  <a:pt x="10843" y="17624"/>
                </a:cubicBezTo>
                <a:cubicBezTo>
                  <a:pt x="10866" y="17614"/>
                  <a:pt x="10863" y="17637"/>
                  <a:pt x="10840" y="17651"/>
                </a:cubicBezTo>
                <a:cubicBezTo>
                  <a:pt x="10814" y="17666"/>
                  <a:pt x="10802" y="17664"/>
                  <a:pt x="10802" y="17645"/>
                </a:cubicBezTo>
                <a:cubicBezTo>
                  <a:pt x="10802" y="17645"/>
                  <a:pt x="10802" y="17645"/>
                  <a:pt x="10802" y="17645"/>
                </a:cubicBezTo>
                <a:close/>
                <a:moveTo>
                  <a:pt x="7756" y="17645"/>
                </a:moveTo>
                <a:cubicBezTo>
                  <a:pt x="7748" y="17623"/>
                  <a:pt x="7756" y="17609"/>
                  <a:pt x="7765" y="17634"/>
                </a:cubicBezTo>
                <a:cubicBezTo>
                  <a:pt x="7769" y="17644"/>
                  <a:pt x="7770" y="17654"/>
                  <a:pt x="7767" y="17657"/>
                </a:cubicBezTo>
                <a:cubicBezTo>
                  <a:pt x="7764" y="17660"/>
                  <a:pt x="7759" y="17655"/>
                  <a:pt x="7756" y="17645"/>
                </a:cubicBezTo>
                <a:cubicBezTo>
                  <a:pt x="7756" y="17645"/>
                  <a:pt x="7756" y="17645"/>
                  <a:pt x="7756" y="17645"/>
                </a:cubicBezTo>
                <a:close/>
                <a:moveTo>
                  <a:pt x="7795" y="17703"/>
                </a:moveTo>
                <a:cubicBezTo>
                  <a:pt x="7786" y="17668"/>
                  <a:pt x="7817" y="17704"/>
                  <a:pt x="7811" y="17716"/>
                </a:cubicBezTo>
                <a:cubicBezTo>
                  <a:pt x="7804" y="17730"/>
                  <a:pt x="7801" y="17728"/>
                  <a:pt x="7795" y="17703"/>
                </a:cubicBezTo>
                <a:cubicBezTo>
                  <a:pt x="7795" y="17703"/>
                  <a:pt x="7795" y="17703"/>
                  <a:pt x="7795" y="17703"/>
                </a:cubicBezTo>
                <a:close/>
                <a:moveTo>
                  <a:pt x="10725" y="17737"/>
                </a:moveTo>
                <a:cubicBezTo>
                  <a:pt x="10725" y="17723"/>
                  <a:pt x="10746" y="17707"/>
                  <a:pt x="10737" y="17730"/>
                </a:cubicBezTo>
                <a:cubicBezTo>
                  <a:pt x="10732" y="17749"/>
                  <a:pt x="10725" y="17752"/>
                  <a:pt x="10725" y="17737"/>
                </a:cubicBezTo>
                <a:cubicBezTo>
                  <a:pt x="10725" y="17737"/>
                  <a:pt x="10725" y="17737"/>
                  <a:pt x="10725" y="17737"/>
                </a:cubicBezTo>
                <a:close/>
                <a:moveTo>
                  <a:pt x="10515" y="18096"/>
                </a:moveTo>
                <a:cubicBezTo>
                  <a:pt x="10513" y="18044"/>
                  <a:pt x="10545" y="17980"/>
                  <a:pt x="10573" y="17980"/>
                </a:cubicBezTo>
                <a:cubicBezTo>
                  <a:pt x="10586" y="17980"/>
                  <a:pt x="10591" y="17974"/>
                  <a:pt x="10587" y="17965"/>
                </a:cubicBezTo>
                <a:cubicBezTo>
                  <a:pt x="10583" y="17952"/>
                  <a:pt x="10598" y="17937"/>
                  <a:pt x="10616" y="17937"/>
                </a:cubicBezTo>
                <a:cubicBezTo>
                  <a:pt x="10628" y="17937"/>
                  <a:pt x="10608" y="18006"/>
                  <a:pt x="10589" y="18029"/>
                </a:cubicBezTo>
                <a:cubicBezTo>
                  <a:pt x="10541" y="18084"/>
                  <a:pt x="10590" y="18113"/>
                  <a:pt x="10537" y="18132"/>
                </a:cubicBezTo>
                <a:cubicBezTo>
                  <a:pt x="10519" y="18138"/>
                  <a:pt x="10517" y="18134"/>
                  <a:pt x="10515" y="18096"/>
                </a:cubicBezTo>
                <a:cubicBezTo>
                  <a:pt x="10515" y="18096"/>
                  <a:pt x="10515" y="18096"/>
                  <a:pt x="10515" y="18096"/>
                </a:cubicBezTo>
                <a:close/>
                <a:moveTo>
                  <a:pt x="7731" y="21267"/>
                </a:moveTo>
                <a:cubicBezTo>
                  <a:pt x="7731" y="21264"/>
                  <a:pt x="7777" y="21218"/>
                  <a:pt x="7751" y="21253"/>
                </a:cubicBezTo>
                <a:cubicBezTo>
                  <a:pt x="7739" y="21270"/>
                  <a:pt x="7731" y="21276"/>
                  <a:pt x="7731" y="21267"/>
                </a:cubicBezTo>
                <a:cubicBezTo>
                  <a:pt x="7731" y="21267"/>
                  <a:pt x="7731" y="21267"/>
                  <a:pt x="7731" y="21267"/>
                </a:cubicBezTo>
                <a:close/>
                <a:moveTo>
                  <a:pt x="19765" y="3981"/>
                </a:moveTo>
                <a:cubicBezTo>
                  <a:pt x="19796" y="3939"/>
                  <a:pt x="19801" y="3969"/>
                  <a:pt x="19819" y="3928"/>
                </a:cubicBezTo>
                <a:cubicBezTo>
                  <a:pt x="19825" y="3913"/>
                  <a:pt x="19829" y="3901"/>
                  <a:pt x="19827" y="3901"/>
                </a:cubicBezTo>
                <a:cubicBezTo>
                  <a:pt x="19822" y="3901"/>
                  <a:pt x="19734" y="3996"/>
                  <a:pt x="19734" y="4001"/>
                </a:cubicBezTo>
                <a:cubicBezTo>
                  <a:pt x="19734" y="4015"/>
                  <a:pt x="19747" y="4006"/>
                  <a:pt x="19765" y="3981"/>
                </a:cubicBezTo>
                <a:cubicBezTo>
                  <a:pt x="19765" y="3981"/>
                  <a:pt x="19765" y="3981"/>
                  <a:pt x="19765" y="3981"/>
                </a:cubicBezTo>
                <a:close/>
                <a:moveTo>
                  <a:pt x="19696" y="4039"/>
                </a:moveTo>
                <a:cubicBezTo>
                  <a:pt x="19696" y="4010"/>
                  <a:pt x="19669" y="4050"/>
                  <a:pt x="19686" y="4050"/>
                </a:cubicBezTo>
                <a:cubicBezTo>
                  <a:pt x="19691" y="4050"/>
                  <a:pt x="19696" y="4045"/>
                  <a:pt x="19696" y="4039"/>
                </a:cubicBezTo>
                <a:cubicBezTo>
                  <a:pt x="19696" y="4039"/>
                  <a:pt x="19696" y="4039"/>
                  <a:pt x="19696" y="4039"/>
                </a:cubicBezTo>
                <a:close/>
                <a:moveTo>
                  <a:pt x="19382" y="4066"/>
                </a:moveTo>
                <a:cubicBezTo>
                  <a:pt x="19401" y="4037"/>
                  <a:pt x="19372" y="4026"/>
                  <a:pt x="19363" y="4060"/>
                </a:cubicBezTo>
                <a:cubicBezTo>
                  <a:pt x="19355" y="4092"/>
                  <a:pt x="19341" y="4060"/>
                  <a:pt x="19341" y="4087"/>
                </a:cubicBezTo>
                <a:cubicBezTo>
                  <a:pt x="19341" y="4103"/>
                  <a:pt x="19343" y="4103"/>
                  <a:pt x="19358" y="4091"/>
                </a:cubicBezTo>
                <a:cubicBezTo>
                  <a:pt x="19367" y="4083"/>
                  <a:pt x="19377" y="4071"/>
                  <a:pt x="19382" y="4066"/>
                </a:cubicBezTo>
                <a:cubicBezTo>
                  <a:pt x="19382" y="4066"/>
                  <a:pt x="19382" y="4066"/>
                  <a:pt x="19382" y="4066"/>
                </a:cubicBezTo>
                <a:close/>
                <a:moveTo>
                  <a:pt x="19624" y="4103"/>
                </a:moveTo>
                <a:cubicBezTo>
                  <a:pt x="19631" y="4088"/>
                  <a:pt x="19613" y="4089"/>
                  <a:pt x="19605" y="4103"/>
                </a:cubicBezTo>
                <a:cubicBezTo>
                  <a:pt x="19601" y="4109"/>
                  <a:pt x="19603" y="4113"/>
                  <a:pt x="19608" y="4113"/>
                </a:cubicBezTo>
                <a:cubicBezTo>
                  <a:pt x="19613" y="4113"/>
                  <a:pt x="19621" y="4109"/>
                  <a:pt x="19624" y="4103"/>
                </a:cubicBezTo>
                <a:cubicBezTo>
                  <a:pt x="19624" y="4103"/>
                  <a:pt x="19624" y="4103"/>
                  <a:pt x="19624" y="4103"/>
                </a:cubicBezTo>
                <a:close/>
                <a:moveTo>
                  <a:pt x="19567" y="4143"/>
                </a:moveTo>
                <a:cubicBezTo>
                  <a:pt x="19620" y="4080"/>
                  <a:pt x="19523" y="4159"/>
                  <a:pt x="19523" y="4170"/>
                </a:cubicBezTo>
                <a:cubicBezTo>
                  <a:pt x="19523" y="4185"/>
                  <a:pt x="19539" y="4175"/>
                  <a:pt x="19567" y="4143"/>
                </a:cubicBezTo>
                <a:cubicBezTo>
                  <a:pt x="19567" y="4143"/>
                  <a:pt x="19567" y="4143"/>
                  <a:pt x="19567" y="4143"/>
                </a:cubicBezTo>
                <a:close/>
                <a:moveTo>
                  <a:pt x="19178" y="4241"/>
                </a:moveTo>
                <a:cubicBezTo>
                  <a:pt x="19212" y="4194"/>
                  <a:pt x="19231" y="4216"/>
                  <a:pt x="19269" y="4144"/>
                </a:cubicBezTo>
                <a:cubicBezTo>
                  <a:pt x="19282" y="4122"/>
                  <a:pt x="19252" y="4150"/>
                  <a:pt x="19228" y="4173"/>
                </a:cubicBezTo>
                <a:cubicBezTo>
                  <a:pt x="19213" y="4190"/>
                  <a:pt x="19149" y="4230"/>
                  <a:pt x="19149" y="4241"/>
                </a:cubicBezTo>
                <a:cubicBezTo>
                  <a:pt x="19149" y="4247"/>
                  <a:pt x="19138" y="4257"/>
                  <a:pt x="19125" y="4263"/>
                </a:cubicBezTo>
                <a:cubicBezTo>
                  <a:pt x="19112" y="4270"/>
                  <a:pt x="19101" y="4282"/>
                  <a:pt x="19101" y="4290"/>
                </a:cubicBezTo>
                <a:cubicBezTo>
                  <a:pt x="19101" y="4312"/>
                  <a:pt x="19148" y="4282"/>
                  <a:pt x="19178" y="4241"/>
                </a:cubicBezTo>
                <a:cubicBezTo>
                  <a:pt x="19178" y="4241"/>
                  <a:pt x="19178" y="4241"/>
                  <a:pt x="19178" y="4241"/>
                </a:cubicBezTo>
                <a:close/>
                <a:moveTo>
                  <a:pt x="19044" y="4356"/>
                </a:moveTo>
                <a:cubicBezTo>
                  <a:pt x="19044" y="4344"/>
                  <a:pt x="19015" y="4356"/>
                  <a:pt x="19015" y="4368"/>
                </a:cubicBezTo>
                <a:cubicBezTo>
                  <a:pt x="19015" y="4373"/>
                  <a:pt x="19021" y="4374"/>
                  <a:pt x="19029" y="4371"/>
                </a:cubicBezTo>
                <a:cubicBezTo>
                  <a:pt x="19037" y="4368"/>
                  <a:pt x="19044" y="4361"/>
                  <a:pt x="19044" y="4356"/>
                </a:cubicBezTo>
                <a:cubicBezTo>
                  <a:pt x="19044" y="4356"/>
                  <a:pt x="19044" y="4356"/>
                  <a:pt x="19044" y="4356"/>
                </a:cubicBezTo>
                <a:close/>
                <a:moveTo>
                  <a:pt x="18919" y="4467"/>
                </a:moveTo>
                <a:cubicBezTo>
                  <a:pt x="18940" y="4439"/>
                  <a:pt x="18900" y="4465"/>
                  <a:pt x="18900" y="4475"/>
                </a:cubicBezTo>
                <a:cubicBezTo>
                  <a:pt x="18900" y="4488"/>
                  <a:pt x="18905" y="4486"/>
                  <a:pt x="18919" y="4467"/>
                </a:cubicBezTo>
                <a:cubicBezTo>
                  <a:pt x="18919" y="4467"/>
                  <a:pt x="18919" y="4467"/>
                  <a:pt x="18919" y="4467"/>
                </a:cubicBezTo>
                <a:close/>
                <a:moveTo>
                  <a:pt x="19888" y="4790"/>
                </a:moveTo>
                <a:cubicBezTo>
                  <a:pt x="19888" y="4785"/>
                  <a:pt x="19882" y="4780"/>
                  <a:pt x="19875" y="4780"/>
                </a:cubicBezTo>
                <a:cubicBezTo>
                  <a:pt x="19865" y="4780"/>
                  <a:pt x="19862" y="4771"/>
                  <a:pt x="19863" y="4754"/>
                </a:cubicBezTo>
                <a:cubicBezTo>
                  <a:pt x="19867" y="4722"/>
                  <a:pt x="19845" y="4718"/>
                  <a:pt x="19831" y="4748"/>
                </a:cubicBezTo>
                <a:cubicBezTo>
                  <a:pt x="19823" y="4764"/>
                  <a:pt x="19826" y="4771"/>
                  <a:pt x="19847" y="4789"/>
                </a:cubicBezTo>
                <a:cubicBezTo>
                  <a:pt x="19873" y="4810"/>
                  <a:pt x="19888" y="4810"/>
                  <a:pt x="19888" y="4790"/>
                </a:cubicBezTo>
                <a:cubicBezTo>
                  <a:pt x="19888" y="4790"/>
                  <a:pt x="19888" y="4790"/>
                  <a:pt x="19888" y="4790"/>
                </a:cubicBezTo>
                <a:close/>
                <a:moveTo>
                  <a:pt x="19793" y="4799"/>
                </a:moveTo>
                <a:cubicBezTo>
                  <a:pt x="19773" y="4774"/>
                  <a:pt x="19786" y="4832"/>
                  <a:pt x="19800" y="4817"/>
                </a:cubicBezTo>
                <a:cubicBezTo>
                  <a:pt x="19803" y="4814"/>
                  <a:pt x="19800" y="4806"/>
                  <a:pt x="19793" y="4799"/>
                </a:cubicBezTo>
                <a:cubicBezTo>
                  <a:pt x="19793" y="4799"/>
                  <a:pt x="19793" y="4799"/>
                  <a:pt x="19793" y="4799"/>
                </a:cubicBezTo>
                <a:close/>
                <a:moveTo>
                  <a:pt x="19753" y="4873"/>
                </a:moveTo>
                <a:cubicBezTo>
                  <a:pt x="19778" y="4845"/>
                  <a:pt x="19739" y="4892"/>
                  <a:pt x="19769" y="4884"/>
                </a:cubicBezTo>
                <a:cubicBezTo>
                  <a:pt x="19795" y="4879"/>
                  <a:pt x="19798" y="4838"/>
                  <a:pt x="19773" y="4836"/>
                </a:cubicBezTo>
                <a:cubicBezTo>
                  <a:pt x="19762" y="4835"/>
                  <a:pt x="19754" y="4838"/>
                  <a:pt x="19754" y="4843"/>
                </a:cubicBezTo>
                <a:cubicBezTo>
                  <a:pt x="19754" y="4857"/>
                  <a:pt x="19712" y="4858"/>
                  <a:pt x="19719" y="4875"/>
                </a:cubicBezTo>
                <a:cubicBezTo>
                  <a:pt x="19728" y="4890"/>
                  <a:pt x="19737" y="4889"/>
                  <a:pt x="19753" y="4873"/>
                </a:cubicBezTo>
                <a:cubicBezTo>
                  <a:pt x="19753" y="4873"/>
                  <a:pt x="19753" y="4873"/>
                  <a:pt x="19753" y="4873"/>
                </a:cubicBezTo>
                <a:close/>
                <a:moveTo>
                  <a:pt x="19744" y="4927"/>
                </a:moveTo>
                <a:cubicBezTo>
                  <a:pt x="19744" y="4913"/>
                  <a:pt x="19719" y="4886"/>
                  <a:pt x="19707" y="4886"/>
                </a:cubicBezTo>
                <a:cubicBezTo>
                  <a:pt x="19680" y="4886"/>
                  <a:pt x="19686" y="4935"/>
                  <a:pt x="19713" y="4942"/>
                </a:cubicBezTo>
                <a:cubicBezTo>
                  <a:pt x="19733" y="4947"/>
                  <a:pt x="19744" y="4941"/>
                  <a:pt x="19744" y="4927"/>
                </a:cubicBezTo>
                <a:cubicBezTo>
                  <a:pt x="19744" y="4927"/>
                  <a:pt x="19744" y="4927"/>
                  <a:pt x="19744" y="4927"/>
                </a:cubicBezTo>
                <a:close/>
                <a:moveTo>
                  <a:pt x="19510" y="4933"/>
                </a:moveTo>
                <a:cubicBezTo>
                  <a:pt x="19550" y="4863"/>
                  <a:pt x="19475" y="4924"/>
                  <a:pt x="19475" y="4944"/>
                </a:cubicBezTo>
                <a:cubicBezTo>
                  <a:pt x="19475" y="4968"/>
                  <a:pt x="19493" y="4963"/>
                  <a:pt x="19510" y="4933"/>
                </a:cubicBezTo>
                <a:cubicBezTo>
                  <a:pt x="19510" y="4933"/>
                  <a:pt x="19510" y="4933"/>
                  <a:pt x="19510" y="4933"/>
                </a:cubicBezTo>
                <a:close/>
                <a:moveTo>
                  <a:pt x="17835" y="5225"/>
                </a:moveTo>
                <a:cubicBezTo>
                  <a:pt x="17835" y="5198"/>
                  <a:pt x="17807" y="5235"/>
                  <a:pt x="17824" y="5235"/>
                </a:cubicBezTo>
                <a:cubicBezTo>
                  <a:pt x="17830" y="5235"/>
                  <a:pt x="17835" y="5230"/>
                  <a:pt x="17835" y="5225"/>
                </a:cubicBezTo>
                <a:cubicBezTo>
                  <a:pt x="17835" y="5225"/>
                  <a:pt x="17835" y="5225"/>
                  <a:pt x="17835" y="5225"/>
                </a:cubicBezTo>
                <a:close/>
                <a:moveTo>
                  <a:pt x="18957" y="5308"/>
                </a:moveTo>
                <a:cubicBezTo>
                  <a:pt x="18957" y="5296"/>
                  <a:pt x="18942" y="5304"/>
                  <a:pt x="18916" y="5329"/>
                </a:cubicBezTo>
                <a:cubicBezTo>
                  <a:pt x="18888" y="5355"/>
                  <a:pt x="18897" y="5365"/>
                  <a:pt x="18928" y="5341"/>
                </a:cubicBezTo>
                <a:cubicBezTo>
                  <a:pt x="18944" y="5329"/>
                  <a:pt x="18957" y="5314"/>
                  <a:pt x="18957" y="5308"/>
                </a:cubicBezTo>
                <a:cubicBezTo>
                  <a:pt x="18957" y="5308"/>
                  <a:pt x="18957" y="5308"/>
                  <a:pt x="18957" y="5308"/>
                </a:cubicBezTo>
                <a:close/>
                <a:moveTo>
                  <a:pt x="18823" y="5437"/>
                </a:moveTo>
                <a:cubicBezTo>
                  <a:pt x="18823" y="5408"/>
                  <a:pt x="18796" y="5447"/>
                  <a:pt x="18812" y="5447"/>
                </a:cubicBezTo>
                <a:cubicBezTo>
                  <a:pt x="18818" y="5447"/>
                  <a:pt x="18823" y="5442"/>
                  <a:pt x="18823" y="5437"/>
                </a:cubicBezTo>
                <a:cubicBezTo>
                  <a:pt x="18823" y="5437"/>
                  <a:pt x="18823" y="5437"/>
                  <a:pt x="18823" y="5437"/>
                </a:cubicBezTo>
                <a:close/>
                <a:moveTo>
                  <a:pt x="17473" y="5607"/>
                </a:moveTo>
                <a:cubicBezTo>
                  <a:pt x="17506" y="5572"/>
                  <a:pt x="17496" y="5555"/>
                  <a:pt x="17465" y="5591"/>
                </a:cubicBezTo>
                <a:cubicBezTo>
                  <a:pt x="17454" y="5604"/>
                  <a:pt x="17441" y="5613"/>
                  <a:pt x="17438" y="5609"/>
                </a:cubicBezTo>
                <a:cubicBezTo>
                  <a:pt x="17434" y="5605"/>
                  <a:pt x="17432" y="5611"/>
                  <a:pt x="17432" y="5620"/>
                </a:cubicBezTo>
                <a:cubicBezTo>
                  <a:pt x="17432" y="5645"/>
                  <a:pt x="17444" y="5641"/>
                  <a:pt x="17473" y="5607"/>
                </a:cubicBezTo>
                <a:cubicBezTo>
                  <a:pt x="17473" y="5607"/>
                  <a:pt x="17473" y="5607"/>
                  <a:pt x="17473" y="5607"/>
                </a:cubicBezTo>
                <a:close/>
                <a:moveTo>
                  <a:pt x="17402" y="5665"/>
                </a:moveTo>
                <a:cubicBezTo>
                  <a:pt x="17425" y="5634"/>
                  <a:pt x="17376" y="5631"/>
                  <a:pt x="17374" y="5672"/>
                </a:cubicBezTo>
                <a:cubicBezTo>
                  <a:pt x="17374" y="5685"/>
                  <a:pt x="17390" y="5681"/>
                  <a:pt x="17402" y="5665"/>
                </a:cubicBezTo>
                <a:cubicBezTo>
                  <a:pt x="17402" y="5665"/>
                  <a:pt x="17402" y="5665"/>
                  <a:pt x="17402" y="5665"/>
                </a:cubicBezTo>
                <a:close/>
                <a:moveTo>
                  <a:pt x="18543" y="5740"/>
                </a:moveTo>
                <a:cubicBezTo>
                  <a:pt x="18550" y="5734"/>
                  <a:pt x="18565" y="5729"/>
                  <a:pt x="18576" y="5728"/>
                </a:cubicBezTo>
                <a:cubicBezTo>
                  <a:pt x="18601" y="5726"/>
                  <a:pt x="18669" y="5670"/>
                  <a:pt x="18669" y="5651"/>
                </a:cubicBezTo>
                <a:cubicBezTo>
                  <a:pt x="18669" y="5639"/>
                  <a:pt x="18657" y="5633"/>
                  <a:pt x="18638" y="5636"/>
                </a:cubicBezTo>
                <a:cubicBezTo>
                  <a:pt x="18628" y="5638"/>
                  <a:pt x="18630" y="5608"/>
                  <a:pt x="18641" y="5600"/>
                </a:cubicBezTo>
                <a:cubicBezTo>
                  <a:pt x="18652" y="5593"/>
                  <a:pt x="18683" y="5628"/>
                  <a:pt x="18693" y="5638"/>
                </a:cubicBezTo>
                <a:cubicBezTo>
                  <a:pt x="18752" y="5557"/>
                  <a:pt x="18803" y="5510"/>
                  <a:pt x="18783" y="5510"/>
                </a:cubicBezTo>
                <a:cubicBezTo>
                  <a:pt x="18776" y="5510"/>
                  <a:pt x="18764" y="5516"/>
                  <a:pt x="18758" y="5523"/>
                </a:cubicBezTo>
                <a:cubicBezTo>
                  <a:pt x="18737" y="5546"/>
                  <a:pt x="18746" y="5518"/>
                  <a:pt x="18767" y="5493"/>
                </a:cubicBezTo>
                <a:cubicBezTo>
                  <a:pt x="18836" y="5410"/>
                  <a:pt x="18664" y="5560"/>
                  <a:pt x="18634" y="5584"/>
                </a:cubicBezTo>
                <a:cubicBezTo>
                  <a:pt x="18573" y="5634"/>
                  <a:pt x="18612" y="5616"/>
                  <a:pt x="18612" y="5643"/>
                </a:cubicBezTo>
                <a:cubicBezTo>
                  <a:pt x="18612" y="5656"/>
                  <a:pt x="18600" y="5669"/>
                  <a:pt x="18530" y="5738"/>
                </a:cubicBezTo>
                <a:cubicBezTo>
                  <a:pt x="18504" y="5764"/>
                  <a:pt x="18513" y="5765"/>
                  <a:pt x="18543" y="5740"/>
                </a:cubicBezTo>
                <a:cubicBezTo>
                  <a:pt x="18543" y="5740"/>
                  <a:pt x="18543" y="5740"/>
                  <a:pt x="18543" y="5740"/>
                </a:cubicBezTo>
                <a:close/>
                <a:moveTo>
                  <a:pt x="18785" y="6047"/>
                </a:moveTo>
                <a:cubicBezTo>
                  <a:pt x="18782" y="6018"/>
                  <a:pt x="18751" y="6068"/>
                  <a:pt x="18774" y="6059"/>
                </a:cubicBezTo>
                <a:cubicBezTo>
                  <a:pt x="18781" y="6057"/>
                  <a:pt x="18786" y="6052"/>
                  <a:pt x="18785" y="6047"/>
                </a:cubicBezTo>
                <a:cubicBezTo>
                  <a:pt x="18785" y="6047"/>
                  <a:pt x="18785" y="6047"/>
                  <a:pt x="18785" y="6047"/>
                </a:cubicBezTo>
                <a:close/>
                <a:moveTo>
                  <a:pt x="16818" y="6236"/>
                </a:moveTo>
                <a:cubicBezTo>
                  <a:pt x="16818" y="6211"/>
                  <a:pt x="16796" y="6204"/>
                  <a:pt x="16783" y="6224"/>
                </a:cubicBezTo>
                <a:cubicBezTo>
                  <a:pt x="16765" y="6251"/>
                  <a:pt x="16776" y="6275"/>
                  <a:pt x="16799" y="6261"/>
                </a:cubicBezTo>
                <a:cubicBezTo>
                  <a:pt x="16809" y="6255"/>
                  <a:pt x="16818" y="6244"/>
                  <a:pt x="16818" y="6236"/>
                </a:cubicBezTo>
                <a:cubicBezTo>
                  <a:pt x="16818" y="6236"/>
                  <a:pt x="16818" y="6236"/>
                  <a:pt x="16818" y="6236"/>
                </a:cubicBezTo>
                <a:close/>
                <a:moveTo>
                  <a:pt x="16721" y="6331"/>
                </a:moveTo>
                <a:cubicBezTo>
                  <a:pt x="16740" y="6307"/>
                  <a:pt x="16703" y="6310"/>
                  <a:pt x="16703" y="6331"/>
                </a:cubicBezTo>
                <a:cubicBezTo>
                  <a:pt x="16703" y="6339"/>
                  <a:pt x="16704" y="6346"/>
                  <a:pt x="16706" y="6346"/>
                </a:cubicBezTo>
                <a:cubicBezTo>
                  <a:pt x="16708" y="6346"/>
                  <a:pt x="16715" y="6339"/>
                  <a:pt x="16721" y="6331"/>
                </a:cubicBezTo>
                <a:cubicBezTo>
                  <a:pt x="16721" y="6331"/>
                  <a:pt x="16721" y="6331"/>
                  <a:pt x="16721" y="6331"/>
                </a:cubicBezTo>
                <a:close/>
                <a:moveTo>
                  <a:pt x="16606" y="6409"/>
                </a:moveTo>
                <a:cubicBezTo>
                  <a:pt x="16606" y="6395"/>
                  <a:pt x="16587" y="6409"/>
                  <a:pt x="16587" y="6422"/>
                </a:cubicBezTo>
                <a:cubicBezTo>
                  <a:pt x="16587" y="6428"/>
                  <a:pt x="16592" y="6430"/>
                  <a:pt x="16597" y="6426"/>
                </a:cubicBezTo>
                <a:cubicBezTo>
                  <a:pt x="16602" y="6423"/>
                  <a:pt x="16606" y="6415"/>
                  <a:pt x="16606" y="6409"/>
                </a:cubicBezTo>
                <a:cubicBezTo>
                  <a:pt x="16606" y="6409"/>
                  <a:pt x="16606" y="6409"/>
                  <a:pt x="16606" y="6409"/>
                </a:cubicBezTo>
                <a:close/>
                <a:moveTo>
                  <a:pt x="18222" y="6662"/>
                </a:moveTo>
                <a:lnTo>
                  <a:pt x="18228" y="6632"/>
                </a:lnTo>
                <a:cubicBezTo>
                  <a:pt x="18214" y="6648"/>
                  <a:pt x="18188" y="6672"/>
                  <a:pt x="18194" y="6693"/>
                </a:cubicBezTo>
                <a:cubicBezTo>
                  <a:pt x="18202" y="6715"/>
                  <a:pt x="18214" y="6701"/>
                  <a:pt x="18222" y="6662"/>
                </a:cubicBezTo>
                <a:cubicBezTo>
                  <a:pt x="18222" y="6662"/>
                  <a:pt x="18222" y="6662"/>
                  <a:pt x="18222" y="6662"/>
                </a:cubicBezTo>
                <a:close/>
                <a:moveTo>
                  <a:pt x="16323" y="6717"/>
                </a:moveTo>
                <a:cubicBezTo>
                  <a:pt x="16332" y="6704"/>
                  <a:pt x="16309" y="6703"/>
                  <a:pt x="16309" y="6717"/>
                </a:cubicBezTo>
                <a:cubicBezTo>
                  <a:pt x="16309" y="6723"/>
                  <a:pt x="16311" y="6727"/>
                  <a:pt x="16313" y="6727"/>
                </a:cubicBezTo>
                <a:cubicBezTo>
                  <a:pt x="16315" y="6727"/>
                  <a:pt x="16320" y="6723"/>
                  <a:pt x="16323" y="6717"/>
                </a:cubicBezTo>
                <a:cubicBezTo>
                  <a:pt x="16323" y="6717"/>
                  <a:pt x="16323" y="6717"/>
                  <a:pt x="16323" y="6717"/>
                </a:cubicBezTo>
                <a:close/>
                <a:moveTo>
                  <a:pt x="18166" y="6716"/>
                </a:moveTo>
                <a:cubicBezTo>
                  <a:pt x="18185" y="6693"/>
                  <a:pt x="18185" y="6693"/>
                  <a:pt x="18163" y="6705"/>
                </a:cubicBezTo>
                <a:cubicBezTo>
                  <a:pt x="18151" y="6712"/>
                  <a:pt x="18142" y="6723"/>
                  <a:pt x="18142" y="6728"/>
                </a:cubicBezTo>
                <a:cubicBezTo>
                  <a:pt x="18142" y="6743"/>
                  <a:pt x="18146" y="6741"/>
                  <a:pt x="18166" y="6716"/>
                </a:cubicBezTo>
                <a:cubicBezTo>
                  <a:pt x="18166" y="6716"/>
                  <a:pt x="18166" y="6716"/>
                  <a:pt x="18166" y="6716"/>
                </a:cubicBezTo>
                <a:close/>
                <a:moveTo>
                  <a:pt x="18101" y="6791"/>
                </a:moveTo>
                <a:cubicBezTo>
                  <a:pt x="18126" y="6748"/>
                  <a:pt x="18051" y="6812"/>
                  <a:pt x="18081" y="6812"/>
                </a:cubicBezTo>
                <a:cubicBezTo>
                  <a:pt x="18086" y="6812"/>
                  <a:pt x="18094" y="6803"/>
                  <a:pt x="18101" y="6791"/>
                </a:cubicBezTo>
                <a:cubicBezTo>
                  <a:pt x="18101" y="6791"/>
                  <a:pt x="18101" y="6791"/>
                  <a:pt x="18101" y="6791"/>
                </a:cubicBezTo>
                <a:close/>
                <a:moveTo>
                  <a:pt x="18065" y="6839"/>
                </a:moveTo>
                <a:cubicBezTo>
                  <a:pt x="18065" y="6817"/>
                  <a:pt x="18045" y="6818"/>
                  <a:pt x="18045" y="6839"/>
                </a:cubicBezTo>
                <a:cubicBezTo>
                  <a:pt x="18045" y="6847"/>
                  <a:pt x="18050" y="6854"/>
                  <a:pt x="18055" y="6854"/>
                </a:cubicBezTo>
                <a:cubicBezTo>
                  <a:pt x="18060" y="6854"/>
                  <a:pt x="18065" y="6847"/>
                  <a:pt x="18065" y="6839"/>
                </a:cubicBezTo>
                <a:cubicBezTo>
                  <a:pt x="18065" y="6839"/>
                  <a:pt x="18065" y="6839"/>
                  <a:pt x="18065" y="6839"/>
                </a:cubicBezTo>
                <a:close/>
                <a:moveTo>
                  <a:pt x="15823" y="7357"/>
                </a:moveTo>
                <a:cubicBezTo>
                  <a:pt x="15837" y="7318"/>
                  <a:pt x="15781" y="7374"/>
                  <a:pt x="15808" y="7374"/>
                </a:cubicBezTo>
                <a:cubicBezTo>
                  <a:pt x="15813" y="7374"/>
                  <a:pt x="15820" y="7366"/>
                  <a:pt x="15823" y="7357"/>
                </a:cubicBezTo>
                <a:cubicBezTo>
                  <a:pt x="15823" y="7357"/>
                  <a:pt x="15823" y="7357"/>
                  <a:pt x="15823" y="7357"/>
                </a:cubicBezTo>
                <a:close/>
                <a:moveTo>
                  <a:pt x="14919" y="8424"/>
                </a:moveTo>
                <a:cubicBezTo>
                  <a:pt x="14995" y="8368"/>
                  <a:pt x="15192" y="8101"/>
                  <a:pt x="15553" y="7712"/>
                </a:cubicBezTo>
                <a:cubicBezTo>
                  <a:pt x="15639" y="7617"/>
                  <a:pt x="15586" y="7656"/>
                  <a:pt x="15646" y="7590"/>
                </a:cubicBezTo>
                <a:cubicBezTo>
                  <a:pt x="15673" y="7560"/>
                  <a:pt x="15683" y="7542"/>
                  <a:pt x="15679" y="7527"/>
                </a:cubicBezTo>
                <a:cubicBezTo>
                  <a:pt x="15676" y="7509"/>
                  <a:pt x="15676" y="7509"/>
                  <a:pt x="15684" y="7521"/>
                </a:cubicBezTo>
                <a:cubicBezTo>
                  <a:pt x="15693" y="7535"/>
                  <a:pt x="15698" y="7533"/>
                  <a:pt x="15719" y="7509"/>
                </a:cubicBezTo>
                <a:cubicBezTo>
                  <a:pt x="15754" y="7465"/>
                  <a:pt x="15736" y="7460"/>
                  <a:pt x="15758" y="7451"/>
                </a:cubicBezTo>
                <a:cubicBezTo>
                  <a:pt x="15778" y="7443"/>
                  <a:pt x="15794" y="7405"/>
                  <a:pt x="15784" y="7394"/>
                </a:cubicBezTo>
                <a:cubicBezTo>
                  <a:pt x="15771" y="7377"/>
                  <a:pt x="15748" y="7428"/>
                  <a:pt x="15727" y="7419"/>
                </a:cubicBezTo>
                <a:cubicBezTo>
                  <a:pt x="15717" y="7415"/>
                  <a:pt x="15709" y="7427"/>
                  <a:pt x="15698" y="7456"/>
                </a:cubicBezTo>
                <a:cubicBezTo>
                  <a:pt x="15679" y="7508"/>
                  <a:pt x="15685" y="7491"/>
                  <a:pt x="15635" y="7511"/>
                </a:cubicBezTo>
                <a:cubicBezTo>
                  <a:pt x="15609" y="7521"/>
                  <a:pt x="15599" y="7532"/>
                  <a:pt x="15599" y="7548"/>
                </a:cubicBezTo>
                <a:cubicBezTo>
                  <a:pt x="15599" y="7567"/>
                  <a:pt x="15550" y="7628"/>
                  <a:pt x="15535" y="7628"/>
                </a:cubicBezTo>
                <a:cubicBezTo>
                  <a:pt x="15525" y="7628"/>
                  <a:pt x="15410" y="7760"/>
                  <a:pt x="15399" y="7784"/>
                </a:cubicBezTo>
                <a:cubicBezTo>
                  <a:pt x="15381" y="7819"/>
                  <a:pt x="15330" y="7833"/>
                  <a:pt x="15330" y="7856"/>
                </a:cubicBezTo>
                <a:cubicBezTo>
                  <a:pt x="15330" y="7880"/>
                  <a:pt x="15301" y="7876"/>
                  <a:pt x="15301" y="7898"/>
                </a:cubicBezTo>
                <a:cubicBezTo>
                  <a:pt x="15301" y="7906"/>
                  <a:pt x="15291" y="7920"/>
                  <a:pt x="15279" y="7929"/>
                </a:cubicBezTo>
                <a:cubicBezTo>
                  <a:pt x="15238" y="7957"/>
                  <a:pt x="15233" y="8021"/>
                  <a:pt x="15204" y="8011"/>
                </a:cubicBezTo>
                <a:cubicBezTo>
                  <a:pt x="15193" y="8008"/>
                  <a:pt x="15186" y="8012"/>
                  <a:pt x="15186" y="8021"/>
                </a:cubicBezTo>
                <a:cubicBezTo>
                  <a:pt x="15186" y="8043"/>
                  <a:pt x="15148" y="8073"/>
                  <a:pt x="15148" y="8098"/>
                </a:cubicBezTo>
                <a:cubicBezTo>
                  <a:pt x="15148" y="8122"/>
                  <a:pt x="15127" y="8106"/>
                  <a:pt x="15134" y="8092"/>
                </a:cubicBezTo>
                <a:cubicBezTo>
                  <a:pt x="15141" y="8079"/>
                  <a:pt x="15119" y="8077"/>
                  <a:pt x="15119" y="8098"/>
                </a:cubicBezTo>
                <a:cubicBezTo>
                  <a:pt x="15119" y="8127"/>
                  <a:pt x="15056" y="8129"/>
                  <a:pt x="15080" y="8146"/>
                </a:cubicBezTo>
                <a:cubicBezTo>
                  <a:pt x="15103" y="8160"/>
                  <a:pt x="15070" y="8190"/>
                  <a:pt x="15055" y="8183"/>
                </a:cubicBezTo>
                <a:cubicBezTo>
                  <a:pt x="15032" y="8174"/>
                  <a:pt x="15005" y="8196"/>
                  <a:pt x="15011" y="8220"/>
                </a:cubicBezTo>
                <a:cubicBezTo>
                  <a:pt x="15014" y="8233"/>
                  <a:pt x="15010" y="8244"/>
                  <a:pt x="15001" y="8248"/>
                </a:cubicBezTo>
                <a:cubicBezTo>
                  <a:pt x="14977" y="8256"/>
                  <a:pt x="14995" y="8276"/>
                  <a:pt x="14961" y="8301"/>
                </a:cubicBezTo>
                <a:cubicBezTo>
                  <a:pt x="14923" y="8328"/>
                  <a:pt x="14952" y="8332"/>
                  <a:pt x="14909" y="8370"/>
                </a:cubicBezTo>
                <a:cubicBezTo>
                  <a:pt x="14889" y="8388"/>
                  <a:pt x="14845" y="8442"/>
                  <a:pt x="14877" y="8442"/>
                </a:cubicBezTo>
                <a:cubicBezTo>
                  <a:pt x="14886" y="8442"/>
                  <a:pt x="14905" y="8434"/>
                  <a:pt x="14919" y="8424"/>
                </a:cubicBezTo>
                <a:cubicBezTo>
                  <a:pt x="14919" y="8424"/>
                  <a:pt x="14919" y="8424"/>
                  <a:pt x="14919" y="8424"/>
                </a:cubicBezTo>
                <a:close/>
                <a:moveTo>
                  <a:pt x="2118" y="15640"/>
                </a:moveTo>
                <a:cubicBezTo>
                  <a:pt x="2118" y="15626"/>
                  <a:pt x="2098" y="15627"/>
                  <a:pt x="2098" y="15640"/>
                </a:cubicBezTo>
                <a:cubicBezTo>
                  <a:pt x="2098" y="15646"/>
                  <a:pt x="2103" y="15650"/>
                  <a:pt x="2108" y="15650"/>
                </a:cubicBezTo>
                <a:cubicBezTo>
                  <a:pt x="2113" y="15650"/>
                  <a:pt x="2118" y="15646"/>
                  <a:pt x="2118" y="15640"/>
                </a:cubicBezTo>
                <a:cubicBezTo>
                  <a:pt x="2118" y="15640"/>
                  <a:pt x="2118" y="15640"/>
                  <a:pt x="2118" y="15640"/>
                </a:cubicBezTo>
                <a:close/>
                <a:moveTo>
                  <a:pt x="7919" y="21053"/>
                </a:moveTo>
                <a:cubicBezTo>
                  <a:pt x="7958" y="21011"/>
                  <a:pt x="7956" y="20990"/>
                  <a:pt x="7918" y="21029"/>
                </a:cubicBezTo>
                <a:cubicBezTo>
                  <a:pt x="7892" y="21055"/>
                  <a:pt x="7870" y="21092"/>
                  <a:pt x="7880" y="21092"/>
                </a:cubicBezTo>
                <a:cubicBezTo>
                  <a:pt x="7883" y="21092"/>
                  <a:pt x="7901" y="21074"/>
                  <a:pt x="7919" y="21053"/>
                </a:cubicBezTo>
                <a:cubicBezTo>
                  <a:pt x="7919" y="21053"/>
                  <a:pt x="7919" y="21053"/>
                  <a:pt x="7919" y="21053"/>
                </a:cubicBezTo>
                <a:close/>
                <a:moveTo>
                  <a:pt x="7855" y="21128"/>
                </a:moveTo>
                <a:cubicBezTo>
                  <a:pt x="7874" y="21104"/>
                  <a:pt x="7837" y="21108"/>
                  <a:pt x="7837" y="21128"/>
                </a:cubicBezTo>
                <a:cubicBezTo>
                  <a:pt x="7837" y="21137"/>
                  <a:pt x="7838" y="21144"/>
                  <a:pt x="7840" y="21144"/>
                </a:cubicBezTo>
                <a:cubicBezTo>
                  <a:pt x="7842" y="21144"/>
                  <a:pt x="7849" y="21137"/>
                  <a:pt x="7855" y="21128"/>
                </a:cubicBezTo>
                <a:cubicBezTo>
                  <a:pt x="7855" y="21128"/>
                  <a:pt x="7855" y="21128"/>
                  <a:pt x="7855" y="21128"/>
                </a:cubicBezTo>
                <a:close/>
                <a:moveTo>
                  <a:pt x="7212" y="21432"/>
                </a:moveTo>
                <a:cubicBezTo>
                  <a:pt x="7171" y="21401"/>
                  <a:pt x="7129" y="21362"/>
                  <a:pt x="7035" y="21367"/>
                </a:cubicBezTo>
                <a:cubicBezTo>
                  <a:pt x="6855" y="21373"/>
                  <a:pt x="6873" y="21295"/>
                  <a:pt x="6774" y="21325"/>
                </a:cubicBezTo>
                <a:cubicBezTo>
                  <a:pt x="6749" y="21332"/>
                  <a:pt x="6726" y="21343"/>
                  <a:pt x="6721" y="21350"/>
                </a:cubicBezTo>
                <a:cubicBezTo>
                  <a:pt x="6718" y="21356"/>
                  <a:pt x="6713" y="21358"/>
                  <a:pt x="6710" y="21354"/>
                </a:cubicBezTo>
                <a:cubicBezTo>
                  <a:pt x="6707" y="21351"/>
                  <a:pt x="6713" y="21338"/>
                  <a:pt x="6723" y="21324"/>
                </a:cubicBezTo>
                <a:cubicBezTo>
                  <a:pt x="6746" y="21295"/>
                  <a:pt x="6743" y="21287"/>
                  <a:pt x="6703" y="21278"/>
                </a:cubicBezTo>
                <a:cubicBezTo>
                  <a:pt x="6665" y="21269"/>
                  <a:pt x="6646" y="21253"/>
                  <a:pt x="6646" y="21227"/>
                </a:cubicBezTo>
                <a:cubicBezTo>
                  <a:pt x="6646" y="21217"/>
                  <a:pt x="6640" y="21207"/>
                  <a:pt x="6632" y="21207"/>
                </a:cubicBezTo>
                <a:cubicBezTo>
                  <a:pt x="6609" y="21207"/>
                  <a:pt x="6543" y="21135"/>
                  <a:pt x="6520" y="21084"/>
                </a:cubicBezTo>
                <a:cubicBezTo>
                  <a:pt x="6508" y="21058"/>
                  <a:pt x="6482" y="21022"/>
                  <a:pt x="6460" y="21002"/>
                </a:cubicBezTo>
                <a:cubicBezTo>
                  <a:pt x="6395" y="20944"/>
                  <a:pt x="6397" y="20891"/>
                  <a:pt x="6325" y="20796"/>
                </a:cubicBezTo>
                <a:cubicBezTo>
                  <a:pt x="6274" y="20725"/>
                  <a:pt x="6307" y="20779"/>
                  <a:pt x="6171" y="20578"/>
                </a:cubicBezTo>
                <a:cubicBezTo>
                  <a:pt x="6146" y="20541"/>
                  <a:pt x="5917" y="20202"/>
                  <a:pt x="5917" y="20173"/>
                </a:cubicBezTo>
                <a:cubicBezTo>
                  <a:pt x="5917" y="20166"/>
                  <a:pt x="5914" y="20160"/>
                  <a:pt x="5909" y="20160"/>
                </a:cubicBezTo>
                <a:cubicBezTo>
                  <a:pt x="5893" y="20160"/>
                  <a:pt x="5706" y="19858"/>
                  <a:pt x="5706" y="19832"/>
                </a:cubicBezTo>
                <a:cubicBezTo>
                  <a:pt x="5706" y="19825"/>
                  <a:pt x="5703" y="19821"/>
                  <a:pt x="5699" y="19821"/>
                </a:cubicBezTo>
                <a:cubicBezTo>
                  <a:pt x="5695" y="19821"/>
                  <a:pt x="5195" y="19085"/>
                  <a:pt x="5193" y="19081"/>
                </a:cubicBezTo>
                <a:cubicBezTo>
                  <a:pt x="5091" y="18906"/>
                  <a:pt x="4549" y="18262"/>
                  <a:pt x="4539" y="18248"/>
                </a:cubicBezTo>
                <a:cubicBezTo>
                  <a:pt x="4388" y="18051"/>
                  <a:pt x="3609" y="17186"/>
                  <a:pt x="3597" y="17186"/>
                </a:cubicBezTo>
                <a:cubicBezTo>
                  <a:pt x="3584" y="17186"/>
                  <a:pt x="3524" y="17111"/>
                  <a:pt x="3512" y="17111"/>
                </a:cubicBezTo>
                <a:cubicBezTo>
                  <a:pt x="3499" y="17111"/>
                  <a:pt x="3394" y="16996"/>
                  <a:pt x="3394" y="16981"/>
                </a:cubicBezTo>
                <a:cubicBezTo>
                  <a:pt x="3394" y="16961"/>
                  <a:pt x="3289" y="16874"/>
                  <a:pt x="3289" y="16851"/>
                </a:cubicBezTo>
                <a:cubicBezTo>
                  <a:pt x="3289" y="16842"/>
                  <a:pt x="3285" y="16837"/>
                  <a:pt x="3281" y="16840"/>
                </a:cubicBezTo>
                <a:cubicBezTo>
                  <a:pt x="3271" y="16847"/>
                  <a:pt x="3212" y="16790"/>
                  <a:pt x="3212" y="16774"/>
                </a:cubicBezTo>
                <a:cubicBezTo>
                  <a:pt x="3212" y="16767"/>
                  <a:pt x="3206" y="16762"/>
                  <a:pt x="3199" y="16762"/>
                </a:cubicBezTo>
                <a:cubicBezTo>
                  <a:pt x="3184" y="16762"/>
                  <a:pt x="3058" y="16629"/>
                  <a:pt x="3058" y="16614"/>
                </a:cubicBezTo>
                <a:cubicBezTo>
                  <a:pt x="3058" y="16607"/>
                  <a:pt x="3055" y="16605"/>
                  <a:pt x="3050" y="16608"/>
                </a:cubicBezTo>
                <a:cubicBezTo>
                  <a:pt x="3028" y="16622"/>
                  <a:pt x="2972" y="16497"/>
                  <a:pt x="2946" y="16497"/>
                </a:cubicBezTo>
                <a:cubicBezTo>
                  <a:pt x="2916" y="16497"/>
                  <a:pt x="2800" y="16352"/>
                  <a:pt x="2703" y="16261"/>
                </a:cubicBezTo>
                <a:cubicBezTo>
                  <a:pt x="2641" y="16201"/>
                  <a:pt x="2633" y="16158"/>
                  <a:pt x="2611" y="16158"/>
                </a:cubicBezTo>
                <a:cubicBezTo>
                  <a:pt x="2588" y="16158"/>
                  <a:pt x="2618" y="16129"/>
                  <a:pt x="2598" y="16142"/>
                </a:cubicBezTo>
                <a:cubicBezTo>
                  <a:pt x="2586" y="16151"/>
                  <a:pt x="2541" y="16101"/>
                  <a:pt x="2513" y="16051"/>
                </a:cubicBezTo>
                <a:cubicBezTo>
                  <a:pt x="2504" y="16034"/>
                  <a:pt x="2488" y="16018"/>
                  <a:pt x="2476" y="16015"/>
                </a:cubicBezTo>
                <a:cubicBezTo>
                  <a:pt x="2450" y="16008"/>
                  <a:pt x="2420" y="15972"/>
                  <a:pt x="2420" y="15949"/>
                </a:cubicBezTo>
                <a:cubicBezTo>
                  <a:pt x="2420" y="15939"/>
                  <a:pt x="2413" y="15931"/>
                  <a:pt x="2403" y="15932"/>
                </a:cubicBezTo>
                <a:cubicBezTo>
                  <a:pt x="2382" y="15934"/>
                  <a:pt x="2324" y="15862"/>
                  <a:pt x="2211" y="15758"/>
                </a:cubicBezTo>
                <a:cubicBezTo>
                  <a:pt x="2104" y="15660"/>
                  <a:pt x="2069" y="15623"/>
                  <a:pt x="2069" y="15608"/>
                </a:cubicBezTo>
                <a:cubicBezTo>
                  <a:pt x="2069" y="15589"/>
                  <a:pt x="2044" y="15565"/>
                  <a:pt x="2028" y="15572"/>
                </a:cubicBezTo>
                <a:cubicBezTo>
                  <a:pt x="2019" y="15576"/>
                  <a:pt x="2003" y="15562"/>
                  <a:pt x="1983" y="15535"/>
                </a:cubicBezTo>
                <a:cubicBezTo>
                  <a:pt x="1966" y="15511"/>
                  <a:pt x="1949" y="15495"/>
                  <a:pt x="1945" y="15497"/>
                </a:cubicBezTo>
                <a:cubicBezTo>
                  <a:pt x="1936" y="15504"/>
                  <a:pt x="1840" y="15396"/>
                  <a:pt x="1824" y="15396"/>
                </a:cubicBezTo>
                <a:cubicBezTo>
                  <a:pt x="1807" y="15396"/>
                  <a:pt x="1807" y="15365"/>
                  <a:pt x="1791" y="15365"/>
                </a:cubicBezTo>
                <a:cubicBezTo>
                  <a:pt x="1781" y="15365"/>
                  <a:pt x="1711" y="15292"/>
                  <a:pt x="1710" y="15279"/>
                </a:cubicBezTo>
                <a:cubicBezTo>
                  <a:pt x="1710" y="15267"/>
                  <a:pt x="1662" y="15217"/>
                  <a:pt x="1651" y="15217"/>
                </a:cubicBezTo>
                <a:cubicBezTo>
                  <a:pt x="1646" y="15217"/>
                  <a:pt x="1630" y="15204"/>
                  <a:pt x="1618" y="15189"/>
                </a:cubicBezTo>
                <a:cubicBezTo>
                  <a:pt x="1605" y="15174"/>
                  <a:pt x="1565" y="15141"/>
                  <a:pt x="1530" y="15115"/>
                </a:cubicBezTo>
                <a:cubicBezTo>
                  <a:pt x="1420" y="15038"/>
                  <a:pt x="1469" y="15024"/>
                  <a:pt x="1412" y="14968"/>
                </a:cubicBezTo>
                <a:cubicBezTo>
                  <a:pt x="1375" y="14930"/>
                  <a:pt x="1402" y="14930"/>
                  <a:pt x="1356" y="14911"/>
                </a:cubicBezTo>
                <a:cubicBezTo>
                  <a:pt x="1307" y="14893"/>
                  <a:pt x="1333" y="14879"/>
                  <a:pt x="1276" y="14837"/>
                </a:cubicBezTo>
                <a:cubicBezTo>
                  <a:pt x="1220" y="14796"/>
                  <a:pt x="1102" y="14684"/>
                  <a:pt x="1102" y="14668"/>
                </a:cubicBezTo>
                <a:cubicBezTo>
                  <a:pt x="1101" y="14661"/>
                  <a:pt x="1091" y="14650"/>
                  <a:pt x="1079" y="14645"/>
                </a:cubicBezTo>
                <a:cubicBezTo>
                  <a:pt x="1048" y="14630"/>
                  <a:pt x="656" y="14302"/>
                  <a:pt x="578" y="14233"/>
                </a:cubicBezTo>
                <a:cubicBezTo>
                  <a:pt x="441" y="14119"/>
                  <a:pt x="108" y="13705"/>
                  <a:pt x="65" y="13661"/>
                </a:cubicBezTo>
                <a:cubicBezTo>
                  <a:pt x="-68" y="13521"/>
                  <a:pt x="48" y="13613"/>
                  <a:pt x="26" y="13482"/>
                </a:cubicBezTo>
                <a:cubicBezTo>
                  <a:pt x="7" y="13368"/>
                  <a:pt x="77" y="13392"/>
                  <a:pt x="54" y="13301"/>
                </a:cubicBezTo>
                <a:cubicBezTo>
                  <a:pt x="45" y="13262"/>
                  <a:pt x="47" y="13257"/>
                  <a:pt x="74" y="13225"/>
                </a:cubicBezTo>
                <a:cubicBezTo>
                  <a:pt x="90" y="13207"/>
                  <a:pt x="103" y="13185"/>
                  <a:pt x="103" y="13176"/>
                </a:cubicBezTo>
                <a:cubicBezTo>
                  <a:pt x="103" y="13124"/>
                  <a:pt x="138" y="13111"/>
                  <a:pt x="108" y="13056"/>
                </a:cubicBezTo>
                <a:cubicBezTo>
                  <a:pt x="76" y="12997"/>
                  <a:pt x="122" y="13027"/>
                  <a:pt x="122" y="12988"/>
                </a:cubicBezTo>
                <a:cubicBezTo>
                  <a:pt x="122" y="12980"/>
                  <a:pt x="126" y="12973"/>
                  <a:pt x="131" y="12973"/>
                </a:cubicBezTo>
                <a:cubicBezTo>
                  <a:pt x="147" y="12973"/>
                  <a:pt x="207" y="12838"/>
                  <a:pt x="208" y="12819"/>
                </a:cubicBezTo>
                <a:cubicBezTo>
                  <a:pt x="208" y="12786"/>
                  <a:pt x="262" y="12757"/>
                  <a:pt x="272" y="12698"/>
                </a:cubicBezTo>
                <a:cubicBezTo>
                  <a:pt x="281" y="12635"/>
                  <a:pt x="304" y="12591"/>
                  <a:pt x="304" y="12525"/>
                </a:cubicBezTo>
                <a:cubicBezTo>
                  <a:pt x="304" y="12480"/>
                  <a:pt x="332" y="12405"/>
                  <a:pt x="355" y="12385"/>
                </a:cubicBezTo>
                <a:cubicBezTo>
                  <a:pt x="362" y="12380"/>
                  <a:pt x="373" y="12344"/>
                  <a:pt x="380" y="12307"/>
                </a:cubicBezTo>
                <a:cubicBezTo>
                  <a:pt x="407" y="12153"/>
                  <a:pt x="553" y="12078"/>
                  <a:pt x="566" y="11986"/>
                </a:cubicBezTo>
                <a:cubicBezTo>
                  <a:pt x="578" y="11902"/>
                  <a:pt x="719" y="11826"/>
                  <a:pt x="750" y="11742"/>
                </a:cubicBezTo>
                <a:cubicBezTo>
                  <a:pt x="780" y="11660"/>
                  <a:pt x="832" y="11748"/>
                  <a:pt x="832" y="11628"/>
                </a:cubicBezTo>
                <a:cubicBezTo>
                  <a:pt x="832" y="11596"/>
                  <a:pt x="837" y="11573"/>
                  <a:pt x="846" y="11565"/>
                </a:cubicBezTo>
                <a:cubicBezTo>
                  <a:pt x="854" y="11558"/>
                  <a:pt x="860" y="11547"/>
                  <a:pt x="860" y="11541"/>
                </a:cubicBezTo>
                <a:cubicBezTo>
                  <a:pt x="860" y="11510"/>
                  <a:pt x="986" y="11414"/>
                  <a:pt x="986" y="11355"/>
                </a:cubicBezTo>
                <a:cubicBezTo>
                  <a:pt x="986" y="11305"/>
                  <a:pt x="1018" y="11311"/>
                  <a:pt x="989" y="11299"/>
                </a:cubicBezTo>
                <a:cubicBezTo>
                  <a:pt x="955" y="11284"/>
                  <a:pt x="1030" y="11300"/>
                  <a:pt x="1040" y="11274"/>
                </a:cubicBezTo>
                <a:cubicBezTo>
                  <a:pt x="1048" y="11249"/>
                  <a:pt x="1069" y="11268"/>
                  <a:pt x="1076" y="11237"/>
                </a:cubicBezTo>
                <a:cubicBezTo>
                  <a:pt x="1096" y="11169"/>
                  <a:pt x="1225" y="11338"/>
                  <a:pt x="1225" y="11212"/>
                </a:cubicBezTo>
                <a:cubicBezTo>
                  <a:pt x="1225" y="11166"/>
                  <a:pt x="1230" y="11162"/>
                  <a:pt x="1269" y="11177"/>
                </a:cubicBezTo>
                <a:cubicBezTo>
                  <a:pt x="1311" y="11194"/>
                  <a:pt x="1551" y="11449"/>
                  <a:pt x="1551" y="11479"/>
                </a:cubicBezTo>
                <a:cubicBezTo>
                  <a:pt x="1551" y="11503"/>
                  <a:pt x="1636" y="11576"/>
                  <a:pt x="1664" y="11576"/>
                </a:cubicBezTo>
                <a:cubicBezTo>
                  <a:pt x="1678" y="11576"/>
                  <a:pt x="2494" y="12219"/>
                  <a:pt x="2519" y="12287"/>
                </a:cubicBezTo>
                <a:cubicBezTo>
                  <a:pt x="2534" y="12332"/>
                  <a:pt x="2584" y="12321"/>
                  <a:pt x="2611" y="12350"/>
                </a:cubicBezTo>
                <a:cubicBezTo>
                  <a:pt x="2784" y="12523"/>
                  <a:pt x="3094" y="12799"/>
                  <a:pt x="3094" y="12799"/>
                </a:cubicBezTo>
                <a:cubicBezTo>
                  <a:pt x="3096" y="12808"/>
                  <a:pt x="3101" y="12812"/>
                  <a:pt x="3105" y="12809"/>
                </a:cubicBezTo>
                <a:cubicBezTo>
                  <a:pt x="3116" y="12803"/>
                  <a:pt x="3346" y="13013"/>
                  <a:pt x="3333" y="12999"/>
                </a:cubicBezTo>
                <a:cubicBezTo>
                  <a:pt x="3763" y="13367"/>
                  <a:pt x="5032" y="14616"/>
                  <a:pt x="5044" y="14630"/>
                </a:cubicBezTo>
                <a:cubicBezTo>
                  <a:pt x="6307" y="15938"/>
                  <a:pt x="6838" y="16627"/>
                  <a:pt x="6838" y="16627"/>
                </a:cubicBezTo>
                <a:cubicBezTo>
                  <a:pt x="6849" y="16634"/>
                  <a:pt x="6858" y="16644"/>
                  <a:pt x="6858" y="16649"/>
                </a:cubicBezTo>
                <a:cubicBezTo>
                  <a:pt x="6858" y="16658"/>
                  <a:pt x="6877" y="16679"/>
                  <a:pt x="6936" y="16736"/>
                </a:cubicBezTo>
                <a:cubicBezTo>
                  <a:pt x="7014" y="16813"/>
                  <a:pt x="7208" y="17122"/>
                  <a:pt x="7248" y="17106"/>
                </a:cubicBezTo>
                <a:cubicBezTo>
                  <a:pt x="7261" y="17102"/>
                  <a:pt x="7337" y="17196"/>
                  <a:pt x="7337" y="17217"/>
                </a:cubicBezTo>
                <a:cubicBezTo>
                  <a:pt x="7337" y="17239"/>
                  <a:pt x="7462" y="17361"/>
                  <a:pt x="7462" y="17387"/>
                </a:cubicBezTo>
                <a:cubicBezTo>
                  <a:pt x="7462" y="17406"/>
                  <a:pt x="7524" y="17495"/>
                  <a:pt x="7541" y="17500"/>
                </a:cubicBezTo>
                <a:cubicBezTo>
                  <a:pt x="7550" y="17503"/>
                  <a:pt x="7558" y="17510"/>
                  <a:pt x="7558" y="17516"/>
                </a:cubicBezTo>
                <a:cubicBezTo>
                  <a:pt x="7558" y="17533"/>
                  <a:pt x="7672" y="17710"/>
                  <a:pt x="7674" y="17729"/>
                </a:cubicBezTo>
                <a:cubicBezTo>
                  <a:pt x="7674" y="17736"/>
                  <a:pt x="7690" y="17752"/>
                  <a:pt x="7709" y="17765"/>
                </a:cubicBezTo>
                <a:cubicBezTo>
                  <a:pt x="7740" y="17787"/>
                  <a:pt x="7745" y="17788"/>
                  <a:pt x="7765" y="17773"/>
                </a:cubicBezTo>
                <a:cubicBezTo>
                  <a:pt x="7824" y="17732"/>
                  <a:pt x="7809" y="17818"/>
                  <a:pt x="7978" y="17568"/>
                </a:cubicBezTo>
                <a:cubicBezTo>
                  <a:pt x="8063" y="17441"/>
                  <a:pt x="8223" y="17250"/>
                  <a:pt x="8224" y="17249"/>
                </a:cubicBezTo>
                <a:cubicBezTo>
                  <a:pt x="8286" y="17157"/>
                  <a:pt x="8487" y="16832"/>
                  <a:pt x="8551" y="16757"/>
                </a:cubicBezTo>
                <a:cubicBezTo>
                  <a:pt x="8563" y="16743"/>
                  <a:pt x="9190" y="15800"/>
                  <a:pt x="9264" y="15719"/>
                </a:cubicBezTo>
                <a:cubicBezTo>
                  <a:pt x="9284" y="15693"/>
                  <a:pt x="9264" y="15687"/>
                  <a:pt x="9305" y="15645"/>
                </a:cubicBezTo>
                <a:cubicBezTo>
                  <a:pt x="9351" y="15595"/>
                  <a:pt x="9347" y="15563"/>
                  <a:pt x="9400" y="15496"/>
                </a:cubicBezTo>
                <a:cubicBezTo>
                  <a:pt x="9439" y="15448"/>
                  <a:pt x="9466" y="15407"/>
                  <a:pt x="9487" y="15367"/>
                </a:cubicBezTo>
                <a:cubicBezTo>
                  <a:pt x="9495" y="15352"/>
                  <a:pt x="9510" y="15330"/>
                  <a:pt x="9521" y="15318"/>
                </a:cubicBezTo>
                <a:cubicBezTo>
                  <a:pt x="9551" y="15282"/>
                  <a:pt x="9767" y="14927"/>
                  <a:pt x="9796" y="14911"/>
                </a:cubicBezTo>
                <a:cubicBezTo>
                  <a:pt x="9801" y="14910"/>
                  <a:pt x="9803" y="14904"/>
                  <a:pt x="9803" y="14899"/>
                </a:cubicBezTo>
                <a:cubicBezTo>
                  <a:pt x="9803" y="14880"/>
                  <a:pt x="10115" y="14408"/>
                  <a:pt x="10156" y="14360"/>
                </a:cubicBezTo>
                <a:cubicBezTo>
                  <a:pt x="10191" y="14320"/>
                  <a:pt x="10170" y="14308"/>
                  <a:pt x="10227" y="14241"/>
                </a:cubicBezTo>
                <a:cubicBezTo>
                  <a:pt x="10322" y="14130"/>
                  <a:pt x="10833" y="13378"/>
                  <a:pt x="11002" y="13158"/>
                </a:cubicBezTo>
                <a:cubicBezTo>
                  <a:pt x="11077" y="13061"/>
                  <a:pt x="11044" y="13104"/>
                  <a:pt x="11114" y="13009"/>
                </a:cubicBezTo>
                <a:cubicBezTo>
                  <a:pt x="11177" y="12925"/>
                  <a:pt x="11167" y="12897"/>
                  <a:pt x="11197" y="12878"/>
                </a:cubicBezTo>
                <a:cubicBezTo>
                  <a:pt x="11197" y="12878"/>
                  <a:pt x="12152" y="11619"/>
                  <a:pt x="12152" y="11619"/>
                </a:cubicBezTo>
                <a:cubicBezTo>
                  <a:pt x="12207" y="11529"/>
                  <a:pt x="12317" y="11420"/>
                  <a:pt x="12317" y="11386"/>
                </a:cubicBezTo>
                <a:cubicBezTo>
                  <a:pt x="12317" y="11379"/>
                  <a:pt x="12323" y="11375"/>
                  <a:pt x="12330" y="11375"/>
                </a:cubicBezTo>
                <a:cubicBezTo>
                  <a:pt x="12345" y="11375"/>
                  <a:pt x="12431" y="11282"/>
                  <a:pt x="12433" y="11264"/>
                </a:cubicBezTo>
                <a:cubicBezTo>
                  <a:pt x="12433" y="11240"/>
                  <a:pt x="13652" y="9744"/>
                  <a:pt x="13688" y="9703"/>
                </a:cubicBezTo>
                <a:cubicBezTo>
                  <a:pt x="13700" y="9689"/>
                  <a:pt x="15133" y="7924"/>
                  <a:pt x="15188" y="7924"/>
                </a:cubicBezTo>
                <a:cubicBezTo>
                  <a:pt x="15192" y="7924"/>
                  <a:pt x="15196" y="7917"/>
                  <a:pt x="15196" y="7908"/>
                </a:cubicBezTo>
                <a:cubicBezTo>
                  <a:pt x="15196" y="7899"/>
                  <a:pt x="15201" y="7892"/>
                  <a:pt x="15208" y="7891"/>
                </a:cubicBezTo>
                <a:cubicBezTo>
                  <a:pt x="15219" y="7891"/>
                  <a:pt x="15291" y="7784"/>
                  <a:pt x="15312" y="7779"/>
                </a:cubicBezTo>
                <a:cubicBezTo>
                  <a:pt x="15322" y="7775"/>
                  <a:pt x="15330" y="7764"/>
                  <a:pt x="15330" y="7753"/>
                </a:cubicBezTo>
                <a:cubicBezTo>
                  <a:pt x="15330" y="7742"/>
                  <a:pt x="15334" y="7733"/>
                  <a:pt x="15340" y="7733"/>
                </a:cubicBezTo>
                <a:cubicBezTo>
                  <a:pt x="15357" y="7733"/>
                  <a:pt x="15585" y="7455"/>
                  <a:pt x="15695" y="7347"/>
                </a:cubicBezTo>
                <a:cubicBezTo>
                  <a:pt x="15772" y="7272"/>
                  <a:pt x="15823" y="7144"/>
                  <a:pt x="15856" y="7153"/>
                </a:cubicBezTo>
                <a:cubicBezTo>
                  <a:pt x="15874" y="7160"/>
                  <a:pt x="16009" y="6976"/>
                  <a:pt x="16033" y="6988"/>
                </a:cubicBezTo>
                <a:cubicBezTo>
                  <a:pt x="16057" y="6998"/>
                  <a:pt x="16048" y="6945"/>
                  <a:pt x="16079" y="6934"/>
                </a:cubicBezTo>
                <a:cubicBezTo>
                  <a:pt x="16089" y="6931"/>
                  <a:pt x="16098" y="6924"/>
                  <a:pt x="16098" y="6918"/>
                </a:cubicBezTo>
                <a:cubicBezTo>
                  <a:pt x="16098" y="6905"/>
                  <a:pt x="16256" y="6730"/>
                  <a:pt x="16307" y="6685"/>
                </a:cubicBezTo>
                <a:cubicBezTo>
                  <a:pt x="16379" y="6622"/>
                  <a:pt x="16425" y="6574"/>
                  <a:pt x="16436" y="6549"/>
                </a:cubicBezTo>
                <a:cubicBezTo>
                  <a:pt x="16445" y="6529"/>
                  <a:pt x="16616" y="6365"/>
                  <a:pt x="16616" y="6344"/>
                </a:cubicBezTo>
                <a:cubicBezTo>
                  <a:pt x="16616" y="6340"/>
                  <a:pt x="16622" y="6336"/>
                  <a:pt x="16628" y="6336"/>
                </a:cubicBezTo>
                <a:cubicBezTo>
                  <a:pt x="16649" y="6336"/>
                  <a:pt x="16708" y="6251"/>
                  <a:pt x="16727" y="6251"/>
                </a:cubicBezTo>
                <a:cubicBezTo>
                  <a:pt x="16742" y="6251"/>
                  <a:pt x="16792" y="6158"/>
                  <a:pt x="16803" y="6191"/>
                </a:cubicBezTo>
                <a:cubicBezTo>
                  <a:pt x="16815" y="6222"/>
                  <a:pt x="16851" y="6178"/>
                  <a:pt x="16851" y="6154"/>
                </a:cubicBezTo>
                <a:cubicBezTo>
                  <a:pt x="16851" y="6128"/>
                  <a:pt x="16875" y="6109"/>
                  <a:pt x="16875" y="6152"/>
                </a:cubicBezTo>
                <a:cubicBezTo>
                  <a:pt x="16875" y="6229"/>
                  <a:pt x="16928" y="6081"/>
                  <a:pt x="16904" y="6098"/>
                </a:cubicBezTo>
                <a:cubicBezTo>
                  <a:pt x="16891" y="6107"/>
                  <a:pt x="16900" y="6068"/>
                  <a:pt x="16923" y="6075"/>
                </a:cubicBezTo>
                <a:cubicBezTo>
                  <a:pt x="16941" y="6080"/>
                  <a:pt x="17029" y="5996"/>
                  <a:pt x="17029" y="5973"/>
                </a:cubicBezTo>
                <a:cubicBezTo>
                  <a:pt x="17029" y="5949"/>
                  <a:pt x="17256" y="5705"/>
                  <a:pt x="17260" y="5707"/>
                </a:cubicBezTo>
                <a:cubicBezTo>
                  <a:pt x="17265" y="5711"/>
                  <a:pt x="17268" y="5706"/>
                  <a:pt x="17268" y="5698"/>
                </a:cubicBezTo>
                <a:cubicBezTo>
                  <a:pt x="17268" y="5684"/>
                  <a:pt x="17321" y="5648"/>
                  <a:pt x="17340" y="5648"/>
                </a:cubicBezTo>
                <a:cubicBezTo>
                  <a:pt x="17362" y="5648"/>
                  <a:pt x="17551" y="5415"/>
                  <a:pt x="17587" y="5415"/>
                </a:cubicBezTo>
                <a:cubicBezTo>
                  <a:pt x="17615" y="5415"/>
                  <a:pt x="17666" y="5341"/>
                  <a:pt x="17657" y="5360"/>
                </a:cubicBezTo>
                <a:cubicBezTo>
                  <a:pt x="17634" y="5414"/>
                  <a:pt x="17774" y="5290"/>
                  <a:pt x="17747" y="5288"/>
                </a:cubicBezTo>
                <a:cubicBezTo>
                  <a:pt x="17738" y="5288"/>
                  <a:pt x="17725" y="5299"/>
                  <a:pt x="17716" y="5312"/>
                </a:cubicBezTo>
                <a:cubicBezTo>
                  <a:pt x="17709" y="5325"/>
                  <a:pt x="17699" y="5333"/>
                  <a:pt x="17696" y="5329"/>
                </a:cubicBezTo>
                <a:cubicBezTo>
                  <a:pt x="17690" y="5322"/>
                  <a:pt x="17835" y="5184"/>
                  <a:pt x="17835" y="5164"/>
                </a:cubicBezTo>
                <a:cubicBezTo>
                  <a:pt x="17835" y="5156"/>
                  <a:pt x="17839" y="5152"/>
                  <a:pt x="17843" y="5156"/>
                </a:cubicBezTo>
                <a:cubicBezTo>
                  <a:pt x="17848" y="5159"/>
                  <a:pt x="17860" y="5151"/>
                  <a:pt x="17870" y="5137"/>
                </a:cubicBezTo>
                <a:cubicBezTo>
                  <a:pt x="17888" y="5115"/>
                  <a:pt x="17962" y="5055"/>
                  <a:pt x="17939" y="5096"/>
                </a:cubicBezTo>
                <a:cubicBezTo>
                  <a:pt x="17932" y="5108"/>
                  <a:pt x="17918" y="5123"/>
                  <a:pt x="17907" y="5129"/>
                </a:cubicBezTo>
                <a:cubicBezTo>
                  <a:pt x="17884" y="5144"/>
                  <a:pt x="17840" y="5202"/>
                  <a:pt x="17846" y="5210"/>
                </a:cubicBezTo>
                <a:cubicBezTo>
                  <a:pt x="17854" y="5217"/>
                  <a:pt x="18248" y="4865"/>
                  <a:pt x="18255" y="4865"/>
                </a:cubicBezTo>
                <a:cubicBezTo>
                  <a:pt x="18267" y="4865"/>
                  <a:pt x="18801" y="4367"/>
                  <a:pt x="18829" y="4367"/>
                </a:cubicBezTo>
                <a:cubicBezTo>
                  <a:pt x="18843" y="4367"/>
                  <a:pt x="18880" y="4314"/>
                  <a:pt x="18885" y="4314"/>
                </a:cubicBezTo>
                <a:cubicBezTo>
                  <a:pt x="18890" y="4314"/>
                  <a:pt x="18980" y="4247"/>
                  <a:pt x="18991" y="4245"/>
                </a:cubicBezTo>
                <a:cubicBezTo>
                  <a:pt x="19099" y="4233"/>
                  <a:pt x="19153" y="4116"/>
                  <a:pt x="19225" y="4069"/>
                </a:cubicBezTo>
                <a:cubicBezTo>
                  <a:pt x="19314" y="4008"/>
                  <a:pt x="19381" y="3912"/>
                  <a:pt x="19399" y="3945"/>
                </a:cubicBezTo>
                <a:cubicBezTo>
                  <a:pt x="19413" y="3971"/>
                  <a:pt x="19418" y="3933"/>
                  <a:pt x="19445" y="3933"/>
                </a:cubicBezTo>
                <a:cubicBezTo>
                  <a:pt x="19462" y="3933"/>
                  <a:pt x="19542" y="3890"/>
                  <a:pt x="19542" y="3882"/>
                </a:cubicBezTo>
                <a:cubicBezTo>
                  <a:pt x="19543" y="3869"/>
                  <a:pt x="19590" y="3812"/>
                  <a:pt x="19590" y="3824"/>
                </a:cubicBezTo>
                <a:cubicBezTo>
                  <a:pt x="19590" y="3841"/>
                  <a:pt x="19535" y="3915"/>
                  <a:pt x="19506" y="3935"/>
                </a:cubicBezTo>
                <a:cubicBezTo>
                  <a:pt x="19473" y="3959"/>
                  <a:pt x="19450" y="3997"/>
                  <a:pt x="19436" y="4019"/>
                </a:cubicBezTo>
                <a:cubicBezTo>
                  <a:pt x="19455" y="4007"/>
                  <a:pt x="20417" y="3223"/>
                  <a:pt x="20435" y="3212"/>
                </a:cubicBezTo>
                <a:cubicBezTo>
                  <a:pt x="20531" y="3155"/>
                  <a:pt x="20791" y="2949"/>
                  <a:pt x="20809" y="2949"/>
                </a:cubicBezTo>
                <a:cubicBezTo>
                  <a:pt x="20815" y="2949"/>
                  <a:pt x="20819" y="2943"/>
                  <a:pt x="20819" y="2937"/>
                </a:cubicBezTo>
                <a:cubicBezTo>
                  <a:pt x="20819" y="2930"/>
                  <a:pt x="20820" y="2927"/>
                  <a:pt x="20823" y="2929"/>
                </a:cubicBezTo>
                <a:cubicBezTo>
                  <a:pt x="20832" y="2939"/>
                  <a:pt x="20817" y="2979"/>
                  <a:pt x="20806" y="2975"/>
                </a:cubicBezTo>
                <a:cubicBezTo>
                  <a:pt x="20799" y="2972"/>
                  <a:pt x="20790" y="2980"/>
                  <a:pt x="20785" y="2994"/>
                </a:cubicBezTo>
                <a:cubicBezTo>
                  <a:pt x="20772" y="3026"/>
                  <a:pt x="20743" y="3030"/>
                  <a:pt x="20709" y="3062"/>
                </a:cubicBezTo>
                <a:cubicBezTo>
                  <a:pt x="20636" y="3135"/>
                  <a:pt x="20598" y="3102"/>
                  <a:pt x="20598" y="3139"/>
                </a:cubicBezTo>
                <a:cubicBezTo>
                  <a:pt x="20598" y="3171"/>
                  <a:pt x="20486" y="3240"/>
                  <a:pt x="20448" y="3285"/>
                </a:cubicBezTo>
                <a:cubicBezTo>
                  <a:pt x="20435" y="3298"/>
                  <a:pt x="20112" y="3562"/>
                  <a:pt x="20183" y="3516"/>
                </a:cubicBezTo>
                <a:cubicBezTo>
                  <a:pt x="20200" y="3507"/>
                  <a:pt x="20199" y="3531"/>
                  <a:pt x="20179" y="3531"/>
                </a:cubicBezTo>
                <a:cubicBezTo>
                  <a:pt x="20146" y="3531"/>
                  <a:pt x="20065" y="3652"/>
                  <a:pt x="19991" y="3705"/>
                </a:cubicBezTo>
                <a:cubicBezTo>
                  <a:pt x="19951" y="3734"/>
                  <a:pt x="19975" y="3743"/>
                  <a:pt x="19916" y="3790"/>
                </a:cubicBezTo>
                <a:cubicBezTo>
                  <a:pt x="19888" y="3812"/>
                  <a:pt x="19823" y="3879"/>
                  <a:pt x="19857" y="3877"/>
                </a:cubicBezTo>
                <a:cubicBezTo>
                  <a:pt x="19877" y="3875"/>
                  <a:pt x="19881" y="3930"/>
                  <a:pt x="19862" y="3938"/>
                </a:cubicBezTo>
                <a:cubicBezTo>
                  <a:pt x="19855" y="3941"/>
                  <a:pt x="19851" y="3939"/>
                  <a:pt x="19855" y="3933"/>
                </a:cubicBezTo>
                <a:cubicBezTo>
                  <a:pt x="19863" y="3917"/>
                  <a:pt x="19826" y="3916"/>
                  <a:pt x="19848" y="3951"/>
                </a:cubicBezTo>
                <a:cubicBezTo>
                  <a:pt x="19860" y="3974"/>
                  <a:pt x="19896" y="3939"/>
                  <a:pt x="19891" y="3909"/>
                </a:cubicBezTo>
                <a:cubicBezTo>
                  <a:pt x="19888" y="3894"/>
                  <a:pt x="19893" y="3878"/>
                  <a:pt x="19906" y="3866"/>
                </a:cubicBezTo>
                <a:cubicBezTo>
                  <a:pt x="19926" y="3845"/>
                  <a:pt x="19934" y="3821"/>
                  <a:pt x="19916" y="3833"/>
                </a:cubicBezTo>
                <a:cubicBezTo>
                  <a:pt x="19904" y="3841"/>
                  <a:pt x="19901" y="3817"/>
                  <a:pt x="19926" y="3809"/>
                </a:cubicBezTo>
                <a:cubicBezTo>
                  <a:pt x="19956" y="3800"/>
                  <a:pt x="19931" y="3793"/>
                  <a:pt x="19974" y="3770"/>
                </a:cubicBezTo>
                <a:cubicBezTo>
                  <a:pt x="20012" y="3748"/>
                  <a:pt x="20011" y="3755"/>
                  <a:pt x="19968" y="3802"/>
                </a:cubicBezTo>
                <a:cubicBezTo>
                  <a:pt x="19896" y="3881"/>
                  <a:pt x="20004" y="3821"/>
                  <a:pt x="19935" y="3884"/>
                </a:cubicBezTo>
                <a:cubicBezTo>
                  <a:pt x="19894" y="3918"/>
                  <a:pt x="19907" y="3926"/>
                  <a:pt x="19955" y="3882"/>
                </a:cubicBezTo>
                <a:cubicBezTo>
                  <a:pt x="20001" y="3840"/>
                  <a:pt x="20043" y="3837"/>
                  <a:pt x="20071" y="3811"/>
                </a:cubicBezTo>
                <a:cubicBezTo>
                  <a:pt x="20080" y="3801"/>
                  <a:pt x="20093" y="3793"/>
                  <a:pt x="20101" y="3791"/>
                </a:cubicBezTo>
                <a:cubicBezTo>
                  <a:pt x="20132" y="3785"/>
                  <a:pt x="20167" y="3763"/>
                  <a:pt x="20162" y="3755"/>
                </a:cubicBezTo>
                <a:cubicBezTo>
                  <a:pt x="20159" y="3749"/>
                  <a:pt x="20165" y="3747"/>
                  <a:pt x="20174" y="3750"/>
                </a:cubicBezTo>
                <a:cubicBezTo>
                  <a:pt x="20184" y="3753"/>
                  <a:pt x="20209" y="3743"/>
                  <a:pt x="20228" y="3727"/>
                </a:cubicBezTo>
                <a:cubicBezTo>
                  <a:pt x="20280" y="3688"/>
                  <a:pt x="20285" y="3708"/>
                  <a:pt x="20295" y="3684"/>
                </a:cubicBezTo>
                <a:cubicBezTo>
                  <a:pt x="20303" y="3658"/>
                  <a:pt x="20317" y="3689"/>
                  <a:pt x="20342" y="3651"/>
                </a:cubicBezTo>
                <a:cubicBezTo>
                  <a:pt x="20355" y="3632"/>
                  <a:pt x="20356" y="3627"/>
                  <a:pt x="20346" y="3627"/>
                </a:cubicBezTo>
                <a:cubicBezTo>
                  <a:pt x="20338" y="3627"/>
                  <a:pt x="20329" y="3630"/>
                  <a:pt x="20326" y="3634"/>
                </a:cubicBezTo>
                <a:cubicBezTo>
                  <a:pt x="20318" y="3643"/>
                  <a:pt x="20261" y="3654"/>
                  <a:pt x="20304" y="3633"/>
                </a:cubicBezTo>
                <a:cubicBezTo>
                  <a:pt x="20352" y="3608"/>
                  <a:pt x="20342" y="3580"/>
                  <a:pt x="20358" y="3604"/>
                </a:cubicBezTo>
                <a:cubicBezTo>
                  <a:pt x="20380" y="3646"/>
                  <a:pt x="20543" y="3450"/>
                  <a:pt x="20525" y="3504"/>
                </a:cubicBezTo>
                <a:cubicBezTo>
                  <a:pt x="20512" y="3540"/>
                  <a:pt x="20555" y="3525"/>
                  <a:pt x="20532" y="3557"/>
                </a:cubicBezTo>
                <a:cubicBezTo>
                  <a:pt x="20514" y="3579"/>
                  <a:pt x="20501" y="3578"/>
                  <a:pt x="20509" y="3555"/>
                </a:cubicBezTo>
                <a:cubicBezTo>
                  <a:pt x="20514" y="3538"/>
                  <a:pt x="20514" y="3538"/>
                  <a:pt x="20496" y="3554"/>
                </a:cubicBezTo>
                <a:cubicBezTo>
                  <a:pt x="20467" y="3581"/>
                  <a:pt x="20439" y="3546"/>
                  <a:pt x="20463" y="3577"/>
                </a:cubicBezTo>
                <a:cubicBezTo>
                  <a:pt x="20487" y="3612"/>
                  <a:pt x="20432" y="3641"/>
                  <a:pt x="20424" y="3618"/>
                </a:cubicBezTo>
                <a:cubicBezTo>
                  <a:pt x="20422" y="3613"/>
                  <a:pt x="20412" y="3619"/>
                  <a:pt x="20402" y="3631"/>
                </a:cubicBezTo>
                <a:cubicBezTo>
                  <a:pt x="20383" y="3651"/>
                  <a:pt x="20383" y="3651"/>
                  <a:pt x="20402" y="3643"/>
                </a:cubicBezTo>
                <a:cubicBezTo>
                  <a:pt x="20455" y="3621"/>
                  <a:pt x="20185" y="3838"/>
                  <a:pt x="20168" y="3838"/>
                </a:cubicBezTo>
                <a:cubicBezTo>
                  <a:pt x="20168" y="3838"/>
                  <a:pt x="20050" y="3959"/>
                  <a:pt x="19806" y="4187"/>
                </a:cubicBezTo>
                <a:lnTo>
                  <a:pt x="19837" y="4176"/>
                </a:lnTo>
                <a:cubicBezTo>
                  <a:pt x="19882" y="4159"/>
                  <a:pt x="19909" y="4113"/>
                  <a:pt x="19937" y="4113"/>
                </a:cubicBezTo>
                <a:cubicBezTo>
                  <a:pt x="19969" y="4113"/>
                  <a:pt x="20015" y="4071"/>
                  <a:pt x="20070" y="4047"/>
                </a:cubicBezTo>
                <a:lnTo>
                  <a:pt x="20114" y="4028"/>
                </a:lnTo>
                <a:cubicBezTo>
                  <a:pt x="20025" y="4113"/>
                  <a:pt x="20025" y="4116"/>
                  <a:pt x="20001" y="4127"/>
                </a:cubicBezTo>
                <a:cubicBezTo>
                  <a:pt x="19952" y="4148"/>
                  <a:pt x="20022" y="4162"/>
                  <a:pt x="20019" y="4142"/>
                </a:cubicBezTo>
                <a:cubicBezTo>
                  <a:pt x="20017" y="4135"/>
                  <a:pt x="20165" y="4056"/>
                  <a:pt x="20169" y="4046"/>
                </a:cubicBezTo>
                <a:cubicBezTo>
                  <a:pt x="20177" y="4025"/>
                  <a:pt x="20273" y="3973"/>
                  <a:pt x="20291" y="3949"/>
                </a:cubicBezTo>
                <a:cubicBezTo>
                  <a:pt x="20309" y="3926"/>
                  <a:pt x="20315" y="3951"/>
                  <a:pt x="20323" y="3928"/>
                </a:cubicBezTo>
                <a:cubicBezTo>
                  <a:pt x="20330" y="3907"/>
                  <a:pt x="20361" y="3908"/>
                  <a:pt x="20339" y="3922"/>
                </a:cubicBezTo>
                <a:cubicBezTo>
                  <a:pt x="20332" y="3928"/>
                  <a:pt x="20328" y="3935"/>
                  <a:pt x="20332" y="3939"/>
                </a:cubicBezTo>
                <a:cubicBezTo>
                  <a:pt x="20339" y="3948"/>
                  <a:pt x="20292" y="3997"/>
                  <a:pt x="20276" y="3997"/>
                </a:cubicBezTo>
                <a:cubicBezTo>
                  <a:pt x="20264" y="3997"/>
                  <a:pt x="20217" y="4040"/>
                  <a:pt x="20281" y="4009"/>
                </a:cubicBezTo>
                <a:cubicBezTo>
                  <a:pt x="20304" y="3997"/>
                  <a:pt x="20325" y="3983"/>
                  <a:pt x="20329" y="3976"/>
                </a:cubicBezTo>
                <a:cubicBezTo>
                  <a:pt x="20333" y="3969"/>
                  <a:pt x="20340" y="3963"/>
                  <a:pt x="20345" y="3963"/>
                </a:cubicBezTo>
                <a:cubicBezTo>
                  <a:pt x="20365" y="3964"/>
                  <a:pt x="20422" y="3927"/>
                  <a:pt x="20446" y="3898"/>
                </a:cubicBezTo>
                <a:cubicBezTo>
                  <a:pt x="20460" y="3882"/>
                  <a:pt x="20476" y="3870"/>
                  <a:pt x="20482" y="3874"/>
                </a:cubicBezTo>
                <a:cubicBezTo>
                  <a:pt x="20488" y="3878"/>
                  <a:pt x="20492" y="3875"/>
                  <a:pt x="20492" y="3866"/>
                </a:cubicBezTo>
                <a:cubicBezTo>
                  <a:pt x="20492" y="3832"/>
                  <a:pt x="20602" y="3806"/>
                  <a:pt x="20545" y="3842"/>
                </a:cubicBezTo>
                <a:cubicBezTo>
                  <a:pt x="20535" y="3849"/>
                  <a:pt x="20514" y="3867"/>
                  <a:pt x="20499" y="3883"/>
                </a:cubicBezTo>
                <a:cubicBezTo>
                  <a:pt x="20459" y="3926"/>
                  <a:pt x="20474" y="3904"/>
                  <a:pt x="20451" y="3923"/>
                </a:cubicBezTo>
                <a:cubicBezTo>
                  <a:pt x="20278" y="4086"/>
                  <a:pt x="20278" y="4027"/>
                  <a:pt x="20188" y="4136"/>
                </a:cubicBezTo>
                <a:cubicBezTo>
                  <a:pt x="20175" y="4152"/>
                  <a:pt x="20158" y="4163"/>
                  <a:pt x="20151" y="4159"/>
                </a:cubicBezTo>
                <a:cubicBezTo>
                  <a:pt x="20143" y="4156"/>
                  <a:pt x="20137" y="4159"/>
                  <a:pt x="20137" y="4165"/>
                </a:cubicBezTo>
                <a:cubicBezTo>
                  <a:pt x="20137" y="4184"/>
                  <a:pt x="20040" y="4286"/>
                  <a:pt x="19982" y="4328"/>
                </a:cubicBezTo>
                <a:cubicBezTo>
                  <a:pt x="19951" y="4349"/>
                  <a:pt x="19926" y="4371"/>
                  <a:pt x="19926" y="4377"/>
                </a:cubicBezTo>
                <a:cubicBezTo>
                  <a:pt x="19926" y="4388"/>
                  <a:pt x="19858" y="4437"/>
                  <a:pt x="19848" y="4434"/>
                </a:cubicBezTo>
                <a:cubicBezTo>
                  <a:pt x="19840" y="4431"/>
                  <a:pt x="19754" y="4532"/>
                  <a:pt x="19754" y="4544"/>
                </a:cubicBezTo>
                <a:cubicBezTo>
                  <a:pt x="19754" y="4549"/>
                  <a:pt x="19737" y="4564"/>
                  <a:pt x="19718" y="4579"/>
                </a:cubicBezTo>
                <a:cubicBezTo>
                  <a:pt x="19697" y="4594"/>
                  <a:pt x="19482" y="4803"/>
                  <a:pt x="19475" y="4819"/>
                </a:cubicBezTo>
                <a:cubicBezTo>
                  <a:pt x="19457" y="4856"/>
                  <a:pt x="19444" y="4825"/>
                  <a:pt x="19396" y="4882"/>
                </a:cubicBezTo>
                <a:cubicBezTo>
                  <a:pt x="19336" y="4956"/>
                  <a:pt x="18994" y="5226"/>
                  <a:pt x="19019" y="5254"/>
                </a:cubicBezTo>
                <a:cubicBezTo>
                  <a:pt x="19023" y="5258"/>
                  <a:pt x="19032" y="5252"/>
                  <a:pt x="19039" y="5242"/>
                </a:cubicBezTo>
                <a:cubicBezTo>
                  <a:pt x="19051" y="5224"/>
                  <a:pt x="19101" y="5189"/>
                  <a:pt x="19101" y="5199"/>
                </a:cubicBezTo>
                <a:cubicBezTo>
                  <a:pt x="19101" y="5208"/>
                  <a:pt x="19014" y="5299"/>
                  <a:pt x="19005" y="5299"/>
                </a:cubicBezTo>
                <a:cubicBezTo>
                  <a:pt x="18991" y="5299"/>
                  <a:pt x="18999" y="5324"/>
                  <a:pt x="18987" y="5315"/>
                </a:cubicBezTo>
                <a:cubicBezTo>
                  <a:pt x="18975" y="5307"/>
                  <a:pt x="18880" y="5426"/>
                  <a:pt x="18867" y="5426"/>
                </a:cubicBezTo>
                <a:cubicBezTo>
                  <a:pt x="18856" y="5426"/>
                  <a:pt x="18804" y="5490"/>
                  <a:pt x="18804" y="5503"/>
                </a:cubicBezTo>
                <a:cubicBezTo>
                  <a:pt x="18804" y="5518"/>
                  <a:pt x="18835" y="5468"/>
                  <a:pt x="18848" y="5468"/>
                </a:cubicBezTo>
                <a:cubicBezTo>
                  <a:pt x="18854" y="5468"/>
                  <a:pt x="18872" y="5453"/>
                  <a:pt x="18888" y="5433"/>
                </a:cubicBezTo>
                <a:cubicBezTo>
                  <a:pt x="18936" y="5379"/>
                  <a:pt x="19017" y="5354"/>
                  <a:pt x="19010" y="5333"/>
                </a:cubicBezTo>
                <a:cubicBezTo>
                  <a:pt x="19008" y="5325"/>
                  <a:pt x="19010" y="5322"/>
                  <a:pt x="19015" y="5326"/>
                </a:cubicBezTo>
                <a:cubicBezTo>
                  <a:pt x="19031" y="5334"/>
                  <a:pt x="19096" y="5256"/>
                  <a:pt x="19122" y="5256"/>
                </a:cubicBezTo>
                <a:cubicBezTo>
                  <a:pt x="19131" y="5256"/>
                  <a:pt x="19146" y="5245"/>
                  <a:pt x="19155" y="5230"/>
                </a:cubicBezTo>
                <a:cubicBezTo>
                  <a:pt x="19180" y="5187"/>
                  <a:pt x="19189" y="5220"/>
                  <a:pt x="19206" y="5172"/>
                </a:cubicBezTo>
                <a:cubicBezTo>
                  <a:pt x="19213" y="5155"/>
                  <a:pt x="19233" y="5131"/>
                  <a:pt x="19251" y="5120"/>
                </a:cubicBezTo>
                <a:cubicBezTo>
                  <a:pt x="19307" y="5083"/>
                  <a:pt x="19258" y="5067"/>
                  <a:pt x="19318" y="5083"/>
                </a:cubicBezTo>
                <a:cubicBezTo>
                  <a:pt x="19348" y="5091"/>
                  <a:pt x="19355" y="5084"/>
                  <a:pt x="19341" y="5057"/>
                </a:cubicBezTo>
                <a:cubicBezTo>
                  <a:pt x="19328" y="5030"/>
                  <a:pt x="19345" y="5016"/>
                  <a:pt x="19359" y="5042"/>
                </a:cubicBezTo>
                <a:cubicBezTo>
                  <a:pt x="19367" y="5056"/>
                  <a:pt x="19369" y="5057"/>
                  <a:pt x="19369" y="5045"/>
                </a:cubicBezTo>
                <a:cubicBezTo>
                  <a:pt x="19370" y="5036"/>
                  <a:pt x="19392" y="5015"/>
                  <a:pt x="19418" y="4998"/>
                </a:cubicBezTo>
                <a:cubicBezTo>
                  <a:pt x="19511" y="4937"/>
                  <a:pt x="19434" y="4943"/>
                  <a:pt x="19441" y="4960"/>
                </a:cubicBezTo>
                <a:cubicBezTo>
                  <a:pt x="19445" y="4966"/>
                  <a:pt x="19439" y="4971"/>
                  <a:pt x="19430" y="4971"/>
                </a:cubicBezTo>
                <a:cubicBezTo>
                  <a:pt x="19420" y="4971"/>
                  <a:pt x="19406" y="4976"/>
                  <a:pt x="19399" y="4984"/>
                </a:cubicBezTo>
                <a:cubicBezTo>
                  <a:pt x="19379" y="5005"/>
                  <a:pt x="19406" y="4952"/>
                  <a:pt x="19434" y="4944"/>
                </a:cubicBezTo>
                <a:cubicBezTo>
                  <a:pt x="19468" y="4936"/>
                  <a:pt x="19436" y="4924"/>
                  <a:pt x="19464" y="4913"/>
                </a:cubicBezTo>
                <a:cubicBezTo>
                  <a:pt x="19489" y="4905"/>
                  <a:pt x="19565" y="4825"/>
                  <a:pt x="19537" y="4876"/>
                </a:cubicBezTo>
                <a:cubicBezTo>
                  <a:pt x="19526" y="4895"/>
                  <a:pt x="19524" y="4949"/>
                  <a:pt x="19534" y="4949"/>
                </a:cubicBezTo>
                <a:cubicBezTo>
                  <a:pt x="19539" y="4949"/>
                  <a:pt x="19542" y="4941"/>
                  <a:pt x="19542" y="4931"/>
                </a:cubicBezTo>
                <a:cubicBezTo>
                  <a:pt x="19542" y="4901"/>
                  <a:pt x="19626" y="4869"/>
                  <a:pt x="19633" y="4847"/>
                </a:cubicBezTo>
                <a:cubicBezTo>
                  <a:pt x="19636" y="4837"/>
                  <a:pt x="19644" y="4836"/>
                  <a:pt x="19663" y="4844"/>
                </a:cubicBezTo>
                <a:cubicBezTo>
                  <a:pt x="19699" y="4859"/>
                  <a:pt x="19746" y="4838"/>
                  <a:pt x="19767" y="4798"/>
                </a:cubicBezTo>
                <a:cubicBezTo>
                  <a:pt x="19808" y="4718"/>
                  <a:pt x="19744" y="4799"/>
                  <a:pt x="19744" y="4783"/>
                </a:cubicBezTo>
                <a:cubicBezTo>
                  <a:pt x="19744" y="4761"/>
                  <a:pt x="19775" y="4760"/>
                  <a:pt x="19754" y="4733"/>
                </a:cubicBezTo>
                <a:cubicBezTo>
                  <a:pt x="19736" y="4709"/>
                  <a:pt x="19767" y="4714"/>
                  <a:pt x="19778" y="4727"/>
                </a:cubicBezTo>
                <a:cubicBezTo>
                  <a:pt x="19795" y="4743"/>
                  <a:pt x="19834" y="4681"/>
                  <a:pt x="19859" y="4690"/>
                </a:cubicBezTo>
                <a:cubicBezTo>
                  <a:pt x="19883" y="4699"/>
                  <a:pt x="19902" y="4653"/>
                  <a:pt x="19924" y="4653"/>
                </a:cubicBezTo>
                <a:cubicBezTo>
                  <a:pt x="19951" y="4653"/>
                  <a:pt x="19898" y="4692"/>
                  <a:pt x="19898" y="4709"/>
                </a:cubicBezTo>
                <a:cubicBezTo>
                  <a:pt x="19898" y="4713"/>
                  <a:pt x="19895" y="4715"/>
                  <a:pt x="19892" y="4714"/>
                </a:cubicBezTo>
                <a:cubicBezTo>
                  <a:pt x="19889" y="4713"/>
                  <a:pt x="19882" y="4721"/>
                  <a:pt x="19876" y="4732"/>
                </a:cubicBezTo>
                <a:cubicBezTo>
                  <a:pt x="19868" y="4748"/>
                  <a:pt x="19870" y="4755"/>
                  <a:pt x="19883" y="4766"/>
                </a:cubicBezTo>
                <a:cubicBezTo>
                  <a:pt x="19898" y="4777"/>
                  <a:pt x="19905" y="4776"/>
                  <a:pt x="19928" y="4762"/>
                </a:cubicBezTo>
                <a:cubicBezTo>
                  <a:pt x="19972" y="4731"/>
                  <a:pt x="19934" y="4729"/>
                  <a:pt x="19999" y="4687"/>
                </a:cubicBezTo>
                <a:cubicBezTo>
                  <a:pt x="20060" y="4647"/>
                  <a:pt x="20181" y="4526"/>
                  <a:pt x="20205" y="4526"/>
                </a:cubicBezTo>
                <a:cubicBezTo>
                  <a:pt x="20211" y="4526"/>
                  <a:pt x="20213" y="4521"/>
                  <a:pt x="20209" y="4516"/>
                </a:cubicBezTo>
                <a:cubicBezTo>
                  <a:pt x="20201" y="4498"/>
                  <a:pt x="20251" y="4510"/>
                  <a:pt x="20240" y="4498"/>
                </a:cubicBezTo>
                <a:cubicBezTo>
                  <a:pt x="20230" y="4487"/>
                  <a:pt x="20273" y="4441"/>
                  <a:pt x="20292" y="4441"/>
                </a:cubicBezTo>
                <a:cubicBezTo>
                  <a:pt x="20318" y="4441"/>
                  <a:pt x="20325" y="4402"/>
                  <a:pt x="20373" y="4366"/>
                </a:cubicBezTo>
                <a:cubicBezTo>
                  <a:pt x="20391" y="4352"/>
                  <a:pt x="20406" y="4338"/>
                  <a:pt x="20406" y="4335"/>
                </a:cubicBezTo>
                <a:cubicBezTo>
                  <a:pt x="20406" y="4323"/>
                  <a:pt x="20501" y="4219"/>
                  <a:pt x="20511" y="4219"/>
                </a:cubicBezTo>
                <a:cubicBezTo>
                  <a:pt x="20517" y="4219"/>
                  <a:pt x="20521" y="4215"/>
                  <a:pt x="20521" y="4209"/>
                </a:cubicBezTo>
                <a:cubicBezTo>
                  <a:pt x="20521" y="4204"/>
                  <a:pt x="20557" y="4168"/>
                  <a:pt x="20600" y="4130"/>
                </a:cubicBezTo>
                <a:cubicBezTo>
                  <a:pt x="20914" y="3852"/>
                  <a:pt x="20920" y="3833"/>
                  <a:pt x="20947" y="3858"/>
                </a:cubicBezTo>
                <a:cubicBezTo>
                  <a:pt x="20970" y="3878"/>
                  <a:pt x="20980" y="3829"/>
                  <a:pt x="21044" y="3811"/>
                </a:cubicBezTo>
                <a:cubicBezTo>
                  <a:pt x="21049" y="3809"/>
                  <a:pt x="21061" y="3805"/>
                  <a:pt x="21071" y="3801"/>
                </a:cubicBezTo>
                <a:cubicBezTo>
                  <a:pt x="21107" y="3785"/>
                  <a:pt x="21076" y="3827"/>
                  <a:pt x="21035" y="3848"/>
                </a:cubicBezTo>
                <a:cubicBezTo>
                  <a:pt x="21003" y="3866"/>
                  <a:pt x="20940" y="3908"/>
                  <a:pt x="20963" y="3940"/>
                </a:cubicBezTo>
                <a:cubicBezTo>
                  <a:pt x="20975" y="3956"/>
                  <a:pt x="20975" y="3958"/>
                  <a:pt x="20961" y="3951"/>
                </a:cubicBezTo>
                <a:cubicBezTo>
                  <a:pt x="20939" y="3943"/>
                  <a:pt x="20883" y="3974"/>
                  <a:pt x="20889" y="3992"/>
                </a:cubicBezTo>
                <a:cubicBezTo>
                  <a:pt x="20892" y="4000"/>
                  <a:pt x="20888" y="4009"/>
                  <a:pt x="20880" y="4012"/>
                </a:cubicBezTo>
                <a:cubicBezTo>
                  <a:pt x="20873" y="4015"/>
                  <a:pt x="20861" y="4029"/>
                  <a:pt x="20856" y="4044"/>
                </a:cubicBezTo>
                <a:cubicBezTo>
                  <a:pt x="20837" y="4085"/>
                  <a:pt x="20830" y="4052"/>
                  <a:pt x="20768" y="4111"/>
                </a:cubicBezTo>
                <a:cubicBezTo>
                  <a:pt x="20714" y="4161"/>
                  <a:pt x="20674" y="4188"/>
                  <a:pt x="20681" y="4201"/>
                </a:cubicBezTo>
                <a:cubicBezTo>
                  <a:pt x="20685" y="4207"/>
                  <a:pt x="20683" y="4209"/>
                  <a:pt x="20677" y="4205"/>
                </a:cubicBezTo>
                <a:cubicBezTo>
                  <a:pt x="20671" y="4201"/>
                  <a:pt x="20636" y="4230"/>
                  <a:pt x="20599" y="4269"/>
                </a:cubicBezTo>
                <a:cubicBezTo>
                  <a:pt x="20437" y="4439"/>
                  <a:pt x="20128" y="4738"/>
                  <a:pt x="20089" y="4738"/>
                </a:cubicBezTo>
                <a:cubicBezTo>
                  <a:pt x="20084" y="4738"/>
                  <a:pt x="20080" y="4746"/>
                  <a:pt x="20080" y="4756"/>
                </a:cubicBezTo>
                <a:cubicBezTo>
                  <a:pt x="20080" y="4792"/>
                  <a:pt x="19754" y="5041"/>
                  <a:pt x="19754" y="5074"/>
                </a:cubicBezTo>
                <a:cubicBezTo>
                  <a:pt x="19754" y="5094"/>
                  <a:pt x="19730" y="5079"/>
                  <a:pt x="19713" y="5106"/>
                </a:cubicBezTo>
                <a:cubicBezTo>
                  <a:pt x="19694" y="5135"/>
                  <a:pt x="19612" y="5180"/>
                  <a:pt x="19604" y="5206"/>
                </a:cubicBezTo>
                <a:cubicBezTo>
                  <a:pt x="19601" y="5216"/>
                  <a:pt x="19592" y="5225"/>
                  <a:pt x="19583" y="5225"/>
                </a:cubicBezTo>
                <a:cubicBezTo>
                  <a:pt x="19560" y="5225"/>
                  <a:pt x="19516" y="5299"/>
                  <a:pt x="19486" y="5299"/>
                </a:cubicBezTo>
                <a:cubicBezTo>
                  <a:pt x="19465" y="5299"/>
                  <a:pt x="19441" y="5334"/>
                  <a:pt x="19452" y="5352"/>
                </a:cubicBezTo>
                <a:cubicBezTo>
                  <a:pt x="19454" y="5357"/>
                  <a:pt x="19438" y="5376"/>
                  <a:pt x="19415" y="5391"/>
                </a:cubicBezTo>
                <a:cubicBezTo>
                  <a:pt x="19351" y="5434"/>
                  <a:pt x="19356" y="5473"/>
                  <a:pt x="19318" y="5489"/>
                </a:cubicBezTo>
                <a:cubicBezTo>
                  <a:pt x="19304" y="5495"/>
                  <a:pt x="19293" y="5504"/>
                  <a:pt x="19293" y="5510"/>
                </a:cubicBezTo>
                <a:cubicBezTo>
                  <a:pt x="19293" y="5529"/>
                  <a:pt x="19267" y="5498"/>
                  <a:pt x="19278" y="5521"/>
                </a:cubicBezTo>
                <a:cubicBezTo>
                  <a:pt x="19296" y="5552"/>
                  <a:pt x="18958" y="5884"/>
                  <a:pt x="18902" y="5919"/>
                </a:cubicBezTo>
                <a:cubicBezTo>
                  <a:pt x="18882" y="5931"/>
                  <a:pt x="18869" y="5949"/>
                  <a:pt x="18865" y="5970"/>
                </a:cubicBezTo>
                <a:cubicBezTo>
                  <a:pt x="18856" y="6013"/>
                  <a:pt x="18786" y="6095"/>
                  <a:pt x="18764" y="6087"/>
                </a:cubicBezTo>
                <a:cubicBezTo>
                  <a:pt x="18751" y="6082"/>
                  <a:pt x="18662" y="6104"/>
                  <a:pt x="18675" y="6162"/>
                </a:cubicBezTo>
                <a:cubicBezTo>
                  <a:pt x="18681" y="6187"/>
                  <a:pt x="18641" y="6217"/>
                  <a:pt x="18621" y="6204"/>
                </a:cubicBezTo>
                <a:cubicBezTo>
                  <a:pt x="18612" y="6198"/>
                  <a:pt x="18611" y="6208"/>
                  <a:pt x="18616" y="6249"/>
                </a:cubicBezTo>
                <a:cubicBezTo>
                  <a:pt x="18624" y="6308"/>
                  <a:pt x="18620" y="6305"/>
                  <a:pt x="18571" y="6359"/>
                </a:cubicBezTo>
                <a:cubicBezTo>
                  <a:pt x="18573" y="6345"/>
                  <a:pt x="18581" y="6283"/>
                  <a:pt x="18571" y="6283"/>
                </a:cubicBezTo>
                <a:cubicBezTo>
                  <a:pt x="18568" y="6283"/>
                  <a:pt x="18567" y="6276"/>
                  <a:pt x="18570" y="6267"/>
                </a:cubicBezTo>
                <a:cubicBezTo>
                  <a:pt x="18576" y="6247"/>
                  <a:pt x="18550" y="6242"/>
                  <a:pt x="18557" y="6273"/>
                </a:cubicBezTo>
                <a:cubicBezTo>
                  <a:pt x="18561" y="6290"/>
                  <a:pt x="18558" y="6294"/>
                  <a:pt x="18548" y="6289"/>
                </a:cubicBezTo>
                <a:cubicBezTo>
                  <a:pt x="18526" y="6280"/>
                  <a:pt x="18453" y="6306"/>
                  <a:pt x="18440" y="6327"/>
                </a:cubicBezTo>
                <a:cubicBezTo>
                  <a:pt x="18416" y="6370"/>
                  <a:pt x="18494" y="6400"/>
                  <a:pt x="18375" y="6491"/>
                </a:cubicBezTo>
                <a:cubicBezTo>
                  <a:pt x="18315" y="6538"/>
                  <a:pt x="18266" y="6570"/>
                  <a:pt x="18266" y="6586"/>
                </a:cubicBezTo>
                <a:cubicBezTo>
                  <a:pt x="18266" y="6606"/>
                  <a:pt x="18209" y="6643"/>
                  <a:pt x="18257" y="6643"/>
                </a:cubicBezTo>
                <a:cubicBezTo>
                  <a:pt x="18281" y="6643"/>
                  <a:pt x="18281" y="6650"/>
                  <a:pt x="18253" y="6700"/>
                </a:cubicBezTo>
                <a:cubicBezTo>
                  <a:pt x="18240" y="6722"/>
                  <a:pt x="18228" y="6734"/>
                  <a:pt x="18226" y="6727"/>
                </a:cubicBezTo>
                <a:cubicBezTo>
                  <a:pt x="18221" y="6709"/>
                  <a:pt x="18191" y="6722"/>
                  <a:pt x="18183" y="6745"/>
                </a:cubicBezTo>
                <a:cubicBezTo>
                  <a:pt x="18174" y="6771"/>
                  <a:pt x="18025" y="6933"/>
                  <a:pt x="18037" y="6919"/>
                </a:cubicBezTo>
                <a:cubicBezTo>
                  <a:pt x="18029" y="6876"/>
                  <a:pt x="18032" y="6892"/>
                  <a:pt x="18023" y="6850"/>
                </a:cubicBezTo>
                <a:cubicBezTo>
                  <a:pt x="18006" y="6914"/>
                  <a:pt x="18002" y="6938"/>
                  <a:pt x="17994" y="6913"/>
                </a:cubicBezTo>
                <a:cubicBezTo>
                  <a:pt x="17991" y="6901"/>
                  <a:pt x="17990" y="6907"/>
                  <a:pt x="17991" y="6926"/>
                </a:cubicBezTo>
                <a:cubicBezTo>
                  <a:pt x="17994" y="6955"/>
                  <a:pt x="17991" y="6960"/>
                  <a:pt x="17978" y="6955"/>
                </a:cubicBezTo>
                <a:cubicBezTo>
                  <a:pt x="17943" y="6942"/>
                  <a:pt x="17989" y="7042"/>
                  <a:pt x="17957" y="7029"/>
                </a:cubicBezTo>
                <a:cubicBezTo>
                  <a:pt x="17925" y="7016"/>
                  <a:pt x="17914" y="7163"/>
                  <a:pt x="17904" y="7101"/>
                </a:cubicBezTo>
                <a:cubicBezTo>
                  <a:pt x="17899" y="7066"/>
                  <a:pt x="17883" y="7072"/>
                  <a:pt x="17883" y="7108"/>
                </a:cubicBezTo>
                <a:cubicBezTo>
                  <a:pt x="17883" y="7134"/>
                  <a:pt x="17878" y="7139"/>
                  <a:pt x="17856" y="7143"/>
                </a:cubicBezTo>
                <a:cubicBezTo>
                  <a:pt x="17842" y="7144"/>
                  <a:pt x="17832" y="7148"/>
                  <a:pt x="17834" y="7151"/>
                </a:cubicBezTo>
                <a:cubicBezTo>
                  <a:pt x="17844" y="7163"/>
                  <a:pt x="17801" y="7224"/>
                  <a:pt x="17780" y="7230"/>
                </a:cubicBezTo>
                <a:cubicBezTo>
                  <a:pt x="17738" y="7241"/>
                  <a:pt x="17784" y="7270"/>
                  <a:pt x="17751" y="7282"/>
                </a:cubicBezTo>
                <a:cubicBezTo>
                  <a:pt x="17730" y="7287"/>
                  <a:pt x="17794" y="7295"/>
                  <a:pt x="17802" y="7274"/>
                </a:cubicBezTo>
                <a:cubicBezTo>
                  <a:pt x="17810" y="7249"/>
                  <a:pt x="17835" y="7280"/>
                  <a:pt x="17835" y="7252"/>
                </a:cubicBezTo>
                <a:cubicBezTo>
                  <a:pt x="17835" y="7242"/>
                  <a:pt x="17842" y="7227"/>
                  <a:pt x="17850" y="7217"/>
                </a:cubicBezTo>
                <a:cubicBezTo>
                  <a:pt x="17877" y="7188"/>
                  <a:pt x="17851" y="7284"/>
                  <a:pt x="17840" y="7299"/>
                </a:cubicBezTo>
                <a:cubicBezTo>
                  <a:pt x="17833" y="7308"/>
                  <a:pt x="17829" y="7320"/>
                  <a:pt x="17832" y="7328"/>
                </a:cubicBezTo>
                <a:cubicBezTo>
                  <a:pt x="17837" y="7345"/>
                  <a:pt x="17796" y="7348"/>
                  <a:pt x="17796" y="7363"/>
                </a:cubicBezTo>
                <a:cubicBezTo>
                  <a:pt x="17796" y="7382"/>
                  <a:pt x="17773" y="7346"/>
                  <a:pt x="17764" y="7387"/>
                </a:cubicBezTo>
                <a:cubicBezTo>
                  <a:pt x="17758" y="7414"/>
                  <a:pt x="17705" y="7478"/>
                  <a:pt x="17705" y="7479"/>
                </a:cubicBezTo>
                <a:cubicBezTo>
                  <a:pt x="17705" y="7527"/>
                  <a:pt x="17394" y="7850"/>
                  <a:pt x="17424" y="7863"/>
                </a:cubicBezTo>
                <a:cubicBezTo>
                  <a:pt x="17440" y="7872"/>
                  <a:pt x="17403" y="7875"/>
                  <a:pt x="17403" y="7858"/>
                </a:cubicBezTo>
                <a:cubicBezTo>
                  <a:pt x="17403" y="7843"/>
                  <a:pt x="17379" y="7875"/>
                  <a:pt x="17331" y="7914"/>
                </a:cubicBezTo>
                <a:cubicBezTo>
                  <a:pt x="17313" y="7928"/>
                  <a:pt x="17298" y="7946"/>
                  <a:pt x="17298" y="7953"/>
                </a:cubicBezTo>
                <a:cubicBezTo>
                  <a:pt x="17298" y="7961"/>
                  <a:pt x="17293" y="7964"/>
                  <a:pt x="17288" y="7961"/>
                </a:cubicBezTo>
                <a:cubicBezTo>
                  <a:pt x="17274" y="7953"/>
                  <a:pt x="17255" y="8029"/>
                  <a:pt x="17240" y="8029"/>
                </a:cubicBezTo>
                <a:cubicBezTo>
                  <a:pt x="17234" y="8029"/>
                  <a:pt x="17230" y="8037"/>
                  <a:pt x="17230" y="8045"/>
                </a:cubicBezTo>
                <a:cubicBezTo>
                  <a:pt x="17230" y="8054"/>
                  <a:pt x="17219" y="8064"/>
                  <a:pt x="17206" y="8067"/>
                </a:cubicBezTo>
                <a:cubicBezTo>
                  <a:pt x="17168" y="8079"/>
                  <a:pt x="17192" y="8106"/>
                  <a:pt x="17165" y="8102"/>
                </a:cubicBezTo>
                <a:cubicBezTo>
                  <a:pt x="17138" y="8096"/>
                  <a:pt x="17166" y="8127"/>
                  <a:pt x="17127" y="8154"/>
                </a:cubicBezTo>
                <a:cubicBezTo>
                  <a:pt x="17091" y="8181"/>
                  <a:pt x="17094" y="8222"/>
                  <a:pt x="17070" y="8218"/>
                </a:cubicBezTo>
                <a:cubicBezTo>
                  <a:pt x="17043" y="8212"/>
                  <a:pt x="17048" y="8283"/>
                  <a:pt x="17023" y="8283"/>
                </a:cubicBezTo>
                <a:cubicBezTo>
                  <a:pt x="17001" y="8283"/>
                  <a:pt x="16923" y="8373"/>
                  <a:pt x="16923" y="8398"/>
                </a:cubicBezTo>
                <a:cubicBezTo>
                  <a:pt x="16923" y="8412"/>
                  <a:pt x="16915" y="8421"/>
                  <a:pt x="16897" y="8425"/>
                </a:cubicBezTo>
                <a:cubicBezTo>
                  <a:pt x="16880" y="8429"/>
                  <a:pt x="16860" y="8448"/>
                  <a:pt x="16841" y="8480"/>
                </a:cubicBezTo>
                <a:cubicBezTo>
                  <a:pt x="16796" y="8554"/>
                  <a:pt x="16800" y="8506"/>
                  <a:pt x="16774" y="8572"/>
                </a:cubicBezTo>
                <a:cubicBezTo>
                  <a:pt x="16764" y="8597"/>
                  <a:pt x="16746" y="8622"/>
                  <a:pt x="16733" y="8627"/>
                </a:cubicBezTo>
                <a:cubicBezTo>
                  <a:pt x="16702" y="8644"/>
                  <a:pt x="16716" y="8656"/>
                  <a:pt x="16697" y="8647"/>
                </a:cubicBezTo>
                <a:cubicBezTo>
                  <a:pt x="16679" y="8640"/>
                  <a:pt x="16594" y="8737"/>
                  <a:pt x="16601" y="8756"/>
                </a:cubicBezTo>
                <a:cubicBezTo>
                  <a:pt x="16607" y="8775"/>
                  <a:pt x="16534" y="8835"/>
                  <a:pt x="16515" y="8827"/>
                </a:cubicBezTo>
                <a:cubicBezTo>
                  <a:pt x="16481" y="8815"/>
                  <a:pt x="16524" y="8888"/>
                  <a:pt x="16484" y="8902"/>
                </a:cubicBezTo>
                <a:cubicBezTo>
                  <a:pt x="16474" y="8906"/>
                  <a:pt x="16454" y="8931"/>
                  <a:pt x="16438" y="8960"/>
                </a:cubicBezTo>
                <a:cubicBezTo>
                  <a:pt x="16423" y="8988"/>
                  <a:pt x="16407" y="9010"/>
                  <a:pt x="16404" y="9008"/>
                </a:cubicBezTo>
                <a:cubicBezTo>
                  <a:pt x="16394" y="9001"/>
                  <a:pt x="16364" y="9044"/>
                  <a:pt x="16371" y="9055"/>
                </a:cubicBezTo>
                <a:cubicBezTo>
                  <a:pt x="16374" y="9061"/>
                  <a:pt x="16364" y="9073"/>
                  <a:pt x="16348" y="9083"/>
                </a:cubicBezTo>
                <a:cubicBezTo>
                  <a:pt x="16276" y="9124"/>
                  <a:pt x="16371" y="9150"/>
                  <a:pt x="16338" y="9173"/>
                </a:cubicBezTo>
                <a:cubicBezTo>
                  <a:pt x="16318" y="9188"/>
                  <a:pt x="16314" y="9165"/>
                  <a:pt x="16305" y="9190"/>
                </a:cubicBezTo>
                <a:cubicBezTo>
                  <a:pt x="16297" y="9213"/>
                  <a:pt x="16284" y="9203"/>
                  <a:pt x="16301" y="9174"/>
                </a:cubicBezTo>
                <a:cubicBezTo>
                  <a:pt x="16334" y="9115"/>
                  <a:pt x="16246" y="9155"/>
                  <a:pt x="16235" y="9213"/>
                </a:cubicBezTo>
                <a:cubicBezTo>
                  <a:pt x="16226" y="9276"/>
                  <a:pt x="16221" y="9202"/>
                  <a:pt x="16207" y="9239"/>
                </a:cubicBezTo>
                <a:cubicBezTo>
                  <a:pt x="16200" y="9266"/>
                  <a:pt x="16174" y="9248"/>
                  <a:pt x="16174" y="9279"/>
                </a:cubicBezTo>
                <a:cubicBezTo>
                  <a:pt x="16174" y="9314"/>
                  <a:pt x="16134" y="9324"/>
                  <a:pt x="16134" y="9380"/>
                </a:cubicBezTo>
                <a:cubicBezTo>
                  <a:pt x="16134" y="9417"/>
                  <a:pt x="16110" y="9451"/>
                  <a:pt x="16087" y="9446"/>
                </a:cubicBezTo>
                <a:cubicBezTo>
                  <a:pt x="16079" y="9444"/>
                  <a:pt x="16075" y="9450"/>
                  <a:pt x="16076" y="9465"/>
                </a:cubicBezTo>
                <a:cubicBezTo>
                  <a:pt x="16082" y="9506"/>
                  <a:pt x="16049" y="9469"/>
                  <a:pt x="16042" y="9506"/>
                </a:cubicBezTo>
                <a:cubicBezTo>
                  <a:pt x="16036" y="9538"/>
                  <a:pt x="15981" y="9592"/>
                  <a:pt x="15964" y="9627"/>
                </a:cubicBezTo>
                <a:cubicBezTo>
                  <a:pt x="15949" y="9660"/>
                  <a:pt x="15947" y="9632"/>
                  <a:pt x="15909" y="9681"/>
                </a:cubicBezTo>
                <a:cubicBezTo>
                  <a:pt x="15874" y="9725"/>
                  <a:pt x="15867" y="9710"/>
                  <a:pt x="15899" y="9674"/>
                </a:cubicBezTo>
                <a:cubicBezTo>
                  <a:pt x="15948" y="9624"/>
                  <a:pt x="15915" y="9585"/>
                  <a:pt x="15903" y="9622"/>
                </a:cubicBezTo>
                <a:cubicBezTo>
                  <a:pt x="15900" y="9630"/>
                  <a:pt x="15888" y="9639"/>
                  <a:pt x="15876" y="9640"/>
                </a:cubicBezTo>
                <a:cubicBezTo>
                  <a:pt x="15855" y="9643"/>
                  <a:pt x="15853" y="9648"/>
                  <a:pt x="15856" y="9702"/>
                </a:cubicBezTo>
                <a:cubicBezTo>
                  <a:pt x="15859" y="9784"/>
                  <a:pt x="15838" y="9733"/>
                  <a:pt x="15845" y="9720"/>
                </a:cubicBezTo>
                <a:cubicBezTo>
                  <a:pt x="15853" y="9706"/>
                  <a:pt x="15824" y="9709"/>
                  <a:pt x="15826" y="9750"/>
                </a:cubicBezTo>
                <a:cubicBezTo>
                  <a:pt x="15828" y="9775"/>
                  <a:pt x="15825" y="9777"/>
                  <a:pt x="15804" y="9774"/>
                </a:cubicBezTo>
                <a:cubicBezTo>
                  <a:pt x="15789" y="9770"/>
                  <a:pt x="15782" y="9773"/>
                  <a:pt x="15784" y="9780"/>
                </a:cubicBezTo>
                <a:cubicBezTo>
                  <a:pt x="15788" y="9798"/>
                  <a:pt x="15811" y="9785"/>
                  <a:pt x="15817" y="9805"/>
                </a:cubicBezTo>
                <a:cubicBezTo>
                  <a:pt x="15825" y="9832"/>
                  <a:pt x="15781" y="9799"/>
                  <a:pt x="15781" y="9846"/>
                </a:cubicBezTo>
                <a:cubicBezTo>
                  <a:pt x="15781" y="9934"/>
                  <a:pt x="15710" y="9929"/>
                  <a:pt x="15732" y="9974"/>
                </a:cubicBezTo>
                <a:cubicBezTo>
                  <a:pt x="15740" y="9992"/>
                  <a:pt x="15738" y="9999"/>
                  <a:pt x="15722" y="10016"/>
                </a:cubicBezTo>
                <a:cubicBezTo>
                  <a:pt x="15702" y="10035"/>
                  <a:pt x="15702" y="10035"/>
                  <a:pt x="15712" y="10012"/>
                </a:cubicBezTo>
                <a:cubicBezTo>
                  <a:pt x="15735" y="9964"/>
                  <a:pt x="15715" y="9964"/>
                  <a:pt x="15681" y="10039"/>
                </a:cubicBezTo>
                <a:cubicBezTo>
                  <a:pt x="15668" y="10066"/>
                  <a:pt x="15645" y="10103"/>
                  <a:pt x="15629" y="10120"/>
                </a:cubicBezTo>
                <a:cubicBezTo>
                  <a:pt x="15613" y="10138"/>
                  <a:pt x="15599" y="10160"/>
                  <a:pt x="15599" y="10170"/>
                </a:cubicBezTo>
                <a:cubicBezTo>
                  <a:pt x="15599" y="10179"/>
                  <a:pt x="15593" y="10189"/>
                  <a:pt x="15586" y="10193"/>
                </a:cubicBezTo>
                <a:cubicBezTo>
                  <a:pt x="15578" y="10195"/>
                  <a:pt x="15560" y="10224"/>
                  <a:pt x="15546" y="10257"/>
                </a:cubicBezTo>
                <a:cubicBezTo>
                  <a:pt x="15509" y="10340"/>
                  <a:pt x="15503" y="10305"/>
                  <a:pt x="15503" y="10343"/>
                </a:cubicBezTo>
                <a:cubicBezTo>
                  <a:pt x="15503" y="10358"/>
                  <a:pt x="15496" y="10372"/>
                  <a:pt x="15489" y="10375"/>
                </a:cubicBezTo>
                <a:cubicBezTo>
                  <a:pt x="15481" y="10379"/>
                  <a:pt x="15474" y="10386"/>
                  <a:pt x="15474" y="10392"/>
                </a:cubicBezTo>
                <a:cubicBezTo>
                  <a:pt x="15474" y="10398"/>
                  <a:pt x="15463" y="10413"/>
                  <a:pt x="15450" y="10424"/>
                </a:cubicBezTo>
                <a:cubicBezTo>
                  <a:pt x="15437" y="10435"/>
                  <a:pt x="15419" y="10461"/>
                  <a:pt x="15411" y="10482"/>
                </a:cubicBezTo>
                <a:cubicBezTo>
                  <a:pt x="15385" y="10538"/>
                  <a:pt x="15350" y="10531"/>
                  <a:pt x="15350" y="10560"/>
                </a:cubicBezTo>
                <a:cubicBezTo>
                  <a:pt x="15350" y="10571"/>
                  <a:pt x="15337" y="10590"/>
                  <a:pt x="15323" y="10602"/>
                </a:cubicBezTo>
                <a:cubicBezTo>
                  <a:pt x="15309" y="10614"/>
                  <a:pt x="15296" y="10628"/>
                  <a:pt x="15296" y="10632"/>
                </a:cubicBezTo>
                <a:cubicBezTo>
                  <a:pt x="15296" y="10689"/>
                  <a:pt x="15167" y="10832"/>
                  <a:pt x="15131" y="10874"/>
                </a:cubicBezTo>
                <a:cubicBezTo>
                  <a:pt x="15109" y="10900"/>
                  <a:pt x="15091" y="10925"/>
                  <a:pt x="15091" y="10931"/>
                </a:cubicBezTo>
                <a:cubicBezTo>
                  <a:pt x="15091" y="10941"/>
                  <a:pt x="15088" y="10945"/>
                  <a:pt x="15009" y="11048"/>
                </a:cubicBezTo>
                <a:cubicBezTo>
                  <a:pt x="14929" y="11156"/>
                  <a:pt x="14969" y="11125"/>
                  <a:pt x="14927" y="11168"/>
                </a:cubicBezTo>
                <a:cubicBezTo>
                  <a:pt x="14884" y="11214"/>
                  <a:pt x="14920" y="11201"/>
                  <a:pt x="14879" y="11228"/>
                </a:cubicBezTo>
                <a:cubicBezTo>
                  <a:pt x="14838" y="11254"/>
                  <a:pt x="14873" y="11250"/>
                  <a:pt x="14798" y="11339"/>
                </a:cubicBezTo>
                <a:cubicBezTo>
                  <a:pt x="14706" y="11445"/>
                  <a:pt x="14800" y="11346"/>
                  <a:pt x="14642" y="11532"/>
                </a:cubicBezTo>
                <a:cubicBezTo>
                  <a:pt x="14585" y="11600"/>
                  <a:pt x="14534" y="11670"/>
                  <a:pt x="14534" y="11681"/>
                </a:cubicBezTo>
                <a:cubicBezTo>
                  <a:pt x="14534" y="11685"/>
                  <a:pt x="14524" y="11701"/>
                  <a:pt x="14512" y="11715"/>
                </a:cubicBezTo>
                <a:cubicBezTo>
                  <a:pt x="14501" y="11729"/>
                  <a:pt x="14323" y="11944"/>
                  <a:pt x="14238" y="12107"/>
                </a:cubicBezTo>
                <a:cubicBezTo>
                  <a:pt x="14226" y="12130"/>
                  <a:pt x="14207" y="12154"/>
                  <a:pt x="14196" y="12162"/>
                </a:cubicBezTo>
                <a:cubicBezTo>
                  <a:pt x="14171" y="12182"/>
                  <a:pt x="14179" y="12215"/>
                  <a:pt x="14208" y="12205"/>
                </a:cubicBezTo>
                <a:cubicBezTo>
                  <a:pt x="14232" y="12196"/>
                  <a:pt x="14232" y="12211"/>
                  <a:pt x="14208" y="12234"/>
                </a:cubicBezTo>
                <a:cubicBezTo>
                  <a:pt x="14178" y="12262"/>
                  <a:pt x="14195" y="12284"/>
                  <a:pt x="14171" y="12284"/>
                </a:cubicBezTo>
                <a:cubicBezTo>
                  <a:pt x="14149" y="12284"/>
                  <a:pt x="14129" y="12309"/>
                  <a:pt x="14110" y="12356"/>
                </a:cubicBezTo>
                <a:cubicBezTo>
                  <a:pt x="14089" y="12411"/>
                  <a:pt x="14064" y="12377"/>
                  <a:pt x="14064" y="12411"/>
                </a:cubicBezTo>
                <a:cubicBezTo>
                  <a:pt x="14064" y="12433"/>
                  <a:pt x="14025" y="12485"/>
                  <a:pt x="14025" y="12496"/>
                </a:cubicBezTo>
                <a:cubicBezTo>
                  <a:pt x="14025" y="12502"/>
                  <a:pt x="14018" y="12507"/>
                  <a:pt x="14008" y="12507"/>
                </a:cubicBezTo>
                <a:cubicBezTo>
                  <a:pt x="13990" y="12508"/>
                  <a:pt x="13954" y="12567"/>
                  <a:pt x="13969" y="12573"/>
                </a:cubicBezTo>
                <a:cubicBezTo>
                  <a:pt x="13986" y="12580"/>
                  <a:pt x="13882" y="12696"/>
                  <a:pt x="13882" y="12714"/>
                </a:cubicBezTo>
                <a:cubicBezTo>
                  <a:pt x="13882" y="12737"/>
                  <a:pt x="13862" y="12721"/>
                  <a:pt x="13862" y="12744"/>
                </a:cubicBezTo>
                <a:cubicBezTo>
                  <a:pt x="13862" y="12763"/>
                  <a:pt x="13813" y="12770"/>
                  <a:pt x="13819" y="12782"/>
                </a:cubicBezTo>
                <a:cubicBezTo>
                  <a:pt x="13841" y="12824"/>
                  <a:pt x="13520" y="13141"/>
                  <a:pt x="13530" y="13167"/>
                </a:cubicBezTo>
                <a:cubicBezTo>
                  <a:pt x="13535" y="13188"/>
                  <a:pt x="13500" y="13216"/>
                  <a:pt x="13427" y="13328"/>
                </a:cubicBezTo>
                <a:cubicBezTo>
                  <a:pt x="13331" y="13474"/>
                  <a:pt x="13280" y="13518"/>
                  <a:pt x="13263" y="13573"/>
                </a:cubicBezTo>
                <a:cubicBezTo>
                  <a:pt x="13255" y="13603"/>
                  <a:pt x="13221" y="13623"/>
                  <a:pt x="13176" y="13687"/>
                </a:cubicBezTo>
                <a:cubicBezTo>
                  <a:pt x="13121" y="13768"/>
                  <a:pt x="13104" y="13752"/>
                  <a:pt x="13100" y="13820"/>
                </a:cubicBezTo>
                <a:cubicBezTo>
                  <a:pt x="13095" y="13903"/>
                  <a:pt x="13037" y="13915"/>
                  <a:pt x="13016" y="13981"/>
                </a:cubicBezTo>
                <a:cubicBezTo>
                  <a:pt x="13002" y="14025"/>
                  <a:pt x="12987" y="13999"/>
                  <a:pt x="12991" y="14039"/>
                </a:cubicBezTo>
                <a:cubicBezTo>
                  <a:pt x="12993" y="14073"/>
                  <a:pt x="12965" y="14136"/>
                  <a:pt x="12945" y="14144"/>
                </a:cubicBezTo>
                <a:cubicBezTo>
                  <a:pt x="12937" y="14148"/>
                  <a:pt x="12932" y="14160"/>
                  <a:pt x="12932" y="14174"/>
                </a:cubicBezTo>
                <a:cubicBezTo>
                  <a:pt x="12932" y="14220"/>
                  <a:pt x="12897" y="14200"/>
                  <a:pt x="12906" y="14261"/>
                </a:cubicBezTo>
                <a:cubicBezTo>
                  <a:pt x="12919" y="14346"/>
                  <a:pt x="12891" y="14303"/>
                  <a:pt x="12853" y="14362"/>
                </a:cubicBezTo>
                <a:cubicBezTo>
                  <a:pt x="12820" y="14414"/>
                  <a:pt x="12778" y="14448"/>
                  <a:pt x="12778" y="14469"/>
                </a:cubicBezTo>
                <a:cubicBezTo>
                  <a:pt x="12778" y="14491"/>
                  <a:pt x="12722" y="14542"/>
                  <a:pt x="12706" y="14572"/>
                </a:cubicBezTo>
                <a:cubicBezTo>
                  <a:pt x="12664" y="14651"/>
                  <a:pt x="12585" y="14751"/>
                  <a:pt x="12565" y="14751"/>
                </a:cubicBezTo>
                <a:cubicBezTo>
                  <a:pt x="12560" y="14751"/>
                  <a:pt x="12557" y="14760"/>
                  <a:pt x="12557" y="14771"/>
                </a:cubicBezTo>
                <a:cubicBezTo>
                  <a:pt x="12557" y="14793"/>
                  <a:pt x="12442" y="14927"/>
                  <a:pt x="12442" y="14934"/>
                </a:cubicBezTo>
                <a:cubicBezTo>
                  <a:pt x="12442" y="14948"/>
                  <a:pt x="12347" y="15079"/>
                  <a:pt x="12336" y="15079"/>
                </a:cubicBezTo>
                <a:cubicBezTo>
                  <a:pt x="12331" y="15079"/>
                  <a:pt x="12327" y="15088"/>
                  <a:pt x="12327" y="15099"/>
                </a:cubicBezTo>
                <a:cubicBezTo>
                  <a:pt x="12327" y="15133"/>
                  <a:pt x="12212" y="15254"/>
                  <a:pt x="12212" y="15261"/>
                </a:cubicBezTo>
                <a:cubicBezTo>
                  <a:pt x="12212" y="15317"/>
                  <a:pt x="11761" y="15883"/>
                  <a:pt x="11761" y="15926"/>
                </a:cubicBezTo>
                <a:cubicBezTo>
                  <a:pt x="11761" y="15931"/>
                  <a:pt x="11756" y="15939"/>
                  <a:pt x="11749" y="15944"/>
                </a:cubicBezTo>
                <a:cubicBezTo>
                  <a:pt x="11731" y="15957"/>
                  <a:pt x="11655" y="16061"/>
                  <a:pt x="11655" y="16073"/>
                </a:cubicBezTo>
                <a:cubicBezTo>
                  <a:pt x="11655" y="16084"/>
                  <a:pt x="11617" y="16103"/>
                  <a:pt x="11617" y="16122"/>
                </a:cubicBezTo>
                <a:cubicBezTo>
                  <a:pt x="11617" y="16143"/>
                  <a:pt x="11448" y="16377"/>
                  <a:pt x="11409" y="16418"/>
                </a:cubicBezTo>
                <a:cubicBezTo>
                  <a:pt x="11337" y="16494"/>
                  <a:pt x="11104" y="16885"/>
                  <a:pt x="11073" y="16925"/>
                </a:cubicBezTo>
                <a:cubicBezTo>
                  <a:pt x="11010" y="17003"/>
                  <a:pt x="11048" y="16984"/>
                  <a:pt x="11007" y="17027"/>
                </a:cubicBezTo>
                <a:cubicBezTo>
                  <a:pt x="10994" y="17040"/>
                  <a:pt x="10984" y="17057"/>
                  <a:pt x="10984" y="17063"/>
                </a:cubicBezTo>
                <a:cubicBezTo>
                  <a:pt x="10984" y="17081"/>
                  <a:pt x="10842" y="17237"/>
                  <a:pt x="10840" y="17256"/>
                </a:cubicBezTo>
                <a:cubicBezTo>
                  <a:pt x="10840" y="17275"/>
                  <a:pt x="10715" y="17428"/>
                  <a:pt x="10715" y="17442"/>
                </a:cubicBezTo>
                <a:cubicBezTo>
                  <a:pt x="10715" y="17449"/>
                  <a:pt x="10691" y="17484"/>
                  <a:pt x="10663" y="17519"/>
                </a:cubicBezTo>
                <a:cubicBezTo>
                  <a:pt x="10582" y="17620"/>
                  <a:pt x="10604" y="17625"/>
                  <a:pt x="10524" y="17722"/>
                </a:cubicBezTo>
                <a:cubicBezTo>
                  <a:pt x="10467" y="17792"/>
                  <a:pt x="10254" y="18108"/>
                  <a:pt x="10241" y="18156"/>
                </a:cubicBezTo>
                <a:cubicBezTo>
                  <a:pt x="10231" y="18190"/>
                  <a:pt x="10197" y="18185"/>
                  <a:pt x="10197" y="18206"/>
                </a:cubicBezTo>
                <a:cubicBezTo>
                  <a:pt x="10197" y="18269"/>
                  <a:pt x="9941" y="18579"/>
                  <a:pt x="9934" y="18593"/>
                </a:cubicBezTo>
                <a:cubicBezTo>
                  <a:pt x="9910" y="18649"/>
                  <a:pt x="9871" y="18710"/>
                  <a:pt x="9801" y="18804"/>
                </a:cubicBezTo>
                <a:cubicBezTo>
                  <a:pt x="9791" y="18818"/>
                  <a:pt x="9438" y="19341"/>
                  <a:pt x="9303" y="19497"/>
                </a:cubicBezTo>
                <a:cubicBezTo>
                  <a:pt x="9247" y="19558"/>
                  <a:pt x="9279" y="19551"/>
                  <a:pt x="9244" y="19585"/>
                </a:cubicBezTo>
                <a:cubicBezTo>
                  <a:pt x="9201" y="19630"/>
                  <a:pt x="8953" y="19957"/>
                  <a:pt x="8934" y="20014"/>
                </a:cubicBezTo>
                <a:cubicBezTo>
                  <a:pt x="8930" y="20025"/>
                  <a:pt x="8925" y="20032"/>
                  <a:pt x="8921" y="20032"/>
                </a:cubicBezTo>
                <a:cubicBezTo>
                  <a:pt x="8918" y="20032"/>
                  <a:pt x="8905" y="20054"/>
                  <a:pt x="8893" y="20080"/>
                </a:cubicBezTo>
                <a:cubicBezTo>
                  <a:pt x="8873" y="20125"/>
                  <a:pt x="8829" y="20171"/>
                  <a:pt x="8807" y="20171"/>
                </a:cubicBezTo>
                <a:cubicBezTo>
                  <a:pt x="8801" y="20171"/>
                  <a:pt x="8796" y="20175"/>
                  <a:pt x="8796" y="20180"/>
                </a:cubicBezTo>
                <a:cubicBezTo>
                  <a:pt x="8796" y="20196"/>
                  <a:pt x="8727" y="20237"/>
                  <a:pt x="8676" y="20252"/>
                </a:cubicBezTo>
                <a:cubicBezTo>
                  <a:pt x="8646" y="20261"/>
                  <a:pt x="8621" y="20276"/>
                  <a:pt x="8610" y="20292"/>
                </a:cubicBezTo>
                <a:cubicBezTo>
                  <a:pt x="8601" y="20306"/>
                  <a:pt x="8587" y="20318"/>
                  <a:pt x="8580" y="20318"/>
                </a:cubicBezTo>
                <a:cubicBezTo>
                  <a:pt x="8561" y="20318"/>
                  <a:pt x="8535" y="20350"/>
                  <a:pt x="8543" y="20364"/>
                </a:cubicBezTo>
                <a:cubicBezTo>
                  <a:pt x="8546" y="20370"/>
                  <a:pt x="8545" y="20371"/>
                  <a:pt x="8540" y="20368"/>
                </a:cubicBezTo>
                <a:cubicBezTo>
                  <a:pt x="8492" y="20337"/>
                  <a:pt x="8148" y="20862"/>
                  <a:pt x="7832" y="21176"/>
                </a:cubicBezTo>
                <a:cubicBezTo>
                  <a:pt x="7779" y="21230"/>
                  <a:pt x="7847" y="21141"/>
                  <a:pt x="7798" y="21177"/>
                </a:cubicBezTo>
                <a:cubicBezTo>
                  <a:pt x="7785" y="21187"/>
                  <a:pt x="7775" y="21203"/>
                  <a:pt x="7775" y="21212"/>
                </a:cubicBezTo>
                <a:cubicBezTo>
                  <a:pt x="7776" y="21221"/>
                  <a:pt x="7773" y="21226"/>
                  <a:pt x="7768" y="21223"/>
                </a:cubicBezTo>
                <a:cubicBezTo>
                  <a:pt x="7761" y="21218"/>
                  <a:pt x="7716" y="21242"/>
                  <a:pt x="7660" y="21280"/>
                </a:cubicBezTo>
                <a:cubicBezTo>
                  <a:pt x="7613" y="21311"/>
                  <a:pt x="7493" y="21249"/>
                  <a:pt x="7455" y="21328"/>
                </a:cubicBezTo>
                <a:cubicBezTo>
                  <a:pt x="7446" y="21346"/>
                  <a:pt x="7440" y="21365"/>
                  <a:pt x="7441" y="21369"/>
                </a:cubicBezTo>
                <a:cubicBezTo>
                  <a:pt x="7444" y="21381"/>
                  <a:pt x="7397" y="21411"/>
                  <a:pt x="7386" y="21403"/>
                </a:cubicBezTo>
                <a:cubicBezTo>
                  <a:pt x="7380" y="21400"/>
                  <a:pt x="7372" y="21409"/>
                  <a:pt x="7367" y="21424"/>
                </a:cubicBezTo>
                <a:cubicBezTo>
                  <a:pt x="7358" y="21450"/>
                  <a:pt x="7353" y="21451"/>
                  <a:pt x="7297" y="21450"/>
                </a:cubicBezTo>
                <a:cubicBezTo>
                  <a:pt x="7258" y="21450"/>
                  <a:pt x="7228" y="21443"/>
                  <a:pt x="7212" y="21432"/>
                </a:cubicBezTo>
                <a:cubicBezTo>
                  <a:pt x="7212" y="21432"/>
                  <a:pt x="7212" y="21432"/>
                  <a:pt x="7212" y="21432"/>
                </a:cubicBezTo>
                <a:close/>
                <a:moveTo>
                  <a:pt x="7195" y="21566"/>
                </a:moveTo>
                <a:cubicBezTo>
                  <a:pt x="7154" y="21544"/>
                  <a:pt x="7115" y="21493"/>
                  <a:pt x="7150" y="21507"/>
                </a:cubicBezTo>
                <a:cubicBezTo>
                  <a:pt x="7159" y="21511"/>
                  <a:pt x="7171" y="21515"/>
                  <a:pt x="7177" y="21515"/>
                </a:cubicBezTo>
                <a:cubicBezTo>
                  <a:pt x="7182" y="21515"/>
                  <a:pt x="7184" y="21518"/>
                  <a:pt x="7181" y="21522"/>
                </a:cubicBezTo>
                <a:cubicBezTo>
                  <a:pt x="7171" y="21532"/>
                  <a:pt x="7203" y="21568"/>
                  <a:pt x="7223" y="21568"/>
                </a:cubicBezTo>
                <a:cubicBezTo>
                  <a:pt x="7233" y="21568"/>
                  <a:pt x="7243" y="21573"/>
                  <a:pt x="7247" y="21578"/>
                </a:cubicBezTo>
                <a:cubicBezTo>
                  <a:pt x="7255" y="21594"/>
                  <a:pt x="7241" y="21591"/>
                  <a:pt x="7195" y="21566"/>
                </a:cubicBezTo>
                <a:cubicBezTo>
                  <a:pt x="7195" y="21566"/>
                  <a:pt x="7195" y="21566"/>
                  <a:pt x="7195" y="21566"/>
                </a:cubicBezTo>
                <a:close/>
                <a:moveTo>
                  <a:pt x="7195" y="21566"/>
                </a:moveTo>
              </a:path>
            </a:pathLst>
          </a:custGeom>
          <a:solidFill>
            <a:srgbClr val="C00000"/>
          </a:solidFill>
          <a:ln>
            <a:noFill/>
          </a:ln>
        </p:spPr>
        <p:txBody>
          <a:bodyPr lIns="0" tIns="0" rIns="0" bIns="0"/>
          <a:lstStyle/>
          <a:p>
            <a:endParaRPr lang="en-US"/>
          </a:p>
        </p:txBody>
      </p:sp>
      <p:sp>
        <p:nvSpPr>
          <p:cNvPr id="31" name="AutoShape 10">
            <a:extLst>
              <a:ext uri="{FF2B5EF4-FFF2-40B4-BE49-F238E27FC236}">
                <a16:creationId xmlns:a16="http://schemas.microsoft.com/office/drawing/2014/main" id="{3F5BF77C-03AE-1B4D-8642-4DE31472151A}"/>
              </a:ext>
            </a:extLst>
          </p:cNvPr>
          <p:cNvSpPr>
            <a:spLocks/>
          </p:cNvSpPr>
          <p:nvPr/>
        </p:nvSpPr>
        <p:spPr bwMode="auto">
          <a:xfrm>
            <a:off x="2119988" y="4949568"/>
            <a:ext cx="481347" cy="405467"/>
          </a:xfrm>
          <a:custGeom>
            <a:avLst/>
            <a:gdLst/>
            <a:ahLst/>
            <a:cxnLst/>
            <a:rect l="0" t="0" r="r" b="b"/>
            <a:pathLst>
              <a:path w="21600" h="21600">
                <a:moveTo>
                  <a:pt x="13213" y="7677"/>
                </a:moveTo>
                <a:lnTo>
                  <a:pt x="8689" y="0"/>
                </a:lnTo>
                <a:lnTo>
                  <a:pt x="15219" y="0"/>
                </a:lnTo>
                <a:lnTo>
                  <a:pt x="21600" y="10800"/>
                </a:lnTo>
                <a:lnTo>
                  <a:pt x="15219" y="21600"/>
                </a:lnTo>
                <a:lnTo>
                  <a:pt x="8689" y="21600"/>
                </a:lnTo>
                <a:lnTo>
                  <a:pt x="13213" y="13923"/>
                </a:lnTo>
                <a:lnTo>
                  <a:pt x="0" y="13923"/>
                </a:lnTo>
                <a:lnTo>
                  <a:pt x="0" y="7677"/>
                </a:lnTo>
                <a:cubicBezTo>
                  <a:pt x="0" y="7677"/>
                  <a:pt x="13213" y="7677"/>
                  <a:pt x="13213" y="7677"/>
                </a:cubicBezTo>
                <a:close/>
                <a:moveTo>
                  <a:pt x="13213" y="7677"/>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2" name="AutoShape 11">
            <a:extLst>
              <a:ext uri="{FF2B5EF4-FFF2-40B4-BE49-F238E27FC236}">
                <a16:creationId xmlns:a16="http://schemas.microsoft.com/office/drawing/2014/main" id="{D3E9633C-A08B-3D4F-AE1A-BC4EFB062777}"/>
              </a:ext>
            </a:extLst>
          </p:cNvPr>
          <p:cNvSpPr>
            <a:spLocks/>
          </p:cNvSpPr>
          <p:nvPr/>
        </p:nvSpPr>
        <p:spPr bwMode="auto">
          <a:xfrm>
            <a:off x="2787278" y="4949401"/>
            <a:ext cx="481347" cy="405801"/>
          </a:xfrm>
          <a:custGeom>
            <a:avLst/>
            <a:gdLst/>
            <a:ahLst/>
            <a:cxnLst/>
            <a:rect l="0" t="0" r="r" b="b"/>
            <a:pathLst>
              <a:path w="21600" h="21600">
                <a:moveTo>
                  <a:pt x="15346" y="8461"/>
                </a:moveTo>
                <a:lnTo>
                  <a:pt x="10350" y="0"/>
                </a:lnTo>
                <a:lnTo>
                  <a:pt x="15216" y="0"/>
                </a:lnTo>
                <a:lnTo>
                  <a:pt x="21600" y="10800"/>
                </a:lnTo>
                <a:lnTo>
                  <a:pt x="15216" y="21600"/>
                </a:lnTo>
                <a:lnTo>
                  <a:pt x="10350" y="21600"/>
                </a:lnTo>
                <a:lnTo>
                  <a:pt x="15346" y="13139"/>
                </a:lnTo>
                <a:lnTo>
                  <a:pt x="0" y="13139"/>
                </a:lnTo>
                <a:lnTo>
                  <a:pt x="0" y="8461"/>
                </a:lnTo>
                <a:cubicBezTo>
                  <a:pt x="0" y="8461"/>
                  <a:pt x="15346" y="8461"/>
                  <a:pt x="15346" y="8461"/>
                </a:cubicBezTo>
                <a:close/>
                <a:moveTo>
                  <a:pt x="15346" y="8461"/>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3" name="AutoShape 12">
            <a:extLst>
              <a:ext uri="{FF2B5EF4-FFF2-40B4-BE49-F238E27FC236}">
                <a16:creationId xmlns:a16="http://schemas.microsoft.com/office/drawing/2014/main" id="{AAB92395-7296-6B4C-B51E-F9A9BE365909}"/>
              </a:ext>
            </a:extLst>
          </p:cNvPr>
          <p:cNvSpPr>
            <a:spLocks/>
          </p:cNvSpPr>
          <p:nvPr/>
        </p:nvSpPr>
        <p:spPr bwMode="auto">
          <a:xfrm>
            <a:off x="4123528" y="4949234"/>
            <a:ext cx="481347" cy="406136"/>
          </a:xfrm>
          <a:custGeom>
            <a:avLst/>
            <a:gdLst/>
            <a:ahLst/>
            <a:cxnLst/>
            <a:rect l="0" t="0" r="r" b="b"/>
            <a:pathLst>
              <a:path w="21600" h="21600">
                <a:moveTo>
                  <a:pt x="17479" y="9245"/>
                </a:moveTo>
                <a:lnTo>
                  <a:pt x="12011" y="0"/>
                </a:lnTo>
                <a:lnTo>
                  <a:pt x="15213" y="0"/>
                </a:lnTo>
                <a:lnTo>
                  <a:pt x="21600" y="10800"/>
                </a:lnTo>
                <a:lnTo>
                  <a:pt x="15213" y="21600"/>
                </a:lnTo>
                <a:lnTo>
                  <a:pt x="12011" y="21600"/>
                </a:lnTo>
                <a:lnTo>
                  <a:pt x="17479" y="12355"/>
                </a:lnTo>
                <a:lnTo>
                  <a:pt x="0" y="12355"/>
                </a:lnTo>
                <a:lnTo>
                  <a:pt x="0" y="9245"/>
                </a:lnTo>
                <a:cubicBezTo>
                  <a:pt x="0" y="9245"/>
                  <a:pt x="17479" y="9245"/>
                  <a:pt x="17479" y="9245"/>
                </a:cubicBezTo>
                <a:close/>
                <a:moveTo>
                  <a:pt x="17479" y="9245"/>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4" name="AutoShape 13">
            <a:extLst>
              <a:ext uri="{FF2B5EF4-FFF2-40B4-BE49-F238E27FC236}">
                <a16:creationId xmlns:a16="http://schemas.microsoft.com/office/drawing/2014/main" id="{F8CCF48E-A7AE-6A48-A070-983060B91AB3}"/>
              </a:ext>
            </a:extLst>
          </p:cNvPr>
          <p:cNvSpPr>
            <a:spLocks/>
          </p:cNvSpPr>
          <p:nvPr/>
        </p:nvSpPr>
        <p:spPr bwMode="auto">
          <a:xfrm>
            <a:off x="5459778" y="4949234"/>
            <a:ext cx="481347" cy="406136"/>
          </a:xfrm>
          <a:custGeom>
            <a:avLst/>
            <a:gdLst/>
            <a:ahLst/>
            <a:cxnLst/>
            <a:rect l="0" t="0" r="r" b="b"/>
            <a:pathLst>
              <a:path w="21600" h="21600">
                <a:moveTo>
                  <a:pt x="0" y="10029"/>
                </a:moveTo>
                <a:lnTo>
                  <a:pt x="0" y="11572"/>
                </a:lnTo>
                <a:lnTo>
                  <a:pt x="19612" y="11572"/>
                </a:lnTo>
                <a:lnTo>
                  <a:pt x="13672" y="21600"/>
                </a:lnTo>
                <a:lnTo>
                  <a:pt x="15210" y="21600"/>
                </a:lnTo>
                <a:lnTo>
                  <a:pt x="21600" y="10800"/>
                </a:lnTo>
                <a:lnTo>
                  <a:pt x="15210" y="0"/>
                </a:lnTo>
                <a:lnTo>
                  <a:pt x="13672" y="0"/>
                </a:lnTo>
                <a:lnTo>
                  <a:pt x="19612" y="10029"/>
                </a:lnTo>
                <a:cubicBezTo>
                  <a:pt x="19612" y="10029"/>
                  <a:pt x="0" y="10029"/>
                  <a:pt x="0" y="10029"/>
                </a:cubicBezTo>
                <a:close/>
                <a:moveTo>
                  <a:pt x="0" y="10029"/>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5" name="AutoShape 14">
            <a:extLst>
              <a:ext uri="{FF2B5EF4-FFF2-40B4-BE49-F238E27FC236}">
                <a16:creationId xmlns:a16="http://schemas.microsoft.com/office/drawing/2014/main" id="{A1F73795-06E9-A348-ADD1-802144AD0C5A}"/>
              </a:ext>
            </a:extLst>
          </p:cNvPr>
          <p:cNvSpPr>
            <a:spLocks/>
          </p:cNvSpPr>
          <p:nvPr/>
        </p:nvSpPr>
        <p:spPr bwMode="auto">
          <a:xfrm>
            <a:off x="3454567" y="4947061"/>
            <a:ext cx="483018" cy="410481"/>
          </a:xfrm>
          <a:custGeom>
            <a:avLst/>
            <a:gdLst/>
            <a:ahLst/>
            <a:cxnLst/>
            <a:rect l="0" t="0" r="r" b="b"/>
            <a:pathLst>
              <a:path w="21600" h="21600">
                <a:moveTo>
                  <a:pt x="15070" y="0"/>
                </a:moveTo>
                <a:lnTo>
                  <a:pt x="9838" y="0"/>
                </a:lnTo>
                <a:lnTo>
                  <a:pt x="14854" y="8296"/>
                </a:lnTo>
                <a:lnTo>
                  <a:pt x="0" y="8296"/>
                </a:lnTo>
                <a:lnTo>
                  <a:pt x="0" y="13312"/>
                </a:lnTo>
                <a:lnTo>
                  <a:pt x="14849" y="13312"/>
                </a:lnTo>
                <a:lnTo>
                  <a:pt x="9838" y="21600"/>
                </a:lnTo>
                <a:lnTo>
                  <a:pt x="15070" y="21600"/>
                </a:lnTo>
                <a:lnTo>
                  <a:pt x="21600" y="10800"/>
                </a:lnTo>
                <a:cubicBezTo>
                  <a:pt x="21600" y="10800"/>
                  <a:pt x="15070" y="0"/>
                  <a:pt x="15070" y="0"/>
                </a:cubicBezTo>
                <a:close/>
                <a:moveTo>
                  <a:pt x="15070" y="0"/>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6" name="AutoShape 15">
            <a:extLst>
              <a:ext uri="{FF2B5EF4-FFF2-40B4-BE49-F238E27FC236}">
                <a16:creationId xmlns:a16="http://schemas.microsoft.com/office/drawing/2014/main" id="{B68C0B3C-FC5A-134E-8F1D-971B88E7951A}"/>
              </a:ext>
            </a:extLst>
          </p:cNvPr>
          <p:cNvSpPr>
            <a:spLocks/>
          </p:cNvSpPr>
          <p:nvPr/>
        </p:nvSpPr>
        <p:spPr bwMode="auto">
          <a:xfrm>
            <a:off x="4790818" y="4964944"/>
            <a:ext cx="483018" cy="374714"/>
          </a:xfrm>
          <a:custGeom>
            <a:avLst/>
            <a:gdLst/>
            <a:ahLst/>
            <a:cxnLst/>
            <a:rect l="0" t="0" r="r" b="b"/>
            <a:pathLst>
              <a:path w="21600" h="21600">
                <a:moveTo>
                  <a:pt x="21600" y="10801"/>
                </a:moveTo>
                <a:lnTo>
                  <a:pt x="13217" y="21600"/>
                </a:lnTo>
                <a:lnTo>
                  <a:pt x="13217" y="16684"/>
                </a:lnTo>
                <a:lnTo>
                  <a:pt x="16482" y="12478"/>
                </a:lnTo>
                <a:lnTo>
                  <a:pt x="2" y="12478"/>
                </a:lnTo>
                <a:lnTo>
                  <a:pt x="2" y="10800"/>
                </a:lnTo>
                <a:lnTo>
                  <a:pt x="0" y="10800"/>
                </a:lnTo>
                <a:lnTo>
                  <a:pt x="0" y="9122"/>
                </a:lnTo>
                <a:lnTo>
                  <a:pt x="16480" y="9122"/>
                </a:lnTo>
                <a:lnTo>
                  <a:pt x="13215" y="4916"/>
                </a:lnTo>
                <a:lnTo>
                  <a:pt x="13215" y="0"/>
                </a:lnTo>
                <a:lnTo>
                  <a:pt x="21600" y="10801"/>
                </a:lnTo>
                <a:cubicBezTo>
                  <a:pt x="21600" y="10801"/>
                  <a:pt x="21600" y="10801"/>
                  <a:pt x="21600" y="10801"/>
                </a:cubicBezTo>
                <a:close/>
                <a:moveTo>
                  <a:pt x="21600" y="10801"/>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7" name="AutoShape 2">
            <a:extLst>
              <a:ext uri="{FF2B5EF4-FFF2-40B4-BE49-F238E27FC236}">
                <a16:creationId xmlns:a16="http://schemas.microsoft.com/office/drawing/2014/main" id="{7AB9B9C0-B1B5-114F-8130-92C2D9A6BEBB}"/>
              </a:ext>
            </a:extLst>
          </p:cNvPr>
          <p:cNvSpPr>
            <a:spLocks/>
          </p:cNvSpPr>
          <p:nvPr/>
        </p:nvSpPr>
        <p:spPr bwMode="auto">
          <a:xfrm>
            <a:off x="792487" y="4964944"/>
            <a:ext cx="502635" cy="411818"/>
          </a:xfrm>
          <a:custGeom>
            <a:avLst/>
            <a:gdLst/>
            <a:ahLst/>
            <a:cxnLst/>
            <a:rect l="0" t="0" r="r" b="b"/>
            <a:pathLst>
              <a:path w="21413" h="21148">
                <a:moveTo>
                  <a:pt x="14866" y="12918"/>
                </a:moveTo>
                <a:cubicBezTo>
                  <a:pt x="14866" y="12918"/>
                  <a:pt x="5962" y="12922"/>
                  <a:pt x="1918" y="12922"/>
                </a:cubicBezTo>
                <a:cubicBezTo>
                  <a:pt x="859" y="12922"/>
                  <a:pt x="0" y="11887"/>
                  <a:pt x="0" y="10610"/>
                </a:cubicBezTo>
                <a:cubicBezTo>
                  <a:pt x="0" y="9333"/>
                  <a:pt x="859" y="8298"/>
                  <a:pt x="1918" y="8298"/>
                </a:cubicBezTo>
                <a:cubicBezTo>
                  <a:pt x="5308" y="8298"/>
                  <a:pt x="14855" y="8293"/>
                  <a:pt x="14855" y="8293"/>
                </a:cubicBezTo>
                <a:cubicBezTo>
                  <a:pt x="14855" y="8293"/>
                  <a:pt x="14215" y="7511"/>
                  <a:pt x="11258" y="3947"/>
                </a:cubicBezTo>
                <a:cubicBezTo>
                  <a:pt x="10509" y="3044"/>
                  <a:pt x="10509" y="1580"/>
                  <a:pt x="11258" y="677"/>
                </a:cubicBezTo>
                <a:cubicBezTo>
                  <a:pt x="12007" y="-226"/>
                  <a:pt x="13221" y="-226"/>
                  <a:pt x="13970" y="677"/>
                </a:cubicBezTo>
                <a:cubicBezTo>
                  <a:pt x="16367" y="3567"/>
                  <a:pt x="20851" y="8972"/>
                  <a:pt x="20851" y="8972"/>
                </a:cubicBezTo>
                <a:cubicBezTo>
                  <a:pt x="21600" y="9875"/>
                  <a:pt x="21600" y="11339"/>
                  <a:pt x="20851" y="12242"/>
                </a:cubicBezTo>
                <a:cubicBezTo>
                  <a:pt x="20851" y="12242"/>
                  <a:pt x="16982" y="16907"/>
                  <a:pt x="14025" y="20471"/>
                </a:cubicBezTo>
                <a:cubicBezTo>
                  <a:pt x="13277" y="21374"/>
                  <a:pt x="12062" y="21374"/>
                  <a:pt x="11313" y="20471"/>
                </a:cubicBezTo>
                <a:cubicBezTo>
                  <a:pt x="10564" y="19568"/>
                  <a:pt x="10564" y="18104"/>
                  <a:pt x="11313" y="17201"/>
                </a:cubicBezTo>
                <a:cubicBezTo>
                  <a:pt x="13711" y="14311"/>
                  <a:pt x="14866" y="12918"/>
                  <a:pt x="14866" y="12918"/>
                </a:cubicBezTo>
                <a:close/>
                <a:moveTo>
                  <a:pt x="14866" y="12918"/>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38" name="AutoShape 7">
            <a:extLst>
              <a:ext uri="{FF2B5EF4-FFF2-40B4-BE49-F238E27FC236}">
                <a16:creationId xmlns:a16="http://schemas.microsoft.com/office/drawing/2014/main" id="{9582B4E1-6084-9A45-A12E-161A86340A01}"/>
              </a:ext>
            </a:extLst>
          </p:cNvPr>
          <p:cNvSpPr>
            <a:spLocks/>
          </p:cNvSpPr>
          <p:nvPr/>
        </p:nvSpPr>
        <p:spPr bwMode="auto">
          <a:xfrm>
            <a:off x="1424555" y="4949569"/>
            <a:ext cx="499491" cy="434521"/>
          </a:xfrm>
          <a:custGeom>
            <a:avLst/>
            <a:gdLst/>
            <a:ahLst/>
            <a:cxnLst/>
            <a:rect l="0" t="0" r="r" b="b"/>
            <a:pathLst>
              <a:path w="21600" h="20996">
                <a:moveTo>
                  <a:pt x="0" y="10498"/>
                </a:moveTo>
                <a:cubicBezTo>
                  <a:pt x="0" y="8792"/>
                  <a:pt x="1238" y="7410"/>
                  <a:pt x="2765" y="7410"/>
                </a:cubicBezTo>
                <a:cubicBezTo>
                  <a:pt x="5613" y="7410"/>
                  <a:pt x="12107" y="7411"/>
                  <a:pt x="12107" y="7411"/>
                </a:cubicBezTo>
                <a:cubicBezTo>
                  <a:pt x="11317" y="6525"/>
                  <a:pt x="10534" y="5649"/>
                  <a:pt x="10196" y="5271"/>
                </a:cubicBezTo>
                <a:cubicBezTo>
                  <a:pt x="9117" y="4065"/>
                  <a:pt x="9118" y="2109"/>
                  <a:pt x="10198" y="904"/>
                </a:cubicBezTo>
                <a:cubicBezTo>
                  <a:pt x="11278" y="-302"/>
                  <a:pt x="13028" y="-301"/>
                  <a:pt x="14108" y="905"/>
                </a:cubicBezTo>
                <a:cubicBezTo>
                  <a:pt x="15997" y="3016"/>
                  <a:pt x="19810" y="7277"/>
                  <a:pt x="20823" y="8412"/>
                </a:cubicBezTo>
                <a:cubicBezTo>
                  <a:pt x="21301" y="8947"/>
                  <a:pt x="21600" y="9683"/>
                  <a:pt x="21600" y="10498"/>
                </a:cubicBezTo>
                <a:cubicBezTo>
                  <a:pt x="21600" y="11314"/>
                  <a:pt x="21301" y="12049"/>
                  <a:pt x="20823" y="12584"/>
                </a:cubicBezTo>
                <a:cubicBezTo>
                  <a:pt x="19810" y="13719"/>
                  <a:pt x="15997" y="17980"/>
                  <a:pt x="14108" y="20091"/>
                </a:cubicBezTo>
                <a:cubicBezTo>
                  <a:pt x="13028" y="21297"/>
                  <a:pt x="11278" y="21298"/>
                  <a:pt x="10198" y="20092"/>
                </a:cubicBezTo>
                <a:cubicBezTo>
                  <a:pt x="9118" y="18887"/>
                  <a:pt x="9117" y="16931"/>
                  <a:pt x="10196" y="15725"/>
                </a:cubicBezTo>
                <a:cubicBezTo>
                  <a:pt x="10534" y="15347"/>
                  <a:pt x="11317" y="14471"/>
                  <a:pt x="12107" y="13585"/>
                </a:cubicBezTo>
                <a:cubicBezTo>
                  <a:pt x="12107" y="13585"/>
                  <a:pt x="5613" y="13586"/>
                  <a:pt x="2765" y="13586"/>
                </a:cubicBezTo>
                <a:cubicBezTo>
                  <a:pt x="1238" y="13586"/>
                  <a:pt x="0" y="12204"/>
                  <a:pt x="0" y="10498"/>
                </a:cubicBezTo>
                <a:close/>
                <a:moveTo>
                  <a:pt x="0" y="10498"/>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grpSp>
        <p:nvGrpSpPr>
          <p:cNvPr id="39" name="Group 38">
            <a:extLst>
              <a:ext uri="{FF2B5EF4-FFF2-40B4-BE49-F238E27FC236}">
                <a16:creationId xmlns:a16="http://schemas.microsoft.com/office/drawing/2014/main" id="{9C6ABEF2-2D73-B641-A5AE-FFB1B04516C8}"/>
              </a:ext>
            </a:extLst>
          </p:cNvPr>
          <p:cNvGrpSpPr>
            <a:grpSpLocks noChangeAspect="1"/>
          </p:cNvGrpSpPr>
          <p:nvPr/>
        </p:nvGrpSpPr>
        <p:grpSpPr>
          <a:xfrm>
            <a:off x="1758139" y="5587463"/>
            <a:ext cx="324296" cy="327497"/>
            <a:chOff x="1335266" y="1590856"/>
            <a:chExt cx="881890" cy="890597"/>
          </a:xfrm>
        </p:grpSpPr>
        <p:sp>
          <p:nvSpPr>
            <p:cNvPr id="40" name="AutoShape 28">
              <a:extLst>
                <a:ext uri="{FF2B5EF4-FFF2-40B4-BE49-F238E27FC236}">
                  <a16:creationId xmlns:a16="http://schemas.microsoft.com/office/drawing/2014/main" id="{A07F8D63-A4C8-794C-AA2C-DE5D959F29F0}"/>
                </a:ext>
              </a:extLst>
            </p:cNvPr>
            <p:cNvSpPr>
              <a:spLocks/>
            </p:cNvSpPr>
            <p:nvPr/>
          </p:nvSpPr>
          <p:spPr bwMode="auto">
            <a:xfrm>
              <a:off x="1733298" y="1590856"/>
              <a:ext cx="483858" cy="890597"/>
            </a:xfrm>
            <a:custGeom>
              <a:avLst/>
              <a:gdLst/>
              <a:ahLst/>
              <a:cxnLst/>
              <a:rect l="0" t="0" r="r" b="b"/>
              <a:pathLst>
                <a:path w="21600" h="21600">
                  <a:moveTo>
                    <a:pt x="1689" y="0"/>
                  </a:moveTo>
                  <a:cubicBezTo>
                    <a:pt x="1120" y="0"/>
                    <a:pt x="557" y="14"/>
                    <a:pt x="0" y="39"/>
                  </a:cubicBezTo>
                  <a:lnTo>
                    <a:pt x="14276" y="10804"/>
                  </a:lnTo>
                  <a:lnTo>
                    <a:pt x="12" y="21561"/>
                  </a:lnTo>
                  <a:cubicBezTo>
                    <a:pt x="566" y="21587"/>
                    <a:pt x="1125" y="21600"/>
                    <a:pt x="1689" y="21600"/>
                  </a:cubicBezTo>
                  <a:cubicBezTo>
                    <a:pt x="12686" y="21600"/>
                    <a:pt x="21600" y="16765"/>
                    <a:pt x="21600" y="10800"/>
                  </a:cubicBezTo>
                  <a:cubicBezTo>
                    <a:pt x="21600" y="4835"/>
                    <a:pt x="12686" y="0"/>
                    <a:pt x="1689" y="0"/>
                  </a:cubicBezTo>
                  <a:close/>
                  <a:moveTo>
                    <a:pt x="1689" y="0"/>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41" name="AutoShape 29">
              <a:extLst>
                <a:ext uri="{FF2B5EF4-FFF2-40B4-BE49-F238E27FC236}">
                  <a16:creationId xmlns:a16="http://schemas.microsoft.com/office/drawing/2014/main" id="{824F76F2-83EE-E442-9FB0-4C80211F5DDE}"/>
                </a:ext>
              </a:extLst>
            </p:cNvPr>
            <p:cNvSpPr>
              <a:spLocks/>
            </p:cNvSpPr>
            <p:nvPr/>
          </p:nvSpPr>
          <p:spPr bwMode="auto">
            <a:xfrm>
              <a:off x="1335266" y="2133175"/>
              <a:ext cx="396788" cy="276757"/>
            </a:xfrm>
            <a:custGeom>
              <a:avLst/>
              <a:gdLst/>
              <a:ahLst/>
              <a:cxnLst/>
              <a:rect l="0" t="0" r="r" b="b"/>
              <a:pathLst>
                <a:path w="21600" h="21600">
                  <a:moveTo>
                    <a:pt x="21600" y="0"/>
                  </a:moveTo>
                  <a:lnTo>
                    <a:pt x="0" y="0"/>
                  </a:lnTo>
                  <a:cubicBezTo>
                    <a:pt x="1464" y="9080"/>
                    <a:pt x="5422" y="16796"/>
                    <a:pt x="10785" y="21600"/>
                  </a:cubicBezTo>
                  <a:cubicBezTo>
                    <a:pt x="10785" y="21600"/>
                    <a:pt x="21600" y="0"/>
                    <a:pt x="21600" y="0"/>
                  </a:cubicBezTo>
                  <a:close/>
                  <a:moveTo>
                    <a:pt x="21600" y="0"/>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42" name="AutoShape 30">
              <a:extLst>
                <a:ext uri="{FF2B5EF4-FFF2-40B4-BE49-F238E27FC236}">
                  <a16:creationId xmlns:a16="http://schemas.microsoft.com/office/drawing/2014/main" id="{01BD7AB4-2D15-AD48-AC75-A193604E2479}"/>
                </a:ext>
              </a:extLst>
            </p:cNvPr>
            <p:cNvSpPr>
              <a:spLocks/>
            </p:cNvSpPr>
            <p:nvPr/>
          </p:nvSpPr>
          <p:spPr bwMode="auto">
            <a:xfrm>
              <a:off x="1335266" y="1655537"/>
              <a:ext cx="396788" cy="278001"/>
            </a:xfrm>
            <a:custGeom>
              <a:avLst/>
              <a:gdLst/>
              <a:ahLst/>
              <a:cxnLst/>
              <a:rect l="0" t="0" r="r" b="b"/>
              <a:pathLst>
                <a:path w="21600" h="21600">
                  <a:moveTo>
                    <a:pt x="21600" y="21600"/>
                  </a:moveTo>
                  <a:lnTo>
                    <a:pt x="10754" y="0"/>
                  </a:lnTo>
                  <a:cubicBezTo>
                    <a:pt x="5393" y="4809"/>
                    <a:pt x="1444" y="12526"/>
                    <a:pt x="0" y="21600"/>
                  </a:cubicBezTo>
                  <a:cubicBezTo>
                    <a:pt x="0" y="21600"/>
                    <a:pt x="21600" y="21600"/>
                    <a:pt x="21600" y="21600"/>
                  </a:cubicBezTo>
                  <a:close/>
                  <a:moveTo>
                    <a:pt x="21600" y="21600"/>
                  </a:moveTo>
                </a:path>
              </a:pathLst>
            </a:custGeom>
            <a:solidFill>
              <a:srgbClr val="3A4A54"/>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grpSp>
      <p:sp>
        <p:nvSpPr>
          <p:cNvPr id="44" name="AutoShape 16">
            <a:extLst>
              <a:ext uri="{FF2B5EF4-FFF2-40B4-BE49-F238E27FC236}">
                <a16:creationId xmlns:a16="http://schemas.microsoft.com/office/drawing/2014/main" id="{3A4D56EB-8A58-1142-9E43-9A6297132456}"/>
              </a:ext>
            </a:extLst>
          </p:cNvPr>
          <p:cNvSpPr>
            <a:spLocks noChangeAspect="1"/>
          </p:cNvSpPr>
          <p:nvPr/>
        </p:nvSpPr>
        <p:spPr bwMode="auto">
          <a:xfrm>
            <a:off x="2666341" y="5587463"/>
            <a:ext cx="324759" cy="327497"/>
          </a:xfrm>
          <a:custGeom>
            <a:avLst/>
            <a:gdLst/>
            <a:ahLst/>
            <a:cxnLst/>
            <a:rect l="0" t="0" r="r" b="b"/>
            <a:pathLst>
              <a:path w="21600" h="21600">
                <a:moveTo>
                  <a:pt x="20818" y="10800"/>
                </a:moveTo>
                <a:lnTo>
                  <a:pt x="10631" y="20901"/>
                </a:lnTo>
                <a:lnTo>
                  <a:pt x="7791" y="18084"/>
                </a:lnTo>
                <a:lnTo>
                  <a:pt x="13140" y="12781"/>
                </a:lnTo>
                <a:lnTo>
                  <a:pt x="0" y="12781"/>
                </a:lnTo>
                <a:cubicBezTo>
                  <a:pt x="938" y="17799"/>
                  <a:pt x="5376" y="21600"/>
                  <a:pt x="10709" y="21600"/>
                </a:cubicBezTo>
                <a:cubicBezTo>
                  <a:pt x="16724" y="21600"/>
                  <a:pt x="21600" y="16765"/>
                  <a:pt x="21600" y="10800"/>
                </a:cubicBezTo>
                <a:cubicBezTo>
                  <a:pt x="21600" y="4836"/>
                  <a:pt x="16724" y="0"/>
                  <a:pt x="10709" y="0"/>
                </a:cubicBezTo>
                <a:cubicBezTo>
                  <a:pt x="5376" y="0"/>
                  <a:pt x="938" y="3801"/>
                  <a:pt x="0" y="8819"/>
                </a:cubicBezTo>
                <a:lnTo>
                  <a:pt x="13140" y="8819"/>
                </a:lnTo>
                <a:lnTo>
                  <a:pt x="7791" y="3515"/>
                </a:lnTo>
                <a:lnTo>
                  <a:pt x="10631" y="699"/>
                </a:lnTo>
                <a:cubicBezTo>
                  <a:pt x="10631" y="699"/>
                  <a:pt x="20818" y="10800"/>
                  <a:pt x="20818" y="10800"/>
                </a:cubicBezTo>
                <a:close/>
                <a:moveTo>
                  <a:pt x="20818" y="1080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45" name="AutoShape 17">
            <a:extLst>
              <a:ext uri="{FF2B5EF4-FFF2-40B4-BE49-F238E27FC236}">
                <a16:creationId xmlns:a16="http://schemas.microsoft.com/office/drawing/2014/main" id="{E8E6CABF-3EB5-4244-BE41-4DA7F5E2B8EA}"/>
              </a:ext>
            </a:extLst>
          </p:cNvPr>
          <p:cNvSpPr>
            <a:spLocks noChangeAspect="1"/>
          </p:cNvSpPr>
          <p:nvPr/>
        </p:nvSpPr>
        <p:spPr bwMode="auto">
          <a:xfrm>
            <a:off x="3119191" y="5587463"/>
            <a:ext cx="327497" cy="327497"/>
          </a:xfrm>
          <a:custGeom>
            <a:avLst/>
            <a:gdLst/>
            <a:ahLst/>
            <a:cxnLst/>
            <a:rect l="0" t="0" r="r" b="b"/>
            <a:pathLst>
              <a:path w="21600" h="21600">
                <a:moveTo>
                  <a:pt x="6458" y="19542"/>
                </a:moveTo>
                <a:lnTo>
                  <a:pt x="6458" y="2058"/>
                </a:lnTo>
                <a:lnTo>
                  <a:pt x="21600" y="10800"/>
                </a:lnTo>
                <a:cubicBezTo>
                  <a:pt x="21600" y="4836"/>
                  <a:pt x="16765" y="0"/>
                  <a:pt x="10800" y="0"/>
                </a:cubicBezTo>
                <a:cubicBezTo>
                  <a:pt x="4835" y="0"/>
                  <a:pt x="0" y="4836"/>
                  <a:pt x="0" y="10800"/>
                </a:cubicBezTo>
                <a:cubicBezTo>
                  <a:pt x="0" y="16765"/>
                  <a:pt x="4835" y="21600"/>
                  <a:pt x="10800" y="21600"/>
                </a:cubicBezTo>
                <a:cubicBezTo>
                  <a:pt x="16765" y="21600"/>
                  <a:pt x="21600" y="16765"/>
                  <a:pt x="21600" y="10800"/>
                </a:cubicBezTo>
                <a:cubicBezTo>
                  <a:pt x="21600" y="10800"/>
                  <a:pt x="6458" y="19542"/>
                  <a:pt x="6458" y="19542"/>
                </a:cubicBezTo>
                <a:close/>
                <a:moveTo>
                  <a:pt x="6458" y="19542"/>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47" name="AutoShape 18">
            <a:extLst>
              <a:ext uri="{FF2B5EF4-FFF2-40B4-BE49-F238E27FC236}">
                <a16:creationId xmlns:a16="http://schemas.microsoft.com/office/drawing/2014/main" id="{87A8AB5D-8782-EB4D-A321-52DA842C3ADD}"/>
              </a:ext>
            </a:extLst>
          </p:cNvPr>
          <p:cNvSpPr>
            <a:spLocks noChangeAspect="1"/>
          </p:cNvSpPr>
          <p:nvPr/>
        </p:nvSpPr>
        <p:spPr bwMode="auto">
          <a:xfrm>
            <a:off x="3574779" y="5587463"/>
            <a:ext cx="327497" cy="327497"/>
          </a:xfrm>
          <a:custGeom>
            <a:avLst/>
            <a:gdLst/>
            <a:ahLst/>
            <a:cxnLst/>
            <a:rect l="0" t="0" r="r" b="b"/>
            <a:pathLst>
              <a:path w="21600" h="21600">
                <a:moveTo>
                  <a:pt x="8559" y="20812"/>
                </a:moveTo>
                <a:cubicBezTo>
                  <a:pt x="7916" y="20668"/>
                  <a:pt x="7295" y="20465"/>
                  <a:pt x="6703" y="20207"/>
                </a:cubicBezTo>
                <a:lnTo>
                  <a:pt x="14966" y="10800"/>
                </a:lnTo>
                <a:lnTo>
                  <a:pt x="6703" y="1393"/>
                </a:lnTo>
                <a:cubicBezTo>
                  <a:pt x="7295" y="1135"/>
                  <a:pt x="7916" y="932"/>
                  <a:pt x="8559" y="788"/>
                </a:cubicBezTo>
                <a:lnTo>
                  <a:pt x="17370" y="10800"/>
                </a:lnTo>
                <a:cubicBezTo>
                  <a:pt x="17370" y="10800"/>
                  <a:pt x="8559" y="20812"/>
                  <a:pt x="8559" y="20812"/>
                </a:cubicBezTo>
                <a:close/>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close/>
                <a:moveTo>
                  <a:pt x="10800" y="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grpSp>
        <p:nvGrpSpPr>
          <p:cNvPr id="48" name="Group 47">
            <a:extLst>
              <a:ext uri="{FF2B5EF4-FFF2-40B4-BE49-F238E27FC236}">
                <a16:creationId xmlns:a16="http://schemas.microsoft.com/office/drawing/2014/main" id="{A00CC64E-2FF5-D549-AD13-1116D39E5EA8}"/>
              </a:ext>
            </a:extLst>
          </p:cNvPr>
          <p:cNvGrpSpPr>
            <a:grpSpLocks noChangeAspect="1"/>
          </p:cNvGrpSpPr>
          <p:nvPr/>
        </p:nvGrpSpPr>
        <p:grpSpPr>
          <a:xfrm>
            <a:off x="2210525" y="5587463"/>
            <a:ext cx="327725" cy="327497"/>
            <a:chOff x="-3793536" y="4101221"/>
            <a:chExt cx="486411" cy="486073"/>
          </a:xfrm>
        </p:grpSpPr>
        <p:sp>
          <p:nvSpPr>
            <p:cNvPr id="50" name="AutoShape 19">
              <a:extLst>
                <a:ext uri="{FF2B5EF4-FFF2-40B4-BE49-F238E27FC236}">
                  <a16:creationId xmlns:a16="http://schemas.microsoft.com/office/drawing/2014/main" id="{8EF32C5E-E43A-EF4C-80CA-59980E157A83}"/>
                </a:ext>
              </a:extLst>
            </p:cNvPr>
            <p:cNvSpPr>
              <a:spLocks/>
            </p:cNvSpPr>
            <p:nvPr/>
          </p:nvSpPr>
          <p:spPr bwMode="auto">
            <a:xfrm>
              <a:off x="-3698956" y="4203908"/>
              <a:ext cx="294211" cy="281713"/>
            </a:xfrm>
            <a:custGeom>
              <a:avLst/>
              <a:gdLst/>
              <a:ahLst/>
              <a:cxnLst/>
              <a:rect l="0" t="0" r="r" b="b"/>
              <a:pathLst>
                <a:path w="21600" h="21600">
                  <a:moveTo>
                    <a:pt x="21600" y="10800"/>
                  </a:moveTo>
                  <a:lnTo>
                    <a:pt x="11248" y="21600"/>
                  </a:lnTo>
                  <a:lnTo>
                    <a:pt x="8750" y="18993"/>
                  </a:lnTo>
                  <a:lnTo>
                    <a:pt x="14837" y="12643"/>
                  </a:lnTo>
                  <a:lnTo>
                    <a:pt x="0" y="12643"/>
                  </a:lnTo>
                  <a:lnTo>
                    <a:pt x="0" y="8957"/>
                  </a:lnTo>
                  <a:lnTo>
                    <a:pt x="14837" y="8957"/>
                  </a:lnTo>
                  <a:lnTo>
                    <a:pt x="8750" y="2606"/>
                  </a:lnTo>
                  <a:lnTo>
                    <a:pt x="11248" y="0"/>
                  </a:lnTo>
                  <a:cubicBezTo>
                    <a:pt x="11248" y="0"/>
                    <a:pt x="21600" y="10800"/>
                    <a:pt x="21600" y="10800"/>
                  </a:cubicBezTo>
                  <a:close/>
                  <a:moveTo>
                    <a:pt x="21600" y="1080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64" name="AutoShape 20">
              <a:extLst>
                <a:ext uri="{FF2B5EF4-FFF2-40B4-BE49-F238E27FC236}">
                  <a16:creationId xmlns:a16="http://schemas.microsoft.com/office/drawing/2014/main" id="{479C7535-F9D7-3448-AB80-A132784980A9}"/>
                </a:ext>
              </a:extLst>
            </p:cNvPr>
            <p:cNvSpPr>
              <a:spLocks/>
            </p:cNvSpPr>
            <p:nvPr/>
          </p:nvSpPr>
          <p:spPr bwMode="auto">
            <a:xfrm>
              <a:off x="-3793536" y="4101221"/>
              <a:ext cx="486411" cy="486073"/>
            </a:xfrm>
            <a:custGeom>
              <a:avLst/>
              <a:gdLst/>
              <a:ahLst/>
              <a:cxnLst/>
              <a:rect l="0" t="0" r="r" b="b"/>
              <a:pathLst>
                <a:path w="21600" h="21600">
                  <a:moveTo>
                    <a:pt x="10800" y="21600"/>
                  </a:moveTo>
                  <a:cubicBezTo>
                    <a:pt x="16765" y="21600"/>
                    <a:pt x="21600" y="16765"/>
                    <a:pt x="21600" y="10800"/>
                  </a:cubicBezTo>
                  <a:cubicBezTo>
                    <a:pt x="21600" y="4836"/>
                    <a:pt x="16765" y="0"/>
                    <a:pt x="10800" y="0"/>
                  </a:cubicBezTo>
                  <a:cubicBezTo>
                    <a:pt x="4835" y="0"/>
                    <a:pt x="0" y="4836"/>
                    <a:pt x="0" y="10800"/>
                  </a:cubicBezTo>
                  <a:cubicBezTo>
                    <a:pt x="0" y="16765"/>
                    <a:pt x="4835" y="21600"/>
                    <a:pt x="10800" y="21600"/>
                  </a:cubicBezTo>
                  <a:close/>
                  <a:moveTo>
                    <a:pt x="2695" y="10800"/>
                  </a:moveTo>
                  <a:cubicBezTo>
                    <a:pt x="2695" y="6324"/>
                    <a:pt x="6324" y="2695"/>
                    <a:pt x="10800" y="2695"/>
                  </a:cubicBezTo>
                  <a:cubicBezTo>
                    <a:pt x="15276" y="2695"/>
                    <a:pt x="18905" y="6324"/>
                    <a:pt x="18905" y="10800"/>
                  </a:cubicBezTo>
                  <a:cubicBezTo>
                    <a:pt x="18905" y="15277"/>
                    <a:pt x="15276" y="18905"/>
                    <a:pt x="10800" y="18905"/>
                  </a:cubicBezTo>
                  <a:cubicBezTo>
                    <a:pt x="6324" y="18905"/>
                    <a:pt x="2695" y="15277"/>
                    <a:pt x="2695" y="10800"/>
                  </a:cubicBezTo>
                  <a:close/>
                  <a:moveTo>
                    <a:pt x="2695" y="1080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grpSp>
      <p:sp>
        <p:nvSpPr>
          <p:cNvPr id="74" name="AutoShape 21">
            <a:extLst>
              <a:ext uri="{FF2B5EF4-FFF2-40B4-BE49-F238E27FC236}">
                <a16:creationId xmlns:a16="http://schemas.microsoft.com/office/drawing/2014/main" id="{507EEF63-5EBA-054D-8225-D08201BAE74F}"/>
              </a:ext>
            </a:extLst>
          </p:cNvPr>
          <p:cNvSpPr>
            <a:spLocks noChangeAspect="1"/>
          </p:cNvSpPr>
          <p:nvPr/>
        </p:nvSpPr>
        <p:spPr bwMode="auto">
          <a:xfrm>
            <a:off x="852404" y="5587463"/>
            <a:ext cx="327723" cy="327497"/>
          </a:xfrm>
          <a:custGeom>
            <a:avLst/>
            <a:gdLst/>
            <a:ahLst/>
            <a:cxnLst/>
            <a:rect l="0" t="0" r="r" b="b"/>
            <a:pathLst>
              <a:path w="21600" h="21600">
                <a:moveTo>
                  <a:pt x="20945" y="10800"/>
                </a:moveTo>
                <a:lnTo>
                  <a:pt x="14415" y="17166"/>
                </a:lnTo>
                <a:lnTo>
                  <a:pt x="8875" y="17166"/>
                </a:lnTo>
                <a:lnTo>
                  <a:pt x="13447" y="12759"/>
                </a:lnTo>
                <a:lnTo>
                  <a:pt x="764" y="12759"/>
                </a:lnTo>
                <a:cubicBezTo>
                  <a:pt x="641" y="12120"/>
                  <a:pt x="576" y="11465"/>
                  <a:pt x="576" y="10800"/>
                </a:cubicBezTo>
                <a:cubicBezTo>
                  <a:pt x="576" y="10135"/>
                  <a:pt x="641" y="9480"/>
                  <a:pt x="764" y="8841"/>
                </a:cubicBezTo>
                <a:lnTo>
                  <a:pt x="13447" y="8841"/>
                </a:lnTo>
                <a:lnTo>
                  <a:pt x="8875" y="4434"/>
                </a:lnTo>
                <a:lnTo>
                  <a:pt x="14415" y="4434"/>
                </a:lnTo>
                <a:cubicBezTo>
                  <a:pt x="14415" y="4434"/>
                  <a:pt x="20945" y="10800"/>
                  <a:pt x="20945" y="10800"/>
                </a:cubicBezTo>
                <a:close/>
                <a:moveTo>
                  <a:pt x="18437" y="3163"/>
                </a:moveTo>
                <a:cubicBezTo>
                  <a:pt x="16397" y="1123"/>
                  <a:pt x="13685" y="0"/>
                  <a:pt x="10800" y="0"/>
                </a:cubicBezTo>
                <a:cubicBezTo>
                  <a:pt x="4845" y="0"/>
                  <a:pt x="0" y="4845"/>
                  <a:pt x="0" y="10800"/>
                </a:cubicBezTo>
                <a:cubicBezTo>
                  <a:pt x="0" y="13685"/>
                  <a:pt x="1123" y="16397"/>
                  <a:pt x="3163" y="18437"/>
                </a:cubicBezTo>
                <a:cubicBezTo>
                  <a:pt x="5203" y="20477"/>
                  <a:pt x="7915" y="21600"/>
                  <a:pt x="10800" y="21600"/>
                </a:cubicBezTo>
                <a:cubicBezTo>
                  <a:pt x="13685" y="21600"/>
                  <a:pt x="16397" y="20477"/>
                  <a:pt x="18437" y="18437"/>
                </a:cubicBezTo>
                <a:cubicBezTo>
                  <a:pt x="20477" y="16397"/>
                  <a:pt x="21600" y="13685"/>
                  <a:pt x="21600" y="10800"/>
                </a:cubicBezTo>
                <a:cubicBezTo>
                  <a:pt x="21600" y="7915"/>
                  <a:pt x="20477" y="5203"/>
                  <a:pt x="18437" y="3163"/>
                </a:cubicBezTo>
                <a:close/>
                <a:moveTo>
                  <a:pt x="18437" y="3163"/>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75" name="AutoShape 22">
            <a:extLst>
              <a:ext uri="{FF2B5EF4-FFF2-40B4-BE49-F238E27FC236}">
                <a16:creationId xmlns:a16="http://schemas.microsoft.com/office/drawing/2014/main" id="{D9E8116C-C6B6-F045-AC83-5EDD0E9681A4}"/>
              </a:ext>
            </a:extLst>
          </p:cNvPr>
          <p:cNvSpPr>
            <a:spLocks noChangeAspect="1"/>
          </p:cNvSpPr>
          <p:nvPr/>
        </p:nvSpPr>
        <p:spPr bwMode="auto">
          <a:xfrm>
            <a:off x="1308217" y="5587463"/>
            <a:ext cx="321831" cy="327497"/>
          </a:xfrm>
          <a:custGeom>
            <a:avLst/>
            <a:gdLst/>
            <a:ahLst/>
            <a:cxnLst/>
            <a:rect l="0" t="0" r="r" b="b"/>
            <a:pathLst>
              <a:path w="21600" h="21600">
                <a:moveTo>
                  <a:pt x="10604" y="0"/>
                </a:moveTo>
                <a:cubicBezTo>
                  <a:pt x="5560" y="0"/>
                  <a:pt x="1310" y="3336"/>
                  <a:pt x="14" y="7884"/>
                </a:cubicBezTo>
                <a:lnTo>
                  <a:pt x="10113" y="7884"/>
                </a:lnTo>
                <a:lnTo>
                  <a:pt x="10113" y="2891"/>
                </a:lnTo>
                <a:lnTo>
                  <a:pt x="18139" y="10774"/>
                </a:lnTo>
                <a:lnTo>
                  <a:pt x="10113" y="18658"/>
                </a:lnTo>
                <a:lnTo>
                  <a:pt x="10113" y="13665"/>
                </a:lnTo>
                <a:lnTo>
                  <a:pt x="0" y="13665"/>
                </a:lnTo>
                <a:cubicBezTo>
                  <a:pt x="1278" y="18239"/>
                  <a:pt x="5541" y="21600"/>
                  <a:pt x="10604" y="21600"/>
                </a:cubicBezTo>
                <a:cubicBezTo>
                  <a:pt x="16677" y="21600"/>
                  <a:pt x="21600" y="16765"/>
                  <a:pt x="21600" y="10800"/>
                </a:cubicBezTo>
                <a:cubicBezTo>
                  <a:pt x="21600" y="4835"/>
                  <a:pt x="16677" y="0"/>
                  <a:pt x="10604" y="0"/>
                </a:cubicBezTo>
                <a:close/>
                <a:moveTo>
                  <a:pt x="10604" y="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76" name="AutoShape 23">
            <a:extLst>
              <a:ext uri="{FF2B5EF4-FFF2-40B4-BE49-F238E27FC236}">
                <a16:creationId xmlns:a16="http://schemas.microsoft.com/office/drawing/2014/main" id="{C531AC12-642A-A348-8726-B451BDD33BE0}"/>
              </a:ext>
            </a:extLst>
          </p:cNvPr>
          <p:cNvSpPr>
            <a:spLocks noChangeAspect="1"/>
          </p:cNvSpPr>
          <p:nvPr/>
        </p:nvSpPr>
        <p:spPr bwMode="auto">
          <a:xfrm>
            <a:off x="4030366" y="5587463"/>
            <a:ext cx="327269" cy="327497"/>
          </a:xfrm>
          <a:custGeom>
            <a:avLst/>
            <a:gdLst/>
            <a:ahLst/>
            <a:cxnLst/>
            <a:rect l="0" t="0" r="r" b="b"/>
            <a:pathLst>
              <a:path w="21600" h="21600">
                <a:moveTo>
                  <a:pt x="0" y="0"/>
                </a:moveTo>
                <a:lnTo>
                  <a:pt x="0" y="7821"/>
                </a:lnTo>
                <a:lnTo>
                  <a:pt x="10800" y="7821"/>
                </a:lnTo>
                <a:lnTo>
                  <a:pt x="10800" y="2731"/>
                </a:lnTo>
                <a:lnTo>
                  <a:pt x="18869" y="10800"/>
                </a:lnTo>
                <a:lnTo>
                  <a:pt x="10800" y="18869"/>
                </a:lnTo>
                <a:lnTo>
                  <a:pt x="10800" y="13779"/>
                </a:lnTo>
                <a:lnTo>
                  <a:pt x="0" y="13779"/>
                </a:lnTo>
                <a:lnTo>
                  <a:pt x="0" y="21600"/>
                </a:lnTo>
                <a:lnTo>
                  <a:pt x="21600" y="21600"/>
                </a:lnTo>
                <a:lnTo>
                  <a:pt x="21600" y="0"/>
                </a:lnTo>
                <a:cubicBezTo>
                  <a:pt x="21600" y="0"/>
                  <a:pt x="0" y="0"/>
                  <a:pt x="0" y="0"/>
                </a:cubicBezTo>
                <a:close/>
                <a:moveTo>
                  <a:pt x="0" y="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77" name="AutoShape 24">
            <a:extLst>
              <a:ext uri="{FF2B5EF4-FFF2-40B4-BE49-F238E27FC236}">
                <a16:creationId xmlns:a16="http://schemas.microsoft.com/office/drawing/2014/main" id="{514A0E7C-71F0-9244-A8F2-4999F5F80DB7}"/>
              </a:ext>
            </a:extLst>
          </p:cNvPr>
          <p:cNvSpPr>
            <a:spLocks noChangeAspect="1"/>
          </p:cNvSpPr>
          <p:nvPr/>
        </p:nvSpPr>
        <p:spPr bwMode="auto">
          <a:xfrm>
            <a:off x="4485727" y="5587463"/>
            <a:ext cx="327270" cy="327497"/>
          </a:xfrm>
          <a:custGeom>
            <a:avLst/>
            <a:gdLst/>
            <a:ahLst/>
            <a:cxnLst/>
            <a:rect l="0" t="0" r="r" b="b"/>
            <a:pathLst>
              <a:path w="21600" h="21600">
                <a:moveTo>
                  <a:pt x="18846" y="17302"/>
                </a:moveTo>
                <a:cubicBezTo>
                  <a:pt x="18788" y="17762"/>
                  <a:pt x="18630" y="18124"/>
                  <a:pt x="18377" y="18377"/>
                </a:cubicBezTo>
                <a:cubicBezTo>
                  <a:pt x="18124" y="18630"/>
                  <a:pt x="17762" y="18788"/>
                  <a:pt x="17302" y="18846"/>
                </a:cubicBezTo>
                <a:cubicBezTo>
                  <a:pt x="15821" y="19033"/>
                  <a:pt x="13391" y="19145"/>
                  <a:pt x="10800" y="19145"/>
                </a:cubicBezTo>
                <a:cubicBezTo>
                  <a:pt x="10799" y="19145"/>
                  <a:pt x="10798" y="19145"/>
                  <a:pt x="10796" y="19145"/>
                </a:cubicBezTo>
                <a:cubicBezTo>
                  <a:pt x="8207" y="19145"/>
                  <a:pt x="5778" y="19033"/>
                  <a:pt x="4298" y="18846"/>
                </a:cubicBezTo>
                <a:cubicBezTo>
                  <a:pt x="3838" y="18788"/>
                  <a:pt x="3476" y="18630"/>
                  <a:pt x="3223" y="18377"/>
                </a:cubicBezTo>
                <a:cubicBezTo>
                  <a:pt x="2970" y="18124"/>
                  <a:pt x="2812" y="17762"/>
                  <a:pt x="2754" y="17302"/>
                </a:cubicBezTo>
                <a:cubicBezTo>
                  <a:pt x="2597" y="16059"/>
                  <a:pt x="2494" y="14152"/>
                  <a:pt x="2465" y="12037"/>
                </a:cubicBezTo>
                <a:lnTo>
                  <a:pt x="14434" y="12051"/>
                </a:lnTo>
                <a:lnTo>
                  <a:pt x="9069" y="17418"/>
                </a:lnTo>
                <a:lnTo>
                  <a:pt x="10796" y="19145"/>
                </a:lnTo>
                <a:cubicBezTo>
                  <a:pt x="10796" y="19145"/>
                  <a:pt x="10796" y="19145"/>
                  <a:pt x="10796" y="19145"/>
                </a:cubicBezTo>
                <a:lnTo>
                  <a:pt x="19142" y="10802"/>
                </a:lnTo>
                <a:lnTo>
                  <a:pt x="10796" y="2458"/>
                </a:lnTo>
                <a:lnTo>
                  <a:pt x="9069" y="4185"/>
                </a:lnTo>
                <a:lnTo>
                  <a:pt x="14434" y="9553"/>
                </a:lnTo>
                <a:lnTo>
                  <a:pt x="2465" y="9548"/>
                </a:lnTo>
                <a:cubicBezTo>
                  <a:pt x="2495" y="7446"/>
                  <a:pt x="2597" y="5535"/>
                  <a:pt x="2754" y="4298"/>
                </a:cubicBezTo>
                <a:cubicBezTo>
                  <a:pt x="2812" y="3838"/>
                  <a:pt x="2970" y="3476"/>
                  <a:pt x="3223" y="3223"/>
                </a:cubicBezTo>
                <a:cubicBezTo>
                  <a:pt x="3476" y="2970"/>
                  <a:pt x="3838" y="2812"/>
                  <a:pt x="4298" y="2754"/>
                </a:cubicBezTo>
                <a:cubicBezTo>
                  <a:pt x="5779" y="2567"/>
                  <a:pt x="8209" y="2455"/>
                  <a:pt x="10800" y="2455"/>
                </a:cubicBezTo>
                <a:cubicBezTo>
                  <a:pt x="13391" y="2455"/>
                  <a:pt x="15821" y="2567"/>
                  <a:pt x="17302" y="2754"/>
                </a:cubicBezTo>
                <a:cubicBezTo>
                  <a:pt x="17762" y="2812"/>
                  <a:pt x="18124" y="2970"/>
                  <a:pt x="18377" y="3223"/>
                </a:cubicBezTo>
                <a:cubicBezTo>
                  <a:pt x="18630" y="3476"/>
                  <a:pt x="18788" y="3838"/>
                  <a:pt x="18846" y="4298"/>
                </a:cubicBezTo>
                <a:cubicBezTo>
                  <a:pt x="19033" y="5779"/>
                  <a:pt x="19145" y="8209"/>
                  <a:pt x="19145" y="10800"/>
                </a:cubicBezTo>
                <a:cubicBezTo>
                  <a:pt x="19145" y="13391"/>
                  <a:pt x="19033" y="15821"/>
                  <a:pt x="18846" y="17302"/>
                </a:cubicBezTo>
                <a:close/>
                <a:moveTo>
                  <a:pt x="21282" y="3991"/>
                </a:moveTo>
                <a:cubicBezTo>
                  <a:pt x="21156" y="2991"/>
                  <a:pt x="20752" y="2125"/>
                  <a:pt x="20113" y="1487"/>
                </a:cubicBezTo>
                <a:cubicBezTo>
                  <a:pt x="19475" y="848"/>
                  <a:pt x="18609" y="444"/>
                  <a:pt x="17609" y="318"/>
                </a:cubicBezTo>
                <a:cubicBezTo>
                  <a:pt x="16009" y="116"/>
                  <a:pt x="13528" y="0"/>
                  <a:pt x="10800" y="0"/>
                </a:cubicBezTo>
                <a:cubicBezTo>
                  <a:pt x="8073" y="0"/>
                  <a:pt x="5591" y="116"/>
                  <a:pt x="3991" y="318"/>
                </a:cubicBezTo>
                <a:cubicBezTo>
                  <a:pt x="2991" y="444"/>
                  <a:pt x="2125" y="848"/>
                  <a:pt x="1487" y="1487"/>
                </a:cubicBezTo>
                <a:cubicBezTo>
                  <a:pt x="848" y="2125"/>
                  <a:pt x="444" y="2991"/>
                  <a:pt x="318" y="3991"/>
                </a:cubicBezTo>
                <a:cubicBezTo>
                  <a:pt x="116" y="5591"/>
                  <a:pt x="0" y="8072"/>
                  <a:pt x="0" y="10800"/>
                </a:cubicBezTo>
                <a:cubicBezTo>
                  <a:pt x="0" y="13528"/>
                  <a:pt x="116" y="16009"/>
                  <a:pt x="318" y="17609"/>
                </a:cubicBezTo>
                <a:cubicBezTo>
                  <a:pt x="444" y="18609"/>
                  <a:pt x="848" y="19475"/>
                  <a:pt x="1487" y="20113"/>
                </a:cubicBezTo>
                <a:cubicBezTo>
                  <a:pt x="2125" y="20752"/>
                  <a:pt x="2991" y="21156"/>
                  <a:pt x="3991" y="21282"/>
                </a:cubicBezTo>
                <a:cubicBezTo>
                  <a:pt x="5590" y="21484"/>
                  <a:pt x="8072" y="21600"/>
                  <a:pt x="10800" y="21600"/>
                </a:cubicBezTo>
                <a:cubicBezTo>
                  <a:pt x="13528" y="21600"/>
                  <a:pt x="16010" y="21484"/>
                  <a:pt x="17609" y="21282"/>
                </a:cubicBezTo>
                <a:cubicBezTo>
                  <a:pt x="18609" y="21156"/>
                  <a:pt x="19475" y="20752"/>
                  <a:pt x="20113" y="20113"/>
                </a:cubicBezTo>
                <a:cubicBezTo>
                  <a:pt x="20752" y="19475"/>
                  <a:pt x="21156" y="18609"/>
                  <a:pt x="21282" y="17609"/>
                </a:cubicBezTo>
                <a:cubicBezTo>
                  <a:pt x="21484" y="16010"/>
                  <a:pt x="21600" y="13528"/>
                  <a:pt x="21600" y="10800"/>
                </a:cubicBezTo>
                <a:cubicBezTo>
                  <a:pt x="21600" y="8072"/>
                  <a:pt x="21484" y="5590"/>
                  <a:pt x="21282" y="3991"/>
                </a:cubicBezTo>
                <a:close/>
                <a:moveTo>
                  <a:pt x="21282" y="3991"/>
                </a:moveTo>
              </a:path>
            </a:pathLst>
          </a:custGeom>
          <a:solidFill>
            <a:schemeClr val="accent1"/>
          </a:solidFill>
          <a:ln w="2957" cap="flat">
            <a:noFill/>
            <a:prstDash val="solid"/>
            <a:miter lim="800000"/>
            <a:headEnd type="none" w="med" len="med"/>
            <a:tailEnd type="none" w="med" len="med"/>
          </a:ln>
        </p:spPr>
        <p:txBody>
          <a:bodyPr lIns="0" tIns="0" rIns="0" bIns="0"/>
          <a:lstStyle/>
          <a:p>
            <a:endParaRPr lang="en-US"/>
          </a:p>
        </p:txBody>
      </p:sp>
      <p:sp>
        <p:nvSpPr>
          <p:cNvPr id="78" name="AutoShape 26">
            <a:extLst>
              <a:ext uri="{FF2B5EF4-FFF2-40B4-BE49-F238E27FC236}">
                <a16:creationId xmlns:a16="http://schemas.microsoft.com/office/drawing/2014/main" id="{009869B3-C3F6-5147-A3FD-78136960DC6F}"/>
              </a:ext>
            </a:extLst>
          </p:cNvPr>
          <p:cNvSpPr>
            <a:spLocks noChangeAspect="1"/>
          </p:cNvSpPr>
          <p:nvPr/>
        </p:nvSpPr>
        <p:spPr bwMode="auto">
          <a:xfrm>
            <a:off x="4941086" y="5587463"/>
            <a:ext cx="313653" cy="327497"/>
          </a:xfrm>
          <a:custGeom>
            <a:avLst/>
            <a:gdLst/>
            <a:ahLst/>
            <a:cxnLst/>
            <a:rect l="0" t="0" r="r" b="b"/>
            <a:pathLst>
              <a:path w="21600" h="21600">
                <a:moveTo>
                  <a:pt x="21600" y="10800"/>
                </a:moveTo>
                <a:lnTo>
                  <a:pt x="10324" y="0"/>
                </a:lnTo>
                <a:lnTo>
                  <a:pt x="0" y="9889"/>
                </a:lnTo>
                <a:lnTo>
                  <a:pt x="10338" y="9889"/>
                </a:lnTo>
                <a:lnTo>
                  <a:pt x="10338" y="7585"/>
                </a:lnTo>
                <a:lnTo>
                  <a:pt x="14892" y="10800"/>
                </a:lnTo>
                <a:lnTo>
                  <a:pt x="10338" y="14015"/>
                </a:lnTo>
                <a:lnTo>
                  <a:pt x="10338" y="11711"/>
                </a:lnTo>
                <a:lnTo>
                  <a:pt x="0" y="11711"/>
                </a:lnTo>
                <a:lnTo>
                  <a:pt x="10324" y="21600"/>
                </a:lnTo>
                <a:cubicBezTo>
                  <a:pt x="10324" y="21600"/>
                  <a:pt x="21600" y="10800"/>
                  <a:pt x="21600" y="10800"/>
                </a:cubicBezTo>
                <a:close/>
                <a:moveTo>
                  <a:pt x="21600" y="1080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79" name="AutoShape 27">
            <a:extLst>
              <a:ext uri="{FF2B5EF4-FFF2-40B4-BE49-F238E27FC236}">
                <a16:creationId xmlns:a16="http://schemas.microsoft.com/office/drawing/2014/main" id="{0563E98D-892A-4D49-851C-3C5C932D02AB}"/>
              </a:ext>
            </a:extLst>
          </p:cNvPr>
          <p:cNvSpPr>
            <a:spLocks noChangeAspect="1"/>
          </p:cNvSpPr>
          <p:nvPr/>
        </p:nvSpPr>
        <p:spPr bwMode="auto">
          <a:xfrm>
            <a:off x="5382828" y="5587463"/>
            <a:ext cx="283464" cy="327497"/>
          </a:xfrm>
          <a:custGeom>
            <a:avLst/>
            <a:gdLst/>
            <a:ahLst/>
            <a:cxnLst/>
            <a:rect l="0" t="0" r="r" b="b"/>
            <a:pathLst>
              <a:path w="21600" h="21600">
                <a:moveTo>
                  <a:pt x="0" y="21600"/>
                </a:moveTo>
                <a:lnTo>
                  <a:pt x="0" y="12155"/>
                </a:lnTo>
                <a:lnTo>
                  <a:pt x="9460" y="12155"/>
                </a:lnTo>
                <a:lnTo>
                  <a:pt x="9460" y="13430"/>
                </a:lnTo>
                <a:lnTo>
                  <a:pt x="12496" y="10800"/>
                </a:lnTo>
                <a:lnTo>
                  <a:pt x="9460" y="8170"/>
                </a:lnTo>
                <a:lnTo>
                  <a:pt x="9460" y="9445"/>
                </a:lnTo>
                <a:lnTo>
                  <a:pt x="0" y="9445"/>
                </a:lnTo>
                <a:lnTo>
                  <a:pt x="0" y="0"/>
                </a:lnTo>
                <a:lnTo>
                  <a:pt x="21600" y="10800"/>
                </a:lnTo>
                <a:cubicBezTo>
                  <a:pt x="21600" y="10800"/>
                  <a:pt x="0" y="21600"/>
                  <a:pt x="0" y="21600"/>
                </a:cubicBezTo>
                <a:close/>
                <a:moveTo>
                  <a:pt x="0" y="2160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80" name="AutoShape 30">
            <a:extLst>
              <a:ext uri="{FF2B5EF4-FFF2-40B4-BE49-F238E27FC236}">
                <a16:creationId xmlns:a16="http://schemas.microsoft.com/office/drawing/2014/main" id="{65308BA6-A8C0-E54E-BA22-CFC91115C1C9}"/>
              </a:ext>
            </a:extLst>
          </p:cNvPr>
          <p:cNvSpPr>
            <a:spLocks noChangeAspect="1"/>
          </p:cNvSpPr>
          <p:nvPr/>
        </p:nvSpPr>
        <p:spPr bwMode="auto">
          <a:xfrm>
            <a:off x="5781566" y="5589640"/>
            <a:ext cx="217817" cy="323141"/>
          </a:xfrm>
          <a:custGeom>
            <a:avLst/>
            <a:gdLst/>
            <a:ahLst/>
            <a:cxnLst/>
            <a:rect l="0" t="0" r="r" b="b"/>
            <a:pathLst>
              <a:path w="21600" h="21600">
                <a:moveTo>
                  <a:pt x="7206" y="20898"/>
                </a:moveTo>
                <a:lnTo>
                  <a:pt x="3286" y="20898"/>
                </a:lnTo>
                <a:lnTo>
                  <a:pt x="15748" y="10800"/>
                </a:lnTo>
                <a:lnTo>
                  <a:pt x="3286" y="702"/>
                </a:lnTo>
                <a:lnTo>
                  <a:pt x="7206" y="702"/>
                </a:lnTo>
                <a:lnTo>
                  <a:pt x="19669" y="10800"/>
                </a:lnTo>
                <a:cubicBezTo>
                  <a:pt x="19669" y="10800"/>
                  <a:pt x="7206" y="20898"/>
                  <a:pt x="7206" y="20898"/>
                </a:cubicBezTo>
                <a:close/>
                <a:moveTo>
                  <a:pt x="0" y="0"/>
                </a:moveTo>
                <a:lnTo>
                  <a:pt x="0" y="21600"/>
                </a:lnTo>
                <a:lnTo>
                  <a:pt x="21600" y="21600"/>
                </a:lnTo>
                <a:lnTo>
                  <a:pt x="21600" y="0"/>
                </a:lnTo>
                <a:cubicBezTo>
                  <a:pt x="21600" y="0"/>
                  <a:pt x="0" y="0"/>
                  <a:pt x="0" y="0"/>
                </a:cubicBezTo>
                <a:close/>
                <a:moveTo>
                  <a:pt x="0" y="0"/>
                </a:moveTo>
              </a:path>
            </a:pathLst>
          </a:custGeom>
          <a:solidFill>
            <a:schemeClr val="accent1"/>
          </a:solidFill>
          <a:ln>
            <a:noFill/>
          </a:ln>
          <a:extLst>
            <a:ext uri="{91240B29-F687-4f45-9708-019B960494DF}">
              <a14:hiddenLine xmlns:a14="http://schemas.microsoft.com/office/drawing/2010/main" xmlns="" w="12700" cap="flat">
                <a:solidFill>
                  <a:schemeClr val="tx1"/>
                </a:solidFill>
                <a:miter lim="800000"/>
                <a:headEnd type="none" w="med" len="med"/>
                <a:tailEnd type="none" w="med" len="med"/>
              </a14:hiddenLine>
            </a:ext>
          </a:extLst>
        </p:spPr>
        <p:txBody>
          <a:bodyPr lIns="0" tIns="0" rIns="0" bIns="0"/>
          <a:lstStyle/>
          <a:p>
            <a:endParaRPr lang="en-US"/>
          </a:p>
        </p:txBody>
      </p:sp>
      <p:sp>
        <p:nvSpPr>
          <p:cNvPr id="81" name="AutoShape 2">
            <a:extLst>
              <a:ext uri="{FF2B5EF4-FFF2-40B4-BE49-F238E27FC236}">
                <a16:creationId xmlns:a16="http://schemas.microsoft.com/office/drawing/2014/main" id="{5868B52A-AAB4-1244-B70F-7BFDCF301CBB}"/>
              </a:ext>
            </a:extLst>
          </p:cNvPr>
          <p:cNvSpPr>
            <a:spLocks/>
          </p:cNvSpPr>
          <p:nvPr/>
        </p:nvSpPr>
        <p:spPr bwMode="auto">
          <a:xfrm>
            <a:off x="6344960" y="5020179"/>
            <a:ext cx="311683" cy="283349"/>
          </a:xfrm>
          <a:custGeom>
            <a:avLst/>
            <a:gdLst/>
            <a:ahLst/>
            <a:cxnLst/>
            <a:rect l="0" t="0" r="r" b="b"/>
            <a:pathLst>
              <a:path w="19837" h="19072">
                <a:moveTo>
                  <a:pt x="16824" y="1727"/>
                </a:moveTo>
                <a:cubicBezTo>
                  <a:pt x="13199" y="-1264"/>
                  <a:pt x="8645" y="-216"/>
                  <a:pt x="5479" y="3679"/>
                </a:cubicBezTo>
                <a:lnTo>
                  <a:pt x="4021" y="2476"/>
                </a:lnTo>
                <a:lnTo>
                  <a:pt x="4108" y="8088"/>
                </a:lnTo>
                <a:lnTo>
                  <a:pt x="9280" y="6816"/>
                </a:lnTo>
                <a:lnTo>
                  <a:pt x="7858" y="5643"/>
                </a:lnTo>
                <a:cubicBezTo>
                  <a:pt x="10275" y="2785"/>
                  <a:pt x="13657" y="2350"/>
                  <a:pt x="15815" y="4130"/>
                </a:cubicBezTo>
                <a:cubicBezTo>
                  <a:pt x="19382" y="7074"/>
                  <a:pt x="19366" y="12363"/>
                  <a:pt x="17724" y="14587"/>
                </a:cubicBezTo>
                <a:lnTo>
                  <a:pt x="17911" y="14740"/>
                </a:lnTo>
                <a:cubicBezTo>
                  <a:pt x="20567" y="11143"/>
                  <a:pt x="20718" y="4941"/>
                  <a:pt x="16824" y="1727"/>
                </a:cubicBezTo>
                <a:close/>
                <a:moveTo>
                  <a:pt x="10556" y="12256"/>
                </a:moveTo>
                <a:lnTo>
                  <a:pt x="11978" y="13429"/>
                </a:lnTo>
                <a:cubicBezTo>
                  <a:pt x="9561" y="16286"/>
                  <a:pt x="6179" y="16722"/>
                  <a:pt x="4022" y="14941"/>
                </a:cubicBezTo>
                <a:cubicBezTo>
                  <a:pt x="454" y="11998"/>
                  <a:pt x="470" y="6708"/>
                  <a:pt x="2112" y="4485"/>
                </a:cubicBezTo>
                <a:lnTo>
                  <a:pt x="1925" y="4331"/>
                </a:lnTo>
                <a:cubicBezTo>
                  <a:pt x="-731" y="7928"/>
                  <a:pt x="-882" y="14131"/>
                  <a:pt x="3012" y="17345"/>
                </a:cubicBezTo>
                <a:cubicBezTo>
                  <a:pt x="6637" y="20336"/>
                  <a:pt x="11191" y="19288"/>
                  <a:pt x="14357" y="15392"/>
                </a:cubicBezTo>
                <a:lnTo>
                  <a:pt x="15815" y="16596"/>
                </a:lnTo>
                <a:lnTo>
                  <a:pt x="15728" y="10983"/>
                </a:lnTo>
                <a:cubicBezTo>
                  <a:pt x="15728" y="10983"/>
                  <a:pt x="10556" y="12256"/>
                  <a:pt x="10556" y="12256"/>
                </a:cubicBezTo>
                <a:close/>
                <a:moveTo>
                  <a:pt x="10556" y="12256"/>
                </a:moveTo>
              </a:path>
            </a:pathLst>
          </a:custGeom>
          <a:solidFill>
            <a:srgbClr val="3A4A54"/>
          </a:solidFill>
          <a:ln>
            <a:noFill/>
          </a:ln>
        </p:spPr>
        <p:txBody>
          <a:bodyPr lIns="0" tIns="0" rIns="0" bIns="0"/>
          <a:lstStyle/>
          <a:p>
            <a:endParaRPr lang="en-US"/>
          </a:p>
        </p:txBody>
      </p:sp>
      <p:sp>
        <p:nvSpPr>
          <p:cNvPr id="82" name="AutoShape 3">
            <a:extLst>
              <a:ext uri="{FF2B5EF4-FFF2-40B4-BE49-F238E27FC236}">
                <a16:creationId xmlns:a16="http://schemas.microsoft.com/office/drawing/2014/main" id="{7EFA8F73-FF20-4C4B-9CE7-407C78403D78}"/>
              </a:ext>
            </a:extLst>
          </p:cNvPr>
          <p:cNvSpPr>
            <a:spLocks/>
          </p:cNvSpPr>
          <p:nvPr/>
        </p:nvSpPr>
        <p:spPr bwMode="auto">
          <a:xfrm>
            <a:off x="7488659" y="5020180"/>
            <a:ext cx="301380" cy="289789"/>
          </a:xfrm>
          <a:custGeom>
            <a:avLst/>
            <a:gdLst/>
            <a:ahLst/>
            <a:cxnLst/>
            <a:rect l="0" t="0" r="r" b="b"/>
            <a:pathLst>
              <a:path w="21600" h="21349">
                <a:moveTo>
                  <a:pt x="7238" y="3428"/>
                </a:moveTo>
                <a:cubicBezTo>
                  <a:pt x="10139" y="3317"/>
                  <a:pt x="12731" y="4634"/>
                  <a:pt x="14432" y="6786"/>
                </a:cubicBezTo>
                <a:lnTo>
                  <a:pt x="11740" y="8533"/>
                </a:lnTo>
                <a:lnTo>
                  <a:pt x="21208" y="12539"/>
                </a:lnTo>
                <a:lnTo>
                  <a:pt x="21460" y="2224"/>
                </a:lnTo>
                <a:lnTo>
                  <a:pt x="18991" y="3827"/>
                </a:lnTo>
                <a:cubicBezTo>
                  <a:pt x="16773" y="1408"/>
                  <a:pt x="13550" y="-126"/>
                  <a:pt x="10065" y="8"/>
                </a:cubicBezTo>
                <a:cubicBezTo>
                  <a:pt x="5582" y="180"/>
                  <a:pt x="1795" y="2948"/>
                  <a:pt x="0" y="6849"/>
                </a:cubicBezTo>
                <a:lnTo>
                  <a:pt x="417" y="7154"/>
                </a:lnTo>
                <a:cubicBezTo>
                  <a:pt x="1967" y="4987"/>
                  <a:pt x="4420" y="3537"/>
                  <a:pt x="7238" y="3428"/>
                </a:cubicBezTo>
                <a:close/>
                <a:moveTo>
                  <a:pt x="21182" y="14194"/>
                </a:moveTo>
                <a:cubicBezTo>
                  <a:pt x="19633" y="16361"/>
                  <a:pt x="17179" y="17811"/>
                  <a:pt x="14361" y="17919"/>
                </a:cubicBezTo>
                <a:cubicBezTo>
                  <a:pt x="11460" y="18031"/>
                  <a:pt x="8868" y="16714"/>
                  <a:pt x="7167" y="14562"/>
                </a:cubicBezTo>
                <a:lnTo>
                  <a:pt x="9859" y="12815"/>
                </a:lnTo>
                <a:lnTo>
                  <a:pt x="392" y="8809"/>
                </a:lnTo>
                <a:lnTo>
                  <a:pt x="139" y="19124"/>
                </a:lnTo>
                <a:lnTo>
                  <a:pt x="2608" y="17521"/>
                </a:lnTo>
                <a:cubicBezTo>
                  <a:pt x="4826" y="19940"/>
                  <a:pt x="8049" y="21474"/>
                  <a:pt x="11534" y="21340"/>
                </a:cubicBezTo>
                <a:cubicBezTo>
                  <a:pt x="16017" y="21168"/>
                  <a:pt x="19804" y="18400"/>
                  <a:pt x="21600" y="14499"/>
                </a:cubicBezTo>
                <a:cubicBezTo>
                  <a:pt x="21600" y="14499"/>
                  <a:pt x="21182" y="14194"/>
                  <a:pt x="21182" y="14194"/>
                </a:cubicBezTo>
                <a:close/>
                <a:moveTo>
                  <a:pt x="21182" y="14194"/>
                </a:moveTo>
              </a:path>
            </a:pathLst>
          </a:custGeom>
          <a:solidFill>
            <a:srgbClr val="3A4A54"/>
          </a:solidFill>
          <a:ln>
            <a:noFill/>
          </a:ln>
        </p:spPr>
        <p:txBody>
          <a:bodyPr lIns="0" tIns="0" rIns="0" bIns="0"/>
          <a:lstStyle/>
          <a:p>
            <a:endParaRPr lang="en-US"/>
          </a:p>
        </p:txBody>
      </p:sp>
      <p:sp>
        <p:nvSpPr>
          <p:cNvPr id="83" name="AutoShape 4">
            <a:extLst>
              <a:ext uri="{FF2B5EF4-FFF2-40B4-BE49-F238E27FC236}">
                <a16:creationId xmlns:a16="http://schemas.microsoft.com/office/drawing/2014/main" id="{69859094-C0C6-E841-88B0-B00FE9367613}"/>
              </a:ext>
            </a:extLst>
          </p:cNvPr>
          <p:cNvSpPr>
            <a:spLocks/>
          </p:cNvSpPr>
          <p:nvPr/>
        </p:nvSpPr>
        <p:spPr bwMode="auto">
          <a:xfrm>
            <a:off x="6932265" y="5030483"/>
            <a:ext cx="310396" cy="278197"/>
          </a:xfrm>
          <a:custGeom>
            <a:avLst/>
            <a:gdLst/>
            <a:ahLst/>
            <a:cxnLst/>
            <a:rect l="0" t="0" r="r" b="b"/>
            <a:pathLst>
              <a:path w="21600" h="20863">
                <a:moveTo>
                  <a:pt x="18688" y="11155"/>
                </a:moveTo>
                <a:cubicBezTo>
                  <a:pt x="18099" y="7471"/>
                  <a:pt x="16104" y="4070"/>
                  <a:pt x="12918" y="1968"/>
                </a:cubicBezTo>
                <a:cubicBezTo>
                  <a:pt x="8818" y="-737"/>
                  <a:pt x="3847" y="-566"/>
                  <a:pt x="0" y="1942"/>
                </a:cubicBezTo>
                <a:lnTo>
                  <a:pt x="197" y="2493"/>
                </a:lnTo>
                <a:cubicBezTo>
                  <a:pt x="2827" y="1454"/>
                  <a:pt x="5851" y="1665"/>
                  <a:pt x="8427" y="3364"/>
                </a:cubicBezTo>
                <a:cubicBezTo>
                  <a:pt x="11080" y="5115"/>
                  <a:pt x="12634" y="8052"/>
                  <a:pt x="12914" y="11155"/>
                </a:cubicBezTo>
                <a:lnTo>
                  <a:pt x="9483" y="11155"/>
                </a:lnTo>
                <a:lnTo>
                  <a:pt x="15616" y="20863"/>
                </a:lnTo>
                <a:lnTo>
                  <a:pt x="21600" y="11155"/>
                </a:lnTo>
                <a:cubicBezTo>
                  <a:pt x="21600" y="11155"/>
                  <a:pt x="18688" y="11155"/>
                  <a:pt x="18688" y="11155"/>
                </a:cubicBezTo>
                <a:close/>
                <a:moveTo>
                  <a:pt x="18688" y="11155"/>
                </a:moveTo>
              </a:path>
            </a:pathLst>
          </a:custGeom>
          <a:solidFill>
            <a:srgbClr val="3A4A54"/>
          </a:solidFill>
          <a:ln>
            <a:noFill/>
          </a:ln>
        </p:spPr>
        <p:txBody>
          <a:bodyPr lIns="0" tIns="0" rIns="0" bIns="0"/>
          <a:lstStyle/>
          <a:p>
            <a:endParaRPr lang="en-US"/>
          </a:p>
        </p:txBody>
      </p:sp>
      <p:sp>
        <p:nvSpPr>
          <p:cNvPr id="84" name="AutoShape 5">
            <a:extLst>
              <a:ext uri="{FF2B5EF4-FFF2-40B4-BE49-F238E27FC236}">
                <a16:creationId xmlns:a16="http://schemas.microsoft.com/office/drawing/2014/main" id="{0A8597E1-24D0-DD47-8296-6ED0E18FA550}"/>
              </a:ext>
            </a:extLst>
          </p:cNvPr>
          <p:cNvSpPr>
            <a:spLocks/>
          </p:cNvSpPr>
          <p:nvPr/>
        </p:nvSpPr>
        <p:spPr bwMode="auto">
          <a:xfrm>
            <a:off x="8045053" y="4999572"/>
            <a:ext cx="309108" cy="323275"/>
          </a:xfrm>
          <a:custGeom>
            <a:avLst/>
            <a:gdLst/>
            <a:ahLst/>
            <a:cxnLst/>
            <a:rect l="0" t="0" r="r" b="b"/>
            <a:pathLst>
              <a:path w="21600" h="21407">
                <a:moveTo>
                  <a:pt x="16654" y="15818"/>
                </a:moveTo>
                <a:cubicBezTo>
                  <a:pt x="15807" y="16770"/>
                  <a:pt x="14671" y="17476"/>
                  <a:pt x="13378" y="17822"/>
                </a:cubicBezTo>
                <a:cubicBezTo>
                  <a:pt x="12022" y="18185"/>
                  <a:pt x="10596" y="18125"/>
                  <a:pt x="9299" y="17677"/>
                </a:cubicBezTo>
                <a:lnTo>
                  <a:pt x="8094" y="20824"/>
                </a:lnTo>
                <a:cubicBezTo>
                  <a:pt x="10077" y="21509"/>
                  <a:pt x="12258" y="21600"/>
                  <a:pt x="14332" y="21045"/>
                </a:cubicBezTo>
                <a:cubicBezTo>
                  <a:pt x="16305" y="20518"/>
                  <a:pt x="18038" y="19444"/>
                  <a:pt x="19334" y="17993"/>
                </a:cubicBezTo>
                <a:lnTo>
                  <a:pt x="21211" y="19517"/>
                </a:lnTo>
                <a:lnTo>
                  <a:pt x="21600" y="12905"/>
                </a:lnTo>
                <a:lnTo>
                  <a:pt x="14790" y="14304"/>
                </a:lnTo>
                <a:cubicBezTo>
                  <a:pt x="14790" y="14304"/>
                  <a:pt x="16654" y="15818"/>
                  <a:pt x="16654" y="15818"/>
                </a:cubicBezTo>
                <a:close/>
                <a:moveTo>
                  <a:pt x="12801" y="5687"/>
                </a:moveTo>
                <a:cubicBezTo>
                  <a:pt x="14765" y="6036"/>
                  <a:pt x="16463" y="7204"/>
                  <a:pt x="17420" y="8875"/>
                </a:cubicBezTo>
                <a:cubicBezTo>
                  <a:pt x="17769" y="9483"/>
                  <a:pt x="18006" y="10134"/>
                  <a:pt x="18130" y="10801"/>
                </a:cubicBezTo>
                <a:lnTo>
                  <a:pt x="21600" y="10219"/>
                </a:lnTo>
                <a:cubicBezTo>
                  <a:pt x="21411" y="9200"/>
                  <a:pt x="21049" y="8204"/>
                  <a:pt x="20515" y="7273"/>
                </a:cubicBezTo>
                <a:cubicBezTo>
                  <a:pt x="19048" y="4712"/>
                  <a:pt x="16442" y="2923"/>
                  <a:pt x="13428" y="2392"/>
                </a:cubicBezTo>
                <a:lnTo>
                  <a:pt x="13884" y="0"/>
                </a:lnTo>
                <a:lnTo>
                  <a:pt x="7678" y="3010"/>
                </a:lnTo>
                <a:lnTo>
                  <a:pt x="12379" y="7897"/>
                </a:lnTo>
                <a:cubicBezTo>
                  <a:pt x="12379" y="7897"/>
                  <a:pt x="12801" y="5687"/>
                  <a:pt x="12801" y="5687"/>
                </a:cubicBezTo>
                <a:close/>
                <a:moveTo>
                  <a:pt x="7297" y="7053"/>
                </a:moveTo>
                <a:lnTo>
                  <a:pt x="5031" y="4487"/>
                </a:lnTo>
                <a:cubicBezTo>
                  <a:pt x="1988" y="6929"/>
                  <a:pt x="477" y="11014"/>
                  <a:pt x="1965" y="15072"/>
                </a:cubicBezTo>
                <a:lnTo>
                  <a:pt x="0" y="15738"/>
                </a:lnTo>
                <a:lnTo>
                  <a:pt x="5580" y="19189"/>
                </a:lnTo>
                <a:lnTo>
                  <a:pt x="7599" y="13162"/>
                </a:lnTo>
                <a:lnTo>
                  <a:pt x="5288" y="13946"/>
                </a:lnTo>
                <a:cubicBezTo>
                  <a:pt x="4333" y="11302"/>
                  <a:pt x="5314" y="8644"/>
                  <a:pt x="7297" y="7053"/>
                </a:cubicBezTo>
                <a:close/>
                <a:moveTo>
                  <a:pt x="7297" y="7053"/>
                </a:moveTo>
              </a:path>
            </a:pathLst>
          </a:custGeom>
          <a:solidFill>
            <a:srgbClr val="3A4A54"/>
          </a:solidFill>
          <a:ln>
            <a:noFill/>
          </a:ln>
        </p:spPr>
        <p:txBody>
          <a:bodyPr lIns="0" tIns="0" rIns="0" bIns="0"/>
          <a:lstStyle/>
          <a:p>
            <a:endParaRPr lang="en-US"/>
          </a:p>
        </p:txBody>
      </p:sp>
      <p:sp>
        <p:nvSpPr>
          <p:cNvPr id="85" name="AutoShape 6">
            <a:extLst>
              <a:ext uri="{FF2B5EF4-FFF2-40B4-BE49-F238E27FC236}">
                <a16:creationId xmlns:a16="http://schemas.microsoft.com/office/drawing/2014/main" id="{DBD3F503-1319-4A49-B278-3B76B6A0E711}"/>
              </a:ext>
            </a:extLst>
          </p:cNvPr>
          <p:cNvSpPr>
            <a:spLocks/>
          </p:cNvSpPr>
          <p:nvPr/>
        </p:nvSpPr>
        <p:spPr bwMode="auto">
          <a:xfrm>
            <a:off x="6921961" y="5597181"/>
            <a:ext cx="306532" cy="302669"/>
          </a:xfrm>
          <a:custGeom>
            <a:avLst/>
            <a:gdLst/>
            <a:ahLst/>
            <a:cxnLst/>
            <a:rect l="0" t="0" r="r" b="b"/>
            <a:pathLst>
              <a:path w="21600" h="21600">
                <a:moveTo>
                  <a:pt x="12388" y="1728"/>
                </a:moveTo>
                <a:cubicBezTo>
                  <a:pt x="12267" y="1728"/>
                  <a:pt x="17551" y="3367"/>
                  <a:pt x="17551" y="8676"/>
                </a:cubicBezTo>
                <a:cubicBezTo>
                  <a:pt x="17551" y="11784"/>
                  <a:pt x="15587" y="13944"/>
                  <a:pt x="12963" y="14594"/>
                </a:cubicBezTo>
                <a:lnTo>
                  <a:pt x="12963" y="12366"/>
                </a:lnTo>
                <a:lnTo>
                  <a:pt x="8062" y="16891"/>
                </a:lnTo>
                <a:lnTo>
                  <a:pt x="12963" y="21600"/>
                </a:lnTo>
                <a:lnTo>
                  <a:pt x="12963" y="19282"/>
                </a:lnTo>
                <a:cubicBezTo>
                  <a:pt x="17074" y="18955"/>
                  <a:pt x="21600" y="15594"/>
                  <a:pt x="21600" y="10952"/>
                </a:cubicBezTo>
                <a:cubicBezTo>
                  <a:pt x="21600" y="6097"/>
                  <a:pt x="17939" y="1728"/>
                  <a:pt x="12388" y="1728"/>
                </a:cubicBezTo>
                <a:close/>
                <a:moveTo>
                  <a:pt x="4049" y="12924"/>
                </a:moveTo>
                <a:cubicBezTo>
                  <a:pt x="4049" y="9816"/>
                  <a:pt x="6013" y="7656"/>
                  <a:pt x="8637" y="7006"/>
                </a:cubicBezTo>
                <a:lnTo>
                  <a:pt x="8637" y="9234"/>
                </a:lnTo>
                <a:lnTo>
                  <a:pt x="13538" y="4709"/>
                </a:lnTo>
                <a:lnTo>
                  <a:pt x="8637" y="0"/>
                </a:lnTo>
                <a:lnTo>
                  <a:pt x="8637" y="2318"/>
                </a:lnTo>
                <a:cubicBezTo>
                  <a:pt x="4526" y="2645"/>
                  <a:pt x="0" y="6006"/>
                  <a:pt x="0" y="10647"/>
                </a:cubicBezTo>
                <a:cubicBezTo>
                  <a:pt x="0" y="15503"/>
                  <a:pt x="3660" y="19872"/>
                  <a:pt x="9212" y="19872"/>
                </a:cubicBezTo>
                <a:cubicBezTo>
                  <a:pt x="9333" y="19872"/>
                  <a:pt x="4049" y="18233"/>
                  <a:pt x="4049" y="12924"/>
                </a:cubicBezTo>
                <a:close/>
                <a:moveTo>
                  <a:pt x="4049" y="12924"/>
                </a:moveTo>
              </a:path>
            </a:pathLst>
          </a:custGeom>
          <a:solidFill>
            <a:srgbClr val="3A4A54"/>
          </a:solidFill>
          <a:ln>
            <a:noFill/>
          </a:ln>
        </p:spPr>
        <p:txBody>
          <a:bodyPr lIns="0" tIns="0" rIns="0" bIns="0"/>
          <a:lstStyle/>
          <a:p>
            <a:endParaRPr lang="en-US"/>
          </a:p>
        </p:txBody>
      </p:sp>
      <p:sp>
        <p:nvSpPr>
          <p:cNvPr id="86" name="AutoShape 7">
            <a:extLst>
              <a:ext uri="{FF2B5EF4-FFF2-40B4-BE49-F238E27FC236}">
                <a16:creationId xmlns:a16="http://schemas.microsoft.com/office/drawing/2014/main" id="{B3DC3C72-8F0B-A647-A284-97BEE5CC9369}"/>
              </a:ext>
            </a:extLst>
          </p:cNvPr>
          <p:cNvSpPr>
            <a:spLocks/>
          </p:cNvSpPr>
          <p:nvPr/>
        </p:nvSpPr>
        <p:spPr bwMode="auto">
          <a:xfrm>
            <a:off x="6344960" y="5607485"/>
            <a:ext cx="324563" cy="315548"/>
          </a:xfrm>
          <a:custGeom>
            <a:avLst/>
            <a:gdLst/>
            <a:ahLst/>
            <a:cxnLst/>
            <a:rect l="0" t="0" r="r" b="b"/>
            <a:pathLst>
              <a:path w="21386" h="21600">
                <a:moveTo>
                  <a:pt x="15967" y="6959"/>
                </a:moveTo>
                <a:lnTo>
                  <a:pt x="18401" y="2483"/>
                </a:lnTo>
                <a:lnTo>
                  <a:pt x="17165" y="3200"/>
                </a:lnTo>
                <a:cubicBezTo>
                  <a:pt x="16839" y="2548"/>
                  <a:pt x="15993" y="1121"/>
                  <a:pt x="15600" y="700"/>
                </a:cubicBezTo>
                <a:cubicBezTo>
                  <a:pt x="15177" y="246"/>
                  <a:pt x="14441" y="0"/>
                  <a:pt x="13988" y="0"/>
                </a:cubicBezTo>
                <a:lnTo>
                  <a:pt x="8212" y="0"/>
                </a:lnTo>
                <a:cubicBezTo>
                  <a:pt x="10564" y="1822"/>
                  <a:pt x="11903" y="4650"/>
                  <a:pt x="12306" y="6020"/>
                </a:cubicBezTo>
                <a:lnTo>
                  <a:pt x="10688" y="6959"/>
                </a:lnTo>
                <a:cubicBezTo>
                  <a:pt x="10688" y="6959"/>
                  <a:pt x="15967" y="6959"/>
                  <a:pt x="15967" y="6959"/>
                </a:cubicBezTo>
                <a:close/>
                <a:moveTo>
                  <a:pt x="21210" y="10649"/>
                </a:moveTo>
                <a:cubicBezTo>
                  <a:pt x="20936" y="10078"/>
                  <a:pt x="19677" y="7300"/>
                  <a:pt x="19677" y="7300"/>
                </a:cubicBezTo>
                <a:lnTo>
                  <a:pt x="14888" y="9937"/>
                </a:lnTo>
                <a:lnTo>
                  <a:pt x="17393" y="13945"/>
                </a:lnTo>
                <a:cubicBezTo>
                  <a:pt x="18122" y="13824"/>
                  <a:pt x="20152" y="13483"/>
                  <a:pt x="20826" y="12720"/>
                </a:cubicBezTo>
                <a:cubicBezTo>
                  <a:pt x="21501" y="11955"/>
                  <a:pt x="21481" y="11219"/>
                  <a:pt x="21210" y="10649"/>
                </a:cubicBezTo>
                <a:close/>
                <a:moveTo>
                  <a:pt x="13478" y="14349"/>
                </a:moveTo>
                <a:lnTo>
                  <a:pt x="13505" y="12423"/>
                </a:lnTo>
                <a:lnTo>
                  <a:pt x="10866" y="17173"/>
                </a:lnTo>
                <a:lnTo>
                  <a:pt x="13382" y="21600"/>
                </a:lnTo>
                <a:lnTo>
                  <a:pt x="13402" y="20128"/>
                </a:lnTo>
                <a:cubicBezTo>
                  <a:pt x="14108" y="20162"/>
                  <a:pt x="15719" y="20115"/>
                  <a:pt x="16267" y="19969"/>
                </a:cubicBezTo>
                <a:cubicBezTo>
                  <a:pt x="16858" y="19818"/>
                  <a:pt x="17430" y="19278"/>
                  <a:pt x="17658" y="18870"/>
                </a:cubicBezTo>
                <a:lnTo>
                  <a:pt x="20544" y="13675"/>
                </a:lnTo>
                <a:cubicBezTo>
                  <a:pt x="17851" y="14879"/>
                  <a:pt x="14824" y="14672"/>
                  <a:pt x="13478" y="14349"/>
                </a:cubicBezTo>
                <a:close/>
                <a:moveTo>
                  <a:pt x="7742" y="12048"/>
                </a:moveTo>
                <a:lnTo>
                  <a:pt x="5102" y="7300"/>
                </a:lnTo>
                <a:lnTo>
                  <a:pt x="153" y="7349"/>
                </a:lnTo>
                <a:lnTo>
                  <a:pt x="1369" y="8101"/>
                </a:lnTo>
                <a:cubicBezTo>
                  <a:pt x="989" y="8721"/>
                  <a:pt x="221" y="10193"/>
                  <a:pt x="69" y="10759"/>
                </a:cubicBezTo>
                <a:cubicBezTo>
                  <a:pt x="-99" y="11367"/>
                  <a:pt x="64" y="12151"/>
                  <a:pt x="291" y="12560"/>
                </a:cubicBezTo>
                <a:lnTo>
                  <a:pt x="3178" y="17754"/>
                </a:lnTo>
                <a:cubicBezTo>
                  <a:pt x="3519" y="14729"/>
                  <a:pt x="5209" y="12110"/>
                  <a:pt x="6150" y="11062"/>
                </a:cubicBezTo>
                <a:cubicBezTo>
                  <a:pt x="6150" y="11062"/>
                  <a:pt x="7742" y="12048"/>
                  <a:pt x="7742" y="12048"/>
                </a:cubicBezTo>
                <a:close/>
                <a:moveTo>
                  <a:pt x="3834" y="18486"/>
                </a:moveTo>
                <a:cubicBezTo>
                  <a:pt x="4134" y="19476"/>
                  <a:pt x="4757" y="19824"/>
                  <a:pt x="5368" y="19866"/>
                </a:cubicBezTo>
                <a:cubicBezTo>
                  <a:pt x="5982" y="19906"/>
                  <a:pt x="8928" y="20162"/>
                  <a:pt x="8928" y="20162"/>
                </a:cubicBezTo>
                <a:lnTo>
                  <a:pt x="9124" y="14535"/>
                </a:lnTo>
                <a:lnTo>
                  <a:pt x="4527" y="14786"/>
                </a:lnTo>
                <a:cubicBezTo>
                  <a:pt x="4264" y="15501"/>
                  <a:pt x="3535" y="17498"/>
                  <a:pt x="3834" y="18486"/>
                </a:cubicBezTo>
                <a:close/>
                <a:moveTo>
                  <a:pt x="7275" y="226"/>
                </a:moveTo>
                <a:cubicBezTo>
                  <a:pt x="6300" y="0"/>
                  <a:pt x="5697" y="385"/>
                  <a:pt x="5357" y="916"/>
                </a:cubicBezTo>
                <a:cubicBezTo>
                  <a:pt x="5016" y="1446"/>
                  <a:pt x="3331" y="3969"/>
                  <a:pt x="3331" y="3969"/>
                </a:cubicBezTo>
                <a:lnTo>
                  <a:pt x="7924" y="6959"/>
                </a:lnTo>
                <a:lnTo>
                  <a:pt x="10013" y="2700"/>
                </a:lnTo>
                <a:cubicBezTo>
                  <a:pt x="9548" y="2105"/>
                  <a:pt x="8249" y="451"/>
                  <a:pt x="7275" y="226"/>
                </a:cubicBezTo>
                <a:close/>
                <a:moveTo>
                  <a:pt x="7275" y="226"/>
                </a:moveTo>
              </a:path>
            </a:pathLst>
          </a:custGeom>
          <a:solidFill>
            <a:srgbClr val="3A4A54"/>
          </a:solidFill>
          <a:ln>
            <a:noFill/>
          </a:ln>
        </p:spPr>
        <p:txBody>
          <a:bodyPr lIns="0" tIns="0" rIns="0" bIns="0"/>
          <a:lstStyle/>
          <a:p>
            <a:endParaRPr lang="en-US"/>
          </a:p>
        </p:txBody>
      </p:sp>
      <p:sp>
        <p:nvSpPr>
          <p:cNvPr id="87" name="AutoShape 8">
            <a:extLst>
              <a:ext uri="{FF2B5EF4-FFF2-40B4-BE49-F238E27FC236}">
                <a16:creationId xmlns:a16="http://schemas.microsoft.com/office/drawing/2014/main" id="{EC1A4A92-264E-134B-AFFB-9CBB41EE2898}"/>
              </a:ext>
            </a:extLst>
          </p:cNvPr>
          <p:cNvSpPr>
            <a:spLocks/>
          </p:cNvSpPr>
          <p:nvPr/>
        </p:nvSpPr>
        <p:spPr bwMode="auto">
          <a:xfrm>
            <a:off x="8055356" y="5617788"/>
            <a:ext cx="302669" cy="265317"/>
          </a:xfrm>
          <a:custGeom>
            <a:avLst/>
            <a:gdLst/>
            <a:ahLst/>
            <a:cxnLst/>
            <a:rect l="0" t="0" r="r" b="b"/>
            <a:pathLst>
              <a:path w="19549" h="19980">
                <a:moveTo>
                  <a:pt x="15355" y="964"/>
                </a:moveTo>
                <a:cubicBezTo>
                  <a:pt x="10452" y="-1620"/>
                  <a:pt x="6436" y="1477"/>
                  <a:pt x="3712" y="4524"/>
                </a:cubicBezTo>
                <a:lnTo>
                  <a:pt x="2334" y="2530"/>
                </a:lnTo>
                <a:cubicBezTo>
                  <a:pt x="1972" y="1962"/>
                  <a:pt x="1582" y="2065"/>
                  <a:pt x="1464" y="2760"/>
                </a:cubicBezTo>
                <a:lnTo>
                  <a:pt x="22" y="12633"/>
                </a:lnTo>
                <a:cubicBezTo>
                  <a:pt x="-97" y="13329"/>
                  <a:pt x="279" y="13731"/>
                  <a:pt x="863" y="13530"/>
                </a:cubicBezTo>
                <a:lnTo>
                  <a:pt x="9224" y="10496"/>
                </a:lnTo>
                <a:cubicBezTo>
                  <a:pt x="9807" y="10296"/>
                  <a:pt x="9836" y="9883"/>
                  <a:pt x="9288" y="9574"/>
                </a:cubicBezTo>
                <a:lnTo>
                  <a:pt x="6945" y="7891"/>
                </a:lnTo>
                <a:cubicBezTo>
                  <a:pt x="6945" y="7891"/>
                  <a:pt x="9407" y="4730"/>
                  <a:pt x="12670" y="5155"/>
                </a:cubicBezTo>
                <a:cubicBezTo>
                  <a:pt x="16417" y="5644"/>
                  <a:pt x="19762" y="12571"/>
                  <a:pt x="14430" y="19980"/>
                </a:cubicBezTo>
                <a:cubicBezTo>
                  <a:pt x="21503" y="14165"/>
                  <a:pt x="20698" y="3780"/>
                  <a:pt x="15355" y="964"/>
                </a:cubicBezTo>
                <a:close/>
                <a:moveTo>
                  <a:pt x="15355" y="964"/>
                </a:moveTo>
              </a:path>
            </a:pathLst>
          </a:custGeom>
          <a:solidFill>
            <a:srgbClr val="3A4A54"/>
          </a:solidFill>
          <a:ln>
            <a:noFill/>
          </a:ln>
        </p:spPr>
        <p:txBody>
          <a:bodyPr lIns="0" tIns="0" rIns="0" bIns="0"/>
          <a:lstStyle/>
          <a:p>
            <a:endParaRPr lang="en-US"/>
          </a:p>
        </p:txBody>
      </p:sp>
      <p:sp>
        <p:nvSpPr>
          <p:cNvPr id="88" name="AutoShape 9">
            <a:extLst>
              <a:ext uri="{FF2B5EF4-FFF2-40B4-BE49-F238E27FC236}">
                <a16:creationId xmlns:a16="http://schemas.microsoft.com/office/drawing/2014/main" id="{774221E2-8D23-A94E-9D13-58350EAF83F7}"/>
              </a:ext>
            </a:extLst>
          </p:cNvPr>
          <p:cNvSpPr>
            <a:spLocks/>
          </p:cNvSpPr>
          <p:nvPr/>
        </p:nvSpPr>
        <p:spPr bwMode="auto">
          <a:xfrm>
            <a:off x="8697386" y="5020179"/>
            <a:ext cx="195768" cy="300093"/>
          </a:xfrm>
          <a:custGeom>
            <a:avLst/>
            <a:gdLst/>
            <a:ahLst/>
            <a:cxnLst/>
            <a:rect l="0" t="0" r="r" b="b"/>
            <a:pathLst>
              <a:path w="21600" h="21600">
                <a:moveTo>
                  <a:pt x="10800" y="0"/>
                </a:moveTo>
                <a:lnTo>
                  <a:pt x="0" y="7343"/>
                </a:lnTo>
                <a:lnTo>
                  <a:pt x="4229" y="7343"/>
                </a:lnTo>
                <a:lnTo>
                  <a:pt x="4229" y="9755"/>
                </a:lnTo>
                <a:lnTo>
                  <a:pt x="17371" y="9755"/>
                </a:lnTo>
                <a:lnTo>
                  <a:pt x="17371" y="7343"/>
                </a:lnTo>
                <a:lnTo>
                  <a:pt x="21600" y="7343"/>
                </a:lnTo>
                <a:cubicBezTo>
                  <a:pt x="21600" y="7343"/>
                  <a:pt x="10800" y="0"/>
                  <a:pt x="10800" y="0"/>
                </a:cubicBezTo>
                <a:close/>
                <a:moveTo>
                  <a:pt x="4229" y="14941"/>
                </a:moveTo>
                <a:lnTo>
                  <a:pt x="17371" y="14941"/>
                </a:lnTo>
                <a:lnTo>
                  <a:pt x="17371" y="11699"/>
                </a:lnTo>
                <a:lnTo>
                  <a:pt x="4229" y="11699"/>
                </a:lnTo>
                <a:cubicBezTo>
                  <a:pt x="4229" y="11699"/>
                  <a:pt x="4229" y="14941"/>
                  <a:pt x="4229" y="14941"/>
                </a:cubicBezTo>
                <a:close/>
                <a:moveTo>
                  <a:pt x="4229" y="21600"/>
                </a:moveTo>
                <a:lnTo>
                  <a:pt x="17371" y="21600"/>
                </a:lnTo>
                <a:lnTo>
                  <a:pt x="17371" y="20080"/>
                </a:lnTo>
                <a:lnTo>
                  <a:pt x="4229" y="20080"/>
                </a:lnTo>
                <a:cubicBezTo>
                  <a:pt x="4229" y="20080"/>
                  <a:pt x="4229" y="21600"/>
                  <a:pt x="4229" y="21600"/>
                </a:cubicBezTo>
                <a:close/>
                <a:moveTo>
                  <a:pt x="4229" y="18457"/>
                </a:moveTo>
                <a:lnTo>
                  <a:pt x="17371" y="18457"/>
                </a:lnTo>
                <a:lnTo>
                  <a:pt x="17371" y="16604"/>
                </a:lnTo>
                <a:lnTo>
                  <a:pt x="4229" y="16604"/>
                </a:lnTo>
                <a:cubicBezTo>
                  <a:pt x="4229" y="16604"/>
                  <a:pt x="4229" y="18457"/>
                  <a:pt x="4229" y="18457"/>
                </a:cubicBezTo>
                <a:close/>
                <a:moveTo>
                  <a:pt x="4229" y="18457"/>
                </a:moveTo>
              </a:path>
            </a:pathLst>
          </a:custGeom>
          <a:solidFill>
            <a:srgbClr val="3A4A54"/>
          </a:solidFill>
          <a:ln>
            <a:noFill/>
          </a:ln>
        </p:spPr>
        <p:txBody>
          <a:bodyPr lIns="0" tIns="0" rIns="0" bIns="0"/>
          <a:lstStyle/>
          <a:p>
            <a:endParaRPr lang="en-US"/>
          </a:p>
        </p:txBody>
      </p:sp>
      <p:sp>
        <p:nvSpPr>
          <p:cNvPr id="89" name="AutoShape 10">
            <a:extLst>
              <a:ext uri="{FF2B5EF4-FFF2-40B4-BE49-F238E27FC236}">
                <a16:creationId xmlns:a16="http://schemas.microsoft.com/office/drawing/2014/main" id="{C0D6AF44-A40C-3544-8B13-2A706CCECDB0}"/>
              </a:ext>
            </a:extLst>
          </p:cNvPr>
          <p:cNvSpPr>
            <a:spLocks/>
          </p:cNvSpPr>
          <p:nvPr/>
        </p:nvSpPr>
        <p:spPr bwMode="auto">
          <a:xfrm>
            <a:off x="7488659" y="5617788"/>
            <a:ext cx="314259" cy="275621"/>
          </a:xfrm>
          <a:custGeom>
            <a:avLst/>
            <a:gdLst/>
            <a:ahLst/>
            <a:cxnLst/>
            <a:rect l="0" t="0" r="r" b="b"/>
            <a:pathLst>
              <a:path w="21281" h="20168">
                <a:moveTo>
                  <a:pt x="21281" y="6684"/>
                </a:moveTo>
                <a:lnTo>
                  <a:pt x="15707" y="1958"/>
                </a:lnTo>
                <a:lnTo>
                  <a:pt x="12679" y="8882"/>
                </a:lnTo>
                <a:lnTo>
                  <a:pt x="15616" y="8132"/>
                </a:lnTo>
                <a:cubicBezTo>
                  <a:pt x="16093" y="9924"/>
                  <a:pt x="15911" y="11804"/>
                  <a:pt x="15085" y="13451"/>
                </a:cubicBezTo>
                <a:cubicBezTo>
                  <a:pt x="14252" y="15113"/>
                  <a:pt x="12871" y="16324"/>
                  <a:pt x="11195" y="16862"/>
                </a:cubicBezTo>
                <a:cubicBezTo>
                  <a:pt x="9521" y="17400"/>
                  <a:pt x="7751" y="17201"/>
                  <a:pt x="6214" y="16300"/>
                </a:cubicBezTo>
                <a:cubicBezTo>
                  <a:pt x="4677" y="15399"/>
                  <a:pt x="3556" y="13906"/>
                  <a:pt x="3059" y="12095"/>
                </a:cubicBezTo>
                <a:cubicBezTo>
                  <a:pt x="2561" y="10283"/>
                  <a:pt x="2746" y="8371"/>
                  <a:pt x="3579" y="6710"/>
                </a:cubicBezTo>
                <a:cubicBezTo>
                  <a:pt x="5297" y="3280"/>
                  <a:pt x="9278" y="2001"/>
                  <a:pt x="12450" y="3861"/>
                </a:cubicBezTo>
                <a:lnTo>
                  <a:pt x="13777" y="1216"/>
                </a:lnTo>
                <a:cubicBezTo>
                  <a:pt x="9256" y="-1432"/>
                  <a:pt x="3582" y="388"/>
                  <a:pt x="1131" y="5276"/>
                </a:cubicBezTo>
                <a:cubicBezTo>
                  <a:pt x="-56" y="7644"/>
                  <a:pt x="-319" y="10370"/>
                  <a:pt x="390" y="12951"/>
                </a:cubicBezTo>
                <a:cubicBezTo>
                  <a:pt x="1100" y="15533"/>
                  <a:pt x="2697" y="17662"/>
                  <a:pt x="4888" y="18945"/>
                </a:cubicBezTo>
                <a:cubicBezTo>
                  <a:pt x="6272" y="19756"/>
                  <a:pt x="7788" y="20168"/>
                  <a:pt x="9320" y="20168"/>
                </a:cubicBezTo>
                <a:cubicBezTo>
                  <a:pt x="10211" y="20168"/>
                  <a:pt x="11109" y="20028"/>
                  <a:pt x="11988" y="19746"/>
                </a:cubicBezTo>
                <a:cubicBezTo>
                  <a:pt x="14376" y="18979"/>
                  <a:pt x="16345" y="17253"/>
                  <a:pt x="17533" y="14885"/>
                </a:cubicBezTo>
                <a:cubicBezTo>
                  <a:pt x="18688" y="12579"/>
                  <a:pt x="18956" y="9953"/>
                  <a:pt x="18322" y="7440"/>
                </a:cubicBezTo>
                <a:cubicBezTo>
                  <a:pt x="18322" y="7440"/>
                  <a:pt x="21281" y="6684"/>
                  <a:pt x="21281" y="6684"/>
                </a:cubicBezTo>
                <a:close/>
                <a:moveTo>
                  <a:pt x="21281" y="6684"/>
                </a:moveTo>
              </a:path>
            </a:pathLst>
          </a:custGeom>
          <a:solidFill>
            <a:srgbClr val="3A4A54"/>
          </a:solidFill>
          <a:ln>
            <a:noFill/>
          </a:ln>
        </p:spPr>
        <p:txBody>
          <a:bodyPr lIns="0" tIns="0" rIns="0" bIns="0"/>
          <a:lstStyle/>
          <a:p>
            <a:endParaRPr lang="en-US"/>
          </a:p>
        </p:txBody>
      </p:sp>
      <p:sp>
        <p:nvSpPr>
          <p:cNvPr id="90" name="AutoShape 11">
            <a:extLst>
              <a:ext uri="{FF2B5EF4-FFF2-40B4-BE49-F238E27FC236}">
                <a16:creationId xmlns:a16="http://schemas.microsoft.com/office/drawing/2014/main" id="{1A802AC3-0BC8-A241-9D0D-6EA192E37FF5}"/>
              </a:ext>
            </a:extLst>
          </p:cNvPr>
          <p:cNvSpPr>
            <a:spLocks/>
          </p:cNvSpPr>
          <p:nvPr/>
        </p:nvSpPr>
        <p:spPr bwMode="auto">
          <a:xfrm>
            <a:off x="9202262" y="5051091"/>
            <a:ext cx="328427" cy="244711"/>
          </a:xfrm>
          <a:custGeom>
            <a:avLst/>
            <a:gdLst/>
            <a:ahLst/>
            <a:cxnLst/>
            <a:rect l="0" t="0" r="r" b="b"/>
            <a:pathLst>
              <a:path w="21600" h="18695">
                <a:moveTo>
                  <a:pt x="19156" y="9925"/>
                </a:moveTo>
                <a:cubicBezTo>
                  <a:pt x="19156" y="2801"/>
                  <a:pt x="11735" y="-2905"/>
                  <a:pt x="5003" y="1603"/>
                </a:cubicBezTo>
                <a:cubicBezTo>
                  <a:pt x="10159" y="584"/>
                  <a:pt x="14311" y="4805"/>
                  <a:pt x="14311" y="9925"/>
                </a:cubicBezTo>
                <a:lnTo>
                  <a:pt x="11432" y="9925"/>
                </a:lnTo>
                <a:lnTo>
                  <a:pt x="16578" y="18695"/>
                </a:lnTo>
                <a:lnTo>
                  <a:pt x="21600" y="9925"/>
                </a:lnTo>
                <a:cubicBezTo>
                  <a:pt x="21600" y="9925"/>
                  <a:pt x="19156" y="9925"/>
                  <a:pt x="19156" y="9925"/>
                </a:cubicBezTo>
                <a:close/>
                <a:moveTo>
                  <a:pt x="3789" y="3217"/>
                </a:moveTo>
                <a:cubicBezTo>
                  <a:pt x="3789" y="3217"/>
                  <a:pt x="0" y="5657"/>
                  <a:pt x="0" y="13027"/>
                </a:cubicBezTo>
                <a:cubicBezTo>
                  <a:pt x="0" y="13027"/>
                  <a:pt x="3397" y="13027"/>
                  <a:pt x="5580" y="13027"/>
                </a:cubicBezTo>
                <a:cubicBezTo>
                  <a:pt x="6458" y="5715"/>
                  <a:pt x="10178" y="3997"/>
                  <a:pt x="10178" y="3997"/>
                </a:cubicBezTo>
                <a:cubicBezTo>
                  <a:pt x="6945" y="1920"/>
                  <a:pt x="3789" y="3217"/>
                  <a:pt x="3789" y="3217"/>
                </a:cubicBezTo>
                <a:close/>
                <a:moveTo>
                  <a:pt x="3789" y="3217"/>
                </a:moveTo>
              </a:path>
            </a:pathLst>
          </a:custGeom>
          <a:solidFill>
            <a:srgbClr val="3A4A54"/>
          </a:solidFill>
          <a:ln>
            <a:noFill/>
          </a:ln>
        </p:spPr>
        <p:txBody>
          <a:bodyPr lIns="0" tIns="0" rIns="0" bIns="0"/>
          <a:lstStyle/>
          <a:p>
            <a:endParaRPr lang="en-US"/>
          </a:p>
        </p:txBody>
      </p:sp>
      <p:sp>
        <p:nvSpPr>
          <p:cNvPr id="91" name="AutoShape 12">
            <a:extLst>
              <a:ext uri="{FF2B5EF4-FFF2-40B4-BE49-F238E27FC236}">
                <a16:creationId xmlns:a16="http://schemas.microsoft.com/office/drawing/2014/main" id="{D217E2FB-811B-DC4C-A784-6E87D92BB6B2}"/>
              </a:ext>
            </a:extLst>
          </p:cNvPr>
          <p:cNvSpPr>
            <a:spLocks/>
          </p:cNvSpPr>
          <p:nvPr/>
        </p:nvSpPr>
        <p:spPr bwMode="auto">
          <a:xfrm>
            <a:off x="9799871" y="5009877"/>
            <a:ext cx="273045" cy="315548"/>
          </a:xfrm>
          <a:custGeom>
            <a:avLst/>
            <a:gdLst/>
            <a:ahLst/>
            <a:cxnLst/>
            <a:rect l="0" t="0" r="r" b="b"/>
            <a:pathLst>
              <a:path w="21600" h="21600">
                <a:moveTo>
                  <a:pt x="17530" y="12268"/>
                </a:moveTo>
                <a:cubicBezTo>
                  <a:pt x="17530" y="15475"/>
                  <a:pt x="14512" y="18083"/>
                  <a:pt x="10800" y="18083"/>
                </a:cubicBezTo>
                <a:cubicBezTo>
                  <a:pt x="7089" y="18083"/>
                  <a:pt x="4070" y="15475"/>
                  <a:pt x="4070" y="12268"/>
                </a:cubicBezTo>
                <a:cubicBezTo>
                  <a:pt x="4070" y="9128"/>
                  <a:pt x="6965" y="6568"/>
                  <a:pt x="10569" y="6462"/>
                </a:cubicBezTo>
                <a:lnTo>
                  <a:pt x="10569" y="9553"/>
                </a:lnTo>
                <a:lnTo>
                  <a:pt x="18068" y="4776"/>
                </a:lnTo>
                <a:lnTo>
                  <a:pt x="10569" y="0"/>
                </a:lnTo>
                <a:lnTo>
                  <a:pt x="10569" y="2945"/>
                </a:lnTo>
                <a:cubicBezTo>
                  <a:pt x="4721" y="3053"/>
                  <a:pt x="0" y="7189"/>
                  <a:pt x="0" y="12268"/>
                </a:cubicBezTo>
                <a:cubicBezTo>
                  <a:pt x="0" y="17414"/>
                  <a:pt x="4845" y="21600"/>
                  <a:pt x="10800" y="21600"/>
                </a:cubicBezTo>
                <a:cubicBezTo>
                  <a:pt x="16755" y="21600"/>
                  <a:pt x="21600" y="17414"/>
                  <a:pt x="21600" y="12268"/>
                </a:cubicBezTo>
                <a:cubicBezTo>
                  <a:pt x="21600" y="12268"/>
                  <a:pt x="17530" y="12268"/>
                  <a:pt x="17530" y="12268"/>
                </a:cubicBezTo>
                <a:close/>
                <a:moveTo>
                  <a:pt x="17530" y="12268"/>
                </a:moveTo>
              </a:path>
            </a:pathLst>
          </a:custGeom>
          <a:solidFill>
            <a:srgbClr val="3A4A54"/>
          </a:solidFill>
          <a:ln>
            <a:noFill/>
          </a:ln>
        </p:spPr>
        <p:txBody>
          <a:bodyPr lIns="0" tIns="0" rIns="0" bIns="0"/>
          <a:lstStyle/>
          <a:p>
            <a:endParaRPr lang="en-US"/>
          </a:p>
        </p:txBody>
      </p:sp>
      <p:sp>
        <p:nvSpPr>
          <p:cNvPr id="92" name="AutoShape 13">
            <a:extLst>
              <a:ext uri="{FF2B5EF4-FFF2-40B4-BE49-F238E27FC236}">
                <a16:creationId xmlns:a16="http://schemas.microsoft.com/office/drawing/2014/main" id="{A28006BC-5EA4-8A40-97BD-1B6E8C05DBB9}"/>
              </a:ext>
            </a:extLst>
          </p:cNvPr>
          <p:cNvSpPr>
            <a:spLocks/>
          </p:cNvSpPr>
          <p:nvPr/>
        </p:nvSpPr>
        <p:spPr bwMode="auto">
          <a:xfrm>
            <a:off x="10325355" y="5061394"/>
            <a:ext cx="338731" cy="231831"/>
          </a:xfrm>
          <a:custGeom>
            <a:avLst/>
            <a:gdLst/>
            <a:ahLst/>
            <a:cxnLst/>
            <a:rect l="0" t="0" r="r" b="b"/>
            <a:pathLst>
              <a:path w="21600" h="21600">
                <a:moveTo>
                  <a:pt x="14091" y="1931"/>
                </a:moveTo>
                <a:lnTo>
                  <a:pt x="16000" y="4712"/>
                </a:lnTo>
                <a:lnTo>
                  <a:pt x="11299" y="11560"/>
                </a:lnTo>
                <a:lnTo>
                  <a:pt x="7936" y="6659"/>
                </a:lnTo>
                <a:lnTo>
                  <a:pt x="0" y="18220"/>
                </a:lnTo>
                <a:lnTo>
                  <a:pt x="2320" y="21600"/>
                </a:lnTo>
                <a:lnTo>
                  <a:pt x="7936" y="13420"/>
                </a:lnTo>
                <a:lnTo>
                  <a:pt x="11299" y="18321"/>
                </a:lnTo>
                <a:lnTo>
                  <a:pt x="18320" y="8092"/>
                </a:lnTo>
                <a:lnTo>
                  <a:pt x="20274" y="10937"/>
                </a:lnTo>
                <a:lnTo>
                  <a:pt x="21600" y="0"/>
                </a:lnTo>
                <a:cubicBezTo>
                  <a:pt x="21600" y="0"/>
                  <a:pt x="14091" y="1931"/>
                  <a:pt x="14091" y="1931"/>
                </a:cubicBezTo>
                <a:close/>
                <a:moveTo>
                  <a:pt x="14091" y="1931"/>
                </a:moveTo>
              </a:path>
            </a:pathLst>
          </a:custGeom>
          <a:solidFill>
            <a:srgbClr val="3A4A54"/>
          </a:solidFill>
          <a:ln>
            <a:noFill/>
          </a:ln>
        </p:spPr>
        <p:txBody>
          <a:bodyPr lIns="0" tIns="0" rIns="0" bIns="0"/>
          <a:lstStyle/>
          <a:p>
            <a:endParaRPr lang="en-US"/>
          </a:p>
        </p:txBody>
      </p:sp>
      <p:sp>
        <p:nvSpPr>
          <p:cNvPr id="93" name="AutoShape 14">
            <a:extLst>
              <a:ext uri="{FF2B5EF4-FFF2-40B4-BE49-F238E27FC236}">
                <a16:creationId xmlns:a16="http://schemas.microsoft.com/office/drawing/2014/main" id="{D3D14C20-1725-5B4B-9155-3FC608F3A72D}"/>
              </a:ext>
            </a:extLst>
          </p:cNvPr>
          <p:cNvSpPr>
            <a:spLocks/>
          </p:cNvSpPr>
          <p:nvPr/>
        </p:nvSpPr>
        <p:spPr bwMode="auto">
          <a:xfrm>
            <a:off x="8623974" y="5648699"/>
            <a:ext cx="340019" cy="231831"/>
          </a:xfrm>
          <a:custGeom>
            <a:avLst/>
            <a:gdLst/>
            <a:ahLst/>
            <a:cxnLst/>
            <a:rect l="0" t="0" r="r" b="b"/>
            <a:pathLst>
              <a:path w="21600" h="21600">
                <a:moveTo>
                  <a:pt x="21600" y="21600"/>
                </a:moveTo>
                <a:lnTo>
                  <a:pt x="20274" y="10663"/>
                </a:lnTo>
                <a:lnTo>
                  <a:pt x="18321" y="13508"/>
                </a:lnTo>
                <a:lnTo>
                  <a:pt x="11299" y="3280"/>
                </a:lnTo>
                <a:lnTo>
                  <a:pt x="7935" y="8180"/>
                </a:lnTo>
                <a:lnTo>
                  <a:pt x="2320" y="0"/>
                </a:lnTo>
                <a:lnTo>
                  <a:pt x="0" y="3380"/>
                </a:lnTo>
                <a:lnTo>
                  <a:pt x="7935" y="14939"/>
                </a:lnTo>
                <a:lnTo>
                  <a:pt x="11299" y="10040"/>
                </a:lnTo>
                <a:lnTo>
                  <a:pt x="16001" y="16888"/>
                </a:lnTo>
                <a:lnTo>
                  <a:pt x="14091" y="19669"/>
                </a:lnTo>
                <a:cubicBezTo>
                  <a:pt x="14091" y="19669"/>
                  <a:pt x="21600" y="21600"/>
                  <a:pt x="21600" y="21600"/>
                </a:cubicBezTo>
                <a:close/>
                <a:moveTo>
                  <a:pt x="21600" y="21600"/>
                </a:moveTo>
              </a:path>
            </a:pathLst>
          </a:custGeom>
          <a:solidFill>
            <a:srgbClr val="3A4A54"/>
          </a:solidFill>
          <a:ln>
            <a:noFill/>
          </a:ln>
        </p:spPr>
        <p:txBody>
          <a:bodyPr lIns="0" tIns="0" rIns="0" bIns="0"/>
          <a:lstStyle/>
          <a:p>
            <a:endParaRPr lang="en-US"/>
          </a:p>
        </p:txBody>
      </p:sp>
      <p:sp>
        <p:nvSpPr>
          <p:cNvPr id="94" name="AutoShape 15">
            <a:extLst>
              <a:ext uri="{FF2B5EF4-FFF2-40B4-BE49-F238E27FC236}">
                <a16:creationId xmlns:a16="http://schemas.microsoft.com/office/drawing/2014/main" id="{1EB70690-15CB-2C43-BCB0-F7246330BAC6}"/>
              </a:ext>
            </a:extLst>
          </p:cNvPr>
          <p:cNvSpPr>
            <a:spLocks/>
          </p:cNvSpPr>
          <p:nvPr/>
        </p:nvSpPr>
        <p:spPr bwMode="auto">
          <a:xfrm>
            <a:off x="9202262" y="5597181"/>
            <a:ext cx="325851" cy="325851"/>
          </a:xfrm>
          <a:custGeom>
            <a:avLst/>
            <a:gdLst/>
            <a:ahLst/>
            <a:cxnLst/>
            <a:rect l="0" t="0" r="r" b="b"/>
            <a:pathLst>
              <a:path w="21600" h="21600">
                <a:moveTo>
                  <a:pt x="16547" y="7264"/>
                </a:moveTo>
                <a:lnTo>
                  <a:pt x="16547" y="9438"/>
                </a:lnTo>
                <a:lnTo>
                  <a:pt x="12162" y="9438"/>
                </a:lnTo>
                <a:lnTo>
                  <a:pt x="12162" y="5052"/>
                </a:lnTo>
                <a:lnTo>
                  <a:pt x="14336" y="5052"/>
                </a:lnTo>
                <a:lnTo>
                  <a:pt x="10800" y="0"/>
                </a:lnTo>
                <a:lnTo>
                  <a:pt x="7264" y="5052"/>
                </a:lnTo>
                <a:lnTo>
                  <a:pt x="9438" y="5052"/>
                </a:lnTo>
                <a:lnTo>
                  <a:pt x="9438" y="9438"/>
                </a:lnTo>
                <a:lnTo>
                  <a:pt x="5053" y="9438"/>
                </a:lnTo>
                <a:lnTo>
                  <a:pt x="5052" y="7264"/>
                </a:lnTo>
                <a:lnTo>
                  <a:pt x="0" y="10800"/>
                </a:lnTo>
                <a:lnTo>
                  <a:pt x="5053" y="14335"/>
                </a:lnTo>
                <a:lnTo>
                  <a:pt x="5053" y="12162"/>
                </a:lnTo>
                <a:lnTo>
                  <a:pt x="9438" y="12162"/>
                </a:lnTo>
                <a:lnTo>
                  <a:pt x="9438" y="16547"/>
                </a:lnTo>
                <a:lnTo>
                  <a:pt x="7264" y="16547"/>
                </a:lnTo>
                <a:lnTo>
                  <a:pt x="10800" y="21600"/>
                </a:lnTo>
                <a:lnTo>
                  <a:pt x="14336" y="16547"/>
                </a:lnTo>
                <a:lnTo>
                  <a:pt x="12162" y="16547"/>
                </a:lnTo>
                <a:lnTo>
                  <a:pt x="12162" y="12162"/>
                </a:lnTo>
                <a:lnTo>
                  <a:pt x="16548" y="12162"/>
                </a:lnTo>
                <a:lnTo>
                  <a:pt x="16548" y="14335"/>
                </a:lnTo>
                <a:lnTo>
                  <a:pt x="21600" y="10800"/>
                </a:lnTo>
                <a:cubicBezTo>
                  <a:pt x="21600" y="10800"/>
                  <a:pt x="16547" y="7264"/>
                  <a:pt x="16547" y="7264"/>
                </a:cubicBezTo>
                <a:close/>
                <a:moveTo>
                  <a:pt x="16547" y="7264"/>
                </a:moveTo>
              </a:path>
            </a:pathLst>
          </a:custGeom>
          <a:solidFill>
            <a:srgbClr val="3A4A54"/>
          </a:solidFill>
          <a:ln>
            <a:noFill/>
          </a:ln>
        </p:spPr>
        <p:txBody>
          <a:bodyPr lIns="0" tIns="0" rIns="0" bIns="0"/>
          <a:lstStyle/>
          <a:p>
            <a:endParaRPr lang="en-US"/>
          </a:p>
        </p:txBody>
      </p:sp>
      <p:sp>
        <p:nvSpPr>
          <p:cNvPr id="95" name="AutoShape 16">
            <a:extLst>
              <a:ext uri="{FF2B5EF4-FFF2-40B4-BE49-F238E27FC236}">
                <a16:creationId xmlns:a16="http://schemas.microsoft.com/office/drawing/2014/main" id="{F07408BF-7A48-5446-AFAD-502D66250ED2}"/>
              </a:ext>
            </a:extLst>
          </p:cNvPr>
          <p:cNvSpPr>
            <a:spLocks/>
          </p:cNvSpPr>
          <p:nvPr/>
        </p:nvSpPr>
        <p:spPr bwMode="auto">
          <a:xfrm>
            <a:off x="9830782" y="5597181"/>
            <a:ext cx="206072" cy="327139"/>
          </a:xfrm>
          <a:custGeom>
            <a:avLst/>
            <a:gdLst/>
            <a:ahLst/>
            <a:cxnLst/>
            <a:rect l="0" t="0" r="r" b="b"/>
            <a:pathLst>
              <a:path w="21600" h="21600">
                <a:moveTo>
                  <a:pt x="21600" y="12157"/>
                </a:moveTo>
                <a:lnTo>
                  <a:pt x="21600" y="9443"/>
                </a:lnTo>
                <a:lnTo>
                  <a:pt x="13329" y="9443"/>
                </a:lnTo>
                <a:lnTo>
                  <a:pt x="13329" y="5608"/>
                </a:lnTo>
                <a:lnTo>
                  <a:pt x="17395" y="5608"/>
                </a:lnTo>
                <a:lnTo>
                  <a:pt x="11180" y="0"/>
                </a:lnTo>
                <a:lnTo>
                  <a:pt x="4963" y="5608"/>
                </a:lnTo>
                <a:lnTo>
                  <a:pt x="9029" y="5608"/>
                </a:lnTo>
                <a:lnTo>
                  <a:pt x="9029" y="9443"/>
                </a:lnTo>
                <a:lnTo>
                  <a:pt x="0" y="9443"/>
                </a:lnTo>
                <a:lnTo>
                  <a:pt x="0" y="12157"/>
                </a:lnTo>
                <a:lnTo>
                  <a:pt x="9029" y="12157"/>
                </a:lnTo>
                <a:lnTo>
                  <a:pt x="9029" y="15993"/>
                </a:lnTo>
                <a:lnTo>
                  <a:pt x="4963" y="15993"/>
                </a:lnTo>
                <a:lnTo>
                  <a:pt x="11178" y="21600"/>
                </a:lnTo>
                <a:lnTo>
                  <a:pt x="17395" y="15992"/>
                </a:lnTo>
                <a:lnTo>
                  <a:pt x="13329" y="15992"/>
                </a:lnTo>
                <a:lnTo>
                  <a:pt x="13329" y="12157"/>
                </a:lnTo>
                <a:cubicBezTo>
                  <a:pt x="13329" y="12157"/>
                  <a:pt x="21600" y="12157"/>
                  <a:pt x="21600" y="12157"/>
                </a:cubicBezTo>
                <a:close/>
                <a:moveTo>
                  <a:pt x="21600" y="12157"/>
                </a:moveTo>
              </a:path>
            </a:pathLst>
          </a:custGeom>
          <a:solidFill>
            <a:srgbClr val="3A4A54"/>
          </a:solidFill>
          <a:ln>
            <a:noFill/>
          </a:ln>
        </p:spPr>
        <p:txBody>
          <a:bodyPr lIns="0" tIns="0" rIns="0" bIns="0"/>
          <a:lstStyle/>
          <a:p>
            <a:endParaRPr lang="en-US"/>
          </a:p>
        </p:txBody>
      </p:sp>
      <p:sp>
        <p:nvSpPr>
          <p:cNvPr id="96" name="AutoShape 17">
            <a:extLst>
              <a:ext uri="{FF2B5EF4-FFF2-40B4-BE49-F238E27FC236}">
                <a16:creationId xmlns:a16="http://schemas.microsoft.com/office/drawing/2014/main" id="{8C11362A-289D-D543-8BAB-C87C328B6480}"/>
              </a:ext>
            </a:extLst>
          </p:cNvPr>
          <p:cNvSpPr>
            <a:spLocks/>
          </p:cNvSpPr>
          <p:nvPr/>
        </p:nvSpPr>
        <p:spPr bwMode="auto">
          <a:xfrm>
            <a:off x="10325354" y="5597181"/>
            <a:ext cx="351610" cy="315548"/>
          </a:xfrm>
          <a:custGeom>
            <a:avLst/>
            <a:gdLst/>
            <a:ahLst/>
            <a:cxnLst/>
            <a:rect l="0" t="0" r="r" b="b"/>
            <a:pathLst>
              <a:path w="21600" h="21600">
                <a:moveTo>
                  <a:pt x="19071" y="16813"/>
                </a:moveTo>
                <a:lnTo>
                  <a:pt x="19071" y="18785"/>
                </a:lnTo>
                <a:lnTo>
                  <a:pt x="2529" y="18785"/>
                </a:lnTo>
                <a:lnTo>
                  <a:pt x="2529" y="16813"/>
                </a:lnTo>
                <a:lnTo>
                  <a:pt x="0" y="16813"/>
                </a:lnTo>
                <a:lnTo>
                  <a:pt x="0" y="21600"/>
                </a:lnTo>
                <a:lnTo>
                  <a:pt x="21600" y="21600"/>
                </a:lnTo>
                <a:lnTo>
                  <a:pt x="21600" y="16813"/>
                </a:lnTo>
                <a:cubicBezTo>
                  <a:pt x="21600" y="16813"/>
                  <a:pt x="19071" y="16813"/>
                  <a:pt x="19071" y="16813"/>
                </a:cubicBezTo>
                <a:close/>
                <a:moveTo>
                  <a:pt x="16288" y="8083"/>
                </a:moveTo>
                <a:lnTo>
                  <a:pt x="12064" y="8083"/>
                </a:lnTo>
                <a:lnTo>
                  <a:pt x="12064" y="0"/>
                </a:lnTo>
                <a:lnTo>
                  <a:pt x="9535" y="0"/>
                </a:lnTo>
                <a:lnTo>
                  <a:pt x="9535" y="8083"/>
                </a:lnTo>
                <a:lnTo>
                  <a:pt x="5312" y="8083"/>
                </a:lnTo>
                <a:lnTo>
                  <a:pt x="10799" y="16813"/>
                </a:lnTo>
                <a:cubicBezTo>
                  <a:pt x="10799" y="16813"/>
                  <a:pt x="16288" y="8083"/>
                  <a:pt x="16288" y="8083"/>
                </a:cubicBezTo>
                <a:close/>
                <a:moveTo>
                  <a:pt x="16288" y="8083"/>
                </a:moveTo>
              </a:path>
            </a:pathLst>
          </a:custGeom>
          <a:solidFill>
            <a:srgbClr val="3A4A54"/>
          </a:solidFill>
          <a:ln>
            <a:noFill/>
          </a:ln>
        </p:spPr>
        <p:txBody>
          <a:bodyPr lIns="0" tIns="0" rIns="0" bIns="0"/>
          <a:lstStyle/>
          <a:p>
            <a:endParaRPr lang="en-US"/>
          </a:p>
        </p:txBody>
      </p:sp>
      <p:sp>
        <p:nvSpPr>
          <p:cNvPr id="97" name="Line">
            <a:extLst>
              <a:ext uri="{FF2B5EF4-FFF2-40B4-BE49-F238E27FC236}">
                <a16:creationId xmlns:a16="http://schemas.microsoft.com/office/drawing/2014/main" id="{8CFDB276-08BC-374B-AC31-2EB14674F265}"/>
              </a:ext>
            </a:extLst>
          </p:cNvPr>
          <p:cNvSpPr/>
          <p:nvPr/>
        </p:nvSpPr>
        <p:spPr>
          <a:xfrm rot="5400000">
            <a:off x="-326768" y="2293192"/>
            <a:ext cx="2708477" cy="30566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0" y="21600"/>
                </a:lnTo>
                <a:lnTo>
                  <a:pt x="0" y="0"/>
                </a:lnTo>
              </a:path>
            </a:pathLst>
          </a:custGeom>
          <a:ln w="12700">
            <a:solidFill>
              <a:srgbClr val="000000"/>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98" name="Line">
            <a:extLst>
              <a:ext uri="{FF2B5EF4-FFF2-40B4-BE49-F238E27FC236}">
                <a16:creationId xmlns:a16="http://schemas.microsoft.com/office/drawing/2014/main" id="{6998096E-0B42-2D46-AD3C-A93AAE8DE85D}"/>
              </a:ext>
            </a:extLst>
          </p:cNvPr>
          <p:cNvSpPr/>
          <p:nvPr/>
        </p:nvSpPr>
        <p:spPr>
          <a:xfrm rot="5400000">
            <a:off x="-826093" y="2293192"/>
            <a:ext cx="2708477" cy="305664"/>
          </a:xfrm>
          <a:custGeom>
            <a:avLst/>
            <a:gdLst>
              <a:gd name="connsiteX0" fmla="*/ 21600 w 21600"/>
              <a:gd name="connsiteY0" fmla="*/ 21600 h 21600"/>
              <a:gd name="connsiteX1" fmla="*/ 0 w 21600"/>
              <a:gd name="connsiteY1" fmla="*/ 21600 h 21600"/>
              <a:gd name="connsiteX2" fmla="*/ 0 w 21600"/>
              <a:gd name="connsiteY2" fmla="*/ 0 h 21600"/>
            </a:gdLst>
            <a:ahLst/>
            <a:cxnLst>
              <a:cxn ang="0">
                <a:pos x="connsiteX0" y="connsiteY0"/>
              </a:cxn>
              <a:cxn ang="0">
                <a:pos x="connsiteX1" y="connsiteY1"/>
              </a:cxn>
              <a:cxn ang="0">
                <a:pos x="connsiteX2" y="connsiteY2"/>
              </a:cxn>
            </a:cxnLst>
            <a:rect l="l" t="t" r="r" b="b"/>
            <a:pathLst>
              <a:path w="21600" h="21600" extrusionOk="0">
                <a:moveTo>
                  <a:pt x="21600" y="21600"/>
                </a:moveTo>
                <a:lnTo>
                  <a:pt x="0" y="21600"/>
                </a:lnTo>
                <a:lnTo>
                  <a:pt x="0" y="0"/>
                </a:lnTo>
              </a:path>
            </a:pathLst>
          </a:custGeom>
          <a:ln w="12700">
            <a:solidFill>
              <a:srgbClr val="000000"/>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99" name="Line">
            <a:extLst>
              <a:ext uri="{FF2B5EF4-FFF2-40B4-BE49-F238E27FC236}">
                <a16:creationId xmlns:a16="http://schemas.microsoft.com/office/drawing/2014/main" id="{35D91430-D9FC-544B-A4E5-71735943B223}"/>
              </a:ext>
            </a:extLst>
          </p:cNvPr>
          <p:cNvSpPr/>
          <p:nvPr/>
        </p:nvSpPr>
        <p:spPr>
          <a:xfrm rot="16200000">
            <a:off x="207223" y="2267216"/>
            <a:ext cx="2728596" cy="33750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0800" y="21600"/>
                </a:lnTo>
                <a:lnTo>
                  <a:pt x="10800" y="0"/>
                </a:lnTo>
                <a:lnTo>
                  <a:pt x="0" y="0"/>
                </a:lnTo>
              </a:path>
            </a:pathLst>
          </a:custGeom>
          <a:ln w="12700">
            <a:solidFill>
              <a:srgbClr val="000000"/>
            </a:solidFill>
            <a:miter lim="400000"/>
          </a:ln>
        </p:spPr>
        <p:txBody>
          <a:bodyPr lIns="38100" tIns="38100" rIns="38100" bIns="38100" anchor="ctr"/>
          <a:lstStyle/>
          <a:p>
            <a:pPr>
              <a:defRPr sz="3000">
                <a:solidFill>
                  <a:srgbClr val="FFFFFF"/>
                </a:solidFill>
                <a:effectLst>
                  <a:outerShdw blurRad="38100" dist="12700" dir="5400000" rotWithShape="0">
                    <a:srgbClr val="000000">
                      <a:alpha val="50000"/>
                    </a:srgbClr>
                  </a:outerShdw>
                </a:effectLst>
              </a:defRPr>
            </a:pPr>
            <a:endParaRPr/>
          </a:p>
        </p:txBody>
      </p:sp>
      <p:sp>
        <p:nvSpPr>
          <p:cNvPr id="100" name="Graphic 9">
            <a:extLst>
              <a:ext uri="{FF2B5EF4-FFF2-40B4-BE49-F238E27FC236}">
                <a16:creationId xmlns:a16="http://schemas.microsoft.com/office/drawing/2014/main" id="{4111E3B9-470B-104D-91FF-116506788558}"/>
              </a:ext>
            </a:extLst>
          </p:cNvPr>
          <p:cNvSpPr/>
          <p:nvPr/>
        </p:nvSpPr>
        <p:spPr>
          <a:xfrm>
            <a:off x="304803" y="4216217"/>
            <a:ext cx="1863709" cy="495300"/>
          </a:xfrm>
          <a:custGeom>
            <a:avLst/>
            <a:gdLst>
              <a:gd name="connsiteX0" fmla="*/ 7095 w 1863708"/>
              <a:gd name="connsiteY0" fmla="*/ 492025 h 495300"/>
              <a:gd name="connsiteX1" fmla="*/ 491279 w 1863708"/>
              <a:gd name="connsiteY1" fmla="*/ 7107 h 495300"/>
              <a:gd name="connsiteX2" fmla="*/ 1860439 w 1863708"/>
              <a:gd name="connsiteY2" fmla="*/ 7107 h 495300"/>
            </a:gdLst>
            <a:ahLst/>
            <a:cxnLst>
              <a:cxn ang="0">
                <a:pos x="connsiteX0" y="connsiteY0"/>
              </a:cxn>
              <a:cxn ang="0">
                <a:pos x="connsiteX1" y="connsiteY1"/>
              </a:cxn>
              <a:cxn ang="0">
                <a:pos x="connsiteX2" y="connsiteY2"/>
              </a:cxn>
            </a:cxnLst>
            <a:rect l="l" t="t" r="r" b="b"/>
            <a:pathLst>
              <a:path w="1863708" h="495300">
                <a:moveTo>
                  <a:pt x="7095" y="492025"/>
                </a:moveTo>
                <a:lnTo>
                  <a:pt x="491279" y="7107"/>
                </a:lnTo>
                <a:lnTo>
                  <a:pt x="1860439" y="7107"/>
                </a:lnTo>
              </a:path>
            </a:pathLst>
          </a:custGeom>
          <a:noFill/>
          <a:ln w="9476" cap="flat">
            <a:solidFill>
              <a:srgbClr val="231F20"/>
            </a:solidFill>
            <a:prstDash val="solid"/>
            <a:miter/>
          </a:ln>
        </p:spPr>
        <p:txBody>
          <a:bodyPr rtlCol="0" anchor="ctr"/>
          <a:lstStyle/>
          <a:p>
            <a:endParaRPr lang="en-US"/>
          </a:p>
        </p:txBody>
      </p:sp>
      <p:grpSp>
        <p:nvGrpSpPr>
          <p:cNvPr id="10" name="Group 9">
            <a:extLst>
              <a:ext uri="{FF2B5EF4-FFF2-40B4-BE49-F238E27FC236}">
                <a16:creationId xmlns:a16="http://schemas.microsoft.com/office/drawing/2014/main" id="{C27EED47-8016-6A49-AD89-AE30AB3B7F2D}"/>
              </a:ext>
            </a:extLst>
          </p:cNvPr>
          <p:cNvGrpSpPr/>
          <p:nvPr/>
        </p:nvGrpSpPr>
        <p:grpSpPr>
          <a:xfrm rot="2700000">
            <a:off x="11044067" y="4891213"/>
            <a:ext cx="551745" cy="551727"/>
            <a:chOff x="5931055" y="3264055"/>
            <a:chExt cx="551745" cy="551727"/>
          </a:xfrm>
        </p:grpSpPr>
        <p:sp>
          <p:nvSpPr>
            <p:cNvPr id="6" name="Freeform 5">
              <a:extLst>
                <a:ext uri="{FF2B5EF4-FFF2-40B4-BE49-F238E27FC236}">
                  <a16:creationId xmlns:a16="http://schemas.microsoft.com/office/drawing/2014/main" id="{708B6D10-CD84-E84B-A282-5A4ADDFD8102}"/>
                </a:ext>
              </a:extLst>
            </p:cNvPr>
            <p:cNvSpPr/>
            <p:nvPr/>
          </p:nvSpPr>
          <p:spPr>
            <a:xfrm>
              <a:off x="6232009" y="3264055"/>
              <a:ext cx="250791" cy="250791"/>
            </a:xfrm>
            <a:custGeom>
              <a:avLst/>
              <a:gdLst>
                <a:gd name="connsiteX0" fmla="*/ 29259 w 250791"/>
                <a:gd name="connsiteY0" fmla="*/ 246615 h 250791"/>
                <a:gd name="connsiteX1" fmla="*/ 22855 w 250791"/>
                <a:gd name="connsiteY1" fmla="*/ 245345 h 250791"/>
                <a:gd name="connsiteX2" fmla="*/ 12540 w 250791"/>
                <a:gd name="connsiteY2" fmla="*/ 229896 h 250791"/>
                <a:gd name="connsiteX3" fmla="*/ 12540 w 250791"/>
                <a:gd name="connsiteY3" fmla="*/ 79421 h 250791"/>
                <a:gd name="connsiteX4" fmla="*/ 29259 w 250791"/>
                <a:gd name="connsiteY4" fmla="*/ 62702 h 250791"/>
                <a:gd name="connsiteX5" fmla="*/ 45978 w 250791"/>
                <a:gd name="connsiteY5" fmla="*/ 79421 h 250791"/>
                <a:gd name="connsiteX6" fmla="*/ 45978 w 250791"/>
                <a:gd name="connsiteY6" fmla="*/ 189535 h 250791"/>
                <a:gd name="connsiteX7" fmla="*/ 218071 w 250791"/>
                <a:gd name="connsiteY7" fmla="*/ 17443 h 250791"/>
                <a:gd name="connsiteX8" fmla="*/ 241712 w 250791"/>
                <a:gd name="connsiteY8" fmla="*/ 17443 h 250791"/>
                <a:gd name="connsiteX9" fmla="*/ 241712 w 250791"/>
                <a:gd name="connsiteY9" fmla="*/ 41084 h 250791"/>
                <a:gd name="connsiteX10" fmla="*/ 41080 w 250791"/>
                <a:gd name="connsiteY10" fmla="*/ 241717 h 250791"/>
                <a:gd name="connsiteX11" fmla="*/ 29259 w 250791"/>
                <a:gd name="connsiteY11" fmla="*/ 246615 h 250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791" h="250791">
                  <a:moveTo>
                    <a:pt x="29259" y="246615"/>
                  </a:moveTo>
                  <a:cubicBezTo>
                    <a:pt x="27102" y="246615"/>
                    <a:pt x="24929" y="246197"/>
                    <a:pt x="22855" y="245345"/>
                  </a:cubicBezTo>
                  <a:cubicBezTo>
                    <a:pt x="16602" y="242753"/>
                    <a:pt x="12540" y="236651"/>
                    <a:pt x="12540" y="229896"/>
                  </a:cubicBezTo>
                  <a:lnTo>
                    <a:pt x="12540" y="79421"/>
                  </a:lnTo>
                  <a:cubicBezTo>
                    <a:pt x="12540" y="70192"/>
                    <a:pt x="20013" y="62702"/>
                    <a:pt x="29259" y="62702"/>
                  </a:cubicBezTo>
                  <a:cubicBezTo>
                    <a:pt x="38505" y="62702"/>
                    <a:pt x="45978" y="70192"/>
                    <a:pt x="45978" y="79421"/>
                  </a:cubicBezTo>
                  <a:lnTo>
                    <a:pt x="45978" y="189535"/>
                  </a:lnTo>
                  <a:lnTo>
                    <a:pt x="218071" y="17443"/>
                  </a:lnTo>
                  <a:cubicBezTo>
                    <a:pt x="224609" y="10905"/>
                    <a:pt x="235175" y="10905"/>
                    <a:pt x="241712" y="17443"/>
                  </a:cubicBezTo>
                  <a:cubicBezTo>
                    <a:pt x="248250" y="23980"/>
                    <a:pt x="248250" y="34546"/>
                    <a:pt x="241712" y="41084"/>
                  </a:cubicBezTo>
                  <a:lnTo>
                    <a:pt x="41080" y="241717"/>
                  </a:lnTo>
                  <a:cubicBezTo>
                    <a:pt x="37886" y="244910"/>
                    <a:pt x="33606" y="246615"/>
                    <a:pt x="29259" y="246615"/>
                  </a:cubicBezTo>
                  <a:close/>
                </a:path>
              </a:pathLst>
            </a:custGeom>
            <a:solidFill>
              <a:srgbClr val="000000"/>
            </a:solidFill>
            <a:ln w="9525"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1A4FA029-1F68-3841-B592-66184115B64D}"/>
                </a:ext>
              </a:extLst>
            </p:cNvPr>
            <p:cNvSpPr/>
            <p:nvPr/>
          </p:nvSpPr>
          <p:spPr>
            <a:xfrm>
              <a:off x="6232009" y="3464692"/>
              <a:ext cx="200633" cy="50158"/>
            </a:xfrm>
            <a:custGeom>
              <a:avLst/>
              <a:gdLst>
                <a:gd name="connsiteX0" fmla="*/ 179734 w 200632"/>
                <a:gd name="connsiteY0" fmla="*/ 45978 h 50158"/>
                <a:gd name="connsiteX1" fmla="*/ 29259 w 200632"/>
                <a:gd name="connsiteY1" fmla="*/ 45978 h 50158"/>
                <a:gd name="connsiteX2" fmla="*/ 12540 w 200632"/>
                <a:gd name="connsiteY2" fmla="*/ 29259 h 50158"/>
                <a:gd name="connsiteX3" fmla="*/ 29259 w 200632"/>
                <a:gd name="connsiteY3" fmla="*/ 12540 h 50158"/>
                <a:gd name="connsiteX4" fmla="*/ 179734 w 200632"/>
                <a:gd name="connsiteY4" fmla="*/ 12540 h 50158"/>
                <a:gd name="connsiteX5" fmla="*/ 196453 w 200632"/>
                <a:gd name="connsiteY5" fmla="*/ 29259 h 50158"/>
                <a:gd name="connsiteX6" fmla="*/ 179734 w 200632"/>
                <a:gd name="connsiteY6" fmla="*/ 45978 h 5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32" h="50158">
                  <a:moveTo>
                    <a:pt x="179734" y="45978"/>
                  </a:moveTo>
                  <a:lnTo>
                    <a:pt x="29259" y="45978"/>
                  </a:lnTo>
                  <a:cubicBezTo>
                    <a:pt x="20013" y="45978"/>
                    <a:pt x="12540" y="38488"/>
                    <a:pt x="12540" y="29259"/>
                  </a:cubicBezTo>
                  <a:cubicBezTo>
                    <a:pt x="12540" y="20030"/>
                    <a:pt x="20013" y="12540"/>
                    <a:pt x="29259" y="12540"/>
                  </a:cubicBezTo>
                  <a:lnTo>
                    <a:pt x="179734" y="12540"/>
                  </a:lnTo>
                  <a:cubicBezTo>
                    <a:pt x="188979" y="12540"/>
                    <a:pt x="196453" y="20030"/>
                    <a:pt x="196453" y="29259"/>
                  </a:cubicBezTo>
                  <a:cubicBezTo>
                    <a:pt x="196453" y="38488"/>
                    <a:pt x="188979" y="45978"/>
                    <a:pt x="179734" y="45978"/>
                  </a:cubicBezTo>
                  <a:close/>
                </a:path>
              </a:pathLst>
            </a:custGeom>
            <a:solidFill>
              <a:srgbClr val="000000"/>
            </a:solidFill>
            <a:ln w="9525"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75BDB3E1-0C03-6348-841E-7C7EC3C424FD}"/>
                </a:ext>
              </a:extLst>
            </p:cNvPr>
            <p:cNvSpPr/>
            <p:nvPr/>
          </p:nvSpPr>
          <p:spPr>
            <a:xfrm>
              <a:off x="5931055" y="3564991"/>
              <a:ext cx="250791" cy="250791"/>
            </a:xfrm>
            <a:custGeom>
              <a:avLst/>
              <a:gdLst>
                <a:gd name="connsiteX0" fmla="*/ 29263 w 250791"/>
                <a:gd name="connsiteY0" fmla="*/ 246629 h 250791"/>
                <a:gd name="connsiteX1" fmla="*/ 17443 w 250791"/>
                <a:gd name="connsiteY1" fmla="*/ 241730 h 250791"/>
                <a:gd name="connsiteX2" fmla="*/ 17443 w 250791"/>
                <a:gd name="connsiteY2" fmla="*/ 218089 h 250791"/>
                <a:gd name="connsiteX3" fmla="*/ 218075 w 250791"/>
                <a:gd name="connsiteY3" fmla="*/ 17456 h 250791"/>
                <a:gd name="connsiteX4" fmla="*/ 236300 w 250791"/>
                <a:gd name="connsiteY4" fmla="*/ 13828 h 250791"/>
                <a:gd name="connsiteX5" fmla="*/ 246615 w 250791"/>
                <a:gd name="connsiteY5" fmla="*/ 29277 h 250791"/>
                <a:gd name="connsiteX6" fmla="*/ 246615 w 250791"/>
                <a:gd name="connsiteY6" fmla="*/ 179752 h 250791"/>
                <a:gd name="connsiteX7" fmla="*/ 229896 w 250791"/>
                <a:gd name="connsiteY7" fmla="*/ 196471 h 250791"/>
                <a:gd name="connsiteX8" fmla="*/ 213177 w 250791"/>
                <a:gd name="connsiteY8" fmla="*/ 179752 h 250791"/>
                <a:gd name="connsiteX9" fmla="*/ 213177 w 250791"/>
                <a:gd name="connsiteY9" fmla="*/ 69638 h 250791"/>
                <a:gd name="connsiteX10" fmla="*/ 41084 w 250791"/>
                <a:gd name="connsiteY10" fmla="*/ 241730 h 250791"/>
                <a:gd name="connsiteX11" fmla="*/ 29263 w 250791"/>
                <a:gd name="connsiteY11" fmla="*/ 246629 h 250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0791" h="250791">
                  <a:moveTo>
                    <a:pt x="29263" y="246629"/>
                  </a:moveTo>
                  <a:cubicBezTo>
                    <a:pt x="24983" y="246629"/>
                    <a:pt x="20703" y="244991"/>
                    <a:pt x="17443" y="241730"/>
                  </a:cubicBezTo>
                  <a:cubicBezTo>
                    <a:pt x="10905" y="235193"/>
                    <a:pt x="10905" y="224627"/>
                    <a:pt x="17443" y="218089"/>
                  </a:cubicBezTo>
                  <a:lnTo>
                    <a:pt x="218075" y="17456"/>
                  </a:lnTo>
                  <a:cubicBezTo>
                    <a:pt x="222857" y="12675"/>
                    <a:pt x="230013" y="11203"/>
                    <a:pt x="236300" y="13828"/>
                  </a:cubicBezTo>
                  <a:cubicBezTo>
                    <a:pt x="242536" y="16403"/>
                    <a:pt x="246615" y="22522"/>
                    <a:pt x="246615" y="29277"/>
                  </a:cubicBezTo>
                  <a:lnTo>
                    <a:pt x="246615" y="179752"/>
                  </a:lnTo>
                  <a:cubicBezTo>
                    <a:pt x="246615" y="188997"/>
                    <a:pt x="239125" y="196471"/>
                    <a:pt x="229896" y="196471"/>
                  </a:cubicBezTo>
                  <a:cubicBezTo>
                    <a:pt x="220667" y="196471"/>
                    <a:pt x="213177" y="188997"/>
                    <a:pt x="213177" y="179752"/>
                  </a:cubicBezTo>
                  <a:lnTo>
                    <a:pt x="213177" y="69638"/>
                  </a:lnTo>
                  <a:lnTo>
                    <a:pt x="41084" y="241730"/>
                  </a:lnTo>
                  <a:cubicBezTo>
                    <a:pt x="37823" y="244991"/>
                    <a:pt x="33543" y="246629"/>
                    <a:pt x="29263" y="246629"/>
                  </a:cubicBezTo>
                  <a:close/>
                </a:path>
              </a:pathLst>
            </a:custGeom>
            <a:solidFill>
              <a:srgbClr val="000000"/>
            </a:solidFill>
            <a:ln w="9525"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B2337876-5495-F54F-9FF7-1B1FA5FFB9C2}"/>
                </a:ext>
              </a:extLst>
            </p:cNvPr>
            <p:cNvSpPr/>
            <p:nvPr/>
          </p:nvSpPr>
          <p:spPr>
            <a:xfrm>
              <a:off x="5981218" y="3565009"/>
              <a:ext cx="200633" cy="50158"/>
            </a:xfrm>
            <a:custGeom>
              <a:avLst/>
              <a:gdLst>
                <a:gd name="connsiteX0" fmla="*/ 179734 w 200632"/>
                <a:gd name="connsiteY0" fmla="*/ 45978 h 50158"/>
                <a:gd name="connsiteX1" fmla="*/ 29259 w 200632"/>
                <a:gd name="connsiteY1" fmla="*/ 45978 h 50158"/>
                <a:gd name="connsiteX2" fmla="*/ 12540 w 200632"/>
                <a:gd name="connsiteY2" fmla="*/ 29259 h 50158"/>
                <a:gd name="connsiteX3" fmla="*/ 29259 w 200632"/>
                <a:gd name="connsiteY3" fmla="*/ 12540 h 50158"/>
                <a:gd name="connsiteX4" fmla="*/ 179734 w 200632"/>
                <a:gd name="connsiteY4" fmla="*/ 12540 h 50158"/>
                <a:gd name="connsiteX5" fmla="*/ 196453 w 200632"/>
                <a:gd name="connsiteY5" fmla="*/ 29259 h 50158"/>
                <a:gd name="connsiteX6" fmla="*/ 179734 w 200632"/>
                <a:gd name="connsiteY6" fmla="*/ 45978 h 50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32" h="50158">
                  <a:moveTo>
                    <a:pt x="179734" y="45978"/>
                  </a:moveTo>
                  <a:lnTo>
                    <a:pt x="29259" y="45978"/>
                  </a:lnTo>
                  <a:cubicBezTo>
                    <a:pt x="20030" y="45978"/>
                    <a:pt x="12540" y="38505"/>
                    <a:pt x="12540" y="29259"/>
                  </a:cubicBezTo>
                  <a:cubicBezTo>
                    <a:pt x="12540" y="20013"/>
                    <a:pt x="20030" y="12540"/>
                    <a:pt x="29259" y="12540"/>
                  </a:cubicBezTo>
                  <a:lnTo>
                    <a:pt x="179734" y="12540"/>
                  </a:lnTo>
                  <a:cubicBezTo>
                    <a:pt x="188963" y="12540"/>
                    <a:pt x="196453" y="20013"/>
                    <a:pt x="196453" y="29259"/>
                  </a:cubicBezTo>
                  <a:cubicBezTo>
                    <a:pt x="196453" y="38505"/>
                    <a:pt x="188963" y="45978"/>
                    <a:pt x="179734" y="45978"/>
                  </a:cubicBezTo>
                  <a:close/>
                </a:path>
              </a:pathLst>
            </a:custGeom>
            <a:solidFill>
              <a:srgbClr val="000000"/>
            </a:solidFill>
            <a:ln w="9525" cap="flat">
              <a:noFill/>
              <a:prstDash val="solid"/>
              <a:miter/>
            </a:ln>
          </p:spPr>
          <p:txBody>
            <a:bodyPr rtlCol="0" anchor="ctr"/>
            <a:lstStyle/>
            <a:p>
              <a:endParaRPr lang="en-US"/>
            </a:p>
          </p:txBody>
        </p:sp>
      </p:grpSp>
    </p:spTree>
    <p:extLst>
      <p:ext uri="{BB962C8B-B14F-4D97-AF65-F5344CB8AC3E}">
        <p14:creationId xmlns:p14="http://schemas.microsoft.com/office/powerpoint/2010/main" val="3013594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2390856" y="1022248"/>
            <a:ext cx="2743200" cy="2743200"/>
            <a:chOff x="866856" y="1022248"/>
            <a:chExt cx="2743200" cy="2743200"/>
          </a:xfrm>
        </p:grpSpPr>
        <p:sp>
          <p:nvSpPr>
            <p:cNvPr id="4" name="Rectangle 95"/>
            <p:cNvSpPr/>
            <p:nvPr/>
          </p:nvSpPr>
          <p:spPr>
            <a:xfrm>
              <a:off x="866856" y="1022248"/>
              <a:ext cx="2743200" cy="2743200"/>
            </a:xfrm>
            <a:custGeom>
              <a:avLst/>
              <a:gdLst>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7863" h="2487863">
                  <a:moveTo>
                    <a:pt x="0" y="0"/>
                  </a:moveTo>
                  <a:lnTo>
                    <a:pt x="2487863" y="0"/>
                  </a:lnTo>
                  <a:lnTo>
                    <a:pt x="2487863" y="2487863"/>
                  </a:lnTo>
                  <a:cubicBezTo>
                    <a:pt x="1217417" y="2233862"/>
                    <a:pt x="1123393" y="2327442"/>
                    <a:pt x="0" y="2487863"/>
                  </a:cubicBezTo>
                  <a:lnTo>
                    <a:pt x="0" y="0"/>
                  </a:lnTo>
                  <a:close/>
                </a:path>
              </a:pathLst>
            </a:custGeom>
            <a:solidFill>
              <a:schemeClr val="tx1">
                <a:alpha val="37000"/>
              </a:schemeClr>
            </a:solidFill>
            <a:ln>
              <a:noFill/>
            </a:ln>
            <a:effectLst>
              <a:outerShdw blurRad="40000" dist="23000" dir="5400000" rotWithShape="0">
                <a:srgbClr val="000000">
                  <a:alpha val="35000"/>
                </a:srgbClr>
              </a:outerShdw>
              <a:softEdge rad="1270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sp>
          <p:nvSpPr>
            <p:cNvPr id="5" name="Rectangle 4"/>
            <p:cNvSpPr/>
            <p:nvPr/>
          </p:nvSpPr>
          <p:spPr>
            <a:xfrm>
              <a:off x="958956" y="1099372"/>
              <a:ext cx="2563579" cy="23560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grpSp>
      <p:sp>
        <p:nvSpPr>
          <p:cNvPr id="11" name="Title 10"/>
          <p:cNvSpPr>
            <a:spLocks noGrp="1"/>
          </p:cNvSpPr>
          <p:nvPr>
            <p:ph type="title"/>
          </p:nvPr>
        </p:nvSpPr>
        <p:spPr/>
        <p:txBody>
          <a:bodyPr/>
          <a:lstStyle/>
          <a:p>
            <a:r>
              <a:rPr lang="en-US" dirty="0"/>
              <a:t>Curved Photo Frames (PPT Native)</a:t>
            </a:r>
          </a:p>
        </p:txBody>
      </p:sp>
      <p:grpSp>
        <p:nvGrpSpPr>
          <p:cNvPr id="19" name="Group 18"/>
          <p:cNvGrpSpPr/>
          <p:nvPr/>
        </p:nvGrpSpPr>
        <p:grpSpPr>
          <a:xfrm>
            <a:off x="6317272" y="1022249"/>
            <a:ext cx="3630168" cy="2743200"/>
            <a:chOff x="4793272" y="1022249"/>
            <a:chExt cx="3630168" cy="2743200"/>
          </a:xfrm>
        </p:grpSpPr>
        <p:sp>
          <p:nvSpPr>
            <p:cNvPr id="12" name="Rectangle 95"/>
            <p:cNvSpPr/>
            <p:nvPr/>
          </p:nvSpPr>
          <p:spPr>
            <a:xfrm>
              <a:off x="4793272" y="1022249"/>
              <a:ext cx="3630168" cy="2743200"/>
            </a:xfrm>
            <a:custGeom>
              <a:avLst/>
              <a:gdLst>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7863" h="2487863">
                  <a:moveTo>
                    <a:pt x="0" y="0"/>
                  </a:moveTo>
                  <a:lnTo>
                    <a:pt x="2487863" y="0"/>
                  </a:lnTo>
                  <a:lnTo>
                    <a:pt x="2487863" y="2487863"/>
                  </a:lnTo>
                  <a:cubicBezTo>
                    <a:pt x="1217417" y="2233862"/>
                    <a:pt x="1123393" y="2327442"/>
                    <a:pt x="0" y="2487863"/>
                  </a:cubicBezTo>
                  <a:lnTo>
                    <a:pt x="0" y="0"/>
                  </a:lnTo>
                  <a:close/>
                </a:path>
              </a:pathLst>
            </a:custGeom>
            <a:solidFill>
              <a:schemeClr val="tx1">
                <a:alpha val="37000"/>
              </a:schemeClr>
            </a:solidFill>
            <a:ln>
              <a:noFill/>
            </a:ln>
            <a:effectLst>
              <a:outerShdw blurRad="40000" dist="23000" dir="5400000" rotWithShape="0">
                <a:srgbClr val="000000">
                  <a:alpha val="35000"/>
                </a:srgbClr>
              </a:outerShdw>
              <a:softEdge rad="1270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sp>
          <p:nvSpPr>
            <p:cNvPr id="13" name="Rectangle 12"/>
            <p:cNvSpPr/>
            <p:nvPr/>
          </p:nvSpPr>
          <p:spPr>
            <a:xfrm>
              <a:off x="4899304" y="1099373"/>
              <a:ext cx="3418105" cy="23560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grpSp>
      <p:grpSp>
        <p:nvGrpSpPr>
          <p:cNvPr id="21" name="Group 20"/>
          <p:cNvGrpSpPr/>
          <p:nvPr/>
        </p:nvGrpSpPr>
        <p:grpSpPr>
          <a:xfrm>
            <a:off x="3489965" y="3923334"/>
            <a:ext cx="5212073" cy="2743200"/>
            <a:chOff x="1965964" y="3923334"/>
            <a:chExt cx="5212073" cy="2743200"/>
          </a:xfrm>
        </p:grpSpPr>
        <p:sp>
          <p:nvSpPr>
            <p:cNvPr id="16" name="Rectangle 95"/>
            <p:cNvSpPr/>
            <p:nvPr/>
          </p:nvSpPr>
          <p:spPr>
            <a:xfrm>
              <a:off x="1965964" y="3923334"/>
              <a:ext cx="5212073" cy="2743200"/>
            </a:xfrm>
            <a:custGeom>
              <a:avLst/>
              <a:gdLst>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 name="connsiteX0" fmla="*/ 0 w 2487863"/>
                <a:gd name="connsiteY0" fmla="*/ 0 h 2487863"/>
                <a:gd name="connsiteX1" fmla="*/ 2487863 w 2487863"/>
                <a:gd name="connsiteY1" fmla="*/ 0 h 2487863"/>
                <a:gd name="connsiteX2" fmla="*/ 2487863 w 2487863"/>
                <a:gd name="connsiteY2" fmla="*/ 2487863 h 2487863"/>
                <a:gd name="connsiteX3" fmla="*/ 0 w 2487863"/>
                <a:gd name="connsiteY3" fmla="*/ 2487863 h 2487863"/>
                <a:gd name="connsiteX4" fmla="*/ 0 w 2487863"/>
                <a:gd name="connsiteY4" fmla="*/ 0 h 24878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7863" h="2487863">
                  <a:moveTo>
                    <a:pt x="0" y="0"/>
                  </a:moveTo>
                  <a:lnTo>
                    <a:pt x="2487863" y="0"/>
                  </a:lnTo>
                  <a:lnTo>
                    <a:pt x="2487863" y="2487863"/>
                  </a:lnTo>
                  <a:cubicBezTo>
                    <a:pt x="1217417" y="2233862"/>
                    <a:pt x="1123393" y="2327442"/>
                    <a:pt x="0" y="2487863"/>
                  </a:cubicBezTo>
                  <a:lnTo>
                    <a:pt x="0" y="0"/>
                  </a:lnTo>
                  <a:close/>
                </a:path>
              </a:pathLst>
            </a:custGeom>
            <a:solidFill>
              <a:schemeClr val="tx1">
                <a:alpha val="37000"/>
              </a:schemeClr>
            </a:solidFill>
            <a:ln>
              <a:noFill/>
            </a:ln>
            <a:effectLst>
              <a:outerShdw blurRad="40000" dist="23000" dir="5400000" rotWithShape="0">
                <a:srgbClr val="000000">
                  <a:alpha val="35000"/>
                </a:srgbClr>
              </a:outerShdw>
              <a:softEdge rad="1270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sp>
          <p:nvSpPr>
            <p:cNvPr id="17" name="Rectangle 16"/>
            <p:cNvSpPr/>
            <p:nvPr/>
          </p:nvSpPr>
          <p:spPr>
            <a:xfrm>
              <a:off x="2085504" y="4000458"/>
              <a:ext cx="4981888" cy="235607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Tw Cen MT Regular"/>
              </a:endParaRPr>
            </a:p>
          </p:txBody>
        </p:sp>
      </p:grpSp>
    </p:spTree>
    <p:extLst>
      <p:ext uri="{BB962C8B-B14F-4D97-AF65-F5344CB8AC3E}">
        <p14:creationId xmlns:p14="http://schemas.microsoft.com/office/powerpoint/2010/main" val="26258649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6404" y="274639"/>
            <a:ext cx="10972800" cy="1170571"/>
          </a:xfrm>
        </p:spPr>
        <p:txBody>
          <a:bodyPr/>
          <a:lstStyle/>
          <a:p>
            <a:r>
              <a:rPr lang="en-US" dirty="0"/>
              <a:t>Newspaper Tears</a:t>
            </a:r>
            <a:br>
              <a:rPr lang="en-US" dirty="0"/>
            </a:br>
            <a:r>
              <a:rPr lang="en-US" sz="1600" i="1" dirty="0"/>
              <a:t>Fill the shape with an image of a news article (Fill: Picture or texture fill…) or type directly into these PowerPoint native shapes</a:t>
            </a:r>
            <a:br>
              <a:rPr lang="en-US" dirty="0"/>
            </a:br>
            <a:endParaRPr lang="en-US" dirty="0"/>
          </a:p>
        </p:txBody>
      </p:sp>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815" r="40172"/>
          <a:stretch/>
        </p:blipFill>
        <p:spPr>
          <a:xfrm>
            <a:off x="7841187" y="1462244"/>
            <a:ext cx="3583696" cy="1880687"/>
          </a:xfrm>
          <a:prstGeom prst="rect">
            <a:avLst/>
          </a:prstGeom>
          <a:effectLst>
            <a:outerShdw blurRad="50800" dist="38100" dir="5400000" algn="t" rotWithShape="0">
              <a:prstClr val="black">
                <a:alpha val="40000"/>
              </a:prstClr>
            </a:outerShdw>
          </a:effectLst>
        </p:spPr>
      </p:pic>
      <p:sp>
        <p:nvSpPr>
          <p:cNvPr id="4" name="AutoShape 1"/>
          <p:cNvSpPr>
            <a:spLocks/>
          </p:cNvSpPr>
          <p:nvPr/>
        </p:nvSpPr>
        <p:spPr bwMode="auto">
          <a:xfrm>
            <a:off x="3028724" y="2715979"/>
            <a:ext cx="1925638" cy="704850"/>
          </a:xfrm>
          <a:custGeom>
            <a:avLst/>
            <a:gdLst/>
            <a:ahLst/>
            <a:cxnLst/>
            <a:rect l="0" t="0" r="r" b="b"/>
            <a:pathLst>
              <a:path w="21600" h="21600">
                <a:moveTo>
                  <a:pt x="6875" y="19877"/>
                </a:moveTo>
                <a:cubicBezTo>
                  <a:pt x="6896" y="20062"/>
                  <a:pt x="6916" y="20411"/>
                  <a:pt x="6938" y="20025"/>
                </a:cubicBezTo>
                <a:cubicBezTo>
                  <a:pt x="6949" y="20319"/>
                  <a:pt x="6961" y="20212"/>
                  <a:pt x="6976" y="20143"/>
                </a:cubicBezTo>
                <a:cubicBezTo>
                  <a:pt x="6991" y="20308"/>
                  <a:pt x="7009" y="19649"/>
                  <a:pt x="7030" y="20595"/>
                </a:cubicBezTo>
                <a:cubicBezTo>
                  <a:pt x="7066" y="21102"/>
                  <a:pt x="7093" y="21212"/>
                  <a:pt x="7119" y="21198"/>
                </a:cubicBezTo>
                <a:cubicBezTo>
                  <a:pt x="7141" y="21231"/>
                  <a:pt x="7159" y="21068"/>
                  <a:pt x="7178" y="21555"/>
                </a:cubicBezTo>
                <a:cubicBezTo>
                  <a:pt x="7181" y="21570"/>
                  <a:pt x="7183" y="21585"/>
                  <a:pt x="7186" y="21600"/>
                </a:cubicBezTo>
                <a:cubicBezTo>
                  <a:pt x="7792" y="20347"/>
                  <a:pt x="8921" y="20118"/>
                  <a:pt x="9462" y="20028"/>
                </a:cubicBezTo>
                <a:cubicBezTo>
                  <a:pt x="9561" y="20012"/>
                  <a:pt x="9660" y="20005"/>
                  <a:pt x="9759" y="20003"/>
                </a:cubicBezTo>
                <a:cubicBezTo>
                  <a:pt x="9763" y="19833"/>
                  <a:pt x="9772" y="19895"/>
                  <a:pt x="9785" y="20001"/>
                </a:cubicBezTo>
                <a:cubicBezTo>
                  <a:pt x="9811" y="20001"/>
                  <a:pt x="9837" y="20000"/>
                  <a:pt x="9863" y="20000"/>
                </a:cubicBezTo>
                <a:cubicBezTo>
                  <a:pt x="9873" y="19941"/>
                  <a:pt x="9883" y="19954"/>
                  <a:pt x="9892" y="20000"/>
                </a:cubicBezTo>
                <a:cubicBezTo>
                  <a:pt x="10035" y="20004"/>
                  <a:pt x="10177" y="20020"/>
                  <a:pt x="10322" y="20045"/>
                </a:cubicBezTo>
                <a:cubicBezTo>
                  <a:pt x="10496" y="20075"/>
                  <a:pt x="10670" y="20110"/>
                  <a:pt x="10844" y="20143"/>
                </a:cubicBezTo>
                <a:cubicBezTo>
                  <a:pt x="10873" y="20146"/>
                  <a:pt x="10921" y="20152"/>
                  <a:pt x="10987" y="20161"/>
                </a:cubicBezTo>
                <a:cubicBezTo>
                  <a:pt x="11093" y="20166"/>
                  <a:pt x="11198" y="20167"/>
                  <a:pt x="11302" y="20168"/>
                </a:cubicBezTo>
                <a:cubicBezTo>
                  <a:pt x="11321" y="20029"/>
                  <a:pt x="11345" y="19902"/>
                  <a:pt x="11370" y="20139"/>
                </a:cubicBezTo>
                <a:cubicBezTo>
                  <a:pt x="11375" y="20148"/>
                  <a:pt x="11379" y="20160"/>
                  <a:pt x="11384" y="20171"/>
                </a:cubicBezTo>
                <a:cubicBezTo>
                  <a:pt x="11410" y="20171"/>
                  <a:pt x="11437" y="20171"/>
                  <a:pt x="11463" y="20172"/>
                </a:cubicBezTo>
                <a:cubicBezTo>
                  <a:pt x="11466" y="20129"/>
                  <a:pt x="11468" y="20075"/>
                  <a:pt x="11468" y="19993"/>
                </a:cubicBezTo>
                <a:cubicBezTo>
                  <a:pt x="11468" y="19937"/>
                  <a:pt x="11472" y="19991"/>
                  <a:pt x="11475" y="20172"/>
                </a:cubicBezTo>
                <a:cubicBezTo>
                  <a:pt x="11814" y="20175"/>
                  <a:pt x="12153" y="20173"/>
                  <a:pt x="12491" y="20205"/>
                </a:cubicBezTo>
                <a:cubicBezTo>
                  <a:pt x="12537" y="20209"/>
                  <a:pt x="12582" y="20219"/>
                  <a:pt x="12628" y="20224"/>
                </a:cubicBezTo>
                <a:cubicBezTo>
                  <a:pt x="12633" y="20214"/>
                  <a:pt x="12639" y="20214"/>
                  <a:pt x="12644" y="20226"/>
                </a:cubicBezTo>
                <a:cubicBezTo>
                  <a:pt x="13021" y="20269"/>
                  <a:pt x="13396" y="20336"/>
                  <a:pt x="13773" y="20405"/>
                </a:cubicBezTo>
                <a:cubicBezTo>
                  <a:pt x="13863" y="20417"/>
                  <a:pt x="13953" y="20438"/>
                  <a:pt x="14043" y="20465"/>
                </a:cubicBezTo>
                <a:cubicBezTo>
                  <a:pt x="14524" y="20490"/>
                  <a:pt x="15003" y="20441"/>
                  <a:pt x="15483" y="20398"/>
                </a:cubicBezTo>
                <a:cubicBezTo>
                  <a:pt x="15697" y="20377"/>
                  <a:pt x="15910" y="20387"/>
                  <a:pt x="16123" y="20414"/>
                </a:cubicBezTo>
                <a:cubicBezTo>
                  <a:pt x="16154" y="19906"/>
                  <a:pt x="16186" y="19841"/>
                  <a:pt x="16217" y="20358"/>
                </a:cubicBezTo>
                <a:cubicBezTo>
                  <a:pt x="16481" y="20109"/>
                  <a:pt x="16755" y="19938"/>
                  <a:pt x="17026" y="19855"/>
                </a:cubicBezTo>
                <a:cubicBezTo>
                  <a:pt x="17621" y="19668"/>
                  <a:pt x="18174" y="19638"/>
                  <a:pt x="18769" y="19829"/>
                </a:cubicBezTo>
                <a:cubicBezTo>
                  <a:pt x="18878" y="19860"/>
                  <a:pt x="18987" y="19899"/>
                  <a:pt x="19095" y="19944"/>
                </a:cubicBezTo>
                <a:cubicBezTo>
                  <a:pt x="18476" y="19847"/>
                  <a:pt x="18587" y="19872"/>
                  <a:pt x="19427" y="20018"/>
                </a:cubicBezTo>
                <a:cubicBezTo>
                  <a:pt x="19543" y="20049"/>
                  <a:pt x="19660" y="20089"/>
                  <a:pt x="19776" y="20130"/>
                </a:cubicBezTo>
                <a:cubicBezTo>
                  <a:pt x="20373" y="19771"/>
                  <a:pt x="20999" y="19684"/>
                  <a:pt x="21600" y="19956"/>
                </a:cubicBezTo>
                <a:lnTo>
                  <a:pt x="21600" y="0"/>
                </a:lnTo>
                <a:lnTo>
                  <a:pt x="0" y="0"/>
                </a:lnTo>
                <a:lnTo>
                  <a:pt x="0" y="18011"/>
                </a:lnTo>
                <a:cubicBezTo>
                  <a:pt x="5" y="18067"/>
                  <a:pt x="10" y="18123"/>
                  <a:pt x="13" y="18181"/>
                </a:cubicBezTo>
                <a:cubicBezTo>
                  <a:pt x="65" y="18226"/>
                  <a:pt x="118" y="18288"/>
                  <a:pt x="173" y="18563"/>
                </a:cubicBezTo>
                <a:cubicBezTo>
                  <a:pt x="285" y="18992"/>
                  <a:pt x="401" y="18544"/>
                  <a:pt x="513" y="19206"/>
                </a:cubicBezTo>
                <a:cubicBezTo>
                  <a:pt x="625" y="19486"/>
                  <a:pt x="733" y="18318"/>
                  <a:pt x="829" y="19576"/>
                </a:cubicBezTo>
                <a:cubicBezTo>
                  <a:pt x="887" y="19755"/>
                  <a:pt x="940" y="20052"/>
                  <a:pt x="991" y="19992"/>
                </a:cubicBezTo>
                <a:cubicBezTo>
                  <a:pt x="992" y="19989"/>
                  <a:pt x="994" y="19987"/>
                  <a:pt x="996" y="19986"/>
                </a:cubicBezTo>
                <a:cubicBezTo>
                  <a:pt x="1019" y="19949"/>
                  <a:pt x="1041" y="19833"/>
                  <a:pt x="1064" y="19594"/>
                </a:cubicBezTo>
                <a:cubicBezTo>
                  <a:pt x="1096" y="19662"/>
                  <a:pt x="1127" y="19658"/>
                  <a:pt x="1158" y="19625"/>
                </a:cubicBezTo>
                <a:cubicBezTo>
                  <a:pt x="1206" y="19177"/>
                  <a:pt x="1252" y="19106"/>
                  <a:pt x="1296" y="19407"/>
                </a:cubicBezTo>
                <a:cubicBezTo>
                  <a:pt x="1363" y="19089"/>
                  <a:pt x="1434" y="19209"/>
                  <a:pt x="1511" y="19299"/>
                </a:cubicBezTo>
                <a:cubicBezTo>
                  <a:pt x="1592" y="18841"/>
                  <a:pt x="1679" y="19081"/>
                  <a:pt x="1775" y="19256"/>
                </a:cubicBezTo>
                <a:cubicBezTo>
                  <a:pt x="1823" y="20208"/>
                  <a:pt x="1868" y="18788"/>
                  <a:pt x="1911" y="19300"/>
                </a:cubicBezTo>
                <a:cubicBezTo>
                  <a:pt x="1956" y="19936"/>
                  <a:pt x="1998" y="19185"/>
                  <a:pt x="2039" y="19373"/>
                </a:cubicBezTo>
                <a:cubicBezTo>
                  <a:pt x="2081" y="19396"/>
                  <a:pt x="2121" y="19119"/>
                  <a:pt x="2160" y="19576"/>
                </a:cubicBezTo>
                <a:cubicBezTo>
                  <a:pt x="2199" y="18961"/>
                  <a:pt x="2238" y="19687"/>
                  <a:pt x="2277" y="19566"/>
                </a:cubicBezTo>
                <a:cubicBezTo>
                  <a:pt x="2355" y="19930"/>
                  <a:pt x="2432" y="18940"/>
                  <a:pt x="2510" y="19752"/>
                </a:cubicBezTo>
                <a:cubicBezTo>
                  <a:pt x="2549" y="20138"/>
                  <a:pt x="2589" y="20141"/>
                  <a:pt x="2629" y="19915"/>
                </a:cubicBezTo>
                <a:cubicBezTo>
                  <a:pt x="2669" y="19769"/>
                  <a:pt x="2711" y="19938"/>
                  <a:pt x="2754" y="19845"/>
                </a:cubicBezTo>
                <a:cubicBezTo>
                  <a:pt x="2818" y="19913"/>
                  <a:pt x="2887" y="19697"/>
                  <a:pt x="2961" y="19815"/>
                </a:cubicBezTo>
                <a:cubicBezTo>
                  <a:pt x="3034" y="19822"/>
                  <a:pt x="3112" y="19714"/>
                  <a:pt x="3192" y="19733"/>
                </a:cubicBezTo>
                <a:cubicBezTo>
                  <a:pt x="3266" y="19292"/>
                  <a:pt x="3343" y="19899"/>
                  <a:pt x="3420" y="19648"/>
                </a:cubicBezTo>
                <a:cubicBezTo>
                  <a:pt x="3497" y="19767"/>
                  <a:pt x="3577" y="20220"/>
                  <a:pt x="3658" y="19593"/>
                </a:cubicBezTo>
                <a:cubicBezTo>
                  <a:pt x="3769" y="20061"/>
                  <a:pt x="3880" y="20136"/>
                  <a:pt x="3990" y="19535"/>
                </a:cubicBezTo>
                <a:cubicBezTo>
                  <a:pt x="4101" y="18990"/>
                  <a:pt x="4210" y="19369"/>
                  <a:pt x="4319" y="19446"/>
                </a:cubicBezTo>
                <a:cubicBezTo>
                  <a:pt x="4429" y="19177"/>
                  <a:pt x="4537" y="19384"/>
                  <a:pt x="4644" y="19344"/>
                </a:cubicBezTo>
                <a:cubicBezTo>
                  <a:pt x="4708" y="18485"/>
                  <a:pt x="4772" y="19156"/>
                  <a:pt x="4836" y="19281"/>
                </a:cubicBezTo>
                <a:cubicBezTo>
                  <a:pt x="4900" y="19625"/>
                  <a:pt x="4964" y="19397"/>
                  <a:pt x="5030" y="19223"/>
                </a:cubicBezTo>
                <a:cubicBezTo>
                  <a:pt x="5094" y="19226"/>
                  <a:pt x="5160" y="19125"/>
                  <a:pt x="5225" y="19169"/>
                </a:cubicBezTo>
                <a:cubicBezTo>
                  <a:pt x="5237" y="19526"/>
                  <a:pt x="5250" y="19605"/>
                  <a:pt x="5261" y="19580"/>
                </a:cubicBezTo>
                <a:cubicBezTo>
                  <a:pt x="5265" y="19552"/>
                  <a:pt x="5267" y="19543"/>
                  <a:pt x="5270" y="19548"/>
                </a:cubicBezTo>
                <a:cubicBezTo>
                  <a:pt x="5288" y="19455"/>
                  <a:pt x="5306" y="19228"/>
                  <a:pt x="5324" y="19423"/>
                </a:cubicBezTo>
                <a:cubicBezTo>
                  <a:pt x="5356" y="20085"/>
                  <a:pt x="5390" y="19630"/>
                  <a:pt x="5423" y="19125"/>
                </a:cubicBezTo>
                <a:cubicBezTo>
                  <a:pt x="5456" y="19038"/>
                  <a:pt x="5489" y="19998"/>
                  <a:pt x="5523" y="19058"/>
                </a:cubicBezTo>
                <a:cubicBezTo>
                  <a:pt x="5556" y="19637"/>
                  <a:pt x="5590" y="19462"/>
                  <a:pt x="5624" y="19148"/>
                </a:cubicBezTo>
                <a:cubicBezTo>
                  <a:pt x="5691" y="18280"/>
                  <a:pt x="5758" y="18859"/>
                  <a:pt x="5827" y="19073"/>
                </a:cubicBezTo>
                <a:cubicBezTo>
                  <a:pt x="5861" y="19181"/>
                  <a:pt x="5895" y="19517"/>
                  <a:pt x="5929" y="18909"/>
                </a:cubicBezTo>
                <a:cubicBezTo>
                  <a:pt x="5964" y="19649"/>
                  <a:pt x="5998" y="19089"/>
                  <a:pt x="6033" y="19235"/>
                </a:cubicBezTo>
                <a:cubicBezTo>
                  <a:pt x="6102" y="19373"/>
                  <a:pt x="6172" y="18430"/>
                  <a:pt x="6243" y="19089"/>
                </a:cubicBezTo>
                <a:cubicBezTo>
                  <a:pt x="6323" y="18572"/>
                  <a:pt x="6392" y="18847"/>
                  <a:pt x="6452" y="19051"/>
                </a:cubicBezTo>
                <a:cubicBezTo>
                  <a:pt x="6512" y="18978"/>
                  <a:pt x="6564" y="19631"/>
                  <a:pt x="6608" y="19173"/>
                </a:cubicBezTo>
                <a:cubicBezTo>
                  <a:pt x="6697" y="19426"/>
                  <a:pt x="6758" y="19385"/>
                  <a:pt x="6807" y="19419"/>
                </a:cubicBezTo>
                <a:cubicBezTo>
                  <a:pt x="6832" y="19730"/>
                  <a:pt x="6854" y="19582"/>
                  <a:pt x="6875" y="19877"/>
                </a:cubicBezTo>
                <a:close/>
                <a:moveTo>
                  <a:pt x="6875" y="19877"/>
                </a:moveTo>
              </a:path>
            </a:pathLst>
          </a:custGeom>
          <a:solidFill>
            <a:schemeClr val="bg1"/>
          </a:solidFill>
          <a:ln w="3175" cmpd="sng">
            <a:solidFill>
              <a:schemeClr val="bg1">
                <a:lumMod val="85000"/>
              </a:schemeClr>
            </a:solidFill>
          </a:ln>
          <a:effectLst/>
        </p:spPr>
        <p:txBody>
          <a:bodyPr lIns="182880" tIns="182880" rIns="182880" bIns="91440"/>
          <a:lstStyle/>
          <a:p>
            <a:pPr defTabSz="1018705"/>
            <a:endParaRPr lang="en-US">
              <a:latin typeface="Times New Roman" charset="0"/>
              <a:ea typeface="Times New Roman" charset="0"/>
              <a:cs typeface="Times New Roman" charset="0"/>
            </a:endParaRPr>
          </a:p>
        </p:txBody>
      </p:sp>
      <p:sp>
        <p:nvSpPr>
          <p:cNvPr id="5" name="AutoShape 2"/>
          <p:cNvSpPr>
            <a:spLocks/>
          </p:cNvSpPr>
          <p:nvPr/>
        </p:nvSpPr>
        <p:spPr bwMode="auto">
          <a:xfrm>
            <a:off x="924492" y="2715979"/>
            <a:ext cx="1925638" cy="655638"/>
          </a:xfrm>
          <a:custGeom>
            <a:avLst/>
            <a:gdLst/>
            <a:ahLst/>
            <a:cxnLst/>
            <a:rect l="0" t="0" r="r" b="b"/>
            <a:pathLst>
              <a:path w="21600" h="21281">
                <a:moveTo>
                  <a:pt x="6628" y="20757"/>
                </a:moveTo>
                <a:cubicBezTo>
                  <a:pt x="6723" y="20578"/>
                  <a:pt x="6820" y="20428"/>
                  <a:pt x="6917" y="20276"/>
                </a:cubicBezTo>
                <a:cubicBezTo>
                  <a:pt x="6977" y="20265"/>
                  <a:pt x="7037" y="19844"/>
                  <a:pt x="7097" y="19969"/>
                </a:cubicBezTo>
                <a:cubicBezTo>
                  <a:pt x="7157" y="19635"/>
                  <a:pt x="7218" y="19987"/>
                  <a:pt x="7279" y="19684"/>
                </a:cubicBezTo>
                <a:cubicBezTo>
                  <a:pt x="7341" y="19273"/>
                  <a:pt x="7402" y="19038"/>
                  <a:pt x="7465" y="19445"/>
                </a:cubicBezTo>
                <a:cubicBezTo>
                  <a:pt x="7527" y="19165"/>
                  <a:pt x="7591" y="20782"/>
                  <a:pt x="7654" y="19279"/>
                </a:cubicBezTo>
                <a:cubicBezTo>
                  <a:pt x="7718" y="18778"/>
                  <a:pt x="7783" y="18531"/>
                  <a:pt x="7848" y="19170"/>
                </a:cubicBezTo>
                <a:cubicBezTo>
                  <a:pt x="7914" y="19456"/>
                  <a:pt x="7980" y="19259"/>
                  <a:pt x="8047" y="19260"/>
                </a:cubicBezTo>
                <a:cubicBezTo>
                  <a:pt x="8090" y="18503"/>
                  <a:pt x="8127" y="19730"/>
                  <a:pt x="8159" y="19187"/>
                </a:cubicBezTo>
                <a:cubicBezTo>
                  <a:pt x="8192" y="19132"/>
                  <a:pt x="8219" y="20019"/>
                  <a:pt x="8242" y="19547"/>
                </a:cubicBezTo>
                <a:cubicBezTo>
                  <a:pt x="8289" y="19519"/>
                  <a:pt x="8321" y="20491"/>
                  <a:pt x="8346" y="19924"/>
                </a:cubicBezTo>
                <a:cubicBezTo>
                  <a:pt x="8399" y="20434"/>
                  <a:pt x="8417" y="20137"/>
                  <a:pt x="8520" y="20223"/>
                </a:cubicBezTo>
                <a:cubicBezTo>
                  <a:pt x="8559" y="19842"/>
                  <a:pt x="8600" y="20181"/>
                  <a:pt x="8641" y="20071"/>
                </a:cubicBezTo>
                <a:cubicBezTo>
                  <a:pt x="8662" y="19389"/>
                  <a:pt x="8683" y="19914"/>
                  <a:pt x="8704" y="19799"/>
                </a:cubicBezTo>
                <a:cubicBezTo>
                  <a:pt x="8725" y="19960"/>
                  <a:pt x="8747" y="20008"/>
                  <a:pt x="8769" y="19749"/>
                </a:cubicBezTo>
                <a:cubicBezTo>
                  <a:pt x="8817" y="19506"/>
                  <a:pt x="8867" y="18733"/>
                  <a:pt x="8921" y="19369"/>
                </a:cubicBezTo>
                <a:cubicBezTo>
                  <a:pt x="8948" y="19490"/>
                  <a:pt x="8977" y="19657"/>
                  <a:pt x="9006" y="19570"/>
                </a:cubicBezTo>
                <a:cubicBezTo>
                  <a:pt x="9036" y="19784"/>
                  <a:pt x="9067" y="19427"/>
                  <a:pt x="9101" y="19110"/>
                </a:cubicBezTo>
                <a:cubicBezTo>
                  <a:pt x="9101" y="19620"/>
                  <a:pt x="9154" y="19789"/>
                  <a:pt x="9207" y="19289"/>
                </a:cubicBezTo>
                <a:cubicBezTo>
                  <a:pt x="9246" y="19183"/>
                  <a:pt x="9285" y="19021"/>
                  <a:pt x="9302" y="18964"/>
                </a:cubicBezTo>
                <a:cubicBezTo>
                  <a:pt x="9308" y="18744"/>
                  <a:pt x="9312" y="18694"/>
                  <a:pt x="9312" y="18950"/>
                </a:cubicBezTo>
                <a:cubicBezTo>
                  <a:pt x="9312" y="18938"/>
                  <a:pt x="9308" y="18945"/>
                  <a:pt x="9302" y="18964"/>
                </a:cubicBezTo>
                <a:cubicBezTo>
                  <a:pt x="9301" y="19029"/>
                  <a:pt x="9299" y="19105"/>
                  <a:pt x="9298" y="19197"/>
                </a:cubicBezTo>
                <a:cubicBezTo>
                  <a:pt x="9294" y="19191"/>
                  <a:pt x="9291" y="19395"/>
                  <a:pt x="9287" y="19543"/>
                </a:cubicBezTo>
                <a:cubicBezTo>
                  <a:pt x="9288" y="19653"/>
                  <a:pt x="9288" y="19788"/>
                  <a:pt x="9289" y="19962"/>
                </a:cubicBezTo>
                <a:cubicBezTo>
                  <a:pt x="9345" y="19463"/>
                  <a:pt x="9403" y="19366"/>
                  <a:pt x="9461" y="19236"/>
                </a:cubicBezTo>
                <a:cubicBezTo>
                  <a:pt x="9518" y="19105"/>
                  <a:pt x="9577" y="19099"/>
                  <a:pt x="9636" y="19260"/>
                </a:cubicBezTo>
                <a:cubicBezTo>
                  <a:pt x="9754" y="19295"/>
                  <a:pt x="9875" y="19160"/>
                  <a:pt x="9999" y="18682"/>
                </a:cubicBezTo>
                <a:cubicBezTo>
                  <a:pt x="10123" y="18068"/>
                  <a:pt x="10249" y="18456"/>
                  <a:pt x="10379" y="18227"/>
                </a:cubicBezTo>
                <a:cubicBezTo>
                  <a:pt x="10509" y="17838"/>
                  <a:pt x="10642" y="17255"/>
                  <a:pt x="10778" y="17895"/>
                </a:cubicBezTo>
                <a:cubicBezTo>
                  <a:pt x="10913" y="17680"/>
                  <a:pt x="11053" y="17883"/>
                  <a:pt x="11196" y="17682"/>
                </a:cubicBezTo>
                <a:cubicBezTo>
                  <a:pt x="11196" y="17573"/>
                  <a:pt x="11228" y="17156"/>
                  <a:pt x="11228" y="17669"/>
                </a:cubicBezTo>
                <a:cubicBezTo>
                  <a:pt x="11285" y="17484"/>
                  <a:pt x="11342" y="17084"/>
                  <a:pt x="11398" y="17650"/>
                </a:cubicBezTo>
                <a:cubicBezTo>
                  <a:pt x="11453" y="17094"/>
                  <a:pt x="11508" y="17312"/>
                  <a:pt x="11562" y="17560"/>
                </a:cubicBezTo>
                <a:cubicBezTo>
                  <a:pt x="11617" y="17588"/>
                  <a:pt x="11670" y="17802"/>
                  <a:pt x="11724" y="17376"/>
                </a:cubicBezTo>
                <a:cubicBezTo>
                  <a:pt x="11777" y="17448"/>
                  <a:pt x="11830" y="17312"/>
                  <a:pt x="11882" y="17521"/>
                </a:cubicBezTo>
                <a:cubicBezTo>
                  <a:pt x="11935" y="17717"/>
                  <a:pt x="11987" y="17258"/>
                  <a:pt x="12040" y="17692"/>
                </a:cubicBezTo>
                <a:cubicBezTo>
                  <a:pt x="12066" y="17203"/>
                  <a:pt x="12092" y="17130"/>
                  <a:pt x="12118" y="17333"/>
                </a:cubicBezTo>
                <a:cubicBezTo>
                  <a:pt x="12144" y="17243"/>
                  <a:pt x="12170" y="17562"/>
                  <a:pt x="12197" y="17616"/>
                </a:cubicBezTo>
                <a:cubicBezTo>
                  <a:pt x="12223" y="18004"/>
                  <a:pt x="12249" y="17515"/>
                  <a:pt x="12275" y="17569"/>
                </a:cubicBezTo>
                <a:cubicBezTo>
                  <a:pt x="12302" y="17596"/>
                  <a:pt x="12328" y="17544"/>
                  <a:pt x="12354" y="18044"/>
                </a:cubicBezTo>
                <a:cubicBezTo>
                  <a:pt x="12381" y="18311"/>
                  <a:pt x="12407" y="18254"/>
                  <a:pt x="12434" y="18076"/>
                </a:cubicBezTo>
                <a:cubicBezTo>
                  <a:pt x="12460" y="17898"/>
                  <a:pt x="12487" y="17685"/>
                  <a:pt x="12514" y="17905"/>
                </a:cubicBezTo>
                <a:cubicBezTo>
                  <a:pt x="12585" y="18350"/>
                  <a:pt x="12615" y="18596"/>
                  <a:pt x="12636" y="18321"/>
                </a:cubicBezTo>
                <a:cubicBezTo>
                  <a:pt x="12650" y="19363"/>
                  <a:pt x="12661" y="19381"/>
                  <a:pt x="12681" y="18906"/>
                </a:cubicBezTo>
                <a:cubicBezTo>
                  <a:pt x="12700" y="18873"/>
                  <a:pt x="12726" y="18637"/>
                  <a:pt x="12768" y="18704"/>
                </a:cubicBezTo>
                <a:cubicBezTo>
                  <a:pt x="12779" y="18231"/>
                  <a:pt x="12805" y="18389"/>
                  <a:pt x="12836" y="18124"/>
                </a:cubicBezTo>
                <a:cubicBezTo>
                  <a:pt x="12866" y="18014"/>
                  <a:pt x="12901" y="17779"/>
                  <a:pt x="12928" y="18617"/>
                </a:cubicBezTo>
                <a:cubicBezTo>
                  <a:pt x="12986" y="18437"/>
                  <a:pt x="13049" y="18211"/>
                  <a:pt x="13110" y="18510"/>
                </a:cubicBezTo>
                <a:cubicBezTo>
                  <a:pt x="13172" y="18754"/>
                  <a:pt x="13233" y="18692"/>
                  <a:pt x="13290" y="18516"/>
                </a:cubicBezTo>
                <a:cubicBezTo>
                  <a:pt x="13290" y="18350"/>
                  <a:pt x="13369" y="18455"/>
                  <a:pt x="13369" y="18564"/>
                </a:cubicBezTo>
                <a:cubicBezTo>
                  <a:pt x="13381" y="19736"/>
                  <a:pt x="13393" y="18789"/>
                  <a:pt x="13405" y="19016"/>
                </a:cubicBezTo>
                <a:cubicBezTo>
                  <a:pt x="13417" y="18763"/>
                  <a:pt x="13430" y="18634"/>
                  <a:pt x="13441" y="18449"/>
                </a:cubicBezTo>
                <a:cubicBezTo>
                  <a:pt x="13492" y="18335"/>
                  <a:pt x="13548" y="18023"/>
                  <a:pt x="13572" y="18217"/>
                </a:cubicBezTo>
                <a:cubicBezTo>
                  <a:pt x="13572" y="17482"/>
                  <a:pt x="13749" y="17770"/>
                  <a:pt x="13749" y="17750"/>
                </a:cubicBezTo>
                <a:cubicBezTo>
                  <a:pt x="13749" y="17708"/>
                  <a:pt x="13812" y="18272"/>
                  <a:pt x="13812" y="18417"/>
                </a:cubicBezTo>
                <a:cubicBezTo>
                  <a:pt x="13824" y="19021"/>
                  <a:pt x="13849" y="18772"/>
                  <a:pt x="13875" y="18883"/>
                </a:cubicBezTo>
                <a:cubicBezTo>
                  <a:pt x="13893" y="19017"/>
                  <a:pt x="13912" y="18969"/>
                  <a:pt x="13929" y="19256"/>
                </a:cubicBezTo>
                <a:cubicBezTo>
                  <a:pt x="13968" y="19656"/>
                  <a:pt x="14007" y="20036"/>
                  <a:pt x="14046" y="19144"/>
                </a:cubicBezTo>
                <a:cubicBezTo>
                  <a:pt x="14085" y="19197"/>
                  <a:pt x="14124" y="19447"/>
                  <a:pt x="14162" y="18922"/>
                </a:cubicBezTo>
                <a:cubicBezTo>
                  <a:pt x="14201" y="19363"/>
                  <a:pt x="14240" y="19553"/>
                  <a:pt x="14278" y="19314"/>
                </a:cubicBezTo>
                <a:cubicBezTo>
                  <a:pt x="14316" y="19005"/>
                  <a:pt x="14354" y="18507"/>
                  <a:pt x="14392" y="18604"/>
                </a:cubicBezTo>
                <a:cubicBezTo>
                  <a:pt x="14441" y="18708"/>
                  <a:pt x="14489" y="17940"/>
                  <a:pt x="14537" y="18404"/>
                </a:cubicBezTo>
                <a:cubicBezTo>
                  <a:pt x="14561" y="18443"/>
                  <a:pt x="14584" y="17454"/>
                  <a:pt x="14608" y="18024"/>
                </a:cubicBezTo>
                <a:cubicBezTo>
                  <a:pt x="14631" y="17874"/>
                  <a:pt x="14655" y="17565"/>
                  <a:pt x="14678" y="18207"/>
                </a:cubicBezTo>
                <a:cubicBezTo>
                  <a:pt x="14701" y="17944"/>
                  <a:pt x="14725" y="18489"/>
                  <a:pt x="14748" y="18425"/>
                </a:cubicBezTo>
                <a:cubicBezTo>
                  <a:pt x="14771" y="18790"/>
                  <a:pt x="14795" y="18413"/>
                  <a:pt x="14818" y="18086"/>
                </a:cubicBezTo>
                <a:cubicBezTo>
                  <a:pt x="14864" y="17797"/>
                  <a:pt x="14910" y="17701"/>
                  <a:pt x="14956" y="17803"/>
                </a:cubicBezTo>
                <a:cubicBezTo>
                  <a:pt x="14956" y="17993"/>
                  <a:pt x="14979" y="18091"/>
                  <a:pt x="15002" y="18204"/>
                </a:cubicBezTo>
                <a:cubicBezTo>
                  <a:pt x="15026" y="18249"/>
                  <a:pt x="15048" y="18136"/>
                  <a:pt x="15048" y="17663"/>
                </a:cubicBezTo>
                <a:cubicBezTo>
                  <a:pt x="15104" y="17636"/>
                  <a:pt x="15165" y="17394"/>
                  <a:pt x="15229" y="17358"/>
                </a:cubicBezTo>
                <a:cubicBezTo>
                  <a:pt x="15292" y="17100"/>
                  <a:pt x="15359" y="17519"/>
                  <a:pt x="15428" y="17106"/>
                </a:cubicBezTo>
                <a:cubicBezTo>
                  <a:pt x="15496" y="16938"/>
                  <a:pt x="15567" y="16711"/>
                  <a:pt x="15637" y="16681"/>
                </a:cubicBezTo>
                <a:cubicBezTo>
                  <a:pt x="15708" y="16879"/>
                  <a:pt x="15779" y="16811"/>
                  <a:pt x="15848" y="16637"/>
                </a:cubicBezTo>
                <a:cubicBezTo>
                  <a:pt x="15918" y="16721"/>
                  <a:pt x="15986" y="16396"/>
                  <a:pt x="16052" y="16199"/>
                </a:cubicBezTo>
                <a:cubicBezTo>
                  <a:pt x="16117" y="16002"/>
                  <a:pt x="16180" y="15932"/>
                  <a:pt x="16238" y="16521"/>
                </a:cubicBezTo>
                <a:cubicBezTo>
                  <a:pt x="16238" y="16121"/>
                  <a:pt x="16334" y="16658"/>
                  <a:pt x="16334" y="16561"/>
                </a:cubicBezTo>
                <a:cubicBezTo>
                  <a:pt x="16334" y="16949"/>
                  <a:pt x="16358" y="16673"/>
                  <a:pt x="16358" y="16830"/>
                </a:cubicBezTo>
                <a:cubicBezTo>
                  <a:pt x="16368" y="16725"/>
                  <a:pt x="16373" y="17990"/>
                  <a:pt x="16375" y="17129"/>
                </a:cubicBezTo>
                <a:cubicBezTo>
                  <a:pt x="16457" y="17620"/>
                  <a:pt x="16539" y="17298"/>
                  <a:pt x="16622" y="17193"/>
                </a:cubicBezTo>
                <a:cubicBezTo>
                  <a:pt x="16705" y="16852"/>
                  <a:pt x="16788" y="17913"/>
                  <a:pt x="16874" y="17185"/>
                </a:cubicBezTo>
                <a:cubicBezTo>
                  <a:pt x="16976" y="16069"/>
                  <a:pt x="17080" y="17119"/>
                  <a:pt x="17188" y="17181"/>
                </a:cubicBezTo>
                <a:cubicBezTo>
                  <a:pt x="17296" y="16494"/>
                  <a:pt x="17408" y="15897"/>
                  <a:pt x="17527" y="17289"/>
                </a:cubicBezTo>
                <a:cubicBezTo>
                  <a:pt x="17571" y="18155"/>
                  <a:pt x="17621" y="17335"/>
                  <a:pt x="17673" y="17430"/>
                </a:cubicBezTo>
                <a:cubicBezTo>
                  <a:pt x="17725" y="17845"/>
                  <a:pt x="17780" y="18172"/>
                  <a:pt x="17833" y="17651"/>
                </a:cubicBezTo>
                <a:cubicBezTo>
                  <a:pt x="17897" y="18417"/>
                  <a:pt x="17993" y="18234"/>
                  <a:pt x="18023" y="17894"/>
                </a:cubicBezTo>
                <a:cubicBezTo>
                  <a:pt x="18092" y="17991"/>
                  <a:pt x="18169" y="17181"/>
                  <a:pt x="18258" y="17649"/>
                </a:cubicBezTo>
                <a:cubicBezTo>
                  <a:pt x="18310" y="16599"/>
                  <a:pt x="18364" y="16141"/>
                  <a:pt x="18424" y="17429"/>
                </a:cubicBezTo>
                <a:cubicBezTo>
                  <a:pt x="18484" y="16979"/>
                  <a:pt x="18548" y="17057"/>
                  <a:pt x="18618" y="17312"/>
                </a:cubicBezTo>
                <a:cubicBezTo>
                  <a:pt x="18618" y="16978"/>
                  <a:pt x="18741" y="16949"/>
                  <a:pt x="18777" y="17170"/>
                </a:cubicBezTo>
                <a:cubicBezTo>
                  <a:pt x="18782" y="17088"/>
                  <a:pt x="18787" y="17142"/>
                  <a:pt x="18787" y="17299"/>
                </a:cubicBezTo>
                <a:cubicBezTo>
                  <a:pt x="18787" y="17248"/>
                  <a:pt x="18783" y="17206"/>
                  <a:pt x="18777" y="17170"/>
                </a:cubicBezTo>
                <a:cubicBezTo>
                  <a:pt x="18772" y="17245"/>
                  <a:pt x="18768" y="17437"/>
                  <a:pt x="18768" y="17783"/>
                </a:cubicBezTo>
                <a:cubicBezTo>
                  <a:pt x="18762" y="18637"/>
                  <a:pt x="18768" y="17790"/>
                  <a:pt x="18778" y="18255"/>
                </a:cubicBezTo>
                <a:cubicBezTo>
                  <a:pt x="18789" y="18364"/>
                  <a:pt x="18803" y="19273"/>
                  <a:pt x="18813" y="18197"/>
                </a:cubicBezTo>
                <a:cubicBezTo>
                  <a:pt x="18849" y="19128"/>
                  <a:pt x="18899" y="18936"/>
                  <a:pt x="18958" y="18284"/>
                </a:cubicBezTo>
                <a:cubicBezTo>
                  <a:pt x="19017" y="18498"/>
                  <a:pt x="19085" y="18076"/>
                  <a:pt x="19158" y="18168"/>
                </a:cubicBezTo>
                <a:cubicBezTo>
                  <a:pt x="19231" y="17764"/>
                  <a:pt x="19308" y="18044"/>
                  <a:pt x="19385" y="17851"/>
                </a:cubicBezTo>
                <a:cubicBezTo>
                  <a:pt x="19463" y="17199"/>
                  <a:pt x="19540" y="17520"/>
                  <a:pt x="19613" y="17674"/>
                </a:cubicBezTo>
                <a:cubicBezTo>
                  <a:pt x="19685" y="17883"/>
                  <a:pt x="19754" y="17950"/>
                  <a:pt x="19813" y="17199"/>
                </a:cubicBezTo>
                <a:cubicBezTo>
                  <a:pt x="19872" y="16720"/>
                  <a:pt x="19923" y="17176"/>
                  <a:pt x="19959" y="17030"/>
                </a:cubicBezTo>
                <a:cubicBezTo>
                  <a:pt x="19959" y="17156"/>
                  <a:pt x="20115" y="16781"/>
                  <a:pt x="20115" y="16594"/>
                </a:cubicBezTo>
                <a:cubicBezTo>
                  <a:pt x="20115" y="16650"/>
                  <a:pt x="20136" y="17103"/>
                  <a:pt x="20156" y="16845"/>
                </a:cubicBezTo>
                <a:cubicBezTo>
                  <a:pt x="20176" y="16436"/>
                  <a:pt x="20196" y="16629"/>
                  <a:pt x="20196" y="17175"/>
                </a:cubicBezTo>
                <a:cubicBezTo>
                  <a:pt x="20212" y="16834"/>
                  <a:pt x="20233" y="16860"/>
                  <a:pt x="20259" y="17584"/>
                </a:cubicBezTo>
                <a:cubicBezTo>
                  <a:pt x="20285" y="17435"/>
                  <a:pt x="20317" y="18053"/>
                  <a:pt x="20354" y="17622"/>
                </a:cubicBezTo>
                <a:cubicBezTo>
                  <a:pt x="20390" y="17555"/>
                  <a:pt x="20432" y="17874"/>
                  <a:pt x="20477" y="17748"/>
                </a:cubicBezTo>
                <a:cubicBezTo>
                  <a:pt x="20522" y="17515"/>
                  <a:pt x="20572" y="17689"/>
                  <a:pt x="20625" y="17757"/>
                </a:cubicBezTo>
                <a:cubicBezTo>
                  <a:pt x="20678" y="17838"/>
                  <a:pt x="20735" y="17886"/>
                  <a:pt x="20794" y="17885"/>
                </a:cubicBezTo>
                <a:cubicBezTo>
                  <a:pt x="20854" y="17884"/>
                  <a:pt x="20917" y="17832"/>
                  <a:pt x="20981" y="17712"/>
                </a:cubicBezTo>
                <a:cubicBezTo>
                  <a:pt x="21035" y="17815"/>
                  <a:pt x="21086" y="16993"/>
                  <a:pt x="21134" y="17679"/>
                </a:cubicBezTo>
                <a:cubicBezTo>
                  <a:pt x="21193" y="17530"/>
                  <a:pt x="21263" y="16942"/>
                  <a:pt x="21338" y="17675"/>
                </a:cubicBezTo>
                <a:cubicBezTo>
                  <a:pt x="21414" y="17521"/>
                  <a:pt x="21496" y="18330"/>
                  <a:pt x="21581" y="17704"/>
                </a:cubicBezTo>
                <a:cubicBezTo>
                  <a:pt x="21587" y="17642"/>
                  <a:pt x="21593" y="17594"/>
                  <a:pt x="21600" y="17554"/>
                </a:cubicBezTo>
                <a:lnTo>
                  <a:pt x="21600" y="0"/>
                </a:lnTo>
                <a:lnTo>
                  <a:pt x="0" y="0"/>
                </a:lnTo>
                <a:lnTo>
                  <a:pt x="0" y="16018"/>
                </a:lnTo>
                <a:cubicBezTo>
                  <a:pt x="8" y="16107"/>
                  <a:pt x="17" y="16198"/>
                  <a:pt x="25" y="16289"/>
                </a:cubicBezTo>
                <a:cubicBezTo>
                  <a:pt x="21" y="16355"/>
                  <a:pt x="17" y="16414"/>
                  <a:pt x="13" y="16476"/>
                </a:cubicBezTo>
                <a:cubicBezTo>
                  <a:pt x="37" y="16539"/>
                  <a:pt x="62" y="16673"/>
                  <a:pt x="86" y="16495"/>
                </a:cubicBezTo>
                <a:cubicBezTo>
                  <a:pt x="126" y="16381"/>
                  <a:pt x="165" y="16786"/>
                  <a:pt x="204" y="17145"/>
                </a:cubicBezTo>
                <a:cubicBezTo>
                  <a:pt x="243" y="17400"/>
                  <a:pt x="281" y="17220"/>
                  <a:pt x="318" y="16944"/>
                </a:cubicBezTo>
                <a:cubicBezTo>
                  <a:pt x="387" y="16949"/>
                  <a:pt x="453" y="16993"/>
                  <a:pt x="517" y="16735"/>
                </a:cubicBezTo>
                <a:cubicBezTo>
                  <a:pt x="581" y="16903"/>
                  <a:pt x="643" y="16249"/>
                  <a:pt x="704" y="16599"/>
                </a:cubicBezTo>
                <a:cubicBezTo>
                  <a:pt x="765" y="16466"/>
                  <a:pt x="826" y="16193"/>
                  <a:pt x="886" y="16265"/>
                </a:cubicBezTo>
                <a:cubicBezTo>
                  <a:pt x="946" y="16236"/>
                  <a:pt x="1006" y="16227"/>
                  <a:pt x="1067" y="16586"/>
                </a:cubicBezTo>
                <a:cubicBezTo>
                  <a:pt x="1107" y="16284"/>
                  <a:pt x="1148" y="16361"/>
                  <a:pt x="1190" y="16553"/>
                </a:cubicBezTo>
                <a:cubicBezTo>
                  <a:pt x="1232" y="16121"/>
                  <a:pt x="1275" y="16681"/>
                  <a:pt x="1320" y="16601"/>
                </a:cubicBezTo>
                <a:cubicBezTo>
                  <a:pt x="1364" y="17186"/>
                  <a:pt x="1410" y="17150"/>
                  <a:pt x="1458" y="17036"/>
                </a:cubicBezTo>
                <a:cubicBezTo>
                  <a:pt x="1505" y="16701"/>
                  <a:pt x="1555" y="16167"/>
                  <a:pt x="1608" y="16524"/>
                </a:cubicBezTo>
                <a:cubicBezTo>
                  <a:pt x="1608" y="16310"/>
                  <a:pt x="1673" y="16723"/>
                  <a:pt x="1739" y="16461"/>
                </a:cubicBezTo>
                <a:cubicBezTo>
                  <a:pt x="1804" y="17204"/>
                  <a:pt x="1870" y="15720"/>
                  <a:pt x="1870" y="16396"/>
                </a:cubicBezTo>
                <a:cubicBezTo>
                  <a:pt x="1870" y="16710"/>
                  <a:pt x="1844" y="16557"/>
                  <a:pt x="1818" y="16750"/>
                </a:cubicBezTo>
                <a:cubicBezTo>
                  <a:pt x="1792" y="16385"/>
                  <a:pt x="1766" y="17031"/>
                  <a:pt x="1766" y="17106"/>
                </a:cubicBezTo>
                <a:cubicBezTo>
                  <a:pt x="1739" y="16989"/>
                  <a:pt x="1723" y="17447"/>
                  <a:pt x="1719" y="17602"/>
                </a:cubicBezTo>
                <a:cubicBezTo>
                  <a:pt x="1715" y="17716"/>
                  <a:pt x="1722" y="17519"/>
                  <a:pt x="1741" y="17966"/>
                </a:cubicBezTo>
                <a:cubicBezTo>
                  <a:pt x="1764" y="17866"/>
                  <a:pt x="1803" y="18014"/>
                  <a:pt x="1853" y="18022"/>
                </a:cubicBezTo>
                <a:cubicBezTo>
                  <a:pt x="1904" y="17881"/>
                  <a:pt x="1965" y="18725"/>
                  <a:pt x="2032" y="18465"/>
                </a:cubicBezTo>
                <a:cubicBezTo>
                  <a:pt x="2099" y="18005"/>
                  <a:pt x="2171" y="18343"/>
                  <a:pt x="2243" y="18382"/>
                </a:cubicBezTo>
                <a:cubicBezTo>
                  <a:pt x="2315" y="18267"/>
                  <a:pt x="2387" y="18868"/>
                  <a:pt x="2452" y="18703"/>
                </a:cubicBezTo>
                <a:cubicBezTo>
                  <a:pt x="2496" y="18820"/>
                  <a:pt x="2539" y="18588"/>
                  <a:pt x="2579" y="18547"/>
                </a:cubicBezTo>
                <a:cubicBezTo>
                  <a:pt x="2620" y="18578"/>
                  <a:pt x="2658" y="18609"/>
                  <a:pt x="2694" y="18821"/>
                </a:cubicBezTo>
                <a:cubicBezTo>
                  <a:pt x="2694" y="19600"/>
                  <a:pt x="2735" y="19348"/>
                  <a:pt x="2777" y="19088"/>
                </a:cubicBezTo>
                <a:cubicBezTo>
                  <a:pt x="2794" y="19068"/>
                  <a:pt x="2812" y="19030"/>
                  <a:pt x="2826" y="18995"/>
                </a:cubicBezTo>
                <a:cubicBezTo>
                  <a:pt x="2842" y="18829"/>
                  <a:pt x="2859" y="18720"/>
                  <a:pt x="2859" y="18920"/>
                </a:cubicBezTo>
                <a:cubicBezTo>
                  <a:pt x="2859" y="18909"/>
                  <a:pt x="2845" y="18949"/>
                  <a:pt x="2826" y="18995"/>
                </a:cubicBezTo>
                <a:cubicBezTo>
                  <a:pt x="2813" y="19132"/>
                  <a:pt x="2802" y="19309"/>
                  <a:pt x="2802" y="19377"/>
                </a:cubicBezTo>
                <a:cubicBezTo>
                  <a:pt x="2790" y="18874"/>
                  <a:pt x="2789" y="19663"/>
                  <a:pt x="2820" y="19669"/>
                </a:cubicBezTo>
                <a:cubicBezTo>
                  <a:pt x="2843" y="19727"/>
                  <a:pt x="2876" y="19351"/>
                  <a:pt x="2917" y="19901"/>
                </a:cubicBezTo>
                <a:cubicBezTo>
                  <a:pt x="2957" y="19927"/>
                  <a:pt x="3004" y="20240"/>
                  <a:pt x="3056" y="20090"/>
                </a:cubicBezTo>
                <a:cubicBezTo>
                  <a:pt x="3107" y="20824"/>
                  <a:pt x="3162" y="19441"/>
                  <a:pt x="3219" y="20140"/>
                </a:cubicBezTo>
                <a:cubicBezTo>
                  <a:pt x="3275" y="20517"/>
                  <a:pt x="3332" y="18664"/>
                  <a:pt x="3386" y="20336"/>
                </a:cubicBezTo>
                <a:cubicBezTo>
                  <a:pt x="3441" y="20185"/>
                  <a:pt x="3494" y="20770"/>
                  <a:pt x="3541" y="20325"/>
                </a:cubicBezTo>
                <a:cubicBezTo>
                  <a:pt x="3553" y="20590"/>
                  <a:pt x="3564" y="20823"/>
                  <a:pt x="3575" y="21000"/>
                </a:cubicBezTo>
                <a:cubicBezTo>
                  <a:pt x="3603" y="20850"/>
                  <a:pt x="3631" y="20645"/>
                  <a:pt x="3655" y="20713"/>
                </a:cubicBezTo>
                <a:cubicBezTo>
                  <a:pt x="3658" y="20613"/>
                  <a:pt x="3661" y="20506"/>
                  <a:pt x="3663" y="20379"/>
                </a:cubicBezTo>
                <a:cubicBezTo>
                  <a:pt x="3688" y="21208"/>
                  <a:pt x="3737" y="19965"/>
                  <a:pt x="3796" y="20253"/>
                </a:cubicBezTo>
                <a:cubicBezTo>
                  <a:pt x="3826" y="20937"/>
                  <a:pt x="3858" y="19702"/>
                  <a:pt x="3891" y="20382"/>
                </a:cubicBezTo>
                <a:cubicBezTo>
                  <a:pt x="3924" y="20172"/>
                  <a:pt x="3958" y="19792"/>
                  <a:pt x="3990" y="20018"/>
                </a:cubicBezTo>
                <a:cubicBezTo>
                  <a:pt x="4078" y="20393"/>
                  <a:pt x="4162" y="19022"/>
                  <a:pt x="4244" y="19819"/>
                </a:cubicBezTo>
                <a:cubicBezTo>
                  <a:pt x="4325" y="19630"/>
                  <a:pt x="4403" y="20254"/>
                  <a:pt x="4477" y="19461"/>
                </a:cubicBezTo>
                <a:cubicBezTo>
                  <a:pt x="4552" y="19811"/>
                  <a:pt x="4623" y="18591"/>
                  <a:pt x="4690" y="19134"/>
                </a:cubicBezTo>
                <a:cubicBezTo>
                  <a:pt x="4757" y="18570"/>
                  <a:pt x="4820" y="18407"/>
                  <a:pt x="4880" y="19212"/>
                </a:cubicBezTo>
                <a:cubicBezTo>
                  <a:pt x="4938" y="19142"/>
                  <a:pt x="4993" y="19502"/>
                  <a:pt x="5043" y="19089"/>
                </a:cubicBezTo>
                <a:cubicBezTo>
                  <a:pt x="5094" y="19241"/>
                  <a:pt x="5139" y="18982"/>
                  <a:pt x="5180" y="19445"/>
                </a:cubicBezTo>
                <a:cubicBezTo>
                  <a:pt x="5202" y="18562"/>
                  <a:pt x="5221" y="19707"/>
                  <a:pt x="5237" y="19099"/>
                </a:cubicBezTo>
                <a:cubicBezTo>
                  <a:pt x="5254" y="19136"/>
                  <a:pt x="5268" y="19687"/>
                  <a:pt x="5280" y="19793"/>
                </a:cubicBezTo>
                <a:cubicBezTo>
                  <a:pt x="5292" y="20310"/>
                  <a:pt x="5302" y="20670"/>
                  <a:pt x="5309" y="20747"/>
                </a:cubicBezTo>
                <a:cubicBezTo>
                  <a:pt x="5316" y="20520"/>
                  <a:pt x="5321" y="19741"/>
                  <a:pt x="5323" y="20272"/>
                </a:cubicBezTo>
                <a:cubicBezTo>
                  <a:pt x="5375" y="20036"/>
                  <a:pt x="5429" y="20252"/>
                  <a:pt x="5484" y="20242"/>
                </a:cubicBezTo>
                <a:cubicBezTo>
                  <a:pt x="5506" y="20814"/>
                  <a:pt x="5528" y="20903"/>
                  <a:pt x="5551" y="21012"/>
                </a:cubicBezTo>
                <a:cubicBezTo>
                  <a:pt x="5555" y="20981"/>
                  <a:pt x="5560" y="20952"/>
                  <a:pt x="5565" y="20925"/>
                </a:cubicBezTo>
                <a:cubicBezTo>
                  <a:pt x="5581" y="20972"/>
                  <a:pt x="5597" y="20974"/>
                  <a:pt x="5614" y="20966"/>
                </a:cubicBezTo>
                <a:cubicBezTo>
                  <a:pt x="5625" y="20798"/>
                  <a:pt x="5636" y="20537"/>
                  <a:pt x="5647" y="20171"/>
                </a:cubicBezTo>
                <a:cubicBezTo>
                  <a:pt x="5677" y="20371"/>
                  <a:pt x="5706" y="20398"/>
                  <a:pt x="5735" y="20278"/>
                </a:cubicBezTo>
                <a:cubicBezTo>
                  <a:pt x="5764" y="20085"/>
                  <a:pt x="5792" y="20585"/>
                  <a:pt x="5821" y="20096"/>
                </a:cubicBezTo>
                <a:cubicBezTo>
                  <a:pt x="5821" y="19889"/>
                  <a:pt x="5984" y="19753"/>
                  <a:pt x="5984" y="20041"/>
                </a:cubicBezTo>
                <a:lnTo>
                  <a:pt x="5984" y="20599"/>
                </a:lnTo>
                <a:cubicBezTo>
                  <a:pt x="5986" y="20791"/>
                  <a:pt x="5990" y="21153"/>
                  <a:pt x="5995" y="21267"/>
                </a:cubicBezTo>
                <a:cubicBezTo>
                  <a:pt x="6002" y="21081"/>
                  <a:pt x="6011" y="21600"/>
                  <a:pt x="6021" y="20908"/>
                </a:cubicBezTo>
                <a:cubicBezTo>
                  <a:pt x="6028" y="20275"/>
                  <a:pt x="6035" y="20362"/>
                  <a:pt x="6042" y="20609"/>
                </a:cubicBezTo>
                <a:cubicBezTo>
                  <a:pt x="6049" y="20861"/>
                  <a:pt x="6056" y="21344"/>
                  <a:pt x="6062" y="21264"/>
                </a:cubicBezTo>
                <a:cubicBezTo>
                  <a:pt x="6062" y="21279"/>
                  <a:pt x="6063" y="21023"/>
                  <a:pt x="6063" y="20881"/>
                </a:cubicBezTo>
                <a:cubicBezTo>
                  <a:pt x="6064" y="20778"/>
                  <a:pt x="6064" y="20751"/>
                  <a:pt x="6065" y="21264"/>
                </a:cubicBezTo>
                <a:cubicBezTo>
                  <a:pt x="6111" y="21165"/>
                  <a:pt x="6158" y="21092"/>
                  <a:pt x="6204" y="21046"/>
                </a:cubicBezTo>
                <a:cubicBezTo>
                  <a:pt x="6251" y="21001"/>
                  <a:pt x="6298" y="21003"/>
                  <a:pt x="6345" y="21121"/>
                </a:cubicBezTo>
              </a:path>
            </a:pathLst>
          </a:custGeom>
          <a:solidFill>
            <a:schemeClr val="bg1"/>
          </a:solidFill>
          <a:ln w="3175" cmpd="sng">
            <a:solidFill>
              <a:schemeClr val="bg1">
                <a:lumMod val="85000"/>
              </a:schemeClr>
            </a:solidFill>
          </a:ln>
          <a:effectLst/>
        </p:spPr>
        <p:txBody>
          <a:bodyPr lIns="182880" tIns="182880" rIns="182880" bIns="91440"/>
          <a:lstStyle/>
          <a:p>
            <a:pPr defTabSz="1018705"/>
            <a:endParaRPr lang="en-US">
              <a:latin typeface="Times New Roman" charset="0"/>
              <a:ea typeface="Times New Roman" charset="0"/>
              <a:cs typeface="Times New Roman" charset="0"/>
            </a:endParaRPr>
          </a:p>
        </p:txBody>
      </p:sp>
      <p:sp>
        <p:nvSpPr>
          <p:cNvPr id="7" name="AutoShape 4"/>
          <p:cNvSpPr>
            <a:spLocks/>
          </p:cNvSpPr>
          <p:nvPr/>
        </p:nvSpPr>
        <p:spPr bwMode="auto">
          <a:xfrm>
            <a:off x="5998944" y="3824250"/>
            <a:ext cx="1588" cy="4763"/>
          </a:xfrm>
          <a:custGeom>
            <a:avLst/>
            <a:gdLst/>
            <a:ahLst/>
            <a:cxnLst/>
            <a:rect l="0" t="0" r="r" b="b"/>
            <a:pathLst>
              <a:path w="21600" h="14368">
                <a:moveTo>
                  <a:pt x="0" y="14368"/>
                </a:moveTo>
                <a:cubicBezTo>
                  <a:pt x="12422" y="10763"/>
                  <a:pt x="21600" y="7600"/>
                  <a:pt x="21600" y="8486"/>
                </a:cubicBezTo>
                <a:cubicBezTo>
                  <a:pt x="21600" y="-7232"/>
                  <a:pt x="10383" y="1338"/>
                  <a:pt x="0" y="14368"/>
                </a:cubicBezTo>
                <a:close/>
                <a:moveTo>
                  <a:pt x="0" y="14368"/>
                </a:moveTo>
              </a:path>
            </a:pathLst>
          </a:custGeom>
          <a:solidFill>
            <a:schemeClr val="bg1"/>
          </a:solidFill>
          <a:ln w="3175" cmpd="sng">
            <a:solidFill>
              <a:schemeClr val="bg1">
                <a:lumMod val="85000"/>
              </a:schemeClr>
            </a:solidFill>
          </a:ln>
          <a:effectLst>
            <a:outerShdw blurRad="50800" dist="38100" dir="2700000">
              <a:srgbClr val="000000">
                <a:alpha val="43000"/>
              </a:srgbClr>
            </a:outerShdw>
          </a:effectLst>
        </p:spPr>
        <p:txBody>
          <a:bodyPr lIns="0" tIns="0" rIns="0" bIns="0"/>
          <a:lstStyle/>
          <a:p>
            <a:endParaRPr lang="en-US"/>
          </a:p>
        </p:txBody>
      </p:sp>
      <p:sp>
        <p:nvSpPr>
          <p:cNvPr id="13" name="AutoShape 9"/>
          <p:cNvSpPr>
            <a:spLocks/>
          </p:cNvSpPr>
          <p:nvPr/>
        </p:nvSpPr>
        <p:spPr bwMode="auto">
          <a:xfrm>
            <a:off x="3028724" y="1462244"/>
            <a:ext cx="1897062" cy="688975"/>
          </a:xfrm>
          <a:custGeom>
            <a:avLst/>
            <a:gdLst/>
            <a:ahLst/>
            <a:cxnLst/>
            <a:rect l="0" t="0" r="r" b="b"/>
            <a:pathLst>
              <a:path w="21540" h="21536">
                <a:moveTo>
                  <a:pt x="54" y="20152"/>
                </a:moveTo>
                <a:cubicBezTo>
                  <a:pt x="-12" y="20041"/>
                  <a:pt x="66" y="20313"/>
                  <a:pt x="40" y="20371"/>
                </a:cubicBezTo>
                <a:cubicBezTo>
                  <a:pt x="24" y="20447"/>
                  <a:pt x="34" y="20447"/>
                  <a:pt x="58" y="20609"/>
                </a:cubicBezTo>
                <a:cubicBezTo>
                  <a:pt x="72" y="20609"/>
                  <a:pt x="91" y="20604"/>
                  <a:pt x="98" y="20554"/>
                </a:cubicBezTo>
                <a:cubicBezTo>
                  <a:pt x="126" y="20537"/>
                  <a:pt x="186" y="20533"/>
                  <a:pt x="174" y="20453"/>
                </a:cubicBezTo>
                <a:cubicBezTo>
                  <a:pt x="198" y="20480"/>
                  <a:pt x="180" y="20370"/>
                  <a:pt x="156" y="20413"/>
                </a:cubicBezTo>
                <a:cubicBezTo>
                  <a:pt x="143" y="20321"/>
                  <a:pt x="204" y="20429"/>
                  <a:pt x="200" y="20243"/>
                </a:cubicBezTo>
                <a:cubicBezTo>
                  <a:pt x="207" y="20141"/>
                  <a:pt x="236" y="20228"/>
                  <a:pt x="264" y="20158"/>
                </a:cubicBezTo>
                <a:cubicBezTo>
                  <a:pt x="254" y="20153"/>
                  <a:pt x="338" y="20077"/>
                  <a:pt x="356" y="19956"/>
                </a:cubicBezTo>
                <a:cubicBezTo>
                  <a:pt x="373" y="19809"/>
                  <a:pt x="338" y="19873"/>
                  <a:pt x="388" y="19771"/>
                </a:cubicBezTo>
                <a:cubicBezTo>
                  <a:pt x="422" y="19719"/>
                  <a:pt x="425" y="19795"/>
                  <a:pt x="431" y="19784"/>
                </a:cubicBezTo>
                <a:cubicBezTo>
                  <a:pt x="452" y="19789"/>
                  <a:pt x="450" y="19766"/>
                  <a:pt x="445" y="19747"/>
                </a:cubicBezTo>
                <a:cubicBezTo>
                  <a:pt x="434" y="19715"/>
                  <a:pt x="441" y="19727"/>
                  <a:pt x="445" y="19747"/>
                </a:cubicBezTo>
                <a:cubicBezTo>
                  <a:pt x="446" y="19749"/>
                  <a:pt x="447" y="19750"/>
                  <a:pt x="448" y="19754"/>
                </a:cubicBezTo>
                <a:cubicBezTo>
                  <a:pt x="490" y="19759"/>
                  <a:pt x="448" y="19912"/>
                  <a:pt x="441" y="20043"/>
                </a:cubicBezTo>
                <a:cubicBezTo>
                  <a:pt x="444" y="20155"/>
                  <a:pt x="450" y="20237"/>
                  <a:pt x="448" y="20285"/>
                </a:cubicBezTo>
                <a:cubicBezTo>
                  <a:pt x="454" y="20282"/>
                  <a:pt x="458" y="20296"/>
                  <a:pt x="478" y="20237"/>
                </a:cubicBezTo>
                <a:cubicBezTo>
                  <a:pt x="492" y="20306"/>
                  <a:pt x="492" y="20335"/>
                  <a:pt x="524" y="20095"/>
                </a:cubicBezTo>
                <a:cubicBezTo>
                  <a:pt x="520" y="19887"/>
                  <a:pt x="518" y="20023"/>
                  <a:pt x="571" y="19951"/>
                </a:cubicBezTo>
                <a:cubicBezTo>
                  <a:pt x="582" y="20079"/>
                  <a:pt x="611" y="20028"/>
                  <a:pt x="609" y="20089"/>
                </a:cubicBezTo>
                <a:cubicBezTo>
                  <a:pt x="621" y="20124"/>
                  <a:pt x="654" y="20314"/>
                  <a:pt x="644" y="20280"/>
                </a:cubicBezTo>
                <a:cubicBezTo>
                  <a:pt x="688" y="20381"/>
                  <a:pt x="631" y="20256"/>
                  <a:pt x="703" y="20410"/>
                </a:cubicBezTo>
                <a:cubicBezTo>
                  <a:pt x="707" y="20416"/>
                  <a:pt x="709" y="20422"/>
                  <a:pt x="710" y="20427"/>
                </a:cubicBezTo>
                <a:cubicBezTo>
                  <a:pt x="713" y="20413"/>
                  <a:pt x="725" y="20387"/>
                  <a:pt x="754" y="20351"/>
                </a:cubicBezTo>
                <a:cubicBezTo>
                  <a:pt x="745" y="20127"/>
                  <a:pt x="748" y="20273"/>
                  <a:pt x="781" y="20230"/>
                </a:cubicBezTo>
                <a:cubicBezTo>
                  <a:pt x="834" y="20270"/>
                  <a:pt x="826" y="20169"/>
                  <a:pt x="853" y="20236"/>
                </a:cubicBezTo>
                <a:cubicBezTo>
                  <a:pt x="824" y="20448"/>
                  <a:pt x="876" y="20112"/>
                  <a:pt x="913" y="20122"/>
                </a:cubicBezTo>
                <a:cubicBezTo>
                  <a:pt x="953" y="19969"/>
                  <a:pt x="965" y="19933"/>
                  <a:pt x="968" y="19946"/>
                </a:cubicBezTo>
                <a:cubicBezTo>
                  <a:pt x="972" y="19960"/>
                  <a:pt x="967" y="20023"/>
                  <a:pt x="974" y="20069"/>
                </a:cubicBezTo>
                <a:cubicBezTo>
                  <a:pt x="1046" y="20092"/>
                  <a:pt x="991" y="19988"/>
                  <a:pt x="1050" y="20012"/>
                </a:cubicBezTo>
                <a:cubicBezTo>
                  <a:pt x="1112" y="19816"/>
                  <a:pt x="1085" y="19805"/>
                  <a:pt x="1102" y="19988"/>
                </a:cubicBezTo>
                <a:cubicBezTo>
                  <a:pt x="1106" y="20123"/>
                  <a:pt x="1099" y="20041"/>
                  <a:pt x="1166" y="19984"/>
                </a:cubicBezTo>
                <a:cubicBezTo>
                  <a:pt x="1201" y="19949"/>
                  <a:pt x="1212" y="19983"/>
                  <a:pt x="1220" y="19997"/>
                </a:cubicBezTo>
                <a:cubicBezTo>
                  <a:pt x="1219" y="19990"/>
                  <a:pt x="1219" y="19982"/>
                  <a:pt x="1219" y="19976"/>
                </a:cubicBezTo>
                <a:cubicBezTo>
                  <a:pt x="1200" y="19963"/>
                  <a:pt x="1208" y="19923"/>
                  <a:pt x="1209" y="19906"/>
                </a:cubicBezTo>
                <a:cubicBezTo>
                  <a:pt x="1208" y="19894"/>
                  <a:pt x="1215" y="19907"/>
                  <a:pt x="1219" y="19976"/>
                </a:cubicBezTo>
                <a:cubicBezTo>
                  <a:pt x="1222" y="19977"/>
                  <a:pt x="1225" y="19980"/>
                  <a:pt x="1231" y="19979"/>
                </a:cubicBezTo>
                <a:cubicBezTo>
                  <a:pt x="1226" y="20010"/>
                  <a:pt x="1223" y="20007"/>
                  <a:pt x="1220" y="19997"/>
                </a:cubicBezTo>
                <a:cubicBezTo>
                  <a:pt x="1220" y="20030"/>
                  <a:pt x="1220" y="20072"/>
                  <a:pt x="1220" y="20125"/>
                </a:cubicBezTo>
                <a:cubicBezTo>
                  <a:pt x="1222" y="20163"/>
                  <a:pt x="1225" y="20253"/>
                  <a:pt x="1223" y="20304"/>
                </a:cubicBezTo>
                <a:cubicBezTo>
                  <a:pt x="1276" y="20237"/>
                  <a:pt x="1211" y="20561"/>
                  <a:pt x="1209" y="20399"/>
                </a:cubicBezTo>
                <a:cubicBezTo>
                  <a:pt x="1235" y="20726"/>
                  <a:pt x="1259" y="20479"/>
                  <a:pt x="1261" y="20453"/>
                </a:cubicBezTo>
                <a:cubicBezTo>
                  <a:pt x="1262" y="20449"/>
                  <a:pt x="1262" y="20449"/>
                  <a:pt x="1261" y="20453"/>
                </a:cubicBezTo>
                <a:cubicBezTo>
                  <a:pt x="1261" y="20455"/>
                  <a:pt x="1261" y="20459"/>
                  <a:pt x="1261" y="20464"/>
                </a:cubicBezTo>
                <a:cubicBezTo>
                  <a:pt x="1312" y="20352"/>
                  <a:pt x="1329" y="20295"/>
                  <a:pt x="1316" y="20391"/>
                </a:cubicBezTo>
                <a:cubicBezTo>
                  <a:pt x="1339" y="20477"/>
                  <a:pt x="1421" y="20416"/>
                  <a:pt x="1414" y="20443"/>
                </a:cubicBezTo>
                <a:cubicBezTo>
                  <a:pt x="1366" y="20532"/>
                  <a:pt x="1516" y="20479"/>
                  <a:pt x="1491" y="20580"/>
                </a:cubicBezTo>
                <a:cubicBezTo>
                  <a:pt x="1517" y="20656"/>
                  <a:pt x="1628" y="20699"/>
                  <a:pt x="1551" y="20745"/>
                </a:cubicBezTo>
                <a:cubicBezTo>
                  <a:pt x="1605" y="20715"/>
                  <a:pt x="1642" y="20616"/>
                  <a:pt x="1574" y="20812"/>
                </a:cubicBezTo>
                <a:cubicBezTo>
                  <a:pt x="1629" y="20751"/>
                  <a:pt x="1534" y="20912"/>
                  <a:pt x="1671" y="20852"/>
                </a:cubicBezTo>
                <a:cubicBezTo>
                  <a:pt x="1647" y="20938"/>
                  <a:pt x="1725" y="20843"/>
                  <a:pt x="1754" y="20869"/>
                </a:cubicBezTo>
                <a:cubicBezTo>
                  <a:pt x="1835" y="21016"/>
                  <a:pt x="1792" y="20788"/>
                  <a:pt x="1773" y="20849"/>
                </a:cubicBezTo>
                <a:cubicBezTo>
                  <a:pt x="1764" y="20774"/>
                  <a:pt x="1855" y="20806"/>
                  <a:pt x="1855" y="20802"/>
                </a:cubicBezTo>
                <a:cubicBezTo>
                  <a:pt x="1888" y="20782"/>
                  <a:pt x="1895" y="20545"/>
                  <a:pt x="1908" y="20849"/>
                </a:cubicBezTo>
                <a:cubicBezTo>
                  <a:pt x="1915" y="20830"/>
                  <a:pt x="1921" y="20816"/>
                  <a:pt x="1925" y="20801"/>
                </a:cubicBezTo>
                <a:cubicBezTo>
                  <a:pt x="1906" y="20771"/>
                  <a:pt x="1909" y="20754"/>
                  <a:pt x="1921" y="20728"/>
                </a:cubicBezTo>
                <a:cubicBezTo>
                  <a:pt x="1925" y="20714"/>
                  <a:pt x="1940" y="20740"/>
                  <a:pt x="1925" y="20801"/>
                </a:cubicBezTo>
                <a:cubicBezTo>
                  <a:pt x="1935" y="20818"/>
                  <a:pt x="1953" y="20839"/>
                  <a:pt x="1981" y="20868"/>
                </a:cubicBezTo>
                <a:cubicBezTo>
                  <a:pt x="2069" y="20997"/>
                  <a:pt x="1987" y="20781"/>
                  <a:pt x="2047" y="20932"/>
                </a:cubicBezTo>
                <a:cubicBezTo>
                  <a:pt x="2121" y="20800"/>
                  <a:pt x="2070" y="21184"/>
                  <a:pt x="2107" y="21039"/>
                </a:cubicBezTo>
                <a:cubicBezTo>
                  <a:pt x="2116" y="21035"/>
                  <a:pt x="2118" y="21024"/>
                  <a:pt x="2118" y="21016"/>
                </a:cubicBezTo>
                <a:cubicBezTo>
                  <a:pt x="2116" y="20997"/>
                  <a:pt x="2119" y="21003"/>
                  <a:pt x="2118" y="21016"/>
                </a:cubicBezTo>
                <a:cubicBezTo>
                  <a:pt x="2120" y="21034"/>
                  <a:pt x="2127" y="21078"/>
                  <a:pt x="2147" y="21171"/>
                </a:cubicBezTo>
                <a:cubicBezTo>
                  <a:pt x="2148" y="21202"/>
                  <a:pt x="2169" y="21251"/>
                  <a:pt x="2188" y="21288"/>
                </a:cubicBezTo>
                <a:cubicBezTo>
                  <a:pt x="2189" y="21274"/>
                  <a:pt x="2193" y="21260"/>
                  <a:pt x="2201" y="21249"/>
                </a:cubicBezTo>
                <a:cubicBezTo>
                  <a:pt x="2229" y="21229"/>
                  <a:pt x="2287" y="21062"/>
                  <a:pt x="2310" y="21275"/>
                </a:cubicBezTo>
                <a:cubicBezTo>
                  <a:pt x="2387" y="21279"/>
                  <a:pt x="2380" y="21187"/>
                  <a:pt x="2364" y="21148"/>
                </a:cubicBezTo>
                <a:cubicBezTo>
                  <a:pt x="2358" y="21151"/>
                  <a:pt x="2351" y="21152"/>
                  <a:pt x="2342" y="21157"/>
                </a:cubicBezTo>
                <a:cubicBezTo>
                  <a:pt x="2343" y="21118"/>
                  <a:pt x="2355" y="21125"/>
                  <a:pt x="2364" y="21148"/>
                </a:cubicBezTo>
                <a:cubicBezTo>
                  <a:pt x="2396" y="21137"/>
                  <a:pt x="2403" y="21156"/>
                  <a:pt x="2405" y="21231"/>
                </a:cubicBezTo>
                <a:cubicBezTo>
                  <a:pt x="2427" y="21164"/>
                  <a:pt x="2467" y="21147"/>
                  <a:pt x="2490" y="21152"/>
                </a:cubicBezTo>
                <a:cubicBezTo>
                  <a:pt x="2486" y="21052"/>
                  <a:pt x="2549" y="21102"/>
                  <a:pt x="2570" y="21150"/>
                </a:cubicBezTo>
                <a:cubicBezTo>
                  <a:pt x="2618" y="21205"/>
                  <a:pt x="2619" y="21068"/>
                  <a:pt x="2645" y="21084"/>
                </a:cubicBezTo>
                <a:cubicBezTo>
                  <a:pt x="2602" y="21215"/>
                  <a:pt x="2721" y="21109"/>
                  <a:pt x="2720" y="21011"/>
                </a:cubicBezTo>
                <a:cubicBezTo>
                  <a:pt x="2727" y="21221"/>
                  <a:pt x="2723" y="21201"/>
                  <a:pt x="2777" y="20958"/>
                </a:cubicBezTo>
                <a:cubicBezTo>
                  <a:pt x="2825" y="20773"/>
                  <a:pt x="2869" y="20752"/>
                  <a:pt x="2842" y="20883"/>
                </a:cubicBezTo>
                <a:cubicBezTo>
                  <a:pt x="2862" y="20872"/>
                  <a:pt x="2885" y="20857"/>
                  <a:pt x="2910" y="20833"/>
                </a:cubicBezTo>
                <a:cubicBezTo>
                  <a:pt x="2916" y="20689"/>
                  <a:pt x="2915" y="20756"/>
                  <a:pt x="2974" y="20796"/>
                </a:cubicBezTo>
                <a:cubicBezTo>
                  <a:pt x="2922" y="20912"/>
                  <a:pt x="3041" y="20840"/>
                  <a:pt x="3024" y="20836"/>
                </a:cubicBezTo>
                <a:cubicBezTo>
                  <a:pt x="3018" y="20852"/>
                  <a:pt x="3107" y="20594"/>
                  <a:pt x="3085" y="20732"/>
                </a:cubicBezTo>
                <a:cubicBezTo>
                  <a:pt x="3045" y="20634"/>
                  <a:pt x="3139" y="21095"/>
                  <a:pt x="3099" y="21040"/>
                </a:cubicBezTo>
                <a:cubicBezTo>
                  <a:pt x="3094" y="21057"/>
                  <a:pt x="3115" y="21259"/>
                  <a:pt x="3120" y="21318"/>
                </a:cubicBezTo>
                <a:cubicBezTo>
                  <a:pt x="3148" y="21349"/>
                  <a:pt x="3138" y="21414"/>
                  <a:pt x="3135" y="21433"/>
                </a:cubicBezTo>
                <a:cubicBezTo>
                  <a:pt x="3156" y="21570"/>
                  <a:pt x="3197" y="21478"/>
                  <a:pt x="3203" y="21432"/>
                </a:cubicBezTo>
                <a:cubicBezTo>
                  <a:pt x="3246" y="21480"/>
                  <a:pt x="3220" y="21388"/>
                  <a:pt x="3220" y="21296"/>
                </a:cubicBezTo>
                <a:cubicBezTo>
                  <a:pt x="3214" y="21318"/>
                  <a:pt x="3212" y="21320"/>
                  <a:pt x="3220" y="21268"/>
                </a:cubicBezTo>
                <a:cubicBezTo>
                  <a:pt x="3220" y="21276"/>
                  <a:pt x="3220" y="21286"/>
                  <a:pt x="3220" y="21296"/>
                </a:cubicBezTo>
                <a:cubicBezTo>
                  <a:pt x="3229" y="21264"/>
                  <a:pt x="3248" y="21195"/>
                  <a:pt x="3265" y="21169"/>
                </a:cubicBezTo>
                <a:cubicBezTo>
                  <a:pt x="3302" y="21158"/>
                  <a:pt x="3345" y="21130"/>
                  <a:pt x="3349" y="21152"/>
                </a:cubicBezTo>
                <a:cubicBezTo>
                  <a:pt x="3345" y="21071"/>
                  <a:pt x="3318" y="21113"/>
                  <a:pt x="3311" y="21041"/>
                </a:cubicBezTo>
                <a:cubicBezTo>
                  <a:pt x="3355" y="21103"/>
                  <a:pt x="3352" y="20951"/>
                  <a:pt x="3390" y="20841"/>
                </a:cubicBezTo>
                <a:cubicBezTo>
                  <a:pt x="3393" y="20774"/>
                  <a:pt x="3466" y="20670"/>
                  <a:pt x="3478" y="20626"/>
                </a:cubicBezTo>
                <a:cubicBezTo>
                  <a:pt x="3486" y="20755"/>
                  <a:pt x="3481" y="20763"/>
                  <a:pt x="3489" y="20767"/>
                </a:cubicBezTo>
                <a:cubicBezTo>
                  <a:pt x="3483" y="20733"/>
                  <a:pt x="3492" y="20781"/>
                  <a:pt x="3544" y="20894"/>
                </a:cubicBezTo>
                <a:cubicBezTo>
                  <a:pt x="3545" y="20883"/>
                  <a:pt x="3552" y="20874"/>
                  <a:pt x="3576" y="20957"/>
                </a:cubicBezTo>
                <a:cubicBezTo>
                  <a:pt x="3569" y="20826"/>
                  <a:pt x="3626" y="20964"/>
                  <a:pt x="3598" y="20882"/>
                </a:cubicBezTo>
                <a:cubicBezTo>
                  <a:pt x="3612" y="20757"/>
                  <a:pt x="3616" y="20668"/>
                  <a:pt x="3631" y="20661"/>
                </a:cubicBezTo>
                <a:cubicBezTo>
                  <a:pt x="3572" y="20569"/>
                  <a:pt x="3668" y="20559"/>
                  <a:pt x="3663" y="20442"/>
                </a:cubicBezTo>
                <a:cubicBezTo>
                  <a:pt x="3668" y="20448"/>
                  <a:pt x="3654" y="20536"/>
                  <a:pt x="3719" y="20621"/>
                </a:cubicBezTo>
                <a:cubicBezTo>
                  <a:pt x="3794" y="20790"/>
                  <a:pt x="3717" y="20721"/>
                  <a:pt x="3776" y="20800"/>
                </a:cubicBezTo>
                <a:cubicBezTo>
                  <a:pt x="3772" y="20862"/>
                  <a:pt x="3777" y="20930"/>
                  <a:pt x="3829" y="20947"/>
                </a:cubicBezTo>
                <a:cubicBezTo>
                  <a:pt x="3843" y="21059"/>
                  <a:pt x="3869" y="21124"/>
                  <a:pt x="3891" y="21020"/>
                </a:cubicBezTo>
                <a:cubicBezTo>
                  <a:pt x="3891" y="20983"/>
                  <a:pt x="3949" y="21019"/>
                  <a:pt x="3963" y="20944"/>
                </a:cubicBezTo>
                <a:cubicBezTo>
                  <a:pt x="3966" y="21005"/>
                  <a:pt x="3990" y="21019"/>
                  <a:pt x="3988" y="20813"/>
                </a:cubicBezTo>
                <a:cubicBezTo>
                  <a:pt x="4056" y="20767"/>
                  <a:pt x="4011" y="20601"/>
                  <a:pt x="4059" y="20705"/>
                </a:cubicBezTo>
                <a:cubicBezTo>
                  <a:pt x="4022" y="20777"/>
                  <a:pt x="4061" y="20750"/>
                  <a:pt x="4103" y="20620"/>
                </a:cubicBezTo>
                <a:cubicBezTo>
                  <a:pt x="4093" y="20603"/>
                  <a:pt x="4123" y="20583"/>
                  <a:pt x="4142" y="20555"/>
                </a:cubicBezTo>
                <a:cubicBezTo>
                  <a:pt x="4134" y="20526"/>
                  <a:pt x="4131" y="20496"/>
                  <a:pt x="4140" y="20464"/>
                </a:cubicBezTo>
                <a:cubicBezTo>
                  <a:pt x="4169" y="20503"/>
                  <a:pt x="4160" y="20532"/>
                  <a:pt x="4142" y="20555"/>
                </a:cubicBezTo>
                <a:cubicBezTo>
                  <a:pt x="4148" y="20572"/>
                  <a:pt x="4153" y="20589"/>
                  <a:pt x="4161" y="20605"/>
                </a:cubicBezTo>
                <a:cubicBezTo>
                  <a:pt x="4182" y="20648"/>
                  <a:pt x="4208" y="20687"/>
                  <a:pt x="4216" y="20717"/>
                </a:cubicBezTo>
                <a:cubicBezTo>
                  <a:pt x="4239" y="20851"/>
                  <a:pt x="4215" y="20700"/>
                  <a:pt x="4237" y="20771"/>
                </a:cubicBezTo>
                <a:cubicBezTo>
                  <a:pt x="4294" y="20750"/>
                  <a:pt x="4326" y="20936"/>
                  <a:pt x="4272" y="20721"/>
                </a:cubicBezTo>
                <a:cubicBezTo>
                  <a:pt x="4307" y="20502"/>
                  <a:pt x="4333" y="20516"/>
                  <a:pt x="4356" y="20627"/>
                </a:cubicBezTo>
                <a:cubicBezTo>
                  <a:pt x="4364" y="20497"/>
                  <a:pt x="4381" y="20688"/>
                  <a:pt x="4468" y="20636"/>
                </a:cubicBezTo>
                <a:cubicBezTo>
                  <a:pt x="4582" y="20647"/>
                  <a:pt x="4484" y="20748"/>
                  <a:pt x="4532" y="20714"/>
                </a:cubicBezTo>
                <a:cubicBezTo>
                  <a:pt x="4582" y="20685"/>
                  <a:pt x="4521" y="20712"/>
                  <a:pt x="4584" y="20821"/>
                </a:cubicBezTo>
                <a:cubicBezTo>
                  <a:pt x="4566" y="20956"/>
                  <a:pt x="4667" y="20955"/>
                  <a:pt x="4640" y="21022"/>
                </a:cubicBezTo>
                <a:cubicBezTo>
                  <a:pt x="4609" y="21126"/>
                  <a:pt x="4639" y="20999"/>
                  <a:pt x="4664" y="21078"/>
                </a:cubicBezTo>
                <a:cubicBezTo>
                  <a:pt x="4678" y="21050"/>
                  <a:pt x="4708" y="21035"/>
                  <a:pt x="4753" y="21123"/>
                </a:cubicBezTo>
                <a:cubicBezTo>
                  <a:pt x="4804" y="21265"/>
                  <a:pt x="4786" y="21280"/>
                  <a:pt x="4855" y="21070"/>
                </a:cubicBezTo>
                <a:cubicBezTo>
                  <a:pt x="4852" y="20996"/>
                  <a:pt x="4816" y="21007"/>
                  <a:pt x="4897" y="21054"/>
                </a:cubicBezTo>
                <a:cubicBezTo>
                  <a:pt x="4919" y="20899"/>
                  <a:pt x="4940" y="21000"/>
                  <a:pt x="4971" y="20972"/>
                </a:cubicBezTo>
                <a:cubicBezTo>
                  <a:pt x="4975" y="20727"/>
                  <a:pt x="5076" y="20858"/>
                  <a:pt x="5043" y="20888"/>
                </a:cubicBezTo>
                <a:cubicBezTo>
                  <a:pt x="5056" y="20886"/>
                  <a:pt x="5071" y="21042"/>
                  <a:pt x="5110" y="20853"/>
                </a:cubicBezTo>
                <a:cubicBezTo>
                  <a:pt x="5097" y="20835"/>
                  <a:pt x="5112" y="20866"/>
                  <a:pt x="5169" y="20867"/>
                </a:cubicBezTo>
                <a:cubicBezTo>
                  <a:pt x="5191" y="21054"/>
                  <a:pt x="5180" y="20869"/>
                  <a:pt x="5252" y="20779"/>
                </a:cubicBezTo>
                <a:cubicBezTo>
                  <a:pt x="5353" y="20918"/>
                  <a:pt x="5251" y="20771"/>
                  <a:pt x="5322" y="20693"/>
                </a:cubicBezTo>
                <a:cubicBezTo>
                  <a:pt x="5327" y="20750"/>
                  <a:pt x="5403" y="20637"/>
                  <a:pt x="5393" y="20701"/>
                </a:cubicBezTo>
                <a:cubicBezTo>
                  <a:pt x="5431" y="20839"/>
                  <a:pt x="5444" y="20675"/>
                  <a:pt x="5460" y="20626"/>
                </a:cubicBezTo>
                <a:cubicBezTo>
                  <a:pt x="5453" y="20631"/>
                  <a:pt x="5452" y="20631"/>
                  <a:pt x="5462" y="20621"/>
                </a:cubicBezTo>
                <a:cubicBezTo>
                  <a:pt x="5464" y="20615"/>
                  <a:pt x="5466" y="20612"/>
                  <a:pt x="5470" y="20614"/>
                </a:cubicBezTo>
                <a:cubicBezTo>
                  <a:pt x="5466" y="20617"/>
                  <a:pt x="5464" y="20618"/>
                  <a:pt x="5462" y="20621"/>
                </a:cubicBezTo>
                <a:cubicBezTo>
                  <a:pt x="5461" y="20622"/>
                  <a:pt x="5461" y="20625"/>
                  <a:pt x="5460" y="20626"/>
                </a:cubicBezTo>
                <a:cubicBezTo>
                  <a:pt x="5480" y="20615"/>
                  <a:pt x="5538" y="20571"/>
                  <a:pt x="5532" y="20572"/>
                </a:cubicBezTo>
                <a:cubicBezTo>
                  <a:pt x="5506" y="20513"/>
                  <a:pt x="5552" y="20334"/>
                  <a:pt x="5623" y="20469"/>
                </a:cubicBezTo>
                <a:cubicBezTo>
                  <a:pt x="5633" y="20436"/>
                  <a:pt x="5636" y="20422"/>
                  <a:pt x="5638" y="20416"/>
                </a:cubicBezTo>
                <a:cubicBezTo>
                  <a:pt x="5638" y="20413"/>
                  <a:pt x="5638" y="20413"/>
                  <a:pt x="5638" y="20416"/>
                </a:cubicBezTo>
                <a:cubicBezTo>
                  <a:pt x="5634" y="20431"/>
                  <a:pt x="5630" y="20480"/>
                  <a:pt x="5688" y="20431"/>
                </a:cubicBezTo>
                <a:cubicBezTo>
                  <a:pt x="5734" y="20600"/>
                  <a:pt x="5723" y="20433"/>
                  <a:pt x="5769" y="20346"/>
                </a:cubicBezTo>
                <a:cubicBezTo>
                  <a:pt x="5771" y="20409"/>
                  <a:pt x="5833" y="20309"/>
                  <a:pt x="5851" y="20315"/>
                </a:cubicBezTo>
                <a:cubicBezTo>
                  <a:pt x="5841" y="20225"/>
                  <a:pt x="5839" y="20278"/>
                  <a:pt x="5906" y="20327"/>
                </a:cubicBezTo>
                <a:cubicBezTo>
                  <a:pt x="5952" y="20248"/>
                  <a:pt x="5934" y="20201"/>
                  <a:pt x="6011" y="20310"/>
                </a:cubicBezTo>
                <a:cubicBezTo>
                  <a:pt x="6053" y="20413"/>
                  <a:pt x="6156" y="20416"/>
                  <a:pt x="6120" y="20287"/>
                </a:cubicBezTo>
                <a:cubicBezTo>
                  <a:pt x="6128" y="20308"/>
                  <a:pt x="6133" y="20320"/>
                  <a:pt x="6138" y="20330"/>
                </a:cubicBezTo>
                <a:cubicBezTo>
                  <a:pt x="6144" y="20231"/>
                  <a:pt x="6160" y="20265"/>
                  <a:pt x="6167" y="20279"/>
                </a:cubicBezTo>
                <a:cubicBezTo>
                  <a:pt x="6167" y="20279"/>
                  <a:pt x="6168" y="20278"/>
                  <a:pt x="6169" y="20276"/>
                </a:cubicBezTo>
                <a:cubicBezTo>
                  <a:pt x="6170" y="20286"/>
                  <a:pt x="6169" y="20285"/>
                  <a:pt x="6167" y="20279"/>
                </a:cubicBezTo>
                <a:cubicBezTo>
                  <a:pt x="6152" y="20295"/>
                  <a:pt x="6162" y="20375"/>
                  <a:pt x="6138" y="20330"/>
                </a:cubicBezTo>
                <a:cubicBezTo>
                  <a:pt x="6137" y="20337"/>
                  <a:pt x="6137" y="20343"/>
                  <a:pt x="6136" y="20353"/>
                </a:cubicBezTo>
                <a:cubicBezTo>
                  <a:pt x="6078" y="20583"/>
                  <a:pt x="6063" y="20304"/>
                  <a:pt x="6066" y="20522"/>
                </a:cubicBezTo>
                <a:cubicBezTo>
                  <a:pt x="6004" y="20497"/>
                  <a:pt x="5972" y="20527"/>
                  <a:pt x="5986" y="20700"/>
                </a:cubicBezTo>
                <a:cubicBezTo>
                  <a:pt x="5975" y="20751"/>
                  <a:pt x="5969" y="20779"/>
                  <a:pt x="5964" y="20795"/>
                </a:cubicBezTo>
                <a:cubicBezTo>
                  <a:pt x="5977" y="21065"/>
                  <a:pt x="6034" y="20734"/>
                  <a:pt x="6026" y="20757"/>
                </a:cubicBezTo>
                <a:cubicBezTo>
                  <a:pt x="6000" y="20611"/>
                  <a:pt x="6078" y="20743"/>
                  <a:pt x="6089" y="20743"/>
                </a:cubicBezTo>
                <a:cubicBezTo>
                  <a:pt x="6135" y="20767"/>
                  <a:pt x="6175" y="20545"/>
                  <a:pt x="6242" y="20712"/>
                </a:cubicBezTo>
                <a:cubicBezTo>
                  <a:pt x="6346" y="20748"/>
                  <a:pt x="6381" y="20784"/>
                  <a:pt x="6396" y="20710"/>
                </a:cubicBezTo>
                <a:cubicBezTo>
                  <a:pt x="6423" y="20862"/>
                  <a:pt x="6429" y="20860"/>
                  <a:pt x="6442" y="20823"/>
                </a:cubicBezTo>
                <a:cubicBezTo>
                  <a:pt x="6455" y="20787"/>
                  <a:pt x="6474" y="20716"/>
                  <a:pt x="6530" y="20727"/>
                </a:cubicBezTo>
                <a:cubicBezTo>
                  <a:pt x="6535" y="20838"/>
                  <a:pt x="6618" y="20760"/>
                  <a:pt x="6630" y="20773"/>
                </a:cubicBezTo>
                <a:cubicBezTo>
                  <a:pt x="6637" y="20789"/>
                  <a:pt x="6645" y="20788"/>
                  <a:pt x="6651" y="20782"/>
                </a:cubicBezTo>
                <a:cubicBezTo>
                  <a:pt x="6655" y="20771"/>
                  <a:pt x="6659" y="20760"/>
                  <a:pt x="6664" y="20744"/>
                </a:cubicBezTo>
                <a:cubicBezTo>
                  <a:pt x="6673" y="20738"/>
                  <a:pt x="6665" y="20772"/>
                  <a:pt x="6651" y="20782"/>
                </a:cubicBezTo>
                <a:cubicBezTo>
                  <a:pt x="6632" y="20838"/>
                  <a:pt x="6620" y="20863"/>
                  <a:pt x="6588" y="20918"/>
                </a:cubicBezTo>
                <a:cubicBezTo>
                  <a:pt x="6544" y="20936"/>
                  <a:pt x="6537" y="21022"/>
                  <a:pt x="6533" y="21075"/>
                </a:cubicBezTo>
                <a:cubicBezTo>
                  <a:pt x="6572" y="21046"/>
                  <a:pt x="6577" y="21047"/>
                  <a:pt x="6584" y="21036"/>
                </a:cubicBezTo>
                <a:cubicBezTo>
                  <a:pt x="6581" y="21016"/>
                  <a:pt x="6582" y="21130"/>
                  <a:pt x="6612" y="21119"/>
                </a:cubicBezTo>
                <a:cubicBezTo>
                  <a:pt x="6646" y="21011"/>
                  <a:pt x="6703" y="21020"/>
                  <a:pt x="6714" y="21135"/>
                </a:cubicBezTo>
                <a:cubicBezTo>
                  <a:pt x="6688" y="21181"/>
                  <a:pt x="6767" y="21220"/>
                  <a:pt x="6788" y="21146"/>
                </a:cubicBezTo>
                <a:cubicBezTo>
                  <a:pt x="6802" y="21145"/>
                  <a:pt x="6875" y="21299"/>
                  <a:pt x="6857" y="21160"/>
                </a:cubicBezTo>
                <a:cubicBezTo>
                  <a:pt x="6909" y="21160"/>
                  <a:pt x="6888" y="21219"/>
                  <a:pt x="6935" y="21181"/>
                </a:cubicBezTo>
                <a:cubicBezTo>
                  <a:pt x="6988" y="21221"/>
                  <a:pt x="6954" y="21269"/>
                  <a:pt x="7013" y="21202"/>
                </a:cubicBezTo>
                <a:cubicBezTo>
                  <a:pt x="7045" y="21265"/>
                  <a:pt x="7003" y="21254"/>
                  <a:pt x="7076" y="21121"/>
                </a:cubicBezTo>
                <a:cubicBezTo>
                  <a:pt x="7107" y="21062"/>
                  <a:pt x="7165" y="21064"/>
                  <a:pt x="7141" y="21034"/>
                </a:cubicBezTo>
                <a:cubicBezTo>
                  <a:pt x="7137" y="21036"/>
                  <a:pt x="7135" y="21037"/>
                  <a:pt x="7139" y="21031"/>
                </a:cubicBezTo>
                <a:cubicBezTo>
                  <a:pt x="7140" y="21033"/>
                  <a:pt x="7140" y="21033"/>
                  <a:pt x="7141" y="21034"/>
                </a:cubicBezTo>
                <a:cubicBezTo>
                  <a:pt x="7156" y="21022"/>
                  <a:pt x="7223" y="20951"/>
                  <a:pt x="7224" y="20913"/>
                </a:cubicBezTo>
                <a:cubicBezTo>
                  <a:pt x="7215" y="20922"/>
                  <a:pt x="7212" y="20923"/>
                  <a:pt x="7224" y="20912"/>
                </a:cubicBezTo>
                <a:cubicBezTo>
                  <a:pt x="7224" y="20913"/>
                  <a:pt x="7224" y="20913"/>
                  <a:pt x="7224" y="20913"/>
                </a:cubicBezTo>
                <a:cubicBezTo>
                  <a:pt x="7245" y="20896"/>
                  <a:pt x="7302" y="20840"/>
                  <a:pt x="7330" y="20772"/>
                </a:cubicBezTo>
                <a:cubicBezTo>
                  <a:pt x="7417" y="20670"/>
                  <a:pt x="7387" y="20610"/>
                  <a:pt x="7436" y="20632"/>
                </a:cubicBezTo>
                <a:cubicBezTo>
                  <a:pt x="7404" y="20630"/>
                  <a:pt x="7453" y="20711"/>
                  <a:pt x="7417" y="20808"/>
                </a:cubicBezTo>
                <a:cubicBezTo>
                  <a:pt x="7433" y="20802"/>
                  <a:pt x="7438" y="20838"/>
                  <a:pt x="7437" y="20879"/>
                </a:cubicBezTo>
                <a:cubicBezTo>
                  <a:pt x="7451" y="20855"/>
                  <a:pt x="7460" y="20858"/>
                  <a:pt x="7481" y="20829"/>
                </a:cubicBezTo>
                <a:cubicBezTo>
                  <a:pt x="7573" y="20813"/>
                  <a:pt x="7521" y="20746"/>
                  <a:pt x="7561" y="20630"/>
                </a:cubicBezTo>
                <a:cubicBezTo>
                  <a:pt x="7554" y="20609"/>
                  <a:pt x="7617" y="20609"/>
                  <a:pt x="7632" y="20430"/>
                </a:cubicBezTo>
                <a:cubicBezTo>
                  <a:pt x="7682" y="20410"/>
                  <a:pt x="7688" y="20369"/>
                  <a:pt x="7697" y="20253"/>
                </a:cubicBezTo>
                <a:cubicBezTo>
                  <a:pt x="7726" y="20200"/>
                  <a:pt x="7778" y="19928"/>
                  <a:pt x="7764" y="20060"/>
                </a:cubicBezTo>
                <a:cubicBezTo>
                  <a:pt x="7831" y="19860"/>
                  <a:pt x="7796" y="19961"/>
                  <a:pt x="7835" y="19860"/>
                </a:cubicBezTo>
                <a:cubicBezTo>
                  <a:pt x="7867" y="19760"/>
                  <a:pt x="7782" y="20024"/>
                  <a:pt x="7809" y="20130"/>
                </a:cubicBezTo>
                <a:cubicBezTo>
                  <a:pt x="7763" y="20221"/>
                  <a:pt x="7801" y="20348"/>
                  <a:pt x="7793" y="20404"/>
                </a:cubicBezTo>
                <a:cubicBezTo>
                  <a:pt x="7771" y="20416"/>
                  <a:pt x="7808" y="20632"/>
                  <a:pt x="7762" y="20632"/>
                </a:cubicBezTo>
                <a:cubicBezTo>
                  <a:pt x="7816" y="20806"/>
                  <a:pt x="7727" y="21050"/>
                  <a:pt x="7736" y="20902"/>
                </a:cubicBezTo>
                <a:cubicBezTo>
                  <a:pt x="7707" y="21000"/>
                  <a:pt x="7811" y="21051"/>
                  <a:pt x="7738" y="21121"/>
                </a:cubicBezTo>
                <a:cubicBezTo>
                  <a:pt x="7764" y="21142"/>
                  <a:pt x="7801" y="21031"/>
                  <a:pt x="7815" y="21033"/>
                </a:cubicBezTo>
                <a:cubicBezTo>
                  <a:pt x="7841" y="20919"/>
                  <a:pt x="7809" y="20860"/>
                  <a:pt x="7896" y="20897"/>
                </a:cubicBezTo>
                <a:cubicBezTo>
                  <a:pt x="7950" y="21047"/>
                  <a:pt x="8017" y="20811"/>
                  <a:pt x="8002" y="20811"/>
                </a:cubicBezTo>
                <a:cubicBezTo>
                  <a:pt x="8056" y="20593"/>
                  <a:pt x="8077" y="20963"/>
                  <a:pt x="8051" y="20662"/>
                </a:cubicBezTo>
                <a:cubicBezTo>
                  <a:pt x="8063" y="20625"/>
                  <a:pt x="8115" y="20580"/>
                  <a:pt x="8133" y="20601"/>
                </a:cubicBezTo>
                <a:cubicBezTo>
                  <a:pt x="8124" y="20536"/>
                  <a:pt x="8209" y="20636"/>
                  <a:pt x="8236" y="20593"/>
                </a:cubicBezTo>
                <a:cubicBezTo>
                  <a:pt x="8279" y="20665"/>
                  <a:pt x="8352" y="20666"/>
                  <a:pt x="8327" y="20724"/>
                </a:cubicBezTo>
                <a:cubicBezTo>
                  <a:pt x="8363" y="20598"/>
                  <a:pt x="8315" y="20894"/>
                  <a:pt x="8369" y="20899"/>
                </a:cubicBezTo>
                <a:cubicBezTo>
                  <a:pt x="8369" y="20928"/>
                  <a:pt x="8369" y="20950"/>
                  <a:pt x="8369" y="20967"/>
                </a:cubicBezTo>
                <a:cubicBezTo>
                  <a:pt x="8372" y="20964"/>
                  <a:pt x="8376" y="20962"/>
                  <a:pt x="8382" y="20962"/>
                </a:cubicBezTo>
                <a:cubicBezTo>
                  <a:pt x="8405" y="20919"/>
                  <a:pt x="8372" y="21095"/>
                  <a:pt x="8369" y="20967"/>
                </a:cubicBezTo>
                <a:cubicBezTo>
                  <a:pt x="8348" y="20985"/>
                  <a:pt x="8379" y="21054"/>
                  <a:pt x="8377" y="21058"/>
                </a:cubicBezTo>
                <a:cubicBezTo>
                  <a:pt x="8446" y="21046"/>
                  <a:pt x="8422" y="21114"/>
                  <a:pt x="8423" y="20925"/>
                </a:cubicBezTo>
                <a:cubicBezTo>
                  <a:pt x="8427" y="20782"/>
                  <a:pt x="8511" y="20961"/>
                  <a:pt x="8474" y="20812"/>
                </a:cubicBezTo>
                <a:cubicBezTo>
                  <a:pt x="8508" y="20675"/>
                  <a:pt x="8500" y="20702"/>
                  <a:pt x="8535" y="20684"/>
                </a:cubicBezTo>
                <a:cubicBezTo>
                  <a:pt x="8505" y="20746"/>
                  <a:pt x="8588" y="20616"/>
                  <a:pt x="8586" y="20595"/>
                </a:cubicBezTo>
                <a:cubicBezTo>
                  <a:pt x="8625" y="20519"/>
                  <a:pt x="8659" y="20497"/>
                  <a:pt x="8641" y="20479"/>
                </a:cubicBezTo>
                <a:cubicBezTo>
                  <a:pt x="8682" y="20425"/>
                  <a:pt x="8669" y="20409"/>
                  <a:pt x="8658" y="20358"/>
                </a:cubicBezTo>
                <a:cubicBezTo>
                  <a:pt x="8637" y="20383"/>
                  <a:pt x="8606" y="20304"/>
                  <a:pt x="8671" y="20229"/>
                </a:cubicBezTo>
                <a:cubicBezTo>
                  <a:pt x="8641" y="20253"/>
                  <a:pt x="8671" y="20106"/>
                  <a:pt x="8740" y="20127"/>
                </a:cubicBezTo>
                <a:cubicBezTo>
                  <a:pt x="8696" y="20108"/>
                  <a:pt x="8769" y="19709"/>
                  <a:pt x="8781" y="20034"/>
                </a:cubicBezTo>
                <a:cubicBezTo>
                  <a:pt x="8851" y="20185"/>
                  <a:pt x="8948" y="20253"/>
                  <a:pt x="8824" y="20217"/>
                </a:cubicBezTo>
                <a:cubicBezTo>
                  <a:pt x="8814" y="20219"/>
                  <a:pt x="8797" y="20236"/>
                  <a:pt x="8782" y="20249"/>
                </a:cubicBezTo>
                <a:cubicBezTo>
                  <a:pt x="8771" y="20323"/>
                  <a:pt x="8700" y="20336"/>
                  <a:pt x="8783" y="20373"/>
                </a:cubicBezTo>
                <a:cubicBezTo>
                  <a:pt x="8780" y="20487"/>
                  <a:pt x="8727" y="20398"/>
                  <a:pt x="8744" y="20492"/>
                </a:cubicBezTo>
                <a:cubicBezTo>
                  <a:pt x="8729" y="20723"/>
                  <a:pt x="8659" y="20625"/>
                  <a:pt x="8744" y="20689"/>
                </a:cubicBezTo>
                <a:cubicBezTo>
                  <a:pt x="8689" y="20806"/>
                  <a:pt x="8699" y="20710"/>
                  <a:pt x="8718" y="20836"/>
                </a:cubicBezTo>
                <a:cubicBezTo>
                  <a:pt x="8668" y="20872"/>
                  <a:pt x="8635" y="20852"/>
                  <a:pt x="8649" y="20925"/>
                </a:cubicBezTo>
                <a:cubicBezTo>
                  <a:pt x="8632" y="20977"/>
                  <a:pt x="8688" y="21044"/>
                  <a:pt x="8704" y="20996"/>
                </a:cubicBezTo>
                <a:cubicBezTo>
                  <a:pt x="8651" y="20979"/>
                  <a:pt x="8688" y="20754"/>
                  <a:pt x="8708" y="20951"/>
                </a:cubicBezTo>
                <a:cubicBezTo>
                  <a:pt x="8710" y="20973"/>
                  <a:pt x="8708" y="20986"/>
                  <a:pt x="8704" y="20996"/>
                </a:cubicBezTo>
                <a:cubicBezTo>
                  <a:pt x="8706" y="20996"/>
                  <a:pt x="8707" y="21000"/>
                  <a:pt x="8709" y="21000"/>
                </a:cubicBezTo>
                <a:cubicBezTo>
                  <a:pt x="8724" y="21029"/>
                  <a:pt x="8731" y="21024"/>
                  <a:pt x="8732" y="21007"/>
                </a:cubicBezTo>
                <a:cubicBezTo>
                  <a:pt x="8729" y="20999"/>
                  <a:pt x="8727" y="20992"/>
                  <a:pt x="8724" y="20983"/>
                </a:cubicBezTo>
                <a:cubicBezTo>
                  <a:pt x="8708" y="20826"/>
                  <a:pt x="8736" y="20962"/>
                  <a:pt x="8732" y="21007"/>
                </a:cubicBezTo>
                <a:cubicBezTo>
                  <a:pt x="8829" y="21319"/>
                  <a:pt x="8832" y="20990"/>
                  <a:pt x="8805" y="20996"/>
                </a:cubicBezTo>
                <a:cubicBezTo>
                  <a:pt x="8762" y="20836"/>
                  <a:pt x="8794" y="20812"/>
                  <a:pt x="8794" y="20918"/>
                </a:cubicBezTo>
                <a:cubicBezTo>
                  <a:pt x="8767" y="20925"/>
                  <a:pt x="8883" y="20947"/>
                  <a:pt x="8802" y="20821"/>
                </a:cubicBezTo>
                <a:cubicBezTo>
                  <a:pt x="8811" y="20696"/>
                  <a:pt x="8852" y="20759"/>
                  <a:pt x="8866" y="20841"/>
                </a:cubicBezTo>
                <a:cubicBezTo>
                  <a:pt x="8858" y="20690"/>
                  <a:pt x="8911" y="20896"/>
                  <a:pt x="8924" y="20945"/>
                </a:cubicBezTo>
                <a:cubicBezTo>
                  <a:pt x="9024" y="21067"/>
                  <a:pt x="9000" y="20832"/>
                  <a:pt x="8999" y="21034"/>
                </a:cubicBezTo>
                <a:cubicBezTo>
                  <a:pt x="8988" y="21076"/>
                  <a:pt x="9051" y="21309"/>
                  <a:pt x="9069" y="21173"/>
                </a:cubicBezTo>
                <a:cubicBezTo>
                  <a:pt x="9068" y="21174"/>
                  <a:pt x="9069" y="21165"/>
                  <a:pt x="9071" y="21152"/>
                </a:cubicBezTo>
                <a:cubicBezTo>
                  <a:pt x="9072" y="21145"/>
                  <a:pt x="9073" y="21141"/>
                  <a:pt x="9073" y="21132"/>
                </a:cubicBezTo>
                <a:cubicBezTo>
                  <a:pt x="9075" y="21129"/>
                  <a:pt x="9075" y="21128"/>
                  <a:pt x="9076" y="21125"/>
                </a:cubicBezTo>
                <a:cubicBezTo>
                  <a:pt x="9081" y="21101"/>
                  <a:pt x="9084" y="21081"/>
                  <a:pt x="9087" y="21062"/>
                </a:cubicBezTo>
                <a:cubicBezTo>
                  <a:pt x="9087" y="21050"/>
                  <a:pt x="9087" y="21035"/>
                  <a:pt x="9088" y="21016"/>
                </a:cubicBezTo>
                <a:cubicBezTo>
                  <a:pt x="9085" y="21024"/>
                  <a:pt x="9094" y="20953"/>
                  <a:pt x="9100" y="20908"/>
                </a:cubicBezTo>
                <a:cubicBezTo>
                  <a:pt x="9090" y="20901"/>
                  <a:pt x="9086" y="20894"/>
                  <a:pt x="9101" y="20900"/>
                </a:cubicBezTo>
                <a:cubicBezTo>
                  <a:pt x="9105" y="20869"/>
                  <a:pt x="9107" y="20856"/>
                  <a:pt x="9103" y="20901"/>
                </a:cubicBezTo>
                <a:cubicBezTo>
                  <a:pt x="9102" y="20900"/>
                  <a:pt x="9102" y="20900"/>
                  <a:pt x="9101" y="20900"/>
                </a:cubicBezTo>
                <a:cubicBezTo>
                  <a:pt x="9100" y="20902"/>
                  <a:pt x="9100" y="20905"/>
                  <a:pt x="9100" y="20908"/>
                </a:cubicBezTo>
                <a:cubicBezTo>
                  <a:pt x="9114" y="20918"/>
                  <a:pt x="9139" y="20928"/>
                  <a:pt x="9130" y="20896"/>
                </a:cubicBezTo>
                <a:cubicBezTo>
                  <a:pt x="9181" y="20838"/>
                  <a:pt x="9133" y="20862"/>
                  <a:pt x="9136" y="20677"/>
                </a:cubicBezTo>
                <a:cubicBezTo>
                  <a:pt x="9161" y="20611"/>
                  <a:pt x="9183" y="20420"/>
                  <a:pt x="9198" y="20494"/>
                </a:cubicBezTo>
                <a:cubicBezTo>
                  <a:pt x="9210" y="20714"/>
                  <a:pt x="9218" y="20335"/>
                  <a:pt x="9287" y="20348"/>
                </a:cubicBezTo>
                <a:cubicBezTo>
                  <a:pt x="9316" y="20051"/>
                  <a:pt x="9368" y="20430"/>
                  <a:pt x="9389" y="20290"/>
                </a:cubicBezTo>
                <a:cubicBezTo>
                  <a:pt x="9461" y="20181"/>
                  <a:pt x="9441" y="20248"/>
                  <a:pt x="9484" y="20297"/>
                </a:cubicBezTo>
                <a:cubicBezTo>
                  <a:pt x="9525" y="20394"/>
                  <a:pt x="9530" y="20381"/>
                  <a:pt x="9552" y="20303"/>
                </a:cubicBezTo>
                <a:cubicBezTo>
                  <a:pt x="9576" y="20275"/>
                  <a:pt x="9677" y="20312"/>
                  <a:pt x="9607" y="20275"/>
                </a:cubicBezTo>
                <a:cubicBezTo>
                  <a:pt x="9592" y="20152"/>
                  <a:pt x="9593" y="20131"/>
                  <a:pt x="9607" y="20135"/>
                </a:cubicBezTo>
                <a:cubicBezTo>
                  <a:pt x="9620" y="20137"/>
                  <a:pt x="9647" y="20165"/>
                  <a:pt x="9681" y="20140"/>
                </a:cubicBezTo>
                <a:cubicBezTo>
                  <a:pt x="9684" y="20078"/>
                  <a:pt x="9773" y="20144"/>
                  <a:pt x="9754" y="19950"/>
                </a:cubicBezTo>
                <a:cubicBezTo>
                  <a:pt x="9698" y="19950"/>
                  <a:pt x="9803" y="19683"/>
                  <a:pt x="9802" y="19823"/>
                </a:cubicBezTo>
                <a:cubicBezTo>
                  <a:pt x="9848" y="19873"/>
                  <a:pt x="9750" y="19572"/>
                  <a:pt x="9853" y="19703"/>
                </a:cubicBezTo>
                <a:cubicBezTo>
                  <a:pt x="9867" y="19664"/>
                  <a:pt x="9890" y="19613"/>
                  <a:pt x="9900" y="19642"/>
                </a:cubicBezTo>
                <a:cubicBezTo>
                  <a:pt x="9924" y="19525"/>
                  <a:pt x="9939" y="19469"/>
                  <a:pt x="9988" y="19432"/>
                </a:cubicBezTo>
                <a:cubicBezTo>
                  <a:pt x="10021" y="19189"/>
                  <a:pt x="10003" y="19372"/>
                  <a:pt x="10021" y="19301"/>
                </a:cubicBezTo>
                <a:cubicBezTo>
                  <a:pt x="10031" y="19446"/>
                  <a:pt x="10078" y="19280"/>
                  <a:pt x="10123" y="19206"/>
                </a:cubicBezTo>
                <a:cubicBezTo>
                  <a:pt x="10208" y="19218"/>
                  <a:pt x="10204" y="19061"/>
                  <a:pt x="10224" y="19077"/>
                </a:cubicBezTo>
                <a:cubicBezTo>
                  <a:pt x="10219" y="18938"/>
                  <a:pt x="10243" y="19087"/>
                  <a:pt x="10258" y="19012"/>
                </a:cubicBezTo>
                <a:cubicBezTo>
                  <a:pt x="10225" y="18925"/>
                  <a:pt x="10265" y="18852"/>
                  <a:pt x="10321" y="18963"/>
                </a:cubicBezTo>
                <a:cubicBezTo>
                  <a:pt x="10373" y="19011"/>
                  <a:pt x="10352" y="18960"/>
                  <a:pt x="10378" y="18875"/>
                </a:cubicBezTo>
                <a:cubicBezTo>
                  <a:pt x="10385" y="18827"/>
                  <a:pt x="10410" y="18725"/>
                  <a:pt x="10446" y="18774"/>
                </a:cubicBezTo>
                <a:cubicBezTo>
                  <a:pt x="10476" y="18812"/>
                  <a:pt x="10478" y="18759"/>
                  <a:pt x="10504" y="18702"/>
                </a:cubicBezTo>
                <a:cubicBezTo>
                  <a:pt x="10500" y="18602"/>
                  <a:pt x="10550" y="18838"/>
                  <a:pt x="10548" y="18933"/>
                </a:cubicBezTo>
                <a:cubicBezTo>
                  <a:pt x="10568" y="18922"/>
                  <a:pt x="10592" y="18938"/>
                  <a:pt x="10576" y="19001"/>
                </a:cubicBezTo>
                <a:cubicBezTo>
                  <a:pt x="10614" y="19012"/>
                  <a:pt x="10584" y="19101"/>
                  <a:pt x="10660" y="19037"/>
                </a:cubicBezTo>
                <a:cubicBezTo>
                  <a:pt x="10654" y="18979"/>
                  <a:pt x="10664" y="19151"/>
                  <a:pt x="10765" y="19157"/>
                </a:cubicBezTo>
                <a:cubicBezTo>
                  <a:pt x="10794" y="19234"/>
                  <a:pt x="10796" y="19280"/>
                  <a:pt x="10831" y="19236"/>
                </a:cubicBezTo>
                <a:cubicBezTo>
                  <a:pt x="10834" y="19290"/>
                  <a:pt x="10872" y="19504"/>
                  <a:pt x="10893" y="19281"/>
                </a:cubicBezTo>
                <a:cubicBezTo>
                  <a:pt x="10913" y="19334"/>
                  <a:pt x="10954" y="19273"/>
                  <a:pt x="10964" y="19262"/>
                </a:cubicBezTo>
                <a:cubicBezTo>
                  <a:pt x="10979" y="19199"/>
                  <a:pt x="10995" y="19258"/>
                  <a:pt x="11029" y="19218"/>
                </a:cubicBezTo>
                <a:cubicBezTo>
                  <a:pt x="11007" y="19212"/>
                  <a:pt x="11000" y="19190"/>
                  <a:pt x="11044" y="19196"/>
                </a:cubicBezTo>
                <a:cubicBezTo>
                  <a:pt x="11038" y="19206"/>
                  <a:pt x="11033" y="19213"/>
                  <a:pt x="11029" y="19218"/>
                </a:cubicBezTo>
                <a:cubicBezTo>
                  <a:pt x="11030" y="19219"/>
                  <a:pt x="11032" y="19221"/>
                  <a:pt x="11034" y="19221"/>
                </a:cubicBezTo>
                <a:cubicBezTo>
                  <a:pt x="11060" y="19225"/>
                  <a:pt x="11089" y="19238"/>
                  <a:pt x="11111" y="19112"/>
                </a:cubicBezTo>
                <a:cubicBezTo>
                  <a:pt x="11128" y="19074"/>
                  <a:pt x="11142" y="19057"/>
                  <a:pt x="11153" y="19048"/>
                </a:cubicBezTo>
                <a:cubicBezTo>
                  <a:pt x="11161" y="19020"/>
                  <a:pt x="11177" y="19020"/>
                  <a:pt x="11178" y="19028"/>
                </a:cubicBezTo>
                <a:cubicBezTo>
                  <a:pt x="11179" y="19035"/>
                  <a:pt x="11180" y="19038"/>
                  <a:pt x="11181" y="19043"/>
                </a:cubicBezTo>
                <a:cubicBezTo>
                  <a:pt x="11196" y="19058"/>
                  <a:pt x="11193" y="19101"/>
                  <a:pt x="11181" y="19043"/>
                </a:cubicBezTo>
                <a:cubicBezTo>
                  <a:pt x="11174" y="19035"/>
                  <a:pt x="11165" y="19037"/>
                  <a:pt x="11153" y="19048"/>
                </a:cubicBezTo>
                <a:cubicBezTo>
                  <a:pt x="11146" y="19074"/>
                  <a:pt x="11147" y="19129"/>
                  <a:pt x="11184" y="19230"/>
                </a:cubicBezTo>
                <a:cubicBezTo>
                  <a:pt x="11122" y="19302"/>
                  <a:pt x="11178" y="19329"/>
                  <a:pt x="11190" y="19431"/>
                </a:cubicBezTo>
                <a:cubicBezTo>
                  <a:pt x="11193" y="19536"/>
                  <a:pt x="11157" y="19722"/>
                  <a:pt x="11165" y="19678"/>
                </a:cubicBezTo>
                <a:cubicBezTo>
                  <a:pt x="11159" y="19722"/>
                  <a:pt x="11173" y="19739"/>
                  <a:pt x="11184" y="19715"/>
                </a:cubicBezTo>
                <a:cubicBezTo>
                  <a:pt x="11186" y="19695"/>
                  <a:pt x="11189" y="19678"/>
                  <a:pt x="11196" y="19670"/>
                </a:cubicBezTo>
                <a:cubicBezTo>
                  <a:pt x="11193" y="19692"/>
                  <a:pt x="11189" y="19706"/>
                  <a:pt x="11184" y="19715"/>
                </a:cubicBezTo>
                <a:cubicBezTo>
                  <a:pt x="11180" y="19772"/>
                  <a:pt x="11191" y="19860"/>
                  <a:pt x="11199" y="19906"/>
                </a:cubicBezTo>
                <a:cubicBezTo>
                  <a:pt x="11200" y="19904"/>
                  <a:pt x="11201" y="19902"/>
                  <a:pt x="11201" y="19905"/>
                </a:cubicBezTo>
                <a:cubicBezTo>
                  <a:pt x="11209" y="19954"/>
                  <a:pt x="11205" y="19943"/>
                  <a:pt x="11199" y="19906"/>
                </a:cubicBezTo>
                <a:cubicBezTo>
                  <a:pt x="11191" y="19926"/>
                  <a:pt x="11162" y="20074"/>
                  <a:pt x="11215" y="20097"/>
                </a:cubicBezTo>
                <a:cubicBezTo>
                  <a:pt x="11226" y="19990"/>
                  <a:pt x="11248" y="19940"/>
                  <a:pt x="11243" y="19956"/>
                </a:cubicBezTo>
                <a:cubicBezTo>
                  <a:pt x="11280" y="19951"/>
                  <a:pt x="11263" y="19973"/>
                  <a:pt x="11302" y="20013"/>
                </a:cubicBezTo>
                <a:cubicBezTo>
                  <a:pt x="11272" y="19943"/>
                  <a:pt x="11329" y="19997"/>
                  <a:pt x="11350" y="19951"/>
                </a:cubicBezTo>
                <a:cubicBezTo>
                  <a:pt x="11365" y="20023"/>
                  <a:pt x="11403" y="19850"/>
                  <a:pt x="11427" y="19842"/>
                </a:cubicBezTo>
                <a:cubicBezTo>
                  <a:pt x="11440" y="19815"/>
                  <a:pt x="11467" y="19835"/>
                  <a:pt x="11528" y="19786"/>
                </a:cubicBezTo>
                <a:cubicBezTo>
                  <a:pt x="11562" y="19711"/>
                  <a:pt x="11547" y="19647"/>
                  <a:pt x="11552" y="19671"/>
                </a:cubicBezTo>
                <a:cubicBezTo>
                  <a:pt x="11510" y="19542"/>
                  <a:pt x="11583" y="19669"/>
                  <a:pt x="11545" y="19754"/>
                </a:cubicBezTo>
                <a:cubicBezTo>
                  <a:pt x="11543" y="19876"/>
                  <a:pt x="11505" y="19989"/>
                  <a:pt x="11505" y="19976"/>
                </a:cubicBezTo>
                <a:cubicBezTo>
                  <a:pt x="11569" y="20068"/>
                  <a:pt x="11543" y="20072"/>
                  <a:pt x="11515" y="20190"/>
                </a:cubicBezTo>
                <a:cubicBezTo>
                  <a:pt x="11510" y="20190"/>
                  <a:pt x="11505" y="20191"/>
                  <a:pt x="11501" y="20195"/>
                </a:cubicBezTo>
                <a:cubicBezTo>
                  <a:pt x="11515" y="20206"/>
                  <a:pt x="11521" y="20288"/>
                  <a:pt x="11574" y="20231"/>
                </a:cubicBezTo>
                <a:cubicBezTo>
                  <a:pt x="11561" y="20239"/>
                  <a:pt x="11573" y="20163"/>
                  <a:pt x="11632" y="20226"/>
                </a:cubicBezTo>
                <a:cubicBezTo>
                  <a:pt x="11677" y="20326"/>
                  <a:pt x="11643" y="20057"/>
                  <a:pt x="11692" y="20137"/>
                </a:cubicBezTo>
                <a:cubicBezTo>
                  <a:pt x="11651" y="20029"/>
                  <a:pt x="11694" y="20007"/>
                  <a:pt x="11724" y="20122"/>
                </a:cubicBezTo>
                <a:cubicBezTo>
                  <a:pt x="11704" y="20098"/>
                  <a:pt x="11781" y="20010"/>
                  <a:pt x="11813" y="20021"/>
                </a:cubicBezTo>
                <a:cubicBezTo>
                  <a:pt x="11786" y="19932"/>
                  <a:pt x="11806" y="19993"/>
                  <a:pt x="11891" y="19944"/>
                </a:cubicBezTo>
                <a:cubicBezTo>
                  <a:pt x="11953" y="19979"/>
                  <a:pt x="11903" y="20062"/>
                  <a:pt x="11956" y="19883"/>
                </a:cubicBezTo>
                <a:cubicBezTo>
                  <a:pt x="12013" y="19776"/>
                  <a:pt x="11939" y="19938"/>
                  <a:pt x="11996" y="19851"/>
                </a:cubicBezTo>
                <a:cubicBezTo>
                  <a:pt x="11965" y="19873"/>
                  <a:pt x="12016" y="19745"/>
                  <a:pt x="12103" y="19771"/>
                </a:cubicBezTo>
                <a:cubicBezTo>
                  <a:pt x="12105" y="19812"/>
                  <a:pt x="12193" y="19641"/>
                  <a:pt x="12175" y="19831"/>
                </a:cubicBezTo>
                <a:cubicBezTo>
                  <a:pt x="12233" y="19937"/>
                  <a:pt x="12196" y="19859"/>
                  <a:pt x="12257" y="19710"/>
                </a:cubicBezTo>
                <a:cubicBezTo>
                  <a:pt x="12292" y="19896"/>
                  <a:pt x="12274" y="19610"/>
                  <a:pt x="12345" y="19697"/>
                </a:cubicBezTo>
                <a:cubicBezTo>
                  <a:pt x="12428" y="19812"/>
                  <a:pt x="12426" y="19549"/>
                  <a:pt x="12433" y="19682"/>
                </a:cubicBezTo>
                <a:cubicBezTo>
                  <a:pt x="12431" y="19620"/>
                  <a:pt x="12400" y="19884"/>
                  <a:pt x="12394" y="19915"/>
                </a:cubicBezTo>
                <a:cubicBezTo>
                  <a:pt x="12392" y="20091"/>
                  <a:pt x="12397" y="20125"/>
                  <a:pt x="12356" y="20119"/>
                </a:cubicBezTo>
                <a:cubicBezTo>
                  <a:pt x="12331" y="20336"/>
                  <a:pt x="12310" y="20373"/>
                  <a:pt x="12305" y="20376"/>
                </a:cubicBezTo>
                <a:cubicBezTo>
                  <a:pt x="12307" y="20375"/>
                  <a:pt x="12312" y="20375"/>
                  <a:pt x="12320" y="20383"/>
                </a:cubicBezTo>
                <a:cubicBezTo>
                  <a:pt x="12367" y="20218"/>
                  <a:pt x="12341" y="20280"/>
                  <a:pt x="12421" y="20341"/>
                </a:cubicBezTo>
                <a:cubicBezTo>
                  <a:pt x="12449" y="20282"/>
                  <a:pt x="12482" y="20331"/>
                  <a:pt x="12523" y="20270"/>
                </a:cubicBezTo>
                <a:cubicBezTo>
                  <a:pt x="12528" y="20352"/>
                  <a:pt x="12518" y="20067"/>
                  <a:pt x="12576" y="20085"/>
                </a:cubicBezTo>
                <a:cubicBezTo>
                  <a:pt x="12598" y="19965"/>
                  <a:pt x="12641" y="20052"/>
                  <a:pt x="12631" y="20196"/>
                </a:cubicBezTo>
                <a:cubicBezTo>
                  <a:pt x="12628" y="20285"/>
                  <a:pt x="12738" y="20072"/>
                  <a:pt x="12720" y="20167"/>
                </a:cubicBezTo>
                <a:cubicBezTo>
                  <a:pt x="12733" y="20018"/>
                  <a:pt x="12763" y="19825"/>
                  <a:pt x="12759" y="20036"/>
                </a:cubicBezTo>
                <a:cubicBezTo>
                  <a:pt x="12840" y="19983"/>
                  <a:pt x="12804" y="20202"/>
                  <a:pt x="12790" y="20174"/>
                </a:cubicBezTo>
                <a:cubicBezTo>
                  <a:pt x="12787" y="20298"/>
                  <a:pt x="12815" y="20204"/>
                  <a:pt x="12787" y="20349"/>
                </a:cubicBezTo>
                <a:cubicBezTo>
                  <a:pt x="12768" y="20397"/>
                  <a:pt x="12782" y="20436"/>
                  <a:pt x="12799" y="20465"/>
                </a:cubicBezTo>
                <a:cubicBezTo>
                  <a:pt x="12804" y="20446"/>
                  <a:pt x="12811" y="20422"/>
                  <a:pt x="12819" y="20393"/>
                </a:cubicBezTo>
                <a:cubicBezTo>
                  <a:pt x="12765" y="20394"/>
                  <a:pt x="12880" y="20325"/>
                  <a:pt x="12839" y="20532"/>
                </a:cubicBezTo>
                <a:cubicBezTo>
                  <a:pt x="12841" y="20617"/>
                  <a:pt x="12847" y="20511"/>
                  <a:pt x="12872" y="20745"/>
                </a:cubicBezTo>
                <a:cubicBezTo>
                  <a:pt x="12904" y="20812"/>
                  <a:pt x="12822" y="20721"/>
                  <a:pt x="12902" y="20865"/>
                </a:cubicBezTo>
                <a:cubicBezTo>
                  <a:pt x="12912" y="20828"/>
                  <a:pt x="12916" y="20806"/>
                  <a:pt x="12917" y="20789"/>
                </a:cubicBezTo>
                <a:cubicBezTo>
                  <a:pt x="12891" y="20765"/>
                  <a:pt x="12923" y="20729"/>
                  <a:pt x="12917" y="20789"/>
                </a:cubicBezTo>
                <a:cubicBezTo>
                  <a:pt x="12925" y="20795"/>
                  <a:pt x="12936" y="20801"/>
                  <a:pt x="12955" y="20802"/>
                </a:cubicBezTo>
                <a:cubicBezTo>
                  <a:pt x="13036" y="20733"/>
                  <a:pt x="12898" y="20791"/>
                  <a:pt x="13040" y="20689"/>
                </a:cubicBezTo>
                <a:cubicBezTo>
                  <a:pt x="13088" y="20769"/>
                  <a:pt x="13045" y="20593"/>
                  <a:pt x="13096" y="20604"/>
                </a:cubicBezTo>
                <a:cubicBezTo>
                  <a:pt x="13081" y="20555"/>
                  <a:pt x="13073" y="20538"/>
                  <a:pt x="13069" y="20534"/>
                </a:cubicBezTo>
                <a:cubicBezTo>
                  <a:pt x="13067" y="20536"/>
                  <a:pt x="13066" y="20530"/>
                  <a:pt x="13069" y="20534"/>
                </a:cubicBezTo>
                <a:cubicBezTo>
                  <a:pt x="13071" y="20533"/>
                  <a:pt x="13074" y="20527"/>
                  <a:pt x="13077" y="20508"/>
                </a:cubicBezTo>
                <a:cubicBezTo>
                  <a:pt x="13097" y="20547"/>
                  <a:pt x="13091" y="20572"/>
                  <a:pt x="13158" y="20678"/>
                </a:cubicBezTo>
                <a:cubicBezTo>
                  <a:pt x="13175" y="20620"/>
                  <a:pt x="13182" y="20693"/>
                  <a:pt x="13199" y="20642"/>
                </a:cubicBezTo>
                <a:cubicBezTo>
                  <a:pt x="13218" y="20668"/>
                  <a:pt x="13250" y="20810"/>
                  <a:pt x="13255" y="20739"/>
                </a:cubicBezTo>
                <a:cubicBezTo>
                  <a:pt x="13278" y="20914"/>
                  <a:pt x="13283" y="20947"/>
                  <a:pt x="13304" y="20970"/>
                </a:cubicBezTo>
                <a:cubicBezTo>
                  <a:pt x="13347" y="20990"/>
                  <a:pt x="13345" y="20927"/>
                  <a:pt x="13329" y="20919"/>
                </a:cubicBezTo>
                <a:cubicBezTo>
                  <a:pt x="13326" y="20918"/>
                  <a:pt x="13322" y="20917"/>
                  <a:pt x="13320" y="20919"/>
                </a:cubicBezTo>
                <a:cubicBezTo>
                  <a:pt x="13323" y="20917"/>
                  <a:pt x="13326" y="20918"/>
                  <a:pt x="13329" y="20919"/>
                </a:cubicBezTo>
                <a:cubicBezTo>
                  <a:pt x="13362" y="20927"/>
                  <a:pt x="13393" y="21131"/>
                  <a:pt x="13394" y="21081"/>
                </a:cubicBezTo>
                <a:cubicBezTo>
                  <a:pt x="13430" y="21118"/>
                  <a:pt x="13441" y="21044"/>
                  <a:pt x="13416" y="21182"/>
                </a:cubicBezTo>
                <a:cubicBezTo>
                  <a:pt x="13433" y="21202"/>
                  <a:pt x="13461" y="21275"/>
                  <a:pt x="13472" y="21417"/>
                </a:cubicBezTo>
                <a:cubicBezTo>
                  <a:pt x="13469" y="21391"/>
                  <a:pt x="13477" y="21469"/>
                  <a:pt x="13488" y="21503"/>
                </a:cubicBezTo>
                <a:cubicBezTo>
                  <a:pt x="13492" y="21487"/>
                  <a:pt x="13499" y="21467"/>
                  <a:pt x="13509" y="21440"/>
                </a:cubicBezTo>
                <a:cubicBezTo>
                  <a:pt x="13504" y="21528"/>
                  <a:pt x="13496" y="21527"/>
                  <a:pt x="13488" y="21503"/>
                </a:cubicBezTo>
                <a:cubicBezTo>
                  <a:pt x="13460" y="21600"/>
                  <a:pt x="13545" y="21458"/>
                  <a:pt x="13585" y="21383"/>
                </a:cubicBezTo>
                <a:cubicBezTo>
                  <a:pt x="13545" y="21169"/>
                  <a:pt x="13641" y="21381"/>
                  <a:pt x="13668" y="21309"/>
                </a:cubicBezTo>
                <a:cubicBezTo>
                  <a:pt x="13723" y="21185"/>
                  <a:pt x="13723" y="21102"/>
                  <a:pt x="13743" y="21236"/>
                </a:cubicBezTo>
                <a:cubicBezTo>
                  <a:pt x="13734" y="21090"/>
                  <a:pt x="13682" y="21085"/>
                  <a:pt x="13736" y="21075"/>
                </a:cubicBezTo>
                <a:cubicBezTo>
                  <a:pt x="13739" y="20978"/>
                  <a:pt x="13806" y="21106"/>
                  <a:pt x="13823" y="21150"/>
                </a:cubicBezTo>
                <a:cubicBezTo>
                  <a:pt x="13840" y="21081"/>
                  <a:pt x="13927" y="20817"/>
                  <a:pt x="13905" y="21057"/>
                </a:cubicBezTo>
                <a:cubicBezTo>
                  <a:pt x="13950" y="20850"/>
                  <a:pt x="13859" y="21297"/>
                  <a:pt x="13986" y="21002"/>
                </a:cubicBezTo>
                <a:cubicBezTo>
                  <a:pt x="14003" y="20852"/>
                  <a:pt x="14042" y="20823"/>
                  <a:pt x="14061" y="20826"/>
                </a:cubicBezTo>
                <a:cubicBezTo>
                  <a:pt x="14084" y="20717"/>
                  <a:pt x="14133" y="20544"/>
                  <a:pt x="14136" y="20737"/>
                </a:cubicBezTo>
                <a:cubicBezTo>
                  <a:pt x="14188" y="20794"/>
                  <a:pt x="14195" y="20551"/>
                  <a:pt x="14216" y="20633"/>
                </a:cubicBezTo>
                <a:cubicBezTo>
                  <a:pt x="14286" y="20737"/>
                  <a:pt x="14199" y="20592"/>
                  <a:pt x="14276" y="20520"/>
                </a:cubicBezTo>
                <a:cubicBezTo>
                  <a:pt x="14260" y="20549"/>
                  <a:pt x="14271" y="20393"/>
                  <a:pt x="14322" y="20424"/>
                </a:cubicBezTo>
                <a:cubicBezTo>
                  <a:pt x="14329" y="20479"/>
                  <a:pt x="14358" y="20232"/>
                  <a:pt x="14379" y="20298"/>
                </a:cubicBezTo>
                <a:cubicBezTo>
                  <a:pt x="14365" y="20078"/>
                  <a:pt x="14394" y="20118"/>
                  <a:pt x="14435" y="20155"/>
                </a:cubicBezTo>
                <a:cubicBezTo>
                  <a:pt x="14445" y="20211"/>
                  <a:pt x="14534" y="20162"/>
                  <a:pt x="14496" y="20007"/>
                </a:cubicBezTo>
                <a:cubicBezTo>
                  <a:pt x="14496" y="19905"/>
                  <a:pt x="14560" y="19984"/>
                  <a:pt x="14556" y="19865"/>
                </a:cubicBezTo>
                <a:cubicBezTo>
                  <a:pt x="14613" y="19734"/>
                  <a:pt x="14606" y="19671"/>
                  <a:pt x="14681" y="19615"/>
                </a:cubicBezTo>
                <a:cubicBezTo>
                  <a:pt x="14689" y="19704"/>
                  <a:pt x="14819" y="19620"/>
                  <a:pt x="14808" y="19456"/>
                </a:cubicBezTo>
                <a:cubicBezTo>
                  <a:pt x="14861" y="19437"/>
                  <a:pt x="14821" y="19380"/>
                  <a:pt x="14868" y="19409"/>
                </a:cubicBezTo>
                <a:cubicBezTo>
                  <a:pt x="14876" y="19510"/>
                  <a:pt x="14902" y="19462"/>
                  <a:pt x="14918" y="19413"/>
                </a:cubicBezTo>
                <a:cubicBezTo>
                  <a:pt x="14917" y="19365"/>
                  <a:pt x="14919" y="19329"/>
                  <a:pt x="14929" y="19363"/>
                </a:cubicBezTo>
                <a:cubicBezTo>
                  <a:pt x="14937" y="19343"/>
                  <a:pt x="14930" y="19378"/>
                  <a:pt x="14918" y="19413"/>
                </a:cubicBezTo>
                <a:cubicBezTo>
                  <a:pt x="14919" y="19465"/>
                  <a:pt x="14926" y="19532"/>
                  <a:pt x="14934" y="19535"/>
                </a:cubicBezTo>
                <a:cubicBezTo>
                  <a:pt x="14933" y="19615"/>
                  <a:pt x="14948" y="19750"/>
                  <a:pt x="14940" y="19705"/>
                </a:cubicBezTo>
                <a:cubicBezTo>
                  <a:pt x="14947" y="19760"/>
                  <a:pt x="14949" y="19792"/>
                  <a:pt x="14948" y="19815"/>
                </a:cubicBezTo>
                <a:cubicBezTo>
                  <a:pt x="14951" y="19783"/>
                  <a:pt x="14970" y="19693"/>
                  <a:pt x="14992" y="19631"/>
                </a:cubicBezTo>
                <a:cubicBezTo>
                  <a:pt x="15014" y="19570"/>
                  <a:pt x="15039" y="19537"/>
                  <a:pt x="15056" y="19622"/>
                </a:cubicBezTo>
                <a:cubicBezTo>
                  <a:pt x="15089" y="19621"/>
                  <a:pt x="15076" y="19283"/>
                  <a:pt x="15102" y="19435"/>
                </a:cubicBezTo>
                <a:cubicBezTo>
                  <a:pt x="15058" y="19278"/>
                  <a:pt x="15052" y="19419"/>
                  <a:pt x="15156" y="19384"/>
                </a:cubicBezTo>
                <a:cubicBezTo>
                  <a:pt x="15118" y="19446"/>
                  <a:pt x="15193" y="19252"/>
                  <a:pt x="15167" y="19216"/>
                </a:cubicBezTo>
                <a:cubicBezTo>
                  <a:pt x="15106" y="19057"/>
                  <a:pt x="15226" y="19311"/>
                  <a:pt x="15230" y="19205"/>
                </a:cubicBezTo>
                <a:cubicBezTo>
                  <a:pt x="15314" y="18911"/>
                  <a:pt x="15379" y="19337"/>
                  <a:pt x="15283" y="19107"/>
                </a:cubicBezTo>
                <a:cubicBezTo>
                  <a:pt x="15182" y="19309"/>
                  <a:pt x="15254" y="19213"/>
                  <a:pt x="15355" y="19060"/>
                </a:cubicBezTo>
                <a:cubicBezTo>
                  <a:pt x="15455" y="19119"/>
                  <a:pt x="15366" y="18844"/>
                  <a:pt x="15419" y="19017"/>
                </a:cubicBezTo>
                <a:cubicBezTo>
                  <a:pt x="15473" y="18959"/>
                  <a:pt x="15542" y="19043"/>
                  <a:pt x="15467" y="19039"/>
                </a:cubicBezTo>
                <a:cubicBezTo>
                  <a:pt x="15421" y="18845"/>
                  <a:pt x="15489" y="19375"/>
                  <a:pt x="15542" y="19058"/>
                </a:cubicBezTo>
                <a:cubicBezTo>
                  <a:pt x="15622" y="19024"/>
                  <a:pt x="15659" y="18943"/>
                  <a:pt x="15589" y="19033"/>
                </a:cubicBezTo>
                <a:cubicBezTo>
                  <a:pt x="15693" y="18805"/>
                  <a:pt x="15635" y="19128"/>
                  <a:pt x="15647" y="19154"/>
                </a:cubicBezTo>
                <a:cubicBezTo>
                  <a:pt x="15724" y="18943"/>
                  <a:pt x="15694" y="19303"/>
                  <a:pt x="15708" y="19250"/>
                </a:cubicBezTo>
                <a:cubicBezTo>
                  <a:pt x="15712" y="19124"/>
                  <a:pt x="15699" y="19091"/>
                  <a:pt x="15758" y="19241"/>
                </a:cubicBezTo>
                <a:cubicBezTo>
                  <a:pt x="15810" y="19022"/>
                  <a:pt x="15891" y="19372"/>
                  <a:pt x="15811" y="19173"/>
                </a:cubicBezTo>
                <a:cubicBezTo>
                  <a:pt x="15861" y="19269"/>
                  <a:pt x="15927" y="19390"/>
                  <a:pt x="15865" y="19016"/>
                </a:cubicBezTo>
                <a:cubicBezTo>
                  <a:pt x="16040" y="19343"/>
                  <a:pt x="15852" y="18692"/>
                  <a:pt x="15918" y="18859"/>
                </a:cubicBezTo>
                <a:cubicBezTo>
                  <a:pt x="15955" y="18823"/>
                  <a:pt x="15947" y="19056"/>
                  <a:pt x="15950" y="19054"/>
                </a:cubicBezTo>
                <a:cubicBezTo>
                  <a:pt x="15966" y="19261"/>
                  <a:pt x="15946" y="19397"/>
                  <a:pt x="15982" y="19250"/>
                </a:cubicBezTo>
                <a:cubicBezTo>
                  <a:pt x="15967" y="19231"/>
                  <a:pt x="16085" y="19313"/>
                  <a:pt x="16020" y="19505"/>
                </a:cubicBezTo>
                <a:cubicBezTo>
                  <a:pt x="16104" y="19509"/>
                  <a:pt x="16065" y="19389"/>
                  <a:pt x="16040" y="19520"/>
                </a:cubicBezTo>
                <a:cubicBezTo>
                  <a:pt x="16093" y="19658"/>
                  <a:pt x="15989" y="19649"/>
                  <a:pt x="16099" y="19650"/>
                </a:cubicBezTo>
                <a:cubicBezTo>
                  <a:pt x="16146" y="19890"/>
                  <a:pt x="16167" y="19494"/>
                  <a:pt x="16196" y="19622"/>
                </a:cubicBezTo>
                <a:cubicBezTo>
                  <a:pt x="16175" y="19516"/>
                  <a:pt x="16200" y="19537"/>
                  <a:pt x="16259" y="19565"/>
                </a:cubicBezTo>
                <a:cubicBezTo>
                  <a:pt x="16244" y="19356"/>
                  <a:pt x="16310" y="19501"/>
                  <a:pt x="16314" y="19471"/>
                </a:cubicBezTo>
                <a:cubicBezTo>
                  <a:pt x="16251" y="19468"/>
                  <a:pt x="16301" y="19626"/>
                  <a:pt x="16363" y="19414"/>
                </a:cubicBezTo>
                <a:cubicBezTo>
                  <a:pt x="16313" y="19515"/>
                  <a:pt x="16428" y="19196"/>
                  <a:pt x="16447" y="19302"/>
                </a:cubicBezTo>
                <a:cubicBezTo>
                  <a:pt x="16470" y="19013"/>
                  <a:pt x="16515" y="19330"/>
                  <a:pt x="16516" y="19273"/>
                </a:cubicBezTo>
                <a:cubicBezTo>
                  <a:pt x="16652" y="19354"/>
                  <a:pt x="16496" y="19010"/>
                  <a:pt x="16592" y="19221"/>
                </a:cubicBezTo>
                <a:cubicBezTo>
                  <a:pt x="16585" y="19364"/>
                  <a:pt x="16558" y="19351"/>
                  <a:pt x="16659" y="19219"/>
                </a:cubicBezTo>
                <a:cubicBezTo>
                  <a:pt x="16680" y="19379"/>
                  <a:pt x="16672" y="19403"/>
                  <a:pt x="16674" y="19392"/>
                </a:cubicBezTo>
                <a:cubicBezTo>
                  <a:pt x="16675" y="19380"/>
                  <a:pt x="16685" y="19332"/>
                  <a:pt x="16741" y="19347"/>
                </a:cubicBezTo>
                <a:cubicBezTo>
                  <a:pt x="16787" y="19067"/>
                  <a:pt x="16817" y="19270"/>
                  <a:pt x="16796" y="19449"/>
                </a:cubicBezTo>
                <a:cubicBezTo>
                  <a:pt x="16736" y="19521"/>
                  <a:pt x="16898" y="19654"/>
                  <a:pt x="16834" y="19684"/>
                </a:cubicBezTo>
                <a:cubicBezTo>
                  <a:pt x="16866" y="19671"/>
                  <a:pt x="16842" y="19859"/>
                  <a:pt x="16839" y="19585"/>
                </a:cubicBezTo>
                <a:cubicBezTo>
                  <a:pt x="16848" y="19625"/>
                  <a:pt x="16895" y="19743"/>
                  <a:pt x="16901" y="19764"/>
                </a:cubicBezTo>
                <a:cubicBezTo>
                  <a:pt x="16884" y="19800"/>
                  <a:pt x="17001" y="19538"/>
                  <a:pt x="16898" y="19816"/>
                </a:cubicBezTo>
                <a:cubicBezTo>
                  <a:pt x="16940" y="20056"/>
                  <a:pt x="16999" y="20047"/>
                  <a:pt x="16973" y="19922"/>
                </a:cubicBezTo>
                <a:cubicBezTo>
                  <a:pt x="17027" y="19715"/>
                  <a:pt x="16984" y="20229"/>
                  <a:pt x="16951" y="20007"/>
                </a:cubicBezTo>
                <a:cubicBezTo>
                  <a:pt x="16959" y="19918"/>
                  <a:pt x="16963" y="20269"/>
                  <a:pt x="16949" y="20044"/>
                </a:cubicBezTo>
                <a:cubicBezTo>
                  <a:pt x="16825" y="20148"/>
                  <a:pt x="16988" y="20182"/>
                  <a:pt x="17035" y="20114"/>
                </a:cubicBezTo>
                <a:cubicBezTo>
                  <a:pt x="17054" y="20224"/>
                  <a:pt x="17074" y="20128"/>
                  <a:pt x="17124" y="20207"/>
                </a:cubicBezTo>
                <a:cubicBezTo>
                  <a:pt x="17213" y="20176"/>
                  <a:pt x="17182" y="20539"/>
                  <a:pt x="17186" y="20114"/>
                </a:cubicBezTo>
                <a:cubicBezTo>
                  <a:pt x="17088" y="20050"/>
                  <a:pt x="17251" y="19988"/>
                  <a:pt x="17232" y="20046"/>
                </a:cubicBezTo>
                <a:cubicBezTo>
                  <a:pt x="17186" y="20291"/>
                  <a:pt x="17376" y="19912"/>
                  <a:pt x="17326" y="19938"/>
                </a:cubicBezTo>
                <a:cubicBezTo>
                  <a:pt x="17310" y="20113"/>
                  <a:pt x="17422" y="19761"/>
                  <a:pt x="17396" y="19820"/>
                </a:cubicBezTo>
                <a:cubicBezTo>
                  <a:pt x="17455" y="19789"/>
                  <a:pt x="17529" y="19689"/>
                  <a:pt x="17467" y="19701"/>
                </a:cubicBezTo>
                <a:cubicBezTo>
                  <a:pt x="17524" y="19790"/>
                  <a:pt x="17458" y="20282"/>
                  <a:pt x="17475" y="19927"/>
                </a:cubicBezTo>
                <a:cubicBezTo>
                  <a:pt x="17483" y="20139"/>
                  <a:pt x="17498" y="19967"/>
                  <a:pt x="17484" y="20151"/>
                </a:cubicBezTo>
                <a:cubicBezTo>
                  <a:pt x="17394" y="20236"/>
                  <a:pt x="17478" y="20336"/>
                  <a:pt x="17499" y="20387"/>
                </a:cubicBezTo>
                <a:cubicBezTo>
                  <a:pt x="17557" y="20186"/>
                  <a:pt x="17577" y="20355"/>
                  <a:pt x="17521" y="20632"/>
                </a:cubicBezTo>
                <a:cubicBezTo>
                  <a:pt x="17564" y="20695"/>
                  <a:pt x="17449" y="20447"/>
                  <a:pt x="17530" y="20729"/>
                </a:cubicBezTo>
                <a:cubicBezTo>
                  <a:pt x="17489" y="20717"/>
                  <a:pt x="17446" y="20851"/>
                  <a:pt x="17540" y="20668"/>
                </a:cubicBezTo>
                <a:cubicBezTo>
                  <a:pt x="17544" y="20549"/>
                  <a:pt x="17610" y="20429"/>
                  <a:pt x="17599" y="20354"/>
                </a:cubicBezTo>
                <a:cubicBezTo>
                  <a:pt x="17683" y="20004"/>
                  <a:pt x="17690" y="20123"/>
                  <a:pt x="17715" y="20101"/>
                </a:cubicBezTo>
                <a:cubicBezTo>
                  <a:pt x="17740" y="19955"/>
                  <a:pt x="17810" y="20006"/>
                  <a:pt x="17837" y="20081"/>
                </a:cubicBezTo>
                <a:cubicBezTo>
                  <a:pt x="17846" y="20135"/>
                  <a:pt x="17864" y="20063"/>
                  <a:pt x="17887" y="20028"/>
                </a:cubicBezTo>
                <a:cubicBezTo>
                  <a:pt x="17910" y="19991"/>
                  <a:pt x="17924" y="19955"/>
                  <a:pt x="17967" y="20182"/>
                </a:cubicBezTo>
                <a:cubicBezTo>
                  <a:pt x="18061" y="20278"/>
                  <a:pt x="18020" y="20258"/>
                  <a:pt x="17946" y="20206"/>
                </a:cubicBezTo>
                <a:cubicBezTo>
                  <a:pt x="17907" y="20178"/>
                  <a:pt x="18078" y="20299"/>
                  <a:pt x="18041" y="20243"/>
                </a:cubicBezTo>
                <a:cubicBezTo>
                  <a:pt x="18181" y="20267"/>
                  <a:pt x="18059" y="20453"/>
                  <a:pt x="18062" y="20204"/>
                </a:cubicBezTo>
                <a:cubicBezTo>
                  <a:pt x="18098" y="19902"/>
                  <a:pt x="17993" y="20175"/>
                  <a:pt x="18075" y="20044"/>
                </a:cubicBezTo>
                <a:cubicBezTo>
                  <a:pt x="18117" y="19736"/>
                  <a:pt x="18181" y="19935"/>
                  <a:pt x="18126" y="20098"/>
                </a:cubicBezTo>
                <a:cubicBezTo>
                  <a:pt x="18181" y="19790"/>
                  <a:pt x="18140" y="19855"/>
                  <a:pt x="18134" y="19994"/>
                </a:cubicBezTo>
                <a:cubicBezTo>
                  <a:pt x="18155" y="20165"/>
                  <a:pt x="18222" y="20073"/>
                  <a:pt x="18215" y="20058"/>
                </a:cubicBezTo>
                <a:cubicBezTo>
                  <a:pt x="18267" y="20012"/>
                  <a:pt x="18255" y="20157"/>
                  <a:pt x="18265" y="20168"/>
                </a:cubicBezTo>
                <a:cubicBezTo>
                  <a:pt x="18405" y="20165"/>
                  <a:pt x="18328" y="20088"/>
                  <a:pt x="18317" y="20173"/>
                </a:cubicBezTo>
                <a:cubicBezTo>
                  <a:pt x="18340" y="20000"/>
                  <a:pt x="18456" y="20221"/>
                  <a:pt x="18380" y="20345"/>
                </a:cubicBezTo>
                <a:cubicBezTo>
                  <a:pt x="18404" y="20062"/>
                  <a:pt x="18274" y="20446"/>
                  <a:pt x="18362" y="20480"/>
                </a:cubicBezTo>
                <a:cubicBezTo>
                  <a:pt x="18320" y="20723"/>
                  <a:pt x="18406" y="20584"/>
                  <a:pt x="18414" y="20438"/>
                </a:cubicBezTo>
                <a:cubicBezTo>
                  <a:pt x="18474" y="20245"/>
                  <a:pt x="18489" y="20611"/>
                  <a:pt x="18512" y="20390"/>
                </a:cubicBezTo>
                <a:cubicBezTo>
                  <a:pt x="18552" y="20441"/>
                  <a:pt x="18423" y="20375"/>
                  <a:pt x="18532" y="20290"/>
                </a:cubicBezTo>
                <a:cubicBezTo>
                  <a:pt x="18455" y="20179"/>
                  <a:pt x="18543" y="20169"/>
                  <a:pt x="18603" y="20319"/>
                </a:cubicBezTo>
                <a:cubicBezTo>
                  <a:pt x="18523" y="20330"/>
                  <a:pt x="18648" y="20276"/>
                  <a:pt x="18717" y="20330"/>
                </a:cubicBezTo>
                <a:cubicBezTo>
                  <a:pt x="18657" y="20392"/>
                  <a:pt x="18788" y="20337"/>
                  <a:pt x="18784" y="20397"/>
                </a:cubicBezTo>
                <a:cubicBezTo>
                  <a:pt x="18783" y="20303"/>
                  <a:pt x="18812" y="20248"/>
                  <a:pt x="18799" y="20187"/>
                </a:cubicBezTo>
                <a:cubicBezTo>
                  <a:pt x="18810" y="20105"/>
                  <a:pt x="18828" y="20179"/>
                  <a:pt x="18860" y="20520"/>
                </a:cubicBezTo>
                <a:cubicBezTo>
                  <a:pt x="18928" y="20660"/>
                  <a:pt x="18966" y="20715"/>
                  <a:pt x="18972" y="20737"/>
                </a:cubicBezTo>
                <a:cubicBezTo>
                  <a:pt x="19013" y="20704"/>
                  <a:pt x="19011" y="20667"/>
                  <a:pt x="18989" y="20554"/>
                </a:cubicBezTo>
                <a:cubicBezTo>
                  <a:pt x="18969" y="20575"/>
                  <a:pt x="19037" y="20571"/>
                  <a:pt x="19047" y="20609"/>
                </a:cubicBezTo>
                <a:cubicBezTo>
                  <a:pt x="19036" y="20560"/>
                  <a:pt x="19062" y="20544"/>
                  <a:pt x="19116" y="20599"/>
                </a:cubicBezTo>
                <a:cubicBezTo>
                  <a:pt x="19149" y="20369"/>
                  <a:pt x="19169" y="20458"/>
                  <a:pt x="19188" y="20517"/>
                </a:cubicBezTo>
                <a:cubicBezTo>
                  <a:pt x="19223" y="20545"/>
                  <a:pt x="19216" y="20610"/>
                  <a:pt x="19216" y="20636"/>
                </a:cubicBezTo>
                <a:cubicBezTo>
                  <a:pt x="19225" y="20720"/>
                  <a:pt x="19184" y="20852"/>
                  <a:pt x="19227" y="20707"/>
                </a:cubicBezTo>
                <a:cubicBezTo>
                  <a:pt x="19286" y="20724"/>
                  <a:pt x="19292" y="20721"/>
                  <a:pt x="19313" y="20665"/>
                </a:cubicBezTo>
                <a:cubicBezTo>
                  <a:pt x="19372" y="20838"/>
                  <a:pt x="19323" y="20474"/>
                  <a:pt x="19325" y="20618"/>
                </a:cubicBezTo>
                <a:cubicBezTo>
                  <a:pt x="19356" y="20524"/>
                  <a:pt x="19369" y="20364"/>
                  <a:pt x="19360" y="20393"/>
                </a:cubicBezTo>
                <a:cubicBezTo>
                  <a:pt x="19399" y="20432"/>
                  <a:pt x="19376" y="20549"/>
                  <a:pt x="19399" y="20425"/>
                </a:cubicBezTo>
                <a:cubicBezTo>
                  <a:pt x="19377" y="20577"/>
                  <a:pt x="19399" y="20559"/>
                  <a:pt x="19429" y="20477"/>
                </a:cubicBezTo>
                <a:cubicBezTo>
                  <a:pt x="19503" y="20458"/>
                  <a:pt x="19477" y="20357"/>
                  <a:pt x="19494" y="20331"/>
                </a:cubicBezTo>
                <a:cubicBezTo>
                  <a:pt x="19515" y="20302"/>
                  <a:pt x="19558" y="20438"/>
                  <a:pt x="19559" y="20391"/>
                </a:cubicBezTo>
                <a:cubicBezTo>
                  <a:pt x="19586" y="20426"/>
                  <a:pt x="19595" y="20431"/>
                  <a:pt x="19555" y="20327"/>
                </a:cubicBezTo>
                <a:cubicBezTo>
                  <a:pt x="19518" y="20308"/>
                  <a:pt x="19643" y="20353"/>
                  <a:pt x="19618" y="20359"/>
                </a:cubicBezTo>
                <a:cubicBezTo>
                  <a:pt x="19589" y="20110"/>
                  <a:pt x="19633" y="20247"/>
                  <a:pt x="19665" y="20131"/>
                </a:cubicBezTo>
                <a:cubicBezTo>
                  <a:pt x="19606" y="19865"/>
                  <a:pt x="19652" y="19878"/>
                  <a:pt x="19673" y="19971"/>
                </a:cubicBezTo>
                <a:cubicBezTo>
                  <a:pt x="19750" y="19928"/>
                  <a:pt x="19710" y="19782"/>
                  <a:pt x="19734" y="19966"/>
                </a:cubicBezTo>
                <a:cubicBezTo>
                  <a:pt x="19758" y="19904"/>
                  <a:pt x="19669" y="19967"/>
                  <a:pt x="19820" y="19878"/>
                </a:cubicBezTo>
                <a:cubicBezTo>
                  <a:pt x="19786" y="19700"/>
                  <a:pt x="19832" y="19729"/>
                  <a:pt x="19881" y="19868"/>
                </a:cubicBezTo>
                <a:cubicBezTo>
                  <a:pt x="19891" y="19916"/>
                  <a:pt x="19898" y="20106"/>
                  <a:pt x="19964" y="20008"/>
                </a:cubicBezTo>
                <a:cubicBezTo>
                  <a:pt x="20027" y="20140"/>
                  <a:pt x="19944" y="19653"/>
                  <a:pt x="19954" y="19902"/>
                </a:cubicBezTo>
                <a:cubicBezTo>
                  <a:pt x="19977" y="19993"/>
                  <a:pt x="20076" y="19900"/>
                  <a:pt x="19957" y="19890"/>
                </a:cubicBezTo>
                <a:cubicBezTo>
                  <a:pt x="19909" y="19760"/>
                  <a:pt x="20047" y="19863"/>
                  <a:pt x="20001" y="19727"/>
                </a:cubicBezTo>
                <a:cubicBezTo>
                  <a:pt x="19960" y="19889"/>
                  <a:pt x="20020" y="19941"/>
                  <a:pt x="20098" y="19834"/>
                </a:cubicBezTo>
                <a:cubicBezTo>
                  <a:pt x="20213" y="19777"/>
                  <a:pt x="20148" y="20116"/>
                  <a:pt x="20182" y="19960"/>
                </a:cubicBezTo>
                <a:cubicBezTo>
                  <a:pt x="20109" y="20112"/>
                  <a:pt x="20207" y="19928"/>
                  <a:pt x="20194" y="19941"/>
                </a:cubicBezTo>
                <a:cubicBezTo>
                  <a:pt x="20150" y="19876"/>
                  <a:pt x="20019" y="20064"/>
                  <a:pt x="20162" y="20170"/>
                </a:cubicBezTo>
                <a:cubicBezTo>
                  <a:pt x="20299" y="20129"/>
                  <a:pt x="20195" y="20274"/>
                  <a:pt x="20166" y="20163"/>
                </a:cubicBezTo>
                <a:cubicBezTo>
                  <a:pt x="20184" y="20476"/>
                  <a:pt x="20191" y="20172"/>
                  <a:pt x="20234" y="20040"/>
                </a:cubicBezTo>
                <a:cubicBezTo>
                  <a:pt x="20348" y="19954"/>
                  <a:pt x="20223" y="19956"/>
                  <a:pt x="20312" y="19934"/>
                </a:cubicBezTo>
                <a:cubicBezTo>
                  <a:pt x="20269" y="19946"/>
                  <a:pt x="20274" y="19956"/>
                  <a:pt x="20330" y="19962"/>
                </a:cubicBezTo>
                <a:cubicBezTo>
                  <a:pt x="20393" y="19773"/>
                  <a:pt x="20340" y="19910"/>
                  <a:pt x="20403" y="19840"/>
                </a:cubicBezTo>
                <a:cubicBezTo>
                  <a:pt x="20449" y="19631"/>
                  <a:pt x="20467" y="19734"/>
                  <a:pt x="20452" y="19926"/>
                </a:cubicBezTo>
                <a:cubicBezTo>
                  <a:pt x="20502" y="19994"/>
                  <a:pt x="20523" y="20156"/>
                  <a:pt x="20444" y="20084"/>
                </a:cubicBezTo>
                <a:cubicBezTo>
                  <a:pt x="20559" y="20200"/>
                  <a:pt x="20428" y="20310"/>
                  <a:pt x="20488" y="20217"/>
                </a:cubicBezTo>
                <a:cubicBezTo>
                  <a:pt x="20532" y="19971"/>
                  <a:pt x="20634" y="20175"/>
                  <a:pt x="20541" y="20097"/>
                </a:cubicBezTo>
                <a:cubicBezTo>
                  <a:pt x="20603" y="20044"/>
                  <a:pt x="20598" y="20214"/>
                  <a:pt x="20595" y="20182"/>
                </a:cubicBezTo>
                <a:cubicBezTo>
                  <a:pt x="20602" y="20475"/>
                  <a:pt x="20579" y="20302"/>
                  <a:pt x="20659" y="20128"/>
                </a:cubicBezTo>
                <a:cubicBezTo>
                  <a:pt x="20568" y="20058"/>
                  <a:pt x="20773" y="20153"/>
                  <a:pt x="20724" y="20018"/>
                </a:cubicBezTo>
                <a:cubicBezTo>
                  <a:pt x="20736" y="19803"/>
                  <a:pt x="20774" y="19744"/>
                  <a:pt x="20771" y="19860"/>
                </a:cubicBezTo>
                <a:cubicBezTo>
                  <a:pt x="20743" y="19653"/>
                  <a:pt x="20814" y="19654"/>
                  <a:pt x="20821" y="19704"/>
                </a:cubicBezTo>
                <a:cubicBezTo>
                  <a:pt x="20887" y="19678"/>
                  <a:pt x="20796" y="19627"/>
                  <a:pt x="20876" y="19525"/>
                </a:cubicBezTo>
                <a:cubicBezTo>
                  <a:pt x="20789" y="19559"/>
                  <a:pt x="20794" y="19246"/>
                  <a:pt x="20932" y="19345"/>
                </a:cubicBezTo>
                <a:cubicBezTo>
                  <a:pt x="20913" y="19350"/>
                  <a:pt x="21034" y="19221"/>
                  <a:pt x="21009" y="19499"/>
                </a:cubicBezTo>
                <a:cubicBezTo>
                  <a:pt x="21024" y="19661"/>
                  <a:pt x="21082" y="19682"/>
                  <a:pt x="21091" y="19599"/>
                </a:cubicBezTo>
                <a:cubicBezTo>
                  <a:pt x="21147" y="19465"/>
                  <a:pt x="20977" y="19622"/>
                  <a:pt x="21151" y="19586"/>
                </a:cubicBezTo>
                <a:cubicBezTo>
                  <a:pt x="21100" y="19132"/>
                  <a:pt x="21237" y="19446"/>
                  <a:pt x="21168" y="19457"/>
                </a:cubicBezTo>
                <a:cubicBezTo>
                  <a:pt x="21187" y="19503"/>
                  <a:pt x="21175" y="19122"/>
                  <a:pt x="21166" y="19242"/>
                </a:cubicBezTo>
                <a:cubicBezTo>
                  <a:pt x="21141" y="19266"/>
                  <a:pt x="21207" y="19135"/>
                  <a:pt x="21175" y="19117"/>
                </a:cubicBezTo>
                <a:cubicBezTo>
                  <a:pt x="21169" y="18750"/>
                  <a:pt x="21113" y="18691"/>
                  <a:pt x="21195" y="18856"/>
                </a:cubicBezTo>
                <a:cubicBezTo>
                  <a:pt x="21237" y="18692"/>
                  <a:pt x="21237" y="18800"/>
                  <a:pt x="21206" y="18657"/>
                </a:cubicBezTo>
                <a:cubicBezTo>
                  <a:pt x="21180" y="18708"/>
                  <a:pt x="21237" y="18571"/>
                  <a:pt x="21233" y="18377"/>
                </a:cubicBezTo>
                <a:cubicBezTo>
                  <a:pt x="21181" y="18241"/>
                  <a:pt x="21271" y="18183"/>
                  <a:pt x="21252" y="18141"/>
                </a:cubicBezTo>
                <a:cubicBezTo>
                  <a:pt x="21195" y="18181"/>
                  <a:pt x="21314" y="18057"/>
                  <a:pt x="21267" y="17944"/>
                </a:cubicBezTo>
                <a:cubicBezTo>
                  <a:pt x="21210" y="17867"/>
                  <a:pt x="21236" y="17925"/>
                  <a:pt x="21282" y="17757"/>
                </a:cubicBezTo>
                <a:cubicBezTo>
                  <a:pt x="21254" y="17831"/>
                  <a:pt x="21252" y="17858"/>
                  <a:pt x="21282" y="17944"/>
                </a:cubicBezTo>
                <a:cubicBezTo>
                  <a:pt x="21372" y="18131"/>
                  <a:pt x="21288" y="18397"/>
                  <a:pt x="21308" y="18216"/>
                </a:cubicBezTo>
                <a:cubicBezTo>
                  <a:pt x="21343" y="18182"/>
                  <a:pt x="21292" y="18390"/>
                  <a:pt x="21329" y="18582"/>
                </a:cubicBezTo>
                <a:cubicBezTo>
                  <a:pt x="21341" y="18620"/>
                  <a:pt x="21336" y="18548"/>
                  <a:pt x="21336" y="18675"/>
                </a:cubicBezTo>
                <a:cubicBezTo>
                  <a:pt x="21367" y="18683"/>
                  <a:pt x="21374" y="18619"/>
                  <a:pt x="21389" y="18569"/>
                </a:cubicBezTo>
                <a:cubicBezTo>
                  <a:pt x="21332" y="18387"/>
                  <a:pt x="21335" y="18615"/>
                  <a:pt x="21428" y="18426"/>
                </a:cubicBezTo>
                <a:cubicBezTo>
                  <a:pt x="21427" y="18540"/>
                  <a:pt x="21460" y="18618"/>
                  <a:pt x="21482" y="18292"/>
                </a:cubicBezTo>
                <a:cubicBezTo>
                  <a:pt x="21588" y="18486"/>
                  <a:pt x="21515" y="18312"/>
                  <a:pt x="21529" y="18194"/>
                </a:cubicBezTo>
                <a:cubicBezTo>
                  <a:pt x="21454" y="18307"/>
                  <a:pt x="21508" y="18095"/>
                  <a:pt x="21529" y="18126"/>
                </a:cubicBezTo>
                <a:cubicBezTo>
                  <a:pt x="21564" y="18165"/>
                  <a:pt x="21471" y="17977"/>
                  <a:pt x="21529" y="17928"/>
                </a:cubicBezTo>
                <a:cubicBezTo>
                  <a:pt x="21516" y="17827"/>
                  <a:pt x="21528" y="17731"/>
                  <a:pt x="21529" y="17612"/>
                </a:cubicBezTo>
                <a:cubicBezTo>
                  <a:pt x="21529" y="17488"/>
                  <a:pt x="21529" y="17345"/>
                  <a:pt x="21529" y="17185"/>
                </a:cubicBezTo>
                <a:cubicBezTo>
                  <a:pt x="21529" y="13367"/>
                  <a:pt x="21529" y="0"/>
                  <a:pt x="21529" y="0"/>
                </a:cubicBezTo>
                <a:lnTo>
                  <a:pt x="0" y="0"/>
                </a:lnTo>
                <a:lnTo>
                  <a:pt x="0" y="20021"/>
                </a:lnTo>
                <a:cubicBezTo>
                  <a:pt x="70" y="20100"/>
                  <a:pt x="63" y="20212"/>
                  <a:pt x="54" y="20152"/>
                </a:cubicBezTo>
                <a:close/>
                <a:moveTo>
                  <a:pt x="54" y="20152"/>
                </a:moveTo>
              </a:path>
            </a:pathLst>
          </a:custGeom>
          <a:solidFill>
            <a:schemeClr val="bg1"/>
          </a:solidFill>
          <a:ln w="3175" cmpd="sng">
            <a:solidFill>
              <a:schemeClr val="bg1">
                <a:lumMod val="85000"/>
              </a:schemeClr>
            </a:solidFill>
          </a:ln>
          <a:effectLst/>
        </p:spPr>
        <p:txBody>
          <a:bodyPr lIns="182880" tIns="182880" rIns="182880" bIns="91440"/>
          <a:lstStyle/>
          <a:p>
            <a:pPr defTabSz="1018705"/>
            <a:endParaRPr lang="en-US">
              <a:latin typeface="Times New Roman" charset="0"/>
              <a:ea typeface="Times New Roman" charset="0"/>
              <a:cs typeface="Times New Roman" charset="0"/>
            </a:endParaRPr>
          </a:p>
        </p:txBody>
      </p:sp>
      <p:sp>
        <p:nvSpPr>
          <p:cNvPr id="14" name="AutoShape 10"/>
          <p:cNvSpPr>
            <a:spLocks/>
          </p:cNvSpPr>
          <p:nvPr/>
        </p:nvSpPr>
        <p:spPr bwMode="auto">
          <a:xfrm>
            <a:off x="1659505" y="1462244"/>
            <a:ext cx="1190625" cy="1046163"/>
          </a:xfrm>
          <a:custGeom>
            <a:avLst/>
            <a:gdLst/>
            <a:ahLst/>
            <a:cxnLst/>
            <a:rect l="0" t="0" r="r" b="b"/>
            <a:pathLst>
              <a:path w="21482" h="21554">
                <a:moveTo>
                  <a:pt x="21408" y="20986"/>
                </a:moveTo>
                <a:cubicBezTo>
                  <a:pt x="21512" y="20911"/>
                  <a:pt x="21500" y="20877"/>
                  <a:pt x="21408" y="20762"/>
                </a:cubicBezTo>
                <a:cubicBezTo>
                  <a:pt x="21374" y="20725"/>
                  <a:pt x="21374" y="20503"/>
                  <a:pt x="21408" y="20513"/>
                </a:cubicBezTo>
                <a:cubicBezTo>
                  <a:pt x="21547" y="20432"/>
                  <a:pt x="21289" y="20394"/>
                  <a:pt x="21408" y="20240"/>
                </a:cubicBezTo>
                <a:cubicBezTo>
                  <a:pt x="21323" y="20090"/>
                  <a:pt x="21362" y="19920"/>
                  <a:pt x="21408" y="19944"/>
                </a:cubicBezTo>
                <a:cubicBezTo>
                  <a:pt x="21346" y="19793"/>
                  <a:pt x="21464" y="19754"/>
                  <a:pt x="21408" y="19626"/>
                </a:cubicBezTo>
                <a:cubicBezTo>
                  <a:pt x="21408" y="19516"/>
                  <a:pt x="21408" y="19404"/>
                  <a:pt x="21408" y="19287"/>
                </a:cubicBezTo>
                <a:cubicBezTo>
                  <a:pt x="21408" y="13589"/>
                  <a:pt x="21408" y="0"/>
                  <a:pt x="21408" y="0"/>
                </a:cubicBezTo>
                <a:lnTo>
                  <a:pt x="45" y="0"/>
                </a:lnTo>
                <a:cubicBezTo>
                  <a:pt x="45" y="0"/>
                  <a:pt x="45" y="14149"/>
                  <a:pt x="45" y="19626"/>
                </a:cubicBezTo>
                <a:cubicBezTo>
                  <a:pt x="45" y="19735"/>
                  <a:pt x="69" y="19807"/>
                  <a:pt x="45" y="19944"/>
                </a:cubicBezTo>
                <a:cubicBezTo>
                  <a:pt x="25" y="20008"/>
                  <a:pt x="63" y="20034"/>
                  <a:pt x="45" y="20240"/>
                </a:cubicBezTo>
                <a:cubicBezTo>
                  <a:pt x="38" y="20426"/>
                  <a:pt x="-53" y="20560"/>
                  <a:pt x="45" y="20513"/>
                </a:cubicBezTo>
                <a:cubicBezTo>
                  <a:pt x="130" y="20667"/>
                  <a:pt x="95" y="20593"/>
                  <a:pt x="45" y="20762"/>
                </a:cubicBezTo>
                <a:cubicBezTo>
                  <a:pt x="70" y="20920"/>
                  <a:pt x="155" y="20993"/>
                  <a:pt x="45" y="20986"/>
                </a:cubicBezTo>
                <a:cubicBezTo>
                  <a:pt x="140" y="21030"/>
                  <a:pt x="83" y="20993"/>
                  <a:pt x="54" y="21128"/>
                </a:cubicBezTo>
                <a:cubicBezTo>
                  <a:pt x="70" y="21118"/>
                  <a:pt x="83" y="21112"/>
                  <a:pt x="94" y="21122"/>
                </a:cubicBezTo>
                <a:cubicBezTo>
                  <a:pt x="286" y="20989"/>
                  <a:pt x="181" y="21167"/>
                  <a:pt x="249" y="21110"/>
                </a:cubicBezTo>
                <a:cubicBezTo>
                  <a:pt x="276" y="21129"/>
                  <a:pt x="296" y="21146"/>
                  <a:pt x="313" y="21162"/>
                </a:cubicBezTo>
                <a:cubicBezTo>
                  <a:pt x="328" y="21071"/>
                  <a:pt x="465" y="21052"/>
                  <a:pt x="526" y="21181"/>
                </a:cubicBezTo>
                <a:cubicBezTo>
                  <a:pt x="544" y="21137"/>
                  <a:pt x="650" y="20973"/>
                  <a:pt x="721" y="21108"/>
                </a:cubicBezTo>
                <a:cubicBezTo>
                  <a:pt x="730" y="20957"/>
                  <a:pt x="911" y="21025"/>
                  <a:pt x="974" y="21072"/>
                </a:cubicBezTo>
                <a:cubicBezTo>
                  <a:pt x="1136" y="20866"/>
                  <a:pt x="1144" y="21098"/>
                  <a:pt x="1175" y="21055"/>
                </a:cubicBezTo>
                <a:cubicBezTo>
                  <a:pt x="1299" y="21061"/>
                  <a:pt x="1361" y="21429"/>
                  <a:pt x="1410" y="21218"/>
                </a:cubicBezTo>
                <a:cubicBezTo>
                  <a:pt x="1345" y="21251"/>
                  <a:pt x="1758" y="21002"/>
                  <a:pt x="1594" y="21228"/>
                </a:cubicBezTo>
                <a:cubicBezTo>
                  <a:pt x="1629" y="21258"/>
                  <a:pt x="1653" y="21129"/>
                  <a:pt x="1751" y="21007"/>
                </a:cubicBezTo>
                <a:cubicBezTo>
                  <a:pt x="1887" y="21121"/>
                  <a:pt x="1937" y="21198"/>
                  <a:pt x="1951" y="21224"/>
                </a:cubicBezTo>
                <a:cubicBezTo>
                  <a:pt x="1948" y="21216"/>
                  <a:pt x="1944" y="21206"/>
                  <a:pt x="1939" y="21189"/>
                </a:cubicBezTo>
                <a:cubicBezTo>
                  <a:pt x="2108" y="21393"/>
                  <a:pt x="1902" y="21483"/>
                  <a:pt x="2143" y="21328"/>
                </a:cubicBezTo>
                <a:cubicBezTo>
                  <a:pt x="2214" y="21370"/>
                  <a:pt x="2542" y="21463"/>
                  <a:pt x="2357" y="21258"/>
                </a:cubicBezTo>
                <a:cubicBezTo>
                  <a:pt x="2477" y="21171"/>
                  <a:pt x="2404" y="21589"/>
                  <a:pt x="2556" y="21347"/>
                </a:cubicBezTo>
                <a:cubicBezTo>
                  <a:pt x="2615" y="21600"/>
                  <a:pt x="2593" y="21307"/>
                  <a:pt x="2788" y="21300"/>
                </a:cubicBezTo>
                <a:cubicBezTo>
                  <a:pt x="2819" y="21243"/>
                  <a:pt x="2893" y="21239"/>
                  <a:pt x="2935" y="21263"/>
                </a:cubicBezTo>
                <a:cubicBezTo>
                  <a:pt x="2961" y="21211"/>
                  <a:pt x="3133" y="21155"/>
                  <a:pt x="3111" y="21337"/>
                </a:cubicBezTo>
                <a:cubicBezTo>
                  <a:pt x="3141" y="21340"/>
                  <a:pt x="3276" y="21500"/>
                  <a:pt x="3273" y="21373"/>
                </a:cubicBezTo>
                <a:cubicBezTo>
                  <a:pt x="3380" y="21335"/>
                  <a:pt x="3605" y="21459"/>
                  <a:pt x="3518" y="21359"/>
                </a:cubicBezTo>
                <a:cubicBezTo>
                  <a:pt x="3787" y="21332"/>
                  <a:pt x="3676" y="21284"/>
                  <a:pt x="3765" y="21282"/>
                </a:cubicBezTo>
                <a:cubicBezTo>
                  <a:pt x="3745" y="21288"/>
                  <a:pt x="3857" y="21520"/>
                  <a:pt x="4012" y="21188"/>
                </a:cubicBezTo>
                <a:cubicBezTo>
                  <a:pt x="4194" y="20993"/>
                  <a:pt x="4322" y="21369"/>
                  <a:pt x="4261" y="21124"/>
                </a:cubicBezTo>
                <a:cubicBezTo>
                  <a:pt x="4361" y="21293"/>
                  <a:pt x="4312" y="21163"/>
                  <a:pt x="4465" y="21118"/>
                </a:cubicBezTo>
                <a:cubicBezTo>
                  <a:pt x="4646" y="21167"/>
                  <a:pt x="4423" y="21000"/>
                  <a:pt x="4656" y="21153"/>
                </a:cubicBezTo>
                <a:cubicBezTo>
                  <a:pt x="4740" y="21214"/>
                  <a:pt x="4684" y="21150"/>
                  <a:pt x="4692" y="21222"/>
                </a:cubicBezTo>
                <a:cubicBezTo>
                  <a:pt x="4690" y="21281"/>
                  <a:pt x="4898" y="21173"/>
                  <a:pt x="4756" y="21298"/>
                </a:cubicBezTo>
                <a:cubicBezTo>
                  <a:pt x="4794" y="21308"/>
                  <a:pt x="4879" y="21327"/>
                  <a:pt x="4872" y="21303"/>
                </a:cubicBezTo>
                <a:cubicBezTo>
                  <a:pt x="4864" y="21295"/>
                  <a:pt x="4857" y="21286"/>
                  <a:pt x="4847" y="21276"/>
                </a:cubicBezTo>
                <a:cubicBezTo>
                  <a:pt x="4863" y="21288"/>
                  <a:pt x="4870" y="21297"/>
                  <a:pt x="4872" y="21303"/>
                </a:cubicBezTo>
                <a:cubicBezTo>
                  <a:pt x="4901" y="21335"/>
                  <a:pt x="4918" y="21354"/>
                  <a:pt x="4927" y="21365"/>
                </a:cubicBezTo>
                <a:cubicBezTo>
                  <a:pt x="4908" y="21339"/>
                  <a:pt x="4863" y="21267"/>
                  <a:pt x="4920" y="21251"/>
                </a:cubicBezTo>
                <a:cubicBezTo>
                  <a:pt x="4966" y="21338"/>
                  <a:pt x="5028" y="21468"/>
                  <a:pt x="5086" y="21335"/>
                </a:cubicBezTo>
                <a:cubicBezTo>
                  <a:pt x="5173" y="21304"/>
                  <a:pt x="5330" y="21533"/>
                  <a:pt x="5248" y="21397"/>
                </a:cubicBezTo>
                <a:cubicBezTo>
                  <a:pt x="5228" y="21388"/>
                  <a:pt x="5299" y="21267"/>
                  <a:pt x="5441" y="21296"/>
                </a:cubicBezTo>
                <a:cubicBezTo>
                  <a:pt x="5478" y="21457"/>
                  <a:pt x="5632" y="21057"/>
                  <a:pt x="5620" y="21352"/>
                </a:cubicBezTo>
                <a:cubicBezTo>
                  <a:pt x="5647" y="21414"/>
                  <a:pt x="5802" y="21387"/>
                  <a:pt x="5816" y="21184"/>
                </a:cubicBezTo>
                <a:cubicBezTo>
                  <a:pt x="5855" y="21101"/>
                  <a:pt x="5987" y="21066"/>
                  <a:pt x="6062" y="21054"/>
                </a:cubicBezTo>
                <a:cubicBezTo>
                  <a:pt x="6165" y="20973"/>
                  <a:pt x="6143" y="21161"/>
                  <a:pt x="6316" y="20981"/>
                </a:cubicBezTo>
                <a:cubicBezTo>
                  <a:pt x="6363" y="21097"/>
                  <a:pt x="6532" y="20836"/>
                  <a:pt x="6560" y="20973"/>
                </a:cubicBezTo>
                <a:cubicBezTo>
                  <a:pt x="6559" y="20977"/>
                  <a:pt x="6557" y="20981"/>
                  <a:pt x="6557" y="20985"/>
                </a:cubicBezTo>
                <a:cubicBezTo>
                  <a:pt x="6578" y="20985"/>
                  <a:pt x="6618" y="21002"/>
                  <a:pt x="6690" y="21063"/>
                </a:cubicBezTo>
                <a:cubicBezTo>
                  <a:pt x="6845" y="20965"/>
                  <a:pt x="6877" y="21000"/>
                  <a:pt x="6917" y="21024"/>
                </a:cubicBezTo>
                <a:cubicBezTo>
                  <a:pt x="6916" y="21005"/>
                  <a:pt x="6918" y="20977"/>
                  <a:pt x="6924" y="20934"/>
                </a:cubicBezTo>
                <a:cubicBezTo>
                  <a:pt x="7003" y="20924"/>
                  <a:pt x="7083" y="20826"/>
                  <a:pt x="7119" y="20755"/>
                </a:cubicBezTo>
                <a:cubicBezTo>
                  <a:pt x="7167" y="20616"/>
                  <a:pt x="7205" y="20744"/>
                  <a:pt x="7192" y="20754"/>
                </a:cubicBezTo>
                <a:cubicBezTo>
                  <a:pt x="7137" y="20796"/>
                  <a:pt x="7249" y="20785"/>
                  <a:pt x="7288" y="20805"/>
                </a:cubicBezTo>
                <a:cubicBezTo>
                  <a:pt x="7318" y="20846"/>
                  <a:pt x="7385" y="20834"/>
                  <a:pt x="7414" y="20750"/>
                </a:cubicBezTo>
                <a:cubicBezTo>
                  <a:pt x="7415" y="20732"/>
                  <a:pt x="7419" y="20713"/>
                  <a:pt x="7426" y="20694"/>
                </a:cubicBezTo>
                <a:cubicBezTo>
                  <a:pt x="7424" y="20716"/>
                  <a:pt x="7419" y="20734"/>
                  <a:pt x="7414" y="20750"/>
                </a:cubicBezTo>
                <a:cubicBezTo>
                  <a:pt x="7403" y="20850"/>
                  <a:pt x="7453" y="20932"/>
                  <a:pt x="7420" y="20895"/>
                </a:cubicBezTo>
                <a:cubicBezTo>
                  <a:pt x="7430" y="20921"/>
                  <a:pt x="7455" y="20961"/>
                  <a:pt x="7432" y="20941"/>
                </a:cubicBezTo>
                <a:cubicBezTo>
                  <a:pt x="7340" y="21003"/>
                  <a:pt x="7358" y="21095"/>
                  <a:pt x="7361" y="21106"/>
                </a:cubicBezTo>
                <a:cubicBezTo>
                  <a:pt x="7329" y="21192"/>
                  <a:pt x="7444" y="21191"/>
                  <a:pt x="7432" y="21190"/>
                </a:cubicBezTo>
                <a:cubicBezTo>
                  <a:pt x="7427" y="21298"/>
                  <a:pt x="7357" y="21261"/>
                  <a:pt x="7454" y="21287"/>
                </a:cubicBezTo>
                <a:cubicBezTo>
                  <a:pt x="7459" y="21300"/>
                  <a:pt x="7483" y="21351"/>
                  <a:pt x="7467" y="21396"/>
                </a:cubicBezTo>
                <a:cubicBezTo>
                  <a:pt x="7475" y="21394"/>
                  <a:pt x="7484" y="21395"/>
                  <a:pt x="7492" y="21398"/>
                </a:cubicBezTo>
                <a:cubicBezTo>
                  <a:pt x="7476" y="21383"/>
                  <a:pt x="7684" y="21294"/>
                  <a:pt x="7658" y="21410"/>
                </a:cubicBezTo>
                <a:cubicBezTo>
                  <a:pt x="7802" y="21485"/>
                  <a:pt x="7792" y="21392"/>
                  <a:pt x="7816" y="21390"/>
                </a:cubicBezTo>
                <a:cubicBezTo>
                  <a:pt x="7909" y="21391"/>
                  <a:pt x="7879" y="21419"/>
                  <a:pt x="7885" y="21320"/>
                </a:cubicBezTo>
                <a:cubicBezTo>
                  <a:pt x="7914" y="21206"/>
                  <a:pt x="7844" y="21349"/>
                  <a:pt x="8029" y="21254"/>
                </a:cubicBezTo>
                <a:cubicBezTo>
                  <a:pt x="8090" y="21206"/>
                  <a:pt x="8132" y="21198"/>
                  <a:pt x="8123" y="21212"/>
                </a:cubicBezTo>
                <a:cubicBezTo>
                  <a:pt x="8162" y="21172"/>
                  <a:pt x="8216" y="21199"/>
                  <a:pt x="8235" y="21228"/>
                </a:cubicBezTo>
                <a:cubicBezTo>
                  <a:pt x="8239" y="21168"/>
                  <a:pt x="8253" y="21124"/>
                  <a:pt x="8338" y="21179"/>
                </a:cubicBezTo>
                <a:cubicBezTo>
                  <a:pt x="8268" y="21126"/>
                  <a:pt x="8442" y="21153"/>
                  <a:pt x="8431" y="21164"/>
                </a:cubicBezTo>
                <a:cubicBezTo>
                  <a:pt x="8539" y="21257"/>
                  <a:pt x="8518" y="21237"/>
                  <a:pt x="8514" y="21227"/>
                </a:cubicBezTo>
                <a:cubicBezTo>
                  <a:pt x="8594" y="21149"/>
                  <a:pt x="8618" y="21193"/>
                  <a:pt x="8619" y="21217"/>
                </a:cubicBezTo>
                <a:cubicBezTo>
                  <a:pt x="8646" y="21218"/>
                  <a:pt x="8683" y="21222"/>
                  <a:pt x="8730" y="21231"/>
                </a:cubicBezTo>
                <a:cubicBezTo>
                  <a:pt x="8596" y="21188"/>
                  <a:pt x="8822" y="21177"/>
                  <a:pt x="8816" y="21199"/>
                </a:cubicBezTo>
                <a:cubicBezTo>
                  <a:pt x="8774" y="21108"/>
                  <a:pt x="8865" y="21104"/>
                  <a:pt x="8878" y="21155"/>
                </a:cubicBezTo>
                <a:cubicBezTo>
                  <a:pt x="8973" y="21229"/>
                  <a:pt x="8803" y="21009"/>
                  <a:pt x="9014" y="21056"/>
                </a:cubicBezTo>
                <a:cubicBezTo>
                  <a:pt x="9039" y="20815"/>
                  <a:pt x="9097" y="20790"/>
                  <a:pt x="9152" y="20970"/>
                </a:cubicBezTo>
                <a:cubicBezTo>
                  <a:pt x="8968" y="21050"/>
                  <a:pt x="9190" y="20960"/>
                  <a:pt x="9166" y="21102"/>
                </a:cubicBezTo>
                <a:cubicBezTo>
                  <a:pt x="9167" y="21081"/>
                  <a:pt x="9324" y="21136"/>
                  <a:pt x="9375" y="21091"/>
                </a:cubicBezTo>
                <a:cubicBezTo>
                  <a:pt x="9474" y="21094"/>
                  <a:pt x="9522" y="21104"/>
                  <a:pt x="9544" y="21112"/>
                </a:cubicBezTo>
                <a:cubicBezTo>
                  <a:pt x="9544" y="21107"/>
                  <a:pt x="9547" y="21099"/>
                  <a:pt x="9553" y="21091"/>
                </a:cubicBezTo>
                <a:cubicBezTo>
                  <a:pt x="9585" y="21182"/>
                  <a:pt x="9695" y="20966"/>
                  <a:pt x="9620" y="21293"/>
                </a:cubicBezTo>
                <a:cubicBezTo>
                  <a:pt x="9723" y="21224"/>
                  <a:pt x="9671" y="21241"/>
                  <a:pt x="9751" y="21214"/>
                </a:cubicBezTo>
                <a:cubicBezTo>
                  <a:pt x="9830" y="21128"/>
                  <a:pt x="9746" y="21107"/>
                  <a:pt x="9722" y="21103"/>
                </a:cubicBezTo>
                <a:cubicBezTo>
                  <a:pt x="9714" y="21102"/>
                  <a:pt x="9715" y="21102"/>
                  <a:pt x="9722" y="21103"/>
                </a:cubicBezTo>
                <a:cubicBezTo>
                  <a:pt x="9736" y="21104"/>
                  <a:pt x="9780" y="21107"/>
                  <a:pt x="9884" y="21104"/>
                </a:cubicBezTo>
                <a:cubicBezTo>
                  <a:pt x="10029" y="21146"/>
                  <a:pt x="10062" y="21134"/>
                  <a:pt x="10028" y="21052"/>
                </a:cubicBezTo>
                <a:cubicBezTo>
                  <a:pt x="10132" y="20942"/>
                  <a:pt x="10152" y="20893"/>
                  <a:pt x="10167" y="21176"/>
                </a:cubicBezTo>
                <a:cubicBezTo>
                  <a:pt x="10232" y="21242"/>
                  <a:pt x="10284" y="21316"/>
                  <a:pt x="10314" y="21288"/>
                </a:cubicBezTo>
                <a:cubicBezTo>
                  <a:pt x="10228" y="21399"/>
                  <a:pt x="10525" y="21148"/>
                  <a:pt x="10461" y="21164"/>
                </a:cubicBezTo>
                <a:cubicBezTo>
                  <a:pt x="10521" y="21042"/>
                  <a:pt x="10597" y="21010"/>
                  <a:pt x="10646" y="21005"/>
                </a:cubicBezTo>
                <a:cubicBezTo>
                  <a:pt x="10628" y="21000"/>
                  <a:pt x="10606" y="20993"/>
                  <a:pt x="10578" y="20981"/>
                </a:cubicBezTo>
                <a:cubicBezTo>
                  <a:pt x="10511" y="20836"/>
                  <a:pt x="10505" y="20855"/>
                  <a:pt x="10545" y="20891"/>
                </a:cubicBezTo>
                <a:cubicBezTo>
                  <a:pt x="10584" y="20925"/>
                  <a:pt x="10668" y="20976"/>
                  <a:pt x="10782" y="20893"/>
                </a:cubicBezTo>
                <a:cubicBezTo>
                  <a:pt x="10822" y="20986"/>
                  <a:pt x="10856" y="20951"/>
                  <a:pt x="10835" y="20985"/>
                </a:cubicBezTo>
                <a:cubicBezTo>
                  <a:pt x="10850" y="20984"/>
                  <a:pt x="10867" y="20986"/>
                  <a:pt x="10885" y="20997"/>
                </a:cubicBezTo>
                <a:cubicBezTo>
                  <a:pt x="10947" y="21013"/>
                  <a:pt x="10974" y="21006"/>
                  <a:pt x="10985" y="20996"/>
                </a:cubicBezTo>
                <a:cubicBezTo>
                  <a:pt x="10968" y="20944"/>
                  <a:pt x="11004" y="20977"/>
                  <a:pt x="10985" y="20996"/>
                </a:cubicBezTo>
                <a:cubicBezTo>
                  <a:pt x="10987" y="21005"/>
                  <a:pt x="10991" y="21015"/>
                  <a:pt x="10997" y="21029"/>
                </a:cubicBezTo>
                <a:cubicBezTo>
                  <a:pt x="11064" y="20997"/>
                  <a:pt x="10989" y="21082"/>
                  <a:pt x="11072" y="21063"/>
                </a:cubicBezTo>
                <a:cubicBezTo>
                  <a:pt x="11007" y="21212"/>
                  <a:pt x="11047" y="21210"/>
                  <a:pt x="11085" y="21192"/>
                </a:cubicBezTo>
                <a:cubicBezTo>
                  <a:pt x="11065" y="21175"/>
                  <a:pt x="11119" y="21158"/>
                  <a:pt x="11120" y="21142"/>
                </a:cubicBezTo>
                <a:cubicBezTo>
                  <a:pt x="11147" y="21041"/>
                  <a:pt x="11103" y="21062"/>
                  <a:pt x="11170" y="21024"/>
                </a:cubicBezTo>
                <a:cubicBezTo>
                  <a:pt x="11212" y="20902"/>
                  <a:pt x="11163" y="20948"/>
                  <a:pt x="11252" y="20926"/>
                </a:cubicBezTo>
                <a:cubicBezTo>
                  <a:pt x="11407" y="20951"/>
                  <a:pt x="11345" y="20907"/>
                  <a:pt x="11417" y="20876"/>
                </a:cubicBezTo>
                <a:cubicBezTo>
                  <a:pt x="11464" y="20865"/>
                  <a:pt x="11460" y="20782"/>
                  <a:pt x="11459" y="20826"/>
                </a:cubicBezTo>
                <a:cubicBezTo>
                  <a:pt x="11498" y="20875"/>
                  <a:pt x="11460" y="20773"/>
                  <a:pt x="11502" y="20742"/>
                </a:cubicBezTo>
                <a:cubicBezTo>
                  <a:pt x="11486" y="20690"/>
                  <a:pt x="11414" y="20714"/>
                  <a:pt x="11361" y="20652"/>
                </a:cubicBezTo>
                <a:cubicBezTo>
                  <a:pt x="11389" y="20589"/>
                  <a:pt x="11453" y="20546"/>
                  <a:pt x="11444" y="20561"/>
                </a:cubicBezTo>
                <a:cubicBezTo>
                  <a:pt x="11498" y="20470"/>
                  <a:pt x="11495" y="20540"/>
                  <a:pt x="11464" y="20557"/>
                </a:cubicBezTo>
                <a:cubicBezTo>
                  <a:pt x="11483" y="20579"/>
                  <a:pt x="11538" y="20499"/>
                  <a:pt x="11531" y="20491"/>
                </a:cubicBezTo>
                <a:cubicBezTo>
                  <a:pt x="11532" y="20451"/>
                  <a:pt x="11426" y="20475"/>
                  <a:pt x="11463" y="20356"/>
                </a:cubicBezTo>
                <a:cubicBezTo>
                  <a:pt x="11389" y="20319"/>
                  <a:pt x="11383" y="20168"/>
                  <a:pt x="11421" y="20253"/>
                </a:cubicBezTo>
                <a:cubicBezTo>
                  <a:pt x="11462" y="20219"/>
                  <a:pt x="11432" y="20176"/>
                  <a:pt x="11548" y="20185"/>
                </a:cubicBezTo>
                <a:cubicBezTo>
                  <a:pt x="11590" y="20110"/>
                  <a:pt x="11565" y="20039"/>
                  <a:pt x="11612" y="20110"/>
                </a:cubicBezTo>
                <a:cubicBezTo>
                  <a:pt x="11618" y="20091"/>
                  <a:pt x="11677" y="20065"/>
                  <a:pt x="11621" y="20156"/>
                </a:cubicBezTo>
                <a:cubicBezTo>
                  <a:pt x="11640" y="20120"/>
                  <a:pt x="11629" y="20110"/>
                  <a:pt x="11613" y="20111"/>
                </a:cubicBezTo>
                <a:cubicBezTo>
                  <a:pt x="11616" y="20115"/>
                  <a:pt x="11617" y="20117"/>
                  <a:pt x="11620" y="20121"/>
                </a:cubicBezTo>
                <a:cubicBezTo>
                  <a:pt x="11613" y="20119"/>
                  <a:pt x="11612" y="20116"/>
                  <a:pt x="11612" y="20112"/>
                </a:cubicBezTo>
                <a:cubicBezTo>
                  <a:pt x="11586" y="20117"/>
                  <a:pt x="11550" y="20155"/>
                  <a:pt x="11609" y="20176"/>
                </a:cubicBezTo>
                <a:cubicBezTo>
                  <a:pt x="11600" y="20178"/>
                  <a:pt x="11594" y="20179"/>
                  <a:pt x="11589" y="20179"/>
                </a:cubicBezTo>
                <a:cubicBezTo>
                  <a:pt x="11601" y="20182"/>
                  <a:pt x="11621" y="20195"/>
                  <a:pt x="11623" y="20241"/>
                </a:cubicBezTo>
                <a:cubicBezTo>
                  <a:pt x="11618" y="20305"/>
                  <a:pt x="11628" y="20280"/>
                  <a:pt x="11690" y="20391"/>
                </a:cubicBezTo>
                <a:cubicBezTo>
                  <a:pt x="11691" y="20391"/>
                  <a:pt x="11691" y="20391"/>
                  <a:pt x="11692" y="20390"/>
                </a:cubicBezTo>
                <a:cubicBezTo>
                  <a:pt x="11717" y="20359"/>
                  <a:pt x="11777" y="20356"/>
                  <a:pt x="11692" y="20390"/>
                </a:cubicBezTo>
                <a:cubicBezTo>
                  <a:pt x="11684" y="20400"/>
                  <a:pt x="11679" y="20410"/>
                  <a:pt x="11682" y="20424"/>
                </a:cubicBezTo>
                <a:cubicBezTo>
                  <a:pt x="11668" y="20495"/>
                  <a:pt x="11694" y="20576"/>
                  <a:pt x="11728" y="20576"/>
                </a:cubicBezTo>
                <a:cubicBezTo>
                  <a:pt x="11749" y="20643"/>
                  <a:pt x="11807" y="20700"/>
                  <a:pt x="11801" y="20670"/>
                </a:cubicBezTo>
                <a:cubicBezTo>
                  <a:pt x="11781" y="20705"/>
                  <a:pt x="11766" y="20731"/>
                  <a:pt x="11754" y="20749"/>
                </a:cubicBezTo>
                <a:cubicBezTo>
                  <a:pt x="11773" y="20778"/>
                  <a:pt x="11740" y="20846"/>
                  <a:pt x="11776" y="20858"/>
                </a:cubicBezTo>
                <a:cubicBezTo>
                  <a:pt x="11801" y="20830"/>
                  <a:pt x="11773" y="20839"/>
                  <a:pt x="11924" y="20853"/>
                </a:cubicBezTo>
                <a:cubicBezTo>
                  <a:pt x="11924" y="20874"/>
                  <a:pt x="11933" y="20918"/>
                  <a:pt x="11940" y="20949"/>
                </a:cubicBezTo>
                <a:cubicBezTo>
                  <a:pt x="11946" y="20943"/>
                  <a:pt x="11953" y="20967"/>
                  <a:pt x="11955" y="20936"/>
                </a:cubicBezTo>
                <a:cubicBezTo>
                  <a:pt x="11971" y="20952"/>
                  <a:pt x="11964" y="20937"/>
                  <a:pt x="11976" y="20919"/>
                </a:cubicBezTo>
                <a:cubicBezTo>
                  <a:pt x="11988" y="20900"/>
                  <a:pt x="12018" y="20879"/>
                  <a:pt x="12109" y="20879"/>
                </a:cubicBezTo>
                <a:cubicBezTo>
                  <a:pt x="12206" y="20942"/>
                  <a:pt x="12195" y="20928"/>
                  <a:pt x="12208" y="20975"/>
                </a:cubicBezTo>
                <a:cubicBezTo>
                  <a:pt x="12174" y="20932"/>
                  <a:pt x="12219" y="21118"/>
                  <a:pt x="12219" y="20956"/>
                </a:cubicBezTo>
                <a:cubicBezTo>
                  <a:pt x="12257" y="20965"/>
                  <a:pt x="12263" y="20965"/>
                  <a:pt x="12270" y="20965"/>
                </a:cubicBezTo>
                <a:cubicBezTo>
                  <a:pt x="12263" y="20952"/>
                  <a:pt x="12299" y="20896"/>
                  <a:pt x="12306" y="20866"/>
                </a:cubicBezTo>
                <a:cubicBezTo>
                  <a:pt x="12347" y="20913"/>
                  <a:pt x="12447" y="20969"/>
                  <a:pt x="12401" y="20964"/>
                </a:cubicBezTo>
                <a:cubicBezTo>
                  <a:pt x="12453" y="20981"/>
                  <a:pt x="12427" y="21012"/>
                  <a:pt x="12403" y="21030"/>
                </a:cubicBezTo>
                <a:cubicBezTo>
                  <a:pt x="12418" y="21037"/>
                  <a:pt x="12444" y="21039"/>
                  <a:pt x="12486" y="21014"/>
                </a:cubicBezTo>
                <a:cubicBezTo>
                  <a:pt x="12546" y="21028"/>
                  <a:pt x="12505" y="21066"/>
                  <a:pt x="12542" y="21101"/>
                </a:cubicBezTo>
                <a:cubicBezTo>
                  <a:pt x="12544" y="21093"/>
                  <a:pt x="12556" y="21092"/>
                  <a:pt x="12587" y="21120"/>
                </a:cubicBezTo>
                <a:cubicBezTo>
                  <a:pt x="12669" y="21216"/>
                  <a:pt x="12747" y="21169"/>
                  <a:pt x="12644" y="21225"/>
                </a:cubicBezTo>
                <a:cubicBezTo>
                  <a:pt x="12704" y="21272"/>
                  <a:pt x="12730" y="21231"/>
                  <a:pt x="12788" y="21264"/>
                </a:cubicBezTo>
                <a:cubicBezTo>
                  <a:pt x="12788" y="21264"/>
                  <a:pt x="12788" y="21267"/>
                  <a:pt x="12789" y="21267"/>
                </a:cubicBezTo>
                <a:cubicBezTo>
                  <a:pt x="12806" y="21255"/>
                  <a:pt x="12806" y="21258"/>
                  <a:pt x="12802" y="21268"/>
                </a:cubicBezTo>
                <a:cubicBezTo>
                  <a:pt x="12829" y="21268"/>
                  <a:pt x="12827" y="21275"/>
                  <a:pt x="12856" y="21271"/>
                </a:cubicBezTo>
                <a:cubicBezTo>
                  <a:pt x="12931" y="21361"/>
                  <a:pt x="12977" y="21362"/>
                  <a:pt x="12942" y="21287"/>
                </a:cubicBezTo>
                <a:cubicBezTo>
                  <a:pt x="12994" y="21271"/>
                  <a:pt x="13012" y="21259"/>
                  <a:pt x="13016" y="21234"/>
                </a:cubicBezTo>
                <a:cubicBezTo>
                  <a:pt x="12979" y="21253"/>
                  <a:pt x="12921" y="21184"/>
                  <a:pt x="12932" y="21191"/>
                </a:cubicBezTo>
                <a:cubicBezTo>
                  <a:pt x="12912" y="21146"/>
                  <a:pt x="12893" y="21148"/>
                  <a:pt x="12893" y="21112"/>
                </a:cubicBezTo>
                <a:cubicBezTo>
                  <a:pt x="12928" y="21079"/>
                  <a:pt x="12919" y="21117"/>
                  <a:pt x="12986" y="21135"/>
                </a:cubicBezTo>
                <a:cubicBezTo>
                  <a:pt x="12994" y="21152"/>
                  <a:pt x="12994" y="21165"/>
                  <a:pt x="12993" y="21177"/>
                </a:cubicBezTo>
                <a:cubicBezTo>
                  <a:pt x="12998" y="21171"/>
                  <a:pt x="13003" y="21167"/>
                  <a:pt x="13012" y="21161"/>
                </a:cubicBezTo>
                <a:cubicBezTo>
                  <a:pt x="13015" y="21195"/>
                  <a:pt x="13018" y="21218"/>
                  <a:pt x="13016" y="21234"/>
                </a:cubicBezTo>
                <a:cubicBezTo>
                  <a:pt x="13021" y="21232"/>
                  <a:pt x="13025" y="21229"/>
                  <a:pt x="13029" y="21222"/>
                </a:cubicBezTo>
                <a:cubicBezTo>
                  <a:pt x="13050" y="21245"/>
                  <a:pt x="13144" y="21173"/>
                  <a:pt x="13114" y="21173"/>
                </a:cubicBezTo>
                <a:cubicBezTo>
                  <a:pt x="13091" y="21065"/>
                  <a:pt x="13118" y="21036"/>
                  <a:pt x="13126" y="21111"/>
                </a:cubicBezTo>
                <a:cubicBezTo>
                  <a:pt x="13129" y="21112"/>
                  <a:pt x="13135" y="21115"/>
                  <a:pt x="13144" y="21124"/>
                </a:cubicBezTo>
                <a:cubicBezTo>
                  <a:pt x="13137" y="21129"/>
                  <a:pt x="13132" y="21131"/>
                  <a:pt x="13128" y="21132"/>
                </a:cubicBezTo>
                <a:cubicBezTo>
                  <a:pt x="13130" y="21140"/>
                  <a:pt x="13133" y="21149"/>
                  <a:pt x="13129" y="21150"/>
                </a:cubicBezTo>
                <a:cubicBezTo>
                  <a:pt x="13129" y="21144"/>
                  <a:pt x="13128" y="21138"/>
                  <a:pt x="13128" y="21132"/>
                </a:cubicBezTo>
                <a:cubicBezTo>
                  <a:pt x="13110" y="21139"/>
                  <a:pt x="13133" y="21129"/>
                  <a:pt x="13142" y="21286"/>
                </a:cubicBezTo>
                <a:cubicBezTo>
                  <a:pt x="13190" y="21337"/>
                  <a:pt x="13138" y="21263"/>
                  <a:pt x="13237" y="21349"/>
                </a:cubicBezTo>
                <a:cubicBezTo>
                  <a:pt x="13239" y="21354"/>
                  <a:pt x="13240" y="21357"/>
                  <a:pt x="13242" y="21361"/>
                </a:cubicBezTo>
                <a:cubicBezTo>
                  <a:pt x="13240" y="21351"/>
                  <a:pt x="13241" y="21344"/>
                  <a:pt x="13249" y="21344"/>
                </a:cubicBezTo>
                <a:cubicBezTo>
                  <a:pt x="13248" y="21398"/>
                  <a:pt x="13382" y="21257"/>
                  <a:pt x="13382" y="21364"/>
                </a:cubicBezTo>
                <a:cubicBezTo>
                  <a:pt x="13390" y="21359"/>
                  <a:pt x="13392" y="21361"/>
                  <a:pt x="13382" y="21381"/>
                </a:cubicBezTo>
                <a:cubicBezTo>
                  <a:pt x="13383" y="21373"/>
                  <a:pt x="13382" y="21369"/>
                  <a:pt x="13382" y="21364"/>
                </a:cubicBezTo>
                <a:cubicBezTo>
                  <a:pt x="13370" y="21370"/>
                  <a:pt x="13345" y="21394"/>
                  <a:pt x="13334" y="21396"/>
                </a:cubicBezTo>
                <a:cubicBezTo>
                  <a:pt x="13326" y="21457"/>
                  <a:pt x="13334" y="21530"/>
                  <a:pt x="13327" y="21554"/>
                </a:cubicBezTo>
                <a:cubicBezTo>
                  <a:pt x="13345" y="21537"/>
                  <a:pt x="13366" y="21520"/>
                  <a:pt x="13367" y="21544"/>
                </a:cubicBezTo>
                <a:cubicBezTo>
                  <a:pt x="13408" y="21561"/>
                  <a:pt x="13357" y="21496"/>
                  <a:pt x="13419" y="21508"/>
                </a:cubicBezTo>
                <a:cubicBezTo>
                  <a:pt x="13427" y="21481"/>
                  <a:pt x="13409" y="21453"/>
                  <a:pt x="13438" y="21406"/>
                </a:cubicBezTo>
                <a:cubicBezTo>
                  <a:pt x="13424" y="21410"/>
                  <a:pt x="13435" y="21274"/>
                  <a:pt x="13424" y="21296"/>
                </a:cubicBezTo>
                <a:cubicBezTo>
                  <a:pt x="13298" y="21301"/>
                  <a:pt x="13370" y="21161"/>
                  <a:pt x="13453" y="21228"/>
                </a:cubicBezTo>
                <a:cubicBezTo>
                  <a:pt x="13471" y="21231"/>
                  <a:pt x="13519" y="21238"/>
                  <a:pt x="13559" y="21247"/>
                </a:cubicBezTo>
                <a:cubicBezTo>
                  <a:pt x="13566" y="21245"/>
                  <a:pt x="13573" y="21246"/>
                  <a:pt x="13579" y="21248"/>
                </a:cubicBezTo>
                <a:cubicBezTo>
                  <a:pt x="13577" y="21234"/>
                  <a:pt x="13578" y="21212"/>
                  <a:pt x="13577" y="21193"/>
                </a:cubicBezTo>
                <a:cubicBezTo>
                  <a:pt x="13592" y="21197"/>
                  <a:pt x="13628" y="21198"/>
                  <a:pt x="13646" y="21199"/>
                </a:cubicBezTo>
                <a:cubicBezTo>
                  <a:pt x="13631" y="21177"/>
                  <a:pt x="13675" y="21111"/>
                  <a:pt x="13646" y="21082"/>
                </a:cubicBezTo>
                <a:cubicBezTo>
                  <a:pt x="13672" y="21075"/>
                  <a:pt x="13689" y="21067"/>
                  <a:pt x="13702" y="21060"/>
                </a:cubicBezTo>
                <a:cubicBezTo>
                  <a:pt x="13718" y="21007"/>
                  <a:pt x="13684" y="21008"/>
                  <a:pt x="13661" y="21016"/>
                </a:cubicBezTo>
                <a:cubicBezTo>
                  <a:pt x="13665" y="21018"/>
                  <a:pt x="13669" y="21020"/>
                  <a:pt x="13675" y="21022"/>
                </a:cubicBezTo>
                <a:cubicBezTo>
                  <a:pt x="13628" y="21038"/>
                  <a:pt x="13640" y="21023"/>
                  <a:pt x="13661" y="21016"/>
                </a:cubicBezTo>
                <a:cubicBezTo>
                  <a:pt x="13624" y="20995"/>
                  <a:pt x="13697" y="20982"/>
                  <a:pt x="13751" y="20965"/>
                </a:cubicBezTo>
                <a:cubicBezTo>
                  <a:pt x="13742" y="20958"/>
                  <a:pt x="13730" y="20942"/>
                  <a:pt x="13718" y="20909"/>
                </a:cubicBezTo>
                <a:cubicBezTo>
                  <a:pt x="13725" y="20949"/>
                  <a:pt x="13772" y="20891"/>
                  <a:pt x="13786" y="20865"/>
                </a:cubicBezTo>
                <a:cubicBezTo>
                  <a:pt x="13787" y="20861"/>
                  <a:pt x="13787" y="20858"/>
                  <a:pt x="13788" y="20853"/>
                </a:cubicBezTo>
                <a:cubicBezTo>
                  <a:pt x="13793" y="20850"/>
                  <a:pt x="13791" y="20856"/>
                  <a:pt x="13786" y="20865"/>
                </a:cubicBezTo>
                <a:cubicBezTo>
                  <a:pt x="13773" y="20960"/>
                  <a:pt x="13817" y="20905"/>
                  <a:pt x="13802" y="20872"/>
                </a:cubicBezTo>
                <a:cubicBezTo>
                  <a:pt x="13795" y="20815"/>
                  <a:pt x="13861" y="20889"/>
                  <a:pt x="13894" y="20892"/>
                </a:cubicBezTo>
                <a:cubicBezTo>
                  <a:pt x="13897" y="20891"/>
                  <a:pt x="13900" y="20890"/>
                  <a:pt x="13905" y="20887"/>
                </a:cubicBezTo>
                <a:cubicBezTo>
                  <a:pt x="13902" y="20891"/>
                  <a:pt x="13899" y="20892"/>
                  <a:pt x="13894" y="20892"/>
                </a:cubicBezTo>
                <a:cubicBezTo>
                  <a:pt x="13839" y="20911"/>
                  <a:pt x="13983" y="20883"/>
                  <a:pt x="13985" y="20805"/>
                </a:cubicBezTo>
                <a:cubicBezTo>
                  <a:pt x="13973" y="20810"/>
                  <a:pt x="13968" y="20811"/>
                  <a:pt x="13986" y="20802"/>
                </a:cubicBezTo>
                <a:cubicBezTo>
                  <a:pt x="13986" y="20803"/>
                  <a:pt x="13985" y="20804"/>
                  <a:pt x="13985" y="20805"/>
                </a:cubicBezTo>
                <a:cubicBezTo>
                  <a:pt x="14005" y="20799"/>
                  <a:pt x="14045" y="20785"/>
                  <a:pt x="14034" y="20803"/>
                </a:cubicBezTo>
                <a:cubicBezTo>
                  <a:pt x="14061" y="20860"/>
                  <a:pt x="14091" y="20793"/>
                  <a:pt x="14077" y="20870"/>
                </a:cubicBezTo>
                <a:cubicBezTo>
                  <a:pt x="14174" y="20805"/>
                  <a:pt x="14152" y="20857"/>
                  <a:pt x="14173" y="20834"/>
                </a:cubicBezTo>
                <a:cubicBezTo>
                  <a:pt x="14239" y="20916"/>
                  <a:pt x="14278" y="20921"/>
                  <a:pt x="14282" y="20915"/>
                </a:cubicBezTo>
                <a:cubicBezTo>
                  <a:pt x="14275" y="20909"/>
                  <a:pt x="14268" y="20906"/>
                  <a:pt x="14264" y="20904"/>
                </a:cubicBezTo>
                <a:cubicBezTo>
                  <a:pt x="14262" y="20904"/>
                  <a:pt x="14261" y="20903"/>
                  <a:pt x="14258" y="20902"/>
                </a:cubicBezTo>
                <a:cubicBezTo>
                  <a:pt x="14257" y="20900"/>
                  <a:pt x="14260" y="20901"/>
                  <a:pt x="14264" y="20904"/>
                </a:cubicBezTo>
                <a:cubicBezTo>
                  <a:pt x="14278" y="20906"/>
                  <a:pt x="14284" y="20911"/>
                  <a:pt x="14282" y="20915"/>
                </a:cubicBezTo>
                <a:cubicBezTo>
                  <a:pt x="14288" y="20918"/>
                  <a:pt x="14294" y="20923"/>
                  <a:pt x="14300" y="20927"/>
                </a:cubicBezTo>
                <a:cubicBezTo>
                  <a:pt x="14302" y="20920"/>
                  <a:pt x="14304" y="20911"/>
                  <a:pt x="14309" y="20903"/>
                </a:cubicBezTo>
                <a:cubicBezTo>
                  <a:pt x="14305" y="20901"/>
                  <a:pt x="14304" y="20900"/>
                  <a:pt x="14311" y="20898"/>
                </a:cubicBezTo>
                <a:cubicBezTo>
                  <a:pt x="14310" y="20899"/>
                  <a:pt x="14310" y="20901"/>
                  <a:pt x="14309" y="20903"/>
                </a:cubicBezTo>
                <a:cubicBezTo>
                  <a:pt x="14326" y="20909"/>
                  <a:pt x="14415" y="20916"/>
                  <a:pt x="14395" y="20957"/>
                </a:cubicBezTo>
                <a:cubicBezTo>
                  <a:pt x="14408" y="20959"/>
                  <a:pt x="14428" y="20979"/>
                  <a:pt x="14420" y="21002"/>
                </a:cubicBezTo>
                <a:cubicBezTo>
                  <a:pt x="14446" y="20965"/>
                  <a:pt x="14493" y="20943"/>
                  <a:pt x="14536" y="20969"/>
                </a:cubicBezTo>
                <a:cubicBezTo>
                  <a:pt x="14649" y="20940"/>
                  <a:pt x="14571" y="21075"/>
                  <a:pt x="14645" y="21049"/>
                </a:cubicBezTo>
                <a:cubicBezTo>
                  <a:pt x="14647" y="21006"/>
                  <a:pt x="14676" y="21016"/>
                  <a:pt x="14720" y="21006"/>
                </a:cubicBezTo>
                <a:cubicBezTo>
                  <a:pt x="14742" y="21043"/>
                  <a:pt x="14728" y="20967"/>
                  <a:pt x="14752" y="21072"/>
                </a:cubicBezTo>
                <a:cubicBezTo>
                  <a:pt x="14881" y="21136"/>
                  <a:pt x="14845" y="21018"/>
                  <a:pt x="14864" y="21157"/>
                </a:cubicBezTo>
                <a:cubicBezTo>
                  <a:pt x="14866" y="21139"/>
                  <a:pt x="14847" y="21104"/>
                  <a:pt x="14910" y="21124"/>
                </a:cubicBezTo>
                <a:cubicBezTo>
                  <a:pt x="14886" y="21238"/>
                  <a:pt x="15033" y="21137"/>
                  <a:pt x="14969" y="21198"/>
                </a:cubicBezTo>
                <a:cubicBezTo>
                  <a:pt x="14999" y="21201"/>
                  <a:pt x="15072" y="21225"/>
                  <a:pt x="15067" y="21276"/>
                </a:cubicBezTo>
                <a:cubicBezTo>
                  <a:pt x="15079" y="21437"/>
                  <a:pt x="15104" y="21193"/>
                  <a:pt x="15170" y="21353"/>
                </a:cubicBezTo>
                <a:cubicBezTo>
                  <a:pt x="15185" y="21360"/>
                  <a:pt x="15218" y="21343"/>
                  <a:pt x="15243" y="21325"/>
                </a:cubicBezTo>
                <a:cubicBezTo>
                  <a:pt x="15242" y="21318"/>
                  <a:pt x="15241" y="21308"/>
                  <a:pt x="15244" y="21295"/>
                </a:cubicBezTo>
                <a:cubicBezTo>
                  <a:pt x="15294" y="21276"/>
                  <a:pt x="15275" y="21302"/>
                  <a:pt x="15243" y="21325"/>
                </a:cubicBezTo>
                <a:cubicBezTo>
                  <a:pt x="15250" y="21366"/>
                  <a:pt x="15305" y="21318"/>
                  <a:pt x="15262" y="21194"/>
                </a:cubicBezTo>
                <a:cubicBezTo>
                  <a:pt x="15173" y="21137"/>
                  <a:pt x="15274" y="21218"/>
                  <a:pt x="15260" y="21089"/>
                </a:cubicBezTo>
                <a:cubicBezTo>
                  <a:pt x="15312" y="21129"/>
                  <a:pt x="15264" y="21173"/>
                  <a:pt x="15314" y="21022"/>
                </a:cubicBezTo>
                <a:cubicBezTo>
                  <a:pt x="15249" y="20909"/>
                  <a:pt x="15358" y="21066"/>
                  <a:pt x="15357" y="20925"/>
                </a:cubicBezTo>
                <a:cubicBezTo>
                  <a:pt x="15353" y="20985"/>
                  <a:pt x="15354" y="20915"/>
                  <a:pt x="15428" y="20883"/>
                </a:cubicBezTo>
                <a:cubicBezTo>
                  <a:pt x="15493" y="20832"/>
                  <a:pt x="15550" y="20995"/>
                  <a:pt x="15545" y="20865"/>
                </a:cubicBezTo>
                <a:cubicBezTo>
                  <a:pt x="15576" y="20761"/>
                  <a:pt x="15599" y="20886"/>
                  <a:pt x="15649" y="20880"/>
                </a:cubicBezTo>
                <a:cubicBezTo>
                  <a:pt x="15777" y="21016"/>
                  <a:pt x="15655" y="20860"/>
                  <a:pt x="15758" y="20936"/>
                </a:cubicBezTo>
                <a:cubicBezTo>
                  <a:pt x="15830" y="21089"/>
                  <a:pt x="15791" y="20928"/>
                  <a:pt x="15852" y="20989"/>
                </a:cubicBezTo>
                <a:cubicBezTo>
                  <a:pt x="15904" y="21023"/>
                  <a:pt x="15866" y="20999"/>
                  <a:pt x="15933" y="21014"/>
                </a:cubicBezTo>
                <a:cubicBezTo>
                  <a:pt x="15955" y="21014"/>
                  <a:pt x="15931" y="21065"/>
                  <a:pt x="16009" y="21074"/>
                </a:cubicBezTo>
                <a:cubicBezTo>
                  <a:pt x="16106" y="21056"/>
                  <a:pt x="16135" y="21078"/>
                  <a:pt x="16125" y="21077"/>
                </a:cubicBezTo>
                <a:cubicBezTo>
                  <a:pt x="16097" y="21219"/>
                  <a:pt x="16224" y="20985"/>
                  <a:pt x="16231" y="21088"/>
                </a:cubicBezTo>
                <a:cubicBezTo>
                  <a:pt x="16316" y="21231"/>
                  <a:pt x="16308" y="21023"/>
                  <a:pt x="16324" y="21078"/>
                </a:cubicBezTo>
                <a:cubicBezTo>
                  <a:pt x="16329" y="21068"/>
                  <a:pt x="16353" y="21026"/>
                  <a:pt x="16405" y="21066"/>
                </a:cubicBezTo>
                <a:cubicBezTo>
                  <a:pt x="16416" y="21105"/>
                  <a:pt x="16465" y="21120"/>
                  <a:pt x="16460" y="21104"/>
                </a:cubicBezTo>
                <a:cubicBezTo>
                  <a:pt x="16449" y="21095"/>
                  <a:pt x="16430" y="21028"/>
                  <a:pt x="16485" y="20995"/>
                </a:cubicBezTo>
                <a:cubicBezTo>
                  <a:pt x="16514" y="20991"/>
                  <a:pt x="16477" y="21111"/>
                  <a:pt x="16535" y="20984"/>
                </a:cubicBezTo>
                <a:cubicBezTo>
                  <a:pt x="16480" y="20993"/>
                  <a:pt x="16505" y="20897"/>
                  <a:pt x="16558" y="20902"/>
                </a:cubicBezTo>
                <a:cubicBezTo>
                  <a:pt x="16557" y="20898"/>
                  <a:pt x="16581" y="20836"/>
                  <a:pt x="16647" y="20830"/>
                </a:cubicBezTo>
                <a:cubicBezTo>
                  <a:pt x="16696" y="20785"/>
                  <a:pt x="16730" y="20704"/>
                  <a:pt x="16732" y="20718"/>
                </a:cubicBezTo>
                <a:cubicBezTo>
                  <a:pt x="16717" y="20643"/>
                  <a:pt x="16761" y="20644"/>
                  <a:pt x="16787" y="20647"/>
                </a:cubicBezTo>
                <a:cubicBezTo>
                  <a:pt x="16789" y="20609"/>
                  <a:pt x="16810" y="20591"/>
                  <a:pt x="16828" y="20586"/>
                </a:cubicBezTo>
                <a:cubicBezTo>
                  <a:pt x="16818" y="20559"/>
                  <a:pt x="16818" y="20548"/>
                  <a:pt x="16847" y="20585"/>
                </a:cubicBezTo>
                <a:cubicBezTo>
                  <a:pt x="16842" y="20583"/>
                  <a:pt x="16836" y="20584"/>
                  <a:pt x="16828" y="20586"/>
                </a:cubicBezTo>
                <a:cubicBezTo>
                  <a:pt x="16845" y="20631"/>
                  <a:pt x="16892" y="20721"/>
                  <a:pt x="16891" y="20704"/>
                </a:cubicBezTo>
                <a:cubicBezTo>
                  <a:pt x="16953" y="20673"/>
                  <a:pt x="16986" y="20670"/>
                  <a:pt x="16972" y="20723"/>
                </a:cubicBezTo>
                <a:cubicBezTo>
                  <a:pt x="16989" y="20719"/>
                  <a:pt x="17013" y="20715"/>
                  <a:pt x="17035" y="20711"/>
                </a:cubicBezTo>
                <a:cubicBezTo>
                  <a:pt x="17054" y="20723"/>
                  <a:pt x="17067" y="20726"/>
                  <a:pt x="17077" y="20726"/>
                </a:cubicBezTo>
                <a:cubicBezTo>
                  <a:pt x="17056" y="20686"/>
                  <a:pt x="17119" y="20583"/>
                  <a:pt x="17153" y="20639"/>
                </a:cubicBezTo>
                <a:cubicBezTo>
                  <a:pt x="17224" y="20657"/>
                  <a:pt x="17123" y="20549"/>
                  <a:pt x="17238" y="20643"/>
                </a:cubicBezTo>
                <a:cubicBezTo>
                  <a:pt x="17214" y="20761"/>
                  <a:pt x="17212" y="20646"/>
                  <a:pt x="17316" y="20711"/>
                </a:cubicBezTo>
                <a:cubicBezTo>
                  <a:pt x="17318" y="20697"/>
                  <a:pt x="17389" y="20895"/>
                  <a:pt x="17379" y="20810"/>
                </a:cubicBezTo>
                <a:cubicBezTo>
                  <a:pt x="17449" y="20847"/>
                  <a:pt x="17360" y="20862"/>
                  <a:pt x="17436" y="20920"/>
                </a:cubicBezTo>
                <a:cubicBezTo>
                  <a:pt x="17384" y="20950"/>
                  <a:pt x="17534" y="20926"/>
                  <a:pt x="17495" y="20949"/>
                </a:cubicBezTo>
                <a:cubicBezTo>
                  <a:pt x="17550" y="21005"/>
                  <a:pt x="17557" y="21025"/>
                  <a:pt x="17492" y="21042"/>
                </a:cubicBezTo>
                <a:cubicBezTo>
                  <a:pt x="17531" y="21102"/>
                  <a:pt x="17530" y="21141"/>
                  <a:pt x="17525" y="21157"/>
                </a:cubicBezTo>
                <a:cubicBezTo>
                  <a:pt x="17590" y="21188"/>
                  <a:pt x="17581" y="21107"/>
                  <a:pt x="17605" y="21051"/>
                </a:cubicBezTo>
                <a:cubicBezTo>
                  <a:pt x="17691" y="21128"/>
                  <a:pt x="17614" y="20875"/>
                  <a:pt x="17680" y="20929"/>
                </a:cubicBezTo>
                <a:cubicBezTo>
                  <a:pt x="17753" y="20891"/>
                  <a:pt x="17713" y="21082"/>
                  <a:pt x="17711" y="21071"/>
                </a:cubicBezTo>
                <a:cubicBezTo>
                  <a:pt x="17787" y="21175"/>
                  <a:pt x="17765" y="21013"/>
                  <a:pt x="17767" y="21182"/>
                </a:cubicBezTo>
                <a:cubicBezTo>
                  <a:pt x="17707" y="21168"/>
                  <a:pt x="17817" y="21230"/>
                  <a:pt x="17836" y="21308"/>
                </a:cubicBezTo>
                <a:cubicBezTo>
                  <a:pt x="17949" y="21324"/>
                  <a:pt x="17784" y="21448"/>
                  <a:pt x="17885" y="21394"/>
                </a:cubicBezTo>
                <a:cubicBezTo>
                  <a:pt x="17849" y="21323"/>
                  <a:pt x="17953" y="21397"/>
                  <a:pt x="17923" y="21265"/>
                </a:cubicBezTo>
                <a:cubicBezTo>
                  <a:pt x="18004" y="21276"/>
                  <a:pt x="18009" y="21231"/>
                  <a:pt x="17982" y="21171"/>
                </a:cubicBezTo>
                <a:cubicBezTo>
                  <a:pt x="18005" y="21118"/>
                  <a:pt x="18019" y="21093"/>
                  <a:pt x="18027" y="21081"/>
                </a:cubicBezTo>
                <a:cubicBezTo>
                  <a:pt x="18024" y="21081"/>
                  <a:pt x="18021" y="21081"/>
                  <a:pt x="18019" y="21078"/>
                </a:cubicBezTo>
                <a:cubicBezTo>
                  <a:pt x="17983" y="21020"/>
                  <a:pt x="18012" y="21022"/>
                  <a:pt x="17983" y="21000"/>
                </a:cubicBezTo>
                <a:cubicBezTo>
                  <a:pt x="17954" y="20966"/>
                  <a:pt x="18059" y="20981"/>
                  <a:pt x="18016" y="20922"/>
                </a:cubicBezTo>
                <a:cubicBezTo>
                  <a:pt x="18001" y="20847"/>
                  <a:pt x="18026" y="20908"/>
                  <a:pt x="18028" y="20914"/>
                </a:cubicBezTo>
                <a:cubicBezTo>
                  <a:pt x="18016" y="20965"/>
                  <a:pt x="18078" y="20975"/>
                  <a:pt x="18112" y="20978"/>
                </a:cubicBezTo>
                <a:cubicBezTo>
                  <a:pt x="18174" y="21035"/>
                  <a:pt x="18099" y="21092"/>
                  <a:pt x="18209" y="21049"/>
                </a:cubicBezTo>
                <a:cubicBezTo>
                  <a:pt x="18257" y="21002"/>
                  <a:pt x="18281" y="20985"/>
                  <a:pt x="18210" y="20965"/>
                </a:cubicBezTo>
                <a:cubicBezTo>
                  <a:pt x="18162" y="20956"/>
                  <a:pt x="18148" y="20841"/>
                  <a:pt x="18211" y="20849"/>
                </a:cubicBezTo>
                <a:cubicBezTo>
                  <a:pt x="18180" y="20845"/>
                  <a:pt x="18210" y="20716"/>
                  <a:pt x="18222" y="20732"/>
                </a:cubicBezTo>
                <a:cubicBezTo>
                  <a:pt x="18215" y="20671"/>
                  <a:pt x="18250" y="20725"/>
                  <a:pt x="18263" y="20628"/>
                </a:cubicBezTo>
                <a:cubicBezTo>
                  <a:pt x="18282" y="20622"/>
                  <a:pt x="18375" y="20597"/>
                  <a:pt x="18318" y="20554"/>
                </a:cubicBezTo>
                <a:cubicBezTo>
                  <a:pt x="18354" y="20554"/>
                  <a:pt x="18361" y="20520"/>
                  <a:pt x="18401" y="20528"/>
                </a:cubicBezTo>
                <a:cubicBezTo>
                  <a:pt x="18417" y="20511"/>
                  <a:pt x="18462" y="20546"/>
                  <a:pt x="18456" y="20545"/>
                </a:cubicBezTo>
                <a:cubicBezTo>
                  <a:pt x="18475" y="20627"/>
                  <a:pt x="18500" y="20670"/>
                  <a:pt x="18533" y="20642"/>
                </a:cubicBezTo>
                <a:cubicBezTo>
                  <a:pt x="18576" y="20706"/>
                  <a:pt x="18557" y="20670"/>
                  <a:pt x="18603" y="20756"/>
                </a:cubicBezTo>
                <a:cubicBezTo>
                  <a:pt x="18635" y="20827"/>
                  <a:pt x="18630" y="20754"/>
                  <a:pt x="18661" y="20872"/>
                </a:cubicBezTo>
                <a:cubicBezTo>
                  <a:pt x="18675" y="20906"/>
                  <a:pt x="18700" y="21007"/>
                  <a:pt x="18720" y="20957"/>
                </a:cubicBezTo>
                <a:cubicBezTo>
                  <a:pt x="18748" y="20986"/>
                  <a:pt x="18762" y="21013"/>
                  <a:pt x="18768" y="21034"/>
                </a:cubicBezTo>
                <a:cubicBezTo>
                  <a:pt x="18787" y="20936"/>
                  <a:pt x="18778" y="20982"/>
                  <a:pt x="18825" y="20999"/>
                </a:cubicBezTo>
                <a:cubicBezTo>
                  <a:pt x="18898" y="21048"/>
                  <a:pt x="18880" y="20932"/>
                  <a:pt x="18795" y="20867"/>
                </a:cubicBezTo>
                <a:cubicBezTo>
                  <a:pt x="18748" y="20901"/>
                  <a:pt x="18754" y="20753"/>
                  <a:pt x="18781" y="20763"/>
                </a:cubicBezTo>
                <a:cubicBezTo>
                  <a:pt x="18668" y="20723"/>
                  <a:pt x="18698" y="20691"/>
                  <a:pt x="18808" y="20654"/>
                </a:cubicBezTo>
                <a:cubicBezTo>
                  <a:pt x="18718" y="20571"/>
                  <a:pt x="18753" y="20529"/>
                  <a:pt x="18770" y="20564"/>
                </a:cubicBezTo>
                <a:cubicBezTo>
                  <a:pt x="18754" y="20558"/>
                  <a:pt x="18783" y="20515"/>
                  <a:pt x="18840" y="20445"/>
                </a:cubicBezTo>
                <a:cubicBezTo>
                  <a:pt x="18856" y="20492"/>
                  <a:pt x="18951" y="20451"/>
                  <a:pt x="18929" y="20490"/>
                </a:cubicBezTo>
                <a:cubicBezTo>
                  <a:pt x="19023" y="20442"/>
                  <a:pt x="19015" y="20556"/>
                  <a:pt x="19027" y="20601"/>
                </a:cubicBezTo>
                <a:cubicBezTo>
                  <a:pt x="19024" y="20674"/>
                  <a:pt x="19093" y="20668"/>
                  <a:pt x="19105" y="20714"/>
                </a:cubicBezTo>
                <a:cubicBezTo>
                  <a:pt x="19157" y="20807"/>
                  <a:pt x="19117" y="20828"/>
                  <a:pt x="19185" y="20846"/>
                </a:cubicBezTo>
                <a:cubicBezTo>
                  <a:pt x="19186" y="20877"/>
                  <a:pt x="19245" y="20875"/>
                  <a:pt x="19231" y="20887"/>
                </a:cubicBezTo>
                <a:cubicBezTo>
                  <a:pt x="19267" y="20949"/>
                  <a:pt x="19249" y="20887"/>
                  <a:pt x="19261" y="20994"/>
                </a:cubicBezTo>
                <a:cubicBezTo>
                  <a:pt x="19290" y="21092"/>
                  <a:pt x="19404" y="21091"/>
                  <a:pt x="19315" y="21128"/>
                </a:cubicBezTo>
                <a:cubicBezTo>
                  <a:pt x="19358" y="21225"/>
                  <a:pt x="19279" y="21120"/>
                  <a:pt x="19387" y="21256"/>
                </a:cubicBezTo>
                <a:cubicBezTo>
                  <a:pt x="19380" y="21346"/>
                  <a:pt x="19335" y="21425"/>
                  <a:pt x="19417" y="21391"/>
                </a:cubicBezTo>
                <a:cubicBezTo>
                  <a:pt x="19489" y="21421"/>
                  <a:pt x="19480" y="21333"/>
                  <a:pt x="19537" y="21305"/>
                </a:cubicBezTo>
                <a:cubicBezTo>
                  <a:pt x="19585" y="21280"/>
                  <a:pt x="19613" y="21210"/>
                  <a:pt x="19609" y="21249"/>
                </a:cubicBezTo>
                <a:cubicBezTo>
                  <a:pt x="19645" y="21198"/>
                  <a:pt x="19708" y="21147"/>
                  <a:pt x="19718" y="21153"/>
                </a:cubicBezTo>
                <a:cubicBezTo>
                  <a:pt x="19729" y="21107"/>
                  <a:pt x="19737" y="21027"/>
                  <a:pt x="19790" y="21078"/>
                </a:cubicBezTo>
                <a:cubicBezTo>
                  <a:pt x="19866" y="21055"/>
                  <a:pt x="19815" y="20997"/>
                  <a:pt x="19844" y="20981"/>
                </a:cubicBezTo>
                <a:cubicBezTo>
                  <a:pt x="19901" y="20984"/>
                  <a:pt x="19864" y="20972"/>
                  <a:pt x="19901" y="20932"/>
                </a:cubicBezTo>
                <a:cubicBezTo>
                  <a:pt x="20007" y="20901"/>
                  <a:pt x="20020" y="20929"/>
                  <a:pt x="19969" y="20899"/>
                </a:cubicBezTo>
                <a:cubicBezTo>
                  <a:pt x="20006" y="20842"/>
                  <a:pt x="20008" y="20797"/>
                  <a:pt x="20074" y="20838"/>
                </a:cubicBezTo>
                <a:cubicBezTo>
                  <a:pt x="20104" y="20869"/>
                  <a:pt x="20123" y="20869"/>
                  <a:pt x="20140" y="20854"/>
                </a:cubicBezTo>
                <a:cubicBezTo>
                  <a:pt x="20148" y="20846"/>
                  <a:pt x="20156" y="20835"/>
                  <a:pt x="20163" y="20824"/>
                </a:cubicBezTo>
                <a:cubicBezTo>
                  <a:pt x="20160" y="20816"/>
                  <a:pt x="20158" y="20805"/>
                  <a:pt x="20156" y="20796"/>
                </a:cubicBezTo>
                <a:cubicBezTo>
                  <a:pt x="20164" y="20780"/>
                  <a:pt x="20167" y="20738"/>
                  <a:pt x="20178" y="20719"/>
                </a:cubicBezTo>
                <a:cubicBezTo>
                  <a:pt x="20176" y="20709"/>
                  <a:pt x="20175" y="20700"/>
                  <a:pt x="20173" y="20692"/>
                </a:cubicBezTo>
                <a:cubicBezTo>
                  <a:pt x="20167" y="20696"/>
                  <a:pt x="20161" y="20700"/>
                  <a:pt x="20156" y="20703"/>
                </a:cubicBezTo>
                <a:cubicBezTo>
                  <a:pt x="20153" y="20711"/>
                  <a:pt x="20152" y="20718"/>
                  <a:pt x="20150" y="20729"/>
                </a:cubicBezTo>
                <a:cubicBezTo>
                  <a:pt x="20131" y="20726"/>
                  <a:pt x="20139" y="20716"/>
                  <a:pt x="20156" y="20703"/>
                </a:cubicBezTo>
                <a:cubicBezTo>
                  <a:pt x="20164" y="20661"/>
                  <a:pt x="20169" y="20667"/>
                  <a:pt x="20173" y="20692"/>
                </a:cubicBezTo>
                <a:cubicBezTo>
                  <a:pt x="20188" y="20683"/>
                  <a:pt x="20206" y="20675"/>
                  <a:pt x="20221" y="20667"/>
                </a:cubicBezTo>
                <a:cubicBezTo>
                  <a:pt x="20225" y="20663"/>
                  <a:pt x="20230" y="20659"/>
                  <a:pt x="20236" y="20655"/>
                </a:cubicBezTo>
                <a:cubicBezTo>
                  <a:pt x="20234" y="20651"/>
                  <a:pt x="20239" y="20648"/>
                  <a:pt x="20248" y="20647"/>
                </a:cubicBezTo>
                <a:cubicBezTo>
                  <a:pt x="20253" y="20645"/>
                  <a:pt x="20257" y="20642"/>
                  <a:pt x="20261" y="20641"/>
                </a:cubicBezTo>
                <a:cubicBezTo>
                  <a:pt x="20274" y="20634"/>
                  <a:pt x="20300" y="20620"/>
                  <a:pt x="20321" y="20607"/>
                </a:cubicBezTo>
                <a:cubicBezTo>
                  <a:pt x="20324" y="20603"/>
                  <a:pt x="20328" y="20601"/>
                  <a:pt x="20332" y="20596"/>
                </a:cubicBezTo>
                <a:cubicBezTo>
                  <a:pt x="20351" y="20556"/>
                  <a:pt x="20354" y="20537"/>
                  <a:pt x="20349" y="20515"/>
                </a:cubicBezTo>
                <a:cubicBezTo>
                  <a:pt x="20300" y="20484"/>
                  <a:pt x="20353" y="20507"/>
                  <a:pt x="20336" y="20470"/>
                </a:cubicBezTo>
                <a:cubicBezTo>
                  <a:pt x="20342" y="20489"/>
                  <a:pt x="20347" y="20502"/>
                  <a:pt x="20349" y="20515"/>
                </a:cubicBezTo>
                <a:cubicBezTo>
                  <a:pt x="20358" y="20520"/>
                  <a:pt x="20369" y="20527"/>
                  <a:pt x="20386" y="20537"/>
                </a:cubicBezTo>
                <a:cubicBezTo>
                  <a:pt x="20369" y="20611"/>
                  <a:pt x="20424" y="20593"/>
                  <a:pt x="20438" y="20676"/>
                </a:cubicBezTo>
                <a:cubicBezTo>
                  <a:pt x="20495" y="20756"/>
                  <a:pt x="20344" y="20744"/>
                  <a:pt x="20456" y="20760"/>
                </a:cubicBezTo>
                <a:cubicBezTo>
                  <a:pt x="20491" y="20852"/>
                  <a:pt x="20692" y="20789"/>
                  <a:pt x="20524" y="20854"/>
                </a:cubicBezTo>
                <a:cubicBezTo>
                  <a:pt x="20521" y="20855"/>
                  <a:pt x="20519" y="20857"/>
                  <a:pt x="20517" y="20858"/>
                </a:cubicBezTo>
                <a:cubicBezTo>
                  <a:pt x="20526" y="20863"/>
                  <a:pt x="20533" y="20880"/>
                  <a:pt x="20518" y="20902"/>
                </a:cubicBezTo>
                <a:cubicBezTo>
                  <a:pt x="20528" y="20915"/>
                  <a:pt x="20532" y="20924"/>
                  <a:pt x="20534" y="20933"/>
                </a:cubicBezTo>
                <a:cubicBezTo>
                  <a:pt x="20543" y="20947"/>
                  <a:pt x="20554" y="20961"/>
                  <a:pt x="20569" y="20979"/>
                </a:cubicBezTo>
                <a:cubicBezTo>
                  <a:pt x="20602" y="20984"/>
                  <a:pt x="20620" y="20995"/>
                  <a:pt x="20630" y="21008"/>
                </a:cubicBezTo>
                <a:cubicBezTo>
                  <a:pt x="20632" y="21002"/>
                  <a:pt x="20632" y="20997"/>
                  <a:pt x="20635" y="20989"/>
                </a:cubicBezTo>
                <a:cubicBezTo>
                  <a:pt x="20635" y="20997"/>
                  <a:pt x="20633" y="21003"/>
                  <a:pt x="20632" y="21009"/>
                </a:cubicBezTo>
                <a:cubicBezTo>
                  <a:pt x="20638" y="21017"/>
                  <a:pt x="20642" y="21024"/>
                  <a:pt x="20642" y="21032"/>
                </a:cubicBezTo>
                <a:cubicBezTo>
                  <a:pt x="20648" y="21032"/>
                  <a:pt x="20654" y="21032"/>
                  <a:pt x="20662" y="21032"/>
                </a:cubicBezTo>
                <a:cubicBezTo>
                  <a:pt x="20708" y="20960"/>
                  <a:pt x="20623" y="20928"/>
                  <a:pt x="20696" y="20933"/>
                </a:cubicBezTo>
                <a:cubicBezTo>
                  <a:pt x="20707" y="20883"/>
                  <a:pt x="20625" y="20858"/>
                  <a:pt x="20763" y="20924"/>
                </a:cubicBezTo>
                <a:cubicBezTo>
                  <a:pt x="20758" y="20903"/>
                  <a:pt x="20756" y="20877"/>
                  <a:pt x="20761" y="20841"/>
                </a:cubicBezTo>
                <a:cubicBezTo>
                  <a:pt x="20596" y="20949"/>
                  <a:pt x="20749" y="20751"/>
                  <a:pt x="20758" y="20742"/>
                </a:cubicBezTo>
                <a:cubicBezTo>
                  <a:pt x="20815" y="20642"/>
                  <a:pt x="20883" y="20552"/>
                  <a:pt x="20836" y="20693"/>
                </a:cubicBezTo>
                <a:cubicBezTo>
                  <a:pt x="20780" y="20769"/>
                  <a:pt x="20779" y="20806"/>
                  <a:pt x="20822" y="20777"/>
                </a:cubicBezTo>
                <a:cubicBezTo>
                  <a:pt x="20836" y="20838"/>
                  <a:pt x="20917" y="20835"/>
                  <a:pt x="20898" y="20711"/>
                </a:cubicBezTo>
                <a:cubicBezTo>
                  <a:pt x="20898" y="20710"/>
                  <a:pt x="20897" y="20710"/>
                  <a:pt x="20896" y="20710"/>
                </a:cubicBezTo>
                <a:cubicBezTo>
                  <a:pt x="20863" y="20728"/>
                  <a:pt x="20865" y="20707"/>
                  <a:pt x="20896" y="20710"/>
                </a:cubicBezTo>
                <a:cubicBezTo>
                  <a:pt x="20897" y="20710"/>
                  <a:pt x="20898" y="20710"/>
                  <a:pt x="20898" y="20710"/>
                </a:cubicBezTo>
                <a:cubicBezTo>
                  <a:pt x="20896" y="20693"/>
                  <a:pt x="20891" y="20675"/>
                  <a:pt x="20885" y="20654"/>
                </a:cubicBezTo>
                <a:cubicBezTo>
                  <a:pt x="20888" y="20605"/>
                  <a:pt x="20900" y="20582"/>
                  <a:pt x="20911" y="20566"/>
                </a:cubicBezTo>
                <a:cubicBezTo>
                  <a:pt x="20899" y="20556"/>
                  <a:pt x="20897" y="20543"/>
                  <a:pt x="20903" y="20532"/>
                </a:cubicBezTo>
                <a:cubicBezTo>
                  <a:pt x="20886" y="20488"/>
                  <a:pt x="20866" y="20450"/>
                  <a:pt x="20922" y="20502"/>
                </a:cubicBezTo>
                <a:cubicBezTo>
                  <a:pt x="20924" y="20507"/>
                  <a:pt x="20926" y="20511"/>
                  <a:pt x="20926" y="20516"/>
                </a:cubicBezTo>
                <a:cubicBezTo>
                  <a:pt x="20948" y="20517"/>
                  <a:pt x="20972" y="20552"/>
                  <a:pt x="20945" y="20675"/>
                </a:cubicBezTo>
                <a:cubicBezTo>
                  <a:pt x="20924" y="20694"/>
                  <a:pt x="20910" y="20703"/>
                  <a:pt x="20898" y="20710"/>
                </a:cubicBezTo>
                <a:cubicBezTo>
                  <a:pt x="20898" y="20710"/>
                  <a:pt x="20898" y="20710"/>
                  <a:pt x="20898" y="20711"/>
                </a:cubicBezTo>
                <a:cubicBezTo>
                  <a:pt x="20920" y="20713"/>
                  <a:pt x="20955" y="20728"/>
                  <a:pt x="21002" y="20777"/>
                </a:cubicBezTo>
                <a:cubicBezTo>
                  <a:pt x="20959" y="20810"/>
                  <a:pt x="21094" y="20788"/>
                  <a:pt x="21016" y="20873"/>
                </a:cubicBezTo>
                <a:cubicBezTo>
                  <a:pt x="20969" y="20944"/>
                  <a:pt x="21014" y="20964"/>
                  <a:pt x="21043" y="20966"/>
                </a:cubicBezTo>
                <a:cubicBezTo>
                  <a:pt x="21043" y="20963"/>
                  <a:pt x="21043" y="20960"/>
                  <a:pt x="21042" y="20957"/>
                </a:cubicBezTo>
                <a:cubicBezTo>
                  <a:pt x="21036" y="20957"/>
                  <a:pt x="21028" y="20955"/>
                  <a:pt x="21019" y="20954"/>
                </a:cubicBezTo>
                <a:cubicBezTo>
                  <a:pt x="21035" y="20940"/>
                  <a:pt x="21040" y="20930"/>
                  <a:pt x="21043" y="20927"/>
                </a:cubicBezTo>
                <a:cubicBezTo>
                  <a:pt x="21043" y="20924"/>
                  <a:pt x="21043" y="20924"/>
                  <a:pt x="21043" y="20927"/>
                </a:cubicBezTo>
                <a:cubicBezTo>
                  <a:pt x="21040" y="20931"/>
                  <a:pt x="21040" y="20941"/>
                  <a:pt x="21042" y="20957"/>
                </a:cubicBezTo>
                <a:cubicBezTo>
                  <a:pt x="21074" y="20962"/>
                  <a:pt x="21063" y="20969"/>
                  <a:pt x="21043" y="20966"/>
                </a:cubicBezTo>
                <a:cubicBezTo>
                  <a:pt x="21045" y="20977"/>
                  <a:pt x="21049" y="20988"/>
                  <a:pt x="21054" y="21002"/>
                </a:cubicBezTo>
                <a:cubicBezTo>
                  <a:pt x="20979" y="21051"/>
                  <a:pt x="20945" y="21010"/>
                  <a:pt x="21065" y="21053"/>
                </a:cubicBezTo>
                <a:cubicBezTo>
                  <a:pt x="21040" y="21014"/>
                  <a:pt x="21147" y="21054"/>
                  <a:pt x="21116" y="21073"/>
                </a:cubicBezTo>
                <a:cubicBezTo>
                  <a:pt x="21097" y="21064"/>
                  <a:pt x="21081" y="21059"/>
                  <a:pt x="21065" y="21053"/>
                </a:cubicBezTo>
                <a:cubicBezTo>
                  <a:pt x="21076" y="21068"/>
                  <a:pt x="21105" y="21096"/>
                  <a:pt x="21173" y="21143"/>
                </a:cubicBezTo>
                <a:cubicBezTo>
                  <a:pt x="21191" y="21186"/>
                  <a:pt x="21214" y="21209"/>
                  <a:pt x="21234" y="21181"/>
                </a:cubicBezTo>
                <a:cubicBezTo>
                  <a:pt x="21248" y="21158"/>
                  <a:pt x="21200" y="21167"/>
                  <a:pt x="21254" y="21130"/>
                </a:cubicBezTo>
                <a:cubicBezTo>
                  <a:pt x="21248" y="21155"/>
                  <a:pt x="21242" y="21171"/>
                  <a:pt x="21234" y="21181"/>
                </a:cubicBezTo>
                <a:cubicBezTo>
                  <a:pt x="21230" y="21186"/>
                  <a:pt x="21226" y="21193"/>
                  <a:pt x="21215" y="21202"/>
                </a:cubicBezTo>
                <a:cubicBezTo>
                  <a:pt x="21245" y="21176"/>
                  <a:pt x="21318" y="21285"/>
                  <a:pt x="21308" y="21226"/>
                </a:cubicBezTo>
                <a:cubicBezTo>
                  <a:pt x="21316" y="21210"/>
                  <a:pt x="21328" y="21219"/>
                  <a:pt x="21339" y="21233"/>
                </a:cubicBezTo>
                <a:cubicBezTo>
                  <a:pt x="21332" y="21221"/>
                  <a:pt x="21325" y="21205"/>
                  <a:pt x="21316" y="21183"/>
                </a:cubicBezTo>
                <a:cubicBezTo>
                  <a:pt x="21368" y="21227"/>
                  <a:pt x="21391" y="21226"/>
                  <a:pt x="21401" y="21206"/>
                </a:cubicBezTo>
                <a:cubicBezTo>
                  <a:pt x="21403" y="21200"/>
                  <a:pt x="21405" y="21194"/>
                  <a:pt x="21407" y="21187"/>
                </a:cubicBezTo>
                <a:cubicBezTo>
                  <a:pt x="21413" y="21137"/>
                  <a:pt x="21381" y="21051"/>
                  <a:pt x="21396" y="21133"/>
                </a:cubicBezTo>
                <a:cubicBezTo>
                  <a:pt x="21368" y="21241"/>
                  <a:pt x="21317" y="21060"/>
                  <a:pt x="21440" y="21086"/>
                </a:cubicBezTo>
                <a:cubicBezTo>
                  <a:pt x="21453" y="21030"/>
                  <a:pt x="21450" y="20985"/>
                  <a:pt x="21408" y="20986"/>
                </a:cubicBezTo>
                <a:close/>
                <a:moveTo>
                  <a:pt x="21408" y="20986"/>
                </a:moveTo>
              </a:path>
            </a:pathLst>
          </a:custGeom>
          <a:solidFill>
            <a:schemeClr val="bg1"/>
          </a:solidFill>
          <a:ln w="3175" cmpd="sng">
            <a:solidFill>
              <a:schemeClr val="bg1">
                <a:lumMod val="85000"/>
              </a:schemeClr>
            </a:solidFill>
          </a:ln>
          <a:effectLst/>
        </p:spPr>
        <p:txBody>
          <a:bodyPr lIns="182880" tIns="182880" rIns="182880" bIns="91440"/>
          <a:lstStyle/>
          <a:p>
            <a:pPr defTabSz="1018705"/>
            <a:endParaRPr lang="en-US">
              <a:latin typeface="Times New Roman" charset="0"/>
              <a:ea typeface="Times New Roman" charset="0"/>
              <a:cs typeface="Times New Roman" charset="0"/>
            </a:endParaRPr>
          </a:p>
        </p:txBody>
      </p:sp>
      <p:sp>
        <p:nvSpPr>
          <p:cNvPr id="11" name="AutoShape 9"/>
          <p:cNvSpPr>
            <a:spLocks/>
          </p:cNvSpPr>
          <p:nvPr/>
        </p:nvSpPr>
        <p:spPr bwMode="auto">
          <a:xfrm rot="10800000" flipH="1" flipV="1">
            <a:off x="5132956" y="1445210"/>
            <a:ext cx="2217253" cy="1270769"/>
          </a:xfrm>
          <a:custGeom>
            <a:avLst/>
            <a:gdLst>
              <a:gd name="connsiteX0" fmla="*/ 353668 w 1897116"/>
              <a:gd name="connsiteY0" fmla="*/ 26940 h 1087290"/>
              <a:gd name="connsiteX1" fmla="*/ 353221 w 1897116"/>
              <a:gd name="connsiteY1" fmla="*/ 25809 h 1087290"/>
              <a:gd name="connsiteX2" fmla="*/ 357240 w 1897116"/>
              <a:gd name="connsiteY2" fmla="*/ 24733 h 1087290"/>
              <a:gd name="connsiteX3" fmla="*/ 353668 w 1897116"/>
              <a:gd name="connsiteY3" fmla="*/ 26940 h 1087290"/>
              <a:gd name="connsiteX4" fmla="*/ 304410 w 1897116"/>
              <a:gd name="connsiteY4" fmla="*/ 40485 h 1087290"/>
              <a:gd name="connsiteX5" fmla="*/ 302763 w 1897116"/>
              <a:gd name="connsiteY5" fmla="*/ 40108 h 1087290"/>
              <a:gd name="connsiteX6" fmla="*/ 302767 w 1897116"/>
              <a:gd name="connsiteY6" fmla="*/ 38706 h 1087290"/>
              <a:gd name="connsiteX7" fmla="*/ 304410 w 1897116"/>
              <a:gd name="connsiteY7" fmla="*/ 40485 h 1087290"/>
              <a:gd name="connsiteX8" fmla="*/ 312192 w 1897116"/>
              <a:gd name="connsiteY8" fmla="*/ 41597 h 1087290"/>
              <a:gd name="connsiteX9" fmla="*/ 310902 w 1897116"/>
              <a:gd name="connsiteY9" fmla="*/ 41519 h 1087290"/>
              <a:gd name="connsiteX10" fmla="*/ 310110 w 1897116"/>
              <a:gd name="connsiteY10" fmla="*/ 41149 h 1087290"/>
              <a:gd name="connsiteX11" fmla="*/ 312192 w 1897116"/>
              <a:gd name="connsiteY11" fmla="*/ 41597 h 1087290"/>
              <a:gd name="connsiteX12" fmla="*/ 316583 w 1897116"/>
              <a:gd name="connsiteY12" fmla="*/ 42541 h 1087290"/>
              <a:gd name="connsiteX13" fmla="*/ 312192 w 1897116"/>
              <a:gd name="connsiteY13" fmla="*/ 41597 h 1087290"/>
              <a:gd name="connsiteX14" fmla="*/ 312466 w 1897116"/>
              <a:gd name="connsiteY14" fmla="*/ 41613 h 1087290"/>
              <a:gd name="connsiteX15" fmla="*/ 316583 w 1897116"/>
              <a:gd name="connsiteY15" fmla="*/ 42541 h 1087290"/>
              <a:gd name="connsiteX16" fmla="*/ 119950 w 1897116"/>
              <a:gd name="connsiteY16" fmla="*/ 43716 h 1087290"/>
              <a:gd name="connsiteX17" fmla="*/ 117470 w 1897116"/>
              <a:gd name="connsiteY17" fmla="*/ 43272 h 1087290"/>
              <a:gd name="connsiteX18" fmla="*/ 118896 w 1897116"/>
              <a:gd name="connsiteY18" fmla="*/ 40545 h 1087290"/>
              <a:gd name="connsiteX19" fmla="*/ 120926 w 1897116"/>
              <a:gd name="connsiteY19" fmla="*/ 43701 h 1087290"/>
              <a:gd name="connsiteX20" fmla="*/ 119950 w 1897116"/>
              <a:gd name="connsiteY20" fmla="*/ 43716 h 1087290"/>
              <a:gd name="connsiteX21" fmla="*/ 115912 w 1897116"/>
              <a:gd name="connsiteY21" fmla="*/ 43782 h 1087290"/>
              <a:gd name="connsiteX22" fmla="*/ 115758 w 1897116"/>
              <a:gd name="connsiteY22" fmla="*/ 42965 h 1087290"/>
              <a:gd name="connsiteX23" fmla="*/ 117470 w 1897116"/>
              <a:gd name="connsiteY23" fmla="*/ 43272 h 1087290"/>
              <a:gd name="connsiteX24" fmla="*/ 117215 w 1897116"/>
              <a:gd name="connsiteY24" fmla="*/ 43761 h 1087290"/>
              <a:gd name="connsiteX25" fmla="*/ 115912 w 1897116"/>
              <a:gd name="connsiteY25" fmla="*/ 43782 h 1087290"/>
              <a:gd name="connsiteX26" fmla="*/ 159497 w 1897116"/>
              <a:gd name="connsiteY26" fmla="*/ 51308 h 1087290"/>
              <a:gd name="connsiteX27" fmla="*/ 159111 w 1897116"/>
              <a:gd name="connsiteY27" fmla="*/ 50219 h 1087290"/>
              <a:gd name="connsiteX28" fmla="*/ 159519 w 1897116"/>
              <a:gd name="connsiteY28" fmla="*/ 51302 h 1087290"/>
              <a:gd name="connsiteX29" fmla="*/ 159497 w 1897116"/>
              <a:gd name="connsiteY29" fmla="*/ 51308 h 1087290"/>
              <a:gd name="connsiteX30" fmla="*/ 358065 w 1897116"/>
              <a:gd name="connsiteY30" fmla="*/ 51467 h 1087290"/>
              <a:gd name="connsiteX31" fmla="*/ 357383 w 1897116"/>
              <a:gd name="connsiteY31" fmla="*/ 49085 h 1087290"/>
              <a:gd name="connsiteX32" fmla="*/ 358101 w 1897116"/>
              <a:gd name="connsiteY32" fmla="*/ 47405 h 1087290"/>
              <a:gd name="connsiteX33" fmla="*/ 358065 w 1897116"/>
              <a:gd name="connsiteY33" fmla="*/ 51467 h 1087290"/>
              <a:gd name="connsiteX34" fmla="*/ 137612 w 1897116"/>
              <a:gd name="connsiteY34" fmla="*/ 52078 h 1087290"/>
              <a:gd name="connsiteX35" fmla="*/ 134914 w 1897116"/>
              <a:gd name="connsiteY35" fmla="*/ 51247 h 1087290"/>
              <a:gd name="connsiteX36" fmla="*/ 137611 w 1897116"/>
              <a:gd name="connsiteY36" fmla="*/ 51817 h 1087290"/>
              <a:gd name="connsiteX37" fmla="*/ 137545 w 1897116"/>
              <a:gd name="connsiteY37" fmla="*/ 51974 h 1087290"/>
              <a:gd name="connsiteX38" fmla="*/ 137612 w 1897116"/>
              <a:gd name="connsiteY38" fmla="*/ 52078 h 1087290"/>
              <a:gd name="connsiteX39" fmla="*/ 138681 w 1897116"/>
              <a:gd name="connsiteY39" fmla="*/ 53721 h 1087290"/>
              <a:gd name="connsiteX40" fmla="*/ 137612 w 1897116"/>
              <a:gd name="connsiteY40" fmla="*/ 52078 h 1087290"/>
              <a:gd name="connsiteX41" fmla="*/ 139472 w 1897116"/>
              <a:gd name="connsiteY41" fmla="*/ 52650 h 1087290"/>
              <a:gd name="connsiteX42" fmla="*/ 138681 w 1897116"/>
              <a:gd name="connsiteY42" fmla="*/ 53721 h 1087290"/>
              <a:gd name="connsiteX43" fmla="*/ 40650 w 1897116"/>
              <a:gd name="connsiteY43" fmla="*/ 62426 h 1087290"/>
              <a:gd name="connsiteX44" fmla="*/ 40016 w 1897116"/>
              <a:gd name="connsiteY44" fmla="*/ 62421 h 1087290"/>
              <a:gd name="connsiteX45" fmla="*/ 39598 w 1897116"/>
              <a:gd name="connsiteY45" fmla="*/ 61960 h 1087290"/>
              <a:gd name="connsiteX46" fmla="*/ 40650 w 1897116"/>
              <a:gd name="connsiteY46" fmla="*/ 62426 h 1087290"/>
              <a:gd name="connsiteX47" fmla="*/ 40904 w 1897116"/>
              <a:gd name="connsiteY47" fmla="*/ 62538 h 1087290"/>
              <a:gd name="connsiteX48" fmla="*/ 40650 w 1897116"/>
              <a:gd name="connsiteY48" fmla="*/ 62426 h 1087290"/>
              <a:gd name="connsiteX49" fmla="*/ 40911 w 1897116"/>
              <a:gd name="connsiteY49" fmla="*/ 62428 h 1087290"/>
              <a:gd name="connsiteX50" fmla="*/ 40904 w 1897116"/>
              <a:gd name="connsiteY50" fmla="*/ 62538 h 1087290"/>
              <a:gd name="connsiteX51" fmla="*/ 548588 w 1897116"/>
              <a:gd name="connsiteY51" fmla="*/ 77263 h 1087290"/>
              <a:gd name="connsiteX52" fmla="*/ 547507 w 1897116"/>
              <a:gd name="connsiteY52" fmla="*/ 76900 h 1087290"/>
              <a:gd name="connsiteX53" fmla="*/ 547240 w 1897116"/>
              <a:gd name="connsiteY53" fmla="*/ 75428 h 1087290"/>
              <a:gd name="connsiteX54" fmla="*/ 549543 w 1897116"/>
              <a:gd name="connsiteY54" fmla="*/ 76777 h 1087290"/>
              <a:gd name="connsiteX55" fmla="*/ 548588 w 1897116"/>
              <a:gd name="connsiteY55" fmla="*/ 77263 h 1087290"/>
              <a:gd name="connsiteX56" fmla="*/ 551118 w 1897116"/>
              <a:gd name="connsiteY56" fmla="*/ 77700 h 1087290"/>
              <a:gd name="connsiteX57" fmla="*/ 549543 w 1897116"/>
              <a:gd name="connsiteY57" fmla="*/ 76777 h 1087290"/>
              <a:gd name="connsiteX58" fmla="*/ 554619 w 1897116"/>
              <a:gd name="connsiteY58" fmla="*/ 74193 h 1087290"/>
              <a:gd name="connsiteX59" fmla="*/ 551118 w 1897116"/>
              <a:gd name="connsiteY59" fmla="*/ 77700 h 1087290"/>
              <a:gd name="connsiteX60" fmla="*/ 1338885 w 1897116"/>
              <a:gd name="connsiteY60" fmla="*/ 1022661 h 1087290"/>
              <a:gd name="connsiteX61" fmla="*/ 1341644 w 1897116"/>
              <a:gd name="connsiteY61" fmla="*/ 1021457 h 1087290"/>
              <a:gd name="connsiteX62" fmla="*/ 1342888 w 1897116"/>
              <a:gd name="connsiteY62" fmla="*/ 1021693 h 1087290"/>
              <a:gd name="connsiteX63" fmla="*/ 1338885 w 1897116"/>
              <a:gd name="connsiteY63" fmla="*/ 1022661 h 1087290"/>
              <a:gd name="connsiteX64" fmla="*/ 1335812 w 1897116"/>
              <a:gd name="connsiteY64" fmla="*/ 1024002 h 1087290"/>
              <a:gd name="connsiteX65" fmla="*/ 1336781 w 1897116"/>
              <a:gd name="connsiteY65" fmla="*/ 1023170 h 1087290"/>
              <a:gd name="connsiteX66" fmla="*/ 1338885 w 1897116"/>
              <a:gd name="connsiteY66" fmla="*/ 1022661 h 1087290"/>
              <a:gd name="connsiteX67" fmla="*/ 1335812 w 1897116"/>
              <a:gd name="connsiteY67" fmla="*/ 1024002 h 1087290"/>
              <a:gd name="connsiteX68" fmla="*/ 1847201 w 1897116"/>
              <a:gd name="connsiteY68" fmla="*/ 1034040 h 1087290"/>
              <a:gd name="connsiteX69" fmla="*/ 1846940 w 1897116"/>
              <a:gd name="connsiteY69" fmla="*/ 1034038 h 1087290"/>
              <a:gd name="connsiteX70" fmla="*/ 1846947 w 1897116"/>
              <a:gd name="connsiteY70" fmla="*/ 1033944 h 1087290"/>
              <a:gd name="connsiteX71" fmla="*/ 1847201 w 1897116"/>
              <a:gd name="connsiteY71" fmla="*/ 1034040 h 1087290"/>
              <a:gd name="connsiteX72" fmla="*/ 1848247 w 1897116"/>
              <a:gd name="connsiteY72" fmla="*/ 1034437 h 1087290"/>
              <a:gd name="connsiteX73" fmla="*/ 1847201 w 1897116"/>
              <a:gd name="connsiteY73" fmla="*/ 1034040 h 1087290"/>
              <a:gd name="connsiteX74" fmla="*/ 1847831 w 1897116"/>
              <a:gd name="connsiteY74" fmla="*/ 1034044 h 1087290"/>
              <a:gd name="connsiteX75" fmla="*/ 1848247 w 1897116"/>
              <a:gd name="connsiteY75" fmla="*/ 1034437 h 1087290"/>
              <a:gd name="connsiteX76" fmla="*/ 1750725 w 1897116"/>
              <a:gd name="connsiteY76" fmla="*/ 1042867 h 1087290"/>
              <a:gd name="connsiteX77" fmla="*/ 1748875 w 1897116"/>
              <a:gd name="connsiteY77" fmla="*/ 1042379 h 1087290"/>
              <a:gd name="connsiteX78" fmla="*/ 1749661 w 1897116"/>
              <a:gd name="connsiteY78" fmla="*/ 1041465 h 1087290"/>
              <a:gd name="connsiteX79" fmla="*/ 1750725 w 1897116"/>
              <a:gd name="connsiteY79" fmla="*/ 1042867 h 1087290"/>
              <a:gd name="connsiteX80" fmla="*/ 1753410 w 1897116"/>
              <a:gd name="connsiteY80" fmla="*/ 1043576 h 1087290"/>
              <a:gd name="connsiteX81" fmla="*/ 1750726 w 1897116"/>
              <a:gd name="connsiteY81" fmla="*/ 1043089 h 1087290"/>
              <a:gd name="connsiteX82" fmla="*/ 1750792 w 1897116"/>
              <a:gd name="connsiteY82" fmla="*/ 1042955 h 1087290"/>
              <a:gd name="connsiteX83" fmla="*/ 1750725 w 1897116"/>
              <a:gd name="connsiteY83" fmla="*/ 1042867 h 1087290"/>
              <a:gd name="connsiteX84" fmla="*/ 1753410 w 1897116"/>
              <a:gd name="connsiteY84" fmla="*/ 1043576 h 1087290"/>
              <a:gd name="connsiteX85" fmla="*/ 1729333 w 1897116"/>
              <a:gd name="connsiteY85" fmla="*/ 1044453 h 1087290"/>
              <a:gd name="connsiteX86" fmla="*/ 1728928 w 1897116"/>
              <a:gd name="connsiteY86" fmla="*/ 1043528 h 1087290"/>
              <a:gd name="connsiteX87" fmla="*/ 1728950 w 1897116"/>
              <a:gd name="connsiteY87" fmla="*/ 1043524 h 1087290"/>
              <a:gd name="connsiteX88" fmla="*/ 1729333 w 1897116"/>
              <a:gd name="connsiteY88" fmla="*/ 1044453 h 1087290"/>
              <a:gd name="connsiteX89" fmla="*/ 1531343 w 1897116"/>
              <a:gd name="connsiteY89" fmla="*/ 1046853 h 1087290"/>
              <a:gd name="connsiteX90" fmla="*/ 1531379 w 1897116"/>
              <a:gd name="connsiteY90" fmla="*/ 1043388 h 1087290"/>
              <a:gd name="connsiteX91" fmla="*/ 1532058 w 1897116"/>
              <a:gd name="connsiteY91" fmla="*/ 1045420 h 1087290"/>
              <a:gd name="connsiteX92" fmla="*/ 1531343 w 1897116"/>
              <a:gd name="connsiteY92" fmla="*/ 1046853 h 1087290"/>
              <a:gd name="connsiteX93" fmla="*/ 1772469 w 1897116"/>
              <a:gd name="connsiteY93" fmla="*/ 1050640 h 1087290"/>
              <a:gd name="connsiteX94" fmla="*/ 1770766 w 1897116"/>
              <a:gd name="connsiteY94" fmla="*/ 1050379 h 1087290"/>
              <a:gd name="connsiteX95" fmla="*/ 1771020 w 1897116"/>
              <a:gd name="connsiteY95" fmla="*/ 1049962 h 1087290"/>
              <a:gd name="connsiteX96" fmla="*/ 1772316 w 1897116"/>
              <a:gd name="connsiteY96" fmla="*/ 1049944 h 1087290"/>
              <a:gd name="connsiteX97" fmla="*/ 1772469 w 1897116"/>
              <a:gd name="connsiteY97" fmla="*/ 1050640 h 1087290"/>
              <a:gd name="connsiteX98" fmla="*/ 1577023 w 1897116"/>
              <a:gd name="connsiteY98" fmla="*/ 1051808 h 1087290"/>
              <a:gd name="connsiteX99" fmla="*/ 1576749 w 1897116"/>
              <a:gd name="connsiteY99" fmla="*/ 1051794 h 1087290"/>
              <a:gd name="connsiteX100" fmla="*/ 1572652 w 1897116"/>
              <a:gd name="connsiteY100" fmla="*/ 1051002 h 1087290"/>
              <a:gd name="connsiteX101" fmla="*/ 1577023 w 1897116"/>
              <a:gd name="connsiteY101" fmla="*/ 1051808 h 1087290"/>
              <a:gd name="connsiteX102" fmla="*/ 1579093 w 1897116"/>
              <a:gd name="connsiteY102" fmla="*/ 1052189 h 1087290"/>
              <a:gd name="connsiteX103" fmla="*/ 1577023 w 1897116"/>
              <a:gd name="connsiteY103" fmla="*/ 1051808 h 1087290"/>
              <a:gd name="connsiteX104" fmla="*/ 1578305 w 1897116"/>
              <a:gd name="connsiteY104" fmla="*/ 1051874 h 1087290"/>
              <a:gd name="connsiteX105" fmla="*/ 1579093 w 1897116"/>
              <a:gd name="connsiteY105" fmla="*/ 1052189 h 1087290"/>
              <a:gd name="connsiteX106" fmla="*/ 1769347 w 1897116"/>
              <a:gd name="connsiteY106" fmla="*/ 1052704 h 1087290"/>
              <a:gd name="connsiteX107" fmla="*/ 1767327 w 1897116"/>
              <a:gd name="connsiteY107" fmla="*/ 1050013 h 1087290"/>
              <a:gd name="connsiteX108" fmla="*/ 1768300 w 1897116"/>
              <a:gd name="connsiteY108" fmla="*/ 1049999 h 1087290"/>
              <a:gd name="connsiteX109" fmla="*/ 1770766 w 1897116"/>
              <a:gd name="connsiteY109" fmla="*/ 1050379 h 1087290"/>
              <a:gd name="connsiteX110" fmla="*/ 1769347 w 1897116"/>
              <a:gd name="connsiteY110" fmla="*/ 1052704 h 1087290"/>
              <a:gd name="connsiteX111" fmla="*/ 1586399 w 1897116"/>
              <a:gd name="connsiteY111" fmla="*/ 1054274 h 1087290"/>
              <a:gd name="connsiteX112" fmla="*/ 1584764 w 1897116"/>
              <a:gd name="connsiteY112" fmla="*/ 1052756 h 1087290"/>
              <a:gd name="connsiteX113" fmla="*/ 1586403 w 1897116"/>
              <a:gd name="connsiteY113" fmla="*/ 1053077 h 1087290"/>
              <a:gd name="connsiteX114" fmla="*/ 1586399 w 1897116"/>
              <a:gd name="connsiteY114" fmla="*/ 1054274 h 1087290"/>
              <a:gd name="connsiteX115" fmla="*/ 1532200 w 1897116"/>
              <a:gd name="connsiteY115" fmla="*/ 1066192 h 1087290"/>
              <a:gd name="connsiteX116" fmla="*/ 1535753 w 1897116"/>
              <a:gd name="connsiteY116" fmla="*/ 1064310 h 1087290"/>
              <a:gd name="connsiteX117" fmla="*/ 1536198 w 1897116"/>
              <a:gd name="connsiteY117" fmla="*/ 1065275 h 1087290"/>
              <a:gd name="connsiteX118" fmla="*/ 1532200 w 1897116"/>
              <a:gd name="connsiteY118" fmla="*/ 1066192 h 1087290"/>
              <a:gd name="connsiteX119" fmla="*/ 1184015 w 1897116"/>
              <a:gd name="connsiteY119" fmla="*/ 1086520 h 1087290"/>
              <a:gd name="connsiteX120" fmla="*/ 1182000 w 1897116"/>
              <a:gd name="connsiteY120" fmla="*/ 1086397 h 1087290"/>
              <a:gd name="connsiteX121" fmla="*/ 1180598 w 1897116"/>
              <a:gd name="connsiteY121" fmla="*/ 1084050 h 1087290"/>
              <a:gd name="connsiteX122" fmla="*/ 1175691 w 1897116"/>
              <a:gd name="connsiteY122" fmla="*/ 1077637 h 1087290"/>
              <a:gd name="connsiteX123" fmla="*/ 1173763 w 1897116"/>
              <a:gd name="connsiteY123" fmla="*/ 1074880 h 1087290"/>
              <a:gd name="connsiteX124" fmla="*/ 1168067 w 1897116"/>
              <a:gd name="connsiteY124" fmla="*/ 1070460 h 1087290"/>
              <a:gd name="connsiteX125" fmla="*/ 1165876 w 1897116"/>
              <a:gd name="connsiteY125" fmla="*/ 1071851 h 1087290"/>
              <a:gd name="connsiteX126" fmla="*/ 1161582 w 1897116"/>
              <a:gd name="connsiteY126" fmla="*/ 1065547 h 1087290"/>
              <a:gd name="connsiteX127" fmla="*/ 1156675 w 1897116"/>
              <a:gd name="connsiteY127" fmla="*/ 1062900 h 1087290"/>
              <a:gd name="connsiteX128" fmla="*/ 1153082 w 1897116"/>
              <a:gd name="connsiteY128" fmla="*/ 1063883 h 1087290"/>
              <a:gd name="connsiteX129" fmla="*/ 1145984 w 1897116"/>
              <a:gd name="connsiteY129" fmla="*/ 1059244 h 1087290"/>
              <a:gd name="connsiteX130" fmla="*/ 1145283 w 1897116"/>
              <a:gd name="connsiteY130" fmla="*/ 1059953 h 1087290"/>
              <a:gd name="connsiteX131" fmla="*/ 1147649 w 1897116"/>
              <a:gd name="connsiteY131" fmla="*/ 1061863 h 1087290"/>
              <a:gd name="connsiteX132" fmla="*/ 1142742 w 1897116"/>
              <a:gd name="connsiteY132" fmla="*/ 1064183 h 1087290"/>
              <a:gd name="connsiteX133" fmla="*/ 1135293 w 1897116"/>
              <a:gd name="connsiteY133" fmla="*/ 1067267 h 1087290"/>
              <a:gd name="connsiteX134" fmla="*/ 1131964 w 1897116"/>
              <a:gd name="connsiteY134" fmla="*/ 1066912 h 1087290"/>
              <a:gd name="connsiteX135" fmla="*/ 1130649 w 1897116"/>
              <a:gd name="connsiteY135" fmla="*/ 1068986 h 1087290"/>
              <a:gd name="connsiteX136" fmla="*/ 1128020 w 1897116"/>
              <a:gd name="connsiteY136" fmla="*/ 1065711 h 1087290"/>
              <a:gd name="connsiteX137" fmla="*/ 1125128 w 1897116"/>
              <a:gd name="connsiteY137" fmla="*/ 1059899 h 1087290"/>
              <a:gd name="connsiteX138" fmla="*/ 1123376 w 1897116"/>
              <a:gd name="connsiteY138" fmla="*/ 1056105 h 1087290"/>
              <a:gd name="connsiteX139" fmla="*/ 1121623 w 1897116"/>
              <a:gd name="connsiteY139" fmla="*/ 1058070 h 1087290"/>
              <a:gd name="connsiteX140" fmla="*/ 1120572 w 1897116"/>
              <a:gd name="connsiteY140" fmla="*/ 1054905 h 1087290"/>
              <a:gd name="connsiteX141" fmla="*/ 1120835 w 1897116"/>
              <a:gd name="connsiteY141" fmla="*/ 1050129 h 1087290"/>
              <a:gd name="connsiteX142" fmla="*/ 1118118 w 1897116"/>
              <a:gd name="connsiteY142" fmla="*/ 1046363 h 1087290"/>
              <a:gd name="connsiteX143" fmla="*/ 1114701 w 1897116"/>
              <a:gd name="connsiteY143" fmla="*/ 1049938 h 1087290"/>
              <a:gd name="connsiteX144" fmla="*/ 1106902 w 1897116"/>
              <a:gd name="connsiteY144" fmla="*/ 1050729 h 1087290"/>
              <a:gd name="connsiteX145" fmla="*/ 1102082 w 1897116"/>
              <a:gd name="connsiteY145" fmla="*/ 1047700 h 1087290"/>
              <a:gd name="connsiteX146" fmla="*/ 1097438 w 1897116"/>
              <a:gd name="connsiteY146" fmla="*/ 1052749 h 1087290"/>
              <a:gd name="connsiteX147" fmla="*/ 1088499 w 1897116"/>
              <a:gd name="connsiteY147" fmla="*/ 1054686 h 1087290"/>
              <a:gd name="connsiteX148" fmla="*/ 1079649 w 1897116"/>
              <a:gd name="connsiteY148" fmla="*/ 1055832 h 1087290"/>
              <a:gd name="connsiteX149" fmla="*/ 1078334 w 1897116"/>
              <a:gd name="connsiteY149" fmla="*/ 1055641 h 1087290"/>
              <a:gd name="connsiteX150" fmla="*/ 1082803 w 1897116"/>
              <a:gd name="connsiteY150" fmla="*/ 1048628 h 1087290"/>
              <a:gd name="connsiteX151" fmla="*/ 1086133 w 1897116"/>
              <a:gd name="connsiteY151" fmla="*/ 1043061 h 1087290"/>
              <a:gd name="connsiteX152" fmla="*/ 1089551 w 1897116"/>
              <a:gd name="connsiteY152" fmla="*/ 1036702 h 1087290"/>
              <a:gd name="connsiteX153" fmla="*/ 1081840 w 1897116"/>
              <a:gd name="connsiteY153" fmla="*/ 1037112 h 1087290"/>
              <a:gd name="connsiteX154" fmla="*/ 1074128 w 1897116"/>
              <a:gd name="connsiteY154" fmla="*/ 1037466 h 1087290"/>
              <a:gd name="connsiteX155" fmla="*/ 1066943 w 1897116"/>
              <a:gd name="connsiteY155" fmla="*/ 1040769 h 1087290"/>
              <a:gd name="connsiteX156" fmla="*/ 1060633 w 1897116"/>
              <a:gd name="connsiteY156" fmla="*/ 1039131 h 1087290"/>
              <a:gd name="connsiteX157" fmla="*/ 1051257 w 1897116"/>
              <a:gd name="connsiteY157" fmla="*/ 1041314 h 1087290"/>
              <a:gd name="connsiteX158" fmla="*/ 1047752 w 1897116"/>
              <a:gd name="connsiteY158" fmla="*/ 1042188 h 1087290"/>
              <a:gd name="connsiteX159" fmla="*/ 1042056 w 1897116"/>
              <a:gd name="connsiteY159" fmla="*/ 1043852 h 1087290"/>
              <a:gd name="connsiteX160" fmla="*/ 1035221 w 1897116"/>
              <a:gd name="connsiteY160" fmla="*/ 1045954 h 1087290"/>
              <a:gd name="connsiteX161" fmla="*/ 1027422 w 1897116"/>
              <a:gd name="connsiteY161" fmla="*/ 1048710 h 1087290"/>
              <a:gd name="connsiteX162" fmla="*/ 1024618 w 1897116"/>
              <a:gd name="connsiteY162" fmla="*/ 1049119 h 1087290"/>
              <a:gd name="connsiteX163" fmla="*/ 1019360 w 1897116"/>
              <a:gd name="connsiteY163" fmla="*/ 1051548 h 1087290"/>
              <a:gd name="connsiteX164" fmla="*/ 1014277 w 1897116"/>
              <a:gd name="connsiteY164" fmla="*/ 1051684 h 1087290"/>
              <a:gd name="connsiteX165" fmla="*/ 1007880 w 1897116"/>
              <a:gd name="connsiteY165" fmla="*/ 1050702 h 1087290"/>
              <a:gd name="connsiteX166" fmla="*/ 1009107 w 1897116"/>
              <a:gd name="connsiteY166" fmla="*/ 1050565 h 1087290"/>
              <a:gd name="connsiteX167" fmla="*/ 1008231 w 1897116"/>
              <a:gd name="connsiteY167" fmla="*/ 1044726 h 1087290"/>
              <a:gd name="connsiteX168" fmla="*/ 1011736 w 1897116"/>
              <a:gd name="connsiteY168" fmla="*/ 1038667 h 1087290"/>
              <a:gd name="connsiteX169" fmla="*/ 1011813 w 1897116"/>
              <a:gd name="connsiteY169" fmla="*/ 1037202 h 1087290"/>
              <a:gd name="connsiteX170" fmla="*/ 1012349 w 1897116"/>
              <a:gd name="connsiteY170" fmla="*/ 1036402 h 1087290"/>
              <a:gd name="connsiteX171" fmla="*/ 1011911 w 1897116"/>
              <a:gd name="connsiteY171" fmla="*/ 1035345 h 1087290"/>
              <a:gd name="connsiteX172" fmla="*/ 1011813 w 1897116"/>
              <a:gd name="connsiteY172" fmla="*/ 1037202 h 1087290"/>
              <a:gd name="connsiteX173" fmla="*/ 1010246 w 1897116"/>
              <a:gd name="connsiteY173" fmla="*/ 1039540 h 1087290"/>
              <a:gd name="connsiteX174" fmla="*/ 1001396 w 1897116"/>
              <a:gd name="connsiteY174" fmla="*/ 1041069 h 1087290"/>
              <a:gd name="connsiteX175" fmla="*/ 994648 w 1897116"/>
              <a:gd name="connsiteY175" fmla="*/ 1044043 h 1087290"/>
              <a:gd name="connsiteX176" fmla="*/ 990442 w 1897116"/>
              <a:gd name="connsiteY176" fmla="*/ 1045735 h 1087290"/>
              <a:gd name="connsiteX177" fmla="*/ 985272 w 1897116"/>
              <a:gd name="connsiteY177" fmla="*/ 1044180 h 1087290"/>
              <a:gd name="connsiteX178" fmla="*/ 982818 w 1897116"/>
              <a:gd name="connsiteY178" fmla="*/ 1048028 h 1087290"/>
              <a:gd name="connsiteX179" fmla="*/ 981416 w 1897116"/>
              <a:gd name="connsiteY179" fmla="*/ 1042815 h 1087290"/>
              <a:gd name="connsiteX180" fmla="*/ 980102 w 1897116"/>
              <a:gd name="connsiteY180" fmla="*/ 1037603 h 1087290"/>
              <a:gd name="connsiteX181" fmla="*/ 978437 w 1897116"/>
              <a:gd name="connsiteY181" fmla="*/ 1036593 h 1087290"/>
              <a:gd name="connsiteX182" fmla="*/ 980628 w 1897116"/>
              <a:gd name="connsiteY182" fmla="*/ 1029853 h 1087290"/>
              <a:gd name="connsiteX183" fmla="*/ 980102 w 1897116"/>
              <a:gd name="connsiteY183" fmla="*/ 1024368 h 1087290"/>
              <a:gd name="connsiteX184" fmla="*/ 977385 w 1897116"/>
              <a:gd name="connsiteY184" fmla="*/ 1019401 h 1087290"/>
              <a:gd name="connsiteX185" fmla="*/ 979839 w 1897116"/>
              <a:gd name="connsiteY185" fmla="*/ 1019264 h 1087290"/>
              <a:gd name="connsiteX186" fmla="*/ 979576 w 1897116"/>
              <a:gd name="connsiteY186" fmla="*/ 1018855 h 1087290"/>
              <a:gd name="connsiteX187" fmla="*/ 977385 w 1897116"/>
              <a:gd name="connsiteY187" fmla="*/ 1019401 h 1087290"/>
              <a:gd name="connsiteX188" fmla="*/ 973705 w 1897116"/>
              <a:gd name="connsiteY188" fmla="*/ 1021147 h 1087290"/>
              <a:gd name="connsiteX189" fmla="*/ 966957 w 1897116"/>
              <a:gd name="connsiteY189" fmla="*/ 1024122 h 1087290"/>
              <a:gd name="connsiteX190" fmla="*/ 966519 w 1897116"/>
              <a:gd name="connsiteY190" fmla="*/ 1024040 h 1087290"/>
              <a:gd name="connsiteX191" fmla="*/ 960823 w 1897116"/>
              <a:gd name="connsiteY191" fmla="*/ 1025241 h 1087290"/>
              <a:gd name="connsiteX192" fmla="*/ 954602 w 1897116"/>
              <a:gd name="connsiteY192" fmla="*/ 1025759 h 1087290"/>
              <a:gd name="connsiteX193" fmla="*/ 949169 w 1897116"/>
              <a:gd name="connsiteY193" fmla="*/ 1024531 h 1087290"/>
              <a:gd name="connsiteX194" fmla="*/ 943385 w 1897116"/>
              <a:gd name="connsiteY194" fmla="*/ 1022375 h 1087290"/>
              <a:gd name="connsiteX195" fmla="*/ 934184 w 1897116"/>
              <a:gd name="connsiteY195" fmla="*/ 1019101 h 1087290"/>
              <a:gd name="connsiteX196" fmla="*/ 926823 w 1897116"/>
              <a:gd name="connsiteY196" fmla="*/ 1018118 h 1087290"/>
              <a:gd name="connsiteX197" fmla="*/ 924369 w 1897116"/>
              <a:gd name="connsiteY197" fmla="*/ 1016263 h 1087290"/>
              <a:gd name="connsiteX198" fmla="*/ 920514 w 1897116"/>
              <a:gd name="connsiteY198" fmla="*/ 1009959 h 1087290"/>
              <a:gd name="connsiteX199" fmla="*/ 915431 w 1897116"/>
              <a:gd name="connsiteY199" fmla="*/ 1011923 h 1087290"/>
              <a:gd name="connsiteX200" fmla="*/ 909472 w 1897116"/>
              <a:gd name="connsiteY200" fmla="*/ 1014680 h 1087290"/>
              <a:gd name="connsiteX201" fmla="*/ 904478 w 1897116"/>
              <a:gd name="connsiteY201" fmla="*/ 1017081 h 1087290"/>
              <a:gd name="connsiteX202" fmla="*/ 898957 w 1897116"/>
              <a:gd name="connsiteY202" fmla="*/ 1018418 h 1087290"/>
              <a:gd name="connsiteX203" fmla="*/ 895978 w 1897116"/>
              <a:gd name="connsiteY203" fmla="*/ 1020192 h 1087290"/>
              <a:gd name="connsiteX204" fmla="*/ 887127 w 1897116"/>
              <a:gd name="connsiteY204" fmla="*/ 1023713 h 1087290"/>
              <a:gd name="connsiteX205" fmla="*/ 878189 w 1897116"/>
              <a:gd name="connsiteY205" fmla="*/ 1026305 h 1087290"/>
              <a:gd name="connsiteX206" fmla="*/ 875297 w 1897116"/>
              <a:gd name="connsiteY206" fmla="*/ 1029880 h 1087290"/>
              <a:gd name="connsiteX207" fmla="*/ 867586 w 1897116"/>
              <a:gd name="connsiteY207" fmla="*/ 1035611 h 1087290"/>
              <a:gd name="connsiteX208" fmla="*/ 863467 w 1897116"/>
              <a:gd name="connsiteY208" fmla="*/ 1037275 h 1087290"/>
              <a:gd name="connsiteX209" fmla="*/ 858998 w 1897116"/>
              <a:gd name="connsiteY209" fmla="*/ 1040550 h 1087290"/>
              <a:gd name="connsiteX210" fmla="*/ 854792 w 1897116"/>
              <a:gd name="connsiteY210" fmla="*/ 1044016 h 1087290"/>
              <a:gd name="connsiteX211" fmla="*/ 848395 w 1897116"/>
              <a:gd name="connsiteY211" fmla="*/ 1049201 h 1087290"/>
              <a:gd name="connsiteX212" fmla="*/ 841910 w 1897116"/>
              <a:gd name="connsiteY212" fmla="*/ 1049065 h 1087290"/>
              <a:gd name="connsiteX213" fmla="*/ 841910 w 1897116"/>
              <a:gd name="connsiteY213" fmla="*/ 1052885 h 1087290"/>
              <a:gd name="connsiteX214" fmla="*/ 837091 w 1897116"/>
              <a:gd name="connsiteY214" fmla="*/ 1053649 h 1087290"/>
              <a:gd name="connsiteX215" fmla="*/ 831132 w 1897116"/>
              <a:gd name="connsiteY215" fmla="*/ 1053485 h 1087290"/>
              <a:gd name="connsiteX216" fmla="*/ 822807 w 1897116"/>
              <a:gd name="connsiteY216" fmla="*/ 1053294 h 1087290"/>
              <a:gd name="connsiteX217" fmla="*/ 813869 w 1897116"/>
              <a:gd name="connsiteY217" fmla="*/ 1054877 h 1087290"/>
              <a:gd name="connsiteX218" fmla="*/ 806070 w 1897116"/>
              <a:gd name="connsiteY218" fmla="*/ 1058862 h 1087290"/>
              <a:gd name="connsiteX219" fmla="*/ 800637 w 1897116"/>
              <a:gd name="connsiteY219" fmla="*/ 1063855 h 1087290"/>
              <a:gd name="connsiteX220" fmla="*/ 800111 w 1897116"/>
              <a:gd name="connsiteY220" fmla="*/ 1069832 h 1087290"/>
              <a:gd name="connsiteX221" fmla="*/ 797482 w 1897116"/>
              <a:gd name="connsiteY221" fmla="*/ 1070159 h 1087290"/>
              <a:gd name="connsiteX222" fmla="*/ 796431 w 1897116"/>
              <a:gd name="connsiteY222" fmla="*/ 1073107 h 1087290"/>
              <a:gd name="connsiteX223" fmla="*/ 796343 w 1897116"/>
              <a:gd name="connsiteY223" fmla="*/ 1074362 h 1087290"/>
              <a:gd name="connsiteX224" fmla="*/ 795379 w 1897116"/>
              <a:gd name="connsiteY224" fmla="*/ 1076081 h 1087290"/>
              <a:gd name="connsiteX225" fmla="*/ 795116 w 1897116"/>
              <a:gd name="connsiteY225" fmla="*/ 1076272 h 1087290"/>
              <a:gd name="connsiteX226" fmla="*/ 794941 w 1897116"/>
              <a:gd name="connsiteY226" fmla="*/ 1076818 h 1087290"/>
              <a:gd name="connsiteX227" fmla="*/ 794766 w 1897116"/>
              <a:gd name="connsiteY227" fmla="*/ 1077391 h 1087290"/>
              <a:gd name="connsiteX228" fmla="*/ 788631 w 1897116"/>
              <a:gd name="connsiteY228" fmla="*/ 1073598 h 1087290"/>
              <a:gd name="connsiteX229" fmla="*/ 782059 w 1897116"/>
              <a:gd name="connsiteY229" fmla="*/ 1071169 h 1087290"/>
              <a:gd name="connsiteX230" fmla="*/ 776977 w 1897116"/>
              <a:gd name="connsiteY230" fmla="*/ 1068331 h 1087290"/>
              <a:gd name="connsiteX231" fmla="*/ 771368 w 1897116"/>
              <a:gd name="connsiteY231" fmla="*/ 1067785 h 1087290"/>
              <a:gd name="connsiteX232" fmla="*/ 770667 w 1897116"/>
              <a:gd name="connsiteY232" fmla="*/ 1070432 h 1087290"/>
              <a:gd name="connsiteX233" fmla="*/ 771631 w 1897116"/>
              <a:gd name="connsiteY233" fmla="*/ 1072561 h 1087290"/>
              <a:gd name="connsiteX234" fmla="*/ 765234 w 1897116"/>
              <a:gd name="connsiteY234" fmla="*/ 1072861 h 1087290"/>
              <a:gd name="connsiteX235" fmla="*/ 764533 w 1897116"/>
              <a:gd name="connsiteY235" fmla="*/ 1072206 h 1087290"/>
              <a:gd name="connsiteX236" fmla="*/ 765234 w 1897116"/>
              <a:gd name="connsiteY236" fmla="*/ 1072861 h 1087290"/>
              <a:gd name="connsiteX237" fmla="*/ 763219 w 1897116"/>
              <a:gd name="connsiteY237" fmla="*/ 1072670 h 1087290"/>
              <a:gd name="connsiteX238" fmla="*/ 762781 w 1897116"/>
              <a:gd name="connsiteY238" fmla="*/ 1072561 h 1087290"/>
              <a:gd name="connsiteX239" fmla="*/ 763131 w 1897116"/>
              <a:gd name="connsiteY239" fmla="*/ 1071333 h 1087290"/>
              <a:gd name="connsiteX240" fmla="*/ 762781 w 1897116"/>
              <a:gd name="connsiteY240" fmla="*/ 1072561 h 1087290"/>
              <a:gd name="connsiteX241" fmla="*/ 757961 w 1897116"/>
              <a:gd name="connsiteY241" fmla="*/ 1070623 h 1087290"/>
              <a:gd name="connsiteX242" fmla="*/ 764008 w 1897116"/>
              <a:gd name="connsiteY242" fmla="*/ 1068195 h 1087290"/>
              <a:gd name="connsiteX243" fmla="*/ 766286 w 1897116"/>
              <a:gd name="connsiteY243" fmla="*/ 1064183 h 1087290"/>
              <a:gd name="connsiteX244" fmla="*/ 766286 w 1897116"/>
              <a:gd name="connsiteY244" fmla="*/ 1058807 h 1087290"/>
              <a:gd name="connsiteX245" fmla="*/ 769704 w 1897116"/>
              <a:gd name="connsiteY245" fmla="*/ 1055559 h 1087290"/>
              <a:gd name="connsiteX246" fmla="*/ 769616 w 1897116"/>
              <a:gd name="connsiteY246" fmla="*/ 1052176 h 1087290"/>
              <a:gd name="connsiteX247" fmla="*/ 773296 w 1897116"/>
              <a:gd name="connsiteY247" fmla="*/ 1051302 h 1087290"/>
              <a:gd name="connsiteX248" fmla="*/ 769528 w 1897116"/>
              <a:gd name="connsiteY248" fmla="*/ 1046308 h 1087290"/>
              <a:gd name="connsiteX249" fmla="*/ 765935 w 1897116"/>
              <a:gd name="connsiteY249" fmla="*/ 1048846 h 1087290"/>
              <a:gd name="connsiteX250" fmla="*/ 759889 w 1897116"/>
              <a:gd name="connsiteY250" fmla="*/ 1051630 h 1087290"/>
              <a:gd name="connsiteX251" fmla="*/ 758750 w 1897116"/>
              <a:gd name="connsiteY251" fmla="*/ 1055150 h 1087290"/>
              <a:gd name="connsiteX252" fmla="*/ 757260 w 1897116"/>
              <a:gd name="connsiteY252" fmla="*/ 1058452 h 1087290"/>
              <a:gd name="connsiteX253" fmla="*/ 752441 w 1897116"/>
              <a:gd name="connsiteY253" fmla="*/ 1061618 h 1087290"/>
              <a:gd name="connsiteX254" fmla="*/ 747971 w 1897116"/>
              <a:gd name="connsiteY254" fmla="*/ 1064047 h 1087290"/>
              <a:gd name="connsiteX255" fmla="*/ 742626 w 1897116"/>
              <a:gd name="connsiteY255" fmla="*/ 1067540 h 1087290"/>
              <a:gd name="connsiteX256" fmla="*/ 738157 w 1897116"/>
              <a:gd name="connsiteY256" fmla="*/ 1070623 h 1087290"/>
              <a:gd name="connsiteX257" fmla="*/ 734126 w 1897116"/>
              <a:gd name="connsiteY257" fmla="*/ 1074253 h 1087290"/>
              <a:gd name="connsiteX258" fmla="*/ 733425 w 1897116"/>
              <a:gd name="connsiteY258" fmla="*/ 1071769 h 1087290"/>
              <a:gd name="connsiteX259" fmla="*/ 734564 w 1897116"/>
              <a:gd name="connsiteY259" fmla="*/ 1071633 h 1087290"/>
              <a:gd name="connsiteX260" fmla="*/ 733425 w 1897116"/>
              <a:gd name="connsiteY260" fmla="*/ 1071769 h 1087290"/>
              <a:gd name="connsiteX261" fmla="*/ 733425 w 1897116"/>
              <a:gd name="connsiteY261" fmla="*/ 1069914 h 1087290"/>
              <a:gd name="connsiteX262" fmla="*/ 729745 w 1897116"/>
              <a:gd name="connsiteY262" fmla="*/ 1065138 h 1087290"/>
              <a:gd name="connsiteX263" fmla="*/ 721770 w 1897116"/>
              <a:gd name="connsiteY263" fmla="*/ 1061563 h 1087290"/>
              <a:gd name="connsiteX264" fmla="*/ 712744 w 1897116"/>
              <a:gd name="connsiteY264" fmla="*/ 1061781 h 1087290"/>
              <a:gd name="connsiteX265" fmla="*/ 705559 w 1897116"/>
              <a:gd name="connsiteY265" fmla="*/ 1063446 h 1087290"/>
              <a:gd name="connsiteX266" fmla="*/ 701265 w 1897116"/>
              <a:gd name="connsiteY266" fmla="*/ 1067512 h 1087290"/>
              <a:gd name="connsiteX267" fmla="*/ 691976 w 1897116"/>
              <a:gd name="connsiteY267" fmla="*/ 1069859 h 1087290"/>
              <a:gd name="connsiteX268" fmla="*/ 684878 w 1897116"/>
              <a:gd name="connsiteY268" fmla="*/ 1073571 h 1087290"/>
              <a:gd name="connsiteX269" fmla="*/ 678131 w 1897116"/>
              <a:gd name="connsiteY269" fmla="*/ 1075972 h 1087290"/>
              <a:gd name="connsiteX270" fmla="*/ 677956 w 1897116"/>
              <a:gd name="connsiteY270" fmla="*/ 1069996 h 1087290"/>
              <a:gd name="connsiteX271" fmla="*/ 680234 w 1897116"/>
              <a:gd name="connsiteY271" fmla="*/ 1062627 h 1087290"/>
              <a:gd name="connsiteX272" fmla="*/ 682950 w 1897116"/>
              <a:gd name="connsiteY272" fmla="*/ 1056405 h 1087290"/>
              <a:gd name="connsiteX273" fmla="*/ 684352 w 1897116"/>
              <a:gd name="connsiteY273" fmla="*/ 1048928 h 1087290"/>
              <a:gd name="connsiteX274" fmla="*/ 686631 w 1897116"/>
              <a:gd name="connsiteY274" fmla="*/ 1041560 h 1087290"/>
              <a:gd name="connsiteX275" fmla="*/ 680409 w 1897116"/>
              <a:gd name="connsiteY275" fmla="*/ 1047018 h 1087290"/>
              <a:gd name="connsiteX276" fmla="*/ 674538 w 1897116"/>
              <a:gd name="connsiteY276" fmla="*/ 1052285 h 1087290"/>
              <a:gd name="connsiteX277" fmla="*/ 668842 w 1897116"/>
              <a:gd name="connsiteY277" fmla="*/ 1057115 h 1087290"/>
              <a:gd name="connsiteX278" fmla="*/ 662620 w 1897116"/>
              <a:gd name="connsiteY278" fmla="*/ 1062573 h 1087290"/>
              <a:gd name="connsiteX279" fmla="*/ 655610 w 1897116"/>
              <a:gd name="connsiteY279" fmla="*/ 1068004 h 1087290"/>
              <a:gd name="connsiteX280" fmla="*/ 651754 w 1897116"/>
              <a:gd name="connsiteY280" fmla="*/ 1069368 h 1087290"/>
              <a:gd name="connsiteX281" fmla="*/ 650002 w 1897116"/>
              <a:gd name="connsiteY281" fmla="*/ 1067430 h 1087290"/>
              <a:gd name="connsiteX282" fmla="*/ 651667 w 1897116"/>
              <a:gd name="connsiteY282" fmla="*/ 1062627 h 1087290"/>
              <a:gd name="connsiteX283" fmla="*/ 642378 w 1897116"/>
              <a:gd name="connsiteY283" fmla="*/ 1066448 h 1087290"/>
              <a:gd name="connsiteX284" fmla="*/ 633089 w 1897116"/>
              <a:gd name="connsiteY284" fmla="*/ 1070296 h 1087290"/>
              <a:gd name="connsiteX285" fmla="*/ 625816 w 1897116"/>
              <a:gd name="connsiteY285" fmla="*/ 1073598 h 1087290"/>
              <a:gd name="connsiteX286" fmla="*/ 620120 w 1897116"/>
              <a:gd name="connsiteY286" fmla="*/ 1075972 h 1087290"/>
              <a:gd name="connsiteX287" fmla="*/ 614599 w 1897116"/>
              <a:gd name="connsiteY287" fmla="*/ 1078183 h 1087290"/>
              <a:gd name="connsiteX288" fmla="*/ 607764 w 1897116"/>
              <a:gd name="connsiteY288" fmla="*/ 1077609 h 1087290"/>
              <a:gd name="connsiteX289" fmla="*/ 600929 w 1897116"/>
              <a:gd name="connsiteY289" fmla="*/ 1077036 h 1087290"/>
              <a:gd name="connsiteX290" fmla="*/ 594883 w 1897116"/>
              <a:gd name="connsiteY290" fmla="*/ 1076654 h 1087290"/>
              <a:gd name="connsiteX291" fmla="*/ 588398 w 1897116"/>
              <a:gd name="connsiteY291" fmla="*/ 1076354 h 1087290"/>
              <a:gd name="connsiteX292" fmla="*/ 579460 w 1897116"/>
              <a:gd name="connsiteY292" fmla="*/ 1075917 h 1087290"/>
              <a:gd name="connsiteX293" fmla="*/ 577006 w 1897116"/>
              <a:gd name="connsiteY293" fmla="*/ 1073652 h 1087290"/>
              <a:gd name="connsiteX294" fmla="*/ 572537 w 1897116"/>
              <a:gd name="connsiteY294" fmla="*/ 1074717 h 1087290"/>
              <a:gd name="connsiteX295" fmla="*/ 577357 w 1897116"/>
              <a:gd name="connsiteY295" fmla="*/ 1070432 h 1087290"/>
              <a:gd name="connsiteX296" fmla="*/ 582878 w 1897116"/>
              <a:gd name="connsiteY296" fmla="*/ 1066721 h 1087290"/>
              <a:gd name="connsiteX297" fmla="*/ 581037 w 1897116"/>
              <a:gd name="connsiteY297" fmla="*/ 1066475 h 1087290"/>
              <a:gd name="connsiteX298" fmla="*/ 572274 w 1897116"/>
              <a:gd name="connsiteY298" fmla="*/ 1065220 h 1087290"/>
              <a:gd name="connsiteX299" fmla="*/ 564563 w 1897116"/>
              <a:gd name="connsiteY299" fmla="*/ 1067840 h 1087290"/>
              <a:gd name="connsiteX300" fmla="*/ 560532 w 1897116"/>
              <a:gd name="connsiteY300" fmla="*/ 1064756 h 1087290"/>
              <a:gd name="connsiteX301" fmla="*/ 547037 w 1897116"/>
              <a:gd name="connsiteY301" fmla="*/ 1064811 h 1087290"/>
              <a:gd name="connsiteX302" fmla="*/ 533630 w 1897116"/>
              <a:gd name="connsiteY302" fmla="*/ 1065657 h 1087290"/>
              <a:gd name="connsiteX303" fmla="*/ 528109 w 1897116"/>
              <a:gd name="connsiteY303" fmla="*/ 1066039 h 1087290"/>
              <a:gd name="connsiteX304" fmla="*/ 522676 w 1897116"/>
              <a:gd name="connsiteY304" fmla="*/ 1067076 h 1087290"/>
              <a:gd name="connsiteX305" fmla="*/ 524604 w 1897116"/>
              <a:gd name="connsiteY305" fmla="*/ 1064483 h 1087290"/>
              <a:gd name="connsiteX306" fmla="*/ 531614 w 1897116"/>
              <a:gd name="connsiteY306" fmla="*/ 1059626 h 1087290"/>
              <a:gd name="connsiteX307" fmla="*/ 537748 w 1897116"/>
              <a:gd name="connsiteY307" fmla="*/ 1055014 h 1087290"/>
              <a:gd name="connsiteX308" fmla="*/ 537924 w 1897116"/>
              <a:gd name="connsiteY308" fmla="*/ 1054386 h 1087290"/>
              <a:gd name="connsiteX309" fmla="*/ 536346 w 1897116"/>
              <a:gd name="connsiteY309" fmla="*/ 1053213 h 1087290"/>
              <a:gd name="connsiteX310" fmla="*/ 526795 w 1897116"/>
              <a:gd name="connsiteY310" fmla="*/ 1053840 h 1087290"/>
              <a:gd name="connsiteX311" fmla="*/ 517594 w 1897116"/>
              <a:gd name="connsiteY311" fmla="*/ 1054304 h 1087290"/>
              <a:gd name="connsiteX312" fmla="*/ 512774 w 1897116"/>
              <a:gd name="connsiteY312" fmla="*/ 1053977 h 1087290"/>
              <a:gd name="connsiteX313" fmla="*/ 505588 w 1897116"/>
              <a:gd name="connsiteY313" fmla="*/ 1054823 h 1087290"/>
              <a:gd name="connsiteX314" fmla="*/ 498490 w 1897116"/>
              <a:gd name="connsiteY314" fmla="*/ 1057142 h 1087290"/>
              <a:gd name="connsiteX315" fmla="*/ 494109 w 1897116"/>
              <a:gd name="connsiteY315" fmla="*/ 1056733 h 1087290"/>
              <a:gd name="connsiteX316" fmla="*/ 492795 w 1897116"/>
              <a:gd name="connsiteY316" fmla="*/ 1058179 h 1087290"/>
              <a:gd name="connsiteX317" fmla="*/ 484820 w 1897116"/>
              <a:gd name="connsiteY317" fmla="*/ 1060990 h 1087290"/>
              <a:gd name="connsiteX318" fmla="*/ 478511 w 1897116"/>
              <a:gd name="connsiteY318" fmla="*/ 1062464 h 1087290"/>
              <a:gd name="connsiteX319" fmla="*/ 472640 w 1897116"/>
              <a:gd name="connsiteY319" fmla="*/ 1064510 h 1087290"/>
              <a:gd name="connsiteX320" fmla="*/ 466418 w 1897116"/>
              <a:gd name="connsiteY320" fmla="*/ 1064292 h 1087290"/>
              <a:gd name="connsiteX321" fmla="*/ 460284 w 1897116"/>
              <a:gd name="connsiteY321" fmla="*/ 1066639 h 1087290"/>
              <a:gd name="connsiteX322" fmla="*/ 453011 w 1897116"/>
              <a:gd name="connsiteY322" fmla="*/ 1069041 h 1087290"/>
              <a:gd name="connsiteX323" fmla="*/ 447841 w 1897116"/>
              <a:gd name="connsiteY323" fmla="*/ 1068658 h 1087290"/>
              <a:gd name="connsiteX324" fmla="*/ 441969 w 1897116"/>
              <a:gd name="connsiteY324" fmla="*/ 1069614 h 1087290"/>
              <a:gd name="connsiteX325" fmla="*/ 435660 w 1897116"/>
              <a:gd name="connsiteY325" fmla="*/ 1071906 h 1087290"/>
              <a:gd name="connsiteX326" fmla="*/ 429176 w 1897116"/>
              <a:gd name="connsiteY326" fmla="*/ 1074144 h 1087290"/>
              <a:gd name="connsiteX327" fmla="*/ 425495 w 1897116"/>
              <a:gd name="connsiteY327" fmla="*/ 1074580 h 1087290"/>
              <a:gd name="connsiteX328" fmla="*/ 416557 w 1897116"/>
              <a:gd name="connsiteY328" fmla="*/ 1076027 h 1087290"/>
              <a:gd name="connsiteX329" fmla="*/ 408758 w 1897116"/>
              <a:gd name="connsiteY329" fmla="*/ 1074799 h 1087290"/>
              <a:gd name="connsiteX330" fmla="*/ 406655 w 1897116"/>
              <a:gd name="connsiteY330" fmla="*/ 1073270 h 1087290"/>
              <a:gd name="connsiteX331" fmla="*/ 401748 w 1897116"/>
              <a:gd name="connsiteY331" fmla="*/ 1067785 h 1087290"/>
              <a:gd name="connsiteX332" fmla="*/ 397191 w 1897116"/>
              <a:gd name="connsiteY332" fmla="*/ 1064865 h 1087290"/>
              <a:gd name="connsiteX333" fmla="*/ 391583 w 1897116"/>
              <a:gd name="connsiteY333" fmla="*/ 1062737 h 1087290"/>
              <a:gd name="connsiteX334" fmla="*/ 381768 w 1897116"/>
              <a:gd name="connsiteY334" fmla="*/ 1062491 h 1087290"/>
              <a:gd name="connsiteX335" fmla="*/ 374407 w 1897116"/>
              <a:gd name="connsiteY335" fmla="*/ 1065056 h 1087290"/>
              <a:gd name="connsiteX336" fmla="*/ 371340 w 1897116"/>
              <a:gd name="connsiteY336" fmla="*/ 1066421 h 1087290"/>
              <a:gd name="connsiteX337" fmla="*/ 369500 w 1897116"/>
              <a:gd name="connsiteY337" fmla="*/ 1064947 h 1087290"/>
              <a:gd name="connsiteX338" fmla="*/ 364680 w 1897116"/>
              <a:gd name="connsiteY338" fmla="*/ 1061891 h 1087290"/>
              <a:gd name="connsiteX339" fmla="*/ 363015 w 1897116"/>
              <a:gd name="connsiteY339" fmla="*/ 1060526 h 1087290"/>
              <a:gd name="connsiteX340" fmla="*/ 359598 w 1897116"/>
              <a:gd name="connsiteY340" fmla="*/ 1062300 h 1087290"/>
              <a:gd name="connsiteX341" fmla="*/ 355742 w 1897116"/>
              <a:gd name="connsiteY341" fmla="*/ 1064620 h 1087290"/>
              <a:gd name="connsiteX342" fmla="*/ 349520 w 1897116"/>
              <a:gd name="connsiteY342" fmla="*/ 1067567 h 1087290"/>
              <a:gd name="connsiteX343" fmla="*/ 347330 w 1897116"/>
              <a:gd name="connsiteY343" fmla="*/ 1071142 h 1087290"/>
              <a:gd name="connsiteX344" fmla="*/ 341020 w 1897116"/>
              <a:gd name="connsiteY344" fmla="*/ 1073216 h 1087290"/>
              <a:gd name="connsiteX345" fmla="*/ 335587 w 1897116"/>
              <a:gd name="connsiteY345" fmla="*/ 1071224 h 1087290"/>
              <a:gd name="connsiteX346" fmla="*/ 330943 w 1897116"/>
              <a:gd name="connsiteY346" fmla="*/ 1067212 h 1087290"/>
              <a:gd name="connsiteX347" fmla="*/ 325948 w 1897116"/>
              <a:gd name="connsiteY347" fmla="*/ 1062327 h 1087290"/>
              <a:gd name="connsiteX348" fmla="*/ 321041 w 1897116"/>
              <a:gd name="connsiteY348" fmla="*/ 1057442 h 1087290"/>
              <a:gd name="connsiteX349" fmla="*/ 318237 w 1897116"/>
              <a:gd name="connsiteY349" fmla="*/ 1063419 h 1087290"/>
              <a:gd name="connsiteX350" fmla="*/ 315345 w 1897116"/>
              <a:gd name="connsiteY350" fmla="*/ 1069450 h 1087290"/>
              <a:gd name="connsiteX351" fmla="*/ 313417 w 1897116"/>
              <a:gd name="connsiteY351" fmla="*/ 1071497 h 1087290"/>
              <a:gd name="connsiteX352" fmla="*/ 310613 w 1897116"/>
              <a:gd name="connsiteY352" fmla="*/ 1069777 h 1087290"/>
              <a:gd name="connsiteX353" fmla="*/ 305793 w 1897116"/>
              <a:gd name="connsiteY353" fmla="*/ 1066312 h 1087290"/>
              <a:gd name="connsiteX354" fmla="*/ 304829 w 1897116"/>
              <a:gd name="connsiteY354" fmla="*/ 1062464 h 1087290"/>
              <a:gd name="connsiteX355" fmla="*/ 297118 w 1897116"/>
              <a:gd name="connsiteY355" fmla="*/ 1068331 h 1087290"/>
              <a:gd name="connsiteX356" fmla="*/ 290195 w 1897116"/>
              <a:gd name="connsiteY356" fmla="*/ 1073789 h 1087290"/>
              <a:gd name="connsiteX357" fmla="*/ 293525 w 1897116"/>
              <a:gd name="connsiteY357" fmla="*/ 1076818 h 1087290"/>
              <a:gd name="connsiteX358" fmla="*/ 286164 w 1897116"/>
              <a:gd name="connsiteY358" fmla="*/ 1077282 h 1087290"/>
              <a:gd name="connsiteX359" fmla="*/ 282221 w 1897116"/>
              <a:gd name="connsiteY359" fmla="*/ 1080748 h 1087290"/>
              <a:gd name="connsiteX360" fmla="*/ 280731 w 1897116"/>
              <a:gd name="connsiteY360" fmla="*/ 1084459 h 1087290"/>
              <a:gd name="connsiteX361" fmla="*/ 274773 w 1897116"/>
              <a:gd name="connsiteY361" fmla="*/ 1084486 h 1087290"/>
              <a:gd name="connsiteX362" fmla="*/ 273458 w 1897116"/>
              <a:gd name="connsiteY362" fmla="*/ 1081348 h 1087290"/>
              <a:gd name="connsiteX363" fmla="*/ 271618 w 1897116"/>
              <a:gd name="connsiteY363" fmla="*/ 1073762 h 1087290"/>
              <a:gd name="connsiteX364" fmla="*/ 270391 w 1897116"/>
              <a:gd name="connsiteY364" fmla="*/ 1065356 h 1087290"/>
              <a:gd name="connsiteX365" fmla="*/ 265046 w 1897116"/>
              <a:gd name="connsiteY365" fmla="*/ 1068195 h 1087290"/>
              <a:gd name="connsiteX366" fmla="*/ 260664 w 1897116"/>
              <a:gd name="connsiteY366" fmla="*/ 1067103 h 1087290"/>
              <a:gd name="connsiteX367" fmla="*/ 255056 w 1897116"/>
              <a:gd name="connsiteY367" fmla="*/ 1068113 h 1087290"/>
              <a:gd name="connsiteX368" fmla="*/ 249097 w 1897116"/>
              <a:gd name="connsiteY368" fmla="*/ 1069477 h 1087290"/>
              <a:gd name="connsiteX369" fmla="*/ 243401 w 1897116"/>
              <a:gd name="connsiteY369" fmla="*/ 1071524 h 1087290"/>
              <a:gd name="connsiteX370" fmla="*/ 238406 w 1897116"/>
              <a:gd name="connsiteY370" fmla="*/ 1072970 h 1087290"/>
              <a:gd name="connsiteX371" fmla="*/ 231834 w 1897116"/>
              <a:gd name="connsiteY371" fmla="*/ 1074962 h 1087290"/>
              <a:gd name="connsiteX372" fmla="*/ 225262 w 1897116"/>
              <a:gd name="connsiteY372" fmla="*/ 1076763 h 1087290"/>
              <a:gd name="connsiteX373" fmla="*/ 218252 w 1897116"/>
              <a:gd name="connsiteY373" fmla="*/ 1076818 h 1087290"/>
              <a:gd name="connsiteX374" fmla="*/ 210803 w 1897116"/>
              <a:gd name="connsiteY374" fmla="*/ 1078974 h 1087290"/>
              <a:gd name="connsiteX375" fmla="*/ 207210 w 1897116"/>
              <a:gd name="connsiteY375" fmla="*/ 1076709 h 1087290"/>
              <a:gd name="connsiteX376" fmla="*/ 202478 w 1897116"/>
              <a:gd name="connsiteY376" fmla="*/ 1080175 h 1087290"/>
              <a:gd name="connsiteX377" fmla="*/ 192927 w 1897116"/>
              <a:gd name="connsiteY377" fmla="*/ 1079465 h 1087290"/>
              <a:gd name="connsiteX378" fmla="*/ 191787 w 1897116"/>
              <a:gd name="connsiteY378" fmla="*/ 1080529 h 1087290"/>
              <a:gd name="connsiteX379" fmla="*/ 188195 w 1897116"/>
              <a:gd name="connsiteY379" fmla="*/ 1077337 h 1087290"/>
              <a:gd name="connsiteX380" fmla="*/ 185653 w 1897116"/>
              <a:gd name="connsiteY380" fmla="*/ 1073107 h 1087290"/>
              <a:gd name="connsiteX381" fmla="*/ 184689 w 1897116"/>
              <a:gd name="connsiteY381" fmla="*/ 1073734 h 1087290"/>
              <a:gd name="connsiteX382" fmla="*/ 179432 w 1897116"/>
              <a:gd name="connsiteY382" fmla="*/ 1070814 h 1087290"/>
              <a:gd name="connsiteX383" fmla="*/ 173648 w 1897116"/>
              <a:gd name="connsiteY383" fmla="*/ 1069068 h 1087290"/>
              <a:gd name="connsiteX384" fmla="*/ 168741 w 1897116"/>
              <a:gd name="connsiteY384" fmla="*/ 1067239 h 1087290"/>
              <a:gd name="connsiteX385" fmla="*/ 167251 w 1897116"/>
              <a:gd name="connsiteY385" fmla="*/ 1068549 h 1087290"/>
              <a:gd name="connsiteX386" fmla="*/ 162607 w 1897116"/>
              <a:gd name="connsiteY386" fmla="*/ 1067267 h 1087290"/>
              <a:gd name="connsiteX387" fmla="*/ 155421 w 1897116"/>
              <a:gd name="connsiteY387" fmla="*/ 1068549 h 1087290"/>
              <a:gd name="connsiteX388" fmla="*/ 153756 w 1897116"/>
              <a:gd name="connsiteY388" fmla="*/ 1069095 h 1087290"/>
              <a:gd name="connsiteX389" fmla="*/ 146483 w 1897116"/>
              <a:gd name="connsiteY389" fmla="*/ 1068631 h 1087290"/>
              <a:gd name="connsiteX390" fmla="*/ 137983 w 1897116"/>
              <a:gd name="connsiteY390" fmla="*/ 1067540 h 1087290"/>
              <a:gd name="connsiteX391" fmla="*/ 135967 w 1897116"/>
              <a:gd name="connsiteY391" fmla="*/ 1065711 h 1087290"/>
              <a:gd name="connsiteX392" fmla="*/ 130710 w 1897116"/>
              <a:gd name="connsiteY392" fmla="*/ 1061208 h 1087290"/>
              <a:gd name="connsiteX393" fmla="*/ 123962 w 1897116"/>
              <a:gd name="connsiteY393" fmla="*/ 1057470 h 1087290"/>
              <a:gd name="connsiteX394" fmla="*/ 115375 w 1897116"/>
              <a:gd name="connsiteY394" fmla="*/ 1056051 h 1087290"/>
              <a:gd name="connsiteX395" fmla="*/ 110555 w 1897116"/>
              <a:gd name="connsiteY395" fmla="*/ 1058043 h 1087290"/>
              <a:gd name="connsiteX396" fmla="*/ 110555 w 1897116"/>
              <a:gd name="connsiteY396" fmla="*/ 1057743 h 1087290"/>
              <a:gd name="connsiteX397" fmla="*/ 105998 w 1897116"/>
              <a:gd name="connsiteY397" fmla="*/ 1056269 h 1087290"/>
              <a:gd name="connsiteX398" fmla="*/ 107225 w 1897116"/>
              <a:gd name="connsiteY398" fmla="*/ 1053676 h 1087290"/>
              <a:gd name="connsiteX399" fmla="*/ 106962 w 1897116"/>
              <a:gd name="connsiteY399" fmla="*/ 1048792 h 1087290"/>
              <a:gd name="connsiteX400" fmla="*/ 106962 w 1897116"/>
              <a:gd name="connsiteY400" fmla="*/ 1045299 h 1087290"/>
              <a:gd name="connsiteX401" fmla="*/ 107926 w 1897116"/>
              <a:gd name="connsiteY401" fmla="*/ 1044807 h 1087290"/>
              <a:gd name="connsiteX402" fmla="*/ 106875 w 1897116"/>
              <a:gd name="connsiteY402" fmla="*/ 1044726 h 1087290"/>
              <a:gd name="connsiteX403" fmla="*/ 106962 w 1897116"/>
              <a:gd name="connsiteY403" fmla="*/ 1045299 h 1087290"/>
              <a:gd name="connsiteX404" fmla="*/ 102230 w 1897116"/>
              <a:gd name="connsiteY404" fmla="*/ 1044944 h 1087290"/>
              <a:gd name="connsiteX405" fmla="*/ 96622 w 1897116"/>
              <a:gd name="connsiteY405" fmla="*/ 1045053 h 1087290"/>
              <a:gd name="connsiteX406" fmla="*/ 92065 w 1897116"/>
              <a:gd name="connsiteY406" fmla="*/ 1045708 h 1087290"/>
              <a:gd name="connsiteX407" fmla="*/ 85405 w 1897116"/>
              <a:gd name="connsiteY407" fmla="*/ 1047263 h 1087290"/>
              <a:gd name="connsiteX408" fmla="*/ 84880 w 1897116"/>
              <a:gd name="connsiteY408" fmla="*/ 1043907 h 1087290"/>
              <a:gd name="connsiteX409" fmla="*/ 80060 w 1897116"/>
              <a:gd name="connsiteY409" fmla="*/ 1048710 h 1087290"/>
              <a:gd name="connsiteX410" fmla="*/ 74802 w 1897116"/>
              <a:gd name="connsiteY410" fmla="*/ 1051821 h 1087290"/>
              <a:gd name="connsiteX411" fmla="*/ 68493 w 1897116"/>
              <a:gd name="connsiteY411" fmla="*/ 1051657 h 1087290"/>
              <a:gd name="connsiteX412" fmla="*/ 66127 w 1897116"/>
              <a:gd name="connsiteY412" fmla="*/ 1054959 h 1087290"/>
              <a:gd name="connsiteX413" fmla="*/ 62271 w 1897116"/>
              <a:gd name="connsiteY413" fmla="*/ 1057033 h 1087290"/>
              <a:gd name="connsiteX414" fmla="*/ 61658 w 1897116"/>
              <a:gd name="connsiteY414" fmla="*/ 1056569 h 1087290"/>
              <a:gd name="connsiteX415" fmla="*/ 56488 w 1897116"/>
              <a:gd name="connsiteY415" fmla="*/ 1053022 h 1087290"/>
              <a:gd name="connsiteX416" fmla="*/ 53421 w 1897116"/>
              <a:gd name="connsiteY416" fmla="*/ 1047809 h 1087290"/>
              <a:gd name="connsiteX417" fmla="*/ 50091 w 1897116"/>
              <a:gd name="connsiteY417" fmla="*/ 1044043 h 1087290"/>
              <a:gd name="connsiteX418" fmla="*/ 45972 w 1897116"/>
              <a:gd name="connsiteY418" fmla="*/ 1047973 h 1087290"/>
              <a:gd name="connsiteX419" fmla="*/ 41941 w 1897116"/>
              <a:gd name="connsiteY419" fmla="*/ 1051848 h 1087290"/>
              <a:gd name="connsiteX420" fmla="*/ 39312 w 1897116"/>
              <a:gd name="connsiteY420" fmla="*/ 1053158 h 1087290"/>
              <a:gd name="connsiteX421" fmla="*/ 38699 w 1897116"/>
              <a:gd name="connsiteY421" fmla="*/ 1046554 h 1087290"/>
              <a:gd name="connsiteX422" fmla="*/ 39312 w 1897116"/>
              <a:gd name="connsiteY422" fmla="*/ 1038667 h 1087290"/>
              <a:gd name="connsiteX423" fmla="*/ 39049 w 1897116"/>
              <a:gd name="connsiteY423" fmla="*/ 1038476 h 1087290"/>
              <a:gd name="connsiteX424" fmla="*/ 37823 w 1897116"/>
              <a:gd name="connsiteY424" fmla="*/ 1039486 h 1087290"/>
              <a:gd name="connsiteX425" fmla="*/ 34054 w 1897116"/>
              <a:gd name="connsiteY425" fmla="*/ 1039131 h 1087290"/>
              <a:gd name="connsiteX426" fmla="*/ 31250 w 1897116"/>
              <a:gd name="connsiteY426" fmla="*/ 1044180 h 1087290"/>
              <a:gd name="connsiteX427" fmla="*/ 23188 w 1897116"/>
              <a:gd name="connsiteY427" fmla="*/ 1049692 h 1087290"/>
              <a:gd name="connsiteX428" fmla="*/ 17580 w 1897116"/>
              <a:gd name="connsiteY428" fmla="*/ 1052012 h 1087290"/>
              <a:gd name="connsiteX429" fmla="*/ 13724 w 1897116"/>
              <a:gd name="connsiteY429" fmla="*/ 1056651 h 1087290"/>
              <a:gd name="connsiteX430" fmla="*/ 15302 w 1897116"/>
              <a:gd name="connsiteY430" fmla="*/ 1057743 h 1087290"/>
              <a:gd name="connsiteX431" fmla="*/ 8642 w 1897116"/>
              <a:gd name="connsiteY431" fmla="*/ 1060499 h 1087290"/>
              <a:gd name="connsiteX432" fmla="*/ 5137 w 1897116"/>
              <a:gd name="connsiteY432" fmla="*/ 1062000 h 1087290"/>
              <a:gd name="connsiteX433" fmla="*/ 3559 w 1897116"/>
              <a:gd name="connsiteY433" fmla="*/ 1055505 h 1087290"/>
              <a:gd name="connsiteX434" fmla="*/ 4786 w 1897116"/>
              <a:gd name="connsiteY434" fmla="*/ 1049528 h 1087290"/>
              <a:gd name="connsiteX435" fmla="*/ 54 w 1897116"/>
              <a:gd name="connsiteY435" fmla="*/ 1045954 h 1087290"/>
              <a:gd name="connsiteX436" fmla="*/ 54 w 1897116"/>
              <a:gd name="connsiteY436" fmla="*/ 499589 h 1087290"/>
              <a:gd name="connsiteX437" fmla="*/ 1023 w 1897116"/>
              <a:gd name="connsiteY437" fmla="*/ 499589 h 1087290"/>
              <a:gd name="connsiteX438" fmla="*/ 1023 w 1897116"/>
              <a:gd name="connsiteY438" fmla="*/ 459882 h 1087290"/>
              <a:gd name="connsiteX439" fmla="*/ 1023 w 1897116"/>
              <a:gd name="connsiteY439" fmla="*/ 139188 h 1087290"/>
              <a:gd name="connsiteX440" fmla="*/ 1023 w 1897116"/>
              <a:gd name="connsiteY440" fmla="*/ 125528 h 1087290"/>
              <a:gd name="connsiteX441" fmla="*/ 1023 w 1897116"/>
              <a:gd name="connsiteY441" fmla="*/ 115418 h 1087290"/>
              <a:gd name="connsiteX442" fmla="*/ 1023 w 1897116"/>
              <a:gd name="connsiteY442" fmla="*/ 109084 h 1087290"/>
              <a:gd name="connsiteX443" fmla="*/ 1023 w 1897116"/>
              <a:gd name="connsiteY443" fmla="*/ 106908 h 1087290"/>
              <a:gd name="connsiteX444" fmla="*/ 5162 w 1897116"/>
              <a:gd name="connsiteY444" fmla="*/ 103773 h 1087290"/>
              <a:gd name="connsiteX445" fmla="*/ 9918 w 1897116"/>
              <a:gd name="connsiteY445" fmla="*/ 99486 h 1087290"/>
              <a:gd name="connsiteX446" fmla="*/ 13353 w 1897116"/>
              <a:gd name="connsiteY446" fmla="*/ 94911 h 1087290"/>
              <a:gd name="connsiteX447" fmla="*/ 18021 w 1897116"/>
              <a:gd name="connsiteY447" fmla="*/ 91520 h 1087290"/>
              <a:gd name="connsiteX448" fmla="*/ 18637 w 1897116"/>
              <a:gd name="connsiteY448" fmla="*/ 94496 h 1087290"/>
              <a:gd name="connsiteX449" fmla="*/ 20487 w 1897116"/>
              <a:gd name="connsiteY449" fmla="*/ 106204 h 1087290"/>
              <a:gd name="connsiteX450" fmla="*/ 22777 w 1897116"/>
              <a:gd name="connsiteY450" fmla="*/ 114906 h 1087290"/>
              <a:gd name="connsiteX451" fmla="*/ 22777 w 1897116"/>
              <a:gd name="connsiteY451" fmla="*/ 120889 h 1087290"/>
              <a:gd name="connsiteX452" fmla="*/ 24098 w 1897116"/>
              <a:gd name="connsiteY452" fmla="*/ 114906 h 1087290"/>
              <a:gd name="connsiteX453" fmla="*/ 25419 w 1897116"/>
              <a:gd name="connsiteY453" fmla="*/ 108604 h 1087290"/>
              <a:gd name="connsiteX454" fmla="*/ 27092 w 1897116"/>
              <a:gd name="connsiteY454" fmla="*/ 101054 h 1087290"/>
              <a:gd name="connsiteX455" fmla="*/ 29470 w 1897116"/>
              <a:gd name="connsiteY455" fmla="*/ 92096 h 1087290"/>
              <a:gd name="connsiteX456" fmla="*/ 30439 w 1897116"/>
              <a:gd name="connsiteY456" fmla="*/ 85730 h 1087290"/>
              <a:gd name="connsiteX457" fmla="*/ 32200 w 1897116"/>
              <a:gd name="connsiteY457" fmla="*/ 77380 h 1087290"/>
              <a:gd name="connsiteX458" fmla="*/ 32993 w 1897116"/>
              <a:gd name="connsiteY458" fmla="*/ 73381 h 1087290"/>
              <a:gd name="connsiteX459" fmla="*/ 32817 w 1897116"/>
              <a:gd name="connsiteY459" fmla="*/ 66503 h 1087290"/>
              <a:gd name="connsiteX460" fmla="*/ 34314 w 1897116"/>
              <a:gd name="connsiteY460" fmla="*/ 62376 h 1087290"/>
              <a:gd name="connsiteX461" fmla="*/ 40016 w 1897116"/>
              <a:gd name="connsiteY461" fmla="*/ 62421 h 1087290"/>
              <a:gd name="connsiteX462" fmla="*/ 40853 w 1897116"/>
              <a:gd name="connsiteY462" fmla="*/ 63343 h 1087290"/>
              <a:gd name="connsiteX463" fmla="*/ 40904 w 1897116"/>
              <a:gd name="connsiteY463" fmla="*/ 62538 h 1087290"/>
              <a:gd name="connsiteX464" fmla="*/ 46820 w 1897116"/>
              <a:gd name="connsiteY464" fmla="*/ 65159 h 1087290"/>
              <a:gd name="connsiteX465" fmla="*/ 53602 w 1897116"/>
              <a:gd name="connsiteY465" fmla="*/ 70086 h 1087290"/>
              <a:gd name="connsiteX466" fmla="*/ 58534 w 1897116"/>
              <a:gd name="connsiteY466" fmla="*/ 64327 h 1087290"/>
              <a:gd name="connsiteX467" fmla="*/ 63378 w 1897116"/>
              <a:gd name="connsiteY467" fmla="*/ 58601 h 1087290"/>
              <a:gd name="connsiteX468" fmla="*/ 67781 w 1897116"/>
              <a:gd name="connsiteY468" fmla="*/ 53610 h 1087290"/>
              <a:gd name="connsiteX469" fmla="*/ 71921 w 1897116"/>
              <a:gd name="connsiteY469" fmla="*/ 48555 h 1087290"/>
              <a:gd name="connsiteX470" fmla="*/ 77645 w 1897116"/>
              <a:gd name="connsiteY470" fmla="*/ 45036 h 1087290"/>
              <a:gd name="connsiteX471" fmla="*/ 83282 w 1897116"/>
              <a:gd name="connsiteY471" fmla="*/ 43309 h 1087290"/>
              <a:gd name="connsiteX472" fmla="*/ 83513 w 1897116"/>
              <a:gd name="connsiteY472" fmla="*/ 44920 h 1087290"/>
              <a:gd name="connsiteX473" fmla="*/ 86620 w 1897116"/>
              <a:gd name="connsiteY473" fmla="*/ 45681 h 1087290"/>
              <a:gd name="connsiteX474" fmla="*/ 85847 w 1897116"/>
              <a:gd name="connsiteY474" fmla="*/ 46124 h 1087290"/>
              <a:gd name="connsiteX475" fmla="*/ 88038 w 1897116"/>
              <a:gd name="connsiteY475" fmla="*/ 46028 h 1087290"/>
              <a:gd name="connsiteX476" fmla="*/ 86620 w 1897116"/>
              <a:gd name="connsiteY476" fmla="*/ 45681 h 1087290"/>
              <a:gd name="connsiteX477" fmla="*/ 92706 w 1897116"/>
              <a:gd name="connsiteY477" fmla="*/ 42189 h 1087290"/>
              <a:gd name="connsiteX478" fmla="*/ 96581 w 1897116"/>
              <a:gd name="connsiteY478" fmla="*/ 46444 h 1087290"/>
              <a:gd name="connsiteX479" fmla="*/ 95876 w 1897116"/>
              <a:gd name="connsiteY479" fmla="*/ 51499 h 1087290"/>
              <a:gd name="connsiteX480" fmla="*/ 100192 w 1897116"/>
              <a:gd name="connsiteY480" fmla="*/ 54250 h 1087290"/>
              <a:gd name="connsiteX481" fmla="*/ 106621 w 1897116"/>
              <a:gd name="connsiteY481" fmla="*/ 50347 h 1087290"/>
              <a:gd name="connsiteX482" fmla="*/ 108206 w 1897116"/>
              <a:gd name="connsiteY482" fmla="*/ 51243 h 1087290"/>
              <a:gd name="connsiteX483" fmla="*/ 115076 w 1897116"/>
              <a:gd name="connsiteY483" fmla="*/ 47851 h 1087290"/>
              <a:gd name="connsiteX484" fmla="*/ 117215 w 1897116"/>
              <a:gd name="connsiteY484" fmla="*/ 43761 h 1087290"/>
              <a:gd name="connsiteX485" fmla="*/ 119950 w 1897116"/>
              <a:gd name="connsiteY485" fmla="*/ 43716 h 1087290"/>
              <a:gd name="connsiteX486" fmla="*/ 121065 w 1897116"/>
              <a:gd name="connsiteY486" fmla="*/ 43916 h 1087290"/>
              <a:gd name="connsiteX487" fmla="*/ 120926 w 1897116"/>
              <a:gd name="connsiteY487" fmla="*/ 43701 h 1087290"/>
              <a:gd name="connsiteX488" fmla="*/ 121417 w 1897116"/>
              <a:gd name="connsiteY488" fmla="*/ 43693 h 1087290"/>
              <a:gd name="connsiteX489" fmla="*/ 126184 w 1897116"/>
              <a:gd name="connsiteY489" fmla="*/ 49407 h 1087290"/>
              <a:gd name="connsiteX490" fmla="*/ 120031 w 1897116"/>
              <a:gd name="connsiteY490" fmla="*/ 50714 h 1087290"/>
              <a:gd name="connsiteX491" fmla="*/ 119655 w 1897116"/>
              <a:gd name="connsiteY491" fmla="*/ 50411 h 1087290"/>
              <a:gd name="connsiteX492" fmla="*/ 118599 w 1897116"/>
              <a:gd name="connsiteY492" fmla="*/ 51019 h 1087290"/>
              <a:gd name="connsiteX493" fmla="*/ 120031 w 1897116"/>
              <a:gd name="connsiteY493" fmla="*/ 50714 h 1087290"/>
              <a:gd name="connsiteX494" fmla="*/ 120679 w 1897116"/>
              <a:gd name="connsiteY494" fmla="*/ 51239 h 1087290"/>
              <a:gd name="connsiteX495" fmla="*/ 127053 w 1897116"/>
              <a:gd name="connsiteY495" fmla="*/ 54442 h 1087290"/>
              <a:gd name="connsiteX496" fmla="*/ 135596 w 1897116"/>
              <a:gd name="connsiteY496" fmla="*/ 57865 h 1087290"/>
              <a:gd name="connsiteX497" fmla="*/ 137600 w 1897116"/>
              <a:gd name="connsiteY497" fmla="*/ 55186 h 1087290"/>
              <a:gd name="connsiteX498" fmla="*/ 138681 w 1897116"/>
              <a:gd name="connsiteY498" fmla="*/ 53721 h 1087290"/>
              <a:gd name="connsiteX499" fmla="*/ 139189 w 1897116"/>
              <a:gd name="connsiteY499" fmla="*/ 54503 h 1087290"/>
              <a:gd name="connsiteX500" fmla="*/ 139736 w 1897116"/>
              <a:gd name="connsiteY500" fmla="*/ 52266 h 1087290"/>
              <a:gd name="connsiteX501" fmla="*/ 137611 w 1897116"/>
              <a:gd name="connsiteY501" fmla="*/ 51817 h 1087290"/>
              <a:gd name="connsiteX502" fmla="*/ 138855 w 1897116"/>
              <a:gd name="connsiteY502" fmla="*/ 48875 h 1087290"/>
              <a:gd name="connsiteX503" fmla="*/ 146165 w 1897116"/>
              <a:gd name="connsiteY503" fmla="*/ 53354 h 1087290"/>
              <a:gd name="connsiteX504" fmla="*/ 151537 w 1897116"/>
              <a:gd name="connsiteY504" fmla="*/ 53034 h 1087290"/>
              <a:gd name="connsiteX505" fmla="*/ 158034 w 1897116"/>
              <a:gd name="connsiteY505" fmla="*/ 51672 h 1087290"/>
              <a:gd name="connsiteX506" fmla="*/ 159497 w 1897116"/>
              <a:gd name="connsiteY506" fmla="*/ 51308 h 1087290"/>
              <a:gd name="connsiteX507" fmla="*/ 160047 w 1897116"/>
              <a:gd name="connsiteY507" fmla="*/ 52862 h 1087290"/>
              <a:gd name="connsiteX508" fmla="*/ 164484 w 1897116"/>
              <a:gd name="connsiteY508" fmla="*/ 50059 h 1087290"/>
              <a:gd name="connsiteX509" fmla="*/ 165188 w 1897116"/>
              <a:gd name="connsiteY509" fmla="*/ 44940 h 1087290"/>
              <a:gd name="connsiteX510" fmla="*/ 169328 w 1897116"/>
              <a:gd name="connsiteY510" fmla="*/ 37646 h 1087290"/>
              <a:gd name="connsiteX511" fmla="*/ 174876 w 1897116"/>
              <a:gd name="connsiteY511" fmla="*/ 38670 h 1087290"/>
              <a:gd name="connsiteX512" fmla="*/ 174524 w 1897116"/>
              <a:gd name="connsiteY512" fmla="*/ 36622 h 1087290"/>
              <a:gd name="connsiteX513" fmla="*/ 180249 w 1897116"/>
              <a:gd name="connsiteY513" fmla="*/ 38542 h 1087290"/>
              <a:gd name="connsiteX514" fmla="*/ 185973 w 1897116"/>
              <a:gd name="connsiteY514" fmla="*/ 33871 h 1087290"/>
              <a:gd name="connsiteX515" fmla="*/ 188615 w 1897116"/>
              <a:gd name="connsiteY515" fmla="*/ 35535 h 1087290"/>
              <a:gd name="connsiteX516" fmla="*/ 192050 w 1897116"/>
              <a:gd name="connsiteY516" fmla="*/ 36558 h 1087290"/>
              <a:gd name="connsiteX517" fmla="*/ 195133 w 1897116"/>
              <a:gd name="connsiteY517" fmla="*/ 29360 h 1087290"/>
              <a:gd name="connsiteX518" fmla="*/ 196190 w 1897116"/>
              <a:gd name="connsiteY518" fmla="*/ 27857 h 1087290"/>
              <a:gd name="connsiteX519" fmla="*/ 203764 w 1897116"/>
              <a:gd name="connsiteY519" fmla="*/ 26513 h 1087290"/>
              <a:gd name="connsiteX520" fmla="*/ 204733 w 1897116"/>
              <a:gd name="connsiteY520" fmla="*/ 28784 h 1087290"/>
              <a:gd name="connsiteX521" fmla="*/ 207199 w 1897116"/>
              <a:gd name="connsiteY521" fmla="*/ 32591 h 1087290"/>
              <a:gd name="connsiteX522" fmla="*/ 213540 w 1897116"/>
              <a:gd name="connsiteY522" fmla="*/ 29968 h 1087290"/>
              <a:gd name="connsiteX523" fmla="*/ 219617 w 1897116"/>
              <a:gd name="connsiteY523" fmla="*/ 29648 h 1087290"/>
              <a:gd name="connsiteX524" fmla="*/ 224725 w 1897116"/>
              <a:gd name="connsiteY524" fmla="*/ 31408 h 1087290"/>
              <a:gd name="connsiteX525" fmla="*/ 226222 w 1897116"/>
              <a:gd name="connsiteY525" fmla="*/ 25553 h 1087290"/>
              <a:gd name="connsiteX526" fmla="*/ 236086 w 1897116"/>
              <a:gd name="connsiteY526" fmla="*/ 32495 h 1087290"/>
              <a:gd name="connsiteX527" fmla="*/ 241458 w 1897116"/>
              <a:gd name="connsiteY527" fmla="*/ 43149 h 1087290"/>
              <a:gd name="connsiteX528" fmla="*/ 242780 w 1897116"/>
              <a:gd name="connsiteY528" fmla="*/ 36430 h 1087290"/>
              <a:gd name="connsiteX529" fmla="*/ 248680 w 1897116"/>
              <a:gd name="connsiteY529" fmla="*/ 38574 h 1087290"/>
              <a:gd name="connsiteX530" fmla="*/ 258720 w 1897116"/>
              <a:gd name="connsiteY530" fmla="*/ 38926 h 1087290"/>
              <a:gd name="connsiteX531" fmla="*/ 264974 w 1897116"/>
              <a:gd name="connsiteY531" fmla="*/ 39854 h 1087290"/>
              <a:gd name="connsiteX532" fmla="*/ 266735 w 1897116"/>
              <a:gd name="connsiteY532" fmla="*/ 36654 h 1087290"/>
              <a:gd name="connsiteX533" fmla="*/ 275366 w 1897116"/>
              <a:gd name="connsiteY533" fmla="*/ 35119 h 1087290"/>
              <a:gd name="connsiteX534" fmla="*/ 279946 w 1897116"/>
              <a:gd name="connsiteY534" fmla="*/ 33775 h 1087290"/>
              <a:gd name="connsiteX535" fmla="*/ 278360 w 1897116"/>
              <a:gd name="connsiteY535" fmla="*/ 38094 h 1087290"/>
              <a:gd name="connsiteX536" fmla="*/ 283909 w 1897116"/>
              <a:gd name="connsiteY536" fmla="*/ 43597 h 1087290"/>
              <a:gd name="connsiteX537" fmla="*/ 288489 w 1897116"/>
              <a:gd name="connsiteY537" fmla="*/ 43757 h 1087290"/>
              <a:gd name="connsiteX538" fmla="*/ 292892 w 1897116"/>
              <a:gd name="connsiteY538" fmla="*/ 47276 h 1087290"/>
              <a:gd name="connsiteX539" fmla="*/ 295534 w 1897116"/>
              <a:gd name="connsiteY539" fmla="*/ 46068 h 1087290"/>
              <a:gd name="connsiteX540" fmla="*/ 299692 w 1897116"/>
              <a:gd name="connsiteY540" fmla="*/ 49081 h 1087290"/>
              <a:gd name="connsiteX541" fmla="*/ 298364 w 1897116"/>
              <a:gd name="connsiteY541" fmla="*/ 53022 h 1087290"/>
              <a:gd name="connsiteX542" fmla="*/ 300026 w 1897116"/>
              <a:gd name="connsiteY542" fmla="*/ 49323 h 1087290"/>
              <a:gd name="connsiteX543" fmla="*/ 299692 w 1897116"/>
              <a:gd name="connsiteY543" fmla="*/ 49081 h 1087290"/>
              <a:gd name="connsiteX544" fmla="*/ 300731 w 1897116"/>
              <a:gd name="connsiteY544" fmla="*/ 45996 h 1087290"/>
              <a:gd name="connsiteX545" fmla="*/ 305222 w 1897116"/>
              <a:gd name="connsiteY545" fmla="*/ 47724 h 1087290"/>
              <a:gd name="connsiteX546" fmla="*/ 306367 w 1897116"/>
              <a:gd name="connsiteY546" fmla="*/ 42605 h 1087290"/>
              <a:gd name="connsiteX547" fmla="*/ 304410 w 1897116"/>
              <a:gd name="connsiteY547" fmla="*/ 40485 h 1087290"/>
              <a:gd name="connsiteX548" fmla="*/ 308217 w 1897116"/>
              <a:gd name="connsiteY548" fmla="*/ 41357 h 1087290"/>
              <a:gd name="connsiteX549" fmla="*/ 310902 w 1897116"/>
              <a:gd name="connsiteY549" fmla="*/ 41519 h 1087290"/>
              <a:gd name="connsiteX550" fmla="*/ 314734 w 1897116"/>
              <a:gd name="connsiteY550" fmla="*/ 43309 h 1087290"/>
              <a:gd name="connsiteX551" fmla="*/ 321780 w 1897116"/>
              <a:gd name="connsiteY551" fmla="*/ 48235 h 1087290"/>
              <a:gd name="connsiteX552" fmla="*/ 326183 w 1897116"/>
              <a:gd name="connsiteY552" fmla="*/ 46540 h 1087290"/>
              <a:gd name="connsiteX553" fmla="*/ 336928 w 1897116"/>
              <a:gd name="connsiteY553" fmla="*/ 45900 h 1087290"/>
              <a:gd name="connsiteX554" fmla="*/ 347144 w 1897116"/>
              <a:gd name="connsiteY554" fmla="*/ 37806 h 1087290"/>
              <a:gd name="connsiteX555" fmla="*/ 352341 w 1897116"/>
              <a:gd name="connsiteY555" fmla="*/ 27761 h 1087290"/>
              <a:gd name="connsiteX556" fmla="*/ 353668 w 1897116"/>
              <a:gd name="connsiteY556" fmla="*/ 26940 h 1087290"/>
              <a:gd name="connsiteX557" fmla="*/ 354873 w 1897116"/>
              <a:gd name="connsiteY557" fmla="*/ 29988 h 1087290"/>
              <a:gd name="connsiteX558" fmla="*/ 354014 w 1897116"/>
              <a:gd name="connsiteY558" fmla="*/ 28912 h 1087290"/>
              <a:gd name="connsiteX559" fmla="*/ 355951 w 1897116"/>
              <a:gd name="connsiteY559" fmla="*/ 36750 h 1087290"/>
              <a:gd name="connsiteX560" fmla="*/ 357273 w 1897116"/>
              <a:gd name="connsiteY560" fmla="*/ 44300 h 1087290"/>
              <a:gd name="connsiteX561" fmla="*/ 356942 w 1897116"/>
              <a:gd name="connsiteY561" fmla="*/ 47547 h 1087290"/>
              <a:gd name="connsiteX562" fmla="*/ 357383 w 1897116"/>
              <a:gd name="connsiteY562" fmla="*/ 49085 h 1087290"/>
              <a:gd name="connsiteX563" fmla="*/ 357096 w 1897116"/>
              <a:gd name="connsiteY563" fmla="*/ 49755 h 1087290"/>
              <a:gd name="connsiteX564" fmla="*/ 358474 w 1897116"/>
              <a:gd name="connsiteY564" fmla="*/ 57114 h 1087290"/>
              <a:gd name="connsiteX565" fmla="*/ 357900 w 1897116"/>
              <a:gd name="connsiteY565" fmla="*/ 57309 h 1087290"/>
              <a:gd name="connsiteX566" fmla="*/ 358770 w 1897116"/>
              <a:gd name="connsiteY566" fmla="*/ 58697 h 1087290"/>
              <a:gd name="connsiteX567" fmla="*/ 358474 w 1897116"/>
              <a:gd name="connsiteY567" fmla="*/ 57114 h 1087290"/>
              <a:gd name="connsiteX568" fmla="*/ 365023 w 1897116"/>
              <a:gd name="connsiteY568" fmla="*/ 54890 h 1087290"/>
              <a:gd name="connsiteX569" fmla="*/ 371188 w 1897116"/>
              <a:gd name="connsiteY569" fmla="*/ 51115 h 1087290"/>
              <a:gd name="connsiteX570" fmla="*/ 379467 w 1897116"/>
              <a:gd name="connsiteY570" fmla="*/ 47660 h 1087290"/>
              <a:gd name="connsiteX571" fmla="*/ 383518 w 1897116"/>
              <a:gd name="connsiteY571" fmla="*/ 45484 h 1087290"/>
              <a:gd name="connsiteX572" fmla="*/ 388978 w 1897116"/>
              <a:gd name="connsiteY572" fmla="*/ 42509 h 1087290"/>
              <a:gd name="connsiteX573" fmla="*/ 396817 w 1897116"/>
              <a:gd name="connsiteY573" fmla="*/ 45484 h 1087290"/>
              <a:gd name="connsiteX574" fmla="*/ 404391 w 1897116"/>
              <a:gd name="connsiteY574" fmla="*/ 47724 h 1087290"/>
              <a:gd name="connsiteX575" fmla="*/ 404215 w 1897116"/>
              <a:gd name="connsiteY575" fmla="*/ 48907 h 1087290"/>
              <a:gd name="connsiteX576" fmla="*/ 402277 w 1897116"/>
              <a:gd name="connsiteY576" fmla="*/ 51627 h 1087290"/>
              <a:gd name="connsiteX577" fmla="*/ 408883 w 1897116"/>
              <a:gd name="connsiteY577" fmla="*/ 55018 h 1087290"/>
              <a:gd name="connsiteX578" fmla="*/ 408618 w 1897116"/>
              <a:gd name="connsiteY578" fmla="*/ 56681 h 1087290"/>
              <a:gd name="connsiteX579" fmla="*/ 414079 w 1897116"/>
              <a:gd name="connsiteY579" fmla="*/ 62408 h 1087290"/>
              <a:gd name="connsiteX580" fmla="*/ 414519 w 1897116"/>
              <a:gd name="connsiteY580" fmla="*/ 59241 h 1087290"/>
              <a:gd name="connsiteX581" fmla="*/ 417866 w 1897116"/>
              <a:gd name="connsiteY581" fmla="*/ 66759 h 1087290"/>
              <a:gd name="connsiteX582" fmla="*/ 422710 w 1897116"/>
              <a:gd name="connsiteY582" fmla="*/ 70022 h 1087290"/>
              <a:gd name="connsiteX583" fmla="*/ 428611 w 1897116"/>
              <a:gd name="connsiteY583" fmla="*/ 68582 h 1087290"/>
              <a:gd name="connsiteX584" fmla="*/ 429932 w 1897116"/>
              <a:gd name="connsiteY584" fmla="*/ 74117 h 1087290"/>
              <a:gd name="connsiteX585" fmla="*/ 435832 w 1897116"/>
              <a:gd name="connsiteY585" fmla="*/ 74053 h 1087290"/>
              <a:gd name="connsiteX586" fmla="*/ 442526 w 1897116"/>
              <a:gd name="connsiteY586" fmla="*/ 72389 h 1087290"/>
              <a:gd name="connsiteX587" fmla="*/ 448603 w 1897116"/>
              <a:gd name="connsiteY587" fmla="*/ 71461 h 1087290"/>
              <a:gd name="connsiteX588" fmla="*/ 456001 w 1897116"/>
              <a:gd name="connsiteY588" fmla="*/ 67878 h 1087290"/>
              <a:gd name="connsiteX589" fmla="*/ 460316 w 1897116"/>
              <a:gd name="connsiteY589" fmla="*/ 66055 h 1087290"/>
              <a:gd name="connsiteX590" fmla="*/ 465160 w 1897116"/>
              <a:gd name="connsiteY590" fmla="*/ 63048 h 1087290"/>
              <a:gd name="connsiteX591" fmla="*/ 470709 w 1897116"/>
              <a:gd name="connsiteY591" fmla="*/ 61224 h 1087290"/>
              <a:gd name="connsiteX592" fmla="*/ 479252 w 1897116"/>
              <a:gd name="connsiteY592" fmla="*/ 60328 h 1087290"/>
              <a:gd name="connsiteX593" fmla="*/ 484448 w 1897116"/>
              <a:gd name="connsiteY593" fmla="*/ 64487 h 1087290"/>
              <a:gd name="connsiteX594" fmla="*/ 486209 w 1897116"/>
              <a:gd name="connsiteY594" fmla="*/ 64967 h 1087290"/>
              <a:gd name="connsiteX595" fmla="*/ 489556 w 1897116"/>
              <a:gd name="connsiteY595" fmla="*/ 73125 h 1087290"/>
              <a:gd name="connsiteX596" fmla="*/ 492374 w 1897116"/>
              <a:gd name="connsiteY596" fmla="*/ 79395 h 1087290"/>
              <a:gd name="connsiteX597" fmla="*/ 495193 w 1897116"/>
              <a:gd name="connsiteY597" fmla="*/ 85634 h 1087290"/>
              <a:gd name="connsiteX598" fmla="*/ 499860 w 1897116"/>
              <a:gd name="connsiteY598" fmla="*/ 80611 h 1087290"/>
              <a:gd name="connsiteX599" fmla="*/ 498539 w 1897116"/>
              <a:gd name="connsiteY599" fmla="*/ 72461 h 1087290"/>
              <a:gd name="connsiteX600" fmla="*/ 502864 w 1897116"/>
              <a:gd name="connsiteY600" fmla="*/ 74686 h 1087290"/>
              <a:gd name="connsiteX601" fmla="*/ 502591 w 1897116"/>
              <a:gd name="connsiteY601" fmla="*/ 74740 h 1087290"/>
              <a:gd name="connsiteX602" fmla="*/ 504616 w 1897116"/>
              <a:gd name="connsiteY602" fmla="*/ 75588 h 1087290"/>
              <a:gd name="connsiteX603" fmla="*/ 502864 w 1897116"/>
              <a:gd name="connsiteY603" fmla="*/ 74686 h 1087290"/>
              <a:gd name="connsiteX604" fmla="*/ 509284 w 1897116"/>
              <a:gd name="connsiteY604" fmla="*/ 73413 h 1087290"/>
              <a:gd name="connsiteX605" fmla="*/ 513688 w 1897116"/>
              <a:gd name="connsiteY605" fmla="*/ 73125 h 1087290"/>
              <a:gd name="connsiteX606" fmla="*/ 519060 w 1897116"/>
              <a:gd name="connsiteY606" fmla="*/ 76196 h 1087290"/>
              <a:gd name="connsiteX607" fmla="*/ 524168 w 1897116"/>
              <a:gd name="connsiteY607" fmla="*/ 80067 h 1087290"/>
              <a:gd name="connsiteX608" fmla="*/ 528308 w 1897116"/>
              <a:gd name="connsiteY608" fmla="*/ 79267 h 1087290"/>
              <a:gd name="connsiteX609" fmla="*/ 534880 w 1897116"/>
              <a:gd name="connsiteY609" fmla="*/ 78096 h 1087290"/>
              <a:gd name="connsiteX610" fmla="*/ 536126 w 1897116"/>
              <a:gd name="connsiteY610" fmla="*/ 80719 h 1087290"/>
              <a:gd name="connsiteX611" fmla="*/ 535949 w 1897116"/>
              <a:gd name="connsiteY611" fmla="*/ 80727 h 1087290"/>
              <a:gd name="connsiteX612" fmla="*/ 534913 w 1897116"/>
              <a:gd name="connsiteY612" fmla="*/ 79875 h 1087290"/>
              <a:gd name="connsiteX613" fmla="*/ 532766 w 1897116"/>
              <a:gd name="connsiteY613" fmla="*/ 80875 h 1087290"/>
              <a:gd name="connsiteX614" fmla="*/ 535949 w 1897116"/>
              <a:gd name="connsiteY614" fmla="*/ 80727 h 1087290"/>
              <a:gd name="connsiteX615" fmla="*/ 536247 w 1897116"/>
              <a:gd name="connsiteY615" fmla="*/ 80972 h 1087290"/>
              <a:gd name="connsiteX616" fmla="*/ 536126 w 1897116"/>
              <a:gd name="connsiteY616" fmla="*/ 80719 h 1087290"/>
              <a:gd name="connsiteX617" fmla="*/ 539140 w 1897116"/>
              <a:gd name="connsiteY617" fmla="*/ 80579 h 1087290"/>
              <a:gd name="connsiteX618" fmla="*/ 544777 w 1897116"/>
              <a:gd name="connsiteY618" fmla="*/ 79203 h 1087290"/>
              <a:gd name="connsiteX619" fmla="*/ 548588 w 1897116"/>
              <a:gd name="connsiteY619" fmla="*/ 77263 h 1087290"/>
              <a:gd name="connsiteX620" fmla="*/ 550747 w 1897116"/>
              <a:gd name="connsiteY620" fmla="*/ 77988 h 1087290"/>
              <a:gd name="connsiteX621" fmla="*/ 555786 w 1897116"/>
              <a:gd name="connsiteY621" fmla="*/ 74565 h 1087290"/>
              <a:gd name="connsiteX622" fmla="*/ 561334 w 1897116"/>
              <a:gd name="connsiteY622" fmla="*/ 74213 h 1087290"/>
              <a:gd name="connsiteX623" fmla="*/ 562303 w 1897116"/>
              <a:gd name="connsiteY623" fmla="*/ 68838 h 1087290"/>
              <a:gd name="connsiteX624" fmla="*/ 567059 w 1897116"/>
              <a:gd name="connsiteY624" fmla="*/ 67207 h 1087290"/>
              <a:gd name="connsiteX625" fmla="*/ 571110 w 1897116"/>
              <a:gd name="connsiteY625" fmla="*/ 61224 h 1087290"/>
              <a:gd name="connsiteX626" fmla="*/ 576747 w 1897116"/>
              <a:gd name="connsiteY626" fmla="*/ 60936 h 1087290"/>
              <a:gd name="connsiteX627" fmla="*/ 580622 w 1897116"/>
              <a:gd name="connsiteY627" fmla="*/ 55050 h 1087290"/>
              <a:gd name="connsiteX628" fmla="*/ 581327 w 1897116"/>
              <a:gd name="connsiteY628" fmla="*/ 58569 h 1087290"/>
              <a:gd name="connsiteX629" fmla="*/ 581855 w 1897116"/>
              <a:gd name="connsiteY629" fmla="*/ 64007 h 1087290"/>
              <a:gd name="connsiteX630" fmla="*/ 583264 w 1897116"/>
              <a:gd name="connsiteY630" fmla="*/ 67910 h 1087290"/>
              <a:gd name="connsiteX631" fmla="*/ 587668 w 1897116"/>
              <a:gd name="connsiteY631" fmla="*/ 68038 h 1087290"/>
              <a:gd name="connsiteX632" fmla="*/ 592952 w 1897116"/>
              <a:gd name="connsiteY632" fmla="*/ 66535 h 1087290"/>
              <a:gd name="connsiteX633" fmla="*/ 604137 w 1897116"/>
              <a:gd name="connsiteY633" fmla="*/ 61448 h 1087290"/>
              <a:gd name="connsiteX634" fmla="*/ 615146 w 1897116"/>
              <a:gd name="connsiteY634" fmla="*/ 53450 h 1087290"/>
              <a:gd name="connsiteX635" fmla="*/ 620430 w 1897116"/>
              <a:gd name="connsiteY635" fmla="*/ 48907 h 1087290"/>
              <a:gd name="connsiteX636" fmla="*/ 625803 w 1897116"/>
              <a:gd name="connsiteY636" fmla="*/ 44172 h 1087290"/>
              <a:gd name="connsiteX637" fmla="*/ 630735 w 1897116"/>
              <a:gd name="connsiteY637" fmla="*/ 39598 h 1087290"/>
              <a:gd name="connsiteX638" fmla="*/ 635755 w 1897116"/>
              <a:gd name="connsiteY638" fmla="*/ 35567 h 1087290"/>
              <a:gd name="connsiteX639" fmla="*/ 639806 w 1897116"/>
              <a:gd name="connsiteY639" fmla="*/ 32495 h 1087290"/>
              <a:gd name="connsiteX640" fmla="*/ 645091 w 1897116"/>
              <a:gd name="connsiteY640" fmla="*/ 28880 h 1087290"/>
              <a:gd name="connsiteX641" fmla="*/ 652136 w 1897116"/>
              <a:gd name="connsiteY641" fmla="*/ 25553 h 1087290"/>
              <a:gd name="connsiteX642" fmla="*/ 658742 w 1897116"/>
              <a:gd name="connsiteY642" fmla="*/ 22706 h 1087290"/>
              <a:gd name="connsiteX643" fmla="*/ 665347 w 1897116"/>
              <a:gd name="connsiteY643" fmla="*/ 17075 h 1087290"/>
              <a:gd name="connsiteX644" fmla="*/ 672481 w 1897116"/>
              <a:gd name="connsiteY644" fmla="*/ 15316 h 1087290"/>
              <a:gd name="connsiteX645" fmla="*/ 679703 w 1897116"/>
              <a:gd name="connsiteY645" fmla="*/ 12341 h 1087290"/>
              <a:gd name="connsiteX646" fmla="*/ 687365 w 1897116"/>
              <a:gd name="connsiteY646" fmla="*/ 14740 h 1087290"/>
              <a:gd name="connsiteX647" fmla="*/ 686748 w 1897116"/>
              <a:gd name="connsiteY647" fmla="*/ 9589 h 1087290"/>
              <a:gd name="connsiteX648" fmla="*/ 693354 w 1897116"/>
              <a:gd name="connsiteY648" fmla="*/ 7254 h 1087290"/>
              <a:gd name="connsiteX649" fmla="*/ 700664 w 1897116"/>
              <a:gd name="connsiteY649" fmla="*/ 4887 h 1087290"/>
              <a:gd name="connsiteX650" fmla="*/ 709207 w 1897116"/>
              <a:gd name="connsiteY650" fmla="*/ 1048 h 1087290"/>
              <a:gd name="connsiteX651" fmla="*/ 710616 w 1897116"/>
              <a:gd name="connsiteY651" fmla="*/ 3799 h 1087290"/>
              <a:gd name="connsiteX652" fmla="*/ 715548 w 1897116"/>
              <a:gd name="connsiteY652" fmla="*/ 11317 h 1087290"/>
              <a:gd name="connsiteX653" fmla="*/ 717485 w 1897116"/>
              <a:gd name="connsiteY653" fmla="*/ 14548 h 1087290"/>
              <a:gd name="connsiteX654" fmla="*/ 723210 w 1897116"/>
              <a:gd name="connsiteY654" fmla="*/ 19731 h 1087290"/>
              <a:gd name="connsiteX655" fmla="*/ 725412 w 1897116"/>
              <a:gd name="connsiteY655" fmla="*/ 18099 h 1087290"/>
              <a:gd name="connsiteX656" fmla="*/ 729727 w 1897116"/>
              <a:gd name="connsiteY656" fmla="*/ 25489 h 1087290"/>
              <a:gd name="connsiteX657" fmla="*/ 734659 w 1897116"/>
              <a:gd name="connsiteY657" fmla="*/ 28592 h 1087290"/>
              <a:gd name="connsiteX658" fmla="*/ 738270 w 1897116"/>
              <a:gd name="connsiteY658" fmla="*/ 27441 h 1087290"/>
              <a:gd name="connsiteX659" fmla="*/ 745404 w 1897116"/>
              <a:gd name="connsiteY659" fmla="*/ 32879 h 1087290"/>
              <a:gd name="connsiteX660" fmla="*/ 746109 w 1897116"/>
              <a:gd name="connsiteY660" fmla="*/ 32048 h 1087290"/>
              <a:gd name="connsiteX661" fmla="*/ 743731 w 1897116"/>
              <a:gd name="connsiteY661" fmla="*/ 29808 h 1087290"/>
              <a:gd name="connsiteX662" fmla="*/ 748663 w 1897116"/>
              <a:gd name="connsiteY662" fmla="*/ 27089 h 1087290"/>
              <a:gd name="connsiteX663" fmla="*/ 756149 w 1897116"/>
              <a:gd name="connsiteY663" fmla="*/ 23474 h 1087290"/>
              <a:gd name="connsiteX664" fmla="*/ 759496 w 1897116"/>
              <a:gd name="connsiteY664" fmla="*/ 23890 h 1087290"/>
              <a:gd name="connsiteX665" fmla="*/ 760817 w 1897116"/>
              <a:gd name="connsiteY665" fmla="*/ 21458 h 1087290"/>
              <a:gd name="connsiteX666" fmla="*/ 763459 w 1897116"/>
              <a:gd name="connsiteY666" fmla="*/ 25297 h 1087290"/>
              <a:gd name="connsiteX667" fmla="*/ 766365 w 1897116"/>
              <a:gd name="connsiteY667" fmla="*/ 32112 h 1087290"/>
              <a:gd name="connsiteX668" fmla="*/ 768127 w 1897116"/>
              <a:gd name="connsiteY668" fmla="*/ 36558 h 1087290"/>
              <a:gd name="connsiteX669" fmla="*/ 769888 w 1897116"/>
              <a:gd name="connsiteY669" fmla="*/ 34255 h 1087290"/>
              <a:gd name="connsiteX670" fmla="*/ 770945 w 1897116"/>
              <a:gd name="connsiteY670" fmla="*/ 37966 h 1087290"/>
              <a:gd name="connsiteX671" fmla="*/ 770681 w 1897116"/>
              <a:gd name="connsiteY671" fmla="*/ 43565 h 1087290"/>
              <a:gd name="connsiteX672" fmla="*/ 773411 w 1897116"/>
              <a:gd name="connsiteY672" fmla="*/ 47979 h 1087290"/>
              <a:gd name="connsiteX673" fmla="*/ 776846 w 1897116"/>
              <a:gd name="connsiteY673" fmla="*/ 43789 h 1087290"/>
              <a:gd name="connsiteX674" fmla="*/ 784684 w 1897116"/>
              <a:gd name="connsiteY674" fmla="*/ 42861 h 1087290"/>
              <a:gd name="connsiteX675" fmla="*/ 789528 w 1897116"/>
              <a:gd name="connsiteY675" fmla="*/ 46412 h 1087290"/>
              <a:gd name="connsiteX676" fmla="*/ 794196 w 1897116"/>
              <a:gd name="connsiteY676" fmla="*/ 40493 h 1087290"/>
              <a:gd name="connsiteX677" fmla="*/ 803179 w 1897116"/>
              <a:gd name="connsiteY677" fmla="*/ 38222 h 1087290"/>
              <a:gd name="connsiteX678" fmla="*/ 812074 w 1897116"/>
              <a:gd name="connsiteY678" fmla="*/ 36878 h 1087290"/>
              <a:gd name="connsiteX679" fmla="*/ 813395 w 1897116"/>
              <a:gd name="connsiteY679" fmla="*/ 37102 h 1087290"/>
              <a:gd name="connsiteX680" fmla="*/ 808904 w 1897116"/>
              <a:gd name="connsiteY680" fmla="*/ 45324 h 1087290"/>
              <a:gd name="connsiteX681" fmla="*/ 805557 w 1897116"/>
              <a:gd name="connsiteY681" fmla="*/ 51850 h 1087290"/>
              <a:gd name="connsiteX682" fmla="*/ 802122 w 1897116"/>
              <a:gd name="connsiteY682" fmla="*/ 59305 h 1087290"/>
              <a:gd name="connsiteX683" fmla="*/ 809872 w 1897116"/>
              <a:gd name="connsiteY683" fmla="*/ 58825 h 1087290"/>
              <a:gd name="connsiteX684" fmla="*/ 817623 w 1897116"/>
              <a:gd name="connsiteY684" fmla="*/ 58409 h 1087290"/>
              <a:gd name="connsiteX685" fmla="*/ 824845 w 1897116"/>
              <a:gd name="connsiteY685" fmla="*/ 54538 h 1087290"/>
              <a:gd name="connsiteX686" fmla="*/ 831186 w 1897116"/>
              <a:gd name="connsiteY686" fmla="*/ 56457 h 1087290"/>
              <a:gd name="connsiteX687" fmla="*/ 840609 w 1897116"/>
              <a:gd name="connsiteY687" fmla="*/ 53898 h 1087290"/>
              <a:gd name="connsiteX688" fmla="*/ 844132 w 1897116"/>
              <a:gd name="connsiteY688" fmla="*/ 52874 h 1087290"/>
              <a:gd name="connsiteX689" fmla="*/ 849857 w 1897116"/>
              <a:gd name="connsiteY689" fmla="*/ 50923 h 1087290"/>
              <a:gd name="connsiteX690" fmla="*/ 856727 w 1897116"/>
              <a:gd name="connsiteY690" fmla="*/ 48459 h 1087290"/>
              <a:gd name="connsiteX691" fmla="*/ 864565 w 1897116"/>
              <a:gd name="connsiteY691" fmla="*/ 45228 h 1087290"/>
              <a:gd name="connsiteX692" fmla="*/ 867383 w 1897116"/>
              <a:gd name="connsiteY692" fmla="*/ 44748 h 1087290"/>
              <a:gd name="connsiteX693" fmla="*/ 872668 w 1897116"/>
              <a:gd name="connsiteY693" fmla="*/ 41901 h 1087290"/>
              <a:gd name="connsiteX694" fmla="*/ 877776 w 1897116"/>
              <a:gd name="connsiteY694" fmla="*/ 41741 h 1087290"/>
              <a:gd name="connsiteX695" fmla="*/ 884205 w 1897116"/>
              <a:gd name="connsiteY695" fmla="*/ 42893 h 1087290"/>
              <a:gd name="connsiteX696" fmla="*/ 882972 w 1897116"/>
              <a:gd name="connsiteY696" fmla="*/ 43053 h 1087290"/>
              <a:gd name="connsiteX697" fmla="*/ 883853 w 1897116"/>
              <a:gd name="connsiteY697" fmla="*/ 49899 h 1087290"/>
              <a:gd name="connsiteX698" fmla="*/ 880330 w 1897116"/>
              <a:gd name="connsiteY698" fmla="*/ 57001 h 1087290"/>
              <a:gd name="connsiteX699" fmla="*/ 880252 w 1897116"/>
              <a:gd name="connsiteY699" fmla="*/ 58718 h 1087290"/>
              <a:gd name="connsiteX700" fmla="*/ 879713 w 1897116"/>
              <a:gd name="connsiteY700" fmla="*/ 59656 h 1087290"/>
              <a:gd name="connsiteX701" fmla="*/ 880154 w 1897116"/>
              <a:gd name="connsiteY701" fmla="*/ 60896 h 1087290"/>
              <a:gd name="connsiteX702" fmla="*/ 880252 w 1897116"/>
              <a:gd name="connsiteY702" fmla="*/ 58718 h 1087290"/>
              <a:gd name="connsiteX703" fmla="*/ 881827 w 1897116"/>
              <a:gd name="connsiteY703" fmla="*/ 55977 h 1087290"/>
              <a:gd name="connsiteX704" fmla="*/ 890722 w 1897116"/>
              <a:gd name="connsiteY704" fmla="*/ 54186 h 1087290"/>
              <a:gd name="connsiteX705" fmla="*/ 897504 w 1897116"/>
              <a:gd name="connsiteY705" fmla="*/ 50699 h 1087290"/>
              <a:gd name="connsiteX706" fmla="*/ 901731 w 1897116"/>
              <a:gd name="connsiteY706" fmla="*/ 48715 h 1087290"/>
              <a:gd name="connsiteX707" fmla="*/ 906927 w 1897116"/>
              <a:gd name="connsiteY707" fmla="*/ 50539 h 1087290"/>
              <a:gd name="connsiteX708" fmla="*/ 909393 w 1897116"/>
              <a:gd name="connsiteY708" fmla="*/ 46028 h 1087290"/>
              <a:gd name="connsiteX709" fmla="*/ 910803 w 1897116"/>
              <a:gd name="connsiteY709" fmla="*/ 52138 h 1087290"/>
              <a:gd name="connsiteX710" fmla="*/ 912124 w 1897116"/>
              <a:gd name="connsiteY710" fmla="*/ 58249 h 1087290"/>
              <a:gd name="connsiteX711" fmla="*/ 913797 w 1897116"/>
              <a:gd name="connsiteY711" fmla="*/ 59433 h 1087290"/>
              <a:gd name="connsiteX712" fmla="*/ 911595 w 1897116"/>
              <a:gd name="connsiteY712" fmla="*/ 67334 h 1087290"/>
              <a:gd name="connsiteX713" fmla="*/ 912124 w 1897116"/>
              <a:gd name="connsiteY713" fmla="*/ 73765 h 1087290"/>
              <a:gd name="connsiteX714" fmla="*/ 914854 w 1897116"/>
              <a:gd name="connsiteY714" fmla="*/ 79587 h 1087290"/>
              <a:gd name="connsiteX715" fmla="*/ 912388 w 1897116"/>
              <a:gd name="connsiteY715" fmla="*/ 79747 h 1087290"/>
              <a:gd name="connsiteX716" fmla="*/ 912652 w 1897116"/>
              <a:gd name="connsiteY716" fmla="*/ 80227 h 1087290"/>
              <a:gd name="connsiteX717" fmla="*/ 914854 w 1897116"/>
              <a:gd name="connsiteY717" fmla="*/ 79587 h 1087290"/>
              <a:gd name="connsiteX718" fmla="*/ 918553 w 1897116"/>
              <a:gd name="connsiteY718" fmla="*/ 77540 h 1087290"/>
              <a:gd name="connsiteX719" fmla="*/ 925334 w 1897116"/>
              <a:gd name="connsiteY719" fmla="*/ 74053 h 1087290"/>
              <a:gd name="connsiteX720" fmla="*/ 925775 w 1897116"/>
              <a:gd name="connsiteY720" fmla="*/ 74149 h 1087290"/>
              <a:gd name="connsiteX721" fmla="*/ 931499 w 1897116"/>
              <a:gd name="connsiteY721" fmla="*/ 72741 h 1087290"/>
              <a:gd name="connsiteX722" fmla="*/ 937752 w 1897116"/>
              <a:gd name="connsiteY722" fmla="*/ 72133 h 1087290"/>
              <a:gd name="connsiteX723" fmla="*/ 943213 w 1897116"/>
              <a:gd name="connsiteY723" fmla="*/ 73573 h 1087290"/>
              <a:gd name="connsiteX724" fmla="*/ 949026 w 1897116"/>
              <a:gd name="connsiteY724" fmla="*/ 76100 h 1087290"/>
              <a:gd name="connsiteX725" fmla="*/ 958273 w 1897116"/>
              <a:gd name="connsiteY725" fmla="*/ 79939 h 1087290"/>
              <a:gd name="connsiteX726" fmla="*/ 965671 w 1897116"/>
              <a:gd name="connsiteY726" fmla="*/ 81091 h 1087290"/>
              <a:gd name="connsiteX727" fmla="*/ 968137 w 1897116"/>
              <a:gd name="connsiteY727" fmla="*/ 83266 h 1087290"/>
              <a:gd name="connsiteX728" fmla="*/ 972012 w 1897116"/>
              <a:gd name="connsiteY728" fmla="*/ 90656 h 1087290"/>
              <a:gd name="connsiteX729" fmla="*/ 977120 w 1897116"/>
              <a:gd name="connsiteY729" fmla="*/ 88353 h 1087290"/>
              <a:gd name="connsiteX730" fmla="*/ 983109 w 1897116"/>
              <a:gd name="connsiteY730" fmla="*/ 85122 h 1087290"/>
              <a:gd name="connsiteX731" fmla="*/ 988129 w 1897116"/>
              <a:gd name="connsiteY731" fmla="*/ 82307 h 1087290"/>
              <a:gd name="connsiteX732" fmla="*/ 993678 w 1897116"/>
              <a:gd name="connsiteY732" fmla="*/ 80739 h 1087290"/>
              <a:gd name="connsiteX733" fmla="*/ 996672 w 1897116"/>
              <a:gd name="connsiteY733" fmla="*/ 78660 h 1087290"/>
              <a:gd name="connsiteX734" fmla="*/ 1005568 w 1897116"/>
              <a:gd name="connsiteY734" fmla="*/ 74533 h 1087290"/>
              <a:gd name="connsiteX735" fmla="*/ 1014551 w 1897116"/>
              <a:gd name="connsiteY735" fmla="*/ 71493 h 1087290"/>
              <a:gd name="connsiteX736" fmla="*/ 1017457 w 1897116"/>
              <a:gd name="connsiteY736" fmla="*/ 67302 h 1087290"/>
              <a:gd name="connsiteX737" fmla="*/ 1025208 w 1897116"/>
              <a:gd name="connsiteY737" fmla="*/ 60584 h 1087290"/>
              <a:gd name="connsiteX738" fmla="*/ 1029347 w 1897116"/>
              <a:gd name="connsiteY738" fmla="*/ 58633 h 1087290"/>
              <a:gd name="connsiteX739" fmla="*/ 1033839 w 1897116"/>
              <a:gd name="connsiteY739" fmla="*/ 54794 h 1087290"/>
              <a:gd name="connsiteX740" fmla="*/ 1038066 w 1897116"/>
              <a:gd name="connsiteY740" fmla="*/ 50731 h 1087290"/>
              <a:gd name="connsiteX741" fmla="*/ 1044495 w 1897116"/>
              <a:gd name="connsiteY741" fmla="*/ 44652 h 1087290"/>
              <a:gd name="connsiteX742" fmla="*/ 1051012 w 1897116"/>
              <a:gd name="connsiteY742" fmla="*/ 44812 h 1087290"/>
              <a:gd name="connsiteX743" fmla="*/ 1051012 w 1897116"/>
              <a:gd name="connsiteY743" fmla="*/ 40333 h 1087290"/>
              <a:gd name="connsiteX744" fmla="*/ 1055856 w 1897116"/>
              <a:gd name="connsiteY744" fmla="*/ 39438 h 1087290"/>
              <a:gd name="connsiteX745" fmla="*/ 1061845 w 1897116"/>
              <a:gd name="connsiteY745" fmla="*/ 39630 h 1087290"/>
              <a:gd name="connsiteX746" fmla="*/ 1070212 w 1897116"/>
              <a:gd name="connsiteY746" fmla="*/ 39854 h 1087290"/>
              <a:gd name="connsiteX747" fmla="*/ 1079195 w 1897116"/>
              <a:gd name="connsiteY747" fmla="*/ 37998 h 1087290"/>
              <a:gd name="connsiteX748" fmla="*/ 1087034 w 1897116"/>
              <a:gd name="connsiteY748" fmla="*/ 33327 h 1087290"/>
              <a:gd name="connsiteX749" fmla="*/ 1092494 w 1897116"/>
              <a:gd name="connsiteY749" fmla="*/ 27473 h 1087290"/>
              <a:gd name="connsiteX750" fmla="*/ 1093023 w 1897116"/>
              <a:gd name="connsiteY750" fmla="*/ 20467 h 1087290"/>
              <a:gd name="connsiteX751" fmla="*/ 1095665 w 1897116"/>
              <a:gd name="connsiteY751" fmla="*/ 20083 h 1087290"/>
              <a:gd name="connsiteX752" fmla="*/ 1096722 w 1897116"/>
              <a:gd name="connsiteY752" fmla="*/ 16628 h 1087290"/>
              <a:gd name="connsiteX753" fmla="*/ 1096810 w 1897116"/>
              <a:gd name="connsiteY753" fmla="*/ 15156 h 1087290"/>
              <a:gd name="connsiteX754" fmla="*/ 1097778 w 1897116"/>
              <a:gd name="connsiteY754" fmla="*/ 13140 h 1087290"/>
              <a:gd name="connsiteX755" fmla="*/ 1098043 w 1897116"/>
              <a:gd name="connsiteY755" fmla="*/ 12916 h 1087290"/>
              <a:gd name="connsiteX756" fmla="*/ 1098219 w 1897116"/>
              <a:gd name="connsiteY756" fmla="*/ 12277 h 1087290"/>
              <a:gd name="connsiteX757" fmla="*/ 1098395 w 1897116"/>
              <a:gd name="connsiteY757" fmla="*/ 11605 h 1087290"/>
              <a:gd name="connsiteX758" fmla="*/ 1104560 w 1897116"/>
              <a:gd name="connsiteY758" fmla="*/ 16052 h 1087290"/>
              <a:gd name="connsiteX759" fmla="*/ 1111165 w 1897116"/>
              <a:gd name="connsiteY759" fmla="*/ 18899 h 1087290"/>
              <a:gd name="connsiteX760" fmla="*/ 1116274 w 1897116"/>
              <a:gd name="connsiteY760" fmla="*/ 22226 h 1087290"/>
              <a:gd name="connsiteX761" fmla="*/ 1121910 w 1897116"/>
              <a:gd name="connsiteY761" fmla="*/ 22866 h 1087290"/>
              <a:gd name="connsiteX762" fmla="*/ 1122615 w 1897116"/>
              <a:gd name="connsiteY762" fmla="*/ 19763 h 1087290"/>
              <a:gd name="connsiteX763" fmla="*/ 1121646 w 1897116"/>
              <a:gd name="connsiteY763" fmla="*/ 17267 h 1087290"/>
              <a:gd name="connsiteX764" fmla="*/ 1128075 w 1897116"/>
              <a:gd name="connsiteY764" fmla="*/ 16915 h 1087290"/>
              <a:gd name="connsiteX765" fmla="*/ 1128780 w 1897116"/>
              <a:gd name="connsiteY765" fmla="*/ 17683 h 1087290"/>
              <a:gd name="connsiteX766" fmla="*/ 1128075 w 1897116"/>
              <a:gd name="connsiteY766" fmla="*/ 16915 h 1087290"/>
              <a:gd name="connsiteX767" fmla="*/ 1130101 w 1897116"/>
              <a:gd name="connsiteY767" fmla="*/ 17139 h 1087290"/>
              <a:gd name="connsiteX768" fmla="*/ 1130541 w 1897116"/>
              <a:gd name="connsiteY768" fmla="*/ 17267 h 1087290"/>
              <a:gd name="connsiteX769" fmla="*/ 1130189 w 1897116"/>
              <a:gd name="connsiteY769" fmla="*/ 18707 h 1087290"/>
              <a:gd name="connsiteX770" fmla="*/ 1130541 w 1897116"/>
              <a:gd name="connsiteY770" fmla="*/ 17267 h 1087290"/>
              <a:gd name="connsiteX771" fmla="*/ 1135385 w 1897116"/>
              <a:gd name="connsiteY771" fmla="*/ 19539 h 1087290"/>
              <a:gd name="connsiteX772" fmla="*/ 1129308 w 1897116"/>
              <a:gd name="connsiteY772" fmla="*/ 22386 h 1087290"/>
              <a:gd name="connsiteX773" fmla="*/ 1127018 w 1897116"/>
              <a:gd name="connsiteY773" fmla="*/ 27089 h 1087290"/>
              <a:gd name="connsiteX774" fmla="*/ 1127018 w 1897116"/>
              <a:gd name="connsiteY774" fmla="*/ 33391 h 1087290"/>
              <a:gd name="connsiteX775" fmla="*/ 1123583 w 1897116"/>
              <a:gd name="connsiteY775" fmla="*/ 37198 h 1087290"/>
              <a:gd name="connsiteX776" fmla="*/ 1123672 w 1897116"/>
              <a:gd name="connsiteY776" fmla="*/ 41165 h 1087290"/>
              <a:gd name="connsiteX777" fmla="*/ 1119973 w 1897116"/>
              <a:gd name="connsiteY777" fmla="*/ 42189 h 1087290"/>
              <a:gd name="connsiteX778" fmla="*/ 1123760 w 1897116"/>
              <a:gd name="connsiteY778" fmla="*/ 48043 h 1087290"/>
              <a:gd name="connsiteX779" fmla="*/ 1127371 w 1897116"/>
              <a:gd name="connsiteY779" fmla="*/ 45068 h 1087290"/>
              <a:gd name="connsiteX780" fmla="*/ 1133447 w 1897116"/>
              <a:gd name="connsiteY780" fmla="*/ 41805 h 1087290"/>
              <a:gd name="connsiteX781" fmla="*/ 1134592 w 1897116"/>
              <a:gd name="connsiteY781" fmla="*/ 37678 h 1087290"/>
              <a:gd name="connsiteX782" fmla="*/ 1136090 w 1897116"/>
              <a:gd name="connsiteY782" fmla="*/ 33807 h 1087290"/>
              <a:gd name="connsiteX783" fmla="*/ 1140934 w 1897116"/>
              <a:gd name="connsiteY783" fmla="*/ 30096 h 1087290"/>
              <a:gd name="connsiteX784" fmla="*/ 1145425 w 1897116"/>
              <a:gd name="connsiteY784" fmla="*/ 27249 h 1087290"/>
              <a:gd name="connsiteX785" fmla="*/ 1150798 w 1897116"/>
              <a:gd name="connsiteY785" fmla="*/ 23154 h 1087290"/>
              <a:gd name="connsiteX786" fmla="*/ 1155289 w 1897116"/>
              <a:gd name="connsiteY786" fmla="*/ 19539 h 1087290"/>
              <a:gd name="connsiteX787" fmla="*/ 1159341 w 1897116"/>
              <a:gd name="connsiteY787" fmla="*/ 15284 h 1087290"/>
              <a:gd name="connsiteX788" fmla="*/ 1160045 w 1897116"/>
              <a:gd name="connsiteY788" fmla="*/ 18195 h 1087290"/>
              <a:gd name="connsiteX789" fmla="*/ 1158900 w 1897116"/>
              <a:gd name="connsiteY789" fmla="*/ 18355 h 1087290"/>
              <a:gd name="connsiteX790" fmla="*/ 1160045 w 1897116"/>
              <a:gd name="connsiteY790" fmla="*/ 18195 h 1087290"/>
              <a:gd name="connsiteX791" fmla="*/ 1160045 w 1897116"/>
              <a:gd name="connsiteY791" fmla="*/ 20371 h 1087290"/>
              <a:gd name="connsiteX792" fmla="*/ 1163744 w 1897116"/>
              <a:gd name="connsiteY792" fmla="*/ 25969 h 1087290"/>
              <a:gd name="connsiteX793" fmla="*/ 1171759 w 1897116"/>
              <a:gd name="connsiteY793" fmla="*/ 30160 h 1087290"/>
              <a:gd name="connsiteX794" fmla="*/ 1180830 w 1897116"/>
              <a:gd name="connsiteY794" fmla="*/ 29904 h 1087290"/>
              <a:gd name="connsiteX795" fmla="*/ 1188052 w 1897116"/>
              <a:gd name="connsiteY795" fmla="*/ 27953 h 1087290"/>
              <a:gd name="connsiteX796" fmla="*/ 1192367 w 1897116"/>
              <a:gd name="connsiteY796" fmla="*/ 23186 h 1087290"/>
              <a:gd name="connsiteX797" fmla="*/ 1201703 w 1897116"/>
              <a:gd name="connsiteY797" fmla="*/ 20435 h 1087290"/>
              <a:gd name="connsiteX798" fmla="*/ 1208837 w 1897116"/>
              <a:gd name="connsiteY798" fmla="*/ 16084 h 1087290"/>
              <a:gd name="connsiteX799" fmla="*/ 1215618 w 1897116"/>
              <a:gd name="connsiteY799" fmla="*/ 13268 h 1087290"/>
              <a:gd name="connsiteX800" fmla="*/ 1215794 w 1897116"/>
              <a:gd name="connsiteY800" fmla="*/ 20275 h 1087290"/>
              <a:gd name="connsiteX801" fmla="*/ 1213505 w 1897116"/>
              <a:gd name="connsiteY801" fmla="*/ 28912 h 1087290"/>
              <a:gd name="connsiteX802" fmla="*/ 1210774 w 1897116"/>
              <a:gd name="connsiteY802" fmla="*/ 36206 h 1087290"/>
              <a:gd name="connsiteX803" fmla="*/ 1209365 w 1897116"/>
              <a:gd name="connsiteY803" fmla="*/ 44972 h 1087290"/>
              <a:gd name="connsiteX804" fmla="*/ 1207075 w 1897116"/>
              <a:gd name="connsiteY804" fmla="*/ 53610 h 1087290"/>
              <a:gd name="connsiteX805" fmla="*/ 1213328 w 1897116"/>
              <a:gd name="connsiteY805" fmla="*/ 47212 h 1087290"/>
              <a:gd name="connsiteX806" fmla="*/ 1219229 w 1897116"/>
              <a:gd name="connsiteY806" fmla="*/ 41037 h 1087290"/>
              <a:gd name="connsiteX807" fmla="*/ 1224954 w 1897116"/>
              <a:gd name="connsiteY807" fmla="*/ 35375 h 1087290"/>
              <a:gd name="connsiteX808" fmla="*/ 1231207 w 1897116"/>
              <a:gd name="connsiteY808" fmla="*/ 28976 h 1087290"/>
              <a:gd name="connsiteX809" fmla="*/ 1238253 w 1897116"/>
              <a:gd name="connsiteY809" fmla="*/ 22610 h 1087290"/>
              <a:gd name="connsiteX810" fmla="*/ 1242128 w 1897116"/>
              <a:gd name="connsiteY810" fmla="*/ 21010 h 1087290"/>
              <a:gd name="connsiteX811" fmla="*/ 1243889 w 1897116"/>
              <a:gd name="connsiteY811" fmla="*/ 23282 h 1087290"/>
              <a:gd name="connsiteX812" fmla="*/ 1242216 w 1897116"/>
              <a:gd name="connsiteY812" fmla="*/ 28912 h 1087290"/>
              <a:gd name="connsiteX813" fmla="*/ 1251551 w 1897116"/>
              <a:gd name="connsiteY813" fmla="*/ 24434 h 1087290"/>
              <a:gd name="connsiteX814" fmla="*/ 1260887 w 1897116"/>
              <a:gd name="connsiteY814" fmla="*/ 19923 h 1087290"/>
              <a:gd name="connsiteX815" fmla="*/ 1268197 w 1897116"/>
              <a:gd name="connsiteY815" fmla="*/ 16052 h 1087290"/>
              <a:gd name="connsiteX816" fmla="*/ 1273922 w 1897116"/>
              <a:gd name="connsiteY816" fmla="*/ 13268 h 1087290"/>
              <a:gd name="connsiteX817" fmla="*/ 1279470 w 1897116"/>
              <a:gd name="connsiteY817" fmla="*/ 10677 h 1087290"/>
              <a:gd name="connsiteX818" fmla="*/ 1286340 w 1897116"/>
              <a:gd name="connsiteY818" fmla="*/ 11349 h 1087290"/>
              <a:gd name="connsiteX819" fmla="*/ 1293209 w 1897116"/>
              <a:gd name="connsiteY819" fmla="*/ 12021 h 1087290"/>
              <a:gd name="connsiteX820" fmla="*/ 1299286 w 1897116"/>
              <a:gd name="connsiteY820" fmla="*/ 12469 h 1087290"/>
              <a:gd name="connsiteX821" fmla="*/ 1305804 w 1897116"/>
              <a:gd name="connsiteY821" fmla="*/ 12820 h 1087290"/>
              <a:gd name="connsiteX822" fmla="*/ 1314787 w 1897116"/>
              <a:gd name="connsiteY822" fmla="*/ 13332 h 1087290"/>
              <a:gd name="connsiteX823" fmla="*/ 1317253 w 1897116"/>
              <a:gd name="connsiteY823" fmla="*/ 15988 h 1087290"/>
              <a:gd name="connsiteX824" fmla="*/ 1321745 w 1897116"/>
              <a:gd name="connsiteY824" fmla="*/ 14740 h 1087290"/>
              <a:gd name="connsiteX825" fmla="*/ 1316901 w 1897116"/>
              <a:gd name="connsiteY825" fmla="*/ 19763 h 1087290"/>
              <a:gd name="connsiteX826" fmla="*/ 1311352 w 1897116"/>
              <a:gd name="connsiteY826" fmla="*/ 24114 h 1087290"/>
              <a:gd name="connsiteX827" fmla="*/ 1313202 w 1897116"/>
              <a:gd name="connsiteY827" fmla="*/ 24402 h 1087290"/>
              <a:gd name="connsiteX828" fmla="*/ 1322009 w 1897116"/>
              <a:gd name="connsiteY828" fmla="*/ 25873 h 1087290"/>
              <a:gd name="connsiteX829" fmla="*/ 1329759 w 1897116"/>
              <a:gd name="connsiteY829" fmla="*/ 22802 h 1087290"/>
              <a:gd name="connsiteX830" fmla="*/ 1333810 w 1897116"/>
              <a:gd name="connsiteY830" fmla="*/ 26417 h 1087290"/>
              <a:gd name="connsiteX831" fmla="*/ 1347373 w 1897116"/>
              <a:gd name="connsiteY831" fmla="*/ 26353 h 1087290"/>
              <a:gd name="connsiteX832" fmla="*/ 1360848 w 1897116"/>
              <a:gd name="connsiteY832" fmla="*/ 25361 h 1087290"/>
              <a:gd name="connsiteX833" fmla="*/ 1366397 w 1897116"/>
              <a:gd name="connsiteY833" fmla="*/ 24913 h 1087290"/>
              <a:gd name="connsiteX834" fmla="*/ 1371857 w 1897116"/>
              <a:gd name="connsiteY834" fmla="*/ 23698 h 1087290"/>
              <a:gd name="connsiteX835" fmla="*/ 1369920 w 1897116"/>
              <a:gd name="connsiteY835" fmla="*/ 26737 h 1087290"/>
              <a:gd name="connsiteX836" fmla="*/ 1362874 w 1897116"/>
              <a:gd name="connsiteY836" fmla="*/ 32431 h 1087290"/>
              <a:gd name="connsiteX837" fmla="*/ 1356709 w 1897116"/>
              <a:gd name="connsiteY837" fmla="*/ 37838 h 1087290"/>
              <a:gd name="connsiteX838" fmla="*/ 1356533 w 1897116"/>
              <a:gd name="connsiteY838" fmla="*/ 38574 h 1087290"/>
              <a:gd name="connsiteX839" fmla="*/ 1358118 w 1897116"/>
              <a:gd name="connsiteY839" fmla="*/ 39950 h 1087290"/>
              <a:gd name="connsiteX840" fmla="*/ 1367718 w 1897116"/>
              <a:gd name="connsiteY840" fmla="*/ 39214 h 1087290"/>
              <a:gd name="connsiteX841" fmla="*/ 1376965 w 1897116"/>
              <a:gd name="connsiteY841" fmla="*/ 38670 h 1087290"/>
              <a:gd name="connsiteX842" fmla="*/ 1381809 w 1897116"/>
              <a:gd name="connsiteY842" fmla="*/ 39054 h 1087290"/>
              <a:gd name="connsiteX843" fmla="*/ 1389031 w 1897116"/>
              <a:gd name="connsiteY843" fmla="*/ 38062 h 1087290"/>
              <a:gd name="connsiteX844" fmla="*/ 1396165 w 1897116"/>
              <a:gd name="connsiteY844" fmla="*/ 35343 h 1087290"/>
              <a:gd name="connsiteX845" fmla="*/ 1400569 w 1897116"/>
              <a:gd name="connsiteY845" fmla="*/ 35823 h 1087290"/>
              <a:gd name="connsiteX846" fmla="*/ 1401890 w 1897116"/>
              <a:gd name="connsiteY846" fmla="*/ 34127 h 1087290"/>
              <a:gd name="connsiteX847" fmla="*/ 1409904 w 1897116"/>
              <a:gd name="connsiteY847" fmla="*/ 30832 h 1087290"/>
              <a:gd name="connsiteX848" fmla="*/ 1416245 w 1897116"/>
              <a:gd name="connsiteY848" fmla="*/ 29104 h 1087290"/>
              <a:gd name="connsiteX849" fmla="*/ 1422146 w 1897116"/>
              <a:gd name="connsiteY849" fmla="*/ 26705 h 1087290"/>
              <a:gd name="connsiteX850" fmla="*/ 1428399 w 1897116"/>
              <a:gd name="connsiteY850" fmla="*/ 26961 h 1087290"/>
              <a:gd name="connsiteX851" fmla="*/ 1434564 w 1897116"/>
              <a:gd name="connsiteY851" fmla="*/ 24210 h 1087290"/>
              <a:gd name="connsiteX852" fmla="*/ 1441874 w 1897116"/>
              <a:gd name="connsiteY852" fmla="*/ 21394 h 1087290"/>
              <a:gd name="connsiteX853" fmla="*/ 1447070 w 1897116"/>
              <a:gd name="connsiteY853" fmla="*/ 21842 h 1087290"/>
              <a:gd name="connsiteX854" fmla="*/ 1452971 w 1897116"/>
              <a:gd name="connsiteY854" fmla="*/ 20722 h 1087290"/>
              <a:gd name="connsiteX855" fmla="*/ 1459312 w 1897116"/>
              <a:gd name="connsiteY855" fmla="*/ 18035 h 1087290"/>
              <a:gd name="connsiteX856" fmla="*/ 1465830 w 1897116"/>
              <a:gd name="connsiteY856" fmla="*/ 15412 h 1087290"/>
              <a:gd name="connsiteX857" fmla="*/ 1469529 w 1897116"/>
              <a:gd name="connsiteY857" fmla="*/ 14900 h 1087290"/>
              <a:gd name="connsiteX858" fmla="*/ 1478512 w 1897116"/>
              <a:gd name="connsiteY858" fmla="*/ 13204 h 1087290"/>
              <a:gd name="connsiteX859" fmla="*/ 1486350 w 1897116"/>
              <a:gd name="connsiteY859" fmla="*/ 14644 h 1087290"/>
              <a:gd name="connsiteX860" fmla="*/ 1488464 w 1897116"/>
              <a:gd name="connsiteY860" fmla="*/ 16436 h 1087290"/>
              <a:gd name="connsiteX861" fmla="*/ 1493396 w 1897116"/>
              <a:gd name="connsiteY861" fmla="*/ 22866 h 1087290"/>
              <a:gd name="connsiteX862" fmla="*/ 1497976 w 1897116"/>
              <a:gd name="connsiteY862" fmla="*/ 26289 h 1087290"/>
              <a:gd name="connsiteX863" fmla="*/ 1503612 w 1897116"/>
              <a:gd name="connsiteY863" fmla="*/ 28784 h 1087290"/>
              <a:gd name="connsiteX864" fmla="*/ 1513476 w 1897116"/>
              <a:gd name="connsiteY864" fmla="*/ 29072 h 1087290"/>
              <a:gd name="connsiteX865" fmla="*/ 1520874 w 1897116"/>
              <a:gd name="connsiteY865" fmla="*/ 26065 h 1087290"/>
              <a:gd name="connsiteX866" fmla="*/ 1523957 w 1897116"/>
              <a:gd name="connsiteY866" fmla="*/ 24465 h 1087290"/>
              <a:gd name="connsiteX867" fmla="*/ 1525806 w 1897116"/>
              <a:gd name="connsiteY867" fmla="*/ 26193 h 1087290"/>
              <a:gd name="connsiteX868" fmla="*/ 1530650 w 1897116"/>
              <a:gd name="connsiteY868" fmla="*/ 29776 h 1087290"/>
              <a:gd name="connsiteX869" fmla="*/ 1532324 w 1897116"/>
              <a:gd name="connsiteY869" fmla="*/ 31376 h 1087290"/>
              <a:gd name="connsiteX870" fmla="*/ 1535759 w 1897116"/>
              <a:gd name="connsiteY870" fmla="*/ 29296 h 1087290"/>
              <a:gd name="connsiteX871" fmla="*/ 1539634 w 1897116"/>
              <a:gd name="connsiteY871" fmla="*/ 26577 h 1087290"/>
              <a:gd name="connsiteX872" fmla="*/ 1545887 w 1897116"/>
              <a:gd name="connsiteY872" fmla="*/ 23122 h 1087290"/>
              <a:gd name="connsiteX873" fmla="*/ 1548089 w 1897116"/>
              <a:gd name="connsiteY873" fmla="*/ 18931 h 1087290"/>
              <a:gd name="connsiteX874" fmla="*/ 1554430 w 1897116"/>
              <a:gd name="connsiteY874" fmla="*/ 16500 h 1087290"/>
              <a:gd name="connsiteX875" fmla="*/ 1559890 w 1897116"/>
              <a:gd name="connsiteY875" fmla="*/ 18835 h 1087290"/>
              <a:gd name="connsiteX876" fmla="*/ 1564558 w 1897116"/>
              <a:gd name="connsiteY876" fmla="*/ 23538 h 1087290"/>
              <a:gd name="connsiteX877" fmla="*/ 1569578 w 1897116"/>
              <a:gd name="connsiteY877" fmla="*/ 29264 h 1087290"/>
              <a:gd name="connsiteX878" fmla="*/ 1574510 w 1897116"/>
              <a:gd name="connsiteY878" fmla="*/ 34991 h 1087290"/>
              <a:gd name="connsiteX879" fmla="*/ 1577328 w 1897116"/>
              <a:gd name="connsiteY879" fmla="*/ 27985 h 1087290"/>
              <a:gd name="connsiteX880" fmla="*/ 1580235 w 1897116"/>
              <a:gd name="connsiteY880" fmla="*/ 20914 h 1087290"/>
              <a:gd name="connsiteX881" fmla="*/ 1582172 w 1897116"/>
              <a:gd name="connsiteY881" fmla="*/ 18515 h 1087290"/>
              <a:gd name="connsiteX882" fmla="*/ 1584991 w 1897116"/>
              <a:gd name="connsiteY882" fmla="*/ 20531 h 1087290"/>
              <a:gd name="connsiteX883" fmla="*/ 1589834 w 1897116"/>
              <a:gd name="connsiteY883" fmla="*/ 24593 h 1087290"/>
              <a:gd name="connsiteX884" fmla="*/ 1590803 w 1897116"/>
              <a:gd name="connsiteY884" fmla="*/ 29104 h 1087290"/>
              <a:gd name="connsiteX885" fmla="*/ 1598554 w 1897116"/>
              <a:gd name="connsiteY885" fmla="*/ 22226 h 1087290"/>
              <a:gd name="connsiteX886" fmla="*/ 1605511 w 1897116"/>
              <a:gd name="connsiteY886" fmla="*/ 15828 h 1087290"/>
              <a:gd name="connsiteX887" fmla="*/ 1602164 w 1897116"/>
              <a:gd name="connsiteY887" fmla="*/ 12277 h 1087290"/>
              <a:gd name="connsiteX888" fmla="*/ 1609563 w 1897116"/>
              <a:gd name="connsiteY888" fmla="*/ 11733 h 1087290"/>
              <a:gd name="connsiteX889" fmla="*/ 1613526 w 1897116"/>
              <a:gd name="connsiteY889" fmla="*/ 7670 h 1087290"/>
              <a:gd name="connsiteX890" fmla="*/ 1615023 w 1897116"/>
              <a:gd name="connsiteY890" fmla="*/ 3319 h 1087290"/>
              <a:gd name="connsiteX891" fmla="*/ 1621012 w 1897116"/>
              <a:gd name="connsiteY891" fmla="*/ 3287 h 1087290"/>
              <a:gd name="connsiteX892" fmla="*/ 1622333 w 1897116"/>
              <a:gd name="connsiteY892" fmla="*/ 6966 h 1087290"/>
              <a:gd name="connsiteX893" fmla="*/ 1624182 w 1897116"/>
              <a:gd name="connsiteY893" fmla="*/ 15860 h 1087290"/>
              <a:gd name="connsiteX894" fmla="*/ 1625415 w 1897116"/>
              <a:gd name="connsiteY894" fmla="*/ 25713 h 1087290"/>
              <a:gd name="connsiteX895" fmla="*/ 1630788 w 1897116"/>
              <a:gd name="connsiteY895" fmla="*/ 22386 h 1087290"/>
              <a:gd name="connsiteX896" fmla="*/ 1635191 w 1897116"/>
              <a:gd name="connsiteY896" fmla="*/ 23666 h 1087290"/>
              <a:gd name="connsiteX897" fmla="*/ 1640828 w 1897116"/>
              <a:gd name="connsiteY897" fmla="*/ 22482 h 1087290"/>
              <a:gd name="connsiteX898" fmla="*/ 1646817 w 1897116"/>
              <a:gd name="connsiteY898" fmla="*/ 20882 h 1087290"/>
              <a:gd name="connsiteX899" fmla="*/ 1652541 w 1897116"/>
              <a:gd name="connsiteY899" fmla="*/ 18483 h 1087290"/>
              <a:gd name="connsiteX900" fmla="*/ 1657562 w 1897116"/>
              <a:gd name="connsiteY900" fmla="*/ 16787 h 1087290"/>
              <a:gd name="connsiteX901" fmla="*/ 1664167 w 1897116"/>
              <a:gd name="connsiteY901" fmla="*/ 14452 h 1087290"/>
              <a:gd name="connsiteX902" fmla="*/ 1670772 w 1897116"/>
              <a:gd name="connsiteY902" fmla="*/ 12341 h 1087290"/>
              <a:gd name="connsiteX903" fmla="*/ 1677818 w 1897116"/>
              <a:gd name="connsiteY903" fmla="*/ 12277 h 1087290"/>
              <a:gd name="connsiteX904" fmla="*/ 1685304 w 1897116"/>
              <a:gd name="connsiteY904" fmla="*/ 9749 h 1087290"/>
              <a:gd name="connsiteX905" fmla="*/ 1688915 w 1897116"/>
              <a:gd name="connsiteY905" fmla="*/ 12405 h 1087290"/>
              <a:gd name="connsiteX906" fmla="*/ 1693671 w 1897116"/>
              <a:gd name="connsiteY906" fmla="*/ 8342 h 1087290"/>
              <a:gd name="connsiteX907" fmla="*/ 1703271 w 1897116"/>
              <a:gd name="connsiteY907" fmla="*/ 9173 h 1087290"/>
              <a:gd name="connsiteX908" fmla="*/ 1704416 w 1897116"/>
              <a:gd name="connsiteY908" fmla="*/ 7926 h 1087290"/>
              <a:gd name="connsiteX909" fmla="*/ 1708027 w 1897116"/>
              <a:gd name="connsiteY909" fmla="*/ 11669 h 1087290"/>
              <a:gd name="connsiteX910" fmla="*/ 1710581 w 1897116"/>
              <a:gd name="connsiteY910" fmla="*/ 16628 h 1087290"/>
              <a:gd name="connsiteX911" fmla="*/ 1711549 w 1897116"/>
              <a:gd name="connsiteY911" fmla="*/ 15892 h 1087290"/>
              <a:gd name="connsiteX912" fmla="*/ 1716834 w 1897116"/>
              <a:gd name="connsiteY912" fmla="*/ 19315 h 1087290"/>
              <a:gd name="connsiteX913" fmla="*/ 1722646 w 1897116"/>
              <a:gd name="connsiteY913" fmla="*/ 21362 h 1087290"/>
              <a:gd name="connsiteX914" fmla="*/ 1727578 w 1897116"/>
              <a:gd name="connsiteY914" fmla="*/ 23506 h 1087290"/>
              <a:gd name="connsiteX915" fmla="*/ 1729076 w 1897116"/>
              <a:gd name="connsiteY915" fmla="*/ 21970 h 1087290"/>
              <a:gd name="connsiteX916" fmla="*/ 1733743 w 1897116"/>
              <a:gd name="connsiteY916" fmla="*/ 23474 h 1087290"/>
              <a:gd name="connsiteX917" fmla="*/ 1740965 w 1897116"/>
              <a:gd name="connsiteY917" fmla="*/ 21970 h 1087290"/>
              <a:gd name="connsiteX918" fmla="*/ 1742639 w 1897116"/>
              <a:gd name="connsiteY918" fmla="*/ 21330 h 1087290"/>
              <a:gd name="connsiteX919" fmla="*/ 1749949 w 1897116"/>
              <a:gd name="connsiteY919" fmla="*/ 21874 h 1087290"/>
              <a:gd name="connsiteX920" fmla="*/ 1758492 w 1897116"/>
              <a:gd name="connsiteY920" fmla="*/ 23154 h 1087290"/>
              <a:gd name="connsiteX921" fmla="*/ 1760517 w 1897116"/>
              <a:gd name="connsiteY921" fmla="*/ 25297 h 1087290"/>
              <a:gd name="connsiteX922" fmla="*/ 1765802 w 1897116"/>
              <a:gd name="connsiteY922" fmla="*/ 30576 h 1087290"/>
              <a:gd name="connsiteX923" fmla="*/ 1772583 w 1897116"/>
              <a:gd name="connsiteY923" fmla="*/ 34959 h 1087290"/>
              <a:gd name="connsiteX924" fmla="*/ 1781214 w 1897116"/>
              <a:gd name="connsiteY924" fmla="*/ 36622 h 1087290"/>
              <a:gd name="connsiteX925" fmla="*/ 1786058 w 1897116"/>
              <a:gd name="connsiteY925" fmla="*/ 34287 h 1087290"/>
              <a:gd name="connsiteX926" fmla="*/ 1786058 w 1897116"/>
              <a:gd name="connsiteY926" fmla="*/ 34639 h 1087290"/>
              <a:gd name="connsiteX927" fmla="*/ 1790638 w 1897116"/>
              <a:gd name="connsiteY927" fmla="*/ 36366 h 1087290"/>
              <a:gd name="connsiteX928" fmla="*/ 1789405 w 1897116"/>
              <a:gd name="connsiteY928" fmla="*/ 39406 h 1087290"/>
              <a:gd name="connsiteX929" fmla="*/ 1789669 w 1897116"/>
              <a:gd name="connsiteY929" fmla="*/ 45132 h 1087290"/>
              <a:gd name="connsiteX930" fmla="*/ 1789669 w 1897116"/>
              <a:gd name="connsiteY930" fmla="*/ 49227 h 1087290"/>
              <a:gd name="connsiteX931" fmla="*/ 1788700 w 1897116"/>
              <a:gd name="connsiteY931" fmla="*/ 49803 h 1087290"/>
              <a:gd name="connsiteX932" fmla="*/ 1789757 w 1897116"/>
              <a:gd name="connsiteY932" fmla="*/ 49899 h 1087290"/>
              <a:gd name="connsiteX933" fmla="*/ 1789669 w 1897116"/>
              <a:gd name="connsiteY933" fmla="*/ 49227 h 1087290"/>
              <a:gd name="connsiteX934" fmla="*/ 1794425 w 1897116"/>
              <a:gd name="connsiteY934" fmla="*/ 49643 h 1087290"/>
              <a:gd name="connsiteX935" fmla="*/ 1800061 w 1897116"/>
              <a:gd name="connsiteY935" fmla="*/ 49515 h 1087290"/>
              <a:gd name="connsiteX936" fmla="*/ 1804641 w 1897116"/>
              <a:gd name="connsiteY936" fmla="*/ 48747 h 1087290"/>
              <a:gd name="connsiteX937" fmla="*/ 1811335 w 1897116"/>
              <a:gd name="connsiteY937" fmla="*/ 46924 h 1087290"/>
              <a:gd name="connsiteX938" fmla="*/ 1811863 w 1897116"/>
              <a:gd name="connsiteY938" fmla="*/ 50859 h 1087290"/>
              <a:gd name="connsiteX939" fmla="*/ 1816707 w 1897116"/>
              <a:gd name="connsiteY939" fmla="*/ 45228 h 1087290"/>
              <a:gd name="connsiteX940" fmla="*/ 1821991 w 1897116"/>
              <a:gd name="connsiteY940" fmla="*/ 41581 h 1087290"/>
              <a:gd name="connsiteX941" fmla="*/ 1828332 w 1897116"/>
              <a:gd name="connsiteY941" fmla="*/ 41773 h 1087290"/>
              <a:gd name="connsiteX942" fmla="*/ 1830710 w 1897116"/>
              <a:gd name="connsiteY942" fmla="*/ 37902 h 1087290"/>
              <a:gd name="connsiteX943" fmla="*/ 1834585 w 1897116"/>
              <a:gd name="connsiteY943" fmla="*/ 35471 h 1087290"/>
              <a:gd name="connsiteX944" fmla="*/ 1835202 w 1897116"/>
              <a:gd name="connsiteY944" fmla="*/ 36015 h 1087290"/>
              <a:gd name="connsiteX945" fmla="*/ 1840398 w 1897116"/>
              <a:gd name="connsiteY945" fmla="*/ 40173 h 1087290"/>
              <a:gd name="connsiteX946" fmla="*/ 1843481 w 1897116"/>
              <a:gd name="connsiteY946" fmla="*/ 46284 h 1087290"/>
              <a:gd name="connsiteX947" fmla="*/ 1846827 w 1897116"/>
              <a:gd name="connsiteY947" fmla="*/ 50699 h 1087290"/>
              <a:gd name="connsiteX948" fmla="*/ 1850967 w 1897116"/>
              <a:gd name="connsiteY948" fmla="*/ 46092 h 1087290"/>
              <a:gd name="connsiteX949" fmla="*/ 1855018 w 1897116"/>
              <a:gd name="connsiteY949" fmla="*/ 41549 h 1087290"/>
              <a:gd name="connsiteX950" fmla="*/ 1857660 w 1897116"/>
              <a:gd name="connsiteY950" fmla="*/ 40013 h 1087290"/>
              <a:gd name="connsiteX951" fmla="*/ 1858277 w 1897116"/>
              <a:gd name="connsiteY951" fmla="*/ 47756 h 1087290"/>
              <a:gd name="connsiteX952" fmla="*/ 1857660 w 1897116"/>
              <a:gd name="connsiteY952" fmla="*/ 57001 h 1087290"/>
              <a:gd name="connsiteX953" fmla="*/ 1857924 w 1897116"/>
              <a:gd name="connsiteY953" fmla="*/ 57225 h 1087290"/>
              <a:gd name="connsiteX954" fmla="*/ 1859157 w 1897116"/>
              <a:gd name="connsiteY954" fmla="*/ 56041 h 1087290"/>
              <a:gd name="connsiteX955" fmla="*/ 1862944 w 1897116"/>
              <a:gd name="connsiteY955" fmla="*/ 56457 h 1087290"/>
              <a:gd name="connsiteX956" fmla="*/ 1865763 w 1897116"/>
              <a:gd name="connsiteY956" fmla="*/ 50539 h 1087290"/>
              <a:gd name="connsiteX957" fmla="*/ 1873865 w 1897116"/>
              <a:gd name="connsiteY957" fmla="*/ 44076 h 1087290"/>
              <a:gd name="connsiteX958" fmla="*/ 1879502 w 1897116"/>
              <a:gd name="connsiteY958" fmla="*/ 41357 h 1087290"/>
              <a:gd name="connsiteX959" fmla="*/ 1883377 w 1897116"/>
              <a:gd name="connsiteY959" fmla="*/ 35919 h 1087290"/>
              <a:gd name="connsiteX960" fmla="*/ 1881792 w 1897116"/>
              <a:gd name="connsiteY960" fmla="*/ 34639 h 1087290"/>
              <a:gd name="connsiteX961" fmla="*/ 1888485 w 1897116"/>
              <a:gd name="connsiteY961" fmla="*/ 31408 h 1087290"/>
              <a:gd name="connsiteX962" fmla="*/ 1892008 w 1897116"/>
              <a:gd name="connsiteY962" fmla="*/ 29648 h 1087290"/>
              <a:gd name="connsiteX963" fmla="*/ 1893593 w 1897116"/>
              <a:gd name="connsiteY963" fmla="*/ 37262 h 1087290"/>
              <a:gd name="connsiteX964" fmla="*/ 1892360 w 1897116"/>
              <a:gd name="connsiteY964" fmla="*/ 44268 h 1087290"/>
              <a:gd name="connsiteX965" fmla="*/ 1897116 w 1897116"/>
              <a:gd name="connsiteY965" fmla="*/ 48459 h 1087290"/>
              <a:gd name="connsiteX966" fmla="*/ 1897116 w 1897116"/>
              <a:gd name="connsiteY966" fmla="*/ 688967 h 1087290"/>
              <a:gd name="connsiteX967" fmla="*/ 1886628 w 1897116"/>
              <a:gd name="connsiteY967" fmla="*/ 688967 h 1087290"/>
              <a:gd name="connsiteX968" fmla="*/ 1886628 w 1897116"/>
              <a:gd name="connsiteY968" fmla="*/ 968560 h 1087290"/>
              <a:gd name="connsiteX969" fmla="*/ 1886628 w 1897116"/>
              <a:gd name="connsiteY969" fmla="*/ 980213 h 1087290"/>
              <a:gd name="connsiteX970" fmla="*/ 1886628 w 1897116"/>
              <a:gd name="connsiteY970" fmla="*/ 988837 h 1087290"/>
              <a:gd name="connsiteX971" fmla="*/ 1886628 w 1897116"/>
              <a:gd name="connsiteY971" fmla="*/ 994240 h 1087290"/>
              <a:gd name="connsiteX972" fmla="*/ 1886628 w 1897116"/>
              <a:gd name="connsiteY972" fmla="*/ 996096 h 1087290"/>
              <a:gd name="connsiteX973" fmla="*/ 1882510 w 1897116"/>
              <a:gd name="connsiteY973" fmla="*/ 998770 h 1087290"/>
              <a:gd name="connsiteX974" fmla="*/ 1877778 w 1897116"/>
              <a:gd name="connsiteY974" fmla="*/ 1002427 h 1087290"/>
              <a:gd name="connsiteX975" fmla="*/ 1874360 w 1897116"/>
              <a:gd name="connsiteY975" fmla="*/ 1006329 h 1087290"/>
              <a:gd name="connsiteX976" fmla="*/ 1869716 w 1897116"/>
              <a:gd name="connsiteY976" fmla="*/ 1009222 h 1087290"/>
              <a:gd name="connsiteX977" fmla="*/ 1869102 w 1897116"/>
              <a:gd name="connsiteY977" fmla="*/ 1006684 h 1087290"/>
              <a:gd name="connsiteX978" fmla="*/ 1867262 w 1897116"/>
              <a:gd name="connsiteY978" fmla="*/ 996696 h 1087290"/>
              <a:gd name="connsiteX979" fmla="*/ 1864984 w 1897116"/>
              <a:gd name="connsiteY979" fmla="*/ 989273 h 1087290"/>
              <a:gd name="connsiteX980" fmla="*/ 1864984 w 1897116"/>
              <a:gd name="connsiteY980" fmla="*/ 984170 h 1087290"/>
              <a:gd name="connsiteX981" fmla="*/ 1863669 w 1897116"/>
              <a:gd name="connsiteY981" fmla="*/ 989273 h 1087290"/>
              <a:gd name="connsiteX982" fmla="*/ 1862355 w 1897116"/>
              <a:gd name="connsiteY982" fmla="*/ 994649 h 1087290"/>
              <a:gd name="connsiteX983" fmla="*/ 1860690 w 1897116"/>
              <a:gd name="connsiteY983" fmla="*/ 1001090 h 1087290"/>
              <a:gd name="connsiteX984" fmla="*/ 1858324 w 1897116"/>
              <a:gd name="connsiteY984" fmla="*/ 1008731 h 1087290"/>
              <a:gd name="connsiteX985" fmla="*/ 1857360 w 1897116"/>
              <a:gd name="connsiteY985" fmla="*/ 1014161 h 1087290"/>
              <a:gd name="connsiteX986" fmla="*/ 1855607 w 1897116"/>
              <a:gd name="connsiteY986" fmla="*/ 1021284 h 1087290"/>
              <a:gd name="connsiteX987" fmla="*/ 1854819 w 1897116"/>
              <a:gd name="connsiteY987" fmla="*/ 1024695 h 1087290"/>
              <a:gd name="connsiteX988" fmla="*/ 1854994 w 1897116"/>
              <a:gd name="connsiteY988" fmla="*/ 1030562 h 1087290"/>
              <a:gd name="connsiteX989" fmla="*/ 1853504 w 1897116"/>
              <a:gd name="connsiteY989" fmla="*/ 1034083 h 1087290"/>
              <a:gd name="connsiteX990" fmla="*/ 1847831 w 1897116"/>
              <a:gd name="connsiteY990" fmla="*/ 1034044 h 1087290"/>
              <a:gd name="connsiteX991" fmla="*/ 1846998 w 1897116"/>
              <a:gd name="connsiteY991" fmla="*/ 1033257 h 1087290"/>
              <a:gd name="connsiteX992" fmla="*/ 1846947 w 1897116"/>
              <a:gd name="connsiteY992" fmla="*/ 1033944 h 1087290"/>
              <a:gd name="connsiteX993" fmla="*/ 1841061 w 1897116"/>
              <a:gd name="connsiteY993" fmla="*/ 1031708 h 1087290"/>
              <a:gd name="connsiteX994" fmla="*/ 1834313 w 1897116"/>
              <a:gd name="connsiteY994" fmla="*/ 1027506 h 1087290"/>
              <a:gd name="connsiteX995" fmla="*/ 1829406 w 1897116"/>
              <a:gd name="connsiteY995" fmla="*/ 1032418 h 1087290"/>
              <a:gd name="connsiteX996" fmla="*/ 1824587 w 1897116"/>
              <a:gd name="connsiteY996" fmla="*/ 1037303 h 1087290"/>
              <a:gd name="connsiteX997" fmla="*/ 1820205 w 1897116"/>
              <a:gd name="connsiteY997" fmla="*/ 1041560 h 1087290"/>
              <a:gd name="connsiteX998" fmla="*/ 1816087 w 1897116"/>
              <a:gd name="connsiteY998" fmla="*/ 1045872 h 1087290"/>
              <a:gd name="connsiteX999" fmla="*/ 1810391 w 1897116"/>
              <a:gd name="connsiteY999" fmla="*/ 1048874 h 1087290"/>
              <a:gd name="connsiteX1000" fmla="*/ 1804782 w 1897116"/>
              <a:gd name="connsiteY1000" fmla="*/ 1050347 h 1087290"/>
              <a:gd name="connsiteX1001" fmla="*/ 1804552 w 1897116"/>
              <a:gd name="connsiteY1001" fmla="*/ 1048972 h 1087290"/>
              <a:gd name="connsiteX1002" fmla="*/ 1801462 w 1897116"/>
              <a:gd name="connsiteY1002" fmla="*/ 1048324 h 1087290"/>
              <a:gd name="connsiteX1003" fmla="*/ 1802230 w 1897116"/>
              <a:gd name="connsiteY1003" fmla="*/ 1047946 h 1087290"/>
              <a:gd name="connsiteX1004" fmla="*/ 1800050 w 1897116"/>
              <a:gd name="connsiteY1004" fmla="*/ 1048028 h 1087290"/>
              <a:gd name="connsiteX1005" fmla="*/ 1801462 w 1897116"/>
              <a:gd name="connsiteY1005" fmla="*/ 1048324 h 1087290"/>
              <a:gd name="connsiteX1006" fmla="*/ 1795406 w 1897116"/>
              <a:gd name="connsiteY1006" fmla="*/ 1051302 h 1087290"/>
              <a:gd name="connsiteX1007" fmla="*/ 1791550 w 1897116"/>
              <a:gd name="connsiteY1007" fmla="*/ 1047673 h 1087290"/>
              <a:gd name="connsiteX1008" fmla="*/ 1792251 w 1897116"/>
              <a:gd name="connsiteY1008" fmla="*/ 1043361 h 1087290"/>
              <a:gd name="connsiteX1009" fmla="*/ 1787958 w 1897116"/>
              <a:gd name="connsiteY1009" fmla="*/ 1041014 h 1087290"/>
              <a:gd name="connsiteX1010" fmla="*/ 1781561 w 1897116"/>
              <a:gd name="connsiteY1010" fmla="*/ 1044343 h 1087290"/>
              <a:gd name="connsiteX1011" fmla="*/ 1779983 w 1897116"/>
              <a:gd name="connsiteY1011" fmla="*/ 1043579 h 1087290"/>
              <a:gd name="connsiteX1012" fmla="*/ 1773148 w 1897116"/>
              <a:gd name="connsiteY1012" fmla="*/ 1046472 h 1087290"/>
              <a:gd name="connsiteX1013" fmla="*/ 1771020 w 1897116"/>
              <a:gd name="connsiteY1013" fmla="*/ 1049962 h 1087290"/>
              <a:gd name="connsiteX1014" fmla="*/ 1768300 w 1897116"/>
              <a:gd name="connsiteY1014" fmla="*/ 1049999 h 1087290"/>
              <a:gd name="connsiteX1015" fmla="*/ 1767189 w 1897116"/>
              <a:gd name="connsiteY1015" fmla="*/ 1049829 h 1087290"/>
              <a:gd name="connsiteX1016" fmla="*/ 1767327 w 1897116"/>
              <a:gd name="connsiteY1016" fmla="*/ 1050013 h 1087290"/>
              <a:gd name="connsiteX1017" fmla="*/ 1766839 w 1897116"/>
              <a:gd name="connsiteY1017" fmla="*/ 1050020 h 1087290"/>
              <a:gd name="connsiteX1018" fmla="*/ 1762096 w 1897116"/>
              <a:gd name="connsiteY1018" fmla="*/ 1045145 h 1087290"/>
              <a:gd name="connsiteX1019" fmla="*/ 1768218 w 1897116"/>
              <a:gd name="connsiteY1019" fmla="*/ 1044030 h 1087290"/>
              <a:gd name="connsiteX1020" fmla="*/ 1768591 w 1897116"/>
              <a:gd name="connsiteY1020" fmla="*/ 1044289 h 1087290"/>
              <a:gd name="connsiteX1021" fmla="*/ 1769643 w 1897116"/>
              <a:gd name="connsiteY1021" fmla="*/ 1043770 h 1087290"/>
              <a:gd name="connsiteX1022" fmla="*/ 1768218 w 1897116"/>
              <a:gd name="connsiteY1022" fmla="*/ 1044030 h 1087290"/>
              <a:gd name="connsiteX1023" fmla="*/ 1767573 w 1897116"/>
              <a:gd name="connsiteY1023" fmla="*/ 1043583 h 1087290"/>
              <a:gd name="connsiteX1024" fmla="*/ 1761231 w 1897116"/>
              <a:gd name="connsiteY1024" fmla="*/ 1040850 h 1087290"/>
              <a:gd name="connsiteX1025" fmla="*/ 1752730 w 1897116"/>
              <a:gd name="connsiteY1025" fmla="*/ 1037930 h 1087290"/>
              <a:gd name="connsiteX1026" fmla="*/ 1750737 w 1897116"/>
              <a:gd name="connsiteY1026" fmla="*/ 1040216 h 1087290"/>
              <a:gd name="connsiteX1027" fmla="*/ 1749661 w 1897116"/>
              <a:gd name="connsiteY1027" fmla="*/ 1041465 h 1087290"/>
              <a:gd name="connsiteX1028" fmla="*/ 1749156 w 1897116"/>
              <a:gd name="connsiteY1028" fmla="*/ 1040798 h 1087290"/>
              <a:gd name="connsiteX1029" fmla="*/ 1748612 w 1897116"/>
              <a:gd name="connsiteY1029" fmla="*/ 1042706 h 1087290"/>
              <a:gd name="connsiteX1030" fmla="*/ 1750726 w 1897116"/>
              <a:gd name="connsiteY1030" fmla="*/ 1043089 h 1087290"/>
              <a:gd name="connsiteX1031" fmla="*/ 1749488 w 1897116"/>
              <a:gd name="connsiteY1031" fmla="*/ 1045599 h 1087290"/>
              <a:gd name="connsiteX1032" fmla="*/ 1742215 w 1897116"/>
              <a:gd name="connsiteY1032" fmla="*/ 1041778 h 1087290"/>
              <a:gd name="connsiteX1033" fmla="*/ 1736870 w 1897116"/>
              <a:gd name="connsiteY1033" fmla="*/ 1042051 h 1087290"/>
              <a:gd name="connsiteX1034" fmla="*/ 1730406 w 1897116"/>
              <a:gd name="connsiteY1034" fmla="*/ 1043213 h 1087290"/>
              <a:gd name="connsiteX1035" fmla="*/ 1728950 w 1897116"/>
              <a:gd name="connsiteY1035" fmla="*/ 1043524 h 1087290"/>
              <a:gd name="connsiteX1036" fmla="*/ 1728402 w 1897116"/>
              <a:gd name="connsiteY1036" fmla="*/ 1042198 h 1087290"/>
              <a:gd name="connsiteX1037" fmla="*/ 1723988 w 1897116"/>
              <a:gd name="connsiteY1037" fmla="*/ 1044589 h 1087290"/>
              <a:gd name="connsiteX1038" fmla="*/ 1723287 w 1897116"/>
              <a:gd name="connsiteY1038" fmla="*/ 1048955 h 1087290"/>
              <a:gd name="connsiteX1039" fmla="*/ 1719168 w 1897116"/>
              <a:gd name="connsiteY1039" fmla="*/ 1055177 h 1087290"/>
              <a:gd name="connsiteX1040" fmla="*/ 1713648 w 1897116"/>
              <a:gd name="connsiteY1040" fmla="*/ 1054304 h 1087290"/>
              <a:gd name="connsiteX1041" fmla="*/ 1713998 w 1897116"/>
              <a:gd name="connsiteY1041" fmla="*/ 1056051 h 1087290"/>
              <a:gd name="connsiteX1042" fmla="*/ 1708302 w 1897116"/>
              <a:gd name="connsiteY1042" fmla="*/ 1054413 h 1087290"/>
              <a:gd name="connsiteX1043" fmla="*/ 1702606 w 1897116"/>
              <a:gd name="connsiteY1043" fmla="*/ 1058398 h 1087290"/>
              <a:gd name="connsiteX1044" fmla="*/ 1699978 w 1897116"/>
              <a:gd name="connsiteY1044" fmla="*/ 1056979 h 1087290"/>
              <a:gd name="connsiteX1045" fmla="*/ 1696560 w 1897116"/>
              <a:gd name="connsiteY1045" fmla="*/ 1056105 h 1087290"/>
              <a:gd name="connsiteX1046" fmla="*/ 1693493 w 1897116"/>
              <a:gd name="connsiteY1046" fmla="*/ 1062245 h 1087290"/>
              <a:gd name="connsiteX1047" fmla="*/ 1692441 w 1897116"/>
              <a:gd name="connsiteY1047" fmla="*/ 1063528 h 1087290"/>
              <a:gd name="connsiteX1048" fmla="*/ 1684905 w 1897116"/>
              <a:gd name="connsiteY1048" fmla="*/ 1064674 h 1087290"/>
              <a:gd name="connsiteX1049" fmla="*/ 1683941 w 1897116"/>
              <a:gd name="connsiteY1049" fmla="*/ 1062737 h 1087290"/>
              <a:gd name="connsiteX1050" fmla="*/ 1681488 w 1897116"/>
              <a:gd name="connsiteY1050" fmla="*/ 1059489 h 1087290"/>
              <a:gd name="connsiteX1051" fmla="*/ 1675178 w 1897116"/>
              <a:gd name="connsiteY1051" fmla="*/ 1061727 h 1087290"/>
              <a:gd name="connsiteX1052" fmla="*/ 1669132 w 1897116"/>
              <a:gd name="connsiteY1052" fmla="*/ 1062000 h 1087290"/>
              <a:gd name="connsiteX1053" fmla="*/ 1664049 w 1897116"/>
              <a:gd name="connsiteY1053" fmla="*/ 1060499 h 1087290"/>
              <a:gd name="connsiteX1054" fmla="*/ 1662560 w 1897116"/>
              <a:gd name="connsiteY1054" fmla="*/ 1065493 h 1087290"/>
              <a:gd name="connsiteX1055" fmla="*/ 1652745 w 1897116"/>
              <a:gd name="connsiteY1055" fmla="*/ 1059571 h 1087290"/>
              <a:gd name="connsiteX1056" fmla="*/ 1647400 w 1897116"/>
              <a:gd name="connsiteY1056" fmla="*/ 1050484 h 1087290"/>
              <a:gd name="connsiteX1057" fmla="*/ 1646085 w 1897116"/>
              <a:gd name="connsiteY1057" fmla="*/ 1056214 h 1087290"/>
              <a:gd name="connsiteX1058" fmla="*/ 1640214 w 1897116"/>
              <a:gd name="connsiteY1058" fmla="*/ 1054386 h 1087290"/>
              <a:gd name="connsiteX1059" fmla="*/ 1630225 w 1897116"/>
              <a:gd name="connsiteY1059" fmla="*/ 1054086 h 1087290"/>
              <a:gd name="connsiteX1060" fmla="*/ 1624003 w 1897116"/>
              <a:gd name="connsiteY1060" fmla="*/ 1053294 h 1087290"/>
              <a:gd name="connsiteX1061" fmla="*/ 1622250 w 1897116"/>
              <a:gd name="connsiteY1061" fmla="*/ 1056023 h 1087290"/>
              <a:gd name="connsiteX1062" fmla="*/ 1613663 w 1897116"/>
              <a:gd name="connsiteY1062" fmla="*/ 1057333 h 1087290"/>
              <a:gd name="connsiteX1063" fmla="*/ 1609106 w 1897116"/>
              <a:gd name="connsiteY1063" fmla="*/ 1058479 h 1087290"/>
              <a:gd name="connsiteX1064" fmla="*/ 1610683 w 1897116"/>
              <a:gd name="connsiteY1064" fmla="*/ 1054795 h 1087290"/>
              <a:gd name="connsiteX1065" fmla="*/ 1605163 w 1897116"/>
              <a:gd name="connsiteY1065" fmla="*/ 1050102 h 1087290"/>
              <a:gd name="connsiteX1066" fmla="*/ 1600606 w 1897116"/>
              <a:gd name="connsiteY1066" fmla="*/ 1049965 h 1087290"/>
              <a:gd name="connsiteX1067" fmla="*/ 1596224 w 1897116"/>
              <a:gd name="connsiteY1067" fmla="*/ 1046963 h 1087290"/>
              <a:gd name="connsiteX1068" fmla="*/ 1593596 w 1897116"/>
              <a:gd name="connsiteY1068" fmla="*/ 1047994 h 1087290"/>
              <a:gd name="connsiteX1069" fmla="*/ 1589459 w 1897116"/>
              <a:gd name="connsiteY1069" fmla="*/ 1045424 h 1087290"/>
              <a:gd name="connsiteX1070" fmla="*/ 1590781 w 1897116"/>
              <a:gd name="connsiteY1070" fmla="*/ 1042061 h 1087290"/>
              <a:gd name="connsiteX1071" fmla="*/ 1589126 w 1897116"/>
              <a:gd name="connsiteY1071" fmla="*/ 1045217 h 1087290"/>
              <a:gd name="connsiteX1072" fmla="*/ 1589459 w 1897116"/>
              <a:gd name="connsiteY1072" fmla="*/ 1045424 h 1087290"/>
              <a:gd name="connsiteX1073" fmla="*/ 1588425 w 1897116"/>
              <a:gd name="connsiteY1073" fmla="*/ 1048055 h 1087290"/>
              <a:gd name="connsiteX1074" fmla="*/ 1583956 w 1897116"/>
              <a:gd name="connsiteY1074" fmla="*/ 1046581 h 1087290"/>
              <a:gd name="connsiteX1075" fmla="*/ 1582817 w 1897116"/>
              <a:gd name="connsiteY1075" fmla="*/ 1050948 h 1087290"/>
              <a:gd name="connsiteX1076" fmla="*/ 1584764 w 1897116"/>
              <a:gd name="connsiteY1076" fmla="*/ 1052756 h 1087290"/>
              <a:gd name="connsiteX1077" fmla="*/ 1580977 w 1897116"/>
              <a:gd name="connsiteY1077" fmla="*/ 1052012 h 1087290"/>
              <a:gd name="connsiteX1078" fmla="*/ 1578305 w 1897116"/>
              <a:gd name="connsiteY1078" fmla="*/ 1051874 h 1087290"/>
              <a:gd name="connsiteX1079" fmla="*/ 1574492 w 1897116"/>
              <a:gd name="connsiteY1079" fmla="*/ 1050347 h 1087290"/>
              <a:gd name="connsiteX1080" fmla="*/ 1567482 w 1897116"/>
              <a:gd name="connsiteY1080" fmla="*/ 1046145 h 1087290"/>
              <a:gd name="connsiteX1081" fmla="*/ 1563100 w 1897116"/>
              <a:gd name="connsiteY1081" fmla="*/ 1047591 h 1087290"/>
              <a:gd name="connsiteX1082" fmla="*/ 1552410 w 1897116"/>
              <a:gd name="connsiteY1082" fmla="*/ 1048137 h 1087290"/>
              <a:gd name="connsiteX1083" fmla="*/ 1542245 w 1897116"/>
              <a:gd name="connsiteY1083" fmla="*/ 1055041 h 1087290"/>
              <a:gd name="connsiteX1084" fmla="*/ 1537074 w 1897116"/>
              <a:gd name="connsiteY1084" fmla="*/ 1063610 h 1087290"/>
              <a:gd name="connsiteX1085" fmla="*/ 1535753 w 1897116"/>
              <a:gd name="connsiteY1085" fmla="*/ 1064310 h 1087290"/>
              <a:gd name="connsiteX1086" fmla="*/ 1534555 w 1897116"/>
              <a:gd name="connsiteY1086" fmla="*/ 1061710 h 1087290"/>
              <a:gd name="connsiteX1087" fmla="*/ 1535409 w 1897116"/>
              <a:gd name="connsiteY1087" fmla="*/ 1062627 h 1087290"/>
              <a:gd name="connsiteX1088" fmla="*/ 1533482 w 1897116"/>
              <a:gd name="connsiteY1088" fmla="*/ 1055942 h 1087290"/>
              <a:gd name="connsiteX1089" fmla="*/ 1532167 w 1897116"/>
              <a:gd name="connsiteY1089" fmla="*/ 1049501 h 1087290"/>
              <a:gd name="connsiteX1090" fmla="*/ 1532496 w 1897116"/>
              <a:gd name="connsiteY1090" fmla="*/ 1046731 h 1087290"/>
              <a:gd name="connsiteX1091" fmla="*/ 1532058 w 1897116"/>
              <a:gd name="connsiteY1091" fmla="*/ 1045420 h 1087290"/>
              <a:gd name="connsiteX1092" fmla="*/ 1532342 w 1897116"/>
              <a:gd name="connsiteY1092" fmla="*/ 1044848 h 1087290"/>
              <a:gd name="connsiteX1093" fmla="*/ 1530972 w 1897116"/>
              <a:gd name="connsiteY1093" fmla="*/ 1038571 h 1087290"/>
              <a:gd name="connsiteX1094" fmla="*/ 1531543 w 1897116"/>
              <a:gd name="connsiteY1094" fmla="*/ 1038404 h 1087290"/>
              <a:gd name="connsiteX1095" fmla="*/ 1530677 w 1897116"/>
              <a:gd name="connsiteY1095" fmla="*/ 1037221 h 1087290"/>
              <a:gd name="connsiteX1096" fmla="*/ 1530972 w 1897116"/>
              <a:gd name="connsiteY1096" fmla="*/ 1038571 h 1087290"/>
              <a:gd name="connsiteX1097" fmla="*/ 1524456 w 1897116"/>
              <a:gd name="connsiteY1097" fmla="*/ 1040468 h 1087290"/>
              <a:gd name="connsiteX1098" fmla="*/ 1518322 w 1897116"/>
              <a:gd name="connsiteY1098" fmla="*/ 1043689 h 1087290"/>
              <a:gd name="connsiteX1099" fmla="*/ 1510085 w 1897116"/>
              <a:gd name="connsiteY1099" fmla="*/ 1046636 h 1087290"/>
              <a:gd name="connsiteX1100" fmla="*/ 1506054 w 1897116"/>
              <a:gd name="connsiteY1100" fmla="*/ 1048491 h 1087290"/>
              <a:gd name="connsiteX1101" fmla="*/ 1500621 w 1897116"/>
              <a:gd name="connsiteY1101" fmla="*/ 1051029 h 1087290"/>
              <a:gd name="connsiteX1102" fmla="*/ 1492822 w 1897116"/>
              <a:gd name="connsiteY1102" fmla="*/ 1048491 h 1087290"/>
              <a:gd name="connsiteX1103" fmla="*/ 1485285 w 1897116"/>
              <a:gd name="connsiteY1103" fmla="*/ 1046581 h 1087290"/>
              <a:gd name="connsiteX1104" fmla="*/ 1485461 w 1897116"/>
              <a:gd name="connsiteY1104" fmla="*/ 1045571 h 1087290"/>
              <a:gd name="connsiteX1105" fmla="*/ 1487389 w 1897116"/>
              <a:gd name="connsiteY1105" fmla="*/ 1043252 h 1087290"/>
              <a:gd name="connsiteX1106" fmla="*/ 1480816 w 1897116"/>
              <a:gd name="connsiteY1106" fmla="*/ 1040359 h 1087290"/>
              <a:gd name="connsiteX1107" fmla="*/ 1481079 w 1897116"/>
              <a:gd name="connsiteY1107" fmla="*/ 1038940 h 1087290"/>
              <a:gd name="connsiteX1108" fmla="*/ 1475646 w 1897116"/>
              <a:gd name="connsiteY1108" fmla="*/ 1034055 h 1087290"/>
              <a:gd name="connsiteX1109" fmla="*/ 1475208 w 1897116"/>
              <a:gd name="connsiteY1109" fmla="*/ 1036757 h 1087290"/>
              <a:gd name="connsiteX1110" fmla="*/ 1471878 w 1897116"/>
              <a:gd name="connsiteY1110" fmla="*/ 1030344 h 1087290"/>
              <a:gd name="connsiteX1111" fmla="*/ 1467059 w 1897116"/>
              <a:gd name="connsiteY1111" fmla="*/ 1027560 h 1087290"/>
              <a:gd name="connsiteX1112" fmla="*/ 1461187 w 1897116"/>
              <a:gd name="connsiteY1112" fmla="*/ 1028788 h 1087290"/>
              <a:gd name="connsiteX1113" fmla="*/ 1459873 w 1897116"/>
              <a:gd name="connsiteY1113" fmla="*/ 1024067 h 1087290"/>
              <a:gd name="connsiteX1114" fmla="*/ 1454002 w 1897116"/>
              <a:gd name="connsiteY1114" fmla="*/ 1024122 h 1087290"/>
              <a:gd name="connsiteX1115" fmla="*/ 1447342 w 1897116"/>
              <a:gd name="connsiteY1115" fmla="*/ 1025541 h 1087290"/>
              <a:gd name="connsiteX1116" fmla="*/ 1441295 w 1897116"/>
              <a:gd name="connsiteY1116" fmla="*/ 1026332 h 1087290"/>
              <a:gd name="connsiteX1117" fmla="*/ 1433935 w 1897116"/>
              <a:gd name="connsiteY1117" fmla="*/ 1029389 h 1087290"/>
              <a:gd name="connsiteX1118" fmla="*/ 1429641 w 1897116"/>
              <a:gd name="connsiteY1118" fmla="*/ 1030944 h 1087290"/>
              <a:gd name="connsiteX1119" fmla="*/ 1424821 w 1897116"/>
              <a:gd name="connsiteY1119" fmla="*/ 1033510 h 1087290"/>
              <a:gd name="connsiteX1120" fmla="*/ 1419300 w 1897116"/>
              <a:gd name="connsiteY1120" fmla="*/ 1035065 h 1087290"/>
              <a:gd name="connsiteX1121" fmla="*/ 1410800 w 1897116"/>
              <a:gd name="connsiteY1121" fmla="*/ 1035829 h 1087290"/>
              <a:gd name="connsiteX1122" fmla="*/ 1405630 w 1897116"/>
              <a:gd name="connsiteY1122" fmla="*/ 1032281 h 1087290"/>
              <a:gd name="connsiteX1123" fmla="*/ 1403878 w 1897116"/>
              <a:gd name="connsiteY1123" fmla="*/ 1031872 h 1087290"/>
              <a:gd name="connsiteX1124" fmla="*/ 1400548 w 1897116"/>
              <a:gd name="connsiteY1124" fmla="*/ 1024913 h 1087290"/>
              <a:gd name="connsiteX1125" fmla="*/ 1397744 w 1897116"/>
              <a:gd name="connsiteY1125" fmla="*/ 1019565 h 1087290"/>
              <a:gd name="connsiteX1126" fmla="*/ 1394939 w 1897116"/>
              <a:gd name="connsiteY1126" fmla="*/ 1014243 h 1087290"/>
              <a:gd name="connsiteX1127" fmla="*/ 1390295 w 1897116"/>
              <a:gd name="connsiteY1127" fmla="*/ 1018528 h 1087290"/>
              <a:gd name="connsiteX1128" fmla="*/ 1391610 w 1897116"/>
              <a:gd name="connsiteY1128" fmla="*/ 1025480 h 1087290"/>
              <a:gd name="connsiteX1129" fmla="*/ 1387307 w 1897116"/>
              <a:gd name="connsiteY1129" fmla="*/ 1023581 h 1087290"/>
              <a:gd name="connsiteX1130" fmla="*/ 1387579 w 1897116"/>
              <a:gd name="connsiteY1130" fmla="*/ 1023535 h 1087290"/>
              <a:gd name="connsiteX1131" fmla="*/ 1385563 w 1897116"/>
              <a:gd name="connsiteY1131" fmla="*/ 1022812 h 1087290"/>
              <a:gd name="connsiteX1132" fmla="*/ 1387307 w 1897116"/>
              <a:gd name="connsiteY1132" fmla="*/ 1023581 h 1087290"/>
              <a:gd name="connsiteX1133" fmla="*/ 1380919 w 1897116"/>
              <a:gd name="connsiteY1133" fmla="*/ 1024668 h 1087290"/>
              <a:gd name="connsiteX1134" fmla="*/ 1376537 w 1897116"/>
              <a:gd name="connsiteY1134" fmla="*/ 1024913 h 1087290"/>
              <a:gd name="connsiteX1135" fmla="*/ 1371192 w 1897116"/>
              <a:gd name="connsiteY1135" fmla="*/ 1022294 h 1087290"/>
              <a:gd name="connsiteX1136" fmla="*/ 1366109 w 1897116"/>
              <a:gd name="connsiteY1136" fmla="*/ 1018991 h 1087290"/>
              <a:gd name="connsiteX1137" fmla="*/ 1361991 w 1897116"/>
              <a:gd name="connsiteY1137" fmla="*/ 1019674 h 1087290"/>
              <a:gd name="connsiteX1138" fmla="*/ 1355419 w 1897116"/>
              <a:gd name="connsiteY1138" fmla="*/ 1019155 h 1087290"/>
              <a:gd name="connsiteX1139" fmla="*/ 1351212 w 1897116"/>
              <a:gd name="connsiteY1139" fmla="*/ 1018555 h 1087290"/>
              <a:gd name="connsiteX1140" fmla="*/ 1345604 w 1897116"/>
              <a:gd name="connsiteY1140" fmla="*/ 1019728 h 1087290"/>
              <a:gd name="connsiteX1141" fmla="*/ 1341644 w 1897116"/>
              <a:gd name="connsiteY1141" fmla="*/ 1021457 h 1087290"/>
              <a:gd name="connsiteX1142" fmla="*/ 1339295 w 1897116"/>
              <a:gd name="connsiteY1142" fmla="*/ 1021011 h 1087290"/>
              <a:gd name="connsiteX1143" fmla="*/ 1336781 w 1897116"/>
              <a:gd name="connsiteY1143" fmla="*/ 1023170 h 1087290"/>
              <a:gd name="connsiteX1144" fmla="*/ 1334650 w 1897116"/>
              <a:gd name="connsiteY1144" fmla="*/ 1023685 h 1087290"/>
              <a:gd name="connsiteX1145" fmla="*/ 1329130 w 1897116"/>
              <a:gd name="connsiteY1145" fmla="*/ 1023985 h 1087290"/>
              <a:gd name="connsiteX1146" fmla="*/ 1328166 w 1897116"/>
              <a:gd name="connsiteY1146" fmla="*/ 1028570 h 1087290"/>
              <a:gd name="connsiteX1147" fmla="*/ 1323434 w 1897116"/>
              <a:gd name="connsiteY1147" fmla="*/ 1029962 h 1087290"/>
              <a:gd name="connsiteX1148" fmla="*/ 1319403 w 1897116"/>
              <a:gd name="connsiteY1148" fmla="*/ 1035065 h 1087290"/>
              <a:gd name="connsiteX1149" fmla="*/ 1313795 w 1897116"/>
              <a:gd name="connsiteY1149" fmla="*/ 1035311 h 1087290"/>
              <a:gd name="connsiteX1150" fmla="*/ 1309939 w 1897116"/>
              <a:gd name="connsiteY1150" fmla="*/ 1040332 h 1087290"/>
              <a:gd name="connsiteX1151" fmla="*/ 1309238 w 1897116"/>
              <a:gd name="connsiteY1151" fmla="*/ 1037330 h 1087290"/>
              <a:gd name="connsiteX1152" fmla="*/ 1308712 w 1897116"/>
              <a:gd name="connsiteY1152" fmla="*/ 1032691 h 1087290"/>
              <a:gd name="connsiteX1153" fmla="*/ 1307310 w 1897116"/>
              <a:gd name="connsiteY1153" fmla="*/ 1029361 h 1087290"/>
              <a:gd name="connsiteX1154" fmla="*/ 1302929 w 1897116"/>
              <a:gd name="connsiteY1154" fmla="*/ 1029252 h 1087290"/>
              <a:gd name="connsiteX1155" fmla="*/ 1297671 w 1897116"/>
              <a:gd name="connsiteY1155" fmla="*/ 1030535 h 1087290"/>
              <a:gd name="connsiteX1156" fmla="*/ 1286542 w 1897116"/>
              <a:gd name="connsiteY1156" fmla="*/ 1034874 h 1087290"/>
              <a:gd name="connsiteX1157" fmla="*/ 1275588 w 1897116"/>
              <a:gd name="connsiteY1157" fmla="*/ 1041696 h 1087290"/>
              <a:gd name="connsiteX1158" fmla="*/ 1270330 w 1897116"/>
              <a:gd name="connsiteY1158" fmla="*/ 1045571 h 1087290"/>
              <a:gd name="connsiteX1159" fmla="*/ 1264985 w 1897116"/>
              <a:gd name="connsiteY1159" fmla="*/ 1049610 h 1087290"/>
              <a:gd name="connsiteX1160" fmla="*/ 1260078 w 1897116"/>
              <a:gd name="connsiteY1160" fmla="*/ 1053513 h 1087290"/>
              <a:gd name="connsiteX1161" fmla="*/ 1255083 w 1897116"/>
              <a:gd name="connsiteY1161" fmla="*/ 1056951 h 1087290"/>
              <a:gd name="connsiteX1162" fmla="*/ 1251052 w 1897116"/>
              <a:gd name="connsiteY1162" fmla="*/ 1059571 h 1087290"/>
              <a:gd name="connsiteX1163" fmla="*/ 1245794 w 1897116"/>
              <a:gd name="connsiteY1163" fmla="*/ 1062655 h 1087290"/>
              <a:gd name="connsiteX1164" fmla="*/ 1238784 w 1897116"/>
              <a:gd name="connsiteY1164" fmla="*/ 1065493 h 1087290"/>
              <a:gd name="connsiteX1165" fmla="*/ 1232212 w 1897116"/>
              <a:gd name="connsiteY1165" fmla="*/ 1067922 h 1087290"/>
              <a:gd name="connsiteX1166" fmla="*/ 1225639 w 1897116"/>
              <a:gd name="connsiteY1166" fmla="*/ 1072725 h 1087290"/>
              <a:gd name="connsiteX1167" fmla="*/ 1218541 w 1897116"/>
              <a:gd name="connsiteY1167" fmla="*/ 1074226 h 1087290"/>
              <a:gd name="connsiteX1168" fmla="*/ 1211356 w 1897116"/>
              <a:gd name="connsiteY1168" fmla="*/ 1076763 h 1087290"/>
              <a:gd name="connsiteX1169" fmla="*/ 1203732 w 1897116"/>
              <a:gd name="connsiteY1169" fmla="*/ 1074717 h 1087290"/>
              <a:gd name="connsiteX1170" fmla="*/ 1204345 w 1897116"/>
              <a:gd name="connsiteY1170" fmla="*/ 1079110 h 1087290"/>
              <a:gd name="connsiteX1171" fmla="*/ 1197773 w 1897116"/>
              <a:gd name="connsiteY1171" fmla="*/ 1081103 h 1087290"/>
              <a:gd name="connsiteX1172" fmla="*/ 1190500 w 1897116"/>
              <a:gd name="connsiteY1172" fmla="*/ 1083122 h 1087290"/>
              <a:gd name="connsiteX1173" fmla="*/ 1184015 w 1897116"/>
              <a:gd name="connsiteY1173" fmla="*/ 1086520 h 1087290"/>
              <a:gd name="connsiteX0" fmla="*/ 353668 w 1897116"/>
              <a:gd name="connsiteY0" fmla="*/ 26940 h 1087290"/>
              <a:gd name="connsiteX1" fmla="*/ 353221 w 1897116"/>
              <a:gd name="connsiteY1" fmla="*/ 25809 h 1087290"/>
              <a:gd name="connsiteX2" fmla="*/ 357240 w 1897116"/>
              <a:gd name="connsiteY2" fmla="*/ 24733 h 1087290"/>
              <a:gd name="connsiteX3" fmla="*/ 353668 w 1897116"/>
              <a:gd name="connsiteY3" fmla="*/ 26940 h 1087290"/>
              <a:gd name="connsiteX4" fmla="*/ 304410 w 1897116"/>
              <a:gd name="connsiteY4" fmla="*/ 40485 h 1087290"/>
              <a:gd name="connsiteX5" fmla="*/ 302763 w 1897116"/>
              <a:gd name="connsiteY5" fmla="*/ 40108 h 1087290"/>
              <a:gd name="connsiteX6" fmla="*/ 302767 w 1897116"/>
              <a:gd name="connsiteY6" fmla="*/ 38706 h 1087290"/>
              <a:gd name="connsiteX7" fmla="*/ 304410 w 1897116"/>
              <a:gd name="connsiteY7" fmla="*/ 40485 h 1087290"/>
              <a:gd name="connsiteX8" fmla="*/ 312192 w 1897116"/>
              <a:gd name="connsiteY8" fmla="*/ 41597 h 1087290"/>
              <a:gd name="connsiteX9" fmla="*/ 310902 w 1897116"/>
              <a:gd name="connsiteY9" fmla="*/ 41519 h 1087290"/>
              <a:gd name="connsiteX10" fmla="*/ 310110 w 1897116"/>
              <a:gd name="connsiteY10" fmla="*/ 41149 h 1087290"/>
              <a:gd name="connsiteX11" fmla="*/ 312192 w 1897116"/>
              <a:gd name="connsiteY11" fmla="*/ 41597 h 1087290"/>
              <a:gd name="connsiteX12" fmla="*/ 316583 w 1897116"/>
              <a:gd name="connsiteY12" fmla="*/ 42541 h 1087290"/>
              <a:gd name="connsiteX13" fmla="*/ 312192 w 1897116"/>
              <a:gd name="connsiteY13" fmla="*/ 41597 h 1087290"/>
              <a:gd name="connsiteX14" fmla="*/ 312466 w 1897116"/>
              <a:gd name="connsiteY14" fmla="*/ 41613 h 1087290"/>
              <a:gd name="connsiteX15" fmla="*/ 316583 w 1897116"/>
              <a:gd name="connsiteY15" fmla="*/ 42541 h 1087290"/>
              <a:gd name="connsiteX16" fmla="*/ 119950 w 1897116"/>
              <a:gd name="connsiteY16" fmla="*/ 43716 h 1087290"/>
              <a:gd name="connsiteX17" fmla="*/ 117470 w 1897116"/>
              <a:gd name="connsiteY17" fmla="*/ 43272 h 1087290"/>
              <a:gd name="connsiteX18" fmla="*/ 118896 w 1897116"/>
              <a:gd name="connsiteY18" fmla="*/ 40545 h 1087290"/>
              <a:gd name="connsiteX19" fmla="*/ 120926 w 1897116"/>
              <a:gd name="connsiteY19" fmla="*/ 43701 h 1087290"/>
              <a:gd name="connsiteX20" fmla="*/ 119950 w 1897116"/>
              <a:gd name="connsiteY20" fmla="*/ 43716 h 1087290"/>
              <a:gd name="connsiteX21" fmla="*/ 115912 w 1897116"/>
              <a:gd name="connsiteY21" fmla="*/ 43782 h 1087290"/>
              <a:gd name="connsiteX22" fmla="*/ 115758 w 1897116"/>
              <a:gd name="connsiteY22" fmla="*/ 42965 h 1087290"/>
              <a:gd name="connsiteX23" fmla="*/ 117470 w 1897116"/>
              <a:gd name="connsiteY23" fmla="*/ 43272 h 1087290"/>
              <a:gd name="connsiteX24" fmla="*/ 117215 w 1897116"/>
              <a:gd name="connsiteY24" fmla="*/ 43761 h 1087290"/>
              <a:gd name="connsiteX25" fmla="*/ 115912 w 1897116"/>
              <a:gd name="connsiteY25" fmla="*/ 43782 h 1087290"/>
              <a:gd name="connsiteX26" fmla="*/ 159497 w 1897116"/>
              <a:gd name="connsiteY26" fmla="*/ 51308 h 1087290"/>
              <a:gd name="connsiteX27" fmla="*/ 159111 w 1897116"/>
              <a:gd name="connsiteY27" fmla="*/ 50219 h 1087290"/>
              <a:gd name="connsiteX28" fmla="*/ 159519 w 1897116"/>
              <a:gd name="connsiteY28" fmla="*/ 51302 h 1087290"/>
              <a:gd name="connsiteX29" fmla="*/ 159497 w 1897116"/>
              <a:gd name="connsiteY29" fmla="*/ 51308 h 1087290"/>
              <a:gd name="connsiteX30" fmla="*/ 358065 w 1897116"/>
              <a:gd name="connsiteY30" fmla="*/ 51467 h 1087290"/>
              <a:gd name="connsiteX31" fmla="*/ 357383 w 1897116"/>
              <a:gd name="connsiteY31" fmla="*/ 49085 h 1087290"/>
              <a:gd name="connsiteX32" fmla="*/ 358101 w 1897116"/>
              <a:gd name="connsiteY32" fmla="*/ 47405 h 1087290"/>
              <a:gd name="connsiteX33" fmla="*/ 358065 w 1897116"/>
              <a:gd name="connsiteY33" fmla="*/ 51467 h 1087290"/>
              <a:gd name="connsiteX34" fmla="*/ 137612 w 1897116"/>
              <a:gd name="connsiteY34" fmla="*/ 52078 h 1087290"/>
              <a:gd name="connsiteX35" fmla="*/ 134914 w 1897116"/>
              <a:gd name="connsiteY35" fmla="*/ 51247 h 1087290"/>
              <a:gd name="connsiteX36" fmla="*/ 137611 w 1897116"/>
              <a:gd name="connsiteY36" fmla="*/ 51817 h 1087290"/>
              <a:gd name="connsiteX37" fmla="*/ 137545 w 1897116"/>
              <a:gd name="connsiteY37" fmla="*/ 51974 h 1087290"/>
              <a:gd name="connsiteX38" fmla="*/ 137612 w 1897116"/>
              <a:gd name="connsiteY38" fmla="*/ 52078 h 1087290"/>
              <a:gd name="connsiteX39" fmla="*/ 138681 w 1897116"/>
              <a:gd name="connsiteY39" fmla="*/ 53721 h 1087290"/>
              <a:gd name="connsiteX40" fmla="*/ 137612 w 1897116"/>
              <a:gd name="connsiteY40" fmla="*/ 52078 h 1087290"/>
              <a:gd name="connsiteX41" fmla="*/ 139472 w 1897116"/>
              <a:gd name="connsiteY41" fmla="*/ 52650 h 1087290"/>
              <a:gd name="connsiteX42" fmla="*/ 138681 w 1897116"/>
              <a:gd name="connsiteY42" fmla="*/ 53721 h 1087290"/>
              <a:gd name="connsiteX43" fmla="*/ 40650 w 1897116"/>
              <a:gd name="connsiteY43" fmla="*/ 62426 h 1087290"/>
              <a:gd name="connsiteX44" fmla="*/ 40016 w 1897116"/>
              <a:gd name="connsiteY44" fmla="*/ 62421 h 1087290"/>
              <a:gd name="connsiteX45" fmla="*/ 39598 w 1897116"/>
              <a:gd name="connsiteY45" fmla="*/ 61960 h 1087290"/>
              <a:gd name="connsiteX46" fmla="*/ 40650 w 1897116"/>
              <a:gd name="connsiteY46" fmla="*/ 62426 h 1087290"/>
              <a:gd name="connsiteX47" fmla="*/ 40904 w 1897116"/>
              <a:gd name="connsiteY47" fmla="*/ 62538 h 1087290"/>
              <a:gd name="connsiteX48" fmla="*/ 40650 w 1897116"/>
              <a:gd name="connsiteY48" fmla="*/ 62426 h 1087290"/>
              <a:gd name="connsiteX49" fmla="*/ 40911 w 1897116"/>
              <a:gd name="connsiteY49" fmla="*/ 62428 h 1087290"/>
              <a:gd name="connsiteX50" fmla="*/ 40904 w 1897116"/>
              <a:gd name="connsiteY50" fmla="*/ 62538 h 1087290"/>
              <a:gd name="connsiteX51" fmla="*/ 548588 w 1897116"/>
              <a:gd name="connsiteY51" fmla="*/ 77263 h 1087290"/>
              <a:gd name="connsiteX52" fmla="*/ 547507 w 1897116"/>
              <a:gd name="connsiteY52" fmla="*/ 76900 h 1087290"/>
              <a:gd name="connsiteX53" fmla="*/ 547240 w 1897116"/>
              <a:gd name="connsiteY53" fmla="*/ 75428 h 1087290"/>
              <a:gd name="connsiteX54" fmla="*/ 549543 w 1897116"/>
              <a:gd name="connsiteY54" fmla="*/ 76777 h 1087290"/>
              <a:gd name="connsiteX55" fmla="*/ 548588 w 1897116"/>
              <a:gd name="connsiteY55" fmla="*/ 77263 h 1087290"/>
              <a:gd name="connsiteX56" fmla="*/ 551118 w 1897116"/>
              <a:gd name="connsiteY56" fmla="*/ 77700 h 1087290"/>
              <a:gd name="connsiteX57" fmla="*/ 549543 w 1897116"/>
              <a:gd name="connsiteY57" fmla="*/ 76777 h 1087290"/>
              <a:gd name="connsiteX58" fmla="*/ 554619 w 1897116"/>
              <a:gd name="connsiteY58" fmla="*/ 74193 h 1087290"/>
              <a:gd name="connsiteX59" fmla="*/ 551118 w 1897116"/>
              <a:gd name="connsiteY59" fmla="*/ 77700 h 1087290"/>
              <a:gd name="connsiteX60" fmla="*/ 1338885 w 1897116"/>
              <a:gd name="connsiteY60" fmla="*/ 1022661 h 1087290"/>
              <a:gd name="connsiteX61" fmla="*/ 1341644 w 1897116"/>
              <a:gd name="connsiteY61" fmla="*/ 1021457 h 1087290"/>
              <a:gd name="connsiteX62" fmla="*/ 1342888 w 1897116"/>
              <a:gd name="connsiteY62" fmla="*/ 1021693 h 1087290"/>
              <a:gd name="connsiteX63" fmla="*/ 1338885 w 1897116"/>
              <a:gd name="connsiteY63" fmla="*/ 1022661 h 1087290"/>
              <a:gd name="connsiteX64" fmla="*/ 1335812 w 1897116"/>
              <a:gd name="connsiteY64" fmla="*/ 1024002 h 1087290"/>
              <a:gd name="connsiteX65" fmla="*/ 1336781 w 1897116"/>
              <a:gd name="connsiteY65" fmla="*/ 1023170 h 1087290"/>
              <a:gd name="connsiteX66" fmla="*/ 1338885 w 1897116"/>
              <a:gd name="connsiteY66" fmla="*/ 1022661 h 1087290"/>
              <a:gd name="connsiteX67" fmla="*/ 1335812 w 1897116"/>
              <a:gd name="connsiteY67" fmla="*/ 1024002 h 1087290"/>
              <a:gd name="connsiteX68" fmla="*/ 1847201 w 1897116"/>
              <a:gd name="connsiteY68" fmla="*/ 1034040 h 1087290"/>
              <a:gd name="connsiteX69" fmla="*/ 1846940 w 1897116"/>
              <a:gd name="connsiteY69" fmla="*/ 1034038 h 1087290"/>
              <a:gd name="connsiteX70" fmla="*/ 1846947 w 1897116"/>
              <a:gd name="connsiteY70" fmla="*/ 1033944 h 1087290"/>
              <a:gd name="connsiteX71" fmla="*/ 1847201 w 1897116"/>
              <a:gd name="connsiteY71" fmla="*/ 1034040 h 1087290"/>
              <a:gd name="connsiteX72" fmla="*/ 1848247 w 1897116"/>
              <a:gd name="connsiteY72" fmla="*/ 1034437 h 1087290"/>
              <a:gd name="connsiteX73" fmla="*/ 1847201 w 1897116"/>
              <a:gd name="connsiteY73" fmla="*/ 1034040 h 1087290"/>
              <a:gd name="connsiteX74" fmla="*/ 1847831 w 1897116"/>
              <a:gd name="connsiteY74" fmla="*/ 1034044 h 1087290"/>
              <a:gd name="connsiteX75" fmla="*/ 1848247 w 1897116"/>
              <a:gd name="connsiteY75" fmla="*/ 1034437 h 1087290"/>
              <a:gd name="connsiteX76" fmla="*/ 1750725 w 1897116"/>
              <a:gd name="connsiteY76" fmla="*/ 1042867 h 1087290"/>
              <a:gd name="connsiteX77" fmla="*/ 1748875 w 1897116"/>
              <a:gd name="connsiteY77" fmla="*/ 1042379 h 1087290"/>
              <a:gd name="connsiteX78" fmla="*/ 1749661 w 1897116"/>
              <a:gd name="connsiteY78" fmla="*/ 1041465 h 1087290"/>
              <a:gd name="connsiteX79" fmla="*/ 1750725 w 1897116"/>
              <a:gd name="connsiteY79" fmla="*/ 1042867 h 1087290"/>
              <a:gd name="connsiteX80" fmla="*/ 1753410 w 1897116"/>
              <a:gd name="connsiteY80" fmla="*/ 1043576 h 1087290"/>
              <a:gd name="connsiteX81" fmla="*/ 1750726 w 1897116"/>
              <a:gd name="connsiteY81" fmla="*/ 1043089 h 1087290"/>
              <a:gd name="connsiteX82" fmla="*/ 1750792 w 1897116"/>
              <a:gd name="connsiteY82" fmla="*/ 1042955 h 1087290"/>
              <a:gd name="connsiteX83" fmla="*/ 1750725 w 1897116"/>
              <a:gd name="connsiteY83" fmla="*/ 1042867 h 1087290"/>
              <a:gd name="connsiteX84" fmla="*/ 1753410 w 1897116"/>
              <a:gd name="connsiteY84" fmla="*/ 1043576 h 1087290"/>
              <a:gd name="connsiteX85" fmla="*/ 1729333 w 1897116"/>
              <a:gd name="connsiteY85" fmla="*/ 1044453 h 1087290"/>
              <a:gd name="connsiteX86" fmla="*/ 1728928 w 1897116"/>
              <a:gd name="connsiteY86" fmla="*/ 1043528 h 1087290"/>
              <a:gd name="connsiteX87" fmla="*/ 1728950 w 1897116"/>
              <a:gd name="connsiteY87" fmla="*/ 1043524 h 1087290"/>
              <a:gd name="connsiteX88" fmla="*/ 1729333 w 1897116"/>
              <a:gd name="connsiteY88" fmla="*/ 1044453 h 1087290"/>
              <a:gd name="connsiteX89" fmla="*/ 1531343 w 1897116"/>
              <a:gd name="connsiteY89" fmla="*/ 1046853 h 1087290"/>
              <a:gd name="connsiteX90" fmla="*/ 1531379 w 1897116"/>
              <a:gd name="connsiteY90" fmla="*/ 1043388 h 1087290"/>
              <a:gd name="connsiteX91" fmla="*/ 1532058 w 1897116"/>
              <a:gd name="connsiteY91" fmla="*/ 1045420 h 1087290"/>
              <a:gd name="connsiteX92" fmla="*/ 1531343 w 1897116"/>
              <a:gd name="connsiteY92" fmla="*/ 1046853 h 1087290"/>
              <a:gd name="connsiteX93" fmla="*/ 1772469 w 1897116"/>
              <a:gd name="connsiteY93" fmla="*/ 1050640 h 1087290"/>
              <a:gd name="connsiteX94" fmla="*/ 1770766 w 1897116"/>
              <a:gd name="connsiteY94" fmla="*/ 1050379 h 1087290"/>
              <a:gd name="connsiteX95" fmla="*/ 1771020 w 1897116"/>
              <a:gd name="connsiteY95" fmla="*/ 1049962 h 1087290"/>
              <a:gd name="connsiteX96" fmla="*/ 1772316 w 1897116"/>
              <a:gd name="connsiteY96" fmla="*/ 1049944 h 1087290"/>
              <a:gd name="connsiteX97" fmla="*/ 1772469 w 1897116"/>
              <a:gd name="connsiteY97" fmla="*/ 1050640 h 1087290"/>
              <a:gd name="connsiteX98" fmla="*/ 1577023 w 1897116"/>
              <a:gd name="connsiteY98" fmla="*/ 1051808 h 1087290"/>
              <a:gd name="connsiteX99" fmla="*/ 1576749 w 1897116"/>
              <a:gd name="connsiteY99" fmla="*/ 1051794 h 1087290"/>
              <a:gd name="connsiteX100" fmla="*/ 1572652 w 1897116"/>
              <a:gd name="connsiteY100" fmla="*/ 1051002 h 1087290"/>
              <a:gd name="connsiteX101" fmla="*/ 1577023 w 1897116"/>
              <a:gd name="connsiteY101" fmla="*/ 1051808 h 1087290"/>
              <a:gd name="connsiteX102" fmla="*/ 1579093 w 1897116"/>
              <a:gd name="connsiteY102" fmla="*/ 1052189 h 1087290"/>
              <a:gd name="connsiteX103" fmla="*/ 1577023 w 1897116"/>
              <a:gd name="connsiteY103" fmla="*/ 1051808 h 1087290"/>
              <a:gd name="connsiteX104" fmla="*/ 1578305 w 1897116"/>
              <a:gd name="connsiteY104" fmla="*/ 1051874 h 1087290"/>
              <a:gd name="connsiteX105" fmla="*/ 1579093 w 1897116"/>
              <a:gd name="connsiteY105" fmla="*/ 1052189 h 1087290"/>
              <a:gd name="connsiteX106" fmla="*/ 1769347 w 1897116"/>
              <a:gd name="connsiteY106" fmla="*/ 1052704 h 1087290"/>
              <a:gd name="connsiteX107" fmla="*/ 1767327 w 1897116"/>
              <a:gd name="connsiteY107" fmla="*/ 1050013 h 1087290"/>
              <a:gd name="connsiteX108" fmla="*/ 1768300 w 1897116"/>
              <a:gd name="connsiteY108" fmla="*/ 1049999 h 1087290"/>
              <a:gd name="connsiteX109" fmla="*/ 1770766 w 1897116"/>
              <a:gd name="connsiteY109" fmla="*/ 1050379 h 1087290"/>
              <a:gd name="connsiteX110" fmla="*/ 1769347 w 1897116"/>
              <a:gd name="connsiteY110" fmla="*/ 1052704 h 1087290"/>
              <a:gd name="connsiteX111" fmla="*/ 1586399 w 1897116"/>
              <a:gd name="connsiteY111" fmla="*/ 1054274 h 1087290"/>
              <a:gd name="connsiteX112" fmla="*/ 1584764 w 1897116"/>
              <a:gd name="connsiteY112" fmla="*/ 1052756 h 1087290"/>
              <a:gd name="connsiteX113" fmla="*/ 1586403 w 1897116"/>
              <a:gd name="connsiteY113" fmla="*/ 1053077 h 1087290"/>
              <a:gd name="connsiteX114" fmla="*/ 1586399 w 1897116"/>
              <a:gd name="connsiteY114" fmla="*/ 1054274 h 1087290"/>
              <a:gd name="connsiteX115" fmla="*/ 1532200 w 1897116"/>
              <a:gd name="connsiteY115" fmla="*/ 1066192 h 1087290"/>
              <a:gd name="connsiteX116" fmla="*/ 1535753 w 1897116"/>
              <a:gd name="connsiteY116" fmla="*/ 1064310 h 1087290"/>
              <a:gd name="connsiteX117" fmla="*/ 1536198 w 1897116"/>
              <a:gd name="connsiteY117" fmla="*/ 1065275 h 1087290"/>
              <a:gd name="connsiteX118" fmla="*/ 1532200 w 1897116"/>
              <a:gd name="connsiteY118" fmla="*/ 1066192 h 1087290"/>
              <a:gd name="connsiteX119" fmla="*/ 1184015 w 1897116"/>
              <a:gd name="connsiteY119" fmla="*/ 1086520 h 1087290"/>
              <a:gd name="connsiteX120" fmla="*/ 1182000 w 1897116"/>
              <a:gd name="connsiteY120" fmla="*/ 1086397 h 1087290"/>
              <a:gd name="connsiteX121" fmla="*/ 1180598 w 1897116"/>
              <a:gd name="connsiteY121" fmla="*/ 1084050 h 1087290"/>
              <a:gd name="connsiteX122" fmla="*/ 1175691 w 1897116"/>
              <a:gd name="connsiteY122" fmla="*/ 1077637 h 1087290"/>
              <a:gd name="connsiteX123" fmla="*/ 1173763 w 1897116"/>
              <a:gd name="connsiteY123" fmla="*/ 1074880 h 1087290"/>
              <a:gd name="connsiteX124" fmla="*/ 1168067 w 1897116"/>
              <a:gd name="connsiteY124" fmla="*/ 1070460 h 1087290"/>
              <a:gd name="connsiteX125" fmla="*/ 1165876 w 1897116"/>
              <a:gd name="connsiteY125" fmla="*/ 1071851 h 1087290"/>
              <a:gd name="connsiteX126" fmla="*/ 1161582 w 1897116"/>
              <a:gd name="connsiteY126" fmla="*/ 1065547 h 1087290"/>
              <a:gd name="connsiteX127" fmla="*/ 1156675 w 1897116"/>
              <a:gd name="connsiteY127" fmla="*/ 1062900 h 1087290"/>
              <a:gd name="connsiteX128" fmla="*/ 1153082 w 1897116"/>
              <a:gd name="connsiteY128" fmla="*/ 1063883 h 1087290"/>
              <a:gd name="connsiteX129" fmla="*/ 1145984 w 1897116"/>
              <a:gd name="connsiteY129" fmla="*/ 1059244 h 1087290"/>
              <a:gd name="connsiteX130" fmla="*/ 1145283 w 1897116"/>
              <a:gd name="connsiteY130" fmla="*/ 1059953 h 1087290"/>
              <a:gd name="connsiteX131" fmla="*/ 1147649 w 1897116"/>
              <a:gd name="connsiteY131" fmla="*/ 1061863 h 1087290"/>
              <a:gd name="connsiteX132" fmla="*/ 1142742 w 1897116"/>
              <a:gd name="connsiteY132" fmla="*/ 1064183 h 1087290"/>
              <a:gd name="connsiteX133" fmla="*/ 1135293 w 1897116"/>
              <a:gd name="connsiteY133" fmla="*/ 1067267 h 1087290"/>
              <a:gd name="connsiteX134" fmla="*/ 1131964 w 1897116"/>
              <a:gd name="connsiteY134" fmla="*/ 1066912 h 1087290"/>
              <a:gd name="connsiteX135" fmla="*/ 1130649 w 1897116"/>
              <a:gd name="connsiteY135" fmla="*/ 1068986 h 1087290"/>
              <a:gd name="connsiteX136" fmla="*/ 1128020 w 1897116"/>
              <a:gd name="connsiteY136" fmla="*/ 1065711 h 1087290"/>
              <a:gd name="connsiteX137" fmla="*/ 1125128 w 1897116"/>
              <a:gd name="connsiteY137" fmla="*/ 1059899 h 1087290"/>
              <a:gd name="connsiteX138" fmla="*/ 1123376 w 1897116"/>
              <a:gd name="connsiteY138" fmla="*/ 1056105 h 1087290"/>
              <a:gd name="connsiteX139" fmla="*/ 1121623 w 1897116"/>
              <a:gd name="connsiteY139" fmla="*/ 1058070 h 1087290"/>
              <a:gd name="connsiteX140" fmla="*/ 1120572 w 1897116"/>
              <a:gd name="connsiteY140" fmla="*/ 1054905 h 1087290"/>
              <a:gd name="connsiteX141" fmla="*/ 1120835 w 1897116"/>
              <a:gd name="connsiteY141" fmla="*/ 1050129 h 1087290"/>
              <a:gd name="connsiteX142" fmla="*/ 1118118 w 1897116"/>
              <a:gd name="connsiteY142" fmla="*/ 1046363 h 1087290"/>
              <a:gd name="connsiteX143" fmla="*/ 1114701 w 1897116"/>
              <a:gd name="connsiteY143" fmla="*/ 1049938 h 1087290"/>
              <a:gd name="connsiteX144" fmla="*/ 1106902 w 1897116"/>
              <a:gd name="connsiteY144" fmla="*/ 1050729 h 1087290"/>
              <a:gd name="connsiteX145" fmla="*/ 1102082 w 1897116"/>
              <a:gd name="connsiteY145" fmla="*/ 1047700 h 1087290"/>
              <a:gd name="connsiteX146" fmla="*/ 1097438 w 1897116"/>
              <a:gd name="connsiteY146" fmla="*/ 1052749 h 1087290"/>
              <a:gd name="connsiteX147" fmla="*/ 1088499 w 1897116"/>
              <a:gd name="connsiteY147" fmla="*/ 1054686 h 1087290"/>
              <a:gd name="connsiteX148" fmla="*/ 1079649 w 1897116"/>
              <a:gd name="connsiteY148" fmla="*/ 1055832 h 1087290"/>
              <a:gd name="connsiteX149" fmla="*/ 1078334 w 1897116"/>
              <a:gd name="connsiteY149" fmla="*/ 1055641 h 1087290"/>
              <a:gd name="connsiteX150" fmla="*/ 1082803 w 1897116"/>
              <a:gd name="connsiteY150" fmla="*/ 1048628 h 1087290"/>
              <a:gd name="connsiteX151" fmla="*/ 1086133 w 1897116"/>
              <a:gd name="connsiteY151" fmla="*/ 1043061 h 1087290"/>
              <a:gd name="connsiteX152" fmla="*/ 1089551 w 1897116"/>
              <a:gd name="connsiteY152" fmla="*/ 1036702 h 1087290"/>
              <a:gd name="connsiteX153" fmla="*/ 1081840 w 1897116"/>
              <a:gd name="connsiteY153" fmla="*/ 1037112 h 1087290"/>
              <a:gd name="connsiteX154" fmla="*/ 1074128 w 1897116"/>
              <a:gd name="connsiteY154" fmla="*/ 1037466 h 1087290"/>
              <a:gd name="connsiteX155" fmla="*/ 1066943 w 1897116"/>
              <a:gd name="connsiteY155" fmla="*/ 1040769 h 1087290"/>
              <a:gd name="connsiteX156" fmla="*/ 1060633 w 1897116"/>
              <a:gd name="connsiteY156" fmla="*/ 1039131 h 1087290"/>
              <a:gd name="connsiteX157" fmla="*/ 1051257 w 1897116"/>
              <a:gd name="connsiteY157" fmla="*/ 1041314 h 1087290"/>
              <a:gd name="connsiteX158" fmla="*/ 1047752 w 1897116"/>
              <a:gd name="connsiteY158" fmla="*/ 1042188 h 1087290"/>
              <a:gd name="connsiteX159" fmla="*/ 1042056 w 1897116"/>
              <a:gd name="connsiteY159" fmla="*/ 1043852 h 1087290"/>
              <a:gd name="connsiteX160" fmla="*/ 1035221 w 1897116"/>
              <a:gd name="connsiteY160" fmla="*/ 1045954 h 1087290"/>
              <a:gd name="connsiteX161" fmla="*/ 1027422 w 1897116"/>
              <a:gd name="connsiteY161" fmla="*/ 1048710 h 1087290"/>
              <a:gd name="connsiteX162" fmla="*/ 1024618 w 1897116"/>
              <a:gd name="connsiteY162" fmla="*/ 1049119 h 1087290"/>
              <a:gd name="connsiteX163" fmla="*/ 1019360 w 1897116"/>
              <a:gd name="connsiteY163" fmla="*/ 1051548 h 1087290"/>
              <a:gd name="connsiteX164" fmla="*/ 1014277 w 1897116"/>
              <a:gd name="connsiteY164" fmla="*/ 1051684 h 1087290"/>
              <a:gd name="connsiteX165" fmla="*/ 1007880 w 1897116"/>
              <a:gd name="connsiteY165" fmla="*/ 1050702 h 1087290"/>
              <a:gd name="connsiteX166" fmla="*/ 1009107 w 1897116"/>
              <a:gd name="connsiteY166" fmla="*/ 1050565 h 1087290"/>
              <a:gd name="connsiteX167" fmla="*/ 1008231 w 1897116"/>
              <a:gd name="connsiteY167" fmla="*/ 1044726 h 1087290"/>
              <a:gd name="connsiteX168" fmla="*/ 1011736 w 1897116"/>
              <a:gd name="connsiteY168" fmla="*/ 1038667 h 1087290"/>
              <a:gd name="connsiteX169" fmla="*/ 1011813 w 1897116"/>
              <a:gd name="connsiteY169" fmla="*/ 1037202 h 1087290"/>
              <a:gd name="connsiteX170" fmla="*/ 1012349 w 1897116"/>
              <a:gd name="connsiteY170" fmla="*/ 1036402 h 1087290"/>
              <a:gd name="connsiteX171" fmla="*/ 1011911 w 1897116"/>
              <a:gd name="connsiteY171" fmla="*/ 1035345 h 1087290"/>
              <a:gd name="connsiteX172" fmla="*/ 1011813 w 1897116"/>
              <a:gd name="connsiteY172" fmla="*/ 1037202 h 1087290"/>
              <a:gd name="connsiteX173" fmla="*/ 1010246 w 1897116"/>
              <a:gd name="connsiteY173" fmla="*/ 1039540 h 1087290"/>
              <a:gd name="connsiteX174" fmla="*/ 1001396 w 1897116"/>
              <a:gd name="connsiteY174" fmla="*/ 1041069 h 1087290"/>
              <a:gd name="connsiteX175" fmla="*/ 994648 w 1897116"/>
              <a:gd name="connsiteY175" fmla="*/ 1044043 h 1087290"/>
              <a:gd name="connsiteX176" fmla="*/ 990442 w 1897116"/>
              <a:gd name="connsiteY176" fmla="*/ 1045735 h 1087290"/>
              <a:gd name="connsiteX177" fmla="*/ 985272 w 1897116"/>
              <a:gd name="connsiteY177" fmla="*/ 1044180 h 1087290"/>
              <a:gd name="connsiteX178" fmla="*/ 982818 w 1897116"/>
              <a:gd name="connsiteY178" fmla="*/ 1048028 h 1087290"/>
              <a:gd name="connsiteX179" fmla="*/ 981416 w 1897116"/>
              <a:gd name="connsiteY179" fmla="*/ 1042815 h 1087290"/>
              <a:gd name="connsiteX180" fmla="*/ 980102 w 1897116"/>
              <a:gd name="connsiteY180" fmla="*/ 1037603 h 1087290"/>
              <a:gd name="connsiteX181" fmla="*/ 978437 w 1897116"/>
              <a:gd name="connsiteY181" fmla="*/ 1036593 h 1087290"/>
              <a:gd name="connsiteX182" fmla="*/ 980628 w 1897116"/>
              <a:gd name="connsiteY182" fmla="*/ 1029853 h 1087290"/>
              <a:gd name="connsiteX183" fmla="*/ 980102 w 1897116"/>
              <a:gd name="connsiteY183" fmla="*/ 1024368 h 1087290"/>
              <a:gd name="connsiteX184" fmla="*/ 977385 w 1897116"/>
              <a:gd name="connsiteY184" fmla="*/ 1019401 h 1087290"/>
              <a:gd name="connsiteX185" fmla="*/ 979839 w 1897116"/>
              <a:gd name="connsiteY185" fmla="*/ 1019264 h 1087290"/>
              <a:gd name="connsiteX186" fmla="*/ 979576 w 1897116"/>
              <a:gd name="connsiteY186" fmla="*/ 1018855 h 1087290"/>
              <a:gd name="connsiteX187" fmla="*/ 977385 w 1897116"/>
              <a:gd name="connsiteY187" fmla="*/ 1019401 h 1087290"/>
              <a:gd name="connsiteX188" fmla="*/ 973705 w 1897116"/>
              <a:gd name="connsiteY188" fmla="*/ 1021147 h 1087290"/>
              <a:gd name="connsiteX189" fmla="*/ 966957 w 1897116"/>
              <a:gd name="connsiteY189" fmla="*/ 1024122 h 1087290"/>
              <a:gd name="connsiteX190" fmla="*/ 966519 w 1897116"/>
              <a:gd name="connsiteY190" fmla="*/ 1024040 h 1087290"/>
              <a:gd name="connsiteX191" fmla="*/ 960823 w 1897116"/>
              <a:gd name="connsiteY191" fmla="*/ 1025241 h 1087290"/>
              <a:gd name="connsiteX192" fmla="*/ 954602 w 1897116"/>
              <a:gd name="connsiteY192" fmla="*/ 1025759 h 1087290"/>
              <a:gd name="connsiteX193" fmla="*/ 949169 w 1897116"/>
              <a:gd name="connsiteY193" fmla="*/ 1024531 h 1087290"/>
              <a:gd name="connsiteX194" fmla="*/ 943385 w 1897116"/>
              <a:gd name="connsiteY194" fmla="*/ 1022375 h 1087290"/>
              <a:gd name="connsiteX195" fmla="*/ 934184 w 1897116"/>
              <a:gd name="connsiteY195" fmla="*/ 1019101 h 1087290"/>
              <a:gd name="connsiteX196" fmla="*/ 926823 w 1897116"/>
              <a:gd name="connsiteY196" fmla="*/ 1018118 h 1087290"/>
              <a:gd name="connsiteX197" fmla="*/ 924369 w 1897116"/>
              <a:gd name="connsiteY197" fmla="*/ 1016263 h 1087290"/>
              <a:gd name="connsiteX198" fmla="*/ 920514 w 1897116"/>
              <a:gd name="connsiteY198" fmla="*/ 1009959 h 1087290"/>
              <a:gd name="connsiteX199" fmla="*/ 915431 w 1897116"/>
              <a:gd name="connsiteY199" fmla="*/ 1011923 h 1087290"/>
              <a:gd name="connsiteX200" fmla="*/ 909472 w 1897116"/>
              <a:gd name="connsiteY200" fmla="*/ 1014680 h 1087290"/>
              <a:gd name="connsiteX201" fmla="*/ 904478 w 1897116"/>
              <a:gd name="connsiteY201" fmla="*/ 1017081 h 1087290"/>
              <a:gd name="connsiteX202" fmla="*/ 898957 w 1897116"/>
              <a:gd name="connsiteY202" fmla="*/ 1018418 h 1087290"/>
              <a:gd name="connsiteX203" fmla="*/ 895978 w 1897116"/>
              <a:gd name="connsiteY203" fmla="*/ 1020192 h 1087290"/>
              <a:gd name="connsiteX204" fmla="*/ 887127 w 1897116"/>
              <a:gd name="connsiteY204" fmla="*/ 1023713 h 1087290"/>
              <a:gd name="connsiteX205" fmla="*/ 878189 w 1897116"/>
              <a:gd name="connsiteY205" fmla="*/ 1026305 h 1087290"/>
              <a:gd name="connsiteX206" fmla="*/ 875297 w 1897116"/>
              <a:gd name="connsiteY206" fmla="*/ 1029880 h 1087290"/>
              <a:gd name="connsiteX207" fmla="*/ 867586 w 1897116"/>
              <a:gd name="connsiteY207" fmla="*/ 1035611 h 1087290"/>
              <a:gd name="connsiteX208" fmla="*/ 863467 w 1897116"/>
              <a:gd name="connsiteY208" fmla="*/ 1037275 h 1087290"/>
              <a:gd name="connsiteX209" fmla="*/ 858998 w 1897116"/>
              <a:gd name="connsiteY209" fmla="*/ 1040550 h 1087290"/>
              <a:gd name="connsiteX210" fmla="*/ 854792 w 1897116"/>
              <a:gd name="connsiteY210" fmla="*/ 1044016 h 1087290"/>
              <a:gd name="connsiteX211" fmla="*/ 848395 w 1897116"/>
              <a:gd name="connsiteY211" fmla="*/ 1049201 h 1087290"/>
              <a:gd name="connsiteX212" fmla="*/ 841910 w 1897116"/>
              <a:gd name="connsiteY212" fmla="*/ 1049065 h 1087290"/>
              <a:gd name="connsiteX213" fmla="*/ 841910 w 1897116"/>
              <a:gd name="connsiteY213" fmla="*/ 1052885 h 1087290"/>
              <a:gd name="connsiteX214" fmla="*/ 837091 w 1897116"/>
              <a:gd name="connsiteY214" fmla="*/ 1053649 h 1087290"/>
              <a:gd name="connsiteX215" fmla="*/ 831132 w 1897116"/>
              <a:gd name="connsiteY215" fmla="*/ 1053485 h 1087290"/>
              <a:gd name="connsiteX216" fmla="*/ 822807 w 1897116"/>
              <a:gd name="connsiteY216" fmla="*/ 1053294 h 1087290"/>
              <a:gd name="connsiteX217" fmla="*/ 813869 w 1897116"/>
              <a:gd name="connsiteY217" fmla="*/ 1054877 h 1087290"/>
              <a:gd name="connsiteX218" fmla="*/ 806070 w 1897116"/>
              <a:gd name="connsiteY218" fmla="*/ 1058862 h 1087290"/>
              <a:gd name="connsiteX219" fmla="*/ 800637 w 1897116"/>
              <a:gd name="connsiteY219" fmla="*/ 1063855 h 1087290"/>
              <a:gd name="connsiteX220" fmla="*/ 800111 w 1897116"/>
              <a:gd name="connsiteY220" fmla="*/ 1069832 h 1087290"/>
              <a:gd name="connsiteX221" fmla="*/ 797482 w 1897116"/>
              <a:gd name="connsiteY221" fmla="*/ 1070159 h 1087290"/>
              <a:gd name="connsiteX222" fmla="*/ 796431 w 1897116"/>
              <a:gd name="connsiteY222" fmla="*/ 1073107 h 1087290"/>
              <a:gd name="connsiteX223" fmla="*/ 796343 w 1897116"/>
              <a:gd name="connsiteY223" fmla="*/ 1074362 h 1087290"/>
              <a:gd name="connsiteX224" fmla="*/ 795379 w 1897116"/>
              <a:gd name="connsiteY224" fmla="*/ 1076081 h 1087290"/>
              <a:gd name="connsiteX225" fmla="*/ 795116 w 1897116"/>
              <a:gd name="connsiteY225" fmla="*/ 1076272 h 1087290"/>
              <a:gd name="connsiteX226" fmla="*/ 794941 w 1897116"/>
              <a:gd name="connsiteY226" fmla="*/ 1076818 h 1087290"/>
              <a:gd name="connsiteX227" fmla="*/ 794766 w 1897116"/>
              <a:gd name="connsiteY227" fmla="*/ 1077391 h 1087290"/>
              <a:gd name="connsiteX228" fmla="*/ 788631 w 1897116"/>
              <a:gd name="connsiteY228" fmla="*/ 1073598 h 1087290"/>
              <a:gd name="connsiteX229" fmla="*/ 782059 w 1897116"/>
              <a:gd name="connsiteY229" fmla="*/ 1071169 h 1087290"/>
              <a:gd name="connsiteX230" fmla="*/ 776977 w 1897116"/>
              <a:gd name="connsiteY230" fmla="*/ 1068331 h 1087290"/>
              <a:gd name="connsiteX231" fmla="*/ 771368 w 1897116"/>
              <a:gd name="connsiteY231" fmla="*/ 1067785 h 1087290"/>
              <a:gd name="connsiteX232" fmla="*/ 770667 w 1897116"/>
              <a:gd name="connsiteY232" fmla="*/ 1070432 h 1087290"/>
              <a:gd name="connsiteX233" fmla="*/ 771631 w 1897116"/>
              <a:gd name="connsiteY233" fmla="*/ 1072561 h 1087290"/>
              <a:gd name="connsiteX234" fmla="*/ 765234 w 1897116"/>
              <a:gd name="connsiteY234" fmla="*/ 1072861 h 1087290"/>
              <a:gd name="connsiteX235" fmla="*/ 764533 w 1897116"/>
              <a:gd name="connsiteY235" fmla="*/ 1072206 h 1087290"/>
              <a:gd name="connsiteX236" fmla="*/ 765234 w 1897116"/>
              <a:gd name="connsiteY236" fmla="*/ 1072861 h 1087290"/>
              <a:gd name="connsiteX237" fmla="*/ 763219 w 1897116"/>
              <a:gd name="connsiteY237" fmla="*/ 1072670 h 1087290"/>
              <a:gd name="connsiteX238" fmla="*/ 762781 w 1897116"/>
              <a:gd name="connsiteY238" fmla="*/ 1072561 h 1087290"/>
              <a:gd name="connsiteX239" fmla="*/ 763131 w 1897116"/>
              <a:gd name="connsiteY239" fmla="*/ 1071333 h 1087290"/>
              <a:gd name="connsiteX240" fmla="*/ 762781 w 1897116"/>
              <a:gd name="connsiteY240" fmla="*/ 1072561 h 1087290"/>
              <a:gd name="connsiteX241" fmla="*/ 757961 w 1897116"/>
              <a:gd name="connsiteY241" fmla="*/ 1070623 h 1087290"/>
              <a:gd name="connsiteX242" fmla="*/ 764008 w 1897116"/>
              <a:gd name="connsiteY242" fmla="*/ 1068195 h 1087290"/>
              <a:gd name="connsiteX243" fmla="*/ 766286 w 1897116"/>
              <a:gd name="connsiteY243" fmla="*/ 1064183 h 1087290"/>
              <a:gd name="connsiteX244" fmla="*/ 766286 w 1897116"/>
              <a:gd name="connsiteY244" fmla="*/ 1058807 h 1087290"/>
              <a:gd name="connsiteX245" fmla="*/ 769704 w 1897116"/>
              <a:gd name="connsiteY245" fmla="*/ 1055559 h 1087290"/>
              <a:gd name="connsiteX246" fmla="*/ 769616 w 1897116"/>
              <a:gd name="connsiteY246" fmla="*/ 1052176 h 1087290"/>
              <a:gd name="connsiteX247" fmla="*/ 773296 w 1897116"/>
              <a:gd name="connsiteY247" fmla="*/ 1051302 h 1087290"/>
              <a:gd name="connsiteX248" fmla="*/ 769528 w 1897116"/>
              <a:gd name="connsiteY248" fmla="*/ 1046308 h 1087290"/>
              <a:gd name="connsiteX249" fmla="*/ 765935 w 1897116"/>
              <a:gd name="connsiteY249" fmla="*/ 1048846 h 1087290"/>
              <a:gd name="connsiteX250" fmla="*/ 759889 w 1897116"/>
              <a:gd name="connsiteY250" fmla="*/ 1051630 h 1087290"/>
              <a:gd name="connsiteX251" fmla="*/ 758750 w 1897116"/>
              <a:gd name="connsiteY251" fmla="*/ 1055150 h 1087290"/>
              <a:gd name="connsiteX252" fmla="*/ 757260 w 1897116"/>
              <a:gd name="connsiteY252" fmla="*/ 1058452 h 1087290"/>
              <a:gd name="connsiteX253" fmla="*/ 752441 w 1897116"/>
              <a:gd name="connsiteY253" fmla="*/ 1061618 h 1087290"/>
              <a:gd name="connsiteX254" fmla="*/ 747971 w 1897116"/>
              <a:gd name="connsiteY254" fmla="*/ 1064047 h 1087290"/>
              <a:gd name="connsiteX255" fmla="*/ 742626 w 1897116"/>
              <a:gd name="connsiteY255" fmla="*/ 1067540 h 1087290"/>
              <a:gd name="connsiteX256" fmla="*/ 738157 w 1897116"/>
              <a:gd name="connsiteY256" fmla="*/ 1070623 h 1087290"/>
              <a:gd name="connsiteX257" fmla="*/ 734126 w 1897116"/>
              <a:gd name="connsiteY257" fmla="*/ 1074253 h 1087290"/>
              <a:gd name="connsiteX258" fmla="*/ 733425 w 1897116"/>
              <a:gd name="connsiteY258" fmla="*/ 1071769 h 1087290"/>
              <a:gd name="connsiteX259" fmla="*/ 734564 w 1897116"/>
              <a:gd name="connsiteY259" fmla="*/ 1071633 h 1087290"/>
              <a:gd name="connsiteX260" fmla="*/ 733425 w 1897116"/>
              <a:gd name="connsiteY260" fmla="*/ 1071769 h 1087290"/>
              <a:gd name="connsiteX261" fmla="*/ 733425 w 1897116"/>
              <a:gd name="connsiteY261" fmla="*/ 1069914 h 1087290"/>
              <a:gd name="connsiteX262" fmla="*/ 729745 w 1897116"/>
              <a:gd name="connsiteY262" fmla="*/ 1065138 h 1087290"/>
              <a:gd name="connsiteX263" fmla="*/ 721770 w 1897116"/>
              <a:gd name="connsiteY263" fmla="*/ 1061563 h 1087290"/>
              <a:gd name="connsiteX264" fmla="*/ 712744 w 1897116"/>
              <a:gd name="connsiteY264" fmla="*/ 1061781 h 1087290"/>
              <a:gd name="connsiteX265" fmla="*/ 705559 w 1897116"/>
              <a:gd name="connsiteY265" fmla="*/ 1063446 h 1087290"/>
              <a:gd name="connsiteX266" fmla="*/ 701265 w 1897116"/>
              <a:gd name="connsiteY266" fmla="*/ 1067512 h 1087290"/>
              <a:gd name="connsiteX267" fmla="*/ 691976 w 1897116"/>
              <a:gd name="connsiteY267" fmla="*/ 1069859 h 1087290"/>
              <a:gd name="connsiteX268" fmla="*/ 684878 w 1897116"/>
              <a:gd name="connsiteY268" fmla="*/ 1073571 h 1087290"/>
              <a:gd name="connsiteX269" fmla="*/ 678131 w 1897116"/>
              <a:gd name="connsiteY269" fmla="*/ 1075972 h 1087290"/>
              <a:gd name="connsiteX270" fmla="*/ 677956 w 1897116"/>
              <a:gd name="connsiteY270" fmla="*/ 1069996 h 1087290"/>
              <a:gd name="connsiteX271" fmla="*/ 680234 w 1897116"/>
              <a:gd name="connsiteY271" fmla="*/ 1062627 h 1087290"/>
              <a:gd name="connsiteX272" fmla="*/ 682950 w 1897116"/>
              <a:gd name="connsiteY272" fmla="*/ 1056405 h 1087290"/>
              <a:gd name="connsiteX273" fmla="*/ 684352 w 1897116"/>
              <a:gd name="connsiteY273" fmla="*/ 1048928 h 1087290"/>
              <a:gd name="connsiteX274" fmla="*/ 686631 w 1897116"/>
              <a:gd name="connsiteY274" fmla="*/ 1041560 h 1087290"/>
              <a:gd name="connsiteX275" fmla="*/ 680409 w 1897116"/>
              <a:gd name="connsiteY275" fmla="*/ 1047018 h 1087290"/>
              <a:gd name="connsiteX276" fmla="*/ 674538 w 1897116"/>
              <a:gd name="connsiteY276" fmla="*/ 1052285 h 1087290"/>
              <a:gd name="connsiteX277" fmla="*/ 668842 w 1897116"/>
              <a:gd name="connsiteY277" fmla="*/ 1057115 h 1087290"/>
              <a:gd name="connsiteX278" fmla="*/ 662620 w 1897116"/>
              <a:gd name="connsiteY278" fmla="*/ 1062573 h 1087290"/>
              <a:gd name="connsiteX279" fmla="*/ 655610 w 1897116"/>
              <a:gd name="connsiteY279" fmla="*/ 1068004 h 1087290"/>
              <a:gd name="connsiteX280" fmla="*/ 651754 w 1897116"/>
              <a:gd name="connsiteY280" fmla="*/ 1069368 h 1087290"/>
              <a:gd name="connsiteX281" fmla="*/ 650002 w 1897116"/>
              <a:gd name="connsiteY281" fmla="*/ 1067430 h 1087290"/>
              <a:gd name="connsiteX282" fmla="*/ 651667 w 1897116"/>
              <a:gd name="connsiteY282" fmla="*/ 1062627 h 1087290"/>
              <a:gd name="connsiteX283" fmla="*/ 642378 w 1897116"/>
              <a:gd name="connsiteY283" fmla="*/ 1066448 h 1087290"/>
              <a:gd name="connsiteX284" fmla="*/ 633089 w 1897116"/>
              <a:gd name="connsiteY284" fmla="*/ 1070296 h 1087290"/>
              <a:gd name="connsiteX285" fmla="*/ 625816 w 1897116"/>
              <a:gd name="connsiteY285" fmla="*/ 1073598 h 1087290"/>
              <a:gd name="connsiteX286" fmla="*/ 620120 w 1897116"/>
              <a:gd name="connsiteY286" fmla="*/ 1075972 h 1087290"/>
              <a:gd name="connsiteX287" fmla="*/ 614599 w 1897116"/>
              <a:gd name="connsiteY287" fmla="*/ 1078183 h 1087290"/>
              <a:gd name="connsiteX288" fmla="*/ 607764 w 1897116"/>
              <a:gd name="connsiteY288" fmla="*/ 1077609 h 1087290"/>
              <a:gd name="connsiteX289" fmla="*/ 600929 w 1897116"/>
              <a:gd name="connsiteY289" fmla="*/ 1077036 h 1087290"/>
              <a:gd name="connsiteX290" fmla="*/ 594883 w 1897116"/>
              <a:gd name="connsiteY290" fmla="*/ 1076654 h 1087290"/>
              <a:gd name="connsiteX291" fmla="*/ 588398 w 1897116"/>
              <a:gd name="connsiteY291" fmla="*/ 1076354 h 1087290"/>
              <a:gd name="connsiteX292" fmla="*/ 579460 w 1897116"/>
              <a:gd name="connsiteY292" fmla="*/ 1075917 h 1087290"/>
              <a:gd name="connsiteX293" fmla="*/ 577006 w 1897116"/>
              <a:gd name="connsiteY293" fmla="*/ 1073652 h 1087290"/>
              <a:gd name="connsiteX294" fmla="*/ 572537 w 1897116"/>
              <a:gd name="connsiteY294" fmla="*/ 1074717 h 1087290"/>
              <a:gd name="connsiteX295" fmla="*/ 577357 w 1897116"/>
              <a:gd name="connsiteY295" fmla="*/ 1070432 h 1087290"/>
              <a:gd name="connsiteX296" fmla="*/ 582878 w 1897116"/>
              <a:gd name="connsiteY296" fmla="*/ 1066721 h 1087290"/>
              <a:gd name="connsiteX297" fmla="*/ 581037 w 1897116"/>
              <a:gd name="connsiteY297" fmla="*/ 1066475 h 1087290"/>
              <a:gd name="connsiteX298" fmla="*/ 572274 w 1897116"/>
              <a:gd name="connsiteY298" fmla="*/ 1065220 h 1087290"/>
              <a:gd name="connsiteX299" fmla="*/ 564563 w 1897116"/>
              <a:gd name="connsiteY299" fmla="*/ 1067840 h 1087290"/>
              <a:gd name="connsiteX300" fmla="*/ 560532 w 1897116"/>
              <a:gd name="connsiteY300" fmla="*/ 1064756 h 1087290"/>
              <a:gd name="connsiteX301" fmla="*/ 547037 w 1897116"/>
              <a:gd name="connsiteY301" fmla="*/ 1064811 h 1087290"/>
              <a:gd name="connsiteX302" fmla="*/ 533630 w 1897116"/>
              <a:gd name="connsiteY302" fmla="*/ 1065657 h 1087290"/>
              <a:gd name="connsiteX303" fmla="*/ 528109 w 1897116"/>
              <a:gd name="connsiteY303" fmla="*/ 1066039 h 1087290"/>
              <a:gd name="connsiteX304" fmla="*/ 522676 w 1897116"/>
              <a:gd name="connsiteY304" fmla="*/ 1067076 h 1087290"/>
              <a:gd name="connsiteX305" fmla="*/ 524604 w 1897116"/>
              <a:gd name="connsiteY305" fmla="*/ 1064483 h 1087290"/>
              <a:gd name="connsiteX306" fmla="*/ 531614 w 1897116"/>
              <a:gd name="connsiteY306" fmla="*/ 1059626 h 1087290"/>
              <a:gd name="connsiteX307" fmla="*/ 537748 w 1897116"/>
              <a:gd name="connsiteY307" fmla="*/ 1055014 h 1087290"/>
              <a:gd name="connsiteX308" fmla="*/ 537924 w 1897116"/>
              <a:gd name="connsiteY308" fmla="*/ 1054386 h 1087290"/>
              <a:gd name="connsiteX309" fmla="*/ 536346 w 1897116"/>
              <a:gd name="connsiteY309" fmla="*/ 1053213 h 1087290"/>
              <a:gd name="connsiteX310" fmla="*/ 526795 w 1897116"/>
              <a:gd name="connsiteY310" fmla="*/ 1053840 h 1087290"/>
              <a:gd name="connsiteX311" fmla="*/ 517594 w 1897116"/>
              <a:gd name="connsiteY311" fmla="*/ 1054304 h 1087290"/>
              <a:gd name="connsiteX312" fmla="*/ 512774 w 1897116"/>
              <a:gd name="connsiteY312" fmla="*/ 1053977 h 1087290"/>
              <a:gd name="connsiteX313" fmla="*/ 505588 w 1897116"/>
              <a:gd name="connsiteY313" fmla="*/ 1054823 h 1087290"/>
              <a:gd name="connsiteX314" fmla="*/ 498490 w 1897116"/>
              <a:gd name="connsiteY314" fmla="*/ 1057142 h 1087290"/>
              <a:gd name="connsiteX315" fmla="*/ 494109 w 1897116"/>
              <a:gd name="connsiteY315" fmla="*/ 1056733 h 1087290"/>
              <a:gd name="connsiteX316" fmla="*/ 492795 w 1897116"/>
              <a:gd name="connsiteY316" fmla="*/ 1058179 h 1087290"/>
              <a:gd name="connsiteX317" fmla="*/ 484820 w 1897116"/>
              <a:gd name="connsiteY317" fmla="*/ 1060990 h 1087290"/>
              <a:gd name="connsiteX318" fmla="*/ 478511 w 1897116"/>
              <a:gd name="connsiteY318" fmla="*/ 1062464 h 1087290"/>
              <a:gd name="connsiteX319" fmla="*/ 472640 w 1897116"/>
              <a:gd name="connsiteY319" fmla="*/ 1064510 h 1087290"/>
              <a:gd name="connsiteX320" fmla="*/ 466418 w 1897116"/>
              <a:gd name="connsiteY320" fmla="*/ 1064292 h 1087290"/>
              <a:gd name="connsiteX321" fmla="*/ 460284 w 1897116"/>
              <a:gd name="connsiteY321" fmla="*/ 1066639 h 1087290"/>
              <a:gd name="connsiteX322" fmla="*/ 453011 w 1897116"/>
              <a:gd name="connsiteY322" fmla="*/ 1069041 h 1087290"/>
              <a:gd name="connsiteX323" fmla="*/ 447841 w 1897116"/>
              <a:gd name="connsiteY323" fmla="*/ 1068658 h 1087290"/>
              <a:gd name="connsiteX324" fmla="*/ 441969 w 1897116"/>
              <a:gd name="connsiteY324" fmla="*/ 1069614 h 1087290"/>
              <a:gd name="connsiteX325" fmla="*/ 435660 w 1897116"/>
              <a:gd name="connsiteY325" fmla="*/ 1071906 h 1087290"/>
              <a:gd name="connsiteX326" fmla="*/ 429176 w 1897116"/>
              <a:gd name="connsiteY326" fmla="*/ 1074144 h 1087290"/>
              <a:gd name="connsiteX327" fmla="*/ 425495 w 1897116"/>
              <a:gd name="connsiteY327" fmla="*/ 1074580 h 1087290"/>
              <a:gd name="connsiteX328" fmla="*/ 416557 w 1897116"/>
              <a:gd name="connsiteY328" fmla="*/ 1076027 h 1087290"/>
              <a:gd name="connsiteX329" fmla="*/ 408758 w 1897116"/>
              <a:gd name="connsiteY329" fmla="*/ 1074799 h 1087290"/>
              <a:gd name="connsiteX330" fmla="*/ 406655 w 1897116"/>
              <a:gd name="connsiteY330" fmla="*/ 1073270 h 1087290"/>
              <a:gd name="connsiteX331" fmla="*/ 401748 w 1897116"/>
              <a:gd name="connsiteY331" fmla="*/ 1067785 h 1087290"/>
              <a:gd name="connsiteX332" fmla="*/ 397191 w 1897116"/>
              <a:gd name="connsiteY332" fmla="*/ 1064865 h 1087290"/>
              <a:gd name="connsiteX333" fmla="*/ 391583 w 1897116"/>
              <a:gd name="connsiteY333" fmla="*/ 1062737 h 1087290"/>
              <a:gd name="connsiteX334" fmla="*/ 381768 w 1897116"/>
              <a:gd name="connsiteY334" fmla="*/ 1062491 h 1087290"/>
              <a:gd name="connsiteX335" fmla="*/ 374407 w 1897116"/>
              <a:gd name="connsiteY335" fmla="*/ 1065056 h 1087290"/>
              <a:gd name="connsiteX336" fmla="*/ 371340 w 1897116"/>
              <a:gd name="connsiteY336" fmla="*/ 1066421 h 1087290"/>
              <a:gd name="connsiteX337" fmla="*/ 369500 w 1897116"/>
              <a:gd name="connsiteY337" fmla="*/ 1064947 h 1087290"/>
              <a:gd name="connsiteX338" fmla="*/ 364680 w 1897116"/>
              <a:gd name="connsiteY338" fmla="*/ 1061891 h 1087290"/>
              <a:gd name="connsiteX339" fmla="*/ 363015 w 1897116"/>
              <a:gd name="connsiteY339" fmla="*/ 1060526 h 1087290"/>
              <a:gd name="connsiteX340" fmla="*/ 359598 w 1897116"/>
              <a:gd name="connsiteY340" fmla="*/ 1062300 h 1087290"/>
              <a:gd name="connsiteX341" fmla="*/ 355742 w 1897116"/>
              <a:gd name="connsiteY341" fmla="*/ 1064620 h 1087290"/>
              <a:gd name="connsiteX342" fmla="*/ 349520 w 1897116"/>
              <a:gd name="connsiteY342" fmla="*/ 1067567 h 1087290"/>
              <a:gd name="connsiteX343" fmla="*/ 347330 w 1897116"/>
              <a:gd name="connsiteY343" fmla="*/ 1071142 h 1087290"/>
              <a:gd name="connsiteX344" fmla="*/ 341020 w 1897116"/>
              <a:gd name="connsiteY344" fmla="*/ 1073216 h 1087290"/>
              <a:gd name="connsiteX345" fmla="*/ 335587 w 1897116"/>
              <a:gd name="connsiteY345" fmla="*/ 1071224 h 1087290"/>
              <a:gd name="connsiteX346" fmla="*/ 330943 w 1897116"/>
              <a:gd name="connsiteY346" fmla="*/ 1067212 h 1087290"/>
              <a:gd name="connsiteX347" fmla="*/ 325948 w 1897116"/>
              <a:gd name="connsiteY347" fmla="*/ 1062327 h 1087290"/>
              <a:gd name="connsiteX348" fmla="*/ 321041 w 1897116"/>
              <a:gd name="connsiteY348" fmla="*/ 1057442 h 1087290"/>
              <a:gd name="connsiteX349" fmla="*/ 318237 w 1897116"/>
              <a:gd name="connsiteY349" fmla="*/ 1063419 h 1087290"/>
              <a:gd name="connsiteX350" fmla="*/ 315345 w 1897116"/>
              <a:gd name="connsiteY350" fmla="*/ 1069450 h 1087290"/>
              <a:gd name="connsiteX351" fmla="*/ 313417 w 1897116"/>
              <a:gd name="connsiteY351" fmla="*/ 1071497 h 1087290"/>
              <a:gd name="connsiteX352" fmla="*/ 310613 w 1897116"/>
              <a:gd name="connsiteY352" fmla="*/ 1069777 h 1087290"/>
              <a:gd name="connsiteX353" fmla="*/ 305793 w 1897116"/>
              <a:gd name="connsiteY353" fmla="*/ 1066312 h 1087290"/>
              <a:gd name="connsiteX354" fmla="*/ 304829 w 1897116"/>
              <a:gd name="connsiteY354" fmla="*/ 1062464 h 1087290"/>
              <a:gd name="connsiteX355" fmla="*/ 297118 w 1897116"/>
              <a:gd name="connsiteY355" fmla="*/ 1068331 h 1087290"/>
              <a:gd name="connsiteX356" fmla="*/ 290195 w 1897116"/>
              <a:gd name="connsiteY356" fmla="*/ 1073789 h 1087290"/>
              <a:gd name="connsiteX357" fmla="*/ 293525 w 1897116"/>
              <a:gd name="connsiteY357" fmla="*/ 1076818 h 1087290"/>
              <a:gd name="connsiteX358" fmla="*/ 286164 w 1897116"/>
              <a:gd name="connsiteY358" fmla="*/ 1077282 h 1087290"/>
              <a:gd name="connsiteX359" fmla="*/ 282221 w 1897116"/>
              <a:gd name="connsiteY359" fmla="*/ 1080748 h 1087290"/>
              <a:gd name="connsiteX360" fmla="*/ 280731 w 1897116"/>
              <a:gd name="connsiteY360" fmla="*/ 1084459 h 1087290"/>
              <a:gd name="connsiteX361" fmla="*/ 274773 w 1897116"/>
              <a:gd name="connsiteY361" fmla="*/ 1084486 h 1087290"/>
              <a:gd name="connsiteX362" fmla="*/ 273458 w 1897116"/>
              <a:gd name="connsiteY362" fmla="*/ 1081348 h 1087290"/>
              <a:gd name="connsiteX363" fmla="*/ 271618 w 1897116"/>
              <a:gd name="connsiteY363" fmla="*/ 1073762 h 1087290"/>
              <a:gd name="connsiteX364" fmla="*/ 270391 w 1897116"/>
              <a:gd name="connsiteY364" fmla="*/ 1065356 h 1087290"/>
              <a:gd name="connsiteX365" fmla="*/ 265046 w 1897116"/>
              <a:gd name="connsiteY365" fmla="*/ 1068195 h 1087290"/>
              <a:gd name="connsiteX366" fmla="*/ 260664 w 1897116"/>
              <a:gd name="connsiteY366" fmla="*/ 1067103 h 1087290"/>
              <a:gd name="connsiteX367" fmla="*/ 255056 w 1897116"/>
              <a:gd name="connsiteY367" fmla="*/ 1068113 h 1087290"/>
              <a:gd name="connsiteX368" fmla="*/ 249097 w 1897116"/>
              <a:gd name="connsiteY368" fmla="*/ 1069477 h 1087290"/>
              <a:gd name="connsiteX369" fmla="*/ 243401 w 1897116"/>
              <a:gd name="connsiteY369" fmla="*/ 1071524 h 1087290"/>
              <a:gd name="connsiteX370" fmla="*/ 238406 w 1897116"/>
              <a:gd name="connsiteY370" fmla="*/ 1072970 h 1087290"/>
              <a:gd name="connsiteX371" fmla="*/ 231834 w 1897116"/>
              <a:gd name="connsiteY371" fmla="*/ 1074962 h 1087290"/>
              <a:gd name="connsiteX372" fmla="*/ 225262 w 1897116"/>
              <a:gd name="connsiteY372" fmla="*/ 1076763 h 1087290"/>
              <a:gd name="connsiteX373" fmla="*/ 218252 w 1897116"/>
              <a:gd name="connsiteY373" fmla="*/ 1076818 h 1087290"/>
              <a:gd name="connsiteX374" fmla="*/ 210803 w 1897116"/>
              <a:gd name="connsiteY374" fmla="*/ 1078974 h 1087290"/>
              <a:gd name="connsiteX375" fmla="*/ 207210 w 1897116"/>
              <a:gd name="connsiteY375" fmla="*/ 1076709 h 1087290"/>
              <a:gd name="connsiteX376" fmla="*/ 202478 w 1897116"/>
              <a:gd name="connsiteY376" fmla="*/ 1080175 h 1087290"/>
              <a:gd name="connsiteX377" fmla="*/ 192927 w 1897116"/>
              <a:gd name="connsiteY377" fmla="*/ 1079465 h 1087290"/>
              <a:gd name="connsiteX378" fmla="*/ 191787 w 1897116"/>
              <a:gd name="connsiteY378" fmla="*/ 1080529 h 1087290"/>
              <a:gd name="connsiteX379" fmla="*/ 188195 w 1897116"/>
              <a:gd name="connsiteY379" fmla="*/ 1077337 h 1087290"/>
              <a:gd name="connsiteX380" fmla="*/ 185653 w 1897116"/>
              <a:gd name="connsiteY380" fmla="*/ 1073107 h 1087290"/>
              <a:gd name="connsiteX381" fmla="*/ 184689 w 1897116"/>
              <a:gd name="connsiteY381" fmla="*/ 1073734 h 1087290"/>
              <a:gd name="connsiteX382" fmla="*/ 179432 w 1897116"/>
              <a:gd name="connsiteY382" fmla="*/ 1070814 h 1087290"/>
              <a:gd name="connsiteX383" fmla="*/ 173648 w 1897116"/>
              <a:gd name="connsiteY383" fmla="*/ 1069068 h 1087290"/>
              <a:gd name="connsiteX384" fmla="*/ 168741 w 1897116"/>
              <a:gd name="connsiteY384" fmla="*/ 1067239 h 1087290"/>
              <a:gd name="connsiteX385" fmla="*/ 167251 w 1897116"/>
              <a:gd name="connsiteY385" fmla="*/ 1068549 h 1087290"/>
              <a:gd name="connsiteX386" fmla="*/ 162607 w 1897116"/>
              <a:gd name="connsiteY386" fmla="*/ 1067267 h 1087290"/>
              <a:gd name="connsiteX387" fmla="*/ 155421 w 1897116"/>
              <a:gd name="connsiteY387" fmla="*/ 1068549 h 1087290"/>
              <a:gd name="connsiteX388" fmla="*/ 153756 w 1897116"/>
              <a:gd name="connsiteY388" fmla="*/ 1069095 h 1087290"/>
              <a:gd name="connsiteX389" fmla="*/ 146483 w 1897116"/>
              <a:gd name="connsiteY389" fmla="*/ 1068631 h 1087290"/>
              <a:gd name="connsiteX390" fmla="*/ 137983 w 1897116"/>
              <a:gd name="connsiteY390" fmla="*/ 1067540 h 1087290"/>
              <a:gd name="connsiteX391" fmla="*/ 135967 w 1897116"/>
              <a:gd name="connsiteY391" fmla="*/ 1065711 h 1087290"/>
              <a:gd name="connsiteX392" fmla="*/ 130710 w 1897116"/>
              <a:gd name="connsiteY392" fmla="*/ 1061208 h 1087290"/>
              <a:gd name="connsiteX393" fmla="*/ 123962 w 1897116"/>
              <a:gd name="connsiteY393" fmla="*/ 1057470 h 1087290"/>
              <a:gd name="connsiteX394" fmla="*/ 115375 w 1897116"/>
              <a:gd name="connsiteY394" fmla="*/ 1056051 h 1087290"/>
              <a:gd name="connsiteX395" fmla="*/ 110555 w 1897116"/>
              <a:gd name="connsiteY395" fmla="*/ 1058043 h 1087290"/>
              <a:gd name="connsiteX396" fmla="*/ 110555 w 1897116"/>
              <a:gd name="connsiteY396" fmla="*/ 1057743 h 1087290"/>
              <a:gd name="connsiteX397" fmla="*/ 105998 w 1897116"/>
              <a:gd name="connsiteY397" fmla="*/ 1056269 h 1087290"/>
              <a:gd name="connsiteX398" fmla="*/ 107225 w 1897116"/>
              <a:gd name="connsiteY398" fmla="*/ 1053676 h 1087290"/>
              <a:gd name="connsiteX399" fmla="*/ 106962 w 1897116"/>
              <a:gd name="connsiteY399" fmla="*/ 1048792 h 1087290"/>
              <a:gd name="connsiteX400" fmla="*/ 106962 w 1897116"/>
              <a:gd name="connsiteY400" fmla="*/ 1045299 h 1087290"/>
              <a:gd name="connsiteX401" fmla="*/ 107926 w 1897116"/>
              <a:gd name="connsiteY401" fmla="*/ 1044807 h 1087290"/>
              <a:gd name="connsiteX402" fmla="*/ 106875 w 1897116"/>
              <a:gd name="connsiteY402" fmla="*/ 1044726 h 1087290"/>
              <a:gd name="connsiteX403" fmla="*/ 106962 w 1897116"/>
              <a:gd name="connsiteY403" fmla="*/ 1045299 h 1087290"/>
              <a:gd name="connsiteX404" fmla="*/ 102230 w 1897116"/>
              <a:gd name="connsiteY404" fmla="*/ 1044944 h 1087290"/>
              <a:gd name="connsiteX405" fmla="*/ 96622 w 1897116"/>
              <a:gd name="connsiteY405" fmla="*/ 1045053 h 1087290"/>
              <a:gd name="connsiteX406" fmla="*/ 92065 w 1897116"/>
              <a:gd name="connsiteY406" fmla="*/ 1045708 h 1087290"/>
              <a:gd name="connsiteX407" fmla="*/ 85405 w 1897116"/>
              <a:gd name="connsiteY407" fmla="*/ 1047263 h 1087290"/>
              <a:gd name="connsiteX408" fmla="*/ 84880 w 1897116"/>
              <a:gd name="connsiteY408" fmla="*/ 1043907 h 1087290"/>
              <a:gd name="connsiteX409" fmla="*/ 80060 w 1897116"/>
              <a:gd name="connsiteY409" fmla="*/ 1048710 h 1087290"/>
              <a:gd name="connsiteX410" fmla="*/ 74802 w 1897116"/>
              <a:gd name="connsiteY410" fmla="*/ 1051821 h 1087290"/>
              <a:gd name="connsiteX411" fmla="*/ 68493 w 1897116"/>
              <a:gd name="connsiteY411" fmla="*/ 1051657 h 1087290"/>
              <a:gd name="connsiteX412" fmla="*/ 66127 w 1897116"/>
              <a:gd name="connsiteY412" fmla="*/ 1054959 h 1087290"/>
              <a:gd name="connsiteX413" fmla="*/ 62271 w 1897116"/>
              <a:gd name="connsiteY413" fmla="*/ 1057033 h 1087290"/>
              <a:gd name="connsiteX414" fmla="*/ 61658 w 1897116"/>
              <a:gd name="connsiteY414" fmla="*/ 1056569 h 1087290"/>
              <a:gd name="connsiteX415" fmla="*/ 56488 w 1897116"/>
              <a:gd name="connsiteY415" fmla="*/ 1053022 h 1087290"/>
              <a:gd name="connsiteX416" fmla="*/ 53421 w 1897116"/>
              <a:gd name="connsiteY416" fmla="*/ 1047809 h 1087290"/>
              <a:gd name="connsiteX417" fmla="*/ 50091 w 1897116"/>
              <a:gd name="connsiteY417" fmla="*/ 1044043 h 1087290"/>
              <a:gd name="connsiteX418" fmla="*/ 45972 w 1897116"/>
              <a:gd name="connsiteY418" fmla="*/ 1047973 h 1087290"/>
              <a:gd name="connsiteX419" fmla="*/ 41941 w 1897116"/>
              <a:gd name="connsiteY419" fmla="*/ 1051848 h 1087290"/>
              <a:gd name="connsiteX420" fmla="*/ 39312 w 1897116"/>
              <a:gd name="connsiteY420" fmla="*/ 1053158 h 1087290"/>
              <a:gd name="connsiteX421" fmla="*/ 38699 w 1897116"/>
              <a:gd name="connsiteY421" fmla="*/ 1046554 h 1087290"/>
              <a:gd name="connsiteX422" fmla="*/ 39312 w 1897116"/>
              <a:gd name="connsiteY422" fmla="*/ 1038667 h 1087290"/>
              <a:gd name="connsiteX423" fmla="*/ 39049 w 1897116"/>
              <a:gd name="connsiteY423" fmla="*/ 1038476 h 1087290"/>
              <a:gd name="connsiteX424" fmla="*/ 37823 w 1897116"/>
              <a:gd name="connsiteY424" fmla="*/ 1039486 h 1087290"/>
              <a:gd name="connsiteX425" fmla="*/ 34054 w 1897116"/>
              <a:gd name="connsiteY425" fmla="*/ 1039131 h 1087290"/>
              <a:gd name="connsiteX426" fmla="*/ 31250 w 1897116"/>
              <a:gd name="connsiteY426" fmla="*/ 1044180 h 1087290"/>
              <a:gd name="connsiteX427" fmla="*/ 23188 w 1897116"/>
              <a:gd name="connsiteY427" fmla="*/ 1049692 h 1087290"/>
              <a:gd name="connsiteX428" fmla="*/ 17580 w 1897116"/>
              <a:gd name="connsiteY428" fmla="*/ 1052012 h 1087290"/>
              <a:gd name="connsiteX429" fmla="*/ 13724 w 1897116"/>
              <a:gd name="connsiteY429" fmla="*/ 1056651 h 1087290"/>
              <a:gd name="connsiteX430" fmla="*/ 15302 w 1897116"/>
              <a:gd name="connsiteY430" fmla="*/ 1057743 h 1087290"/>
              <a:gd name="connsiteX431" fmla="*/ 8642 w 1897116"/>
              <a:gd name="connsiteY431" fmla="*/ 1060499 h 1087290"/>
              <a:gd name="connsiteX432" fmla="*/ 5137 w 1897116"/>
              <a:gd name="connsiteY432" fmla="*/ 1062000 h 1087290"/>
              <a:gd name="connsiteX433" fmla="*/ 3559 w 1897116"/>
              <a:gd name="connsiteY433" fmla="*/ 1055505 h 1087290"/>
              <a:gd name="connsiteX434" fmla="*/ 4786 w 1897116"/>
              <a:gd name="connsiteY434" fmla="*/ 1049528 h 1087290"/>
              <a:gd name="connsiteX435" fmla="*/ 54 w 1897116"/>
              <a:gd name="connsiteY435" fmla="*/ 1045954 h 1087290"/>
              <a:gd name="connsiteX436" fmla="*/ 54 w 1897116"/>
              <a:gd name="connsiteY436" fmla="*/ 499589 h 1087290"/>
              <a:gd name="connsiteX437" fmla="*/ 1023 w 1897116"/>
              <a:gd name="connsiteY437" fmla="*/ 499589 h 1087290"/>
              <a:gd name="connsiteX438" fmla="*/ 1023 w 1897116"/>
              <a:gd name="connsiteY438" fmla="*/ 459882 h 1087290"/>
              <a:gd name="connsiteX439" fmla="*/ 1023 w 1897116"/>
              <a:gd name="connsiteY439" fmla="*/ 139188 h 1087290"/>
              <a:gd name="connsiteX440" fmla="*/ 1023 w 1897116"/>
              <a:gd name="connsiteY440" fmla="*/ 125528 h 1087290"/>
              <a:gd name="connsiteX441" fmla="*/ 1023 w 1897116"/>
              <a:gd name="connsiteY441" fmla="*/ 115418 h 1087290"/>
              <a:gd name="connsiteX442" fmla="*/ 1023 w 1897116"/>
              <a:gd name="connsiteY442" fmla="*/ 109084 h 1087290"/>
              <a:gd name="connsiteX443" fmla="*/ 1023 w 1897116"/>
              <a:gd name="connsiteY443" fmla="*/ 106908 h 1087290"/>
              <a:gd name="connsiteX444" fmla="*/ 5162 w 1897116"/>
              <a:gd name="connsiteY444" fmla="*/ 103773 h 1087290"/>
              <a:gd name="connsiteX445" fmla="*/ 9918 w 1897116"/>
              <a:gd name="connsiteY445" fmla="*/ 99486 h 1087290"/>
              <a:gd name="connsiteX446" fmla="*/ 13353 w 1897116"/>
              <a:gd name="connsiteY446" fmla="*/ 94911 h 1087290"/>
              <a:gd name="connsiteX447" fmla="*/ 18021 w 1897116"/>
              <a:gd name="connsiteY447" fmla="*/ 91520 h 1087290"/>
              <a:gd name="connsiteX448" fmla="*/ 18637 w 1897116"/>
              <a:gd name="connsiteY448" fmla="*/ 94496 h 1087290"/>
              <a:gd name="connsiteX449" fmla="*/ 20487 w 1897116"/>
              <a:gd name="connsiteY449" fmla="*/ 106204 h 1087290"/>
              <a:gd name="connsiteX450" fmla="*/ 22777 w 1897116"/>
              <a:gd name="connsiteY450" fmla="*/ 114906 h 1087290"/>
              <a:gd name="connsiteX451" fmla="*/ 22777 w 1897116"/>
              <a:gd name="connsiteY451" fmla="*/ 120889 h 1087290"/>
              <a:gd name="connsiteX452" fmla="*/ 24098 w 1897116"/>
              <a:gd name="connsiteY452" fmla="*/ 114906 h 1087290"/>
              <a:gd name="connsiteX453" fmla="*/ 25419 w 1897116"/>
              <a:gd name="connsiteY453" fmla="*/ 108604 h 1087290"/>
              <a:gd name="connsiteX454" fmla="*/ 27092 w 1897116"/>
              <a:gd name="connsiteY454" fmla="*/ 101054 h 1087290"/>
              <a:gd name="connsiteX455" fmla="*/ 29470 w 1897116"/>
              <a:gd name="connsiteY455" fmla="*/ 92096 h 1087290"/>
              <a:gd name="connsiteX456" fmla="*/ 30439 w 1897116"/>
              <a:gd name="connsiteY456" fmla="*/ 85730 h 1087290"/>
              <a:gd name="connsiteX457" fmla="*/ 32200 w 1897116"/>
              <a:gd name="connsiteY457" fmla="*/ 77380 h 1087290"/>
              <a:gd name="connsiteX458" fmla="*/ 32993 w 1897116"/>
              <a:gd name="connsiteY458" fmla="*/ 73381 h 1087290"/>
              <a:gd name="connsiteX459" fmla="*/ 32817 w 1897116"/>
              <a:gd name="connsiteY459" fmla="*/ 66503 h 1087290"/>
              <a:gd name="connsiteX460" fmla="*/ 34314 w 1897116"/>
              <a:gd name="connsiteY460" fmla="*/ 62376 h 1087290"/>
              <a:gd name="connsiteX461" fmla="*/ 40016 w 1897116"/>
              <a:gd name="connsiteY461" fmla="*/ 62421 h 1087290"/>
              <a:gd name="connsiteX462" fmla="*/ 40853 w 1897116"/>
              <a:gd name="connsiteY462" fmla="*/ 63343 h 1087290"/>
              <a:gd name="connsiteX463" fmla="*/ 40904 w 1897116"/>
              <a:gd name="connsiteY463" fmla="*/ 62538 h 1087290"/>
              <a:gd name="connsiteX464" fmla="*/ 46820 w 1897116"/>
              <a:gd name="connsiteY464" fmla="*/ 65159 h 1087290"/>
              <a:gd name="connsiteX465" fmla="*/ 53602 w 1897116"/>
              <a:gd name="connsiteY465" fmla="*/ 70086 h 1087290"/>
              <a:gd name="connsiteX466" fmla="*/ 58534 w 1897116"/>
              <a:gd name="connsiteY466" fmla="*/ 64327 h 1087290"/>
              <a:gd name="connsiteX467" fmla="*/ 63378 w 1897116"/>
              <a:gd name="connsiteY467" fmla="*/ 58601 h 1087290"/>
              <a:gd name="connsiteX468" fmla="*/ 67781 w 1897116"/>
              <a:gd name="connsiteY468" fmla="*/ 53610 h 1087290"/>
              <a:gd name="connsiteX469" fmla="*/ 71921 w 1897116"/>
              <a:gd name="connsiteY469" fmla="*/ 48555 h 1087290"/>
              <a:gd name="connsiteX470" fmla="*/ 77645 w 1897116"/>
              <a:gd name="connsiteY470" fmla="*/ 45036 h 1087290"/>
              <a:gd name="connsiteX471" fmla="*/ 83282 w 1897116"/>
              <a:gd name="connsiteY471" fmla="*/ 43309 h 1087290"/>
              <a:gd name="connsiteX472" fmla="*/ 83513 w 1897116"/>
              <a:gd name="connsiteY472" fmla="*/ 44920 h 1087290"/>
              <a:gd name="connsiteX473" fmla="*/ 86620 w 1897116"/>
              <a:gd name="connsiteY473" fmla="*/ 45681 h 1087290"/>
              <a:gd name="connsiteX474" fmla="*/ 85847 w 1897116"/>
              <a:gd name="connsiteY474" fmla="*/ 46124 h 1087290"/>
              <a:gd name="connsiteX475" fmla="*/ 88038 w 1897116"/>
              <a:gd name="connsiteY475" fmla="*/ 46028 h 1087290"/>
              <a:gd name="connsiteX476" fmla="*/ 86620 w 1897116"/>
              <a:gd name="connsiteY476" fmla="*/ 45681 h 1087290"/>
              <a:gd name="connsiteX477" fmla="*/ 92706 w 1897116"/>
              <a:gd name="connsiteY477" fmla="*/ 42189 h 1087290"/>
              <a:gd name="connsiteX478" fmla="*/ 96581 w 1897116"/>
              <a:gd name="connsiteY478" fmla="*/ 46444 h 1087290"/>
              <a:gd name="connsiteX479" fmla="*/ 95876 w 1897116"/>
              <a:gd name="connsiteY479" fmla="*/ 51499 h 1087290"/>
              <a:gd name="connsiteX480" fmla="*/ 100192 w 1897116"/>
              <a:gd name="connsiteY480" fmla="*/ 54250 h 1087290"/>
              <a:gd name="connsiteX481" fmla="*/ 106621 w 1897116"/>
              <a:gd name="connsiteY481" fmla="*/ 50347 h 1087290"/>
              <a:gd name="connsiteX482" fmla="*/ 108206 w 1897116"/>
              <a:gd name="connsiteY482" fmla="*/ 51243 h 1087290"/>
              <a:gd name="connsiteX483" fmla="*/ 115076 w 1897116"/>
              <a:gd name="connsiteY483" fmla="*/ 47851 h 1087290"/>
              <a:gd name="connsiteX484" fmla="*/ 117215 w 1897116"/>
              <a:gd name="connsiteY484" fmla="*/ 43761 h 1087290"/>
              <a:gd name="connsiteX485" fmla="*/ 119950 w 1897116"/>
              <a:gd name="connsiteY485" fmla="*/ 43716 h 1087290"/>
              <a:gd name="connsiteX486" fmla="*/ 121065 w 1897116"/>
              <a:gd name="connsiteY486" fmla="*/ 43916 h 1087290"/>
              <a:gd name="connsiteX487" fmla="*/ 120926 w 1897116"/>
              <a:gd name="connsiteY487" fmla="*/ 43701 h 1087290"/>
              <a:gd name="connsiteX488" fmla="*/ 121417 w 1897116"/>
              <a:gd name="connsiteY488" fmla="*/ 43693 h 1087290"/>
              <a:gd name="connsiteX489" fmla="*/ 126184 w 1897116"/>
              <a:gd name="connsiteY489" fmla="*/ 49407 h 1087290"/>
              <a:gd name="connsiteX490" fmla="*/ 120031 w 1897116"/>
              <a:gd name="connsiteY490" fmla="*/ 50714 h 1087290"/>
              <a:gd name="connsiteX491" fmla="*/ 119655 w 1897116"/>
              <a:gd name="connsiteY491" fmla="*/ 50411 h 1087290"/>
              <a:gd name="connsiteX492" fmla="*/ 118599 w 1897116"/>
              <a:gd name="connsiteY492" fmla="*/ 51019 h 1087290"/>
              <a:gd name="connsiteX493" fmla="*/ 120031 w 1897116"/>
              <a:gd name="connsiteY493" fmla="*/ 50714 h 1087290"/>
              <a:gd name="connsiteX494" fmla="*/ 120679 w 1897116"/>
              <a:gd name="connsiteY494" fmla="*/ 51239 h 1087290"/>
              <a:gd name="connsiteX495" fmla="*/ 127053 w 1897116"/>
              <a:gd name="connsiteY495" fmla="*/ 54442 h 1087290"/>
              <a:gd name="connsiteX496" fmla="*/ 135596 w 1897116"/>
              <a:gd name="connsiteY496" fmla="*/ 57865 h 1087290"/>
              <a:gd name="connsiteX497" fmla="*/ 137600 w 1897116"/>
              <a:gd name="connsiteY497" fmla="*/ 55186 h 1087290"/>
              <a:gd name="connsiteX498" fmla="*/ 138681 w 1897116"/>
              <a:gd name="connsiteY498" fmla="*/ 53721 h 1087290"/>
              <a:gd name="connsiteX499" fmla="*/ 139189 w 1897116"/>
              <a:gd name="connsiteY499" fmla="*/ 54503 h 1087290"/>
              <a:gd name="connsiteX500" fmla="*/ 139736 w 1897116"/>
              <a:gd name="connsiteY500" fmla="*/ 52266 h 1087290"/>
              <a:gd name="connsiteX501" fmla="*/ 137611 w 1897116"/>
              <a:gd name="connsiteY501" fmla="*/ 51817 h 1087290"/>
              <a:gd name="connsiteX502" fmla="*/ 138855 w 1897116"/>
              <a:gd name="connsiteY502" fmla="*/ 48875 h 1087290"/>
              <a:gd name="connsiteX503" fmla="*/ 146165 w 1897116"/>
              <a:gd name="connsiteY503" fmla="*/ 53354 h 1087290"/>
              <a:gd name="connsiteX504" fmla="*/ 151537 w 1897116"/>
              <a:gd name="connsiteY504" fmla="*/ 53034 h 1087290"/>
              <a:gd name="connsiteX505" fmla="*/ 158034 w 1897116"/>
              <a:gd name="connsiteY505" fmla="*/ 51672 h 1087290"/>
              <a:gd name="connsiteX506" fmla="*/ 159497 w 1897116"/>
              <a:gd name="connsiteY506" fmla="*/ 51308 h 1087290"/>
              <a:gd name="connsiteX507" fmla="*/ 160047 w 1897116"/>
              <a:gd name="connsiteY507" fmla="*/ 52862 h 1087290"/>
              <a:gd name="connsiteX508" fmla="*/ 164484 w 1897116"/>
              <a:gd name="connsiteY508" fmla="*/ 50059 h 1087290"/>
              <a:gd name="connsiteX509" fmla="*/ 165188 w 1897116"/>
              <a:gd name="connsiteY509" fmla="*/ 44940 h 1087290"/>
              <a:gd name="connsiteX510" fmla="*/ 169328 w 1897116"/>
              <a:gd name="connsiteY510" fmla="*/ 37646 h 1087290"/>
              <a:gd name="connsiteX511" fmla="*/ 174876 w 1897116"/>
              <a:gd name="connsiteY511" fmla="*/ 38670 h 1087290"/>
              <a:gd name="connsiteX512" fmla="*/ 174524 w 1897116"/>
              <a:gd name="connsiteY512" fmla="*/ 36622 h 1087290"/>
              <a:gd name="connsiteX513" fmla="*/ 180249 w 1897116"/>
              <a:gd name="connsiteY513" fmla="*/ 38542 h 1087290"/>
              <a:gd name="connsiteX514" fmla="*/ 185973 w 1897116"/>
              <a:gd name="connsiteY514" fmla="*/ 33871 h 1087290"/>
              <a:gd name="connsiteX515" fmla="*/ 188615 w 1897116"/>
              <a:gd name="connsiteY515" fmla="*/ 35535 h 1087290"/>
              <a:gd name="connsiteX516" fmla="*/ 192050 w 1897116"/>
              <a:gd name="connsiteY516" fmla="*/ 36558 h 1087290"/>
              <a:gd name="connsiteX517" fmla="*/ 195133 w 1897116"/>
              <a:gd name="connsiteY517" fmla="*/ 29360 h 1087290"/>
              <a:gd name="connsiteX518" fmla="*/ 196190 w 1897116"/>
              <a:gd name="connsiteY518" fmla="*/ 27857 h 1087290"/>
              <a:gd name="connsiteX519" fmla="*/ 203764 w 1897116"/>
              <a:gd name="connsiteY519" fmla="*/ 26513 h 1087290"/>
              <a:gd name="connsiteX520" fmla="*/ 204733 w 1897116"/>
              <a:gd name="connsiteY520" fmla="*/ 28784 h 1087290"/>
              <a:gd name="connsiteX521" fmla="*/ 207199 w 1897116"/>
              <a:gd name="connsiteY521" fmla="*/ 32591 h 1087290"/>
              <a:gd name="connsiteX522" fmla="*/ 213540 w 1897116"/>
              <a:gd name="connsiteY522" fmla="*/ 29968 h 1087290"/>
              <a:gd name="connsiteX523" fmla="*/ 219617 w 1897116"/>
              <a:gd name="connsiteY523" fmla="*/ 29648 h 1087290"/>
              <a:gd name="connsiteX524" fmla="*/ 224725 w 1897116"/>
              <a:gd name="connsiteY524" fmla="*/ 31408 h 1087290"/>
              <a:gd name="connsiteX525" fmla="*/ 226222 w 1897116"/>
              <a:gd name="connsiteY525" fmla="*/ 25553 h 1087290"/>
              <a:gd name="connsiteX526" fmla="*/ 236086 w 1897116"/>
              <a:gd name="connsiteY526" fmla="*/ 32495 h 1087290"/>
              <a:gd name="connsiteX527" fmla="*/ 241458 w 1897116"/>
              <a:gd name="connsiteY527" fmla="*/ 43149 h 1087290"/>
              <a:gd name="connsiteX528" fmla="*/ 242780 w 1897116"/>
              <a:gd name="connsiteY528" fmla="*/ 36430 h 1087290"/>
              <a:gd name="connsiteX529" fmla="*/ 248680 w 1897116"/>
              <a:gd name="connsiteY529" fmla="*/ 38574 h 1087290"/>
              <a:gd name="connsiteX530" fmla="*/ 258720 w 1897116"/>
              <a:gd name="connsiteY530" fmla="*/ 38926 h 1087290"/>
              <a:gd name="connsiteX531" fmla="*/ 264974 w 1897116"/>
              <a:gd name="connsiteY531" fmla="*/ 39854 h 1087290"/>
              <a:gd name="connsiteX532" fmla="*/ 266735 w 1897116"/>
              <a:gd name="connsiteY532" fmla="*/ 36654 h 1087290"/>
              <a:gd name="connsiteX533" fmla="*/ 275366 w 1897116"/>
              <a:gd name="connsiteY533" fmla="*/ 35119 h 1087290"/>
              <a:gd name="connsiteX534" fmla="*/ 279946 w 1897116"/>
              <a:gd name="connsiteY534" fmla="*/ 33775 h 1087290"/>
              <a:gd name="connsiteX535" fmla="*/ 278360 w 1897116"/>
              <a:gd name="connsiteY535" fmla="*/ 38094 h 1087290"/>
              <a:gd name="connsiteX536" fmla="*/ 283909 w 1897116"/>
              <a:gd name="connsiteY536" fmla="*/ 43597 h 1087290"/>
              <a:gd name="connsiteX537" fmla="*/ 288489 w 1897116"/>
              <a:gd name="connsiteY537" fmla="*/ 43757 h 1087290"/>
              <a:gd name="connsiteX538" fmla="*/ 292892 w 1897116"/>
              <a:gd name="connsiteY538" fmla="*/ 47276 h 1087290"/>
              <a:gd name="connsiteX539" fmla="*/ 295534 w 1897116"/>
              <a:gd name="connsiteY539" fmla="*/ 46068 h 1087290"/>
              <a:gd name="connsiteX540" fmla="*/ 299692 w 1897116"/>
              <a:gd name="connsiteY540" fmla="*/ 49081 h 1087290"/>
              <a:gd name="connsiteX541" fmla="*/ 298364 w 1897116"/>
              <a:gd name="connsiteY541" fmla="*/ 53022 h 1087290"/>
              <a:gd name="connsiteX542" fmla="*/ 300026 w 1897116"/>
              <a:gd name="connsiteY542" fmla="*/ 49323 h 1087290"/>
              <a:gd name="connsiteX543" fmla="*/ 299692 w 1897116"/>
              <a:gd name="connsiteY543" fmla="*/ 49081 h 1087290"/>
              <a:gd name="connsiteX544" fmla="*/ 300731 w 1897116"/>
              <a:gd name="connsiteY544" fmla="*/ 45996 h 1087290"/>
              <a:gd name="connsiteX545" fmla="*/ 305222 w 1897116"/>
              <a:gd name="connsiteY545" fmla="*/ 47724 h 1087290"/>
              <a:gd name="connsiteX546" fmla="*/ 306367 w 1897116"/>
              <a:gd name="connsiteY546" fmla="*/ 42605 h 1087290"/>
              <a:gd name="connsiteX547" fmla="*/ 304410 w 1897116"/>
              <a:gd name="connsiteY547" fmla="*/ 40485 h 1087290"/>
              <a:gd name="connsiteX548" fmla="*/ 308217 w 1897116"/>
              <a:gd name="connsiteY548" fmla="*/ 41357 h 1087290"/>
              <a:gd name="connsiteX549" fmla="*/ 310902 w 1897116"/>
              <a:gd name="connsiteY549" fmla="*/ 41519 h 1087290"/>
              <a:gd name="connsiteX550" fmla="*/ 314734 w 1897116"/>
              <a:gd name="connsiteY550" fmla="*/ 43309 h 1087290"/>
              <a:gd name="connsiteX551" fmla="*/ 321780 w 1897116"/>
              <a:gd name="connsiteY551" fmla="*/ 48235 h 1087290"/>
              <a:gd name="connsiteX552" fmla="*/ 326183 w 1897116"/>
              <a:gd name="connsiteY552" fmla="*/ 46540 h 1087290"/>
              <a:gd name="connsiteX553" fmla="*/ 336928 w 1897116"/>
              <a:gd name="connsiteY553" fmla="*/ 45900 h 1087290"/>
              <a:gd name="connsiteX554" fmla="*/ 347144 w 1897116"/>
              <a:gd name="connsiteY554" fmla="*/ 37806 h 1087290"/>
              <a:gd name="connsiteX555" fmla="*/ 352341 w 1897116"/>
              <a:gd name="connsiteY555" fmla="*/ 27761 h 1087290"/>
              <a:gd name="connsiteX556" fmla="*/ 353668 w 1897116"/>
              <a:gd name="connsiteY556" fmla="*/ 26940 h 1087290"/>
              <a:gd name="connsiteX557" fmla="*/ 354873 w 1897116"/>
              <a:gd name="connsiteY557" fmla="*/ 29988 h 1087290"/>
              <a:gd name="connsiteX558" fmla="*/ 354014 w 1897116"/>
              <a:gd name="connsiteY558" fmla="*/ 28912 h 1087290"/>
              <a:gd name="connsiteX559" fmla="*/ 355951 w 1897116"/>
              <a:gd name="connsiteY559" fmla="*/ 36750 h 1087290"/>
              <a:gd name="connsiteX560" fmla="*/ 357273 w 1897116"/>
              <a:gd name="connsiteY560" fmla="*/ 44300 h 1087290"/>
              <a:gd name="connsiteX561" fmla="*/ 356942 w 1897116"/>
              <a:gd name="connsiteY561" fmla="*/ 47547 h 1087290"/>
              <a:gd name="connsiteX562" fmla="*/ 357383 w 1897116"/>
              <a:gd name="connsiteY562" fmla="*/ 49085 h 1087290"/>
              <a:gd name="connsiteX563" fmla="*/ 357096 w 1897116"/>
              <a:gd name="connsiteY563" fmla="*/ 49755 h 1087290"/>
              <a:gd name="connsiteX564" fmla="*/ 358474 w 1897116"/>
              <a:gd name="connsiteY564" fmla="*/ 57114 h 1087290"/>
              <a:gd name="connsiteX565" fmla="*/ 357900 w 1897116"/>
              <a:gd name="connsiteY565" fmla="*/ 57309 h 1087290"/>
              <a:gd name="connsiteX566" fmla="*/ 358770 w 1897116"/>
              <a:gd name="connsiteY566" fmla="*/ 58697 h 1087290"/>
              <a:gd name="connsiteX567" fmla="*/ 358474 w 1897116"/>
              <a:gd name="connsiteY567" fmla="*/ 57114 h 1087290"/>
              <a:gd name="connsiteX568" fmla="*/ 365023 w 1897116"/>
              <a:gd name="connsiteY568" fmla="*/ 54890 h 1087290"/>
              <a:gd name="connsiteX569" fmla="*/ 371188 w 1897116"/>
              <a:gd name="connsiteY569" fmla="*/ 51115 h 1087290"/>
              <a:gd name="connsiteX570" fmla="*/ 379467 w 1897116"/>
              <a:gd name="connsiteY570" fmla="*/ 47660 h 1087290"/>
              <a:gd name="connsiteX571" fmla="*/ 383518 w 1897116"/>
              <a:gd name="connsiteY571" fmla="*/ 45484 h 1087290"/>
              <a:gd name="connsiteX572" fmla="*/ 388978 w 1897116"/>
              <a:gd name="connsiteY572" fmla="*/ 42509 h 1087290"/>
              <a:gd name="connsiteX573" fmla="*/ 396817 w 1897116"/>
              <a:gd name="connsiteY573" fmla="*/ 45484 h 1087290"/>
              <a:gd name="connsiteX574" fmla="*/ 404391 w 1897116"/>
              <a:gd name="connsiteY574" fmla="*/ 47724 h 1087290"/>
              <a:gd name="connsiteX575" fmla="*/ 404215 w 1897116"/>
              <a:gd name="connsiteY575" fmla="*/ 48907 h 1087290"/>
              <a:gd name="connsiteX576" fmla="*/ 402277 w 1897116"/>
              <a:gd name="connsiteY576" fmla="*/ 51627 h 1087290"/>
              <a:gd name="connsiteX577" fmla="*/ 408883 w 1897116"/>
              <a:gd name="connsiteY577" fmla="*/ 55018 h 1087290"/>
              <a:gd name="connsiteX578" fmla="*/ 408618 w 1897116"/>
              <a:gd name="connsiteY578" fmla="*/ 56681 h 1087290"/>
              <a:gd name="connsiteX579" fmla="*/ 414079 w 1897116"/>
              <a:gd name="connsiteY579" fmla="*/ 62408 h 1087290"/>
              <a:gd name="connsiteX580" fmla="*/ 414519 w 1897116"/>
              <a:gd name="connsiteY580" fmla="*/ 59241 h 1087290"/>
              <a:gd name="connsiteX581" fmla="*/ 417866 w 1897116"/>
              <a:gd name="connsiteY581" fmla="*/ 66759 h 1087290"/>
              <a:gd name="connsiteX582" fmla="*/ 422710 w 1897116"/>
              <a:gd name="connsiteY582" fmla="*/ 70022 h 1087290"/>
              <a:gd name="connsiteX583" fmla="*/ 428611 w 1897116"/>
              <a:gd name="connsiteY583" fmla="*/ 68582 h 1087290"/>
              <a:gd name="connsiteX584" fmla="*/ 429932 w 1897116"/>
              <a:gd name="connsiteY584" fmla="*/ 74117 h 1087290"/>
              <a:gd name="connsiteX585" fmla="*/ 435832 w 1897116"/>
              <a:gd name="connsiteY585" fmla="*/ 74053 h 1087290"/>
              <a:gd name="connsiteX586" fmla="*/ 442526 w 1897116"/>
              <a:gd name="connsiteY586" fmla="*/ 72389 h 1087290"/>
              <a:gd name="connsiteX587" fmla="*/ 448603 w 1897116"/>
              <a:gd name="connsiteY587" fmla="*/ 71461 h 1087290"/>
              <a:gd name="connsiteX588" fmla="*/ 456001 w 1897116"/>
              <a:gd name="connsiteY588" fmla="*/ 67878 h 1087290"/>
              <a:gd name="connsiteX589" fmla="*/ 460316 w 1897116"/>
              <a:gd name="connsiteY589" fmla="*/ 66055 h 1087290"/>
              <a:gd name="connsiteX590" fmla="*/ 465160 w 1897116"/>
              <a:gd name="connsiteY590" fmla="*/ 63048 h 1087290"/>
              <a:gd name="connsiteX591" fmla="*/ 470709 w 1897116"/>
              <a:gd name="connsiteY591" fmla="*/ 61224 h 1087290"/>
              <a:gd name="connsiteX592" fmla="*/ 479252 w 1897116"/>
              <a:gd name="connsiteY592" fmla="*/ 60328 h 1087290"/>
              <a:gd name="connsiteX593" fmla="*/ 484448 w 1897116"/>
              <a:gd name="connsiteY593" fmla="*/ 64487 h 1087290"/>
              <a:gd name="connsiteX594" fmla="*/ 486209 w 1897116"/>
              <a:gd name="connsiteY594" fmla="*/ 64967 h 1087290"/>
              <a:gd name="connsiteX595" fmla="*/ 489556 w 1897116"/>
              <a:gd name="connsiteY595" fmla="*/ 73125 h 1087290"/>
              <a:gd name="connsiteX596" fmla="*/ 492374 w 1897116"/>
              <a:gd name="connsiteY596" fmla="*/ 79395 h 1087290"/>
              <a:gd name="connsiteX597" fmla="*/ 495193 w 1897116"/>
              <a:gd name="connsiteY597" fmla="*/ 85634 h 1087290"/>
              <a:gd name="connsiteX598" fmla="*/ 499860 w 1897116"/>
              <a:gd name="connsiteY598" fmla="*/ 80611 h 1087290"/>
              <a:gd name="connsiteX599" fmla="*/ 498539 w 1897116"/>
              <a:gd name="connsiteY599" fmla="*/ 72461 h 1087290"/>
              <a:gd name="connsiteX600" fmla="*/ 502864 w 1897116"/>
              <a:gd name="connsiteY600" fmla="*/ 74686 h 1087290"/>
              <a:gd name="connsiteX601" fmla="*/ 502591 w 1897116"/>
              <a:gd name="connsiteY601" fmla="*/ 74740 h 1087290"/>
              <a:gd name="connsiteX602" fmla="*/ 504616 w 1897116"/>
              <a:gd name="connsiteY602" fmla="*/ 75588 h 1087290"/>
              <a:gd name="connsiteX603" fmla="*/ 502864 w 1897116"/>
              <a:gd name="connsiteY603" fmla="*/ 74686 h 1087290"/>
              <a:gd name="connsiteX604" fmla="*/ 509284 w 1897116"/>
              <a:gd name="connsiteY604" fmla="*/ 73413 h 1087290"/>
              <a:gd name="connsiteX605" fmla="*/ 513688 w 1897116"/>
              <a:gd name="connsiteY605" fmla="*/ 73125 h 1087290"/>
              <a:gd name="connsiteX606" fmla="*/ 519060 w 1897116"/>
              <a:gd name="connsiteY606" fmla="*/ 76196 h 1087290"/>
              <a:gd name="connsiteX607" fmla="*/ 524168 w 1897116"/>
              <a:gd name="connsiteY607" fmla="*/ 80067 h 1087290"/>
              <a:gd name="connsiteX608" fmla="*/ 528308 w 1897116"/>
              <a:gd name="connsiteY608" fmla="*/ 79267 h 1087290"/>
              <a:gd name="connsiteX609" fmla="*/ 534880 w 1897116"/>
              <a:gd name="connsiteY609" fmla="*/ 78096 h 1087290"/>
              <a:gd name="connsiteX610" fmla="*/ 536126 w 1897116"/>
              <a:gd name="connsiteY610" fmla="*/ 80719 h 1087290"/>
              <a:gd name="connsiteX611" fmla="*/ 535949 w 1897116"/>
              <a:gd name="connsiteY611" fmla="*/ 80727 h 1087290"/>
              <a:gd name="connsiteX612" fmla="*/ 534913 w 1897116"/>
              <a:gd name="connsiteY612" fmla="*/ 79875 h 1087290"/>
              <a:gd name="connsiteX613" fmla="*/ 532766 w 1897116"/>
              <a:gd name="connsiteY613" fmla="*/ 80875 h 1087290"/>
              <a:gd name="connsiteX614" fmla="*/ 535949 w 1897116"/>
              <a:gd name="connsiteY614" fmla="*/ 80727 h 1087290"/>
              <a:gd name="connsiteX615" fmla="*/ 536247 w 1897116"/>
              <a:gd name="connsiteY615" fmla="*/ 80972 h 1087290"/>
              <a:gd name="connsiteX616" fmla="*/ 536126 w 1897116"/>
              <a:gd name="connsiteY616" fmla="*/ 80719 h 1087290"/>
              <a:gd name="connsiteX617" fmla="*/ 539140 w 1897116"/>
              <a:gd name="connsiteY617" fmla="*/ 80579 h 1087290"/>
              <a:gd name="connsiteX618" fmla="*/ 544777 w 1897116"/>
              <a:gd name="connsiteY618" fmla="*/ 79203 h 1087290"/>
              <a:gd name="connsiteX619" fmla="*/ 548588 w 1897116"/>
              <a:gd name="connsiteY619" fmla="*/ 77263 h 1087290"/>
              <a:gd name="connsiteX620" fmla="*/ 550747 w 1897116"/>
              <a:gd name="connsiteY620" fmla="*/ 77988 h 1087290"/>
              <a:gd name="connsiteX621" fmla="*/ 555786 w 1897116"/>
              <a:gd name="connsiteY621" fmla="*/ 74565 h 1087290"/>
              <a:gd name="connsiteX622" fmla="*/ 561334 w 1897116"/>
              <a:gd name="connsiteY622" fmla="*/ 74213 h 1087290"/>
              <a:gd name="connsiteX623" fmla="*/ 562303 w 1897116"/>
              <a:gd name="connsiteY623" fmla="*/ 68838 h 1087290"/>
              <a:gd name="connsiteX624" fmla="*/ 567059 w 1897116"/>
              <a:gd name="connsiteY624" fmla="*/ 67207 h 1087290"/>
              <a:gd name="connsiteX625" fmla="*/ 571110 w 1897116"/>
              <a:gd name="connsiteY625" fmla="*/ 61224 h 1087290"/>
              <a:gd name="connsiteX626" fmla="*/ 576747 w 1897116"/>
              <a:gd name="connsiteY626" fmla="*/ 60936 h 1087290"/>
              <a:gd name="connsiteX627" fmla="*/ 580622 w 1897116"/>
              <a:gd name="connsiteY627" fmla="*/ 55050 h 1087290"/>
              <a:gd name="connsiteX628" fmla="*/ 581327 w 1897116"/>
              <a:gd name="connsiteY628" fmla="*/ 58569 h 1087290"/>
              <a:gd name="connsiteX629" fmla="*/ 581855 w 1897116"/>
              <a:gd name="connsiteY629" fmla="*/ 64007 h 1087290"/>
              <a:gd name="connsiteX630" fmla="*/ 583264 w 1897116"/>
              <a:gd name="connsiteY630" fmla="*/ 67910 h 1087290"/>
              <a:gd name="connsiteX631" fmla="*/ 587668 w 1897116"/>
              <a:gd name="connsiteY631" fmla="*/ 68038 h 1087290"/>
              <a:gd name="connsiteX632" fmla="*/ 592952 w 1897116"/>
              <a:gd name="connsiteY632" fmla="*/ 66535 h 1087290"/>
              <a:gd name="connsiteX633" fmla="*/ 604137 w 1897116"/>
              <a:gd name="connsiteY633" fmla="*/ 61448 h 1087290"/>
              <a:gd name="connsiteX634" fmla="*/ 615146 w 1897116"/>
              <a:gd name="connsiteY634" fmla="*/ 53450 h 1087290"/>
              <a:gd name="connsiteX635" fmla="*/ 620430 w 1897116"/>
              <a:gd name="connsiteY635" fmla="*/ 48907 h 1087290"/>
              <a:gd name="connsiteX636" fmla="*/ 625803 w 1897116"/>
              <a:gd name="connsiteY636" fmla="*/ 44172 h 1087290"/>
              <a:gd name="connsiteX637" fmla="*/ 630735 w 1897116"/>
              <a:gd name="connsiteY637" fmla="*/ 39598 h 1087290"/>
              <a:gd name="connsiteX638" fmla="*/ 635755 w 1897116"/>
              <a:gd name="connsiteY638" fmla="*/ 35567 h 1087290"/>
              <a:gd name="connsiteX639" fmla="*/ 639806 w 1897116"/>
              <a:gd name="connsiteY639" fmla="*/ 32495 h 1087290"/>
              <a:gd name="connsiteX640" fmla="*/ 645091 w 1897116"/>
              <a:gd name="connsiteY640" fmla="*/ 28880 h 1087290"/>
              <a:gd name="connsiteX641" fmla="*/ 652136 w 1897116"/>
              <a:gd name="connsiteY641" fmla="*/ 25553 h 1087290"/>
              <a:gd name="connsiteX642" fmla="*/ 658742 w 1897116"/>
              <a:gd name="connsiteY642" fmla="*/ 22706 h 1087290"/>
              <a:gd name="connsiteX643" fmla="*/ 665347 w 1897116"/>
              <a:gd name="connsiteY643" fmla="*/ 17075 h 1087290"/>
              <a:gd name="connsiteX644" fmla="*/ 672481 w 1897116"/>
              <a:gd name="connsiteY644" fmla="*/ 15316 h 1087290"/>
              <a:gd name="connsiteX645" fmla="*/ 679703 w 1897116"/>
              <a:gd name="connsiteY645" fmla="*/ 12341 h 1087290"/>
              <a:gd name="connsiteX646" fmla="*/ 687365 w 1897116"/>
              <a:gd name="connsiteY646" fmla="*/ 14740 h 1087290"/>
              <a:gd name="connsiteX647" fmla="*/ 686748 w 1897116"/>
              <a:gd name="connsiteY647" fmla="*/ 9589 h 1087290"/>
              <a:gd name="connsiteX648" fmla="*/ 693354 w 1897116"/>
              <a:gd name="connsiteY648" fmla="*/ 7254 h 1087290"/>
              <a:gd name="connsiteX649" fmla="*/ 700664 w 1897116"/>
              <a:gd name="connsiteY649" fmla="*/ 4887 h 1087290"/>
              <a:gd name="connsiteX650" fmla="*/ 709207 w 1897116"/>
              <a:gd name="connsiteY650" fmla="*/ 1048 h 1087290"/>
              <a:gd name="connsiteX651" fmla="*/ 710616 w 1897116"/>
              <a:gd name="connsiteY651" fmla="*/ 3799 h 1087290"/>
              <a:gd name="connsiteX652" fmla="*/ 715548 w 1897116"/>
              <a:gd name="connsiteY652" fmla="*/ 11317 h 1087290"/>
              <a:gd name="connsiteX653" fmla="*/ 717485 w 1897116"/>
              <a:gd name="connsiteY653" fmla="*/ 14548 h 1087290"/>
              <a:gd name="connsiteX654" fmla="*/ 723210 w 1897116"/>
              <a:gd name="connsiteY654" fmla="*/ 19731 h 1087290"/>
              <a:gd name="connsiteX655" fmla="*/ 725412 w 1897116"/>
              <a:gd name="connsiteY655" fmla="*/ 18099 h 1087290"/>
              <a:gd name="connsiteX656" fmla="*/ 729727 w 1897116"/>
              <a:gd name="connsiteY656" fmla="*/ 25489 h 1087290"/>
              <a:gd name="connsiteX657" fmla="*/ 734659 w 1897116"/>
              <a:gd name="connsiteY657" fmla="*/ 28592 h 1087290"/>
              <a:gd name="connsiteX658" fmla="*/ 738270 w 1897116"/>
              <a:gd name="connsiteY658" fmla="*/ 27441 h 1087290"/>
              <a:gd name="connsiteX659" fmla="*/ 745404 w 1897116"/>
              <a:gd name="connsiteY659" fmla="*/ 32879 h 1087290"/>
              <a:gd name="connsiteX660" fmla="*/ 746109 w 1897116"/>
              <a:gd name="connsiteY660" fmla="*/ 32048 h 1087290"/>
              <a:gd name="connsiteX661" fmla="*/ 743731 w 1897116"/>
              <a:gd name="connsiteY661" fmla="*/ 29808 h 1087290"/>
              <a:gd name="connsiteX662" fmla="*/ 748663 w 1897116"/>
              <a:gd name="connsiteY662" fmla="*/ 27089 h 1087290"/>
              <a:gd name="connsiteX663" fmla="*/ 756149 w 1897116"/>
              <a:gd name="connsiteY663" fmla="*/ 23474 h 1087290"/>
              <a:gd name="connsiteX664" fmla="*/ 759496 w 1897116"/>
              <a:gd name="connsiteY664" fmla="*/ 23890 h 1087290"/>
              <a:gd name="connsiteX665" fmla="*/ 760817 w 1897116"/>
              <a:gd name="connsiteY665" fmla="*/ 21458 h 1087290"/>
              <a:gd name="connsiteX666" fmla="*/ 763459 w 1897116"/>
              <a:gd name="connsiteY666" fmla="*/ 25297 h 1087290"/>
              <a:gd name="connsiteX667" fmla="*/ 766365 w 1897116"/>
              <a:gd name="connsiteY667" fmla="*/ 32112 h 1087290"/>
              <a:gd name="connsiteX668" fmla="*/ 768127 w 1897116"/>
              <a:gd name="connsiteY668" fmla="*/ 36558 h 1087290"/>
              <a:gd name="connsiteX669" fmla="*/ 769888 w 1897116"/>
              <a:gd name="connsiteY669" fmla="*/ 34255 h 1087290"/>
              <a:gd name="connsiteX670" fmla="*/ 770945 w 1897116"/>
              <a:gd name="connsiteY670" fmla="*/ 37966 h 1087290"/>
              <a:gd name="connsiteX671" fmla="*/ 770681 w 1897116"/>
              <a:gd name="connsiteY671" fmla="*/ 43565 h 1087290"/>
              <a:gd name="connsiteX672" fmla="*/ 773411 w 1897116"/>
              <a:gd name="connsiteY672" fmla="*/ 47979 h 1087290"/>
              <a:gd name="connsiteX673" fmla="*/ 776846 w 1897116"/>
              <a:gd name="connsiteY673" fmla="*/ 43789 h 1087290"/>
              <a:gd name="connsiteX674" fmla="*/ 784684 w 1897116"/>
              <a:gd name="connsiteY674" fmla="*/ 42861 h 1087290"/>
              <a:gd name="connsiteX675" fmla="*/ 789528 w 1897116"/>
              <a:gd name="connsiteY675" fmla="*/ 46412 h 1087290"/>
              <a:gd name="connsiteX676" fmla="*/ 794196 w 1897116"/>
              <a:gd name="connsiteY676" fmla="*/ 40493 h 1087290"/>
              <a:gd name="connsiteX677" fmla="*/ 803179 w 1897116"/>
              <a:gd name="connsiteY677" fmla="*/ 38222 h 1087290"/>
              <a:gd name="connsiteX678" fmla="*/ 812074 w 1897116"/>
              <a:gd name="connsiteY678" fmla="*/ 36878 h 1087290"/>
              <a:gd name="connsiteX679" fmla="*/ 813395 w 1897116"/>
              <a:gd name="connsiteY679" fmla="*/ 37102 h 1087290"/>
              <a:gd name="connsiteX680" fmla="*/ 808904 w 1897116"/>
              <a:gd name="connsiteY680" fmla="*/ 45324 h 1087290"/>
              <a:gd name="connsiteX681" fmla="*/ 805557 w 1897116"/>
              <a:gd name="connsiteY681" fmla="*/ 51850 h 1087290"/>
              <a:gd name="connsiteX682" fmla="*/ 802122 w 1897116"/>
              <a:gd name="connsiteY682" fmla="*/ 59305 h 1087290"/>
              <a:gd name="connsiteX683" fmla="*/ 809872 w 1897116"/>
              <a:gd name="connsiteY683" fmla="*/ 58825 h 1087290"/>
              <a:gd name="connsiteX684" fmla="*/ 817623 w 1897116"/>
              <a:gd name="connsiteY684" fmla="*/ 58409 h 1087290"/>
              <a:gd name="connsiteX685" fmla="*/ 824845 w 1897116"/>
              <a:gd name="connsiteY685" fmla="*/ 54538 h 1087290"/>
              <a:gd name="connsiteX686" fmla="*/ 831186 w 1897116"/>
              <a:gd name="connsiteY686" fmla="*/ 56457 h 1087290"/>
              <a:gd name="connsiteX687" fmla="*/ 840609 w 1897116"/>
              <a:gd name="connsiteY687" fmla="*/ 53898 h 1087290"/>
              <a:gd name="connsiteX688" fmla="*/ 844132 w 1897116"/>
              <a:gd name="connsiteY688" fmla="*/ 52874 h 1087290"/>
              <a:gd name="connsiteX689" fmla="*/ 849857 w 1897116"/>
              <a:gd name="connsiteY689" fmla="*/ 50923 h 1087290"/>
              <a:gd name="connsiteX690" fmla="*/ 856727 w 1897116"/>
              <a:gd name="connsiteY690" fmla="*/ 48459 h 1087290"/>
              <a:gd name="connsiteX691" fmla="*/ 864565 w 1897116"/>
              <a:gd name="connsiteY691" fmla="*/ 45228 h 1087290"/>
              <a:gd name="connsiteX692" fmla="*/ 867383 w 1897116"/>
              <a:gd name="connsiteY692" fmla="*/ 44748 h 1087290"/>
              <a:gd name="connsiteX693" fmla="*/ 872668 w 1897116"/>
              <a:gd name="connsiteY693" fmla="*/ 41901 h 1087290"/>
              <a:gd name="connsiteX694" fmla="*/ 877776 w 1897116"/>
              <a:gd name="connsiteY694" fmla="*/ 41741 h 1087290"/>
              <a:gd name="connsiteX695" fmla="*/ 884205 w 1897116"/>
              <a:gd name="connsiteY695" fmla="*/ 42893 h 1087290"/>
              <a:gd name="connsiteX696" fmla="*/ 882972 w 1897116"/>
              <a:gd name="connsiteY696" fmla="*/ 43053 h 1087290"/>
              <a:gd name="connsiteX697" fmla="*/ 883853 w 1897116"/>
              <a:gd name="connsiteY697" fmla="*/ 49899 h 1087290"/>
              <a:gd name="connsiteX698" fmla="*/ 880330 w 1897116"/>
              <a:gd name="connsiteY698" fmla="*/ 57001 h 1087290"/>
              <a:gd name="connsiteX699" fmla="*/ 880252 w 1897116"/>
              <a:gd name="connsiteY699" fmla="*/ 58718 h 1087290"/>
              <a:gd name="connsiteX700" fmla="*/ 879713 w 1897116"/>
              <a:gd name="connsiteY700" fmla="*/ 59656 h 1087290"/>
              <a:gd name="connsiteX701" fmla="*/ 880154 w 1897116"/>
              <a:gd name="connsiteY701" fmla="*/ 60896 h 1087290"/>
              <a:gd name="connsiteX702" fmla="*/ 880252 w 1897116"/>
              <a:gd name="connsiteY702" fmla="*/ 58718 h 1087290"/>
              <a:gd name="connsiteX703" fmla="*/ 881827 w 1897116"/>
              <a:gd name="connsiteY703" fmla="*/ 55977 h 1087290"/>
              <a:gd name="connsiteX704" fmla="*/ 890722 w 1897116"/>
              <a:gd name="connsiteY704" fmla="*/ 54186 h 1087290"/>
              <a:gd name="connsiteX705" fmla="*/ 897504 w 1897116"/>
              <a:gd name="connsiteY705" fmla="*/ 50699 h 1087290"/>
              <a:gd name="connsiteX706" fmla="*/ 901731 w 1897116"/>
              <a:gd name="connsiteY706" fmla="*/ 48715 h 1087290"/>
              <a:gd name="connsiteX707" fmla="*/ 906927 w 1897116"/>
              <a:gd name="connsiteY707" fmla="*/ 50539 h 1087290"/>
              <a:gd name="connsiteX708" fmla="*/ 909393 w 1897116"/>
              <a:gd name="connsiteY708" fmla="*/ 46028 h 1087290"/>
              <a:gd name="connsiteX709" fmla="*/ 910803 w 1897116"/>
              <a:gd name="connsiteY709" fmla="*/ 52138 h 1087290"/>
              <a:gd name="connsiteX710" fmla="*/ 912124 w 1897116"/>
              <a:gd name="connsiteY710" fmla="*/ 58249 h 1087290"/>
              <a:gd name="connsiteX711" fmla="*/ 913797 w 1897116"/>
              <a:gd name="connsiteY711" fmla="*/ 59433 h 1087290"/>
              <a:gd name="connsiteX712" fmla="*/ 911595 w 1897116"/>
              <a:gd name="connsiteY712" fmla="*/ 67334 h 1087290"/>
              <a:gd name="connsiteX713" fmla="*/ 912124 w 1897116"/>
              <a:gd name="connsiteY713" fmla="*/ 73765 h 1087290"/>
              <a:gd name="connsiteX714" fmla="*/ 914854 w 1897116"/>
              <a:gd name="connsiteY714" fmla="*/ 79587 h 1087290"/>
              <a:gd name="connsiteX715" fmla="*/ 912388 w 1897116"/>
              <a:gd name="connsiteY715" fmla="*/ 79747 h 1087290"/>
              <a:gd name="connsiteX716" fmla="*/ 912652 w 1897116"/>
              <a:gd name="connsiteY716" fmla="*/ 80227 h 1087290"/>
              <a:gd name="connsiteX717" fmla="*/ 914854 w 1897116"/>
              <a:gd name="connsiteY717" fmla="*/ 79587 h 1087290"/>
              <a:gd name="connsiteX718" fmla="*/ 918553 w 1897116"/>
              <a:gd name="connsiteY718" fmla="*/ 77540 h 1087290"/>
              <a:gd name="connsiteX719" fmla="*/ 925334 w 1897116"/>
              <a:gd name="connsiteY719" fmla="*/ 74053 h 1087290"/>
              <a:gd name="connsiteX720" fmla="*/ 925775 w 1897116"/>
              <a:gd name="connsiteY720" fmla="*/ 74149 h 1087290"/>
              <a:gd name="connsiteX721" fmla="*/ 931499 w 1897116"/>
              <a:gd name="connsiteY721" fmla="*/ 72741 h 1087290"/>
              <a:gd name="connsiteX722" fmla="*/ 937752 w 1897116"/>
              <a:gd name="connsiteY722" fmla="*/ 72133 h 1087290"/>
              <a:gd name="connsiteX723" fmla="*/ 943213 w 1897116"/>
              <a:gd name="connsiteY723" fmla="*/ 73573 h 1087290"/>
              <a:gd name="connsiteX724" fmla="*/ 949026 w 1897116"/>
              <a:gd name="connsiteY724" fmla="*/ 76100 h 1087290"/>
              <a:gd name="connsiteX725" fmla="*/ 958273 w 1897116"/>
              <a:gd name="connsiteY725" fmla="*/ 79939 h 1087290"/>
              <a:gd name="connsiteX726" fmla="*/ 965671 w 1897116"/>
              <a:gd name="connsiteY726" fmla="*/ 81091 h 1087290"/>
              <a:gd name="connsiteX727" fmla="*/ 968137 w 1897116"/>
              <a:gd name="connsiteY727" fmla="*/ 83266 h 1087290"/>
              <a:gd name="connsiteX728" fmla="*/ 972012 w 1897116"/>
              <a:gd name="connsiteY728" fmla="*/ 90656 h 1087290"/>
              <a:gd name="connsiteX729" fmla="*/ 977120 w 1897116"/>
              <a:gd name="connsiteY729" fmla="*/ 88353 h 1087290"/>
              <a:gd name="connsiteX730" fmla="*/ 983109 w 1897116"/>
              <a:gd name="connsiteY730" fmla="*/ 85122 h 1087290"/>
              <a:gd name="connsiteX731" fmla="*/ 988129 w 1897116"/>
              <a:gd name="connsiteY731" fmla="*/ 82307 h 1087290"/>
              <a:gd name="connsiteX732" fmla="*/ 993678 w 1897116"/>
              <a:gd name="connsiteY732" fmla="*/ 80739 h 1087290"/>
              <a:gd name="connsiteX733" fmla="*/ 996672 w 1897116"/>
              <a:gd name="connsiteY733" fmla="*/ 78660 h 1087290"/>
              <a:gd name="connsiteX734" fmla="*/ 1005568 w 1897116"/>
              <a:gd name="connsiteY734" fmla="*/ 74533 h 1087290"/>
              <a:gd name="connsiteX735" fmla="*/ 1014551 w 1897116"/>
              <a:gd name="connsiteY735" fmla="*/ 71493 h 1087290"/>
              <a:gd name="connsiteX736" fmla="*/ 1017457 w 1897116"/>
              <a:gd name="connsiteY736" fmla="*/ 67302 h 1087290"/>
              <a:gd name="connsiteX737" fmla="*/ 1025208 w 1897116"/>
              <a:gd name="connsiteY737" fmla="*/ 60584 h 1087290"/>
              <a:gd name="connsiteX738" fmla="*/ 1029347 w 1897116"/>
              <a:gd name="connsiteY738" fmla="*/ 58633 h 1087290"/>
              <a:gd name="connsiteX739" fmla="*/ 1033839 w 1897116"/>
              <a:gd name="connsiteY739" fmla="*/ 54794 h 1087290"/>
              <a:gd name="connsiteX740" fmla="*/ 1038066 w 1897116"/>
              <a:gd name="connsiteY740" fmla="*/ 50731 h 1087290"/>
              <a:gd name="connsiteX741" fmla="*/ 1044495 w 1897116"/>
              <a:gd name="connsiteY741" fmla="*/ 44652 h 1087290"/>
              <a:gd name="connsiteX742" fmla="*/ 1051012 w 1897116"/>
              <a:gd name="connsiteY742" fmla="*/ 44812 h 1087290"/>
              <a:gd name="connsiteX743" fmla="*/ 1051012 w 1897116"/>
              <a:gd name="connsiteY743" fmla="*/ 40333 h 1087290"/>
              <a:gd name="connsiteX744" fmla="*/ 1055856 w 1897116"/>
              <a:gd name="connsiteY744" fmla="*/ 39438 h 1087290"/>
              <a:gd name="connsiteX745" fmla="*/ 1061845 w 1897116"/>
              <a:gd name="connsiteY745" fmla="*/ 39630 h 1087290"/>
              <a:gd name="connsiteX746" fmla="*/ 1070212 w 1897116"/>
              <a:gd name="connsiteY746" fmla="*/ 39854 h 1087290"/>
              <a:gd name="connsiteX747" fmla="*/ 1079195 w 1897116"/>
              <a:gd name="connsiteY747" fmla="*/ 37998 h 1087290"/>
              <a:gd name="connsiteX748" fmla="*/ 1087034 w 1897116"/>
              <a:gd name="connsiteY748" fmla="*/ 33327 h 1087290"/>
              <a:gd name="connsiteX749" fmla="*/ 1092494 w 1897116"/>
              <a:gd name="connsiteY749" fmla="*/ 27473 h 1087290"/>
              <a:gd name="connsiteX750" fmla="*/ 1093023 w 1897116"/>
              <a:gd name="connsiteY750" fmla="*/ 20467 h 1087290"/>
              <a:gd name="connsiteX751" fmla="*/ 1095665 w 1897116"/>
              <a:gd name="connsiteY751" fmla="*/ 20083 h 1087290"/>
              <a:gd name="connsiteX752" fmla="*/ 1096722 w 1897116"/>
              <a:gd name="connsiteY752" fmla="*/ 16628 h 1087290"/>
              <a:gd name="connsiteX753" fmla="*/ 1096810 w 1897116"/>
              <a:gd name="connsiteY753" fmla="*/ 15156 h 1087290"/>
              <a:gd name="connsiteX754" fmla="*/ 1097778 w 1897116"/>
              <a:gd name="connsiteY754" fmla="*/ 13140 h 1087290"/>
              <a:gd name="connsiteX755" fmla="*/ 1098043 w 1897116"/>
              <a:gd name="connsiteY755" fmla="*/ 12916 h 1087290"/>
              <a:gd name="connsiteX756" fmla="*/ 1098219 w 1897116"/>
              <a:gd name="connsiteY756" fmla="*/ 12277 h 1087290"/>
              <a:gd name="connsiteX757" fmla="*/ 1098395 w 1897116"/>
              <a:gd name="connsiteY757" fmla="*/ 11605 h 1087290"/>
              <a:gd name="connsiteX758" fmla="*/ 1104560 w 1897116"/>
              <a:gd name="connsiteY758" fmla="*/ 16052 h 1087290"/>
              <a:gd name="connsiteX759" fmla="*/ 1111165 w 1897116"/>
              <a:gd name="connsiteY759" fmla="*/ 18899 h 1087290"/>
              <a:gd name="connsiteX760" fmla="*/ 1116274 w 1897116"/>
              <a:gd name="connsiteY760" fmla="*/ 22226 h 1087290"/>
              <a:gd name="connsiteX761" fmla="*/ 1121910 w 1897116"/>
              <a:gd name="connsiteY761" fmla="*/ 22866 h 1087290"/>
              <a:gd name="connsiteX762" fmla="*/ 1122615 w 1897116"/>
              <a:gd name="connsiteY762" fmla="*/ 19763 h 1087290"/>
              <a:gd name="connsiteX763" fmla="*/ 1121646 w 1897116"/>
              <a:gd name="connsiteY763" fmla="*/ 17267 h 1087290"/>
              <a:gd name="connsiteX764" fmla="*/ 1128075 w 1897116"/>
              <a:gd name="connsiteY764" fmla="*/ 16915 h 1087290"/>
              <a:gd name="connsiteX765" fmla="*/ 1128780 w 1897116"/>
              <a:gd name="connsiteY765" fmla="*/ 17683 h 1087290"/>
              <a:gd name="connsiteX766" fmla="*/ 1128075 w 1897116"/>
              <a:gd name="connsiteY766" fmla="*/ 16915 h 1087290"/>
              <a:gd name="connsiteX767" fmla="*/ 1130101 w 1897116"/>
              <a:gd name="connsiteY767" fmla="*/ 17139 h 1087290"/>
              <a:gd name="connsiteX768" fmla="*/ 1130541 w 1897116"/>
              <a:gd name="connsiteY768" fmla="*/ 17267 h 1087290"/>
              <a:gd name="connsiteX769" fmla="*/ 1130189 w 1897116"/>
              <a:gd name="connsiteY769" fmla="*/ 18707 h 1087290"/>
              <a:gd name="connsiteX770" fmla="*/ 1130541 w 1897116"/>
              <a:gd name="connsiteY770" fmla="*/ 17267 h 1087290"/>
              <a:gd name="connsiteX771" fmla="*/ 1135385 w 1897116"/>
              <a:gd name="connsiteY771" fmla="*/ 19539 h 1087290"/>
              <a:gd name="connsiteX772" fmla="*/ 1129308 w 1897116"/>
              <a:gd name="connsiteY772" fmla="*/ 22386 h 1087290"/>
              <a:gd name="connsiteX773" fmla="*/ 1127018 w 1897116"/>
              <a:gd name="connsiteY773" fmla="*/ 27089 h 1087290"/>
              <a:gd name="connsiteX774" fmla="*/ 1127018 w 1897116"/>
              <a:gd name="connsiteY774" fmla="*/ 33391 h 1087290"/>
              <a:gd name="connsiteX775" fmla="*/ 1123583 w 1897116"/>
              <a:gd name="connsiteY775" fmla="*/ 37198 h 1087290"/>
              <a:gd name="connsiteX776" fmla="*/ 1123672 w 1897116"/>
              <a:gd name="connsiteY776" fmla="*/ 41165 h 1087290"/>
              <a:gd name="connsiteX777" fmla="*/ 1119973 w 1897116"/>
              <a:gd name="connsiteY777" fmla="*/ 42189 h 1087290"/>
              <a:gd name="connsiteX778" fmla="*/ 1123760 w 1897116"/>
              <a:gd name="connsiteY778" fmla="*/ 48043 h 1087290"/>
              <a:gd name="connsiteX779" fmla="*/ 1127371 w 1897116"/>
              <a:gd name="connsiteY779" fmla="*/ 45068 h 1087290"/>
              <a:gd name="connsiteX780" fmla="*/ 1133447 w 1897116"/>
              <a:gd name="connsiteY780" fmla="*/ 41805 h 1087290"/>
              <a:gd name="connsiteX781" fmla="*/ 1134592 w 1897116"/>
              <a:gd name="connsiteY781" fmla="*/ 37678 h 1087290"/>
              <a:gd name="connsiteX782" fmla="*/ 1136090 w 1897116"/>
              <a:gd name="connsiteY782" fmla="*/ 33807 h 1087290"/>
              <a:gd name="connsiteX783" fmla="*/ 1140934 w 1897116"/>
              <a:gd name="connsiteY783" fmla="*/ 30096 h 1087290"/>
              <a:gd name="connsiteX784" fmla="*/ 1145425 w 1897116"/>
              <a:gd name="connsiteY784" fmla="*/ 27249 h 1087290"/>
              <a:gd name="connsiteX785" fmla="*/ 1150798 w 1897116"/>
              <a:gd name="connsiteY785" fmla="*/ 23154 h 1087290"/>
              <a:gd name="connsiteX786" fmla="*/ 1155289 w 1897116"/>
              <a:gd name="connsiteY786" fmla="*/ 19539 h 1087290"/>
              <a:gd name="connsiteX787" fmla="*/ 1159341 w 1897116"/>
              <a:gd name="connsiteY787" fmla="*/ 15284 h 1087290"/>
              <a:gd name="connsiteX788" fmla="*/ 1160045 w 1897116"/>
              <a:gd name="connsiteY788" fmla="*/ 18195 h 1087290"/>
              <a:gd name="connsiteX789" fmla="*/ 1158900 w 1897116"/>
              <a:gd name="connsiteY789" fmla="*/ 18355 h 1087290"/>
              <a:gd name="connsiteX790" fmla="*/ 1160045 w 1897116"/>
              <a:gd name="connsiteY790" fmla="*/ 18195 h 1087290"/>
              <a:gd name="connsiteX791" fmla="*/ 1160045 w 1897116"/>
              <a:gd name="connsiteY791" fmla="*/ 20371 h 1087290"/>
              <a:gd name="connsiteX792" fmla="*/ 1163744 w 1897116"/>
              <a:gd name="connsiteY792" fmla="*/ 25969 h 1087290"/>
              <a:gd name="connsiteX793" fmla="*/ 1171759 w 1897116"/>
              <a:gd name="connsiteY793" fmla="*/ 30160 h 1087290"/>
              <a:gd name="connsiteX794" fmla="*/ 1180830 w 1897116"/>
              <a:gd name="connsiteY794" fmla="*/ 29904 h 1087290"/>
              <a:gd name="connsiteX795" fmla="*/ 1188052 w 1897116"/>
              <a:gd name="connsiteY795" fmla="*/ 27953 h 1087290"/>
              <a:gd name="connsiteX796" fmla="*/ 1192367 w 1897116"/>
              <a:gd name="connsiteY796" fmla="*/ 23186 h 1087290"/>
              <a:gd name="connsiteX797" fmla="*/ 1201703 w 1897116"/>
              <a:gd name="connsiteY797" fmla="*/ 20435 h 1087290"/>
              <a:gd name="connsiteX798" fmla="*/ 1208837 w 1897116"/>
              <a:gd name="connsiteY798" fmla="*/ 16084 h 1087290"/>
              <a:gd name="connsiteX799" fmla="*/ 1215618 w 1897116"/>
              <a:gd name="connsiteY799" fmla="*/ 13268 h 1087290"/>
              <a:gd name="connsiteX800" fmla="*/ 1215794 w 1897116"/>
              <a:gd name="connsiteY800" fmla="*/ 20275 h 1087290"/>
              <a:gd name="connsiteX801" fmla="*/ 1213505 w 1897116"/>
              <a:gd name="connsiteY801" fmla="*/ 28912 h 1087290"/>
              <a:gd name="connsiteX802" fmla="*/ 1210774 w 1897116"/>
              <a:gd name="connsiteY802" fmla="*/ 36206 h 1087290"/>
              <a:gd name="connsiteX803" fmla="*/ 1209365 w 1897116"/>
              <a:gd name="connsiteY803" fmla="*/ 44972 h 1087290"/>
              <a:gd name="connsiteX804" fmla="*/ 1207075 w 1897116"/>
              <a:gd name="connsiteY804" fmla="*/ 53610 h 1087290"/>
              <a:gd name="connsiteX805" fmla="*/ 1213328 w 1897116"/>
              <a:gd name="connsiteY805" fmla="*/ 47212 h 1087290"/>
              <a:gd name="connsiteX806" fmla="*/ 1219229 w 1897116"/>
              <a:gd name="connsiteY806" fmla="*/ 41037 h 1087290"/>
              <a:gd name="connsiteX807" fmla="*/ 1224954 w 1897116"/>
              <a:gd name="connsiteY807" fmla="*/ 35375 h 1087290"/>
              <a:gd name="connsiteX808" fmla="*/ 1231207 w 1897116"/>
              <a:gd name="connsiteY808" fmla="*/ 28976 h 1087290"/>
              <a:gd name="connsiteX809" fmla="*/ 1238253 w 1897116"/>
              <a:gd name="connsiteY809" fmla="*/ 22610 h 1087290"/>
              <a:gd name="connsiteX810" fmla="*/ 1242128 w 1897116"/>
              <a:gd name="connsiteY810" fmla="*/ 21010 h 1087290"/>
              <a:gd name="connsiteX811" fmla="*/ 1243889 w 1897116"/>
              <a:gd name="connsiteY811" fmla="*/ 23282 h 1087290"/>
              <a:gd name="connsiteX812" fmla="*/ 1242216 w 1897116"/>
              <a:gd name="connsiteY812" fmla="*/ 28912 h 1087290"/>
              <a:gd name="connsiteX813" fmla="*/ 1251551 w 1897116"/>
              <a:gd name="connsiteY813" fmla="*/ 24434 h 1087290"/>
              <a:gd name="connsiteX814" fmla="*/ 1260887 w 1897116"/>
              <a:gd name="connsiteY814" fmla="*/ 19923 h 1087290"/>
              <a:gd name="connsiteX815" fmla="*/ 1268197 w 1897116"/>
              <a:gd name="connsiteY815" fmla="*/ 16052 h 1087290"/>
              <a:gd name="connsiteX816" fmla="*/ 1273922 w 1897116"/>
              <a:gd name="connsiteY816" fmla="*/ 13268 h 1087290"/>
              <a:gd name="connsiteX817" fmla="*/ 1279470 w 1897116"/>
              <a:gd name="connsiteY817" fmla="*/ 10677 h 1087290"/>
              <a:gd name="connsiteX818" fmla="*/ 1286340 w 1897116"/>
              <a:gd name="connsiteY818" fmla="*/ 11349 h 1087290"/>
              <a:gd name="connsiteX819" fmla="*/ 1293209 w 1897116"/>
              <a:gd name="connsiteY819" fmla="*/ 12021 h 1087290"/>
              <a:gd name="connsiteX820" fmla="*/ 1299286 w 1897116"/>
              <a:gd name="connsiteY820" fmla="*/ 12469 h 1087290"/>
              <a:gd name="connsiteX821" fmla="*/ 1305804 w 1897116"/>
              <a:gd name="connsiteY821" fmla="*/ 12820 h 1087290"/>
              <a:gd name="connsiteX822" fmla="*/ 1314787 w 1897116"/>
              <a:gd name="connsiteY822" fmla="*/ 13332 h 1087290"/>
              <a:gd name="connsiteX823" fmla="*/ 1317253 w 1897116"/>
              <a:gd name="connsiteY823" fmla="*/ 15988 h 1087290"/>
              <a:gd name="connsiteX824" fmla="*/ 1321745 w 1897116"/>
              <a:gd name="connsiteY824" fmla="*/ 14740 h 1087290"/>
              <a:gd name="connsiteX825" fmla="*/ 1316901 w 1897116"/>
              <a:gd name="connsiteY825" fmla="*/ 19763 h 1087290"/>
              <a:gd name="connsiteX826" fmla="*/ 1311352 w 1897116"/>
              <a:gd name="connsiteY826" fmla="*/ 24114 h 1087290"/>
              <a:gd name="connsiteX827" fmla="*/ 1313202 w 1897116"/>
              <a:gd name="connsiteY827" fmla="*/ 24402 h 1087290"/>
              <a:gd name="connsiteX828" fmla="*/ 1322009 w 1897116"/>
              <a:gd name="connsiteY828" fmla="*/ 25873 h 1087290"/>
              <a:gd name="connsiteX829" fmla="*/ 1329759 w 1897116"/>
              <a:gd name="connsiteY829" fmla="*/ 22802 h 1087290"/>
              <a:gd name="connsiteX830" fmla="*/ 1333810 w 1897116"/>
              <a:gd name="connsiteY830" fmla="*/ 26417 h 1087290"/>
              <a:gd name="connsiteX831" fmla="*/ 1347373 w 1897116"/>
              <a:gd name="connsiteY831" fmla="*/ 26353 h 1087290"/>
              <a:gd name="connsiteX832" fmla="*/ 1360848 w 1897116"/>
              <a:gd name="connsiteY832" fmla="*/ 25361 h 1087290"/>
              <a:gd name="connsiteX833" fmla="*/ 1366397 w 1897116"/>
              <a:gd name="connsiteY833" fmla="*/ 24913 h 1087290"/>
              <a:gd name="connsiteX834" fmla="*/ 1371857 w 1897116"/>
              <a:gd name="connsiteY834" fmla="*/ 23698 h 1087290"/>
              <a:gd name="connsiteX835" fmla="*/ 1369920 w 1897116"/>
              <a:gd name="connsiteY835" fmla="*/ 26737 h 1087290"/>
              <a:gd name="connsiteX836" fmla="*/ 1362874 w 1897116"/>
              <a:gd name="connsiteY836" fmla="*/ 32431 h 1087290"/>
              <a:gd name="connsiteX837" fmla="*/ 1356709 w 1897116"/>
              <a:gd name="connsiteY837" fmla="*/ 37838 h 1087290"/>
              <a:gd name="connsiteX838" fmla="*/ 1356533 w 1897116"/>
              <a:gd name="connsiteY838" fmla="*/ 38574 h 1087290"/>
              <a:gd name="connsiteX839" fmla="*/ 1358118 w 1897116"/>
              <a:gd name="connsiteY839" fmla="*/ 39950 h 1087290"/>
              <a:gd name="connsiteX840" fmla="*/ 1367718 w 1897116"/>
              <a:gd name="connsiteY840" fmla="*/ 39214 h 1087290"/>
              <a:gd name="connsiteX841" fmla="*/ 1376965 w 1897116"/>
              <a:gd name="connsiteY841" fmla="*/ 38670 h 1087290"/>
              <a:gd name="connsiteX842" fmla="*/ 1381809 w 1897116"/>
              <a:gd name="connsiteY842" fmla="*/ 39054 h 1087290"/>
              <a:gd name="connsiteX843" fmla="*/ 1389031 w 1897116"/>
              <a:gd name="connsiteY843" fmla="*/ 38062 h 1087290"/>
              <a:gd name="connsiteX844" fmla="*/ 1396165 w 1897116"/>
              <a:gd name="connsiteY844" fmla="*/ 35343 h 1087290"/>
              <a:gd name="connsiteX845" fmla="*/ 1400569 w 1897116"/>
              <a:gd name="connsiteY845" fmla="*/ 35823 h 1087290"/>
              <a:gd name="connsiteX846" fmla="*/ 1401890 w 1897116"/>
              <a:gd name="connsiteY846" fmla="*/ 34127 h 1087290"/>
              <a:gd name="connsiteX847" fmla="*/ 1409904 w 1897116"/>
              <a:gd name="connsiteY847" fmla="*/ 30832 h 1087290"/>
              <a:gd name="connsiteX848" fmla="*/ 1416245 w 1897116"/>
              <a:gd name="connsiteY848" fmla="*/ 29104 h 1087290"/>
              <a:gd name="connsiteX849" fmla="*/ 1422146 w 1897116"/>
              <a:gd name="connsiteY849" fmla="*/ 26705 h 1087290"/>
              <a:gd name="connsiteX850" fmla="*/ 1428399 w 1897116"/>
              <a:gd name="connsiteY850" fmla="*/ 26961 h 1087290"/>
              <a:gd name="connsiteX851" fmla="*/ 1434564 w 1897116"/>
              <a:gd name="connsiteY851" fmla="*/ 24210 h 1087290"/>
              <a:gd name="connsiteX852" fmla="*/ 1441874 w 1897116"/>
              <a:gd name="connsiteY852" fmla="*/ 21394 h 1087290"/>
              <a:gd name="connsiteX853" fmla="*/ 1447070 w 1897116"/>
              <a:gd name="connsiteY853" fmla="*/ 21842 h 1087290"/>
              <a:gd name="connsiteX854" fmla="*/ 1452971 w 1897116"/>
              <a:gd name="connsiteY854" fmla="*/ 20722 h 1087290"/>
              <a:gd name="connsiteX855" fmla="*/ 1459312 w 1897116"/>
              <a:gd name="connsiteY855" fmla="*/ 18035 h 1087290"/>
              <a:gd name="connsiteX856" fmla="*/ 1465830 w 1897116"/>
              <a:gd name="connsiteY856" fmla="*/ 15412 h 1087290"/>
              <a:gd name="connsiteX857" fmla="*/ 1469529 w 1897116"/>
              <a:gd name="connsiteY857" fmla="*/ 14900 h 1087290"/>
              <a:gd name="connsiteX858" fmla="*/ 1478512 w 1897116"/>
              <a:gd name="connsiteY858" fmla="*/ 13204 h 1087290"/>
              <a:gd name="connsiteX859" fmla="*/ 1486350 w 1897116"/>
              <a:gd name="connsiteY859" fmla="*/ 14644 h 1087290"/>
              <a:gd name="connsiteX860" fmla="*/ 1488464 w 1897116"/>
              <a:gd name="connsiteY860" fmla="*/ 16436 h 1087290"/>
              <a:gd name="connsiteX861" fmla="*/ 1493396 w 1897116"/>
              <a:gd name="connsiteY861" fmla="*/ 22866 h 1087290"/>
              <a:gd name="connsiteX862" fmla="*/ 1497976 w 1897116"/>
              <a:gd name="connsiteY862" fmla="*/ 26289 h 1087290"/>
              <a:gd name="connsiteX863" fmla="*/ 1503612 w 1897116"/>
              <a:gd name="connsiteY863" fmla="*/ 28784 h 1087290"/>
              <a:gd name="connsiteX864" fmla="*/ 1513476 w 1897116"/>
              <a:gd name="connsiteY864" fmla="*/ 29072 h 1087290"/>
              <a:gd name="connsiteX865" fmla="*/ 1520874 w 1897116"/>
              <a:gd name="connsiteY865" fmla="*/ 26065 h 1087290"/>
              <a:gd name="connsiteX866" fmla="*/ 1523957 w 1897116"/>
              <a:gd name="connsiteY866" fmla="*/ 24465 h 1087290"/>
              <a:gd name="connsiteX867" fmla="*/ 1525806 w 1897116"/>
              <a:gd name="connsiteY867" fmla="*/ 26193 h 1087290"/>
              <a:gd name="connsiteX868" fmla="*/ 1530650 w 1897116"/>
              <a:gd name="connsiteY868" fmla="*/ 29776 h 1087290"/>
              <a:gd name="connsiteX869" fmla="*/ 1532324 w 1897116"/>
              <a:gd name="connsiteY869" fmla="*/ 31376 h 1087290"/>
              <a:gd name="connsiteX870" fmla="*/ 1535759 w 1897116"/>
              <a:gd name="connsiteY870" fmla="*/ 29296 h 1087290"/>
              <a:gd name="connsiteX871" fmla="*/ 1539634 w 1897116"/>
              <a:gd name="connsiteY871" fmla="*/ 26577 h 1087290"/>
              <a:gd name="connsiteX872" fmla="*/ 1545887 w 1897116"/>
              <a:gd name="connsiteY872" fmla="*/ 23122 h 1087290"/>
              <a:gd name="connsiteX873" fmla="*/ 1548089 w 1897116"/>
              <a:gd name="connsiteY873" fmla="*/ 18931 h 1087290"/>
              <a:gd name="connsiteX874" fmla="*/ 1554430 w 1897116"/>
              <a:gd name="connsiteY874" fmla="*/ 16500 h 1087290"/>
              <a:gd name="connsiteX875" fmla="*/ 1559890 w 1897116"/>
              <a:gd name="connsiteY875" fmla="*/ 18835 h 1087290"/>
              <a:gd name="connsiteX876" fmla="*/ 1564558 w 1897116"/>
              <a:gd name="connsiteY876" fmla="*/ 23538 h 1087290"/>
              <a:gd name="connsiteX877" fmla="*/ 1569578 w 1897116"/>
              <a:gd name="connsiteY877" fmla="*/ 29264 h 1087290"/>
              <a:gd name="connsiteX878" fmla="*/ 1574510 w 1897116"/>
              <a:gd name="connsiteY878" fmla="*/ 34991 h 1087290"/>
              <a:gd name="connsiteX879" fmla="*/ 1577328 w 1897116"/>
              <a:gd name="connsiteY879" fmla="*/ 27985 h 1087290"/>
              <a:gd name="connsiteX880" fmla="*/ 1580235 w 1897116"/>
              <a:gd name="connsiteY880" fmla="*/ 20914 h 1087290"/>
              <a:gd name="connsiteX881" fmla="*/ 1582172 w 1897116"/>
              <a:gd name="connsiteY881" fmla="*/ 18515 h 1087290"/>
              <a:gd name="connsiteX882" fmla="*/ 1584991 w 1897116"/>
              <a:gd name="connsiteY882" fmla="*/ 20531 h 1087290"/>
              <a:gd name="connsiteX883" fmla="*/ 1589834 w 1897116"/>
              <a:gd name="connsiteY883" fmla="*/ 24593 h 1087290"/>
              <a:gd name="connsiteX884" fmla="*/ 1590803 w 1897116"/>
              <a:gd name="connsiteY884" fmla="*/ 29104 h 1087290"/>
              <a:gd name="connsiteX885" fmla="*/ 1598554 w 1897116"/>
              <a:gd name="connsiteY885" fmla="*/ 22226 h 1087290"/>
              <a:gd name="connsiteX886" fmla="*/ 1605511 w 1897116"/>
              <a:gd name="connsiteY886" fmla="*/ 15828 h 1087290"/>
              <a:gd name="connsiteX887" fmla="*/ 1602164 w 1897116"/>
              <a:gd name="connsiteY887" fmla="*/ 12277 h 1087290"/>
              <a:gd name="connsiteX888" fmla="*/ 1609563 w 1897116"/>
              <a:gd name="connsiteY888" fmla="*/ 11733 h 1087290"/>
              <a:gd name="connsiteX889" fmla="*/ 1613526 w 1897116"/>
              <a:gd name="connsiteY889" fmla="*/ 7670 h 1087290"/>
              <a:gd name="connsiteX890" fmla="*/ 1615023 w 1897116"/>
              <a:gd name="connsiteY890" fmla="*/ 3319 h 1087290"/>
              <a:gd name="connsiteX891" fmla="*/ 1621012 w 1897116"/>
              <a:gd name="connsiteY891" fmla="*/ 3287 h 1087290"/>
              <a:gd name="connsiteX892" fmla="*/ 1622333 w 1897116"/>
              <a:gd name="connsiteY892" fmla="*/ 6966 h 1087290"/>
              <a:gd name="connsiteX893" fmla="*/ 1624182 w 1897116"/>
              <a:gd name="connsiteY893" fmla="*/ 15860 h 1087290"/>
              <a:gd name="connsiteX894" fmla="*/ 1625415 w 1897116"/>
              <a:gd name="connsiteY894" fmla="*/ 25713 h 1087290"/>
              <a:gd name="connsiteX895" fmla="*/ 1630788 w 1897116"/>
              <a:gd name="connsiteY895" fmla="*/ 22386 h 1087290"/>
              <a:gd name="connsiteX896" fmla="*/ 1635191 w 1897116"/>
              <a:gd name="connsiteY896" fmla="*/ 23666 h 1087290"/>
              <a:gd name="connsiteX897" fmla="*/ 1640828 w 1897116"/>
              <a:gd name="connsiteY897" fmla="*/ 22482 h 1087290"/>
              <a:gd name="connsiteX898" fmla="*/ 1646817 w 1897116"/>
              <a:gd name="connsiteY898" fmla="*/ 20882 h 1087290"/>
              <a:gd name="connsiteX899" fmla="*/ 1652541 w 1897116"/>
              <a:gd name="connsiteY899" fmla="*/ 18483 h 1087290"/>
              <a:gd name="connsiteX900" fmla="*/ 1657562 w 1897116"/>
              <a:gd name="connsiteY900" fmla="*/ 16787 h 1087290"/>
              <a:gd name="connsiteX901" fmla="*/ 1664167 w 1897116"/>
              <a:gd name="connsiteY901" fmla="*/ 14452 h 1087290"/>
              <a:gd name="connsiteX902" fmla="*/ 1670772 w 1897116"/>
              <a:gd name="connsiteY902" fmla="*/ 12341 h 1087290"/>
              <a:gd name="connsiteX903" fmla="*/ 1677818 w 1897116"/>
              <a:gd name="connsiteY903" fmla="*/ 12277 h 1087290"/>
              <a:gd name="connsiteX904" fmla="*/ 1685304 w 1897116"/>
              <a:gd name="connsiteY904" fmla="*/ 9749 h 1087290"/>
              <a:gd name="connsiteX905" fmla="*/ 1688915 w 1897116"/>
              <a:gd name="connsiteY905" fmla="*/ 12405 h 1087290"/>
              <a:gd name="connsiteX906" fmla="*/ 1693671 w 1897116"/>
              <a:gd name="connsiteY906" fmla="*/ 8342 h 1087290"/>
              <a:gd name="connsiteX907" fmla="*/ 1703271 w 1897116"/>
              <a:gd name="connsiteY907" fmla="*/ 9173 h 1087290"/>
              <a:gd name="connsiteX908" fmla="*/ 1704416 w 1897116"/>
              <a:gd name="connsiteY908" fmla="*/ 7926 h 1087290"/>
              <a:gd name="connsiteX909" fmla="*/ 1708027 w 1897116"/>
              <a:gd name="connsiteY909" fmla="*/ 11669 h 1087290"/>
              <a:gd name="connsiteX910" fmla="*/ 1710581 w 1897116"/>
              <a:gd name="connsiteY910" fmla="*/ 16628 h 1087290"/>
              <a:gd name="connsiteX911" fmla="*/ 1711549 w 1897116"/>
              <a:gd name="connsiteY911" fmla="*/ 15892 h 1087290"/>
              <a:gd name="connsiteX912" fmla="*/ 1716834 w 1897116"/>
              <a:gd name="connsiteY912" fmla="*/ 19315 h 1087290"/>
              <a:gd name="connsiteX913" fmla="*/ 1722646 w 1897116"/>
              <a:gd name="connsiteY913" fmla="*/ 21362 h 1087290"/>
              <a:gd name="connsiteX914" fmla="*/ 1727578 w 1897116"/>
              <a:gd name="connsiteY914" fmla="*/ 23506 h 1087290"/>
              <a:gd name="connsiteX915" fmla="*/ 1729076 w 1897116"/>
              <a:gd name="connsiteY915" fmla="*/ 21970 h 1087290"/>
              <a:gd name="connsiteX916" fmla="*/ 1733743 w 1897116"/>
              <a:gd name="connsiteY916" fmla="*/ 23474 h 1087290"/>
              <a:gd name="connsiteX917" fmla="*/ 1740965 w 1897116"/>
              <a:gd name="connsiteY917" fmla="*/ 21970 h 1087290"/>
              <a:gd name="connsiteX918" fmla="*/ 1742639 w 1897116"/>
              <a:gd name="connsiteY918" fmla="*/ 21330 h 1087290"/>
              <a:gd name="connsiteX919" fmla="*/ 1749949 w 1897116"/>
              <a:gd name="connsiteY919" fmla="*/ 21874 h 1087290"/>
              <a:gd name="connsiteX920" fmla="*/ 1758492 w 1897116"/>
              <a:gd name="connsiteY920" fmla="*/ 23154 h 1087290"/>
              <a:gd name="connsiteX921" fmla="*/ 1760517 w 1897116"/>
              <a:gd name="connsiteY921" fmla="*/ 25297 h 1087290"/>
              <a:gd name="connsiteX922" fmla="*/ 1765802 w 1897116"/>
              <a:gd name="connsiteY922" fmla="*/ 30576 h 1087290"/>
              <a:gd name="connsiteX923" fmla="*/ 1772583 w 1897116"/>
              <a:gd name="connsiteY923" fmla="*/ 34959 h 1087290"/>
              <a:gd name="connsiteX924" fmla="*/ 1781214 w 1897116"/>
              <a:gd name="connsiteY924" fmla="*/ 36622 h 1087290"/>
              <a:gd name="connsiteX925" fmla="*/ 1786058 w 1897116"/>
              <a:gd name="connsiteY925" fmla="*/ 34287 h 1087290"/>
              <a:gd name="connsiteX926" fmla="*/ 1786058 w 1897116"/>
              <a:gd name="connsiteY926" fmla="*/ 34639 h 1087290"/>
              <a:gd name="connsiteX927" fmla="*/ 1790638 w 1897116"/>
              <a:gd name="connsiteY927" fmla="*/ 36366 h 1087290"/>
              <a:gd name="connsiteX928" fmla="*/ 1789405 w 1897116"/>
              <a:gd name="connsiteY928" fmla="*/ 39406 h 1087290"/>
              <a:gd name="connsiteX929" fmla="*/ 1789669 w 1897116"/>
              <a:gd name="connsiteY929" fmla="*/ 45132 h 1087290"/>
              <a:gd name="connsiteX930" fmla="*/ 1789669 w 1897116"/>
              <a:gd name="connsiteY930" fmla="*/ 49227 h 1087290"/>
              <a:gd name="connsiteX931" fmla="*/ 1788700 w 1897116"/>
              <a:gd name="connsiteY931" fmla="*/ 49803 h 1087290"/>
              <a:gd name="connsiteX932" fmla="*/ 1789757 w 1897116"/>
              <a:gd name="connsiteY932" fmla="*/ 49899 h 1087290"/>
              <a:gd name="connsiteX933" fmla="*/ 1789669 w 1897116"/>
              <a:gd name="connsiteY933" fmla="*/ 49227 h 1087290"/>
              <a:gd name="connsiteX934" fmla="*/ 1794425 w 1897116"/>
              <a:gd name="connsiteY934" fmla="*/ 49643 h 1087290"/>
              <a:gd name="connsiteX935" fmla="*/ 1800061 w 1897116"/>
              <a:gd name="connsiteY935" fmla="*/ 49515 h 1087290"/>
              <a:gd name="connsiteX936" fmla="*/ 1804641 w 1897116"/>
              <a:gd name="connsiteY936" fmla="*/ 48747 h 1087290"/>
              <a:gd name="connsiteX937" fmla="*/ 1811335 w 1897116"/>
              <a:gd name="connsiteY937" fmla="*/ 46924 h 1087290"/>
              <a:gd name="connsiteX938" fmla="*/ 1811863 w 1897116"/>
              <a:gd name="connsiteY938" fmla="*/ 50859 h 1087290"/>
              <a:gd name="connsiteX939" fmla="*/ 1816707 w 1897116"/>
              <a:gd name="connsiteY939" fmla="*/ 45228 h 1087290"/>
              <a:gd name="connsiteX940" fmla="*/ 1821991 w 1897116"/>
              <a:gd name="connsiteY940" fmla="*/ 41581 h 1087290"/>
              <a:gd name="connsiteX941" fmla="*/ 1828332 w 1897116"/>
              <a:gd name="connsiteY941" fmla="*/ 41773 h 1087290"/>
              <a:gd name="connsiteX942" fmla="*/ 1830710 w 1897116"/>
              <a:gd name="connsiteY942" fmla="*/ 37902 h 1087290"/>
              <a:gd name="connsiteX943" fmla="*/ 1834585 w 1897116"/>
              <a:gd name="connsiteY943" fmla="*/ 35471 h 1087290"/>
              <a:gd name="connsiteX944" fmla="*/ 1835202 w 1897116"/>
              <a:gd name="connsiteY944" fmla="*/ 36015 h 1087290"/>
              <a:gd name="connsiteX945" fmla="*/ 1840398 w 1897116"/>
              <a:gd name="connsiteY945" fmla="*/ 40173 h 1087290"/>
              <a:gd name="connsiteX946" fmla="*/ 1843481 w 1897116"/>
              <a:gd name="connsiteY946" fmla="*/ 46284 h 1087290"/>
              <a:gd name="connsiteX947" fmla="*/ 1846827 w 1897116"/>
              <a:gd name="connsiteY947" fmla="*/ 50699 h 1087290"/>
              <a:gd name="connsiteX948" fmla="*/ 1850967 w 1897116"/>
              <a:gd name="connsiteY948" fmla="*/ 46092 h 1087290"/>
              <a:gd name="connsiteX949" fmla="*/ 1855018 w 1897116"/>
              <a:gd name="connsiteY949" fmla="*/ 41549 h 1087290"/>
              <a:gd name="connsiteX950" fmla="*/ 1857660 w 1897116"/>
              <a:gd name="connsiteY950" fmla="*/ 40013 h 1087290"/>
              <a:gd name="connsiteX951" fmla="*/ 1858277 w 1897116"/>
              <a:gd name="connsiteY951" fmla="*/ 47756 h 1087290"/>
              <a:gd name="connsiteX952" fmla="*/ 1857660 w 1897116"/>
              <a:gd name="connsiteY952" fmla="*/ 57001 h 1087290"/>
              <a:gd name="connsiteX953" fmla="*/ 1857924 w 1897116"/>
              <a:gd name="connsiteY953" fmla="*/ 57225 h 1087290"/>
              <a:gd name="connsiteX954" fmla="*/ 1859157 w 1897116"/>
              <a:gd name="connsiteY954" fmla="*/ 56041 h 1087290"/>
              <a:gd name="connsiteX955" fmla="*/ 1862944 w 1897116"/>
              <a:gd name="connsiteY955" fmla="*/ 56457 h 1087290"/>
              <a:gd name="connsiteX956" fmla="*/ 1865763 w 1897116"/>
              <a:gd name="connsiteY956" fmla="*/ 50539 h 1087290"/>
              <a:gd name="connsiteX957" fmla="*/ 1873865 w 1897116"/>
              <a:gd name="connsiteY957" fmla="*/ 44076 h 1087290"/>
              <a:gd name="connsiteX958" fmla="*/ 1879502 w 1897116"/>
              <a:gd name="connsiteY958" fmla="*/ 41357 h 1087290"/>
              <a:gd name="connsiteX959" fmla="*/ 1883377 w 1897116"/>
              <a:gd name="connsiteY959" fmla="*/ 35919 h 1087290"/>
              <a:gd name="connsiteX960" fmla="*/ 1881792 w 1897116"/>
              <a:gd name="connsiteY960" fmla="*/ 34639 h 1087290"/>
              <a:gd name="connsiteX961" fmla="*/ 1888485 w 1897116"/>
              <a:gd name="connsiteY961" fmla="*/ 31408 h 1087290"/>
              <a:gd name="connsiteX962" fmla="*/ 1892008 w 1897116"/>
              <a:gd name="connsiteY962" fmla="*/ 29648 h 1087290"/>
              <a:gd name="connsiteX963" fmla="*/ 1893593 w 1897116"/>
              <a:gd name="connsiteY963" fmla="*/ 37262 h 1087290"/>
              <a:gd name="connsiteX964" fmla="*/ 1892360 w 1897116"/>
              <a:gd name="connsiteY964" fmla="*/ 44268 h 1087290"/>
              <a:gd name="connsiteX965" fmla="*/ 1897116 w 1897116"/>
              <a:gd name="connsiteY965" fmla="*/ 48459 h 1087290"/>
              <a:gd name="connsiteX966" fmla="*/ 1897116 w 1897116"/>
              <a:gd name="connsiteY966" fmla="*/ 688967 h 1087290"/>
              <a:gd name="connsiteX967" fmla="*/ 1886628 w 1897116"/>
              <a:gd name="connsiteY967" fmla="*/ 968560 h 1087290"/>
              <a:gd name="connsiteX968" fmla="*/ 1886628 w 1897116"/>
              <a:gd name="connsiteY968" fmla="*/ 980213 h 1087290"/>
              <a:gd name="connsiteX969" fmla="*/ 1886628 w 1897116"/>
              <a:gd name="connsiteY969" fmla="*/ 988837 h 1087290"/>
              <a:gd name="connsiteX970" fmla="*/ 1886628 w 1897116"/>
              <a:gd name="connsiteY970" fmla="*/ 994240 h 1087290"/>
              <a:gd name="connsiteX971" fmla="*/ 1886628 w 1897116"/>
              <a:gd name="connsiteY971" fmla="*/ 996096 h 1087290"/>
              <a:gd name="connsiteX972" fmla="*/ 1882510 w 1897116"/>
              <a:gd name="connsiteY972" fmla="*/ 998770 h 1087290"/>
              <a:gd name="connsiteX973" fmla="*/ 1877778 w 1897116"/>
              <a:gd name="connsiteY973" fmla="*/ 1002427 h 1087290"/>
              <a:gd name="connsiteX974" fmla="*/ 1874360 w 1897116"/>
              <a:gd name="connsiteY974" fmla="*/ 1006329 h 1087290"/>
              <a:gd name="connsiteX975" fmla="*/ 1869716 w 1897116"/>
              <a:gd name="connsiteY975" fmla="*/ 1009222 h 1087290"/>
              <a:gd name="connsiteX976" fmla="*/ 1869102 w 1897116"/>
              <a:gd name="connsiteY976" fmla="*/ 1006684 h 1087290"/>
              <a:gd name="connsiteX977" fmla="*/ 1867262 w 1897116"/>
              <a:gd name="connsiteY977" fmla="*/ 996696 h 1087290"/>
              <a:gd name="connsiteX978" fmla="*/ 1864984 w 1897116"/>
              <a:gd name="connsiteY978" fmla="*/ 989273 h 1087290"/>
              <a:gd name="connsiteX979" fmla="*/ 1864984 w 1897116"/>
              <a:gd name="connsiteY979" fmla="*/ 984170 h 1087290"/>
              <a:gd name="connsiteX980" fmla="*/ 1863669 w 1897116"/>
              <a:gd name="connsiteY980" fmla="*/ 989273 h 1087290"/>
              <a:gd name="connsiteX981" fmla="*/ 1862355 w 1897116"/>
              <a:gd name="connsiteY981" fmla="*/ 994649 h 1087290"/>
              <a:gd name="connsiteX982" fmla="*/ 1860690 w 1897116"/>
              <a:gd name="connsiteY982" fmla="*/ 1001090 h 1087290"/>
              <a:gd name="connsiteX983" fmla="*/ 1858324 w 1897116"/>
              <a:gd name="connsiteY983" fmla="*/ 1008731 h 1087290"/>
              <a:gd name="connsiteX984" fmla="*/ 1857360 w 1897116"/>
              <a:gd name="connsiteY984" fmla="*/ 1014161 h 1087290"/>
              <a:gd name="connsiteX985" fmla="*/ 1855607 w 1897116"/>
              <a:gd name="connsiteY985" fmla="*/ 1021284 h 1087290"/>
              <a:gd name="connsiteX986" fmla="*/ 1854819 w 1897116"/>
              <a:gd name="connsiteY986" fmla="*/ 1024695 h 1087290"/>
              <a:gd name="connsiteX987" fmla="*/ 1854994 w 1897116"/>
              <a:gd name="connsiteY987" fmla="*/ 1030562 h 1087290"/>
              <a:gd name="connsiteX988" fmla="*/ 1853504 w 1897116"/>
              <a:gd name="connsiteY988" fmla="*/ 1034083 h 1087290"/>
              <a:gd name="connsiteX989" fmla="*/ 1847831 w 1897116"/>
              <a:gd name="connsiteY989" fmla="*/ 1034044 h 1087290"/>
              <a:gd name="connsiteX990" fmla="*/ 1846998 w 1897116"/>
              <a:gd name="connsiteY990" fmla="*/ 1033257 h 1087290"/>
              <a:gd name="connsiteX991" fmla="*/ 1846947 w 1897116"/>
              <a:gd name="connsiteY991" fmla="*/ 1033944 h 1087290"/>
              <a:gd name="connsiteX992" fmla="*/ 1841061 w 1897116"/>
              <a:gd name="connsiteY992" fmla="*/ 1031708 h 1087290"/>
              <a:gd name="connsiteX993" fmla="*/ 1834313 w 1897116"/>
              <a:gd name="connsiteY993" fmla="*/ 1027506 h 1087290"/>
              <a:gd name="connsiteX994" fmla="*/ 1829406 w 1897116"/>
              <a:gd name="connsiteY994" fmla="*/ 1032418 h 1087290"/>
              <a:gd name="connsiteX995" fmla="*/ 1824587 w 1897116"/>
              <a:gd name="connsiteY995" fmla="*/ 1037303 h 1087290"/>
              <a:gd name="connsiteX996" fmla="*/ 1820205 w 1897116"/>
              <a:gd name="connsiteY996" fmla="*/ 1041560 h 1087290"/>
              <a:gd name="connsiteX997" fmla="*/ 1816087 w 1897116"/>
              <a:gd name="connsiteY997" fmla="*/ 1045872 h 1087290"/>
              <a:gd name="connsiteX998" fmla="*/ 1810391 w 1897116"/>
              <a:gd name="connsiteY998" fmla="*/ 1048874 h 1087290"/>
              <a:gd name="connsiteX999" fmla="*/ 1804782 w 1897116"/>
              <a:gd name="connsiteY999" fmla="*/ 1050347 h 1087290"/>
              <a:gd name="connsiteX1000" fmla="*/ 1804552 w 1897116"/>
              <a:gd name="connsiteY1000" fmla="*/ 1048972 h 1087290"/>
              <a:gd name="connsiteX1001" fmla="*/ 1801462 w 1897116"/>
              <a:gd name="connsiteY1001" fmla="*/ 1048324 h 1087290"/>
              <a:gd name="connsiteX1002" fmla="*/ 1802230 w 1897116"/>
              <a:gd name="connsiteY1002" fmla="*/ 1047946 h 1087290"/>
              <a:gd name="connsiteX1003" fmla="*/ 1800050 w 1897116"/>
              <a:gd name="connsiteY1003" fmla="*/ 1048028 h 1087290"/>
              <a:gd name="connsiteX1004" fmla="*/ 1801462 w 1897116"/>
              <a:gd name="connsiteY1004" fmla="*/ 1048324 h 1087290"/>
              <a:gd name="connsiteX1005" fmla="*/ 1795406 w 1897116"/>
              <a:gd name="connsiteY1005" fmla="*/ 1051302 h 1087290"/>
              <a:gd name="connsiteX1006" fmla="*/ 1791550 w 1897116"/>
              <a:gd name="connsiteY1006" fmla="*/ 1047673 h 1087290"/>
              <a:gd name="connsiteX1007" fmla="*/ 1792251 w 1897116"/>
              <a:gd name="connsiteY1007" fmla="*/ 1043361 h 1087290"/>
              <a:gd name="connsiteX1008" fmla="*/ 1787958 w 1897116"/>
              <a:gd name="connsiteY1008" fmla="*/ 1041014 h 1087290"/>
              <a:gd name="connsiteX1009" fmla="*/ 1781561 w 1897116"/>
              <a:gd name="connsiteY1009" fmla="*/ 1044343 h 1087290"/>
              <a:gd name="connsiteX1010" fmla="*/ 1779983 w 1897116"/>
              <a:gd name="connsiteY1010" fmla="*/ 1043579 h 1087290"/>
              <a:gd name="connsiteX1011" fmla="*/ 1773148 w 1897116"/>
              <a:gd name="connsiteY1011" fmla="*/ 1046472 h 1087290"/>
              <a:gd name="connsiteX1012" fmla="*/ 1771020 w 1897116"/>
              <a:gd name="connsiteY1012" fmla="*/ 1049962 h 1087290"/>
              <a:gd name="connsiteX1013" fmla="*/ 1768300 w 1897116"/>
              <a:gd name="connsiteY1013" fmla="*/ 1049999 h 1087290"/>
              <a:gd name="connsiteX1014" fmla="*/ 1767189 w 1897116"/>
              <a:gd name="connsiteY1014" fmla="*/ 1049829 h 1087290"/>
              <a:gd name="connsiteX1015" fmla="*/ 1767327 w 1897116"/>
              <a:gd name="connsiteY1015" fmla="*/ 1050013 h 1087290"/>
              <a:gd name="connsiteX1016" fmla="*/ 1766839 w 1897116"/>
              <a:gd name="connsiteY1016" fmla="*/ 1050020 h 1087290"/>
              <a:gd name="connsiteX1017" fmla="*/ 1762096 w 1897116"/>
              <a:gd name="connsiteY1017" fmla="*/ 1045145 h 1087290"/>
              <a:gd name="connsiteX1018" fmla="*/ 1768218 w 1897116"/>
              <a:gd name="connsiteY1018" fmla="*/ 1044030 h 1087290"/>
              <a:gd name="connsiteX1019" fmla="*/ 1768591 w 1897116"/>
              <a:gd name="connsiteY1019" fmla="*/ 1044289 h 1087290"/>
              <a:gd name="connsiteX1020" fmla="*/ 1769643 w 1897116"/>
              <a:gd name="connsiteY1020" fmla="*/ 1043770 h 1087290"/>
              <a:gd name="connsiteX1021" fmla="*/ 1768218 w 1897116"/>
              <a:gd name="connsiteY1021" fmla="*/ 1044030 h 1087290"/>
              <a:gd name="connsiteX1022" fmla="*/ 1767573 w 1897116"/>
              <a:gd name="connsiteY1022" fmla="*/ 1043583 h 1087290"/>
              <a:gd name="connsiteX1023" fmla="*/ 1761231 w 1897116"/>
              <a:gd name="connsiteY1023" fmla="*/ 1040850 h 1087290"/>
              <a:gd name="connsiteX1024" fmla="*/ 1752730 w 1897116"/>
              <a:gd name="connsiteY1024" fmla="*/ 1037930 h 1087290"/>
              <a:gd name="connsiteX1025" fmla="*/ 1750737 w 1897116"/>
              <a:gd name="connsiteY1025" fmla="*/ 1040216 h 1087290"/>
              <a:gd name="connsiteX1026" fmla="*/ 1749661 w 1897116"/>
              <a:gd name="connsiteY1026" fmla="*/ 1041465 h 1087290"/>
              <a:gd name="connsiteX1027" fmla="*/ 1749156 w 1897116"/>
              <a:gd name="connsiteY1027" fmla="*/ 1040798 h 1087290"/>
              <a:gd name="connsiteX1028" fmla="*/ 1748612 w 1897116"/>
              <a:gd name="connsiteY1028" fmla="*/ 1042706 h 1087290"/>
              <a:gd name="connsiteX1029" fmla="*/ 1750726 w 1897116"/>
              <a:gd name="connsiteY1029" fmla="*/ 1043089 h 1087290"/>
              <a:gd name="connsiteX1030" fmla="*/ 1749488 w 1897116"/>
              <a:gd name="connsiteY1030" fmla="*/ 1045599 h 1087290"/>
              <a:gd name="connsiteX1031" fmla="*/ 1742215 w 1897116"/>
              <a:gd name="connsiteY1031" fmla="*/ 1041778 h 1087290"/>
              <a:gd name="connsiteX1032" fmla="*/ 1736870 w 1897116"/>
              <a:gd name="connsiteY1032" fmla="*/ 1042051 h 1087290"/>
              <a:gd name="connsiteX1033" fmla="*/ 1730406 w 1897116"/>
              <a:gd name="connsiteY1033" fmla="*/ 1043213 h 1087290"/>
              <a:gd name="connsiteX1034" fmla="*/ 1728950 w 1897116"/>
              <a:gd name="connsiteY1034" fmla="*/ 1043524 h 1087290"/>
              <a:gd name="connsiteX1035" fmla="*/ 1728402 w 1897116"/>
              <a:gd name="connsiteY1035" fmla="*/ 1042198 h 1087290"/>
              <a:gd name="connsiteX1036" fmla="*/ 1723988 w 1897116"/>
              <a:gd name="connsiteY1036" fmla="*/ 1044589 h 1087290"/>
              <a:gd name="connsiteX1037" fmla="*/ 1723287 w 1897116"/>
              <a:gd name="connsiteY1037" fmla="*/ 1048955 h 1087290"/>
              <a:gd name="connsiteX1038" fmla="*/ 1719168 w 1897116"/>
              <a:gd name="connsiteY1038" fmla="*/ 1055177 h 1087290"/>
              <a:gd name="connsiteX1039" fmla="*/ 1713648 w 1897116"/>
              <a:gd name="connsiteY1039" fmla="*/ 1054304 h 1087290"/>
              <a:gd name="connsiteX1040" fmla="*/ 1713998 w 1897116"/>
              <a:gd name="connsiteY1040" fmla="*/ 1056051 h 1087290"/>
              <a:gd name="connsiteX1041" fmla="*/ 1708302 w 1897116"/>
              <a:gd name="connsiteY1041" fmla="*/ 1054413 h 1087290"/>
              <a:gd name="connsiteX1042" fmla="*/ 1702606 w 1897116"/>
              <a:gd name="connsiteY1042" fmla="*/ 1058398 h 1087290"/>
              <a:gd name="connsiteX1043" fmla="*/ 1699978 w 1897116"/>
              <a:gd name="connsiteY1043" fmla="*/ 1056979 h 1087290"/>
              <a:gd name="connsiteX1044" fmla="*/ 1696560 w 1897116"/>
              <a:gd name="connsiteY1044" fmla="*/ 1056105 h 1087290"/>
              <a:gd name="connsiteX1045" fmla="*/ 1693493 w 1897116"/>
              <a:gd name="connsiteY1045" fmla="*/ 1062245 h 1087290"/>
              <a:gd name="connsiteX1046" fmla="*/ 1692441 w 1897116"/>
              <a:gd name="connsiteY1046" fmla="*/ 1063528 h 1087290"/>
              <a:gd name="connsiteX1047" fmla="*/ 1684905 w 1897116"/>
              <a:gd name="connsiteY1047" fmla="*/ 1064674 h 1087290"/>
              <a:gd name="connsiteX1048" fmla="*/ 1683941 w 1897116"/>
              <a:gd name="connsiteY1048" fmla="*/ 1062737 h 1087290"/>
              <a:gd name="connsiteX1049" fmla="*/ 1681488 w 1897116"/>
              <a:gd name="connsiteY1049" fmla="*/ 1059489 h 1087290"/>
              <a:gd name="connsiteX1050" fmla="*/ 1675178 w 1897116"/>
              <a:gd name="connsiteY1050" fmla="*/ 1061727 h 1087290"/>
              <a:gd name="connsiteX1051" fmla="*/ 1669132 w 1897116"/>
              <a:gd name="connsiteY1051" fmla="*/ 1062000 h 1087290"/>
              <a:gd name="connsiteX1052" fmla="*/ 1664049 w 1897116"/>
              <a:gd name="connsiteY1052" fmla="*/ 1060499 h 1087290"/>
              <a:gd name="connsiteX1053" fmla="*/ 1662560 w 1897116"/>
              <a:gd name="connsiteY1053" fmla="*/ 1065493 h 1087290"/>
              <a:gd name="connsiteX1054" fmla="*/ 1652745 w 1897116"/>
              <a:gd name="connsiteY1054" fmla="*/ 1059571 h 1087290"/>
              <a:gd name="connsiteX1055" fmla="*/ 1647400 w 1897116"/>
              <a:gd name="connsiteY1055" fmla="*/ 1050484 h 1087290"/>
              <a:gd name="connsiteX1056" fmla="*/ 1646085 w 1897116"/>
              <a:gd name="connsiteY1056" fmla="*/ 1056214 h 1087290"/>
              <a:gd name="connsiteX1057" fmla="*/ 1640214 w 1897116"/>
              <a:gd name="connsiteY1057" fmla="*/ 1054386 h 1087290"/>
              <a:gd name="connsiteX1058" fmla="*/ 1630225 w 1897116"/>
              <a:gd name="connsiteY1058" fmla="*/ 1054086 h 1087290"/>
              <a:gd name="connsiteX1059" fmla="*/ 1624003 w 1897116"/>
              <a:gd name="connsiteY1059" fmla="*/ 1053294 h 1087290"/>
              <a:gd name="connsiteX1060" fmla="*/ 1622250 w 1897116"/>
              <a:gd name="connsiteY1060" fmla="*/ 1056023 h 1087290"/>
              <a:gd name="connsiteX1061" fmla="*/ 1613663 w 1897116"/>
              <a:gd name="connsiteY1061" fmla="*/ 1057333 h 1087290"/>
              <a:gd name="connsiteX1062" fmla="*/ 1609106 w 1897116"/>
              <a:gd name="connsiteY1062" fmla="*/ 1058479 h 1087290"/>
              <a:gd name="connsiteX1063" fmla="*/ 1610683 w 1897116"/>
              <a:gd name="connsiteY1063" fmla="*/ 1054795 h 1087290"/>
              <a:gd name="connsiteX1064" fmla="*/ 1605163 w 1897116"/>
              <a:gd name="connsiteY1064" fmla="*/ 1050102 h 1087290"/>
              <a:gd name="connsiteX1065" fmla="*/ 1600606 w 1897116"/>
              <a:gd name="connsiteY1065" fmla="*/ 1049965 h 1087290"/>
              <a:gd name="connsiteX1066" fmla="*/ 1596224 w 1897116"/>
              <a:gd name="connsiteY1066" fmla="*/ 1046963 h 1087290"/>
              <a:gd name="connsiteX1067" fmla="*/ 1593596 w 1897116"/>
              <a:gd name="connsiteY1067" fmla="*/ 1047994 h 1087290"/>
              <a:gd name="connsiteX1068" fmla="*/ 1589459 w 1897116"/>
              <a:gd name="connsiteY1068" fmla="*/ 1045424 h 1087290"/>
              <a:gd name="connsiteX1069" fmla="*/ 1590781 w 1897116"/>
              <a:gd name="connsiteY1069" fmla="*/ 1042061 h 1087290"/>
              <a:gd name="connsiteX1070" fmla="*/ 1589126 w 1897116"/>
              <a:gd name="connsiteY1070" fmla="*/ 1045217 h 1087290"/>
              <a:gd name="connsiteX1071" fmla="*/ 1589459 w 1897116"/>
              <a:gd name="connsiteY1071" fmla="*/ 1045424 h 1087290"/>
              <a:gd name="connsiteX1072" fmla="*/ 1588425 w 1897116"/>
              <a:gd name="connsiteY1072" fmla="*/ 1048055 h 1087290"/>
              <a:gd name="connsiteX1073" fmla="*/ 1583956 w 1897116"/>
              <a:gd name="connsiteY1073" fmla="*/ 1046581 h 1087290"/>
              <a:gd name="connsiteX1074" fmla="*/ 1582817 w 1897116"/>
              <a:gd name="connsiteY1074" fmla="*/ 1050948 h 1087290"/>
              <a:gd name="connsiteX1075" fmla="*/ 1584764 w 1897116"/>
              <a:gd name="connsiteY1075" fmla="*/ 1052756 h 1087290"/>
              <a:gd name="connsiteX1076" fmla="*/ 1580977 w 1897116"/>
              <a:gd name="connsiteY1076" fmla="*/ 1052012 h 1087290"/>
              <a:gd name="connsiteX1077" fmla="*/ 1578305 w 1897116"/>
              <a:gd name="connsiteY1077" fmla="*/ 1051874 h 1087290"/>
              <a:gd name="connsiteX1078" fmla="*/ 1574492 w 1897116"/>
              <a:gd name="connsiteY1078" fmla="*/ 1050347 h 1087290"/>
              <a:gd name="connsiteX1079" fmla="*/ 1567482 w 1897116"/>
              <a:gd name="connsiteY1079" fmla="*/ 1046145 h 1087290"/>
              <a:gd name="connsiteX1080" fmla="*/ 1563100 w 1897116"/>
              <a:gd name="connsiteY1080" fmla="*/ 1047591 h 1087290"/>
              <a:gd name="connsiteX1081" fmla="*/ 1552410 w 1897116"/>
              <a:gd name="connsiteY1081" fmla="*/ 1048137 h 1087290"/>
              <a:gd name="connsiteX1082" fmla="*/ 1542245 w 1897116"/>
              <a:gd name="connsiteY1082" fmla="*/ 1055041 h 1087290"/>
              <a:gd name="connsiteX1083" fmla="*/ 1537074 w 1897116"/>
              <a:gd name="connsiteY1083" fmla="*/ 1063610 h 1087290"/>
              <a:gd name="connsiteX1084" fmla="*/ 1535753 w 1897116"/>
              <a:gd name="connsiteY1084" fmla="*/ 1064310 h 1087290"/>
              <a:gd name="connsiteX1085" fmla="*/ 1534555 w 1897116"/>
              <a:gd name="connsiteY1085" fmla="*/ 1061710 h 1087290"/>
              <a:gd name="connsiteX1086" fmla="*/ 1535409 w 1897116"/>
              <a:gd name="connsiteY1086" fmla="*/ 1062627 h 1087290"/>
              <a:gd name="connsiteX1087" fmla="*/ 1533482 w 1897116"/>
              <a:gd name="connsiteY1087" fmla="*/ 1055942 h 1087290"/>
              <a:gd name="connsiteX1088" fmla="*/ 1532167 w 1897116"/>
              <a:gd name="connsiteY1088" fmla="*/ 1049501 h 1087290"/>
              <a:gd name="connsiteX1089" fmla="*/ 1532496 w 1897116"/>
              <a:gd name="connsiteY1089" fmla="*/ 1046731 h 1087290"/>
              <a:gd name="connsiteX1090" fmla="*/ 1532058 w 1897116"/>
              <a:gd name="connsiteY1090" fmla="*/ 1045420 h 1087290"/>
              <a:gd name="connsiteX1091" fmla="*/ 1532342 w 1897116"/>
              <a:gd name="connsiteY1091" fmla="*/ 1044848 h 1087290"/>
              <a:gd name="connsiteX1092" fmla="*/ 1530972 w 1897116"/>
              <a:gd name="connsiteY1092" fmla="*/ 1038571 h 1087290"/>
              <a:gd name="connsiteX1093" fmla="*/ 1531543 w 1897116"/>
              <a:gd name="connsiteY1093" fmla="*/ 1038404 h 1087290"/>
              <a:gd name="connsiteX1094" fmla="*/ 1530677 w 1897116"/>
              <a:gd name="connsiteY1094" fmla="*/ 1037221 h 1087290"/>
              <a:gd name="connsiteX1095" fmla="*/ 1530972 w 1897116"/>
              <a:gd name="connsiteY1095" fmla="*/ 1038571 h 1087290"/>
              <a:gd name="connsiteX1096" fmla="*/ 1524456 w 1897116"/>
              <a:gd name="connsiteY1096" fmla="*/ 1040468 h 1087290"/>
              <a:gd name="connsiteX1097" fmla="*/ 1518322 w 1897116"/>
              <a:gd name="connsiteY1097" fmla="*/ 1043689 h 1087290"/>
              <a:gd name="connsiteX1098" fmla="*/ 1510085 w 1897116"/>
              <a:gd name="connsiteY1098" fmla="*/ 1046636 h 1087290"/>
              <a:gd name="connsiteX1099" fmla="*/ 1506054 w 1897116"/>
              <a:gd name="connsiteY1099" fmla="*/ 1048491 h 1087290"/>
              <a:gd name="connsiteX1100" fmla="*/ 1500621 w 1897116"/>
              <a:gd name="connsiteY1100" fmla="*/ 1051029 h 1087290"/>
              <a:gd name="connsiteX1101" fmla="*/ 1492822 w 1897116"/>
              <a:gd name="connsiteY1101" fmla="*/ 1048491 h 1087290"/>
              <a:gd name="connsiteX1102" fmla="*/ 1485285 w 1897116"/>
              <a:gd name="connsiteY1102" fmla="*/ 1046581 h 1087290"/>
              <a:gd name="connsiteX1103" fmla="*/ 1485461 w 1897116"/>
              <a:gd name="connsiteY1103" fmla="*/ 1045571 h 1087290"/>
              <a:gd name="connsiteX1104" fmla="*/ 1487389 w 1897116"/>
              <a:gd name="connsiteY1104" fmla="*/ 1043252 h 1087290"/>
              <a:gd name="connsiteX1105" fmla="*/ 1480816 w 1897116"/>
              <a:gd name="connsiteY1105" fmla="*/ 1040359 h 1087290"/>
              <a:gd name="connsiteX1106" fmla="*/ 1481079 w 1897116"/>
              <a:gd name="connsiteY1106" fmla="*/ 1038940 h 1087290"/>
              <a:gd name="connsiteX1107" fmla="*/ 1475646 w 1897116"/>
              <a:gd name="connsiteY1107" fmla="*/ 1034055 h 1087290"/>
              <a:gd name="connsiteX1108" fmla="*/ 1475208 w 1897116"/>
              <a:gd name="connsiteY1108" fmla="*/ 1036757 h 1087290"/>
              <a:gd name="connsiteX1109" fmla="*/ 1471878 w 1897116"/>
              <a:gd name="connsiteY1109" fmla="*/ 1030344 h 1087290"/>
              <a:gd name="connsiteX1110" fmla="*/ 1467059 w 1897116"/>
              <a:gd name="connsiteY1110" fmla="*/ 1027560 h 1087290"/>
              <a:gd name="connsiteX1111" fmla="*/ 1461187 w 1897116"/>
              <a:gd name="connsiteY1111" fmla="*/ 1028788 h 1087290"/>
              <a:gd name="connsiteX1112" fmla="*/ 1459873 w 1897116"/>
              <a:gd name="connsiteY1112" fmla="*/ 1024067 h 1087290"/>
              <a:gd name="connsiteX1113" fmla="*/ 1454002 w 1897116"/>
              <a:gd name="connsiteY1113" fmla="*/ 1024122 h 1087290"/>
              <a:gd name="connsiteX1114" fmla="*/ 1447342 w 1897116"/>
              <a:gd name="connsiteY1114" fmla="*/ 1025541 h 1087290"/>
              <a:gd name="connsiteX1115" fmla="*/ 1441295 w 1897116"/>
              <a:gd name="connsiteY1115" fmla="*/ 1026332 h 1087290"/>
              <a:gd name="connsiteX1116" fmla="*/ 1433935 w 1897116"/>
              <a:gd name="connsiteY1116" fmla="*/ 1029389 h 1087290"/>
              <a:gd name="connsiteX1117" fmla="*/ 1429641 w 1897116"/>
              <a:gd name="connsiteY1117" fmla="*/ 1030944 h 1087290"/>
              <a:gd name="connsiteX1118" fmla="*/ 1424821 w 1897116"/>
              <a:gd name="connsiteY1118" fmla="*/ 1033510 h 1087290"/>
              <a:gd name="connsiteX1119" fmla="*/ 1419300 w 1897116"/>
              <a:gd name="connsiteY1119" fmla="*/ 1035065 h 1087290"/>
              <a:gd name="connsiteX1120" fmla="*/ 1410800 w 1897116"/>
              <a:gd name="connsiteY1120" fmla="*/ 1035829 h 1087290"/>
              <a:gd name="connsiteX1121" fmla="*/ 1405630 w 1897116"/>
              <a:gd name="connsiteY1121" fmla="*/ 1032281 h 1087290"/>
              <a:gd name="connsiteX1122" fmla="*/ 1403878 w 1897116"/>
              <a:gd name="connsiteY1122" fmla="*/ 1031872 h 1087290"/>
              <a:gd name="connsiteX1123" fmla="*/ 1400548 w 1897116"/>
              <a:gd name="connsiteY1123" fmla="*/ 1024913 h 1087290"/>
              <a:gd name="connsiteX1124" fmla="*/ 1397744 w 1897116"/>
              <a:gd name="connsiteY1124" fmla="*/ 1019565 h 1087290"/>
              <a:gd name="connsiteX1125" fmla="*/ 1394939 w 1897116"/>
              <a:gd name="connsiteY1125" fmla="*/ 1014243 h 1087290"/>
              <a:gd name="connsiteX1126" fmla="*/ 1390295 w 1897116"/>
              <a:gd name="connsiteY1126" fmla="*/ 1018528 h 1087290"/>
              <a:gd name="connsiteX1127" fmla="*/ 1391610 w 1897116"/>
              <a:gd name="connsiteY1127" fmla="*/ 1025480 h 1087290"/>
              <a:gd name="connsiteX1128" fmla="*/ 1387307 w 1897116"/>
              <a:gd name="connsiteY1128" fmla="*/ 1023581 h 1087290"/>
              <a:gd name="connsiteX1129" fmla="*/ 1387579 w 1897116"/>
              <a:gd name="connsiteY1129" fmla="*/ 1023535 h 1087290"/>
              <a:gd name="connsiteX1130" fmla="*/ 1385563 w 1897116"/>
              <a:gd name="connsiteY1130" fmla="*/ 1022812 h 1087290"/>
              <a:gd name="connsiteX1131" fmla="*/ 1387307 w 1897116"/>
              <a:gd name="connsiteY1131" fmla="*/ 1023581 h 1087290"/>
              <a:gd name="connsiteX1132" fmla="*/ 1380919 w 1897116"/>
              <a:gd name="connsiteY1132" fmla="*/ 1024668 h 1087290"/>
              <a:gd name="connsiteX1133" fmla="*/ 1376537 w 1897116"/>
              <a:gd name="connsiteY1133" fmla="*/ 1024913 h 1087290"/>
              <a:gd name="connsiteX1134" fmla="*/ 1371192 w 1897116"/>
              <a:gd name="connsiteY1134" fmla="*/ 1022294 h 1087290"/>
              <a:gd name="connsiteX1135" fmla="*/ 1366109 w 1897116"/>
              <a:gd name="connsiteY1135" fmla="*/ 1018991 h 1087290"/>
              <a:gd name="connsiteX1136" fmla="*/ 1361991 w 1897116"/>
              <a:gd name="connsiteY1136" fmla="*/ 1019674 h 1087290"/>
              <a:gd name="connsiteX1137" fmla="*/ 1355419 w 1897116"/>
              <a:gd name="connsiteY1137" fmla="*/ 1019155 h 1087290"/>
              <a:gd name="connsiteX1138" fmla="*/ 1351212 w 1897116"/>
              <a:gd name="connsiteY1138" fmla="*/ 1018555 h 1087290"/>
              <a:gd name="connsiteX1139" fmla="*/ 1345604 w 1897116"/>
              <a:gd name="connsiteY1139" fmla="*/ 1019728 h 1087290"/>
              <a:gd name="connsiteX1140" fmla="*/ 1341644 w 1897116"/>
              <a:gd name="connsiteY1140" fmla="*/ 1021457 h 1087290"/>
              <a:gd name="connsiteX1141" fmla="*/ 1339295 w 1897116"/>
              <a:gd name="connsiteY1141" fmla="*/ 1021011 h 1087290"/>
              <a:gd name="connsiteX1142" fmla="*/ 1336781 w 1897116"/>
              <a:gd name="connsiteY1142" fmla="*/ 1023170 h 1087290"/>
              <a:gd name="connsiteX1143" fmla="*/ 1334650 w 1897116"/>
              <a:gd name="connsiteY1143" fmla="*/ 1023685 h 1087290"/>
              <a:gd name="connsiteX1144" fmla="*/ 1329130 w 1897116"/>
              <a:gd name="connsiteY1144" fmla="*/ 1023985 h 1087290"/>
              <a:gd name="connsiteX1145" fmla="*/ 1328166 w 1897116"/>
              <a:gd name="connsiteY1145" fmla="*/ 1028570 h 1087290"/>
              <a:gd name="connsiteX1146" fmla="*/ 1323434 w 1897116"/>
              <a:gd name="connsiteY1146" fmla="*/ 1029962 h 1087290"/>
              <a:gd name="connsiteX1147" fmla="*/ 1319403 w 1897116"/>
              <a:gd name="connsiteY1147" fmla="*/ 1035065 h 1087290"/>
              <a:gd name="connsiteX1148" fmla="*/ 1313795 w 1897116"/>
              <a:gd name="connsiteY1148" fmla="*/ 1035311 h 1087290"/>
              <a:gd name="connsiteX1149" fmla="*/ 1309939 w 1897116"/>
              <a:gd name="connsiteY1149" fmla="*/ 1040332 h 1087290"/>
              <a:gd name="connsiteX1150" fmla="*/ 1309238 w 1897116"/>
              <a:gd name="connsiteY1150" fmla="*/ 1037330 h 1087290"/>
              <a:gd name="connsiteX1151" fmla="*/ 1308712 w 1897116"/>
              <a:gd name="connsiteY1151" fmla="*/ 1032691 h 1087290"/>
              <a:gd name="connsiteX1152" fmla="*/ 1307310 w 1897116"/>
              <a:gd name="connsiteY1152" fmla="*/ 1029361 h 1087290"/>
              <a:gd name="connsiteX1153" fmla="*/ 1302929 w 1897116"/>
              <a:gd name="connsiteY1153" fmla="*/ 1029252 h 1087290"/>
              <a:gd name="connsiteX1154" fmla="*/ 1297671 w 1897116"/>
              <a:gd name="connsiteY1154" fmla="*/ 1030535 h 1087290"/>
              <a:gd name="connsiteX1155" fmla="*/ 1286542 w 1897116"/>
              <a:gd name="connsiteY1155" fmla="*/ 1034874 h 1087290"/>
              <a:gd name="connsiteX1156" fmla="*/ 1275588 w 1897116"/>
              <a:gd name="connsiteY1156" fmla="*/ 1041696 h 1087290"/>
              <a:gd name="connsiteX1157" fmla="*/ 1270330 w 1897116"/>
              <a:gd name="connsiteY1157" fmla="*/ 1045571 h 1087290"/>
              <a:gd name="connsiteX1158" fmla="*/ 1264985 w 1897116"/>
              <a:gd name="connsiteY1158" fmla="*/ 1049610 h 1087290"/>
              <a:gd name="connsiteX1159" fmla="*/ 1260078 w 1897116"/>
              <a:gd name="connsiteY1159" fmla="*/ 1053513 h 1087290"/>
              <a:gd name="connsiteX1160" fmla="*/ 1255083 w 1897116"/>
              <a:gd name="connsiteY1160" fmla="*/ 1056951 h 1087290"/>
              <a:gd name="connsiteX1161" fmla="*/ 1251052 w 1897116"/>
              <a:gd name="connsiteY1161" fmla="*/ 1059571 h 1087290"/>
              <a:gd name="connsiteX1162" fmla="*/ 1245794 w 1897116"/>
              <a:gd name="connsiteY1162" fmla="*/ 1062655 h 1087290"/>
              <a:gd name="connsiteX1163" fmla="*/ 1238784 w 1897116"/>
              <a:gd name="connsiteY1163" fmla="*/ 1065493 h 1087290"/>
              <a:gd name="connsiteX1164" fmla="*/ 1232212 w 1897116"/>
              <a:gd name="connsiteY1164" fmla="*/ 1067922 h 1087290"/>
              <a:gd name="connsiteX1165" fmla="*/ 1225639 w 1897116"/>
              <a:gd name="connsiteY1165" fmla="*/ 1072725 h 1087290"/>
              <a:gd name="connsiteX1166" fmla="*/ 1218541 w 1897116"/>
              <a:gd name="connsiteY1166" fmla="*/ 1074226 h 1087290"/>
              <a:gd name="connsiteX1167" fmla="*/ 1211356 w 1897116"/>
              <a:gd name="connsiteY1167" fmla="*/ 1076763 h 1087290"/>
              <a:gd name="connsiteX1168" fmla="*/ 1203732 w 1897116"/>
              <a:gd name="connsiteY1168" fmla="*/ 1074717 h 1087290"/>
              <a:gd name="connsiteX1169" fmla="*/ 1204345 w 1897116"/>
              <a:gd name="connsiteY1169" fmla="*/ 1079110 h 1087290"/>
              <a:gd name="connsiteX1170" fmla="*/ 1197773 w 1897116"/>
              <a:gd name="connsiteY1170" fmla="*/ 1081103 h 1087290"/>
              <a:gd name="connsiteX1171" fmla="*/ 1190500 w 1897116"/>
              <a:gd name="connsiteY1171" fmla="*/ 1083122 h 1087290"/>
              <a:gd name="connsiteX1172" fmla="*/ 1184015 w 1897116"/>
              <a:gd name="connsiteY1172" fmla="*/ 1086520 h 1087290"/>
              <a:gd name="connsiteX0" fmla="*/ 353668 w 1897116"/>
              <a:gd name="connsiteY0" fmla="*/ 26940 h 1087290"/>
              <a:gd name="connsiteX1" fmla="*/ 353221 w 1897116"/>
              <a:gd name="connsiteY1" fmla="*/ 25809 h 1087290"/>
              <a:gd name="connsiteX2" fmla="*/ 357240 w 1897116"/>
              <a:gd name="connsiteY2" fmla="*/ 24733 h 1087290"/>
              <a:gd name="connsiteX3" fmla="*/ 353668 w 1897116"/>
              <a:gd name="connsiteY3" fmla="*/ 26940 h 1087290"/>
              <a:gd name="connsiteX4" fmla="*/ 304410 w 1897116"/>
              <a:gd name="connsiteY4" fmla="*/ 40485 h 1087290"/>
              <a:gd name="connsiteX5" fmla="*/ 302763 w 1897116"/>
              <a:gd name="connsiteY5" fmla="*/ 40108 h 1087290"/>
              <a:gd name="connsiteX6" fmla="*/ 302767 w 1897116"/>
              <a:gd name="connsiteY6" fmla="*/ 38706 h 1087290"/>
              <a:gd name="connsiteX7" fmla="*/ 304410 w 1897116"/>
              <a:gd name="connsiteY7" fmla="*/ 40485 h 1087290"/>
              <a:gd name="connsiteX8" fmla="*/ 312192 w 1897116"/>
              <a:gd name="connsiteY8" fmla="*/ 41597 h 1087290"/>
              <a:gd name="connsiteX9" fmla="*/ 310902 w 1897116"/>
              <a:gd name="connsiteY9" fmla="*/ 41519 h 1087290"/>
              <a:gd name="connsiteX10" fmla="*/ 310110 w 1897116"/>
              <a:gd name="connsiteY10" fmla="*/ 41149 h 1087290"/>
              <a:gd name="connsiteX11" fmla="*/ 312192 w 1897116"/>
              <a:gd name="connsiteY11" fmla="*/ 41597 h 1087290"/>
              <a:gd name="connsiteX12" fmla="*/ 316583 w 1897116"/>
              <a:gd name="connsiteY12" fmla="*/ 42541 h 1087290"/>
              <a:gd name="connsiteX13" fmla="*/ 312192 w 1897116"/>
              <a:gd name="connsiteY13" fmla="*/ 41597 h 1087290"/>
              <a:gd name="connsiteX14" fmla="*/ 312466 w 1897116"/>
              <a:gd name="connsiteY14" fmla="*/ 41613 h 1087290"/>
              <a:gd name="connsiteX15" fmla="*/ 316583 w 1897116"/>
              <a:gd name="connsiteY15" fmla="*/ 42541 h 1087290"/>
              <a:gd name="connsiteX16" fmla="*/ 119950 w 1897116"/>
              <a:gd name="connsiteY16" fmla="*/ 43716 h 1087290"/>
              <a:gd name="connsiteX17" fmla="*/ 117470 w 1897116"/>
              <a:gd name="connsiteY17" fmla="*/ 43272 h 1087290"/>
              <a:gd name="connsiteX18" fmla="*/ 118896 w 1897116"/>
              <a:gd name="connsiteY18" fmla="*/ 40545 h 1087290"/>
              <a:gd name="connsiteX19" fmla="*/ 120926 w 1897116"/>
              <a:gd name="connsiteY19" fmla="*/ 43701 h 1087290"/>
              <a:gd name="connsiteX20" fmla="*/ 119950 w 1897116"/>
              <a:gd name="connsiteY20" fmla="*/ 43716 h 1087290"/>
              <a:gd name="connsiteX21" fmla="*/ 115912 w 1897116"/>
              <a:gd name="connsiteY21" fmla="*/ 43782 h 1087290"/>
              <a:gd name="connsiteX22" fmla="*/ 115758 w 1897116"/>
              <a:gd name="connsiteY22" fmla="*/ 42965 h 1087290"/>
              <a:gd name="connsiteX23" fmla="*/ 117470 w 1897116"/>
              <a:gd name="connsiteY23" fmla="*/ 43272 h 1087290"/>
              <a:gd name="connsiteX24" fmla="*/ 117215 w 1897116"/>
              <a:gd name="connsiteY24" fmla="*/ 43761 h 1087290"/>
              <a:gd name="connsiteX25" fmla="*/ 115912 w 1897116"/>
              <a:gd name="connsiteY25" fmla="*/ 43782 h 1087290"/>
              <a:gd name="connsiteX26" fmla="*/ 159497 w 1897116"/>
              <a:gd name="connsiteY26" fmla="*/ 51308 h 1087290"/>
              <a:gd name="connsiteX27" fmla="*/ 159111 w 1897116"/>
              <a:gd name="connsiteY27" fmla="*/ 50219 h 1087290"/>
              <a:gd name="connsiteX28" fmla="*/ 159519 w 1897116"/>
              <a:gd name="connsiteY28" fmla="*/ 51302 h 1087290"/>
              <a:gd name="connsiteX29" fmla="*/ 159497 w 1897116"/>
              <a:gd name="connsiteY29" fmla="*/ 51308 h 1087290"/>
              <a:gd name="connsiteX30" fmla="*/ 358065 w 1897116"/>
              <a:gd name="connsiteY30" fmla="*/ 51467 h 1087290"/>
              <a:gd name="connsiteX31" fmla="*/ 357383 w 1897116"/>
              <a:gd name="connsiteY31" fmla="*/ 49085 h 1087290"/>
              <a:gd name="connsiteX32" fmla="*/ 358101 w 1897116"/>
              <a:gd name="connsiteY32" fmla="*/ 47405 h 1087290"/>
              <a:gd name="connsiteX33" fmla="*/ 358065 w 1897116"/>
              <a:gd name="connsiteY33" fmla="*/ 51467 h 1087290"/>
              <a:gd name="connsiteX34" fmla="*/ 137612 w 1897116"/>
              <a:gd name="connsiteY34" fmla="*/ 52078 h 1087290"/>
              <a:gd name="connsiteX35" fmla="*/ 134914 w 1897116"/>
              <a:gd name="connsiteY35" fmla="*/ 51247 h 1087290"/>
              <a:gd name="connsiteX36" fmla="*/ 137611 w 1897116"/>
              <a:gd name="connsiteY36" fmla="*/ 51817 h 1087290"/>
              <a:gd name="connsiteX37" fmla="*/ 137545 w 1897116"/>
              <a:gd name="connsiteY37" fmla="*/ 51974 h 1087290"/>
              <a:gd name="connsiteX38" fmla="*/ 137612 w 1897116"/>
              <a:gd name="connsiteY38" fmla="*/ 52078 h 1087290"/>
              <a:gd name="connsiteX39" fmla="*/ 138681 w 1897116"/>
              <a:gd name="connsiteY39" fmla="*/ 53721 h 1087290"/>
              <a:gd name="connsiteX40" fmla="*/ 137612 w 1897116"/>
              <a:gd name="connsiteY40" fmla="*/ 52078 h 1087290"/>
              <a:gd name="connsiteX41" fmla="*/ 139472 w 1897116"/>
              <a:gd name="connsiteY41" fmla="*/ 52650 h 1087290"/>
              <a:gd name="connsiteX42" fmla="*/ 138681 w 1897116"/>
              <a:gd name="connsiteY42" fmla="*/ 53721 h 1087290"/>
              <a:gd name="connsiteX43" fmla="*/ 40650 w 1897116"/>
              <a:gd name="connsiteY43" fmla="*/ 62426 h 1087290"/>
              <a:gd name="connsiteX44" fmla="*/ 40016 w 1897116"/>
              <a:gd name="connsiteY44" fmla="*/ 62421 h 1087290"/>
              <a:gd name="connsiteX45" fmla="*/ 39598 w 1897116"/>
              <a:gd name="connsiteY45" fmla="*/ 61960 h 1087290"/>
              <a:gd name="connsiteX46" fmla="*/ 40650 w 1897116"/>
              <a:gd name="connsiteY46" fmla="*/ 62426 h 1087290"/>
              <a:gd name="connsiteX47" fmla="*/ 40904 w 1897116"/>
              <a:gd name="connsiteY47" fmla="*/ 62538 h 1087290"/>
              <a:gd name="connsiteX48" fmla="*/ 40650 w 1897116"/>
              <a:gd name="connsiteY48" fmla="*/ 62426 h 1087290"/>
              <a:gd name="connsiteX49" fmla="*/ 40911 w 1897116"/>
              <a:gd name="connsiteY49" fmla="*/ 62428 h 1087290"/>
              <a:gd name="connsiteX50" fmla="*/ 40904 w 1897116"/>
              <a:gd name="connsiteY50" fmla="*/ 62538 h 1087290"/>
              <a:gd name="connsiteX51" fmla="*/ 548588 w 1897116"/>
              <a:gd name="connsiteY51" fmla="*/ 77263 h 1087290"/>
              <a:gd name="connsiteX52" fmla="*/ 547507 w 1897116"/>
              <a:gd name="connsiteY52" fmla="*/ 76900 h 1087290"/>
              <a:gd name="connsiteX53" fmla="*/ 547240 w 1897116"/>
              <a:gd name="connsiteY53" fmla="*/ 75428 h 1087290"/>
              <a:gd name="connsiteX54" fmla="*/ 549543 w 1897116"/>
              <a:gd name="connsiteY54" fmla="*/ 76777 h 1087290"/>
              <a:gd name="connsiteX55" fmla="*/ 548588 w 1897116"/>
              <a:gd name="connsiteY55" fmla="*/ 77263 h 1087290"/>
              <a:gd name="connsiteX56" fmla="*/ 551118 w 1897116"/>
              <a:gd name="connsiteY56" fmla="*/ 77700 h 1087290"/>
              <a:gd name="connsiteX57" fmla="*/ 549543 w 1897116"/>
              <a:gd name="connsiteY57" fmla="*/ 76777 h 1087290"/>
              <a:gd name="connsiteX58" fmla="*/ 554619 w 1897116"/>
              <a:gd name="connsiteY58" fmla="*/ 74193 h 1087290"/>
              <a:gd name="connsiteX59" fmla="*/ 551118 w 1897116"/>
              <a:gd name="connsiteY59" fmla="*/ 77700 h 1087290"/>
              <a:gd name="connsiteX60" fmla="*/ 1338885 w 1897116"/>
              <a:gd name="connsiteY60" fmla="*/ 1022661 h 1087290"/>
              <a:gd name="connsiteX61" fmla="*/ 1341644 w 1897116"/>
              <a:gd name="connsiteY61" fmla="*/ 1021457 h 1087290"/>
              <a:gd name="connsiteX62" fmla="*/ 1342888 w 1897116"/>
              <a:gd name="connsiteY62" fmla="*/ 1021693 h 1087290"/>
              <a:gd name="connsiteX63" fmla="*/ 1338885 w 1897116"/>
              <a:gd name="connsiteY63" fmla="*/ 1022661 h 1087290"/>
              <a:gd name="connsiteX64" fmla="*/ 1335812 w 1897116"/>
              <a:gd name="connsiteY64" fmla="*/ 1024002 h 1087290"/>
              <a:gd name="connsiteX65" fmla="*/ 1336781 w 1897116"/>
              <a:gd name="connsiteY65" fmla="*/ 1023170 h 1087290"/>
              <a:gd name="connsiteX66" fmla="*/ 1338885 w 1897116"/>
              <a:gd name="connsiteY66" fmla="*/ 1022661 h 1087290"/>
              <a:gd name="connsiteX67" fmla="*/ 1335812 w 1897116"/>
              <a:gd name="connsiteY67" fmla="*/ 1024002 h 1087290"/>
              <a:gd name="connsiteX68" fmla="*/ 1847201 w 1897116"/>
              <a:gd name="connsiteY68" fmla="*/ 1034040 h 1087290"/>
              <a:gd name="connsiteX69" fmla="*/ 1846940 w 1897116"/>
              <a:gd name="connsiteY69" fmla="*/ 1034038 h 1087290"/>
              <a:gd name="connsiteX70" fmla="*/ 1846947 w 1897116"/>
              <a:gd name="connsiteY70" fmla="*/ 1033944 h 1087290"/>
              <a:gd name="connsiteX71" fmla="*/ 1847201 w 1897116"/>
              <a:gd name="connsiteY71" fmla="*/ 1034040 h 1087290"/>
              <a:gd name="connsiteX72" fmla="*/ 1848247 w 1897116"/>
              <a:gd name="connsiteY72" fmla="*/ 1034437 h 1087290"/>
              <a:gd name="connsiteX73" fmla="*/ 1847201 w 1897116"/>
              <a:gd name="connsiteY73" fmla="*/ 1034040 h 1087290"/>
              <a:gd name="connsiteX74" fmla="*/ 1847831 w 1897116"/>
              <a:gd name="connsiteY74" fmla="*/ 1034044 h 1087290"/>
              <a:gd name="connsiteX75" fmla="*/ 1848247 w 1897116"/>
              <a:gd name="connsiteY75" fmla="*/ 1034437 h 1087290"/>
              <a:gd name="connsiteX76" fmla="*/ 1750725 w 1897116"/>
              <a:gd name="connsiteY76" fmla="*/ 1042867 h 1087290"/>
              <a:gd name="connsiteX77" fmla="*/ 1748875 w 1897116"/>
              <a:gd name="connsiteY77" fmla="*/ 1042379 h 1087290"/>
              <a:gd name="connsiteX78" fmla="*/ 1749661 w 1897116"/>
              <a:gd name="connsiteY78" fmla="*/ 1041465 h 1087290"/>
              <a:gd name="connsiteX79" fmla="*/ 1750725 w 1897116"/>
              <a:gd name="connsiteY79" fmla="*/ 1042867 h 1087290"/>
              <a:gd name="connsiteX80" fmla="*/ 1753410 w 1897116"/>
              <a:gd name="connsiteY80" fmla="*/ 1043576 h 1087290"/>
              <a:gd name="connsiteX81" fmla="*/ 1750726 w 1897116"/>
              <a:gd name="connsiteY81" fmla="*/ 1043089 h 1087290"/>
              <a:gd name="connsiteX82" fmla="*/ 1750792 w 1897116"/>
              <a:gd name="connsiteY82" fmla="*/ 1042955 h 1087290"/>
              <a:gd name="connsiteX83" fmla="*/ 1750725 w 1897116"/>
              <a:gd name="connsiteY83" fmla="*/ 1042867 h 1087290"/>
              <a:gd name="connsiteX84" fmla="*/ 1753410 w 1897116"/>
              <a:gd name="connsiteY84" fmla="*/ 1043576 h 1087290"/>
              <a:gd name="connsiteX85" fmla="*/ 1729333 w 1897116"/>
              <a:gd name="connsiteY85" fmla="*/ 1044453 h 1087290"/>
              <a:gd name="connsiteX86" fmla="*/ 1728928 w 1897116"/>
              <a:gd name="connsiteY86" fmla="*/ 1043528 h 1087290"/>
              <a:gd name="connsiteX87" fmla="*/ 1728950 w 1897116"/>
              <a:gd name="connsiteY87" fmla="*/ 1043524 h 1087290"/>
              <a:gd name="connsiteX88" fmla="*/ 1729333 w 1897116"/>
              <a:gd name="connsiteY88" fmla="*/ 1044453 h 1087290"/>
              <a:gd name="connsiteX89" fmla="*/ 1531343 w 1897116"/>
              <a:gd name="connsiteY89" fmla="*/ 1046853 h 1087290"/>
              <a:gd name="connsiteX90" fmla="*/ 1531379 w 1897116"/>
              <a:gd name="connsiteY90" fmla="*/ 1043388 h 1087290"/>
              <a:gd name="connsiteX91" fmla="*/ 1532058 w 1897116"/>
              <a:gd name="connsiteY91" fmla="*/ 1045420 h 1087290"/>
              <a:gd name="connsiteX92" fmla="*/ 1531343 w 1897116"/>
              <a:gd name="connsiteY92" fmla="*/ 1046853 h 1087290"/>
              <a:gd name="connsiteX93" fmla="*/ 1772469 w 1897116"/>
              <a:gd name="connsiteY93" fmla="*/ 1050640 h 1087290"/>
              <a:gd name="connsiteX94" fmla="*/ 1770766 w 1897116"/>
              <a:gd name="connsiteY94" fmla="*/ 1050379 h 1087290"/>
              <a:gd name="connsiteX95" fmla="*/ 1771020 w 1897116"/>
              <a:gd name="connsiteY95" fmla="*/ 1049962 h 1087290"/>
              <a:gd name="connsiteX96" fmla="*/ 1772316 w 1897116"/>
              <a:gd name="connsiteY96" fmla="*/ 1049944 h 1087290"/>
              <a:gd name="connsiteX97" fmla="*/ 1772469 w 1897116"/>
              <a:gd name="connsiteY97" fmla="*/ 1050640 h 1087290"/>
              <a:gd name="connsiteX98" fmla="*/ 1577023 w 1897116"/>
              <a:gd name="connsiteY98" fmla="*/ 1051808 h 1087290"/>
              <a:gd name="connsiteX99" fmla="*/ 1576749 w 1897116"/>
              <a:gd name="connsiteY99" fmla="*/ 1051794 h 1087290"/>
              <a:gd name="connsiteX100" fmla="*/ 1572652 w 1897116"/>
              <a:gd name="connsiteY100" fmla="*/ 1051002 h 1087290"/>
              <a:gd name="connsiteX101" fmla="*/ 1577023 w 1897116"/>
              <a:gd name="connsiteY101" fmla="*/ 1051808 h 1087290"/>
              <a:gd name="connsiteX102" fmla="*/ 1579093 w 1897116"/>
              <a:gd name="connsiteY102" fmla="*/ 1052189 h 1087290"/>
              <a:gd name="connsiteX103" fmla="*/ 1577023 w 1897116"/>
              <a:gd name="connsiteY103" fmla="*/ 1051808 h 1087290"/>
              <a:gd name="connsiteX104" fmla="*/ 1578305 w 1897116"/>
              <a:gd name="connsiteY104" fmla="*/ 1051874 h 1087290"/>
              <a:gd name="connsiteX105" fmla="*/ 1579093 w 1897116"/>
              <a:gd name="connsiteY105" fmla="*/ 1052189 h 1087290"/>
              <a:gd name="connsiteX106" fmla="*/ 1769347 w 1897116"/>
              <a:gd name="connsiteY106" fmla="*/ 1052704 h 1087290"/>
              <a:gd name="connsiteX107" fmla="*/ 1767327 w 1897116"/>
              <a:gd name="connsiteY107" fmla="*/ 1050013 h 1087290"/>
              <a:gd name="connsiteX108" fmla="*/ 1768300 w 1897116"/>
              <a:gd name="connsiteY108" fmla="*/ 1049999 h 1087290"/>
              <a:gd name="connsiteX109" fmla="*/ 1770766 w 1897116"/>
              <a:gd name="connsiteY109" fmla="*/ 1050379 h 1087290"/>
              <a:gd name="connsiteX110" fmla="*/ 1769347 w 1897116"/>
              <a:gd name="connsiteY110" fmla="*/ 1052704 h 1087290"/>
              <a:gd name="connsiteX111" fmla="*/ 1586399 w 1897116"/>
              <a:gd name="connsiteY111" fmla="*/ 1054274 h 1087290"/>
              <a:gd name="connsiteX112" fmla="*/ 1584764 w 1897116"/>
              <a:gd name="connsiteY112" fmla="*/ 1052756 h 1087290"/>
              <a:gd name="connsiteX113" fmla="*/ 1586403 w 1897116"/>
              <a:gd name="connsiteY113" fmla="*/ 1053077 h 1087290"/>
              <a:gd name="connsiteX114" fmla="*/ 1586399 w 1897116"/>
              <a:gd name="connsiteY114" fmla="*/ 1054274 h 1087290"/>
              <a:gd name="connsiteX115" fmla="*/ 1532200 w 1897116"/>
              <a:gd name="connsiteY115" fmla="*/ 1066192 h 1087290"/>
              <a:gd name="connsiteX116" fmla="*/ 1535753 w 1897116"/>
              <a:gd name="connsiteY116" fmla="*/ 1064310 h 1087290"/>
              <a:gd name="connsiteX117" fmla="*/ 1536198 w 1897116"/>
              <a:gd name="connsiteY117" fmla="*/ 1065275 h 1087290"/>
              <a:gd name="connsiteX118" fmla="*/ 1532200 w 1897116"/>
              <a:gd name="connsiteY118" fmla="*/ 1066192 h 1087290"/>
              <a:gd name="connsiteX119" fmla="*/ 1184015 w 1897116"/>
              <a:gd name="connsiteY119" fmla="*/ 1086520 h 1087290"/>
              <a:gd name="connsiteX120" fmla="*/ 1182000 w 1897116"/>
              <a:gd name="connsiteY120" fmla="*/ 1086397 h 1087290"/>
              <a:gd name="connsiteX121" fmla="*/ 1180598 w 1897116"/>
              <a:gd name="connsiteY121" fmla="*/ 1084050 h 1087290"/>
              <a:gd name="connsiteX122" fmla="*/ 1175691 w 1897116"/>
              <a:gd name="connsiteY122" fmla="*/ 1077637 h 1087290"/>
              <a:gd name="connsiteX123" fmla="*/ 1173763 w 1897116"/>
              <a:gd name="connsiteY123" fmla="*/ 1074880 h 1087290"/>
              <a:gd name="connsiteX124" fmla="*/ 1168067 w 1897116"/>
              <a:gd name="connsiteY124" fmla="*/ 1070460 h 1087290"/>
              <a:gd name="connsiteX125" fmla="*/ 1165876 w 1897116"/>
              <a:gd name="connsiteY125" fmla="*/ 1071851 h 1087290"/>
              <a:gd name="connsiteX126" fmla="*/ 1161582 w 1897116"/>
              <a:gd name="connsiteY126" fmla="*/ 1065547 h 1087290"/>
              <a:gd name="connsiteX127" fmla="*/ 1156675 w 1897116"/>
              <a:gd name="connsiteY127" fmla="*/ 1062900 h 1087290"/>
              <a:gd name="connsiteX128" fmla="*/ 1153082 w 1897116"/>
              <a:gd name="connsiteY128" fmla="*/ 1063883 h 1087290"/>
              <a:gd name="connsiteX129" fmla="*/ 1145984 w 1897116"/>
              <a:gd name="connsiteY129" fmla="*/ 1059244 h 1087290"/>
              <a:gd name="connsiteX130" fmla="*/ 1145283 w 1897116"/>
              <a:gd name="connsiteY130" fmla="*/ 1059953 h 1087290"/>
              <a:gd name="connsiteX131" fmla="*/ 1147649 w 1897116"/>
              <a:gd name="connsiteY131" fmla="*/ 1061863 h 1087290"/>
              <a:gd name="connsiteX132" fmla="*/ 1142742 w 1897116"/>
              <a:gd name="connsiteY132" fmla="*/ 1064183 h 1087290"/>
              <a:gd name="connsiteX133" fmla="*/ 1135293 w 1897116"/>
              <a:gd name="connsiteY133" fmla="*/ 1067267 h 1087290"/>
              <a:gd name="connsiteX134" fmla="*/ 1131964 w 1897116"/>
              <a:gd name="connsiteY134" fmla="*/ 1066912 h 1087290"/>
              <a:gd name="connsiteX135" fmla="*/ 1130649 w 1897116"/>
              <a:gd name="connsiteY135" fmla="*/ 1068986 h 1087290"/>
              <a:gd name="connsiteX136" fmla="*/ 1128020 w 1897116"/>
              <a:gd name="connsiteY136" fmla="*/ 1065711 h 1087290"/>
              <a:gd name="connsiteX137" fmla="*/ 1125128 w 1897116"/>
              <a:gd name="connsiteY137" fmla="*/ 1059899 h 1087290"/>
              <a:gd name="connsiteX138" fmla="*/ 1123376 w 1897116"/>
              <a:gd name="connsiteY138" fmla="*/ 1056105 h 1087290"/>
              <a:gd name="connsiteX139" fmla="*/ 1121623 w 1897116"/>
              <a:gd name="connsiteY139" fmla="*/ 1058070 h 1087290"/>
              <a:gd name="connsiteX140" fmla="*/ 1120572 w 1897116"/>
              <a:gd name="connsiteY140" fmla="*/ 1054905 h 1087290"/>
              <a:gd name="connsiteX141" fmla="*/ 1120835 w 1897116"/>
              <a:gd name="connsiteY141" fmla="*/ 1050129 h 1087290"/>
              <a:gd name="connsiteX142" fmla="*/ 1118118 w 1897116"/>
              <a:gd name="connsiteY142" fmla="*/ 1046363 h 1087290"/>
              <a:gd name="connsiteX143" fmla="*/ 1114701 w 1897116"/>
              <a:gd name="connsiteY143" fmla="*/ 1049938 h 1087290"/>
              <a:gd name="connsiteX144" fmla="*/ 1106902 w 1897116"/>
              <a:gd name="connsiteY144" fmla="*/ 1050729 h 1087290"/>
              <a:gd name="connsiteX145" fmla="*/ 1102082 w 1897116"/>
              <a:gd name="connsiteY145" fmla="*/ 1047700 h 1087290"/>
              <a:gd name="connsiteX146" fmla="*/ 1097438 w 1897116"/>
              <a:gd name="connsiteY146" fmla="*/ 1052749 h 1087290"/>
              <a:gd name="connsiteX147" fmla="*/ 1088499 w 1897116"/>
              <a:gd name="connsiteY147" fmla="*/ 1054686 h 1087290"/>
              <a:gd name="connsiteX148" fmla="*/ 1079649 w 1897116"/>
              <a:gd name="connsiteY148" fmla="*/ 1055832 h 1087290"/>
              <a:gd name="connsiteX149" fmla="*/ 1078334 w 1897116"/>
              <a:gd name="connsiteY149" fmla="*/ 1055641 h 1087290"/>
              <a:gd name="connsiteX150" fmla="*/ 1082803 w 1897116"/>
              <a:gd name="connsiteY150" fmla="*/ 1048628 h 1087290"/>
              <a:gd name="connsiteX151" fmla="*/ 1086133 w 1897116"/>
              <a:gd name="connsiteY151" fmla="*/ 1043061 h 1087290"/>
              <a:gd name="connsiteX152" fmla="*/ 1089551 w 1897116"/>
              <a:gd name="connsiteY152" fmla="*/ 1036702 h 1087290"/>
              <a:gd name="connsiteX153" fmla="*/ 1081840 w 1897116"/>
              <a:gd name="connsiteY153" fmla="*/ 1037112 h 1087290"/>
              <a:gd name="connsiteX154" fmla="*/ 1074128 w 1897116"/>
              <a:gd name="connsiteY154" fmla="*/ 1037466 h 1087290"/>
              <a:gd name="connsiteX155" fmla="*/ 1066943 w 1897116"/>
              <a:gd name="connsiteY155" fmla="*/ 1040769 h 1087290"/>
              <a:gd name="connsiteX156" fmla="*/ 1060633 w 1897116"/>
              <a:gd name="connsiteY156" fmla="*/ 1039131 h 1087290"/>
              <a:gd name="connsiteX157" fmla="*/ 1051257 w 1897116"/>
              <a:gd name="connsiteY157" fmla="*/ 1041314 h 1087290"/>
              <a:gd name="connsiteX158" fmla="*/ 1047752 w 1897116"/>
              <a:gd name="connsiteY158" fmla="*/ 1042188 h 1087290"/>
              <a:gd name="connsiteX159" fmla="*/ 1042056 w 1897116"/>
              <a:gd name="connsiteY159" fmla="*/ 1043852 h 1087290"/>
              <a:gd name="connsiteX160" fmla="*/ 1035221 w 1897116"/>
              <a:gd name="connsiteY160" fmla="*/ 1045954 h 1087290"/>
              <a:gd name="connsiteX161" fmla="*/ 1027422 w 1897116"/>
              <a:gd name="connsiteY161" fmla="*/ 1048710 h 1087290"/>
              <a:gd name="connsiteX162" fmla="*/ 1024618 w 1897116"/>
              <a:gd name="connsiteY162" fmla="*/ 1049119 h 1087290"/>
              <a:gd name="connsiteX163" fmla="*/ 1019360 w 1897116"/>
              <a:gd name="connsiteY163" fmla="*/ 1051548 h 1087290"/>
              <a:gd name="connsiteX164" fmla="*/ 1014277 w 1897116"/>
              <a:gd name="connsiteY164" fmla="*/ 1051684 h 1087290"/>
              <a:gd name="connsiteX165" fmla="*/ 1007880 w 1897116"/>
              <a:gd name="connsiteY165" fmla="*/ 1050702 h 1087290"/>
              <a:gd name="connsiteX166" fmla="*/ 1009107 w 1897116"/>
              <a:gd name="connsiteY166" fmla="*/ 1050565 h 1087290"/>
              <a:gd name="connsiteX167" fmla="*/ 1008231 w 1897116"/>
              <a:gd name="connsiteY167" fmla="*/ 1044726 h 1087290"/>
              <a:gd name="connsiteX168" fmla="*/ 1011736 w 1897116"/>
              <a:gd name="connsiteY168" fmla="*/ 1038667 h 1087290"/>
              <a:gd name="connsiteX169" fmla="*/ 1011813 w 1897116"/>
              <a:gd name="connsiteY169" fmla="*/ 1037202 h 1087290"/>
              <a:gd name="connsiteX170" fmla="*/ 1012349 w 1897116"/>
              <a:gd name="connsiteY170" fmla="*/ 1036402 h 1087290"/>
              <a:gd name="connsiteX171" fmla="*/ 1011911 w 1897116"/>
              <a:gd name="connsiteY171" fmla="*/ 1035345 h 1087290"/>
              <a:gd name="connsiteX172" fmla="*/ 1011813 w 1897116"/>
              <a:gd name="connsiteY172" fmla="*/ 1037202 h 1087290"/>
              <a:gd name="connsiteX173" fmla="*/ 1010246 w 1897116"/>
              <a:gd name="connsiteY173" fmla="*/ 1039540 h 1087290"/>
              <a:gd name="connsiteX174" fmla="*/ 1001396 w 1897116"/>
              <a:gd name="connsiteY174" fmla="*/ 1041069 h 1087290"/>
              <a:gd name="connsiteX175" fmla="*/ 994648 w 1897116"/>
              <a:gd name="connsiteY175" fmla="*/ 1044043 h 1087290"/>
              <a:gd name="connsiteX176" fmla="*/ 990442 w 1897116"/>
              <a:gd name="connsiteY176" fmla="*/ 1045735 h 1087290"/>
              <a:gd name="connsiteX177" fmla="*/ 985272 w 1897116"/>
              <a:gd name="connsiteY177" fmla="*/ 1044180 h 1087290"/>
              <a:gd name="connsiteX178" fmla="*/ 982818 w 1897116"/>
              <a:gd name="connsiteY178" fmla="*/ 1048028 h 1087290"/>
              <a:gd name="connsiteX179" fmla="*/ 981416 w 1897116"/>
              <a:gd name="connsiteY179" fmla="*/ 1042815 h 1087290"/>
              <a:gd name="connsiteX180" fmla="*/ 980102 w 1897116"/>
              <a:gd name="connsiteY180" fmla="*/ 1037603 h 1087290"/>
              <a:gd name="connsiteX181" fmla="*/ 978437 w 1897116"/>
              <a:gd name="connsiteY181" fmla="*/ 1036593 h 1087290"/>
              <a:gd name="connsiteX182" fmla="*/ 980628 w 1897116"/>
              <a:gd name="connsiteY182" fmla="*/ 1029853 h 1087290"/>
              <a:gd name="connsiteX183" fmla="*/ 980102 w 1897116"/>
              <a:gd name="connsiteY183" fmla="*/ 1024368 h 1087290"/>
              <a:gd name="connsiteX184" fmla="*/ 977385 w 1897116"/>
              <a:gd name="connsiteY184" fmla="*/ 1019401 h 1087290"/>
              <a:gd name="connsiteX185" fmla="*/ 979839 w 1897116"/>
              <a:gd name="connsiteY185" fmla="*/ 1019264 h 1087290"/>
              <a:gd name="connsiteX186" fmla="*/ 979576 w 1897116"/>
              <a:gd name="connsiteY186" fmla="*/ 1018855 h 1087290"/>
              <a:gd name="connsiteX187" fmla="*/ 977385 w 1897116"/>
              <a:gd name="connsiteY187" fmla="*/ 1019401 h 1087290"/>
              <a:gd name="connsiteX188" fmla="*/ 973705 w 1897116"/>
              <a:gd name="connsiteY188" fmla="*/ 1021147 h 1087290"/>
              <a:gd name="connsiteX189" fmla="*/ 966957 w 1897116"/>
              <a:gd name="connsiteY189" fmla="*/ 1024122 h 1087290"/>
              <a:gd name="connsiteX190" fmla="*/ 966519 w 1897116"/>
              <a:gd name="connsiteY190" fmla="*/ 1024040 h 1087290"/>
              <a:gd name="connsiteX191" fmla="*/ 960823 w 1897116"/>
              <a:gd name="connsiteY191" fmla="*/ 1025241 h 1087290"/>
              <a:gd name="connsiteX192" fmla="*/ 954602 w 1897116"/>
              <a:gd name="connsiteY192" fmla="*/ 1025759 h 1087290"/>
              <a:gd name="connsiteX193" fmla="*/ 949169 w 1897116"/>
              <a:gd name="connsiteY193" fmla="*/ 1024531 h 1087290"/>
              <a:gd name="connsiteX194" fmla="*/ 943385 w 1897116"/>
              <a:gd name="connsiteY194" fmla="*/ 1022375 h 1087290"/>
              <a:gd name="connsiteX195" fmla="*/ 934184 w 1897116"/>
              <a:gd name="connsiteY195" fmla="*/ 1019101 h 1087290"/>
              <a:gd name="connsiteX196" fmla="*/ 926823 w 1897116"/>
              <a:gd name="connsiteY196" fmla="*/ 1018118 h 1087290"/>
              <a:gd name="connsiteX197" fmla="*/ 924369 w 1897116"/>
              <a:gd name="connsiteY197" fmla="*/ 1016263 h 1087290"/>
              <a:gd name="connsiteX198" fmla="*/ 920514 w 1897116"/>
              <a:gd name="connsiteY198" fmla="*/ 1009959 h 1087290"/>
              <a:gd name="connsiteX199" fmla="*/ 915431 w 1897116"/>
              <a:gd name="connsiteY199" fmla="*/ 1011923 h 1087290"/>
              <a:gd name="connsiteX200" fmla="*/ 909472 w 1897116"/>
              <a:gd name="connsiteY200" fmla="*/ 1014680 h 1087290"/>
              <a:gd name="connsiteX201" fmla="*/ 904478 w 1897116"/>
              <a:gd name="connsiteY201" fmla="*/ 1017081 h 1087290"/>
              <a:gd name="connsiteX202" fmla="*/ 898957 w 1897116"/>
              <a:gd name="connsiteY202" fmla="*/ 1018418 h 1087290"/>
              <a:gd name="connsiteX203" fmla="*/ 895978 w 1897116"/>
              <a:gd name="connsiteY203" fmla="*/ 1020192 h 1087290"/>
              <a:gd name="connsiteX204" fmla="*/ 887127 w 1897116"/>
              <a:gd name="connsiteY204" fmla="*/ 1023713 h 1087290"/>
              <a:gd name="connsiteX205" fmla="*/ 878189 w 1897116"/>
              <a:gd name="connsiteY205" fmla="*/ 1026305 h 1087290"/>
              <a:gd name="connsiteX206" fmla="*/ 875297 w 1897116"/>
              <a:gd name="connsiteY206" fmla="*/ 1029880 h 1087290"/>
              <a:gd name="connsiteX207" fmla="*/ 867586 w 1897116"/>
              <a:gd name="connsiteY207" fmla="*/ 1035611 h 1087290"/>
              <a:gd name="connsiteX208" fmla="*/ 863467 w 1897116"/>
              <a:gd name="connsiteY208" fmla="*/ 1037275 h 1087290"/>
              <a:gd name="connsiteX209" fmla="*/ 858998 w 1897116"/>
              <a:gd name="connsiteY209" fmla="*/ 1040550 h 1087290"/>
              <a:gd name="connsiteX210" fmla="*/ 854792 w 1897116"/>
              <a:gd name="connsiteY210" fmla="*/ 1044016 h 1087290"/>
              <a:gd name="connsiteX211" fmla="*/ 848395 w 1897116"/>
              <a:gd name="connsiteY211" fmla="*/ 1049201 h 1087290"/>
              <a:gd name="connsiteX212" fmla="*/ 841910 w 1897116"/>
              <a:gd name="connsiteY212" fmla="*/ 1049065 h 1087290"/>
              <a:gd name="connsiteX213" fmla="*/ 841910 w 1897116"/>
              <a:gd name="connsiteY213" fmla="*/ 1052885 h 1087290"/>
              <a:gd name="connsiteX214" fmla="*/ 837091 w 1897116"/>
              <a:gd name="connsiteY214" fmla="*/ 1053649 h 1087290"/>
              <a:gd name="connsiteX215" fmla="*/ 831132 w 1897116"/>
              <a:gd name="connsiteY215" fmla="*/ 1053485 h 1087290"/>
              <a:gd name="connsiteX216" fmla="*/ 822807 w 1897116"/>
              <a:gd name="connsiteY216" fmla="*/ 1053294 h 1087290"/>
              <a:gd name="connsiteX217" fmla="*/ 813869 w 1897116"/>
              <a:gd name="connsiteY217" fmla="*/ 1054877 h 1087290"/>
              <a:gd name="connsiteX218" fmla="*/ 806070 w 1897116"/>
              <a:gd name="connsiteY218" fmla="*/ 1058862 h 1087290"/>
              <a:gd name="connsiteX219" fmla="*/ 800637 w 1897116"/>
              <a:gd name="connsiteY219" fmla="*/ 1063855 h 1087290"/>
              <a:gd name="connsiteX220" fmla="*/ 800111 w 1897116"/>
              <a:gd name="connsiteY220" fmla="*/ 1069832 h 1087290"/>
              <a:gd name="connsiteX221" fmla="*/ 797482 w 1897116"/>
              <a:gd name="connsiteY221" fmla="*/ 1070159 h 1087290"/>
              <a:gd name="connsiteX222" fmla="*/ 796431 w 1897116"/>
              <a:gd name="connsiteY222" fmla="*/ 1073107 h 1087290"/>
              <a:gd name="connsiteX223" fmla="*/ 796343 w 1897116"/>
              <a:gd name="connsiteY223" fmla="*/ 1074362 h 1087290"/>
              <a:gd name="connsiteX224" fmla="*/ 795379 w 1897116"/>
              <a:gd name="connsiteY224" fmla="*/ 1076081 h 1087290"/>
              <a:gd name="connsiteX225" fmla="*/ 795116 w 1897116"/>
              <a:gd name="connsiteY225" fmla="*/ 1076272 h 1087290"/>
              <a:gd name="connsiteX226" fmla="*/ 794941 w 1897116"/>
              <a:gd name="connsiteY226" fmla="*/ 1076818 h 1087290"/>
              <a:gd name="connsiteX227" fmla="*/ 794766 w 1897116"/>
              <a:gd name="connsiteY227" fmla="*/ 1077391 h 1087290"/>
              <a:gd name="connsiteX228" fmla="*/ 788631 w 1897116"/>
              <a:gd name="connsiteY228" fmla="*/ 1073598 h 1087290"/>
              <a:gd name="connsiteX229" fmla="*/ 782059 w 1897116"/>
              <a:gd name="connsiteY229" fmla="*/ 1071169 h 1087290"/>
              <a:gd name="connsiteX230" fmla="*/ 776977 w 1897116"/>
              <a:gd name="connsiteY230" fmla="*/ 1068331 h 1087290"/>
              <a:gd name="connsiteX231" fmla="*/ 771368 w 1897116"/>
              <a:gd name="connsiteY231" fmla="*/ 1067785 h 1087290"/>
              <a:gd name="connsiteX232" fmla="*/ 770667 w 1897116"/>
              <a:gd name="connsiteY232" fmla="*/ 1070432 h 1087290"/>
              <a:gd name="connsiteX233" fmla="*/ 771631 w 1897116"/>
              <a:gd name="connsiteY233" fmla="*/ 1072561 h 1087290"/>
              <a:gd name="connsiteX234" fmla="*/ 765234 w 1897116"/>
              <a:gd name="connsiteY234" fmla="*/ 1072861 h 1087290"/>
              <a:gd name="connsiteX235" fmla="*/ 764533 w 1897116"/>
              <a:gd name="connsiteY235" fmla="*/ 1072206 h 1087290"/>
              <a:gd name="connsiteX236" fmla="*/ 765234 w 1897116"/>
              <a:gd name="connsiteY236" fmla="*/ 1072861 h 1087290"/>
              <a:gd name="connsiteX237" fmla="*/ 763219 w 1897116"/>
              <a:gd name="connsiteY237" fmla="*/ 1072670 h 1087290"/>
              <a:gd name="connsiteX238" fmla="*/ 762781 w 1897116"/>
              <a:gd name="connsiteY238" fmla="*/ 1072561 h 1087290"/>
              <a:gd name="connsiteX239" fmla="*/ 763131 w 1897116"/>
              <a:gd name="connsiteY239" fmla="*/ 1071333 h 1087290"/>
              <a:gd name="connsiteX240" fmla="*/ 762781 w 1897116"/>
              <a:gd name="connsiteY240" fmla="*/ 1072561 h 1087290"/>
              <a:gd name="connsiteX241" fmla="*/ 757961 w 1897116"/>
              <a:gd name="connsiteY241" fmla="*/ 1070623 h 1087290"/>
              <a:gd name="connsiteX242" fmla="*/ 764008 w 1897116"/>
              <a:gd name="connsiteY242" fmla="*/ 1068195 h 1087290"/>
              <a:gd name="connsiteX243" fmla="*/ 766286 w 1897116"/>
              <a:gd name="connsiteY243" fmla="*/ 1064183 h 1087290"/>
              <a:gd name="connsiteX244" fmla="*/ 766286 w 1897116"/>
              <a:gd name="connsiteY244" fmla="*/ 1058807 h 1087290"/>
              <a:gd name="connsiteX245" fmla="*/ 769704 w 1897116"/>
              <a:gd name="connsiteY245" fmla="*/ 1055559 h 1087290"/>
              <a:gd name="connsiteX246" fmla="*/ 769616 w 1897116"/>
              <a:gd name="connsiteY246" fmla="*/ 1052176 h 1087290"/>
              <a:gd name="connsiteX247" fmla="*/ 773296 w 1897116"/>
              <a:gd name="connsiteY247" fmla="*/ 1051302 h 1087290"/>
              <a:gd name="connsiteX248" fmla="*/ 769528 w 1897116"/>
              <a:gd name="connsiteY248" fmla="*/ 1046308 h 1087290"/>
              <a:gd name="connsiteX249" fmla="*/ 765935 w 1897116"/>
              <a:gd name="connsiteY249" fmla="*/ 1048846 h 1087290"/>
              <a:gd name="connsiteX250" fmla="*/ 759889 w 1897116"/>
              <a:gd name="connsiteY250" fmla="*/ 1051630 h 1087290"/>
              <a:gd name="connsiteX251" fmla="*/ 758750 w 1897116"/>
              <a:gd name="connsiteY251" fmla="*/ 1055150 h 1087290"/>
              <a:gd name="connsiteX252" fmla="*/ 757260 w 1897116"/>
              <a:gd name="connsiteY252" fmla="*/ 1058452 h 1087290"/>
              <a:gd name="connsiteX253" fmla="*/ 752441 w 1897116"/>
              <a:gd name="connsiteY253" fmla="*/ 1061618 h 1087290"/>
              <a:gd name="connsiteX254" fmla="*/ 747971 w 1897116"/>
              <a:gd name="connsiteY254" fmla="*/ 1064047 h 1087290"/>
              <a:gd name="connsiteX255" fmla="*/ 742626 w 1897116"/>
              <a:gd name="connsiteY255" fmla="*/ 1067540 h 1087290"/>
              <a:gd name="connsiteX256" fmla="*/ 738157 w 1897116"/>
              <a:gd name="connsiteY256" fmla="*/ 1070623 h 1087290"/>
              <a:gd name="connsiteX257" fmla="*/ 734126 w 1897116"/>
              <a:gd name="connsiteY257" fmla="*/ 1074253 h 1087290"/>
              <a:gd name="connsiteX258" fmla="*/ 733425 w 1897116"/>
              <a:gd name="connsiteY258" fmla="*/ 1071769 h 1087290"/>
              <a:gd name="connsiteX259" fmla="*/ 734564 w 1897116"/>
              <a:gd name="connsiteY259" fmla="*/ 1071633 h 1087290"/>
              <a:gd name="connsiteX260" fmla="*/ 733425 w 1897116"/>
              <a:gd name="connsiteY260" fmla="*/ 1071769 h 1087290"/>
              <a:gd name="connsiteX261" fmla="*/ 733425 w 1897116"/>
              <a:gd name="connsiteY261" fmla="*/ 1069914 h 1087290"/>
              <a:gd name="connsiteX262" fmla="*/ 729745 w 1897116"/>
              <a:gd name="connsiteY262" fmla="*/ 1065138 h 1087290"/>
              <a:gd name="connsiteX263" fmla="*/ 721770 w 1897116"/>
              <a:gd name="connsiteY263" fmla="*/ 1061563 h 1087290"/>
              <a:gd name="connsiteX264" fmla="*/ 712744 w 1897116"/>
              <a:gd name="connsiteY264" fmla="*/ 1061781 h 1087290"/>
              <a:gd name="connsiteX265" fmla="*/ 705559 w 1897116"/>
              <a:gd name="connsiteY265" fmla="*/ 1063446 h 1087290"/>
              <a:gd name="connsiteX266" fmla="*/ 701265 w 1897116"/>
              <a:gd name="connsiteY266" fmla="*/ 1067512 h 1087290"/>
              <a:gd name="connsiteX267" fmla="*/ 691976 w 1897116"/>
              <a:gd name="connsiteY267" fmla="*/ 1069859 h 1087290"/>
              <a:gd name="connsiteX268" fmla="*/ 684878 w 1897116"/>
              <a:gd name="connsiteY268" fmla="*/ 1073571 h 1087290"/>
              <a:gd name="connsiteX269" fmla="*/ 678131 w 1897116"/>
              <a:gd name="connsiteY269" fmla="*/ 1075972 h 1087290"/>
              <a:gd name="connsiteX270" fmla="*/ 677956 w 1897116"/>
              <a:gd name="connsiteY270" fmla="*/ 1069996 h 1087290"/>
              <a:gd name="connsiteX271" fmla="*/ 680234 w 1897116"/>
              <a:gd name="connsiteY271" fmla="*/ 1062627 h 1087290"/>
              <a:gd name="connsiteX272" fmla="*/ 682950 w 1897116"/>
              <a:gd name="connsiteY272" fmla="*/ 1056405 h 1087290"/>
              <a:gd name="connsiteX273" fmla="*/ 684352 w 1897116"/>
              <a:gd name="connsiteY273" fmla="*/ 1048928 h 1087290"/>
              <a:gd name="connsiteX274" fmla="*/ 686631 w 1897116"/>
              <a:gd name="connsiteY274" fmla="*/ 1041560 h 1087290"/>
              <a:gd name="connsiteX275" fmla="*/ 680409 w 1897116"/>
              <a:gd name="connsiteY275" fmla="*/ 1047018 h 1087290"/>
              <a:gd name="connsiteX276" fmla="*/ 674538 w 1897116"/>
              <a:gd name="connsiteY276" fmla="*/ 1052285 h 1087290"/>
              <a:gd name="connsiteX277" fmla="*/ 668842 w 1897116"/>
              <a:gd name="connsiteY277" fmla="*/ 1057115 h 1087290"/>
              <a:gd name="connsiteX278" fmla="*/ 662620 w 1897116"/>
              <a:gd name="connsiteY278" fmla="*/ 1062573 h 1087290"/>
              <a:gd name="connsiteX279" fmla="*/ 655610 w 1897116"/>
              <a:gd name="connsiteY279" fmla="*/ 1068004 h 1087290"/>
              <a:gd name="connsiteX280" fmla="*/ 651754 w 1897116"/>
              <a:gd name="connsiteY280" fmla="*/ 1069368 h 1087290"/>
              <a:gd name="connsiteX281" fmla="*/ 650002 w 1897116"/>
              <a:gd name="connsiteY281" fmla="*/ 1067430 h 1087290"/>
              <a:gd name="connsiteX282" fmla="*/ 651667 w 1897116"/>
              <a:gd name="connsiteY282" fmla="*/ 1062627 h 1087290"/>
              <a:gd name="connsiteX283" fmla="*/ 642378 w 1897116"/>
              <a:gd name="connsiteY283" fmla="*/ 1066448 h 1087290"/>
              <a:gd name="connsiteX284" fmla="*/ 633089 w 1897116"/>
              <a:gd name="connsiteY284" fmla="*/ 1070296 h 1087290"/>
              <a:gd name="connsiteX285" fmla="*/ 625816 w 1897116"/>
              <a:gd name="connsiteY285" fmla="*/ 1073598 h 1087290"/>
              <a:gd name="connsiteX286" fmla="*/ 620120 w 1897116"/>
              <a:gd name="connsiteY286" fmla="*/ 1075972 h 1087290"/>
              <a:gd name="connsiteX287" fmla="*/ 614599 w 1897116"/>
              <a:gd name="connsiteY287" fmla="*/ 1078183 h 1087290"/>
              <a:gd name="connsiteX288" fmla="*/ 607764 w 1897116"/>
              <a:gd name="connsiteY288" fmla="*/ 1077609 h 1087290"/>
              <a:gd name="connsiteX289" fmla="*/ 600929 w 1897116"/>
              <a:gd name="connsiteY289" fmla="*/ 1077036 h 1087290"/>
              <a:gd name="connsiteX290" fmla="*/ 594883 w 1897116"/>
              <a:gd name="connsiteY290" fmla="*/ 1076654 h 1087290"/>
              <a:gd name="connsiteX291" fmla="*/ 588398 w 1897116"/>
              <a:gd name="connsiteY291" fmla="*/ 1076354 h 1087290"/>
              <a:gd name="connsiteX292" fmla="*/ 579460 w 1897116"/>
              <a:gd name="connsiteY292" fmla="*/ 1075917 h 1087290"/>
              <a:gd name="connsiteX293" fmla="*/ 577006 w 1897116"/>
              <a:gd name="connsiteY293" fmla="*/ 1073652 h 1087290"/>
              <a:gd name="connsiteX294" fmla="*/ 572537 w 1897116"/>
              <a:gd name="connsiteY294" fmla="*/ 1074717 h 1087290"/>
              <a:gd name="connsiteX295" fmla="*/ 577357 w 1897116"/>
              <a:gd name="connsiteY295" fmla="*/ 1070432 h 1087290"/>
              <a:gd name="connsiteX296" fmla="*/ 582878 w 1897116"/>
              <a:gd name="connsiteY296" fmla="*/ 1066721 h 1087290"/>
              <a:gd name="connsiteX297" fmla="*/ 581037 w 1897116"/>
              <a:gd name="connsiteY297" fmla="*/ 1066475 h 1087290"/>
              <a:gd name="connsiteX298" fmla="*/ 572274 w 1897116"/>
              <a:gd name="connsiteY298" fmla="*/ 1065220 h 1087290"/>
              <a:gd name="connsiteX299" fmla="*/ 564563 w 1897116"/>
              <a:gd name="connsiteY299" fmla="*/ 1067840 h 1087290"/>
              <a:gd name="connsiteX300" fmla="*/ 560532 w 1897116"/>
              <a:gd name="connsiteY300" fmla="*/ 1064756 h 1087290"/>
              <a:gd name="connsiteX301" fmla="*/ 547037 w 1897116"/>
              <a:gd name="connsiteY301" fmla="*/ 1064811 h 1087290"/>
              <a:gd name="connsiteX302" fmla="*/ 533630 w 1897116"/>
              <a:gd name="connsiteY302" fmla="*/ 1065657 h 1087290"/>
              <a:gd name="connsiteX303" fmla="*/ 528109 w 1897116"/>
              <a:gd name="connsiteY303" fmla="*/ 1066039 h 1087290"/>
              <a:gd name="connsiteX304" fmla="*/ 522676 w 1897116"/>
              <a:gd name="connsiteY304" fmla="*/ 1067076 h 1087290"/>
              <a:gd name="connsiteX305" fmla="*/ 524604 w 1897116"/>
              <a:gd name="connsiteY305" fmla="*/ 1064483 h 1087290"/>
              <a:gd name="connsiteX306" fmla="*/ 531614 w 1897116"/>
              <a:gd name="connsiteY306" fmla="*/ 1059626 h 1087290"/>
              <a:gd name="connsiteX307" fmla="*/ 537748 w 1897116"/>
              <a:gd name="connsiteY307" fmla="*/ 1055014 h 1087290"/>
              <a:gd name="connsiteX308" fmla="*/ 537924 w 1897116"/>
              <a:gd name="connsiteY308" fmla="*/ 1054386 h 1087290"/>
              <a:gd name="connsiteX309" fmla="*/ 536346 w 1897116"/>
              <a:gd name="connsiteY309" fmla="*/ 1053213 h 1087290"/>
              <a:gd name="connsiteX310" fmla="*/ 526795 w 1897116"/>
              <a:gd name="connsiteY310" fmla="*/ 1053840 h 1087290"/>
              <a:gd name="connsiteX311" fmla="*/ 517594 w 1897116"/>
              <a:gd name="connsiteY311" fmla="*/ 1054304 h 1087290"/>
              <a:gd name="connsiteX312" fmla="*/ 512774 w 1897116"/>
              <a:gd name="connsiteY312" fmla="*/ 1053977 h 1087290"/>
              <a:gd name="connsiteX313" fmla="*/ 505588 w 1897116"/>
              <a:gd name="connsiteY313" fmla="*/ 1054823 h 1087290"/>
              <a:gd name="connsiteX314" fmla="*/ 498490 w 1897116"/>
              <a:gd name="connsiteY314" fmla="*/ 1057142 h 1087290"/>
              <a:gd name="connsiteX315" fmla="*/ 494109 w 1897116"/>
              <a:gd name="connsiteY315" fmla="*/ 1056733 h 1087290"/>
              <a:gd name="connsiteX316" fmla="*/ 492795 w 1897116"/>
              <a:gd name="connsiteY316" fmla="*/ 1058179 h 1087290"/>
              <a:gd name="connsiteX317" fmla="*/ 484820 w 1897116"/>
              <a:gd name="connsiteY317" fmla="*/ 1060990 h 1087290"/>
              <a:gd name="connsiteX318" fmla="*/ 478511 w 1897116"/>
              <a:gd name="connsiteY318" fmla="*/ 1062464 h 1087290"/>
              <a:gd name="connsiteX319" fmla="*/ 472640 w 1897116"/>
              <a:gd name="connsiteY319" fmla="*/ 1064510 h 1087290"/>
              <a:gd name="connsiteX320" fmla="*/ 466418 w 1897116"/>
              <a:gd name="connsiteY320" fmla="*/ 1064292 h 1087290"/>
              <a:gd name="connsiteX321" fmla="*/ 460284 w 1897116"/>
              <a:gd name="connsiteY321" fmla="*/ 1066639 h 1087290"/>
              <a:gd name="connsiteX322" fmla="*/ 453011 w 1897116"/>
              <a:gd name="connsiteY322" fmla="*/ 1069041 h 1087290"/>
              <a:gd name="connsiteX323" fmla="*/ 447841 w 1897116"/>
              <a:gd name="connsiteY323" fmla="*/ 1068658 h 1087290"/>
              <a:gd name="connsiteX324" fmla="*/ 441969 w 1897116"/>
              <a:gd name="connsiteY324" fmla="*/ 1069614 h 1087290"/>
              <a:gd name="connsiteX325" fmla="*/ 435660 w 1897116"/>
              <a:gd name="connsiteY325" fmla="*/ 1071906 h 1087290"/>
              <a:gd name="connsiteX326" fmla="*/ 429176 w 1897116"/>
              <a:gd name="connsiteY326" fmla="*/ 1074144 h 1087290"/>
              <a:gd name="connsiteX327" fmla="*/ 425495 w 1897116"/>
              <a:gd name="connsiteY327" fmla="*/ 1074580 h 1087290"/>
              <a:gd name="connsiteX328" fmla="*/ 416557 w 1897116"/>
              <a:gd name="connsiteY328" fmla="*/ 1076027 h 1087290"/>
              <a:gd name="connsiteX329" fmla="*/ 408758 w 1897116"/>
              <a:gd name="connsiteY329" fmla="*/ 1074799 h 1087290"/>
              <a:gd name="connsiteX330" fmla="*/ 406655 w 1897116"/>
              <a:gd name="connsiteY330" fmla="*/ 1073270 h 1087290"/>
              <a:gd name="connsiteX331" fmla="*/ 401748 w 1897116"/>
              <a:gd name="connsiteY331" fmla="*/ 1067785 h 1087290"/>
              <a:gd name="connsiteX332" fmla="*/ 397191 w 1897116"/>
              <a:gd name="connsiteY332" fmla="*/ 1064865 h 1087290"/>
              <a:gd name="connsiteX333" fmla="*/ 391583 w 1897116"/>
              <a:gd name="connsiteY333" fmla="*/ 1062737 h 1087290"/>
              <a:gd name="connsiteX334" fmla="*/ 381768 w 1897116"/>
              <a:gd name="connsiteY334" fmla="*/ 1062491 h 1087290"/>
              <a:gd name="connsiteX335" fmla="*/ 374407 w 1897116"/>
              <a:gd name="connsiteY335" fmla="*/ 1065056 h 1087290"/>
              <a:gd name="connsiteX336" fmla="*/ 371340 w 1897116"/>
              <a:gd name="connsiteY336" fmla="*/ 1066421 h 1087290"/>
              <a:gd name="connsiteX337" fmla="*/ 369500 w 1897116"/>
              <a:gd name="connsiteY337" fmla="*/ 1064947 h 1087290"/>
              <a:gd name="connsiteX338" fmla="*/ 364680 w 1897116"/>
              <a:gd name="connsiteY338" fmla="*/ 1061891 h 1087290"/>
              <a:gd name="connsiteX339" fmla="*/ 363015 w 1897116"/>
              <a:gd name="connsiteY339" fmla="*/ 1060526 h 1087290"/>
              <a:gd name="connsiteX340" fmla="*/ 359598 w 1897116"/>
              <a:gd name="connsiteY340" fmla="*/ 1062300 h 1087290"/>
              <a:gd name="connsiteX341" fmla="*/ 355742 w 1897116"/>
              <a:gd name="connsiteY341" fmla="*/ 1064620 h 1087290"/>
              <a:gd name="connsiteX342" fmla="*/ 349520 w 1897116"/>
              <a:gd name="connsiteY342" fmla="*/ 1067567 h 1087290"/>
              <a:gd name="connsiteX343" fmla="*/ 347330 w 1897116"/>
              <a:gd name="connsiteY343" fmla="*/ 1071142 h 1087290"/>
              <a:gd name="connsiteX344" fmla="*/ 341020 w 1897116"/>
              <a:gd name="connsiteY344" fmla="*/ 1073216 h 1087290"/>
              <a:gd name="connsiteX345" fmla="*/ 335587 w 1897116"/>
              <a:gd name="connsiteY345" fmla="*/ 1071224 h 1087290"/>
              <a:gd name="connsiteX346" fmla="*/ 330943 w 1897116"/>
              <a:gd name="connsiteY346" fmla="*/ 1067212 h 1087290"/>
              <a:gd name="connsiteX347" fmla="*/ 325948 w 1897116"/>
              <a:gd name="connsiteY347" fmla="*/ 1062327 h 1087290"/>
              <a:gd name="connsiteX348" fmla="*/ 321041 w 1897116"/>
              <a:gd name="connsiteY348" fmla="*/ 1057442 h 1087290"/>
              <a:gd name="connsiteX349" fmla="*/ 318237 w 1897116"/>
              <a:gd name="connsiteY349" fmla="*/ 1063419 h 1087290"/>
              <a:gd name="connsiteX350" fmla="*/ 315345 w 1897116"/>
              <a:gd name="connsiteY350" fmla="*/ 1069450 h 1087290"/>
              <a:gd name="connsiteX351" fmla="*/ 313417 w 1897116"/>
              <a:gd name="connsiteY351" fmla="*/ 1071497 h 1087290"/>
              <a:gd name="connsiteX352" fmla="*/ 310613 w 1897116"/>
              <a:gd name="connsiteY352" fmla="*/ 1069777 h 1087290"/>
              <a:gd name="connsiteX353" fmla="*/ 305793 w 1897116"/>
              <a:gd name="connsiteY353" fmla="*/ 1066312 h 1087290"/>
              <a:gd name="connsiteX354" fmla="*/ 304829 w 1897116"/>
              <a:gd name="connsiteY354" fmla="*/ 1062464 h 1087290"/>
              <a:gd name="connsiteX355" fmla="*/ 297118 w 1897116"/>
              <a:gd name="connsiteY355" fmla="*/ 1068331 h 1087290"/>
              <a:gd name="connsiteX356" fmla="*/ 290195 w 1897116"/>
              <a:gd name="connsiteY356" fmla="*/ 1073789 h 1087290"/>
              <a:gd name="connsiteX357" fmla="*/ 293525 w 1897116"/>
              <a:gd name="connsiteY357" fmla="*/ 1076818 h 1087290"/>
              <a:gd name="connsiteX358" fmla="*/ 286164 w 1897116"/>
              <a:gd name="connsiteY358" fmla="*/ 1077282 h 1087290"/>
              <a:gd name="connsiteX359" fmla="*/ 282221 w 1897116"/>
              <a:gd name="connsiteY359" fmla="*/ 1080748 h 1087290"/>
              <a:gd name="connsiteX360" fmla="*/ 280731 w 1897116"/>
              <a:gd name="connsiteY360" fmla="*/ 1084459 h 1087290"/>
              <a:gd name="connsiteX361" fmla="*/ 274773 w 1897116"/>
              <a:gd name="connsiteY361" fmla="*/ 1084486 h 1087290"/>
              <a:gd name="connsiteX362" fmla="*/ 273458 w 1897116"/>
              <a:gd name="connsiteY362" fmla="*/ 1081348 h 1087290"/>
              <a:gd name="connsiteX363" fmla="*/ 271618 w 1897116"/>
              <a:gd name="connsiteY363" fmla="*/ 1073762 h 1087290"/>
              <a:gd name="connsiteX364" fmla="*/ 270391 w 1897116"/>
              <a:gd name="connsiteY364" fmla="*/ 1065356 h 1087290"/>
              <a:gd name="connsiteX365" fmla="*/ 265046 w 1897116"/>
              <a:gd name="connsiteY365" fmla="*/ 1068195 h 1087290"/>
              <a:gd name="connsiteX366" fmla="*/ 260664 w 1897116"/>
              <a:gd name="connsiteY366" fmla="*/ 1067103 h 1087290"/>
              <a:gd name="connsiteX367" fmla="*/ 255056 w 1897116"/>
              <a:gd name="connsiteY367" fmla="*/ 1068113 h 1087290"/>
              <a:gd name="connsiteX368" fmla="*/ 249097 w 1897116"/>
              <a:gd name="connsiteY368" fmla="*/ 1069477 h 1087290"/>
              <a:gd name="connsiteX369" fmla="*/ 243401 w 1897116"/>
              <a:gd name="connsiteY369" fmla="*/ 1071524 h 1087290"/>
              <a:gd name="connsiteX370" fmla="*/ 238406 w 1897116"/>
              <a:gd name="connsiteY370" fmla="*/ 1072970 h 1087290"/>
              <a:gd name="connsiteX371" fmla="*/ 231834 w 1897116"/>
              <a:gd name="connsiteY371" fmla="*/ 1074962 h 1087290"/>
              <a:gd name="connsiteX372" fmla="*/ 225262 w 1897116"/>
              <a:gd name="connsiteY372" fmla="*/ 1076763 h 1087290"/>
              <a:gd name="connsiteX373" fmla="*/ 218252 w 1897116"/>
              <a:gd name="connsiteY373" fmla="*/ 1076818 h 1087290"/>
              <a:gd name="connsiteX374" fmla="*/ 210803 w 1897116"/>
              <a:gd name="connsiteY374" fmla="*/ 1078974 h 1087290"/>
              <a:gd name="connsiteX375" fmla="*/ 207210 w 1897116"/>
              <a:gd name="connsiteY375" fmla="*/ 1076709 h 1087290"/>
              <a:gd name="connsiteX376" fmla="*/ 202478 w 1897116"/>
              <a:gd name="connsiteY376" fmla="*/ 1080175 h 1087290"/>
              <a:gd name="connsiteX377" fmla="*/ 192927 w 1897116"/>
              <a:gd name="connsiteY377" fmla="*/ 1079465 h 1087290"/>
              <a:gd name="connsiteX378" fmla="*/ 191787 w 1897116"/>
              <a:gd name="connsiteY378" fmla="*/ 1080529 h 1087290"/>
              <a:gd name="connsiteX379" fmla="*/ 188195 w 1897116"/>
              <a:gd name="connsiteY379" fmla="*/ 1077337 h 1087290"/>
              <a:gd name="connsiteX380" fmla="*/ 185653 w 1897116"/>
              <a:gd name="connsiteY380" fmla="*/ 1073107 h 1087290"/>
              <a:gd name="connsiteX381" fmla="*/ 184689 w 1897116"/>
              <a:gd name="connsiteY381" fmla="*/ 1073734 h 1087290"/>
              <a:gd name="connsiteX382" fmla="*/ 179432 w 1897116"/>
              <a:gd name="connsiteY382" fmla="*/ 1070814 h 1087290"/>
              <a:gd name="connsiteX383" fmla="*/ 173648 w 1897116"/>
              <a:gd name="connsiteY383" fmla="*/ 1069068 h 1087290"/>
              <a:gd name="connsiteX384" fmla="*/ 168741 w 1897116"/>
              <a:gd name="connsiteY384" fmla="*/ 1067239 h 1087290"/>
              <a:gd name="connsiteX385" fmla="*/ 167251 w 1897116"/>
              <a:gd name="connsiteY385" fmla="*/ 1068549 h 1087290"/>
              <a:gd name="connsiteX386" fmla="*/ 162607 w 1897116"/>
              <a:gd name="connsiteY386" fmla="*/ 1067267 h 1087290"/>
              <a:gd name="connsiteX387" fmla="*/ 155421 w 1897116"/>
              <a:gd name="connsiteY387" fmla="*/ 1068549 h 1087290"/>
              <a:gd name="connsiteX388" fmla="*/ 153756 w 1897116"/>
              <a:gd name="connsiteY388" fmla="*/ 1069095 h 1087290"/>
              <a:gd name="connsiteX389" fmla="*/ 146483 w 1897116"/>
              <a:gd name="connsiteY389" fmla="*/ 1068631 h 1087290"/>
              <a:gd name="connsiteX390" fmla="*/ 137983 w 1897116"/>
              <a:gd name="connsiteY390" fmla="*/ 1067540 h 1087290"/>
              <a:gd name="connsiteX391" fmla="*/ 135967 w 1897116"/>
              <a:gd name="connsiteY391" fmla="*/ 1065711 h 1087290"/>
              <a:gd name="connsiteX392" fmla="*/ 130710 w 1897116"/>
              <a:gd name="connsiteY392" fmla="*/ 1061208 h 1087290"/>
              <a:gd name="connsiteX393" fmla="*/ 123962 w 1897116"/>
              <a:gd name="connsiteY393" fmla="*/ 1057470 h 1087290"/>
              <a:gd name="connsiteX394" fmla="*/ 115375 w 1897116"/>
              <a:gd name="connsiteY394" fmla="*/ 1056051 h 1087290"/>
              <a:gd name="connsiteX395" fmla="*/ 110555 w 1897116"/>
              <a:gd name="connsiteY395" fmla="*/ 1058043 h 1087290"/>
              <a:gd name="connsiteX396" fmla="*/ 110555 w 1897116"/>
              <a:gd name="connsiteY396" fmla="*/ 1057743 h 1087290"/>
              <a:gd name="connsiteX397" fmla="*/ 105998 w 1897116"/>
              <a:gd name="connsiteY397" fmla="*/ 1056269 h 1087290"/>
              <a:gd name="connsiteX398" fmla="*/ 107225 w 1897116"/>
              <a:gd name="connsiteY398" fmla="*/ 1053676 h 1087290"/>
              <a:gd name="connsiteX399" fmla="*/ 106962 w 1897116"/>
              <a:gd name="connsiteY399" fmla="*/ 1048792 h 1087290"/>
              <a:gd name="connsiteX400" fmla="*/ 106962 w 1897116"/>
              <a:gd name="connsiteY400" fmla="*/ 1045299 h 1087290"/>
              <a:gd name="connsiteX401" fmla="*/ 107926 w 1897116"/>
              <a:gd name="connsiteY401" fmla="*/ 1044807 h 1087290"/>
              <a:gd name="connsiteX402" fmla="*/ 106875 w 1897116"/>
              <a:gd name="connsiteY402" fmla="*/ 1044726 h 1087290"/>
              <a:gd name="connsiteX403" fmla="*/ 106962 w 1897116"/>
              <a:gd name="connsiteY403" fmla="*/ 1045299 h 1087290"/>
              <a:gd name="connsiteX404" fmla="*/ 102230 w 1897116"/>
              <a:gd name="connsiteY404" fmla="*/ 1044944 h 1087290"/>
              <a:gd name="connsiteX405" fmla="*/ 96622 w 1897116"/>
              <a:gd name="connsiteY405" fmla="*/ 1045053 h 1087290"/>
              <a:gd name="connsiteX406" fmla="*/ 92065 w 1897116"/>
              <a:gd name="connsiteY406" fmla="*/ 1045708 h 1087290"/>
              <a:gd name="connsiteX407" fmla="*/ 85405 w 1897116"/>
              <a:gd name="connsiteY407" fmla="*/ 1047263 h 1087290"/>
              <a:gd name="connsiteX408" fmla="*/ 84880 w 1897116"/>
              <a:gd name="connsiteY408" fmla="*/ 1043907 h 1087290"/>
              <a:gd name="connsiteX409" fmla="*/ 80060 w 1897116"/>
              <a:gd name="connsiteY409" fmla="*/ 1048710 h 1087290"/>
              <a:gd name="connsiteX410" fmla="*/ 74802 w 1897116"/>
              <a:gd name="connsiteY410" fmla="*/ 1051821 h 1087290"/>
              <a:gd name="connsiteX411" fmla="*/ 68493 w 1897116"/>
              <a:gd name="connsiteY411" fmla="*/ 1051657 h 1087290"/>
              <a:gd name="connsiteX412" fmla="*/ 66127 w 1897116"/>
              <a:gd name="connsiteY412" fmla="*/ 1054959 h 1087290"/>
              <a:gd name="connsiteX413" fmla="*/ 62271 w 1897116"/>
              <a:gd name="connsiteY413" fmla="*/ 1057033 h 1087290"/>
              <a:gd name="connsiteX414" fmla="*/ 61658 w 1897116"/>
              <a:gd name="connsiteY414" fmla="*/ 1056569 h 1087290"/>
              <a:gd name="connsiteX415" fmla="*/ 56488 w 1897116"/>
              <a:gd name="connsiteY415" fmla="*/ 1053022 h 1087290"/>
              <a:gd name="connsiteX416" fmla="*/ 53421 w 1897116"/>
              <a:gd name="connsiteY416" fmla="*/ 1047809 h 1087290"/>
              <a:gd name="connsiteX417" fmla="*/ 50091 w 1897116"/>
              <a:gd name="connsiteY417" fmla="*/ 1044043 h 1087290"/>
              <a:gd name="connsiteX418" fmla="*/ 45972 w 1897116"/>
              <a:gd name="connsiteY418" fmla="*/ 1047973 h 1087290"/>
              <a:gd name="connsiteX419" fmla="*/ 41941 w 1897116"/>
              <a:gd name="connsiteY419" fmla="*/ 1051848 h 1087290"/>
              <a:gd name="connsiteX420" fmla="*/ 39312 w 1897116"/>
              <a:gd name="connsiteY420" fmla="*/ 1053158 h 1087290"/>
              <a:gd name="connsiteX421" fmla="*/ 38699 w 1897116"/>
              <a:gd name="connsiteY421" fmla="*/ 1046554 h 1087290"/>
              <a:gd name="connsiteX422" fmla="*/ 39312 w 1897116"/>
              <a:gd name="connsiteY422" fmla="*/ 1038667 h 1087290"/>
              <a:gd name="connsiteX423" fmla="*/ 39049 w 1897116"/>
              <a:gd name="connsiteY423" fmla="*/ 1038476 h 1087290"/>
              <a:gd name="connsiteX424" fmla="*/ 37823 w 1897116"/>
              <a:gd name="connsiteY424" fmla="*/ 1039486 h 1087290"/>
              <a:gd name="connsiteX425" fmla="*/ 34054 w 1897116"/>
              <a:gd name="connsiteY425" fmla="*/ 1039131 h 1087290"/>
              <a:gd name="connsiteX426" fmla="*/ 31250 w 1897116"/>
              <a:gd name="connsiteY426" fmla="*/ 1044180 h 1087290"/>
              <a:gd name="connsiteX427" fmla="*/ 23188 w 1897116"/>
              <a:gd name="connsiteY427" fmla="*/ 1049692 h 1087290"/>
              <a:gd name="connsiteX428" fmla="*/ 17580 w 1897116"/>
              <a:gd name="connsiteY428" fmla="*/ 1052012 h 1087290"/>
              <a:gd name="connsiteX429" fmla="*/ 13724 w 1897116"/>
              <a:gd name="connsiteY429" fmla="*/ 1056651 h 1087290"/>
              <a:gd name="connsiteX430" fmla="*/ 15302 w 1897116"/>
              <a:gd name="connsiteY430" fmla="*/ 1057743 h 1087290"/>
              <a:gd name="connsiteX431" fmla="*/ 8642 w 1897116"/>
              <a:gd name="connsiteY431" fmla="*/ 1060499 h 1087290"/>
              <a:gd name="connsiteX432" fmla="*/ 5137 w 1897116"/>
              <a:gd name="connsiteY432" fmla="*/ 1062000 h 1087290"/>
              <a:gd name="connsiteX433" fmla="*/ 3559 w 1897116"/>
              <a:gd name="connsiteY433" fmla="*/ 1055505 h 1087290"/>
              <a:gd name="connsiteX434" fmla="*/ 4786 w 1897116"/>
              <a:gd name="connsiteY434" fmla="*/ 1049528 h 1087290"/>
              <a:gd name="connsiteX435" fmla="*/ 54 w 1897116"/>
              <a:gd name="connsiteY435" fmla="*/ 1045954 h 1087290"/>
              <a:gd name="connsiteX436" fmla="*/ 54 w 1897116"/>
              <a:gd name="connsiteY436" fmla="*/ 499589 h 1087290"/>
              <a:gd name="connsiteX437" fmla="*/ 1023 w 1897116"/>
              <a:gd name="connsiteY437" fmla="*/ 499589 h 1087290"/>
              <a:gd name="connsiteX438" fmla="*/ 1023 w 1897116"/>
              <a:gd name="connsiteY438" fmla="*/ 459882 h 1087290"/>
              <a:gd name="connsiteX439" fmla="*/ 1023 w 1897116"/>
              <a:gd name="connsiteY439" fmla="*/ 139188 h 1087290"/>
              <a:gd name="connsiteX440" fmla="*/ 1023 w 1897116"/>
              <a:gd name="connsiteY440" fmla="*/ 125528 h 1087290"/>
              <a:gd name="connsiteX441" fmla="*/ 1023 w 1897116"/>
              <a:gd name="connsiteY441" fmla="*/ 115418 h 1087290"/>
              <a:gd name="connsiteX442" fmla="*/ 1023 w 1897116"/>
              <a:gd name="connsiteY442" fmla="*/ 109084 h 1087290"/>
              <a:gd name="connsiteX443" fmla="*/ 1023 w 1897116"/>
              <a:gd name="connsiteY443" fmla="*/ 106908 h 1087290"/>
              <a:gd name="connsiteX444" fmla="*/ 5162 w 1897116"/>
              <a:gd name="connsiteY444" fmla="*/ 103773 h 1087290"/>
              <a:gd name="connsiteX445" fmla="*/ 9918 w 1897116"/>
              <a:gd name="connsiteY445" fmla="*/ 99486 h 1087290"/>
              <a:gd name="connsiteX446" fmla="*/ 13353 w 1897116"/>
              <a:gd name="connsiteY446" fmla="*/ 94911 h 1087290"/>
              <a:gd name="connsiteX447" fmla="*/ 18021 w 1897116"/>
              <a:gd name="connsiteY447" fmla="*/ 91520 h 1087290"/>
              <a:gd name="connsiteX448" fmla="*/ 18637 w 1897116"/>
              <a:gd name="connsiteY448" fmla="*/ 94496 h 1087290"/>
              <a:gd name="connsiteX449" fmla="*/ 20487 w 1897116"/>
              <a:gd name="connsiteY449" fmla="*/ 106204 h 1087290"/>
              <a:gd name="connsiteX450" fmla="*/ 22777 w 1897116"/>
              <a:gd name="connsiteY450" fmla="*/ 114906 h 1087290"/>
              <a:gd name="connsiteX451" fmla="*/ 22777 w 1897116"/>
              <a:gd name="connsiteY451" fmla="*/ 120889 h 1087290"/>
              <a:gd name="connsiteX452" fmla="*/ 24098 w 1897116"/>
              <a:gd name="connsiteY452" fmla="*/ 114906 h 1087290"/>
              <a:gd name="connsiteX453" fmla="*/ 25419 w 1897116"/>
              <a:gd name="connsiteY453" fmla="*/ 108604 h 1087290"/>
              <a:gd name="connsiteX454" fmla="*/ 27092 w 1897116"/>
              <a:gd name="connsiteY454" fmla="*/ 101054 h 1087290"/>
              <a:gd name="connsiteX455" fmla="*/ 29470 w 1897116"/>
              <a:gd name="connsiteY455" fmla="*/ 92096 h 1087290"/>
              <a:gd name="connsiteX456" fmla="*/ 30439 w 1897116"/>
              <a:gd name="connsiteY456" fmla="*/ 85730 h 1087290"/>
              <a:gd name="connsiteX457" fmla="*/ 32200 w 1897116"/>
              <a:gd name="connsiteY457" fmla="*/ 77380 h 1087290"/>
              <a:gd name="connsiteX458" fmla="*/ 32993 w 1897116"/>
              <a:gd name="connsiteY458" fmla="*/ 73381 h 1087290"/>
              <a:gd name="connsiteX459" fmla="*/ 32817 w 1897116"/>
              <a:gd name="connsiteY459" fmla="*/ 66503 h 1087290"/>
              <a:gd name="connsiteX460" fmla="*/ 34314 w 1897116"/>
              <a:gd name="connsiteY460" fmla="*/ 62376 h 1087290"/>
              <a:gd name="connsiteX461" fmla="*/ 40016 w 1897116"/>
              <a:gd name="connsiteY461" fmla="*/ 62421 h 1087290"/>
              <a:gd name="connsiteX462" fmla="*/ 40853 w 1897116"/>
              <a:gd name="connsiteY462" fmla="*/ 63343 h 1087290"/>
              <a:gd name="connsiteX463" fmla="*/ 40904 w 1897116"/>
              <a:gd name="connsiteY463" fmla="*/ 62538 h 1087290"/>
              <a:gd name="connsiteX464" fmla="*/ 46820 w 1897116"/>
              <a:gd name="connsiteY464" fmla="*/ 65159 h 1087290"/>
              <a:gd name="connsiteX465" fmla="*/ 53602 w 1897116"/>
              <a:gd name="connsiteY465" fmla="*/ 70086 h 1087290"/>
              <a:gd name="connsiteX466" fmla="*/ 58534 w 1897116"/>
              <a:gd name="connsiteY466" fmla="*/ 64327 h 1087290"/>
              <a:gd name="connsiteX467" fmla="*/ 63378 w 1897116"/>
              <a:gd name="connsiteY467" fmla="*/ 58601 h 1087290"/>
              <a:gd name="connsiteX468" fmla="*/ 67781 w 1897116"/>
              <a:gd name="connsiteY468" fmla="*/ 53610 h 1087290"/>
              <a:gd name="connsiteX469" fmla="*/ 71921 w 1897116"/>
              <a:gd name="connsiteY469" fmla="*/ 48555 h 1087290"/>
              <a:gd name="connsiteX470" fmla="*/ 77645 w 1897116"/>
              <a:gd name="connsiteY470" fmla="*/ 45036 h 1087290"/>
              <a:gd name="connsiteX471" fmla="*/ 83282 w 1897116"/>
              <a:gd name="connsiteY471" fmla="*/ 43309 h 1087290"/>
              <a:gd name="connsiteX472" fmla="*/ 83513 w 1897116"/>
              <a:gd name="connsiteY472" fmla="*/ 44920 h 1087290"/>
              <a:gd name="connsiteX473" fmla="*/ 86620 w 1897116"/>
              <a:gd name="connsiteY473" fmla="*/ 45681 h 1087290"/>
              <a:gd name="connsiteX474" fmla="*/ 85847 w 1897116"/>
              <a:gd name="connsiteY474" fmla="*/ 46124 h 1087290"/>
              <a:gd name="connsiteX475" fmla="*/ 88038 w 1897116"/>
              <a:gd name="connsiteY475" fmla="*/ 46028 h 1087290"/>
              <a:gd name="connsiteX476" fmla="*/ 86620 w 1897116"/>
              <a:gd name="connsiteY476" fmla="*/ 45681 h 1087290"/>
              <a:gd name="connsiteX477" fmla="*/ 92706 w 1897116"/>
              <a:gd name="connsiteY477" fmla="*/ 42189 h 1087290"/>
              <a:gd name="connsiteX478" fmla="*/ 96581 w 1897116"/>
              <a:gd name="connsiteY478" fmla="*/ 46444 h 1087290"/>
              <a:gd name="connsiteX479" fmla="*/ 95876 w 1897116"/>
              <a:gd name="connsiteY479" fmla="*/ 51499 h 1087290"/>
              <a:gd name="connsiteX480" fmla="*/ 100192 w 1897116"/>
              <a:gd name="connsiteY480" fmla="*/ 54250 h 1087290"/>
              <a:gd name="connsiteX481" fmla="*/ 106621 w 1897116"/>
              <a:gd name="connsiteY481" fmla="*/ 50347 h 1087290"/>
              <a:gd name="connsiteX482" fmla="*/ 108206 w 1897116"/>
              <a:gd name="connsiteY482" fmla="*/ 51243 h 1087290"/>
              <a:gd name="connsiteX483" fmla="*/ 115076 w 1897116"/>
              <a:gd name="connsiteY483" fmla="*/ 47851 h 1087290"/>
              <a:gd name="connsiteX484" fmla="*/ 117215 w 1897116"/>
              <a:gd name="connsiteY484" fmla="*/ 43761 h 1087290"/>
              <a:gd name="connsiteX485" fmla="*/ 119950 w 1897116"/>
              <a:gd name="connsiteY485" fmla="*/ 43716 h 1087290"/>
              <a:gd name="connsiteX486" fmla="*/ 121065 w 1897116"/>
              <a:gd name="connsiteY486" fmla="*/ 43916 h 1087290"/>
              <a:gd name="connsiteX487" fmla="*/ 120926 w 1897116"/>
              <a:gd name="connsiteY487" fmla="*/ 43701 h 1087290"/>
              <a:gd name="connsiteX488" fmla="*/ 121417 w 1897116"/>
              <a:gd name="connsiteY488" fmla="*/ 43693 h 1087290"/>
              <a:gd name="connsiteX489" fmla="*/ 126184 w 1897116"/>
              <a:gd name="connsiteY489" fmla="*/ 49407 h 1087290"/>
              <a:gd name="connsiteX490" fmla="*/ 120031 w 1897116"/>
              <a:gd name="connsiteY490" fmla="*/ 50714 h 1087290"/>
              <a:gd name="connsiteX491" fmla="*/ 119655 w 1897116"/>
              <a:gd name="connsiteY491" fmla="*/ 50411 h 1087290"/>
              <a:gd name="connsiteX492" fmla="*/ 118599 w 1897116"/>
              <a:gd name="connsiteY492" fmla="*/ 51019 h 1087290"/>
              <a:gd name="connsiteX493" fmla="*/ 120031 w 1897116"/>
              <a:gd name="connsiteY493" fmla="*/ 50714 h 1087290"/>
              <a:gd name="connsiteX494" fmla="*/ 120679 w 1897116"/>
              <a:gd name="connsiteY494" fmla="*/ 51239 h 1087290"/>
              <a:gd name="connsiteX495" fmla="*/ 127053 w 1897116"/>
              <a:gd name="connsiteY495" fmla="*/ 54442 h 1087290"/>
              <a:gd name="connsiteX496" fmla="*/ 135596 w 1897116"/>
              <a:gd name="connsiteY496" fmla="*/ 57865 h 1087290"/>
              <a:gd name="connsiteX497" fmla="*/ 137600 w 1897116"/>
              <a:gd name="connsiteY497" fmla="*/ 55186 h 1087290"/>
              <a:gd name="connsiteX498" fmla="*/ 138681 w 1897116"/>
              <a:gd name="connsiteY498" fmla="*/ 53721 h 1087290"/>
              <a:gd name="connsiteX499" fmla="*/ 139189 w 1897116"/>
              <a:gd name="connsiteY499" fmla="*/ 54503 h 1087290"/>
              <a:gd name="connsiteX500" fmla="*/ 139736 w 1897116"/>
              <a:gd name="connsiteY500" fmla="*/ 52266 h 1087290"/>
              <a:gd name="connsiteX501" fmla="*/ 137611 w 1897116"/>
              <a:gd name="connsiteY501" fmla="*/ 51817 h 1087290"/>
              <a:gd name="connsiteX502" fmla="*/ 138855 w 1897116"/>
              <a:gd name="connsiteY502" fmla="*/ 48875 h 1087290"/>
              <a:gd name="connsiteX503" fmla="*/ 146165 w 1897116"/>
              <a:gd name="connsiteY503" fmla="*/ 53354 h 1087290"/>
              <a:gd name="connsiteX504" fmla="*/ 151537 w 1897116"/>
              <a:gd name="connsiteY504" fmla="*/ 53034 h 1087290"/>
              <a:gd name="connsiteX505" fmla="*/ 158034 w 1897116"/>
              <a:gd name="connsiteY505" fmla="*/ 51672 h 1087290"/>
              <a:gd name="connsiteX506" fmla="*/ 159497 w 1897116"/>
              <a:gd name="connsiteY506" fmla="*/ 51308 h 1087290"/>
              <a:gd name="connsiteX507" fmla="*/ 160047 w 1897116"/>
              <a:gd name="connsiteY507" fmla="*/ 52862 h 1087290"/>
              <a:gd name="connsiteX508" fmla="*/ 164484 w 1897116"/>
              <a:gd name="connsiteY508" fmla="*/ 50059 h 1087290"/>
              <a:gd name="connsiteX509" fmla="*/ 165188 w 1897116"/>
              <a:gd name="connsiteY509" fmla="*/ 44940 h 1087290"/>
              <a:gd name="connsiteX510" fmla="*/ 169328 w 1897116"/>
              <a:gd name="connsiteY510" fmla="*/ 37646 h 1087290"/>
              <a:gd name="connsiteX511" fmla="*/ 174876 w 1897116"/>
              <a:gd name="connsiteY511" fmla="*/ 38670 h 1087290"/>
              <a:gd name="connsiteX512" fmla="*/ 174524 w 1897116"/>
              <a:gd name="connsiteY512" fmla="*/ 36622 h 1087290"/>
              <a:gd name="connsiteX513" fmla="*/ 180249 w 1897116"/>
              <a:gd name="connsiteY513" fmla="*/ 38542 h 1087290"/>
              <a:gd name="connsiteX514" fmla="*/ 185973 w 1897116"/>
              <a:gd name="connsiteY514" fmla="*/ 33871 h 1087290"/>
              <a:gd name="connsiteX515" fmla="*/ 188615 w 1897116"/>
              <a:gd name="connsiteY515" fmla="*/ 35535 h 1087290"/>
              <a:gd name="connsiteX516" fmla="*/ 192050 w 1897116"/>
              <a:gd name="connsiteY516" fmla="*/ 36558 h 1087290"/>
              <a:gd name="connsiteX517" fmla="*/ 195133 w 1897116"/>
              <a:gd name="connsiteY517" fmla="*/ 29360 h 1087290"/>
              <a:gd name="connsiteX518" fmla="*/ 196190 w 1897116"/>
              <a:gd name="connsiteY518" fmla="*/ 27857 h 1087290"/>
              <a:gd name="connsiteX519" fmla="*/ 203764 w 1897116"/>
              <a:gd name="connsiteY519" fmla="*/ 26513 h 1087290"/>
              <a:gd name="connsiteX520" fmla="*/ 204733 w 1897116"/>
              <a:gd name="connsiteY520" fmla="*/ 28784 h 1087290"/>
              <a:gd name="connsiteX521" fmla="*/ 207199 w 1897116"/>
              <a:gd name="connsiteY521" fmla="*/ 32591 h 1087290"/>
              <a:gd name="connsiteX522" fmla="*/ 213540 w 1897116"/>
              <a:gd name="connsiteY522" fmla="*/ 29968 h 1087290"/>
              <a:gd name="connsiteX523" fmla="*/ 219617 w 1897116"/>
              <a:gd name="connsiteY523" fmla="*/ 29648 h 1087290"/>
              <a:gd name="connsiteX524" fmla="*/ 224725 w 1897116"/>
              <a:gd name="connsiteY524" fmla="*/ 31408 h 1087290"/>
              <a:gd name="connsiteX525" fmla="*/ 226222 w 1897116"/>
              <a:gd name="connsiteY525" fmla="*/ 25553 h 1087290"/>
              <a:gd name="connsiteX526" fmla="*/ 236086 w 1897116"/>
              <a:gd name="connsiteY526" fmla="*/ 32495 h 1087290"/>
              <a:gd name="connsiteX527" fmla="*/ 241458 w 1897116"/>
              <a:gd name="connsiteY527" fmla="*/ 43149 h 1087290"/>
              <a:gd name="connsiteX528" fmla="*/ 242780 w 1897116"/>
              <a:gd name="connsiteY528" fmla="*/ 36430 h 1087290"/>
              <a:gd name="connsiteX529" fmla="*/ 248680 w 1897116"/>
              <a:gd name="connsiteY529" fmla="*/ 38574 h 1087290"/>
              <a:gd name="connsiteX530" fmla="*/ 258720 w 1897116"/>
              <a:gd name="connsiteY530" fmla="*/ 38926 h 1087290"/>
              <a:gd name="connsiteX531" fmla="*/ 264974 w 1897116"/>
              <a:gd name="connsiteY531" fmla="*/ 39854 h 1087290"/>
              <a:gd name="connsiteX532" fmla="*/ 266735 w 1897116"/>
              <a:gd name="connsiteY532" fmla="*/ 36654 h 1087290"/>
              <a:gd name="connsiteX533" fmla="*/ 275366 w 1897116"/>
              <a:gd name="connsiteY533" fmla="*/ 35119 h 1087290"/>
              <a:gd name="connsiteX534" fmla="*/ 279946 w 1897116"/>
              <a:gd name="connsiteY534" fmla="*/ 33775 h 1087290"/>
              <a:gd name="connsiteX535" fmla="*/ 278360 w 1897116"/>
              <a:gd name="connsiteY535" fmla="*/ 38094 h 1087290"/>
              <a:gd name="connsiteX536" fmla="*/ 283909 w 1897116"/>
              <a:gd name="connsiteY536" fmla="*/ 43597 h 1087290"/>
              <a:gd name="connsiteX537" fmla="*/ 288489 w 1897116"/>
              <a:gd name="connsiteY537" fmla="*/ 43757 h 1087290"/>
              <a:gd name="connsiteX538" fmla="*/ 292892 w 1897116"/>
              <a:gd name="connsiteY538" fmla="*/ 47276 h 1087290"/>
              <a:gd name="connsiteX539" fmla="*/ 295534 w 1897116"/>
              <a:gd name="connsiteY539" fmla="*/ 46068 h 1087290"/>
              <a:gd name="connsiteX540" fmla="*/ 299692 w 1897116"/>
              <a:gd name="connsiteY540" fmla="*/ 49081 h 1087290"/>
              <a:gd name="connsiteX541" fmla="*/ 298364 w 1897116"/>
              <a:gd name="connsiteY541" fmla="*/ 53022 h 1087290"/>
              <a:gd name="connsiteX542" fmla="*/ 300026 w 1897116"/>
              <a:gd name="connsiteY542" fmla="*/ 49323 h 1087290"/>
              <a:gd name="connsiteX543" fmla="*/ 299692 w 1897116"/>
              <a:gd name="connsiteY543" fmla="*/ 49081 h 1087290"/>
              <a:gd name="connsiteX544" fmla="*/ 300731 w 1897116"/>
              <a:gd name="connsiteY544" fmla="*/ 45996 h 1087290"/>
              <a:gd name="connsiteX545" fmla="*/ 305222 w 1897116"/>
              <a:gd name="connsiteY545" fmla="*/ 47724 h 1087290"/>
              <a:gd name="connsiteX546" fmla="*/ 306367 w 1897116"/>
              <a:gd name="connsiteY546" fmla="*/ 42605 h 1087290"/>
              <a:gd name="connsiteX547" fmla="*/ 304410 w 1897116"/>
              <a:gd name="connsiteY547" fmla="*/ 40485 h 1087290"/>
              <a:gd name="connsiteX548" fmla="*/ 308217 w 1897116"/>
              <a:gd name="connsiteY548" fmla="*/ 41357 h 1087290"/>
              <a:gd name="connsiteX549" fmla="*/ 310902 w 1897116"/>
              <a:gd name="connsiteY549" fmla="*/ 41519 h 1087290"/>
              <a:gd name="connsiteX550" fmla="*/ 314734 w 1897116"/>
              <a:gd name="connsiteY550" fmla="*/ 43309 h 1087290"/>
              <a:gd name="connsiteX551" fmla="*/ 321780 w 1897116"/>
              <a:gd name="connsiteY551" fmla="*/ 48235 h 1087290"/>
              <a:gd name="connsiteX552" fmla="*/ 326183 w 1897116"/>
              <a:gd name="connsiteY552" fmla="*/ 46540 h 1087290"/>
              <a:gd name="connsiteX553" fmla="*/ 336928 w 1897116"/>
              <a:gd name="connsiteY553" fmla="*/ 45900 h 1087290"/>
              <a:gd name="connsiteX554" fmla="*/ 347144 w 1897116"/>
              <a:gd name="connsiteY554" fmla="*/ 37806 h 1087290"/>
              <a:gd name="connsiteX555" fmla="*/ 352341 w 1897116"/>
              <a:gd name="connsiteY555" fmla="*/ 27761 h 1087290"/>
              <a:gd name="connsiteX556" fmla="*/ 353668 w 1897116"/>
              <a:gd name="connsiteY556" fmla="*/ 26940 h 1087290"/>
              <a:gd name="connsiteX557" fmla="*/ 354873 w 1897116"/>
              <a:gd name="connsiteY557" fmla="*/ 29988 h 1087290"/>
              <a:gd name="connsiteX558" fmla="*/ 354014 w 1897116"/>
              <a:gd name="connsiteY558" fmla="*/ 28912 h 1087290"/>
              <a:gd name="connsiteX559" fmla="*/ 355951 w 1897116"/>
              <a:gd name="connsiteY559" fmla="*/ 36750 h 1087290"/>
              <a:gd name="connsiteX560" fmla="*/ 357273 w 1897116"/>
              <a:gd name="connsiteY560" fmla="*/ 44300 h 1087290"/>
              <a:gd name="connsiteX561" fmla="*/ 356942 w 1897116"/>
              <a:gd name="connsiteY561" fmla="*/ 47547 h 1087290"/>
              <a:gd name="connsiteX562" fmla="*/ 357383 w 1897116"/>
              <a:gd name="connsiteY562" fmla="*/ 49085 h 1087290"/>
              <a:gd name="connsiteX563" fmla="*/ 357096 w 1897116"/>
              <a:gd name="connsiteY563" fmla="*/ 49755 h 1087290"/>
              <a:gd name="connsiteX564" fmla="*/ 358474 w 1897116"/>
              <a:gd name="connsiteY564" fmla="*/ 57114 h 1087290"/>
              <a:gd name="connsiteX565" fmla="*/ 357900 w 1897116"/>
              <a:gd name="connsiteY565" fmla="*/ 57309 h 1087290"/>
              <a:gd name="connsiteX566" fmla="*/ 358770 w 1897116"/>
              <a:gd name="connsiteY566" fmla="*/ 58697 h 1087290"/>
              <a:gd name="connsiteX567" fmla="*/ 358474 w 1897116"/>
              <a:gd name="connsiteY567" fmla="*/ 57114 h 1087290"/>
              <a:gd name="connsiteX568" fmla="*/ 365023 w 1897116"/>
              <a:gd name="connsiteY568" fmla="*/ 54890 h 1087290"/>
              <a:gd name="connsiteX569" fmla="*/ 371188 w 1897116"/>
              <a:gd name="connsiteY569" fmla="*/ 51115 h 1087290"/>
              <a:gd name="connsiteX570" fmla="*/ 379467 w 1897116"/>
              <a:gd name="connsiteY570" fmla="*/ 47660 h 1087290"/>
              <a:gd name="connsiteX571" fmla="*/ 383518 w 1897116"/>
              <a:gd name="connsiteY571" fmla="*/ 45484 h 1087290"/>
              <a:gd name="connsiteX572" fmla="*/ 388978 w 1897116"/>
              <a:gd name="connsiteY572" fmla="*/ 42509 h 1087290"/>
              <a:gd name="connsiteX573" fmla="*/ 396817 w 1897116"/>
              <a:gd name="connsiteY573" fmla="*/ 45484 h 1087290"/>
              <a:gd name="connsiteX574" fmla="*/ 404391 w 1897116"/>
              <a:gd name="connsiteY574" fmla="*/ 47724 h 1087290"/>
              <a:gd name="connsiteX575" fmla="*/ 404215 w 1897116"/>
              <a:gd name="connsiteY575" fmla="*/ 48907 h 1087290"/>
              <a:gd name="connsiteX576" fmla="*/ 402277 w 1897116"/>
              <a:gd name="connsiteY576" fmla="*/ 51627 h 1087290"/>
              <a:gd name="connsiteX577" fmla="*/ 408883 w 1897116"/>
              <a:gd name="connsiteY577" fmla="*/ 55018 h 1087290"/>
              <a:gd name="connsiteX578" fmla="*/ 408618 w 1897116"/>
              <a:gd name="connsiteY578" fmla="*/ 56681 h 1087290"/>
              <a:gd name="connsiteX579" fmla="*/ 414079 w 1897116"/>
              <a:gd name="connsiteY579" fmla="*/ 62408 h 1087290"/>
              <a:gd name="connsiteX580" fmla="*/ 414519 w 1897116"/>
              <a:gd name="connsiteY580" fmla="*/ 59241 h 1087290"/>
              <a:gd name="connsiteX581" fmla="*/ 417866 w 1897116"/>
              <a:gd name="connsiteY581" fmla="*/ 66759 h 1087290"/>
              <a:gd name="connsiteX582" fmla="*/ 422710 w 1897116"/>
              <a:gd name="connsiteY582" fmla="*/ 70022 h 1087290"/>
              <a:gd name="connsiteX583" fmla="*/ 428611 w 1897116"/>
              <a:gd name="connsiteY583" fmla="*/ 68582 h 1087290"/>
              <a:gd name="connsiteX584" fmla="*/ 429932 w 1897116"/>
              <a:gd name="connsiteY584" fmla="*/ 74117 h 1087290"/>
              <a:gd name="connsiteX585" fmla="*/ 435832 w 1897116"/>
              <a:gd name="connsiteY585" fmla="*/ 74053 h 1087290"/>
              <a:gd name="connsiteX586" fmla="*/ 442526 w 1897116"/>
              <a:gd name="connsiteY586" fmla="*/ 72389 h 1087290"/>
              <a:gd name="connsiteX587" fmla="*/ 448603 w 1897116"/>
              <a:gd name="connsiteY587" fmla="*/ 71461 h 1087290"/>
              <a:gd name="connsiteX588" fmla="*/ 456001 w 1897116"/>
              <a:gd name="connsiteY588" fmla="*/ 67878 h 1087290"/>
              <a:gd name="connsiteX589" fmla="*/ 460316 w 1897116"/>
              <a:gd name="connsiteY589" fmla="*/ 66055 h 1087290"/>
              <a:gd name="connsiteX590" fmla="*/ 465160 w 1897116"/>
              <a:gd name="connsiteY590" fmla="*/ 63048 h 1087290"/>
              <a:gd name="connsiteX591" fmla="*/ 470709 w 1897116"/>
              <a:gd name="connsiteY591" fmla="*/ 61224 h 1087290"/>
              <a:gd name="connsiteX592" fmla="*/ 479252 w 1897116"/>
              <a:gd name="connsiteY592" fmla="*/ 60328 h 1087290"/>
              <a:gd name="connsiteX593" fmla="*/ 484448 w 1897116"/>
              <a:gd name="connsiteY593" fmla="*/ 64487 h 1087290"/>
              <a:gd name="connsiteX594" fmla="*/ 486209 w 1897116"/>
              <a:gd name="connsiteY594" fmla="*/ 64967 h 1087290"/>
              <a:gd name="connsiteX595" fmla="*/ 489556 w 1897116"/>
              <a:gd name="connsiteY595" fmla="*/ 73125 h 1087290"/>
              <a:gd name="connsiteX596" fmla="*/ 492374 w 1897116"/>
              <a:gd name="connsiteY596" fmla="*/ 79395 h 1087290"/>
              <a:gd name="connsiteX597" fmla="*/ 495193 w 1897116"/>
              <a:gd name="connsiteY597" fmla="*/ 85634 h 1087290"/>
              <a:gd name="connsiteX598" fmla="*/ 499860 w 1897116"/>
              <a:gd name="connsiteY598" fmla="*/ 80611 h 1087290"/>
              <a:gd name="connsiteX599" fmla="*/ 498539 w 1897116"/>
              <a:gd name="connsiteY599" fmla="*/ 72461 h 1087290"/>
              <a:gd name="connsiteX600" fmla="*/ 502864 w 1897116"/>
              <a:gd name="connsiteY600" fmla="*/ 74686 h 1087290"/>
              <a:gd name="connsiteX601" fmla="*/ 502591 w 1897116"/>
              <a:gd name="connsiteY601" fmla="*/ 74740 h 1087290"/>
              <a:gd name="connsiteX602" fmla="*/ 504616 w 1897116"/>
              <a:gd name="connsiteY602" fmla="*/ 75588 h 1087290"/>
              <a:gd name="connsiteX603" fmla="*/ 502864 w 1897116"/>
              <a:gd name="connsiteY603" fmla="*/ 74686 h 1087290"/>
              <a:gd name="connsiteX604" fmla="*/ 509284 w 1897116"/>
              <a:gd name="connsiteY604" fmla="*/ 73413 h 1087290"/>
              <a:gd name="connsiteX605" fmla="*/ 513688 w 1897116"/>
              <a:gd name="connsiteY605" fmla="*/ 73125 h 1087290"/>
              <a:gd name="connsiteX606" fmla="*/ 519060 w 1897116"/>
              <a:gd name="connsiteY606" fmla="*/ 76196 h 1087290"/>
              <a:gd name="connsiteX607" fmla="*/ 524168 w 1897116"/>
              <a:gd name="connsiteY607" fmla="*/ 80067 h 1087290"/>
              <a:gd name="connsiteX608" fmla="*/ 528308 w 1897116"/>
              <a:gd name="connsiteY608" fmla="*/ 79267 h 1087290"/>
              <a:gd name="connsiteX609" fmla="*/ 534880 w 1897116"/>
              <a:gd name="connsiteY609" fmla="*/ 78096 h 1087290"/>
              <a:gd name="connsiteX610" fmla="*/ 536126 w 1897116"/>
              <a:gd name="connsiteY610" fmla="*/ 80719 h 1087290"/>
              <a:gd name="connsiteX611" fmla="*/ 535949 w 1897116"/>
              <a:gd name="connsiteY611" fmla="*/ 80727 h 1087290"/>
              <a:gd name="connsiteX612" fmla="*/ 534913 w 1897116"/>
              <a:gd name="connsiteY612" fmla="*/ 79875 h 1087290"/>
              <a:gd name="connsiteX613" fmla="*/ 532766 w 1897116"/>
              <a:gd name="connsiteY613" fmla="*/ 80875 h 1087290"/>
              <a:gd name="connsiteX614" fmla="*/ 535949 w 1897116"/>
              <a:gd name="connsiteY614" fmla="*/ 80727 h 1087290"/>
              <a:gd name="connsiteX615" fmla="*/ 536247 w 1897116"/>
              <a:gd name="connsiteY615" fmla="*/ 80972 h 1087290"/>
              <a:gd name="connsiteX616" fmla="*/ 536126 w 1897116"/>
              <a:gd name="connsiteY616" fmla="*/ 80719 h 1087290"/>
              <a:gd name="connsiteX617" fmla="*/ 539140 w 1897116"/>
              <a:gd name="connsiteY617" fmla="*/ 80579 h 1087290"/>
              <a:gd name="connsiteX618" fmla="*/ 544777 w 1897116"/>
              <a:gd name="connsiteY618" fmla="*/ 79203 h 1087290"/>
              <a:gd name="connsiteX619" fmla="*/ 548588 w 1897116"/>
              <a:gd name="connsiteY619" fmla="*/ 77263 h 1087290"/>
              <a:gd name="connsiteX620" fmla="*/ 550747 w 1897116"/>
              <a:gd name="connsiteY620" fmla="*/ 77988 h 1087290"/>
              <a:gd name="connsiteX621" fmla="*/ 555786 w 1897116"/>
              <a:gd name="connsiteY621" fmla="*/ 74565 h 1087290"/>
              <a:gd name="connsiteX622" fmla="*/ 561334 w 1897116"/>
              <a:gd name="connsiteY622" fmla="*/ 74213 h 1087290"/>
              <a:gd name="connsiteX623" fmla="*/ 562303 w 1897116"/>
              <a:gd name="connsiteY623" fmla="*/ 68838 h 1087290"/>
              <a:gd name="connsiteX624" fmla="*/ 567059 w 1897116"/>
              <a:gd name="connsiteY624" fmla="*/ 67207 h 1087290"/>
              <a:gd name="connsiteX625" fmla="*/ 571110 w 1897116"/>
              <a:gd name="connsiteY625" fmla="*/ 61224 h 1087290"/>
              <a:gd name="connsiteX626" fmla="*/ 576747 w 1897116"/>
              <a:gd name="connsiteY626" fmla="*/ 60936 h 1087290"/>
              <a:gd name="connsiteX627" fmla="*/ 580622 w 1897116"/>
              <a:gd name="connsiteY627" fmla="*/ 55050 h 1087290"/>
              <a:gd name="connsiteX628" fmla="*/ 581327 w 1897116"/>
              <a:gd name="connsiteY628" fmla="*/ 58569 h 1087290"/>
              <a:gd name="connsiteX629" fmla="*/ 581855 w 1897116"/>
              <a:gd name="connsiteY629" fmla="*/ 64007 h 1087290"/>
              <a:gd name="connsiteX630" fmla="*/ 583264 w 1897116"/>
              <a:gd name="connsiteY630" fmla="*/ 67910 h 1087290"/>
              <a:gd name="connsiteX631" fmla="*/ 587668 w 1897116"/>
              <a:gd name="connsiteY631" fmla="*/ 68038 h 1087290"/>
              <a:gd name="connsiteX632" fmla="*/ 592952 w 1897116"/>
              <a:gd name="connsiteY632" fmla="*/ 66535 h 1087290"/>
              <a:gd name="connsiteX633" fmla="*/ 604137 w 1897116"/>
              <a:gd name="connsiteY633" fmla="*/ 61448 h 1087290"/>
              <a:gd name="connsiteX634" fmla="*/ 615146 w 1897116"/>
              <a:gd name="connsiteY634" fmla="*/ 53450 h 1087290"/>
              <a:gd name="connsiteX635" fmla="*/ 620430 w 1897116"/>
              <a:gd name="connsiteY635" fmla="*/ 48907 h 1087290"/>
              <a:gd name="connsiteX636" fmla="*/ 625803 w 1897116"/>
              <a:gd name="connsiteY636" fmla="*/ 44172 h 1087290"/>
              <a:gd name="connsiteX637" fmla="*/ 630735 w 1897116"/>
              <a:gd name="connsiteY637" fmla="*/ 39598 h 1087290"/>
              <a:gd name="connsiteX638" fmla="*/ 635755 w 1897116"/>
              <a:gd name="connsiteY638" fmla="*/ 35567 h 1087290"/>
              <a:gd name="connsiteX639" fmla="*/ 639806 w 1897116"/>
              <a:gd name="connsiteY639" fmla="*/ 32495 h 1087290"/>
              <a:gd name="connsiteX640" fmla="*/ 645091 w 1897116"/>
              <a:gd name="connsiteY640" fmla="*/ 28880 h 1087290"/>
              <a:gd name="connsiteX641" fmla="*/ 652136 w 1897116"/>
              <a:gd name="connsiteY641" fmla="*/ 25553 h 1087290"/>
              <a:gd name="connsiteX642" fmla="*/ 658742 w 1897116"/>
              <a:gd name="connsiteY642" fmla="*/ 22706 h 1087290"/>
              <a:gd name="connsiteX643" fmla="*/ 665347 w 1897116"/>
              <a:gd name="connsiteY643" fmla="*/ 17075 h 1087290"/>
              <a:gd name="connsiteX644" fmla="*/ 672481 w 1897116"/>
              <a:gd name="connsiteY644" fmla="*/ 15316 h 1087290"/>
              <a:gd name="connsiteX645" fmla="*/ 679703 w 1897116"/>
              <a:gd name="connsiteY645" fmla="*/ 12341 h 1087290"/>
              <a:gd name="connsiteX646" fmla="*/ 687365 w 1897116"/>
              <a:gd name="connsiteY646" fmla="*/ 14740 h 1087290"/>
              <a:gd name="connsiteX647" fmla="*/ 686748 w 1897116"/>
              <a:gd name="connsiteY647" fmla="*/ 9589 h 1087290"/>
              <a:gd name="connsiteX648" fmla="*/ 693354 w 1897116"/>
              <a:gd name="connsiteY648" fmla="*/ 7254 h 1087290"/>
              <a:gd name="connsiteX649" fmla="*/ 700664 w 1897116"/>
              <a:gd name="connsiteY649" fmla="*/ 4887 h 1087290"/>
              <a:gd name="connsiteX650" fmla="*/ 709207 w 1897116"/>
              <a:gd name="connsiteY650" fmla="*/ 1048 h 1087290"/>
              <a:gd name="connsiteX651" fmla="*/ 710616 w 1897116"/>
              <a:gd name="connsiteY651" fmla="*/ 3799 h 1087290"/>
              <a:gd name="connsiteX652" fmla="*/ 715548 w 1897116"/>
              <a:gd name="connsiteY652" fmla="*/ 11317 h 1087290"/>
              <a:gd name="connsiteX653" fmla="*/ 717485 w 1897116"/>
              <a:gd name="connsiteY653" fmla="*/ 14548 h 1087290"/>
              <a:gd name="connsiteX654" fmla="*/ 723210 w 1897116"/>
              <a:gd name="connsiteY654" fmla="*/ 19731 h 1087290"/>
              <a:gd name="connsiteX655" fmla="*/ 725412 w 1897116"/>
              <a:gd name="connsiteY655" fmla="*/ 18099 h 1087290"/>
              <a:gd name="connsiteX656" fmla="*/ 729727 w 1897116"/>
              <a:gd name="connsiteY656" fmla="*/ 25489 h 1087290"/>
              <a:gd name="connsiteX657" fmla="*/ 734659 w 1897116"/>
              <a:gd name="connsiteY657" fmla="*/ 28592 h 1087290"/>
              <a:gd name="connsiteX658" fmla="*/ 738270 w 1897116"/>
              <a:gd name="connsiteY658" fmla="*/ 27441 h 1087290"/>
              <a:gd name="connsiteX659" fmla="*/ 745404 w 1897116"/>
              <a:gd name="connsiteY659" fmla="*/ 32879 h 1087290"/>
              <a:gd name="connsiteX660" fmla="*/ 746109 w 1897116"/>
              <a:gd name="connsiteY660" fmla="*/ 32048 h 1087290"/>
              <a:gd name="connsiteX661" fmla="*/ 743731 w 1897116"/>
              <a:gd name="connsiteY661" fmla="*/ 29808 h 1087290"/>
              <a:gd name="connsiteX662" fmla="*/ 748663 w 1897116"/>
              <a:gd name="connsiteY662" fmla="*/ 27089 h 1087290"/>
              <a:gd name="connsiteX663" fmla="*/ 756149 w 1897116"/>
              <a:gd name="connsiteY663" fmla="*/ 23474 h 1087290"/>
              <a:gd name="connsiteX664" fmla="*/ 759496 w 1897116"/>
              <a:gd name="connsiteY664" fmla="*/ 23890 h 1087290"/>
              <a:gd name="connsiteX665" fmla="*/ 760817 w 1897116"/>
              <a:gd name="connsiteY665" fmla="*/ 21458 h 1087290"/>
              <a:gd name="connsiteX666" fmla="*/ 763459 w 1897116"/>
              <a:gd name="connsiteY666" fmla="*/ 25297 h 1087290"/>
              <a:gd name="connsiteX667" fmla="*/ 766365 w 1897116"/>
              <a:gd name="connsiteY667" fmla="*/ 32112 h 1087290"/>
              <a:gd name="connsiteX668" fmla="*/ 768127 w 1897116"/>
              <a:gd name="connsiteY668" fmla="*/ 36558 h 1087290"/>
              <a:gd name="connsiteX669" fmla="*/ 769888 w 1897116"/>
              <a:gd name="connsiteY669" fmla="*/ 34255 h 1087290"/>
              <a:gd name="connsiteX670" fmla="*/ 770945 w 1897116"/>
              <a:gd name="connsiteY670" fmla="*/ 37966 h 1087290"/>
              <a:gd name="connsiteX671" fmla="*/ 770681 w 1897116"/>
              <a:gd name="connsiteY671" fmla="*/ 43565 h 1087290"/>
              <a:gd name="connsiteX672" fmla="*/ 773411 w 1897116"/>
              <a:gd name="connsiteY672" fmla="*/ 47979 h 1087290"/>
              <a:gd name="connsiteX673" fmla="*/ 776846 w 1897116"/>
              <a:gd name="connsiteY673" fmla="*/ 43789 h 1087290"/>
              <a:gd name="connsiteX674" fmla="*/ 784684 w 1897116"/>
              <a:gd name="connsiteY674" fmla="*/ 42861 h 1087290"/>
              <a:gd name="connsiteX675" fmla="*/ 789528 w 1897116"/>
              <a:gd name="connsiteY675" fmla="*/ 46412 h 1087290"/>
              <a:gd name="connsiteX676" fmla="*/ 794196 w 1897116"/>
              <a:gd name="connsiteY676" fmla="*/ 40493 h 1087290"/>
              <a:gd name="connsiteX677" fmla="*/ 803179 w 1897116"/>
              <a:gd name="connsiteY677" fmla="*/ 38222 h 1087290"/>
              <a:gd name="connsiteX678" fmla="*/ 812074 w 1897116"/>
              <a:gd name="connsiteY678" fmla="*/ 36878 h 1087290"/>
              <a:gd name="connsiteX679" fmla="*/ 813395 w 1897116"/>
              <a:gd name="connsiteY679" fmla="*/ 37102 h 1087290"/>
              <a:gd name="connsiteX680" fmla="*/ 808904 w 1897116"/>
              <a:gd name="connsiteY680" fmla="*/ 45324 h 1087290"/>
              <a:gd name="connsiteX681" fmla="*/ 805557 w 1897116"/>
              <a:gd name="connsiteY681" fmla="*/ 51850 h 1087290"/>
              <a:gd name="connsiteX682" fmla="*/ 802122 w 1897116"/>
              <a:gd name="connsiteY682" fmla="*/ 59305 h 1087290"/>
              <a:gd name="connsiteX683" fmla="*/ 809872 w 1897116"/>
              <a:gd name="connsiteY683" fmla="*/ 58825 h 1087290"/>
              <a:gd name="connsiteX684" fmla="*/ 817623 w 1897116"/>
              <a:gd name="connsiteY684" fmla="*/ 58409 h 1087290"/>
              <a:gd name="connsiteX685" fmla="*/ 824845 w 1897116"/>
              <a:gd name="connsiteY685" fmla="*/ 54538 h 1087290"/>
              <a:gd name="connsiteX686" fmla="*/ 831186 w 1897116"/>
              <a:gd name="connsiteY686" fmla="*/ 56457 h 1087290"/>
              <a:gd name="connsiteX687" fmla="*/ 840609 w 1897116"/>
              <a:gd name="connsiteY687" fmla="*/ 53898 h 1087290"/>
              <a:gd name="connsiteX688" fmla="*/ 844132 w 1897116"/>
              <a:gd name="connsiteY688" fmla="*/ 52874 h 1087290"/>
              <a:gd name="connsiteX689" fmla="*/ 849857 w 1897116"/>
              <a:gd name="connsiteY689" fmla="*/ 50923 h 1087290"/>
              <a:gd name="connsiteX690" fmla="*/ 856727 w 1897116"/>
              <a:gd name="connsiteY690" fmla="*/ 48459 h 1087290"/>
              <a:gd name="connsiteX691" fmla="*/ 864565 w 1897116"/>
              <a:gd name="connsiteY691" fmla="*/ 45228 h 1087290"/>
              <a:gd name="connsiteX692" fmla="*/ 867383 w 1897116"/>
              <a:gd name="connsiteY692" fmla="*/ 44748 h 1087290"/>
              <a:gd name="connsiteX693" fmla="*/ 872668 w 1897116"/>
              <a:gd name="connsiteY693" fmla="*/ 41901 h 1087290"/>
              <a:gd name="connsiteX694" fmla="*/ 877776 w 1897116"/>
              <a:gd name="connsiteY694" fmla="*/ 41741 h 1087290"/>
              <a:gd name="connsiteX695" fmla="*/ 884205 w 1897116"/>
              <a:gd name="connsiteY695" fmla="*/ 42893 h 1087290"/>
              <a:gd name="connsiteX696" fmla="*/ 882972 w 1897116"/>
              <a:gd name="connsiteY696" fmla="*/ 43053 h 1087290"/>
              <a:gd name="connsiteX697" fmla="*/ 883853 w 1897116"/>
              <a:gd name="connsiteY697" fmla="*/ 49899 h 1087290"/>
              <a:gd name="connsiteX698" fmla="*/ 880330 w 1897116"/>
              <a:gd name="connsiteY698" fmla="*/ 57001 h 1087290"/>
              <a:gd name="connsiteX699" fmla="*/ 880252 w 1897116"/>
              <a:gd name="connsiteY699" fmla="*/ 58718 h 1087290"/>
              <a:gd name="connsiteX700" fmla="*/ 879713 w 1897116"/>
              <a:gd name="connsiteY700" fmla="*/ 59656 h 1087290"/>
              <a:gd name="connsiteX701" fmla="*/ 880154 w 1897116"/>
              <a:gd name="connsiteY701" fmla="*/ 60896 h 1087290"/>
              <a:gd name="connsiteX702" fmla="*/ 880252 w 1897116"/>
              <a:gd name="connsiteY702" fmla="*/ 58718 h 1087290"/>
              <a:gd name="connsiteX703" fmla="*/ 881827 w 1897116"/>
              <a:gd name="connsiteY703" fmla="*/ 55977 h 1087290"/>
              <a:gd name="connsiteX704" fmla="*/ 890722 w 1897116"/>
              <a:gd name="connsiteY704" fmla="*/ 54186 h 1087290"/>
              <a:gd name="connsiteX705" fmla="*/ 897504 w 1897116"/>
              <a:gd name="connsiteY705" fmla="*/ 50699 h 1087290"/>
              <a:gd name="connsiteX706" fmla="*/ 901731 w 1897116"/>
              <a:gd name="connsiteY706" fmla="*/ 48715 h 1087290"/>
              <a:gd name="connsiteX707" fmla="*/ 906927 w 1897116"/>
              <a:gd name="connsiteY707" fmla="*/ 50539 h 1087290"/>
              <a:gd name="connsiteX708" fmla="*/ 909393 w 1897116"/>
              <a:gd name="connsiteY708" fmla="*/ 46028 h 1087290"/>
              <a:gd name="connsiteX709" fmla="*/ 910803 w 1897116"/>
              <a:gd name="connsiteY709" fmla="*/ 52138 h 1087290"/>
              <a:gd name="connsiteX710" fmla="*/ 912124 w 1897116"/>
              <a:gd name="connsiteY710" fmla="*/ 58249 h 1087290"/>
              <a:gd name="connsiteX711" fmla="*/ 913797 w 1897116"/>
              <a:gd name="connsiteY711" fmla="*/ 59433 h 1087290"/>
              <a:gd name="connsiteX712" fmla="*/ 911595 w 1897116"/>
              <a:gd name="connsiteY712" fmla="*/ 67334 h 1087290"/>
              <a:gd name="connsiteX713" fmla="*/ 912124 w 1897116"/>
              <a:gd name="connsiteY713" fmla="*/ 73765 h 1087290"/>
              <a:gd name="connsiteX714" fmla="*/ 914854 w 1897116"/>
              <a:gd name="connsiteY714" fmla="*/ 79587 h 1087290"/>
              <a:gd name="connsiteX715" fmla="*/ 912388 w 1897116"/>
              <a:gd name="connsiteY715" fmla="*/ 79747 h 1087290"/>
              <a:gd name="connsiteX716" fmla="*/ 912652 w 1897116"/>
              <a:gd name="connsiteY716" fmla="*/ 80227 h 1087290"/>
              <a:gd name="connsiteX717" fmla="*/ 914854 w 1897116"/>
              <a:gd name="connsiteY717" fmla="*/ 79587 h 1087290"/>
              <a:gd name="connsiteX718" fmla="*/ 918553 w 1897116"/>
              <a:gd name="connsiteY718" fmla="*/ 77540 h 1087290"/>
              <a:gd name="connsiteX719" fmla="*/ 925334 w 1897116"/>
              <a:gd name="connsiteY719" fmla="*/ 74053 h 1087290"/>
              <a:gd name="connsiteX720" fmla="*/ 925775 w 1897116"/>
              <a:gd name="connsiteY720" fmla="*/ 74149 h 1087290"/>
              <a:gd name="connsiteX721" fmla="*/ 931499 w 1897116"/>
              <a:gd name="connsiteY721" fmla="*/ 72741 h 1087290"/>
              <a:gd name="connsiteX722" fmla="*/ 937752 w 1897116"/>
              <a:gd name="connsiteY722" fmla="*/ 72133 h 1087290"/>
              <a:gd name="connsiteX723" fmla="*/ 943213 w 1897116"/>
              <a:gd name="connsiteY723" fmla="*/ 73573 h 1087290"/>
              <a:gd name="connsiteX724" fmla="*/ 949026 w 1897116"/>
              <a:gd name="connsiteY724" fmla="*/ 76100 h 1087290"/>
              <a:gd name="connsiteX725" fmla="*/ 958273 w 1897116"/>
              <a:gd name="connsiteY725" fmla="*/ 79939 h 1087290"/>
              <a:gd name="connsiteX726" fmla="*/ 965671 w 1897116"/>
              <a:gd name="connsiteY726" fmla="*/ 81091 h 1087290"/>
              <a:gd name="connsiteX727" fmla="*/ 968137 w 1897116"/>
              <a:gd name="connsiteY727" fmla="*/ 83266 h 1087290"/>
              <a:gd name="connsiteX728" fmla="*/ 972012 w 1897116"/>
              <a:gd name="connsiteY728" fmla="*/ 90656 h 1087290"/>
              <a:gd name="connsiteX729" fmla="*/ 977120 w 1897116"/>
              <a:gd name="connsiteY729" fmla="*/ 88353 h 1087290"/>
              <a:gd name="connsiteX730" fmla="*/ 983109 w 1897116"/>
              <a:gd name="connsiteY730" fmla="*/ 85122 h 1087290"/>
              <a:gd name="connsiteX731" fmla="*/ 988129 w 1897116"/>
              <a:gd name="connsiteY731" fmla="*/ 82307 h 1087290"/>
              <a:gd name="connsiteX732" fmla="*/ 993678 w 1897116"/>
              <a:gd name="connsiteY732" fmla="*/ 80739 h 1087290"/>
              <a:gd name="connsiteX733" fmla="*/ 996672 w 1897116"/>
              <a:gd name="connsiteY733" fmla="*/ 78660 h 1087290"/>
              <a:gd name="connsiteX734" fmla="*/ 1005568 w 1897116"/>
              <a:gd name="connsiteY734" fmla="*/ 74533 h 1087290"/>
              <a:gd name="connsiteX735" fmla="*/ 1014551 w 1897116"/>
              <a:gd name="connsiteY735" fmla="*/ 71493 h 1087290"/>
              <a:gd name="connsiteX736" fmla="*/ 1017457 w 1897116"/>
              <a:gd name="connsiteY736" fmla="*/ 67302 h 1087290"/>
              <a:gd name="connsiteX737" fmla="*/ 1025208 w 1897116"/>
              <a:gd name="connsiteY737" fmla="*/ 60584 h 1087290"/>
              <a:gd name="connsiteX738" fmla="*/ 1029347 w 1897116"/>
              <a:gd name="connsiteY738" fmla="*/ 58633 h 1087290"/>
              <a:gd name="connsiteX739" fmla="*/ 1033839 w 1897116"/>
              <a:gd name="connsiteY739" fmla="*/ 54794 h 1087290"/>
              <a:gd name="connsiteX740" fmla="*/ 1038066 w 1897116"/>
              <a:gd name="connsiteY740" fmla="*/ 50731 h 1087290"/>
              <a:gd name="connsiteX741" fmla="*/ 1044495 w 1897116"/>
              <a:gd name="connsiteY741" fmla="*/ 44652 h 1087290"/>
              <a:gd name="connsiteX742" fmla="*/ 1051012 w 1897116"/>
              <a:gd name="connsiteY742" fmla="*/ 44812 h 1087290"/>
              <a:gd name="connsiteX743" fmla="*/ 1051012 w 1897116"/>
              <a:gd name="connsiteY743" fmla="*/ 40333 h 1087290"/>
              <a:gd name="connsiteX744" fmla="*/ 1055856 w 1897116"/>
              <a:gd name="connsiteY744" fmla="*/ 39438 h 1087290"/>
              <a:gd name="connsiteX745" fmla="*/ 1061845 w 1897116"/>
              <a:gd name="connsiteY745" fmla="*/ 39630 h 1087290"/>
              <a:gd name="connsiteX746" fmla="*/ 1070212 w 1897116"/>
              <a:gd name="connsiteY746" fmla="*/ 39854 h 1087290"/>
              <a:gd name="connsiteX747" fmla="*/ 1079195 w 1897116"/>
              <a:gd name="connsiteY747" fmla="*/ 37998 h 1087290"/>
              <a:gd name="connsiteX748" fmla="*/ 1087034 w 1897116"/>
              <a:gd name="connsiteY748" fmla="*/ 33327 h 1087290"/>
              <a:gd name="connsiteX749" fmla="*/ 1092494 w 1897116"/>
              <a:gd name="connsiteY749" fmla="*/ 27473 h 1087290"/>
              <a:gd name="connsiteX750" fmla="*/ 1093023 w 1897116"/>
              <a:gd name="connsiteY750" fmla="*/ 20467 h 1087290"/>
              <a:gd name="connsiteX751" fmla="*/ 1095665 w 1897116"/>
              <a:gd name="connsiteY751" fmla="*/ 20083 h 1087290"/>
              <a:gd name="connsiteX752" fmla="*/ 1096722 w 1897116"/>
              <a:gd name="connsiteY752" fmla="*/ 16628 h 1087290"/>
              <a:gd name="connsiteX753" fmla="*/ 1096810 w 1897116"/>
              <a:gd name="connsiteY753" fmla="*/ 15156 h 1087290"/>
              <a:gd name="connsiteX754" fmla="*/ 1097778 w 1897116"/>
              <a:gd name="connsiteY754" fmla="*/ 13140 h 1087290"/>
              <a:gd name="connsiteX755" fmla="*/ 1098043 w 1897116"/>
              <a:gd name="connsiteY755" fmla="*/ 12916 h 1087290"/>
              <a:gd name="connsiteX756" fmla="*/ 1098219 w 1897116"/>
              <a:gd name="connsiteY756" fmla="*/ 12277 h 1087290"/>
              <a:gd name="connsiteX757" fmla="*/ 1098395 w 1897116"/>
              <a:gd name="connsiteY757" fmla="*/ 11605 h 1087290"/>
              <a:gd name="connsiteX758" fmla="*/ 1104560 w 1897116"/>
              <a:gd name="connsiteY758" fmla="*/ 16052 h 1087290"/>
              <a:gd name="connsiteX759" fmla="*/ 1111165 w 1897116"/>
              <a:gd name="connsiteY759" fmla="*/ 18899 h 1087290"/>
              <a:gd name="connsiteX760" fmla="*/ 1116274 w 1897116"/>
              <a:gd name="connsiteY760" fmla="*/ 22226 h 1087290"/>
              <a:gd name="connsiteX761" fmla="*/ 1121910 w 1897116"/>
              <a:gd name="connsiteY761" fmla="*/ 22866 h 1087290"/>
              <a:gd name="connsiteX762" fmla="*/ 1122615 w 1897116"/>
              <a:gd name="connsiteY762" fmla="*/ 19763 h 1087290"/>
              <a:gd name="connsiteX763" fmla="*/ 1121646 w 1897116"/>
              <a:gd name="connsiteY763" fmla="*/ 17267 h 1087290"/>
              <a:gd name="connsiteX764" fmla="*/ 1128075 w 1897116"/>
              <a:gd name="connsiteY764" fmla="*/ 16915 h 1087290"/>
              <a:gd name="connsiteX765" fmla="*/ 1128780 w 1897116"/>
              <a:gd name="connsiteY765" fmla="*/ 17683 h 1087290"/>
              <a:gd name="connsiteX766" fmla="*/ 1128075 w 1897116"/>
              <a:gd name="connsiteY766" fmla="*/ 16915 h 1087290"/>
              <a:gd name="connsiteX767" fmla="*/ 1130101 w 1897116"/>
              <a:gd name="connsiteY767" fmla="*/ 17139 h 1087290"/>
              <a:gd name="connsiteX768" fmla="*/ 1130541 w 1897116"/>
              <a:gd name="connsiteY768" fmla="*/ 17267 h 1087290"/>
              <a:gd name="connsiteX769" fmla="*/ 1130189 w 1897116"/>
              <a:gd name="connsiteY769" fmla="*/ 18707 h 1087290"/>
              <a:gd name="connsiteX770" fmla="*/ 1130541 w 1897116"/>
              <a:gd name="connsiteY770" fmla="*/ 17267 h 1087290"/>
              <a:gd name="connsiteX771" fmla="*/ 1135385 w 1897116"/>
              <a:gd name="connsiteY771" fmla="*/ 19539 h 1087290"/>
              <a:gd name="connsiteX772" fmla="*/ 1129308 w 1897116"/>
              <a:gd name="connsiteY772" fmla="*/ 22386 h 1087290"/>
              <a:gd name="connsiteX773" fmla="*/ 1127018 w 1897116"/>
              <a:gd name="connsiteY773" fmla="*/ 27089 h 1087290"/>
              <a:gd name="connsiteX774" fmla="*/ 1127018 w 1897116"/>
              <a:gd name="connsiteY774" fmla="*/ 33391 h 1087290"/>
              <a:gd name="connsiteX775" fmla="*/ 1123583 w 1897116"/>
              <a:gd name="connsiteY775" fmla="*/ 37198 h 1087290"/>
              <a:gd name="connsiteX776" fmla="*/ 1123672 w 1897116"/>
              <a:gd name="connsiteY776" fmla="*/ 41165 h 1087290"/>
              <a:gd name="connsiteX777" fmla="*/ 1119973 w 1897116"/>
              <a:gd name="connsiteY777" fmla="*/ 42189 h 1087290"/>
              <a:gd name="connsiteX778" fmla="*/ 1123760 w 1897116"/>
              <a:gd name="connsiteY778" fmla="*/ 48043 h 1087290"/>
              <a:gd name="connsiteX779" fmla="*/ 1127371 w 1897116"/>
              <a:gd name="connsiteY779" fmla="*/ 45068 h 1087290"/>
              <a:gd name="connsiteX780" fmla="*/ 1133447 w 1897116"/>
              <a:gd name="connsiteY780" fmla="*/ 41805 h 1087290"/>
              <a:gd name="connsiteX781" fmla="*/ 1134592 w 1897116"/>
              <a:gd name="connsiteY781" fmla="*/ 37678 h 1087290"/>
              <a:gd name="connsiteX782" fmla="*/ 1136090 w 1897116"/>
              <a:gd name="connsiteY782" fmla="*/ 33807 h 1087290"/>
              <a:gd name="connsiteX783" fmla="*/ 1140934 w 1897116"/>
              <a:gd name="connsiteY783" fmla="*/ 30096 h 1087290"/>
              <a:gd name="connsiteX784" fmla="*/ 1145425 w 1897116"/>
              <a:gd name="connsiteY784" fmla="*/ 27249 h 1087290"/>
              <a:gd name="connsiteX785" fmla="*/ 1150798 w 1897116"/>
              <a:gd name="connsiteY785" fmla="*/ 23154 h 1087290"/>
              <a:gd name="connsiteX786" fmla="*/ 1155289 w 1897116"/>
              <a:gd name="connsiteY786" fmla="*/ 19539 h 1087290"/>
              <a:gd name="connsiteX787" fmla="*/ 1159341 w 1897116"/>
              <a:gd name="connsiteY787" fmla="*/ 15284 h 1087290"/>
              <a:gd name="connsiteX788" fmla="*/ 1160045 w 1897116"/>
              <a:gd name="connsiteY788" fmla="*/ 18195 h 1087290"/>
              <a:gd name="connsiteX789" fmla="*/ 1158900 w 1897116"/>
              <a:gd name="connsiteY789" fmla="*/ 18355 h 1087290"/>
              <a:gd name="connsiteX790" fmla="*/ 1160045 w 1897116"/>
              <a:gd name="connsiteY790" fmla="*/ 18195 h 1087290"/>
              <a:gd name="connsiteX791" fmla="*/ 1160045 w 1897116"/>
              <a:gd name="connsiteY791" fmla="*/ 20371 h 1087290"/>
              <a:gd name="connsiteX792" fmla="*/ 1163744 w 1897116"/>
              <a:gd name="connsiteY792" fmla="*/ 25969 h 1087290"/>
              <a:gd name="connsiteX793" fmla="*/ 1171759 w 1897116"/>
              <a:gd name="connsiteY793" fmla="*/ 30160 h 1087290"/>
              <a:gd name="connsiteX794" fmla="*/ 1180830 w 1897116"/>
              <a:gd name="connsiteY794" fmla="*/ 29904 h 1087290"/>
              <a:gd name="connsiteX795" fmla="*/ 1188052 w 1897116"/>
              <a:gd name="connsiteY795" fmla="*/ 27953 h 1087290"/>
              <a:gd name="connsiteX796" fmla="*/ 1192367 w 1897116"/>
              <a:gd name="connsiteY796" fmla="*/ 23186 h 1087290"/>
              <a:gd name="connsiteX797" fmla="*/ 1201703 w 1897116"/>
              <a:gd name="connsiteY797" fmla="*/ 20435 h 1087290"/>
              <a:gd name="connsiteX798" fmla="*/ 1208837 w 1897116"/>
              <a:gd name="connsiteY798" fmla="*/ 16084 h 1087290"/>
              <a:gd name="connsiteX799" fmla="*/ 1215618 w 1897116"/>
              <a:gd name="connsiteY799" fmla="*/ 13268 h 1087290"/>
              <a:gd name="connsiteX800" fmla="*/ 1215794 w 1897116"/>
              <a:gd name="connsiteY800" fmla="*/ 20275 h 1087290"/>
              <a:gd name="connsiteX801" fmla="*/ 1213505 w 1897116"/>
              <a:gd name="connsiteY801" fmla="*/ 28912 h 1087290"/>
              <a:gd name="connsiteX802" fmla="*/ 1210774 w 1897116"/>
              <a:gd name="connsiteY802" fmla="*/ 36206 h 1087290"/>
              <a:gd name="connsiteX803" fmla="*/ 1209365 w 1897116"/>
              <a:gd name="connsiteY803" fmla="*/ 44972 h 1087290"/>
              <a:gd name="connsiteX804" fmla="*/ 1207075 w 1897116"/>
              <a:gd name="connsiteY804" fmla="*/ 53610 h 1087290"/>
              <a:gd name="connsiteX805" fmla="*/ 1213328 w 1897116"/>
              <a:gd name="connsiteY805" fmla="*/ 47212 h 1087290"/>
              <a:gd name="connsiteX806" fmla="*/ 1219229 w 1897116"/>
              <a:gd name="connsiteY806" fmla="*/ 41037 h 1087290"/>
              <a:gd name="connsiteX807" fmla="*/ 1224954 w 1897116"/>
              <a:gd name="connsiteY807" fmla="*/ 35375 h 1087290"/>
              <a:gd name="connsiteX808" fmla="*/ 1231207 w 1897116"/>
              <a:gd name="connsiteY808" fmla="*/ 28976 h 1087290"/>
              <a:gd name="connsiteX809" fmla="*/ 1238253 w 1897116"/>
              <a:gd name="connsiteY809" fmla="*/ 22610 h 1087290"/>
              <a:gd name="connsiteX810" fmla="*/ 1242128 w 1897116"/>
              <a:gd name="connsiteY810" fmla="*/ 21010 h 1087290"/>
              <a:gd name="connsiteX811" fmla="*/ 1243889 w 1897116"/>
              <a:gd name="connsiteY811" fmla="*/ 23282 h 1087290"/>
              <a:gd name="connsiteX812" fmla="*/ 1242216 w 1897116"/>
              <a:gd name="connsiteY812" fmla="*/ 28912 h 1087290"/>
              <a:gd name="connsiteX813" fmla="*/ 1251551 w 1897116"/>
              <a:gd name="connsiteY813" fmla="*/ 24434 h 1087290"/>
              <a:gd name="connsiteX814" fmla="*/ 1260887 w 1897116"/>
              <a:gd name="connsiteY814" fmla="*/ 19923 h 1087290"/>
              <a:gd name="connsiteX815" fmla="*/ 1268197 w 1897116"/>
              <a:gd name="connsiteY815" fmla="*/ 16052 h 1087290"/>
              <a:gd name="connsiteX816" fmla="*/ 1273922 w 1897116"/>
              <a:gd name="connsiteY816" fmla="*/ 13268 h 1087290"/>
              <a:gd name="connsiteX817" fmla="*/ 1279470 w 1897116"/>
              <a:gd name="connsiteY817" fmla="*/ 10677 h 1087290"/>
              <a:gd name="connsiteX818" fmla="*/ 1286340 w 1897116"/>
              <a:gd name="connsiteY818" fmla="*/ 11349 h 1087290"/>
              <a:gd name="connsiteX819" fmla="*/ 1293209 w 1897116"/>
              <a:gd name="connsiteY819" fmla="*/ 12021 h 1087290"/>
              <a:gd name="connsiteX820" fmla="*/ 1299286 w 1897116"/>
              <a:gd name="connsiteY820" fmla="*/ 12469 h 1087290"/>
              <a:gd name="connsiteX821" fmla="*/ 1305804 w 1897116"/>
              <a:gd name="connsiteY821" fmla="*/ 12820 h 1087290"/>
              <a:gd name="connsiteX822" fmla="*/ 1314787 w 1897116"/>
              <a:gd name="connsiteY822" fmla="*/ 13332 h 1087290"/>
              <a:gd name="connsiteX823" fmla="*/ 1317253 w 1897116"/>
              <a:gd name="connsiteY823" fmla="*/ 15988 h 1087290"/>
              <a:gd name="connsiteX824" fmla="*/ 1321745 w 1897116"/>
              <a:gd name="connsiteY824" fmla="*/ 14740 h 1087290"/>
              <a:gd name="connsiteX825" fmla="*/ 1316901 w 1897116"/>
              <a:gd name="connsiteY825" fmla="*/ 19763 h 1087290"/>
              <a:gd name="connsiteX826" fmla="*/ 1311352 w 1897116"/>
              <a:gd name="connsiteY826" fmla="*/ 24114 h 1087290"/>
              <a:gd name="connsiteX827" fmla="*/ 1313202 w 1897116"/>
              <a:gd name="connsiteY827" fmla="*/ 24402 h 1087290"/>
              <a:gd name="connsiteX828" fmla="*/ 1322009 w 1897116"/>
              <a:gd name="connsiteY828" fmla="*/ 25873 h 1087290"/>
              <a:gd name="connsiteX829" fmla="*/ 1329759 w 1897116"/>
              <a:gd name="connsiteY829" fmla="*/ 22802 h 1087290"/>
              <a:gd name="connsiteX830" fmla="*/ 1333810 w 1897116"/>
              <a:gd name="connsiteY830" fmla="*/ 26417 h 1087290"/>
              <a:gd name="connsiteX831" fmla="*/ 1347373 w 1897116"/>
              <a:gd name="connsiteY831" fmla="*/ 26353 h 1087290"/>
              <a:gd name="connsiteX832" fmla="*/ 1360848 w 1897116"/>
              <a:gd name="connsiteY832" fmla="*/ 25361 h 1087290"/>
              <a:gd name="connsiteX833" fmla="*/ 1366397 w 1897116"/>
              <a:gd name="connsiteY833" fmla="*/ 24913 h 1087290"/>
              <a:gd name="connsiteX834" fmla="*/ 1371857 w 1897116"/>
              <a:gd name="connsiteY834" fmla="*/ 23698 h 1087290"/>
              <a:gd name="connsiteX835" fmla="*/ 1369920 w 1897116"/>
              <a:gd name="connsiteY835" fmla="*/ 26737 h 1087290"/>
              <a:gd name="connsiteX836" fmla="*/ 1362874 w 1897116"/>
              <a:gd name="connsiteY836" fmla="*/ 32431 h 1087290"/>
              <a:gd name="connsiteX837" fmla="*/ 1356709 w 1897116"/>
              <a:gd name="connsiteY837" fmla="*/ 37838 h 1087290"/>
              <a:gd name="connsiteX838" fmla="*/ 1356533 w 1897116"/>
              <a:gd name="connsiteY838" fmla="*/ 38574 h 1087290"/>
              <a:gd name="connsiteX839" fmla="*/ 1358118 w 1897116"/>
              <a:gd name="connsiteY839" fmla="*/ 39950 h 1087290"/>
              <a:gd name="connsiteX840" fmla="*/ 1367718 w 1897116"/>
              <a:gd name="connsiteY840" fmla="*/ 39214 h 1087290"/>
              <a:gd name="connsiteX841" fmla="*/ 1376965 w 1897116"/>
              <a:gd name="connsiteY841" fmla="*/ 38670 h 1087290"/>
              <a:gd name="connsiteX842" fmla="*/ 1381809 w 1897116"/>
              <a:gd name="connsiteY842" fmla="*/ 39054 h 1087290"/>
              <a:gd name="connsiteX843" fmla="*/ 1389031 w 1897116"/>
              <a:gd name="connsiteY843" fmla="*/ 38062 h 1087290"/>
              <a:gd name="connsiteX844" fmla="*/ 1396165 w 1897116"/>
              <a:gd name="connsiteY844" fmla="*/ 35343 h 1087290"/>
              <a:gd name="connsiteX845" fmla="*/ 1400569 w 1897116"/>
              <a:gd name="connsiteY845" fmla="*/ 35823 h 1087290"/>
              <a:gd name="connsiteX846" fmla="*/ 1401890 w 1897116"/>
              <a:gd name="connsiteY846" fmla="*/ 34127 h 1087290"/>
              <a:gd name="connsiteX847" fmla="*/ 1409904 w 1897116"/>
              <a:gd name="connsiteY847" fmla="*/ 30832 h 1087290"/>
              <a:gd name="connsiteX848" fmla="*/ 1416245 w 1897116"/>
              <a:gd name="connsiteY848" fmla="*/ 29104 h 1087290"/>
              <a:gd name="connsiteX849" fmla="*/ 1422146 w 1897116"/>
              <a:gd name="connsiteY849" fmla="*/ 26705 h 1087290"/>
              <a:gd name="connsiteX850" fmla="*/ 1428399 w 1897116"/>
              <a:gd name="connsiteY850" fmla="*/ 26961 h 1087290"/>
              <a:gd name="connsiteX851" fmla="*/ 1434564 w 1897116"/>
              <a:gd name="connsiteY851" fmla="*/ 24210 h 1087290"/>
              <a:gd name="connsiteX852" fmla="*/ 1441874 w 1897116"/>
              <a:gd name="connsiteY852" fmla="*/ 21394 h 1087290"/>
              <a:gd name="connsiteX853" fmla="*/ 1447070 w 1897116"/>
              <a:gd name="connsiteY853" fmla="*/ 21842 h 1087290"/>
              <a:gd name="connsiteX854" fmla="*/ 1452971 w 1897116"/>
              <a:gd name="connsiteY854" fmla="*/ 20722 h 1087290"/>
              <a:gd name="connsiteX855" fmla="*/ 1459312 w 1897116"/>
              <a:gd name="connsiteY855" fmla="*/ 18035 h 1087290"/>
              <a:gd name="connsiteX856" fmla="*/ 1465830 w 1897116"/>
              <a:gd name="connsiteY856" fmla="*/ 15412 h 1087290"/>
              <a:gd name="connsiteX857" fmla="*/ 1469529 w 1897116"/>
              <a:gd name="connsiteY857" fmla="*/ 14900 h 1087290"/>
              <a:gd name="connsiteX858" fmla="*/ 1478512 w 1897116"/>
              <a:gd name="connsiteY858" fmla="*/ 13204 h 1087290"/>
              <a:gd name="connsiteX859" fmla="*/ 1486350 w 1897116"/>
              <a:gd name="connsiteY859" fmla="*/ 14644 h 1087290"/>
              <a:gd name="connsiteX860" fmla="*/ 1488464 w 1897116"/>
              <a:gd name="connsiteY860" fmla="*/ 16436 h 1087290"/>
              <a:gd name="connsiteX861" fmla="*/ 1493396 w 1897116"/>
              <a:gd name="connsiteY861" fmla="*/ 22866 h 1087290"/>
              <a:gd name="connsiteX862" fmla="*/ 1497976 w 1897116"/>
              <a:gd name="connsiteY862" fmla="*/ 26289 h 1087290"/>
              <a:gd name="connsiteX863" fmla="*/ 1503612 w 1897116"/>
              <a:gd name="connsiteY863" fmla="*/ 28784 h 1087290"/>
              <a:gd name="connsiteX864" fmla="*/ 1513476 w 1897116"/>
              <a:gd name="connsiteY864" fmla="*/ 29072 h 1087290"/>
              <a:gd name="connsiteX865" fmla="*/ 1520874 w 1897116"/>
              <a:gd name="connsiteY865" fmla="*/ 26065 h 1087290"/>
              <a:gd name="connsiteX866" fmla="*/ 1523957 w 1897116"/>
              <a:gd name="connsiteY866" fmla="*/ 24465 h 1087290"/>
              <a:gd name="connsiteX867" fmla="*/ 1525806 w 1897116"/>
              <a:gd name="connsiteY867" fmla="*/ 26193 h 1087290"/>
              <a:gd name="connsiteX868" fmla="*/ 1530650 w 1897116"/>
              <a:gd name="connsiteY868" fmla="*/ 29776 h 1087290"/>
              <a:gd name="connsiteX869" fmla="*/ 1532324 w 1897116"/>
              <a:gd name="connsiteY869" fmla="*/ 31376 h 1087290"/>
              <a:gd name="connsiteX870" fmla="*/ 1535759 w 1897116"/>
              <a:gd name="connsiteY870" fmla="*/ 29296 h 1087290"/>
              <a:gd name="connsiteX871" fmla="*/ 1539634 w 1897116"/>
              <a:gd name="connsiteY871" fmla="*/ 26577 h 1087290"/>
              <a:gd name="connsiteX872" fmla="*/ 1545887 w 1897116"/>
              <a:gd name="connsiteY872" fmla="*/ 23122 h 1087290"/>
              <a:gd name="connsiteX873" fmla="*/ 1548089 w 1897116"/>
              <a:gd name="connsiteY873" fmla="*/ 18931 h 1087290"/>
              <a:gd name="connsiteX874" fmla="*/ 1554430 w 1897116"/>
              <a:gd name="connsiteY874" fmla="*/ 16500 h 1087290"/>
              <a:gd name="connsiteX875" fmla="*/ 1559890 w 1897116"/>
              <a:gd name="connsiteY875" fmla="*/ 18835 h 1087290"/>
              <a:gd name="connsiteX876" fmla="*/ 1564558 w 1897116"/>
              <a:gd name="connsiteY876" fmla="*/ 23538 h 1087290"/>
              <a:gd name="connsiteX877" fmla="*/ 1569578 w 1897116"/>
              <a:gd name="connsiteY877" fmla="*/ 29264 h 1087290"/>
              <a:gd name="connsiteX878" fmla="*/ 1574510 w 1897116"/>
              <a:gd name="connsiteY878" fmla="*/ 34991 h 1087290"/>
              <a:gd name="connsiteX879" fmla="*/ 1577328 w 1897116"/>
              <a:gd name="connsiteY879" fmla="*/ 27985 h 1087290"/>
              <a:gd name="connsiteX880" fmla="*/ 1580235 w 1897116"/>
              <a:gd name="connsiteY880" fmla="*/ 20914 h 1087290"/>
              <a:gd name="connsiteX881" fmla="*/ 1582172 w 1897116"/>
              <a:gd name="connsiteY881" fmla="*/ 18515 h 1087290"/>
              <a:gd name="connsiteX882" fmla="*/ 1584991 w 1897116"/>
              <a:gd name="connsiteY882" fmla="*/ 20531 h 1087290"/>
              <a:gd name="connsiteX883" fmla="*/ 1589834 w 1897116"/>
              <a:gd name="connsiteY883" fmla="*/ 24593 h 1087290"/>
              <a:gd name="connsiteX884" fmla="*/ 1590803 w 1897116"/>
              <a:gd name="connsiteY884" fmla="*/ 29104 h 1087290"/>
              <a:gd name="connsiteX885" fmla="*/ 1598554 w 1897116"/>
              <a:gd name="connsiteY885" fmla="*/ 22226 h 1087290"/>
              <a:gd name="connsiteX886" fmla="*/ 1605511 w 1897116"/>
              <a:gd name="connsiteY886" fmla="*/ 15828 h 1087290"/>
              <a:gd name="connsiteX887" fmla="*/ 1602164 w 1897116"/>
              <a:gd name="connsiteY887" fmla="*/ 12277 h 1087290"/>
              <a:gd name="connsiteX888" fmla="*/ 1609563 w 1897116"/>
              <a:gd name="connsiteY888" fmla="*/ 11733 h 1087290"/>
              <a:gd name="connsiteX889" fmla="*/ 1613526 w 1897116"/>
              <a:gd name="connsiteY889" fmla="*/ 7670 h 1087290"/>
              <a:gd name="connsiteX890" fmla="*/ 1615023 w 1897116"/>
              <a:gd name="connsiteY890" fmla="*/ 3319 h 1087290"/>
              <a:gd name="connsiteX891" fmla="*/ 1621012 w 1897116"/>
              <a:gd name="connsiteY891" fmla="*/ 3287 h 1087290"/>
              <a:gd name="connsiteX892" fmla="*/ 1622333 w 1897116"/>
              <a:gd name="connsiteY892" fmla="*/ 6966 h 1087290"/>
              <a:gd name="connsiteX893" fmla="*/ 1624182 w 1897116"/>
              <a:gd name="connsiteY893" fmla="*/ 15860 h 1087290"/>
              <a:gd name="connsiteX894" fmla="*/ 1625415 w 1897116"/>
              <a:gd name="connsiteY894" fmla="*/ 25713 h 1087290"/>
              <a:gd name="connsiteX895" fmla="*/ 1630788 w 1897116"/>
              <a:gd name="connsiteY895" fmla="*/ 22386 h 1087290"/>
              <a:gd name="connsiteX896" fmla="*/ 1635191 w 1897116"/>
              <a:gd name="connsiteY896" fmla="*/ 23666 h 1087290"/>
              <a:gd name="connsiteX897" fmla="*/ 1640828 w 1897116"/>
              <a:gd name="connsiteY897" fmla="*/ 22482 h 1087290"/>
              <a:gd name="connsiteX898" fmla="*/ 1646817 w 1897116"/>
              <a:gd name="connsiteY898" fmla="*/ 20882 h 1087290"/>
              <a:gd name="connsiteX899" fmla="*/ 1652541 w 1897116"/>
              <a:gd name="connsiteY899" fmla="*/ 18483 h 1087290"/>
              <a:gd name="connsiteX900" fmla="*/ 1657562 w 1897116"/>
              <a:gd name="connsiteY900" fmla="*/ 16787 h 1087290"/>
              <a:gd name="connsiteX901" fmla="*/ 1664167 w 1897116"/>
              <a:gd name="connsiteY901" fmla="*/ 14452 h 1087290"/>
              <a:gd name="connsiteX902" fmla="*/ 1670772 w 1897116"/>
              <a:gd name="connsiteY902" fmla="*/ 12341 h 1087290"/>
              <a:gd name="connsiteX903" fmla="*/ 1677818 w 1897116"/>
              <a:gd name="connsiteY903" fmla="*/ 12277 h 1087290"/>
              <a:gd name="connsiteX904" fmla="*/ 1685304 w 1897116"/>
              <a:gd name="connsiteY904" fmla="*/ 9749 h 1087290"/>
              <a:gd name="connsiteX905" fmla="*/ 1688915 w 1897116"/>
              <a:gd name="connsiteY905" fmla="*/ 12405 h 1087290"/>
              <a:gd name="connsiteX906" fmla="*/ 1693671 w 1897116"/>
              <a:gd name="connsiteY906" fmla="*/ 8342 h 1087290"/>
              <a:gd name="connsiteX907" fmla="*/ 1703271 w 1897116"/>
              <a:gd name="connsiteY907" fmla="*/ 9173 h 1087290"/>
              <a:gd name="connsiteX908" fmla="*/ 1704416 w 1897116"/>
              <a:gd name="connsiteY908" fmla="*/ 7926 h 1087290"/>
              <a:gd name="connsiteX909" fmla="*/ 1708027 w 1897116"/>
              <a:gd name="connsiteY909" fmla="*/ 11669 h 1087290"/>
              <a:gd name="connsiteX910" fmla="*/ 1710581 w 1897116"/>
              <a:gd name="connsiteY910" fmla="*/ 16628 h 1087290"/>
              <a:gd name="connsiteX911" fmla="*/ 1711549 w 1897116"/>
              <a:gd name="connsiteY911" fmla="*/ 15892 h 1087290"/>
              <a:gd name="connsiteX912" fmla="*/ 1716834 w 1897116"/>
              <a:gd name="connsiteY912" fmla="*/ 19315 h 1087290"/>
              <a:gd name="connsiteX913" fmla="*/ 1722646 w 1897116"/>
              <a:gd name="connsiteY913" fmla="*/ 21362 h 1087290"/>
              <a:gd name="connsiteX914" fmla="*/ 1727578 w 1897116"/>
              <a:gd name="connsiteY914" fmla="*/ 23506 h 1087290"/>
              <a:gd name="connsiteX915" fmla="*/ 1729076 w 1897116"/>
              <a:gd name="connsiteY915" fmla="*/ 21970 h 1087290"/>
              <a:gd name="connsiteX916" fmla="*/ 1733743 w 1897116"/>
              <a:gd name="connsiteY916" fmla="*/ 23474 h 1087290"/>
              <a:gd name="connsiteX917" fmla="*/ 1740965 w 1897116"/>
              <a:gd name="connsiteY917" fmla="*/ 21970 h 1087290"/>
              <a:gd name="connsiteX918" fmla="*/ 1742639 w 1897116"/>
              <a:gd name="connsiteY918" fmla="*/ 21330 h 1087290"/>
              <a:gd name="connsiteX919" fmla="*/ 1749949 w 1897116"/>
              <a:gd name="connsiteY919" fmla="*/ 21874 h 1087290"/>
              <a:gd name="connsiteX920" fmla="*/ 1758492 w 1897116"/>
              <a:gd name="connsiteY920" fmla="*/ 23154 h 1087290"/>
              <a:gd name="connsiteX921" fmla="*/ 1760517 w 1897116"/>
              <a:gd name="connsiteY921" fmla="*/ 25297 h 1087290"/>
              <a:gd name="connsiteX922" fmla="*/ 1765802 w 1897116"/>
              <a:gd name="connsiteY922" fmla="*/ 30576 h 1087290"/>
              <a:gd name="connsiteX923" fmla="*/ 1772583 w 1897116"/>
              <a:gd name="connsiteY923" fmla="*/ 34959 h 1087290"/>
              <a:gd name="connsiteX924" fmla="*/ 1781214 w 1897116"/>
              <a:gd name="connsiteY924" fmla="*/ 36622 h 1087290"/>
              <a:gd name="connsiteX925" fmla="*/ 1786058 w 1897116"/>
              <a:gd name="connsiteY925" fmla="*/ 34287 h 1087290"/>
              <a:gd name="connsiteX926" fmla="*/ 1786058 w 1897116"/>
              <a:gd name="connsiteY926" fmla="*/ 34639 h 1087290"/>
              <a:gd name="connsiteX927" fmla="*/ 1790638 w 1897116"/>
              <a:gd name="connsiteY927" fmla="*/ 36366 h 1087290"/>
              <a:gd name="connsiteX928" fmla="*/ 1789405 w 1897116"/>
              <a:gd name="connsiteY928" fmla="*/ 39406 h 1087290"/>
              <a:gd name="connsiteX929" fmla="*/ 1789669 w 1897116"/>
              <a:gd name="connsiteY929" fmla="*/ 45132 h 1087290"/>
              <a:gd name="connsiteX930" fmla="*/ 1789669 w 1897116"/>
              <a:gd name="connsiteY930" fmla="*/ 49227 h 1087290"/>
              <a:gd name="connsiteX931" fmla="*/ 1788700 w 1897116"/>
              <a:gd name="connsiteY931" fmla="*/ 49803 h 1087290"/>
              <a:gd name="connsiteX932" fmla="*/ 1789757 w 1897116"/>
              <a:gd name="connsiteY932" fmla="*/ 49899 h 1087290"/>
              <a:gd name="connsiteX933" fmla="*/ 1789669 w 1897116"/>
              <a:gd name="connsiteY933" fmla="*/ 49227 h 1087290"/>
              <a:gd name="connsiteX934" fmla="*/ 1794425 w 1897116"/>
              <a:gd name="connsiteY934" fmla="*/ 49643 h 1087290"/>
              <a:gd name="connsiteX935" fmla="*/ 1800061 w 1897116"/>
              <a:gd name="connsiteY935" fmla="*/ 49515 h 1087290"/>
              <a:gd name="connsiteX936" fmla="*/ 1804641 w 1897116"/>
              <a:gd name="connsiteY936" fmla="*/ 48747 h 1087290"/>
              <a:gd name="connsiteX937" fmla="*/ 1811335 w 1897116"/>
              <a:gd name="connsiteY937" fmla="*/ 46924 h 1087290"/>
              <a:gd name="connsiteX938" fmla="*/ 1811863 w 1897116"/>
              <a:gd name="connsiteY938" fmla="*/ 50859 h 1087290"/>
              <a:gd name="connsiteX939" fmla="*/ 1816707 w 1897116"/>
              <a:gd name="connsiteY939" fmla="*/ 45228 h 1087290"/>
              <a:gd name="connsiteX940" fmla="*/ 1821991 w 1897116"/>
              <a:gd name="connsiteY940" fmla="*/ 41581 h 1087290"/>
              <a:gd name="connsiteX941" fmla="*/ 1828332 w 1897116"/>
              <a:gd name="connsiteY941" fmla="*/ 41773 h 1087290"/>
              <a:gd name="connsiteX942" fmla="*/ 1830710 w 1897116"/>
              <a:gd name="connsiteY942" fmla="*/ 37902 h 1087290"/>
              <a:gd name="connsiteX943" fmla="*/ 1834585 w 1897116"/>
              <a:gd name="connsiteY943" fmla="*/ 35471 h 1087290"/>
              <a:gd name="connsiteX944" fmla="*/ 1835202 w 1897116"/>
              <a:gd name="connsiteY944" fmla="*/ 36015 h 1087290"/>
              <a:gd name="connsiteX945" fmla="*/ 1840398 w 1897116"/>
              <a:gd name="connsiteY945" fmla="*/ 40173 h 1087290"/>
              <a:gd name="connsiteX946" fmla="*/ 1843481 w 1897116"/>
              <a:gd name="connsiteY946" fmla="*/ 46284 h 1087290"/>
              <a:gd name="connsiteX947" fmla="*/ 1846827 w 1897116"/>
              <a:gd name="connsiteY947" fmla="*/ 50699 h 1087290"/>
              <a:gd name="connsiteX948" fmla="*/ 1850967 w 1897116"/>
              <a:gd name="connsiteY948" fmla="*/ 46092 h 1087290"/>
              <a:gd name="connsiteX949" fmla="*/ 1855018 w 1897116"/>
              <a:gd name="connsiteY949" fmla="*/ 41549 h 1087290"/>
              <a:gd name="connsiteX950" fmla="*/ 1857660 w 1897116"/>
              <a:gd name="connsiteY950" fmla="*/ 40013 h 1087290"/>
              <a:gd name="connsiteX951" fmla="*/ 1858277 w 1897116"/>
              <a:gd name="connsiteY951" fmla="*/ 47756 h 1087290"/>
              <a:gd name="connsiteX952" fmla="*/ 1857660 w 1897116"/>
              <a:gd name="connsiteY952" fmla="*/ 57001 h 1087290"/>
              <a:gd name="connsiteX953" fmla="*/ 1857924 w 1897116"/>
              <a:gd name="connsiteY953" fmla="*/ 57225 h 1087290"/>
              <a:gd name="connsiteX954" fmla="*/ 1859157 w 1897116"/>
              <a:gd name="connsiteY954" fmla="*/ 56041 h 1087290"/>
              <a:gd name="connsiteX955" fmla="*/ 1862944 w 1897116"/>
              <a:gd name="connsiteY955" fmla="*/ 56457 h 1087290"/>
              <a:gd name="connsiteX956" fmla="*/ 1865763 w 1897116"/>
              <a:gd name="connsiteY956" fmla="*/ 50539 h 1087290"/>
              <a:gd name="connsiteX957" fmla="*/ 1873865 w 1897116"/>
              <a:gd name="connsiteY957" fmla="*/ 44076 h 1087290"/>
              <a:gd name="connsiteX958" fmla="*/ 1879502 w 1897116"/>
              <a:gd name="connsiteY958" fmla="*/ 41357 h 1087290"/>
              <a:gd name="connsiteX959" fmla="*/ 1883377 w 1897116"/>
              <a:gd name="connsiteY959" fmla="*/ 35919 h 1087290"/>
              <a:gd name="connsiteX960" fmla="*/ 1881792 w 1897116"/>
              <a:gd name="connsiteY960" fmla="*/ 34639 h 1087290"/>
              <a:gd name="connsiteX961" fmla="*/ 1888485 w 1897116"/>
              <a:gd name="connsiteY961" fmla="*/ 31408 h 1087290"/>
              <a:gd name="connsiteX962" fmla="*/ 1892008 w 1897116"/>
              <a:gd name="connsiteY962" fmla="*/ 29648 h 1087290"/>
              <a:gd name="connsiteX963" fmla="*/ 1893593 w 1897116"/>
              <a:gd name="connsiteY963" fmla="*/ 37262 h 1087290"/>
              <a:gd name="connsiteX964" fmla="*/ 1892360 w 1897116"/>
              <a:gd name="connsiteY964" fmla="*/ 44268 h 1087290"/>
              <a:gd name="connsiteX965" fmla="*/ 1897116 w 1897116"/>
              <a:gd name="connsiteY965" fmla="*/ 48459 h 1087290"/>
              <a:gd name="connsiteX966" fmla="*/ 1886628 w 1897116"/>
              <a:gd name="connsiteY966" fmla="*/ 968560 h 1087290"/>
              <a:gd name="connsiteX967" fmla="*/ 1886628 w 1897116"/>
              <a:gd name="connsiteY967" fmla="*/ 980213 h 1087290"/>
              <a:gd name="connsiteX968" fmla="*/ 1886628 w 1897116"/>
              <a:gd name="connsiteY968" fmla="*/ 988837 h 1087290"/>
              <a:gd name="connsiteX969" fmla="*/ 1886628 w 1897116"/>
              <a:gd name="connsiteY969" fmla="*/ 994240 h 1087290"/>
              <a:gd name="connsiteX970" fmla="*/ 1886628 w 1897116"/>
              <a:gd name="connsiteY970" fmla="*/ 996096 h 1087290"/>
              <a:gd name="connsiteX971" fmla="*/ 1882510 w 1897116"/>
              <a:gd name="connsiteY971" fmla="*/ 998770 h 1087290"/>
              <a:gd name="connsiteX972" fmla="*/ 1877778 w 1897116"/>
              <a:gd name="connsiteY972" fmla="*/ 1002427 h 1087290"/>
              <a:gd name="connsiteX973" fmla="*/ 1874360 w 1897116"/>
              <a:gd name="connsiteY973" fmla="*/ 1006329 h 1087290"/>
              <a:gd name="connsiteX974" fmla="*/ 1869716 w 1897116"/>
              <a:gd name="connsiteY974" fmla="*/ 1009222 h 1087290"/>
              <a:gd name="connsiteX975" fmla="*/ 1869102 w 1897116"/>
              <a:gd name="connsiteY975" fmla="*/ 1006684 h 1087290"/>
              <a:gd name="connsiteX976" fmla="*/ 1867262 w 1897116"/>
              <a:gd name="connsiteY976" fmla="*/ 996696 h 1087290"/>
              <a:gd name="connsiteX977" fmla="*/ 1864984 w 1897116"/>
              <a:gd name="connsiteY977" fmla="*/ 989273 h 1087290"/>
              <a:gd name="connsiteX978" fmla="*/ 1864984 w 1897116"/>
              <a:gd name="connsiteY978" fmla="*/ 984170 h 1087290"/>
              <a:gd name="connsiteX979" fmla="*/ 1863669 w 1897116"/>
              <a:gd name="connsiteY979" fmla="*/ 989273 h 1087290"/>
              <a:gd name="connsiteX980" fmla="*/ 1862355 w 1897116"/>
              <a:gd name="connsiteY980" fmla="*/ 994649 h 1087290"/>
              <a:gd name="connsiteX981" fmla="*/ 1860690 w 1897116"/>
              <a:gd name="connsiteY981" fmla="*/ 1001090 h 1087290"/>
              <a:gd name="connsiteX982" fmla="*/ 1858324 w 1897116"/>
              <a:gd name="connsiteY982" fmla="*/ 1008731 h 1087290"/>
              <a:gd name="connsiteX983" fmla="*/ 1857360 w 1897116"/>
              <a:gd name="connsiteY983" fmla="*/ 1014161 h 1087290"/>
              <a:gd name="connsiteX984" fmla="*/ 1855607 w 1897116"/>
              <a:gd name="connsiteY984" fmla="*/ 1021284 h 1087290"/>
              <a:gd name="connsiteX985" fmla="*/ 1854819 w 1897116"/>
              <a:gd name="connsiteY985" fmla="*/ 1024695 h 1087290"/>
              <a:gd name="connsiteX986" fmla="*/ 1854994 w 1897116"/>
              <a:gd name="connsiteY986" fmla="*/ 1030562 h 1087290"/>
              <a:gd name="connsiteX987" fmla="*/ 1853504 w 1897116"/>
              <a:gd name="connsiteY987" fmla="*/ 1034083 h 1087290"/>
              <a:gd name="connsiteX988" fmla="*/ 1847831 w 1897116"/>
              <a:gd name="connsiteY988" fmla="*/ 1034044 h 1087290"/>
              <a:gd name="connsiteX989" fmla="*/ 1846998 w 1897116"/>
              <a:gd name="connsiteY989" fmla="*/ 1033257 h 1087290"/>
              <a:gd name="connsiteX990" fmla="*/ 1846947 w 1897116"/>
              <a:gd name="connsiteY990" fmla="*/ 1033944 h 1087290"/>
              <a:gd name="connsiteX991" fmla="*/ 1841061 w 1897116"/>
              <a:gd name="connsiteY991" fmla="*/ 1031708 h 1087290"/>
              <a:gd name="connsiteX992" fmla="*/ 1834313 w 1897116"/>
              <a:gd name="connsiteY992" fmla="*/ 1027506 h 1087290"/>
              <a:gd name="connsiteX993" fmla="*/ 1829406 w 1897116"/>
              <a:gd name="connsiteY993" fmla="*/ 1032418 h 1087290"/>
              <a:gd name="connsiteX994" fmla="*/ 1824587 w 1897116"/>
              <a:gd name="connsiteY994" fmla="*/ 1037303 h 1087290"/>
              <a:gd name="connsiteX995" fmla="*/ 1820205 w 1897116"/>
              <a:gd name="connsiteY995" fmla="*/ 1041560 h 1087290"/>
              <a:gd name="connsiteX996" fmla="*/ 1816087 w 1897116"/>
              <a:gd name="connsiteY996" fmla="*/ 1045872 h 1087290"/>
              <a:gd name="connsiteX997" fmla="*/ 1810391 w 1897116"/>
              <a:gd name="connsiteY997" fmla="*/ 1048874 h 1087290"/>
              <a:gd name="connsiteX998" fmla="*/ 1804782 w 1897116"/>
              <a:gd name="connsiteY998" fmla="*/ 1050347 h 1087290"/>
              <a:gd name="connsiteX999" fmla="*/ 1804552 w 1897116"/>
              <a:gd name="connsiteY999" fmla="*/ 1048972 h 1087290"/>
              <a:gd name="connsiteX1000" fmla="*/ 1801462 w 1897116"/>
              <a:gd name="connsiteY1000" fmla="*/ 1048324 h 1087290"/>
              <a:gd name="connsiteX1001" fmla="*/ 1802230 w 1897116"/>
              <a:gd name="connsiteY1001" fmla="*/ 1047946 h 1087290"/>
              <a:gd name="connsiteX1002" fmla="*/ 1800050 w 1897116"/>
              <a:gd name="connsiteY1002" fmla="*/ 1048028 h 1087290"/>
              <a:gd name="connsiteX1003" fmla="*/ 1801462 w 1897116"/>
              <a:gd name="connsiteY1003" fmla="*/ 1048324 h 1087290"/>
              <a:gd name="connsiteX1004" fmla="*/ 1795406 w 1897116"/>
              <a:gd name="connsiteY1004" fmla="*/ 1051302 h 1087290"/>
              <a:gd name="connsiteX1005" fmla="*/ 1791550 w 1897116"/>
              <a:gd name="connsiteY1005" fmla="*/ 1047673 h 1087290"/>
              <a:gd name="connsiteX1006" fmla="*/ 1792251 w 1897116"/>
              <a:gd name="connsiteY1006" fmla="*/ 1043361 h 1087290"/>
              <a:gd name="connsiteX1007" fmla="*/ 1787958 w 1897116"/>
              <a:gd name="connsiteY1007" fmla="*/ 1041014 h 1087290"/>
              <a:gd name="connsiteX1008" fmla="*/ 1781561 w 1897116"/>
              <a:gd name="connsiteY1008" fmla="*/ 1044343 h 1087290"/>
              <a:gd name="connsiteX1009" fmla="*/ 1779983 w 1897116"/>
              <a:gd name="connsiteY1009" fmla="*/ 1043579 h 1087290"/>
              <a:gd name="connsiteX1010" fmla="*/ 1773148 w 1897116"/>
              <a:gd name="connsiteY1010" fmla="*/ 1046472 h 1087290"/>
              <a:gd name="connsiteX1011" fmla="*/ 1771020 w 1897116"/>
              <a:gd name="connsiteY1011" fmla="*/ 1049962 h 1087290"/>
              <a:gd name="connsiteX1012" fmla="*/ 1768300 w 1897116"/>
              <a:gd name="connsiteY1012" fmla="*/ 1049999 h 1087290"/>
              <a:gd name="connsiteX1013" fmla="*/ 1767189 w 1897116"/>
              <a:gd name="connsiteY1013" fmla="*/ 1049829 h 1087290"/>
              <a:gd name="connsiteX1014" fmla="*/ 1767327 w 1897116"/>
              <a:gd name="connsiteY1014" fmla="*/ 1050013 h 1087290"/>
              <a:gd name="connsiteX1015" fmla="*/ 1766839 w 1897116"/>
              <a:gd name="connsiteY1015" fmla="*/ 1050020 h 1087290"/>
              <a:gd name="connsiteX1016" fmla="*/ 1762096 w 1897116"/>
              <a:gd name="connsiteY1016" fmla="*/ 1045145 h 1087290"/>
              <a:gd name="connsiteX1017" fmla="*/ 1768218 w 1897116"/>
              <a:gd name="connsiteY1017" fmla="*/ 1044030 h 1087290"/>
              <a:gd name="connsiteX1018" fmla="*/ 1768591 w 1897116"/>
              <a:gd name="connsiteY1018" fmla="*/ 1044289 h 1087290"/>
              <a:gd name="connsiteX1019" fmla="*/ 1769643 w 1897116"/>
              <a:gd name="connsiteY1019" fmla="*/ 1043770 h 1087290"/>
              <a:gd name="connsiteX1020" fmla="*/ 1768218 w 1897116"/>
              <a:gd name="connsiteY1020" fmla="*/ 1044030 h 1087290"/>
              <a:gd name="connsiteX1021" fmla="*/ 1767573 w 1897116"/>
              <a:gd name="connsiteY1021" fmla="*/ 1043583 h 1087290"/>
              <a:gd name="connsiteX1022" fmla="*/ 1761231 w 1897116"/>
              <a:gd name="connsiteY1022" fmla="*/ 1040850 h 1087290"/>
              <a:gd name="connsiteX1023" fmla="*/ 1752730 w 1897116"/>
              <a:gd name="connsiteY1023" fmla="*/ 1037930 h 1087290"/>
              <a:gd name="connsiteX1024" fmla="*/ 1750737 w 1897116"/>
              <a:gd name="connsiteY1024" fmla="*/ 1040216 h 1087290"/>
              <a:gd name="connsiteX1025" fmla="*/ 1749661 w 1897116"/>
              <a:gd name="connsiteY1025" fmla="*/ 1041465 h 1087290"/>
              <a:gd name="connsiteX1026" fmla="*/ 1749156 w 1897116"/>
              <a:gd name="connsiteY1026" fmla="*/ 1040798 h 1087290"/>
              <a:gd name="connsiteX1027" fmla="*/ 1748612 w 1897116"/>
              <a:gd name="connsiteY1027" fmla="*/ 1042706 h 1087290"/>
              <a:gd name="connsiteX1028" fmla="*/ 1750726 w 1897116"/>
              <a:gd name="connsiteY1028" fmla="*/ 1043089 h 1087290"/>
              <a:gd name="connsiteX1029" fmla="*/ 1749488 w 1897116"/>
              <a:gd name="connsiteY1029" fmla="*/ 1045599 h 1087290"/>
              <a:gd name="connsiteX1030" fmla="*/ 1742215 w 1897116"/>
              <a:gd name="connsiteY1030" fmla="*/ 1041778 h 1087290"/>
              <a:gd name="connsiteX1031" fmla="*/ 1736870 w 1897116"/>
              <a:gd name="connsiteY1031" fmla="*/ 1042051 h 1087290"/>
              <a:gd name="connsiteX1032" fmla="*/ 1730406 w 1897116"/>
              <a:gd name="connsiteY1032" fmla="*/ 1043213 h 1087290"/>
              <a:gd name="connsiteX1033" fmla="*/ 1728950 w 1897116"/>
              <a:gd name="connsiteY1033" fmla="*/ 1043524 h 1087290"/>
              <a:gd name="connsiteX1034" fmla="*/ 1728402 w 1897116"/>
              <a:gd name="connsiteY1034" fmla="*/ 1042198 h 1087290"/>
              <a:gd name="connsiteX1035" fmla="*/ 1723988 w 1897116"/>
              <a:gd name="connsiteY1035" fmla="*/ 1044589 h 1087290"/>
              <a:gd name="connsiteX1036" fmla="*/ 1723287 w 1897116"/>
              <a:gd name="connsiteY1036" fmla="*/ 1048955 h 1087290"/>
              <a:gd name="connsiteX1037" fmla="*/ 1719168 w 1897116"/>
              <a:gd name="connsiteY1037" fmla="*/ 1055177 h 1087290"/>
              <a:gd name="connsiteX1038" fmla="*/ 1713648 w 1897116"/>
              <a:gd name="connsiteY1038" fmla="*/ 1054304 h 1087290"/>
              <a:gd name="connsiteX1039" fmla="*/ 1713998 w 1897116"/>
              <a:gd name="connsiteY1039" fmla="*/ 1056051 h 1087290"/>
              <a:gd name="connsiteX1040" fmla="*/ 1708302 w 1897116"/>
              <a:gd name="connsiteY1040" fmla="*/ 1054413 h 1087290"/>
              <a:gd name="connsiteX1041" fmla="*/ 1702606 w 1897116"/>
              <a:gd name="connsiteY1041" fmla="*/ 1058398 h 1087290"/>
              <a:gd name="connsiteX1042" fmla="*/ 1699978 w 1897116"/>
              <a:gd name="connsiteY1042" fmla="*/ 1056979 h 1087290"/>
              <a:gd name="connsiteX1043" fmla="*/ 1696560 w 1897116"/>
              <a:gd name="connsiteY1043" fmla="*/ 1056105 h 1087290"/>
              <a:gd name="connsiteX1044" fmla="*/ 1693493 w 1897116"/>
              <a:gd name="connsiteY1044" fmla="*/ 1062245 h 1087290"/>
              <a:gd name="connsiteX1045" fmla="*/ 1692441 w 1897116"/>
              <a:gd name="connsiteY1045" fmla="*/ 1063528 h 1087290"/>
              <a:gd name="connsiteX1046" fmla="*/ 1684905 w 1897116"/>
              <a:gd name="connsiteY1046" fmla="*/ 1064674 h 1087290"/>
              <a:gd name="connsiteX1047" fmla="*/ 1683941 w 1897116"/>
              <a:gd name="connsiteY1047" fmla="*/ 1062737 h 1087290"/>
              <a:gd name="connsiteX1048" fmla="*/ 1681488 w 1897116"/>
              <a:gd name="connsiteY1048" fmla="*/ 1059489 h 1087290"/>
              <a:gd name="connsiteX1049" fmla="*/ 1675178 w 1897116"/>
              <a:gd name="connsiteY1049" fmla="*/ 1061727 h 1087290"/>
              <a:gd name="connsiteX1050" fmla="*/ 1669132 w 1897116"/>
              <a:gd name="connsiteY1050" fmla="*/ 1062000 h 1087290"/>
              <a:gd name="connsiteX1051" fmla="*/ 1664049 w 1897116"/>
              <a:gd name="connsiteY1051" fmla="*/ 1060499 h 1087290"/>
              <a:gd name="connsiteX1052" fmla="*/ 1662560 w 1897116"/>
              <a:gd name="connsiteY1052" fmla="*/ 1065493 h 1087290"/>
              <a:gd name="connsiteX1053" fmla="*/ 1652745 w 1897116"/>
              <a:gd name="connsiteY1053" fmla="*/ 1059571 h 1087290"/>
              <a:gd name="connsiteX1054" fmla="*/ 1647400 w 1897116"/>
              <a:gd name="connsiteY1054" fmla="*/ 1050484 h 1087290"/>
              <a:gd name="connsiteX1055" fmla="*/ 1646085 w 1897116"/>
              <a:gd name="connsiteY1055" fmla="*/ 1056214 h 1087290"/>
              <a:gd name="connsiteX1056" fmla="*/ 1640214 w 1897116"/>
              <a:gd name="connsiteY1056" fmla="*/ 1054386 h 1087290"/>
              <a:gd name="connsiteX1057" fmla="*/ 1630225 w 1897116"/>
              <a:gd name="connsiteY1057" fmla="*/ 1054086 h 1087290"/>
              <a:gd name="connsiteX1058" fmla="*/ 1624003 w 1897116"/>
              <a:gd name="connsiteY1058" fmla="*/ 1053294 h 1087290"/>
              <a:gd name="connsiteX1059" fmla="*/ 1622250 w 1897116"/>
              <a:gd name="connsiteY1059" fmla="*/ 1056023 h 1087290"/>
              <a:gd name="connsiteX1060" fmla="*/ 1613663 w 1897116"/>
              <a:gd name="connsiteY1060" fmla="*/ 1057333 h 1087290"/>
              <a:gd name="connsiteX1061" fmla="*/ 1609106 w 1897116"/>
              <a:gd name="connsiteY1061" fmla="*/ 1058479 h 1087290"/>
              <a:gd name="connsiteX1062" fmla="*/ 1610683 w 1897116"/>
              <a:gd name="connsiteY1062" fmla="*/ 1054795 h 1087290"/>
              <a:gd name="connsiteX1063" fmla="*/ 1605163 w 1897116"/>
              <a:gd name="connsiteY1063" fmla="*/ 1050102 h 1087290"/>
              <a:gd name="connsiteX1064" fmla="*/ 1600606 w 1897116"/>
              <a:gd name="connsiteY1064" fmla="*/ 1049965 h 1087290"/>
              <a:gd name="connsiteX1065" fmla="*/ 1596224 w 1897116"/>
              <a:gd name="connsiteY1065" fmla="*/ 1046963 h 1087290"/>
              <a:gd name="connsiteX1066" fmla="*/ 1593596 w 1897116"/>
              <a:gd name="connsiteY1066" fmla="*/ 1047994 h 1087290"/>
              <a:gd name="connsiteX1067" fmla="*/ 1589459 w 1897116"/>
              <a:gd name="connsiteY1067" fmla="*/ 1045424 h 1087290"/>
              <a:gd name="connsiteX1068" fmla="*/ 1590781 w 1897116"/>
              <a:gd name="connsiteY1068" fmla="*/ 1042061 h 1087290"/>
              <a:gd name="connsiteX1069" fmla="*/ 1589126 w 1897116"/>
              <a:gd name="connsiteY1069" fmla="*/ 1045217 h 1087290"/>
              <a:gd name="connsiteX1070" fmla="*/ 1589459 w 1897116"/>
              <a:gd name="connsiteY1070" fmla="*/ 1045424 h 1087290"/>
              <a:gd name="connsiteX1071" fmla="*/ 1588425 w 1897116"/>
              <a:gd name="connsiteY1071" fmla="*/ 1048055 h 1087290"/>
              <a:gd name="connsiteX1072" fmla="*/ 1583956 w 1897116"/>
              <a:gd name="connsiteY1072" fmla="*/ 1046581 h 1087290"/>
              <a:gd name="connsiteX1073" fmla="*/ 1582817 w 1897116"/>
              <a:gd name="connsiteY1073" fmla="*/ 1050948 h 1087290"/>
              <a:gd name="connsiteX1074" fmla="*/ 1584764 w 1897116"/>
              <a:gd name="connsiteY1074" fmla="*/ 1052756 h 1087290"/>
              <a:gd name="connsiteX1075" fmla="*/ 1580977 w 1897116"/>
              <a:gd name="connsiteY1075" fmla="*/ 1052012 h 1087290"/>
              <a:gd name="connsiteX1076" fmla="*/ 1578305 w 1897116"/>
              <a:gd name="connsiteY1076" fmla="*/ 1051874 h 1087290"/>
              <a:gd name="connsiteX1077" fmla="*/ 1574492 w 1897116"/>
              <a:gd name="connsiteY1077" fmla="*/ 1050347 h 1087290"/>
              <a:gd name="connsiteX1078" fmla="*/ 1567482 w 1897116"/>
              <a:gd name="connsiteY1078" fmla="*/ 1046145 h 1087290"/>
              <a:gd name="connsiteX1079" fmla="*/ 1563100 w 1897116"/>
              <a:gd name="connsiteY1079" fmla="*/ 1047591 h 1087290"/>
              <a:gd name="connsiteX1080" fmla="*/ 1552410 w 1897116"/>
              <a:gd name="connsiteY1080" fmla="*/ 1048137 h 1087290"/>
              <a:gd name="connsiteX1081" fmla="*/ 1542245 w 1897116"/>
              <a:gd name="connsiteY1081" fmla="*/ 1055041 h 1087290"/>
              <a:gd name="connsiteX1082" fmla="*/ 1537074 w 1897116"/>
              <a:gd name="connsiteY1082" fmla="*/ 1063610 h 1087290"/>
              <a:gd name="connsiteX1083" fmla="*/ 1535753 w 1897116"/>
              <a:gd name="connsiteY1083" fmla="*/ 1064310 h 1087290"/>
              <a:gd name="connsiteX1084" fmla="*/ 1534555 w 1897116"/>
              <a:gd name="connsiteY1084" fmla="*/ 1061710 h 1087290"/>
              <a:gd name="connsiteX1085" fmla="*/ 1535409 w 1897116"/>
              <a:gd name="connsiteY1085" fmla="*/ 1062627 h 1087290"/>
              <a:gd name="connsiteX1086" fmla="*/ 1533482 w 1897116"/>
              <a:gd name="connsiteY1086" fmla="*/ 1055942 h 1087290"/>
              <a:gd name="connsiteX1087" fmla="*/ 1532167 w 1897116"/>
              <a:gd name="connsiteY1087" fmla="*/ 1049501 h 1087290"/>
              <a:gd name="connsiteX1088" fmla="*/ 1532496 w 1897116"/>
              <a:gd name="connsiteY1088" fmla="*/ 1046731 h 1087290"/>
              <a:gd name="connsiteX1089" fmla="*/ 1532058 w 1897116"/>
              <a:gd name="connsiteY1089" fmla="*/ 1045420 h 1087290"/>
              <a:gd name="connsiteX1090" fmla="*/ 1532342 w 1897116"/>
              <a:gd name="connsiteY1090" fmla="*/ 1044848 h 1087290"/>
              <a:gd name="connsiteX1091" fmla="*/ 1530972 w 1897116"/>
              <a:gd name="connsiteY1091" fmla="*/ 1038571 h 1087290"/>
              <a:gd name="connsiteX1092" fmla="*/ 1531543 w 1897116"/>
              <a:gd name="connsiteY1092" fmla="*/ 1038404 h 1087290"/>
              <a:gd name="connsiteX1093" fmla="*/ 1530677 w 1897116"/>
              <a:gd name="connsiteY1093" fmla="*/ 1037221 h 1087290"/>
              <a:gd name="connsiteX1094" fmla="*/ 1530972 w 1897116"/>
              <a:gd name="connsiteY1094" fmla="*/ 1038571 h 1087290"/>
              <a:gd name="connsiteX1095" fmla="*/ 1524456 w 1897116"/>
              <a:gd name="connsiteY1095" fmla="*/ 1040468 h 1087290"/>
              <a:gd name="connsiteX1096" fmla="*/ 1518322 w 1897116"/>
              <a:gd name="connsiteY1096" fmla="*/ 1043689 h 1087290"/>
              <a:gd name="connsiteX1097" fmla="*/ 1510085 w 1897116"/>
              <a:gd name="connsiteY1097" fmla="*/ 1046636 h 1087290"/>
              <a:gd name="connsiteX1098" fmla="*/ 1506054 w 1897116"/>
              <a:gd name="connsiteY1098" fmla="*/ 1048491 h 1087290"/>
              <a:gd name="connsiteX1099" fmla="*/ 1500621 w 1897116"/>
              <a:gd name="connsiteY1099" fmla="*/ 1051029 h 1087290"/>
              <a:gd name="connsiteX1100" fmla="*/ 1492822 w 1897116"/>
              <a:gd name="connsiteY1100" fmla="*/ 1048491 h 1087290"/>
              <a:gd name="connsiteX1101" fmla="*/ 1485285 w 1897116"/>
              <a:gd name="connsiteY1101" fmla="*/ 1046581 h 1087290"/>
              <a:gd name="connsiteX1102" fmla="*/ 1485461 w 1897116"/>
              <a:gd name="connsiteY1102" fmla="*/ 1045571 h 1087290"/>
              <a:gd name="connsiteX1103" fmla="*/ 1487389 w 1897116"/>
              <a:gd name="connsiteY1103" fmla="*/ 1043252 h 1087290"/>
              <a:gd name="connsiteX1104" fmla="*/ 1480816 w 1897116"/>
              <a:gd name="connsiteY1104" fmla="*/ 1040359 h 1087290"/>
              <a:gd name="connsiteX1105" fmla="*/ 1481079 w 1897116"/>
              <a:gd name="connsiteY1105" fmla="*/ 1038940 h 1087290"/>
              <a:gd name="connsiteX1106" fmla="*/ 1475646 w 1897116"/>
              <a:gd name="connsiteY1106" fmla="*/ 1034055 h 1087290"/>
              <a:gd name="connsiteX1107" fmla="*/ 1475208 w 1897116"/>
              <a:gd name="connsiteY1107" fmla="*/ 1036757 h 1087290"/>
              <a:gd name="connsiteX1108" fmla="*/ 1471878 w 1897116"/>
              <a:gd name="connsiteY1108" fmla="*/ 1030344 h 1087290"/>
              <a:gd name="connsiteX1109" fmla="*/ 1467059 w 1897116"/>
              <a:gd name="connsiteY1109" fmla="*/ 1027560 h 1087290"/>
              <a:gd name="connsiteX1110" fmla="*/ 1461187 w 1897116"/>
              <a:gd name="connsiteY1110" fmla="*/ 1028788 h 1087290"/>
              <a:gd name="connsiteX1111" fmla="*/ 1459873 w 1897116"/>
              <a:gd name="connsiteY1111" fmla="*/ 1024067 h 1087290"/>
              <a:gd name="connsiteX1112" fmla="*/ 1454002 w 1897116"/>
              <a:gd name="connsiteY1112" fmla="*/ 1024122 h 1087290"/>
              <a:gd name="connsiteX1113" fmla="*/ 1447342 w 1897116"/>
              <a:gd name="connsiteY1113" fmla="*/ 1025541 h 1087290"/>
              <a:gd name="connsiteX1114" fmla="*/ 1441295 w 1897116"/>
              <a:gd name="connsiteY1114" fmla="*/ 1026332 h 1087290"/>
              <a:gd name="connsiteX1115" fmla="*/ 1433935 w 1897116"/>
              <a:gd name="connsiteY1115" fmla="*/ 1029389 h 1087290"/>
              <a:gd name="connsiteX1116" fmla="*/ 1429641 w 1897116"/>
              <a:gd name="connsiteY1116" fmla="*/ 1030944 h 1087290"/>
              <a:gd name="connsiteX1117" fmla="*/ 1424821 w 1897116"/>
              <a:gd name="connsiteY1117" fmla="*/ 1033510 h 1087290"/>
              <a:gd name="connsiteX1118" fmla="*/ 1419300 w 1897116"/>
              <a:gd name="connsiteY1118" fmla="*/ 1035065 h 1087290"/>
              <a:gd name="connsiteX1119" fmla="*/ 1410800 w 1897116"/>
              <a:gd name="connsiteY1119" fmla="*/ 1035829 h 1087290"/>
              <a:gd name="connsiteX1120" fmla="*/ 1405630 w 1897116"/>
              <a:gd name="connsiteY1120" fmla="*/ 1032281 h 1087290"/>
              <a:gd name="connsiteX1121" fmla="*/ 1403878 w 1897116"/>
              <a:gd name="connsiteY1121" fmla="*/ 1031872 h 1087290"/>
              <a:gd name="connsiteX1122" fmla="*/ 1400548 w 1897116"/>
              <a:gd name="connsiteY1122" fmla="*/ 1024913 h 1087290"/>
              <a:gd name="connsiteX1123" fmla="*/ 1397744 w 1897116"/>
              <a:gd name="connsiteY1123" fmla="*/ 1019565 h 1087290"/>
              <a:gd name="connsiteX1124" fmla="*/ 1394939 w 1897116"/>
              <a:gd name="connsiteY1124" fmla="*/ 1014243 h 1087290"/>
              <a:gd name="connsiteX1125" fmla="*/ 1390295 w 1897116"/>
              <a:gd name="connsiteY1125" fmla="*/ 1018528 h 1087290"/>
              <a:gd name="connsiteX1126" fmla="*/ 1391610 w 1897116"/>
              <a:gd name="connsiteY1126" fmla="*/ 1025480 h 1087290"/>
              <a:gd name="connsiteX1127" fmla="*/ 1387307 w 1897116"/>
              <a:gd name="connsiteY1127" fmla="*/ 1023581 h 1087290"/>
              <a:gd name="connsiteX1128" fmla="*/ 1387579 w 1897116"/>
              <a:gd name="connsiteY1128" fmla="*/ 1023535 h 1087290"/>
              <a:gd name="connsiteX1129" fmla="*/ 1385563 w 1897116"/>
              <a:gd name="connsiteY1129" fmla="*/ 1022812 h 1087290"/>
              <a:gd name="connsiteX1130" fmla="*/ 1387307 w 1897116"/>
              <a:gd name="connsiteY1130" fmla="*/ 1023581 h 1087290"/>
              <a:gd name="connsiteX1131" fmla="*/ 1380919 w 1897116"/>
              <a:gd name="connsiteY1131" fmla="*/ 1024668 h 1087290"/>
              <a:gd name="connsiteX1132" fmla="*/ 1376537 w 1897116"/>
              <a:gd name="connsiteY1132" fmla="*/ 1024913 h 1087290"/>
              <a:gd name="connsiteX1133" fmla="*/ 1371192 w 1897116"/>
              <a:gd name="connsiteY1133" fmla="*/ 1022294 h 1087290"/>
              <a:gd name="connsiteX1134" fmla="*/ 1366109 w 1897116"/>
              <a:gd name="connsiteY1134" fmla="*/ 1018991 h 1087290"/>
              <a:gd name="connsiteX1135" fmla="*/ 1361991 w 1897116"/>
              <a:gd name="connsiteY1135" fmla="*/ 1019674 h 1087290"/>
              <a:gd name="connsiteX1136" fmla="*/ 1355419 w 1897116"/>
              <a:gd name="connsiteY1136" fmla="*/ 1019155 h 1087290"/>
              <a:gd name="connsiteX1137" fmla="*/ 1351212 w 1897116"/>
              <a:gd name="connsiteY1137" fmla="*/ 1018555 h 1087290"/>
              <a:gd name="connsiteX1138" fmla="*/ 1345604 w 1897116"/>
              <a:gd name="connsiteY1138" fmla="*/ 1019728 h 1087290"/>
              <a:gd name="connsiteX1139" fmla="*/ 1341644 w 1897116"/>
              <a:gd name="connsiteY1139" fmla="*/ 1021457 h 1087290"/>
              <a:gd name="connsiteX1140" fmla="*/ 1339295 w 1897116"/>
              <a:gd name="connsiteY1140" fmla="*/ 1021011 h 1087290"/>
              <a:gd name="connsiteX1141" fmla="*/ 1336781 w 1897116"/>
              <a:gd name="connsiteY1141" fmla="*/ 1023170 h 1087290"/>
              <a:gd name="connsiteX1142" fmla="*/ 1334650 w 1897116"/>
              <a:gd name="connsiteY1142" fmla="*/ 1023685 h 1087290"/>
              <a:gd name="connsiteX1143" fmla="*/ 1329130 w 1897116"/>
              <a:gd name="connsiteY1143" fmla="*/ 1023985 h 1087290"/>
              <a:gd name="connsiteX1144" fmla="*/ 1328166 w 1897116"/>
              <a:gd name="connsiteY1144" fmla="*/ 1028570 h 1087290"/>
              <a:gd name="connsiteX1145" fmla="*/ 1323434 w 1897116"/>
              <a:gd name="connsiteY1145" fmla="*/ 1029962 h 1087290"/>
              <a:gd name="connsiteX1146" fmla="*/ 1319403 w 1897116"/>
              <a:gd name="connsiteY1146" fmla="*/ 1035065 h 1087290"/>
              <a:gd name="connsiteX1147" fmla="*/ 1313795 w 1897116"/>
              <a:gd name="connsiteY1147" fmla="*/ 1035311 h 1087290"/>
              <a:gd name="connsiteX1148" fmla="*/ 1309939 w 1897116"/>
              <a:gd name="connsiteY1148" fmla="*/ 1040332 h 1087290"/>
              <a:gd name="connsiteX1149" fmla="*/ 1309238 w 1897116"/>
              <a:gd name="connsiteY1149" fmla="*/ 1037330 h 1087290"/>
              <a:gd name="connsiteX1150" fmla="*/ 1308712 w 1897116"/>
              <a:gd name="connsiteY1150" fmla="*/ 1032691 h 1087290"/>
              <a:gd name="connsiteX1151" fmla="*/ 1307310 w 1897116"/>
              <a:gd name="connsiteY1151" fmla="*/ 1029361 h 1087290"/>
              <a:gd name="connsiteX1152" fmla="*/ 1302929 w 1897116"/>
              <a:gd name="connsiteY1152" fmla="*/ 1029252 h 1087290"/>
              <a:gd name="connsiteX1153" fmla="*/ 1297671 w 1897116"/>
              <a:gd name="connsiteY1153" fmla="*/ 1030535 h 1087290"/>
              <a:gd name="connsiteX1154" fmla="*/ 1286542 w 1897116"/>
              <a:gd name="connsiteY1154" fmla="*/ 1034874 h 1087290"/>
              <a:gd name="connsiteX1155" fmla="*/ 1275588 w 1897116"/>
              <a:gd name="connsiteY1155" fmla="*/ 1041696 h 1087290"/>
              <a:gd name="connsiteX1156" fmla="*/ 1270330 w 1897116"/>
              <a:gd name="connsiteY1156" fmla="*/ 1045571 h 1087290"/>
              <a:gd name="connsiteX1157" fmla="*/ 1264985 w 1897116"/>
              <a:gd name="connsiteY1157" fmla="*/ 1049610 h 1087290"/>
              <a:gd name="connsiteX1158" fmla="*/ 1260078 w 1897116"/>
              <a:gd name="connsiteY1158" fmla="*/ 1053513 h 1087290"/>
              <a:gd name="connsiteX1159" fmla="*/ 1255083 w 1897116"/>
              <a:gd name="connsiteY1159" fmla="*/ 1056951 h 1087290"/>
              <a:gd name="connsiteX1160" fmla="*/ 1251052 w 1897116"/>
              <a:gd name="connsiteY1160" fmla="*/ 1059571 h 1087290"/>
              <a:gd name="connsiteX1161" fmla="*/ 1245794 w 1897116"/>
              <a:gd name="connsiteY1161" fmla="*/ 1062655 h 1087290"/>
              <a:gd name="connsiteX1162" fmla="*/ 1238784 w 1897116"/>
              <a:gd name="connsiteY1162" fmla="*/ 1065493 h 1087290"/>
              <a:gd name="connsiteX1163" fmla="*/ 1232212 w 1897116"/>
              <a:gd name="connsiteY1163" fmla="*/ 1067922 h 1087290"/>
              <a:gd name="connsiteX1164" fmla="*/ 1225639 w 1897116"/>
              <a:gd name="connsiteY1164" fmla="*/ 1072725 h 1087290"/>
              <a:gd name="connsiteX1165" fmla="*/ 1218541 w 1897116"/>
              <a:gd name="connsiteY1165" fmla="*/ 1074226 h 1087290"/>
              <a:gd name="connsiteX1166" fmla="*/ 1211356 w 1897116"/>
              <a:gd name="connsiteY1166" fmla="*/ 1076763 h 1087290"/>
              <a:gd name="connsiteX1167" fmla="*/ 1203732 w 1897116"/>
              <a:gd name="connsiteY1167" fmla="*/ 1074717 h 1087290"/>
              <a:gd name="connsiteX1168" fmla="*/ 1204345 w 1897116"/>
              <a:gd name="connsiteY1168" fmla="*/ 1079110 h 1087290"/>
              <a:gd name="connsiteX1169" fmla="*/ 1197773 w 1897116"/>
              <a:gd name="connsiteY1169" fmla="*/ 1081103 h 1087290"/>
              <a:gd name="connsiteX1170" fmla="*/ 1190500 w 1897116"/>
              <a:gd name="connsiteY1170" fmla="*/ 1083122 h 1087290"/>
              <a:gd name="connsiteX1171" fmla="*/ 1184015 w 1897116"/>
              <a:gd name="connsiteY1171" fmla="*/ 1086520 h 1087290"/>
              <a:gd name="connsiteX0" fmla="*/ 353668 w 1897116"/>
              <a:gd name="connsiteY0" fmla="*/ 26940 h 1087290"/>
              <a:gd name="connsiteX1" fmla="*/ 353221 w 1897116"/>
              <a:gd name="connsiteY1" fmla="*/ 25809 h 1087290"/>
              <a:gd name="connsiteX2" fmla="*/ 357240 w 1897116"/>
              <a:gd name="connsiteY2" fmla="*/ 24733 h 1087290"/>
              <a:gd name="connsiteX3" fmla="*/ 353668 w 1897116"/>
              <a:gd name="connsiteY3" fmla="*/ 26940 h 1087290"/>
              <a:gd name="connsiteX4" fmla="*/ 304410 w 1897116"/>
              <a:gd name="connsiteY4" fmla="*/ 40485 h 1087290"/>
              <a:gd name="connsiteX5" fmla="*/ 302763 w 1897116"/>
              <a:gd name="connsiteY5" fmla="*/ 40108 h 1087290"/>
              <a:gd name="connsiteX6" fmla="*/ 302767 w 1897116"/>
              <a:gd name="connsiteY6" fmla="*/ 38706 h 1087290"/>
              <a:gd name="connsiteX7" fmla="*/ 304410 w 1897116"/>
              <a:gd name="connsiteY7" fmla="*/ 40485 h 1087290"/>
              <a:gd name="connsiteX8" fmla="*/ 312192 w 1897116"/>
              <a:gd name="connsiteY8" fmla="*/ 41597 h 1087290"/>
              <a:gd name="connsiteX9" fmla="*/ 310902 w 1897116"/>
              <a:gd name="connsiteY9" fmla="*/ 41519 h 1087290"/>
              <a:gd name="connsiteX10" fmla="*/ 310110 w 1897116"/>
              <a:gd name="connsiteY10" fmla="*/ 41149 h 1087290"/>
              <a:gd name="connsiteX11" fmla="*/ 312192 w 1897116"/>
              <a:gd name="connsiteY11" fmla="*/ 41597 h 1087290"/>
              <a:gd name="connsiteX12" fmla="*/ 316583 w 1897116"/>
              <a:gd name="connsiteY12" fmla="*/ 42541 h 1087290"/>
              <a:gd name="connsiteX13" fmla="*/ 312192 w 1897116"/>
              <a:gd name="connsiteY13" fmla="*/ 41597 h 1087290"/>
              <a:gd name="connsiteX14" fmla="*/ 312466 w 1897116"/>
              <a:gd name="connsiteY14" fmla="*/ 41613 h 1087290"/>
              <a:gd name="connsiteX15" fmla="*/ 316583 w 1897116"/>
              <a:gd name="connsiteY15" fmla="*/ 42541 h 1087290"/>
              <a:gd name="connsiteX16" fmla="*/ 119950 w 1897116"/>
              <a:gd name="connsiteY16" fmla="*/ 43716 h 1087290"/>
              <a:gd name="connsiteX17" fmla="*/ 117470 w 1897116"/>
              <a:gd name="connsiteY17" fmla="*/ 43272 h 1087290"/>
              <a:gd name="connsiteX18" fmla="*/ 118896 w 1897116"/>
              <a:gd name="connsiteY18" fmla="*/ 40545 h 1087290"/>
              <a:gd name="connsiteX19" fmla="*/ 120926 w 1897116"/>
              <a:gd name="connsiteY19" fmla="*/ 43701 h 1087290"/>
              <a:gd name="connsiteX20" fmla="*/ 119950 w 1897116"/>
              <a:gd name="connsiteY20" fmla="*/ 43716 h 1087290"/>
              <a:gd name="connsiteX21" fmla="*/ 115912 w 1897116"/>
              <a:gd name="connsiteY21" fmla="*/ 43782 h 1087290"/>
              <a:gd name="connsiteX22" fmla="*/ 115758 w 1897116"/>
              <a:gd name="connsiteY22" fmla="*/ 42965 h 1087290"/>
              <a:gd name="connsiteX23" fmla="*/ 117470 w 1897116"/>
              <a:gd name="connsiteY23" fmla="*/ 43272 h 1087290"/>
              <a:gd name="connsiteX24" fmla="*/ 117215 w 1897116"/>
              <a:gd name="connsiteY24" fmla="*/ 43761 h 1087290"/>
              <a:gd name="connsiteX25" fmla="*/ 115912 w 1897116"/>
              <a:gd name="connsiteY25" fmla="*/ 43782 h 1087290"/>
              <a:gd name="connsiteX26" fmla="*/ 159497 w 1897116"/>
              <a:gd name="connsiteY26" fmla="*/ 51308 h 1087290"/>
              <a:gd name="connsiteX27" fmla="*/ 159111 w 1897116"/>
              <a:gd name="connsiteY27" fmla="*/ 50219 h 1087290"/>
              <a:gd name="connsiteX28" fmla="*/ 159519 w 1897116"/>
              <a:gd name="connsiteY28" fmla="*/ 51302 h 1087290"/>
              <a:gd name="connsiteX29" fmla="*/ 159497 w 1897116"/>
              <a:gd name="connsiteY29" fmla="*/ 51308 h 1087290"/>
              <a:gd name="connsiteX30" fmla="*/ 358065 w 1897116"/>
              <a:gd name="connsiteY30" fmla="*/ 51467 h 1087290"/>
              <a:gd name="connsiteX31" fmla="*/ 357383 w 1897116"/>
              <a:gd name="connsiteY31" fmla="*/ 49085 h 1087290"/>
              <a:gd name="connsiteX32" fmla="*/ 358101 w 1897116"/>
              <a:gd name="connsiteY32" fmla="*/ 47405 h 1087290"/>
              <a:gd name="connsiteX33" fmla="*/ 358065 w 1897116"/>
              <a:gd name="connsiteY33" fmla="*/ 51467 h 1087290"/>
              <a:gd name="connsiteX34" fmla="*/ 137612 w 1897116"/>
              <a:gd name="connsiteY34" fmla="*/ 52078 h 1087290"/>
              <a:gd name="connsiteX35" fmla="*/ 134914 w 1897116"/>
              <a:gd name="connsiteY35" fmla="*/ 51247 h 1087290"/>
              <a:gd name="connsiteX36" fmla="*/ 137611 w 1897116"/>
              <a:gd name="connsiteY36" fmla="*/ 51817 h 1087290"/>
              <a:gd name="connsiteX37" fmla="*/ 137545 w 1897116"/>
              <a:gd name="connsiteY37" fmla="*/ 51974 h 1087290"/>
              <a:gd name="connsiteX38" fmla="*/ 137612 w 1897116"/>
              <a:gd name="connsiteY38" fmla="*/ 52078 h 1087290"/>
              <a:gd name="connsiteX39" fmla="*/ 138681 w 1897116"/>
              <a:gd name="connsiteY39" fmla="*/ 53721 h 1087290"/>
              <a:gd name="connsiteX40" fmla="*/ 137612 w 1897116"/>
              <a:gd name="connsiteY40" fmla="*/ 52078 h 1087290"/>
              <a:gd name="connsiteX41" fmla="*/ 139472 w 1897116"/>
              <a:gd name="connsiteY41" fmla="*/ 52650 h 1087290"/>
              <a:gd name="connsiteX42" fmla="*/ 138681 w 1897116"/>
              <a:gd name="connsiteY42" fmla="*/ 53721 h 1087290"/>
              <a:gd name="connsiteX43" fmla="*/ 40650 w 1897116"/>
              <a:gd name="connsiteY43" fmla="*/ 62426 h 1087290"/>
              <a:gd name="connsiteX44" fmla="*/ 40016 w 1897116"/>
              <a:gd name="connsiteY44" fmla="*/ 62421 h 1087290"/>
              <a:gd name="connsiteX45" fmla="*/ 39598 w 1897116"/>
              <a:gd name="connsiteY45" fmla="*/ 61960 h 1087290"/>
              <a:gd name="connsiteX46" fmla="*/ 40650 w 1897116"/>
              <a:gd name="connsiteY46" fmla="*/ 62426 h 1087290"/>
              <a:gd name="connsiteX47" fmla="*/ 40904 w 1897116"/>
              <a:gd name="connsiteY47" fmla="*/ 62538 h 1087290"/>
              <a:gd name="connsiteX48" fmla="*/ 40650 w 1897116"/>
              <a:gd name="connsiteY48" fmla="*/ 62426 h 1087290"/>
              <a:gd name="connsiteX49" fmla="*/ 40911 w 1897116"/>
              <a:gd name="connsiteY49" fmla="*/ 62428 h 1087290"/>
              <a:gd name="connsiteX50" fmla="*/ 40904 w 1897116"/>
              <a:gd name="connsiteY50" fmla="*/ 62538 h 1087290"/>
              <a:gd name="connsiteX51" fmla="*/ 548588 w 1897116"/>
              <a:gd name="connsiteY51" fmla="*/ 77263 h 1087290"/>
              <a:gd name="connsiteX52" fmla="*/ 547507 w 1897116"/>
              <a:gd name="connsiteY52" fmla="*/ 76900 h 1087290"/>
              <a:gd name="connsiteX53" fmla="*/ 547240 w 1897116"/>
              <a:gd name="connsiteY53" fmla="*/ 75428 h 1087290"/>
              <a:gd name="connsiteX54" fmla="*/ 549543 w 1897116"/>
              <a:gd name="connsiteY54" fmla="*/ 76777 h 1087290"/>
              <a:gd name="connsiteX55" fmla="*/ 548588 w 1897116"/>
              <a:gd name="connsiteY55" fmla="*/ 77263 h 1087290"/>
              <a:gd name="connsiteX56" fmla="*/ 551118 w 1897116"/>
              <a:gd name="connsiteY56" fmla="*/ 77700 h 1087290"/>
              <a:gd name="connsiteX57" fmla="*/ 549543 w 1897116"/>
              <a:gd name="connsiteY57" fmla="*/ 76777 h 1087290"/>
              <a:gd name="connsiteX58" fmla="*/ 554619 w 1897116"/>
              <a:gd name="connsiteY58" fmla="*/ 74193 h 1087290"/>
              <a:gd name="connsiteX59" fmla="*/ 551118 w 1897116"/>
              <a:gd name="connsiteY59" fmla="*/ 77700 h 1087290"/>
              <a:gd name="connsiteX60" fmla="*/ 1338885 w 1897116"/>
              <a:gd name="connsiteY60" fmla="*/ 1022661 h 1087290"/>
              <a:gd name="connsiteX61" fmla="*/ 1341644 w 1897116"/>
              <a:gd name="connsiteY61" fmla="*/ 1021457 h 1087290"/>
              <a:gd name="connsiteX62" fmla="*/ 1342888 w 1897116"/>
              <a:gd name="connsiteY62" fmla="*/ 1021693 h 1087290"/>
              <a:gd name="connsiteX63" fmla="*/ 1338885 w 1897116"/>
              <a:gd name="connsiteY63" fmla="*/ 1022661 h 1087290"/>
              <a:gd name="connsiteX64" fmla="*/ 1335812 w 1897116"/>
              <a:gd name="connsiteY64" fmla="*/ 1024002 h 1087290"/>
              <a:gd name="connsiteX65" fmla="*/ 1336781 w 1897116"/>
              <a:gd name="connsiteY65" fmla="*/ 1023170 h 1087290"/>
              <a:gd name="connsiteX66" fmla="*/ 1338885 w 1897116"/>
              <a:gd name="connsiteY66" fmla="*/ 1022661 h 1087290"/>
              <a:gd name="connsiteX67" fmla="*/ 1335812 w 1897116"/>
              <a:gd name="connsiteY67" fmla="*/ 1024002 h 1087290"/>
              <a:gd name="connsiteX68" fmla="*/ 1847201 w 1897116"/>
              <a:gd name="connsiteY68" fmla="*/ 1034040 h 1087290"/>
              <a:gd name="connsiteX69" fmla="*/ 1846940 w 1897116"/>
              <a:gd name="connsiteY69" fmla="*/ 1034038 h 1087290"/>
              <a:gd name="connsiteX70" fmla="*/ 1846947 w 1897116"/>
              <a:gd name="connsiteY70" fmla="*/ 1033944 h 1087290"/>
              <a:gd name="connsiteX71" fmla="*/ 1847201 w 1897116"/>
              <a:gd name="connsiteY71" fmla="*/ 1034040 h 1087290"/>
              <a:gd name="connsiteX72" fmla="*/ 1848247 w 1897116"/>
              <a:gd name="connsiteY72" fmla="*/ 1034437 h 1087290"/>
              <a:gd name="connsiteX73" fmla="*/ 1847201 w 1897116"/>
              <a:gd name="connsiteY73" fmla="*/ 1034040 h 1087290"/>
              <a:gd name="connsiteX74" fmla="*/ 1847831 w 1897116"/>
              <a:gd name="connsiteY74" fmla="*/ 1034044 h 1087290"/>
              <a:gd name="connsiteX75" fmla="*/ 1848247 w 1897116"/>
              <a:gd name="connsiteY75" fmla="*/ 1034437 h 1087290"/>
              <a:gd name="connsiteX76" fmla="*/ 1750725 w 1897116"/>
              <a:gd name="connsiteY76" fmla="*/ 1042867 h 1087290"/>
              <a:gd name="connsiteX77" fmla="*/ 1748875 w 1897116"/>
              <a:gd name="connsiteY77" fmla="*/ 1042379 h 1087290"/>
              <a:gd name="connsiteX78" fmla="*/ 1749661 w 1897116"/>
              <a:gd name="connsiteY78" fmla="*/ 1041465 h 1087290"/>
              <a:gd name="connsiteX79" fmla="*/ 1750725 w 1897116"/>
              <a:gd name="connsiteY79" fmla="*/ 1042867 h 1087290"/>
              <a:gd name="connsiteX80" fmla="*/ 1753410 w 1897116"/>
              <a:gd name="connsiteY80" fmla="*/ 1043576 h 1087290"/>
              <a:gd name="connsiteX81" fmla="*/ 1750726 w 1897116"/>
              <a:gd name="connsiteY81" fmla="*/ 1043089 h 1087290"/>
              <a:gd name="connsiteX82" fmla="*/ 1750792 w 1897116"/>
              <a:gd name="connsiteY82" fmla="*/ 1042955 h 1087290"/>
              <a:gd name="connsiteX83" fmla="*/ 1750725 w 1897116"/>
              <a:gd name="connsiteY83" fmla="*/ 1042867 h 1087290"/>
              <a:gd name="connsiteX84" fmla="*/ 1753410 w 1897116"/>
              <a:gd name="connsiteY84" fmla="*/ 1043576 h 1087290"/>
              <a:gd name="connsiteX85" fmla="*/ 1729333 w 1897116"/>
              <a:gd name="connsiteY85" fmla="*/ 1044453 h 1087290"/>
              <a:gd name="connsiteX86" fmla="*/ 1728928 w 1897116"/>
              <a:gd name="connsiteY86" fmla="*/ 1043528 h 1087290"/>
              <a:gd name="connsiteX87" fmla="*/ 1728950 w 1897116"/>
              <a:gd name="connsiteY87" fmla="*/ 1043524 h 1087290"/>
              <a:gd name="connsiteX88" fmla="*/ 1729333 w 1897116"/>
              <a:gd name="connsiteY88" fmla="*/ 1044453 h 1087290"/>
              <a:gd name="connsiteX89" fmla="*/ 1531343 w 1897116"/>
              <a:gd name="connsiteY89" fmla="*/ 1046853 h 1087290"/>
              <a:gd name="connsiteX90" fmla="*/ 1531379 w 1897116"/>
              <a:gd name="connsiteY90" fmla="*/ 1043388 h 1087290"/>
              <a:gd name="connsiteX91" fmla="*/ 1532058 w 1897116"/>
              <a:gd name="connsiteY91" fmla="*/ 1045420 h 1087290"/>
              <a:gd name="connsiteX92" fmla="*/ 1531343 w 1897116"/>
              <a:gd name="connsiteY92" fmla="*/ 1046853 h 1087290"/>
              <a:gd name="connsiteX93" fmla="*/ 1772469 w 1897116"/>
              <a:gd name="connsiteY93" fmla="*/ 1050640 h 1087290"/>
              <a:gd name="connsiteX94" fmla="*/ 1770766 w 1897116"/>
              <a:gd name="connsiteY94" fmla="*/ 1050379 h 1087290"/>
              <a:gd name="connsiteX95" fmla="*/ 1771020 w 1897116"/>
              <a:gd name="connsiteY95" fmla="*/ 1049962 h 1087290"/>
              <a:gd name="connsiteX96" fmla="*/ 1772316 w 1897116"/>
              <a:gd name="connsiteY96" fmla="*/ 1049944 h 1087290"/>
              <a:gd name="connsiteX97" fmla="*/ 1772469 w 1897116"/>
              <a:gd name="connsiteY97" fmla="*/ 1050640 h 1087290"/>
              <a:gd name="connsiteX98" fmla="*/ 1577023 w 1897116"/>
              <a:gd name="connsiteY98" fmla="*/ 1051808 h 1087290"/>
              <a:gd name="connsiteX99" fmla="*/ 1576749 w 1897116"/>
              <a:gd name="connsiteY99" fmla="*/ 1051794 h 1087290"/>
              <a:gd name="connsiteX100" fmla="*/ 1572652 w 1897116"/>
              <a:gd name="connsiteY100" fmla="*/ 1051002 h 1087290"/>
              <a:gd name="connsiteX101" fmla="*/ 1577023 w 1897116"/>
              <a:gd name="connsiteY101" fmla="*/ 1051808 h 1087290"/>
              <a:gd name="connsiteX102" fmla="*/ 1579093 w 1897116"/>
              <a:gd name="connsiteY102" fmla="*/ 1052189 h 1087290"/>
              <a:gd name="connsiteX103" fmla="*/ 1577023 w 1897116"/>
              <a:gd name="connsiteY103" fmla="*/ 1051808 h 1087290"/>
              <a:gd name="connsiteX104" fmla="*/ 1578305 w 1897116"/>
              <a:gd name="connsiteY104" fmla="*/ 1051874 h 1087290"/>
              <a:gd name="connsiteX105" fmla="*/ 1579093 w 1897116"/>
              <a:gd name="connsiteY105" fmla="*/ 1052189 h 1087290"/>
              <a:gd name="connsiteX106" fmla="*/ 1769347 w 1897116"/>
              <a:gd name="connsiteY106" fmla="*/ 1052704 h 1087290"/>
              <a:gd name="connsiteX107" fmla="*/ 1767327 w 1897116"/>
              <a:gd name="connsiteY107" fmla="*/ 1050013 h 1087290"/>
              <a:gd name="connsiteX108" fmla="*/ 1768300 w 1897116"/>
              <a:gd name="connsiteY108" fmla="*/ 1049999 h 1087290"/>
              <a:gd name="connsiteX109" fmla="*/ 1770766 w 1897116"/>
              <a:gd name="connsiteY109" fmla="*/ 1050379 h 1087290"/>
              <a:gd name="connsiteX110" fmla="*/ 1769347 w 1897116"/>
              <a:gd name="connsiteY110" fmla="*/ 1052704 h 1087290"/>
              <a:gd name="connsiteX111" fmla="*/ 1586399 w 1897116"/>
              <a:gd name="connsiteY111" fmla="*/ 1054274 h 1087290"/>
              <a:gd name="connsiteX112" fmla="*/ 1584764 w 1897116"/>
              <a:gd name="connsiteY112" fmla="*/ 1052756 h 1087290"/>
              <a:gd name="connsiteX113" fmla="*/ 1586403 w 1897116"/>
              <a:gd name="connsiteY113" fmla="*/ 1053077 h 1087290"/>
              <a:gd name="connsiteX114" fmla="*/ 1586399 w 1897116"/>
              <a:gd name="connsiteY114" fmla="*/ 1054274 h 1087290"/>
              <a:gd name="connsiteX115" fmla="*/ 1532200 w 1897116"/>
              <a:gd name="connsiteY115" fmla="*/ 1066192 h 1087290"/>
              <a:gd name="connsiteX116" fmla="*/ 1535753 w 1897116"/>
              <a:gd name="connsiteY116" fmla="*/ 1064310 h 1087290"/>
              <a:gd name="connsiteX117" fmla="*/ 1536198 w 1897116"/>
              <a:gd name="connsiteY117" fmla="*/ 1065275 h 1087290"/>
              <a:gd name="connsiteX118" fmla="*/ 1532200 w 1897116"/>
              <a:gd name="connsiteY118" fmla="*/ 1066192 h 1087290"/>
              <a:gd name="connsiteX119" fmla="*/ 1184015 w 1897116"/>
              <a:gd name="connsiteY119" fmla="*/ 1086520 h 1087290"/>
              <a:gd name="connsiteX120" fmla="*/ 1182000 w 1897116"/>
              <a:gd name="connsiteY120" fmla="*/ 1086397 h 1087290"/>
              <a:gd name="connsiteX121" fmla="*/ 1180598 w 1897116"/>
              <a:gd name="connsiteY121" fmla="*/ 1084050 h 1087290"/>
              <a:gd name="connsiteX122" fmla="*/ 1175691 w 1897116"/>
              <a:gd name="connsiteY122" fmla="*/ 1077637 h 1087290"/>
              <a:gd name="connsiteX123" fmla="*/ 1173763 w 1897116"/>
              <a:gd name="connsiteY123" fmla="*/ 1074880 h 1087290"/>
              <a:gd name="connsiteX124" fmla="*/ 1168067 w 1897116"/>
              <a:gd name="connsiteY124" fmla="*/ 1070460 h 1087290"/>
              <a:gd name="connsiteX125" fmla="*/ 1165876 w 1897116"/>
              <a:gd name="connsiteY125" fmla="*/ 1071851 h 1087290"/>
              <a:gd name="connsiteX126" fmla="*/ 1161582 w 1897116"/>
              <a:gd name="connsiteY126" fmla="*/ 1065547 h 1087290"/>
              <a:gd name="connsiteX127" fmla="*/ 1156675 w 1897116"/>
              <a:gd name="connsiteY127" fmla="*/ 1062900 h 1087290"/>
              <a:gd name="connsiteX128" fmla="*/ 1153082 w 1897116"/>
              <a:gd name="connsiteY128" fmla="*/ 1063883 h 1087290"/>
              <a:gd name="connsiteX129" fmla="*/ 1145984 w 1897116"/>
              <a:gd name="connsiteY129" fmla="*/ 1059244 h 1087290"/>
              <a:gd name="connsiteX130" fmla="*/ 1145283 w 1897116"/>
              <a:gd name="connsiteY130" fmla="*/ 1059953 h 1087290"/>
              <a:gd name="connsiteX131" fmla="*/ 1147649 w 1897116"/>
              <a:gd name="connsiteY131" fmla="*/ 1061863 h 1087290"/>
              <a:gd name="connsiteX132" fmla="*/ 1142742 w 1897116"/>
              <a:gd name="connsiteY132" fmla="*/ 1064183 h 1087290"/>
              <a:gd name="connsiteX133" fmla="*/ 1135293 w 1897116"/>
              <a:gd name="connsiteY133" fmla="*/ 1067267 h 1087290"/>
              <a:gd name="connsiteX134" fmla="*/ 1131964 w 1897116"/>
              <a:gd name="connsiteY134" fmla="*/ 1066912 h 1087290"/>
              <a:gd name="connsiteX135" fmla="*/ 1130649 w 1897116"/>
              <a:gd name="connsiteY135" fmla="*/ 1068986 h 1087290"/>
              <a:gd name="connsiteX136" fmla="*/ 1128020 w 1897116"/>
              <a:gd name="connsiteY136" fmla="*/ 1065711 h 1087290"/>
              <a:gd name="connsiteX137" fmla="*/ 1125128 w 1897116"/>
              <a:gd name="connsiteY137" fmla="*/ 1059899 h 1087290"/>
              <a:gd name="connsiteX138" fmla="*/ 1123376 w 1897116"/>
              <a:gd name="connsiteY138" fmla="*/ 1056105 h 1087290"/>
              <a:gd name="connsiteX139" fmla="*/ 1121623 w 1897116"/>
              <a:gd name="connsiteY139" fmla="*/ 1058070 h 1087290"/>
              <a:gd name="connsiteX140" fmla="*/ 1120572 w 1897116"/>
              <a:gd name="connsiteY140" fmla="*/ 1054905 h 1087290"/>
              <a:gd name="connsiteX141" fmla="*/ 1120835 w 1897116"/>
              <a:gd name="connsiteY141" fmla="*/ 1050129 h 1087290"/>
              <a:gd name="connsiteX142" fmla="*/ 1118118 w 1897116"/>
              <a:gd name="connsiteY142" fmla="*/ 1046363 h 1087290"/>
              <a:gd name="connsiteX143" fmla="*/ 1114701 w 1897116"/>
              <a:gd name="connsiteY143" fmla="*/ 1049938 h 1087290"/>
              <a:gd name="connsiteX144" fmla="*/ 1106902 w 1897116"/>
              <a:gd name="connsiteY144" fmla="*/ 1050729 h 1087290"/>
              <a:gd name="connsiteX145" fmla="*/ 1102082 w 1897116"/>
              <a:gd name="connsiteY145" fmla="*/ 1047700 h 1087290"/>
              <a:gd name="connsiteX146" fmla="*/ 1097438 w 1897116"/>
              <a:gd name="connsiteY146" fmla="*/ 1052749 h 1087290"/>
              <a:gd name="connsiteX147" fmla="*/ 1088499 w 1897116"/>
              <a:gd name="connsiteY147" fmla="*/ 1054686 h 1087290"/>
              <a:gd name="connsiteX148" fmla="*/ 1079649 w 1897116"/>
              <a:gd name="connsiteY148" fmla="*/ 1055832 h 1087290"/>
              <a:gd name="connsiteX149" fmla="*/ 1078334 w 1897116"/>
              <a:gd name="connsiteY149" fmla="*/ 1055641 h 1087290"/>
              <a:gd name="connsiteX150" fmla="*/ 1082803 w 1897116"/>
              <a:gd name="connsiteY150" fmla="*/ 1048628 h 1087290"/>
              <a:gd name="connsiteX151" fmla="*/ 1086133 w 1897116"/>
              <a:gd name="connsiteY151" fmla="*/ 1043061 h 1087290"/>
              <a:gd name="connsiteX152" fmla="*/ 1089551 w 1897116"/>
              <a:gd name="connsiteY152" fmla="*/ 1036702 h 1087290"/>
              <a:gd name="connsiteX153" fmla="*/ 1081840 w 1897116"/>
              <a:gd name="connsiteY153" fmla="*/ 1037112 h 1087290"/>
              <a:gd name="connsiteX154" fmla="*/ 1074128 w 1897116"/>
              <a:gd name="connsiteY154" fmla="*/ 1037466 h 1087290"/>
              <a:gd name="connsiteX155" fmla="*/ 1066943 w 1897116"/>
              <a:gd name="connsiteY155" fmla="*/ 1040769 h 1087290"/>
              <a:gd name="connsiteX156" fmla="*/ 1060633 w 1897116"/>
              <a:gd name="connsiteY156" fmla="*/ 1039131 h 1087290"/>
              <a:gd name="connsiteX157" fmla="*/ 1051257 w 1897116"/>
              <a:gd name="connsiteY157" fmla="*/ 1041314 h 1087290"/>
              <a:gd name="connsiteX158" fmla="*/ 1047752 w 1897116"/>
              <a:gd name="connsiteY158" fmla="*/ 1042188 h 1087290"/>
              <a:gd name="connsiteX159" fmla="*/ 1042056 w 1897116"/>
              <a:gd name="connsiteY159" fmla="*/ 1043852 h 1087290"/>
              <a:gd name="connsiteX160" fmla="*/ 1035221 w 1897116"/>
              <a:gd name="connsiteY160" fmla="*/ 1045954 h 1087290"/>
              <a:gd name="connsiteX161" fmla="*/ 1027422 w 1897116"/>
              <a:gd name="connsiteY161" fmla="*/ 1048710 h 1087290"/>
              <a:gd name="connsiteX162" fmla="*/ 1024618 w 1897116"/>
              <a:gd name="connsiteY162" fmla="*/ 1049119 h 1087290"/>
              <a:gd name="connsiteX163" fmla="*/ 1019360 w 1897116"/>
              <a:gd name="connsiteY163" fmla="*/ 1051548 h 1087290"/>
              <a:gd name="connsiteX164" fmla="*/ 1014277 w 1897116"/>
              <a:gd name="connsiteY164" fmla="*/ 1051684 h 1087290"/>
              <a:gd name="connsiteX165" fmla="*/ 1007880 w 1897116"/>
              <a:gd name="connsiteY165" fmla="*/ 1050702 h 1087290"/>
              <a:gd name="connsiteX166" fmla="*/ 1009107 w 1897116"/>
              <a:gd name="connsiteY166" fmla="*/ 1050565 h 1087290"/>
              <a:gd name="connsiteX167" fmla="*/ 1008231 w 1897116"/>
              <a:gd name="connsiteY167" fmla="*/ 1044726 h 1087290"/>
              <a:gd name="connsiteX168" fmla="*/ 1011736 w 1897116"/>
              <a:gd name="connsiteY168" fmla="*/ 1038667 h 1087290"/>
              <a:gd name="connsiteX169" fmla="*/ 1011813 w 1897116"/>
              <a:gd name="connsiteY169" fmla="*/ 1037202 h 1087290"/>
              <a:gd name="connsiteX170" fmla="*/ 1012349 w 1897116"/>
              <a:gd name="connsiteY170" fmla="*/ 1036402 h 1087290"/>
              <a:gd name="connsiteX171" fmla="*/ 1011911 w 1897116"/>
              <a:gd name="connsiteY171" fmla="*/ 1035345 h 1087290"/>
              <a:gd name="connsiteX172" fmla="*/ 1011813 w 1897116"/>
              <a:gd name="connsiteY172" fmla="*/ 1037202 h 1087290"/>
              <a:gd name="connsiteX173" fmla="*/ 1010246 w 1897116"/>
              <a:gd name="connsiteY173" fmla="*/ 1039540 h 1087290"/>
              <a:gd name="connsiteX174" fmla="*/ 1001396 w 1897116"/>
              <a:gd name="connsiteY174" fmla="*/ 1041069 h 1087290"/>
              <a:gd name="connsiteX175" fmla="*/ 994648 w 1897116"/>
              <a:gd name="connsiteY175" fmla="*/ 1044043 h 1087290"/>
              <a:gd name="connsiteX176" fmla="*/ 990442 w 1897116"/>
              <a:gd name="connsiteY176" fmla="*/ 1045735 h 1087290"/>
              <a:gd name="connsiteX177" fmla="*/ 985272 w 1897116"/>
              <a:gd name="connsiteY177" fmla="*/ 1044180 h 1087290"/>
              <a:gd name="connsiteX178" fmla="*/ 982818 w 1897116"/>
              <a:gd name="connsiteY178" fmla="*/ 1048028 h 1087290"/>
              <a:gd name="connsiteX179" fmla="*/ 981416 w 1897116"/>
              <a:gd name="connsiteY179" fmla="*/ 1042815 h 1087290"/>
              <a:gd name="connsiteX180" fmla="*/ 980102 w 1897116"/>
              <a:gd name="connsiteY180" fmla="*/ 1037603 h 1087290"/>
              <a:gd name="connsiteX181" fmla="*/ 978437 w 1897116"/>
              <a:gd name="connsiteY181" fmla="*/ 1036593 h 1087290"/>
              <a:gd name="connsiteX182" fmla="*/ 980628 w 1897116"/>
              <a:gd name="connsiteY182" fmla="*/ 1029853 h 1087290"/>
              <a:gd name="connsiteX183" fmla="*/ 980102 w 1897116"/>
              <a:gd name="connsiteY183" fmla="*/ 1024368 h 1087290"/>
              <a:gd name="connsiteX184" fmla="*/ 977385 w 1897116"/>
              <a:gd name="connsiteY184" fmla="*/ 1019401 h 1087290"/>
              <a:gd name="connsiteX185" fmla="*/ 979839 w 1897116"/>
              <a:gd name="connsiteY185" fmla="*/ 1019264 h 1087290"/>
              <a:gd name="connsiteX186" fmla="*/ 979576 w 1897116"/>
              <a:gd name="connsiteY186" fmla="*/ 1018855 h 1087290"/>
              <a:gd name="connsiteX187" fmla="*/ 977385 w 1897116"/>
              <a:gd name="connsiteY187" fmla="*/ 1019401 h 1087290"/>
              <a:gd name="connsiteX188" fmla="*/ 973705 w 1897116"/>
              <a:gd name="connsiteY188" fmla="*/ 1021147 h 1087290"/>
              <a:gd name="connsiteX189" fmla="*/ 966957 w 1897116"/>
              <a:gd name="connsiteY189" fmla="*/ 1024122 h 1087290"/>
              <a:gd name="connsiteX190" fmla="*/ 966519 w 1897116"/>
              <a:gd name="connsiteY190" fmla="*/ 1024040 h 1087290"/>
              <a:gd name="connsiteX191" fmla="*/ 960823 w 1897116"/>
              <a:gd name="connsiteY191" fmla="*/ 1025241 h 1087290"/>
              <a:gd name="connsiteX192" fmla="*/ 954602 w 1897116"/>
              <a:gd name="connsiteY192" fmla="*/ 1025759 h 1087290"/>
              <a:gd name="connsiteX193" fmla="*/ 949169 w 1897116"/>
              <a:gd name="connsiteY193" fmla="*/ 1024531 h 1087290"/>
              <a:gd name="connsiteX194" fmla="*/ 943385 w 1897116"/>
              <a:gd name="connsiteY194" fmla="*/ 1022375 h 1087290"/>
              <a:gd name="connsiteX195" fmla="*/ 934184 w 1897116"/>
              <a:gd name="connsiteY195" fmla="*/ 1019101 h 1087290"/>
              <a:gd name="connsiteX196" fmla="*/ 926823 w 1897116"/>
              <a:gd name="connsiteY196" fmla="*/ 1018118 h 1087290"/>
              <a:gd name="connsiteX197" fmla="*/ 924369 w 1897116"/>
              <a:gd name="connsiteY197" fmla="*/ 1016263 h 1087290"/>
              <a:gd name="connsiteX198" fmla="*/ 920514 w 1897116"/>
              <a:gd name="connsiteY198" fmla="*/ 1009959 h 1087290"/>
              <a:gd name="connsiteX199" fmla="*/ 915431 w 1897116"/>
              <a:gd name="connsiteY199" fmla="*/ 1011923 h 1087290"/>
              <a:gd name="connsiteX200" fmla="*/ 909472 w 1897116"/>
              <a:gd name="connsiteY200" fmla="*/ 1014680 h 1087290"/>
              <a:gd name="connsiteX201" fmla="*/ 904478 w 1897116"/>
              <a:gd name="connsiteY201" fmla="*/ 1017081 h 1087290"/>
              <a:gd name="connsiteX202" fmla="*/ 898957 w 1897116"/>
              <a:gd name="connsiteY202" fmla="*/ 1018418 h 1087290"/>
              <a:gd name="connsiteX203" fmla="*/ 895978 w 1897116"/>
              <a:gd name="connsiteY203" fmla="*/ 1020192 h 1087290"/>
              <a:gd name="connsiteX204" fmla="*/ 887127 w 1897116"/>
              <a:gd name="connsiteY204" fmla="*/ 1023713 h 1087290"/>
              <a:gd name="connsiteX205" fmla="*/ 878189 w 1897116"/>
              <a:gd name="connsiteY205" fmla="*/ 1026305 h 1087290"/>
              <a:gd name="connsiteX206" fmla="*/ 875297 w 1897116"/>
              <a:gd name="connsiteY206" fmla="*/ 1029880 h 1087290"/>
              <a:gd name="connsiteX207" fmla="*/ 867586 w 1897116"/>
              <a:gd name="connsiteY207" fmla="*/ 1035611 h 1087290"/>
              <a:gd name="connsiteX208" fmla="*/ 863467 w 1897116"/>
              <a:gd name="connsiteY208" fmla="*/ 1037275 h 1087290"/>
              <a:gd name="connsiteX209" fmla="*/ 858998 w 1897116"/>
              <a:gd name="connsiteY209" fmla="*/ 1040550 h 1087290"/>
              <a:gd name="connsiteX210" fmla="*/ 854792 w 1897116"/>
              <a:gd name="connsiteY210" fmla="*/ 1044016 h 1087290"/>
              <a:gd name="connsiteX211" fmla="*/ 848395 w 1897116"/>
              <a:gd name="connsiteY211" fmla="*/ 1049201 h 1087290"/>
              <a:gd name="connsiteX212" fmla="*/ 841910 w 1897116"/>
              <a:gd name="connsiteY212" fmla="*/ 1049065 h 1087290"/>
              <a:gd name="connsiteX213" fmla="*/ 841910 w 1897116"/>
              <a:gd name="connsiteY213" fmla="*/ 1052885 h 1087290"/>
              <a:gd name="connsiteX214" fmla="*/ 837091 w 1897116"/>
              <a:gd name="connsiteY214" fmla="*/ 1053649 h 1087290"/>
              <a:gd name="connsiteX215" fmla="*/ 831132 w 1897116"/>
              <a:gd name="connsiteY215" fmla="*/ 1053485 h 1087290"/>
              <a:gd name="connsiteX216" fmla="*/ 822807 w 1897116"/>
              <a:gd name="connsiteY216" fmla="*/ 1053294 h 1087290"/>
              <a:gd name="connsiteX217" fmla="*/ 813869 w 1897116"/>
              <a:gd name="connsiteY217" fmla="*/ 1054877 h 1087290"/>
              <a:gd name="connsiteX218" fmla="*/ 806070 w 1897116"/>
              <a:gd name="connsiteY218" fmla="*/ 1058862 h 1087290"/>
              <a:gd name="connsiteX219" fmla="*/ 800637 w 1897116"/>
              <a:gd name="connsiteY219" fmla="*/ 1063855 h 1087290"/>
              <a:gd name="connsiteX220" fmla="*/ 800111 w 1897116"/>
              <a:gd name="connsiteY220" fmla="*/ 1069832 h 1087290"/>
              <a:gd name="connsiteX221" fmla="*/ 797482 w 1897116"/>
              <a:gd name="connsiteY221" fmla="*/ 1070159 h 1087290"/>
              <a:gd name="connsiteX222" fmla="*/ 796431 w 1897116"/>
              <a:gd name="connsiteY222" fmla="*/ 1073107 h 1087290"/>
              <a:gd name="connsiteX223" fmla="*/ 796343 w 1897116"/>
              <a:gd name="connsiteY223" fmla="*/ 1074362 h 1087290"/>
              <a:gd name="connsiteX224" fmla="*/ 795379 w 1897116"/>
              <a:gd name="connsiteY224" fmla="*/ 1076081 h 1087290"/>
              <a:gd name="connsiteX225" fmla="*/ 795116 w 1897116"/>
              <a:gd name="connsiteY225" fmla="*/ 1076272 h 1087290"/>
              <a:gd name="connsiteX226" fmla="*/ 794941 w 1897116"/>
              <a:gd name="connsiteY226" fmla="*/ 1076818 h 1087290"/>
              <a:gd name="connsiteX227" fmla="*/ 794766 w 1897116"/>
              <a:gd name="connsiteY227" fmla="*/ 1077391 h 1087290"/>
              <a:gd name="connsiteX228" fmla="*/ 788631 w 1897116"/>
              <a:gd name="connsiteY228" fmla="*/ 1073598 h 1087290"/>
              <a:gd name="connsiteX229" fmla="*/ 782059 w 1897116"/>
              <a:gd name="connsiteY229" fmla="*/ 1071169 h 1087290"/>
              <a:gd name="connsiteX230" fmla="*/ 776977 w 1897116"/>
              <a:gd name="connsiteY230" fmla="*/ 1068331 h 1087290"/>
              <a:gd name="connsiteX231" fmla="*/ 771368 w 1897116"/>
              <a:gd name="connsiteY231" fmla="*/ 1067785 h 1087290"/>
              <a:gd name="connsiteX232" fmla="*/ 770667 w 1897116"/>
              <a:gd name="connsiteY232" fmla="*/ 1070432 h 1087290"/>
              <a:gd name="connsiteX233" fmla="*/ 771631 w 1897116"/>
              <a:gd name="connsiteY233" fmla="*/ 1072561 h 1087290"/>
              <a:gd name="connsiteX234" fmla="*/ 765234 w 1897116"/>
              <a:gd name="connsiteY234" fmla="*/ 1072861 h 1087290"/>
              <a:gd name="connsiteX235" fmla="*/ 764533 w 1897116"/>
              <a:gd name="connsiteY235" fmla="*/ 1072206 h 1087290"/>
              <a:gd name="connsiteX236" fmla="*/ 765234 w 1897116"/>
              <a:gd name="connsiteY236" fmla="*/ 1072861 h 1087290"/>
              <a:gd name="connsiteX237" fmla="*/ 763219 w 1897116"/>
              <a:gd name="connsiteY237" fmla="*/ 1072670 h 1087290"/>
              <a:gd name="connsiteX238" fmla="*/ 762781 w 1897116"/>
              <a:gd name="connsiteY238" fmla="*/ 1072561 h 1087290"/>
              <a:gd name="connsiteX239" fmla="*/ 763131 w 1897116"/>
              <a:gd name="connsiteY239" fmla="*/ 1071333 h 1087290"/>
              <a:gd name="connsiteX240" fmla="*/ 762781 w 1897116"/>
              <a:gd name="connsiteY240" fmla="*/ 1072561 h 1087290"/>
              <a:gd name="connsiteX241" fmla="*/ 757961 w 1897116"/>
              <a:gd name="connsiteY241" fmla="*/ 1070623 h 1087290"/>
              <a:gd name="connsiteX242" fmla="*/ 764008 w 1897116"/>
              <a:gd name="connsiteY242" fmla="*/ 1068195 h 1087290"/>
              <a:gd name="connsiteX243" fmla="*/ 766286 w 1897116"/>
              <a:gd name="connsiteY243" fmla="*/ 1064183 h 1087290"/>
              <a:gd name="connsiteX244" fmla="*/ 766286 w 1897116"/>
              <a:gd name="connsiteY244" fmla="*/ 1058807 h 1087290"/>
              <a:gd name="connsiteX245" fmla="*/ 769704 w 1897116"/>
              <a:gd name="connsiteY245" fmla="*/ 1055559 h 1087290"/>
              <a:gd name="connsiteX246" fmla="*/ 769616 w 1897116"/>
              <a:gd name="connsiteY246" fmla="*/ 1052176 h 1087290"/>
              <a:gd name="connsiteX247" fmla="*/ 773296 w 1897116"/>
              <a:gd name="connsiteY247" fmla="*/ 1051302 h 1087290"/>
              <a:gd name="connsiteX248" fmla="*/ 769528 w 1897116"/>
              <a:gd name="connsiteY248" fmla="*/ 1046308 h 1087290"/>
              <a:gd name="connsiteX249" fmla="*/ 765935 w 1897116"/>
              <a:gd name="connsiteY249" fmla="*/ 1048846 h 1087290"/>
              <a:gd name="connsiteX250" fmla="*/ 759889 w 1897116"/>
              <a:gd name="connsiteY250" fmla="*/ 1051630 h 1087290"/>
              <a:gd name="connsiteX251" fmla="*/ 758750 w 1897116"/>
              <a:gd name="connsiteY251" fmla="*/ 1055150 h 1087290"/>
              <a:gd name="connsiteX252" fmla="*/ 757260 w 1897116"/>
              <a:gd name="connsiteY252" fmla="*/ 1058452 h 1087290"/>
              <a:gd name="connsiteX253" fmla="*/ 752441 w 1897116"/>
              <a:gd name="connsiteY253" fmla="*/ 1061618 h 1087290"/>
              <a:gd name="connsiteX254" fmla="*/ 747971 w 1897116"/>
              <a:gd name="connsiteY254" fmla="*/ 1064047 h 1087290"/>
              <a:gd name="connsiteX255" fmla="*/ 742626 w 1897116"/>
              <a:gd name="connsiteY255" fmla="*/ 1067540 h 1087290"/>
              <a:gd name="connsiteX256" fmla="*/ 738157 w 1897116"/>
              <a:gd name="connsiteY256" fmla="*/ 1070623 h 1087290"/>
              <a:gd name="connsiteX257" fmla="*/ 734126 w 1897116"/>
              <a:gd name="connsiteY257" fmla="*/ 1074253 h 1087290"/>
              <a:gd name="connsiteX258" fmla="*/ 733425 w 1897116"/>
              <a:gd name="connsiteY258" fmla="*/ 1071769 h 1087290"/>
              <a:gd name="connsiteX259" fmla="*/ 734564 w 1897116"/>
              <a:gd name="connsiteY259" fmla="*/ 1071633 h 1087290"/>
              <a:gd name="connsiteX260" fmla="*/ 733425 w 1897116"/>
              <a:gd name="connsiteY260" fmla="*/ 1071769 h 1087290"/>
              <a:gd name="connsiteX261" fmla="*/ 733425 w 1897116"/>
              <a:gd name="connsiteY261" fmla="*/ 1069914 h 1087290"/>
              <a:gd name="connsiteX262" fmla="*/ 729745 w 1897116"/>
              <a:gd name="connsiteY262" fmla="*/ 1065138 h 1087290"/>
              <a:gd name="connsiteX263" fmla="*/ 721770 w 1897116"/>
              <a:gd name="connsiteY263" fmla="*/ 1061563 h 1087290"/>
              <a:gd name="connsiteX264" fmla="*/ 712744 w 1897116"/>
              <a:gd name="connsiteY264" fmla="*/ 1061781 h 1087290"/>
              <a:gd name="connsiteX265" fmla="*/ 705559 w 1897116"/>
              <a:gd name="connsiteY265" fmla="*/ 1063446 h 1087290"/>
              <a:gd name="connsiteX266" fmla="*/ 701265 w 1897116"/>
              <a:gd name="connsiteY266" fmla="*/ 1067512 h 1087290"/>
              <a:gd name="connsiteX267" fmla="*/ 691976 w 1897116"/>
              <a:gd name="connsiteY267" fmla="*/ 1069859 h 1087290"/>
              <a:gd name="connsiteX268" fmla="*/ 684878 w 1897116"/>
              <a:gd name="connsiteY268" fmla="*/ 1073571 h 1087290"/>
              <a:gd name="connsiteX269" fmla="*/ 678131 w 1897116"/>
              <a:gd name="connsiteY269" fmla="*/ 1075972 h 1087290"/>
              <a:gd name="connsiteX270" fmla="*/ 677956 w 1897116"/>
              <a:gd name="connsiteY270" fmla="*/ 1069996 h 1087290"/>
              <a:gd name="connsiteX271" fmla="*/ 680234 w 1897116"/>
              <a:gd name="connsiteY271" fmla="*/ 1062627 h 1087290"/>
              <a:gd name="connsiteX272" fmla="*/ 682950 w 1897116"/>
              <a:gd name="connsiteY272" fmla="*/ 1056405 h 1087290"/>
              <a:gd name="connsiteX273" fmla="*/ 684352 w 1897116"/>
              <a:gd name="connsiteY273" fmla="*/ 1048928 h 1087290"/>
              <a:gd name="connsiteX274" fmla="*/ 686631 w 1897116"/>
              <a:gd name="connsiteY274" fmla="*/ 1041560 h 1087290"/>
              <a:gd name="connsiteX275" fmla="*/ 680409 w 1897116"/>
              <a:gd name="connsiteY275" fmla="*/ 1047018 h 1087290"/>
              <a:gd name="connsiteX276" fmla="*/ 674538 w 1897116"/>
              <a:gd name="connsiteY276" fmla="*/ 1052285 h 1087290"/>
              <a:gd name="connsiteX277" fmla="*/ 668842 w 1897116"/>
              <a:gd name="connsiteY277" fmla="*/ 1057115 h 1087290"/>
              <a:gd name="connsiteX278" fmla="*/ 662620 w 1897116"/>
              <a:gd name="connsiteY278" fmla="*/ 1062573 h 1087290"/>
              <a:gd name="connsiteX279" fmla="*/ 655610 w 1897116"/>
              <a:gd name="connsiteY279" fmla="*/ 1068004 h 1087290"/>
              <a:gd name="connsiteX280" fmla="*/ 651754 w 1897116"/>
              <a:gd name="connsiteY280" fmla="*/ 1069368 h 1087290"/>
              <a:gd name="connsiteX281" fmla="*/ 650002 w 1897116"/>
              <a:gd name="connsiteY281" fmla="*/ 1067430 h 1087290"/>
              <a:gd name="connsiteX282" fmla="*/ 651667 w 1897116"/>
              <a:gd name="connsiteY282" fmla="*/ 1062627 h 1087290"/>
              <a:gd name="connsiteX283" fmla="*/ 642378 w 1897116"/>
              <a:gd name="connsiteY283" fmla="*/ 1066448 h 1087290"/>
              <a:gd name="connsiteX284" fmla="*/ 633089 w 1897116"/>
              <a:gd name="connsiteY284" fmla="*/ 1070296 h 1087290"/>
              <a:gd name="connsiteX285" fmla="*/ 625816 w 1897116"/>
              <a:gd name="connsiteY285" fmla="*/ 1073598 h 1087290"/>
              <a:gd name="connsiteX286" fmla="*/ 620120 w 1897116"/>
              <a:gd name="connsiteY286" fmla="*/ 1075972 h 1087290"/>
              <a:gd name="connsiteX287" fmla="*/ 614599 w 1897116"/>
              <a:gd name="connsiteY287" fmla="*/ 1078183 h 1087290"/>
              <a:gd name="connsiteX288" fmla="*/ 607764 w 1897116"/>
              <a:gd name="connsiteY288" fmla="*/ 1077609 h 1087290"/>
              <a:gd name="connsiteX289" fmla="*/ 600929 w 1897116"/>
              <a:gd name="connsiteY289" fmla="*/ 1077036 h 1087290"/>
              <a:gd name="connsiteX290" fmla="*/ 594883 w 1897116"/>
              <a:gd name="connsiteY290" fmla="*/ 1076654 h 1087290"/>
              <a:gd name="connsiteX291" fmla="*/ 588398 w 1897116"/>
              <a:gd name="connsiteY291" fmla="*/ 1076354 h 1087290"/>
              <a:gd name="connsiteX292" fmla="*/ 579460 w 1897116"/>
              <a:gd name="connsiteY292" fmla="*/ 1075917 h 1087290"/>
              <a:gd name="connsiteX293" fmla="*/ 577006 w 1897116"/>
              <a:gd name="connsiteY293" fmla="*/ 1073652 h 1087290"/>
              <a:gd name="connsiteX294" fmla="*/ 572537 w 1897116"/>
              <a:gd name="connsiteY294" fmla="*/ 1074717 h 1087290"/>
              <a:gd name="connsiteX295" fmla="*/ 577357 w 1897116"/>
              <a:gd name="connsiteY295" fmla="*/ 1070432 h 1087290"/>
              <a:gd name="connsiteX296" fmla="*/ 582878 w 1897116"/>
              <a:gd name="connsiteY296" fmla="*/ 1066721 h 1087290"/>
              <a:gd name="connsiteX297" fmla="*/ 581037 w 1897116"/>
              <a:gd name="connsiteY297" fmla="*/ 1066475 h 1087290"/>
              <a:gd name="connsiteX298" fmla="*/ 572274 w 1897116"/>
              <a:gd name="connsiteY298" fmla="*/ 1065220 h 1087290"/>
              <a:gd name="connsiteX299" fmla="*/ 564563 w 1897116"/>
              <a:gd name="connsiteY299" fmla="*/ 1067840 h 1087290"/>
              <a:gd name="connsiteX300" fmla="*/ 560532 w 1897116"/>
              <a:gd name="connsiteY300" fmla="*/ 1064756 h 1087290"/>
              <a:gd name="connsiteX301" fmla="*/ 547037 w 1897116"/>
              <a:gd name="connsiteY301" fmla="*/ 1064811 h 1087290"/>
              <a:gd name="connsiteX302" fmla="*/ 533630 w 1897116"/>
              <a:gd name="connsiteY302" fmla="*/ 1065657 h 1087290"/>
              <a:gd name="connsiteX303" fmla="*/ 528109 w 1897116"/>
              <a:gd name="connsiteY303" fmla="*/ 1066039 h 1087290"/>
              <a:gd name="connsiteX304" fmla="*/ 522676 w 1897116"/>
              <a:gd name="connsiteY304" fmla="*/ 1067076 h 1087290"/>
              <a:gd name="connsiteX305" fmla="*/ 524604 w 1897116"/>
              <a:gd name="connsiteY305" fmla="*/ 1064483 h 1087290"/>
              <a:gd name="connsiteX306" fmla="*/ 531614 w 1897116"/>
              <a:gd name="connsiteY306" fmla="*/ 1059626 h 1087290"/>
              <a:gd name="connsiteX307" fmla="*/ 537748 w 1897116"/>
              <a:gd name="connsiteY307" fmla="*/ 1055014 h 1087290"/>
              <a:gd name="connsiteX308" fmla="*/ 537924 w 1897116"/>
              <a:gd name="connsiteY308" fmla="*/ 1054386 h 1087290"/>
              <a:gd name="connsiteX309" fmla="*/ 536346 w 1897116"/>
              <a:gd name="connsiteY309" fmla="*/ 1053213 h 1087290"/>
              <a:gd name="connsiteX310" fmla="*/ 526795 w 1897116"/>
              <a:gd name="connsiteY310" fmla="*/ 1053840 h 1087290"/>
              <a:gd name="connsiteX311" fmla="*/ 517594 w 1897116"/>
              <a:gd name="connsiteY311" fmla="*/ 1054304 h 1087290"/>
              <a:gd name="connsiteX312" fmla="*/ 512774 w 1897116"/>
              <a:gd name="connsiteY312" fmla="*/ 1053977 h 1087290"/>
              <a:gd name="connsiteX313" fmla="*/ 505588 w 1897116"/>
              <a:gd name="connsiteY313" fmla="*/ 1054823 h 1087290"/>
              <a:gd name="connsiteX314" fmla="*/ 498490 w 1897116"/>
              <a:gd name="connsiteY314" fmla="*/ 1057142 h 1087290"/>
              <a:gd name="connsiteX315" fmla="*/ 494109 w 1897116"/>
              <a:gd name="connsiteY315" fmla="*/ 1056733 h 1087290"/>
              <a:gd name="connsiteX316" fmla="*/ 492795 w 1897116"/>
              <a:gd name="connsiteY316" fmla="*/ 1058179 h 1087290"/>
              <a:gd name="connsiteX317" fmla="*/ 484820 w 1897116"/>
              <a:gd name="connsiteY317" fmla="*/ 1060990 h 1087290"/>
              <a:gd name="connsiteX318" fmla="*/ 478511 w 1897116"/>
              <a:gd name="connsiteY318" fmla="*/ 1062464 h 1087290"/>
              <a:gd name="connsiteX319" fmla="*/ 472640 w 1897116"/>
              <a:gd name="connsiteY319" fmla="*/ 1064510 h 1087290"/>
              <a:gd name="connsiteX320" fmla="*/ 466418 w 1897116"/>
              <a:gd name="connsiteY320" fmla="*/ 1064292 h 1087290"/>
              <a:gd name="connsiteX321" fmla="*/ 460284 w 1897116"/>
              <a:gd name="connsiteY321" fmla="*/ 1066639 h 1087290"/>
              <a:gd name="connsiteX322" fmla="*/ 453011 w 1897116"/>
              <a:gd name="connsiteY322" fmla="*/ 1069041 h 1087290"/>
              <a:gd name="connsiteX323" fmla="*/ 447841 w 1897116"/>
              <a:gd name="connsiteY323" fmla="*/ 1068658 h 1087290"/>
              <a:gd name="connsiteX324" fmla="*/ 441969 w 1897116"/>
              <a:gd name="connsiteY324" fmla="*/ 1069614 h 1087290"/>
              <a:gd name="connsiteX325" fmla="*/ 435660 w 1897116"/>
              <a:gd name="connsiteY325" fmla="*/ 1071906 h 1087290"/>
              <a:gd name="connsiteX326" fmla="*/ 429176 w 1897116"/>
              <a:gd name="connsiteY326" fmla="*/ 1074144 h 1087290"/>
              <a:gd name="connsiteX327" fmla="*/ 425495 w 1897116"/>
              <a:gd name="connsiteY327" fmla="*/ 1074580 h 1087290"/>
              <a:gd name="connsiteX328" fmla="*/ 416557 w 1897116"/>
              <a:gd name="connsiteY328" fmla="*/ 1076027 h 1087290"/>
              <a:gd name="connsiteX329" fmla="*/ 408758 w 1897116"/>
              <a:gd name="connsiteY329" fmla="*/ 1074799 h 1087290"/>
              <a:gd name="connsiteX330" fmla="*/ 406655 w 1897116"/>
              <a:gd name="connsiteY330" fmla="*/ 1073270 h 1087290"/>
              <a:gd name="connsiteX331" fmla="*/ 401748 w 1897116"/>
              <a:gd name="connsiteY331" fmla="*/ 1067785 h 1087290"/>
              <a:gd name="connsiteX332" fmla="*/ 397191 w 1897116"/>
              <a:gd name="connsiteY332" fmla="*/ 1064865 h 1087290"/>
              <a:gd name="connsiteX333" fmla="*/ 391583 w 1897116"/>
              <a:gd name="connsiteY333" fmla="*/ 1062737 h 1087290"/>
              <a:gd name="connsiteX334" fmla="*/ 381768 w 1897116"/>
              <a:gd name="connsiteY334" fmla="*/ 1062491 h 1087290"/>
              <a:gd name="connsiteX335" fmla="*/ 374407 w 1897116"/>
              <a:gd name="connsiteY335" fmla="*/ 1065056 h 1087290"/>
              <a:gd name="connsiteX336" fmla="*/ 371340 w 1897116"/>
              <a:gd name="connsiteY336" fmla="*/ 1066421 h 1087290"/>
              <a:gd name="connsiteX337" fmla="*/ 369500 w 1897116"/>
              <a:gd name="connsiteY337" fmla="*/ 1064947 h 1087290"/>
              <a:gd name="connsiteX338" fmla="*/ 364680 w 1897116"/>
              <a:gd name="connsiteY338" fmla="*/ 1061891 h 1087290"/>
              <a:gd name="connsiteX339" fmla="*/ 363015 w 1897116"/>
              <a:gd name="connsiteY339" fmla="*/ 1060526 h 1087290"/>
              <a:gd name="connsiteX340" fmla="*/ 359598 w 1897116"/>
              <a:gd name="connsiteY340" fmla="*/ 1062300 h 1087290"/>
              <a:gd name="connsiteX341" fmla="*/ 355742 w 1897116"/>
              <a:gd name="connsiteY341" fmla="*/ 1064620 h 1087290"/>
              <a:gd name="connsiteX342" fmla="*/ 349520 w 1897116"/>
              <a:gd name="connsiteY342" fmla="*/ 1067567 h 1087290"/>
              <a:gd name="connsiteX343" fmla="*/ 347330 w 1897116"/>
              <a:gd name="connsiteY343" fmla="*/ 1071142 h 1087290"/>
              <a:gd name="connsiteX344" fmla="*/ 341020 w 1897116"/>
              <a:gd name="connsiteY344" fmla="*/ 1073216 h 1087290"/>
              <a:gd name="connsiteX345" fmla="*/ 335587 w 1897116"/>
              <a:gd name="connsiteY345" fmla="*/ 1071224 h 1087290"/>
              <a:gd name="connsiteX346" fmla="*/ 330943 w 1897116"/>
              <a:gd name="connsiteY346" fmla="*/ 1067212 h 1087290"/>
              <a:gd name="connsiteX347" fmla="*/ 325948 w 1897116"/>
              <a:gd name="connsiteY347" fmla="*/ 1062327 h 1087290"/>
              <a:gd name="connsiteX348" fmla="*/ 321041 w 1897116"/>
              <a:gd name="connsiteY348" fmla="*/ 1057442 h 1087290"/>
              <a:gd name="connsiteX349" fmla="*/ 318237 w 1897116"/>
              <a:gd name="connsiteY349" fmla="*/ 1063419 h 1087290"/>
              <a:gd name="connsiteX350" fmla="*/ 315345 w 1897116"/>
              <a:gd name="connsiteY350" fmla="*/ 1069450 h 1087290"/>
              <a:gd name="connsiteX351" fmla="*/ 313417 w 1897116"/>
              <a:gd name="connsiteY351" fmla="*/ 1071497 h 1087290"/>
              <a:gd name="connsiteX352" fmla="*/ 310613 w 1897116"/>
              <a:gd name="connsiteY352" fmla="*/ 1069777 h 1087290"/>
              <a:gd name="connsiteX353" fmla="*/ 305793 w 1897116"/>
              <a:gd name="connsiteY353" fmla="*/ 1066312 h 1087290"/>
              <a:gd name="connsiteX354" fmla="*/ 304829 w 1897116"/>
              <a:gd name="connsiteY354" fmla="*/ 1062464 h 1087290"/>
              <a:gd name="connsiteX355" fmla="*/ 297118 w 1897116"/>
              <a:gd name="connsiteY355" fmla="*/ 1068331 h 1087290"/>
              <a:gd name="connsiteX356" fmla="*/ 290195 w 1897116"/>
              <a:gd name="connsiteY356" fmla="*/ 1073789 h 1087290"/>
              <a:gd name="connsiteX357" fmla="*/ 293525 w 1897116"/>
              <a:gd name="connsiteY357" fmla="*/ 1076818 h 1087290"/>
              <a:gd name="connsiteX358" fmla="*/ 286164 w 1897116"/>
              <a:gd name="connsiteY358" fmla="*/ 1077282 h 1087290"/>
              <a:gd name="connsiteX359" fmla="*/ 282221 w 1897116"/>
              <a:gd name="connsiteY359" fmla="*/ 1080748 h 1087290"/>
              <a:gd name="connsiteX360" fmla="*/ 280731 w 1897116"/>
              <a:gd name="connsiteY360" fmla="*/ 1084459 h 1087290"/>
              <a:gd name="connsiteX361" fmla="*/ 274773 w 1897116"/>
              <a:gd name="connsiteY361" fmla="*/ 1084486 h 1087290"/>
              <a:gd name="connsiteX362" fmla="*/ 273458 w 1897116"/>
              <a:gd name="connsiteY362" fmla="*/ 1081348 h 1087290"/>
              <a:gd name="connsiteX363" fmla="*/ 271618 w 1897116"/>
              <a:gd name="connsiteY363" fmla="*/ 1073762 h 1087290"/>
              <a:gd name="connsiteX364" fmla="*/ 270391 w 1897116"/>
              <a:gd name="connsiteY364" fmla="*/ 1065356 h 1087290"/>
              <a:gd name="connsiteX365" fmla="*/ 265046 w 1897116"/>
              <a:gd name="connsiteY365" fmla="*/ 1068195 h 1087290"/>
              <a:gd name="connsiteX366" fmla="*/ 260664 w 1897116"/>
              <a:gd name="connsiteY366" fmla="*/ 1067103 h 1087290"/>
              <a:gd name="connsiteX367" fmla="*/ 255056 w 1897116"/>
              <a:gd name="connsiteY367" fmla="*/ 1068113 h 1087290"/>
              <a:gd name="connsiteX368" fmla="*/ 249097 w 1897116"/>
              <a:gd name="connsiteY368" fmla="*/ 1069477 h 1087290"/>
              <a:gd name="connsiteX369" fmla="*/ 243401 w 1897116"/>
              <a:gd name="connsiteY369" fmla="*/ 1071524 h 1087290"/>
              <a:gd name="connsiteX370" fmla="*/ 238406 w 1897116"/>
              <a:gd name="connsiteY370" fmla="*/ 1072970 h 1087290"/>
              <a:gd name="connsiteX371" fmla="*/ 231834 w 1897116"/>
              <a:gd name="connsiteY371" fmla="*/ 1074962 h 1087290"/>
              <a:gd name="connsiteX372" fmla="*/ 225262 w 1897116"/>
              <a:gd name="connsiteY372" fmla="*/ 1076763 h 1087290"/>
              <a:gd name="connsiteX373" fmla="*/ 218252 w 1897116"/>
              <a:gd name="connsiteY373" fmla="*/ 1076818 h 1087290"/>
              <a:gd name="connsiteX374" fmla="*/ 210803 w 1897116"/>
              <a:gd name="connsiteY374" fmla="*/ 1078974 h 1087290"/>
              <a:gd name="connsiteX375" fmla="*/ 207210 w 1897116"/>
              <a:gd name="connsiteY375" fmla="*/ 1076709 h 1087290"/>
              <a:gd name="connsiteX376" fmla="*/ 202478 w 1897116"/>
              <a:gd name="connsiteY376" fmla="*/ 1080175 h 1087290"/>
              <a:gd name="connsiteX377" fmla="*/ 192927 w 1897116"/>
              <a:gd name="connsiteY377" fmla="*/ 1079465 h 1087290"/>
              <a:gd name="connsiteX378" fmla="*/ 191787 w 1897116"/>
              <a:gd name="connsiteY378" fmla="*/ 1080529 h 1087290"/>
              <a:gd name="connsiteX379" fmla="*/ 188195 w 1897116"/>
              <a:gd name="connsiteY379" fmla="*/ 1077337 h 1087290"/>
              <a:gd name="connsiteX380" fmla="*/ 185653 w 1897116"/>
              <a:gd name="connsiteY380" fmla="*/ 1073107 h 1087290"/>
              <a:gd name="connsiteX381" fmla="*/ 184689 w 1897116"/>
              <a:gd name="connsiteY381" fmla="*/ 1073734 h 1087290"/>
              <a:gd name="connsiteX382" fmla="*/ 179432 w 1897116"/>
              <a:gd name="connsiteY382" fmla="*/ 1070814 h 1087290"/>
              <a:gd name="connsiteX383" fmla="*/ 173648 w 1897116"/>
              <a:gd name="connsiteY383" fmla="*/ 1069068 h 1087290"/>
              <a:gd name="connsiteX384" fmla="*/ 168741 w 1897116"/>
              <a:gd name="connsiteY384" fmla="*/ 1067239 h 1087290"/>
              <a:gd name="connsiteX385" fmla="*/ 167251 w 1897116"/>
              <a:gd name="connsiteY385" fmla="*/ 1068549 h 1087290"/>
              <a:gd name="connsiteX386" fmla="*/ 162607 w 1897116"/>
              <a:gd name="connsiteY386" fmla="*/ 1067267 h 1087290"/>
              <a:gd name="connsiteX387" fmla="*/ 155421 w 1897116"/>
              <a:gd name="connsiteY387" fmla="*/ 1068549 h 1087290"/>
              <a:gd name="connsiteX388" fmla="*/ 153756 w 1897116"/>
              <a:gd name="connsiteY388" fmla="*/ 1069095 h 1087290"/>
              <a:gd name="connsiteX389" fmla="*/ 146483 w 1897116"/>
              <a:gd name="connsiteY389" fmla="*/ 1068631 h 1087290"/>
              <a:gd name="connsiteX390" fmla="*/ 137983 w 1897116"/>
              <a:gd name="connsiteY390" fmla="*/ 1067540 h 1087290"/>
              <a:gd name="connsiteX391" fmla="*/ 135967 w 1897116"/>
              <a:gd name="connsiteY391" fmla="*/ 1065711 h 1087290"/>
              <a:gd name="connsiteX392" fmla="*/ 130710 w 1897116"/>
              <a:gd name="connsiteY392" fmla="*/ 1061208 h 1087290"/>
              <a:gd name="connsiteX393" fmla="*/ 123962 w 1897116"/>
              <a:gd name="connsiteY393" fmla="*/ 1057470 h 1087290"/>
              <a:gd name="connsiteX394" fmla="*/ 115375 w 1897116"/>
              <a:gd name="connsiteY394" fmla="*/ 1056051 h 1087290"/>
              <a:gd name="connsiteX395" fmla="*/ 110555 w 1897116"/>
              <a:gd name="connsiteY395" fmla="*/ 1058043 h 1087290"/>
              <a:gd name="connsiteX396" fmla="*/ 110555 w 1897116"/>
              <a:gd name="connsiteY396" fmla="*/ 1057743 h 1087290"/>
              <a:gd name="connsiteX397" fmla="*/ 105998 w 1897116"/>
              <a:gd name="connsiteY397" fmla="*/ 1056269 h 1087290"/>
              <a:gd name="connsiteX398" fmla="*/ 107225 w 1897116"/>
              <a:gd name="connsiteY398" fmla="*/ 1053676 h 1087290"/>
              <a:gd name="connsiteX399" fmla="*/ 106962 w 1897116"/>
              <a:gd name="connsiteY399" fmla="*/ 1048792 h 1087290"/>
              <a:gd name="connsiteX400" fmla="*/ 106962 w 1897116"/>
              <a:gd name="connsiteY400" fmla="*/ 1045299 h 1087290"/>
              <a:gd name="connsiteX401" fmla="*/ 107926 w 1897116"/>
              <a:gd name="connsiteY401" fmla="*/ 1044807 h 1087290"/>
              <a:gd name="connsiteX402" fmla="*/ 106875 w 1897116"/>
              <a:gd name="connsiteY402" fmla="*/ 1044726 h 1087290"/>
              <a:gd name="connsiteX403" fmla="*/ 106962 w 1897116"/>
              <a:gd name="connsiteY403" fmla="*/ 1045299 h 1087290"/>
              <a:gd name="connsiteX404" fmla="*/ 102230 w 1897116"/>
              <a:gd name="connsiteY404" fmla="*/ 1044944 h 1087290"/>
              <a:gd name="connsiteX405" fmla="*/ 96622 w 1897116"/>
              <a:gd name="connsiteY405" fmla="*/ 1045053 h 1087290"/>
              <a:gd name="connsiteX406" fmla="*/ 92065 w 1897116"/>
              <a:gd name="connsiteY406" fmla="*/ 1045708 h 1087290"/>
              <a:gd name="connsiteX407" fmla="*/ 85405 w 1897116"/>
              <a:gd name="connsiteY407" fmla="*/ 1047263 h 1087290"/>
              <a:gd name="connsiteX408" fmla="*/ 84880 w 1897116"/>
              <a:gd name="connsiteY408" fmla="*/ 1043907 h 1087290"/>
              <a:gd name="connsiteX409" fmla="*/ 80060 w 1897116"/>
              <a:gd name="connsiteY409" fmla="*/ 1048710 h 1087290"/>
              <a:gd name="connsiteX410" fmla="*/ 74802 w 1897116"/>
              <a:gd name="connsiteY410" fmla="*/ 1051821 h 1087290"/>
              <a:gd name="connsiteX411" fmla="*/ 68493 w 1897116"/>
              <a:gd name="connsiteY411" fmla="*/ 1051657 h 1087290"/>
              <a:gd name="connsiteX412" fmla="*/ 66127 w 1897116"/>
              <a:gd name="connsiteY412" fmla="*/ 1054959 h 1087290"/>
              <a:gd name="connsiteX413" fmla="*/ 62271 w 1897116"/>
              <a:gd name="connsiteY413" fmla="*/ 1057033 h 1087290"/>
              <a:gd name="connsiteX414" fmla="*/ 61658 w 1897116"/>
              <a:gd name="connsiteY414" fmla="*/ 1056569 h 1087290"/>
              <a:gd name="connsiteX415" fmla="*/ 56488 w 1897116"/>
              <a:gd name="connsiteY415" fmla="*/ 1053022 h 1087290"/>
              <a:gd name="connsiteX416" fmla="*/ 53421 w 1897116"/>
              <a:gd name="connsiteY416" fmla="*/ 1047809 h 1087290"/>
              <a:gd name="connsiteX417" fmla="*/ 50091 w 1897116"/>
              <a:gd name="connsiteY417" fmla="*/ 1044043 h 1087290"/>
              <a:gd name="connsiteX418" fmla="*/ 45972 w 1897116"/>
              <a:gd name="connsiteY418" fmla="*/ 1047973 h 1087290"/>
              <a:gd name="connsiteX419" fmla="*/ 41941 w 1897116"/>
              <a:gd name="connsiteY419" fmla="*/ 1051848 h 1087290"/>
              <a:gd name="connsiteX420" fmla="*/ 39312 w 1897116"/>
              <a:gd name="connsiteY420" fmla="*/ 1053158 h 1087290"/>
              <a:gd name="connsiteX421" fmla="*/ 38699 w 1897116"/>
              <a:gd name="connsiteY421" fmla="*/ 1046554 h 1087290"/>
              <a:gd name="connsiteX422" fmla="*/ 39312 w 1897116"/>
              <a:gd name="connsiteY422" fmla="*/ 1038667 h 1087290"/>
              <a:gd name="connsiteX423" fmla="*/ 39049 w 1897116"/>
              <a:gd name="connsiteY423" fmla="*/ 1038476 h 1087290"/>
              <a:gd name="connsiteX424" fmla="*/ 37823 w 1897116"/>
              <a:gd name="connsiteY424" fmla="*/ 1039486 h 1087290"/>
              <a:gd name="connsiteX425" fmla="*/ 34054 w 1897116"/>
              <a:gd name="connsiteY425" fmla="*/ 1039131 h 1087290"/>
              <a:gd name="connsiteX426" fmla="*/ 31250 w 1897116"/>
              <a:gd name="connsiteY426" fmla="*/ 1044180 h 1087290"/>
              <a:gd name="connsiteX427" fmla="*/ 23188 w 1897116"/>
              <a:gd name="connsiteY427" fmla="*/ 1049692 h 1087290"/>
              <a:gd name="connsiteX428" fmla="*/ 17580 w 1897116"/>
              <a:gd name="connsiteY428" fmla="*/ 1052012 h 1087290"/>
              <a:gd name="connsiteX429" fmla="*/ 13724 w 1897116"/>
              <a:gd name="connsiteY429" fmla="*/ 1056651 h 1087290"/>
              <a:gd name="connsiteX430" fmla="*/ 15302 w 1897116"/>
              <a:gd name="connsiteY430" fmla="*/ 1057743 h 1087290"/>
              <a:gd name="connsiteX431" fmla="*/ 8642 w 1897116"/>
              <a:gd name="connsiteY431" fmla="*/ 1060499 h 1087290"/>
              <a:gd name="connsiteX432" fmla="*/ 5137 w 1897116"/>
              <a:gd name="connsiteY432" fmla="*/ 1062000 h 1087290"/>
              <a:gd name="connsiteX433" fmla="*/ 3559 w 1897116"/>
              <a:gd name="connsiteY433" fmla="*/ 1055505 h 1087290"/>
              <a:gd name="connsiteX434" fmla="*/ 4786 w 1897116"/>
              <a:gd name="connsiteY434" fmla="*/ 1049528 h 1087290"/>
              <a:gd name="connsiteX435" fmla="*/ 54 w 1897116"/>
              <a:gd name="connsiteY435" fmla="*/ 1045954 h 1087290"/>
              <a:gd name="connsiteX436" fmla="*/ 54 w 1897116"/>
              <a:gd name="connsiteY436" fmla="*/ 499589 h 1087290"/>
              <a:gd name="connsiteX437" fmla="*/ 1023 w 1897116"/>
              <a:gd name="connsiteY437" fmla="*/ 499589 h 1087290"/>
              <a:gd name="connsiteX438" fmla="*/ 1023 w 1897116"/>
              <a:gd name="connsiteY438" fmla="*/ 139188 h 1087290"/>
              <a:gd name="connsiteX439" fmla="*/ 1023 w 1897116"/>
              <a:gd name="connsiteY439" fmla="*/ 125528 h 1087290"/>
              <a:gd name="connsiteX440" fmla="*/ 1023 w 1897116"/>
              <a:gd name="connsiteY440" fmla="*/ 115418 h 1087290"/>
              <a:gd name="connsiteX441" fmla="*/ 1023 w 1897116"/>
              <a:gd name="connsiteY441" fmla="*/ 109084 h 1087290"/>
              <a:gd name="connsiteX442" fmla="*/ 1023 w 1897116"/>
              <a:gd name="connsiteY442" fmla="*/ 106908 h 1087290"/>
              <a:gd name="connsiteX443" fmla="*/ 5162 w 1897116"/>
              <a:gd name="connsiteY443" fmla="*/ 103773 h 1087290"/>
              <a:gd name="connsiteX444" fmla="*/ 9918 w 1897116"/>
              <a:gd name="connsiteY444" fmla="*/ 99486 h 1087290"/>
              <a:gd name="connsiteX445" fmla="*/ 13353 w 1897116"/>
              <a:gd name="connsiteY445" fmla="*/ 94911 h 1087290"/>
              <a:gd name="connsiteX446" fmla="*/ 18021 w 1897116"/>
              <a:gd name="connsiteY446" fmla="*/ 91520 h 1087290"/>
              <a:gd name="connsiteX447" fmla="*/ 18637 w 1897116"/>
              <a:gd name="connsiteY447" fmla="*/ 94496 h 1087290"/>
              <a:gd name="connsiteX448" fmla="*/ 20487 w 1897116"/>
              <a:gd name="connsiteY448" fmla="*/ 106204 h 1087290"/>
              <a:gd name="connsiteX449" fmla="*/ 22777 w 1897116"/>
              <a:gd name="connsiteY449" fmla="*/ 114906 h 1087290"/>
              <a:gd name="connsiteX450" fmla="*/ 22777 w 1897116"/>
              <a:gd name="connsiteY450" fmla="*/ 120889 h 1087290"/>
              <a:gd name="connsiteX451" fmla="*/ 24098 w 1897116"/>
              <a:gd name="connsiteY451" fmla="*/ 114906 h 1087290"/>
              <a:gd name="connsiteX452" fmla="*/ 25419 w 1897116"/>
              <a:gd name="connsiteY452" fmla="*/ 108604 h 1087290"/>
              <a:gd name="connsiteX453" fmla="*/ 27092 w 1897116"/>
              <a:gd name="connsiteY453" fmla="*/ 101054 h 1087290"/>
              <a:gd name="connsiteX454" fmla="*/ 29470 w 1897116"/>
              <a:gd name="connsiteY454" fmla="*/ 92096 h 1087290"/>
              <a:gd name="connsiteX455" fmla="*/ 30439 w 1897116"/>
              <a:gd name="connsiteY455" fmla="*/ 85730 h 1087290"/>
              <a:gd name="connsiteX456" fmla="*/ 32200 w 1897116"/>
              <a:gd name="connsiteY456" fmla="*/ 77380 h 1087290"/>
              <a:gd name="connsiteX457" fmla="*/ 32993 w 1897116"/>
              <a:gd name="connsiteY457" fmla="*/ 73381 h 1087290"/>
              <a:gd name="connsiteX458" fmla="*/ 32817 w 1897116"/>
              <a:gd name="connsiteY458" fmla="*/ 66503 h 1087290"/>
              <a:gd name="connsiteX459" fmla="*/ 34314 w 1897116"/>
              <a:gd name="connsiteY459" fmla="*/ 62376 h 1087290"/>
              <a:gd name="connsiteX460" fmla="*/ 40016 w 1897116"/>
              <a:gd name="connsiteY460" fmla="*/ 62421 h 1087290"/>
              <a:gd name="connsiteX461" fmla="*/ 40853 w 1897116"/>
              <a:gd name="connsiteY461" fmla="*/ 63343 h 1087290"/>
              <a:gd name="connsiteX462" fmla="*/ 40904 w 1897116"/>
              <a:gd name="connsiteY462" fmla="*/ 62538 h 1087290"/>
              <a:gd name="connsiteX463" fmla="*/ 46820 w 1897116"/>
              <a:gd name="connsiteY463" fmla="*/ 65159 h 1087290"/>
              <a:gd name="connsiteX464" fmla="*/ 53602 w 1897116"/>
              <a:gd name="connsiteY464" fmla="*/ 70086 h 1087290"/>
              <a:gd name="connsiteX465" fmla="*/ 58534 w 1897116"/>
              <a:gd name="connsiteY465" fmla="*/ 64327 h 1087290"/>
              <a:gd name="connsiteX466" fmla="*/ 63378 w 1897116"/>
              <a:gd name="connsiteY466" fmla="*/ 58601 h 1087290"/>
              <a:gd name="connsiteX467" fmla="*/ 67781 w 1897116"/>
              <a:gd name="connsiteY467" fmla="*/ 53610 h 1087290"/>
              <a:gd name="connsiteX468" fmla="*/ 71921 w 1897116"/>
              <a:gd name="connsiteY468" fmla="*/ 48555 h 1087290"/>
              <a:gd name="connsiteX469" fmla="*/ 77645 w 1897116"/>
              <a:gd name="connsiteY469" fmla="*/ 45036 h 1087290"/>
              <a:gd name="connsiteX470" fmla="*/ 83282 w 1897116"/>
              <a:gd name="connsiteY470" fmla="*/ 43309 h 1087290"/>
              <a:gd name="connsiteX471" fmla="*/ 83513 w 1897116"/>
              <a:gd name="connsiteY471" fmla="*/ 44920 h 1087290"/>
              <a:gd name="connsiteX472" fmla="*/ 86620 w 1897116"/>
              <a:gd name="connsiteY472" fmla="*/ 45681 h 1087290"/>
              <a:gd name="connsiteX473" fmla="*/ 85847 w 1897116"/>
              <a:gd name="connsiteY473" fmla="*/ 46124 h 1087290"/>
              <a:gd name="connsiteX474" fmla="*/ 88038 w 1897116"/>
              <a:gd name="connsiteY474" fmla="*/ 46028 h 1087290"/>
              <a:gd name="connsiteX475" fmla="*/ 86620 w 1897116"/>
              <a:gd name="connsiteY475" fmla="*/ 45681 h 1087290"/>
              <a:gd name="connsiteX476" fmla="*/ 92706 w 1897116"/>
              <a:gd name="connsiteY476" fmla="*/ 42189 h 1087290"/>
              <a:gd name="connsiteX477" fmla="*/ 96581 w 1897116"/>
              <a:gd name="connsiteY477" fmla="*/ 46444 h 1087290"/>
              <a:gd name="connsiteX478" fmla="*/ 95876 w 1897116"/>
              <a:gd name="connsiteY478" fmla="*/ 51499 h 1087290"/>
              <a:gd name="connsiteX479" fmla="*/ 100192 w 1897116"/>
              <a:gd name="connsiteY479" fmla="*/ 54250 h 1087290"/>
              <a:gd name="connsiteX480" fmla="*/ 106621 w 1897116"/>
              <a:gd name="connsiteY480" fmla="*/ 50347 h 1087290"/>
              <a:gd name="connsiteX481" fmla="*/ 108206 w 1897116"/>
              <a:gd name="connsiteY481" fmla="*/ 51243 h 1087290"/>
              <a:gd name="connsiteX482" fmla="*/ 115076 w 1897116"/>
              <a:gd name="connsiteY482" fmla="*/ 47851 h 1087290"/>
              <a:gd name="connsiteX483" fmla="*/ 117215 w 1897116"/>
              <a:gd name="connsiteY483" fmla="*/ 43761 h 1087290"/>
              <a:gd name="connsiteX484" fmla="*/ 119950 w 1897116"/>
              <a:gd name="connsiteY484" fmla="*/ 43716 h 1087290"/>
              <a:gd name="connsiteX485" fmla="*/ 121065 w 1897116"/>
              <a:gd name="connsiteY485" fmla="*/ 43916 h 1087290"/>
              <a:gd name="connsiteX486" fmla="*/ 120926 w 1897116"/>
              <a:gd name="connsiteY486" fmla="*/ 43701 h 1087290"/>
              <a:gd name="connsiteX487" fmla="*/ 121417 w 1897116"/>
              <a:gd name="connsiteY487" fmla="*/ 43693 h 1087290"/>
              <a:gd name="connsiteX488" fmla="*/ 126184 w 1897116"/>
              <a:gd name="connsiteY488" fmla="*/ 49407 h 1087290"/>
              <a:gd name="connsiteX489" fmla="*/ 120031 w 1897116"/>
              <a:gd name="connsiteY489" fmla="*/ 50714 h 1087290"/>
              <a:gd name="connsiteX490" fmla="*/ 119655 w 1897116"/>
              <a:gd name="connsiteY490" fmla="*/ 50411 h 1087290"/>
              <a:gd name="connsiteX491" fmla="*/ 118599 w 1897116"/>
              <a:gd name="connsiteY491" fmla="*/ 51019 h 1087290"/>
              <a:gd name="connsiteX492" fmla="*/ 120031 w 1897116"/>
              <a:gd name="connsiteY492" fmla="*/ 50714 h 1087290"/>
              <a:gd name="connsiteX493" fmla="*/ 120679 w 1897116"/>
              <a:gd name="connsiteY493" fmla="*/ 51239 h 1087290"/>
              <a:gd name="connsiteX494" fmla="*/ 127053 w 1897116"/>
              <a:gd name="connsiteY494" fmla="*/ 54442 h 1087290"/>
              <a:gd name="connsiteX495" fmla="*/ 135596 w 1897116"/>
              <a:gd name="connsiteY495" fmla="*/ 57865 h 1087290"/>
              <a:gd name="connsiteX496" fmla="*/ 137600 w 1897116"/>
              <a:gd name="connsiteY496" fmla="*/ 55186 h 1087290"/>
              <a:gd name="connsiteX497" fmla="*/ 138681 w 1897116"/>
              <a:gd name="connsiteY497" fmla="*/ 53721 h 1087290"/>
              <a:gd name="connsiteX498" fmla="*/ 139189 w 1897116"/>
              <a:gd name="connsiteY498" fmla="*/ 54503 h 1087290"/>
              <a:gd name="connsiteX499" fmla="*/ 139736 w 1897116"/>
              <a:gd name="connsiteY499" fmla="*/ 52266 h 1087290"/>
              <a:gd name="connsiteX500" fmla="*/ 137611 w 1897116"/>
              <a:gd name="connsiteY500" fmla="*/ 51817 h 1087290"/>
              <a:gd name="connsiteX501" fmla="*/ 138855 w 1897116"/>
              <a:gd name="connsiteY501" fmla="*/ 48875 h 1087290"/>
              <a:gd name="connsiteX502" fmla="*/ 146165 w 1897116"/>
              <a:gd name="connsiteY502" fmla="*/ 53354 h 1087290"/>
              <a:gd name="connsiteX503" fmla="*/ 151537 w 1897116"/>
              <a:gd name="connsiteY503" fmla="*/ 53034 h 1087290"/>
              <a:gd name="connsiteX504" fmla="*/ 158034 w 1897116"/>
              <a:gd name="connsiteY504" fmla="*/ 51672 h 1087290"/>
              <a:gd name="connsiteX505" fmla="*/ 159497 w 1897116"/>
              <a:gd name="connsiteY505" fmla="*/ 51308 h 1087290"/>
              <a:gd name="connsiteX506" fmla="*/ 160047 w 1897116"/>
              <a:gd name="connsiteY506" fmla="*/ 52862 h 1087290"/>
              <a:gd name="connsiteX507" fmla="*/ 164484 w 1897116"/>
              <a:gd name="connsiteY507" fmla="*/ 50059 h 1087290"/>
              <a:gd name="connsiteX508" fmla="*/ 165188 w 1897116"/>
              <a:gd name="connsiteY508" fmla="*/ 44940 h 1087290"/>
              <a:gd name="connsiteX509" fmla="*/ 169328 w 1897116"/>
              <a:gd name="connsiteY509" fmla="*/ 37646 h 1087290"/>
              <a:gd name="connsiteX510" fmla="*/ 174876 w 1897116"/>
              <a:gd name="connsiteY510" fmla="*/ 38670 h 1087290"/>
              <a:gd name="connsiteX511" fmla="*/ 174524 w 1897116"/>
              <a:gd name="connsiteY511" fmla="*/ 36622 h 1087290"/>
              <a:gd name="connsiteX512" fmla="*/ 180249 w 1897116"/>
              <a:gd name="connsiteY512" fmla="*/ 38542 h 1087290"/>
              <a:gd name="connsiteX513" fmla="*/ 185973 w 1897116"/>
              <a:gd name="connsiteY513" fmla="*/ 33871 h 1087290"/>
              <a:gd name="connsiteX514" fmla="*/ 188615 w 1897116"/>
              <a:gd name="connsiteY514" fmla="*/ 35535 h 1087290"/>
              <a:gd name="connsiteX515" fmla="*/ 192050 w 1897116"/>
              <a:gd name="connsiteY515" fmla="*/ 36558 h 1087290"/>
              <a:gd name="connsiteX516" fmla="*/ 195133 w 1897116"/>
              <a:gd name="connsiteY516" fmla="*/ 29360 h 1087290"/>
              <a:gd name="connsiteX517" fmla="*/ 196190 w 1897116"/>
              <a:gd name="connsiteY517" fmla="*/ 27857 h 1087290"/>
              <a:gd name="connsiteX518" fmla="*/ 203764 w 1897116"/>
              <a:gd name="connsiteY518" fmla="*/ 26513 h 1087290"/>
              <a:gd name="connsiteX519" fmla="*/ 204733 w 1897116"/>
              <a:gd name="connsiteY519" fmla="*/ 28784 h 1087290"/>
              <a:gd name="connsiteX520" fmla="*/ 207199 w 1897116"/>
              <a:gd name="connsiteY520" fmla="*/ 32591 h 1087290"/>
              <a:gd name="connsiteX521" fmla="*/ 213540 w 1897116"/>
              <a:gd name="connsiteY521" fmla="*/ 29968 h 1087290"/>
              <a:gd name="connsiteX522" fmla="*/ 219617 w 1897116"/>
              <a:gd name="connsiteY522" fmla="*/ 29648 h 1087290"/>
              <a:gd name="connsiteX523" fmla="*/ 224725 w 1897116"/>
              <a:gd name="connsiteY523" fmla="*/ 31408 h 1087290"/>
              <a:gd name="connsiteX524" fmla="*/ 226222 w 1897116"/>
              <a:gd name="connsiteY524" fmla="*/ 25553 h 1087290"/>
              <a:gd name="connsiteX525" fmla="*/ 236086 w 1897116"/>
              <a:gd name="connsiteY525" fmla="*/ 32495 h 1087290"/>
              <a:gd name="connsiteX526" fmla="*/ 241458 w 1897116"/>
              <a:gd name="connsiteY526" fmla="*/ 43149 h 1087290"/>
              <a:gd name="connsiteX527" fmla="*/ 242780 w 1897116"/>
              <a:gd name="connsiteY527" fmla="*/ 36430 h 1087290"/>
              <a:gd name="connsiteX528" fmla="*/ 248680 w 1897116"/>
              <a:gd name="connsiteY528" fmla="*/ 38574 h 1087290"/>
              <a:gd name="connsiteX529" fmla="*/ 258720 w 1897116"/>
              <a:gd name="connsiteY529" fmla="*/ 38926 h 1087290"/>
              <a:gd name="connsiteX530" fmla="*/ 264974 w 1897116"/>
              <a:gd name="connsiteY530" fmla="*/ 39854 h 1087290"/>
              <a:gd name="connsiteX531" fmla="*/ 266735 w 1897116"/>
              <a:gd name="connsiteY531" fmla="*/ 36654 h 1087290"/>
              <a:gd name="connsiteX532" fmla="*/ 275366 w 1897116"/>
              <a:gd name="connsiteY532" fmla="*/ 35119 h 1087290"/>
              <a:gd name="connsiteX533" fmla="*/ 279946 w 1897116"/>
              <a:gd name="connsiteY533" fmla="*/ 33775 h 1087290"/>
              <a:gd name="connsiteX534" fmla="*/ 278360 w 1897116"/>
              <a:gd name="connsiteY534" fmla="*/ 38094 h 1087290"/>
              <a:gd name="connsiteX535" fmla="*/ 283909 w 1897116"/>
              <a:gd name="connsiteY535" fmla="*/ 43597 h 1087290"/>
              <a:gd name="connsiteX536" fmla="*/ 288489 w 1897116"/>
              <a:gd name="connsiteY536" fmla="*/ 43757 h 1087290"/>
              <a:gd name="connsiteX537" fmla="*/ 292892 w 1897116"/>
              <a:gd name="connsiteY537" fmla="*/ 47276 h 1087290"/>
              <a:gd name="connsiteX538" fmla="*/ 295534 w 1897116"/>
              <a:gd name="connsiteY538" fmla="*/ 46068 h 1087290"/>
              <a:gd name="connsiteX539" fmla="*/ 299692 w 1897116"/>
              <a:gd name="connsiteY539" fmla="*/ 49081 h 1087290"/>
              <a:gd name="connsiteX540" fmla="*/ 298364 w 1897116"/>
              <a:gd name="connsiteY540" fmla="*/ 53022 h 1087290"/>
              <a:gd name="connsiteX541" fmla="*/ 300026 w 1897116"/>
              <a:gd name="connsiteY541" fmla="*/ 49323 h 1087290"/>
              <a:gd name="connsiteX542" fmla="*/ 299692 w 1897116"/>
              <a:gd name="connsiteY542" fmla="*/ 49081 h 1087290"/>
              <a:gd name="connsiteX543" fmla="*/ 300731 w 1897116"/>
              <a:gd name="connsiteY543" fmla="*/ 45996 h 1087290"/>
              <a:gd name="connsiteX544" fmla="*/ 305222 w 1897116"/>
              <a:gd name="connsiteY544" fmla="*/ 47724 h 1087290"/>
              <a:gd name="connsiteX545" fmla="*/ 306367 w 1897116"/>
              <a:gd name="connsiteY545" fmla="*/ 42605 h 1087290"/>
              <a:gd name="connsiteX546" fmla="*/ 304410 w 1897116"/>
              <a:gd name="connsiteY546" fmla="*/ 40485 h 1087290"/>
              <a:gd name="connsiteX547" fmla="*/ 308217 w 1897116"/>
              <a:gd name="connsiteY547" fmla="*/ 41357 h 1087290"/>
              <a:gd name="connsiteX548" fmla="*/ 310902 w 1897116"/>
              <a:gd name="connsiteY548" fmla="*/ 41519 h 1087290"/>
              <a:gd name="connsiteX549" fmla="*/ 314734 w 1897116"/>
              <a:gd name="connsiteY549" fmla="*/ 43309 h 1087290"/>
              <a:gd name="connsiteX550" fmla="*/ 321780 w 1897116"/>
              <a:gd name="connsiteY550" fmla="*/ 48235 h 1087290"/>
              <a:gd name="connsiteX551" fmla="*/ 326183 w 1897116"/>
              <a:gd name="connsiteY551" fmla="*/ 46540 h 1087290"/>
              <a:gd name="connsiteX552" fmla="*/ 336928 w 1897116"/>
              <a:gd name="connsiteY552" fmla="*/ 45900 h 1087290"/>
              <a:gd name="connsiteX553" fmla="*/ 347144 w 1897116"/>
              <a:gd name="connsiteY553" fmla="*/ 37806 h 1087290"/>
              <a:gd name="connsiteX554" fmla="*/ 352341 w 1897116"/>
              <a:gd name="connsiteY554" fmla="*/ 27761 h 1087290"/>
              <a:gd name="connsiteX555" fmla="*/ 353668 w 1897116"/>
              <a:gd name="connsiteY555" fmla="*/ 26940 h 1087290"/>
              <a:gd name="connsiteX556" fmla="*/ 354873 w 1897116"/>
              <a:gd name="connsiteY556" fmla="*/ 29988 h 1087290"/>
              <a:gd name="connsiteX557" fmla="*/ 354014 w 1897116"/>
              <a:gd name="connsiteY557" fmla="*/ 28912 h 1087290"/>
              <a:gd name="connsiteX558" fmla="*/ 355951 w 1897116"/>
              <a:gd name="connsiteY558" fmla="*/ 36750 h 1087290"/>
              <a:gd name="connsiteX559" fmla="*/ 357273 w 1897116"/>
              <a:gd name="connsiteY559" fmla="*/ 44300 h 1087290"/>
              <a:gd name="connsiteX560" fmla="*/ 356942 w 1897116"/>
              <a:gd name="connsiteY560" fmla="*/ 47547 h 1087290"/>
              <a:gd name="connsiteX561" fmla="*/ 357383 w 1897116"/>
              <a:gd name="connsiteY561" fmla="*/ 49085 h 1087290"/>
              <a:gd name="connsiteX562" fmla="*/ 357096 w 1897116"/>
              <a:gd name="connsiteY562" fmla="*/ 49755 h 1087290"/>
              <a:gd name="connsiteX563" fmla="*/ 358474 w 1897116"/>
              <a:gd name="connsiteY563" fmla="*/ 57114 h 1087290"/>
              <a:gd name="connsiteX564" fmla="*/ 357900 w 1897116"/>
              <a:gd name="connsiteY564" fmla="*/ 57309 h 1087290"/>
              <a:gd name="connsiteX565" fmla="*/ 358770 w 1897116"/>
              <a:gd name="connsiteY565" fmla="*/ 58697 h 1087290"/>
              <a:gd name="connsiteX566" fmla="*/ 358474 w 1897116"/>
              <a:gd name="connsiteY566" fmla="*/ 57114 h 1087290"/>
              <a:gd name="connsiteX567" fmla="*/ 365023 w 1897116"/>
              <a:gd name="connsiteY567" fmla="*/ 54890 h 1087290"/>
              <a:gd name="connsiteX568" fmla="*/ 371188 w 1897116"/>
              <a:gd name="connsiteY568" fmla="*/ 51115 h 1087290"/>
              <a:gd name="connsiteX569" fmla="*/ 379467 w 1897116"/>
              <a:gd name="connsiteY569" fmla="*/ 47660 h 1087290"/>
              <a:gd name="connsiteX570" fmla="*/ 383518 w 1897116"/>
              <a:gd name="connsiteY570" fmla="*/ 45484 h 1087290"/>
              <a:gd name="connsiteX571" fmla="*/ 388978 w 1897116"/>
              <a:gd name="connsiteY571" fmla="*/ 42509 h 1087290"/>
              <a:gd name="connsiteX572" fmla="*/ 396817 w 1897116"/>
              <a:gd name="connsiteY572" fmla="*/ 45484 h 1087290"/>
              <a:gd name="connsiteX573" fmla="*/ 404391 w 1897116"/>
              <a:gd name="connsiteY573" fmla="*/ 47724 h 1087290"/>
              <a:gd name="connsiteX574" fmla="*/ 404215 w 1897116"/>
              <a:gd name="connsiteY574" fmla="*/ 48907 h 1087290"/>
              <a:gd name="connsiteX575" fmla="*/ 402277 w 1897116"/>
              <a:gd name="connsiteY575" fmla="*/ 51627 h 1087290"/>
              <a:gd name="connsiteX576" fmla="*/ 408883 w 1897116"/>
              <a:gd name="connsiteY576" fmla="*/ 55018 h 1087290"/>
              <a:gd name="connsiteX577" fmla="*/ 408618 w 1897116"/>
              <a:gd name="connsiteY577" fmla="*/ 56681 h 1087290"/>
              <a:gd name="connsiteX578" fmla="*/ 414079 w 1897116"/>
              <a:gd name="connsiteY578" fmla="*/ 62408 h 1087290"/>
              <a:gd name="connsiteX579" fmla="*/ 414519 w 1897116"/>
              <a:gd name="connsiteY579" fmla="*/ 59241 h 1087290"/>
              <a:gd name="connsiteX580" fmla="*/ 417866 w 1897116"/>
              <a:gd name="connsiteY580" fmla="*/ 66759 h 1087290"/>
              <a:gd name="connsiteX581" fmla="*/ 422710 w 1897116"/>
              <a:gd name="connsiteY581" fmla="*/ 70022 h 1087290"/>
              <a:gd name="connsiteX582" fmla="*/ 428611 w 1897116"/>
              <a:gd name="connsiteY582" fmla="*/ 68582 h 1087290"/>
              <a:gd name="connsiteX583" fmla="*/ 429932 w 1897116"/>
              <a:gd name="connsiteY583" fmla="*/ 74117 h 1087290"/>
              <a:gd name="connsiteX584" fmla="*/ 435832 w 1897116"/>
              <a:gd name="connsiteY584" fmla="*/ 74053 h 1087290"/>
              <a:gd name="connsiteX585" fmla="*/ 442526 w 1897116"/>
              <a:gd name="connsiteY585" fmla="*/ 72389 h 1087290"/>
              <a:gd name="connsiteX586" fmla="*/ 448603 w 1897116"/>
              <a:gd name="connsiteY586" fmla="*/ 71461 h 1087290"/>
              <a:gd name="connsiteX587" fmla="*/ 456001 w 1897116"/>
              <a:gd name="connsiteY587" fmla="*/ 67878 h 1087290"/>
              <a:gd name="connsiteX588" fmla="*/ 460316 w 1897116"/>
              <a:gd name="connsiteY588" fmla="*/ 66055 h 1087290"/>
              <a:gd name="connsiteX589" fmla="*/ 465160 w 1897116"/>
              <a:gd name="connsiteY589" fmla="*/ 63048 h 1087290"/>
              <a:gd name="connsiteX590" fmla="*/ 470709 w 1897116"/>
              <a:gd name="connsiteY590" fmla="*/ 61224 h 1087290"/>
              <a:gd name="connsiteX591" fmla="*/ 479252 w 1897116"/>
              <a:gd name="connsiteY591" fmla="*/ 60328 h 1087290"/>
              <a:gd name="connsiteX592" fmla="*/ 484448 w 1897116"/>
              <a:gd name="connsiteY592" fmla="*/ 64487 h 1087290"/>
              <a:gd name="connsiteX593" fmla="*/ 486209 w 1897116"/>
              <a:gd name="connsiteY593" fmla="*/ 64967 h 1087290"/>
              <a:gd name="connsiteX594" fmla="*/ 489556 w 1897116"/>
              <a:gd name="connsiteY594" fmla="*/ 73125 h 1087290"/>
              <a:gd name="connsiteX595" fmla="*/ 492374 w 1897116"/>
              <a:gd name="connsiteY595" fmla="*/ 79395 h 1087290"/>
              <a:gd name="connsiteX596" fmla="*/ 495193 w 1897116"/>
              <a:gd name="connsiteY596" fmla="*/ 85634 h 1087290"/>
              <a:gd name="connsiteX597" fmla="*/ 499860 w 1897116"/>
              <a:gd name="connsiteY597" fmla="*/ 80611 h 1087290"/>
              <a:gd name="connsiteX598" fmla="*/ 498539 w 1897116"/>
              <a:gd name="connsiteY598" fmla="*/ 72461 h 1087290"/>
              <a:gd name="connsiteX599" fmla="*/ 502864 w 1897116"/>
              <a:gd name="connsiteY599" fmla="*/ 74686 h 1087290"/>
              <a:gd name="connsiteX600" fmla="*/ 502591 w 1897116"/>
              <a:gd name="connsiteY600" fmla="*/ 74740 h 1087290"/>
              <a:gd name="connsiteX601" fmla="*/ 504616 w 1897116"/>
              <a:gd name="connsiteY601" fmla="*/ 75588 h 1087290"/>
              <a:gd name="connsiteX602" fmla="*/ 502864 w 1897116"/>
              <a:gd name="connsiteY602" fmla="*/ 74686 h 1087290"/>
              <a:gd name="connsiteX603" fmla="*/ 509284 w 1897116"/>
              <a:gd name="connsiteY603" fmla="*/ 73413 h 1087290"/>
              <a:gd name="connsiteX604" fmla="*/ 513688 w 1897116"/>
              <a:gd name="connsiteY604" fmla="*/ 73125 h 1087290"/>
              <a:gd name="connsiteX605" fmla="*/ 519060 w 1897116"/>
              <a:gd name="connsiteY605" fmla="*/ 76196 h 1087290"/>
              <a:gd name="connsiteX606" fmla="*/ 524168 w 1897116"/>
              <a:gd name="connsiteY606" fmla="*/ 80067 h 1087290"/>
              <a:gd name="connsiteX607" fmla="*/ 528308 w 1897116"/>
              <a:gd name="connsiteY607" fmla="*/ 79267 h 1087290"/>
              <a:gd name="connsiteX608" fmla="*/ 534880 w 1897116"/>
              <a:gd name="connsiteY608" fmla="*/ 78096 h 1087290"/>
              <a:gd name="connsiteX609" fmla="*/ 536126 w 1897116"/>
              <a:gd name="connsiteY609" fmla="*/ 80719 h 1087290"/>
              <a:gd name="connsiteX610" fmla="*/ 535949 w 1897116"/>
              <a:gd name="connsiteY610" fmla="*/ 80727 h 1087290"/>
              <a:gd name="connsiteX611" fmla="*/ 534913 w 1897116"/>
              <a:gd name="connsiteY611" fmla="*/ 79875 h 1087290"/>
              <a:gd name="connsiteX612" fmla="*/ 532766 w 1897116"/>
              <a:gd name="connsiteY612" fmla="*/ 80875 h 1087290"/>
              <a:gd name="connsiteX613" fmla="*/ 535949 w 1897116"/>
              <a:gd name="connsiteY613" fmla="*/ 80727 h 1087290"/>
              <a:gd name="connsiteX614" fmla="*/ 536247 w 1897116"/>
              <a:gd name="connsiteY614" fmla="*/ 80972 h 1087290"/>
              <a:gd name="connsiteX615" fmla="*/ 536126 w 1897116"/>
              <a:gd name="connsiteY615" fmla="*/ 80719 h 1087290"/>
              <a:gd name="connsiteX616" fmla="*/ 539140 w 1897116"/>
              <a:gd name="connsiteY616" fmla="*/ 80579 h 1087290"/>
              <a:gd name="connsiteX617" fmla="*/ 544777 w 1897116"/>
              <a:gd name="connsiteY617" fmla="*/ 79203 h 1087290"/>
              <a:gd name="connsiteX618" fmla="*/ 548588 w 1897116"/>
              <a:gd name="connsiteY618" fmla="*/ 77263 h 1087290"/>
              <a:gd name="connsiteX619" fmla="*/ 550747 w 1897116"/>
              <a:gd name="connsiteY619" fmla="*/ 77988 h 1087290"/>
              <a:gd name="connsiteX620" fmla="*/ 555786 w 1897116"/>
              <a:gd name="connsiteY620" fmla="*/ 74565 h 1087290"/>
              <a:gd name="connsiteX621" fmla="*/ 561334 w 1897116"/>
              <a:gd name="connsiteY621" fmla="*/ 74213 h 1087290"/>
              <a:gd name="connsiteX622" fmla="*/ 562303 w 1897116"/>
              <a:gd name="connsiteY622" fmla="*/ 68838 h 1087290"/>
              <a:gd name="connsiteX623" fmla="*/ 567059 w 1897116"/>
              <a:gd name="connsiteY623" fmla="*/ 67207 h 1087290"/>
              <a:gd name="connsiteX624" fmla="*/ 571110 w 1897116"/>
              <a:gd name="connsiteY624" fmla="*/ 61224 h 1087290"/>
              <a:gd name="connsiteX625" fmla="*/ 576747 w 1897116"/>
              <a:gd name="connsiteY625" fmla="*/ 60936 h 1087290"/>
              <a:gd name="connsiteX626" fmla="*/ 580622 w 1897116"/>
              <a:gd name="connsiteY626" fmla="*/ 55050 h 1087290"/>
              <a:gd name="connsiteX627" fmla="*/ 581327 w 1897116"/>
              <a:gd name="connsiteY627" fmla="*/ 58569 h 1087290"/>
              <a:gd name="connsiteX628" fmla="*/ 581855 w 1897116"/>
              <a:gd name="connsiteY628" fmla="*/ 64007 h 1087290"/>
              <a:gd name="connsiteX629" fmla="*/ 583264 w 1897116"/>
              <a:gd name="connsiteY629" fmla="*/ 67910 h 1087290"/>
              <a:gd name="connsiteX630" fmla="*/ 587668 w 1897116"/>
              <a:gd name="connsiteY630" fmla="*/ 68038 h 1087290"/>
              <a:gd name="connsiteX631" fmla="*/ 592952 w 1897116"/>
              <a:gd name="connsiteY631" fmla="*/ 66535 h 1087290"/>
              <a:gd name="connsiteX632" fmla="*/ 604137 w 1897116"/>
              <a:gd name="connsiteY632" fmla="*/ 61448 h 1087290"/>
              <a:gd name="connsiteX633" fmla="*/ 615146 w 1897116"/>
              <a:gd name="connsiteY633" fmla="*/ 53450 h 1087290"/>
              <a:gd name="connsiteX634" fmla="*/ 620430 w 1897116"/>
              <a:gd name="connsiteY634" fmla="*/ 48907 h 1087290"/>
              <a:gd name="connsiteX635" fmla="*/ 625803 w 1897116"/>
              <a:gd name="connsiteY635" fmla="*/ 44172 h 1087290"/>
              <a:gd name="connsiteX636" fmla="*/ 630735 w 1897116"/>
              <a:gd name="connsiteY636" fmla="*/ 39598 h 1087290"/>
              <a:gd name="connsiteX637" fmla="*/ 635755 w 1897116"/>
              <a:gd name="connsiteY637" fmla="*/ 35567 h 1087290"/>
              <a:gd name="connsiteX638" fmla="*/ 639806 w 1897116"/>
              <a:gd name="connsiteY638" fmla="*/ 32495 h 1087290"/>
              <a:gd name="connsiteX639" fmla="*/ 645091 w 1897116"/>
              <a:gd name="connsiteY639" fmla="*/ 28880 h 1087290"/>
              <a:gd name="connsiteX640" fmla="*/ 652136 w 1897116"/>
              <a:gd name="connsiteY640" fmla="*/ 25553 h 1087290"/>
              <a:gd name="connsiteX641" fmla="*/ 658742 w 1897116"/>
              <a:gd name="connsiteY641" fmla="*/ 22706 h 1087290"/>
              <a:gd name="connsiteX642" fmla="*/ 665347 w 1897116"/>
              <a:gd name="connsiteY642" fmla="*/ 17075 h 1087290"/>
              <a:gd name="connsiteX643" fmla="*/ 672481 w 1897116"/>
              <a:gd name="connsiteY643" fmla="*/ 15316 h 1087290"/>
              <a:gd name="connsiteX644" fmla="*/ 679703 w 1897116"/>
              <a:gd name="connsiteY644" fmla="*/ 12341 h 1087290"/>
              <a:gd name="connsiteX645" fmla="*/ 687365 w 1897116"/>
              <a:gd name="connsiteY645" fmla="*/ 14740 h 1087290"/>
              <a:gd name="connsiteX646" fmla="*/ 686748 w 1897116"/>
              <a:gd name="connsiteY646" fmla="*/ 9589 h 1087290"/>
              <a:gd name="connsiteX647" fmla="*/ 693354 w 1897116"/>
              <a:gd name="connsiteY647" fmla="*/ 7254 h 1087290"/>
              <a:gd name="connsiteX648" fmla="*/ 700664 w 1897116"/>
              <a:gd name="connsiteY648" fmla="*/ 4887 h 1087290"/>
              <a:gd name="connsiteX649" fmla="*/ 709207 w 1897116"/>
              <a:gd name="connsiteY649" fmla="*/ 1048 h 1087290"/>
              <a:gd name="connsiteX650" fmla="*/ 710616 w 1897116"/>
              <a:gd name="connsiteY650" fmla="*/ 3799 h 1087290"/>
              <a:gd name="connsiteX651" fmla="*/ 715548 w 1897116"/>
              <a:gd name="connsiteY651" fmla="*/ 11317 h 1087290"/>
              <a:gd name="connsiteX652" fmla="*/ 717485 w 1897116"/>
              <a:gd name="connsiteY652" fmla="*/ 14548 h 1087290"/>
              <a:gd name="connsiteX653" fmla="*/ 723210 w 1897116"/>
              <a:gd name="connsiteY653" fmla="*/ 19731 h 1087290"/>
              <a:gd name="connsiteX654" fmla="*/ 725412 w 1897116"/>
              <a:gd name="connsiteY654" fmla="*/ 18099 h 1087290"/>
              <a:gd name="connsiteX655" fmla="*/ 729727 w 1897116"/>
              <a:gd name="connsiteY655" fmla="*/ 25489 h 1087290"/>
              <a:gd name="connsiteX656" fmla="*/ 734659 w 1897116"/>
              <a:gd name="connsiteY656" fmla="*/ 28592 h 1087290"/>
              <a:gd name="connsiteX657" fmla="*/ 738270 w 1897116"/>
              <a:gd name="connsiteY657" fmla="*/ 27441 h 1087290"/>
              <a:gd name="connsiteX658" fmla="*/ 745404 w 1897116"/>
              <a:gd name="connsiteY658" fmla="*/ 32879 h 1087290"/>
              <a:gd name="connsiteX659" fmla="*/ 746109 w 1897116"/>
              <a:gd name="connsiteY659" fmla="*/ 32048 h 1087290"/>
              <a:gd name="connsiteX660" fmla="*/ 743731 w 1897116"/>
              <a:gd name="connsiteY660" fmla="*/ 29808 h 1087290"/>
              <a:gd name="connsiteX661" fmla="*/ 748663 w 1897116"/>
              <a:gd name="connsiteY661" fmla="*/ 27089 h 1087290"/>
              <a:gd name="connsiteX662" fmla="*/ 756149 w 1897116"/>
              <a:gd name="connsiteY662" fmla="*/ 23474 h 1087290"/>
              <a:gd name="connsiteX663" fmla="*/ 759496 w 1897116"/>
              <a:gd name="connsiteY663" fmla="*/ 23890 h 1087290"/>
              <a:gd name="connsiteX664" fmla="*/ 760817 w 1897116"/>
              <a:gd name="connsiteY664" fmla="*/ 21458 h 1087290"/>
              <a:gd name="connsiteX665" fmla="*/ 763459 w 1897116"/>
              <a:gd name="connsiteY665" fmla="*/ 25297 h 1087290"/>
              <a:gd name="connsiteX666" fmla="*/ 766365 w 1897116"/>
              <a:gd name="connsiteY666" fmla="*/ 32112 h 1087290"/>
              <a:gd name="connsiteX667" fmla="*/ 768127 w 1897116"/>
              <a:gd name="connsiteY667" fmla="*/ 36558 h 1087290"/>
              <a:gd name="connsiteX668" fmla="*/ 769888 w 1897116"/>
              <a:gd name="connsiteY668" fmla="*/ 34255 h 1087290"/>
              <a:gd name="connsiteX669" fmla="*/ 770945 w 1897116"/>
              <a:gd name="connsiteY669" fmla="*/ 37966 h 1087290"/>
              <a:gd name="connsiteX670" fmla="*/ 770681 w 1897116"/>
              <a:gd name="connsiteY670" fmla="*/ 43565 h 1087290"/>
              <a:gd name="connsiteX671" fmla="*/ 773411 w 1897116"/>
              <a:gd name="connsiteY671" fmla="*/ 47979 h 1087290"/>
              <a:gd name="connsiteX672" fmla="*/ 776846 w 1897116"/>
              <a:gd name="connsiteY672" fmla="*/ 43789 h 1087290"/>
              <a:gd name="connsiteX673" fmla="*/ 784684 w 1897116"/>
              <a:gd name="connsiteY673" fmla="*/ 42861 h 1087290"/>
              <a:gd name="connsiteX674" fmla="*/ 789528 w 1897116"/>
              <a:gd name="connsiteY674" fmla="*/ 46412 h 1087290"/>
              <a:gd name="connsiteX675" fmla="*/ 794196 w 1897116"/>
              <a:gd name="connsiteY675" fmla="*/ 40493 h 1087290"/>
              <a:gd name="connsiteX676" fmla="*/ 803179 w 1897116"/>
              <a:gd name="connsiteY676" fmla="*/ 38222 h 1087290"/>
              <a:gd name="connsiteX677" fmla="*/ 812074 w 1897116"/>
              <a:gd name="connsiteY677" fmla="*/ 36878 h 1087290"/>
              <a:gd name="connsiteX678" fmla="*/ 813395 w 1897116"/>
              <a:gd name="connsiteY678" fmla="*/ 37102 h 1087290"/>
              <a:gd name="connsiteX679" fmla="*/ 808904 w 1897116"/>
              <a:gd name="connsiteY679" fmla="*/ 45324 h 1087290"/>
              <a:gd name="connsiteX680" fmla="*/ 805557 w 1897116"/>
              <a:gd name="connsiteY680" fmla="*/ 51850 h 1087290"/>
              <a:gd name="connsiteX681" fmla="*/ 802122 w 1897116"/>
              <a:gd name="connsiteY681" fmla="*/ 59305 h 1087290"/>
              <a:gd name="connsiteX682" fmla="*/ 809872 w 1897116"/>
              <a:gd name="connsiteY682" fmla="*/ 58825 h 1087290"/>
              <a:gd name="connsiteX683" fmla="*/ 817623 w 1897116"/>
              <a:gd name="connsiteY683" fmla="*/ 58409 h 1087290"/>
              <a:gd name="connsiteX684" fmla="*/ 824845 w 1897116"/>
              <a:gd name="connsiteY684" fmla="*/ 54538 h 1087290"/>
              <a:gd name="connsiteX685" fmla="*/ 831186 w 1897116"/>
              <a:gd name="connsiteY685" fmla="*/ 56457 h 1087290"/>
              <a:gd name="connsiteX686" fmla="*/ 840609 w 1897116"/>
              <a:gd name="connsiteY686" fmla="*/ 53898 h 1087290"/>
              <a:gd name="connsiteX687" fmla="*/ 844132 w 1897116"/>
              <a:gd name="connsiteY687" fmla="*/ 52874 h 1087290"/>
              <a:gd name="connsiteX688" fmla="*/ 849857 w 1897116"/>
              <a:gd name="connsiteY688" fmla="*/ 50923 h 1087290"/>
              <a:gd name="connsiteX689" fmla="*/ 856727 w 1897116"/>
              <a:gd name="connsiteY689" fmla="*/ 48459 h 1087290"/>
              <a:gd name="connsiteX690" fmla="*/ 864565 w 1897116"/>
              <a:gd name="connsiteY690" fmla="*/ 45228 h 1087290"/>
              <a:gd name="connsiteX691" fmla="*/ 867383 w 1897116"/>
              <a:gd name="connsiteY691" fmla="*/ 44748 h 1087290"/>
              <a:gd name="connsiteX692" fmla="*/ 872668 w 1897116"/>
              <a:gd name="connsiteY692" fmla="*/ 41901 h 1087290"/>
              <a:gd name="connsiteX693" fmla="*/ 877776 w 1897116"/>
              <a:gd name="connsiteY693" fmla="*/ 41741 h 1087290"/>
              <a:gd name="connsiteX694" fmla="*/ 884205 w 1897116"/>
              <a:gd name="connsiteY694" fmla="*/ 42893 h 1087290"/>
              <a:gd name="connsiteX695" fmla="*/ 882972 w 1897116"/>
              <a:gd name="connsiteY695" fmla="*/ 43053 h 1087290"/>
              <a:gd name="connsiteX696" fmla="*/ 883853 w 1897116"/>
              <a:gd name="connsiteY696" fmla="*/ 49899 h 1087290"/>
              <a:gd name="connsiteX697" fmla="*/ 880330 w 1897116"/>
              <a:gd name="connsiteY697" fmla="*/ 57001 h 1087290"/>
              <a:gd name="connsiteX698" fmla="*/ 880252 w 1897116"/>
              <a:gd name="connsiteY698" fmla="*/ 58718 h 1087290"/>
              <a:gd name="connsiteX699" fmla="*/ 879713 w 1897116"/>
              <a:gd name="connsiteY699" fmla="*/ 59656 h 1087290"/>
              <a:gd name="connsiteX700" fmla="*/ 880154 w 1897116"/>
              <a:gd name="connsiteY700" fmla="*/ 60896 h 1087290"/>
              <a:gd name="connsiteX701" fmla="*/ 880252 w 1897116"/>
              <a:gd name="connsiteY701" fmla="*/ 58718 h 1087290"/>
              <a:gd name="connsiteX702" fmla="*/ 881827 w 1897116"/>
              <a:gd name="connsiteY702" fmla="*/ 55977 h 1087290"/>
              <a:gd name="connsiteX703" fmla="*/ 890722 w 1897116"/>
              <a:gd name="connsiteY703" fmla="*/ 54186 h 1087290"/>
              <a:gd name="connsiteX704" fmla="*/ 897504 w 1897116"/>
              <a:gd name="connsiteY704" fmla="*/ 50699 h 1087290"/>
              <a:gd name="connsiteX705" fmla="*/ 901731 w 1897116"/>
              <a:gd name="connsiteY705" fmla="*/ 48715 h 1087290"/>
              <a:gd name="connsiteX706" fmla="*/ 906927 w 1897116"/>
              <a:gd name="connsiteY706" fmla="*/ 50539 h 1087290"/>
              <a:gd name="connsiteX707" fmla="*/ 909393 w 1897116"/>
              <a:gd name="connsiteY707" fmla="*/ 46028 h 1087290"/>
              <a:gd name="connsiteX708" fmla="*/ 910803 w 1897116"/>
              <a:gd name="connsiteY708" fmla="*/ 52138 h 1087290"/>
              <a:gd name="connsiteX709" fmla="*/ 912124 w 1897116"/>
              <a:gd name="connsiteY709" fmla="*/ 58249 h 1087290"/>
              <a:gd name="connsiteX710" fmla="*/ 913797 w 1897116"/>
              <a:gd name="connsiteY710" fmla="*/ 59433 h 1087290"/>
              <a:gd name="connsiteX711" fmla="*/ 911595 w 1897116"/>
              <a:gd name="connsiteY711" fmla="*/ 67334 h 1087290"/>
              <a:gd name="connsiteX712" fmla="*/ 912124 w 1897116"/>
              <a:gd name="connsiteY712" fmla="*/ 73765 h 1087290"/>
              <a:gd name="connsiteX713" fmla="*/ 914854 w 1897116"/>
              <a:gd name="connsiteY713" fmla="*/ 79587 h 1087290"/>
              <a:gd name="connsiteX714" fmla="*/ 912388 w 1897116"/>
              <a:gd name="connsiteY714" fmla="*/ 79747 h 1087290"/>
              <a:gd name="connsiteX715" fmla="*/ 912652 w 1897116"/>
              <a:gd name="connsiteY715" fmla="*/ 80227 h 1087290"/>
              <a:gd name="connsiteX716" fmla="*/ 914854 w 1897116"/>
              <a:gd name="connsiteY716" fmla="*/ 79587 h 1087290"/>
              <a:gd name="connsiteX717" fmla="*/ 918553 w 1897116"/>
              <a:gd name="connsiteY717" fmla="*/ 77540 h 1087290"/>
              <a:gd name="connsiteX718" fmla="*/ 925334 w 1897116"/>
              <a:gd name="connsiteY718" fmla="*/ 74053 h 1087290"/>
              <a:gd name="connsiteX719" fmla="*/ 925775 w 1897116"/>
              <a:gd name="connsiteY719" fmla="*/ 74149 h 1087290"/>
              <a:gd name="connsiteX720" fmla="*/ 931499 w 1897116"/>
              <a:gd name="connsiteY720" fmla="*/ 72741 h 1087290"/>
              <a:gd name="connsiteX721" fmla="*/ 937752 w 1897116"/>
              <a:gd name="connsiteY721" fmla="*/ 72133 h 1087290"/>
              <a:gd name="connsiteX722" fmla="*/ 943213 w 1897116"/>
              <a:gd name="connsiteY722" fmla="*/ 73573 h 1087290"/>
              <a:gd name="connsiteX723" fmla="*/ 949026 w 1897116"/>
              <a:gd name="connsiteY723" fmla="*/ 76100 h 1087290"/>
              <a:gd name="connsiteX724" fmla="*/ 958273 w 1897116"/>
              <a:gd name="connsiteY724" fmla="*/ 79939 h 1087290"/>
              <a:gd name="connsiteX725" fmla="*/ 965671 w 1897116"/>
              <a:gd name="connsiteY725" fmla="*/ 81091 h 1087290"/>
              <a:gd name="connsiteX726" fmla="*/ 968137 w 1897116"/>
              <a:gd name="connsiteY726" fmla="*/ 83266 h 1087290"/>
              <a:gd name="connsiteX727" fmla="*/ 972012 w 1897116"/>
              <a:gd name="connsiteY727" fmla="*/ 90656 h 1087290"/>
              <a:gd name="connsiteX728" fmla="*/ 977120 w 1897116"/>
              <a:gd name="connsiteY728" fmla="*/ 88353 h 1087290"/>
              <a:gd name="connsiteX729" fmla="*/ 983109 w 1897116"/>
              <a:gd name="connsiteY729" fmla="*/ 85122 h 1087290"/>
              <a:gd name="connsiteX730" fmla="*/ 988129 w 1897116"/>
              <a:gd name="connsiteY730" fmla="*/ 82307 h 1087290"/>
              <a:gd name="connsiteX731" fmla="*/ 993678 w 1897116"/>
              <a:gd name="connsiteY731" fmla="*/ 80739 h 1087290"/>
              <a:gd name="connsiteX732" fmla="*/ 996672 w 1897116"/>
              <a:gd name="connsiteY732" fmla="*/ 78660 h 1087290"/>
              <a:gd name="connsiteX733" fmla="*/ 1005568 w 1897116"/>
              <a:gd name="connsiteY733" fmla="*/ 74533 h 1087290"/>
              <a:gd name="connsiteX734" fmla="*/ 1014551 w 1897116"/>
              <a:gd name="connsiteY734" fmla="*/ 71493 h 1087290"/>
              <a:gd name="connsiteX735" fmla="*/ 1017457 w 1897116"/>
              <a:gd name="connsiteY735" fmla="*/ 67302 h 1087290"/>
              <a:gd name="connsiteX736" fmla="*/ 1025208 w 1897116"/>
              <a:gd name="connsiteY736" fmla="*/ 60584 h 1087290"/>
              <a:gd name="connsiteX737" fmla="*/ 1029347 w 1897116"/>
              <a:gd name="connsiteY737" fmla="*/ 58633 h 1087290"/>
              <a:gd name="connsiteX738" fmla="*/ 1033839 w 1897116"/>
              <a:gd name="connsiteY738" fmla="*/ 54794 h 1087290"/>
              <a:gd name="connsiteX739" fmla="*/ 1038066 w 1897116"/>
              <a:gd name="connsiteY739" fmla="*/ 50731 h 1087290"/>
              <a:gd name="connsiteX740" fmla="*/ 1044495 w 1897116"/>
              <a:gd name="connsiteY740" fmla="*/ 44652 h 1087290"/>
              <a:gd name="connsiteX741" fmla="*/ 1051012 w 1897116"/>
              <a:gd name="connsiteY741" fmla="*/ 44812 h 1087290"/>
              <a:gd name="connsiteX742" fmla="*/ 1051012 w 1897116"/>
              <a:gd name="connsiteY742" fmla="*/ 40333 h 1087290"/>
              <a:gd name="connsiteX743" fmla="*/ 1055856 w 1897116"/>
              <a:gd name="connsiteY743" fmla="*/ 39438 h 1087290"/>
              <a:gd name="connsiteX744" fmla="*/ 1061845 w 1897116"/>
              <a:gd name="connsiteY744" fmla="*/ 39630 h 1087290"/>
              <a:gd name="connsiteX745" fmla="*/ 1070212 w 1897116"/>
              <a:gd name="connsiteY745" fmla="*/ 39854 h 1087290"/>
              <a:gd name="connsiteX746" fmla="*/ 1079195 w 1897116"/>
              <a:gd name="connsiteY746" fmla="*/ 37998 h 1087290"/>
              <a:gd name="connsiteX747" fmla="*/ 1087034 w 1897116"/>
              <a:gd name="connsiteY747" fmla="*/ 33327 h 1087290"/>
              <a:gd name="connsiteX748" fmla="*/ 1092494 w 1897116"/>
              <a:gd name="connsiteY748" fmla="*/ 27473 h 1087290"/>
              <a:gd name="connsiteX749" fmla="*/ 1093023 w 1897116"/>
              <a:gd name="connsiteY749" fmla="*/ 20467 h 1087290"/>
              <a:gd name="connsiteX750" fmla="*/ 1095665 w 1897116"/>
              <a:gd name="connsiteY750" fmla="*/ 20083 h 1087290"/>
              <a:gd name="connsiteX751" fmla="*/ 1096722 w 1897116"/>
              <a:gd name="connsiteY751" fmla="*/ 16628 h 1087290"/>
              <a:gd name="connsiteX752" fmla="*/ 1096810 w 1897116"/>
              <a:gd name="connsiteY752" fmla="*/ 15156 h 1087290"/>
              <a:gd name="connsiteX753" fmla="*/ 1097778 w 1897116"/>
              <a:gd name="connsiteY753" fmla="*/ 13140 h 1087290"/>
              <a:gd name="connsiteX754" fmla="*/ 1098043 w 1897116"/>
              <a:gd name="connsiteY754" fmla="*/ 12916 h 1087290"/>
              <a:gd name="connsiteX755" fmla="*/ 1098219 w 1897116"/>
              <a:gd name="connsiteY755" fmla="*/ 12277 h 1087290"/>
              <a:gd name="connsiteX756" fmla="*/ 1098395 w 1897116"/>
              <a:gd name="connsiteY756" fmla="*/ 11605 h 1087290"/>
              <a:gd name="connsiteX757" fmla="*/ 1104560 w 1897116"/>
              <a:gd name="connsiteY757" fmla="*/ 16052 h 1087290"/>
              <a:gd name="connsiteX758" fmla="*/ 1111165 w 1897116"/>
              <a:gd name="connsiteY758" fmla="*/ 18899 h 1087290"/>
              <a:gd name="connsiteX759" fmla="*/ 1116274 w 1897116"/>
              <a:gd name="connsiteY759" fmla="*/ 22226 h 1087290"/>
              <a:gd name="connsiteX760" fmla="*/ 1121910 w 1897116"/>
              <a:gd name="connsiteY760" fmla="*/ 22866 h 1087290"/>
              <a:gd name="connsiteX761" fmla="*/ 1122615 w 1897116"/>
              <a:gd name="connsiteY761" fmla="*/ 19763 h 1087290"/>
              <a:gd name="connsiteX762" fmla="*/ 1121646 w 1897116"/>
              <a:gd name="connsiteY762" fmla="*/ 17267 h 1087290"/>
              <a:gd name="connsiteX763" fmla="*/ 1128075 w 1897116"/>
              <a:gd name="connsiteY763" fmla="*/ 16915 h 1087290"/>
              <a:gd name="connsiteX764" fmla="*/ 1128780 w 1897116"/>
              <a:gd name="connsiteY764" fmla="*/ 17683 h 1087290"/>
              <a:gd name="connsiteX765" fmla="*/ 1128075 w 1897116"/>
              <a:gd name="connsiteY765" fmla="*/ 16915 h 1087290"/>
              <a:gd name="connsiteX766" fmla="*/ 1130101 w 1897116"/>
              <a:gd name="connsiteY766" fmla="*/ 17139 h 1087290"/>
              <a:gd name="connsiteX767" fmla="*/ 1130541 w 1897116"/>
              <a:gd name="connsiteY767" fmla="*/ 17267 h 1087290"/>
              <a:gd name="connsiteX768" fmla="*/ 1130189 w 1897116"/>
              <a:gd name="connsiteY768" fmla="*/ 18707 h 1087290"/>
              <a:gd name="connsiteX769" fmla="*/ 1130541 w 1897116"/>
              <a:gd name="connsiteY769" fmla="*/ 17267 h 1087290"/>
              <a:gd name="connsiteX770" fmla="*/ 1135385 w 1897116"/>
              <a:gd name="connsiteY770" fmla="*/ 19539 h 1087290"/>
              <a:gd name="connsiteX771" fmla="*/ 1129308 w 1897116"/>
              <a:gd name="connsiteY771" fmla="*/ 22386 h 1087290"/>
              <a:gd name="connsiteX772" fmla="*/ 1127018 w 1897116"/>
              <a:gd name="connsiteY772" fmla="*/ 27089 h 1087290"/>
              <a:gd name="connsiteX773" fmla="*/ 1127018 w 1897116"/>
              <a:gd name="connsiteY773" fmla="*/ 33391 h 1087290"/>
              <a:gd name="connsiteX774" fmla="*/ 1123583 w 1897116"/>
              <a:gd name="connsiteY774" fmla="*/ 37198 h 1087290"/>
              <a:gd name="connsiteX775" fmla="*/ 1123672 w 1897116"/>
              <a:gd name="connsiteY775" fmla="*/ 41165 h 1087290"/>
              <a:gd name="connsiteX776" fmla="*/ 1119973 w 1897116"/>
              <a:gd name="connsiteY776" fmla="*/ 42189 h 1087290"/>
              <a:gd name="connsiteX777" fmla="*/ 1123760 w 1897116"/>
              <a:gd name="connsiteY777" fmla="*/ 48043 h 1087290"/>
              <a:gd name="connsiteX778" fmla="*/ 1127371 w 1897116"/>
              <a:gd name="connsiteY778" fmla="*/ 45068 h 1087290"/>
              <a:gd name="connsiteX779" fmla="*/ 1133447 w 1897116"/>
              <a:gd name="connsiteY779" fmla="*/ 41805 h 1087290"/>
              <a:gd name="connsiteX780" fmla="*/ 1134592 w 1897116"/>
              <a:gd name="connsiteY780" fmla="*/ 37678 h 1087290"/>
              <a:gd name="connsiteX781" fmla="*/ 1136090 w 1897116"/>
              <a:gd name="connsiteY781" fmla="*/ 33807 h 1087290"/>
              <a:gd name="connsiteX782" fmla="*/ 1140934 w 1897116"/>
              <a:gd name="connsiteY782" fmla="*/ 30096 h 1087290"/>
              <a:gd name="connsiteX783" fmla="*/ 1145425 w 1897116"/>
              <a:gd name="connsiteY783" fmla="*/ 27249 h 1087290"/>
              <a:gd name="connsiteX784" fmla="*/ 1150798 w 1897116"/>
              <a:gd name="connsiteY784" fmla="*/ 23154 h 1087290"/>
              <a:gd name="connsiteX785" fmla="*/ 1155289 w 1897116"/>
              <a:gd name="connsiteY785" fmla="*/ 19539 h 1087290"/>
              <a:gd name="connsiteX786" fmla="*/ 1159341 w 1897116"/>
              <a:gd name="connsiteY786" fmla="*/ 15284 h 1087290"/>
              <a:gd name="connsiteX787" fmla="*/ 1160045 w 1897116"/>
              <a:gd name="connsiteY787" fmla="*/ 18195 h 1087290"/>
              <a:gd name="connsiteX788" fmla="*/ 1158900 w 1897116"/>
              <a:gd name="connsiteY788" fmla="*/ 18355 h 1087290"/>
              <a:gd name="connsiteX789" fmla="*/ 1160045 w 1897116"/>
              <a:gd name="connsiteY789" fmla="*/ 18195 h 1087290"/>
              <a:gd name="connsiteX790" fmla="*/ 1160045 w 1897116"/>
              <a:gd name="connsiteY790" fmla="*/ 20371 h 1087290"/>
              <a:gd name="connsiteX791" fmla="*/ 1163744 w 1897116"/>
              <a:gd name="connsiteY791" fmla="*/ 25969 h 1087290"/>
              <a:gd name="connsiteX792" fmla="*/ 1171759 w 1897116"/>
              <a:gd name="connsiteY792" fmla="*/ 30160 h 1087290"/>
              <a:gd name="connsiteX793" fmla="*/ 1180830 w 1897116"/>
              <a:gd name="connsiteY793" fmla="*/ 29904 h 1087290"/>
              <a:gd name="connsiteX794" fmla="*/ 1188052 w 1897116"/>
              <a:gd name="connsiteY794" fmla="*/ 27953 h 1087290"/>
              <a:gd name="connsiteX795" fmla="*/ 1192367 w 1897116"/>
              <a:gd name="connsiteY795" fmla="*/ 23186 h 1087290"/>
              <a:gd name="connsiteX796" fmla="*/ 1201703 w 1897116"/>
              <a:gd name="connsiteY796" fmla="*/ 20435 h 1087290"/>
              <a:gd name="connsiteX797" fmla="*/ 1208837 w 1897116"/>
              <a:gd name="connsiteY797" fmla="*/ 16084 h 1087290"/>
              <a:gd name="connsiteX798" fmla="*/ 1215618 w 1897116"/>
              <a:gd name="connsiteY798" fmla="*/ 13268 h 1087290"/>
              <a:gd name="connsiteX799" fmla="*/ 1215794 w 1897116"/>
              <a:gd name="connsiteY799" fmla="*/ 20275 h 1087290"/>
              <a:gd name="connsiteX800" fmla="*/ 1213505 w 1897116"/>
              <a:gd name="connsiteY800" fmla="*/ 28912 h 1087290"/>
              <a:gd name="connsiteX801" fmla="*/ 1210774 w 1897116"/>
              <a:gd name="connsiteY801" fmla="*/ 36206 h 1087290"/>
              <a:gd name="connsiteX802" fmla="*/ 1209365 w 1897116"/>
              <a:gd name="connsiteY802" fmla="*/ 44972 h 1087290"/>
              <a:gd name="connsiteX803" fmla="*/ 1207075 w 1897116"/>
              <a:gd name="connsiteY803" fmla="*/ 53610 h 1087290"/>
              <a:gd name="connsiteX804" fmla="*/ 1213328 w 1897116"/>
              <a:gd name="connsiteY804" fmla="*/ 47212 h 1087290"/>
              <a:gd name="connsiteX805" fmla="*/ 1219229 w 1897116"/>
              <a:gd name="connsiteY805" fmla="*/ 41037 h 1087290"/>
              <a:gd name="connsiteX806" fmla="*/ 1224954 w 1897116"/>
              <a:gd name="connsiteY806" fmla="*/ 35375 h 1087290"/>
              <a:gd name="connsiteX807" fmla="*/ 1231207 w 1897116"/>
              <a:gd name="connsiteY807" fmla="*/ 28976 h 1087290"/>
              <a:gd name="connsiteX808" fmla="*/ 1238253 w 1897116"/>
              <a:gd name="connsiteY808" fmla="*/ 22610 h 1087290"/>
              <a:gd name="connsiteX809" fmla="*/ 1242128 w 1897116"/>
              <a:gd name="connsiteY809" fmla="*/ 21010 h 1087290"/>
              <a:gd name="connsiteX810" fmla="*/ 1243889 w 1897116"/>
              <a:gd name="connsiteY810" fmla="*/ 23282 h 1087290"/>
              <a:gd name="connsiteX811" fmla="*/ 1242216 w 1897116"/>
              <a:gd name="connsiteY811" fmla="*/ 28912 h 1087290"/>
              <a:gd name="connsiteX812" fmla="*/ 1251551 w 1897116"/>
              <a:gd name="connsiteY812" fmla="*/ 24434 h 1087290"/>
              <a:gd name="connsiteX813" fmla="*/ 1260887 w 1897116"/>
              <a:gd name="connsiteY813" fmla="*/ 19923 h 1087290"/>
              <a:gd name="connsiteX814" fmla="*/ 1268197 w 1897116"/>
              <a:gd name="connsiteY814" fmla="*/ 16052 h 1087290"/>
              <a:gd name="connsiteX815" fmla="*/ 1273922 w 1897116"/>
              <a:gd name="connsiteY815" fmla="*/ 13268 h 1087290"/>
              <a:gd name="connsiteX816" fmla="*/ 1279470 w 1897116"/>
              <a:gd name="connsiteY816" fmla="*/ 10677 h 1087290"/>
              <a:gd name="connsiteX817" fmla="*/ 1286340 w 1897116"/>
              <a:gd name="connsiteY817" fmla="*/ 11349 h 1087290"/>
              <a:gd name="connsiteX818" fmla="*/ 1293209 w 1897116"/>
              <a:gd name="connsiteY818" fmla="*/ 12021 h 1087290"/>
              <a:gd name="connsiteX819" fmla="*/ 1299286 w 1897116"/>
              <a:gd name="connsiteY819" fmla="*/ 12469 h 1087290"/>
              <a:gd name="connsiteX820" fmla="*/ 1305804 w 1897116"/>
              <a:gd name="connsiteY820" fmla="*/ 12820 h 1087290"/>
              <a:gd name="connsiteX821" fmla="*/ 1314787 w 1897116"/>
              <a:gd name="connsiteY821" fmla="*/ 13332 h 1087290"/>
              <a:gd name="connsiteX822" fmla="*/ 1317253 w 1897116"/>
              <a:gd name="connsiteY822" fmla="*/ 15988 h 1087290"/>
              <a:gd name="connsiteX823" fmla="*/ 1321745 w 1897116"/>
              <a:gd name="connsiteY823" fmla="*/ 14740 h 1087290"/>
              <a:gd name="connsiteX824" fmla="*/ 1316901 w 1897116"/>
              <a:gd name="connsiteY824" fmla="*/ 19763 h 1087290"/>
              <a:gd name="connsiteX825" fmla="*/ 1311352 w 1897116"/>
              <a:gd name="connsiteY825" fmla="*/ 24114 h 1087290"/>
              <a:gd name="connsiteX826" fmla="*/ 1313202 w 1897116"/>
              <a:gd name="connsiteY826" fmla="*/ 24402 h 1087290"/>
              <a:gd name="connsiteX827" fmla="*/ 1322009 w 1897116"/>
              <a:gd name="connsiteY827" fmla="*/ 25873 h 1087290"/>
              <a:gd name="connsiteX828" fmla="*/ 1329759 w 1897116"/>
              <a:gd name="connsiteY828" fmla="*/ 22802 h 1087290"/>
              <a:gd name="connsiteX829" fmla="*/ 1333810 w 1897116"/>
              <a:gd name="connsiteY829" fmla="*/ 26417 h 1087290"/>
              <a:gd name="connsiteX830" fmla="*/ 1347373 w 1897116"/>
              <a:gd name="connsiteY830" fmla="*/ 26353 h 1087290"/>
              <a:gd name="connsiteX831" fmla="*/ 1360848 w 1897116"/>
              <a:gd name="connsiteY831" fmla="*/ 25361 h 1087290"/>
              <a:gd name="connsiteX832" fmla="*/ 1366397 w 1897116"/>
              <a:gd name="connsiteY832" fmla="*/ 24913 h 1087290"/>
              <a:gd name="connsiteX833" fmla="*/ 1371857 w 1897116"/>
              <a:gd name="connsiteY833" fmla="*/ 23698 h 1087290"/>
              <a:gd name="connsiteX834" fmla="*/ 1369920 w 1897116"/>
              <a:gd name="connsiteY834" fmla="*/ 26737 h 1087290"/>
              <a:gd name="connsiteX835" fmla="*/ 1362874 w 1897116"/>
              <a:gd name="connsiteY835" fmla="*/ 32431 h 1087290"/>
              <a:gd name="connsiteX836" fmla="*/ 1356709 w 1897116"/>
              <a:gd name="connsiteY836" fmla="*/ 37838 h 1087290"/>
              <a:gd name="connsiteX837" fmla="*/ 1356533 w 1897116"/>
              <a:gd name="connsiteY837" fmla="*/ 38574 h 1087290"/>
              <a:gd name="connsiteX838" fmla="*/ 1358118 w 1897116"/>
              <a:gd name="connsiteY838" fmla="*/ 39950 h 1087290"/>
              <a:gd name="connsiteX839" fmla="*/ 1367718 w 1897116"/>
              <a:gd name="connsiteY839" fmla="*/ 39214 h 1087290"/>
              <a:gd name="connsiteX840" fmla="*/ 1376965 w 1897116"/>
              <a:gd name="connsiteY840" fmla="*/ 38670 h 1087290"/>
              <a:gd name="connsiteX841" fmla="*/ 1381809 w 1897116"/>
              <a:gd name="connsiteY841" fmla="*/ 39054 h 1087290"/>
              <a:gd name="connsiteX842" fmla="*/ 1389031 w 1897116"/>
              <a:gd name="connsiteY842" fmla="*/ 38062 h 1087290"/>
              <a:gd name="connsiteX843" fmla="*/ 1396165 w 1897116"/>
              <a:gd name="connsiteY843" fmla="*/ 35343 h 1087290"/>
              <a:gd name="connsiteX844" fmla="*/ 1400569 w 1897116"/>
              <a:gd name="connsiteY844" fmla="*/ 35823 h 1087290"/>
              <a:gd name="connsiteX845" fmla="*/ 1401890 w 1897116"/>
              <a:gd name="connsiteY845" fmla="*/ 34127 h 1087290"/>
              <a:gd name="connsiteX846" fmla="*/ 1409904 w 1897116"/>
              <a:gd name="connsiteY846" fmla="*/ 30832 h 1087290"/>
              <a:gd name="connsiteX847" fmla="*/ 1416245 w 1897116"/>
              <a:gd name="connsiteY847" fmla="*/ 29104 h 1087290"/>
              <a:gd name="connsiteX848" fmla="*/ 1422146 w 1897116"/>
              <a:gd name="connsiteY848" fmla="*/ 26705 h 1087290"/>
              <a:gd name="connsiteX849" fmla="*/ 1428399 w 1897116"/>
              <a:gd name="connsiteY849" fmla="*/ 26961 h 1087290"/>
              <a:gd name="connsiteX850" fmla="*/ 1434564 w 1897116"/>
              <a:gd name="connsiteY850" fmla="*/ 24210 h 1087290"/>
              <a:gd name="connsiteX851" fmla="*/ 1441874 w 1897116"/>
              <a:gd name="connsiteY851" fmla="*/ 21394 h 1087290"/>
              <a:gd name="connsiteX852" fmla="*/ 1447070 w 1897116"/>
              <a:gd name="connsiteY852" fmla="*/ 21842 h 1087290"/>
              <a:gd name="connsiteX853" fmla="*/ 1452971 w 1897116"/>
              <a:gd name="connsiteY853" fmla="*/ 20722 h 1087290"/>
              <a:gd name="connsiteX854" fmla="*/ 1459312 w 1897116"/>
              <a:gd name="connsiteY854" fmla="*/ 18035 h 1087290"/>
              <a:gd name="connsiteX855" fmla="*/ 1465830 w 1897116"/>
              <a:gd name="connsiteY855" fmla="*/ 15412 h 1087290"/>
              <a:gd name="connsiteX856" fmla="*/ 1469529 w 1897116"/>
              <a:gd name="connsiteY856" fmla="*/ 14900 h 1087290"/>
              <a:gd name="connsiteX857" fmla="*/ 1478512 w 1897116"/>
              <a:gd name="connsiteY857" fmla="*/ 13204 h 1087290"/>
              <a:gd name="connsiteX858" fmla="*/ 1486350 w 1897116"/>
              <a:gd name="connsiteY858" fmla="*/ 14644 h 1087290"/>
              <a:gd name="connsiteX859" fmla="*/ 1488464 w 1897116"/>
              <a:gd name="connsiteY859" fmla="*/ 16436 h 1087290"/>
              <a:gd name="connsiteX860" fmla="*/ 1493396 w 1897116"/>
              <a:gd name="connsiteY860" fmla="*/ 22866 h 1087290"/>
              <a:gd name="connsiteX861" fmla="*/ 1497976 w 1897116"/>
              <a:gd name="connsiteY861" fmla="*/ 26289 h 1087290"/>
              <a:gd name="connsiteX862" fmla="*/ 1503612 w 1897116"/>
              <a:gd name="connsiteY862" fmla="*/ 28784 h 1087290"/>
              <a:gd name="connsiteX863" fmla="*/ 1513476 w 1897116"/>
              <a:gd name="connsiteY863" fmla="*/ 29072 h 1087290"/>
              <a:gd name="connsiteX864" fmla="*/ 1520874 w 1897116"/>
              <a:gd name="connsiteY864" fmla="*/ 26065 h 1087290"/>
              <a:gd name="connsiteX865" fmla="*/ 1523957 w 1897116"/>
              <a:gd name="connsiteY865" fmla="*/ 24465 h 1087290"/>
              <a:gd name="connsiteX866" fmla="*/ 1525806 w 1897116"/>
              <a:gd name="connsiteY866" fmla="*/ 26193 h 1087290"/>
              <a:gd name="connsiteX867" fmla="*/ 1530650 w 1897116"/>
              <a:gd name="connsiteY867" fmla="*/ 29776 h 1087290"/>
              <a:gd name="connsiteX868" fmla="*/ 1532324 w 1897116"/>
              <a:gd name="connsiteY868" fmla="*/ 31376 h 1087290"/>
              <a:gd name="connsiteX869" fmla="*/ 1535759 w 1897116"/>
              <a:gd name="connsiteY869" fmla="*/ 29296 h 1087290"/>
              <a:gd name="connsiteX870" fmla="*/ 1539634 w 1897116"/>
              <a:gd name="connsiteY870" fmla="*/ 26577 h 1087290"/>
              <a:gd name="connsiteX871" fmla="*/ 1545887 w 1897116"/>
              <a:gd name="connsiteY871" fmla="*/ 23122 h 1087290"/>
              <a:gd name="connsiteX872" fmla="*/ 1548089 w 1897116"/>
              <a:gd name="connsiteY872" fmla="*/ 18931 h 1087290"/>
              <a:gd name="connsiteX873" fmla="*/ 1554430 w 1897116"/>
              <a:gd name="connsiteY873" fmla="*/ 16500 h 1087290"/>
              <a:gd name="connsiteX874" fmla="*/ 1559890 w 1897116"/>
              <a:gd name="connsiteY874" fmla="*/ 18835 h 1087290"/>
              <a:gd name="connsiteX875" fmla="*/ 1564558 w 1897116"/>
              <a:gd name="connsiteY875" fmla="*/ 23538 h 1087290"/>
              <a:gd name="connsiteX876" fmla="*/ 1569578 w 1897116"/>
              <a:gd name="connsiteY876" fmla="*/ 29264 h 1087290"/>
              <a:gd name="connsiteX877" fmla="*/ 1574510 w 1897116"/>
              <a:gd name="connsiteY877" fmla="*/ 34991 h 1087290"/>
              <a:gd name="connsiteX878" fmla="*/ 1577328 w 1897116"/>
              <a:gd name="connsiteY878" fmla="*/ 27985 h 1087290"/>
              <a:gd name="connsiteX879" fmla="*/ 1580235 w 1897116"/>
              <a:gd name="connsiteY879" fmla="*/ 20914 h 1087290"/>
              <a:gd name="connsiteX880" fmla="*/ 1582172 w 1897116"/>
              <a:gd name="connsiteY880" fmla="*/ 18515 h 1087290"/>
              <a:gd name="connsiteX881" fmla="*/ 1584991 w 1897116"/>
              <a:gd name="connsiteY881" fmla="*/ 20531 h 1087290"/>
              <a:gd name="connsiteX882" fmla="*/ 1589834 w 1897116"/>
              <a:gd name="connsiteY882" fmla="*/ 24593 h 1087290"/>
              <a:gd name="connsiteX883" fmla="*/ 1590803 w 1897116"/>
              <a:gd name="connsiteY883" fmla="*/ 29104 h 1087290"/>
              <a:gd name="connsiteX884" fmla="*/ 1598554 w 1897116"/>
              <a:gd name="connsiteY884" fmla="*/ 22226 h 1087290"/>
              <a:gd name="connsiteX885" fmla="*/ 1605511 w 1897116"/>
              <a:gd name="connsiteY885" fmla="*/ 15828 h 1087290"/>
              <a:gd name="connsiteX886" fmla="*/ 1602164 w 1897116"/>
              <a:gd name="connsiteY886" fmla="*/ 12277 h 1087290"/>
              <a:gd name="connsiteX887" fmla="*/ 1609563 w 1897116"/>
              <a:gd name="connsiteY887" fmla="*/ 11733 h 1087290"/>
              <a:gd name="connsiteX888" fmla="*/ 1613526 w 1897116"/>
              <a:gd name="connsiteY888" fmla="*/ 7670 h 1087290"/>
              <a:gd name="connsiteX889" fmla="*/ 1615023 w 1897116"/>
              <a:gd name="connsiteY889" fmla="*/ 3319 h 1087290"/>
              <a:gd name="connsiteX890" fmla="*/ 1621012 w 1897116"/>
              <a:gd name="connsiteY890" fmla="*/ 3287 h 1087290"/>
              <a:gd name="connsiteX891" fmla="*/ 1622333 w 1897116"/>
              <a:gd name="connsiteY891" fmla="*/ 6966 h 1087290"/>
              <a:gd name="connsiteX892" fmla="*/ 1624182 w 1897116"/>
              <a:gd name="connsiteY892" fmla="*/ 15860 h 1087290"/>
              <a:gd name="connsiteX893" fmla="*/ 1625415 w 1897116"/>
              <a:gd name="connsiteY893" fmla="*/ 25713 h 1087290"/>
              <a:gd name="connsiteX894" fmla="*/ 1630788 w 1897116"/>
              <a:gd name="connsiteY894" fmla="*/ 22386 h 1087290"/>
              <a:gd name="connsiteX895" fmla="*/ 1635191 w 1897116"/>
              <a:gd name="connsiteY895" fmla="*/ 23666 h 1087290"/>
              <a:gd name="connsiteX896" fmla="*/ 1640828 w 1897116"/>
              <a:gd name="connsiteY896" fmla="*/ 22482 h 1087290"/>
              <a:gd name="connsiteX897" fmla="*/ 1646817 w 1897116"/>
              <a:gd name="connsiteY897" fmla="*/ 20882 h 1087290"/>
              <a:gd name="connsiteX898" fmla="*/ 1652541 w 1897116"/>
              <a:gd name="connsiteY898" fmla="*/ 18483 h 1087290"/>
              <a:gd name="connsiteX899" fmla="*/ 1657562 w 1897116"/>
              <a:gd name="connsiteY899" fmla="*/ 16787 h 1087290"/>
              <a:gd name="connsiteX900" fmla="*/ 1664167 w 1897116"/>
              <a:gd name="connsiteY900" fmla="*/ 14452 h 1087290"/>
              <a:gd name="connsiteX901" fmla="*/ 1670772 w 1897116"/>
              <a:gd name="connsiteY901" fmla="*/ 12341 h 1087290"/>
              <a:gd name="connsiteX902" fmla="*/ 1677818 w 1897116"/>
              <a:gd name="connsiteY902" fmla="*/ 12277 h 1087290"/>
              <a:gd name="connsiteX903" fmla="*/ 1685304 w 1897116"/>
              <a:gd name="connsiteY903" fmla="*/ 9749 h 1087290"/>
              <a:gd name="connsiteX904" fmla="*/ 1688915 w 1897116"/>
              <a:gd name="connsiteY904" fmla="*/ 12405 h 1087290"/>
              <a:gd name="connsiteX905" fmla="*/ 1693671 w 1897116"/>
              <a:gd name="connsiteY905" fmla="*/ 8342 h 1087290"/>
              <a:gd name="connsiteX906" fmla="*/ 1703271 w 1897116"/>
              <a:gd name="connsiteY906" fmla="*/ 9173 h 1087290"/>
              <a:gd name="connsiteX907" fmla="*/ 1704416 w 1897116"/>
              <a:gd name="connsiteY907" fmla="*/ 7926 h 1087290"/>
              <a:gd name="connsiteX908" fmla="*/ 1708027 w 1897116"/>
              <a:gd name="connsiteY908" fmla="*/ 11669 h 1087290"/>
              <a:gd name="connsiteX909" fmla="*/ 1710581 w 1897116"/>
              <a:gd name="connsiteY909" fmla="*/ 16628 h 1087290"/>
              <a:gd name="connsiteX910" fmla="*/ 1711549 w 1897116"/>
              <a:gd name="connsiteY910" fmla="*/ 15892 h 1087290"/>
              <a:gd name="connsiteX911" fmla="*/ 1716834 w 1897116"/>
              <a:gd name="connsiteY911" fmla="*/ 19315 h 1087290"/>
              <a:gd name="connsiteX912" fmla="*/ 1722646 w 1897116"/>
              <a:gd name="connsiteY912" fmla="*/ 21362 h 1087290"/>
              <a:gd name="connsiteX913" fmla="*/ 1727578 w 1897116"/>
              <a:gd name="connsiteY913" fmla="*/ 23506 h 1087290"/>
              <a:gd name="connsiteX914" fmla="*/ 1729076 w 1897116"/>
              <a:gd name="connsiteY914" fmla="*/ 21970 h 1087290"/>
              <a:gd name="connsiteX915" fmla="*/ 1733743 w 1897116"/>
              <a:gd name="connsiteY915" fmla="*/ 23474 h 1087290"/>
              <a:gd name="connsiteX916" fmla="*/ 1740965 w 1897116"/>
              <a:gd name="connsiteY916" fmla="*/ 21970 h 1087290"/>
              <a:gd name="connsiteX917" fmla="*/ 1742639 w 1897116"/>
              <a:gd name="connsiteY917" fmla="*/ 21330 h 1087290"/>
              <a:gd name="connsiteX918" fmla="*/ 1749949 w 1897116"/>
              <a:gd name="connsiteY918" fmla="*/ 21874 h 1087290"/>
              <a:gd name="connsiteX919" fmla="*/ 1758492 w 1897116"/>
              <a:gd name="connsiteY919" fmla="*/ 23154 h 1087290"/>
              <a:gd name="connsiteX920" fmla="*/ 1760517 w 1897116"/>
              <a:gd name="connsiteY920" fmla="*/ 25297 h 1087290"/>
              <a:gd name="connsiteX921" fmla="*/ 1765802 w 1897116"/>
              <a:gd name="connsiteY921" fmla="*/ 30576 h 1087290"/>
              <a:gd name="connsiteX922" fmla="*/ 1772583 w 1897116"/>
              <a:gd name="connsiteY922" fmla="*/ 34959 h 1087290"/>
              <a:gd name="connsiteX923" fmla="*/ 1781214 w 1897116"/>
              <a:gd name="connsiteY923" fmla="*/ 36622 h 1087290"/>
              <a:gd name="connsiteX924" fmla="*/ 1786058 w 1897116"/>
              <a:gd name="connsiteY924" fmla="*/ 34287 h 1087290"/>
              <a:gd name="connsiteX925" fmla="*/ 1786058 w 1897116"/>
              <a:gd name="connsiteY925" fmla="*/ 34639 h 1087290"/>
              <a:gd name="connsiteX926" fmla="*/ 1790638 w 1897116"/>
              <a:gd name="connsiteY926" fmla="*/ 36366 h 1087290"/>
              <a:gd name="connsiteX927" fmla="*/ 1789405 w 1897116"/>
              <a:gd name="connsiteY927" fmla="*/ 39406 h 1087290"/>
              <a:gd name="connsiteX928" fmla="*/ 1789669 w 1897116"/>
              <a:gd name="connsiteY928" fmla="*/ 45132 h 1087290"/>
              <a:gd name="connsiteX929" fmla="*/ 1789669 w 1897116"/>
              <a:gd name="connsiteY929" fmla="*/ 49227 h 1087290"/>
              <a:gd name="connsiteX930" fmla="*/ 1788700 w 1897116"/>
              <a:gd name="connsiteY930" fmla="*/ 49803 h 1087290"/>
              <a:gd name="connsiteX931" fmla="*/ 1789757 w 1897116"/>
              <a:gd name="connsiteY931" fmla="*/ 49899 h 1087290"/>
              <a:gd name="connsiteX932" fmla="*/ 1789669 w 1897116"/>
              <a:gd name="connsiteY932" fmla="*/ 49227 h 1087290"/>
              <a:gd name="connsiteX933" fmla="*/ 1794425 w 1897116"/>
              <a:gd name="connsiteY933" fmla="*/ 49643 h 1087290"/>
              <a:gd name="connsiteX934" fmla="*/ 1800061 w 1897116"/>
              <a:gd name="connsiteY934" fmla="*/ 49515 h 1087290"/>
              <a:gd name="connsiteX935" fmla="*/ 1804641 w 1897116"/>
              <a:gd name="connsiteY935" fmla="*/ 48747 h 1087290"/>
              <a:gd name="connsiteX936" fmla="*/ 1811335 w 1897116"/>
              <a:gd name="connsiteY936" fmla="*/ 46924 h 1087290"/>
              <a:gd name="connsiteX937" fmla="*/ 1811863 w 1897116"/>
              <a:gd name="connsiteY937" fmla="*/ 50859 h 1087290"/>
              <a:gd name="connsiteX938" fmla="*/ 1816707 w 1897116"/>
              <a:gd name="connsiteY938" fmla="*/ 45228 h 1087290"/>
              <a:gd name="connsiteX939" fmla="*/ 1821991 w 1897116"/>
              <a:gd name="connsiteY939" fmla="*/ 41581 h 1087290"/>
              <a:gd name="connsiteX940" fmla="*/ 1828332 w 1897116"/>
              <a:gd name="connsiteY940" fmla="*/ 41773 h 1087290"/>
              <a:gd name="connsiteX941" fmla="*/ 1830710 w 1897116"/>
              <a:gd name="connsiteY941" fmla="*/ 37902 h 1087290"/>
              <a:gd name="connsiteX942" fmla="*/ 1834585 w 1897116"/>
              <a:gd name="connsiteY942" fmla="*/ 35471 h 1087290"/>
              <a:gd name="connsiteX943" fmla="*/ 1835202 w 1897116"/>
              <a:gd name="connsiteY943" fmla="*/ 36015 h 1087290"/>
              <a:gd name="connsiteX944" fmla="*/ 1840398 w 1897116"/>
              <a:gd name="connsiteY944" fmla="*/ 40173 h 1087290"/>
              <a:gd name="connsiteX945" fmla="*/ 1843481 w 1897116"/>
              <a:gd name="connsiteY945" fmla="*/ 46284 h 1087290"/>
              <a:gd name="connsiteX946" fmla="*/ 1846827 w 1897116"/>
              <a:gd name="connsiteY946" fmla="*/ 50699 h 1087290"/>
              <a:gd name="connsiteX947" fmla="*/ 1850967 w 1897116"/>
              <a:gd name="connsiteY947" fmla="*/ 46092 h 1087290"/>
              <a:gd name="connsiteX948" fmla="*/ 1855018 w 1897116"/>
              <a:gd name="connsiteY948" fmla="*/ 41549 h 1087290"/>
              <a:gd name="connsiteX949" fmla="*/ 1857660 w 1897116"/>
              <a:gd name="connsiteY949" fmla="*/ 40013 h 1087290"/>
              <a:gd name="connsiteX950" fmla="*/ 1858277 w 1897116"/>
              <a:gd name="connsiteY950" fmla="*/ 47756 h 1087290"/>
              <a:gd name="connsiteX951" fmla="*/ 1857660 w 1897116"/>
              <a:gd name="connsiteY951" fmla="*/ 57001 h 1087290"/>
              <a:gd name="connsiteX952" fmla="*/ 1857924 w 1897116"/>
              <a:gd name="connsiteY952" fmla="*/ 57225 h 1087290"/>
              <a:gd name="connsiteX953" fmla="*/ 1859157 w 1897116"/>
              <a:gd name="connsiteY953" fmla="*/ 56041 h 1087290"/>
              <a:gd name="connsiteX954" fmla="*/ 1862944 w 1897116"/>
              <a:gd name="connsiteY954" fmla="*/ 56457 h 1087290"/>
              <a:gd name="connsiteX955" fmla="*/ 1865763 w 1897116"/>
              <a:gd name="connsiteY955" fmla="*/ 50539 h 1087290"/>
              <a:gd name="connsiteX956" fmla="*/ 1873865 w 1897116"/>
              <a:gd name="connsiteY956" fmla="*/ 44076 h 1087290"/>
              <a:gd name="connsiteX957" fmla="*/ 1879502 w 1897116"/>
              <a:gd name="connsiteY957" fmla="*/ 41357 h 1087290"/>
              <a:gd name="connsiteX958" fmla="*/ 1883377 w 1897116"/>
              <a:gd name="connsiteY958" fmla="*/ 35919 h 1087290"/>
              <a:gd name="connsiteX959" fmla="*/ 1881792 w 1897116"/>
              <a:gd name="connsiteY959" fmla="*/ 34639 h 1087290"/>
              <a:gd name="connsiteX960" fmla="*/ 1888485 w 1897116"/>
              <a:gd name="connsiteY960" fmla="*/ 31408 h 1087290"/>
              <a:gd name="connsiteX961" fmla="*/ 1892008 w 1897116"/>
              <a:gd name="connsiteY961" fmla="*/ 29648 h 1087290"/>
              <a:gd name="connsiteX962" fmla="*/ 1893593 w 1897116"/>
              <a:gd name="connsiteY962" fmla="*/ 37262 h 1087290"/>
              <a:gd name="connsiteX963" fmla="*/ 1892360 w 1897116"/>
              <a:gd name="connsiteY963" fmla="*/ 44268 h 1087290"/>
              <a:gd name="connsiteX964" fmla="*/ 1897116 w 1897116"/>
              <a:gd name="connsiteY964" fmla="*/ 48459 h 1087290"/>
              <a:gd name="connsiteX965" fmla="*/ 1886628 w 1897116"/>
              <a:gd name="connsiteY965" fmla="*/ 968560 h 1087290"/>
              <a:gd name="connsiteX966" fmla="*/ 1886628 w 1897116"/>
              <a:gd name="connsiteY966" fmla="*/ 980213 h 1087290"/>
              <a:gd name="connsiteX967" fmla="*/ 1886628 w 1897116"/>
              <a:gd name="connsiteY967" fmla="*/ 988837 h 1087290"/>
              <a:gd name="connsiteX968" fmla="*/ 1886628 w 1897116"/>
              <a:gd name="connsiteY968" fmla="*/ 994240 h 1087290"/>
              <a:gd name="connsiteX969" fmla="*/ 1886628 w 1897116"/>
              <a:gd name="connsiteY969" fmla="*/ 996096 h 1087290"/>
              <a:gd name="connsiteX970" fmla="*/ 1882510 w 1897116"/>
              <a:gd name="connsiteY970" fmla="*/ 998770 h 1087290"/>
              <a:gd name="connsiteX971" fmla="*/ 1877778 w 1897116"/>
              <a:gd name="connsiteY971" fmla="*/ 1002427 h 1087290"/>
              <a:gd name="connsiteX972" fmla="*/ 1874360 w 1897116"/>
              <a:gd name="connsiteY972" fmla="*/ 1006329 h 1087290"/>
              <a:gd name="connsiteX973" fmla="*/ 1869716 w 1897116"/>
              <a:gd name="connsiteY973" fmla="*/ 1009222 h 1087290"/>
              <a:gd name="connsiteX974" fmla="*/ 1869102 w 1897116"/>
              <a:gd name="connsiteY974" fmla="*/ 1006684 h 1087290"/>
              <a:gd name="connsiteX975" fmla="*/ 1867262 w 1897116"/>
              <a:gd name="connsiteY975" fmla="*/ 996696 h 1087290"/>
              <a:gd name="connsiteX976" fmla="*/ 1864984 w 1897116"/>
              <a:gd name="connsiteY976" fmla="*/ 989273 h 1087290"/>
              <a:gd name="connsiteX977" fmla="*/ 1864984 w 1897116"/>
              <a:gd name="connsiteY977" fmla="*/ 984170 h 1087290"/>
              <a:gd name="connsiteX978" fmla="*/ 1863669 w 1897116"/>
              <a:gd name="connsiteY978" fmla="*/ 989273 h 1087290"/>
              <a:gd name="connsiteX979" fmla="*/ 1862355 w 1897116"/>
              <a:gd name="connsiteY979" fmla="*/ 994649 h 1087290"/>
              <a:gd name="connsiteX980" fmla="*/ 1860690 w 1897116"/>
              <a:gd name="connsiteY980" fmla="*/ 1001090 h 1087290"/>
              <a:gd name="connsiteX981" fmla="*/ 1858324 w 1897116"/>
              <a:gd name="connsiteY981" fmla="*/ 1008731 h 1087290"/>
              <a:gd name="connsiteX982" fmla="*/ 1857360 w 1897116"/>
              <a:gd name="connsiteY982" fmla="*/ 1014161 h 1087290"/>
              <a:gd name="connsiteX983" fmla="*/ 1855607 w 1897116"/>
              <a:gd name="connsiteY983" fmla="*/ 1021284 h 1087290"/>
              <a:gd name="connsiteX984" fmla="*/ 1854819 w 1897116"/>
              <a:gd name="connsiteY984" fmla="*/ 1024695 h 1087290"/>
              <a:gd name="connsiteX985" fmla="*/ 1854994 w 1897116"/>
              <a:gd name="connsiteY985" fmla="*/ 1030562 h 1087290"/>
              <a:gd name="connsiteX986" fmla="*/ 1853504 w 1897116"/>
              <a:gd name="connsiteY986" fmla="*/ 1034083 h 1087290"/>
              <a:gd name="connsiteX987" fmla="*/ 1847831 w 1897116"/>
              <a:gd name="connsiteY987" fmla="*/ 1034044 h 1087290"/>
              <a:gd name="connsiteX988" fmla="*/ 1846998 w 1897116"/>
              <a:gd name="connsiteY988" fmla="*/ 1033257 h 1087290"/>
              <a:gd name="connsiteX989" fmla="*/ 1846947 w 1897116"/>
              <a:gd name="connsiteY989" fmla="*/ 1033944 h 1087290"/>
              <a:gd name="connsiteX990" fmla="*/ 1841061 w 1897116"/>
              <a:gd name="connsiteY990" fmla="*/ 1031708 h 1087290"/>
              <a:gd name="connsiteX991" fmla="*/ 1834313 w 1897116"/>
              <a:gd name="connsiteY991" fmla="*/ 1027506 h 1087290"/>
              <a:gd name="connsiteX992" fmla="*/ 1829406 w 1897116"/>
              <a:gd name="connsiteY992" fmla="*/ 1032418 h 1087290"/>
              <a:gd name="connsiteX993" fmla="*/ 1824587 w 1897116"/>
              <a:gd name="connsiteY993" fmla="*/ 1037303 h 1087290"/>
              <a:gd name="connsiteX994" fmla="*/ 1820205 w 1897116"/>
              <a:gd name="connsiteY994" fmla="*/ 1041560 h 1087290"/>
              <a:gd name="connsiteX995" fmla="*/ 1816087 w 1897116"/>
              <a:gd name="connsiteY995" fmla="*/ 1045872 h 1087290"/>
              <a:gd name="connsiteX996" fmla="*/ 1810391 w 1897116"/>
              <a:gd name="connsiteY996" fmla="*/ 1048874 h 1087290"/>
              <a:gd name="connsiteX997" fmla="*/ 1804782 w 1897116"/>
              <a:gd name="connsiteY997" fmla="*/ 1050347 h 1087290"/>
              <a:gd name="connsiteX998" fmla="*/ 1804552 w 1897116"/>
              <a:gd name="connsiteY998" fmla="*/ 1048972 h 1087290"/>
              <a:gd name="connsiteX999" fmla="*/ 1801462 w 1897116"/>
              <a:gd name="connsiteY999" fmla="*/ 1048324 h 1087290"/>
              <a:gd name="connsiteX1000" fmla="*/ 1802230 w 1897116"/>
              <a:gd name="connsiteY1000" fmla="*/ 1047946 h 1087290"/>
              <a:gd name="connsiteX1001" fmla="*/ 1800050 w 1897116"/>
              <a:gd name="connsiteY1001" fmla="*/ 1048028 h 1087290"/>
              <a:gd name="connsiteX1002" fmla="*/ 1801462 w 1897116"/>
              <a:gd name="connsiteY1002" fmla="*/ 1048324 h 1087290"/>
              <a:gd name="connsiteX1003" fmla="*/ 1795406 w 1897116"/>
              <a:gd name="connsiteY1003" fmla="*/ 1051302 h 1087290"/>
              <a:gd name="connsiteX1004" fmla="*/ 1791550 w 1897116"/>
              <a:gd name="connsiteY1004" fmla="*/ 1047673 h 1087290"/>
              <a:gd name="connsiteX1005" fmla="*/ 1792251 w 1897116"/>
              <a:gd name="connsiteY1005" fmla="*/ 1043361 h 1087290"/>
              <a:gd name="connsiteX1006" fmla="*/ 1787958 w 1897116"/>
              <a:gd name="connsiteY1006" fmla="*/ 1041014 h 1087290"/>
              <a:gd name="connsiteX1007" fmla="*/ 1781561 w 1897116"/>
              <a:gd name="connsiteY1007" fmla="*/ 1044343 h 1087290"/>
              <a:gd name="connsiteX1008" fmla="*/ 1779983 w 1897116"/>
              <a:gd name="connsiteY1008" fmla="*/ 1043579 h 1087290"/>
              <a:gd name="connsiteX1009" fmla="*/ 1773148 w 1897116"/>
              <a:gd name="connsiteY1009" fmla="*/ 1046472 h 1087290"/>
              <a:gd name="connsiteX1010" fmla="*/ 1771020 w 1897116"/>
              <a:gd name="connsiteY1010" fmla="*/ 1049962 h 1087290"/>
              <a:gd name="connsiteX1011" fmla="*/ 1768300 w 1897116"/>
              <a:gd name="connsiteY1011" fmla="*/ 1049999 h 1087290"/>
              <a:gd name="connsiteX1012" fmla="*/ 1767189 w 1897116"/>
              <a:gd name="connsiteY1012" fmla="*/ 1049829 h 1087290"/>
              <a:gd name="connsiteX1013" fmla="*/ 1767327 w 1897116"/>
              <a:gd name="connsiteY1013" fmla="*/ 1050013 h 1087290"/>
              <a:gd name="connsiteX1014" fmla="*/ 1766839 w 1897116"/>
              <a:gd name="connsiteY1014" fmla="*/ 1050020 h 1087290"/>
              <a:gd name="connsiteX1015" fmla="*/ 1762096 w 1897116"/>
              <a:gd name="connsiteY1015" fmla="*/ 1045145 h 1087290"/>
              <a:gd name="connsiteX1016" fmla="*/ 1768218 w 1897116"/>
              <a:gd name="connsiteY1016" fmla="*/ 1044030 h 1087290"/>
              <a:gd name="connsiteX1017" fmla="*/ 1768591 w 1897116"/>
              <a:gd name="connsiteY1017" fmla="*/ 1044289 h 1087290"/>
              <a:gd name="connsiteX1018" fmla="*/ 1769643 w 1897116"/>
              <a:gd name="connsiteY1018" fmla="*/ 1043770 h 1087290"/>
              <a:gd name="connsiteX1019" fmla="*/ 1768218 w 1897116"/>
              <a:gd name="connsiteY1019" fmla="*/ 1044030 h 1087290"/>
              <a:gd name="connsiteX1020" fmla="*/ 1767573 w 1897116"/>
              <a:gd name="connsiteY1020" fmla="*/ 1043583 h 1087290"/>
              <a:gd name="connsiteX1021" fmla="*/ 1761231 w 1897116"/>
              <a:gd name="connsiteY1021" fmla="*/ 1040850 h 1087290"/>
              <a:gd name="connsiteX1022" fmla="*/ 1752730 w 1897116"/>
              <a:gd name="connsiteY1022" fmla="*/ 1037930 h 1087290"/>
              <a:gd name="connsiteX1023" fmla="*/ 1750737 w 1897116"/>
              <a:gd name="connsiteY1023" fmla="*/ 1040216 h 1087290"/>
              <a:gd name="connsiteX1024" fmla="*/ 1749661 w 1897116"/>
              <a:gd name="connsiteY1024" fmla="*/ 1041465 h 1087290"/>
              <a:gd name="connsiteX1025" fmla="*/ 1749156 w 1897116"/>
              <a:gd name="connsiteY1025" fmla="*/ 1040798 h 1087290"/>
              <a:gd name="connsiteX1026" fmla="*/ 1748612 w 1897116"/>
              <a:gd name="connsiteY1026" fmla="*/ 1042706 h 1087290"/>
              <a:gd name="connsiteX1027" fmla="*/ 1750726 w 1897116"/>
              <a:gd name="connsiteY1027" fmla="*/ 1043089 h 1087290"/>
              <a:gd name="connsiteX1028" fmla="*/ 1749488 w 1897116"/>
              <a:gd name="connsiteY1028" fmla="*/ 1045599 h 1087290"/>
              <a:gd name="connsiteX1029" fmla="*/ 1742215 w 1897116"/>
              <a:gd name="connsiteY1029" fmla="*/ 1041778 h 1087290"/>
              <a:gd name="connsiteX1030" fmla="*/ 1736870 w 1897116"/>
              <a:gd name="connsiteY1030" fmla="*/ 1042051 h 1087290"/>
              <a:gd name="connsiteX1031" fmla="*/ 1730406 w 1897116"/>
              <a:gd name="connsiteY1031" fmla="*/ 1043213 h 1087290"/>
              <a:gd name="connsiteX1032" fmla="*/ 1728950 w 1897116"/>
              <a:gd name="connsiteY1032" fmla="*/ 1043524 h 1087290"/>
              <a:gd name="connsiteX1033" fmla="*/ 1728402 w 1897116"/>
              <a:gd name="connsiteY1033" fmla="*/ 1042198 h 1087290"/>
              <a:gd name="connsiteX1034" fmla="*/ 1723988 w 1897116"/>
              <a:gd name="connsiteY1034" fmla="*/ 1044589 h 1087290"/>
              <a:gd name="connsiteX1035" fmla="*/ 1723287 w 1897116"/>
              <a:gd name="connsiteY1035" fmla="*/ 1048955 h 1087290"/>
              <a:gd name="connsiteX1036" fmla="*/ 1719168 w 1897116"/>
              <a:gd name="connsiteY1036" fmla="*/ 1055177 h 1087290"/>
              <a:gd name="connsiteX1037" fmla="*/ 1713648 w 1897116"/>
              <a:gd name="connsiteY1037" fmla="*/ 1054304 h 1087290"/>
              <a:gd name="connsiteX1038" fmla="*/ 1713998 w 1897116"/>
              <a:gd name="connsiteY1038" fmla="*/ 1056051 h 1087290"/>
              <a:gd name="connsiteX1039" fmla="*/ 1708302 w 1897116"/>
              <a:gd name="connsiteY1039" fmla="*/ 1054413 h 1087290"/>
              <a:gd name="connsiteX1040" fmla="*/ 1702606 w 1897116"/>
              <a:gd name="connsiteY1040" fmla="*/ 1058398 h 1087290"/>
              <a:gd name="connsiteX1041" fmla="*/ 1699978 w 1897116"/>
              <a:gd name="connsiteY1041" fmla="*/ 1056979 h 1087290"/>
              <a:gd name="connsiteX1042" fmla="*/ 1696560 w 1897116"/>
              <a:gd name="connsiteY1042" fmla="*/ 1056105 h 1087290"/>
              <a:gd name="connsiteX1043" fmla="*/ 1693493 w 1897116"/>
              <a:gd name="connsiteY1043" fmla="*/ 1062245 h 1087290"/>
              <a:gd name="connsiteX1044" fmla="*/ 1692441 w 1897116"/>
              <a:gd name="connsiteY1044" fmla="*/ 1063528 h 1087290"/>
              <a:gd name="connsiteX1045" fmla="*/ 1684905 w 1897116"/>
              <a:gd name="connsiteY1045" fmla="*/ 1064674 h 1087290"/>
              <a:gd name="connsiteX1046" fmla="*/ 1683941 w 1897116"/>
              <a:gd name="connsiteY1046" fmla="*/ 1062737 h 1087290"/>
              <a:gd name="connsiteX1047" fmla="*/ 1681488 w 1897116"/>
              <a:gd name="connsiteY1047" fmla="*/ 1059489 h 1087290"/>
              <a:gd name="connsiteX1048" fmla="*/ 1675178 w 1897116"/>
              <a:gd name="connsiteY1048" fmla="*/ 1061727 h 1087290"/>
              <a:gd name="connsiteX1049" fmla="*/ 1669132 w 1897116"/>
              <a:gd name="connsiteY1049" fmla="*/ 1062000 h 1087290"/>
              <a:gd name="connsiteX1050" fmla="*/ 1664049 w 1897116"/>
              <a:gd name="connsiteY1050" fmla="*/ 1060499 h 1087290"/>
              <a:gd name="connsiteX1051" fmla="*/ 1662560 w 1897116"/>
              <a:gd name="connsiteY1051" fmla="*/ 1065493 h 1087290"/>
              <a:gd name="connsiteX1052" fmla="*/ 1652745 w 1897116"/>
              <a:gd name="connsiteY1052" fmla="*/ 1059571 h 1087290"/>
              <a:gd name="connsiteX1053" fmla="*/ 1647400 w 1897116"/>
              <a:gd name="connsiteY1053" fmla="*/ 1050484 h 1087290"/>
              <a:gd name="connsiteX1054" fmla="*/ 1646085 w 1897116"/>
              <a:gd name="connsiteY1054" fmla="*/ 1056214 h 1087290"/>
              <a:gd name="connsiteX1055" fmla="*/ 1640214 w 1897116"/>
              <a:gd name="connsiteY1055" fmla="*/ 1054386 h 1087290"/>
              <a:gd name="connsiteX1056" fmla="*/ 1630225 w 1897116"/>
              <a:gd name="connsiteY1056" fmla="*/ 1054086 h 1087290"/>
              <a:gd name="connsiteX1057" fmla="*/ 1624003 w 1897116"/>
              <a:gd name="connsiteY1057" fmla="*/ 1053294 h 1087290"/>
              <a:gd name="connsiteX1058" fmla="*/ 1622250 w 1897116"/>
              <a:gd name="connsiteY1058" fmla="*/ 1056023 h 1087290"/>
              <a:gd name="connsiteX1059" fmla="*/ 1613663 w 1897116"/>
              <a:gd name="connsiteY1059" fmla="*/ 1057333 h 1087290"/>
              <a:gd name="connsiteX1060" fmla="*/ 1609106 w 1897116"/>
              <a:gd name="connsiteY1060" fmla="*/ 1058479 h 1087290"/>
              <a:gd name="connsiteX1061" fmla="*/ 1610683 w 1897116"/>
              <a:gd name="connsiteY1061" fmla="*/ 1054795 h 1087290"/>
              <a:gd name="connsiteX1062" fmla="*/ 1605163 w 1897116"/>
              <a:gd name="connsiteY1062" fmla="*/ 1050102 h 1087290"/>
              <a:gd name="connsiteX1063" fmla="*/ 1600606 w 1897116"/>
              <a:gd name="connsiteY1063" fmla="*/ 1049965 h 1087290"/>
              <a:gd name="connsiteX1064" fmla="*/ 1596224 w 1897116"/>
              <a:gd name="connsiteY1064" fmla="*/ 1046963 h 1087290"/>
              <a:gd name="connsiteX1065" fmla="*/ 1593596 w 1897116"/>
              <a:gd name="connsiteY1065" fmla="*/ 1047994 h 1087290"/>
              <a:gd name="connsiteX1066" fmla="*/ 1589459 w 1897116"/>
              <a:gd name="connsiteY1066" fmla="*/ 1045424 h 1087290"/>
              <a:gd name="connsiteX1067" fmla="*/ 1590781 w 1897116"/>
              <a:gd name="connsiteY1067" fmla="*/ 1042061 h 1087290"/>
              <a:gd name="connsiteX1068" fmla="*/ 1589126 w 1897116"/>
              <a:gd name="connsiteY1068" fmla="*/ 1045217 h 1087290"/>
              <a:gd name="connsiteX1069" fmla="*/ 1589459 w 1897116"/>
              <a:gd name="connsiteY1069" fmla="*/ 1045424 h 1087290"/>
              <a:gd name="connsiteX1070" fmla="*/ 1588425 w 1897116"/>
              <a:gd name="connsiteY1070" fmla="*/ 1048055 h 1087290"/>
              <a:gd name="connsiteX1071" fmla="*/ 1583956 w 1897116"/>
              <a:gd name="connsiteY1071" fmla="*/ 1046581 h 1087290"/>
              <a:gd name="connsiteX1072" fmla="*/ 1582817 w 1897116"/>
              <a:gd name="connsiteY1072" fmla="*/ 1050948 h 1087290"/>
              <a:gd name="connsiteX1073" fmla="*/ 1584764 w 1897116"/>
              <a:gd name="connsiteY1073" fmla="*/ 1052756 h 1087290"/>
              <a:gd name="connsiteX1074" fmla="*/ 1580977 w 1897116"/>
              <a:gd name="connsiteY1074" fmla="*/ 1052012 h 1087290"/>
              <a:gd name="connsiteX1075" fmla="*/ 1578305 w 1897116"/>
              <a:gd name="connsiteY1075" fmla="*/ 1051874 h 1087290"/>
              <a:gd name="connsiteX1076" fmla="*/ 1574492 w 1897116"/>
              <a:gd name="connsiteY1076" fmla="*/ 1050347 h 1087290"/>
              <a:gd name="connsiteX1077" fmla="*/ 1567482 w 1897116"/>
              <a:gd name="connsiteY1077" fmla="*/ 1046145 h 1087290"/>
              <a:gd name="connsiteX1078" fmla="*/ 1563100 w 1897116"/>
              <a:gd name="connsiteY1078" fmla="*/ 1047591 h 1087290"/>
              <a:gd name="connsiteX1079" fmla="*/ 1552410 w 1897116"/>
              <a:gd name="connsiteY1079" fmla="*/ 1048137 h 1087290"/>
              <a:gd name="connsiteX1080" fmla="*/ 1542245 w 1897116"/>
              <a:gd name="connsiteY1080" fmla="*/ 1055041 h 1087290"/>
              <a:gd name="connsiteX1081" fmla="*/ 1537074 w 1897116"/>
              <a:gd name="connsiteY1081" fmla="*/ 1063610 h 1087290"/>
              <a:gd name="connsiteX1082" fmla="*/ 1535753 w 1897116"/>
              <a:gd name="connsiteY1082" fmla="*/ 1064310 h 1087290"/>
              <a:gd name="connsiteX1083" fmla="*/ 1534555 w 1897116"/>
              <a:gd name="connsiteY1083" fmla="*/ 1061710 h 1087290"/>
              <a:gd name="connsiteX1084" fmla="*/ 1535409 w 1897116"/>
              <a:gd name="connsiteY1084" fmla="*/ 1062627 h 1087290"/>
              <a:gd name="connsiteX1085" fmla="*/ 1533482 w 1897116"/>
              <a:gd name="connsiteY1085" fmla="*/ 1055942 h 1087290"/>
              <a:gd name="connsiteX1086" fmla="*/ 1532167 w 1897116"/>
              <a:gd name="connsiteY1086" fmla="*/ 1049501 h 1087290"/>
              <a:gd name="connsiteX1087" fmla="*/ 1532496 w 1897116"/>
              <a:gd name="connsiteY1087" fmla="*/ 1046731 h 1087290"/>
              <a:gd name="connsiteX1088" fmla="*/ 1532058 w 1897116"/>
              <a:gd name="connsiteY1088" fmla="*/ 1045420 h 1087290"/>
              <a:gd name="connsiteX1089" fmla="*/ 1532342 w 1897116"/>
              <a:gd name="connsiteY1089" fmla="*/ 1044848 h 1087290"/>
              <a:gd name="connsiteX1090" fmla="*/ 1530972 w 1897116"/>
              <a:gd name="connsiteY1090" fmla="*/ 1038571 h 1087290"/>
              <a:gd name="connsiteX1091" fmla="*/ 1531543 w 1897116"/>
              <a:gd name="connsiteY1091" fmla="*/ 1038404 h 1087290"/>
              <a:gd name="connsiteX1092" fmla="*/ 1530677 w 1897116"/>
              <a:gd name="connsiteY1092" fmla="*/ 1037221 h 1087290"/>
              <a:gd name="connsiteX1093" fmla="*/ 1530972 w 1897116"/>
              <a:gd name="connsiteY1093" fmla="*/ 1038571 h 1087290"/>
              <a:gd name="connsiteX1094" fmla="*/ 1524456 w 1897116"/>
              <a:gd name="connsiteY1094" fmla="*/ 1040468 h 1087290"/>
              <a:gd name="connsiteX1095" fmla="*/ 1518322 w 1897116"/>
              <a:gd name="connsiteY1095" fmla="*/ 1043689 h 1087290"/>
              <a:gd name="connsiteX1096" fmla="*/ 1510085 w 1897116"/>
              <a:gd name="connsiteY1096" fmla="*/ 1046636 h 1087290"/>
              <a:gd name="connsiteX1097" fmla="*/ 1506054 w 1897116"/>
              <a:gd name="connsiteY1097" fmla="*/ 1048491 h 1087290"/>
              <a:gd name="connsiteX1098" fmla="*/ 1500621 w 1897116"/>
              <a:gd name="connsiteY1098" fmla="*/ 1051029 h 1087290"/>
              <a:gd name="connsiteX1099" fmla="*/ 1492822 w 1897116"/>
              <a:gd name="connsiteY1099" fmla="*/ 1048491 h 1087290"/>
              <a:gd name="connsiteX1100" fmla="*/ 1485285 w 1897116"/>
              <a:gd name="connsiteY1100" fmla="*/ 1046581 h 1087290"/>
              <a:gd name="connsiteX1101" fmla="*/ 1485461 w 1897116"/>
              <a:gd name="connsiteY1101" fmla="*/ 1045571 h 1087290"/>
              <a:gd name="connsiteX1102" fmla="*/ 1487389 w 1897116"/>
              <a:gd name="connsiteY1102" fmla="*/ 1043252 h 1087290"/>
              <a:gd name="connsiteX1103" fmla="*/ 1480816 w 1897116"/>
              <a:gd name="connsiteY1103" fmla="*/ 1040359 h 1087290"/>
              <a:gd name="connsiteX1104" fmla="*/ 1481079 w 1897116"/>
              <a:gd name="connsiteY1104" fmla="*/ 1038940 h 1087290"/>
              <a:gd name="connsiteX1105" fmla="*/ 1475646 w 1897116"/>
              <a:gd name="connsiteY1105" fmla="*/ 1034055 h 1087290"/>
              <a:gd name="connsiteX1106" fmla="*/ 1475208 w 1897116"/>
              <a:gd name="connsiteY1106" fmla="*/ 1036757 h 1087290"/>
              <a:gd name="connsiteX1107" fmla="*/ 1471878 w 1897116"/>
              <a:gd name="connsiteY1107" fmla="*/ 1030344 h 1087290"/>
              <a:gd name="connsiteX1108" fmla="*/ 1467059 w 1897116"/>
              <a:gd name="connsiteY1108" fmla="*/ 1027560 h 1087290"/>
              <a:gd name="connsiteX1109" fmla="*/ 1461187 w 1897116"/>
              <a:gd name="connsiteY1109" fmla="*/ 1028788 h 1087290"/>
              <a:gd name="connsiteX1110" fmla="*/ 1459873 w 1897116"/>
              <a:gd name="connsiteY1110" fmla="*/ 1024067 h 1087290"/>
              <a:gd name="connsiteX1111" fmla="*/ 1454002 w 1897116"/>
              <a:gd name="connsiteY1111" fmla="*/ 1024122 h 1087290"/>
              <a:gd name="connsiteX1112" fmla="*/ 1447342 w 1897116"/>
              <a:gd name="connsiteY1112" fmla="*/ 1025541 h 1087290"/>
              <a:gd name="connsiteX1113" fmla="*/ 1441295 w 1897116"/>
              <a:gd name="connsiteY1113" fmla="*/ 1026332 h 1087290"/>
              <a:gd name="connsiteX1114" fmla="*/ 1433935 w 1897116"/>
              <a:gd name="connsiteY1114" fmla="*/ 1029389 h 1087290"/>
              <a:gd name="connsiteX1115" fmla="*/ 1429641 w 1897116"/>
              <a:gd name="connsiteY1115" fmla="*/ 1030944 h 1087290"/>
              <a:gd name="connsiteX1116" fmla="*/ 1424821 w 1897116"/>
              <a:gd name="connsiteY1116" fmla="*/ 1033510 h 1087290"/>
              <a:gd name="connsiteX1117" fmla="*/ 1419300 w 1897116"/>
              <a:gd name="connsiteY1117" fmla="*/ 1035065 h 1087290"/>
              <a:gd name="connsiteX1118" fmla="*/ 1410800 w 1897116"/>
              <a:gd name="connsiteY1118" fmla="*/ 1035829 h 1087290"/>
              <a:gd name="connsiteX1119" fmla="*/ 1405630 w 1897116"/>
              <a:gd name="connsiteY1119" fmla="*/ 1032281 h 1087290"/>
              <a:gd name="connsiteX1120" fmla="*/ 1403878 w 1897116"/>
              <a:gd name="connsiteY1120" fmla="*/ 1031872 h 1087290"/>
              <a:gd name="connsiteX1121" fmla="*/ 1400548 w 1897116"/>
              <a:gd name="connsiteY1121" fmla="*/ 1024913 h 1087290"/>
              <a:gd name="connsiteX1122" fmla="*/ 1397744 w 1897116"/>
              <a:gd name="connsiteY1122" fmla="*/ 1019565 h 1087290"/>
              <a:gd name="connsiteX1123" fmla="*/ 1394939 w 1897116"/>
              <a:gd name="connsiteY1123" fmla="*/ 1014243 h 1087290"/>
              <a:gd name="connsiteX1124" fmla="*/ 1390295 w 1897116"/>
              <a:gd name="connsiteY1124" fmla="*/ 1018528 h 1087290"/>
              <a:gd name="connsiteX1125" fmla="*/ 1391610 w 1897116"/>
              <a:gd name="connsiteY1125" fmla="*/ 1025480 h 1087290"/>
              <a:gd name="connsiteX1126" fmla="*/ 1387307 w 1897116"/>
              <a:gd name="connsiteY1126" fmla="*/ 1023581 h 1087290"/>
              <a:gd name="connsiteX1127" fmla="*/ 1387579 w 1897116"/>
              <a:gd name="connsiteY1127" fmla="*/ 1023535 h 1087290"/>
              <a:gd name="connsiteX1128" fmla="*/ 1385563 w 1897116"/>
              <a:gd name="connsiteY1128" fmla="*/ 1022812 h 1087290"/>
              <a:gd name="connsiteX1129" fmla="*/ 1387307 w 1897116"/>
              <a:gd name="connsiteY1129" fmla="*/ 1023581 h 1087290"/>
              <a:gd name="connsiteX1130" fmla="*/ 1380919 w 1897116"/>
              <a:gd name="connsiteY1130" fmla="*/ 1024668 h 1087290"/>
              <a:gd name="connsiteX1131" fmla="*/ 1376537 w 1897116"/>
              <a:gd name="connsiteY1131" fmla="*/ 1024913 h 1087290"/>
              <a:gd name="connsiteX1132" fmla="*/ 1371192 w 1897116"/>
              <a:gd name="connsiteY1132" fmla="*/ 1022294 h 1087290"/>
              <a:gd name="connsiteX1133" fmla="*/ 1366109 w 1897116"/>
              <a:gd name="connsiteY1133" fmla="*/ 1018991 h 1087290"/>
              <a:gd name="connsiteX1134" fmla="*/ 1361991 w 1897116"/>
              <a:gd name="connsiteY1134" fmla="*/ 1019674 h 1087290"/>
              <a:gd name="connsiteX1135" fmla="*/ 1355419 w 1897116"/>
              <a:gd name="connsiteY1135" fmla="*/ 1019155 h 1087290"/>
              <a:gd name="connsiteX1136" fmla="*/ 1351212 w 1897116"/>
              <a:gd name="connsiteY1136" fmla="*/ 1018555 h 1087290"/>
              <a:gd name="connsiteX1137" fmla="*/ 1345604 w 1897116"/>
              <a:gd name="connsiteY1137" fmla="*/ 1019728 h 1087290"/>
              <a:gd name="connsiteX1138" fmla="*/ 1341644 w 1897116"/>
              <a:gd name="connsiteY1138" fmla="*/ 1021457 h 1087290"/>
              <a:gd name="connsiteX1139" fmla="*/ 1339295 w 1897116"/>
              <a:gd name="connsiteY1139" fmla="*/ 1021011 h 1087290"/>
              <a:gd name="connsiteX1140" fmla="*/ 1336781 w 1897116"/>
              <a:gd name="connsiteY1140" fmla="*/ 1023170 h 1087290"/>
              <a:gd name="connsiteX1141" fmla="*/ 1334650 w 1897116"/>
              <a:gd name="connsiteY1141" fmla="*/ 1023685 h 1087290"/>
              <a:gd name="connsiteX1142" fmla="*/ 1329130 w 1897116"/>
              <a:gd name="connsiteY1142" fmla="*/ 1023985 h 1087290"/>
              <a:gd name="connsiteX1143" fmla="*/ 1328166 w 1897116"/>
              <a:gd name="connsiteY1143" fmla="*/ 1028570 h 1087290"/>
              <a:gd name="connsiteX1144" fmla="*/ 1323434 w 1897116"/>
              <a:gd name="connsiteY1144" fmla="*/ 1029962 h 1087290"/>
              <a:gd name="connsiteX1145" fmla="*/ 1319403 w 1897116"/>
              <a:gd name="connsiteY1145" fmla="*/ 1035065 h 1087290"/>
              <a:gd name="connsiteX1146" fmla="*/ 1313795 w 1897116"/>
              <a:gd name="connsiteY1146" fmla="*/ 1035311 h 1087290"/>
              <a:gd name="connsiteX1147" fmla="*/ 1309939 w 1897116"/>
              <a:gd name="connsiteY1147" fmla="*/ 1040332 h 1087290"/>
              <a:gd name="connsiteX1148" fmla="*/ 1309238 w 1897116"/>
              <a:gd name="connsiteY1148" fmla="*/ 1037330 h 1087290"/>
              <a:gd name="connsiteX1149" fmla="*/ 1308712 w 1897116"/>
              <a:gd name="connsiteY1149" fmla="*/ 1032691 h 1087290"/>
              <a:gd name="connsiteX1150" fmla="*/ 1307310 w 1897116"/>
              <a:gd name="connsiteY1150" fmla="*/ 1029361 h 1087290"/>
              <a:gd name="connsiteX1151" fmla="*/ 1302929 w 1897116"/>
              <a:gd name="connsiteY1151" fmla="*/ 1029252 h 1087290"/>
              <a:gd name="connsiteX1152" fmla="*/ 1297671 w 1897116"/>
              <a:gd name="connsiteY1152" fmla="*/ 1030535 h 1087290"/>
              <a:gd name="connsiteX1153" fmla="*/ 1286542 w 1897116"/>
              <a:gd name="connsiteY1153" fmla="*/ 1034874 h 1087290"/>
              <a:gd name="connsiteX1154" fmla="*/ 1275588 w 1897116"/>
              <a:gd name="connsiteY1154" fmla="*/ 1041696 h 1087290"/>
              <a:gd name="connsiteX1155" fmla="*/ 1270330 w 1897116"/>
              <a:gd name="connsiteY1155" fmla="*/ 1045571 h 1087290"/>
              <a:gd name="connsiteX1156" fmla="*/ 1264985 w 1897116"/>
              <a:gd name="connsiteY1156" fmla="*/ 1049610 h 1087290"/>
              <a:gd name="connsiteX1157" fmla="*/ 1260078 w 1897116"/>
              <a:gd name="connsiteY1157" fmla="*/ 1053513 h 1087290"/>
              <a:gd name="connsiteX1158" fmla="*/ 1255083 w 1897116"/>
              <a:gd name="connsiteY1158" fmla="*/ 1056951 h 1087290"/>
              <a:gd name="connsiteX1159" fmla="*/ 1251052 w 1897116"/>
              <a:gd name="connsiteY1159" fmla="*/ 1059571 h 1087290"/>
              <a:gd name="connsiteX1160" fmla="*/ 1245794 w 1897116"/>
              <a:gd name="connsiteY1160" fmla="*/ 1062655 h 1087290"/>
              <a:gd name="connsiteX1161" fmla="*/ 1238784 w 1897116"/>
              <a:gd name="connsiteY1161" fmla="*/ 1065493 h 1087290"/>
              <a:gd name="connsiteX1162" fmla="*/ 1232212 w 1897116"/>
              <a:gd name="connsiteY1162" fmla="*/ 1067922 h 1087290"/>
              <a:gd name="connsiteX1163" fmla="*/ 1225639 w 1897116"/>
              <a:gd name="connsiteY1163" fmla="*/ 1072725 h 1087290"/>
              <a:gd name="connsiteX1164" fmla="*/ 1218541 w 1897116"/>
              <a:gd name="connsiteY1164" fmla="*/ 1074226 h 1087290"/>
              <a:gd name="connsiteX1165" fmla="*/ 1211356 w 1897116"/>
              <a:gd name="connsiteY1165" fmla="*/ 1076763 h 1087290"/>
              <a:gd name="connsiteX1166" fmla="*/ 1203732 w 1897116"/>
              <a:gd name="connsiteY1166" fmla="*/ 1074717 h 1087290"/>
              <a:gd name="connsiteX1167" fmla="*/ 1204345 w 1897116"/>
              <a:gd name="connsiteY1167" fmla="*/ 1079110 h 1087290"/>
              <a:gd name="connsiteX1168" fmla="*/ 1197773 w 1897116"/>
              <a:gd name="connsiteY1168" fmla="*/ 1081103 h 1087290"/>
              <a:gd name="connsiteX1169" fmla="*/ 1190500 w 1897116"/>
              <a:gd name="connsiteY1169" fmla="*/ 1083122 h 1087290"/>
              <a:gd name="connsiteX1170" fmla="*/ 1184015 w 1897116"/>
              <a:gd name="connsiteY1170" fmla="*/ 1086520 h 1087290"/>
              <a:gd name="connsiteX0" fmla="*/ 353668 w 1897116"/>
              <a:gd name="connsiteY0" fmla="*/ 26940 h 1087290"/>
              <a:gd name="connsiteX1" fmla="*/ 353221 w 1897116"/>
              <a:gd name="connsiteY1" fmla="*/ 25809 h 1087290"/>
              <a:gd name="connsiteX2" fmla="*/ 357240 w 1897116"/>
              <a:gd name="connsiteY2" fmla="*/ 24733 h 1087290"/>
              <a:gd name="connsiteX3" fmla="*/ 353668 w 1897116"/>
              <a:gd name="connsiteY3" fmla="*/ 26940 h 1087290"/>
              <a:gd name="connsiteX4" fmla="*/ 304410 w 1897116"/>
              <a:gd name="connsiteY4" fmla="*/ 40485 h 1087290"/>
              <a:gd name="connsiteX5" fmla="*/ 302763 w 1897116"/>
              <a:gd name="connsiteY5" fmla="*/ 40108 h 1087290"/>
              <a:gd name="connsiteX6" fmla="*/ 302767 w 1897116"/>
              <a:gd name="connsiteY6" fmla="*/ 38706 h 1087290"/>
              <a:gd name="connsiteX7" fmla="*/ 304410 w 1897116"/>
              <a:gd name="connsiteY7" fmla="*/ 40485 h 1087290"/>
              <a:gd name="connsiteX8" fmla="*/ 312192 w 1897116"/>
              <a:gd name="connsiteY8" fmla="*/ 41597 h 1087290"/>
              <a:gd name="connsiteX9" fmla="*/ 310902 w 1897116"/>
              <a:gd name="connsiteY9" fmla="*/ 41519 h 1087290"/>
              <a:gd name="connsiteX10" fmla="*/ 310110 w 1897116"/>
              <a:gd name="connsiteY10" fmla="*/ 41149 h 1087290"/>
              <a:gd name="connsiteX11" fmla="*/ 312192 w 1897116"/>
              <a:gd name="connsiteY11" fmla="*/ 41597 h 1087290"/>
              <a:gd name="connsiteX12" fmla="*/ 316583 w 1897116"/>
              <a:gd name="connsiteY12" fmla="*/ 42541 h 1087290"/>
              <a:gd name="connsiteX13" fmla="*/ 312192 w 1897116"/>
              <a:gd name="connsiteY13" fmla="*/ 41597 h 1087290"/>
              <a:gd name="connsiteX14" fmla="*/ 312466 w 1897116"/>
              <a:gd name="connsiteY14" fmla="*/ 41613 h 1087290"/>
              <a:gd name="connsiteX15" fmla="*/ 316583 w 1897116"/>
              <a:gd name="connsiteY15" fmla="*/ 42541 h 1087290"/>
              <a:gd name="connsiteX16" fmla="*/ 119950 w 1897116"/>
              <a:gd name="connsiteY16" fmla="*/ 43716 h 1087290"/>
              <a:gd name="connsiteX17" fmla="*/ 117470 w 1897116"/>
              <a:gd name="connsiteY17" fmla="*/ 43272 h 1087290"/>
              <a:gd name="connsiteX18" fmla="*/ 118896 w 1897116"/>
              <a:gd name="connsiteY18" fmla="*/ 40545 h 1087290"/>
              <a:gd name="connsiteX19" fmla="*/ 120926 w 1897116"/>
              <a:gd name="connsiteY19" fmla="*/ 43701 h 1087290"/>
              <a:gd name="connsiteX20" fmla="*/ 119950 w 1897116"/>
              <a:gd name="connsiteY20" fmla="*/ 43716 h 1087290"/>
              <a:gd name="connsiteX21" fmla="*/ 115912 w 1897116"/>
              <a:gd name="connsiteY21" fmla="*/ 43782 h 1087290"/>
              <a:gd name="connsiteX22" fmla="*/ 115758 w 1897116"/>
              <a:gd name="connsiteY22" fmla="*/ 42965 h 1087290"/>
              <a:gd name="connsiteX23" fmla="*/ 117470 w 1897116"/>
              <a:gd name="connsiteY23" fmla="*/ 43272 h 1087290"/>
              <a:gd name="connsiteX24" fmla="*/ 117215 w 1897116"/>
              <a:gd name="connsiteY24" fmla="*/ 43761 h 1087290"/>
              <a:gd name="connsiteX25" fmla="*/ 115912 w 1897116"/>
              <a:gd name="connsiteY25" fmla="*/ 43782 h 1087290"/>
              <a:gd name="connsiteX26" fmla="*/ 159497 w 1897116"/>
              <a:gd name="connsiteY26" fmla="*/ 51308 h 1087290"/>
              <a:gd name="connsiteX27" fmla="*/ 159111 w 1897116"/>
              <a:gd name="connsiteY27" fmla="*/ 50219 h 1087290"/>
              <a:gd name="connsiteX28" fmla="*/ 159519 w 1897116"/>
              <a:gd name="connsiteY28" fmla="*/ 51302 h 1087290"/>
              <a:gd name="connsiteX29" fmla="*/ 159497 w 1897116"/>
              <a:gd name="connsiteY29" fmla="*/ 51308 h 1087290"/>
              <a:gd name="connsiteX30" fmla="*/ 358065 w 1897116"/>
              <a:gd name="connsiteY30" fmla="*/ 51467 h 1087290"/>
              <a:gd name="connsiteX31" fmla="*/ 357383 w 1897116"/>
              <a:gd name="connsiteY31" fmla="*/ 49085 h 1087290"/>
              <a:gd name="connsiteX32" fmla="*/ 358101 w 1897116"/>
              <a:gd name="connsiteY32" fmla="*/ 47405 h 1087290"/>
              <a:gd name="connsiteX33" fmla="*/ 358065 w 1897116"/>
              <a:gd name="connsiteY33" fmla="*/ 51467 h 1087290"/>
              <a:gd name="connsiteX34" fmla="*/ 137612 w 1897116"/>
              <a:gd name="connsiteY34" fmla="*/ 52078 h 1087290"/>
              <a:gd name="connsiteX35" fmla="*/ 134914 w 1897116"/>
              <a:gd name="connsiteY35" fmla="*/ 51247 h 1087290"/>
              <a:gd name="connsiteX36" fmla="*/ 137611 w 1897116"/>
              <a:gd name="connsiteY36" fmla="*/ 51817 h 1087290"/>
              <a:gd name="connsiteX37" fmla="*/ 137545 w 1897116"/>
              <a:gd name="connsiteY37" fmla="*/ 51974 h 1087290"/>
              <a:gd name="connsiteX38" fmla="*/ 137612 w 1897116"/>
              <a:gd name="connsiteY38" fmla="*/ 52078 h 1087290"/>
              <a:gd name="connsiteX39" fmla="*/ 138681 w 1897116"/>
              <a:gd name="connsiteY39" fmla="*/ 53721 h 1087290"/>
              <a:gd name="connsiteX40" fmla="*/ 137612 w 1897116"/>
              <a:gd name="connsiteY40" fmla="*/ 52078 h 1087290"/>
              <a:gd name="connsiteX41" fmla="*/ 139472 w 1897116"/>
              <a:gd name="connsiteY41" fmla="*/ 52650 h 1087290"/>
              <a:gd name="connsiteX42" fmla="*/ 138681 w 1897116"/>
              <a:gd name="connsiteY42" fmla="*/ 53721 h 1087290"/>
              <a:gd name="connsiteX43" fmla="*/ 40650 w 1897116"/>
              <a:gd name="connsiteY43" fmla="*/ 62426 h 1087290"/>
              <a:gd name="connsiteX44" fmla="*/ 40016 w 1897116"/>
              <a:gd name="connsiteY44" fmla="*/ 62421 h 1087290"/>
              <a:gd name="connsiteX45" fmla="*/ 39598 w 1897116"/>
              <a:gd name="connsiteY45" fmla="*/ 61960 h 1087290"/>
              <a:gd name="connsiteX46" fmla="*/ 40650 w 1897116"/>
              <a:gd name="connsiteY46" fmla="*/ 62426 h 1087290"/>
              <a:gd name="connsiteX47" fmla="*/ 40904 w 1897116"/>
              <a:gd name="connsiteY47" fmla="*/ 62538 h 1087290"/>
              <a:gd name="connsiteX48" fmla="*/ 40650 w 1897116"/>
              <a:gd name="connsiteY48" fmla="*/ 62426 h 1087290"/>
              <a:gd name="connsiteX49" fmla="*/ 40911 w 1897116"/>
              <a:gd name="connsiteY49" fmla="*/ 62428 h 1087290"/>
              <a:gd name="connsiteX50" fmla="*/ 40904 w 1897116"/>
              <a:gd name="connsiteY50" fmla="*/ 62538 h 1087290"/>
              <a:gd name="connsiteX51" fmla="*/ 548588 w 1897116"/>
              <a:gd name="connsiteY51" fmla="*/ 77263 h 1087290"/>
              <a:gd name="connsiteX52" fmla="*/ 547507 w 1897116"/>
              <a:gd name="connsiteY52" fmla="*/ 76900 h 1087290"/>
              <a:gd name="connsiteX53" fmla="*/ 547240 w 1897116"/>
              <a:gd name="connsiteY53" fmla="*/ 75428 h 1087290"/>
              <a:gd name="connsiteX54" fmla="*/ 549543 w 1897116"/>
              <a:gd name="connsiteY54" fmla="*/ 76777 h 1087290"/>
              <a:gd name="connsiteX55" fmla="*/ 548588 w 1897116"/>
              <a:gd name="connsiteY55" fmla="*/ 77263 h 1087290"/>
              <a:gd name="connsiteX56" fmla="*/ 551118 w 1897116"/>
              <a:gd name="connsiteY56" fmla="*/ 77700 h 1087290"/>
              <a:gd name="connsiteX57" fmla="*/ 549543 w 1897116"/>
              <a:gd name="connsiteY57" fmla="*/ 76777 h 1087290"/>
              <a:gd name="connsiteX58" fmla="*/ 554619 w 1897116"/>
              <a:gd name="connsiteY58" fmla="*/ 74193 h 1087290"/>
              <a:gd name="connsiteX59" fmla="*/ 551118 w 1897116"/>
              <a:gd name="connsiteY59" fmla="*/ 77700 h 1087290"/>
              <a:gd name="connsiteX60" fmla="*/ 1338885 w 1897116"/>
              <a:gd name="connsiteY60" fmla="*/ 1022661 h 1087290"/>
              <a:gd name="connsiteX61" fmla="*/ 1341644 w 1897116"/>
              <a:gd name="connsiteY61" fmla="*/ 1021457 h 1087290"/>
              <a:gd name="connsiteX62" fmla="*/ 1342888 w 1897116"/>
              <a:gd name="connsiteY62" fmla="*/ 1021693 h 1087290"/>
              <a:gd name="connsiteX63" fmla="*/ 1338885 w 1897116"/>
              <a:gd name="connsiteY63" fmla="*/ 1022661 h 1087290"/>
              <a:gd name="connsiteX64" fmla="*/ 1335812 w 1897116"/>
              <a:gd name="connsiteY64" fmla="*/ 1024002 h 1087290"/>
              <a:gd name="connsiteX65" fmla="*/ 1336781 w 1897116"/>
              <a:gd name="connsiteY65" fmla="*/ 1023170 h 1087290"/>
              <a:gd name="connsiteX66" fmla="*/ 1338885 w 1897116"/>
              <a:gd name="connsiteY66" fmla="*/ 1022661 h 1087290"/>
              <a:gd name="connsiteX67" fmla="*/ 1335812 w 1897116"/>
              <a:gd name="connsiteY67" fmla="*/ 1024002 h 1087290"/>
              <a:gd name="connsiteX68" fmla="*/ 1847201 w 1897116"/>
              <a:gd name="connsiteY68" fmla="*/ 1034040 h 1087290"/>
              <a:gd name="connsiteX69" fmla="*/ 1846940 w 1897116"/>
              <a:gd name="connsiteY69" fmla="*/ 1034038 h 1087290"/>
              <a:gd name="connsiteX70" fmla="*/ 1846947 w 1897116"/>
              <a:gd name="connsiteY70" fmla="*/ 1033944 h 1087290"/>
              <a:gd name="connsiteX71" fmla="*/ 1847201 w 1897116"/>
              <a:gd name="connsiteY71" fmla="*/ 1034040 h 1087290"/>
              <a:gd name="connsiteX72" fmla="*/ 1848247 w 1897116"/>
              <a:gd name="connsiteY72" fmla="*/ 1034437 h 1087290"/>
              <a:gd name="connsiteX73" fmla="*/ 1847201 w 1897116"/>
              <a:gd name="connsiteY73" fmla="*/ 1034040 h 1087290"/>
              <a:gd name="connsiteX74" fmla="*/ 1847831 w 1897116"/>
              <a:gd name="connsiteY74" fmla="*/ 1034044 h 1087290"/>
              <a:gd name="connsiteX75" fmla="*/ 1848247 w 1897116"/>
              <a:gd name="connsiteY75" fmla="*/ 1034437 h 1087290"/>
              <a:gd name="connsiteX76" fmla="*/ 1750725 w 1897116"/>
              <a:gd name="connsiteY76" fmla="*/ 1042867 h 1087290"/>
              <a:gd name="connsiteX77" fmla="*/ 1748875 w 1897116"/>
              <a:gd name="connsiteY77" fmla="*/ 1042379 h 1087290"/>
              <a:gd name="connsiteX78" fmla="*/ 1749661 w 1897116"/>
              <a:gd name="connsiteY78" fmla="*/ 1041465 h 1087290"/>
              <a:gd name="connsiteX79" fmla="*/ 1750725 w 1897116"/>
              <a:gd name="connsiteY79" fmla="*/ 1042867 h 1087290"/>
              <a:gd name="connsiteX80" fmla="*/ 1753410 w 1897116"/>
              <a:gd name="connsiteY80" fmla="*/ 1043576 h 1087290"/>
              <a:gd name="connsiteX81" fmla="*/ 1750726 w 1897116"/>
              <a:gd name="connsiteY81" fmla="*/ 1043089 h 1087290"/>
              <a:gd name="connsiteX82" fmla="*/ 1750792 w 1897116"/>
              <a:gd name="connsiteY82" fmla="*/ 1042955 h 1087290"/>
              <a:gd name="connsiteX83" fmla="*/ 1750725 w 1897116"/>
              <a:gd name="connsiteY83" fmla="*/ 1042867 h 1087290"/>
              <a:gd name="connsiteX84" fmla="*/ 1753410 w 1897116"/>
              <a:gd name="connsiteY84" fmla="*/ 1043576 h 1087290"/>
              <a:gd name="connsiteX85" fmla="*/ 1729333 w 1897116"/>
              <a:gd name="connsiteY85" fmla="*/ 1044453 h 1087290"/>
              <a:gd name="connsiteX86" fmla="*/ 1728928 w 1897116"/>
              <a:gd name="connsiteY86" fmla="*/ 1043528 h 1087290"/>
              <a:gd name="connsiteX87" fmla="*/ 1728950 w 1897116"/>
              <a:gd name="connsiteY87" fmla="*/ 1043524 h 1087290"/>
              <a:gd name="connsiteX88" fmla="*/ 1729333 w 1897116"/>
              <a:gd name="connsiteY88" fmla="*/ 1044453 h 1087290"/>
              <a:gd name="connsiteX89" fmla="*/ 1531343 w 1897116"/>
              <a:gd name="connsiteY89" fmla="*/ 1046853 h 1087290"/>
              <a:gd name="connsiteX90" fmla="*/ 1531379 w 1897116"/>
              <a:gd name="connsiteY90" fmla="*/ 1043388 h 1087290"/>
              <a:gd name="connsiteX91" fmla="*/ 1532058 w 1897116"/>
              <a:gd name="connsiteY91" fmla="*/ 1045420 h 1087290"/>
              <a:gd name="connsiteX92" fmla="*/ 1531343 w 1897116"/>
              <a:gd name="connsiteY92" fmla="*/ 1046853 h 1087290"/>
              <a:gd name="connsiteX93" fmla="*/ 1772469 w 1897116"/>
              <a:gd name="connsiteY93" fmla="*/ 1050640 h 1087290"/>
              <a:gd name="connsiteX94" fmla="*/ 1770766 w 1897116"/>
              <a:gd name="connsiteY94" fmla="*/ 1050379 h 1087290"/>
              <a:gd name="connsiteX95" fmla="*/ 1771020 w 1897116"/>
              <a:gd name="connsiteY95" fmla="*/ 1049962 h 1087290"/>
              <a:gd name="connsiteX96" fmla="*/ 1772316 w 1897116"/>
              <a:gd name="connsiteY96" fmla="*/ 1049944 h 1087290"/>
              <a:gd name="connsiteX97" fmla="*/ 1772469 w 1897116"/>
              <a:gd name="connsiteY97" fmla="*/ 1050640 h 1087290"/>
              <a:gd name="connsiteX98" fmla="*/ 1577023 w 1897116"/>
              <a:gd name="connsiteY98" fmla="*/ 1051808 h 1087290"/>
              <a:gd name="connsiteX99" fmla="*/ 1576749 w 1897116"/>
              <a:gd name="connsiteY99" fmla="*/ 1051794 h 1087290"/>
              <a:gd name="connsiteX100" fmla="*/ 1572652 w 1897116"/>
              <a:gd name="connsiteY100" fmla="*/ 1051002 h 1087290"/>
              <a:gd name="connsiteX101" fmla="*/ 1577023 w 1897116"/>
              <a:gd name="connsiteY101" fmla="*/ 1051808 h 1087290"/>
              <a:gd name="connsiteX102" fmla="*/ 1579093 w 1897116"/>
              <a:gd name="connsiteY102" fmla="*/ 1052189 h 1087290"/>
              <a:gd name="connsiteX103" fmla="*/ 1577023 w 1897116"/>
              <a:gd name="connsiteY103" fmla="*/ 1051808 h 1087290"/>
              <a:gd name="connsiteX104" fmla="*/ 1578305 w 1897116"/>
              <a:gd name="connsiteY104" fmla="*/ 1051874 h 1087290"/>
              <a:gd name="connsiteX105" fmla="*/ 1579093 w 1897116"/>
              <a:gd name="connsiteY105" fmla="*/ 1052189 h 1087290"/>
              <a:gd name="connsiteX106" fmla="*/ 1769347 w 1897116"/>
              <a:gd name="connsiteY106" fmla="*/ 1052704 h 1087290"/>
              <a:gd name="connsiteX107" fmla="*/ 1767327 w 1897116"/>
              <a:gd name="connsiteY107" fmla="*/ 1050013 h 1087290"/>
              <a:gd name="connsiteX108" fmla="*/ 1768300 w 1897116"/>
              <a:gd name="connsiteY108" fmla="*/ 1049999 h 1087290"/>
              <a:gd name="connsiteX109" fmla="*/ 1770766 w 1897116"/>
              <a:gd name="connsiteY109" fmla="*/ 1050379 h 1087290"/>
              <a:gd name="connsiteX110" fmla="*/ 1769347 w 1897116"/>
              <a:gd name="connsiteY110" fmla="*/ 1052704 h 1087290"/>
              <a:gd name="connsiteX111" fmla="*/ 1586399 w 1897116"/>
              <a:gd name="connsiteY111" fmla="*/ 1054274 h 1087290"/>
              <a:gd name="connsiteX112" fmla="*/ 1584764 w 1897116"/>
              <a:gd name="connsiteY112" fmla="*/ 1052756 h 1087290"/>
              <a:gd name="connsiteX113" fmla="*/ 1586403 w 1897116"/>
              <a:gd name="connsiteY113" fmla="*/ 1053077 h 1087290"/>
              <a:gd name="connsiteX114" fmla="*/ 1586399 w 1897116"/>
              <a:gd name="connsiteY114" fmla="*/ 1054274 h 1087290"/>
              <a:gd name="connsiteX115" fmla="*/ 1532200 w 1897116"/>
              <a:gd name="connsiteY115" fmla="*/ 1066192 h 1087290"/>
              <a:gd name="connsiteX116" fmla="*/ 1535753 w 1897116"/>
              <a:gd name="connsiteY116" fmla="*/ 1064310 h 1087290"/>
              <a:gd name="connsiteX117" fmla="*/ 1536198 w 1897116"/>
              <a:gd name="connsiteY117" fmla="*/ 1065275 h 1087290"/>
              <a:gd name="connsiteX118" fmla="*/ 1532200 w 1897116"/>
              <a:gd name="connsiteY118" fmla="*/ 1066192 h 1087290"/>
              <a:gd name="connsiteX119" fmla="*/ 1184015 w 1897116"/>
              <a:gd name="connsiteY119" fmla="*/ 1086520 h 1087290"/>
              <a:gd name="connsiteX120" fmla="*/ 1182000 w 1897116"/>
              <a:gd name="connsiteY120" fmla="*/ 1086397 h 1087290"/>
              <a:gd name="connsiteX121" fmla="*/ 1180598 w 1897116"/>
              <a:gd name="connsiteY121" fmla="*/ 1084050 h 1087290"/>
              <a:gd name="connsiteX122" fmla="*/ 1175691 w 1897116"/>
              <a:gd name="connsiteY122" fmla="*/ 1077637 h 1087290"/>
              <a:gd name="connsiteX123" fmla="*/ 1173763 w 1897116"/>
              <a:gd name="connsiteY123" fmla="*/ 1074880 h 1087290"/>
              <a:gd name="connsiteX124" fmla="*/ 1168067 w 1897116"/>
              <a:gd name="connsiteY124" fmla="*/ 1070460 h 1087290"/>
              <a:gd name="connsiteX125" fmla="*/ 1165876 w 1897116"/>
              <a:gd name="connsiteY125" fmla="*/ 1071851 h 1087290"/>
              <a:gd name="connsiteX126" fmla="*/ 1161582 w 1897116"/>
              <a:gd name="connsiteY126" fmla="*/ 1065547 h 1087290"/>
              <a:gd name="connsiteX127" fmla="*/ 1156675 w 1897116"/>
              <a:gd name="connsiteY127" fmla="*/ 1062900 h 1087290"/>
              <a:gd name="connsiteX128" fmla="*/ 1153082 w 1897116"/>
              <a:gd name="connsiteY128" fmla="*/ 1063883 h 1087290"/>
              <a:gd name="connsiteX129" fmla="*/ 1145984 w 1897116"/>
              <a:gd name="connsiteY129" fmla="*/ 1059244 h 1087290"/>
              <a:gd name="connsiteX130" fmla="*/ 1145283 w 1897116"/>
              <a:gd name="connsiteY130" fmla="*/ 1059953 h 1087290"/>
              <a:gd name="connsiteX131" fmla="*/ 1147649 w 1897116"/>
              <a:gd name="connsiteY131" fmla="*/ 1061863 h 1087290"/>
              <a:gd name="connsiteX132" fmla="*/ 1142742 w 1897116"/>
              <a:gd name="connsiteY132" fmla="*/ 1064183 h 1087290"/>
              <a:gd name="connsiteX133" fmla="*/ 1135293 w 1897116"/>
              <a:gd name="connsiteY133" fmla="*/ 1067267 h 1087290"/>
              <a:gd name="connsiteX134" fmla="*/ 1131964 w 1897116"/>
              <a:gd name="connsiteY134" fmla="*/ 1066912 h 1087290"/>
              <a:gd name="connsiteX135" fmla="*/ 1130649 w 1897116"/>
              <a:gd name="connsiteY135" fmla="*/ 1068986 h 1087290"/>
              <a:gd name="connsiteX136" fmla="*/ 1128020 w 1897116"/>
              <a:gd name="connsiteY136" fmla="*/ 1065711 h 1087290"/>
              <a:gd name="connsiteX137" fmla="*/ 1125128 w 1897116"/>
              <a:gd name="connsiteY137" fmla="*/ 1059899 h 1087290"/>
              <a:gd name="connsiteX138" fmla="*/ 1123376 w 1897116"/>
              <a:gd name="connsiteY138" fmla="*/ 1056105 h 1087290"/>
              <a:gd name="connsiteX139" fmla="*/ 1121623 w 1897116"/>
              <a:gd name="connsiteY139" fmla="*/ 1058070 h 1087290"/>
              <a:gd name="connsiteX140" fmla="*/ 1120572 w 1897116"/>
              <a:gd name="connsiteY140" fmla="*/ 1054905 h 1087290"/>
              <a:gd name="connsiteX141" fmla="*/ 1120835 w 1897116"/>
              <a:gd name="connsiteY141" fmla="*/ 1050129 h 1087290"/>
              <a:gd name="connsiteX142" fmla="*/ 1118118 w 1897116"/>
              <a:gd name="connsiteY142" fmla="*/ 1046363 h 1087290"/>
              <a:gd name="connsiteX143" fmla="*/ 1114701 w 1897116"/>
              <a:gd name="connsiteY143" fmla="*/ 1049938 h 1087290"/>
              <a:gd name="connsiteX144" fmla="*/ 1106902 w 1897116"/>
              <a:gd name="connsiteY144" fmla="*/ 1050729 h 1087290"/>
              <a:gd name="connsiteX145" fmla="*/ 1102082 w 1897116"/>
              <a:gd name="connsiteY145" fmla="*/ 1047700 h 1087290"/>
              <a:gd name="connsiteX146" fmla="*/ 1097438 w 1897116"/>
              <a:gd name="connsiteY146" fmla="*/ 1052749 h 1087290"/>
              <a:gd name="connsiteX147" fmla="*/ 1088499 w 1897116"/>
              <a:gd name="connsiteY147" fmla="*/ 1054686 h 1087290"/>
              <a:gd name="connsiteX148" fmla="*/ 1079649 w 1897116"/>
              <a:gd name="connsiteY148" fmla="*/ 1055832 h 1087290"/>
              <a:gd name="connsiteX149" fmla="*/ 1078334 w 1897116"/>
              <a:gd name="connsiteY149" fmla="*/ 1055641 h 1087290"/>
              <a:gd name="connsiteX150" fmla="*/ 1082803 w 1897116"/>
              <a:gd name="connsiteY150" fmla="*/ 1048628 h 1087290"/>
              <a:gd name="connsiteX151" fmla="*/ 1086133 w 1897116"/>
              <a:gd name="connsiteY151" fmla="*/ 1043061 h 1087290"/>
              <a:gd name="connsiteX152" fmla="*/ 1089551 w 1897116"/>
              <a:gd name="connsiteY152" fmla="*/ 1036702 h 1087290"/>
              <a:gd name="connsiteX153" fmla="*/ 1081840 w 1897116"/>
              <a:gd name="connsiteY153" fmla="*/ 1037112 h 1087290"/>
              <a:gd name="connsiteX154" fmla="*/ 1074128 w 1897116"/>
              <a:gd name="connsiteY154" fmla="*/ 1037466 h 1087290"/>
              <a:gd name="connsiteX155" fmla="*/ 1066943 w 1897116"/>
              <a:gd name="connsiteY155" fmla="*/ 1040769 h 1087290"/>
              <a:gd name="connsiteX156" fmla="*/ 1060633 w 1897116"/>
              <a:gd name="connsiteY156" fmla="*/ 1039131 h 1087290"/>
              <a:gd name="connsiteX157" fmla="*/ 1051257 w 1897116"/>
              <a:gd name="connsiteY157" fmla="*/ 1041314 h 1087290"/>
              <a:gd name="connsiteX158" fmla="*/ 1047752 w 1897116"/>
              <a:gd name="connsiteY158" fmla="*/ 1042188 h 1087290"/>
              <a:gd name="connsiteX159" fmla="*/ 1042056 w 1897116"/>
              <a:gd name="connsiteY159" fmla="*/ 1043852 h 1087290"/>
              <a:gd name="connsiteX160" fmla="*/ 1035221 w 1897116"/>
              <a:gd name="connsiteY160" fmla="*/ 1045954 h 1087290"/>
              <a:gd name="connsiteX161" fmla="*/ 1027422 w 1897116"/>
              <a:gd name="connsiteY161" fmla="*/ 1048710 h 1087290"/>
              <a:gd name="connsiteX162" fmla="*/ 1024618 w 1897116"/>
              <a:gd name="connsiteY162" fmla="*/ 1049119 h 1087290"/>
              <a:gd name="connsiteX163" fmla="*/ 1019360 w 1897116"/>
              <a:gd name="connsiteY163" fmla="*/ 1051548 h 1087290"/>
              <a:gd name="connsiteX164" fmla="*/ 1014277 w 1897116"/>
              <a:gd name="connsiteY164" fmla="*/ 1051684 h 1087290"/>
              <a:gd name="connsiteX165" fmla="*/ 1007880 w 1897116"/>
              <a:gd name="connsiteY165" fmla="*/ 1050702 h 1087290"/>
              <a:gd name="connsiteX166" fmla="*/ 1009107 w 1897116"/>
              <a:gd name="connsiteY166" fmla="*/ 1050565 h 1087290"/>
              <a:gd name="connsiteX167" fmla="*/ 1008231 w 1897116"/>
              <a:gd name="connsiteY167" fmla="*/ 1044726 h 1087290"/>
              <a:gd name="connsiteX168" fmla="*/ 1011736 w 1897116"/>
              <a:gd name="connsiteY168" fmla="*/ 1038667 h 1087290"/>
              <a:gd name="connsiteX169" fmla="*/ 1011813 w 1897116"/>
              <a:gd name="connsiteY169" fmla="*/ 1037202 h 1087290"/>
              <a:gd name="connsiteX170" fmla="*/ 1012349 w 1897116"/>
              <a:gd name="connsiteY170" fmla="*/ 1036402 h 1087290"/>
              <a:gd name="connsiteX171" fmla="*/ 1011911 w 1897116"/>
              <a:gd name="connsiteY171" fmla="*/ 1035345 h 1087290"/>
              <a:gd name="connsiteX172" fmla="*/ 1011813 w 1897116"/>
              <a:gd name="connsiteY172" fmla="*/ 1037202 h 1087290"/>
              <a:gd name="connsiteX173" fmla="*/ 1010246 w 1897116"/>
              <a:gd name="connsiteY173" fmla="*/ 1039540 h 1087290"/>
              <a:gd name="connsiteX174" fmla="*/ 1001396 w 1897116"/>
              <a:gd name="connsiteY174" fmla="*/ 1041069 h 1087290"/>
              <a:gd name="connsiteX175" fmla="*/ 994648 w 1897116"/>
              <a:gd name="connsiteY175" fmla="*/ 1044043 h 1087290"/>
              <a:gd name="connsiteX176" fmla="*/ 990442 w 1897116"/>
              <a:gd name="connsiteY176" fmla="*/ 1045735 h 1087290"/>
              <a:gd name="connsiteX177" fmla="*/ 985272 w 1897116"/>
              <a:gd name="connsiteY177" fmla="*/ 1044180 h 1087290"/>
              <a:gd name="connsiteX178" fmla="*/ 982818 w 1897116"/>
              <a:gd name="connsiteY178" fmla="*/ 1048028 h 1087290"/>
              <a:gd name="connsiteX179" fmla="*/ 981416 w 1897116"/>
              <a:gd name="connsiteY179" fmla="*/ 1042815 h 1087290"/>
              <a:gd name="connsiteX180" fmla="*/ 980102 w 1897116"/>
              <a:gd name="connsiteY180" fmla="*/ 1037603 h 1087290"/>
              <a:gd name="connsiteX181" fmla="*/ 978437 w 1897116"/>
              <a:gd name="connsiteY181" fmla="*/ 1036593 h 1087290"/>
              <a:gd name="connsiteX182" fmla="*/ 980628 w 1897116"/>
              <a:gd name="connsiteY182" fmla="*/ 1029853 h 1087290"/>
              <a:gd name="connsiteX183" fmla="*/ 980102 w 1897116"/>
              <a:gd name="connsiteY183" fmla="*/ 1024368 h 1087290"/>
              <a:gd name="connsiteX184" fmla="*/ 977385 w 1897116"/>
              <a:gd name="connsiteY184" fmla="*/ 1019401 h 1087290"/>
              <a:gd name="connsiteX185" fmla="*/ 979839 w 1897116"/>
              <a:gd name="connsiteY185" fmla="*/ 1019264 h 1087290"/>
              <a:gd name="connsiteX186" fmla="*/ 979576 w 1897116"/>
              <a:gd name="connsiteY186" fmla="*/ 1018855 h 1087290"/>
              <a:gd name="connsiteX187" fmla="*/ 977385 w 1897116"/>
              <a:gd name="connsiteY187" fmla="*/ 1019401 h 1087290"/>
              <a:gd name="connsiteX188" fmla="*/ 973705 w 1897116"/>
              <a:gd name="connsiteY188" fmla="*/ 1021147 h 1087290"/>
              <a:gd name="connsiteX189" fmla="*/ 966957 w 1897116"/>
              <a:gd name="connsiteY189" fmla="*/ 1024122 h 1087290"/>
              <a:gd name="connsiteX190" fmla="*/ 966519 w 1897116"/>
              <a:gd name="connsiteY190" fmla="*/ 1024040 h 1087290"/>
              <a:gd name="connsiteX191" fmla="*/ 960823 w 1897116"/>
              <a:gd name="connsiteY191" fmla="*/ 1025241 h 1087290"/>
              <a:gd name="connsiteX192" fmla="*/ 954602 w 1897116"/>
              <a:gd name="connsiteY192" fmla="*/ 1025759 h 1087290"/>
              <a:gd name="connsiteX193" fmla="*/ 949169 w 1897116"/>
              <a:gd name="connsiteY193" fmla="*/ 1024531 h 1087290"/>
              <a:gd name="connsiteX194" fmla="*/ 943385 w 1897116"/>
              <a:gd name="connsiteY194" fmla="*/ 1022375 h 1087290"/>
              <a:gd name="connsiteX195" fmla="*/ 934184 w 1897116"/>
              <a:gd name="connsiteY195" fmla="*/ 1019101 h 1087290"/>
              <a:gd name="connsiteX196" fmla="*/ 926823 w 1897116"/>
              <a:gd name="connsiteY196" fmla="*/ 1018118 h 1087290"/>
              <a:gd name="connsiteX197" fmla="*/ 924369 w 1897116"/>
              <a:gd name="connsiteY197" fmla="*/ 1016263 h 1087290"/>
              <a:gd name="connsiteX198" fmla="*/ 920514 w 1897116"/>
              <a:gd name="connsiteY198" fmla="*/ 1009959 h 1087290"/>
              <a:gd name="connsiteX199" fmla="*/ 915431 w 1897116"/>
              <a:gd name="connsiteY199" fmla="*/ 1011923 h 1087290"/>
              <a:gd name="connsiteX200" fmla="*/ 909472 w 1897116"/>
              <a:gd name="connsiteY200" fmla="*/ 1014680 h 1087290"/>
              <a:gd name="connsiteX201" fmla="*/ 904478 w 1897116"/>
              <a:gd name="connsiteY201" fmla="*/ 1017081 h 1087290"/>
              <a:gd name="connsiteX202" fmla="*/ 898957 w 1897116"/>
              <a:gd name="connsiteY202" fmla="*/ 1018418 h 1087290"/>
              <a:gd name="connsiteX203" fmla="*/ 895978 w 1897116"/>
              <a:gd name="connsiteY203" fmla="*/ 1020192 h 1087290"/>
              <a:gd name="connsiteX204" fmla="*/ 887127 w 1897116"/>
              <a:gd name="connsiteY204" fmla="*/ 1023713 h 1087290"/>
              <a:gd name="connsiteX205" fmla="*/ 878189 w 1897116"/>
              <a:gd name="connsiteY205" fmla="*/ 1026305 h 1087290"/>
              <a:gd name="connsiteX206" fmla="*/ 875297 w 1897116"/>
              <a:gd name="connsiteY206" fmla="*/ 1029880 h 1087290"/>
              <a:gd name="connsiteX207" fmla="*/ 867586 w 1897116"/>
              <a:gd name="connsiteY207" fmla="*/ 1035611 h 1087290"/>
              <a:gd name="connsiteX208" fmla="*/ 863467 w 1897116"/>
              <a:gd name="connsiteY208" fmla="*/ 1037275 h 1087290"/>
              <a:gd name="connsiteX209" fmla="*/ 858998 w 1897116"/>
              <a:gd name="connsiteY209" fmla="*/ 1040550 h 1087290"/>
              <a:gd name="connsiteX210" fmla="*/ 854792 w 1897116"/>
              <a:gd name="connsiteY210" fmla="*/ 1044016 h 1087290"/>
              <a:gd name="connsiteX211" fmla="*/ 848395 w 1897116"/>
              <a:gd name="connsiteY211" fmla="*/ 1049201 h 1087290"/>
              <a:gd name="connsiteX212" fmla="*/ 841910 w 1897116"/>
              <a:gd name="connsiteY212" fmla="*/ 1049065 h 1087290"/>
              <a:gd name="connsiteX213" fmla="*/ 841910 w 1897116"/>
              <a:gd name="connsiteY213" fmla="*/ 1052885 h 1087290"/>
              <a:gd name="connsiteX214" fmla="*/ 837091 w 1897116"/>
              <a:gd name="connsiteY214" fmla="*/ 1053649 h 1087290"/>
              <a:gd name="connsiteX215" fmla="*/ 831132 w 1897116"/>
              <a:gd name="connsiteY215" fmla="*/ 1053485 h 1087290"/>
              <a:gd name="connsiteX216" fmla="*/ 822807 w 1897116"/>
              <a:gd name="connsiteY216" fmla="*/ 1053294 h 1087290"/>
              <a:gd name="connsiteX217" fmla="*/ 813869 w 1897116"/>
              <a:gd name="connsiteY217" fmla="*/ 1054877 h 1087290"/>
              <a:gd name="connsiteX218" fmla="*/ 806070 w 1897116"/>
              <a:gd name="connsiteY218" fmla="*/ 1058862 h 1087290"/>
              <a:gd name="connsiteX219" fmla="*/ 800637 w 1897116"/>
              <a:gd name="connsiteY219" fmla="*/ 1063855 h 1087290"/>
              <a:gd name="connsiteX220" fmla="*/ 800111 w 1897116"/>
              <a:gd name="connsiteY220" fmla="*/ 1069832 h 1087290"/>
              <a:gd name="connsiteX221" fmla="*/ 797482 w 1897116"/>
              <a:gd name="connsiteY221" fmla="*/ 1070159 h 1087290"/>
              <a:gd name="connsiteX222" fmla="*/ 796431 w 1897116"/>
              <a:gd name="connsiteY222" fmla="*/ 1073107 h 1087290"/>
              <a:gd name="connsiteX223" fmla="*/ 796343 w 1897116"/>
              <a:gd name="connsiteY223" fmla="*/ 1074362 h 1087290"/>
              <a:gd name="connsiteX224" fmla="*/ 795379 w 1897116"/>
              <a:gd name="connsiteY224" fmla="*/ 1076081 h 1087290"/>
              <a:gd name="connsiteX225" fmla="*/ 795116 w 1897116"/>
              <a:gd name="connsiteY225" fmla="*/ 1076272 h 1087290"/>
              <a:gd name="connsiteX226" fmla="*/ 794941 w 1897116"/>
              <a:gd name="connsiteY226" fmla="*/ 1076818 h 1087290"/>
              <a:gd name="connsiteX227" fmla="*/ 794766 w 1897116"/>
              <a:gd name="connsiteY227" fmla="*/ 1077391 h 1087290"/>
              <a:gd name="connsiteX228" fmla="*/ 788631 w 1897116"/>
              <a:gd name="connsiteY228" fmla="*/ 1073598 h 1087290"/>
              <a:gd name="connsiteX229" fmla="*/ 782059 w 1897116"/>
              <a:gd name="connsiteY229" fmla="*/ 1071169 h 1087290"/>
              <a:gd name="connsiteX230" fmla="*/ 776977 w 1897116"/>
              <a:gd name="connsiteY230" fmla="*/ 1068331 h 1087290"/>
              <a:gd name="connsiteX231" fmla="*/ 771368 w 1897116"/>
              <a:gd name="connsiteY231" fmla="*/ 1067785 h 1087290"/>
              <a:gd name="connsiteX232" fmla="*/ 770667 w 1897116"/>
              <a:gd name="connsiteY232" fmla="*/ 1070432 h 1087290"/>
              <a:gd name="connsiteX233" fmla="*/ 771631 w 1897116"/>
              <a:gd name="connsiteY233" fmla="*/ 1072561 h 1087290"/>
              <a:gd name="connsiteX234" fmla="*/ 765234 w 1897116"/>
              <a:gd name="connsiteY234" fmla="*/ 1072861 h 1087290"/>
              <a:gd name="connsiteX235" fmla="*/ 764533 w 1897116"/>
              <a:gd name="connsiteY235" fmla="*/ 1072206 h 1087290"/>
              <a:gd name="connsiteX236" fmla="*/ 765234 w 1897116"/>
              <a:gd name="connsiteY236" fmla="*/ 1072861 h 1087290"/>
              <a:gd name="connsiteX237" fmla="*/ 763219 w 1897116"/>
              <a:gd name="connsiteY237" fmla="*/ 1072670 h 1087290"/>
              <a:gd name="connsiteX238" fmla="*/ 762781 w 1897116"/>
              <a:gd name="connsiteY238" fmla="*/ 1072561 h 1087290"/>
              <a:gd name="connsiteX239" fmla="*/ 763131 w 1897116"/>
              <a:gd name="connsiteY239" fmla="*/ 1071333 h 1087290"/>
              <a:gd name="connsiteX240" fmla="*/ 762781 w 1897116"/>
              <a:gd name="connsiteY240" fmla="*/ 1072561 h 1087290"/>
              <a:gd name="connsiteX241" fmla="*/ 757961 w 1897116"/>
              <a:gd name="connsiteY241" fmla="*/ 1070623 h 1087290"/>
              <a:gd name="connsiteX242" fmla="*/ 764008 w 1897116"/>
              <a:gd name="connsiteY242" fmla="*/ 1068195 h 1087290"/>
              <a:gd name="connsiteX243" fmla="*/ 766286 w 1897116"/>
              <a:gd name="connsiteY243" fmla="*/ 1064183 h 1087290"/>
              <a:gd name="connsiteX244" fmla="*/ 766286 w 1897116"/>
              <a:gd name="connsiteY244" fmla="*/ 1058807 h 1087290"/>
              <a:gd name="connsiteX245" fmla="*/ 769704 w 1897116"/>
              <a:gd name="connsiteY245" fmla="*/ 1055559 h 1087290"/>
              <a:gd name="connsiteX246" fmla="*/ 769616 w 1897116"/>
              <a:gd name="connsiteY246" fmla="*/ 1052176 h 1087290"/>
              <a:gd name="connsiteX247" fmla="*/ 773296 w 1897116"/>
              <a:gd name="connsiteY247" fmla="*/ 1051302 h 1087290"/>
              <a:gd name="connsiteX248" fmla="*/ 769528 w 1897116"/>
              <a:gd name="connsiteY248" fmla="*/ 1046308 h 1087290"/>
              <a:gd name="connsiteX249" fmla="*/ 765935 w 1897116"/>
              <a:gd name="connsiteY249" fmla="*/ 1048846 h 1087290"/>
              <a:gd name="connsiteX250" fmla="*/ 759889 w 1897116"/>
              <a:gd name="connsiteY250" fmla="*/ 1051630 h 1087290"/>
              <a:gd name="connsiteX251" fmla="*/ 758750 w 1897116"/>
              <a:gd name="connsiteY251" fmla="*/ 1055150 h 1087290"/>
              <a:gd name="connsiteX252" fmla="*/ 757260 w 1897116"/>
              <a:gd name="connsiteY252" fmla="*/ 1058452 h 1087290"/>
              <a:gd name="connsiteX253" fmla="*/ 752441 w 1897116"/>
              <a:gd name="connsiteY253" fmla="*/ 1061618 h 1087290"/>
              <a:gd name="connsiteX254" fmla="*/ 747971 w 1897116"/>
              <a:gd name="connsiteY254" fmla="*/ 1064047 h 1087290"/>
              <a:gd name="connsiteX255" fmla="*/ 742626 w 1897116"/>
              <a:gd name="connsiteY255" fmla="*/ 1067540 h 1087290"/>
              <a:gd name="connsiteX256" fmla="*/ 738157 w 1897116"/>
              <a:gd name="connsiteY256" fmla="*/ 1070623 h 1087290"/>
              <a:gd name="connsiteX257" fmla="*/ 734126 w 1897116"/>
              <a:gd name="connsiteY257" fmla="*/ 1074253 h 1087290"/>
              <a:gd name="connsiteX258" fmla="*/ 733425 w 1897116"/>
              <a:gd name="connsiteY258" fmla="*/ 1071769 h 1087290"/>
              <a:gd name="connsiteX259" fmla="*/ 734564 w 1897116"/>
              <a:gd name="connsiteY259" fmla="*/ 1071633 h 1087290"/>
              <a:gd name="connsiteX260" fmla="*/ 733425 w 1897116"/>
              <a:gd name="connsiteY260" fmla="*/ 1071769 h 1087290"/>
              <a:gd name="connsiteX261" fmla="*/ 733425 w 1897116"/>
              <a:gd name="connsiteY261" fmla="*/ 1069914 h 1087290"/>
              <a:gd name="connsiteX262" fmla="*/ 729745 w 1897116"/>
              <a:gd name="connsiteY262" fmla="*/ 1065138 h 1087290"/>
              <a:gd name="connsiteX263" fmla="*/ 721770 w 1897116"/>
              <a:gd name="connsiteY263" fmla="*/ 1061563 h 1087290"/>
              <a:gd name="connsiteX264" fmla="*/ 712744 w 1897116"/>
              <a:gd name="connsiteY264" fmla="*/ 1061781 h 1087290"/>
              <a:gd name="connsiteX265" fmla="*/ 705559 w 1897116"/>
              <a:gd name="connsiteY265" fmla="*/ 1063446 h 1087290"/>
              <a:gd name="connsiteX266" fmla="*/ 701265 w 1897116"/>
              <a:gd name="connsiteY266" fmla="*/ 1067512 h 1087290"/>
              <a:gd name="connsiteX267" fmla="*/ 691976 w 1897116"/>
              <a:gd name="connsiteY267" fmla="*/ 1069859 h 1087290"/>
              <a:gd name="connsiteX268" fmla="*/ 684878 w 1897116"/>
              <a:gd name="connsiteY268" fmla="*/ 1073571 h 1087290"/>
              <a:gd name="connsiteX269" fmla="*/ 678131 w 1897116"/>
              <a:gd name="connsiteY269" fmla="*/ 1075972 h 1087290"/>
              <a:gd name="connsiteX270" fmla="*/ 677956 w 1897116"/>
              <a:gd name="connsiteY270" fmla="*/ 1069996 h 1087290"/>
              <a:gd name="connsiteX271" fmla="*/ 680234 w 1897116"/>
              <a:gd name="connsiteY271" fmla="*/ 1062627 h 1087290"/>
              <a:gd name="connsiteX272" fmla="*/ 682950 w 1897116"/>
              <a:gd name="connsiteY272" fmla="*/ 1056405 h 1087290"/>
              <a:gd name="connsiteX273" fmla="*/ 684352 w 1897116"/>
              <a:gd name="connsiteY273" fmla="*/ 1048928 h 1087290"/>
              <a:gd name="connsiteX274" fmla="*/ 686631 w 1897116"/>
              <a:gd name="connsiteY274" fmla="*/ 1041560 h 1087290"/>
              <a:gd name="connsiteX275" fmla="*/ 680409 w 1897116"/>
              <a:gd name="connsiteY275" fmla="*/ 1047018 h 1087290"/>
              <a:gd name="connsiteX276" fmla="*/ 674538 w 1897116"/>
              <a:gd name="connsiteY276" fmla="*/ 1052285 h 1087290"/>
              <a:gd name="connsiteX277" fmla="*/ 668842 w 1897116"/>
              <a:gd name="connsiteY277" fmla="*/ 1057115 h 1087290"/>
              <a:gd name="connsiteX278" fmla="*/ 662620 w 1897116"/>
              <a:gd name="connsiteY278" fmla="*/ 1062573 h 1087290"/>
              <a:gd name="connsiteX279" fmla="*/ 655610 w 1897116"/>
              <a:gd name="connsiteY279" fmla="*/ 1068004 h 1087290"/>
              <a:gd name="connsiteX280" fmla="*/ 651754 w 1897116"/>
              <a:gd name="connsiteY280" fmla="*/ 1069368 h 1087290"/>
              <a:gd name="connsiteX281" fmla="*/ 650002 w 1897116"/>
              <a:gd name="connsiteY281" fmla="*/ 1067430 h 1087290"/>
              <a:gd name="connsiteX282" fmla="*/ 651667 w 1897116"/>
              <a:gd name="connsiteY282" fmla="*/ 1062627 h 1087290"/>
              <a:gd name="connsiteX283" fmla="*/ 642378 w 1897116"/>
              <a:gd name="connsiteY283" fmla="*/ 1066448 h 1087290"/>
              <a:gd name="connsiteX284" fmla="*/ 633089 w 1897116"/>
              <a:gd name="connsiteY284" fmla="*/ 1070296 h 1087290"/>
              <a:gd name="connsiteX285" fmla="*/ 625816 w 1897116"/>
              <a:gd name="connsiteY285" fmla="*/ 1073598 h 1087290"/>
              <a:gd name="connsiteX286" fmla="*/ 620120 w 1897116"/>
              <a:gd name="connsiteY286" fmla="*/ 1075972 h 1087290"/>
              <a:gd name="connsiteX287" fmla="*/ 614599 w 1897116"/>
              <a:gd name="connsiteY287" fmla="*/ 1078183 h 1087290"/>
              <a:gd name="connsiteX288" fmla="*/ 607764 w 1897116"/>
              <a:gd name="connsiteY288" fmla="*/ 1077609 h 1087290"/>
              <a:gd name="connsiteX289" fmla="*/ 600929 w 1897116"/>
              <a:gd name="connsiteY289" fmla="*/ 1077036 h 1087290"/>
              <a:gd name="connsiteX290" fmla="*/ 594883 w 1897116"/>
              <a:gd name="connsiteY290" fmla="*/ 1076654 h 1087290"/>
              <a:gd name="connsiteX291" fmla="*/ 588398 w 1897116"/>
              <a:gd name="connsiteY291" fmla="*/ 1076354 h 1087290"/>
              <a:gd name="connsiteX292" fmla="*/ 579460 w 1897116"/>
              <a:gd name="connsiteY292" fmla="*/ 1075917 h 1087290"/>
              <a:gd name="connsiteX293" fmla="*/ 577006 w 1897116"/>
              <a:gd name="connsiteY293" fmla="*/ 1073652 h 1087290"/>
              <a:gd name="connsiteX294" fmla="*/ 572537 w 1897116"/>
              <a:gd name="connsiteY294" fmla="*/ 1074717 h 1087290"/>
              <a:gd name="connsiteX295" fmla="*/ 577357 w 1897116"/>
              <a:gd name="connsiteY295" fmla="*/ 1070432 h 1087290"/>
              <a:gd name="connsiteX296" fmla="*/ 582878 w 1897116"/>
              <a:gd name="connsiteY296" fmla="*/ 1066721 h 1087290"/>
              <a:gd name="connsiteX297" fmla="*/ 581037 w 1897116"/>
              <a:gd name="connsiteY297" fmla="*/ 1066475 h 1087290"/>
              <a:gd name="connsiteX298" fmla="*/ 572274 w 1897116"/>
              <a:gd name="connsiteY298" fmla="*/ 1065220 h 1087290"/>
              <a:gd name="connsiteX299" fmla="*/ 564563 w 1897116"/>
              <a:gd name="connsiteY299" fmla="*/ 1067840 h 1087290"/>
              <a:gd name="connsiteX300" fmla="*/ 560532 w 1897116"/>
              <a:gd name="connsiteY300" fmla="*/ 1064756 h 1087290"/>
              <a:gd name="connsiteX301" fmla="*/ 547037 w 1897116"/>
              <a:gd name="connsiteY301" fmla="*/ 1064811 h 1087290"/>
              <a:gd name="connsiteX302" fmla="*/ 533630 w 1897116"/>
              <a:gd name="connsiteY302" fmla="*/ 1065657 h 1087290"/>
              <a:gd name="connsiteX303" fmla="*/ 528109 w 1897116"/>
              <a:gd name="connsiteY303" fmla="*/ 1066039 h 1087290"/>
              <a:gd name="connsiteX304" fmla="*/ 522676 w 1897116"/>
              <a:gd name="connsiteY304" fmla="*/ 1067076 h 1087290"/>
              <a:gd name="connsiteX305" fmla="*/ 524604 w 1897116"/>
              <a:gd name="connsiteY305" fmla="*/ 1064483 h 1087290"/>
              <a:gd name="connsiteX306" fmla="*/ 531614 w 1897116"/>
              <a:gd name="connsiteY306" fmla="*/ 1059626 h 1087290"/>
              <a:gd name="connsiteX307" fmla="*/ 537748 w 1897116"/>
              <a:gd name="connsiteY307" fmla="*/ 1055014 h 1087290"/>
              <a:gd name="connsiteX308" fmla="*/ 537924 w 1897116"/>
              <a:gd name="connsiteY308" fmla="*/ 1054386 h 1087290"/>
              <a:gd name="connsiteX309" fmla="*/ 536346 w 1897116"/>
              <a:gd name="connsiteY309" fmla="*/ 1053213 h 1087290"/>
              <a:gd name="connsiteX310" fmla="*/ 526795 w 1897116"/>
              <a:gd name="connsiteY310" fmla="*/ 1053840 h 1087290"/>
              <a:gd name="connsiteX311" fmla="*/ 517594 w 1897116"/>
              <a:gd name="connsiteY311" fmla="*/ 1054304 h 1087290"/>
              <a:gd name="connsiteX312" fmla="*/ 512774 w 1897116"/>
              <a:gd name="connsiteY312" fmla="*/ 1053977 h 1087290"/>
              <a:gd name="connsiteX313" fmla="*/ 505588 w 1897116"/>
              <a:gd name="connsiteY313" fmla="*/ 1054823 h 1087290"/>
              <a:gd name="connsiteX314" fmla="*/ 498490 w 1897116"/>
              <a:gd name="connsiteY314" fmla="*/ 1057142 h 1087290"/>
              <a:gd name="connsiteX315" fmla="*/ 494109 w 1897116"/>
              <a:gd name="connsiteY315" fmla="*/ 1056733 h 1087290"/>
              <a:gd name="connsiteX316" fmla="*/ 492795 w 1897116"/>
              <a:gd name="connsiteY316" fmla="*/ 1058179 h 1087290"/>
              <a:gd name="connsiteX317" fmla="*/ 484820 w 1897116"/>
              <a:gd name="connsiteY317" fmla="*/ 1060990 h 1087290"/>
              <a:gd name="connsiteX318" fmla="*/ 478511 w 1897116"/>
              <a:gd name="connsiteY318" fmla="*/ 1062464 h 1087290"/>
              <a:gd name="connsiteX319" fmla="*/ 472640 w 1897116"/>
              <a:gd name="connsiteY319" fmla="*/ 1064510 h 1087290"/>
              <a:gd name="connsiteX320" fmla="*/ 466418 w 1897116"/>
              <a:gd name="connsiteY320" fmla="*/ 1064292 h 1087290"/>
              <a:gd name="connsiteX321" fmla="*/ 460284 w 1897116"/>
              <a:gd name="connsiteY321" fmla="*/ 1066639 h 1087290"/>
              <a:gd name="connsiteX322" fmla="*/ 453011 w 1897116"/>
              <a:gd name="connsiteY322" fmla="*/ 1069041 h 1087290"/>
              <a:gd name="connsiteX323" fmla="*/ 447841 w 1897116"/>
              <a:gd name="connsiteY323" fmla="*/ 1068658 h 1087290"/>
              <a:gd name="connsiteX324" fmla="*/ 441969 w 1897116"/>
              <a:gd name="connsiteY324" fmla="*/ 1069614 h 1087290"/>
              <a:gd name="connsiteX325" fmla="*/ 435660 w 1897116"/>
              <a:gd name="connsiteY325" fmla="*/ 1071906 h 1087290"/>
              <a:gd name="connsiteX326" fmla="*/ 429176 w 1897116"/>
              <a:gd name="connsiteY326" fmla="*/ 1074144 h 1087290"/>
              <a:gd name="connsiteX327" fmla="*/ 425495 w 1897116"/>
              <a:gd name="connsiteY327" fmla="*/ 1074580 h 1087290"/>
              <a:gd name="connsiteX328" fmla="*/ 416557 w 1897116"/>
              <a:gd name="connsiteY328" fmla="*/ 1076027 h 1087290"/>
              <a:gd name="connsiteX329" fmla="*/ 408758 w 1897116"/>
              <a:gd name="connsiteY329" fmla="*/ 1074799 h 1087290"/>
              <a:gd name="connsiteX330" fmla="*/ 406655 w 1897116"/>
              <a:gd name="connsiteY330" fmla="*/ 1073270 h 1087290"/>
              <a:gd name="connsiteX331" fmla="*/ 401748 w 1897116"/>
              <a:gd name="connsiteY331" fmla="*/ 1067785 h 1087290"/>
              <a:gd name="connsiteX332" fmla="*/ 397191 w 1897116"/>
              <a:gd name="connsiteY332" fmla="*/ 1064865 h 1087290"/>
              <a:gd name="connsiteX333" fmla="*/ 391583 w 1897116"/>
              <a:gd name="connsiteY333" fmla="*/ 1062737 h 1087290"/>
              <a:gd name="connsiteX334" fmla="*/ 381768 w 1897116"/>
              <a:gd name="connsiteY334" fmla="*/ 1062491 h 1087290"/>
              <a:gd name="connsiteX335" fmla="*/ 374407 w 1897116"/>
              <a:gd name="connsiteY335" fmla="*/ 1065056 h 1087290"/>
              <a:gd name="connsiteX336" fmla="*/ 371340 w 1897116"/>
              <a:gd name="connsiteY336" fmla="*/ 1066421 h 1087290"/>
              <a:gd name="connsiteX337" fmla="*/ 369500 w 1897116"/>
              <a:gd name="connsiteY337" fmla="*/ 1064947 h 1087290"/>
              <a:gd name="connsiteX338" fmla="*/ 364680 w 1897116"/>
              <a:gd name="connsiteY338" fmla="*/ 1061891 h 1087290"/>
              <a:gd name="connsiteX339" fmla="*/ 363015 w 1897116"/>
              <a:gd name="connsiteY339" fmla="*/ 1060526 h 1087290"/>
              <a:gd name="connsiteX340" fmla="*/ 359598 w 1897116"/>
              <a:gd name="connsiteY340" fmla="*/ 1062300 h 1087290"/>
              <a:gd name="connsiteX341" fmla="*/ 355742 w 1897116"/>
              <a:gd name="connsiteY341" fmla="*/ 1064620 h 1087290"/>
              <a:gd name="connsiteX342" fmla="*/ 349520 w 1897116"/>
              <a:gd name="connsiteY342" fmla="*/ 1067567 h 1087290"/>
              <a:gd name="connsiteX343" fmla="*/ 347330 w 1897116"/>
              <a:gd name="connsiteY343" fmla="*/ 1071142 h 1087290"/>
              <a:gd name="connsiteX344" fmla="*/ 341020 w 1897116"/>
              <a:gd name="connsiteY344" fmla="*/ 1073216 h 1087290"/>
              <a:gd name="connsiteX345" fmla="*/ 335587 w 1897116"/>
              <a:gd name="connsiteY345" fmla="*/ 1071224 h 1087290"/>
              <a:gd name="connsiteX346" fmla="*/ 330943 w 1897116"/>
              <a:gd name="connsiteY346" fmla="*/ 1067212 h 1087290"/>
              <a:gd name="connsiteX347" fmla="*/ 325948 w 1897116"/>
              <a:gd name="connsiteY347" fmla="*/ 1062327 h 1087290"/>
              <a:gd name="connsiteX348" fmla="*/ 321041 w 1897116"/>
              <a:gd name="connsiteY348" fmla="*/ 1057442 h 1087290"/>
              <a:gd name="connsiteX349" fmla="*/ 318237 w 1897116"/>
              <a:gd name="connsiteY349" fmla="*/ 1063419 h 1087290"/>
              <a:gd name="connsiteX350" fmla="*/ 315345 w 1897116"/>
              <a:gd name="connsiteY350" fmla="*/ 1069450 h 1087290"/>
              <a:gd name="connsiteX351" fmla="*/ 313417 w 1897116"/>
              <a:gd name="connsiteY351" fmla="*/ 1071497 h 1087290"/>
              <a:gd name="connsiteX352" fmla="*/ 310613 w 1897116"/>
              <a:gd name="connsiteY352" fmla="*/ 1069777 h 1087290"/>
              <a:gd name="connsiteX353" fmla="*/ 305793 w 1897116"/>
              <a:gd name="connsiteY353" fmla="*/ 1066312 h 1087290"/>
              <a:gd name="connsiteX354" fmla="*/ 304829 w 1897116"/>
              <a:gd name="connsiteY354" fmla="*/ 1062464 h 1087290"/>
              <a:gd name="connsiteX355" fmla="*/ 297118 w 1897116"/>
              <a:gd name="connsiteY355" fmla="*/ 1068331 h 1087290"/>
              <a:gd name="connsiteX356" fmla="*/ 290195 w 1897116"/>
              <a:gd name="connsiteY356" fmla="*/ 1073789 h 1087290"/>
              <a:gd name="connsiteX357" fmla="*/ 293525 w 1897116"/>
              <a:gd name="connsiteY357" fmla="*/ 1076818 h 1087290"/>
              <a:gd name="connsiteX358" fmla="*/ 286164 w 1897116"/>
              <a:gd name="connsiteY358" fmla="*/ 1077282 h 1087290"/>
              <a:gd name="connsiteX359" fmla="*/ 282221 w 1897116"/>
              <a:gd name="connsiteY359" fmla="*/ 1080748 h 1087290"/>
              <a:gd name="connsiteX360" fmla="*/ 280731 w 1897116"/>
              <a:gd name="connsiteY360" fmla="*/ 1084459 h 1087290"/>
              <a:gd name="connsiteX361" fmla="*/ 274773 w 1897116"/>
              <a:gd name="connsiteY361" fmla="*/ 1084486 h 1087290"/>
              <a:gd name="connsiteX362" fmla="*/ 273458 w 1897116"/>
              <a:gd name="connsiteY362" fmla="*/ 1081348 h 1087290"/>
              <a:gd name="connsiteX363" fmla="*/ 271618 w 1897116"/>
              <a:gd name="connsiteY363" fmla="*/ 1073762 h 1087290"/>
              <a:gd name="connsiteX364" fmla="*/ 270391 w 1897116"/>
              <a:gd name="connsiteY364" fmla="*/ 1065356 h 1087290"/>
              <a:gd name="connsiteX365" fmla="*/ 265046 w 1897116"/>
              <a:gd name="connsiteY365" fmla="*/ 1068195 h 1087290"/>
              <a:gd name="connsiteX366" fmla="*/ 260664 w 1897116"/>
              <a:gd name="connsiteY366" fmla="*/ 1067103 h 1087290"/>
              <a:gd name="connsiteX367" fmla="*/ 255056 w 1897116"/>
              <a:gd name="connsiteY367" fmla="*/ 1068113 h 1087290"/>
              <a:gd name="connsiteX368" fmla="*/ 249097 w 1897116"/>
              <a:gd name="connsiteY368" fmla="*/ 1069477 h 1087290"/>
              <a:gd name="connsiteX369" fmla="*/ 243401 w 1897116"/>
              <a:gd name="connsiteY369" fmla="*/ 1071524 h 1087290"/>
              <a:gd name="connsiteX370" fmla="*/ 238406 w 1897116"/>
              <a:gd name="connsiteY370" fmla="*/ 1072970 h 1087290"/>
              <a:gd name="connsiteX371" fmla="*/ 231834 w 1897116"/>
              <a:gd name="connsiteY371" fmla="*/ 1074962 h 1087290"/>
              <a:gd name="connsiteX372" fmla="*/ 225262 w 1897116"/>
              <a:gd name="connsiteY372" fmla="*/ 1076763 h 1087290"/>
              <a:gd name="connsiteX373" fmla="*/ 218252 w 1897116"/>
              <a:gd name="connsiteY373" fmla="*/ 1076818 h 1087290"/>
              <a:gd name="connsiteX374" fmla="*/ 210803 w 1897116"/>
              <a:gd name="connsiteY374" fmla="*/ 1078974 h 1087290"/>
              <a:gd name="connsiteX375" fmla="*/ 207210 w 1897116"/>
              <a:gd name="connsiteY375" fmla="*/ 1076709 h 1087290"/>
              <a:gd name="connsiteX376" fmla="*/ 202478 w 1897116"/>
              <a:gd name="connsiteY376" fmla="*/ 1080175 h 1087290"/>
              <a:gd name="connsiteX377" fmla="*/ 192927 w 1897116"/>
              <a:gd name="connsiteY377" fmla="*/ 1079465 h 1087290"/>
              <a:gd name="connsiteX378" fmla="*/ 191787 w 1897116"/>
              <a:gd name="connsiteY378" fmla="*/ 1080529 h 1087290"/>
              <a:gd name="connsiteX379" fmla="*/ 188195 w 1897116"/>
              <a:gd name="connsiteY379" fmla="*/ 1077337 h 1087290"/>
              <a:gd name="connsiteX380" fmla="*/ 185653 w 1897116"/>
              <a:gd name="connsiteY380" fmla="*/ 1073107 h 1087290"/>
              <a:gd name="connsiteX381" fmla="*/ 184689 w 1897116"/>
              <a:gd name="connsiteY381" fmla="*/ 1073734 h 1087290"/>
              <a:gd name="connsiteX382" fmla="*/ 179432 w 1897116"/>
              <a:gd name="connsiteY382" fmla="*/ 1070814 h 1087290"/>
              <a:gd name="connsiteX383" fmla="*/ 173648 w 1897116"/>
              <a:gd name="connsiteY383" fmla="*/ 1069068 h 1087290"/>
              <a:gd name="connsiteX384" fmla="*/ 168741 w 1897116"/>
              <a:gd name="connsiteY384" fmla="*/ 1067239 h 1087290"/>
              <a:gd name="connsiteX385" fmla="*/ 167251 w 1897116"/>
              <a:gd name="connsiteY385" fmla="*/ 1068549 h 1087290"/>
              <a:gd name="connsiteX386" fmla="*/ 162607 w 1897116"/>
              <a:gd name="connsiteY386" fmla="*/ 1067267 h 1087290"/>
              <a:gd name="connsiteX387" fmla="*/ 155421 w 1897116"/>
              <a:gd name="connsiteY387" fmla="*/ 1068549 h 1087290"/>
              <a:gd name="connsiteX388" fmla="*/ 153756 w 1897116"/>
              <a:gd name="connsiteY388" fmla="*/ 1069095 h 1087290"/>
              <a:gd name="connsiteX389" fmla="*/ 146483 w 1897116"/>
              <a:gd name="connsiteY389" fmla="*/ 1068631 h 1087290"/>
              <a:gd name="connsiteX390" fmla="*/ 137983 w 1897116"/>
              <a:gd name="connsiteY390" fmla="*/ 1067540 h 1087290"/>
              <a:gd name="connsiteX391" fmla="*/ 135967 w 1897116"/>
              <a:gd name="connsiteY391" fmla="*/ 1065711 h 1087290"/>
              <a:gd name="connsiteX392" fmla="*/ 130710 w 1897116"/>
              <a:gd name="connsiteY392" fmla="*/ 1061208 h 1087290"/>
              <a:gd name="connsiteX393" fmla="*/ 123962 w 1897116"/>
              <a:gd name="connsiteY393" fmla="*/ 1057470 h 1087290"/>
              <a:gd name="connsiteX394" fmla="*/ 115375 w 1897116"/>
              <a:gd name="connsiteY394" fmla="*/ 1056051 h 1087290"/>
              <a:gd name="connsiteX395" fmla="*/ 110555 w 1897116"/>
              <a:gd name="connsiteY395" fmla="*/ 1058043 h 1087290"/>
              <a:gd name="connsiteX396" fmla="*/ 110555 w 1897116"/>
              <a:gd name="connsiteY396" fmla="*/ 1057743 h 1087290"/>
              <a:gd name="connsiteX397" fmla="*/ 105998 w 1897116"/>
              <a:gd name="connsiteY397" fmla="*/ 1056269 h 1087290"/>
              <a:gd name="connsiteX398" fmla="*/ 107225 w 1897116"/>
              <a:gd name="connsiteY398" fmla="*/ 1053676 h 1087290"/>
              <a:gd name="connsiteX399" fmla="*/ 106962 w 1897116"/>
              <a:gd name="connsiteY399" fmla="*/ 1048792 h 1087290"/>
              <a:gd name="connsiteX400" fmla="*/ 106962 w 1897116"/>
              <a:gd name="connsiteY400" fmla="*/ 1045299 h 1087290"/>
              <a:gd name="connsiteX401" fmla="*/ 107926 w 1897116"/>
              <a:gd name="connsiteY401" fmla="*/ 1044807 h 1087290"/>
              <a:gd name="connsiteX402" fmla="*/ 106875 w 1897116"/>
              <a:gd name="connsiteY402" fmla="*/ 1044726 h 1087290"/>
              <a:gd name="connsiteX403" fmla="*/ 106962 w 1897116"/>
              <a:gd name="connsiteY403" fmla="*/ 1045299 h 1087290"/>
              <a:gd name="connsiteX404" fmla="*/ 102230 w 1897116"/>
              <a:gd name="connsiteY404" fmla="*/ 1044944 h 1087290"/>
              <a:gd name="connsiteX405" fmla="*/ 96622 w 1897116"/>
              <a:gd name="connsiteY405" fmla="*/ 1045053 h 1087290"/>
              <a:gd name="connsiteX406" fmla="*/ 92065 w 1897116"/>
              <a:gd name="connsiteY406" fmla="*/ 1045708 h 1087290"/>
              <a:gd name="connsiteX407" fmla="*/ 85405 w 1897116"/>
              <a:gd name="connsiteY407" fmla="*/ 1047263 h 1087290"/>
              <a:gd name="connsiteX408" fmla="*/ 84880 w 1897116"/>
              <a:gd name="connsiteY408" fmla="*/ 1043907 h 1087290"/>
              <a:gd name="connsiteX409" fmla="*/ 80060 w 1897116"/>
              <a:gd name="connsiteY409" fmla="*/ 1048710 h 1087290"/>
              <a:gd name="connsiteX410" fmla="*/ 74802 w 1897116"/>
              <a:gd name="connsiteY410" fmla="*/ 1051821 h 1087290"/>
              <a:gd name="connsiteX411" fmla="*/ 68493 w 1897116"/>
              <a:gd name="connsiteY411" fmla="*/ 1051657 h 1087290"/>
              <a:gd name="connsiteX412" fmla="*/ 66127 w 1897116"/>
              <a:gd name="connsiteY412" fmla="*/ 1054959 h 1087290"/>
              <a:gd name="connsiteX413" fmla="*/ 62271 w 1897116"/>
              <a:gd name="connsiteY413" fmla="*/ 1057033 h 1087290"/>
              <a:gd name="connsiteX414" fmla="*/ 61658 w 1897116"/>
              <a:gd name="connsiteY414" fmla="*/ 1056569 h 1087290"/>
              <a:gd name="connsiteX415" fmla="*/ 56488 w 1897116"/>
              <a:gd name="connsiteY415" fmla="*/ 1053022 h 1087290"/>
              <a:gd name="connsiteX416" fmla="*/ 53421 w 1897116"/>
              <a:gd name="connsiteY416" fmla="*/ 1047809 h 1087290"/>
              <a:gd name="connsiteX417" fmla="*/ 50091 w 1897116"/>
              <a:gd name="connsiteY417" fmla="*/ 1044043 h 1087290"/>
              <a:gd name="connsiteX418" fmla="*/ 45972 w 1897116"/>
              <a:gd name="connsiteY418" fmla="*/ 1047973 h 1087290"/>
              <a:gd name="connsiteX419" fmla="*/ 41941 w 1897116"/>
              <a:gd name="connsiteY419" fmla="*/ 1051848 h 1087290"/>
              <a:gd name="connsiteX420" fmla="*/ 39312 w 1897116"/>
              <a:gd name="connsiteY420" fmla="*/ 1053158 h 1087290"/>
              <a:gd name="connsiteX421" fmla="*/ 38699 w 1897116"/>
              <a:gd name="connsiteY421" fmla="*/ 1046554 h 1087290"/>
              <a:gd name="connsiteX422" fmla="*/ 39312 w 1897116"/>
              <a:gd name="connsiteY422" fmla="*/ 1038667 h 1087290"/>
              <a:gd name="connsiteX423" fmla="*/ 39049 w 1897116"/>
              <a:gd name="connsiteY423" fmla="*/ 1038476 h 1087290"/>
              <a:gd name="connsiteX424" fmla="*/ 37823 w 1897116"/>
              <a:gd name="connsiteY424" fmla="*/ 1039486 h 1087290"/>
              <a:gd name="connsiteX425" fmla="*/ 34054 w 1897116"/>
              <a:gd name="connsiteY425" fmla="*/ 1039131 h 1087290"/>
              <a:gd name="connsiteX426" fmla="*/ 31250 w 1897116"/>
              <a:gd name="connsiteY426" fmla="*/ 1044180 h 1087290"/>
              <a:gd name="connsiteX427" fmla="*/ 23188 w 1897116"/>
              <a:gd name="connsiteY427" fmla="*/ 1049692 h 1087290"/>
              <a:gd name="connsiteX428" fmla="*/ 17580 w 1897116"/>
              <a:gd name="connsiteY428" fmla="*/ 1052012 h 1087290"/>
              <a:gd name="connsiteX429" fmla="*/ 13724 w 1897116"/>
              <a:gd name="connsiteY429" fmla="*/ 1056651 h 1087290"/>
              <a:gd name="connsiteX430" fmla="*/ 15302 w 1897116"/>
              <a:gd name="connsiteY430" fmla="*/ 1057743 h 1087290"/>
              <a:gd name="connsiteX431" fmla="*/ 8642 w 1897116"/>
              <a:gd name="connsiteY431" fmla="*/ 1060499 h 1087290"/>
              <a:gd name="connsiteX432" fmla="*/ 5137 w 1897116"/>
              <a:gd name="connsiteY432" fmla="*/ 1062000 h 1087290"/>
              <a:gd name="connsiteX433" fmla="*/ 3559 w 1897116"/>
              <a:gd name="connsiteY433" fmla="*/ 1055505 h 1087290"/>
              <a:gd name="connsiteX434" fmla="*/ 4786 w 1897116"/>
              <a:gd name="connsiteY434" fmla="*/ 1049528 h 1087290"/>
              <a:gd name="connsiteX435" fmla="*/ 54 w 1897116"/>
              <a:gd name="connsiteY435" fmla="*/ 1045954 h 1087290"/>
              <a:gd name="connsiteX436" fmla="*/ 54 w 1897116"/>
              <a:gd name="connsiteY436" fmla="*/ 499589 h 1087290"/>
              <a:gd name="connsiteX437" fmla="*/ 1023 w 1897116"/>
              <a:gd name="connsiteY437" fmla="*/ 139188 h 1087290"/>
              <a:gd name="connsiteX438" fmla="*/ 1023 w 1897116"/>
              <a:gd name="connsiteY438" fmla="*/ 125528 h 1087290"/>
              <a:gd name="connsiteX439" fmla="*/ 1023 w 1897116"/>
              <a:gd name="connsiteY439" fmla="*/ 115418 h 1087290"/>
              <a:gd name="connsiteX440" fmla="*/ 1023 w 1897116"/>
              <a:gd name="connsiteY440" fmla="*/ 109084 h 1087290"/>
              <a:gd name="connsiteX441" fmla="*/ 1023 w 1897116"/>
              <a:gd name="connsiteY441" fmla="*/ 106908 h 1087290"/>
              <a:gd name="connsiteX442" fmla="*/ 5162 w 1897116"/>
              <a:gd name="connsiteY442" fmla="*/ 103773 h 1087290"/>
              <a:gd name="connsiteX443" fmla="*/ 9918 w 1897116"/>
              <a:gd name="connsiteY443" fmla="*/ 99486 h 1087290"/>
              <a:gd name="connsiteX444" fmla="*/ 13353 w 1897116"/>
              <a:gd name="connsiteY444" fmla="*/ 94911 h 1087290"/>
              <a:gd name="connsiteX445" fmla="*/ 18021 w 1897116"/>
              <a:gd name="connsiteY445" fmla="*/ 91520 h 1087290"/>
              <a:gd name="connsiteX446" fmla="*/ 18637 w 1897116"/>
              <a:gd name="connsiteY446" fmla="*/ 94496 h 1087290"/>
              <a:gd name="connsiteX447" fmla="*/ 20487 w 1897116"/>
              <a:gd name="connsiteY447" fmla="*/ 106204 h 1087290"/>
              <a:gd name="connsiteX448" fmla="*/ 22777 w 1897116"/>
              <a:gd name="connsiteY448" fmla="*/ 114906 h 1087290"/>
              <a:gd name="connsiteX449" fmla="*/ 22777 w 1897116"/>
              <a:gd name="connsiteY449" fmla="*/ 120889 h 1087290"/>
              <a:gd name="connsiteX450" fmla="*/ 24098 w 1897116"/>
              <a:gd name="connsiteY450" fmla="*/ 114906 h 1087290"/>
              <a:gd name="connsiteX451" fmla="*/ 25419 w 1897116"/>
              <a:gd name="connsiteY451" fmla="*/ 108604 h 1087290"/>
              <a:gd name="connsiteX452" fmla="*/ 27092 w 1897116"/>
              <a:gd name="connsiteY452" fmla="*/ 101054 h 1087290"/>
              <a:gd name="connsiteX453" fmla="*/ 29470 w 1897116"/>
              <a:gd name="connsiteY453" fmla="*/ 92096 h 1087290"/>
              <a:gd name="connsiteX454" fmla="*/ 30439 w 1897116"/>
              <a:gd name="connsiteY454" fmla="*/ 85730 h 1087290"/>
              <a:gd name="connsiteX455" fmla="*/ 32200 w 1897116"/>
              <a:gd name="connsiteY455" fmla="*/ 77380 h 1087290"/>
              <a:gd name="connsiteX456" fmla="*/ 32993 w 1897116"/>
              <a:gd name="connsiteY456" fmla="*/ 73381 h 1087290"/>
              <a:gd name="connsiteX457" fmla="*/ 32817 w 1897116"/>
              <a:gd name="connsiteY457" fmla="*/ 66503 h 1087290"/>
              <a:gd name="connsiteX458" fmla="*/ 34314 w 1897116"/>
              <a:gd name="connsiteY458" fmla="*/ 62376 h 1087290"/>
              <a:gd name="connsiteX459" fmla="*/ 40016 w 1897116"/>
              <a:gd name="connsiteY459" fmla="*/ 62421 h 1087290"/>
              <a:gd name="connsiteX460" fmla="*/ 40853 w 1897116"/>
              <a:gd name="connsiteY460" fmla="*/ 63343 h 1087290"/>
              <a:gd name="connsiteX461" fmla="*/ 40904 w 1897116"/>
              <a:gd name="connsiteY461" fmla="*/ 62538 h 1087290"/>
              <a:gd name="connsiteX462" fmla="*/ 46820 w 1897116"/>
              <a:gd name="connsiteY462" fmla="*/ 65159 h 1087290"/>
              <a:gd name="connsiteX463" fmla="*/ 53602 w 1897116"/>
              <a:gd name="connsiteY463" fmla="*/ 70086 h 1087290"/>
              <a:gd name="connsiteX464" fmla="*/ 58534 w 1897116"/>
              <a:gd name="connsiteY464" fmla="*/ 64327 h 1087290"/>
              <a:gd name="connsiteX465" fmla="*/ 63378 w 1897116"/>
              <a:gd name="connsiteY465" fmla="*/ 58601 h 1087290"/>
              <a:gd name="connsiteX466" fmla="*/ 67781 w 1897116"/>
              <a:gd name="connsiteY466" fmla="*/ 53610 h 1087290"/>
              <a:gd name="connsiteX467" fmla="*/ 71921 w 1897116"/>
              <a:gd name="connsiteY467" fmla="*/ 48555 h 1087290"/>
              <a:gd name="connsiteX468" fmla="*/ 77645 w 1897116"/>
              <a:gd name="connsiteY468" fmla="*/ 45036 h 1087290"/>
              <a:gd name="connsiteX469" fmla="*/ 83282 w 1897116"/>
              <a:gd name="connsiteY469" fmla="*/ 43309 h 1087290"/>
              <a:gd name="connsiteX470" fmla="*/ 83513 w 1897116"/>
              <a:gd name="connsiteY470" fmla="*/ 44920 h 1087290"/>
              <a:gd name="connsiteX471" fmla="*/ 86620 w 1897116"/>
              <a:gd name="connsiteY471" fmla="*/ 45681 h 1087290"/>
              <a:gd name="connsiteX472" fmla="*/ 85847 w 1897116"/>
              <a:gd name="connsiteY472" fmla="*/ 46124 h 1087290"/>
              <a:gd name="connsiteX473" fmla="*/ 88038 w 1897116"/>
              <a:gd name="connsiteY473" fmla="*/ 46028 h 1087290"/>
              <a:gd name="connsiteX474" fmla="*/ 86620 w 1897116"/>
              <a:gd name="connsiteY474" fmla="*/ 45681 h 1087290"/>
              <a:gd name="connsiteX475" fmla="*/ 92706 w 1897116"/>
              <a:gd name="connsiteY475" fmla="*/ 42189 h 1087290"/>
              <a:gd name="connsiteX476" fmla="*/ 96581 w 1897116"/>
              <a:gd name="connsiteY476" fmla="*/ 46444 h 1087290"/>
              <a:gd name="connsiteX477" fmla="*/ 95876 w 1897116"/>
              <a:gd name="connsiteY477" fmla="*/ 51499 h 1087290"/>
              <a:gd name="connsiteX478" fmla="*/ 100192 w 1897116"/>
              <a:gd name="connsiteY478" fmla="*/ 54250 h 1087290"/>
              <a:gd name="connsiteX479" fmla="*/ 106621 w 1897116"/>
              <a:gd name="connsiteY479" fmla="*/ 50347 h 1087290"/>
              <a:gd name="connsiteX480" fmla="*/ 108206 w 1897116"/>
              <a:gd name="connsiteY480" fmla="*/ 51243 h 1087290"/>
              <a:gd name="connsiteX481" fmla="*/ 115076 w 1897116"/>
              <a:gd name="connsiteY481" fmla="*/ 47851 h 1087290"/>
              <a:gd name="connsiteX482" fmla="*/ 117215 w 1897116"/>
              <a:gd name="connsiteY482" fmla="*/ 43761 h 1087290"/>
              <a:gd name="connsiteX483" fmla="*/ 119950 w 1897116"/>
              <a:gd name="connsiteY483" fmla="*/ 43716 h 1087290"/>
              <a:gd name="connsiteX484" fmla="*/ 121065 w 1897116"/>
              <a:gd name="connsiteY484" fmla="*/ 43916 h 1087290"/>
              <a:gd name="connsiteX485" fmla="*/ 120926 w 1897116"/>
              <a:gd name="connsiteY485" fmla="*/ 43701 h 1087290"/>
              <a:gd name="connsiteX486" fmla="*/ 121417 w 1897116"/>
              <a:gd name="connsiteY486" fmla="*/ 43693 h 1087290"/>
              <a:gd name="connsiteX487" fmla="*/ 126184 w 1897116"/>
              <a:gd name="connsiteY487" fmla="*/ 49407 h 1087290"/>
              <a:gd name="connsiteX488" fmla="*/ 120031 w 1897116"/>
              <a:gd name="connsiteY488" fmla="*/ 50714 h 1087290"/>
              <a:gd name="connsiteX489" fmla="*/ 119655 w 1897116"/>
              <a:gd name="connsiteY489" fmla="*/ 50411 h 1087290"/>
              <a:gd name="connsiteX490" fmla="*/ 118599 w 1897116"/>
              <a:gd name="connsiteY490" fmla="*/ 51019 h 1087290"/>
              <a:gd name="connsiteX491" fmla="*/ 120031 w 1897116"/>
              <a:gd name="connsiteY491" fmla="*/ 50714 h 1087290"/>
              <a:gd name="connsiteX492" fmla="*/ 120679 w 1897116"/>
              <a:gd name="connsiteY492" fmla="*/ 51239 h 1087290"/>
              <a:gd name="connsiteX493" fmla="*/ 127053 w 1897116"/>
              <a:gd name="connsiteY493" fmla="*/ 54442 h 1087290"/>
              <a:gd name="connsiteX494" fmla="*/ 135596 w 1897116"/>
              <a:gd name="connsiteY494" fmla="*/ 57865 h 1087290"/>
              <a:gd name="connsiteX495" fmla="*/ 137600 w 1897116"/>
              <a:gd name="connsiteY495" fmla="*/ 55186 h 1087290"/>
              <a:gd name="connsiteX496" fmla="*/ 138681 w 1897116"/>
              <a:gd name="connsiteY496" fmla="*/ 53721 h 1087290"/>
              <a:gd name="connsiteX497" fmla="*/ 139189 w 1897116"/>
              <a:gd name="connsiteY497" fmla="*/ 54503 h 1087290"/>
              <a:gd name="connsiteX498" fmla="*/ 139736 w 1897116"/>
              <a:gd name="connsiteY498" fmla="*/ 52266 h 1087290"/>
              <a:gd name="connsiteX499" fmla="*/ 137611 w 1897116"/>
              <a:gd name="connsiteY499" fmla="*/ 51817 h 1087290"/>
              <a:gd name="connsiteX500" fmla="*/ 138855 w 1897116"/>
              <a:gd name="connsiteY500" fmla="*/ 48875 h 1087290"/>
              <a:gd name="connsiteX501" fmla="*/ 146165 w 1897116"/>
              <a:gd name="connsiteY501" fmla="*/ 53354 h 1087290"/>
              <a:gd name="connsiteX502" fmla="*/ 151537 w 1897116"/>
              <a:gd name="connsiteY502" fmla="*/ 53034 h 1087290"/>
              <a:gd name="connsiteX503" fmla="*/ 158034 w 1897116"/>
              <a:gd name="connsiteY503" fmla="*/ 51672 h 1087290"/>
              <a:gd name="connsiteX504" fmla="*/ 159497 w 1897116"/>
              <a:gd name="connsiteY504" fmla="*/ 51308 h 1087290"/>
              <a:gd name="connsiteX505" fmla="*/ 160047 w 1897116"/>
              <a:gd name="connsiteY505" fmla="*/ 52862 h 1087290"/>
              <a:gd name="connsiteX506" fmla="*/ 164484 w 1897116"/>
              <a:gd name="connsiteY506" fmla="*/ 50059 h 1087290"/>
              <a:gd name="connsiteX507" fmla="*/ 165188 w 1897116"/>
              <a:gd name="connsiteY507" fmla="*/ 44940 h 1087290"/>
              <a:gd name="connsiteX508" fmla="*/ 169328 w 1897116"/>
              <a:gd name="connsiteY508" fmla="*/ 37646 h 1087290"/>
              <a:gd name="connsiteX509" fmla="*/ 174876 w 1897116"/>
              <a:gd name="connsiteY509" fmla="*/ 38670 h 1087290"/>
              <a:gd name="connsiteX510" fmla="*/ 174524 w 1897116"/>
              <a:gd name="connsiteY510" fmla="*/ 36622 h 1087290"/>
              <a:gd name="connsiteX511" fmla="*/ 180249 w 1897116"/>
              <a:gd name="connsiteY511" fmla="*/ 38542 h 1087290"/>
              <a:gd name="connsiteX512" fmla="*/ 185973 w 1897116"/>
              <a:gd name="connsiteY512" fmla="*/ 33871 h 1087290"/>
              <a:gd name="connsiteX513" fmla="*/ 188615 w 1897116"/>
              <a:gd name="connsiteY513" fmla="*/ 35535 h 1087290"/>
              <a:gd name="connsiteX514" fmla="*/ 192050 w 1897116"/>
              <a:gd name="connsiteY514" fmla="*/ 36558 h 1087290"/>
              <a:gd name="connsiteX515" fmla="*/ 195133 w 1897116"/>
              <a:gd name="connsiteY515" fmla="*/ 29360 h 1087290"/>
              <a:gd name="connsiteX516" fmla="*/ 196190 w 1897116"/>
              <a:gd name="connsiteY516" fmla="*/ 27857 h 1087290"/>
              <a:gd name="connsiteX517" fmla="*/ 203764 w 1897116"/>
              <a:gd name="connsiteY517" fmla="*/ 26513 h 1087290"/>
              <a:gd name="connsiteX518" fmla="*/ 204733 w 1897116"/>
              <a:gd name="connsiteY518" fmla="*/ 28784 h 1087290"/>
              <a:gd name="connsiteX519" fmla="*/ 207199 w 1897116"/>
              <a:gd name="connsiteY519" fmla="*/ 32591 h 1087290"/>
              <a:gd name="connsiteX520" fmla="*/ 213540 w 1897116"/>
              <a:gd name="connsiteY520" fmla="*/ 29968 h 1087290"/>
              <a:gd name="connsiteX521" fmla="*/ 219617 w 1897116"/>
              <a:gd name="connsiteY521" fmla="*/ 29648 h 1087290"/>
              <a:gd name="connsiteX522" fmla="*/ 224725 w 1897116"/>
              <a:gd name="connsiteY522" fmla="*/ 31408 h 1087290"/>
              <a:gd name="connsiteX523" fmla="*/ 226222 w 1897116"/>
              <a:gd name="connsiteY523" fmla="*/ 25553 h 1087290"/>
              <a:gd name="connsiteX524" fmla="*/ 236086 w 1897116"/>
              <a:gd name="connsiteY524" fmla="*/ 32495 h 1087290"/>
              <a:gd name="connsiteX525" fmla="*/ 241458 w 1897116"/>
              <a:gd name="connsiteY525" fmla="*/ 43149 h 1087290"/>
              <a:gd name="connsiteX526" fmla="*/ 242780 w 1897116"/>
              <a:gd name="connsiteY526" fmla="*/ 36430 h 1087290"/>
              <a:gd name="connsiteX527" fmla="*/ 248680 w 1897116"/>
              <a:gd name="connsiteY527" fmla="*/ 38574 h 1087290"/>
              <a:gd name="connsiteX528" fmla="*/ 258720 w 1897116"/>
              <a:gd name="connsiteY528" fmla="*/ 38926 h 1087290"/>
              <a:gd name="connsiteX529" fmla="*/ 264974 w 1897116"/>
              <a:gd name="connsiteY529" fmla="*/ 39854 h 1087290"/>
              <a:gd name="connsiteX530" fmla="*/ 266735 w 1897116"/>
              <a:gd name="connsiteY530" fmla="*/ 36654 h 1087290"/>
              <a:gd name="connsiteX531" fmla="*/ 275366 w 1897116"/>
              <a:gd name="connsiteY531" fmla="*/ 35119 h 1087290"/>
              <a:gd name="connsiteX532" fmla="*/ 279946 w 1897116"/>
              <a:gd name="connsiteY532" fmla="*/ 33775 h 1087290"/>
              <a:gd name="connsiteX533" fmla="*/ 278360 w 1897116"/>
              <a:gd name="connsiteY533" fmla="*/ 38094 h 1087290"/>
              <a:gd name="connsiteX534" fmla="*/ 283909 w 1897116"/>
              <a:gd name="connsiteY534" fmla="*/ 43597 h 1087290"/>
              <a:gd name="connsiteX535" fmla="*/ 288489 w 1897116"/>
              <a:gd name="connsiteY535" fmla="*/ 43757 h 1087290"/>
              <a:gd name="connsiteX536" fmla="*/ 292892 w 1897116"/>
              <a:gd name="connsiteY536" fmla="*/ 47276 h 1087290"/>
              <a:gd name="connsiteX537" fmla="*/ 295534 w 1897116"/>
              <a:gd name="connsiteY537" fmla="*/ 46068 h 1087290"/>
              <a:gd name="connsiteX538" fmla="*/ 299692 w 1897116"/>
              <a:gd name="connsiteY538" fmla="*/ 49081 h 1087290"/>
              <a:gd name="connsiteX539" fmla="*/ 298364 w 1897116"/>
              <a:gd name="connsiteY539" fmla="*/ 53022 h 1087290"/>
              <a:gd name="connsiteX540" fmla="*/ 300026 w 1897116"/>
              <a:gd name="connsiteY540" fmla="*/ 49323 h 1087290"/>
              <a:gd name="connsiteX541" fmla="*/ 299692 w 1897116"/>
              <a:gd name="connsiteY541" fmla="*/ 49081 h 1087290"/>
              <a:gd name="connsiteX542" fmla="*/ 300731 w 1897116"/>
              <a:gd name="connsiteY542" fmla="*/ 45996 h 1087290"/>
              <a:gd name="connsiteX543" fmla="*/ 305222 w 1897116"/>
              <a:gd name="connsiteY543" fmla="*/ 47724 h 1087290"/>
              <a:gd name="connsiteX544" fmla="*/ 306367 w 1897116"/>
              <a:gd name="connsiteY544" fmla="*/ 42605 h 1087290"/>
              <a:gd name="connsiteX545" fmla="*/ 304410 w 1897116"/>
              <a:gd name="connsiteY545" fmla="*/ 40485 h 1087290"/>
              <a:gd name="connsiteX546" fmla="*/ 308217 w 1897116"/>
              <a:gd name="connsiteY546" fmla="*/ 41357 h 1087290"/>
              <a:gd name="connsiteX547" fmla="*/ 310902 w 1897116"/>
              <a:gd name="connsiteY547" fmla="*/ 41519 h 1087290"/>
              <a:gd name="connsiteX548" fmla="*/ 314734 w 1897116"/>
              <a:gd name="connsiteY548" fmla="*/ 43309 h 1087290"/>
              <a:gd name="connsiteX549" fmla="*/ 321780 w 1897116"/>
              <a:gd name="connsiteY549" fmla="*/ 48235 h 1087290"/>
              <a:gd name="connsiteX550" fmla="*/ 326183 w 1897116"/>
              <a:gd name="connsiteY550" fmla="*/ 46540 h 1087290"/>
              <a:gd name="connsiteX551" fmla="*/ 336928 w 1897116"/>
              <a:gd name="connsiteY551" fmla="*/ 45900 h 1087290"/>
              <a:gd name="connsiteX552" fmla="*/ 347144 w 1897116"/>
              <a:gd name="connsiteY552" fmla="*/ 37806 h 1087290"/>
              <a:gd name="connsiteX553" fmla="*/ 352341 w 1897116"/>
              <a:gd name="connsiteY553" fmla="*/ 27761 h 1087290"/>
              <a:gd name="connsiteX554" fmla="*/ 353668 w 1897116"/>
              <a:gd name="connsiteY554" fmla="*/ 26940 h 1087290"/>
              <a:gd name="connsiteX555" fmla="*/ 354873 w 1897116"/>
              <a:gd name="connsiteY555" fmla="*/ 29988 h 1087290"/>
              <a:gd name="connsiteX556" fmla="*/ 354014 w 1897116"/>
              <a:gd name="connsiteY556" fmla="*/ 28912 h 1087290"/>
              <a:gd name="connsiteX557" fmla="*/ 355951 w 1897116"/>
              <a:gd name="connsiteY557" fmla="*/ 36750 h 1087290"/>
              <a:gd name="connsiteX558" fmla="*/ 357273 w 1897116"/>
              <a:gd name="connsiteY558" fmla="*/ 44300 h 1087290"/>
              <a:gd name="connsiteX559" fmla="*/ 356942 w 1897116"/>
              <a:gd name="connsiteY559" fmla="*/ 47547 h 1087290"/>
              <a:gd name="connsiteX560" fmla="*/ 357383 w 1897116"/>
              <a:gd name="connsiteY560" fmla="*/ 49085 h 1087290"/>
              <a:gd name="connsiteX561" fmla="*/ 357096 w 1897116"/>
              <a:gd name="connsiteY561" fmla="*/ 49755 h 1087290"/>
              <a:gd name="connsiteX562" fmla="*/ 358474 w 1897116"/>
              <a:gd name="connsiteY562" fmla="*/ 57114 h 1087290"/>
              <a:gd name="connsiteX563" fmla="*/ 357900 w 1897116"/>
              <a:gd name="connsiteY563" fmla="*/ 57309 h 1087290"/>
              <a:gd name="connsiteX564" fmla="*/ 358770 w 1897116"/>
              <a:gd name="connsiteY564" fmla="*/ 58697 h 1087290"/>
              <a:gd name="connsiteX565" fmla="*/ 358474 w 1897116"/>
              <a:gd name="connsiteY565" fmla="*/ 57114 h 1087290"/>
              <a:gd name="connsiteX566" fmla="*/ 365023 w 1897116"/>
              <a:gd name="connsiteY566" fmla="*/ 54890 h 1087290"/>
              <a:gd name="connsiteX567" fmla="*/ 371188 w 1897116"/>
              <a:gd name="connsiteY567" fmla="*/ 51115 h 1087290"/>
              <a:gd name="connsiteX568" fmla="*/ 379467 w 1897116"/>
              <a:gd name="connsiteY568" fmla="*/ 47660 h 1087290"/>
              <a:gd name="connsiteX569" fmla="*/ 383518 w 1897116"/>
              <a:gd name="connsiteY569" fmla="*/ 45484 h 1087290"/>
              <a:gd name="connsiteX570" fmla="*/ 388978 w 1897116"/>
              <a:gd name="connsiteY570" fmla="*/ 42509 h 1087290"/>
              <a:gd name="connsiteX571" fmla="*/ 396817 w 1897116"/>
              <a:gd name="connsiteY571" fmla="*/ 45484 h 1087290"/>
              <a:gd name="connsiteX572" fmla="*/ 404391 w 1897116"/>
              <a:gd name="connsiteY572" fmla="*/ 47724 h 1087290"/>
              <a:gd name="connsiteX573" fmla="*/ 404215 w 1897116"/>
              <a:gd name="connsiteY573" fmla="*/ 48907 h 1087290"/>
              <a:gd name="connsiteX574" fmla="*/ 402277 w 1897116"/>
              <a:gd name="connsiteY574" fmla="*/ 51627 h 1087290"/>
              <a:gd name="connsiteX575" fmla="*/ 408883 w 1897116"/>
              <a:gd name="connsiteY575" fmla="*/ 55018 h 1087290"/>
              <a:gd name="connsiteX576" fmla="*/ 408618 w 1897116"/>
              <a:gd name="connsiteY576" fmla="*/ 56681 h 1087290"/>
              <a:gd name="connsiteX577" fmla="*/ 414079 w 1897116"/>
              <a:gd name="connsiteY577" fmla="*/ 62408 h 1087290"/>
              <a:gd name="connsiteX578" fmla="*/ 414519 w 1897116"/>
              <a:gd name="connsiteY578" fmla="*/ 59241 h 1087290"/>
              <a:gd name="connsiteX579" fmla="*/ 417866 w 1897116"/>
              <a:gd name="connsiteY579" fmla="*/ 66759 h 1087290"/>
              <a:gd name="connsiteX580" fmla="*/ 422710 w 1897116"/>
              <a:gd name="connsiteY580" fmla="*/ 70022 h 1087290"/>
              <a:gd name="connsiteX581" fmla="*/ 428611 w 1897116"/>
              <a:gd name="connsiteY581" fmla="*/ 68582 h 1087290"/>
              <a:gd name="connsiteX582" fmla="*/ 429932 w 1897116"/>
              <a:gd name="connsiteY582" fmla="*/ 74117 h 1087290"/>
              <a:gd name="connsiteX583" fmla="*/ 435832 w 1897116"/>
              <a:gd name="connsiteY583" fmla="*/ 74053 h 1087290"/>
              <a:gd name="connsiteX584" fmla="*/ 442526 w 1897116"/>
              <a:gd name="connsiteY584" fmla="*/ 72389 h 1087290"/>
              <a:gd name="connsiteX585" fmla="*/ 448603 w 1897116"/>
              <a:gd name="connsiteY585" fmla="*/ 71461 h 1087290"/>
              <a:gd name="connsiteX586" fmla="*/ 456001 w 1897116"/>
              <a:gd name="connsiteY586" fmla="*/ 67878 h 1087290"/>
              <a:gd name="connsiteX587" fmla="*/ 460316 w 1897116"/>
              <a:gd name="connsiteY587" fmla="*/ 66055 h 1087290"/>
              <a:gd name="connsiteX588" fmla="*/ 465160 w 1897116"/>
              <a:gd name="connsiteY588" fmla="*/ 63048 h 1087290"/>
              <a:gd name="connsiteX589" fmla="*/ 470709 w 1897116"/>
              <a:gd name="connsiteY589" fmla="*/ 61224 h 1087290"/>
              <a:gd name="connsiteX590" fmla="*/ 479252 w 1897116"/>
              <a:gd name="connsiteY590" fmla="*/ 60328 h 1087290"/>
              <a:gd name="connsiteX591" fmla="*/ 484448 w 1897116"/>
              <a:gd name="connsiteY591" fmla="*/ 64487 h 1087290"/>
              <a:gd name="connsiteX592" fmla="*/ 486209 w 1897116"/>
              <a:gd name="connsiteY592" fmla="*/ 64967 h 1087290"/>
              <a:gd name="connsiteX593" fmla="*/ 489556 w 1897116"/>
              <a:gd name="connsiteY593" fmla="*/ 73125 h 1087290"/>
              <a:gd name="connsiteX594" fmla="*/ 492374 w 1897116"/>
              <a:gd name="connsiteY594" fmla="*/ 79395 h 1087290"/>
              <a:gd name="connsiteX595" fmla="*/ 495193 w 1897116"/>
              <a:gd name="connsiteY595" fmla="*/ 85634 h 1087290"/>
              <a:gd name="connsiteX596" fmla="*/ 499860 w 1897116"/>
              <a:gd name="connsiteY596" fmla="*/ 80611 h 1087290"/>
              <a:gd name="connsiteX597" fmla="*/ 498539 w 1897116"/>
              <a:gd name="connsiteY597" fmla="*/ 72461 h 1087290"/>
              <a:gd name="connsiteX598" fmla="*/ 502864 w 1897116"/>
              <a:gd name="connsiteY598" fmla="*/ 74686 h 1087290"/>
              <a:gd name="connsiteX599" fmla="*/ 502591 w 1897116"/>
              <a:gd name="connsiteY599" fmla="*/ 74740 h 1087290"/>
              <a:gd name="connsiteX600" fmla="*/ 504616 w 1897116"/>
              <a:gd name="connsiteY600" fmla="*/ 75588 h 1087290"/>
              <a:gd name="connsiteX601" fmla="*/ 502864 w 1897116"/>
              <a:gd name="connsiteY601" fmla="*/ 74686 h 1087290"/>
              <a:gd name="connsiteX602" fmla="*/ 509284 w 1897116"/>
              <a:gd name="connsiteY602" fmla="*/ 73413 h 1087290"/>
              <a:gd name="connsiteX603" fmla="*/ 513688 w 1897116"/>
              <a:gd name="connsiteY603" fmla="*/ 73125 h 1087290"/>
              <a:gd name="connsiteX604" fmla="*/ 519060 w 1897116"/>
              <a:gd name="connsiteY604" fmla="*/ 76196 h 1087290"/>
              <a:gd name="connsiteX605" fmla="*/ 524168 w 1897116"/>
              <a:gd name="connsiteY605" fmla="*/ 80067 h 1087290"/>
              <a:gd name="connsiteX606" fmla="*/ 528308 w 1897116"/>
              <a:gd name="connsiteY606" fmla="*/ 79267 h 1087290"/>
              <a:gd name="connsiteX607" fmla="*/ 534880 w 1897116"/>
              <a:gd name="connsiteY607" fmla="*/ 78096 h 1087290"/>
              <a:gd name="connsiteX608" fmla="*/ 536126 w 1897116"/>
              <a:gd name="connsiteY608" fmla="*/ 80719 h 1087290"/>
              <a:gd name="connsiteX609" fmla="*/ 535949 w 1897116"/>
              <a:gd name="connsiteY609" fmla="*/ 80727 h 1087290"/>
              <a:gd name="connsiteX610" fmla="*/ 534913 w 1897116"/>
              <a:gd name="connsiteY610" fmla="*/ 79875 h 1087290"/>
              <a:gd name="connsiteX611" fmla="*/ 532766 w 1897116"/>
              <a:gd name="connsiteY611" fmla="*/ 80875 h 1087290"/>
              <a:gd name="connsiteX612" fmla="*/ 535949 w 1897116"/>
              <a:gd name="connsiteY612" fmla="*/ 80727 h 1087290"/>
              <a:gd name="connsiteX613" fmla="*/ 536247 w 1897116"/>
              <a:gd name="connsiteY613" fmla="*/ 80972 h 1087290"/>
              <a:gd name="connsiteX614" fmla="*/ 536126 w 1897116"/>
              <a:gd name="connsiteY614" fmla="*/ 80719 h 1087290"/>
              <a:gd name="connsiteX615" fmla="*/ 539140 w 1897116"/>
              <a:gd name="connsiteY615" fmla="*/ 80579 h 1087290"/>
              <a:gd name="connsiteX616" fmla="*/ 544777 w 1897116"/>
              <a:gd name="connsiteY616" fmla="*/ 79203 h 1087290"/>
              <a:gd name="connsiteX617" fmla="*/ 548588 w 1897116"/>
              <a:gd name="connsiteY617" fmla="*/ 77263 h 1087290"/>
              <a:gd name="connsiteX618" fmla="*/ 550747 w 1897116"/>
              <a:gd name="connsiteY618" fmla="*/ 77988 h 1087290"/>
              <a:gd name="connsiteX619" fmla="*/ 555786 w 1897116"/>
              <a:gd name="connsiteY619" fmla="*/ 74565 h 1087290"/>
              <a:gd name="connsiteX620" fmla="*/ 561334 w 1897116"/>
              <a:gd name="connsiteY620" fmla="*/ 74213 h 1087290"/>
              <a:gd name="connsiteX621" fmla="*/ 562303 w 1897116"/>
              <a:gd name="connsiteY621" fmla="*/ 68838 h 1087290"/>
              <a:gd name="connsiteX622" fmla="*/ 567059 w 1897116"/>
              <a:gd name="connsiteY622" fmla="*/ 67207 h 1087290"/>
              <a:gd name="connsiteX623" fmla="*/ 571110 w 1897116"/>
              <a:gd name="connsiteY623" fmla="*/ 61224 h 1087290"/>
              <a:gd name="connsiteX624" fmla="*/ 576747 w 1897116"/>
              <a:gd name="connsiteY624" fmla="*/ 60936 h 1087290"/>
              <a:gd name="connsiteX625" fmla="*/ 580622 w 1897116"/>
              <a:gd name="connsiteY625" fmla="*/ 55050 h 1087290"/>
              <a:gd name="connsiteX626" fmla="*/ 581327 w 1897116"/>
              <a:gd name="connsiteY626" fmla="*/ 58569 h 1087290"/>
              <a:gd name="connsiteX627" fmla="*/ 581855 w 1897116"/>
              <a:gd name="connsiteY627" fmla="*/ 64007 h 1087290"/>
              <a:gd name="connsiteX628" fmla="*/ 583264 w 1897116"/>
              <a:gd name="connsiteY628" fmla="*/ 67910 h 1087290"/>
              <a:gd name="connsiteX629" fmla="*/ 587668 w 1897116"/>
              <a:gd name="connsiteY629" fmla="*/ 68038 h 1087290"/>
              <a:gd name="connsiteX630" fmla="*/ 592952 w 1897116"/>
              <a:gd name="connsiteY630" fmla="*/ 66535 h 1087290"/>
              <a:gd name="connsiteX631" fmla="*/ 604137 w 1897116"/>
              <a:gd name="connsiteY631" fmla="*/ 61448 h 1087290"/>
              <a:gd name="connsiteX632" fmla="*/ 615146 w 1897116"/>
              <a:gd name="connsiteY632" fmla="*/ 53450 h 1087290"/>
              <a:gd name="connsiteX633" fmla="*/ 620430 w 1897116"/>
              <a:gd name="connsiteY633" fmla="*/ 48907 h 1087290"/>
              <a:gd name="connsiteX634" fmla="*/ 625803 w 1897116"/>
              <a:gd name="connsiteY634" fmla="*/ 44172 h 1087290"/>
              <a:gd name="connsiteX635" fmla="*/ 630735 w 1897116"/>
              <a:gd name="connsiteY635" fmla="*/ 39598 h 1087290"/>
              <a:gd name="connsiteX636" fmla="*/ 635755 w 1897116"/>
              <a:gd name="connsiteY636" fmla="*/ 35567 h 1087290"/>
              <a:gd name="connsiteX637" fmla="*/ 639806 w 1897116"/>
              <a:gd name="connsiteY637" fmla="*/ 32495 h 1087290"/>
              <a:gd name="connsiteX638" fmla="*/ 645091 w 1897116"/>
              <a:gd name="connsiteY638" fmla="*/ 28880 h 1087290"/>
              <a:gd name="connsiteX639" fmla="*/ 652136 w 1897116"/>
              <a:gd name="connsiteY639" fmla="*/ 25553 h 1087290"/>
              <a:gd name="connsiteX640" fmla="*/ 658742 w 1897116"/>
              <a:gd name="connsiteY640" fmla="*/ 22706 h 1087290"/>
              <a:gd name="connsiteX641" fmla="*/ 665347 w 1897116"/>
              <a:gd name="connsiteY641" fmla="*/ 17075 h 1087290"/>
              <a:gd name="connsiteX642" fmla="*/ 672481 w 1897116"/>
              <a:gd name="connsiteY642" fmla="*/ 15316 h 1087290"/>
              <a:gd name="connsiteX643" fmla="*/ 679703 w 1897116"/>
              <a:gd name="connsiteY643" fmla="*/ 12341 h 1087290"/>
              <a:gd name="connsiteX644" fmla="*/ 687365 w 1897116"/>
              <a:gd name="connsiteY644" fmla="*/ 14740 h 1087290"/>
              <a:gd name="connsiteX645" fmla="*/ 686748 w 1897116"/>
              <a:gd name="connsiteY645" fmla="*/ 9589 h 1087290"/>
              <a:gd name="connsiteX646" fmla="*/ 693354 w 1897116"/>
              <a:gd name="connsiteY646" fmla="*/ 7254 h 1087290"/>
              <a:gd name="connsiteX647" fmla="*/ 700664 w 1897116"/>
              <a:gd name="connsiteY647" fmla="*/ 4887 h 1087290"/>
              <a:gd name="connsiteX648" fmla="*/ 709207 w 1897116"/>
              <a:gd name="connsiteY648" fmla="*/ 1048 h 1087290"/>
              <a:gd name="connsiteX649" fmla="*/ 710616 w 1897116"/>
              <a:gd name="connsiteY649" fmla="*/ 3799 h 1087290"/>
              <a:gd name="connsiteX650" fmla="*/ 715548 w 1897116"/>
              <a:gd name="connsiteY650" fmla="*/ 11317 h 1087290"/>
              <a:gd name="connsiteX651" fmla="*/ 717485 w 1897116"/>
              <a:gd name="connsiteY651" fmla="*/ 14548 h 1087290"/>
              <a:gd name="connsiteX652" fmla="*/ 723210 w 1897116"/>
              <a:gd name="connsiteY652" fmla="*/ 19731 h 1087290"/>
              <a:gd name="connsiteX653" fmla="*/ 725412 w 1897116"/>
              <a:gd name="connsiteY653" fmla="*/ 18099 h 1087290"/>
              <a:gd name="connsiteX654" fmla="*/ 729727 w 1897116"/>
              <a:gd name="connsiteY654" fmla="*/ 25489 h 1087290"/>
              <a:gd name="connsiteX655" fmla="*/ 734659 w 1897116"/>
              <a:gd name="connsiteY655" fmla="*/ 28592 h 1087290"/>
              <a:gd name="connsiteX656" fmla="*/ 738270 w 1897116"/>
              <a:gd name="connsiteY656" fmla="*/ 27441 h 1087290"/>
              <a:gd name="connsiteX657" fmla="*/ 745404 w 1897116"/>
              <a:gd name="connsiteY657" fmla="*/ 32879 h 1087290"/>
              <a:gd name="connsiteX658" fmla="*/ 746109 w 1897116"/>
              <a:gd name="connsiteY658" fmla="*/ 32048 h 1087290"/>
              <a:gd name="connsiteX659" fmla="*/ 743731 w 1897116"/>
              <a:gd name="connsiteY659" fmla="*/ 29808 h 1087290"/>
              <a:gd name="connsiteX660" fmla="*/ 748663 w 1897116"/>
              <a:gd name="connsiteY660" fmla="*/ 27089 h 1087290"/>
              <a:gd name="connsiteX661" fmla="*/ 756149 w 1897116"/>
              <a:gd name="connsiteY661" fmla="*/ 23474 h 1087290"/>
              <a:gd name="connsiteX662" fmla="*/ 759496 w 1897116"/>
              <a:gd name="connsiteY662" fmla="*/ 23890 h 1087290"/>
              <a:gd name="connsiteX663" fmla="*/ 760817 w 1897116"/>
              <a:gd name="connsiteY663" fmla="*/ 21458 h 1087290"/>
              <a:gd name="connsiteX664" fmla="*/ 763459 w 1897116"/>
              <a:gd name="connsiteY664" fmla="*/ 25297 h 1087290"/>
              <a:gd name="connsiteX665" fmla="*/ 766365 w 1897116"/>
              <a:gd name="connsiteY665" fmla="*/ 32112 h 1087290"/>
              <a:gd name="connsiteX666" fmla="*/ 768127 w 1897116"/>
              <a:gd name="connsiteY666" fmla="*/ 36558 h 1087290"/>
              <a:gd name="connsiteX667" fmla="*/ 769888 w 1897116"/>
              <a:gd name="connsiteY667" fmla="*/ 34255 h 1087290"/>
              <a:gd name="connsiteX668" fmla="*/ 770945 w 1897116"/>
              <a:gd name="connsiteY668" fmla="*/ 37966 h 1087290"/>
              <a:gd name="connsiteX669" fmla="*/ 770681 w 1897116"/>
              <a:gd name="connsiteY669" fmla="*/ 43565 h 1087290"/>
              <a:gd name="connsiteX670" fmla="*/ 773411 w 1897116"/>
              <a:gd name="connsiteY670" fmla="*/ 47979 h 1087290"/>
              <a:gd name="connsiteX671" fmla="*/ 776846 w 1897116"/>
              <a:gd name="connsiteY671" fmla="*/ 43789 h 1087290"/>
              <a:gd name="connsiteX672" fmla="*/ 784684 w 1897116"/>
              <a:gd name="connsiteY672" fmla="*/ 42861 h 1087290"/>
              <a:gd name="connsiteX673" fmla="*/ 789528 w 1897116"/>
              <a:gd name="connsiteY673" fmla="*/ 46412 h 1087290"/>
              <a:gd name="connsiteX674" fmla="*/ 794196 w 1897116"/>
              <a:gd name="connsiteY674" fmla="*/ 40493 h 1087290"/>
              <a:gd name="connsiteX675" fmla="*/ 803179 w 1897116"/>
              <a:gd name="connsiteY675" fmla="*/ 38222 h 1087290"/>
              <a:gd name="connsiteX676" fmla="*/ 812074 w 1897116"/>
              <a:gd name="connsiteY676" fmla="*/ 36878 h 1087290"/>
              <a:gd name="connsiteX677" fmla="*/ 813395 w 1897116"/>
              <a:gd name="connsiteY677" fmla="*/ 37102 h 1087290"/>
              <a:gd name="connsiteX678" fmla="*/ 808904 w 1897116"/>
              <a:gd name="connsiteY678" fmla="*/ 45324 h 1087290"/>
              <a:gd name="connsiteX679" fmla="*/ 805557 w 1897116"/>
              <a:gd name="connsiteY679" fmla="*/ 51850 h 1087290"/>
              <a:gd name="connsiteX680" fmla="*/ 802122 w 1897116"/>
              <a:gd name="connsiteY680" fmla="*/ 59305 h 1087290"/>
              <a:gd name="connsiteX681" fmla="*/ 809872 w 1897116"/>
              <a:gd name="connsiteY681" fmla="*/ 58825 h 1087290"/>
              <a:gd name="connsiteX682" fmla="*/ 817623 w 1897116"/>
              <a:gd name="connsiteY682" fmla="*/ 58409 h 1087290"/>
              <a:gd name="connsiteX683" fmla="*/ 824845 w 1897116"/>
              <a:gd name="connsiteY683" fmla="*/ 54538 h 1087290"/>
              <a:gd name="connsiteX684" fmla="*/ 831186 w 1897116"/>
              <a:gd name="connsiteY684" fmla="*/ 56457 h 1087290"/>
              <a:gd name="connsiteX685" fmla="*/ 840609 w 1897116"/>
              <a:gd name="connsiteY685" fmla="*/ 53898 h 1087290"/>
              <a:gd name="connsiteX686" fmla="*/ 844132 w 1897116"/>
              <a:gd name="connsiteY686" fmla="*/ 52874 h 1087290"/>
              <a:gd name="connsiteX687" fmla="*/ 849857 w 1897116"/>
              <a:gd name="connsiteY687" fmla="*/ 50923 h 1087290"/>
              <a:gd name="connsiteX688" fmla="*/ 856727 w 1897116"/>
              <a:gd name="connsiteY688" fmla="*/ 48459 h 1087290"/>
              <a:gd name="connsiteX689" fmla="*/ 864565 w 1897116"/>
              <a:gd name="connsiteY689" fmla="*/ 45228 h 1087290"/>
              <a:gd name="connsiteX690" fmla="*/ 867383 w 1897116"/>
              <a:gd name="connsiteY690" fmla="*/ 44748 h 1087290"/>
              <a:gd name="connsiteX691" fmla="*/ 872668 w 1897116"/>
              <a:gd name="connsiteY691" fmla="*/ 41901 h 1087290"/>
              <a:gd name="connsiteX692" fmla="*/ 877776 w 1897116"/>
              <a:gd name="connsiteY692" fmla="*/ 41741 h 1087290"/>
              <a:gd name="connsiteX693" fmla="*/ 884205 w 1897116"/>
              <a:gd name="connsiteY693" fmla="*/ 42893 h 1087290"/>
              <a:gd name="connsiteX694" fmla="*/ 882972 w 1897116"/>
              <a:gd name="connsiteY694" fmla="*/ 43053 h 1087290"/>
              <a:gd name="connsiteX695" fmla="*/ 883853 w 1897116"/>
              <a:gd name="connsiteY695" fmla="*/ 49899 h 1087290"/>
              <a:gd name="connsiteX696" fmla="*/ 880330 w 1897116"/>
              <a:gd name="connsiteY696" fmla="*/ 57001 h 1087290"/>
              <a:gd name="connsiteX697" fmla="*/ 880252 w 1897116"/>
              <a:gd name="connsiteY697" fmla="*/ 58718 h 1087290"/>
              <a:gd name="connsiteX698" fmla="*/ 879713 w 1897116"/>
              <a:gd name="connsiteY698" fmla="*/ 59656 h 1087290"/>
              <a:gd name="connsiteX699" fmla="*/ 880154 w 1897116"/>
              <a:gd name="connsiteY699" fmla="*/ 60896 h 1087290"/>
              <a:gd name="connsiteX700" fmla="*/ 880252 w 1897116"/>
              <a:gd name="connsiteY700" fmla="*/ 58718 h 1087290"/>
              <a:gd name="connsiteX701" fmla="*/ 881827 w 1897116"/>
              <a:gd name="connsiteY701" fmla="*/ 55977 h 1087290"/>
              <a:gd name="connsiteX702" fmla="*/ 890722 w 1897116"/>
              <a:gd name="connsiteY702" fmla="*/ 54186 h 1087290"/>
              <a:gd name="connsiteX703" fmla="*/ 897504 w 1897116"/>
              <a:gd name="connsiteY703" fmla="*/ 50699 h 1087290"/>
              <a:gd name="connsiteX704" fmla="*/ 901731 w 1897116"/>
              <a:gd name="connsiteY704" fmla="*/ 48715 h 1087290"/>
              <a:gd name="connsiteX705" fmla="*/ 906927 w 1897116"/>
              <a:gd name="connsiteY705" fmla="*/ 50539 h 1087290"/>
              <a:gd name="connsiteX706" fmla="*/ 909393 w 1897116"/>
              <a:gd name="connsiteY706" fmla="*/ 46028 h 1087290"/>
              <a:gd name="connsiteX707" fmla="*/ 910803 w 1897116"/>
              <a:gd name="connsiteY707" fmla="*/ 52138 h 1087290"/>
              <a:gd name="connsiteX708" fmla="*/ 912124 w 1897116"/>
              <a:gd name="connsiteY708" fmla="*/ 58249 h 1087290"/>
              <a:gd name="connsiteX709" fmla="*/ 913797 w 1897116"/>
              <a:gd name="connsiteY709" fmla="*/ 59433 h 1087290"/>
              <a:gd name="connsiteX710" fmla="*/ 911595 w 1897116"/>
              <a:gd name="connsiteY710" fmla="*/ 67334 h 1087290"/>
              <a:gd name="connsiteX711" fmla="*/ 912124 w 1897116"/>
              <a:gd name="connsiteY711" fmla="*/ 73765 h 1087290"/>
              <a:gd name="connsiteX712" fmla="*/ 914854 w 1897116"/>
              <a:gd name="connsiteY712" fmla="*/ 79587 h 1087290"/>
              <a:gd name="connsiteX713" fmla="*/ 912388 w 1897116"/>
              <a:gd name="connsiteY713" fmla="*/ 79747 h 1087290"/>
              <a:gd name="connsiteX714" fmla="*/ 912652 w 1897116"/>
              <a:gd name="connsiteY714" fmla="*/ 80227 h 1087290"/>
              <a:gd name="connsiteX715" fmla="*/ 914854 w 1897116"/>
              <a:gd name="connsiteY715" fmla="*/ 79587 h 1087290"/>
              <a:gd name="connsiteX716" fmla="*/ 918553 w 1897116"/>
              <a:gd name="connsiteY716" fmla="*/ 77540 h 1087290"/>
              <a:gd name="connsiteX717" fmla="*/ 925334 w 1897116"/>
              <a:gd name="connsiteY717" fmla="*/ 74053 h 1087290"/>
              <a:gd name="connsiteX718" fmla="*/ 925775 w 1897116"/>
              <a:gd name="connsiteY718" fmla="*/ 74149 h 1087290"/>
              <a:gd name="connsiteX719" fmla="*/ 931499 w 1897116"/>
              <a:gd name="connsiteY719" fmla="*/ 72741 h 1087290"/>
              <a:gd name="connsiteX720" fmla="*/ 937752 w 1897116"/>
              <a:gd name="connsiteY720" fmla="*/ 72133 h 1087290"/>
              <a:gd name="connsiteX721" fmla="*/ 943213 w 1897116"/>
              <a:gd name="connsiteY721" fmla="*/ 73573 h 1087290"/>
              <a:gd name="connsiteX722" fmla="*/ 949026 w 1897116"/>
              <a:gd name="connsiteY722" fmla="*/ 76100 h 1087290"/>
              <a:gd name="connsiteX723" fmla="*/ 958273 w 1897116"/>
              <a:gd name="connsiteY723" fmla="*/ 79939 h 1087290"/>
              <a:gd name="connsiteX724" fmla="*/ 965671 w 1897116"/>
              <a:gd name="connsiteY724" fmla="*/ 81091 h 1087290"/>
              <a:gd name="connsiteX725" fmla="*/ 968137 w 1897116"/>
              <a:gd name="connsiteY725" fmla="*/ 83266 h 1087290"/>
              <a:gd name="connsiteX726" fmla="*/ 972012 w 1897116"/>
              <a:gd name="connsiteY726" fmla="*/ 90656 h 1087290"/>
              <a:gd name="connsiteX727" fmla="*/ 977120 w 1897116"/>
              <a:gd name="connsiteY727" fmla="*/ 88353 h 1087290"/>
              <a:gd name="connsiteX728" fmla="*/ 983109 w 1897116"/>
              <a:gd name="connsiteY728" fmla="*/ 85122 h 1087290"/>
              <a:gd name="connsiteX729" fmla="*/ 988129 w 1897116"/>
              <a:gd name="connsiteY729" fmla="*/ 82307 h 1087290"/>
              <a:gd name="connsiteX730" fmla="*/ 993678 w 1897116"/>
              <a:gd name="connsiteY730" fmla="*/ 80739 h 1087290"/>
              <a:gd name="connsiteX731" fmla="*/ 996672 w 1897116"/>
              <a:gd name="connsiteY731" fmla="*/ 78660 h 1087290"/>
              <a:gd name="connsiteX732" fmla="*/ 1005568 w 1897116"/>
              <a:gd name="connsiteY732" fmla="*/ 74533 h 1087290"/>
              <a:gd name="connsiteX733" fmla="*/ 1014551 w 1897116"/>
              <a:gd name="connsiteY733" fmla="*/ 71493 h 1087290"/>
              <a:gd name="connsiteX734" fmla="*/ 1017457 w 1897116"/>
              <a:gd name="connsiteY734" fmla="*/ 67302 h 1087290"/>
              <a:gd name="connsiteX735" fmla="*/ 1025208 w 1897116"/>
              <a:gd name="connsiteY735" fmla="*/ 60584 h 1087290"/>
              <a:gd name="connsiteX736" fmla="*/ 1029347 w 1897116"/>
              <a:gd name="connsiteY736" fmla="*/ 58633 h 1087290"/>
              <a:gd name="connsiteX737" fmla="*/ 1033839 w 1897116"/>
              <a:gd name="connsiteY737" fmla="*/ 54794 h 1087290"/>
              <a:gd name="connsiteX738" fmla="*/ 1038066 w 1897116"/>
              <a:gd name="connsiteY738" fmla="*/ 50731 h 1087290"/>
              <a:gd name="connsiteX739" fmla="*/ 1044495 w 1897116"/>
              <a:gd name="connsiteY739" fmla="*/ 44652 h 1087290"/>
              <a:gd name="connsiteX740" fmla="*/ 1051012 w 1897116"/>
              <a:gd name="connsiteY740" fmla="*/ 44812 h 1087290"/>
              <a:gd name="connsiteX741" fmla="*/ 1051012 w 1897116"/>
              <a:gd name="connsiteY741" fmla="*/ 40333 h 1087290"/>
              <a:gd name="connsiteX742" fmla="*/ 1055856 w 1897116"/>
              <a:gd name="connsiteY742" fmla="*/ 39438 h 1087290"/>
              <a:gd name="connsiteX743" fmla="*/ 1061845 w 1897116"/>
              <a:gd name="connsiteY743" fmla="*/ 39630 h 1087290"/>
              <a:gd name="connsiteX744" fmla="*/ 1070212 w 1897116"/>
              <a:gd name="connsiteY744" fmla="*/ 39854 h 1087290"/>
              <a:gd name="connsiteX745" fmla="*/ 1079195 w 1897116"/>
              <a:gd name="connsiteY745" fmla="*/ 37998 h 1087290"/>
              <a:gd name="connsiteX746" fmla="*/ 1087034 w 1897116"/>
              <a:gd name="connsiteY746" fmla="*/ 33327 h 1087290"/>
              <a:gd name="connsiteX747" fmla="*/ 1092494 w 1897116"/>
              <a:gd name="connsiteY747" fmla="*/ 27473 h 1087290"/>
              <a:gd name="connsiteX748" fmla="*/ 1093023 w 1897116"/>
              <a:gd name="connsiteY748" fmla="*/ 20467 h 1087290"/>
              <a:gd name="connsiteX749" fmla="*/ 1095665 w 1897116"/>
              <a:gd name="connsiteY749" fmla="*/ 20083 h 1087290"/>
              <a:gd name="connsiteX750" fmla="*/ 1096722 w 1897116"/>
              <a:gd name="connsiteY750" fmla="*/ 16628 h 1087290"/>
              <a:gd name="connsiteX751" fmla="*/ 1096810 w 1897116"/>
              <a:gd name="connsiteY751" fmla="*/ 15156 h 1087290"/>
              <a:gd name="connsiteX752" fmla="*/ 1097778 w 1897116"/>
              <a:gd name="connsiteY752" fmla="*/ 13140 h 1087290"/>
              <a:gd name="connsiteX753" fmla="*/ 1098043 w 1897116"/>
              <a:gd name="connsiteY753" fmla="*/ 12916 h 1087290"/>
              <a:gd name="connsiteX754" fmla="*/ 1098219 w 1897116"/>
              <a:gd name="connsiteY754" fmla="*/ 12277 h 1087290"/>
              <a:gd name="connsiteX755" fmla="*/ 1098395 w 1897116"/>
              <a:gd name="connsiteY755" fmla="*/ 11605 h 1087290"/>
              <a:gd name="connsiteX756" fmla="*/ 1104560 w 1897116"/>
              <a:gd name="connsiteY756" fmla="*/ 16052 h 1087290"/>
              <a:gd name="connsiteX757" fmla="*/ 1111165 w 1897116"/>
              <a:gd name="connsiteY757" fmla="*/ 18899 h 1087290"/>
              <a:gd name="connsiteX758" fmla="*/ 1116274 w 1897116"/>
              <a:gd name="connsiteY758" fmla="*/ 22226 h 1087290"/>
              <a:gd name="connsiteX759" fmla="*/ 1121910 w 1897116"/>
              <a:gd name="connsiteY759" fmla="*/ 22866 h 1087290"/>
              <a:gd name="connsiteX760" fmla="*/ 1122615 w 1897116"/>
              <a:gd name="connsiteY760" fmla="*/ 19763 h 1087290"/>
              <a:gd name="connsiteX761" fmla="*/ 1121646 w 1897116"/>
              <a:gd name="connsiteY761" fmla="*/ 17267 h 1087290"/>
              <a:gd name="connsiteX762" fmla="*/ 1128075 w 1897116"/>
              <a:gd name="connsiteY762" fmla="*/ 16915 h 1087290"/>
              <a:gd name="connsiteX763" fmla="*/ 1128780 w 1897116"/>
              <a:gd name="connsiteY763" fmla="*/ 17683 h 1087290"/>
              <a:gd name="connsiteX764" fmla="*/ 1128075 w 1897116"/>
              <a:gd name="connsiteY764" fmla="*/ 16915 h 1087290"/>
              <a:gd name="connsiteX765" fmla="*/ 1130101 w 1897116"/>
              <a:gd name="connsiteY765" fmla="*/ 17139 h 1087290"/>
              <a:gd name="connsiteX766" fmla="*/ 1130541 w 1897116"/>
              <a:gd name="connsiteY766" fmla="*/ 17267 h 1087290"/>
              <a:gd name="connsiteX767" fmla="*/ 1130189 w 1897116"/>
              <a:gd name="connsiteY767" fmla="*/ 18707 h 1087290"/>
              <a:gd name="connsiteX768" fmla="*/ 1130541 w 1897116"/>
              <a:gd name="connsiteY768" fmla="*/ 17267 h 1087290"/>
              <a:gd name="connsiteX769" fmla="*/ 1135385 w 1897116"/>
              <a:gd name="connsiteY769" fmla="*/ 19539 h 1087290"/>
              <a:gd name="connsiteX770" fmla="*/ 1129308 w 1897116"/>
              <a:gd name="connsiteY770" fmla="*/ 22386 h 1087290"/>
              <a:gd name="connsiteX771" fmla="*/ 1127018 w 1897116"/>
              <a:gd name="connsiteY771" fmla="*/ 27089 h 1087290"/>
              <a:gd name="connsiteX772" fmla="*/ 1127018 w 1897116"/>
              <a:gd name="connsiteY772" fmla="*/ 33391 h 1087290"/>
              <a:gd name="connsiteX773" fmla="*/ 1123583 w 1897116"/>
              <a:gd name="connsiteY773" fmla="*/ 37198 h 1087290"/>
              <a:gd name="connsiteX774" fmla="*/ 1123672 w 1897116"/>
              <a:gd name="connsiteY774" fmla="*/ 41165 h 1087290"/>
              <a:gd name="connsiteX775" fmla="*/ 1119973 w 1897116"/>
              <a:gd name="connsiteY775" fmla="*/ 42189 h 1087290"/>
              <a:gd name="connsiteX776" fmla="*/ 1123760 w 1897116"/>
              <a:gd name="connsiteY776" fmla="*/ 48043 h 1087290"/>
              <a:gd name="connsiteX777" fmla="*/ 1127371 w 1897116"/>
              <a:gd name="connsiteY777" fmla="*/ 45068 h 1087290"/>
              <a:gd name="connsiteX778" fmla="*/ 1133447 w 1897116"/>
              <a:gd name="connsiteY778" fmla="*/ 41805 h 1087290"/>
              <a:gd name="connsiteX779" fmla="*/ 1134592 w 1897116"/>
              <a:gd name="connsiteY779" fmla="*/ 37678 h 1087290"/>
              <a:gd name="connsiteX780" fmla="*/ 1136090 w 1897116"/>
              <a:gd name="connsiteY780" fmla="*/ 33807 h 1087290"/>
              <a:gd name="connsiteX781" fmla="*/ 1140934 w 1897116"/>
              <a:gd name="connsiteY781" fmla="*/ 30096 h 1087290"/>
              <a:gd name="connsiteX782" fmla="*/ 1145425 w 1897116"/>
              <a:gd name="connsiteY782" fmla="*/ 27249 h 1087290"/>
              <a:gd name="connsiteX783" fmla="*/ 1150798 w 1897116"/>
              <a:gd name="connsiteY783" fmla="*/ 23154 h 1087290"/>
              <a:gd name="connsiteX784" fmla="*/ 1155289 w 1897116"/>
              <a:gd name="connsiteY784" fmla="*/ 19539 h 1087290"/>
              <a:gd name="connsiteX785" fmla="*/ 1159341 w 1897116"/>
              <a:gd name="connsiteY785" fmla="*/ 15284 h 1087290"/>
              <a:gd name="connsiteX786" fmla="*/ 1160045 w 1897116"/>
              <a:gd name="connsiteY786" fmla="*/ 18195 h 1087290"/>
              <a:gd name="connsiteX787" fmla="*/ 1158900 w 1897116"/>
              <a:gd name="connsiteY787" fmla="*/ 18355 h 1087290"/>
              <a:gd name="connsiteX788" fmla="*/ 1160045 w 1897116"/>
              <a:gd name="connsiteY788" fmla="*/ 18195 h 1087290"/>
              <a:gd name="connsiteX789" fmla="*/ 1160045 w 1897116"/>
              <a:gd name="connsiteY789" fmla="*/ 20371 h 1087290"/>
              <a:gd name="connsiteX790" fmla="*/ 1163744 w 1897116"/>
              <a:gd name="connsiteY790" fmla="*/ 25969 h 1087290"/>
              <a:gd name="connsiteX791" fmla="*/ 1171759 w 1897116"/>
              <a:gd name="connsiteY791" fmla="*/ 30160 h 1087290"/>
              <a:gd name="connsiteX792" fmla="*/ 1180830 w 1897116"/>
              <a:gd name="connsiteY792" fmla="*/ 29904 h 1087290"/>
              <a:gd name="connsiteX793" fmla="*/ 1188052 w 1897116"/>
              <a:gd name="connsiteY793" fmla="*/ 27953 h 1087290"/>
              <a:gd name="connsiteX794" fmla="*/ 1192367 w 1897116"/>
              <a:gd name="connsiteY794" fmla="*/ 23186 h 1087290"/>
              <a:gd name="connsiteX795" fmla="*/ 1201703 w 1897116"/>
              <a:gd name="connsiteY795" fmla="*/ 20435 h 1087290"/>
              <a:gd name="connsiteX796" fmla="*/ 1208837 w 1897116"/>
              <a:gd name="connsiteY796" fmla="*/ 16084 h 1087290"/>
              <a:gd name="connsiteX797" fmla="*/ 1215618 w 1897116"/>
              <a:gd name="connsiteY797" fmla="*/ 13268 h 1087290"/>
              <a:gd name="connsiteX798" fmla="*/ 1215794 w 1897116"/>
              <a:gd name="connsiteY798" fmla="*/ 20275 h 1087290"/>
              <a:gd name="connsiteX799" fmla="*/ 1213505 w 1897116"/>
              <a:gd name="connsiteY799" fmla="*/ 28912 h 1087290"/>
              <a:gd name="connsiteX800" fmla="*/ 1210774 w 1897116"/>
              <a:gd name="connsiteY800" fmla="*/ 36206 h 1087290"/>
              <a:gd name="connsiteX801" fmla="*/ 1209365 w 1897116"/>
              <a:gd name="connsiteY801" fmla="*/ 44972 h 1087290"/>
              <a:gd name="connsiteX802" fmla="*/ 1207075 w 1897116"/>
              <a:gd name="connsiteY802" fmla="*/ 53610 h 1087290"/>
              <a:gd name="connsiteX803" fmla="*/ 1213328 w 1897116"/>
              <a:gd name="connsiteY803" fmla="*/ 47212 h 1087290"/>
              <a:gd name="connsiteX804" fmla="*/ 1219229 w 1897116"/>
              <a:gd name="connsiteY804" fmla="*/ 41037 h 1087290"/>
              <a:gd name="connsiteX805" fmla="*/ 1224954 w 1897116"/>
              <a:gd name="connsiteY805" fmla="*/ 35375 h 1087290"/>
              <a:gd name="connsiteX806" fmla="*/ 1231207 w 1897116"/>
              <a:gd name="connsiteY806" fmla="*/ 28976 h 1087290"/>
              <a:gd name="connsiteX807" fmla="*/ 1238253 w 1897116"/>
              <a:gd name="connsiteY807" fmla="*/ 22610 h 1087290"/>
              <a:gd name="connsiteX808" fmla="*/ 1242128 w 1897116"/>
              <a:gd name="connsiteY808" fmla="*/ 21010 h 1087290"/>
              <a:gd name="connsiteX809" fmla="*/ 1243889 w 1897116"/>
              <a:gd name="connsiteY809" fmla="*/ 23282 h 1087290"/>
              <a:gd name="connsiteX810" fmla="*/ 1242216 w 1897116"/>
              <a:gd name="connsiteY810" fmla="*/ 28912 h 1087290"/>
              <a:gd name="connsiteX811" fmla="*/ 1251551 w 1897116"/>
              <a:gd name="connsiteY811" fmla="*/ 24434 h 1087290"/>
              <a:gd name="connsiteX812" fmla="*/ 1260887 w 1897116"/>
              <a:gd name="connsiteY812" fmla="*/ 19923 h 1087290"/>
              <a:gd name="connsiteX813" fmla="*/ 1268197 w 1897116"/>
              <a:gd name="connsiteY813" fmla="*/ 16052 h 1087290"/>
              <a:gd name="connsiteX814" fmla="*/ 1273922 w 1897116"/>
              <a:gd name="connsiteY814" fmla="*/ 13268 h 1087290"/>
              <a:gd name="connsiteX815" fmla="*/ 1279470 w 1897116"/>
              <a:gd name="connsiteY815" fmla="*/ 10677 h 1087290"/>
              <a:gd name="connsiteX816" fmla="*/ 1286340 w 1897116"/>
              <a:gd name="connsiteY816" fmla="*/ 11349 h 1087290"/>
              <a:gd name="connsiteX817" fmla="*/ 1293209 w 1897116"/>
              <a:gd name="connsiteY817" fmla="*/ 12021 h 1087290"/>
              <a:gd name="connsiteX818" fmla="*/ 1299286 w 1897116"/>
              <a:gd name="connsiteY818" fmla="*/ 12469 h 1087290"/>
              <a:gd name="connsiteX819" fmla="*/ 1305804 w 1897116"/>
              <a:gd name="connsiteY819" fmla="*/ 12820 h 1087290"/>
              <a:gd name="connsiteX820" fmla="*/ 1314787 w 1897116"/>
              <a:gd name="connsiteY820" fmla="*/ 13332 h 1087290"/>
              <a:gd name="connsiteX821" fmla="*/ 1317253 w 1897116"/>
              <a:gd name="connsiteY821" fmla="*/ 15988 h 1087290"/>
              <a:gd name="connsiteX822" fmla="*/ 1321745 w 1897116"/>
              <a:gd name="connsiteY822" fmla="*/ 14740 h 1087290"/>
              <a:gd name="connsiteX823" fmla="*/ 1316901 w 1897116"/>
              <a:gd name="connsiteY823" fmla="*/ 19763 h 1087290"/>
              <a:gd name="connsiteX824" fmla="*/ 1311352 w 1897116"/>
              <a:gd name="connsiteY824" fmla="*/ 24114 h 1087290"/>
              <a:gd name="connsiteX825" fmla="*/ 1313202 w 1897116"/>
              <a:gd name="connsiteY825" fmla="*/ 24402 h 1087290"/>
              <a:gd name="connsiteX826" fmla="*/ 1322009 w 1897116"/>
              <a:gd name="connsiteY826" fmla="*/ 25873 h 1087290"/>
              <a:gd name="connsiteX827" fmla="*/ 1329759 w 1897116"/>
              <a:gd name="connsiteY827" fmla="*/ 22802 h 1087290"/>
              <a:gd name="connsiteX828" fmla="*/ 1333810 w 1897116"/>
              <a:gd name="connsiteY828" fmla="*/ 26417 h 1087290"/>
              <a:gd name="connsiteX829" fmla="*/ 1347373 w 1897116"/>
              <a:gd name="connsiteY829" fmla="*/ 26353 h 1087290"/>
              <a:gd name="connsiteX830" fmla="*/ 1360848 w 1897116"/>
              <a:gd name="connsiteY830" fmla="*/ 25361 h 1087290"/>
              <a:gd name="connsiteX831" fmla="*/ 1366397 w 1897116"/>
              <a:gd name="connsiteY831" fmla="*/ 24913 h 1087290"/>
              <a:gd name="connsiteX832" fmla="*/ 1371857 w 1897116"/>
              <a:gd name="connsiteY832" fmla="*/ 23698 h 1087290"/>
              <a:gd name="connsiteX833" fmla="*/ 1369920 w 1897116"/>
              <a:gd name="connsiteY833" fmla="*/ 26737 h 1087290"/>
              <a:gd name="connsiteX834" fmla="*/ 1362874 w 1897116"/>
              <a:gd name="connsiteY834" fmla="*/ 32431 h 1087290"/>
              <a:gd name="connsiteX835" fmla="*/ 1356709 w 1897116"/>
              <a:gd name="connsiteY835" fmla="*/ 37838 h 1087290"/>
              <a:gd name="connsiteX836" fmla="*/ 1356533 w 1897116"/>
              <a:gd name="connsiteY836" fmla="*/ 38574 h 1087290"/>
              <a:gd name="connsiteX837" fmla="*/ 1358118 w 1897116"/>
              <a:gd name="connsiteY837" fmla="*/ 39950 h 1087290"/>
              <a:gd name="connsiteX838" fmla="*/ 1367718 w 1897116"/>
              <a:gd name="connsiteY838" fmla="*/ 39214 h 1087290"/>
              <a:gd name="connsiteX839" fmla="*/ 1376965 w 1897116"/>
              <a:gd name="connsiteY839" fmla="*/ 38670 h 1087290"/>
              <a:gd name="connsiteX840" fmla="*/ 1381809 w 1897116"/>
              <a:gd name="connsiteY840" fmla="*/ 39054 h 1087290"/>
              <a:gd name="connsiteX841" fmla="*/ 1389031 w 1897116"/>
              <a:gd name="connsiteY841" fmla="*/ 38062 h 1087290"/>
              <a:gd name="connsiteX842" fmla="*/ 1396165 w 1897116"/>
              <a:gd name="connsiteY842" fmla="*/ 35343 h 1087290"/>
              <a:gd name="connsiteX843" fmla="*/ 1400569 w 1897116"/>
              <a:gd name="connsiteY843" fmla="*/ 35823 h 1087290"/>
              <a:gd name="connsiteX844" fmla="*/ 1401890 w 1897116"/>
              <a:gd name="connsiteY844" fmla="*/ 34127 h 1087290"/>
              <a:gd name="connsiteX845" fmla="*/ 1409904 w 1897116"/>
              <a:gd name="connsiteY845" fmla="*/ 30832 h 1087290"/>
              <a:gd name="connsiteX846" fmla="*/ 1416245 w 1897116"/>
              <a:gd name="connsiteY846" fmla="*/ 29104 h 1087290"/>
              <a:gd name="connsiteX847" fmla="*/ 1422146 w 1897116"/>
              <a:gd name="connsiteY847" fmla="*/ 26705 h 1087290"/>
              <a:gd name="connsiteX848" fmla="*/ 1428399 w 1897116"/>
              <a:gd name="connsiteY848" fmla="*/ 26961 h 1087290"/>
              <a:gd name="connsiteX849" fmla="*/ 1434564 w 1897116"/>
              <a:gd name="connsiteY849" fmla="*/ 24210 h 1087290"/>
              <a:gd name="connsiteX850" fmla="*/ 1441874 w 1897116"/>
              <a:gd name="connsiteY850" fmla="*/ 21394 h 1087290"/>
              <a:gd name="connsiteX851" fmla="*/ 1447070 w 1897116"/>
              <a:gd name="connsiteY851" fmla="*/ 21842 h 1087290"/>
              <a:gd name="connsiteX852" fmla="*/ 1452971 w 1897116"/>
              <a:gd name="connsiteY852" fmla="*/ 20722 h 1087290"/>
              <a:gd name="connsiteX853" fmla="*/ 1459312 w 1897116"/>
              <a:gd name="connsiteY853" fmla="*/ 18035 h 1087290"/>
              <a:gd name="connsiteX854" fmla="*/ 1465830 w 1897116"/>
              <a:gd name="connsiteY854" fmla="*/ 15412 h 1087290"/>
              <a:gd name="connsiteX855" fmla="*/ 1469529 w 1897116"/>
              <a:gd name="connsiteY855" fmla="*/ 14900 h 1087290"/>
              <a:gd name="connsiteX856" fmla="*/ 1478512 w 1897116"/>
              <a:gd name="connsiteY856" fmla="*/ 13204 h 1087290"/>
              <a:gd name="connsiteX857" fmla="*/ 1486350 w 1897116"/>
              <a:gd name="connsiteY857" fmla="*/ 14644 h 1087290"/>
              <a:gd name="connsiteX858" fmla="*/ 1488464 w 1897116"/>
              <a:gd name="connsiteY858" fmla="*/ 16436 h 1087290"/>
              <a:gd name="connsiteX859" fmla="*/ 1493396 w 1897116"/>
              <a:gd name="connsiteY859" fmla="*/ 22866 h 1087290"/>
              <a:gd name="connsiteX860" fmla="*/ 1497976 w 1897116"/>
              <a:gd name="connsiteY860" fmla="*/ 26289 h 1087290"/>
              <a:gd name="connsiteX861" fmla="*/ 1503612 w 1897116"/>
              <a:gd name="connsiteY861" fmla="*/ 28784 h 1087290"/>
              <a:gd name="connsiteX862" fmla="*/ 1513476 w 1897116"/>
              <a:gd name="connsiteY862" fmla="*/ 29072 h 1087290"/>
              <a:gd name="connsiteX863" fmla="*/ 1520874 w 1897116"/>
              <a:gd name="connsiteY863" fmla="*/ 26065 h 1087290"/>
              <a:gd name="connsiteX864" fmla="*/ 1523957 w 1897116"/>
              <a:gd name="connsiteY864" fmla="*/ 24465 h 1087290"/>
              <a:gd name="connsiteX865" fmla="*/ 1525806 w 1897116"/>
              <a:gd name="connsiteY865" fmla="*/ 26193 h 1087290"/>
              <a:gd name="connsiteX866" fmla="*/ 1530650 w 1897116"/>
              <a:gd name="connsiteY866" fmla="*/ 29776 h 1087290"/>
              <a:gd name="connsiteX867" fmla="*/ 1532324 w 1897116"/>
              <a:gd name="connsiteY867" fmla="*/ 31376 h 1087290"/>
              <a:gd name="connsiteX868" fmla="*/ 1535759 w 1897116"/>
              <a:gd name="connsiteY868" fmla="*/ 29296 h 1087290"/>
              <a:gd name="connsiteX869" fmla="*/ 1539634 w 1897116"/>
              <a:gd name="connsiteY869" fmla="*/ 26577 h 1087290"/>
              <a:gd name="connsiteX870" fmla="*/ 1545887 w 1897116"/>
              <a:gd name="connsiteY870" fmla="*/ 23122 h 1087290"/>
              <a:gd name="connsiteX871" fmla="*/ 1548089 w 1897116"/>
              <a:gd name="connsiteY871" fmla="*/ 18931 h 1087290"/>
              <a:gd name="connsiteX872" fmla="*/ 1554430 w 1897116"/>
              <a:gd name="connsiteY872" fmla="*/ 16500 h 1087290"/>
              <a:gd name="connsiteX873" fmla="*/ 1559890 w 1897116"/>
              <a:gd name="connsiteY873" fmla="*/ 18835 h 1087290"/>
              <a:gd name="connsiteX874" fmla="*/ 1564558 w 1897116"/>
              <a:gd name="connsiteY874" fmla="*/ 23538 h 1087290"/>
              <a:gd name="connsiteX875" fmla="*/ 1569578 w 1897116"/>
              <a:gd name="connsiteY875" fmla="*/ 29264 h 1087290"/>
              <a:gd name="connsiteX876" fmla="*/ 1574510 w 1897116"/>
              <a:gd name="connsiteY876" fmla="*/ 34991 h 1087290"/>
              <a:gd name="connsiteX877" fmla="*/ 1577328 w 1897116"/>
              <a:gd name="connsiteY877" fmla="*/ 27985 h 1087290"/>
              <a:gd name="connsiteX878" fmla="*/ 1580235 w 1897116"/>
              <a:gd name="connsiteY878" fmla="*/ 20914 h 1087290"/>
              <a:gd name="connsiteX879" fmla="*/ 1582172 w 1897116"/>
              <a:gd name="connsiteY879" fmla="*/ 18515 h 1087290"/>
              <a:gd name="connsiteX880" fmla="*/ 1584991 w 1897116"/>
              <a:gd name="connsiteY880" fmla="*/ 20531 h 1087290"/>
              <a:gd name="connsiteX881" fmla="*/ 1589834 w 1897116"/>
              <a:gd name="connsiteY881" fmla="*/ 24593 h 1087290"/>
              <a:gd name="connsiteX882" fmla="*/ 1590803 w 1897116"/>
              <a:gd name="connsiteY882" fmla="*/ 29104 h 1087290"/>
              <a:gd name="connsiteX883" fmla="*/ 1598554 w 1897116"/>
              <a:gd name="connsiteY883" fmla="*/ 22226 h 1087290"/>
              <a:gd name="connsiteX884" fmla="*/ 1605511 w 1897116"/>
              <a:gd name="connsiteY884" fmla="*/ 15828 h 1087290"/>
              <a:gd name="connsiteX885" fmla="*/ 1602164 w 1897116"/>
              <a:gd name="connsiteY885" fmla="*/ 12277 h 1087290"/>
              <a:gd name="connsiteX886" fmla="*/ 1609563 w 1897116"/>
              <a:gd name="connsiteY886" fmla="*/ 11733 h 1087290"/>
              <a:gd name="connsiteX887" fmla="*/ 1613526 w 1897116"/>
              <a:gd name="connsiteY887" fmla="*/ 7670 h 1087290"/>
              <a:gd name="connsiteX888" fmla="*/ 1615023 w 1897116"/>
              <a:gd name="connsiteY888" fmla="*/ 3319 h 1087290"/>
              <a:gd name="connsiteX889" fmla="*/ 1621012 w 1897116"/>
              <a:gd name="connsiteY889" fmla="*/ 3287 h 1087290"/>
              <a:gd name="connsiteX890" fmla="*/ 1622333 w 1897116"/>
              <a:gd name="connsiteY890" fmla="*/ 6966 h 1087290"/>
              <a:gd name="connsiteX891" fmla="*/ 1624182 w 1897116"/>
              <a:gd name="connsiteY891" fmla="*/ 15860 h 1087290"/>
              <a:gd name="connsiteX892" fmla="*/ 1625415 w 1897116"/>
              <a:gd name="connsiteY892" fmla="*/ 25713 h 1087290"/>
              <a:gd name="connsiteX893" fmla="*/ 1630788 w 1897116"/>
              <a:gd name="connsiteY893" fmla="*/ 22386 h 1087290"/>
              <a:gd name="connsiteX894" fmla="*/ 1635191 w 1897116"/>
              <a:gd name="connsiteY894" fmla="*/ 23666 h 1087290"/>
              <a:gd name="connsiteX895" fmla="*/ 1640828 w 1897116"/>
              <a:gd name="connsiteY895" fmla="*/ 22482 h 1087290"/>
              <a:gd name="connsiteX896" fmla="*/ 1646817 w 1897116"/>
              <a:gd name="connsiteY896" fmla="*/ 20882 h 1087290"/>
              <a:gd name="connsiteX897" fmla="*/ 1652541 w 1897116"/>
              <a:gd name="connsiteY897" fmla="*/ 18483 h 1087290"/>
              <a:gd name="connsiteX898" fmla="*/ 1657562 w 1897116"/>
              <a:gd name="connsiteY898" fmla="*/ 16787 h 1087290"/>
              <a:gd name="connsiteX899" fmla="*/ 1664167 w 1897116"/>
              <a:gd name="connsiteY899" fmla="*/ 14452 h 1087290"/>
              <a:gd name="connsiteX900" fmla="*/ 1670772 w 1897116"/>
              <a:gd name="connsiteY900" fmla="*/ 12341 h 1087290"/>
              <a:gd name="connsiteX901" fmla="*/ 1677818 w 1897116"/>
              <a:gd name="connsiteY901" fmla="*/ 12277 h 1087290"/>
              <a:gd name="connsiteX902" fmla="*/ 1685304 w 1897116"/>
              <a:gd name="connsiteY902" fmla="*/ 9749 h 1087290"/>
              <a:gd name="connsiteX903" fmla="*/ 1688915 w 1897116"/>
              <a:gd name="connsiteY903" fmla="*/ 12405 h 1087290"/>
              <a:gd name="connsiteX904" fmla="*/ 1693671 w 1897116"/>
              <a:gd name="connsiteY904" fmla="*/ 8342 h 1087290"/>
              <a:gd name="connsiteX905" fmla="*/ 1703271 w 1897116"/>
              <a:gd name="connsiteY905" fmla="*/ 9173 h 1087290"/>
              <a:gd name="connsiteX906" fmla="*/ 1704416 w 1897116"/>
              <a:gd name="connsiteY906" fmla="*/ 7926 h 1087290"/>
              <a:gd name="connsiteX907" fmla="*/ 1708027 w 1897116"/>
              <a:gd name="connsiteY907" fmla="*/ 11669 h 1087290"/>
              <a:gd name="connsiteX908" fmla="*/ 1710581 w 1897116"/>
              <a:gd name="connsiteY908" fmla="*/ 16628 h 1087290"/>
              <a:gd name="connsiteX909" fmla="*/ 1711549 w 1897116"/>
              <a:gd name="connsiteY909" fmla="*/ 15892 h 1087290"/>
              <a:gd name="connsiteX910" fmla="*/ 1716834 w 1897116"/>
              <a:gd name="connsiteY910" fmla="*/ 19315 h 1087290"/>
              <a:gd name="connsiteX911" fmla="*/ 1722646 w 1897116"/>
              <a:gd name="connsiteY911" fmla="*/ 21362 h 1087290"/>
              <a:gd name="connsiteX912" fmla="*/ 1727578 w 1897116"/>
              <a:gd name="connsiteY912" fmla="*/ 23506 h 1087290"/>
              <a:gd name="connsiteX913" fmla="*/ 1729076 w 1897116"/>
              <a:gd name="connsiteY913" fmla="*/ 21970 h 1087290"/>
              <a:gd name="connsiteX914" fmla="*/ 1733743 w 1897116"/>
              <a:gd name="connsiteY914" fmla="*/ 23474 h 1087290"/>
              <a:gd name="connsiteX915" fmla="*/ 1740965 w 1897116"/>
              <a:gd name="connsiteY915" fmla="*/ 21970 h 1087290"/>
              <a:gd name="connsiteX916" fmla="*/ 1742639 w 1897116"/>
              <a:gd name="connsiteY916" fmla="*/ 21330 h 1087290"/>
              <a:gd name="connsiteX917" fmla="*/ 1749949 w 1897116"/>
              <a:gd name="connsiteY917" fmla="*/ 21874 h 1087290"/>
              <a:gd name="connsiteX918" fmla="*/ 1758492 w 1897116"/>
              <a:gd name="connsiteY918" fmla="*/ 23154 h 1087290"/>
              <a:gd name="connsiteX919" fmla="*/ 1760517 w 1897116"/>
              <a:gd name="connsiteY919" fmla="*/ 25297 h 1087290"/>
              <a:gd name="connsiteX920" fmla="*/ 1765802 w 1897116"/>
              <a:gd name="connsiteY920" fmla="*/ 30576 h 1087290"/>
              <a:gd name="connsiteX921" fmla="*/ 1772583 w 1897116"/>
              <a:gd name="connsiteY921" fmla="*/ 34959 h 1087290"/>
              <a:gd name="connsiteX922" fmla="*/ 1781214 w 1897116"/>
              <a:gd name="connsiteY922" fmla="*/ 36622 h 1087290"/>
              <a:gd name="connsiteX923" fmla="*/ 1786058 w 1897116"/>
              <a:gd name="connsiteY923" fmla="*/ 34287 h 1087290"/>
              <a:gd name="connsiteX924" fmla="*/ 1786058 w 1897116"/>
              <a:gd name="connsiteY924" fmla="*/ 34639 h 1087290"/>
              <a:gd name="connsiteX925" fmla="*/ 1790638 w 1897116"/>
              <a:gd name="connsiteY925" fmla="*/ 36366 h 1087290"/>
              <a:gd name="connsiteX926" fmla="*/ 1789405 w 1897116"/>
              <a:gd name="connsiteY926" fmla="*/ 39406 h 1087290"/>
              <a:gd name="connsiteX927" fmla="*/ 1789669 w 1897116"/>
              <a:gd name="connsiteY927" fmla="*/ 45132 h 1087290"/>
              <a:gd name="connsiteX928" fmla="*/ 1789669 w 1897116"/>
              <a:gd name="connsiteY928" fmla="*/ 49227 h 1087290"/>
              <a:gd name="connsiteX929" fmla="*/ 1788700 w 1897116"/>
              <a:gd name="connsiteY929" fmla="*/ 49803 h 1087290"/>
              <a:gd name="connsiteX930" fmla="*/ 1789757 w 1897116"/>
              <a:gd name="connsiteY930" fmla="*/ 49899 h 1087290"/>
              <a:gd name="connsiteX931" fmla="*/ 1789669 w 1897116"/>
              <a:gd name="connsiteY931" fmla="*/ 49227 h 1087290"/>
              <a:gd name="connsiteX932" fmla="*/ 1794425 w 1897116"/>
              <a:gd name="connsiteY932" fmla="*/ 49643 h 1087290"/>
              <a:gd name="connsiteX933" fmla="*/ 1800061 w 1897116"/>
              <a:gd name="connsiteY933" fmla="*/ 49515 h 1087290"/>
              <a:gd name="connsiteX934" fmla="*/ 1804641 w 1897116"/>
              <a:gd name="connsiteY934" fmla="*/ 48747 h 1087290"/>
              <a:gd name="connsiteX935" fmla="*/ 1811335 w 1897116"/>
              <a:gd name="connsiteY935" fmla="*/ 46924 h 1087290"/>
              <a:gd name="connsiteX936" fmla="*/ 1811863 w 1897116"/>
              <a:gd name="connsiteY936" fmla="*/ 50859 h 1087290"/>
              <a:gd name="connsiteX937" fmla="*/ 1816707 w 1897116"/>
              <a:gd name="connsiteY937" fmla="*/ 45228 h 1087290"/>
              <a:gd name="connsiteX938" fmla="*/ 1821991 w 1897116"/>
              <a:gd name="connsiteY938" fmla="*/ 41581 h 1087290"/>
              <a:gd name="connsiteX939" fmla="*/ 1828332 w 1897116"/>
              <a:gd name="connsiteY939" fmla="*/ 41773 h 1087290"/>
              <a:gd name="connsiteX940" fmla="*/ 1830710 w 1897116"/>
              <a:gd name="connsiteY940" fmla="*/ 37902 h 1087290"/>
              <a:gd name="connsiteX941" fmla="*/ 1834585 w 1897116"/>
              <a:gd name="connsiteY941" fmla="*/ 35471 h 1087290"/>
              <a:gd name="connsiteX942" fmla="*/ 1835202 w 1897116"/>
              <a:gd name="connsiteY942" fmla="*/ 36015 h 1087290"/>
              <a:gd name="connsiteX943" fmla="*/ 1840398 w 1897116"/>
              <a:gd name="connsiteY943" fmla="*/ 40173 h 1087290"/>
              <a:gd name="connsiteX944" fmla="*/ 1843481 w 1897116"/>
              <a:gd name="connsiteY944" fmla="*/ 46284 h 1087290"/>
              <a:gd name="connsiteX945" fmla="*/ 1846827 w 1897116"/>
              <a:gd name="connsiteY945" fmla="*/ 50699 h 1087290"/>
              <a:gd name="connsiteX946" fmla="*/ 1850967 w 1897116"/>
              <a:gd name="connsiteY946" fmla="*/ 46092 h 1087290"/>
              <a:gd name="connsiteX947" fmla="*/ 1855018 w 1897116"/>
              <a:gd name="connsiteY947" fmla="*/ 41549 h 1087290"/>
              <a:gd name="connsiteX948" fmla="*/ 1857660 w 1897116"/>
              <a:gd name="connsiteY948" fmla="*/ 40013 h 1087290"/>
              <a:gd name="connsiteX949" fmla="*/ 1858277 w 1897116"/>
              <a:gd name="connsiteY949" fmla="*/ 47756 h 1087290"/>
              <a:gd name="connsiteX950" fmla="*/ 1857660 w 1897116"/>
              <a:gd name="connsiteY950" fmla="*/ 57001 h 1087290"/>
              <a:gd name="connsiteX951" fmla="*/ 1857924 w 1897116"/>
              <a:gd name="connsiteY951" fmla="*/ 57225 h 1087290"/>
              <a:gd name="connsiteX952" fmla="*/ 1859157 w 1897116"/>
              <a:gd name="connsiteY952" fmla="*/ 56041 h 1087290"/>
              <a:gd name="connsiteX953" fmla="*/ 1862944 w 1897116"/>
              <a:gd name="connsiteY953" fmla="*/ 56457 h 1087290"/>
              <a:gd name="connsiteX954" fmla="*/ 1865763 w 1897116"/>
              <a:gd name="connsiteY954" fmla="*/ 50539 h 1087290"/>
              <a:gd name="connsiteX955" fmla="*/ 1873865 w 1897116"/>
              <a:gd name="connsiteY955" fmla="*/ 44076 h 1087290"/>
              <a:gd name="connsiteX956" fmla="*/ 1879502 w 1897116"/>
              <a:gd name="connsiteY956" fmla="*/ 41357 h 1087290"/>
              <a:gd name="connsiteX957" fmla="*/ 1883377 w 1897116"/>
              <a:gd name="connsiteY957" fmla="*/ 35919 h 1087290"/>
              <a:gd name="connsiteX958" fmla="*/ 1881792 w 1897116"/>
              <a:gd name="connsiteY958" fmla="*/ 34639 h 1087290"/>
              <a:gd name="connsiteX959" fmla="*/ 1888485 w 1897116"/>
              <a:gd name="connsiteY959" fmla="*/ 31408 h 1087290"/>
              <a:gd name="connsiteX960" fmla="*/ 1892008 w 1897116"/>
              <a:gd name="connsiteY960" fmla="*/ 29648 h 1087290"/>
              <a:gd name="connsiteX961" fmla="*/ 1893593 w 1897116"/>
              <a:gd name="connsiteY961" fmla="*/ 37262 h 1087290"/>
              <a:gd name="connsiteX962" fmla="*/ 1892360 w 1897116"/>
              <a:gd name="connsiteY962" fmla="*/ 44268 h 1087290"/>
              <a:gd name="connsiteX963" fmla="*/ 1897116 w 1897116"/>
              <a:gd name="connsiteY963" fmla="*/ 48459 h 1087290"/>
              <a:gd name="connsiteX964" fmla="*/ 1886628 w 1897116"/>
              <a:gd name="connsiteY964" fmla="*/ 968560 h 1087290"/>
              <a:gd name="connsiteX965" fmla="*/ 1886628 w 1897116"/>
              <a:gd name="connsiteY965" fmla="*/ 980213 h 1087290"/>
              <a:gd name="connsiteX966" fmla="*/ 1886628 w 1897116"/>
              <a:gd name="connsiteY966" fmla="*/ 988837 h 1087290"/>
              <a:gd name="connsiteX967" fmla="*/ 1886628 w 1897116"/>
              <a:gd name="connsiteY967" fmla="*/ 994240 h 1087290"/>
              <a:gd name="connsiteX968" fmla="*/ 1886628 w 1897116"/>
              <a:gd name="connsiteY968" fmla="*/ 996096 h 1087290"/>
              <a:gd name="connsiteX969" fmla="*/ 1882510 w 1897116"/>
              <a:gd name="connsiteY969" fmla="*/ 998770 h 1087290"/>
              <a:gd name="connsiteX970" fmla="*/ 1877778 w 1897116"/>
              <a:gd name="connsiteY970" fmla="*/ 1002427 h 1087290"/>
              <a:gd name="connsiteX971" fmla="*/ 1874360 w 1897116"/>
              <a:gd name="connsiteY971" fmla="*/ 1006329 h 1087290"/>
              <a:gd name="connsiteX972" fmla="*/ 1869716 w 1897116"/>
              <a:gd name="connsiteY972" fmla="*/ 1009222 h 1087290"/>
              <a:gd name="connsiteX973" fmla="*/ 1869102 w 1897116"/>
              <a:gd name="connsiteY973" fmla="*/ 1006684 h 1087290"/>
              <a:gd name="connsiteX974" fmla="*/ 1867262 w 1897116"/>
              <a:gd name="connsiteY974" fmla="*/ 996696 h 1087290"/>
              <a:gd name="connsiteX975" fmla="*/ 1864984 w 1897116"/>
              <a:gd name="connsiteY975" fmla="*/ 989273 h 1087290"/>
              <a:gd name="connsiteX976" fmla="*/ 1864984 w 1897116"/>
              <a:gd name="connsiteY976" fmla="*/ 984170 h 1087290"/>
              <a:gd name="connsiteX977" fmla="*/ 1863669 w 1897116"/>
              <a:gd name="connsiteY977" fmla="*/ 989273 h 1087290"/>
              <a:gd name="connsiteX978" fmla="*/ 1862355 w 1897116"/>
              <a:gd name="connsiteY978" fmla="*/ 994649 h 1087290"/>
              <a:gd name="connsiteX979" fmla="*/ 1860690 w 1897116"/>
              <a:gd name="connsiteY979" fmla="*/ 1001090 h 1087290"/>
              <a:gd name="connsiteX980" fmla="*/ 1858324 w 1897116"/>
              <a:gd name="connsiteY980" fmla="*/ 1008731 h 1087290"/>
              <a:gd name="connsiteX981" fmla="*/ 1857360 w 1897116"/>
              <a:gd name="connsiteY981" fmla="*/ 1014161 h 1087290"/>
              <a:gd name="connsiteX982" fmla="*/ 1855607 w 1897116"/>
              <a:gd name="connsiteY982" fmla="*/ 1021284 h 1087290"/>
              <a:gd name="connsiteX983" fmla="*/ 1854819 w 1897116"/>
              <a:gd name="connsiteY983" fmla="*/ 1024695 h 1087290"/>
              <a:gd name="connsiteX984" fmla="*/ 1854994 w 1897116"/>
              <a:gd name="connsiteY984" fmla="*/ 1030562 h 1087290"/>
              <a:gd name="connsiteX985" fmla="*/ 1853504 w 1897116"/>
              <a:gd name="connsiteY985" fmla="*/ 1034083 h 1087290"/>
              <a:gd name="connsiteX986" fmla="*/ 1847831 w 1897116"/>
              <a:gd name="connsiteY986" fmla="*/ 1034044 h 1087290"/>
              <a:gd name="connsiteX987" fmla="*/ 1846998 w 1897116"/>
              <a:gd name="connsiteY987" fmla="*/ 1033257 h 1087290"/>
              <a:gd name="connsiteX988" fmla="*/ 1846947 w 1897116"/>
              <a:gd name="connsiteY988" fmla="*/ 1033944 h 1087290"/>
              <a:gd name="connsiteX989" fmla="*/ 1841061 w 1897116"/>
              <a:gd name="connsiteY989" fmla="*/ 1031708 h 1087290"/>
              <a:gd name="connsiteX990" fmla="*/ 1834313 w 1897116"/>
              <a:gd name="connsiteY990" fmla="*/ 1027506 h 1087290"/>
              <a:gd name="connsiteX991" fmla="*/ 1829406 w 1897116"/>
              <a:gd name="connsiteY991" fmla="*/ 1032418 h 1087290"/>
              <a:gd name="connsiteX992" fmla="*/ 1824587 w 1897116"/>
              <a:gd name="connsiteY992" fmla="*/ 1037303 h 1087290"/>
              <a:gd name="connsiteX993" fmla="*/ 1820205 w 1897116"/>
              <a:gd name="connsiteY993" fmla="*/ 1041560 h 1087290"/>
              <a:gd name="connsiteX994" fmla="*/ 1816087 w 1897116"/>
              <a:gd name="connsiteY994" fmla="*/ 1045872 h 1087290"/>
              <a:gd name="connsiteX995" fmla="*/ 1810391 w 1897116"/>
              <a:gd name="connsiteY995" fmla="*/ 1048874 h 1087290"/>
              <a:gd name="connsiteX996" fmla="*/ 1804782 w 1897116"/>
              <a:gd name="connsiteY996" fmla="*/ 1050347 h 1087290"/>
              <a:gd name="connsiteX997" fmla="*/ 1804552 w 1897116"/>
              <a:gd name="connsiteY997" fmla="*/ 1048972 h 1087290"/>
              <a:gd name="connsiteX998" fmla="*/ 1801462 w 1897116"/>
              <a:gd name="connsiteY998" fmla="*/ 1048324 h 1087290"/>
              <a:gd name="connsiteX999" fmla="*/ 1802230 w 1897116"/>
              <a:gd name="connsiteY999" fmla="*/ 1047946 h 1087290"/>
              <a:gd name="connsiteX1000" fmla="*/ 1800050 w 1897116"/>
              <a:gd name="connsiteY1000" fmla="*/ 1048028 h 1087290"/>
              <a:gd name="connsiteX1001" fmla="*/ 1801462 w 1897116"/>
              <a:gd name="connsiteY1001" fmla="*/ 1048324 h 1087290"/>
              <a:gd name="connsiteX1002" fmla="*/ 1795406 w 1897116"/>
              <a:gd name="connsiteY1002" fmla="*/ 1051302 h 1087290"/>
              <a:gd name="connsiteX1003" fmla="*/ 1791550 w 1897116"/>
              <a:gd name="connsiteY1003" fmla="*/ 1047673 h 1087290"/>
              <a:gd name="connsiteX1004" fmla="*/ 1792251 w 1897116"/>
              <a:gd name="connsiteY1004" fmla="*/ 1043361 h 1087290"/>
              <a:gd name="connsiteX1005" fmla="*/ 1787958 w 1897116"/>
              <a:gd name="connsiteY1005" fmla="*/ 1041014 h 1087290"/>
              <a:gd name="connsiteX1006" fmla="*/ 1781561 w 1897116"/>
              <a:gd name="connsiteY1006" fmla="*/ 1044343 h 1087290"/>
              <a:gd name="connsiteX1007" fmla="*/ 1779983 w 1897116"/>
              <a:gd name="connsiteY1007" fmla="*/ 1043579 h 1087290"/>
              <a:gd name="connsiteX1008" fmla="*/ 1773148 w 1897116"/>
              <a:gd name="connsiteY1008" fmla="*/ 1046472 h 1087290"/>
              <a:gd name="connsiteX1009" fmla="*/ 1771020 w 1897116"/>
              <a:gd name="connsiteY1009" fmla="*/ 1049962 h 1087290"/>
              <a:gd name="connsiteX1010" fmla="*/ 1768300 w 1897116"/>
              <a:gd name="connsiteY1010" fmla="*/ 1049999 h 1087290"/>
              <a:gd name="connsiteX1011" fmla="*/ 1767189 w 1897116"/>
              <a:gd name="connsiteY1011" fmla="*/ 1049829 h 1087290"/>
              <a:gd name="connsiteX1012" fmla="*/ 1767327 w 1897116"/>
              <a:gd name="connsiteY1012" fmla="*/ 1050013 h 1087290"/>
              <a:gd name="connsiteX1013" fmla="*/ 1766839 w 1897116"/>
              <a:gd name="connsiteY1013" fmla="*/ 1050020 h 1087290"/>
              <a:gd name="connsiteX1014" fmla="*/ 1762096 w 1897116"/>
              <a:gd name="connsiteY1014" fmla="*/ 1045145 h 1087290"/>
              <a:gd name="connsiteX1015" fmla="*/ 1768218 w 1897116"/>
              <a:gd name="connsiteY1015" fmla="*/ 1044030 h 1087290"/>
              <a:gd name="connsiteX1016" fmla="*/ 1768591 w 1897116"/>
              <a:gd name="connsiteY1016" fmla="*/ 1044289 h 1087290"/>
              <a:gd name="connsiteX1017" fmla="*/ 1769643 w 1897116"/>
              <a:gd name="connsiteY1017" fmla="*/ 1043770 h 1087290"/>
              <a:gd name="connsiteX1018" fmla="*/ 1768218 w 1897116"/>
              <a:gd name="connsiteY1018" fmla="*/ 1044030 h 1087290"/>
              <a:gd name="connsiteX1019" fmla="*/ 1767573 w 1897116"/>
              <a:gd name="connsiteY1019" fmla="*/ 1043583 h 1087290"/>
              <a:gd name="connsiteX1020" fmla="*/ 1761231 w 1897116"/>
              <a:gd name="connsiteY1020" fmla="*/ 1040850 h 1087290"/>
              <a:gd name="connsiteX1021" fmla="*/ 1752730 w 1897116"/>
              <a:gd name="connsiteY1021" fmla="*/ 1037930 h 1087290"/>
              <a:gd name="connsiteX1022" fmla="*/ 1750737 w 1897116"/>
              <a:gd name="connsiteY1022" fmla="*/ 1040216 h 1087290"/>
              <a:gd name="connsiteX1023" fmla="*/ 1749661 w 1897116"/>
              <a:gd name="connsiteY1023" fmla="*/ 1041465 h 1087290"/>
              <a:gd name="connsiteX1024" fmla="*/ 1749156 w 1897116"/>
              <a:gd name="connsiteY1024" fmla="*/ 1040798 h 1087290"/>
              <a:gd name="connsiteX1025" fmla="*/ 1748612 w 1897116"/>
              <a:gd name="connsiteY1025" fmla="*/ 1042706 h 1087290"/>
              <a:gd name="connsiteX1026" fmla="*/ 1750726 w 1897116"/>
              <a:gd name="connsiteY1026" fmla="*/ 1043089 h 1087290"/>
              <a:gd name="connsiteX1027" fmla="*/ 1749488 w 1897116"/>
              <a:gd name="connsiteY1027" fmla="*/ 1045599 h 1087290"/>
              <a:gd name="connsiteX1028" fmla="*/ 1742215 w 1897116"/>
              <a:gd name="connsiteY1028" fmla="*/ 1041778 h 1087290"/>
              <a:gd name="connsiteX1029" fmla="*/ 1736870 w 1897116"/>
              <a:gd name="connsiteY1029" fmla="*/ 1042051 h 1087290"/>
              <a:gd name="connsiteX1030" fmla="*/ 1730406 w 1897116"/>
              <a:gd name="connsiteY1030" fmla="*/ 1043213 h 1087290"/>
              <a:gd name="connsiteX1031" fmla="*/ 1728950 w 1897116"/>
              <a:gd name="connsiteY1031" fmla="*/ 1043524 h 1087290"/>
              <a:gd name="connsiteX1032" fmla="*/ 1728402 w 1897116"/>
              <a:gd name="connsiteY1032" fmla="*/ 1042198 h 1087290"/>
              <a:gd name="connsiteX1033" fmla="*/ 1723988 w 1897116"/>
              <a:gd name="connsiteY1033" fmla="*/ 1044589 h 1087290"/>
              <a:gd name="connsiteX1034" fmla="*/ 1723287 w 1897116"/>
              <a:gd name="connsiteY1034" fmla="*/ 1048955 h 1087290"/>
              <a:gd name="connsiteX1035" fmla="*/ 1719168 w 1897116"/>
              <a:gd name="connsiteY1035" fmla="*/ 1055177 h 1087290"/>
              <a:gd name="connsiteX1036" fmla="*/ 1713648 w 1897116"/>
              <a:gd name="connsiteY1036" fmla="*/ 1054304 h 1087290"/>
              <a:gd name="connsiteX1037" fmla="*/ 1713998 w 1897116"/>
              <a:gd name="connsiteY1037" fmla="*/ 1056051 h 1087290"/>
              <a:gd name="connsiteX1038" fmla="*/ 1708302 w 1897116"/>
              <a:gd name="connsiteY1038" fmla="*/ 1054413 h 1087290"/>
              <a:gd name="connsiteX1039" fmla="*/ 1702606 w 1897116"/>
              <a:gd name="connsiteY1039" fmla="*/ 1058398 h 1087290"/>
              <a:gd name="connsiteX1040" fmla="*/ 1699978 w 1897116"/>
              <a:gd name="connsiteY1040" fmla="*/ 1056979 h 1087290"/>
              <a:gd name="connsiteX1041" fmla="*/ 1696560 w 1897116"/>
              <a:gd name="connsiteY1041" fmla="*/ 1056105 h 1087290"/>
              <a:gd name="connsiteX1042" fmla="*/ 1693493 w 1897116"/>
              <a:gd name="connsiteY1042" fmla="*/ 1062245 h 1087290"/>
              <a:gd name="connsiteX1043" fmla="*/ 1692441 w 1897116"/>
              <a:gd name="connsiteY1043" fmla="*/ 1063528 h 1087290"/>
              <a:gd name="connsiteX1044" fmla="*/ 1684905 w 1897116"/>
              <a:gd name="connsiteY1044" fmla="*/ 1064674 h 1087290"/>
              <a:gd name="connsiteX1045" fmla="*/ 1683941 w 1897116"/>
              <a:gd name="connsiteY1045" fmla="*/ 1062737 h 1087290"/>
              <a:gd name="connsiteX1046" fmla="*/ 1681488 w 1897116"/>
              <a:gd name="connsiteY1046" fmla="*/ 1059489 h 1087290"/>
              <a:gd name="connsiteX1047" fmla="*/ 1675178 w 1897116"/>
              <a:gd name="connsiteY1047" fmla="*/ 1061727 h 1087290"/>
              <a:gd name="connsiteX1048" fmla="*/ 1669132 w 1897116"/>
              <a:gd name="connsiteY1048" fmla="*/ 1062000 h 1087290"/>
              <a:gd name="connsiteX1049" fmla="*/ 1664049 w 1897116"/>
              <a:gd name="connsiteY1049" fmla="*/ 1060499 h 1087290"/>
              <a:gd name="connsiteX1050" fmla="*/ 1662560 w 1897116"/>
              <a:gd name="connsiteY1050" fmla="*/ 1065493 h 1087290"/>
              <a:gd name="connsiteX1051" fmla="*/ 1652745 w 1897116"/>
              <a:gd name="connsiteY1051" fmla="*/ 1059571 h 1087290"/>
              <a:gd name="connsiteX1052" fmla="*/ 1647400 w 1897116"/>
              <a:gd name="connsiteY1052" fmla="*/ 1050484 h 1087290"/>
              <a:gd name="connsiteX1053" fmla="*/ 1646085 w 1897116"/>
              <a:gd name="connsiteY1053" fmla="*/ 1056214 h 1087290"/>
              <a:gd name="connsiteX1054" fmla="*/ 1640214 w 1897116"/>
              <a:gd name="connsiteY1054" fmla="*/ 1054386 h 1087290"/>
              <a:gd name="connsiteX1055" fmla="*/ 1630225 w 1897116"/>
              <a:gd name="connsiteY1055" fmla="*/ 1054086 h 1087290"/>
              <a:gd name="connsiteX1056" fmla="*/ 1624003 w 1897116"/>
              <a:gd name="connsiteY1056" fmla="*/ 1053294 h 1087290"/>
              <a:gd name="connsiteX1057" fmla="*/ 1622250 w 1897116"/>
              <a:gd name="connsiteY1057" fmla="*/ 1056023 h 1087290"/>
              <a:gd name="connsiteX1058" fmla="*/ 1613663 w 1897116"/>
              <a:gd name="connsiteY1058" fmla="*/ 1057333 h 1087290"/>
              <a:gd name="connsiteX1059" fmla="*/ 1609106 w 1897116"/>
              <a:gd name="connsiteY1059" fmla="*/ 1058479 h 1087290"/>
              <a:gd name="connsiteX1060" fmla="*/ 1610683 w 1897116"/>
              <a:gd name="connsiteY1060" fmla="*/ 1054795 h 1087290"/>
              <a:gd name="connsiteX1061" fmla="*/ 1605163 w 1897116"/>
              <a:gd name="connsiteY1061" fmla="*/ 1050102 h 1087290"/>
              <a:gd name="connsiteX1062" fmla="*/ 1600606 w 1897116"/>
              <a:gd name="connsiteY1062" fmla="*/ 1049965 h 1087290"/>
              <a:gd name="connsiteX1063" fmla="*/ 1596224 w 1897116"/>
              <a:gd name="connsiteY1063" fmla="*/ 1046963 h 1087290"/>
              <a:gd name="connsiteX1064" fmla="*/ 1593596 w 1897116"/>
              <a:gd name="connsiteY1064" fmla="*/ 1047994 h 1087290"/>
              <a:gd name="connsiteX1065" fmla="*/ 1589459 w 1897116"/>
              <a:gd name="connsiteY1065" fmla="*/ 1045424 h 1087290"/>
              <a:gd name="connsiteX1066" fmla="*/ 1590781 w 1897116"/>
              <a:gd name="connsiteY1066" fmla="*/ 1042061 h 1087290"/>
              <a:gd name="connsiteX1067" fmla="*/ 1589126 w 1897116"/>
              <a:gd name="connsiteY1067" fmla="*/ 1045217 h 1087290"/>
              <a:gd name="connsiteX1068" fmla="*/ 1589459 w 1897116"/>
              <a:gd name="connsiteY1068" fmla="*/ 1045424 h 1087290"/>
              <a:gd name="connsiteX1069" fmla="*/ 1588425 w 1897116"/>
              <a:gd name="connsiteY1069" fmla="*/ 1048055 h 1087290"/>
              <a:gd name="connsiteX1070" fmla="*/ 1583956 w 1897116"/>
              <a:gd name="connsiteY1070" fmla="*/ 1046581 h 1087290"/>
              <a:gd name="connsiteX1071" fmla="*/ 1582817 w 1897116"/>
              <a:gd name="connsiteY1071" fmla="*/ 1050948 h 1087290"/>
              <a:gd name="connsiteX1072" fmla="*/ 1584764 w 1897116"/>
              <a:gd name="connsiteY1072" fmla="*/ 1052756 h 1087290"/>
              <a:gd name="connsiteX1073" fmla="*/ 1580977 w 1897116"/>
              <a:gd name="connsiteY1073" fmla="*/ 1052012 h 1087290"/>
              <a:gd name="connsiteX1074" fmla="*/ 1578305 w 1897116"/>
              <a:gd name="connsiteY1074" fmla="*/ 1051874 h 1087290"/>
              <a:gd name="connsiteX1075" fmla="*/ 1574492 w 1897116"/>
              <a:gd name="connsiteY1075" fmla="*/ 1050347 h 1087290"/>
              <a:gd name="connsiteX1076" fmla="*/ 1567482 w 1897116"/>
              <a:gd name="connsiteY1076" fmla="*/ 1046145 h 1087290"/>
              <a:gd name="connsiteX1077" fmla="*/ 1563100 w 1897116"/>
              <a:gd name="connsiteY1077" fmla="*/ 1047591 h 1087290"/>
              <a:gd name="connsiteX1078" fmla="*/ 1552410 w 1897116"/>
              <a:gd name="connsiteY1078" fmla="*/ 1048137 h 1087290"/>
              <a:gd name="connsiteX1079" fmla="*/ 1542245 w 1897116"/>
              <a:gd name="connsiteY1079" fmla="*/ 1055041 h 1087290"/>
              <a:gd name="connsiteX1080" fmla="*/ 1537074 w 1897116"/>
              <a:gd name="connsiteY1080" fmla="*/ 1063610 h 1087290"/>
              <a:gd name="connsiteX1081" fmla="*/ 1535753 w 1897116"/>
              <a:gd name="connsiteY1081" fmla="*/ 1064310 h 1087290"/>
              <a:gd name="connsiteX1082" fmla="*/ 1534555 w 1897116"/>
              <a:gd name="connsiteY1082" fmla="*/ 1061710 h 1087290"/>
              <a:gd name="connsiteX1083" fmla="*/ 1535409 w 1897116"/>
              <a:gd name="connsiteY1083" fmla="*/ 1062627 h 1087290"/>
              <a:gd name="connsiteX1084" fmla="*/ 1533482 w 1897116"/>
              <a:gd name="connsiteY1084" fmla="*/ 1055942 h 1087290"/>
              <a:gd name="connsiteX1085" fmla="*/ 1532167 w 1897116"/>
              <a:gd name="connsiteY1085" fmla="*/ 1049501 h 1087290"/>
              <a:gd name="connsiteX1086" fmla="*/ 1532496 w 1897116"/>
              <a:gd name="connsiteY1086" fmla="*/ 1046731 h 1087290"/>
              <a:gd name="connsiteX1087" fmla="*/ 1532058 w 1897116"/>
              <a:gd name="connsiteY1087" fmla="*/ 1045420 h 1087290"/>
              <a:gd name="connsiteX1088" fmla="*/ 1532342 w 1897116"/>
              <a:gd name="connsiteY1088" fmla="*/ 1044848 h 1087290"/>
              <a:gd name="connsiteX1089" fmla="*/ 1530972 w 1897116"/>
              <a:gd name="connsiteY1089" fmla="*/ 1038571 h 1087290"/>
              <a:gd name="connsiteX1090" fmla="*/ 1531543 w 1897116"/>
              <a:gd name="connsiteY1090" fmla="*/ 1038404 h 1087290"/>
              <a:gd name="connsiteX1091" fmla="*/ 1530677 w 1897116"/>
              <a:gd name="connsiteY1091" fmla="*/ 1037221 h 1087290"/>
              <a:gd name="connsiteX1092" fmla="*/ 1530972 w 1897116"/>
              <a:gd name="connsiteY1092" fmla="*/ 1038571 h 1087290"/>
              <a:gd name="connsiteX1093" fmla="*/ 1524456 w 1897116"/>
              <a:gd name="connsiteY1093" fmla="*/ 1040468 h 1087290"/>
              <a:gd name="connsiteX1094" fmla="*/ 1518322 w 1897116"/>
              <a:gd name="connsiteY1094" fmla="*/ 1043689 h 1087290"/>
              <a:gd name="connsiteX1095" fmla="*/ 1510085 w 1897116"/>
              <a:gd name="connsiteY1095" fmla="*/ 1046636 h 1087290"/>
              <a:gd name="connsiteX1096" fmla="*/ 1506054 w 1897116"/>
              <a:gd name="connsiteY1096" fmla="*/ 1048491 h 1087290"/>
              <a:gd name="connsiteX1097" fmla="*/ 1500621 w 1897116"/>
              <a:gd name="connsiteY1097" fmla="*/ 1051029 h 1087290"/>
              <a:gd name="connsiteX1098" fmla="*/ 1492822 w 1897116"/>
              <a:gd name="connsiteY1098" fmla="*/ 1048491 h 1087290"/>
              <a:gd name="connsiteX1099" fmla="*/ 1485285 w 1897116"/>
              <a:gd name="connsiteY1099" fmla="*/ 1046581 h 1087290"/>
              <a:gd name="connsiteX1100" fmla="*/ 1485461 w 1897116"/>
              <a:gd name="connsiteY1100" fmla="*/ 1045571 h 1087290"/>
              <a:gd name="connsiteX1101" fmla="*/ 1487389 w 1897116"/>
              <a:gd name="connsiteY1101" fmla="*/ 1043252 h 1087290"/>
              <a:gd name="connsiteX1102" fmla="*/ 1480816 w 1897116"/>
              <a:gd name="connsiteY1102" fmla="*/ 1040359 h 1087290"/>
              <a:gd name="connsiteX1103" fmla="*/ 1481079 w 1897116"/>
              <a:gd name="connsiteY1103" fmla="*/ 1038940 h 1087290"/>
              <a:gd name="connsiteX1104" fmla="*/ 1475646 w 1897116"/>
              <a:gd name="connsiteY1104" fmla="*/ 1034055 h 1087290"/>
              <a:gd name="connsiteX1105" fmla="*/ 1475208 w 1897116"/>
              <a:gd name="connsiteY1105" fmla="*/ 1036757 h 1087290"/>
              <a:gd name="connsiteX1106" fmla="*/ 1471878 w 1897116"/>
              <a:gd name="connsiteY1106" fmla="*/ 1030344 h 1087290"/>
              <a:gd name="connsiteX1107" fmla="*/ 1467059 w 1897116"/>
              <a:gd name="connsiteY1107" fmla="*/ 1027560 h 1087290"/>
              <a:gd name="connsiteX1108" fmla="*/ 1461187 w 1897116"/>
              <a:gd name="connsiteY1108" fmla="*/ 1028788 h 1087290"/>
              <a:gd name="connsiteX1109" fmla="*/ 1459873 w 1897116"/>
              <a:gd name="connsiteY1109" fmla="*/ 1024067 h 1087290"/>
              <a:gd name="connsiteX1110" fmla="*/ 1454002 w 1897116"/>
              <a:gd name="connsiteY1110" fmla="*/ 1024122 h 1087290"/>
              <a:gd name="connsiteX1111" fmla="*/ 1447342 w 1897116"/>
              <a:gd name="connsiteY1111" fmla="*/ 1025541 h 1087290"/>
              <a:gd name="connsiteX1112" fmla="*/ 1441295 w 1897116"/>
              <a:gd name="connsiteY1112" fmla="*/ 1026332 h 1087290"/>
              <a:gd name="connsiteX1113" fmla="*/ 1433935 w 1897116"/>
              <a:gd name="connsiteY1113" fmla="*/ 1029389 h 1087290"/>
              <a:gd name="connsiteX1114" fmla="*/ 1429641 w 1897116"/>
              <a:gd name="connsiteY1114" fmla="*/ 1030944 h 1087290"/>
              <a:gd name="connsiteX1115" fmla="*/ 1424821 w 1897116"/>
              <a:gd name="connsiteY1115" fmla="*/ 1033510 h 1087290"/>
              <a:gd name="connsiteX1116" fmla="*/ 1419300 w 1897116"/>
              <a:gd name="connsiteY1116" fmla="*/ 1035065 h 1087290"/>
              <a:gd name="connsiteX1117" fmla="*/ 1410800 w 1897116"/>
              <a:gd name="connsiteY1117" fmla="*/ 1035829 h 1087290"/>
              <a:gd name="connsiteX1118" fmla="*/ 1405630 w 1897116"/>
              <a:gd name="connsiteY1118" fmla="*/ 1032281 h 1087290"/>
              <a:gd name="connsiteX1119" fmla="*/ 1403878 w 1897116"/>
              <a:gd name="connsiteY1119" fmla="*/ 1031872 h 1087290"/>
              <a:gd name="connsiteX1120" fmla="*/ 1400548 w 1897116"/>
              <a:gd name="connsiteY1120" fmla="*/ 1024913 h 1087290"/>
              <a:gd name="connsiteX1121" fmla="*/ 1397744 w 1897116"/>
              <a:gd name="connsiteY1121" fmla="*/ 1019565 h 1087290"/>
              <a:gd name="connsiteX1122" fmla="*/ 1394939 w 1897116"/>
              <a:gd name="connsiteY1122" fmla="*/ 1014243 h 1087290"/>
              <a:gd name="connsiteX1123" fmla="*/ 1390295 w 1897116"/>
              <a:gd name="connsiteY1123" fmla="*/ 1018528 h 1087290"/>
              <a:gd name="connsiteX1124" fmla="*/ 1391610 w 1897116"/>
              <a:gd name="connsiteY1124" fmla="*/ 1025480 h 1087290"/>
              <a:gd name="connsiteX1125" fmla="*/ 1387307 w 1897116"/>
              <a:gd name="connsiteY1125" fmla="*/ 1023581 h 1087290"/>
              <a:gd name="connsiteX1126" fmla="*/ 1387579 w 1897116"/>
              <a:gd name="connsiteY1126" fmla="*/ 1023535 h 1087290"/>
              <a:gd name="connsiteX1127" fmla="*/ 1385563 w 1897116"/>
              <a:gd name="connsiteY1127" fmla="*/ 1022812 h 1087290"/>
              <a:gd name="connsiteX1128" fmla="*/ 1387307 w 1897116"/>
              <a:gd name="connsiteY1128" fmla="*/ 1023581 h 1087290"/>
              <a:gd name="connsiteX1129" fmla="*/ 1380919 w 1897116"/>
              <a:gd name="connsiteY1129" fmla="*/ 1024668 h 1087290"/>
              <a:gd name="connsiteX1130" fmla="*/ 1376537 w 1897116"/>
              <a:gd name="connsiteY1130" fmla="*/ 1024913 h 1087290"/>
              <a:gd name="connsiteX1131" fmla="*/ 1371192 w 1897116"/>
              <a:gd name="connsiteY1131" fmla="*/ 1022294 h 1087290"/>
              <a:gd name="connsiteX1132" fmla="*/ 1366109 w 1897116"/>
              <a:gd name="connsiteY1132" fmla="*/ 1018991 h 1087290"/>
              <a:gd name="connsiteX1133" fmla="*/ 1361991 w 1897116"/>
              <a:gd name="connsiteY1133" fmla="*/ 1019674 h 1087290"/>
              <a:gd name="connsiteX1134" fmla="*/ 1355419 w 1897116"/>
              <a:gd name="connsiteY1134" fmla="*/ 1019155 h 1087290"/>
              <a:gd name="connsiteX1135" fmla="*/ 1351212 w 1897116"/>
              <a:gd name="connsiteY1135" fmla="*/ 1018555 h 1087290"/>
              <a:gd name="connsiteX1136" fmla="*/ 1345604 w 1897116"/>
              <a:gd name="connsiteY1136" fmla="*/ 1019728 h 1087290"/>
              <a:gd name="connsiteX1137" fmla="*/ 1341644 w 1897116"/>
              <a:gd name="connsiteY1137" fmla="*/ 1021457 h 1087290"/>
              <a:gd name="connsiteX1138" fmla="*/ 1339295 w 1897116"/>
              <a:gd name="connsiteY1138" fmla="*/ 1021011 h 1087290"/>
              <a:gd name="connsiteX1139" fmla="*/ 1336781 w 1897116"/>
              <a:gd name="connsiteY1139" fmla="*/ 1023170 h 1087290"/>
              <a:gd name="connsiteX1140" fmla="*/ 1334650 w 1897116"/>
              <a:gd name="connsiteY1140" fmla="*/ 1023685 h 1087290"/>
              <a:gd name="connsiteX1141" fmla="*/ 1329130 w 1897116"/>
              <a:gd name="connsiteY1141" fmla="*/ 1023985 h 1087290"/>
              <a:gd name="connsiteX1142" fmla="*/ 1328166 w 1897116"/>
              <a:gd name="connsiteY1142" fmla="*/ 1028570 h 1087290"/>
              <a:gd name="connsiteX1143" fmla="*/ 1323434 w 1897116"/>
              <a:gd name="connsiteY1143" fmla="*/ 1029962 h 1087290"/>
              <a:gd name="connsiteX1144" fmla="*/ 1319403 w 1897116"/>
              <a:gd name="connsiteY1144" fmla="*/ 1035065 h 1087290"/>
              <a:gd name="connsiteX1145" fmla="*/ 1313795 w 1897116"/>
              <a:gd name="connsiteY1145" fmla="*/ 1035311 h 1087290"/>
              <a:gd name="connsiteX1146" fmla="*/ 1309939 w 1897116"/>
              <a:gd name="connsiteY1146" fmla="*/ 1040332 h 1087290"/>
              <a:gd name="connsiteX1147" fmla="*/ 1309238 w 1897116"/>
              <a:gd name="connsiteY1147" fmla="*/ 1037330 h 1087290"/>
              <a:gd name="connsiteX1148" fmla="*/ 1308712 w 1897116"/>
              <a:gd name="connsiteY1148" fmla="*/ 1032691 h 1087290"/>
              <a:gd name="connsiteX1149" fmla="*/ 1307310 w 1897116"/>
              <a:gd name="connsiteY1149" fmla="*/ 1029361 h 1087290"/>
              <a:gd name="connsiteX1150" fmla="*/ 1302929 w 1897116"/>
              <a:gd name="connsiteY1150" fmla="*/ 1029252 h 1087290"/>
              <a:gd name="connsiteX1151" fmla="*/ 1297671 w 1897116"/>
              <a:gd name="connsiteY1151" fmla="*/ 1030535 h 1087290"/>
              <a:gd name="connsiteX1152" fmla="*/ 1286542 w 1897116"/>
              <a:gd name="connsiteY1152" fmla="*/ 1034874 h 1087290"/>
              <a:gd name="connsiteX1153" fmla="*/ 1275588 w 1897116"/>
              <a:gd name="connsiteY1153" fmla="*/ 1041696 h 1087290"/>
              <a:gd name="connsiteX1154" fmla="*/ 1270330 w 1897116"/>
              <a:gd name="connsiteY1154" fmla="*/ 1045571 h 1087290"/>
              <a:gd name="connsiteX1155" fmla="*/ 1264985 w 1897116"/>
              <a:gd name="connsiteY1155" fmla="*/ 1049610 h 1087290"/>
              <a:gd name="connsiteX1156" fmla="*/ 1260078 w 1897116"/>
              <a:gd name="connsiteY1156" fmla="*/ 1053513 h 1087290"/>
              <a:gd name="connsiteX1157" fmla="*/ 1255083 w 1897116"/>
              <a:gd name="connsiteY1157" fmla="*/ 1056951 h 1087290"/>
              <a:gd name="connsiteX1158" fmla="*/ 1251052 w 1897116"/>
              <a:gd name="connsiteY1158" fmla="*/ 1059571 h 1087290"/>
              <a:gd name="connsiteX1159" fmla="*/ 1245794 w 1897116"/>
              <a:gd name="connsiteY1159" fmla="*/ 1062655 h 1087290"/>
              <a:gd name="connsiteX1160" fmla="*/ 1238784 w 1897116"/>
              <a:gd name="connsiteY1160" fmla="*/ 1065493 h 1087290"/>
              <a:gd name="connsiteX1161" fmla="*/ 1232212 w 1897116"/>
              <a:gd name="connsiteY1161" fmla="*/ 1067922 h 1087290"/>
              <a:gd name="connsiteX1162" fmla="*/ 1225639 w 1897116"/>
              <a:gd name="connsiteY1162" fmla="*/ 1072725 h 1087290"/>
              <a:gd name="connsiteX1163" fmla="*/ 1218541 w 1897116"/>
              <a:gd name="connsiteY1163" fmla="*/ 1074226 h 1087290"/>
              <a:gd name="connsiteX1164" fmla="*/ 1211356 w 1897116"/>
              <a:gd name="connsiteY1164" fmla="*/ 1076763 h 1087290"/>
              <a:gd name="connsiteX1165" fmla="*/ 1203732 w 1897116"/>
              <a:gd name="connsiteY1165" fmla="*/ 1074717 h 1087290"/>
              <a:gd name="connsiteX1166" fmla="*/ 1204345 w 1897116"/>
              <a:gd name="connsiteY1166" fmla="*/ 1079110 h 1087290"/>
              <a:gd name="connsiteX1167" fmla="*/ 1197773 w 1897116"/>
              <a:gd name="connsiteY1167" fmla="*/ 1081103 h 1087290"/>
              <a:gd name="connsiteX1168" fmla="*/ 1190500 w 1897116"/>
              <a:gd name="connsiteY1168" fmla="*/ 1083122 h 1087290"/>
              <a:gd name="connsiteX1169" fmla="*/ 1184015 w 1897116"/>
              <a:gd name="connsiteY1169" fmla="*/ 1086520 h 1087290"/>
              <a:gd name="connsiteX0" fmla="*/ 353668 w 1897116"/>
              <a:gd name="connsiteY0" fmla="*/ 26940 h 1087290"/>
              <a:gd name="connsiteX1" fmla="*/ 353221 w 1897116"/>
              <a:gd name="connsiteY1" fmla="*/ 25809 h 1087290"/>
              <a:gd name="connsiteX2" fmla="*/ 357240 w 1897116"/>
              <a:gd name="connsiteY2" fmla="*/ 24733 h 1087290"/>
              <a:gd name="connsiteX3" fmla="*/ 353668 w 1897116"/>
              <a:gd name="connsiteY3" fmla="*/ 26940 h 1087290"/>
              <a:gd name="connsiteX4" fmla="*/ 304410 w 1897116"/>
              <a:gd name="connsiteY4" fmla="*/ 40485 h 1087290"/>
              <a:gd name="connsiteX5" fmla="*/ 302763 w 1897116"/>
              <a:gd name="connsiteY5" fmla="*/ 40108 h 1087290"/>
              <a:gd name="connsiteX6" fmla="*/ 302767 w 1897116"/>
              <a:gd name="connsiteY6" fmla="*/ 38706 h 1087290"/>
              <a:gd name="connsiteX7" fmla="*/ 304410 w 1897116"/>
              <a:gd name="connsiteY7" fmla="*/ 40485 h 1087290"/>
              <a:gd name="connsiteX8" fmla="*/ 312192 w 1897116"/>
              <a:gd name="connsiteY8" fmla="*/ 41597 h 1087290"/>
              <a:gd name="connsiteX9" fmla="*/ 310902 w 1897116"/>
              <a:gd name="connsiteY9" fmla="*/ 41519 h 1087290"/>
              <a:gd name="connsiteX10" fmla="*/ 310110 w 1897116"/>
              <a:gd name="connsiteY10" fmla="*/ 41149 h 1087290"/>
              <a:gd name="connsiteX11" fmla="*/ 312192 w 1897116"/>
              <a:gd name="connsiteY11" fmla="*/ 41597 h 1087290"/>
              <a:gd name="connsiteX12" fmla="*/ 316583 w 1897116"/>
              <a:gd name="connsiteY12" fmla="*/ 42541 h 1087290"/>
              <a:gd name="connsiteX13" fmla="*/ 312192 w 1897116"/>
              <a:gd name="connsiteY13" fmla="*/ 41597 h 1087290"/>
              <a:gd name="connsiteX14" fmla="*/ 312466 w 1897116"/>
              <a:gd name="connsiteY14" fmla="*/ 41613 h 1087290"/>
              <a:gd name="connsiteX15" fmla="*/ 316583 w 1897116"/>
              <a:gd name="connsiteY15" fmla="*/ 42541 h 1087290"/>
              <a:gd name="connsiteX16" fmla="*/ 119950 w 1897116"/>
              <a:gd name="connsiteY16" fmla="*/ 43716 h 1087290"/>
              <a:gd name="connsiteX17" fmla="*/ 117470 w 1897116"/>
              <a:gd name="connsiteY17" fmla="*/ 43272 h 1087290"/>
              <a:gd name="connsiteX18" fmla="*/ 118896 w 1897116"/>
              <a:gd name="connsiteY18" fmla="*/ 40545 h 1087290"/>
              <a:gd name="connsiteX19" fmla="*/ 120926 w 1897116"/>
              <a:gd name="connsiteY19" fmla="*/ 43701 h 1087290"/>
              <a:gd name="connsiteX20" fmla="*/ 119950 w 1897116"/>
              <a:gd name="connsiteY20" fmla="*/ 43716 h 1087290"/>
              <a:gd name="connsiteX21" fmla="*/ 115912 w 1897116"/>
              <a:gd name="connsiteY21" fmla="*/ 43782 h 1087290"/>
              <a:gd name="connsiteX22" fmla="*/ 115758 w 1897116"/>
              <a:gd name="connsiteY22" fmla="*/ 42965 h 1087290"/>
              <a:gd name="connsiteX23" fmla="*/ 117470 w 1897116"/>
              <a:gd name="connsiteY23" fmla="*/ 43272 h 1087290"/>
              <a:gd name="connsiteX24" fmla="*/ 117215 w 1897116"/>
              <a:gd name="connsiteY24" fmla="*/ 43761 h 1087290"/>
              <a:gd name="connsiteX25" fmla="*/ 115912 w 1897116"/>
              <a:gd name="connsiteY25" fmla="*/ 43782 h 1087290"/>
              <a:gd name="connsiteX26" fmla="*/ 159497 w 1897116"/>
              <a:gd name="connsiteY26" fmla="*/ 51308 h 1087290"/>
              <a:gd name="connsiteX27" fmla="*/ 159111 w 1897116"/>
              <a:gd name="connsiteY27" fmla="*/ 50219 h 1087290"/>
              <a:gd name="connsiteX28" fmla="*/ 159519 w 1897116"/>
              <a:gd name="connsiteY28" fmla="*/ 51302 h 1087290"/>
              <a:gd name="connsiteX29" fmla="*/ 159497 w 1897116"/>
              <a:gd name="connsiteY29" fmla="*/ 51308 h 1087290"/>
              <a:gd name="connsiteX30" fmla="*/ 358065 w 1897116"/>
              <a:gd name="connsiteY30" fmla="*/ 51467 h 1087290"/>
              <a:gd name="connsiteX31" fmla="*/ 357383 w 1897116"/>
              <a:gd name="connsiteY31" fmla="*/ 49085 h 1087290"/>
              <a:gd name="connsiteX32" fmla="*/ 358101 w 1897116"/>
              <a:gd name="connsiteY32" fmla="*/ 47405 h 1087290"/>
              <a:gd name="connsiteX33" fmla="*/ 358065 w 1897116"/>
              <a:gd name="connsiteY33" fmla="*/ 51467 h 1087290"/>
              <a:gd name="connsiteX34" fmla="*/ 137612 w 1897116"/>
              <a:gd name="connsiteY34" fmla="*/ 52078 h 1087290"/>
              <a:gd name="connsiteX35" fmla="*/ 134914 w 1897116"/>
              <a:gd name="connsiteY35" fmla="*/ 51247 h 1087290"/>
              <a:gd name="connsiteX36" fmla="*/ 137611 w 1897116"/>
              <a:gd name="connsiteY36" fmla="*/ 51817 h 1087290"/>
              <a:gd name="connsiteX37" fmla="*/ 137545 w 1897116"/>
              <a:gd name="connsiteY37" fmla="*/ 51974 h 1087290"/>
              <a:gd name="connsiteX38" fmla="*/ 137612 w 1897116"/>
              <a:gd name="connsiteY38" fmla="*/ 52078 h 1087290"/>
              <a:gd name="connsiteX39" fmla="*/ 138681 w 1897116"/>
              <a:gd name="connsiteY39" fmla="*/ 53721 h 1087290"/>
              <a:gd name="connsiteX40" fmla="*/ 137612 w 1897116"/>
              <a:gd name="connsiteY40" fmla="*/ 52078 h 1087290"/>
              <a:gd name="connsiteX41" fmla="*/ 139472 w 1897116"/>
              <a:gd name="connsiteY41" fmla="*/ 52650 h 1087290"/>
              <a:gd name="connsiteX42" fmla="*/ 138681 w 1897116"/>
              <a:gd name="connsiteY42" fmla="*/ 53721 h 1087290"/>
              <a:gd name="connsiteX43" fmla="*/ 40650 w 1897116"/>
              <a:gd name="connsiteY43" fmla="*/ 62426 h 1087290"/>
              <a:gd name="connsiteX44" fmla="*/ 40016 w 1897116"/>
              <a:gd name="connsiteY44" fmla="*/ 62421 h 1087290"/>
              <a:gd name="connsiteX45" fmla="*/ 39598 w 1897116"/>
              <a:gd name="connsiteY45" fmla="*/ 61960 h 1087290"/>
              <a:gd name="connsiteX46" fmla="*/ 40650 w 1897116"/>
              <a:gd name="connsiteY46" fmla="*/ 62426 h 1087290"/>
              <a:gd name="connsiteX47" fmla="*/ 40904 w 1897116"/>
              <a:gd name="connsiteY47" fmla="*/ 62538 h 1087290"/>
              <a:gd name="connsiteX48" fmla="*/ 40650 w 1897116"/>
              <a:gd name="connsiteY48" fmla="*/ 62426 h 1087290"/>
              <a:gd name="connsiteX49" fmla="*/ 40911 w 1897116"/>
              <a:gd name="connsiteY49" fmla="*/ 62428 h 1087290"/>
              <a:gd name="connsiteX50" fmla="*/ 40904 w 1897116"/>
              <a:gd name="connsiteY50" fmla="*/ 62538 h 1087290"/>
              <a:gd name="connsiteX51" fmla="*/ 548588 w 1897116"/>
              <a:gd name="connsiteY51" fmla="*/ 77263 h 1087290"/>
              <a:gd name="connsiteX52" fmla="*/ 547507 w 1897116"/>
              <a:gd name="connsiteY52" fmla="*/ 76900 h 1087290"/>
              <a:gd name="connsiteX53" fmla="*/ 547240 w 1897116"/>
              <a:gd name="connsiteY53" fmla="*/ 75428 h 1087290"/>
              <a:gd name="connsiteX54" fmla="*/ 549543 w 1897116"/>
              <a:gd name="connsiteY54" fmla="*/ 76777 h 1087290"/>
              <a:gd name="connsiteX55" fmla="*/ 548588 w 1897116"/>
              <a:gd name="connsiteY55" fmla="*/ 77263 h 1087290"/>
              <a:gd name="connsiteX56" fmla="*/ 551118 w 1897116"/>
              <a:gd name="connsiteY56" fmla="*/ 77700 h 1087290"/>
              <a:gd name="connsiteX57" fmla="*/ 549543 w 1897116"/>
              <a:gd name="connsiteY57" fmla="*/ 76777 h 1087290"/>
              <a:gd name="connsiteX58" fmla="*/ 554619 w 1897116"/>
              <a:gd name="connsiteY58" fmla="*/ 74193 h 1087290"/>
              <a:gd name="connsiteX59" fmla="*/ 551118 w 1897116"/>
              <a:gd name="connsiteY59" fmla="*/ 77700 h 1087290"/>
              <a:gd name="connsiteX60" fmla="*/ 1338885 w 1897116"/>
              <a:gd name="connsiteY60" fmla="*/ 1022661 h 1087290"/>
              <a:gd name="connsiteX61" fmla="*/ 1341644 w 1897116"/>
              <a:gd name="connsiteY61" fmla="*/ 1021457 h 1087290"/>
              <a:gd name="connsiteX62" fmla="*/ 1342888 w 1897116"/>
              <a:gd name="connsiteY62" fmla="*/ 1021693 h 1087290"/>
              <a:gd name="connsiteX63" fmla="*/ 1338885 w 1897116"/>
              <a:gd name="connsiteY63" fmla="*/ 1022661 h 1087290"/>
              <a:gd name="connsiteX64" fmla="*/ 1335812 w 1897116"/>
              <a:gd name="connsiteY64" fmla="*/ 1024002 h 1087290"/>
              <a:gd name="connsiteX65" fmla="*/ 1336781 w 1897116"/>
              <a:gd name="connsiteY65" fmla="*/ 1023170 h 1087290"/>
              <a:gd name="connsiteX66" fmla="*/ 1338885 w 1897116"/>
              <a:gd name="connsiteY66" fmla="*/ 1022661 h 1087290"/>
              <a:gd name="connsiteX67" fmla="*/ 1335812 w 1897116"/>
              <a:gd name="connsiteY67" fmla="*/ 1024002 h 1087290"/>
              <a:gd name="connsiteX68" fmla="*/ 1847201 w 1897116"/>
              <a:gd name="connsiteY68" fmla="*/ 1034040 h 1087290"/>
              <a:gd name="connsiteX69" fmla="*/ 1846940 w 1897116"/>
              <a:gd name="connsiteY69" fmla="*/ 1034038 h 1087290"/>
              <a:gd name="connsiteX70" fmla="*/ 1846947 w 1897116"/>
              <a:gd name="connsiteY70" fmla="*/ 1033944 h 1087290"/>
              <a:gd name="connsiteX71" fmla="*/ 1847201 w 1897116"/>
              <a:gd name="connsiteY71" fmla="*/ 1034040 h 1087290"/>
              <a:gd name="connsiteX72" fmla="*/ 1848247 w 1897116"/>
              <a:gd name="connsiteY72" fmla="*/ 1034437 h 1087290"/>
              <a:gd name="connsiteX73" fmla="*/ 1847201 w 1897116"/>
              <a:gd name="connsiteY73" fmla="*/ 1034040 h 1087290"/>
              <a:gd name="connsiteX74" fmla="*/ 1847831 w 1897116"/>
              <a:gd name="connsiteY74" fmla="*/ 1034044 h 1087290"/>
              <a:gd name="connsiteX75" fmla="*/ 1848247 w 1897116"/>
              <a:gd name="connsiteY75" fmla="*/ 1034437 h 1087290"/>
              <a:gd name="connsiteX76" fmla="*/ 1750725 w 1897116"/>
              <a:gd name="connsiteY76" fmla="*/ 1042867 h 1087290"/>
              <a:gd name="connsiteX77" fmla="*/ 1748875 w 1897116"/>
              <a:gd name="connsiteY77" fmla="*/ 1042379 h 1087290"/>
              <a:gd name="connsiteX78" fmla="*/ 1749661 w 1897116"/>
              <a:gd name="connsiteY78" fmla="*/ 1041465 h 1087290"/>
              <a:gd name="connsiteX79" fmla="*/ 1750725 w 1897116"/>
              <a:gd name="connsiteY79" fmla="*/ 1042867 h 1087290"/>
              <a:gd name="connsiteX80" fmla="*/ 1753410 w 1897116"/>
              <a:gd name="connsiteY80" fmla="*/ 1043576 h 1087290"/>
              <a:gd name="connsiteX81" fmla="*/ 1750726 w 1897116"/>
              <a:gd name="connsiteY81" fmla="*/ 1043089 h 1087290"/>
              <a:gd name="connsiteX82" fmla="*/ 1750792 w 1897116"/>
              <a:gd name="connsiteY82" fmla="*/ 1042955 h 1087290"/>
              <a:gd name="connsiteX83" fmla="*/ 1750725 w 1897116"/>
              <a:gd name="connsiteY83" fmla="*/ 1042867 h 1087290"/>
              <a:gd name="connsiteX84" fmla="*/ 1753410 w 1897116"/>
              <a:gd name="connsiteY84" fmla="*/ 1043576 h 1087290"/>
              <a:gd name="connsiteX85" fmla="*/ 1729333 w 1897116"/>
              <a:gd name="connsiteY85" fmla="*/ 1044453 h 1087290"/>
              <a:gd name="connsiteX86" fmla="*/ 1728928 w 1897116"/>
              <a:gd name="connsiteY86" fmla="*/ 1043528 h 1087290"/>
              <a:gd name="connsiteX87" fmla="*/ 1728950 w 1897116"/>
              <a:gd name="connsiteY87" fmla="*/ 1043524 h 1087290"/>
              <a:gd name="connsiteX88" fmla="*/ 1729333 w 1897116"/>
              <a:gd name="connsiteY88" fmla="*/ 1044453 h 1087290"/>
              <a:gd name="connsiteX89" fmla="*/ 1531343 w 1897116"/>
              <a:gd name="connsiteY89" fmla="*/ 1046853 h 1087290"/>
              <a:gd name="connsiteX90" fmla="*/ 1531379 w 1897116"/>
              <a:gd name="connsiteY90" fmla="*/ 1043388 h 1087290"/>
              <a:gd name="connsiteX91" fmla="*/ 1532058 w 1897116"/>
              <a:gd name="connsiteY91" fmla="*/ 1045420 h 1087290"/>
              <a:gd name="connsiteX92" fmla="*/ 1531343 w 1897116"/>
              <a:gd name="connsiteY92" fmla="*/ 1046853 h 1087290"/>
              <a:gd name="connsiteX93" fmla="*/ 1772469 w 1897116"/>
              <a:gd name="connsiteY93" fmla="*/ 1050640 h 1087290"/>
              <a:gd name="connsiteX94" fmla="*/ 1770766 w 1897116"/>
              <a:gd name="connsiteY94" fmla="*/ 1050379 h 1087290"/>
              <a:gd name="connsiteX95" fmla="*/ 1771020 w 1897116"/>
              <a:gd name="connsiteY95" fmla="*/ 1049962 h 1087290"/>
              <a:gd name="connsiteX96" fmla="*/ 1772316 w 1897116"/>
              <a:gd name="connsiteY96" fmla="*/ 1049944 h 1087290"/>
              <a:gd name="connsiteX97" fmla="*/ 1772469 w 1897116"/>
              <a:gd name="connsiteY97" fmla="*/ 1050640 h 1087290"/>
              <a:gd name="connsiteX98" fmla="*/ 1577023 w 1897116"/>
              <a:gd name="connsiteY98" fmla="*/ 1051808 h 1087290"/>
              <a:gd name="connsiteX99" fmla="*/ 1576749 w 1897116"/>
              <a:gd name="connsiteY99" fmla="*/ 1051794 h 1087290"/>
              <a:gd name="connsiteX100" fmla="*/ 1572652 w 1897116"/>
              <a:gd name="connsiteY100" fmla="*/ 1051002 h 1087290"/>
              <a:gd name="connsiteX101" fmla="*/ 1577023 w 1897116"/>
              <a:gd name="connsiteY101" fmla="*/ 1051808 h 1087290"/>
              <a:gd name="connsiteX102" fmla="*/ 1579093 w 1897116"/>
              <a:gd name="connsiteY102" fmla="*/ 1052189 h 1087290"/>
              <a:gd name="connsiteX103" fmla="*/ 1577023 w 1897116"/>
              <a:gd name="connsiteY103" fmla="*/ 1051808 h 1087290"/>
              <a:gd name="connsiteX104" fmla="*/ 1578305 w 1897116"/>
              <a:gd name="connsiteY104" fmla="*/ 1051874 h 1087290"/>
              <a:gd name="connsiteX105" fmla="*/ 1579093 w 1897116"/>
              <a:gd name="connsiteY105" fmla="*/ 1052189 h 1087290"/>
              <a:gd name="connsiteX106" fmla="*/ 1769347 w 1897116"/>
              <a:gd name="connsiteY106" fmla="*/ 1052704 h 1087290"/>
              <a:gd name="connsiteX107" fmla="*/ 1767327 w 1897116"/>
              <a:gd name="connsiteY107" fmla="*/ 1050013 h 1087290"/>
              <a:gd name="connsiteX108" fmla="*/ 1768300 w 1897116"/>
              <a:gd name="connsiteY108" fmla="*/ 1049999 h 1087290"/>
              <a:gd name="connsiteX109" fmla="*/ 1770766 w 1897116"/>
              <a:gd name="connsiteY109" fmla="*/ 1050379 h 1087290"/>
              <a:gd name="connsiteX110" fmla="*/ 1769347 w 1897116"/>
              <a:gd name="connsiteY110" fmla="*/ 1052704 h 1087290"/>
              <a:gd name="connsiteX111" fmla="*/ 1586399 w 1897116"/>
              <a:gd name="connsiteY111" fmla="*/ 1054274 h 1087290"/>
              <a:gd name="connsiteX112" fmla="*/ 1584764 w 1897116"/>
              <a:gd name="connsiteY112" fmla="*/ 1052756 h 1087290"/>
              <a:gd name="connsiteX113" fmla="*/ 1586403 w 1897116"/>
              <a:gd name="connsiteY113" fmla="*/ 1053077 h 1087290"/>
              <a:gd name="connsiteX114" fmla="*/ 1586399 w 1897116"/>
              <a:gd name="connsiteY114" fmla="*/ 1054274 h 1087290"/>
              <a:gd name="connsiteX115" fmla="*/ 1532200 w 1897116"/>
              <a:gd name="connsiteY115" fmla="*/ 1066192 h 1087290"/>
              <a:gd name="connsiteX116" fmla="*/ 1535753 w 1897116"/>
              <a:gd name="connsiteY116" fmla="*/ 1064310 h 1087290"/>
              <a:gd name="connsiteX117" fmla="*/ 1536198 w 1897116"/>
              <a:gd name="connsiteY117" fmla="*/ 1065275 h 1087290"/>
              <a:gd name="connsiteX118" fmla="*/ 1532200 w 1897116"/>
              <a:gd name="connsiteY118" fmla="*/ 1066192 h 1087290"/>
              <a:gd name="connsiteX119" fmla="*/ 1184015 w 1897116"/>
              <a:gd name="connsiteY119" fmla="*/ 1086520 h 1087290"/>
              <a:gd name="connsiteX120" fmla="*/ 1182000 w 1897116"/>
              <a:gd name="connsiteY120" fmla="*/ 1086397 h 1087290"/>
              <a:gd name="connsiteX121" fmla="*/ 1180598 w 1897116"/>
              <a:gd name="connsiteY121" fmla="*/ 1084050 h 1087290"/>
              <a:gd name="connsiteX122" fmla="*/ 1175691 w 1897116"/>
              <a:gd name="connsiteY122" fmla="*/ 1077637 h 1087290"/>
              <a:gd name="connsiteX123" fmla="*/ 1173763 w 1897116"/>
              <a:gd name="connsiteY123" fmla="*/ 1074880 h 1087290"/>
              <a:gd name="connsiteX124" fmla="*/ 1168067 w 1897116"/>
              <a:gd name="connsiteY124" fmla="*/ 1070460 h 1087290"/>
              <a:gd name="connsiteX125" fmla="*/ 1165876 w 1897116"/>
              <a:gd name="connsiteY125" fmla="*/ 1071851 h 1087290"/>
              <a:gd name="connsiteX126" fmla="*/ 1161582 w 1897116"/>
              <a:gd name="connsiteY126" fmla="*/ 1065547 h 1087290"/>
              <a:gd name="connsiteX127" fmla="*/ 1156675 w 1897116"/>
              <a:gd name="connsiteY127" fmla="*/ 1062900 h 1087290"/>
              <a:gd name="connsiteX128" fmla="*/ 1153082 w 1897116"/>
              <a:gd name="connsiteY128" fmla="*/ 1063883 h 1087290"/>
              <a:gd name="connsiteX129" fmla="*/ 1145984 w 1897116"/>
              <a:gd name="connsiteY129" fmla="*/ 1059244 h 1087290"/>
              <a:gd name="connsiteX130" fmla="*/ 1145283 w 1897116"/>
              <a:gd name="connsiteY130" fmla="*/ 1059953 h 1087290"/>
              <a:gd name="connsiteX131" fmla="*/ 1147649 w 1897116"/>
              <a:gd name="connsiteY131" fmla="*/ 1061863 h 1087290"/>
              <a:gd name="connsiteX132" fmla="*/ 1142742 w 1897116"/>
              <a:gd name="connsiteY132" fmla="*/ 1064183 h 1087290"/>
              <a:gd name="connsiteX133" fmla="*/ 1135293 w 1897116"/>
              <a:gd name="connsiteY133" fmla="*/ 1067267 h 1087290"/>
              <a:gd name="connsiteX134" fmla="*/ 1131964 w 1897116"/>
              <a:gd name="connsiteY134" fmla="*/ 1066912 h 1087290"/>
              <a:gd name="connsiteX135" fmla="*/ 1130649 w 1897116"/>
              <a:gd name="connsiteY135" fmla="*/ 1068986 h 1087290"/>
              <a:gd name="connsiteX136" fmla="*/ 1128020 w 1897116"/>
              <a:gd name="connsiteY136" fmla="*/ 1065711 h 1087290"/>
              <a:gd name="connsiteX137" fmla="*/ 1125128 w 1897116"/>
              <a:gd name="connsiteY137" fmla="*/ 1059899 h 1087290"/>
              <a:gd name="connsiteX138" fmla="*/ 1123376 w 1897116"/>
              <a:gd name="connsiteY138" fmla="*/ 1056105 h 1087290"/>
              <a:gd name="connsiteX139" fmla="*/ 1121623 w 1897116"/>
              <a:gd name="connsiteY139" fmla="*/ 1058070 h 1087290"/>
              <a:gd name="connsiteX140" fmla="*/ 1120572 w 1897116"/>
              <a:gd name="connsiteY140" fmla="*/ 1054905 h 1087290"/>
              <a:gd name="connsiteX141" fmla="*/ 1120835 w 1897116"/>
              <a:gd name="connsiteY141" fmla="*/ 1050129 h 1087290"/>
              <a:gd name="connsiteX142" fmla="*/ 1118118 w 1897116"/>
              <a:gd name="connsiteY142" fmla="*/ 1046363 h 1087290"/>
              <a:gd name="connsiteX143" fmla="*/ 1114701 w 1897116"/>
              <a:gd name="connsiteY143" fmla="*/ 1049938 h 1087290"/>
              <a:gd name="connsiteX144" fmla="*/ 1106902 w 1897116"/>
              <a:gd name="connsiteY144" fmla="*/ 1050729 h 1087290"/>
              <a:gd name="connsiteX145" fmla="*/ 1102082 w 1897116"/>
              <a:gd name="connsiteY145" fmla="*/ 1047700 h 1087290"/>
              <a:gd name="connsiteX146" fmla="*/ 1097438 w 1897116"/>
              <a:gd name="connsiteY146" fmla="*/ 1052749 h 1087290"/>
              <a:gd name="connsiteX147" fmla="*/ 1088499 w 1897116"/>
              <a:gd name="connsiteY147" fmla="*/ 1054686 h 1087290"/>
              <a:gd name="connsiteX148" fmla="*/ 1079649 w 1897116"/>
              <a:gd name="connsiteY148" fmla="*/ 1055832 h 1087290"/>
              <a:gd name="connsiteX149" fmla="*/ 1078334 w 1897116"/>
              <a:gd name="connsiteY149" fmla="*/ 1055641 h 1087290"/>
              <a:gd name="connsiteX150" fmla="*/ 1082803 w 1897116"/>
              <a:gd name="connsiteY150" fmla="*/ 1048628 h 1087290"/>
              <a:gd name="connsiteX151" fmla="*/ 1086133 w 1897116"/>
              <a:gd name="connsiteY151" fmla="*/ 1043061 h 1087290"/>
              <a:gd name="connsiteX152" fmla="*/ 1089551 w 1897116"/>
              <a:gd name="connsiteY152" fmla="*/ 1036702 h 1087290"/>
              <a:gd name="connsiteX153" fmla="*/ 1081840 w 1897116"/>
              <a:gd name="connsiteY153" fmla="*/ 1037112 h 1087290"/>
              <a:gd name="connsiteX154" fmla="*/ 1074128 w 1897116"/>
              <a:gd name="connsiteY154" fmla="*/ 1037466 h 1087290"/>
              <a:gd name="connsiteX155" fmla="*/ 1066943 w 1897116"/>
              <a:gd name="connsiteY155" fmla="*/ 1040769 h 1087290"/>
              <a:gd name="connsiteX156" fmla="*/ 1060633 w 1897116"/>
              <a:gd name="connsiteY156" fmla="*/ 1039131 h 1087290"/>
              <a:gd name="connsiteX157" fmla="*/ 1051257 w 1897116"/>
              <a:gd name="connsiteY157" fmla="*/ 1041314 h 1087290"/>
              <a:gd name="connsiteX158" fmla="*/ 1047752 w 1897116"/>
              <a:gd name="connsiteY158" fmla="*/ 1042188 h 1087290"/>
              <a:gd name="connsiteX159" fmla="*/ 1042056 w 1897116"/>
              <a:gd name="connsiteY159" fmla="*/ 1043852 h 1087290"/>
              <a:gd name="connsiteX160" fmla="*/ 1035221 w 1897116"/>
              <a:gd name="connsiteY160" fmla="*/ 1045954 h 1087290"/>
              <a:gd name="connsiteX161" fmla="*/ 1027422 w 1897116"/>
              <a:gd name="connsiteY161" fmla="*/ 1048710 h 1087290"/>
              <a:gd name="connsiteX162" fmla="*/ 1024618 w 1897116"/>
              <a:gd name="connsiteY162" fmla="*/ 1049119 h 1087290"/>
              <a:gd name="connsiteX163" fmla="*/ 1019360 w 1897116"/>
              <a:gd name="connsiteY163" fmla="*/ 1051548 h 1087290"/>
              <a:gd name="connsiteX164" fmla="*/ 1014277 w 1897116"/>
              <a:gd name="connsiteY164" fmla="*/ 1051684 h 1087290"/>
              <a:gd name="connsiteX165" fmla="*/ 1007880 w 1897116"/>
              <a:gd name="connsiteY165" fmla="*/ 1050702 h 1087290"/>
              <a:gd name="connsiteX166" fmla="*/ 1009107 w 1897116"/>
              <a:gd name="connsiteY166" fmla="*/ 1050565 h 1087290"/>
              <a:gd name="connsiteX167" fmla="*/ 1008231 w 1897116"/>
              <a:gd name="connsiteY167" fmla="*/ 1044726 h 1087290"/>
              <a:gd name="connsiteX168" fmla="*/ 1011736 w 1897116"/>
              <a:gd name="connsiteY168" fmla="*/ 1038667 h 1087290"/>
              <a:gd name="connsiteX169" fmla="*/ 1011813 w 1897116"/>
              <a:gd name="connsiteY169" fmla="*/ 1037202 h 1087290"/>
              <a:gd name="connsiteX170" fmla="*/ 1012349 w 1897116"/>
              <a:gd name="connsiteY170" fmla="*/ 1036402 h 1087290"/>
              <a:gd name="connsiteX171" fmla="*/ 1011911 w 1897116"/>
              <a:gd name="connsiteY171" fmla="*/ 1035345 h 1087290"/>
              <a:gd name="connsiteX172" fmla="*/ 1011813 w 1897116"/>
              <a:gd name="connsiteY172" fmla="*/ 1037202 h 1087290"/>
              <a:gd name="connsiteX173" fmla="*/ 1010246 w 1897116"/>
              <a:gd name="connsiteY173" fmla="*/ 1039540 h 1087290"/>
              <a:gd name="connsiteX174" fmla="*/ 1001396 w 1897116"/>
              <a:gd name="connsiteY174" fmla="*/ 1041069 h 1087290"/>
              <a:gd name="connsiteX175" fmla="*/ 994648 w 1897116"/>
              <a:gd name="connsiteY175" fmla="*/ 1044043 h 1087290"/>
              <a:gd name="connsiteX176" fmla="*/ 990442 w 1897116"/>
              <a:gd name="connsiteY176" fmla="*/ 1045735 h 1087290"/>
              <a:gd name="connsiteX177" fmla="*/ 985272 w 1897116"/>
              <a:gd name="connsiteY177" fmla="*/ 1044180 h 1087290"/>
              <a:gd name="connsiteX178" fmla="*/ 982818 w 1897116"/>
              <a:gd name="connsiteY178" fmla="*/ 1048028 h 1087290"/>
              <a:gd name="connsiteX179" fmla="*/ 981416 w 1897116"/>
              <a:gd name="connsiteY179" fmla="*/ 1042815 h 1087290"/>
              <a:gd name="connsiteX180" fmla="*/ 980102 w 1897116"/>
              <a:gd name="connsiteY180" fmla="*/ 1037603 h 1087290"/>
              <a:gd name="connsiteX181" fmla="*/ 978437 w 1897116"/>
              <a:gd name="connsiteY181" fmla="*/ 1036593 h 1087290"/>
              <a:gd name="connsiteX182" fmla="*/ 980628 w 1897116"/>
              <a:gd name="connsiteY182" fmla="*/ 1029853 h 1087290"/>
              <a:gd name="connsiteX183" fmla="*/ 980102 w 1897116"/>
              <a:gd name="connsiteY183" fmla="*/ 1024368 h 1087290"/>
              <a:gd name="connsiteX184" fmla="*/ 977385 w 1897116"/>
              <a:gd name="connsiteY184" fmla="*/ 1019401 h 1087290"/>
              <a:gd name="connsiteX185" fmla="*/ 979839 w 1897116"/>
              <a:gd name="connsiteY185" fmla="*/ 1019264 h 1087290"/>
              <a:gd name="connsiteX186" fmla="*/ 979576 w 1897116"/>
              <a:gd name="connsiteY186" fmla="*/ 1018855 h 1087290"/>
              <a:gd name="connsiteX187" fmla="*/ 977385 w 1897116"/>
              <a:gd name="connsiteY187" fmla="*/ 1019401 h 1087290"/>
              <a:gd name="connsiteX188" fmla="*/ 973705 w 1897116"/>
              <a:gd name="connsiteY188" fmla="*/ 1021147 h 1087290"/>
              <a:gd name="connsiteX189" fmla="*/ 966957 w 1897116"/>
              <a:gd name="connsiteY189" fmla="*/ 1024122 h 1087290"/>
              <a:gd name="connsiteX190" fmla="*/ 966519 w 1897116"/>
              <a:gd name="connsiteY190" fmla="*/ 1024040 h 1087290"/>
              <a:gd name="connsiteX191" fmla="*/ 960823 w 1897116"/>
              <a:gd name="connsiteY191" fmla="*/ 1025241 h 1087290"/>
              <a:gd name="connsiteX192" fmla="*/ 954602 w 1897116"/>
              <a:gd name="connsiteY192" fmla="*/ 1025759 h 1087290"/>
              <a:gd name="connsiteX193" fmla="*/ 949169 w 1897116"/>
              <a:gd name="connsiteY193" fmla="*/ 1024531 h 1087290"/>
              <a:gd name="connsiteX194" fmla="*/ 943385 w 1897116"/>
              <a:gd name="connsiteY194" fmla="*/ 1022375 h 1087290"/>
              <a:gd name="connsiteX195" fmla="*/ 934184 w 1897116"/>
              <a:gd name="connsiteY195" fmla="*/ 1019101 h 1087290"/>
              <a:gd name="connsiteX196" fmla="*/ 926823 w 1897116"/>
              <a:gd name="connsiteY196" fmla="*/ 1018118 h 1087290"/>
              <a:gd name="connsiteX197" fmla="*/ 924369 w 1897116"/>
              <a:gd name="connsiteY197" fmla="*/ 1016263 h 1087290"/>
              <a:gd name="connsiteX198" fmla="*/ 920514 w 1897116"/>
              <a:gd name="connsiteY198" fmla="*/ 1009959 h 1087290"/>
              <a:gd name="connsiteX199" fmla="*/ 915431 w 1897116"/>
              <a:gd name="connsiteY199" fmla="*/ 1011923 h 1087290"/>
              <a:gd name="connsiteX200" fmla="*/ 909472 w 1897116"/>
              <a:gd name="connsiteY200" fmla="*/ 1014680 h 1087290"/>
              <a:gd name="connsiteX201" fmla="*/ 904478 w 1897116"/>
              <a:gd name="connsiteY201" fmla="*/ 1017081 h 1087290"/>
              <a:gd name="connsiteX202" fmla="*/ 898957 w 1897116"/>
              <a:gd name="connsiteY202" fmla="*/ 1018418 h 1087290"/>
              <a:gd name="connsiteX203" fmla="*/ 895978 w 1897116"/>
              <a:gd name="connsiteY203" fmla="*/ 1020192 h 1087290"/>
              <a:gd name="connsiteX204" fmla="*/ 887127 w 1897116"/>
              <a:gd name="connsiteY204" fmla="*/ 1023713 h 1087290"/>
              <a:gd name="connsiteX205" fmla="*/ 878189 w 1897116"/>
              <a:gd name="connsiteY205" fmla="*/ 1026305 h 1087290"/>
              <a:gd name="connsiteX206" fmla="*/ 875297 w 1897116"/>
              <a:gd name="connsiteY206" fmla="*/ 1029880 h 1087290"/>
              <a:gd name="connsiteX207" fmla="*/ 867586 w 1897116"/>
              <a:gd name="connsiteY207" fmla="*/ 1035611 h 1087290"/>
              <a:gd name="connsiteX208" fmla="*/ 863467 w 1897116"/>
              <a:gd name="connsiteY208" fmla="*/ 1037275 h 1087290"/>
              <a:gd name="connsiteX209" fmla="*/ 858998 w 1897116"/>
              <a:gd name="connsiteY209" fmla="*/ 1040550 h 1087290"/>
              <a:gd name="connsiteX210" fmla="*/ 854792 w 1897116"/>
              <a:gd name="connsiteY210" fmla="*/ 1044016 h 1087290"/>
              <a:gd name="connsiteX211" fmla="*/ 848395 w 1897116"/>
              <a:gd name="connsiteY211" fmla="*/ 1049201 h 1087290"/>
              <a:gd name="connsiteX212" fmla="*/ 841910 w 1897116"/>
              <a:gd name="connsiteY212" fmla="*/ 1049065 h 1087290"/>
              <a:gd name="connsiteX213" fmla="*/ 841910 w 1897116"/>
              <a:gd name="connsiteY213" fmla="*/ 1052885 h 1087290"/>
              <a:gd name="connsiteX214" fmla="*/ 837091 w 1897116"/>
              <a:gd name="connsiteY214" fmla="*/ 1053649 h 1087290"/>
              <a:gd name="connsiteX215" fmla="*/ 831132 w 1897116"/>
              <a:gd name="connsiteY215" fmla="*/ 1053485 h 1087290"/>
              <a:gd name="connsiteX216" fmla="*/ 822807 w 1897116"/>
              <a:gd name="connsiteY216" fmla="*/ 1053294 h 1087290"/>
              <a:gd name="connsiteX217" fmla="*/ 813869 w 1897116"/>
              <a:gd name="connsiteY217" fmla="*/ 1054877 h 1087290"/>
              <a:gd name="connsiteX218" fmla="*/ 806070 w 1897116"/>
              <a:gd name="connsiteY218" fmla="*/ 1058862 h 1087290"/>
              <a:gd name="connsiteX219" fmla="*/ 800637 w 1897116"/>
              <a:gd name="connsiteY219" fmla="*/ 1063855 h 1087290"/>
              <a:gd name="connsiteX220" fmla="*/ 800111 w 1897116"/>
              <a:gd name="connsiteY220" fmla="*/ 1069832 h 1087290"/>
              <a:gd name="connsiteX221" fmla="*/ 797482 w 1897116"/>
              <a:gd name="connsiteY221" fmla="*/ 1070159 h 1087290"/>
              <a:gd name="connsiteX222" fmla="*/ 796431 w 1897116"/>
              <a:gd name="connsiteY222" fmla="*/ 1073107 h 1087290"/>
              <a:gd name="connsiteX223" fmla="*/ 796343 w 1897116"/>
              <a:gd name="connsiteY223" fmla="*/ 1074362 h 1087290"/>
              <a:gd name="connsiteX224" fmla="*/ 795379 w 1897116"/>
              <a:gd name="connsiteY224" fmla="*/ 1076081 h 1087290"/>
              <a:gd name="connsiteX225" fmla="*/ 795116 w 1897116"/>
              <a:gd name="connsiteY225" fmla="*/ 1076272 h 1087290"/>
              <a:gd name="connsiteX226" fmla="*/ 794941 w 1897116"/>
              <a:gd name="connsiteY226" fmla="*/ 1076818 h 1087290"/>
              <a:gd name="connsiteX227" fmla="*/ 794766 w 1897116"/>
              <a:gd name="connsiteY227" fmla="*/ 1077391 h 1087290"/>
              <a:gd name="connsiteX228" fmla="*/ 788631 w 1897116"/>
              <a:gd name="connsiteY228" fmla="*/ 1073598 h 1087290"/>
              <a:gd name="connsiteX229" fmla="*/ 782059 w 1897116"/>
              <a:gd name="connsiteY229" fmla="*/ 1071169 h 1087290"/>
              <a:gd name="connsiteX230" fmla="*/ 776977 w 1897116"/>
              <a:gd name="connsiteY230" fmla="*/ 1068331 h 1087290"/>
              <a:gd name="connsiteX231" fmla="*/ 771368 w 1897116"/>
              <a:gd name="connsiteY231" fmla="*/ 1067785 h 1087290"/>
              <a:gd name="connsiteX232" fmla="*/ 770667 w 1897116"/>
              <a:gd name="connsiteY232" fmla="*/ 1070432 h 1087290"/>
              <a:gd name="connsiteX233" fmla="*/ 771631 w 1897116"/>
              <a:gd name="connsiteY233" fmla="*/ 1072561 h 1087290"/>
              <a:gd name="connsiteX234" fmla="*/ 765234 w 1897116"/>
              <a:gd name="connsiteY234" fmla="*/ 1072861 h 1087290"/>
              <a:gd name="connsiteX235" fmla="*/ 764533 w 1897116"/>
              <a:gd name="connsiteY235" fmla="*/ 1072206 h 1087290"/>
              <a:gd name="connsiteX236" fmla="*/ 765234 w 1897116"/>
              <a:gd name="connsiteY236" fmla="*/ 1072861 h 1087290"/>
              <a:gd name="connsiteX237" fmla="*/ 763219 w 1897116"/>
              <a:gd name="connsiteY237" fmla="*/ 1072670 h 1087290"/>
              <a:gd name="connsiteX238" fmla="*/ 762781 w 1897116"/>
              <a:gd name="connsiteY238" fmla="*/ 1072561 h 1087290"/>
              <a:gd name="connsiteX239" fmla="*/ 763131 w 1897116"/>
              <a:gd name="connsiteY239" fmla="*/ 1071333 h 1087290"/>
              <a:gd name="connsiteX240" fmla="*/ 762781 w 1897116"/>
              <a:gd name="connsiteY240" fmla="*/ 1072561 h 1087290"/>
              <a:gd name="connsiteX241" fmla="*/ 757961 w 1897116"/>
              <a:gd name="connsiteY241" fmla="*/ 1070623 h 1087290"/>
              <a:gd name="connsiteX242" fmla="*/ 764008 w 1897116"/>
              <a:gd name="connsiteY242" fmla="*/ 1068195 h 1087290"/>
              <a:gd name="connsiteX243" fmla="*/ 766286 w 1897116"/>
              <a:gd name="connsiteY243" fmla="*/ 1064183 h 1087290"/>
              <a:gd name="connsiteX244" fmla="*/ 766286 w 1897116"/>
              <a:gd name="connsiteY244" fmla="*/ 1058807 h 1087290"/>
              <a:gd name="connsiteX245" fmla="*/ 769704 w 1897116"/>
              <a:gd name="connsiteY245" fmla="*/ 1055559 h 1087290"/>
              <a:gd name="connsiteX246" fmla="*/ 769616 w 1897116"/>
              <a:gd name="connsiteY246" fmla="*/ 1052176 h 1087290"/>
              <a:gd name="connsiteX247" fmla="*/ 773296 w 1897116"/>
              <a:gd name="connsiteY247" fmla="*/ 1051302 h 1087290"/>
              <a:gd name="connsiteX248" fmla="*/ 769528 w 1897116"/>
              <a:gd name="connsiteY248" fmla="*/ 1046308 h 1087290"/>
              <a:gd name="connsiteX249" fmla="*/ 765935 w 1897116"/>
              <a:gd name="connsiteY249" fmla="*/ 1048846 h 1087290"/>
              <a:gd name="connsiteX250" fmla="*/ 759889 w 1897116"/>
              <a:gd name="connsiteY250" fmla="*/ 1051630 h 1087290"/>
              <a:gd name="connsiteX251" fmla="*/ 758750 w 1897116"/>
              <a:gd name="connsiteY251" fmla="*/ 1055150 h 1087290"/>
              <a:gd name="connsiteX252" fmla="*/ 757260 w 1897116"/>
              <a:gd name="connsiteY252" fmla="*/ 1058452 h 1087290"/>
              <a:gd name="connsiteX253" fmla="*/ 752441 w 1897116"/>
              <a:gd name="connsiteY253" fmla="*/ 1061618 h 1087290"/>
              <a:gd name="connsiteX254" fmla="*/ 747971 w 1897116"/>
              <a:gd name="connsiteY254" fmla="*/ 1064047 h 1087290"/>
              <a:gd name="connsiteX255" fmla="*/ 742626 w 1897116"/>
              <a:gd name="connsiteY255" fmla="*/ 1067540 h 1087290"/>
              <a:gd name="connsiteX256" fmla="*/ 738157 w 1897116"/>
              <a:gd name="connsiteY256" fmla="*/ 1070623 h 1087290"/>
              <a:gd name="connsiteX257" fmla="*/ 734126 w 1897116"/>
              <a:gd name="connsiteY257" fmla="*/ 1074253 h 1087290"/>
              <a:gd name="connsiteX258" fmla="*/ 733425 w 1897116"/>
              <a:gd name="connsiteY258" fmla="*/ 1071769 h 1087290"/>
              <a:gd name="connsiteX259" fmla="*/ 734564 w 1897116"/>
              <a:gd name="connsiteY259" fmla="*/ 1071633 h 1087290"/>
              <a:gd name="connsiteX260" fmla="*/ 733425 w 1897116"/>
              <a:gd name="connsiteY260" fmla="*/ 1071769 h 1087290"/>
              <a:gd name="connsiteX261" fmla="*/ 733425 w 1897116"/>
              <a:gd name="connsiteY261" fmla="*/ 1069914 h 1087290"/>
              <a:gd name="connsiteX262" fmla="*/ 729745 w 1897116"/>
              <a:gd name="connsiteY262" fmla="*/ 1065138 h 1087290"/>
              <a:gd name="connsiteX263" fmla="*/ 721770 w 1897116"/>
              <a:gd name="connsiteY263" fmla="*/ 1061563 h 1087290"/>
              <a:gd name="connsiteX264" fmla="*/ 712744 w 1897116"/>
              <a:gd name="connsiteY264" fmla="*/ 1061781 h 1087290"/>
              <a:gd name="connsiteX265" fmla="*/ 705559 w 1897116"/>
              <a:gd name="connsiteY265" fmla="*/ 1063446 h 1087290"/>
              <a:gd name="connsiteX266" fmla="*/ 701265 w 1897116"/>
              <a:gd name="connsiteY266" fmla="*/ 1067512 h 1087290"/>
              <a:gd name="connsiteX267" fmla="*/ 691976 w 1897116"/>
              <a:gd name="connsiteY267" fmla="*/ 1069859 h 1087290"/>
              <a:gd name="connsiteX268" fmla="*/ 684878 w 1897116"/>
              <a:gd name="connsiteY268" fmla="*/ 1073571 h 1087290"/>
              <a:gd name="connsiteX269" fmla="*/ 678131 w 1897116"/>
              <a:gd name="connsiteY269" fmla="*/ 1075972 h 1087290"/>
              <a:gd name="connsiteX270" fmla="*/ 677956 w 1897116"/>
              <a:gd name="connsiteY270" fmla="*/ 1069996 h 1087290"/>
              <a:gd name="connsiteX271" fmla="*/ 680234 w 1897116"/>
              <a:gd name="connsiteY271" fmla="*/ 1062627 h 1087290"/>
              <a:gd name="connsiteX272" fmla="*/ 682950 w 1897116"/>
              <a:gd name="connsiteY272" fmla="*/ 1056405 h 1087290"/>
              <a:gd name="connsiteX273" fmla="*/ 684352 w 1897116"/>
              <a:gd name="connsiteY273" fmla="*/ 1048928 h 1087290"/>
              <a:gd name="connsiteX274" fmla="*/ 686631 w 1897116"/>
              <a:gd name="connsiteY274" fmla="*/ 1041560 h 1087290"/>
              <a:gd name="connsiteX275" fmla="*/ 680409 w 1897116"/>
              <a:gd name="connsiteY275" fmla="*/ 1047018 h 1087290"/>
              <a:gd name="connsiteX276" fmla="*/ 674538 w 1897116"/>
              <a:gd name="connsiteY276" fmla="*/ 1052285 h 1087290"/>
              <a:gd name="connsiteX277" fmla="*/ 668842 w 1897116"/>
              <a:gd name="connsiteY277" fmla="*/ 1057115 h 1087290"/>
              <a:gd name="connsiteX278" fmla="*/ 662620 w 1897116"/>
              <a:gd name="connsiteY278" fmla="*/ 1062573 h 1087290"/>
              <a:gd name="connsiteX279" fmla="*/ 655610 w 1897116"/>
              <a:gd name="connsiteY279" fmla="*/ 1068004 h 1087290"/>
              <a:gd name="connsiteX280" fmla="*/ 651754 w 1897116"/>
              <a:gd name="connsiteY280" fmla="*/ 1069368 h 1087290"/>
              <a:gd name="connsiteX281" fmla="*/ 650002 w 1897116"/>
              <a:gd name="connsiteY281" fmla="*/ 1067430 h 1087290"/>
              <a:gd name="connsiteX282" fmla="*/ 651667 w 1897116"/>
              <a:gd name="connsiteY282" fmla="*/ 1062627 h 1087290"/>
              <a:gd name="connsiteX283" fmla="*/ 642378 w 1897116"/>
              <a:gd name="connsiteY283" fmla="*/ 1066448 h 1087290"/>
              <a:gd name="connsiteX284" fmla="*/ 633089 w 1897116"/>
              <a:gd name="connsiteY284" fmla="*/ 1070296 h 1087290"/>
              <a:gd name="connsiteX285" fmla="*/ 625816 w 1897116"/>
              <a:gd name="connsiteY285" fmla="*/ 1073598 h 1087290"/>
              <a:gd name="connsiteX286" fmla="*/ 620120 w 1897116"/>
              <a:gd name="connsiteY286" fmla="*/ 1075972 h 1087290"/>
              <a:gd name="connsiteX287" fmla="*/ 614599 w 1897116"/>
              <a:gd name="connsiteY287" fmla="*/ 1078183 h 1087290"/>
              <a:gd name="connsiteX288" fmla="*/ 607764 w 1897116"/>
              <a:gd name="connsiteY288" fmla="*/ 1077609 h 1087290"/>
              <a:gd name="connsiteX289" fmla="*/ 600929 w 1897116"/>
              <a:gd name="connsiteY289" fmla="*/ 1077036 h 1087290"/>
              <a:gd name="connsiteX290" fmla="*/ 594883 w 1897116"/>
              <a:gd name="connsiteY290" fmla="*/ 1076654 h 1087290"/>
              <a:gd name="connsiteX291" fmla="*/ 588398 w 1897116"/>
              <a:gd name="connsiteY291" fmla="*/ 1076354 h 1087290"/>
              <a:gd name="connsiteX292" fmla="*/ 579460 w 1897116"/>
              <a:gd name="connsiteY292" fmla="*/ 1075917 h 1087290"/>
              <a:gd name="connsiteX293" fmla="*/ 577006 w 1897116"/>
              <a:gd name="connsiteY293" fmla="*/ 1073652 h 1087290"/>
              <a:gd name="connsiteX294" fmla="*/ 572537 w 1897116"/>
              <a:gd name="connsiteY294" fmla="*/ 1074717 h 1087290"/>
              <a:gd name="connsiteX295" fmla="*/ 577357 w 1897116"/>
              <a:gd name="connsiteY295" fmla="*/ 1070432 h 1087290"/>
              <a:gd name="connsiteX296" fmla="*/ 582878 w 1897116"/>
              <a:gd name="connsiteY296" fmla="*/ 1066721 h 1087290"/>
              <a:gd name="connsiteX297" fmla="*/ 581037 w 1897116"/>
              <a:gd name="connsiteY297" fmla="*/ 1066475 h 1087290"/>
              <a:gd name="connsiteX298" fmla="*/ 572274 w 1897116"/>
              <a:gd name="connsiteY298" fmla="*/ 1065220 h 1087290"/>
              <a:gd name="connsiteX299" fmla="*/ 564563 w 1897116"/>
              <a:gd name="connsiteY299" fmla="*/ 1067840 h 1087290"/>
              <a:gd name="connsiteX300" fmla="*/ 560532 w 1897116"/>
              <a:gd name="connsiteY300" fmla="*/ 1064756 h 1087290"/>
              <a:gd name="connsiteX301" fmla="*/ 547037 w 1897116"/>
              <a:gd name="connsiteY301" fmla="*/ 1064811 h 1087290"/>
              <a:gd name="connsiteX302" fmla="*/ 533630 w 1897116"/>
              <a:gd name="connsiteY302" fmla="*/ 1065657 h 1087290"/>
              <a:gd name="connsiteX303" fmla="*/ 528109 w 1897116"/>
              <a:gd name="connsiteY303" fmla="*/ 1066039 h 1087290"/>
              <a:gd name="connsiteX304" fmla="*/ 522676 w 1897116"/>
              <a:gd name="connsiteY304" fmla="*/ 1067076 h 1087290"/>
              <a:gd name="connsiteX305" fmla="*/ 524604 w 1897116"/>
              <a:gd name="connsiteY305" fmla="*/ 1064483 h 1087290"/>
              <a:gd name="connsiteX306" fmla="*/ 531614 w 1897116"/>
              <a:gd name="connsiteY306" fmla="*/ 1059626 h 1087290"/>
              <a:gd name="connsiteX307" fmla="*/ 537748 w 1897116"/>
              <a:gd name="connsiteY307" fmla="*/ 1055014 h 1087290"/>
              <a:gd name="connsiteX308" fmla="*/ 537924 w 1897116"/>
              <a:gd name="connsiteY308" fmla="*/ 1054386 h 1087290"/>
              <a:gd name="connsiteX309" fmla="*/ 536346 w 1897116"/>
              <a:gd name="connsiteY309" fmla="*/ 1053213 h 1087290"/>
              <a:gd name="connsiteX310" fmla="*/ 526795 w 1897116"/>
              <a:gd name="connsiteY310" fmla="*/ 1053840 h 1087290"/>
              <a:gd name="connsiteX311" fmla="*/ 517594 w 1897116"/>
              <a:gd name="connsiteY311" fmla="*/ 1054304 h 1087290"/>
              <a:gd name="connsiteX312" fmla="*/ 512774 w 1897116"/>
              <a:gd name="connsiteY312" fmla="*/ 1053977 h 1087290"/>
              <a:gd name="connsiteX313" fmla="*/ 505588 w 1897116"/>
              <a:gd name="connsiteY313" fmla="*/ 1054823 h 1087290"/>
              <a:gd name="connsiteX314" fmla="*/ 498490 w 1897116"/>
              <a:gd name="connsiteY314" fmla="*/ 1057142 h 1087290"/>
              <a:gd name="connsiteX315" fmla="*/ 494109 w 1897116"/>
              <a:gd name="connsiteY315" fmla="*/ 1056733 h 1087290"/>
              <a:gd name="connsiteX316" fmla="*/ 492795 w 1897116"/>
              <a:gd name="connsiteY316" fmla="*/ 1058179 h 1087290"/>
              <a:gd name="connsiteX317" fmla="*/ 484820 w 1897116"/>
              <a:gd name="connsiteY317" fmla="*/ 1060990 h 1087290"/>
              <a:gd name="connsiteX318" fmla="*/ 478511 w 1897116"/>
              <a:gd name="connsiteY318" fmla="*/ 1062464 h 1087290"/>
              <a:gd name="connsiteX319" fmla="*/ 472640 w 1897116"/>
              <a:gd name="connsiteY319" fmla="*/ 1064510 h 1087290"/>
              <a:gd name="connsiteX320" fmla="*/ 466418 w 1897116"/>
              <a:gd name="connsiteY320" fmla="*/ 1064292 h 1087290"/>
              <a:gd name="connsiteX321" fmla="*/ 460284 w 1897116"/>
              <a:gd name="connsiteY321" fmla="*/ 1066639 h 1087290"/>
              <a:gd name="connsiteX322" fmla="*/ 453011 w 1897116"/>
              <a:gd name="connsiteY322" fmla="*/ 1069041 h 1087290"/>
              <a:gd name="connsiteX323" fmla="*/ 447841 w 1897116"/>
              <a:gd name="connsiteY323" fmla="*/ 1068658 h 1087290"/>
              <a:gd name="connsiteX324" fmla="*/ 441969 w 1897116"/>
              <a:gd name="connsiteY324" fmla="*/ 1069614 h 1087290"/>
              <a:gd name="connsiteX325" fmla="*/ 435660 w 1897116"/>
              <a:gd name="connsiteY325" fmla="*/ 1071906 h 1087290"/>
              <a:gd name="connsiteX326" fmla="*/ 429176 w 1897116"/>
              <a:gd name="connsiteY326" fmla="*/ 1074144 h 1087290"/>
              <a:gd name="connsiteX327" fmla="*/ 425495 w 1897116"/>
              <a:gd name="connsiteY327" fmla="*/ 1074580 h 1087290"/>
              <a:gd name="connsiteX328" fmla="*/ 416557 w 1897116"/>
              <a:gd name="connsiteY328" fmla="*/ 1076027 h 1087290"/>
              <a:gd name="connsiteX329" fmla="*/ 408758 w 1897116"/>
              <a:gd name="connsiteY329" fmla="*/ 1074799 h 1087290"/>
              <a:gd name="connsiteX330" fmla="*/ 406655 w 1897116"/>
              <a:gd name="connsiteY330" fmla="*/ 1073270 h 1087290"/>
              <a:gd name="connsiteX331" fmla="*/ 401748 w 1897116"/>
              <a:gd name="connsiteY331" fmla="*/ 1067785 h 1087290"/>
              <a:gd name="connsiteX332" fmla="*/ 397191 w 1897116"/>
              <a:gd name="connsiteY332" fmla="*/ 1064865 h 1087290"/>
              <a:gd name="connsiteX333" fmla="*/ 391583 w 1897116"/>
              <a:gd name="connsiteY333" fmla="*/ 1062737 h 1087290"/>
              <a:gd name="connsiteX334" fmla="*/ 381768 w 1897116"/>
              <a:gd name="connsiteY334" fmla="*/ 1062491 h 1087290"/>
              <a:gd name="connsiteX335" fmla="*/ 374407 w 1897116"/>
              <a:gd name="connsiteY335" fmla="*/ 1065056 h 1087290"/>
              <a:gd name="connsiteX336" fmla="*/ 371340 w 1897116"/>
              <a:gd name="connsiteY336" fmla="*/ 1066421 h 1087290"/>
              <a:gd name="connsiteX337" fmla="*/ 369500 w 1897116"/>
              <a:gd name="connsiteY337" fmla="*/ 1064947 h 1087290"/>
              <a:gd name="connsiteX338" fmla="*/ 364680 w 1897116"/>
              <a:gd name="connsiteY338" fmla="*/ 1061891 h 1087290"/>
              <a:gd name="connsiteX339" fmla="*/ 363015 w 1897116"/>
              <a:gd name="connsiteY339" fmla="*/ 1060526 h 1087290"/>
              <a:gd name="connsiteX340" fmla="*/ 359598 w 1897116"/>
              <a:gd name="connsiteY340" fmla="*/ 1062300 h 1087290"/>
              <a:gd name="connsiteX341" fmla="*/ 355742 w 1897116"/>
              <a:gd name="connsiteY341" fmla="*/ 1064620 h 1087290"/>
              <a:gd name="connsiteX342" fmla="*/ 349520 w 1897116"/>
              <a:gd name="connsiteY342" fmla="*/ 1067567 h 1087290"/>
              <a:gd name="connsiteX343" fmla="*/ 347330 w 1897116"/>
              <a:gd name="connsiteY343" fmla="*/ 1071142 h 1087290"/>
              <a:gd name="connsiteX344" fmla="*/ 341020 w 1897116"/>
              <a:gd name="connsiteY344" fmla="*/ 1073216 h 1087290"/>
              <a:gd name="connsiteX345" fmla="*/ 335587 w 1897116"/>
              <a:gd name="connsiteY345" fmla="*/ 1071224 h 1087290"/>
              <a:gd name="connsiteX346" fmla="*/ 330943 w 1897116"/>
              <a:gd name="connsiteY346" fmla="*/ 1067212 h 1087290"/>
              <a:gd name="connsiteX347" fmla="*/ 325948 w 1897116"/>
              <a:gd name="connsiteY347" fmla="*/ 1062327 h 1087290"/>
              <a:gd name="connsiteX348" fmla="*/ 321041 w 1897116"/>
              <a:gd name="connsiteY348" fmla="*/ 1057442 h 1087290"/>
              <a:gd name="connsiteX349" fmla="*/ 318237 w 1897116"/>
              <a:gd name="connsiteY349" fmla="*/ 1063419 h 1087290"/>
              <a:gd name="connsiteX350" fmla="*/ 315345 w 1897116"/>
              <a:gd name="connsiteY350" fmla="*/ 1069450 h 1087290"/>
              <a:gd name="connsiteX351" fmla="*/ 313417 w 1897116"/>
              <a:gd name="connsiteY351" fmla="*/ 1071497 h 1087290"/>
              <a:gd name="connsiteX352" fmla="*/ 310613 w 1897116"/>
              <a:gd name="connsiteY352" fmla="*/ 1069777 h 1087290"/>
              <a:gd name="connsiteX353" fmla="*/ 305793 w 1897116"/>
              <a:gd name="connsiteY353" fmla="*/ 1066312 h 1087290"/>
              <a:gd name="connsiteX354" fmla="*/ 304829 w 1897116"/>
              <a:gd name="connsiteY354" fmla="*/ 1062464 h 1087290"/>
              <a:gd name="connsiteX355" fmla="*/ 297118 w 1897116"/>
              <a:gd name="connsiteY355" fmla="*/ 1068331 h 1087290"/>
              <a:gd name="connsiteX356" fmla="*/ 290195 w 1897116"/>
              <a:gd name="connsiteY356" fmla="*/ 1073789 h 1087290"/>
              <a:gd name="connsiteX357" fmla="*/ 293525 w 1897116"/>
              <a:gd name="connsiteY357" fmla="*/ 1076818 h 1087290"/>
              <a:gd name="connsiteX358" fmla="*/ 286164 w 1897116"/>
              <a:gd name="connsiteY358" fmla="*/ 1077282 h 1087290"/>
              <a:gd name="connsiteX359" fmla="*/ 282221 w 1897116"/>
              <a:gd name="connsiteY359" fmla="*/ 1080748 h 1087290"/>
              <a:gd name="connsiteX360" fmla="*/ 280731 w 1897116"/>
              <a:gd name="connsiteY360" fmla="*/ 1084459 h 1087290"/>
              <a:gd name="connsiteX361" fmla="*/ 274773 w 1897116"/>
              <a:gd name="connsiteY361" fmla="*/ 1084486 h 1087290"/>
              <a:gd name="connsiteX362" fmla="*/ 273458 w 1897116"/>
              <a:gd name="connsiteY362" fmla="*/ 1081348 h 1087290"/>
              <a:gd name="connsiteX363" fmla="*/ 271618 w 1897116"/>
              <a:gd name="connsiteY363" fmla="*/ 1073762 h 1087290"/>
              <a:gd name="connsiteX364" fmla="*/ 270391 w 1897116"/>
              <a:gd name="connsiteY364" fmla="*/ 1065356 h 1087290"/>
              <a:gd name="connsiteX365" fmla="*/ 265046 w 1897116"/>
              <a:gd name="connsiteY365" fmla="*/ 1068195 h 1087290"/>
              <a:gd name="connsiteX366" fmla="*/ 260664 w 1897116"/>
              <a:gd name="connsiteY366" fmla="*/ 1067103 h 1087290"/>
              <a:gd name="connsiteX367" fmla="*/ 255056 w 1897116"/>
              <a:gd name="connsiteY367" fmla="*/ 1068113 h 1087290"/>
              <a:gd name="connsiteX368" fmla="*/ 249097 w 1897116"/>
              <a:gd name="connsiteY368" fmla="*/ 1069477 h 1087290"/>
              <a:gd name="connsiteX369" fmla="*/ 243401 w 1897116"/>
              <a:gd name="connsiteY369" fmla="*/ 1071524 h 1087290"/>
              <a:gd name="connsiteX370" fmla="*/ 238406 w 1897116"/>
              <a:gd name="connsiteY370" fmla="*/ 1072970 h 1087290"/>
              <a:gd name="connsiteX371" fmla="*/ 231834 w 1897116"/>
              <a:gd name="connsiteY371" fmla="*/ 1074962 h 1087290"/>
              <a:gd name="connsiteX372" fmla="*/ 225262 w 1897116"/>
              <a:gd name="connsiteY372" fmla="*/ 1076763 h 1087290"/>
              <a:gd name="connsiteX373" fmla="*/ 218252 w 1897116"/>
              <a:gd name="connsiteY373" fmla="*/ 1076818 h 1087290"/>
              <a:gd name="connsiteX374" fmla="*/ 210803 w 1897116"/>
              <a:gd name="connsiteY374" fmla="*/ 1078974 h 1087290"/>
              <a:gd name="connsiteX375" fmla="*/ 207210 w 1897116"/>
              <a:gd name="connsiteY375" fmla="*/ 1076709 h 1087290"/>
              <a:gd name="connsiteX376" fmla="*/ 202478 w 1897116"/>
              <a:gd name="connsiteY376" fmla="*/ 1080175 h 1087290"/>
              <a:gd name="connsiteX377" fmla="*/ 192927 w 1897116"/>
              <a:gd name="connsiteY377" fmla="*/ 1079465 h 1087290"/>
              <a:gd name="connsiteX378" fmla="*/ 191787 w 1897116"/>
              <a:gd name="connsiteY378" fmla="*/ 1080529 h 1087290"/>
              <a:gd name="connsiteX379" fmla="*/ 188195 w 1897116"/>
              <a:gd name="connsiteY379" fmla="*/ 1077337 h 1087290"/>
              <a:gd name="connsiteX380" fmla="*/ 185653 w 1897116"/>
              <a:gd name="connsiteY380" fmla="*/ 1073107 h 1087290"/>
              <a:gd name="connsiteX381" fmla="*/ 184689 w 1897116"/>
              <a:gd name="connsiteY381" fmla="*/ 1073734 h 1087290"/>
              <a:gd name="connsiteX382" fmla="*/ 179432 w 1897116"/>
              <a:gd name="connsiteY382" fmla="*/ 1070814 h 1087290"/>
              <a:gd name="connsiteX383" fmla="*/ 173648 w 1897116"/>
              <a:gd name="connsiteY383" fmla="*/ 1069068 h 1087290"/>
              <a:gd name="connsiteX384" fmla="*/ 168741 w 1897116"/>
              <a:gd name="connsiteY384" fmla="*/ 1067239 h 1087290"/>
              <a:gd name="connsiteX385" fmla="*/ 167251 w 1897116"/>
              <a:gd name="connsiteY385" fmla="*/ 1068549 h 1087290"/>
              <a:gd name="connsiteX386" fmla="*/ 162607 w 1897116"/>
              <a:gd name="connsiteY386" fmla="*/ 1067267 h 1087290"/>
              <a:gd name="connsiteX387" fmla="*/ 155421 w 1897116"/>
              <a:gd name="connsiteY387" fmla="*/ 1068549 h 1087290"/>
              <a:gd name="connsiteX388" fmla="*/ 153756 w 1897116"/>
              <a:gd name="connsiteY388" fmla="*/ 1069095 h 1087290"/>
              <a:gd name="connsiteX389" fmla="*/ 146483 w 1897116"/>
              <a:gd name="connsiteY389" fmla="*/ 1068631 h 1087290"/>
              <a:gd name="connsiteX390" fmla="*/ 137983 w 1897116"/>
              <a:gd name="connsiteY390" fmla="*/ 1067540 h 1087290"/>
              <a:gd name="connsiteX391" fmla="*/ 135967 w 1897116"/>
              <a:gd name="connsiteY391" fmla="*/ 1065711 h 1087290"/>
              <a:gd name="connsiteX392" fmla="*/ 130710 w 1897116"/>
              <a:gd name="connsiteY392" fmla="*/ 1061208 h 1087290"/>
              <a:gd name="connsiteX393" fmla="*/ 123962 w 1897116"/>
              <a:gd name="connsiteY393" fmla="*/ 1057470 h 1087290"/>
              <a:gd name="connsiteX394" fmla="*/ 115375 w 1897116"/>
              <a:gd name="connsiteY394" fmla="*/ 1056051 h 1087290"/>
              <a:gd name="connsiteX395" fmla="*/ 110555 w 1897116"/>
              <a:gd name="connsiteY395" fmla="*/ 1058043 h 1087290"/>
              <a:gd name="connsiteX396" fmla="*/ 110555 w 1897116"/>
              <a:gd name="connsiteY396" fmla="*/ 1057743 h 1087290"/>
              <a:gd name="connsiteX397" fmla="*/ 105998 w 1897116"/>
              <a:gd name="connsiteY397" fmla="*/ 1056269 h 1087290"/>
              <a:gd name="connsiteX398" fmla="*/ 107225 w 1897116"/>
              <a:gd name="connsiteY398" fmla="*/ 1053676 h 1087290"/>
              <a:gd name="connsiteX399" fmla="*/ 106962 w 1897116"/>
              <a:gd name="connsiteY399" fmla="*/ 1048792 h 1087290"/>
              <a:gd name="connsiteX400" fmla="*/ 106962 w 1897116"/>
              <a:gd name="connsiteY400" fmla="*/ 1045299 h 1087290"/>
              <a:gd name="connsiteX401" fmla="*/ 107926 w 1897116"/>
              <a:gd name="connsiteY401" fmla="*/ 1044807 h 1087290"/>
              <a:gd name="connsiteX402" fmla="*/ 106875 w 1897116"/>
              <a:gd name="connsiteY402" fmla="*/ 1044726 h 1087290"/>
              <a:gd name="connsiteX403" fmla="*/ 106962 w 1897116"/>
              <a:gd name="connsiteY403" fmla="*/ 1045299 h 1087290"/>
              <a:gd name="connsiteX404" fmla="*/ 102230 w 1897116"/>
              <a:gd name="connsiteY404" fmla="*/ 1044944 h 1087290"/>
              <a:gd name="connsiteX405" fmla="*/ 96622 w 1897116"/>
              <a:gd name="connsiteY405" fmla="*/ 1045053 h 1087290"/>
              <a:gd name="connsiteX406" fmla="*/ 92065 w 1897116"/>
              <a:gd name="connsiteY406" fmla="*/ 1045708 h 1087290"/>
              <a:gd name="connsiteX407" fmla="*/ 85405 w 1897116"/>
              <a:gd name="connsiteY407" fmla="*/ 1047263 h 1087290"/>
              <a:gd name="connsiteX408" fmla="*/ 84880 w 1897116"/>
              <a:gd name="connsiteY408" fmla="*/ 1043907 h 1087290"/>
              <a:gd name="connsiteX409" fmla="*/ 80060 w 1897116"/>
              <a:gd name="connsiteY409" fmla="*/ 1048710 h 1087290"/>
              <a:gd name="connsiteX410" fmla="*/ 74802 w 1897116"/>
              <a:gd name="connsiteY410" fmla="*/ 1051821 h 1087290"/>
              <a:gd name="connsiteX411" fmla="*/ 68493 w 1897116"/>
              <a:gd name="connsiteY411" fmla="*/ 1051657 h 1087290"/>
              <a:gd name="connsiteX412" fmla="*/ 66127 w 1897116"/>
              <a:gd name="connsiteY412" fmla="*/ 1054959 h 1087290"/>
              <a:gd name="connsiteX413" fmla="*/ 62271 w 1897116"/>
              <a:gd name="connsiteY413" fmla="*/ 1057033 h 1087290"/>
              <a:gd name="connsiteX414" fmla="*/ 61658 w 1897116"/>
              <a:gd name="connsiteY414" fmla="*/ 1056569 h 1087290"/>
              <a:gd name="connsiteX415" fmla="*/ 56488 w 1897116"/>
              <a:gd name="connsiteY415" fmla="*/ 1053022 h 1087290"/>
              <a:gd name="connsiteX416" fmla="*/ 53421 w 1897116"/>
              <a:gd name="connsiteY416" fmla="*/ 1047809 h 1087290"/>
              <a:gd name="connsiteX417" fmla="*/ 50091 w 1897116"/>
              <a:gd name="connsiteY417" fmla="*/ 1044043 h 1087290"/>
              <a:gd name="connsiteX418" fmla="*/ 45972 w 1897116"/>
              <a:gd name="connsiteY418" fmla="*/ 1047973 h 1087290"/>
              <a:gd name="connsiteX419" fmla="*/ 41941 w 1897116"/>
              <a:gd name="connsiteY419" fmla="*/ 1051848 h 1087290"/>
              <a:gd name="connsiteX420" fmla="*/ 39312 w 1897116"/>
              <a:gd name="connsiteY420" fmla="*/ 1053158 h 1087290"/>
              <a:gd name="connsiteX421" fmla="*/ 38699 w 1897116"/>
              <a:gd name="connsiteY421" fmla="*/ 1046554 h 1087290"/>
              <a:gd name="connsiteX422" fmla="*/ 39312 w 1897116"/>
              <a:gd name="connsiteY422" fmla="*/ 1038667 h 1087290"/>
              <a:gd name="connsiteX423" fmla="*/ 39049 w 1897116"/>
              <a:gd name="connsiteY423" fmla="*/ 1038476 h 1087290"/>
              <a:gd name="connsiteX424" fmla="*/ 37823 w 1897116"/>
              <a:gd name="connsiteY424" fmla="*/ 1039486 h 1087290"/>
              <a:gd name="connsiteX425" fmla="*/ 34054 w 1897116"/>
              <a:gd name="connsiteY425" fmla="*/ 1039131 h 1087290"/>
              <a:gd name="connsiteX426" fmla="*/ 31250 w 1897116"/>
              <a:gd name="connsiteY426" fmla="*/ 1044180 h 1087290"/>
              <a:gd name="connsiteX427" fmla="*/ 23188 w 1897116"/>
              <a:gd name="connsiteY427" fmla="*/ 1049692 h 1087290"/>
              <a:gd name="connsiteX428" fmla="*/ 17580 w 1897116"/>
              <a:gd name="connsiteY428" fmla="*/ 1052012 h 1087290"/>
              <a:gd name="connsiteX429" fmla="*/ 13724 w 1897116"/>
              <a:gd name="connsiteY429" fmla="*/ 1056651 h 1087290"/>
              <a:gd name="connsiteX430" fmla="*/ 15302 w 1897116"/>
              <a:gd name="connsiteY430" fmla="*/ 1057743 h 1087290"/>
              <a:gd name="connsiteX431" fmla="*/ 8642 w 1897116"/>
              <a:gd name="connsiteY431" fmla="*/ 1060499 h 1087290"/>
              <a:gd name="connsiteX432" fmla="*/ 5137 w 1897116"/>
              <a:gd name="connsiteY432" fmla="*/ 1062000 h 1087290"/>
              <a:gd name="connsiteX433" fmla="*/ 3559 w 1897116"/>
              <a:gd name="connsiteY433" fmla="*/ 1055505 h 1087290"/>
              <a:gd name="connsiteX434" fmla="*/ 4786 w 1897116"/>
              <a:gd name="connsiteY434" fmla="*/ 1049528 h 1087290"/>
              <a:gd name="connsiteX435" fmla="*/ 54 w 1897116"/>
              <a:gd name="connsiteY435" fmla="*/ 1045954 h 1087290"/>
              <a:gd name="connsiteX436" fmla="*/ 1023 w 1897116"/>
              <a:gd name="connsiteY436" fmla="*/ 139188 h 1087290"/>
              <a:gd name="connsiteX437" fmla="*/ 1023 w 1897116"/>
              <a:gd name="connsiteY437" fmla="*/ 125528 h 1087290"/>
              <a:gd name="connsiteX438" fmla="*/ 1023 w 1897116"/>
              <a:gd name="connsiteY438" fmla="*/ 115418 h 1087290"/>
              <a:gd name="connsiteX439" fmla="*/ 1023 w 1897116"/>
              <a:gd name="connsiteY439" fmla="*/ 109084 h 1087290"/>
              <a:gd name="connsiteX440" fmla="*/ 1023 w 1897116"/>
              <a:gd name="connsiteY440" fmla="*/ 106908 h 1087290"/>
              <a:gd name="connsiteX441" fmla="*/ 5162 w 1897116"/>
              <a:gd name="connsiteY441" fmla="*/ 103773 h 1087290"/>
              <a:gd name="connsiteX442" fmla="*/ 9918 w 1897116"/>
              <a:gd name="connsiteY442" fmla="*/ 99486 h 1087290"/>
              <a:gd name="connsiteX443" fmla="*/ 13353 w 1897116"/>
              <a:gd name="connsiteY443" fmla="*/ 94911 h 1087290"/>
              <a:gd name="connsiteX444" fmla="*/ 18021 w 1897116"/>
              <a:gd name="connsiteY444" fmla="*/ 91520 h 1087290"/>
              <a:gd name="connsiteX445" fmla="*/ 18637 w 1897116"/>
              <a:gd name="connsiteY445" fmla="*/ 94496 h 1087290"/>
              <a:gd name="connsiteX446" fmla="*/ 20487 w 1897116"/>
              <a:gd name="connsiteY446" fmla="*/ 106204 h 1087290"/>
              <a:gd name="connsiteX447" fmla="*/ 22777 w 1897116"/>
              <a:gd name="connsiteY447" fmla="*/ 114906 h 1087290"/>
              <a:gd name="connsiteX448" fmla="*/ 22777 w 1897116"/>
              <a:gd name="connsiteY448" fmla="*/ 120889 h 1087290"/>
              <a:gd name="connsiteX449" fmla="*/ 24098 w 1897116"/>
              <a:gd name="connsiteY449" fmla="*/ 114906 h 1087290"/>
              <a:gd name="connsiteX450" fmla="*/ 25419 w 1897116"/>
              <a:gd name="connsiteY450" fmla="*/ 108604 h 1087290"/>
              <a:gd name="connsiteX451" fmla="*/ 27092 w 1897116"/>
              <a:gd name="connsiteY451" fmla="*/ 101054 h 1087290"/>
              <a:gd name="connsiteX452" fmla="*/ 29470 w 1897116"/>
              <a:gd name="connsiteY452" fmla="*/ 92096 h 1087290"/>
              <a:gd name="connsiteX453" fmla="*/ 30439 w 1897116"/>
              <a:gd name="connsiteY453" fmla="*/ 85730 h 1087290"/>
              <a:gd name="connsiteX454" fmla="*/ 32200 w 1897116"/>
              <a:gd name="connsiteY454" fmla="*/ 77380 h 1087290"/>
              <a:gd name="connsiteX455" fmla="*/ 32993 w 1897116"/>
              <a:gd name="connsiteY455" fmla="*/ 73381 h 1087290"/>
              <a:gd name="connsiteX456" fmla="*/ 32817 w 1897116"/>
              <a:gd name="connsiteY456" fmla="*/ 66503 h 1087290"/>
              <a:gd name="connsiteX457" fmla="*/ 34314 w 1897116"/>
              <a:gd name="connsiteY457" fmla="*/ 62376 h 1087290"/>
              <a:gd name="connsiteX458" fmla="*/ 40016 w 1897116"/>
              <a:gd name="connsiteY458" fmla="*/ 62421 h 1087290"/>
              <a:gd name="connsiteX459" fmla="*/ 40853 w 1897116"/>
              <a:gd name="connsiteY459" fmla="*/ 63343 h 1087290"/>
              <a:gd name="connsiteX460" fmla="*/ 40904 w 1897116"/>
              <a:gd name="connsiteY460" fmla="*/ 62538 h 1087290"/>
              <a:gd name="connsiteX461" fmla="*/ 46820 w 1897116"/>
              <a:gd name="connsiteY461" fmla="*/ 65159 h 1087290"/>
              <a:gd name="connsiteX462" fmla="*/ 53602 w 1897116"/>
              <a:gd name="connsiteY462" fmla="*/ 70086 h 1087290"/>
              <a:gd name="connsiteX463" fmla="*/ 58534 w 1897116"/>
              <a:gd name="connsiteY463" fmla="*/ 64327 h 1087290"/>
              <a:gd name="connsiteX464" fmla="*/ 63378 w 1897116"/>
              <a:gd name="connsiteY464" fmla="*/ 58601 h 1087290"/>
              <a:gd name="connsiteX465" fmla="*/ 67781 w 1897116"/>
              <a:gd name="connsiteY465" fmla="*/ 53610 h 1087290"/>
              <a:gd name="connsiteX466" fmla="*/ 71921 w 1897116"/>
              <a:gd name="connsiteY466" fmla="*/ 48555 h 1087290"/>
              <a:gd name="connsiteX467" fmla="*/ 77645 w 1897116"/>
              <a:gd name="connsiteY467" fmla="*/ 45036 h 1087290"/>
              <a:gd name="connsiteX468" fmla="*/ 83282 w 1897116"/>
              <a:gd name="connsiteY468" fmla="*/ 43309 h 1087290"/>
              <a:gd name="connsiteX469" fmla="*/ 83513 w 1897116"/>
              <a:gd name="connsiteY469" fmla="*/ 44920 h 1087290"/>
              <a:gd name="connsiteX470" fmla="*/ 86620 w 1897116"/>
              <a:gd name="connsiteY470" fmla="*/ 45681 h 1087290"/>
              <a:gd name="connsiteX471" fmla="*/ 85847 w 1897116"/>
              <a:gd name="connsiteY471" fmla="*/ 46124 h 1087290"/>
              <a:gd name="connsiteX472" fmla="*/ 88038 w 1897116"/>
              <a:gd name="connsiteY472" fmla="*/ 46028 h 1087290"/>
              <a:gd name="connsiteX473" fmla="*/ 86620 w 1897116"/>
              <a:gd name="connsiteY473" fmla="*/ 45681 h 1087290"/>
              <a:gd name="connsiteX474" fmla="*/ 92706 w 1897116"/>
              <a:gd name="connsiteY474" fmla="*/ 42189 h 1087290"/>
              <a:gd name="connsiteX475" fmla="*/ 96581 w 1897116"/>
              <a:gd name="connsiteY475" fmla="*/ 46444 h 1087290"/>
              <a:gd name="connsiteX476" fmla="*/ 95876 w 1897116"/>
              <a:gd name="connsiteY476" fmla="*/ 51499 h 1087290"/>
              <a:gd name="connsiteX477" fmla="*/ 100192 w 1897116"/>
              <a:gd name="connsiteY477" fmla="*/ 54250 h 1087290"/>
              <a:gd name="connsiteX478" fmla="*/ 106621 w 1897116"/>
              <a:gd name="connsiteY478" fmla="*/ 50347 h 1087290"/>
              <a:gd name="connsiteX479" fmla="*/ 108206 w 1897116"/>
              <a:gd name="connsiteY479" fmla="*/ 51243 h 1087290"/>
              <a:gd name="connsiteX480" fmla="*/ 115076 w 1897116"/>
              <a:gd name="connsiteY480" fmla="*/ 47851 h 1087290"/>
              <a:gd name="connsiteX481" fmla="*/ 117215 w 1897116"/>
              <a:gd name="connsiteY481" fmla="*/ 43761 h 1087290"/>
              <a:gd name="connsiteX482" fmla="*/ 119950 w 1897116"/>
              <a:gd name="connsiteY482" fmla="*/ 43716 h 1087290"/>
              <a:gd name="connsiteX483" fmla="*/ 121065 w 1897116"/>
              <a:gd name="connsiteY483" fmla="*/ 43916 h 1087290"/>
              <a:gd name="connsiteX484" fmla="*/ 120926 w 1897116"/>
              <a:gd name="connsiteY484" fmla="*/ 43701 h 1087290"/>
              <a:gd name="connsiteX485" fmla="*/ 121417 w 1897116"/>
              <a:gd name="connsiteY485" fmla="*/ 43693 h 1087290"/>
              <a:gd name="connsiteX486" fmla="*/ 126184 w 1897116"/>
              <a:gd name="connsiteY486" fmla="*/ 49407 h 1087290"/>
              <a:gd name="connsiteX487" fmla="*/ 120031 w 1897116"/>
              <a:gd name="connsiteY487" fmla="*/ 50714 h 1087290"/>
              <a:gd name="connsiteX488" fmla="*/ 119655 w 1897116"/>
              <a:gd name="connsiteY488" fmla="*/ 50411 h 1087290"/>
              <a:gd name="connsiteX489" fmla="*/ 118599 w 1897116"/>
              <a:gd name="connsiteY489" fmla="*/ 51019 h 1087290"/>
              <a:gd name="connsiteX490" fmla="*/ 120031 w 1897116"/>
              <a:gd name="connsiteY490" fmla="*/ 50714 h 1087290"/>
              <a:gd name="connsiteX491" fmla="*/ 120679 w 1897116"/>
              <a:gd name="connsiteY491" fmla="*/ 51239 h 1087290"/>
              <a:gd name="connsiteX492" fmla="*/ 127053 w 1897116"/>
              <a:gd name="connsiteY492" fmla="*/ 54442 h 1087290"/>
              <a:gd name="connsiteX493" fmla="*/ 135596 w 1897116"/>
              <a:gd name="connsiteY493" fmla="*/ 57865 h 1087290"/>
              <a:gd name="connsiteX494" fmla="*/ 137600 w 1897116"/>
              <a:gd name="connsiteY494" fmla="*/ 55186 h 1087290"/>
              <a:gd name="connsiteX495" fmla="*/ 138681 w 1897116"/>
              <a:gd name="connsiteY495" fmla="*/ 53721 h 1087290"/>
              <a:gd name="connsiteX496" fmla="*/ 139189 w 1897116"/>
              <a:gd name="connsiteY496" fmla="*/ 54503 h 1087290"/>
              <a:gd name="connsiteX497" fmla="*/ 139736 w 1897116"/>
              <a:gd name="connsiteY497" fmla="*/ 52266 h 1087290"/>
              <a:gd name="connsiteX498" fmla="*/ 137611 w 1897116"/>
              <a:gd name="connsiteY498" fmla="*/ 51817 h 1087290"/>
              <a:gd name="connsiteX499" fmla="*/ 138855 w 1897116"/>
              <a:gd name="connsiteY499" fmla="*/ 48875 h 1087290"/>
              <a:gd name="connsiteX500" fmla="*/ 146165 w 1897116"/>
              <a:gd name="connsiteY500" fmla="*/ 53354 h 1087290"/>
              <a:gd name="connsiteX501" fmla="*/ 151537 w 1897116"/>
              <a:gd name="connsiteY501" fmla="*/ 53034 h 1087290"/>
              <a:gd name="connsiteX502" fmla="*/ 158034 w 1897116"/>
              <a:gd name="connsiteY502" fmla="*/ 51672 h 1087290"/>
              <a:gd name="connsiteX503" fmla="*/ 159497 w 1897116"/>
              <a:gd name="connsiteY503" fmla="*/ 51308 h 1087290"/>
              <a:gd name="connsiteX504" fmla="*/ 160047 w 1897116"/>
              <a:gd name="connsiteY504" fmla="*/ 52862 h 1087290"/>
              <a:gd name="connsiteX505" fmla="*/ 164484 w 1897116"/>
              <a:gd name="connsiteY505" fmla="*/ 50059 h 1087290"/>
              <a:gd name="connsiteX506" fmla="*/ 165188 w 1897116"/>
              <a:gd name="connsiteY506" fmla="*/ 44940 h 1087290"/>
              <a:gd name="connsiteX507" fmla="*/ 169328 w 1897116"/>
              <a:gd name="connsiteY507" fmla="*/ 37646 h 1087290"/>
              <a:gd name="connsiteX508" fmla="*/ 174876 w 1897116"/>
              <a:gd name="connsiteY508" fmla="*/ 38670 h 1087290"/>
              <a:gd name="connsiteX509" fmla="*/ 174524 w 1897116"/>
              <a:gd name="connsiteY509" fmla="*/ 36622 h 1087290"/>
              <a:gd name="connsiteX510" fmla="*/ 180249 w 1897116"/>
              <a:gd name="connsiteY510" fmla="*/ 38542 h 1087290"/>
              <a:gd name="connsiteX511" fmla="*/ 185973 w 1897116"/>
              <a:gd name="connsiteY511" fmla="*/ 33871 h 1087290"/>
              <a:gd name="connsiteX512" fmla="*/ 188615 w 1897116"/>
              <a:gd name="connsiteY512" fmla="*/ 35535 h 1087290"/>
              <a:gd name="connsiteX513" fmla="*/ 192050 w 1897116"/>
              <a:gd name="connsiteY513" fmla="*/ 36558 h 1087290"/>
              <a:gd name="connsiteX514" fmla="*/ 195133 w 1897116"/>
              <a:gd name="connsiteY514" fmla="*/ 29360 h 1087290"/>
              <a:gd name="connsiteX515" fmla="*/ 196190 w 1897116"/>
              <a:gd name="connsiteY515" fmla="*/ 27857 h 1087290"/>
              <a:gd name="connsiteX516" fmla="*/ 203764 w 1897116"/>
              <a:gd name="connsiteY516" fmla="*/ 26513 h 1087290"/>
              <a:gd name="connsiteX517" fmla="*/ 204733 w 1897116"/>
              <a:gd name="connsiteY517" fmla="*/ 28784 h 1087290"/>
              <a:gd name="connsiteX518" fmla="*/ 207199 w 1897116"/>
              <a:gd name="connsiteY518" fmla="*/ 32591 h 1087290"/>
              <a:gd name="connsiteX519" fmla="*/ 213540 w 1897116"/>
              <a:gd name="connsiteY519" fmla="*/ 29968 h 1087290"/>
              <a:gd name="connsiteX520" fmla="*/ 219617 w 1897116"/>
              <a:gd name="connsiteY520" fmla="*/ 29648 h 1087290"/>
              <a:gd name="connsiteX521" fmla="*/ 224725 w 1897116"/>
              <a:gd name="connsiteY521" fmla="*/ 31408 h 1087290"/>
              <a:gd name="connsiteX522" fmla="*/ 226222 w 1897116"/>
              <a:gd name="connsiteY522" fmla="*/ 25553 h 1087290"/>
              <a:gd name="connsiteX523" fmla="*/ 236086 w 1897116"/>
              <a:gd name="connsiteY523" fmla="*/ 32495 h 1087290"/>
              <a:gd name="connsiteX524" fmla="*/ 241458 w 1897116"/>
              <a:gd name="connsiteY524" fmla="*/ 43149 h 1087290"/>
              <a:gd name="connsiteX525" fmla="*/ 242780 w 1897116"/>
              <a:gd name="connsiteY525" fmla="*/ 36430 h 1087290"/>
              <a:gd name="connsiteX526" fmla="*/ 248680 w 1897116"/>
              <a:gd name="connsiteY526" fmla="*/ 38574 h 1087290"/>
              <a:gd name="connsiteX527" fmla="*/ 258720 w 1897116"/>
              <a:gd name="connsiteY527" fmla="*/ 38926 h 1087290"/>
              <a:gd name="connsiteX528" fmla="*/ 264974 w 1897116"/>
              <a:gd name="connsiteY528" fmla="*/ 39854 h 1087290"/>
              <a:gd name="connsiteX529" fmla="*/ 266735 w 1897116"/>
              <a:gd name="connsiteY529" fmla="*/ 36654 h 1087290"/>
              <a:gd name="connsiteX530" fmla="*/ 275366 w 1897116"/>
              <a:gd name="connsiteY530" fmla="*/ 35119 h 1087290"/>
              <a:gd name="connsiteX531" fmla="*/ 279946 w 1897116"/>
              <a:gd name="connsiteY531" fmla="*/ 33775 h 1087290"/>
              <a:gd name="connsiteX532" fmla="*/ 278360 w 1897116"/>
              <a:gd name="connsiteY532" fmla="*/ 38094 h 1087290"/>
              <a:gd name="connsiteX533" fmla="*/ 283909 w 1897116"/>
              <a:gd name="connsiteY533" fmla="*/ 43597 h 1087290"/>
              <a:gd name="connsiteX534" fmla="*/ 288489 w 1897116"/>
              <a:gd name="connsiteY534" fmla="*/ 43757 h 1087290"/>
              <a:gd name="connsiteX535" fmla="*/ 292892 w 1897116"/>
              <a:gd name="connsiteY535" fmla="*/ 47276 h 1087290"/>
              <a:gd name="connsiteX536" fmla="*/ 295534 w 1897116"/>
              <a:gd name="connsiteY536" fmla="*/ 46068 h 1087290"/>
              <a:gd name="connsiteX537" fmla="*/ 299692 w 1897116"/>
              <a:gd name="connsiteY537" fmla="*/ 49081 h 1087290"/>
              <a:gd name="connsiteX538" fmla="*/ 298364 w 1897116"/>
              <a:gd name="connsiteY538" fmla="*/ 53022 h 1087290"/>
              <a:gd name="connsiteX539" fmla="*/ 300026 w 1897116"/>
              <a:gd name="connsiteY539" fmla="*/ 49323 h 1087290"/>
              <a:gd name="connsiteX540" fmla="*/ 299692 w 1897116"/>
              <a:gd name="connsiteY540" fmla="*/ 49081 h 1087290"/>
              <a:gd name="connsiteX541" fmla="*/ 300731 w 1897116"/>
              <a:gd name="connsiteY541" fmla="*/ 45996 h 1087290"/>
              <a:gd name="connsiteX542" fmla="*/ 305222 w 1897116"/>
              <a:gd name="connsiteY542" fmla="*/ 47724 h 1087290"/>
              <a:gd name="connsiteX543" fmla="*/ 306367 w 1897116"/>
              <a:gd name="connsiteY543" fmla="*/ 42605 h 1087290"/>
              <a:gd name="connsiteX544" fmla="*/ 304410 w 1897116"/>
              <a:gd name="connsiteY544" fmla="*/ 40485 h 1087290"/>
              <a:gd name="connsiteX545" fmla="*/ 308217 w 1897116"/>
              <a:gd name="connsiteY545" fmla="*/ 41357 h 1087290"/>
              <a:gd name="connsiteX546" fmla="*/ 310902 w 1897116"/>
              <a:gd name="connsiteY546" fmla="*/ 41519 h 1087290"/>
              <a:gd name="connsiteX547" fmla="*/ 314734 w 1897116"/>
              <a:gd name="connsiteY547" fmla="*/ 43309 h 1087290"/>
              <a:gd name="connsiteX548" fmla="*/ 321780 w 1897116"/>
              <a:gd name="connsiteY548" fmla="*/ 48235 h 1087290"/>
              <a:gd name="connsiteX549" fmla="*/ 326183 w 1897116"/>
              <a:gd name="connsiteY549" fmla="*/ 46540 h 1087290"/>
              <a:gd name="connsiteX550" fmla="*/ 336928 w 1897116"/>
              <a:gd name="connsiteY550" fmla="*/ 45900 h 1087290"/>
              <a:gd name="connsiteX551" fmla="*/ 347144 w 1897116"/>
              <a:gd name="connsiteY551" fmla="*/ 37806 h 1087290"/>
              <a:gd name="connsiteX552" fmla="*/ 352341 w 1897116"/>
              <a:gd name="connsiteY552" fmla="*/ 27761 h 1087290"/>
              <a:gd name="connsiteX553" fmla="*/ 353668 w 1897116"/>
              <a:gd name="connsiteY553" fmla="*/ 26940 h 1087290"/>
              <a:gd name="connsiteX554" fmla="*/ 354873 w 1897116"/>
              <a:gd name="connsiteY554" fmla="*/ 29988 h 1087290"/>
              <a:gd name="connsiteX555" fmla="*/ 354014 w 1897116"/>
              <a:gd name="connsiteY555" fmla="*/ 28912 h 1087290"/>
              <a:gd name="connsiteX556" fmla="*/ 355951 w 1897116"/>
              <a:gd name="connsiteY556" fmla="*/ 36750 h 1087290"/>
              <a:gd name="connsiteX557" fmla="*/ 357273 w 1897116"/>
              <a:gd name="connsiteY557" fmla="*/ 44300 h 1087290"/>
              <a:gd name="connsiteX558" fmla="*/ 356942 w 1897116"/>
              <a:gd name="connsiteY558" fmla="*/ 47547 h 1087290"/>
              <a:gd name="connsiteX559" fmla="*/ 357383 w 1897116"/>
              <a:gd name="connsiteY559" fmla="*/ 49085 h 1087290"/>
              <a:gd name="connsiteX560" fmla="*/ 357096 w 1897116"/>
              <a:gd name="connsiteY560" fmla="*/ 49755 h 1087290"/>
              <a:gd name="connsiteX561" fmla="*/ 358474 w 1897116"/>
              <a:gd name="connsiteY561" fmla="*/ 57114 h 1087290"/>
              <a:gd name="connsiteX562" fmla="*/ 357900 w 1897116"/>
              <a:gd name="connsiteY562" fmla="*/ 57309 h 1087290"/>
              <a:gd name="connsiteX563" fmla="*/ 358770 w 1897116"/>
              <a:gd name="connsiteY563" fmla="*/ 58697 h 1087290"/>
              <a:gd name="connsiteX564" fmla="*/ 358474 w 1897116"/>
              <a:gd name="connsiteY564" fmla="*/ 57114 h 1087290"/>
              <a:gd name="connsiteX565" fmla="*/ 365023 w 1897116"/>
              <a:gd name="connsiteY565" fmla="*/ 54890 h 1087290"/>
              <a:gd name="connsiteX566" fmla="*/ 371188 w 1897116"/>
              <a:gd name="connsiteY566" fmla="*/ 51115 h 1087290"/>
              <a:gd name="connsiteX567" fmla="*/ 379467 w 1897116"/>
              <a:gd name="connsiteY567" fmla="*/ 47660 h 1087290"/>
              <a:gd name="connsiteX568" fmla="*/ 383518 w 1897116"/>
              <a:gd name="connsiteY568" fmla="*/ 45484 h 1087290"/>
              <a:gd name="connsiteX569" fmla="*/ 388978 w 1897116"/>
              <a:gd name="connsiteY569" fmla="*/ 42509 h 1087290"/>
              <a:gd name="connsiteX570" fmla="*/ 396817 w 1897116"/>
              <a:gd name="connsiteY570" fmla="*/ 45484 h 1087290"/>
              <a:gd name="connsiteX571" fmla="*/ 404391 w 1897116"/>
              <a:gd name="connsiteY571" fmla="*/ 47724 h 1087290"/>
              <a:gd name="connsiteX572" fmla="*/ 404215 w 1897116"/>
              <a:gd name="connsiteY572" fmla="*/ 48907 h 1087290"/>
              <a:gd name="connsiteX573" fmla="*/ 402277 w 1897116"/>
              <a:gd name="connsiteY573" fmla="*/ 51627 h 1087290"/>
              <a:gd name="connsiteX574" fmla="*/ 408883 w 1897116"/>
              <a:gd name="connsiteY574" fmla="*/ 55018 h 1087290"/>
              <a:gd name="connsiteX575" fmla="*/ 408618 w 1897116"/>
              <a:gd name="connsiteY575" fmla="*/ 56681 h 1087290"/>
              <a:gd name="connsiteX576" fmla="*/ 414079 w 1897116"/>
              <a:gd name="connsiteY576" fmla="*/ 62408 h 1087290"/>
              <a:gd name="connsiteX577" fmla="*/ 414519 w 1897116"/>
              <a:gd name="connsiteY577" fmla="*/ 59241 h 1087290"/>
              <a:gd name="connsiteX578" fmla="*/ 417866 w 1897116"/>
              <a:gd name="connsiteY578" fmla="*/ 66759 h 1087290"/>
              <a:gd name="connsiteX579" fmla="*/ 422710 w 1897116"/>
              <a:gd name="connsiteY579" fmla="*/ 70022 h 1087290"/>
              <a:gd name="connsiteX580" fmla="*/ 428611 w 1897116"/>
              <a:gd name="connsiteY580" fmla="*/ 68582 h 1087290"/>
              <a:gd name="connsiteX581" fmla="*/ 429932 w 1897116"/>
              <a:gd name="connsiteY581" fmla="*/ 74117 h 1087290"/>
              <a:gd name="connsiteX582" fmla="*/ 435832 w 1897116"/>
              <a:gd name="connsiteY582" fmla="*/ 74053 h 1087290"/>
              <a:gd name="connsiteX583" fmla="*/ 442526 w 1897116"/>
              <a:gd name="connsiteY583" fmla="*/ 72389 h 1087290"/>
              <a:gd name="connsiteX584" fmla="*/ 448603 w 1897116"/>
              <a:gd name="connsiteY584" fmla="*/ 71461 h 1087290"/>
              <a:gd name="connsiteX585" fmla="*/ 456001 w 1897116"/>
              <a:gd name="connsiteY585" fmla="*/ 67878 h 1087290"/>
              <a:gd name="connsiteX586" fmla="*/ 460316 w 1897116"/>
              <a:gd name="connsiteY586" fmla="*/ 66055 h 1087290"/>
              <a:gd name="connsiteX587" fmla="*/ 465160 w 1897116"/>
              <a:gd name="connsiteY587" fmla="*/ 63048 h 1087290"/>
              <a:gd name="connsiteX588" fmla="*/ 470709 w 1897116"/>
              <a:gd name="connsiteY588" fmla="*/ 61224 h 1087290"/>
              <a:gd name="connsiteX589" fmla="*/ 479252 w 1897116"/>
              <a:gd name="connsiteY589" fmla="*/ 60328 h 1087290"/>
              <a:gd name="connsiteX590" fmla="*/ 484448 w 1897116"/>
              <a:gd name="connsiteY590" fmla="*/ 64487 h 1087290"/>
              <a:gd name="connsiteX591" fmla="*/ 486209 w 1897116"/>
              <a:gd name="connsiteY591" fmla="*/ 64967 h 1087290"/>
              <a:gd name="connsiteX592" fmla="*/ 489556 w 1897116"/>
              <a:gd name="connsiteY592" fmla="*/ 73125 h 1087290"/>
              <a:gd name="connsiteX593" fmla="*/ 492374 w 1897116"/>
              <a:gd name="connsiteY593" fmla="*/ 79395 h 1087290"/>
              <a:gd name="connsiteX594" fmla="*/ 495193 w 1897116"/>
              <a:gd name="connsiteY594" fmla="*/ 85634 h 1087290"/>
              <a:gd name="connsiteX595" fmla="*/ 499860 w 1897116"/>
              <a:gd name="connsiteY595" fmla="*/ 80611 h 1087290"/>
              <a:gd name="connsiteX596" fmla="*/ 498539 w 1897116"/>
              <a:gd name="connsiteY596" fmla="*/ 72461 h 1087290"/>
              <a:gd name="connsiteX597" fmla="*/ 502864 w 1897116"/>
              <a:gd name="connsiteY597" fmla="*/ 74686 h 1087290"/>
              <a:gd name="connsiteX598" fmla="*/ 502591 w 1897116"/>
              <a:gd name="connsiteY598" fmla="*/ 74740 h 1087290"/>
              <a:gd name="connsiteX599" fmla="*/ 504616 w 1897116"/>
              <a:gd name="connsiteY599" fmla="*/ 75588 h 1087290"/>
              <a:gd name="connsiteX600" fmla="*/ 502864 w 1897116"/>
              <a:gd name="connsiteY600" fmla="*/ 74686 h 1087290"/>
              <a:gd name="connsiteX601" fmla="*/ 509284 w 1897116"/>
              <a:gd name="connsiteY601" fmla="*/ 73413 h 1087290"/>
              <a:gd name="connsiteX602" fmla="*/ 513688 w 1897116"/>
              <a:gd name="connsiteY602" fmla="*/ 73125 h 1087290"/>
              <a:gd name="connsiteX603" fmla="*/ 519060 w 1897116"/>
              <a:gd name="connsiteY603" fmla="*/ 76196 h 1087290"/>
              <a:gd name="connsiteX604" fmla="*/ 524168 w 1897116"/>
              <a:gd name="connsiteY604" fmla="*/ 80067 h 1087290"/>
              <a:gd name="connsiteX605" fmla="*/ 528308 w 1897116"/>
              <a:gd name="connsiteY605" fmla="*/ 79267 h 1087290"/>
              <a:gd name="connsiteX606" fmla="*/ 534880 w 1897116"/>
              <a:gd name="connsiteY606" fmla="*/ 78096 h 1087290"/>
              <a:gd name="connsiteX607" fmla="*/ 536126 w 1897116"/>
              <a:gd name="connsiteY607" fmla="*/ 80719 h 1087290"/>
              <a:gd name="connsiteX608" fmla="*/ 535949 w 1897116"/>
              <a:gd name="connsiteY608" fmla="*/ 80727 h 1087290"/>
              <a:gd name="connsiteX609" fmla="*/ 534913 w 1897116"/>
              <a:gd name="connsiteY609" fmla="*/ 79875 h 1087290"/>
              <a:gd name="connsiteX610" fmla="*/ 532766 w 1897116"/>
              <a:gd name="connsiteY610" fmla="*/ 80875 h 1087290"/>
              <a:gd name="connsiteX611" fmla="*/ 535949 w 1897116"/>
              <a:gd name="connsiteY611" fmla="*/ 80727 h 1087290"/>
              <a:gd name="connsiteX612" fmla="*/ 536247 w 1897116"/>
              <a:gd name="connsiteY612" fmla="*/ 80972 h 1087290"/>
              <a:gd name="connsiteX613" fmla="*/ 536126 w 1897116"/>
              <a:gd name="connsiteY613" fmla="*/ 80719 h 1087290"/>
              <a:gd name="connsiteX614" fmla="*/ 539140 w 1897116"/>
              <a:gd name="connsiteY614" fmla="*/ 80579 h 1087290"/>
              <a:gd name="connsiteX615" fmla="*/ 544777 w 1897116"/>
              <a:gd name="connsiteY615" fmla="*/ 79203 h 1087290"/>
              <a:gd name="connsiteX616" fmla="*/ 548588 w 1897116"/>
              <a:gd name="connsiteY616" fmla="*/ 77263 h 1087290"/>
              <a:gd name="connsiteX617" fmla="*/ 550747 w 1897116"/>
              <a:gd name="connsiteY617" fmla="*/ 77988 h 1087290"/>
              <a:gd name="connsiteX618" fmla="*/ 555786 w 1897116"/>
              <a:gd name="connsiteY618" fmla="*/ 74565 h 1087290"/>
              <a:gd name="connsiteX619" fmla="*/ 561334 w 1897116"/>
              <a:gd name="connsiteY619" fmla="*/ 74213 h 1087290"/>
              <a:gd name="connsiteX620" fmla="*/ 562303 w 1897116"/>
              <a:gd name="connsiteY620" fmla="*/ 68838 h 1087290"/>
              <a:gd name="connsiteX621" fmla="*/ 567059 w 1897116"/>
              <a:gd name="connsiteY621" fmla="*/ 67207 h 1087290"/>
              <a:gd name="connsiteX622" fmla="*/ 571110 w 1897116"/>
              <a:gd name="connsiteY622" fmla="*/ 61224 h 1087290"/>
              <a:gd name="connsiteX623" fmla="*/ 576747 w 1897116"/>
              <a:gd name="connsiteY623" fmla="*/ 60936 h 1087290"/>
              <a:gd name="connsiteX624" fmla="*/ 580622 w 1897116"/>
              <a:gd name="connsiteY624" fmla="*/ 55050 h 1087290"/>
              <a:gd name="connsiteX625" fmla="*/ 581327 w 1897116"/>
              <a:gd name="connsiteY625" fmla="*/ 58569 h 1087290"/>
              <a:gd name="connsiteX626" fmla="*/ 581855 w 1897116"/>
              <a:gd name="connsiteY626" fmla="*/ 64007 h 1087290"/>
              <a:gd name="connsiteX627" fmla="*/ 583264 w 1897116"/>
              <a:gd name="connsiteY627" fmla="*/ 67910 h 1087290"/>
              <a:gd name="connsiteX628" fmla="*/ 587668 w 1897116"/>
              <a:gd name="connsiteY628" fmla="*/ 68038 h 1087290"/>
              <a:gd name="connsiteX629" fmla="*/ 592952 w 1897116"/>
              <a:gd name="connsiteY629" fmla="*/ 66535 h 1087290"/>
              <a:gd name="connsiteX630" fmla="*/ 604137 w 1897116"/>
              <a:gd name="connsiteY630" fmla="*/ 61448 h 1087290"/>
              <a:gd name="connsiteX631" fmla="*/ 615146 w 1897116"/>
              <a:gd name="connsiteY631" fmla="*/ 53450 h 1087290"/>
              <a:gd name="connsiteX632" fmla="*/ 620430 w 1897116"/>
              <a:gd name="connsiteY632" fmla="*/ 48907 h 1087290"/>
              <a:gd name="connsiteX633" fmla="*/ 625803 w 1897116"/>
              <a:gd name="connsiteY633" fmla="*/ 44172 h 1087290"/>
              <a:gd name="connsiteX634" fmla="*/ 630735 w 1897116"/>
              <a:gd name="connsiteY634" fmla="*/ 39598 h 1087290"/>
              <a:gd name="connsiteX635" fmla="*/ 635755 w 1897116"/>
              <a:gd name="connsiteY635" fmla="*/ 35567 h 1087290"/>
              <a:gd name="connsiteX636" fmla="*/ 639806 w 1897116"/>
              <a:gd name="connsiteY636" fmla="*/ 32495 h 1087290"/>
              <a:gd name="connsiteX637" fmla="*/ 645091 w 1897116"/>
              <a:gd name="connsiteY637" fmla="*/ 28880 h 1087290"/>
              <a:gd name="connsiteX638" fmla="*/ 652136 w 1897116"/>
              <a:gd name="connsiteY638" fmla="*/ 25553 h 1087290"/>
              <a:gd name="connsiteX639" fmla="*/ 658742 w 1897116"/>
              <a:gd name="connsiteY639" fmla="*/ 22706 h 1087290"/>
              <a:gd name="connsiteX640" fmla="*/ 665347 w 1897116"/>
              <a:gd name="connsiteY640" fmla="*/ 17075 h 1087290"/>
              <a:gd name="connsiteX641" fmla="*/ 672481 w 1897116"/>
              <a:gd name="connsiteY641" fmla="*/ 15316 h 1087290"/>
              <a:gd name="connsiteX642" fmla="*/ 679703 w 1897116"/>
              <a:gd name="connsiteY642" fmla="*/ 12341 h 1087290"/>
              <a:gd name="connsiteX643" fmla="*/ 687365 w 1897116"/>
              <a:gd name="connsiteY643" fmla="*/ 14740 h 1087290"/>
              <a:gd name="connsiteX644" fmla="*/ 686748 w 1897116"/>
              <a:gd name="connsiteY644" fmla="*/ 9589 h 1087290"/>
              <a:gd name="connsiteX645" fmla="*/ 693354 w 1897116"/>
              <a:gd name="connsiteY645" fmla="*/ 7254 h 1087290"/>
              <a:gd name="connsiteX646" fmla="*/ 700664 w 1897116"/>
              <a:gd name="connsiteY646" fmla="*/ 4887 h 1087290"/>
              <a:gd name="connsiteX647" fmla="*/ 709207 w 1897116"/>
              <a:gd name="connsiteY647" fmla="*/ 1048 h 1087290"/>
              <a:gd name="connsiteX648" fmla="*/ 710616 w 1897116"/>
              <a:gd name="connsiteY648" fmla="*/ 3799 h 1087290"/>
              <a:gd name="connsiteX649" fmla="*/ 715548 w 1897116"/>
              <a:gd name="connsiteY649" fmla="*/ 11317 h 1087290"/>
              <a:gd name="connsiteX650" fmla="*/ 717485 w 1897116"/>
              <a:gd name="connsiteY650" fmla="*/ 14548 h 1087290"/>
              <a:gd name="connsiteX651" fmla="*/ 723210 w 1897116"/>
              <a:gd name="connsiteY651" fmla="*/ 19731 h 1087290"/>
              <a:gd name="connsiteX652" fmla="*/ 725412 w 1897116"/>
              <a:gd name="connsiteY652" fmla="*/ 18099 h 1087290"/>
              <a:gd name="connsiteX653" fmla="*/ 729727 w 1897116"/>
              <a:gd name="connsiteY653" fmla="*/ 25489 h 1087290"/>
              <a:gd name="connsiteX654" fmla="*/ 734659 w 1897116"/>
              <a:gd name="connsiteY654" fmla="*/ 28592 h 1087290"/>
              <a:gd name="connsiteX655" fmla="*/ 738270 w 1897116"/>
              <a:gd name="connsiteY655" fmla="*/ 27441 h 1087290"/>
              <a:gd name="connsiteX656" fmla="*/ 745404 w 1897116"/>
              <a:gd name="connsiteY656" fmla="*/ 32879 h 1087290"/>
              <a:gd name="connsiteX657" fmla="*/ 746109 w 1897116"/>
              <a:gd name="connsiteY657" fmla="*/ 32048 h 1087290"/>
              <a:gd name="connsiteX658" fmla="*/ 743731 w 1897116"/>
              <a:gd name="connsiteY658" fmla="*/ 29808 h 1087290"/>
              <a:gd name="connsiteX659" fmla="*/ 748663 w 1897116"/>
              <a:gd name="connsiteY659" fmla="*/ 27089 h 1087290"/>
              <a:gd name="connsiteX660" fmla="*/ 756149 w 1897116"/>
              <a:gd name="connsiteY660" fmla="*/ 23474 h 1087290"/>
              <a:gd name="connsiteX661" fmla="*/ 759496 w 1897116"/>
              <a:gd name="connsiteY661" fmla="*/ 23890 h 1087290"/>
              <a:gd name="connsiteX662" fmla="*/ 760817 w 1897116"/>
              <a:gd name="connsiteY662" fmla="*/ 21458 h 1087290"/>
              <a:gd name="connsiteX663" fmla="*/ 763459 w 1897116"/>
              <a:gd name="connsiteY663" fmla="*/ 25297 h 1087290"/>
              <a:gd name="connsiteX664" fmla="*/ 766365 w 1897116"/>
              <a:gd name="connsiteY664" fmla="*/ 32112 h 1087290"/>
              <a:gd name="connsiteX665" fmla="*/ 768127 w 1897116"/>
              <a:gd name="connsiteY665" fmla="*/ 36558 h 1087290"/>
              <a:gd name="connsiteX666" fmla="*/ 769888 w 1897116"/>
              <a:gd name="connsiteY666" fmla="*/ 34255 h 1087290"/>
              <a:gd name="connsiteX667" fmla="*/ 770945 w 1897116"/>
              <a:gd name="connsiteY667" fmla="*/ 37966 h 1087290"/>
              <a:gd name="connsiteX668" fmla="*/ 770681 w 1897116"/>
              <a:gd name="connsiteY668" fmla="*/ 43565 h 1087290"/>
              <a:gd name="connsiteX669" fmla="*/ 773411 w 1897116"/>
              <a:gd name="connsiteY669" fmla="*/ 47979 h 1087290"/>
              <a:gd name="connsiteX670" fmla="*/ 776846 w 1897116"/>
              <a:gd name="connsiteY670" fmla="*/ 43789 h 1087290"/>
              <a:gd name="connsiteX671" fmla="*/ 784684 w 1897116"/>
              <a:gd name="connsiteY671" fmla="*/ 42861 h 1087290"/>
              <a:gd name="connsiteX672" fmla="*/ 789528 w 1897116"/>
              <a:gd name="connsiteY672" fmla="*/ 46412 h 1087290"/>
              <a:gd name="connsiteX673" fmla="*/ 794196 w 1897116"/>
              <a:gd name="connsiteY673" fmla="*/ 40493 h 1087290"/>
              <a:gd name="connsiteX674" fmla="*/ 803179 w 1897116"/>
              <a:gd name="connsiteY674" fmla="*/ 38222 h 1087290"/>
              <a:gd name="connsiteX675" fmla="*/ 812074 w 1897116"/>
              <a:gd name="connsiteY675" fmla="*/ 36878 h 1087290"/>
              <a:gd name="connsiteX676" fmla="*/ 813395 w 1897116"/>
              <a:gd name="connsiteY676" fmla="*/ 37102 h 1087290"/>
              <a:gd name="connsiteX677" fmla="*/ 808904 w 1897116"/>
              <a:gd name="connsiteY677" fmla="*/ 45324 h 1087290"/>
              <a:gd name="connsiteX678" fmla="*/ 805557 w 1897116"/>
              <a:gd name="connsiteY678" fmla="*/ 51850 h 1087290"/>
              <a:gd name="connsiteX679" fmla="*/ 802122 w 1897116"/>
              <a:gd name="connsiteY679" fmla="*/ 59305 h 1087290"/>
              <a:gd name="connsiteX680" fmla="*/ 809872 w 1897116"/>
              <a:gd name="connsiteY680" fmla="*/ 58825 h 1087290"/>
              <a:gd name="connsiteX681" fmla="*/ 817623 w 1897116"/>
              <a:gd name="connsiteY681" fmla="*/ 58409 h 1087290"/>
              <a:gd name="connsiteX682" fmla="*/ 824845 w 1897116"/>
              <a:gd name="connsiteY682" fmla="*/ 54538 h 1087290"/>
              <a:gd name="connsiteX683" fmla="*/ 831186 w 1897116"/>
              <a:gd name="connsiteY683" fmla="*/ 56457 h 1087290"/>
              <a:gd name="connsiteX684" fmla="*/ 840609 w 1897116"/>
              <a:gd name="connsiteY684" fmla="*/ 53898 h 1087290"/>
              <a:gd name="connsiteX685" fmla="*/ 844132 w 1897116"/>
              <a:gd name="connsiteY685" fmla="*/ 52874 h 1087290"/>
              <a:gd name="connsiteX686" fmla="*/ 849857 w 1897116"/>
              <a:gd name="connsiteY686" fmla="*/ 50923 h 1087290"/>
              <a:gd name="connsiteX687" fmla="*/ 856727 w 1897116"/>
              <a:gd name="connsiteY687" fmla="*/ 48459 h 1087290"/>
              <a:gd name="connsiteX688" fmla="*/ 864565 w 1897116"/>
              <a:gd name="connsiteY688" fmla="*/ 45228 h 1087290"/>
              <a:gd name="connsiteX689" fmla="*/ 867383 w 1897116"/>
              <a:gd name="connsiteY689" fmla="*/ 44748 h 1087290"/>
              <a:gd name="connsiteX690" fmla="*/ 872668 w 1897116"/>
              <a:gd name="connsiteY690" fmla="*/ 41901 h 1087290"/>
              <a:gd name="connsiteX691" fmla="*/ 877776 w 1897116"/>
              <a:gd name="connsiteY691" fmla="*/ 41741 h 1087290"/>
              <a:gd name="connsiteX692" fmla="*/ 884205 w 1897116"/>
              <a:gd name="connsiteY692" fmla="*/ 42893 h 1087290"/>
              <a:gd name="connsiteX693" fmla="*/ 882972 w 1897116"/>
              <a:gd name="connsiteY693" fmla="*/ 43053 h 1087290"/>
              <a:gd name="connsiteX694" fmla="*/ 883853 w 1897116"/>
              <a:gd name="connsiteY694" fmla="*/ 49899 h 1087290"/>
              <a:gd name="connsiteX695" fmla="*/ 880330 w 1897116"/>
              <a:gd name="connsiteY695" fmla="*/ 57001 h 1087290"/>
              <a:gd name="connsiteX696" fmla="*/ 880252 w 1897116"/>
              <a:gd name="connsiteY696" fmla="*/ 58718 h 1087290"/>
              <a:gd name="connsiteX697" fmla="*/ 879713 w 1897116"/>
              <a:gd name="connsiteY697" fmla="*/ 59656 h 1087290"/>
              <a:gd name="connsiteX698" fmla="*/ 880154 w 1897116"/>
              <a:gd name="connsiteY698" fmla="*/ 60896 h 1087290"/>
              <a:gd name="connsiteX699" fmla="*/ 880252 w 1897116"/>
              <a:gd name="connsiteY699" fmla="*/ 58718 h 1087290"/>
              <a:gd name="connsiteX700" fmla="*/ 881827 w 1897116"/>
              <a:gd name="connsiteY700" fmla="*/ 55977 h 1087290"/>
              <a:gd name="connsiteX701" fmla="*/ 890722 w 1897116"/>
              <a:gd name="connsiteY701" fmla="*/ 54186 h 1087290"/>
              <a:gd name="connsiteX702" fmla="*/ 897504 w 1897116"/>
              <a:gd name="connsiteY702" fmla="*/ 50699 h 1087290"/>
              <a:gd name="connsiteX703" fmla="*/ 901731 w 1897116"/>
              <a:gd name="connsiteY703" fmla="*/ 48715 h 1087290"/>
              <a:gd name="connsiteX704" fmla="*/ 906927 w 1897116"/>
              <a:gd name="connsiteY704" fmla="*/ 50539 h 1087290"/>
              <a:gd name="connsiteX705" fmla="*/ 909393 w 1897116"/>
              <a:gd name="connsiteY705" fmla="*/ 46028 h 1087290"/>
              <a:gd name="connsiteX706" fmla="*/ 910803 w 1897116"/>
              <a:gd name="connsiteY706" fmla="*/ 52138 h 1087290"/>
              <a:gd name="connsiteX707" fmla="*/ 912124 w 1897116"/>
              <a:gd name="connsiteY707" fmla="*/ 58249 h 1087290"/>
              <a:gd name="connsiteX708" fmla="*/ 913797 w 1897116"/>
              <a:gd name="connsiteY708" fmla="*/ 59433 h 1087290"/>
              <a:gd name="connsiteX709" fmla="*/ 911595 w 1897116"/>
              <a:gd name="connsiteY709" fmla="*/ 67334 h 1087290"/>
              <a:gd name="connsiteX710" fmla="*/ 912124 w 1897116"/>
              <a:gd name="connsiteY710" fmla="*/ 73765 h 1087290"/>
              <a:gd name="connsiteX711" fmla="*/ 914854 w 1897116"/>
              <a:gd name="connsiteY711" fmla="*/ 79587 h 1087290"/>
              <a:gd name="connsiteX712" fmla="*/ 912388 w 1897116"/>
              <a:gd name="connsiteY712" fmla="*/ 79747 h 1087290"/>
              <a:gd name="connsiteX713" fmla="*/ 912652 w 1897116"/>
              <a:gd name="connsiteY713" fmla="*/ 80227 h 1087290"/>
              <a:gd name="connsiteX714" fmla="*/ 914854 w 1897116"/>
              <a:gd name="connsiteY714" fmla="*/ 79587 h 1087290"/>
              <a:gd name="connsiteX715" fmla="*/ 918553 w 1897116"/>
              <a:gd name="connsiteY715" fmla="*/ 77540 h 1087290"/>
              <a:gd name="connsiteX716" fmla="*/ 925334 w 1897116"/>
              <a:gd name="connsiteY716" fmla="*/ 74053 h 1087290"/>
              <a:gd name="connsiteX717" fmla="*/ 925775 w 1897116"/>
              <a:gd name="connsiteY717" fmla="*/ 74149 h 1087290"/>
              <a:gd name="connsiteX718" fmla="*/ 931499 w 1897116"/>
              <a:gd name="connsiteY718" fmla="*/ 72741 h 1087290"/>
              <a:gd name="connsiteX719" fmla="*/ 937752 w 1897116"/>
              <a:gd name="connsiteY719" fmla="*/ 72133 h 1087290"/>
              <a:gd name="connsiteX720" fmla="*/ 943213 w 1897116"/>
              <a:gd name="connsiteY720" fmla="*/ 73573 h 1087290"/>
              <a:gd name="connsiteX721" fmla="*/ 949026 w 1897116"/>
              <a:gd name="connsiteY721" fmla="*/ 76100 h 1087290"/>
              <a:gd name="connsiteX722" fmla="*/ 958273 w 1897116"/>
              <a:gd name="connsiteY722" fmla="*/ 79939 h 1087290"/>
              <a:gd name="connsiteX723" fmla="*/ 965671 w 1897116"/>
              <a:gd name="connsiteY723" fmla="*/ 81091 h 1087290"/>
              <a:gd name="connsiteX724" fmla="*/ 968137 w 1897116"/>
              <a:gd name="connsiteY724" fmla="*/ 83266 h 1087290"/>
              <a:gd name="connsiteX725" fmla="*/ 972012 w 1897116"/>
              <a:gd name="connsiteY725" fmla="*/ 90656 h 1087290"/>
              <a:gd name="connsiteX726" fmla="*/ 977120 w 1897116"/>
              <a:gd name="connsiteY726" fmla="*/ 88353 h 1087290"/>
              <a:gd name="connsiteX727" fmla="*/ 983109 w 1897116"/>
              <a:gd name="connsiteY727" fmla="*/ 85122 h 1087290"/>
              <a:gd name="connsiteX728" fmla="*/ 988129 w 1897116"/>
              <a:gd name="connsiteY728" fmla="*/ 82307 h 1087290"/>
              <a:gd name="connsiteX729" fmla="*/ 993678 w 1897116"/>
              <a:gd name="connsiteY729" fmla="*/ 80739 h 1087290"/>
              <a:gd name="connsiteX730" fmla="*/ 996672 w 1897116"/>
              <a:gd name="connsiteY730" fmla="*/ 78660 h 1087290"/>
              <a:gd name="connsiteX731" fmla="*/ 1005568 w 1897116"/>
              <a:gd name="connsiteY731" fmla="*/ 74533 h 1087290"/>
              <a:gd name="connsiteX732" fmla="*/ 1014551 w 1897116"/>
              <a:gd name="connsiteY732" fmla="*/ 71493 h 1087290"/>
              <a:gd name="connsiteX733" fmla="*/ 1017457 w 1897116"/>
              <a:gd name="connsiteY733" fmla="*/ 67302 h 1087290"/>
              <a:gd name="connsiteX734" fmla="*/ 1025208 w 1897116"/>
              <a:gd name="connsiteY734" fmla="*/ 60584 h 1087290"/>
              <a:gd name="connsiteX735" fmla="*/ 1029347 w 1897116"/>
              <a:gd name="connsiteY735" fmla="*/ 58633 h 1087290"/>
              <a:gd name="connsiteX736" fmla="*/ 1033839 w 1897116"/>
              <a:gd name="connsiteY736" fmla="*/ 54794 h 1087290"/>
              <a:gd name="connsiteX737" fmla="*/ 1038066 w 1897116"/>
              <a:gd name="connsiteY737" fmla="*/ 50731 h 1087290"/>
              <a:gd name="connsiteX738" fmla="*/ 1044495 w 1897116"/>
              <a:gd name="connsiteY738" fmla="*/ 44652 h 1087290"/>
              <a:gd name="connsiteX739" fmla="*/ 1051012 w 1897116"/>
              <a:gd name="connsiteY739" fmla="*/ 44812 h 1087290"/>
              <a:gd name="connsiteX740" fmla="*/ 1051012 w 1897116"/>
              <a:gd name="connsiteY740" fmla="*/ 40333 h 1087290"/>
              <a:gd name="connsiteX741" fmla="*/ 1055856 w 1897116"/>
              <a:gd name="connsiteY741" fmla="*/ 39438 h 1087290"/>
              <a:gd name="connsiteX742" fmla="*/ 1061845 w 1897116"/>
              <a:gd name="connsiteY742" fmla="*/ 39630 h 1087290"/>
              <a:gd name="connsiteX743" fmla="*/ 1070212 w 1897116"/>
              <a:gd name="connsiteY743" fmla="*/ 39854 h 1087290"/>
              <a:gd name="connsiteX744" fmla="*/ 1079195 w 1897116"/>
              <a:gd name="connsiteY744" fmla="*/ 37998 h 1087290"/>
              <a:gd name="connsiteX745" fmla="*/ 1087034 w 1897116"/>
              <a:gd name="connsiteY745" fmla="*/ 33327 h 1087290"/>
              <a:gd name="connsiteX746" fmla="*/ 1092494 w 1897116"/>
              <a:gd name="connsiteY746" fmla="*/ 27473 h 1087290"/>
              <a:gd name="connsiteX747" fmla="*/ 1093023 w 1897116"/>
              <a:gd name="connsiteY747" fmla="*/ 20467 h 1087290"/>
              <a:gd name="connsiteX748" fmla="*/ 1095665 w 1897116"/>
              <a:gd name="connsiteY748" fmla="*/ 20083 h 1087290"/>
              <a:gd name="connsiteX749" fmla="*/ 1096722 w 1897116"/>
              <a:gd name="connsiteY749" fmla="*/ 16628 h 1087290"/>
              <a:gd name="connsiteX750" fmla="*/ 1096810 w 1897116"/>
              <a:gd name="connsiteY750" fmla="*/ 15156 h 1087290"/>
              <a:gd name="connsiteX751" fmla="*/ 1097778 w 1897116"/>
              <a:gd name="connsiteY751" fmla="*/ 13140 h 1087290"/>
              <a:gd name="connsiteX752" fmla="*/ 1098043 w 1897116"/>
              <a:gd name="connsiteY752" fmla="*/ 12916 h 1087290"/>
              <a:gd name="connsiteX753" fmla="*/ 1098219 w 1897116"/>
              <a:gd name="connsiteY753" fmla="*/ 12277 h 1087290"/>
              <a:gd name="connsiteX754" fmla="*/ 1098395 w 1897116"/>
              <a:gd name="connsiteY754" fmla="*/ 11605 h 1087290"/>
              <a:gd name="connsiteX755" fmla="*/ 1104560 w 1897116"/>
              <a:gd name="connsiteY755" fmla="*/ 16052 h 1087290"/>
              <a:gd name="connsiteX756" fmla="*/ 1111165 w 1897116"/>
              <a:gd name="connsiteY756" fmla="*/ 18899 h 1087290"/>
              <a:gd name="connsiteX757" fmla="*/ 1116274 w 1897116"/>
              <a:gd name="connsiteY757" fmla="*/ 22226 h 1087290"/>
              <a:gd name="connsiteX758" fmla="*/ 1121910 w 1897116"/>
              <a:gd name="connsiteY758" fmla="*/ 22866 h 1087290"/>
              <a:gd name="connsiteX759" fmla="*/ 1122615 w 1897116"/>
              <a:gd name="connsiteY759" fmla="*/ 19763 h 1087290"/>
              <a:gd name="connsiteX760" fmla="*/ 1121646 w 1897116"/>
              <a:gd name="connsiteY760" fmla="*/ 17267 h 1087290"/>
              <a:gd name="connsiteX761" fmla="*/ 1128075 w 1897116"/>
              <a:gd name="connsiteY761" fmla="*/ 16915 h 1087290"/>
              <a:gd name="connsiteX762" fmla="*/ 1128780 w 1897116"/>
              <a:gd name="connsiteY762" fmla="*/ 17683 h 1087290"/>
              <a:gd name="connsiteX763" fmla="*/ 1128075 w 1897116"/>
              <a:gd name="connsiteY763" fmla="*/ 16915 h 1087290"/>
              <a:gd name="connsiteX764" fmla="*/ 1130101 w 1897116"/>
              <a:gd name="connsiteY764" fmla="*/ 17139 h 1087290"/>
              <a:gd name="connsiteX765" fmla="*/ 1130541 w 1897116"/>
              <a:gd name="connsiteY765" fmla="*/ 17267 h 1087290"/>
              <a:gd name="connsiteX766" fmla="*/ 1130189 w 1897116"/>
              <a:gd name="connsiteY766" fmla="*/ 18707 h 1087290"/>
              <a:gd name="connsiteX767" fmla="*/ 1130541 w 1897116"/>
              <a:gd name="connsiteY767" fmla="*/ 17267 h 1087290"/>
              <a:gd name="connsiteX768" fmla="*/ 1135385 w 1897116"/>
              <a:gd name="connsiteY768" fmla="*/ 19539 h 1087290"/>
              <a:gd name="connsiteX769" fmla="*/ 1129308 w 1897116"/>
              <a:gd name="connsiteY769" fmla="*/ 22386 h 1087290"/>
              <a:gd name="connsiteX770" fmla="*/ 1127018 w 1897116"/>
              <a:gd name="connsiteY770" fmla="*/ 27089 h 1087290"/>
              <a:gd name="connsiteX771" fmla="*/ 1127018 w 1897116"/>
              <a:gd name="connsiteY771" fmla="*/ 33391 h 1087290"/>
              <a:gd name="connsiteX772" fmla="*/ 1123583 w 1897116"/>
              <a:gd name="connsiteY772" fmla="*/ 37198 h 1087290"/>
              <a:gd name="connsiteX773" fmla="*/ 1123672 w 1897116"/>
              <a:gd name="connsiteY773" fmla="*/ 41165 h 1087290"/>
              <a:gd name="connsiteX774" fmla="*/ 1119973 w 1897116"/>
              <a:gd name="connsiteY774" fmla="*/ 42189 h 1087290"/>
              <a:gd name="connsiteX775" fmla="*/ 1123760 w 1897116"/>
              <a:gd name="connsiteY775" fmla="*/ 48043 h 1087290"/>
              <a:gd name="connsiteX776" fmla="*/ 1127371 w 1897116"/>
              <a:gd name="connsiteY776" fmla="*/ 45068 h 1087290"/>
              <a:gd name="connsiteX777" fmla="*/ 1133447 w 1897116"/>
              <a:gd name="connsiteY777" fmla="*/ 41805 h 1087290"/>
              <a:gd name="connsiteX778" fmla="*/ 1134592 w 1897116"/>
              <a:gd name="connsiteY778" fmla="*/ 37678 h 1087290"/>
              <a:gd name="connsiteX779" fmla="*/ 1136090 w 1897116"/>
              <a:gd name="connsiteY779" fmla="*/ 33807 h 1087290"/>
              <a:gd name="connsiteX780" fmla="*/ 1140934 w 1897116"/>
              <a:gd name="connsiteY780" fmla="*/ 30096 h 1087290"/>
              <a:gd name="connsiteX781" fmla="*/ 1145425 w 1897116"/>
              <a:gd name="connsiteY781" fmla="*/ 27249 h 1087290"/>
              <a:gd name="connsiteX782" fmla="*/ 1150798 w 1897116"/>
              <a:gd name="connsiteY782" fmla="*/ 23154 h 1087290"/>
              <a:gd name="connsiteX783" fmla="*/ 1155289 w 1897116"/>
              <a:gd name="connsiteY783" fmla="*/ 19539 h 1087290"/>
              <a:gd name="connsiteX784" fmla="*/ 1159341 w 1897116"/>
              <a:gd name="connsiteY784" fmla="*/ 15284 h 1087290"/>
              <a:gd name="connsiteX785" fmla="*/ 1160045 w 1897116"/>
              <a:gd name="connsiteY785" fmla="*/ 18195 h 1087290"/>
              <a:gd name="connsiteX786" fmla="*/ 1158900 w 1897116"/>
              <a:gd name="connsiteY786" fmla="*/ 18355 h 1087290"/>
              <a:gd name="connsiteX787" fmla="*/ 1160045 w 1897116"/>
              <a:gd name="connsiteY787" fmla="*/ 18195 h 1087290"/>
              <a:gd name="connsiteX788" fmla="*/ 1160045 w 1897116"/>
              <a:gd name="connsiteY788" fmla="*/ 20371 h 1087290"/>
              <a:gd name="connsiteX789" fmla="*/ 1163744 w 1897116"/>
              <a:gd name="connsiteY789" fmla="*/ 25969 h 1087290"/>
              <a:gd name="connsiteX790" fmla="*/ 1171759 w 1897116"/>
              <a:gd name="connsiteY790" fmla="*/ 30160 h 1087290"/>
              <a:gd name="connsiteX791" fmla="*/ 1180830 w 1897116"/>
              <a:gd name="connsiteY791" fmla="*/ 29904 h 1087290"/>
              <a:gd name="connsiteX792" fmla="*/ 1188052 w 1897116"/>
              <a:gd name="connsiteY792" fmla="*/ 27953 h 1087290"/>
              <a:gd name="connsiteX793" fmla="*/ 1192367 w 1897116"/>
              <a:gd name="connsiteY793" fmla="*/ 23186 h 1087290"/>
              <a:gd name="connsiteX794" fmla="*/ 1201703 w 1897116"/>
              <a:gd name="connsiteY794" fmla="*/ 20435 h 1087290"/>
              <a:gd name="connsiteX795" fmla="*/ 1208837 w 1897116"/>
              <a:gd name="connsiteY795" fmla="*/ 16084 h 1087290"/>
              <a:gd name="connsiteX796" fmla="*/ 1215618 w 1897116"/>
              <a:gd name="connsiteY796" fmla="*/ 13268 h 1087290"/>
              <a:gd name="connsiteX797" fmla="*/ 1215794 w 1897116"/>
              <a:gd name="connsiteY797" fmla="*/ 20275 h 1087290"/>
              <a:gd name="connsiteX798" fmla="*/ 1213505 w 1897116"/>
              <a:gd name="connsiteY798" fmla="*/ 28912 h 1087290"/>
              <a:gd name="connsiteX799" fmla="*/ 1210774 w 1897116"/>
              <a:gd name="connsiteY799" fmla="*/ 36206 h 1087290"/>
              <a:gd name="connsiteX800" fmla="*/ 1209365 w 1897116"/>
              <a:gd name="connsiteY800" fmla="*/ 44972 h 1087290"/>
              <a:gd name="connsiteX801" fmla="*/ 1207075 w 1897116"/>
              <a:gd name="connsiteY801" fmla="*/ 53610 h 1087290"/>
              <a:gd name="connsiteX802" fmla="*/ 1213328 w 1897116"/>
              <a:gd name="connsiteY802" fmla="*/ 47212 h 1087290"/>
              <a:gd name="connsiteX803" fmla="*/ 1219229 w 1897116"/>
              <a:gd name="connsiteY803" fmla="*/ 41037 h 1087290"/>
              <a:gd name="connsiteX804" fmla="*/ 1224954 w 1897116"/>
              <a:gd name="connsiteY804" fmla="*/ 35375 h 1087290"/>
              <a:gd name="connsiteX805" fmla="*/ 1231207 w 1897116"/>
              <a:gd name="connsiteY805" fmla="*/ 28976 h 1087290"/>
              <a:gd name="connsiteX806" fmla="*/ 1238253 w 1897116"/>
              <a:gd name="connsiteY806" fmla="*/ 22610 h 1087290"/>
              <a:gd name="connsiteX807" fmla="*/ 1242128 w 1897116"/>
              <a:gd name="connsiteY807" fmla="*/ 21010 h 1087290"/>
              <a:gd name="connsiteX808" fmla="*/ 1243889 w 1897116"/>
              <a:gd name="connsiteY808" fmla="*/ 23282 h 1087290"/>
              <a:gd name="connsiteX809" fmla="*/ 1242216 w 1897116"/>
              <a:gd name="connsiteY809" fmla="*/ 28912 h 1087290"/>
              <a:gd name="connsiteX810" fmla="*/ 1251551 w 1897116"/>
              <a:gd name="connsiteY810" fmla="*/ 24434 h 1087290"/>
              <a:gd name="connsiteX811" fmla="*/ 1260887 w 1897116"/>
              <a:gd name="connsiteY811" fmla="*/ 19923 h 1087290"/>
              <a:gd name="connsiteX812" fmla="*/ 1268197 w 1897116"/>
              <a:gd name="connsiteY812" fmla="*/ 16052 h 1087290"/>
              <a:gd name="connsiteX813" fmla="*/ 1273922 w 1897116"/>
              <a:gd name="connsiteY813" fmla="*/ 13268 h 1087290"/>
              <a:gd name="connsiteX814" fmla="*/ 1279470 w 1897116"/>
              <a:gd name="connsiteY814" fmla="*/ 10677 h 1087290"/>
              <a:gd name="connsiteX815" fmla="*/ 1286340 w 1897116"/>
              <a:gd name="connsiteY815" fmla="*/ 11349 h 1087290"/>
              <a:gd name="connsiteX816" fmla="*/ 1293209 w 1897116"/>
              <a:gd name="connsiteY816" fmla="*/ 12021 h 1087290"/>
              <a:gd name="connsiteX817" fmla="*/ 1299286 w 1897116"/>
              <a:gd name="connsiteY817" fmla="*/ 12469 h 1087290"/>
              <a:gd name="connsiteX818" fmla="*/ 1305804 w 1897116"/>
              <a:gd name="connsiteY818" fmla="*/ 12820 h 1087290"/>
              <a:gd name="connsiteX819" fmla="*/ 1314787 w 1897116"/>
              <a:gd name="connsiteY819" fmla="*/ 13332 h 1087290"/>
              <a:gd name="connsiteX820" fmla="*/ 1317253 w 1897116"/>
              <a:gd name="connsiteY820" fmla="*/ 15988 h 1087290"/>
              <a:gd name="connsiteX821" fmla="*/ 1321745 w 1897116"/>
              <a:gd name="connsiteY821" fmla="*/ 14740 h 1087290"/>
              <a:gd name="connsiteX822" fmla="*/ 1316901 w 1897116"/>
              <a:gd name="connsiteY822" fmla="*/ 19763 h 1087290"/>
              <a:gd name="connsiteX823" fmla="*/ 1311352 w 1897116"/>
              <a:gd name="connsiteY823" fmla="*/ 24114 h 1087290"/>
              <a:gd name="connsiteX824" fmla="*/ 1313202 w 1897116"/>
              <a:gd name="connsiteY824" fmla="*/ 24402 h 1087290"/>
              <a:gd name="connsiteX825" fmla="*/ 1322009 w 1897116"/>
              <a:gd name="connsiteY825" fmla="*/ 25873 h 1087290"/>
              <a:gd name="connsiteX826" fmla="*/ 1329759 w 1897116"/>
              <a:gd name="connsiteY826" fmla="*/ 22802 h 1087290"/>
              <a:gd name="connsiteX827" fmla="*/ 1333810 w 1897116"/>
              <a:gd name="connsiteY827" fmla="*/ 26417 h 1087290"/>
              <a:gd name="connsiteX828" fmla="*/ 1347373 w 1897116"/>
              <a:gd name="connsiteY828" fmla="*/ 26353 h 1087290"/>
              <a:gd name="connsiteX829" fmla="*/ 1360848 w 1897116"/>
              <a:gd name="connsiteY829" fmla="*/ 25361 h 1087290"/>
              <a:gd name="connsiteX830" fmla="*/ 1366397 w 1897116"/>
              <a:gd name="connsiteY830" fmla="*/ 24913 h 1087290"/>
              <a:gd name="connsiteX831" fmla="*/ 1371857 w 1897116"/>
              <a:gd name="connsiteY831" fmla="*/ 23698 h 1087290"/>
              <a:gd name="connsiteX832" fmla="*/ 1369920 w 1897116"/>
              <a:gd name="connsiteY832" fmla="*/ 26737 h 1087290"/>
              <a:gd name="connsiteX833" fmla="*/ 1362874 w 1897116"/>
              <a:gd name="connsiteY833" fmla="*/ 32431 h 1087290"/>
              <a:gd name="connsiteX834" fmla="*/ 1356709 w 1897116"/>
              <a:gd name="connsiteY834" fmla="*/ 37838 h 1087290"/>
              <a:gd name="connsiteX835" fmla="*/ 1356533 w 1897116"/>
              <a:gd name="connsiteY835" fmla="*/ 38574 h 1087290"/>
              <a:gd name="connsiteX836" fmla="*/ 1358118 w 1897116"/>
              <a:gd name="connsiteY836" fmla="*/ 39950 h 1087290"/>
              <a:gd name="connsiteX837" fmla="*/ 1367718 w 1897116"/>
              <a:gd name="connsiteY837" fmla="*/ 39214 h 1087290"/>
              <a:gd name="connsiteX838" fmla="*/ 1376965 w 1897116"/>
              <a:gd name="connsiteY838" fmla="*/ 38670 h 1087290"/>
              <a:gd name="connsiteX839" fmla="*/ 1381809 w 1897116"/>
              <a:gd name="connsiteY839" fmla="*/ 39054 h 1087290"/>
              <a:gd name="connsiteX840" fmla="*/ 1389031 w 1897116"/>
              <a:gd name="connsiteY840" fmla="*/ 38062 h 1087290"/>
              <a:gd name="connsiteX841" fmla="*/ 1396165 w 1897116"/>
              <a:gd name="connsiteY841" fmla="*/ 35343 h 1087290"/>
              <a:gd name="connsiteX842" fmla="*/ 1400569 w 1897116"/>
              <a:gd name="connsiteY842" fmla="*/ 35823 h 1087290"/>
              <a:gd name="connsiteX843" fmla="*/ 1401890 w 1897116"/>
              <a:gd name="connsiteY843" fmla="*/ 34127 h 1087290"/>
              <a:gd name="connsiteX844" fmla="*/ 1409904 w 1897116"/>
              <a:gd name="connsiteY844" fmla="*/ 30832 h 1087290"/>
              <a:gd name="connsiteX845" fmla="*/ 1416245 w 1897116"/>
              <a:gd name="connsiteY845" fmla="*/ 29104 h 1087290"/>
              <a:gd name="connsiteX846" fmla="*/ 1422146 w 1897116"/>
              <a:gd name="connsiteY846" fmla="*/ 26705 h 1087290"/>
              <a:gd name="connsiteX847" fmla="*/ 1428399 w 1897116"/>
              <a:gd name="connsiteY847" fmla="*/ 26961 h 1087290"/>
              <a:gd name="connsiteX848" fmla="*/ 1434564 w 1897116"/>
              <a:gd name="connsiteY848" fmla="*/ 24210 h 1087290"/>
              <a:gd name="connsiteX849" fmla="*/ 1441874 w 1897116"/>
              <a:gd name="connsiteY849" fmla="*/ 21394 h 1087290"/>
              <a:gd name="connsiteX850" fmla="*/ 1447070 w 1897116"/>
              <a:gd name="connsiteY850" fmla="*/ 21842 h 1087290"/>
              <a:gd name="connsiteX851" fmla="*/ 1452971 w 1897116"/>
              <a:gd name="connsiteY851" fmla="*/ 20722 h 1087290"/>
              <a:gd name="connsiteX852" fmla="*/ 1459312 w 1897116"/>
              <a:gd name="connsiteY852" fmla="*/ 18035 h 1087290"/>
              <a:gd name="connsiteX853" fmla="*/ 1465830 w 1897116"/>
              <a:gd name="connsiteY853" fmla="*/ 15412 h 1087290"/>
              <a:gd name="connsiteX854" fmla="*/ 1469529 w 1897116"/>
              <a:gd name="connsiteY854" fmla="*/ 14900 h 1087290"/>
              <a:gd name="connsiteX855" fmla="*/ 1478512 w 1897116"/>
              <a:gd name="connsiteY855" fmla="*/ 13204 h 1087290"/>
              <a:gd name="connsiteX856" fmla="*/ 1486350 w 1897116"/>
              <a:gd name="connsiteY856" fmla="*/ 14644 h 1087290"/>
              <a:gd name="connsiteX857" fmla="*/ 1488464 w 1897116"/>
              <a:gd name="connsiteY857" fmla="*/ 16436 h 1087290"/>
              <a:gd name="connsiteX858" fmla="*/ 1493396 w 1897116"/>
              <a:gd name="connsiteY858" fmla="*/ 22866 h 1087290"/>
              <a:gd name="connsiteX859" fmla="*/ 1497976 w 1897116"/>
              <a:gd name="connsiteY859" fmla="*/ 26289 h 1087290"/>
              <a:gd name="connsiteX860" fmla="*/ 1503612 w 1897116"/>
              <a:gd name="connsiteY860" fmla="*/ 28784 h 1087290"/>
              <a:gd name="connsiteX861" fmla="*/ 1513476 w 1897116"/>
              <a:gd name="connsiteY861" fmla="*/ 29072 h 1087290"/>
              <a:gd name="connsiteX862" fmla="*/ 1520874 w 1897116"/>
              <a:gd name="connsiteY862" fmla="*/ 26065 h 1087290"/>
              <a:gd name="connsiteX863" fmla="*/ 1523957 w 1897116"/>
              <a:gd name="connsiteY863" fmla="*/ 24465 h 1087290"/>
              <a:gd name="connsiteX864" fmla="*/ 1525806 w 1897116"/>
              <a:gd name="connsiteY864" fmla="*/ 26193 h 1087290"/>
              <a:gd name="connsiteX865" fmla="*/ 1530650 w 1897116"/>
              <a:gd name="connsiteY865" fmla="*/ 29776 h 1087290"/>
              <a:gd name="connsiteX866" fmla="*/ 1532324 w 1897116"/>
              <a:gd name="connsiteY866" fmla="*/ 31376 h 1087290"/>
              <a:gd name="connsiteX867" fmla="*/ 1535759 w 1897116"/>
              <a:gd name="connsiteY867" fmla="*/ 29296 h 1087290"/>
              <a:gd name="connsiteX868" fmla="*/ 1539634 w 1897116"/>
              <a:gd name="connsiteY868" fmla="*/ 26577 h 1087290"/>
              <a:gd name="connsiteX869" fmla="*/ 1545887 w 1897116"/>
              <a:gd name="connsiteY869" fmla="*/ 23122 h 1087290"/>
              <a:gd name="connsiteX870" fmla="*/ 1548089 w 1897116"/>
              <a:gd name="connsiteY870" fmla="*/ 18931 h 1087290"/>
              <a:gd name="connsiteX871" fmla="*/ 1554430 w 1897116"/>
              <a:gd name="connsiteY871" fmla="*/ 16500 h 1087290"/>
              <a:gd name="connsiteX872" fmla="*/ 1559890 w 1897116"/>
              <a:gd name="connsiteY872" fmla="*/ 18835 h 1087290"/>
              <a:gd name="connsiteX873" fmla="*/ 1564558 w 1897116"/>
              <a:gd name="connsiteY873" fmla="*/ 23538 h 1087290"/>
              <a:gd name="connsiteX874" fmla="*/ 1569578 w 1897116"/>
              <a:gd name="connsiteY874" fmla="*/ 29264 h 1087290"/>
              <a:gd name="connsiteX875" fmla="*/ 1574510 w 1897116"/>
              <a:gd name="connsiteY875" fmla="*/ 34991 h 1087290"/>
              <a:gd name="connsiteX876" fmla="*/ 1577328 w 1897116"/>
              <a:gd name="connsiteY876" fmla="*/ 27985 h 1087290"/>
              <a:gd name="connsiteX877" fmla="*/ 1580235 w 1897116"/>
              <a:gd name="connsiteY877" fmla="*/ 20914 h 1087290"/>
              <a:gd name="connsiteX878" fmla="*/ 1582172 w 1897116"/>
              <a:gd name="connsiteY878" fmla="*/ 18515 h 1087290"/>
              <a:gd name="connsiteX879" fmla="*/ 1584991 w 1897116"/>
              <a:gd name="connsiteY879" fmla="*/ 20531 h 1087290"/>
              <a:gd name="connsiteX880" fmla="*/ 1589834 w 1897116"/>
              <a:gd name="connsiteY880" fmla="*/ 24593 h 1087290"/>
              <a:gd name="connsiteX881" fmla="*/ 1590803 w 1897116"/>
              <a:gd name="connsiteY881" fmla="*/ 29104 h 1087290"/>
              <a:gd name="connsiteX882" fmla="*/ 1598554 w 1897116"/>
              <a:gd name="connsiteY882" fmla="*/ 22226 h 1087290"/>
              <a:gd name="connsiteX883" fmla="*/ 1605511 w 1897116"/>
              <a:gd name="connsiteY883" fmla="*/ 15828 h 1087290"/>
              <a:gd name="connsiteX884" fmla="*/ 1602164 w 1897116"/>
              <a:gd name="connsiteY884" fmla="*/ 12277 h 1087290"/>
              <a:gd name="connsiteX885" fmla="*/ 1609563 w 1897116"/>
              <a:gd name="connsiteY885" fmla="*/ 11733 h 1087290"/>
              <a:gd name="connsiteX886" fmla="*/ 1613526 w 1897116"/>
              <a:gd name="connsiteY886" fmla="*/ 7670 h 1087290"/>
              <a:gd name="connsiteX887" fmla="*/ 1615023 w 1897116"/>
              <a:gd name="connsiteY887" fmla="*/ 3319 h 1087290"/>
              <a:gd name="connsiteX888" fmla="*/ 1621012 w 1897116"/>
              <a:gd name="connsiteY888" fmla="*/ 3287 h 1087290"/>
              <a:gd name="connsiteX889" fmla="*/ 1622333 w 1897116"/>
              <a:gd name="connsiteY889" fmla="*/ 6966 h 1087290"/>
              <a:gd name="connsiteX890" fmla="*/ 1624182 w 1897116"/>
              <a:gd name="connsiteY890" fmla="*/ 15860 h 1087290"/>
              <a:gd name="connsiteX891" fmla="*/ 1625415 w 1897116"/>
              <a:gd name="connsiteY891" fmla="*/ 25713 h 1087290"/>
              <a:gd name="connsiteX892" fmla="*/ 1630788 w 1897116"/>
              <a:gd name="connsiteY892" fmla="*/ 22386 h 1087290"/>
              <a:gd name="connsiteX893" fmla="*/ 1635191 w 1897116"/>
              <a:gd name="connsiteY893" fmla="*/ 23666 h 1087290"/>
              <a:gd name="connsiteX894" fmla="*/ 1640828 w 1897116"/>
              <a:gd name="connsiteY894" fmla="*/ 22482 h 1087290"/>
              <a:gd name="connsiteX895" fmla="*/ 1646817 w 1897116"/>
              <a:gd name="connsiteY895" fmla="*/ 20882 h 1087290"/>
              <a:gd name="connsiteX896" fmla="*/ 1652541 w 1897116"/>
              <a:gd name="connsiteY896" fmla="*/ 18483 h 1087290"/>
              <a:gd name="connsiteX897" fmla="*/ 1657562 w 1897116"/>
              <a:gd name="connsiteY897" fmla="*/ 16787 h 1087290"/>
              <a:gd name="connsiteX898" fmla="*/ 1664167 w 1897116"/>
              <a:gd name="connsiteY898" fmla="*/ 14452 h 1087290"/>
              <a:gd name="connsiteX899" fmla="*/ 1670772 w 1897116"/>
              <a:gd name="connsiteY899" fmla="*/ 12341 h 1087290"/>
              <a:gd name="connsiteX900" fmla="*/ 1677818 w 1897116"/>
              <a:gd name="connsiteY900" fmla="*/ 12277 h 1087290"/>
              <a:gd name="connsiteX901" fmla="*/ 1685304 w 1897116"/>
              <a:gd name="connsiteY901" fmla="*/ 9749 h 1087290"/>
              <a:gd name="connsiteX902" fmla="*/ 1688915 w 1897116"/>
              <a:gd name="connsiteY902" fmla="*/ 12405 h 1087290"/>
              <a:gd name="connsiteX903" fmla="*/ 1693671 w 1897116"/>
              <a:gd name="connsiteY903" fmla="*/ 8342 h 1087290"/>
              <a:gd name="connsiteX904" fmla="*/ 1703271 w 1897116"/>
              <a:gd name="connsiteY904" fmla="*/ 9173 h 1087290"/>
              <a:gd name="connsiteX905" fmla="*/ 1704416 w 1897116"/>
              <a:gd name="connsiteY905" fmla="*/ 7926 h 1087290"/>
              <a:gd name="connsiteX906" fmla="*/ 1708027 w 1897116"/>
              <a:gd name="connsiteY906" fmla="*/ 11669 h 1087290"/>
              <a:gd name="connsiteX907" fmla="*/ 1710581 w 1897116"/>
              <a:gd name="connsiteY907" fmla="*/ 16628 h 1087290"/>
              <a:gd name="connsiteX908" fmla="*/ 1711549 w 1897116"/>
              <a:gd name="connsiteY908" fmla="*/ 15892 h 1087290"/>
              <a:gd name="connsiteX909" fmla="*/ 1716834 w 1897116"/>
              <a:gd name="connsiteY909" fmla="*/ 19315 h 1087290"/>
              <a:gd name="connsiteX910" fmla="*/ 1722646 w 1897116"/>
              <a:gd name="connsiteY910" fmla="*/ 21362 h 1087290"/>
              <a:gd name="connsiteX911" fmla="*/ 1727578 w 1897116"/>
              <a:gd name="connsiteY911" fmla="*/ 23506 h 1087290"/>
              <a:gd name="connsiteX912" fmla="*/ 1729076 w 1897116"/>
              <a:gd name="connsiteY912" fmla="*/ 21970 h 1087290"/>
              <a:gd name="connsiteX913" fmla="*/ 1733743 w 1897116"/>
              <a:gd name="connsiteY913" fmla="*/ 23474 h 1087290"/>
              <a:gd name="connsiteX914" fmla="*/ 1740965 w 1897116"/>
              <a:gd name="connsiteY914" fmla="*/ 21970 h 1087290"/>
              <a:gd name="connsiteX915" fmla="*/ 1742639 w 1897116"/>
              <a:gd name="connsiteY915" fmla="*/ 21330 h 1087290"/>
              <a:gd name="connsiteX916" fmla="*/ 1749949 w 1897116"/>
              <a:gd name="connsiteY916" fmla="*/ 21874 h 1087290"/>
              <a:gd name="connsiteX917" fmla="*/ 1758492 w 1897116"/>
              <a:gd name="connsiteY917" fmla="*/ 23154 h 1087290"/>
              <a:gd name="connsiteX918" fmla="*/ 1760517 w 1897116"/>
              <a:gd name="connsiteY918" fmla="*/ 25297 h 1087290"/>
              <a:gd name="connsiteX919" fmla="*/ 1765802 w 1897116"/>
              <a:gd name="connsiteY919" fmla="*/ 30576 h 1087290"/>
              <a:gd name="connsiteX920" fmla="*/ 1772583 w 1897116"/>
              <a:gd name="connsiteY920" fmla="*/ 34959 h 1087290"/>
              <a:gd name="connsiteX921" fmla="*/ 1781214 w 1897116"/>
              <a:gd name="connsiteY921" fmla="*/ 36622 h 1087290"/>
              <a:gd name="connsiteX922" fmla="*/ 1786058 w 1897116"/>
              <a:gd name="connsiteY922" fmla="*/ 34287 h 1087290"/>
              <a:gd name="connsiteX923" fmla="*/ 1786058 w 1897116"/>
              <a:gd name="connsiteY923" fmla="*/ 34639 h 1087290"/>
              <a:gd name="connsiteX924" fmla="*/ 1790638 w 1897116"/>
              <a:gd name="connsiteY924" fmla="*/ 36366 h 1087290"/>
              <a:gd name="connsiteX925" fmla="*/ 1789405 w 1897116"/>
              <a:gd name="connsiteY925" fmla="*/ 39406 h 1087290"/>
              <a:gd name="connsiteX926" fmla="*/ 1789669 w 1897116"/>
              <a:gd name="connsiteY926" fmla="*/ 45132 h 1087290"/>
              <a:gd name="connsiteX927" fmla="*/ 1789669 w 1897116"/>
              <a:gd name="connsiteY927" fmla="*/ 49227 h 1087290"/>
              <a:gd name="connsiteX928" fmla="*/ 1788700 w 1897116"/>
              <a:gd name="connsiteY928" fmla="*/ 49803 h 1087290"/>
              <a:gd name="connsiteX929" fmla="*/ 1789757 w 1897116"/>
              <a:gd name="connsiteY929" fmla="*/ 49899 h 1087290"/>
              <a:gd name="connsiteX930" fmla="*/ 1789669 w 1897116"/>
              <a:gd name="connsiteY930" fmla="*/ 49227 h 1087290"/>
              <a:gd name="connsiteX931" fmla="*/ 1794425 w 1897116"/>
              <a:gd name="connsiteY931" fmla="*/ 49643 h 1087290"/>
              <a:gd name="connsiteX932" fmla="*/ 1800061 w 1897116"/>
              <a:gd name="connsiteY932" fmla="*/ 49515 h 1087290"/>
              <a:gd name="connsiteX933" fmla="*/ 1804641 w 1897116"/>
              <a:gd name="connsiteY933" fmla="*/ 48747 h 1087290"/>
              <a:gd name="connsiteX934" fmla="*/ 1811335 w 1897116"/>
              <a:gd name="connsiteY934" fmla="*/ 46924 h 1087290"/>
              <a:gd name="connsiteX935" fmla="*/ 1811863 w 1897116"/>
              <a:gd name="connsiteY935" fmla="*/ 50859 h 1087290"/>
              <a:gd name="connsiteX936" fmla="*/ 1816707 w 1897116"/>
              <a:gd name="connsiteY936" fmla="*/ 45228 h 1087290"/>
              <a:gd name="connsiteX937" fmla="*/ 1821991 w 1897116"/>
              <a:gd name="connsiteY937" fmla="*/ 41581 h 1087290"/>
              <a:gd name="connsiteX938" fmla="*/ 1828332 w 1897116"/>
              <a:gd name="connsiteY938" fmla="*/ 41773 h 1087290"/>
              <a:gd name="connsiteX939" fmla="*/ 1830710 w 1897116"/>
              <a:gd name="connsiteY939" fmla="*/ 37902 h 1087290"/>
              <a:gd name="connsiteX940" fmla="*/ 1834585 w 1897116"/>
              <a:gd name="connsiteY940" fmla="*/ 35471 h 1087290"/>
              <a:gd name="connsiteX941" fmla="*/ 1835202 w 1897116"/>
              <a:gd name="connsiteY941" fmla="*/ 36015 h 1087290"/>
              <a:gd name="connsiteX942" fmla="*/ 1840398 w 1897116"/>
              <a:gd name="connsiteY942" fmla="*/ 40173 h 1087290"/>
              <a:gd name="connsiteX943" fmla="*/ 1843481 w 1897116"/>
              <a:gd name="connsiteY943" fmla="*/ 46284 h 1087290"/>
              <a:gd name="connsiteX944" fmla="*/ 1846827 w 1897116"/>
              <a:gd name="connsiteY944" fmla="*/ 50699 h 1087290"/>
              <a:gd name="connsiteX945" fmla="*/ 1850967 w 1897116"/>
              <a:gd name="connsiteY945" fmla="*/ 46092 h 1087290"/>
              <a:gd name="connsiteX946" fmla="*/ 1855018 w 1897116"/>
              <a:gd name="connsiteY946" fmla="*/ 41549 h 1087290"/>
              <a:gd name="connsiteX947" fmla="*/ 1857660 w 1897116"/>
              <a:gd name="connsiteY947" fmla="*/ 40013 h 1087290"/>
              <a:gd name="connsiteX948" fmla="*/ 1858277 w 1897116"/>
              <a:gd name="connsiteY948" fmla="*/ 47756 h 1087290"/>
              <a:gd name="connsiteX949" fmla="*/ 1857660 w 1897116"/>
              <a:gd name="connsiteY949" fmla="*/ 57001 h 1087290"/>
              <a:gd name="connsiteX950" fmla="*/ 1857924 w 1897116"/>
              <a:gd name="connsiteY950" fmla="*/ 57225 h 1087290"/>
              <a:gd name="connsiteX951" fmla="*/ 1859157 w 1897116"/>
              <a:gd name="connsiteY951" fmla="*/ 56041 h 1087290"/>
              <a:gd name="connsiteX952" fmla="*/ 1862944 w 1897116"/>
              <a:gd name="connsiteY952" fmla="*/ 56457 h 1087290"/>
              <a:gd name="connsiteX953" fmla="*/ 1865763 w 1897116"/>
              <a:gd name="connsiteY953" fmla="*/ 50539 h 1087290"/>
              <a:gd name="connsiteX954" fmla="*/ 1873865 w 1897116"/>
              <a:gd name="connsiteY954" fmla="*/ 44076 h 1087290"/>
              <a:gd name="connsiteX955" fmla="*/ 1879502 w 1897116"/>
              <a:gd name="connsiteY955" fmla="*/ 41357 h 1087290"/>
              <a:gd name="connsiteX956" fmla="*/ 1883377 w 1897116"/>
              <a:gd name="connsiteY956" fmla="*/ 35919 h 1087290"/>
              <a:gd name="connsiteX957" fmla="*/ 1881792 w 1897116"/>
              <a:gd name="connsiteY957" fmla="*/ 34639 h 1087290"/>
              <a:gd name="connsiteX958" fmla="*/ 1888485 w 1897116"/>
              <a:gd name="connsiteY958" fmla="*/ 31408 h 1087290"/>
              <a:gd name="connsiteX959" fmla="*/ 1892008 w 1897116"/>
              <a:gd name="connsiteY959" fmla="*/ 29648 h 1087290"/>
              <a:gd name="connsiteX960" fmla="*/ 1893593 w 1897116"/>
              <a:gd name="connsiteY960" fmla="*/ 37262 h 1087290"/>
              <a:gd name="connsiteX961" fmla="*/ 1892360 w 1897116"/>
              <a:gd name="connsiteY961" fmla="*/ 44268 h 1087290"/>
              <a:gd name="connsiteX962" fmla="*/ 1897116 w 1897116"/>
              <a:gd name="connsiteY962" fmla="*/ 48459 h 1087290"/>
              <a:gd name="connsiteX963" fmla="*/ 1886628 w 1897116"/>
              <a:gd name="connsiteY963" fmla="*/ 968560 h 1087290"/>
              <a:gd name="connsiteX964" fmla="*/ 1886628 w 1897116"/>
              <a:gd name="connsiteY964" fmla="*/ 980213 h 1087290"/>
              <a:gd name="connsiteX965" fmla="*/ 1886628 w 1897116"/>
              <a:gd name="connsiteY965" fmla="*/ 988837 h 1087290"/>
              <a:gd name="connsiteX966" fmla="*/ 1886628 w 1897116"/>
              <a:gd name="connsiteY966" fmla="*/ 994240 h 1087290"/>
              <a:gd name="connsiteX967" fmla="*/ 1886628 w 1897116"/>
              <a:gd name="connsiteY967" fmla="*/ 996096 h 1087290"/>
              <a:gd name="connsiteX968" fmla="*/ 1882510 w 1897116"/>
              <a:gd name="connsiteY968" fmla="*/ 998770 h 1087290"/>
              <a:gd name="connsiteX969" fmla="*/ 1877778 w 1897116"/>
              <a:gd name="connsiteY969" fmla="*/ 1002427 h 1087290"/>
              <a:gd name="connsiteX970" fmla="*/ 1874360 w 1897116"/>
              <a:gd name="connsiteY970" fmla="*/ 1006329 h 1087290"/>
              <a:gd name="connsiteX971" fmla="*/ 1869716 w 1897116"/>
              <a:gd name="connsiteY971" fmla="*/ 1009222 h 1087290"/>
              <a:gd name="connsiteX972" fmla="*/ 1869102 w 1897116"/>
              <a:gd name="connsiteY972" fmla="*/ 1006684 h 1087290"/>
              <a:gd name="connsiteX973" fmla="*/ 1867262 w 1897116"/>
              <a:gd name="connsiteY973" fmla="*/ 996696 h 1087290"/>
              <a:gd name="connsiteX974" fmla="*/ 1864984 w 1897116"/>
              <a:gd name="connsiteY974" fmla="*/ 989273 h 1087290"/>
              <a:gd name="connsiteX975" fmla="*/ 1864984 w 1897116"/>
              <a:gd name="connsiteY975" fmla="*/ 984170 h 1087290"/>
              <a:gd name="connsiteX976" fmla="*/ 1863669 w 1897116"/>
              <a:gd name="connsiteY976" fmla="*/ 989273 h 1087290"/>
              <a:gd name="connsiteX977" fmla="*/ 1862355 w 1897116"/>
              <a:gd name="connsiteY977" fmla="*/ 994649 h 1087290"/>
              <a:gd name="connsiteX978" fmla="*/ 1860690 w 1897116"/>
              <a:gd name="connsiteY978" fmla="*/ 1001090 h 1087290"/>
              <a:gd name="connsiteX979" fmla="*/ 1858324 w 1897116"/>
              <a:gd name="connsiteY979" fmla="*/ 1008731 h 1087290"/>
              <a:gd name="connsiteX980" fmla="*/ 1857360 w 1897116"/>
              <a:gd name="connsiteY980" fmla="*/ 1014161 h 1087290"/>
              <a:gd name="connsiteX981" fmla="*/ 1855607 w 1897116"/>
              <a:gd name="connsiteY981" fmla="*/ 1021284 h 1087290"/>
              <a:gd name="connsiteX982" fmla="*/ 1854819 w 1897116"/>
              <a:gd name="connsiteY982" fmla="*/ 1024695 h 1087290"/>
              <a:gd name="connsiteX983" fmla="*/ 1854994 w 1897116"/>
              <a:gd name="connsiteY983" fmla="*/ 1030562 h 1087290"/>
              <a:gd name="connsiteX984" fmla="*/ 1853504 w 1897116"/>
              <a:gd name="connsiteY984" fmla="*/ 1034083 h 1087290"/>
              <a:gd name="connsiteX985" fmla="*/ 1847831 w 1897116"/>
              <a:gd name="connsiteY985" fmla="*/ 1034044 h 1087290"/>
              <a:gd name="connsiteX986" fmla="*/ 1846998 w 1897116"/>
              <a:gd name="connsiteY986" fmla="*/ 1033257 h 1087290"/>
              <a:gd name="connsiteX987" fmla="*/ 1846947 w 1897116"/>
              <a:gd name="connsiteY987" fmla="*/ 1033944 h 1087290"/>
              <a:gd name="connsiteX988" fmla="*/ 1841061 w 1897116"/>
              <a:gd name="connsiteY988" fmla="*/ 1031708 h 1087290"/>
              <a:gd name="connsiteX989" fmla="*/ 1834313 w 1897116"/>
              <a:gd name="connsiteY989" fmla="*/ 1027506 h 1087290"/>
              <a:gd name="connsiteX990" fmla="*/ 1829406 w 1897116"/>
              <a:gd name="connsiteY990" fmla="*/ 1032418 h 1087290"/>
              <a:gd name="connsiteX991" fmla="*/ 1824587 w 1897116"/>
              <a:gd name="connsiteY991" fmla="*/ 1037303 h 1087290"/>
              <a:gd name="connsiteX992" fmla="*/ 1820205 w 1897116"/>
              <a:gd name="connsiteY992" fmla="*/ 1041560 h 1087290"/>
              <a:gd name="connsiteX993" fmla="*/ 1816087 w 1897116"/>
              <a:gd name="connsiteY993" fmla="*/ 1045872 h 1087290"/>
              <a:gd name="connsiteX994" fmla="*/ 1810391 w 1897116"/>
              <a:gd name="connsiteY994" fmla="*/ 1048874 h 1087290"/>
              <a:gd name="connsiteX995" fmla="*/ 1804782 w 1897116"/>
              <a:gd name="connsiteY995" fmla="*/ 1050347 h 1087290"/>
              <a:gd name="connsiteX996" fmla="*/ 1804552 w 1897116"/>
              <a:gd name="connsiteY996" fmla="*/ 1048972 h 1087290"/>
              <a:gd name="connsiteX997" fmla="*/ 1801462 w 1897116"/>
              <a:gd name="connsiteY997" fmla="*/ 1048324 h 1087290"/>
              <a:gd name="connsiteX998" fmla="*/ 1802230 w 1897116"/>
              <a:gd name="connsiteY998" fmla="*/ 1047946 h 1087290"/>
              <a:gd name="connsiteX999" fmla="*/ 1800050 w 1897116"/>
              <a:gd name="connsiteY999" fmla="*/ 1048028 h 1087290"/>
              <a:gd name="connsiteX1000" fmla="*/ 1801462 w 1897116"/>
              <a:gd name="connsiteY1000" fmla="*/ 1048324 h 1087290"/>
              <a:gd name="connsiteX1001" fmla="*/ 1795406 w 1897116"/>
              <a:gd name="connsiteY1001" fmla="*/ 1051302 h 1087290"/>
              <a:gd name="connsiteX1002" fmla="*/ 1791550 w 1897116"/>
              <a:gd name="connsiteY1002" fmla="*/ 1047673 h 1087290"/>
              <a:gd name="connsiteX1003" fmla="*/ 1792251 w 1897116"/>
              <a:gd name="connsiteY1003" fmla="*/ 1043361 h 1087290"/>
              <a:gd name="connsiteX1004" fmla="*/ 1787958 w 1897116"/>
              <a:gd name="connsiteY1004" fmla="*/ 1041014 h 1087290"/>
              <a:gd name="connsiteX1005" fmla="*/ 1781561 w 1897116"/>
              <a:gd name="connsiteY1005" fmla="*/ 1044343 h 1087290"/>
              <a:gd name="connsiteX1006" fmla="*/ 1779983 w 1897116"/>
              <a:gd name="connsiteY1006" fmla="*/ 1043579 h 1087290"/>
              <a:gd name="connsiteX1007" fmla="*/ 1773148 w 1897116"/>
              <a:gd name="connsiteY1007" fmla="*/ 1046472 h 1087290"/>
              <a:gd name="connsiteX1008" fmla="*/ 1771020 w 1897116"/>
              <a:gd name="connsiteY1008" fmla="*/ 1049962 h 1087290"/>
              <a:gd name="connsiteX1009" fmla="*/ 1768300 w 1897116"/>
              <a:gd name="connsiteY1009" fmla="*/ 1049999 h 1087290"/>
              <a:gd name="connsiteX1010" fmla="*/ 1767189 w 1897116"/>
              <a:gd name="connsiteY1010" fmla="*/ 1049829 h 1087290"/>
              <a:gd name="connsiteX1011" fmla="*/ 1767327 w 1897116"/>
              <a:gd name="connsiteY1011" fmla="*/ 1050013 h 1087290"/>
              <a:gd name="connsiteX1012" fmla="*/ 1766839 w 1897116"/>
              <a:gd name="connsiteY1012" fmla="*/ 1050020 h 1087290"/>
              <a:gd name="connsiteX1013" fmla="*/ 1762096 w 1897116"/>
              <a:gd name="connsiteY1013" fmla="*/ 1045145 h 1087290"/>
              <a:gd name="connsiteX1014" fmla="*/ 1768218 w 1897116"/>
              <a:gd name="connsiteY1014" fmla="*/ 1044030 h 1087290"/>
              <a:gd name="connsiteX1015" fmla="*/ 1768591 w 1897116"/>
              <a:gd name="connsiteY1015" fmla="*/ 1044289 h 1087290"/>
              <a:gd name="connsiteX1016" fmla="*/ 1769643 w 1897116"/>
              <a:gd name="connsiteY1016" fmla="*/ 1043770 h 1087290"/>
              <a:gd name="connsiteX1017" fmla="*/ 1768218 w 1897116"/>
              <a:gd name="connsiteY1017" fmla="*/ 1044030 h 1087290"/>
              <a:gd name="connsiteX1018" fmla="*/ 1767573 w 1897116"/>
              <a:gd name="connsiteY1018" fmla="*/ 1043583 h 1087290"/>
              <a:gd name="connsiteX1019" fmla="*/ 1761231 w 1897116"/>
              <a:gd name="connsiteY1019" fmla="*/ 1040850 h 1087290"/>
              <a:gd name="connsiteX1020" fmla="*/ 1752730 w 1897116"/>
              <a:gd name="connsiteY1020" fmla="*/ 1037930 h 1087290"/>
              <a:gd name="connsiteX1021" fmla="*/ 1750737 w 1897116"/>
              <a:gd name="connsiteY1021" fmla="*/ 1040216 h 1087290"/>
              <a:gd name="connsiteX1022" fmla="*/ 1749661 w 1897116"/>
              <a:gd name="connsiteY1022" fmla="*/ 1041465 h 1087290"/>
              <a:gd name="connsiteX1023" fmla="*/ 1749156 w 1897116"/>
              <a:gd name="connsiteY1023" fmla="*/ 1040798 h 1087290"/>
              <a:gd name="connsiteX1024" fmla="*/ 1748612 w 1897116"/>
              <a:gd name="connsiteY1024" fmla="*/ 1042706 h 1087290"/>
              <a:gd name="connsiteX1025" fmla="*/ 1750726 w 1897116"/>
              <a:gd name="connsiteY1025" fmla="*/ 1043089 h 1087290"/>
              <a:gd name="connsiteX1026" fmla="*/ 1749488 w 1897116"/>
              <a:gd name="connsiteY1026" fmla="*/ 1045599 h 1087290"/>
              <a:gd name="connsiteX1027" fmla="*/ 1742215 w 1897116"/>
              <a:gd name="connsiteY1027" fmla="*/ 1041778 h 1087290"/>
              <a:gd name="connsiteX1028" fmla="*/ 1736870 w 1897116"/>
              <a:gd name="connsiteY1028" fmla="*/ 1042051 h 1087290"/>
              <a:gd name="connsiteX1029" fmla="*/ 1730406 w 1897116"/>
              <a:gd name="connsiteY1029" fmla="*/ 1043213 h 1087290"/>
              <a:gd name="connsiteX1030" fmla="*/ 1728950 w 1897116"/>
              <a:gd name="connsiteY1030" fmla="*/ 1043524 h 1087290"/>
              <a:gd name="connsiteX1031" fmla="*/ 1728402 w 1897116"/>
              <a:gd name="connsiteY1031" fmla="*/ 1042198 h 1087290"/>
              <a:gd name="connsiteX1032" fmla="*/ 1723988 w 1897116"/>
              <a:gd name="connsiteY1032" fmla="*/ 1044589 h 1087290"/>
              <a:gd name="connsiteX1033" fmla="*/ 1723287 w 1897116"/>
              <a:gd name="connsiteY1033" fmla="*/ 1048955 h 1087290"/>
              <a:gd name="connsiteX1034" fmla="*/ 1719168 w 1897116"/>
              <a:gd name="connsiteY1034" fmla="*/ 1055177 h 1087290"/>
              <a:gd name="connsiteX1035" fmla="*/ 1713648 w 1897116"/>
              <a:gd name="connsiteY1035" fmla="*/ 1054304 h 1087290"/>
              <a:gd name="connsiteX1036" fmla="*/ 1713998 w 1897116"/>
              <a:gd name="connsiteY1036" fmla="*/ 1056051 h 1087290"/>
              <a:gd name="connsiteX1037" fmla="*/ 1708302 w 1897116"/>
              <a:gd name="connsiteY1037" fmla="*/ 1054413 h 1087290"/>
              <a:gd name="connsiteX1038" fmla="*/ 1702606 w 1897116"/>
              <a:gd name="connsiteY1038" fmla="*/ 1058398 h 1087290"/>
              <a:gd name="connsiteX1039" fmla="*/ 1699978 w 1897116"/>
              <a:gd name="connsiteY1039" fmla="*/ 1056979 h 1087290"/>
              <a:gd name="connsiteX1040" fmla="*/ 1696560 w 1897116"/>
              <a:gd name="connsiteY1040" fmla="*/ 1056105 h 1087290"/>
              <a:gd name="connsiteX1041" fmla="*/ 1693493 w 1897116"/>
              <a:gd name="connsiteY1041" fmla="*/ 1062245 h 1087290"/>
              <a:gd name="connsiteX1042" fmla="*/ 1692441 w 1897116"/>
              <a:gd name="connsiteY1042" fmla="*/ 1063528 h 1087290"/>
              <a:gd name="connsiteX1043" fmla="*/ 1684905 w 1897116"/>
              <a:gd name="connsiteY1043" fmla="*/ 1064674 h 1087290"/>
              <a:gd name="connsiteX1044" fmla="*/ 1683941 w 1897116"/>
              <a:gd name="connsiteY1044" fmla="*/ 1062737 h 1087290"/>
              <a:gd name="connsiteX1045" fmla="*/ 1681488 w 1897116"/>
              <a:gd name="connsiteY1045" fmla="*/ 1059489 h 1087290"/>
              <a:gd name="connsiteX1046" fmla="*/ 1675178 w 1897116"/>
              <a:gd name="connsiteY1046" fmla="*/ 1061727 h 1087290"/>
              <a:gd name="connsiteX1047" fmla="*/ 1669132 w 1897116"/>
              <a:gd name="connsiteY1047" fmla="*/ 1062000 h 1087290"/>
              <a:gd name="connsiteX1048" fmla="*/ 1664049 w 1897116"/>
              <a:gd name="connsiteY1048" fmla="*/ 1060499 h 1087290"/>
              <a:gd name="connsiteX1049" fmla="*/ 1662560 w 1897116"/>
              <a:gd name="connsiteY1049" fmla="*/ 1065493 h 1087290"/>
              <a:gd name="connsiteX1050" fmla="*/ 1652745 w 1897116"/>
              <a:gd name="connsiteY1050" fmla="*/ 1059571 h 1087290"/>
              <a:gd name="connsiteX1051" fmla="*/ 1647400 w 1897116"/>
              <a:gd name="connsiteY1051" fmla="*/ 1050484 h 1087290"/>
              <a:gd name="connsiteX1052" fmla="*/ 1646085 w 1897116"/>
              <a:gd name="connsiteY1052" fmla="*/ 1056214 h 1087290"/>
              <a:gd name="connsiteX1053" fmla="*/ 1640214 w 1897116"/>
              <a:gd name="connsiteY1053" fmla="*/ 1054386 h 1087290"/>
              <a:gd name="connsiteX1054" fmla="*/ 1630225 w 1897116"/>
              <a:gd name="connsiteY1054" fmla="*/ 1054086 h 1087290"/>
              <a:gd name="connsiteX1055" fmla="*/ 1624003 w 1897116"/>
              <a:gd name="connsiteY1055" fmla="*/ 1053294 h 1087290"/>
              <a:gd name="connsiteX1056" fmla="*/ 1622250 w 1897116"/>
              <a:gd name="connsiteY1056" fmla="*/ 1056023 h 1087290"/>
              <a:gd name="connsiteX1057" fmla="*/ 1613663 w 1897116"/>
              <a:gd name="connsiteY1057" fmla="*/ 1057333 h 1087290"/>
              <a:gd name="connsiteX1058" fmla="*/ 1609106 w 1897116"/>
              <a:gd name="connsiteY1058" fmla="*/ 1058479 h 1087290"/>
              <a:gd name="connsiteX1059" fmla="*/ 1610683 w 1897116"/>
              <a:gd name="connsiteY1059" fmla="*/ 1054795 h 1087290"/>
              <a:gd name="connsiteX1060" fmla="*/ 1605163 w 1897116"/>
              <a:gd name="connsiteY1060" fmla="*/ 1050102 h 1087290"/>
              <a:gd name="connsiteX1061" fmla="*/ 1600606 w 1897116"/>
              <a:gd name="connsiteY1061" fmla="*/ 1049965 h 1087290"/>
              <a:gd name="connsiteX1062" fmla="*/ 1596224 w 1897116"/>
              <a:gd name="connsiteY1062" fmla="*/ 1046963 h 1087290"/>
              <a:gd name="connsiteX1063" fmla="*/ 1593596 w 1897116"/>
              <a:gd name="connsiteY1063" fmla="*/ 1047994 h 1087290"/>
              <a:gd name="connsiteX1064" fmla="*/ 1589459 w 1897116"/>
              <a:gd name="connsiteY1064" fmla="*/ 1045424 h 1087290"/>
              <a:gd name="connsiteX1065" fmla="*/ 1590781 w 1897116"/>
              <a:gd name="connsiteY1065" fmla="*/ 1042061 h 1087290"/>
              <a:gd name="connsiteX1066" fmla="*/ 1589126 w 1897116"/>
              <a:gd name="connsiteY1066" fmla="*/ 1045217 h 1087290"/>
              <a:gd name="connsiteX1067" fmla="*/ 1589459 w 1897116"/>
              <a:gd name="connsiteY1067" fmla="*/ 1045424 h 1087290"/>
              <a:gd name="connsiteX1068" fmla="*/ 1588425 w 1897116"/>
              <a:gd name="connsiteY1068" fmla="*/ 1048055 h 1087290"/>
              <a:gd name="connsiteX1069" fmla="*/ 1583956 w 1897116"/>
              <a:gd name="connsiteY1069" fmla="*/ 1046581 h 1087290"/>
              <a:gd name="connsiteX1070" fmla="*/ 1582817 w 1897116"/>
              <a:gd name="connsiteY1070" fmla="*/ 1050948 h 1087290"/>
              <a:gd name="connsiteX1071" fmla="*/ 1584764 w 1897116"/>
              <a:gd name="connsiteY1071" fmla="*/ 1052756 h 1087290"/>
              <a:gd name="connsiteX1072" fmla="*/ 1580977 w 1897116"/>
              <a:gd name="connsiteY1072" fmla="*/ 1052012 h 1087290"/>
              <a:gd name="connsiteX1073" fmla="*/ 1578305 w 1897116"/>
              <a:gd name="connsiteY1073" fmla="*/ 1051874 h 1087290"/>
              <a:gd name="connsiteX1074" fmla="*/ 1574492 w 1897116"/>
              <a:gd name="connsiteY1074" fmla="*/ 1050347 h 1087290"/>
              <a:gd name="connsiteX1075" fmla="*/ 1567482 w 1897116"/>
              <a:gd name="connsiteY1075" fmla="*/ 1046145 h 1087290"/>
              <a:gd name="connsiteX1076" fmla="*/ 1563100 w 1897116"/>
              <a:gd name="connsiteY1076" fmla="*/ 1047591 h 1087290"/>
              <a:gd name="connsiteX1077" fmla="*/ 1552410 w 1897116"/>
              <a:gd name="connsiteY1077" fmla="*/ 1048137 h 1087290"/>
              <a:gd name="connsiteX1078" fmla="*/ 1542245 w 1897116"/>
              <a:gd name="connsiteY1078" fmla="*/ 1055041 h 1087290"/>
              <a:gd name="connsiteX1079" fmla="*/ 1537074 w 1897116"/>
              <a:gd name="connsiteY1079" fmla="*/ 1063610 h 1087290"/>
              <a:gd name="connsiteX1080" fmla="*/ 1535753 w 1897116"/>
              <a:gd name="connsiteY1080" fmla="*/ 1064310 h 1087290"/>
              <a:gd name="connsiteX1081" fmla="*/ 1534555 w 1897116"/>
              <a:gd name="connsiteY1081" fmla="*/ 1061710 h 1087290"/>
              <a:gd name="connsiteX1082" fmla="*/ 1535409 w 1897116"/>
              <a:gd name="connsiteY1082" fmla="*/ 1062627 h 1087290"/>
              <a:gd name="connsiteX1083" fmla="*/ 1533482 w 1897116"/>
              <a:gd name="connsiteY1083" fmla="*/ 1055942 h 1087290"/>
              <a:gd name="connsiteX1084" fmla="*/ 1532167 w 1897116"/>
              <a:gd name="connsiteY1084" fmla="*/ 1049501 h 1087290"/>
              <a:gd name="connsiteX1085" fmla="*/ 1532496 w 1897116"/>
              <a:gd name="connsiteY1085" fmla="*/ 1046731 h 1087290"/>
              <a:gd name="connsiteX1086" fmla="*/ 1532058 w 1897116"/>
              <a:gd name="connsiteY1086" fmla="*/ 1045420 h 1087290"/>
              <a:gd name="connsiteX1087" fmla="*/ 1532342 w 1897116"/>
              <a:gd name="connsiteY1087" fmla="*/ 1044848 h 1087290"/>
              <a:gd name="connsiteX1088" fmla="*/ 1530972 w 1897116"/>
              <a:gd name="connsiteY1088" fmla="*/ 1038571 h 1087290"/>
              <a:gd name="connsiteX1089" fmla="*/ 1531543 w 1897116"/>
              <a:gd name="connsiteY1089" fmla="*/ 1038404 h 1087290"/>
              <a:gd name="connsiteX1090" fmla="*/ 1530677 w 1897116"/>
              <a:gd name="connsiteY1090" fmla="*/ 1037221 h 1087290"/>
              <a:gd name="connsiteX1091" fmla="*/ 1530972 w 1897116"/>
              <a:gd name="connsiteY1091" fmla="*/ 1038571 h 1087290"/>
              <a:gd name="connsiteX1092" fmla="*/ 1524456 w 1897116"/>
              <a:gd name="connsiteY1092" fmla="*/ 1040468 h 1087290"/>
              <a:gd name="connsiteX1093" fmla="*/ 1518322 w 1897116"/>
              <a:gd name="connsiteY1093" fmla="*/ 1043689 h 1087290"/>
              <a:gd name="connsiteX1094" fmla="*/ 1510085 w 1897116"/>
              <a:gd name="connsiteY1094" fmla="*/ 1046636 h 1087290"/>
              <a:gd name="connsiteX1095" fmla="*/ 1506054 w 1897116"/>
              <a:gd name="connsiteY1095" fmla="*/ 1048491 h 1087290"/>
              <a:gd name="connsiteX1096" fmla="*/ 1500621 w 1897116"/>
              <a:gd name="connsiteY1096" fmla="*/ 1051029 h 1087290"/>
              <a:gd name="connsiteX1097" fmla="*/ 1492822 w 1897116"/>
              <a:gd name="connsiteY1097" fmla="*/ 1048491 h 1087290"/>
              <a:gd name="connsiteX1098" fmla="*/ 1485285 w 1897116"/>
              <a:gd name="connsiteY1098" fmla="*/ 1046581 h 1087290"/>
              <a:gd name="connsiteX1099" fmla="*/ 1485461 w 1897116"/>
              <a:gd name="connsiteY1099" fmla="*/ 1045571 h 1087290"/>
              <a:gd name="connsiteX1100" fmla="*/ 1487389 w 1897116"/>
              <a:gd name="connsiteY1100" fmla="*/ 1043252 h 1087290"/>
              <a:gd name="connsiteX1101" fmla="*/ 1480816 w 1897116"/>
              <a:gd name="connsiteY1101" fmla="*/ 1040359 h 1087290"/>
              <a:gd name="connsiteX1102" fmla="*/ 1481079 w 1897116"/>
              <a:gd name="connsiteY1102" fmla="*/ 1038940 h 1087290"/>
              <a:gd name="connsiteX1103" fmla="*/ 1475646 w 1897116"/>
              <a:gd name="connsiteY1103" fmla="*/ 1034055 h 1087290"/>
              <a:gd name="connsiteX1104" fmla="*/ 1475208 w 1897116"/>
              <a:gd name="connsiteY1104" fmla="*/ 1036757 h 1087290"/>
              <a:gd name="connsiteX1105" fmla="*/ 1471878 w 1897116"/>
              <a:gd name="connsiteY1105" fmla="*/ 1030344 h 1087290"/>
              <a:gd name="connsiteX1106" fmla="*/ 1467059 w 1897116"/>
              <a:gd name="connsiteY1106" fmla="*/ 1027560 h 1087290"/>
              <a:gd name="connsiteX1107" fmla="*/ 1461187 w 1897116"/>
              <a:gd name="connsiteY1107" fmla="*/ 1028788 h 1087290"/>
              <a:gd name="connsiteX1108" fmla="*/ 1459873 w 1897116"/>
              <a:gd name="connsiteY1108" fmla="*/ 1024067 h 1087290"/>
              <a:gd name="connsiteX1109" fmla="*/ 1454002 w 1897116"/>
              <a:gd name="connsiteY1109" fmla="*/ 1024122 h 1087290"/>
              <a:gd name="connsiteX1110" fmla="*/ 1447342 w 1897116"/>
              <a:gd name="connsiteY1110" fmla="*/ 1025541 h 1087290"/>
              <a:gd name="connsiteX1111" fmla="*/ 1441295 w 1897116"/>
              <a:gd name="connsiteY1111" fmla="*/ 1026332 h 1087290"/>
              <a:gd name="connsiteX1112" fmla="*/ 1433935 w 1897116"/>
              <a:gd name="connsiteY1112" fmla="*/ 1029389 h 1087290"/>
              <a:gd name="connsiteX1113" fmla="*/ 1429641 w 1897116"/>
              <a:gd name="connsiteY1113" fmla="*/ 1030944 h 1087290"/>
              <a:gd name="connsiteX1114" fmla="*/ 1424821 w 1897116"/>
              <a:gd name="connsiteY1114" fmla="*/ 1033510 h 1087290"/>
              <a:gd name="connsiteX1115" fmla="*/ 1419300 w 1897116"/>
              <a:gd name="connsiteY1115" fmla="*/ 1035065 h 1087290"/>
              <a:gd name="connsiteX1116" fmla="*/ 1410800 w 1897116"/>
              <a:gd name="connsiteY1116" fmla="*/ 1035829 h 1087290"/>
              <a:gd name="connsiteX1117" fmla="*/ 1405630 w 1897116"/>
              <a:gd name="connsiteY1117" fmla="*/ 1032281 h 1087290"/>
              <a:gd name="connsiteX1118" fmla="*/ 1403878 w 1897116"/>
              <a:gd name="connsiteY1118" fmla="*/ 1031872 h 1087290"/>
              <a:gd name="connsiteX1119" fmla="*/ 1400548 w 1897116"/>
              <a:gd name="connsiteY1119" fmla="*/ 1024913 h 1087290"/>
              <a:gd name="connsiteX1120" fmla="*/ 1397744 w 1897116"/>
              <a:gd name="connsiteY1120" fmla="*/ 1019565 h 1087290"/>
              <a:gd name="connsiteX1121" fmla="*/ 1394939 w 1897116"/>
              <a:gd name="connsiteY1121" fmla="*/ 1014243 h 1087290"/>
              <a:gd name="connsiteX1122" fmla="*/ 1390295 w 1897116"/>
              <a:gd name="connsiteY1122" fmla="*/ 1018528 h 1087290"/>
              <a:gd name="connsiteX1123" fmla="*/ 1391610 w 1897116"/>
              <a:gd name="connsiteY1123" fmla="*/ 1025480 h 1087290"/>
              <a:gd name="connsiteX1124" fmla="*/ 1387307 w 1897116"/>
              <a:gd name="connsiteY1124" fmla="*/ 1023581 h 1087290"/>
              <a:gd name="connsiteX1125" fmla="*/ 1387579 w 1897116"/>
              <a:gd name="connsiteY1125" fmla="*/ 1023535 h 1087290"/>
              <a:gd name="connsiteX1126" fmla="*/ 1385563 w 1897116"/>
              <a:gd name="connsiteY1126" fmla="*/ 1022812 h 1087290"/>
              <a:gd name="connsiteX1127" fmla="*/ 1387307 w 1897116"/>
              <a:gd name="connsiteY1127" fmla="*/ 1023581 h 1087290"/>
              <a:gd name="connsiteX1128" fmla="*/ 1380919 w 1897116"/>
              <a:gd name="connsiteY1128" fmla="*/ 1024668 h 1087290"/>
              <a:gd name="connsiteX1129" fmla="*/ 1376537 w 1897116"/>
              <a:gd name="connsiteY1129" fmla="*/ 1024913 h 1087290"/>
              <a:gd name="connsiteX1130" fmla="*/ 1371192 w 1897116"/>
              <a:gd name="connsiteY1130" fmla="*/ 1022294 h 1087290"/>
              <a:gd name="connsiteX1131" fmla="*/ 1366109 w 1897116"/>
              <a:gd name="connsiteY1131" fmla="*/ 1018991 h 1087290"/>
              <a:gd name="connsiteX1132" fmla="*/ 1361991 w 1897116"/>
              <a:gd name="connsiteY1132" fmla="*/ 1019674 h 1087290"/>
              <a:gd name="connsiteX1133" fmla="*/ 1355419 w 1897116"/>
              <a:gd name="connsiteY1133" fmla="*/ 1019155 h 1087290"/>
              <a:gd name="connsiteX1134" fmla="*/ 1351212 w 1897116"/>
              <a:gd name="connsiteY1134" fmla="*/ 1018555 h 1087290"/>
              <a:gd name="connsiteX1135" fmla="*/ 1345604 w 1897116"/>
              <a:gd name="connsiteY1135" fmla="*/ 1019728 h 1087290"/>
              <a:gd name="connsiteX1136" fmla="*/ 1341644 w 1897116"/>
              <a:gd name="connsiteY1136" fmla="*/ 1021457 h 1087290"/>
              <a:gd name="connsiteX1137" fmla="*/ 1339295 w 1897116"/>
              <a:gd name="connsiteY1137" fmla="*/ 1021011 h 1087290"/>
              <a:gd name="connsiteX1138" fmla="*/ 1336781 w 1897116"/>
              <a:gd name="connsiteY1138" fmla="*/ 1023170 h 1087290"/>
              <a:gd name="connsiteX1139" fmla="*/ 1334650 w 1897116"/>
              <a:gd name="connsiteY1139" fmla="*/ 1023685 h 1087290"/>
              <a:gd name="connsiteX1140" fmla="*/ 1329130 w 1897116"/>
              <a:gd name="connsiteY1140" fmla="*/ 1023985 h 1087290"/>
              <a:gd name="connsiteX1141" fmla="*/ 1328166 w 1897116"/>
              <a:gd name="connsiteY1141" fmla="*/ 1028570 h 1087290"/>
              <a:gd name="connsiteX1142" fmla="*/ 1323434 w 1897116"/>
              <a:gd name="connsiteY1142" fmla="*/ 1029962 h 1087290"/>
              <a:gd name="connsiteX1143" fmla="*/ 1319403 w 1897116"/>
              <a:gd name="connsiteY1143" fmla="*/ 1035065 h 1087290"/>
              <a:gd name="connsiteX1144" fmla="*/ 1313795 w 1897116"/>
              <a:gd name="connsiteY1144" fmla="*/ 1035311 h 1087290"/>
              <a:gd name="connsiteX1145" fmla="*/ 1309939 w 1897116"/>
              <a:gd name="connsiteY1145" fmla="*/ 1040332 h 1087290"/>
              <a:gd name="connsiteX1146" fmla="*/ 1309238 w 1897116"/>
              <a:gd name="connsiteY1146" fmla="*/ 1037330 h 1087290"/>
              <a:gd name="connsiteX1147" fmla="*/ 1308712 w 1897116"/>
              <a:gd name="connsiteY1147" fmla="*/ 1032691 h 1087290"/>
              <a:gd name="connsiteX1148" fmla="*/ 1307310 w 1897116"/>
              <a:gd name="connsiteY1148" fmla="*/ 1029361 h 1087290"/>
              <a:gd name="connsiteX1149" fmla="*/ 1302929 w 1897116"/>
              <a:gd name="connsiteY1149" fmla="*/ 1029252 h 1087290"/>
              <a:gd name="connsiteX1150" fmla="*/ 1297671 w 1897116"/>
              <a:gd name="connsiteY1150" fmla="*/ 1030535 h 1087290"/>
              <a:gd name="connsiteX1151" fmla="*/ 1286542 w 1897116"/>
              <a:gd name="connsiteY1151" fmla="*/ 1034874 h 1087290"/>
              <a:gd name="connsiteX1152" fmla="*/ 1275588 w 1897116"/>
              <a:gd name="connsiteY1152" fmla="*/ 1041696 h 1087290"/>
              <a:gd name="connsiteX1153" fmla="*/ 1270330 w 1897116"/>
              <a:gd name="connsiteY1153" fmla="*/ 1045571 h 1087290"/>
              <a:gd name="connsiteX1154" fmla="*/ 1264985 w 1897116"/>
              <a:gd name="connsiteY1154" fmla="*/ 1049610 h 1087290"/>
              <a:gd name="connsiteX1155" fmla="*/ 1260078 w 1897116"/>
              <a:gd name="connsiteY1155" fmla="*/ 1053513 h 1087290"/>
              <a:gd name="connsiteX1156" fmla="*/ 1255083 w 1897116"/>
              <a:gd name="connsiteY1156" fmla="*/ 1056951 h 1087290"/>
              <a:gd name="connsiteX1157" fmla="*/ 1251052 w 1897116"/>
              <a:gd name="connsiteY1157" fmla="*/ 1059571 h 1087290"/>
              <a:gd name="connsiteX1158" fmla="*/ 1245794 w 1897116"/>
              <a:gd name="connsiteY1158" fmla="*/ 1062655 h 1087290"/>
              <a:gd name="connsiteX1159" fmla="*/ 1238784 w 1897116"/>
              <a:gd name="connsiteY1159" fmla="*/ 1065493 h 1087290"/>
              <a:gd name="connsiteX1160" fmla="*/ 1232212 w 1897116"/>
              <a:gd name="connsiteY1160" fmla="*/ 1067922 h 1087290"/>
              <a:gd name="connsiteX1161" fmla="*/ 1225639 w 1897116"/>
              <a:gd name="connsiteY1161" fmla="*/ 1072725 h 1087290"/>
              <a:gd name="connsiteX1162" fmla="*/ 1218541 w 1897116"/>
              <a:gd name="connsiteY1162" fmla="*/ 1074226 h 1087290"/>
              <a:gd name="connsiteX1163" fmla="*/ 1211356 w 1897116"/>
              <a:gd name="connsiteY1163" fmla="*/ 1076763 h 1087290"/>
              <a:gd name="connsiteX1164" fmla="*/ 1203732 w 1897116"/>
              <a:gd name="connsiteY1164" fmla="*/ 1074717 h 1087290"/>
              <a:gd name="connsiteX1165" fmla="*/ 1204345 w 1897116"/>
              <a:gd name="connsiteY1165" fmla="*/ 1079110 h 1087290"/>
              <a:gd name="connsiteX1166" fmla="*/ 1197773 w 1897116"/>
              <a:gd name="connsiteY1166" fmla="*/ 1081103 h 1087290"/>
              <a:gd name="connsiteX1167" fmla="*/ 1190500 w 1897116"/>
              <a:gd name="connsiteY1167" fmla="*/ 1083122 h 1087290"/>
              <a:gd name="connsiteX1168" fmla="*/ 1184015 w 1897116"/>
              <a:gd name="connsiteY1168" fmla="*/ 1086520 h 1087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Lst>
            <a:rect l="l" t="t" r="r" b="b"/>
            <a:pathLst>
              <a:path w="1897116" h="1087290">
                <a:moveTo>
                  <a:pt x="353668" y="26940"/>
                </a:moveTo>
                <a:lnTo>
                  <a:pt x="353221" y="25809"/>
                </a:lnTo>
                <a:cubicBezTo>
                  <a:pt x="355027" y="26001"/>
                  <a:pt x="356876" y="25025"/>
                  <a:pt x="357240" y="24733"/>
                </a:cubicBezTo>
                <a:lnTo>
                  <a:pt x="353668" y="26940"/>
                </a:lnTo>
                <a:close/>
                <a:moveTo>
                  <a:pt x="304410" y="40485"/>
                </a:moveTo>
                <a:lnTo>
                  <a:pt x="302763" y="40108"/>
                </a:lnTo>
                <a:cubicBezTo>
                  <a:pt x="302032" y="39567"/>
                  <a:pt x="302211" y="39000"/>
                  <a:pt x="302767" y="38706"/>
                </a:cubicBezTo>
                <a:lnTo>
                  <a:pt x="304410" y="40485"/>
                </a:lnTo>
                <a:close/>
                <a:moveTo>
                  <a:pt x="312192" y="41597"/>
                </a:moveTo>
                <a:lnTo>
                  <a:pt x="310902" y="41519"/>
                </a:lnTo>
                <a:lnTo>
                  <a:pt x="310110" y="41149"/>
                </a:lnTo>
                <a:lnTo>
                  <a:pt x="312192" y="41597"/>
                </a:lnTo>
                <a:close/>
                <a:moveTo>
                  <a:pt x="316583" y="42541"/>
                </a:moveTo>
                <a:lnTo>
                  <a:pt x="312192" y="41597"/>
                </a:lnTo>
                <a:lnTo>
                  <a:pt x="312466" y="41613"/>
                </a:lnTo>
                <a:cubicBezTo>
                  <a:pt x="315394" y="42245"/>
                  <a:pt x="318301" y="42989"/>
                  <a:pt x="316583" y="42541"/>
                </a:cubicBezTo>
                <a:close/>
                <a:moveTo>
                  <a:pt x="119950" y="43716"/>
                </a:moveTo>
                <a:lnTo>
                  <a:pt x="117470" y="43272"/>
                </a:lnTo>
                <a:lnTo>
                  <a:pt x="118896" y="40545"/>
                </a:lnTo>
                <a:lnTo>
                  <a:pt x="120926" y="43701"/>
                </a:lnTo>
                <a:lnTo>
                  <a:pt x="119950" y="43716"/>
                </a:lnTo>
                <a:close/>
                <a:moveTo>
                  <a:pt x="115912" y="43782"/>
                </a:moveTo>
                <a:cubicBezTo>
                  <a:pt x="115114" y="43587"/>
                  <a:pt x="115208" y="43241"/>
                  <a:pt x="115758" y="42965"/>
                </a:cubicBezTo>
                <a:lnTo>
                  <a:pt x="117470" y="43272"/>
                </a:lnTo>
                <a:lnTo>
                  <a:pt x="117215" y="43761"/>
                </a:lnTo>
                <a:lnTo>
                  <a:pt x="115912" y="43782"/>
                </a:lnTo>
                <a:close/>
                <a:moveTo>
                  <a:pt x="159497" y="51308"/>
                </a:moveTo>
                <a:lnTo>
                  <a:pt x="159111" y="50219"/>
                </a:lnTo>
                <a:cubicBezTo>
                  <a:pt x="158054" y="51211"/>
                  <a:pt x="159486" y="51203"/>
                  <a:pt x="159519" y="51302"/>
                </a:cubicBezTo>
                <a:cubicBezTo>
                  <a:pt x="159512" y="51304"/>
                  <a:pt x="159504" y="51306"/>
                  <a:pt x="159497" y="51308"/>
                </a:cubicBezTo>
                <a:close/>
                <a:moveTo>
                  <a:pt x="358065" y="51467"/>
                </a:moveTo>
                <a:lnTo>
                  <a:pt x="357383" y="49085"/>
                </a:lnTo>
                <a:lnTo>
                  <a:pt x="358101" y="47405"/>
                </a:lnTo>
                <a:cubicBezTo>
                  <a:pt x="358357" y="47482"/>
                  <a:pt x="358439" y="48627"/>
                  <a:pt x="358065" y="51467"/>
                </a:cubicBezTo>
                <a:close/>
                <a:moveTo>
                  <a:pt x="137612" y="52078"/>
                </a:moveTo>
                <a:lnTo>
                  <a:pt x="134914" y="51247"/>
                </a:lnTo>
                <a:lnTo>
                  <a:pt x="137611" y="51817"/>
                </a:lnTo>
                <a:cubicBezTo>
                  <a:pt x="137589" y="51869"/>
                  <a:pt x="137567" y="51922"/>
                  <a:pt x="137545" y="51974"/>
                </a:cubicBezTo>
                <a:cubicBezTo>
                  <a:pt x="137567" y="52009"/>
                  <a:pt x="137590" y="52043"/>
                  <a:pt x="137612" y="52078"/>
                </a:cubicBezTo>
                <a:close/>
                <a:moveTo>
                  <a:pt x="138681" y="53721"/>
                </a:moveTo>
                <a:lnTo>
                  <a:pt x="137612" y="52078"/>
                </a:lnTo>
                <a:lnTo>
                  <a:pt x="139472" y="52650"/>
                </a:lnTo>
                <a:lnTo>
                  <a:pt x="138681" y="53721"/>
                </a:lnTo>
                <a:close/>
                <a:moveTo>
                  <a:pt x="40650" y="62426"/>
                </a:moveTo>
                <a:lnTo>
                  <a:pt x="40016" y="62421"/>
                </a:lnTo>
                <a:lnTo>
                  <a:pt x="39598" y="61960"/>
                </a:lnTo>
                <a:lnTo>
                  <a:pt x="40650" y="62426"/>
                </a:lnTo>
                <a:close/>
                <a:moveTo>
                  <a:pt x="40904" y="62538"/>
                </a:moveTo>
                <a:lnTo>
                  <a:pt x="40650" y="62426"/>
                </a:lnTo>
                <a:lnTo>
                  <a:pt x="40911" y="62428"/>
                </a:lnTo>
                <a:cubicBezTo>
                  <a:pt x="40909" y="62465"/>
                  <a:pt x="40906" y="62501"/>
                  <a:pt x="40904" y="62538"/>
                </a:cubicBezTo>
                <a:close/>
                <a:moveTo>
                  <a:pt x="548588" y="77263"/>
                </a:moveTo>
                <a:lnTo>
                  <a:pt x="547507" y="76900"/>
                </a:lnTo>
                <a:cubicBezTo>
                  <a:pt x="546858" y="76244"/>
                  <a:pt x="546704" y="75524"/>
                  <a:pt x="547240" y="75428"/>
                </a:cubicBezTo>
                <a:lnTo>
                  <a:pt x="549543" y="76777"/>
                </a:lnTo>
                <a:lnTo>
                  <a:pt x="548588" y="77263"/>
                </a:lnTo>
                <a:close/>
                <a:moveTo>
                  <a:pt x="551118" y="77700"/>
                </a:moveTo>
                <a:lnTo>
                  <a:pt x="549543" y="76777"/>
                </a:lnTo>
                <a:lnTo>
                  <a:pt x="554619" y="74193"/>
                </a:lnTo>
                <a:cubicBezTo>
                  <a:pt x="556204" y="73621"/>
                  <a:pt x="555566" y="74469"/>
                  <a:pt x="551118" y="77700"/>
                </a:cubicBezTo>
                <a:close/>
                <a:moveTo>
                  <a:pt x="1338885" y="1022661"/>
                </a:moveTo>
                <a:lnTo>
                  <a:pt x="1341644" y="1021457"/>
                </a:lnTo>
                <a:lnTo>
                  <a:pt x="1342888" y="1021693"/>
                </a:lnTo>
                <a:lnTo>
                  <a:pt x="1338885" y="1022661"/>
                </a:lnTo>
                <a:close/>
                <a:moveTo>
                  <a:pt x="1335812" y="1024002"/>
                </a:moveTo>
                <a:lnTo>
                  <a:pt x="1336781" y="1023170"/>
                </a:lnTo>
                <a:lnTo>
                  <a:pt x="1338885" y="1022661"/>
                </a:lnTo>
                <a:lnTo>
                  <a:pt x="1335812" y="1024002"/>
                </a:lnTo>
                <a:close/>
                <a:moveTo>
                  <a:pt x="1847201" y="1034040"/>
                </a:moveTo>
                <a:lnTo>
                  <a:pt x="1846940" y="1034038"/>
                </a:lnTo>
                <a:cubicBezTo>
                  <a:pt x="1846942" y="1034007"/>
                  <a:pt x="1846945" y="1033975"/>
                  <a:pt x="1846947" y="1033944"/>
                </a:cubicBezTo>
                <a:lnTo>
                  <a:pt x="1847201" y="1034040"/>
                </a:lnTo>
                <a:close/>
                <a:moveTo>
                  <a:pt x="1848247" y="1034437"/>
                </a:moveTo>
                <a:lnTo>
                  <a:pt x="1847201" y="1034040"/>
                </a:lnTo>
                <a:lnTo>
                  <a:pt x="1847831" y="1034044"/>
                </a:lnTo>
                <a:lnTo>
                  <a:pt x="1848247" y="1034437"/>
                </a:lnTo>
                <a:close/>
                <a:moveTo>
                  <a:pt x="1750725" y="1042867"/>
                </a:moveTo>
                <a:lnTo>
                  <a:pt x="1748875" y="1042379"/>
                </a:lnTo>
                <a:lnTo>
                  <a:pt x="1749661" y="1041465"/>
                </a:lnTo>
                <a:lnTo>
                  <a:pt x="1750725" y="1042867"/>
                </a:lnTo>
                <a:close/>
                <a:moveTo>
                  <a:pt x="1753410" y="1043576"/>
                </a:moveTo>
                <a:lnTo>
                  <a:pt x="1750726" y="1043089"/>
                </a:lnTo>
                <a:cubicBezTo>
                  <a:pt x="1750748" y="1043044"/>
                  <a:pt x="1750770" y="1043000"/>
                  <a:pt x="1750792" y="1042955"/>
                </a:cubicBezTo>
                <a:lnTo>
                  <a:pt x="1750725" y="1042867"/>
                </a:lnTo>
                <a:lnTo>
                  <a:pt x="1753410" y="1043576"/>
                </a:lnTo>
                <a:close/>
                <a:moveTo>
                  <a:pt x="1729333" y="1044453"/>
                </a:moveTo>
                <a:cubicBezTo>
                  <a:pt x="1730385" y="1043607"/>
                  <a:pt x="1728961" y="1043613"/>
                  <a:pt x="1728928" y="1043528"/>
                </a:cubicBezTo>
                <a:cubicBezTo>
                  <a:pt x="1728935" y="1043527"/>
                  <a:pt x="1728943" y="1043525"/>
                  <a:pt x="1728950" y="1043524"/>
                </a:cubicBezTo>
                <a:lnTo>
                  <a:pt x="1729333" y="1044453"/>
                </a:lnTo>
                <a:close/>
                <a:moveTo>
                  <a:pt x="1531343" y="1046853"/>
                </a:moveTo>
                <a:cubicBezTo>
                  <a:pt x="1531088" y="1046788"/>
                  <a:pt x="1531006" y="1045810"/>
                  <a:pt x="1531379" y="1043388"/>
                </a:cubicBezTo>
                <a:lnTo>
                  <a:pt x="1532058" y="1045420"/>
                </a:lnTo>
                <a:lnTo>
                  <a:pt x="1531343" y="1046853"/>
                </a:lnTo>
                <a:close/>
                <a:moveTo>
                  <a:pt x="1772469" y="1050640"/>
                </a:moveTo>
                <a:lnTo>
                  <a:pt x="1770766" y="1050379"/>
                </a:lnTo>
                <a:lnTo>
                  <a:pt x="1771020" y="1049962"/>
                </a:lnTo>
                <a:lnTo>
                  <a:pt x="1772316" y="1049944"/>
                </a:lnTo>
                <a:cubicBezTo>
                  <a:pt x="1773110" y="1050110"/>
                  <a:pt x="1773017" y="1050405"/>
                  <a:pt x="1772469" y="1050640"/>
                </a:cubicBezTo>
                <a:close/>
                <a:moveTo>
                  <a:pt x="1577023" y="1051808"/>
                </a:moveTo>
                <a:lnTo>
                  <a:pt x="1576749" y="1051794"/>
                </a:lnTo>
                <a:lnTo>
                  <a:pt x="1572652" y="1051002"/>
                </a:lnTo>
                <a:lnTo>
                  <a:pt x="1577023" y="1051808"/>
                </a:lnTo>
                <a:close/>
                <a:moveTo>
                  <a:pt x="1579093" y="1052189"/>
                </a:moveTo>
                <a:lnTo>
                  <a:pt x="1577023" y="1051808"/>
                </a:lnTo>
                <a:lnTo>
                  <a:pt x="1578305" y="1051874"/>
                </a:lnTo>
                <a:lnTo>
                  <a:pt x="1579093" y="1052189"/>
                </a:lnTo>
                <a:close/>
                <a:moveTo>
                  <a:pt x="1769347" y="1052704"/>
                </a:moveTo>
                <a:lnTo>
                  <a:pt x="1767327" y="1050013"/>
                </a:lnTo>
                <a:lnTo>
                  <a:pt x="1768300" y="1049999"/>
                </a:lnTo>
                <a:lnTo>
                  <a:pt x="1770766" y="1050379"/>
                </a:lnTo>
                <a:lnTo>
                  <a:pt x="1769347" y="1052704"/>
                </a:lnTo>
                <a:close/>
                <a:moveTo>
                  <a:pt x="1586399" y="1054274"/>
                </a:moveTo>
                <a:lnTo>
                  <a:pt x="1584764" y="1052756"/>
                </a:lnTo>
                <a:lnTo>
                  <a:pt x="1586403" y="1053077"/>
                </a:lnTo>
                <a:cubicBezTo>
                  <a:pt x="1587130" y="1053539"/>
                  <a:pt x="1586952" y="1054023"/>
                  <a:pt x="1586399" y="1054274"/>
                </a:cubicBezTo>
                <a:close/>
                <a:moveTo>
                  <a:pt x="1532200" y="1066192"/>
                </a:moveTo>
                <a:lnTo>
                  <a:pt x="1535753" y="1064310"/>
                </a:lnTo>
                <a:lnTo>
                  <a:pt x="1536198" y="1065275"/>
                </a:lnTo>
                <a:cubicBezTo>
                  <a:pt x="1534402" y="1065111"/>
                  <a:pt x="1532561" y="1065943"/>
                  <a:pt x="1532200" y="1066192"/>
                </a:cubicBezTo>
                <a:close/>
                <a:moveTo>
                  <a:pt x="1184015" y="1086520"/>
                </a:moveTo>
                <a:cubicBezTo>
                  <a:pt x="1182022" y="1087413"/>
                  <a:pt x="1180773" y="1087720"/>
                  <a:pt x="1182000" y="1086397"/>
                </a:cubicBezTo>
                <a:cubicBezTo>
                  <a:pt x="1181036" y="1085469"/>
                  <a:pt x="1180335" y="1083340"/>
                  <a:pt x="1180598" y="1084050"/>
                </a:cubicBezTo>
                <a:cubicBezTo>
                  <a:pt x="1179634" y="1080175"/>
                  <a:pt x="1177180" y="1078183"/>
                  <a:pt x="1175691" y="1077637"/>
                </a:cubicBezTo>
                <a:cubicBezTo>
                  <a:pt x="1177881" y="1073871"/>
                  <a:pt x="1176917" y="1075890"/>
                  <a:pt x="1173763" y="1074880"/>
                </a:cubicBezTo>
                <a:cubicBezTo>
                  <a:pt x="1173675" y="1076245"/>
                  <a:pt x="1170959" y="1070678"/>
                  <a:pt x="1168067" y="1070460"/>
                </a:cubicBezTo>
                <a:cubicBezTo>
                  <a:pt x="1169469" y="1070678"/>
                  <a:pt x="1169644" y="1072397"/>
                  <a:pt x="1165876" y="1071851"/>
                </a:cubicBezTo>
                <a:cubicBezTo>
                  <a:pt x="1164036" y="1071224"/>
                  <a:pt x="1163598" y="1070323"/>
                  <a:pt x="1161582" y="1065547"/>
                </a:cubicBezTo>
                <a:cubicBezTo>
                  <a:pt x="1161144" y="1067485"/>
                  <a:pt x="1158340" y="1063610"/>
                  <a:pt x="1156675" y="1062900"/>
                </a:cubicBezTo>
                <a:cubicBezTo>
                  <a:pt x="1155185" y="1064292"/>
                  <a:pt x="1154572" y="1062300"/>
                  <a:pt x="1153082" y="1063883"/>
                </a:cubicBezTo>
                <a:cubicBezTo>
                  <a:pt x="1147211" y="1060990"/>
                  <a:pt x="1147737" y="1060308"/>
                  <a:pt x="1145984" y="1059244"/>
                </a:cubicBezTo>
                <a:cubicBezTo>
                  <a:pt x="1145721" y="1059762"/>
                  <a:pt x="1145459" y="1059926"/>
                  <a:pt x="1145283" y="1059953"/>
                </a:cubicBezTo>
                <a:cubicBezTo>
                  <a:pt x="1145634" y="1060062"/>
                  <a:pt x="1146335" y="1060526"/>
                  <a:pt x="1147649" y="1061863"/>
                </a:cubicBezTo>
                <a:cubicBezTo>
                  <a:pt x="1143180" y="1061563"/>
                  <a:pt x="1146948" y="1066366"/>
                  <a:pt x="1142742" y="1064183"/>
                </a:cubicBezTo>
                <a:cubicBezTo>
                  <a:pt x="1130299" y="1066967"/>
                  <a:pt x="1142391" y="1065384"/>
                  <a:pt x="1135293" y="1067267"/>
                </a:cubicBezTo>
                <a:cubicBezTo>
                  <a:pt x="1133629" y="1067239"/>
                  <a:pt x="1132665" y="1067076"/>
                  <a:pt x="1131964" y="1066912"/>
                </a:cubicBezTo>
                <a:cubicBezTo>
                  <a:pt x="1131876" y="1067376"/>
                  <a:pt x="1131525" y="1067976"/>
                  <a:pt x="1130649" y="1068986"/>
                </a:cubicBezTo>
                <a:cubicBezTo>
                  <a:pt x="1123639" y="1065056"/>
                  <a:pt x="1130824" y="1067540"/>
                  <a:pt x="1128020" y="1065711"/>
                </a:cubicBezTo>
                <a:cubicBezTo>
                  <a:pt x="1125830" y="1059325"/>
                  <a:pt x="1125304" y="1062218"/>
                  <a:pt x="1125128" y="1059899"/>
                </a:cubicBezTo>
                <a:cubicBezTo>
                  <a:pt x="1128721" y="1054250"/>
                  <a:pt x="1118644" y="1056133"/>
                  <a:pt x="1123376" y="1056105"/>
                </a:cubicBezTo>
                <a:cubicBezTo>
                  <a:pt x="1122675" y="1056897"/>
                  <a:pt x="1122061" y="1057552"/>
                  <a:pt x="1121623" y="1058070"/>
                </a:cubicBezTo>
                <a:cubicBezTo>
                  <a:pt x="1120134" y="1057279"/>
                  <a:pt x="1118907" y="1056214"/>
                  <a:pt x="1120572" y="1054905"/>
                </a:cubicBezTo>
                <a:cubicBezTo>
                  <a:pt x="1123025" y="1050948"/>
                  <a:pt x="1120572" y="1053513"/>
                  <a:pt x="1120835" y="1050129"/>
                </a:cubicBezTo>
                <a:cubicBezTo>
                  <a:pt x="1122061" y="1050893"/>
                  <a:pt x="1125216" y="1044917"/>
                  <a:pt x="1118118" y="1046363"/>
                </a:cubicBezTo>
                <a:cubicBezTo>
                  <a:pt x="1118469" y="1040605"/>
                  <a:pt x="1115840" y="1045872"/>
                  <a:pt x="1114701" y="1049938"/>
                </a:cubicBezTo>
                <a:cubicBezTo>
                  <a:pt x="1116278" y="1047345"/>
                  <a:pt x="1106639" y="1053158"/>
                  <a:pt x="1106902" y="1050729"/>
                </a:cubicBezTo>
                <a:cubicBezTo>
                  <a:pt x="1107778" y="1046800"/>
                  <a:pt x="1104010" y="1044425"/>
                  <a:pt x="1102082" y="1047700"/>
                </a:cubicBezTo>
                <a:cubicBezTo>
                  <a:pt x="1096999" y="1047209"/>
                  <a:pt x="1097876" y="1054986"/>
                  <a:pt x="1097438" y="1052749"/>
                </a:cubicBezTo>
                <a:cubicBezTo>
                  <a:pt x="1093845" y="1054413"/>
                  <a:pt x="1090953" y="1053076"/>
                  <a:pt x="1088499" y="1054686"/>
                </a:cubicBezTo>
                <a:cubicBezTo>
                  <a:pt x="1081489" y="1053022"/>
                  <a:pt x="1083767" y="1051330"/>
                  <a:pt x="1079649" y="1055832"/>
                </a:cubicBezTo>
                <a:cubicBezTo>
                  <a:pt x="1078948" y="1055614"/>
                  <a:pt x="1078510" y="1055614"/>
                  <a:pt x="1078334" y="1055641"/>
                </a:cubicBezTo>
                <a:cubicBezTo>
                  <a:pt x="1078773" y="1055559"/>
                  <a:pt x="1080613" y="1054550"/>
                  <a:pt x="1082803" y="1048628"/>
                </a:cubicBezTo>
                <a:cubicBezTo>
                  <a:pt x="1086396" y="1048792"/>
                  <a:pt x="1085958" y="1047864"/>
                  <a:pt x="1086133" y="1043061"/>
                </a:cubicBezTo>
                <a:cubicBezTo>
                  <a:pt x="1086659" y="1042215"/>
                  <a:pt x="1089376" y="1035010"/>
                  <a:pt x="1089551" y="1036702"/>
                </a:cubicBezTo>
                <a:cubicBezTo>
                  <a:pt x="1088938" y="1033073"/>
                  <a:pt x="1089113" y="1040250"/>
                  <a:pt x="1081840" y="1037112"/>
                </a:cubicBezTo>
                <a:cubicBezTo>
                  <a:pt x="1075618" y="1034738"/>
                  <a:pt x="1077195" y="1042542"/>
                  <a:pt x="1074128" y="1037466"/>
                </a:cubicBezTo>
                <a:cubicBezTo>
                  <a:pt x="1068783" y="1041533"/>
                  <a:pt x="1072025" y="1043661"/>
                  <a:pt x="1066943" y="1040769"/>
                </a:cubicBezTo>
                <a:cubicBezTo>
                  <a:pt x="1068520" y="1035584"/>
                  <a:pt x="1060808" y="1040250"/>
                  <a:pt x="1060633" y="1039131"/>
                </a:cubicBezTo>
                <a:cubicBezTo>
                  <a:pt x="1053009" y="1038422"/>
                  <a:pt x="1048540" y="1041915"/>
                  <a:pt x="1051257" y="1041314"/>
                </a:cubicBezTo>
                <a:cubicBezTo>
                  <a:pt x="1046262" y="1043689"/>
                  <a:pt x="1052747" y="1039268"/>
                  <a:pt x="1047752" y="1042188"/>
                </a:cubicBezTo>
                <a:cubicBezTo>
                  <a:pt x="1043107" y="1047072"/>
                  <a:pt x="1047489" y="1044807"/>
                  <a:pt x="1042056" y="1043852"/>
                </a:cubicBezTo>
                <a:cubicBezTo>
                  <a:pt x="1034607" y="1045189"/>
                  <a:pt x="1032855" y="1043525"/>
                  <a:pt x="1035221" y="1045954"/>
                </a:cubicBezTo>
                <a:cubicBezTo>
                  <a:pt x="1032417" y="1045653"/>
                  <a:pt x="1025669" y="1048055"/>
                  <a:pt x="1027422" y="1048710"/>
                </a:cubicBezTo>
                <a:cubicBezTo>
                  <a:pt x="1024793" y="1045571"/>
                  <a:pt x="1021025" y="1046172"/>
                  <a:pt x="1024618" y="1049119"/>
                </a:cubicBezTo>
                <a:cubicBezTo>
                  <a:pt x="1020324" y="1046936"/>
                  <a:pt x="1023303" y="1054277"/>
                  <a:pt x="1019360" y="1051548"/>
                </a:cubicBezTo>
                <a:cubicBezTo>
                  <a:pt x="1014190" y="1049829"/>
                  <a:pt x="1013138" y="1051903"/>
                  <a:pt x="1014277" y="1051684"/>
                </a:cubicBezTo>
                <a:cubicBezTo>
                  <a:pt x="1009633" y="1053240"/>
                  <a:pt x="1009107" y="1051002"/>
                  <a:pt x="1007880" y="1050702"/>
                </a:cubicBezTo>
                <a:cubicBezTo>
                  <a:pt x="1008231" y="1050593"/>
                  <a:pt x="1008669" y="1050565"/>
                  <a:pt x="1009107" y="1050565"/>
                </a:cubicBezTo>
                <a:cubicBezTo>
                  <a:pt x="1011561" y="1047345"/>
                  <a:pt x="1013839" y="1047236"/>
                  <a:pt x="1008231" y="1044726"/>
                </a:cubicBezTo>
                <a:cubicBezTo>
                  <a:pt x="1008231" y="1045080"/>
                  <a:pt x="1011561" y="1041997"/>
                  <a:pt x="1011736" y="1038667"/>
                </a:cubicBezTo>
                <a:cubicBezTo>
                  <a:pt x="1011762" y="1038179"/>
                  <a:pt x="1011787" y="1037690"/>
                  <a:pt x="1011813" y="1037202"/>
                </a:cubicBezTo>
                <a:lnTo>
                  <a:pt x="1012349" y="1036402"/>
                </a:lnTo>
                <a:cubicBezTo>
                  <a:pt x="1010509" y="1034642"/>
                  <a:pt x="1011188" y="1034628"/>
                  <a:pt x="1011911" y="1035345"/>
                </a:cubicBezTo>
                <a:cubicBezTo>
                  <a:pt x="1011878" y="1035964"/>
                  <a:pt x="1011846" y="1036583"/>
                  <a:pt x="1011813" y="1037202"/>
                </a:cubicBezTo>
                <a:lnTo>
                  <a:pt x="1010246" y="1039540"/>
                </a:lnTo>
                <a:cubicBezTo>
                  <a:pt x="1004901" y="1040878"/>
                  <a:pt x="1002535" y="1040332"/>
                  <a:pt x="1001396" y="1041069"/>
                </a:cubicBezTo>
                <a:cubicBezTo>
                  <a:pt x="999293" y="1041287"/>
                  <a:pt x="995963" y="1046008"/>
                  <a:pt x="994648" y="1044043"/>
                </a:cubicBezTo>
                <a:cubicBezTo>
                  <a:pt x="992808" y="1045299"/>
                  <a:pt x="987813" y="1043825"/>
                  <a:pt x="990442" y="1045735"/>
                </a:cubicBezTo>
                <a:cubicBezTo>
                  <a:pt x="987025" y="1044644"/>
                  <a:pt x="988514" y="1044043"/>
                  <a:pt x="985272" y="1044180"/>
                </a:cubicBezTo>
                <a:cubicBezTo>
                  <a:pt x="985710" y="1043743"/>
                  <a:pt x="983782" y="1045108"/>
                  <a:pt x="982818" y="1048028"/>
                </a:cubicBezTo>
                <a:cubicBezTo>
                  <a:pt x="978174" y="1047400"/>
                  <a:pt x="980715" y="1043361"/>
                  <a:pt x="981416" y="1042815"/>
                </a:cubicBezTo>
                <a:cubicBezTo>
                  <a:pt x="980715" y="1041560"/>
                  <a:pt x="979751" y="1039158"/>
                  <a:pt x="980102" y="1037603"/>
                </a:cubicBezTo>
                <a:cubicBezTo>
                  <a:pt x="979138" y="1038258"/>
                  <a:pt x="977911" y="1037794"/>
                  <a:pt x="978437" y="1036593"/>
                </a:cubicBezTo>
                <a:cubicBezTo>
                  <a:pt x="977736" y="1037794"/>
                  <a:pt x="980890" y="1032718"/>
                  <a:pt x="980628" y="1029853"/>
                </a:cubicBezTo>
                <a:cubicBezTo>
                  <a:pt x="979576" y="1027069"/>
                  <a:pt x="974669" y="1026332"/>
                  <a:pt x="980102" y="1024368"/>
                </a:cubicBezTo>
                <a:cubicBezTo>
                  <a:pt x="976860" y="1021611"/>
                  <a:pt x="976772" y="1020110"/>
                  <a:pt x="977385" y="1019401"/>
                </a:cubicBezTo>
                <a:cubicBezTo>
                  <a:pt x="978437" y="1019101"/>
                  <a:pt x="979225" y="1019046"/>
                  <a:pt x="979839" y="1019264"/>
                </a:cubicBezTo>
                <a:cubicBezTo>
                  <a:pt x="979751" y="1019128"/>
                  <a:pt x="979664" y="1019046"/>
                  <a:pt x="979576" y="1018855"/>
                </a:cubicBezTo>
                <a:cubicBezTo>
                  <a:pt x="979488" y="1018637"/>
                  <a:pt x="978086" y="1018637"/>
                  <a:pt x="977385" y="1019401"/>
                </a:cubicBezTo>
                <a:cubicBezTo>
                  <a:pt x="976421" y="1019646"/>
                  <a:pt x="975195" y="1020110"/>
                  <a:pt x="973705" y="1021147"/>
                </a:cubicBezTo>
                <a:cubicBezTo>
                  <a:pt x="971777" y="1024586"/>
                  <a:pt x="969236" y="1024231"/>
                  <a:pt x="966957" y="1024122"/>
                </a:cubicBezTo>
                <a:cubicBezTo>
                  <a:pt x="966782" y="1024122"/>
                  <a:pt x="966607" y="1024067"/>
                  <a:pt x="966519" y="1024040"/>
                </a:cubicBezTo>
                <a:cubicBezTo>
                  <a:pt x="963540" y="1025132"/>
                  <a:pt x="962138" y="1023522"/>
                  <a:pt x="960823" y="1025241"/>
                </a:cubicBezTo>
                <a:cubicBezTo>
                  <a:pt x="959947" y="1025541"/>
                  <a:pt x="956354" y="1027206"/>
                  <a:pt x="954602" y="1025759"/>
                </a:cubicBezTo>
                <a:cubicBezTo>
                  <a:pt x="952761" y="1031845"/>
                  <a:pt x="949431" y="1026005"/>
                  <a:pt x="949169" y="1024531"/>
                </a:cubicBezTo>
                <a:cubicBezTo>
                  <a:pt x="946102" y="1025732"/>
                  <a:pt x="945926" y="1024477"/>
                  <a:pt x="943385" y="1022375"/>
                </a:cubicBezTo>
                <a:cubicBezTo>
                  <a:pt x="934534" y="1022212"/>
                  <a:pt x="933658" y="1017518"/>
                  <a:pt x="934184" y="1019101"/>
                </a:cubicBezTo>
                <a:cubicBezTo>
                  <a:pt x="927524" y="1020847"/>
                  <a:pt x="930153" y="1018418"/>
                  <a:pt x="926823" y="1018118"/>
                </a:cubicBezTo>
                <a:cubicBezTo>
                  <a:pt x="928225" y="1016399"/>
                  <a:pt x="926122" y="1015962"/>
                  <a:pt x="924369" y="1016263"/>
                </a:cubicBezTo>
                <a:cubicBezTo>
                  <a:pt x="924545" y="1013670"/>
                  <a:pt x="920163" y="1007230"/>
                  <a:pt x="920514" y="1009959"/>
                </a:cubicBezTo>
                <a:cubicBezTo>
                  <a:pt x="918235" y="1011514"/>
                  <a:pt x="918060" y="1012960"/>
                  <a:pt x="915431" y="1011923"/>
                </a:cubicBezTo>
                <a:cubicBezTo>
                  <a:pt x="912277" y="1010586"/>
                  <a:pt x="910086" y="1013370"/>
                  <a:pt x="909472" y="1014680"/>
                </a:cubicBezTo>
                <a:cubicBezTo>
                  <a:pt x="907194" y="1016999"/>
                  <a:pt x="909034" y="1018391"/>
                  <a:pt x="904478" y="1017081"/>
                </a:cubicBezTo>
                <a:cubicBezTo>
                  <a:pt x="899570" y="1014052"/>
                  <a:pt x="896065" y="1016044"/>
                  <a:pt x="898957" y="1018418"/>
                </a:cubicBezTo>
                <a:cubicBezTo>
                  <a:pt x="897642" y="1020465"/>
                  <a:pt x="895539" y="1016399"/>
                  <a:pt x="895978" y="1020192"/>
                </a:cubicBezTo>
                <a:cubicBezTo>
                  <a:pt x="894225" y="1019756"/>
                  <a:pt x="894575" y="1024040"/>
                  <a:pt x="887127" y="1023713"/>
                </a:cubicBezTo>
                <a:cubicBezTo>
                  <a:pt x="883184" y="1025732"/>
                  <a:pt x="879065" y="1030262"/>
                  <a:pt x="878189" y="1026305"/>
                </a:cubicBezTo>
                <a:cubicBezTo>
                  <a:pt x="876611" y="1028243"/>
                  <a:pt x="878189" y="1023249"/>
                  <a:pt x="875297" y="1029880"/>
                </a:cubicBezTo>
                <a:cubicBezTo>
                  <a:pt x="871003" y="1030890"/>
                  <a:pt x="869689" y="1032418"/>
                  <a:pt x="867586" y="1035611"/>
                </a:cubicBezTo>
                <a:cubicBezTo>
                  <a:pt x="866709" y="1034819"/>
                  <a:pt x="864694" y="1036211"/>
                  <a:pt x="863467" y="1037275"/>
                </a:cubicBezTo>
                <a:cubicBezTo>
                  <a:pt x="854441" y="1033701"/>
                  <a:pt x="863029" y="1041915"/>
                  <a:pt x="858998" y="1040550"/>
                </a:cubicBezTo>
                <a:cubicBezTo>
                  <a:pt x="859086" y="1036730"/>
                  <a:pt x="849884" y="1044016"/>
                  <a:pt x="854792" y="1044016"/>
                </a:cubicBezTo>
                <a:cubicBezTo>
                  <a:pt x="856457" y="1049310"/>
                  <a:pt x="848658" y="1047509"/>
                  <a:pt x="848395" y="1049201"/>
                </a:cubicBezTo>
                <a:cubicBezTo>
                  <a:pt x="845415" y="1049883"/>
                  <a:pt x="843049" y="1049119"/>
                  <a:pt x="841910" y="1049065"/>
                </a:cubicBezTo>
                <a:cubicBezTo>
                  <a:pt x="840683" y="1048955"/>
                  <a:pt x="840596" y="1049528"/>
                  <a:pt x="841910" y="1052885"/>
                </a:cubicBezTo>
                <a:cubicBezTo>
                  <a:pt x="848044" y="1053895"/>
                  <a:pt x="839194" y="1052885"/>
                  <a:pt x="837091" y="1053649"/>
                </a:cubicBezTo>
                <a:cubicBezTo>
                  <a:pt x="835163" y="1055778"/>
                  <a:pt x="834725" y="1056133"/>
                  <a:pt x="831132" y="1053485"/>
                </a:cubicBezTo>
                <a:cubicBezTo>
                  <a:pt x="827364" y="1052148"/>
                  <a:pt x="829116" y="1050320"/>
                  <a:pt x="822807" y="1053294"/>
                </a:cubicBezTo>
                <a:cubicBezTo>
                  <a:pt x="820967" y="1057115"/>
                  <a:pt x="816410" y="1046772"/>
                  <a:pt x="813869" y="1054877"/>
                </a:cubicBezTo>
                <a:cubicBezTo>
                  <a:pt x="807822" y="1054522"/>
                  <a:pt x="807121" y="1064865"/>
                  <a:pt x="806070" y="1058862"/>
                </a:cubicBezTo>
                <a:cubicBezTo>
                  <a:pt x="804755" y="1056842"/>
                  <a:pt x="802827" y="1062054"/>
                  <a:pt x="800637" y="1063855"/>
                </a:cubicBezTo>
                <a:cubicBezTo>
                  <a:pt x="800374" y="1068904"/>
                  <a:pt x="804580" y="1068249"/>
                  <a:pt x="800111" y="1069832"/>
                </a:cubicBezTo>
                <a:cubicBezTo>
                  <a:pt x="800900" y="1070705"/>
                  <a:pt x="798709" y="1070432"/>
                  <a:pt x="797482" y="1070159"/>
                </a:cubicBezTo>
                <a:cubicBezTo>
                  <a:pt x="796956" y="1071387"/>
                  <a:pt x="796168" y="1073325"/>
                  <a:pt x="796431" y="1073107"/>
                </a:cubicBezTo>
                <a:cubicBezTo>
                  <a:pt x="796343" y="1073625"/>
                  <a:pt x="796343" y="1074035"/>
                  <a:pt x="796343" y="1074362"/>
                </a:cubicBezTo>
                <a:cubicBezTo>
                  <a:pt x="796080" y="1074880"/>
                  <a:pt x="795817" y="1075426"/>
                  <a:pt x="795379" y="1076081"/>
                </a:cubicBezTo>
                <a:cubicBezTo>
                  <a:pt x="795291" y="1076163"/>
                  <a:pt x="795291" y="1076190"/>
                  <a:pt x="795116" y="1076272"/>
                </a:cubicBezTo>
                <a:cubicBezTo>
                  <a:pt x="795116" y="1076518"/>
                  <a:pt x="795028" y="1076627"/>
                  <a:pt x="794941" y="1076818"/>
                </a:cubicBezTo>
                <a:cubicBezTo>
                  <a:pt x="794766" y="1077173"/>
                  <a:pt x="794678" y="1077418"/>
                  <a:pt x="794766" y="1077391"/>
                </a:cubicBezTo>
                <a:cubicBezTo>
                  <a:pt x="793188" y="1081103"/>
                  <a:pt x="787668" y="1074744"/>
                  <a:pt x="788631" y="1073598"/>
                </a:cubicBezTo>
                <a:cubicBezTo>
                  <a:pt x="788719" y="1068085"/>
                  <a:pt x="790822" y="1074498"/>
                  <a:pt x="782059" y="1071169"/>
                </a:cubicBezTo>
                <a:cubicBezTo>
                  <a:pt x="780920" y="1069832"/>
                  <a:pt x="776276" y="1064210"/>
                  <a:pt x="776977" y="1068331"/>
                </a:cubicBezTo>
                <a:cubicBezTo>
                  <a:pt x="775750" y="1066093"/>
                  <a:pt x="772157" y="1064374"/>
                  <a:pt x="771368" y="1067785"/>
                </a:cubicBezTo>
                <a:cubicBezTo>
                  <a:pt x="778466" y="1071224"/>
                  <a:pt x="768301" y="1070623"/>
                  <a:pt x="770667" y="1070432"/>
                </a:cubicBezTo>
                <a:cubicBezTo>
                  <a:pt x="770667" y="1067540"/>
                  <a:pt x="767863" y="1068195"/>
                  <a:pt x="771631" y="1072561"/>
                </a:cubicBezTo>
                <a:cubicBezTo>
                  <a:pt x="773997" y="1072397"/>
                  <a:pt x="773734" y="1081375"/>
                  <a:pt x="765234" y="1072861"/>
                </a:cubicBezTo>
                <a:cubicBezTo>
                  <a:pt x="765585" y="1071633"/>
                  <a:pt x="763131" y="1067922"/>
                  <a:pt x="764533" y="1072206"/>
                </a:cubicBezTo>
                <a:cubicBezTo>
                  <a:pt x="764796" y="1072452"/>
                  <a:pt x="764972" y="1072643"/>
                  <a:pt x="765234" y="1072861"/>
                </a:cubicBezTo>
                <a:cubicBezTo>
                  <a:pt x="765147" y="1073325"/>
                  <a:pt x="764533" y="1073461"/>
                  <a:pt x="763219" y="1072670"/>
                </a:cubicBezTo>
                <a:cubicBezTo>
                  <a:pt x="763044" y="1072670"/>
                  <a:pt x="762956" y="1072561"/>
                  <a:pt x="762781" y="1072561"/>
                </a:cubicBezTo>
                <a:cubicBezTo>
                  <a:pt x="763131" y="1072288"/>
                  <a:pt x="763307" y="1071933"/>
                  <a:pt x="763131" y="1071333"/>
                </a:cubicBezTo>
                <a:cubicBezTo>
                  <a:pt x="761379" y="1065957"/>
                  <a:pt x="758136" y="1072097"/>
                  <a:pt x="762781" y="1072561"/>
                </a:cubicBezTo>
                <a:cubicBezTo>
                  <a:pt x="761379" y="1073871"/>
                  <a:pt x="756471" y="1072042"/>
                  <a:pt x="757961" y="1070623"/>
                </a:cubicBezTo>
                <a:cubicBezTo>
                  <a:pt x="756734" y="1068631"/>
                  <a:pt x="759626" y="1069177"/>
                  <a:pt x="764008" y="1068195"/>
                </a:cubicBezTo>
                <a:cubicBezTo>
                  <a:pt x="762343" y="1064756"/>
                  <a:pt x="761466" y="1067376"/>
                  <a:pt x="766286" y="1064183"/>
                </a:cubicBezTo>
                <a:cubicBezTo>
                  <a:pt x="758837" y="1062436"/>
                  <a:pt x="764972" y="1065111"/>
                  <a:pt x="766286" y="1058807"/>
                </a:cubicBezTo>
                <a:cubicBezTo>
                  <a:pt x="764796" y="1056242"/>
                  <a:pt x="769441" y="1058670"/>
                  <a:pt x="769704" y="1055559"/>
                </a:cubicBezTo>
                <a:cubicBezTo>
                  <a:pt x="762430" y="1054550"/>
                  <a:pt x="768652" y="1054195"/>
                  <a:pt x="769616" y="1052176"/>
                </a:cubicBezTo>
                <a:cubicBezTo>
                  <a:pt x="770930" y="1051821"/>
                  <a:pt x="772420" y="1051357"/>
                  <a:pt x="773296" y="1051302"/>
                </a:cubicBezTo>
                <a:cubicBezTo>
                  <a:pt x="784162" y="1052285"/>
                  <a:pt x="775662" y="1050429"/>
                  <a:pt x="769528" y="1046308"/>
                </a:cubicBezTo>
                <a:cubicBezTo>
                  <a:pt x="768477" y="1037439"/>
                  <a:pt x="762080" y="1048328"/>
                  <a:pt x="765935" y="1048846"/>
                </a:cubicBezTo>
                <a:cubicBezTo>
                  <a:pt x="759889" y="1048273"/>
                  <a:pt x="757260" y="1052285"/>
                  <a:pt x="759889" y="1051630"/>
                </a:cubicBezTo>
                <a:cubicBezTo>
                  <a:pt x="754193" y="1053676"/>
                  <a:pt x="756910" y="1055832"/>
                  <a:pt x="758750" y="1055150"/>
                </a:cubicBezTo>
                <a:cubicBezTo>
                  <a:pt x="759714" y="1056542"/>
                  <a:pt x="760853" y="1056979"/>
                  <a:pt x="757260" y="1058452"/>
                </a:cubicBezTo>
                <a:cubicBezTo>
                  <a:pt x="758837" y="1058943"/>
                  <a:pt x="755858" y="1059544"/>
                  <a:pt x="752441" y="1061618"/>
                </a:cubicBezTo>
                <a:cubicBezTo>
                  <a:pt x="752616" y="1062191"/>
                  <a:pt x="745343" y="1065738"/>
                  <a:pt x="747971" y="1064047"/>
                </a:cubicBezTo>
                <a:cubicBezTo>
                  <a:pt x="744904" y="1064538"/>
                  <a:pt x="745605" y="1063801"/>
                  <a:pt x="742626" y="1067540"/>
                </a:cubicBezTo>
                <a:cubicBezTo>
                  <a:pt x="745868" y="1071606"/>
                  <a:pt x="738507" y="1066721"/>
                  <a:pt x="738157" y="1070623"/>
                </a:cubicBezTo>
                <a:cubicBezTo>
                  <a:pt x="738069" y="1075781"/>
                  <a:pt x="740172" y="1073925"/>
                  <a:pt x="734126" y="1074253"/>
                </a:cubicBezTo>
                <a:cubicBezTo>
                  <a:pt x="734301" y="1074144"/>
                  <a:pt x="731585" y="1072261"/>
                  <a:pt x="733425" y="1071769"/>
                </a:cubicBezTo>
                <a:cubicBezTo>
                  <a:pt x="733688" y="1075263"/>
                  <a:pt x="736580" y="1070460"/>
                  <a:pt x="734564" y="1071633"/>
                </a:cubicBezTo>
                <a:cubicBezTo>
                  <a:pt x="734038" y="1071633"/>
                  <a:pt x="733688" y="1071688"/>
                  <a:pt x="733425" y="1071769"/>
                </a:cubicBezTo>
                <a:lnTo>
                  <a:pt x="733425" y="1069914"/>
                </a:lnTo>
                <a:cubicBezTo>
                  <a:pt x="728693" y="1069777"/>
                  <a:pt x="732899" y="1061700"/>
                  <a:pt x="729745" y="1065138"/>
                </a:cubicBezTo>
                <a:cubicBezTo>
                  <a:pt x="731935" y="1063555"/>
                  <a:pt x="725538" y="1063528"/>
                  <a:pt x="721770" y="1061563"/>
                </a:cubicBezTo>
                <a:cubicBezTo>
                  <a:pt x="719404" y="1062737"/>
                  <a:pt x="711956" y="1060008"/>
                  <a:pt x="712744" y="1061781"/>
                </a:cubicBezTo>
                <a:cubicBezTo>
                  <a:pt x="711167" y="1061208"/>
                  <a:pt x="706610" y="1062436"/>
                  <a:pt x="705559" y="1063446"/>
                </a:cubicBezTo>
                <a:cubicBezTo>
                  <a:pt x="707837" y="1071660"/>
                  <a:pt x="705997" y="1061563"/>
                  <a:pt x="701265" y="1067512"/>
                </a:cubicBezTo>
                <a:cubicBezTo>
                  <a:pt x="702579" y="1067512"/>
                  <a:pt x="696708" y="1073953"/>
                  <a:pt x="691976" y="1069859"/>
                </a:cubicBezTo>
                <a:cubicBezTo>
                  <a:pt x="684352" y="1068849"/>
                  <a:pt x="687157" y="1070460"/>
                  <a:pt x="684878" y="1073571"/>
                </a:cubicBezTo>
                <a:cubicBezTo>
                  <a:pt x="683651" y="1073516"/>
                  <a:pt x="680409" y="1076545"/>
                  <a:pt x="678131" y="1075972"/>
                </a:cubicBezTo>
                <a:cubicBezTo>
                  <a:pt x="684528" y="1074062"/>
                  <a:pt x="675414" y="1072670"/>
                  <a:pt x="677956" y="1069996"/>
                </a:cubicBezTo>
                <a:cubicBezTo>
                  <a:pt x="677167" y="1074035"/>
                  <a:pt x="684966" y="1067376"/>
                  <a:pt x="680234" y="1062627"/>
                </a:cubicBezTo>
                <a:cubicBezTo>
                  <a:pt x="684265" y="1062627"/>
                  <a:pt x="681023" y="1056733"/>
                  <a:pt x="682950" y="1056405"/>
                </a:cubicBezTo>
                <a:cubicBezTo>
                  <a:pt x="683651" y="1054877"/>
                  <a:pt x="680322" y="1051411"/>
                  <a:pt x="684352" y="1048928"/>
                </a:cubicBezTo>
                <a:cubicBezTo>
                  <a:pt x="681986" y="1046035"/>
                  <a:pt x="689435" y="1038831"/>
                  <a:pt x="686631" y="1041560"/>
                </a:cubicBezTo>
                <a:cubicBezTo>
                  <a:pt x="683213" y="1044316"/>
                  <a:pt x="686280" y="1041560"/>
                  <a:pt x="680409" y="1047018"/>
                </a:cubicBezTo>
                <a:cubicBezTo>
                  <a:pt x="681636" y="1043416"/>
                  <a:pt x="677079" y="1050838"/>
                  <a:pt x="674538" y="1052285"/>
                </a:cubicBezTo>
                <a:cubicBezTo>
                  <a:pt x="673749" y="1055450"/>
                  <a:pt x="673224" y="1056569"/>
                  <a:pt x="668842" y="1057115"/>
                </a:cubicBezTo>
                <a:cubicBezTo>
                  <a:pt x="667528" y="1062000"/>
                  <a:pt x="662007" y="1062000"/>
                  <a:pt x="662620" y="1062573"/>
                </a:cubicBezTo>
                <a:cubicBezTo>
                  <a:pt x="659115" y="1065738"/>
                  <a:pt x="663672" y="1067567"/>
                  <a:pt x="655610" y="1068004"/>
                </a:cubicBezTo>
                <a:cubicBezTo>
                  <a:pt x="653770" y="1068795"/>
                  <a:pt x="652981" y="1068713"/>
                  <a:pt x="651754" y="1069368"/>
                </a:cubicBezTo>
                <a:cubicBezTo>
                  <a:pt x="651842" y="1068249"/>
                  <a:pt x="651404" y="1067267"/>
                  <a:pt x="650002" y="1067430"/>
                </a:cubicBezTo>
                <a:cubicBezTo>
                  <a:pt x="653156" y="1064783"/>
                  <a:pt x="648863" y="1062573"/>
                  <a:pt x="651667" y="1062627"/>
                </a:cubicBezTo>
                <a:cubicBezTo>
                  <a:pt x="647373" y="1062027"/>
                  <a:pt x="650002" y="1063664"/>
                  <a:pt x="642378" y="1066448"/>
                </a:cubicBezTo>
                <a:cubicBezTo>
                  <a:pt x="639924" y="1068304"/>
                  <a:pt x="634929" y="1069832"/>
                  <a:pt x="633089" y="1070296"/>
                </a:cubicBezTo>
                <a:cubicBezTo>
                  <a:pt x="633002" y="1071333"/>
                  <a:pt x="627130" y="1073270"/>
                  <a:pt x="625816" y="1073598"/>
                </a:cubicBezTo>
                <a:cubicBezTo>
                  <a:pt x="627919" y="1074417"/>
                  <a:pt x="622837" y="1074362"/>
                  <a:pt x="620120" y="1075972"/>
                </a:cubicBezTo>
                <a:cubicBezTo>
                  <a:pt x="613723" y="1079602"/>
                  <a:pt x="617404" y="1079902"/>
                  <a:pt x="614599" y="1078183"/>
                </a:cubicBezTo>
                <a:cubicBezTo>
                  <a:pt x="609429" y="1080011"/>
                  <a:pt x="612409" y="1078701"/>
                  <a:pt x="607764" y="1077609"/>
                </a:cubicBezTo>
                <a:cubicBezTo>
                  <a:pt x="603646" y="1078646"/>
                  <a:pt x="605486" y="1077036"/>
                  <a:pt x="600929" y="1077036"/>
                </a:cubicBezTo>
                <a:cubicBezTo>
                  <a:pt x="602507" y="1080830"/>
                  <a:pt x="596110" y="1076627"/>
                  <a:pt x="594883" y="1076654"/>
                </a:cubicBezTo>
                <a:cubicBezTo>
                  <a:pt x="593043" y="1078674"/>
                  <a:pt x="586120" y="1077609"/>
                  <a:pt x="588398" y="1076354"/>
                </a:cubicBezTo>
                <a:cubicBezTo>
                  <a:pt x="587434" y="1073216"/>
                  <a:pt x="582439" y="1072970"/>
                  <a:pt x="579460" y="1075917"/>
                </a:cubicBezTo>
                <a:cubicBezTo>
                  <a:pt x="576831" y="1076218"/>
                  <a:pt x="576744" y="1073107"/>
                  <a:pt x="577006" y="1073652"/>
                </a:cubicBezTo>
                <a:cubicBezTo>
                  <a:pt x="576393" y="1073953"/>
                  <a:pt x="575955" y="1073925"/>
                  <a:pt x="572537" y="1074717"/>
                </a:cubicBezTo>
                <a:cubicBezTo>
                  <a:pt x="572888" y="1073270"/>
                  <a:pt x="573501" y="1070923"/>
                  <a:pt x="577357" y="1070432"/>
                </a:cubicBezTo>
                <a:cubicBezTo>
                  <a:pt x="580161" y="1068931"/>
                  <a:pt x="581213" y="1068249"/>
                  <a:pt x="582878" y="1066721"/>
                </a:cubicBezTo>
                <a:cubicBezTo>
                  <a:pt x="582352" y="1066885"/>
                  <a:pt x="581651" y="1066912"/>
                  <a:pt x="581037" y="1066475"/>
                </a:cubicBezTo>
                <a:cubicBezTo>
                  <a:pt x="579986" y="1066121"/>
                  <a:pt x="572713" y="1068249"/>
                  <a:pt x="572274" y="1065220"/>
                </a:cubicBezTo>
                <a:cubicBezTo>
                  <a:pt x="567367" y="1064920"/>
                  <a:pt x="565702" y="1066857"/>
                  <a:pt x="564563" y="1067840"/>
                </a:cubicBezTo>
                <a:cubicBezTo>
                  <a:pt x="563424" y="1068849"/>
                  <a:pt x="562898" y="1068904"/>
                  <a:pt x="560532" y="1064756"/>
                </a:cubicBezTo>
                <a:cubicBezTo>
                  <a:pt x="559218" y="1066775"/>
                  <a:pt x="556151" y="1065793"/>
                  <a:pt x="547037" y="1064811"/>
                </a:cubicBezTo>
                <a:cubicBezTo>
                  <a:pt x="541166" y="1060253"/>
                  <a:pt x="537661" y="1066312"/>
                  <a:pt x="533630" y="1065657"/>
                </a:cubicBezTo>
                <a:cubicBezTo>
                  <a:pt x="532666" y="1065657"/>
                  <a:pt x="525831" y="1062054"/>
                  <a:pt x="528109" y="1066039"/>
                </a:cubicBezTo>
                <a:cubicBezTo>
                  <a:pt x="528810" y="1065411"/>
                  <a:pt x="523815" y="1074444"/>
                  <a:pt x="522676" y="1067076"/>
                </a:cubicBezTo>
                <a:cubicBezTo>
                  <a:pt x="523114" y="1066639"/>
                  <a:pt x="523640" y="1065875"/>
                  <a:pt x="524604" y="1064483"/>
                </a:cubicBezTo>
                <a:cubicBezTo>
                  <a:pt x="523377" y="1059762"/>
                  <a:pt x="526181" y="1058943"/>
                  <a:pt x="531614" y="1059626"/>
                </a:cubicBezTo>
                <a:cubicBezTo>
                  <a:pt x="531351" y="1053676"/>
                  <a:pt x="532666" y="1061290"/>
                  <a:pt x="537748" y="1055014"/>
                </a:cubicBezTo>
                <a:cubicBezTo>
                  <a:pt x="537836" y="1054741"/>
                  <a:pt x="537836" y="1054577"/>
                  <a:pt x="537924" y="1054386"/>
                </a:cubicBezTo>
                <a:cubicBezTo>
                  <a:pt x="537486" y="1054113"/>
                  <a:pt x="537047" y="1053786"/>
                  <a:pt x="536346" y="1053213"/>
                </a:cubicBezTo>
                <a:cubicBezTo>
                  <a:pt x="539501" y="1056733"/>
                  <a:pt x="530475" y="1056651"/>
                  <a:pt x="526795" y="1053840"/>
                </a:cubicBezTo>
                <a:cubicBezTo>
                  <a:pt x="520047" y="1050866"/>
                  <a:pt x="521625" y="1052148"/>
                  <a:pt x="517594" y="1054304"/>
                </a:cubicBezTo>
                <a:cubicBezTo>
                  <a:pt x="511722" y="1052967"/>
                  <a:pt x="511898" y="1051521"/>
                  <a:pt x="512774" y="1053977"/>
                </a:cubicBezTo>
                <a:cubicBezTo>
                  <a:pt x="511197" y="1053813"/>
                  <a:pt x="505764" y="1056542"/>
                  <a:pt x="505588" y="1054823"/>
                </a:cubicBezTo>
                <a:cubicBezTo>
                  <a:pt x="501557" y="1057197"/>
                  <a:pt x="502521" y="1061754"/>
                  <a:pt x="498490" y="1057142"/>
                </a:cubicBezTo>
                <a:cubicBezTo>
                  <a:pt x="493408" y="1058479"/>
                  <a:pt x="493758" y="1057142"/>
                  <a:pt x="494109" y="1056733"/>
                </a:cubicBezTo>
                <a:cubicBezTo>
                  <a:pt x="493934" y="1056897"/>
                  <a:pt x="493671" y="1057279"/>
                  <a:pt x="492795" y="1058179"/>
                </a:cubicBezTo>
                <a:cubicBezTo>
                  <a:pt x="486573" y="1054495"/>
                  <a:pt x="482542" y="1059380"/>
                  <a:pt x="484820" y="1060990"/>
                </a:cubicBezTo>
                <a:cubicBezTo>
                  <a:pt x="485346" y="1060963"/>
                  <a:pt x="480264" y="1062164"/>
                  <a:pt x="478511" y="1062464"/>
                </a:cubicBezTo>
                <a:cubicBezTo>
                  <a:pt x="477109" y="1063801"/>
                  <a:pt x="475970" y="1068276"/>
                  <a:pt x="472640" y="1064510"/>
                </a:cubicBezTo>
                <a:cubicBezTo>
                  <a:pt x="473516" y="1062764"/>
                  <a:pt x="466856" y="1065848"/>
                  <a:pt x="466418" y="1064292"/>
                </a:cubicBezTo>
                <a:cubicBezTo>
                  <a:pt x="460196" y="1066421"/>
                  <a:pt x="469135" y="1070432"/>
                  <a:pt x="460284" y="1066639"/>
                </a:cubicBezTo>
                <a:cubicBezTo>
                  <a:pt x="453975" y="1069095"/>
                  <a:pt x="454939" y="1074144"/>
                  <a:pt x="453011" y="1069041"/>
                </a:cubicBezTo>
                <a:cubicBezTo>
                  <a:pt x="448016" y="1069013"/>
                  <a:pt x="446701" y="1068167"/>
                  <a:pt x="447841" y="1068658"/>
                </a:cubicBezTo>
                <a:cubicBezTo>
                  <a:pt x="444423" y="1073816"/>
                  <a:pt x="443109" y="1069559"/>
                  <a:pt x="441969" y="1069614"/>
                </a:cubicBezTo>
                <a:cubicBezTo>
                  <a:pt x="444861" y="1068795"/>
                  <a:pt x="436011" y="1065220"/>
                  <a:pt x="435660" y="1071906"/>
                </a:cubicBezTo>
                <a:cubicBezTo>
                  <a:pt x="432944" y="1072670"/>
                  <a:pt x="431103" y="1069914"/>
                  <a:pt x="429176" y="1074144"/>
                </a:cubicBezTo>
                <a:cubicBezTo>
                  <a:pt x="422078" y="1072861"/>
                  <a:pt x="425232" y="1072561"/>
                  <a:pt x="425495" y="1074580"/>
                </a:cubicBezTo>
                <a:cubicBezTo>
                  <a:pt x="419449" y="1080311"/>
                  <a:pt x="421026" y="1079902"/>
                  <a:pt x="416557" y="1076027"/>
                </a:cubicBezTo>
                <a:cubicBezTo>
                  <a:pt x="412614" y="1073625"/>
                  <a:pt x="409985" y="1074035"/>
                  <a:pt x="408758" y="1074799"/>
                </a:cubicBezTo>
                <a:cubicBezTo>
                  <a:pt x="406567" y="1072643"/>
                  <a:pt x="403938" y="1076109"/>
                  <a:pt x="406655" y="1073270"/>
                </a:cubicBezTo>
                <a:cubicBezTo>
                  <a:pt x="409021" y="1071442"/>
                  <a:pt x="400170" y="1071469"/>
                  <a:pt x="401748" y="1067785"/>
                </a:cubicBezTo>
                <a:cubicBezTo>
                  <a:pt x="396227" y="1064811"/>
                  <a:pt x="401572" y="1064074"/>
                  <a:pt x="397191" y="1064865"/>
                </a:cubicBezTo>
                <a:cubicBezTo>
                  <a:pt x="392985" y="1065793"/>
                  <a:pt x="401572" y="1063037"/>
                  <a:pt x="391583" y="1062737"/>
                </a:cubicBezTo>
                <a:cubicBezTo>
                  <a:pt x="383959" y="1064156"/>
                  <a:pt x="382469" y="1058943"/>
                  <a:pt x="381768" y="1062491"/>
                </a:cubicBezTo>
                <a:cubicBezTo>
                  <a:pt x="379753" y="1059462"/>
                  <a:pt x="377474" y="1059080"/>
                  <a:pt x="374407" y="1065056"/>
                </a:cubicBezTo>
                <a:cubicBezTo>
                  <a:pt x="379139" y="1070923"/>
                  <a:pt x="376335" y="1065848"/>
                  <a:pt x="371340" y="1066421"/>
                </a:cubicBezTo>
                <a:cubicBezTo>
                  <a:pt x="369412" y="1064483"/>
                  <a:pt x="371515" y="1068604"/>
                  <a:pt x="369500" y="1064947"/>
                </a:cubicBezTo>
                <a:cubicBezTo>
                  <a:pt x="368799" y="1064128"/>
                  <a:pt x="366521" y="1063064"/>
                  <a:pt x="364680" y="1061891"/>
                </a:cubicBezTo>
                <a:cubicBezTo>
                  <a:pt x="363979" y="1061454"/>
                  <a:pt x="363541" y="1060990"/>
                  <a:pt x="363015" y="1060526"/>
                </a:cubicBezTo>
                <a:cubicBezTo>
                  <a:pt x="361350" y="1061290"/>
                  <a:pt x="358722" y="1061836"/>
                  <a:pt x="359598" y="1062300"/>
                </a:cubicBezTo>
                <a:cubicBezTo>
                  <a:pt x="355917" y="1065848"/>
                  <a:pt x="352500" y="1066584"/>
                  <a:pt x="355742" y="1064620"/>
                </a:cubicBezTo>
                <a:cubicBezTo>
                  <a:pt x="351536" y="1061781"/>
                  <a:pt x="355479" y="1066312"/>
                  <a:pt x="349520" y="1067567"/>
                </a:cubicBezTo>
                <a:cubicBezTo>
                  <a:pt x="349696" y="1073189"/>
                  <a:pt x="347593" y="1072806"/>
                  <a:pt x="347330" y="1071142"/>
                </a:cubicBezTo>
                <a:cubicBezTo>
                  <a:pt x="346103" y="1073189"/>
                  <a:pt x="341020" y="1072206"/>
                  <a:pt x="341020" y="1073216"/>
                </a:cubicBezTo>
                <a:cubicBezTo>
                  <a:pt x="339093" y="1076054"/>
                  <a:pt x="336814" y="1074280"/>
                  <a:pt x="335587" y="1071224"/>
                </a:cubicBezTo>
                <a:cubicBezTo>
                  <a:pt x="331031" y="1070760"/>
                  <a:pt x="330592" y="1068904"/>
                  <a:pt x="330943" y="1067212"/>
                </a:cubicBezTo>
                <a:cubicBezTo>
                  <a:pt x="325773" y="1065056"/>
                  <a:pt x="332520" y="1066939"/>
                  <a:pt x="325948" y="1062327"/>
                </a:cubicBezTo>
                <a:cubicBezTo>
                  <a:pt x="320252" y="1060008"/>
                  <a:pt x="321479" y="1057606"/>
                  <a:pt x="321041" y="1057442"/>
                </a:cubicBezTo>
                <a:cubicBezTo>
                  <a:pt x="321479" y="1060635"/>
                  <a:pt x="313067" y="1060908"/>
                  <a:pt x="318237" y="1063419"/>
                </a:cubicBezTo>
                <a:cubicBezTo>
                  <a:pt x="316922" y="1063610"/>
                  <a:pt x="316572" y="1066039"/>
                  <a:pt x="315345" y="1069450"/>
                </a:cubicBezTo>
                <a:cubicBezTo>
                  <a:pt x="317799" y="1071688"/>
                  <a:pt x="312804" y="1067922"/>
                  <a:pt x="313417" y="1071497"/>
                </a:cubicBezTo>
                <a:cubicBezTo>
                  <a:pt x="311314" y="1069232"/>
                  <a:pt x="310701" y="1069477"/>
                  <a:pt x="310613" y="1069777"/>
                </a:cubicBezTo>
                <a:cubicBezTo>
                  <a:pt x="306056" y="1066694"/>
                  <a:pt x="305268" y="1065384"/>
                  <a:pt x="305793" y="1066312"/>
                </a:cubicBezTo>
                <a:cubicBezTo>
                  <a:pt x="305092" y="1066202"/>
                  <a:pt x="305530" y="1065984"/>
                  <a:pt x="304829" y="1062464"/>
                </a:cubicBezTo>
                <a:cubicBezTo>
                  <a:pt x="303778" y="1063664"/>
                  <a:pt x="297381" y="1066503"/>
                  <a:pt x="297118" y="1068331"/>
                </a:cubicBezTo>
                <a:cubicBezTo>
                  <a:pt x="293788" y="1071333"/>
                  <a:pt x="294051" y="1075481"/>
                  <a:pt x="290195" y="1073789"/>
                </a:cubicBezTo>
                <a:cubicBezTo>
                  <a:pt x="290809" y="1075754"/>
                  <a:pt x="293175" y="1074608"/>
                  <a:pt x="293525" y="1076818"/>
                </a:cubicBezTo>
                <a:cubicBezTo>
                  <a:pt x="293175" y="1076218"/>
                  <a:pt x="289407" y="1076982"/>
                  <a:pt x="286164" y="1077282"/>
                </a:cubicBezTo>
                <a:cubicBezTo>
                  <a:pt x="284675" y="1077991"/>
                  <a:pt x="283010" y="1079874"/>
                  <a:pt x="282221" y="1080748"/>
                </a:cubicBezTo>
                <a:cubicBezTo>
                  <a:pt x="282221" y="1083258"/>
                  <a:pt x="284499" y="1085769"/>
                  <a:pt x="280731" y="1084459"/>
                </a:cubicBezTo>
                <a:cubicBezTo>
                  <a:pt x="280206" y="1085714"/>
                  <a:pt x="276613" y="1088225"/>
                  <a:pt x="274773" y="1084486"/>
                </a:cubicBezTo>
                <a:cubicBezTo>
                  <a:pt x="275035" y="1083968"/>
                  <a:pt x="275912" y="1082194"/>
                  <a:pt x="273458" y="1081348"/>
                </a:cubicBezTo>
                <a:cubicBezTo>
                  <a:pt x="273020" y="1079738"/>
                  <a:pt x="271180" y="1074226"/>
                  <a:pt x="271618" y="1073762"/>
                </a:cubicBezTo>
                <a:cubicBezTo>
                  <a:pt x="275123" y="1075263"/>
                  <a:pt x="266886" y="1062682"/>
                  <a:pt x="270391" y="1065356"/>
                </a:cubicBezTo>
                <a:cubicBezTo>
                  <a:pt x="272319" y="1061590"/>
                  <a:pt x="264520" y="1068631"/>
                  <a:pt x="265046" y="1068195"/>
                </a:cubicBezTo>
                <a:cubicBezTo>
                  <a:pt x="266535" y="1068304"/>
                  <a:pt x="256107" y="1070269"/>
                  <a:pt x="260664" y="1067103"/>
                </a:cubicBezTo>
                <a:cubicBezTo>
                  <a:pt x="255494" y="1066011"/>
                  <a:pt x="255582" y="1064183"/>
                  <a:pt x="255056" y="1068113"/>
                </a:cubicBezTo>
                <a:cubicBezTo>
                  <a:pt x="252865" y="1068768"/>
                  <a:pt x="250850" y="1069177"/>
                  <a:pt x="249097" y="1069477"/>
                </a:cubicBezTo>
                <a:cubicBezTo>
                  <a:pt x="251463" y="1065902"/>
                  <a:pt x="247607" y="1066475"/>
                  <a:pt x="243401" y="1071524"/>
                </a:cubicBezTo>
                <a:cubicBezTo>
                  <a:pt x="238669" y="1078155"/>
                  <a:pt x="239020" y="1078701"/>
                  <a:pt x="238406" y="1072970"/>
                </a:cubicBezTo>
                <a:cubicBezTo>
                  <a:pt x="238494" y="1075645"/>
                  <a:pt x="228066" y="1078537"/>
                  <a:pt x="231834" y="1074962"/>
                </a:cubicBezTo>
                <a:cubicBezTo>
                  <a:pt x="229556" y="1074526"/>
                  <a:pt x="229468" y="1078264"/>
                  <a:pt x="225262" y="1076763"/>
                </a:cubicBezTo>
                <a:cubicBezTo>
                  <a:pt x="223422" y="1075454"/>
                  <a:pt x="217901" y="1074089"/>
                  <a:pt x="218252" y="1076818"/>
                </a:cubicBezTo>
                <a:cubicBezTo>
                  <a:pt x="216236" y="1076682"/>
                  <a:pt x="212731" y="1077146"/>
                  <a:pt x="210803" y="1078974"/>
                </a:cubicBezTo>
                <a:cubicBezTo>
                  <a:pt x="210628" y="1076927"/>
                  <a:pt x="210014" y="1076409"/>
                  <a:pt x="207210" y="1076709"/>
                </a:cubicBezTo>
                <a:cubicBezTo>
                  <a:pt x="208612" y="1077773"/>
                  <a:pt x="209226" y="1080284"/>
                  <a:pt x="202478" y="1080175"/>
                </a:cubicBezTo>
                <a:cubicBezTo>
                  <a:pt x="200463" y="1074362"/>
                  <a:pt x="195380" y="1078919"/>
                  <a:pt x="192927" y="1079465"/>
                </a:cubicBezTo>
                <a:cubicBezTo>
                  <a:pt x="192226" y="1079765"/>
                  <a:pt x="191875" y="1080147"/>
                  <a:pt x="191787" y="1080529"/>
                </a:cubicBezTo>
                <a:cubicBezTo>
                  <a:pt x="190122" y="1079520"/>
                  <a:pt x="188282" y="1078183"/>
                  <a:pt x="188195" y="1077337"/>
                </a:cubicBezTo>
                <a:cubicBezTo>
                  <a:pt x="186442" y="1074799"/>
                  <a:pt x="185829" y="1073598"/>
                  <a:pt x="185653" y="1073107"/>
                </a:cubicBezTo>
                <a:cubicBezTo>
                  <a:pt x="185653" y="1073325"/>
                  <a:pt x="185478" y="1073625"/>
                  <a:pt x="184689" y="1073734"/>
                </a:cubicBezTo>
                <a:cubicBezTo>
                  <a:pt x="181447" y="1077691"/>
                  <a:pt x="185916" y="1067212"/>
                  <a:pt x="179432" y="1070814"/>
                </a:cubicBezTo>
                <a:cubicBezTo>
                  <a:pt x="174174" y="1066694"/>
                  <a:pt x="181360" y="1072588"/>
                  <a:pt x="173648" y="1069068"/>
                </a:cubicBezTo>
                <a:cubicBezTo>
                  <a:pt x="171195" y="1068276"/>
                  <a:pt x="169617" y="1067703"/>
                  <a:pt x="168741" y="1067239"/>
                </a:cubicBezTo>
                <a:cubicBezTo>
                  <a:pt x="168390" y="1067649"/>
                  <a:pt x="167865" y="1068031"/>
                  <a:pt x="167251" y="1068549"/>
                </a:cubicBezTo>
                <a:cubicBezTo>
                  <a:pt x="166112" y="1060253"/>
                  <a:pt x="165499" y="1066721"/>
                  <a:pt x="162607" y="1067267"/>
                </a:cubicBezTo>
                <a:cubicBezTo>
                  <a:pt x="162607" y="1067376"/>
                  <a:pt x="154633" y="1066503"/>
                  <a:pt x="155421" y="1068549"/>
                </a:cubicBezTo>
                <a:cubicBezTo>
                  <a:pt x="157086" y="1066885"/>
                  <a:pt x="160854" y="1073107"/>
                  <a:pt x="153756" y="1069095"/>
                </a:cubicBezTo>
                <a:cubicBezTo>
                  <a:pt x="151215" y="1068386"/>
                  <a:pt x="144380" y="1070978"/>
                  <a:pt x="146483" y="1068631"/>
                </a:cubicBezTo>
                <a:cubicBezTo>
                  <a:pt x="134478" y="1070269"/>
                  <a:pt x="142803" y="1065875"/>
                  <a:pt x="137983" y="1067540"/>
                </a:cubicBezTo>
                <a:cubicBezTo>
                  <a:pt x="143942" y="1062191"/>
                  <a:pt x="140699" y="1064893"/>
                  <a:pt x="135967" y="1065711"/>
                </a:cubicBezTo>
                <a:cubicBezTo>
                  <a:pt x="142715" y="1064456"/>
                  <a:pt x="132988" y="1063282"/>
                  <a:pt x="130710" y="1061208"/>
                </a:cubicBezTo>
                <a:cubicBezTo>
                  <a:pt x="132900" y="1058452"/>
                  <a:pt x="119756" y="1059899"/>
                  <a:pt x="123962" y="1057470"/>
                </a:cubicBezTo>
                <a:cubicBezTo>
                  <a:pt x="124576" y="1056733"/>
                  <a:pt x="117390" y="1058398"/>
                  <a:pt x="115375" y="1056051"/>
                </a:cubicBezTo>
                <a:cubicBezTo>
                  <a:pt x="116514" y="1053431"/>
                  <a:pt x="115024" y="1054986"/>
                  <a:pt x="110555" y="1058043"/>
                </a:cubicBezTo>
                <a:lnTo>
                  <a:pt x="110555" y="1057743"/>
                </a:lnTo>
                <a:cubicBezTo>
                  <a:pt x="110380" y="1058452"/>
                  <a:pt x="108277" y="1065193"/>
                  <a:pt x="105998" y="1056269"/>
                </a:cubicBezTo>
                <a:cubicBezTo>
                  <a:pt x="106173" y="1060690"/>
                  <a:pt x="111869" y="1051848"/>
                  <a:pt x="107225" y="1053676"/>
                </a:cubicBezTo>
                <a:cubicBezTo>
                  <a:pt x="107400" y="1052285"/>
                  <a:pt x="107137" y="1049829"/>
                  <a:pt x="106962" y="1048792"/>
                </a:cubicBezTo>
                <a:lnTo>
                  <a:pt x="106962" y="1045299"/>
                </a:lnTo>
                <a:cubicBezTo>
                  <a:pt x="107225" y="1045571"/>
                  <a:pt x="107488" y="1045653"/>
                  <a:pt x="107926" y="1044807"/>
                </a:cubicBezTo>
                <a:cubicBezTo>
                  <a:pt x="107400" y="1044835"/>
                  <a:pt x="107137" y="1044753"/>
                  <a:pt x="106875" y="1044726"/>
                </a:cubicBezTo>
                <a:cubicBezTo>
                  <a:pt x="106875" y="1044889"/>
                  <a:pt x="106875" y="1045108"/>
                  <a:pt x="106962" y="1045299"/>
                </a:cubicBezTo>
                <a:cubicBezTo>
                  <a:pt x="106261" y="1044917"/>
                  <a:pt x="105297" y="1043989"/>
                  <a:pt x="102230" y="1044944"/>
                </a:cubicBezTo>
                <a:cubicBezTo>
                  <a:pt x="96359" y="1046499"/>
                  <a:pt x="96972" y="1048737"/>
                  <a:pt x="96622" y="1045053"/>
                </a:cubicBezTo>
                <a:cubicBezTo>
                  <a:pt x="95132" y="1040059"/>
                  <a:pt x="97498" y="1040359"/>
                  <a:pt x="92065" y="1045708"/>
                </a:cubicBezTo>
                <a:cubicBezTo>
                  <a:pt x="86895" y="1045053"/>
                  <a:pt x="91715" y="1047891"/>
                  <a:pt x="85405" y="1047263"/>
                </a:cubicBezTo>
                <a:cubicBezTo>
                  <a:pt x="84792" y="1046008"/>
                  <a:pt x="85230" y="1044289"/>
                  <a:pt x="84880" y="1043907"/>
                </a:cubicBezTo>
                <a:cubicBezTo>
                  <a:pt x="84617" y="1043552"/>
                  <a:pt x="83565" y="1044534"/>
                  <a:pt x="80060" y="1048710"/>
                </a:cubicBezTo>
                <a:cubicBezTo>
                  <a:pt x="76818" y="1048437"/>
                  <a:pt x="72261" y="1057606"/>
                  <a:pt x="74802" y="1051821"/>
                </a:cubicBezTo>
                <a:cubicBezTo>
                  <a:pt x="72436" y="1049992"/>
                  <a:pt x="73137" y="1052749"/>
                  <a:pt x="68493" y="1051657"/>
                </a:cubicBezTo>
                <a:cubicBezTo>
                  <a:pt x="65601" y="1052831"/>
                  <a:pt x="65338" y="1048846"/>
                  <a:pt x="66127" y="1054959"/>
                </a:cubicBezTo>
                <a:cubicBezTo>
                  <a:pt x="63586" y="1055942"/>
                  <a:pt x="62534" y="1056651"/>
                  <a:pt x="62271" y="1057033"/>
                </a:cubicBezTo>
                <a:cubicBezTo>
                  <a:pt x="62184" y="1056897"/>
                  <a:pt x="62008" y="1056733"/>
                  <a:pt x="61658" y="1056569"/>
                </a:cubicBezTo>
                <a:cubicBezTo>
                  <a:pt x="55348" y="1052367"/>
                  <a:pt x="60343" y="1055778"/>
                  <a:pt x="56488" y="1053022"/>
                </a:cubicBezTo>
                <a:cubicBezTo>
                  <a:pt x="57364" y="1053949"/>
                  <a:pt x="54472" y="1048764"/>
                  <a:pt x="53421" y="1047809"/>
                </a:cubicBezTo>
                <a:cubicBezTo>
                  <a:pt x="53596" y="1046145"/>
                  <a:pt x="51055" y="1047536"/>
                  <a:pt x="50091" y="1044043"/>
                </a:cubicBezTo>
                <a:cubicBezTo>
                  <a:pt x="45446" y="1046008"/>
                  <a:pt x="45622" y="1042297"/>
                  <a:pt x="45972" y="1047973"/>
                </a:cubicBezTo>
                <a:cubicBezTo>
                  <a:pt x="43168" y="1054522"/>
                  <a:pt x="43168" y="1053731"/>
                  <a:pt x="41941" y="1051848"/>
                </a:cubicBezTo>
                <a:cubicBezTo>
                  <a:pt x="40189" y="1053458"/>
                  <a:pt x="39838" y="1053076"/>
                  <a:pt x="39312" y="1053158"/>
                </a:cubicBezTo>
                <a:cubicBezTo>
                  <a:pt x="39487" y="1051848"/>
                  <a:pt x="38962" y="1049610"/>
                  <a:pt x="38699" y="1046554"/>
                </a:cubicBezTo>
                <a:cubicBezTo>
                  <a:pt x="39312" y="1042979"/>
                  <a:pt x="42993" y="1038804"/>
                  <a:pt x="39312" y="1038667"/>
                </a:cubicBezTo>
                <a:cubicBezTo>
                  <a:pt x="39225" y="1038558"/>
                  <a:pt x="39137" y="1038531"/>
                  <a:pt x="39049" y="1038476"/>
                </a:cubicBezTo>
                <a:cubicBezTo>
                  <a:pt x="39487" y="1038995"/>
                  <a:pt x="39663" y="1039622"/>
                  <a:pt x="37823" y="1039486"/>
                </a:cubicBezTo>
                <a:cubicBezTo>
                  <a:pt x="37297" y="1039786"/>
                  <a:pt x="37034" y="1037712"/>
                  <a:pt x="34054" y="1039131"/>
                </a:cubicBezTo>
                <a:cubicBezTo>
                  <a:pt x="29673" y="1041915"/>
                  <a:pt x="32740" y="1040168"/>
                  <a:pt x="31250" y="1044180"/>
                </a:cubicBezTo>
                <a:cubicBezTo>
                  <a:pt x="29673" y="1047482"/>
                  <a:pt x="22312" y="1049556"/>
                  <a:pt x="23188" y="1049692"/>
                </a:cubicBezTo>
                <a:cubicBezTo>
                  <a:pt x="20735" y="1051602"/>
                  <a:pt x="18194" y="1049228"/>
                  <a:pt x="17580" y="1052012"/>
                </a:cubicBezTo>
                <a:cubicBezTo>
                  <a:pt x="17931" y="1057088"/>
                  <a:pt x="12585" y="1054140"/>
                  <a:pt x="13724" y="1056651"/>
                </a:cubicBezTo>
                <a:cubicBezTo>
                  <a:pt x="15828" y="1055478"/>
                  <a:pt x="17405" y="1058479"/>
                  <a:pt x="15302" y="1057743"/>
                </a:cubicBezTo>
                <a:cubicBezTo>
                  <a:pt x="16353" y="1059926"/>
                  <a:pt x="11096" y="1060035"/>
                  <a:pt x="8642" y="1060499"/>
                </a:cubicBezTo>
                <a:cubicBezTo>
                  <a:pt x="8029" y="1061863"/>
                  <a:pt x="6364" y="1062000"/>
                  <a:pt x="5137" y="1062000"/>
                </a:cubicBezTo>
                <a:cubicBezTo>
                  <a:pt x="3034" y="1057579"/>
                  <a:pt x="2157" y="1057579"/>
                  <a:pt x="3559" y="1055505"/>
                </a:cubicBezTo>
                <a:cubicBezTo>
                  <a:pt x="5838" y="1053922"/>
                  <a:pt x="-998" y="1046499"/>
                  <a:pt x="4786" y="1049528"/>
                </a:cubicBezTo>
                <a:cubicBezTo>
                  <a:pt x="5575" y="1051166"/>
                  <a:pt x="6188" y="1048109"/>
                  <a:pt x="54" y="1045954"/>
                </a:cubicBezTo>
                <a:lnTo>
                  <a:pt x="1023" y="139188"/>
                </a:lnTo>
                <a:lnTo>
                  <a:pt x="1023" y="125528"/>
                </a:lnTo>
                <a:cubicBezTo>
                  <a:pt x="1111" y="121721"/>
                  <a:pt x="2168" y="118649"/>
                  <a:pt x="1023" y="115418"/>
                </a:cubicBezTo>
                <a:cubicBezTo>
                  <a:pt x="6131" y="113851"/>
                  <a:pt x="-2060" y="107836"/>
                  <a:pt x="1023" y="109084"/>
                </a:cubicBezTo>
                <a:cubicBezTo>
                  <a:pt x="2873" y="110075"/>
                  <a:pt x="7628" y="103293"/>
                  <a:pt x="1023" y="106908"/>
                </a:cubicBezTo>
                <a:cubicBezTo>
                  <a:pt x="2256" y="103133"/>
                  <a:pt x="-4174" y="97567"/>
                  <a:pt x="5162" y="103773"/>
                </a:cubicBezTo>
                <a:cubicBezTo>
                  <a:pt x="7100" y="93344"/>
                  <a:pt x="10006" y="95839"/>
                  <a:pt x="9918" y="99486"/>
                </a:cubicBezTo>
                <a:cubicBezTo>
                  <a:pt x="18109" y="93440"/>
                  <a:pt x="18373" y="100734"/>
                  <a:pt x="13353" y="94911"/>
                </a:cubicBezTo>
                <a:cubicBezTo>
                  <a:pt x="14674" y="93312"/>
                  <a:pt x="15291" y="91264"/>
                  <a:pt x="18021" y="91520"/>
                </a:cubicBezTo>
                <a:cubicBezTo>
                  <a:pt x="18021" y="95583"/>
                  <a:pt x="17580" y="93280"/>
                  <a:pt x="18637" y="94496"/>
                </a:cubicBezTo>
                <a:cubicBezTo>
                  <a:pt x="21896" y="100638"/>
                  <a:pt x="17404" y="107292"/>
                  <a:pt x="20487" y="106204"/>
                </a:cubicBezTo>
                <a:cubicBezTo>
                  <a:pt x="22248" y="100414"/>
                  <a:pt x="14850" y="108924"/>
                  <a:pt x="22777" y="114906"/>
                </a:cubicBezTo>
                <a:cubicBezTo>
                  <a:pt x="25419" y="117658"/>
                  <a:pt x="25243" y="118521"/>
                  <a:pt x="22777" y="120889"/>
                </a:cubicBezTo>
                <a:cubicBezTo>
                  <a:pt x="26828" y="115514"/>
                  <a:pt x="29118" y="117370"/>
                  <a:pt x="24098" y="114906"/>
                </a:cubicBezTo>
                <a:cubicBezTo>
                  <a:pt x="19958" y="111291"/>
                  <a:pt x="30439" y="107324"/>
                  <a:pt x="25419" y="108604"/>
                </a:cubicBezTo>
                <a:cubicBezTo>
                  <a:pt x="23745" y="107260"/>
                  <a:pt x="31672" y="105405"/>
                  <a:pt x="27092" y="101054"/>
                </a:cubicBezTo>
                <a:cubicBezTo>
                  <a:pt x="26740" y="94847"/>
                  <a:pt x="31760" y="90465"/>
                  <a:pt x="29470" y="92096"/>
                </a:cubicBezTo>
                <a:cubicBezTo>
                  <a:pt x="26740" y="87521"/>
                  <a:pt x="26740" y="90976"/>
                  <a:pt x="30439" y="85730"/>
                </a:cubicBezTo>
                <a:cubicBezTo>
                  <a:pt x="37661" y="91008"/>
                  <a:pt x="32729" y="89121"/>
                  <a:pt x="32200" y="77380"/>
                </a:cubicBezTo>
                <a:cubicBezTo>
                  <a:pt x="29382" y="76804"/>
                  <a:pt x="35195" y="72613"/>
                  <a:pt x="32993" y="73381"/>
                </a:cubicBezTo>
                <a:cubicBezTo>
                  <a:pt x="32200" y="77220"/>
                  <a:pt x="31143" y="65031"/>
                  <a:pt x="32817" y="66503"/>
                </a:cubicBezTo>
                <a:cubicBezTo>
                  <a:pt x="26740" y="66855"/>
                  <a:pt x="38806" y="76900"/>
                  <a:pt x="34314" y="62376"/>
                </a:cubicBezTo>
                <a:lnTo>
                  <a:pt x="40016" y="62421"/>
                </a:lnTo>
                <a:lnTo>
                  <a:pt x="40853" y="63343"/>
                </a:lnTo>
                <a:cubicBezTo>
                  <a:pt x="40870" y="63075"/>
                  <a:pt x="40887" y="62806"/>
                  <a:pt x="40904" y="62538"/>
                </a:cubicBezTo>
                <a:lnTo>
                  <a:pt x="46820" y="65159"/>
                </a:lnTo>
                <a:cubicBezTo>
                  <a:pt x="44618" y="74053"/>
                  <a:pt x="55275" y="69926"/>
                  <a:pt x="53602" y="70086"/>
                </a:cubicBezTo>
                <a:cubicBezTo>
                  <a:pt x="65756" y="73253"/>
                  <a:pt x="66196" y="63240"/>
                  <a:pt x="58534" y="64327"/>
                </a:cubicBezTo>
                <a:cubicBezTo>
                  <a:pt x="65579" y="61064"/>
                  <a:pt x="57565" y="59433"/>
                  <a:pt x="63378" y="58601"/>
                </a:cubicBezTo>
                <a:cubicBezTo>
                  <a:pt x="63994" y="60200"/>
                  <a:pt x="70247" y="60232"/>
                  <a:pt x="67781" y="53610"/>
                </a:cubicBezTo>
                <a:cubicBezTo>
                  <a:pt x="67517" y="57321"/>
                  <a:pt x="70864" y="55434"/>
                  <a:pt x="71921" y="48555"/>
                </a:cubicBezTo>
                <a:cubicBezTo>
                  <a:pt x="67605" y="44236"/>
                  <a:pt x="85660" y="47276"/>
                  <a:pt x="77645" y="45036"/>
                </a:cubicBezTo>
                <a:cubicBezTo>
                  <a:pt x="84691" y="39470"/>
                  <a:pt x="82665" y="33935"/>
                  <a:pt x="83282" y="43309"/>
                </a:cubicBezTo>
                <a:cubicBezTo>
                  <a:pt x="83150" y="42797"/>
                  <a:pt x="82974" y="43901"/>
                  <a:pt x="83513" y="44920"/>
                </a:cubicBezTo>
                <a:lnTo>
                  <a:pt x="86620" y="45681"/>
                </a:lnTo>
                <a:lnTo>
                  <a:pt x="85847" y="46124"/>
                </a:lnTo>
                <a:cubicBezTo>
                  <a:pt x="84141" y="45788"/>
                  <a:pt x="83942" y="44780"/>
                  <a:pt x="88038" y="46028"/>
                </a:cubicBezTo>
                <a:lnTo>
                  <a:pt x="86620" y="45681"/>
                </a:lnTo>
                <a:lnTo>
                  <a:pt x="92706" y="42189"/>
                </a:lnTo>
                <a:cubicBezTo>
                  <a:pt x="97990" y="39214"/>
                  <a:pt x="86452" y="42733"/>
                  <a:pt x="96581" y="46444"/>
                </a:cubicBezTo>
                <a:cubicBezTo>
                  <a:pt x="89623" y="44140"/>
                  <a:pt x="91473" y="49323"/>
                  <a:pt x="95876" y="51499"/>
                </a:cubicBezTo>
                <a:cubicBezTo>
                  <a:pt x="94555" y="57641"/>
                  <a:pt x="96140" y="60936"/>
                  <a:pt x="100192" y="54250"/>
                </a:cubicBezTo>
                <a:cubicBezTo>
                  <a:pt x="105740" y="52010"/>
                  <a:pt x="101072" y="56393"/>
                  <a:pt x="106621" y="50347"/>
                </a:cubicBezTo>
                <a:cubicBezTo>
                  <a:pt x="111553" y="50539"/>
                  <a:pt x="111993" y="50859"/>
                  <a:pt x="108206" y="51243"/>
                </a:cubicBezTo>
                <a:cubicBezTo>
                  <a:pt x="116044" y="50539"/>
                  <a:pt x="105036" y="50603"/>
                  <a:pt x="115076" y="47851"/>
                </a:cubicBezTo>
                <a:lnTo>
                  <a:pt x="117215" y="43761"/>
                </a:lnTo>
                <a:lnTo>
                  <a:pt x="119950" y="43716"/>
                </a:lnTo>
                <a:lnTo>
                  <a:pt x="121065" y="43916"/>
                </a:lnTo>
                <a:cubicBezTo>
                  <a:pt x="121019" y="43844"/>
                  <a:pt x="120972" y="43773"/>
                  <a:pt x="120926" y="43701"/>
                </a:cubicBezTo>
                <a:lnTo>
                  <a:pt x="121417" y="43693"/>
                </a:lnTo>
                <a:cubicBezTo>
                  <a:pt x="127714" y="45388"/>
                  <a:pt x="127978" y="47740"/>
                  <a:pt x="126184" y="49407"/>
                </a:cubicBezTo>
                <a:lnTo>
                  <a:pt x="120031" y="50714"/>
                </a:lnTo>
                <a:lnTo>
                  <a:pt x="119655" y="50411"/>
                </a:lnTo>
                <a:cubicBezTo>
                  <a:pt x="126085" y="45548"/>
                  <a:pt x="117454" y="51435"/>
                  <a:pt x="118599" y="51019"/>
                </a:cubicBezTo>
                <a:lnTo>
                  <a:pt x="120031" y="50714"/>
                </a:lnTo>
                <a:lnTo>
                  <a:pt x="120679" y="51239"/>
                </a:lnTo>
                <a:cubicBezTo>
                  <a:pt x="120888" y="53098"/>
                  <a:pt x="121989" y="55354"/>
                  <a:pt x="127053" y="54442"/>
                </a:cubicBezTo>
                <a:cubicBezTo>
                  <a:pt x="133923" y="51019"/>
                  <a:pt x="139207" y="52682"/>
                  <a:pt x="135596" y="57865"/>
                </a:cubicBezTo>
                <a:cubicBezTo>
                  <a:pt x="133571" y="55689"/>
                  <a:pt x="135596" y="55425"/>
                  <a:pt x="137600" y="55186"/>
                </a:cubicBezTo>
                <a:lnTo>
                  <a:pt x="138681" y="53721"/>
                </a:lnTo>
                <a:lnTo>
                  <a:pt x="139189" y="54503"/>
                </a:lnTo>
                <a:cubicBezTo>
                  <a:pt x="139664" y="54778"/>
                  <a:pt x="139956" y="54258"/>
                  <a:pt x="139736" y="52266"/>
                </a:cubicBezTo>
                <a:lnTo>
                  <a:pt x="137611" y="51817"/>
                </a:lnTo>
                <a:lnTo>
                  <a:pt x="138855" y="48875"/>
                </a:lnTo>
                <a:cubicBezTo>
                  <a:pt x="144668" y="45740"/>
                  <a:pt x="145284" y="51818"/>
                  <a:pt x="146165" y="53354"/>
                </a:cubicBezTo>
                <a:cubicBezTo>
                  <a:pt x="150480" y="57801"/>
                  <a:pt x="154532" y="58729"/>
                  <a:pt x="151537" y="53034"/>
                </a:cubicBezTo>
                <a:lnTo>
                  <a:pt x="158034" y="51672"/>
                </a:lnTo>
                <a:lnTo>
                  <a:pt x="159497" y="51308"/>
                </a:lnTo>
                <a:lnTo>
                  <a:pt x="160047" y="52862"/>
                </a:lnTo>
                <a:cubicBezTo>
                  <a:pt x="160278" y="52258"/>
                  <a:pt x="161093" y="50747"/>
                  <a:pt x="164484" y="50059"/>
                </a:cubicBezTo>
                <a:cubicBezTo>
                  <a:pt x="166333" y="53034"/>
                  <a:pt x="170385" y="53450"/>
                  <a:pt x="165188" y="44940"/>
                </a:cubicBezTo>
                <a:cubicBezTo>
                  <a:pt x="168007" y="41229"/>
                  <a:pt x="171882" y="45612"/>
                  <a:pt x="169328" y="37646"/>
                </a:cubicBezTo>
                <a:cubicBezTo>
                  <a:pt x="167126" y="37838"/>
                  <a:pt x="178135" y="39278"/>
                  <a:pt x="174876" y="38670"/>
                </a:cubicBezTo>
                <a:cubicBezTo>
                  <a:pt x="171353" y="35343"/>
                  <a:pt x="172146" y="35503"/>
                  <a:pt x="174524" y="36622"/>
                </a:cubicBezTo>
                <a:cubicBezTo>
                  <a:pt x="174612" y="35119"/>
                  <a:pt x="178399" y="39470"/>
                  <a:pt x="180249" y="38542"/>
                </a:cubicBezTo>
                <a:cubicBezTo>
                  <a:pt x="181746" y="37710"/>
                  <a:pt x="179456" y="34479"/>
                  <a:pt x="185973" y="33871"/>
                </a:cubicBezTo>
                <a:cubicBezTo>
                  <a:pt x="188615" y="31248"/>
                  <a:pt x="190553" y="30672"/>
                  <a:pt x="188615" y="35535"/>
                </a:cubicBezTo>
                <a:cubicBezTo>
                  <a:pt x="190641" y="31568"/>
                  <a:pt x="188615" y="35311"/>
                  <a:pt x="192050" y="36558"/>
                </a:cubicBezTo>
                <a:cubicBezTo>
                  <a:pt x="191258" y="37486"/>
                  <a:pt x="192403" y="32367"/>
                  <a:pt x="195133" y="29360"/>
                </a:cubicBezTo>
                <a:cubicBezTo>
                  <a:pt x="195309" y="33967"/>
                  <a:pt x="190993" y="22322"/>
                  <a:pt x="196190" y="27857"/>
                </a:cubicBezTo>
                <a:cubicBezTo>
                  <a:pt x="198039" y="26065"/>
                  <a:pt x="198568" y="25969"/>
                  <a:pt x="203764" y="26513"/>
                </a:cubicBezTo>
                <a:cubicBezTo>
                  <a:pt x="207551" y="21874"/>
                  <a:pt x="203940" y="26097"/>
                  <a:pt x="204733" y="28784"/>
                </a:cubicBezTo>
                <a:cubicBezTo>
                  <a:pt x="204733" y="29616"/>
                  <a:pt x="204116" y="31696"/>
                  <a:pt x="207199" y="32591"/>
                </a:cubicBezTo>
                <a:cubicBezTo>
                  <a:pt x="208872" y="34479"/>
                  <a:pt x="210633" y="37326"/>
                  <a:pt x="213540" y="29968"/>
                </a:cubicBezTo>
                <a:cubicBezTo>
                  <a:pt x="218296" y="31728"/>
                  <a:pt x="220585" y="31216"/>
                  <a:pt x="219617" y="29648"/>
                </a:cubicBezTo>
                <a:cubicBezTo>
                  <a:pt x="220497" y="30864"/>
                  <a:pt x="226486" y="30736"/>
                  <a:pt x="224725" y="31408"/>
                </a:cubicBezTo>
                <a:cubicBezTo>
                  <a:pt x="222787" y="27793"/>
                  <a:pt x="222611" y="26609"/>
                  <a:pt x="226222" y="25553"/>
                </a:cubicBezTo>
                <a:cubicBezTo>
                  <a:pt x="226750" y="26257"/>
                  <a:pt x="230097" y="28017"/>
                  <a:pt x="236086" y="32495"/>
                </a:cubicBezTo>
                <a:cubicBezTo>
                  <a:pt x="238904" y="43405"/>
                  <a:pt x="240490" y="45772"/>
                  <a:pt x="241458" y="43149"/>
                </a:cubicBezTo>
                <a:cubicBezTo>
                  <a:pt x="240314" y="41197"/>
                  <a:pt x="242868" y="39438"/>
                  <a:pt x="242780" y="36430"/>
                </a:cubicBezTo>
                <a:cubicBezTo>
                  <a:pt x="242427" y="38350"/>
                  <a:pt x="253965" y="36590"/>
                  <a:pt x="248680" y="38574"/>
                </a:cubicBezTo>
                <a:cubicBezTo>
                  <a:pt x="254757" y="40301"/>
                  <a:pt x="265766" y="38574"/>
                  <a:pt x="258720" y="38926"/>
                </a:cubicBezTo>
                <a:cubicBezTo>
                  <a:pt x="264005" y="43725"/>
                  <a:pt x="271755" y="43405"/>
                  <a:pt x="264974" y="39854"/>
                </a:cubicBezTo>
                <a:cubicBezTo>
                  <a:pt x="274573" y="37134"/>
                  <a:pt x="263212" y="35023"/>
                  <a:pt x="266735" y="36654"/>
                </a:cubicBezTo>
                <a:cubicBezTo>
                  <a:pt x="268761" y="29584"/>
                  <a:pt x="270082" y="41293"/>
                  <a:pt x="275366" y="35119"/>
                </a:cubicBezTo>
                <a:cubicBezTo>
                  <a:pt x="276071" y="30448"/>
                  <a:pt x="283645" y="26001"/>
                  <a:pt x="279946" y="33775"/>
                </a:cubicBezTo>
                <a:cubicBezTo>
                  <a:pt x="287696" y="34863"/>
                  <a:pt x="276247" y="47148"/>
                  <a:pt x="278360" y="38094"/>
                </a:cubicBezTo>
                <a:cubicBezTo>
                  <a:pt x="271667" y="42061"/>
                  <a:pt x="281883" y="49131"/>
                  <a:pt x="283909" y="43597"/>
                </a:cubicBezTo>
                <a:cubicBezTo>
                  <a:pt x="282940" y="46316"/>
                  <a:pt x="276159" y="43853"/>
                  <a:pt x="288489" y="43757"/>
                </a:cubicBezTo>
                <a:cubicBezTo>
                  <a:pt x="289369" y="44108"/>
                  <a:pt x="288313" y="48747"/>
                  <a:pt x="292892" y="47276"/>
                </a:cubicBezTo>
                <a:cubicBezTo>
                  <a:pt x="292584" y="47036"/>
                  <a:pt x="293905" y="46180"/>
                  <a:pt x="295534" y="46068"/>
                </a:cubicBezTo>
                <a:lnTo>
                  <a:pt x="299692" y="49081"/>
                </a:lnTo>
                <a:lnTo>
                  <a:pt x="298364" y="53022"/>
                </a:lnTo>
                <a:cubicBezTo>
                  <a:pt x="298727" y="53178"/>
                  <a:pt x="299762" y="51547"/>
                  <a:pt x="300026" y="49323"/>
                </a:cubicBezTo>
                <a:lnTo>
                  <a:pt x="299692" y="49081"/>
                </a:lnTo>
                <a:lnTo>
                  <a:pt x="300731" y="45996"/>
                </a:lnTo>
                <a:cubicBezTo>
                  <a:pt x="295887" y="51211"/>
                  <a:pt x="301523" y="57577"/>
                  <a:pt x="305222" y="47724"/>
                </a:cubicBezTo>
                <a:cubicBezTo>
                  <a:pt x="312444" y="43533"/>
                  <a:pt x="303197" y="52266"/>
                  <a:pt x="306367" y="42605"/>
                </a:cubicBezTo>
                <a:lnTo>
                  <a:pt x="304410" y="40485"/>
                </a:lnTo>
                <a:lnTo>
                  <a:pt x="308217" y="41357"/>
                </a:lnTo>
                <a:lnTo>
                  <a:pt x="310902" y="41519"/>
                </a:lnTo>
                <a:lnTo>
                  <a:pt x="314734" y="43309"/>
                </a:lnTo>
                <a:cubicBezTo>
                  <a:pt x="318521" y="50571"/>
                  <a:pt x="319754" y="49419"/>
                  <a:pt x="321780" y="48235"/>
                </a:cubicBezTo>
                <a:cubicBezTo>
                  <a:pt x="323805" y="47116"/>
                  <a:pt x="325391" y="44812"/>
                  <a:pt x="326183" y="46540"/>
                </a:cubicBezTo>
                <a:cubicBezTo>
                  <a:pt x="328561" y="48939"/>
                  <a:pt x="334726" y="50571"/>
                  <a:pt x="336928" y="45900"/>
                </a:cubicBezTo>
                <a:cubicBezTo>
                  <a:pt x="339130" y="45196"/>
                  <a:pt x="339746" y="49003"/>
                  <a:pt x="347144" y="37806"/>
                </a:cubicBezTo>
                <a:cubicBezTo>
                  <a:pt x="346176" y="35407"/>
                  <a:pt x="351988" y="31568"/>
                  <a:pt x="352341" y="27761"/>
                </a:cubicBezTo>
                <a:lnTo>
                  <a:pt x="353668" y="26940"/>
                </a:lnTo>
                <a:lnTo>
                  <a:pt x="354873" y="29988"/>
                </a:lnTo>
                <a:cubicBezTo>
                  <a:pt x="353706" y="29384"/>
                  <a:pt x="352120" y="27905"/>
                  <a:pt x="354014" y="28912"/>
                </a:cubicBezTo>
                <a:cubicBezTo>
                  <a:pt x="349082" y="37774"/>
                  <a:pt x="350843" y="43181"/>
                  <a:pt x="355951" y="36750"/>
                </a:cubicBezTo>
                <a:cubicBezTo>
                  <a:pt x="357801" y="38382"/>
                  <a:pt x="365199" y="41581"/>
                  <a:pt x="357273" y="44300"/>
                </a:cubicBezTo>
                <a:cubicBezTo>
                  <a:pt x="356656" y="47244"/>
                  <a:pt x="356678" y="47340"/>
                  <a:pt x="356942" y="47547"/>
                </a:cubicBezTo>
                <a:lnTo>
                  <a:pt x="357383" y="49085"/>
                </a:lnTo>
                <a:cubicBezTo>
                  <a:pt x="357287" y="49308"/>
                  <a:pt x="357192" y="49532"/>
                  <a:pt x="357096" y="49755"/>
                </a:cubicBezTo>
                <a:lnTo>
                  <a:pt x="358474" y="57114"/>
                </a:lnTo>
                <a:lnTo>
                  <a:pt x="357900" y="57309"/>
                </a:lnTo>
                <a:cubicBezTo>
                  <a:pt x="356304" y="58185"/>
                  <a:pt x="356039" y="58889"/>
                  <a:pt x="358770" y="58697"/>
                </a:cubicBezTo>
                <a:cubicBezTo>
                  <a:pt x="358671" y="58169"/>
                  <a:pt x="358573" y="57642"/>
                  <a:pt x="358474" y="57114"/>
                </a:cubicBezTo>
                <a:lnTo>
                  <a:pt x="365023" y="54890"/>
                </a:lnTo>
                <a:cubicBezTo>
                  <a:pt x="362733" y="56777"/>
                  <a:pt x="372597" y="45516"/>
                  <a:pt x="371188" y="51115"/>
                </a:cubicBezTo>
                <a:cubicBezTo>
                  <a:pt x="366784" y="51946"/>
                  <a:pt x="383518" y="39822"/>
                  <a:pt x="379467" y="47660"/>
                </a:cubicBezTo>
                <a:cubicBezTo>
                  <a:pt x="377793" y="49515"/>
                  <a:pt x="392149" y="47532"/>
                  <a:pt x="383518" y="45484"/>
                </a:cubicBezTo>
                <a:cubicBezTo>
                  <a:pt x="383870" y="31888"/>
                  <a:pt x="381140" y="43501"/>
                  <a:pt x="388978" y="42509"/>
                </a:cubicBezTo>
                <a:cubicBezTo>
                  <a:pt x="393382" y="45036"/>
                  <a:pt x="395143" y="41965"/>
                  <a:pt x="396817" y="45484"/>
                </a:cubicBezTo>
                <a:cubicBezTo>
                  <a:pt x="400956" y="43309"/>
                  <a:pt x="415312" y="44396"/>
                  <a:pt x="404391" y="47724"/>
                </a:cubicBezTo>
                <a:cubicBezTo>
                  <a:pt x="403158" y="40525"/>
                  <a:pt x="403510" y="51754"/>
                  <a:pt x="404215" y="48907"/>
                </a:cubicBezTo>
                <a:cubicBezTo>
                  <a:pt x="401308" y="41805"/>
                  <a:pt x="397521" y="58249"/>
                  <a:pt x="402277" y="51627"/>
                </a:cubicBezTo>
                <a:cubicBezTo>
                  <a:pt x="399987" y="47628"/>
                  <a:pt x="405184" y="47340"/>
                  <a:pt x="408883" y="55018"/>
                </a:cubicBezTo>
                <a:cubicBezTo>
                  <a:pt x="399811" y="63911"/>
                  <a:pt x="410116" y="55530"/>
                  <a:pt x="408618" y="56681"/>
                </a:cubicBezTo>
                <a:cubicBezTo>
                  <a:pt x="409147" y="57353"/>
                  <a:pt x="413286" y="61128"/>
                  <a:pt x="414079" y="62408"/>
                </a:cubicBezTo>
                <a:cubicBezTo>
                  <a:pt x="413815" y="53642"/>
                  <a:pt x="411701" y="59656"/>
                  <a:pt x="414519" y="59241"/>
                </a:cubicBezTo>
                <a:cubicBezTo>
                  <a:pt x="408883" y="60200"/>
                  <a:pt x="423150" y="64455"/>
                  <a:pt x="417866" y="66759"/>
                </a:cubicBezTo>
                <a:cubicBezTo>
                  <a:pt x="416016" y="72485"/>
                  <a:pt x="418658" y="78979"/>
                  <a:pt x="422710" y="70022"/>
                </a:cubicBezTo>
                <a:cubicBezTo>
                  <a:pt x="427642" y="70502"/>
                  <a:pt x="428522" y="68966"/>
                  <a:pt x="428611" y="68582"/>
                </a:cubicBezTo>
                <a:cubicBezTo>
                  <a:pt x="428787" y="68230"/>
                  <a:pt x="428082" y="68998"/>
                  <a:pt x="429932" y="74117"/>
                </a:cubicBezTo>
                <a:cubicBezTo>
                  <a:pt x="438827" y="69894"/>
                  <a:pt x="436449" y="69478"/>
                  <a:pt x="435832" y="74053"/>
                </a:cubicBezTo>
                <a:cubicBezTo>
                  <a:pt x="444287" y="80803"/>
                  <a:pt x="430548" y="69798"/>
                  <a:pt x="442526" y="72389"/>
                </a:cubicBezTo>
                <a:cubicBezTo>
                  <a:pt x="442614" y="70566"/>
                  <a:pt x="446577" y="80707"/>
                  <a:pt x="448603" y="71461"/>
                </a:cubicBezTo>
                <a:cubicBezTo>
                  <a:pt x="450276" y="74853"/>
                  <a:pt x="460404" y="64647"/>
                  <a:pt x="456001" y="67878"/>
                </a:cubicBezTo>
                <a:cubicBezTo>
                  <a:pt x="461461" y="61096"/>
                  <a:pt x="465865" y="66151"/>
                  <a:pt x="460316" y="66055"/>
                </a:cubicBezTo>
                <a:cubicBezTo>
                  <a:pt x="460669" y="65095"/>
                  <a:pt x="466481" y="69734"/>
                  <a:pt x="465160" y="63048"/>
                </a:cubicBezTo>
                <a:cubicBezTo>
                  <a:pt x="470356" y="63943"/>
                  <a:pt x="472558" y="64615"/>
                  <a:pt x="470709" y="61224"/>
                </a:cubicBezTo>
                <a:cubicBezTo>
                  <a:pt x="473263" y="65319"/>
                  <a:pt x="475112" y="52650"/>
                  <a:pt x="479252" y="60328"/>
                </a:cubicBezTo>
                <a:cubicBezTo>
                  <a:pt x="488940" y="60360"/>
                  <a:pt x="479780" y="60072"/>
                  <a:pt x="484448" y="64487"/>
                </a:cubicBezTo>
                <a:cubicBezTo>
                  <a:pt x="482246" y="68678"/>
                  <a:pt x="478811" y="64839"/>
                  <a:pt x="486209" y="64967"/>
                </a:cubicBezTo>
                <a:cubicBezTo>
                  <a:pt x="480485" y="71110"/>
                  <a:pt x="490877" y="73733"/>
                  <a:pt x="489556" y="73125"/>
                </a:cubicBezTo>
                <a:cubicBezTo>
                  <a:pt x="492727" y="68422"/>
                  <a:pt x="490965" y="72773"/>
                  <a:pt x="492374" y="79395"/>
                </a:cubicBezTo>
                <a:cubicBezTo>
                  <a:pt x="492639" y="79331"/>
                  <a:pt x="491934" y="86785"/>
                  <a:pt x="495193" y="85634"/>
                </a:cubicBezTo>
                <a:cubicBezTo>
                  <a:pt x="501005" y="90976"/>
                  <a:pt x="484448" y="70150"/>
                  <a:pt x="499860" y="80611"/>
                </a:cubicBezTo>
                <a:cubicBezTo>
                  <a:pt x="497130" y="74629"/>
                  <a:pt x="497218" y="72605"/>
                  <a:pt x="498539" y="72461"/>
                </a:cubicBezTo>
                <a:lnTo>
                  <a:pt x="502864" y="74686"/>
                </a:lnTo>
                <a:lnTo>
                  <a:pt x="502591" y="74740"/>
                </a:lnTo>
                <a:cubicBezTo>
                  <a:pt x="501115" y="73613"/>
                  <a:pt x="501093" y="72405"/>
                  <a:pt x="504616" y="75588"/>
                </a:cubicBezTo>
                <a:lnTo>
                  <a:pt x="502864" y="74686"/>
                </a:lnTo>
                <a:lnTo>
                  <a:pt x="509284" y="73413"/>
                </a:lnTo>
                <a:cubicBezTo>
                  <a:pt x="514480" y="78212"/>
                  <a:pt x="513335" y="77156"/>
                  <a:pt x="513688" y="73125"/>
                </a:cubicBezTo>
                <a:cubicBezTo>
                  <a:pt x="514921" y="71429"/>
                  <a:pt x="512279" y="82946"/>
                  <a:pt x="519060" y="76196"/>
                </a:cubicBezTo>
                <a:cubicBezTo>
                  <a:pt x="520117" y="77028"/>
                  <a:pt x="515009" y="87361"/>
                  <a:pt x="524168" y="80067"/>
                </a:cubicBezTo>
                <a:cubicBezTo>
                  <a:pt x="518003" y="82946"/>
                  <a:pt x="521262" y="80355"/>
                  <a:pt x="528308" y="79267"/>
                </a:cubicBezTo>
                <a:cubicBezTo>
                  <a:pt x="530641" y="74197"/>
                  <a:pt x="533306" y="75900"/>
                  <a:pt x="534880" y="78096"/>
                </a:cubicBezTo>
                <a:lnTo>
                  <a:pt x="536126" y="80719"/>
                </a:lnTo>
                <a:lnTo>
                  <a:pt x="535949" y="80727"/>
                </a:lnTo>
                <a:lnTo>
                  <a:pt x="534913" y="79875"/>
                </a:lnTo>
                <a:cubicBezTo>
                  <a:pt x="531610" y="79811"/>
                  <a:pt x="531478" y="80451"/>
                  <a:pt x="532766" y="80875"/>
                </a:cubicBezTo>
                <a:lnTo>
                  <a:pt x="535949" y="80727"/>
                </a:lnTo>
                <a:lnTo>
                  <a:pt x="536247" y="80972"/>
                </a:lnTo>
                <a:lnTo>
                  <a:pt x="536126" y="80719"/>
                </a:lnTo>
                <a:lnTo>
                  <a:pt x="539140" y="80579"/>
                </a:lnTo>
                <a:cubicBezTo>
                  <a:pt x="543808" y="86114"/>
                  <a:pt x="535970" y="77316"/>
                  <a:pt x="544777" y="79203"/>
                </a:cubicBezTo>
                <a:lnTo>
                  <a:pt x="548588" y="77263"/>
                </a:lnTo>
                <a:lnTo>
                  <a:pt x="550747" y="77988"/>
                </a:lnTo>
                <a:cubicBezTo>
                  <a:pt x="552192" y="77828"/>
                  <a:pt x="553937" y="76916"/>
                  <a:pt x="555786" y="74565"/>
                </a:cubicBezTo>
                <a:cubicBezTo>
                  <a:pt x="556138" y="71173"/>
                  <a:pt x="566707" y="79299"/>
                  <a:pt x="561334" y="74213"/>
                </a:cubicBezTo>
                <a:cubicBezTo>
                  <a:pt x="559045" y="73061"/>
                  <a:pt x="565650" y="66855"/>
                  <a:pt x="562303" y="68838"/>
                </a:cubicBezTo>
                <a:cubicBezTo>
                  <a:pt x="571463" y="67718"/>
                  <a:pt x="570934" y="72229"/>
                  <a:pt x="567059" y="67207"/>
                </a:cubicBezTo>
                <a:cubicBezTo>
                  <a:pt x="569349" y="72069"/>
                  <a:pt x="568204" y="61256"/>
                  <a:pt x="571110" y="61224"/>
                </a:cubicBezTo>
                <a:cubicBezTo>
                  <a:pt x="572608" y="63943"/>
                  <a:pt x="574809" y="62888"/>
                  <a:pt x="576747" y="60936"/>
                </a:cubicBezTo>
                <a:cubicBezTo>
                  <a:pt x="578685" y="58953"/>
                  <a:pt x="580358" y="56073"/>
                  <a:pt x="580622" y="55050"/>
                </a:cubicBezTo>
                <a:cubicBezTo>
                  <a:pt x="580534" y="55785"/>
                  <a:pt x="580710" y="56809"/>
                  <a:pt x="581327" y="58569"/>
                </a:cubicBezTo>
                <a:cubicBezTo>
                  <a:pt x="580622" y="57129"/>
                  <a:pt x="581943" y="61448"/>
                  <a:pt x="581855" y="64007"/>
                </a:cubicBezTo>
                <a:cubicBezTo>
                  <a:pt x="582560" y="64103"/>
                  <a:pt x="583176" y="66247"/>
                  <a:pt x="583264" y="67910"/>
                </a:cubicBezTo>
                <a:cubicBezTo>
                  <a:pt x="584673" y="66343"/>
                  <a:pt x="586963" y="64807"/>
                  <a:pt x="587668" y="68038"/>
                </a:cubicBezTo>
                <a:cubicBezTo>
                  <a:pt x="591807" y="68966"/>
                  <a:pt x="588284" y="67143"/>
                  <a:pt x="592952" y="66535"/>
                </a:cubicBezTo>
                <a:cubicBezTo>
                  <a:pt x="591983" y="61288"/>
                  <a:pt x="603433" y="58601"/>
                  <a:pt x="604137" y="61448"/>
                </a:cubicBezTo>
                <a:cubicBezTo>
                  <a:pt x="610743" y="59656"/>
                  <a:pt x="610126" y="57641"/>
                  <a:pt x="615146" y="53450"/>
                </a:cubicBezTo>
                <a:cubicBezTo>
                  <a:pt x="614794" y="49643"/>
                  <a:pt x="620430" y="52170"/>
                  <a:pt x="620430" y="48907"/>
                </a:cubicBezTo>
                <a:cubicBezTo>
                  <a:pt x="617084" y="43948"/>
                  <a:pt x="624922" y="42381"/>
                  <a:pt x="625803" y="44172"/>
                </a:cubicBezTo>
                <a:cubicBezTo>
                  <a:pt x="629414" y="45356"/>
                  <a:pt x="631968" y="46636"/>
                  <a:pt x="630735" y="39598"/>
                </a:cubicBezTo>
                <a:cubicBezTo>
                  <a:pt x="632584" y="41709"/>
                  <a:pt x="635138" y="33807"/>
                  <a:pt x="635755" y="35567"/>
                </a:cubicBezTo>
                <a:cubicBezTo>
                  <a:pt x="640247" y="36558"/>
                  <a:pt x="641215" y="31568"/>
                  <a:pt x="639806" y="32495"/>
                </a:cubicBezTo>
                <a:cubicBezTo>
                  <a:pt x="646588" y="30192"/>
                  <a:pt x="638926" y="25553"/>
                  <a:pt x="645091" y="28880"/>
                </a:cubicBezTo>
                <a:cubicBezTo>
                  <a:pt x="646940" y="31504"/>
                  <a:pt x="647557" y="23730"/>
                  <a:pt x="652136" y="25553"/>
                </a:cubicBezTo>
                <a:cubicBezTo>
                  <a:pt x="652400" y="31728"/>
                  <a:pt x="656716" y="26193"/>
                  <a:pt x="658742" y="22706"/>
                </a:cubicBezTo>
                <a:cubicBezTo>
                  <a:pt x="660415" y="22802"/>
                  <a:pt x="663850" y="21874"/>
                  <a:pt x="665347" y="17075"/>
                </a:cubicBezTo>
                <a:cubicBezTo>
                  <a:pt x="676532" y="7638"/>
                  <a:pt x="668518" y="21938"/>
                  <a:pt x="672481" y="15316"/>
                </a:cubicBezTo>
                <a:cubicBezTo>
                  <a:pt x="670543" y="22994"/>
                  <a:pt x="678205" y="14548"/>
                  <a:pt x="679703" y="12341"/>
                </a:cubicBezTo>
                <a:cubicBezTo>
                  <a:pt x="681200" y="13748"/>
                  <a:pt x="687101" y="17843"/>
                  <a:pt x="687365" y="14740"/>
                </a:cubicBezTo>
                <a:cubicBezTo>
                  <a:pt x="692121" y="14420"/>
                  <a:pt x="687541" y="14260"/>
                  <a:pt x="686748" y="9589"/>
                </a:cubicBezTo>
                <a:cubicBezTo>
                  <a:pt x="688510" y="13876"/>
                  <a:pt x="688510" y="11221"/>
                  <a:pt x="693354" y="7254"/>
                </a:cubicBezTo>
                <a:cubicBezTo>
                  <a:pt x="695732" y="4951"/>
                  <a:pt x="704187" y="11733"/>
                  <a:pt x="700664" y="4887"/>
                </a:cubicBezTo>
                <a:cubicBezTo>
                  <a:pt x="704187" y="2487"/>
                  <a:pt x="711673" y="-2056"/>
                  <a:pt x="709207" y="1048"/>
                </a:cubicBezTo>
                <a:cubicBezTo>
                  <a:pt x="710175" y="2135"/>
                  <a:pt x="710880" y="4631"/>
                  <a:pt x="710616" y="3799"/>
                </a:cubicBezTo>
                <a:cubicBezTo>
                  <a:pt x="711585" y="8342"/>
                  <a:pt x="714051" y="10677"/>
                  <a:pt x="715548" y="11317"/>
                </a:cubicBezTo>
                <a:cubicBezTo>
                  <a:pt x="713346" y="15732"/>
                  <a:pt x="714315" y="13364"/>
                  <a:pt x="717485" y="14548"/>
                </a:cubicBezTo>
                <a:cubicBezTo>
                  <a:pt x="717573" y="12948"/>
                  <a:pt x="720304" y="19475"/>
                  <a:pt x="723210" y="19731"/>
                </a:cubicBezTo>
                <a:cubicBezTo>
                  <a:pt x="721801" y="19475"/>
                  <a:pt x="721625" y="17459"/>
                  <a:pt x="725412" y="18099"/>
                </a:cubicBezTo>
                <a:cubicBezTo>
                  <a:pt x="727261" y="18835"/>
                  <a:pt x="727702" y="19891"/>
                  <a:pt x="729727" y="25489"/>
                </a:cubicBezTo>
                <a:cubicBezTo>
                  <a:pt x="730168" y="23218"/>
                  <a:pt x="732986" y="27761"/>
                  <a:pt x="734659" y="28592"/>
                </a:cubicBezTo>
                <a:cubicBezTo>
                  <a:pt x="736157" y="26961"/>
                  <a:pt x="736773" y="29296"/>
                  <a:pt x="738270" y="27441"/>
                </a:cubicBezTo>
                <a:cubicBezTo>
                  <a:pt x="744171" y="30832"/>
                  <a:pt x="743643" y="31632"/>
                  <a:pt x="745404" y="32879"/>
                </a:cubicBezTo>
                <a:cubicBezTo>
                  <a:pt x="745668" y="32271"/>
                  <a:pt x="745932" y="32080"/>
                  <a:pt x="746109" y="32048"/>
                </a:cubicBezTo>
                <a:cubicBezTo>
                  <a:pt x="745756" y="31920"/>
                  <a:pt x="745052" y="31376"/>
                  <a:pt x="743731" y="29808"/>
                </a:cubicBezTo>
                <a:cubicBezTo>
                  <a:pt x="748222" y="30160"/>
                  <a:pt x="744435" y="24529"/>
                  <a:pt x="748663" y="27089"/>
                </a:cubicBezTo>
                <a:cubicBezTo>
                  <a:pt x="761169" y="23826"/>
                  <a:pt x="749015" y="25681"/>
                  <a:pt x="756149" y="23474"/>
                </a:cubicBezTo>
                <a:cubicBezTo>
                  <a:pt x="757822" y="23506"/>
                  <a:pt x="758791" y="23698"/>
                  <a:pt x="759496" y="23890"/>
                </a:cubicBezTo>
                <a:cubicBezTo>
                  <a:pt x="759584" y="23346"/>
                  <a:pt x="759936" y="22642"/>
                  <a:pt x="760817" y="21458"/>
                </a:cubicBezTo>
                <a:cubicBezTo>
                  <a:pt x="767862" y="26065"/>
                  <a:pt x="760640" y="23154"/>
                  <a:pt x="763459" y="25297"/>
                </a:cubicBezTo>
                <a:cubicBezTo>
                  <a:pt x="765661" y="32783"/>
                  <a:pt x="766189" y="29392"/>
                  <a:pt x="766365" y="32112"/>
                </a:cubicBezTo>
                <a:cubicBezTo>
                  <a:pt x="762754" y="38734"/>
                  <a:pt x="772882" y="36526"/>
                  <a:pt x="768127" y="36558"/>
                </a:cubicBezTo>
                <a:cubicBezTo>
                  <a:pt x="768831" y="35631"/>
                  <a:pt x="769448" y="34863"/>
                  <a:pt x="769888" y="34255"/>
                </a:cubicBezTo>
                <a:cubicBezTo>
                  <a:pt x="771385" y="35183"/>
                  <a:pt x="772618" y="36430"/>
                  <a:pt x="770945" y="37966"/>
                </a:cubicBezTo>
                <a:cubicBezTo>
                  <a:pt x="768479" y="42605"/>
                  <a:pt x="770945" y="39598"/>
                  <a:pt x="770681" y="43565"/>
                </a:cubicBezTo>
                <a:cubicBezTo>
                  <a:pt x="769448" y="42669"/>
                  <a:pt x="766277" y="49675"/>
                  <a:pt x="773411" y="47979"/>
                </a:cubicBezTo>
                <a:cubicBezTo>
                  <a:pt x="773059" y="54730"/>
                  <a:pt x="775701" y="48555"/>
                  <a:pt x="776846" y="43789"/>
                </a:cubicBezTo>
                <a:cubicBezTo>
                  <a:pt x="775260" y="46828"/>
                  <a:pt x="784948" y="40013"/>
                  <a:pt x="784684" y="42861"/>
                </a:cubicBezTo>
                <a:cubicBezTo>
                  <a:pt x="783803" y="47468"/>
                  <a:pt x="787590" y="50251"/>
                  <a:pt x="789528" y="46412"/>
                </a:cubicBezTo>
                <a:cubicBezTo>
                  <a:pt x="794636" y="46988"/>
                  <a:pt x="793755" y="37870"/>
                  <a:pt x="794196" y="40493"/>
                </a:cubicBezTo>
                <a:cubicBezTo>
                  <a:pt x="797807" y="38542"/>
                  <a:pt x="800713" y="40109"/>
                  <a:pt x="803179" y="38222"/>
                </a:cubicBezTo>
                <a:cubicBezTo>
                  <a:pt x="810225" y="40173"/>
                  <a:pt x="807935" y="42157"/>
                  <a:pt x="812074" y="36878"/>
                </a:cubicBezTo>
                <a:cubicBezTo>
                  <a:pt x="812779" y="37134"/>
                  <a:pt x="813219" y="37134"/>
                  <a:pt x="813395" y="37102"/>
                </a:cubicBezTo>
                <a:cubicBezTo>
                  <a:pt x="812955" y="37198"/>
                  <a:pt x="811105" y="38382"/>
                  <a:pt x="808904" y="45324"/>
                </a:cubicBezTo>
                <a:cubicBezTo>
                  <a:pt x="805293" y="45132"/>
                  <a:pt x="805733" y="46220"/>
                  <a:pt x="805557" y="51850"/>
                </a:cubicBezTo>
                <a:cubicBezTo>
                  <a:pt x="805029" y="52842"/>
                  <a:pt x="802298" y="61288"/>
                  <a:pt x="802122" y="59305"/>
                </a:cubicBezTo>
                <a:cubicBezTo>
                  <a:pt x="802739" y="63559"/>
                  <a:pt x="802563" y="55146"/>
                  <a:pt x="809872" y="58825"/>
                </a:cubicBezTo>
                <a:cubicBezTo>
                  <a:pt x="816126" y="61608"/>
                  <a:pt x="814540" y="52458"/>
                  <a:pt x="817623" y="58409"/>
                </a:cubicBezTo>
                <a:cubicBezTo>
                  <a:pt x="822995" y="53642"/>
                  <a:pt x="819736" y="51147"/>
                  <a:pt x="824845" y="54538"/>
                </a:cubicBezTo>
                <a:cubicBezTo>
                  <a:pt x="823259" y="60616"/>
                  <a:pt x="831010" y="55146"/>
                  <a:pt x="831186" y="56457"/>
                </a:cubicBezTo>
                <a:cubicBezTo>
                  <a:pt x="838848" y="57289"/>
                  <a:pt x="843340" y="53194"/>
                  <a:pt x="840609" y="53898"/>
                </a:cubicBezTo>
                <a:cubicBezTo>
                  <a:pt x="845630" y="51115"/>
                  <a:pt x="839112" y="56297"/>
                  <a:pt x="844132" y="52874"/>
                </a:cubicBezTo>
                <a:cubicBezTo>
                  <a:pt x="848800" y="47148"/>
                  <a:pt x="844397" y="49803"/>
                  <a:pt x="849857" y="50923"/>
                </a:cubicBezTo>
                <a:cubicBezTo>
                  <a:pt x="857343" y="49355"/>
                  <a:pt x="859104" y="51307"/>
                  <a:pt x="856727" y="48459"/>
                </a:cubicBezTo>
                <a:cubicBezTo>
                  <a:pt x="859545" y="48811"/>
                  <a:pt x="866326" y="45996"/>
                  <a:pt x="864565" y="45228"/>
                </a:cubicBezTo>
                <a:cubicBezTo>
                  <a:pt x="867207" y="48907"/>
                  <a:pt x="870994" y="48203"/>
                  <a:pt x="867383" y="44748"/>
                </a:cubicBezTo>
                <a:cubicBezTo>
                  <a:pt x="871699" y="47308"/>
                  <a:pt x="868704" y="38702"/>
                  <a:pt x="872668" y="41901"/>
                </a:cubicBezTo>
                <a:cubicBezTo>
                  <a:pt x="877864" y="43916"/>
                  <a:pt x="878921" y="41485"/>
                  <a:pt x="877776" y="41741"/>
                </a:cubicBezTo>
                <a:cubicBezTo>
                  <a:pt x="882443" y="39918"/>
                  <a:pt x="882972" y="42541"/>
                  <a:pt x="884205" y="42893"/>
                </a:cubicBezTo>
                <a:cubicBezTo>
                  <a:pt x="883853" y="43021"/>
                  <a:pt x="883412" y="43053"/>
                  <a:pt x="882972" y="43053"/>
                </a:cubicBezTo>
                <a:cubicBezTo>
                  <a:pt x="880506" y="46828"/>
                  <a:pt x="878216" y="46956"/>
                  <a:pt x="883853" y="49899"/>
                </a:cubicBezTo>
                <a:cubicBezTo>
                  <a:pt x="883853" y="49483"/>
                  <a:pt x="880506" y="53098"/>
                  <a:pt x="880330" y="57001"/>
                </a:cubicBezTo>
                <a:cubicBezTo>
                  <a:pt x="880304" y="57573"/>
                  <a:pt x="880278" y="58146"/>
                  <a:pt x="880252" y="58718"/>
                </a:cubicBezTo>
                <a:lnTo>
                  <a:pt x="879713" y="59656"/>
                </a:lnTo>
                <a:cubicBezTo>
                  <a:pt x="881563" y="61720"/>
                  <a:pt x="880880" y="61736"/>
                  <a:pt x="880154" y="60896"/>
                </a:cubicBezTo>
                <a:cubicBezTo>
                  <a:pt x="880187" y="60170"/>
                  <a:pt x="880219" y="59444"/>
                  <a:pt x="880252" y="58718"/>
                </a:cubicBezTo>
                <a:lnTo>
                  <a:pt x="881827" y="55977"/>
                </a:lnTo>
                <a:cubicBezTo>
                  <a:pt x="887199" y="54410"/>
                  <a:pt x="889577" y="55050"/>
                  <a:pt x="890722" y="54186"/>
                </a:cubicBezTo>
                <a:cubicBezTo>
                  <a:pt x="892836" y="53930"/>
                  <a:pt x="896183" y="48395"/>
                  <a:pt x="897504" y="50699"/>
                </a:cubicBezTo>
                <a:cubicBezTo>
                  <a:pt x="899353" y="49227"/>
                  <a:pt x="904373" y="50955"/>
                  <a:pt x="901731" y="48715"/>
                </a:cubicBezTo>
                <a:cubicBezTo>
                  <a:pt x="905166" y="49995"/>
                  <a:pt x="903669" y="50699"/>
                  <a:pt x="906927" y="50539"/>
                </a:cubicBezTo>
                <a:cubicBezTo>
                  <a:pt x="906487" y="51051"/>
                  <a:pt x="908425" y="49451"/>
                  <a:pt x="909393" y="46028"/>
                </a:cubicBezTo>
                <a:cubicBezTo>
                  <a:pt x="914061" y="46764"/>
                  <a:pt x="911507" y="51499"/>
                  <a:pt x="910803" y="52138"/>
                </a:cubicBezTo>
                <a:cubicBezTo>
                  <a:pt x="911507" y="53610"/>
                  <a:pt x="912476" y="56425"/>
                  <a:pt x="912124" y="58249"/>
                </a:cubicBezTo>
                <a:cubicBezTo>
                  <a:pt x="913092" y="57481"/>
                  <a:pt x="914325" y="58025"/>
                  <a:pt x="913797" y="59433"/>
                </a:cubicBezTo>
                <a:cubicBezTo>
                  <a:pt x="914502" y="58025"/>
                  <a:pt x="911331" y="63975"/>
                  <a:pt x="911595" y="67334"/>
                </a:cubicBezTo>
                <a:cubicBezTo>
                  <a:pt x="912652" y="70598"/>
                  <a:pt x="917584" y="71461"/>
                  <a:pt x="912124" y="73765"/>
                </a:cubicBezTo>
                <a:cubicBezTo>
                  <a:pt x="915382" y="76996"/>
                  <a:pt x="915470" y="78756"/>
                  <a:pt x="914854" y="79587"/>
                </a:cubicBezTo>
                <a:cubicBezTo>
                  <a:pt x="913797" y="79939"/>
                  <a:pt x="913004" y="80003"/>
                  <a:pt x="912388" y="79747"/>
                </a:cubicBezTo>
                <a:cubicBezTo>
                  <a:pt x="912476" y="79907"/>
                  <a:pt x="912564" y="80003"/>
                  <a:pt x="912652" y="80227"/>
                </a:cubicBezTo>
                <a:cubicBezTo>
                  <a:pt x="912740" y="80483"/>
                  <a:pt x="914149" y="80483"/>
                  <a:pt x="914854" y="79587"/>
                </a:cubicBezTo>
                <a:cubicBezTo>
                  <a:pt x="915823" y="79299"/>
                  <a:pt x="917056" y="78756"/>
                  <a:pt x="918553" y="77540"/>
                </a:cubicBezTo>
                <a:cubicBezTo>
                  <a:pt x="920490" y="73509"/>
                  <a:pt x="923044" y="73925"/>
                  <a:pt x="925334" y="74053"/>
                </a:cubicBezTo>
                <a:cubicBezTo>
                  <a:pt x="925510" y="74053"/>
                  <a:pt x="925687" y="74117"/>
                  <a:pt x="925775" y="74149"/>
                </a:cubicBezTo>
                <a:cubicBezTo>
                  <a:pt x="928769" y="72869"/>
                  <a:pt x="930178" y="74757"/>
                  <a:pt x="931499" y="72741"/>
                </a:cubicBezTo>
                <a:cubicBezTo>
                  <a:pt x="932380" y="72389"/>
                  <a:pt x="935991" y="70438"/>
                  <a:pt x="937752" y="72133"/>
                </a:cubicBezTo>
                <a:cubicBezTo>
                  <a:pt x="939602" y="64999"/>
                  <a:pt x="942949" y="71845"/>
                  <a:pt x="943213" y="73573"/>
                </a:cubicBezTo>
                <a:cubicBezTo>
                  <a:pt x="946295" y="72165"/>
                  <a:pt x="946472" y="73637"/>
                  <a:pt x="949026" y="76100"/>
                </a:cubicBezTo>
                <a:cubicBezTo>
                  <a:pt x="957921" y="76292"/>
                  <a:pt x="958802" y="81795"/>
                  <a:pt x="958273" y="79939"/>
                </a:cubicBezTo>
                <a:cubicBezTo>
                  <a:pt x="964967" y="77892"/>
                  <a:pt x="962324" y="80739"/>
                  <a:pt x="965671" y="81091"/>
                </a:cubicBezTo>
                <a:cubicBezTo>
                  <a:pt x="964262" y="83106"/>
                  <a:pt x="966376" y="83618"/>
                  <a:pt x="968137" y="83266"/>
                </a:cubicBezTo>
                <a:cubicBezTo>
                  <a:pt x="967961" y="86306"/>
                  <a:pt x="972365" y="93856"/>
                  <a:pt x="972012" y="90656"/>
                </a:cubicBezTo>
                <a:cubicBezTo>
                  <a:pt x="974302" y="88833"/>
                  <a:pt x="974478" y="87137"/>
                  <a:pt x="977120" y="88353"/>
                </a:cubicBezTo>
                <a:cubicBezTo>
                  <a:pt x="980291" y="89921"/>
                  <a:pt x="982493" y="86658"/>
                  <a:pt x="983109" y="85122"/>
                </a:cubicBezTo>
                <a:cubicBezTo>
                  <a:pt x="985399" y="82403"/>
                  <a:pt x="983550" y="80771"/>
                  <a:pt x="988129" y="82307"/>
                </a:cubicBezTo>
                <a:cubicBezTo>
                  <a:pt x="993061" y="85858"/>
                  <a:pt x="996584" y="83522"/>
                  <a:pt x="993678" y="80739"/>
                </a:cubicBezTo>
                <a:cubicBezTo>
                  <a:pt x="994999" y="78340"/>
                  <a:pt x="997113" y="83106"/>
                  <a:pt x="996672" y="78660"/>
                </a:cubicBezTo>
                <a:cubicBezTo>
                  <a:pt x="998434" y="79171"/>
                  <a:pt x="998081" y="74149"/>
                  <a:pt x="1005568" y="74533"/>
                </a:cubicBezTo>
                <a:cubicBezTo>
                  <a:pt x="1009531" y="72165"/>
                  <a:pt x="1013670" y="66855"/>
                  <a:pt x="1014551" y="71493"/>
                </a:cubicBezTo>
                <a:cubicBezTo>
                  <a:pt x="1016136" y="69222"/>
                  <a:pt x="1014551" y="75076"/>
                  <a:pt x="1017457" y="67302"/>
                </a:cubicBezTo>
                <a:cubicBezTo>
                  <a:pt x="1021773" y="66119"/>
                  <a:pt x="1023094" y="64327"/>
                  <a:pt x="1025208" y="60584"/>
                </a:cubicBezTo>
                <a:cubicBezTo>
                  <a:pt x="1026088" y="61512"/>
                  <a:pt x="1028114" y="59880"/>
                  <a:pt x="1029347" y="58633"/>
                </a:cubicBezTo>
                <a:cubicBezTo>
                  <a:pt x="1038418" y="62824"/>
                  <a:pt x="1029787" y="53194"/>
                  <a:pt x="1033839" y="54794"/>
                </a:cubicBezTo>
                <a:cubicBezTo>
                  <a:pt x="1033750" y="59273"/>
                  <a:pt x="1042998" y="50731"/>
                  <a:pt x="1038066" y="50731"/>
                </a:cubicBezTo>
                <a:cubicBezTo>
                  <a:pt x="1036393" y="44524"/>
                  <a:pt x="1044231" y="46636"/>
                  <a:pt x="1044495" y="44652"/>
                </a:cubicBezTo>
                <a:cubicBezTo>
                  <a:pt x="1047490" y="43853"/>
                  <a:pt x="1049868" y="44748"/>
                  <a:pt x="1051012" y="44812"/>
                </a:cubicBezTo>
                <a:cubicBezTo>
                  <a:pt x="1052245" y="44940"/>
                  <a:pt x="1052334" y="44268"/>
                  <a:pt x="1051012" y="40333"/>
                </a:cubicBezTo>
                <a:cubicBezTo>
                  <a:pt x="1044847" y="39150"/>
                  <a:pt x="1053743" y="40333"/>
                  <a:pt x="1055856" y="39438"/>
                </a:cubicBezTo>
                <a:cubicBezTo>
                  <a:pt x="1057794" y="36942"/>
                  <a:pt x="1058234" y="36526"/>
                  <a:pt x="1061845" y="39630"/>
                </a:cubicBezTo>
                <a:cubicBezTo>
                  <a:pt x="1065632" y="41197"/>
                  <a:pt x="1063871" y="43341"/>
                  <a:pt x="1070212" y="39854"/>
                </a:cubicBezTo>
                <a:cubicBezTo>
                  <a:pt x="1072062" y="35375"/>
                  <a:pt x="1076641" y="47500"/>
                  <a:pt x="1079195" y="37998"/>
                </a:cubicBezTo>
                <a:cubicBezTo>
                  <a:pt x="1085272" y="38414"/>
                  <a:pt x="1085977" y="26289"/>
                  <a:pt x="1087034" y="33327"/>
                </a:cubicBezTo>
                <a:cubicBezTo>
                  <a:pt x="1088355" y="35695"/>
                  <a:pt x="1090292" y="29584"/>
                  <a:pt x="1092494" y="27473"/>
                </a:cubicBezTo>
                <a:cubicBezTo>
                  <a:pt x="1092758" y="21554"/>
                  <a:pt x="1088531" y="22322"/>
                  <a:pt x="1093023" y="20467"/>
                </a:cubicBezTo>
                <a:cubicBezTo>
                  <a:pt x="1092230" y="19443"/>
                  <a:pt x="1094432" y="19763"/>
                  <a:pt x="1095665" y="20083"/>
                </a:cubicBezTo>
                <a:cubicBezTo>
                  <a:pt x="1096193" y="18643"/>
                  <a:pt x="1096986" y="16372"/>
                  <a:pt x="1096722" y="16628"/>
                </a:cubicBezTo>
                <a:cubicBezTo>
                  <a:pt x="1096810" y="16020"/>
                  <a:pt x="1096810" y="15540"/>
                  <a:pt x="1096810" y="15156"/>
                </a:cubicBezTo>
                <a:cubicBezTo>
                  <a:pt x="1097074" y="14548"/>
                  <a:pt x="1097338" y="13908"/>
                  <a:pt x="1097778" y="13140"/>
                </a:cubicBezTo>
                <a:cubicBezTo>
                  <a:pt x="1097867" y="13044"/>
                  <a:pt x="1097867" y="13012"/>
                  <a:pt x="1098043" y="12916"/>
                </a:cubicBezTo>
                <a:cubicBezTo>
                  <a:pt x="1098043" y="12629"/>
                  <a:pt x="1098131" y="12501"/>
                  <a:pt x="1098219" y="12277"/>
                </a:cubicBezTo>
                <a:cubicBezTo>
                  <a:pt x="1098395" y="11861"/>
                  <a:pt x="1098483" y="11573"/>
                  <a:pt x="1098395" y="11605"/>
                </a:cubicBezTo>
                <a:cubicBezTo>
                  <a:pt x="1099980" y="7254"/>
                  <a:pt x="1105529" y="14708"/>
                  <a:pt x="1104560" y="16052"/>
                </a:cubicBezTo>
                <a:cubicBezTo>
                  <a:pt x="1104472" y="22514"/>
                  <a:pt x="1102358" y="14996"/>
                  <a:pt x="1111165" y="18899"/>
                </a:cubicBezTo>
                <a:cubicBezTo>
                  <a:pt x="1112310" y="20467"/>
                  <a:pt x="1116978" y="27057"/>
                  <a:pt x="1116274" y="22226"/>
                </a:cubicBezTo>
                <a:cubicBezTo>
                  <a:pt x="1117507" y="24849"/>
                  <a:pt x="1121117" y="26865"/>
                  <a:pt x="1121910" y="22866"/>
                </a:cubicBezTo>
                <a:cubicBezTo>
                  <a:pt x="1114776" y="18835"/>
                  <a:pt x="1124993" y="19539"/>
                  <a:pt x="1122615" y="19763"/>
                </a:cubicBezTo>
                <a:cubicBezTo>
                  <a:pt x="1122615" y="23154"/>
                  <a:pt x="1125433" y="22386"/>
                  <a:pt x="1121646" y="17267"/>
                </a:cubicBezTo>
                <a:cubicBezTo>
                  <a:pt x="1119268" y="17459"/>
                  <a:pt x="1119532" y="6934"/>
                  <a:pt x="1128075" y="16915"/>
                </a:cubicBezTo>
                <a:cubicBezTo>
                  <a:pt x="1127723" y="18355"/>
                  <a:pt x="1130189" y="22706"/>
                  <a:pt x="1128780" y="17683"/>
                </a:cubicBezTo>
                <a:cubicBezTo>
                  <a:pt x="1128515" y="17395"/>
                  <a:pt x="1128339" y="17171"/>
                  <a:pt x="1128075" y="16915"/>
                </a:cubicBezTo>
                <a:cubicBezTo>
                  <a:pt x="1128163" y="16372"/>
                  <a:pt x="1128780" y="16212"/>
                  <a:pt x="1130101" y="17139"/>
                </a:cubicBezTo>
                <a:cubicBezTo>
                  <a:pt x="1130277" y="17139"/>
                  <a:pt x="1130365" y="17267"/>
                  <a:pt x="1130541" y="17267"/>
                </a:cubicBezTo>
                <a:cubicBezTo>
                  <a:pt x="1130189" y="17587"/>
                  <a:pt x="1130013" y="18003"/>
                  <a:pt x="1130189" y="18707"/>
                </a:cubicBezTo>
                <a:cubicBezTo>
                  <a:pt x="1131950" y="25009"/>
                  <a:pt x="1135209" y="17811"/>
                  <a:pt x="1130541" y="17267"/>
                </a:cubicBezTo>
                <a:cubicBezTo>
                  <a:pt x="1131950" y="15732"/>
                  <a:pt x="1136882" y="17875"/>
                  <a:pt x="1135385" y="19539"/>
                </a:cubicBezTo>
                <a:cubicBezTo>
                  <a:pt x="1136618" y="21874"/>
                  <a:pt x="1133712" y="21234"/>
                  <a:pt x="1129308" y="22386"/>
                </a:cubicBezTo>
                <a:cubicBezTo>
                  <a:pt x="1130981" y="26417"/>
                  <a:pt x="1131862" y="23346"/>
                  <a:pt x="1127018" y="27089"/>
                </a:cubicBezTo>
                <a:cubicBezTo>
                  <a:pt x="1134504" y="29136"/>
                  <a:pt x="1128339" y="26001"/>
                  <a:pt x="1127018" y="33391"/>
                </a:cubicBezTo>
                <a:cubicBezTo>
                  <a:pt x="1128515" y="36398"/>
                  <a:pt x="1123848" y="33551"/>
                  <a:pt x="1123583" y="37198"/>
                </a:cubicBezTo>
                <a:cubicBezTo>
                  <a:pt x="1130893" y="38382"/>
                  <a:pt x="1124640" y="38798"/>
                  <a:pt x="1123672" y="41165"/>
                </a:cubicBezTo>
                <a:cubicBezTo>
                  <a:pt x="1122350" y="41581"/>
                  <a:pt x="1120853" y="42125"/>
                  <a:pt x="1119973" y="42189"/>
                </a:cubicBezTo>
                <a:cubicBezTo>
                  <a:pt x="1109052" y="41037"/>
                  <a:pt x="1117595" y="43213"/>
                  <a:pt x="1123760" y="48043"/>
                </a:cubicBezTo>
                <a:cubicBezTo>
                  <a:pt x="1124816" y="58441"/>
                  <a:pt x="1131246" y="45676"/>
                  <a:pt x="1127371" y="45068"/>
                </a:cubicBezTo>
                <a:cubicBezTo>
                  <a:pt x="1133447" y="45740"/>
                  <a:pt x="1136090" y="41037"/>
                  <a:pt x="1133447" y="41805"/>
                </a:cubicBezTo>
                <a:cubicBezTo>
                  <a:pt x="1139172" y="39406"/>
                  <a:pt x="1136442" y="36878"/>
                  <a:pt x="1134592" y="37678"/>
                </a:cubicBezTo>
                <a:cubicBezTo>
                  <a:pt x="1133624" y="36047"/>
                  <a:pt x="1132479" y="35535"/>
                  <a:pt x="1136090" y="33807"/>
                </a:cubicBezTo>
                <a:cubicBezTo>
                  <a:pt x="1134504" y="33231"/>
                  <a:pt x="1137499" y="32527"/>
                  <a:pt x="1140934" y="30096"/>
                </a:cubicBezTo>
                <a:cubicBezTo>
                  <a:pt x="1140757" y="29424"/>
                  <a:pt x="1148067" y="25265"/>
                  <a:pt x="1145425" y="27249"/>
                </a:cubicBezTo>
                <a:cubicBezTo>
                  <a:pt x="1148508" y="26673"/>
                  <a:pt x="1147803" y="27537"/>
                  <a:pt x="1150798" y="23154"/>
                </a:cubicBezTo>
                <a:cubicBezTo>
                  <a:pt x="1147539" y="18387"/>
                  <a:pt x="1154937" y="24114"/>
                  <a:pt x="1155289" y="19539"/>
                </a:cubicBezTo>
                <a:cubicBezTo>
                  <a:pt x="1155377" y="13492"/>
                  <a:pt x="1153264" y="15668"/>
                  <a:pt x="1159341" y="15284"/>
                </a:cubicBezTo>
                <a:cubicBezTo>
                  <a:pt x="1159164" y="15412"/>
                  <a:pt x="1161895" y="17619"/>
                  <a:pt x="1160045" y="18195"/>
                </a:cubicBezTo>
                <a:cubicBezTo>
                  <a:pt x="1159781" y="14100"/>
                  <a:pt x="1156875" y="19731"/>
                  <a:pt x="1158900" y="18355"/>
                </a:cubicBezTo>
                <a:cubicBezTo>
                  <a:pt x="1159429" y="18355"/>
                  <a:pt x="1159781" y="18291"/>
                  <a:pt x="1160045" y="18195"/>
                </a:cubicBezTo>
                <a:lnTo>
                  <a:pt x="1160045" y="20371"/>
                </a:lnTo>
                <a:cubicBezTo>
                  <a:pt x="1164801" y="20531"/>
                  <a:pt x="1160574" y="30000"/>
                  <a:pt x="1163744" y="25969"/>
                </a:cubicBezTo>
                <a:cubicBezTo>
                  <a:pt x="1161542" y="27825"/>
                  <a:pt x="1167972" y="27857"/>
                  <a:pt x="1171759" y="30160"/>
                </a:cubicBezTo>
                <a:cubicBezTo>
                  <a:pt x="1174137" y="28784"/>
                  <a:pt x="1181623" y="31984"/>
                  <a:pt x="1180830" y="29904"/>
                </a:cubicBezTo>
                <a:cubicBezTo>
                  <a:pt x="1182415" y="30576"/>
                  <a:pt x="1186995" y="29136"/>
                  <a:pt x="1188052" y="27953"/>
                </a:cubicBezTo>
                <a:cubicBezTo>
                  <a:pt x="1185762" y="18323"/>
                  <a:pt x="1187612" y="30160"/>
                  <a:pt x="1192367" y="23186"/>
                </a:cubicBezTo>
                <a:cubicBezTo>
                  <a:pt x="1191046" y="23186"/>
                  <a:pt x="1196947" y="15636"/>
                  <a:pt x="1201703" y="20435"/>
                </a:cubicBezTo>
                <a:cubicBezTo>
                  <a:pt x="1209365" y="21618"/>
                  <a:pt x="1206547" y="19731"/>
                  <a:pt x="1208837" y="16084"/>
                </a:cubicBezTo>
                <a:cubicBezTo>
                  <a:pt x="1210070" y="16148"/>
                  <a:pt x="1213328" y="12597"/>
                  <a:pt x="1215618" y="13268"/>
                </a:cubicBezTo>
                <a:cubicBezTo>
                  <a:pt x="1209189" y="15508"/>
                  <a:pt x="1218349" y="17139"/>
                  <a:pt x="1215794" y="20275"/>
                </a:cubicBezTo>
                <a:cubicBezTo>
                  <a:pt x="1216587" y="15540"/>
                  <a:pt x="1208749" y="23346"/>
                  <a:pt x="1213505" y="28912"/>
                </a:cubicBezTo>
                <a:cubicBezTo>
                  <a:pt x="1209453" y="28912"/>
                  <a:pt x="1212712" y="35823"/>
                  <a:pt x="1210774" y="36206"/>
                </a:cubicBezTo>
                <a:cubicBezTo>
                  <a:pt x="1210070" y="37998"/>
                  <a:pt x="1213416" y="42061"/>
                  <a:pt x="1209365" y="44972"/>
                </a:cubicBezTo>
                <a:cubicBezTo>
                  <a:pt x="1211743" y="48363"/>
                  <a:pt x="1204257" y="56809"/>
                  <a:pt x="1207075" y="53610"/>
                </a:cubicBezTo>
                <a:cubicBezTo>
                  <a:pt x="1210510" y="50379"/>
                  <a:pt x="1207428" y="53610"/>
                  <a:pt x="1213328" y="47212"/>
                </a:cubicBezTo>
                <a:cubicBezTo>
                  <a:pt x="1212095" y="51435"/>
                  <a:pt x="1216675" y="42733"/>
                  <a:pt x="1219229" y="41037"/>
                </a:cubicBezTo>
                <a:cubicBezTo>
                  <a:pt x="1220022" y="37326"/>
                  <a:pt x="1220550" y="36015"/>
                  <a:pt x="1224954" y="35375"/>
                </a:cubicBezTo>
                <a:cubicBezTo>
                  <a:pt x="1226275" y="29648"/>
                  <a:pt x="1231823" y="29648"/>
                  <a:pt x="1231207" y="28976"/>
                </a:cubicBezTo>
                <a:cubicBezTo>
                  <a:pt x="1234730" y="25265"/>
                  <a:pt x="1230150" y="23122"/>
                  <a:pt x="1238253" y="22610"/>
                </a:cubicBezTo>
                <a:cubicBezTo>
                  <a:pt x="1240102" y="21682"/>
                  <a:pt x="1240895" y="21778"/>
                  <a:pt x="1242128" y="21010"/>
                </a:cubicBezTo>
                <a:cubicBezTo>
                  <a:pt x="1242040" y="22322"/>
                  <a:pt x="1242480" y="23474"/>
                  <a:pt x="1243889" y="23282"/>
                </a:cubicBezTo>
                <a:cubicBezTo>
                  <a:pt x="1240719" y="26385"/>
                  <a:pt x="1245034" y="28976"/>
                  <a:pt x="1242216" y="28912"/>
                </a:cubicBezTo>
                <a:cubicBezTo>
                  <a:pt x="1246531" y="29616"/>
                  <a:pt x="1243889" y="27697"/>
                  <a:pt x="1251551" y="24434"/>
                </a:cubicBezTo>
                <a:cubicBezTo>
                  <a:pt x="1254017" y="22258"/>
                  <a:pt x="1259038" y="20467"/>
                  <a:pt x="1260887" y="19923"/>
                </a:cubicBezTo>
                <a:cubicBezTo>
                  <a:pt x="1260975" y="18707"/>
                  <a:pt x="1266876" y="16436"/>
                  <a:pt x="1268197" y="16052"/>
                </a:cubicBezTo>
                <a:cubicBezTo>
                  <a:pt x="1266083" y="15092"/>
                  <a:pt x="1271191" y="15156"/>
                  <a:pt x="1273922" y="13268"/>
                </a:cubicBezTo>
                <a:cubicBezTo>
                  <a:pt x="1280351" y="9013"/>
                  <a:pt x="1276652" y="8662"/>
                  <a:pt x="1279470" y="10677"/>
                </a:cubicBezTo>
                <a:cubicBezTo>
                  <a:pt x="1284666" y="8534"/>
                  <a:pt x="1281672" y="10069"/>
                  <a:pt x="1286340" y="11349"/>
                </a:cubicBezTo>
                <a:cubicBezTo>
                  <a:pt x="1290479" y="10133"/>
                  <a:pt x="1288630" y="12021"/>
                  <a:pt x="1293209" y="12021"/>
                </a:cubicBezTo>
                <a:cubicBezTo>
                  <a:pt x="1291624" y="7574"/>
                  <a:pt x="1298053" y="12501"/>
                  <a:pt x="1299286" y="12469"/>
                </a:cubicBezTo>
                <a:cubicBezTo>
                  <a:pt x="1301136" y="10101"/>
                  <a:pt x="1308093" y="11349"/>
                  <a:pt x="1305804" y="12820"/>
                </a:cubicBezTo>
                <a:cubicBezTo>
                  <a:pt x="1306772" y="16500"/>
                  <a:pt x="1311792" y="16787"/>
                  <a:pt x="1314787" y="13332"/>
                </a:cubicBezTo>
                <a:cubicBezTo>
                  <a:pt x="1317429" y="12980"/>
                  <a:pt x="1317517" y="16628"/>
                  <a:pt x="1317253" y="15988"/>
                </a:cubicBezTo>
                <a:cubicBezTo>
                  <a:pt x="1317869" y="15636"/>
                  <a:pt x="1318310" y="15668"/>
                  <a:pt x="1321745" y="14740"/>
                </a:cubicBezTo>
                <a:cubicBezTo>
                  <a:pt x="1321392" y="16436"/>
                  <a:pt x="1320776" y="19187"/>
                  <a:pt x="1316901" y="19763"/>
                </a:cubicBezTo>
                <a:cubicBezTo>
                  <a:pt x="1314082" y="21522"/>
                  <a:pt x="1313025" y="22322"/>
                  <a:pt x="1311352" y="24114"/>
                </a:cubicBezTo>
                <a:cubicBezTo>
                  <a:pt x="1311881" y="23922"/>
                  <a:pt x="1312585" y="23890"/>
                  <a:pt x="1313202" y="24402"/>
                </a:cubicBezTo>
                <a:cubicBezTo>
                  <a:pt x="1314258" y="24817"/>
                  <a:pt x="1321568" y="22322"/>
                  <a:pt x="1322009" y="25873"/>
                </a:cubicBezTo>
                <a:cubicBezTo>
                  <a:pt x="1326941" y="26225"/>
                  <a:pt x="1328614" y="23954"/>
                  <a:pt x="1329759" y="22802"/>
                </a:cubicBezTo>
                <a:cubicBezTo>
                  <a:pt x="1330904" y="21618"/>
                  <a:pt x="1331432" y="21554"/>
                  <a:pt x="1333810" y="26417"/>
                </a:cubicBezTo>
                <a:cubicBezTo>
                  <a:pt x="1335131" y="24050"/>
                  <a:pt x="1338214" y="25201"/>
                  <a:pt x="1347373" y="26353"/>
                </a:cubicBezTo>
                <a:cubicBezTo>
                  <a:pt x="1353274" y="31696"/>
                  <a:pt x="1356797" y="24593"/>
                  <a:pt x="1360848" y="25361"/>
                </a:cubicBezTo>
                <a:cubicBezTo>
                  <a:pt x="1361817" y="25361"/>
                  <a:pt x="1368687" y="29584"/>
                  <a:pt x="1366397" y="24913"/>
                </a:cubicBezTo>
                <a:cubicBezTo>
                  <a:pt x="1365692" y="25649"/>
                  <a:pt x="1370712" y="15060"/>
                  <a:pt x="1371857" y="23698"/>
                </a:cubicBezTo>
                <a:cubicBezTo>
                  <a:pt x="1371417" y="24210"/>
                  <a:pt x="1370888" y="25105"/>
                  <a:pt x="1369920" y="26737"/>
                </a:cubicBezTo>
                <a:cubicBezTo>
                  <a:pt x="1371153" y="32271"/>
                  <a:pt x="1368334" y="33231"/>
                  <a:pt x="1362874" y="32431"/>
                </a:cubicBezTo>
                <a:cubicBezTo>
                  <a:pt x="1363138" y="39406"/>
                  <a:pt x="1361817" y="30480"/>
                  <a:pt x="1356709" y="37838"/>
                </a:cubicBezTo>
                <a:cubicBezTo>
                  <a:pt x="1356621" y="38158"/>
                  <a:pt x="1356621" y="38350"/>
                  <a:pt x="1356533" y="38574"/>
                </a:cubicBezTo>
                <a:cubicBezTo>
                  <a:pt x="1356973" y="38894"/>
                  <a:pt x="1357414" y="39278"/>
                  <a:pt x="1358118" y="39950"/>
                </a:cubicBezTo>
                <a:cubicBezTo>
                  <a:pt x="1354948" y="35823"/>
                  <a:pt x="1364019" y="35919"/>
                  <a:pt x="1367718" y="39214"/>
                </a:cubicBezTo>
                <a:cubicBezTo>
                  <a:pt x="1374499" y="42701"/>
                  <a:pt x="1372914" y="41197"/>
                  <a:pt x="1376965" y="38670"/>
                </a:cubicBezTo>
                <a:cubicBezTo>
                  <a:pt x="1382866" y="40237"/>
                  <a:pt x="1382690" y="41933"/>
                  <a:pt x="1381809" y="39054"/>
                </a:cubicBezTo>
                <a:cubicBezTo>
                  <a:pt x="1383395" y="39246"/>
                  <a:pt x="1388855" y="36047"/>
                  <a:pt x="1389031" y="38062"/>
                </a:cubicBezTo>
                <a:cubicBezTo>
                  <a:pt x="1393083" y="35279"/>
                  <a:pt x="1392114" y="29936"/>
                  <a:pt x="1396165" y="35343"/>
                </a:cubicBezTo>
                <a:cubicBezTo>
                  <a:pt x="1401273" y="33775"/>
                  <a:pt x="1400921" y="35343"/>
                  <a:pt x="1400569" y="35823"/>
                </a:cubicBezTo>
                <a:cubicBezTo>
                  <a:pt x="1400745" y="35631"/>
                  <a:pt x="1401009" y="35183"/>
                  <a:pt x="1401890" y="34127"/>
                </a:cubicBezTo>
                <a:cubicBezTo>
                  <a:pt x="1408143" y="38446"/>
                  <a:pt x="1412194" y="32719"/>
                  <a:pt x="1409904" y="30832"/>
                </a:cubicBezTo>
                <a:cubicBezTo>
                  <a:pt x="1409376" y="30864"/>
                  <a:pt x="1414484" y="29456"/>
                  <a:pt x="1416245" y="29104"/>
                </a:cubicBezTo>
                <a:cubicBezTo>
                  <a:pt x="1417655" y="27537"/>
                  <a:pt x="1418799" y="22290"/>
                  <a:pt x="1422146" y="26705"/>
                </a:cubicBezTo>
                <a:cubicBezTo>
                  <a:pt x="1421265" y="28752"/>
                  <a:pt x="1427959" y="25137"/>
                  <a:pt x="1428399" y="26961"/>
                </a:cubicBezTo>
                <a:cubicBezTo>
                  <a:pt x="1434652" y="24465"/>
                  <a:pt x="1425669" y="19763"/>
                  <a:pt x="1434564" y="24210"/>
                </a:cubicBezTo>
                <a:cubicBezTo>
                  <a:pt x="1440905" y="21330"/>
                  <a:pt x="1439937" y="15412"/>
                  <a:pt x="1441874" y="21394"/>
                </a:cubicBezTo>
                <a:cubicBezTo>
                  <a:pt x="1446894" y="21426"/>
                  <a:pt x="1448215" y="22418"/>
                  <a:pt x="1447070" y="21842"/>
                </a:cubicBezTo>
                <a:cubicBezTo>
                  <a:pt x="1450505" y="15796"/>
                  <a:pt x="1451826" y="20786"/>
                  <a:pt x="1452971" y="20722"/>
                </a:cubicBezTo>
                <a:cubicBezTo>
                  <a:pt x="1450065" y="21682"/>
                  <a:pt x="1458960" y="25873"/>
                  <a:pt x="1459312" y="18035"/>
                </a:cubicBezTo>
                <a:cubicBezTo>
                  <a:pt x="1462043" y="17139"/>
                  <a:pt x="1463892" y="20371"/>
                  <a:pt x="1465830" y="15412"/>
                </a:cubicBezTo>
                <a:cubicBezTo>
                  <a:pt x="1472963" y="16915"/>
                  <a:pt x="1469793" y="17267"/>
                  <a:pt x="1469529" y="14900"/>
                </a:cubicBezTo>
                <a:cubicBezTo>
                  <a:pt x="1475606" y="8182"/>
                  <a:pt x="1474020" y="8662"/>
                  <a:pt x="1478512" y="13204"/>
                </a:cubicBezTo>
                <a:cubicBezTo>
                  <a:pt x="1482475" y="16020"/>
                  <a:pt x="1485117" y="15540"/>
                  <a:pt x="1486350" y="14644"/>
                </a:cubicBezTo>
                <a:cubicBezTo>
                  <a:pt x="1488552" y="17171"/>
                  <a:pt x="1491194" y="13108"/>
                  <a:pt x="1488464" y="16436"/>
                </a:cubicBezTo>
                <a:cubicBezTo>
                  <a:pt x="1486086" y="18579"/>
                  <a:pt x="1494981" y="18547"/>
                  <a:pt x="1493396" y="22866"/>
                </a:cubicBezTo>
                <a:cubicBezTo>
                  <a:pt x="1498945" y="26353"/>
                  <a:pt x="1493572" y="27217"/>
                  <a:pt x="1497976" y="26289"/>
                </a:cubicBezTo>
                <a:cubicBezTo>
                  <a:pt x="1502203" y="25201"/>
                  <a:pt x="1493572" y="28432"/>
                  <a:pt x="1503612" y="28784"/>
                </a:cubicBezTo>
                <a:cubicBezTo>
                  <a:pt x="1511275" y="27121"/>
                  <a:pt x="1512772" y="33231"/>
                  <a:pt x="1513476" y="29072"/>
                </a:cubicBezTo>
                <a:cubicBezTo>
                  <a:pt x="1515502" y="32623"/>
                  <a:pt x="1517792" y="33071"/>
                  <a:pt x="1520874" y="26065"/>
                </a:cubicBezTo>
                <a:cubicBezTo>
                  <a:pt x="1516119" y="19187"/>
                  <a:pt x="1518937" y="25137"/>
                  <a:pt x="1523957" y="24465"/>
                </a:cubicBezTo>
                <a:cubicBezTo>
                  <a:pt x="1525894" y="26737"/>
                  <a:pt x="1523781" y="21906"/>
                  <a:pt x="1525806" y="26193"/>
                </a:cubicBezTo>
                <a:cubicBezTo>
                  <a:pt x="1526511" y="27153"/>
                  <a:pt x="1528801" y="28400"/>
                  <a:pt x="1530650" y="29776"/>
                </a:cubicBezTo>
                <a:cubicBezTo>
                  <a:pt x="1531355" y="30288"/>
                  <a:pt x="1531795" y="30832"/>
                  <a:pt x="1532324" y="31376"/>
                </a:cubicBezTo>
                <a:cubicBezTo>
                  <a:pt x="1533997" y="30480"/>
                  <a:pt x="1536639" y="29840"/>
                  <a:pt x="1535759" y="29296"/>
                </a:cubicBezTo>
                <a:cubicBezTo>
                  <a:pt x="1539458" y="25137"/>
                  <a:pt x="1542892" y="24274"/>
                  <a:pt x="1539634" y="26577"/>
                </a:cubicBezTo>
                <a:cubicBezTo>
                  <a:pt x="1543861" y="29904"/>
                  <a:pt x="1539898" y="24593"/>
                  <a:pt x="1545887" y="23122"/>
                </a:cubicBezTo>
                <a:cubicBezTo>
                  <a:pt x="1545711" y="16532"/>
                  <a:pt x="1547824" y="16979"/>
                  <a:pt x="1548089" y="18931"/>
                </a:cubicBezTo>
                <a:cubicBezTo>
                  <a:pt x="1549322" y="16532"/>
                  <a:pt x="1554430" y="17683"/>
                  <a:pt x="1554430" y="16500"/>
                </a:cubicBezTo>
                <a:cubicBezTo>
                  <a:pt x="1556367" y="13172"/>
                  <a:pt x="1558657" y="15252"/>
                  <a:pt x="1559890" y="18835"/>
                </a:cubicBezTo>
                <a:cubicBezTo>
                  <a:pt x="1564470" y="19379"/>
                  <a:pt x="1564910" y="21554"/>
                  <a:pt x="1564558" y="23538"/>
                </a:cubicBezTo>
                <a:cubicBezTo>
                  <a:pt x="1569754" y="26065"/>
                  <a:pt x="1562973" y="23858"/>
                  <a:pt x="1569578" y="29264"/>
                </a:cubicBezTo>
                <a:cubicBezTo>
                  <a:pt x="1575303" y="31984"/>
                  <a:pt x="1574070" y="34799"/>
                  <a:pt x="1574510" y="34991"/>
                </a:cubicBezTo>
                <a:cubicBezTo>
                  <a:pt x="1574070" y="31248"/>
                  <a:pt x="1582525" y="30928"/>
                  <a:pt x="1577328" y="27985"/>
                </a:cubicBezTo>
                <a:cubicBezTo>
                  <a:pt x="1578649" y="27761"/>
                  <a:pt x="1579002" y="24913"/>
                  <a:pt x="1580235" y="20914"/>
                </a:cubicBezTo>
                <a:cubicBezTo>
                  <a:pt x="1577769" y="18291"/>
                  <a:pt x="1582789" y="22706"/>
                  <a:pt x="1582172" y="18515"/>
                </a:cubicBezTo>
                <a:cubicBezTo>
                  <a:pt x="1584286" y="21170"/>
                  <a:pt x="1584902" y="20882"/>
                  <a:pt x="1584991" y="20531"/>
                </a:cubicBezTo>
                <a:cubicBezTo>
                  <a:pt x="1589570" y="24146"/>
                  <a:pt x="1590363" y="25681"/>
                  <a:pt x="1589834" y="24593"/>
                </a:cubicBezTo>
                <a:cubicBezTo>
                  <a:pt x="1590539" y="24721"/>
                  <a:pt x="1590099" y="24977"/>
                  <a:pt x="1590803" y="29104"/>
                </a:cubicBezTo>
                <a:cubicBezTo>
                  <a:pt x="1591860" y="27697"/>
                  <a:pt x="1598289" y="24370"/>
                  <a:pt x="1598554" y="22226"/>
                </a:cubicBezTo>
                <a:cubicBezTo>
                  <a:pt x="1601900" y="18707"/>
                  <a:pt x="1601636" y="13844"/>
                  <a:pt x="1605511" y="15828"/>
                </a:cubicBezTo>
                <a:cubicBezTo>
                  <a:pt x="1604895" y="13524"/>
                  <a:pt x="1602517" y="14868"/>
                  <a:pt x="1602164" y="12277"/>
                </a:cubicBezTo>
                <a:cubicBezTo>
                  <a:pt x="1602517" y="12980"/>
                  <a:pt x="1606304" y="12085"/>
                  <a:pt x="1609563" y="11733"/>
                </a:cubicBezTo>
                <a:cubicBezTo>
                  <a:pt x="1611060" y="10901"/>
                  <a:pt x="1612733" y="8694"/>
                  <a:pt x="1613526" y="7670"/>
                </a:cubicBezTo>
                <a:cubicBezTo>
                  <a:pt x="1613526" y="4727"/>
                  <a:pt x="1611236" y="1783"/>
                  <a:pt x="1615023" y="3319"/>
                </a:cubicBezTo>
                <a:cubicBezTo>
                  <a:pt x="1615551" y="1847"/>
                  <a:pt x="1619162" y="-1096"/>
                  <a:pt x="1621012" y="3287"/>
                </a:cubicBezTo>
                <a:cubicBezTo>
                  <a:pt x="1620748" y="3895"/>
                  <a:pt x="1619867" y="5974"/>
                  <a:pt x="1622333" y="6966"/>
                </a:cubicBezTo>
                <a:cubicBezTo>
                  <a:pt x="1622773" y="8854"/>
                  <a:pt x="1624623" y="15316"/>
                  <a:pt x="1624182" y="15860"/>
                </a:cubicBezTo>
                <a:cubicBezTo>
                  <a:pt x="1620660" y="14100"/>
                  <a:pt x="1628938" y="28848"/>
                  <a:pt x="1625415" y="25713"/>
                </a:cubicBezTo>
                <a:cubicBezTo>
                  <a:pt x="1623478" y="30128"/>
                  <a:pt x="1631316" y="21874"/>
                  <a:pt x="1630788" y="22386"/>
                </a:cubicBezTo>
                <a:cubicBezTo>
                  <a:pt x="1629291" y="22258"/>
                  <a:pt x="1639771" y="19955"/>
                  <a:pt x="1635191" y="23666"/>
                </a:cubicBezTo>
                <a:cubicBezTo>
                  <a:pt x="1640388" y="24945"/>
                  <a:pt x="1640299" y="27089"/>
                  <a:pt x="1640828" y="22482"/>
                </a:cubicBezTo>
                <a:cubicBezTo>
                  <a:pt x="1643030" y="21714"/>
                  <a:pt x="1645055" y="21234"/>
                  <a:pt x="1646817" y="20882"/>
                </a:cubicBezTo>
                <a:cubicBezTo>
                  <a:pt x="1644439" y="25073"/>
                  <a:pt x="1648314" y="24402"/>
                  <a:pt x="1652541" y="18483"/>
                </a:cubicBezTo>
                <a:cubicBezTo>
                  <a:pt x="1657297" y="10709"/>
                  <a:pt x="1656945" y="10069"/>
                  <a:pt x="1657562" y="16787"/>
                </a:cubicBezTo>
                <a:cubicBezTo>
                  <a:pt x="1657473" y="13652"/>
                  <a:pt x="1667954" y="10261"/>
                  <a:pt x="1664167" y="14452"/>
                </a:cubicBezTo>
                <a:cubicBezTo>
                  <a:pt x="1666457" y="14964"/>
                  <a:pt x="1666545" y="10581"/>
                  <a:pt x="1670772" y="12341"/>
                </a:cubicBezTo>
                <a:cubicBezTo>
                  <a:pt x="1672622" y="13876"/>
                  <a:pt x="1678170" y="15476"/>
                  <a:pt x="1677818" y="12277"/>
                </a:cubicBezTo>
                <a:cubicBezTo>
                  <a:pt x="1679844" y="12437"/>
                  <a:pt x="1683367" y="11893"/>
                  <a:pt x="1685304" y="9749"/>
                </a:cubicBezTo>
                <a:cubicBezTo>
                  <a:pt x="1685480" y="12149"/>
                  <a:pt x="1686097" y="12757"/>
                  <a:pt x="1688915" y="12405"/>
                </a:cubicBezTo>
                <a:cubicBezTo>
                  <a:pt x="1687506" y="11157"/>
                  <a:pt x="1686889" y="8214"/>
                  <a:pt x="1693671" y="8342"/>
                </a:cubicBezTo>
                <a:cubicBezTo>
                  <a:pt x="1695697" y="15156"/>
                  <a:pt x="1700805" y="9813"/>
                  <a:pt x="1703271" y="9173"/>
                </a:cubicBezTo>
                <a:cubicBezTo>
                  <a:pt x="1703975" y="8822"/>
                  <a:pt x="1704328" y="8374"/>
                  <a:pt x="1704416" y="7926"/>
                </a:cubicBezTo>
                <a:cubicBezTo>
                  <a:pt x="1706089" y="9109"/>
                  <a:pt x="1707938" y="10677"/>
                  <a:pt x="1708027" y="11669"/>
                </a:cubicBezTo>
                <a:cubicBezTo>
                  <a:pt x="1709788" y="14644"/>
                  <a:pt x="1710404" y="16052"/>
                  <a:pt x="1710581" y="16628"/>
                </a:cubicBezTo>
                <a:cubicBezTo>
                  <a:pt x="1710581" y="16372"/>
                  <a:pt x="1710757" y="16020"/>
                  <a:pt x="1711549" y="15892"/>
                </a:cubicBezTo>
                <a:cubicBezTo>
                  <a:pt x="1714808" y="11253"/>
                  <a:pt x="1710316" y="23538"/>
                  <a:pt x="1716834" y="19315"/>
                </a:cubicBezTo>
                <a:cubicBezTo>
                  <a:pt x="1722118" y="24146"/>
                  <a:pt x="1714896" y="17235"/>
                  <a:pt x="1722646" y="21362"/>
                </a:cubicBezTo>
                <a:cubicBezTo>
                  <a:pt x="1725112" y="22290"/>
                  <a:pt x="1726698" y="22962"/>
                  <a:pt x="1727578" y="23506"/>
                </a:cubicBezTo>
                <a:cubicBezTo>
                  <a:pt x="1727931" y="23026"/>
                  <a:pt x="1728459" y="22578"/>
                  <a:pt x="1729076" y="21970"/>
                </a:cubicBezTo>
                <a:cubicBezTo>
                  <a:pt x="1730221" y="31696"/>
                  <a:pt x="1730837" y="24114"/>
                  <a:pt x="1733743" y="23474"/>
                </a:cubicBezTo>
                <a:cubicBezTo>
                  <a:pt x="1733743" y="23346"/>
                  <a:pt x="1741758" y="24370"/>
                  <a:pt x="1740965" y="21970"/>
                </a:cubicBezTo>
                <a:cubicBezTo>
                  <a:pt x="1739292" y="23922"/>
                  <a:pt x="1735505" y="16628"/>
                  <a:pt x="1742639" y="21330"/>
                </a:cubicBezTo>
                <a:cubicBezTo>
                  <a:pt x="1745193" y="22162"/>
                  <a:pt x="1752062" y="19123"/>
                  <a:pt x="1749949" y="21874"/>
                </a:cubicBezTo>
                <a:cubicBezTo>
                  <a:pt x="1762014" y="19955"/>
                  <a:pt x="1753648" y="25105"/>
                  <a:pt x="1758492" y="23154"/>
                </a:cubicBezTo>
                <a:cubicBezTo>
                  <a:pt x="1752503" y="29424"/>
                  <a:pt x="1755761" y="26257"/>
                  <a:pt x="1760517" y="25297"/>
                </a:cubicBezTo>
                <a:cubicBezTo>
                  <a:pt x="1753736" y="26769"/>
                  <a:pt x="1763512" y="28145"/>
                  <a:pt x="1765802" y="30576"/>
                </a:cubicBezTo>
                <a:cubicBezTo>
                  <a:pt x="1763600" y="33807"/>
                  <a:pt x="1776810" y="32112"/>
                  <a:pt x="1772583" y="34959"/>
                </a:cubicBezTo>
                <a:cubicBezTo>
                  <a:pt x="1771967" y="35823"/>
                  <a:pt x="1779188" y="33871"/>
                  <a:pt x="1781214" y="36622"/>
                </a:cubicBezTo>
                <a:cubicBezTo>
                  <a:pt x="1780069" y="39694"/>
                  <a:pt x="1781566" y="37870"/>
                  <a:pt x="1786058" y="34287"/>
                </a:cubicBezTo>
                <a:lnTo>
                  <a:pt x="1786058" y="34639"/>
                </a:lnTo>
                <a:cubicBezTo>
                  <a:pt x="1786234" y="33807"/>
                  <a:pt x="1788348" y="25905"/>
                  <a:pt x="1790638" y="36366"/>
                </a:cubicBezTo>
                <a:cubicBezTo>
                  <a:pt x="1790462" y="31184"/>
                  <a:pt x="1784737" y="41549"/>
                  <a:pt x="1789405" y="39406"/>
                </a:cubicBezTo>
                <a:cubicBezTo>
                  <a:pt x="1789229" y="41037"/>
                  <a:pt x="1789493" y="43916"/>
                  <a:pt x="1789669" y="45132"/>
                </a:cubicBezTo>
                <a:lnTo>
                  <a:pt x="1789669" y="49227"/>
                </a:lnTo>
                <a:cubicBezTo>
                  <a:pt x="1789405" y="48907"/>
                  <a:pt x="1789140" y="48811"/>
                  <a:pt x="1788700" y="49803"/>
                </a:cubicBezTo>
                <a:cubicBezTo>
                  <a:pt x="1789229" y="49771"/>
                  <a:pt x="1789493" y="49867"/>
                  <a:pt x="1789757" y="49899"/>
                </a:cubicBezTo>
                <a:cubicBezTo>
                  <a:pt x="1789757" y="49707"/>
                  <a:pt x="1789757" y="49451"/>
                  <a:pt x="1789669" y="49227"/>
                </a:cubicBezTo>
                <a:cubicBezTo>
                  <a:pt x="1790373" y="49675"/>
                  <a:pt x="1791342" y="50763"/>
                  <a:pt x="1794425" y="49643"/>
                </a:cubicBezTo>
                <a:cubicBezTo>
                  <a:pt x="1800326" y="47819"/>
                  <a:pt x="1799709" y="45196"/>
                  <a:pt x="1800061" y="49515"/>
                </a:cubicBezTo>
                <a:cubicBezTo>
                  <a:pt x="1801559" y="55370"/>
                  <a:pt x="1799181" y="55018"/>
                  <a:pt x="1804641" y="48747"/>
                </a:cubicBezTo>
                <a:cubicBezTo>
                  <a:pt x="1809837" y="49515"/>
                  <a:pt x="1804993" y="46188"/>
                  <a:pt x="1811335" y="46924"/>
                </a:cubicBezTo>
                <a:cubicBezTo>
                  <a:pt x="1811951" y="48395"/>
                  <a:pt x="1811511" y="50411"/>
                  <a:pt x="1811863" y="50859"/>
                </a:cubicBezTo>
                <a:cubicBezTo>
                  <a:pt x="1812127" y="51275"/>
                  <a:pt x="1813184" y="50123"/>
                  <a:pt x="1816707" y="45228"/>
                </a:cubicBezTo>
                <a:cubicBezTo>
                  <a:pt x="1819966" y="45548"/>
                  <a:pt x="1824545" y="34799"/>
                  <a:pt x="1821991" y="41581"/>
                </a:cubicBezTo>
                <a:cubicBezTo>
                  <a:pt x="1824369" y="43725"/>
                  <a:pt x="1823665" y="40493"/>
                  <a:pt x="1828332" y="41773"/>
                </a:cubicBezTo>
                <a:cubicBezTo>
                  <a:pt x="1831239" y="40397"/>
                  <a:pt x="1831503" y="45068"/>
                  <a:pt x="1830710" y="37902"/>
                </a:cubicBezTo>
                <a:cubicBezTo>
                  <a:pt x="1833264" y="36750"/>
                  <a:pt x="1834321" y="35919"/>
                  <a:pt x="1834585" y="35471"/>
                </a:cubicBezTo>
                <a:cubicBezTo>
                  <a:pt x="1834673" y="35631"/>
                  <a:pt x="1834850" y="35823"/>
                  <a:pt x="1835202" y="36015"/>
                </a:cubicBezTo>
                <a:cubicBezTo>
                  <a:pt x="1841543" y="40941"/>
                  <a:pt x="1836523" y="36942"/>
                  <a:pt x="1840398" y="40173"/>
                </a:cubicBezTo>
                <a:cubicBezTo>
                  <a:pt x="1839517" y="39086"/>
                  <a:pt x="1842424" y="45164"/>
                  <a:pt x="1843481" y="46284"/>
                </a:cubicBezTo>
                <a:cubicBezTo>
                  <a:pt x="1843305" y="48235"/>
                  <a:pt x="1845859" y="46604"/>
                  <a:pt x="1846827" y="50699"/>
                </a:cubicBezTo>
                <a:cubicBezTo>
                  <a:pt x="1851495" y="48395"/>
                  <a:pt x="1851319" y="52746"/>
                  <a:pt x="1850967" y="46092"/>
                </a:cubicBezTo>
                <a:cubicBezTo>
                  <a:pt x="1853785" y="38414"/>
                  <a:pt x="1853785" y="39342"/>
                  <a:pt x="1855018" y="41549"/>
                </a:cubicBezTo>
                <a:cubicBezTo>
                  <a:pt x="1856779" y="39662"/>
                  <a:pt x="1857132" y="40109"/>
                  <a:pt x="1857660" y="40013"/>
                </a:cubicBezTo>
                <a:cubicBezTo>
                  <a:pt x="1857484" y="41549"/>
                  <a:pt x="1858012" y="44172"/>
                  <a:pt x="1858277" y="47756"/>
                </a:cubicBezTo>
                <a:cubicBezTo>
                  <a:pt x="1857660" y="51946"/>
                  <a:pt x="1853961" y="56841"/>
                  <a:pt x="1857660" y="57001"/>
                </a:cubicBezTo>
                <a:cubicBezTo>
                  <a:pt x="1857748" y="57129"/>
                  <a:pt x="1857836" y="57161"/>
                  <a:pt x="1857924" y="57225"/>
                </a:cubicBezTo>
                <a:cubicBezTo>
                  <a:pt x="1857484" y="56617"/>
                  <a:pt x="1857308" y="55881"/>
                  <a:pt x="1859157" y="56041"/>
                </a:cubicBezTo>
                <a:cubicBezTo>
                  <a:pt x="1859686" y="55689"/>
                  <a:pt x="1859950" y="58121"/>
                  <a:pt x="1862944" y="56457"/>
                </a:cubicBezTo>
                <a:cubicBezTo>
                  <a:pt x="1867348" y="53194"/>
                  <a:pt x="1864266" y="55242"/>
                  <a:pt x="1865763" y="50539"/>
                </a:cubicBezTo>
                <a:cubicBezTo>
                  <a:pt x="1867348" y="46668"/>
                  <a:pt x="1874746" y="44236"/>
                  <a:pt x="1873865" y="44076"/>
                </a:cubicBezTo>
                <a:cubicBezTo>
                  <a:pt x="1876331" y="41837"/>
                  <a:pt x="1878885" y="44620"/>
                  <a:pt x="1879502" y="41357"/>
                </a:cubicBezTo>
                <a:cubicBezTo>
                  <a:pt x="1879150" y="35407"/>
                  <a:pt x="1884522" y="38862"/>
                  <a:pt x="1883377" y="35919"/>
                </a:cubicBezTo>
                <a:cubicBezTo>
                  <a:pt x="1881263" y="37294"/>
                  <a:pt x="1879678" y="33775"/>
                  <a:pt x="1881792" y="34639"/>
                </a:cubicBezTo>
                <a:cubicBezTo>
                  <a:pt x="1880735" y="32080"/>
                  <a:pt x="1886019" y="31952"/>
                  <a:pt x="1888485" y="31408"/>
                </a:cubicBezTo>
                <a:cubicBezTo>
                  <a:pt x="1889102" y="29808"/>
                  <a:pt x="1890775" y="29648"/>
                  <a:pt x="1892008" y="29648"/>
                </a:cubicBezTo>
                <a:cubicBezTo>
                  <a:pt x="1894122" y="34831"/>
                  <a:pt x="1895003" y="34831"/>
                  <a:pt x="1893593" y="37262"/>
                </a:cubicBezTo>
                <a:cubicBezTo>
                  <a:pt x="1891304" y="39118"/>
                  <a:pt x="1898173" y="47819"/>
                  <a:pt x="1892360" y="44268"/>
                </a:cubicBezTo>
                <a:cubicBezTo>
                  <a:pt x="1891568" y="42349"/>
                  <a:pt x="1890951" y="45932"/>
                  <a:pt x="1897116" y="48459"/>
                </a:cubicBezTo>
                <a:lnTo>
                  <a:pt x="1886628" y="968560"/>
                </a:lnTo>
                <a:lnTo>
                  <a:pt x="1886628" y="980213"/>
                </a:lnTo>
                <a:cubicBezTo>
                  <a:pt x="1886541" y="983460"/>
                  <a:pt x="1885489" y="986080"/>
                  <a:pt x="1886628" y="988837"/>
                </a:cubicBezTo>
                <a:cubicBezTo>
                  <a:pt x="1881546" y="990174"/>
                  <a:pt x="1889695" y="995304"/>
                  <a:pt x="1886628" y="994240"/>
                </a:cubicBezTo>
                <a:cubicBezTo>
                  <a:pt x="1884788" y="993394"/>
                  <a:pt x="1880056" y="999179"/>
                  <a:pt x="1886628" y="996096"/>
                </a:cubicBezTo>
                <a:cubicBezTo>
                  <a:pt x="1885401" y="999316"/>
                  <a:pt x="1891798" y="1004064"/>
                  <a:pt x="1882510" y="998770"/>
                </a:cubicBezTo>
                <a:cubicBezTo>
                  <a:pt x="1880582" y="1007666"/>
                  <a:pt x="1877690" y="1005538"/>
                  <a:pt x="1877778" y="1002427"/>
                </a:cubicBezTo>
                <a:cubicBezTo>
                  <a:pt x="1869628" y="1007584"/>
                  <a:pt x="1869365" y="1001362"/>
                  <a:pt x="1874360" y="1006329"/>
                </a:cubicBezTo>
                <a:cubicBezTo>
                  <a:pt x="1873046" y="1007694"/>
                  <a:pt x="1872432" y="1009440"/>
                  <a:pt x="1869716" y="1009222"/>
                </a:cubicBezTo>
                <a:cubicBezTo>
                  <a:pt x="1869716" y="1005756"/>
                  <a:pt x="1870154" y="1007721"/>
                  <a:pt x="1869102" y="1006684"/>
                </a:cubicBezTo>
                <a:cubicBezTo>
                  <a:pt x="1865860" y="1001444"/>
                  <a:pt x="1870329" y="995768"/>
                  <a:pt x="1867262" y="996696"/>
                </a:cubicBezTo>
                <a:cubicBezTo>
                  <a:pt x="1865510" y="1001635"/>
                  <a:pt x="1872870" y="994376"/>
                  <a:pt x="1864984" y="989273"/>
                </a:cubicBezTo>
                <a:cubicBezTo>
                  <a:pt x="1862355" y="986926"/>
                  <a:pt x="1862530" y="986189"/>
                  <a:pt x="1864984" y="984170"/>
                </a:cubicBezTo>
                <a:cubicBezTo>
                  <a:pt x="1860953" y="988755"/>
                  <a:pt x="1858674" y="987172"/>
                  <a:pt x="1863669" y="989273"/>
                </a:cubicBezTo>
                <a:cubicBezTo>
                  <a:pt x="1867788" y="992357"/>
                  <a:pt x="1857360" y="995741"/>
                  <a:pt x="1862355" y="994649"/>
                </a:cubicBezTo>
                <a:cubicBezTo>
                  <a:pt x="1864020" y="995795"/>
                  <a:pt x="1856133" y="997378"/>
                  <a:pt x="1860690" y="1001090"/>
                </a:cubicBezTo>
                <a:cubicBezTo>
                  <a:pt x="1861040" y="1006384"/>
                  <a:pt x="1856046" y="1010122"/>
                  <a:pt x="1858324" y="1008731"/>
                </a:cubicBezTo>
                <a:cubicBezTo>
                  <a:pt x="1861040" y="1012633"/>
                  <a:pt x="1861040" y="1009686"/>
                  <a:pt x="1857360" y="1014161"/>
                </a:cubicBezTo>
                <a:cubicBezTo>
                  <a:pt x="1850174" y="1009658"/>
                  <a:pt x="1855082" y="1011269"/>
                  <a:pt x="1855607" y="1021284"/>
                </a:cubicBezTo>
                <a:cubicBezTo>
                  <a:pt x="1858412" y="1021775"/>
                  <a:pt x="1852628" y="1025350"/>
                  <a:pt x="1854819" y="1024695"/>
                </a:cubicBezTo>
                <a:cubicBezTo>
                  <a:pt x="1855607" y="1021420"/>
                  <a:pt x="1856659" y="1031818"/>
                  <a:pt x="1854994" y="1030562"/>
                </a:cubicBezTo>
                <a:cubicBezTo>
                  <a:pt x="1861040" y="1030262"/>
                  <a:pt x="1849035" y="1021693"/>
                  <a:pt x="1853504" y="1034083"/>
                </a:cubicBezTo>
                <a:lnTo>
                  <a:pt x="1847831" y="1034044"/>
                </a:lnTo>
                <a:lnTo>
                  <a:pt x="1846998" y="1033257"/>
                </a:lnTo>
                <a:lnTo>
                  <a:pt x="1846947" y="1033944"/>
                </a:lnTo>
                <a:lnTo>
                  <a:pt x="1841061" y="1031708"/>
                </a:lnTo>
                <a:cubicBezTo>
                  <a:pt x="1843252" y="1024122"/>
                  <a:pt x="1832649" y="1027642"/>
                  <a:pt x="1834313" y="1027506"/>
                </a:cubicBezTo>
                <a:cubicBezTo>
                  <a:pt x="1822221" y="1024804"/>
                  <a:pt x="1821782" y="1033346"/>
                  <a:pt x="1829406" y="1032418"/>
                </a:cubicBezTo>
                <a:cubicBezTo>
                  <a:pt x="1822396" y="1035201"/>
                  <a:pt x="1830370" y="1036593"/>
                  <a:pt x="1824587" y="1037303"/>
                </a:cubicBezTo>
                <a:cubicBezTo>
                  <a:pt x="1823973" y="1035938"/>
                  <a:pt x="1817752" y="1035911"/>
                  <a:pt x="1820205" y="1041560"/>
                </a:cubicBezTo>
                <a:cubicBezTo>
                  <a:pt x="1820468" y="1038394"/>
                  <a:pt x="1817138" y="1040004"/>
                  <a:pt x="1816087" y="1045872"/>
                </a:cubicBezTo>
                <a:cubicBezTo>
                  <a:pt x="1820380" y="1049556"/>
                  <a:pt x="1802416" y="1046963"/>
                  <a:pt x="1810391" y="1048874"/>
                </a:cubicBezTo>
                <a:cubicBezTo>
                  <a:pt x="1803380" y="1053622"/>
                  <a:pt x="1805396" y="1058343"/>
                  <a:pt x="1804782" y="1050347"/>
                </a:cubicBezTo>
                <a:cubicBezTo>
                  <a:pt x="1804914" y="1050784"/>
                  <a:pt x="1805089" y="1049842"/>
                  <a:pt x="1804552" y="1048972"/>
                </a:cubicBezTo>
                <a:lnTo>
                  <a:pt x="1801462" y="1048324"/>
                </a:lnTo>
                <a:lnTo>
                  <a:pt x="1802230" y="1047946"/>
                </a:lnTo>
                <a:cubicBezTo>
                  <a:pt x="1803928" y="1048232"/>
                  <a:pt x="1804125" y="1049092"/>
                  <a:pt x="1800050" y="1048028"/>
                </a:cubicBezTo>
                <a:lnTo>
                  <a:pt x="1801462" y="1048324"/>
                </a:lnTo>
                <a:lnTo>
                  <a:pt x="1795406" y="1051302"/>
                </a:lnTo>
                <a:cubicBezTo>
                  <a:pt x="1790148" y="1053840"/>
                  <a:pt x="1801628" y="1050838"/>
                  <a:pt x="1791550" y="1047673"/>
                </a:cubicBezTo>
                <a:cubicBezTo>
                  <a:pt x="1798473" y="1049638"/>
                  <a:pt x="1796633" y="1045217"/>
                  <a:pt x="1792251" y="1043361"/>
                </a:cubicBezTo>
                <a:cubicBezTo>
                  <a:pt x="1793566" y="1038121"/>
                  <a:pt x="1791988" y="1035311"/>
                  <a:pt x="1787958" y="1041014"/>
                </a:cubicBezTo>
                <a:cubicBezTo>
                  <a:pt x="1782437" y="1042924"/>
                  <a:pt x="1787081" y="1039186"/>
                  <a:pt x="1781561" y="1044343"/>
                </a:cubicBezTo>
                <a:cubicBezTo>
                  <a:pt x="1776653" y="1044180"/>
                  <a:pt x="1776215" y="1043907"/>
                  <a:pt x="1779983" y="1043579"/>
                </a:cubicBezTo>
                <a:cubicBezTo>
                  <a:pt x="1772184" y="1044180"/>
                  <a:pt x="1783138" y="1044125"/>
                  <a:pt x="1773148" y="1046472"/>
                </a:cubicBezTo>
                <a:lnTo>
                  <a:pt x="1771020" y="1049962"/>
                </a:lnTo>
                <a:lnTo>
                  <a:pt x="1768300" y="1049999"/>
                </a:lnTo>
                <a:lnTo>
                  <a:pt x="1767189" y="1049829"/>
                </a:lnTo>
                <a:lnTo>
                  <a:pt x="1767327" y="1050013"/>
                </a:lnTo>
                <a:lnTo>
                  <a:pt x="1766839" y="1050020"/>
                </a:lnTo>
                <a:cubicBezTo>
                  <a:pt x="1760573" y="1048573"/>
                  <a:pt x="1760310" y="1046568"/>
                  <a:pt x="1762096" y="1045145"/>
                </a:cubicBezTo>
                <a:lnTo>
                  <a:pt x="1768218" y="1044030"/>
                </a:lnTo>
                <a:lnTo>
                  <a:pt x="1768591" y="1044289"/>
                </a:lnTo>
                <a:cubicBezTo>
                  <a:pt x="1762194" y="1048437"/>
                  <a:pt x="1770782" y="1043416"/>
                  <a:pt x="1769643" y="1043770"/>
                </a:cubicBezTo>
                <a:lnTo>
                  <a:pt x="1768218" y="1044030"/>
                </a:lnTo>
                <a:lnTo>
                  <a:pt x="1767573" y="1043583"/>
                </a:lnTo>
                <a:cubicBezTo>
                  <a:pt x="1767365" y="1041996"/>
                  <a:pt x="1766269" y="1040072"/>
                  <a:pt x="1761231" y="1040850"/>
                </a:cubicBezTo>
                <a:cubicBezTo>
                  <a:pt x="1754395" y="1043770"/>
                  <a:pt x="1749138" y="1042351"/>
                  <a:pt x="1752730" y="1037930"/>
                </a:cubicBezTo>
                <a:cubicBezTo>
                  <a:pt x="1754746" y="1039786"/>
                  <a:pt x="1752730" y="1040011"/>
                  <a:pt x="1750737" y="1040216"/>
                </a:cubicBezTo>
                <a:lnTo>
                  <a:pt x="1749661" y="1041465"/>
                </a:lnTo>
                <a:lnTo>
                  <a:pt x="1749156" y="1040798"/>
                </a:lnTo>
                <a:cubicBezTo>
                  <a:pt x="1748683" y="1040564"/>
                  <a:pt x="1748393" y="1041007"/>
                  <a:pt x="1748612" y="1042706"/>
                </a:cubicBezTo>
                <a:lnTo>
                  <a:pt x="1750726" y="1043089"/>
                </a:lnTo>
                <a:lnTo>
                  <a:pt x="1749488" y="1045599"/>
                </a:lnTo>
                <a:cubicBezTo>
                  <a:pt x="1743705" y="1048273"/>
                  <a:pt x="1743091" y="1043088"/>
                  <a:pt x="1742215" y="1041778"/>
                </a:cubicBezTo>
                <a:cubicBezTo>
                  <a:pt x="1737921" y="1037985"/>
                  <a:pt x="1733890" y="1037194"/>
                  <a:pt x="1736870" y="1042051"/>
                </a:cubicBezTo>
                <a:lnTo>
                  <a:pt x="1730406" y="1043213"/>
                </a:lnTo>
                <a:lnTo>
                  <a:pt x="1728950" y="1043524"/>
                </a:lnTo>
                <a:lnTo>
                  <a:pt x="1728402" y="1042198"/>
                </a:lnTo>
                <a:cubicBezTo>
                  <a:pt x="1728172" y="1042713"/>
                  <a:pt x="1727362" y="1044002"/>
                  <a:pt x="1723988" y="1044589"/>
                </a:cubicBezTo>
                <a:cubicBezTo>
                  <a:pt x="1722148" y="1042051"/>
                  <a:pt x="1718117" y="1041696"/>
                  <a:pt x="1723287" y="1048955"/>
                </a:cubicBezTo>
                <a:cubicBezTo>
                  <a:pt x="1720483" y="1052121"/>
                  <a:pt x="1716627" y="1048382"/>
                  <a:pt x="1719168" y="1055177"/>
                </a:cubicBezTo>
                <a:cubicBezTo>
                  <a:pt x="1721359" y="1055014"/>
                  <a:pt x="1710405" y="1053786"/>
                  <a:pt x="1713648" y="1054304"/>
                </a:cubicBezTo>
                <a:cubicBezTo>
                  <a:pt x="1717153" y="1057142"/>
                  <a:pt x="1716364" y="1057006"/>
                  <a:pt x="1713998" y="1056051"/>
                </a:cubicBezTo>
                <a:cubicBezTo>
                  <a:pt x="1713911" y="1057333"/>
                  <a:pt x="1710143" y="1053622"/>
                  <a:pt x="1708302" y="1054413"/>
                </a:cubicBezTo>
                <a:cubicBezTo>
                  <a:pt x="1706813" y="1055123"/>
                  <a:pt x="1709091" y="1057879"/>
                  <a:pt x="1702606" y="1058398"/>
                </a:cubicBezTo>
                <a:cubicBezTo>
                  <a:pt x="1699978" y="1060635"/>
                  <a:pt x="1698050" y="1061127"/>
                  <a:pt x="1699978" y="1056979"/>
                </a:cubicBezTo>
                <a:cubicBezTo>
                  <a:pt x="1697962" y="1060362"/>
                  <a:pt x="1699978" y="1057170"/>
                  <a:pt x="1696560" y="1056105"/>
                </a:cubicBezTo>
                <a:cubicBezTo>
                  <a:pt x="1697349" y="1055314"/>
                  <a:pt x="1696209" y="1059680"/>
                  <a:pt x="1693493" y="1062245"/>
                </a:cubicBezTo>
                <a:cubicBezTo>
                  <a:pt x="1693318" y="1058316"/>
                  <a:pt x="1697612" y="1068249"/>
                  <a:pt x="1692441" y="1063528"/>
                </a:cubicBezTo>
                <a:cubicBezTo>
                  <a:pt x="1690601" y="1065056"/>
                  <a:pt x="1690075" y="1065138"/>
                  <a:pt x="1684905" y="1064674"/>
                </a:cubicBezTo>
                <a:cubicBezTo>
                  <a:pt x="1681137" y="1068631"/>
                  <a:pt x="1684730" y="1065029"/>
                  <a:pt x="1683941" y="1062737"/>
                </a:cubicBezTo>
                <a:cubicBezTo>
                  <a:pt x="1683941" y="1062027"/>
                  <a:pt x="1684555" y="1060253"/>
                  <a:pt x="1681488" y="1059489"/>
                </a:cubicBezTo>
                <a:cubicBezTo>
                  <a:pt x="1679823" y="1057879"/>
                  <a:pt x="1678070" y="1055450"/>
                  <a:pt x="1675178" y="1061727"/>
                </a:cubicBezTo>
                <a:cubicBezTo>
                  <a:pt x="1670446" y="1060226"/>
                  <a:pt x="1668168" y="1060663"/>
                  <a:pt x="1669132" y="1062000"/>
                </a:cubicBezTo>
                <a:cubicBezTo>
                  <a:pt x="1668256" y="1060963"/>
                  <a:pt x="1662297" y="1061072"/>
                  <a:pt x="1664049" y="1060499"/>
                </a:cubicBezTo>
                <a:cubicBezTo>
                  <a:pt x="1665977" y="1063583"/>
                  <a:pt x="1666153" y="1064592"/>
                  <a:pt x="1662560" y="1065493"/>
                </a:cubicBezTo>
                <a:cubicBezTo>
                  <a:pt x="1662034" y="1064893"/>
                  <a:pt x="1658704" y="1063392"/>
                  <a:pt x="1652745" y="1059571"/>
                </a:cubicBezTo>
                <a:cubicBezTo>
                  <a:pt x="1649941" y="1050265"/>
                  <a:pt x="1648364" y="1048246"/>
                  <a:pt x="1647400" y="1050484"/>
                </a:cubicBezTo>
                <a:cubicBezTo>
                  <a:pt x="1648539" y="1052148"/>
                  <a:pt x="1645998" y="1053649"/>
                  <a:pt x="1646085" y="1056214"/>
                </a:cubicBezTo>
                <a:cubicBezTo>
                  <a:pt x="1646436" y="1054577"/>
                  <a:pt x="1634957" y="1056078"/>
                  <a:pt x="1640214" y="1054386"/>
                </a:cubicBezTo>
                <a:cubicBezTo>
                  <a:pt x="1634168" y="1052912"/>
                  <a:pt x="1623214" y="1054386"/>
                  <a:pt x="1630225" y="1054086"/>
                </a:cubicBezTo>
                <a:cubicBezTo>
                  <a:pt x="1624967" y="1049992"/>
                  <a:pt x="1617255" y="1050265"/>
                  <a:pt x="1624003" y="1053294"/>
                </a:cubicBezTo>
                <a:cubicBezTo>
                  <a:pt x="1614451" y="1055614"/>
                  <a:pt x="1625755" y="1057415"/>
                  <a:pt x="1622250" y="1056023"/>
                </a:cubicBezTo>
                <a:cubicBezTo>
                  <a:pt x="1620235" y="1062054"/>
                  <a:pt x="1618920" y="1052066"/>
                  <a:pt x="1613663" y="1057333"/>
                </a:cubicBezTo>
                <a:cubicBezTo>
                  <a:pt x="1612962" y="1061318"/>
                  <a:pt x="1605425" y="1065111"/>
                  <a:pt x="1609106" y="1058479"/>
                </a:cubicBezTo>
                <a:cubicBezTo>
                  <a:pt x="1601394" y="1057552"/>
                  <a:pt x="1612786" y="1047072"/>
                  <a:pt x="1610683" y="1054795"/>
                </a:cubicBezTo>
                <a:cubicBezTo>
                  <a:pt x="1617343" y="1051411"/>
                  <a:pt x="1607178" y="1045380"/>
                  <a:pt x="1605163" y="1050102"/>
                </a:cubicBezTo>
                <a:cubicBezTo>
                  <a:pt x="1606126" y="1047782"/>
                  <a:pt x="1612874" y="1049883"/>
                  <a:pt x="1600606" y="1049965"/>
                </a:cubicBezTo>
                <a:cubicBezTo>
                  <a:pt x="1599729" y="1049665"/>
                  <a:pt x="1600781" y="1045708"/>
                  <a:pt x="1596224" y="1046963"/>
                </a:cubicBezTo>
                <a:cubicBezTo>
                  <a:pt x="1596531" y="1047168"/>
                  <a:pt x="1595217" y="1047898"/>
                  <a:pt x="1593596" y="1047994"/>
                </a:cubicBezTo>
                <a:lnTo>
                  <a:pt x="1589459" y="1045424"/>
                </a:lnTo>
                <a:lnTo>
                  <a:pt x="1590781" y="1042061"/>
                </a:lnTo>
                <a:cubicBezTo>
                  <a:pt x="1590419" y="1041928"/>
                  <a:pt x="1589389" y="1043320"/>
                  <a:pt x="1589126" y="1045217"/>
                </a:cubicBezTo>
                <a:lnTo>
                  <a:pt x="1589459" y="1045424"/>
                </a:lnTo>
                <a:lnTo>
                  <a:pt x="1588425" y="1048055"/>
                </a:lnTo>
                <a:cubicBezTo>
                  <a:pt x="1593245" y="1043607"/>
                  <a:pt x="1587637" y="1038176"/>
                  <a:pt x="1583956" y="1046581"/>
                </a:cubicBezTo>
                <a:cubicBezTo>
                  <a:pt x="1576771" y="1050156"/>
                  <a:pt x="1585972" y="1042706"/>
                  <a:pt x="1582817" y="1050948"/>
                </a:cubicBezTo>
                <a:lnTo>
                  <a:pt x="1584764" y="1052756"/>
                </a:lnTo>
                <a:lnTo>
                  <a:pt x="1580977" y="1052012"/>
                </a:lnTo>
                <a:lnTo>
                  <a:pt x="1578305" y="1051874"/>
                </a:lnTo>
                <a:lnTo>
                  <a:pt x="1574492" y="1050347"/>
                </a:lnTo>
                <a:cubicBezTo>
                  <a:pt x="1570724" y="1044152"/>
                  <a:pt x="1569497" y="1045135"/>
                  <a:pt x="1567482" y="1046145"/>
                </a:cubicBezTo>
                <a:cubicBezTo>
                  <a:pt x="1565466" y="1047100"/>
                  <a:pt x="1563889" y="1049065"/>
                  <a:pt x="1563100" y="1047591"/>
                </a:cubicBezTo>
                <a:cubicBezTo>
                  <a:pt x="1560734" y="1045544"/>
                  <a:pt x="1554600" y="1044152"/>
                  <a:pt x="1552410" y="1048137"/>
                </a:cubicBezTo>
                <a:cubicBezTo>
                  <a:pt x="1550219" y="1048737"/>
                  <a:pt x="1549605" y="1045490"/>
                  <a:pt x="1542245" y="1055041"/>
                </a:cubicBezTo>
                <a:cubicBezTo>
                  <a:pt x="1543208" y="1057088"/>
                  <a:pt x="1537425" y="1060362"/>
                  <a:pt x="1537074" y="1063610"/>
                </a:cubicBezTo>
                <a:lnTo>
                  <a:pt x="1535753" y="1064310"/>
                </a:lnTo>
                <a:lnTo>
                  <a:pt x="1534555" y="1061710"/>
                </a:lnTo>
                <a:cubicBezTo>
                  <a:pt x="1535716" y="1062225"/>
                  <a:pt x="1537293" y="1063487"/>
                  <a:pt x="1535409" y="1062627"/>
                </a:cubicBezTo>
                <a:cubicBezTo>
                  <a:pt x="1540317" y="1055068"/>
                  <a:pt x="1538564" y="1050456"/>
                  <a:pt x="1533482" y="1055942"/>
                </a:cubicBezTo>
                <a:cubicBezTo>
                  <a:pt x="1531641" y="1054550"/>
                  <a:pt x="1524281" y="1051821"/>
                  <a:pt x="1532167" y="1049501"/>
                </a:cubicBezTo>
                <a:cubicBezTo>
                  <a:pt x="1532781" y="1046990"/>
                  <a:pt x="1532759" y="1046909"/>
                  <a:pt x="1532496" y="1046731"/>
                </a:cubicBezTo>
                <a:lnTo>
                  <a:pt x="1532058" y="1045420"/>
                </a:lnTo>
                <a:lnTo>
                  <a:pt x="1532342" y="1044848"/>
                </a:lnTo>
                <a:lnTo>
                  <a:pt x="1530972" y="1038571"/>
                </a:lnTo>
                <a:lnTo>
                  <a:pt x="1531543" y="1038404"/>
                </a:lnTo>
                <a:cubicBezTo>
                  <a:pt x="1533131" y="1037657"/>
                  <a:pt x="1533394" y="1037057"/>
                  <a:pt x="1530677" y="1037221"/>
                </a:cubicBezTo>
                <a:cubicBezTo>
                  <a:pt x="1530775" y="1037671"/>
                  <a:pt x="1530874" y="1038121"/>
                  <a:pt x="1530972" y="1038571"/>
                </a:cubicBezTo>
                <a:lnTo>
                  <a:pt x="1524456" y="1040468"/>
                </a:lnTo>
                <a:cubicBezTo>
                  <a:pt x="1526734" y="1038858"/>
                  <a:pt x="1516920" y="1048464"/>
                  <a:pt x="1518322" y="1043689"/>
                </a:cubicBezTo>
                <a:cubicBezTo>
                  <a:pt x="1522703" y="1042979"/>
                  <a:pt x="1506054" y="1053322"/>
                  <a:pt x="1510085" y="1046636"/>
                </a:cubicBezTo>
                <a:cubicBezTo>
                  <a:pt x="1511750" y="1045053"/>
                  <a:pt x="1497466" y="1046745"/>
                  <a:pt x="1506054" y="1048491"/>
                </a:cubicBezTo>
                <a:cubicBezTo>
                  <a:pt x="1505703" y="1060090"/>
                  <a:pt x="1508420" y="1050183"/>
                  <a:pt x="1500621" y="1051029"/>
                </a:cubicBezTo>
                <a:cubicBezTo>
                  <a:pt x="1496239" y="1048874"/>
                  <a:pt x="1494487" y="1051493"/>
                  <a:pt x="1492822" y="1048491"/>
                </a:cubicBezTo>
                <a:cubicBezTo>
                  <a:pt x="1488703" y="1050347"/>
                  <a:pt x="1474419" y="1049419"/>
                  <a:pt x="1485285" y="1046581"/>
                </a:cubicBezTo>
                <a:cubicBezTo>
                  <a:pt x="1486512" y="1052721"/>
                  <a:pt x="1486162" y="1043143"/>
                  <a:pt x="1485461" y="1045571"/>
                </a:cubicBezTo>
                <a:cubicBezTo>
                  <a:pt x="1488352" y="1051630"/>
                  <a:pt x="1492121" y="1037603"/>
                  <a:pt x="1487389" y="1043252"/>
                </a:cubicBezTo>
                <a:cubicBezTo>
                  <a:pt x="1489667" y="1046663"/>
                  <a:pt x="1484497" y="1046909"/>
                  <a:pt x="1480816" y="1040359"/>
                </a:cubicBezTo>
                <a:cubicBezTo>
                  <a:pt x="1489842" y="1032773"/>
                  <a:pt x="1479590" y="1039923"/>
                  <a:pt x="1481079" y="1038940"/>
                </a:cubicBezTo>
                <a:cubicBezTo>
                  <a:pt x="1480553" y="1038367"/>
                  <a:pt x="1476435" y="1035147"/>
                  <a:pt x="1475646" y="1034055"/>
                </a:cubicBezTo>
                <a:cubicBezTo>
                  <a:pt x="1475909" y="1041533"/>
                  <a:pt x="1478012" y="1036402"/>
                  <a:pt x="1475208" y="1036757"/>
                </a:cubicBezTo>
                <a:cubicBezTo>
                  <a:pt x="1480816" y="1035938"/>
                  <a:pt x="1466620" y="1032309"/>
                  <a:pt x="1471878" y="1030344"/>
                </a:cubicBezTo>
                <a:cubicBezTo>
                  <a:pt x="1473718" y="1025459"/>
                  <a:pt x="1471089" y="1019919"/>
                  <a:pt x="1467059" y="1027560"/>
                </a:cubicBezTo>
                <a:cubicBezTo>
                  <a:pt x="1462151" y="1027151"/>
                  <a:pt x="1461275" y="1028461"/>
                  <a:pt x="1461187" y="1028788"/>
                </a:cubicBezTo>
                <a:cubicBezTo>
                  <a:pt x="1461012" y="1029089"/>
                  <a:pt x="1461713" y="1028434"/>
                  <a:pt x="1459873" y="1024067"/>
                </a:cubicBezTo>
                <a:cubicBezTo>
                  <a:pt x="1451022" y="1027670"/>
                  <a:pt x="1453388" y="1028024"/>
                  <a:pt x="1454002" y="1024122"/>
                </a:cubicBezTo>
                <a:cubicBezTo>
                  <a:pt x="1445589" y="1018364"/>
                  <a:pt x="1459260" y="1027751"/>
                  <a:pt x="1447342" y="1025541"/>
                </a:cubicBezTo>
                <a:cubicBezTo>
                  <a:pt x="1447254" y="1027096"/>
                  <a:pt x="1443311" y="1018446"/>
                  <a:pt x="1441295" y="1026332"/>
                </a:cubicBezTo>
                <a:cubicBezTo>
                  <a:pt x="1439631" y="1023440"/>
                  <a:pt x="1429553" y="1032145"/>
                  <a:pt x="1433935" y="1029389"/>
                </a:cubicBezTo>
                <a:cubicBezTo>
                  <a:pt x="1428502" y="1035174"/>
                  <a:pt x="1424120" y="1030862"/>
                  <a:pt x="1429641" y="1030944"/>
                </a:cubicBezTo>
                <a:cubicBezTo>
                  <a:pt x="1429290" y="1031763"/>
                  <a:pt x="1423507" y="1027806"/>
                  <a:pt x="1424821" y="1033510"/>
                </a:cubicBezTo>
                <a:cubicBezTo>
                  <a:pt x="1419651" y="1032745"/>
                  <a:pt x="1417460" y="1032172"/>
                  <a:pt x="1419300" y="1035065"/>
                </a:cubicBezTo>
                <a:cubicBezTo>
                  <a:pt x="1416759" y="1031572"/>
                  <a:pt x="1414919" y="1042379"/>
                  <a:pt x="1410800" y="1035829"/>
                </a:cubicBezTo>
                <a:cubicBezTo>
                  <a:pt x="1401161" y="1035802"/>
                  <a:pt x="1410275" y="1036047"/>
                  <a:pt x="1405630" y="1032281"/>
                </a:cubicBezTo>
                <a:cubicBezTo>
                  <a:pt x="1407821" y="1028707"/>
                  <a:pt x="1411239" y="1031981"/>
                  <a:pt x="1403878" y="1031872"/>
                </a:cubicBezTo>
                <a:cubicBezTo>
                  <a:pt x="1409574" y="1026633"/>
                  <a:pt x="1399233" y="1024395"/>
                  <a:pt x="1400548" y="1024913"/>
                </a:cubicBezTo>
                <a:cubicBezTo>
                  <a:pt x="1397393" y="1028925"/>
                  <a:pt x="1399146" y="1025213"/>
                  <a:pt x="1397744" y="1019565"/>
                </a:cubicBezTo>
                <a:cubicBezTo>
                  <a:pt x="1397481" y="1019619"/>
                  <a:pt x="1398182" y="1013261"/>
                  <a:pt x="1394939" y="1014243"/>
                </a:cubicBezTo>
                <a:cubicBezTo>
                  <a:pt x="1389156" y="1009686"/>
                  <a:pt x="1405630" y="1027451"/>
                  <a:pt x="1390295" y="1018528"/>
                </a:cubicBezTo>
                <a:cubicBezTo>
                  <a:pt x="1393012" y="1023631"/>
                  <a:pt x="1392924" y="1025357"/>
                  <a:pt x="1391610" y="1025480"/>
                </a:cubicBezTo>
                <a:lnTo>
                  <a:pt x="1387307" y="1023581"/>
                </a:lnTo>
                <a:lnTo>
                  <a:pt x="1387579" y="1023535"/>
                </a:lnTo>
                <a:cubicBezTo>
                  <a:pt x="1389047" y="1024497"/>
                  <a:pt x="1389068" y="1025527"/>
                  <a:pt x="1385563" y="1022812"/>
                </a:cubicBezTo>
                <a:lnTo>
                  <a:pt x="1387307" y="1023581"/>
                </a:lnTo>
                <a:lnTo>
                  <a:pt x="1380919" y="1024668"/>
                </a:lnTo>
                <a:cubicBezTo>
                  <a:pt x="1375749" y="1020574"/>
                  <a:pt x="1376888" y="1021475"/>
                  <a:pt x="1376537" y="1024913"/>
                </a:cubicBezTo>
                <a:cubicBezTo>
                  <a:pt x="1375311" y="1026360"/>
                  <a:pt x="1377939" y="1016535"/>
                  <a:pt x="1371192" y="1022294"/>
                </a:cubicBezTo>
                <a:cubicBezTo>
                  <a:pt x="1370140" y="1021584"/>
                  <a:pt x="1375223" y="1012769"/>
                  <a:pt x="1366109" y="1018991"/>
                </a:cubicBezTo>
                <a:cubicBezTo>
                  <a:pt x="1372243" y="1016535"/>
                  <a:pt x="1369001" y="1018746"/>
                  <a:pt x="1361991" y="1019674"/>
                </a:cubicBezTo>
                <a:cubicBezTo>
                  <a:pt x="1357346" y="1028324"/>
                  <a:pt x="1351388" y="1013861"/>
                  <a:pt x="1355419" y="1019155"/>
                </a:cubicBezTo>
                <a:cubicBezTo>
                  <a:pt x="1361991" y="1019264"/>
                  <a:pt x="1355944" y="1016972"/>
                  <a:pt x="1351212" y="1018555"/>
                </a:cubicBezTo>
                <a:cubicBezTo>
                  <a:pt x="1346568" y="1013834"/>
                  <a:pt x="1354367" y="1021338"/>
                  <a:pt x="1345604" y="1019728"/>
                </a:cubicBezTo>
                <a:lnTo>
                  <a:pt x="1341644" y="1021457"/>
                </a:lnTo>
                <a:lnTo>
                  <a:pt x="1339295" y="1021011"/>
                </a:lnTo>
                <a:lnTo>
                  <a:pt x="1336781" y="1023170"/>
                </a:lnTo>
                <a:lnTo>
                  <a:pt x="1334650" y="1023685"/>
                </a:lnTo>
                <a:cubicBezTo>
                  <a:pt x="1334300" y="1026578"/>
                  <a:pt x="1323784" y="1019646"/>
                  <a:pt x="1329130" y="1023985"/>
                </a:cubicBezTo>
                <a:cubicBezTo>
                  <a:pt x="1331408" y="1024968"/>
                  <a:pt x="1324836" y="1030262"/>
                  <a:pt x="1328166" y="1028570"/>
                </a:cubicBezTo>
                <a:cubicBezTo>
                  <a:pt x="1319052" y="1029525"/>
                  <a:pt x="1319578" y="1025677"/>
                  <a:pt x="1323434" y="1029962"/>
                </a:cubicBezTo>
                <a:cubicBezTo>
                  <a:pt x="1321156" y="1025814"/>
                  <a:pt x="1322295" y="1035038"/>
                  <a:pt x="1319403" y="1035065"/>
                </a:cubicBezTo>
                <a:cubicBezTo>
                  <a:pt x="1317913" y="1032745"/>
                  <a:pt x="1315722" y="1033646"/>
                  <a:pt x="1313795" y="1035311"/>
                </a:cubicBezTo>
                <a:cubicBezTo>
                  <a:pt x="1311867" y="1037003"/>
                  <a:pt x="1310202" y="1039459"/>
                  <a:pt x="1309939" y="1040332"/>
                </a:cubicBezTo>
                <a:cubicBezTo>
                  <a:pt x="1310027" y="1039704"/>
                  <a:pt x="1309851" y="1038831"/>
                  <a:pt x="1309238" y="1037330"/>
                </a:cubicBezTo>
                <a:cubicBezTo>
                  <a:pt x="1309939" y="1038558"/>
                  <a:pt x="1308625" y="1034874"/>
                  <a:pt x="1308712" y="1032691"/>
                </a:cubicBezTo>
                <a:cubicBezTo>
                  <a:pt x="1308011" y="1032609"/>
                  <a:pt x="1307398" y="1030781"/>
                  <a:pt x="1307310" y="1029361"/>
                </a:cubicBezTo>
                <a:cubicBezTo>
                  <a:pt x="1305908" y="1030699"/>
                  <a:pt x="1303630" y="1032009"/>
                  <a:pt x="1302929" y="1029252"/>
                </a:cubicBezTo>
                <a:cubicBezTo>
                  <a:pt x="1298810" y="1028461"/>
                  <a:pt x="1302315" y="1030016"/>
                  <a:pt x="1297671" y="1030535"/>
                </a:cubicBezTo>
                <a:cubicBezTo>
                  <a:pt x="1298635" y="1035010"/>
                  <a:pt x="1287243" y="1037303"/>
                  <a:pt x="1286542" y="1034874"/>
                </a:cubicBezTo>
                <a:cubicBezTo>
                  <a:pt x="1279970" y="1036402"/>
                  <a:pt x="1280583" y="1038121"/>
                  <a:pt x="1275588" y="1041696"/>
                </a:cubicBezTo>
                <a:cubicBezTo>
                  <a:pt x="1275939" y="1044944"/>
                  <a:pt x="1270330" y="1042788"/>
                  <a:pt x="1270330" y="1045571"/>
                </a:cubicBezTo>
                <a:cubicBezTo>
                  <a:pt x="1273660" y="1049801"/>
                  <a:pt x="1265861" y="1051139"/>
                  <a:pt x="1264985" y="1049610"/>
                </a:cubicBezTo>
                <a:cubicBezTo>
                  <a:pt x="1261392" y="1048601"/>
                  <a:pt x="1258851" y="1047509"/>
                  <a:pt x="1260078" y="1053513"/>
                </a:cubicBezTo>
                <a:cubicBezTo>
                  <a:pt x="1258238" y="1051712"/>
                  <a:pt x="1255696" y="1058452"/>
                  <a:pt x="1255083" y="1056951"/>
                </a:cubicBezTo>
                <a:cubicBezTo>
                  <a:pt x="1250614" y="1056105"/>
                  <a:pt x="1249650" y="1060362"/>
                  <a:pt x="1251052" y="1059571"/>
                </a:cubicBezTo>
                <a:cubicBezTo>
                  <a:pt x="1244305" y="1061536"/>
                  <a:pt x="1251928" y="1065493"/>
                  <a:pt x="1245794" y="1062655"/>
                </a:cubicBezTo>
                <a:cubicBezTo>
                  <a:pt x="1243954" y="1060417"/>
                  <a:pt x="1243341" y="1067048"/>
                  <a:pt x="1238784" y="1065493"/>
                </a:cubicBezTo>
                <a:cubicBezTo>
                  <a:pt x="1238521" y="1060226"/>
                  <a:pt x="1234227" y="1064947"/>
                  <a:pt x="1232212" y="1067922"/>
                </a:cubicBezTo>
                <a:cubicBezTo>
                  <a:pt x="1230547" y="1067840"/>
                  <a:pt x="1227129" y="1068631"/>
                  <a:pt x="1225639" y="1072725"/>
                </a:cubicBezTo>
                <a:cubicBezTo>
                  <a:pt x="1214510" y="1080775"/>
                  <a:pt x="1222485" y="1068577"/>
                  <a:pt x="1218541" y="1074226"/>
                </a:cubicBezTo>
                <a:cubicBezTo>
                  <a:pt x="1220469" y="1067676"/>
                  <a:pt x="1212846" y="1074880"/>
                  <a:pt x="1211356" y="1076763"/>
                </a:cubicBezTo>
                <a:cubicBezTo>
                  <a:pt x="1209866" y="1075563"/>
                  <a:pt x="1203995" y="1072070"/>
                  <a:pt x="1203732" y="1074717"/>
                </a:cubicBezTo>
                <a:cubicBezTo>
                  <a:pt x="1199000" y="1074990"/>
                  <a:pt x="1203557" y="1075126"/>
                  <a:pt x="1204345" y="1079110"/>
                </a:cubicBezTo>
                <a:cubicBezTo>
                  <a:pt x="1202593" y="1075454"/>
                  <a:pt x="1202593" y="1077719"/>
                  <a:pt x="1197773" y="1081103"/>
                </a:cubicBezTo>
                <a:cubicBezTo>
                  <a:pt x="1195407" y="1083067"/>
                  <a:pt x="1186995" y="1077282"/>
                  <a:pt x="1190500" y="1083122"/>
                </a:cubicBezTo>
                <a:cubicBezTo>
                  <a:pt x="1188747" y="1084145"/>
                  <a:pt x="1186009" y="1085626"/>
                  <a:pt x="1184015" y="1086520"/>
                </a:cubicBezTo>
                <a:close/>
              </a:path>
            </a:pathLst>
          </a:custGeom>
          <a:solidFill>
            <a:schemeClr val="bg1"/>
          </a:solidFill>
          <a:ln w="3175" cmpd="sng">
            <a:solidFill>
              <a:schemeClr val="bg1">
                <a:lumMod val="85000"/>
              </a:schemeClr>
            </a:solidFill>
          </a:ln>
          <a:effectLst/>
        </p:spPr>
        <p:txBody>
          <a:bodyPr lIns="182880" tIns="182880" rIns="182880" bIns="91440"/>
          <a:lstStyle/>
          <a:p>
            <a:pPr defTabSz="1018705"/>
            <a:endParaRPr lang="en-US">
              <a:latin typeface="Times New Roman" charset="0"/>
              <a:ea typeface="Times New Roman" charset="0"/>
              <a:cs typeface="Times New Roman" charset="0"/>
            </a:endParaRPr>
          </a:p>
        </p:txBody>
      </p:sp>
      <p:sp>
        <p:nvSpPr>
          <p:cNvPr id="12" name="AutoShape 10">
            <a:extLst>
              <a:ext uri="{FF2B5EF4-FFF2-40B4-BE49-F238E27FC236}">
                <a16:creationId xmlns:a16="http://schemas.microsoft.com/office/drawing/2014/main" id="{A1D0392C-1093-7444-BE71-44B91A0EC76B}"/>
              </a:ext>
            </a:extLst>
          </p:cNvPr>
          <p:cNvSpPr>
            <a:spLocks/>
          </p:cNvSpPr>
          <p:nvPr/>
        </p:nvSpPr>
        <p:spPr bwMode="auto">
          <a:xfrm>
            <a:off x="6360610" y="3907691"/>
            <a:ext cx="2961155" cy="2028964"/>
          </a:xfrm>
          <a:custGeom>
            <a:avLst/>
            <a:gdLst/>
            <a:ahLst/>
            <a:cxnLst/>
            <a:rect l="0" t="0" r="r" b="b"/>
            <a:pathLst>
              <a:path w="21482" h="21554">
                <a:moveTo>
                  <a:pt x="21408" y="20986"/>
                </a:moveTo>
                <a:cubicBezTo>
                  <a:pt x="21512" y="20911"/>
                  <a:pt x="21500" y="20877"/>
                  <a:pt x="21408" y="20762"/>
                </a:cubicBezTo>
                <a:cubicBezTo>
                  <a:pt x="21374" y="20725"/>
                  <a:pt x="21374" y="20503"/>
                  <a:pt x="21408" y="20513"/>
                </a:cubicBezTo>
                <a:cubicBezTo>
                  <a:pt x="21547" y="20432"/>
                  <a:pt x="21289" y="20394"/>
                  <a:pt x="21408" y="20240"/>
                </a:cubicBezTo>
                <a:cubicBezTo>
                  <a:pt x="21323" y="20090"/>
                  <a:pt x="21362" y="19920"/>
                  <a:pt x="21408" y="19944"/>
                </a:cubicBezTo>
                <a:cubicBezTo>
                  <a:pt x="21346" y="19793"/>
                  <a:pt x="21464" y="19754"/>
                  <a:pt x="21408" y="19626"/>
                </a:cubicBezTo>
                <a:cubicBezTo>
                  <a:pt x="21408" y="19516"/>
                  <a:pt x="21408" y="19404"/>
                  <a:pt x="21408" y="19287"/>
                </a:cubicBezTo>
                <a:cubicBezTo>
                  <a:pt x="21408" y="13589"/>
                  <a:pt x="21408" y="0"/>
                  <a:pt x="21408" y="0"/>
                </a:cubicBezTo>
                <a:lnTo>
                  <a:pt x="45" y="0"/>
                </a:lnTo>
                <a:cubicBezTo>
                  <a:pt x="45" y="0"/>
                  <a:pt x="45" y="14149"/>
                  <a:pt x="45" y="19626"/>
                </a:cubicBezTo>
                <a:cubicBezTo>
                  <a:pt x="45" y="19735"/>
                  <a:pt x="69" y="19807"/>
                  <a:pt x="45" y="19944"/>
                </a:cubicBezTo>
                <a:cubicBezTo>
                  <a:pt x="25" y="20008"/>
                  <a:pt x="63" y="20034"/>
                  <a:pt x="45" y="20240"/>
                </a:cubicBezTo>
                <a:cubicBezTo>
                  <a:pt x="38" y="20426"/>
                  <a:pt x="-53" y="20560"/>
                  <a:pt x="45" y="20513"/>
                </a:cubicBezTo>
                <a:cubicBezTo>
                  <a:pt x="130" y="20667"/>
                  <a:pt x="95" y="20593"/>
                  <a:pt x="45" y="20762"/>
                </a:cubicBezTo>
                <a:cubicBezTo>
                  <a:pt x="70" y="20920"/>
                  <a:pt x="155" y="20993"/>
                  <a:pt x="45" y="20986"/>
                </a:cubicBezTo>
                <a:cubicBezTo>
                  <a:pt x="140" y="21030"/>
                  <a:pt x="83" y="20993"/>
                  <a:pt x="54" y="21128"/>
                </a:cubicBezTo>
                <a:cubicBezTo>
                  <a:pt x="70" y="21118"/>
                  <a:pt x="83" y="21112"/>
                  <a:pt x="94" y="21122"/>
                </a:cubicBezTo>
                <a:cubicBezTo>
                  <a:pt x="286" y="20989"/>
                  <a:pt x="181" y="21167"/>
                  <a:pt x="249" y="21110"/>
                </a:cubicBezTo>
                <a:cubicBezTo>
                  <a:pt x="276" y="21129"/>
                  <a:pt x="296" y="21146"/>
                  <a:pt x="313" y="21162"/>
                </a:cubicBezTo>
                <a:cubicBezTo>
                  <a:pt x="328" y="21071"/>
                  <a:pt x="465" y="21052"/>
                  <a:pt x="526" y="21181"/>
                </a:cubicBezTo>
                <a:cubicBezTo>
                  <a:pt x="544" y="21137"/>
                  <a:pt x="650" y="20973"/>
                  <a:pt x="721" y="21108"/>
                </a:cubicBezTo>
                <a:cubicBezTo>
                  <a:pt x="730" y="20957"/>
                  <a:pt x="911" y="21025"/>
                  <a:pt x="974" y="21072"/>
                </a:cubicBezTo>
                <a:cubicBezTo>
                  <a:pt x="1136" y="20866"/>
                  <a:pt x="1144" y="21098"/>
                  <a:pt x="1175" y="21055"/>
                </a:cubicBezTo>
                <a:cubicBezTo>
                  <a:pt x="1299" y="21061"/>
                  <a:pt x="1361" y="21429"/>
                  <a:pt x="1410" y="21218"/>
                </a:cubicBezTo>
                <a:cubicBezTo>
                  <a:pt x="1345" y="21251"/>
                  <a:pt x="1758" y="21002"/>
                  <a:pt x="1594" y="21228"/>
                </a:cubicBezTo>
                <a:cubicBezTo>
                  <a:pt x="1629" y="21258"/>
                  <a:pt x="1653" y="21129"/>
                  <a:pt x="1751" y="21007"/>
                </a:cubicBezTo>
                <a:cubicBezTo>
                  <a:pt x="1887" y="21121"/>
                  <a:pt x="1937" y="21198"/>
                  <a:pt x="1951" y="21224"/>
                </a:cubicBezTo>
                <a:cubicBezTo>
                  <a:pt x="1948" y="21216"/>
                  <a:pt x="1944" y="21206"/>
                  <a:pt x="1939" y="21189"/>
                </a:cubicBezTo>
                <a:cubicBezTo>
                  <a:pt x="2108" y="21393"/>
                  <a:pt x="1902" y="21483"/>
                  <a:pt x="2143" y="21328"/>
                </a:cubicBezTo>
                <a:cubicBezTo>
                  <a:pt x="2214" y="21370"/>
                  <a:pt x="2542" y="21463"/>
                  <a:pt x="2357" y="21258"/>
                </a:cubicBezTo>
                <a:cubicBezTo>
                  <a:pt x="2477" y="21171"/>
                  <a:pt x="2404" y="21589"/>
                  <a:pt x="2556" y="21347"/>
                </a:cubicBezTo>
                <a:cubicBezTo>
                  <a:pt x="2615" y="21600"/>
                  <a:pt x="2593" y="21307"/>
                  <a:pt x="2788" y="21300"/>
                </a:cubicBezTo>
                <a:cubicBezTo>
                  <a:pt x="2819" y="21243"/>
                  <a:pt x="2893" y="21239"/>
                  <a:pt x="2935" y="21263"/>
                </a:cubicBezTo>
                <a:cubicBezTo>
                  <a:pt x="2961" y="21211"/>
                  <a:pt x="3133" y="21155"/>
                  <a:pt x="3111" y="21337"/>
                </a:cubicBezTo>
                <a:cubicBezTo>
                  <a:pt x="3141" y="21340"/>
                  <a:pt x="3276" y="21500"/>
                  <a:pt x="3273" y="21373"/>
                </a:cubicBezTo>
                <a:cubicBezTo>
                  <a:pt x="3380" y="21335"/>
                  <a:pt x="3605" y="21459"/>
                  <a:pt x="3518" y="21359"/>
                </a:cubicBezTo>
                <a:cubicBezTo>
                  <a:pt x="3787" y="21332"/>
                  <a:pt x="3676" y="21284"/>
                  <a:pt x="3765" y="21282"/>
                </a:cubicBezTo>
                <a:cubicBezTo>
                  <a:pt x="3745" y="21288"/>
                  <a:pt x="3857" y="21520"/>
                  <a:pt x="4012" y="21188"/>
                </a:cubicBezTo>
                <a:cubicBezTo>
                  <a:pt x="4194" y="20993"/>
                  <a:pt x="4322" y="21369"/>
                  <a:pt x="4261" y="21124"/>
                </a:cubicBezTo>
                <a:cubicBezTo>
                  <a:pt x="4361" y="21293"/>
                  <a:pt x="4312" y="21163"/>
                  <a:pt x="4465" y="21118"/>
                </a:cubicBezTo>
                <a:cubicBezTo>
                  <a:pt x="4646" y="21167"/>
                  <a:pt x="4423" y="21000"/>
                  <a:pt x="4656" y="21153"/>
                </a:cubicBezTo>
                <a:cubicBezTo>
                  <a:pt x="4740" y="21214"/>
                  <a:pt x="4684" y="21150"/>
                  <a:pt x="4692" y="21222"/>
                </a:cubicBezTo>
                <a:cubicBezTo>
                  <a:pt x="4690" y="21281"/>
                  <a:pt x="4898" y="21173"/>
                  <a:pt x="4756" y="21298"/>
                </a:cubicBezTo>
                <a:cubicBezTo>
                  <a:pt x="4794" y="21308"/>
                  <a:pt x="4879" y="21327"/>
                  <a:pt x="4872" y="21303"/>
                </a:cubicBezTo>
                <a:cubicBezTo>
                  <a:pt x="4864" y="21295"/>
                  <a:pt x="4857" y="21286"/>
                  <a:pt x="4847" y="21276"/>
                </a:cubicBezTo>
                <a:cubicBezTo>
                  <a:pt x="4863" y="21288"/>
                  <a:pt x="4870" y="21297"/>
                  <a:pt x="4872" y="21303"/>
                </a:cubicBezTo>
                <a:cubicBezTo>
                  <a:pt x="4901" y="21335"/>
                  <a:pt x="4918" y="21354"/>
                  <a:pt x="4927" y="21365"/>
                </a:cubicBezTo>
                <a:cubicBezTo>
                  <a:pt x="4908" y="21339"/>
                  <a:pt x="4863" y="21267"/>
                  <a:pt x="4920" y="21251"/>
                </a:cubicBezTo>
                <a:cubicBezTo>
                  <a:pt x="4966" y="21338"/>
                  <a:pt x="5028" y="21468"/>
                  <a:pt x="5086" y="21335"/>
                </a:cubicBezTo>
                <a:cubicBezTo>
                  <a:pt x="5173" y="21304"/>
                  <a:pt x="5330" y="21533"/>
                  <a:pt x="5248" y="21397"/>
                </a:cubicBezTo>
                <a:cubicBezTo>
                  <a:pt x="5228" y="21388"/>
                  <a:pt x="5299" y="21267"/>
                  <a:pt x="5441" y="21296"/>
                </a:cubicBezTo>
                <a:cubicBezTo>
                  <a:pt x="5478" y="21457"/>
                  <a:pt x="5632" y="21057"/>
                  <a:pt x="5620" y="21352"/>
                </a:cubicBezTo>
                <a:cubicBezTo>
                  <a:pt x="5647" y="21414"/>
                  <a:pt x="5802" y="21387"/>
                  <a:pt x="5816" y="21184"/>
                </a:cubicBezTo>
                <a:cubicBezTo>
                  <a:pt x="5855" y="21101"/>
                  <a:pt x="5987" y="21066"/>
                  <a:pt x="6062" y="21054"/>
                </a:cubicBezTo>
                <a:cubicBezTo>
                  <a:pt x="6165" y="20973"/>
                  <a:pt x="6143" y="21161"/>
                  <a:pt x="6316" y="20981"/>
                </a:cubicBezTo>
                <a:cubicBezTo>
                  <a:pt x="6363" y="21097"/>
                  <a:pt x="6532" y="20836"/>
                  <a:pt x="6560" y="20973"/>
                </a:cubicBezTo>
                <a:cubicBezTo>
                  <a:pt x="6559" y="20977"/>
                  <a:pt x="6557" y="20981"/>
                  <a:pt x="6557" y="20985"/>
                </a:cubicBezTo>
                <a:cubicBezTo>
                  <a:pt x="6578" y="20985"/>
                  <a:pt x="6618" y="21002"/>
                  <a:pt x="6690" y="21063"/>
                </a:cubicBezTo>
                <a:cubicBezTo>
                  <a:pt x="6845" y="20965"/>
                  <a:pt x="6877" y="21000"/>
                  <a:pt x="6917" y="21024"/>
                </a:cubicBezTo>
                <a:cubicBezTo>
                  <a:pt x="6916" y="21005"/>
                  <a:pt x="6918" y="20977"/>
                  <a:pt x="6924" y="20934"/>
                </a:cubicBezTo>
                <a:cubicBezTo>
                  <a:pt x="7003" y="20924"/>
                  <a:pt x="7083" y="20826"/>
                  <a:pt x="7119" y="20755"/>
                </a:cubicBezTo>
                <a:cubicBezTo>
                  <a:pt x="7167" y="20616"/>
                  <a:pt x="7205" y="20744"/>
                  <a:pt x="7192" y="20754"/>
                </a:cubicBezTo>
                <a:cubicBezTo>
                  <a:pt x="7137" y="20796"/>
                  <a:pt x="7249" y="20785"/>
                  <a:pt x="7288" y="20805"/>
                </a:cubicBezTo>
                <a:cubicBezTo>
                  <a:pt x="7318" y="20846"/>
                  <a:pt x="7385" y="20834"/>
                  <a:pt x="7414" y="20750"/>
                </a:cubicBezTo>
                <a:cubicBezTo>
                  <a:pt x="7415" y="20732"/>
                  <a:pt x="7419" y="20713"/>
                  <a:pt x="7426" y="20694"/>
                </a:cubicBezTo>
                <a:cubicBezTo>
                  <a:pt x="7424" y="20716"/>
                  <a:pt x="7419" y="20734"/>
                  <a:pt x="7414" y="20750"/>
                </a:cubicBezTo>
                <a:cubicBezTo>
                  <a:pt x="7403" y="20850"/>
                  <a:pt x="7453" y="20932"/>
                  <a:pt x="7420" y="20895"/>
                </a:cubicBezTo>
                <a:cubicBezTo>
                  <a:pt x="7430" y="20921"/>
                  <a:pt x="7455" y="20961"/>
                  <a:pt x="7432" y="20941"/>
                </a:cubicBezTo>
                <a:cubicBezTo>
                  <a:pt x="7340" y="21003"/>
                  <a:pt x="7358" y="21095"/>
                  <a:pt x="7361" y="21106"/>
                </a:cubicBezTo>
                <a:cubicBezTo>
                  <a:pt x="7329" y="21192"/>
                  <a:pt x="7444" y="21191"/>
                  <a:pt x="7432" y="21190"/>
                </a:cubicBezTo>
                <a:cubicBezTo>
                  <a:pt x="7427" y="21298"/>
                  <a:pt x="7357" y="21261"/>
                  <a:pt x="7454" y="21287"/>
                </a:cubicBezTo>
                <a:cubicBezTo>
                  <a:pt x="7459" y="21300"/>
                  <a:pt x="7483" y="21351"/>
                  <a:pt x="7467" y="21396"/>
                </a:cubicBezTo>
                <a:cubicBezTo>
                  <a:pt x="7475" y="21394"/>
                  <a:pt x="7484" y="21395"/>
                  <a:pt x="7492" y="21398"/>
                </a:cubicBezTo>
                <a:cubicBezTo>
                  <a:pt x="7476" y="21383"/>
                  <a:pt x="7684" y="21294"/>
                  <a:pt x="7658" y="21410"/>
                </a:cubicBezTo>
                <a:cubicBezTo>
                  <a:pt x="7802" y="21485"/>
                  <a:pt x="7792" y="21392"/>
                  <a:pt x="7816" y="21390"/>
                </a:cubicBezTo>
                <a:cubicBezTo>
                  <a:pt x="7909" y="21391"/>
                  <a:pt x="7879" y="21419"/>
                  <a:pt x="7885" y="21320"/>
                </a:cubicBezTo>
                <a:cubicBezTo>
                  <a:pt x="7914" y="21206"/>
                  <a:pt x="7844" y="21349"/>
                  <a:pt x="8029" y="21254"/>
                </a:cubicBezTo>
                <a:cubicBezTo>
                  <a:pt x="8090" y="21206"/>
                  <a:pt x="8132" y="21198"/>
                  <a:pt x="8123" y="21212"/>
                </a:cubicBezTo>
                <a:cubicBezTo>
                  <a:pt x="8162" y="21172"/>
                  <a:pt x="8216" y="21199"/>
                  <a:pt x="8235" y="21228"/>
                </a:cubicBezTo>
                <a:cubicBezTo>
                  <a:pt x="8239" y="21168"/>
                  <a:pt x="8253" y="21124"/>
                  <a:pt x="8338" y="21179"/>
                </a:cubicBezTo>
                <a:cubicBezTo>
                  <a:pt x="8268" y="21126"/>
                  <a:pt x="8442" y="21153"/>
                  <a:pt x="8431" y="21164"/>
                </a:cubicBezTo>
                <a:cubicBezTo>
                  <a:pt x="8539" y="21257"/>
                  <a:pt x="8518" y="21237"/>
                  <a:pt x="8514" y="21227"/>
                </a:cubicBezTo>
                <a:cubicBezTo>
                  <a:pt x="8594" y="21149"/>
                  <a:pt x="8618" y="21193"/>
                  <a:pt x="8619" y="21217"/>
                </a:cubicBezTo>
                <a:cubicBezTo>
                  <a:pt x="8646" y="21218"/>
                  <a:pt x="8683" y="21222"/>
                  <a:pt x="8730" y="21231"/>
                </a:cubicBezTo>
                <a:cubicBezTo>
                  <a:pt x="8596" y="21188"/>
                  <a:pt x="8822" y="21177"/>
                  <a:pt x="8816" y="21199"/>
                </a:cubicBezTo>
                <a:cubicBezTo>
                  <a:pt x="8774" y="21108"/>
                  <a:pt x="8865" y="21104"/>
                  <a:pt x="8878" y="21155"/>
                </a:cubicBezTo>
                <a:cubicBezTo>
                  <a:pt x="8973" y="21229"/>
                  <a:pt x="8803" y="21009"/>
                  <a:pt x="9014" y="21056"/>
                </a:cubicBezTo>
                <a:cubicBezTo>
                  <a:pt x="9039" y="20815"/>
                  <a:pt x="9097" y="20790"/>
                  <a:pt x="9152" y="20970"/>
                </a:cubicBezTo>
                <a:cubicBezTo>
                  <a:pt x="8968" y="21050"/>
                  <a:pt x="9190" y="20960"/>
                  <a:pt x="9166" y="21102"/>
                </a:cubicBezTo>
                <a:cubicBezTo>
                  <a:pt x="9167" y="21081"/>
                  <a:pt x="9324" y="21136"/>
                  <a:pt x="9375" y="21091"/>
                </a:cubicBezTo>
                <a:cubicBezTo>
                  <a:pt x="9474" y="21094"/>
                  <a:pt x="9522" y="21104"/>
                  <a:pt x="9544" y="21112"/>
                </a:cubicBezTo>
                <a:cubicBezTo>
                  <a:pt x="9544" y="21107"/>
                  <a:pt x="9547" y="21099"/>
                  <a:pt x="9553" y="21091"/>
                </a:cubicBezTo>
                <a:cubicBezTo>
                  <a:pt x="9585" y="21182"/>
                  <a:pt x="9695" y="20966"/>
                  <a:pt x="9620" y="21293"/>
                </a:cubicBezTo>
                <a:cubicBezTo>
                  <a:pt x="9723" y="21224"/>
                  <a:pt x="9671" y="21241"/>
                  <a:pt x="9751" y="21214"/>
                </a:cubicBezTo>
                <a:cubicBezTo>
                  <a:pt x="9830" y="21128"/>
                  <a:pt x="9746" y="21107"/>
                  <a:pt x="9722" y="21103"/>
                </a:cubicBezTo>
                <a:cubicBezTo>
                  <a:pt x="9714" y="21102"/>
                  <a:pt x="9715" y="21102"/>
                  <a:pt x="9722" y="21103"/>
                </a:cubicBezTo>
                <a:cubicBezTo>
                  <a:pt x="9736" y="21104"/>
                  <a:pt x="9780" y="21107"/>
                  <a:pt x="9884" y="21104"/>
                </a:cubicBezTo>
                <a:cubicBezTo>
                  <a:pt x="10029" y="21146"/>
                  <a:pt x="10062" y="21134"/>
                  <a:pt x="10028" y="21052"/>
                </a:cubicBezTo>
                <a:cubicBezTo>
                  <a:pt x="10132" y="20942"/>
                  <a:pt x="10152" y="20893"/>
                  <a:pt x="10167" y="21176"/>
                </a:cubicBezTo>
                <a:cubicBezTo>
                  <a:pt x="10232" y="21242"/>
                  <a:pt x="10284" y="21316"/>
                  <a:pt x="10314" y="21288"/>
                </a:cubicBezTo>
                <a:cubicBezTo>
                  <a:pt x="10228" y="21399"/>
                  <a:pt x="10525" y="21148"/>
                  <a:pt x="10461" y="21164"/>
                </a:cubicBezTo>
                <a:cubicBezTo>
                  <a:pt x="10521" y="21042"/>
                  <a:pt x="10597" y="21010"/>
                  <a:pt x="10646" y="21005"/>
                </a:cubicBezTo>
                <a:cubicBezTo>
                  <a:pt x="10628" y="21000"/>
                  <a:pt x="10606" y="20993"/>
                  <a:pt x="10578" y="20981"/>
                </a:cubicBezTo>
                <a:cubicBezTo>
                  <a:pt x="10511" y="20836"/>
                  <a:pt x="10505" y="20855"/>
                  <a:pt x="10545" y="20891"/>
                </a:cubicBezTo>
                <a:cubicBezTo>
                  <a:pt x="10584" y="20925"/>
                  <a:pt x="10668" y="20976"/>
                  <a:pt x="10782" y="20893"/>
                </a:cubicBezTo>
                <a:cubicBezTo>
                  <a:pt x="10822" y="20986"/>
                  <a:pt x="10856" y="20951"/>
                  <a:pt x="10835" y="20985"/>
                </a:cubicBezTo>
                <a:cubicBezTo>
                  <a:pt x="10850" y="20984"/>
                  <a:pt x="10867" y="20986"/>
                  <a:pt x="10885" y="20997"/>
                </a:cubicBezTo>
                <a:cubicBezTo>
                  <a:pt x="10947" y="21013"/>
                  <a:pt x="10974" y="21006"/>
                  <a:pt x="10985" y="20996"/>
                </a:cubicBezTo>
                <a:cubicBezTo>
                  <a:pt x="10968" y="20944"/>
                  <a:pt x="11004" y="20977"/>
                  <a:pt x="10985" y="20996"/>
                </a:cubicBezTo>
                <a:cubicBezTo>
                  <a:pt x="10987" y="21005"/>
                  <a:pt x="10991" y="21015"/>
                  <a:pt x="10997" y="21029"/>
                </a:cubicBezTo>
                <a:cubicBezTo>
                  <a:pt x="11064" y="20997"/>
                  <a:pt x="10989" y="21082"/>
                  <a:pt x="11072" y="21063"/>
                </a:cubicBezTo>
                <a:cubicBezTo>
                  <a:pt x="11007" y="21212"/>
                  <a:pt x="11047" y="21210"/>
                  <a:pt x="11085" y="21192"/>
                </a:cubicBezTo>
                <a:cubicBezTo>
                  <a:pt x="11065" y="21175"/>
                  <a:pt x="11119" y="21158"/>
                  <a:pt x="11120" y="21142"/>
                </a:cubicBezTo>
                <a:cubicBezTo>
                  <a:pt x="11147" y="21041"/>
                  <a:pt x="11103" y="21062"/>
                  <a:pt x="11170" y="21024"/>
                </a:cubicBezTo>
                <a:cubicBezTo>
                  <a:pt x="11212" y="20902"/>
                  <a:pt x="11163" y="20948"/>
                  <a:pt x="11252" y="20926"/>
                </a:cubicBezTo>
                <a:cubicBezTo>
                  <a:pt x="11407" y="20951"/>
                  <a:pt x="11345" y="20907"/>
                  <a:pt x="11417" y="20876"/>
                </a:cubicBezTo>
                <a:cubicBezTo>
                  <a:pt x="11464" y="20865"/>
                  <a:pt x="11460" y="20782"/>
                  <a:pt x="11459" y="20826"/>
                </a:cubicBezTo>
                <a:cubicBezTo>
                  <a:pt x="11498" y="20875"/>
                  <a:pt x="11460" y="20773"/>
                  <a:pt x="11502" y="20742"/>
                </a:cubicBezTo>
                <a:cubicBezTo>
                  <a:pt x="11486" y="20690"/>
                  <a:pt x="11414" y="20714"/>
                  <a:pt x="11361" y="20652"/>
                </a:cubicBezTo>
                <a:cubicBezTo>
                  <a:pt x="11389" y="20589"/>
                  <a:pt x="11453" y="20546"/>
                  <a:pt x="11444" y="20561"/>
                </a:cubicBezTo>
                <a:cubicBezTo>
                  <a:pt x="11498" y="20470"/>
                  <a:pt x="11495" y="20540"/>
                  <a:pt x="11464" y="20557"/>
                </a:cubicBezTo>
                <a:cubicBezTo>
                  <a:pt x="11483" y="20579"/>
                  <a:pt x="11538" y="20499"/>
                  <a:pt x="11531" y="20491"/>
                </a:cubicBezTo>
                <a:cubicBezTo>
                  <a:pt x="11532" y="20451"/>
                  <a:pt x="11426" y="20475"/>
                  <a:pt x="11463" y="20356"/>
                </a:cubicBezTo>
                <a:cubicBezTo>
                  <a:pt x="11389" y="20319"/>
                  <a:pt x="11383" y="20168"/>
                  <a:pt x="11421" y="20253"/>
                </a:cubicBezTo>
                <a:cubicBezTo>
                  <a:pt x="11462" y="20219"/>
                  <a:pt x="11432" y="20176"/>
                  <a:pt x="11548" y="20185"/>
                </a:cubicBezTo>
                <a:cubicBezTo>
                  <a:pt x="11590" y="20110"/>
                  <a:pt x="11565" y="20039"/>
                  <a:pt x="11612" y="20110"/>
                </a:cubicBezTo>
                <a:cubicBezTo>
                  <a:pt x="11618" y="20091"/>
                  <a:pt x="11677" y="20065"/>
                  <a:pt x="11621" y="20156"/>
                </a:cubicBezTo>
                <a:cubicBezTo>
                  <a:pt x="11640" y="20120"/>
                  <a:pt x="11629" y="20110"/>
                  <a:pt x="11613" y="20111"/>
                </a:cubicBezTo>
                <a:cubicBezTo>
                  <a:pt x="11616" y="20115"/>
                  <a:pt x="11617" y="20117"/>
                  <a:pt x="11620" y="20121"/>
                </a:cubicBezTo>
                <a:cubicBezTo>
                  <a:pt x="11613" y="20119"/>
                  <a:pt x="11612" y="20116"/>
                  <a:pt x="11612" y="20112"/>
                </a:cubicBezTo>
                <a:cubicBezTo>
                  <a:pt x="11586" y="20117"/>
                  <a:pt x="11550" y="20155"/>
                  <a:pt x="11609" y="20176"/>
                </a:cubicBezTo>
                <a:cubicBezTo>
                  <a:pt x="11600" y="20178"/>
                  <a:pt x="11594" y="20179"/>
                  <a:pt x="11589" y="20179"/>
                </a:cubicBezTo>
                <a:cubicBezTo>
                  <a:pt x="11601" y="20182"/>
                  <a:pt x="11621" y="20195"/>
                  <a:pt x="11623" y="20241"/>
                </a:cubicBezTo>
                <a:cubicBezTo>
                  <a:pt x="11618" y="20305"/>
                  <a:pt x="11628" y="20280"/>
                  <a:pt x="11690" y="20391"/>
                </a:cubicBezTo>
                <a:cubicBezTo>
                  <a:pt x="11691" y="20391"/>
                  <a:pt x="11691" y="20391"/>
                  <a:pt x="11692" y="20390"/>
                </a:cubicBezTo>
                <a:cubicBezTo>
                  <a:pt x="11717" y="20359"/>
                  <a:pt x="11777" y="20356"/>
                  <a:pt x="11692" y="20390"/>
                </a:cubicBezTo>
                <a:cubicBezTo>
                  <a:pt x="11684" y="20400"/>
                  <a:pt x="11679" y="20410"/>
                  <a:pt x="11682" y="20424"/>
                </a:cubicBezTo>
                <a:cubicBezTo>
                  <a:pt x="11668" y="20495"/>
                  <a:pt x="11694" y="20576"/>
                  <a:pt x="11728" y="20576"/>
                </a:cubicBezTo>
                <a:cubicBezTo>
                  <a:pt x="11749" y="20643"/>
                  <a:pt x="11807" y="20700"/>
                  <a:pt x="11801" y="20670"/>
                </a:cubicBezTo>
                <a:cubicBezTo>
                  <a:pt x="11781" y="20705"/>
                  <a:pt x="11766" y="20731"/>
                  <a:pt x="11754" y="20749"/>
                </a:cubicBezTo>
                <a:cubicBezTo>
                  <a:pt x="11773" y="20778"/>
                  <a:pt x="11740" y="20846"/>
                  <a:pt x="11776" y="20858"/>
                </a:cubicBezTo>
                <a:cubicBezTo>
                  <a:pt x="11801" y="20830"/>
                  <a:pt x="11773" y="20839"/>
                  <a:pt x="11924" y="20853"/>
                </a:cubicBezTo>
                <a:cubicBezTo>
                  <a:pt x="11924" y="20874"/>
                  <a:pt x="11933" y="20918"/>
                  <a:pt x="11940" y="20949"/>
                </a:cubicBezTo>
                <a:cubicBezTo>
                  <a:pt x="11946" y="20943"/>
                  <a:pt x="11953" y="20967"/>
                  <a:pt x="11955" y="20936"/>
                </a:cubicBezTo>
                <a:cubicBezTo>
                  <a:pt x="11971" y="20952"/>
                  <a:pt x="11964" y="20937"/>
                  <a:pt x="11976" y="20919"/>
                </a:cubicBezTo>
                <a:cubicBezTo>
                  <a:pt x="11988" y="20900"/>
                  <a:pt x="12018" y="20879"/>
                  <a:pt x="12109" y="20879"/>
                </a:cubicBezTo>
                <a:cubicBezTo>
                  <a:pt x="12206" y="20942"/>
                  <a:pt x="12195" y="20928"/>
                  <a:pt x="12208" y="20975"/>
                </a:cubicBezTo>
                <a:cubicBezTo>
                  <a:pt x="12174" y="20932"/>
                  <a:pt x="12219" y="21118"/>
                  <a:pt x="12219" y="20956"/>
                </a:cubicBezTo>
                <a:cubicBezTo>
                  <a:pt x="12257" y="20965"/>
                  <a:pt x="12263" y="20965"/>
                  <a:pt x="12270" y="20965"/>
                </a:cubicBezTo>
                <a:cubicBezTo>
                  <a:pt x="12263" y="20952"/>
                  <a:pt x="12299" y="20896"/>
                  <a:pt x="12306" y="20866"/>
                </a:cubicBezTo>
                <a:cubicBezTo>
                  <a:pt x="12347" y="20913"/>
                  <a:pt x="12447" y="20969"/>
                  <a:pt x="12401" y="20964"/>
                </a:cubicBezTo>
                <a:cubicBezTo>
                  <a:pt x="12453" y="20981"/>
                  <a:pt x="12427" y="21012"/>
                  <a:pt x="12403" y="21030"/>
                </a:cubicBezTo>
                <a:cubicBezTo>
                  <a:pt x="12418" y="21037"/>
                  <a:pt x="12444" y="21039"/>
                  <a:pt x="12486" y="21014"/>
                </a:cubicBezTo>
                <a:cubicBezTo>
                  <a:pt x="12546" y="21028"/>
                  <a:pt x="12505" y="21066"/>
                  <a:pt x="12542" y="21101"/>
                </a:cubicBezTo>
                <a:cubicBezTo>
                  <a:pt x="12544" y="21093"/>
                  <a:pt x="12556" y="21092"/>
                  <a:pt x="12587" y="21120"/>
                </a:cubicBezTo>
                <a:cubicBezTo>
                  <a:pt x="12669" y="21216"/>
                  <a:pt x="12747" y="21169"/>
                  <a:pt x="12644" y="21225"/>
                </a:cubicBezTo>
                <a:cubicBezTo>
                  <a:pt x="12704" y="21272"/>
                  <a:pt x="12730" y="21231"/>
                  <a:pt x="12788" y="21264"/>
                </a:cubicBezTo>
                <a:cubicBezTo>
                  <a:pt x="12788" y="21264"/>
                  <a:pt x="12788" y="21267"/>
                  <a:pt x="12789" y="21267"/>
                </a:cubicBezTo>
                <a:cubicBezTo>
                  <a:pt x="12806" y="21255"/>
                  <a:pt x="12806" y="21258"/>
                  <a:pt x="12802" y="21268"/>
                </a:cubicBezTo>
                <a:cubicBezTo>
                  <a:pt x="12829" y="21268"/>
                  <a:pt x="12827" y="21275"/>
                  <a:pt x="12856" y="21271"/>
                </a:cubicBezTo>
                <a:cubicBezTo>
                  <a:pt x="12931" y="21361"/>
                  <a:pt x="12977" y="21362"/>
                  <a:pt x="12942" y="21287"/>
                </a:cubicBezTo>
                <a:cubicBezTo>
                  <a:pt x="12994" y="21271"/>
                  <a:pt x="13012" y="21259"/>
                  <a:pt x="13016" y="21234"/>
                </a:cubicBezTo>
                <a:cubicBezTo>
                  <a:pt x="12979" y="21253"/>
                  <a:pt x="12921" y="21184"/>
                  <a:pt x="12932" y="21191"/>
                </a:cubicBezTo>
                <a:cubicBezTo>
                  <a:pt x="12912" y="21146"/>
                  <a:pt x="12893" y="21148"/>
                  <a:pt x="12893" y="21112"/>
                </a:cubicBezTo>
                <a:cubicBezTo>
                  <a:pt x="12928" y="21079"/>
                  <a:pt x="12919" y="21117"/>
                  <a:pt x="12986" y="21135"/>
                </a:cubicBezTo>
                <a:cubicBezTo>
                  <a:pt x="12994" y="21152"/>
                  <a:pt x="12994" y="21165"/>
                  <a:pt x="12993" y="21177"/>
                </a:cubicBezTo>
                <a:cubicBezTo>
                  <a:pt x="12998" y="21171"/>
                  <a:pt x="13003" y="21167"/>
                  <a:pt x="13012" y="21161"/>
                </a:cubicBezTo>
                <a:cubicBezTo>
                  <a:pt x="13015" y="21195"/>
                  <a:pt x="13018" y="21218"/>
                  <a:pt x="13016" y="21234"/>
                </a:cubicBezTo>
                <a:cubicBezTo>
                  <a:pt x="13021" y="21232"/>
                  <a:pt x="13025" y="21229"/>
                  <a:pt x="13029" y="21222"/>
                </a:cubicBezTo>
                <a:cubicBezTo>
                  <a:pt x="13050" y="21245"/>
                  <a:pt x="13144" y="21173"/>
                  <a:pt x="13114" y="21173"/>
                </a:cubicBezTo>
                <a:cubicBezTo>
                  <a:pt x="13091" y="21065"/>
                  <a:pt x="13118" y="21036"/>
                  <a:pt x="13126" y="21111"/>
                </a:cubicBezTo>
                <a:cubicBezTo>
                  <a:pt x="13129" y="21112"/>
                  <a:pt x="13135" y="21115"/>
                  <a:pt x="13144" y="21124"/>
                </a:cubicBezTo>
                <a:cubicBezTo>
                  <a:pt x="13137" y="21129"/>
                  <a:pt x="13132" y="21131"/>
                  <a:pt x="13128" y="21132"/>
                </a:cubicBezTo>
                <a:cubicBezTo>
                  <a:pt x="13130" y="21140"/>
                  <a:pt x="13133" y="21149"/>
                  <a:pt x="13129" y="21150"/>
                </a:cubicBezTo>
                <a:cubicBezTo>
                  <a:pt x="13129" y="21144"/>
                  <a:pt x="13128" y="21138"/>
                  <a:pt x="13128" y="21132"/>
                </a:cubicBezTo>
                <a:cubicBezTo>
                  <a:pt x="13110" y="21139"/>
                  <a:pt x="13133" y="21129"/>
                  <a:pt x="13142" y="21286"/>
                </a:cubicBezTo>
                <a:cubicBezTo>
                  <a:pt x="13190" y="21337"/>
                  <a:pt x="13138" y="21263"/>
                  <a:pt x="13237" y="21349"/>
                </a:cubicBezTo>
                <a:cubicBezTo>
                  <a:pt x="13239" y="21354"/>
                  <a:pt x="13240" y="21357"/>
                  <a:pt x="13242" y="21361"/>
                </a:cubicBezTo>
                <a:cubicBezTo>
                  <a:pt x="13240" y="21351"/>
                  <a:pt x="13241" y="21344"/>
                  <a:pt x="13249" y="21344"/>
                </a:cubicBezTo>
                <a:cubicBezTo>
                  <a:pt x="13248" y="21398"/>
                  <a:pt x="13382" y="21257"/>
                  <a:pt x="13382" y="21364"/>
                </a:cubicBezTo>
                <a:cubicBezTo>
                  <a:pt x="13390" y="21359"/>
                  <a:pt x="13392" y="21361"/>
                  <a:pt x="13382" y="21381"/>
                </a:cubicBezTo>
                <a:cubicBezTo>
                  <a:pt x="13383" y="21373"/>
                  <a:pt x="13382" y="21369"/>
                  <a:pt x="13382" y="21364"/>
                </a:cubicBezTo>
                <a:cubicBezTo>
                  <a:pt x="13370" y="21370"/>
                  <a:pt x="13345" y="21394"/>
                  <a:pt x="13334" y="21396"/>
                </a:cubicBezTo>
                <a:cubicBezTo>
                  <a:pt x="13326" y="21457"/>
                  <a:pt x="13334" y="21530"/>
                  <a:pt x="13327" y="21554"/>
                </a:cubicBezTo>
                <a:cubicBezTo>
                  <a:pt x="13345" y="21537"/>
                  <a:pt x="13366" y="21520"/>
                  <a:pt x="13367" y="21544"/>
                </a:cubicBezTo>
                <a:cubicBezTo>
                  <a:pt x="13408" y="21561"/>
                  <a:pt x="13357" y="21496"/>
                  <a:pt x="13419" y="21508"/>
                </a:cubicBezTo>
                <a:cubicBezTo>
                  <a:pt x="13427" y="21481"/>
                  <a:pt x="13409" y="21453"/>
                  <a:pt x="13438" y="21406"/>
                </a:cubicBezTo>
                <a:cubicBezTo>
                  <a:pt x="13424" y="21410"/>
                  <a:pt x="13435" y="21274"/>
                  <a:pt x="13424" y="21296"/>
                </a:cubicBezTo>
                <a:cubicBezTo>
                  <a:pt x="13298" y="21301"/>
                  <a:pt x="13370" y="21161"/>
                  <a:pt x="13453" y="21228"/>
                </a:cubicBezTo>
                <a:cubicBezTo>
                  <a:pt x="13471" y="21231"/>
                  <a:pt x="13519" y="21238"/>
                  <a:pt x="13559" y="21247"/>
                </a:cubicBezTo>
                <a:cubicBezTo>
                  <a:pt x="13566" y="21245"/>
                  <a:pt x="13573" y="21246"/>
                  <a:pt x="13579" y="21248"/>
                </a:cubicBezTo>
                <a:cubicBezTo>
                  <a:pt x="13577" y="21234"/>
                  <a:pt x="13578" y="21212"/>
                  <a:pt x="13577" y="21193"/>
                </a:cubicBezTo>
                <a:cubicBezTo>
                  <a:pt x="13592" y="21197"/>
                  <a:pt x="13628" y="21198"/>
                  <a:pt x="13646" y="21199"/>
                </a:cubicBezTo>
                <a:cubicBezTo>
                  <a:pt x="13631" y="21177"/>
                  <a:pt x="13675" y="21111"/>
                  <a:pt x="13646" y="21082"/>
                </a:cubicBezTo>
                <a:cubicBezTo>
                  <a:pt x="13672" y="21075"/>
                  <a:pt x="13689" y="21067"/>
                  <a:pt x="13702" y="21060"/>
                </a:cubicBezTo>
                <a:cubicBezTo>
                  <a:pt x="13718" y="21007"/>
                  <a:pt x="13684" y="21008"/>
                  <a:pt x="13661" y="21016"/>
                </a:cubicBezTo>
                <a:cubicBezTo>
                  <a:pt x="13665" y="21018"/>
                  <a:pt x="13669" y="21020"/>
                  <a:pt x="13675" y="21022"/>
                </a:cubicBezTo>
                <a:cubicBezTo>
                  <a:pt x="13628" y="21038"/>
                  <a:pt x="13640" y="21023"/>
                  <a:pt x="13661" y="21016"/>
                </a:cubicBezTo>
                <a:cubicBezTo>
                  <a:pt x="13624" y="20995"/>
                  <a:pt x="13697" y="20982"/>
                  <a:pt x="13751" y="20965"/>
                </a:cubicBezTo>
                <a:cubicBezTo>
                  <a:pt x="13742" y="20958"/>
                  <a:pt x="13730" y="20942"/>
                  <a:pt x="13718" y="20909"/>
                </a:cubicBezTo>
                <a:cubicBezTo>
                  <a:pt x="13725" y="20949"/>
                  <a:pt x="13772" y="20891"/>
                  <a:pt x="13786" y="20865"/>
                </a:cubicBezTo>
                <a:cubicBezTo>
                  <a:pt x="13787" y="20861"/>
                  <a:pt x="13787" y="20858"/>
                  <a:pt x="13788" y="20853"/>
                </a:cubicBezTo>
                <a:cubicBezTo>
                  <a:pt x="13793" y="20850"/>
                  <a:pt x="13791" y="20856"/>
                  <a:pt x="13786" y="20865"/>
                </a:cubicBezTo>
                <a:cubicBezTo>
                  <a:pt x="13773" y="20960"/>
                  <a:pt x="13817" y="20905"/>
                  <a:pt x="13802" y="20872"/>
                </a:cubicBezTo>
                <a:cubicBezTo>
                  <a:pt x="13795" y="20815"/>
                  <a:pt x="13861" y="20889"/>
                  <a:pt x="13894" y="20892"/>
                </a:cubicBezTo>
                <a:cubicBezTo>
                  <a:pt x="13897" y="20891"/>
                  <a:pt x="13900" y="20890"/>
                  <a:pt x="13905" y="20887"/>
                </a:cubicBezTo>
                <a:cubicBezTo>
                  <a:pt x="13902" y="20891"/>
                  <a:pt x="13899" y="20892"/>
                  <a:pt x="13894" y="20892"/>
                </a:cubicBezTo>
                <a:cubicBezTo>
                  <a:pt x="13839" y="20911"/>
                  <a:pt x="13983" y="20883"/>
                  <a:pt x="13985" y="20805"/>
                </a:cubicBezTo>
                <a:cubicBezTo>
                  <a:pt x="13973" y="20810"/>
                  <a:pt x="13968" y="20811"/>
                  <a:pt x="13986" y="20802"/>
                </a:cubicBezTo>
                <a:cubicBezTo>
                  <a:pt x="13986" y="20803"/>
                  <a:pt x="13985" y="20804"/>
                  <a:pt x="13985" y="20805"/>
                </a:cubicBezTo>
                <a:cubicBezTo>
                  <a:pt x="14005" y="20799"/>
                  <a:pt x="14045" y="20785"/>
                  <a:pt x="14034" y="20803"/>
                </a:cubicBezTo>
                <a:cubicBezTo>
                  <a:pt x="14061" y="20860"/>
                  <a:pt x="14091" y="20793"/>
                  <a:pt x="14077" y="20870"/>
                </a:cubicBezTo>
                <a:cubicBezTo>
                  <a:pt x="14174" y="20805"/>
                  <a:pt x="14152" y="20857"/>
                  <a:pt x="14173" y="20834"/>
                </a:cubicBezTo>
                <a:cubicBezTo>
                  <a:pt x="14239" y="20916"/>
                  <a:pt x="14278" y="20921"/>
                  <a:pt x="14282" y="20915"/>
                </a:cubicBezTo>
                <a:cubicBezTo>
                  <a:pt x="14275" y="20909"/>
                  <a:pt x="14268" y="20906"/>
                  <a:pt x="14264" y="20904"/>
                </a:cubicBezTo>
                <a:cubicBezTo>
                  <a:pt x="14262" y="20904"/>
                  <a:pt x="14261" y="20903"/>
                  <a:pt x="14258" y="20902"/>
                </a:cubicBezTo>
                <a:cubicBezTo>
                  <a:pt x="14257" y="20900"/>
                  <a:pt x="14260" y="20901"/>
                  <a:pt x="14264" y="20904"/>
                </a:cubicBezTo>
                <a:cubicBezTo>
                  <a:pt x="14278" y="20906"/>
                  <a:pt x="14284" y="20911"/>
                  <a:pt x="14282" y="20915"/>
                </a:cubicBezTo>
                <a:cubicBezTo>
                  <a:pt x="14288" y="20918"/>
                  <a:pt x="14294" y="20923"/>
                  <a:pt x="14300" y="20927"/>
                </a:cubicBezTo>
                <a:cubicBezTo>
                  <a:pt x="14302" y="20920"/>
                  <a:pt x="14304" y="20911"/>
                  <a:pt x="14309" y="20903"/>
                </a:cubicBezTo>
                <a:cubicBezTo>
                  <a:pt x="14305" y="20901"/>
                  <a:pt x="14304" y="20900"/>
                  <a:pt x="14311" y="20898"/>
                </a:cubicBezTo>
                <a:cubicBezTo>
                  <a:pt x="14310" y="20899"/>
                  <a:pt x="14310" y="20901"/>
                  <a:pt x="14309" y="20903"/>
                </a:cubicBezTo>
                <a:cubicBezTo>
                  <a:pt x="14326" y="20909"/>
                  <a:pt x="14415" y="20916"/>
                  <a:pt x="14395" y="20957"/>
                </a:cubicBezTo>
                <a:cubicBezTo>
                  <a:pt x="14408" y="20959"/>
                  <a:pt x="14428" y="20979"/>
                  <a:pt x="14420" y="21002"/>
                </a:cubicBezTo>
                <a:cubicBezTo>
                  <a:pt x="14446" y="20965"/>
                  <a:pt x="14493" y="20943"/>
                  <a:pt x="14536" y="20969"/>
                </a:cubicBezTo>
                <a:cubicBezTo>
                  <a:pt x="14649" y="20940"/>
                  <a:pt x="14571" y="21075"/>
                  <a:pt x="14645" y="21049"/>
                </a:cubicBezTo>
                <a:cubicBezTo>
                  <a:pt x="14647" y="21006"/>
                  <a:pt x="14676" y="21016"/>
                  <a:pt x="14720" y="21006"/>
                </a:cubicBezTo>
                <a:cubicBezTo>
                  <a:pt x="14742" y="21043"/>
                  <a:pt x="14728" y="20967"/>
                  <a:pt x="14752" y="21072"/>
                </a:cubicBezTo>
                <a:cubicBezTo>
                  <a:pt x="14881" y="21136"/>
                  <a:pt x="14845" y="21018"/>
                  <a:pt x="14864" y="21157"/>
                </a:cubicBezTo>
                <a:cubicBezTo>
                  <a:pt x="14866" y="21139"/>
                  <a:pt x="14847" y="21104"/>
                  <a:pt x="14910" y="21124"/>
                </a:cubicBezTo>
                <a:cubicBezTo>
                  <a:pt x="14886" y="21238"/>
                  <a:pt x="15033" y="21137"/>
                  <a:pt x="14969" y="21198"/>
                </a:cubicBezTo>
                <a:cubicBezTo>
                  <a:pt x="14999" y="21201"/>
                  <a:pt x="15072" y="21225"/>
                  <a:pt x="15067" y="21276"/>
                </a:cubicBezTo>
                <a:cubicBezTo>
                  <a:pt x="15079" y="21437"/>
                  <a:pt x="15104" y="21193"/>
                  <a:pt x="15170" y="21353"/>
                </a:cubicBezTo>
                <a:cubicBezTo>
                  <a:pt x="15185" y="21360"/>
                  <a:pt x="15218" y="21343"/>
                  <a:pt x="15243" y="21325"/>
                </a:cubicBezTo>
                <a:cubicBezTo>
                  <a:pt x="15242" y="21318"/>
                  <a:pt x="15241" y="21308"/>
                  <a:pt x="15244" y="21295"/>
                </a:cubicBezTo>
                <a:cubicBezTo>
                  <a:pt x="15294" y="21276"/>
                  <a:pt x="15275" y="21302"/>
                  <a:pt x="15243" y="21325"/>
                </a:cubicBezTo>
                <a:cubicBezTo>
                  <a:pt x="15250" y="21366"/>
                  <a:pt x="15305" y="21318"/>
                  <a:pt x="15262" y="21194"/>
                </a:cubicBezTo>
                <a:cubicBezTo>
                  <a:pt x="15173" y="21137"/>
                  <a:pt x="15274" y="21218"/>
                  <a:pt x="15260" y="21089"/>
                </a:cubicBezTo>
                <a:cubicBezTo>
                  <a:pt x="15312" y="21129"/>
                  <a:pt x="15264" y="21173"/>
                  <a:pt x="15314" y="21022"/>
                </a:cubicBezTo>
                <a:cubicBezTo>
                  <a:pt x="15249" y="20909"/>
                  <a:pt x="15358" y="21066"/>
                  <a:pt x="15357" y="20925"/>
                </a:cubicBezTo>
                <a:cubicBezTo>
                  <a:pt x="15353" y="20985"/>
                  <a:pt x="15354" y="20915"/>
                  <a:pt x="15428" y="20883"/>
                </a:cubicBezTo>
                <a:cubicBezTo>
                  <a:pt x="15493" y="20832"/>
                  <a:pt x="15550" y="20995"/>
                  <a:pt x="15545" y="20865"/>
                </a:cubicBezTo>
                <a:cubicBezTo>
                  <a:pt x="15576" y="20761"/>
                  <a:pt x="15599" y="20886"/>
                  <a:pt x="15649" y="20880"/>
                </a:cubicBezTo>
                <a:cubicBezTo>
                  <a:pt x="15777" y="21016"/>
                  <a:pt x="15655" y="20860"/>
                  <a:pt x="15758" y="20936"/>
                </a:cubicBezTo>
                <a:cubicBezTo>
                  <a:pt x="15830" y="21089"/>
                  <a:pt x="15791" y="20928"/>
                  <a:pt x="15852" y="20989"/>
                </a:cubicBezTo>
                <a:cubicBezTo>
                  <a:pt x="15904" y="21023"/>
                  <a:pt x="15866" y="20999"/>
                  <a:pt x="15933" y="21014"/>
                </a:cubicBezTo>
                <a:cubicBezTo>
                  <a:pt x="15955" y="21014"/>
                  <a:pt x="15931" y="21065"/>
                  <a:pt x="16009" y="21074"/>
                </a:cubicBezTo>
                <a:cubicBezTo>
                  <a:pt x="16106" y="21056"/>
                  <a:pt x="16135" y="21078"/>
                  <a:pt x="16125" y="21077"/>
                </a:cubicBezTo>
                <a:cubicBezTo>
                  <a:pt x="16097" y="21219"/>
                  <a:pt x="16224" y="20985"/>
                  <a:pt x="16231" y="21088"/>
                </a:cubicBezTo>
                <a:cubicBezTo>
                  <a:pt x="16316" y="21231"/>
                  <a:pt x="16308" y="21023"/>
                  <a:pt x="16324" y="21078"/>
                </a:cubicBezTo>
                <a:cubicBezTo>
                  <a:pt x="16329" y="21068"/>
                  <a:pt x="16353" y="21026"/>
                  <a:pt x="16405" y="21066"/>
                </a:cubicBezTo>
                <a:cubicBezTo>
                  <a:pt x="16416" y="21105"/>
                  <a:pt x="16465" y="21120"/>
                  <a:pt x="16460" y="21104"/>
                </a:cubicBezTo>
                <a:cubicBezTo>
                  <a:pt x="16449" y="21095"/>
                  <a:pt x="16430" y="21028"/>
                  <a:pt x="16485" y="20995"/>
                </a:cubicBezTo>
                <a:cubicBezTo>
                  <a:pt x="16514" y="20991"/>
                  <a:pt x="16477" y="21111"/>
                  <a:pt x="16535" y="20984"/>
                </a:cubicBezTo>
                <a:cubicBezTo>
                  <a:pt x="16480" y="20993"/>
                  <a:pt x="16505" y="20897"/>
                  <a:pt x="16558" y="20902"/>
                </a:cubicBezTo>
                <a:cubicBezTo>
                  <a:pt x="16557" y="20898"/>
                  <a:pt x="16581" y="20836"/>
                  <a:pt x="16647" y="20830"/>
                </a:cubicBezTo>
                <a:cubicBezTo>
                  <a:pt x="16696" y="20785"/>
                  <a:pt x="16730" y="20704"/>
                  <a:pt x="16732" y="20718"/>
                </a:cubicBezTo>
                <a:cubicBezTo>
                  <a:pt x="16717" y="20643"/>
                  <a:pt x="16761" y="20644"/>
                  <a:pt x="16787" y="20647"/>
                </a:cubicBezTo>
                <a:cubicBezTo>
                  <a:pt x="16789" y="20609"/>
                  <a:pt x="16810" y="20591"/>
                  <a:pt x="16828" y="20586"/>
                </a:cubicBezTo>
                <a:cubicBezTo>
                  <a:pt x="16818" y="20559"/>
                  <a:pt x="16818" y="20548"/>
                  <a:pt x="16847" y="20585"/>
                </a:cubicBezTo>
                <a:cubicBezTo>
                  <a:pt x="16842" y="20583"/>
                  <a:pt x="16836" y="20584"/>
                  <a:pt x="16828" y="20586"/>
                </a:cubicBezTo>
                <a:cubicBezTo>
                  <a:pt x="16845" y="20631"/>
                  <a:pt x="16892" y="20721"/>
                  <a:pt x="16891" y="20704"/>
                </a:cubicBezTo>
                <a:cubicBezTo>
                  <a:pt x="16953" y="20673"/>
                  <a:pt x="16986" y="20670"/>
                  <a:pt x="16972" y="20723"/>
                </a:cubicBezTo>
                <a:cubicBezTo>
                  <a:pt x="16989" y="20719"/>
                  <a:pt x="17013" y="20715"/>
                  <a:pt x="17035" y="20711"/>
                </a:cubicBezTo>
                <a:cubicBezTo>
                  <a:pt x="17054" y="20723"/>
                  <a:pt x="17067" y="20726"/>
                  <a:pt x="17077" y="20726"/>
                </a:cubicBezTo>
                <a:cubicBezTo>
                  <a:pt x="17056" y="20686"/>
                  <a:pt x="17119" y="20583"/>
                  <a:pt x="17153" y="20639"/>
                </a:cubicBezTo>
                <a:cubicBezTo>
                  <a:pt x="17224" y="20657"/>
                  <a:pt x="17123" y="20549"/>
                  <a:pt x="17238" y="20643"/>
                </a:cubicBezTo>
                <a:cubicBezTo>
                  <a:pt x="17214" y="20761"/>
                  <a:pt x="17212" y="20646"/>
                  <a:pt x="17316" y="20711"/>
                </a:cubicBezTo>
                <a:cubicBezTo>
                  <a:pt x="17318" y="20697"/>
                  <a:pt x="17389" y="20895"/>
                  <a:pt x="17379" y="20810"/>
                </a:cubicBezTo>
                <a:cubicBezTo>
                  <a:pt x="17449" y="20847"/>
                  <a:pt x="17360" y="20862"/>
                  <a:pt x="17436" y="20920"/>
                </a:cubicBezTo>
                <a:cubicBezTo>
                  <a:pt x="17384" y="20950"/>
                  <a:pt x="17534" y="20926"/>
                  <a:pt x="17495" y="20949"/>
                </a:cubicBezTo>
                <a:cubicBezTo>
                  <a:pt x="17550" y="21005"/>
                  <a:pt x="17557" y="21025"/>
                  <a:pt x="17492" y="21042"/>
                </a:cubicBezTo>
                <a:cubicBezTo>
                  <a:pt x="17531" y="21102"/>
                  <a:pt x="17530" y="21141"/>
                  <a:pt x="17525" y="21157"/>
                </a:cubicBezTo>
                <a:cubicBezTo>
                  <a:pt x="17590" y="21188"/>
                  <a:pt x="17581" y="21107"/>
                  <a:pt x="17605" y="21051"/>
                </a:cubicBezTo>
                <a:cubicBezTo>
                  <a:pt x="17691" y="21128"/>
                  <a:pt x="17614" y="20875"/>
                  <a:pt x="17680" y="20929"/>
                </a:cubicBezTo>
                <a:cubicBezTo>
                  <a:pt x="17753" y="20891"/>
                  <a:pt x="17713" y="21082"/>
                  <a:pt x="17711" y="21071"/>
                </a:cubicBezTo>
                <a:cubicBezTo>
                  <a:pt x="17787" y="21175"/>
                  <a:pt x="17765" y="21013"/>
                  <a:pt x="17767" y="21182"/>
                </a:cubicBezTo>
                <a:cubicBezTo>
                  <a:pt x="17707" y="21168"/>
                  <a:pt x="17817" y="21230"/>
                  <a:pt x="17836" y="21308"/>
                </a:cubicBezTo>
                <a:cubicBezTo>
                  <a:pt x="17949" y="21324"/>
                  <a:pt x="17784" y="21448"/>
                  <a:pt x="17885" y="21394"/>
                </a:cubicBezTo>
                <a:cubicBezTo>
                  <a:pt x="17849" y="21323"/>
                  <a:pt x="17953" y="21397"/>
                  <a:pt x="17923" y="21265"/>
                </a:cubicBezTo>
                <a:cubicBezTo>
                  <a:pt x="18004" y="21276"/>
                  <a:pt x="18009" y="21231"/>
                  <a:pt x="17982" y="21171"/>
                </a:cubicBezTo>
                <a:cubicBezTo>
                  <a:pt x="18005" y="21118"/>
                  <a:pt x="18019" y="21093"/>
                  <a:pt x="18027" y="21081"/>
                </a:cubicBezTo>
                <a:cubicBezTo>
                  <a:pt x="18024" y="21081"/>
                  <a:pt x="18021" y="21081"/>
                  <a:pt x="18019" y="21078"/>
                </a:cubicBezTo>
                <a:cubicBezTo>
                  <a:pt x="17983" y="21020"/>
                  <a:pt x="18012" y="21022"/>
                  <a:pt x="17983" y="21000"/>
                </a:cubicBezTo>
                <a:cubicBezTo>
                  <a:pt x="17954" y="20966"/>
                  <a:pt x="18059" y="20981"/>
                  <a:pt x="18016" y="20922"/>
                </a:cubicBezTo>
                <a:cubicBezTo>
                  <a:pt x="18001" y="20847"/>
                  <a:pt x="18026" y="20908"/>
                  <a:pt x="18028" y="20914"/>
                </a:cubicBezTo>
                <a:cubicBezTo>
                  <a:pt x="18016" y="20965"/>
                  <a:pt x="18078" y="20975"/>
                  <a:pt x="18112" y="20978"/>
                </a:cubicBezTo>
                <a:cubicBezTo>
                  <a:pt x="18174" y="21035"/>
                  <a:pt x="18099" y="21092"/>
                  <a:pt x="18209" y="21049"/>
                </a:cubicBezTo>
                <a:cubicBezTo>
                  <a:pt x="18257" y="21002"/>
                  <a:pt x="18281" y="20985"/>
                  <a:pt x="18210" y="20965"/>
                </a:cubicBezTo>
                <a:cubicBezTo>
                  <a:pt x="18162" y="20956"/>
                  <a:pt x="18148" y="20841"/>
                  <a:pt x="18211" y="20849"/>
                </a:cubicBezTo>
                <a:cubicBezTo>
                  <a:pt x="18180" y="20845"/>
                  <a:pt x="18210" y="20716"/>
                  <a:pt x="18222" y="20732"/>
                </a:cubicBezTo>
                <a:cubicBezTo>
                  <a:pt x="18215" y="20671"/>
                  <a:pt x="18250" y="20725"/>
                  <a:pt x="18263" y="20628"/>
                </a:cubicBezTo>
                <a:cubicBezTo>
                  <a:pt x="18282" y="20622"/>
                  <a:pt x="18375" y="20597"/>
                  <a:pt x="18318" y="20554"/>
                </a:cubicBezTo>
                <a:cubicBezTo>
                  <a:pt x="18354" y="20554"/>
                  <a:pt x="18361" y="20520"/>
                  <a:pt x="18401" y="20528"/>
                </a:cubicBezTo>
                <a:cubicBezTo>
                  <a:pt x="18417" y="20511"/>
                  <a:pt x="18462" y="20546"/>
                  <a:pt x="18456" y="20545"/>
                </a:cubicBezTo>
                <a:cubicBezTo>
                  <a:pt x="18475" y="20627"/>
                  <a:pt x="18500" y="20670"/>
                  <a:pt x="18533" y="20642"/>
                </a:cubicBezTo>
                <a:cubicBezTo>
                  <a:pt x="18576" y="20706"/>
                  <a:pt x="18557" y="20670"/>
                  <a:pt x="18603" y="20756"/>
                </a:cubicBezTo>
                <a:cubicBezTo>
                  <a:pt x="18635" y="20827"/>
                  <a:pt x="18630" y="20754"/>
                  <a:pt x="18661" y="20872"/>
                </a:cubicBezTo>
                <a:cubicBezTo>
                  <a:pt x="18675" y="20906"/>
                  <a:pt x="18700" y="21007"/>
                  <a:pt x="18720" y="20957"/>
                </a:cubicBezTo>
                <a:cubicBezTo>
                  <a:pt x="18748" y="20986"/>
                  <a:pt x="18762" y="21013"/>
                  <a:pt x="18768" y="21034"/>
                </a:cubicBezTo>
                <a:cubicBezTo>
                  <a:pt x="18787" y="20936"/>
                  <a:pt x="18778" y="20982"/>
                  <a:pt x="18825" y="20999"/>
                </a:cubicBezTo>
                <a:cubicBezTo>
                  <a:pt x="18898" y="21048"/>
                  <a:pt x="18880" y="20932"/>
                  <a:pt x="18795" y="20867"/>
                </a:cubicBezTo>
                <a:cubicBezTo>
                  <a:pt x="18748" y="20901"/>
                  <a:pt x="18754" y="20753"/>
                  <a:pt x="18781" y="20763"/>
                </a:cubicBezTo>
                <a:cubicBezTo>
                  <a:pt x="18668" y="20723"/>
                  <a:pt x="18698" y="20691"/>
                  <a:pt x="18808" y="20654"/>
                </a:cubicBezTo>
                <a:cubicBezTo>
                  <a:pt x="18718" y="20571"/>
                  <a:pt x="18753" y="20529"/>
                  <a:pt x="18770" y="20564"/>
                </a:cubicBezTo>
                <a:cubicBezTo>
                  <a:pt x="18754" y="20558"/>
                  <a:pt x="18783" y="20515"/>
                  <a:pt x="18840" y="20445"/>
                </a:cubicBezTo>
                <a:cubicBezTo>
                  <a:pt x="18856" y="20492"/>
                  <a:pt x="18951" y="20451"/>
                  <a:pt x="18929" y="20490"/>
                </a:cubicBezTo>
                <a:cubicBezTo>
                  <a:pt x="19023" y="20442"/>
                  <a:pt x="19015" y="20556"/>
                  <a:pt x="19027" y="20601"/>
                </a:cubicBezTo>
                <a:cubicBezTo>
                  <a:pt x="19024" y="20674"/>
                  <a:pt x="19093" y="20668"/>
                  <a:pt x="19105" y="20714"/>
                </a:cubicBezTo>
                <a:cubicBezTo>
                  <a:pt x="19157" y="20807"/>
                  <a:pt x="19117" y="20828"/>
                  <a:pt x="19185" y="20846"/>
                </a:cubicBezTo>
                <a:cubicBezTo>
                  <a:pt x="19186" y="20877"/>
                  <a:pt x="19245" y="20875"/>
                  <a:pt x="19231" y="20887"/>
                </a:cubicBezTo>
                <a:cubicBezTo>
                  <a:pt x="19267" y="20949"/>
                  <a:pt x="19249" y="20887"/>
                  <a:pt x="19261" y="20994"/>
                </a:cubicBezTo>
                <a:cubicBezTo>
                  <a:pt x="19290" y="21092"/>
                  <a:pt x="19404" y="21091"/>
                  <a:pt x="19315" y="21128"/>
                </a:cubicBezTo>
                <a:cubicBezTo>
                  <a:pt x="19358" y="21225"/>
                  <a:pt x="19279" y="21120"/>
                  <a:pt x="19387" y="21256"/>
                </a:cubicBezTo>
                <a:cubicBezTo>
                  <a:pt x="19380" y="21346"/>
                  <a:pt x="19335" y="21425"/>
                  <a:pt x="19417" y="21391"/>
                </a:cubicBezTo>
                <a:cubicBezTo>
                  <a:pt x="19489" y="21421"/>
                  <a:pt x="19480" y="21333"/>
                  <a:pt x="19537" y="21305"/>
                </a:cubicBezTo>
                <a:cubicBezTo>
                  <a:pt x="19585" y="21280"/>
                  <a:pt x="19613" y="21210"/>
                  <a:pt x="19609" y="21249"/>
                </a:cubicBezTo>
                <a:cubicBezTo>
                  <a:pt x="19645" y="21198"/>
                  <a:pt x="19708" y="21147"/>
                  <a:pt x="19718" y="21153"/>
                </a:cubicBezTo>
                <a:cubicBezTo>
                  <a:pt x="19729" y="21107"/>
                  <a:pt x="19737" y="21027"/>
                  <a:pt x="19790" y="21078"/>
                </a:cubicBezTo>
                <a:cubicBezTo>
                  <a:pt x="19866" y="21055"/>
                  <a:pt x="19815" y="20997"/>
                  <a:pt x="19844" y="20981"/>
                </a:cubicBezTo>
                <a:cubicBezTo>
                  <a:pt x="19901" y="20984"/>
                  <a:pt x="19864" y="20972"/>
                  <a:pt x="19901" y="20932"/>
                </a:cubicBezTo>
                <a:cubicBezTo>
                  <a:pt x="20007" y="20901"/>
                  <a:pt x="20020" y="20929"/>
                  <a:pt x="19969" y="20899"/>
                </a:cubicBezTo>
                <a:cubicBezTo>
                  <a:pt x="20006" y="20842"/>
                  <a:pt x="20008" y="20797"/>
                  <a:pt x="20074" y="20838"/>
                </a:cubicBezTo>
                <a:cubicBezTo>
                  <a:pt x="20104" y="20869"/>
                  <a:pt x="20123" y="20869"/>
                  <a:pt x="20140" y="20854"/>
                </a:cubicBezTo>
                <a:cubicBezTo>
                  <a:pt x="20148" y="20846"/>
                  <a:pt x="20156" y="20835"/>
                  <a:pt x="20163" y="20824"/>
                </a:cubicBezTo>
                <a:cubicBezTo>
                  <a:pt x="20160" y="20816"/>
                  <a:pt x="20158" y="20805"/>
                  <a:pt x="20156" y="20796"/>
                </a:cubicBezTo>
                <a:cubicBezTo>
                  <a:pt x="20164" y="20780"/>
                  <a:pt x="20167" y="20738"/>
                  <a:pt x="20178" y="20719"/>
                </a:cubicBezTo>
                <a:cubicBezTo>
                  <a:pt x="20176" y="20709"/>
                  <a:pt x="20175" y="20700"/>
                  <a:pt x="20173" y="20692"/>
                </a:cubicBezTo>
                <a:cubicBezTo>
                  <a:pt x="20167" y="20696"/>
                  <a:pt x="20161" y="20700"/>
                  <a:pt x="20156" y="20703"/>
                </a:cubicBezTo>
                <a:cubicBezTo>
                  <a:pt x="20153" y="20711"/>
                  <a:pt x="20152" y="20718"/>
                  <a:pt x="20150" y="20729"/>
                </a:cubicBezTo>
                <a:cubicBezTo>
                  <a:pt x="20131" y="20726"/>
                  <a:pt x="20139" y="20716"/>
                  <a:pt x="20156" y="20703"/>
                </a:cubicBezTo>
                <a:cubicBezTo>
                  <a:pt x="20164" y="20661"/>
                  <a:pt x="20169" y="20667"/>
                  <a:pt x="20173" y="20692"/>
                </a:cubicBezTo>
                <a:cubicBezTo>
                  <a:pt x="20188" y="20683"/>
                  <a:pt x="20206" y="20675"/>
                  <a:pt x="20221" y="20667"/>
                </a:cubicBezTo>
                <a:cubicBezTo>
                  <a:pt x="20225" y="20663"/>
                  <a:pt x="20230" y="20659"/>
                  <a:pt x="20236" y="20655"/>
                </a:cubicBezTo>
                <a:cubicBezTo>
                  <a:pt x="20234" y="20651"/>
                  <a:pt x="20239" y="20648"/>
                  <a:pt x="20248" y="20647"/>
                </a:cubicBezTo>
                <a:cubicBezTo>
                  <a:pt x="20253" y="20645"/>
                  <a:pt x="20257" y="20642"/>
                  <a:pt x="20261" y="20641"/>
                </a:cubicBezTo>
                <a:cubicBezTo>
                  <a:pt x="20274" y="20634"/>
                  <a:pt x="20300" y="20620"/>
                  <a:pt x="20321" y="20607"/>
                </a:cubicBezTo>
                <a:cubicBezTo>
                  <a:pt x="20324" y="20603"/>
                  <a:pt x="20328" y="20601"/>
                  <a:pt x="20332" y="20596"/>
                </a:cubicBezTo>
                <a:cubicBezTo>
                  <a:pt x="20351" y="20556"/>
                  <a:pt x="20354" y="20537"/>
                  <a:pt x="20349" y="20515"/>
                </a:cubicBezTo>
                <a:cubicBezTo>
                  <a:pt x="20300" y="20484"/>
                  <a:pt x="20353" y="20507"/>
                  <a:pt x="20336" y="20470"/>
                </a:cubicBezTo>
                <a:cubicBezTo>
                  <a:pt x="20342" y="20489"/>
                  <a:pt x="20347" y="20502"/>
                  <a:pt x="20349" y="20515"/>
                </a:cubicBezTo>
                <a:cubicBezTo>
                  <a:pt x="20358" y="20520"/>
                  <a:pt x="20369" y="20527"/>
                  <a:pt x="20386" y="20537"/>
                </a:cubicBezTo>
                <a:cubicBezTo>
                  <a:pt x="20369" y="20611"/>
                  <a:pt x="20424" y="20593"/>
                  <a:pt x="20438" y="20676"/>
                </a:cubicBezTo>
                <a:cubicBezTo>
                  <a:pt x="20495" y="20756"/>
                  <a:pt x="20344" y="20744"/>
                  <a:pt x="20456" y="20760"/>
                </a:cubicBezTo>
                <a:cubicBezTo>
                  <a:pt x="20491" y="20852"/>
                  <a:pt x="20692" y="20789"/>
                  <a:pt x="20524" y="20854"/>
                </a:cubicBezTo>
                <a:cubicBezTo>
                  <a:pt x="20521" y="20855"/>
                  <a:pt x="20519" y="20857"/>
                  <a:pt x="20517" y="20858"/>
                </a:cubicBezTo>
                <a:cubicBezTo>
                  <a:pt x="20526" y="20863"/>
                  <a:pt x="20533" y="20880"/>
                  <a:pt x="20518" y="20902"/>
                </a:cubicBezTo>
                <a:cubicBezTo>
                  <a:pt x="20528" y="20915"/>
                  <a:pt x="20532" y="20924"/>
                  <a:pt x="20534" y="20933"/>
                </a:cubicBezTo>
                <a:cubicBezTo>
                  <a:pt x="20543" y="20947"/>
                  <a:pt x="20554" y="20961"/>
                  <a:pt x="20569" y="20979"/>
                </a:cubicBezTo>
                <a:cubicBezTo>
                  <a:pt x="20602" y="20984"/>
                  <a:pt x="20620" y="20995"/>
                  <a:pt x="20630" y="21008"/>
                </a:cubicBezTo>
                <a:cubicBezTo>
                  <a:pt x="20632" y="21002"/>
                  <a:pt x="20632" y="20997"/>
                  <a:pt x="20635" y="20989"/>
                </a:cubicBezTo>
                <a:cubicBezTo>
                  <a:pt x="20635" y="20997"/>
                  <a:pt x="20633" y="21003"/>
                  <a:pt x="20632" y="21009"/>
                </a:cubicBezTo>
                <a:cubicBezTo>
                  <a:pt x="20638" y="21017"/>
                  <a:pt x="20642" y="21024"/>
                  <a:pt x="20642" y="21032"/>
                </a:cubicBezTo>
                <a:cubicBezTo>
                  <a:pt x="20648" y="21032"/>
                  <a:pt x="20654" y="21032"/>
                  <a:pt x="20662" y="21032"/>
                </a:cubicBezTo>
                <a:cubicBezTo>
                  <a:pt x="20708" y="20960"/>
                  <a:pt x="20623" y="20928"/>
                  <a:pt x="20696" y="20933"/>
                </a:cubicBezTo>
                <a:cubicBezTo>
                  <a:pt x="20707" y="20883"/>
                  <a:pt x="20625" y="20858"/>
                  <a:pt x="20763" y="20924"/>
                </a:cubicBezTo>
                <a:cubicBezTo>
                  <a:pt x="20758" y="20903"/>
                  <a:pt x="20756" y="20877"/>
                  <a:pt x="20761" y="20841"/>
                </a:cubicBezTo>
                <a:cubicBezTo>
                  <a:pt x="20596" y="20949"/>
                  <a:pt x="20749" y="20751"/>
                  <a:pt x="20758" y="20742"/>
                </a:cubicBezTo>
                <a:cubicBezTo>
                  <a:pt x="20815" y="20642"/>
                  <a:pt x="20883" y="20552"/>
                  <a:pt x="20836" y="20693"/>
                </a:cubicBezTo>
                <a:cubicBezTo>
                  <a:pt x="20780" y="20769"/>
                  <a:pt x="20779" y="20806"/>
                  <a:pt x="20822" y="20777"/>
                </a:cubicBezTo>
                <a:cubicBezTo>
                  <a:pt x="20836" y="20838"/>
                  <a:pt x="20917" y="20835"/>
                  <a:pt x="20898" y="20711"/>
                </a:cubicBezTo>
                <a:cubicBezTo>
                  <a:pt x="20898" y="20710"/>
                  <a:pt x="20897" y="20710"/>
                  <a:pt x="20896" y="20710"/>
                </a:cubicBezTo>
                <a:cubicBezTo>
                  <a:pt x="20863" y="20728"/>
                  <a:pt x="20865" y="20707"/>
                  <a:pt x="20896" y="20710"/>
                </a:cubicBezTo>
                <a:cubicBezTo>
                  <a:pt x="20897" y="20710"/>
                  <a:pt x="20898" y="20710"/>
                  <a:pt x="20898" y="20710"/>
                </a:cubicBezTo>
                <a:cubicBezTo>
                  <a:pt x="20896" y="20693"/>
                  <a:pt x="20891" y="20675"/>
                  <a:pt x="20885" y="20654"/>
                </a:cubicBezTo>
                <a:cubicBezTo>
                  <a:pt x="20888" y="20605"/>
                  <a:pt x="20900" y="20582"/>
                  <a:pt x="20911" y="20566"/>
                </a:cubicBezTo>
                <a:cubicBezTo>
                  <a:pt x="20899" y="20556"/>
                  <a:pt x="20897" y="20543"/>
                  <a:pt x="20903" y="20532"/>
                </a:cubicBezTo>
                <a:cubicBezTo>
                  <a:pt x="20886" y="20488"/>
                  <a:pt x="20866" y="20450"/>
                  <a:pt x="20922" y="20502"/>
                </a:cubicBezTo>
                <a:cubicBezTo>
                  <a:pt x="20924" y="20507"/>
                  <a:pt x="20926" y="20511"/>
                  <a:pt x="20926" y="20516"/>
                </a:cubicBezTo>
                <a:cubicBezTo>
                  <a:pt x="20948" y="20517"/>
                  <a:pt x="20972" y="20552"/>
                  <a:pt x="20945" y="20675"/>
                </a:cubicBezTo>
                <a:cubicBezTo>
                  <a:pt x="20924" y="20694"/>
                  <a:pt x="20910" y="20703"/>
                  <a:pt x="20898" y="20710"/>
                </a:cubicBezTo>
                <a:cubicBezTo>
                  <a:pt x="20898" y="20710"/>
                  <a:pt x="20898" y="20710"/>
                  <a:pt x="20898" y="20711"/>
                </a:cubicBezTo>
                <a:cubicBezTo>
                  <a:pt x="20920" y="20713"/>
                  <a:pt x="20955" y="20728"/>
                  <a:pt x="21002" y="20777"/>
                </a:cubicBezTo>
                <a:cubicBezTo>
                  <a:pt x="20959" y="20810"/>
                  <a:pt x="21094" y="20788"/>
                  <a:pt x="21016" y="20873"/>
                </a:cubicBezTo>
                <a:cubicBezTo>
                  <a:pt x="20969" y="20944"/>
                  <a:pt x="21014" y="20964"/>
                  <a:pt x="21043" y="20966"/>
                </a:cubicBezTo>
                <a:cubicBezTo>
                  <a:pt x="21043" y="20963"/>
                  <a:pt x="21043" y="20960"/>
                  <a:pt x="21042" y="20957"/>
                </a:cubicBezTo>
                <a:cubicBezTo>
                  <a:pt x="21036" y="20957"/>
                  <a:pt x="21028" y="20955"/>
                  <a:pt x="21019" y="20954"/>
                </a:cubicBezTo>
                <a:cubicBezTo>
                  <a:pt x="21035" y="20940"/>
                  <a:pt x="21040" y="20930"/>
                  <a:pt x="21043" y="20927"/>
                </a:cubicBezTo>
                <a:cubicBezTo>
                  <a:pt x="21043" y="20924"/>
                  <a:pt x="21043" y="20924"/>
                  <a:pt x="21043" y="20927"/>
                </a:cubicBezTo>
                <a:cubicBezTo>
                  <a:pt x="21040" y="20931"/>
                  <a:pt x="21040" y="20941"/>
                  <a:pt x="21042" y="20957"/>
                </a:cubicBezTo>
                <a:cubicBezTo>
                  <a:pt x="21074" y="20962"/>
                  <a:pt x="21063" y="20969"/>
                  <a:pt x="21043" y="20966"/>
                </a:cubicBezTo>
                <a:cubicBezTo>
                  <a:pt x="21045" y="20977"/>
                  <a:pt x="21049" y="20988"/>
                  <a:pt x="21054" y="21002"/>
                </a:cubicBezTo>
                <a:cubicBezTo>
                  <a:pt x="20979" y="21051"/>
                  <a:pt x="20945" y="21010"/>
                  <a:pt x="21065" y="21053"/>
                </a:cubicBezTo>
                <a:cubicBezTo>
                  <a:pt x="21040" y="21014"/>
                  <a:pt x="21147" y="21054"/>
                  <a:pt x="21116" y="21073"/>
                </a:cubicBezTo>
                <a:cubicBezTo>
                  <a:pt x="21097" y="21064"/>
                  <a:pt x="21081" y="21059"/>
                  <a:pt x="21065" y="21053"/>
                </a:cubicBezTo>
                <a:cubicBezTo>
                  <a:pt x="21076" y="21068"/>
                  <a:pt x="21105" y="21096"/>
                  <a:pt x="21173" y="21143"/>
                </a:cubicBezTo>
                <a:cubicBezTo>
                  <a:pt x="21191" y="21186"/>
                  <a:pt x="21214" y="21209"/>
                  <a:pt x="21234" y="21181"/>
                </a:cubicBezTo>
                <a:cubicBezTo>
                  <a:pt x="21248" y="21158"/>
                  <a:pt x="21200" y="21167"/>
                  <a:pt x="21254" y="21130"/>
                </a:cubicBezTo>
                <a:cubicBezTo>
                  <a:pt x="21248" y="21155"/>
                  <a:pt x="21242" y="21171"/>
                  <a:pt x="21234" y="21181"/>
                </a:cubicBezTo>
                <a:cubicBezTo>
                  <a:pt x="21230" y="21186"/>
                  <a:pt x="21226" y="21193"/>
                  <a:pt x="21215" y="21202"/>
                </a:cubicBezTo>
                <a:cubicBezTo>
                  <a:pt x="21245" y="21176"/>
                  <a:pt x="21318" y="21285"/>
                  <a:pt x="21308" y="21226"/>
                </a:cubicBezTo>
                <a:cubicBezTo>
                  <a:pt x="21316" y="21210"/>
                  <a:pt x="21328" y="21219"/>
                  <a:pt x="21339" y="21233"/>
                </a:cubicBezTo>
                <a:cubicBezTo>
                  <a:pt x="21332" y="21221"/>
                  <a:pt x="21325" y="21205"/>
                  <a:pt x="21316" y="21183"/>
                </a:cubicBezTo>
                <a:cubicBezTo>
                  <a:pt x="21368" y="21227"/>
                  <a:pt x="21391" y="21226"/>
                  <a:pt x="21401" y="21206"/>
                </a:cubicBezTo>
                <a:cubicBezTo>
                  <a:pt x="21403" y="21200"/>
                  <a:pt x="21405" y="21194"/>
                  <a:pt x="21407" y="21187"/>
                </a:cubicBezTo>
                <a:cubicBezTo>
                  <a:pt x="21413" y="21137"/>
                  <a:pt x="21381" y="21051"/>
                  <a:pt x="21396" y="21133"/>
                </a:cubicBezTo>
                <a:cubicBezTo>
                  <a:pt x="21368" y="21241"/>
                  <a:pt x="21317" y="21060"/>
                  <a:pt x="21440" y="21086"/>
                </a:cubicBezTo>
                <a:cubicBezTo>
                  <a:pt x="21453" y="21030"/>
                  <a:pt x="21450" y="20985"/>
                  <a:pt x="21408" y="20986"/>
                </a:cubicBezTo>
                <a:close/>
                <a:moveTo>
                  <a:pt x="21408" y="20986"/>
                </a:moveTo>
              </a:path>
            </a:pathLst>
          </a:custGeom>
          <a:solidFill>
            <a:schemeClr val="bg1"/>
          </a:solidFill>
          <a:ln w="3175" cmpd="sng">
            <a:solidFill>
              <a:schemeClr val="bg1">
                <a:lumMod val="85000"/>
              </a:schemeClr>
            </a:solidFill>
          </a:ln>
          <a:effectLst>
            <a:outerShdw blurRad="50800" dist="38100" dir="2700000">
              <a:srgbClr val="000000">
                <a:alpha val="43000"/>
              </a:srgbClr>
            </a:outerShdw>
          </a:effectLst>
        </p:spPr>
        <p:txBody>
          <a:bodyPr lIns="182880" tIns="548640" rIns="182880" bIns="91440"/>
          <a:lstStyle/>
          <a:p>
            <a:pPr defTabSz="1018705"/>
            <a:r>
              <a:rPr lang="en-US" sz="1850" b="1" dirty="0">
                <a:latin typeface="Times New Roman" charset="0"/>
                <a:ea typeface="Times New Roman" charset="0"/>
                <a:cs typeface="Times New Roman" charset="0"/>
              </a:rPr>
              <a:t>MEN WALK ON MOON</a:t>
            </a:r>
          </a:p>
          <a:p>
            <a:pPr algn="just" defTabSz="1018705"/>
            <a:r>
              <a:rPr lang="en-US" sz="1400" dirty="0">
                <a:latin typeface="Times New Roman" charset="0"/>
                <a:ea typeface="Times New Roman" charset="0"/>
                <a:cs typeface="Times New Roman" charset="0"/>
              </a:rPr>
              <a:t>Houston, Monday, July 21—Men have landed and walked on the moon. Two Americans, astronauts of Apollo 11, steered their fragile four-legged lunar module safely and</a:t>
            </a:r>
          </a:p>
          <a:p>
            <a:pPr defTabSz="1018705"/>
            <a:endParaRPr lang="en-US" dirty="0">
              <a:latin typeface="Times New Roman" charset="0"/>
              <a:ea typeface="Times New Roman" charset="0"/>
              <a:cs typeface="Times New Roman" charset="0"/>
            </a:endParaRPr>
          </a:p>
        </p:txBody>
      </p:sp>
      <p:pic>
        <p:nvPicPr>
          <p:cNvPr id="6" name="Picture 5">
            <a:extLst>
              <a:ext uri="{FF2B5EF4-FFF2-40B4-BE49-F238E27FC236}">
                <a16:creationId xmlns:a16="http://schemas.microsoft.com/office/drawing/2014/main" id="{C0D91B6D-FBDF-0E48-AB56-D79BB3F18650}"/>
              </a:ext>
            </a:extLst>
          </p:cNvPr>
          <p:cNvPicPr>
            <a:picLocks noChangeAspect="1"/>
          </p:cNvPicPr>
          <p:nvPr/>
        </p:nvPicPr>
        <p:blipFill>
          <a:blip r:embed="rId3"/>
          <a:stretch>
            <a:fillRect/>
          </a:stretch>
        </p:blipFill>
        <p:spPr>
          <a:xfrm>
            <a:off x="6867964" y="4069171"/>
            <a:ext cx="1946446" cy="270340"/>
          </a:xfrm>
          <a:prstGeom prst="rect">
            <a:avLst/>
          </a:prstGeom>
        </p:spPr>
      </p:pic>
      <p:sp>
        <p:nvSpPr>
          <p:cNvPr id="15" name="AutoShape 2">
            <a:extLst>
              <a:ext uri="{FF2B5EF4-FFF2-40B4-BE49-F238E27FC236}">
                <a16:creationId xmlns:a16="http://schemas.microsoft.com/office/drawing/2014/main" id="{98766D1C-8738-E846-A6EF-8D9EFC54C809}"/>
              </a:ext>
            </a:extLst>
          </p:cNvPr>
          <p:cNvSpPr>
            <a:spLocks/>
          </p:cNvSpPr>
          <p:nvPr/>
        </p:nvSpPr>
        <p:spPr bwMode="auto">
          <a:xfrm>
            <a:off x="3322135" y="3932255"/>
            <a:ext cx="2725738" cy="2103435"/>
          </a:xfrm>
          <a:custGeom>
            <a:avLst/>
            <a:gdLst/>
            <a:ahLst/>
            <a:cxnLst/>
            <a:rect l="0" t="0" r="r" b="b"/>
            <a:pathLst>
              <a:path w="21600" h="21281">
                <a:moveTo>
                  <a:pt x="6628" y="20757"/>
                </a:moveTo>
                <a:cubicBezTo>
                  <a:pt x="6723" y="20578"/>
                  <a:pt x="6820" y="20428"/>
                  <a:pt x="6917" y="20276"/>
                </a:cubicBezTo>
                <a:cubicBezTo>
                  <a:pt x="6977" y="20265"/>
                  <a:pt x="7037" y="19844"/>
                  <a:pt x="7097" y="19969"/>
                </a:cubicBezTo>
                <a:cubicBezTo>
                  <a:pt x="7157" y="19635"/>
                  <a:pt x="7218" y="19987"/>
                  <a:pt x="7279" y="19684"/>
                </a:cubicBezTo>
                <a:cubicBezTo>
                  <a:pt x="7341" y="19273"/>
                  <a:pt x="7402" y="19038"/>
                  <a:pt x="7465" y="19445"/>
                </a:cubicBezTo>
                <a:cubicBezTo>
                  <a:pt x="7527" y="19165"/>
                  <a:pt x="7591" y="20782"/>
                  <a:pt x="7654" y="19279"/>
                </a:cubicBezTo>
                <a:cubicBezTo>
                  <a:pt x="7718" y="18778"/>
                  <a:pt x="7783" y="18531"/>
                  <a:pt x="7848" y="19170"/>
                </a:cubicBezTo>
                <a:cubicBezTo>
                  <a:pt x="7914" y="19456"/>
                  <a:pt x="7980" y="19259"/>
                  <a:pt x="8047" y="19260"/>
                </a:cubicBezTo>
                <a:cubicBezTo>
                  <a:pt x="8090" y="18503"/>
                  <a:pt x="8127" y="19730"/>
                  <a:pt x="8159" y="19187"/>
                </a:cubicBezTo>
                <a:cubicBezTo>
                  <a:pt x="8192" y="19132"/>
                  <a:pt x="8219" y="20019"/>
                  <a:pt x="8242" y="19547"/>
                </a:cubicBezTo>
                <a:cubicBezTo>
                  <a:pt x="8289" y="19519"/>
                  <a:pt x="8321" y="20491"/>
                  <a:pt x="8346" y="19924"/>
                </a:cubicBezTo>
                <a:cubicBezTo>
                  <a:pt x="8399" y="20434"/>
                  <a:pt x="8417" y="20137"/>
                  <a:pt x="8520" y="20223"/>
                </a:cubicBezTo>
                <a:cubicBezTo>
                  <a:pt x="8559" y="19842"/>
                  <a:pt x="8600" y="20181"/>
                  <a:pt x="8641" y="20071"/>
                </a:cubicBezTo>
                <a:cubicBezTo>
                  <a:pt x="8662" y="19389"/>
                  <a:pt x="8683" y="19914"/>
                  <a:pt x="8704" y="19799"/>
                </a:cubicBezTo>
                <a:cubicBezTo>
                  <a:pt x="8725" y="19960"/>
                  <a:pt x="8747" y="20008"/>
                  <a:pt x="8769" y="19749"/>
                </a:cubicBezTo>
                <a:cubicBezTo>
                  <a:pt x="8817" y="19506"/>
                  <a:pt x="8867" y="18733"/>
                  <a:pt x="8921" y="19369"/>
                </a:cubicBezTo>
                <a:cubicBezTo>
                  <a:pt x="8948" y="19490"/>
                  <a:pt x="8977" y="19657"/>
                  <a:pt x="9006" y="19570"/>
                </a:cubicBezTo>
                <a:cubicBezTo>
                  <a:pt x="9036" y="19784"/>
                  <a:pt x="9067" y="19427"/>
                  <a:pt x="9101" y="19110"/>
                </a:cubicBezTo>
                <a:cubicBezTo>
                  <a:pt x="9101" y="19620"/>
                  <a:pt x="9154" y="19789"/>
                  <a:pt x="9207" y="19289"/>
                </a:cubicBezTo>
                <a:cubicBezTo>
                  <a:pt x="9246" y="19183"/>
                  <a:pt x="9285" y="19021"/>
                  <a:pt x="9302" y="18964"/>
                </a:cubicBezTo>
                <a:cubicBezTo>
                  <a:pt x="9308" y="18744"/>
                  <a:pt x="9312" y="18694"/>
                  <a:pt x="9312" y="18950"/>
                </a:cubicBezTo>
                <a:cubicBezTo>
                  <a:pt x="9312" y="18938"/>
                  <a:pt x="9308" y="18945"/>
                  <a:pt x="9302" y="18964"/>
                </a:cubicBezTo>
                <a:cubicBezTo>
                  <a:pt x="9301" y="19029"/>
                  <a:pt x="9299" y="19105"/>
                  <a:pt x="9298" y="19197"/>
                </a:cubicBezTo>
                <a:cubicBezTo>
                  <a:pt x="9294" y="19191"/>
                  <a:pt x="9291" y="19395"/>
                  <a:pt x="9287" y="19543"/>
                </a:cubicBezTo>
                <a:cubicBezTo>
                  <a:pt x="9288" y="19653"/>
                  <a:pt x="9288" y="19788"/>
                  <a:pt x="9289" y="19962"/>
                </a:cubicBezTo>
                <a:cubicBezTo>
                  <a:pt x="9345" y="19463"/>
                  <a:pt x="9403" y="19366"/>
                  <a:pt x="9461" y="19236"/>
                </a:cubicBezTo>
                <a:cubicBezTo>
                  <a:pt x="9518" y="19105"/>
                  <a:pt x="9577" y="19099"/>
                  <a:pt x="9636" y="19260"/>
                </a:cubicBezTo>
                <a:cubicBezTo>
                  <a:pt x="9754" y="19295"/>
                  <a:pt x="9875" y="19160"/>
                  <a:pt x="9999" y="18682"/>
                </a:cubicBezTo>
                <a:cubicBezTo>
                  <a:pt x="10123" y="18068"/>
                  <a:pt x="10249" y="18456"/>
                  <a:pt x="10379" y="18227"/>
                </a:cubicBezTo>
                <a:cubicBezTo>
                  <a:pt x="10509" y="17838"/>
                  <a:pt x="10642" y="17255"/>
                  <a:pt x="10778" y="17895"/>
                </a:cubicBezTo>
                <a:cubicBezTo>
                  <a:pt x="10913" y="17680"/>
                  <a:pt x="11053" y="17883"/>
                  <a:pt x="11196" y="17682"/>
                </a:cubicBezTo>
                <a:cubicBezTo>
                  <a:pt x="11196" y="17573"/>
                  <a:pt x="11228" y="17156"/>
                  <a:pt x="11228" y="17669"/>
                </a:cubicBezTo>
                <a:cubicBezTo>
                  <a:pt x="11285" y="17484"/>
                  <a:pt x="11342" y="17084"/>
                  <a:pt x="11398" y="17650"/>
                </a:cubicBezTo>
                <a:cubicBezTo>
                  <a:pt x="11453" y="17094"/>
                  <a:pt x="11508" y="17312"/>
                  <a:pt x="11562" y="17560"/>
                </a:cubicBezTo>
                <a:cubicBezTo>
                  <a:pt x="11617" y="17588"/>
                  <a:pt x="11670" y="17802"/>
                  <a:pt x="11724" y="17376"/>
                </a:cubicBezTo>
                <a:cubicBezTo>
                  <a:pt x="11777" y="17448"/>
                  <a:pt x="11830" y="17312"/>
                  <a:pt x="11882" y="17521"/>
                </a:cubicBezTo>
                <a:cubicBezTo>
                  <a:pt x="11935" y="17717"/>
                  <a:pt x="11987" y="17258"/>
                  <a:pt x="12040" y="17692"/>
                </a:cubicBezTo>
                <a:cubicBezTo>
                  <a:pt x="12066" y="17203"/>
                  <a:pt x="12092" y="17130"/>
                  <a:pt x="12118" y="17333"/>
                </a:cubicBezTo>
                <a:cubicBezTo>
                  <a:pt x="12144" y="17243"/>
                  <a:pt x="12170" y="17562"/>
                  <a:pt x="12197" y="17616"/>
                </a:cubicBezTo>
                <a:cubicBezTo>
                  <a:pt x="12223" y="18004"/>
                  <a:pt x="12249" y="17515"/>
                  <a:pt x="12275" y="17569"/>
                </a:cubicBezTo>
                <a:cubicBezTo>
                  <a:pt x="12302" y="17596"/>
                  <a:pt x="12328" y="17544"/>
                  <a:pt x="12354" y="18044"/>
                </a:cubicBezTo>
                <a:cubicBezTo>
                  <a:pt x="12381" y="18311"/>
                  <a:pt x="12407" y="18254"/>
                  <a:pt x="12434" y="18076"/>
                </a:cubicBezTo>
                <a:cubicBezTo>
                  <a:pt x="12460" y="17898"/>
                  <a:pt x="12487" y="17685"/>
                  <a:pt x="12514" y="17905"/>
                </a:cubicBezTo>
                <a:cubicBezTo>
                  <a:pt x="12585" y="18350"/>
                  <a:pt x="12615" y="18596"/>
                  <a:pt x="12636" y="18321"/>
                </a:cubicBezTo>
                <a:cubicBezTo>
                  <a:pt x="12650" y="19363"/>
                  <a:pt x="12661" y="19381"/>
                  <a:pt x="12681" y="18906"/>
                </a:cubicBezTo>
                <a:cubicBezTo>
                  <a:pt x="12700" y="18873"/>
                  <a:pt x="12726" y="18637"/>
                  <a:pt x="12768" y="18704"/>
                </a:cubicBezTo>
                <a:cubicBezTo>
                  <a:pt x="12779" y="18231"/>
                  <a:pt x="12805" y="18389"/>
                  <a:pt x="12836" y="18124"/>
                </a:cubicBezTo>
                <a:cubicBezTo>
                  <a:pt x="12866" y="18014"/>
                  <a:pt x="12901" y="17779"/>
                  <a:pt x="12928" y="18617"/>
                </a:cubicBezTo>
                <a:cubicBezTo>
                  <a:pt x="12986" y="18437"/>
                  <a:pt x="13049" y="18211"/>
                  <a:pt x="13110" y="18510"/>
                </a:cubicBezTo>
                <a:cubicBezTo>
                  <a:pt x="13172" y="18754"/>
                  <a:pt x="13233" y="18692"/>
                  <a:pt x="13290" y="18516"/>
                </a:cubicBezTo>
                <a:cubicBezTo>
                  <a:pt x="13290" y="18350"/>
                  <a:pt x="13369" y="18455"/>
                  <a:pt x="13369" y="18564"/>
                </a:cubicBezTo>
                <a:cubicBezTo>
                  <a:pt x="13381" y="19736"/>
                  <a:pt x="13393" y="18789"/>
                  <a:pt x="13405" y="19016"/>
                </a:cubicBezTo>
                <a:cubicBezTo>
                  <a:pt x="13417" y="18763"/>
                  <a:pt x="13430" y="18634"/>
                  <a:pt x="13441" y="18449"/>
                </a:cubicBezTo>
                <a:cubicBezTo>
                  <a:pt x="13492" y="18335"/>
                  <a:pt x="13548" y="18023"/>
                  <a:pt x="13572" y="18217"/>
                </a:cubicBezTo>
                <a:cubicBezTo>
                  <a:pt x="13572" y="17482"/>
                  <a:pt x="13749" y="17770"/>
                  <a:pt x="13749" y="17750"/>
                </a:cubicBezTo>
                <a:cubicBezTo>
                  <a:pt x="13749" y="17708"/>
                  <a:pt x="13812" y="18272"/>
                  <a:pt x="13812" y="18417"/>
                </a:cubicBezTo>
                <a:cubicBezTo>
                  <a:pt x="13824" y="19021"/>
                  <a:pt x="13849" y="18772"/>
                  <a:pt x="13875" y="18883"/>
                </a:cubicBezTo>
                <a:cubicBezTo>
                  <a:pt x="13893" y="19017"/>
                  <a:pt x="13912" y="18969"/>
                  <a:pt x="13929" y="19256"/>
                </a:cubicBezTo>
                <a:cubicBezTo>
                  <a:pt x="13968" y="19656"/>
                  <a:pt x="14007" y="20036"/>
                  <a:pt x="14046" y="19144"/>
                </a:cubicBezTo>
                <a:cubicBezTo>
                  <a:pt x="14085" y="19197"/>
                  <a:pt x="14124" y="19447"/>
                  <a:pt x="14162" y="18922"/>
                </a:cubicBezTo>
                <a:cubicBezTo>
                  <a:pt x="14201" y="19363"/>
                  <a:pt x="14240" y="19553"/>
                  <a:pt x="14278" y="19314"/>
                </a:cubicBezTo>
                <a:cubicBezTo>
                  <a:pt x="14316" y="19005"/>
                  <a:pt x="14354" y="18507"/>
                  <a:pt x="14392" y="18604"/>
                </a:cubicBezTo>
                <a:cubicBezTo>
                  <a:pt x="14441" y="18708"/>
                  <a:pt x="14489" y="17940"/>
                  <a:pt x="14537" y="18404"/>
                </a:cubicBezTo>
                <a:cubicBezTo>
                  <a:pt x="14561" y="18443"/>
                  <a:pt x="14584" y="17454"/>
                  <a:pt x="14608" y="18024"/>
                </a:cubicBezTo>
                <a:cubicBezTo>
                  <a:pt x="14631" y="17874"/>
                  <a:pt x="14655" y="17565"/>
                  <a:pt x="14678" y="18207"/>
                </a:cubicBezTo>
                <a:cubicBezTo>
                  <a:pt x="14701" y="17944"/>
                  <a:pt x="14725" y="18489"/>
                  <a:pt x="14748" y="18425"/>
                </a:cubicBezTo>
                <a:cubicBezTo>
                  <a:pt x="14771" y="18790"/>
                  <a:pt x="14795" y="18413"/>
                  <a:pt x="14818" y="18086"/>
                </a:cubicBezTo>
                <a:cubicBezTo>
                  <a:pt x="14864" y="17797"/>
                  <a:pt x="14910" y="17701"/>
                  <a:pt x="14956" y="17803"/>
                </a:cubicBezTo>
                <a:cubicBezTo>
                  <a:pt x="14956" y="17993"/>
                  <a:pt x="14979" y="18091"/>
                  <a:pt x="15002" y="18204"/>
                </a:cubicBezTo>
                <a:cubicBezTo>
                  <a:pt x="15026" y="18249"/>
                  <a:pt x="15048" y="18136"/>
                  <a:pt x="15048" y="17663"/>
                </a:cubicBezTo>
                <a:cubicBezTo>
                  <a:pt x="15104" y="17636"/>
                  <a:pt x="15165" y="17394"/>
                  <a:pt x="15229" y="17358"/>
                </a:cubicBezTo>
                <a:cubicBezTo>
                  <a:pt x="15292" y="17100"/>
                  <a:pt x="15359" y="17519"/>
                  <a:pt x="15428" y="17106"/>
                </a:cubicBezTo>
                <a:cubicBezTo>
                  <a:pt x="15496" y="16938"/>
                  <a:pt x="15567" y="16711"/>
                  <a:pt x="15637" y="16681"/>
                </a:cubicBezTo>
                <a:cubicBezTo>
                  <a:pt x="15708" y="16879"/>
                  <a:pt x="15779" y="16811"/>
                  <a:pt x="15848" y="16637"/>
                </a:cubicBezTo>
                <a:cubicBezTo>
                  <a:pt x="15918" y="16721"/>
                  <a:pt x="15986" y="16396"/>
                  <a:pt x="16052" y="16199"/>
                </a:cubicBezTo>
                <a:cubicBezTo>
                  <a:pt x="16117" y="16002"/>
                  <a:pt x="16180" y="15932"/>
                  <a:pt x="16238" y="16521"/>
                </a:cubicBezTo>
                <a:cubicBezTo>
                  <a:pt x="16238" y="16121"/>
                  <a:pt x="16334" y="16658"/>
                  <a:pt x="16334" y="16561"/>
                </a:cubicBezTo>
                <a:cubicBezTo>
                  <a:pt x="16334" y="16949"/>
                  <a:pt x="16358" y="16673"/>
                  <a:pt x="16358" y="16830"/>
                </a:cubicBezTo>
                <a:cubicBezTo>
                  <a:pt x="16368" y="16725"/>
                  <a:pt x="16373" y="17990"/>
                  <a:pt x="16375" y="17129"/>
                </a:cubicBezTo>
                <a:cubicBezTo>
                  <a:pt x="16457" y="17620"/>
                  <a:pt x="16539" y="17298"/>
                  <a:pt x="16622" y="17193"/>
                </a:cubicBezTo>
                <a:cubicBezTo>
                  <a:pt x="16705" y="16852"/>
                  <a:pt x="16788" y="17913"/>
                  <a:pt x="16874" y="17185"/>
                </a:cubicBezTo>
                <a:cubicBezTo>
                  <a:pt x="16976" y="16069"/>
                  <a:pt x="17080" y="17119"/>
                  <a:pt x="17188" y="17181"/>
                </a:cubicBezTo>
                <a:cubicBezTo>
                  <a:pt x="17296" y="16494"/>
                  <a:pt x="17408" y="15897"/>
                  <a:pt x="17527" y="17289"/>
                </a:cubicBezTo>
                <a:cubicBezTo>
                  <a:pt x="17571" y="18155"/>
                  <a:pt x="17621" y="17335"/>
                  <a:pt x="17673" y="17430"/>
                </a:cubicBezTo>
                <a:cubicBezTo>
                  <a:pt x="17725" y="17845"/>
                  <a:pt x="17780" y="18172"/>
                  <a:pt x="17833" y="17651"/>
                </a:cubicBezTo>
                <a:cubicBezTo>
                  <a:pt x="17897" y="18417"/>
                  <a:pt x="17993" y="18234"/>
                  <a:pt x="18023" y="17894"/>
                </a:cubicBezTo>
                <a:cubicBezTo>
                  <a:pt x="18092" y="17991"/>
                  <a:pt x="18169" y="17181"/>
                  <a:pt x="18258" y="17649"/>
                </a:cubicBezTo>
                <a:cubicBezTo>
                  <a:pt x="18310" y="16599"/>
                  <a:pt x="18364" y="16141"/>
                  <a:pt x="18424" y="17429"/>
                </a:cubicBezTo>
                <a:cubicBezTo>
                  <a:pt x="18484" y="16979"/>
                  <a:pt x="18548" y="17057"/>
                  <a:pt x="18618" y="17312"/>
                </a:cubicBezTo>
                <a:cubicBezTo>
                  <a:pt x="18618" y="16978"/>
                  <a:pt x="18741" y="16949"/>
                  <a:pt x="18777" y="17170"/>
                </a:cubicBezTo>
                <a:cubicBezTo>
                  <a:pt x="18782" y="17088"/>
                  <a:pt x="18787" y="17142"/>
                  <a:pt x="18787" y="17299"/>
                </a:cubicBezTo>
                <a:cubicBezTo>
                  <a:pt x="18787" y="17248"/>
                  <a:pt x="18783" y="17206"/>
                  <a:pt x="18777" y="17170"/>
                </a:cubicBezTo>
                <a:cubicBezTo>
                  <a:pt x="18772" y="17245"/>
                  <a:pt x="18768" y="17437"/>
                  <a:pt x="18768" y="17783"/>
                </a:cubicBezTo>
                <a:cubicBezTo>
                  <a:pt x="18762" y="18637"/>
                  <a:pt x="18768" y="17790"/>
                  <a:pt x="18778" y="18255"/>
                </a:cubicBezTo>
                <a:cubicBezTo>
                  <a:pt x="18789" y="18364"/>
                  <a:pt x="18803" y="19273"/>
                  <a:pt x="18813" y="18197"/>
                </a:cubicBezTo>
                <a:cubicBezTo>
                  <a:pt x="18849" y="19128"/>
                  <a:pt x="18899" y="18936"/>
                  <a:pt x="18958" y="18284"/>
                </a:cubicBezTo>
                <a:cubicBezTo>
                  <a:pt x="19017" y="18498"/>
                  <a:pt x="19085" y="18076"/>
                  <a:pt x="19158" y="18168"/>
                </a:cubicBezTo>
                <a:cubicBezTo>
                  <a:pt x="19231" y="17764"/>
                  <a:pt x="19308" y="18044"/>
                  <a:pt x="19385" y="17851"/>
                </a:cubicBezTo>
                <a:cubicBezTo>
                  <a:pt x="19463" y="17199"/>
                  <a:pt x="19540" y="17520"/>
                  <a:pt x="19613" y="17674"/>
                </a:cubicBezTo>
                <a:cubicBezTo>
                  <a:pt x="19685" y="17883"/>
                  <a:pt x="19754" y="17950"/>
                  <a:pt x="19813" y="17199"/>
                </a:cubicBezTo>
                <a:cubicBezTo>
                  <a:pt x="19872" y="16720"/>
                  <a:pt x="19923" y="17176"/>
                  <a:pt x="19959" y="17030"/>
                </a:cubicBezTo>
                <a:cubicBezTo>
                  <a:pt x="19959" y="17156"/>
                  <a:pt x="20115" y="16781"/>
                  <a:pt x="20115" y="16594"/>
                </a:cubicBezTo>
                <a:cubicBezTo>
                  <a:pt x="20115" y="16650"/>
                  <a:pt x="20136" y="17103"/>
                  <a:pt x="20156" y="16845"/>
                </a:cubicBezTo>
                <a:cubicBezTo>
                  <a:pt x="20176" y="16436"/>
                  <a:pt x="20196" y="16629"/>
                  <a:pt x="20196" y="17175"/>
                </a:cubicBezTo>
                <a:cubicBezTo>
                  <a:pt x="20212" y="16834"/>
                  <a:pt x="20233" y="16860"/>
                  <a:pt x="20259" y="17584"/>
                </a:cubicBezTo>
                <a:cubicBezTo>
                  <a:pt x="20285" y="17435"/>
                  <a:pt x="20317" y="18053"/>
                  <a:pt x="20354" y="17622"/>
                </a:cubicBezTo>
                <a:cubicBezTo>
                  <a:pt x="20390" y="17555"/>
                  <a:pt x="20432" y="17874"/>
                  <a:pt x="20477" y="17748"/>
                </a:cubicBezTo>
                <a:cubicBezTo>
                  <a:pt x="20522" y="17515"/>
                  <a:pt x="20572" y="17689"/>
                  <a:pt x="20625" y="17757"/>
                </a:cubicBezTo>
                <a:cubicBezTo>
                  <a:pt x="20678" y="17838"/>
                  <a:pt x="20735" y="17886"/>
                  <a:pt x="20794" y="17885"/>
                </a:cubicBezTo>
                <a:cubicBezTo>
                  <a:pt x="20854" y="17884"/>
                  <a:pt x="20917" y="17832"/>
                  <a:pt x="20981" y="17712"/>
                </a:cubicBezTo>
                <a:cubicBezTo>
                  <a:pt x="21035" y="17815"/>
                  <a:pt x="21086" y="16993"/>
                  <a:pt x="21134" y="17679"/>
                </a:cubicBezTo>
                <a:cubicBezTo>
                  <a:pt x="21193" y="17530"/>
                  <a:pt x="21263" y="16942"/>
                  <a:pt x="21338" y="17675"/>
                </a:cubicBezTo>
                <a:cubicBezTo>
                  <a:pt x="21414" y="17521"/>
                  <a:pt x="21496" y="18330"/>
                  <a:pt x="21581" y="17704"/>
                </a:cubicBezTo>
                <a:cubicBezTo>
                  <a:pt x="21587" y="17642"/>
                  <a:pt x="21593" y="17594"/>
                  <a:pt x="21600" y="17554"/>
                </a:cubicBezTo>
                <a:lnTo>
                  <a:pt x="21600" y="0"/>
                </a:lnTo>
                <a:lnTo>
                  <a:pt x="0" y="0"/>
                </a:lnTo>
                <a:lnTo>
                  <a:pt x="0" y="16018"/>
                </a:lnTo>
                <a:cubicBezTo>
                  <a:pt x="8" y="16107"/>
                  <a:pt x="17" y="16198"/>
                  <a:pt x="25" y="16289"/>
                </a:cubicBezTo>
                <a:cubicBezTo>
                  <a:pt x="21" y="16355"/>
                  <a:pt x="17" y="16414"/>
                  <a:pt x="13" y="16476"/>
                </a:cubicBezTo>
                <a:cubicBezTo>
                  <a:pt x="37" y="16539"/>
                  <a:pt x="62" y="16673"/>
                  <a:pt x="86" y="16495"/>
                </a:cubicBezTo>
                <a:cubicBezTo>
                  <a:pt x="126" y="16381"/>
                  <a:pt x="165" y="16786"/>
                  <a:pt x="204" y="17145"/>
                </a:cubicBezTo>
                <a:cubicBezTo>
                  <a:pt x="243" y="17400"/>
                  <a:pt x="281" y="17220"/>
                  <a:pt x="318" y="16944"/>
                </a:cubicBezTo>
                <a:cubicBezTo>
                  <a:pt x="387" y="16949"/>
                  <a:pt x="453" y="16993"/>
                  <a:pt x="517" y="16735"/>
                </a:cubicBezTo>
                <a:cubicBezTo>
                  <a:pt x="581" y="16903"/>
                  <a:pt x="643" y="16249"/>
                  <a:pt x="704" y="16599"/>
                </a:cubicBezTo>
                <a:cubicBezTo>
                  <a:pt x="765" y="16466"/>
                  <a:pt x="826" y="16193"/>
                  <a:pt x="886" y="16265"/>
                </a:cubicBezTo>
                <a:cubicBezTo>
                  <a:pt x="946" y="16236"/>
                  <a:pt x="1006" y="16227"/>
                  <a:pt x="1067" y="16586"/>
                </a:cubicBezTo>
                <a:cubicBezTo>
                  <a:pt x="1107" y="16284"/>
                  <a:pt x="1148" y="16361"/>
                  <a:pt x="1190" y="16553"/>
                </a:cubicBezTo>
                <a:cubicBezTo>
                  <a:pt x="1232" y="16121"/>
                  <a:pt x="1275" y="16681"/>
                  <a:pt x="1320" y="16601"/>
                </a:cubicBezTo>
                <a:cubicBezTo>
                  <a:pt x="1364" y="17186"/>
                  <a:pt x="1410" y="17150"/>
                  <a:pt x="1458" y="17036"/>
                </a:cubicBezTo>
                <a:cubicBezTo>
                  <a:pt x="1505" y="16701"/>
                  <a:pt x="1555" y="16167"/>
                  <a:pt x="1608" y="16524"/>
                </a:cubicBezTo>
                <a:cubicBezTo>
                  <a:pt x="1608" y="16310"/>
                  <a:pt x="1673" y="16723"/>
                  <a:pt x="1739" y="16461"/>
                </a:cubicBezTo>
                <a:cubicBezTo>
                  <a:pt x="1804" y="17204"/>
                  <a:pt x="1870" y="15720"/>
                  <a:pt x="1870" y="16396"/>
                </a:cubicBezTo>
                <a:cubicBezTo>
                  <a:pt x="1870" y="16710"/>
                  <a:pt x="1844" y="16557"/>
                  <a:pt x="1818" y="16750"/>
                </a:cubicBezTo>
                <a:cubicBezTo>
                  <a:pt x="1792" y="16385"/>
                  <a:pt x="1766" y="17031"/>
                  <a:pt x="1766" y="17106"/>
                </a:cubicBezTo>
                <a:cubicBezTo>
                  <a:pt x="1739" y="16989"/>
                  <a:pt x="1723" y="17447"/>
                  <a:pt x="1719" y="17602"/>
                </a:cubicBezTo>
                <a:cubicBezTo>
                  <a:pt x="1715" y="17716"/>
                  <a:pt x="1722" y="17519"/>
                  <a:pt x="1741" y="17966"/>
                </a:cubicBezTo>
                <a:cubicBezTo>
                  <a:pt x="1764" y="17866"/>
                  <a:pt x="1803" y="18014"/>
                  <a:pt x="1853" y="18022"/>
                </a:cubicBezTo>
                <a:cubicBezTo>
                  <a:pt x="1904" y="17881"/>
                  <a:pt x="1965" y="18725"/>
                  <a:pt x="2032" y="18465"/>
                </a:cubicBezTo>
                <a:cubicBezTo>
                  <a:pt x="2099" y="18005"/>
                  <a:pt x="2171" y="18343"/>
                  <a:pt x="2243" y="18382"/>
                </a:cubicBezTo>
                <a:cubicBezTo>
                  <a:pt x="2315" y="18267"/>
                  <a:pt x="2387" y="18868"/>
                  <a:pt x="2452" y="18703"/>
                </a:cubicBezTo>
                <a:cubicBezTo>
                  <a:pt x="2496" y="18820"/>
                  <a:pt x="2539" y="18588"/>
                  <a:pt x="2579" y="18547"/>
                </a:cubicBezTo>
                <a:cubicBezTo>
                  <a:pt x="2620" y="18578"/>
                  <a:pt x="2658" y="18609"/>
                  <a:pt x="2694" y="18821"/>
                </a:cubicBezTo>
                <a:cubicBezTo>
                  <a:pt x="2694" y="19600"/>
                  <a:pt x="2735" y="19348"/>
                  <a:pt x="2777" y="19088"/>
                </a:cubicBezTo>
                <a:cubicBezTo>
                  <a:pt x="2794" y="19068"/>
                  <a:pt x="2812" y="19030"/>
                  <a:pt x="2826" y="18995"/>
                </a:cubicBezTo>
                <a:cubicBezTo>
                  <a:pt x="2842" y="18829"/>
                  <a:pt x="2859" y="18720"/>
                  <a:pt x="2859" y="18920"/>
                </a:cubicBezTo>
                <a:cubicBezTo>
                  <a:pt x="2859" y="18909"/>
                  <a:pt x="2845" y="18949"/>
                  <a:pt x="2826" y="18995"/>
                </a:cubicBezTo>
                <a:cubicBezTo>
                  <a:pt x="2813" y="19132"/>
                  <a:pt x="2802" y="19309"/>
                  <a:pt x="2802" y="19377"/>
                </a:cubicBezTo>
                <a:cubicBezTo>
                  <a:pt x="2790" y="18874"/>
                  <a:pt x="2789" y="19663"/>
                  <a:pt x="2820" y="19669"/>
                </a:cubicBezTo>
                <a:cubicBezTo>
                  <a:pt x="2843" y="19727"/>
                  <a:pt x="2876" y="19351"/>
                  <a:pt x="2917" y="19901"/>
                </a:cubicBezTo>
                <a:cubicBezTo>
                  <a:pt x="2957" y="19927"/>
                  <a:pt x="3004" y="20240"/>
                  <a:pt x="3056" y="20090"/>
                </a:cubicBezTo>
                <a:cubicBezTo>
                  <a:pt x="3107" y="20824"/>
                  <a:pt x="3162" y="19441"/>
                  <a:pt x="3219" y="20140"/>
                </a:cubicBezTo>
                <a:cubicBezTo>
                  <a:pt x="3275" y="20517"/>
                  <a:pt x="3332" y="18664"/>
                  <a:pt x="3386" y="20336"/>
                </a:cubicBezTo>
                <a:cubicBezTo>
                  <a:pt x="3441" y="20185"/>
                  <a:pt x="3494" y="20770"/>
                  <a:pt x="3541" y="20325"/>
                </a:cubicBezTo>
                <a:cubicBezTo>
                  <a:pt x="3553" y="20590"/>
                  <a:pt x="3564" y="20823"/>
                  <a:pt x="3575" y="21000"/>
                </a:cubicBezTo>
                <a:cubicBezTo>
                  <a:pt x="3603" y="20850"/>
                  <a:pt x="3631" y="20645"/>
                  <a:pt x="3655" y="20713"/>
                </a:cubicBezTo>
                <a:cubicBezTo>
                  <a:pt x="3658" y="20613"/>
                  <a:pt x="3661" y="20506"/>
                  <a:pt x="3663" y="20379"/>
                </a:cubicBezTo>
                <a:cubicBezTo>
                  <a:pt x="3688" y="21208"/>
                  <a:pt x="3737" y="19965"/>
                  <a:pt x="3796" y="20253"/>
                </a:cubicBezTo>
                <a:cubicBezTo>
                  <a:pt x="3826" y="20937"/>
                  <a:pt x="3858" y="19702"/>
                  <a:pt x="3891" y="20382"/>
                </a:cubicBezTo>
                <a:cubicBezTo>
                  <a:pt x="3924" y="20172"/>
                  <a:pt x="3958" y="19792"/>
                  <a:pt x="3990" y="20018"/>
                </a:cubicBezTo>
                <a:cubicBezTo>
                  <a:pt x="4078" y="20393"/>
                  <a:pt x="4162" y="19022"/>
                  <a:pt x="4244" y="19819"/>
                </a:cubicBezTo>
                <a:cubicBezTo>
                  <a:pt x="4325" y="19630"/>
                  <a:pt x="4403" y="20254"/>
                  <a:pt x="4477" y="19461"/>
                </a:cubicBezTo>
                <a:cubicBezTo>
                  <a:pt x="4552" y="19811"/>
                  <a:pt x="4623" y="18591"/>
                  <a:pt x="4690" y="19134"/>
                </a:cubicBezTo>
                <a:cubicBezTo>
                  <a:pt x="4757" y="18570"/>
                  <a:pt x="4820" y="18407"/>
                  <a:pt x="4880" y="19212"/>
                </a:cubicBezTo>
                <a:cubicBezTo>
                  <a:pt x="4938" y="19142"/>
                  <a:pt x="4993" y="19502"/>
                  <a:pt x="5043" y="19089"/>
                </a:cubicBezTo>
                <a:cubicBezTo>
                  <a:pt x="5094" y="19241"/>
                  <a:pt x="5139" y="18982"/>
                  <a:pt x="5180" y="19445"/>
                </a:cubicBezTo>
                <a:cubicBezTo>
                  <a:pt x="5202" y="18562"/>
                  <a:pt x="5221" y="19707"/>
                  <a:pt x="5237" y="19099"/>
                </a:cubicBezTo>
                <a:cubicBezTo>
                  <a:pt x="5254" y="19136"/>
                  <a:pt x="5268" y="19687"/>
                  <a:pt x="5280" y="19793"/>
                </a:cubicBezTo>
                <a:cubicBezTo>
                  <a:pt x="5292" y="20310"/>
                  <a:pt x="5302" y="20670"/>
                  <a:pt x="5309" y="20747"/>
                </a:cubicBezTo>
                <a:cubicBezTo>
                  <a:pt x="5316" y="20520"/>
                  <a:pt x="5321" y="19741"/>
                  <a:pt x="5323" y="20272"/>
                </a:cubicBezTo>
                <a:cubicBezTo>
                  <a:pt x="5375" y="20036"/>
                  <a:pt x="5429" y="20252"/>
                  <a:pt x="5484" y="20242"/>
                </a:cubicBezTo>
                <a:cubicBezTo>
                  <a:pt x="5506" y="20814"/>
                  <a:pt x="5528" y="20903"/>
                  <a:pt x="5551" y="21012"/>
                </a:cubicBezTo>
                <a:cubicBezTo>
                  <a:pt x="5555" y="20981"/>
                  <a:pt x="5560" y="20952"/>
                  <a:pt x="5565" y="20925"/>
                </a:cubicBezTo>
                <a:cubicBezTo>
                  <a:pt x="5581" y="20972"/>
                  <a:pt x="5597" y="20974"/>
                  <a:pt x="5614" y="20966"/>
                </a:cubicBezTo>
                <a:cubicBezTo>
                  <a:pt x="5625" y="20798"/>
                  <a:pt x="5636" y="20537"/>
                  <a:pt x="5647" y="20171"/>
                </a:cubicBezTo>
                <a:cubicBezTo>
                  <a:pt x="5677" y="20371"/>
                  <a:pt x="5706" y="20398"/>
                  <a:pt x="5735" y="20278"/>
                </a:cubicBezTo>
                <a:cubicBezTo>
                  <a:pt x="5764" y="20085"/>
                  <a:pt x="5792" y="20585"/>
                  <a:pt x="5821" y="20096"/>
                </a:cubicBezTo>
                <a:cubicBezTo>
                  <a:pt x="5821" y="19889"/>
                  <a:pt x="5984" y="19753"/>
                  <a:pt x="5984" y="20041"/>
                </a:cubicBezTo>
                <a:lnTo>
                  <a:pt x="5984" y="20599"/>
                </a:lnTo>
                <a:cubicBezTo>
                  <a:pt x="5986" y="20791"/>
                  <a:pt x="5990" y="21153"/>
                  <a:pt x="5995" y="21267"/>
                </a:cubicBezTo>
                <a:cubicBezTo>
                  <a:pt x="6002" y="21081"/>
                  <a:pt x="6011" y="21600"/>
                  <a:pt x="6021" y="20908"/>
                </a:cubicBezTo>
                <a:cubicBezTo>
                  <a:pt x="6028" y="20275"/>
                  <a:pt x="6035" y="20362"/>
                  <a:pt x="6042" y="20609"/>
                </a:cubicBezTo>
                <a:cubicBezTo>
                  <a:pt x="6049" y="20861"/>
                  <a:pt x="6056" y="21344"/>
                  <a:pt x="6062" y="21264"/>
                </a:cubicBezTo>
                <a:cubicBezTo>
                  <a:pt x="6062" y="21279"/>
                  <a:pt x="6063" y="21023"/>
                  <a:pt x="6063" y="20881"/>
                </a:cubicBezTo>
                <a:cubicBezTo>
                  <a:pt x="6064" y="20778"/>
                  <a:pt x="6064" y="20751"/>
                  <a:pt x="6065" y="21264"/>
                </a:cubicBezTo>
                <a:cubicBezTo>
                  <a:pt x="6111" y="21165"/>
                  <a:pt x="6158" y="21092"/>
                  <a:pt x="6204" y="21046"/>
                </a:cubicBezTo>
                <a:cubicBezTo>
                  <a:pt x="6251" y="21001"/>
                  <a:pt x="6298" y="21003"/>
                  <a:pt x="6345" y="21121"/>
                </a:cubicBezTo>
              </a:path>
            </a:pathLst>
          </a:custGeom>
          <a:blipFill>
            <a:blip r:embed="rId4"/>
            <a:stretch>
              <a:fillRect/>
            </a:stretch>
          </a:blipFill>
          <a:ln w="3175" cmpd="sng">
            <a:solidFill>
              <a:schemeClr val="bg1">
                <a:lumMod val="85000"/>
              </a:schemeClr>
            </a:solidFill>
          </a:ln>
          <a:effectLst>
            <a:outerShdw blurRad="50800" dist="38100" dir="2700000">
              <a:srgbClr val="000000">
                <a:alpha val="43000"/>
              </a:srgbClr>
            </a:outerShdw>
          </a:effectLst>
        </p:spPr>
        <p:txBody>
          <a:bodyPr lIns="182880" tIns="182880" rIns="182880" bIns="91440"/>
          <a:lstStyle/>
          <a:p>
            <a:pPr defTabSz="1018705"/>
            <a:endParaRPr lang="en-US">
              <a:latin typeface="Times New Roman" charset="0"/>
              <a:ea typeface="Times New Roman" charset="0"/>
              <a:cs typeface="Times New Roman" charset="0"/>
            </a:endParaRPr>
          </a:p>
        </p:txBody>
      </p:sp>
    </p:spTree>
    <p:extLst>
      <p:ext uri="{BB962C8B-B14F-4D97-AF65-F5344CB8AC3E}">
        <p14:creationId xmlns:p14="http://schemas.microsoft.com/office/powerpoint/2010/main" val="38154499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1A6D5D0-78BF-D44F-A2BF-700DCBEE2472}"/>
              </a:ext>
            </a:extLst>
          </p:cNvPr>
          <p:cNvSpPr>
            <a:spLocks noGrp="1"/>
          </p:cNvSpPr>
          <p:nvPr>
            <p:ph type="title"/>
          </p:nvPr>
        </p:nvSpPr>
        <p:spPr/>
        <p:txBody>
          <a:bodyPr/>
          <a:lstStyle/>
          <a:p>
            <a:r>
              <a:rPr lang="en-US" dirty="0"/>
              <a:t>News Clippings Assets</a:t>
            </a:r>
          </a:p>
        </p:txBody>
      </p:sp>
      <p:sp>
        <p:nvSpPr>
          <p:cNvPr id="8" name="TextBox 7">
            <a:extLst>
              <a:ext uri="{FF2B5EF4-FFF2-40B4-BE49-F238E27FC236}">
                <a16:creationId xmlns:a16="http://schemas.microsoft.com/office/drawing/2014/main" id="{CCDD9FC7-9FA4-A448-8DBD-B93AD4D89D83}"/>
              </a:ext>
            </a:extLst>
          </p:cNvPr>
          <p:cNvSpPr txBox="1"/>
          <p:nvPr/>
        </p:nvSpPr>
        <p:spPr>
          <a:xfrm>
            <a:off x="304800" y="2060975"/>
            <a:ext cx="2377150" cy="153888"/>
          </a:xfrm>
          <a:prstGeom prst="rect">
            <a:avLst/>
          </a:prstGeom>
          <a:noFill/>
        </p:spPr>
        <p:txBody>
          <a:bodyPr wrap="square" lIns="0" tIns="0" rIns="0" bIns="0" rtlCol="0">
            <a:spAutoFit/>
          </a:bodyPr>
          <a:lstStyle/>
          <a:p>
            <a:pPr defTabSz="342900"/>
            <a:r>
              <a:rPr lang="en-US" sz="1000" b="1" dirty="0">
                <a:cs typeface="+mj-cs"/>
              </a:rPr>
              <a:t>Text Only</a:t>
            </a:r>
          </a:p>
        </p:txBody>
      </p:sp>
      <p:sp>
        <p:nvSpPr>
          <p:cNvPr id="9" name="TextBox 8">
            <a:extLst>
              <a:ext uri="{FF2B5EF4-FFF2-40B4-BE49-F238E27FC236}">
                <a16:creationId xmlns:a16="http://schemas.microsoft.com/office/drawing/2014/main" id="{B4D2532E-E1BF-2641-A648-0F05F97731A6}"/>
              </a:ext>
            </a:extLst>
          </p:cNvPr>
          <p:cNvSpPr txBox="1"/>
          <p:nvPr/>
        </p:nvSpPr>
        <p:spPr>
          <a:xfrm>
            <a:off x="4064000" y="2060975"/>
            <a:ext cx="2377150" cy="153888"/>
          </a:xfrm>
          <a:prstGeom prst="rect">
            <a:avLst/>
          </a:prstGeom>
          <a:noFill/>
        </p:spPr>
        <p:txBody>
          <a:bodyPr wrap="square" lIns="0" tIns="0" rIns="0" bIns="0" rtlCol="0">
            <a:spAutoFit/>
          </a:bodyPr>
          <a:lstStyle>
            <a:defPPr>
              <a:defRPr lang="en-US"/>
            </a:defPPr>
            <a:lvl1pPr defTabSz="342900">
              <a:defRPr sz="1000">
                <a:cs typeface="+mj-cs"/>
              </a:defRPr>
            </a:lvl1pPr>
          </a:lstStyle>
          <a:p>
            <a:r>
              <a:rPr lang="en-US" b="1" dirty="0"/>
              <a:t>Tear with Image</a:t>
            </a:r>
          </a:p>
        </p:txBody>
      </p:sp>
      <p:grpSp>
        <p:nvGrpSpPr>
          <p:cNvPr id="10" name="Group 9">
            <a:extLst>
              <a:ext uri="{FF2B5EF4-FFF2-40B4-BE49-F238E27FC236}">
                <a16:creationId xmlns:a16="http://schemas.microsoft.com/office/drawing/2014/main" id="{5EB052C0-886D-2447-A055-CA1BE81BDB4F}"/>
              </a:ext>
            </a:extLst>
          </p:cNvPr>
          <p:cNvGrpSpPr/>
          <p:nvPr/>
        </p:nvGrpSpPr>
        <p:grpSpPr>
          <a:xfrm>
            <a:off x="4064000" y="3429000"/>
            <a:ext cx="2377151" cy="2764859"/>
            <a:chOff x="3192201" y="2489691"/>
            <a:chExt cx="2377151" cy="2764859"/>
          </a:xfrm>
        </p:grpSpPr>
        <p:sp>
          <p:nvSpPr>
            <p:cNvPr id="11" name="Freeform 10">
              <a:extLst>
                <a:ext uri="{FF2B5EF4-FFF2-40B4-BE49-F238E27FC236}">
                  <a16:creationId xmlns:a16="http://schemas.microsoft.com/office/drawing/2014/main" id="{2F47F01C-D637-F74B-891D-DE0FDA4A6E17}"/>
                </a:ext>
              </a:extLst>
            </p:cNvPr>
            <p:cNvSpPr/>
            <p:nvPr/>
          </p:nvSpPr>
          <p:spPr>
            <a:xfrm>
              <a:off x="3192201" y="2489691"/>
              <a:ext cx="2377151" cy="2764859"/>
            </a:xfrm>
            <a:custGeom>
              <a:avLst/>
              <a:gdLst>
                <a:gd name="connsiteX0" fmla="*/ 0 w 3589486"/>
                <a:gd name="connsiteY0" fmla="*/ 0 h 3814989"/>
                <a:gd name="connsiteX1" fmla="*/ 3589486 w 3589486"/>
                <a:gd name="connsiteY1" fmla="*/ 0 h 3814989"/>
                <a:gd name="connsiteX2" fmla="*/ 3589486 w 3589486"/>
                <a:gd name="connsiteY2" fmla="*/ 2594193 h 3814989"/>
                <a:gd name="connsiteX3" fmla="*/ 3589486 w 3589486"/>
                <a:gd name="connsiteY3" fmla="*/ 2783391 h 3814989"/>
                <a:gd name="connsiteX4" fmla="*/ 3589486 w 3589486"/>
                <a:gd name="connsiteY4" fmla="*/ 3601173 h 3814989"/>
                <a:gd name="connsiteX5" fmla="*/ 3586332 w 3589486"/>
                <a:gd name="connsiteY5" fmla="*/ 3609778 h 3814989"/>
                <a:gd name="connsiteX6" fmla="*/ 3545996 w 3589486"/>
                <a:gd name="connsiteY6" fmla="*/ 3608114 h 3814989"/>
                <a:gd name="connsiteX7" fmla="*/ 3512133 w 3589486"/>
                <a:gd name="connsiteY7" fmla="*/ 3608344 h 3814989"/>
                <a:gd name="connsiteX8" fmla="*/ 3486736 w 3589486"/>
                <a:gd name="connsiteY8" fmla="*/ 3610237 h 3814989"/>
                <a:gd name="connsiteX9" fmla="*/ 3455695 w 3589486"/>
                <a:gd name="connsiteY9" fmla="*/ 3620161 h 3814989"/>
                <a:gd name="connsiteX10" fmla="*/ 3427642 w 3589486"/>
                <a:gd name="connsiteY10" fmla="*/ 3612818 h 3814989"/>
                <a:gd name="connsiteX11" fmla="*/ 3403074 w 3589486"/>
                <a:gd name="connsiteY11" fmla="*/ 3612302 h 3814989"/>
                <a:gd name="connsiteX12" fmla="*/ 3382657 w 3589486"/>
                <a:gd name="connsiteY12" fmla="*/ 3605074 h 3814989"/>
                <a:gd name="connsiteX13" fmla="*/ 3366888 w 3589486"/>
                <a:gd name="connsiteY13" fmla="*/ 3602894 h 3814989"/>
                <a:gd name="connsiteX14" fmla="*/ 3356430 w 3589486"/>
                <a:gd name="connsiteY14" fmla="*/ 3579432 h 3814989"/>
                <a:gd name="connsiteX15" fmla="*/ 3349790 w 3589486"/>
                <a:gd name="connsiteY15" fmla="*/ 3560501 h 3814989"/>
                <a:gd name="connsiteX16" fmla="*/ 3342984 w 3589486"/>
                <a:gd name="connsiteY16" fmla="*/ 3546103 h 3814989"/>
                <a:gd name="connsiteX17" fmla="*/ 3317089 w 3589486"/>
                <a:gd name="connsiteY17" fmla="*/ 3571114 h 3814989"/>
                <a:gd name="connsiteX18" fmla="*/ 3292854 w 3589486"/>
                <a:gd name="connsiteY18" fmla="*/ 3580809 h 3814989"/>
                <a:gd name="connsiteX19" fmla="*/ 3259655 w 3589486"/>
                <a:gd name="connsiteY19" fmla="*/ 3608057 h 3814989"/>
                <a:gd name="connsiteX20" fmla="*/ 3221809 w 3589486"/>
                <a:gd name="connsiteY20" fmla="*/ 3618210 h 3814989"/>
                <a:gd name="connsiteX21" fmla="*/ 3184128 w 3589486"/>
                <a:gd name="connsiteY21" fmla="*/ 3636395 h 3814989"/>
                <a:gd name="connsiteX22" fmla="*/ 3150929 w 3589486"/>
                <a:gd name="connsiteY22" fmla="*/ 3643049 h 3814989"/>
                <a:gd name="connsiteX23" fmla="*/ 3126860 w 3589486"/>
                <a:gd name="connsiteY23" fmla="*/ 3638059 h 3814989"/>
                <a:gd name="connsiteX24" fmla="*/ 3121050 w 3589486"/>
                <a:gd name="connsiteY24" fmla="*/ 3641386 h 3814989"/>
                <a:gd name="connsiteX25" fmla="*/ 3119390 w 3589486"/>
                <a:gd name="connsiteY25" fmla="*/ 3614310 h 3814989"/>
                <a:gd name="connsiteX26" fmla="*/ 3120884 w 3589486"/>
                <a:gd name="connsiteY26" fmla="*/ 3579145 h 3814989"/>
                <a:gd name="connsiteX27" fmla="*/ 3122544 w 3589486"/>
                <a:gd name="connsiteY27" fmla="*/ 3586545 h 3814989"/>
                <a:gd name="connsiteX28" fmla="*/ 3120884 w 3589486"/>
                <a:gd name="connsiteY28" fmla="*/ 3579145 h 3814989"/>
                <a:gd name="connsiteX29" fmla="*/ 3094491 w 3589486"/>
                <a:gd name="connsiteY29" fmla="*/ 3587291 h 3814989"/>
                <a:gd name="connsiteX30" fmla="*/ 3062288 w 3589486"/>
                <a:gd name="connsiteY30" fmla="*/ 3594002 h 3814989"/>
                <a:gd name="connsiteX31" fmla="*/ 3034733 w 3589486"/>
                <a:gd name="connsiteY31" fmla="*/ 3606623 h 3814989"/>
                <a:gd name="connsiteX32" fmla="*/ 2995724 w 3589486"/>
                <a:gd name="connsiteY32" fmla="*/ 3620677 h 3814989"/>
                <a:gd name="connsiteX33" fmla="*/ 2964185 w 3589486"/>
                <a:gd name="connsiteY33" fmla="*/ 3606737 h 3814989"/>
                <a:gd name="connsiteX34" fmla="*/ 2937626 w 3589486"/>
                <a:gd name="connsiteY34" fmla="*/ 3594060 h 3814989"/>
                <a:gd name="connsiteX35" fmla="*/ 2913391 w 3589486"/>
                <a:gd name="connsiteY35" fmla="*/ 3585971 h 3814989"/>
                <a:gd name="connsiteX36" fmla="*/ 2857119 w 3589486"/>
                <a:gd name="connsiteY36" fmla="*/ 3579776 h 3814989"/>
                <a:gd name="connsiteX37" fmla="*/ 2804997 w 3589486"/>
                <a:gd name="connsiteY37" fmla="*/ 3580005 h 3814989"/>
                <a:gd name="connsiteX38" fmla="*/ 2763166 w 3589486"/>
                <a:gd name="connsiteY38" fmla="*/ 3580464 h 3814989"/>
                <a:gd name="connsiteX39" fmla="*/ 2722165 w 3589486"/>
                <a:gd name="connsiteY39" fmla="*/ 3576793 h 3814989"/>
                <a:gd name="connsiteX40" fmla="*/ 2719343 w 3589486"/>
                <a:gd name="connsiteY40" fmla="*/ 3559641 h 3814989"/>
                <a:gd name="connsiteX41" fmla="*/ 2715360 w 3589486"/>
                <a:gd name="connsiteY41" fmla="*/ 3544210 h 3814989"/>
                <a:gd name="connsiteX42" fmla="*/ 2699424 w 3589486"/>
                <a:gd name="connsiteY42" fmla="*/ 3541915 h 3814989"/>
                <a:gd name="connsiteX43" fmla="*/ 2668549 w 3589486"/>
                <a:gd name="connsiteY43" fmla="*/ 3523444 h 3814989"/>
                <a:gd name="connsiteX44" fmla="*/ 2634686 w 3589486"/>
                <a:gd name="connsiteY44" fmla="*/ 3548570 h 3814989"/>
                <a:gd name="connsiteX45" fmla="*/ 2599662 w 3589486"/>
                <a:gd name="connsiteY45" fmla="*/ 3551094 h 3814989"/>
                <a:gd name="connsiteX46" fmla="*/ 2564969 w 3589486"/>
                <a:gd name="connsiteY46" fmla="*/ 3575474 h 3814989"/>
                <a:gd name="connsiteX47" fmla="*/ 2531936 w 3589486"/>
                <a:gd name="connsiteY47" fmla="*/ 3589930 h 3814989"/>
                <a:gd name="connsiteX48" fmla="*/ 2501891 w 3589486"/>
                <a:gd name="connsiteY48" fmla="*/ 3607426 h 3814989"/>
                <a:gd name="connsiteX49" fmla="*/ 2494255 w 3589486"/>
                <a:gd name="connsiteY49" fmla="*/ 3638460 h 3814989"/>
                <a:gd name="connsiteX50" fmla="*/ 2486619 w 3589486"/>
                <a:gd name="connsiteY50" fmla="*/ 3615457 h 3814989"/>
                <a:gd name="connsiteX51" fmla="*/ 2463712 w 3589486"/>
                <a:gd name="connsiteY51" fmla="*/ 3631691 h 3814989"/>
                <a:gd name="connsiteX52" fmla="*/ 2452093 w 3589486"/>
                <a:gd name="connsiteY52" fmla="*/ 3651138 h 3814989"/>
                <a:gd name="connsiteX53" fmla="*/ 2440473 w 3589486"/>
                <a:gd name="connsiteY53" fmla="*/ 3638632 h 3814989"/>
                <a:gd name="connsiteX54" fmla="*/ 2428853 w 3589486"/>
                <a:gd name="connsiteY54" fmla="*/ 3628134 h 3814989"/>
                <a:gd name="connsiteX55" fmla="*/ 2417068 w 3589486"/>
                <a:gd name="connsiteY55" fmla="*/ 3649933 h 3814989"/>
                <a:gd name="connsiteX56" fmla="*/ 2392999 w 3589486"/>
                <a:gd name="connsiteY56" fmla="*/ 3661406 h 3814989"/>
                <a:gd name="connsiteX57" fmla="*/ 2374075 w 3589486"/>
                <a:gd name="connsiteY57" fmla="*/ 3702135 h 3814989"/>
                <a:gd name="connsiteX58" fmla="*/ 2354820 w 3589486"/>
                <a:gd name="connsiteY58" fmla="*/ 3679648 h 3814989"/>
                <a:gd name="connsiteX59" fmla="*/ 2335564 w 3589486"/>
                <a:gd name="connsiteY59" fmla="*/ 3692383 h 3814989"/>
                <a:gd name="connsiteX60" fmla="*/ 2316143 w 3589486"/>
                <a:gd name="connsiteY60" fmla="*/ 3698808 h 3814989"/>
                <a:gd name="connsiteX61" fmla="*/ 2307179 w 3589486"/>
                <a:gd name="connsiteY61" fmla="*/ 3677411 h 3814989"/>
                <a:gd name="connsiteX62" fmla="*/ 2296722 w 3589486"/>
                <a:gd name="connsiteY62" fmla="*/ 3650679 h 3814989"/>
                <a:gd name="connsiteX63" fmla="*/ 2286264 w 3589486"/>
                <a:gd name="connsiteY63" fmla="*/ 3612416 h 3814989"/>
                <a:gd name="connsiteX64" fmla="*/ 2256883 w 3589486"/>
                <a:gd name="connsiteY64" fmla="*/ 3639206 h 3814989"/>
                <a:gd name="connsiteX65" fmla="*/ 2235138 w 3589486"/>
                <a:gd name="connsiteY65" fmla="*/ 3652514 h 3814989"/>
                <a:gd name="connsiteX66" fmla="*/ 2229162 w 3589486"/>
                <a:gd name="connsiteY66" fmla="*/ 3685040 h 3814989"/>
                <a:gd name="connsiteX67" fmla="*/ 2223186 w 3589486"/>
                <a:gd name="connsiteY67" fmla="*/ 3659111 h 3814989"/>
                <a:gd name="connsiteX68" fmla="*/ 2210073 w 3589486"/>
                <a:gd name="connsiteY68" fmla="*/ 3656358 h 3814989"/>
                <a:gd name="connsiteX69" fmla="*/ 2180194 w 3589486"/>
                <a:gd name="connsiteY69" fmla="*/ 3656014 h 3814989"/>
                <a:gd name="connsiteX70" fmla="*/ 2149983 w 3589486"/>
                <a:gd name="connsiteY70" fmla="*/ 3662152 h 3814989"/>
                <a:gd name="connsiteX71" fmla="*/ 2134711 w 3589486"/>
                <a:gd name="connsiteY71" fmla="*/ 3633871 h 3814989"/>
                <a:gd name="connsiteX72" fmla="*/ 2123424 w 3589486"/>
                <a:gd name="connsiteY72" fmla="*/ 3667142 h 3814989"/>
                <a:gd name="connsiteX73" fmla="*/ 2108982 w 3589486"/>
                <a:gd name="connsiteY73" fmla="*/ 3678730 h 3814989"/>
                <a:gd name="connsiteX74" fmla="*/ 2101512 w 3589486"/>
                <a:gd name="connsiteY74" fmla="*/ 3645172 h 3814989"/>
                <a:gd name="connsiteX75" fmla="*/ 2081261 w 3589486"/>
                <a:gd name="connsiteY75" fmla="*/ 3621308 h 3814989"/>
                <a:gd name="connsiteX76" fmla="*/ 2067982 w 3589486"/>
                <a:gd name="connsiteY76" fmla="*/ 3631117 h 3814989"/>
                <a:gd name="connsiteX77" fmla="*/ 2054702 w 3589486"/>
                <a:gd name="connsiteY77" fmla="*/ 3629282 h 3814989"/>
                <a:gd name="connsiteX78" fmla="*/ 2041588 w 3589486"/>
                <a:gd name="connsiteY78" fmla="*/ 3602033 h 3814989"/>
                <a:gd name="connsiteX79" fmla="*/ 2028641 w 3589486"/>
                <a:gd name="connsiteY79" fmla="*/ 3604730 h 3814989"/>
                <a:gd name="connsiteX80" fmla="*/ 2015527 w 3589486"/>
                <a:gd name="connsiteY80" fmla="*/ 3588495 h 3814989"/>
                <a:gd name="connsiteX81" fmla="*/ 2002580 w 3589486"/>
                <a:gd name="connsiteY81" fmla="*/ 3609089 h 3814989"/>
                <a:gd name="connsiteX82" fmla="*/ 1976353 w 3589486"/>
                <a:gd name="connsiteY82" fmla="*/ 3599280 h 3814989"/>
                <a:gd name="connsiteX83" fmla="*/ 1950126 w 3589486"/>
                <a:gd name="connsiteY83" fmla="*/ 3590962 h 3814989"/>
                <a:gd name="connsiteX84" fmla="*/ 1923234 w 3589486"/>
                <a:gd name="connsiteY84" fmla="*/ 3601517 h 3814989"/>
                <a:gd name="connsiteX85" fmla="*/ 1896011 w 3589486"/>
                <a:gd name="connsiteY85" fmla="*/ 3606680 h 3814989"/>
                <a:gd name="connsiteX86" fmla="*/ 1867792 w 3589486"/>
                <a:gd name="connsiteY86" fmla="*/ 3607770 h 3814989"/>
                <a:gd name="connsiteX87" fmla="*/ 1862480 w 3589486"/>
                <a:gd name="connsiteY87" fmla="*/ 3608516 h 3814989"/>
                <a:gd name="connsiteX88" fmla="*/ 1793095 w 3589486"/>
                <a:gd name="connsiteY88" fmla="*/ 3620734 h 3814989"/>
                <a:gd name="connsiteX89" fmla="*/ 1726863 w 3589486"/>
                <a:gd name="connsiteY89" fmla="*/ 3639779 h 3814989"/>
                <a:gd name="connsiteX90" fmla="*/ 1663785 w 3589486"/>
                <a:gd name="connsiteY90" fmla="*/ 3665880 h 3814989"/>
                <a:gd name="connsiteX91" fmla="*/ 1603529 w 3589486"/>
                <a:gd name="connsiteY91" fmla="*/ 3699037 h 3814989"/>
                <a:gd name="connsiteX92" fmla="*/ 1574480 w 3589486"/>
                <a:gd name="connsiteY92" fmla="*/ 3697660 h 3814989"/>
                <a:gd name="connsiteX93" fmla="*/ 1545929 w 3589486"/>
                <a:gd name="connsiteY93" fmla="*/ 3739307 h 3814989"/>
                <a:gd name="connsiteX94" fmla="*/ 1545597 w 3589486"/>
                <a:gd name="connsiteY94" fmla="*/ 3715271 h 3814989"/>
                <a:gd name="connsiteX95" fmla="*/ 1547423 w 3589486"/>
                <a:gd name="connsiteY95" fmla="*/ 3695423 h 3814989"/>
                <a:gd name="connsiteX96" fmla="*/ 1548087 w 3589486"/>
                <a:gd name="connsiteY96" fmla="*/ 3682057 h 3814989"/>
                <a:gd name="connsiteX97" fmla="*/ 1549747 w 3589486"/>
                <a:gd name="connsiteY97" fmla="*/ 3681254 h 3814989"/>
                <a:gd name="connsiteX98" fmla="*/ 1548087 w 3589486"/>
                <a:gd name="connsiteY98" fmla="*/ 3682057 h 3814989"/>
                <a:gd name="connsiteX99" fmla="*/ 1532317 w 3589486"/>
                <a:gd name="connsiteY99" fmla="*/ 3700701 h 3814989"/>
                <a:gd name="connsiteX100" fmla="*/ 1514722 w 3589486"/>
                <a:gd name="connsiteY100" fmla="*/ 3690432 h 3814989"/>
                <a:gd name="connsiteX101" fmla="*/ 1498953 w 3589486"/>
                <a:gd name="connsiteY101" fmla="*/ 3716820 h 3814989"/>
                <a:gd name="connsiteX102" fmla="*/ 1484843 w 3589486"/>
                <a:gd name="connsiteY102" fmla="*/ 3705290 h 3814989"/>
                <a:gd name="connsiteX103" fmla="*/ 1459612 w 3589486"/>
                <a:gd name="connsiteY103" fmla="*/ 3727088 h 3814989"/>
                <a:gd name="connsiteX104" fmla="*/ 1448822 w 3589486"/>
                <a:gd name="connsiteY104" fmla="*/ 3729957 h 3814989"/>
                <a:gd name="connsiteX105" fmla="*/ 1438365 w 3589486"/>
                <a:gd name="connsiteY105" fmla="*/ 3745560 h 3814989"/>
                <a:gd name="connsiteX106" fmla="*/ 1418279 w 3589486"/>
                <a:gd name="connsiteY106" fmla="*/ 3754279 h 3814989"/>
                <a:gd name="connsiteX107" fmla="*/ 1389396 w 3589486"/>
                <a:gd name="connsiteY107" fmla="*/ 3737127 h 3814989"/>
                <a:gd name="connsiteX108" fmla="*/ 1372133 w 3589486"/>
                <a:gd name="connsiteY108" fmla="*/ 3715501 h 3814989"/>
                <a:gd name="connsiteX109" fmla="*/ 1358355 w 3589486"/>
                <a:gd name="connsiteY109" fmla="*/ 3694850 h 3814989"/>
                <a:gd name="connsiteX110" fmla="*/ 1339764 w 3589486"/>
                <a:gd name="connsiteY110" fmla="*/ 3699037 h 3814989"/>
                <a:gd name="connsiteX111" fmla="*/ 1306731 w 3589486"/>
                <a:gd name="connsiteY111" fmla="*/ 3693874 h 3814989"/>
                <a:gd name="connsiteX112" fmla="*/ 1274528 w 3589486"/>
                <a:gd name="connsiteY112" fmla="*/ 3700127 h 3814989"/>
                <a:gd name="connsiteX113" fmla="*/ 1243155 w 3589486"/>
                <a:gd name="connsiteY113" fmla="*/ 3709650 h 3814989"/>
                <a:gd name="connsiteX114" fmla="*/ 1212280 w 3589486"/>
                <a:gd name="connsiteY114" fmla="*/ 3723360 h 3814989"/>
                <a:gd name="connsiteX115" fmla="*/ 1182069 w 3589486"/>
                <a:gd name="connsiteY115" fmla="*/ 3739709 h 3814989"/>
                <a:gd name="connsiteX116" fmla="*/ 1152190 w 3589486"/>
                <a:gd name="connsiteY116" fmla="*/ 3757320 h 3814989"/>
                <a:gd name="connsiteX117" fmla="*/ 1104218 w 3589486"/>
                <a:gd name="connsiteY117" fmla="*/ 3784912 h 3814989"/>
                <a:gd name="connsiteX118" fmla="*/ 1057242 w 3589486"/>
                <a:gd name="connsiteY118" fmla="*/ 3805793 h 3814989"/>
                <a:gd name="connsiteX119" fmla="*/ 1033836 w 3589486"/>
                <a:gd name="connsiteY119" fmla="*/ 3801490 h 3814989"/>
                <a:gd name="connsiteX120" fmla="*/ 1010763 w 3589486"/>
                <a:gd name="connsiteY120" fmla="*/ 3813996 h 3814989"/>
                <a:gd name="connsiteX121" fmla="*/ 1010431 w 3589486"/>
                <a:gd name="connsiteY121" fmla="*/ 3792025 h 3814989"/>
                <a:gd name="connsiteX122" fmla="*/ 1010265 w 3589486"/>
                <a:gd name="connsiteY122" fmla="*/ 3813996 h 3814989"/>
                <a:gd name="connsiteX123" fmla="*/ 1006945 w 3589486"/>
                <a:gd name="connsiteY123" fmla="*/ 3776422 h 3814989"/>
                <a:gd name="connsiteX124" fmla="*/ 1003459 w 3589486"/>
                <a:gd name="connsiteY124" fmla="*/ 3793574 h 3814989"/>
                <a:gd name="connsiteX125" fmla="*/ 999144 w 3589486"/>
                <a:gd name="connsiteY125" fmla="*/ 3814168 h 3814989"/>
                <a:gd name="connsiteX126" fmla="*/ 997318 w 3589486"/>
                <a:gd name="connsiteY126" fmla="*/ 3775848 h 3814989"/>
                <a:gd name="connsiteX127" fmla="*/ 997318 w 3589486"/>
                <a:gd name="connsiteY127" fmla="*/ 3743839 h 3814989"/>
                <a:gd name="connsiteX128" fmla="*/ 970260 w 3589486"/>
                <a:gd name="connsiteY128" fmla="*/ 3746994 h 3814989"/>
                <a:gd name="connsiteX129" fmla="*/ 955985 w 3589486"/>
                <a:gd name="connsiteY129" fmla="*/ 3757434 h 3814989"/>
                <a:gd name="connsiteX130" fmla="*/ 941377 w 3589486"/>
                <a:gd name="connsiteY130" fmla="*/ 3751296 h 3814989"/>
                <a:gd name="connsiteX131" fmla="*/ 935900 w 3589486"/>
                <a:gd name="connsiteY131" fmla="*/ 3796901 h 3814989"/>
                <a:gd name="connsiteX132" fmla="*/ 927766 w 3589486"/>
                <a:gd name="connsiteY132" fmla="*/ 3794549 h 3814989"/>
                <a:gd name="connsiteX133" fmla="*/ 925442 w 3589486"/>
                <a:gd name="connsiteY133" fmla="*/ 3799540 h 3814989"/>
                <a:gd name="connsiteX134" fmla="*/ 914320 w 3589486"/>
                <a:gd name="connsiteY134" fmla="*/ 3755369 h 3814989"/>
                <a:gd name="connsiteX135" fmla="*/ 887595 w 3589486"/>
                <a:gd name="connsiteY135" fmla="*/ 3757090 h 3814989"/>
                <a:gd name="connsiteX136" fmla="*/ 885271 w 3589486"/>
                <a:gd name="connsiteY136" fmla="*/ 3784338 h 3814989"/>
                <a:gd name="connsiteX137" fmla="*/ 880458 w 3589486"/>
                <a:gd name="connsiteY137" fmla="*/ 3729613 h 3814989"/>
                <a:gd name="connsiteX138" fmla="*/ 873320 w 3589486"/>
                <a:gd name="connsiteY138" fmla="*/ 3689801 h 3814989"/>
                <a:gd name="connsiteX139" fmla="*/ 863858 w 3589486"/>
                <a:gd name="connsiteY139" fmla="*/ 3709650 h 3814989"/>
                <a:gd name="connsiteX140" fmla="*/ 841117 w 3589486"/>
                <a:gd name="connsiteY140" fmla="*/ 3689228 h 3814989"/>
                <a:gd name="connsiteX141" fmla="*/ 814060 w 3589486"/>
                <a:gd name="connsiteY141" fmla="*/ 3696284 h 3814989"/>
                <a:gd name="connsiteX142" fmla="*/ 782521 w 3589486"/>
                <a:gd name="connsiteY142" fmla="*/ 3691809 h 3814989"/>
                <a:gd name="connsiteX143" fmla="*/ 747164 w 3589486"/>
                <a:gd name="connsiteY143" fmla="*/ 3710567 h 3814989"/>
                <a:gd name="connsiteX144" fmla="*/ 708487 w 3589486"/>
                <a:gd name="connsiteY144" fmla="*/ 3731104 h 3814989"/>
                <a:gd name="connsiteX145" fmla="*/ 666325 w 3589486"/>
                <a:gd name="connsiteY145" fmla="*/ 3742520 h 3814989"/>
                <a:gd name="connsiteX146" fmla="*/ 649891 w 3589486"/>
                <a:gd name="connsiteY146" fmla="*/ 3763400 h 3814989"/>
                <a:gd name="connsiteX147" fmla="*/ 634122 w 3589486"/>
                <a:gd name="connsiteY147" fmla="*/ 3756000 h 3814989"/>
                <a:gd name="connsiteX148" fmla="*/ 612045 w 3589486"/>
                <a:gd name="connsiteY148" fmla="*/ 3763228 h 3814989"/>
                <a:gd name="connsiteX149" fmla="*/ 610717 w 3589486"/>
                <a:gd name="connsiteY149" fmla="*/ 3782388 h 3814989"/>
                <a:gd name="connsiteX150" fmla="*/ 597437 w 3589486"/>
                <a:gd name="connsiteY150" fmla="*/ 3798852 h 3814989"/>
                <a:gd name="connsiteX151" fmla="*/ 591793 w 3589486"/>
                <a:gd name="connsiteY151" fmla="*/ 3760131 h 3814989"/>
                <a:gd name="connsiteX152" fmla="*/ 566064 w 3589486"/>
                <a:gd name="connsiteY152" fmla="*/ 3760762 h 3814989"/>
                <a:gd name="connsiteX153" fmla="*/ 538343 w 3589486"/>
                <a:gd name="connsiteY153" fmla="*/ 3749518 h 3814989"/>
                <a:gd name="connsiteX154" fmla="*/ 511286 w 3589486"/>
                <a:gd name="connsiteY154" fmla="*/ 3746650 h 3814989"/>
                <a:gd name="connsiteX155" fmla="*/ 488213 w 3589486"/>
                <a:gd name="connsiteY155" fmla="*/ 3735808 h 3814989"/>
                <a:gd name="connsiteX156" fmla="*/ 472111 w 3589486"/>
                <a:gd name="connsiteY156" fmla="*/ 3722499 h 3814989"/>
                <a:gd name="connsiteX157" fmla="*/ 469123 w 3589486"/>
                <a:gd name="connsiteY157" fmla="*/ 3705749 h 3814989"/>
                <a:gd name="connsiteX158" fmla="*/ 473107 w 3589486"/>
                <a:gd name="connsiteY158" fmla="*/ 3683836 h 3814989"/>
                <a:gd name="connsiteX159" fmla="*/ 478585 w 3589486"/>
                <a:gd name="connsiteY159" fmla="*/ 3679533 h 3814989"/>
                <a:gd name="connsiteX160" fmla="*/ 473107 w 3589486"/>
                <a:gd name="connsiteY160" fmla="*/ 3683836 h 3814989"/>
                <a:gd name="connsiteX161" fmla="*/ 464974 w 3589486"/>
                <a:gd name="connsiteY161" fmla="*/ 3689170 h 3814989"/>
                <a:gd name="connsiteX162" fmla="*/ 451196 w 3589486"/>
                <a:gd name="connsiteY162" fmla="*/ 3673854 h 3814989"/>
                <a:gd name="connsiteX163" fmla="*/ 432107 w 3589486"/>
                <a:gd name="connsiteY163" fmla="*/ 3658136 h 3814989"/>
                <a:gd name="connsiteX164" fmla="*/ 411025 w 3589486"/>
                <a:gd name="connsiteY164" fmla="*/ 3667085 h 3814989"/>
                <a:gd name="connsiteX165" fmla="*/ 376333 w 3589486"/>
                <a:gd name="connsiteY165" fmla="*/ 3648671 h 3814989"/>
                <a:gd name="connsiteX166" fmla="*/ 341308 w 3589486"/>
                <a:gd name="connsiteY166" fmla="*/ 3653432 h 3814989"/>
                <a:gd name="connsiteX167" fmla="*/ 311595 w 3589486"/>
                <a:gd name="connsiteY167" fmla="*/ 3628020 h 3814989"/>
                <a:gd name="connsiteX168" fmla="*/ 293003 w 3589486"/>
                <a:gd name="connsiteY168" fmla="*/ 3624807 h 3814989"/>
                <a:gd name="connsiteX169" fmla="*/ 289351 w 3589486"/>
                <a:gd name="connsiteY169" fmla="*/ 3603927 h 3814989"/>
                <a:gd name="connsiteX170" fmla="*/ 297153 w 3589486"/>
                <a:gd name="connsiteY170" fmla="*/ 3575474 h 3814989"/>
                <a:gd name="connsiteX171" fmla="*/ 305785 w 3589486"/>
                <a:gd name="connsiteY171" fmla="*/ 3555052 h 3814989"/>
                <a:gd name="connsiteX172" fmla="*/ 314417 w 3589486"/>
                <a:gd name="connsiteY172" fmla="*/ 3534745 h 3814989"/>
                <a:gd name="connsiteX173" fmla="*/ 292671 w 3589486"/>
                <a:gd name="connsiteY173" fmla="*/ 3538473 h 3814989"/>
                <a:gd name="connsiteX174" fmla="*/ 270926 w 3589486"/>
                <a:gd name="connsiteY174" fmla="*/ 3542087 h 3814989"/>
                <a:gd name="connsiteX175" fmla="*/ 246027 w 3589486"/>
                <a:gd name="connsiteY175" fmla="*/ 3571458 h 3814989"/>
                <a:gd name="connsiteX176" fmla="*/ 223120 w 3589486"/>
                <a:gd name="connsiteY176" fmla="*/ 3546504 h 3814989"/>
                <a:gd name="connsiteX177" fmla="*/ 201540 w 3589486"/>
                <a:gd name="connsiteY177" fmla="*/ 3543751 h 3814989"/>
                <a:gd name="connsiteX178" fmla="*/ 181123 w 3589486"/>
                <a:gd name="connsiteY178" fmla="*/ 3545644 h 3814989"/>
                <a:gd name="connsiteX179" fmla="*/ 151078 w 3589486"/>
                <a:gd name="connsiteY179" fmla="*/ 3527230 h 3814989"/>
                <a:gd name="connsiteX180" fmla="*/ 120867 w 3589486"/>
                <a:gd name="connsiteY180" fmla="*/ 3546390 h 3814989"/>
                <a:gd name="connsiteX181" fmla="*/ 89826 w 3589486"/>
                <a:gd name="connsiteY181" fmla="*/ 3554191 h 3814989"/>
                <a:gd name="connsiteX182" fmla="*/ 56793 w 3589486"/>
                <a:gd name="connsiteY182" fmla="*/ 3566181 h 3814989"/>
                <a:gd name="connsiteX183" fmla="*/ 37870 w 3589486"/>
                <a:gd name="connsiteY183" fmla="*/ 3577711 h 3814989"/>
                <a:gd name="connsiteX184" fmla="*/ 18283 w 3589486"/>
                <a:gd name="connsiteY184" fmla="*/ 3540424 h 3814989"/>
                <a:gd name="connsiteX185" fmla="*/ 6165 w 3589486"/>
                <a:gd name="connsiteY185" fmla="*/ 3539334 h 3814989"/>
                <a:gd name="connsiteX186" fmla="*/ 8157 w 3589486"/>
                <a:gd name="connsiteY186" fmla="*/ 3528607 h 3814989"/>
                <a:gd name="connsiteX187" fmla="*/ 4007 w 3589486"/>
                <a:gd name="connsiteY187" fmla="*/ 3513061 h 3814989"/>
                <a:gd name="connsiteX188" fmla="*/ 4007 w 3589486"/>
                <a:gd name="connsiteY188" fmla="*/ 2783391 h 3814989"/>
                <a:gd name="connsiteX189" fmla="*/ 0 w 3589486"/>
                <a:gd name="connsiteY189" fmla="*/ 2783391 h 3814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3589486" h="3814989">
                  <a:moveTo>
                    <a:pt x="0" y="0"/>
                  </a:moveTo>
                  <a:lnTo>
                    <a:pt x="3589486" y="0"/>
                  </a:lnTo>
                  <a:lnTo>
                    <a:pt x="3589486" y="2594193"/>
                  </a:lnTo>
                  <a:lnTo>
                    <a:pt x="3589486" y="2783391"/>
                  </a:lnTo>
                  <a:lnTo>
                    <a:pt x="3589486" y="3601173"/>
                  </a:lnTo>
                  <a:cubicBezTo>
                    <a:pt x="3588324" y="3603468"/>
                    <a:pt x="3587328" y="3606221"/>
                    <a:pt x="3586332" y="3609778"/>
                  </a:cubicBezTo>
                  <a:cubicBezTo>
                    <a:pt x="3572223" y="3645688"/>
                    <a:pt x="3558611" y="3599280"/>
                    <a:pt x="3545996" y="3608114"/>
                  </a:cubicBezTo>
                  <a:cubicBezTo>
                    <a:pt x="3533546" y="3566066"/>
                    <a:pt x="3521926" y="3599796"/>
                    <a:pt x="3512133" y="3608344"/>
                  </a:cubicBezTo>
                  <a:cubicBezTo>
                    <a:pt x="3504165" y="3568991"/>
                    <a:pt x="3495699" y="3616145"/>
                    <a:pt x="3486736" y="3610237"/>
                  </a:cubicBezTo>
                  <a:cubicBezTo>
                    <a:pt x="3476112" y="3617120"/>
                    <a:pt x="3465654" y="3620103"/>
                    <a:pt x="3455695" y="3620161"/>
                  </a:cubicBezTo>
                  <a:cubicBezTo>
                    <a:pt x="3445901" y="3620218"/>
                    <a:pt x="3436439" y="3617465"/>
                    <a:pt x="3427642" y="3612818"/>
                  </a:cubicBezTo>
                  <a:cubicBezTo>
                    <a:pt x="3418844" y="3608917"/>
                    <a:pt x="3410544" y="3598936"/>
                    <a:pt x="3403074" y="3612302"/>
                  </a:cubicBezTo>
                  <a:cubicBezTo>
                    <a:pt x="3395605" y="3619530"/>
                    <a:pt x="3388633" y="3601230"/>
                    <a:pt x="3382657" y="3605074"/>
                  </a:cubicBezTo>
                  <a:cubicBezTo>
                    <a:pt x="3376515" y="3629798"/>
                    <a:pt x="3371203" y="3594347"/>
                    <a:pt x="3366888" y="3602894"/>
                  </a:cubicBezTo>
                  <a:cubicBezTo>
                    <a:pt x="3362572" y="3561362"/>
                    <a:pt x="3359086" y="3559870"/>
                    <a:pt x="3356430" y="3579432"/>
                  </a:cubicBezTo>
                  <a:cubicBezTo>
                    <a:pt x="3356430" y="3548111"/>
                    <a:pt x="3353110" y="3537039"/>
                    <a:pt x="3349790" y="3560501"/>
                  </a:cubicBezTo>
                  <a:cubicBezTo>
                    <a:pt x="3346470" y="3575302"/>
                    <a:pt x="3342984" y="3549315"/>
                    <a:pt x="3342984" y="3546103"/>
                  </a:cubicBezTo>
                  <a:cubicBezTo>
                    <a:pt x="3342984" y="3556830"/>
                    <a:pt x="3317089" y="3578342"/>
                    <a:pt x="3317089" y="3571114"/>
                  </a:cubicBezTo>
                  <a:cubicBezTo>
                    <a:pt x="3311114" y="3579489"/>
                    <a:pt x="3302648" y="3553331"/>
                    <a:pt x="3292854" y="3580809"/>
                  </a:cubicBezTo>
                  <a:cubicBezTo>
                    <a:pt x="3283060" y="3623889"/>
                    <a:pt x="3271607" y="3620046"/>
                    <a:pt x="3259655" y="3608057"/>
                  </a:cubicBezTo>
                  <a:cubicBezTo>
                    <a:pt x="3247538" y="3599223"/>
                    <a:pt x="3234756" y="3580809"/>
                    <a:pt x="3221809" y="3618210"/>
                  </a:cubicBezTo>
                  <a:cubicBezTo>
                    <a:pt x="3209027" y="3629282"/>
                    <a:pt x="3196245" y="3613220"/>
                    <a:pt x="3184128" y="3636395"/>
                  </a:cubicBezTo>
                  <a:cubicBezTo>
                    <a:pt x="3172010" y="3631117"/>
                    <a:pt x="3160723" y="3655325"/>
                    <a:pt x="3150929" y="3643049"/>
                  </a:cubicBezTo>
                  <a:cubicBezTo>
                    <a:pt x="3141135" y="3680451"/>
                    <a:pt x="3132836" y="3691465"/>
                    <a:pt x="3126860" y="3638059"/>
                  </a:cubicBezTo>
                  <a:cubicBezTo>
                    <a:pt x="3125200" y="3699783"/>
                    <a:pt x="3122876" y="3647638"/>
                    <a:pt x="3121050" y="3641386"/>
                  </a:cubicBezTo>
                  <a:cubicBezTo>
                    <a:pt x="3119390" y="3614711"/>
                    <a:pt x="3118394" y="3663299"/>
                    <a:pt x="3119390" y="3614310"/>
                  </a:cubicBezTo>
                  <a:cubicBezTo>
                    <a:pt x="3119390" y="3594461"/>
                    <a:pt x="3120054" y="3583447"/>
                    <a:pt x="3120884" y="3579145"/>
                  </a:cubicBezTo>
                  <a:cubicBezTo>
                    <a:pt x="3121880" y="3581210"/>
                    <a:pt x="3122544" y="3583619"/>
                    <a:pt x="3122544" y="3586545"/>
                  </a:cubicBezTo>
                  <a:cubicBezTo>
                    <a:pt x="3122544" y="3577539"/>
                    <a:pt x="3121714" y="3574441"/>
                    <a:pt x="3120884" y="3579145"/>
                  </a:cubicBezTo>
                  <a:cubicBezTo>
                    <a:pt x="3114908" y="3566467"/>
                    <a:pt x="3094491" y="3568131"/>
                    <a:pt x="3094491" y="3587291"/>
                  </a:cubicBezTo>
                  <a:cubicBezTo>
                    <a:pt x="3082871" y="3572663"/>
                    <a:pt x="3072248" y="3568188"/>
                    <a:pt x="3062288" y="3594002"/>
                  </a:cubicBezTo>
                  <a:cubicBezTo>
                    <a:pt x="3052328" y="3520117"/>
                    <a:pt x="3043365" y="3546390"/>
                    <a:pt x="3034733" y="3606623"/>
                  </a:cubicBezTo>
                  <a:cubicBezTo>
                    <a:pt x="3019959" y="3579776"/>
                    <a:pt x="3007178" y="3626241"/>
                    <a:pt x="2995724" y="3620677"/>
                  </a:cubicBezTo>
                  <a:cubicBezTo>
                    <a:pt x="2990744" y="3640181"/>
                    <a:pt x="2974809" y="3650679"/>
                    <a:pt x="2964185" y="3606737"/>
                  </a:cubicBezTo>
                  <a:cubicBezTo>
                    <a:pt x="2955388" y="3636624"/>
                    <a:pt x="2946258" y="3617866"/>
                    <a:pt x="2937626" y="3594060"/>
                  </a:cubicBezTo>
                  <a:cubicBezTo>
                    <a:pt x="2928994" y="3588610"/>
                    <a:pt x="2920695" y="3635649"/>
                    <a:pt x="2913391" y="3585971"/>
                  </a:cubicBezTo>
                  <a:cubicBezTo>
                    <a:pt x="2893638" y="3506120"/>
                    <a:pt x="2875046" y="3540366"/>
                    <a:pt x="2857119" y="3579776"/>
                  </a:cubicBezTo>
                  <a:cubicBezTo>
                    <a:pt x="2839191" y="3576219"/>
                    <a:pt x="2821928" y="3515986"/>
                    <a:pt x="2804997" y="3580005"/>
                  </a:cubicBezTo>
                  <a:cubicBezTo>
                    <a:pt x="2790721" y="3621767"/>
                    <a:pt x="2776944" y="3560903"/>
                    <a:pt x="2763166" y="3580464"/>
                  </a:cubicBezTo>
                  <a:cubicBezTo>
                    <a:pt x="2749388" y="3586488"/>
                    <a:pt x="2735777" y="3604959"/>
                    <a:pt x="2722165" y="3576793"/>
                  </a:cubicBezTo>
                  <a:cubicBezTo>
                    <a:pt x="2721833" y="3626184"/>
                    <a:pt x="2721003" y="3553618"/>
                    <a:pt x="2719343" y="3559641"/>
                  </a:cubicBezTo>
                  <a:cubicBezTo>
                    <a:pt x="2719343" y="3550635"/>
                    <a:pt x="2715360" y="3566467"/>
                    <a:pt x="2715360" y="3544210"/>
                  </a:cubicBezTo>
                  <a:cubicBezTo>
                    <a:pt x="2715360" y="3549774"/>
                    <a:pt x="2699424" y="3518969"/>
                    <a:pt x="2699424" y="3541915"/>
                  </a:cubicBezTo>
                  <a:cubicBezTo>
                    <a:pt x="2689796" y="3508127"/>
                    <a:pt x="2679339" y="3512143"/>
                    <a:pt x="2668549" y="3523444"/>
                  </a:cubicBezTo>
                  <a:cubicBezTo>
                    <a:pt x="2657594" y="3534745"/>
                    <a:pt x="2646306" y="3553388"/>
                    <a:pt x="2634686" y="3548570"/>
                  </a:cubicBezTo>
                  <a:cubicBezTo>
                    <a:pt x="2623233" y="3558551"/>
                    <a:pt x="2611447" y="3562452"/>
                    <a:pt x="2599662" y="3551094"/>
                  </a:cubicBezTo>
                  <a:cubicBezTo>
                    <a:pt x="2588042" y="3552815"/>
                    <a:pt x="2576256" y="3565836"/>
                    <a:pt x="2564969" y="3575474"/>
                  </a:cubicBezTo>
                  <a:cubicBezTo>
                    <a:pt x="2553515" y="3599165"/>
                    <a:pt x="2542393" y="3575129"/>
                    <a:pt x="2531936" y="3589930"/>
                  </a:cubicBezTo>
                  <a:cubicBezTo>
                    <a:pt x="2521312" y="3591995"/>
                    <a:pt x="2511187" y="3605877"/>
                    <a:pt x="2501891" y="3607426"/>
                  </a:cubicBezTo>
                  <a:cubicBezTo>
                    <a:pt x="2501891" y="3634559"/>
                    <a:pt x="2498239" y="3641041"/>
                    <a:pt x="2494255" y="3638460"/>
                  </a:cubicBezTo>
                  <a:cubicBezTo>
                    <a:pt x="2490437" y="3631978"/>
                    <a:pt x="2486619" y="3626356"/>
                    <a:pt x="2486619" y="3615457"/>
                  </a:cubicBezTo>
                  <a:cubicBezTo>
                    <a:pt x="2478984" y="3609606"/>
                    <a:pt x="2471348" y="3615113"/>
                    <a:pt x="2463712" y="3631691"/>
                  </a:cubicBezTo>
                  <a:cubicBezTo>
                    <a:pt x="2459894" y="3650449"/>
                    <a:pt x="2455910" y="3672076"/>
                    <a:pt x="2452093" y="3651138"/>
                  </a:cubicBezTo>
                  <a:cubicBezTo>
                    <a:pt x="2448275" y="3654809"/>
                    <a:pt x="2444291" y="3623545"/>
                    <a:pt x="2440473" y="3638632"/>
                  </a:cubicBezTo>
                  <a:cubicBezTo>
                    <a:pt x="2436655" y="3601804"/>
                    <a:pt x="2432671" y="3619530"/>
                    <a:pt x="2428853" y="3628134"/>
                  </a:cubicBezTo>
                  <a:cubicBezTo>
                    <a:pt x="2424869" y="3595437"/>
                    <a:pt x="2421052" y="3652170"/>
                    <a:pt x="2417068" y="3649933"/>
                  </a:cubicBezTo>
                  <a:cubicBezTo>
                    <a:pt x="2409100" y="3623316"/>
                    <a:pt x="2401132" y="3667372"/>
                    <a:pt x="2392999" y="3661406"/>
                  </a:cubicBezTo>
                  <a:cubicBezTo>
                    <a:pt x="2386691" y="3655842"/>
                    <a:pt x="2380383" y="3684409"/>
                    <a:pt x="2374075" y="3702135"/>
                  </a:cubicBezTo>
                  <a:cubicBezTo>
                    <a:pt x="2367767" y="3715845"/>
                    <a:pt x="2361294" y="3704946"/>
                    <a:pt x="2354820" y="3679648"/>
                  </a:cubicBezTo>
                  <a:cubicBezTo>
                    <a:pt x="2348512" y="3709764"/>
                    <a:pt x="2342038" y="3695423"/>
                    <a:pt x="2335564" y="3692383"/>
                  </a:cubicBezTo>
                  <a:cubicBezTo>
                    <a:pt x="2329091" y="3743552"/>
                    <a:pt x="2322617" y="3721754"/>
                    <a:pt x="2316143" y="3698808"/>
                  </a:cubicBezTo>
                  <a:cubicBezTo>
                    <a:pt x="2313321" y="3682344"/>
                    <a:pt x="2310167" y="3685098"/>
                    <a:pt x="2307179" y="3677411"/>
                  </a:cubicBezTo>
                  <a:cubicBezTo>
                    <a:pt x="2302864" y="3671043"/>
                    <a:pt x="2298714" y="3685327"/>
                    <a:pt x="2296722" y="3650679"/>
                  </a:cubicBezTo>
                  <a:cubicBezTo>
                    <a:pt x="2296722" y="3642361"/>
                    <a:pt x="2286264" y="3610007"/>
                    <a:pt x="2286264" y="3612416"/>
                  </a:cubicBezTo>
                  <a:cubicBezTo>
                    <a:pt x="2286264" y="3613564"/>
                    <a:pt x="2256883" y="3597043"/>
                    <a:pt x="2256883" y="3639206"/>
                  </a:cubicBezTo>
                  <a:cubicBezTo>
                    <a:pt x="2252899" y="3628077"/>
                    <a:pt x="2243604" y="3645975"/>
                    <a:pt x="2235138" y="3652514"/>
                  </a:cubicBezTo>
                  <a:cubicBezTo>
                    <a:pt x="2233312" y="3663127"/>
                    <a:pt x="2231154" y="3670527"/>
                    <a:pt x="2229162" y="3685040"/>
                  </a:cubicBezTo>
                  <a:cubicBezTo>
                    <a:pt x="2227170" y="3672018"/>
                    <a:pt x="2225178" y="3726343"/>
                    <a:pt x="2223186" y="3659111"/>
                  </a:cubicBezTo>
                  <a:cubicBezTo>
                    <a:pt x="2223186" y="3652859"/>
                    <a:pt x="2210073" y="3646835"/>
                    <a:pt x="2210073" y="3656358"/>
                  </a:cubicBezTo>
                  <a:cubicBezTo>
                    <a:pt x="2200611" y="3666454"/>
                    <a:pt x="2190485" y="3670011"/>
                    <a:pt x="2180194" y="3656014"/>
                  </a:cubicBezTo>
                  <a:cubicBezTo>
                    <a:pt x="2170068" y="3638862"/>
                    <a:pt x="2159610" y="3651826"/>
                    <a:pt x="2149983" y="3662152"/>
                  </a:cubicBezTo>
                  <a:cubicBezTo>
                    <a:pt x="2145501" y="3614080"/>
                    <a:pt x="2139691" y="3627561"/>
                    <a:pt x="2134711" y="3633871"/>
                  </a:cubicBezTo>
                  <a:cubicBezTo>
                    <a:pt x="2129565" y="3649072"/>
                    <a:pt x="2125250" y="3640009"/>
                    <a:pt x="2123424" y="3667142"/>
                  </a:cubicBezTo>
                  <a:cubicBezTo>
                    <a:pt x="2116452" y="3663299"/>
                    <a:pt x="2112136" y="3676837"/>
                    <a:pt x="2108982" y="3678730"/>
                  </a:cubicBezTo>
                  <a:cubicBezTo>
                    <a:pt x="2105662" y="3705978"/>
                    <a:pt x="2103836" y="3704946"/>
                    <a:pt x="2101512" y="3645172"/>
                  </a:cubicBezTo>
                  <a:cubicBezTo>
                    <a:pt x="2098027" y="3660947"/>
                    <a:pt x="2093047" y="3646835"/>
                    <a:pt x="2081261" y="3621308"/>
                  </a:cubicBezTo>
                  <a:cubicBezTo>
                    <a:pt x="2076779" y="3608688"/>
                    <a:pt x="2072297" y="3620906"/>
                    <a:pt x="2067982" y="3631117"/>
                  </a:cubicBezTo>
                  <a:cubicBezTo>
                    <a:pt x="2063500" y="3641328"/>
                    <a:pt x="2059184" y="3644598"/>
                    <a:pt x="2054702" y="3629282"/>
                  </a:cubicBezTo>
                  <a:cubicBezTo>
                    <a:pt x="2050386" y="3600599"/>
                    <a:pt x="2046070" y="3603582"/>
                    <a:pt x="2041588" y="3602033"/>
                  </a:cubicBezTo>
                  <a:cubicBezTo>
                    <a:pt x="2037273" y="3598936"/>
                    <a:pt x="2032957" y="3626987"/>
                    <a:pt x="2028641" y="3604730"/>
                  </a:cubicBezTo>
                  <a:cubicBezTo>
                    <a:pt x="2024159" y="3601632"/>
                    <a:pt x="2019843" y="3583333"/>
                    <a:pt x="2015527" y="3588495"/>
                  </a:cubicBezTo>
                  <a:cubicBezTo>
                    <a:pt x="2011211" y="3576850"/>
                    <a:pt x="2006896" y="3581038"/>
                    <a:pt x="2002580" y="3609089"/>
                  </a:cubicBezTo>
                  <a:cubicBezTo>
                    <a:pt x="1993782" y="3584193"/>
                    <a:pt x="1985150" y="3610523"/>
                    <a:pt x="1976353" y="3599280"/>
                  </a:cubicBezTo>
                  <a:cubicBezTo>
                    <a:pt x="1967721" y="3587291"/>
                    <a:pt x="1958923" y="3595092"/>
                    <a:pt x="1950126" y="3590962"/>
                  </a:cubicBezTo>
                  <a:cubicBezTo>
                    <a:pt x="1941162" y="3615399"/>
                    <a:pt x="1932364" y="3603123"/>
                    <a:pt x="1923234" y="3601517"/>
                  </a:cubicBezTo>
                  <a:cubicBezTo>
                    <a:pt x="1914271" y="3587291"/>
                    <a:pt x="1905141" y="3574785"/>
                    <a:pt x="1896011" y="3606680"/>
                  </a:cubicBezTo>
                  <a:cubicBezTo>
                    <a:pt x="1886716" y="3574212"/>
                    <a:pt x="1877254" y="3597157"/>
                    <a:pt x="1867792" y="3607770"/>
                  </a:cubicBezTo>
                  <a:cubicBezTo>
                    <a:pt x="1867792" y="3578342"/>
                    <a:pt x="1862480" y="3602263"/>
                    <a:pt x="1862480" y="3608516"/>
                  </a:cubicBezTo>
                  <a:cubicBezTo>
                    <a:pt x="1838743" y="3620046"/>
                    <a:pt x="1815504" y="3608401"/>
                    <a:pt x="1793095" y="3620734"/>
                  </a:cubicBezTo>
                  <a:cubicBezTo>
                    <a:pt x="1770519" y="3584021"/>
                    <a:pt x="1748442" y="3617465"/>
                    <a:pt x="1726863" y="3639779"/>
                  </a:cubicBezTo>
                  <a:cubicBezTo>
                    <a:pt x="1705284" y="3652916"/>
                    <a:pt x="1684368" y="3630658"/>
                    <a:pt x="1663785" y="3665880"/>
                  </a:cubicBezTo>
                  <a:cubicBezTo>
                    <a:pt x="1643202" y="3693301"/>
                    <a:pt x="1623117" y="3701045"/>
                    <a:pt x="1603529" y="3699037"/>
                  </a:cubicBezTo>
                  <a:cubicBezTo>
                    <a:pt x="1593735" y="3689801"/>
                    <a:pt x="1583942" y="3690146"/>
                    <a:pt x="1574480" y="3697660"/>
                  </a:cubicBezTo>
                  <a:cubicBezTo>
                    <a:pt x="1564853" y="3705118"/>
                    <a:pt x="1555225" y="3710682"/>
                    <a:pt x="1545929" y="3739307"/>
                  </a:cubicBezTo>
                  <a:cubicBezTo>
                    <a:pt x="1545763" y="3729326"/>
                    <a:pt x="1545763" y="3721581"/>
                    <a:pt x="1545597" y="3715271"/>
                  </a:cubicBezTo>
                  <a:cubicBezTo>
                    <a:pt x="1546261" y="3706781"/>
                    <a:pt x="1546759" y="3695079"/>
                    <a:pt x="1547423" y="3695423"/>
                  </a:cubicBezTo>
                  <a:cubicBezTo>
                    <a:pt x="1547589" y="3690146"/>
                    <a:pt x="1547921" y="3685786"/>
                    <a:pt x="1548087" y="3682057"/>
                  </a:cubicBezTo>
                  <a:cubicBezTo>
                    <a:pt x="1549083" y="3680967"/>
                    <a:pt x="1549747" y="3680566"/>
                    <a:pt x="1549747" y="3681254"/>
                  </a:cubicBezTo>
                  <a:cubicBezTo>
                    <a:pt x="1549747" y="3666569"/>
                    <a:pt x="1549083" y="3669437"/>
                    <a:pt x="1548087" y="3682057"/>
                  </a:cubicBezTo>
                  <a:cubicBezTo>
                    <a:pt x="1545265" y="3685327"/>
                    <a:pt x="1538791" y="3694620"/>
                    <a:pt x="1532317" y="3700701"/>
                  </a:cubicBezTo>
                  <a:cubicBezTo>
                    <a:pt x="1523520" y="3729383"/>
                    <a:pt x="1514722" y="3719688"/>
                    <a:pt x="1514722" y="3690432"/>
                  </a:cubicBezTo>
                  <a:cubicBezTo>
                    <a:pt x="1509078" y="3708617"/>
                    <a:pt x="1503932" y="3729096"/>
                    <a:pt x="1498953" y="3716820"/>
                  </a:cubicBezTo>
                  <a:cubicBezTo>
                    <a:pt x="1494139" y="3721811"/>
                    <a:pt x="1489325" y="3712231"/>
                    <a:pt x="1484843" y="3705290"/>
                  </a:cubicBezTo>
                  <a:cubicBezTo>
                    <a:pt x="1475880" y="3668806"/>
                    <a:pt x="1467580" y="3713149"/>
                    <a:pt x="1459612" y="3727088"/>
                  </a:cubicBezTo>
                  <a:cubicBezTo>
                    <a:pt x="1455960" y="3741946"/>
                    <a:pt x="1452308" y="3739192"/>
                    <a:pt x="1448822" y="3729957"/>
                  </a:cubicBezTo>
                  <a:cubicBezTo>
                    <a:pt x="1445336" y="3736554"/>
                    <a:pt x="1441851" y="3706437"/>
                    <a:pt x="1438365" y="3745560"/>
                  </a:cubicBezTo>
                  <a:cubicBezTo>
                    <a:pt x="1431559" y="3751870"/>
                    <a:pt x="1424753" y="3732423"/>
                    <a:pt x="1418279" y="3754279"/>
                  </a:cubicBezTo>
                  <a:cubicBezTo>
                    <a:pt x="1401182" y="3749346"/>
                    <a:pt x="1398194" y="3766383"/>
                    <a:pt x="1389396" y="3737127"/>
                  </a:cubicBezTo>
                  <a:cubicBezTo>
                    <a:pt x="1385246" y="3769653"/>
                    <a:pt x="1379935" y="3713895"/>
                    <a:pt x="1372133" y="3715501"/>
                  </a:cubicBezTo>
                  <a:cubicBezTo>
                    <a:pt x="1368315" y="3742577"/>
                    <a:pt x="1363833" y="3691694"/>
                    <a:pt x="1358355" y="3694850"/>
                  </a:cubicBezTo>
                  <a:cubicBezTo>
                    <a:pt x="1353044" y="3725999"/>
                    <a:pt x="1346902" y="3655612"/>
                    <a:pt x="1339764" y="3699037"/>
                  </a:cubicBezTo>
                  <a:cubicBezTo>
                    <a:pt x="1328642" y="3698980"/>
                    <a:pt x="1317687" y="3710281"/>
                    <a:pt x="1306731" y="3693874"/>
                  </a:cubicBezTo>
                  <a:cubicBezTo>
                    <a:pt x="1295941" y="3657218"/>
                    <a:pt x="1285152" y="3671387"/>
                    <a:pt x="1274528" y="3700127"/>
                  </a:cubicBezTo>
                  <a:cubicBezTo>
                    <a:pt x="1264071" y="3786346"/>
                    <a:pt x="1253447" y="3693588"/>
                    <a:pt x="1243155" y="3709650"/>
                  </a:cubicBezTo>
                  <a:cubicBezTo>
                    <a:pt x="1232698" y="3686302"/>
                    <a:pt x="1222572" y="3699783"/>
                    <a:pt x="1212280" y="3723360"/>
                  </a:cubicBezTo>
                  <a:cubicBezTo>
                    <a:pt x="1202155" y="3740741"/>
                    <a:pt x="1192029" y="3720549"/>
                    <a:pt x="1182069" y="3739709"/>
                  </a:cubicBezTo>
                  <a:cubicBezTo>
                    <a:pt x="1172110" y="3732538"/>
                    <a:pt x="1162150" y="3756689"/>
                    <a:pt x="1152190" y="3757320"/>
                  </a:cubicBezTo>
                  <a:cubicBezTo>
                    <a:pt x="1136089" y="3766039"/>
                    <a:pt x="1119987" y="3774644"/>
                    <a:pt x="1104218" y="3784912"/>
                  </a:cubicBezTo>
                  <a:lnTo>
                    <a:pt x="1057242" y="3805793"/>
                  </a:lnTo>
                  <a:cubicBezTo>
                    <a:pt x="1049440" y="3799024"/>
                    <a:pt x="1041638" y="3798909"/>
                    <a:pt x="1033836" y="3801490"/>
                  </a:cubicBezTo>
                  <a:cubicBezTo>
                    <a:pt x="1026201" y="3804129"/>
                    <a:pt x="1018399" y="3808317"/>
                    <a:pt x="1010763" y="3813996"/>
                  </a:cubicBezTo>
                  <a:cubicBezTo>
                    <a:pt x="1010597" y="3784568"/>
                    <a:pt x="1010597" y="3786117"/>
                    <a:pt x="1010431" y="3792025"/>
                  </a:cubicBezTo>
                  <a:cubicBezTo>
                    <a:pt x="1010431" y="3800171"/>
                    <a:pt x="1010265" y="3814856"/>
                    <a:pt x="1010265" y="3813996"/>
                  </a:cubicBezTo>
                  <a:cubicBezTo>
                    <a:pt x="1009269" y="3818585"/>
                    <a:pt x="1008107" y="3790878"/>
                    <a:pt x="1006945" y="3776422"/>
                  </a:cubicBezTo>
                  <a:cubicBezTo>
                    <a:pt x="1005783" y="3762253"/>
                    <a:pt x="1004621" y="3757262"/>
                    <a:pt x="1003459" y="3793574"/>
                  </a:cubicBezTo>
                  <a:cubicBezTo>
                    <a:pt x="1001799" y="3833271"/>
                    <a:pt x="1000305" y="3803498"/>
                    <a:pt x="999144" y="3814168"/>
                  </a:cubicBezTo>
                  <a:cubicBezTo>
                    <a:pt x="998314" y="3807629"/>
                    <a:pt x="997650" y="3786862"/>
                    <a:pt x="997318" y="3775848"/>
                  </a:cubicBezTo>
                  <a:lnTo>
                    <a:pt x="997318" y="3743839"/>
                  </a:lnTo>
                  <a:cubicBezTo>
                    <a:pt x="997318" y="3727318"/>
                    <a:pt x="970260" y="3735120"/>
                    <a:pt x="970260" y="3746994"/>
                  </a:cubicBezTo>
                  <a:cubicBezTo>
                    <a:pt x="965447" y="3775045"/>
                    <a:pt x="960799" y="3746363"/>
                    <a:pt x="955985" y="3757434"/>
                  </a:cubicBezTo>
                  <a:cubicBezTo>
                    <a:pt x="951171" y="3764318"/>
                    <a:pt x="946357" y="3762769"/>
                    <a:pt x="941377" y="3751296"/>
                  </a:cubicBezTo>
                  <a:cubicBezTo>
                    <a:pt x="939552" y="3772292"/>
                    <a:pt x="937726" y="3787264"/>
                    <a:pt x="935900" y="3796901"/>
                  </a:cubicBezTo>
                  <a:cubicBezTo>
                    <a:pt x="933078" y="3797360"/>
                    <a:pt x="930422" y="3797245"/>
                    <a:pt x="927766" y="3794549"/>
                  </a:cubicBezTo>
                  <a:cubicBezTo>
                    <a:pt x="926936" y="3796098"/>
                    <a:pt x="926106" y="3797762"/>
                    <a:pt x="925442" y="3799540"/>
                  </a:cubicBezTo>
                  <a:cubicBezTo>
                    <a:pt x="921624" y="3793287"/>
                    <a:pt x="917972" y="3788182"/>
                    <a:pt x="914320" y="3755369"/>
                  </a:cubicBezTo>
                  <a:cubicBezTo>
                    <a:pt x="905191" y="3755943"/>
                    <a:pt x="896227" y="3743552"/>
                    <a:pt x="887595" y="3757090"/>
                  </a:cubicBezTo>
                  <a:cubicBezTo>
                    <a:pt x="887263" y="3726630"/>
                    <a:pt x="886433" y="3771317"/>
                    <a:pt x="885271" y="3784338"/>
                  </a:cubicBezTo>
                  <a:cubicBezTo>
                    <a:pt x="884109" y="3779921"/>
                    <a:pt x="882449" y="3759270"/>
                    <a:pt x="880458" y="3729613"/>
                  </a:cubicBezTo>
                  <a:cubicBezTo>
                    <a:pt x="878466" y="3723532"/>
                    <a:pt x="876142" y="3691924"/>
                    <a:pt x="873320" y="3689801"/>
                  </a:cubicBezTo>
                  <a:cubicBezTo>
                    <a:pt x="870664" y="3724679"/>
                    <a:pt x="867510" y="3658997"/>
                    <a:pt x="863858" y="3709650"/>
                  </a:cubicBezTo>
                  <a:cubicBezTo>
                    <a:pt x="857052" y="3683090"/>
                    <a:pt x="849583" y="3697947"/>
                    <a:pt x="841117" y="3689228"/>
                  </a:cubicBezTo>
                  <a:cubicBezTo>
                    <a:pt x="832817" y="3712919"/>
                    <a:pt x="823687" y="3692268"/>
                    <a:pt x="814060" y="3696284"/>
                  </a:cubicBezTo>
                  <a:cubicBezTo>
                    <a:pt x="804100" y="3650105"/>
                    <a:pt x="793642" y="3659456"/>
                    <a:pt x="782521" y="3691809"/>
                  </a:cubicBezTo>
                  <a:cubicBezTo>
                    <a:pt x="771399" y="3660660"/>
                    <a:pt x="759614" y="3730645"/>
                    <a:pt x="747164" y="3710567"/>
                  </a:cubicBezTo>
                  <a:cubicBezTo>
                    <a:pt x="734880" y="3756058"/>
                    <a:pt x="721933" y="3720262"/>
                    <a:pt x="708487" y="3731104"/>
                  </a:cubicBezTo>
                  <a:cubicBezTo>
                    <a:pt x="694876" y="3685384"/>
                    <a:pt x="680932" y="3764031"/>
                    <a:pt x="666325" y="3742520"/>
                  </a:cubicBezTo>
                  <a:cubicBezTo>
                    <a:pt x="661013" y="3729555"/>
                    <a:pt x="655369" y="3751354"/>
                    <a:pt x="649891" y="3763400"/>
                  </a:cubicBezTo>
                  <a:cubicBezTo>
                    <a:pt x="644413" y="3724392"/>
                    <a:pt x="639102" y="3795238"/>
                    <a:pt x="634122" y="3756000"/>
                  </a:cubicBezTo>
                  <a:cubicBezTo>
                    <a:pt x="624328" y="3739479"/>
                    <a:pt x="616194" y="3810784"/>
                    <a:pt x="612045" y="3763228"/>
                  </a:cubicBezTo>
                  <a:cubicBezTo>
                    <a:pt x="611713" y="3770514"/>
                    <a:pt x="611215" y="3776652"/>
                    <a:pt x="610717" y="3782388"/>
                  </a:cubicBezTo>
                  <a:cubicBezTo>
                    <a:pt x="606733" y="3778487"/>
                    <a:pt x="602085" y="3790247"/>
                    <a:pt x="597437" y="3798852"/>
                  </a:cubicBezTo>
                  <a:cubicBezTo>
                    <a:pt x="595611" y="3788698"/>
                    <a:pt x="593785" y="3775332"/>
                    <a:pt x="591793" y="3760131"/>
                  </a:cubicBezTo>
                  <a:cubicBezTo>
                    <a:pt x="583992" y="3785658"/>
                    <a:pt x="575194" y="3752099"/>
                    <a:pt x="566064" y="3760762"/>
                  </a:cubicBezTo>
                  <a:cubicBezTo>
                    <a:pt x="557100" y="3664848"/>
                    <a:pt x="547639" y="3771145"/>
                    <a:pt x="538343" y="3749518"/>
                  </a:cubicBezTo>
                  <a:cubicBezTo>
                    <a:pt x="528881" y="3709420"/>
                    <a:pt x="519752" y="3788756"/>
                    <a:pt x="511286" y="3746650"/>
                  </a:cubicBezTo>
                  <a:cubicBezTo>
                    <a:pt x="502654" y="3755255"/>
                    <a:pt x="494852" y="3737299"/>
                    <a:pt x="488213" y="3735808"/>
                  </a:cubicBezTo>
                  <a:cubicBezTo>
                    <a:pt x="481407" y="3704257"/>
                    <a:pt x="475929" y="3725826"/>
                    <a:pt x="472111" y="3722499"/>
                  </a:cubicBezTo>
                  <a:cubicBezTo>
                    <a:pt x="466965" y="3722155"/>
                    <a:pt x="467131" y="3676894"/>
                    <a:pt x="469123" y="3705749"/>
                  </a:cubicBezTo>
                  <a:cubicBezTo>
                    <a:pt x="469123" y="3701848"/>
                    <a:pt x="470949" y="3691694"/>
                    <a:pt x="473107" y="3683836"/>
                  </a:cubicBezTo>
                  <a:cubicBezTo>
                    <a:pt x="476261" y="3681197"/>
                    <a:pt x="478585" y="3678902"/>
                    <a:pt x="478585" y="3679533"/>
                  </a:cubicBezTo>
                  <a:cubicBezTo>
                    <a:pt x="478585" y="3668060"/>
                    <a:pt x="475763" y="3674313"/>
                    <a:pt x="473107" y="3683836"/>
                  </a:cubicBezTo>
                  <a:cubicBezTo>
                    <a:pt x="470783" y="3685843"/>
                    <a:pt x="467795" y="3688023"/>
                    <a:pt x="464974" y="3689170"/>
                  </a:cubicBezTo>
                  <a:cubicBezTo>
                    <a:pt x="458002" y="3704085"/>
                    <a:pt x="451196" y="3718541"/>
                    <a:pt x="451196" y="3673854"/>
                  </a:cubicBezTo>
                  <a:cubicBezTo>
                    <a:pt x="445220" y="3661693"/>
                    <a:pt x="438912" y="3659914"/>
                    <a:pt x="432107" y="3658136"/>
                  </a:cubicBezTo>
                  <a:cubicBezTo>
                    <a:pt x="425467" y="3660488"/>
                    <a:pt x="418329" y="3673797"/>
                    <a:pt x="411025" y="3667085"/>
                  </a:cubicBezTo>
                  <a:cubicBezTo>
                    <a:pt x="400236" y="3676550"/>
                    <a:pt x="388284" y="3642074"/>
                    <a:pt x="376333" y="3648671"/>
                  </a:cubicBezTo>
                  <a:cubicBezTo>
                    <a:pt x="364381" y="3646434"/>
                    <a:pt x="352429" y="3627044"/>
                    <a:pt x="341308" y="3653432"/>
                  </a:cubicBezTo>
                  <a:cubicBezTo>
                    <a:pt x="330186" y="3668347"/>
                    <a:pt x="320060" y="3619931"/>
                    <a:pt x="311595" y="3628020"/>
                  </a:cubicBezTo>
                  <a:cubicBezTo>
                    <a:pt x="303295" y="3627561"/>
                    <a:pt x="296821" y="3619071"/>
                    <a:pt x="293003" y="3624807"/>
                  </a:cubicBezTo>
                  <a:cubicBezTo>
                    <a:pt x="289849" y="3599165"/>
                    <a:pt x="288687" y="3610466"/>
                    <a:pt x="289351" y="3603927"/>
                  </a:cubicBezTo>
                  <a:cubicBezTo>
                    <a:pt x="290015" y="3595035"/>
                    <a:pt x="292671" y="3568762"/>
                    <a:pt x="297153" y="3575474"/>
                  </a:cubicBezTo>
                  <a:cubicBezTo>
                    <a:pt x="297153" y="3571171"/>
                    <a:pt x="301469" y="3534114"/>
                    <a:pt x="305785" y="3555052"/>
                  </a:cubicBezTo>
                  <a:cubicBezTo>
                    <a:pt x="310101" y="3543980"/>
                    <a:pt x="314417" y="3552757"/>
                    <a:pt x="314417" y="3534745"/>
                  </a:cubicBezTo>
                  <a:cubicBezTo>
                    <a:pt x="314417" y="3495966"/>
                    <a:pt x="303461" y="3581095"/>
                    <a:pt x="292671" y="3538473"/>
                  </a:cubicBezTo>
                  <a:cubicBezTo>
                    <a:pt x="281716" y="3553503"/>
                    <a:pt x="270926" y="3529811"/>
                    <a:pt x="270926" y="3542087"/>
                  </a:cubicBezTo>
                  <a:cubicBezTo>
                    <a:pt x="262128" y="3521608"/>
                    <a:pt x="253829" y="3552241"/>
                    <a:pt x="246027" y="3571458"/>
                  </a:cubicBezTo>
                  <a:cubicBezTo>
                    <a:pt x="238059" y="3577998"/>
                    <a:pt x="230423" y="3580063"/>
                    <a:pt x="223120" y="3546504"/>
                  </a:cubicBezTo>
                  <a:cubicBezTo>
                    <a:pt x="215650" y="3551094"/>
                    <a:pt x="208512" y="3518969"/>
                    <a:pt x="201540" y="3543751"/>
                  </a:cubicBezTo>
                  <a:cubicBezTo>
                    <a:pt x="194569" y="3532737"/>
                    <a:pt x="187763" y="3528320"/>
                    <a:pt x="181123" y="3545644"/>
                  </a:cubicBezTo>
                  <a:cubicBezTo>
                    <a:pt x="170997" y="3525050"/>
                    <a:pt x="161038" y="3525566"/>
                    <a:pt x="151078" y="3527230"/>
                  </a:cubicBezTo>
                  <a:cubicBezTo>
                    <a:pt x="141118" y="3523100"/>
                    <a:pt x="130993" y="3538760"/>
                    <a:pt x="120867" y="3546390"/>
                  </a:cubicBezTo>
                  <a:cubicBezTo>
                    <a:pt x="110741" y="3526312"/>
                    <a:pt x="100450" y="3563829"/>
                    <a:pt x="89826" y="3554191"/>
                  </a:cubicBezTo>
                  <a:cubicBezTo>
                    <a:pt x="79203" y="3568991"/>
                    <a:pt x="68247" y="3566467"/>
                    <a:pt x="56793" y="3566181"/>
                  </a:cubicBezTo>
                  <a:cubicBezTo>
                    <a:pt x="50651" y="3582013"/>
                    <a:pt x="44344" y="3592339"/>
                    <a:pt x="37870" y="3577711"/>
                  </a:cubicBezTo>
                  <a:cubicBezTo>
                    <a:pt x="31396" y="3557117"/>
                    <a:pt x="24922" y="3533884"/>
                    <a:pt x="18283" y="3540424"/>
                  </a:cubicBezTo>
                  <a:cubicBezTo>
                    <a:pt x="14299" y="3550635"/>
                    <a:pt x="10149" y="3542948"/>
                    <a:pt x="6165" y="3539334"/>
                  </a:cubicBezTo>
                  <a:cubicBezTo>
                    <a:pt x="6829" y="3535777"/>
                    <a:pt x="7493" y="3532393"/>
                    <a:pt x="8157" y="3528607"/>
                  </a:cubicBezTo>
                  <a:cubicBezTo>
                    <a:pt x="6829" y="3523386"/>
                    <a:pt x="5335" y="3518166"/>
                    <a:pt x="4007" y="3513061"/>
                  </a:cubicBezTo>
                  <a:lnTo>
                    <a:pt x="4007" y="2783391"/>
                  </a:lnTo>
                  <a:lnTo>
                    <a:pt x="0" y="2783391"/>
                  </a:lnTo>
                  <a:close/>
                </a:path>
              </a:pathLst>
            </a:custGeom>
            <a:solidFill>
              <a:schemeClr val="bg1"/>
            </a:solidFill>
            <a:ln w="3175" cmpd="sng">
              <a:solidFill>
                <a:schemeClr val="bg1">
                  <a:lumMod val="85000"/>
                </a:schemeClr>
              </a:solidFill>
            </a:ln>
            <a:effectLst>
              <a:outerShdw blurRad="123295" dist="38100" dir="2700000" algn="tl" rotWithShape="0">
                <a:prstClr val="black">
                  <a:alpha val="40000"/>
                </a:prstClr>
              </a:outerShdw>
            </a:effectLst>
          </p:spPr>
          <p:txBody>
            <a:bodyPr wrap="square" lIns="182880" tIns="1371600" rIns="182880" bIns="365760">
              <a:spAutoFit/>
            </a:bodyPr>
            <a:lstStyle/>
            <a:p>
              <a:pPr lvl="0" defTabSz="1018705">
                <a:spcAft>
                  <a:spcPts val="200"/>
                </a:spcAft>
                <a:defRPr/>
              </a:pPr>
              <a:r>
                <a:rPr lang="en-US" sz="1400" b="1" dirty="0">
                  <a:solidFill>
                    <a:srgbClr val="000000"/>
                  </a:solidFill>
                  <a:latin typeface="Times New Roman" charset="0"/>
                  <a:ea typeface="Times New Roman" charset="0"/>
                  <a:cs typeface="Times New Roman" charset="0"/>
                </a:rPr>
                <a:t>HEADLINE TEXT</a:t>
              </a:r>
            </a:p>
            <a:p>
              <a:pPr lvl="0" algn="just" defTabSz="1018705">
                <a:spcAft>
                  <a:spcPts val="200"/>
                </a:spcAft>
                <a:defRPr/>
              </a:pPr>
              <a:r>
                <a:rPr lang="en-US" sz="1000" dirty="0">
                  <a:solidFill>
                    <a:srgbClr val="000000"/>
                  </a:solidFill>
                  <a:latin typeface="Times New Roman" charset="0"/>
                  <a:ea typeface="Times New Roman" charset="0"/>
                  <a:cs typeface="Times New Roman" charset="0"/>
                </a:rPr>
                <a:t>New York, Monday, July 21—This is sample news article text and can easily be replaced with your custom copy. Text is justified to look realistic. Please use the Time New Roman font.</a:t>
              </a:r>
              <a:endParaRPr kumimoji="0" lang="en-US" sz="1000" b="0" i="0" u="none" strike="noStrike" kern="1200" cap="none" spc="0" normalizeH="0" baseline="0" noProof="0" dirty="0">
                <a:ln>
                  <a:noFill/>
                </a:ln>
                <a:solidFill>
                  <a:srgbClr val="000000"/>
                </a:solidFill>
                <a:effectLst/>
                <a:uLnTx/>
                <a:uFillTx/>
                <a:latin typeface="Times New Roman" charset="0"/>
                <a:ea typeface="Times New Roman" charset="0"/>
                <a:cs typeface="Times New Roman" charset="0"/>
              </a:endParaRPr>
            </a:p>
          </p:txBody>
        </p:sp>
        <p:pic>
          <p:nvPicPr>
            <p:cNvPr id="12" name="Picture Placeholder 51">
              <a:extLst>
                <a:ext uri="{FF2B5EF4-FFF2-40B4-BE49-F238E27FC236}">
                  <a16:creationId xmlns:a16="http://schemas.microsoft.com/office/drawing/2014/main" id="{AC54122B-2DC0-0C4C-9F85-DCD422C14D5E}"/>
                </a:ext>
              </a:extLst>
            </p:cNvPr>
            <p:cNvPicPr>
              <a:picLocks noChangeAspect="1"/>
            </p:cNvPicPr>
            <p:nvPr/>
          </p:nvPicPr>
          <p:blipFill>
            <a:blip r:embed="rId2">
              <a:extLst>
                <a:ext uri="{28A0092B-C50C-407E-A947-70E740481C1C}">
                  <a14:useLocalDpi xmlns:a14="http://schemas.microsoft.com/office/drawing/2010/main" val="0"/>
                </a:ext>
              </a:extLst>
            </a:blip>
            <a:srcRect t="10582" b="10582"/>
            <a:stretch/>
          </p:blipFill>
          <p:spPr>
            <a:xfrm>
              <a:off x="3366061" y="2657476"/>
              <a:ext cx="2029968" cy="1066910"/>
            </a:xfrm>
            <a:prstGeom prst="rect">
              <a:avLst/>
            </a:prstGeom>
          </p:spPr>
        </p:pic>
      </p:grpSp>
      <p:sp>
        <p:nvSpPr>
          <p:cNvPr id="13" name="TextBox 12">
            <a:extLst>
              <a:ext uri="{FF2B5EF4-FFF2-40B4-BE49-F238E27FC236}">
                <a16:creationId xmlns:a16="http://schemas.microsoft.com/office/drawing/2014/main" id="{A826393F-089A-9D4B-80EC-6A22F897DAA0}"/>
              </a:ext>
            </a:extLst>
          </p:cNvPr>
          <p:cNvSpPr txBox="1"/>
          <p:nvPr/>
        </p:nvSpPr>
        <p:spPr>
          <a:xfrm>
            <a:off x="4064000" y="2393746"/>
            <a:ext cx="2377150" cy="749885"/>
          </a:xfrm>
          <a:prstGeom prst="rect">
            <a:avLst/>
          </a:prstGeom>
          <a:noFill/>
        </p:spPr>
        <p:txBody>
          <a:bodyPr wrap="square" lIns="0" tIns="0" rIns="0" bIns="0" rtlCol="0">
            <a:spAutoFit/>
          </a:bodyPr>
          <a:lstStyle>
            <a:defPPr>
              <a:defRPr lang="en-US"/>
            </a:defPPr>
            <a:lvl1pPr defTabSz="342900">
              <a:lnSpc>
                <a:spcPct val="110000"/>
              </a:lnSpc>
              <a:defRPr sz="900">
                <a:cs typeface="+mj-cs"/>
              </a:defRPr>
            </a:lvl1pPr>
          </a:lstStyle>
          <a:p>
            <a:r>
              <a:rPr lang="en-US" dirty="0"/>
              <a:t>Right click the below placeholder image and</a:t>
            </a:r>
            <a:br>
              <a:rPr lang="en-US" dirty="0"/>
            </a:br>
            <a:r>
              <a:rPr lang="en-US" dirty="0"/>
              <a:t>choose Change Picture to add your own. </a:t>
            </a:r>
            <a:br>
              <a:rPr lang="en-US" dirty="0"/>
            </a:br>
            <a:r>
              <a:rPr lang="en-US" dirty="0"/>
              <a:t>To use an image with a different aspect ratio, adjust the top margin of the box to change the vertical start of the headline text.</a:t>
            </a:r>
          </a:p>
        </p:txBody>
      </p:sp>
      <p:sp>
        <p:nvSpPr>
          <p:cNvPr id="14" name="Freeform 13">
            <a:extLst>
              <a:ext uri="{FF2B5EF4-FFF2-40B4-BE49-F238E27FC236}">
                <a16:creationId xmlns:a16="http://schemas.microsoft.com/office/drawing/2014/main" id="{3B8C6420-64E3-3442-B730-6EC9F2860E77}"/>
              </a:ext>
            </a:extLst>
          </p:cNvPr>
          <p:cNvSpPr/>
          <p:nvPr/>
        </p:nvSpPr>
        <p:spPr>
          <a:xfrm>
            <a:off x="295656" y="3429000"/>
            <a:ext cx="2377151" cy="1426031"/>
          </a:xfrm>
          <a:custGeom>
            <a:avLst/>
            <a:gdLst>
              <a:gd name="connsiteX0" fmla="*/ 0 w 3589486"/>
              <a:gd name="connsiteY0" fmla="*/ 0 h 3814989"/>
              <a:gd name="connsiteX1" fmla="*/ 3589486 w 3589486"/>
              <a:gd name="connsiteY1" fmla="*/ 0 h 3814989"/>
              <a:gd name="connsiteX2" fmla="*/ 3589486 w 3589486"/>
              <a:gd name="connsiteY2" fmla="*/ 2594193 h 3814989"/>
              <a:gd name="connsiteX3" fmla="*/ 3589486 w 3589486"/>
              <a:gd name="connsiteY3" fmla="*/ 2783391 h 3814989"/>
              <a:gd name="connsiteX4" fmla="*/ 3589486 w 3589486"/>
              <a:gd name="connsiteY4" fmla="*/ 3601173 h 3814989"/>
              <a:gd name="connsiteX5" fmla="*/ 3586332 w 3589486"/>
              <a:gd name="connsiteY5" fmla="*/ 3609778 h 3814989"/>
              <a:gd name="connsiteX6" fmla="*/ 3545996 w 3589486"/>
              <a:gd name="connsiteY6" fmla="*/ 3608114 h 3814989"/>
              <a:gd name="connsiteX7" fmla="*/ 3512133 w 3589486"/>
              <a:gd name="connsiteY7" fmla="*/ 3608344 h 3814989"/>
              <a:gd name="connsiteX8" fmla="*/ 3486736 w 3589486"/>
              <a:gd name="connsiteY8" fmla="*/ 3610237 h 3814989"/>
              <a:gd name="connsiteX9" fmla="*/ 3455695 w 3589486"/>
              <a:gd name="connsiteY9" fmla="*/ 3620161 h 3814989"/>
              <a:gd name="connsiteX10" fmla="*/ 3427642 w 3589486"/>
              <a:gd name="connsiteY10" fmla="*/ 3612818 h 3814989"/>
              <a:gd name="connsiteX11" fmla="*/ 3403074 w 3589486"/>
              <a:gd name="connsiteY11" fmla="*/ 3612302 h 3814989"/>
              <a:gd name="connsiteX12" fmla="*/ 3382657 w 3589486"/>
              <a:gd name="connsiteY12" fmla="*/ 3605074 h 3814989"/>
              <a:gd name="connsiteX13" fmla="*/ 3366888 w 3589486"/>
              <a:gd name="connsiteY13" fmla="*/ 3602894 h 3814989"/>
              <a:gd name="connsiteX14" fmla="*/ 3356430 w 3589486"/>
              <a:gd name="connsiteY14" fmla="*/ 3579432 h 3814989"/>
              <a:gd name="connsiteX15" fmla="*/ 3349790 w 3589486"/>
              <a:gd name="connsiteY15" fmla="*/ 3560501 h 3814989"/>
              <a:gd name="connsiteX16" fmla="*/ 3342984 w 3589486"/>
              <a:gd name="connsiteY16" fmla="*/ 3546103 h 3814989"/>
              <a:gd name="connsiteX17" fmla="*/ 3317089 w 3589486"/>
              <a:gd name="connsiteY17" fmla="*/ 3571114 h 3814989"/>
              <a:gd name="connsiteX18" fmla="*/ 3292854 w 3589486"/>
              <a:gd name="connsiteY18" fmla="*/ 3580809 h 3814989"/>
              <a:gd name="connsiteX19" fmla="*/ 3259655 w 3589486"/>
              <a:gd name="connsiteY19" fmla="*/ 3608057 h 3814989"/>
              <a:gd name="connsiteX20" fmla="*/ 3221809 w 3589486"/>
              <a:gd name="connsiteY20" fmla="*/ 3618210 h 3814989"/>
              <a:gd name="connsiteX21" fmla="*/ 3184128 w 3589486"/>
              <a:gd name="connsiteY21" fmla="*/ 3636395 h 3814989"/>
              <a:gd name="connsiteX22" fmla="*/ 3150929 w 3589486"/>
              <a:gd name="connsiteY22" fmla="*/ 3643049 h 3814989"/>
              <a:gd name="connsiteX23" fmla="*/ 3126860 w 3589486"/>
              <a:gd name="connsiteY23" fmla="*/ 3638059 h 3814989"/>
              <a:gd name="connsiteX24" fmla="*/ 3121050 w 3589486"/>
              <a:gd name="connsiteY24" fmla="*/ 3641386 h 3814989"/>
              <a:gd name="connsiteX25" fmla="*/ 3119390 w 3589486"/>
              <a:gd name="connsiteY25" fmla="*/ 3614310 h 3814989"/>
              <a:gd name="connsiteX26" fmla="*/ 3120884 w 3589486"/>
              <a:gd name="connsiteY26" fmla="*/ 3579145 h 3814989"/>
              <a:gd name="connsiteX27" fmla="*/ 3122544 w 3589486"/>
              <a:gd name="connsiteY27" fmla="*/ 3586545 h 3814989"/>
              <a:gd name="connsiteX28" fmla="*/ 3120884 w 3589486"/>
              <a:gd name="connsiteY28" fmla="*/ 3579145 h 3814989"/>
              <a:gd name="connsiteX29" fmla="*/ 3094491 w 3589486"/>
              <a:gd name="connsiteY29" fmla="*/ 3587291 h 3814989"/>
              <a:gd name="connsiteX30" fmla="*/ 3062288 w 3589486"/>
              <a:gd name="connsiteY30" fmla="*/ 3594002 h 3814989"/>
              <a:gd name="connsiteX31" fmla="*/ 3034733 w 3589486"/>
              <a:gd name="connsiteY31" fmla="*/ 3606623 h 3814989"/>
              <a:gd name="connsiteX32" fmla="*/ 2995724 w 3589486"/>
              <a:gd name="connsiteY32" fmla="*/ 3620677 h 3814989"/>
              <a:gd name="connsiteX33" fmla="*/ 2964185 w 3589486"/>
              <a:gd name="connsiteY33" fmla="*/ 3606737 h 3814989"/>
              <a:gd name="connsiteX34" fmla="*/ 2937626 w 3589486"/>
              <a:gd name="connsiteY34" fmla="*/ 3594060 h 3814989"/>
              <a:gd name="connsiteX35" fmla="*/ 2913391 w 3589486"/>
              <a:gd name="connsiteY35" fmla="*/ 3585971 h 3814989"/>
              <a:gd name="connsiteX36" fmla="*/ 2857119 w 3589486"/>
              <a:gd name="connsiteY36" fmla="*/ 3579776 h 3814989"/>
              <a:gd name="connsiteX37" fmla="*/ 2804997 w 3589486"/>
              <a:gd name="connsiteY37" fmla="*/ 3580005 h 3814989"/>
              <a:gd name="connsiteX38" fmla="*/ 2763166 w 3589486"/>
              <a:gd name="connsiteY38" fmla="*/ 3580464 h 3814989"/>
              <a:gd name="connsiteX39" fmla="*/ 2722165 w 3589486"/>
              <a:gd name="connsiteY39" fmla="*/ 3576793 h 3814989"/>
              <a:gd name="connsiteX40" fmla="*/ 2719343 w 3589486"/>
              <a:gd name="connsiteY40" fmla="*/ 3559641 h 3814989"/>
              <a:gd name="connsiteX41" fmla="*/ 2715360 w 3589486"/>
              <a:gd name="connsiteY41" fmla="*/ 3544210 h 3814989"/>
              <a:gd name="connsiteX42" fmla="*/ 2699424 w 3589486"/>
              <a:gd name="connsiteY42" fmla="*/ 3541915 h 3814989"/>
              <a:gd name="connsiteX43" fmla="*/ 2668549 w 3589486"/>
              <a:gd name="connsiteY43" fmla="*/ 3523444 h 3814989"/>
              <a:gd name="connsiteX44" fmla="*/ 2634686 w 3589486"/>
              <a:gd name="connsiteY44" fmla="*/ 3548570 h 3814989"/>
              <a:gd name="connsiteX45" fmla="*/ 2599662 w 3589486"/>
              <a:gd name="connsiteY45" fmla="*/ 3551094 h 3814989"/>
              <a:gd name="connsiteX46" fmla="*/ 2564969 w 3589486"/>
              <a:gd name="connsiteY46" fmla="*/ 3575474 h 3814989"/>
              <a:gd name="connsiteX47" fmla="*/ 2531936 w 3589486"/>
              <a:gd name="connsiteY47" fmla="*/ 3589930 h 3814989"/>
              <a:gd name="connsiteX48" fmla="*/ 2501891 w 3589486"/>
              <a:gd name="connsiteY48" fmla="*/ 3607426 h 3814989"/>
              <a:gd name="connsiteX49" fmla="*/ 2494255 w 3589486"/>
              <a:gd name="connsiteY49" fmla="*/ 3638460 h 3814989"/>
              <a:gd name="connsiteX50" fmla="*/ 2486619 w 3589486"/>
              <a:gd name="connsiteY50" fmla="*/ 3615457 h 3814989"/>
              <a:gd name="connsiteX51" fmla="*/ 2463712 w 3589486"/>
              <a:gd name="connsiteY51" fmla="*/ 3631691 h 3814989"/>
              <a:gd name="connsiteX52" fmla="*/ 2452093 w 3589486"/>
              <a:gd name="connsiteY52" fmla="*/ 3651138 h 3814989"/>
              <a:gd name="connsiteX53" fmla="*/ 2440473 w 3589486"/>
              <a:gd name="connsiteY53" fmla="*/ 3638632 h 3814989"/>
              <a:gd name="connsiteX54" fmla="*/ 2428853 w 3589486"/>
              <a:gd name="connsiteY54" fmla="*/ 3628134 h 3814989"/>
              <a:gd name="connsiteX55" fmla="*/ 2417068 w 3589486"/>
              <a:gd name="connsiteY55" fmla="*/ 3649933 h 3814989"/>
              <a:gd name="connsiteX56" fmla="*/ 2392999 w 3589486"/>
              <a:gd name="connsiteY56" fmla="*/ 3661406 h 3814989"/>
              <a:gd name="connsiteX57" fmla="*/ 2374075 w 3589486"/>
              <a:gd name="connsiteY57" fmla="*/ 3702135 h 3814989"/>
              <a:gd name="connsiteX58" fmla="*/ 2354820 w 3589486"/>
              <a:gd name="connsiteY58" fmla="*/ 3679648 h 3814989"/>
              <a:gd name="connsiteX59" fmla="*/ 2335564 w 3589486"/>
              <a:gd name="connsiteY59" fmla="*/ 3692383 h 3814989"/>
              <a:gd name="connsiteX60" fmla="*/ 2316143 w 3589486"/>
              <a:gd name="connsiteY60" fmla="*/ 3698808 h 3814989"/>
              <a:gd name="connsiteX61" fmla="*/ 2307179 w 3589486"/>
              <a:gd name="connsiteY61" fmla="*/ 3677411 h 3814989"/>
              <a:gd name="connsiteX62" fmla="*/ 2296722 w 3589486"/>
              <a:gd name="connsiteY62" fmla="*/ 3650679 h 3814989"/>
              <a:gd name="connsiteX63" fmla="*/ 2286264 w 3589486"/>
              <a:gd name="connsiteY63" fmla="*/ 3612416 h 3814989"/>
              <a:gd name="connsiteX64" fmla="*/ 2256883 w 3589486"/>
              <a:gd name="connsiteY64" fmla="*/ 3639206 h 3814989"/>
              <a:gd name="connsiteX65" fmla="*/ 2235138 w 3589486"/>
              <a:gd name="connsiteY65" fmla="*/ 3652514 h 3814989"/>
              <a:gd name="connsiteX66" fmla="*/ 2229162 w 3589486"/>
              <a:gd name="connsiteY66" fmla="*/ 3685040 h 3814989"/>
              <a:gd name="connsiteX67" fmla="*/ 2223186 w 3589486"/>
              <a:gd name="connsiteY67" fmla="*/ 3659111 h 3814989"/>
              <a:gd name="connsiteX68" fmla="*/ 2210073 w 3589486"/>
              <a:gd name="connsiteY68" fmla="*/ 3656358 h 3814989"/>
              <a:gd name="connsiteX69" fmla="*/ 2180194 w 3589486"/>
              <a:gd name="connsiteY69" fmla="*/ 3656014 h 3814989"/>
              <a:gd name="connsiteX70" fmla="*/ 2149983 w 3589486"/>
              <a:gd name="connsiteY70" fmla="*/ 3662152 h 3814989"/>
              <a:gd name="connsiteX71" fmla="*/ 2134711 w 3589486"/>
              <a:gd name="connsiteY71" fmla="*/ 3633871 h 3814989"/>
              <a:gd name="connsiteX72" fmla="*/ 2123424 w 3589486"/>
              <a:gd name="connsiteY72" fmla="*/ 3667142 h 3814989"/>
              <a:gd name="connsiteX73" fmla="*/ 2108982 w 3589486"/>
              <a:gd name="connsiteY73" fmla="*/ 3678730 h 3814989"/>
              <a:gd name="connsiteX74" fmla="*/ 2101512 w 3589486"/>
              <a:gd name="connsiteY74" fmla="*/ 3645172 h 3814989"/>
              <a:gd name="connsiteX75" fmla="*/ 2081261 w 3589486"/>
              <a:gd name="connsiteY75" fmla="*/ 3621308 h 3814989"/>
              <a:gd name="connsiteX76" fmla="*/ 2067982 w 3589486"/>
              <a:gd name="connsiteY76" fmla="*/ 3631117 h 3814989"/>
              <a:gd name="connsiteX77" fmla="*/ 2054702 w 3589486"/>
              <a:gd name="connsiteY77" fmla="*/ 3629282 h 3814989"/>
              <a:gd name="connsiteX78" fmla="*/ 2041588 w 3589486"/>
              <a:gd name="connsiteY78" fmla="*/ 3602033 h 3814989"/>
              <a:gd name="connsiteX79" fmla="*/ 2028641 w 3589486"/>
              <a:gd name="connsiteY79" fmla="*/ 3604730 h 3814989"/>
              <a:gd name="connsiteX80" fmla="*/ 2015527 w 3589486"/>
              <a:gd name="connsiteY80" fmla="*/ 3588495 h 3814989"/>
              <a:gd name="connsiteX81" fmla="*/ 2002580 w 3589486"/>
              <a:gd name="connsiteY81" fmla="*/ 3609089 h 3814989"/>
              <a:gd name="connsiteX82" fmla="*/ 1976353 w 3589486"/>
              <a:gd name="connsiteY82" fmla="*/ 3599280 h 3814989"/>
              <a:gd name="connsiteX83" fmla="*/ 1950126 w 3589486"/>
              <a:gd name="connsiteY83" fmla="*/ 3590962 h 3814989"/>
              <a:gd name="connsiteX84" fmla="*/ 1923234 w 3589486"/>
              <a:gd name="connsiteY84" fmla="*/ 3601517 h 3814989"/>
              <a:gd name="connsiteX85" fmla="*/ 1896011 w 3589486"/>
              <a:gd name="connsiteY85" fmla="*/ 3606680 h 3814989"/>
              <a:gd name="connsiteX86" fmla="*/ 1867792 w 3589486"/>
              <a:gd name="connsiteY86" fmla="*/ 3607770 h 3814989"/>
              <a:gd name="connsiteX87" fmla="*/ 1862480 w 3589486"/>
              <a:gd name="connsiteY87" fmla="*/ 3608516 h 3814989"/>
              <a:gd name="connsiteX88" fmla="*/ 1793095 w 3589486"/>
              <a:gd name="connsiteY88" fmla="*/ 3620734 h 3814989"/>
              <a:gd name="connsiteX89" fmla="*/ 1726863 w 3589486"/>
              <a:gd name="connsiteY89" fmla="*/ 3639779 h 3814989"/>
              <a:gd name="connsiteX90" fmla="*/ 1663785 w 3589486"/>
              <a:gd name="connsiteY90" fmla="*/ 3665880 h 3814989"/>
              <a:gd name="connsiteX91" fmla="*/ 1603529 w 3589486"/>
              <a:gd name="connsiteY91" fmla="*/ 3699037 h 3814989"/>
              <a:gd name="connsiteX92" fmla="*/ 1574480 w 3589486"/>
              <a:gd name="connsiteY92" fmla="*/ 3697660 h 3814989"/>
              <a:gd name="connsiteX93" fmla="*/ 1545929 w 3589486"/>
              <a:gd name="connsiteY93" fmla="*/ 3739307 h 3814989"/>
              <a:gd name="connsiteX94" fmla="*/ 1545597 w 3589486"/>
              <a:gd name="connsiteY94" fmla="*/ 3715271 h 3814989"/>
              <a:gd name="connsiteX95" fmla="*/ 1547423 w 3589486"/>
              <a:gd name="connsiteY95" fmla="*/ 3695423 h 3814989"/>
              <a:gd name="connsiteX96" fmla="*/ 1548087 w 3589486"/>
              <a:gd name="connsiteY96" fmla="*/ 3682057 h 3814989"/>
              <a:gd name="connsiteX97" fmla="*/ 1549747 w 3589486"/>
              <a:gd name="connsiteY97" fmla="*/ 3681254 h 3814989"/>
              <a:gd name="connsiteX98" fmla="*/ 1548087 w 3589486"/>
              <a:gd name="connsiteY98" fmla="*/ 3682057 h 3814989"/>
              <a:gd name="connsiteX99" fmla="*/ 1532317 w 3589486"/>
              <a:gd name="connsiteY99" fmla="*/ 3700701 h 3814989"/>
              <a:gd name="connsiteX100" fmla="*/ 1514722 w 3589486"/>
              <a:gd name="connsiteY100" fmla="*/ 3690432 h 3814989"/>
              <a:gd name="connsiteX101" fmla="*/ 1498953 w 3589486"/>
              <a:gd name="connsiteY101" fmla="*/ 3716820 h 3814989"/>
              <a:gd name="connsiteX102" fmla="*/ 1484843 w 3589486"/>
              <a:gd name="connsiteY102" fmla="*/ 3705290 h 3814989"/>
              <a:gd name="connsiteX103" fmla="*/ 1459612 w 3589486"/>
              <a:gd name="connsiteY103" fmla="*/ 3727088 h 3814989"/>
              <a:gd name="connsiteX104" fmla="*/ 1448822 w 3589486"/>
              <a:gd name="connsiteY104" fmla="*/ 3729957 h 3814989"/>
              <a:gd name="connsiteX105" fmla="*/ 1438365 w 3589486"/>
              <a:gd name="connsiteY105" fmla="*/ 3745560 h 3814989"/>
              <a:gd name="connsiteX106" fmla="*/ 1418279 w 3589486"/>
              <a:gd name="connsiteY106" fmla="*/ 3754279 h 3814989"/>
              <a:gd name="connsiteX107" fmla="*/ 1389396 w 3589486"/>
              <a:gd name="connsiteY107" fmla="*/ 3737127 h 3814989"/>
              <a:gd name="connsiteX108" fmla="*/ 1372133 w 3589486"/>
              <a:gd name="connsiteY108" fmla="*/ 3715501 h 3814989"/>
              <a:gd name="connsiteX109" fmla="*/ 1358355 w 3589486"/>
              <a:gd name="connsiteY109" fmla="*/ 3694850 h 3814989"/>
              <a:gd name="connsiteX110" fmla="*/ 1339764 w 3589486"/>
              <a:gd name="connsiteY110" fmla="*/ 3699037 h 3814989"/>
              <a:gd name="connsiteX111" fmla="*/ 1306731 w 3589486"/>
              <a:gd name="connsiteY111" fmla="*/ 3693874 h 3814989"/>
              <a:gd name="connsiteX112" fmla="*/ 1274528 w 3589486"/>
              <a:gd name="connsiteY112" fmla="*/ 3700127 h 3814989"/>
              <a:gd name="connsiteX113" fmla="*/ 1243155 w 3589486"/>
              <a:gd name="connsiteY113" fmla="*/ 3709650 h 3814989"/>
              <a:gd name="connsiteX114" fmla="*/ 1212280 w 3589486"/>
              <a:gd name="connsiteY114" fmla="*/ 3723360 h 3814989"/>
              <a:gd name="connsiteX115" fmla="*/ 1182069 w 3589486"/>
              <a:gd name="connsiteY115" fmla="*/ 3739709 h 3814989"/>
              <a:gd name="connsiteX116" fmla="*/ 1152190 w 3589486"/>
              <a:gd name="connsiteY116" fmla="*/ 3757320 h 3814989"/>
              <a:gd name="connsiteX117" fmla="*/ 1104218 w 3589486"/>
              <a:gd name="connsiteY117" fmla="*/ 3784912 h 3814989"/>
              <a:gd name="connsiteX118" fmla="*/ 1057242 w 3589486"/>
              <a:gd name="connsiteY118" fmla="*/ 3805793 h 3814989"/>
              <a:gd name="connsiteX119" fmla="*/ 1033836 w 3589486"/>
              <a:gd name="connsiteY119" fmla="*/ 3801490 h 3814989"/>
              <a:gd name="connsiteX120" fmla="*/ 1010763 w 3589486"/>
              <a:gd name="connsiteY120" fmla="*/ 3813996 h 3814989"/>
              <a:gd name="connsiteX121" fmla="*/ 1010431 w 3589486"/>
              <a:gd name="connsiteY121" fmla="*/ 3792025 h 3814989"/>
              <a:gd name="connsiteX122" fmla="*/ 1010265 w 3589486"/>
              <a:gd name="connsiteY122" fmla="*/ 3813996 h 3814989"/>
              <a:gd name="connsiteX123" fmla="*/ 1006945 w 3589486"/>
              <a:gd name="connsiteY123" fmla="*/ 3776422 h 3814989"/>
              <a:gd name="connsiteX124" fmla="*/ 1003459 w 3589486"/>
              <a:gd name="connsiteY124" fmla="*/ 3793574 h 3814989"/>
              <a:gd name="connsiteX125" fmla="*/ 999144 w 3589486"/>
              <a:gd name="connsiteY125" fmla="*/ 3814168 h 3814989"/>
              <a:gd name="connsiteX126" fmla="*/ 997318 w 3589486"/>
              <a:gd name="connsiteY126" fmla="*/ 3775848 h 3814989"/>
              <a:gd name="connsiteX127" fmla="*/ 997318 w 3589486"/>
              <a:gd name="connsiteY127" fmla="*/ 3743839 h 3814989"/>
              <a:gd name="connsiteX128" fmla="*/ 970260 w 3589486"/>
              <a:gd name="connsiteY128" fmla="*/ 3746994 h 3814989"/>
              <a:gd name="connsiteX129" fmla="*/ 955985 w 3589486"/>
              <a:gd name="connsiteY129" fmla="*/ 3757434 h 3814989"/>
              <a:gd name="connsiteX130" fmla="*/ 941377 w 3589486"/>
              <a:gd name="connsiteY130" fmla="*/ 3751296 h 3814989"/>
              <a:gd name="connsiteX131" fmla="*/ 935900 w 3589486"/>
              <a:gd name="connsiteY131" fmla="*/ 3796901 h 3814989"/>
              <a:gd name="connsiteX132" fmla="*/ 927766 w 3589486"/>
              <a:gd name="connsiteY132" fmla="*/ 3794549 h 3814989"/>
              <a:gd name="connsiteX133" fmla="*/ 925442 w 3589486"/>
              <a:gd name="connsiteY133" fmla="*/ 3799540 h 3814989"/>
              <a:gd name="connsiteX134" fmla="*/ 914320 w 3589486"/>
              <a:gd name="connsiteY134" fmla="*/ 3755369 h 3814989"/>
              <a:gd name="connsiteX135" fmla="*/ 887595 w 3589486"/>
              <a:gd name="connsiteY135" fmla="*/ 3757090 h 3814989"/>
              <a:gd name="connsiteX136" fmla="*/ 885271 w 3589486"/>
              <a:gd name="connsiteY136" fmla="*/ 3784338 h 3814989"/>
              <a:gd name="connsiteX137" fmla="*/ 880458 w 3589486"/>
              <a:gd name="connsiteY137" fmla="*/ 3729613 h 3814989"/>
              <a:gd name="connsiteX138" fmla="*/ 873320 w 3589486"/>
              <a:gd name="connsiteY138" fmla="*/ 3689801 h 3814989"/>
              <a:gd name="connsiteX139" fmla="*/ 863858 w 3589486"/>
              <a:gd name="connsiteY139" fmla="*/ 3709650 h 3814989"/>
              <a:gd name="connsiteX140" fmla="*/ 841117 w 3589486"/>
              <a:gd name="connsiteY140" fmla="*/ 3689228 h 3814989"/>
              <a:gd name="connsiteX141" fmla="*/ 814060 w 3589486"/>
              <a:gd name="connsiteY141" fmla="*/ 3696284 h 3814989"/>
              <a:gd name="connsiteX142" fmla="*/ 782521 w 3589486"/>
              <a:gd name="connsiteY142" fmla="*/ 3691809 h 3814989"/>
              <a:gd name="connsiteX143" fmla="*/ 747164 w 3589486"/>
              <a:gd name="connsiteY143" fmla="*/ 3710567 h 3814989"/>
              <a:gd name="connsiteX144" fmla="*/ 708487 w 3589486"/>
              <a:gd name="connsiteY144" fmla="*/ 3731104 h 3814989"/>
              <a:gd name="connsiteX145" fmla="*/ 666325 w 3589486"/>
              <a:gd name="connsiteY145" fmla="*/ 3742520 h 3814989"/>
              <a:gd name="connsiteX146" fmla="*/ 649891 w 3589486"/>
              <a:gd name="connsiteY146" fmla="*/ 3763400 h 3814989"/>
              <a:gd name="connsiteX147" fmla="*/ 634122 w 3589486"/>
              <a:gd name="connsiteY147" fmla="*/ 3756000 h 3814989"/>
              <a:gd name="connsiteX148" fmla="*/ 612045 w 3589486"/>
              <a:gd name="connsiteY148" fmla="*/ 3763228 h 3814989"/>
              <a:gd name="connsiteX149" fmla="*/ 610717 w 3589486"/>
              <a:gd name="connsiteY149" fmla="*/ 3782388 h 3814989"/>
              <a:gd name="connsiteX150" fmla="*/ 597437 w 3589486"/>
              <a:gd name="connsiteY150" fmla="*/ 3798852 h 3814989"/>
              <a:gd name="connsiteX151" fmla="*/ 591793 w 3589486"/>
              <a:gd name="connsiteY151" fmla="*/ 3760131 h 3814989"/>
              <a:gd name="connsiteX152" fmla="*/ 566064 w 3589486"/>
              <a:gd name="connsiteY152" fmla="*/ 3760762 h 3814989"/>
              <a:gd name="connsiteX153" fmla="*/ 538343 w 3589486"/>
              <a:gd name="connsiteY153" fmla="*/ 3749518 h 3814989"/>
              <a:gd name="connsiteX154" fmla="*/ 511286 w 3589486"/>
              <a:gd name="connsiteY154" fmla="*/ 3746650 h 3814989"/>
              <a:gd name="connsiteX155" fmla="*/ 488213 w 3589486"/>
              <a:gd name="connsiteY155" fmla="*/ 3735808 h 3814989"/>
              <a:gd name="connsiteX156" fmla="*/ 472111 w 3589486"/>
              <a:gd name="connsiteY156" fmla="*/ 3722499 h 3814989"/>
              <a:gd name="connsiteX157" fmla="*/ 469123 w 3589486"/>
              <a:gd name="connsiteY157" fmla="*/ 3705749 h 3814989"/>
              <a:gd name="connsiteX158" fmla="*/ 473107 w 3589486"/>
              <a:gd name="connsiteY158" fmla="*/ 3683836 h 3814989"/>
              <a:gd name="connsiteX159" fmla="*/ 478585 w 3589486"/>
              <a:gd name="connsiteY159" fmla="*/ 3679533 h 3814989"/>
              <a:gd name="connsiteX160" fmla="*/ 473107 w 3589486"/>
              <a:gd name="connsiteY160" fmla="*/ 3683836 h 3814989"/>
              <a:gd name="connsiteX161" fmla="*/ 464974 w 3589486"/>
              <a:gd name="connsiteY161" fmla="*/ 3689170 h 3814989"/>
              <a:gd name="connsiteX162" fmla="*/ 451196 w 3589486"/>
              <a:gd name="connsiteY162" fmla="*/ 3673854 h 3814989"/>
              <a:gd name="connsiteX163" fmla="*/ 432107 w 3589486"/>
              <a:gd name="connsiteY163" fmla="*/ 3658136 h 3814989"/>
              <a:gd name="connsiteX164" fmla="*/ 411025 w 3589486"/>
              <a:gd name="connsiteY164" fmla="*/ 3667085 h 3814989"/>
              <a:gd name="connsiteX165" fmla="*/ 376333 w 3589486"/>
              <a:gd name="connsiteY165" fmla="*/ 3648671 h 3814989"/>
              <a:gd name="connsiteX166" fmla="*/ 341308 w 3589486"/>
              <a:gd name="connsiteY166" fmla="*/ 3653432 h 3814989"/>
              <a:gd name="connsiteX167" fmla="*/ 311595 w 3589486"/>
              <a:gd name="connsiteY167" fmla="*/ 3628020 h 3814989"/>
              <a:gd name="connsiteX168" fmla="*/ 293003 w 3589486"/>
              <a:gd name="connsiteY168" fmla="*/ 3624807 h 3814989"/>
              <a:gd name="connsiteX169" fmla="*/ 289351 w 3589486"/>
              <a:gd name="connsiteY169" fmla="*/ 3603927 h 3814989"/>
              <a:gd name="connsiteX170" fmla="*/ 297153 w 3589486"/>
              <a:gd name="connsiteY170" fmla="*/ 3575474 h 3814989"/>
              <a:gd name="connsiteX171" fmla="*/ 305785 w 3589486"/>
              <a:gd name="connsiteY171" fmla="*/ 3555052 h 3814989"/>
              <a:gd name="connsiteX172" fmla="*/ 314417 w 3589486"/>
              <a:gd name="connsiteY172" fmla="*/ 3534745 h 3814989"/>
              <a:gd name="connsiteX173" fmla="*/ 292671 w 3589486"/>
              <a:gd name="connsiteY173" fmla="*/ 3538473 h 3814989"/>
              <a:gd name="connsiteX174" fmla="*/ 270926 w 3589486"/>
              <a:gd name="connsiteY174" fmla="*/ 3542087 h 3814989"/>
              <a:gd name="connsiteX175" fmla="*/ 246027 w 3589486"/>
              <a:gd name="connsiteY175" fmla="*/ 3571458 h 3814989"/>
              <a:gd name="connsiteX176" fmla="*/ 223120 w 3589486"/>
              <a:gd name="connsiteY176" fmla="*/ 3546504 h 3814989"/>
              <a:gd name="connsiteX177" fmla="*/ 201540 w 3589486"/>
              <a:gd name="connsiteY177" fmla="*/ 3543751 h 3814989"/>
              <a:gd name="connsiteX178" fmla="*/ 181123 w 3589486"/>
              <a:gd name="connsiteY178" fmla="*/ 3545644 h 3814989"/>
              <a:gd name="connsiteX179" fmla="*/ 151078 w 3589486"/>
              <a:gd name="connsiteY179" fmla="*/ 3527230 h 3814989"/>
              <a:gd name="connsiteX180" fmla="*/ 120867 w 3589486"/>
              <a:gd name="connsiteY180" fmla="*/ 3546390 h 3814989"/>
              <a:gd name="connsiteX181" fmla="*/ 89826 w 3589486"/>
              <a:gd name="connsiteY181" fmla="*/ 3554191 h 3814989"/>
              <a:gd name="connsiteX182" fmla="*/ 56793 w 3589486"/>
              <a:gd name="connsiteY182" fmla="*/ 3566181 h 3814989"/>
              <a:gd name="connsiteX183" fmla="*/ 37870 w 3589486"/>
              <a:gd name="connsiteY183" fmla="*/ 3577711 h 3814989"/>
              <a:gd name="connsiteX184" fmla="*/ 18283 w 3589486"/>
              <a:gd name="connsiteY184" fmla="*/ 3540424 h 3814989"/>
              <a:gd name="connsiteX185" fmla="*/ 6165 w 3589486"/>
              <a:gd name="connsiteY185" fmla="*/ 3539334 h 3814989"/>
              <a:gd name="connsiteX186" fmla="*/ 8157 w 3589486"/>
              <a:gd name="connsiteY186" fmla="*/ 3528607 h 3814989"/>
              <a:gd name="connsiteX187" fmla="*/ 4007 w 3589486"/>
              <a:gd name="connsiteY187" fmla="*/ 3513061 h 3814989"/>
              <a:gd name="connsiteX188" fmla="*/ 4007 w 3589486"/>
              <a:gd name="connsiteY188" fmla="*/ 2783391 h 3814989"/>
              <a:gd name="connsiteX189" fmla="*/ 0 w 3589486"/>
              <a:gd name="connsiteY189" fmla="*/ 2783391 h 3814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Lst>
            <a:rect l="l" t="t" r="r" b="b"/>
            <a:pathLst>
              <a:path w="3589486" h="3814989">
                <a:moveTo>
                  <a:pt x="0" y="0"/>
                </a:moveTo>
                <a:lnTo>
                  <a:pt x="3589486" y="0"/>
                </a:lnTo>
                <a:lnTo>
                  <a:pt x="3589486" y="2594193"/>
                </a:lnTo>
                <a:lnTo>
                  <a:pt x="3589486" y="2783391"/>
                </a:lnTo>
                <a:lnTo>
                  <a:pt x="3589486" y="3601173"/>
                </a:lnTo>
                <a:cubicBezTo>
                  <a:pt x="3588324" y="3603468"/>
                  <a:pt x="3587328" y="3606221"/>
                  <a:pt x="3586332" y="3609778"/>
                </a:cubicBezTo>
                <a:cubicBezTo>
                  <a:pt x="3572223" y="3645688"/>
                  <a:pt x="3558611" y="3599280"/>
                  <a:pt x="3545996" y="3608114"/>
                </a:cubicBezTo>
                <a:cubicBezTo>
                  <a:pt x="3533546" y="3566066"/>
                  <a:pt x="3521926" y="3599796"/>
                  <a:pt x="3512133" y="3608344"/>
                </a:cubicBezTo>
                <a:cubicBezTo>
                  <a:pt x="3504165" y="3568991"/>
                  <a:pt x="3495699" y="3616145"/>
                  <a:pt x="3486736" y="3610237"/>
                </a:cubicBezTo>
                <a:cubicBezTo>
                  <a:pt x="3476112" y="3617120"/>
                  <a:pt x="3465654" y="3620103"/>
                  <a:pt x="3455695" y="3620161"/>
                </a:cubicBezTo>
                <a:cubicBezTo>
                  <a:pt x="3445901" y="3620218"/>
                  <a:pt x="3436439" y="3617465"/>
                  <a:pt x="3427642" y="3612818"/>
                </a:cubicBezTo>
                <a:cubicBezTo>
                  <a:pt x="3418844" y="3608917"/>
                  <a:pt x="3410544" y="3598936"/>
                  <a:pt x="3403074" y="3612302"/>
                </a:cubicBezTo>
                <a:cubicBezTo>
                  <a:pt x="3395605" y="3619530"/>
                  <a:pt x="3388633" y="3601230"/>
                  <a:pt x="3382657" y="3605074"/>
                </a:cubicBezTo>
                <a:cubicBezTo>
                  <a:pt x="3376515" y="3629798"/>
                  <a:pt x="3371203" y="3594347"/>
                  <a:pt x="3366888" y="3602894"/>
                </a:cubicBezTo>
                <a:cubicBezTo>
                  <a:pt x="3362572" y="3561362"/>
                  <a:pt x="3359086" y="3559870"/>
                  <a:pt x="3356430" y="3579432"/>
                </a:cubicBezTo>
                <a:cubicBezTo>
                  <a:pt x="3356430" y="3548111"/>
                  <a:pt x="3353110" y="3537039"/>
                  <a:pt x="3349790" y="3560501"/>
                </a:cubicBezTo>
                <a:cubicBezTo>
                  <a:pt x="3346470" y="3575302"/>
                  <a:pt x="3342984" y="3549315"/>
                  <a:pt x="3342984" y="3546103"/>
                </a:cubicBezTo>
                <a:cubicBezTo>
                  <a:pt x="3342984" y="3556830"/>
                  <a:pt x="3317089" y="3578342"/>
                  <a:pt x="3317089" y="3571114"/>
                </a:cubicBezTo>
                <a:cubicBezTo>
                  <a:pt x="3311114" y="3579489"/>
                  <a:pt x="3302648" y="3553331"/>
                  <a:pt x="3292854" y="3580809"/>
                </a:cubicBezTo>
                <a:cubicBezTo>
                  <a:pt x="3283060" y="3623889"/>
                  <a:pt x="3271607" y="3620046"/>
                  <a:pt x="3259655" y="3608057"/>
                </a:cubicBezTo>
                <a:cubicBezTo>
                  <a:pt x="3247538" y="3599223"/>
                  <a:pt x="3234756" y="3580809"/>
                  <a:pt x="3221809" y="3618210"/>
                </a:cubicBezTo>
                <a:cubicBezTo>
                  <a:pt x="3209027" y="3629282"/>
                  <a:pt x="3196245" y="3613220"/>
                  <a:pt x="3184128" y="3636395"/>
                </a:cubicBezTo>
                <a:cubicBezTo>
                  <a:pt x="3172010" y="3631117"/>
                  <a:pt x="3160723" y="3655325"/>
                  <a:pt x="3150929" y="3643049"/>
                </a:cubicBezTo>
                <a:cubicBezTo>
                  <a:pt x="3141135" y="3680451"/>
                  <a:pt x="3132836" y="3691465"/>
                  <a:pt x="3126860" y="3638059"/>
                </a:cubicBezTo>
                <a:cubicBezTo>
                  <a:pt x="3125200" y="3699783"/>
                  <a:pt x="3122876" y="3647638"/>
                  <a:pt x="3121050" y="3641386"/>
                </a:cubicBezTo>
                <a:cubicBezTo>
                  <a:pt x="3119390" y="3614711"/>
                  <a:pt x="3118394" y="3663299"/>
                  <a:pt x="3119390" y="3614310"/>
                </a:cubicBezTo>
                <a:cubicBezTo>
                  <a:pt x="3119390" y="3594461"/>
                  <a:pt x="3120054" y="3583447"/>
                  <a:pt x="3120884" y="3579145"/>
                </a:cubicBezTo>
                <a:cubicBezTo>
                  <a:pt x="3121880" y="3581210"/>
                  <a:pt x="3122544" y="3583619"/>
                  <a:pt x="3122544" y="3586545"/>
                </a:cubicBezTo>
                <a:cubicBezTo>
                  <a:pt x="3122544" y="3577539"/>
                  <a:pt x="3121714" y="3574441"/>
                  <a:pt x="3120884" y="3579145"/>
                </a:cubicBezTo>
                <a:cubicBezTo>
                  <a:pt x="3114908" y="3566467"/>
                  <a:pt x="3094491" y="3568131"/>
                  <a:pt x="3094491" y="3587291"/>
                </a:cubicBezTo>
                <a:cubicBezTo>
                  <a:pt x="3082871" y="3572663"/>
                  <a:pt x="3072248" y="3568188"/>
                  <a:pt x="3062288" y="3594002"/>
                </a:cubicBezTo>
                <a:cubicBezTo>
                  <a:pt x="3052328" y="3520117"/>
                  <a:pt x="3043365" y="3546390"/>
                  <a:pt x="3034733" y="3606623"/>
                </a:cubicBezTo>
                <a:cubicBezTo>
                  <a:pt x="3019959" y="3579776"/>
                  <a:pt x="3007178" y="3626241"/>
                  <a:pt x="2995724" y="3620677"/>
                </a:cubicBezTo>
                <a:cubicBezTo>
                  <a:pt x="2990744" y="3640181"/>
                  <a:pt x="2974809" y="3650679"/>
                  <a:pt x="2964185" y="3606737"/>
                </a:cubicBezTo>
                <a:cubicBezTo>
                  <a:pt x="2955388" y="3636624"/>
                  <a:pt x="2946258" y="3617866"/>
                  <a:pt x="2937626" y="3594060"/>
                </a:cubicBezTo>
                <a:cubicBezTo>
                  <a:pt x="2928994" y="3588610"/>
                  <a:pt x="2920695" y="3635649"/>
                  <a:pt x="2913391" y="3585971"/>
                </a:cubicBezTo>
                <a:cubicBezTo>
                  <a:pt x="2893638" y="3506120"/>
                  <a:pt x="2875046" y="3540366"/>
                  <a:pt x="2857119" y="3579776"/>
                </a:cubicBezTo>
                <a:cubicBezTo>
                  <a:pt x="2839191" y="3576219"/>
                  <a:pt x="2821928" y="3515986"/>
                  <a:pt x="2804997" y="3580005"/>
                </a:cubicBezTo>
                <a:cubicBezTo>
                  <a:pt x="2790721" y="3621767"/>
                  <a:pt x="2776944" y="3560903"/>
                  <a:pt x="2763166" y="3580464"/>
                </a:cubicBezTo>
                <a:cubicBezTo>
                  <a:pt x="2749388" y="3586488"/>
                  <a:pt x="2735777" y="3604959"/>
                  <a:pt x="2722165" y="3576793"/>
                </a:cubicBezTo>
                <a:cubicBezTo>
                  <a:pt x="2721833" y="3626184"/>
                  <a:pt x="2721003" y="3553618"/>
                  <a:pt x="2719343" y="3559641"/>
                </a:cubicBezTo>
                <a:cubicBezTo>
                  <a:pt x="2719343" y="3550635"/>
                  <a:pt x="2715360" y="3566467"/>
                  <a:pt x="2715360" y="3544210"/>
                </a:cubicBezTo>
                <a:cubicBezTo>
                  <a:pt x="2715360" y="3549774"/>
                  <a:pt x="2699424" y="3518969"/>
                  <a:pt x="2699424" y="3541915"/>
                </a:cubicBezTo>
                <a:cubicBezTo>
                  <a:pt x="2689796" y="3508127"/>
                  <a:pt x="2679339" y="3512143"/>
                  <a:pt x="2668549" y="3523444"/>
                </a:cubicBezTo>
                <a:cubicBezTo>
                  <a:pt x="2657594" y="3534745"/>
                  <a:pt x="2646306" y="3553388"/>
                  <a:pt x="2634686" y="3548570"/>
                </a:cubicBezTo>
                <a:cubicBezTo>
                  <a:pt x="2623233" y="3558551"/>
                  <a:pt x="2611447" y="3562452"/>
                  <a:pt x="2599662" y="3551094"/>
                </a:cubicBezTo>
                <a:cubicBezTo>
                  <a:pt x="2588042" y="3552815"/>
                  <a:pt x="2576256" y="3565836"/>
                  <a:pt x="2564969" y="3575474"/>
                </a:cubicBezTo>
                <a:cubicBezTo>
                  <a:pt x="2553515" y="3599165"/>
                  <a:pt x="2542393" y="3575129"/>
                  <a:pt x="2531936" y="3589930"/>
                </a:cubicBezTo>
                <a:cubicBezTo>
                  <a:pt x="2521312" y="3591995"/>
                  <a:pt x="2511187" y="3605877"/>
                  <a:pt x="2501891" y="3607426"/>
                </a:cubicBezTo>
                <a:cubicBezTo>
                  <a:pt x="2501891" y="3634559"/>
                  <a:pt x="2498239" y="3641041"/>
                  <a:pt x="2494255" y="3638460"/>
                </a:cubicBezTo>
                <a:cubicBezTo>
                  <a:pt x="2490437" y="3631978"/>
                  <a:pt x="2486619" y="3626356"/>
                  <a:pt x="2486619" y="3615457"/>
                </a:cubicBezTo>
                <a:cubicBezTo>
                  <a:pt x="2478984" y="3609606"/>
                  <a:pt x="2471348" y="3615113"/>
                  <a:pt x="2463712" y="3631691"/>
                </a:cubicBezTo>
                <a:cubicBezTo>
                  <a:pt x="2459894" y="3650449"/>
                  <a:pt x="2455910" y="3672076"/>
                  <a:pt x="2452093" y="3651138"/>
                </a:cubicBezTo>
                <a:cubicBezTo>
                  <a:pt x="2448275" y="3654809"/>
                  <a:pt x="2444291" y="3623545"/>
                  <a:pt x="2440473" y="3638632"/>
                </a:cubicBezTo>
                <a:cubicBezTo>
                  <a:pt x="2436655" y="3601804"/>
                  <a:pt x="2432671" y="3619530"/>
                  <a:pt x="2428853" y="3628134"/>
                </a:cubicBezTo>
                <a:cubicBezTo>
                  <a:pt x="2424869" y="3595437"/>
                  <a:pt x="2421052" y="3652170"/>
                  <a:pt x="2417068" y="3649933"/>
                </a:cubicBezTo>
                <a:cubicBezTo>
                  <a:pt x="2409100" y="3623316"/>
                  <a:pt x="2401132" y="3667372"/>
                  <a:pt x="2392999" y="3661406"/>
                </a:cubicBezTo>
                <a:cubicBezTo>
                  <a:pt x="2386691" y="3655842"/>
                  <a:pt x="2380383" y="3684409"/>
                  <a:pt x="2374075" y="3702135"/>
                </a:cubicBezTo>
                <a:cubicBezTo>
                  <a:pt x="2367767" y="3715845"/>
                  <a:pt x="2361294" y="3704946"/>
                  <a:pt x="2354820" y="3679648"/>
                </a:cubicBezTo>
                <a:cubicBezTo>
                  <a:pt x="2348512" y="3709764"/>
                  <a:pt x="2342038" y="3695423"/>
                  <a:pt x="2335564" y="3692383"/>
                </a:cubicBezTo>
                <a:cubicBezTo>
                  <a:pt x="2329091" y="3743552"/>
                  <a:pt x="2322617" y="3721754"/>
                  <a:pt x="2316143" y="3698808"/>
                </a:cubicBezTo>
                <a:cubicBezTo>
                  <a:pt x="2313321" y="3682344"/>
                  <a:pt x="2310167" y="3685098"/>
                  <a:pt x="2307179" y="3677411"/>
                </a:cubicBezTo>
                <a:cubicBezTo>
                  <a:pt x="2302864" y="3671043"/>
                  <a:pt x="2298714" y="3685327"/>
                  <a:pt x="2296722" y="3650679"/>
                </a:cubicBezTo>
                <a:cubicBezTo>
                  <a:pt x="2296722" y="3642361"/>
                  <a:pt x="2286264" y="3610007"/>
                  <a:pt x="2286264" y="3612416"/>
                </a:cubicBezTo>
                <a:cubicBezTo>
                  <a:pt x="2286264" y="3613564"/>
                  <a:pt x="2256883" y="3597043"/>
                  <a:pt x="2256883" y="3639206"/>
                </a:cubicBezTo>
                <a:cubicBezTo>
                  <a:pt x="2252899" y="3628077"/>
                  <a:pt x="2243604" y="3645975"/>
                  <a:pt x="2235138" y="3652514"/>
                </a:cubicBezTo>
                <a:cubicBezTo>
                  <a:pt x="2233312" y="3663127"/>
                  <a:pt x="2231154" y="3670527"/>
                  <a:pt x="2229162" y="3685040"/>
                </a:cubicBezTo>
                <a:cubicBezTo>
                  <a:pt x="2227170" y="3672018"/>
                  <a:pt x="2225178" y="3726343"/>
                  <a:pt x="2223186" y="3659111"/>
                </a:cubicBezTo>
                <a:cubicBezTo>
                  <a:pt x="2223186" y="3652859"/>
                  <a:pt x="2210073" y="3646835"/>
                  <a:pt x="2210073" y="3656358"/>
                </a:cubicBezTo>
                <a:cubicBezTo>
                  <a:pt x="2200611" y="3666454"/>
                  <a:pt x="2190485" y="3670011"/>
                  <a:pt x="2180194" y="3656014"/>
                </a:cubicBezTo>
                <a:cubicBezTo>
                  <a:pt x="2170068" y="3638862"/>
                  <a:pt x="2159610" y="3651826"/>
                  <a:pt x="2149983" y="3662152"/>
                </a:cubicBezTo>
                <a:cubicBezTo>
                  <a:pt x="2145501" y="3614080"/>
                  <a:pt x="2139691" y="3627561"/>
                  <a:pt x="2134711" y="3633871"/>
                </a:cubicBezTo>
                <a:cubicBezTo>
                  <a:pt x="2129565" y="3649072"/>
                  <a:pt x="2125250" y="3640009"/>
                  <a:pt x="2123424" y="3667142"/>
                </a:cubicBezTo>
                <a:cubicBezTo>
                  <a:pt x="2116452" y="3663299"/>
                  <a:pt x="2112136" y="3676837"/>
                  <a:pt x="2108982" y="3678730"/>
                </a:cubicBezTo>
                <a:cubicBezTo>
                  <a:pt x="2105662" y="3705978"/>
                  <a:pt x="2103836" y="3704946"/>
                  <a:pt x="2101512" y="3645172"/>
                </a:cubicBezTo>
                <a:cubicBezTo>
                  <a:pt x="2098027" y="3660947"/>
                  <a:pt x="2093047" y="3646835"/>
                  <a:pt x="2081261" y="3621308"/>
                </a:cubicBezTo>
                <a:cubicBezTo>
                  <a:pt x="2076779" y="3608688"/>
                  <a:pt x="2072297" y="3620906"/>
                  <a:pt x="2067982" y="3631117"/>
                </a:cubicBezTo>
                <a:cubicBezTo>
                  <a:pt x="2063500" y="3641328"/>
                  <a:pt x="2059184" y="3644598"/>
                  <a:pt x="2054702" y="3629282"/>
                </a:cubicBezTo>
                <a:cubicBezTo>
                  <a:pt x="2050386" y="3600599"/>
                  <a:pt x="2046070" y="3603582"/>
                  <a:pt x="2041588" y="3602033"/>
                </a:cubicBezTo>
                <a:cubicBezTo>
                  <a:pt x="2037273" y="3598936"/>
                  <a:pt x="2032957" y="3626987"/>
                  <a:pt x="2028641" y="3604730"/>
                </a:cubicBezTo>
                <a:cubicBezTo>
                  <a:pt x="2024159" y="3601632"/>
                  <a:pt x="2019843" y="3583333"/>
                  <a:pt x="2015527" y="3588495"/>
                </a:cubicBezTo>
                <a:cubicBezTo>
                  <a:pt x="2011211" y="3576850"/>
                  <a:pt x="2006896" y="3581038"/>
                  <a:pt x="2002580" y="3609089"/>
                </a:cubicBezTo>
                <a:cubicBezTo>
                  <a:pt x="1993782" y="3584193"/>
                  <a:pt x="1985150" y="3610523"/>
                  <a:pt x="1976353" y="3599280"/>
                </a:cubicBezTo>
                <a:cubicBezTo>
                  <a:pt x="1967721" y="3587291"/>
                  <a:pt x="1958923" y="3595092"/>
                  <a:pt x="1950126" y="3590962"/>
                </a:cubicBezTo>
                <a:cubicBezTo>
                  <a:pt x="1941162" y="3615399"/>
                  <a:pt x="1932364" y="3603123"/>
                  <a:pt x="1923234" y="3601517"/>
                </a:cubicBezTo>
                <a:cubicBezTo>
                  <a:pt x="1914271" y="3587291"/>
                  <a:pt x="1905141" y="3574785"/>
                  <a:pt x="1896011" y="3606680"/>
                </a:cubicBezTo>
                <a:cubicBezTo>
                  <a:pt x="1886716" y="3574212"/>
                  <a:pt x="1877254" y="3597157"/>
                  <a:pt x="1867792" y="3607770"/>
                </a:cubicBezTo>
                <a:cubicBezTo>
                  <a:pt x="1867792" y="3578342"/>
                  <a:pt x="1862480" y="3602263"/>
                  <a:pt x="1862480" y="3608516"/>
                </a:cubicBezTo>
                <a:cubicBezTo>
                  <a:pt x="1838743" y="3620046"/>
                  <a:pt x="1815504" y="3608401"/>
                  <a:pt x="1793095" y="3620734"/>
                </a:cubicBezTo>
                <a:cubicBezTo>
                  <a:pt x="1770519" y="3584021"/>
                  <a:pt x="1748442" y="3617465"/>
                  <a:pt x="1726863" y="3639779"/>
                </a:cubicBezTo>
                <a:cubicBezTo>
                  <a:pt x="1705284" y="3652916"/>
                  <a:pt x="1684368" y="3630658"/>
                  <a:pt x="1663785" y="3665880"/>
                </a:cubicBezTo>
                <a:cubicBezTo>
                  <a:pt x="1643202" y="3693301"/>
                  <a:pt x="1623117" y="3701045"/>
                  <a:pt x="1603529" y="3699037"/>
                </a:cubicBezTo>
                <a:cubicBezTo>
                  <a:pt x="1593735" y="3689801"/>
                  <a:pt x="1583942" y="3690146"/>
                  <a:pt x="1574480" y="3697660"/>
                </a:cubicBezTo>
                <a:cubicBezTo>
                  <a:pt x="1564853" y="3705118"/>
                  <a:pt x="1555225" y="3710682"/>
                  <a:pt x="1545929" y="3739307"/>
                </a:cubicBezTo>
                <a:cubicBezTo>
                  <a:pt x="1545763" y="3729326"/>
                  <a:pt x="1545763" y="3721581"/>
                  <a:pt x="1545597" y="3715271"/>
                </a:cubicBezTo>
                <a:cubicBezTo>
                  <a:pt x="1546261" y="3706781"/>
                  <a:pt x="1546759" y="3695079"/>
                  <a:pt x="1547423" y="3695423"/>
                </a:cubicBezTo>
                <a:cubicBezTo>
                  <a:pt x="1547589" y="3690146"/>
                  <a:pt x="1547921" y="3685786"/>
                  <a:pt x="1548087" y="3682057"/>
                </a:cubicBezTo>
                <a:cubicBezTo>
                  <a:pt x="1549083" y="3680967"/>
                  <a:pt x="1549747" y="3680566"/>
                  <a:pt x="1549747" y="3681254"/>
                </a:cubicBezTo>
                <a:cubicBezTo>
                  <a:pt x="1549747" y="3666569"/>
                  <a:pt x="1549083" y="3669437"/>
                  <a:pt x="1548087" y="3682057"/>
                </a:cubicBezTo>
                <a:cubicBezTo>
                  <a:pt x="1545265" y="3685327"/>
                  <a:pt x="1538791" y="3694620"/>
                  <a:pt x="1532317" y="3700701"/>
                </a:cubicBezTo>
                <a:cubicBezTo>
                  <a:pt x="1523520" y="3729383"/>
                  <a:pt x="1514722" y="3719688"/>
                  <a:pt x="1514722" y="3690432"/>
                </a:cubicBezTo>
                <a:cubicBezTo>
                  <a:pt x="1509078" y="3708617"/>
                  <a:pt x="1503932" y="3729096"/>
                  <a:pt x="1498953" y="3716820"/>
                </a:cubicBezTo>
                <a:cubicBezTo>
                  <a:pt x="1494139" y="3721811"/>
                  <a:pt x="1489325" y="3712231"/>
                  <a:pt x="1484843" y="3705290"/>
                </a:cubicBezTo>
                <a:cubicBezTo>
                  <a:pt x="1475880" y="3668806"/>
                  <a:pt x="1467580" y="3713149"/>
                  <a:pt x="1459612" y="3727088"/>
                </a:cubicBezTo>
                <a:cubicBezTo>
                  <a:pt x="1455960" y="3741946"/>
                  <a:pt x="1452308" y="3739192"/>
                  <a:pt x="1448822" y="3729957"/>
                </a:cubicBezTo>
                <a:cubicBezTo>
                  <a:pt x="1445336" y="3736554"/>
                  <a:pt x="1441851" y="3706437"/>
                  <a:pt x="1438365" y="3745560"/>
                </a:cubicBezTo>
                <a:cubicBezTo>
                  <a:pt x="1431559" y="3751870"/>
                  <a:pt x="1424753" y="3732423"/>
                  <a:pt x="1418279" y="3754279"/>
                </a:cubicBezTo>
                <a:cubicBezTo>
                  <a:pt x="1401182" y="3749346"/>
                  <a:pt x="1398194" y="3766383"/>
                  <a:pt x="1389396" y="3737127"/>
                </a:cubicBezTo>
                <a:cubicBezTo>
                  <a:pt x="1385246" y="3769653"/>
                  <a:pt x="1379935" y="3713895"/>
                  <a:pt x="1372133" y="3715501"/>
                </a:cubicBezTo>
                <a:cubicBezTo>
                  <a:pt x="1368315" y="3742577"/>
                  <a:pt x="1363833" y="3691694"/>
                  <a:pt x="1358355" y="3694850"/>
                </a:cubicBezTo>
                <a:cubicBezTo>
                  <a:pt x="1353044" y="3725999"/>
                  <a:pt x="1346902" y="3655612"/>
                  <a:pt x="1339764" y="3699037"/>
                </a:cubicBezTo>
                <a:cubicBezTo>
                  <a:pt x="1328642" y="3698980"/>
                  <a:pt x="1317687" y="3710281"/>
                  <a:pt x="1306731" y="3693874"/>
                </a:cubicBezTo>
                <a:cubicBezTo>
                  <a:pt x="1295941" y="3657218"/>
                  <a:pt x="1285152" y="3671387"/>
                  <a:pt x="1274528" y="3700127"/>
                </a:cubicBezTo>
                <a:cubicBezTo>
                  <a:pt x="1264071" y="3786346"/>
                  <a:pt x="1253447" y="3693588"/>
                  <a:pt x="1243155" y="3709650"/>
                </a:cubicBezTo>
                <a:cubicBezTo>
                  <a:pt x="1232698" y="3686302"/>
                  <a:pt x="1222572" y="3699783"/>
                  <a:pt x="1212280" y="3723360"/>
                </a:cubicBezTo>
                <a:cubicBezTo>
                  <a:pt x="1202155" y="3740741"/>
                  <a:pt x="1192029" y="3720549"/>
                  <a:pt x="1182069" y="3739709"/>
                </a:cubicBezTo>
                <a:cubicBezTo>
                  <a:pt x="1172110" y="3732538"/>
                  <a:pt x="1162150" y="3756689"/>
                  <a:pt x="1152190" y="3757320"/>
                </a:cubicBezTo>
                <a:cubicBezTo>
                  <a:pt x="1136089" y="3766039"/>
                  <a:pt x="1119987" y="3774644"/>
                  <a:pt x="1104218" y="3784912"/>
                </a:cubicBezTo>
                <a:lnTo>
                  <a:pt x="1057242" y="3805793"/>
                </a:lnTo>
                <a:cubicBezTo>
                  <a:pt x="1049440" y="3799024"/>
                  <a:pt x="1041638" y="3798909"/>
                  <a:pt x="1033836" y="3801490"/>
                </a:cubicBezTo>
                <a:cubicBezTo>
                  <a:pt x="1026201" y="3804129"/>
                  <a:pt x="1018399" y="3808317"/>
                  <a:pt x="1010763" y="3813996"/>
                </a:cubicBezTo>
                <a:cubicBezTo>
                  <a:pt x="1010597" y="3784568"/>
                  <a:pt x="1010597" y="3786117"/>
                  <a:pt x="1010431" y="3792025"/>
                </a:cubicBezTo>
                <a:cubicBezTo>
                  <a:pt x="1010431" y="3800171"/>
                  <a:pt x="1010265" y="3814856"/>
                  <a:pt x="1010265" y="3813996"/>
                </a:cubicBezTo>
                <a:cubicBezTo>
                  <a:pt x="1009269" y="3818585"/>
                  <a:pt x="1008107" y="3790878"/>
                  <a:pt x="1006945" y="3776422"/>
                </a:cubicBezTo>
                <a:cubicBezTo>
                  <a:pt x="1005783" y="3762253"/>
                  <a:pt x="1004621" y="3757262"/>
                  <a:pt x="1003459" y="3793574"/>
                </a:cubicBezTo>
                <a:cubicBezTo>
                  <a:pt x="1001799" y="3833271"/>
                  <a:pt x="1000305" y="3803498"/>
                  <a:pt x="999144" y="3814168"/>
                </a:cubicBezTo>
                <a:cubicBezTo>
                  <a:pt x="998314" y="3807629"/>
                  <a:pt x="997650" y="3786862"/>
                  <a:pt x="997318" y="3775848"/>
                </a:cubicBezTo>
                <a:lnTo>
                  <a:pt x="997318" y="3743839"/>
                </a:lnTo>
                <a:cubicBezTo>
                  <a:pt x="997318" y="3727318"/>
                  <a:pt x="970260" y="3735120"/>
                  <a:pt x="970260" y="3746994"/>
                </a:cubicBezTo>
                <a:cubicBezTo>
                  <a:pt x="965447" y="3775045"/>
                  <a:pt x="960799" y="3746363"/>
                  <a:pt x="955985" y="3757434"/>
                </a:cubicBezTo>
                <a:cubicBezTo>
                  <a:pt x="951171" y="3764318"/>
                  <a:pt x="946357" y="3762769"/>
                  <a:pt x="941377" y="3751296"/>
                </a:cubicBezTo>
                <a:cubicBezTo>
                  <a:pt x="939552" y="3772292"/>
                  <a:pt x="937726" y="3787264"/>
                  <a:pt x="935900" y="3796901"/>
                </a:cubicBezTo>
                <a:cubicBezTo>
                  <a:pt x="933078" y="3797360"/>
                  <a:pt x="930422" y="3797245"/>
                  <a:pt x="927766" y="3794549"/>
                </a:cubicBezTo>
                <a:cubicBezTo>
                  <a:pt x="926936" y="3796098"/>
                  <a:pt x="926106" y="3797762"/>
                  <a:pt x="925442" y="3799540"/>
                </a:cubicBezTo>
                <a:cubicBezTo>
                  <a:pt x="921624" y="3793287"/>
                  <a:pt x="917972" y="3788182"/>
                  <a:pt x="914320" y="3755369"/>
                </a:cubicBezTo>
                <a:cubicBezTo>
                  <a:pt x="905191" y="3755943"/>
                  <a:pt x="896227" y="3743552"/>
                  <a:pt x="887595" y="3757090"/>
                </a:cubicBezTo>
                <a:cubicBezTo>
                  <a:pt x="887263" y="3726630"/>
                  <a:pt x="886433" y="3771317"/>
                  <a:pt x="885271" y="3784338"/>
                </a:cubicBezTo>
                <a:cubicBezTo>
                  <a:pt x="884109" y="3779921"/>
                  <a:pt x="882449" y="3759270"/>
                  <a:pt x="880458" y="3729613"/>
                </a:cubicBezTo>
                <a:cubicBezTo>
                  <a:pt x="878466" y="3723532"/>
                  <a:pt x="876142" y="3691924"/>
                  <a:pt x="873320" y="3689801"/>
                </a:cubicBezTo>
                <a:cubicBezTo>
                  <a:pt x="870664" y="3724679"/>
                  <a:pt x="867510" y="3658997"/>
                  <a:pt x="863858" y="3709650"/>
                </a:cubicBezTo>
                <a:cubicBezTo>
                  <a:pt x="857052" y="3683090"/>
                  <a:pt x="849583" y="3697947"/>
                  <a:pt x="841117" y="3689228"/>
                </a:cubicBezTo>
                <a:cubicBezTo>
                  <a:pt x="832817" y="3712919"/>
                  <a:pt x="823687" y="3692268"/>
                  <a:pt x="814060" y="3696284"/>
                </a:cubicBezTo>
                <a:cubicBezTo>
                  <a:pt x="804100" y="3650105"/>
                  <a:pt x="793642" y="3659456"/>
                  <a:pt x="782521" y="3691809"/>
                </a:cubicBezTo>
                <a:cubicBezTo>
                  <a:pt x="771399" y="3660660"/>
                  <a:pt x="759614" y="3730645"/>
                  <a:pt x="747164" y="3710567"/>
                </a:cubicBezTo>
                <a:cubicBezTo>
                  <a:pt x="734880" y="3756058"/>
                  <a:pt x="721933" y="3720262"/>
                  <a:pt x="708487" y="3731104"/>
                </a:cubicBezTo>
                <a:cubicBezTo>
                  <a:pt x="694876" y="3685384"/>
                  <a:pt x="680932" y="3764031"/>
                  <a:pt x="666325" y="3742520"/>
                </a:cubicBezTo>
                <a:cubicBezTo>
                  <a:pt x="661013" y="3729555"/>
                  <a:pt x="655369" y="3751354"/>
                  <a:pt x="649891" y="3763400"/>
                </a:cubicBezTo>
                <a:cubicBezTo>
                  <a:pt x="644413" y="3724392"/>
                  <a:pt x="639102" y="3795238"/>
                  <a:pt x="634122" y="3756000"/>
                </a:cubicBezTo>
                <a:cubicBezTo>
                  <a:pt x="624328" y="3739479"/>
                  <a:pt x="616194" y="3810784"/>
                  <a:pt x="612045" y="3763228"/>
                </a:cubicBezTo>
                <a:cubicBezTo>
                  <a:pt x="611713" y="3770514"/>
                  <a:pt x="611215" y="3776652"/>
                  <a:pt x="610717" y="3782388"/>
                </a:cubicBezTo>
                <a:cubicBezTo>
                  <a:pt x="606733" y="3778487"/>
                  <a:pt x="602085" y="3790247"/>
                  <a:pt x="597437" y="3798852"/>
                </a:cubicBezTo>
                <a:cubicBezTo>
                  <a:pt x="595611" y="3788698"/>
                  <a:pt x="593785" y="3775332"/>
                  <a:pt x="591793" y="3760131"/>
                </a:cubicBezTo>
                <a:cubicBezTo>
                  <a:pt x="583992" y="3785658"/>
                  <a:pt x="575194" y="3752099"/>
                  <a:pt x="566064" y="3760762"/>
                </a:cubicBezTo>
                <a:cubicBezTo>
                  <a:pt x="557100" y="3664848"/>
                  <a:pt x="547639" y="3771145"/>
                  <a:pt x="538343" y="3749518"/>
                </a:cubicBezTo>
                <a:cubicBezTo>
                  <a:pt x="528881" y="3709420"/>
                  <a:pt x="519752" y="3788756"/>
                  <a:pt x="511286" y="3746650"/>
                </a:cubicBezTo>
                <a:cubicBezTo>
                  <a:pt x="502654" y="3755255"/>
                  <a:pt x="494852" y="3737299"/>
                  <a:pt x="488213" y="3735808"/>
                </a:cubicBezTo>
                <a:cubicBezTo>
                  <a:pt x="481407" y="3704257"/>
                  <a:pt x="475929" y="3725826"/>
                  <a:pt x="472111" y="3722499"/>
                </a:cubicBezTo>
                <a:cubicBezTo>
                  <a:pt x="466965" y="3722155"/>
                  <a:pt x="467131" y="3676894"/>
                  <a:pt x="469123" y="3705749"/>
                </a:cubicBezTo>
                <a:cubicBezTo>
                  <a:pt x="469123" y="3701848"/>
                  <a:pt x="470949" y="3691694"/>
                  <a:pt x="473107" y="3683836"/>
                </a:cubicBezTo>
                <a:cubicBezTo>
                  <a:pt x="476261" y="3681197"/>
                  <a:pt x="478585" y="3678902"/>
                  <a:pt x="478585" y="3679533"/>
                </a:cubicBezTo>
                <a:cubicBezTo>
                  <a:pt x="478585" y="3668060"/>
                  <a:pt x="475763" y="3674313"/>
                  <a:pt x="473107" y="3683836"/>
                </a:cubicBezTo>
                <a:cubicBezTo>
                  <a:pt x="470783" y="3685843"/>
                  <a:pt x="467795" y="3688023"/>
                  <a:pt x="464974" y="3689170"/>
                </a:cubicBezTo>
                <a:cubicBezTo>
                  <a:pt x="458002" y="3704085"/>
                  <a:pt x="451196" y="3718541"/>
                  <a:pt x="451196" y="3673854"/>
                </a:cubicBezTo>
                <a:cubicBezTo>
                  <a:pt x="445220" y="3661693"/>
                  <a:pt x="438912" y="3659914"/>
                  <a:pt x="432107" y="3658136"/>
                </a:cubicBezTo>
                <a:cubicBezTo>
                  <a:pt x="425467" y="3660488"/>
                  <a:pt x="418329" y="3673797"/>
                  <a:pt x="411025" y="3667085"/>
                </a:cubicBezTo>
                <a:cubicBezTo>
                  <a:pt x="400236" y="3676550"/>
                  <a:pt x="388284" y="3642074"/>
                  <a:pt x="376333" y="3648671"/>
                </a:cubicBezTo>
                <a:cubicBezTo>
                  <a:pt x="364381" y="3646434"/>
                  <a:pt x="352429" y="3627044"/>
                  <a:pt x="341308" y="3653432"/>
                </a:cubicBezTo>
                <a:cubicBezTo>
                  <a:pt x="330186" y="3668347"/>
                  <a:pt x="320060" y="3619931"/>
                  <a:pt x="311595" y="3628020"/>
                </a:cubicBezTo>
                <a:cubicBezTo>
                  <a:pt x="303295" y="3627561"/>
                  <a:pt x="296821" y="3619071"/>
                  <a:pt x="293003" y="3624807"/>
                </a:cubicBezTo>
                <a:cubicBezTo>
                  <a:pt x="289849" y="3599165"/>
                  <a:pt x="288687" y="3610466"/>
                  <a:pt x="289351" y="3603927"/>
                </a:cubicBezTo>
                <a:cubicBezTo>
                  <a:pt x="290015" y="3595035"/>
                  <a:pt x="292671" y="3568762"/>
                  <a:pt x="297153" y="3575474"/>
                </a:cubicBezTo>
                <a:cubicBezTo>
                  <a:pt x="297153" y="3571171"/>
                  <a:pt x="301469" y="3534114"/>
                  <a:pt x="305785" y="3555052"/>
                </a:cubicBezTo>
                <a:cubicBezTo>
                  <a:pt x="310101" y="3543980"/>
                  <a:pt x="314417" y="3552757"/>
                  <a:pt x="314417" y="3534745"/>
                </a:cubicBezTo>
                <a:cubicBezTo>
                  <a:pt x="314417" y="3495966"/>
                  <a:pt x="303461" y="3581095"/>
                  <a:pt x="292671" y="3538473"/>
                </a:cubicBezTo>
                <a:cubicBezTo>
                  <a:pt x="281716" y="3553503"/>
                  <a:pt x="270926" y="3529811"/>
                  <a:pt x="270926" y="3542087"/>
                </a:cubicBezTo>
                <a:cubicBezTo>
                  <a:pt x="262128" y="3521608"/>
                  <a:pt x="253829" y="3552241"/>
                  <a:pt x="246027" y="3571458"/>
                </a:cubicBezTo>
                <a:cubicBezTo>
                  <a:pt x="238059" y="3577998"/>
                  <a:pt x="230423" y="3580063"/>
                  <a:pt x="223120" y="3546504"/>
                </a:cubicBezTo>
                <a:cubicBezTo>
                  <a:pt x="215650" y="3551094"/>
                  <a:pt x="208512" y="3518969"/>
                  <a:pt x="201540" y="3543751"/>
                </a:cubicBezTo>
                <a:cubicBezTo>
                  <a:pt x="194569" y="3532737"/>
                  <a:pt x="187763" y="3528320"/>
                  <a:pt x="181123" y="3545644"/>
                </a:cubicBezTo>
                <a:cubicBezTo>
                  <a:pt x="170997" y="3525050"/>
                  <a:pt x="161038" y="3525566"/>
                  <a:pt x="151078" y="3527230"/>
                </a:cubicBezTo>
                <a:cubicBezTo>
                  <a:pt x="141118" y="3523100"/>
                  <a:pt x="130993" y="3538760"/>
                  <a:pt x="120867" y="3546390"/>
                </a:cubicBezTo>
                <a:cubicBezTo>
                  <a:pt x="110741" y="3526312"/>
                  <a:pt x="100450" y="3563829"/>
                  <a:pt x="89826" y="3554191"/>
                </a:cubicBezTo>
                <a:cubicBezTo>
                  <a:pt x="79203" y="3568991"/>
                  <a:pt x="68247" y="3566467"/>
                  <a:pt x="56793" y="3566181"/>
                </a:cubicBezTo>
                <a:cubicBezTo>
                  <a:pt x="50651" y="3582013"/>
                  <a:pt x="44344" y="3592339"/>
                  <a:pt x="37870" y="3577711"/>
                </a:cubicBezTo>
                <a:cubicBezTo>
                  <a:pt x="31396" y="3557117"/>
                  <a:pt x="24922" y="3533884"/>
                  <a:pt x="18283" y="3540424"/>
                </a:cubicBezTo>
                <a:cubicBezTo>
                  <a:pt x="14299" y="3550635"/>
                  <a:pt x="10149" y="3542948"/>
                  <a:pt x="6165" y="3539334"/>
                </a:cubicBezTo>
                <a:cubicBezTo>
                  <a:pt x="6829" y="3535777"/>
                  <a:pt x="7493" y="3532393"/>
                  <a:pt x="8157" y="3528607"/>
                </a:cubicBezTo>
                <a:cubicBezTo>
                  <a:pt x="6829" y="3523386"/>
                  <a:pt x="5335" y="3518166"/>
                  <a:pt x="4007" y="3513061"/>
                </a:cubicBezTo>
                <a:lnTo>
                  <a:pt x="4007" y="2783391"/>
                </a:lnTo>
                <a:lnTo>
                  <a:pt x="0" y="2783391"/>
                </a:lnTo>
                <a:close/>
              </a:path>
            </a:pathLst>
          </a:custGeom>
          <a:solidFill>
            <a:schemeClr val="bg1"/>
          </a:solidFill>
          <a:ln w="3175" cmpd="sng">
            <a:solidFill>
              <a:schemeClr val="bg1">
                <a:lumMod val="85000"/>
              </a:schemeClr>
            </a:solidFill>
          </a:ln>
          <a:effectLst>
            <a:outerShdw blurRad="123295" dist="38100" dir="2700000" algn="tl" rotWithShape="0">
              <a:prstClr val="black">
                <a:alpha val="40000"/>
              </a:prstClr>
            </a:outerShdw>
          </a:effectLst>
        </p:spPr>
        <p:txBody>
          <a:bodyPr wrap="square" lIns="182880" tIns="137160" rIns="182880" bIns="274320">
            <a:spAutoFit/>
          </a:bodyPr>
          <a:lstStyle/>
          <a:p>
            <a:pPr lvl="0" defTabSz="1018705">
              <a:spcAft>
                <a:spcPts val="200"/>
              </a:spcAft>
              <a:defRPr/>
            </a:pPr>
            <a:r>
              <a:rPr lang="en-US" sz="1400" b="1" dirty="0">
                <a:solidFill>
                  <a:srgbClr val="000000"/>
                </a:solidFill>
                <a:latin typeface="Times New Roman" charset="0"/>
                <a:ea typeface="Times New Roman" charset="0"/>
                <a:cs typeface="Times New Roman" charset="0"/>
              </a:rPr>
              <a:t>HEADLINE TEXT</a:t>
            </a:r>
          </a:p>
          <a:p>
            <a:pPr lvl="0" algn="just" defTabSz="1018705">
              <a:spcAft>
                <a:spcPts val="200"/>
              </a:spcAft>
              <a:defRPr/>
            </a:pPr>
            <a:r>
              <a:rPr lang="en-US" sz="1000" dirty="0">
                <a:solidFill>
                  <a:srgbClr val="000000"/>
                </a:solidFill>
                <a:latin typeface="Times New Roman" charset="0"/>
                <a:ea typeface="Times New Roman" charset="0"/>
                <a:cs typeface="Times New Roman" charset="0"/>
              </a:rPr>
              <a:t>New York, Monday, July 21—This is sample news article text and can easily be replaced with your custom copy. Text is justified to look realistic. Please use the Time New Roman font.</a:t>
            </a:r>
            <a:endParaRPr kumimoji="0" lang="en-US" sz="1000" b="0" i="0" u="none" strike="noStrike" kern="1200" cap="none" spc="0" normalizeH="0" baseline="0" noProof="0" dirty="0">
              <a:ln>
                <a:noFill/>
              </a:ln>
              <a:solidFill>
                <a:srgbClr val="000000"/>
              </a:solidFill>
              <a:effectLst/>
              <a:uLnTx/>
              <a:uFillTx/>
              <a:latin typeface="Times New Roman" charset="0"/>
              <a:ea typeface="Times New Roman" charset="0"/>
              <a:cs typeface="Times New Roman" charset="0"/>
            </a:endParaRPr>
          </a:p>
        </p:txBody>
      </p:sp>
      <p:sp>
        <p:nvSpPr>
          <p:cNvPr id="15" name="TextBox 14">
            <a:extLst>
              <a:ext uri="{FF2B5EF4-FFF2-40B4-BE49-F238E27FC236}">
                <a16:creationId xmlns:a16="http://schemas.microsoft.com/office/drawing/2014/main" id="{06B437CD-4481-4249-8899-A4DFD6A031D1}"/>
              </a:ext>
            </a:extLst>
          </p:cNvPr>
          <p:cNvSpPr txBox="1"/>
          <p:nvPr/>
        </p:nvSpPr>
        <p:spPr>
          <a:xfrm>
            <a:off x="304800" y="2321919"/>
            <a:ext cx="2377150" cy="750718"/>
          </a:xfrm>
          <a:prstGeom prst="rect">
            <a:avLst/>
          </a:prstGeom>
          <a:noFill/>
        </p:spPr>
        <p:txBody>
          <a:bodyPr wrap="square" lIns="0" tIns="0" rIns="0" bIns="0" rtlCol="0">
            <a:spAutoFit/>
          </a:bodyPr>
          <a:lstStyle/>
          <a:p>
            <a:pPr defTabSz="342900">
              <a:lnSpc>
                <a:spcPct val="110000"/>
              </a:lnSpc>
            </a:pPr>
            <a:r>
              <a:rPr lang="en-US" sz="900" dirty="0">
                <a:cs typeface="+mj-cs"/>
              </a:rPr>
              <a:t>Add in your own headline and body copy.</a:t>
            </a:r>
            <a:br>
              <a:rPr lang="en-US" sz="900" dirty="0">
                <a:cs typeface="+mj-cs"/>
              </a:rPr>
            </a:br>
            <a:r>
              <a:rPr lang="en-US" sz="900" dirty="0">
                <a:cs typeface="+mj-cs"/>
              </a:rPr>
              <a:t>The box will accommodate any length of text and resize accordingly. </a:t>
            </a:r>
          </a:p>
          <a:p>
            <a:pPr defTabSz="342900">
              <a:lnSpc>
                <a:spcPct val="110000"/>
              </a:lnSpc>
            </a:pPr>
            <a:br>
              <a:rPr lang="en-US" sz="900" dirty="0">
                <a:cs typeface="+mj-cs"/>
              </a:rPr>
            </a:br>
            <a:r>
              <a:rPr lang="en-US" sz="900" b="1" dirty="0">
                <a:latin typeface="Times New Roman" panose="02020603050405020304" pitchFamily="18" charset="0"/>
                <a:cs typeface="Times New Roman" panose="02020603050405020304" pitchFamily="18" charset="0"/>
              </a:rPr>
              <a:t>Use Times New Roman</a:t>
            </a:r>
          </a:p>
        </p:txBody>
      </p:sp>
      <p:sp>
        <p:nvSpPr>
          <p:cNvPr id="16" name="TextBox 15">
            <a:extLst>
              <a:ext uri="{FF2B5EF4-FFF2-40B4-BE49-F238E27FC236}">
                <a16:creationId xmlns:a16="http://schemas.microsoft.com/office/drawing/2014/main" id="{D8D82DF4-EF10-194D-B015-15781D4138FD}"/>
              </a:ext>
            </a:extLst>
          </p:cNvPr>
          <p:cNvSpPr txBox="1"/>
          <p:nvPr/>
        </p:nvSpPr>
        <p:spPr>
          <a:xfrm>
            <a:off x="8128000" y="2393746"/>
            <a:ext cx="2506870" cy="749885"/>
          </a:xfrm>
          <a:prstGeom prst="rect">
            <a:avLst/>
          </a:prstGeom>
          <a:noFill/>
        </p:spPr>
        <p:txBody>
          <a:bodyPr wrap="square" lIns="0" tIns="0" rIns="0" bIns="0" rtlCol="0">
            <a:spAutoFit/>
          </a:bodyPr>
          <a:lstStyle>
            <a:defPPr>
              <a:defRPr lang="en-US"/>
            </a:defPPr>
            <a:lvl1pPr defTabSz="342900">
              <a:lnSpc>
                <a:spcPct val="110000"/>
              </a:lnSpc>
              <a:defRPr sz="900">
                <a:cs typeface="+mj-cs"/>
              </a:defRPr>
            </a:lvl1pPr>
          </a:lstStyle>
          <a:p>
            <a:r>
              <a:rPr lang="en-US" dirty="0"/>
              <a:t>The tear box below is a custom cropping of the web screengrab. Right click and choose Change Picture to add your own. You can move the image within the crop as you like it and resize the tear box as well to fit any image.</a:t>
            </a:r>
          </a:p>
        </p:txBody>
      </p:sp>
      <p:pic>
        <p:nvPicPr>
          <p:cNvPr id="17" name="Picture 16">
            <a:extLst>
              <a:ext uri="{FF2B5EF4-FFF2-40B4-BE49-F238E27FC236}">
                <a16:creationId xmlns:a16="http://schemas.microsoft.com/office/drawing/2014/main" id="{38D4126F-3AAA-FE4B-88BE-18B4750D5A51}"/>
              </a:ext>
            </a:extLst>
          </p:cNvPr>
          <p:cNvPicPr>
            <a:picLocks noChangeAspect="1"/>
          </p:cNvPicPr>
          <p:nvPr/>
        </p:nvPicPr>
        <p:blipFill rotWithShape="1">
          <a:blip r:embed="rId3">
            <a:extLst>
              <a:ext uri="{28A0092B-C50C-407E-A947-70E740481C1C}">
                <a14:useLocalDpi xmlns:a14="http://schemas.microsoft.com/office/drawing/2010/main" val="0"/>
              </a:ext>
            </a:extLst>
          </a:blip>
          <a:srcRect t="-2265" b="-5705"/>
          <a:stretch/>
        </p:blipFill>
        <p:spPr>
          <a:xfrm>
            <a:off x="8127999" y="3429000"/>
            <a:ext cx="2377151" cy="2550638"/>
          </a:xfrm>
          <a:custGeom>
            <a:avLst/>
            <a:gdLst>
              <a:gd name="connsiteX0" fmla="*/ 0 w 2377151"/>
              <a:gd name="connsiteY0" fmla="*/ 0 h 1554496"/>
              <a:gd name="connsiteX1" fmla="*/ 2377151 w 2377151"/>
              <a:gd name="connsiteY1" fmla="*/ 0 h 1554496"/>
              <a:gd name="connsiteX2" fmla="*/ 2377151 w 2377151"/>
              <a:gd name="connsiteY2" fmla="*/ 1057058 h 1554496"/>
              <a:gd name="connsiteX3" fmla="*/ 2377151 w 2377151"/>
              <a:gd name="connsiteY3" fmla="*/ 1134150 h 1554496"/>
              <a:gd name="connsiteX4" fmla="*/ 2377151 w 2377151"/>
              <a:gd name="connsiteY4" fmla="*/ 1467372 h 1554496"/>
              <a:gd name="connsiteX5" fmla="*/ 2375062 w 2377151"/>
              <a:gd name="connsiteY5" fmla="*/ 1470879 h 1554496"/>
              <a:gd name="connsiteX6" fmla="*/ 2348350 w 2377151"/>
              <a:gd name="connsiteY6" fmla="*/ 1470201 h 1554496"/>
              <a:gd name="connsiteX7" fmla="*/ 2325924 w 2377151"/>
              <a:gd name="connsiteY7" fmla="*/ 1470294 h 1554496"/>
              <a:gd name="connsiteX8" fmla="*/ 2309105 w 2377151"/>
              <a:gd name="connsiteY8" fmla="*/ 1471066 h 1554496"/>
              <a:gd name="connsiteX9" fmla="*/ 2288548 w 2377151"/>
              <a:gd name="connsiteY9" fmla="*/ 1475109 h 1554496"/>
              <a:gd name="connsiteX10" fmla="*/ 2269969 w 2377151"/>
              <a:gd name="connsiteY10" fmla="*/ 1472117 h 1554496"/>
              <a:gd name="connsiteX11" fmla="*/ 2253699 w 2377151"/>
              <a:gd name="connsiteY11" fmla="*/ 1471907 h 1554496"/>
              <a:gd name="connsiteX12" fmla="*/ 2240178 w 2377151"/>
              <a:gd name="connsiteY12" fmla="*/ 1468962 h 1554496"/>
              <a:gd name="connsiteX13" fmla="*/ 2229735 w 2377151"/>
              <a:gd name="connsiteY13" fmla="*/ 1468074 h 1554496"/>
              <a:gd name="connsiteX14" fmla="*/ 2222809 w 2377151"/>
              <a:gd name="connsiteY14" fmla="*/ 1458514 h 1554496"/>
              <a:gd name="connsiteX15" fmla="*/ 2218412 w 2377151"/>
              <a:gd name="connsiteY15" fmla="*/ 1450800 h 1554496"/>
              <a:gd name="connsiteX16" fmla="*/ 2213904 w 2377151"/>
              <a:gd name="connsiteY16" fmla="*/ 1444933 h 1554496"/>
              <a:gd name="connsiteX17" fmla="*/ 2196755 w 2377151"/>
              <a:gd name="connsiteY17" fmla="*/ 1455124 h 1554496"/>
              <a:gd name="connsiteX18" fmla="*/ 2180705 w 2377151"/>
              <a:gd name="connsiteY18" fmla="*/ 1459075 h 1554496"/>
              <a:gd name="connsiteX19" fmla="*/ 2158719 w 2377151"/>
              <a:gd name="connsiteY19" fmla="*/ 1470177 h 1554496"/>
              <a:gd name="connsiteX20" fmla="*/ 2133656 w 2377151"/>
              <a:gd name="connsiteY20" fmla="*/ 1474315 h 1554496"/>
              <a:gd name="connsiteX21" fmla="*/ 2108701 w 2377151"/>
              <a:gd name="connsiteY21" fmla="*/ 1481724 h 1554496"/>
              <a:gd name="connsiteX22" fmla="*/ 2086715 w 2377151"/>
              <a:gd name="connsiteY22" fmla="*/ 1484436 h 1554496"/>
              <a:gd name="connsiteX23" fmla="*/ 2070775 w 2377151"/>
              <a:gd name="connsiteY23" fmla="*/ 1482402 h 1554496"/>
              <a:gd name="connsiteX24" fmla="*/ 2066928 w 2377151"/>
              <a:gd name="connsiteY24" fmla="*/ 1483758 h 1554496"/>
              <a:gd name="connsiteX25" fmla="*/ 2065828 w 2377151"/>
              <a:gd name="connsiteY25" fmla="*/ 1472725 h 1554496"/>
              <a:gd name="connsiteX26" fmla="*/ 2066818 w 2377151"/>
              <a:gd name="connsiteY26" fmla="*/ 1458397 h 1554496"/>
              <a:gd name="connsiteX27" fmla="*/ 2049339 w 2377151"/>
              <a:gd name="connsiteY27" fmla="*/ 1461716 h 1554496"/>
              <a:gd name="connsiteX28" fmla="*/ 2028012 w 2377151"/>
              <a:gd name="connsiteY28" fmla="*/ 1464450 h 1554496"/>
              <a:gd name="connsiteX29" fmla="*/ 2009764 w 2377151"/>
              <a:gd name="connsiteY29" fmla="*/ 1469593 h 1554496"/>
              <a:gd name="connsiteX30" fmla="*/ 1983930 w 2377151"/>
              <a:gd name="connsiteY30" fmla="*/ 1475320 h 1554496"/>
              <a:gd name="connsiteX31" fmla="*/ 1963043 w 2377151"/>
              <a:gd name="connsiteY31" fmla="*/ 1469640 h 1554496"/>
              <a:gd name="connsiteX32" fmla="*/ 1945454 w 2377151"/>
              <a:gd name="connsiteY32" fmla="*/ 1464474 h 1554496"/>
              <a:gd name="connsiteX33" fmla="*/ 1929405 w 2377151"/>
              <a:gd name="connsiteY33" fmla="*/ 1461178 h 1554496"/>
              <a:gd name="connsiteX34" fmla="*/ 1892138 w 2377151"/>
              <a:gd name="connsiteY34" fmla="*/ 1458654 h 1554496"/>
              <a:gd name="connsiteX35" fmla="*/ 1857620 w 2377151"/>
              <a:gd name="connsiteY35" fmla="*/ 1458747 h 1554496"/>
              <a:gd name="connsiteX36" fmla="*/ 1829918 w 2377151"/>
              <a:gd name="connsiteY36" fmla="*/ 1458934 h 1554496"/>
              <a:gd name="connsiteX37" fmla="*/ 1802764 w 2377151"/>
              <a:gd name="connsiteY37" fmla="*/ 1457438 h 1554496"/>
              <a:gd name="connsiteX38" fmla="*/ 1800896 w 2377151"/>
              <a:gd name="connsiteY38" fmla="*/ 1450449 h 1554496"/>
              <a:gd name="connsiteX39" fmla="*/ 1798258 w 2377151"/>
              <a:gd name="connsiteY39" fmla="*/ 1444162 h 1554496"/>
              <a:gd name="connsiteX40" fmla="*/ 1787704 w 2377151"/>
              <a:gd name="connsiteY40" fmla="*/ 1443227 h 1554496"/>
              <a:gd name="connsiteX41" fmla="*/ 1767257 w 2377151"/>
              <a:gd name="connsiteY41" fmla="*/ 1435700 h 1554496"/>
              <a:gd name="connsiteX42" fmla="*/ 1744831 w 2377151"/>
              <a:gd name="connsiteY42" fmla="*/ 1445938 h 1554496"/>
              <a:gd name="connsiteX43" fmla="*/ 1721636 w 2377151"/>
              <a:gd name="connsiteY43" fmla="*/ 1446967 h 1554496"/>
              <a:gd name="connsiteX44" fmla="*/ 1698661 w 2377151"/>
              <a:gd name="connsiteY44" fmla="*/ 1456901 h 1554496"/>
              <a:gd name="connsiteX45" fmla="*/ 1676784 w 2377151"/>
              <a:gd name="connsiteY45" fmla="*/ 1462791 h 1554496"/>
              <a:gd name="connsiteX46" fmla="*/ 1656887 w 2377151"/>
              <a:gd name="connsiteY46" fmla="*/ 1469920 h 1554496"/>
              <a:gd name="connsiteX47" fmla="*/ 1651830 w 2377151"/>
              <a:gd name="connsiteY47" fmla="*/ 1482566 h 1554496"/>
              <a:gd name="connsiteX48" fmla="*/ 1646773 w 2377151"/>
              <a:gd name="connsiteY48" fmla="*/ 1473193 h 1554496"/>
              <a:gd name="connsiteX49" fmla="*/ 1631603 w 2377151"/>
              <a:gd name="connsiteY49" fmla="*/ 1479808 h 1554496"/>
              <a:gd name="connsiteX50" fmla="*/ 1623908 w 2377151"/>
              <a:gd name="connsiteY50" fmla="*/ 1487732 h 1554496"/>
              <a:gd name="connsiteX51" fmla="*/ 1616213 w 2377151"/>
              <a:gd name="connsiteY51" fmla="*/ 1482636 h 1554496"/>
              <a:gd name="connsiteX52" fmla="*/ 1608517 w 2377151"/>
              <a:gd name="connsiteY52" fmla="*/ 1478358 h 1554496"/>
              <a:gd name="connsiteX53" fmla="*/ 1600713 w 2377151"/>
              <a:gd name="connsiteY53" fmla="*/ 1487241 h 1554496"/>
              <a:gd name="connsiteX54" fmla="*/ 1584773 w 2377151"/>
              <a:gd name="connsiteY54" fmla="*/ 1491916 h 1554496"/>
              <a:gd name="connsiteX55" fmla="*/ 1572240 w 2377151"/>
              <a:gd name="connsiteY55" fmla="*/ 1508511 h 1554496"/>
              <a:gd name="connsiteX56" fmla="*/ 1559489 w 2377151"/>
              <a:gd name="connsiteY56" fmla="*/ 1499349 h 1554496"/>
              <a:gd name="connsiteX57" fmla="*/ 1546736 w 2377151"/>
              <a:gd name="connsiteY57" fmla="*/ 1504538 h 1554496"/>
              <a:gd name="connsiteX58" fmla="*/ 1533875 w 2377151"/>
              <a:gd name="connsiteY58" fmla="*/ 1507156 h 1554496"/>
              <a:gd name="connsiteX59" fmla="*/ 1527938 w 2377151"/>
              <a:gd name="connsiteY59" fmla="*/ 1498437 h 1554496"/>
              <a:gd name="connsiteX60" fmla="*/ 1521013 w 2377151"/>
              <a:gd name="connsiteY60" fmla="*/ 1487545 h 1554496"/>
              <a:gd name="connsiteX61" fmla="*/ 1514087 w 2377151"/>
              <a:gd name="connsiteY61" fmla="*/ 1471954 h 1554496"/>
              <a:gd name="connsiteX62" fmla="*/ 1494630 w 2377151"/>
              <a:gd name="connsiteY62" fmla="*/ 1482870 h 1554496"/>
              <a:gd name="connsiteX63" fmla="*/ 1480229 w 2377151"/>
              <a:gd name="connsiteY63" fmla="*/ 1488292 h 1554496"/>
              <a:gd name="connsiteX64" fmla="*/ 1476271 w 2377151"/>
              <a:gd name="connsiteY64" fmla="*/ 1501546 h 1554496"/>
              <a:gd name="connsiteX65" fmla="*/ 1472314 w 2377151"/>
              <a:gd name="connsiteY65" fmla="*/ 1490980 h 1554496"/>
              <a:gd name="connsiteX66" fmla="*/ 1463629 w 2377151"/>
              <a:gd name="connsiteY66" fmla="*/ 1489859 h 1554496"/>
              <a:gd name="connsiteX67" fmla="*/ 1443842 w 2377151"/>
              <a:gd name="connsiteY67" fmla="*/ 1489719 h 1554496"/>
              <a:gd name="connsiteX68" fmla="*/ 1423835 w 2377151"/>
              <a:gd name="connsiteY68" fmla="*/ 1492220 h 1554496"/>
              <a:gd name="connsiteX69" fmla="*/ 1413721 w 2377151"/>
              <a:gd name="connsiteY69" fmla="*/ 1480696 h 1554496"/>
              <a:gd name="connsiteX70" fmla="*/ 1406246 w 2377151"/>
              <a:gd name="connsiteY70" fmla="*/ 1494253 h 1554496"/>
              <a:gd name="connsiteX71" fmla="*/ 1396682 w 2377151"/>
              <a:gd name="connsiteY71" fmla="*/ 1498975 h 1554496"/>
              <a:gd name="connsiteX72" fmla="*/ 1391735 w 2377151"/>
              <a:gd name="connsiteY72" fmla="*/ 1485301 h 1554496"/>
              <a:gd name="connsiteX73" fmla="*/ 1378323 w 2377151"/>
              <a:gd name="connsiteY73" fmla="*/ 1475577 h 1554496"/>
              <a:gd name="connsiteX74" fmla="*/ 1369529 w 2377151"/>
              <a:gd name="connsiteY74" fmla="*/ 1479574 h 1554496"/>
              <a:gd name="connsiteX75" fmla="*/ 1360734 w 2377151"/>
              <a:gd name="connsiteY75" fmla="*/ 1478826 h 1554496"/>
              <a:gd name="connsiteX76" fmla="*/ 1352050 w 2377151"/>
              <a:gd name="connsiteY76" fmla="*/ 1467723 h 1554496"/>
              <a:gd name="connsiteX77" fmla="*/ 1343475 w 2377151"/>
              <a:gd name="connsiteY77" fmla="*/ 1468822 h 1554496"/>
              <a:gd name="connsiteX78" fmla="*/ 1334791 w 2377151"/>
              <a:gd name="connsiteY78" fmla="*/ 1462207 h 1554496"/>
              <a:gd name="connsiteX79" fmla="*/ 1326216 w 2377151"/>
              <a:gd name="connsiteY79" fmla="*/ 1470598 h 1554496"/>
              <a:gd name="connsiteX80" fmla="*/ 1308847 w 2377151"/>
              <a:gd name="connsiteY80" fmla="*/ 1466601 h 1554496"/>
              <a:gd name="connsiteX81" fmla="*/ 1291479 w 2377151"/>
              <a:gd name="connsiteY81" fmla="*/ 1463212 h 1554496"/>
              <a:gd name="connsiteX82" fmla="*/ 1273669 w 2377151"/>
              <a:gd name="connsiteY82" fmla="*/ 1467513 h 1554496"/>
              <a:gd name="connsiteX83" fmla="*/ 1255641 w 2377151"/>
              <a:gd name="connsiteY83" fmla="*/ 1469616 h 1554496"/>
              <a:gd name="connsiteX84" fmla="*/ 1236953 w 2377151"/>
              <a:gd name="connsiteY84" fmla="*/ 1470061 h 1554496"/>
              <a:gd name="connsiteX85" fmla="*/ 1233435 w 2377151"/>
              <a:gd name="connsiteY85" fmla="*/ 1470365 h 1554496"/>
              <a:gd name="connsiteX86" fmla="*/ 1187484 w 2377151"/>
              <a:gd name="connsiteY86" fmla="*/ 1475343 h 1554496"/>
              <a:gd name="connsiteX87" fmla="*/ 1143622 w 2377151"/>
              <a:gd name="connsiteY87" fmla="*/ 1483103 h 1554496"/>
              <a:gd name="connsiteX88" fmla="*/ 1101848 w 2377151"/>
              <a:gd name="connsiteY88" fmla="*/ 1493739 h 1554496"/>
              <a:gd name="connsiteX89" fmla="*/ 1061943 w 2377151"/>
              <a:gd name="connsiteY89" fmla="*/ 1507249 h 1554496"/>
              <a:gd name="connsiteX90" fmla="*/ 1042706 w 2377151"/>
              <a:gd name="connsiteY90" fmla="*/ 1506688 h 1554496"/>
              <a:gd name="connsiteX91" fmla="*/ 1023798 w 2377151"/>
              <a:gd name="connsiteY91" fmla="*/ 1523658 h 1554496"/>
              <a:gd name="connsiteX92" fmla="*/ 1023578 w 2377151"/>
              <a:gd name="connsiteY92" fmla="*/ 1513864 h 1554496"/>
              <a:gd name="connsiteX93" fmla="*/ 1024787 w 2377151"/>
              <a:gd name="connsiteY93" fmla="*/ 1505777 h 1554496"/>
              <a:gd name="connsiteX94" fmla="*/ 1025227 w 2377151"/>
              <a:gd name="connsiteY94" fmla="*/ 1500330 h 1554496"/>
              <a:gd name="connsiteX95" fmla="*/ 1026326 w 2377151"/>
              <a:gd name="connsiteY95" fmla="*/ 1500003 h 1554496"/>
              <a:gd name="connsiteX96" fmla="*/ 1025227 w 2377151"/>
              <a:gd name="connsiteY96" fmla="*/ 1500330 h 1554496"/>
              <a:gd name="connsiteX97" fmla="*/ 1014783 w 2377151"/>
              <a:gd name="connsiteY97" fmla="*/ 1507927 h 1554496"/>
              <a:gd name="connsiteX98" fmla="*/ 1003131 w 2377151"/>
              <a:gd name="connsiteY98" fmla="*/ 1503743 h 1554496"/>
              <a:gd name="connsiteX99" fmla="*/ 992688 w 2377151"/>
              <a:gd name="connsiteY99" fmla="*/ 1514495 h 1554496"/>
              <a:gd name="connsiteX100" fmla="*/ 983343 w 2377151"/>
              <a:gd name="connsiteY100" fmla="*/ 1509797 h 1554496"/>
              <a:gd name="connsiteX101" fmla="*/ 966634 w 2377151"/>
              <a:gd name="connsiteY101" fmla="*/ 1518679 h 1554496"/>
              <a:gd name="connsiteX102" fmla="*/ 959488 w 2377151"/>
              <a:gd name="connsiteY102" fmla="*/ 1519848 h 1554496"/>
              <a:gd name="connsiteX103" fmla="*/ 952563 w 2377151"/>
              <a:gd name="connsiteY103" fmla="*/ 1526206 h 1554496"/>
              <a:gd name="connsiteX104" fmla="*/ 939261 w 2377151"/>
              <a:gd name="connsiteY104" fmla="*/ 1529759 h 1554496"/>
              <a:gd name="connsiteX105" fmla="*/ 920133 w 2377151"/>
              <a:gd name="connsiteY105" fmla="*/ 1522770 h 1554496"/>
              <a:gd name="connsiteX106" fmla="*/ 908700 w 2377151"/>
              <a:gd name="connsiteY106" fmla="*/ 1513958 h 1554496"/>
              <a:gd name="connsiteX107" fmla="*/ 899576 w 2377151"/>
              <a:gd name="connsiteY107" fmla="*/ 1505543 h 1554496"/>
              <a:gd name="connsiteX108" fmla="*/ 887264 w 2377151"/>
              <a:gd name="connsiteY108" fmla="*/ 1507249 h 1554496"/>
              <a:gd name="connsiteX109" fmla="*/ 865388 w 2377151"/>
              <a:gd name="connsiteY109" fmla="*/ 1505145 h 1554496"/>
              <a:gd name="connsiteX110" fmla="*/ 844061 w 2377151"/>
              <a:gd name="connsiteY110" fmla="*/ 1507693 h 1554496"/>
              <a:gd name="connsiteX111" fmla="*/ 823284 w 2377151"/>
              <a:gd name="connsiteY111" fmla="*/ 1511574 h 1554496"/>
              <a:gd name="connsiteX112" fmla="*/ 802837 w 2377151"/>
              <a:gd name="connsiteY112" fmla="*/ 1517160 h 1554496"/>
              <a:gd name="connsiteX113" fmla="*/ 782830 w 2377151"/>
              <a:gd name="connsiteY113" fmla="*/ 1523822 h 1554496"/>
              <a:gd name="connsiteX114" fmla="*/ 763042 w 2377151"/>
              <a:gd name="connsiteY114" fmla="*/ 1530998 h 1554496"/>
              <a:gd name="connsiteX115" fmla="*/ 731273 w 2377151"/>
              <a:gd name="connsiteY115" fmla="*/ 1542241 h 1554496"/>
              <a:gd name="connsiteX116" fmla="*/ 700163 w 2377151"/>
              <a:gd name="connsiteY116" fmla="*/ 1550749 h 1554496"/>
              <a:gd name="connsiteX117" fmla="*/ 684662 w 2377151"/>
              <a:gd name="connsiteY117" fmla="*/ 1548996 h 1554496"/>
              <a:gd name="connsiteX118" fmla="*/ 669382 w 2377151"/>
              <a:gd name="connsiteY118" fmla="*/ 1554092 h 1554496"/>
              <a:gd name="connsiteX119" fmla="*/ 669162 w 2377151"/>
              <a:gd name="connsiteY119" fmla="*/ 1545139 h 1554496"/>
              <a:gd name="connsiteX120" fmla="*/ 669052 w 2377151"/>
              <a:gd name="connsiteY120" fmla="*/ 1554092 h 1554496"/>
              <a:gd name="connsiteX121" fmla="*/ 666853 w 2377151"/>
              <a:gd name="connsiteY121" fmla="*/ 1538781 h 1554496"/>
              <a:gd name="connsiteX122" fmla="*/ 664545 w 2377151"/>
              <a:gd name="connsiteY122" fmla="*/ 1545770 h 1554496"/>
              <a:gd name="connsiteX123" fmla="*/ 661687 w 2377151"/>
              <a:gd name="connsiteY123" fmla="*/ 1554162 h 1554496"/>
              <a:gd name="connsiteX124" fmla="*/ 660478 w 2377151"/>
              <a:gd name="connsiteY124" fmla="*/ 1538547 h 1554496"/>
              <a:gd name="connsiteX125" fmla="*/ 660478 w 2377151"/>
              <a:gd name="connsiteY125" fmla="*/ 1525505 h 1554496"/>
              <a:gd name="connsiteX126" fmla="*/ 642559 w 2377151"/>
              <a:gd name="connsiteY126" fmla="*/ 1526790 h 1554496"/>
              <a:gd name="connsiteX127" fmla="*/ 633105 w 2377151"/>
              <a:gd name="connsiteY127" fmla="*/ 1531044 h 1554496"/>
              <a:gd name="connsiteX128" fmla="*/ 623431 w 2377151"/>
              <a:gd name="connsiteY128" fmla="*/ 1528543 h 1554496"/>
              <a:gd name="connsiteX129" fmla="*/ 619803 w 2377151"/>
              <a:gd name="connsiteY129" fmla="*/ 1547126 h 1554496"/>
              <a:gd name="connsiteX130" fmla="*/ 614417 w 2377151"/>
              <a:gd name="connsiteY130" fmla="*/ 1546167 h 1554496"/>
              <a:gd name="connsiteX131" fmla="*/ 612878 w 2377151"/>
              <a:gd name="connsiteY131" fmla="*/ 1548201 h 1554496"/>
              <a:gd name="connsiteX132" fmla="*/ 605512 w 2377151"/>
              <a:gd name="connsiteY132" fmla="*/ 1530203 h 1554496"/>
              <a:gd name="connsiteX133" fmla="*/ 587813 w 2377151"/>
              <a:gd name="connsiteY133" fmla="*/ 1530904 h 1554496"/>
              <a:gd name="connsiteX134" fmla="*/ 586274 w 2377151"/>
              <a:gd name="connsiteY134" fmla="*/ 1542007 h 1554496"/>
              <a:gd name="connsiteX135" fmla="*/ 583087 w 2377151"/>
              <a:gd name="connsiteY135" fmla="*/ 1519708 h 1554496"/>
              <a:gd name="connsiteX136" fmla="*/ 578360 w 2377151"/>
              <a:gd name="connsiteY136" fmla="*/ 1503486 h 1554496"/>
              <a:gd name="connsiteX137" fmla="*/ 572093 w 2377151"/>
              <a:gd name="connsiteY137" fmla="*/ 1511574 h 1554496"/>
              <a:gd name="connsiteX138" fmla="*/ 557033 w 2377151"/>
              <a:gd name="connsiteY138" fmla="*/ 1503252 h 1554496"/>
              <a:gd name="connsiteX139" fmla="*/ 539114 w 2377151"/>
              <a:gd name="connsiteY139" fmla="*/ 1506127 h 1554496"/>
              <a:gd name="connsiteX140" fmla="*/ 518228 w 2377151"/>
              <a:gd name="connsiteY140" fmla="*/ 1504304 h 1554496"/>
              <a:gd name="connsiteX141" fmla="*/ 494812 w 2377151"/>
              <a:gd name="connsiteY141" fmla="*/ 1511947 h 1554496"/>
              <a:gd name="connsiteX142" fmla="*/ 469198 w 2377151"/>
              <a:gd name="connsiteY142" fmla="*/ 1520316 h 1554496"/>
              <a:gd name="connsiteX143" fmla="*/ 441276 w 2377151"/>
              <a:gd name="connsiteY143" fmla="*/ 1524967 h 1554496"/>
              <a:gd name="connsiteX144" fmla="*/ 430393 w 2377151"/>
              <a:gd name="connsiteY144" fmla="*/ 1533475 h 1554496"/>
              <a:gd name="connsiteX145" fmla="*/ 419950 w 2377151"/>
              <a:gd name="connsiteY145" fmla="*/ 1530460 h 1554496"/>
              <a:gd name="connsiteX146" fmla="*/ 405329 w 2377151"/>
              <a:gd name="connsiteY146" fmla="*/ 1533405 h 1554496"/>
              <a:gd name="connsiteX147" fmla="*/ 404450 w 2377151"/>
              <a:gd name="connsiteY147" fmla="*/ 1541212 h 1554496"/>
              <a:gd name="connsiteX148" fmla="*/ 395655 w 2377151"/>
              <a:gd name="connsiteY148" fmla="*/ 1547921 h 1554496"/>
              <a:gd name="connsiteX149" fmla="*/ 391917 w 2377151"/>
              <a:gd name="connsiteY149" fmla="*/ 1532143 h 1554496"/>
              <a:gd name="connsiteX150" fmla="*/ 374878 w 2377151"/>
              <a:gd name="connsiteY150" fmla="*/ 1532400 h 1554496"/>
              <a:gd name="connsiteX151" fmla="*/ 356520 w 2377151"/>
              <a:gd name="connsiteY151" fmla="*/ 1527819 h 1554496"/>
              <a:gd name="connsiteX152" fmla="*/ 338601 w 2377151"/>
              <a:gd name="connsiteY152" fmla="*/ 1526650 h 1554496"/>
              <a:gd name="connsiteX153" fmla="*/ 323321 w 2377151"/>
              <a:gd name="connsiteY153" fmla="*/ 1522232 h 1554496"/>
              <a:gd name="connsiteX154" fmla="*/ 312657 w 2377151"/>
              <a:gd name="connsiteY154" fmla="*/ 1516809 h 1554496"/>
              <a:gd name="connsiteX155" fmla="*/ 310679 w 2377151"/>
              <a:gd name="connsiteY155" fmla="*/ 1509984 h 1554496"/>
              <a:gd name="connsiteX156" fmla="*/ 313317 w 2377151"/>
              <a:gd name="connsiteY156" fmla="*/ 1501055 h 1554496"/>
              <a:gd name="connsiteX157" fmla="*/ 316945 w 2377151"/>
              <a:gd name="connsiteY157" fmla="*/ 1499302 h 1554496"/>
              <a:gd name="connsiteX158" fmla="*/ 313317 w 2377151"/>
              <a:gd name="connsiteY158" fmla="*/ 1501055 h 1554496"/>
              <a:gd name="connsiteX159" fmla="*/ 307931 w 2377151"/>
              <a:gd name="connsiteY159" fmla="*/ 1503229 h 1554496"/>
              <a:gd name="connsiteX160" fmla="*/ 298806 w 2377151"/>
              <a:gd name="connsiteY160" fmla="*/ 1496988 h 1554496"/>
              <a:gd name="connsiteX161" fmla="*/ 286165 w 2377151"/>
              <a:gd name="connsiteY161" fmla="*/ 1490583 h 1554496"/>
              <a:gd name="connsiteX162" fmla="*/ 272203 w 2377151"/>
              <a:gd name="connsiteY162" fmla="*/ 1494230 h 1554496"/>
              <a:gd name="connsiteX163" fmla="*/ 249228 w 2377151"/>
              <a:gd name="connsiteY163" fmla="*/ 1486726 h 1554496"/>
              <a:gd name="connsiteX164" fmla="*/ 226033 w 2377151"/>
              <a:gd name="connsiteY164" fmla="*/ 1488666 h 1554496"/>
              <a:gd name="connsiteX165" fmla="*/ 206355 w 2377151"/>
              <a:gd name="connsiteY165" fmla="*/ 1478312 h 1554496"/>
              <a:gd name="connsiteX166" fmla="*/ 194042 w 2377151"/>
              <a:gd name="connsiteY166" fmla="*/ 1477003 h 1554496"/>
              <a:gd name="connsiteX167" fmla="*/ 191624 w 2377151"/>
              <a:gd name="connsiteY167" fmla="*/ 1468495 h 1554496"/>
              <a:gd name="connsiteX168" fmla="*/ 196791 w 2377151"/>
              <a:gd name="connsiteY168" fmla="*/ 1456901 h 1554496"/>
              <a:gd name="connsiteX169" fmla="*/ 202507 w 2377151"/>
              <a:gd name="connsiteY169" fmla="*/ 1448579 h 1554496"/>
              <a:gd name="connsiteX170" fmla="*/ 208224 w 2377151"/>
              <a:gd name="connsiteY170" fmla="*/ 1440305 h 1554496"/>
              <a:gd name="connsiteX171" fmla="*/ 193823 w 2377151"/>
              <a:gd name="connsiteY171" fmla="*/ 1441824 h 1554496"/>
              <a:gd name="connsiteX172" fmla="*/ 179422 w 2377151"/>
              <a:gd name="connsiteY172" fmla="*/ 1443297 h 1554496"/>
              <a:gd name="connsiteX173" fmla="*/ 162932 w 2377151"/>
              <a:gd name="connsiteY173" fmla="*/ 1455264 h 1554496"/>
              <a:gd name="connsiteX174" fmla="*/ 147762 w 2377151"/>
              <a:gd name="connsiteY174" fmla="*/ 1445096 h 1554496"/>
              <a:gd name="connsiteX175" fmla="*/ 133471 w 2377151"/>
              <a:gd name="connsiteY175" fmla="*/ 1443975 h 1554496"/>
              <a:gd name="connsiteX176" fmla="*/ 119950 w 2377151"/>
              <a:gd name="connsiteY176" fmla="*/ 1444746 h 1554496"/>
              <a:gd name="connsiteX177" fmla="*/ 100052 w 2377151"/>
              <a:gd name="connsiteY177" fmla="*/ 1437243 h 1554496"/>
              <a:gd name="connsiteX178" fmla="*/ 80045 w 2377151"/>
              <a:gd name="connsiteY178" fmla="*/ 1445050 h 1554496"/>
              <a:gd name="connsiteX179" fmla="*/ 59488 w 2377151"/>
              <a:gd name="connsiteY179" fmla="*/ 1448229 h 1554496"/>
              <a:gd name="connsiteX180" fmla="*/ 37611 w 2377151"/>
              <a:gd name="connsiteY180" fmla="*/ 1453114 h 1554496"/>
              <a:gd name="connsiteX181" fmla="*/ 25080 w 2377151"/>
              <a:gd name="connsiteY181" fmla="*/ 1457812 h 1554496"/>
              <a:gd name="connsiteX182" fmla="*/ 12108 w 2377151"/>
              <a:gd name="connsiteY182" fmla="*/ 1442619 h 1554496"/>
              <a:gd name="connsiteX183" fmla="*/ 4083 w 2377151"/>
              <a:gd name="connsiteY183" fmla="*/ 1442175 h 1554496"/>
              <a:gd name="connsiteX184" fmla="*/ 5402 w 2377151"/>
              <a:gd name="connsiteY184" fmla="*/ 1437804 h 1554496"/>
              <a:gd name="connsiteX185" fmla="*/ 2654 w 2377151"/>
              <a:gd name="connsiteY185" fmla="*/ 1431469 h 1554496"/>
              <a:gd name="connsiteX186" fmla="*/ 2654 w 2377151"/>
              <a:gd name="connsiteY186" fmla="*/ 1134150 h 1554496"/>
              <a:gd name="connsiteX187" fmla="*/ 0 w 2377151"/>
              <a:gd name="connsiteY187" fmla="*/ 1134150 h 155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2377151" h="1554496">
                <a:moveTo>
                  <a:pt x="0" y="0"/>
                </a:moveTo>
                <a:lnTo>
                  <a:pt x="2377151" y="0"/>
                </a:lnTo>
                <a:lnTo>
                  <a:pt x="2377151" y="1057058"/>
                </a:lnTo>
                <a:lnTo>
                  <a:pt x="2377151" y="1134150"/>
                </a:lnTo>
                <a:lnTo>
                  <a:pt x="2377151" y="1467372"/>
                </a:lnTo>
                <a:cubicBezTo>
                  <a:pt x="2376382" y="1468308"/>
                  <a:pt x="2375722" y="1469429"/>
                  <a:pt x="2375062" y="1470879"/>
                </a:cubicBezTo>
                <a:cubicBezTo>
                  <a:pt x="2365719" y="1485511"/>
                  <a:pt x="2356704" y="1466601"/>
                  <a:pt x="2348350" y="1470201"/>
                </a:cubicBezTo>
                <a:cubicBezTo>
                  <a:pt x="2340105" y="1453067"/>
                  <a:pt x="2332409" y="1466811"/>
                  <a:pt x="2325924" y="1470294"/>
                </a:cubicBezTo>
                <a:cubicBezTo>
                  <a:pt x="2320647" y="1454259"/>
                  <a:pt x="2315040" y="1473473"/>
                  <a:pt x="2309105" y="1471066"/>
                </a:cubicBezTo>
                <a:cubicBezTo>
                  <a:pt x="2302069" y="1473870"/>
                  <a:pt x="2295143" y="1475086"/>
                  <a:pt x="2288548" y="1475109"/>
                </a:cubicBezTo>
                <a:cubicBezTo>
                  <a:pt x="2282061" y="1475133"/>
                  <a:pt x="2275795" y="1474011"/>
                  <a:pt x="2269969" y="1472117"/>
                </a:cubicBezTo>
                <a:cubicBezTo>
                  <a:pt x="2264143" y="1470528"/>
                  <a:pt x="2258646" y="1466461"/>
                  <a:pt x="2253699" y="1471907"/>
                </a:cubicBezTo>
                <a:cubicBezTo>
                  <a:pt x="2248753" y="1474852"/>
                  <a:pt x="2244135" y="1467396"/>
                  <a:pt x="2240178" y="1468962"/>
                </a:cubicBezTo>
                <a:cubicBezTo>
                  <a:pt x="2236110" y="1479036"/>
                  <a:pt x="2232592" y="1464591"/>
                  <a:pt x="2229735" y="1468074"/>
                </a:cubicBezTo>
                <a:cubicBezTo>
                  <a:pt x="2226876" y="1451151"/>
                  <a:pt x="2224568" y="1450543"/>
                  <a:pt x="2222809" y="1458514"/>
                </a:cubicBezTo>
                <a:cubicBezTo>
                  <a:pt x="2222809" y="1445751"/>
                  <a:pt x="2220610" y="1441240"/>
                  <a:pt x="2218412" y="1450800"/>
                </a:cubicBezTo>
                <a:cubicBezTo>
                  <a:pt x="2216213" y="1456831"/>
                  <a:pt x="2213904" y="1446242"/>
                  <a:pt x="2213904" y="1444933"/>
                </a:cubicBezTo>
                <a:cubicBezTo>
                  <a:pt x="2213904" y="1449304"/>
                  <a:pt x="2196755" y="1458069"/>
                  <a:pt x="2196755" y="1455124"/>
                </a:cubicBezTo>
                <a:cubicBezTo>
                  <a:pt x="2192798" y="1458537"/>
                  <a:pt x="2187192" y="1447878"/>
                  <a:pt x="2180705" y="1459075"/>
                </a:cubicBezTo>
                <a:cubicBezTo>
                  <a:pt x="2174219" y="1476629"/>
                  <a:pt x="2166635" y="1475063"/>
                  <a:pt x="2158719" y="1470177"/>
                </a:cubicBezTo>
                <a:cubicBezTo>
                  <a:pt x="2150695" y="1466578"/>
                  <a:pt x="2142230" y="1459075"/>
                  <a:pt x="2133656" y="1474315"/>
                </a:cubicBezTo>
                <a:cubicBezTo>
                  <a:pt x="2125191" y="1478826"/>
                  <a:pt x="2116726" y="1472281"/>
                  <a:pt x="2108701" y="1481724"/>
                </a:cubicBezTo>
                <a:cubicBezTo>
                  <a:pt x="2100676" y="1479574"/>
                  <a:pt x="2093201" y="1489438"/>
                  <a:pt x="2086715" y="1484436"/>
                </a:cubicBezTo>
                <a:cubicBezTo>
                  <a:pt x="2080229" y="1499676"/>
                  <a:pt x="2074733" y="1504164"/>
                  <a:pt x="2070775" y="1482402"/>
                </a:cubicBezTo>
                <a:cubicBezTo>
                  <a:pt x="2069676" y="1507553"/>
                  <a:pt x="2068137" y="1486306"/>
                  <a:pt x="2066928" y="1483758"/>
                </a:cubicBezTo>
                <a:cubicBezTo>
                  <a:pt x="2065828" y="1472889"/>
                  <a:pt x="2065169" y="1492687"/>
                  <a:pt x="2065828" y="1472725"/>
                </a:cubicBezTo>
                <a:cubicBezTo>
                  <a:pt x="2065828" y="1464638"/>
                  <a:pt x="2066268" y="1460150"/>
                  <a:pt x="2066818" y="1458397"/>
                </a:cubicBezTo>
                <a:cubicBezTo>
                  <a:pt x="2062860" y="1453231"/>
                  <a:pt x="2049339" y="1453909"/>
                  <a:pt x="2049339" y="1461716"/>
                </a:cubicBezTo>
                <a:cubicBezTo>
                  <a:pt x="2041643" y="1455755"/>
                  <a:pt x="2034608" y="1453932"/>
                  <a:pt x="2028012" y="1464450"/>
                </a:cubicBezTo>
                <a:cubicBezTo>
                  <a:pt x="2021416" y="1434345"/>
                  <a:pt x="2015480" y="1445050"/>
                  <a:pt x="2009764" y="1469593"/>
                </a:cubicBezTo>
                <a:cubicBezTo>
                  <a:pt x="1999980" y="1458654"/>
                  <a:pt x="1991515" y="1477587"/>
                  <a:pt x="1983930" y="1475320"/>
                </a:cubicBezTo>
                <a:cubicBezTo>
                  <a:pt x="1980632" y="1483267"/>
                  <a:pt x="1970079" y="1487545"/>
                  <a:pt x="1963043" y="1469640"/>
                </a:cubicBezTo>
                <a:cubicBezTo>
                  <a:pt x="1957217" y="1481818"/>
                  <a:pt x="1951171" y="1474174"/>
                  <a:pt x="1945454" y="1464474"/>
                </a:cubicBezTo>
                <a:cubicBezTo>
                  <a:pt x="1939738" y="1462253"/>
                  <a:pt x="1934242" y="1481420"/>
                  <a:pt x="1929405" y="1461178"/>
                </a:cubicBezTo>
                <a:cubicBezTo>
                  <a:pt x="1916323" y="1428641"/>
                  <a:pt x="1904011" y="1442595"/>
                  <a:pt x="1892138" y="1458654"/>
                </a:cubicBezTo>
                <a:cubicBezTo>
                  <a:pt x="1880265" y="1457204"/>
                  <a:pt x="1868833" y="1432661"/>
                  <a:pt x="1857620" y="1458747"/>
                </a:cubicBezTo>
                <a:cubicBezTo>
                  <a:pt x="1848166" y="1475764"/>
                  <a:pt x="1839042" y="1450964"/>
                  <a:pt x="1829918" y="1458934"/>
                </a:cubicBezTo>
                <a:cubicBezTo>
                  <a:pt x="1820793" y="1461389"/>
                  <a:pt x="1811779" y="1468915"/>
                  <a:pt x="1802764" y="1457438"/>
                </a:cubicBezTo>
                <a:cubicBezTo>
                  <a:pt x="1802545" y="1477564"/>
                  <a:pt x="1801995" y="1447995"/>
                  <a:pt x="1800896" y="1450449"/>
                </a:cubicBezTo>
                <a:cubicBezTo>
                  <a:pt x="1800896" y="1446780"/>
                  <a:pt x="1798258" y="1453231"/>
                  <a:pt x="1798258" y="1444162"/>
                </a:cubicBezTo>
                <a:cubicBezTo>
                  <a:pt x="1798258" y="1446429"/>
                  <a:pt x="1787704" y="1433877"/>
                  <a:pt x="1787704" y="1443227"/>
                </a:cubicBezTo>
                <a:cubicBezTo>
                  <a:pt x="1781328" y="1429459"/>
                  <a:pt x="1774403" y="1431095"/>
                  <a:pt x="1767257" y="1435700"/>
                </a:cubicBezTo>
                <a:cubicBezTo>
                  <a:pt x="1760002" y="1440305"/>
                  <a:pt x="1752526" y="1447901"/>
                  <a:pt x="1744831" y="1445938"/>
                </a:cubicBezTo>
                <a:cubicBezTo>
                  <a:pt x="1737246" y="1450005"/>
                  <a:pt x="1729441" y="1451595"/>
                  <a:pt x="1721636" y="1446967"/>
                </a:cubicBezTo>
                <a:cubicBezTo>
                  <a:pt x="1713941" y="1447668"/>
                  <a:pt x="1706136" y="1452974"/>
                  <a:pt x="1698661" y="1456901"/>
                </a:cubicBezTo>
                <a:cubicBezTo>
                  <a:pt x="1691075" y="1466554"/>
                  <a:pt x="1683710" y="1456760"/>
                  <a:pt x="1676784" y="1462791"/>
                </a:cubicBezTo>
                <a:cubicBezTo>
                  <a:pt x="1669749" y="1463633"/>
                  <a:pt x="1663043" y="1469289"/>
                  <a:pt x="1656887" y="1469920"/>
                </a:cubicBezTo>
                <a:cubicBezTo>
                  <a:pt x="1656887" y="1480976"/>
                  <a:pt x="1654469" y="1483617"/>
                  <a:pt x="1651830" y="1482566"/>
                </a:cubicBezTo>
                <a:cubicBezTo>
                  <a:pt x="1649302" y="1479925"/>
                  <a:pt x="1646773" y="1477634"/>
                  <a:pt x="1646773" y="1473193"/>
                </a:cubicBezTo>
                <a:cubicBezTo>
                  <a:pt x="1641717" y="1470809"/>
                  <a:pt x="1636660" y="1473053"/>
                  <a:pt x="1631603" y="1479808"/>
                </a:cubicBezTo>
                <a:cubicBezTo>
                  <a:pt x="1629074" y="1487451"/>
                  <a:pt x="1626436" y="1496263"/>
                  <a:pt x="1623908" y="1487732"/>
                </a:cubicBezTo>
                <a:cubicBezTo>
                  <a:pt x="1621380" y="1489228"/>
                  <a:pt x="1618741" y="1476488"/>
                  <a:pt x="1616213" y="1482636"/>
                </a:cubicBezTo>
                <a:cubicBezTo>
                  <a:pt x="1613684" y="1467630"/>
                  <a:pt x="1611046" y="1474852"/>
                  <a:pt x="1608517" y="1478358"/>
                </a:cubicBezTo>
                <a:cubicBezTo>
                  <a:pt x="1605879" y="1465035"/>
                  <a:pt x="1603351" y="1488152"/>
                  <a:pt x="1600713" y="1487241"/>
                </a:cubicBezTo>
                <a:cubicBezTo>
                  <a:pt x="1595436" y="1476395"/>
                  <a:pt x="1590159" y="1494347"/>
                  <a:pt x="1584773" y="1491916"/>
                </a:cubicBezTo>
                <a:cubicBezTo>
                  <a:pt x="1580595" y="1489648"/>
                  <a:pt x="1576418" y="1501289"/>
                  <a:pt x="1572240" y="1508511"/>
                </a:cubicBezTo>
                <a:cubicBezTo>
                  <a:pt x="1568063" y="1514098"/>
                  <a:pt x="1563776" y="1509657"/>
                  <a:pt x="1559489" y="1499349"/>
                </a:cubicBezTo>
                <a:cubicBezTo>
                  <a:pt x="1555311" y="1511620"/>
                  <a:pt x="1551024" y="1505777"/>
                  <a:pt x="1546736" y="1504538"/>
                </a:cubicBezTo>
                <a:cubicBezTo>
                  <a:pt x="1542450" y="1525388"/>
                  <a:pt x="1538162" y="1516506"/>
                  <a:pt x="1533875" y="1507156"/>
                </a:cubicBezTo>
                <a:cubicBezTo>
                  <a:pt x="1532006" y="1500447"/>
                  <a:pt x="1529917" y="1501569"/>
                  <a:pt x="1527938" y="1498437"/>
                </a:cubicBezTo>
                <a:cubicBezTo>
                  <a:pt x="1525081" y="1495842"/>
                  <a:pt x="1522332" y="1501663"/>
                  <a:pt x="1521013" y="1487545"/>
                </a:cubicBezTo>
                <a:cubicBezTo>
                  <a:pt x="1521013" y="1484155"/>
                  <a:pt x="1514087" y="1470972"/>
                  <a:pt x="1514087" y="1471954"/>
                </a:cubicBezTo>
                <a:cubicBezTo>
                  <a:pt x="1514087" y="1472421"/>
                  <a:pt x="1494630" y="1465690"/>
                  <a:pt x="1494630" y="1482870"/>
                </a:cubicBezTo>
                <a:cubicBezTo>
                  <a:pt x="1491991" y="1478335"/>
                  <a:pt x="1485835" y="1485628"/>
                  <a:pt x="1480229" y="1488292"/>
                </a:cubicBezTo>
                <a:cubicBezTo>
                  <a:pt x="1479020" y="1492617"/>
                  <a:pt x="1477590" y="1495632"/>
                  <a:pt x="1476271" y="1501546"/>
                </a:cubicBezTo>
                <a:cubicBezTo>
                  <a:pt x="1474952" y="1496240"/>
                  <a:pt x="1473633" y="1518376"/>
                  <a:pt x="1472314" y="1490980"/>
                </a:cubicBezTo>
                <a:cubicBezTo>
                  <a:pt x="1472314" y="1488433"/>
                  <a:pt x="1463629" y="1485978"/>
                  <a:pt x="1463629" y="1489859"/>
                </a:cubicBezTo>
                <a:cubicBezTo>
                  <a:pt x="1457363" y="1493973"/>
                  <a:pt x="1450657" y="1495422"/>
                  <a:pt x="1443842" y="1489719"/>
                </a:cubicBezTo>
                <a:cubicBezTo>
                  <a:pt x="1437136" y="1482730"/>
                  <a:pt x="1430210" y="1488012"/>
                  <a:pt x="1423835" y="1492220"/>
                </a:cubicBezTo>
                <a:cubicBezTo>
                  <a:pt x="1420866" y="1472632"/>
                  <a:pt x="1417019" y="1478125"/>
                  <a:pt x="1413721" y="1480696"/>
                </a:cubicBezTo>
                <a:cubicBezTo>
                  <a:pt x="1410313" y="1486890"/>
                  <a:pt x="1407455" y="1483197"/>
                  <a:pt x="1406246" y="1494253"/>
                </a:cubicBezTo>
                <a:cubicBezTo>
                  <a:pt x="1401629" y="1492687"/>
                  <a:pt x="1398770" y="1498203"/>
                  <a:pt x="1396682" y="1498975"/>
                </a:cubicBezTo>
                <a:cubicBezTo>
                  <a:pt x="1394483" y="1510077"/>
                  <a:pt x="1393274" y="1509657"/>
                  <a:pt x="1391735" y="1485301"/>
                </a:cubicBezTo>
                <a:cubicBezTo>
                  <a:pt x="1389427" y="1491729"/>
                  <a:pt x="1386129" y="1485978"/>
                  <a:pt x="1378323" y="1475577"/>
                </a:cubicBezTo>
                <a:cubicBezTo>
                  <a:pt x="1375355" y="1470435"/>
                  <a:pt x="1372387" y="1475413"/>
                  <a:pt x="1369529" y="1479574"/>
                </a:cubicBezTo>
                <a:cubicBezTo>
                  <a:pt x="1366561" y="1483734"/>
                  <a:pt x="1363703" y="1485067"/>
                  <a:pt x="1360734" y="1478826"/>
                </a:cubicBezTo>
                <a:cubicBezTo>
                  <a:pt x="1357876" y="1467139"/>
                  <a:pt x="1355018" y="1468354"/>
                  <a:pt x="1352050" y="1467723"/>
                </a:cubicBezTo>
                <a:cubicBezTo>
                  <a:pt x="1349192" y="1466461"/>
                  <a:pt x="1346334" y="1477891"/>
                  <a:pt x="1343475" y="1468822"/>
                </a:cubicBezTo>
                <a:cubicBezTo>
                  <a:pt x="1340507" y="1467559"/>
                  <a:pt x="1337649" y="1460103"/>
                  <a:pt x="1334791" y="1462207"/>
                </a:cubicBezTo>
                <a:cubicBezTo>
                  <a:pt x="1331932" y="1457462"/>
                  <a:pt x="1329075" y="1459168"/>
                  <a:pt x="1326216" y="1470598"/>
                </a:cubicBezTo>
                <a:cubicBezTo>
                  <a:pt x="1320390" y="1460454"/>
                  <a:pt x="1314673" y="1471182"/>
                  <a:pt x="1308847" y="1466601"/>
                </a:cubicBezTo>
                <a:cubicBezTo>
                  <a:pt x="1303131" y="1461716"/>
                  <a:pt x="1297304" y="1464895"/>
                  <a:pt x="1291479" y="1463212"/>
                </a:cubicBezTo>
                <a:cubicBezTo>
                  <a:pt x="1285542" y="1473169"/>
                  <a:pt x="1279716" y="1468167"/>
                  <a:pt x="1273669" y="1467513"/>
                </a:cubicBezTo>
                <a:cubicBezTo>
                  <a:pt x="1267733" y="1461716"/>
                  <a:pt x="1261687" y="1456620"/>
                  <a:pt x="1255641" y="1469616"/>
                </a:cubicBezTo>
                <a:cubicBezTo>
                  <a:pt x="1249485" y="1456387"/>
                  <a:pt x="1243219" y="1465736"/>
                  <a:pt x="1236953" y="1470061"/>
                </a:cubicBezTo>
                <a:cubicBezTo>
                  <a:pt x="1236953" y="1458069"/>
                  <a:pt x="1233435" y="1467817"/>
                  <a:pt x="1233435" y="1470365"/>
                </a:cubicBezTo>
                <a:cubicBezTo>
                  <a:pt x="1217715" y="1475063"/>
                  <a:pt x="1202325" y="1470318"/>
                  <a:pt x="1187484" y="1475343"/>
                </a:cubicBezTo>
                <a:cubicBezTo>
                  <a:pt x="1172533" y="1460384"/>
                  <a:pt x="1157913" y="1474011"/>
                  <a:pt x="1143622" y="1483103"/>
                </a:cubicBezTo>
                <a:cubicBezTo>
                  <a:pt x="1129331" y="1488456"/>
                  <a:pt x="1115479" y="1479387"/>
                  <a:pt x="1101848" y="1493739"/>
                </a:cubicBezTo>
                <a:cubicBezTo>
                  <a:pt x="1088217" y="1504912"/>
                  <a:pt x="1074916" y="1508067"/>
                  <a:pt x="1061943" y="1507249"/>
                </a:cubicBezTo>
                <a:cubicBezTo>
                  <a:pt x="1055457" y="1503486"/>
                  <a:pt x="1048972" y="1503626"/>
                  <a:pt x="1042706" y="1506688"/>
                </a:cubicBezTo>
                <a:cubicBezTo>
                  <a:pt x="1036330" y="1509727"/>
                  <a:pt x="1029954" y="1511994"/>
                  <a:pt x="1023798" y="1523658"/>
                </a:cubicBezTo>
                <a:cubicBezTo>
                  <a:pt x="1023688" y="1519591"/>
                  <a:pt x="1023688" y="1516435"/>
                  <a:pt x="1023578" y="1513864"/>
                </a:cubicBezTo>
                <a:cubicBezTo>
                  <a:pt x="1024017" y="1510405"/>
                  <a:pt x="1024347" y="1505636"/>
                  <a:pt x="1024787" y="1505777"/>
                </a:cubicBezTo>
                <a:cubicBezTo>
                  <a:pt x="1024897" y="1503626"/>
                  <a:pt x="1025117" y="1501850"/>
                  <a:pt x="1025227" y="1500330"/>
                </a:cubicBezTo>
                <a:cubicBezTo>
                  <a:pt x="1025886" y="1499886"/>
                  <a:pt x="1026326" y="1499723"/>
                  <a:pt x="1026326" y="1500003"/>
                </a:cubicBezTo>
                <a:cubicBezTo>
                  <a:pt x="1026326" y="1494019"/>
                  <a:pt x="1025886" y="1495188"/>
                  <a:pt x="1025227" y="1500330"/>
                </a:cubicBezTo>
                <a:cubicBezTo>
                  <a:pt x="1023358" y="1501663"/>
                  <a:pt x="1019070" y="1505449"/>
                  <a:pt x="1014783" y="1507927"/>
                </a:cubicBezTo>
                <a:cubicBezTo>
                  <a:pt x="1008957" y="1519614"/>
                  <a:pt x="1003131" y="1515664"/>
                  <a:pt x="1003131" y="1503743"/>
                </a:cubicBezTo>
                <a:cubicBezTo>
                  <a:pt x="999393" y="1511153"/>
                  <a:pt x="995985" y="1519497"/>
                  <a:pt x="992688" y="1514495"/>
                </a:cubicBezTo>
                <a:cubicBezTo>
                  <a:pt x="989499" y="1516529"/>
                  <a:pt x="986311" y="1512625"/>
                  <a:pt x="983343" y="1509797"/>
                </a:cubicBezTo>
                <a:cubicBezTo>
                  <a:pt x="977407" y="1494931"/>
                  <a:pt x="971911" y="1512999"/>
                  <a:pt x="966634" y="1518679"/>
                </a:cubicBezTo>
                <a:cubicBezTo>
                  <a:pt x="964215" y="1524733"/>
                  <a:pt x="961797" y="1523611"/>
                  <a:pt x="959488" y="1519848"/>
                </a:cubicBezTo>
                <a:cubicBezTo>
                  <a:pt x="957179" y="1522536"/>
                  <a:pt x="954872" y="1510264"/>
                  <a:pt x="952563" y="1526206"/>
                </a:cubicBezTo>
                <a:cubicBezTo>
                  <a:pt x="948056" y="1528777"/>
                  <a:pt x="943548" y="1520853"/>
                  <a:pt x="939261" y="1529759"/>
                </a:cubicBezTo>
                <a:cubicBezTo>
                  <a:pt x="927938" y="1527749"/>
                  <a:pt x="925959" y="1534691"/>
                  <a:pt x="920133" y="1522770"/>
                </a:cubicBezTo>
                <a:cubicBezTo>
                  <a:pt x="917385" y="1536023"/>
                  <a:pt x="913867" y="1513303"/>
                  <a:pt x="908700" y="1513958"/>
                </a:cubicBezTo>
                <a:cubicBezTo>
                  <a:pt x="906172" y="1524990"/>
                  <a:pt x="903204" y="1504257"/>
                  <a:pt x="899576" y="1505543"/>
                </a:cubicBezTo>
                <a:cubicBezTo>
                  <a:pt x="896059" y="1518235"/>
                  <a:pt x="891991" y="1489555"/>
                  <a:pt x="887264" y="1507249"/>
                </a:cubicBezTo>
                <a:cubicBezTo>
                  <a:pt x="879898" y="1507226"/>
                  <a:pt x="872643" y="1511831"/>
                  <a:pt x="865388" y="1505145"/>
                </a:cubicBezTo>
                <a:cubicBezTo>
                  <a:pt x="858242" y="1490209"/>
                  <a:pt x="851097" y="1495983"/>
                  <a:pt x="844061" y="1507693"/>
                </a:cubicBezTo>
                <a:cubicBezTo>
                  <a:pt x="837136" y="1542825"/>
                  <a:pt x="830100" y="1505029"/>
                  <a:pt x="823284" y="1511574"/>
                </a:cubicBezTo>
                <a:cubicBezTo>
                  <a:pt x="816359" y="1502060"/>
                  <a:pt x="809653" y="1507553"/>
                  <a:pt x="802837" y="1517160"/>
                </a:cubicBezTo>
                <a:cubicBezTo>
                  <a:pt x="796132" y="1524242"/>
                  <a:pt x="789426" y="1516015"/>
                  <a:pt x="782830" y="1523822"/>
                </a:cubicBezTo>
                <a:cubicBezTo>
                  <a:pt x="776234" y="1520900"/>
                  <a:pt x="769638" y="1530741"/>
                  <a:pt x="763042" y="1530998"/>
                </a:cubicBezTo>
                <a:cubicBezTo>
                  <a:pt x="752379" y="1534550"/>
                  <a:pt x="741716" y="1538057"/>
                  <a:pt x="731273" y="1542241"/>
                </a:cubicBezTo>
                <a:lnTo>
                  <a:pt x="700163" y="1550749"/>
                </a:lnTo>
                <a:cubicBezTo>
                  <a:pt x="694996" y="1547991"/>
                  <a:pt x="689829" y="1547944"/>
                  <a:pt x="684662" y="1548996"/>
                </a:cubicBezTo>
                <a:cubicBezTo>
                  <a:pt x="679606" y="1550071"/>
                  <a:pt x="674439" y="1551778"/>
                  <a:pt x="669382" y="1554092"/>
                </a:cubicBezTo>
                <a:cubicBezTo>
                  <a:pt x="669272" y="1542101"/>
                  <a:pt x="669272" y="1542732"/>
                  <a:pt x="669162" y="1545139"/>
                </a:cubicBezTo>
                <a:cubicBezTo>
                  <a:pt x="669162" y="1548458"/>
                  <a:pt x="669052" y="1554442"/>
                  <a:pt x="669052" y="1554092"/>
                </a:cubicBezTo>
                <a:cubicBezTo>
                  <a:pt x="668392" y="1555961"/>
                  <a:pt x="667623" y="1544672"/>
                  <a:pt x="666853" y="1538781"/>
                </a:cubicBezTo>
                <a:cubicBezTo>
                  <a:pt x="666084" y="1533008"/>
                  <a:pt x="665314" y="1530974"/>
                  <a:pt x="664545" y="1545770"/>
                </a:cubicBezTo>
                <a:cubicBezTo>
                  <a:pt x="663445" y="1561946"/>
                  <a:pt x="662456" y="1549814"/>
                  <a:pt x="661687" y="1554162"/>
                </a:cubicBezTo>
                <a:cubicBezTo>
                  <a:pt x="661137" y="1551497"/>
                  <a:pt x="660698" y="1543035"/>
                  <a:pt x="660478" y="1538547"/>
                </a:cubicBezTo>
                <a:lnTo>
                  <a:pt x="660478" y="1525505"/>
                </a:lnTo>
                <a:cubicBezTo>
                  <a:pt x="660478" y="1518773"/>
                  <a:pt x="642559" y="1521952"/>
                  <a:pt x="642559" y="1526790"/>
                </a:cubicBezTo>
                <a:cubicBezTo>
                  <a:pt x="639371" y="1538220"/>
                  <a:pt x="636293" y="1526533"/>
                  <a:pt x="633105" y="1531044"/>
                </a:cubicBezTo>
                <a:cubicBezTo>
                  <a:pt x="629917" y="1533849"/>
                  <a:pt x="626729" y="1533218"/>
                  <a:pt x="623431" y="1528543"/>
                </a:cubicBezTo>
                <a:cubicBezTo>
                  <a:pt x="622222" y="1537098"/>
                  <a:pt x="621013" y="1543199"/>
                  <a:pt x="619803" y="1547126"/>
                </a:cubicBezTo>
                <a:cubicBezTo>
                  <a:pt x="617935" y="1547313"/>
                  <a:pt x="616176" y="1547266"/>
                  <a:pt x="614417" y="1546167"/>
                </a:cubicBezTo>
                <a:cubicBezTo>
                  <a:pt x="613867" y="1546799"/>
                  <a:pt x="613317" y="1547477"/>
                  <a:pt x="612878" y="1548201"/>
                </a:cubicBezTo>
                <a:cubicBezTo>
                  <a:pt x="610349" y="1545653"/>
                  <a:pt x="607931" y="1543573"/>
                  <a:pt x="605512" y="1530203"/>
                </a:cubicBezTo>
                <a:cubicBezTo>
                  <a:pt x="599466" y="1530437"/>
                  <a:pt x="593530" y="1525388"/>
                  <a:pt x="587813" y="1530904"/>
                </a:cubicBezTo>
                <a:cubicBezTo>
                  <a:pt x="587593" y="1518492"/>
                  <a:pt x="587044" y="1536701"/>
                  <a:pt x="586274" y="1542007"/>
                </a:cubicBezTo>
                <a:cubicBezTo>
                  <a:pt x="585505" y="1540207"/>
                  <a:pt x="584405" y="1531792"/>
                  <a:pt x="583087" y="1519708"/>
                </a:cubicBezTo>
                <a:cubicBezTo>
                  <a:pt x="581768" y="1517230"/>
                  <a:pt x="580229" y="1504351"/>
                  <a:pt x="578360" y="1503486"/>
                </a:cubicBezTo>
                <a:cubicBezTo>
                  <a:pt x="576601" y="1517698"/>
                  <a:pt x="574512" y="1490934"/>
                  <a:pt x="572093" y="1511574"/>
                </a:cubicBezTo>
                <a:cubicBezTo>
                  <a:pt x="567586" y="1500751"/>
                  <a:pt x="562640" y="1506805"/>
                  <a:pt x="557033" y="1503252"/>
                </a:cubicBezTo>
                <a:cubicBezTo>
                  <a:pt x="551536" y="1512906"/>
                  <a:pt x="545490" y="1504491"/>
                  <a:pt x="539114" y="1506127"/>
                </a:cubicBezTo>
                <a:cubicBezTo>
                  <a:pt x="532518" y="1487311"/>
                  <a:pt x="525593" y="1491121"/>
                  <a:pt x="518228" y="1504304"/>
                </a:cubicBezTo>
                <a:cubicBezTo>
                  <a:pt x="510862" y="1491612"/>
                  <a:pt x="503057" y="1520128"/>
                  <a:pt x="494812" y="1511947"/>
                </a:cubicBezTo>
                <a:cubicBezTo>
                  <a:pt x="486677" y="1530484"/>
                  <a:pt x="478103" y="1515898"/>
                  <a:pt x="469198" y="1520316"/>
                </a:cubicBezTo>
                <a:cubicBezTo>
                  <a:pt x="460184" y="1501686"/>
                  <a:pt x="450950" y="1533732"/>
                  <a:pt x="441276" y="1524967"/>
                </a:cubicBezTo>
                <a:cubicBezTo>
                  <a:pt x="437758" y="1519684"/>
                  <a:pt x="434021" y="1528567"/>
                  <a:pt x="430393" y="1533475"/>
                </a:cubicBezTo>
                <a:cubicBezTo>
                  <a:pt x="426765" y="1517581"/>
                  <a:pt x="423248" y="1546448"/>
                  <a:pt x="419950" y="1530460"/>
                </a:cubicBezTo>
                <a:cubicBezTo>
                  <a:pt x="413464" y="1523728"/>
                  <a:pt x="408077" y="1552783"/>
                  <a:pt x="405329" y="1533405"/>
                </a:cubicBezTo>
                <a:cubicBezTo>
                  <a:pt x="405109" y="1536374"/>
                  <a:pt x="404780" y="1538875"/>
                  <a:pt x="404450" y="1541212"/>
                </a:cubicBezTo>
                <a:cubicBezTo>
                  <a:pt x="401811" y="1539623"/>
                  <a:pt x="398733" y="1544415"/>
                  <a:pt x="395655" y="1547921"/>
                </a:cubicBezTo>
                <a:cubicBezTo>
                  <a:pt x="394446" y="1543783"/>
                  <a:pt x="393236" y="1538337"/>
                  <a:pt x="391917" y="1532143"/>
                </a:cubicBezTo>
                <a:cubicBezTo>
                  <a:pt x="386751" y="1542545"/>
                  <a:pt x="380925" y="1528870"/>
                  <a:pt x="374878" y="1532400"/>
                </a:cubicBezTo>
                <a:cubicBezTo>
                  <a:pt x="368942" y="1493318"/>
                  <a:pt x="362676" y="1536631"/>
                  <a:pt x="356520" y="1527819"/>
                </a:cubicBezTo>
                <a:cubicBezTo>
                  <a:pt x="350254" y="1511480"/>
                  <a:pt x="344208" y="1543807"/>
                  <a:pt x="338601" y="1526650"/>
                </a:cubicBezTo>
                <a:cubicBezTo>
                  <a:pt x="332885" y="1530156"/>
                  <a:pt x="327718" y="1522840"/>
                  <a:pt x="323321" y="1522232"/>
                </a:cubicBezTo>
                <a:cubicBezTo>
                  <a:pt x="318814" y="1509376"/>
                  <a:pt x="315186" y="1518165"/>
                  <a:pt x="312657" y="1516809"/>
                </a:cubicBezTo>
                <a:cubicBezTo>
                  <a:pt x="309249" y="1516669"/>
                  <a:pt x="309359" y="1498227"/>
                  <a:pt x="310679" y="1509984"/>
                </a:cubicBezTo>
                <a:cubicBezTo>
                  <a:pt x="310679" y="1508395"/>
                  <a:pt x="311888" y="1504257"/>
                  <a:pt x="313317" y="1501055"/>
                </a:cubicBezTo>
                <a:cubicBezTo>
                  <a:pt x="315406" y="1499980"/>
                  <a:pt x="316945" y="1499045"/>
                  <a:pt x="316945" y="1499302"/>
                </a:cubicBezTo>
                <a:cubicBezTo>
                  <a:pt x="316945" y="1494627"/>
                  <a:pt x="315076" y="1497175"/>
                  <a:pt x="313317" y="1501055"/>
                </a:cubicBezTo>
                <a:cubicBezTo>
                  <a:pt x="311778" y="1501873"/>
                  <a:pt x="309799" y="1502761"/>
                  <a:pt x="307931" y="1503229"/>
                </a:cubicBezTo>
                <a:cubicBezTo>
                  <a:pt x="303314" y="1509306"/>
                  <a:pt x="298806" y="1515196"/>
                  <a:pt x="298806" y="1496988"/>
                </a:cubicBezTo>
                <a:cubicBezTo>
                  <a:pt x="294849" y="1492033"/>
                  <a:pt x="290671" y="1491308"/>
                  <a:pt x="286165" y="1490583"/>
                </a:cubicBezTo>
                <a:cubicBezTo>
                  <a:pt x="281767" y="1491542"/>
                  <a:pt x="277040" y="1496965"/>
                  <a:pt x="272203" y="1494230"/>
                </a:cubicBezTo>
                <a:cubicBezTo>
                  <a:pt x="265058" y="1498086"/>
                  <a:pt x="257143" y="1484038"/>
                  <a:pt x="249228" y="1486726"/>
                </a:cubicBezTo>
                <a:cubicBezTo>
                  <a:pt x="241313" y="1485815"/>
                  <a:pt x="233398" y="1477914"/>
                  <a:pt x="226033" y="1488666"/>
                </a:cubicBezTo>
                <a:cubicBezTo>
                  <a:pt x="218667" y="1494744"/>
                  <a:pt x="211961" y="1475016"/>
                  <a:pt x="206355" y="1478312"/>
                </a:cubicBezTo>
                <a:cubicBezTo>
                  <a:pt x="200858" y="1478125"/>
                  <a:pt x="196571" y="1474665"/>
                  <a:pt x="194042" y="1477003"/>
                </a:cubicBezTo>
                <a:cubicBezTo>
                  <a:pt x="191954" y="1466554"/>
                  <a:pt x="191184" y="1471159"/>
                  <a:pt x="191624" y="1468495"/>
                </a:cubicBezTo>
                <a:cubicBezTo>
                  <a:pt x="192064" y="1464871"/>
                  <a:pt x="193823" y="1454166"/>
                  <a:pt x="196791" y="1456901"/>
                </a:cubicBezTo>
                <a:cubicBezTo>
                  <a:pt x="196791" y="1455148"/>
                  <a:pt x="199649" y="1440048"/>
                  <a:pt x="202507" y="1448579"/>
                </a:cubicBezTo>
                <a:cubicBezTo>
                  <a:pt x="205366" y="1444068"/>
                  <a:pt x="208224" y="1447644"/>
                  <a:pt x="208224" y="1440305"/>
                </a:cubicBezTo>
                <a:cubicBezTo>
                  <a:pt x="208224" y="1424504"/>
                  <a:pt x="200968" y="1459191"/>
                  <a:pt x="193823" y="1441824"/>
                </a:cubicBezTo>
                <a:cubicBezTo>
                  <a:pt x="186568" y="1447948"/>
                  <a:pt x="179422" y="1438295"/>
                  <a:pt x="179422" y="1443297"/>
                </a:cubicBezTo>
                <a:cubicBezTo>
                  <a:pt x="173595" y="1434952"/>
                  <a:pt x="168099" y="1447434"/>
                  <a:pt x="162932" y="1455264"/>
                </a:cubicBezTo>
                <a:cubicBezTo>
                  <a:pt x="157656" y="1457929"/>
                  <a:pt x="152599" y="1458771"/>
                  <a:pt x="147762" y="1445096"/>
                </a:cubicBezTo>
                <a:cubicBezTo>
                  <a:pt x="142815" y="1446967"/>
                  <a:pt x="138088" y="1433877"/>
                  <a:pt x="133471" y="1443975"/>
                </a:cubicBezTo>
                <a:cubicBezTo>
                  <a:pt x="128854" y="1439487"/>
                  <a:pt x="124347" y="1437687"/>
                  <a:pt x="119950" y="1444746"/>
                </a:cubicBezTo>
                <a:cubicBezTo>
                  <a:pt x="113243" y="1436355"/>
                  <a:pt x="106648" y="1436565"/>
                  <a:pt x="100052" y="1437243"/>
                </a:cubicBezTo>
                <a:cubicBezTo>
                  <a:pt x="93456" y="1435560"/>
                  <a:pt x="86751" y="1441941"/>
                  <a:pt x="80045" y="1445050"/>
                </a:cubicBezTo>
                <a:cubicBezTo>
                  <a:pt x="73339" y="1436869"/>
                  <a:pt x="66524" y="1452156"/>
                  <a:pt x="59488" y="1448229"/>
                </a:cubicBezTo>
                <a:cubicBezTo>
                  <a:pt x="52453" y="1454259"/>
                  <a:pt x="45197" y="1453231"/>
                  <a:pt x="37611" y="1453114"/>
                </a:cubicBezTo>
                <a:cubicBezTo>
                  <a:pt x="33544" y="1459565"/>
                  <a:pt x="29367" y="1463773"/>
                  <a:pt x="25080" y="1457812"/>
                </a:cubicBezTo>
                <a:cubicBezTo>
                  <a:pt x="20792" y="1449421"/>
                  <a:pt x="16505" y="1439954"/>
                  <a:pt x="12108" y="1442619"/>
                </a:cubicBezTo>
                <a:cubicBezTo>
                  <a:pt x="9470" y="1446780"/>
                  <a:pt x="6721" y="1443647"/>
                  <a:pt x="4083" y="1442175"/>
                </a:cubicBezTo>
                <a:cubicBezTo>
                  <a:pt x="4523" y="1440725"/>
                  <a:pt x="4962" y="1439347"/>
                  <a:pt x="5402" y="1437804"/>
                </a:cubicBezTo>
                <a:cubicBezTo>
                  <a:pt x="4523" y="1435677"/>
                  <a:pt x="3533" y="1433550"/>
                  <a:pt x="2654" y="1431469"/>
                </a:cubicBezTo>
                <a:lnTo>
                  <a:pt x="2654" y="1134150"/>
                </a:lnTo>
                <a:lnTo>
                  <a:pt x="0" y="1134150"/>
                </a:lnTo>
                <a:close/>
              </a:path>
            </a:pathLst>
          </a:custGeom>
          <a:solidFill>
            <a:schemeClr val="bg1"/>
          </a:solidFill>
          <a:ln w="3175" cmpd="sng">
            <a:solidFill>
              <a:schemeClr val="bg1">
                <a:lumMod val="85000"/>
              </a:schemeClr>
            </a:solidFill>
          </a:ln>
          <a:effectLst>
            <a:outerShdw blurRad="123295" dist="38100" dir="2700000" algn="tl" rotWithShape="0">
              <a:prstClr val="black">
                <a:alpha val="40000"/>
              </a:prstClr>
            </a:outerShdw>
          </a:effectLst>
        </p:spPr>
      </p:pic>
      <p:sp>
        <p:nvSpPr>
          <p:cNvPr id="18" name="TextBox 17">
            <a:extLst>
              <a:ext uri="{FF2B5EF4-FFF2-40B4-BE49-F238E27FC236}">
                <a16:creationId xmlns:a16="http://schemas.microsoft.com/office/drawing/2014/main" id="{BCF35134-7098-EB44-A17B-BD54CAABB3F5}"/>
              </a:ext>
            </a:extLst>
          </p:cNvPr>
          <p:cNvSpPr txBox="1"/>
          <p:nvPr/>
        </p:nvSpPr>
        <p:spPr>
          <a:xfrm>
            <a:off x="8128000" y="2060975"/>
            <a:ext cx="2377150" cy="153888"/>
          </a:xfrm>
          <a:prstGeom prst="rect">
            <a:avLst/>
          </a:prstGeom>
          <a:noFill/>
        </p:spPr>
        <p:txBody>
          <a:bodyPr wrap="square" lIns="0" tIns="0" rIns="0" bIns="0" rtlCol="0">
            <a:spAutoFit/>
          </a:bodyPr>
          <a:lstStyle>
            <a:defPPr>
              <a:defRPr lang="en-US"/>
            </a:defPPr>
            <a:lvl1pPr defTabSz="342900">
              <a:defRPr sz="1000">
                <a:cs typeface="+mj-cs"/>
              </a:defRPr>
            </a:lvl1pPr>
          </a:lstStyle>
          <a:p>
            <a:r>
              <a:rPr lang="en-US" b="1" dirty="0"/>
              <a:t>Image Only</a:t>
            </a:r>
          </a:p>
        </p:txBody>
      </p:sp>
    </p:spTree>
    <p:extLst>
      <p:ext uri="{BB962C8B-B14F-4D97-AF65-F5344CB8AC3E}">
        <p14:creationId xmlns:p14="http://schemas.microsoft.com/office/powerpoint/2010/main" val="39548985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ALKTIM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pPhPcX50kmLMxDgoxlB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HSx2Ucgg0KlhAis5PXC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N0jdq5Dykek_30ET.ru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EbhCsLNEEWKIIwaL5T4W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ad59lbLcEafVvHtSlyB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GZbe2PvpkSVx.QgD1b8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maw5Sc.D0Oea0FzDH6a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uRG_EsLREyenlcau.XYz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SEEsy1PZUKTGiOGY.eF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bzcHVwPVE2RpsML8qgEsQ"/>
</p:tagLst>
</file>

<file path=ppt/tags/tag2.xml><?xml version="1.0" encoding="utf-8"?>
<p:tagLst xmlns:a="http://schemas.openxmlformats.org/drawingml/2006/main" xmlns:r="http://schemas.openxmlformats.org/officeDocument/2006/relationships" xmlns:p="http://schemas.openxmlformats.org/presentationml/2006/main">
  <p:tag name="TALKTIME" val="20"/>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nEd7oIVqk6fJ98V1AKC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b6KIGcS6NUyrwG_g7euv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UFsJ6lRu0W9gK2vZhh6z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dw7.9qwSUCMmwSkupEt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K0mEh1PckGm6Fbgq1vP7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FndhJQK9E2Qr5NFdnbL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inUTdGNREuHwTl.z.5Bb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d6EePgX2kmBDFV82ma1u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VEL_KnmMkaBXxL1441o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19I243W206Yd6vq9ip6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tBWfYiyN0KTMX2RyX8g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BfBKiPV0ECaFWEkQCcCK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nL.7NlBrEew2FMVMJTlZ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uyx_.ytsb0.raBQYQhw5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Cwf4zBDK0KLbUZwMLw7q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HtvJC3XM0.edpn9xaEx2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k_sWsqsF0.EclPauabga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ulQAeJt0azaoWUTI39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rIXbVH1WUO.r8iCevrIn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_IvkecEQE29M902zoxq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OisVYLZBkCm4DYzAHGK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51jH4Q1fU6GMb6mH7Wo.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zqnYDiTLfEukGtGwmPW7a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M3QWcET_E2UKKRqf2On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fiKYVL97E6RVUKo6Yg2Q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OtJootpz9ESJuCLn1IFU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hla38u0.UO1iSGmRPFf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QPvxb730kKOlgvj_L68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TAy0dRhjUOCXrU_dfvF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8vniON51ESKwT6x83snq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_QNzUTOEESBxStlN6hu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QmZRwmLvUew7liMPIFk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T2nab4mzEuC9hpGjPOX2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U1p.B2gVEmh.loAqNgNJ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AJa8j.bD0mUZIFAl9ae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2dS5FO0eU2dtozLtL8c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fCoAyIkOEyXd3Y.YRAP7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dQQgelYjUq.0CmTWl336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DmcuPouEZk2cjauKDpW01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5iChsdTVn0i_CIh7Uwx2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0Y2fgXqQUmWuYGq4DNK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CxthL7tm0acgBI6N_dd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9lNOmiQZsUu_.R4lvov8E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aq.lf18cUK.I9jZG5fXw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kGcfrbUXkeYVptnP5Is1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GpjASG4jk6UNEE3RcvCh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Z0k9gq6K.U2hVnVU9OEk6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4xSrBv9CcEqn1zmFjPbBC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4L5zQ_3mS0SUP.o6nOGs4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2c0wfZj7UeCNBuXxrAQ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kYxHMycc0aOXyPVCKnA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qPhvYmwx0W1Gu1xfjzZO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ZTSHAh8hkKsmQ0vcOLaR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72JDP9PjY0KksHETXMZD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PYKCol_kUKWZ2bg.gG6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6ZiCOdyN_U2vSwUSUwE7v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mR7KEwy0CZ68pyCJXP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e4m92zTOk69aijcqkm6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wZNVsA0TUaLrX9fDInq9A"/>
</p:tagLst>
</file>

<file path=ppt/theme/theme1.xml><?xml version="1.0" encoding="utf-8"?>
<a:theme xmlns:a="http://schemas.openxmlformats.org/drawingml/2006/main" name="Office Theme">
  <a:themeElements>
    <a:clrScheme name="Custom 63">
      <a:dk1>
        <a:srgbClr val="000000"/>
      </a:dk1>
      <a:lt1>
        <a:srgbClr val="FFFFFF"/>
      </a:lt1>
      <a:dk2>
        <a:srgbClr val="1F497D"/>
      </a:dk2>
      <a:lt2>
        <a:srgbClr val="D5D5D5"/>
      </a:lt2>
      <a:accent1>
        <a:srgbClr val="3B4A54"/>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12700">
          <a:solidFill>
            <a:srgbClr val="000000"/>
          </a:solidFill>
          <a:miter lim="400000"/>
        </a:ln>
      </a:spPr>
      <a:bodyPr/>
      <a:lst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8644</TotalTime>
  <Words>860</Words>
  <Application>Microsoft Macintosh PowerPoint</Application>
  <PresentationFormat>Widescreen</PresentationFormat>
  <Paragraphs>325</Paragraphs>
  <Slides>37</Slides>
  <Notes>6</Notes>
  <HiddenSlides>0</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37</vt:i4>
      </vt:variant>
    </vt:vector>
  </HeadingPairs>
  <TitlesOfParts>
    <vt:vector size="52" baseType="lpstr">
      <vt:lpstr>Arial</vt:lpstr>
      <vt:lpstr>Arial Black</vt:lpstr>
      <vt:lpstr>Calibri</vt:lpstr>
      <vt:lpstr>Calibri Light</vt:lpstr>
      <vt:lpstr>Century Gothic</vt:lpstr>
      <vt:lpstr>Franklin Gothic Book</vt:lpstr>
      <vt:lpstr>Georgia</vt:lpstr>
      <vt:lpstr>Gill Sans</vt:lpstr>
      <vt:lpstr>Gill Sans Nova</vt:lpstr>
      <vt:lpstr>Helvetica</vt:lpstr>
      <vt:lpstr>Times New Roman</vt:lpstr>
      <vt:lpstr>Tw Cen MT</vt:lpstr>
      <vt:lpstr>Tw Cen MT Regular</vt:lpstr>
      <vt:lpstr>Verdana Regular</vt:lpstr>
      <vt:lpstr>Office Theme</vt:lpstr>
      <vt:lpstr>PowerPoint Presentation</vt:lpstr>
      <vt:lpstr>PowerPoint Presentation</vt:lpstr>
      <vt:lpstr>Gradients</vt:lpstr>
      <vt:lpstr>Black Vignette .pngs (resize to full screen or to fit photo)</vt:lpstr>
      <vt:lpstr>Assorted Shapes &amp; Elements (PPT Native)</vt:lpstr>
      <vt:lpstr>Assorted Shapes &amp; Elements (PPT Native)</vt:lpstr>
      <vt:lpstr>Curved Photo Frames (PPT Native)</vt:lpstr>
      <vt:lpstr>Newspaper Tears Fill the shape with an image of a news article (Fill: Picture or texture fill…) or type directly into these PowerPoint native shapes </vt:lpstr>
      <vt:lpstr>News Clippings Assets</vt:lpstr>
      <vt:lpstr>Video Placeholder .png</vt:lpstr>
      <vt:lpstr>Banners &amp; Ribbons (PPT Native)</vt:lpstr>
      <vt:lpstr>Venn Diagram &amp; Circle Segments</vt:lpstr>
      <vt:lpstr>Puzzles</vt:lpstr>
      <vt:lpstr>Grid</vt:lpstr>
      <vt:lpstr>Checklist</vt:lpstr>
      <vt:lpstr>MacBook Air, iPad, iPhone, Watch</vt:lpstr>
      <vt:lpstr>PowerPoint Presentation</vt:lpstr>
      <vt:lpstr>World Map for Highlighting and Recoloring  Countries named in selection pane</vt:lpstr>
      <vt:lpstr>Globe</vt:lpstr>
      <vt:lpstr>North America </vt:lpstr>
      <vt:lpstr>United States</vt:lpstr>
      <vt:lpstr>United States</vt:lpstr>
      <vt:lpstr>California Counties</vt:lpstr>
      <vt:lpstr>California Regions</vt:lpstr>
      <vt:lpstr>New York City</vt:lpstr>
      <vt:lpstr>Canada</vt:lpstr>
      <vt:lpstr>EU</vt:lpstr>
      <vt:lpstr>EMEA</vt:lpstr>
      <vt:lpstr>Africa</vt:lpstr>
      <vt:lpstr>Latin America</vt:lpstr>
      <vt:lpstr>India</vt:lpstr>
      <vt:lpstr>Asia</vt:lpstr>
      <vt:lpstr>China</vt:lpstr>
      <vt:lpstr>Japan</vt:lpstr>
      <vt:lpstr>Social Media Library</vt:lpstr>
      <vt:lpstr>Social Media</vt:lpstr>
      <vt:lpstr>Social Media Library (SVG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lan Haims</dc:creator>
  <cp:lastModifiedBy>Nolan Haims Creative</cp:lastModifiedBy>
  <cp:revision>212</cp:revision>
  <dcterms:created xsi:type="dcterms:W3CDTF">2013-06-09T18:23:54Z</dcterms:created>
  <dcterms:modified xsi:type="dcterms:W3CDTF">2022-01-31T16:24:40Z</dcterms:modified>
</cp:coreProperties>
</file>